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3.xml" ContentType="application/vnd.openxmlformats-officedocument.theme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tags/tag1.xml" ContentType="application/vnd.openxmlformats-officedocument.presentationml.tags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ppt/notesSlides/notesSlide58.xml" ContentType="application/vnd.openxmlformats-officedocument.presentationml.notesSlide+xml"/>
  <Override PartName="/ppt/notesSlides/notesSlide59.xml" ContentType="application/vnd.openxmlformats-officedocument.presentationml.notesSlide+xml"/>
  <Override PartName="/ppt/notesSlides/notesSlide60.xml" ContentType="application/vnd.openxmlformats-officedocument.presentationml.notesSlide+xml"/>
  <Override PartName="/ppt/notesSlides/notesSlide61.xml" ContentType="application/vnd.openxmlformats-officedocument.presentationml.notesSlide+xml"/>
  <Override PartName="/ppt/notesSlides/notesSlide62.xml" ContentType="application/vnd.openxmlformats-officedocument.presentationml.notesSlide+xml"/>
  <Override PartName="/ppt/notesSlides/notesSlide63.xml" ContentType="application/vnd.openxmlformats-officedocument.presentationml.notesSlide+xml"/>
  <Override PartName="/ppt/notesSlides/notesSlide64.xml" ContentType="application/vnd.openxmlformats-officedocument.presentationml.notesSlide+xml"/>
  <Override PartName="/ppt/notesSlides/notesSlide65.xml" ContentType="application/vnd.openxmlformats-officedocument.presentationml.notesSlide+xml"/>
  <Override PartName="/ppt/notesSlides/notesSlide66.xml" ContentType="application/vnd.openxmlformats-officedocument.presentationml.notesSlide+xml"/>
  <Override PartName="/ppt/notesSlides/notesSlide67.xml" ContentType="application/vnd.openxmlformats-officedocument.presentationml.notesSlide+xml"/>
  <Override PartName="/ppt/notesSlides/notesSlide68.xml" ContentType="application/vnd.openxmlformats-officedocument.presentationml.notesSlide+xml"/>
  <Override PartName="/ppt/notesSlides/notesSlide69.xml" ContentType="application/vnd.openxmlformats-officedocument.presentationml.notesSlide+xml"/>
  <Override PartName="/ppt/notesSlides/notesSlide70.xml" ContentType="application/vnd.openxmlformats-officedocument.presentationml.notesSlide+xml"/>
  <Override PartName="/ppt/notesSlides/notesSlide71.xml" ContentType="application/vnd.openxmlformats-officedocument.presentationml.notesSlide+xml"/>
  <Override PartName="/ppt/notesSlides/notesSlide72.xml" ContentType="application/vnd.openxmlformats-officedocument.presentationml.notesSlide+xml"/>
  <Override PartName="/ppt/notesSlides/notesSlide73.xml" ContentType="application/vnd.openxmlformats-officedocument.presentationml.notesSlide+xml"/>
  <Override PartName="/ppt/notesSlides/notesSlide74.xml" ContentType="application/vnd.openxmlformats-officedocument.presentationml.notesSlide+xml"/>
  <Override PartName="/ppt/notesSlides/notesSlide75.xml" ContentType="application/vnd.openxmlformats-officedocument.presentationml.notesSlide+xml"/>
  <Override PartName="/ppt/notesSlides/notesSlide76.xml" ContentType="application/vnd.openxmlformats-officedocument.presentationml.notesSlide+xml"/>
  <Override PartName="/ppt/notesSlides/notesSlide77.xml" ContentType="application/vnd.openxmlformats-officedocument.presentationml.notesSlide+xml"/>
  <Override PartName="/ppt/notesSlides/notesSlide78.xml" ContentType="application/vnd.openxmlformats-officedocument.presentationml.notesSlide+xml"/>
  <Override PartName="/ppt/notesSlides/notesSlide79.xml" ContentType="application/vnd.openxmlformats-officedocument.presentationml.notesSlide+xml"/>
  <Override PartName="/ppt/notesSlides/notesSlide80.xml" ContentType="application/vnd.openxmlformats-officedocument.presentationml.notesSlide+xml"/>
  <Override PartName="/ppt/notesSlides/notesSlide81.xml" ContentType="application/vnd.openxmlformats-officedocument.presentationml.notesSlide+xml"/>
  <Override PartName="/ppt/notesSlides/notesSlide82.xml" ContentType="application/vnd.openxmlformats-officedocument.presentationml.notesSlide+xml"/>
  <Override PartName="/ppt/notesSlides/notesSlide83.xml" ContentType="application/vnd.openxmlformats-officedocument.presentationml.notesSlide+xml"/>
  <Override PartName="/ppt/notesSlides/notesSlide84.xml" ContentType="application/vnd.openxmlformats-officedocument.presentationml.notesSlide+xml"/>
  <Override PartName="/ppt/notesSlides/notesSlide85.xml" ContentType="application/vnd.openxmlformats-officedocument.presentationml.notesSlide+xml"/>
  <Override PartName="/ppt/notesSlides/notesSlide86.xml" ContentType="application/vnd.openxmlformats-officedocument.presentationml.notesSlide+xml"/>
  <Override PartName="/ppt/notesSlides/notesSlide87.xml" ContentType="application/vnd.openxmlformats-officedocument.presentationml.notesSlide+xml"/>
  <Override PartName="/ppt/notesSlides/notesSlide88.xml" ContentType="application/vnd.openxmlformats-officedocument.presentationml.notesSlide+xml"/>
  <Override PartName="/ppt/notesSlides/notesSlide89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90.xml" ContentType="application/vnd.openxmlformats-officedocument.presentationml.notesSlide+xml"/>
  <Override PartName="/ppt/notesSlides/notesSlide91.xml" ContentType="application/vnd.openxmlformats-officedocument.presentationml.notesSlide+xml"/>
  <Override PartName="/ppt/notesSlides/notesSlide92.xml" ContentType="application/vnd.openxmlformats-officedocument.presentationml.notesSlide+xml"/>
  <Override PartName="/ppt/notesSlides/notesSlide93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94.xml" ContentType="application/vnd.openxmlformats-officedocument.presentationml.notesSlide+xml"/>
  <Override PartName="/ppt/notesSlides/notesSlide95.xml" ContentType="application/vnd.openxmlformats-officedocument.presentationml.notesSlide+xml"/>
  <Override PartName="/ppt/notesSlides/notesSlide96.xml" ContentType="application/vnd.openxmlformats-officedocument.presentationml.notesSlide+xml"/>
  <Override PartName="/ppt/notesSlides/notesSlide97.xml" ContentType="application/vnd.openxmlformats-officedocument.presentationml.notesSlide+xml"/>
  <Override PartName="/ppt/notesSlides/notesSlide98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99.xml" ContentType="application/vnd.openxmlformats-officedocument.presentationml.notesSlide+xml"/>
  <Override PartName="/ppt/notesSlides/notesSlide100.xml" ContentType="application/vnd.openxmlformats-officedocument.presentationml.notesSlide+xml"/>
  <Override PartName="/ppt/notesSlides/notesSlide101.xml" ContentType="application/vnd.openxmlformats-officedocument.presentationml.notesSlide+xml"/>
  <Override PartName="/ppt/notesSlides/notesSlide102.xml" ContentType="application/vnd.openxmlformats-officedocument.presentationml.notesSlide+xml"/>
  <Override PartName="/ppt/notesSlides/notesSlide103.xml" ContentType="application/vnd.openxmlformats-officedocument.presentationml.notesSlide+xml"/>
  <Override PartName="/ppt/notesSlides/notesSlide104.xml" ContentType="application/vnd.openxmlformats-officedocument.presentationml.notesSlide+xml"/>
  <Override PartName="/ppt/notesSlides/notesSlide105.xml" ContentType="application/vnd.openxmlformats-officedocument.presentationml.notesSlide+xml"/>
  <Override PartName="/ppt/notesSlides/notesSlide106.xml" ContentType="application/vnd.openxmlformats-officedocument.presentationml.notesSlide+xml"/>
  <Override PartName="/ppt/notesSlides/notesSlide107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727" r:id="rId5"/>
    <p:sldMasterId id="2147483733" r:id="rId6"/>
    <p:sldMasterId id="2147483748" r:id="rId7"/>
  </p:sldMasterIdLst>
  <p:notesMasterIdLst>
    <p:notesMasterId r:id="rId115"/>
  </p:notesMasterIdLst>
  <p:sldIdLst>
    <p:sldId id="2147483584" r:id="rId8"/>
    <p:sldId id="2147471399" r:id="rId9"/>
    <p:sldId id="2146847438" r:id="rId10"/>
    <p:sldId id="2147471390" r:id="rId11"/>
    <p:sldId id="2147471391" r:id="rId12"/>
    <p:sldId id="2147471392" r:id="rId13"/>
    <p:sldId id="2147482582" r:id="rId14"/>
    <p:sldId id="2147483610" r:id="rId15"/>
    <p:sldId id="2147483607" r:id="rId16"/>
    <p:sldId id="2147483609" r:id="rId17"/>
    <p:sldId id="2147483616" r:id="rId18"/>
    <p:sldId id="2147483603" r:id="rId19"/>
    <p:sldId id="2147483510" r:id="rId20"/>
    <p:sldId id="2147482585" r:id="rId21"/>
    <p:sldId id="2147483593" r:id="rId22"/>
    <p:sldId id="2147482589" r:id="rId23"/>
    <p:sldId id="2147483608" r:id="rId24"/>
    <p:sldId id="2147483600" r:id="rId25"/>
    <p:sldId id="2147483602" r:id="rId26"/>
    <p:sldId id="2147483586" r:id="rId27"/>
    <p:sldId id="2147483613" r:id="rId28"/>
    <p:sldId id="2147483615" r:id="rId29"/>
    <p:sldId id="2147483614" r:id="rId30"/>
    <p:sldId id="2147482584" r:id="rId31"/>
    <p:sldId id="2147483533" r:id="rId32"/>
    <p:sldId id="2147483618" r:id="rId33"/>
    <p:sldId id="2147483568" r:id="rId34"/>
    <p:sldId id="2147483619" r:id="rId35"/>
    <p:sldId id="2147482588" r:id="rId36"/>
    <p:sldId id="2147483611" r:id="rId37"/>
    <p:sldId id="2147483569" r:id="rId38"/>
    <p:sldId id="2147483557" r:id="rId39"/>
    <p:sldId id="2147483620" r:id="rId40"/>
    <p:sldId id="2147483551" r:id="rId41"/>
    <p:sldId id="2147483612" r:id="rId42"/>
    <p:sldId id="2147483621" r:id="rId43"/>
    <p:sldId id="2147482595" r:id="rId44"/>
    <p:sldId id="2147483622" r:id="rId45"/>
    <p:sldId id="2147483582" r:id="rId46"/>
    <p:sldId id="2147483544" r:id="rId47"/>
    <p:sldId id="2147483583" r:id="rId48"/>
    <p:sldId id="2147483564" r:id="rId49"/>
    <p:sldId id="2147483547" r:id="rId50"/>
    <p:sldId id="2147483576" r:id="rId51"/>
    <p:sldId id="2147483623" r:id="rId52"/>
    <p:sldId id="2147483624" r:id="rId53"/>
    <p:sldId id="2147483625" r:id="rId54"/>
    <p:sldId id="2147483580" r:id="rId55"/>
    <p:sldId id="2147483626" r:id="rId56"/>
    <p:sldId id="2147478740" r:id="rId57"/>
    <p:sldId id="262" r:id="rId58"/>
    <p:sldId id="261" r:id="rId59"/>
    <p:sldId id="272" r:id="rId60"/>
    <p:sldId id="2147483643" r:id="rId61"/>
    <p:sldId id="2147483644" r:id="rId62"/>
    <p:sldId id="2147483630" r:id="rId63"/>
    <p:sldId id="274" r:id="rId64"/>
    <p:sldId id="260" r:id="rId65"/>
    <p:sldId id="2147483645" r:id="rId66"/>
    <p:sldId id="269" r:id="rId67"/>
    <p:sldId id="2147475732" r:id="rId68"/>
    <p:sldId id="2147483646" r:id="rId69"/>
    <p:sldId id="2147483647" r:id="rId70"/>
    <p:sldId id="276" r:id="rId71"/>
    <p:sldId id="256" r:id="rId72"/>
    <p:sldId id="2147475725" r:id="rId73"/>
    <p:sldId id="263" r:id="rId74"/>
    <p:sldId id="275" r:id="rId75"/>
    <p:sldId id="257" r:id="rId76"/>
    <p:sldId id="264" r:id="rId77"/>
    <p:sldId id="2147483638" r:id="rId78"/>
    <p:sldId id="265" r:id="rId79"/>
    <p:sldId id="266" r:id="rId80"/>
    <p:sldId id="268" r:id="rId81"/>
    <p:sldId id="267" r:id="rId82"/>
    <p:sldId id="2147483634" r:id="rId83"/>
    <p:sldId id="271" r:id="rId84"/>
    <p:sldId id="2147483642" r:id="rId85"/>
    <p:sldId id="2147483627" r:id="rId86"/>
    <p:sldId id="2147483629" r:id="rId87"/>
    <p:sldId id="259" r:id="rId88"/>
    <p:sldId id="270" r:id="rId89"/>
    <p:sldId id="258" r:id="rId90"/>
    <p:sldId id="277" r:id="rId91"/>
    <p:sldId id="278" r:id="rId92"/>
    <p:sldId id="2147483604" r:id="rId93"/>
    <p:sldId id="300" r:id="rId94"/>
    <p:sldId id="2147483606" r:id="rId95"/>
    <p:sldId id="279" r:id="rId96"/>
    <p:sldId id="280" r:id="rId97"/>
    <p:sldId id="281" r:id="rId98"/>
    <p:sldId id="2147483605" r:id="rId99"/>
    <p:sldId id="2147483617" r:id="rId100"/>
    <p:sldId id="2147479983" r:id="rId101"/>
    <p:sldId id="2147472725" r:id="rId102"/>
    <p:sldId id="2147475038" r:id="rId103"/>
    <p:sldId id="282" r:id="rId104"/>
    <p:sldId id="2147479986" r:id="rId105"/>
    <p:sldId id="283" r:id="rId106"/>
    <p:sldId id="2147479984" r:id="rId107"/>
    <p:sldId id="284" r:id="rId108"/>
    <p:sldId id="285" r:id="rId109"/>
    <p:sldId id="2145707333" r:id="rId110"/>
    <p:sldId id="273" r:id="rId111"/>
    <p:sldId id="286" r:id="rId112"/>
    <p:sldId id="2147483559" r:id="rId113"/>
    <p:sldId id="287" r:id="rId114"/>
  </p:sldIdLst>
  <p:sldSz cx="12192000" cy="6858000"/>
  <p:notesSz cx="6858000" cy="9144000"/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15E4139D-1228-4164-B918-C8D18F8534B8}">
          <p14:sldIdLst>
            <p14:sldId id="2147483584"/>
            <p14:sldId id="2147471399"/>
            <p14:sldId id="2146847438"/>
            <p14:sldId id="2147471390"/>
            <p14:sldId id="2147471391"/>
            <p14:sldId id="2147471392"/>
            <p14:sldId id="2147482582"/>
            <p14:sldId id="2147483610"/>
            <p14:sldId id="2147483607"/>
            <p14:sldId id="2147483609"/>
            <p14:sldId id="2147483616"/>
            <p14:sldId id="2147483603"/>
            <p14:sldId id="2147483510"/>
            <p14:sldId id="2147482585"/>
            <p14:sldId id="2147483593"/>
            <p14:sldId id="2147482589"/>
            <p14:sldId id="2147483608"/>
            <p14:sldId id="2147483600"/>
            <p14:sldId id="2147483602"/>
            <p14:sldId id="2147483586"/>
            <p14:sldId id="2147483613"/>
            <p14:sldId id="2147483615"/>
            <p14:sldId id="2147483614"/>
          </p14:sldIdLst>
        </p14:section>
        <p14:section name="Default Section" id="{C22F802D-A3AD-403D-A80E-8C8D226FF3CD}">
          <p14:sldIdLst>
            <p14:sldId id="2147482584"/>
          </p14:sldIdLst>
        </p14:section>
        <p14:section name="CAR-T / transplant 2L" id="{6B1F805B-1461-4C61-A10F-8DA7A9311886}">
          <p14:sldIdLst>
            <p14:sldId id="2147483533"/>
            <p14:sldId id="2147483618"/>
            <p14:sldId id="2147483568"/>
            <p14:sldId id="2147483619"/>
            <p14:sldId id="2147482588"/>
            <p14:sldId id="2147483611"/>
            <p14:sldId id="2147483569"/>
          </p14:sldIdLst>
        </p14:section>
        <p14:section name="Additional 2L options" id="{0114A8F4-4C54-402C-B54D-7C81171122E4}">
          <p14:sldIdLst>
            <p14:sldId id="2147483557"/>
            <p14:sldId id="2147483620"/>
            <p14:sldId id="2147483551"/>
            <p14:sldId id="2147483612"/>
            <p14:sldId id="2147483621"/>
            <p14:sldId id="2147482595"/>
            <p14:sldId id="2147483622"/>
            <p14:sldId id="2147483582"/>
          </p14:sldIdLst>
        </p14:section>
        <p14:section name="3L" id="{838232A3-FB01-4422-ACF7-4B117F17E95D}">
          <p14:sldIdLst>
            <p14:sldId id="2147483544"/>
            <p14:sldId id="2147483583"/>
            <p14:sldId id="2147483564"/>
            <p14:sldId id="2147483547"/>
            <p14:sldId id="2147483576"/>
            <p14:sldId id="2147483623"/>
            <p14:sldId id="2147483624"/>
            <p14:sldId id="2147483625"/>
            <p14:sldId id="2147483580"/>
            <p14:sldId id="2147483626"/>
            <p14:sldId id="2147478740"/>
            <p14:sldId id="262"/>
            <p14:sldId id="261"/>
            <p14:sldId id="272"/>
            <p14:sldId id="2147483643"/>
            <p14:sldId id="2147483644"/>
            <p14:sldId id="2147483630"/>
            <p14:sldId id="274"/>
            <p14:sldId id="260"/>
            <p14:sldId id="2147483645"/>
            <p14:sldId id="269"/>
            <p14:sldId id="2147475732"/>
            <p14:sldId id="2147483646"/>
            <p14:sldId id="2147483647"/>
            <p14:sldId id="276"/>
            <p14:sldId id="256"/>
            <p14:sldId id="2147475725"/>
            <p14:sldId id="263"/>
            <p14:sldId id="275"/>
            <p14:sldId id="257"/>
            <p14:sldId id="264"/>
            <p14:sldId id="2147483638"/>
            <p14:sldId id="265"/>
            <p14:sldId id="266"/>
            <p14:sldId id="268"/>
            <p14:sldId id="267"/>
            <p14:sldId id="2147483634"/>
            <p14:sldId id="271"/>
            <p14:sldId id="2147483642"/>
            <p14:sldId id="2147483627"/>
            <p14:sldId id="2147483629"/>
            <p14:sldId id="259"/>
            <p14:sldId id="270"/>
            <p14:sldId id="258"/>
          </p14:sldIdLst>
        </p14:section>
        <p14:section name="Next presentation" id="{10E8C793-FFCD-4BDF-A2F7-BAB409201C1D}">
          <p14:sldIdLst>
            <p14:sldId id="277"/>
            <p14:sldId id="278"/>
            <p14:sldId id="2147483604"/>
            <p14:sldId id="300"/>
            <p14:sldId id="2147483606"/>
            <p14:sldId id="279"/>
            <p14:sldId id="280"/>
            <p14:sldId id="281"/>
            <p14:sldId id="2147483605"/>
            <p14:sldId id="2147483617"/>
            <p14:sldId id="2147479983"/>
            <p14:sldId id="2147472725"/>
            <p14:sldId id="2147475038"/>
            <p14:sldId id="282"/>
            <p14:sldId id="2147479986"/>
            <p14:sldId id="283"/>
            <p14:sldId id="2147479984"/>
            <p14:sldId id="284"/>
            <p14:sldId id="285"/>
            <p14:sldId id="2145707333"/>
            <p14:sldId id="273"/>
            <p14:sldId id="286"/>
            <p14:sldId id="2147483559"/>
            <p14:sldId id="287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D28886E-AE82-4111-5232-333645DF385D}" name="Emily Clayton" initials="EC" userId="S::emily.clayton@cactuslifesciences.com::02caaeaa-d7f5-4797-9be9-942ac461ef86" providerId="AD"/>
  <p188:author id="{9B296B78-8828-C5A8-80C0-36CA2DAB60EB}" name="Francesca Chiodi" initials="FC" userId="S::francesca.chiodi@sobi.com::8b82f37b-6a20-4506-a8e1-0c5d21ffeb3c" providerId="AD"/>
  <p188:author id="{E8786190-0206-554D-131B-C30047B11720}" name="Abderrahim Benmoussa" initials="AB" userId="S::abderrahim.benmoussa@cactuslifesciences.com::9bd19763-6d45-4b8e-b26d-64727181b4d6" providerId="AD"/>
  <p188:author id="{208E9AA6-A4B6-1DE8-8AC2-6154CC465121}" name="Barbara Czech" initials="BC" userId="S::Barbara.Czech@sobi.com::600ccc38-cdaa-4c15-bff5-d8fde4c4e96c" providerId="AD"/>
  <p188:author id="{DC393FAC-C11C-AE85-7679-78420FB0D8A0}" name="Colin Plumb" initials="CP" userId="S::colin.plumb@cactuslifesciences.com::41bace22-0fd9-477f-a4f5-f21f4d0cd486" providerId="AD"/>
  <p188:author id="{07BF97D0-3BF6-4EF8-8B61-78E9998098C2}" name="Courtney Bologna" initials="CB" userId="S::courtney.bologna@cactuslifesciences.com::c3c72611-c465-4ee1-b315-645c850cec70" providerId="AD"/>
  <p188:author id="{62D046E4-58CC-2A04-B5C5-EA4968739F8A}" name="Louise Edvardsson" initials="LE" userId="S::Louise.Edvardsson@sobi.com::1b5c8da1-710c-49a1-b92b-d2e75a286334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D0FD3"/>
    <a:srgbClr val="162F3C"/>
    <a:srgbClr val="7F7F7F"/>
    <a:srgbClr val="2C5E77"/>
    <a:srgbClr val="CDD9DF"/>
    <a:srgbClr val="E0F0F1"/>
    <a:srgbClr val="21475D"/>
    <a:srgbClr val="496471"/>
    <a:srgbClr val="355565"/>
    <a:srgbClr val="27526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CCC0974-B238-4FD3-9202-E40594FC22CC}" v="3" dt="2026-06-19T14:54:16.43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3831" autoAdjust="0"/>
  </p:normalViewPr>
  <p:slideViewPr>
    <p:cSldViewPr snapToGrid="0">
      <p:cViewPr varScale="1">
        <p:scale>
          <a:sx n="107" d="100"/>
          <a:sy n="107" d="100"/>
        </p:scale>
        <p:origin x="126" y="85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19.xml"/><Relationship Id="rId117" Type="http://schemas.openxmlformats.org/officeDocument/2006/relationships/viewProps" Target="viewProps.xml"/><Relationship Id="rId21" Type="http://schemas.openxmlformats.org/officeDocument/2006/relationships/slide" Target="slides/slide14.xml"/><Relationship Id="rId42" Type="http://schemas.openxmlformats.org/officeDocument/2006/relationships/slide" Target="slides/slide35.xml"/><Relationship Id="rId47" Type="http://schemas.openxmlformats.org/officeDocument/2006/relationships/slide" Target="slides/slide40.xml"/><Relationship Id="rId63" Type="http://schemas.openxmlformats.org/officeDocument/2006/relationships/slide" Target="slides/slide56.xml"/><Relationship Id="rId68" Type="http://schemas.openxmlformats.org/officeDocument/2006/relationships/slide" Target="slides/slide61.xml"/><Relationship Id="rId84" Type="http://schemas.openxmlformats.org/officeDocument/2006/relationships/slide" Target="slides/slide77.xml"/><Relationship Id="rId89" Type="http://schemas.openxmlformats.org/officeDocument/2006/relationships/slide" Target="slides/slide82.xml"/><Relationship Id="rId112" Type="http://schemas.openxmlformats.org/officeDocument/2006/relationships/slide" Target="slides/slide105.xml"/><Relationship Id="rId16" Type="http://schemas.openxmlformats.org/officeDocument/2006/relationships/slide" Target="slides/slide9.xml"/><Relationship Id="rId107" Type="http://schemas.openxmlformats.org/officeDocument/2006/relationships/slide" Target="slides/slide100.xml"/><Relationship Id="rId11" Type="http://schemas.openxmlformats.org/officeDocument/2006/relationships/slide" Target="slides/slide4.xml"/><Relationship Id="rId32" Type="http://schemas.openxmlformats.org/officeDocument/2006/relationships/slide" Target="slides/slide25.xml"/><Relationship Id="rId37" Type="http://schemas.openxmlformats.org/officeDocument/2006/relationships/slide" Target="slides/slide30.xml"/><Relationship Id="rId53" Type="http://schemas.openxmlformats.org/officeDocument/2006/relationships/slide" Target="slides/slide46.xml"/><Relationship Id="rId58" Type="http://schemas.openxmlformats.org/officeDocument/2006/relationships/slide" Target="slides/slide51.xml"/><Relationship Id="rId74" Type="http://schemas.openxmlformats.org/officeDocument/2006/relationships/slide" Target="slides/slide67.xml"/><Relationship Id="rId79" Type="http://schemas.openxmlformats.org/officeDocument/2006/relationships/slide" Target="slides/slide72.xml"/><Relationship Id="rId102" Type="http://schemas.openxmlformats.org/officeDocument/2006/relationships/slide" Target="slides/slide95.xml"/><Relationship Id="rId5" Type="http://schemas.openxmlformats.org/officeDocument/2006/relationships/slideMaster" Target="slideMasters/slideMaster2.xml"/><Relationship Id="rId90" Type="http://schemas.openxmlformats.org/officeDocument/2006/relationships/slide" Target="slides/slide83.xml"/><Relationship Id="rId95" Type="http://schemas.openxmlformats.org/officeDocument/2006/relationships/slide" Target="slides/slide88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43" Type="http://schemas.openxmlformats.org/officeDocument/2006/relationships/slide" Target="slides/slide36.xml"/><Relationship Id="rId48" Type="http://schemas.openxmlformats.org/officeDocument/2006/relationships/slide" Target="slides/slide41.xml"/><Relationship Id="rId64" Type="http://schemas.openxmlformats.org/officeDocument/2006/relationships/slide" Target="slides/slide57.xml"/><Relationship Id="rId69" Type="http://schemas.openxmlformats.org/officeDocument/2006/relationships/slide" Target="slides/slide62.xml"/><Relationship Id="rId113" Type="http://schemas.openxmlformats.org/officeDocument/2006/relationships/slide" Target="slides/slide106.xml"/><Relationship Id="rId118" Type="http://schemas.openxmlformats.org/officeDocument/2006/relationships/theme" Target="theme/theme1.xml"/><Relationship Id="rId80" Type="http://schemas.openxmlformats.org/officeDocument/2006/relationships/slide" Target="slides/slide73.xml"/><Relationship Id="rId85" Type="http://schemas.openxmlformats.org/officeDocument/2006/relationships/slide" Target="slides/slide78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33" Type="http://schemas.openxmlformats.org/officeDocument/2006/relationships/slide" Target="slides/slide26.xml"/><Relationship Id="rId38" Type="http://schemas.openxmlformats.org/officeDocument/2006/relationships/slide" Target="slides/slide31.xml"/><Relationship Id="rId59" Type="http://schemas.openxmlformats.org/officeDocument/2006/relationships/slide" Target="slides/slide52.xml"/><Relationship Id="rId103" Type="http://schemas.openxmlformats.org/officeDocument/2006/relationships/slide" Target="slides/slide96.xml"/><Relationship Id="rId108" Type="http://schemas.openxmlformats.org/officeDocument/2006/relationships/slide" Target="slides/slide101.xml"/><Relationship Id="rId54" Type="http://schemas.openxmlformats.org/officeDocument/2006/relationships/slide" Target="slides/slide47.xml"/><Relationship Id="rId70" Type="http://schemas.openxmlformats.org/officeDocument/2006/relationships/slide" Target="slides/slide63.xml"/><Relationship Id="rId75" Type="http://schemas.openxmlformats.org/officeDocument/2006/relationships/slide" Target="slides/slide68.xml"/><Relationship Id="rId91" Type="http://schemas.openxmlformats.org/officeDocument/2006/relationships/slide" Target="slides/slide84.xml"/><Relationship Id="rId96" Type="http://schemas.openxmlformats.org/officeDocument/2006/relationships/slide" Target="slides/slide89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49" Type="http://schemas.openxmlformats.org/officeDocument/2006/relationships/slide" Target="slides/slide42.xml"/><Relationship Id="rId114" Type="http://schemas.openxmlformats.org/officeDocument/2006/relationships/slide" Target="slides/slide107.xml"/><Relationship Id="rId119" Type="http://schemas.openxmlformats.org/officeDocument/2006/relationships/tableStyles" Target="tableStyles.xml"/><Relationship Id="rId44" Type="http://schemas.openxmlformats.org/officeDocument/2006/relationships/slide" Target="slides/slide37.xml"/><Relationship Id="rId60" Type="http://schemas.openxmlformats.org/officeDocument/2006/relationships/slide" Target="slides/slide53.xml"/><Relationship Id="rId65" Type="http://schemas.openxmlformats.org/officeDocument/2006/relationships/slide" Target="slides/slide58.xml"/><Relationship Id="rId81" Type="http://schemas.openxmlformats.org/officeDocument/2006/relationships/slide" Target="slides/slide74.xml"/><Relationship Id="rId86" Type="http://schemas.openxmlformats.org/officeDocument/2006/relationships/slide" Target="slides/slide79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39" Type="http://schemas.openxmlformats.org/officeDocument/2006/relationships/slide" Target="slides/slide32.xml"/><Relationship Id="rId109" Type="http://schemas.openxmlformats.org/officeDocument/2006/relationships/slide" Target="slides/slide102.xml"/><Relationship Id="rId34" Type="http://schemas.openxmlformats.org/officeDocument/2006/relationships/slide" Target="slides/slide27.xml"/><Relationship Id="rId50" Type="http://schemas.openxmlformats.org/officeDocument/2006/relationships/slide" Target="slides/slide43.xml"/><Relationship Id="rId55" Type="http://schemas.openxmlformats.org/officeDocument/2006/relationships/slide" Target="slides/slide48.xml"/><Relationship Id="rId76" Type="http://schemas.openxmlformats.org/officeDocument/2006/relationships/slide" Target="slides/slide69.xml"/><Relationship Id="rId97" Type="http://schemas.openxmlformats.org/officeDocument/2006/relationships/slide" Target="slides/slide90.xml"/><Relationship Id="rId104" Type="http://schemas.openxmlformats.org/officeDocument/2006/relationships/slide" Target="slides/slide97.xml"/><Relationship Id="rId120" Type="http://schemas.microsoft.com/office/2015/10/relationships/revisionInfo" Target="revisionInfo.xml"/><Relationship Id="rId7" Type="http://schemas.openxmlformats.org/officeDocument/2006/relationships/slideMaster" Target="slideMasters/slideMaster4.xml"/><Relationship Id="rId71" Type="http://schemas.openxmlformats.org/officeDocument/2006/relationships/slide" Target="slides/slide64.xml"/><Relationship Id="rId92" Type="http://schemas.openxmlformats.org/officeDocument/2006/relationships/slide" Target="slides/slide85.xml"/><Relationship Id="rId2" Type="http://schemas.openxmlformats.org/officeDocument/2006/relationships/customXml" Target="../customXml/item2.xml"/><Relationship Id="rId29" Type="http://schemas.openxmlformats.org/officeDocument/2006/relationships/slide" Target="slides/slide22.xml"/><Relationship Id="rId24" Type="http://schemas.openxmlformats.org/officeDocument/2006/relationships/slide" Target="slides/slide17.xml"/><Relationship Id="rId40" Type="http://schemas.openxmlformats.org/officeDocument/2006/relationships/slide" Target="slides/slide33.xml"/><Relationship Id="rId45" Type="http://schemas.openxmlformats.org/officeDocument/2006/relationships/slide" Target="slides/slide38.xml"/><Relationship Id="rId66" Type="http://schemas.openxmlformats.org/officeDocument/2006/relationships/slide" Target="slides/slide59.xml"/><Relationship Id="rId87" Type="http://schemas.openxmlformats.org/officeDocument/2006/relationships/slide" Target="slides/slide80.xml"/><Relationship Id="rId110" Type="http://schemas.openxmlformats.org/officeDocument/2006/relationships/slide" Target="slides/slide103.xml"/><Relationship Id="rId115" Type="http://schemas.openxmlformats.org/officeDocument/2006/relationships/notesMaster" Target="notesMasters/notesMaster1.xml"/><Relationship Id="rId61" Type="http://schemas.openxmlformats.org/officeDocument/2006/relationships/slide" Target="slides/slide54.xml"/><Relationship Id="rId82" Type="http://schemas.openxmlformats.org/officeDocument/2006/relationships/slide" Target="slides/slide75.xml"/><Relationship Id="rId19" Type="http://schemas.openxmlformats.org/officeDocument/2006/relationships/slide" Target="slides/slide12.xml"/><Relationship Id="rId14" Type="http://schemas.openxmlformats.org/officeDocument/2006/relationships/slide" Target="slides/slide7.xml"/><Relationship Id="rId30" Type="http://schemas.openxmlformats.org/officeDocument/2006/relationships/slide" Target="slides/slide23.xml"/><Relationship Id="rId35" Type="http://schemas.openxmlformats.org/officeDocument/2006/relationships/slide" Target="slides/slide28.xml"/><Relationship Id="rId56" Type="http://schemas.openxmlformats.org/officeDocument/2006/relationships/slide" Target="slides/slide49.xml"/><Relationship Id="rId77" Type="http://schemas.openxmlformats.org/officeDocument/2006/relationships/slide" Target="slides/slide70.xml"/><Relationship Id="rId100" Type="http://schemas.openxmlformats.org/officeDocument/2006/relationships/slide" Target="slides/slide93.xml"/><Relationship Id="rId105" Type="http://schemas.openxmlformats.org/officeDocument/2006/relationships/slide" Target="slides/slide98.xml"/><Relationship Id="rId8" Type="http://schemas.openxmlformats.org/officeDocument/2006/relationships/slide" Target="slides/slide1.xml"/><Relationship Id="rId51" Type="http://schemas.openxmlformats.org/officeDocument/2006/relationships/slide" Target="slides/slide44.xml"/><Relationship Id="rId72" Type="http://schemas.openxmlformats.org/officeDocument/2006/relationships/slide" Target="slides/slide65.xml"/><Relationship Id="rId93" Type="http://schemas.openxmlformats.org/officeDocument/2006/relationships/slide" Target="slides/slide86.xml"/><Relationship Id="rId98" Type="http://schemas.openxmlformats.org/officeDocument/2006/relationships/slide" Target="slides/slide91.xml"/><Relationship Id="rId121" Type="http://schemas.microsoft.com/office/2018/10/relationships/authors" Target="authors.xml"/><Relationship Id="rId3" Type="http://schemas.openxmlformats.org/officeDocument/2006/relationships/customXml" Target="../customXml/item3.xml"/><Relationship Id="rId25" Type="http://schemas.openxmlformats.org/officeDocument/2006/relationships/slide" Target="slides/slide18.xml"/><Relationship Id="rId46" Type="http://schemas.openxmlformats.org/officeDocument/2006/relationships/slide" Target="slides/slide39.xml"/><Relationship Id="rId67" Type="http://schemas.openxmlformats.org/officeDocument/2006/relationships/slide" Target="slides/slide60.xml"/><Relationship Id="rId116" Type="http://schemas.openxmlformats.org/officeDocument/2006/relationships/presProps" Target="presProps.xml"/><Relationship Id="rId20" Type="http://schemas.openxmlformats.org/officeDocument/2006/relationships/slide" Target="slides/slide13.xml"/><Relationship Id="rId41" Type="http://schemas.openxmlformats.org/officeDocument/2006/relationships/slide" Target="slides/slide34.xml"/><Relationship Id="rId62" Type="http://schemas.openxmlformats.org/officeDocument/2006/relationships/slide" Target="slides/slide55.xml"/><Relationship Id="rId83" Type="http://schemas.openxmlformats.org/officeDocument/2006/relationships/slide" Target="slides/slide76.xml"/><Relationship Id="rId88" Type="http://schemas.openxmlformats.org/officeDocument/2006/relationships/slide" Target="slides/slide81.xml"/><Relationship Id="rId111" Type="http://schemas.openxmlformats.org/officeDocument/2006/relationships/slide" Target="slides/slide104.xml"/><Relationship Id="rId15" Type="http://schemas.openxmlformats.org/officeDocument/2006/relationships/slide" Target="slides/slide8.xml"/><Relationship Id="rId36" Type="http://schemas.openxmlformats.org/officeDocument/2006/relationships/slide" Target="slides/slide29.xml"/><Relationship Id="rId57" Type="http://schemas.openxmlformats.org/officeDocument/2006/relationships/slide" Target="slides/slide50.xml"/><Relationship Id="rId106" Type="http://schemas.openxmlformats.org/officeDocument/2006/relationships/slide" Target="slides/slide99.xml"/><Relationship Id="rId10" Type="http://schemas.openxmlformats.org/officeDocument/2006/relationships/slide" Target="slides/slide3.xml"/><Relationship Id="rId31" Type="http://schemas.openxmlformats.org/officeDocument/2006/relationships/slide" Target="slides/slide24.xml"/><Relationship Id="rId52" Type="http://schemas.openxmlformats.org/officeDocument/2006/relationships/slide" Target="slides/slide45.xml"/><Relationship Id="rId73" Type="http://schemas.openxmlformats.org/officeDocument/2006/relationships/slide" Target="slides/slide66.xml"/><Relationship Id="rId78" Type="http://schemas.openxmlformats.org/officeDocument/2006/relationships/slide" Target="slides/slide71.xml"/><Relationship Id="rId94" Type="http://schemas.openxmlformats.org/officeDocument/2006/relationships/slide" Target="slides/slide87.xml"/><Relationship Id="rId99" Type="http://schemas.openxmlformats.org/officeDocument/2006/relationships/slide" Target="slides/slide92.xml"/><Relationship Id="rId101" Type="http://schemas.openxmlformats.org/officeDocument/2006/relationships/slide" Target="slides/slide94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R</c:v>
                </c:pt>
              </c:strCache>
            </c:strRef>
          </c:tx>
          <c:spPr>
            <a:solidFill>
              <a:srgbClr val="EB920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3</c:f>
              <c:strCache>
                <c:ptCount val="2"/>
                <c:pt idx="0">
                  <c:v>CAR-T 2L/Lonca 3L (N=95)</c:v>
                </c:pt>
                <c:pt idx="1">
                  <c:v>CAR-T 3L/Lonca 4L (N=23)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34</c:v>
                </c:pt>
                <c:pt idx="1">
                  <c:v>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9B6-4E42-96CF-B162D453C9A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R</c:v>
                </c:pt>
              </c:strCache>
            </c:strRef>
          </c:tx>
          <c:spPr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3</c:f>
              <c:strCache>
                <c:ptCount val="2"/>
                <c:pt idx="0">
                  <c:v>CAR-T 2L/Lonca 3L (N=95)</c:v>
                </c:pt>
                <c:pt idx="1">
                  <c:v>CAR-T 3L/Lonca 4L (N=23)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  <c:pt idx="0">
                  <c:v>39</c:v>
                </c:pt>
                <c:pt idx="1">
                  <c:v>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9B6-4E42-96CF-B162D453C9A7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655220479"/>
        <c:axId val="1977353327"/>
      </c:barChart>
      <c:catAx>
        <c:axId val="165522047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6350" cap="flat" cmpd="sng" algn="ctr">
            <a:solidFill>
              <a:schemeClr val="dk1"/>
            </a:solidFill>
            <a:prstDash val="solid"/>
            <a:miter lim="800000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s-ES"/>
          </a:p>
        </c:txPr>
        <c:crossAx val="1977353327"/>
        <c:crosses val="autoZero"/>
        <c:auto val="1"/>
        <c:lblAlgn val="ctr"/>
        <c:lblOffset val="100"/>
        <c:noMultiLvlLbl val="0"/>
      </c:catAx>
      <c:valAx>
        <c:axId val="1977353327"/>
        <c:scaling>
          <c:orientation val="minMax"/>
          <c:max val="100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 sz="1400">
                    <a:solidFill>
                      <a:schemeClr val="tx2"/>
                    </a:solidFill>
                  </a:rPr>
                  <a:t>Best response (%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400" b="0" i="0" u="none" strike="noStrike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pPr>
              <a:endParaRPr lang="es-ES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 w="6350" cap="flat" cmpd="sng" algn="ctr">
            <a:solidFill>
              <a:schemeClr val="dk1"/>
            </a:solidFill>
            <a:prstDash val="solid"/>
            <a:miter lim="800000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s-ES"/>
          </a:p>
        </c:txPr>
        <c:crossAx val="1655220479"/>
        <c:crosses val="autoZero"/>
        <c:crossBetween val="between"/>
        <c:majorUnit val="2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s-E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R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</c:f>
              <c:strCache>
                <c:ptCount val="1"/>
                <c:pt idx="0">
                  <c:v>Patients in Arm 3 (N=35)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652-46A0-A1BF-4361AED3E6C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R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</c:f>
              <c:strCache>
                <c:ptCount val="1"/>
                <c:pt idx="0">
                  <c:v>Patients in Arm 3 (N=35)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652-46A0-A1BF-4361AED3E6CE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655220479"/>
        <c:axId val="1977353327"/>
      </c:barChart>
      <c:catAx>
        <c:axId val="165522047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6350" cap="flat" cmpd="sng" algn="ctr">
            <a:solidFill>
              <a:schemeClr val="dk1"/>
            </a:solidFill>
            <a:prstDash val="solid"/>
            <a:miter lim="800000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s-ES"/>
          </a:p>
        </c:txPr>
        <c:crossAx val="1977353327"/>
        <c:crosses val="autoZero"/>
        <c:auto val="1"/>
        <c:lblAlgn val="ctr"/>
        <c:lblOffset val="100"/>
        <c:noMultiLvlLbl val="0"/>
      </c:catAx>
      <c:valAx>
        <c:axId val="1977353327"/>
        <c:scaling>
          <c:orientation val="minMax"/>
          <c:max val="100"/>
          <c:min val="0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 sz="1400">
                    <a:solidFill>
                      <a:schemeClr val="tx2"/>
                    </a:solidFill>
                  </a:rPr>
                  <a:t>Best response (%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400" b="0" i="0" u="none" strike="noStrike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pPr>
              <a:endParaRPr lang="es-ES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 w="6350" cap="flat" cmpd="sng" algn="ctr">
            <a:solidFill>
              <a:schemeClr val="dk1"/>
            </a:solidFill>
            <a:prstDash val="solid"/>
            <a:miter lim="800000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s-ES"/>
          </a:p>
        </c:txPr>
        <c:crossAx val="1655220479"/>
        <c:crosses val="autoZero"/>
        <c:crossBetween val="between"/>
        <c:majorUnit val="2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s-E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R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</c:f>
              <c:strCache>
                <c:ptCount val="1"/>
                <c:pt idx="0">
                  <c:v>Patients in Arm 1 (N=32)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1C-4FAC-9391-107A12F6963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R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</c:f>
              <c:strCache>
                <c:ptCount val="1"/>
                <c:pt idx="0">
                  <c:v>Patients in Arm 1 (N=32)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61C-4FAC-9391-107A12F69637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655220479"/>
        <c:axId val="1977353327"/>
      </c:barChart>
      <c:catAx>
        <c:axId val="165522047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6350" cap="flat" cmpd="sng" algn="ctr">
            <a:solidFill>
              <a:schemeClr val="dk1"/>
            </a:solidFill>
            <a:prstDash val="solid"/>
            <a:miter lim="800000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s-ES"/>
          </a:p>
        </c:txPr>
        <c:crossAx val="1977353327"/>
        <c:crosses val="autoZero"/>
        <c:auto val="1"/>
        <c:lblAlgn val="ctr"/>
        <c:lblOffset val="100"/>
        <c:noMultiLvlLbl val="0"/>
      </c:catAx>
      <c:valAx>
        <c:axId val="1977353327"/>
        <c:scaling>
          <c:orientation val="minMax"/>
          <c:max val="100"/>
          <c:min val="0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 sz="1400">
                    <a:solidFill>
                      <a:schemeClr val="tx2"/>
                    </a:solidFill>
                  </a:rPr>
                  <a:t>Best response (%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400" b="0" i="0" u="none" strike="noStrike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pPr>
              <a:endParaRPr lang="es-ES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 w="6350" cap="flat" cmpd="sng" algn="ctr">
            <a:solidFill>
              <a:schemeClr val="dk1"/>
            </a:solidFill>
            <a:prstDash val="solid"/>
            <a:miter lim="800000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s-ES"/>
          </a:p>
        </c:txPr>
        <c:crossAx val="1655220479"/>
        <c:crosses val="autoZero"/>
        <c:crossBetween val="between"/>
        <c:majorUnit val="2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s-E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R</c:v>
                </c:pt>
              </c:strCache>
            </c:strRef>
          </c:tx>
          <c:spPr>
            <a:solidFill>
              <a:srgbClr val="EB920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</c:f>
              <c:strCache>
                <c:ptCount val="1"/>
                <c:pt idx="0">
                  <c:v>Efficacy evaluable patients (N=30)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86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E76-4A4D-B81F-670A97C2049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R</c:v>
                </c:pt>
              </c:strCache>
            </c:strRef>
          </c:tx>
          <c:spPr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</c:f>
              <c:strCache>
                <c:ptCount val="1"/>
                <c:pt idx="0">
                  <c:v>Efficacy evaluable patients (N=30)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6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E76-4A4D-B81F-670A97C20492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655220479"/>
        <c:axId val="1977353327"/>
      </c:barChart>
      <c:catAx>
        <c:axId val="165522047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6350" cap="flat" cmpd="sng" algn="ctr">
            <a:solidFill>
              <a:schemeClr val="dk1"/>
            </a:solidFill>
            <a:prstDash val="solid"/>
            <a:miter lim="800000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s-ES"/>
          </a:p>
        </c:txPr>
        <c:crossAx val="1977353327"/>
        <c:crosses val="autoZero"/>
        <c:auto val="1"/>
        <c:lblAlgn val="ctr"/>
        <c:lblOffset val="100"/>
        <c:noMultiLvlLbl val="0"/>
      </c:catAx>
      <c:valAx>
        <c:axId val="1977353327"/>
        <c:scaling>
          <c:orientation val="minMax"/>
          <c:max val="100"/>
          <c:min val="0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 sz="1400">
                    <a:solidFill>
                      <a:schemeClr val="tx2"/>
                    </a:solidFill>
                  </a:rPr>
                  <a:t>Best response (%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400" b="0" i="0" u="none" strike="noStrike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pPr>
              <a:endParaRPr lang="es-ES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 w="6350" cap="flat" cmpd="sng" algn="ctr">
            <a:solidFill>
              <a:schemeClr val="dk1"/>
            </a:solidFill>
            <a:prstDash val="solid"/>
            <a:miter lim="800000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s-ES"/>
          </a:p>
        </c:txPr>
        <c:crossAx val="1655220479"/>
        <c:crosses val="autoZero"/>
        <c:crossBetween val="between"/>
        <c:majorUnit val="2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s-E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7437719-B14C-F243-A894-4011153D8C87}" type="datetimeFigureOut">
              <a:rPr lang="en-SE" smtClean="0"/>
              <a:t>06/19/2026</a:t>
            </a:fld>
            <a:endParaRPr lang="en-S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S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S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A81B6B5-2518-B244-B8AD-11E31BF235A9}" type="slidenum">
              <a:rPr lang="en-SE" smtClean="0"/>
              <a:t>‹#›</a:t>
            </a:fld>
            <a:endParaRPr lang="en-SE"/>
          </a:p>
        </p:txBody>
      </p:sp>
    </p:spTree>
    <p:extLst>
      <p:ext uri="{BB962C8B-B14F-4D97-AF65-F5344CB8AC3E}">
        <p14:creationId xmlns:p14="http://schemas.microsoft.com/office/powerpoint/2010/main" val="31767485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0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0.xml"/><Relationship Id="rId1" Type="http://schemas.openxmlformats.org/officeDocument/2006/relationships/notesMaster" Target="../notesMasters/notesMaster1.xml"/></Relationships>
</file>

<file path=ppt/notesSlides/_rels/notesSlide10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1.xml"/><Relationship Id="rId1" Type="http://schemas.openxmlformats.org/officeDocument/2006/relationships/notesMaster" Target="../notesMasters/notesMaster1.xml"/></Relationships>
</file>

<file path=ppt/notesSlides/_rels/notesSlide10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2.xml"/><Relationship Id="rId1" Type="http://schemas.openxmlformats.org/officeDocument/2006/relationships/notesMaster" Target="../notesMasters/notesMaster1.xml"/></Relationships>
</file>

<file path=ppt/notesSlides/_rels/notesSlide10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3.xml"/><Relationship Id="rId1" Type="http://schemas.openxmlformats.org/officeDocument/2006/relationships/notesMaster" Target="../notesMasters/notesMaster1.xml"/></Relationships>
</file>

<file path=ppt/notesSlides/_rels/notesSlide10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4.xml"/><Relationship Id="rId1" Type="http://schemas.openxmlformats.org/officeDocument/2006/relationships/notesMaster" Target="../notesMasters/notesMaster1.xml"/></Relationships>
</file>

<file path=ppt/notesSlides/_rels/notesSlide10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5.xml"/><Relationship Id="rId1" Type="http://schemas.openxmlformats.org/officeDocument/2006/relationships/notesMaster" Target="../notesMasters/notesMaster1.xml"/></Relationships>
</file>

<file path=ppt/notesSlides/_rels/notesSlide10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6.xml"/><Relationship Id="rId1" Type="http://schemas.openxmlformats.org/officeDocument/2006/relationships/notesMaster" Target="../notesMasters/notesMaster1.xml"/></Relationships>
</file>

<file path=ppt/notesSlides/_rels/notesSlide10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6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6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6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6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6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6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7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7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7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7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7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7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7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7.xml"/><Relationship Id="rId1" Type="http://schemas.openxmlformats.org/officeDocument/2006/relationships/notesMaster" Target="../notesMasters/notesMaster1.xml"/></Relationships>
</file>

<file path=ppt/notesSlides/_rels/notesSlide7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8.xml"/><Relationship Id="rId1" Type="http://schemas.openxmlformats.org/officeDocument/2006/relationships/notesMaster" Target="../notesMasters/notesMaster1.xml"/></Relationships>
</file>

<file path=ppt/notesSlides/_rels/notesSlide7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0.xml"/><Relationship Id="rId1" Type="http://schemas.openxmlformats.org/officeDocument/2006/relationships/notesMaster" Target="../notesMasters/notesMaster1.xml"/></Relationships>
</file>

<file path=ppt/notesSlides/_rels/notesSlide8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1.xml"/><Relationship Id="rId1" Type="http://schemas.openxmlformats.org/officeDocument/2006/relationships/notesMaster" Target="../notesMasters/notesMaster1.xml"/></Relationships>
</file>

<file path=ppt/notesSlides/_rels/notesSlide8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2.xml"/><Relationship Id="rId1" Type="http://schemas.openxmlformats.org/officeDocument/2006/relationships/notesMaster" Target="../notesMasters/notesMaster1.xml"/></Relationships>
</file>

<file path=ppt/notesSlides/_rels/notesSlide8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3.xml"/><Relationship Id="rId1" Type="http://schemas.openxmlformats.org/officeDocument/2006/relationships/notesMaster" Target="../notesMasters/notesMaster1.xml"/></Relationships>
</file>

<file path=ppt/notesSlides/_rels/notesSlide8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4.xml"/><Relationship Id="rId1" Type="http://schemas.openxmlformats.org/officeDocument/2006/relationships/notesMaster" Target="../notesMasters/notesMaster1.xml"/></Relationships>
</file>

<file path=ppt/notesSlides/_rels/notesSlide8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5.xml"/><Relationship Id="rId1" Type="http://schemas.openxmlformats.org/officeDocument/2006/relationships/notesMaster" Target="../notesMasters/notesMaster1.xml"/></Relationships>
</file>

<file path=ppt/notesSlides/_rels/notesSlide8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6.xml"/><Relationship Id="rId1" Type="http://schemas.openxmlformats.org/officeDocument/2006/relationships/notesMaster" Target="../notesMasters/notesMaster1.xml"/></Relationships>
</file>

<file path=ppt/notesSlides/_rels/notesSlide8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7.xml"/><Relationship Id="rId1" Type="http://schemas.openxmlformats.org/officeDocument/2006/relationships/notesMaster" Target="../notesMasters/notesMaster1.xml"/></Relationships>
</file>

<file path=ppt/notesSlides/_rels/notesSlide8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8.xml"/><Relationship Id="rId1" Type="http://schemas.openxmlformats.org/officeDocument/2006/relationships/notesMaster" Target="../notesMasters/notesMaster1.xml"/></Relationships>
</file>

<file path=ppt/notesSlides/_rels/notesSlide8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0.xml"/><Relationship Id="rId1" Type="http://schemas.openxmlformats.org/officeDocument/2006/relationships/notesMaster" Target="../notesMasters/notesMaster1.xml"/></Relationships>
</file>

<file path=ppt/notesSlides/_rels/notesSlide9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1.xml"/><Relationship Id="rId1" Type="http://schemas.openxmlformats.org/officeDocument/2006/relationships/notesMaster" Target="../notesMasters/notesMaster1.xml"/></Relationships>
</file>

<file path=ppt/notesSlides/_rels/notesSlide9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2.xml"/><Relationship Id="rId1" Type="http://schemas.openxmlformats.org/officeDocument/2006/relationships/notesMaster" Target="../notesMasters/notesMaster1.xml"/></Relationships>
</file>

<file path=ppt/notesSlides/_rels/notesSlide9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3.xml"/><Relationship Id="rId1" Type="http://schemas.openxmlformats.org/officeDocument/2006/relationships/notesMaster" Target="../notesMasters/notesMaster1.xml"/></Relationships>
</file>

<file path=ppt/notesSlides/_rels/notesSlide9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4.xml"/><Relationship Id="rId1" Type="http://schemas.openxmlformats.org/officeDocument/2006/relationships/notesMaster" Target="../notesMasters/notesMaster1.xml"/></Relationships>
</file>

<file path=ppt/notesSlides/_rels/notesSlide9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5.xml"/><Relationship Id="rId1" Type="http://schemas.openxmlformats.org/officeDocument/2006/relationships/notesMaster" Target="../notesMasters/notesMaster1.xml"/></Relationships>
</file>

<file path=ppt/notesSlides/_rels/notesSlide9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6.xml"/><Relationship Id="rId1" Type="http://schemas.openxmlformats.org/officeDocument/2006/relationships/notesMaster" Target="../notesMasters/notesMaster1.xml"/></Relationships>
</file>

<file path=ppt/notesSlides/_rels/notesSlide9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7.xml"/><Relationship Id="rId1" Type="http://schemas.openxmlformats.org/officeDocument/2006/relationships/notesMaster" Target="../notesMasters/notesMaster1.xml"/></Relationships>
</file>

<file path=ppt/notesSlides/_rels/notesSlide9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8.xml"/><Relationship Id="rId1" Type="http://schemas.openxmlformats.org/officeDocument/2006/relationships/notesMaster" Target="../notesMasters/notesMaster1.xml"/></Relationships>
</file>

<file path=ppt/notesSlides/_rels/notesSlide9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81B6B5-2518-B244-B8AD-11E31BF235A9}" type="slidenum">
              <a:rPr lang="en-SE" smtClean="0"/>
              <a:t>1</a:t>
            </a:fld>
            <a:endParaRPr lang="en-SE"/>
          </a:p>
        </p:txBody>
      </p:sp>
    </p:spTree>
    <p:extLst>
      <p:ext uri="{BB962C8B-B14F-4D97-AF65-F5344CB8AC3E}">
        <p14:creationId xmlns:p14="http://schemas.microsoft.com/office/powerpoint/2010/main" val="220967370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b="1"/>
              <a:t>References</a:t>
            </a:r>
          </a:p>
          <a:p>
            <a:pPr marL="228600" indent="-228600" algn="l">
              <a:buFont typeface="+mj-lt"/>
              <a:buAutoNum type="arabicPeriod"/>
            </a:pPr>
            <a:r>
              <a:rPr lang="en-GB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 MCJ, Tadros S, Bouska A, et al. Subtype-specific and co-occurring genetic alterations in B-cell non-Hodgkin lymphoma. </a:t>
            </a:r>
            <a:r>
              <a:rPr lang="en-GB" sz="1200" b="0" i="1" kern="120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Haematologica</a:t>
            </a:r>
            <a:r>
              <a:rPr lang="en-GB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2022;107(3):690-701.</a:t>
            </a:r>
          </a:p>
          <a:p>
            <a:pPr marL="228600" indent="-228600" algn="l">
              <a:buFont typeface="+mj-lt"/>
              <a:buAutoNum type="arabicPeriod"/>
            </a:pPr>
            <a:r>
              <a:rPr lang="en-GB" err="1">
                <a:latin typeface="+mn-lt"/>
              </a:rPr>
              <a:t>Leukemia</a:t>
            </a:r>
            <a:r>
              <a:rPr lang="en-GB">
                <a:latin typeface="+mn-lt"/>
              </a:rPr>
              <a:t> and Lymphoma Society 2024: Non-Hodgkin Lymphoma. </a:t>
            </a:r>
            <a:r>
              <a:rPr lang="en-GB" altLang="it-IT" sz="1200">
                <a:latin typeface="Arial" panose="020B0604020202020204" pitchFamily="34" charset="0"/>
              </a:rPr>
              <a:t>Accessed 31 March 2026 from: </a:t>
            </a:r>
            <a:r>
              <a:rPr lang="en-GB"/>
              <a:t>https://llsorg.widen.net/view/pdf/prckaq84ot/en-non-hodgkin-lymphoma-booklet-ps58</a:t>
            </a:r>
            <a:r>
              <a:rPr lang="en-GB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GB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ehn LH, Salles G. Diffuse Large B-Cell Lymphoma. N Engl J Med. 2021 Mar 4;384:842–858.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GB" sz="1200" err="1">
                <a:solidFill>
                  <a:prstClr val="black"/>
                </a:solidFill>
                <a:latin typeface="Aptos" panose="020B0004020202020204" pitchFamily="34" charset="0"/>
              </a:rPr>
              <a:t>Coiffier</a:t>
            </a:r>
            <a:r>
              <a:rPr lang="en-GB" sz="1200">
                <a:solidFill>
                  <a:prstClr val="black"/>
                </a:solidFill>
                <a:latin typeface="Aptos" panose="020B0004020202020204" pitchFamily="34" charset="0"/>
              </a:rPr>
              <a:t> B, Lepage E, </a:t>
            </a:r>
            <a:r>
              <a:rPr lang="en-GB" sz="1200" err="1">
                <a:solidFill>
                  <a:prstClr val="black"/>
                </a:solidFill>
                <a:latin typeface="Aptos" panose="020B0004020202020204" pitchFamily="34" charset="0"/>
              </a:rPr>
              <a:t>Brière</a:t>
            </a:r>
            <a:r>
              <a:rPr lang="en-GB" sz="1200">
                <a:solidFill>
                  <a:prstClr val="black"/>
                </a:solidFill>
                <a:latin typeface="Aptos" panose="020B0004020202020204" pitchFamily="34" charset="0"/>
              </a:rPr>
              <a:t> J, et al. CHOP Chemotherapy plus Rituximab Compared with CHOP Alone in Elderly Patients with Diffuse Large-B-Cell Lymphoma. New Engl J Med 2002;346:235-242.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lang="en-GB" sz="1200" b="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81B6B5-2518-B244-B8AD-11E31BF235A9}" type="slidenum">
              <a:rPr kumimoji="0" lang="en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84751278"/>
      </p:ext>
    </p:extLst>
  </p:cSld>
  <p:clrMapOvr>
    <a:masterClrMapping/>
  </p:clrMapOvr>
</p:notes>
</file>

<file path=ppt/notesSlides/notesSlide10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06E6BC-1C99-FDBF-F029-32DBE55E54E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94E7708-7DDD-8076-3E6C-6E13859F5FB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0B67DFC-7935-E05F-1000-8BEF9C60031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b="1" dirty="0"/>
              <a:t>Reference</a:t>
            </a:r>
          </a:p>
          <a:p>
            <a:pPr marL="228600" indent="-228600">
              <a:buFont typeface="+mj-lt"/>
              <a:buAutoNum type="arabicPeriod"/>
            </a:pPr>
            <a:r>
              <a:rPr lang="en-GB" dirty="0" err="1"/>
              <a:t>Matasar</a:t>
            </a:r>
            <a:r>
              <a:rPr lang="en-GB" dirty="0"/>
              <a:t> M, Li Z, </a:t>
            </a:r>
            <a:r>
              <a:rPr lang="en-GB" dirty="0" err="1"/>
              <a:t>Vassilakopoulos</a:t>
            </a:r>
            <a:r>
              <a:rPr lang="en-GB" dirty="0"/>
              <a:t> T, et al. Polatuzumab vedotin, rituximab, gemcitabine and oxaliplatin (Pola-R-</a:t>
            </a:r>
            <a:r>
              <a:rPr lang="en-GB" dirty="0" err="1"/>
              <a:t>Gemox</a:t>
            </a:r>
            <a:r>
              <a:rPr lang="en-GB" dirty="0"/>
              <a:t>) for relapsed/refractory (R/R) diffuse large B-cell lymphoma (DLBCL): Results from the randomized Phase III POLARGO trial. Oral presentation #S101 presented at European Haematology Association (EHA) June 12–15, 2025, Milan, Italy.</a:t>
            </a:r>
          </a:p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50FF1BA-D45D-D576-CC3D-D574496D4C2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A09EEA-C7B6-4E4B-8832-0CCD966A7E8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73381884"/>
      </p:ext>
    </p:extLst>
  </p:cSld>
  <p:clrMapOvr>
    <a:masterClrMapping/>
  </p:clrMapOvr>
</p:notes>
</file>

<file path=ppt/notesSlides/notesSlide10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81B6B5-2518-B244-B8AD-11E31BF235A9}" type="slidenum">
              <a:rPr kumimoji="0" lang="en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1</a:t>
            </a:fld>
            <a:endParaRPr kumimoji="0" lang="en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61701205"/>
      </p:ext>
    </p:extLst>
  </p:cSld>
  <p:clrMapOvr>
    <a:masterClrMapping/>
  </p:clrMapOvr>
</p:notes>
</file>

<file path=ppt/notesSlides/notesSlide10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81B6B5-2518-B244-B8AD-11E31BF235A9}" type="slidenum">
              <a:rPr kumimoji="0" lang="en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2</a:t>
            </a:fld>
            <a:endParaRPr kumimoji="0" lang="en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08626832"/>
      </p:ext>
    </p:extLst>
  </p:cSld>
  <p:clrMapOvr>
    <a:masterClrMapping/>
  </p:clrMapOvr>
</p:notes>
</file>

<file path=ppt/notesSlides/notesSlide10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81B6B5-2518-B244-B8AD-11E31BF235A9}" type="slidenum">
              <a:rPr kumimoji="0" lang="en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3</a:t>
            </a:fld>
            <a:endParaRPr kumimoji="0" lang="en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43773372"/>
      </p:ext>
    </p:extLst>
  </p:cSld>
  <p:clrMapOvr>
    <a:masterClrMapping/>
  </p:clrMapOvr>
</p:notes>
</file>

<file path=ppt/notesSlides/notesSlide10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81B6B5-2518-B244-B8AD-11E31BF235A9}" type="slidenum">
              <a:rPr kumimoji="0" lang="en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4</a:t>
            </a:fld>
            <a:endParaRPr kumimoji="0" lang="en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16378157"/>
      </p:ext>
    </p:extLst>
  </p:cSld>
  <p:clrMapOvr>
    <a:masterClrMapping/>
  </p:clrMapOvr>
</p:notes>
</file>

<file path=ppt/notesSlides/notesSlide10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81B6B5-2518-B244-B8AD-11E31BF235A9}" type="slidenum">
              <a:rPr kumimoji="0" lang="en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5</a:t>
            </a:fld>
            <a:endParaRPr kumimoji="0" lang="en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10254833"/>
      </p:ext>
    </p:extLst>
  </p:cSld>
  <p:clrMapOvr>
    <a:masterClrMapping/>
  </p:clrMapOvr>
</p:notes>
</file>

<file path=ppt/notesSlides/notesSlide10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81B6B5-2518-B244-B8AD-11E31BF235A9}" type="slidenum">
              <a:rPr kumimoji="0" lang="en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6</a:t>
            </a:fld>
            <a:endParaRPr kumimoji="0" lang="en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99534445"/>
      </p:ext>
    </p:extLst>
  </p:cSld>
  <p:clrMapOvr>
    <a:masterClrMapping/>
  </p:clrMapOvr>
</p:notes>
</file>

<file path=ppt/notesSlides/notesSlide10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81B6B5-2518-B244-B8AD-11E31BF235A9}" type="slidenum">
              <a:rPr kumimoji="0" lang="en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7</a:t>
            </a:fld>
            <a:endParaRPr kumimoji="0" lang="en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9226616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F62CF2C-E56C-CE3B-4D76-678A6ABF055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BFDFFA8-08DD-C721-794D-BB7D68C0AA8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E22CB20-38D6-B97F-CC34-6CD20E4758C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eferences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Ma MCJ, Tadros S, Bouska A, et al. Subtype-specific and co-occurring genetic alterations in B-cell non-Hodgkin lymphoma. </a:t>
            </a:r>
            <a:r>
              <a:rPr kumimoji="0" lang="en-GB" sz="1200" b="0" i="1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Haematologica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2022;107(3):690-701.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Leukemia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and Lymphoma Society 2024: Non-Hodgkin Lymphoma. </a:t>
            </a:r>
            <a:r>
              <a:rPr kumimoji="0" lang="en-GB" altLang="it-IT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ccessed 31 March 2026 from: 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https://llsorg.widen.net/view/pdf/prckaq84ot/en-non-hodgkin-lymphoma-booklet-ps58. 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ehn LH, Salles G. Diffuse Large B-Cell Lymphoma. N Engl J Med. 2021 Mar 4;384:842–858.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ehn LH, Martelli M, </a:t>
            </a:r>
            <a:r>
              <a:rPr kumimoji="0" lang="en-GB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rněný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M, et al. A randomized, open-label, Phase III study of obinutuzumab or rituximab plus CHOP in patients with previously untreated diffuse large B-Cell lymphoma: final analysis of GOYA. </a:t>
            </a:r>
            <a:r>
              <a:rPr kumimoji="0" lang="en-GB" sz="12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J </a:t>
            </a:r>
            <a:r>
              <a:rPr kumimoji="0" lang="en-GB" sz="1200" b="0" i="1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Hematol</a:t>
            </a:r>
            <a:r>
              <a:rPr kumimoji="0" lang="en-GB" sz="12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Oncol 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020 2020;</a:t>
            </a:r>
            <a:r>
              <a:rPr kumimoji="0" lang="en-GB" sz="12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3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:71. </a:t>
            </a:r>
            <a:endParaRPr lang="en-GB" sz="1200" b="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0043A2-A820-6B4C-6203-50CB1BB34E1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81B6B5-2518-B244-B8AD-11E31BF235A9}" type="slidenum">
              <a:rPr kumimoji="0" lang="en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44426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="1"/>
              <a:t>Reference</a:t>
            </a:r>
          </a:p>
          <a:p>
            <a:pPr marL="228600" indent="-228600">
              <a:buFont typeface="+mj-lt"/>
              <a:buAutoNum type="arabicPeriod"/>
            </a:pPr>
            <a:r>
              <a:rPr lang="en-GB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orschhauser F., Salles G., Sehn L. et al. Five-Year Outcomes of the POLARIX Study Comparing Pola-R-CHP and R-CHOP in Patients With Diffuse Large B-Cell Lymphoma. </a:t>
            </a:r>
            <a:r>
              <a:rPr lang="en-GB" sz="1200" b="0" i="1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J Clin Oncol </a:t>
            </a:r>
            <a:r>
              <a:rPr lang="en-GB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025;43:3698-3705.</a:t>
            </a:r>
            <a:endParaRPr lang="en-GB">
              <a:latin typeface="Aptos" panose="020B0004020202020204" pitchFamily="34" charset="0"/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81B6B5-2518-B244-B8AD-11E31BF235A9}" type="slidenum">
              <a:rPr kumimoji="0" lang="en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4527402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b="1"/>
              <a:t>Reference</a:t>
            </a:r>
          </a:p>
          <a:p>
            <a:r>
              <a:rPr lang="en-GB" b="1"/>
              <a:t>1. </a:t>
            </a:r>
            <a:r>
              <a:rPr lang="en-GB" sz="1200" b="0" i="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ineshaw</a:t>
            </a:r>
            <a:r>
              <a:rPr lang="en-GB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HM, Zettler CM, Prescott J, et al. Real-world patient characteristics, treatment patterns, and treatment outcomes of patients with diffuse large B-cell lymphoma by line of therapy. </a:t>
            </a:r>
            <a:r>
              <a:rPr lang="en-GB" sz="1200" b="0" i="1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ancer medicine</a:t>
            </a:r>
            <a:r>
              <a:rPr lang="en-GB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2024; </a:t>
            </a:r>
            <a:r>
              <a:rPr lang="en-GB" sz="1200" b="0" i="1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3</a:t>
            </a:r>
            <a:r>
              <a:rPr lang="en-GB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e7173.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81B6B5-2518-B244-B8AD-11E31BF235A9}" type="slidenum">
              <a:rPr kumimoji="0" lang="en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2716092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b="1"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eferences</a:t>
            </a:r>
          </a:p>
          <a:p>
            <a:pPr marL="228600" indent="-228600">
              <a:buFont typeface="+mj-lt"/>
              <a:buAutoNum type="arabicPeriod"/>
            </a:pPr>
            <a:r>
              <a:rPr lang="en-GB" b="0" i="0" err="1">
                <a:solidFill>
                  <a:srgbClr val="212121"/>
                </a:solidFill>
                <a:effectLst/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oiffier</a:t>
            </a:r>
            <a:r>
              <a:rPr lang="en-GB" b="0" i="0">
                <a:solidFill>
                  <a:srgbClr val="212121"/>
                </a:solidFill>
                <a:effectLst/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B, Lepage E, Briere J, et al. CHOP chemotherapy plus rituximab compared with CHOP alone in elderly patients with diffuse large-B-cell lymphoma. </a:t>
            </a:r>
            <a:r>
              <a:rPr lang="en-GB" b="0" i="1">
                <a:solidFill>
                  <a:srgbClr val="212121"/>
                </a:solidFill>
                <a:effectLst/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N Engl J Med</a:t>
            </a:r>
            <a:r>
              <a:rPr lang="en-GB" b="0" i="0">
                <a:solidFill>
                  <a:srgbClr val="212121"/>
                </a:solidFill>
                <a:effectLst/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2002;346(4):235-42. </a:t>
            </a:r>
          </a:p>
          <a:p>
            <a:pPr marL="228600" indent="-228600">
              <a:buFont typeface="+mj-lt"/>
              <a:buAutoNum type="arabicPeriod"/>
            </a:pPr>
            <a:r>
              <a:rPr lang="en-GB" b="0" i="0">
                <a:solidFill>
                  <a:srgbClr val="212121"/>
                </a:solidFill>
                <a:effectLst/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Habermann TM, Weller EA, Morrison VA, et al. Rituximab-CHOP versus CHOP alone or with maintenance rituximab in older patients with diffuse large B-cell lymphoma. </a:t>
            </a:r>
            <a:r>
              <a:rPr lang="en-GB" b="0" i="1">
                <a:solidFill>
                  <a:srgbClr val="212121"/>
                </a:solidFill>
                <a:effectLst/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J Clin Oncol </a:t>
            </a:r>
            <a:r>
              <a:rPr lang="en-GB" b="0" i="0">
                <a:solidFill>
                  <a:srgbClr val="212121"/>
                </a:solidFill>
                <a:effectLst/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2006;24(19):3121-7. 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linicalTrials.gov. </a:t>
            </a:r>
            <a:r>
              <a:rPr lang="en-GB" b="0" i="0">
                <a:solidFill>
                  <a:srgbClr val="333333"/>
                </a:solidFill>
                <a:effectLst/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bservation in patients with diffuse large b-cell non-</a:t>
            </a:r>
            <a:r>
              <a:rPr lang="en-GB" b="0" i="0" err="1">
                <a:solidFill>
                  <a:srgbClr val="333333"/>
                </a:solidFill>
                <a:effectLst/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hodgkin's</a:t>
            </a:r>
            <a:r>
              <a:rPr lang="en-GB" b="0" i="0">
                <a:solidFill>
                  <a:srgbClr val="333333"/>
                </a:solidFill>
                <a:effectLst/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lymphoma treated on clinical trial CAN-NCIC-LY9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 Retrieved 31 January 2025 from https://clinicaltrials.gov/ct2/show/</a:t>
            </a:r>
            <a:r>
              <a:rPr lang="en-GB" b="0"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NCT00400907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linicalTrials.gov. Open label study to evaluate the safety and efficacy of lenalidomide with MOR00208 in patients with R-R DLBCL (L-MIND). Retrieved 31 January 2025 from https://clinicaltrials.gov/ct2/show/</a:t>
            </a:r>
            <a:r>
              <a:rPr lang="en-GB" b="0"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NCT02399085.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linicalTrials.gov. </a:t>
            </a:r>
            <a:r>
              <a:rPr lang="en-GB" b="0" i="0">
                <a:solidFill>
                  <a:srgbClr val="333333"/>
                </a:solidFill>
                <a:effectLst/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tudy evaluating the safety and efficacy of KTE-C19 in adult participants with refractory aggressive non-Hodgkin lymphoma (ZUMA-1)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 Retrieved 31 January 2025 from https://clinicaltrials.gov/ct2/show/</a:t>
            </a:r>
            <a:r>
              <a:rPr lang="en-GB" b="0"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NCT02348216.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linicalTrials.gov. </a:t>
            </a:r>
            <a:r>
              <a:rPr lang="en-GB" b="0" i="0">
                <a:solidFill>
                  <a:srgbClr val="333333"/>
                </a:solidFill>
                <a:effectLst/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tudy of efficacy and safety of CTL019 in Adult DLBCL Patients (JULIET)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 Retrieved 31 January 2025 from https://clinicaltrials.gov/ct2/show/</a:t>
            </a:r>
            <a:r>
              <a:rPr lang="en-GB" b="0"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NCT02445248.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linicalTrials.gov. </a:t>
            </a:r>
            <a:r>
              <a:rPr lang="en-GB" b="0" i="0">
                <a:solidFill>
                  <a:srgbClr val="333333"/>
                </a:solidFill>
                <a:effectLst/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tudy evaluating the safety and pharmacokinetics of JCAR017 in B-cell non-Hodgkin lymphoma (TRANSCEND-NHL-001)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 Retrieved 31 January 2025 from https://clinicaltrials.gov/ct2/show/</a:t>
            </a:r>
            <a:r>
              <a:rPr lang="en-GB" b="0"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NCT02631044.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linicalTrials.gov. </a:t>
            </a:r>
            <a:r>
              <a:rPr lang="en-GB" b="0" i="0">
                <a:solidFill>
                  <a:srgbClr val="333333"/>
                </a:solidFill>
                <a:effectLst/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tudy of effectiveness of Axicabtagene Ciloleucel Compared to standard of care therapy in patients with relapsed/​refractory diffuse large B cell lymphoma (ZUMA-7)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 Retrieved 31 January 2025 from https://clinicaltrials.gov/ct2/show/</a:t>
            </a:r>
            <a:r>
              <a:rPr lang="en-GB" b="0"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NCT03391466.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linicalTrials.gov. </a:t>
            </a:r>
            <a:r>
              <a:rPr lang="en-GB" b="0" i="0">
                <a:solidFill>
                  <a:srgbClr val="333333"/>
                </a:solidFill>
                <a:effectLst/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 study to compare the efficacy and safety of JCAR017 to standard of care in adult subjects with high-risk, transplant-eligible relapsed or refractory aggressive B-cell non-Hodgkin lymphomas (TRANSFORM)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 Retrieved 31 January 2025 from https://clinicaltrials.gov/ct2/show/</a:t>
            </a:r>
            <a:r>
              <a:rPr lang="en-GB" b="0"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NCT03575351.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linicalTrials.gov. </a:t>
            </a:r>
            <a:r>
              <a:rPr lang="en-GB" b="0" i="0">
                <a:solidFill>
                  <a:srgbClr val="333333"/>
                </a:solidFill>
                <a:effectLst/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isocabtagene maraleucel (JCAR017) as second-line therapy (TRANSCEND-PILOT-017006)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 Retrieved 31 January 2025 from https://clinicaltrials.gov/ct2/show/</a:t>
            </a:r>
            <a:r>
              <a:rPr lang="en-GB" b="0"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NCT03483103.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linicalTrials.gov. </a:t>
            </a:r>
            <a:r>
              <a:rPr lang="en-GB" b="0" i="0">
                <a:solidFill>
                  <a:srgbClr val="333333"/>
                </a:solidFill>
                <a:effectLst/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 study of polatuzumab vedotin (DCDS4501A) in combination with rituximab or obinutuzumab plus bendamustine in participants with relapsed or refractory follicular or diffuse large B-cell lymphoma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 Retrieved 31 January 2025 from https://clinicaltrials.gov/ct2/show/</a:t>
            </a:r>
            <a:r>
              <a:rPr lang="en-GB" b="0"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NCT02257567.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linicalTrials.gov. </a:t>
            </a:r>
            <a:r>
              <a:rPr lang="en-GB" b="0" i="0">
                <a:solidFill>
                  <a:srgbClr val="333333"/>
                </a:solidFill>
                <a:effectLst/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 study comparing the efficacy and safety of polatuzumab vedotin with rituximab-cyclophosphamide, doxorubicin, and prednisone (R-CHP) versus rituximab-cyclophosphamide, doxorubicin, vincristine, and prednisone (R-CHOP) in participants with diffuse large b-cell lymphoma (POLARIX)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 Retrieved 31 January 2025 from https://clinicaltrials.gov/ct2/show/</a:t>
            </a:r>
            <a:r>
              <a:rPr lang="en-GB" b="0"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NCT03274492.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linicalTrials.gov. </a:t>
            </a:r>
            <a:r>
              <a:rPr lang="en-GB" b="0" i="0">
                <a:solidFill>
                  <a:srgbClr val="333333"/>
                </a:solidFill>
                <a:effectLst/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tudy to evaluate the efficacy and safety of loncastuximab tesirine in patients with relapsed or refractory diffuse large B-cell lymphoma (LOTIS-2)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 Retrieved 31 January 2025 from https://clinicaltrials.gov/ct2/show/</a:t>
            </a:r>
            <a:r>
              <a:rPr lang="en-GB" b="0"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NCT03589469.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linicalTrials.gov. </a:t>
            </a:r>
            <a:r>
              <a:rPr lang="en-GB" b="0" i="0">
                <a:solidFill>
                  <a:srgbClr val="333333"/>
                </a:solidFill>
                <a:effectLst/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 dose escalation study of glofitamab (RO7082859) as a single agent and in combination with obinutuzumab, administered after a fixed, single pre-treatment dose of obinutuzumab in participants with relapsed/​refractory B-cell non-Hodgkin’s lymphoma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 Retrieved 31 January 2025 from https://clinicaltrials.gov/ct2/show/</a:t>
            </a:r>
            <a:r>
              <a:rPr lang="en-GB" b="0"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NCT03075696. 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linicalTrials.gov. </a:t>
            </a:r>
            <a:r>
              <a:rPr lang="en-GB" b="0" i="0">
                <a:solidFill>
                  <a:srgbClr val="333333"/>
                </a:solidFill>
                <a:effectLst/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irst-in-human (FIH) trial in patients with relapsed, progressive or refractory B-cell lymphoma (EPCORE™ NHL-1)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 Retrieved 31 January 2025 from https://clinicaltrials.gov/ct2/show/</a:t>
            </a:r>
            <a:r>
              <a:rPr lang="en-GB" b="0"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NCT03625037.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linicalTrials.gov. A study to assess the anti-</a:t>
            </a:r>
            <a:r>
              <a:rPr kumimoji="0" lang="en-GB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umor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activity and safety of </a:t>
            </a:r>
            <a:r>
              <a:rPr kumimoji="0" lang="en-GB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dronextamab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in adult patients with B-cell non-Hodgkin lymphoma who have been previously treated with other cancer therapies (ELM-2). Retrieved February 2025 from</a:t>
            </a:r>
            <a:r>
              <a:rPr lang="en-GB" b="0"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https://clinicaltrials.gov/study/NCT03888105.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GB" b="0"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bramson JS, Ku M, Hertzberg M, et al. Glofitamab plus gemcitabine and oxaliplatin (GemOx) versus rituximab-GemOx for relapsed or refractory diffuse large B-cell lymphoma (STARGLO): a global phase 3, randomised, open-label trial. </a:t>
            </a:r>
            <a:r>
              <a:rPr lang="en-GB" b="0" i="1"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ancet</a:t>
            </a:r>
            <a:r>
              <a:rPr lang="en-GB" b="0" i="0"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2024;404:1940-54.</a:t>
            </a:r>
            <a:endParaRPr lang="en-GB" b="0">
              <a:latin typeface="Aptos" panose="020B000402020202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81B6B5-2518-B244-B8AD-11E31BF235A9}" type="slidenum">
              <a:rPr kumimoji="0" lang="en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4870990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b="1">
                <a:latin typeface="Aptos" panose="020B0004020202020204" pitchFamily="34" charset="0"/>
                <a:ea typeface="Calibri"/>
                <a:cs typeface="Calibri"/>
              </a:rPr>
              <a:t>Reference</a:t>
            </a:r>
          </a:p>
          <a:p>
            <a:pPr marL="228600" indent="-228600">
              <a:buFont typeface="+mj-lt"/>
              <a:buAutoNum type="arabicPeriod"/>
            </a:pPr>
            <a:r>
              <a:rPr lang="en-GB" b="0"/>
              <a:t>Brooks TR &amp; Caimi PF. A paradox of choice: Sequencing therapy in relapsed/refractory diffuse large B-cell lymphoma. </a:t>
            </a:r>
            <a:r>
              <a:rPr lang="en-GB" b="0" i="1"/>
              <a:t>Blood Rev</a:t>
            </a:r>
            <a:r>
              <a:rPr lang="en-GB" b="0" i="0"/>
              <a:t> 2023; 101140. Online ahead of print; </a:t>
            </a:r>
            <a:r>
              <a:rPr lang="en-GB" b="0" i="0" err="1"/>
              <a:t>doi</a:t>
            </a:r>
            <a:r>
              <a:rPr lang="en-GB" b="0" i="0"/>
              <a:t>: 10.1016/j.blre.2023.101140.</a:t>
            </a:r>
            <a:endParaRPr lang="en-GB" b="0"/>
          </a:p>
          <a:p>
            <a:pPr defTabSz="990478">
              <a:defRPr/>
            </a:pPr>
            <a:endParaRPr lang="en-GB"/>
          </a:p>
          <a:p>
            <a:endParaRPr lang="en-GB" b="0">
              <a:latin typeface="Aptos" panose="020B0004020202020204" pitchFamily="34" charset="0"/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81B6B5-2518-B244-B8AD-11E31BF235A9}" type="slidenum">
              <a:rPr kumimoji="0" lang="en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3844385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200" b="1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ference</a:t>
            </a:r>
          </a:p>
          <a:p>
            <a:pPr marL="228600" indent="-228600">
              <a:buFont typeface="+mj-lt"/>
              <a:buAutoNum type="arabicPeriod"/>
            </a:pPr>
            <a:r>
              <a:rPr lang="en-GB" sz="1200" b="0" i="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roussais</a:t>
            </a:r>
            <a:r>
              <a:rPr lang="en-GB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F, Pennings E, Bolanos N, Warwick L et al. Bridging gaps in clinical trial accessibility and reimbursement for large B-cell lymphoma therapies across Europe. </a:t>
            </a:r>
            <a:r>
              <a:rPr lang="en-GB" sz="1200" b="0" i="1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emasphere</a:t>
            </a:r>
            <a:r>
              <a:rPr lang="en-GB" sz="1200" b="0" i="1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025; 9:e70204.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81B6B5-2518-B244-B8AD-11E31BF235A9}" type="slidenum">
              <a:rPr kumimoji="0" lang="en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7140144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CF796F3-5084-EAB0-637B-A06B8CB7577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CEE0146-E6B7-1426-1088-02004389581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884B716-45C1-2DED-4DAB-7CED77DCEE1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Reference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eblemont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C, Da Silva M</a:t>
            </a:r>
            <a:r>
              <a:rPr kumimoji="0" lang="en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G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 </a:t>
            </a:r>
            <a:r>
              <a:rPr kumimoji="0" lang="en-GB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eppä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S, </a:t>
            </a:r>
            <a:r>
              <a:rPr kumimoji="0" lang="en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et al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. (2025). Large B-cell lymphoma (LBCL): EHA Clinical Practice Guidelines for diagnosis, treatment, and follow-up. </a:t>
            </a:r>
            <a:r>
              <a:rPr kumimoji="0" lang="en-GB" sz="1200" b="0" i="1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emaSphere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 9(9), e70207.</a:t>
            </a: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AD013EC-1FEA-8069-4B63-44928ECED7E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81B6B5-2518-B244-B8AD-11E31BF235A9}" type="slidenum">
              <a:rPr kumimoji="0" lang="en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4932389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Reference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eblemont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 C., Gomes Da Silva, M., </a:t>
            </a:r>
            <a:r>
              <a:rPr kumimoji="0" lang="en-GB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eppä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 S., Lenz, G., </a:t>
            </a:r>
            <a:r>
              <a:rPr kumimoji="0" lang="en-GB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ttereau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 A. S., Fox, C., Lopez-Guillermo, A., Illidge, T., Jurczak, W., Eich, H., Aurer, I., </a:t>
            </a:r>
            <a:r>
              <a:rPr kumimoji="0" lang="en-GB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rneny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 M., Rosenwald, A. A., Davies, A., </a:t>
            </a:r>
            <a:r>
              <a:rPr kumimoji="0" lang="en-GB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Zwezerijnen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 B. G., Bolanos, N., Marković, M., Jais, J. P., </a:t>
            </a:r>
            <a:r>
              <a:rPr kumimoji="0" lang="en-GB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roussais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 F., Dreyling, M., … Kersten, M. J. (2025). Large B-cell lymphoma (LBCL): EHA Clinical Practice Guidelines for diagnosis, treatment, and follow-up. </a:t>
            </a:r>
            <a:r>
              <a:rPr kumimoji="0" lang="en-GB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emaSphere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 9(9), e70207. https://doi.org/10.1002/hem3.70207</a:t>
            </a:r>
            <a:endParaRPr lang="en-GB"/>
          </a:p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228248D-131C-4415-A49F-E8885CA622FD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1268108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31DA6A-D122-B6E3-D0E7-24AAD6748B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39EADCD-D84D-81F0-1F4E-02773C65E71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67515C3-033F-6B13-EF4E-747264312A2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eferences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hieblemont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, C., Gomes Da Silva, M., </a:t>
            </a:r>
            <a:r>
              <a:rPr kumimoji="0" lang="en-GB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Leppä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, S., Lenz, G., </a:t>
            </a:r>
            <a:r>
              <a:rPr kumimoji="0" lang="en-GB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ottereau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, A. S., Fox, C., Lopez-Guillermo, A., Illidge, T., Jurczak, W., Eich, H., Aurer, I., </a:t>
            </a:r>
            <a:r>
              <a:rPr kumimoji="0" lang="en-GB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rneny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, M., Rosenwald, A. A., Davies, A., </a:t>
            </a:r>
            <a:r>
              <a:rPr kumimoji="0" lang="en-GB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Zwezerijnen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, B. G., Bolanos, N., Marković, M., Jais, J. P., </a:t>
            </a:r>
            <a:r>
              <a:rPr kumimoji="0" lang="en-GB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Broussais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, F., Dreyling, M., … Kersten, M. J. (2025). Large B-cell lymphoma (LBCL): EHA Clinical Practice Guidelines for diagnosis, treatment, and follow-up. </a:t>
            </a:r>
            <a:r>
              <a:rPr kumimoji="0" lang="en-GB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HemaSphere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, 9(9), e70207. https://doi.org/10.1002/hem3.70207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lbendea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MÁ</a:t>
            </a:r>
            <a:r>
              <a:rPr kumimoji="0" lang="en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, Canonico PL, </a:t>
            </a:r>
            <a:r>
              <a:rPr kumimoji="0" lang="en-GB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artron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G, et al. Comparative analysis of CAR T-cell therapy access for DLBCL patients: associated challenges and solutions in the four largest EU countries. </a:t>
            </a:r>
            <a:r>
              <a:rPr kumimoji="0" lang="en-GB" sz="12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Front Med 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023;10:1128295.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Bento L, Gutierrez A, Martinez C, et al. Autologous stem cell transplantation for relapsed/refractory large B-cell lymphoma: a </a:t>
            </a:r>
            <a:r>
              <a:rPr kumimoji="0" lang="en-GB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multicenter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GETH-TC/GELTAMO study. Blood Adv 2025;9(13):3281-3288.</a:t>
            </a:r>
          </a:p>
          <a:p>
            <a:pPr marL="22860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GB" sz="1200">
                <a:solidFill>
                  <a:prstClr val="black"/>
                </a:solidFill>
                <a:highlight>
                  <a:srgbClr val="FFFF00"/>
                </a:highlight>
                <a:latin typeface="Aptos" panose="02110004020202020204"/>
              </a:rPr>
              <a:t>Abramson JS, Palomba ML, Gordon LI, et al. Lisocabtagene maraleucel for patients with relapsed or refractory large B-cell lymphomas (TRANSCEND NHL 001): a multicentre seamless design study. Lancet 2020;396(10254):839-852.</a:t>
            </a:r>
          </a:p>
          <a:p>
            <a:pPr marL="228600" indent="-228600">
              <a:buFont typeface="+mj-lt"/>
              <a:buAutoNum type="arabicPeriod"/>
            </a:pPr>
            <a:r>
              <a:rPr lang="en-GB">
                <a:highlight>
                  <a:srgbClr val="FFFF00"/>
                </a:highlight>
              </a:rPr>
              <a:t>Schuster SJ, Bishop MR, Tam CS, et al. </a:t>
            </a:r>
            <a:r>
              <a:rPr lang="en-GB" err="1">
                <a:highlight>
                  <a:srgbClr val="FFFF00"/>
                </a:highlight>
              </a:rPr>
              <a:t>Tisagenlecleucel</a:t>
            </a:r>
            <a:r>
              <a:rPr lang="en-GB">
                <a:highlight>
                  <a:srgbClr val="FFFF00"/>
                </a:highlight>
              </a:rPr>
              <a:t> in Adult Relapsed  or Refractory Diffuse Large B-Cell Lymphoma. </a:t>
            </a:r>
            <a:r>
              <a:rPr lang="en-GB" i="1">
                <a:highlight>
                  <a:srgbClr val="FFFF00"/>
                </a:highlight>
              </a:rPr>
              <a:t>N Engl J Med </a:t>
            </a:r>
            <a:r>
              <a:rPr lang="en-GB">
                <a:highlight>
                  <a:srgbClr val="FFFF00"/>
                </a:highlight>
              </a:rPr>
              <a:t>2019;380:45-56.</a:t>
            </a:r>
          </a:p>
          <a:p>
            <a:pPr marL="22860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GB" sz="1200">
                <a:solidFill>
                  <a:prstClr val="black"/>
                </a:solidFill>
                <a:highlight>
                  <a:srgbClr val="FFFF00"/>
                </a:highlight>
                <a:latin typeface="+mn-lt"/>
              </a:rPr>
              <a:t>Locke FL, Ghobadi A, Jacobson CA, et al. Long-term safety and activity of </a:t>
            </a:r>
            <a:r>
              <a:rPr lang="en-GB" sz="1200" err="1">
                <a:solidFill>
                  <a:prstClr val="black"/>
                </a:solidFill>
                <a:highlight>
                  <a:srgbClr val="FFFF00"/>
                </a:highlight>
                <a:latin typeface="+mn-lt"/>
              </a:rPr>
              <a:t>axicabtagene</a:t>
            </a:r>
            <a:r>
              <a:rPr lang="en-GB" sz="1200">
                <a:solidFill>
                  <a:prstClr val="black"/>
                </a:solidFill>
                <a:highlight>
                  <a:srgbClr val="FFFF00"/>
                </a:highlight>
                <a:latin typeface="+mn-lt"/>
              </a:rPr>
              <a:t> </a:t>
            </a:r>
            <a:r>
              <a:rPr lang="en-GB" sz="1200" err="1">
                <a:solidFill>
                  <a:prstClr val="black"/>
                </a:solidFill>
                <a:highlight>
                  <a:srgbClr val="FFFF00"/>
                </a:highlight>
                <a:latin typeface="+mn-lt"/>
              </a:rPr>
              <a:t>ciloleucel</a:t>
            </a:r>
            <a:r>
              <a:rPr lang="en-GB" sz="1200">
                <a:solidFill>
                  <a:prstClr val="black"/>
                </a:solidFill>
                <a:highlight>
                  <a:srgbClr val="FFFF00"/>
                </a:highlight>
                <a:latin typeface="+mn-lt"/>
              </a:rPr>
              <a:t> in refractory large B-cell lymphoma (ZUMA-1): a single-arm, multicentre, phase 1-2 trial. </a:t>
            </a:r>
            <a:r>
              <a:rPr lang="en-GB" sz="1200" i="1">
                <a:solidFill>
                  <a:prstClr val="black"/>
                </a:solidFill>
                <a:highlight>
                  <a:srgbClr val="FFFF00"/>
                </a:highlight>
                <a:latin typeface="+mn-lt"/>
              </a:rPr>
              <a:t>Lancet Oncol </a:t>
            </a:r>
            <a:r>
              <a:rPr lang="en-GB" sz="1200">
                <a:solidFill>
                  <a:prstClr val="black"/>
                </a:solidFill>
                <a:highlight>
                  <a:srgbClr val="FFFF00"/>
                </a:highlight>
                <a:latin typeface="+mn-lt"/>
              </a:rPr>
              <a:t>2019;20(1):31-42.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highlight>
                  <a:srgbClr val="FFFF00"/>
                </a:highlight>
                <a:uLnTx/>
                <a:uFillTx/>
                <a:latin typeface="Calibri" panose="020F0502020204030204"/>
                <a:ea typeface="+mn-ea"/>
                <a:cs typeface="+mn-cs"/>
              </a:rPr>
              <a:t>Eyre TA, </a:t>
            </a:r>
            <a:r>
              <a:rPr kumimoji="0" lang="en-GB" sz="1200" b="0" i="0" u="none" strike="noStrike" kern="1200" cap="none" spc="0" normalizeH="0" baseline="0" noProof="0" err="1">
                <a:ln>
                  <a:noFill/>
                </a:ln>
                <a:solidFill>
                  <a:srgbClr val="585854"/>
                </a:solidFill>
                <a:effectLst/>
                <a:highlight>
                  <a:srgbClr val="FFFF00"/>
                </a:highlight>
                <a:uLnTx/>
                <a:uFillTx/>
                <a:latin typeface="Calibri" panose="020F0502020204030204"/>
                <a:ea typeface="+mn-ea"/>
                <a:cs typeface="+mn-cs"/>
              </a:rPr>
              <a:t>Cwynarski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highlight>
                  <a:srgbClr val="FFFF00"/>
                </a:highlight>
                <a:uLnTx/>
                <a:uFillTx/>
                <a:latin typeface="Calibri" panose="020F0502020204030204"/>
                <a:ea typeface="+mn-ea"/>
                <a:cs typeface="+mn-cs"/>
              </a:rPr>
              <a:t> K, </a:t>
            </a:r>
            <a:r>
              <a:rPr kumimoji="0" lang="en-GB" sz="1200" b="0" i="0" u="none" strike="noStrike" kern="1200" cap="none" spc="0" normalizeH="0" baseline="0" noProof="0" err="1">
                <a:ln>
                  <a:noFill/>
                </a:ln>
                <a:solidFill>
                  <a:srgbClr val="585854"/>
                </a:solidFill>
                <a:effectLst/>
                <a:highlight>
                  <a:srgbClr val="FFFF00"/>
                </a:highlight>
                <a:uLnTx/>
                <a:uFillTx/>
                <a:latin typeface="Calibri" panose="020F0502020204030204"/>
                <a:ea typeface="+mn-ea"/>
                <a:cs typeface="+mn-cs"/>
              </a:rPr>
              <a:t>d’Amore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highlight>
                  <a:srgbClr val="FFFF00"/>
                </a:highlight>
                <a:uLnTx/>
                <a:uFillTx/>
                <a:latin typeface="Calibri" panose="020F0502020204030204"/>
                <a:ea typeface="+mn-ea"/>
                <a:cs typeface="+mn-cs"/>
              </a:rPr>
              <a:t> F, et al. Lymphomas: ESMO Clinical Practice Guideline for diagnosis, treatment and follow-up. Ann Oncol 2025;36(11):1263–84. </a:t>
            </a:r>
          </a:p>
          <a:p>
            <a:pPr marL="22860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GB" sz="1200" err="1">
                <a:solidFill>
                  <a:prstClr val="black"/>
                </a:solidFill>
                <a:highlight>
                  <a:srgbClr val="FFFF00"/>
                </a:highlight>
                <a:latin typeface="Aptos" panose="02110004020202020204"/>
              </a:rPr>
              <a:t>Jommi</a:t>
            </a:r>
            <a:r>
              <a:rPr lang="en-GB" sz="1200">
                <a:solidFill>
                  <a:prstClr val="black"/>
                </a:solidFill>
                <a:highlight>
                  <a:srgbClr val="FFFF00"/>
                </a:highlight>
                <a:latin typeface="Aptos" panose="02110004020202020204"/>
              </a:rPr>
              <a:t> C, </a:t>
            </a:r>
            <a:r>
              <a:rPr lang="en-GB" sz="1200" err="1">
                <a:solidFill>
                  <a:prstClr val="black"/>
                </a:solidFill>
                <a:highlight>
                  <a:srgbClr val="FFFF00"/>
                </a:highlight>
                <a:latin typeface="Aptos" panose="02110004020202020204"/>
              </a:rPr>
              <a:t>Bramanti</a:t>
            </a:r>
            <a:r>
              <a:rPr lang="en-GB" sz="1200">
                <a:solidFill>
                  <a:prstClr val="black"/>
                </a:solidFill>
                <a:highlight>
                  <a:srgbClr val="FFFF00"/>
                </a:highlight>
                <a:latin typeface="Aptos" panose="02110004020202020204"/>
              </a:rPr>
              <a:t> S, Pani M, et al. CAR T-Cell Therapies in Italy: Patient Access Barriers and Recommendations for Health System Solutions. </a:t>
            </a:r>
            <a:r>
              <a:rPr lang="en-GB" sz="1200" i="1">
                <a:solidFill>
                  <a:prstClr val="black"/>
                </a:solidFill>
                <a:highlight>
                  <a:srgbClr val="FFFF00"/>
                </a:highlight>
                <a:latin typeface="Aptos" panose="02110004020202020204"/>
              </a:rPr>
              <a:t>Front </a:t>
            </a:r>
            <a:r>
              <a:rPr lang="en-GB" sz="1200" i="1" err="1">
                <a:solidFill>
                  <a:prstClr val="black"/>
                </a:solidFill>
                <a:highlight>
                  <a:srgbClr val="FFFF00"/>
                </a:highlight>
                <a:latin typeface="Aptos" panose="02110004020202020204"/>
              </a:rPr>
              <a:t>Pharmacol</a:t>
            </a:r>
            <a:r>
              <a:rPr lang="en-GB" sz="1200" i="1">
                <a:solidFill>
                  <a:prstClr val="black"/>
                </a:solidFill>
                <a:highlight>
                  <a:srgbClr val="FFFF00"/>
                </a:highlight>
                <a:latin typeface="Aptos" panose="02110004020202020204"/>
              </a:rPr>
              <a:t> </a:t>
            </a:r>
            <a:r>
              <a:rPr lang="en-GB" sz="1200">
                <a:solidFill>
                  <a:prstClr val="black"/>
                </a:solidFill>
                <a:highlight>
                  <a:srgbClr val="FFFF00"/>
                </a:highlight>
                <a:latin typeface="Aptos" panose="02110004020202020204"/>
              </a:rPr>
              <a:t>2022;13:915342.</a:t>
            </a:r>
          </a:p>
          <a:p>
            <a:pPr marL="22860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GB" sz="1200">
                <a:solidFill>
                  <a:prstClr val="black"/>
                </a:solidFill>
                <a:highlight>
                  <a:srgbClr val="FFFF00"/>
                </a:highlight>
                <a:latin typeface="Aptos" panose="02110004020202020204"/>
              </a:rPr>
              <a:t>Hoffmann MS, Hunter BD, Cobb PW, et al. Overcoming Barriers to Referral for Chimeric Antigen Receptor T Cell Therapy in Patients with Relapsed/Refractory Diffuse Large B Cell Lymphoma. </a:t>
            </a:r>
            <a:r>
              <a:rPr lang="en-GB" sz="1200" i="1">
                <a:solidFill>
                  <a:prstClr val="black"/>
                </a:solidFill>
                <a:highlight>
                  <a:srgbClr val="FFFF00"/>
                </a:highlight>
                <a:latin typeface="Aptos" panose="02110004020202020204"/>
              </a:rPr>
              <a:t>Transplant Cell Ther </a:t>
            </a:r>
            <a:r>
              <a:rPr lang="en-GB" sz="1200">
                <a:solidFill>
                  <a:prstClr val="black"/>
                </a:solidFill>
                <a:highlight>
                  <a:srgbClr val="FFFF00"/>
                </a:highlight>
                <a:latin typeface="Aptos" panose="02110004020202020204"/>
              </a:rPr>
              <a:t>2023;29(7):440-448.</a:t>
            </a:r>
          </a:p>
          <a:p>
            <a:pPr marL="22860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GB" sz="1200" err="1">
                <a:solidFill>
                  <a:prstClr val="black"/>
                </a:solidFill>
                <a:highlight>
                  <a:srgbClr val="FFFF00"/>
                </a:highlight>
                <a:latin typeface="+mn-lt"/>
              </a:rPr>
              <a:t>Chomienne</a:t>
            </a:r>
            <a:r>
              <a:rPr lang="en-GB" sz="1200">
                <a:solidFill>
                  <a:prstClr val="black"/>
                </a:solidFill>
                <a:highlight>
                  <a:srgbClr val="FFFF00"/>
                </a:highlight>
                <a:latin typeface="+mn-lt"/>
              </a:rPr>
              <a:t> C, Sierra J, </a:t>
            </a:r>
            <a:r>
              <a:rPr lang="en-GB" sz="1200" err="1">
                <a:solidFill>
                  <a:prstClr val="black"/>
                </a:solidFill>
                <a:highlight>
                  <a:srgbClr val="FFFF00"/>
                </a:highlight>
                <a:latin typeface="+mn-lt"/>
              </a:rPr>
              <a:t>Einsele</a:t>
            </a:r>
            <a:r>
              <a:rPr lang="en-GB" sz="1200">
                <a:solidFill>
                  <a:prstClr val="black"/>
                </a:solidFill>
                <a:highlight>
                  <a:srgbClr val="FFFF00"/>
                </a:highlight>
                <a:latin typeface="+mn-lt"/>
              </a:rPr>
              <a:t> H, Jäger U. EHA Guidance Document: The process of CAR-T cell therapy in Europe. </a:t>
            </a:r>
            <a:r>
              <a:rPr lang="en-GB" sz="1200" i="1" err="1">
                <a:solidFill>
                  <a:prstClr val="black"/>
                </a:solidFill>
                <a:highlight>
                  <a:srgbClr val="FFFF00"/>
                </a:highlight>
                <a:latin typeface="+mn-lt"/>
              </a:rPr>
              <a:t>HemaSphere</a:t>
            </a:r>
            <a:r>
              <a:rPr lang="en-GB" sz="1200">
                <a:solidFill>
                  <a:prstClr val="black"/>
                </a:solidFill>
                <a:highlight>
                  <a:srgbClr val="FFFF00"/>
                </a:highlight>
                <a:latin typeface="+mn-lt"/>
              </a:rPr>
              <a:t> 2019;3(4):e280. </a:t>
            </a:r>
          </a:p>
          <a:p>
            <a:pPr marL="22860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GB" sz="1200">
                <a:solidFill>
                  <a:prstClr val="black"/>
                </a:solidFill>
                <a:highlight>
                  <a:srgbClr val="FFFF00"/>
                </a:highlight>
                <a:latin typeface="+mn-lt"/>
              </a:rPr>
              <a:t>Gajra A, Zalenski A, </a:t>
            </a:r>
            <a:r>
              <a:rPr lang="en-GB" sz="1200" err="1">
                <a:solidFill>
                  <a:prstClr val="black"/>
                </a:solidFill>
                <a:highlight>
                  <a:srgbClr val="FFFF00"/>
                </a:highlight>
                <a:latin typeface="+mn-lt"/>
              </a:rPr>
              <a:t>Sannareddy</a:t>
            </a:r>
            <a:r>
              <a:rPr lang="en-GB" sz="1200">
                <a:solidFill>
                  <a:prstClr val="black"/>
                </a:solidFill>
                <a:highlight>
                  <a:srgbClr val="FFFF00"/>
                </a:highlight>
                <a:latin typeface="+mn-lt"/>
              </a:rPr>
              <a:t> A, et al. Barriers to Chimeric Antigen Receptor T-Cell (CAR-T) Therapies in Clinical Practice. </a:t>
            </a:r>
            <a:r>
              <a:rPr lang="en-GB" sz="1200" i="1" err="1">
                <a:solidFill>
                  <a:prstClr val="black"/>
                </a:solidFill>
                <a:highlight>
                  <a:srgbClr val="FFFF00"/>
                </a:highlight>
                <a:latin typeface="+mn-lt"/>
              </a:rPr>
              <a:t>Pharmaceut</a:t>
            </a:r>
            <a:r>
              <a:rPr lang="en-GB" sz="1200" i="1">
                <a:solidFill>
                  <a:prstClr val="black"/>
                </a:solidFill>
                <a:highlight>
                  <a:srgbClr val="FFFF00"/>
                </a:highlight>
                <a:latin typeface="+mn-lt"/>
              </a:rPr>
              <a:t> Med</a:t>
            </a:r>
            <a:r>
              <a:rPr lang="en-GB" sz="1200">
                <a:solidFill>
                  <a:prstClr val="black"/>
                </a:solidFill>
                <a:highlight>
                  <a:srgbClr val="FFFF00"/>
                </a:highlight>
                <a:latin typeface="+mn-lt"/>
              </a:rPr>
              <a:t> 2022;36(3):163-171.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GB">
                <a:highlight>
                  <a:srgbClr val="FFFF00"/>
                </a:highlight>
              </a:rPr>
              <a:t>Jain T, Olson TS &amp; Locke FL. How I treat cytopenias after CAR T-cell therapy. </a:t>
            </a:r>
            <a:r>
              <a:rPr lang="en-GB" i="1">
                <a:highlight>
                  <a:srgbClr val="FFFF00"/>
                </a:highlight>
              </a:rPr>
              <a:t>Blood</a:t>
            </a:r>
            <a:r>
              <a:rPr lang="en-GB">
                <a:highlight>
                  <a:srgbClr val="FFFF00"/>
                </a:highlight>
              </a:rPr>
              <a:t> 2023;141:2460-9.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GB" sz="1200">
                <a:solidFill>
                  <a:prstClr val="black"/>
                </a:solidFill>
                <a:highlight>
                  <a:srgbClr val="FFFF00"/>
                </a:highlight>
                <a:latin typeface="+mn-lt"/>
              </a:rPr>
              <a:t>van der </a:t>
            </a:r>
            <a:r>
              <a:rPr lang="en-GB" sz="1200" err="1">
                <a:solidFill>
                  <a:prstClr val="black"/>
                </a:solidFill>
                <a:highlight>
                  <a:srgbClr val="FFFF00"/>
                </a:highlight>
                <a:latin typeface="+mn-lt"/>
              </a:rPr>
              <a:t>Galiën</a:t>
            </a:r>
            <a:r>
              <a:rPr lang="en-GB" sz="1200">
                <a:solidFill>
                  <a:prstClr val="black"/>
                </a:solidFill>
                <a:highlight>
                  <a:srgbClr val="FFFF00"/>
                </a:highlight>
                <a:latin typeface="+mn-lt"/>
              </a:rPr>
              <a:t> HT, Kooistra HAM, </a:t>
            </a:r>
            <a:r>
              <a:rPr lang="en-GB" sz="1200" err="1">
                <a:solidFill>
                  <a:prstClr val="black"/>
                </a:solidFill>
                <a:highlight>
                  <a:srgbClr val="FFFF00"/>
                </a:highlight>
                <a:latin typeface="+mn-lt"/>
              </a:rPr>
              <a:t>Kibbelaar</a:t>
            </a:r>
            <a:r>
              <a:rPr lang="en-GB" sz="1200">
                <a:solidFill>
                  <a:prstClr val="black"/>
                </a:solidFill>
                <a:highlight>
                  <a:srgbClr val="FFFF00"/>
                </a:highlight>
                <a:latin typeface="+mn-lt"/>
              </a:rPr>
              <a:t> R, et al. Patients With Relapsed Large B-Cell Lymphoma After 12 Months Have a Similarly Poor Prognosis to Those Relapsing Within 12 Months. </a:t>
            </a:r>
            <a:r>
              <a:rPr lang="en-GB" sz="1200" i="1" err="1">
                <a:solidFill>
                  <a:prstClr val="black"/>
                </a:solidFill>
                <a:highlight>
                  <a:srgbClr val="FFFF00"/>
                </a:highlight>
                <a:latin typeface="+mn-lt"/>
              </a:rPr>
              <a:t>Eur</a:t>
            </a:r>
            <a:r>
              <a:rPr lang="en-GB" sz="1200" i="1">
                <a:solidFill>
                  <a:prstClr val="black"/>
                </a:solidFill>
                <a:highlight>
                  <a:srgbClr val="FFFF00"/>
                </a:highlight>
                <a:latin typeface="+mn-lt"/>
              </a:rPr>
              <a:t> J </a:t>
            </a:r>
            <a:r>
              <a:rPr lang="en-GB" sz="1200" i="1" err="1">
                <a:solidFill>
                  <a:prstClr val="black"/>
                </a:solidFill>
                <a:highlight>
                  <a:srgbClr val="FFFF00"/>
                </a:highlight>
                <a:latin typeface="+mn-lt"/>
              </a:rPr>
              <a:t>Haematol</a:t>
            </a:r>
            <a:r>
              <a:rPr lang="en-GB" sz="1200">
                <a:solidFill>
                  <a:prstClr val="black"/>
                </a:solidFill>
                <a:highlight>
                  <a:srgbClr val="FFFF00"/>
                </a:highlight>
                <a:latin typeface="+mn-lt"/>
              </a:rPr>
              <a:t> 2025;115(4):391-402.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GB" sz="1200">
                <a:solidFill>
                  <a:prstClr val="black"/>
                </a:solidFill>
                <a:highlight>
                  <a:srgbClr val="FFFF00"/>
                </a:highlight>
                <a:latin typeface="+mn-lt"/>
              </a:rPr>
              <a:t>Carreras E, Dufour C, </a:t>
            </a:r>
            <a:r>
              <a:rPr lang="en-GB" sz="1200" err="1">
                <a:solidFill>
                  <a:prstClr val="black"/>
                </a:solidFill>
                <a:highlight>
                  <a:srgbClr val="FFFF00"/>
                </a:highlight>
                <a:latin typeface="+mn-lt"/>
              </a:rPr>
              <a:t>Mohty</a:t>
            </a:r>
            <a:r>
              <a:rPr lang="en-GB" sz="1200">
                <a:solidFill>
                  <a:prstClr val="black"/>
                </a:solidFill>
                <a:highlight>
                  <a:srgbClr val="FFFF00"/>
                </a:highlight>
                <a:latin typeface="+mn-lt"/>
              </a:rPr>
              <a:t> M, Kröger N (Eds). The EBMT Handbook: Hematopoietic Stem Cell Transplantation and Cellular Therapies. 7th edition. Springer; 2019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314BA1C-15F4-CC6B-FDA8-B2131D6CDF6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228248D-131C-4415-A49F-E8885CA622FD}" type="slidenum">
              <a:rPr kumimoji="0" lang="en-GB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GB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459756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234461B-A604-DD35-7134-A5D1372E42C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D50F6A5-E92F-F5C5-174B-AAF024B39EA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F43E11F-859D-1D4D-D51B-4B44B3A3F63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dirty="0"/>
              <a:t>The </a:t>
            </a:r>
            <a:r>
              <a:rPr lang="en-GB" sz="1200" b="1" dirty="0"/>
              <a:t>presentations and discussions reflect the personal views of the speaker </a:t>
            </a:r>
            <a:r>
              <a:rPr lang="en-GB" sz="1200" dirty="0"/>
              <a:t>and may not represent those of Sobi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5FA3F31-A610-79CA-4236-151B8800CE2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B4B79A-FC8E-4FFA-B924-F9A472A82887}" type="slidenum">
              <a:rPr lang="sv-SE" smtClean="0"/>
              <a:pPr/>
              <a:t>2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67608393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90478">
              <a:defRPr/>
            </a:pPr>
            <a:r>
              <a:rPr lang="en-GB" sz="1200" b="1">
                <a:solidFill>
                  <a:prstClr val="black"/>
                </a:solidFill>
              </a:rPr>
              <a:t>References</a:t>
            </a:r>
          </a:p>
          <a:p>
            <a:pPr marL="342900" indent="-342900" defTabSz="990478">
              <a:buFont typeface="+mj-lt"/>
              <a:buAutoNum type="arabicPeriod"/>
              <a:defRPr/>
            </a:pPr>
            <a:r>
              <a:rPr lang="en-GB" sz="1200">
                <a:solidFill>
                  <a:prstClr val="black"/>
                </a:solidFill>
              </a:rPr>
              <a:t>Crump M, </a:t>
            </a:r>
            <a:r>
              <a:rPr lang="en-GB" sz="1200" err="1">
                <a:solidFill>
                  <a:prstClr val="black"/>
                </a:solidFill>
              </a:rPr>
              <a:t>Neelapu</a:t>
            </a:r>
            <a:r>
              <a:rPr lang="en-GB" sz="1200">
                <a:solidFill>
                  <a:prstClr val="black"/>
                </a:solidFill>
              </a:rPr>
              <a:t> SS, Farooq U, et al. Outcomes in refractory diffuse large B-cell lymphoma: results from the international SCHOLAR-1 study. Blood 2017;130:1800-8.</a:t>
            </a:r>
          </a:p>
          <a:p>
            <a:pPr marL="342900" indent="-342900" defTabSz="990478">
              <a:buFont typeface="+mj-lt"/>
              <a:buAutoNum type="arabicPeriod"/>
              <a:defRPr/>
            </a:pPr>
            <a:r>
              <a:rPr lang="en-GB" sz="1200">
                <a:solidFill>
                  <a:prstClr val="black"/>
                </a:solidFill>
              </a:rPr>
              <a:t>Wagner-Johnston ND, Link BK, </a:t>
            </a:r>
            <a:r>
              <a:rPr lang="en-GB" sz="1200" err="1">
                <a:solidFill>
                  <a:prstClr val="black"/>
                </a:solidFill>
              </a:rPr>
              <a:t>Byrtek</a:t>
            </a:r>
            <a:r>
              <a:rPr lang="en-GB" sz="1200">
                <a:solidFill>
                  <a:prstClr val="black"/>
                </a:solidFill>
              </a:rPr>
              <a:t> M, et al. Outcomes of transformed follicular lymphoma in the modern era: a report from the National </a:t>
            </a:r>
            <a:r>
              <a:rPr lang="en-GB" sz="1200" err="1">
                <a:solidFill>
                  <a:prstClr val="black"/>
                </a:solidFill>
              </a:rPr>
              <a:t>LymphoCare</a:t>
            </a:r>
            <a:r>
              <a:rPr lang="en-GB" sz="1200">
                <a:solidFill>
                  <a:prstClr val="black"/>
                </a:solidFill>
              </a:rPr>
              <a:t> Study (NLCS). Blood 2015;126:851-7.</a:t>
            </a:r>
          </a:p>
          <a:p>
            <a:pPr marL="342900" indent="-342900" defTabSz="990478">
              <a:buFont typeface="+mj-lt"/>
              <a:buAutoNum type="arabicPeriod"/>
              <a:defRPr/>
            </a:pPr>
            <a:r>
              <a:rPr lang="en-GB" sz="1200">
                <a:ea typeface="Calibri" panose="020F0502020204030204" pitchFamily="34" charset="0"/>
                <a:cs typeface="Times New Roman" panose="02020603050405020304" pitchFamily="18" charset="0"/>
              </a:rPr>
              <a:t>Herrera AF, Mei M, Low L, et al. Relapsed or Refractory Double-Expressor and Double-Hit Lymphomas Have Inferior Progression-Free Survival After Autologous Stem-Cell Transplantation. </a:t>
            </a:r>
            <a:r>
              <a:rPr lang="en-GB" sz="1200" i="1">
                <a:ea typeface="Calibri" panose="020F0502020204030204" pitchFamily="34" charset="0"/>
                <a:cs typeface="Times New Roman" panose="02020603050405020304" pitchFamily="18" charset="0"/>
              </a:rPr>
              <a:t>J Clin Oncol</a:t>
            </a:r>
            <a:r>
              <a:rPr lang="en-GB" sz="1200">
                <a:ea typeface="Calibri" panose="020F0502020204030204" pitchFamily="34" charset="0"/>
                <a:cs typeface="Times New Roman" panose="02020603050405020304" pitchFamily="18" charset="0"/>
              </a:rPr>
              <a:t> 2017;35(1):24-31.</a:t>
            </a:r>
            <a:r>
              <a:rPr lang="en-GB" sz="1200">
                <a:solidFill>
                  <a:prstClr val="black"/>
                </a:solidFill>
              </a:rPr>
              <a:t> </a:t>
            </a:r>
          </a:p>
          <a:p>
            <a:pPr marL="342900" indent="-342900" defTabSz="990478">
              <a:buFont typeface="+mj-lt"/>
              <a:buAutoNum type="arabicPeriod"/>
              <a:defRPr/>
            </a:pPr>
            <a:r>
              <a:rPr lang="en-GB" b="0" i="0">
                <a:solidFill>
                  <a:srgbClr val="5B616B"/>
                </a:solidFill>
                <a:effectLst/>
                <a:latin typeface="BlinkMacSystemFont"/>
              </a:rPr>
              <a:t>Mc Phail E.D et al. Inferior survival in high-grade B-cell lymphoma with MYC and BCL2 and/or BCL6 rearrangements is not associated with MYC/IG gene rearrangements. </a:t>
            </a:r>
            <a:r>
              <a:rPr lang="en-GB" b="0" i="1" err="1">
                <a:solidFill>
                  <a:srgbClr val="5B616B"/>
                </a:solidFill>
                <a:effectLst/>
                <a:latin typeface="BlinkMacSystemFont"/>
              </a:rPr>
              <a:t>Haematologica</a:t>
            </a:r>
            <a:r>
              <a:rPr lang="en-GB" b="0" i="0">
                <a:solidFill>
                  <a:srgbClr val="5B616B"/>
                </a:solidFill>
                <a:effectLst/>
                <a:latin typeface="BlinkMacSystemFont"/>
              </a:rPr>
              <a:t> 2018;103(11):1899-1907.</a:t>
            </a:r>
          </a:p>
          <a:p>
            <a:pPr marL="342900" indent="-342900" defTabSz="990478">
              <a:buFont typeface="+mj-lt"/>
              <a:buAutoNum type="arabicPeriod"/>
              <a:defRPr/>
            </a:pPr>
            <a:r>
              <a:rPr lang="en-GB" sz="1800">
                <a:latin typeface="AdvOTfe809cc4"/>
              </a:rPr>
              <a:t>Olszewski AJ, Kurt H, and Evens AM. </a:t>
            </a:r>
            <a:r>
              <a:rPr lang="en-GB" sz="1800">
                <a:latin typeface="AdvOT1ef757c0"/>
              </a:rPr>
              <a:t>Defining and treating high-grade B-cell lymphoma, NOS.</a:t>
            </a:r>
            <a:r>
              <a:rPr lang="en-GB" sz="1800" i="1">
                <a:latin typeface="AdvOT1ef757c0"/>
              </a:rPr>
              <a:t> </a:t>
            </a:r>
            <a:r>
              <a:rPr lang="en-GB" sz="2800" i="1">
                <a:solidFill>
                  <a:srgbClr val="212121"/>
                </a:solidFill>
                <a:latin typeface="BlinkMacSystemFont"/>
              </a:rPr>
              <a:t>Blood</a:t>
            </a:r>
            <a:r>
              <a:rPr lang="en-GB" sz="2800">
                <a:solidFill>
                  <a:srgbClr val="212121"/>
                </a:solidFill>
                <a:latin typeface="BlinkMacSystemFont"/>
              </a:rPr>
              <a:t> 2022;140(9):943-54.</a:t>
            </a:r>
            <a:endParaRPr lang="en-GB" sz="1800">
              <a:latin typeface="AdvOT1ef757c0"/>
            </a:endParaRPr>
          </a:p>
          <a:p>
            <a:pPr marL="342900" marR="0" lvl="0" indent="-342900" algn="l" defTabSz="9904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GB" b="0" i="0">
                <a:solidFill>
                  <a:srgbClr val="1B1B1B"/>
                </a:solidFill>
                <a:effectLst/>
                <a:latin typeface="Roboto Mono Web"/>
              </a:rPr>
              <a:t>Chen H, Zhao J, Zhao D et al. Lymphoma relapse 1 year or later after immunochemotherapy in DLBCL patients: clinical features and outcome. </a:t>
            </a:r>
            <a:r>
              <a:rPr lang="en-GB" b="0" i="1">
                <a:solidFill>
                  <a:srgbClr val="1B1B1B"/>
                </a:solidFill>
                <a:effectLst/>
                <a:latin typeface="Roboto Mono Web"/>
              </a:rPr>
              <a:t>Clin Exp Med</a:t>
            </a:r>
            <a:r>
              <a:rPr lang="en-GB" b="0" i="0">
                <a:solidFill>
                  <a:srgbClr val="1B1B1B"/>
                </a:solidFill>
                <a:effectLst/>
                <a:latin typeface="Roboto Mono Web"/>
              </a:rPr>
              <a:t> 2024;24(1):48.</a:t>
            </a:r>
            <a:endParaRPr lang="en-GB" sz="1200">
              <a:solidFill>
                <a:prstClr val="black"/>
              </a:solidFill>
              <a:latin typeface="Aptos" panose="020B0004020202020204" pitchFamily="34" charset="0"/>
            </a:endParaRPr>
          </a:p>
          <a:p>
            <a:pPr marL="342900" indent="-342900" defTabSz="990478">
              <a:buFont typeface="+mj-lt"/>
              <a:buAutoNum type="arabicPeriod"/>
              <a:defRPr/>
            </a:pPr>
            <a:r>
              <a:rPr lang="en-GB" sz="1200">
                <a:solidFill>
                  <a:prstClr val="black"/>
                </a:solidFill>
                <a:latin typeface="Aptos" panose="020B0004020202020204" pitchFamily="34" charset="0"/>
              </a:rPr>
              <a:t>Di Blasi R, </a:t>
            </a:r>
            <a:r>
              <a:rPr lang="en-GB" sz="1200" err="1">
                <a:solidFill>
                  <a:prstClr val="black"/>
                </a:solidFill>
                <a:latin typeface="Aptos" panose="020B0004020202020204" pitchFamily="34" charset="0"/>
              </a:rPr>
              <a:t>Gouill</a:t>
            </a:r>
            <a:r>
              <a:rPr lang="en-GB" sz="1200">
                <a:solidFill>
                  <a:prstClr val="black"/>
                </a:solidFill>
                <a:latin typeface="Aptos" panose="020B0004020202020204" pitchFamily="34" charset="0"/>
              </a:rPr>
              <a:t> S, Bachy E, et al. Outcomes of patients with aggressive B-Cell lymphoma after failure of anti-CD19 CAR T-Cell Therapy. A DESCAR-T analysis. </a:t>
            </a:r>
            <a:r>
              <a:rPr lang="en-GB" sz="1200" i="1">
                <a:solidFill>
                  <a:prstClr val="black"/>
                </a:solidFill>
                <a:latin typeface="Aptos" panose="020B0004020202020204" pitchFamily="34" charset="0"/>
              </a:rPr>
              <a:t>Blood</a:t>
            </a:r>
            <a:r>
              <a:rPr lang="en-GB" sz="1200">
                <a:solidFill>
                  <a:prstClr val="black"/>
                </a:solidFill>
                <a:latin typeface="Aptos" panose="020B0004020202020204" pitchFamily="34" charset="0"/>
              </a:rPr>
              <a:t> 2022;140:2584-93.</a:t>
            </a:r>
            <a:endParaRPr lang="en-GB"/>
          </a:p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81B6B5-2518-B244-B8AD-11E31BF235A9}" type="slidenum">
              <a:rPr kumimoji="0" lang="en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4264844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>
                <a:solidFill>
                  <a:srgbClr val="000000"/>
                </a:solidFill>
                <a:latin typeface="+mn-lt"/>
              </a:rPr>
              <a:t>Note: Stromal signatures (stromal-1, stromal-2) reflect </a:t>
            </a:r>
            <a:r>
              <a:rPr lang="en-US" sz="1200" err="1">
                <a:solidFill>
                  <a:srgbClr val="000000"/>
                </a:solidFill>
                <a:latin typeface="+mn-lt"/>
              </a:rPr>
              <a:t>tumour</a:t>
            </a:r>
            <a:r>
              <a:rPr lang="en-US" sz="1200">
                <a:solidFill>
                  <a:srgbClr val="000000"/>
                </a:solidFill>
                <a:latin typeface="+mn-lt"/>
              </a:rPr>
              <a:t> microenvironment characteristics including fibrosis and angiogenesis, serving as independent prognostic factors</a:t>
            </a:r>
            <a:endParaRPr lang="en-GB" b="1"/>
          </a:p>
          <a:p>
            <a:endParaRPr lang="en-GB" b="1"/>
          </a:p>
          <a:p>
            <a:endParaRPr lang="en-GB" b="1"/>
          </a:p>
          <a:p>
            <a:r>
              <a:rPr lang="en-GB" b="1"/>
              <a:t>References</a:t>
            </a:r>
          </a:p>
          <a:p>
            <a:pPr marL="228600" indent="-228600">
              <a:buFont typeface="+mj-lt"/>
              <a:buAutoNum type="arabicPeriod"/>
            </a:pPr>
            <a:r>
              <a:rPr lang="en-GB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osenwald A, Wright G, Chan WC, et al. The use of molecular profiling to predict survival after chemotherapy for diffuse large-B-cell lymphoma. </a:t>
            </a:r>
            <a:r>
              <a:rPr lang="en-GB" sz="1200" b="0" i="1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 Engl J Med</a:t>
            </a:r>
            <a:r>
              <a:rPr lang="en-GB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2002;346:1937-47.</a:t>
            </a:r>
          </a:p>
          <a:p>
            <a:pPr marL="228600" indent="-228600">
              <a:buFont typeface="+mj-lt"/>
              <a:buAutoNum type="arabicPeriod"/>
            </a:pPr>
            <a:r>
              <a:rPr lang="en-GB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enz G, Wright G, Dave SS, et al. Stromal gene signatures in large-B-cell lymphomas. </a:t>
            </a:r>
            <a:r>
              <a:rPr lang="en-GB" sz="1200" b="0" i="1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 Engl J Med</a:t>
            </a:r>
            <a:r>
              <a:rPr lang="en-GB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2008;359:2313-23. </a:t>
            </a:r>
            <a:endParaRPr lang="en-GB"/>
          </a:p>
          <a:p>
            <a:pPr marL="228600" indent="-228600">
              <a:buFont typeface="+mj-lt"/>
              <a:buAutoNum type="arabicPeriod"/>
            </a:pPr>
            <a:r>
              <a:rPr lang="en-GB" sz="1200" b="0" i="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lduaij</a:t>
            </a:r>
            <a:r>
              <a:rPr lang="en-GB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W, Collinge B, Ben-Neriah S, et al. Molecular determinants of clinical outcomes in a real-world diffuse large B-cell lymphoma population. </a:t>
            </a:r>
            <a:r>
              <a:rPr lang="en-GB" sz="1200" b="0" i="1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lood</a:t>
            </a:r>
            <a:r>
              <a:rPr lang="en-GB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2023;141:2493-2507.</a:t>
            </a:r>
          </a:p>
          <a:p>
            <a:pPr marL="228600" indent="-228600">
              <a:buFont typeface="+mj-lt"/>
              <a:buAutoNum type="arabicPeriod"/>
            </a:pPr>
            <a:r>
              <a:rPr lang="en-GB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Zhao X, Balmaceda A, Abiera VS, et al. An immunohistochemical germinal </a:t>
            </a:r>
            <a:r>
              <a:rPr lang="en-GB" sz="1200" b="0" i="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enter</a:t>
            </a:r>
            <a:r>
              <a:rPr lang="en-GB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B-cell dark zone signature identifies Burkitt lymphoma and molecular high-grade B-cell lymphomas. </a:t>
            </a:r>
            <a:r>
              <a:rPr lang="en-GB" sz="1200" b="0" i="1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m J Clin </a:t>
            </a:r>
            <a:r>
              <a:rPr lang="en-GB" sz="1200" b="0" i="1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athol</a:t>
            </a:r>
            <a:r>
              <a:rPr lang="en-GB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2025;164:559-66. 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GB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chmitz R, Wright GW, Huang DW, et al. Genetics and Pathogenesis of Diffuse Large B-Cell Lymphoma. </a:t>
            </a:r>
            <a:r>
              <a:rPr lang="en-GB" sz="1200" b="0" i="1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 Engl J Med</a:t>
            </a:r>
            <a:r>
              <a:rPr lang="en-GB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2018;378:1396-1407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81B6B5-2518-B244-B8AD-11E31BF235A9}" type="slidenum">
              <a:rPr kumimoji="0" lang="en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4662811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9F5B37F-1746-0B40-A8EA-5E2CF5E5DBB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936B625-C8A2-191E-B82D-05FEC1DEF35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9C5A9BC-9712-2B62-94FC-AAFD8F3ED03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>
                <a:solidFill>
                  <a:srgbClr val="000000"/>
                </a:solidFill>
                <a:latin typeface="+mn-lt"/>
              </a:rPr>
              <a:t>Note: Stromal signatures (stromal-1, stromal-2) reflect </a:t>
            </a:r>
            <a:r>
              <a:rPr lang="en-US" sz="1200" err="1">
                <a:solidFill>
                  <a:srgbClr val="000000"/>
                </a:solidFill>
                <a:latin typeface="+mn-lt"/>
              </a:rPr>
              <a:t>tumour</a:t>
            </a:r>
            <a:r>
              <a:rPr lang="en-US" sz="1200">
                <a:solidFill>
                  <a:srgbClr val="000000"/>
                </a:solidFill>
                <a:latin typeface="+mn-lt"/>
              </a:rPr>
              <a:t> microenvironment characteristics including fibrosis and angiogenesis, serving as independent prognostic factors</a:t>
            </a:r>
            <a:endParaRPr lang="en-GB" b="1"/>
          </a:p>
          <a:p>
            <a:endParaRPr lang="en-GB" b="1"/>
          </a:p>
          <a:p>
            <a:endParaRPr lang="en-GB" b="1"/>
          </a:p>
          <a:p>
            <a:r>
              <a:rPr lang="en-GB" b="1"/>
              <a:t>References</a:t>
            </a:r>
          </a:p>
          <a:p>
            <a:pPr marL="228600" indent="-228600">
              <a:buFont typeface="+mj-lt"/>
              <a:buAutoNum type="arabicPeriod"/>
            </a:pPr>
            <a:r>
              <a:rPr lang="en-GB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osenwald A, Wright G, Chan WC, et al. The use of molecular profiling to predict survival after chemotherapy for diffuse large-B-cell lymphoma. </a:t>
            </a:r>
            <a:r>
              <a:rPr lang="en-GB" sz="1200" b="0" i="1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 Engl J Med</a:t>
            </a:r>
            <a:r>
              <a:rPr lang="en-GB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2002;346:1937-47.</a:t>
            </a:r>
          </a:p>
          <a:p>
            <a:pPr marL="228600" indent="-228600">
              <a:buFont typeface="+mj-lt"/>
              <a:buAutoNum type="arabicPeriod"/>
            </a:pPr>
            <a:r>
              <a:rPr lang="en-GB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enz G, Wright G, Dave SS, et al. Stromal gene signatures in large-B-cell lymphomas. </a:t>
            </a:r>
            <a:r>
              <a:rPr lang="en-GB" sz="1200" b="0" i="1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 Engl J Med</a:t>
            </a:r>
            <a:r>
              <a:rPr lang="en-GB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2008;359:2313-23. </a:t>
            </a:r>
            <a:endParaRPr lang="en-GB"/>
          </a:p>
          <a:p>
            <a:pPr marL="228600" indent="-228600">
              <a:buFont typeface="+mj-lt"/>
              <a:buAutoNum type="arabicPeriod"/>
            </a:pPr>
            <a:r>
              <a:rPr lang="en-GB" sz="1200" b="0" i="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lduaij</a:t>
            </a:r>
            <a:r>
              <a:rPr lang="en-GB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W, Collinge B, Ben-Neriah S, et al. Molecular determinants of clinical outcomes in a real-world diffuse large B-cell lymphoma population. </a:t>
            </a:r>
            <a:r>
              <a:rPr lang="en-GB" sz="1200" b="0" i="1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lood</a:t>
            </a:r>
            <a:r>
              <a:rPr lang="en-GB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2023;141:2493-2507.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GB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Zhao X, Balmaceda A, Abiera VS, et al. An immunohistochemical germinal </a:t>
            </a:r>
            <a:r>
              <a:rPr lang="en-GB" sz="1200" b="0" i="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enter</a:t>
            </a:r>
            <a:r>
              <a:rPr lang="en-GB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B-cell dark zone signature identifies Burkitt lymphoma and molecular high-grade B-cell lymphomas. </a:t>
            </a:r>
            <a:r>
              <a:rPr lang="en-GB" sz="1200" b="0" i="1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m J Clin </a:t>
            </a:r>
            <a:r>
              <a:rPr lang="en-GB" sz="1200" b="0" i="1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athol</a:t>
            </a:r>
            <a:r>
              <a:rPr lang="en-GB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2025;164:559-66. 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GB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chmitz R, Wright GW, Huang DW, et al. Genetics and Pathogenesis of Diffuse Large B-Cell Lymphoma. </a:t>
            </a:r>
            <a:r>
              <a:rPr lang="en-GB" sz="1200" b="0" i="1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 Engl J Med</a:t>
            </a:r>
            <a:r>
              <a:rPr lang="en-GB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2018;378:1396-1407.</a:t>
            </a:r>
          </a:p>
          <a:p>
            <a:pPr marL="228600" indent="-228600">
              <a:buFont typeface="+mj-lt"/>
              <a:buAutoNum type="arabicPeriod"/>
            </a:pPr>
            <a:r>
              <a:rPr lang="en-GB" sz="1200" b="0" i="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rabolsi</a:t>
            </a:r>
            <a:r>
              <a:rPr lang="en-GB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, </a:t>
            </a:r>
            <a:r>
              <a:rPr lang="en-GB" sz="1200" b="0" i="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rumov</a:t>
            </a:r>
            <a:r>
              <a:rPr lang="en-GB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, Schatz JH. Bispecific antibodies and CAR-T cells: </a:t>
            </a:r>
            <a:r>
              <a:rPr lang="en-GB" sz="1200" b="0" i="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ueling</a:t>
            </a:r>
            <a:r>
              <a:rPr lang="en-GB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mmunotherapies for large B-cell lymphomas. </a:t>
            </a:r>
            <a:r>
              <a:rPr lang="en-GB" sz="1200" b="0" i="1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lood Cancer J</a:t>
            </a:r>
            <a:r>
              <a:rPr lang="en-GB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2024;14:27.</a:t>
            </a:r>
          </a:p>
          <a:p>
            <a:pPr marL="228600" indent="-228600">
              <a:buFont typeface="+mj-lt"/>
              <a:buAutoNum type="arabicPeriod"/>
            </a:pPr>
            <a:r>
              <a:rPr lang="en-GB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hong EA, Tomasulo EB, Barta SK. 2026 Update on the Management of Diffuse Large B-Cell Lymphoma. </a:t>
            </a:r>
            <a:r>
              <a:rPr lang="en-GB" sz="1200" b="0" i="1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m J </a:t>
            </a:r>
            <a:r>
              <a:rPr lang="en-GB" sz="1200" b="0" i="1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ematol</a:t>
            </a:r>
            <a:r>
              <a:rPr lang="en-GB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2026;101:832-863.</a:t>
            </a:r>
          </a:p>
          <a:p>
            <a:pPr marL="228600" indent="-228600">
              <a:buFont typeface="+mj-lt"/>
              <a:buAutoNum type="arabicPeriod"/>
            </a:pPr>
            <a:r>
              <a:rPr lang="en-GB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rupka JA, Hodson DJ. Class struggle in DLBCL. </a:t>
            </a:r>
            <a:r>
              <a:rPr lang="en-GB" sz="1200" b="0" i="1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lood</a:t>
            </a:r>
            <a:r>
              <a:rPr lang="en-GB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2025;145:1967-69.</a:t>
            </a:r>
          </a:p>
          <a:p>
            <a:pPr marL="228600" indent="-228600">
              <a:buFont typeface="+mj-lt"/>
              <a:buAutoNum type="arabicPeriod"/>
            </a:pPr>
            <a:r>
              <a:rPr lang="en-GB" sz="1200" b="0" i="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hapuy</a:t>
            </a:r>
            <a:r>
              <a:rPr lang="en-GB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B, Wood T, Stewart C, et al. </a:t>
            </a:r>
            <a:r>
              <a:rPr lang="en-GB" sz="1200" b="0" i="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LBclass</a:t>
            </a:r>
            <a:r>
              <a:rPr lang="en-GB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 a probabilistic molecular classifier to guide clinical investigation and practice in diffuse large B-cell lymphoma. </a:t>
            </a:r>
            <a:r>
              <a:rPr lang="en-GB" sz="1200" b="0" i="1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lood</a:t>
            </a:r>
            <a:r>
              <a:rPr lang="en-GB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2025;145:2041-2055.</a:t>
            </a:r>
          </a:p>
          <a:p>
            <a:pPr marL="228600" indent="-228600">
              <a:buFont typeface="+mj-lt"/>
              <a:buAutoNum type="arabicPeriod"/>
            </a:pPr>
            <a:r>
              <a:rPr lang="en-GB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right GW, Huang DW, Phelan JD, et al. A Probabilistic Classification Tool for Genetic Subtypes of Diffuse Large B Cell Lymphoma with Therapeutic Implications. </a:t>
            </a:r>
            <a:r>
              <a:rPr lang="en-GB" sz="1200" b="0" i="1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ancer Cell</a:t>
            </a:r>
            <a:r>
              <a:rPr lang="en-GB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2020;37:551-568.e14.</a:t>
            </a:r>
            <a:endParaRPr lang="en-GB"/>
          </a:p>
          <a:p>
            <a:pPr marL="228600" indent="-228600">
              <a:buFont typeface="+mj-lt"/>
              <a:buAutoNum type="arabicPeriod"/>
            </a:pPr>
            <a:r>
              <a:rPr lang="en-GB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i X, Singhal K, Deng Q, et al. Large B cell lymphoma microenvironment archetype profiles. </a:t>
            </a:r>
            <a:r>
              <a:rPr lang="en-GB" sz="1200" b="0" i="1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ancer Cell</a:t>
            </a:r>
            <a:r>
              <a:rPr lang="en-GB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2025;43:1347-1364.e13.</a:t>
            </a:r>
            <a:endParaRPr lang="en-GB" b="1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E23F5B7-33F2-939A-B086-A57391C8FBA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81B6B5-2518-B244-B8AD-11E31BF235A9}" type="slidenum">
              <a:rPr kumimoji="0" lang="en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5734883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81B6B5-2518-B244-B8AD-11E31BF235A9}" type="slidenum">
              <a:rPr kumimoji="0" lang="en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33850109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81B6B5-2518-B244-B8AD-11E31BF235A9}" type="slidenum">
              <a:rPr kumimoji="0" lang="en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5599879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Reference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GB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ieblemont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C., Gomes Da Silva, M., </a:t>
            </a:r>
            <a:r>
              <a:rPr lang="en-GB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eppä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S., et al. Large B-cell lymphoma (LBCL): </a:t>
            </a:r>
            <a:r>
              <a:rPr lang="en-GB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HA Clinical Practice Guidelines for diagnosis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treatment, and follow-up. </a:t>
            </a:r>
            <a:r>
              <a:rPr lang="en-GB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emaSphere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2025: 9(9), e70207.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81B6B5-2518-B244-B8AD-11E31BF235A9}" type="slidenum">
              <a:rPr kumimoji="0" lang="en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68176070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b="1"/>
              <a:t>References</a:t>
            </a:r>
            <a:endParaRPr lang="en-GB" b="0"/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GB"/>
              <a:t>Westin JR, Oluwole OO, Kersten MJ, et al. Survival with </a:t>
            </a:r>
            <a:r>
              <a:rPr lang="en-GB" err="1"/>
              <a:t>axicabtagene</a:t>
            </a:r>
            <a:r>
              <a:rPr lang="en-GB"/>
              <a:t> </a:t>
            </a:r>
            <a:r>
              <a:rPr lang="en-GB" err="1"/>
              <a:t>ciloleucel</a:t>
            </a:r>
            <a:r>
              <a:rPr lang="en-GB"/>
              <a:t> in large B-cell lymphoma. </a:t>
            </a:r>
            <a:r>
              <a:rPr lang="en-GB" i="1"/>
              <a:t>N Engl J Med</a:t>
            </a:r>
            <a:r>
              <a:rPr lang="en-GB"/>
              <a:t> 2023;389(2):148-157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GB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amdar M, Solomon SR, Arnason JE, et al. Long-term survival with </a:t>
            </a:r>
            <a:r>
              <a:rPr lang="en-GB" sz="1200" b="0" i="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isocabtagene</a:t>
            </a:r>
            <a:r>
              <a:rPr lang="en-GB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raleucel</a:t>
            </a:r>
            <a:r>
              <a:rPr lang="en-GB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n second-line large B-cell lymphoma from TRANSFORM. </a:t>
            </a:r>
            <a:r>
              <a:rPr lang="en-GB" sz="1200" b="0" i="1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lood Adv </a:t>
            </a:r>
            <a:r>
              <a:rPr lang="en-GB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026. Online ahead of print, </a:t>
            </a:r>
            <a:r>
              <a:rPr lang="en-GB" sz="1200" b="0" i="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oi</a:t>
            </a:r>
            <a:r>
              <a:rPr lang="en-GB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 10.1182/bloodadvances.2025019303.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81B6B5-2518-B244-B8AD-11E31BF235A9}" type="slidenum">
              <a:rPr kumimoji="0" lang="en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62116351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1F73B05-F4C6-93D9-0D2D-0E3C0CC0DDB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CD54B42-6919-2563-52C9-160754D83DD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439D4E8-3EA0-E399-825F-F6C51D527D4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b="1" dirty="0"/>
              <a:t>References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GB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ieblemont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C., Gomes Da Silva, M., </a:t>
            </a:r>
            <a:r>
              <a:rPr lang="en-GB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eppä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S., et al. Large B-cell lymphoma (LBCL): </a:t>
            </a:r>
            <a:r>
              <a:rPr lang="en-GB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HA Clinical Practice Guidelines for diagnosis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treatment, and follow-up. </a:t>
            </a:r>
            <a:r>
              <a:rPr lang="en-GB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emaSphere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2025: 9(9), e70207.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Eyre TA, </a:t>
            </a:r>
            <a:r>
              <a:rPr kumimoji="0" lang="en-GB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wynarski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K, </a:t>
            </a:r>
            <a:r>
              <a:rPr kumimoji="0" lang="en-GB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'Amore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F, et al. Lymphomas: ESMO Clinical Practice Guideline for diagnosis, treatment and follow-up. Ann Oncol 2025; S0923-7534(25)00911-1.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ational Comprehensive Cancer Network (NCCN) in B-cell lymphomas. Version 3.2025. Available from: https://www.nccn.org/professionals/physician_gls/pdf/b-cell.pdf (Accessed 02 September 2025).</a:t>
            </a:r>
          </a:p>
          <a:p>
            <a:pPr marL="228600" indent="-228600">
              <a:buFont typeface="+mj-lt"/>
              <a:buAutoNum type="arabicPeriod"/>
            </a:pPr>
            <a:r>
              <a:rPr lang="en-GB" dirty="0" err="1"/>
              <a:t>Albendea</a:t>
            </a:r>
            <a:r>
              <a:rPr lang="en-GB" dirty="0"/>
              <a:t> MAC, Canonico PL, </a:t>
            </a:r>
            <a:r>
              <a:rPr lang="en-GB" dirty="0" err="1"/>
              <a:t>Cartron</a:t>
            </a:r>
            <a:r>
              <a:rPr lang="en-GB" dirty="0"/>
              <a:t> G, et al. Comparative analysis of CAR T-cell therapy access for DLBCL patients: associated challenges and solutions in the four largest EU countries. Front Med 2023;10:1128295.</a:t>
            </a:r>
          </a:p>
          <a:p>
            <a:pPr marL="228600" indent="-228600">
              <a:buFont typeface="+mj-lt"/>
              <a:buAutoNum type="arabicPeriod"/>
            </a:pPr>
            <a:r>
              <a:rPr lang="en-GB" dirty="0"/>
              <a:t>Hoffmann MS, Hunter BD, Cobb PW, et al. Overcoming Barriers to Referral for Chimeric Antigen Receptor T Cell Therapy in Patients with Relapsed/Refractory Diffuse Large B Cell Lymphoma. Transplant Cell Ther 2023;29:440-8.</a:t>
            </a:r>
          </a:p>
          <a:p>
            <a:pPr marL="228600" indent="-228600">
              <a:buFont typeface="+mj-lt"/>
              <a:buAutoNum type="arabicPeriod"/>
            </a:pPr>
            <a:r>
              <a:rPr lang="en-GB" dirty="0" err="1"/>
              <a:t>Jommi</a:t>
            </a:r>
            <a:r>
              <a:rPr lang="en-GB" dirty="0"/>
              <a:t> C, </a:t>
            </a:r>
            <a:r>
              <a:rPr lang="en-GB" dirty="0" err="1"/>
              <a:t>Bramanti</a:t>
            </a:r>
            <a:r>
              <a:rPr lang="en-GB" dirty="0"/>
              <a:t> S, Pani M, et al. CAR T-Cell Therapies in Italy: Patient Access Barriers and Recommendations for Health System Solutions. Front </a:t>
            </a:r>
            <a:r>
              <a:rPr lang="en-GB" dirty="0" err="1"/>
              <a:t>Pharmacol</a:t>
            </a:r>
            <a:r>
              <a:rPr lang="en-GB" dirty="0"/>
              <a:t> 2022;13:915342.</a:t>
            </a:r>
          </a:p>
          <a:p>
            <a:pPr marL="228600" indent="-228600">
              <a:buFont typeface="+mj-lt"/>
              <a:buAutoNum type="arabicPeriod"/>
            </a:pPr>
            <a:r>
              <a:rPr lang="en-GB" dirty="0" err="1"/>
              <a:t>Chomienne</a:t>
            </a:r>
            <a:r>
              <a:rPr lang="en-GB" dirty="0"/>
              <a:t> C, Sierra J, </a:t>
            </a:r>
            <a:r>
              <a:rPr lang="en-GB" dirty="0" err="1"/>
              <a:t>Einsele</a:t>
            </a:r>
            <a:r>
              <a:rPr lang="en-GB" dirty="0"/>
              <a:t> H, Jäger U. EHA Guidance Document: The process of CAR-T cell therapy in Europe. </a:t>
            </a:r>
            <a:r>
              <a:rPr lang="en-GB" dirty="0" err="1"/>
              <a:t>HemaSphere</a:t>
            </a:r>
            <a:r>
              <a:rPr lang="en-GB" dirty="0"/>
              <a:t>, 2019;00:00. http://dx.doi.org/10.1097/HS9.0000000000000280.</a:t>
            </a:r>
          </a:p>
          <a:p>
            <a:pPr marL="228600" indent="-228600">
              <a:buFont typeface="+mj-lt"/>
              <a:buAutoNum type="arabicPeriod"/>
            </a:pPr>
            <a:r>
              <a:rPr lang="en-GB" dirty="0"/>
              <a:t>Gajra A, Zalenski A, </a:t>
            </a:r>
            <a:r>
              <a:rPr lang="en-GB" dirty="0" err="1"/>
              <a:t>Sannareddy</a:t>
            </a:r>
            <a:r>
              <a:rPr lang="en-GB" dirty="0"/>
              <a:t> A, et al. Barriers to Chimeric Antigen Receptor T-Cell (CAR-T) Therapies in Clinical Practice. </a:t>
            </a:r>
            <a:r>
              <a:rPr lang="en-GB" dirty="0" err="1"/>
              <a:t>Pharmaceut</a:t>
            </a:r>
            <a:r>
              <a:rPr lang="en-GB" dirty="0"/>
              <a:t> Med 2022;36:163-71.</a:t>
            </a:r>
          </a:p>
          <a:p>
            <a:pPr marL="228600" indent="-228600">
              <a:buFont typeface="+mj-lt"/>
              <a:buAutoNum type="arabicPeriod"/>
            </a:pPr>
            <a:r>
              <a:rPr lang="en-GB" dirty="0"/>
              <a:t>Abramson JS, Palomba ML, Gordon LI, et al. </a:t>
            </a:r>
            <a:r>
              <a:rPr lang="en-GB" dirty="0" err="1"/>
              <a:t>Lisocabtagene</a:t>
            </a:r>
            <a:r>
              <a:rPr lang="en-GB" dirty="0"/>
              <a:t> </a:t>
            </a:r>
            <a:r>
              <a:rPr lang="en-GB" dirty="0" err="1"/>
              <a:t>maraleucel</a:t>
            </a:r>
            <a:r>
              <a:rPr lang="en-GB" dirty="0"/>
              <a:t> for patients with relapsed or refractory large B-cell lymphomas (TRANSCEND NHL 001): a multicentre seamless design study. Lancet 2020; 396(10254): 839-852.</a:t>
            </a:r>
          </a:p>
          <a:p>
            <a:pPr marL="228600" indent="-228600">
              <a:buFont typeface="+mj-lt"/>
              <a:buAutoNum type="arabicPeriod"/>
            </a:pPr>
            <a:r>
              <a:rPr lang="en-GB" dirty="0"/>
              <a:t>Schuster SJ, Bishop MR, Tam CS, et al. </a:t>
            </a:r>
            <a:r>
              <a:rPr lang="en-GB" dirty="0" err="1"/>
              <a:t>Tisagenlecleucel</a:t>
            </a:r>
            <a:r>
              <a:rPr lang="en-GB" dirty="0"/>
              <a:t> in Adult Relapsed  or Refractory Diffuse Large B-Cell Lymphoma. N Engl J Med 2019;380:45-56.</a:t>
            </a:r>
          </a:p>
          <a:p>
            <a:pPr marL="228600" indent="-228600">
              <a:buFont typeface="+mj-lt"/>
              <a:buAutoNum type="arabicPeriod"/>
            </a:pPr>
            <a:r>
              <a:rPr lang="en-GB" dirty="0"/>
              <a:t>Locke FL, Ghobadi A, Jacobson CA, et al. Long-term safety and activity of </a:t>
            </a:r>
            <a:r>
              <a:rPr lang="en-GB" dirty="0" err="1"/>
              <a:t>axicabtagene</a:t>
            </a:r>
            <a:r>
              <a:rPr lang="en-GB" dirty="0"/>
              <a:t> </a:t>
            </a:r>
            <a:r>
              <a:rPr lang="en-GB" dirty="0" err="1"/>
              <a:t>ciloleucel</a:t>
            </a:r>
            <a:r>
              <a:rPr lang="en-GB" dirty="0"/>
              <a:t> in refractory large B-cell lymphoma (ZUMA-1): a single-arm, multicentre, phase 1-2 trial. Lancet Oncol 2019;20:31-42 (supplement).</a:t>
            </a:r>
          </a:p>
          <a:p>
            <a:pPr marL="228600" indent="-228600">
              <a:buFont typeface="+mj-lt"/>
              <a:buAutoNum type="arabicPeriod"/>
            </a:pPr>
            <a:r>
              <a:rPr lang="en-GB" dirty="0" err="1"/>
              <a:t>Breyanzi</a:t>
            </a:r>
            <a:r>
              <a:rPr lang="en-GB" dirty="0"/>
              <a:t> (</a:t>
            </a:r>
            <a:r>
              <a:rPr lang="en-GB" dirty="0" err="1"/>
              <a:t>lisocabtagene</a:t>
            </a:r>
            <a:r>
              <a:rPr lang="en-GB" dirty="0"/>
              <a:t> </a:t>
            </a:r>
            <a:r>
              <a:rPr lang="en-GB" dirty="0" err="1"/>
              <a:t>maraleucel</a:t>
            </a:r>
            <a:r>
              <a:rPr lang="en-GB" dirty="0"/>
              <a:t>) Summary of Product Characteristics. Available from https://www.ema.europa.eu/en/documents/product-information/breyanzi-epar-product-information_en.pdf (Accessed September 2025).</a:t>
            </a:r>
          </a:p>
          <a:p>
            <a:pPr marL="228600" indent="-228600">
              <a:buFont typeface="+mj-lt"/>
              <a:buAutoNum type="arabicPeriod"/>
            </a:pPr>
            <a:r>
              <a:rPr lang="en-GB" dirty="0" err="1"/>
              <a:t>Yescarta</a:t>
            </a:r>
            <a:r>
              <a:rPr lang="en-GB" dirty="0"/>
              <a:t> (</a:t>
            </a:r>
            <a:r>
              <a:rPr lang="en-GB" dirty="0" err="1"/>
              <a:t>axicabtagene</a:t>
            </a:r>
            <a:r>
              <a:rPr lang="en-GB" dirty="0"/>
              <a:t> </a:t>
            </a:r>
            <a:r>
              <a:rPr lang="en-GB" dirty="0" err="1"/>
              <a:t>ciloleucel</a:t>
            </a:r>
            <a:r>
              <a:rPr lang="en-GB" dirty="0"/>
              <a:t>) Summary of Product Characteristics. Available from https://www.ema.europa.eu/en/documents/product-information/yescarta-epar-product-information_en.pdf (Accessed September 2025).</a:t>
            </a:r>
          </a:p>
          <a:p>
            <a:pPr marL="228600" indent="-228600">
              <a:buFont typeface="+mj-lt"/>
              <a:buAutoNum type="arabicPeriod"/>
            </a:pPr>
            <a:r>
              <a:rPr lang="en-GB" dirty="0"/>
              <a:t>Jain T, Olson TS &amp; Locke FL. How I treat cytopenias after CAR T-cell therapy. </a:t>
            </a:r>
            <a:r>
              <a:rPr lang="en-GB" i="1" dirty="0"/>
              <a:t>Blood</a:t>
            </a:r>
            <a:r>
              <a:rPr lang="en-GB" dirty="0"/>
              <a:t> 2023;141:2460-9.</a:t>
            </a:r>
          </a:p>
          <a:p>
            <a:pPr marL="228600" indent="-228600">
              <a:buFont typeface="+mj-lt"/>
              <a:buAutoNum type="arabicPeriod"/>
            </a:pPr>
            <a:r>
              <a:rPr lang="en-GB" dirty="0"/>
              <a:t>Tomas AA, Fein JS, Fried S, et al. Outcomes of first therapy after CD19-CAR-T treatment failure in large B-cell lymphoma. </a:t>
            </a:r>
            <a:r>
              <a:rPr lang="en-GB" dirty="0" err="1"/>
              <a:t>Leukemia</a:t>
            </a:r>
            <a:r>
              <a:rPr lang="en-GB" dirty="0"/>
              <a:t> 2023;37(1):154-163.</a:t>
            </a:r>
          </a:p>
          <a:p>
            <a:pPr marL="228600" indent="-228600">
              <a:buFont typeface="+mj-lt"/>
              <a:buAutoNum type="arabicPeriod"/>
            </a:pPr>
            <a:r>
              <a:rPr lang="en-GB" dirty="0"/>
              <a:t>Di Blasi R, </a:t>
            </a:r>
            <a:r>
              <a:rPr lang="en-GB" dirty="0" err="1"/>
              <a:t>Gouill</a:t>
            </a:r>
            <a:r>
              <a:rPr lang="en-GB" dirty="0"/>
              <a:t> S, Bachy E, et al. Outcomes of patients with aggressive B-Cell lymphoma after failure of anti-CD19 CAR T-Cell Therapy. A DESCAR-T analysis. Blood 2022;140:2584-93.</a:t>
            </a:r>
          </a:p>
          <a:p>
            <a:pPr marL="228600" indent="-228600">
              <a:buFont typeface="+mj-lt"/>
              <a:buAutoNum type="arabicPeriod"/>
            </a:pPr>
            <a:r>
              <a:rPr lang="en-GB" dirty="0"/>
              <a:t>Dodero A, </a:t>
            </a:r>
            <a:r>
              <a:rPr lang="en-GB" dirty="0" err="1"/>
              <a:t>Bramanti</a:t>
            </a:r>
            <a:r>
              <a:rPr lang="en-GB" dirty="0"/>
              <a:t> S, Di Trani M, et al. Outcome after chimeric antigen receptor (CAR) T-cell therapy failure in large B-cell lymphomas. Br J </a:t>
            </a:r>
            <a:r>
              <a:rPr lang="en-GB" dirty="0" err="1"/>
              <a:t>Haematol</a:t>
            </a:r>
            <a:r>
              <a:rPr lang="en-GB" dirty="0"/>
              <a:t> 2024;204(1):151-9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8E18F47-1D92-1497-11AB-D965E59A1A2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228248D-131C-4415-A49F-E8885CA622FD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78979996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F7CE5A-608F-12C4-FBF5-0D2B062C82D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EC5BD7A-07F2-AD67-AA1F-01B92F39B1C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4481E7D-8099-4F0F-579B-373A7BECC39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b="1" dirty="0"/>
              <a:t>References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GB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ieblemont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C., Gomes Da Silva, M., </a:t>
            </a:r>
            <a:r>
              <a:rPr lang="en-GB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eppä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S., et al. Large B-cell lymphoma (LBCL): </a:t>
            </a:r>
            <a:r>
              <a:rPr lang="en-GB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HA Clinical Practice Guidelines for diagnosis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treatment, and follow-up. </a:t>
            </a:r>
            <a:r>
              <a:rPr lang="en-GB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emaSphere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2025: 9(9), e70207.</a:t>
            </a:r>
            <a:endParaRPr lang="en-GB" dirty="0"/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Eyre TA, </a:t>
            </a:r>
            <a:r>
              <a:rPr kumimoji="0" lang="en-GB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wynarski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K, </a:t>
            </a:r>
            <a:r>
              <a:rPr kumimoji="0" lang="en-GB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'Amore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F, et al. Lymphomas: ESMO Clinical Practice Guideline for diagnosis, treatment and follow-up. Ann Oncol 2025; S0923-7534(25)00911-1.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ational Comprehensive Cancer Network (NCCN) in B-cell lymphomas. Version 3.2025. Available from: https://www.nccn.org/professionals/physician_gls/pdf/b-cell.pdf (Accessed 02 September 2025).</a:t>
            </a:r>
          </a:p>
          <a:p>
            <a:pPr marL="228600" indent="-228600">
              <a:buFont typeface="+mj-lt"/>
              <a:buAutoNum type="arabicPeriod"/>
            </a:pPr>
            <a:r>
              <a:rPr lang="en-GB" dirty="0" err="1"/>
              <a:t>Albendea</a:t>
            </a:r>
            <a:r>
              <a:rPr lang="en-GB" dirty="0"/>
              <a:t> MAC, Canonico PL, </a:t>
            </a:r>
            <a:r>
              <a:rPr lang="en-GB" dirty="0" err="1"/>
              <a:t>Cartron</a:t>
            </a:r>
            <a:r>
              <a:rPr lang="en-GB" dirty="0"/>
              <a:t> G, et al. Comparative analysis of CAR T-cell therapy access for DLBCL patients: associated challenges and solutions in the four largest EU countries. Front Med 2023;10:1128295.</a:t>
            </a:r>
          </a:p>
          <a:p>
            <a:pPr marL="228600" indent="-228600">
              <a:buFont typeface="+mj-lt"/>
              <a:buAutoNum type="arabicPeriod"/>
            </a:pPr>
            <a:r>
              <a:rPr lang="en-GB" dirty="0"/>
              <a:t>Hoffmann MS, Hunter BD, Cobb PW, et al. Overcoming Barriers to Referral for Chimeric Antigen Receptor T Cell Therapy in Patients with Relapsed/Refractory Diffuse Large B Cell Lymphoma. Transplant Cell Ther 2023;29:440-8.</a:t>
            </a:r>
          </a:p>
          <a:p>
            <a:pPr marL="228600" indent="-228600">
              <a:buFont typeface="+mj-lt"/>
              <a:buAutoNum type="arabicPeriod"/>
            </a:pPr>
            <a:r>
              <a:rPr lang="en-GB" dirty="0" err="1"/>
              <a:t>Jommi</a:t>
            </a:r>
            <a:r>
              <a:rPr lang="en-GB" dirty="0"/>
              <a:t> C, </a:t>
            </a:r>
            <a:r>
              <a:rPr lang="en-GB" dirty="0" err="1"/>
              <a:t>Bramanti</a:t>
            </a:r>
            <a:r>
              <a:rPr lang="en-GB" dirty="0"/>
              <a:t> S, Pani M, et al. CAR T-Cell Therapies in Italy: Patient Access Barriers and Recommendations for Health System Solutions. Front </a:t>
            </a:r>
            <a:r>
              <a:rPr lang="en-GB" dirty="0" err="1"/>
              <a:t>Pharmacol</a:t>
            </a:r>
            <a:r>
              <a:rPr lang="en-GB" dirty="0"/>
              <a:t> 2022;13:915342.</a:t>
            </a:r>
          </a:p>
          <a:p>
            <a:pPr marL="228600" indent="-228600">
              <a:buFont typeface="+mj-lt"/>
              <a:buAutoNum type="arabicPeriod"/>
            </a:pPr>
            <a:r>
              <a:rPr lang="en-GB" dirty="0" err="1"/>
              <a:t>Chomienne</a:t>
            </a:r>
            <a:r>
              <a:rPr lang="en-GB" dirty="0"/>
              <a:t> C, Sierra J, </a:t>
            </a:r>
            <a:r>
              <a:rPr lang="en-GB" dirty="0" err="1"/>
              <a:t>Einsele</a:t>
            </a:r>
            <a:r>
              <a:rPr lang="en-GB" dirty="0"/>
              <a:t> H, Jäger U. EHA Guidance Document: The process of CAR-T cell therapy in Europe. </a:t>
            </a:r>
            <a:r>
              <a:rPr lang="en-GB" dirty="0" err="1"/>
              <a:t>HemaSphere</a:t>
            </a:r>
            <a:r>
              <a:rPr lang="en-GB" dirty="0"/>
              <a:t>, 2019;00:00. http://dx.doi.org/10.1097/HS9.0000000000000280.</a:t>
            </a:r>
          </a:p>
          <a:p>
            <a:pPr marL="228600" indent="-228600">
              <a:buFont typeface="+mj-lt"/>
              <a:buAutoNum type="arabicPeriod"/>
            </a:pPr>
            <a:r>
              <a:rPr lang="en-GB" dirty="0"/>
              <a:t>Gajra A, Zalenski A, </a:t>
            </a:r>
            <a:r>
              <a:rPr lang="en-GB" dirty="0" err="1"/>
              <a:t>Sannareddy</a:t>
            </a:r>
            <a:r>
              <a:rPr lang="en-GB" dirty="0"/>
              <a:t> A, et al. Barriers to Chimeric Antigen Receptor T-Cell (CAR-T) Therapies in Clinical Practice. </a:t>
            </a:r>
            <a:r>
              <a:rPr lang="en-GB" dirty="0" err="1"/>
              <a:t>Pharmaceut</a:t>
            </a:r>
            <a:r>
              <a:rPr lang="en-GB" dirty="0"/>
              <a:t> Med 2022;36:163-71.</a:t>
            </a:r>
          </a:p>
          <a:p>
            <a:pPr marL="228600" indent="-228600">
              <a:buFont typeface="+mj-lt"/>
              <a:buAutoNum type="arabicPeriod"/>
            </a:pPr>
            <a:r>
              <a:rPr lang="en-GB" dirty="0"/>
              <a:t>Abramson JS, Palomba ML, Gordon LI, et al. </a:t>
            </a:r>
            <a:r>
              <a:rPr lang="en-GB" dirty="0" err="1"/>
              <a:t>Lisocabtagene</a:t>
            </a:r>
            <a:r>
              <a:rPr lang="en-GB" dirty="0"/>
              <a:t> </a:t>
            </a:r>
            <a:r>
              <a:rPr lang="en-GB" dirty="0" err="1"/>
              <a:t>maraleucel</a:t>
            </a:r>
            <a:r>
              <a:rPr lang="en-GB" dirty="0"/>
              <a:t> for patients with relapsed or refractory large B-cell lymphomas (TRANSCEND NHL 001): a multicentre seamless design study. Lancet 2020; 396(10254): 839-852.</a:t>
            </a:r>
          </a:p>
          <a:p>
            <a:pPr marL="228600" indent="-228600">
              <a:buFont typeface="+mj-lt"/>
              <a:buAutoNum type="arabicPeriod"/>
            </a:pPr>
            <a:r>
              <a:rPr lang="en-GB" dirty="0"/>
              <a:t>Schuster SJ, Bishop MR, Tam CS, et al. </a:t>
            </a:r>
            <a:r>
              <a:rPr lang="en-GB" dirty="0" err="1"/>
              <a:t>Tisagenlecleucel</a:t>
            </a:r>
            <a:r>
              <a:rPr lang="en-GB" dirty="0"/>
              <a:t> in Adult Relapsed  or Refractory Diffuse Large B-Cell Lymphoma. N Engl J Med 2019;380:45-56.</a:t>
            </a:r>
          </a:p>
          <a:p>
            <a:pPr marL="228600" indent="-228600">
              <a:buFont typeface="+mj-lt"/>
              <a:buAutoNum type="arabicPeriod"/>
            </a:pPr>
            <a:r>
              <a:rPr lang="en-GB" dirty="0"/>
              <a:t>Locke FL, Ghobadi A, Jacobson CA, et al. Long-term safety and activity of </a:t>
            </a:r>
            <a:r>
              <a:rPr lang="en-GB" dirty="0" err="1"/>
              <a:t>axicabtagene</a:t>
            </a:r>
            <a:r>
              <a:rPr lang="en-GB" dirty="0"/>
              <a:t> </a:t>
            </a:r>
            <a:r>
              <a:rPr lang="en-GB" dirty="0" err="1"/>
              <a:t>ciloleucel</a:t>
            </a:r>
            <a:r>
              <a:rPr lang="en-GB" dirty="0"/>
              <a:t> in refractory large B-cell lymphoma (ZUMA-1): a single-arm, multicentre, phase 1-2 trial. Lancet Oncol 2019;20:31-42 (supplement).</a:t>
            </a:r>
          </a:p>
          <a:p>
            <a:pPr marL="228600" indent="-228600">
              <a:buFont typeface="+mj-lt"/>
              <a:buAutoNum type="arabicPeriod"/>
            </a:pPr>
            <a:r>
              <a:rPr lang="en-GB" dirty="0" err="1"/>
              <a:t>Breyanzi</a:t>
            </a:r>
            <a:r>
              <a:rPr lang="en-GB" dirty="0"/>
              <a:t> (</a:t>
            </a:r>
            <a:r>
              <a:rPr lang="en-GB" dirty="0" err="1"/>
              <a:t>lisocabtagene</a:t>
            </a:r>
            <a:r>
              <a:rPr lang="en-GB" dirty="0"/>
              <a:t> </a:t>
            </a:r>
            <a:r>
              <a:rPr lang="en-GB" dirty="0" err="1"/>
              <a:t>maraleucel</a:t>
            </a:r>
            <a:r>
              <a:rPr lang="en-GB" dirty="0"/>
              <a:t>) Summary of Product Characteristics. Available from https://www.ema.europa.eu/en/documents/product-information/breyanzi-epar-product-information_en.pdf (Accessed September 2025).</a:t>
            </a:r>
          </a:p>
          <a:p>
            <a:pPr marL="228600" indent="-228600">
              <a:buFont typeface="+mj-lt"/>
              <a:buAutoNum type="arabicPeriod"/>
            </a:pPr>
            <a:r>
              <a:rPr lang="en-GB" dirty="0" err="1"/>
              <a:t>Yescarta</a:t>
            </a:r>
            <a:r>
              <a:rPr lang="en-GB" dirty="0"/>
              <a:t> (</a:t>
            </a:r>
            <a:r>
              <a:rPr lang="en-GB" dirty="0" err="1"/>
              <a:t>axicabtagene</a:t>
            </a:r>
            <a:r>
              <a:rPr lang="en-GB" dirty="0"/>
              <a:t> </a:t>
            </a:r>
            <a:r>
              <a:rPr lang="en-GB" dirty="0" err="1"/>
              <a:t>ciloleucel</a:t>
            </a:r>
            <a:r>
              <a:rPr lang="en-GB" dirty="0"/>
              <a:t>) Summary of Product Characteristics. Available from https://www.ema.europa.eu/en/documents/product-information/yescarta-epar-product-information_en.pdf (Accessed September 2025).</a:t>
            </a:r>
          </a:p>
          <a:p>
            <a:pPr marL="228600" indent="-228600">
              <a:buFont typeface="+mj-lt"/>
              <a:buAutoNum type="arabicPeriod"/>
            </a:pPr>
            <a:r>
              <a:rPr lang="en-GB" dirty="0"/>
              <a:t>Jain T, Olson TS &amp; Locke FL. How I treat cytopenias after CAR T-cell therapy. </a:t>
            </a:r>
            <a:r>
              <a:rPr lang="en-GB" i="1" dirty="0"/>
              <a:t>Blood</a:t>
            </a:r>
            <a:r>
              <a:rPr lang="en-GB" dirty="0"/>
              <a:t> 2023;141:2460-9.</a:t>
            </a:r>
          </a:p>
          <a:p>
            <a:pPr marL="228600" indent="-228600">
              <a:buFont typeface="+mj-lt"/>
              <a:buAutoNum type="arabicPeriod"/>
            </a:pPr>
            <a:r>
              <a:rPr lang="en-GB" dirty="0"/>
              <a:t>Tomas AA, Fein JS, Fried S, et al. Outcomes of first therapy after CD19-CAR-T treatment failure in large B-cell lymphoma. </a:t>
            </a:r>
            <a:r>
              <a:rPr lang="en-GB" dirty="0" err="1"/>
              <a:t>Leukemia</a:t>
            </a:r>
            <a:r>
              <a:rPr lang="en-GB" dirty="0"/>
              <a:t> 2023;37(1):154-163.</a:t>
            </a:r>
          </a:p>
          <a:p>
            <a:pPr marL="228600" indent="-228600">
              <a:buFont typeface="+mj-lt"/>
              <a:buAutoNum type="arabicPeriod"/>
            </a:pPr>
            <a:r>
              <a:rPr lang="en-GB" dirty="0"/>
              <a:t>Di Blasi R, </a:t>
            </a:r>
            <a:r>
              <a:rPr lang="en-GB" dirty="0" err="1"/>
              <a:t>Gouill</a:t>
            </a:r>
            <a:r>
              <a:rPr lang="en-GB" dirty="0"/>
              <a:t> S, Bachy E, et al. Outcomes of patients with aggressive B-Cell lymphoma after failure of anti-CD19 CAR T-Cell Therapy. A DESCAR-T analysis. Blood 2022;140:2584-93.</a:t>
            </a:r>
          </a:p>
          <a:p>
            <a:pPr marL="228600" indent="-228600">
              <a:buFont typeface="+mj-lt"/>
              <a:buAutoNum type="arabicPeriod"/>
            </a:pPr>
            <a:r>
              <a:rPr lang="en-GB" dirty="0"/>
              <a:t>Dodero A, </a:t>
            </a:r>
            <a:r>
              <a:rPr lang="en-GB" dirty="0" err="1"/>
              <a:t>Bramanti</a:t>
            </a:r>
            <a:r>
              <a:rPr lang="en-GB" dirty="0"/>
              <a:t> S, Di Trani M, et al. Outcome after chimeric antigen receptor (CAR) T-cell therapy failure in large B-cell lymphomas. Br J </a:t>
            </a:r>
            <a:r>
              <a:rPr lang="en-GB" dirty="0" err="1"/>
              <a:t>Haematol</a:t>
            </a:r>
            <a:r>
              <a:rPr lang="en-GB" dirty="0"/>
              <a:t> 2024;204(1):151-9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7EB930-C172-9AE3-6FE5-57B288E8952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228248D-131C-4415-A49F-E8885CA622FD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55633818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Reference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GB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ieblemont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C., Gomes Da Silva, M., </a:t>
            </a:r>
            <a:r>
              <a:rPr lang="en-GB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eppä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S., et al. Large B-cell lymphoma (LBCL): </a:t>
            </a:r>
            <a:r>
              <a:rPr lang="en-GB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HA Clinical Practice Guidelines for diagnosis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treatment, and follow-up. </a:t>
            </a:r>
            <a:r>
              <a:rPr lang="en-GB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emaSphere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2025: 9(9), e70207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81B6B5-2518-B244-B8AD-11E31BF235A9}" type="slidenum">
              <a:rPr kumimoji="0" lang="en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9542257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81B6B5-2518-B244-B8AD-11E31BF235A9}" type="slidenum">
              <a:rPr lang="en-SE" smtClean="0"/>
              <a:t>3</a:t>
            </a:fld>
            <a:endParaRPr lang="en-SE"/>
          </a:p>
        </p:txBody>
      </p:sp>
    </p:spTree>
    <p:extLst>
      <p:ext uri="{BB962C8B-B14F-4D97-AF65-F5344CB8AC3E}">
        <p14:creationId xmlns:p14="http://schemas.microsoft.com/office/powerpoint/2010/main" val="1026299332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0AC820E-1C28-5F09-71B6-DCE17AE330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D2CE827-88D5-4A54-B8D8-C6FBC7F8414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DD469E9-E1D1-E5B6-2093-0DABB728AA2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b="1" dirty="0"/>
              <a:t>References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GB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ieblemont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C., Gomes Da Silva, M., </a:t>
            </a:r>
            <a:r>
              <a:rPr lang="en-GB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eppä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S., et al. Large B-cell lymphoma (LBCL): </a:t>
            </a:r>
            <a:r>
              <a:rPr lang="en-GB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HA Clinical Practice Guidelines for diagnosis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treatment, and follow-up. </a:t>
            </a:r>
            <a:r>
              <a:rPr lang="en-GB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emaSphere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2025: 9(9), e70207.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Eyre TA, </a:t>
            </a:r>
            <a:r>
              <a:rPr kumimoji="0" lang="en-GB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wynarski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K, </a:t>
            </a:r>
            <a:r>
              <a:rPr kumimoji="0" lang="en-GB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'Amore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F, et al. Lymphomas: ESMO Clinical Practice Guideline for diagnosis, treatment and follow-up. Ann Oncol 2025; S0923-7534(25)00911-1.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ational Comprehensive Cancer Network (NCCN) in B-cell lymphomas. Version 3.2025. Available from: https://www.nccn.org/professionals/physician_gls/pdf/b-cell.pdf (Accessed 02 September 2025).</a:t>
            </a:r>
          </a:p>
          <a:p>
            <a:pPr marL="228600" indent="-228600">
              <a:buFont typeface="+mj-lt"/>
              <a:buAutoNum type="arabicPeriod"/>
            </a:pPr>
            <a:r>
              <a:rPr lang="en-GB" dirty="0"/>
              <a:t>Bento L, Gutierrez A, Martinez C, et al. Autologous stem cell transplantation for relapsed/refractory large B-cell lymphoma: a </a:t>
            </a:r>
            <a:r>
              <a:rPr lang="en-GB" dirty="0" err="1"/>
              <a:t>multicenter</a:t>
            </a:r>
            <a:r>
              <a:rPr lang="en-GB" dirty="0"/>
              <a:t> GETH-TC/GELTAMO study. </a:t>
            </a:r>
            <a:r>
              <a:rPr lang="en-GB" i="1" dirty="0"/>
              <a:t>Blood Adv </a:t>
            </a:r>
            <a:r>
              <a:rPr lang="en-GB" dirty="0"/>
              <a:t>2025;9:3281-92.</a:t>
            </a:r>
          </a:p>
          <a:p>
            <a:pPr marL="228600" indent="-228600">
              <a:buFont typeface="+mj-lt"/>
              <a:buAutoNum type="arabicPeriod"/>
            </a:pPr>
            <a:r>
              <a:rPr lang="nl-NL" dirty="0">
                <a:solidFill>
                  <a:schemeClr val="bg1"/>
                </a:solidFill>
              </a:rPr>
              <a:t>van der </a:t>
            </a:r>
            <a:r>
              <a:rPr lang="nl-NL" dirty="0" err="1">
                <a:solidFill>
                  <a:schemeClr val="bg1"/>
                </a:solidFill>
              </a:rPr>
              <a:t>Galiën</a:t>
            </a:r>
            <a:r>
              <a:rPr lang="nl-NL" dirty="0">
                <a:solidFill>
                  <a:schemeClr val="bg1"/>
                </a:solidFill>
              </a:rPr>
              <a:t> HT, Kooistra HAM, Kibbelaar R, et al. </a:t>
            </a:r>
            <a:r>
              <a:rPr lang="nl-NL" dirty="0" err="1">
                <a:solidFill>
                  <a:schemeClr val="bg1"/>
                </a:solidFill>
              </a:rPr>
              <a:t>Patients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with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Relapsed</a:t>
            </a:r>
            <a:r>
              <a:rPr lang="nl-NL" dirty="0">
                <a:solidFill>
                  <a:schemeClr val="bg1"/>
                </a:solidFill>
              </a:rPr>
              <a:t> Large B-</a:t>
            </a:r>
            <a:r>
              <a:rPr lang="nl-NL" dirty="0" err="1">
                <a:solidFill>
                  <a:schemeClr val="bg1"/>
                </a:solidFill>
              </a:rPr>
              <a:t>Cell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Lymphoma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After</a:t>
            </a:r>
            <a:r>
              <a:rPr lang="nl-NL" dirty="0">
                <a:solidFill>
                  <a:schemeClr val="bg1"/>
                </a:solidFill>
              </a:rPr>
              <a:t> 12 </a:t>
            </a:r>
            <a:r>
              <a:rPr lang="nl-NL" dirty="0" err="1">
                <a:solidFill>
                  <a:schemeClr val="bg1"/>
                </a:solidFill>
              </a:rPr>
              <a:t>Months</a:t>
            </a:r>
            <a:r>
              <a:rPr lang="nl-NL" dirty="0">
                <a:solidFill>
                  <a:schemeClr val="bg1"/>
                </a:solidFill>
              </a:rPr>
              <a:t> Have a </a:t>
            </a:r>
            <a:r>
              <a:rPr lang="nl-NL" dirty="0" err="1">
                <a:solidFill>
                  <a:schemeClr val="bg1"/>
                </a:solidFill>
              </a:rPr>
              <a:t>Similarly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Poor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Prognosis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to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Those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Relapsing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Within</a:t>
            </a:r>
            <a:r>
              <a:rPr lang="nl-NL" dirty="0">
                <a:solidFill>
                  <a:schemeClr val="bg1"/>
                </a:solidFill>
              </a:rPr>
              <a:t> 12 </a:t>
            </a:r>
            <a:r>
              <a:rPr lang="nl-NL" dirty="0" err="1">
                <a:solidFill>
                  <a:schemeClr val="bg1"/>
                </a:solidFill>
              </a:rPr>
              <a:t>Months</a:t>
            </a:r>
            <a:r>
              <a:rPr lang="nl-NL" dirty="0">
                <a:solidFill>
                  <a:schemeClr val="bg1"/>
                </a:solidFill>
              </a:rPr>
              <a:t>. </a:t>
            </a:r>
            <a:r>
              <a:rPr lang="nl-NL" i="1" dirty="0" err="1">
                <a:solidFill>
                  <a:schemeClr val="bg1"/>
                </a:solidFill>
              </a:rPr>
              <a:t>Eur</a:t>
            </a:r>
            <a:r>
              <a:rPr lang="nl-NL" i="1" dirty="0">
                <a:solidFill>
                  <a:schemeClr val="bg1"/>
                </a:solidFill>
              </a:rPr>
              <a:t> J </a:t>
            </a:r>
            <a:r>
              <a:rPr lang="nl-NL" i="1" dirty="0" err="1">
                <a:solidFill>
                  <a:schemeClr val="bg1"/>
                </a:solidFill>
              </a:rPr>
              <a:t>Haematol</a:t>
            </a:r>
            <a:r>
              <a:rPr lang="nl-NL" dirty="0">
                <a:solidFill>
                  <a:schemeClr val="bg1"/>
                </a:solidFill>
              </a:rPr>
              <a:t> 2025;115:391-402.</a:t>
            </a:r>
            <a:endParaRPr lang="en-GB" dirty="0"/>
          </a:p>
          <a:p>
            <a:pPr marL="228600" indent="-228600">
              <a:buFont typeface="+mj-lt"/>
              <a:buAutoNum type="arabicPeriod"/>
            </a:pPr>
            <a:r>
              <a:rPr lang="en-GB" dirty="0"/>
              <a:t>Carreras, E., Dufour, C., </a:t>
            </a:r>
            <a:r>
              <a:rPr lang="en-GB" dirty="0" err="1"/>
              <a:t>Mohty</a:t>
            </a:r>
            <a:r>
              <a:rPr lang="en-GB" dirty="0"/>
              <a:t>, M. and Kröger, N. (eds.), 2019. The EBMT Handbook: Hematopoietic Stem Cell Transplantation and Cellular Therapies. Cham: Springer Nature. Available at: https://www.ebmt.org/sites/default/files/2019-01/2019_Book_TheEBMTHandbook.pdf (Accessed 26 Sep. 2025)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7E3D42-88E0-92F4-70F5-1FD62DEBD31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228248D-131C-4415-A49F-E8885CA622FD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86620069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b="1" dirty="0"/>
              <a:t>References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GB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ieblemont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C., Gomes Da Silva, M., </a:t>
            </a:r>
            <a:r>
              <a:rPr lang="en-GB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eppä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S., et al. Large B-cell lymphoma (LBCL): </a:t>
            </a:r>
            <a:r>
              <a:rPr lang="en-GB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HA Clinical Practice Guidelines for diagnosis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treatment, and follow-up. </a:t>
            </a:r>
            <a:r>
              <a:rPr lang="en-GB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emaSphere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2025: 9(9), e70207.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Eyre TA, </a:t>
            </a:r>
            <a:r>
              <a:rPr kumimoji="0" lang="en-GB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wynarski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K, </a:t>
            </a:r>
            <a:r>
              <a:rPr kumimoji="0" lang="en-GB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'Amore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F, et al. Lymphomas: ESMO Clinical Practice Guideline for diagnosis, treatment and follow-up. Ann Oncol 2025; S0923-7534(25)00911-1.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ational Comprehensive Cancer Network (NCCN) in B-cell lymphomas. Version 3.2025. Available from: https://www.nccn.org/professionals/physician_gls/pdf/b-cell.pdf (Accessed 02 September 2025).</a:t>
            </a:r>
          </a:p>
          <a:p>
            <a:pPr marL="228600" indent="-228600">
              <a:buFont typeface="+mj-lt"/>
              <a:buAutoNum type="arabicPeriod"/>
            </a:pPr>
            <a:r>
              <a:rPr lang="en-GB" dirty="0"/>
              <a:t>Bento L, Gutierrez A, Martinez C, et al. Autologous stem cell transplantation for relapsed/refractory large B-cell lymphoma: a </a:t>
            </a:r>
            <a:r>
              <a:rPr lang="en-GB" dirty="0" err="1"/>
              <a:t>multicenter</a:t>
            </a:r>
            <a:r>
              <a:rPr lang="en-GB" dirty="0"/>
              <a:t> GETH-TC/GELTAMO study. </a:t>
            </a:r>
            <a:r>
              <a:rPr lang="en-GB" i="1" dirty="0"/>
              <a:t>Blood Adv </a:t>
            </a:r>
            <a:r>
              <a:rPr lang="en-GB" dirty="0"/>
              <a:t>2025;9:3281-92.</a:t>
            </a:r>
          </a:p>
          <a:p>
            <a:pPr marL="228600" indent="-228600">
              <a:buFont typeface="+mj-lt"/>
              <a:buAutoNum type="arabicPeriod"/>
            </a:pPr>
            <a:r>
              <a:rPr lang="nl-NL" dirty="0">
                <a:solidFill>
                  <a:schemeClr val="bg1"/>
                </a:solidFill>
              </a:rPr>
              <a:t>van der </a:t>
            </a:r>
            <a:r>
              <a:rPr lang="nl-NL" dirty="0" err="1">
                <a:solidFill>
                  <a:schemeClr val="bg1"/>
                </a:solidFill>
              </a:rPr>
              <a:t>Galiën</a:t>
            </a:r>
            <a:r>
              <a:rPr lang="nl-NL" dirty="0">
                <a:solidFill>
                  <a:schemeClr val="bg1"/>
                </a:solidFill>
              </a:rPr>
              <a:t> HT, Kooistra HAM, Kibbelaar R, et al. </a:t>
            </a:r>
            <a:r>
              <a:rPr lang="nl-NL" dirty="0" err="1">
                <a:solidFill>
                  <a:schemeClr val="bg1"/>
                </a:solidFill>
              </a:rPr>
              <a:t>Patients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with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Relapsed</a:t>
            </a:r>
            <a:r>
              <a:rPr lang="nl-NL" dirty="0">
                <a:solidFill>
                  <a:schemeClr val="bg1"/>
                </a:solidFill>
              </a:rPr>
              <a:t> Large B-</a:t>
            </a:r>
            <a:r>
              <a:rPr lang="nl-NL" dirty="0" err="1">
                <a:solidFill>
                  <a:schemeClr val="bg1"/>
                </a:solidFill>
              </a:rPr>
              <a:t>Cell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Lymphoma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After</a:t>
            </a:r>
            <a:r>
              <a:rPr lang="nl-NL" dirty="0">
                <a:solidFill>
                  <a:schemeClr val="bg1"/>
                </a:solidFill>
              </a:rPr>
              <a:t> 12 </a:t>
            </a:r>
            <a:r>
              <a:rPr lang="nl-NL" dirty="0" err="1">
                <a:solidFill>
                  <a:schemeClr val="bg1"/>
                </a:solidFill>
              </a:rPr>
              <a:t>Months</a:t>
            </a:r>
            <a:r>
              <a:rPr lang="nl-NL" dirty="0">
                <a:solidFill>
                  <a:schemeClr val="bg1"/>
                </a:solidFill>
              </a:rPr>
              <a:t> Have a </a:t>
            </a:r>
            <a:r>
              <a:rPr lang="nl-NL" dirty="0" err="1">
                <a:solidFill>
                  <a:schemeClr val="bg1"/>
                </a:solidFill>
              </a:rPr>
              <a:t>Similarly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Poor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Prognosis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to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Those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Relapsing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Within</a:t>
            </a:r>
            <a:r>
              <a:rPr lang="nl-NL" dirty="0">
                <a:solidFill>
                  <a:schemeClr val="bg1"/>
                </a:solidFill>
              </a:rPr>
              <a:t> 12 </a:t>
            </a:r>
            <a:r>
              <a:rPr lang="nl-NL" dirty="0" err="1">
                <a:solidFill>
                  <a:schemeClr val="bg1"/>
                </a:solidFill>
              </a:rPr>
              <a:t>Months</a:t>
            </a:r>
            <a:r>
              <a:rPr lang="nl-NL" dirty="0">
                <a:solidFill>
                  <a:schemeClr val="bg1"/>
                </a:solidFill>
              </a:rPr>
              <a:t>. </a:t>
            </a:r>
            <a:r>
              <a:rPr lang="nl-NL" i="1" dirty="0" err="1">
                <a:solidFill>
                  <a:schemeClr val="bg1"/>
                </a:solidFill>
              </a:rPr>
              <a:t>Eur</a:t>
            </a:r>
            <a:r>
              <a:rPr lang="nl-NL" i="1" dirty="0">
                <a:solidFill>
                  <a:schemeClr val="bg1"/>
                </a:solidFill>
              </a:rPr>
              <a:t> J </a:t>
            </a:r>
            <a:r>
              <a:rPr lang="nl-NL" i="1" dirty="0" err="1">
                <a:solidFill>
                  <a:schemeClr val="bg1"/>
                </a:solidFill>
              </a:rPr>
              <a:t>Haematol</a:t>
            </a:r>
            <a:r>
              <a:rPr lang="nl-NL" dirty="0">
                <a:solidFill>
                  <a:schemeClr val="bg1"/>
                </a:solidFill>
              </a:rPr>
              <a:t> 2025;115:391-402.</a:t>
            </a:r>
            <a:endParaRPr lang="en-GB" dirty="0"/>
          </a:p>
          <a:p>
            <a:pPr marL="228600" indent="-228600">
              <a:buFont typeface="+mj-lt"/>
              <a:buAutoNum type="arabicPeriod"/>
            </a:pPr>
            <a:r>
              <a:rPr lang="en-GB" dirty="0"/>
              <a:t>Carreras, E., Dufour, C., </a:t>
            </a:r>
            <a:r>
              <a:rPr lang="en-GB" dirty="0" err="1"/>
              <a:t>Mohty</a:t>
            </a:r>
            <a:r>
              <a:rPr lang="en-GB" dirty="0"/>
              <a:t>, M. and Kröger, N. (eds.), 2019. The EBMT Handbook: Hematopoietic Stem Cell Transplantation and Cellular Therapies. Cham: Springer Nature. Available at: https://www.ebmt.org/sites/default/files/2019-01/2019_Book_TheEBMTHandbook.pdf (Accessed 26 Sep. 2025)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228248D-131C-4415-A49F-E8885CA622FD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68606614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B55E7F8-1C9E-B935-F419-BA123CD7A9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764FC48-6DA2-101D-2F5F-8801F454B2D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9CAE74C-9A88-0FAC-FCF1-82BD4315013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Reference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GB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ieblemont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C., Gomes Da Silva, M., </a:t>
            </a:r>
            <a:r>
              <a:rPr lang="en-GB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eppä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S., et al. Large B-cell lymphoma (LBCL): </a:t>
            </a:r>
            <a:r>
              <a:rPr lang="en-GB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HA Clinical Practice Guidelines for diagnosis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treatment, and follow-up. </a:t>
            </a:r>
            <a:r>
              <a:rPr lang="en-GB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emaSphere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2025: 9(9), e70207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0662EAE-150E-EDE7-BF76-695DA3A0C93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81B6B5-2518-B244-B8AD-11E31BF235A9}" type="slidenum">
              <a:rPr kumimoji="0" lang="en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en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97177546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8243A70-BD23-E405-D225-9B9DD2650EE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E2CC140-8701-AB41-8F4C-A6F36346145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EF42B24-C2BC-38D2-337C-DEAFF87F14C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b="1"/>
              <a:t>References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bramson J, Ku M, Fox C, et al. Sustained clinical benefit of glofitamab plus gemcitabine and oxaliplatin (GemOx) versus rituximab plus GemOx (R-GemOx) in patients with relapsed/refractory (R/R) diffuse large B-cell lymphoma (DLBCL): 3-year follow-up of STARGLO. Poster #5519 presented at the American Society of </a:t>
            </a:r>
            <a:r>
              <a:rPr lang="en-GB" sz="1200" b="0" i="0" u="none" strike="noStrike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ematology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(ASH) 2025 Annual Meeting, December 6-9, Orlando, Florida.</a:t>
            </a:r>
            <a:r>
              <a:rPr lang="en-GB">
                <a:effectLst/>
              </a:rPr>
              <a:t> 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iger YK, Asrani R, Wehmeyer G, et al. Real-world outcomes of glofitamab (Glofit) plus gemcitabine and oxaliplatin (GemOx) in Relapsed/Refractory (R/R) aggressive B-cell lymphoma (BCL): A </a:t>
            </a:r>
            <a:r>
              <a:rPr lang="en-GB" sz="1200" b="0" i="0" u="none" strike="noStrike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ulticenter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retrospective study from the United States. Poster #1956 presented at the American Society of </a:t>
            </a:r>
            <a:r>
              <a:rPr lang="en-GB" sz="1200" b="0" i="0" u="none" strike="noStrike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ematology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(ASH) 2025 Annual Meeting, December 6-9, Orlando, Florida.</a:t>
            </a:r>
            <a:r>
              <a:rPr lang="en-GB">
                <a:effectLst/>
              </a:rPr>
              <a:t> </a:t>
            </a: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FC6DBB9-E59D-8ADF-3ABB-2FDC99F1C3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81B6B5-2518-B244-B8AD-11E31BF235A9}" type="slidenum">
              <a:rPr kumimoji="0" lang="en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en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20906049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Potential limitations of glofitamab-GemOx to consider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/>
              <a:t>Suboptimal outcomes in CD20- patients in the real worl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/>
              <a:t>Limited data in high-risk populations (e.g., HGBL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/>
              <a:t>Long-term toxicity data, including infections, remain limite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/>
              <a:t>Glofitamab requires step-up dosing, monitoring for CRS/ICANS, and infusion times may be up to 8 hours in specialised faciliti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/>
              <a:t>Access may be limited at a local level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/>
          </a:p>
          <a:p>
            <a:pPr marL="0" indent="0">
              <a:buFont typeface="Arial" panose="020B0604020202020204" pitchFamily="34" charset="0"/>
              <a:buNone/>
            </a:pPr>
            <a:r>
              <a:rPr lang="en-GB" b="1"/>
              <a:t>References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bramson J, Ku M, Fox C, et al. Sustained clinical benefit of glofitamab plus gemcitabine and oxaliplatin (GemOx) versus rituximab plus GemOx (R-GemOx) in patients with relapsed/refractory (R/R) diffuse large B-cell lymphoma (DLBCL): 3-year follow-up of STARGLO. Poster #5519 presented at the American Society of </a:t>
            </a:r>
            <a:r>
              <a:rPr lang="en-GB" sz="1200" b="0" i="0" u="none" strike="noStrike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ematology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(ASH) 2025 Annual Meeting, December 6-9, Orlando, Florida.</a:t>
            </a:r>
            <a:r>
              <a:rPr lang="en-GB">
                <a:effectLst/>
              </a:rPr>
              <a:t> 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iger YK, Asrani R, Wehmeyer G, et al. Real-world outcomes of glofitamab (Glofit) plus gemcitabine and oxaliplatin (GemOx) in Relapsed/Refractory (R/R) aggressive B-cell lymphoma (BCL): A </a:t>
            </a:r>
            <a:r>
              <a:rPr lang="en-GB" sz="1200" b="0" i="0" u="none" strike="noStrike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ulticenter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retrospective study from the United States. Abstract #1956 at the American Society of </a:t>
            </a:r>
            <a:r>
              <a:rPr lang="en-GB" sz="1200" b="0" i="0" u="none" strike="noStrike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ematology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(ASH) 2025 Annual Meeting, December 6-9, Orlando, Florida.</a:t>
            </a:r>
            <a:r>
              <a:rPr lang="en-GB">
                <a:effectLst/>
              </a:rPr>
              <a:t> </a:t>
            </a:r>
            <a:endParaRPr lang="en-GB"/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iger YK, Asrani R, Wehmeyer G, et al. Real-world outcomes of glofitamab (Glofit) plus gemcitabine and oxaliplatin (GemOx) in Relapsed/Refractory (R/R) aggressive B-cell lymphoma (BCL): A </a:t>
            </a:r>
            <a:r>
              <a:rPr lang="en-GB" sz="1200" b="0" i="0" u="none" strike="noStrike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ulticenter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retrospective study from the United States. Poster #1956 presented at the American Society of </a:t>
            </a:r>
            <a:r>
              <a:rPr lang="en-GB" sz="1200" b="0" i="0" u="none" strike="noStrike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ematology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(ASH) 2025 Annual Meeting, December 6-9, Orlando, Florida.</a:t>
            </a:r>
            <a:r>
              <a:rPr lang="en-GB">
                <a:effectLst/>
              </a:rPr>
              <a:t> 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81B6B5-2518-B244-B8AD-11E31BF235A9}" type="slidenum">
              <a:rPr kumimoji="0" lang="en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en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21819862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1D5A607-7608-7B20-EE9C-B109597975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10EB048-6503-BC5F-FAFE-4D6F7987ACD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A7593E2-32EA-4BA1-0614-5BB404E0B83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b="1"/>
              <a:t>References</a:t>
            </a:r>
          </a:p>
          <a:p>
            <a:pPr marL="228600" indent="-228600">
              <a:buFont typeface="+mj-lt"/>
              <a:buAutoNum type="arabicPeriod"/>
            </a:pPr>
            <a:r>
              <a:rPr lang="en-GB" b="0"/>
              <a:t>Sehn LH, Hertzberg M, Opat S, et al. </a:t>
            </a:r>
            <a:r>
              <a:rPr lang="en-GB" b="0" err="1"/>
              <a:t>Polatuzumab</a:t>
            </a:r>
            <a:r>
              <a:rPr lang="en-GB" b="0"/>
              <a:t> vedotin plus </a:t>
            </a:r>
            <a:r>
              <a:rPr lang="en-GB" b="0" err="1"/>
              <a:t>bendamustine</a:t>
            </a:r>
            <a:r>
              <a:rPr lang="en-GB" b="0"/>
              <a:t> and rituximab in relapsed/refractory DLBCL: survival update and new extension cohort data. Blood Advances 2022;6(2):533-43.</a:t>
            </a:r>
          </a:p>
          <a:p>
            <a:pPr marL="228600" indent="-228600">
              <a:buFont typeface="+mj-lt"/>
              <a:buAutoNum type="arabicPeriod"/>
            </a:pPr>
            <a:r>
              <a:rPr lang="en-GB" b="0" err="1"/>
              <a:t>Polivy</a:t>
            </a:r>
            <a:r>
              <a:rPr lang="en-GB" b="0"/>
              <a:t> (</a:t>
            </a:r>
            <a:r>
              <a:rPr lang="en-GB" b="0" err="1"/>
              <a:t>polatuzumab</a:t>
            </a:r>
            <a:r>
              <a:rPr lang="en-GB" b="0"/>
              <a:t> vedotin). Summary of Product Characteristics. Available from: https://www.ema.europa.eu/en/documents/product-information/polivy-epar-product-information_en.pdf (Last updated 17 October 2025)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582F141-6451-ED48-C349-50D3B8FBE9A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81B6B5-2518-B244-B8AD-11E31BF235A9}" type="slidenum">
              <a:rPr kumimoji="0" lang="en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en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03939907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en-GB" sz="1200" b="1" i="0" u="none" strike="noStrike" baseline="0" dirty="0">
                <a:latin typeface="SabonLTStd-Roman"/>
              </a:rPr>
              <a:t>References</a:t>
            </a:r>
            <a:endParaRPr lang="en-GB" sz="1200" b="0" i="0" u="none" strike="noStrike" baseline="0" dirty="0">
              <a:latin typeface="SabonLTStd-Roman"/>
            </a:endParaRPr>
          </a:p>
          <a:p>
            <a:pPr marL="342900" indent="-342900" algn="l">
              <a:buAutoNum type="arabicPeriod"/>
            </a:pPr>
            <a:r>
              <a:rPr lang="en-GB" sz="1200" b="0" i="0" u="none" strike="noStrike" baseline="0" dirty="0">
                <a:latin typeface="SabonLTStd-Roman"/>
              </a:rPr>
              <a:t>Sehn LH, Herrera AF, Flowers CR, et al. </a:t>
            </a:r>
            <a:r>
              <a:rPr lang="en-GB" sz="1200" b="0" i="0" u="none" strike="noStrike" baseline="0" dirty="0" err="1">
                <a:latin typeface="SabonLTStd-Roman"/>
              </a:rPr>
              <a:t>Polatuzumab</a:t>
            </a:r>
            <a:r>
              <a:rPr lang="en-GB" sz="1200" b="0" i="0" u="none" strike="noStrike" baseline="0" dirty="0">
                <a:latin typeface="SabonLTStd-Roman"/>
              </a:rPr>
              <a:t> Vedotin in Relapsed or Refractory Diffuse Large B-Cell Lymphoma. </a:t>
            </a:r>
            <a:r>
              <a:rPr lang="en-GB" sz="1200" b="0" i="1" u="none" strike="noStrike" baseline="0" dirty="0">
                <a:latin typeface="SabonLTStd-Roman"/>
              </a:rPr>
              <a:t>J Clin Oncol</a:t>
            </a:r>
            <a:r>
              <a:rPr lang="en-GB" sz="1200" b="0" i="0" u="none" strike="noStrike" baseline="0" dirty="0">
                <a:latin typeface="SabonLTStd-Roman"/>
              </a:rPr>
              <a:t> 2020;38:155-65.</a:t>
            </a:r>
          </a:p>
          <a:p>
            <a:pPr marL="342900" indent="-342900" algn="l">
              <a:buAutoNum type="arabicPeriod"/>
            </a:pPr>
            <a:r>
              <a:rPr lang="en-GB" sz="1200" b="0" i="0" u="none" strike="noStrike" baseline="0" dirty="0">
                <a:latin typeface="SabonLTStd-Roman"/>
              </a:rPr>
              <a:t>S</a:t>
            </a:r>
            <a:r>
              <a:rPr lang="en-GB" sz="1200" b="0" i="0" dirty="0"/>
              <a:t>mith SD, </a:t>
            </a:r>
            <a:r>
              <a:rPr lang="en-GB" sz="1200" b="0" i="0" dirty="0" err="1"/>
              <a:t>Lopedote</a:t>
            </a:r>
            <a:r>
              <a:rPr lang="en-GB" sz="1200" b="0" i="0" dirty="0"/>
              <a:t> P, Samara Y, et al. </a:t>
            </a:r>
            <a:r>
              <a:rPr lang="en-GB" sz="1200" b="0" i="0" dirty="0" err="1"/>
              <a:t>Polatuzumab</a:t>
            </a:r>
            <a:r>
              <a:rPr lang="en-GB" sz="1200" b="0" i="0" dirty="0"/>
              <a:t> Vedotin for Relapsed/Refractory Aggressive B-cell Lymphoma: A </a:t>
            </a:r>
            <a:r>
              <a:rPr lang="en-GB" sz="1200" b="0" i="0" dirty="0" err="1"/>
              <a:t>Multicenter</a:t>
            </a:r>
            <a:r>
              <a:rPr lang="en-GB" sz="1200" b="0" i="0" dirty="0"/>
              <a:t> Post-marketing Analysis. </a:t>
            </a:r>
            <a:r>
              <a:rPr lang="en-GB" sz="1200" b="0" i="1" dirty="0"/>
              <a:t>Clin Lymphoma Myeloma Leuk</a:t>
            </a:r>
            <a:r>
              <a:rPr lang="en-GB" sz="1200" b="0" i="0" dirty="0"/>
              <a:t> 2021;21:170-5</a:t>
            </a:r>
            <a:r>
              <a:rPr lang="en-GB" sz="1200" b="0" i="0" u="none" strike="noStrike" baseline="0" dirty="0">
                <a:latin typeface="SabonLTStd-Roman"/>
              </a:rPr>
              <a:t>.</a:t>
            </a:r>
            <a:endParaRPr lang="it-IT" sz="1200" b="1" i="0" u="none" strike="noStrike" baseline="0" dirty="0">
              <a:latin typeface="SabonLTStd-Roman"/>
            </a:endParaRPr>
          </a:p>
          <a:p>
            <a:pPr marL="342900" indent="-342900" algn="l">
              <a:buAutoNum type="arabicPeriod"/>
            </a:pPr>
            <a:r>
              <a:rPr lang="en-GB" sz="1200" b="0" dirty="0" err="1"/>
              <a:t>Segman</a:t>
            </a:r>
            <a:r>
              <a:rPr lang="en-GB" sz="1200" b="0" dirty="0"/>
              <a:t> Y, </a:t>
            </a:r>
            <a:r>
              <a:rPr lang="en-GB" sz="1200" b="0" dirty="0" err="1"/>
              <a:t>Ribakovsky</a:t>
            </a:r>
            <a:r>
              <a:rPr lang="en-GB" sz="1200" b="0" dirty="0"/>
              <a:t> E, </a:t>
            </a:r>
            <a:r>
              <a:rPr lang="en-GB" sz="1200" b="0" dirty="0" err="1"/>
              <a:t>Avigor</a:t>
            </a:r>
            <a:r>
              <a:rPr lang="en-GB" sz="1200" b="0" dirty="0"/>
              <a:t> A, et al. Outcome of relapsed/refractory diffuse large B-cell lymphoma patients treated with </a:t>
            </a:r>
            <a:r>
              <a:rPr lang="en-GB" sz="1200" b="0" dirty="0" err="1"/>
              <a:t>polatuzumab</a:t>
            </a:r>
            <a:r>
              <a:rPr lang="en-GB" sz="1200" b="0" dirty="0"/>
              <a:t> vedotin-based therapy: real-life experience. </a:t>
            </a:r>
            <a:r>
              <a:rPr lang="en-GB" sz="1200" b="0" i="1" dirty="0"/>
              <a:t>Leuk Lymphoma</a:t>
            </a:r>
            <a:r>
              <a:rPr lang="en-GB" sz="1200" b="0" i="0" dirty="0"/>
              <a:t> 2021;62:118-24.</a:t>
            </a:r>
          </a:p>
          <a:p>
            <a:pPr marL="342900" indent="-342900" algn="l">
              <a:buAutoNum type="arabicPeriod"/>
            </a:pPr>
            <a:r>
              <a:rPr lang="en-GB" sz="1200" b="0" i="0" u="none" strike="noStrike" baseline="0" dirty="0">
                <a:latin typeface="SabonLTStd-Roman"/>
              </a:rPr>
              <a:t>Dimou M, Papageorgiou SG, </a:t>
            </a:r>
            <a:r>
              <a:rPr lang="en-GB" sz="1200" b="0" i="0" u="none" strike="noStrike" baseline="0" dirty="0" err="1">
                <a:latin typeface="SabonLTStd-Roman"/>
              </a:rPr>
              <a:t>Stavroyianni</a:t>
            </a:r>
            <a:r>
              <a:rPr lang="en-GB" sz="1200" b="0" i="0" u="none" strike="noStrike" baseline="0" dirty="0">
                <a:latin typeface="SabonLTStd-Roman"/>
              </a:rPr>
              <a:t> N, et al. Real-life experience with the combination of </a:t>
            </a:r>
            <a:r>
              <a:rPr lang="en-GB" sz="1200" b="0" i="0" u="none" strike="noStrike" baseline="0" dirty="0" err="1">
                <a:latin typeface="SabonLTStd-Roman"/>
              </a:rPr>
              <a:t>polatuzumab</a:t>
            </a:r>
            <a:r>
              <a:rPr lang="en-GB" sz="1200" b="0" i="0" u="none" strike="noStrike" baseline="0" dirty="0">
                <a:latin typeface="SabonLTStd-Roman"/>
              </a:rPr>
              <a:t> vedotin, rituximab, and </a:t>
            </a:r>
            <a:r>
              <a:rPr lang="en-GB" sz="1200" b="0" i="0" u="none" strike="noStrike" baseline="0" dirty="0" err="1">
                <a:latin typeface="SabonLTStd-Roman"/>
              </a:rPr>
              <a:t>bendamustine</a:t>
            </a:r>
            <a:r>
              <a:rPr lang="en-GB" sz="1200" b="0" i="0" u="none" strike="noStrike" baseline="0" dirty="0">
                <a:latin typeface="SabonLTStd-Roman"/>
              </a:rPr>
              <a:t> in aggressive B-cell lymphomas. </a:t>
            </a:r>
            <a:r>
              <a:rPr lang="en-GB" sz="1200" b="0" i="1" u="none" strike="noStrike" baseline="0" dirty="0" err="1">
                <a:latin typeface="SabonLTStd-Roman"/>
              </a:rPr>
              <a:t>Hematol</a:t>
            </a:r>
            <a:r>
              <a:rPr lang="en-GB" sz="1200" b="0" i="1" u="none" strike="noStrike" baseline="0" dirty="0">
                <a:latin typeface="SabonLTStd-Roman"/>
              </a:rPr>
              <a:t> Oncol</a:t>
            </a:r>
            <a:r>
              <a:rPr lang="en-GB" sz="1200" b="0" i="0" u="none" strike="noStrike" baseline="0" dirty="0">
                <a:latin typeface="SabonLTStd-Roman"/>
              </a:rPr>
              <a:t> 2021;39:336-48.</a:t>
            </a:r>
          </a:p>
          <a:p>
            <a:pPr marL="342900" indent="-342900" algn="l">
              <a:buAutoNum type="arabicPeriod"/>
            </a:pPr>
            <a:r>
              <a:rPr lang="en-GB" sz="1200" b="0" i="0" u="none" strike="noStrike" baseline="0" dirty="0">
                <a:latin typeface="SabonLTStd-Roman"/>
              </a:rPr>
              <a:t>Northend M, Wilson W, Osborne W, et al. Results of a United Kingdom real-world study of </a:t>
            </a:r>
            <a:r>
              <a:rPr lang="en-GB" sz="1200" b="0" i="0" u="none" strike="noStrike" baseline="0" dirty="0" err="1">
                <a:latin typeface="SabonLTStd-Roman"/>
              </a:rPr>
              <a:t>polatuzumab</a:t>
            </a:r>
            <a:r>
              <a:rPr lang="en-GB" sz="1200" b="0" i="0" u="none" strike="noStrike" baseline="0" dirty="0">
                <a:latin typeface="SabonLTStd-Roman"/>
              </a:rPr>
              <a:t> vedotin, </a:t>
            </a:r>
            <a:r>
              <a:rPr lang="en-GB" sz="1200" b="0" i="0" u="none" strike="noStrike" baseline="0" dirty="0" err="1">
                <a:latin typeface="SabonLTStd-Roman"/>
              </a:rPr>
              <a:t>bendamustine</a:t>
            </a:r>
            <a:r>
              <a:rPr lang="en-GB" sz="1200" b="0" i="0" u="none" strike="noStrike" baseline="0" dirty="0">
                <a:latin typeface="SabonLTStd-Roman"/>
              </a:rPr>
              <a:t>, and rituximab for relapsed/refractory DLBCL. </a:t>
            </a:r>
            <a:r>
              <a:rPr lang="en-GB" sz="1200" b="0" i="1" u="none" strike="noStrike" baseline="0" dirty="0">
                <a:latin typeface="SabonLTStd-Roman"/>
              </a:rPr>
              <a:t>Blood Adv</a:t>
            </a:r>
            <a:r>
              <a:rPr lang="en-GB" sz="1200" b="0" i="0" u="none" strike="noStrike" baseline="0" dirty="0">
                <a:latin typeface="SabonLTStd-Roman"/>
              </a:rPr>
              <a:t> 2022;6:2920-6.</a:t>
            </a:r>
          </a:p>
          <a:p>
            <a:pPr marL="342900" indent="-342900" algn="l">
              <a:buAutoNum type="arabicPeriod"/>
            </a:pPr>
            <a:r>
              <a:rPr lang="en-GB" sz="1200" b="0" dirty="0" err="1"/>
              <a:t>Argnani</a:t>
            </a:r>
            <a:r>
              <a:rPr lang="en-GB" sz="1200" b="0" dirty="0"/>
              <a:t> L, Broccoli A, Pelligrini C, et al. Real-world Outcomes of Relapsed/Refractory Diffuse Large B-cell Lymphoma Treated With </a:t>
            </a:r>
            <a:r>
              <a:rPr lang="en-GB" sz="1200" b="0" dirty="0" err="1"/>
              <a:t>Polatuzumab</a:t>
            </a:r>
            <a:r>
              <a:rPr lang="en-GB" sz="1200" b="0" dirty="0"/>
              <a:t> Vedotin-based Therapy. </a:t>
            </a:r>
            <a:r>
              <a:rPr lang="en-GB" sz="1200" b="0" i="1" dirty="0" err="1"/>
              <a:t>Hemasphere</a:t>
            </a:r>
            <a:r>
              <a:rPr lang="en-GB" sz="1200" b="0" i="0" dirty="0"/>
              <a:t> 2022;6:e798.</a:t>
            </a:r>
          </a:p>
          <a:p>
            <a:pPr marL="342900" indent="-342900" algn="l">
              <a:buAutoNum type="arabicPeriod"/>
            </a:pPr>
            <a:r>
              <a:rPr lang="en-GB" sz="1200" b="0" i="0" u="none" strike="noStrike" baseline="0" dirty="0">
                <a:latin typeface="SabonLTStd-Roman"/>
              </a:rPr>
              <a:t>Dal MS, Ulu BU, Uzay A, et al. </a:t>
            </a:r>
            <a:r>
              <a:rPr lang="en-GB" sz="1200" b="0" i="0" u="none" strike="noStrike" baseline="0" dirty="0" err="1">
                <a:latin typeface="SabonLTStd-Roman"/>
              </a:rPr>
              <a:t>Polatuzumab</a:t>
            </a:r>
            <a:r>
              <a:rPr lang="en-GB" sz="1200" b="0" i="0" u="none" strike="noStrike" baseline="0" dirty="0">
                <a:latin typeface="SabonLTStd-Roman"/>
              </a:rPr>
              <a:t> vedotin, rituximab, and </a:t>
            </a:r>
            <a:r>
              <a:rPr lang="en-GB" sz="1200" b="0" i="0" u="none" strike="noStrike" baseline="0" dirty="0" err="1">
                <a:latin typeface="SabonLTStd-Roman"/>
              </a:rPr>
              <a:t>bendamustine</a:t>
            </a:r>
            <a:r>
              <a:rPr lang="en-GB" sz="1200" b="0" i="0" u="none" strike="noStrike" baseline="0" dirty="0">
                <a:latin typeface="SabonLTStd-Roman"/>
              </a:rPr>
              <a:t> combination in relapsed or refractory diffuse large B-cell lymphoma: a real-world data from Turkey. </a:t>
            </a:r>
            <a:r>
              <a:rPr lang="en-GB" sz="1200" b="0" i="1" u="none" strike="noStrike" baseline="0" dirty="0">
                <a:latin typeface="SabonLTStd-Roman"/>
              </a:rPr>
              <a:t>Ann </a:t>
            </a:r>
            <a:r>
              <a:rPr lang="en-GB" sz="1200" b="0" i="1" u="none" strike="noStrike" baseline="0" dirty="0" err="1">
                <a:latin typeface="SabonLTStd-Roman"/>
              </a:rPr>
              <a:t>Hemat.ol</a:t>
            </a:r>
            <a:r>
              <a:rPr lang="en-GB" sz="1200" b="0" i="0" u="none" strike="noStrike" baseline="0" dirty="0">
                <a:latin typeface="SabonLTStd-Roman"/>
              </a:rPr>
              <a:t> 2023;102:133-40.</a:t>
            </a:r>
          </a:p>
          <a:p>
            <a:pPr marL="342900" indent="-342900" algn="l">
              <a:buAutoNum type="arabicPeriod"/>
            </a:pPr>
            <a:r>
              <a:rPr lang="en-GB" sz="1200" b="0" i="0" u="none" strike="noStrike" baseline="0" dirty="0">
                <a:latin typeface="SabonLTStd-Roman"/>
              </a:rPr>
              <a:t>Vodicka P, </a:t>
            </a:r>
            <a:r>
              <a:rPr lang="en-GB" sz="1200" b="0" i="0" u="none" strike="noStrike" baseline="0" dirty="0" err="1">
                <a:latin typeface="SabonLTStd-Roman"/>
              </a:rPr>
              <a:t>Benesova</a:t>
            </a:r>
            <a:r>
              <a:rPr lang="en-GB" sz="1200" b="0" i="0" u="none" strike="noStrike" baseline="0" dirty="0">
                <a:latin typeface="SabonLTStd-Roman"/>
              </a:rPr>
              <a:t> K, </a:t>
            </a:r>
            <a:r>
              <a:rPr lang="en-GB" sz="1200" b="0" i="0" u="none" strike="noStrike" baseline="0" dirty="0" err="1">
                <a:latin typeface="SabonLTStd-Roman"/>
              </a:rPr>
              <a:t>Janikova</a:t>
            </a:r>
            <a:r>
              <a:rPr lang="en-GB" sz="1200" b="0" i="0" u="none" strike="noStrike" baseline="0" dirty="0">
                <a:latin typeface="SabonLTStd-Roman"/>
              </a:rPr>
              <a:t> A, et al. </a:t>
            </a:r>
            <a:r>
              <a:rPr lang="en-GB" sz="1200" b="0" i="0" u="none" strike="noStrike" baseline="0" dirty="0" err="1">
                <a:latin typeface="SabonLTStd-Roman"/>
              </a:rPr>
              <a:t>Polatuzumab</a:t>
            </a:r>
            <a:r>
              <a:rPr lang="en-GB" sz="1200" b="0" i="0" u="none" strike="noStrike" baseline="0" dirty="0">
                <a:latin typeface="SabonLTStd-Roman"/>
              </a:rPr>
              <a:t> vedotin plus </a:t>
            </a:r>
            <a:r>
              <a:rPr lang="en-GB" sz="1200" b="0" i="0" u="none" strike="noStrike" baseline="0" dirty="0" err="1">
                <a:latin typeface="SabonLTStd-Roman"/>
              </a:rPr>
              <a:t>bendamustine</a:t>
            </a:r>
            <a:r>
              <a:rPr lang="en-GB" sz="1200" b="0" i="0" u="none" strike="noStrike" baseline="0" dirty="0">
                <a:latin typeface="SabonLTStd-Roman"/>
              </a:rPr>
              <a:t> and rituximab in patients with relapsed/refractory diffuse large B-cell lymphoma in the real world. </a:t>
            </a:r>
            <a:r>
              <a:rPr lang="en-GB" sz="1200" b="0" i="1" u="none" strike="noStrike" baseline="0" dirty="0" err="1">
                <a:latin typeface="SabonLTStd-Roman"/>
              </a:rPr>
              <a:t>Eur</a:t>
            </a:r>
            <a:r>
              <a:rPr lang="en-GB" sz="1200" b="0" i="1" u="none" strike="noStrike" baseline="0" dirty="0">
                <a:latin typeface="SabonLTStd-Roman"/>
              </a:rPr>
              <a:t> J </a:t>
            </a:r>
            <a:r>
              <a:rPr lang="en-GB" sz="1200" b="0" i="1" u="none" strike="noStrike" baseline="0" dirty="0" err="1">
                <a:latin typeface="SabonLTStd-Roman"/>
              </a:rPr>
              <a:t>Haematol</a:t>
            </a:r>
            <a:r>
              <a:rPr lang="en-GB" sz="1200" b="0" i="0" u="none" strike="noStrike" baseline="0" dirty="0">
                <a:latin typeface="SabonLTStd-Roman"/>
              </a:rPr>
              <a:t> 2022;109:162-5.</a:t>
            </a:r>
          </a:p>
          <a:p>
            <a:pPr marL="342900" indent="-342900" algn="l">
              <a:buAutoNum type="arabicPeriod"/>
            </a:pPr>
            <a:r>
              <a:rPr lang="en-GB" sz="1200" b="0" i="0" u="none" strike="noStrike" baseline="0" dirty="0">
                <a:latin typeface="SabonLTStd-Roman"/>
              </a:rPr>
              <a:t>Liebers N, Duell J, Fitzgerald D, et al. </a:t>
            </a:r>
            <a:r>
              <a:rPr lang="en-GB" sz="1200" b="0" i="0" u="none" strike="noStrike" baseline="0" dirty="0" err="1">
                <a:latin typeface="SabonLTStd-Roman"/>
              </a:rPr>
              <a:t>Polatuzumab</a:t>
            </a:r>
            <a:r>
              <a:rPr lang="en-GB" sz="1200" b="0" i="0" u="none" strike="noStrike" baseline="0" dirty="0">
                <a:latin typeface="SabonLTStd-Roman"/>
              </a:rPr>
              <a:t> vedotin as a salvage and bridging treatment in relapsed or refractory large B-cell lymphomas. </a:t>
            </a:r>
            <a:r>
              <a:rPr lang="en-GB" sz="1200" b="0" i="1" u="none" strike="noStrike" baseline="0" dirty="0">
                <a:latin typeface="SabonLTStd-Roman"/>
              </a:rPr>
              <a:t>Blood Adv</a:t>
            </a:r>
            <a:r>
              <a:rPr lang="en-GB" sz="1200" b="0" i="0" u="none" strike="noStrike" baseline="0" dirty="0">
                <a:latin typeface="SabonLTStd-Roman"/>
              </a:rPr>
              <a:t> 2021;5:2707-16.</a:t>
            </a:r>
          </a:p>
          <a:p>
            <a:pPr marL="342900" indent="-342900" algn="l">
              <a:buAutoNum type="arabicPeriod"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rdal A, Silva PR, Carvalhais I, et al.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eal-life study of </a:t>
            </a:r>
            <a:r>
              <a:rPr kumimoji="0" lang="en-GB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olatuzumab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vedotin, </a:t>
            </a:r>
            <a:r>
              <a:rPr kumimoji="0" lang="en-GB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bendamustine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and rituximab for stage IV high-intermediate/high risk DLBCL or indolent transformed in relapsed/refractory situation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Abstract #PB3006 presented at the European </a:t>
            </a:r>
            <a:r>
              <a:rPr kumimoji="0" lang="en-GB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ematology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Association (EHA) Hybrid Congress. 13–16 June 2024, Madrid, Spain.</a:t>
            </a:r>
          </a:p>
          <a:p>
            <a:pPr marL="342900" indent="-342900" algn="l">
              <a:buAutoNum type="arabicPeriod"/>
            </a:pPr>
            <a:r>
              <a:rPr kumimoji="0" lang="en-GB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necki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M, Chromik K, Joks M, et al.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eal-world experience of </a:t>
            </a:r>
            <a:r>
              <a:rPr kumimoji="0" lang="en-GB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olatuzumab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vedotin combined with rituximab and </a:t>
            </a:r>
            <a:r>
              <a:rPr kumimoji="0" lang="en-GB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bendamustine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in relapsed and refractory large B-cell lymphomas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Poster #P1182 presented at the European </a:t>
            </a:r>
            <a:r>
              <a:rPr kumimoji="0" lang="en-GB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ematology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Association (EHA) Hybrid Congress. 13–16 June 2024, Madrid, Spain.</a:t>
            </a:r>
          </a:p>
          <a:p>
            <a:pPr marL="342900" indent="-342900" algn="l">
              <a:buAutoNum type="arabicPeriod"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yre TA, </a:t>
            </a:r>
            <a:r>
              <a:rPr kumimoji="0" lang="en-GB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wynarski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, </a:t>
            </a:r>
            <a:r>
              <a:rPr kumimoji="0" lang="en-GB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’Amore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F, et al. Lymphomas: ESMO Clinical Practice Guideline for diagnosis, treatment and follow-up. Ann Oncol 2025;36(11):1263–84. </a:t>
            </a:r>
          </a:p>
          <a:p>
            <a:pPr marL="457200" marR="0" lvl="0" indent="-4572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B4B79A-FC8E-4FFA-B924-F9A472A82887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91472511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b="1" dirty="0"/>
              <a:t>Reference</a:t>
            </a:r>
          </a:p>
          <a:p>
            <a:r>
              <a:rPr lang="en-GB" b="0" dirty="0"/>
              <a:t>1. Duell J, </a:t>
            </a:r>
            <a:r>
              <a:rPr lang="en-GB" b="0" dirty="0" err="1"/>
              <a:t>Abrisqueta</a:t>
            </a:r>
            <a:r>
              <a:rPr lang="en-GB" b="0" dirty="0"/>
              <a:t> P, Andre M, et al. </a:t>
            </a:r>
            <a:r>
              <a:rPr lang="en-GB" b="0" dirty="0" err="1"/>
              <a:t>Tafasitamab</a:t>
            </a:r>
            <a:r>
              <a:rPr lang="en-GB" b="0" dirty="0"/>
              <a:t> for patients with relapsed or refractory diffuse large B-cell lymphoma: final 5-year efficacy and safety findings in the phase II L-MIND study. </a:t>
            </a:r>
            <a:r>
              <a:rPr lang="en-GB" b="0" i="1" dirty="0" err="1"/>
              <a:t>Haematologica</a:t>
            </a:r>
            <a:r>
              <a:rPr lang="en-GB" b="0" i="0" dirty="0"/>
              <a:t> 2024;109:553-66.</a:t>
            </a:r>
            <a:endParaRPr lang="en-GB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81B6B5-2518-B244-B8AD-11E31BF235A9}" type="slidenum">
              <a:rPr kumimoji="0" lang="en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7</a:t>
            </a:fld>
            <a:endParaRPr kumimoji="0" lang="en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42993856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2000" dirty="0"/>
              <a:t>Potential limitations of </a:t>
            </a:r>
            <a:r>
              <a:rPr lang="en-GB" sz="2000" dirty="0" err="1"/>
              <a:t>tafa-len</a:t>
            </a:r>
            <a:r>
              <a:rPr lang="en-GB" sz="2000" dirty="0"/>
              <a:t> to consider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2000" dirty="0"/>
              <a:t>Treatment is broadly accessible but is still impaired by the frequent need to access treatment centres for IV </a:t>
            </a:r>
            <a:r>
              <a:rPr lang="en-GB" sz="2000" dirty="0" err="1"/>
              <a:t>tafa</a:t>
            </a:r>
            <a:r>
              <a:rPr lang="en-GB" sz="2000" dirty="0"/>
              <a:t> administra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2000" dirty="0"/>
              <a:t>Treatment duration is not fixed; it is given until disease progression or unacceptable in the </a:t>
            </a:r>
            <a:r>
              <a:rPr lang="en-GB" sz="2000" dirty="0" err="1"/>
              <a:t>tafa</a:t>
            </a:r>
            <a:r>
              <a:rPr lang="en-GB" sz="2000" dirty="0"/>
              <a:t> monotherapy phas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2000" dirty="0"/>
              <a:t>Treatment may result in myelosuppression, and dose reduction of lenalidomide is common during the combination phas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sz="2000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References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uell J, Maddocks KJ, Gonzalez-Barca E, et al. </a:t>
            </a:r>
            <a:r>
              <a:rPr lang="en-GB" sz="2000" dirty="0"/>
              <a:t>Long-term outcomes from the phase II L-MIND study of </a:t>
            </a:r>
            <a:r>
              <a:rPr lang="en-GB" sz="2000" dirty="0" err="1"/>
              <a:t>tafasitamab</a:t>
            </a:r>
            <a:r>
              <a:rPr lang="en-GB" sz="2000" dirty="0"/>
              <a:t> (MOR208) plus lenalidomide in patients with relapsed or refractory diffuse large B-cell lymphoma. </a:t>
            </a:r>
            <a:r>
              <a:rPr lang="en-GB" sz="2000" i="1" dirty="0" err="1"/>
              <a:t>Haematologica</a:t>
            </a:r>
            <a:r>
              <a:rPr lang="en-GB" sz="2000" i="0" dirty="0"/>
              <a:t> 2021;106:2417-26.</a:t>
            </a: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B62B3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amadani M, Liao L, </a:t>
            </a:r>
            <a:r>
              <a:rPr kumimoji="0" lang="en-GB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B62B3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Eilson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B62B3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L et al. Real-World Outcomes in Relapsed/Refractory DLBCL Patients Who Received </a:t>
            </a:r>
            <a:r>
              <a:rPr kumimoji="0" lang="en-GB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B62B3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olatuzumab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B62B3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Vedotin PLUS </a:t>
            </a:r>
            <a:r>
              <a:rPr kumimoji="0" lang="en-GB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B62B3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endamustine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B62B3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and Rituximab or </a:t>
            </a:r>
            <a:r>
              <a:rPr kumimoji="0" lang="en-GB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B62B3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afasitamab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B62B3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Plus Lenalidomide By Line of Therapy. Poster 3598 presented at American Society of </a:t>
            </a:r>
            <a:r>
              <a:rPr kumimoji="0" lang="en-GB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B62B3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ematology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B62B3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2022.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B62B3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Qualls DA, Lambert N, Caimi PF, et al. </a:t>
            </a:r>
            <a:r>
              <a:rPr kumimoji="0" lang="en-GB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B62B3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afasitamab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B62B3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and lenalidomide in large B-cell lymphoma: real-world outcomes in a </a:t>
            </a:r>
            <a:r>
              <a:rPr kumimoji="0" lang="en-GB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B62B3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ulticenter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B62B3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retrospective study. Blood 2023;142:2327-31. 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Ruckdeschel A, Sabrina K, Topp MS, et al. </a:t>
            </a:r>
            <a:r>
              <a:rPr kumimoji="0" lang="en-GB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afasitamab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and Lenalidomide in Relapsed/Refractory B-Cell Lymphoma: A </a:t>
            </a:r>
            <a:r>
              <a:rPr kumimoji="0" lang="en-GB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ulticenter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Retrospective Real-World-Study of Patients from Germany and Austria. Poster #1771 presented at the American Society of </a:t>
            </a:r>
            <a:r>
              <a:rPr kumimoji="0" lang="en-GB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ematology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(ASH) Meeting. 9th – 12th December 2023, San Diego, USA.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GB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erbaux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C, </a:t>
            </a:r>
            <a:r>
              <a:rPr kumimoji="0" lang="en-GB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risou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G, Bernard S, et al. </a:t>
            </a:r>
            <a:r>
              <a:rPr kumimoji="0" lang="en-GB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arlyMIND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a retrospective </a:t>
            </a:r>
            <a:r>
              <a:rPr kumimoji="0" lang="en-GB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ulticenter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study in real-world settings to characterize </a:t>
            </a:r>
            <a:r>
              <a:rPr kumimoji="0" lang="en-GB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afasitamab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-lenalidomide efficacy in transplant-ineligible patients with relapsed/refractory large B-cell lymphoma. Poster #P1214 presented at the European </a:t>
            </a:r>
            <a:r>
              <a:rPr kumimoji="0" lang="en-GB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ematology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Association (EHA) Hybrid Congress. </a:t>
            </a:r>
            <a:r>
              <a:rPr kumimoji="0" lang="es-ES" sz="20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3–16 June 2024, Madrid, </a:t>
            </a:r>
            <a:r>
              <a:rPr kumimoji="0" lang="es-E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pain</a:t>
            </a:r>
            <a:r>
              <a:rPr kumimoji="0" lang="es-ES" sz="20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</a:t>
            </a: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utiérrez A, </a:t>
            </a:r>
            <a:r>
              <a:rPr kumimoji="0" lang="en-GB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eberio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I, Penalver FJ, et al. </a:t>
            </a:r>
            <a:r>
              <a:rPr kumimoji="0" lang="en-GB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afasitamab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lus lenalidomide as salvage therapy in diffuse large B-cell lymphoma: real-world experience from GELTAMO. Blood Advances 2026;9:4924-35.</a:t>
            </a:r>
            <a:endParaRPr kumimoji="0" lang="es-ES" sz="2000" b="0" i="0" u="none" strike="noStrike" kern="1200" cap="none" spc="0" normalizeH="0" baseline="0" noProof="0" dirty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GB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averno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, </a:t>
            </a:r>
            <a:r>
              <a:rPr kumimoji="0" lang="en-GB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astoupil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L, Feinberg B, et al. Real-world effectiveness of </a:t>
            </a:r>
            <a:r>
              <a:rPr kumimoji="0" lang="en-GB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afasitamab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(Tafa) for the treatment of relapsed/refractory diffuse large B-cell lymphoma (R/R DLBCL) in the United States. Poster #2375 presented at the American Society of </a:t>
            </a:r>
            <a:r>
              <a:rPr kumimoji="0" lang="en-GB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ematology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(ASH) Annual Meeting. 7–10 December 2024, San Diego, USA.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GB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rgnani</a:t>
            </a:r>
            <a:r>
              <a:rPr lang="en-GB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L, Pellegrini C, </a:t>
            </a:r>
            <a:r>
              <a:rPr lang="en-GB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nibali</a:t>
            </a:r>
            <a:r>
              <a:rPr lang="en-GB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O, et al. TALOs, Fill the Gap: </a:t>
            </a:r>
            <a:r>
              <a:rPr lang="en-GB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afasitamab</a:t>
            </a:r>
            <a:r>
              <a:rPr lang="en-GB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nd Lenalidomide in Diffuse Large B-Cell Lymphoma in the Real-Life Patient Journey. </a:t>
            </a:r>
            <a:r>
              <a:rPr lang="en-GB" sz="1200" b="0" i="1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ematol</a:t>
            </a:r>
            <a:r>
              <a:rPr lang="en-GB" sz="1200" b="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Oncol </a:t>
            </a:r>
            <a:r>
              <a:rPr lang="en-GB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026;44:e70167.</a:t>
            </a:r>
            <a:endParaRPr kumimoji="0" lang="es-ES" sz="2000" b="0" i="0" u="none" strike="noStrike" kern="1200" cap="none" spc="0" normalizeH="0" baseline="0" noProof="0" dirty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3B7945A-4E0D-43ED-A263-EF31BF2AD43C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8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25053429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b="1"/>
              <a:t>Reference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GB" b="0"/>
              <a:t>Brooks TR &amp; Caimi PF. A paradox of choice: Sequencing therapy in relapsed/refractory diffuse large B-cell lymphoma. </a:t>
            </a:r>
            <a:r>
              <a:rPr lang="en-GB" b="0" i="1"/>
              <a:t>Blood Rev</a:t>
            </a:r>
            <a:r>
              <a:rPr lang="en-GB" b="0" i="0"/>
              <a:t> 2024;63:101140.</a:t>
            </a:r>
            <a:endParaRPr lang="en-GB" b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81B6B5-2518-B244-B8AD-11E31BF235A9}" type="slidenum">
              <a:rPr kumimoji="0" lang="en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9</a:t>
            </a:fld>
            <a:endParaRPr kumimoji="0" lang="en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6367979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B4B79A-FC8E-4FFA-B924-F9A472A82887}" type="slidenum">
              <a:rPr lang="sv-SE" smtClean="0"/>
              <a:pPr/>
              <a:t>4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634320624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Reference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GB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ieblemont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C., Gomes Da Silva, M., </a:t>
            </a:r>
            <a:r>
              <a:rPr lang="en-GB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eppä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S., et al. Large B-cell lymphoma (LBCL): </a:t>
            </a:r>
            <a:r>
              <a:rPr lang="en-GB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HA Clinical Practice Guidelines for diagnosis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treatment, and follow-up. </a:t>
            </a:r>
            <a:r>
              <a:rPr lang="en-GB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emaSphere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2025: 9(9), e70207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81B6B5-2518-B244-B8AD-11E31BF235A9}" type="slidenum">
              <a:rPr kumimoji="0" lang="en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0</a:t>
            </a:fld>
            <a:endParaRPr kumimoji="0" lang="en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83887497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b="1" dirty="0"/>
              <a:t>References</a:t>
            </a:r>
            <a:endParaRPr lang="en-GB" b="0" dirty="0"/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it-IT" dirty="0"/>
              <a:t>Schuster SJ, Tam CS, </a:t>
            </a:r>
            <a:r>
              <a:rPr lang="it-IT" dirty="0" err="1"/>
              <a:t>Borchmann</a:t>
            </a:r>
            <a:r>
              <a:rPr lang="it-IT" dirty="0"/>
              <a:t> P, et al. </a:t>
            </a:r>
            <a:r>
              <a:rPr lang="en-GB" dirty="0"/>
              <a:t>Long-term clinical outcomes of </a:t>
            </a:r>
            <a:r>
              <a:rPr lang="en-GB" dirty="0" err="1"/>
              <a:t>tisagenlecleucel</a:t>
            </a:r>
            <a:r>
              <a:rPr lang="en-GB" dirty="0"/>
              <a:t> in patients with relapsed or refractory aggressive B-cell lymphomas (JULIET): a multicentre, open-label, single-arm, phase 2 study. </a:t>
            </a:r>
            <a:r>
              <a:rPr lang="en-GB" i="1" dirty="0"/>
              <a:t>Lancet Oncol </a:t>
            </a:r>
            <a:r>
              <a:rPr lang="en-GB" dirty="0"/>
              <a:t>2021;22:1403-15.</a:t>
            </a:r>
          </a:p>
          <a:p>
            <a:pPr marL="228600" indent="-228600">
              <a:buFont typeface="+mj-lt"/>
              <a:buAutoNum type="arabicPeriod"/>
            </a:pPr>
            <a:r>
              <a:rPr lang="it-IT" dirty="0" err="1"/>
              <a:t>Neelapu</a:t>
            </a:r>
            <a:r>
              <a:rPr lang="it-IT" dirty="0"/>
              <a:t> SS, Jacobson CA, </a:t>
            </a:r>
            <a:r>
              <a:rPr lang="it-IT" dirty="0" err="1"/>
              <a:t>Ghobadi</a:t>
            </a:r>
            <a:r>
              <a:rPr lang="it-IT" dirty="0"/>
              <a:t> A, et al. Five-</a:t>
            </a:r>
            <a:r>
              <a:rPr lang="it-IT" dirty="0" err="1"/>
              <a:t>year</a:t>
            </a:r>
            <a:r>
              <a:rPr lang="it-IT" dirty="0"/>
              <a:t> follow-up of ZUMA-1 supports the curative </a:t>
            </a:r>
            <a:r>
              <a:rPr lang="it-IT" dirty="0" err="1"/>
              <a:t>potential</a:t>
            </a:r>
            <a:r>
              <a:rPr lang="it-IT" dirty="0"/>
              <a:t> of </a:t>
            </a:r>
            <a:r>
              <a:rPr lang="it-IT" dirty="0" err="1"/>
              <a:t>axicabtagene</a:t>
            </a:r>
            <a:r>
              <a:rPr lang="it-IT" dirty="0"/>
              <a:t> </a:t>
            </a:r>
            <a:r>
              <a:rPr lang="it-IT" dirty="0" err="1"/>
              <a:t>ciloleucel</a:t>
            </a:r>
            <a:r>
              <a:rPr lang="it-IT" dirty="0"/>
              <a:t> in </a:t>
            </a:r>
            <a:r>
              <a:rPr lang="it-IT" dirty="0" err="1"/>
              <a:t>refractory</a:t>
            </a:r>
            <a:r>
              <a:rPr lang="it-IT" dirty="0"/>
              <a:t> large B-</a:t>
            </a:r>
            <a:r>
              <a:rPr lang="it-IT" dirty="0" err="1"/>
              <a:t>cell</a:t>
            </a:r>
            <a:r>
              <a:rPr lang="it-IT" dirty="0"/>
              <a:t> </a:t>
            </a:r>
            <a:r>
              <a:rPr lang="it-IT" dirty="0" err="1"/>
              <a:t>lymphoma</a:t>
            </a:r>
            <a:r>
              <a:rPr lang="it-IT" dirty="0"/>
              <a:t>. </a:t>
            </a:r>
            <a:r>
              <a:rPr lang="it-IT" i="1" dirty="0"/>
              <a:t>Blood</a:t>
            </a:r>
            <a:r>
              <a:rPr lang="it-IT" dirty="0"/>
              <a:t> 2023;141:2307-15.</a:t>
            </a:r>
          </a:p>
          <a:p>
            <a:pPr marL="228600" indent="-228600">
              <a:buFont typeface="+mj-lt"/>
              <a:buAutoNum type="arabicPeriod"/>
            </a:pPr>
            <a:r>
              <a:rPr lang="it-IT" dirty="0"/>
              <a:t>Abramson JS, Palomba ML, Gordon LI et al. </a:t>
            </a:r>
            <a:r>
              <a:rPr lang="it-IT" dirty="0" err="1"/>
              <a:t>Lisocabtagene</a:t>
            </a:r>
            <a:r>
              <a:rPr lang="it-IT" dirty="0"/>
              <a:t> </a:t>
            </a:r>
            <a:r>
              <a:rPr lang="it-IT" dirty="0" err="1"/>
              <a:t>maraleucel</a:t>
            </a:r>
            <a:r>
              <a:rPr lang="it-IT" dirty="0"/>
              <a:t> for </a:t>
            </a:r>
            <a:r>
              <a:rPr lang="it-IT" dirty="0" err="1"/>
              <a:t>patients</a:t>
            </a:r>
            <a:r>
              <a:rPr lang="it-IT" dirty="0"/>
              <a:t> with </a:t>
            </a:r>
            <a:r>
              <a:rPr lang="it-IT" dirty="0" err="1"/>
              <a:t>relapsed</a:t>
            </a:r>
            <a:r>
              <a:rPr lang="it-IT" dirty="0"/>
              <a:t> or </a:t>
            </a:r>
            <a:r>
              <a:rPr lang="it-IT" dirty="0" err="1"/>
              <a:t>refractory</a:t>
            </a:r>
            <a:r>
              <a:rPr lang="it-IT" dirty="0"/>
              <a:t> large B-</a:t>
            </a:r>
            <a:r>
              <a:rPr lang="it-IT" dirty="0" err="1"/>
              <a:t>cell</a:t>
            </a:r>
            <a:r>
              <a:rPr lang="it-IT" dirty="0"/>
              <a:t> </a:t>
            </a:r>
            <a:r>
              <a:rPr lang="it-IT" dirty="0" err="1"/>
              <a:t>lymphomas</a:t>
            </a:r>
            <a:r>
              <a:rPr lang="it-IT" dirty="0"/>
              <a:t> (TRANSCEND NHL 001): a </a:t>
            </a:r>
            <a:r>
              <a:rPr lang="it-IT" dirty="0" err="1"/>
              <a:t>multicentre</a:t>
            </a:r>
            <a:r>
              <a:rPr lang="it-IT" dirty="0"/>
              <a:t> </a:t>
            </a:r>
            <a:r>
              <a:rPr lang="it-IT" dirty="0" err="1"/>
              <a:t>seamless</a:t>
            </a:r>
            <a:r>
              <a:rPr lang="it-IT" dirty="0"/>
              <a:t> design study. </a:t>
            </a:r>
            <a:r>
              <a:rPr lang="it-IT" i="1" dirty="0"/>
              <a:t>Lancet</a:t>
            </a:r>
            <a:r>
              <a:rPr lang="it-IT" dirty="0"/>
              <a:t> 2020; 396(10254): 839-852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81B6B5-2518-B244-B8AD-11E31BF235A9}" type="slidenum">
              <a:rPr kumimoji="0" lang="en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1</a:t>
            </a:fld>
            <a:endParaRPr kumimoji="0" lang="en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02170245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9FE9F4E-138A-AD57-B028-B178FA8082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80B5F43-4501-6A48-8CD6-2B81EA9BD9A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F20AA80-7F3D-421A-4A32-C9DC594B585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b="1" dirty="0"/>
              <a:t>References</a:t>
            </a:r>
          </a:p>
          <a:p>
            <a:pPr marL="228600" indent="-228600">
              <a:buAutoNum type="arabicPeriod"/>
            </a:pPr>
            <a:r>
              <a:rPr lang="en-GB" b="0" dirty="0"/>
              <a:t>Dickinson MJ, Carlo-Stella C, Morschhauser F, et al. </a:t>
            </a:r>
            <a:r>
              <a:rPr lang="en-GB" b="0" dirty="0" err="1"/>
              <a:t>Glofitamab</a:t>
            </a:r>
            <a:r>
              <a:rPr lang="en-GB" b="0" dirty="0"/>
              <a:t> for Relapsed or Refractory Diffuse Large B-Cell Lymphoma. </a:t>
            </a:r>
            <a:r>
              <a:rPr lang="en-GB" b="0" i="1" dirty="0"/>
              <a:t>N Engl J Med</a:t>
            </a:r>
            <a:r>
              <a:rPr lang="en-GB" b="0" i="0" dirty="0"/>
              <a:t> 2022;387:2220-31.</a:t>
            </a:r>
            <a:endParaRPr lang="en-GB" b="0" dirty="0"/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CH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ieblemont</a:t>
            </a:r>
            <a:r>
              <a:rPr lang="en-CH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C, Karimi YK, </a:t>
            </a:r>
            <a:r>
              <a:rPr lang="en-CH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hesquieres</a:t>
            </a:r>
            <a:r>
              <a:rPr lang="en-CH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H, et al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  <a:r>
              <a:rPr lang="en-CH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pcoritamab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n relapsed/refractory large B-cell lymphoma: 2-year follow-up from the pivotal EPCORE NHL-1 trial</a:t>
            </a:r>
            <a:r>
              <a:rPr lang="en-CH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en-CH" sz="1200" b="0" i="1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eukemia</a:t>
            </a:r>
            <a:r>
              <a:rPr lang="en-CH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2024;38(12):2653-62.</a:t>
            </a:r>
            <a:endParaRPr lang="en-US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29F3F60-1BA4-4338-8A45-03D482888F5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81B6B5-2518-B244-B8AD-11E31BF235A9}" type="slidenum">
              <a:rPr kumimoji="0" lang="en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2</a:t>
            </a:fld>
            <a:endParaRPr kumimoji="0" lang="en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99516362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b="1" dirty="0"/>
              <a:t>References</a:t>
            </a:r>
          </a:p>
          <a:p>
            <a:pPr marL="228600" indent="-228600">
              <a:buFont typeface="+mj-lt"/>
              <a:buAutoNum type="arabicPeriod"/>
            </a:pPr>
            <a:r>
              <a:rPr lang="en-GB" b="0" dirty="0"/>
              <a:t>Dickinson MJ, Carlo-Stella C, Morschhauser F, et al. Fixed-duration </a:t>
            </a:r>
            <a:r>
              <a:rPr lang="en-GB" b="0" dirty="0" err="1"/>
              <a:t>glofitamab</a:t>
            </a:r>
            <a:r>
              <a:rPr lang="en-GB" b="0" dirty="0"/>
              <a:t> monotherapy continues to demonstrate durable responses in patients with relapsed or refractory large B-cell lymphoma: 3-year follow-up from a pivotal phase II study. Oral presentation #865 presented at the American Society of </a:t>
            </a:r>
            <a:r>
              <a:rPr lang="en-GB" b="0" dirty="0" err="1"/>
              <a:t>Hematology</a:t>
            </a:r>
            <a:r>
              <a:rPr lang="en-GB" b="0" dirty="0"/>
              <a:t> (ASH) Annual Meeting. 7–10 December 2024, San Diego, USA.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GB" b="0" dirty="0"/>
              <a:t>Dickinson MJ, Carlo-Stella C, Morschhauser F, et al. </a:t>
            </a:r>
            <a:r>
              <a:rPr lang="en-GB" b="0" dirty="0" err="1"/>
              <a:t>Glofitamab</a:t>
            </a:r>
            <a:r>
              <a:rPr lang="en-GB" b="0" dirty="0"/>
              <a:t> for Relapsed or Refractory Diffuse Large B-Cell Lymphoma. </a:t>
            </a:r>
            <a:r>
              <a:rPr lang="en-GB" b="0" i="1" dirty="0"/>
              <a:t>N Engl J Med</a:t>
            </a:r>
            <a:r>
              <a:rPr lang="en-GB" b="0" i="0" dirty="0"/>
              <a:t> 2022;387:2220-31.</a:t>
            </a:r>
            <a:endParaRPr lang="en-GB" b="0" dirty="0"/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arimi Y, Cheah C, Vose J, et al. Sustained remissions beyond 4 years with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pcoritamab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monotherapy: Long term follow-up results from the pivotal EPCORE NHL-1 trial in patients with relapsed or refractory large B-cell lymphoma. Poster #5513 presented at the American Society of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ematology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(ASH) 2025 Annual Meeting, December 6-9, Orlando, Florida.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ose JM, Cheah CY, Clausen MR, et al. 3-year update from the EPCORE NHL-1 trial: </a:t>
            </a:r>
            <a:r>
              <a:rPr kumimoji="0" lang="en-GB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coritamab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leads to deep and durable responses in relapsed or refractory large B-cell lymphoma. Poster #4480 presented at the American Society of </a:t>
            </a:r>
            <a:r>
              <a:rPr kumimoji="0" lang="en-GB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ematology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(ASH) Annual Meeting. 7–10 December 2024, San Diego, USA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81B6B5-2518-B244-B8AD-11E31BF235A9}" type="slidenum">
              <a:rPr kumimoji="0" lang="en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3</a:t>
            </a:fld>
            <a:endParaRPr kumimoji="0" lang="en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43225605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200" dirty="0"/>
              <a:t>Potential limitations of bispecific monotherapy to consider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dirty="0"/>
              <a:t>Cumulative infection risk with prolonged treatmen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dirty="0"/>
              <a:t>Early CAR-T relapse (̨≤3 months) predicts poor response to bispecific antibodi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dirty="0"/>
              <a:t>Multiple prior lines of therapy deplete T-cell fitnes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dirty="0"/>
              <a:t>Step-up dosing and CRS monitoring require specialist centr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sz="1200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References</a:t>
            </a:r>
            <a:endParaRPr lang="en-GB" sz="1200" b="0" i="0" u="none" strike="noStrike" baseline="0" dirty="0">
              <a:latin typeface="SabonLTStd-Roman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ckinson MJ, Carlo-Stella C, Morschhauser F, et al. </a:t>
            </a:r>
            <a:r>
              <a:rPr kumimoji="0" lang="en-GB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lofitamab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for Relapsed or Refractory Diffuse Large B-Cell Lymphoma. </a:t>
            </a:r>
            <a:r>
              <a:rPr kumimoji="0" lang="en-GB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 Engl J Med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22;387:2220-31.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GB" sz="1800" b="0" i="0" u="none" strike="noStrike" dirty="0" err="1">
                <a:solidFill>
                  <a:srgbClr val="000000"/>
                </a:solidFill>
                <a:effectLst/>
                <a:latin typeface="Aptos Narrow" panose="020B0004020202020204" pitchFamily="34" charset="0"/>
              </a:rPr>
              <a:t>Shumilov</a:t>
            </a:r>
            <a:r>
              <a:rPr lang="en-GB" sz="1800" b="0" i="0" u="none" strike="noStrike" dirty="0">
                <a:solidFill>
                  <a:srgbClr val="000000"/>
                </a:solidFill>
                <a:effectLst/>
                <a:latin typeface="Aptos Narrow" panose="020B0004020202020204" pitchFamily="34" charset="0"/>
              </a:rPr>
              <a:t> E, Wurm-Kuczera R, Kerkhoff A, et al. Safety and Efficacy of </a:t>
            </a:r>
            <a:r>
              <a:rPr lang="en-GB" sz="1800" b="0" i="0" u="none" strike="noStrike" dirty="0" err="1">
                <a:solidFill>
                  <a:srgbClr val="000000"/>
                </a:solidFill>
                <a:effectLst/>
                <a:latin typeface="Aptos Narrow" panose="020B0004020202020204" pitchFamily="34" charset="0"/>
              </a:rPr>
              <a:t>Glofitamab</a:t>
            </a:r>
            <a:r>
              <a:rPr lang="en-GB" sz="1800" b="0" i="0" u="none" strike="noStrike" dirty="0">
                <a:solidFill>
                  <a:srgbClr val="000000"/>
                </a:solidFill>
                <a:effectLst/>
                <a:latin typeface="Aptos Narrow" panose="020B0004020202020204" pitchFamily="34" charset="0"/>
              </a:rPr>
              <a:t> for Relapsed/Refractory Large B-Cell Lymphoma in a Multinational Real-World Study. </a:t>
            </a:r>
            <a:r>
              <a:rPr lang="en-GB" sz="1800" b="0" i="1" u="none" strike="noStrike" dirty="0">
                <a:solidFill>
                  <a:srgbClr val="000000"/>
                </a:solidFill>
                <a:effectLst/>
                <a:latin typeface="Aptos Narrow" panose="020B0004020202020204" pitchFamily="34" charset="0"/>
              </a:rPr>
              <a:t>Blood Adv</a:t>
            </a:r>
            <a:r>
              <a:rPr lang="en-GB" sz="1800" b="0" i="0" u="none" strike="noStrike" dirty="0">
                <a:solidFill>
                  <a:srgbClr val="000000"/>
                </a:solidFill>
                <a:effectLst/>
                <a:latin typeface="Aptos Narrow" panose="020B0004020202020204" pitchFamily="34" charset="0"/>
              </a:rPr>
              <a:t>. 2025</a:t>
            </a:r>
            <a:r>
              <a:rPr lang="en-GB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;9:3865-77</a:t>
            </a:r>
            <a:endParaRPr lang="en-GB" sz="1800" b="0" i="0" u="none" strike="noStrike" dirty="0">
              <a:solidFill>
                <a:srgbClr val="000000"/>
              </a:solidFill>
              <a:effectLst/>
              <a:latin typeface="Aptos Narrow" panose="020B0004020202020204" pitchFamily="34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tesoglu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EB, </a:t>
            </a:r>
            <a:r>
              <a:rPr kumimoji="0" lang="en-GB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ulbas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, Uzay A, et al. </a:t>
            </a:r>
            <a:r>
              <a:rPr kumimoji="0" lang="en-GB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lofitamab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in relapsed/refractory diffuse large B‐cell lymphoma: Real‐world data. </a:t>
            </a:r>
            <a:r>
              <a:rPr kumimoji="0" lang="en-GB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ematol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Oncol. 2023;1-11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diriwickrema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, Haynes E, El-</a:t>
            </a:r>
            <a:r>
              <a:rPr kumimoji="0" lang="en-GB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harkawi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, et al. </a:t>
            </a:r>
            <a:r>
              <a:rPr kumimoji="0" lang="en-GB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lofitamab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efficacy, tolerability, and practical implications in the real world: a UK multicentre, retrospective analysis. </a:t>
            </a:r>
            <a:r>
              <a:rPr lang="en-GB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oster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#P2094 presented at the European </a:t>
            </a:r>
            <a:r>
              <a:rPr kumimoji="0" lang="en-GB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ematology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Association (EHA) Hybrid Congress. 13–16 June 2024, Madrid, Spain.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GB" dirty="0"/>
              <a:t>Haynes E, </a:t>
            </a:r>
            <a:r>
              <a:rPr lang="en-GB" dirty="0" err="1"/>
              <a:t>Ediriwickrema</a:t>
            </a:r>
            <a:r>
              <a:rPr lang="en-GB" dirty="0"/>
              <a:t> K, Lawless S, et al. </a:t>
            </a:r>
            <a:r>
              <a:rPr lang="en-GB" dirty="0" err="1"/>
              <a:t>Glofitamab</a:t>
            </a:r>
            <a:r>
              <a:rPr lang="en-GB" dirty="0"/>
              <a:t> and </a:t>
            </a:r>
            <a:r>
              <a:rPr lang="en-GB" dirty="0" err="1"/>
              <a:t>epcoritamab</a:t>
            </a:r>
            <a:r>
              <a:rPr lang="en-GB" dirty="0"/>
              <a:t> in the real world: a UK multicentre retrospective analysis of efficacy, tolerability and practical implications.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ster #3100 presented at the American Society of </a:t>
            </a:r>
            <a:r>
              <a:rPr kumimoji="0" lang="en-GB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ematology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(ASH) Annual Meeting. 7–10 December 2024, San Diego, USA.</a:t>
            </a:r>
            <a:endParaRPr lang="en-GB" dirty="0"/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GB" dirty="0"/>
              <a:t>Brooks TR, Zabor EC, </a:t>
            </a:r>
            <a:r>
              <a:rPr lang="en-GB" dirty="0" err="1"/>
              <a:t>Bedelu</a:t>
            </a:r>
            <a:r>
              <a:rPr lang="en-GB" dirty="0"/>
              <a:t> YB, et al. Real-world outcomes with bispecific T-cell engagers (</a:t>
            </a:r>
            <a:r>
              <a:rPr lang="en-GB" dirty="0" err="1"/>
              <a:t>REALBiTE</a:t>
            </a:r>
            <a:r>
              <a:rPr lang="en-GB" dirty="0"/>
              <a:t>) for relapsed or refractory large B-cell lymphoma: a multi-</a:t>
            </a:r>
            <a:r>
              <a:rPr lang="en-GB" dirty="0" err="1"/>
              <a:t>center</a:t>
            </a:r>
            <a:r>
              <a:rPr lang="en-GB" dirty="0"/>
              <a:t>, retrospective cohort study.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al presentation #111 presented at the American Society of </a:t>
            </a:r>
            <a:r>
              <a:rPr kumimoji="0" lang="en-GB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ematology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(ASH) Annual Meeting. 7–10 December 2024, San Diego, USA.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eblemont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C, Phillips T, </a:t>
            </a:r>
            <a:r>
              <a:rPr kumimoji="0" lang="en-GB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Ghesquieres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H, et al. </a:t>
            </a:r>
            <a:r>
              <a:rPr kumimoji="0" lang="en-GB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Epcoritamab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 a Novel, Subcutaneous CD3xCD20 Bispecific T-Cell-Engaging Antibody in Relapsed or Refractory Large B-Cell Lymphoma: Dose Expansion in a Phase I/II Trial. </a:t>
            </a:r>
            <a:r>
              <a:rPr kumimoji="0" lang="en-GB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J Clin Oncol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. 2022;41(12):2238-48.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GB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urion R, Guz D, </a:t>
            </a:r>
            <a:r>
              <a:rPr lang="en-GB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edmi</a:t>
            </a:r>
            <a:r>
              <a:rPr lang="en-GB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M, et al. Efficacy and safety of </a:t>
            </a:r>
            <a:r>
              <a:rPr lang="en-GB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lofitamab</a:t>
            </a:r>
            <a:r>
              <a:rPr lang="en-GB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n patients with R/R DLBCL in real life setting- a retrospective study. </a:t>
            </a:r>
            <a:r>
              <a:rPr lang="en-GB" sz="1200" b="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n </a:t>
            </a:r>
            <a:r>
              <a:rPr lang="en-GB" sz="1200" b="0" i="1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ematol</a:t>
            </a:r>
            <a:r>
              <a:rPr lang="en-GB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2025;104:3821-27.</a:t>
            </a:r>
            <a:endParaRPr lang="en-GB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edorova LV, </a:t>
            </a:r>
            <a:r>
              <a:rPr lang="en-GB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ikhailova NB, Lepik KV, et al. Efficacy and Safety of </a:t>
            </a:r>
            <a:r>
              <a:rPr lang="en-GB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lofitamab</a:t>
            </a:r>
            <a:r>
              <a:rPr lang="en-GB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Therapy in Patients with Relapsed/Refractory Diffuse Large B-Cell Lymphoma: A United Russian Experience Based on the Compassionate Use Program. </a:t>
            </a:r>
            <a:r>
              <a:rPr lang="en-GB" sz="1200" b="0" i="0" kern="1200" dirty="0">
                <a:solidFill>
                  <a:schemeClr val="tx1"/>
                </a:solidFill>
                <a:effectLst/>
                <a:highlight>
                  <a:srgbClr val="FFFF00"/>
                </a:highlight>
                <a:latin typeface="+mn-lt"/>
                <a:ea typeface="+mn-ea"/>
                <a:cs typeface="+mn-cs"/>
              </a:rPr>
              <a:t>Clinical </a:t>
            </a:r>
            <a:r>
              <a:rPr lang="en-GB" sz="1200" b="0" i="0" kern="1200" dirty="0" err="1">
                <a:solidFill>
                  <a:schemeClr val="tx1"/>
                </a:solidFill>
                <a:effectLst/>
                <a:highlight>
                  <a:srgbClr val="FFFF00"/>
                </a:highlight>
                <a:latin typeface="+mn-lt"/>
                <a:ea typeface="+mn-ea"/>
                <a:cs typeface="+mn-cs"/>
              </a:rPr>
              <a:t>Oncohaematology</a:t>
            </a:r>
            <a:r>
              <a:rPr lang="en-GB" sz="1200" b="0" i="0" kern="1200" dirty="0">
                <a:solidFill>
                  <a:schemeClr val="tx1"/>
                </a:solidFill>
                <a:effectLst/>
                <a:highlight>
                  <a:srgbClr val="FFFF00"/>
                </a:highlight>
                <a:latin typeface="+mn-lt"/>
                <a:ea typeface="+mn-ea"/>
                <a:cs typeface="+mn-cs"/>
              </a:rPr>
              <a:t>. 2026;19:180–90.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GB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uth A, Holzem A, Neumann AS, et al. T cell exhaustion in bi- and </a:t>
            </a:r>
            <a:r>
              <a:rPr lang="en-GB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rispecific</a:t>
            </a:r>
            <a:r>
              <a:rPr lang="en-GB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T cell engager therapy in hematologic malignancies: Mechanisms and implications. </a:t>
            </a:r>
            <a:r>
              <a:rPr lang="en-GB" sz="1200" b="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ed</a:t>
            </a:r>
            <a:r>
              <a:rPr lang="en-GB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2026; 101031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81B6B5-2518-B244-B8AD-11E31BF235A9}" type="slidenum">
              <a:rPr kumimoji="0" lang="en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4</a:t>
            </a:fld>
            <a:endParaRPr kumimoji="0" lang="en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11664081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32A42B6-62AA-6DFC-FC69-43CEE26A93E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D5F1C25-BFC6-3FB3-2217-E9A4CE4CC24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2FAA8B1-BCE9-B117-EF77-F4FB6E63288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b="1" dirty="0"/>
              <a:t>Reference</a:t>
            </a:r>
          </a:p>
          <a:p>
            <a:pPr marL="228600" indent="-228600">
              <a:buAutoNum type="arabicPeriod"/>
            </a:pPr>
            <a:r>
              <a:rPr lang="en-GB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umuluru</a:t>
            </a:r>
            <a:r>
              <a:rPr lang="en-GB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S, Godfrey JK, Cooper A, et al. Integrative genomic analysis of DLBCL identifies immune environments associated with bispecific antibody response. </a:t>
            </a:r>
            <a:r>
              <a:rPr lang="en-GB" sz="1200" b="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lood </a:t>
            </a:r>
            <a:r>
              <a:rPr lang="en-GB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025;145:2460-72.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C967DFA-D4F6-CC8B-2E30-1D35A22B06D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81B6B5-2518-B244-B8AD-11E31BF235A9}" type="slidenum">
              <a:rPr kumimoji="0" lang="en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5</a:t>
            </a:fld>
            <a:endParaRPr kumimoji="0" lang="en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46397472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3B37251-1EE8-2B4B-59AD-902A0209D4B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8F155B8-F88C-A7E7-EFC5-96A2528F1AF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D49655C-10D0-3AF7-C93B-548E01EF387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b="1"/>
              <a:t>Reference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GB"/>
              <a:t>Caimi PF, Ai W, </a:t>
            </a:r>
            <a:r>
              <a:rPr lang="en-GB" err="1"/>
              <a:t>Alderuccio</a:t>
            </a:r>
            <a:r>
              <a:rPr lang="en-GB"/>
              <a:t> JP, et al. </a:t>
            </a:r>
            <a:r>
              <a:rPr lang="en-GB" dirty="0"/>
              <a:t>Loncastuximab</a:t>
            </a:r>
            <a:r>
              <a:rPr lang="en-GB"/>
              <a:t> </a:t>
            </a:r>
            <a:r>
              <a:rPr lang="en-GB" dirty="0"/>
              <a:t>tesirine</a:t>
            </a:r>
            <a:r>
              <a:rPr lang="en-GB"/>
              <a:t> in relapsed/refractory diffuse large B-cell lymphoma: long-term efficacy and safety from the phase 2 LOTIS-2 study. </a:t>
            </a:r>
            <a:r>
              <a:rPr lang="en-GB" i="1" err="1"/>
              <a:t>Haematologica</a:t>
            </a:r>
            <a:r>
              <a:rPr lang="en-GB"/>
              <a:t> 2024;109:1184-93.</a:t>
            </a:r>
            <a:endParaRPr lang="en-GB" dirty="0"/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GB" b="0" dirty="0"/>
              <a:t>Caimi PF, Ai W, </a:t>
            </a:r>
            <a:r>
              <a:rPr lang="en-GB" b="0" dirty="0" err="1"/>
              <a:t>Alderuccio</a:t>
            </a:r>
            <a:r>
              <a:rPr lang="en-GB" b="0" dirty="0"/>
              <a:t> JP, et al. Loncastuximab tesirine in relapsed or refractory diffuse large B-cell lymphoma (LOTIS-2): a multicentre, open-label, single-arm, phase 2 trial. </a:t>
            </a:r>
            <a:r>
              <a:rPr lang="en-GB" b="0" i="1" dirty="0"/>
              <a:t>Lancet Oncol </a:t>
            </a:r>
            <a:r>
              <a:rPr lang="en-GB" b="0" dirty="0"/>
              <a:t>2021;22:790-800.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endParaRPr lang="en-GB" b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464BE2E-5B8E-08DC-6020-34C99F7C329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B4B79A-FC8E-4FFA-B924-F9A472A82887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6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86708508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en-GB" sz="1200" b="1" i="0" u="none" strike="noStrike" baseline="0" dirty="0">
                <a:latin typeface="SabonLTStd-Roman"/>
              </a:rPr>
              <a:t>References</a:t>
            </a:r>
            <a:endParaRPr lang="en-GB" sz="1200" b="0" i="0" u="none" strike="noStrike" baseline="0" dirty="0">
              <a:latin typeface="SabonLTStd-Roman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GB" b="0" dirty="0"/>
              <a:t>Caimi PF, Ai W, </a:t>
            </a:r>
            <a:r>
              <a:rPr lang="en-GB" b="0" dirty="0" err="1"/>
              <a:t>Alderuccio</a:t>
            </a:r>
            <a:r>
              <a:rPr lang="en-GB" b="0" dirty="0"/>
              <a:t> JP, et al. Loncastuximab tesirine in relapsed or refractory diffuse large B-cell lymphoma (LOTIS-2): a multicentre, open-label, single-arm, phase 2 trial. </a:t>
            </a:r>
            <a:r>
              <a:rPr lang="en-GB" b="0" i="1" dirty="0"/>
              <a:t>Lancet Oncol </a:t>
            </a:r>
            <a:r>
              <a:rPr lang="en-GB" b="0" dirty="0"/>
              <a:t>2021;22(6):790-800.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GB" dirty="0"/>
              <a:t>Caimi PF, Ai W, </a:t>
            </a:r>
            <a:r>
              <a:rPr lang="en-GB" dirty="0" err="1"/>
              <a:t>Alderuccio</a:t>
            </a:r>
            <a:r>
              <a:rPr lang="en-GB" dirty="0"/>
              <a:t> JP, et al. Loncastuximab tesirine in relapsed/refractory diffuse large B-cell lymphoma: long-term efficacy and safety from the phase 2 LOTIS-2 study. </a:t>
            </a:r>
            <a:r>
              <a:rPr lang="en-GB" i="1" dirty="0" err="1"/>
              <a:t>Haematologica</a:t>
            </a:r>
            <a:r>
              <a:rPr lang="en-GB" dirty="0"/>
              <a:t> 2024;109:1184-93.</a:t>
            </a:r>
            <a:endParaRPr lang="en-GB" b="0" dirty="0"/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GB" b="0" dirty="0"/>
              <a:t>Lin N, Sun X, Zhou H, et al. Loncastuximab tesirine in Chinese patients with relapsed or refractory diffuse large B-cell lymphoma: a </a:t>
            </a:r>
            <a:r>
              <a:rPr lang="en-GB" b="0" dirty="0" err="1"/>
              <a:t>multicenter</a:t>
            </a:r>
            <a:r>
              <a:rPr lang="en-GB" b="0" dirty="0"/>
              <a:t>, open-label, single-arm, phase II trial. </a:t>
            </a:r>
            <a:r>
              <a:rPr lang="en-GB" b="0" i="1" dirty="0" err="1"/>
              <a:t>Haematologica</a:t>
            </a:r>
            <a:r>
              <a:rPr lang="en-GB" b="0" i="0" dirty="0"/>
              <a:t> 2025;110(3):683–692.</a:t>
            </a:r>
            <a:endParaRPr lang="en-GB" b="0" dirty="0"/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ea typeface="+mn-ea"/>
                <a:cs typeface="+mn-cs"/>
              </a:rPr>
              <a:t>Nastoupil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ea typeface="+mn-ea"/>
                <a:cs typeface="+mn-cs"/>
              </a:rPr>
              <a:t> LJ, Andersen CR, Ayers A, et al. Real-world effectiveness of chemoimmunotherapy and novel therapies for patients with relapsed/refractory aggressive large B-Cell lymphoma. </a:t>
            </a:r>
            <a:r>
              <a:rPr kumimoji="0" lang="en-GB" sz="1200" b="0" i="1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ea typeface="+mn-ea"/>
                <a:cs typeface="+mn-cs"/>
              </a:rPr>
              <a:t>Clin Lymphoma Myeloma Leuk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ea typeface="+mn-ea"/>
                <a:cs typeface="+mn-cs"/>
              </a:rPr>
              <a:t>2024;25(4):e183–e199.e8.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ea typeface="+mn-ea"/>
                <a:cs typeface="+mn-cs"/>
              </a:rPr>
              <a:t>Epperla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ea typeface="+mn-ea"/>
                <a:cs typeface="+mn-cs"/>
              </a:rPr>
              <a:t> N, Lucero M, Bailey T, et al. Outcomes with loncastuximab tesirine following CAR T-cell therapy in patients with relapsed or refractory diffuse large B-cell lymphoma. </a:t>
            </a:r>
            <a:r>
              <a:rPr kumimoji="0" lang="en-GB" sz="1200" b="0" i="1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ea typeface="+mn-ea"/>
                <a:cs typeface="+mn-cs"/>
              </a:rPr>
              <a:t>Blood Cancer J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ea typeface="+mn-ea"/>
                <a:cs typeface="+mn-cs"/>
              </a:rPr>
              <a:t>2024;14(1):210.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GB" sz="1200" dirty="0">
                <a:effectLst/>
                <a:highlight>
                  <a:srgbClr val="FFFF00"/>
                </a:highlight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Godbole S, </a:t>
            </a:r>
            <a:r>
              <a:rPr lang="en-GB" sz="1200" dirty="0" err="1">
                <a:effectLst/>
                <a:highlight>
                  <a:srgbClr val="FFFF00"/>
                </a:highlight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Welkie</a:t>
            </a:r>
            <a:r>
              <a:rPr lang="en-GB" sz="1200" dirty="0">
                <a:effectLst/>
                <a:highlight>
                  <a:srgbClr val="FFFF00"/>
                </a:highlight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 RL, Sigmund AM, et al. Patterns of use and outcomes of novel agents in patients with relapsed or refractory large B-cell lymphoma: a single-</a:t>
            </a:r>
            <a:r>
              <a:rPr lang="en-GB" sz="1200" dirty="0" err="1">
                <a:effectLst/>
                <a:highlight>
                  <a:srgbClr val="FFFF00"/>
                </a:highlight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center</a:t>
            </a:r>
            <a:r>
              <a:rPr lang="en-GB" sz="1200" dirty="0">
                <a:effectLst/>
                <a:highlight>
                  <a:srgbClr val="FFFF00"/>
                </a:highlight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 retrospective analysis.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highlight>
                  <a:srgbClr val="FFFF00"/>
                </a:highlight>
                <a:uLnTx/>
                <a:uFillTx/>
                <a:latin typeface="Calibri" panose="020F0502020204030204"/>
                <a:ea typeface="+mn-ea"/>
                <a:cs typeface="+mn-cs"/>
              </a:rPr>
              <a:t>Poster #4460 presented at the American Society of </a:t>
            </a:r>
            <a:r>
              <a:rPr kumimoji="0" lang="en-GB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585854"/>
                </a:solidFill>
                <a:effectLst/>
                <a:highlight>
                  <a:srgbClr val="FFFF00"/>
                </a:highlight>
                <a:uLnTx/>
                <a:uFillTx/>
                <a:latin typeface="Calibri" panose="020F0502020204030204"/>
                <a:ea typeface="+mn-ea"/>
                <a:cs typeface="+mn-cs"/>
              </a:rPr>
              <a:t>Hematology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highlight>
                  <a:srgbClr val="FFFF00"/>
                </a:highlight>
                <a:uLnTx/>
                <a:uFillTx/>
                <a:latin typeface="Calibri" panose="020F0502020204030204"/>
                <a:ea typeface="+mn-ea"/>
                <a:cs typeface="+mn-cs"/>
              </a:rPr>
              <a:t> (ASH) Annual Meeting. 7–10 December 2024, San Diego, USA</a:t>
            </a:r>
            <a:r>
              <a:rPr lang="en-GB" sz="1200" dirty="0">
                <a:effectLst/>
                <a:highlight>
                  <a:srgbClr val="FFFF00"/>
                </a:highlight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.</a:t>
            </a:r>
            <a:r>
              <a:rPr lang="en-GB" sz="12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 </a:t>
            </a:r>
            <a:endParaRPr lang="en-GB" sz="1200" dirty="0">
              <a:effectLst/>
              <a:latin typeface="Aptos" panose="020B00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ea typeface="+mn-ea"/>
                <a:cs typeface="+mn-cs"/>
              </a:rPr>
              <a:t>Zelikson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ea typeface="+mn-ea"/>
                <a:cs typeface="+mn-cs"/>
              </a:rPr>
              <a:t> V, Gurumurthi A, Sawalha Y, et al. Loncastuximab in high-risk and heavily pretreated relapsed/refractory diffuse large B-cell lymphoma: a real-world analysis from 21 US </a:t>
            </a:r>
            <a:r>
              <a:rPr kumimoji="0" lang="en-GB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ea typeface="+mn-ea"/>
                <a:cs typeface="+mn-cs"/>
              </a:rPr>
              <a:t>centers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ea typeface="+mn-ea"/>
                <a:cs typeface="+mn-cs"/>
              </a:rPr>
              <a:t>. </a:t>
            </a:r>
            <a:r>
              <a:rPr kumimoji="0" lang="en-GB" sz="1200" b="0" i="1" u="none" strike="noStrike" kern="1200" cap="none" spc="0" normalizeH="0" baseline="0" noProof="0" dirty="0" err="1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ea typeface="+mn-ea"/>
                <a:cs typeface="+mn-cs"/>
              </a:rPr>
              <a:t>Haematologica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ea typeface="+mn-ea"/>
                <a:cs typeface="+mn-cs"/>
              </a:rPr>
              <a:t> 2025;110(3):706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–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ea typeface="+mn-ea"/>
                <a:cs typeface="+mn-cs"/>
              </a:rPr>
              <a:t>714.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GB" sz="1200" b="0" i="0" dirty="0" err="1">
                <a:solidFill>
                  <a:srgbClr val="212529"/>
                </a:solidFill>
                <a:effectLst/>
                <a:latin typeface="Inter"/>
              </a:rPr>
              <a:t>Shumilov</a:t>
            </a:r>
            <a:r>
              <a:rPr lang="en-GB" sz="1200" b="0" i="0" dirty="0">
                <a:solidFill>
                  <a:srgbClr val="212529"/>
                </a:solidFill>
                <a:effectLst/>
                <a:latin typeface="Inter"/>
              </a:rPr>
              <a:t> E, </a:t>
            </a:r>
            <a:r>
              <a:rPr lang="en-GB" sz="1200" b="0" i="0" dirty="0" err="1">
                <a:solidFill>
                  <a:srgbClr val="212529"/>
                </a:solidFill>
                <a:effectLst/>
                <a:latin typeface="Inter"/>
              </a:rPr>
              <a:t>Kolloch</a:t>
            </a:r>
            <a:r>
              <a:rPr lang="en-GB" sz="1200" b="0" i="0" dirty="0">
                <a:solidFill>
                  <a:srgbClr val="212529"/>
                </a:solidFill>
                <a:effectLst/>
                <a:latin typeface="Inter"/>
              </a:rPr>
              <a:t> L, </a:t>
            </a:r>
            <a:r>
              <a:rPr lang="en-GB" sz="1200" b="0" i="0" dirty="0" err="1">
                <a:solidFill>
                  <a:srgbClr val="212529"/>
                </a:solidFill>
                <a:effectLst/>
                <a:latin typeface="Inter"/>
              </a:rPr>
              <a:t>Faustmann</a:t>
            </a:r>
            <a:r>
              <a:rPr lang="en-GB" sz="1200" b="0" i="0" dirty="0">
                <a:solidFill>
                  <a:srgbClr val="212529"/>
                </a:solidFill>
                <a:effectLst/>
                <a:latin typeface="Inter"/>
              </a:rPr>
              <a:t> P, et al. Real-world use of loncastuximab tesirine in heavily pretreated and high risk relapsed/refractory large B-cell lymphoma patients: German </a:t>
            </a:r>
            <a:r>
              <a:rPr lang="en-GB" sz="1200" b="0" i="0" dirty="0" err="1">
                <a:solidFill>
                  <a:srgbClr val="212529"/>
                </a:solidFill>
                <a:effectLst/>
                <a:latin typeface="Inter"/>
              </a:rPr>
              <a:t>multicenter</a:t>
            </a:r>
            <a:r>
              <a:rPr lang="en-GB" sz="1200" b="0" i="0" dirty="0">
                <a:solidFill>
                  <a:srgbClr val="212529"/>
                </a:solidFill>
                <a:effectLst/>
                <a:latin typeface="Inter"/>
              </a:rPr>
              <a:t> analysis. Poster #5473 presented at the American Society of </a:t>
            </a:r>
            <a:r>
              <a:rPr lang="en-GB" sz="1200" b="0" i="0" dirty="0" err="1">
                <a:solidFill>
                  <a:srgbClr val="212529"/>
                </a:solidFill>
                <a:effectLst/>
                <a:latin typeface="Inter"/>
              </a:rPr>
              <a:t>Hematology</a:t>
            </a:r>
            <a:r>
              <a:rPr lang="en-GB" sz="1200" b="0" i="0" dirty="0">
                <a:solidFill>
                  <a:srgbClr val="212529"/>
                </a:solidFill>
                <a:effectLst/>
                <a:latin typeface="Inter"/>
              </a:rPr>
              <a:t> (ASH) 2025 Annual Meeting, December 6–9, Orlando, Florida.</a:t>
            </a:r>
            <a:endParaRPr lang="en-GB" sz="1200" dirty="0"/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CH" sz="1200" b="0" i="0" dirty="0">
                <a:solidFill>
                  <a:srgbClr val="212529"/>
                </a:solidFill>
                <a:effectLst/>
                <a:latin typeface="Inter"/>
              </a:rPr>
              <a:t>Broccoli</a:t>
            </a:r>
            <a:r>
              <a:rPr lang="en-GB" sz="1200" b="0" i="0" dirty="0">
                <a:solidFill>
                  <a:srgbClr val="212529"/>
                </a:solidFill>
                <a:effectLst/>
                <a:latin typeface="Inter"/>
              </a:rPr>
              <a:t> </a:t>
            </a:r>
            <a:r>
              <a:rPr lang="en-CH" sz="1200" b="0" i="0" dirty="0">
                <a:solidFill>
                  <a:srgbClr val="212529"/>
                </a:solidFill>
                <a:effectLst/>
                <a:latin typeface="Inter"/>
              </a:rPr>
              <a:t>A</a:t>
            </a:r>
            <a:r>
              <a:rPr lang="en-GB" sz="1200" b="0" i="0" dirty="0">
                <a:solidFill>
                  <a:srgbClr val="212529"/>
                </a:solidFill>
                <a:effectLst/>
                <a:latin typeface="Inter"/>
              </a:rPr>
              <a:t>, </a:t>
            </a:r>
            <a:r>
              <a:rPr lang="en-CH" sz="1200" b="0" i="0" dirty="0" err="1">
                <a:solidFill>
                  <a:srgbClr val="212529"/>
                </a:solidFill>
                <a:effectLst/>
                <a:latin typeface="Inter"/>
              </a:rPr>
              <a:t>Argnani</a:t>
            </a:r>
            <a:r>
              <a:rPr lang="en-CH" sz="1200" b="0" i="0" dirty="0">
                <a:solidFill>
                  <a:srgbClr val="212529"/>
                </a:solidFill>
                <a:effectLst/>
                <a:latin typeface="Inter"/>
              </a:rPr>
              <a:t> A</a:t>
            </a:r>
            <a:r>
              <a:rPr lang="en-GB" sz="1200" b="0" i="0" dirty="0">
                <a:solidFill>
                  <a:srgbClr val="212529"/>
                </a:solidFill>
                <a:effectLst/>
                <a:latin typeface="Inter"/>
              </a:rPr>
              <a:t>, </a:t>
            </a:r>
            <a:r>
              <a:rPr lang="en-CH" sz="1200" b="0" i="0" dirty="0">
                <a:solidFill>
                  <a:srgbClr val="212529"/>
                </a:solidFill>
                <a:effectLst/>
                <a:latin typeface="Inter"/>
              </a:rPr>
              <a:t>Zanni M</a:t>
            </a:r>
            <a:r>
              <a:rPr lang="en-GB" sz="1200" b="0" i="0" dirty="0">
                <a:solidFill>
                  <a:srgbClr val="212529"/>
                </a:solidFill>
                <a:effectLst/>
                <a:latin typeface="Inter"/>
              </a:rPr>
              <a:t>, et al. </a:t>
            </a:r>
            <a:r>
              <a:rPr lang="en-CH" sz="1200" b="0" i="0" dirty="0">
                <a:solidFill>
                  <a:srgbClr val="212529"/>
                </a:solidFill>
                <a:effectLst/>
                <a:latin typeface="Inter"/>
              </a:rPr>
              <a:t>Large B-cell lymphoma treatment with </a:t>
            </a:r>
            <a:r>
              <a:rPr lang="en-CH" sz="1200" b="0" i="0" dirty="0" err="1">
                <a:solidFill>
                  <a:srgbClr val="212529"/>
                </a:solidFill>
                <a:effectLst/>
                <a:latin typeface="Inter"/>
              </a:rPr>
              <a:t>Loncastuximab</a:t>
            </a:r>
            <a:r>
              <a:rPr lang="en-CH" sz="1200" b="0" i="0" dirty="0">
                <a:solidFill>
                  <a:srgbClr val="212529"/>
                </a:solidFill>
                <a:effectLst/>
                <a:latin typeface="Inter"/>
              </a:rPr>
              <a:t> </a:t>
            </a:r>
            <a:r>
              <a:rPr lang="en-CH" sz="1200" b="0" i="0" dirty="0" err="1">
                <a:solidFill>
                  <a:srgbClr val="212529"/>
                </a:solidFill>
                <a:effectLst/>
                <a:latin typeface="Inter"/>
              </a:rPr>
              <a:t>tesirine</a:t>
            </a:r>
            <a:r>
              <a:rPr lang="en-CH" sz="1200" b="0" i="0" dirty="0">
                <a:solidFill>
                  <a:srgbClr val="212529"/>
                </a:solidFill>
                <a:effectLst/>
                <a:latin typeface="Inter"/>
              </a:rPr>
              <a:t> in an Italian real-life experience</a:t>
            </a:r>
            <a:r>
              <a:rPr lang="en-GB" sz="1200" b="0" i="0" dirty="0">
                <a:solidFill>
                  <a:srgbClr val="212529"/>
                </a:solidFill>
                <a:effectLst/>
                <a:latin typeface="Inter"/>
              </a:rPr>
              <a:t>. </a:t>
            </a:r>
            <a:r>
              <a:rPr lang="en-CH" sz="1200" b="0" i="0" dirty="0">
                <a:solidFill>
                  <a:srgbClr val="212529"/>
                </a:solidFill>
                <a:effectLst/>
                <a:latin typeface="Inter"/>
              </a:rPr>
              <a:t>Abstract</a:t>
            </a:r>
            <a:r>
              <a:rPr lang="en-GB" sz="1200" b="0" i="0" dirty="0">
                <a:solidFill>
                  <a:srgbClr val="212529"/>
                </a:solidFill>
                <a:effectLst/>
                <a:latin typeface="Inter"/>
              </a:rPr>
              <a:t> #</a:t>
            </a:r>
            <a:r>
              <a:rPr lang="en-CH" sz="1200" b="0" i="0" dirty="0">
                <a:solidFill>
                  <a:srgbClr val="212529"/>
                </a:solidFill>
                <a:effectLst/>
                <a:latin typeface="Inter"/>
              </a:rPr>
              <a:t>PF1024</a:t>
            </a:r>
            <a:r>
              <a:rPr lang="en-GB" sz="1200" b="0" i="0" dirty="0">
                <a:solidFill>
                  <a:srgbClr val="212529"/>
                </a:solidFill>
                <a:effectLst/>
                <a:latin typeface="Inter"/>
              </a:rPr>
              <a:t> presented at the </a:t>
            </a:r>
            <a:r>
              <a:rPr lang="en-CH" sz="1200" b="0" i="0" dirty="0">
                <a:solidFill>
                  <a:srgbClr val="212529"/>
                </a:solidFill>
                <a:effectLst/>
                <a:latin typeface="Inter"/>
              </a:rPr>
              <a:t>European </a:t>
            </a:r>
            <a:r>
              <a:rPr lang="en-CH" sz="1200" b="0" i="0" dirty="0" err="1">
                <a:solidFill>
                  <a:srgbClr val="212529"/>
                </a:solidFill>
                <a:effectLst/>
                <a:latin typeface="Inter"/>
              </a:rPr>
              <a:t>Hematology</a:t>
            </a:r>
            <a:r>
              <a:rPr lang="en-CH" sz="1200" b="0" i="0" dirty="0">
                <a:solidFill>
                  <a:srgbClr val="212529"/>
                </a:solidFill>
                <a:effectLst/>
                <a:latin typeface="Inter"/>
              </a:rPr>
              <a:t> Association </a:t>
            </a:r>
            <a:r>
              <a:rPr lang="en-GB" sz="1200" b="0" i="0" dirty="0">
                <a:solidFill>
                  <a:srgbClr val="212529"/>
                </a:solidFill>
                <a:effectLst/>
                <a:latin typeface="Inter"/>
              </a:rPr>
              <a:t>(</a:t>
            </a:r>
            <a:r>
              <a:rPr lang="en-CH" sz="1200" b="0" i="0" dirty="0">
                <a:solidFill>
                  <a:srgbClr val="212529"/>
                </a:solidFill>
                <a:effectLst/>
                <a:latin typeface="Inter"/>
              </a:rPr>
              <a:t>EHA</a:t>
            </a:r>
            <a:r>
              <a:rPr lang="en-GB" sz="1200" b="0" i="0" dirty="0">
                <a:solidFill>
                  <a:srgbClr val="212529"/>
                </a:solidFill>
                <a:effectLst/>
                <a:latin typeface="Inter"/>
              </a:rPr>
              <a:t>) 202</a:t>
            </a:r>
            <a:r>
              <a:rPr lang="en-CH" sz="1200" b="0" i="0" dirty="0">
                <a:solidFill>
                  <a:srgbClr val="212529"/>
                </a:solidFill>
                <a:effectLst/>
                <a:latin typeface="Inter"/>
              </a:rPr>
              <a:t>6</a:t>
            </a:r>
            <a:r>
              <a:rPr lang="en-GB" sz="1200" b="0" i="0" dirty="0">
                <a:solidFill>
                  <a:srgbClr val="212529"/>
                </a:solidFill>
                <a:effectLst/>
                <a:latin typeface="Inter"/>
              </a:rPr>
              <a:t> Annual Meeting, </a:t>
            </a:r>
            <a:r>
              <a:rPr lang="en-CH" sz="1200" b="0" i="0" dirty="0">
                <a:solidFill>
                  <a:srgbClr val="212529"/>
                </a:solidFill>
                <a:effectLst/>
                <a:latin typeface="Inter"/>
              </a:rPr>
              <a:t>June</a:t>
            </a:r>
            <a:r>
              <a:rPr lang="en-GB" sz="1200" b="0" i="0" dirty="0">
                <a:solidFill>
                  <a:srgbClr val="212529"/>
                </a:solidFill>
                <a:effectLst/>
                <a:latin typeface="Inter"/>
              </a:rPr>
              <a:t> </a:t>
            </a:r>
            <a:r>
              <a:rPr lang="en-CH" sz="1200" b="0" i="0" dirty="0">
                <a:solidFill>
                  <a:srgbClr val="212529"/>
                </a:solidFill>
                <a:effectLst/>
                <a:latin typeface="Inter"/>
              </a:rPr>
              <a:t>11</a:t>
            </a:r>
            <a:r>
              <a:rPr lang="en-GB" sz="1200" b="0" i="0" dirty="0">
                <a:solidFill>
                  <a:srgbClr val="212529"/>
                </a:solidFill>
                <a:effectLst/>
                <a:latin typeface="Inter"/>
              </a:rPr>
              <a:t>–</a:t>
            </a:r>
            <a:r>
              <a:rPr lang="en-CH" sz="1200" b="0" i="0" dirty="0">
                <a:solidFill>
                  <a:srgbClr val="212529"/>
                </a:solidFill>
                <a:effectLst/>
                <a:latin typeface="Inter"/>
              </a:rPr>
              <a:t>14</a:t>
            </a:r>
            <a:r>
              <a:rPr lang="en-GB" sz="1200" b="0" i="0" dirty="0">
                <a:solidFill>
                  <a:srgbClr val="212529"/>
                </a:solidFill>
                <a:effectLst/>
                <a:latin typeface="Inter"/>
              </a:rPr>
              <a:t>, </a:t>
            </a:r>
            <a:r>
              <a:rPr lang="en-CH" sz="1200" b="0" i="0" dirty="0">
                <a:solidFill>
                  <a:srgbClr val="212529"/>
                </a:solidFill>
                <a:effectLst/>
                <a:latin typeface="Inter"/>
              </a:rPr>
              <a:t>Stockholm</a:t>
            </a:r>
            <a:r>
              <a:rPr lang="en-GB" sz="1200" b="0" i="0" dirty="0">
                <a:solidFill>
                  <a:srgbClr val="212529"/>
                </a:solidFill>
                <a:effectLst/>
                <a:latin typeface="Inter"/>
              </a:rPr>
              <a:t>, </a:t>
            </a:r>
            <a:r>
              <a:rPr lang="en-CH" sz="1200" b="0" i="0" dirty="0">
                <a:solidFill>
                  <a:srgbClr val="212529"/>
                </a:solidFill>
                <a:effectLst/>
                <a:latin typeface="Inter"/>
              </a:rPr>
              <a:t>Sweden</a:t>
            </a:r>
            <a:r>
              <a:rPr lang="en-GB" sz="1200" b="0" i="0" dirty="0">
                <a:solidFill>
                  <a:srgbClr val="212529"/>
                </a:solidFill>
                <a:effectLst/>
                <a:latin typeface="Inter"/>
              </a:rPr>
              <a:t>.</a:t>
            </a:r>
            <a:endParaRPr lang="en-GB" sz="1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81B6B5-2518-B244-B8AD-11E31BF235A9}" type="slidenum">
              <a:rPr kumimoji="0" lang="en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7</a:t>
            </a:fld>
            <a:endParaRPr kumimoji="0" lang="en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57086784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ferences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aimi PF, Hamadani M, Carlo-Stella C, et al. In relapsed or refractory diffuse large B-cell lymphoma, CD19 expression by immunohistochemistry alone is not a predictor of response to </a:t>
            </a:r>
            <a:r>
              <a:rPr kumimoji="0" lang="en-GB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oncastuximab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GB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esirine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. </a:t>
            </a:r>
            <a:r>
              <a:rPr kumimoji="0" lang="en-GB" sz="12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JHaem</a:t>
            </a:r>
            <a:r>
              <a:rPr kumimoji="0" lang="en-GB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23;5(1):76–83.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GB" sz="1200" b="0" i="0" dirty="0" err="1">
                <a:solidFill>
                  <a:srgbClr val="212121"/>
                </a:solidFill>
                <a:effectLst/>
                <a:latin typeface="BlinkMacSystemFont"/>
              </a:rPr>
              <a:t>Epperla</a:t>
            </a:r>
            <a:r>
              <a:rPr lang="en-GB" sz="1200" b="0" i="0" dirty="0">
                <a:solidFill>
                  <a:srgbClr val="212121"/>
                </a:solidFill>
                <a:effectLst/>
                <a:latin typeface="BlinkMacSystemFont"/>
              </a:rPr>
              <a:t> N, Lucero M, Bailey T, et al. Outcomes with </a:t>
            </a:r>
            <a:r>
              <a:rPr lang="en-GB" sz="1200" b="0" i="0" dirty="0" err="1">
                <a:solidFill>
                  <a:srgbClr val="212121"/>
                </a:solidFill>
                <a:effectLst/>
                <a:latin typeface="BlinkMacSystemFont"/>
              </a:rPr>
              <a:t>loncastuximab</a:t>
            </a:r>
            <a:r>
              <a:rPr lang="en-GB" sz="1200" b="0" i="0" dirty="0">
                <a:solidFill>
                  <a:srgbClr val="212121"/>
                </a:solidFill>
                <a:effectLst/>
                <a:latin typeface="BlinkMacSystemFont"/>
              </a:rPr>
              <a:t> </a:t>
            </a:r>
            <a:r>
              <a:rPr lang="en-GB" sz="1200" b="0" i="0" dirty="0" err="1">
                <a:solidFill>
                  <a:srgbClr val="212121"/>
                </a:solidFill>
                <a:effectLst/>
                <a:latin typeface="BlinkMacSystemFont"/>
              </a:rPr>
              <a:t>tesirine</a:t>
            </a:r>
            <a:r>
              <a:rPr lang="en-GB" sz="1200" b="0" i="0" dirty="0">
                <a:solidFill>
                  <a:srgbClr val="212121"/>
                </a:solidFill>
                <a:effectLst/>
                <a:latin typeface="BlinkMacSystemFont"/>
              </a:rPr>
              <a:t> following CAR T-cell therapy in patients with relapsed or refractory diffuse large B-cell lymphoma. </a:t>
            </a:r>
            <a:r>
              <a:rPr lang="en-GB" sz="1200" b="0" i="1" dirty="0">
                <a:solidFill>
                  <a:srgbClr val="212121"/>
                </a:solidFill>
                <a:effectLst/>
                <a:latin typeface="BlinkMacSystemFont"/>
              </a:rPr>
              <a:t>Blood Cancer J</a:t>
            </a:r>
            <a:r>
              <a:rPr lang="en-GB" sz="1200" b="0" i="0" dirty="0">
                <a:solidFill>
                  <a:srgbClr val="212121"/>
                </a:solidFill>
                <a:effectLst/>
                <a:latin typeface="BlinkMacSystemFont"/>
              </a:rPr>
              <a:t> 2024;14(1):210.</a:t>
            </a:r>
            <a:endParaRPr lang="en-GB" sz="1000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B4B79A-FC8E-4FFA-B924-F9A472A82887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8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30828097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81B6B5-2518-B244-B8AD-11E31BF235A9}" type="slidenum">
              <a:rPr kumimoji="0" lang="en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9</a:t>
            </a:fld>
            <a:endParaRPr kumimoji="0" lang="en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8575467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81B6B5-2518-B244-B8AD-11E31BF235A9}" type="slidenum">
              <a:rPr lang="en-SE" smtClean="0"/>
              <a:t>5</a:t>
            </a:fld>
            <a:endParaRPr lang="en-SE"/>
          </a:p>
        </p:txBody>
      </p:sp>
    </p:spTree>
    <p:extLst>
      <p:ext uri="{BB962C8B-B14F-4D97-AF65-F5344CB8AC3E}">
        <p14:creationId xmlns:p14="http://schemas.microsoft.com/office/powerpoint/2010/main" val="2028680527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81B6B5-2518-B244-B8AD-11E31BF235A9}" type="slidenum">
              <a:rPr kumimoji="0" lang="en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0</a:t>
            </a:fld>
            <a:endParaRPr kumimoji="0" lang="en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18667964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81B6B5-2518-B244-B8AD-11E31BF235A9}" type="slidenum">
              <a:rPr kumimoji="0" lang="en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1</a:t>
            </a:fld>
            <a:endParaRPr kumimoji="0" lang="en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30911575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81B6B5-2518-B244-B8AD-11E31BF235A9}" type="slidenum">
              <a:rPr kumimoji="0" lang="en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2</a:t>
            </a:fld>
            <a:endParaRPr kumimoji="0" lang="en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01222725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81B6B5-2518-B244-B8AD-11E31BF235A9}" type="slidenum">
              <a:rPr kumimoji="0" lang="en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3</a:t>
            </a:fld>
            <a:endParaRPr kumimoji="0" lang="en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31587473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81B6B5-2518-B244-B8AD-11E31BF235A9}" type="slidenum">
              <a:rPr kumimoji="0" lang="en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4</a:t>
            </a:fld>
            <a:endParaRPr kumimoji="0" lang="en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30753591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81B6B5-2518-B244-B8AD-11E31BF235A9}" type="slidenum">
              <a:rPr kumimoji="0" lang="en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5</a:t>
            </a:fld>
            <a:endParaRPr kumimoji="0" lang="en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80986525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81B6B5-2518-B244-B8AD-11E31BF235A9}" type="slidenum">
              <a:rPr kumimoji="0" lang="en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6</a:t>
            </a:fld>
            <a:endParaRPr kumimoji="0" lang="en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86948306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81B6B5-2518-B244-B8AD-11E31BF235A9}" type="slidenum">
              <a:rPr kumimoji="0" lang="en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7</a:t>
            </a:fld>
            <a:endParaRPr kumimoji="0" lang="en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33476839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B0BDBB7-FBDC-1DDC-9AD3-7AFD92856C6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C3D05EB-E780-C3CB-965E-299F7C8E80B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6591ECD-40D5-9B03-C7E0-6220F7E711C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F309273-367B-BAEE-7FD4-A21F99857A3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81B6B5-2518-B244-B8AD-11E31BF235A9}" type="slidenum">
              <a:rPr kumimoji="0" lang="en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8</a:t>
            </a:fld>
            <a:endParaRPr kumimoji="0" lang="en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83808526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81B6B5-2518-B244-B8AD-11E31BF235A9}" type="slidenum">
              <a:rPr kumimoji="0" lang="en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9</a:t>
            </a:fld>
            <a:endParaRPr kumimoji="0" lang="en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0595928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81B6B5-2518-B244-B8AD-11E31BF235A9}" type="slidenum">
              <a:rPr lang="en-SE" smtClean="0"/>
              <a:t>6</a:t>
            </a:fld>
            <a:endParaRPr lang="en-SE"/>
          </a:p>
        </p:txBody>
      </p:sp>
    </p:spTree>
    <p:extLst>
      <p:ext uri="{BB962C8B-B14F-4D97-AF65-F5344CB8AC3E}">
        <p14:creationId xmlns:p14="http://schemas.microsoft.com/office/powerpoint/2010/main" val="2505191217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81B6B5-2518-B244-B8AD-11E31BF235A9}" type="slidenum">
              <a:rPr kumimoji="0" lang="en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0</a:t>
            </a:fld>
            <a:endParaRPr kumimoji="0" lang="en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91914849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81B6B5-2518-B244-B8AD-11E31BF235A9}" type="slidenum">
              <a:rPr kumimoji="0" lang="en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1</a:t>
            </a:fld>
            <a:endParaRPr kumimoji="0" lang="en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6924162"/>
      </p:ext>
    </p:extLst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81B6B5-2518-B244-B8AD-11E31BF235A9}" type="slidenum">
              <a:rPr kumimoji="0" lang="en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2</a:t>
            </a:fld>
            <a:endParaRPr kumimoji="0" lang="en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71931253"/>
      </p:ext>
    </p:extLst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81B6B5-2518-B244-B8AD-11E31BF235A9}" type="slidenum">
              <a:rPr kumimoji="0" lang="en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3</a:t>
            </a:fld>
            <a:endParaRPr kumimoji="0" lang="en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3177055"/>
      </p:ext>
    </p:extLst>
  </p:cSld>
  <p:clrMapOvr>
    <a:masterClrMapping/>
  </p:clrMapOvr>
</p:notes>
</file>

<file path=ppt/notesSlides/notesSlide6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81B6B5-2518-B244-B8AD-11E31BF235A9}" type="slidenum">
              <a:rPr kumimoji="0" lang="en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4</a:t>
            </a:fld>
            <a:endParaRPr kumimoji="0" lang="en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44598439"/>
      </p:ext>
    </p:extLst>
  </p:cSld>
  <p:clrMapOvr>
    <a:masterClrMapping/>
  </p:clrMapOvr>
</p:notes>
</file>

<file path=ppt/notesSlides/notesSlide6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81B6B5-2518-B244-B8AD-11E31BF235A9}" type="slidenum">
              <a:rPr kumimoji="0" lang="en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5</a:t>
            </a:fld>
            <a:endParaRPr kumimoji="0" lang="en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60747387"/>
      </p:ext>
    </p:extLst>
  </p:cSld>
  <p:clrMapOvr>
    <a:masterClrMapping/>
  </p:clrMapOvr>
</p:notes>
</file>

<file path=ppt/notesSlides/notesSlide6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81B6B5-2518-B244-B8AD-11E31BF235A9}" type="slidenum">
              <a:rPr kumimoji="0" lang="en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6</a:t>
            </a:fld>
            <a:endParaRPr kumimoji="0" lang="en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26969831"/>
      </p:ext>
    </p:extLst>
  </p:cSld>
  <p:clrMapOvr>
    <a:masterClrMapping/>
  </p:clrMapOvr>
</p:notes>
</file>

<file path=ppt/notesSlides/notesSlide6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81B6B5-2518-B244-B8AD-11E31BF235A9}" type="slidenum">
              <a:rPr kumimoji="0" lang="en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7</a:t>
            </a:fld>
            <a:endParaRPr kumimoji="0" lang="en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71401445"/>
      </p:ext>
    </p:extLst>
  </p:cSld>
  <p:clrMapOvr>
    <a:masterClrMapping/>
  </p:clrMapOvr>
</p:notes>
</file>

<file path=ppt/notesSlides/notesSlide6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7BE36B0-F73C-08B7-B3FD-EDF9DC81C9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A56A316-A326-C2E6-13ED-1341EE9C39F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58545EC-4C87-83BE-1B1C-34E96E99A46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52CB7BA-FA16-263E-EFD2-430E85DBBA0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81B6B5-2518-B244-B8AD-11E31BF235A9}" type="slidenum">
              <a:rPr kumimoji="0" lang="en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8</a:t>
            </a:fld>
            <a:endParaRPr kumimoji="0" lang="en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79461979"/>
      </p:ext>
    </p:extLst>
  </p:cSld>
  <p:clrMapOvr>
    <a:masterClrMapping/>
  </p:clrMapOvr>
</p:notes>
</file>

<file path=ppt/notesSlides/notesSlide6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81B6B5-2518-B244-B8AD-11E31BF235A9}" type="slidenum">
              <a:rPr kumimoji="0" lang="en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9</a:t>
            </a:fld>
            <a:endParaRPr kumimoji="0" lang="en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1250458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81B6B5-2518-B244-B8AD-11E31BF235A9}" type="slidenum">
              <a:rPr kumimoji="0" lang="en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05573028"/>
      </p:ext>
    </p:extLst>
  </p:cSld>
  <p:clrMapOvr>
    <a:masterClrMapping/>
  </p:clrMapOvr>
</p:notes>
</file>

<file path=ppt/notesSlides/notesSlide7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81B6B5-2518-B244-B8AD-11E31BF235A9}" type="slidenum">
              <a:rPr kumimoji="0" lang="en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0</a:t>
            </a:fld>
            <a:endParaRPr kumimoji="0" lang="en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51235610"/>
      </p:ext>
    </p:extLst>
  </p:cSld>
  <p:clrMapOvr>
    <a:masterClrMapping/>
  </p:clrMapOvr>
</p:notes>
</file>

<file path=ppt/notesSlides/notesSlide7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81B6B5-2518-B244-B8AD-11E31BF235A9}" type="slidenum">
              <a:rPr kumimoji="0" lang="en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1</a:t>
            </a:fld>
            <a:endParaRPr kumimoji="0" lang="en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97473088"/>
      </p:ext>
    </p:extLst>
  </p:cSld>
  <p:clrMapOvr>
    <a:masterClrMapping/>
  </p:clrMapOvr>
</p:notes>
</file>

<file path=ppt/notesSlides/notesSlide7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81B6B5-2518-B244-B8AD-11E31BF235A9}" type="slidenum">
              <a:rPr kumimoji="0" lang="en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2</a:t>
            </a:fld>
            <a:endParaRPr kumimoji="0" lang="en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31163622"/>
      </p:ext>
    </p:extLst>
  </p:cSld>
  <p:clrMapOvr>
    <a:masterClrMapping/>
  </p:clrMapOvr>
</p:notes>
</file>

<file path=ppt/notesSlides/notesSlide7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33F6DC1-A883-6B9F-4541-C988EB5BB0E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C82F68C-7312-A5D1-507B-782BFF7627F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B80E1E8-B8C6-6043-4D88-0E3CFEC26EB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75D802B-ED54-B023-5AA9-DAE27B225A8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81B6B5-2518-B244-B8AD-11E31BF235A9}" type="slidenum">
              <a:rPr kumimoji="0" lang="en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3</a:t>
            </a:fld>
            <a:endParaRPr kumimoji="0" lang="en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02291022"/>
      </p:ext>
    </p:extLst>
  </p:cSld>
  <p:clrMapOvr>
    <a:masterClrMapping/>
  </p:clrMapOvr>
</p:notes>
</file>

<file path=ppt/notesSlides/notesSlide7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1CEDF64-3F2A-725B-0410-52D007010D6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2E9C726-58E7-75D5-BA3B-0B2348EAFC5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AB42B6D-67B5-3C4B-3A6C-FEFE962086F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282A683-B9CE-AFE8-C24E-B9EC8D15AEA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81B6B5-2518-B244-B8AD-11E31BF235A9}" type="slidenum">
              <a:rPr kumimoji="0" lang="en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4</a:t>
            </a:fld>
            <a:endParaRPr kumimoji="0" lang="en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41630309"/>
      </p:ext>
    </p:extLst>
  </p:cSld>
  <p:clrMapOvr>
    <a:masterClrMapping/>
  </p:clrMapOvr>
</p:notes>
</file>

<file path=ppt/notesSlides/notesSlide7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81B6B5-2518-B244-B8AD-11E31BF235A9}" type="slidenum">
              <a:rPr kumimoji="0" lang="en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5</a:t>
            </a:fld>
            <a:endParaRPr kumimoji="0" lang="en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33555399"/>
      </p:ext>
    </p:extLst>
  </p:cSld>
  <p:clrMapOvr>
    <a:masterClrMapping/>
  </p:clrMapOvr>
</p:notes>
</file>

<file path=ppt/notesSlides/notesSlide7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2057E36-EBD7-28EB-B752-9762D719932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5E7375E-35A2-D6A5-2588-00D2013D9C7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203FF0E-D619-0E59-D451-C810B6ED72D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744FF06-07D8-0906-0C7D-CAFB9102810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81B6B5-2518-B244-B8AD-11E31BF235A9}" type="slidenum">
              <a:rPr kumimoji="0" lang="en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6</a:t>
            </a:fld>
            <a:endParaRPr kumimoji="0" lang="en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52892227"/>
      </p:ext>
    </p:extLst>
  </p:cSld>
  <p:clrMapOvr>
    <a:masterClrMapping/>
  </p:clrMapOvr>
</p:notes>
</file>

<file path=ppt/notesSlides/notesSlide7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E69DB85-C2A1-4679-4F09-832CAD3266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67220FD-EF74-08DB-D3DA-A416FD73807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7AEA7C8-E668-EBDE-9556-E975AC20385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8EFBE8E-8CE5-9991-4107-F1085EFAEB4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81B6B5-2518-B244-B8AD-11E31BF235A9}" type="slidenum">
              <a:rPr kumimoji="0" lang="en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7</a:t>
            </a:fld>
            <a:endParaRPr kumimoji="0" lang="en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13204908"/>
      </p:ext>
    </p:extLst>
  </p:cSld>
  <p:clrMapOvr>
    <a:masterClrMapping/>
  </p:clrMapOvr>
</p:notes>
</file>

<file path=ppt/notesSlides/notesSlide7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81B6B5-2518-B244-B8AD-11E31BF235A9}" type="slidenum">
              <a:rPr kumimoji="0" lang="en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8</a:t>
            </a:fld>
            <a:endParaRPr kumimoji="0" lang="en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75940179"/>
      </p:ext>
    </p:extLst>
  </p:cSld>
  <p:clrMapOvr>
    <a:masterClrMapping/>
  </p:clrMapOvr>
</p:notes>
</file>

<file path=ppt/notesSlides/notesSlide7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81B6B5-2518-B244-B8AD-11E31BF235A9}" type="slidenum">
              <a:rPr kumimoji="0" lang="en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9</a:t>
            </a:fld>
            <a:endParaRPr kumimoji="0" lang="en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0654469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b="1"/>
              <a:t>References</a:t>
            </a:r>
          </a:p>
          <a:p>
            <a:pPr marL="228600" indent="-228600" algn="l">
              <a:buFont typeface="+mj-lt"/>
              <a:buAutoNum type="arabicPeriod"/>
            </a:pPr>
            <a:r>
              <a:rPr lang="en-GB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 MCJ, Tadros S, Bouska A, et al. Subtype-specific and co-occurring genetic alterations in B-cell non-Hodgkin lymphoma. </a:t>
            </a:r>
            <a:r>
              <a:rPr lang="en-GB" sz="1200" b="0" i="1" kern="120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Haematologica</a:t>
            </a:r>
            <a:r>
              <a:rPr lang="en-GB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2022;107(3):690-701.</a:t>
            </a:r>
          </a:p>
          <a:p>
            <a:pPr marL="228600" indent="-228600" algn="l">
              <a:buFont typeface="+mj-lt"/>
              <a:buAutoNum type="arabicPeriod"/>
            </a:pPr>
            <a:r>
              <a:rPr lang="en-GB" err="1">
                <a:latin typeface="+mn-lt"/>
              </a:rPr>
              <a:t>Leukemia</a:t>
            </a:r>
            <a:r>
              <a:rPr lang="en-GB">
                <a:latin typeface="+mn-lt"/>
              </a:rPr>
              <a:t> and Lymphoma Society 2024: Non-Hodgkin Lymphoma. </a:t>
            </a:r>
            <a:r>
              <a:rPr lang="en-GB" altLang="it-IT" sz="1200">
                <a:latin typeface="Arial" panose="020B0604020202020204" pitchFamily="34" charset="0"/>
              </a:rPr>
              <a:t>Accessed 31 March 2026 from: </a:t>
            </a:r>
            <a:r>
              <a:rPr lang="en-GB"/>
              <a:t>https://llsorg.widen.net/view/pdf/prckaq84ot/en-non-hodgkin-lymphoma-booklet-ps58</a:t>
            </a:r>
            <a:r>
              <a:rPr lang="en-GB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GB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ehn LH, Salles G. Diffuse Large B-Cell Lymphoma. </a:t>
            </a:r>
            <a:r>
              <a:rPr lang="en-GB" sz="1200" b="0" i="1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 Engl J Med. </a:t>
            </a:r>
            <a:r>
              <a:rPr lang="en-GB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021 Mar 4;384:842–858.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GB" sz="1200" err="1">
                <a:solidFill>
                  <a:prstClr val="black"/>
                </a:solidFill>
                <a:latin typeface="Aptos" panose="020B0004020202020204" pitchFamily="34" charset="0"/>
              </a:rPr>
              <a:t>Coiffier</a:t>
            </a:r>
            <a:r>
              <a:rPr lang="en-GB" sz="1200">
                <a:solidFill>
                  <a:prstClr val="black"/>
                </a:solidFill>
                <a:latin typeface="Aptos" panose="020B0004020202020204" pitchFamily="34" charset="0"/>
              </a:rPr>
              <a:t> B, Lepage E, </a:t>
            </a:r>
            <a:r>
              <a:rPr lang="en-GB" sz="1200" err="1">
                <a:solidFill>
                  <a:prstClr val="black"/>
                </a:solidFill>
                <a:latin typeface="Aptos" panose="020B0004020202020204" pitchFamily="34" charset="0"/>
              </a:rPr>
              <a:t>Brière</a:t>
            </a:r>
            <a:r>
              <a:rPr lang="en-GB" sz="1200">
                <a:solidFill>
                  <a:prstClr val="black"/>
                </a:solidFill>
                <a:latin typeface="Aptos" panose="020B0004020202020204" pitchFamily="34" charset="0"/>
              </a:rPr>
              <a:t> J, et al. CHOP Chemotherapy plus Rituximab Compared with CHOP Alone in Elderly Patients with Diffuse Large-B-Cell Lymphoma. </a:t>
            </a:r>
            <a:r>
              <a:rPr lang="en-GB" sz="1200" i="1">
                <a:solidFill>
                  <a:prstClr val="black"/>
                </a:solidFill>
                <a:latin typeface="Aptos" panose="020B0004020202020204" pitchFamily="34" charset="0"/>
              </a:rPr>
              <a:t>New Engl J Med </a:t>
            </a:r>
            <a:r>
              <a:rPr lang="en-GB" sz="1200">
                <a:solidFill>
                  <a:prstClr val="black"/>
                </a:solidFill>
                <a:latin typeface="Aptos" panose="020B0004020202020204" pitchFamily="34" charset="0"/>
              </a:rPr>
              <a:t>2002;346:235-242.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lang="en-GB" sz="1200" b="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81B6B5-2518-B244-B8AD-11E31BF235A9}" type="slidenum">
              <a:rPr kumimoji="0" lang="en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03702984"/>
      </p:ext>
    </p:extLst>
  </p:cSld>
  <p:clrMapOvr>
    <a:masterClrMapping/>
  </p:clrMapOvr>
</p:notes>
</file>

<file path=ppt/notesSlides/notesSlide8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81B6B5-2518-B244-B8AD-11E31BF235A9}" type="slidenum">
              <a:rPr kumimoji="0" lang="en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0</a:t>
            </a:fld>
            <a:endParaRPr kumimoji="0" lang="en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29870577"/>
      </p:ext>
    </p:extLst>
  </p:cSld>
  <p:clrMapOvr>
    <a:masterClrMapping/>
  </p:clrMapOvr>
</p:notes>
</file>

<file path=ppt/notesSlides/notesSlide8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81B6B5-2518-B244-B8AD-11E31BF235A9}" type="slidenum">
              <a:rPr kumimoji="0" lang="en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1</a:t>
            </a:fld>
            <a:endParaRPr kumimoji="0" lang="en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35827116"/>
      </p:ext>
    </p:extLst>
  </p:cSld>
  <p:clrMapOvr>
    <a:masterClrMapping/>
  </p:clrMapOvr>
</p:notes>
</file>

<file path=ppt/notesSlides/notesSlide8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81B6B5-2518-B244-B8AD-11E31BF235A9}" type="slidenum">
              <a:rPr kumimoji="0" lang="en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2</a:t>
            </a:fld>
            <a:endParaRPr kumimoji="0" lang="en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00578162"/>
      </p:ext>
    </p:extLst>
  </p:cSld>
  <p:clrMapOvr>
    <a:masterClrMapping/>
  </p:clrMapOvr>
</p:notes>
</file>

<file path=ppt/notesSlides/notesSlide8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81B6B5-2518-B244-B8AD-11E31BF235A9}" type="slidenum">
              <a:rPr kumimoji="0" lang="en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3</a:t>
            </a:fld>
            <a:endParaRPr kumimoji="0" lang="en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33850109"/>
      </p:ext>
    </p:extLst>
  </p:cSld>
  <p:clrMapOvr>
    <a:masterClrMapping/>
  </p:clrMapOvr>
</p:notes>
</file>

<file path=ppt/notesSlides/notesSlide8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81B6B5-2518-B244-B8AD-11E31BF235A9}" type="slidenum">
              <a:rPr kumimoji="0" lang="en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4</a:t>
            </a:fld>
            <a:endParaRPr kumimoji="0" lang="en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63155782"/>
      </p:ext>
    </p:extLst>
  </p:cSld>
  <p:clrMapOvr>
    <a:masterClrMapping/>
  </p:clrMapOvr>
</p:notes>
</file>

<file path=ppt/notesSlides/notesSlide8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3FDF1C2-F023-7807-D87E-CA61F83E69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23039EA-9C54-8E93-D6BB-0E41F644BEC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69BA50B-65DD-A4F2-B6A2-61FAF5410F9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="1" dirty="0"/>
              <a:t>References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GB" b="0" dirty="0"/>
              <a:t>Brooks TR &amp; Caimi PF. A paradox of choice: Sequencing therapy in relapsed/refractory diffuse large B-cell lymphoma. </a:t>
            </a:r>
            <a:r>
              <a:rPr lang="en-GB" b="0" i="1" dirty="0"/>
              <a:t>Blood Rev</a:t>
            </a:r>
            <a:r>
              <a:rPr lang="en-GB" b="0" i="0" dirty="0"/>
              <a:t> </a:t>
            </a:r>
            <a:r>
              <a:rPr lang="en-GB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024; 63:101140.</a:t>
            </a:r>
            <a:endParaRPr lang="en-GB" b="0" dirty="0"/>
          </a:p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EAC2319-8E9D-6016-3F7A-E9F7AB5C1C1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81B6B5-2518-B244-B8AD-11E31BF235A9}" type="slidenum">
              <a:rPr kumimoji="0" lang="en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5</a:t>
            </a:fld>
            <a:endParaRPr kumimoji="0" lang="en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16262273"/>
      </p:ext>
    </p:extLst>
  </p:cSld>
  <p:clrMapOvr>
    <a:masterClrMapping/>
  </p:clrMapOvr>
</p:notes>
</file>

<file path=ppt/notesSlides/notesSlide8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b="1" dirty="0"/>
              <a:t>References</a:t>
            </a:r>
          </a:p>
          <a:p>
            <a:pPr marL="228600" indent="-228600">
              <a:buFont typeface="+mj-lt"/>
              <a:buAutoNum type="arabicPeriod"/>
            </a:pPr>
            <a:r>
              <a:rPr lang="en-GB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Qualls D, Armand P, Salles G. The current landscape of frontline large B-cell lymphoma trials. </a:t>
            </a:r>
            <a:r>
              <a:rPr lang="en-GB" sz="1200" b="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lood</a:t>
            </a:r>
            <a:r>
              <a:rPr lang="en-GB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2025;145:176-189. </a:t>
            </a:r>
          </a:p>
          <a:p>
            <a:pPr marL="228600" indent="-228600">
              <a:buFont typeface="+mj-lt"/>
              <a:buAutoNum type="arabicPeriod"/>
            </a:pPr>
            <a:r>
              <a:rPr lang="en-GB" b="0" dirty="0"/>
              <a:t>Brooks TR &amp; Caimi PF. A paradox of choice: Sequencing therapy in relapsed/refractory diffuse large B-cell lymphoma. </a:t>
            </a:r>
            <a:r>
              <a:rPr lang="en-GB" b="0" i="1" dirty="0"/>
              <a:t>Blood Rev</a:t>
            </a:r>
            <a:r>
              <a:rPr lang="en-GB" b="0" i="0" dirty="0"/>
              <a:t> </a:t>
            </a:r>
            <a:r>
              <a:rPr lang="en-GB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024 :63:101140.</a:t>
            </a:r>
            <a:endParaRPr lang="en-GB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81B6B5-2518-B244-B8AD-11E31BF235A9}" type="slidenum">
              <a:rPr kumimoji="0" lang="en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6</a:t>
            </a:fld>
            <a:endParaRPr kumimoji="0" lang="en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04904403"/>
      </p:ext>
    </p:extLst>
  </p:cSld>
  <p:clrMapOvr>
    <a:masterClrMapping/>
  </p:clrMapOvr>
</p:notes>
</file>

<file path=ppt/notesSlides/notesSlide8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eferences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Vitolo U, Nowakowski GS, Burke JM, et al. PB2113: FRONTMIND: A phase III, randomized, double-blind study of tafasitamab + lenalidomide + R-CHOP vs R-CHOP alone for newly diagnosed high-intermediate and high-risk diffuse large B-cell lymphoma. </a:t>
            </a:r>
            <a:r>
              <a:rPr kumimoji="0" lang="en-GB" sz="12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Hemasphere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2022;6(</a:t>
            </a:r>
            <a:r>
              <a:rPr kumimoji="0" lang="en-GB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uppl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):1984-1985.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Incyte press release 5 January 2026, Available from: https://incytecorp.gcs-web.com/news-releases/news-release-details/incyte-announces-positive-topline-results-pivotal-study-0.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81B6B5-2518-B244-B8AD-11E31BF235A9}" type="slidenum">
              <a:rPr kumimoji="0" lang="en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7</a:t>
            </a:fld>
            <a:endParaRPr kumimoji="0" lang="en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60741330"/>
      </p:ext>
    </p:extLst>
  </p:cSld>
  <p:clrMapOvr>
    <a:masterClrMapping/>
  </p:clrMapOvr>
</p:notes>
</file>

<file path=ppt/notesSlides/notesSlide8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Reference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Westin J, Jacobson C, Chavez JC, et al. ZUMA-23: A Global, Phase 3, Randomized Controlled Study of Axicabtagene Ciloleucel versus Standard of Care as First-line Therapy in Patients with High-risk Large B-cell Lymphoma.</a:t>
            </a:r>
            <a:r>
              <a:rPr kumimoji="0" lang="en-GB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 </a:t>
            </a:r>
            <a:r>
              <a:rPr kumimoji="0" lang="en-GB" sz="12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HemaSphere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 2023;7(S3):e3278692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81B6B5-2518-B244-B8AD-11E31BF235A9}" type="slidenum">
              <a:rPr kumimoji="0" lang="en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8</a:t>
            </a:fld>
            <a:endParaRPr kumimoji="0" lang="en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65772460"/>
      </p:ext>
    </p:extLst>
  </p:cSld>
  <p:clrMapOvr>
    <a:masterClrMapping/>
  </p:clrMapOvr>
</p:notes>
</file>

<file path=ppt/notesSlides/notesSlide8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6D1E074-7534-E6FC-70B6-35C2215AACF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C73BC0F-938F-D601-75A4-F30B2B16587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549DD5B-052E-3B3F-D941-332BD38B1A5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References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GB" sz="12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ClinicalTrials.gov. A Study to Evaluate Adverse Events and Change in Disease Activity of Subcutaneous (SC) Epcoritamab in Combination With Oral and Intravenous Anti-Neoplastic Agents in Adult Participants With Non-Hodgkin Lymphoma. </a:t>
            </a:r>
            <a:r>
              <a:rPr lang="en-GB" dirty="0"/>
              <a:t>Retrieved 30 April 2026 from https://clinicaltrials.gov/study/NCT05283720</a:t>
            </a:r>
            <a:r>
              <a:rPr lang="en-GB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GB" b="0" i="0" dirty="0">
                <a:solidFill>
                  <a:srgbClr val="212529"/>
                </a:solidFill>
                <a:effectLst/>
                <a:latin typeface="Inter"/>
              </a:rPr>
              <a:t>Kerr D, Lavie D, Abraham A, et al. Durable efficacy with fixed-duration epcoritamab + polatuzumab vedotin, rituximab, cyclophosphamide, doxorubicin, and prednisone (POLA-R-CHP) for 1L diffuse large B-cell lymphoma (EPCORE NHL-5). Oral presentation #S247 presented at European Haematology Association (EHA) June 12–15, 2025, Milan, Italy.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3CB2C13-5137-A5C9-26A4-D3538E40252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81B6B5-2518-B244-B8AD-11E31BF235A9}" type="slidenum">
              <a:rPr kumimoji="0" lang="en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9</a:t>
            </a:fld>
            <a:endParaRPr kumimoji="0" lang="en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0648671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b="1"/>
              <a:t>References</a:t>
            </a:r>
          </a:p>
          <a:p>
            <a:pPr marL="228600" indent="-228600" algn="l">
              <a:buFont typeface="+mj-lt"/>
              <a:buAutoNum type="arabicPeriod"/>
            </a:pPr>
            <a:r>
              <a:rPr lang="en-GB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 MCJ, Tadros S, Bouska A, et al. Subtype-specific and co-occurring genetic alterations in B-cell non-Hodgkin lymphoma. </a:t>
            </a:r>
            <a:r>
              <a:rPr lang="en-GB" sz="1200" b="0" i="1" kern="120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Haematologica</a:t>
            </a:r>
            <a:r>
              <a:rPr lang="en-GB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2022;107(3):690-701.</a:t>
            </a:r>
          </a:p>
          <a:p>
            <a:pPr marL="228600" indent="-228600" algn="l">
              <a:buFont typeface="+mj-lt"/>
              <a:buAutoNum type="arabicPeriod"/>
            </a:pPr>
            <a:r>
              <a:rPr lang="en-GB" err="1">
                <a:latin typeface="+mn-lt"/>
              </a:rPr>
              <a:t>Leukemia</a:t>
            </a:r>
            <a:r>
              <a:rPr lang="en-GB">
                <a:latin typeface="+mn-lt"/>
              </a:rPr>
              <a:t> and Lymphoma Society 2024: Non-Hodgkin Lymphoma. </a:t>
            </a:r>
            <a:r>
              <a:rPr lang="en-GB" altLang="it-IT" sz="1200">
                <a:latin typeface="Arial" panose="020B0604020202020204" pitchFamily="34" charset="0"/>
              </a:rPr>
              <a:t>Accessed 31 March 2026 from: </a:t>
            </a:r>
            <a:r>
              <a:rPr lang="en-GB"/>
              <a:t>https://llsorg.widen.net/view/pdf/prckaq84ot/en-non-hodgkin-lymphoma-booklet-ps58</a:t>
            </a:r>
            <a:r>
              <a:rPr lang="en-GB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GB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ehn LH, Salles G. Diffuse Large B-Cell Lymphoma. </a:t>
            </a:r>
            <a:r>
              <a:rPr lang="en-GB" sz="1200" b="0" i="1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 Engl J Med. </a:t>
            </a:r>
            <a:r>
              <a:rPr lang="en-GB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021 Mar 4;384:842–858.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GB" sz="1200" err="1">
                <a:solidFill>
                  <a:prstClr val="black"/>
                </a:solidFill>
                <a:latin typeface="Aptos" panose="020B0004020202020204" pitchFamily="34" charset="0"/>
              </a:rPr>
              <a:t>Coiffier</a:t>
            </a:r>
            <a:r>
              <a:rPr lang="en-GB" sz="1200">
                <a:solidFill>
                  <a:prstClr val="black"/>
                </a:solidFill>
                <a:latin typeface="Aptos" panose="020B0004020202020204" pitchFamily="34" charset="0"/>
              </a:rPr>
              <a:t> B, Lepage E, </a:t>
            </a:r>
            <a:r>
              <a:rPr lang="en-GB" sz="1200" err="1">
                <a:solidFill>
                  <a:prstClr val="black"/>
                </a:solidFill>
                <a:latin typeface="Aptos" panose="020B0004020202020204" pitchFamily="34" charset="0"/>
              </a:rPr>
              <a:t>Brière</a:t>
            </a:r>
            <a:r>
              <a:rPr lang="en-GB" sz="1200">
                <a:solidFill>
                  <a:prstClr val="black"/>
                </a:solidFill>
                <a:latin typeface="Aptos" panose="020B0004020202020204" pitchFamily="34" charset="0"/>
              </a:rPr>
              <a:t> J, et al. CHOP Chemotherapy plus Rituximab Compared with CHOP Alone in Elderly Patients with Diffuse Large-B-Cell Lymphoma. New Engl J Med 2002;346:235-242.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lang="en-GB" sz="1200" b="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81B6B5-2518-B244-B8AD-11E31BF235A9}" type="slidenum">
              <a:rPr kumimoji="0" lang="en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47031641"/>
      </p:ext>
    </p:extLst>
  </p:cSld>
  <p:clrMapOvr>
    <a:masterClrMapping/>
  </p:clrMapOvr>
</p:notes>
</file>

<file path=ppt/notesSlides/notesSlide9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18F81F8-F879-7E45-F851-C9EEA60B89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955B65D-F886-5556-69A0-21053B129BF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4168663-B60B-8B77-B5E3-B3352EAD649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Reference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  <a:p>
            <a:pPr marL="228600" marR="0" lvl="0" indent="-228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linicalTrials.gov. A Study to Evaluate Change in Disease Activity of Subcutaneous (SC) Epcoritamab Combined With Intravenous and Oral Rituximab, Cyclophosphamide, Doxorubicin Hydrochloride, Vincristine, and Prednisone (R-CHOP) or R-CHOP in Adult Participants With Newly Diagnosed Diffuse Large B-Cell Lymphoma (DLBCL) (EPCORE DLBCL-2). </a:t>
            </a:r>
            <a:r>
              <a:rPr lang="en-GB" dirty="0"/>
              <a:t>Retrieved 30 April 2026 from https://clinicaltrials.gov/study/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CT05578976</a:t>
            </a:r>
            <a:r>
              <a:rPr lang="en-GB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A9EF7E2-5A09-F372-A464-545FA787E97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81B6B5-2518-B244-B8AD-11E31BF235A9}" type="slidenum">
              <a:rPr kumimoji="0" lang="en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0</a:t>
            </a:fld>
            <a:endParaRPr kumimoji="0" lang="en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37671393"/>
      </p:ext>
    </p:extLst>
  </p:cSld>
  <p:clrMapOvr>
    <a:masterClrMapping/>
  </p:clrMapOvr>
</p:notes>
</file>

<file path=ppt/notesSlides/notesSlide9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b="1" dirty="0"/>
              <a:t>Reference</a:t>
            </a:r>
          </a:p>
          <a:p>
            <a:pPr marL="457200" marR="0" lvl="0" indent="-4572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Advani R, Dickinson M, Fox CP, et al. A global phase III, randomized study evaluating glofitamab plus polatuzumab vedotin + rituximab, cyclophosphamide, doxorubicin, and prednisone (Pola-R-CHP) versus Pola-R-CHP in previously untreated patients with large B-cell lymphoma. Poster #1718.1 presented at the American Society of </a:t>
            </a:r>
            <a:r>
              <a:rPr kumimoji="0" lang="en-GB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Hematology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 (ASH) Annual Meeting. 7–10 December 2024, San Diego, USA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81B6B5-2518-B244-B8AD-11E31BF235A9}" type="slidenum">
              <a:rPr kumimoji="0" lang="en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1</a:t>
            </a:fld>
            <a:endParaRPr kumimoji="0" lang="en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91355656"/>
      </p:ext>
    </p:extLst>
  </p:cSld>
  <p:clrMapOvr>
    <a:masterClrMapping/>
  </p:clrMapOvr>
</p:notes>
</file>

<file path=ppt/notesSlides/notesSlide9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81B6B5-2518-B244-B8AD-11E31BF235A9}" type="slidenum">
              <a:rPr kumimoji="0" lang="en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2</a:t>
            </a:fld>
            <a:endParaRPr kumimoji="0" lang="en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85754671"/>
      </p:ext>
    </p:extLst>
  </p:cSld>
  <p:clrMapOvr>
    <a:masterClrMapping/>
  </p:clrMapOvr>
</p:notes>
</file>

<file path=ppt/notesSlides/notesSlide9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439174C-8605-ACE2-8958-6FEF19622EE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04C81FA-7A4C-871A-EDD4-DE4AC25D771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23B42C0-811D-C9F0-6159-B912CBF2B23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Reference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Avivi I, Kim WS, Ko P-S, et al.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Calibri" panose="020F0502020204030204" pitchFamily="34" charset="0"/>
              </a:rPr>
              <a:t>Subcutaneous Epcoritamab Plus Lenalidomide in Patients with Relapsed/Refractory Diffuse Large B-Cell Lymphoma from EPCORE NHL-5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. Oral presentation #438 presented at the American Society of </a:t>
            </a:r>
            <a:r>
              <a:rPr kumimoji="0" lang="en-GB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Hematology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 (ASH) Meeting. 9th – 12th December 2023, San Diego, USA.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GB" sz="12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ClinicalTrials.gov. A Study to Evaluate Adverse Events and Change in Disease Activity of Subcutaneous (SC) Epcoritamab in Combination With Oral and Intravenous Anti-Neoplastic Agents in Adult Participants With Non-Hodgkin Lymphoma. </a:t>
            </a:r>
            <a:r>
              <a:rPr lang="en-GB" dirty="0"/>
              <a:t>Retrieved 5 May 2026 from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 https://clinicaltrials.gov/study/NCT05283720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231ED07-D85B-8A66-E30B-CE1B32515FA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81B6B5-2518-B244-B8AD-11E31BF235A9}" type="slidenum">
              <a:rPr kumimoji="0" lang="en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3</a:t>
            </a:fld>
            <a:endParaRPr kumimoji="0" lang="en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56953881"/>
      </p:ext>
    </p:extLst>
  </p:cSld>
  <p:clrMapOvr>
    <a:masterClrMapping/>
  </p:clrMapOvr>
</p:notes>
</file>

<file path=ppt/notesSlides/notesSlide9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4D9C923-ADCA-0F53-9012-89822B014F8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D66E2BC-3C0C-036E-C305-FA8D0F2C18F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858CF49-C3B4-1139-A87A-97FE5B51E07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b="1" dirty="0"/>
              <a:t>Reference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GB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udde LE, Zhang H, Kim WS, et al. </a:t>
            </a:r>
            <a:r>
              <a:rPr lang="en-GB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osunetuzumab</a:t>
            </a:r>
            <a:r>
              <a:rPr lang="en-GB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Plus Polatuzumab Vedotin in Transplant-Ineligible Refractory/Relapsed Large B-Cell Lymphoma: Primary Results of the Phase III SUNMO Trial. </a:t>
            </a:r>
            <a:r>
              <a:rPr lang="en-GB" sz="1200" b="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J Clin Oncol </a:t>
            </a:r>
            <a:r>
              <a:rPr lang="en-GB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025;43:3799-3811.</a:t>
            </a:r>
            <a:endParaRPr lang="en-GB" sz="1200" b="0" i="0" dirty="0">
              <a:solidFill>
                <a:srgbClr val="212529"/>
              </a:solidFill>
              <a:effectLst/>
              <a:latin typeface="Inter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81DB305-2969-8D67-7843-DB4B0359229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A09EEA-C7B6-4E4B-8832-0CCD966A7E8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91694550"/>
      </p:ext>
    </p:extLst>
  </p:cSld>
  <p:clrMapOvr>
    <a:masterClrMapping/>
  </p:clrMapOvr>
</p:notes>
</file>

<file path=ppt/notesSlides/notesSlide9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4" name="Google Shape;304;p3:notes"/>
          <p:cNvSpPr txBox="1">
            <a:spLocks noGrp="1"/>
          </p:cNvSpPr>
          <p:nvPr>
            <p:ph type="body" idx="1"/>
          </p:nvPr>
        </p:nvSpPr>
        <p:spPr>
          <a:xfrm>
            <a:off x="673788" y="5186082"/>
            <a:ext cx="5390305" cy="4243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GB" b="1" dirty="0"/>
              <a:t>Reference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400"/>
              <a:buFontTx/>
              <a:buAutoNum type="arabicPeriod"/>
              <a:tabLst/>
              <a:defRPr/>
            </a:pPr>
            <a:r>
              <a:rPr lang="en-GB" b="0" dirty="0"/>
              <a:t>Hutchings M, Dickinson MJ, Gritti G, et al. </a:t>
            </a:r>
            <a:r>
              <a:rPr lang="en-GB" b="0" dirty="0" err="1"/>
              <a:t>Englumafusp</a:t>
            </a:r>
            <a:r>
              <a:rPr lang="en-GB" b="0" dirty="0"/>
              <a:t> alfa (CD19-4-1BBL) combined with glofitamab is safe and efficacious in patients with R/R B-NHL: Extended follow up analysis of the dose-escalation part of phase 1 trial BP41072. Oral presentation #990 presented at the American Society of </a:t>
            </a:r>
            <a:r>
              <a:rPr lang="en-GB" b="0" dirty="0" err="1"/>
              <a:t>Hematology</a:t>
            </a:r>
            <a:r>
              <a:rPr lang="en-GB" b="0" dirty="0"/>
              <a:t> (ASH) Annual Meeting. 7–10 December 2024, San Diego, USA. </a:t>
            </a:r>
          </a:p>
        </p:txBody>
      </p:sp>
      <p:sp>
        <p:nvSpPr>
          <p:cNvPr id="305" name="Google Shape;305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138113" y="1347788"/>
            <a:ext cx="6462712" cy="363696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74151513"/>
      </p:ext>
    </p:extLst>
  </p:cSld>
  <p:clrMapOvr>
    <a:masterClrMapping/>
  </p:clrMapOvr>
</p:notes>
</file>

<file path=ppt/notesSlides/notesSlide9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b="1" dirty="0"/>
              <a:t>References</a:t>
            </a:r>
          </a:p>
          <a:p>
            <a:pPr marL="228600" indent="-228600">
              <a:buFont typeface="+mj-lt"/>
              <a:buAutoNum type="arabicPeriod"/>
            </a:pPr>
            <a:r>
              <a:rPr lang="en-GB" b="0" dirty="0"/>
              <a:t>Hutchings M, Sureda A, Bosch F, et al. Efficacy and Safety of Glofitamab Plus Polatuzumab Vedotin in Relapsed/Refractory Large B-Cell Lymphoma Including High-Grade B-Cell Lymphoma: Results From a Phase </a:t>
            </a:r>
            <a:r>
              <a:rPr lang="en-GB" b="0" dirty="0" err="1"/>
              <a:t>Ib</a:t>
            </a:r>
            <a:r>
              <a:rPr lang="en-GB" b="0" dirty="0"/>
              <a:t>/II Trial. </a:t>
            </a:r>
            <a:r>
              <a:rPr lang="en-GB" b="0" i="1" dirty="0"/>
              <a:t>J Clin Oncol</a:t>
            </a:r>
            <a:r>
              <a:rPr lang="en-GB" b="0" i="0" dirty="0"/>
              <a:t> 2025;43:3788-98.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GB" sz="12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ClinicalTrials.gov. An Open-Label Phase </a:t>
            </a:r>
            <a:r>
              <a:rPr lang="en-GB" sz="1200" kern="1200" dirty="0" err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lB</a:t>
            </a:r>
            <a:r>
              <a:rPr lang="en-GB" sz="12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/​II Study of Glofitamab and Atezolizumab or Polatuzumab Vedotin in Adult Patients With Relapsed/​Refractory B-Cell Non-Hodgkin's Lymphoma. </a:t>
            </a:r>
            <a:r>
              <a:rPr lang="en-GB" dirty="0"/>
              <a:t>Retrieved 5 May 2026 from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 https://clinicaltrials.gov/study/</a:t>
            </a:r>
            <a:r>
              <a:rPr lang="en-GB" dirty="0">
                <a:highlight>
                  <a:srgbClr val="FFFF00"/>
                </a:highlight>
              </a:rPr>
              <a:t>NCT03533283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7A3DAA-0021-413A-90FE-8661E283DD55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6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9562647"/>
      </p:ext>
    </p:extLst>
  </p:cSld>
  <p:clrMapOvr>
    <a:masterClrMapping/>
  </p:clrMapOvr>
</p:notes>
</file>

<file path=ppt/notesSlides/notesSlide9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90288E1-4A61-70E5-7B48-9AB5EE1DA8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22C4BC7-7919-85B5-EEC3-04439C3CC56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49D3C36-A041-3345-16DB-160D8BE9BD5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1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Reference</a:t>
            </a:r>
            <a:endParaRPr lang="en-GB" sz="1200" kern="12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  <a:p>
            <a:pPr marL="228600" indent="-228600">
              <a:lnSpc>
                <a:spcPct val="100000"/>
              </a:lnSpc>
              <a:spcBef>
                <a:spcPts val="0"/>
              </a:spcBef>
              <a:buFont typeface="+mj-lt"/>
              <a:buAutoNum type="arabicPeriod"/>
            </a:pPr>
            <a:r>
              <a:rPr lang="en-GB" sz="12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ClinicalTrials.gov. Study to Evaluate Loncastuximab Tesirine With Rituximab Versus Immunochemotherapy in Participants With Relapsed or Refractory Diffuse Large B-Cell Lymphoma (LOTIS 5). </a:t>
            </a:r>
            <a:r>
              <a:rPr lang="en-GB" dirty="0"/>
              <a:t>Retrieved 28 April 2026 from https://clinicaltrials.gov/study/NCT04384484</a:t>
            </a:r>
            <a:r>
              <a:rPr lang="en-GB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DC Therapeutics press release 3 </a:t>
            </a:r>
            <a:r>
              <a:rPr kumimoji="0" lang="en-CH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J</a:t>
            </a:r>
            <a:r>
              <a:rPr kumimoji="0" lang="en-GB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une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2026, </a:t>
            </a:r>
            <a:r>
              <a:rPr kumimoji="0" lang="en-CH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retrieved 4 June 2026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from: https://ir.adctherapeutics.com/2026-06-03-ADC-Therapeutics-Announces-Results-From-LOTIS-5-Phase-3-Confirmatory-Clinical-Trial-of-ZYNLONTA-R-in-Combination-with-Rituximab-in-Relapsed-or-Refractory-Diffuse-Large-B-Cell-Lymphoma. </a:t>
            </a:r>
          </a:p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AB7764-2A27-DFD3-458A-5B0C3CB6076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81B6B5-2518-B244-B8AD-11E31BF235A9}" type="slidenum">
              <a:rPr kumimoji="0" lang="en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7</a:t>
            </a:fld>
            <a:endParaRPr kumimoji="0" lang="en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58239718"/>
      </p:ext>
    </p:extLst>
  </p:cSld>
  <p:clrMapOvr>
    <a:masterClrMapping/>
  </p:clrMapOvr>
</p:notes>
</file>

<file path=ppt/notesSlides/notesSlide9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E45E041-E3CC-1BBE-B103-0B2ECD8769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8439360-5A6B-EA87-8440-C2490321657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D515DF5-1630-EE8F-2E90-03C091907E2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b="1" dirty="0"/>
              <a:t>Reference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GB" sz="800" b="0" i="0" dirty="0" err="1">
                <a:solidFill>
                  <a:srgbClr val="212529"/>
                </a:solidFill>
                <a:effectLst/>
                <a:latin typeface="Inter"/>
              </a:rPr>
              <a:t>Alderuccio</a:t>
            </a:r>
            <a:r>
              <a:rPr lang="en-GB" sz="800" b="0" i="0" dirty="0">
                <a:solidFill>
                  <a:srgbClr val="212529"/>
                </a:solidFill>
                <a:effectLst/>
                <a:latin typeface="Inter"/>
              </a:rPr>
              <a:t> JP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, et al. </a:t>
            </a:r>
            <a:r>
              <a:rPr lang="en-GB" sz="1200" b="0" i="0" u="none" strike="noStrike" baseline="0" dirty="0">
                <a:solidFill>
                  <a:srgbClr val="000000"/>
                </a:solidFill>
                <a:latin typeface="Oswald" panose="00000500000000000000" pitchFamily="2" charset="0"/>
              </a:rPr>
              <a:t>Initial Results From LOTIS-7: A Phase 1b Study of Loncastuximab Tesirine Plus Glofitamab in Patients With Relapsed/Refractory (R/R) Diffuse Large B-Cell Lymphoma (DLBCL)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. </a:t>
            </a:r>
            <a:r>
              <a:rPr lang="en-GB" sz="800" b="0" i="0" dirty="0">
                <a:solidFill>
                  <a:srgbClr val="212529"/>
                </a:solidFill>
                <a:effectLst/>
                <a:latin typeface="Inter"/>
              </a:rPr>
              <a:t>Oral presentation #078 presented at International Conference on Malignant Lymphoma (ICML), June 17–21, 2025, Lugano, Switzerland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AA2438-A075-B01A-47DD-064A4C45698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A09EEA-C7B6-4E4B-8832-0CCD966A7E8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3922769"/>
      </p:ext>
    </p:extLst>
  </p:cSld>
  <p:clrMapOvr>
    <a:masterClrMapping/>
  </p:clrMapOvr>
</p:notes>
</file>

<file path=ppt/notesSlides/notesSlide9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b="1" dirty="0"/>
              <a:t>References</a:t>
            </a:r>
          </a:p>
          <a:p>
            <a:pPr marL="228600" indent="-228600">
              <a:lnSpc>
                <a:spcPct val="100000"/>
              </a:lnSpc>
              <a:spcBef>
                <a:spcPts val="0"/>
              </a:spcBef>
              <a:buFont typeface="+mj-lt"/>
              <a:buAutoNum type="arabicPeriod"/>
            </a:pPr>
            <a:r>
              <a:rPr lang="en-GB" sz="12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ClinicalTrials.gov. Combining Loncastuximab Tesirine and Epcoritamab in Relapsed/​Refractory Diffuse Large B-cell Lymphoma (DLBCL) (CLEAR). </a:t>
            </a:r>
            <a:r>
              <a:rPr lang="en-GB" dirty="0"/>
              <a:t>Retrieved 28 April 2026 from https://clinicaltrials.gov/study/NCT07197307</a:t>
            </a:r>
            <a:r>
              <a:rPr lang="en-GB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</a:t>
            </a:r>
          </a:p>
          <a:p>
            <a:pPr marL="228600" indent="-228600">
              <a:lnSpc>
                <a:spcPct val="100000"/>
              </a:lnSpc>
              <a:spcBef>
                <a:spcPts val="0"/>
              </a:spcBef>
              <a:buFont typeface="+mj-lt"/>
              <a:buAutoNum type="arabicPeriod"/>
            </a:pPr>
            <a:r>
              <a:rPr lang="en-GB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linicalTrialsRegister.eu. Combining Loncastuximab Tesirine and Epcoritamab in Relapsed/Refractory Diffuse Large B-cell Lymphoma (DLBCL). Retrieved 28 April 2026 from https://euclinicaltrials.eu/ctis-public/view/2023-509861-19-01.</a:t>
            </a:r>
          </a:p>
          <a:p>
            <a:pPr marL="228600" indent="-228600">
              <a:lnSpc>
                <a:spcPct val="100000"/>
              </a:lnSpc>
              <a:spcBef>
                <a:spcPts val="0"/>
              </a:spcBef>
              <a:buFont typeface="+mj-lt"/>
              <a:buAutoNum type="arabicPeriod"/>
            </a:pPr>
            <a:r>
              <a:rPr lang="en-GB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erman Lymphoma Alliance, CLEAR study synopsis. Retrieved 28 April 2026 from https://www.german-lymphoma-alliance.de/media/public/9587BED8-6D62-2F2D-7D44-B3A260D796D9/clear_synopse.pdf?ts=1758286677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896D376-7449-44B0-AE38-1597BD7C0C71}" type="slidenum">
              <a:rPr kumimoji="0" lang="en-GB" sz="12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9</a:t>
            </a:fld>
            <a:endParaRPr kumimoji="0" lang="en-GB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371640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sv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.sv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Relationship Id="rId6" Type="http://schemas.microsoft.com/office/2007/relationships/hdphoto" Target="../media/hdphoto2.wdp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.svg"/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svg"/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Relationship Id="rId6" Type="http://schemas.microsoft.com/office/2007/relationships/hdphoto" Target="../media/hdphoto4.wdp"/><Relationship Id="rId5" Type="http://schemas.openxmlformats.org/officeDocument/2006/relationships/image" Target="../media/image8.png"/><Relationship Id="rId4" Type="http://schemas.openxmlformats.org/officeDocument/2006/relationships/image" Target="../media/image4.sv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.svg"/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3.svg"/></Relationships>
</file>

<file path=ppt/slideLayouts/_rels/slideLayout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microsoft.com/office/2007/relationships/hdphoto" Target="../media/hdphoto2.wdp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sv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.sv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6" Type="http://schemas.microsoft.com/office/2007/relationships/hdphoto" Target="../media/hdphoto2.wdp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Image Placeholder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obi gradient">
            <a:extLst>
              <a:ext uri="{FF2B5EF4-FFF2-40B4-BE49-F238E27FC236}">
                <a16:creationId xmlns:a16="http://schemas.microsoft.com/office/drawing/2014/main" id="{47DEB543-5016-DD7B-A11F-E22F9B470D7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0" y="0"/>
            <a:ext cx="849600" cy="6858000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2"/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Placeholder for image">
            <a:extLst>
              <a:ext uri="{FF2B5EF4-FFF2-40B4-BE49-F238E27FC236}">
                <a16:creationId xmlns:a16="http://schemas.microsoft.com/office/drawing/2014/main" id="{53749A73-3447-8320-6B1E-C114373EE85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49313" y="0"/>
            <a:ext cx="11342687" cy="6858000"/>
          </a:xfrm>
          <a:solidFill>
            <a:schemeClr val="bg1"/>
          </a:solidFill>
        </p:spPr>
        <p:txBody>
          <a:bodyPr/>
          <a:lstStyle/>
          <a:p>
            <a:r>
              <a:rPr lang="en-GB"/>
              <a:t>Click icon to add picture</a:t>
            </a:r>
            <a:endParaRPr lang="en-GB" dirty="0"/>
          </a:p>
        </p:txBody>
      </p:sp>
      <p:sp>
        <p:nvSpPr>
          <p:cNvPr id="5" name="White gradient image">
            <a:extLst>
              <a:ext uri="{FF2B5EF4-FFF2-40B4-BE49-F238E27FC236}">
                <a16:creationId xmlns:a16="http://schemas.microsoft.com/office/drawing/2014/main" id="{071FDC69-6B87-BC96-6F31-2ED3CEFF241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49599" y="0"/>
            <a:ext cx="5234401" cy="6857999"/>
          </a:xfrm>
          <a:gradFill>
            <a:gsLst>
              <a:gs pos="0">
                <a:schemeClr val="bg1"/>
              </a:gs>
              <a:gs pos="65000">
                <a:schemeClr val="bg1">
                  <a:alpha val="81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</a:gradFill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9" name="Logo">
            <a:extLst>
              <a:ext uri="{FF2B5EF4-FFF2-40B4-BE49-F238E27FC236}">
                <a16:creationId xmlns:a16="http://schemas.microsoft.com/office/drawing/2014/main" id="{24156680-B417-E4AB-EF09-F473E2506A0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752945" y="386029"/>
            <a:ext cx="1130400" cy="363600"/>
          </a:xfrm>
          <a:blipFill>
            <a:blip>
              <a:extLst>
                <a:ext uri="{96DAC541-7B7A-43D3-8B79-37D633B846F1}">
                  <asvg:svgBlip xmlns:asvg="http://schemas.microsoft.com/office/drawing/2016/SVG/main" r:embed="rId2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3A1475A2-DE35-2B77-9CD6-DC97ED54AB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9" y="1341540"/>
            <a:ext cx="4277838" cy="2267648"/>
          </a:xfrm>
        </p:spPr>
        <p:txBody>
          <a:bodyPr anchor="b">
            <a:noAutofit/>
          </a:bodyPr>
          <a:lstStyle>
            <a:lvl1pPr>
              <a:defRPr sz="4800"/>
            </a:lvl1pPr>
          </a:lstStyle>
          <a:p>
            <a:r>
              <a:rPr lang="en-GB"/>
              <a:t>Click to add title</a:t>
            </a:r>
            <a:endParaRPr lang="en-GB" dirty="0"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D76757F7-B912-9B68-1FD5-DE57FAAACB7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487488" y="3934365"/>
            <a:ext cx="4277838" cy="936000"/>
          </a:xfrm>
        </p:spPr>
        <p:txBody>
          <a:bodyPr lIns="90000" tIns="46800" rIns="90000" bIns="46800">
            <a:noAutofit/>
          </a:bodyPr>
          <a:lstStyle>
            <a:lvl1pPr>
              <a:defRPr sz="2200"/>
            </a:lvl1pPr>
          </a:lstStyle>
          <a:p>
            <a:pPr lvl="0"/>
            <a:r>
              <a:rPr lang="en-GB"/>
              <a:t>Click to add subtitle</a:t>
            </a:r>
            <a:endParaRPr lang="en-GB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F830D7C3-4ADF-6AB4-8000-0823C6E1DA8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487488" y="5192638"/>
            <a:ext cx="4277838" cy="936000"/>
          </a:xfrm>
        </p:spPr>
        <p:txBody>
          <a:bodyPr lIns="90000" tIns="46800" rIns="90000" bIns="46800">
            <a:noAutofit/>
          </a:bodyPr>
          <a:lstStyle>
            <a:lvl1pPr>
              <a:defRPr sz="1600"/>
            </a:lvl1pPr>
          </a:lstStyle>
          <a:p>
            <a:pPr lvl="0"/>
            <a:r>
              <a:rPr lang="en-GB"/>
              <a:t>Click to add text</a:t>
            </a:r>
            <a:endParaRPr lang="en-GB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040AE44-DFAF-91DE-A68A-792A684E4B94}"/>
              </a:ext>
            </a:extLst>
          </p:cNvPr>
          <p:cNvSpPr txBox="1"/>
          <p:nvPr userDrawn="1"/>
        </p:nvSpPr>
        <p:spPr>
          <a:xfrm rot="5400000">
            <a:off x="11494855" y="4565505"/>
            <a:ext cx="1155700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900" dirty="0">
                <a:solidFill>
                  <a:schemeClr val="bg2"/>
                </a:solidFill>
              </a:rPr>
              <a:t>NP-48374</a:t>
            </a:r>
            <a:endParaRPr lang="en-GB" sz="900" dirty="0">
              <a:solidFill>
                <a:schemeClr val="bg2"/>
              </a:solidFill>
              <a:effectLst/>
              <a:latin typeface="+mn-lt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211343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Image Placeholder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obi gradient">
            <a:extLst>
              <a:ext uri="{FF2B5EF4-FFF2-40B4-BE49-F238E27FC236}">
                <a16:creationId xmlns:a16="http://schemas.microsoft.com/office/drawing/2014/main" id="{47DEB543-5016-DD7B-A11F-E22F9B470D7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0" y="0"/>
            <a:ext cx="849600" cy="6858000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2"/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Placeholder for image">
            <a:extLst>
              <a:ext uri="{FF2B5EF4-FFF2-40B4-BE49-F238E27FC236}">
                <a16:creationId xmlns:a16="http://schemas.microsoft.com/office/drawing/2014/main" id="{53749A73-3447-8320-6B1E-C114373EE85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49313" y="0"/>
            <a:ext cx="11342687" cy="6858000"/>
          </a:xfrm>
          <a:solidFill>
            <a:schemeClr val="bg1"/>
          </a:solidFill>
        </p:spPr>
        <p:txBody>
          <a:bodyPr/>
          <a:lstStyle/>
          <a:p>
            <a:r>
              <a:rPr lang="en-GB" dirty="0"/>
              <a:t>Click icon to add picture</a:t>
            </a:r>
          </a:p>
        </p:txBody>
      </p:sp>
      <p:sp>
        <p:nvSpPr>
          <p:cNvPr id="5" name="White gradient image">
            <a:extLst>
              <a:ext uri="{FF2B5EF4-FFF2-40B4-BE49-F238E27FC236}">
                <a16:creationId xmlns:a16="http://schemas.microsoft.com/office/drawing/2014/main" id="{071FDC69-6B87-BC96-6F31-2ED3CEFF241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49599" y="0"/>
            <a:ext cx="5234401" cy="6857999"/>
          </a:xfrm>
          <a:gradFill>
            <a:gsLst>
              <a:gs pos="0">
                <a:schemeClr val="bg1"/>
              </a:gs>
              <a:gs pos="65000">
                <a:schemeClr val="bg1">
                  <a:alpha val="81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</a:gradFill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9" name="Logo">
            <a:extLst>
              <a:ext uri="{FF2B5EF4-FFF2-40B4-BE49-F238E27FC236}">
                <a16:creationId xmlns:a16="http://schemas.microsoft.com/office/drawing/2014/main" id="{24156680-B417-E4AB-EF09-F473E2506A0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752945" y="386029"/>
            <a:ext cx="1130400" cy="363600"/>
          </a:xfrm>
          <a:blipFill>
            <a:blip>
              <a:extLst>
                <a:ext uri="{96DAC541-7B7A-43D3-8B79-37D633B846F1}">
                  <asvg:svgBlip xmlns:asvg="http://schemas.microsoft.com/office/drawing/2016/SVG/main" r:embed="rId2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3A1475A2-DE35-2B77-9CD6-DC97ED54AB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9" y="1341540"/>
            <a:ext cx="4277838" cy="2267648"/>
          </a:xfrm>
        </p:spPr>
        <p:txBody>
          <a:bodyPr anchor="b">
            <a:noAutofit/>
          </a:bodyPr>
          <a:lstStyle>
            <a:lvl1pPr>
              <a:defRPr sz="4800"/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D76757F7-B912-9B68-1FD5-DE57FAAACB7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487488" y="3934365"/>
            <a:ext cx="4277838" cy="936000"/>
          </a:xfrm>
        </p:spPr>
        <p:txBody>
          <a:bodyPr lIns="90000" tIns="46800" rIns="90000" bIns="46800">
            <a:noAutofit/>
          </a:bodyPr>
          <a:lstStyle>
            <a:lvl1pPr>
              <a:defRPr sz="2200"/>
            </a:lvl1pPr>
          </a:lstStyle>
          <a:p>
            <a:pPr lvl="0"/>
            <a:r>
              <a:rPr lang="en-GB" dirty="0"/>
              <a:t>Click to add subtitle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F830D7C3-4ADF-6AB4-8000-0823C6E1DA8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487488" y="5192638"/>
            <a:ext cx="4277838" cy="936000"/>
          </a:xfrm>
        </p:spPr>
        <p:txBody>
          <a:bodyPr lIns="90000" tIns="46800" rIns="90000" bIns="46800">
            <a:noAutofit/>
          </a:bodyPr>
          <a:lstStyle>
            <a:lvl1pPr>
              <a:defRPr sz="1600"/>
            </a:lvl1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" name="Text Placeholder 31">
            <a:extLst>
              <a:ext uri="{FF2B5EF4-FFF2-40B4-BE49-F238E27FC236}">
                <a16:creationId xmlns:a16="http://schemas.microsoft.com/office/drawing/2014/main" id="{87ECDA78-6418-DA08-7661-C7A16A8FC6EF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487489" y="77843"/>
            <a:ext cx="3592800" cy="2808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" name="Slide Number Placeholder 8">
            <a:extLst>
              <a:ext uri="{FF2B5EF4-FFF2-40B4-BE49-F238E27FC236}">
                <a16:creationId xmlns:a16="http://schemas.microsoft.com/office/drawing/2014/main" id="{4DA554A4-414E-497B-00FE-34E29C8A57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651" y="6356350"/>
            <a:ext cx="383694" cy="365125"/>
          </a:xfrm>
        </p:spPr>
        <p:txBody>
          <a:bodyPr anchor="b"/>
          <a:lstStyle/>
          <a:p>
            <a:fld id="{6101CC8E-1CEF-6746-999E-CF29FF00B1DC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12D59CB-0E79-06DB-F31F-758E43FF4282}"/>
              </a:ext>
            </a:extLst>
          </p:cNvPr>
          <p:cNvSpPr txBox="1"/>
          <p:nvPr userDrawn="1"/>
        </p:nvSpPr>
        <p:spPr>
          <a:xfrm rot="5400000">
            <a:off x="11494855" y="4565505"/>
            <a:ext cx="1155700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900" dirty="0">
                <a:solidFill>
                  <a:schemeClr val="bg2"/>
                </a:solidFill>
              </a:rPr>
              <a:t>NP-48375</a:t>
            </a:r>
            <a:endParaRPr lang="en-GB" sz="900" dirty="0">
              <a:solidFill>
                <a:schemeClr val="bg2"/>
              </a:solidFill>
              <a:effectLst/>
              <a:latin typeface="+mn-lt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6297041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88A1D3-F5E5-4026-8B64-99C74FD23D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1E97C8-C0A6-49B4-9330-1E4AA15FE5E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0645" y="1825625"/>
            <a:ext cx="10440000" cy="4320000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FB2C63E-24AC-465F-B017-ED8CA8C9475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534650" y="6588240"/>
            <a:ext cx="816286" cy="144000"/>
          </a:xfrm>
        </p:spPr>
        <p:txBody>
          <a:bodyPr/>
          <a:lstStyle>
            <a:lvl1pPr>
              <a:defRPr sz="900"/>
            </a:lvl1pPr>
          </a:lstStyle>
          <a:p>
            <a:endParaRPr lang="en-GB" dirty="0"/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15B9FB7D-6A53-4798-8C0A-02413ED2BFF7}"/>
              </a:ext>
            </a:extLst>
          </p:cNvPr>
          <p:cNvSpPr/>
          <p:nvPr userDrawn="1"/>
        </p:nvSpPr>
        <p:spPr>
          <a:xfrm>
            <a:off x="0" y="6786000"/>
            <a:ext cx="12192000" cy="72000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100000">
                <a:schemeClr val="accent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216A4651-9B6D-4687-A1FD-F29667A1B5B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0646" y="6521100"/>
            <a:ext cx="10440000" cy="198850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900"/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References</a:t>
            </a:r>
          </a:p>
        </p:txBody>
      </p:sp>
      <p:sp>
        <p:nvSpPr>
          <p:cNvPr id="8" name="Slide Number Placeholder 8">
            <a:extLst>
              <a:ext uri="{FF2B5EF4-FFF2-40B4-BE49-F238E27FC236}">
                <a16:creationId xmlns:a16="http://schemas.microsoft.com/office/drawing/2014/main" id="{0D50FEE7-DFCB-C212-9BF2-57C7D00CEA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651" y="6356350"/>
            <a:ext cx="383694" cy="365125"/>
          </a:xfrm>
        </p:spPr>
        <p:txBody>
          <a:bodyPr anchor="b"/>
          <a:lstStyle/>
          <a:p>
            <a:fld id="{6101CC8E-1CEF-6746-999E-CF29FF00B1DC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5EBB0EB-B6DC-6522-AD53-FCBD83EE1069}"/>
              </a:ext>
            </a:extLst>
          </p:cNvPr>
          <p:cNvSpPr txBox="1"/>
          <p:nvPr userDrawn="1"/>
        </p:nvSpPr>
        <p:spPr>
          <a:xfrm rot="5400000">
            <a:off x="11494855" y="4565505"/>
            <a:ext cx="1155700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900" dirty="0">
                <a:solidFill>
                  <a:schemeClr val="bg2"/>
                </a:solidFill>
              </a:rPr>
              <a:t>NP-48375</a:t>
            </a:r>
            <a:endParaRPr lang="en-GB" sz="900" dirty="0">
              <a:solidFill>
                <a:schemeClr val="bg2"/>
              </a:solidFill>
              <a:effectLst/>
              <a:latin typeface="+mn-lt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6664496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0F5A885E-A1EC-4469-A012-5861DB9AB3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53A67D58-6D69-40E4-9BF1-F7D1E1F0E886}"/>
              </a:ext>
            </a:extLst>
          </p:cNvPr>
          <p:cNvSpPr/>
          <p:nvPr userDrawn="1"/>
        </p:nvSpPr>
        <p:spPr>
          <a:xfrm>
            <a:off x="0" y="6786000"/>
            <a:ext cx="12192000" cy="72000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100000">
                <a:schemeClr val="accent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D377E72F-A058-4C1B-95BD-8DDDC7DB00E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534650" y="6588240"/>
            <a:ext cx="816286" cy="144000"/>
          </a:xfrm>
        </p:spPr>
        <p:txBody>
          <a:bodyPr/>
          <a:lstStyle>
            <a:lvl1pPr>
              <a:defRPr sz="900"/>
            </a:lvl1pPr>
          </a:lstStyle>
          <a:p>
            <a:fld id="{FB8A32D2-440B-43D4-85A0-F5C235605D5C}" type="datetime1">
              <a:rPr lang="en-GB" smtClean="0"/>
              <a:t>19/06/2026</a:t>
            </a:fld>
            <a:endParaRPr lang="en-GB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E10C8D64-016C-42F4-B94D-39E24E3D65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68088" y="6366669"/>
            <a:ext cx="306848" cy="144000"/>
          </a:xfrm>
        </p:spPr>
        <p:txBody>
          <a:bodyPr/>
          <a:lstStyle>
            <a:lvl1pPr>
              <a:defRPr sz="900"/>
            </a:lvl1pPr>
          </a:lstStyle>
          <a:p>
            <a:fld id="{3948FB62-8746-4D0D-BA71-8EB1BEE683E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F6D2FF15-A912-4049-8BB7-804736F2463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38936" y="6367000"/>
            <a:ext cx="10512000" cy="198850"/>
          </a:xfrm>
        </p:spPr>
        <p:txBody>
          <a:bodyPr anchor="ctr" anchorCtr="0"/>
          <a:lstStyle>
            <a:lvl1pPr marL="0" indent="0">
              <a:buNone/>
              <a:defRPr sz="900"/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Reference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F22FED1-5CF3-8804-7F1F-B37FDD3BD769}"/>
              </a:ext>
            </a:extLst>
          </p:cNvPr>
          <p:cNvSpPr txBox="1"/>
          <p:nvPr userDrawn="1"/>
        </p:nvSpPr>
        <p:spPr>
          <a:xfrm rot="5400000">
            <a:off x="11494855" y="4565505"/>
            <a:ext cx="1155700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900" dirty="0">
                <a:solidFill>
                  <a:schemeClr val="bg2"/>
                </a:solidFill>
              </a:rPr>
              <a:t>NP-48375</a:t>
            </a:r>
            <a:endParaRPr lang="en-GB" sz="900" dirty="0">
              <a:solidFill>
                <a:schemeClr val="bg2"/>
              </a:solidFill>
              <a:effectLst/>
              <a:latin typeface="+mn-lt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246223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 descr="En bild som visar suddig, Färggrann, ljus&#10;&#10;AI-genererat innehåll kan vara felaktigt.">
            <a:extLst>
              <a:ext uri="{FF2B5EF4-FFF2-40B4-BE49-F238E27FC236}">
                <a16:creationId xmlns:a16="http://schemas.microsoft.com/office/drawing/2014/main" id="{15BF47DC-C550-C791-D86F-13EE805A088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47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1"/>
            <a:ext cx="12192000" cy="6786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DCE8C3CE-B9EC-88E2-EFAD-557C75E4B6FD}"/>
              </a:ext>
            </a:extLst>
          </p:cNvPr>
          <p:cNvSpPr/>
          <p:nvPr userDrawn="1"/>
        </p:nvSpPr>
        <p:spPr>
          <a:xfrm>
            <a:off x="0" y="0"/>
            <a:ext cx="12192000" cy="6785998"/>
          </a:xfrm>
          <a:prstGeom prst="rect">
            <a:avLst/>
          </a:prstGeom>
          <a:solidFill>
            <a:srgbClr val="2C5E77">
              <a:alpha val="94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8BE3B9B-05A4-AD0F-F15C-F2F2742EA844}"/>
              </a:ext>
            </a:extLst>
          </p:cNvPr>
          <p:cNvSpPr/>
          <p:nvPr userDrawn="1"/>
        </p:nvSpPr>
        <p:spPr>
          <a:xfrm>
            <a:off x="0" y="6786000"/>
            <a:ext cx="12192000" cy="72000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100000">
                <a:schemeClr val="accent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2" name="Logo">
            <a:extLst>
              <a:ext uri="{FF2B5EF4-FFF2-40B4-BE49-F238E27FC236}">
                <a16:creationId xmlns:a16="http://schemas.microsoft.com/office/drawing/2014/main" id="{307630BC-6365-CD6C-21E5-76CEEEFFFB50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751463" y="384506"/>
            <a:ext cx="1131882" cy="365123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5A4D1BFA-A764-C559-A509-47E688436E3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duotone>
              <a:prstClr val="black"/>
              <a:schemeClr val="accent6">
                <a:tint val="45000"/>
                <a:satMod val="400000"/>
              </a:schemeClr>
            </a:duotone>
            <a:alphaModFix amt="80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colorTemperature colorTemp="3054"/>
                    </a14:imgEffect>
                    <a14:imgEffect>
                      <a14:saturation sat="176000"/>
                    </a14:imgEffect>
                    <a14:imgEffect>
                      <a14:brightnessContrast bright="-10000" contrast="57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0" y="2347725"/>
            <a:ext cx="10479932" cy="4438273"/>
          </a:xfrm>
          <a:prstGeom prst="rect">
            <a:avLst/>
          </a:prstGeom>
        </p:spPr>
      </p:pic>
      <p:sp>
        <p:nvSpPr>
          <p:cNvPr id="14" name="Rectangle 5">
            <a:extLst>
              <a:ext uri="{FF2B5EF4-FFF2-40B4-BE49-F238E27FC236}">
                <a16:creationId xmlns:a16="http://schemas.microsoft.com/office/drawing/2014/main" id="{D55B036A-869B-47C0-3CE8-E3116578F813}"/>
              </a:ext>
            </a:extLst>
          </p:cNvPr>
          <p:cNvSpPr/>
          <p:nvPr userDrawn="1"/>
        </p:nvSpPr>
        <p:spPr>
          <a:xfrm>
            <a:off x="7073" y="0"/>
            <a:ext cx="7914956" cy="6786000"/>
          </a:xfrm>
          <a:prstGeom prst="rect">
            <a:avLst/>
          </a:prstGeom>
          <a:gradFill>
            <a:gsLst>
              <a:gs pos="0">
                <a:srgbClr val="000000">
                  <a:alpha val="41569"/>
                </a:srgbClr>
              </a:gs>
              <a:gs pos="99000">
                <a:srgbClr val="000000">
                  <a:alpha val="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Title 2">
            <a:extLst>
              <a:ext uri="{FF2B5EF4-FFF2-40B4-BE49-F238E27FC236}">
                <a16:creationId xmlns:a16="http://schemas.microsoft.com/office/drawing/2014/main" id="{A0A1B7F0-6740-82B9-BC7B-6ED23E827A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01271" y="1629000"/>
            <a:ext cx="9789459" cy="3600000"/>
          </a:xfrm>
        </p:spPr>
        <p:txBody>
          <a:bodyPr anchor="ctr">
            <a:noAutofit/>
          </a:bodyPr>
          <a:lstStyle>
            <a:lvl1pPr algn="ctr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C58D4C6-C807-D505-E22C-52F134880750}"/>
              </a:ext>
            </a:extLst>
          </p:cNvPr>
          <p:cNvSpPr txBox="1"/>
          <p:nvPr userDrawn="1"/>
        </p:nvSpPr>
        <p:spPr>
          <a:xfrm rot="5400000">
            <a:off x="11494855" y="4565505"/>
            <a:ext cx="1155700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900">
                <a:solidFill>
                  <a:schemeClr val="bg1"/>
                </a:solidFill>
              </a:rPr>
              <a:t>NP-48376</a:t>
            </a:r>
            <a:endParaRPr lang="en-GB" sz="900">
              <a:solidFill>
                <a:schemeClr val="bg1"/>
              </a:solidFill>
              <a:effectLst/>
              <a:latin typeface="+mn-lt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323055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5">
            <a:extLst>
              <a:ext uri="{FF2B5EF4-FFF2-40B4-BE49-F238E27FC236}">
                <a16:creationId xmlns:a16="http://schemas.microsoft.com/office/drawing/2014/main" id="{A2872565-65A8-E761-7E8F-38BB319281CA}"/>
              </a:ext>
            </a:extLst>
          </p:cNvPr>
          <p:cNvSpPr/>
          <p:nvPr userDrawn="1"/>
        </p:nvSpPr>
        <p:spPr>
          <a:xfrm>
            <a:off x="0" y="6786000"/>
            <a:ext cx="12192000" cy="72000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100000">
                <a:schemeClr val="accent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BB54774-267D-4730-A0A3-232988F2BB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9B55630-9418-934D-6FF5-8592AB3DE2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anchor="ctr"/>
          <a:lstStyle/>
          <a:p>
            <a:fld id="{6101CC8E-1CEF-6746-999E-CF29FF00B1DC}" type="slidenum">
              <a:rPr lang="en-GB" smtClean="0"/>
              <a:t>‹#›</a:t>
            </a:fld>
            <a:endParaRPr lang="en-GB"/>
          </a:p>
        </p:txBody>
      </p:sp>
      <p:sp>
        <p:nvSpPr>
          <p:cNvPr id="3" name="Reference Placeholder 4">
            <a:extLst>
              <a:ext uri="{FF2B5EF4-FFF2-40B4-BE49-F238E27FC236}">
                <a16:creationId xmlns:a16="http://schemas.microsoft.com/office/drawing/2014/main" id="{287A8D91-F0B1-DEEB-F7C2-6E6D8498728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0645" y="6356349"/>
            <a:ext cx="10440000" cy="363601"/>
          </a:xfrm>
        </p:spPr>
        <p:txBody>
          <a:bodyPr anchor="b">
            <a:noAutofit/>
          </a:bodyPr>
          <a:lstStyle>
            <a:lvl1pPr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lvl="0"/>
            <a:r>
              <a:rPr lang="en-GB"/>
              <a:t>Referenc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D2B6FEB-4698-EAE9-2264-AE299604B3BE}"/>
              </a:ext>
            </a:extLst>
          </p:cNvPr>
          <p:cNvSpPr txBox="1"/>
          <p:nvPr userDrawn="1"/>
        </p:nvSpPr>
        <p:spPr>
          <a:xfrm rot="5400000">
            <a:off x="11494855" y="4565505"/>
            <a:ext cx="1155700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900">
                <a:solidFill>
                  <a:schemeClr val="bg2"/>
                </a:solidFill>
              </a:rPr>
              <a:t>NP-48376</a:t>
            </a:r>
            <a:endParaRPr lang="en-GB" sz="900">
              <a:solidFill>
                <a:schemeClr val="bg2"/>
              </a:solidFill>
              <a:effectLst/>
              <a:latin typeface="+mn-lt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0500866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Image Placeholder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obi gradient">
            <a:extLst>
              <a:ext uri="{FF2B5EF4-FFF2-40B4-BE49-F238E27FC236}">
                <a16:creationId xmlns:a16="http://schemas.microsoft.com/office/drawing/2014/main" id="{47DEB543-5016-DD7B-A11F-E22F9B470D7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0" y="0"/>
            <a:ext cx="849600" cy="6858000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2"/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Placeholder for image">
            <a:extLst>
              <a:ext uri="{FF2B5EF4-FFF2-40B4-BE49-F238E27FC236}">
                <a16:creationId xmlns:a16="http://schemas.microsoft.com/office/drawing/2014/main" id="{53749A73-3447-8320-6B1E-C114373EE85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49313" y="0"/>
            <a:ext cx="11342687" cy="6858000"/>
          </a:xfrm>
          <a:solidFill>
            <a:schemeClr val="bg1"/>
          </a:solidFill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  <p:sp>
        <p:nvSpPr>
          <p:cNvPr id="5" name="White gradient image">
            <a:extLst>
              <a:ext uri="{FF2B5EF4-FFF2-40B4-BE49-F238E27FC236}">
                <a16:creationId xmlns:a16="http://schemas.microsoft.com/office/drawing/2014/main" id="{071FDC69-6B87-BC96-6F31-2ED3CEFF241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49599" y="0"/>
            <a:ext cx="5234401" cy="6857999"/>
          </a:xfrm>
          <a:gradFill>
            <a:gsLst>
              <a:gs pos="0">
                <a:schemeClr val="bg1"/>
              </a:gs>
              <a:gs pos="65000">
                <a:schemeClr val="bg1">
                  <a:alpha val="81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</a:gradFill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9" name="Logo">
            <a:extLst>
              <a:ext uri="{FF2B5EF4-FFF2-40B4-BE49-F238E27FC236}">
                <a16:creationId xmlns:a16="http://schemas.microsoft.com/office/drawing/2014/main" id="{24156680-B417-E4AB-EF09-F473E2506A0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752945" y="386029"/>
            <a:ext cx="1130400" cy="363600"/>
          </a:xfrm>
          <a:blipFill>
            <a:blip>
              <a:extLst>
                <a:ext uri="{96DAC541-7B7A-43D3-8B79-37D633B846F1}">
                  <asvg:svgBlip xmlns:asvg="http://schemas.microsoft.com/office/drawing/2016/SVG/main" r:embed="rId2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3A1475A2-DE35-2B77-9CD6-DC97ED54AB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9" y="1341540"/>
            <a:ext cx="4277838" cy="2267648"/>
          </a:xfrm>
        </p:spPr>
        <p:txBody>
          <a:bodyPr anchor="b">
            <a:noAutofit/>
          </a:bodyPr>
          <a:lstStyle>
            <a:lvl1pPr>
              <a:defRPr sz="4800"/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D76757F7-B912-9B68-1FD5-DE57FAAACB7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487488" y="3934365"/>
            <a:ext cx="4277838" cy="936000"/>
          </a:xfrm>
        </p:spPr>
        <p:txBody>
          <a:bodyPr lIns="90000" tIns="46800" rIns="90000" bIns="46800">
            <a:noAutofit/>
          </a:bodyPr>
          <a:lstStyle>
            <a:lvl1pPr>
              <a:defRPr sz="2200"/>
            </a:lvl1pPr>
          </a:lstStyle>
          <a:p>
            <a:pPr lvl="0"/>
            <a:r>
              <a:rPr lang="en-GB"/>
              <a:t>Click to add subtitle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F830D7C3-4ADF-6AB4-8000-0823C6E1DA8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487488" y="5192638"/>
            <a:ext cx="4277838" cy="936000"/>
          </a:xfrm>
        </p:spPr>
        <p:txBody>
          <a:bodyPr lIns="90000" tIns="46800" rIns="90000" bIns="46800">
            <a:noAutofit/>
          </a:bodyPr>
          <a:lstStyle>
            <a:lvl1pPr>
              <a:defRPr sz="1600"/>
            </a:lvl1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2" name="Text Placeholder 31">
            <a:extLst>
              <a:ext uri="{FF2B5EF4-FFF2-40B4-BE49-F238E27FC236}">
                <a16:creationId xmlns:a16="http://schemas.microsoft.com/office/drawing/2014/main" id="{87ECDA78-6418-DA08-7661-C7A16A8FC6EF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487489" y="77843"/>
            <a:ext cx="3592800" cy="2808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3" name="Slide Number Placeholder 8">
            <a:extLst>
              <a:ext uri="{FF2B5EF4-FFF2-40B4-BE49-F238E27FC236}">
                <a16:creationId xmlns:a16="http://schemas.microsoft.com/office/drawing/2014/main" id="{4DA554A4-414E-497B-00FE-34E29C8A57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651" y="6356350"/>
            <a:ext cx="383694" cy="365125"/>
          </a:xfrm>
        </p:spPr>
        <p:txBody>
          <a:bodyPr anchor="ctr"/>
          <a:lstStyle/>
          <a:p>
            <a:fld id="{6101CC8E-1CEF-6746-999E-CF29FF00B1DC}" type="slidenum">
              <a:rPr lang="en-GB" smtClean="0"/>
              <a:t>‹#›</a:t>
            </a:fld>
            <a:endParaRPr lang="en-GB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9F8C68D-2B40-3F4C-42F7-9E0C361BDABF}"/>
              </a:ext>
            </a:extLst>
          </p:cNvPr>
          <p:cNvSpPr txBox="1"/>
          <p:nvPr userDrawn="1"/>
        </p:nvSpPr>
        <p:spPr>
          <a:xfrm rot="5400000">
            <a:off x="11494855" y="4565505"/>
            <a:ext cx="1155700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900">
                <a:solidFill>
                  <a:schemeClr val="bg2"/>
                </a:solidFill>
              </a:rPr>
              <a:t>NP-48376</a:t>
            </a:r>
            <a:endParaRPr lang="en-GB" sz="900">
              <a:solidFill>
                <a:schemeClr val="bg2"/>
              </a:solidFill>
              <a:effectLst/>
              <a:latin typeface="+mn-lt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28425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88A1D3-F5E5-4026-8B64-99C74FD23D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1E97C8-C0A6-49B4-9330-1E4AA15FE5E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0645" y="1825625"/>
            <a:ext cx="10440000" cy="4320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FB2C63E-24AC-465F-B017-ED8CA8C9475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534650" y="6588240"/>
            <a:ext cx="816286" cy="144000"/>
          </a:xfrm>
        </p:spPr>
        <p:txBody>
          <a:bodyPr/>
          <a:lstStyle>
            <a:lvl1pPr>
              <a:defRPr sz="900"/>
            </a:lvl1pPr>
          </a:lstStyle>
          <a:p>
            <a:endParaRPr lang="en-GB"/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15B9FB7D-6A53-4798-8C0A-02413ED2BFF7}"/>
              </a:ext>
            </a:extLst>
          </p:cNvPr>
          <p:cNvSpPr/>
          <p:nvPr userDrawn="1"/>
        </p:nvSpPr>
        <p:spPr>
          <a:xfrm>
            <a:off x="0" y="6786000"/>
            <a:ext cx="12192000" cy="72000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100000">
                <a:schemeClr val="accent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216A4651-9B6D-4687-A1FD-F29667A1B5B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0646" y="6521100"/>
            <a:ext cx="10440000" cy="198850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900"/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/>
              <a:t>References</a:t>
            </a:r>
          </a:p>
        </p:txBody>
      </p:sp>
      <p:sp>
        <p:nvSpPr>
          <p:cNvPr id="8" name="Slide Number Placeholder 8">
            <a:extLst>
              <a:ext uri="{FF2B5EF4-FFF2-40B4-BE49-F238E27FC236}">
                <a16:creationId xmlns:a16="http://schemas.microsoft.com/office/drawing/2014/main" id="{0D50FEE7-DFCB-C212-9BF2-57C7D00CEA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651" y="6356350"/>
            <a:ext cx="383694" cy="365125"/>
          </a:xfrm>
        </p:spPr>
        <p:txBody>
          <a:bodyPr anchor="ctr"/>
          <a:lstStyle/>
          <a:p>
            <a:fld id="{6101CC8E-1CEF-6746-999E-CF29FF00B1DC}" type="slidenum">
              <a:rPr lang="en-GB" smtClean="0"/>
              <a:t>‹#›</a:t>
            </a:fld>
            <a:endParaRPr lang="en-GB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0B20629-8AC4-103B-3D07-E7541F0142F9}"/>
              </a:ext>
            </a:extLst>
          </p:cNvPr>
          <p:cNvSpPr txBox="1"/>
          <p:nvPr userDrawn="1"/>
        </p:nvSpPr>
        <p:spPr>
          <a:xfrm rot="5400000">
            <a:off x="11494855" y="4565505"/>
            <a:ext cx="1155700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900">
                <a:solidFill>
                  <a:schemeClr val="bg2"/>
                </a:solidFill>
              </a:rPr>
              <a:t>NP-48376</a:t>
            </a:r>
            <a:endParaRPr lang="en-GB" sz="900">
              <a:solidFill>
                <a:schemeClr val="bg2"/>
              </a:solidFill>
              <a:effectLst/>
              <a:latin typeface="+mn-lt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5051490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0F5A885E-A1EC-4469-A012-5861DB9AB3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53A67D58-6D69-40E4-9BF1-F7D1E1F0E886}"/>
              </a:ext>
            </a:extLst>
          </p:cNvPr>
          <p:cNvSpPr/>
          <p:nvPr userDrawn="1"/>
        </p:nvSpPr>
        <p:spPr>
          <a:xfrm>
            <a:off x="0" y="6786000"/>
            <a:ext cx="12192000" cy="72000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100000">
                <a:schemeClr val="accent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D377E72F-A058-4C1B-95BD-8DDDC7DB00E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534650" y="6588240"/>
            <a:ext cx="816286" cy="144000"/>
          </a:xfrm>
        </p:spPr>
        <p:txBody>
          <a:bodyPr/>
          <a:lstStyle>
            <a:lvl1pPr>
              <a:defRPr sz="900"/>
            </a:lvl1pPr>
          </a:lstStyle>
          <a:p>
            <a:fld id="{FB8A32D2-440B-43D4-85A0-F5C235605D5C}" type="datetime1">
              <a:rPr lang="en-GB" smtClean="0"/>
              <a:t>19/06/2026</a:t>
            </a:fld>
            <a:endParaRPr lang="en-GB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E10C8D64-016C-42F4-B94D-39E24E3D65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68088" y="6366669"/>
            <a:ext cx="306848" cy="144000"/>
          </a:xfrm>
        </p:spPr>
        <p:txBody>
          <a:bodyPr/>
          <a:lstStyle>
            <a:lvl1pPr>
              <a:defRPr sz="900"/>
            </a:lvl1pPr>
          </a:lstStyle>
          <a:p>
            <a:fld id="{3948FB62-8746-4D0D-BA71-8EB1BEE683ED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F6D2FF15-A912-4049-8BB7-804736F2463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38936" y="6367000"/>
            <a:ext cx="10512000" cy="198850"/>
          </a:xfrm>
        </p:spPr>
        <p:txBody>
          <a:bodyPr anchor="ctr" anchorCtr="0"/>
          <a:lstStyle>
            <a:lvl1pPr marL="0" indent="0">
              <a:buNone/>
              <a:defRPr sz="900"/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/>
              <a:t>Reference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8FF03C2-C9CD-C477-B3CB-63DB3739837A}"/>
              </a:ext>
            </a:extLst>
          </p:cNvPr>
          <p:cNvSpPr txBox="1"/>
          <p:nvPr userDrawn="1"/>
        </p:nvSpPr>
        <p:spPr>
          <a:xfrm rot="5400000">
            <a:off x="11494855" y="4565505"/>
            <a:ext cx="1155700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900">
                <a:solidFill>
                  <a:schemeClr val="bg2"/>
                </a:solidFill>
              </a:rPr>
              <a:t>NP-48376</a:t>
            </a:r>
            <a:endParaRPr lang="en-GB" sz="900">
              <a:solidFill>
                <a:schemeClr val="bg2"/>
              </a:solidFill>
              <a:effectLst/>
              <a:latin typeface="+mn-lt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0290844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Image Placeholder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obi gradient">
            <a:extLst>
              <a:ext uri="{FF2B5EF4-FFF2-40B4-BE49-F238E27FC236}">
                <a16:creationId xmlns:a16="http://schemas.microsoft.com/office/drawing/2014/main" id="{47DEB543-5016-DD7B-A11F-E22F9B470D7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0" y="0"/>
            <a:ext cx="849600" cy="6858000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2"/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Placeholder for image">
            <a:extLst>
              <a:ext uri="{FF2B5EF4-FFF2-40B4-BE49-F238E27FC236}">
                <a16:creationId xmlns:a16="http://schemas.microsoft.com/office/drawing/2014/main" id="{53749A73-3447-8320-6B1E-C114373EE85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49313" y="0"/>
            <a:ext cx="11342687" cy="6858000"/>
          </a:xfrm>
          <a:solidFill>
            <a:schemeClr val="bg1"/>
          </a:solidFill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  <p:sp>
        <p:nvSpPr>
          <p:cNvPr id="5" name="White gradient image">
            <a:extLst>
              <a:ext uri="{FF2B5EF4-FFF2-40B4-BE49-F238E27FC236}">
                <a16:creationId xmlns:a16="http://schemas.microsoft.com/office/drawing/2014/main" id="{071FDC69-6B87-BC96-6F31-2ED3CEFF241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49599" y="0"/>
            <a:ext cx="5234401" cy="6857999"/>
          </a:xfrm>
          <a:gradFill>
            <a:gsLst>
              <a:gs pos="0">
                <a:schemeClr val="bg1"/>
              </a:gs>
              <a:gs pos="65000">
                <a:schemeClr val="bg1">
                  <a:alpha val="81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</a:gradFill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9" name="Logo">
            <a:extLst>
              <a:ext uri="{FF2B5EF4-FFF2-40B4-BE49-F238E27FC236}">
                <a16:creationId xmlns:a16="http://schemas.microsoft.com/office/drawing/2014/main" id="{24156680-B417-E4AB-EF09-F473E2506A0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752945" y="386029"/>
            <a:ext cx="1130400" cy="363600"/>
          </a:xfrm>
          <a:blipFill>
            <a:blip>
              <a:extLst>
                <a:ext uri="{96DAC541-7B7A-43D3-8B79-37D633B846F1}">
                  <asvg:svgBlip xmlns:asvg="http://schemas.microsoft.com/office/drawing/2016/SVG/main" r:embed="rId2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3A1475A2-DE35-2B77-9CD6-DC97ED54AB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9" y="1341540"/>
            <a:ext cx="4277838" cy="2267648"/>
          </a:xfrm>
        </p:spPr>
        <p:txBody>
          <a:bodyPr anchor="b">
            <a:noAutofit/>
          </a:bodyPr>
          <a:lstStyle>
            <a:lvl1pPr>
              <a:defRPr sz="4800"/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D76757F7-B912-9B68-1FD5-DE57FAAACB7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487488" y="3934365"/>
            <a:ext cx="4277838" cy="936000"/>
          </a:xfrm>
        </p:spPr>
        <p:txBody>
          <a:bodyPr lIns="90000" tIns="46800" rIns="90000" bIns="46800">
            <a:noAutofit/>
          </a:bodyPr>
          <a:lstStyle>
            <a:lvl1pPr>
              <a:defRPr sz="2200"/>
            </a:lvl1pPr>
          </a:lstStyle>
          <a:p>
            <a:pPr lvl="0"/>
            <a:r>
              <a:rPr lang="en-GB"/>
              <a:t>Click to add subtitle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F830D7C3-4ADF-6AB4-8000-0823C6E1DA8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487488" y="5192638"/>
            <a:ext cx="4277838" cy="936000"/>
          </a:xfrm>
        </p:spPr>
        <p:txBody>
          <a:bodyPr lIns="90000" tIns="46800" rIns="90000" bIns="46800">
            <a:noAutofit/>
          </a:bodyPr>
          <a:lstStyle>
            <a:lvl1pPr>
              <a:defRPr sz="1600"/>
            </a:lvl1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C7FCA62-EB85-300D-44E6-B6E3D8C23B91}"/>
              </a:ext>
            </a:extLst>
          </p:cNvPr>
          <p:cNvSpPr txBox="1"/>
          <p:nvPr userDrawn="1"/>
        </p:nvSpPr>
        <p:spPr>
          <a:xfrm rot="5400000">
            <a:off x="11494855" y="4565505"/>
            <a:ext cx="1155700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900">
                <a:solidFill>
                  <a:schemeClr val="bg2"/>
                </a:solidFill>
              </a:rPr>
              <a:t>NP-48377</a:t>
            </a:r>
            <a:endParaRPr lang="en-GB" sz="900">
              <a:solidFill>
                <a:schemeClr val="bg2"/>
              </a:solidFill>
              <a:effectLst/>
              <a:latin typeface="+mn-lt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01018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5">
            <a:extLst>
              <a:ext uri="{FF2B5EF4-FFF2-40B4-BE49-F238E27FC236}">
                <a16:creationId xmlns:a16="http://schemas.microsoft.com/office/drawing/2014/main" id="{A2872565-65A8-E761-7E8F-38BB319281CA}"/>
              </a:ext>
            </a:extLst>
          </p:cNvPr>
          <p:cNvSpPr/>
          <p:nvPr userDrawn="1"/>
        </p:nvSpPr>
        <p:spPr>
          <a:xfrm>
            <a:off x="0" y="6786000"/>
            <a:ext cx="12192000" cy="72000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100000">
                <a:schemeClr val="accent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BB54774-267D-4730-A0A3-232988F2BB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0647" y="311858"/>
            <a:ext cx="9789459" cy="632402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9B55630-9418-934D-6FF5-8592AB3DE2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01CC8E-1CEF-6746-999E-CF29FF00B1DC}" type="slidenum">
              <a:rPr lang="en-GB" smtClean="0"/>
              <a:t>‹#›</a:t>
            </a:fld>
            <a:endParaRPr lang="en-GB"/>
          </a:p>
        </p:txBody>
      </p:sp>
      <p:sp>
        <p:nvSpPr>
          <p:cNvPr id="3" name="Reference Placeholder 4">
            <a:extLst>
              <a:ext uri="{FF2B5EF4-FFF2-40B4-BE49-F238E27FC236}">
                <a16:creationId xmlns:a16="http://schemas.microsoft.com/office/drawing/2014/main" id="{287A8D91-F0B1-DEEB-F7C2-6E6D8498728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0645" y="6356349"/>
            <a:ext cx="10440000" cy="363601"/>
          </a:xfrm>
        </p:spPr>
        <p:txBody>
          <a:bodyPr anchor="b">
            <a:noAutofit/>
          </a:bodyPr>
          <a:lstStyle>
            <a:lvl1pPr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lvl="0"/>
            <a:r>
              <a:rPr lang="en-GB"/>
              <a:t>Reference</a:t>
            </a:r>
          </a:p>
        </p:txBody>
      </p:sp>
    </p:spTree>
    <p:extLst>
      <p:ext uri="{BB962C8B-B14F-4D97-AF65-F5344CB8AC3E}">
        <p14:creationId xmlns:p14="http://schemas.microsoft.com/office/powerpoint/2010/main" val="89583607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5">
            <a:extLst>
              <a:ext uri="{FF2B5EF4-FFF2-40B4-BE49-F238E27FC236}">
                <a16:creationId xmlns:a16="http://schemas.microsoft.com/office/drawing/2014/main" id="{A2872565-65A8-E761-7E8F-38BB319281CA}"/>
              </a:ext>
            </a:extLst>
          </p:cNvPr>
          <p:cNvSpPr/>
          <p:nvPr userDrawn="1"/>
        </p:nvSpPr>
        <p:spPr>
          <a:xfrm>
            <a:off x="0" y="6786000"/>
            <a:ext cx="12192000" cy="72000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100000">
                <a:schemeClr val="accent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BB54774-267D-4730-A0A3-232988F2BB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9B55630-9418-934D-6FF5-8592AB3DE2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01CC8E-1CEF-6746-999E-CF29FF00B1DC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3" name="Reference Placeholder 4">
            <a:extLst>
              <a:ext uri="{FF2B5EF4-FFF2-40B4-BE49-F238E27FC236}">
                <a16:creationId xmlns:a16="http://schemas.microsoft.com/office/drawing/2014/main" id="{287A8D91-F0B1-DEEB-F7C2-6E6D8498728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0645" y="6356349"/>
            <a:ext cx="10440000" cy="363601"/>
          </a:xfrm>
        </p:spPr>
        <p:txBody>
          <a:bodyPr anchor="b">
            <a:noAutofit/>
          </a:bodyPr>
          <a:lstStyle>
            <a:lvl1pPr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lvl="0"/>
            <a:r>
              <a:rPr lang="en-GB"/>
              <a:t>Reference</a:t>
            </a:r>
            <a:endParaRPr lang="en-GB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44FB467-1FAF-C445-EF7A-D7C76029E8B7}"/>
              </a:ext>
            </a:extLst>
          </p:cNvPr>
          <p:cNvSpPr txBox="1"/>
          <p:nvPr userDrawn="1"/>
        </p:nvSpPr>
        <p:spPr>
          <a:xfrm rot="5400000">
            <a:off x="11494855" y="4565505"/>
            <a:ext cx="1155700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900" dirty="0">
                <a:solidFill>
                  <a:schemeClr val="bg2"/>
                </a:solidFill>
              </a:rPr>
              <a:t>NP-48374</a:t>
            </a:r>
            <a:endParaRPr lang="en-GB" sz="900" dirty="0">
              <a:solidFill>
                <a:schemeClr val="bg2"/>
              </a:solidFill>
              <a:effectLst/>
              <a:latin typeface="+mn-lt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7459877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" descr="En bild som visar suddig, Färggrann, ljus&#10;&#10;AI-genererat innehåll kan vara felaktigt.">
            <a:extLst>
              <a:ext uri="{FF2B5EF4-FFF2-40B4-BE49-F238E27FC236}">
                <a16:creationId xmlns:a16="http://schemas.microsoft.com/office/drawing/2014/main" id="{8B357A74-7C62-082B-40F6-61ECF9FC24D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47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1"/>
            <a:ext cx="12192000" cy="67860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BFCCC568-7370-E8E4-0421-3D15605F6C0F}"/>
              </a:ext>
            </a:extLst>
          </p:cNvPr>
          <p:cNvSpPr/>
          <p:nvPr userDrawn="1"/>
        </p:nvSpPr>
        <p:spPr>
          <a:xfrm>
            <a:off x="0" y="0"/>
            <a:ext cx="12192000" cy="6785998"/>
          </a:xfrm>
          <a:prstGeom prst="rect">
            <a:avLst/>
          </a:prstGeom>
          <a:solidFill>
            <a:srgbClr val="2C5E77">
              <a:alpha val="94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3826E60-B10E-E4E6-B7A8-B955E66FA9E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0" y="6786000"/>
            <a:ext cx="12192000" cy="72000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100000">
                <a:schemeClr val="accent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" name="Logo">
            <a:extLst>
              <a:ext uri="{FF2B5EF4-FFF2-40B4-BE49-F238E27FC236}">
                <a16:creationId xmlns:a16="http://schemas.microsoft.com/office/drawing/2014/main" id="{868BDC0A-FF76-83DA-D28B-00BC5B9A6504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751463" y="384506"/>
            <a:ext cx="1131882" cy="365123"/>
          </a:xfrm>
          <a:prstGeom prst="rect">
            <a:avLst/>
          </a:prstGeom>
        </p:spPr>
      </p:pic>
      <p:pic>
        <p:nvPicPr>
          <p:cNvPr id="302" name="Picture 301">
            <a:extLst>
              <a:ext uri="{FF2B5EF4-FFF2-40B4-BE49-F238E27FC236}">
                <a16:creationId xmlns:a16="http://schemas.microsoft.com/office/drawing/2014/main" id="{C8EDA53E-93BF-65E1-D190-956E0A7C2F0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duotone>
              <a:prstClr val="black"/>
              <a:schemeClr val="accent6">
                <a:tint val="45000"/>
                <a:satMod val="400000"/>
              </a:schemeClr>
            </a:duotone>
            <a:alphaModFix amt="80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colorTemperature colorTemp="3054"/>
                    </a14:imgEffect>
                    <a14:imgEffect>
                      <a14:saturation sat="176000"/>
                    </a14:imgEffect>
                    <a14:imgEffect>
                      <a14:brightnessContrast bright="-10000" contrast="57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347725"/>
            <a:ext cx="10479932" cy="4438273"/>
          </a:xfrm>
          <a:prstGeom prst="rect">
            <a:avLst/>
          </a:prstGeom>
        </p:spPr>
      </p:pic>
      <p:sp>
        <p:nvSpPr>
          <p:cNvPr id="4" name="Rectangle 5">
            <a:extLst>
              <a:ext uri="{FF2B5EF4-FFF2-40B4-BE49-F238E27FC236}">
                <a16:creationId xmlns:a16="http://schemas.microsoft.com/office/drawing/2014/main" id="{ED0B2C59-0594-488D-4A4E-352C8A897857}"/>
              </a:ext>
            </a:extLst>
          </p:cNvPr>
          <p:cNvSpPr/>
          <p:nvPr userDrawn="1"/>
        </p:nvSpPr>
        <p:spPr>
          <a:xfrm>
            <a:off x="7073" y="0"/>
            <a:ext cx="7914956" cy="6786000"/>
          </a:xfrm>
          <a:prstGeom prst="rect">
            <a:avLst/>
          </a:prstGeom>
          <a:gradFill>
            <a:gsLst>
              <a:gs pos="0">
                <a:srgbClr val="000000">
                  <a:alpha val="41569"/>
                </a:srgbClr>
              </a:gs>
              <a:gs pos="99000">
                <a:srgbClr val="000000">
                  <a:alpha val="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EBE4F8A-63EF-FA7A-82FC-E6A7621756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01271" y="1629000"/>
            <a:ext cx="9789459" cy="3600000"/>
          </a:xfrm>
        </p:spPr>
        <p:txBody>
          <a:bodyPr anchor="ctr">
            <a:noAutofit/>
          </a:bodyPr>
          <a:lstStyle>
            <a:lvl1pPr algn="ctr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D70E98C-7D0F-F182-2497-D75269323ED1}"/>
              </a:ext>
            </a:extLst>
          </p:cNvPr>
          <p:cNvSpPr txBox="1"/>
          <p:nvPr userDrawn="1"/>
        </p:nvSpPr>
        <p:spPr>
          <a:xfrm rot="5400000">
            <a:off x="11494855" y="4565505"/>
            <a:ext cx="1155700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900">
                <a:solidFill>
                  <a:schemeClr val="bg1"/>
                </a:solidFill>
              </a:rPr>
              <a:t>NP-48377</a:t>
            </a:r>
            <a:endParaRPr lang="en-GB" sz="900">
              <a:solidFill>
                <a:schemeClr val="bg1"/>
              </a:solidFill>
              <a:effectLst/>
              <a:latin typeface="+mn-lt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5651435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 Image Placeholder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ceholder for image">
            <a:extLst>
              <a:ext uri="{FF2B5EF4-FFF2-40B4-BE49-F238E27FC236}">
                <a16:creationId xmlns:a16="http://schemas.microsoft.com/office/drawing/2014/main" id="{53749A73-3447-8320-6B1E-C114373EE85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49313" y="0"/>
            <a:ext cx="11342687" cy="6858000"/>
          </a:xfrm>
          <a:solidFill>
            <a:schemeClr val="bg1"/>
          </a:solidFill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  <p:sp>
        <p:nvSpPr>
          <p:cNvPr id="9" name="Sobi gradient">
            <a:extLst>
              <a:ext uri="{FF2B5EF4-FFF2-40B4-BE49-F238E27FC236}">
                <a16:creationId xmlns:a16="http://schemas.microsoft.com/office/drawing/2014/main" id="{47DEB543-5016-DD7B-A11F-E22F9B470D7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0" y="0"/>
            <a:ext cx="849600" cy="6858000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2"/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White gradient image">
            <a:extLst>
              <a:ext uri="{FF2B5EF4-FFF2-40B4-BE49-F238E27FC236}">
                <a16:creationId xmlns:a16="http://schemas.microsoft.com/office/drawing/2014/main" id="{071FDC69-6B87-BC96-6F31-2ED3CEFF241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49599" y="0"/>
            <a:ext cx="5234401" cy="6857999"/>
          </a:xfrm>
          <a:gradFill>
            <a:gsLst>
              <a:gs pos="0">
                <a:schemeClr val="bg1"/>
              </a:gs>
              <a:gs pos="65000">
                <a:schemeClr val="bg1">
                  <a:alpha val="81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</a:gradFill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9" name="Logo">
            <a:extLst>
              <a:ext uri="{FF2B5EF4-FFF2-40B4-BE49-F238E27FC236}">
                <a16:creationId xmlns:a16="http://schemas.microsoft.com/office/drawing/2014/main" id="{24156680-B417-E4AB-EF09-F473E2506A0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752945" y="386029"/>
            <a:ext cx="1130400" cy="363600"/>
          </a:xfrm>
          <a:blipFill>
            <a:blip>
              <a:extLst>
                <a:ext uri="{96DAC541-7B7A-43D3-8B79-37D633B846F1}">
                  <asvg:svgBlip xmlns:asvg="http://schemas.microsoft.com/office/drawing/2016/SVG/main" r:embed="rId2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3A1475A2-DE35-2B77-9CD6-DC97ED54AB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9" y="1341540"/>
            <a:ext cx="4277838" cy="2267648"/>
          </a:xfrm>
        </p:spPr>
        <p:txBody>
          <a:bodyPr anchor="b">
            <a:noAutofit/>
          </a:bodyPr>
          <a:lstStyle>
            <a:lvl1pPr>
              <a:defRPr sz="4800"/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D76757F7-B912-9B68-1FD5-DE57FAAACB7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487488" y="3934365"/>
            <a:ext cx="4277838" cy="936000"/>
          </a:xfrm>
        </p:spPr>
        <p:txBody>
          <a:bodyPr lIns="90000" tIns="46800" rIns="90000" bIns="46800">
            <a:noAutofit/>
          </a:bodyPr>
          <a:lstStyle>
            <a:lvl1pPr>
              <a:defRPr sz="2200"/>
            </a:lvl1pPr>
          </a:lstStyle>
          <a:p>
            <a:pPr lvl="0"/>
            <a:r>
              <a:rPr lang="en-GB"/>
              <a:t>Click to add subtitle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F830D7C3-4ADF-6AB4-8000-0823C6E1DA8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487488" y="5192638"/>
            <a:ext cx="4277838" cy="936000"/>
          </a:xfrm>
        </p:spPr>
        <p:txBody>
          <a:bodyPr lIns="90000" tIns="46800" rIns="90000" bIns="46800">
            <a:noAutofit/>
          </a:bodyPr>
          <a:lstStyle>
            <a:lvl1pPr>
              <a:defRPr sz="1600"/>
            </a:lvl1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2" name="Text Placeholder 31">
            <a:extLst>
              <a:ext uri="{FF2B5EF4-FFF2-40B4-BE49-F238E27FC236}">
                <a16:creationId xmlns:a16="http://schemas.microsoft.com/office/drawing/2014/main" id="{87ECDA78-6418-DA08-7661-C7A16A8FC6EF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487489" y="77843"/>
            <a:ext cx="3592800" cy="280800"/>
          </a:xfr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3" name="Slide Number Placeholder 8">
            <a:extLst>
              <a:ext uri="{FF2B5EF4-FFF2-40B4-BE49-F238E27FC236}">
                <a16:creationId xmlns:a16="http://schemas.microsoft.com/office/drawing/2014/main" id="{4DA554A4-414E-497B-00FE-34E29C8A57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651" y="6356350"/>
            <a:ext cx="383694" cy="365125"/>
          </a:xfrm>
        </p:spPr>
        <p:txBody>
          <a:bodyPr anchor="b"/>
          <a:lstStyle/>
          <a:p>
            <a:fld id="{6101CC8E-1CEF-6746-999E-CF29FF00B1D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8108236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5">
            <a:extLst>
              <a:ext uri="{FF2B5EF4-FFF2-40B4-BE49-F238E27FC236}">
                <a16:creationId xmlns:a16="http://schemas.microsoft.com/office/drawing/2014/main" id="{A2872565-65A8-E761-7E8F-38BB319281C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0" y="6786000"/>
            <a:ext cx="12192000" cy="72000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100000">
                <a:schemeClr val="accent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BB54774-267D-4730-A0A3-232988F2BB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8C01B938-2536-3213-E5C0-332DD3504C0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70646" y="1385047"/>
            <a:ext cx="10980000" cy="4791916"/>
          </a:xfrm>
        </p:spPr>
        <p:txBody>
          <a:bodyPr/>
          <a:lstStyle>
            <a:lvl2pPr marL="687600">
              <a:defRPr sz="2200"/>
            </a:lvl2pPr>
            <a:lvl3pPr marL="1144800">
              <a:defRPr sz="2000"/>
            </a:lvl3pPr>
            <a:lvl4pPr marL="1602000">
              <a:defRPr sz="2000"/>
            </a:lvl4pPr>
            <a:lvl5pPr marL="2059200">
              <a:defRPr sz="20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9B55630-9418-934D-6FF5-8592AB3DE2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01CC8E-1CEF-6746-999E-CF29FF00B1DC}" type="slidenum">
              <a:rPr lang="en-GB" smtClean="0"/>
              <a:t>‹#›</a:t>
            </a:fld>
            <a:endParaRPr lang="en-GB"/>
          </a:p>
        </p:txBody>
      </p:sp>
      <p:sp>
        <p:nvSpPr>
          <p:cNvPr id="3" name="Reference Placeholder 4">
            <a:extLst>
              <a:ext uri="{FF2B5EF4-FFF2-40B4-BE49-F238E27FC236}">
                <a16:creationId xmlns:a16="http://schemas.microsoft.com/office/drawing/2014/main" id="{31C4E283-BA14-C5C0-4D51-BFB62444303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0645" y="6356349"/>
            <a:ext cx="10440000" cy="363601"/>
          </a:xfrm>
        </p:spPr>
        <p:txBody>
          <a:bodyPr anchor="b">
            <a:noAutofit/>
          </a:bodyPr>
          <a:lstStyle>
            <a:lvl1pPr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lvl="0"/>
            <a:r>
              <a:rPr lang="en-GB"/>
              <a:t>Reference</a:t>
            </a:r>
          </a:p>
        </p:txBody>
      </p:sp>
    </p:spTree>
    <p:extLst>
      <p:ext uri="{BB962C8B-B14F-4D97-AF65-F5344CB8AC3E}">
        <p14:creationId xmlns:p14="http://schemas.microsoft.com/office/powerpoint/2010/main" val="320314751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70A48F3D-3E51-477D-C648-34848AE7DC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Fare </a:t>
            </a:r>
            <a:r>
              <a:rPr lang="en-GB" err="1"/>
              <a:t>clic</a:t>
            </a:r>
            <a:r>
              <a:rPr lang="en-GB"/>
              <a:t> per </a:t>
            </a:r>
            <a:r>
              <a:rPr lang="en-GB" err="1"/>
              <a:t>modificare</a:t>
            </a:r>
            <a:r>
              <a:rPr lang="en-GB"/>
              <a:t> lo stile del </a:t>
            </a:r>
            <a:r>
              <a:rPr lang="en-GB" err="1"/>
              <a:t>titolo</a:t>
            </a:r>
            <a:r>
              <a:rPr lang="en-GB"/>
              <a:t> </a:t>
            </a:r>
            <a:r>
              <a:rPr lang="en-GB" err="1"/>
              <a:t>dello</a:t>
            </a:r>
            <a:r>
              <a:rPr lang="en-GB"/>
              <a:t>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55A8C969-4C4E-00D4-0872-0FE929ED2C3F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en-GB"/>
              <a:t>Fare </a:t>
            </a:r>
            <a:r>
              <a:rPr lang="en-GB" err="1"/>
              <a:t>clic</a:t>
            </a:r>
            <a:r>
              <a:rPr lang="en-GB"/>
              <a:t> per </a:t>
            </a:r>
            <a:r>
              <a:rPr lang="en-GB" err="1"/>
              <a:t>modificare</a:t>
            </a:r>
            <a:r>
              <a:rPr lang="en-GB"/>
              <a:t> </a:t>
            </a:r>
            <a:r>
              <a:rPr lang="en-GB" err="1"/>
              <a:t>gli</a:t>
            </a:r>
            <a:r>
              <a:rPr lang="en-GB"/>
              <a:t> </a:t>
            </a:r>
            <a:r>
              <a:rPr lang="en-GB" err="1"/>
              <a:t>stili</a:t>
            </a:r>
            <a:r>
              <a:rPr lang="en-GB"/>
              <a:t> del testo </a:t>
            </a:r>
            <a:r>
              <a:rPr lang="en-GB" err="1"/>
              <a:t>dello</a:t>
            </a:r>
            <a:r>
              <a:rPr lang="en-GB"/>
              <a:t> schema</a:t>
            </a:r>
          </a:p>
          <a:p>
            <a:pPr lvl="1"/>
            <a:r>
              <a:rPr lang="en-GB"/>
              <a:t>Secondo </a:t>
            </a:r>
            <a:r>
              <a:rPr lang="en-GB" err="1"/>
              <a:t>livello</a:t>
            </a:r>
            <a:endParaRPr lang="en-GB"/>
          </a:p>
          <a:p>
            <a:pPr lvl="2"/>
            <a:r>
              <a:rPr lang="en-GB"/>
              <a:t>Terzo </a:t>
            </a:r>
            <a:r>
              <a:rPr lang="en-GB" err="1"/>
              <a:t>livello</a:t>
            </a:r>
            <a:endParaRPr lang="en-GB"/>
          </a:p>
          <a:p>
            <a:pPr lvl="3"/>
            <a:r>
              <a:rPr lang="en-GB"/>
              <a:t>Quarto </a:t>
            </a:r>
            <a:r>
              <a:rPr lang="en-GB" err="1"/>
              <a:t>livello</a:t>
            </a:r>
            <a:endParaRPr lang="en-GB"/>
          </a:p>
          <a:p>
            <a:pPr lvl="4"/>
            <a:r>
              <a:rPr lang="en-GB"/>
              <a:t>Quinto </a:t>
            </a:r>
            <a:r>
              <a:rPr lang="en-GB" err="1"/>
              <a:t>livello</a:t>
            </a:r>
            <a:endParaRPr lang="en-GB"/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D8B940A8-7EE2-3497-DC9C-F916D63B85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A0714C2C-5214-7D73-30C8-65A2A22DCE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02F86A38-09B1-E89B-DEF6-96E0CF21FA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87ABC8-7D31-4451-9974-3308B4F7DC4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643249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" descr="En bild som visar suddig, Färggrann, ljus&#10;&#10;AI-genererat innehåll kan vara felaktigt.">
            <a:extLst>
              <a:ext uri="{FF2B5EF4-FFF2-40B4-BE49-F238E27FC236}">
                <a16:creationId xmlns:a16="http://schemas.microsoft.com/office/drawing/2014/main" id="{8B357A74-7C62-082B-40F6-61ECF9FC24D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47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1"/>
            <a:ext cx="12192000" cy="67860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BFCCC568-7370-E8E4-0421-3D15605F6C0F}"/>
              </a:ext>
            </a:extLst>
          </p:cNvPr>
          <p:cNvSpPr/>
          <p:nvPr userDrawn="1"/>
        </p:nvSpPr>
        <p:spPr>
          <a:xfrm>
            <a:off x="0" y="0"/>
            <a:ext cx="12192000" cy="6785998"/>
          </a:xfrm>
          <a:prstGeom prst="rect">
            <a:avLst/>
          </a:prstGeom>
          <a:solidFill>
            <a:schemeClr val="accent3">
              <a:alpha val="82921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Rectangle 5">
            <a:extLst>
              <a:ext uri="{FF2B5EF4-FFF2-40B4-BE49-F238E27FC236}">
                <a16:creationId xmlns:a16="http://schemas.microsoft.com/office/drawing/2014/main" id="{3ADAC276-039A-ABD4-AA9D-6F15172DA314}"/>
              </a:ext>
            </a:extLst>
          </p:cNvPr>
          <p:cNvSpPr/>
          <p:nvPr userDrawn="1"/>
        </p:nvSpPr>
        <p:spPr>
          <a:xfrm>
            <a:off x="7073" y="0"/>
            <a:ext cx="7914956" cy="6786000"/>
          </a:xfrm>
          <a:prstGeom prst="rect">
            <a:avLst/>
          </a:prstGeom>
          <a:gradFill>
            <a:gsLst>
              <a:gs pos="0">
                <a:srgbClr val="000000">
                  <a:alpha val="41569"/>
                </a:srgbClr>
              </a:gs>
              <a:gs pos="99000">
                <a:srgbClr val="000000">
                  <a:alpha val="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4" name="Graphic 3" descr="Chess pieces with solid fill">
            <a:extLst>
              <a:ext uri="{FF2B5EF4-FFF2-40B4-BE49-F238E27FC236}">
                <a16:creationId xmlns:a16="http://schemas.microsoft.com/office/drawing/2014/main" id="{7117EA14-76F1-CCFF-9747-DDD721E4F03F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388391" y="-140495"/>
            <a:ext cx="6998495" cy="6998495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63826E60-B10E-E4E6-B7A8-B955E66FA9E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0" y="6786000"/>
            <a:ext cx="12192000" cy="72000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100000">
                <a:schemeClr val="accent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EBE4F8A-63EF-FA7A-82FC-E6A7621756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01271" y="1629000"/>
            <a:ext cx="9789459" cy="3600000"/>
          </a:xfrm>
        </p:spPr>
        <p:txBody>
          <a:bodyPr anchor="ctr">
            <a:noAutofit/>
          </a:bodyPr>
          <a:lstStyle>
            <a:lvl1pPr algn="ctr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pic>
        <p:nvPicPr>
          <p:cNvPr id="2" name="Logo">
            <a:extLst>
              <a:ext uri="{FF2B5EF4-FFF2-40B4-BE49-F238E27FC236}">
                <a16:creationId xmlns:a16="http://schemas.microsoft.com/office/drawing/2014/main" id="{868BDC0A-FF76-83DA-D28B-00BC5B9A6504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751463" y="384506"/>
            <a:ext cx="1131882" cy="365123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154EF3B9-EA11-82C7-701A-DA1C59E9B0D6}"/>
              </a:ext>
            </a:extLst>
          </p:cNvPr>
          <p:cNvSpPr txBox="1"/>
          <p:nvPr userDrawn="1"/>
        </p:nvSpPr>
        <p:spPr>
          <a:xfrm rot="5400000">
            <a:off x="11494855" y="4565505"/>
            <a:ext cx="1155700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900" dirty="0">
                <a:solidFill>
                  <a:schemeClr val="bg1"/>
                </a:solidFill>
              </a:rPr>
              <a:t>NP-48374</a:t>
            </a:r>
            <a:endParaRPr lang="en-GB" sz="900" dirty="0">
              <a:solidFill>
                <a:schemeClr val="bg1"/>
              </a:solidFill>
              <a:effectLst/>
              <a:latin typeface="+mn-lt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776914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" descr="En bild som visar suddig, Färggrann, ljus&#10;&#10;AI-genererat innehåll kan vara felaktigt.">
            <a:extLst>
              <a:ext uri="{FF2B5EF4-FFF2-40B4-BE49-F238E27FC236}">
                <a16:creationId xmlns:a16="http://schemas.microsoft.com/office/drawing/2014/main" id="{8B357A74-7C62-082B-40F6-61ECF9FC24D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47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1"/>
            <a:ext cx="12192000" cy="67860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BFCCC568-7370-E8E4-0421-3D15605F6C0F}"/>
              </a:ext>
            </a:extLst>
          </p:cNvPr>
          <p:cNvSpPr/>
          <p:nvPr userDrawn="1"/>
        </p:nvSpPr>
        <p:spPr>
          <a:xfrm>
            <a:off x="0" y="0"/>
            <a:ext cx="12192000" cy="6785998"/>
          </a:xfrm>
          <a:prstGeom prst="rect">
            <a:avLst/>
          </a:prstGeom>
          <a:solidFill>
            <a:srgbClr val="2C5E77">
              <a:alpha val="94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3826E60-B10E-E4E6-B7A8-B955E66FA9E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0" y="6786000"/>
            <a:ext cx="12192000" cy="72000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100000">
                <a:schemeClr val="accent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2" name="Logo">
            <a:extLst>
              <a:ext uri="{FF2B5EF4-FFF2-40B4-BE49-F238E27FC236}">
                <a16:creationId xmlns:a16="http://schemas.microsoft.com/office/drawing/2014/main" id="{868BDC0A-FF76-83DA-D28B-00BC5B9A6504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751463" y="384506"/>
            <a:ext cx="1131882" cy="365123"/>
          </a:xfrm>
          <a:prstGeom prst="rect">
            <a:avLst/>
          </a:prstGeom>
        </p:spPr>
      </p:pic>
      <p:pic>
        <p:nvPicPr>
          <p:cNvPr id="302" name="Picture 301">
            <a:extLst>
              <a:ext uri="{FF2B5EF4-FFF2-40B4-BE49-F238E27FC236}">
                <a16:creationId xmlns:a16="http://schemas.microsoft.com/office/drawing/2014/main" id="{C8EDA53E-93BF-65E1-D190-956E0A7C2F0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duotone>
              <a:prstClr val="black"/>
              <a:schemeClr val="accent6">
                <a:tint val="45000"/>
                <a:satMod val="400000"/>
              </a:schemeClr>
            </a:duotone>
            <a:alphaModFix amt="80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colorTemperature colorTemp="3054"/>
                    </a14:imgEffect>
                    <a14:imgEffect>
                      <a14:saturation sat="176000"/>
                    </a14:imgEffect>
                    <a14:imgEffect>
                      <a14:brightnessContrast bright="-10000" contrast="57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0" y="2347725"/>
            <a:ext cx="10479932" cy="4438273"/>
          </a:xfrm>
          <a:prstGeom prst="rect">
            <a:avLst/>
          </a:prstGeom>
        </p:spPr>
      </p:pic>
      <p:sp>
        <p:nvSpPr>
          <p:cNvPr id="5" name="Rectangle 5">
            <a:extLst>
              <a:ext uri="{FF2B5EF4-FFF2-40B4-BE49-F238E27FC236}">
                <a16:creationId xmlns:a16="http://schemas.microsoft.com/office/drawing/2014/main" id="{3C539723-850B-6E71-5B6D-56C5DB3D6067}"/>
              </a:ext>
            </a:extLst>
          </p:cNvPr>
          <p:cNvSpPr/>
          <p:nvPr userDrawn="1"/>
        </p:nvSpPr>
        <p:spPr>
          <a:xfrm>
            <a:off x="7073" y="0"/>
            <a:ext cx="7914956" cy="6786000"/>
          </a:xfrm>
          <a:prstGeom prst="rect">
            <a:avLst/>
          </a:prstGeom>
          <a:gradFill>
            <a:gsLst>
              <a:gs pos="0">
                <a:srgbClr val="000000">
                  <a:alpha val="41569"/>
                </a:srgbClr>
              </a:gs>
              <a:gs pos="99000">
                <a:srgbClr val="000000">
                  <a:alpha val="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EBE4F8A-63EF-FA7A-82FC-E6A7621756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01271" y="1629000"/>
            <a:ext cx="9789459" cy="3600000"/>
          </a:xfrm>
        </p:spPr>
        <p:txBody>
          <a:bodyPr anchor="ctr">
            <a:noAutofit/>
          </a:bodyPr>
          <a:lstStyle>
            <a:lvl1pPr algn="ctr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F3C6AE7-CC5A-2E88-8F21-83C556EC9A39}"/>
              </a:ext>
            </a:extLst>
          </p:cNvPr>
          <p:cNvSpPr txBox="1"/>
          <p:nvPr userDrawn="1"/>
        </p:nvSpPr>
        <p:spPr>
          <a:xfrm rot="5400000">
            <a:off x="11494855" y="4565505"/>
            <a:ext cx="1155700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900" dirty="0">
                <a:solidFill>
                  <a:schemeClr val="bg1"/>
                </a:solidFill>
              </a:rPr>
              <a:t>NP-48374</a:t>
            </a:r>
            <a:endParaRPr lang="en-GB" sz="900" dirty="0">
              <a:solidFill>
                <a:schemeClr val="bg1"/>
              </a:solidFill>
              <a:effectLst/>
              <a:latin typeface="+mn-lt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41532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Header with White Ball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92401F-67F6-384A-1E89-608321304D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3" y="1657350"/>
            <a:ext cx="4078800" cy="4078800"/>
          </a:xfrm>
          <a:prstGeom prst="ellipse">
            <a:avLst/>
          </a:prstGeom>
          <a:solidFill>
            <a:schemeClr val="bg1"/>
          </a:solidFill>
        </p:spPr>
        <p:txBody>
          <a:bodyPr lIns="46800" tIns="46800" rIns="46800" bIns="46800" anchor="ctr">
            <a:noAutofit/>
          </a:bodyPr>
          <a:lstStyle>
            <a:lvl1pPr algn="ctr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83665248-FA34-83EA-9781-CDB69ECCD1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752945" y="386029"/>
            <a:ext cx="1130400" cy="363600"/>
          </a:xfrm>
          <a:blipFill>
            <a:blip>
              <a:extLst>
                <a:ext uri="{96DAC541-7B7A-43D3-8B79-37D633B846F1}">
                  <asvg:svgBlip xmlns:asvg="http://schemas.microsoft.com/office/drawing/2016/SVG/main" r:embed="rId2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365943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5">
            <a:extLst>
              <a:ext uri="{FF2B5EF4-FFF2-40B4-BE49-F238E27FC236}">
                <a16:creationId xmlns:a16="http://schemas.microsoft.com/office/drawing/2014/main" id="{A2872565-65A8-E761-7E8F-38BB319281C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0" y="6786000"/>
            <a:ext cx="12192000" cy="72000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100000">
                <a:schemeClr val="accent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BB54774-267D-4730-A0A3-232988F2BB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8C01B938-2536-3213-E5C0-332DD3504C0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70646" y="1385047"/>
            <a:ext cx="10980000" cy="4791916"/>
          </a:xfrm>
        </p:spPr>
        <p:txBody>
          <a:bodyPr/>
          <a:lstStyle>
            <a:lvl2pPr marL="687600">
              <a:defRPr sz="2200"/>
            </a:lvl2pPr>
            <a:lvl3pPr marL="1144800">
              <a:defRPr sz="2000"/>
            </a:lvl3pPr>
            <a:lvl4pPr marL="1602000">
              <a:defRPr sz="2000"/>
            </a:lvl4pPr>
            <a:lvl5pPr marL="2059200">
              <a:defRPr sz="20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9B55630-9418-934D-6FF5-8592AB3DE2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01CC8E-1CEF-6746-999E-CF29FF00B1D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82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" name="Reference Placeholder 4">
            <a:extLst>
              <a:ext uri="{FF2B5EF4-FFF2-40B4-BE49-F238E27FC236}">
                <a16:creationId xmlns:a16="http://schemas.microsoft.com/office/drawing/2014/main" id="{31C4E283-BA14-C5C0-4D51-BFB62444303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0645" y="6356349"/>
            <a:ext cx="10440000" cy="363601"/>
          </a:xfrm>
        </p:spPr>
        <p:txBody>
          <a:bodyPr anchor="b">
            <a:noAutofit/>
          </a:bodyPr>
          <a:lstStyle>
            <a:lvl1pPr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lvl="0"/>
            <a:r>
              <a:rPr lang="en-GB" dirty="0"/>
              <a:t>Referenc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763CA8F-B2D6-5ECA-8686-9DC54955CE0A}"/>
              </a:ext>
            </a:extLst>
          </p:cNvPr>
          <p:cNvSpPr txBox="1"/>
          <p:nvPr userDrawn="1"/>
        </p:nvSpPr>
        <p:spPr>
          <a:xfrm rot="5400000">
            <a:off x="11494855" y="4565505"/>
            <a:ext cx="1155700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9D9C98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P-48374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9D9C98"/>
              </a:solidFill>
              <a:effectLst/>
              <a:uLnTx/>
              <a:uFillTx/>
              <a:latin typeface="Aptos" panose="02110004020202020204"/>
              <a:ea typeface="Calibri" panose="020F0502020204030204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8697053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 Image Placeholder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obi gradient">
            <a:extLst>
              <a:ext uri="{FF2B5EF4-FFF2-40B4-BE49-F238E27FC236}">
                <a16:creationId xmlns:a16="http://schemas.microsoft.com/office/drawing/2014/main" id="{47DEB543-5016-DD7B-A11F-E22F9B470D7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0" y="0"/>
            <a:ext cx="849600" cy="6858000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2"/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" name="Placeholder for image">
            <a:extLst>
              <a:ext uri="{FF2B5EF4-FFF2-40B4-BE49-F238E27FC236}">
                <a16:creationId xmlns:a16="http://schemas.microsoft.com/office/drawing/2014/main" id="{53749A73-3447-8320-6B1E-C114373EE85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49313" y="0"/>
            <a:ext cx="11342687" cy="6858000"/>
          </a:xfrm>
          <a:solidFill>
            <a:schemeClr val="bg1"/>
          </a:solidFill>
        </p:spPr>
        <p:txBody>
          <a:bodyPr/>
          <a:lstStyle/>
          <a:p>
            <a:r>
              <a:rPr lang="en-GB" dirty="0"/>
              <a:t>Click icon to add picture</a:t>
            </a:r>
          </a:p>
        </p:txBody>
      </p:sp>
      <p:sp>
        <p:nvSpPr>
          <p:cNvPr id="5" name="White gradient image">
            <a:extLst>
              <a:ext uri="{FF2B5EF4-FFF2-40B4-BE49-F238E27FC236}">
                <a16:creationId xmlns:a16="http://schemas.microsoft.com/office/drawing/2014/main" id="{071FDC69-6B87-BC96-6F31-2ED3CEFF241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49599" y="0"/>
            <a:ext cx="5234401" cy="6857999"/>
          </a:xfrm>
          <a:gradFill>
            <a:gsLst>
              <a:gs pos="0">
                <a:schemeClr val="bg1"/>
              </a:gs>
              <a:gs pos="65000">
                <a:schemeClr val="bg1">
                  <a:alpha val="81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</a:gradFill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9" name="Logo">
            <a:extLst>
              <a:ext uri="{FF2B5EF4-FFF2-40B4-BE49-F238E27FC236}">
                <a16:creationId xmlns:a16="http://schemas.microsoft.com/office/drawing/2014/main" id="{24156680-B417-E4AB-EF09-F473E2506A0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752945" y="386029"/>
            <a:ext cx="1130400" cy="363600"/>
          </a:xfrm>
          <a:blipFill>
            <a:blip>
              <a:extLst>
                <a:ext uri="{96DAC541-7B7A-43D3-8B79-37D633B846F1}">
                  <asvg:svgBlip xmlns:asvg="http://schemas.microsoft.com/office/drawing/2016/SVG/main" r:embed="rId2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3A1475A2-DE35-2B77-9CD6-DC97ED54AB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9" y="1341540"/>
            <a:ext cx="4277838" cy="2267648"/>
          </a:xfrm>
        </p:spPr>
        <p:txBody>
          <a:bodyPr anchor="b">
            <a:noAutofit/>
          </a:bodyPr>
          <a:lstStyle>
            <a:lvl1pPr>
              <a:defRPr sz="4800"/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D76757F7-B912-9B68-1FD5-DE57FAAACB7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487488" y="3934365"/>
            <a:ext cx="4277838" cy="936000"/>
          </a:xfrm>
        </p:spPr>
        <p:txBody>
          <a:bodyPr lIns="90000" tIns="46800" rIns="90000" bIns="46800">
            <a:noAutofit/>
          </a:bodyPr>
          <a:lstStyle>
            <a:lvl1pPr>
              <a:defRPr sz="2200"/>
            </a:lvl1pPr>
          </a:lstStyle>
          <a:p>
            <a:pPr lvl="0"/>
            <a:r>
              <a:rPr lang="en-GB" dirty="0"/>
              <a:t>Click to add subtitle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F830D7C3-4ADF-6AB4-8000-0823C6E1DA8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487488" y="5192638"/>
            <a:ext cx="4277838" cy="936000"/>
          </a:xfrm>
        </p:spPr>
        <p:txBody>
          <a:bodyPr lIns="90000" tIns="46800" rIns="90000" bIns="46800">
            <a:noAutofit/>
          </a:bodyPr>
          <a:lstStyle>
            <a:lvl1pPr>
              <a:defRPr sz="1600"/>
            </a:lvl1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" name="Text Placeholder 31">
            <a:extLst>
              <a:ext uri="{FF2B5EF4-FFF2-40B4-BE49-F238E27FC236}">
                <a16:creationId xmlns:a16="http://schemas.microsoft.com/office/drawing/2014/main" id="{87ECDA78-6418-DA08-7661-C7A16A8FC6EF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487489" y="77843"/>
            <a:ext cx="3592800" cy="2808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" name="Slide Number Placeholder 8">
            <a:extLst>
              <a:ext uri="{FF2B5EF4-FFF2-40B4-BE49-F238E27FC236}">
                <a16:creationId xmlns:a16="http://schemas.microsoft.com/office/drawing/2014/main" id="{4DA554A4-414E-497B-00FE-34E29C8A57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651" y="6356350"/>
            <a:ext cx="383694" cy="365125"/>
          </a:xfrm>
        </p:spPr>
        <p:txBody>
          <a:bodyPr anchor="b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01CC8E-1CEF-6746-999E-CF29FF00B1D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82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7545F56-D945-5870-ABAE-38867181FC48}"/>
              </a:ext>
            </a:extLst>
          </p:cNvPr>
          <p:cNvSpPr txBox="1"/>
          <p:nvPr userDrawn="1"/>
        </p:nvSpPr>
        <p:spPr>
          <a:xfrm rot="5400000">
            <a:off x="11494855" y="4565505"/>
            <a:ext cx="1155700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9D9C98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P-48374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9D9C98"/>
              </a:solidFill>
              <a:effectLst/>
              <a:uLnTx/>
              <a:uFillTx/>
              <a:latin typeface="Aptos" panose="02110004020202020204"/>
              <a:ea typeface="Calibri" panose="020F0502020204030204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0515451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 descr="En bild som visar suddig, Färggrann, ljus&#10;&#10;AI-genererat innehåll kan vara felaktigt.">
            <a:extLst>
              <a:ext uri="{FF2B5EF4-FFF2-40B4-BE49-F238E27FC236}">
                <a16:creationId xmlns:a16="http://schemas.microsoft.com/office/drawing/2014/main" id="{15BF47DC-C550-C791-D86F-13EE805A088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47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1"/>
            <a:ext cx="12192000" cy="6786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DCE8C3CE-B9EC-88E2-EFAD-557C75E4B6FD}"/>
              </a:ext>
            </a:extLst>
          </p:cNvPr>
          <p:cNvSpPr/>
          <p:nvPr userDrawn="1"/>
        </p:nvSpPr>
        <p:spPr>
          <a:xfrm>
            <a:off x="0" y="0"/>
            <a:ext cx="12192000" cy="6785998"/>
          </a:xfrm>
          <a:prstGeom prst="rect">
            <a:avLst/>
          </a:prstGeom>
          <a:solidFill>
            <a:srgbClr val="2C5E77">
              <a:alpha val="94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8BE3B9B-05A4-AD0F-F15C-F2F2742EA844}"/>
              </a:ext>
            </a:extLst>
          </p:cNvPr>
          <p:cNvSpPr/>
          <p:nvPr userDrawn="1"/>
        </p:nvSpPr>
        <p:spPr>
          <a:xfrm>
            <a:off x="0" y="6786000"/>
            <a:ext cx="12192000" cy="72000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100000">
                <a:schemeClr val="accent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2" name="Logo">
            <a:extLst>
              <a:ext uri="{FF2B5EF4-FFF2-40B4-BE49-F238E27FC236}">
                <a16:creationId xmlns:a16="http://schemas.microsoft.com/office/drawing/2014/main" id="{307630BC-6365-CD6C-21E5-76CEEEFFFB50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751463" y="384506"/>
            <a:ext cx="1131882" cy="365123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5A4D1BFA-A764-C559-A509-47E688436E3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duotone>
              <a:prstClr val="black"/>
              <a:schemeClr val="accent6">
                <a:tint val="45000"/>
                <a:satMod val="400000"/>
              </a:schemeClr>
            </a:duotone>
            <a:alphaModFix amt="80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colorTemperature colorTemp="3054"/>
                    </a14:imgEffect>
                    <a14:imgEffect>
                      <a14:saturation sat="176000"/>
                    </a14:imgEffect>
                    <a14:imgEffect>
                      <a14:brightnessContrast bright="-10000" contrast="57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0" y="2347725"/>
            <a:ext cx="10479932" cy="4438273"/>
          </a:xfrm>
          <a:prstGeom prst="rect">
            <a:avLst/>
          </a:prstGeom>
        </p:spPr>
      </p:pic>
      <p:sp>
        <p:nvSpPr>
          <p:cNvPr id="14" name="Rectangle 5">
            <a:extLst>
              <a:ext uri="{FF2B5EF4-FFF2-40B4-BE49-F238E27FC236}">
                <a16:creationId xmlns:a16="http://schemas.microsoft.com/office/drawing/2014/main" id="{D55B036A-869B-47C0-3CE8-E3116578F813}"/>
              </a:ext>
            </a:extLst>
          </p:cNvPr>
          <p:cNvSpPr/>
          <p:nvPr userDrawn="1"/>
        </p:nvSpPr>
        <p:spPr>
          <a:xfrm>
            <a:off x="7073" y="0"/>
            <a:ext cx="7914956" cy="6786000"/>
          </a:xfrm>
          <a:prstGeom prst="rect">
            <a:avLst/>
          </a:prstGeom>
          <a:gradFill>
            <a:gsLst>
              <a:gs pos="0">
                <a:srgbClr val="000000">
                  <a:alpha val="41569"/>
                </a:srgbClr>
              </a:gs>
              <a:gs pos="99000">
                <a:srgbClr val="000000">
                  <a:alpha val="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5" name="Title 2">
            <a:extLst>
              <a:ext uri="{FF2B5EF4-FFF2-40B4-BE49-F238E27FC236}">
                <a16:creationId xmlns:a16="http://schemas.microsoft.com/office/drawing/2014/main" id="{A0A1B7F0-6740-82B9-BC7B-6ED23E827A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01271" y="1629000"/>
            <a:ext cx="9789459" cy="3600000"/>
          </a:xfrm>
        </p:spPr>
        <p:txBody>
          <a:bodyPr anchor="ctr">
            <a:noAutofit/>
          </a:bodyPr>
          <a:lstStyle>
            <a:lvl1pPr algn="ctr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7CDEF61-1DD1-7C87-FE84-B199BB6E9C0E}"/>
              </a:ext>
            </a:extLst>
          </p:cNvPr>
          <p:cNvSpPr txBox="1"/>
          <p:nvPr userDrawn="1"/>
        </p:nvSpPr>
        <p:spPr>
          <a:xfrm rot="5400000">
            <a:off x="11494855" y="4565505"/>
            <a:ext cx="1155700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900" dirty="0">
                <a:solidFill>
                  <a:schemeClr val="bg1"/>
                </a:solidFill>
              </a:rPr>
              <a:t>NP-48375</a:t>
            </a:r>
            <a:endParaRPr lang="en-GB" sz="900" dirty="0">
              <a:solidFill>
                <a:schemeClr val="bg1"/>
              </a:solidFill>
              <a:effectLst/>
              <a:latin typeface="+mn-lt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460546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5">
            <a:extLst>
              <a:ext uri="{FF2B5EF4-FFF2-40B4-BE49-F238E27FC236}">
                <a16:creationId xmlns:a16="http://schemas.microsoft.com/office/drawing/2014/main" id="{A2872565-65A8-E761-7E8F-38BB319281CA}"/>
              </a:ext>
            </a:extLst>
          </p:cNvPr>
          <p:cNvSpPr/>
          <p:nvPr userDrawn="1"/>
        </p:nvSpPr>
        <p:spPr>
          <a:xfrm>
            <a:off x="0" y="6786000"/>
            <a:ext cx="12192000" cy="72000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100000">
                <a:schemeClr val="accent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BB54774-267D-4730-A0A3-232988F2BB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9B55630-9418-934D-6FF5-8592AB3DE2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anchor="b"/>
          <a:lstStyle/>
          <a:p>
            <a:fld id="{6101CC8E-1CEF-6746-999E-CF29FF00B1DC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3" name="Reference Placeholder 4">
            <a:extLst>
              <a:ext uri="{FF2B5EF4-FFF2-40B4-BE49-F238E27FC236}">
                <a16:creationId xmlns:a16="http://schemas.microsoft.com/office/drawing/2014/main" id="{287A8D91-F0B1-DEEB-F7C2-6E6D8498728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0645" y="6356349"/>
            <a:ext cx="10440000" cy="363601"/>
          </a:xfrm>
        </p:spPr>
        <p:txBody>
          <a:bodyPr anchor="b">
            <a:noAutofit/>
          </a:bodyPr>
          <a:lstStyle>
            <a:lvl1pPr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>
              <a:buNone/>
              <a:defRPr sz="900"/>
            </a:lvl2pPr>
            <a:lvl3pPr>
              <a:buNone/>
              <a:defRPr sz="9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lvl="0"/>
            <a:r>
              <a:rPr lang="en-GB" dirty="0"/>
              <a:t>Referenc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CC04A2F-4717-9344-547C-7EC5FD99478B}"/>
              </a:ext>
            </a:extLst>
          </p:cNvPr>
          <p:cNvSpPr txBox="1"/>
          <p:nvPr userDrawn="1"/>
        </p:nvSpPr>
        <p:spPr>
          <a:xfrm rot="5400000">
            <a:off x="11494855" y="4565505"/>
            <a:ext cx="1155700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900" dirty="0">
                <a:solidFill>
                  <a:schemeClr val="bg2"/>
                </a:solidFill>
              </a:rPr>
              <a:t>NP-48375</a:t>
            </a:r>
            <a:endParaRPr lang="en-GB" sz="900" dirty="0">
              <a:solidFill>
                <a:schemeClr val="bg2"/>
              </a:solidFill>
              <a:effectLst/>
              <a:latin typeface="+mn-lt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6324437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sv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1.svg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2.xml"/><Relationship Id="rId4" Type="http://schemas.openxmlformats.org/officeDocument/2006/relationships/slideLayout" Target="../slideLayouts/slideLayout11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7" Type="http://schemas.openxmlformats.org/officeDocument/2006/relationships/image" Target="../media/image1.svg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svg"/><Relationship Id="rId3" Type="http://schemas.openxmlformats.org/officeDocument/2006/relationships/slideLayout" Target="../slideLayouts/slideLayout20.xml"/><Relationship Id="rId7" Type="http://schemas.openxmlformats.org/officeDocument/2006/relationships/theme" Target="../theme/theme4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5" Type="http://schemas.openxmlformats.org/officeDocument/2006/relationships/slideLayout" Target="../slideLayouts/slideLayout22.xml"/><Relationship Id="rId4" Type="http://schemas.openxmlformats.org/officeDocument/2006/relationships/slideLayout" Target="../slideLayouts/slideLayout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2B17E34-5B57-13AE-6864-7EFA3FC41D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0647" y="311858"/>
            <a:ext cx="9789459" cy="632402"/>
          </a:xfrm>
          <a:prstGeom prst="rect">
            <a:avLst/>
          </a:prstGeom>
        </p:spPr>
        <p:txBody>
          <a:bodyPr vert="horz" lIns="90000" tIns="46800" rIns="90000" bIns="46800" rtlCol="0" anchor="t">
            <a:noAutofit/>
          </a:bodyPr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CC330DA-87ED-161B-B502-4B207079F8E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0647" y="1331779"/>
            <a:ext cx="10824882" cy="479191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D4C9A07-7589-6720-DA6B-40153FC3727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99651" y="6356350"/>
            <a:ext cx="383694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6101CC8E-1CEF-6746-999E-CF29FF00B1DC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2" name="Logo">
            <a:extLst>
              <a:ext uri="{FF2B5EF4-FFF2-40B4-BE49-F238E27FC236}">
                <a16:creationId xmlns:a16="http://schemas.microsoft.com/office/drawing/2014/main" id="{B139D7B1-25FF-46DA-C540-3ED030F1A39F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51463" y="384505"/>
            <a:ext cx="1131882" cy="365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89944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721" r:id="rId2"/>
    <p:sldLayoutId id="2147483722" r:id="rId3"/>
    <p:sldLayoutId id="2147483724" r:id="rId4"/>
    <p:sldLayoutId id="2147483723" r:id="rId5"/>
    <p:sldLayoutId id="2147483746" r:id="rId6"/>
    <p:sldLayoutId id="2147483747" r:id="rId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400" b="0" i="0" kern="1200">
          <a:solidFill>
            <a:schemeClr val="tx2"/>
          </a:solidFill>
          <a:latin typeface="Aptos" panose="020B0004020202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400" kern="1200">
          <a:solidFill>
            <a:schemeClr val="tx2"/>
          </a:solidFill>
          <a:latin typeface="+mn-lt"/>
          <a:ea typeface="+mn-ea"/>
          <a:cs typeface="+mn-cs"/>
        </a:defRPr>
      </a:lvl1pPr>
      <a:lvl2pPr marL="11113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tabLst/>
        <a:defRPr sz="2000" kern="1200">
          <a:solidFill>
            <a:schemeClr val="tx2"/>
          </a:solidFill>
          <a:latin typeface="+mn-lt"/>
          <a:ea typeface="+mn-ea"/>
          <a:cs typeface="+mn-cs"/>
        </a:defRPr>
      </a:lvl2pPr>
      <a:lvl3pPr marL="11113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tabLst/>
        <a:defRPr sz="1800" kern="1200">
          <a:solidFill>
            <a:schemeClr val="tx2"/>
          </a:solidFill>
          <a:latin typeface="+mn-lt"/>
          <a:ea typeface="+mn-ea"/>
          <a:cs typeface="+mn-cs"/>
        </a:defRPr>
      </a:lvl3pPr>
      <a:lvl4pPr marL="11113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tabLst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11113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tabLst/>
        <a:defRPr sz="18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2B17E34-5B57-13AE-6864-7EFA3FC41D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0647" y="311858"/>
            <a:ext cx="9789459" cy="632402"/>
          </a:xfrm>
          <a:prstGeom prst="rect">
            <a:avLst/>
          </a:prstGeom>
        </p:spPr>
        <p:txBody>
          <a:bodyPr vert="horz" lIns="90000" tIns="46800" rIns="90000" bIns="46800" rtlCol="0" anchor="t">
            <a:noAutofit/>
          </a:bodyPr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CC330DA-87ED-161B-B502-4B207079F8E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0647" y="1331779"/>
            <a:ext cx="10824882" cy="479191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D4C9A07-7589-6720-DA6B-40153FC3727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99651" y="6356350"/>
            <a:ext cx="383694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6101CC8E-1CEF-6746-999E-CF29FF00B1DC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2" name="Logo">
            <a:extLst>
              <a:ext uri="{FF2B5EF4-FFF2-40B4-BE49-F238E27FC236}">
                <a16:creationId xmlns:a16="http://schemas.microsoft.com/office/drawing/2014/main" id="{B139D7B1-25FF-46DA-C540-3ED030F1A39F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51463" y="384505"/>
            <a:ext cx="1131882" cy="365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25300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  <p:sldLayoutId id="2147483731" r:id="rId4"/>
    <p:sldLayoutId id="2147483732" r:id="rId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0" i="0" kern="1200">
          <a:solidFill>
            <a:schemeClr val="tx2"/>
          </a:solidFill>
          <a:latin typeface="Aptos" panose="020B0004020202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400" kern="1200">
          <a:solidFill>
            <a:schemeClr val="tx2"/>
          </a:solidFill>
          <a:latin typeface="+mn-lt"/>
          <a:ea typeface="+mn-ea"/>
          <a:cs typeface="+mn-cs"/>
        </a:defRPr>
      </a:lvl1pPr>
      <a:lvl2pPr marL="11113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tabLst/>
        <a:defRPr sz="2000" kern="1200">
          <a:solidFill>
            <a:schemeClr val="tx2"/>
          </a:solidFill>
          <a:latin typeface="+mn-lt"/>
          <a:ea typeface="+mn-ea"/>
          <a:cs typeface="+mn-cs"/>
        </a:defRPr>
      </a:lvl2pPr>
      <a:lvl3pPr marL="11113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tabLst/>
        <a:defRPr sz="1800" kern="1200">
          <a:solidFill>
            <a:schemeClr val="tx2"/>
          </a:solidFill>
          <a:latin typeface="+mn-lt"/>
          <a:ea typeface="+mn-ea"/>
          <a:cs typeface="+mn-cs"/>
        </a:defRPr>
      </a:lvl3pPr>
      <a:lvl4pPr marL="11113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tabLst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11113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tabLst/>
        <a:defRPr sz="18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2B17E34-5B57-13AE-6864-7EFA3FC41D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0647" y="311858"/>
            <a:ext cx="9789459" cy="632402"/>
          </a:xfrm>
          <a:prstGeom prst="rect">
            <a:avLst/>
          </a:prstGeom>
        </p:spPr>
        <p:txBody>
          <a:bodyPr vert="horz" lIns="90000" tIns="46800" rIns="90000" bIns="46800" rtlCol="0" anchor="t">
            <a:no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CC330DA-87ED-161B-B502-4B207079F8E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0647" y="1331779"/>
            <a:ext cx="10824882" cy="479191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D4C9A07-7589-6720-DA6B-40153FC3727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99651" y="6356350"/>
            <a:ext cx="383694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6101CC8E-1CEF-6746-999E-CF29FF00B1DC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2" name="Logo">
            <a:extLst>
              <a:ext uri="{FF2B5EF4-FFF2-40B4-BE49-F238E27FC236}">
                <a16:creationId xmlns:a16="http://schemas.microsoft.com/office/drawing/2014/main" id="{B139D7B1-25FF-46DA-C540-3ED030F1A39F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51463" y="384505"/>
            <a:ext cx="1131882" cy="365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81690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4" r:id="rId1"/>
    <p:sldLayoutId id="2147483735" r:id="rId2"/>
    <p:sldLayoutId id="2147483736" r:id="rId3"/>
    <p:sldLayoutId id="2147483737" r:id="rId4"/>
    <p:sldLayoutId id="2147483738" r:id="rId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0" i="0" kern="1200">
          <a:solidFill>
            <a:schemeClr val="tx2"/>
          </a:solidFill>
          <a:latin typeface="Aptos" panose="020B0004020202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400" kern="1200">
          <a:solidFill>
            <a:schemeClr val="tx2"/>
          </a:solidFill>
          <a:latin typeface="+mn-lt"/>
          <a:ea typeface="+mn-ea"/>
          <a:cs typeface="+mn-cs"/>
        </a:defRPr>
      </a:lvl1pPr>
      <a:lvl2pPr marL="11113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tabLst/>
        <a:defRPr sz="2000" kern="1200">
          <a:solidFill>
            <a:schemeClr val="tx2"/>
          </a:solidFill>
          <a:latin typeface="+mn-lt"/>
          <a:ea typeface="+mn-ea"/>
          <a:cs typeface="+mn-cs"/>
        </a:defRPr>
      </a:lvl2pPr>
      <a:lvl3pPr marL="11113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tabLst/>
        <a:defRPr sz="1800" kern="1200">
          <a:solidFill>
            <a:schemeClr val="tx2"/>
          </a:solidFill>
          <a:latin typeface="+mn-lt"/>
          <a:ea typeface="+mn-ea"/>
          <a:cs typeface="+mn-cs"/>
        </a:defRPr>
      </a:lvl3pPr>
      <a:lvl4pPr marL="11113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tabLst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11113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tabLst/>
        <a:defRPr sz="18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2B17E34-5B57-13AE-6864-7EFA3FC41D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0647" y="311858"/>
            <a:ext cx="9789459" cy="632402"/>
          </a:xfrm>
          <a:prstGeom prst="rect">
            <a:avLst/>
          </a:prstGeom>
        </p:spPr>
        <p:txBody>
          <a:bodyPr vert="horz" lIns="90000" tIns="46800" rIns="90000" bIns="46800" rtlCol="0" anchor="t">
            <a:no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CC330DA-87ED-161B-B502-4B207079F8E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0647" y="1331779"/>
            <a:ext cx="10824882" cy="479191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D4C9A07-7589-6720-DA6B-40153FC3727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99651" y="6356350"/>
            <a:ext cx="383694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6101CC8E-1CEF-6746-999E-CF29FF00B1DC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2" name="Logo">
            <a:extLst>
              <a:ext uri="{FF2B5EF4-FFF2-40B4-BE49-F238E27FC236}">
                <a16:creationId xmlns:a16="http://schemas.microsoft.com/office/drawing/2014/main" id="{B139D7B1-25FF-46DA-C540-3ED030F1A39F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751463" y="384505"/>
            <a:ext cx="1131882" cy="365124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2FD8FD93-5064-EE29-790F-8C27B78F7856}"/>
              </a:ext>
            </a:extLst>
          </p:cNvPr>
          <p:cNvSpPr txBox="1"/>
          <p:nvPr userDrawn="1"/>
        </p:nvSpPr>
        <p:spPr>
          <a:xfrm rot="5400000">
            <a:off x="11494855" y="4565505"/>
            <a:ext cx="1155700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900">
                <a:solidFill>
                  <a:schemeClr val="bg2"/>
                </a:solidFill>
              </a:rPr>
              <a:t>NP-48377</a:t>
            </a:r>
            <a:endParaRPr lang="en-GB" sz="900">
              <a:solidFill>
                <a:schemeClr val="bg2"/>
              </a:solidFill>
              <a:effectLst/>
              <a:latin typeface="+mn-lt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286140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9" r:id="rId1"/>
    <p:sldLayoutId id="2147483750" r:id="rId2"/>
    <p:sldLayoutId id="2147483751" r:id="rId3"/>
    <p:sldLayoutId id="2147483752" r:id="rId4"/>
    <p:sldLayoutId id="2147483753" r:id="rId5"/>
    <p:sldLayoutId id="2147483754" r:id="rId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400" b="0" i="0" kern="1200">
          <a:solidFill>
            <a:schemeClr val="tx2"/>
          </a:solidFill>
          <a:latin typeface="Aptos" panose="020B0004020202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400" kern="1200">
          <a:solidFill>
            <a:schemeClr val="tx2"/>
          </a:solidFill>
          <a:latin typeface="+mn-lt"/>
          <a:ea typeface="+mn-ea"/>
          <a:cs typeface="+mn-cs"/>
        </a:defRPr>
      </a:lvl1pPr>
      <a:lvl2pPr marL="11113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tabLst/>
        <a:defRPr sz="2000" kern="1200">
          <a:solidFill>
            <a:schemeClr val="tx2"/>
          </a:solidFill>
          <a:latin typeface="+mn-lt"/>
          <a:ea typeface="+mn-ea"/>
          <a:cs typeface="+mn-cs"/>
        </a:defRPr>
      </a:lvl2pPr>
      <a:lvl3pPr marL="11113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tabLst/>
        <a:defRPr sz="1800" kern="1200">
          <a:solidFill>
            <a:schemeClr val="tx2"/>
          </a:solidFill>
          <a:latin typeface="+mn-lt"/>
          <a:ea typeface="+mn-ea"/>
          <a:cs typeface="+mn-cs"/>
        </a:defRPr>
      </a:lvl3pPr>
      <a:lvl4pPr marL="11113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tabLst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11113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tabLst/>
        <a:defRPr sz="18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8.png"/></Relationships>
</file>

<file path=ppt/slides/_rels/slide10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0.xml"/><Relationship Id="rId1" Type="http://schemas.openxmlformats.org/officeDocument/2006/relationships/slideLayout" Target="../slideLayouts/slideLayout6.xml"/></Relationships>
</file>

<file path=ppt/slides/_rels/slide10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1.xml"/><Relationship Id="rId1" Type="http://schemas.openxmlformats.org/officeDocument/2006/relationships/slideLayout" Target="../slideLayouts/slideLayout7.xml"/></Relationships>
</file>

<file path=ppt/slides/_rels/slide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102.xml"/><Relationship Id="rId1" Type="http://schemas.openxmlformats.org/officeDocument/2006/relationships/slideLayout" Target="../slideLayouts/slideLayout6.xml"/></Relationships>
</file>

<file path=ppt/slides/_rels/slide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103.xml"/><Relationship Id="rId1" Type="http://schemas.openxmlformats.org/officeDocument/2006/relationships/slideLayout" Target="../slideLayouts/slideLayout6.xml"/></Relationships>
</file>

<file path=ppt/slides/_rels/slide10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4.xml"/><Relationship Id="rId1" Type="http://schemas.openxmlformats.org/officeDocument/2006/relationships/slideLayout" Target="../slideLayouts/slideLayout4.xml"/></Relationships>
</file>

<file path=ppt/slides/_rels/slide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05.xml"/><Relationship Id="rId1" Type="http://schemas.openxmlformats.org/officeDocument/2006/relationships/slideLayout" Target="../slideLayouts/slideLayout6.xml"/></Relationships>
</file>

<file path=ppt/slides/_rels/slide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06.xml"/><Relationship Id="rId1" Type="http://schemas.openxmlformats.org/officeDocument/2006/relationships/slideLayout" Target="../slideLayouts/slideLayout6.xml"/></Relationships>
</file>

<file path=ppt/slides/_rels/slide10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7.xml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9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9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20.emf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9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9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9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9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23.svg"/><Relationship Id="rId5" Type="http://schemas.openxmlformats.org/officeDocument/2006/relationships/image" Target="../media/image22.png"/><Relationship Id="rId4" Type="http://schemas.microsoft.com/office/2007/relationships/hdphoto" Target="../media/hdphoto5.wdp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0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3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4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4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.xml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25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4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14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4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14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31.svg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14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14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png"/><Relationship Id="rId5" Type="http://schemas.openxmlformats.org/officeDocument/2006/relationships/image" Target="../media/image12.jpeg"/><Relationship Id="rId4" Type="http://schemas.openxmlformats.org/officeDocument/2006/relationships/image" Target="../media/image11.png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14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14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14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14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svg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14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14.xml"/><Relationship Id="rId4" Type="http://schemas.microsoft.com/office/2007/relationships/hdphoto" Target="../media/hdphoto6.wdp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14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svg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14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14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3.png"/><Relationship Id="rId5" Type="http://schemas.openxmlformats.org/officeDocument/2006/relationships/image" Target="../media/image15.jpeg"/><Relationship Id="rId4" Type="http://schemas.openxmlformats.org/officeDocument/2006/relationships/image" Target="../media/image14.png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15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20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19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35.jpeg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35.jpe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35.jpeg"/><Relationship Id="rId4" Type="http://schemas.openxmlformats.org/officeDocument/2006/relationships/image" Target="../media/image34.jpeg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35.jpeg"/><Relationship Id="rId4" Type="http://schemas.openxmlformats.org/officeDocument/2006/relationships/image" Target="../media/image34.jpeg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19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notesSlide" Target="../notesSlides/notesSlide58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38.jpeg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notesSlide" Target="../notesSlides/notesSlide59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38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0.xml"/><Relationship Id="rId1" Type="http://schemas.openxmlformats.org/officeDocument/2006/relationships/slideLayout" Target="../slideLayouts/slideLayout19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61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40.png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62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40.png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63.xml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4.xml"/><Relationship Id="rId1" Type="http://schemas.openxmlformats.org/officeDocument/2006/relationships/slideLayout" Target="../slideLayouts/slideLayout19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5.xml"/><Relationship Id="rId1" Type="http://schemas.openxmlformats.org/officeDocument/2006/relationships/slideLayout" Target="../slideLayouts/slideLayout19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6.xml"/><Relationship Id="rId1" Type="http://schemas.openxmlformats.org/officeDocument/2006/relationships/slideLayout" Target="../slideLayouts/slideLayout19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7.xml"/><Relationship Id="rId1" Type="http://schemas.openxmlformats.org/officeDocument/2006/relationships/slideLayout" Target="../slideLayouts/slideLayout19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8.xml"/><Relationship Id="rId1" Type="http://schemas.openxmlformats.org/officeDocument/2006/relationships/slideLayout" Target="../slideLayouts/slideLayout19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9.xml"/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0.xml"/><Relationship Id="rId1" Type="http://schemas.openxmlformats.org/officeDocument/2006/relationships/slideLayout" Target="../slideLayouts/slideLayout19.xml"/></Relationships>
</file>

<file path=ppt/slides/_rels/slide7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1.xml"/><Relationship Id="rId1" Type="http://schemas.openxmlformats.org/officeDocument/2006/relationships/slideLayout" Target="../slideLayouts/slideLayout19.xml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2.xml"/><Relationship Id="rId1" Type="http://schemas.openxmlformats.org/officeDocument/2006/relationships/slideLayout" Target="../slideLayouts/slideLayout19.xml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notesSlide" Target="../notesSlides/notesSlide73.xml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44.png"/><Relationship Id="rId4" Type="http://schemas.openxmlformats.org/officeDocument/2006/relationships/image" Target="../media/image43.jpeg"/></Relationships>
</file>

<file path=ppt/slides/_rels/slide7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4.xml"/><Relationship Id="rId1" Type="http://schemas.openxmlformats.org/officeDocument/2006/relationships/slideLayout" Target="../slideLayouts/slideLayout19.xml"/></Relationships>
</file>

<file path=ppt/slides/_rels/slide7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5.xml"/><Relationship Id="rId1" Type="http://schemas.openxmlformats.org/officeDocument/2006/relationships/slideLayout" Target="../slideLayouts/slideLayout19.xml"/></Relationships>
</file>

<file path=ppt/slides/_rels/slide7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6.xml"/><Relationship Id="rId1" Type="http://schemas.openxmlformats.org/officeDocument/2006/relationships/slideLayout" Target="../slideLayouts/slideLayout19.xml"/></Relationships>
</file>

<file path=ppt/slides/_rels/slide7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7.xml"/><Relationship Id="rId1" Type="http://schemas.openxmlformats.org/officeDocument/2006/relationships/slideLayout" Target="../slideLayouts/slideLayout19.xml"/></Relationships>
</file>

<file path=ppt/slides/_rels/slide7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8.xml"/><Relationship Id="rId1" Type="http://schemas.openxmlformats.org/officeDocument/2006/relationships/slideLayout" Target="../slideLayouts/slideLayout19.xml"/></Relationships>
</file>

<file path=ppt/slides/_rels/slide7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9.xml"/><Relationship Id="rId1" Type="http://schemas.openxmlformats.org/officeDocument/2006/relationships/slideLayout" Target="../slideLayouts/slideLayout1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9.xml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eg"/><Relationship Id="rId2" Type="http://schemas.openxmlformats.org/officeDocument/2006/relationships/notesSlide" Target="../notesSlides/notesSlide80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46.jpeg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eg"/><Relationship Id="rId2" Type="http://schemas.openxmlformats.org/officeDocument/2006/relationships/notesSlide" Target="../notesSlides/notesSlide81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46.jpeg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eg"/><Relationship Id="rId2" Type="http://schemas.openxmlformats.org/officeDocument/2006/relationships/notesSlide" Target="../notesSlides/notesSlide82.xml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47.jpeg"/><Relationship Id="rId4" Type="http://schemas.openxmlformats.org/officeDocument/2006/relationships/image" Target="../media/image46.jpeg"/></Relationships>
</file>

<file path=ppt/slides/_rels/slide8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3.xml"/><Relationship Id="rId1" Type="http://schemas.openxmlformats.org/officeDocument/2006/relationships/slideLayout" Target="../slideLayouts/slideLayout21.xml"/></Relationships>
</file>

<file path=ppt/slides/_rels/slide8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4.xml"/><Relationship Id="rId1" Type="http://schemas.openxmlformats.org/officeDocument/2006/relationships/slideLayout" Target="../slideLayouts/slideLayout4.xml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85.xml"/><Relationship Id="rId1" Type="http://schemas.openxmlformats.org/officeDocument/2006/relationships/slideLayout" Target="../slideLayouts/slideLayout6.xml"/></Relationships>
</file>

<file path=ppt/slides/_rels/slide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86.xml"/><Relationship Id="rId1" Type="http://schemas.openxmlformats.org/officeDocument/2006/relationships/slideLayout" Target="../slideLayouts/slideLayout6.xml"/><Relationship Id="rId4" Type="http://schemas.microsoft.com/office/2007/relationships/hdphoto" Target="../media/hdphoto7.wdp"/></Relationships>
</file>

<file path=ppt/slides/_rels/slide8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7.xml"/><Relationship Id="rId1" Type="http://schemas.openxmlformats.org/officeDocument/2006/relationships/slideLayout" Target="../slideLayouts/slideLayout6.xml"/></Relationships>
</file>

<file path=ppt/slides/_rels/slide8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8.xml"/><Relationship Id="rId1" Type="http://schemas.openxmlformats.org/officeDocument/2006/relationships/slideLayout" Target="../slideLayouts/slideLayout6.xml"/></Relationships>
</file>

<file path=ppt/slides/_rels/slide8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89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8.png"/></Relationships>
</file>

<file path=ppt/slides/_rels/slide9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0.xml"/><Relationship Id="rId1" Type="http://schemas.openxmlformats.org/officeDocument/2006/relationships/slideLayout" Target="../slideLayouts/slideLayout6.xml"/></Relationships>
</file>

<file path=ppt/slides/_rels/slide9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1.xml"/><Relationship Id="rId1" Type="http://schemas.openxmlformats.org/officeDocument/2006/relationships/slideLayout" Target="../slideLayouts/slideLayout6.xml"/></Relationships>
</file>

<file path=ppt/slides/_rels/slide9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2.xml"/><Relationship Id="rId1" Type="http://schemas.openxmlformats.org/officeDocument/2006/relationships/slideLayout" Target="../slideLayouts/slideLayout2.xml"/></Relationships>
</file>

<file path=ppt/slides/_rels/slide9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93.xml"/><Relationship Id="rId1" Type="http://schemas.openxmlformats.org/officeDocument/2006/relationships/slideLayout" Target="../slideLayouts/slideLayout6.xml"/></Relationships>
</file>

<file path=ppt/slides/_rels/slide9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4.xml"/><Relationship Id="rId1" Type="http://schemas.openxmlformats.org/officeDocument/2006/relationships/slideLayout" Target="../slideLayouts/slideLayout6.xml"/></Relationships>
</file>

<file path=ppt/slides/_rels/slide9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5.xml"/><Relationship Id="rId1" Type="http://schemas.openxmlformats.org/officeDocument/2006/relationships/slideLayout" Target="../slideLayouts/slideLayout6.xml"/></Relationships>
</file>

<file path=ppt/slides/_rels/slide9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6.xml"/><Relationship Id="rId1" Type="http://schemas.openxmlformats.org/officeDocument/2006/relationships/slideLayout" Target="../slideLayouts/slideLayout6.xml"/></Relationships>
</file>

<file path=ppt/slides/_rels/slide9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7.xml"/><Relationship Id="rId1" Type="http://schemas.openxmlformats.org/officeDocument/2006/relationships/slideLayout" Target="../slideLayouts/slideLayout6.xml"/></Relationships>
</file>

<file path=ppt/slides/_rels/slide9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98.xml"/><Relationship Id="rId1" Type="http://schemas.openxmlformats.org/officeDocument/2006/relationships/slideLayout" Target="../slideLayouts/slideLayout6.xml"/></Relationships>
</file>

<file path=ppt/slides/_rels/slide9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9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49967B-1EB1-8588-9394-BA6BA1D613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50" name="Free-form: Shape 5649">
            <a:extLst>
              <a:ext uri="{FF2B5EF4-FFF2-40B4-BE49-F238E27FC236}">
                <a16:creationId xmlns:a16="http://schemas.microsoft.com/office/drawing/2014/main" id="{DEE07B06-83FC-13EA-9877-E8DE59EC0933}"/>
              </a:ext>
            </a:extLst>
          </p:cNvPr>
          <p:cNvSpPr/>
          <p:nvPr/>
        </p:nvSpPr>
        <p:spPr>
          <a:xfrm>
            <a:off x="-15240" y="2242375"/>
            <a:ext cx="7482840" cy="2933700"/>
          </a:xfrm>
          <a:custGeom>
            <a:avLst/>
            <a:gdLst>
              <a:gd name="csX0" fmla="*/ 7429500 w 7429500"/>
              <a:gd name="csY0" fmla="*/ 2880360 h 2933700"/>
              <a:gd name="csX1" fmla="*/ 0 w 7429500"/>
              <a:gd name="csY1" fmla="*/ 0 h 2933700"/>
              <a:gd name="csX2" fmla="*/ 15240 w 7429500"/>
              <a:gd name="csY2" fmla="*/ 2933700 h 2933700"/>
              <a:gd name="csX3" fmla="*/ 7429500 w 7429500"/>
              <a:gd name="csY3" fmla="*/ 2880360 h 2933700"/>
              <a:gd name="csX0" fmla="*/ 7482840 w 7482840"/>
              <a:gd name="csY0" fmla="*/ 2446020 h 2933700"/>
              <a:gd name="csX1" fmla="*/ 0 w 7482840"/>
              <a:gd name="csY1" fmla="*/ 0 h 2933700"/>
              <a:gd name="csX2" fmla="*/ 15240 w 7482840"/>
              <a:gd name="csY2" fmla="*/ 2933700 h 2933700"/>
              <a:gd name="csX3" fmla="*/ 7482840 w 7482840"/>
              <a:gd name="csY3" fmla="*/ 2446020 h 293370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</a:cxnLst>
            <a:rect l="l" t="t" r="r" b="b"/>
            <a:pathLst>
              <a:path w="7482840" h="2933700">
                <a:moveTo>
                  <a:pt x="7482840" y="2446020"/>
                </a:moveTo>
                <a:lnTo>
                  <a:pt x="0" y="0"/>
                </a:lnTo>
                <a:lnTo>
                  <a:pt x="15240" y="2933700"/>
                </a:lnTo>
                <a:lnTo>
                  <a:pt x="7482840" y="2446020"/>
                </a:lnTo>
                <a:close/>
              </a:path>
            </a:pathLst>
          </a:custGeom>
          <a:solidFill>
            <a:srgbClr val="4CA1A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6833" name="Rectangle 6831">
            <a:extLst>
              <a:ext uri="{FF2B5EF4-FFF2-40B4-BE49-F238E27FC236}">
                <a16:creationId xmlns:a16="http://schemas.microsoft.com/office/drawing/2014/main" id="{A06DE67E-C38B-6B5F-93DA-542A0ACE7CBF}"/>
              </a:ext>
            </a:extLst>
          </p:cNvPr>
          <p:cNvSpPr/>
          <p:nvPr/>
        </p:nvSpPr>
        <p:spPr>
          <a:xfrm>
            <a:off x="-15241" y="4693254"/>
            <a:ext cx="11208951" cy="2171519"/>
          </a:xfrm>
          <a:custGeom>
            <a:avLst/>
            <a:gdLst>
              <a:gd name="csX0" fmla="*/ 0 w 8532410"/>
              <a:gd name="csY0" fmla="*/ 0 h 2170332"/>
              <a:gd name="csX1" fmla="*/ 8532410 w 8532410"/>
              <a:gd name="csY1" fmla="*/ 0 h 2170332"/>
              <a:gd name="csX2" fmla="*/ 8532410 w 8532410"/>
              <a:gd name="csY2" fmla="*/ 2170332 h 2170332"/>
              <a:gd name="csX3" fmla="*/ 0 w 8532410"/>
              <a:gd name="csY3" fmla="*/ 2170332 h 2170332"/>
              <a:gd name="csX4" fmla="*/ 0 w 8532410"/>
              <a:gd name="csY4" fmla="*/ 0 h 2170332"/>
              <a:gd name="csX0" fmla="*/ 0 w 12082060"/>
              <a:gd name="csY0" fmla="*/ 0 h 2170332"/>
              <a:gd name="csX1" fmla="*/ 8532410 w 12082060"/>
              <a:gd name="csY1" fmla="*/ 0 h 2170332"/>
              <a:gd name="csX2" fmla="*/ 12082060 w 12082060"/>
              <a:gd name="csY2" fmla="*/ 2163982 h 2170332"/>
              <a:gd name="csX3" fmla="*/ 0 w 12082060"/>
              <a:gd name="csY3" fmla="*/ 2170332 h 2170332"/>
              <a:gd name="csX4" fmla="*/ 0 w 12082060"/>
              <a:gd name="csY4" fmla="*/ 0 h 2170332"/>
              <a:gd name="csX0" fmla="*/ 0 w 12082060"/>
              <a:gd name="csY0" fmla="*/ 0 h 2170332"/>
              <a:gd name="csX1" fmla="*/ 8513360 w 12082060"/>
              <a:gd name="csY1" fmla="*/ 133350 h 2170332"/>
              <a:gd name="csX2" fmla="*/ 12082060 w 12082060"/>
              <a:gd name="csY2" fmla="*/ 2163982 h 2170332"/>
              <a:gd name="csX3" fmla="*/ 0 w 12082060"/>
              <a:gd name="csY3" fmla="*/ 2170332 h 2170332"/>
              <a:gd name="csX4" fmla="*/ 0 w 12082060"/>
              <a:gd name="csY4" fmla="*/ 0 h 2170332"/>
              <a:gd name="csX0" fmla="*/ 0 w 12082060"/>
              <a:gd name="csY0" fmla="*/ 0 h 2170332"/>
              <a:gd name="csX1" fmla="*/ 8475260 w 12082060"/>
              <a:gd name="csY1" fmla="*/ 6350 h 2170332"/>
              <a:gd name="csX2" fmla="*/ 12082060 w 12082060"/>
              <a:gd name="csY2" fmla="*/ 2163982 h 2170332"/>
              <a:gd name="csX3" fmla="*/ 0 w 12082060"/>
              <a:gd name="csY3" fmla="*/ 2170332 h 2170332"/>
              <a:gd name="csX4" fmla="*/ 0 w 12082060"/>
              <a:gd name="csY4" fmla="*/ 0 h 2170332"/>
              <a:gd name="csX0" fmla="*/ 0 w 12120160"/>
              <a:gd name="csY0" fmla="*/ 0 h 2170332"/>
              <a:gd name="csX1" fmla="*/ 8513360 w 12120160"/>
              <a:gd name="csY1" fmla="*/ 6350 h 2170332"/>
              <a:gd name="csX2" fmla="*/ 12120160 w 12120160"/>
              <a:gd name="csY2" fmla="*/ 2163982 h 2170332"/>
              <a:gd name="csX3" fmla="*/ 38100 w 12120160"/>
              <a:gd name="csY3" fmla="*/ 2170332 h 2170332"/>
              <a:gd name="csX4" fmla="*/ 0 w 12120160"/>
              <a:gd name="csY4" fmla="*/ 0 h 2170332"/>
              <a:gd name="csX0" fmla="*/ 0 w 12120160"/>
              <a:gd name="csY0" fmla="*/ 0 h 2189382"/>
              <a:gd name="csX1" fmla="*/ 8513360 w 12120160"/>
              <a:gd name="csY1" fmla="*/ 6350 h 2189382"/>
              <a:gd name="csX2" fmla="*/ 12120160 w 12120160"/>
              <a:gd name="csY2" fmla="*/ 2163982 h 2189382"/>
              <a:gd name="csX3" fmla="*/ 12700 w 12120160"/>
              <a:gd name="csY3" fmla="*/ 2189382 h 2189382"/>
              <a:gd name="csX4" fmla="*/ 0 w 12120160"/>
              <a:gd name="csY4" fmla="*/ 0 h 2189382"/>
              <a:gd name="csX0" fmla="*/ 7119 w 12127279"/>
              <a:gd name="csY0" fmla="*/ 0 h 2183032"/>
              <a:gd name="csX1" fmla="*/ 8520479 w 12127279"/>
              <a:gd name="csY1" fmla="*/ 6350 h 2183032"/>
              <a:gd name="csX2" fmla="*/ 12127279 w 12127279"/>
              <a:gd name="csY2" fmla="*/ 2163982 h 2183032"/>
              <a:gd name="csX3" fmla="*/ 769 w 12127279"/>
              <a:gd name="csY3" fmla="*/ 2183032 h 2183032"/>
              <a:gd name="csX4" fmla="*/ 7119 w 12127279"/>
              <a:gd name="csY4" fmla="*/ 0 h 2183032"/>
              <a:gd name="csX0" fmla="*/ 7119 w 12103466"/>
              <a:gd name="csY0" fmla="*/ 0 h 2183032"/>
              <a:gd name="csX1" fmla="*/ 8520479 w 12103466"/>
              <a:gd name="csY1" fmla="*/ 6350 h 2183032"/>
              <a:gd name="csX2" fmla="*/ 12103466 w 12103466"/>
              <a:gd name="csY2" fmla="*/ 2180650 h 2183032"/>
              <a:gd name="csX3" fmla="*/ 769 w 12103466"/>
              <a:gd name="csY3" fmla="*/ 2183032 h 2183032"/>
              <a:gd name="csX4" fmla="*/ 7119 w 12103466"/>
              <a:gd name="csY4" fmla="*/ 0 h 218303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2103466" h="2183032">
                <a:moveTo>
                  <a:pt x="7119" y="0"/>
                </a:moveTo>
                <a:lnTo>
                  <a:pt x="8520479" y="6350"/>
                </a:lnTo>
                <a:lnTo>
                  <a:pt x="12103466" y="2180650"/>
                </a:lnTo>
                <a:lnTo>
                  <a:pt x="769" y="2183032"/>
                </a:lnTo>
                <a:cubicBezTo>
                  <a:pt x="-3464" y="1453238"/>
                  <a:pt x="11352" y="729794"/>
                  <a:pt x="71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7" name="Free-form: Shape 56">
            <a:extLst>
              <a:ext uri="{FF2B5EF4-FFF2-40B4-BE49-F238E27FC236}">
                <a16:creationId xmlns:a16="http://schemas.microsoft.com/office/drawing/2014/main" id="{6D6D7F02-4080-467B-7237-8585B1DEBB14}"/>
              </a:ext>
            </a:extLst>
          </p:cNvPr>
          <p:cNvSpPr/>
          <p:nvPr/>
        </p:nvSpPr>
        <p:spPr>
          <a:xfrm>
            <a:off x="-7690" y="4678787"/>
            <a:ext cx="7627416" cy="235696"/>
          </a:xfrm>
          <a:custGeom>
            <a:avLst/>
            <a:gdLst>
              <a:gd name="csX0" fmla="*/ 5277221 w 7627416"/>
              <a:gd name="csY0" fmla="*/ 11057 h 235696"/>
              <a:gd name="csX1" fmla="*/ 6304303 w 7627416"/>
              <a:gd name="csY1" fmla="*/ 12581 h 235696"/>
              <a:gd name="csX2" fmla="*/ 6597098 w 7627416"/>
              <a:gd name="csY2" fmla="*/ 235696 h 235696"/>
              <a:gd name="csX3" fmla="*/ 5457615 w 7627416"/>
              <a:gd name="csY3" fmla="*/ 234880 h 235696"/>
              <a:gd name="csX4" fmla="*/ 6301334 w 7627416"/>
              <a:gd name="csY4" fmla="*/ 10318 h 235696"/>
              <a:gd name="csX5" fmla="*/ 7453065 w 7627416"/>
              <a:gd name="csY5" fmla="*/ 12699 h 235696"/>
              <a:gd name="csX6" fmla="*/ 7627416 w 7627416"/>
              <a:gd name="csY6" fmla="*/ 135221 h 235696"/>
              <a:gd name="csX7" fmla="*/ 7454653 w 7627416"/>
              <a:gd name="csY7" fmla="*/ 14287 h 235696"/>
              <a:gd name="csX8" fmla="*/ 6304303 w 7627416"/>
              <a:gd name="csY8" fmla="*/ 12581 h 235696"/>
              <a:gd name="csX9" fmla="*/ 3386437 w 7627416"/>
              <a:gd name="csY9" fmla="*/ 8251 h 235696"/>
              <a:gd name="csX10" fmla="*/ 4760417 w 7627416"/>
              <a:gd name="csY10" fmla="*/ 10290 h 235696"/>
              <a:gd name="csX11" fmla="*/ 4343153 w 7627416"/>
              <a:gd name="csY11" fmla="*/ 13494 h 235696"/>
              <a:gd name="csX12" fmla="*/ 4378006 w 7627416"/>
              <a:gd name="csY12" fmla="*/ 234108 h 235696"/>
              <a:gd name="csX13" fmla="*/ 3299517 w 7627416"/>
              <a:gd name="csY13" fmla="*/ 233336 h 235696"/>
              <a:gd name="csX14" fmla="*/ 5273428 w 7627416"/>
              <a:gd name="csY14" fmla="*/ 6350 h 235696"/>
              <a:gd name="csX15" fmla="*/ 5277221 w 7627416"/>
              <a:gd name="csY15" fmla="*/ 11057 h 235696"/>
              <a:gd name="csX16" fmla="*/ 4760417 w 7627416"/>
              <a:gd name="csY16" fmla="*/ 10290 h 235696"/>
              <a:gd name="csX17" fmla="*/ 3387478 w 7627416"/>
              <a:gd name="csY17" fmla="*/ 5556 h 235696"/>
              <a:gd name="csX18" fmla="*/ 3386437 w 7627416"/>
              <a:gd name="csY18" fmla="*/ 8251 h 235696"/>
              <a:gd name="csX19" fmla="*/ 2505645 w 7627416"/>
              <a:gd name="csY19" fmla="*/ 6945 h 235696"/>
              <a:gd name="csX20" fmla="*/ 738016 w 7627416"/>
              <a:gd name="csY20" fmla="*/ 4322 h 235696"/>
              <a:gd name="csX21" fmla="*/ 2505645 w 7627416"/>
              <a:gd name="csY21" fmla="*/ 6945 h 235696"/>
              <a:gd name="csX22" fmla="*/ 2379416 w 7627416"/>
              <a:gd name="csY22" fmla="*/ 7143 h 235696"/>
              <a:gd name="csX23" fmla="*/ 2147825 w 7627416"/>
              <a:gd name="csY23" fmla="*/ 232511 h 235696"/>
              <a:gd name="csX24" fmla="*/ 995448 w 7627416"/>
              <a:gd name="csY24" fmla="*/ 231686 h 235696"/>
              <a:gd name="csX25" fmla="*/ 1308647 w 7627416"/>
              <a:gd name="csY25" fmla="*/ 9525 h 235696"/>
              <a:gd name="csX26" fmla="*/ 0 w 7627416"/>
              <a:gd name="csY26" fmla="*/ 3227 h 235696"/>
              <a:gd name="csX27" fmla="*/ 257054 w 7627416"/>
              <a:gd name="csY27" fmla="*/ 3608 h 235696"/>
              <a:gd name="csX28" fmla="*/ 0 w 7627416"/>
              <a:gd name="csY28" fmla="*/ 135753 h 235696"/>
              <a:gd name="csX29" fmla="*/ 264072 w 7627416"/>
              <a:gd name="csY29" fmla="*/ 0 h 235696"/>
              <a:gd name="csX30" fmla="*/ 738016 w 7627416"/>
              <a:gd name="csY30" fmla="*/ 4322 h 235696"/>
              <a:gd name="csX31" fmla="*/ 257054 w 7627416"/>
              <a:gd name="csY31" fmla="*/ 3608 h 23569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</a:cxnLst>
            <a:rect l="l" t="t" r="r" b="b"/>
            <a:pathLst>
              <a:path w="7627416" h="235696">
                <a:moveTo>
                  <a:pt x="5277221" y="11057"/>
                </a:moveTo>
                <a:lnTo>
                  <a:pt x="6304303" y="12581"/>
                </a:lnTo>
                <a:lnTo>
                  <a:pt x="6597098" y="235696"/>
                </a:lnTo>
                <a:lnTo>
                  <a:pt x="5457615" y="234880"/>
                </a:lnTo>
                <a:close/>
                <a:moveTo>
                  <a:pt x="6301334" y="10318"/>
                </a:moveTo>
                <a:lnTo>
                  <a:pt x="7453065" y="12699"/>
                </a:lnTo>
                <a:lnTo>
                  <a:pt x="7627416" y="135221"/>
                </a:lnTo>
                <a:lnTo>
                  <a:pt x="7454653" y="14287"/>
                </a:lnTo>
                <a:lnTo>
                  <a:pt x="6304303" y="12581"/>
                </a:lnTo>
                <a:close/>
                <a:moveTo>
                  <a:pt x="3386437" y="8251"/>
                </a:moveTo>
                <a:lnTo>
                  <a:pt x="4760417" y="10290"/>
                </a:lnTo>
                <a:lnTo>
                  <a:pt x="4343153" y="13494"/>
                </a:lnTo>
                <a:lnTo>
                  <a:pt x="4378006" y="234108"/>
                </a:lnTo>
                <a:lnTo>
                  <a:pt x="3299517" y="233336"/>
                </a:lnTo>
                <a:close/>
                <a:moveTo>
                  <a:pt x="5273428" y="6350"/>
                </a:moveTo>
                <a:lnTo>
                  <a:pt x="5277221" y="11057"/>
                </a:lnTo>
                <a:lnTo>
                  <a:pt x="4760417" y="10290"/>
                </a:lnTo>
                <a:close/>
                <a:moveTo>
                  <a:pt x="3387478" y="5556"/>
                </a:moveTo>
                <a:lnTo>
                  <a:pt x="3386437" y="8251"/>
                </a:lnTo>
                <a:lnTo>
                  <a:pt x="2505645" y="6945"/>
                </a:lnTo>
                <a:close/>
                <a:moveTo>
                  <a:pt x="738016" y="4322"/>
                </a:moveTo>
                <a:lnTo>
                  <a:pt x="2505645" y="6945"/>
                </a:lnTo>
                <a:lnTo>
                  <a:pt x="2379416" y="7143"/>
                </a:lnTo>
                <a:lnTo>
                  <a:pt x="2147825" y="232511"/>
                </a:lnTo>
                <a:lnTo>
                  <a:pt x="995448" y="231686"/>
                </a:lnTo>
                <a:lnTo>
                  <a:pt x="1308647" y="9525"/>
                </a:lnTo>
                <a:close/>
                <a:moveTo>
                  <a:pt x="0" y="3227"/>
                </a:moveTo>
                <a:lnTo>
                  <a:pt x="257054" y="3608"/>
                </a:lnTo>
                <a:lnTo>
                  <a:pt x="0" y="135753"/>
                </a:lnTo>
                <a:close/>
                <a:moveTo>
                  <a:pt x="264072" y="0"/>
                </a:moveTo>
                <a:lnTo>
                  <a:pt x="738016" y="4322"/>
                </a:lnTo>
                <a:lnTo>
                  <a:pt x="257054" y="3608"/>
                </a:lnTo>
                <a:close/>
              </a:path>
            </a:pathLst>
          </a:cu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6911" name="Free-form: Shape 6910">
            <a:extLst>
              <a:ext uri="{FF2B5EF4-FFF2-40B4-BE49-F238E27FC236}">
                <a16:creationId xmlns:a16="http://schemas.microsoft.com/office/drawing/2014/main" id="{746B69FD-1CF5-3E06-D0E8-866E41744F6C}"/>
              </a:ext>
            </a:extLst>
          </p:cNvPr>
          <p:cNvSpPr/>
          <p:nvPr/>
        </p:nvSpPr>
        <p:spPr>
          <a:xfrm>
            <a:off x="6589408" y="4910561"/>
            <a:ext cx="2837214" cy="995314"/>
          </a:xfrm>
          <a:custGeom>
            <a:avLst/>
            <a:gdLst>
              <a:gd name="csX0" fmla="*/ 1030318 w 2837214"/>
              <a:gd name="csY0" fmla="*/ 0 h 1091868"/>
              <a:gd name="csX1" fmla="*/ 2837214 w 2837214"/>
              <a:gd name="csY1" fmla="*/ 1091868 h 1091868"/>
              <a:gd name="csX2" fmla="*/ 1322078 w 2837214"/>
              <a:gd name="csY2" fmla="*/ 1089134 h 1091868"/>
              <a:gd name="csX3" fmla="*/ 761575 w 2837214"/>
              <a:gd name="csY3" fmla="*/ 669987 h 1091868"/>
              <a:gd name="csX4" fmla="*/ 2127555 w 2837214"/>
              <a:gd name="csY4" fmla="*/ 666466 h 1091868"/>
              <a:gd name="csX5" fmla="*/ 1594155 w 2837214"/>
              <a:gd name="csY5" fmla="*/ 342616 h 1091868"/>
              <a:gd name="csX6" fmla="*/ 323801 w 2837214"/>
              <a:gd name="csY6" fmla="*/ 342616 h 1091868"/>
              <a:gd name="csX7" fmla="*/ 0 w 2837214"/>
              <a:gd name="csY7" fmla="*/ 100475 h 1091868"/>
              <a:gd name="csX8" fmla="*/ 1175055 w 2837214"/>
              <a:gd name="csY8" fmla="*/ 101316 h 1091868"/>
              <a:gd name="csX9" fmla="*/ 1030318 w 2837214"/>
              <a:gd name="csY9" fmla="*/ 0 h 1091868"/>
              <a:gd name="csX0" fmla="*/ 1175055 w 2837214"/>
              <a:gd name="csY0" fmla="*/ 841 h 991393"/>
              <a:gd name="csX1" fmla="*/ 2837214 w 2837214"/>
              <a:gd name="csY1" fmla="*/ 991393 h 991393"/>
              <a:gd name="csX2" fmla="*/ 1322078 w 2837214"/>
              <a:gd name="csY2" fmla="*/ 988659 h 991393"/>
              <a:gd name="csX3" fmla="*/ 761575 w 2837214"/>
              <a:gd name="csY3" fmla="*/ 569512 h 991393"/>
              <a:gd name="csX4" fmla="*/ 2127555 w 2837214"/>
              <a:gd name="csY4" fmla="*/ 565991 h 991393"/>
              <a:gd name="csX5" fmla="*/ 1594155 w 2837214"/>
              <a:gd name="csY5" fmla="*/ 242141 h 991393"/>
              <a:gd name="csX6" fmla="*/ 323801 w 2837214"/>
              <a:gd name="csY6" fmla="*/ 242141 h 991393"/>
              <a:gd name="csX7" fmla="*/ 0 w 2837214"/>
              <a:gd name="csY7" fmla="*/ 0 h 991393"/>
              <a:gd name="csX8" fmla="*/ 1175055 w 2837214"/>
              <a:gd name="csY8" fmla="*/ 841 h 991393"/>
              <a:gd name="csX0" fmla="*/ 1201249 w 2837214"/>
              <a:gd name="csY0" fmla="*/ 0 h 995314"/>
              <a:gd name="csX1" fmla="*/ 2837214 w 2837214"/>
              <a:gd name="csY1" fmla="*/ 995314 h 995314"/>
              <a:gd name="csX2" fmla="*/ 1322078 w 2837214"/>
              <a:gd name="csY2" fmla="*/ 992580 h 995314"/>
              <a:gd name="csX3" fmla="*/ 761575 w 2837214"/>
              <a:gd name="csY3" fmla="*/ 573433 h 995314"/>
              <a:gd name="csX4" fmla="*/ 2127555 w 2837214"/>
              <a:gd name="csY4" fmla="*/ 569912 h 995314"/>
              <a:gd name="csX5" fmla="*/ 1594155 w 2837214"/>
              <a:gd name="csY5" fmla="*/ 246062 h 995314"/>
              <a:gd name="csX6" fmla="*/ 323801 w 2837214"/>
              <a:gd name="csY6" fmla="*/ 246062 h 995314"/>
              <a:gd name="csX7" fmla="*/ 0 w 2837214"/>
              <a:gd name="csY7" fmla="*/ 3921 h 995314"/>
              <a:gd name="csX8" fmla="*/ 1201249 w 2837214"/>
              <a:gd name="csY8" fmla="*/ 0 h 995314"/>
              <a:gd name="csX0" fmla="*/ 1201249 w 2837214"/>
              <a:gd name="csY0" fmla="*/ 0 h 995314"/>
              <a:gd name="csX1" fmla="*/ 2837214 w 2837214"/>
              <a:gd name="csY1" fmla="*/ 995314 h 995314"/>
              <a:gd name="csX2" fmla="*/ 1322078 w 2837214"/>
              <a:gd name="csY2" fmla="*/ 992580 h 995314"/>
              <a:gd name="csX3" fmla="*/ 761575 w 2837214"/>
              <a:gd name="csY3" fmla="*/ 573433 h 995314"/>
              <a:gd name="csX4" fmla="*/ 2127555 w 2837214"/>
              <a:gd name="csY4" fmla="*/ 569912 h 995314"/>
              <a:gd name="csX5" fmla="*/ 1610824 w 2837214"/>
              <a:gd name="csY5" fmla="*/ 246062 h 995314"/>
              <a:gd name="csX6" fmla="*/ 323801 w 2837214"/>
              <a:gd name="csY6" fmla="*/ 246062 h 995314"/>
              <a:gd name="csX7" fmla="*/ 0 w 2837214"/>
              <a:gd name="csY7" fmla="*/ 3921 h 995314"/>
              <a:gd name="csX8" fmla="*/ 1201249 w 2837214"/>
              <a:gd name="csY8" fmla="*/ 0 h 995314"/>
              <a:gd name="csX0" fmla="*/ 1201249 w 2837214"/>
              <a:gd name="csY0" fmla="*/ 0 h 995314"/>
              <a:gd name="csX1" fmla="*/ 2837214 w 2837214"/>
              <a:gd name="csY1" fmla="*/ 995314 h 995314"/>
              <a:gd name="csX2" fmla="*/ 1322078 w 2837214"/>
              <a:gd name="csY2" fmla="*/ 992580 h 995314"/>
              <a:gd name="csX3" fmla="*/ 761575 w 2837214"/>
              <a:gd name="csY3" fmla="*/ 573433 h 995314"/>
              <a:gd name="csX4" fmla="*/ 2137080 w 2837214"/>
              <a:gd name="csY4" fmla="*/ 565149 h 995314"/>
              <a:gd name="csX5" fmla="*/ 1610824 w 2837214"/>
              <a:gd name="csY5" fmla="*/ 246062 h 995314"/>
              <a:gd name="csX6" fmla="*/ 323801 w 2837214"/>
              <a:gd name="csY6" fmla="*/ 246062 h 995314"/>
              <a:gd name="csX7" fmla="*/ 0 w 2837214"/>
              <a:gd name="csY7" fmla="*/ 3921 h 995314"/>
              <a:gd name="csX8" fmla="*/ 1201249 w 2837214"/>
              <a:gd name="csY8" fmla="*/ 0 h 99531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</a:cxnLst>
            <a:rect l="l" t="t" r="r" b="b"/>
            <a:pathLst>
              <a:path w="2837214" h="995314">
                <a:moveTo>
                  <a:pt x="1201249" y="0"/>
                </a:moveTo>
                <a:lnTo>
                  <a:pt x="2837214" y="995314"/>
                </a:lnTo>
                <a:lnTo>
                  <a:pt x="1322078" y="992580"/>
                </a:lnTo>
                <a:lnTo>
                  <a:pt x="761575" y="573433"/>
                </a:lnTo>
                <a:lnTo>
                  <a:pt x="2137080" y="565149"/>
                </a:lnTo>
                <a:lnTo>
                  <a:pt x="1610824" y="246062"/>
                </a:lnTo>
                <a:lnTo>
                  <a:pt x="323801" y="246062"/>
                </a:lnTo>
                <a:lnTo>
                  <a:pt x="0" y="3921"/>
                </a:lnTo>
                <a:lnTo>
                  <a:pt x="1201249" y="0"/>
                </a:lnTo>
                <a:close/>
              </a:path>
            </a:pathLst>
          </a:cu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59" name="Free-form: Shape 58">
            <a:extLst>
              <a:ext uri="{FF2B5EF4-FFF2-40B4-BE49-F238E27FC236}">
                <a16:creationId xmlns:a16="http://schemas.microsoft.com/office/drawing/2014/main" id="{FB2E6089-38A8-0406-801E-6CF23347D6E8}"/>
              </a:ext>
            </a:extLst>
          </p:cNvPr>
          <p:cNvSpPr/>
          <p:nvPr/>
        </p:nvSpPr>
        <p:spPr>
          <a:xfrm>
            <a:off x="-7690" y="4909761"/>
            <a:ext cx="995448" cy="246863"/>
          </a:xfrm>
          <a:custGeom>
            <a:avLst/>
            <a:gdLst>
              <a:gd name="csX0" fmla="*/ 0 w 995448"/>
              <a:gd name="csY0" fmla="*/ 0 h 246863"/>
              <a:gd name="csX1" fmla="*/ 995448 w 995448"/>
              <a:gd name="csY1" fmla="*/ 712 h 246863"/>
              <a:gd name="csX2" fmla="*/ 648917 w 995448"/>
              <a:gd name="csY2" fmla="*/ 246863 h 246863"/>
              <a:gd name="csX3" fmla="*/ 0 w 995448"/>
              <a:gd name="csY3" fmla="*/ 246863 h 24686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</a:cxnLst>
            <a:rect l="l" t="t" r="r" b="b"/>
            <a:pathLst>
              <a:path w="995448" h="246863">
                <a:moveTo>
                  <a:pt x="0" y="0"/>
                </a:moveTo>
                <a:lnTo>
                  <a:pt x="995448" y="712"/>
                </a:lnTo>
                <a:lnTo>
                  <a:pt x="648917" y="246863"/>
                </a:lnTo>
                <a:lnTo>
                  <a:pt x="0" y="246863"/>
                </a:lnTo>
                <a:close/>
              </a:path>
            </a:pathLst>
          </a:cu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6913" name="Free-form: Shape 6912">
            <a:extLst>
              <a:ext uri="{FF2B5EF4-FFF2-40B4-BE49-F238E27FC236}">
                <a16:creationId xmlns:a16="http://schemas.microsoft.com/office/drawing/2014/main" id="{16C23670-9367-9263-E648-D5E542954DA6}"/>
              </a:ext>
            </a:extLst>
          </p:cNvPr>
          <p:cNvSpPr/>
          <p:nvPr/>
        </p:nvSpPr>
        <p:spPr>
          <a:xfrm>
            <a:off x="1885137" y="4911297"/>
            <a:ext cx="1406690" cy="245326"/>
          </a:xfrm>
          <a:custGeom>
            <a:avLst/>
            <a:gdLst>
              <a:gd name="csX0" fmla="*/ 254998 w 1406690"/>
              <a:gd name="csY0" fmla="*/ 0 h 245326"/>
              <a:gd name="csX1" fmla="*/ 1406690 w 1406690"/>
              <a:gd name="csY1" fmla="*/ 825 h 245326"/>
              <a:gd name="csX2" fmla="*/ 1313751 w 1406690"/>
              <a:gd name="csY2" fmla="*/ 245326 h 245326"/>
              <a:gd name="csX3" fmla="*/ 0 w 1406690"/>
              <a:gd name="csY3" fmla="*/ 245326 h 245326"/>
              <a:gd name="csX4" fmla="*/ 254998 w 1406690"/>
              <a:gd name="csY4" fmla="*/ 0 h 24532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406690" h="245326">
                <a:moveTo>
                  <a:pt x="254998" y="0"/>
                </a:moveTo>
                <a:lnTo>
                  <a:pt x="1406690" y="825"/>
                </a:lnTo>
                <a:lnTo>
                  <a:pt x="1313751" y="245326"/>
                </a:lnTo>
                <a:lnTo>
                  <a:pt x="0" y="245326"/>
                </a:lnTo>
                <a:lnTo>
                  <a:pt x="254998" y="0"/>
                </a:lnTo>
                <a:close/>
              </a:path>
            </a:pathLst>
          </a:cu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6914" name="Free-form: Shape 6913">
            <a:extLst>
              <a:ext uri="{FF2B5EF4-FFF2-40B4-BE49-F238E27FC236}">
                <a16:creationId xmlns:a16="http://schemas.microsoft.com/office/drawing/2014/main" id="{849B13A2-C8FF-D2F4-D9D9-C839C39ABAEF}"/>
              </a:ext>
            </a:extLst>
          </p:cNvPr>
          <p:cNvSpPr/>
          <p:nvPr/>
        </p:nvSpPr>
        <p:spPr>
          <a:xfrm>
            <a:off x="4370316" y="4912895"/>
            <a:ext cx="1277679" cy="243729"/>
          </a:xfrm>
          <a:custGeom>
            <a:avLst/>
            <a:gdLst>
              <a:gd name="csX0" fmla="*/ 0 w 1277679"/>
              <a:gd name="csY0" fmla="*/ 0 h 243729"/>
              <a:gd name="csX1" fmla="*/ 1079609 w 1277679"/>
              <a:gd name="csY1" fmla="*/ 772 h 243729"/>
              <a:gd name="csX2" fmla="*/ 1277679 w 1277679"/>
              <a:gd name="csY2" fmla="*/ 243729 h 243729"/>
              <a:gd name="csX3" fmla="*/ 39792 w 1277679"/>
              <a:gd name="csY3" fmla="*/ 243729 h 243729"/>
              <a:gd name="csX4" fmla="*/ 0 w 1277679"/>
              <a:gd name="csY4" fmla="*/ 0 h 24372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277679" h="243729">
                <a:moveTo>
                  <a:pt x="0" y="0"/>
                </a:moveTo>
                <a:lnTo>
                  <a:pt x="1079609" y="772"/>
                </a:lnTo>
                <a:lnTo>
                  <a:pt x="1277679" y="243729"/>
                </a:lnTo>
                <a:lnTo>
                  <a:pt x="39792" y="24372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6916" name="Free-form: Shape 6915">
            <a:extLst>
              <a:ext uri="{FF2B5EF4-FFF2-40B4-BE49-F238E27FC236}">
                <a16:creationId xmlns:a16="http://schemas.microsoft.com/office/drawing/2014/main" id="{FF607038-80D8-A39D-96F6-021A56539979}"/>
              </a:ext>
            </a:extLst>
          </p:cNvPr>
          <p:cNvSpPr/>
          <p:nvPr/>
        </p:nvSpPr>
        <p:spPr>
          <a:xfrm>
            <a:off x="154242" y="5156624"/>
            <a:ext cx="1730895" cy="345919"/>
          </a:xfrm>
          <a:custGeom>
            <a:avLst/>
            <a:gdLst>
              <a:gd name="csX0" fmla="*/ 486985 w 1730895"/>
              <a:gd name="csY0" fmla="*/ 0 h 345919"/>
              <a:gd name="csX1" fmla="*/ 1730895 w 1730895"/>
              <a:gd name="csY1" fmla="*/ 0 h 345919"/>
              <a:gd name="csX2" fmla="*/ 1375021 w 1730895"/>
              <a:gd name="csY2" fmla="*/ 342375 h 345919"/>
              <a:gd name="csX3" fmla="*/ 0 w 1730895"/>
              <a:gd name="csY3" fmla="*/ 345919 h 345919"/>
              <a:gd name="csX4" fmla="*/ 486985 w 1730895"/>
              <a:gd name="csY4" fmla="*/ 0 h 34591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730895" h="345919">
                <a:moveTo>
                  <a:pt x="486985" y="0"/>
                </a:moveTo>
                <a:lnTo>
                  <a:pt x="1730895" y="0"/>
                </a:lnTo>
                <a:lnTo>
                  <a:pt x="1375021" y="342375"/>
                </a:lnTo>
                <a:lnTo>
                  <a:pt x="0" y="345919"/>
                </a:lnTo>
                <a:lnTo>
                  <a:pt x="486985" y="0"/>
                </a:lnTo>
                <a:close/>
              </a:path>
            </a:pathLst>
          </a:cu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6917" name="Free-form: Shape 6916">
            <a:extLst>
              <a:ext uri="{FF2B5EF4-FFF2-40B4-BE49-F238E27FC236}">
                <a16:creationId xmlns:a16="http://schemas.microsoft.com/office/drawing/2014/main" id="{710C2427-A031-C63A-393A-37B02C310E72}"/>
              </a:ext>
            </a:extLst>
          </p:cNvPr>
          <p:cNvSpPr/>
          <p:nvPr/>
        </p:nvSpPr>
        <p:spPr>
          <a:xfrm>
            <a:off x="3070255" y="5156623"/>
            <a:ext cx="1394516" cy="338404"/>
          </a:xfrm>
          <a:custGeom>
            <a:avLst/>
            <a:gdLst>
              <a:gd name="csX0" fmla="*/ 128633 w 1394516"/>
              <a:gd name="csY0" fmla="*/ 0 h 338404"/>
              <a:gd name="csX1" fmla="*/ 1339853 w 1394516"/>
              <a:gd name="csY1" fmla="*/ 0 h 338404"/>
              <a:gd name="csX2" fmla="*/ 1394516 w 1394516"/>
              <a:gd name="csY2" fmla="*/ 334810 h 338404"/>
              <a:gd name="csX3" fmla="*/ 0 w 1394516"/>
              <a:gd name="csY3" fmla="*/ 338404 h 338404"/>
              <a:gd name="csX4" fmla="*/ 128633 w 1394516"/>
              <a:gd name="csY4" fmla="*/ 0 h 33840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394516" h="338404">
                <a:moveTo>
                  <a:pt x="128633" y="0"/>
                </a:moveTo>
                <a:lnTo>
                  <a:pt x="1339853" y="0"/>
                </a:lnTo>
                <a:lnTo>
                  <a:pt x="1394516" y="334810"/>
                </a:lnTo>
                <a:lnTo>
                  <a:pt x="0" y="338404"/>
                </a:lnTo>
                <a:lnTo>
                  <a:pt x="128633" y="0"/>
                </a:lnTo>
                <a:close/>
              </a:path>
            </a:pathLst>
          </a:cu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6918" name="Free-form: Shape 6917">
            <a:extLst>
              <a:ext uri="{FF2B5EF4-FFF2-40B4-BE49-F238E27FC236}">
                <a16:creationId xmlns:a16="http://schemas.microsoft.com/office/drawing/2014/main" id="{AF1633B7-CF09-1212-E213-2CCE8E2F315A}"/>
              </a:ext>
            </a:extLst>
          </p:cNvPr>
          <p:cNvSpPr/>
          <p:nvPr/>
        </p:nvSpPr>
        <p:spPr>
          <a:xfrm>
            <a:off x="5647995" y="5156623"/>
            <a:ext cx="1702988" cy="331064"/>
          </a:xfrm>
          <a:custGeom>
            <a:avLst/>
            <a:gdLst>
              <a:gd name="csX0" fmla="*/ 0 w 1702988"/>
              <a:gd name="csY0" fmla="*/ 0 h 331064"/>
              <a:gd name="csX1" fmla="*/ 1265214 w 1702988"/>
              <a:gd name="csY1" fmla="*/ 0 h 331064"/>
              <a:gd name="csX2" fmla="*/ 1702988 w 1702988"/>
              <a:gd name="csY2" fmla="*/ 327371 h 331064"/>
              <a:gd name="csX3" fmla="*/ 269900 w 1702988"/>
              <a:gd name="csY3" fmla="*/ 331064 h 331064"/>
              <a:gd name="csX4" fmla="*/ 0 w 1702988"/>
              <a:gd name="csY4" fmla="*/ 0 h 33106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702988" h="331064">
                <a:moveTo>
                  <a:pt x="0" y="0"/>
                </a:moveTo>
                <a:lnTo>
                  <a:pt x="1265214" y="0"/>
                </a:lnTo>
                <a:lnTo>
                  <a:pt x="1702988" y="327371"/>
                </a:lnTo>
                <a:lnTo>
                  <a:pt x="269900" y="331064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61" name="Free-form: Shape 60">
            <a:extLst>
              <a:ext uri="{FF2B5EF4-FFF2-40B4-BE49-F238E27FC236}">
                <a16:creationId xmlns:a16="http://schemas.microsoft.com/office/drawing/2014/main" id="{78DB914C-C8D0-A520-617A-1C0EA082C597}"/>
              </a:ext>
            </a:extLst>
          </p:cNvPr>
          <p:cNvSpPr/>
          <p:nvPr/>
        </p:nvSpPr>
        <p:spPr>
          <a:xfrm>
            <a:off x="-7690" y="5502542"/>
            <a:ext cx="161933" cy="115026"/>
          </a:xfrm>
          <a:custGeom>
            <a:avLst/>
            <a:gdLst>
              <a:gd name="csX0" fmla="*/ 161933 w 161933"/>
              <a:gd name="csY0" fmla="*/ 0 h 115026"/>
              <a:gd name="csX1" fmla="*/ 0 w 161933"/>
              <a:gd name="csY1" fmla="*/ 115026 h 115026"/>
              <a:gd name="csX2" fmla="*/ 0 w 161933"/>
              <a:gd name="csY2" fmla="*/ 418 h 11502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61933" h="115026">
                <a:moveTo>
                  <a:pt x="161933" y="0"/>
                </a:moveTo>
                <a:lnTo>
                  <a:pt x="0" y="115026"/>
                </a:lnTo>
                <a:lnTo>
                  <a:pt x="0" y="418"/>
                </a:lnTo>
                <a:close/>
              </a:path>
            </a:pathLst>
          </a:cu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6920" name="Free-form: Shape 6919">
            <a:extLst>
              <a:ext uri="{FF2B5EF4-FFF2-40B4-BE49-F238E27FC236}">
                <a16:creationId xmlns:a16="http://schemas.microsoft.com/office/drawing/2014/main" id="{8696DB24-5C9B-7CD9-CE92-1E9B48A0A4E7}"/>
              </a:ext>
            </a:extLst>
          </p:cNvPr>
          <p:cNvSpPr/>
          <p:nvPr/>
        </p:nvSpPr>
        <p:spPr>
          <a:xfrm>
            <a:off x="4464771" y="5487688"/>
            <a:ext cx="1789385" cy="412465"/>
          </a:xfrm>
          <a:custGeom>
            <a:avLst/>
            <a:gdLst>
              <a:gd name="csX0" fmla="*/ 1453124 w 1789385"/>
              <a:gd name="csY0" fmla="*/ 0 h 412465"/>
              <a:gd name="csX1" fmla="*/ 1789385 w 1789385"/>
              <a:gd name="csY1" fmla="*/ 412465 h 412465"/>
              <a:gd name="csX2" fmla="*/ 66222 w 1789385"/>
              <a:gd name="csY2" fmla="*/ 409356 h 412465"/>
              <a:gd name="csX3" fmla="*/ 0 w 1789385"/>
              <a:gd name="csY3" fmla="*/ 3746 h 412465"/>
              <a:gd name="csX4" fmla="*/ 1453124 w 1789385"/>
              <a:gd name="csY4" fmla="*/ 0 h 41246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789385" h="412465">
                <a:moveTo>
                  <a:pt x="1453124" y="0"/>
                </a:moveTo>
                <a:lnTo>
                  <a:pt x="1789385" y="412465"/>
                </a:lnTo>
                <a:lnTo>
                  <a:pt x="66222" y="409356"/>
                </a:lnTo>
                <a:lnTo>
                  <a:pt x="0" y="3746"/>
                </a:lnTo>
                <a:lnTo>
                  <a:pt x="1453124" y="0"/>
                </a:lnTo>
                <a:close/>
              </a:path>
            </a:pathLst>
          </a:cu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6921" name="Free-form: Shape 6920">
            <a:extLst>
              <a:ext uri="{FF2B5EF4-FFF2-40B4-BE49-F238E27FC236}">
                <a16:creationId xmlns:a16="http://schemas.microsoft.com/office/drawing/2014/main" id="{65CF3F17-475C-1E7F-E34C-C31BC7D5B0FA}"/>
              </a:ext>
            </a:extLst>
          </p:cNvPr>
          <p:cNvSpPr/>
          <p:nvPr/>
        </p:nvSpPr>
        <p:spPr>
          <a:xfrm>
            <a:off x="1121917" y="5495028"/>
            <a:ext cx="1948338" cy="399107"/>
          </a:xfrm>
          <a:custGeom>
            <a:avLst/>
            <a:gdLst>
              <a:gd name="csX0" fmla="*/ 1948338 w 1948338"/>
              <a:gd name="csY0" fmla="*/ 0 h 399107"/>
              <a:gd name="csX1" fmla="*/ 1796630 w 1948338"/>
              <a:gd name="csY1" fmla="*/ 399107 h 399107"/>
              <a:gd name="csX2" fmla="*/ 0 w 1948338"/>
              <a:gd name="csY2" fmla="*/ 395866 h 399107"/>
              <a:gd name="csX3" fmla="*/ 407346 w 1948338"/>
              <a:gd name="csY3" fmla="*/ 3971 h 399107"/>
              <a:gd name="csX4" fmla="*/ 1948338 w 1948338"/>
              <a:gd name="csY4" fmla="*/ 0 h 39910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948338" h="399107">
                <a:moveTo>
                  <a:pt x="1948338" y="0"/>
                </a:moveTo>
                <a:lnTo>
                  <a:pt x="1796630" y="399107"/>
                </a:lnTo>
                <a:lnTo>
                  <a:pt x="0" y="395866"/>
                </a:lnTo>
                <a:lnTo>
                  <a:pt x="407346" y="3971"/>
                </a:lnTo>
                <a:lnTo>
                  <a:pt x="1948338" y="0"/>
                </a:lnTo>
                <a:close/>
              </a:path>
            </a:pathLst>
          </a:cu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63" name="Free-form: Shape 62">
            <a:extLst>
              <a:ext uri="{FF2B5EF4-FFF2-40B4-BE49-F238E27FC236}">
                <a16:creationId xmlns:a16="http://schemas.microsoft.com/office/drawing/2014/main" id="{870F1A1A-885E-DE66-CA45-C607CFDF0F32}"/>
              </a:ext>
            </a:extLst>
          </p:cNvPr>
          <p:cNvSpPr/>
          <p:nvPr/>
        </p:nvSpPr>
        <p:spPr>
          <a:xfrm>
            <a:off x="-7689" y="5888856"/>
            <a:ext cx="1129607" cy="565901"/>
          </a:xfrm>
          <a:custGeom>
            <a:avLst/>
            <a:gdLst>
              <a:gd name="csX0" fmla="*/ 0 w 1129607"/>
              <a:gd name="csY0" fmla="*/ 0 h 565901"/>
              <a:gd name="csX1" fmla="*/ 1129607 w 1129607"/>
              <a:gd name="csY1" fmla="*/ 2038 h 565901"/>
              <a:gd name="csX2" fmla="*/ 543513 w 1129607"/>
              <a:gd name="csY2" fmla="*/ 565901 h 565901"/>
              <a:gd name="csX3" fmla="*/ 0 w 1129607"/>
              <a:gd name="csY3" fmla="*/ 565000 h 56590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</a:cxnLst>
            <a:rect l="l" t="t" r="r" b="b"/>
            <a:pathLst>
              <a:path w="1129607" h="565901">
                <a:moveTo>
                  <a:pt x="0" y="0"/>
                </a:moveTo>
                <a:lnTo>
                  <a:pt x="1129607" y="2038"/>
                </a:lnTo>
                <a:lnTo>
                  <a:pt x="543513" y="565901"/>
                </a:lnTo>
                <a:lnTo>
                  <a:pt x="0" y="565000"/>
                </a:lnTo>
                <a:close/>
              </a:path>
            </a:pathLst>
          </a:cu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6923" name="Free-form: Shape 6922">
            <a:extLst>
              <a:ext uri="{FF2B5EF4-FFF2-40B4-BE49-F238E27FC236}">
                <a16:creationId xmlns:a16="http://schemas.microsoft.com/office/drawing/2014/main" id="{A6CD32E9-B787-F3EC-8BDD-62CAAE6D7041}"/>
              </a:ext>
            </a:extLst>
          </p:cNvPr>
          <p:cNvSpPr/>
          <p:nvPr/>
        </p:nvSpPr>
        <p:spPr>
          <a:xfrm>
            <a:off x="2704079" y="5894134"/>
            <a:ext cx="1919075" cy="567396"/>
          </a:xfrm>
          <a:custGeom>
            <a:avLst/>
            <a:gdLst>
              <a:gd name="csX0" fmla="*/ 214468 w 1919075"/>
              <a:gd name="csY0" fmla="*/ 0 h 567396"/>
              <a:gd name="csX1" fmla="*/ 1826914 w 1919075"/>
              <a:gd name="csY1" fmla="*/ 2909 h 567396"/>
              <a:gd name="csX2" fmla="*/ 1919075 w 1919075"/>
              <a:gd name="csY2" fmla="*/ 567396 h 567396"/>
              <a:gd name="csX3" fmla="*/ 0 w 1919075"/>
              <a:gd name="csY3" fmla="*/ 564216 h 567396"/>
              <a:gd name="csX4" fmla="*/ 214468 w 1919075"/>
              <a:gd name="csY4" fmla="*/ 0 h 56739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919075" h="567396">
                <a:moveTo>
                  <a:pt x="214468" y="0"/>
                </a:moveTo>
                <a:lnTo>
                  <a:pt x="1826914" y="2909"/>
                </a:lnTo>
                <a:lnTo>
                  <a:pt x="1919075" y="567396"/>
                </a:lnTo>
                <a:lnTo>
                  <a:pt x="0" y="564216"/>
                </a:lnTo>
                <a:lnTo>
                  <a:pt x="214468" y="0"/>
                </a:lnTo>
                <a:close/>
              </a:path>
            </a:pathLst>
          </a:cu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6924" name="Free-form: Shape 6923">
            <a:extLst>
              <a:ext uri="{FF2B5EF4-FFF2-40B4-BE49-F238E27FC236}">
                <a16:creationId xmlns:a16="http://schemas.microsoft.com/office/drawing/2014/main" id="{D7FBF309-069E-D1BD-EFA8-D467F0631B7E}"/>
              </a:ext>
            </a:extLst>
          </p:cNvPr>
          <p:cNvSpPr/>
          <p:nvPr/>
        </p:nvSpPr>
        <p:spPr>
          <a:xfrm>
            <a:off x="6254156" y="5900153"/>
            <a:ext cx="2412995" cy="568081"/>
          </a:xfrm>
          <a:custGeom>
            <a:avLst/>
            <a:gdLst>
              <a:gd name="csX0" fmla="*/ 0 w 2412995"/>
              <a:gd name="csY0" fmla="*/ 0 h 568081"/>
              <a:gd name="csX1" fmla="*/ 1657330 w 2412995"/>
              <a:gd name="csY1" fmla="*/ 2989 h 568081"/>
              <a:gd name="csX2" fmla="*/ 2412995 w 2412995"/>
              <a:gd name="csY2" fmla="*/ 568081 h 568081"/>
              <a:gd name="csX3" fmla="*/ 460490 w 2412995"/>
              <a:gd name="csY3" fmla="*/ 564845 h 568081"/>
              <a:gd name="csX4" fmla="*/ 0 w 2412995"/>
              <a:gd name="csY4" fmla="*/ 0 h 56808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2412995" h="568081">
                <a:moveTo>
                  <a:pt x="0" y="0"/>
                </a:moveTo>
                <a:lnTo>
                  <a:pt x="1657330" y="2989"/>
                </a:lnTo>
                <a:lnTo>
                  <a:pt x="2412995" y="568081"/>
                </a:lnTo>
                <a:lnTo>
                  <a:pt x="460490" y="56484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6925" name="Free-form: Shape 6924">
            <a:extLst>
              <a:ext uri="{FF2B5EF4-FFF2-40B4-BE49-F238E27FC236}">
                <a16:creationId xmlns:a16="http://schemas.microsoft.com/office/drawing/2014/main" id="{FCC3653E-B258-3021-EEFC-31D4BA79E735}"/>
              </a:ext>
            </a:extLst>
          </p:cNvPr>
          <p:cNvSpPr/>
          <p:nvPr/>
        </p:nvSpPr>
        <p:spPr>
          <a:xfrm>
            <a:off x="119063" y="6454757"/>
            <a:ext cx="2585016" cy="448117"/>
          </a:xfrm>
          <a:custGeom>
            <a:avLst/>
            <a:gdLst>
              <a:gd name="csX0" fmla="*/ 416760 w 2585016"/>
              <a:gd name="csY0" fmla="*/ 0 h 448117"/>
              <a:gd name="csX1" fmla="*/ 2585016 w 2585016"/>
              <a:gd name="csY1" fmla="*/ 3594 h 448117"/>
              <a:gd name="csX2" fmla="*/ 2425700 w 2585016"/>
              <a:gd name="csY2" fmla="*/ 422717 h 448117"/>
              <a:gd name="csX3" fmla="*/ 0 w 2585016"/>
              <a:gd name="csY3" fmla="*/ 448117 h 448117"/>
              <a:gd name="csX4" fmla="*/ 406400 w 2585016"/>
              <a:gd name="csY4" fmla="*/ 9967 h 448117"/>
              <a:gd name="csX5" fmla="*/ 416760 w 2585016"/>
              <a:gd name="csY5" fmla="*/ 0 h 44811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</a:cxnLst>
            <a:rect l="l" t="t" r="r" b="b"/>
            <a:pathLst>
              <a:path w="2585016" h="448117">
                <a:moveTo>
                  <a:pt x="416760" y="0"/>
                </a:moveTo>
                <a:lnTo>
                  <a:pt x="2585016" y="3594"/>
                </a:lnTo>
                <a:lnTo>
                  <a:pt x="2425700" y="422717"/>
                </a:lnTo>
                <a:lnTo>
                  <a:pt x="0" y="448117"/>
                </a:lnTo>
                <a:cubicBezTo>
                  <a:pt x="155050" y="267225"/>
                  <a:pt x="24768" y="417918"/>
                  <a:pt x="406400" y="9967"/>
                </a:cubicBezTo>
                <a:lnTo>
                  <a:pt x="416760" y="0"/>
                </a:lnTo>
                <a:close/>
              </a:path>
            </a:pathLst>
          </a:cu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6926" name="Free-form: Shape 6925">
            <a:extLst>
              <a:ext uri="{FF2B5EF4-FFF2-40B4-BE49-F238E27FC236}">
                <a16:creationId xmlns:a16="http://schemas.microsoft.com/office/drawing/2014/main" id="{1A98AE90-D292-810A-4C58-E837CCA1A72C}"/>
              </a:ext>
            </a:extLst>
          </p:cNvPr>
          <p:cNvSpPr/>
          <p:nvPr/>
        </p:nvSpPr>
        <p:spPr>
          <a:xfrm>
            <a:off x="4623154" y="6461531"/>
            <a:ext cx="2417409" cy="415943"/>
          </a:xfrm>
          <a:custGeom>
            <a:avLst/>
            <a:gdLst>
              <a:gd name="csX0" fmla="*/ 0 w 2417409"/>
              <a:gd name="csY0" fmla="*/ 0 h 415943"/>
              <a:gd name="csX1" fmla="*/ 2091492 w 2417409"/>
              <a:gd name="csY1" fmla="*/ 3467 h 415943"/>
              <a:gd name="csX2" fmla="*/ 2417409 w 2417409"/>
              <a:gd name="csY2" fmla="*/ 403243 h 415943"/>
              <a:gd name="csX3" fmla="*/ 67909 w 2417409"/>
              <a:gd name="csY3" fmla="*/ 415943 h 415943"/>
              <a:gd name="csX4" fmla="*/ 0 w 2417409"/>
              <a:gd name="csY4" fmla="*/ 0 h 41594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2417409" h="415943">
                <a:moveTo>
                  <a:pt x="0" y="0"/>
                </a:moveTo>
                <a:lnTo>
                  <a:pt x="2091492" y="3467"/>
                </a:lnTo>
                <a:lnTo>
                  <a:pt x="2417409" y="403243"/>
                </a:lnTo>
                <a:lnTo>
                  <a:pt x="67909" y="415943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6927" name="Free-form: Shape 6926">
            <a:extLst>
              <a:ext uri="{FF2B5EF4-FFF2-40B4-BE49-F238E27FC236}">
                <a16:creationId xmlns:a16="http://schemas.microsoft.com/office/drawing/2014/main" id="{B9F7AC9A-6238-7047-CAAE-D92F92983433}"/>
              </a:ext>
            </a:extLst>
          </p:cNvPr>
          <p:cNvSpPr/>
          <p:nvPr/>
        </p:nvSpPr>
        <p:spPr>
          <a:xfrm>
            <a:off x="8667151" y="6468233"/>
            <a:ext cx="2335812" cy="402890"/>
          </a:xfrm>
          <a:custGeom>
            <a:avLst/>
            <a:gdLst>
              <a:gd name="csX0" fmla="*/ 0 w 2335812"/>
              <a:gd name="csY0" fmla="*/ 0 h 402890"/>
              <a:gd name="csX1" fmla="*/ 1694748 w 2335812"/>
              <a:gd name="csY1" fmla="*/ 2809 h 402890"/>
              <a:gd name="csX2" fmla="*/ 2335812 w 2335812"/>
              <a:gd name="csY2" fmla="*/ 390190 h 402890"/>
              <a:gd name="csX3" fmla="*/ 538762 w 2335812"/>
              <a:gd name="csY3" fmla="*/ 402890 h 402890"/>
              <a:gd name="csX4" fmla="*/ 0 w 2335812"/>
              <a:gd name="csY4" fmla="*/ 0 h 40289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2335812" h="402890">
                <a:moveTo>
                  <a:pt x="0" y="0"/>
                </a:moveTo>
                <a:lnTo>
                  <a:pt x="1694748" y="2809"/>
                </a:lnTo>
                <a:lnTo>
                  <a:pt x="2335812" y="390190"/>
                </a:lnTo>
                <a:lnTo>
                  <a:pt x="538762" y="40289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5640" name="Title 4">
            <a:extLst>
              <a:ext uri="{FF2B5EF4-FFF2-40B4-BE49-F238E27FC236}">
                <a16:creationId xmlns:a16="http://schemas.microsoft.com/office/drawing/2014/main" id="{C5B55C45-A996-A7ED-1FCC-3A10167C33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9690" y="899935"/>
            <a:ext cx="10614650" cy="1623966"/>
          </a:xfrm>
          <a:prstGeom prst="rect">
            <a:avLst/>
          </a:prstGeom>
          <a:noFill/>
        </p:spPr>
        <p:txBody>
          <a:bodyPr/>
          <a:lstStyle/>
          <a:p>
            <a:pPr algn="r">
              <a:lnSpc>
                <a:spcPts val="3900"/>
              </a:lnSpc>
            </a:pPr>
            <a:r>
              <a:rPr lang="en-GB" sz="4400" dirty="0">
                <a:latin typeface="+mj-lt"/>
              </a:rPr>
              <a:t>Treating relapsed/refractory </a:t>
            </a:r>
            <a:br>
              <a:rPr lang="en-GB" sz="4400" dirty="0">
                <a:latin typeface="+mj-lt"/>
              </a:rPr>
            </a:br>
            <a:r>
              <a:rPr lang="en-GB" sz="4400" dirty="0">
                <a:latin typeface="+mj-lt"/>
              </a:rPr>
              <a:t>diffuse large B-cell lymphoma in 2026: </a:t>
            </a:r>
            <a:br>
              <a:rPr lang="en-GB" sz="4400" dirty="0">
                <a:latin typeface="+mj-lt"/>
              </a:rPr>
            </a:br>
            <a:r>
              <a:rPr lang="en-GB" sz="4400" b="1" dirty="0">
                <a:latin typeface="+mj-lt"/>
              </a:rPr>
              <a:t>Existing gaps, daily practice and next moves</a:t>
            </a:r>
          </a:p>
        </p:txBody>
      </p:sp>
      <p:sp>
        <p:nvSpPr>
          <p:cNvPr id="5641" name="Text Placeholder 5">
            <a:extLst>
              <a:ext uri="{FF2B5EF4-FFF2-40B4-BE49-F238E27FC236}">
                <a16:creationId xmlns:a16="http://schemas.microsoft.com/office/drawing/2014/main" id="{4A71A8D7-8EAD-124B-610A-602AC51685F3}"/>
              </a:ext>
            </a:extLst>
          </p:cNvPr>
          <p:cNvSpPr txBox="1">
            <a:spLocks/>
          </p:cNvSpPr>
          <p:nvPr/>
        </p:nvSpPr>
        <p:spPr>
          <a:xfrm>
            <a:off x="6091195" y="2587081"/>
            <a:ext cx="5773144" cy="1487229"/>
          </a:xfrm>
          <a:prstGeom prst="rect">
            <a:avLst/>
          </a:prstGeom>
          <a:noFill/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1113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1113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1113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1113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GB" sz="2800" b="1" dirty="0">
                <a:solidFill>
                  <a:schemeClr val="accent1"/>
                </a:solidFill>
              </a:rPr>
              <a:t>Sobi Satellite </a:t>
            </a:r>
            <a:br>
              <a:rPr lang="en-GB" sz="2800" b="1" dirty="0">
                <a:solidFill>
                  <a:schemeClr val="accent1"/>
                </a:solidFill>
              </a:rPr>
            </a:br>
            <a:r>
              <a:rPr lang="en-GB" sz="2800" b="1" dirty="0">
                <a:solidFill>
                  <a:schemeClr val="accent1"/>
                </a:solidFill>
              </a:rPr>
              <a:t>Symposium at EHA 2026</a:t>
            </a:r>
          </a:p>
          <a:p>
            <a:pPr algn="r"/>
            <a:r>
              <a:rPr lang="en-GB" sz="2000" i="1" dirty="0"/>
              <a:t>Thursday, 11 June 2026</a:t>
            </a:r>
            <a:br>
              <a:rPr lang="en-GB" sz="2000" i="1" dirty="0"/>
            </a:br>
            <a:r>
              <a:rPr lang="en-GB" sz="2000" i="1" dirty="0"/>
              <a:t>08:00 – 09:30</a:t>
            </a:r>
          </a:p>
        </p:txBody>
      </p:sp>
      <p:sp>
        <p:nvSpPr>
          <p:cNvPr id="5642" name="Text Placeholder 6">
            <a:extLst>
              <a:ext uri="{FF2B5EF4-FFF2-40B4-BE49-F238E27FC236}">
                <a16:creationId xmlns:a16="http://schemas.microsoft.com/office/drawing/2014/main" id="{0B8A0B89-3982-80A6-A110-BAA05F290FB9}"/>
              </a:ext>
            </a:extLst>
          </p:cNvPr>
          <p:cNvSpPr txBox="1">
            <a:spLocks/>
          </p:cNvSpPr>
          <p:nvPr/>
        </p:nvSpPr>
        <p:spPr>
          <a:xfrm>
            <a:off x="10029824" y="6229772"/>
            <a:ext cx="1757363" cy="424475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1113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1113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1113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1113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GB" sz="1200" dirty="0"/>
              <a:t>NP-48374</a:t>
            </a:r>
            <a:br>
              <a:rPr lang="en-GB" sz="1200" dirty="0"/>
            </a:br>
            <a:r>
              <a:rPr lang="en-CH" sz="1200" dirty="0"/>
              <a:t>June</a:t>
            </a:r>
            <a:r>
              <a:rPr lang="en-GB" sz="1200" dirty="0"/>
              <a:t> 2026</a:t>
            </a:r>
          </a:p>
        </p:txBody>
      </p:sp>
      <p:sp>
        <p:nvSpPr>
          <p:cNvPr id="6933" name="Free-form: Shape 6932">
            <a:extLst>
              <a:ext uri="{FF2B5EF4-FFF2-40B4-BE49-F238E27FC236}">
                <a16:creationId xmlns:a16="http://schemas.microsoft.com/office/drawing/2014/main" id="{42AD3F6A-2BD9-4132-C146-702FC084924E}"/>
              </a:ext>
            </a:extLst>
          </p:cNvPr>
          <p:cNvSpPr/>
          <p:nvPr/>
        </p:nvSpPr>
        <p:spPr>
          <a:xfrm>
            <a:off x="4909959" y="3461852"/>
            <a:ext cx="2011541" cy="1237707"/>
          </a:xfrm>
          <a:custGeom>
            <a:avLst/>
            <a:gdLst>
              <a:gd name="csX0" fmla="*/ 3421446 w 4456675"/>
              <a:gd name="csY0" fmla="*/ 232 h 2742205"/>
              <a:gd name="csX1" fmla="*/ 4220546 w 4456675"/>
              <a:gd name="csY1" fmla="*/ 178 h 2742205"/>
              <a:gd name="csX2" fmla="*/ 4300014 w 4456675"/>
              <a:gd name="csY2" fmla="*/ 9129 h 2742205"/>
              <a:gd name="csX3" fmla="*/ 4456203 w 4456675"/>
              <a:gd name="csY3" fmla="*/ 219930 h 2742205"/>
              <a:gd name="csX4" fmla="*/ 4456200 w 4456675"/>
              <a:gd name="csY4" fmla="*/ 1074836 h 2742205"/>
              <a:gd name="csX5" fmla="*/ 4456675 w 4456675"/>
              <a:gd name="csY5" fmla="*/ 2505632 h 2742205"/>
              <a:gd name="csX6" fmla="*/ 4407943 w 4456675"/>
              <a:gd name="csY6" fmla="*/ 2659396 h 2742205"/>
              <a:gd name="csX7" fmla="*/ 4239170 w 4456675"/>
              <a:gd name="csY7" fmla="*/ 2741483 h 2742205"/>
              <a:gd name="csX8" fmla="*/ 4004802 w 4456675"/>
              <a:gd name="csY8" fmla="*/ 2741773 h 2742205"/>
              <a:gd name="csX9" fmla="*/ 274907 w 4456675"/>
              <a:gd name="csY9" fmla="*/ 2741319 h 2742205"/>
              <a:gd name="csX10" fmla="*/ 181515 w 4456675"/>
              <a:gd name="csY10" fmla="*/ 2737463 h 2742205"/>
              <a:gd name="csX11" fmla="*/ 715 w 4456675"/>
              <a:gd name="csY11" fmla="*/ 2527459 h 2742205"/>
              <a:gd name="csX12" fmla="*/ 189 w 4456675"/>
              <a:gd name="csY12" fmla="*/ 2170321 h 2742205"/>
              <a:gd name="csX13" fmla="*/ 285 w 4456675"/>
              <a:gd name="csY13" fmla="*/ 230598 h 2742205"/>
              <a:gd name="csX14" fmla="*/ 41739 w 4456675"/>
              <a:gd name="csY14" fmla="*/ 91931 h 2742205"/>
              <a:gd name="csX15" fmla="*/ 221044 w 4456675"/>
              <a:gd name="csY15" fmla="*/ 207 h 2742205"/>
              <a:gd name="csX16" fmla="*/ 839345 w 4456675"/>
              <a:gd name="csY16" fmla="*/ 165 h 2742205"/>
              <a:gd name="csX17" fmla="*/ 3051388 w 4456675"/>
              <a:gd name="csY17" fmla="*/ 0 h 2742205"/>
              <a:gd name="csX18" fmla="*/ 3173887 w 4456675"/>
              <a:gd name="csY18" fmla="*/ 216 h 2742205"/>
              <a:gd name="csX19" fmla="*/ 3421446 w 4456675"/>
              <a:gd name="csY19" fmla="*/ 232 h 2742205"/>
              <a:gd name="csX20" fmla="*/ 349809 w 4456675"/>
              <a:gd name="csY20" fmla="*/ 429767 h 2742205"/>
              <a:gd name="csX21" fmla="*/ 349724 w 4456675"/>
              <a:gd name="csY21" fmla="*/ 882918 h 2742205"/>
              <a:gd name="csX22" fmla="*/ 349887 w 4456675"/>
              <a:gd name="csY22" fmla="*/ 2398625 h 2742205"/>
              <a:gd name="csX23" fmla="*/ 352129 w 4456675"/>
              <a:gd name="csY23" fmla="*/ 2429343 h 2742205"/>
              <a:gd name="csX24" fmla="*/ 4106633 w 4456675"/>
              <a:gd name="csY24" fmla="*/ 2429343 h 2742205"/>
              <a:gd name="csX25" fmla="*/ 4106632 w 4456675"/>
              <a:gd name="csY25" fmla="*/ 2399387 h 2742205"/>
              <a:gd name="csX26" fmla="*/ 4106480 w 4456675"/>
              <a:gd name="csY26" fmla="*/ 1765425 h 2742205"/>
              <a:gd name="csX27" fmla="*/ 4106246 w 4456675"/>
              <a:gd name="csY27" fmla="*/ 455088 h 2742205"/>
              <a:gd name="csX28" fmla="*/ 4106374 w 4456675"/>
              <a:gd name="csY28" fmla="*/ 422034 h 2742205"/>
              <a:gd name="csX29" fmla="*/ 4106374 w 4456675"/>
              <a:gd name="csY29" fmla="*/ 334501 h 2742205"/>
              <a:gd name="csX30" fmla="*/ 4100770 w 4456675"/>
              <a:gd name="csY30" fmla="*/ 331625 h 2742205"/>
              <a:gd name="csX31" fmla="*/ 375862 w 4456675"/>
              <a:gd name="csY31" fmla="*/ 330890 h 2742205"/>
              <a:gd name="csX32" fmla="*/ 353663 w 4456675"/>
              <a:gd name="csY32" fmla="*/ 332015 h 2742205"/>
              <a:gd name="csX33" fmla="*/ 351855 w 4456675"/>
              <a:gd name="csY33" fmla="*/ 333145 h 2742205"/>
              <a:gd name="csX34" fmla="*/ 350444 w 4456675"/>
              <a:gd name="csY34" fmla="*/ 334521 h 2742205"/>
              <a:gd name="csX35" fmla="*/ 349809 w 4456675"/>
              <a:gd name="csY35" fmla="*/ 429767 h 274220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</a:cxnLst>
            <a:rect l="l" t="t" r="r" b="b"/>
            <a:pathLst>
              <a:path w="4456675" h="2742205">
                <a:moveTo>
                  <a:pt x="3421446" y="232"/>
                </a:moveTo>
                <a:cubicBezTo>
                  <a:pt x="3687813" y="241"/>
                  <a:pt x="3954179" y="300"/>
                  <a:pt x="4220546" y="178"/>
                </a:cubicBezTo>
                <a:cubicBezTo>
                  <a:pt x="4247432" y="165"/>
                  <a:pt x="4274016" y="1274"/>
                  <a:pt x="4300014" y="9129"/>
                </a:cubicBezTo>
                <a:cubicBezTo>
                  <a:pt x="4392617" y="37109"/>
                  <a:pt x="4456116" y="121888"/>
                  <a:pt x="4456203" y="219930"/>
                </a:cubicBezTo>
                <a:cubicBezTo>
                  <a:pt x="4456454" y="504898"/>
                  <a:pt x="4456187" y="789867"/>
                  <a:pt x="4456200" y="1074836"/>
                </a:cubicBezTo>
                <a:cubicBezTo>
                  <a:pt x="4456221" y="1551769"/>
                  <a:pt x="4456059" y="2028701"/>
                  <a:pt x="4456675" y="2505632"/>
                </a:cubicBezTo>
                <a:cubicBezTo>
                  <a:pt x="4456749" y="2562730"/>
                  <a:pt x="4444685" y="2614383"/>
                  <a:pt x="4407943" y="2659396"/>
                </a:cubicBezTo>
                <a:cubicBezTo>
                  <a:pt x="4364194" y="2712994"/>
                  <a:pt x="4307478" y="2740232"/>
                  <a:pt x="4239170" y="2741483"/>
                </a:cubicBezTo>
                <a:cubicBezTo>
                  <a:pt x="4161072" y="2742913"/>
                  <a:pt x="4082927" y="2741780"/>
                  <a:pt x="4004802" y="2741773"/>
                </a:cubicBezTo>
                <a:cubicBezTo>
                  <a:pt x="2761504" y="2741669"/>
                  <a:pt x="1518205" y="2741590"/>
                  <a:pt x="274907" y="2741319"/>
                </a:cubicBezTo>
                <a:cubicBezTo>
                  <a:pt x="243746" y="2741312"/>
                  <a:pt x="212093" y="2742294"/>
                  <a:pt x="181515" y="2737463"/>
                </a:cubicBezTo>
                <a:cubicBezTo>
                  <a:pt x="77942" y="2721098"/>
                  <a:pt x="1766" y="2632487"/>
                  <a:pt x="715" y="2527459"/>
                </a:cubicBezTo>
                <a:cubicBezTo>
                  <a:pt x="-475" y="2408423"/>
                  <a:pt x="176" y="2289368"/>
                  <a:pt x="189" y="2170321"/>
                </a:cubicBezTo>
                <a:cubicBezTo>
                  <a:pt x="258" y="1523747"/>
                  <a:pt x="478" y="877172"/>
                  <a:pt x="285" y="230598"/>
                </a:cubicBezTo>
                <a:cubicBezTo>
                  <a:pt x="270" y="179838"/>
                  <a:pt x="12216" y="133009"/>
                  <a:pt x="41739" y="91931"/>
                </a:cubicBezTo>
                <a:cubicBezTo>
                  <a:pt x="85516" y="31019"/>
                  <a:pt x="145869" y="277"/>
                  <a:pt x="221044" y="207"/>
                </a:cubicBezTo>
                <a:cubicBezTo>
                  <a:pt x="427144" y="14"/>
                  <a:pt x="633244" y="179"/>
                  <a:pt x="839345" y="165"/>
                </a:cubicBezTo>
                <a:cubicBezTo>
                  <a:pt x="1576692" y="117"/>
                  <a:pt x="2314040" y="52"/>
                  <a:pt x="3051388" y="0"/>
                </a:cubicBezTo>
                <a:cubicBezTo>
                  <a:pt x="3090822" y="-3"/>
                  <a:pt x="3130255" y="53"/>
                  <a:pt x="3173887" y="216"/>
                </a:cubicBezTo>
                <a:cubicBezTo>
                  <a:pt x="3259205" y="312"/>
                  <a:pt x="3340326" y="272"/>
                  <a:pt x="3421446" y="232"/>
                </a:cubicBezTo>
                <a:moveTo>
                  <a:pt x="349809" y="429767"/>
                </a:moveTo>
                <a:cubicBezTo>
                  <a:pt x="349779" y="580818"/>
                  <a:pt x="349721" y="731868"/>
                  <a:pt x="349724" y="882918"/>
                </a:cubicBezTo>
                <a:cubicBezTo>
                  <a:pt x="349735" y="1388154"/>
                  <a:pt x="349753" y="1893389"/>
                  <a:pt x="349887" y="2398625"/>
                </a:cubicBezTo>
                <a:cubicBezTo>
                  <a:pt x="349890" y="2408734"/>
                  <a:pt x="351330" y="2418844"/>
                  <a:pt x="352129" y="2429343"/>
                </a:cubicBezTo>
                <a:cubicBezTo>
                  <a:pt x="1604051" y="2429343"/>
                  <a:pt x="2853761" y="2429343"/>
                  <a:pt x="4106633" y="2429343"/>
                </a:cubicBezTo>
                <a:cubicBezTo>
                  <a:pt x="4106633" y="2418286"/>
                  <a:pt x="4106634" y="2408837"/>
                  <a:pt x="4106632" y="2399387"/>
                </a:cubicBezTo>
                <a:cubicBezTo>
                  <a:pt x="4106581" y="2188066"/>
                  <a:pt x="4106512" y="1976745"/>
                  <a:pt x="4106480" y="1765425"/>
                </a:cubicBezTo>
                <a:cubicBezTo>
                  <a:pt x="4106412" y="1328646"/>
                  <a:pt x="4106375" y="891867"/>
                  <a:pt x="4106246" y="455088"/>
                </a:cubicBezTo>
                <a:cubicBezTo>
                  <a:pt x="4106243" y="445460"/>
                  <a:pt x="4105282" y="435832"/>
                  <a:pt x="4106374" y="422034"/>
                </a:cubicBezTo>
                <a:cubicBezTo>
                  <a:pt x="4106374" y="392525"/>
                  <a:pt x="4106374" y="363016"/>
                  <a:pt x="4106374" y="334501"/>
                </a:cubicBezTo>
                <a:cubicBezTo>
                  <a:pt x="4103318" y="332887"/>
                  <a:pt x="4102044" y="331625"/>
                  <a:pt x="4100770" y="331625"/>
                </a:cubicBezTo>
                <a:cubicBezTo>
                  <a:pt x="2859134" y="331309"/>
                  <a:pt x="1617498" y="331074"/>
                  <a:pt x="375862" y="330890"/>
                </a:cubicBezTo>
                <a:cubicBezTo>
                  <a:pt x="368462" y="330889"/>
                  <a:pt x="361059" y="331568"/>
                  <a:pt x="353663" y="332015"/>
                </a:cubicBezTo>
                <a:cubicBezTo>
                  <a:pt x="353037" y="332053"/>
                  <a:pt x="352411" y="332696"/>
                  <a:pt x="351855" y="333145"/>
                </a:cubicBezTo>
                <a:cubicBezTo>
                  <a:pt x="351279" y="333610"/>
                  <a:pt x="350788" y="334180"/>
                  <a:pt x="350444" y="334521"/>
                </a:cubicBezTo>
                <a:cubicBezTo>
                  <a:pt x="350444" y="365068"/>
                  <a:pt x="350444" y="395421"/>
                  <a:pt x="349809" y="429767"/>
                </a:cubicBezTo>
                <a:close/>
              </a:path>
            </a:pathLst>
          </a:custGeom>
          <a:solidFill>
            <a:schemeClr val="accent1"/>
          </a:solidFill>
          <a:ln w="2232" cap="flat">
            <a:noFill/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6934" name="Free-form: Shape 6933">
            <a:extLst>
              <a:ext uri="{FF2B5EF4-FFF2-40B4-BE49-F238E27FC236}">
                <a16:creationId xmlns:a16="http://schemas.microsoft.com/office/drawing/2014/main" id="{6B64AA05-0CD2-3D2B-1AE5-F31BB12740F1}"/>
              </a:ext>
            </a:extLst>
          </p:cNvPr>
          <p:cNvSpPr/>
          <p:nvPr/>
        </p:nvSpPr>
        <p:spPr>
          <a:xfrm>
            <a:off x="6242172" y="3240566"/>
            <a:ext cx="319973" cy="108785"/>
          </a:xfrm>
          <a:custGeom>
            <a:avLst/>
            <a:gdLst>
              <a:gd name="csX0" fmla="*/ 222420 w 708918"/>
              <a:gd name="csY0" fmla="*/ 241019 h 241018"/>
              <a:gd name="csX1" fmla="*/ 28331 w 708918"/>
              <a:gd name="csY1" fmla="*/ 240052 h 241018"/>
              <a:gd name="csX2" fmla="*/ 1003 w 708918"/>
              <a:gd name="csY2" fmla="*/ 240047 h 241018"/>
              <a:gd name="csX3" fmla="*/ 0 w 708918"/>
              <a:gd name="csY3" fmla="*/ 372 h 241018"/>
              <a:gd name="csX4" fmla="*/ 708918 w 708918"/>
              <a:gd name="csY4" fmla="*/ 392 h 241018"/>
              <a:gd name="csX5" fmla="*/ 708918 w 708918"/>
              <a:gd name="csY5" fmla="*/ 240638 h 241018"/>
              <a:gd name="csX6" fmla="*/ 469818 w 708918"/>
              <a:gd name="csY6" fmla="*/ 240761 h 241018"/>
              <a:gd name="csX7" fmla="*/ 222420 w 708918"/>
              <a:gd name="csY7" fmla="*/ 241019 h 24101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</a:cxnLst>
            <a:rect l="l" t="t" r="r" b="b"/>
            <a:pathLst>
              <a:path w="708918" h="241018">
                <a:moveTo>
                  <a:pt x="222420" y="241019"/>
                </a:moveTo>
                <a:cubicBezTo>
                  <a:pt x="157724" y="240695"/>
                  <a:pt x="93028" y="240367"/>
                  <a:pt x="28331" y="240052"/>
                </a:cubicBezTo>
                <a:cubicBezTo>
                  <a:pt x="20238" y="240013"/>
                  <a:pt x="12145" y="240047"/>
                  <a:pt x="1003" y="240047"/>
                </a:cubicBezTo>
                <a:cubicBezTo>
                  <a:pt x="-906" y="160321"/>
                  <a:pt x="1067" y="81991"/>
                  <a:pt x="0" y="372"/>
                </a:cubicBezTo>
                <a:cubicBezTo>
                  <a:pt x="237097" y="-127"/>
                  <a:pt x="472276" y="-127"/>
                  <a:pt x="708918" y="392"/>
                </a:cubicBezTo>
                <a:cubicBezTo>
                  <a:pt x="708918" y="80868"/>
                  <a:pt x="708918" y="159178"/>
                  <a:pt x="708918" y="240638"/>
                </a:cubicBezTo>
                <a:cubicBezTo>
                  <a:pt x="629729" y="240638"/>
                  <a:pt x="551869" y="240638"/>
                  <a:pt x="469818" y="240761"/>
                </a:cubicBezTo>
                <a:cubicBezTo>
                  <a:pt x="384558" y="240929"/>
                  <a:pt x="303489" y="240974"/>
                  <a:pt x="222420" y="241019"/>
                </a:cubicBezTo>
                <a:close/>
              </a:path>
            </a:pathLst>
          </a:custGeom>
          <a:solidFill>
            <a:schemeClr val="accent3"/>
          </a:solidFill>
          <a:ln w="2232" cap="flat">
            <a:noFill/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6935" name="Free-form: Shape 6934">
            <a:extLst>
              <a:ext uri="{FF2B5EF4-FFF2-40B4-BE49-F238E27FC236}">
                <a16:creationId xmlns:a16="http://schemas.microsoft.com/office/drawing/2014/main" id="{CD9D34B6-C1DA-BCEF-D50C-6F4AF17B7CE1}"/>
              </a:ext>
            </a:extLst>
          </p:cNvPr>
          <p:cNvSpPr/>
          <p:nvPr/>
        </p:nvSpPr>
        <p:spPr>
          <a:xfrm>
            <a:off x="6342564" y="3349326"/>
            <a:ext cx="111612" cy="112644"/>
          </a:xfrm>
          <a:custGeom>
            <a:avLst/>
            <a:gdLst>
              <a:gd name="csX0" fmla="*/ 35 w 247283"/>
              <a:gd name="csY0" fmla="*/ 2131 h 249569"/>
              <a:gd name="csX1" fmla="*/ 245380 w 247283"/>
              <a:gd name="csY1" fmla="*/ 9 h 249569"/>
              <a:gd name="csX2" fmla="*/ 247284 w 247283"/>
              <a:gd name="csY2" fmla="*/ 247476 h 249569"/>
              <a:gd name="csX3" fmla="*/ 1896 w 247283"/>
              <a:gd name="csY3" fmla="*/ 249554 h 249569"/>
              <a:gd name="csX4" fmla="*/ 35 w 247283"/>
              <a:gd name="csY4" fmla="*/ 2131 h 24956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247283" h="249569">
                <a:moveTo>
                  <a:pt x="35" y="2131"/>
                </a:moveTo>
                <a:cubicBezTo>
                  <a:pt x="81065" y="10"/>
                  <a:pt x="162134" y="-35"/>
                  <a:pt x="245380" y="9"/>
                </a:cubicBezTo>
                <a:cubicBezTo>
                  <a:pt x="247415" y="81869"/>
                  <a:pt x="247274" y="163641"/>
                  <a:pt x="247284" y="247476"/>
                </a:cubicBezTo>
                <a:cubicBezTo>
                  <a:pt x="166314" y="249579"/>
                  <a:pt x="85194" y="249619"/>
                  <a:pt x="1896" y="249554"/>
                </a:cubicBezTo>
                <a:cubicBezTo>
                  <a:pt x="-163" y="167702"/>
                  <a:pt x="-45" y="85955"/>
                  <a:pt x="35" y="2131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 w="2232" cap="flat">
            <a:noFill/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6936" name="Rectangle 6935">
            <a:extLst>
              <a:ext uri="{FF2B5EF4-FFF2-40B4-BE49-F238E27FC236}">
                <a16:creationId xmlns:a16="http://schemas.microsoft.com/office/drawing/2014/main" id="{E0A5AF5E-DB2A-1D16-FE5D-D27B54741363}"/>
              </a:ext>
            </a:extLst>
          </p:cNvPr>
          <p:cNvSpPr/>
          <p:nvPr/>
        </p:nvSpPr>
        <p:spPr>
          <a:xfrm>
            <a:off x="5067809" y="3653535"/>
            <a:ext cx="1695698" cy="904812"/>
          </a:xfrm>
          <a:prstGeom prst="rect">
            <a:avLst/>
          </a:prstGeom>
          <a:solidFill>
            <a:srgbClr val="FEFEFE"/>
          </a:solidFill>
          <a:ln w="2232" cap="flat">
            <a:noFill/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6937" name="Free-form: Shape 6936">
            <a:extLst>
              <a:ext uri="{FF2B5EF4-FFF2-40B4-BE49-F238E27FC236}">
                <a16:creationId xmlns:a16="http://schemas.microsoft.com/office/drawing/2014/main" id="{34CD9543-EBE3-4F80-A245-58E75FA40C0A}"/>
              </a:ext>
            </a:extLst>
          </p:cNvPr>
          <p:cNvSpPr/>
          <p:nvPr/>
        </p:nvSpPr>
        <p:spPr>
          <a:xfrm>
            <a:off x="5068134" y="3611200"/>
            <a:ext cx="1695256" cy="42716"/>
          </a:xfrm>
          <a:custGeom>
            <a:avLst/>
            <a:gdLst>
              <a:gd name="csX0" fmla="*/ 3755128 w 3755930"/>
              <a:gd name="csY0" fmla="*/ 93229 h 94640"/>
              <a:gd name="csX1" fmla="*/ 3729907 w 3755930"/>
              <a:gd name="csY1" fmla="*/ 93990 h 94640"/>
              <a:gd name="csX2" fmla="*/ 505865 w 3755930"/>
              <a:gd name="csY2" fmla="*/ 93795 h 94640"/>
              <a:gd name="csX3" fmla="*/ 30625 w 3755930"/>
              <a:gd name="csY3" fmla="*/ 93877 h 94640"/>
              <a:gd name="csX4" fmla="*/ 1935 w 3755930"/>
              <a:gd name="csY4" fmla="*/ 94641 h 94640"/>
              <a:gd name="csX5" fmla="*/ 0 w 3755930"/>
              <a:gd name="csY5" fmla="*/ 3631 h 94640"/>
              <a:gd name="csX6" fmla="*/ 1411 w 3755930"/>
              <a:gd name="csY6" fmla="*/ 2255 h 94640"/>
              <a:gd name="csX7" fmla="*/ 3219 w 3755930"/>
              <a:gd name="csY7" fmla="*/ 1125 h 94640"/>
              <a:gd name="csX8" fmla="*/ 25418 w 3755930"/>
              <a:gd name="csY8" fmla="*/ 0 h 94640"/>
              <a:gd name="csX9" fmla="*/ 3750326 w 3755930"/>
              <a:gd name="csY9" fmla="*/ 735 h 94640"/>
              <a:gd name="csX10" fmla="*/ 3755930 w 3755930"/>
              <a:gd name="csY10" fmla="*/ 3611 h 94640"/>
              <a:gd name="csX11" fmla="*/ 3755128 w 3755930"/>
              <a:gd name="csY11" fmla="*/ 93229 h 9464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3755930" h="94640">
                <a:moveTo>
                  <a:pt x="3755128" y="93229"/>
                </a:moveTo>
                <a:cubicBezTo>
                  <a:pt x="3746185" y="94854"/>
                  <a:pt x="3738046" y="93991"/>
                  <a:pt x="3729907" y="93990"/>
                </a:cubicBezTo>
                <a:cubicBezTo>
                  <a:pt x="2655226" y="93883"/>
                  <a:pt x="1580545" y="93835"/>
                  <a:pt x="505865" y="93795"/>
                </a:cubicBezTo>
                <a:cubicBezTo>
                  <a:pt x="347451" y="93789"/>
                  <a:pt x="189039" y="93824"/>
                  <a:pt x="30625" y="93877"/>
                </a:cubicBezTo>
                <a:cubicBezTo>
                  <a:pt x="21707" y="93880"/>
                  <a:pt x="12788" y="94217"/>
                  <a:pt x="1935" y="94641"/>
                </a:cubicBezTo>
                <a:cubicBezTo>
                  <a:pt x="0" y="64531"/>
                  <a:pt x="0" y="34178"/>
                  <a:pt x="0" y="3631"/>
                </a:cubicBezTo>
                <a:cubicBezTo>
                  <a:pt x="344" y="3290"/>
                  <a:pt x="835" y="2720"/>
                  <a:pt x="1411" y="2255"/>
                </a:cubicBezTo>
                <a:cubicBezTo>
                  <a:pt x="1967" y="1806"/>
                  <a:pt x="2593" y="1163"/>
                  <a:pt x="3219" y="1125"/>
                </a:cubicBezTo>
                <a:cubicBezTo>
                  <a:pt x="10615" y="678"/>
                  <a:pt x="18018" y="-1"/>
                  <a:pt x="25418" y="0"/>
                </a:cubicBezTo>
                <a:cubicBezTo>
                  <a:pt x="1267054" y="184"/>
                  <a:pt x="2508691" y="419"/>
                  <a:pt x="3750326" y="735"/>
                </a:cubicBezTo>
                <a:cubicBezTo>
                  <a:pt x="3751600" y="735"/>
                  <a:pt x="3752874" y="1997"/>
                  <a:pt x="3755930" y="3611"/>
                </a:cubicBezTo>
                <a:cubicBezTo>
                  <a:pt x="3755930" y="32126"/>
                  <a:pt x="3755930" y="61635"/>
                  <a:pt x="3755128" y="93229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 w="2232" cap="flat">
            <a:noFill/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6938" name="Oval 6937">
            <a:extLst>
              <a:ext uri="{FF2B5EF4-FFF2-40B4-BE49-F238E27FC236}">
                <a16:creationId xmlns:a16="http://schemas.microsoft.com/office/drawing/2014/main" id="{4888A5B7-AE48-3544-740D-930FE3C40E26}"/>
              </a:ext>
            </a:extLst>
          </p:cNvPr>
          <p:cNvSpPr/>
          <p:nvPr/>
        </p:nvSpPr>
        <p:spPr>
          <a:xfrm>
            <a:off x="5179702" y="3772001"/>
            <a:ext cx="681608" cy="683522"/>
          </a:xfrm>
          <a:prstGeom prst="ellipse">
            <a:avLst/>
          </a:prstGeom>
          <a:solidFill>
            <a:srgbClr val="2C5E77"/>
          </a:solidFill>
          <a:ln w="2232" cap="flat">
            <a:noFill/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6939" name="Oval 6938">
            <a:extLst>
              <a:ext uri="{FF2B5EF4-FFF2-40B4-BE49-F238E27FC236}">
                <a16:creationId xmlns:a16="http://schemas.microsoft.com/office/drawing/2014/main" id="{894E242A-8D3F-1106-1660-BF9E81FFFC09}"/>
              </a:ext>
            </a:extLst>
          </p:cNvPr>
          <p:cNvSpPr/>
          <p:nvPr/>
        </p:nvSpPr>
        <p:spPr>
          <a:xfrm>
            <a:off x="5984609" y="3771963"/>
            <a:ext cx="668565" cy="683730"/>
          </a:xfrm>
          <a:prstGeom prst="ellipse">
            <a:avLst/>
          </a:prstGeom>
          <a:solidFill>
            <a:srgbClr val="2C5E77"/>
          </a:solidFill>
          <a:ln w="2232" cap="flat">
            <a:noFill/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6943" name="Free-form: Shape 6942">
            <a:extLst>
              <a:ext uri="{FF2B5EF4-FFF2-40B4-BE49-F238E27FC236}">
                <a16:creationId xmlns:a16="http://schemas.microsoft.com/office/drawing/2014/main" id="{BE30F429-26CA-5781-87E4-A3E3E7EEF08D}"/>
              </a:ext>
            </a:extLst>
          </p:cNvPr>
          <p:cNvSpPr/>
          <p:nvPr/>
        </p:nvSpPr>
        <p:spPr>
          <a:xfrm>
            <a:off x="5867528" y="4095029"/>
            <a:ext cx="610" cy="22306"/>
          </a:xfrm>
          <a:custGeom>
            <a:avLst/>
            <a:gdLst>
              <a:gd name="csX0" fmla="*/ 1262 w 1352"/>
              <a:gd name="csY0" fmla="*/ 49421 h 49420"/>
              <a:gd name="csX1" fmla="*/ 13 w 1352"/>
              <a:gd name="csY1" fmla="*/ 0 h 49420"/>
              <a:gd name="csX2" fmla="*/ 1262 w 1352"/>
              <a:gd name="csY2" fmla="*/ 49421 h 4942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352" h="49420">
                <a:moveTo>
                  <a:pt x="1262" y="49421"/>
                </a:moveTo>
                <a:cubicBezTo>
                  <a:pt x="81" y="34555"/>
                  <a:pt x="-51" y="18393"/>
                  <a:pt x="13" y="0"/>
                </a:cubicBezTo>
                <a:cubicBezTo>
                  <a:pt x="911" y="14554"/>
                  <a:pt x="1610" y="31339"/>
                  <a:pt x="1262" y="49421"/>
                </a:cubicBezTo>
                <a:close/>
              </a:path>
            </a:pathLst>
          </a:custGeom>
          <a:solidFill>
            <a:schemeClr val="accent1"/>
          </a:solidFill>
          <a:ln w="2232" cap="flat">
            <a:noFill/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6944" name="Free-form: Shape 6943">
            <a:extLst>
              <a:ext uri="{FF2B5EF4-FFF2-40B4-BE49-F238E27FC236}">
                <a16:creationId xmlns:a16="http://schemas.microsoft.com/office/drawing/2014/main" id="{3154FC7E-4CC8-4C99-F1AE-19EAC4A7AF02}"/>
              </a:ext>
            </a:extLst>
          </p:cNvPr>
          <p:cNvSpPr/>
          <p:nvPr/>
        </p:nvSpPr>
        <p:spPr>
          <a:xfrm>
            <a:off x="5866216" y="4073583"/>
            <a:ext cx="1380" cy="10581"/>
          </a:xfrm>
          <a:custGeom>
            <a:avLst/>
            <a:gdLst>
              <a:gd name="csX0" fmla="*/ 3059 w 3058"/>
              <a:gd name="csY0" fmla="*/ 23443 h 23442"/>
              <a:gd name="csX1" fmla="*/ 0 w 3058"/>
              <a:gd name="csY1" fmla="*/ 0 h 23442"/>
              <a:gd name="csX2" fmla="*/ 3059 w 3058"/>
              <a:gd name="csY2" fmla="*/ 23443 h 2344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058" h="23442">
                <a:moveTo>
                  <a:pt x="3059" y="23443"/>
                </a:moveTo>
                <a:cubicBezTo>
                  <a:pt x="1377" y="16976"/>
                  <a:pt x="229" y="9114"/>
                  <a:pt x="0" y="0"/>
                </a:cubicBezTo>
                <a:cubicBezTo>
                  <a:pt x="1810" y="6514"/>
                  <a:pt x="2701" y="14281"/>
                  <a:pt x="3059" y="23443"/>
                </a:cubicBezTo>
                <a:close/>
              </a:path>
            </a:pathLst>
          </a:custGeom>
          <a:solidFill>
            <a:schemeClr val="accent1"/>
          </a:solidFill>
          <a:ln w="2232" cap="flat">
            <a:noFill/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6945" name="Free-form: Shape 6944">
            <a:extLst>
              <a:ext uri="{FF2B5EF4-FFF2-40B4-BE49-F238E27FC236}">
                <a16:creationId xmlns:a16="http://schemas.microsoft.com/office/drawing/2014/main" id="{0DC83E96-214F-0473-0E48-EA2E07D23E91}"/>
              </a:ext>
            </a:extLst>
          </p:cNvPr>
          <p:cNvSpPr/>
          <p:nvPr/>
        </p:nvSpPr>
        <p:spPr>
          <a:xfrm>
            <a:off x="5866122" y="4127750"/>
            <a:ext cx="789" cy="6463"/>
          </a:xfrm>
          <a:custGeom>
            <a:avLst/>
            <a:gdLst>
              <a:gd name="csX0" fmla="*/ 536 w 1749"/>
              <a:gd name="csY0" fmla="*/ 14321 h 14320"/>
              <a:gd name="csX1" fmla="*/ 1203 w 1749"/>
              <a:gd name="csY1" fmla="*/ 0 h 14320"/>
              <a:gd name="csX2" fmla="*/ 536 w 1749"/>
              <a:gd name="csY2" fmla="*/ 14321 h 1432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749" h="14320">
                <a:moveTo>
                  <a:pt x="536" y="14321"/>
                </a:moveTo>
                <a:cubicBezTo>
                  <a:pt x="-328" y="10525"/>
                  <a:pt x="-176" y="5882"/>
                  <a:pt x="1203" y="0"/>
                </a:cubicBezTo>
                <a:cubicBezTo>
                  <a:pt x="2138" y="3665"/>
                  <a:pt x="1846" y="8569"/>
                  <a:pt x="536" y="14321"/>
                </a:cubicBezTo>
                <a:close/>
              </a:path>
            </a:pathLst>
          </a:custGeom>
          <a:solidFill>
            <a:schemeClr val="accent1"/>
          </a:solidFill>
          <a:ln w="2232" cap="flat">
            <a:noFill/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6946" name="Free-form: Shape 6945">
            <a:extLst>
              <a:ext uri="{FF2B5EF4-FFF2-40B4-BE49-F238E27FC236}">
                <a16:creationId xmlns:a16="http://schemas.microsoft.com/office/drawing/2014/main" id="{F28D8383-7CF0-C545-EA42-3CB9EAF03A6C}"/>
              </a:ext>
            </a:extLst>
          </p:cNvPr>
          <p:cNvSpPr/>
          <p:nvPr/>
        </p:nvSpPr>
        <p:spPr>
          <a:xfrm>
            <a:off x="5203655" y="4254726"/>
            <a:ext cx="2447" cy="3995"/>
          </a:xfrm>
          <a:custGeom>
            <a:avLst/>
            <a:gdLst>
              <a:gd name="csX0" fmla="*/ 0 w 5421"/>
              <a:gd name="csY0" fmla="*/ 0 h 8851"/>
              <a:gd name="csX1" fmla="*/ 5421 w 5421"/>
              <a:gd name="csY1" fmla="*/ 8851 h 8851"/>
              <a:gd name="csX2" fmla="*/ 0 w 5421"/>
              <a:gd name="csY2" fmla="*/ 0 h 885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5421" h="8851">
                <a:moveTo>
                  <a:pt x="0" y="0"/>
                </a:moveTo>
                <a:cubicBezTo>
                  <a:pt x="1959" y="1581"/>
                  <a:pt x="3744" y="4491"/>
                  <a:pt x="5421" y="8851"/>
                </a:cubicBezTo>
                <a:cubicBezTo>
                  <a:pt x="3484" y="7311"/>
                  <a:pt x="1655" y="4320"/>
                  <a:pt x="0" y="0"/>
                </a:cubicBezTo>
                <a:close/>
              </a:path>
            </a:pathLst>
          </a:custGeom>
          <a:solidFill>
            <a:schemeClr val="accent1"/>
          </a:solidFill>
          <a:ln w="2232" cap="flat">
            <a:noFill/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6947" name="Free-form: Shape 6946">
            <a:extLst>
              <a:ext uri="{FF2B5EF4-FFF2-40B4-BE49-F238E27FC236}">
                <a16:creationId xmlns:a16="http://schemas.microsoft.com/office/drawing/2014/main" id="{1EE18DF3-0006-D976-6BFC-F694DC2E925E}"/>
              </a:ext>
            </a:extLst>
          </p:cNvPr>
          <p:cNvSpPr/>
          <p:nvPr/>
        </p:nvSpPr>
        <p:spPr>
          <a:xfrm>
            <a:off x="5207834" y="4264785"/>
            <a:ext cx="2324" cy="3835"/>
          </a:xfrm>
          <a:custGeom>
            <a:avLst/>
            <a:gdLst>
              <a:gd name="csX0" fmla="*/ 0 w 5148"/>
              <a:gd name="csY0" fmla="*/ 0 h 8497"/>
              <a:gd name="csX1" fmla="*/ 5149 w 5148"/>
              <a:gd name="csY1" fmla="*/ 8497 h 8497"/>
              <a:gd name="csX2" fmla="*/ 0 w 5148"/>
              <a:gd name="csY2" fmla="*/ 0 h 849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5148" h="8497">
                <a:moveTo>
                  <a:pt x="0" y="0"/>
                </a:moveTo>
                <a:cubicBezTo>
                  <a:pt x="1885" y="1532"/>
                  <a:pt x="3559" y="4326"/>
                  <a:pt x="5149" y="8497"/>
                </a:cubicBezTo>
                <a:cubicBezTo>
                  <a:pt x="3306" y="7003"/>
                  <a:pt x="1548" y="4133"/>
                  <a:pt x="0" y="0"/>
                </a:cubicBezTo>
                <a:close/>
              </a:path>
            </a:pathLst>
          </a:custGeom>
          <a:solidFill>
            <a:schemeClr val="accent1"/>
          </a:solidFill>
          <a:ln w="2232" cap="flat">
            <a:noFill/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6948" name="Free-form: Shape 6947">
            <a:extLst>
              <a:ext uri="{FF2B5EF4-FFF2-40B4-BE49-F238E27FC236}">
                <a16:creationId xmlns:a16="http://schemas.microsoft.com/office/drawing/2014/main" id="{A66A729D-1A64-177E-99B0-DDF056444BD1}"/>
              </a:ext>
            </a:extLst>
          </p:cNvPr>
          <p:cNvSpPr/>
          <p:nvPr/>
        </p:nvSpPr>
        <p:spPr>
          <a:xfrm>
            <a:off x="5480916" y="4070841"/>
            <a:ext cx="249025" cy="86369"/>
          </a:xfrm>
          <a:custGeom>
            <a:avLst/>
            <a:gdLst>
              <a:gd name="csX0" fmla="*/ 235759 w 551727"/>
              <a:gd name="csY0" fmla="*/ 133511 h 191356"/>
              <a:gd name="csX1" fmla="*/ 222423 w 551727"/>
              <a:gd name="csY1" fmla="*/ 133471 h 191356"/>
              <a:gd name="csX2" fmla="*/ 169371 w 551727"/>
              <a:gd name="csY2" fmla="*/ 158284 h 191356"/>
              <a:gd name="csX3" fmla="*/ 24191 w 551727"/>
              <a:gd name="csY3" fmla="*/ 158368 h 191356"/>
              <a:gd name="csX4" fmla="*/ 27329 w 551727"/>
              <a:gd name="csY4" fmla="*/ 28949 h 191356"/>
              <a:gd name="csX5" fmla="*/ 160942 w 551727"/>
              <a:gd name="csY5" fmla="*/ 23407 h 191356"/>
              <a:gd name="csX6" fmla="*/ 177643 w 551727"/>
              <a:gd name="csY6" fmla="*/ 44023 h 191356"/>
              <a:gd name="csX7" fmla="*/ 206454 w 551727"/>
              <a:gd name="csY7" fmla="*/ 59182 h 191356"/>
              <a:gd name="csX8" fmla="*/ 498427 w 551727"/>
              <a:gd name="csY8" fmla="*/ 58629 h 191356"/>
              <a:gd name="csX9" fmla="*/ 516244 w 551727"/>
              <a:gd name="csY9" fmla="*/ 58914 h 191356"/>
              <a:gd name="csX10" fmla="*/ 551624 w 551727"/>
              <a:gd name="csY10" fmla="*/ 93375 h 191356"/>
              <a:gd name="csX11" fmla="*/ 520869 w 551727"/>
              <a:gd name="csY11" fmla="*/ 131843 h 191356"/>
              <a:gd name="csX12" fmla="*/ 496503 w 551727"/>
              <a:gd name="csY12" fmla="*/ 133375 h 191356"/>
              <a:gd name="csX13" fmla="*/ 235759 w 551727"/>
              <a:gd name="csY13" fmla="*/ 133511 h 19135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</a:cxnLst>
            <a:rect l="l" t="t" r="r" b="b"/>
            <a:pathLst>
              <a:path w="551727" h="191356">
                <a:moveTo>
                  <a:pt x="235759" y="133511"/>
                </a:moveTo>
                <a:cubicBezTo>
                  <a:pt x="229843" y="133523"/>
                  <a:pt x="226067" y="133975"/>
                  <a:pt x="222423" y="133471"/>
                </a:cubicBezTo>
                <a:cubicBezTo>
                  <a:pt x="199277" y="130268"/>
                  <a:pt x="184153" y="137458"/>
                  <a:pt x="169371" y="158284"/>
                </a:cubicBezTo>
                <a:cubicBezTo>
                  <a:pt x="137479" y="203215"/>
                  <a:pt x="61062" y="201512"/>
                  <a:pt x="24191" y="158368"/>
                </a:cubicBezTo>
                <a:cubicBezTo>
                  <a:pt x="-9212" y="119282"/>
                  <a:pt x="-7889" y="64746"/>
                  <a:pt x="27329" y="28949"/>
                </a:cubicBezTo>
                <a:cubicBezTo>
                  <a:pt x="62942" y="-7250"/>
                  <a:pt x="122862" y="-9958"/>
                  <a:pt x="160942" y="23407"/>
                </a:cubicBezTo>
                <a:cubicBezTo>
                  <a:pt x="167532" y="29180"/>
                  <a:pt x="173747" y="36282"/>
                  <a:pt x="177643" y="44023"/>
                </a:cubicBezTo>
                <a:cubicBezTo>
                  <a:pt x="183994" y="56642"/>
                  <a:pt x="193240" y="59261"/>
                  <a:pt x="206454" y="59182"/>
                </a:cubicBezTo>
                <a:cubicBezTo>
                  <a:pt x="303776" y="58594"/>
                  <a:pt x="401102" y="58715"/>
                  <a:pt x="498427" y="58629"/>
                </a:cubicBezTo>
                <a:cubicBezTo>
                  <a:pt x="504370" y="58624"/>
                  <a:pt x="510368" y="58253"/>
                  <a:pt x="516244" y="58914"/>
                </a:cubicBezTo>
                <a:cubicBezTo>
                  <a:pt x="535205" y="61047"/>
                  <a:pt x="550133" y="75802"/>
                  <a:pt x="551624" y="93375"/>
                </a:cubicBezTo>
                <a:cubicBezTo>
                  <a:pt x="553052" y="110189"/>
                  <a:pt x="539612" y="127691"/>
                  <a:pt x="520869" y="131843"/>
                </a:cubicBezTo>
                <a:cubicBezTo>
                  <a:pt x="513015" y="133583"/>
                  <a:pt x="504641" y="133363"/>
                  <a:pt x="496503" y="133375"/>
                </a:cubicBezTo>
                <a:cubicBezTo>
                  <a:pt x="410322" y="133496"/>
                  <a:pt x="324140" y="133484"/>
                  <a:pt x="235759" y="133511"/>
                </a:cubicBezTo>
                <a:close/>
              </a:path>
            </a:pathLst>
          </a:custGeom>
          <a:solidFill>
            <a:schemeClr val="accent1"/>
          </a:solidFill>
          <a:ln w="2232" cap="flat">
            <a:noFill/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6949" name="Free-form: Shape 6948">
            <a:extLst>
              <a:ext uri="{FF2B5EF4-FFF2-40B4-BE49-F238E27FC236}">
                <a16:creationId xmlns:a16="http://schemas.microsoft.com/office/drawing/2014/main" id="{B1FC21D3-CC43-144E-0EF8-1DE9978B89F5}"/>
              </a:ext>
            </a:extLst>
          </p:cNvPr>
          <p:cNvSpPr/>
          <p:nvPr/>
        </p:nvSpPr>
        <p:spPr>
          <a:xfrm>
            <a:off x="5497032" y="4379512"/>
            <a:ext cx="13249" cy="34489"/>
          </a:xfrm>
          <a:custGeom>
            <a:avLst/>
            <a:gdLst>
              <a:gd name="csX0" fmla="*/ 25184 w 29353"/>
              <a:gd name="csY0" fmla="*/ 2269 h 76412"/>
              <a:gd name="csX1" fmla="*/ 29352 w 29353"/>
              <a:gd name="csY1" fmla="*/ 62777 h 76412"/>
              <a:gd name="csX2" fmla="*/ 14684 w 29353"/>
              <a:gd name="csY2" fmla="*/ 76412 h 76412"/>
              <a:gd name="csX3" fmla="*/ 450 w 29353"/>
              <a:gd name="csY3" fmla="*/ 62178 h 76412"/>
              <a:gd name="csX4" fmla="*/ 963 w 29353"/>
              <a:gd name="csY4" fmla="*/ 11150 h 76412"/>
              <a:gd name="csX5" fmla="*/ 25184 w 29353"/>
              <a:gd name="csY5" fmla="*/ 2269 h 7641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</a:cxnLst>
            <a:rect l="l" t="t" r="r" b="b"/>
            <a:pathLst>
              <a:path w="29353" h="76412">
                <a:moveTo>
                  <a:pt x="25184" y="2269"/>
                </a:moveTo>
                <a:cubicBezTo>
                  <a:pt x="27423" y="23277"/>
                  <a:pt x="29099" y="43018"/>
                  <a:pt x="29352" y="62777"/>
                </a:cubicBezTo>
                <a:cubicBezTo>
                  <a:pt x="29459" y="71093"/>
                  <a:pt x="23086" y="76507"/>
                  <a:pt x="14684" y="76412"/>
                </a:cubicBezTo>
                <a:cubicBezTo>
                  <a:pt x="6138" y="76315"/>
                  <a:pt x="709" y="70415"/>
                  <a:pt x="450" y="62178"/>
                </a:cubicBezTo>
                <a:cubicBezTo>
                  <a:pt x="-83" y="45179"/>
                  <a:pt x="-382" y="28073"/>
                  <a:pt x="963" y="11150"/>
                </a:cubicBezTo>
                <a:cubicBezTo>
                  <a:pt x="1864" y="-176"/>
                  <a:pt x="8473" y="-2347"/>
                  <a:pt x="25184" y="2269"/>
                </a:cubicBezTo>
                <a:close/>
              </a:path>
            </a:pathLst>
          </a:custGeom>
          <a:solidFill>
            <a:schemeClr val="accent1"/>
          </a:solidFill>
          <a:ln w="2232" cap="flat">
            <a:noFill/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6950" name="Free-form: Shape 6949">
            <a:extLst>
              <a:ext uri="{FF2B5EF4-FFF2-40B4-BE49-F238E27FC236}">
                <a16:creationId xmlns:a16="http://schemas.microsoft.com/office/drawing/2014/main" id="{67BE126C-55AC-0B23-7B1E-003F495C62E4}"/>
              </a:ext>
            </a:extLst>
          </p:cNvPr>
          <p:cNvSpPr/>
          <p:nvPr/>
        </p:nvSpPr>
        <p:spPr>
          <a:xfrm>
            <a:off x="5222703" y="4107484"/>
            <a:ext cx="35843" cy="13600"/>
          </a:xfrm>
          <a:custGeom>
            <a:avLst/>
            <a:gdLst>
              <a:gd name="csX0" fmla="*/ 15947 w 79412"/>
              <a:gd name="csY0" fmla="*/ 511 h 30132"/>
              <a:gd name="csX1" fmla="*/ 60160 w 79412"/>
              <a:gd name="csY1" fmla="*/ 850 h 30132"/>
              <a:gd name="csX2" fmla="*/ 77628 w 79412"/>
              <a:gd name="csY2" fmla="*/ 11559 h 30132"/>
              <a:gd name="csX3" fmla="*/ 64852 w 79412"/>
              <a:gd name="csY3" fmla="*/ 29479 h 30132"/>
              <a:gd name="csX4" fmla="*/ 18052 w 79412"/>
              <a:gd name="csY4" fmla="*/ 30047 h 30132"/>
              <a:gd name="csX5" fmla="*/ 191 w 79412"/>
              <a:gd name="csY5" fmla="*/ 17312 h 30132"/>
              <a:gd name="csX6" fmla="*/ 15947 w 79412"/>
              <a:gd name="csY6" fmla="*/ 511 h 3013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</a:cxnLst>
            <a:rect l="l" t="t" r="r" b="b"/>
            <a:pathLst>
              <a:path w="79412" h="30132">
                <a:moveTo>
                  <a:pt x="15947" y="511"/>
                </a:moveTo>
                <a:cubicBezTo>
                  <a:pt x="31975" y="356"/>
                  <a:pt x="46220" y="-737"/>
                  <a:pt x="60160" y="850"/>
                </a:cubicBezTo>
                <a:cubicBezTo>
                  <a:pt x="66453" y="1566"/>
                  <a:pt x="74138" y="6291"/>
                  <a:pt x="77628" y="11559"/>
                </a:cubicBezTo>
                <a:cubicBezTo>
                  <a:pt x="82811" y="19379"/>
                  <a:pt x="76142" y="28728"/>
                  <a:pt x="64852" y="29479"/>
                </a:cubicBezTo>
                <a:cubicBezTo>
                  <a:pt x="49308" y="30513"/>
                  <a:pt x="33657" y="29997"/>
                  <a:pt x="18052" y="30047"/>
                </a:cubicBezTo>
                <a:cubicBezTo>
                  <a:pt x="9111" y="30076"/>
                  <a:pt x="1563" y="27596"/>
                  <a:pt x="191" y="17312"/>
                </a:cubicBezTo>
                <a:cubicBezTo>
                  <a:pt x="-1173" y="7082"/>
                  <a:pt x="4847" y="2415"/>
                  <a:pt x="15947" y="511"/>
                </a:cubicBezTo>
                <a:close/>
              </a:path>
            </a:pathLst>
          </a:custGeom>
          <a:solidFill>
            <a:schemeClr val="accent1"/>
          </a:solidFill>
          <a:ln w="2232" cap="flat">
            <a:noFill/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6951" name="Free-form: Shape 6950">
            <a:extLst>
              <a:ext uri="{FF2B5EF4-FFF2-40B4-BE49-F238E27FC236}">
                <a16:creationId xmlns:a16="http://schemas.microsoft.com/office/drawing/2014/main" id="{7AFAAA20-73A3-6F0B-2DEF-CAAD502CF8AD}"/>
              </a:ext>
            </a:extLst>
          </p:cNvPr>
          <p:cNvSpPr/>
          <p:nvPr/>
        </p:nvSpPr>
        <p:spPr>
          <a:xfrm>
            <a:off x="5238186" y="4244150"/>
            <a:ext cx="31835" cy="21054"/>
          </a:xfrm>
          <a:custGeom>
            <a:avLst/>
            <a:gdLst>
              <a:gd name="csX0" fmla="*/ 24655 w 70532"/>
              <a:gd name="csY0" fmla="*/ 45628 h 46646"/>
              <a:gd name="csX1" fmla="*/ 0 w 70532"/>
              <a:gd name="csY1" fmla="*/ 28798 h 46646"/>
              <a:gd name="csX2" fmla="*/ 46800 w 70532"/>
              <a:gd name="csY2" fmla="*/ 1636 h 46646"/>
              <a:gd name="csX3" fmla="*/ 57559 w 70532"/>
              <a:gd name="csY3" fmla="*/ 523 h 46646"/>
              <a:gd name="csX4" fmla="*/ 70296 w 70532"/>
              <a:gd name="csY4" fmla="*/ 10232 h 46646"/>
              <a:gd name="csX5" fmla="*/ 64130 w 70532"/>
              <a:gd name="csY5" fmla="*/ 22408 h 46646"/>
              <a:gd name="csX6" fmla="*/ 37585 w 70532"/>
              <a:gd name="csY6" fmla="*/ 38268 h 46646"/>
              <a:gd name="csX7" fmla="*/ 24655 w 70532"/>
              <a:gd name="csY7" fmla="*/ 45628 h 4664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</a:cxnLst>
            <a:rect l="l" t="t" r="r" b="b"/>
            <a:pathLst>
              <a:path w="70532" h="46646">
                <a:moveTo>
                  <a:pt x="24655" y="45628"/>
                </a:moveTo>
                <a:cubicBezTo>
                  <a:pt x="9519" y="49152"/>
                  <a:pt x="2044" y="43527"/>
                  <a:pt x="0" y="28798"/>
                </a:cubicBezTo>
                <a:cubicBezTo>
                  <a:pt x="13548" y="16608"/>
                  <a:pt x="29172" y="7406"/>
                  <a:pt x="46800" y="1636"/>
                </a:cubicBezTo>
                <a:cubicBezTo>
                  <a:pt x="50220" y="517"/>
                  <a:pt x="54645" y="-729"/>
                  <a:pt x="57559" y="523"/>
                </a:cubicBezTo>
                <a:cubicBezTo>
                  <a:pt x="62458" y="2628"/>
                  <a:pt x="68190" y="5879"/>
                  <a:pt x="70296" y="10232"/>
                </a:cubicBezTo>
                <a:cubicBezTo>
                  <a:pt x="71548" y="12819"/>
                  <a:pt x="67587" y="19869"/>
                  <a:pt x="64130" y="22408"/>
                </a:cubicBezTo>
                <a:cubicBezTo>
                  <a:pt x="55860" y="28481"/>
                  <a:pt x="46498" y="33066"/>
                  <a:pt x="37585" y="38268"/>
                </a:cubicBezTo>
                <a:cubicBezTo>
                  <a:pt x="33764" y="40498"/>
                  <a:pt x="29964" y="42766"/>
                  <a:pt x="24655" y="45628"/>
                </a:cubicBezTo>
                <a:close/>
              </a:path>
            </a:pathLst>
          </a:custGeom>
          <a:solidFill>
            <a:schemeClr val="accent1"/>
          </a:solidFill>
          <a:ln w="2232" cap="flat">
            <a:noFill/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6952" name="Free-form: Shape 6951">
            <a:extLst>
              <a:ext uri="{FF2B5EF4-FFF2-40B4-BE49-F238E27FC236}">
                <a16:creationId xmlns:a16="http://schemas.microsoft.com/office/drawing/2014/main" id="{3BABE403-B601-B788-8FCB-7291AE74A66F}"/>
              </a:ext>
            </a:extLst>
          </p:cNvPr>
          <p:cNvSpPr/>
          <p:nvPr/>
        </p:nvSpPr>
        <p:spPr>
          <a:xfrm>
            <a:off x="5517575" y="3815097"/>
            <a:ext cx="13336" cy="35251"/>
          </a:xfrm>
          <a:custGeom>
            <a:avLst/>
            <a:gdLst>
              <a:gd name="csX0" fmla="*/ 484 w 29546"/>
              <a:gd name="csY0" fmla="*/ 62275 h 78101"/>
              <a:gd name="csX1" fmla="*/ 215 w 29546"/>
              <a:gd name="csY1" fmla="*/ 24979 h 78101"/>
              <a:gd name="csX2" fmla="*/ 3685 w 29546"/>
              <a:gd name="csY2" fmla="*/ 7940 h 78101"/>
              <a:gd name="csX3" fmla="*/ 17481 w 29546"/>
              <a:gd name="csY3" fmla="*/ 38 h 78101"/>
              <a:gd name="csX4" fmla="*/ 28647 w 29546"/>
              <a:gd name="csY4" fmla="*/ 10859 h 78101"/>
              <a:gd name="csX5" fmla="*/ 28637 w 29546"/>
              <a:gd name="csY5" fmla="*/ 66167 h 78101"/>
              <a:gd name="csX6" fmla="*/ 17706 w 29546"/>
              <a:gd name="csY6" fmla="*/ 77691 h 78101"/>
              <a:gd name="csX7" fmla="*/ 484 w 29546"/>
              <a:gd name="csY7" fmla="*/ 62275 h 7810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</a:cxnLst>
            <a:rect l="l" t="t" r="r" b="b"/>
            <a:pathLst>
              <a:path w="29546" h="78101">
                <a:moveTo>
                  <a:pt x="484" y="62275"/>
                </a:moveTo>
                <a:cubicBezTo>
                  <a:pt x="119" y="48621"/>
                  <a:pt x="-243" y="36784"/>
                  <a:pt x="215" y="24979"/>
                </a:cubicBezTo>
                <a:cubicBezTo>
                  <a:pt x="441" y="19173"/>
                  <a:pt x="712" y="12453"/>
                  <a:pt x="3685" y="7940"/>
                </a:cubicBezTo>
                <a:cubicBezTo>
                  <a:pt x="6406" y="3809"/>
                  <a:pt x="13073" y="-450"/>
                  <a:pt x="17481" y="38"/>
                </a:cubicBezTo>
                <a:cubicBezTo>
                  <a:pt x="21725" y="508"/>
                  <a:pt x="28381" y="6785"/>
                  <a:pt x="28647" y="10859"/>
                </a:cubicBezTo>
                <a:cubicBezTo>
                  <a:pt x="29850" y="29238"/>
                  <a:pt x="29846" y="47787"/>
                  <a:pt x="28637" y="66167"/>
                </a:cubicBezTo>
                <a:cubicBezTo>
                  <a:pt x="28358" y="70395"/>
                  <a:pt x="22170" y="76656"/>
                  <a:pt x="17706" y="77691"/>
                </a:cubicBezTo>
                <a:cubicBezTo>
                  <a:pt x="8025" y="79934"/>
                  <a:pt x="3234" y="72731"/>
                  <a:pt x="484" y="62275"/>
                </a:cubicBezTo>
                <a:close/>
              </a:path>
            </a:pathLst>
          </a:custGeom>
          <a:solidFill>
            <a:schemeClr val="accent1"/>
          </a:solidFill>
          <a:ln w="2232" cap="flat">
            <a:noFill/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6953" name="Free-form: Shape 6952">
            <a:extLst>
              <a:ext uri="{FF2B5EF4-FFF2-40B4-BE49-F238E27FC236}">
                <a16:creationId xmlns:a16="http://schemas.microsoft.com/office/drawing/2014/main" id="{7B58EBF8-8025-D1CB-ABD5-98E35AB82B0B}"/>
              </a:ext>
            </a:extLst>
          </p:cNvPr>
          <p:cNvSpPr/>
          <p:nvPr/>
        </p:nvSpPr>
        <p:spPr>
          <a:xfrm>
            <a:off x="5792198" y="4108740"/>
            <a:ext cx="34036" cy="12430"/>
          </a:xfrm>
          <a:custGeom>
            <a:avLst/>
            <a:gdLst>
              <a:gd name="csX0" fmla="*/ 37144 w 75408"/>
              <a:gd name="csY0" fmla="*/ 27284 h 27540"/>
              <a:gd name="csX1" fmla="*/ 12950 w 75408"/>
              <a:gd name="csY1" fmla="*/ 27027 h 27540"/>
              <a:gd name="csX2" fmla="*/ 30 w 75408"/>
              <a:gd name="csY2" fmla="*/ 14822 h 27540"/>
              <a:gd name="csX3" fmla="*/ 8324 w 75408"/>
              <a:gd name="csY3" fmla="*/ 1268 h 27540"/>
              <a:gd name="csX4" fmla="*/ 67337 w 75408"/>
              <a:gd name="csY4" fmla="*/ 833 h 27540"/>
              <a:gd name="csX5" fmla="*/ 75407 w 75408"/>
              <a:gd name="csY5" fmla="*/ 16389 h 27540"/>
              <a:gd name="csX6" fmla="*/ 63446 w 75408"/>
              <a:gd name="csY6" fmla="*/ 26528 h 27540"/>
              <a:gd name="csX7" fmla="*/ 37144 w 75408"/>
              <a:gd name="csY7" fmla="*/ 27284 h 2754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</a:cxnLst>
            <a:rect l="l" t="t" r="r" b="b"/>
            <a:pathLst>
              <a:path w="75408" h="27540">
                <a:moveTo>
                  <a:pt x="37144" y="27284"/>
                </a:moveTo>
                <a:cubicBezTo>
                  <a:pt x="27716" y="27213"/>
                  <a:pt x="20325" y="27322"/>
                  <a:pt x="12950" y="27027"/>
                </a:cubicBezTo>
                <a:cubicBezTo>
                  <a:pt x="5204" y="26716"/>
                  <a:pt x="-465" y="22149"/>
                  <a:pt x="30" y="14822"/>
                </a:cubicBezTo>
                <a:cubicBezTo>
                  <a:pt x="361" y="9931"/>
                  <a:pt x="5081" y="1507"/>
                  <a:pt x="8324" y="1268"/>
                </a:cubicBezTo>
                <a:cubicBezTo>
                  <a:pt x="27933" y="-179"/>
                  <a:pt x="47733" y="-474"/>
                  <a:pt x="67337" y="833"/>
                </a:cubicBezTo>
                <a:cubicBezTo>
                  <a:pt x="70621" y="1052"/>
                  <a:pt x="75509" y="11011"/>
                  <a:pt x="75407" y="16389"/>
                </a:cubicBezTo>
                <a:cubicBezTo>
                  <a:pt x="75338" y="19992"/>
                  <a:pt x="68219" y="25433"/>
                  <a:pt x="63446" y="26528"/>
                </a:cubicBezTo>
                <a:cubicBezTo>
                  <a:pt x="55708" y="28302"/>
                  <a:pt x="47307" y="27183"/>
                  <a:pt x="37144" y="27284"/>
                </a:cubicBezTo>
                <a:close/>
              </a:path>
            </a:pathLst>
          </a:custGeom>
          <a:solidFill>
            <a:schemeClr val="accent1"/>
          </a:solidFill>
          <a:ln w="2232" cap="flat">
            <a:noFill/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6954" name="Free-form: Shape 6953">
            <a:extLst>
              <a:ext uri="{FF2B5EF4-FFF2-40B4-BE49-F238E27FC236}">
                <a16:creationId xmlns:a16="http://schemas.microsoft.com/office/drawing/2014/main" id="{1304E53C-C403-350F-90CB-1781DAEEC987}"/>
              </a:ext>
            </a:extLst>
          </p:cNvPr>
          <p:cNvSpPr/>
          <p:nvPr/>
        </p:nvSpPr>
        <p:spPr>
          <a:xfrm>
            <a:off x="5756517" y="3960881"/>
            <a:ext cx="29709" cy="22431"/>
          </a:xfrm>
          <a:custGeom>
            <a:avLst/>
            <a:gdLst>
              <a:gd name="csX0" fmla="*/ 10353 w 65822"/>
              <a:gd name="csY0" fmla="*/ 22197 h 49696"/>
              <a:gd name="csX1" fmla="*/ 44239 w 65822"/>
              <a:gd name="csY1" fmla="*/ 2585 h 49696"/>
              <a:gd name="csX2" fmla="*/ 63347 w 65822"/>
              <a:gd name="csY2" fmla="*/ 6684 h 49696"/>
              <a:gd name="csX3" fmla="*/ 59333 w 65822"/>
              <a:gd name="csY3" fmla="*/ 23786 h 49696"/>
              <a:gd name="csX4" fmla="*/ 25621 w 65822"/>
              <a:gd name="csY4" fmla="*/ 44660 h 49696"/>
              <a:gd name="csX5" fmla="*/ 3797 w 65822"/>
              <a:gd name="csY5" fmla="*/ 45191 h 49696"/>
              <a:gd name="csX6" fmla="*/ 10353 w 65822"/>
              <a:gd name="csY6" fmla="*/ 22197 h 4969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</a:cxnLst>
            <a:rect l="l" t="t" r="r" b="b"/>
            <a:pathLst>
              <a:path w="65822" h="49696">
                <a:moveTo>
                  <a:pt x="10353" y="22197"/>
                </a:moveTo>
                <a:cubicBezTo>
                  <a:pt x="22552" y="15045"/>
                  <a:pt x="33461" y="8927"/>
                  <a:pt x="44239" y="2585"/>
                </a:cubicBezTo>
                <a:cubicBezTo>
                  <a:pt x="51995" y="-1979"/>
                  <a:pt x="58327" y="-430"/>
                  <a:pt x="63347" y="6684"/>
                </a:cubicBezTo>
                <a:cubicBezTo>
                  <a:pt x="68318" y="13730"/>
                  <a:pt x="65199" y="19796"/>
                  <a:pt x="59333" y="23786"/>
                </a:cubicBezTo>
                <a:cubicBezTo>
                  <a:pt x="48415" y="31213"/>
                  <a:pt x="36784" y="37581"/>
                  <a:pt x="25621" y="44660"/>
                </a:cubicBezTo>
                <a:cubicBezTo>
                  <a:pt x="18280" y="49316"/>
                  <a:pt x="10325" y="52925"/>
                  <a:pt x="3797" y="45191"/>
                </a:cubicBezTo>
                <a:cubicBezTo>
                  <a:pt x="-3425" y="36635"/>
                  <a:pt x="147" y="28829"/>
                  <a:pt x="10353" y="22197"/>
                </a:cubicBezTo>
                <a:close/>
              </a:path>
            </a:pathLst>
          </a:custGeom>
          <a:solidFill>
            <a:schemeClr val="accent1"/>
          </a:solidFill>
          <a:ln w="2232" cap="flat">
            <a:noFill/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6955" name="Free-form: Shape 6954">
            <a:extLst>
              <a:ext uri="{FF2B5EF4-FFF2-40B4-BE49-F238E27FC236}">
                <a16:creationId xmlns:a16="http://schemas.microsoft.com/office/drawing/2014/main" id="{5A8B513B-5C36-7B6D-8E9E-CA791EE6FC7C}"/>
              </a:ext>
            </a:extLst>
          </p:cNvPr>
          <p:cNvSpPr/>
          <p:nvPr/>
        </p:nvSpPr>
        <p:spPr>
          <a:xfrm>
            <a:off x="5371999" y="3853971"/>
            <a:ext cx="21400" cy="29012"/>
          </a:xfrm>
          <a:custGeom>
            <a:avLst/>
            <a:gdLst>
              <a:gd name="csX0" fmla="*/ 18696 w 47412"/>
              <a:gd name="csY0" fmla="*/ 0 h 64277"/>
              <a:gd name="csX1" fmla="*/ 45427 w 47412"/>
              <a:gd name="csY1" fmla="*/ 44380 h 64277"/>
              <a:gd name="csX2" fmla="*/ 41215 w 47412"/>
              <a:gd name="csY2" fmla="*/ 61842 h 64277"/>
              <a:gd name="csX3" fmla="*/ 22227 w 47412"/>
              <a:gd name="csY3" fmla="*/ 56821 h 64277"/>
              <a:gd name="csX4" fmla="*/ 2620 w 47412"/>
              <a:gd name="csY4" fmla="*/ 19746 h 64277"/>
              <a:gd name="csX5" fmla="*/ 18696 w 47412"/>
              <a:gd name="csY5" fmla="*/ 0 h 6427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</a:cxnLst>
            <a:rect l="l" t="t" r="r" b="b"/>
            <a:pathLst>
              <a:path w="47412" h="64277">
                <a:moveTo>
                  <a:pt x="18696" y="0"/>
                </a:moveTo>
                <a:cubicBezTo>
                  <a:pt x="28623" y="15243"/>
                  <a:pt x="37368" y="29625"/>
                  <a:pt x="45427" y="44380"/>
                </a:cubicBezTo>
                <a:cubicBezTo>
                  <a:pt x="48966" y="50860"/>
                  <a:pt x="47898" y="57573"/>
                  <a:pt x="41215" y="61842"/>
                </a:cubicBezTo>
                <a:cubicBezTo>
                  <a:pt x="33378" y="66848"/>
                  <a:pt x="26365" y="63623"/>
                  <a:pt x="22227" y="56821"/>
                </a:cubicBezTo>
                <a:cubicBezTo>
                  <a:pt x="14971" y="44891"/>
                  <a:pt x="8296" y="32498"/>
                  <a:pt x="2620" y="19746"/>
                </a:cubicBezTo>
                <a:cubicBezTo>
                  <a:pt x="-3240" y="6583"/>
                  <a:pt x="154" y="2484"/>
                  <a:pt x="18696" y="0"/>
                </a:cubicBezTo>
                <a:close/>
              </a:path>
            </a:pathLst>
          </a:custGeom>
          <a:solidFill>
            <a:schemeClr val="accent1"/>
          </a:solidFill>
          <a:ln w="2232" cap="flat">
            <a:noFill/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6956" name="Free-form: Shape 6955">
            <a:extLst>
              <a:ext uri="{FF2B5EF4-FFF2-40B4-BE49-F238E27FC236}">
                <a16:creationId xmlns:a16="http://schemas.microsoft.com/office/drawing/2014/main" id="{16DACF68-06A8-E47F-DF34-7B9E93C47ECA}"/>
              </a:ext>
            </a:extLst>
          </p:cNvPr>
          <p:cNvSpPr/>
          <p:nvPr/>
        </p:nvSpPr>
        <p:spPr>
          <a:xfrm>
            <a:off x="5344302" y="4345198"/>
            <a:ext cx="22171" cy="28479"/>
          </a:xfrm>
          <a:custGeom>
            <a:avLst/>
            <a:gdLst>
              <a:gd name="csX0" fmla="*/ 49122 w 49122"/>
              <a:gd name="csY0" fmla="*/ 8828 h 63097"/>
              <a:gd name="csX1" fmla="*/ 25348 w 49122"/>
              <a:gd name="csY1" fmla="*/ 55151 h 63097"/>
              <a:gd name="csX2" fmla="*/ 6282 w 49122"/>
              <a:gd name="csY2" fmla="*/ 60809 h 63097"/>
              <a:gd name="csX3" fmla="*/ 2939 w 49122"/>
              <a:gd name="csY3" fmla="*/ 41387 h 63097"/>
              <a:gd name="csX4" fmla="*/ 22079 w 49122"/>
              <a:gd name="csY4" fmla="*/ 8721 h 63097"/>
              <a:gd name="csX5" fmla="*/ 49122 w 49122"/>
              <a:gd name="csY5" fmla="*/ 8828 h 6309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</a:cxnLst>
            <a:rect l="l" t="t" r="r" b="b"/>
            <a:pathLst>
              <a:path w="49122" h="63097">
                <a:moveTo>
                  <a:pt x="49122" y="8828"/>
                </a:moveTo>
                <a:cubicBezTo>
                  <a:pt x="41523" y="25337"/>
                  <a:pt x="34124" y="40661"/>
                  <a:pt x="25348" y="55151"/>
                </a:cubicBezTo>
                <a:cubicBezTo>
                  <a:pt x="21458" y="61573"/>
                  <a:pt x="14420" y="66015"/>
                  <a:pt x="6282" y="60809"/>
                </a:cubicBezTo>
                <a:cubicBezTo>
                  <a:pt x="-1553" y="55798"/>
                  <a:pt x="-1318" y="48763"/>
                  <a:pt x="2939" y="41387"/>
                </a:cubicBezTo>
                <a:cubicBezTo>
                  <a:pt x="9249" y="30455"/>
                  <a:pt x="15158" y="19254"/>
                  <a:pt x="22079" y="8721"/>
                </a:cubicBezTo>
                <a:cubicBezTo>
                  <a:pt x="29737" y="-2935"/>
                  <a:pt x="35149" y="-2914"/>
                  <a:pt x="49122" y="8828"/>
                </a:cubicBezTo>
                <a:close/>
              </a:path>
            </a:pathLst>
          </a:custGeom>
          <a:solidFill>
            <a:schemeClr val="accent1"/>
          </a:solidFill>
          <a:ln w="2232" cap="flat">
            <a:noFill/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6957" name="Free-form: Shape 6956">
            <a:extLst>
              <a:ext uri="{FF2B5EF4-FFF2-40B4-BE49-F238E27FC236}">
                <a16:creationId xmlns:a16="http://schemas.microsoft.com/office/drawing/2014/main" id="{B30D3B4E-6596-CA3A-C6BE-C46869230BD6}"/>
              </a:ext>
            </a:extLst>
          </p:cNvPr>
          <p:cNvSpPr/>
          <p:nvPr/>
        </p:nvSpPr>
        <p:spPr>
          <a:xfrm>
            <a:off x="5656281" y="3853466"/>
            <a:ext cx="21579" cy="29549"/>
          </a:xfrm>
          <a:custGeom>
            <a:avLst/>
            <a:gdLst>
              <a:gd name="csX0" fmla="*/ 40780 w 47809"/>
              <a:gd name="csY0" fmla="*/ 31738 h 65468"/>
              <a:gd name="csX1" fmla="*/ 26724 w 47809"/>
              <a:gd name="csY1" fmla="*/ 56211 h 65468"/>
              <a:gd name="csX2" fmla="*/ 6389 w 47809"/>
              <a:gd name="csY2" fmla="*/ 63204 h 65468"/>
              <a:gd name="csX3" fmla="*/ 2593 w 47809"/>
              <a:gd name="csY3" fmla="*/ 43797 h 65468"/>
              <a:gd name="csX4" fmla="*/ 23186 w 47809"/>
              <a:gd name="csY4" fmla="*/ 7148 h 65468"/>
              <a:gd name="csX5" fmla="*/ 40267 w 47809"/>
              <a:gd name="csY5" fmla="*/ 1428 h 65468"/>
              <a:gd name="csX6" fmla="*/ 47027 w 47809"/>
              <a:gd name="csY6" fmla="*/ 18221 h 65468"/>
              <a:gd name="csX7" fmla="*/ 40780 w 47809"/>
              <a:gd name="csY7" fmla="*/ 31738 h 6546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</a:cxnLst>
            <a:rect l="l" t="t" r="r" b="b"/>
            <a:pathLst>
              <a:path w="47809" h="65468">
                <a:moveTo>
                  <a:pt x="40780" y="31738"/>
                </a:moveTo>
                <a:cubicBezTo>
                  <a:pt x="35532" y="40863"/>
                  <a:pt x="31399" y="48706"/>
                  <a:pt x="26724" y="56211"/>
                </a:cubicBezTo>
                <a:cubicBezTo>
                  <a:pt x="21960" y="63858"/>
                  <a:pt x="15312" y="68487"/>
                  <a:pt x="6389" y="63204"/>
                </a:cubicBezTo>
                <a:cubicBezTo>
                  <a:pt x="-1504" y="58532"/>
                  <a:pt x="-1221" y="50986"/>
                  <a:pt x="2593" y="43797"/>
                </a:cubicBezTo>
                <a:cubicBezTo>
                  <a:pt x="9159" y="31421"/>
                  <a:pt x="16011" y="19181"/>
                  <a:pt x="23186" y="7148"/>
                </a:cubicBezTo>
                <a:cubicBezTo>
                  <a:pt x="27011" y="733"/>
                  <a:pt x="33085" y="-1861"/>
                  <a:pt x="40267" y="1428"/>
                </a:cubicBezTo>
                <a:cubicBezTo>
                  <a:pt x="47526" y="4751"/>
                  <a:pt x="48961" y="11186"/>
                  <a:pt x="47027" y="18221"/>
                </a:cubicBezTo>
                <a:cubicBezTo>
                  <a:pt x="45871" y="22424"/>
                  <a:pt x="43489" y="26290"/>
                  <a:pt x="40780" y="31738"/>
                </a:cubicBezTo>
                <a:close/>
              </a:path>
            </a:pathLst>
          </a:custGeom>
          <a:solidFill>
            <a:schemeClr val="accent1"/>
          </a:solidFill>
          <a:ln w="2232" cap="flat">
            <a:noFill/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6958" name="Free-form: Shape 6957">
            <a:extLst>
              <a:ext uri="{FF2B5EF4-FFF2-40B4-BE49-F238E27FC236}">
                <a16:creationId xmlns:a16="http://schemas.microsoft.com/office/drawing/2014/main" id="{919496C2-6127-171E-D6CA-578D78576F0B}"/>
              </a:ext>
            </a:extLst>
          </p:cNvPr>
          <p:cNvSpPr/>
          <p:nvPr/>
        </p:nvSpPr>
        <p:spPr>
          <a:xfrm>
            <a:off x="5263808" y="3960795"/>
            <a:ext cx="28974" cy="21518"/>
          </a:xfrm>
          <a:custGeom>
            <a:avLst/>
            <a:gdLst>
              <a:gd name="csX0" fmla="*/ 62540 w 64193"/>
              <a:gd name="csY0" fmla="*/ 43547 h 47674"/>
              <a:gd name="csX1" fmla="*/ 58281 w 64193"/>
              <a:gd name="csY1" fmla="*/ 47603 h 47674"/>
              <a:gd name="csX2" fmla="*/ 1036 w 64193"/>
              <a:gd name="csY2" fmla="*/ 18561 h 47674"/>
              <a:gd name="csX3" fmla="*/ 13303 w 64193"/>
              <a:gd name="csY3" fmla="*/ 649 h 47674"/>
              <a:gd name="csX4" fmla="*/ 63521 w 64193"/>
              <a:gd name="csY4" fmla="*/ 31660 h 47674"/>
              <a:gd name="csX5" fmla="*/ 62540 w 64193"/>
              <a:gd name="csY5" fmla="*/ 43547 h 4767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</a:cxnLst>
            <a:rect l="l" t="t" r="r" b="b"/>
            <a:pathLst>
              <a:path w="64193" h="47674">
                <a:moveTo>
                  <a:pt x="62540" y="43547"/>
                </a:moveTo>
                <a:cubicBezTo>
                  <a:pt x="60568" y="45836"/>
                  <a:pt x="59525" y="47428"/>
                  <a:pt x="58281" y="47603"/>
                </a:cubicBezTo>
                <a:cubicBezTo>
                  <a:pt x="47887" y="49073"/>
                  <a:pt x="5340" y="27343"/>
                  <a:pt x="1036" y="18561"/>
                </a:cubicBezTo>
                <a:cubicBezTo>
                  <a:pt x="-3001" y="10320"/>
                  <a:pt x="5533" y="-3108"/>
                  <a:pt x="13303" y="649"/>
                </a:cubicBezTo>
                <a:cubicBezTo>
                  <a:pt x="30940" y="9175"/>
                  <a:pt x="47176" y="20681"/>
                  <a:pt x="63521" y="31660"/>
                </a:cubicBezTo>
                <a:cubicBezTo>
                  <a:pt x="65113" y="32730"/>
                  <a:pt x="63502" y="38567"/>
                  <a:pt x="62540" y="43547"/>
                </a:cubicBezTo>
                <a:close/>
              </a:path>
            </a:pathLst>
          </a:custGeom>
          <a:solidFill>
            <a:schemeClr val="accent1"/>
          </a:solidFill>
          <a:ln w="2232" cap="flat">
            <a:noFill/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6959" name="Free-form: Shape 6958">
            <a:extLst>
              <a:ext uri="{FF2B5EF4-FFF2-40B4-BE49-F238E27FC236}">
                <a16:creationId xmlns:a16="http://schemas.microsoft.com/office/drawing/2014/main" id="{4A6430A1-028D-C48A-1688-0D24A80228BB}"/>
              </a:ext>
            </a:extLst>
          </p:cNvPr>
          <p:cNvSpPr/>
          <p:nvPr/>
        </p:nvSpPr>
        <p:spPr>
          <a:xfrm>
            <a:off x="5727066" y="4245424"/>
            <a:ext cx="28765" cy="21609"/>
          </a:xfrm>
          <a:custGeom>
            <a:avLst/>
            <a:gdLst>
              <a:gd name="csX0" fmla="*/ 53601 w 63731"/>
              <a:gd name="csY0" fmla="*/ 21885 h 47875"/>
              <a:gd name="csX1" fmla="*/ 60626 w 63731"/>
              <a:gd name="csY1" fmla="*/ 43068 h 47875"/>
              <a:gd name="csX2" fmla="*/ 40825 w 63731"/>
              <a:gd name="csY2" fmla="*/ 43870 h 47875"/>
              <a:gd name="csX3" fmla="*/ 8375 w 63731"/>
              <a:gd name="csY3" fmla="*/ 24642 h 47875"/>
              <a:gd name="csX4" fmla="*/ 2339 w 63731"/>
              <a:gd name="csY4" fmla="*/ 6163 h 47875"/>
              <a:gd name="csX5" fmla="*/ 21633 w 63731"/>
              <a:gd name="csY5" fmla="*/ 3080 h 47875"/>
              <a:gd name="csX6" fmla="*/ 53601 w 63731"/>
              <a:gd name="csY6" fmla="*/ 21885 h 4787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</a:cxnLst>
            <a:rect l="l" t="t" r="r" b="b"/>
            <a:pathLst>
              <a:path w="63731" h="47875">
                <a:moveTo>
                  <a:pt x="53601" y="21885"/>
                </a:moveTo>
                <a:cubicBezTo>
                  <a:pt x="61848" y="28124"/>
                  <a:pt x="67562" y="34087"/>
                  <a:pt x="60626" y="43068"/>
                </a:cubicBezTo>
                <a:cubicBezTo>
                  <a:pt x="54619" y="50845"/>
                  <a:pt x="47524" y="47731"/>
                  <a:pt x="40825" y="43870"/>
                </a:cubicBezTo>
                <a:cubicBezTo>
                  <a:pt x="29931" y="37591"/>
                  <a:pt x="18936" y="31450"/>
                  <a:pt x="8375" y="24642"/>
                </a:cubicBezTo>
                <a:cubicBezTo>
                  <a:pt x="1797" y="20402"/>
                  <a:pt x="-3102" y="14660"/>
                  <a:pt x="2339" y="6163"/>
                </a:cubicBezTo>
                <a:cubicBezTo>
                  <a:pt x="7551" y="-1977"/>
                  <a:pt x="14478" y="-1011"/>
                  <a:pt x="21633" y="3080"/>
                </a:cubicBezTo>
                <a:cubicBezTo>
                  <a:pt x="31907" y="8956"/>
                  <a:pt x="42069" y="15031"/>
                  <a:pt x="53601" y="21885"/>
                </a:cubicBezTo>
                <a:close/>
              </a:path>
            </a:pathLst>
          </a:custGeom>
          <a:solidFill>
            <a:schemeClr val="accent1"/>
          </a:solidFill>
          <a:ln w="2232" cap="flat">
            <a:noFill/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6960" name="Free-form: Shape 6959">
            <a:extLst>
              <a:ext uri="{FF2B5EF4-FFF2-40B4-BE49-F238E27FC236}">
                <a16:creationId xmlns:a16="http://schemas.microsoft.com/office/drawing/2014/main" id="{EE78FBF7-4609-1655-EE8C-CF0A67E32535}"/>
              </a:ext>
            </a:extLst>
          </p:cNvPr>
          <p:cNvSpPr/>
          <p:nvPr/>
        </p:nvSpPr>
        <p:spPr>
          <a:xfrm>
            <a:off x="5629202" y="4347757"/>
            <a:ext cx="20662" cy="25339"/>
          </a:xfrm>
          <a:custGeom>
            <a:avLst/>
            <a:gdLst>
              <a:gd name="csX0" fmla="*/ 41120 w 45778"/>
              <a:gd name="csY0" fmla="*/ 32087 h 56140"/>
              <a:gd name="csX1" fmla="*/ 45681 w 45778"/>
              <a:gd name="csY1" fmla="*/ 43563 h 56140"/>
              <a:gd name="csX2" fmla="*/ 38169 w 45778"/>
              <a:gd name="csY2" fmla="*/ 55450 h 56140"/>
              <a:gd name="csX3" fmla="*/ 24725 w 45778"/>
              <a:gd name="csY3" fmla="*/ 52923 h 56140"/>
              <a:gd name="csX4" fmla="*/ 258 w 45778"/>
              <a:gd name="csY4" fmla="*/ 10943 h 56140"/>
              <a:gd name="csX5" fmla="*/ 4311 w 45778"/>
              <a:gd name="csY5" fmla="*/ 322 h 56140"/>
              <a:gd name="csX6" fmla="*/ 22106 w 45778"/>
              <a:gd name="csY6" fmla="*/ 3040 h 56140"/>
              <a:gd name="csX7" fmla="*/ 41120 w 45778"/>
              <a:gd name="csY7" fmla="*/ 32087 h 5614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</a:cxnLst>
            <a:rect l="l" t="t" r="r" b="b"/>
            <a:pathLst>
              <a:path w="45778" h="56140">
                <a:moveTo>
                  <a:pt x="41120" y="32087"/>
                </a:moveTo>
                <a:cubicBezTo>
                  <a:pt x="43260" y="36838"/>
                  <a:pt x="46367" y="40645"/>
                  <a:pt x="45681" y="43563"/>
                </a:cubicBezTo>
                <a:cubicBezTo>
                  <a:pt x="44632" y="48031"/>
                  <a:pt x="41831" y="53815"/>
                  <a:pt x="38169" y="55450"/>
                </a:cubicBezTo>
                <a:cubicBezTo>
                  <a:pt x="34600" y="57045"/>
                  <a:pt x="26630" y="55744"/>
                  <a:pt x="24725" y="52923"/>
                </a:cubicBezTo>
                <a:cubicBezTo>
                  <a:pt x="15670" y="39517"/>
                  <a:pt x="7638" y="25356"/>
                  <a:pt x="258" y="10943"/>
                </a:cubicBezTo>
                <a:cubicBezTo>
                  <a:pt x="-977" y="8531"/>
                  <a:pt x="2526" y="481"/>
                  <a:pt x="4311" y="322"/>
                </a:cubicBezTo>
                <a:cubicBezTo>
                  <a:pt x="10285" y="-211"/>
                  <a:pt x="18794" y="-512"/>
                  <a:pt x="22106" y="3040"/>
                </a:cubicBezTo>
                <a:cubicBezTo>
                  <a:pt x="29548" y="11018"/>
                  <a:pt x="34451" y="21364"/>
                  <a:pt x="41120" y="32087"/>
                </a:cubicBezTo>
                <a:close/>
              </a:path>
            </a:pathLst>
          </a:custGeom>
          <a:solidFill>
            <a:schemeClr val="accent1"/>
          </a:solidFill>
          <a:ln w="2232" cap="flat">
            <a:noFill/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6961" name="Free-form: Shape 6960">
            <a:extLst>
              <a:ext uri="{FF2B5EF4-FFF2-40B4-BE49-F238E27FC236}">
                <a16:creationId xmlns:a16="http://schemas.microsoft.com/office/drawing/2014/main" id="{69940332-5BB8-7490-0307-72E42922B7A1}"/>
              </a:ext>
            </a:extLst>
          </p:cNvPr>
          <p:cNvSpPr/>
          <p:nvPr/>
        </p:nvSpPr>
        <p:spPr>
          <a:xfrm>
            <a:off x="6135288" y="3861508"/>
            <a:ext cx="215288" cy="355643"/>
          </a:xfrm>
          <a:custGeom>
            <a:avLst/>
            <a:gdLst>
              <a:gd name="csX0" fmla="*/ 86652 w 476983"/>
              <a:gd name="csY0" fmla="*/ 688564 h 787946"/>
              <a:gd name="csX1" fmla="*/ 264265 w 476983"/>
              <a:gd name="csY1" fmla="*/ 587118 h 787946"/>
              <a:gd name="csX2" fmla="*/ 283742 w 476983"/>
              <a:gd name="csY2" fmla="*/ 555888 h 787946"/>
              <a:gd name="csX3" fmla="*/ 335854 w 476983"/>
              <a:gd name="csY3" fmla="*/ 473282 h 787946"/>
              <a:gd name="csX4" fmla="*/ 350230 w 476983"/>
              <a:gd name="csY4" fmla="*/ 446564 h 787946"/>
              <a:gd name="csX5" fmla="*/ 349998 w 476983"/>
              <a:gd name="csY5" fmla="*/ 201140 h 787946"/>
              <a:gd name="csX6" fmla="*/ 350203 w 476983"/>
              <a:gd name="csY6" fmla="*/ 47194 h 787946"/>
              <a:gd name="csX7" fmla="*/ 353240 w 476983"/>
              <a:gd name="csY7" fmla="*/ 20825 h 787946"/>
              <a:gd name="csX8" fmla="*/ 379360 w 476983"/>
              <a:gd name="csY8" fmla="*/ 37 h 787946"/>
              <a:gd name="csX9" fmla="*/ 406449 w 476983"/>
              <a:gd name="csY9" fmla="*/ 19318 h 787946"/>
              <a:gd name="csX10" fmla="*/ 409625 w 476983"/>
              <a:gd name="csY10" fmla="*/ 45569 h 787946"/>
              <a:gd name="csX11" fmla="*/ 409961 w 476983"/>
              <a:gd name="csY11" fmla="*/ 440479 h 787946"/>
              <a:gd name="csX12" fmla="*/ 409961 w 476983"/>
              <a:gd name="csY12" fmla="*/ 464653 h 787946"/>
              <a:gd name="csX13" fmla="*/ 426804 w 476983"/>
              <a:gd name="csY13" fmla="*/ 473943 h 787946"/>
              <a:gd name="csX14" fmla="*/ 465695 w 476983"/>
              <a:gd name="csY14" fmla="*/ 602795 h 787946"/>
              <a:gd name="csX15" fmla="*/ 335801 w 476983"/>
              <a:gd name="csY15" fmla="*/ 643895 h 787946"/>
              <a:gd name="csX16" fmla="*/ 326155 w 476983"/>
              <a:gd name="csY16" fmla="*/ 638353 h 787946"/>
              <a:gd name="csX17" fmla="*/ 304029 w 476983"/>
              <a:gd name="csY17" fmla="*/ 637969 h 787946"/>
              <a:gd name="csX18" fmla="*/ 208015 w 476983"/>
              <a:gd name="csY18" fmla="*/ 694608 h 787946"/>
              <a:gd name="csX19" fmla="*/ 52478 w 476983"/>
              <a:gd name="csY19" fmla="*/ 781901 h 787946"/>
              <a:gd name="csX20" fmla="*/ 25070 w 476983"/>
              <a:gd name="csY20" fmla="*/ 787630 h 787946"/>
              <a:gd name="csX21" fmla="*/ 5605 w 476983"/>
              <a:gd name="csY21" fmla="*/ 741060 h 787946"/>
              <a:gd name="csX22" fmla="*/ 30657 w 476983"/>
              <a:gd name="csY22" fmla="*/ 719688 h 787946"/>
              <a:gd name="csX23" fmla="*/ 86652 w 476983"/>
              <a:gd name="csY23" fmla="*/ 688564 h 78794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</a:cxnLst>
            <a:rect l="l" t="t" r="r" b="b"/>
            <a:pathLst>
              <a:path w="476983" h="787946">
                <a:moveTo>
                  <a:pt x="86652" y="688564"/>
                </a:moveTo>
                <a:cubicBezTo>
                  <a:pt x="146769" y="654139"/>
                  <a:pt x="205308" y="620257"/>
                  <a:pt x="264265" y="587118"/>
                </a:cubicBezTo>
                <a:cubicBezTo>
                  <a:pt x="277184" y="579858"/>
                  <a:pt x="282903" y="571670"/>
                  <a:pt x="283742" y="555888"/>
                </a:cubicBezTo>
                <a:cubicBezTo>
                  <a:pt x="285674" y="519512"/>
                  <a:pt x="302394" y="490090"/>
                  <a:pt x="335854" y="473282"/>
                </a:cubicBezTo>
                <a:cubicBezTo>
                  <a:pt x="348307" y="467027"/>
                  <a:pt x="350274" y="458558"/>
                  <a:pt x="350230" y="446564"/>
                </a:cubicBezTo>
                <a:cubicBezTo>
                  <a:pt x="349929" y="364757"/>
                  <a:pt x="350007" y="282948"/>
                  <a:pt x="349998" y="201140"/>
                </a:cubicBezTo>
                <a:cubicBezTo>
                  <a:pt x="349992" y="149824"/>
                  <a:pt x="349910" y="98508"/>
                  <a:pt x="350203" y="47194"/>
                </a:cubicBezTo>
                <a:cubicBezTo>
                  <a:pt x="350253" y="38376"/>
                  <a:pt x="350933" y="29272"/>
                  <a:pt x="353240" y="20825"/>
                </a:cubicBezTo>
                <a:cubicBezTo>
                  <a:pt x="356645" y="8352"/>
                  <a:pt x="367398" y="681"/>
                  <a:pt x="379360" y="37"/>
                </a:cubicBezTo>
                <a:cubicBezTo>
                  <a:pt x="390832" y="-580"/>
                  <a:pt x="402263" y="6510"/>
                  <a:pt x="406449" y="19318"/>
                </a:cubicBezTo>
                <a:cubicBezTo>
                  <a:pt x="409139" y="27549"/>
                  <a:pt x="409609" y="36782"/>
                  <a:pt x="409625" y="45569"/>
                </a:cubicBezTo>
                <a:cubicBezTo>
                  <a:pt x="409879" y="177205"/>
                  <a:pt x="409893" y="308843"/>
                  <a:pt x="409961" y="440479"/>
                </a:cubicBezTo>
                <a:cubicBezTo>
                  <a:pt x="409966" y="448562"/>
                  <a:pt x="409961" y="456644"/>
                  <a:pt x="409961" y="464653"/>
                </a:cubicBezTo>
                <a:cubicBezTo>
                  <a:pt x="416533" y="468275"/>
                  <a:pt x="421689" y="471074"/>
                  <a:pt x="426804" y="473943"/>
                </a:cubicBezTo>
                <a:cubicBezTo>
                  <a:pt x="473333" y="500035"/>
                  <a:pt x="490375" y="556517"/>
                  <a:pt x="465695" y="602795"/>
                </a:cubicBezTo>
                <a:cubicBezTo>
                  <a:pt x="440092" y="650804"/>
                  <a:pt x="383960" y="668578"/>
                  <a:pt x="335801" y="643895"/>
                </a:cubicBezTo>
                <a:cubicBezTo>
                  <a:pt x="332497" y="642201"/>
                  <a:pt x="328936" y="640715"/>
                  <a:pt x="326155" y="638353"/>
                </a:cubicBezTo>
                <a:cubicBezTo>
                  <a:pt x="318710" y="632030"/>
                  <a:pt x="312154" y="633035"/>
                  <a:pt x="304029" y="637969"/>
                </a:cubicBezTo>
                <a:cubicBezTo>
                  <a:pt x="272271" y="657255"/>
                  <a:pt x="240284" y="676186"/>
                  <a:pt x="208015" y="694608"/>
                </a:cubicBezTo>
                <a:cubicBezTo>
                  <a:pt x="156382" y="724084"/>
                  <a:pt x="104628" y="753358"/>
                  <a:pt x="52478" y="781901"/>
                </a:cubicBezTo>
                <a:cubicBezTo>
                  <a:pt x="44549" y="786241"/>
                  <a:pt x="33824" y="788894"/>
                  <a:pt x="25070" y="787630"/>
                </a:cubicBezTo>
                <a:cubicBezTo>
                  <a:pt x="3218" y="784475"/>
                  <a:pt x="-7273" y="759429"/>
                  <a:pt x="5605" y="741060"/>
                </a:cubicBezTo>
                <a:cubicBezTo>
                  <a:pt x="11728" y="732326"/>
                  <a:pt x="21361" y="725396"/>
                  <a:pt x="30657" y="719688"/>
                </a:cubicBezTo>
                <a:cubicBezTo>
                  <a:pt x="48372" y="708810"/>
                  <a:pt x="66985" y="699395"/>
                  <a:pt x="86652" y="688564"/>
                </a:cubicBezTo>
                <a:close/>
              </a:path>
            </a:pathLst>
          </a:custGeom>
          <a:solidFill>
            <a:schemeClr val="accent1"/>
          </a:solidFill>
          <a:ln w="2232" cap="flat">
            <a:noFill/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6962" name="Free-form: Shape 6961">
            <a:extLst>
              <a:ext uri="{FF2B5EF4-FFF2-40B4-BE49-F238E27FC236}">
                <a16:creationId xmlns:a16="http://schemas.microsoft.com/office/drawing/2014/main" id="{494149D6-5A75-C35E-C977-346243DC43E3}"/>
              </a:ext>
            </a:extLst>
          </p:cNvPr>
          <p:cNvSpPr/>
          <p:nvPr/>
        </p:nvSpPr>
        <p:spPr>
          <a:xfrm>
            <a:off x="6300460" y="3813971"/>
            <a:ext cx="14172" cy="34704"/>
          </a:xfrm>
          <a:custGeom>
            <a:avLst/>
            <a:gdLst>
              <a:gd name="csX0" fmla="*/ 7289 w 31399"/>
              <a:gd name="csY0" fmla="*/ 74810 h 76888"/>
              <a:gd name="csX1" fmla="*/ 2426 w 31399"/>
              <a:gd name="csY1" fmla="*/ 8794 h 76888"/>
              <a:gd name="csX2" fmla="*/ 17655 w 31399"/>
              <a:gd name="csY2" fmla="*/ 3 h 76888"/>
              <a:gd name="csX3" fmla="*/ 30075 w 31399"/>
              <a:gd name="csY3" fmla="*/ 9593 h 76888"/>
              <a:gd name="csX4" fmla="*/ 30189 w 31399"/>
              <a:gd name="csY4" fmla="*/ 67007 h 76888"/>
              <a:gd name="csX5" fmla="*/ 7289 w 31399"/>
              <a:gd name="csY5" fmla="*/ 74810 h 7688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</a:cxnLst>
            <a:rect l="l" t="t" r="r" b="b"/>
            <a:pathLst>
              <a:path w="31399" h="76888">
                <a:moveTo>
                  <a:pt x="7289" y="74810"/>
                </a:moveTo>
                <a:cubicBezTo>
                  <a:pt x="-4498" y="52668"/>
                  <a:pt x="1275" y="30467"/>
                  <a:pt x="2426" y="8794"/>
                </a:cubicBezTo>
                <a:cubicBezTo>
                  <a:pt x="2608" y="5366"/>
                  <a:pt x="12233" y="217"/>
                  <a:pt x="17655" y="3"/>
                </a:cubicBezTo>
                <a:cubicBezTo>
                  <a:pt x="21858" y="-163"/>
                  <a:pt x="29823" y="5892"/>
                  <a:pt x="30075" y="9593"/>
                </a:cubicBezTo>
                <a:cubicBezTo>
                  <a:pt x="31376" y="28678"/>
                  <a:pt x="32204" y="48053"/>
                  <a:pt x="30189" y="67007"/>
                </a:cubicBezTo>
                <a:cubicBezTo>
                  <a:pt x="29047" y="77741"/>
                  <a:pt x="18454" y="78669"/>
                  <a:pt x="7289" y="74810"/>
                </a:cubicBezTo>
                <a:close/>
              </a:path>
            </a:pathLst>
          </a:custGeom>
          <a:solidFill>
            <a:schemeClr val="accent1"/>
          </a:solidFill>
          <a:ln w="2232" cap="flat">
            <a:noFill/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6963" name="Free-form: Shape 6962">
            <a:extLst>
              <a:ext uri="{FF2B5EF4-FFF2-40B4-BE49-F238E27FC236}">
                <a16:creationId xmlns:a16="http://schemas.microsoft.com/office/drawing/2014/main" id="{F0D72D4A-0AF6-6448-345C-200D5817FB1D}"/>
              </a:ext>
            </a:extLst>
          </p:cNvPr>
          <p:cNvSpPr/>
          <p:nvPr/>
        </p:nvSpPr>
        <p:spPr>
          <a:xfrm>
            <a:off x="6300745" y="4378183"/>
            <a:ext cx="13834" cy="34601"/>
          </a:xfrm>
          <a:custGeom>
            <a:avLst/>
            <a:gdLst>
              <a:gd name="csX0" fmla="*/ 29247 w 30651"/>
              <a:gd name="csY0" fmla="*/ 69724 h 76660"/>
              <a:gd name="csX1" fmla="*/ 282 w 30651"/>
              <a:gd name="csY1" fmla="*/ 57367 h 76660"/>
              <a:gd name="csX2" fmla="*/ 543 w 30651"/>
              <a:gd name="csY2" fmla="*/ 17455 h 76660"/>
              <a:gd name="csX3" fmla="*/ 16387 w 30651"/>
              <a:gd name="csY3" fmla="*/ 126 h 76660"/>
              <a:gd name="csX4" fmla="*/ 30645 w 30651"/>
              <a:gd name="csY4" fmla="*/ 17038 h 76660"/>
              <a:gd name="csX5" fmla="*/ 29247 w 30651"/>
              <a:gd name="csY5" fmla="*/ 69724 h 7666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</a:cxnLst>
            <a:rect l="l" t="t" r="r" b="b"/>
            <a:pathLst>
              <a:path w="30651" h="76660">
                <a:moveTo>
                  <a:pt x="29247" y="69724"/>
                </a:moveTo>
                <a:cubicBezTo>
                  <a:pt x="9073" y="82000"/>
                  <a:pt x="888" y="78043"/>
                  <a:pt x="282" y="57367"/>
                </a:cubicBezTo>
                <a:cubicBezTo>
                  <a:pt x="-108" y="44073"/>
                  <a:pt x="-157" y="30729"/>
                  <a:pt x="543" y="17455"/>
                </a:cubicBezTo>
                <a:cubicBezTo>
                  <a:pt x="1141" y="6120"/>
                  <a:pt x="7994" y="-1053"/>
                  <a:pt x="16387" y="126"/>
                </a:cubicBezTo>
                <a:cubicBezTo>
                  <a:pt x="25817" y="1452"/>
                  <a:pt x="30608" y="7777"/>
                  <a:pt x="30645" y="17038"/>
                </a:cubicBezTo>
                <a:cubicBezTo>
                  <a:pt x="30712" y="34017"/>
                  <a:pt x="30263" y="50998"/>
                  <a:pt x="29247" y="69724"/>
                </a:cubicBezTo>
                <a:close/>
              </a:path>
            </a:pathLst>
          </a:custGeom>
          <a:solidFill>
            <a:schemeClr val="accent1"/>
          </a:solidFill>
          <a:ln w="2232" cap="flat">
            <a:noFill/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6964" name="Free-form: Shape 6963">
            <a:extLst>
              <a:ext uri="{FF2B5EF4-FFF2-40B4-BE49-F238E27FC236}">
                <a16:creationId xmlns:a16="http://schemas.microsoft.com/office/drawing/2014/main" id="{55FF4D56-D98C-69AB-2F16-6876CD94D6BE}"/>
              </a:ext>
            </a:extLst>
          </p:cNvPr>
          <p:cNvSpPr/>
          <p:nvPr/>
        </p:nvSpPr>
        <p:spPr>
          <a:xfrm>
            <a:off x="6573575" y="4107914"/>
            <a:ext cx="34771" cy="13378"/>
          </a:xfrm>
          <a:custGeom>
            <a:avLst/>
            <a:gdLst>
              <a:gd name="csX0" fmla="*/ 75359 w 77038"/>
              <a:gd name="csY0" fmla="*/ 22848 h 29639"/>
              <a:gd name="csX1" fmla="*/ 9417 w 77038"/>
              <a:gd name="csY1" fmla="*/ 27618 h 29639"/>
              <a:gd name="csX2" fmla="*/ 35 w 77038"/>
              <a:gd name="csY2" fmla="*/ 15529 h 29639"/>
              <a:gd name="csX3" fmla="*/ 10595 w 77038"/>
              <a:gd name="csY3" fmla="*/ 1371 h 29639"/>
              <a:gd name="csX4" fmla="*/ 65474 w 77038"/>
              <a:gd name="csY4" fmla="*/ 1167 h 29639"/>
              <a:gd name="csX5" fmla="*/ 75359 w 77038"/>
              <a:gd name="csY5" fmla="*/ 22848 h 2963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</a:cxnLst>
            <a:rect l="l" t="t" r="r" b="b"/>
            <a:pathLst>
              <a:path w="77038" h="29639">
                <a:moveTo>
                  <a:pt x="75359" y="22848"/>
                </a:moveTo>
                <a:cubicBezTo>
                  <a:pt x="53190" y="33963"/>
                  <a:pt x="31074" y="28235"/>
                  <a:pt x="9417" y="27618"/>
                </a:cubicBezTo>
                <a:cubicBezTo>
                  <a:pt x="5925" y="27519"/>
                  <a:pt x="-529" y="19186"/>
                  <a:pt x="35" y="15529"/>
                </a:cubicBezTo>
                <a:cubicBezTo>
                  <a:pt x="860" y="10175"/>
                  <a:pt x="6451" y="1729"/>
                  <a:pt x="10595" y="1371"/>
                </a:cubicBezTo>
                <a:cubicBezTo>
                  <a:pt x="28790" y="-199"/>
                  <a:pt x="47322" y="-619"/>
                  <a:pt x="65474" y="1167"/>
                </a:cubicBezTo>
                <a:cubicBezTo>
                  <a:pt x="75165" y="2120"/>
                  <a:pt x="79766" y="10795"/>
                  <a:pt x="75359" y="22848"/>
                </a:cubicBezTo>
                <a:close/>
              </a:path>
            </a:pathLst>
          </a:custGeom>
          <a:solidFill>
            <a:schemeClr val="accent1"/>
          </a:solidFill>
          <a:ln w="2232" cap="flat">
            <a:noFill/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6965" name="Free-form: Shape 6964">
            <a:extLst>
              <a:ext uri="{FF2B5EF4-FFF2-40B4-BE49-F238E27FC236}">
                <a16:creationId xmlns:a16="http://schemas.microsoft.com/office/drawing/2014/main" id="{FEBBC2F1-9893-3034-4E88-A5D915A84A69}"/>
              </a:ext>
            </a:extLst>
          </p:cNvPr>
          <p:cNvSpPr/>
          <p:nvPr/>
        </p:nvSpPr>
        <p:spPr>
          <a:xfrm>
            <a:off x="6045770" y="4244567"/>
            <a:ext cx="30065" cy="21048"/>
          </a:xfrm>
          <a:custGeom>
            <a:avLst/>
            <a:gdLst>
              <a:gd name="csX0" fmla="*/ 32795 w 66610"/>
              <a:gd name="csY0" fmla="*/ 6977 h 46634"/>
              <a:gd name="csX1" fmla="*/ 52757 w 66610"/>
              <a:gd name="csY1" fmla="*/ 2 h 46634"/>
              <a:gd name="csX2" fmla="*/ 66052 w 66610"/>
              <a:gd name="csY2" fmla="*/ 8705 h 46634"/>
              <a:gd name="csX3" fmla="*/ 62395 w 66610"/>
              <a:gd name="csY3" fmla="*/ 21890 h 46634"/>
              <a:gd name="csX4" fmla="*/ 22699 w 66610"/>
              <a:gd name="csY4" fmla="*/ 45454 h 46634"/>
              <a:gd name="csX5" fmla="*/ 0 w 66610"/>
              <a:gd name="csY5" fmla="*/ 31182 h 46634"/>
              <a:gd name="csX6" fmla="*/ 32795 w 66610"/>
              <a:gd name="csY6" fmla="*/ 6977 h 4663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</a:cxnLst>
            <a:rect l="l" t="t" r="r" b="b"/>
            <a:pathLst>
              <a:path w="66610" h="46634">
                <a:moveTo>
                  <a:pt x="32795" y="6977"/>
                </a:moveTo>
                <a:cubicBezTo>
                  <a:pt x="40450" y="3945"/>
                  <a:pt x="46636" y="-96"/>
                  <a:pt x="52757" y="2"/>
                </a:cubicBezTo>
                <a:cubicBezTo>
                  <a:pt x="57423" y="76"/>
                  <a:pt x="63686" y="4461"/>
                  <a:pt x="66052" y="8705"/>
                </a:cubicBezTo>
                <a:cubicBezTo>
                  <a:pt x="67705" y="11671"/>
                  <a:pt x="65455" y="19770"/>
                  <a:pt x="62395" y="21890"/>
                </a:cubicBezTo>
                <a:cubicBezTo>
                  <a:pt x="49753" y="30649"/>
                  <a:pt x="36727" y="39358"/>
                  <a:pt x="22699" y="45454"/>
                </a:cubicBezTo>
                <a:cubicBezTo>
                  <a:pt x="10929" y="50567"/>
                  <a:pt x="7294" y="37815"/>
                  <a:pt x="0" y="31182"/>
                </a:cubicBezTo>
                <a:cubicBezTo>
                  <a:pt x="6487" y="17148"/>
                  <a:pt x="20614" y="14656"/>
                  <a:pt x="32795" y="6977"/>
                </a:cubicBezTo>
                <a:close/>
              </a:path>
            </a:pathLst>
          </a:custGeom>
          <a:solidFill>
            <a:schemeClr val="accent1"/>
          </a:solidFill>
          <a:ln w="2232" cap="flat">
            <a:noFill/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6966" name="Free-form: Shape 6965">
            <a:extLst>
              <a:ext uri="{FF2B5EF4-FFF2-40B4-BE49-F238E27FC236}">
                <a16:creationId xmlns:a16="http://schemas.microsoft.com/office/drawing/2014/main" id="{517E8DE0-8F7B-1BB9-8805-8F6FCAA18AF0}"/>
              </a:ext>
            </a:extLst>
          </p:cNvPr>
          <p:cNvSpPr/>
          <p:nvPr/>
        </p:nvSpPr>
        <p:spPr>
          <a:xfrm>
            <a:off x="6154290" y="3853270"/>
            <a:ext cx="22852" cy="30029"/>
          </a:xfrm>
          <a:custGeom>
            <a:avLst/>
            <a:gdLst>
              <a:gd name="csX0" fmla="*/ 0 w 50629"/>
              <a:gd name="csY0" fmla="*/ 9394 h 66530"/>
              <a:gd name="csX1" fmla="*/ 26356 w 50629"/>
              <a:gd name="csY1" fmla="*/ 9117 h 66530"/>
              <a:gd name="csX2" fmla="*/ 46711 w 50629"/>
              <a:gd name="csY2" fmla="*/ 43349 h 66530"/>
              <a:gd name="csX3" fmla="*/ 43881 w 50629"/>
              <a:gd name="csY3" fmla="*/ 64153 h 66530"/>
              <a:gd name="csX4" fmla="*/ 22940 w 50629"/>
              <a:gd name="csY4" fmla="*/ 58276 h 66530"/>
              <a:gd name="csX5" fmla="*/ 0 w 50629"/>
              <a:gd name="csY5" fmla="*/ 9394 h 6653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</a:cxnLst>
            <a:rect l="l" t="t" r="r" b="b"/>
            <a:pathLst>
              <a:path w="50629" h="66530">
                <a:moveTo>
                  <a:pt x="0" y="9394"/>
                </a:moveTo>
                <a:cubicBezTo>
                  <a:pt x="14555" y="-3073"/>
                  <a:pt x="18510" y="-3097"/>
                  <a:pt x="26356" y="9117"/>
                </a:cubicBezTo>
                <a:cubicBezTo>
                  <a:pt x="33527" y="20279"/>
                  <a:pt x="39815" y="32005"/>
                  <a:pt x="46711" y="43349"/>
                </a:cubicBezTo>
                <a:cubicBezTo>
                  <a:pt x="51492" y="51213"/>
                  <a:pt x="53305" y="58885"/>
                  <a:pt x="43881" y="64153"/>
                </a:cubicBezTo>
                <a:cubicBezTo>
                  <a:pt x="35565" y="68801"/>
                  <a:pt x="27391" y="66524"/>
                  <a:pt x="22940" y="58276"/>
                </a:cubicBezTo>
                <a:cubicBezTo>
                  <a:pt x="14597" y="42816"/>
                  <a:pt x="7328" y="26776"/>
                  <a:pt x="0" y="9394"/>
                </a:cubicBezTo>
                <a:close/>
              </a:path>
            </a:pathLst>
          </a:custGeom>
          <a:solidFill>
            <a:schemeClr val="accent1"/>
          </a:solidFill>
          <a:ln w="2232" cap="flat">
            <a:noFill/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6967" name="Free-form: Shape 6966">
            <a:extLst>
              <a:ext uri="{FF2B5EF4-FFF2-40B4-BE49-F238E27FC236}">
                <a16:creationId xmlns:a16="http://schemas.microsoft.com/office/drawing/2014/main" id="{15DB22CD-0B98-FA89-E20B-5AE4637FDE4A}"/>
              </a:ext>
            </a:extLst>
          </p:cNvPr>
          <p:cNvSpPr/>
          <p:nvPr/>
        </p:nvSpPr>
        <p:spPr>
          <a:xfrm>
            <a:off x="6152818" y="4345747"/>
            <a:ext cx="22592" cy="29287"/>
          </a:xfrm>
          <a:custGeom>
            <a:avLst/>
            <a:gdLst>
              <a:gd name="csX0" fmla="*/ 31243 w 50054"/>
              <a:gd name="csY0" fmla="*/ 0 h 64887"/>
              <a:gd name="csX1" fmla="*/ 47383 w 50054"/>
              <a:gd name="csY1" fmla="*/ 19638 h 64887"/>
              <a:gd name="csX2" fmla="*/ 25748 w 50054"/>
              <a:gd name="csY2" fmla="*/ 58000 h 64887"/>
              <a:gd name="csX3" fmla="*/ 6465 w 50054"/>
              <a:gd name="csY3" fmla="*/ 62487 h 64887"/>
              <a:gd name="csX4" fmla="*/ 2812 w 50054"/>
              <a:gd name="csY4" fmla="*/ 43260 h 64887"/>
              <a:gd name="csX5" fmla="*/ 31243 w 50054"/>
              <a:gd name="csY5" fmla="*/ 0 h 6488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</a:cxnLst>
            <a:rect l="l" t="t" r="r" b="b"/>
            <a:pathLst>
              <a:path w="50054" h="64887">
                <a:moveTo>
                  <a:pt x="31243" y="0"/>
                </a:moveTo>
                <a:cubicBezTo>
                  <a:pt x="49737" y="2431"/>
                  <a:pt x="53411" y="6700"/>
                  <a:pt x="47383" y="19638"/>
                </a:cubicBezTo>
                <a:cubicBezTo>
                  <a:pt x="41198" y="32911"/>
                  <a:pt x="33486" y="45527"/>
                  <a:pt x="25748" y="58000"/>
                </a:cubicBezTo>
                <a:cubicBezTo>
                  <a:pt x="21229" y="65286"/>
                  <a:pt x="13646" y="66808"/>
                  <a:pt x="6465" y="62487"/>
                </a:cubicBezTo>
                <a:cubicBezTo>
                  <a:pt x="-1150" y="57906"/>
                  <a:pt x="-1590" y="50452"/>
                  <a:pt x="2812" y="43260"/>
                </a:cubicBezTo>
                <a:cubicBezTo>
                  <a:pt x="11577" y="28933"/>
                  <a:pt x="20765" y="14864"/>
                  <a:pt x="31243" y="0"/>
                </a:cubicBezTo>
                <a:close/>
              </a:path>
            </a:pathLst>
          </a:custGeom>
          <a:solidFill>
            <a:schemeClr val="accent1"/>
          </a:solidFill>
          <a:ln w="2232" cap="flat">
            <a:noFill/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6968" name="Free-form: Shape 6967">
            <a:extLst>
              <a:ext uri="{FF2B5EF4-FFF2-40B4-BE49-F238E27FC236}">
                <a16:creationId xmlns:a16="http://schemas.microsoft.com/office/drawing/2014/main" id="{87A39C83-4D09-5258-C92F-B52A45B5A837}"/>
              </a:ext>
            </a:extLst>
          </p:cNvPr>
          <p:cNvSpPr/>
          <p:nvPr/>
        </p:nvSpPr>
        <p:spPr>
          <a:xfrm>
            <a:off x="6439341" y="3853607"/>
            <a:ext cx="21160" cy="28631"/>
          </a:xfrm>
          <a:custGeom>
            <a:avLst/>
            <a:gdLst>
              <a:gd name="csX0" fmla="*/ 4324 w 46880"/>
              <a:gd name="csY0" fmla="*/ 62991 h 63433"/>
              <a:gd name="csX1" fmla="*/ 106 w 46880"/>
              <a:gd name="csY1" fmla="*/ 58909 h 63433"/>
              <a:gd name="csX2" fmla="*/ 27452 w 46880"/>
              <a:gd name="csY2" fmla="*/ 922 h 63433"/>
              <a:gd name="csX3" fmla="*/ 41832 w 46880"/>
              <a:gd name="csY3" fmla="*/ 2045 h 63433"/>
              <a:gd name="csX4" fmla="*/ 46599 w 46880"/>
              <a:gd name="csY4" fmla="*/ 13229 h 63433"/>
              <a:gd name="csX5" fmla="*/ 19953 w 46880"/>
              <a:gd name="csY5" fmla="*/ 61747 h 63433"/>
              <a:gd name="csX6" fmla="*/ 4324 w 46880"/>
              <a:gd name="csY6" fmla="*/ 62991 h 6343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</a:cxnLst>
            <a:rect l="l" t="t" r="r" b="b"/>
            <a:pathLst>
              <a:path w="46880" h="63433">
                <a:moveTo>
                  <a:pt x="4324" y="62991"/>
                </a:moveTo>
                <a:cubicBezTo>
                  <a:pt x="1976" y="61108"/>
                  <a:pt x="314" y="60132"/>
                  <a:pt x="106" y="58909"/>
                </a:cubicBezTo>
                <a:cubicBezTo>
                  <a:pt x="-1636" y="48671"/>
                  <a:pt x="18580" y="4304"/>
                  <a:pt x="27452" y="922"/>
                </a:cubicBezTo>
                <a:cubicBezTo>
                  <a:pt x="31637" y="-673"/>
                  <a:pt x="37948" y="-135"/>
                  <a:pt x="41832" y="2045"/>
                </a:cubicBezTo>
                <a:cubicBezTo>
                  <a:pt x="44761" y="3690"/>
                  <a:pt x="47839" y="10687"/>
                  <a:pt x="46599" y="13229"/>
                </a:cubicBezTo>
                <a:cubicBezTo>
                  <a:pt x="38518" y="29814"/>
                  <a:pt x="29746" y="46128"/>
                  <a:pt x="19953" y="61747"/>
                </a:cubicBezTo>
                <a:cubicBezTo>
                  <a:pt x="18305" y="64375"/>
                  <a:pt x="10594" y="63201"/>
                  <a:pt x="4324" y="62991"/>
                </a:cubicBezTo>
                <a:close/>
              </a:path>
            </a:pathLst>
          </a:custGeom>
          <a:solidFill>
            <a:schemeClr val="accent1"/>
          </a:solidFill>
          <a:ln w="2232" cap="flat">
            <a:noFill/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6969" name="Free-form: Shape 6968">
            <a:extLst>
              <a:ext uri="{FF2B5EF4-FFF2-40B4-BE49-F238E27FC236}">
                <a16:creationId xmlns:a16="http://schemas.microsoft.com/office/drawing/2014/main" id="{00E97BD2-1210-B50F-54C1-9B28266D4019}"/>
              </a:ext>
            </a:extLst>
          </p:cNvPr>
          <p:cNvSpPr/>
          <p:nvPr/>
        </p:nvSpPr>
        <p:spPr>
          <a:xfrm>
            <a:off x="6052941" y="3960738"/>
            <a:ext cx="28962" cy="22268"/>
          </a:xfrm>
          <a:custGeom>
            <a:avLst/>
            <a:gdLst>
              <a:gd name="csX0" fmla="*/ 52335 w 64167"/>
              <a:gd name="csY0" fmla="*/ 21592 h 49336"/>
              <a:gd name="csX1" fmla="*/ 63205 w 64167"/>
              <a:gd name="csY1" fmla="*/ 31209 h 49336"/>
              <a:gd name="csX2" fmla="*/ 62077 w 64167"/>
              <a:gd name="csY2" fmla="*/ 45188 h 49336"/>
              <a:gd name="csX3" fmla="*/ 48673 w 64167"/>
              <a:gd name="csY3" fmla="*/ 48764 h 49336"/>
              <a:gd name="csX4" fmla="*/ 5263 w 64167"/>
              <a:gd name="csY4" fmla="*/ 22743 h 49336"/>
              <a:gd name="csX5" fmla="*/ 2880 w 64167"/>
              <a:gd name="csY5" fmla="*/ 5084 h 49336"/>
              <a:gd name="csX6" fmla="*/ 20389 w 64167"/>
              <a:gd name="csY6" fmla="*/ 2968 h 49336"/>
              <a:gd name="csX7" fmla="*/ 52335 w 64167"/>
              <a:gd name="csY7" fmla="*/ 21592 h 4933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</a:cxnLst>
            <a:rect l="l" t="t" r="r" b="b"/>
            <a:pathLst>
              <a:path w="64167" h="49336">
                <a:moveTo>
                  <a:pt x="52335" y="21592"/>
                </a:moveTo>
                <a:cubicBezTo>
                  <a:pt x="57050" y="25271"/>
                  <a:pt x="61964" y="27607"/>
                  <a:pt x="63205" y="31209"/>
                </a:cubicBezTo>
                <a:cubicBezTo>
                  <a:pt x="64658" y="35426"/>
                  <a:pt x="64607" y="42163"/>
                  <a:pt x="62077" y="45188"/>
                </a:cubicBezTo>
                <a:cubicBezTo>
                  <a:pt x="59553" y="48206"/>
                  <a:pt x="51871" y="50436"/>
                  <a:pt x="48673" y="48764"/>
                </a:cubicBezTo>
                <a:cubicBezTo>
                  <a:pt x="33741" y="40957"/>
                  <a:pt x="19304" y="32091"/>
                  <a:pt x="5263" y="22743"/>
                </a:cubicBezTo>
                <a:cubicBezTo>
                  <a:pt x="-1102" y="18505"/>
                  <a:pt x="-1439" y="11480"/>
                  <a:pt x="2880" y="5084"/>
                </a:cubicBezTo>
                <a:cubicBezTo>
                  <a:pt x="7730" y="-2097"/>
                  <a:pt x="14152" y="-579"/>
                  <a:pt x="20389" y="2968"/>
                </a:cubicBezTo>
                <a:cubicBezTo>
                  <a:pt x="30632" y="8792"/>
                  <a:pt x="40743" y="14849"/>
                  <a:pt x="52335" y="21592"/>
                </a:cubicBezTo>
                <a:close/>
              </a:path>
            </a:pathLst>
          </a:custGeom>
          <a:solidFill>
            <a:schemeClr val="accent1"/>
          </a:solidFill>
          <a:ln w="2232" cap="flat">
            <a:noFill/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6970" name="Free-form: Shape 6969">
            <a:extLst>
              <a:ext uri="{FF2B5EF4-FFF2-40B4-BE49-F238E27FC236}">
                <a16:creationId xmlns:a16="http://schemas.microsoft.com/office/drawing/2014/main" id="{F8F55F3D-DDB8-CCD0-8FE5-C5E9E5F4A577}"/>
              </a:ext>
            </a:extLst>
          </p:cNvPr>
          <p:cNvSpPr/>
          <p:nvPr/>
        </p:nvSpPr>
        <p:spPr>
          <a:xfrm>
            <a:off x="6539759" y="3960733"/>
            <a:ext cx="28644" cy="22076"/>
          </a:xfrm>
          <a:custGeom>
            <a:avLst/>
            <a:gdLst>
              <a:gd name="csX0" fmla="*/ 53855 w 63462"/>
              <a:gd name="csY0" fmla="*/ 0 h 48911"/>
              <a:gd name="csX1" fmla="*/ 55340 w 63462"/>
              <a:gd name="csY1" fmla="*/ 24968 h 48911"/>
              <a:gd name="csX2" fmla="*/ 16922 w 63462"/>
              <a:gd name="csY2" fmla="*/ 47130 h 48911"/>
              <a:gd name="csX3" fmla="*/ 468 w 63462"/>
              <a:gd name="csY3" fmla="*/ 41328 h 48911"/>
              <a:gd name="csX4" fmla="*/ 4305 w 63462"/>
              <a:gd name="csY4" fmla="*/ 26254 h 48911"/>
              <a:gd name="csX5" fmla="*/ 53855 w 63462"/>
              <a:gd name="csY5" fmla="*/ 0 h 4891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</a:cxnLst>
            <a:rect l="l" t="t" r="r" b="b"/>
            <a:pathLst>
              <a:path w="63462" h="48911">
                <a:moveTo>
                  <a:pt x="53855" y="0"/>
                </a:moveTo>
                <a:cubicBezTo>
                  <a:pt x="66050" y="13557"/>
                  <a:pt x="66735" y="16923"/>
                  <a:pt x="55340" y="24968"/>
                </a:cubicBezTo>
                <a:cubicBezTo>
                  <a:pt x="43311" y="33461"/>
                  <a:pt x="29937" y="40103"/>
                  <a:pt x="16922" y="47130"/>
                </a:cubicBezTo>
                <a:cubicBezTo>
                  <a:pt x="9718" y="51021"/>
                  <a:pt x="2735" y="48291"/>
                  <a:pt x="468" y="41328"/>
                </a:cubicBezTo>
                <a:cubicBezTo>
                  <a:pt x="-942" y="36995"/>
                  <a:pt x="974" y="28360"/>
                  <a:pt x="4305" y="26254"/>
                </a:cubicBezTo>
                <a:cubicBezTo>
                  <a:pt x="19748" y="16489"/>
                  <a:pt x="36208" y="8334"/>
                  <a:pt x="53855" y="0"/>
                </a:cubicBezTo>
                <a:close/>
              </a:path>
            </a:pathLst>
          </a:custGeom>
          <a:solidFill>
            <a:schemeClr val="accent1"/>
          </a:solidFill>
          <a:ln w="2232" cap="flat">
            <a:noFill/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6971" name="Free-form: Shape 6970">
            <a:extLst>
              <a:ext uri="{FF2B5EF4-FFF2-40B4-BE49-F238E27FC236}">
                <a16:creationId xmlns:a16="http://schemas.microsoft.com/office/drawing/2014/main" id="{16EAE3C3-108C-7103-DC42-12556D77F059}"/>
              </a:ext>
            </a:extLst>
          </p:cNvPr>
          <p:cNvSpPr/>
          <p:nvPr/>
        </p:nvSpPr>
        <p:spPr>
          <a:xfrm>
            <a:off x="6538862" y="4244865"/>
            <a:ext cx="29836" cy="21614"/>
          </a:xfrm>
          <a:custGeom>
            <a:avLst/>
            <a:gdLst>
              <a:gd name="csX0" fmla="*/ 3867 w 66104"/>
              <a:gd name="csY0" fmla="*/ 2387 h 47886"/>
              <a:gd name="csX1" fmla="*/ 21786 w 66104"/>
              <a:gd name="csY1" fmla="*/ 903 h 47886"/>
              <a:gd name="csX2" fmla="*/ 58126 w 66104"/>
              <a:gd name="csY2" fmla="*/ 22358 h 47886"/>
              <a:gd name="csX3" fmla="*/ 64282 w 66104"/>
              <a:gd name="csY3" fmla="*/ 41384 h 47886"/>
              <a:gd name="csX4" fmla="*/ 44762 w 66104"/>
              <a:gd name="csY4" fmla="*/ 45358 h 47886"/>
              <a:gd name="csX5" fmla="*/ 6557 w 66104"/>
              <a:gd name="csY5" fmla="*/ 22689 h 47886"/>
              <a:gd name="csX6" fmla="*/ 3867 w 66104"/>
              <a:gd name="csY6" fmla="*/ 2387 h 4788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</a:cxnLst>
            <a:rect l="l" t="t" r="r" b="b"/>
            <a:pathLst>
              <a:path w="66104" h="47886">
                <a:moveTo>
                  <a:pt x="3867" y="2387"/>
                </a:moveTo>
                <a:cubicBezTo>
                  <a:pt x="10704" y="995"/>
                  <a:pt x="17331" y="-1275"/>
                  <a:pt x="21786" y="903"/>
                </a:cubicBezTo>
                <a:cubicBezTo>
                  <a:pt x="34386" y="7063"/>
                  <a:pt x="46173" y="14920"/>
                  <a:pt x="58126" y="22358"/>
                </a:cubicBezTo>
                <a:cubicBezTo>
                  <a:pt x="65356" y="26857"/>
                  <a:pt x="68329" y="33681"/>
                  <a:pt x="64282" y="41384"/>
                </a:cubicBezTo>
                <a:cubicBezTo>
                  <a:pt x="59835" y="49847"/>
                  <a:pt x="51353" y="48757"/>
                  <a:pt x="44762" y="45358"/>
                </a:cubicBezTo>
                <a:cubicBezTo>
                  <a:pt x="31621" y="38579"/>
                  <a:pt x="19013" y="30696"/>
                  <a:pt x="6557" y="22689"/>
                </a:cubicBezTo>
                <a:cubicBezTo>
                  <a:pt x="-737" y="18000"/>
                  <a:pt x="-2392" y="11215"/>
                  <a:pt x="3867" y="2387"/>
                </a:cubicBezTo>
                <a:close/>
              </a:path>
            </a:pathLst>
          </a:custGeom>
          <a:solidFill>
            <a:schemeClr val="accent1"/>
          </a:solidFill>
          <a:ln w="2232" cap="flat">
            <a:noFill/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6972" name="Free-form: Shape 6971">
            <a:extLst>
              <a:ext uri="{FF2B5EF4-FFF2-40B4-BE49-F238E27FC236}">
                <a16:creationId xmlns:a16="http://schemas.microsoft.com/office/drawing/2014/main" id="{3E1E13E3-2522-EDA8-6CB9-7FF82BAC03A5}"/>
              </a:ext>
            </a:extLst>
          </p:cNvPr>
          <p:cNvSpPr/>
          <p:nvPr/>
        </p:nvSpPr>
        <p:spPr>
          <a:xfrm>
            <a:off x="6439640" y="4344092"/>
            <a:ext cx="21180" cy="28771"/>
          </a:xfrm>
          <a:custGeom>
            <a:avLst/>
            <a:gdLst>
              <a:gd name="csX0" fmla="*/ 35044 w 46925"/>
              <a:gd name="csY0" fmla="*/ 63744 h 63744"/>
              <a:gd name="csX1" fmla="*/ 20745 w 46925"/>
              <a:gd name="csY1" fmla="*/ 57054 h 63744"/>
              <a:gd name="csX2" fmla="*/ 2334 w 46925"/>
              <a:gd name="csY2" fmla="*/ 21815 h 63744"/>
              <a:gd name="csX3" fmla="*/ 8309 w 46925"/>
              <a:gd name="csY3" fmla="*/ 1341 h 63744"/>
              <a:gd name="csX4" fmla="*/ 25858 w 46925"/>
              <a:gd name="csY4" fmla="*/ 10013 h 63744"/>
              <a:gd name="csX5" fmla="*/ 44660 w 46925"/>
              <a:gd name="csY5" fmla="*/ 45065 h 63744"/>
              <a:gd name="csX6" fmla="*/ 35044 w 46925"/>
              <a:gd name="csY6" fmla="*/ 63744 h 6374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</a:cxnLst>
            <a:rect l="l" t="t" r="r" b="b"/>
            <a:pathLst>
              <a:path w="46925" h="63744">
                <a:moveTo>
                  <a:pt x="35044" y="63744"/>
                </a:moveTo>
                <a:cubicBezTo>
                  <a:pt x="29069" y="61694"/>
                  <a:pt x="22936" y="60594"/>
                  <a:pt x="20745" y="57054"/>
                </a:cubicBezTo>
                <a:cubicBezTo>
                  <a:pt x="13785" y="45813"/>
                  <a:pt x="8014" y="33794"/>
                  <a:pt x="2334" y="21815"/>
                </a:cubicBezTo>
                <a:cubicBezTo>
                  <a:pt x="-1559" y="13608"/>
                  <a:pt x="-1225" y="5694"/>
                  <a:pt x="8309" y="1341"/>
                </a:cubicBezTo>
                <a:cubicBezTo>
                  <a:pt x="17300" y="-2764"/>
                  <a:pt x="22093" y="3247"/>
                  <a:pt x="25858" y="10013"/>
                </a:cubicBezTo>
                <a:cubicBezTo>
                  <a:pt x="32306" y="21597"/>
                  <a:pt x="38528" y="33310"/>
                  <a:pt x="44660" y="45065"/>
                </a:cubicBezTo>
                <a:cubicBezTo>
                  <a:pt x="49496" y="54334"/>
                  <a:pt x="46724" y="60584"/>
                  <a:pt x="35044" y="63744"/>
                </a:cubicBezTo>
                <a:close/>
              </a:path>
            </a:pathLst>
          </a:custGeom>
          <a:solidFill>
            <a:schemeClr val="accent1"/>
          </a:solidFill>
          <a:ln w="2232" cap="flat">
            <a:noFill/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6973" name="Free-form: Shape 6972">
            <a:extLst>
              <a:ext uri="{FF2B5EF4-FFF2-40B4-BE49-F238E27FC236}">
                <a16:creationId xmlns:a16="http://schemas.microsoft.com/office/drawing/2014/main" id="{F4273EB3-BF09-4B9E-C354-A4D9DBED316A}"/>
              </a:ext>
            </a:extLst>
          </p:cNvPr>
          <p:cNvSpPr/>
          <p:nvPr/>
        </p:nvSpPr>
        <p:spPr>
          <a:xfrm>
            <a:off x="6027563" y="4107199"/>
            <a:ext cx="29091" cy="15216"/>
          </a:xfrm>
          <a:custGeom>
            <a:avLst/>
            <a:gdLst>
              <a:gd name="csX0" fmla="*/ 20268 w 64453"/>
              <a:gd name="csY0" fmla="*/ 2734 h 33711"/>
              <a:gd name="csX1" fmla="*/ 52810 w 64453"/>
              <a:gd name="csY1" fmla="*/ 1 h 33711"/>
              <a:gd name="csX2" fmla="*/ 64265 w 64453"/>
              <a:gd name="csY2" fmla="*/ 13295 h 33711"/>
              <a:gd name="csX3" fmla="*/ 56192 w 64453"/>
              <a:gd name="csY3" fmla="*/ 29087 h 33711"/>
              <a:gd name="csX4" fmla="*/ 1623 w 64453"/>
              <a:gd name="csY4" fmla="*/ 33710 h 33711"/>
              <a:gd name="csX5" fmla="*/ 113 w 64453"/>
              <a:gd name="csY5" fmla="*/ 29035 h 33711"/>
              <a:gd name="csX6" fmla="*/ 28064 w 64453"/>
              <a:gd name="csY6" fmla="*/ 27388 h 33711"/>
              <a:gd name="csX7" fmla="*/ 20268 w 64453"/>
              <a:gd name="csY7" fmla="*/ 2734 h 3371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</a:cxnLst>
            <a:rect l="l" t="t" r="r" b="b"/>
            <a:pathLst>
              <a:path w="64453" h="33711">
                <a:moveTo>
                  <a:pt x="20268" y="2734"/>
                </a:moveTo>
                <a:cubicBezTo>
                  <a:pt x="31114" y="1749"/>
                  <a:pt x="41955" y="97"/>
                  <a:pt x="52810" y="1"/>
                </a:cubicBezTo>
                <a:cubicBezTo>
                  <a:pt x="60710" y="-69"/>
                  <a:pt x="65483" y="5829"/>
                  <a:pt x="64265" y="13295"/>
                </a:cubicBezTo>
                <a:cubicBezTo>
                  <a:pt x="63322" y="19074"/>
                  <a:pt x="59756" y="28513"/>
                  <a:pt x="56192" y="29087"/>
                </a:cubicBezTo>
                <a:cubicBezTo>
                  <a:pt x="38215" y="31980"/>
                  <a:pt x="19860" y="32550"/>
                  <a:pt x="1623" y="33710"/>
                </a:cubicBezTo>
                <a:cubicBezTo>
                  <a:pt x="703" y="33769"/>
                  <a:pt x="-351" y="31740"/>
                  <a:pt x="113" y="29035"/>
                </a:cubicBezTo>
                <a:cubicBezTo>
                  <a:pt x="9075" y="27388"/>
                  <a:pt x="16581" y="27388"/>
                  <a:pt x="28064" y="27388"/>
                </a:cubicBezTo>
                <a:cubicBezTo>
                  <a:pt x="24652" y="16596"/>
                  <a:pt x="22460" y="9665"/>
                  <a:pt x="20268" y="2734"/>
                </a:cubicBezTo>
                <a:close/>
              </a:path>
            </a:pathLst>
          </a:custGeom>
          <a:solidFill>
            <a:schemeClr val="accent1"/>
          </a:solidFill>
          <a:ln w="2232" cap="flat">
            <a:noFill/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6974" name="Free-form: Shape 6973">
            <a:extLst>
              <a:ext uri="{FF2B5EF4-FFF2-40B4-BE49-F238E27FC236}">
                <a16:creationId xmlns:a16="http://schemas.microsoft.com/office/drawing/2014/main" id="{6DF0DB55-18B8-FEE3-2319-BA9679673D2B}"/>
              </a:ext>
            </a:extLst>
          </p:cNvPr>
          <p:cNvSpPr/>
          <p:nvPr/>
        </p:nvSpPr>
        <p:spPr>
          <a:xfrm>
            <a:off x="6026363" y="4108604"/>
            <a:ext cx="13867" cy="10967"/>
          </a:xfrm>
          <a:custGeom>
            <a:avLst/>
            <a:gdLst>
              <a:gd name="csX0" fmla="*/ 21117 w 30723"/>
              <a:gd name="csY0" fmla="*/ 0 h 24299"/>
              <a:gd name="csX1" fmla="*/ 30723 w 30723"/>
              <a:gd name="csY1" fmla="*/ 24276 h 24299"/>
              <a:gd name="csX2" fmla="*/ 2253 w 30723"/>
              <a:gd name="csY2" fmla="*/ 24299 h 24299"/>
              <a:gd name="csX3" fmla="*/ 0 w 30723"/>
              <a:gd name="csY3" fmla="*/ 21803 h 24299"/>
              <a:gd name="csX4" fmla="*/ 4559 w 30723"/>
              <a:gd name="csY4" fmla="*/ 128 h 24299"/>
              <a:gd name="csX5" fmla="*/ 21117 w 30723"/>
              <a:gd name="csY5" fmla="*/ 0 h 2429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</a:cxnLst>
            <a:rect l="l" t="t" r="r" b="b"/>
            <a:pathLst>
              <a:path w="30723" h="24299">
                <a:moveTo>
                  <a:pt x="21117" y="0"/>
                </a:moveTo>
                <a:cubicBezTo>
                  <a:pt x="25119" y="6554"/>
                  <a:pt x="27311" y="13484"/>
                  <a:pt x="30723" y="24276"/>
                </a:cubicBezTo>
                <a:cubicBezTo>
                  <a:pt x="19240" y="24276"/>
                  <a:pt x="11734" y="24276"/>
                  <a:pt x="2253" y="24299"/>
                </a:cubicBezTo>
                <a:cubicBezTo>
                  <a:pt x="277" y="24323"/>
                  <a:pt x="212" y="23540"/>
                  <a:pt x="0" y="21803"/>
                </a:cubicBezTo>
                <a:cubicBezTo>
                  <a:pt x="1378" y="13420"/>
                  <a:pt x="2969" y="6774"/>
                  <a:pt x="4559" y="128"/>
                </a:cubicBezTo>
                <a:cubicBezTo>
                  <a:pt x="9475" y="211"/>
                  <a:pt x="14391" y="294"/>
                  <a:pt x="21117" y="0"/>
                </a:cubicBezTo>
                <a:close/>
              </a:path>
            </a:pathLst>
          </a:custGeom>
          <a:solidFill>
            <a:schemeClr val="accent1"/>
          </a:solidFill>
          <a:ln w="2232" cap="flat">
            <a:noFill/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6975" name="Free-form: Shape 6974">
            <a:extLst>
              <a:ext uri="{FF2B5EF4-FFF2-40B4-BE49-F238E27FC236}">
                <a16:creationId xmlns:a16="http://schemas.microsoft.com/office/drawing/2014/main" id="{3C8E6458-A7C2-FFBE-8B2D-E390ECC84793}"/>
              </a:ext>
            </a:extLst>
          </p:cNvPr>
          <p:cNvSpPr/>
          <p:nvPr/>
        </p:nvSpPr>
        <p:spPr>
          <a:xfrm>
            <a:off x="6021010" y="4107683"/>
            <a:ext cx="6916" cy="10763"/>
          </a:xfrm>
          <a:custGeom>
            <a:avLst/>
            <a:gdLst>
              <a:gd name="csX0" fmla="*/ 15323 w 15323"/>
              <a:gd name="csY0" fmla="*/ 1084 h 23846"/>
              <a:gd name="csX1" fmla="*/ 11466 w 15323"/>
              <a:gd name="csY1" fmla="*/ 23847 h 23846"/>
              <a:gd name="csX2" fmla="*/ 0 w 15323"/>
              <a:gd name="csY2" fmla="*/ 0 h 23846"/>
              <a:gd name="csX3" fmla="*/ 15323 w 15323"/>
              <a:gd name="csY3" fmla="*/ 1084 h 2384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</a:cxnLst>
            <a:rect l="l" t="t" r="r" b="b"/>
            <a:pathLst>
              <a:path w="15323" h="23846">
                <a:moveTo>
                  <a:pt x="15323" y="1084"/>
                </a:moveTo>
                <a:cubicBezTo>
                  <a:pt x="14827" y="8814"/>
                  <a:pt x="13237" y="15460"/>
                  <a:pt x="11466" y="23847"/>
                </a:cubicBezTo>
                <a:cubicBezTo>
                  <a:pt x="2613" y="17145"/>
                  <a:pt x="2613" y="17145"/>
                  <a:pt x="0" y="0"/>
                </a:cubicBezTo>
                <a:cubicBezTo>
                  <a:pt x="4954" y="0"/>
                  <a:pt x="9592" y="0"/>
                  <a:pt x="15323" y="1084"/>
                </a:cubicBezTo>
                <a:close/>
              </a:path>
            </a:pathLst>
          </a:custGeom>
          <a:solidFill>
            <a:schemeClr val="accent1"/>
          </a:solidFill>
          <a:ln w="2232" cap="flat">
            <a:noFill/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5656" name="Free-form: Shape 5655">
            <a:extLst>
              <a:ext uri="{FF2B5EF4-FFF2-40B4-BE49-F238E27FC236}">
                <a16:creationId xmlns:a16="http://schemas.microsoft.com/office/drawing/2014/main" id="{7DCA2766-5C92-AC45-CA22-1978101EB0C2}"/>
              </a:ext>
            </a:extLst>
          </p:cNvPr>
          <p:cNvSpPr/>
          <p:nvPr/>
        </p:nvSpPr>
        <p:spPr>
          <a:xfrm>
            <a:off x="5466264" y="3349326"/>
            <a:ext cx="111612" cy="112644"/>
          </a:xfrm>
          <a:custGeom>
            <a:avLst/>
            <a:gdLst>
              <a:gd name="csX0" fmla="*/ 35 w 247283"/>
              <a:gd name="csY0" fmla="*/ 2131 h 249569"/>
              <a:gd name="csX1" fmla="*/ 245380 w 247283"/>
              <a:gd name="csY1" fmla="*/ 9 h 249569"/>
              <a:gd name="csX2" fmla="*/ 247284 w 247283"/>
              <a:gd name="csY2" fmla="*/ 247476 h 249569"/>
              <a:gd name="csX3" fmla="*/ 1896 w 247283"/>
              <a:gd name="csY3" fmla="*/ 249554 h 249569"/>
              <a:gd name="csX4" fmla="*/ 35 w 247283"/>
              <a:gd name="csY4" fmla="*/ 2131 h 24956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247283" h="249569">
                <a:moveTo>
                  <a:pt x="35" y="2131"/>
                </a:moveTo>
                <a:cubicBezTo>
                  <a:pt x="81065" y="10"/>
                  <a:pt x="162134" y="-35"/>
                  <a:pt x="245380" y="9"/>
                </a:cubicBezTo>
                <a:cubicBezTo>
                  <a:pt x="247415" y="81869"/>
                  <a:pt x="247274" y="163641"/>
                  <a:pt x="247284" y="247476"/>
                </a:cubicBezTo>
                <a:cubicBezTo>
                  <a:pt x="166314" y="249579"/>
                  <a:pt x="85194" y="249619"/>
                  <a:pt x="1896" y="249554"/>
                </a:cubicBezTo>
                <a:cubicBezTo>
                  <a:pt x="-163" y="167702"/>
                  <a:pt x="-45" y="85955"/>
                  <a:pt x="35" y="2131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 w="2232" cap="flat">
            <a:noFill/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5655" name="Free-form: Shape 5654">
            <a:extLst>
              <a:ext uri="{FF2B5EF4-FFF2-40B4-BE49-F238E27FC236}">
                <a16:creationId xmlns:a16="http://schemas.microsoft.com/office/drawing/2014/main" id="{0C4ABAA2-85FE-EF01-E2CF-0C67DE5DE29F}"/>
              </a:ext>
            </a:extLst>
          </p:cNvPr>
          <p:cNvSpPr/>
          <p:nvPr/>
        </p:nvSpPr>
        <p:spPr>
          <a:xfrm>
            <a:off x="5370634" y="3338197"/>
            <a:ext cx="319973" cy="108785"/>
          </a:xfrm>
          <a:custGeom>
            <a:avLst/>
            <a:gdLst>
              <a:gd name="csX0" fmla="*/ 222420 w 708918"/>
              <a:gd name="csY0" fmla="*/ 241019 h 241018"/>
              <a:gd name="csX1" fmla="*/ 28331 w 708918"/>
              <a:gd name="csY1" fmla="*/ 240052 h 241018"/>
              <a:gd name="csX2" fmla="*/ 1003 w 708918"/>
              <a:gd name="csY2" fmla="*/ 240047 h 241018"/>
              <a:gd name="csX3" fmla="*/ 0 w 708918"/>
              <a:gd name="csY3" fmla="*/ 372 h 241018"/>
              <a:gd name="csX4" fmla="*/ 708918 w 708918"/>
              <a:gd name="csY4" fmla="*/ 392 h 241018"/>
              <a:gd name="csX5" fmla="*/ 708918 w 708918"/>
              <a:gd name="csY5" fmla="*/ 240638 h 241018"/>
              <a:gd name="csX6" fmla="*/ 469818 w 708918"/>
              <a:gd name="csY6" fmla="*/ 240761 h 241018"/>
              <a:gd name="csX7" fmla="*/ 222420 w 708918"/>
              <a:gd name="csY7" fmla="*/ 241019 h 24101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</a:cxnLst>
            <a:rect l="l" t="t" r="r" b="b"/>
            <a:pathLst>
              <a:path w="708918" h="241018">
                <a:moveTo>
                  <a:pt x="222420" y="241019"/>
                </a:moveTo>
                <a:cubicBezTo>
                  <a:pt x="157724" y="240695"/>
                  <a:pt x="93028" y="240367"/>
                  <a:pt x="28331" y="240052"/>
                </a:cubicBezTo>
                <a:cubicBezTo>
                  <a:pt x="20238" y="240013"/>
                  <a:pt x="12145" y="240047"/>
                  <a:pt x="1003" y="240047"/>
                </a:cubicBezTo>
                <a:cubicBezTo>
                  <a:pt x="-906" y="160321"/>
                  <a:pt x="1067" y="81991"/>
                  <a:pt x="0" y="372"/>
                </a:cubicBezTo>
                <a:cubicBezTo>
                  <a:pt x="237097" y="-127"/>
                  <a:pt x="472276" y="-127"/>
                  <a:pt x="708918" y="392"/>
                </a:cubicBezTo>
                <a:cubicBezTo>
                  <a:pt x="708918" y="80868"/>
                  <a:pt x="708918" y="159178"/>
                  <a:pt x="708918" y="240638"/>
                </a:cubicBezTo>
                <a:cubicBezTo>
                  <a:pt x="629729" y="240638"/>
                  <a:pt x="551869" y="240638"/>
                  <a:pt x="469818" y="240761"/>
                </a:cubicBezTo>
                <a:cubicBezTo>
                  <a:pt x="384558" y="240929"/>
                  <a:pt x="303489" y="240974"/>
                  <a:pt x="222420" y="241019"/>
                </a:cubicBezTo>
                <a:close/>
              </a:path>
            </a:pathLst>
          </a:custGeom>
          <a:solidFill>
            <a:schemeClr val="accent3"/>
          </a:solidFill>
          <a:ln w="2232" cap="flat">
            <a:noFill/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7398" name="Free-form: Shape 7397">
            <a:extLst>
              <a:ext uri="{FF2B5EF4-FFF2-40B4-BE49-F238E27FC236}">
                <a16:creationId xmlns:a16="http://schemas.microsoft.com/office/drawing/2014/main" id="{7BC2416E-F343-11D4-D028-F863CB5E7E2F}"/>
              </a:ext>
            </a:extLst>
          </p:cNvPr>
          <p:cNvSpPr/>
          <p:nvPr/>
        </p:nvSpPr>
        <p:spPr>
          <a:xfrm>
            <a:off x="6754629" y="4407323"/>
            <a:ext cx="463391" cy="442982"/>
          </a:xfrm>
          <a:custGeom>
            <a:avLst/>
            <a:gdLst>
              <a:gd name="csX0" fmla="*/ 401579 w 1609516"/>
              <a:gd name="csY0" fmla="*/ 1495809 h 1538630"/>
              <a:gd name="csX1" fmla="*/ 400190 w 1609516"/>
              <a:gd name="csY1" fmla="*/ 1496004 h 1538630"/>
              <a:gd name="csX2" fmla="*/ 401224 w 1609516"/>
              <a:gd name="csY2" fmla="*/ 1496470 h 1538630"/>
              <a:gd name="csX3" fmla="*/ 401224 w 1609516"/>
              <a:gd name="csY3" fmla="*/ 1498590 h 1538630"/>
              <a:gd name="csX4" fmla="*/ 401579 w 1609516"/>
              <a:gd name="csY4" fmla="*/ 1498628 h 1538630"/>
              <a:gd name="csX5" fmla="*/ 401579 w 1609516"/>
              <a:gd name="csY5" fmla="*/ 1495809 h 1538630"/>
              <a:gd name="csX6" fmla="*/ 368755 w 1609516"/>
              <a:gd name="csY6" fmla="*/ 1486512 h 1538630"/>
              <a:gd name="csX7" fmla="*/ 364089 w 1609516"/>
              <a:gd name="csY7" fmla="*/ 1487354 h 1538630"/>
              <a:gd name="csX8" fmla="*/ 364089 w 1609516"/>
              <a:gd name="csY8" fmla="*/ 1487908 h 1538630"/>
              <a:gd name="csX9" fmla="*/ 1049801 w 1609516"/>
              <a:gd name="csY9" fmla="*/ 1484562 h 1538630"/>
              <a:gd name="csX10" fmla="*/ 1046735 w 1609516"/>
              <a:gd name="csY10" fmla="*/ 1485945 h 1538630"/>
              <a:gd name="csX11" fmla="*/ 1046955 w 1609516"/>
              <a:gd name="csY11" fmla="*/ 1486045 h 1538630"/>
              <a:gd name="csX12" fmla="*/ 1049801 w 1609516"/>
              <a:gd name="csY12" fmla="*/ 1485188 h 1538630"/>
              <a:gd name="csX13" fmla="*/ 351234 w 1609516"/>
              <a:gd name="csY13" fmla="*/ 1444508 h 1538630"/>
              <a:gd name="csX14" fmla="*/ 351234 w 1609516"/>
              <a:gd name="csY14" fmla="*/ 1444997 h 1538630"/>
              <a:gd name="csX15" fmla="*/ 351592 w 1609516"/>
              <a:gd name="csY15" fmla="*/ 1445078 h 1538630"/>
              <a:gd name="csX16" fmla="*/ 351908 w 1609516"/>
              <a:gd name="csY16" fmla="*/ 1431206 h 1538630"/>
              <a:gd name="csX17" fmla="*/ 351234 w 1609516"/>
              <a:gd name="csY17" fmla="*/ 1431611 h 1538630"/>
              <a:gd name="csX18" fmla="*/ 351234 w 1609516"/>
              <a:gd name="csY18" fmla="*/ 1432274 h 1538630"/>
              <a:gd name="csX19" fmla="*/ 358162 w 1609516"/>
              <a:gd name="csY19" fmla="*/ 1421494 h 1538630"/>
              <a:gd name="csX20" fmla="*/ 355921 w 1609516"/>
              <a:gd name="csY20" fmla="*/ 1423156 h 1538630"/>
              <a:gd name="csX21" fmla="*/ 355921 w 1609516"/>
              <a:gd name="csY21" fmla="*/ 1423548 h 1538630"/>
              <a:gd name="csX22" fmla="*/ 376098 w 1609516"/>
              <a:gd name="csY22" fmla="*/ 1408347 h 1538630"/>
              <a:gd name="csX23" fmla="*/ 370750 w 1609516"/>
              <a:gd name="csY23" fmla="*/ 1412245 h 1538630"/>
              <a:gd name="csX24" fmla="*/ 375023 w 1609516"/>
              <a:gd name="csY24" fmla="*/ 1411256 h 1538630"/>
              <a:gd name="csX25" fmla="*/ 421956 w 1609516"/>
              <a:gd name="csY25" fmla="*/ 1365623 h 1538630"/>
              <a:gd name="csX26" fmla="*/ 421765 w 1609516"/>
              <a:gd name="csY26" fmla="*/ 1366161 h 1538630"/>
              <a:gd name="csX27" fmla="*/ 421887 w 1609516"/>
              <a:gd name="csY27" fmla="*/ 1366161 h 1538630"/>
              <a:gd name="csX28" fmla="*/ 754553 w 1609516"/>
              <a:gd name="csY28" fmla="*/ 1360575 h 1538630"/>
              <a:gd name="csX29" fmla="*/ 754089 w 1609516"/>
              <a:gd name="csY29" fmla="*/ 1361433 h 1538630"/>
              <a:gd name="csX30" fmla="*/ 754431 w 1609516"/>
              <a:gd name="csY30" fmla="*/ 1361125 h 1538630"/>
              <a:gd name="csX31" fmla="*/ 1277973 w 1609516"/>
              <a:gd name="csY31" fmla="*/ 1332923 h 1538630"/>
              <a:gd name="csX32" fmla="*/ 1277944 w 1609516"/>
              <a:gd name="csY32" fmla="*/ 1332936 h 1538630"/>
              <a:gd name="csX33" fmla="*/ 1277949 w 1609516"/>
              <a:gd name="csY33" fmla="*/ 1333139 h 1538630"/>
              <a:gd name="csX34" fmla="*/ 1268556 w 1609516"/>
              <a:gd name="csY34" fmla="*/ 1321066 h 1538630"/>
              <a:gd name="csX35" fmla="*/ 1268556 w 1609516"/>
              <a:gd name="csY35" fmla="*/ 1325294 h 1538630"/>
              <a:gd name="csX36" fmla="*/ 1265432 w 1609516"/>
              <a:gd name="csY36" fmla="*/ 1325294 h 1538630"/>
              <a:gd name="csX37" fmla="*/ 1265432 w 1609516"/>
              <a:gd name="csY37" fmla="*/ 1340795 h 1538630"/>
              <a:gd name="csX38" fmla="*/ 1265476 w 1609516"/>
              <a:gd name="csY38" fmla="*/ 1340714 h 1538630"/>
              <a:gd name="csX39" fmla="*/ 1265476 w 1609516"/>
              <a:gd name="csY39" fmla="*/ 1325877 h 1538630"/>
              <a:gd name="csX40" fmla="*/ 1268600 w 1609516"/>
              <a:gd name="csY40" fmla="*/ 1325877 h 1538630"/>
              <a:gd name="csX41" fmla="*/ 1268600 w 1609516"/>
              <a:gd name="csY41" fmla="*/ 1321649 h 1538630"/>
              <a:gd name="csX42" fmla="*/ 1273286 w 1609516"/>
              <a:gd name="csY42" fmla="*/ 1321649 h 1538630"/>
              <a:gd name="csX43" fmla="*/ 1273227 w 1609516"/>
              <a:gd name="csY43" fmla="*/ 1321066 h 1538630"/>
              <a:gd name="csX44" fmla="*/ 827891 w 1609516"/>
              <a:gd name="csY44" fmla="*/ 1291474 h 1538630"/>
              <a:gd name="csX45" fmla="*/ 822601 w 1609516"/>
              <a:gd name="csY45" fmla="*/ 1291544 h 1538630"/>
              <a:gd name="csX46" fmla="*/ 818272 w 1609516"/>
              <a:gd name="csY46" fmla="*/ 1292220 h 1538630"/>
              <a:gd name="csX47" fmla="*/ 827891 w 1609516"/>
              <a:gd name="csY47" fmla="*/ 1292047 h 1538630"/>
              <a:gd name="csX48" fmla="*/ 856397 w 1609516"/>
              <a:gd name="csY48" fmla="*/ 1288691 h 1538630"/>
              <a:gd name="csX49" fmla="*/ 865903 w 1609516"/>
              <a:gd name="csY49" fmla="*/ 1290590 h 1538630"/>
              <a:gd name="csX50" fmla="*/ 859999 w 1609516"/>
              <a:gd name="csY50" fmla="*/ 1288752 h 1538630"/>
              <a:gd name="csX51" fmla="*/ 834694 w 1609516"/>
              <a:gd name="csY51" fmla="*/ 1288572 h 1538630"/>
              <a:gd name="csX52" fmla="*/ 828038 w 1609516"/>
              <a:gd name="csY52" fmla="*/ 1288654 h 1538630"/>
              <a:gd name="csX53" fmla="*/ 828038 w 1609516"/>
              <a:gd name="csY53" fmla="*/ 1289214 h 1538630"/>
              <a:gd name="csX54" fmla="*/ 229746 w 1609516"/>
              <a:gd name="csY54" fmla="*/ 1191418 h 1538630"/>
              <a:gd name="csX55" fmla="*/ 227402 w 1609516"/>
              <a:gd name="csY55" fmla="*/ 1191947 h 1538630"/>
              <a:gd name="csX56" fmla="*/ 229315 w 1609516"/>
              <a:gd name="csY56" fmla="*/ 1191947 h 1538630"/>
              <a:gd name="csX57" fmla="*/ 229315 w 1609516"/>
              <a:gd name="csY57" fmla="*/ 1194765 h 1538630"/>
              <a:gd name="csX58" fmla="*/ 231321 w 1609516"/>
              <a:gd name="csY58" fmla="*/ 1194765 h 1538630"/>
              <a:gd name="csX59" fmla="*/ 229746 w 1609516"/>
              <a:gd name="csY59" fmla="*/ 1194236 h 1538630"/>
              <a:gd name="csX60" fmla="*/ 229746 w 1609516"/>
              <a:gd name="csY60" fmla="*/ 1191418 h 1538630"/>
              <a:gd name="csX61" fmla="*/ 215687 w 1609516"/>
              <a:gd name="csY61" fmla="*/ 1187190 h 1538630"/>
              <a:gd name="csX62" fmla="*/ 215198 w 1609516"/>
              <a:gd name="csY62" fmla="*/ 1187720 h 1538630"/>
              <a:gd name="csX63" fmla="*/ 215256 w 1609516"/>
              <a:gd name="csY63" fmla="*/ 1187720 h 1538630"/>
              <a:gd name="csX64" fmla="*/ 215256 w 1609516"/>
              <a:gd name="csY64" fmla="*/ 1191947 h 1538630"/>
              <a:gd name="csX65" fmla="*/ 222721 w 1609516"/>
              <a:gd name="csY65" fmla="*/ 1191947 h 1538630"/>
              <a:gd name="csX66" fmla="*/ 215687 w 1609516"/>
              <a:gd name="csY66" fmla="*/ 1191418 h 1538630"/>
              <a:gd name="csX67" fmla="*/ 215687 w 1609516"/>
              <a:gd name="csY67" fmla="*/ 1187190 h 1538630"/>
              <a:gd name="csX68" fmla="*/ 1279678 w 1609516"/>
              <a:gd name="csY68" fmla="*/ 1082356 h 1538630"/>
              <a:gd name="csX69" fmla="*/ 1271680 w 1609516"/>
              <a:gd name="csY69" fmla="*/ 1084589 h 1538630"/>
              <a:gd name="csX70" fmla="*/ 1282181 w 1609516"/>
              <a:gd name="csY70" fmla="*/ 1082544 h 1538630"/>
              <a:gd name="csX71" fmla="*/ 117703 w 1609516"/>
              <a:gd name="csY71" fmla="*/ 941507 h 1538630"/>
              <a:gd name="csX72" fmla="*/ 112587 w 1609516"/>
              <a:gd name="csY72" fmla="*/ 941985 h 1538630"/>
              <a:gd name="csX73" fmla="*/ 112565 w 1609516"/>
              <a:gd name="csY73" fmla="*/ 942333 h 1538630"/>
              <a:gd name="csX74" fmla="*/ 115665 w 1609516"/>
              <a:gd name="csY74" fmla="*/ 941837 h 1538630"/>
              <a:gd name="csX75" fmla="*/ 144268 w 1609516"/>
              <a:gd name="csY75" fmla="*/ 939395 h 1538630"/>
              <a:gd name="csX76" fmla="*/ 143354 w 1609516"/>
              <a:gd name="csY76" fmla="*/ 939580 h 1538630"/>
              <a:gd name="csX77" fmla="*/ 144077 w 1609516"/>
              <a:gd name="csY77" fmla="*/ 939739 h 1538630"/>
              <a:gd name="csX78" fmla="*/ 162575 w 1609516"/>
              <a:gd name="csY78" fmla="*/ 933530 h 1538630"/>
              <a:gd name="csX79" fmla="*/ 161704 w 1609516"/>
              <a:gd name="csY79" fmla="*/ 935101 h 1538630"/>
              <a:gd name="csX80" fmla="*/ 170045 w 1609516"/>
              <a:gd name="csY80" fmla="*/ 933585 h 1538630"/>
              <a:gd name="csX81" fmla="*/ 1321645 w 1609516"/>
              <a:gd name="csY81" fmla="*/ 918415 h 1538630"/>
              <a:gd name="csX82" fmla="*/ 1321534 w 1609516"/>
              <a:gd name="csY82" fmla="*/ 920177 h 1538630"/>
              <a:gd name="csX83" fmla="*/ 1321740 w 1609516"/>
              <a:gd name="csY83" fmla="*/ 918415 h 1538630"/>
              <a:gd name="csX84" fmla="*/ 1319333 w 1609516"/>
              <a:gd name="csY84" fmla="*/ 915183 h 1538630"/>
              <a:gd name="csX85" fmla="*/ 1318544 w 1609516"/>
              <a:gd name="csY85" fmla="*/ 918029 h 1538630"/>
              <a:gd name="csX86" fmla="*/ 1318702 w 1609516"/>
              <a:gd name="csY86" fmla="*/ 918029 h 1538630"/>
              <a:gd name="csX87" fmla="*/ 1326355 w 1609516"/>
              <a:gd name="csY87" fmla="*/ 907109 h 1538630"/>
              <a:gd name="csX88" fmla="*/ 1326355 w 1609516"/>
              <a:gd name="csY88" fmla="*/ 910983 h 1538630"/>
              <a:gd name="csX89" fmla="*/ 1325831 w 1609516"/>
              <a:gd name="csY89" fmla="*/ 911101 h 1538630"/>
              <a:gd name="csX90" fmla="*/ 1326426 w 1609516"/>
              <a:gd name="csY90" fmla="*/ 911369 h 1538630"/>
              <a:gd name="csX91" fmla="*/ 1326426 w 1609516"/>
              <a:gd name="csY91" fmla="*/ 907141 h 1538630"/>
              <a:gd name="csX92" fmla="*/ 1328144 w 1609516"/>
              <a:gd name="csY92" fmla="*/ 892192 h 1538630"/>
              <a:gd name="csX93" fmla="*/ 1327667 w 1609516"/>
              <a:gd name="csY93" fmla="*/ 893446 h 1538630"/>
              <a:gd name="csX94" fmla="*/ 1327989 w 1609516"/>
              <a:gd name="csY94" fmla="*/ 893049 h 1538630"/>
              <a:gd name="csX95" fmla="*/ 49605 w 1609516"/>
              <a:gd name="csY95" fmla="*/ 887420 h 1538630"/>
              <a:gd name="csX96" fmla="*/ 48549 w 1609516"/>
              <a:gd name="csY96" fmla="*/ 891229 h 1538630"/>
              <a:gd name="csX97" fmla="*/ 49956 w 1609516"/>
              <a:gd name="csY97" fmla="*/ 887420 h 1538630"/>
              <a:gd name="csX98" fmla="*/ 1332266 w 1609516"/>
              <a:gd name="csY98" fmla="*/ 883369 h 1538630"/>
              <a:gd name="csX99" fmla="*/ 1329479 w 1609516"/>
              <a:gd name="csY99" fmla="*/ 884207 h 1538630"/>
              <a:gd name="csX100" fmla="*/ 1329509 w 1609516"/>
              <a:gd name="csY100" fmla="*/ 884816 h 1538630"/>
              <a:gd name="csX101" fmla="*/ 1329551 w 1609516"/>
              <a:gd name="csY101" fmla="*/ 884594 h 1538630"/>
              <a:gd name="csX102" fmla="*/ 1555987 w 1609516"/>
              <a:gd name="csY102" fmla="*/ 821766 h 1538630"/>
              <a:gd name="csX103" fmla="*/ 1555987 w 1609516"/>
              <a:gd name="csY103" fmla="*/ 822201 h 1538630"/>
              <a:gd name="csX104" fmla="*/ 1556081 w 1609516"/>
              <a:gd name="csY104" fmla="*/ 822189 h 1538630"/>
              <a:gd name="csX105" fmla="*/ 1565360 w 1609516"/>
              <a:gd name="csY105" fmla="*/ 810928 h 1538630"/>
              <a:gd name="csX106" fmla="*/ 1564871 w 1609516"/>
              <a:gd name="csY106" fmla="*/ 811809 h 1538630"/>
              <a:gd name="csX107" fmla="*/ 1567314 w 1609516"/>
              <a:gd name="csY107" fmla="*/ 810928 h 1538630"/>
              <a:gd name="csX108" fmla="*/ 1563797 w 1609516"/>
              <a:gd name="csY108" fmla="*/ 810928 h 1538630"/>
              <a:gd name="csX109" fmla="*/ 1556762 w 1609516"/>
              <a:gd name="csY109" fmla="*/ 814736 h 1538630"/>
              <a:gd name="csX110" fmla="*/ 1563797 w 1609516"/>
              <a:gd name="csY110" fmla="*/ 812197 h 1538630"/>
              <a:gd name="csX111" fmla="*/ 265833 w 1609516"/>
              <a:gd name="csY111" fmla="*/ 806020 h 1538630"/>
              <a:gd name="csX112" fmla="*/ 263704 w 1609516"/>
              <a:gd name="csY112" fmla="*/ 809861 h 1538630"/>
              <a:gd name="csX113" fmla="*/ 263704 w 1609516"/>
              <a:gd name="csY113" fmla="*/ 816750 h 1538630"/>
              <a:gd name="csX114" fmla="*/ 264113 w 1609516"/>
              <a:gd name="csY114" fmla="*/ 816565 h 1538630"/>
              <a:gd name="csX115" fmla="*/ 263918 w 1609516"/>
              <a:gd name="csY115" fmla="*/ 812777 h 1538630"/>
              <a:gd name="csX116" fmla="*/ 263774 w 1609516"/>
              <a:gd name="csY116" fmla="*/ 779374 h 1538630"/>
              <a:gd name="csX117" fmla="*/ 263704 w 1609516"/>
              <a:gd name="csY117" fmla="*/ 783086 h 1538630"/>
              <a:gd name="csX118" fmla="*/ 264484 w 1609516"/>
              <a:gd name="csY118" fmla="*/ 785816 h 1538630"/>
              <a:gd name="csX119" fmla="*/ 265265 w 1609516"/>
              <a:gd name="csY119" fmla="*/ 794448 h 1538630"/>
              <a:gd name="csX120" fmla="*/ 265217 w 1609516"/>
              <a:gd name="csY120" fmla="*/ 799730 h 1538630"/>
              <a:gd name="csX121" fmla="*/ 266556 w 1609516"/>
              <a:gd name="csY121" fmla="*/ 803466 h 1538630"/>
              <a:gd name="csX122" fmla="*/ 267237 w 1609516"/>
              <a:gd name="csY122" fmla="*/ 801063 h 1538630"/>
              <a:gd name="csX123" fmla="*/ 265675 w 1609516"/>
              <a:gd name="csY123" fmla="*/ 799654 h 1538630"/>
              <a:gd name="csX124" fmla="*/ 265675 w 1609516"/>
              <a:gd name="csY124" fmla="*/ 793841 h 1538630"/>
              <a:gd name="csX125" fmla="*/ 260988 w 1609516"/>
              <a:gd name="csY125" fmla="*/ 770061 h 1538630"/>
              <a:gd name="csX126" fmla="*/ 260988 w 1609516"/>
              <a:gd name="csY126" fmla="*/ 771364 h 1538630"/>
              <a:gd name="csX127" fmla="*/ 263497 w 1609516"/>
              <a:gd name="csY127" fmla="*/ 777263 h 1538630"/>
              <a:gd name="csX128" fmla="*/ 262551 w 1609516"/>
              <a:gd name="csY128" fmla="*/ 770061 h 1538630"/>
              <a:gd name="csX129" fmla="*/ 260988 w 1609516"/>
              <a:gd name="csY129" fmla="*/ 770061 h 1538630"/>
              <a:gd name="csX130" fmla="*/ 157888 w 1609516"/>
              <a:gd name="csY130" fmla="*/ 651686 h 1538630"/>
              <a:gd name="csX131" fmla="*/ 157415 w 1609516"/>
              <a:gd name="csY131" fmla="*/ 651764 h 1538630"/>
              <a:gd name="csX132" fmla="*/ 160373 w 1609516"/>
              <a:gd name="csY132" fmla="*/ 652274 h 1538630"/>
              <a:gd name="csX133" fmla="*/ 267237 w 1609516"/>
              <a:gd name="csY133" fmla="*/ 426537 h 1538630"/>
              <a:gd name="csX134" fmla="*/ 267237 w 1609516"/>
              <a:gd name="csY134" fmla="*/ 427619 h 1538630"/>
              <a:gd name="csX135" fmla="*/ 270380 w 1609516"/>
              <a:gd name="csY135" fmla="*/ 428137 h 1538630"/>
              <a:gd name="csX136" fmla="*/ 273548 w 1609516"/>
              <a:gd name="csY136" fmla="*/ 428680 h 1538630"/>
              <a:gd name="csX137" fmla="*/ 37605 w 1609516"/>
              <a:gd name="csY137" fmla="*/ 359270 h 1538630"/>
              <a:gd name="csX138" fmla="*/ 37103 w 1609516"/>
              <a:gd name="csY138" fmla="*/ 361533 h 1538630"/>
              <a:gd name="csX139" fmla="*/ 37605 w 1609516"/>
              <a:gd name="csY139" fmla="*/ 361382 h 1538630"/>
              <a:gd name="csX140" fmla="*/ 52477 w 1609516"/>
              <a:gd name="csY140" fmla="*/ 337570 h 1538630"/>
              <a:gd name="csX141" fmla="*/ 47288 w 1609516"/>
              <a:gd name="csY141" fmla="*/ 342340 h 1538630"/>
              <a:gd name="csX142" fmla="*/ 45805 w 1609516"/>
              <a:gd name="csY142" fmla="*/ 345093 h 1538630"/>
              <a:gd name="csX143" fmla="*/ 104291 w 1609516"/>
              <a:gd name="csY143" fmla="*/ 336166 h 1538630"/>
              <a:gd name="csX144" fmla="*/ 103776 w 1609516"/>
              <a:gd name="csY144" fmla="*/ 337559 h 1538630"/>
              <a:gd name="csX145" fmla="*/ 108925 w 1609516"/>
              <a:gd name="csY145" fmla="*/ 336166 h 1538630"/>
              <a:gd name="csX146" fmla="*/ 1309237 w 1609516"/>
              <a:gd name="csY146" fmla="*/ 322954 h 1538630"/>
              <a:gd name="csX147" fmla="*/ 1309180 w 1609516"/>
              <a:gd name="csY147" fmla="*/ 330559 h 1538630"/>
              <a:gd name="csX148" fmla="*/ 1309237 w 1609516"/>
              <a:gd name="csY148" fmla="*/ 330520 h 1538630"/>
              <a:gd name="csX149" fmla="*/ 1308964 w 1609516"/>
              <a:gd name="csY149" fmla="*/ 317715 h 1538630"/>
              <a:gd name="csX150" fmla="*/ 1309237 w 1609516"/>
              <a:gd name="csY150" fmla="*/ 318569 h 1538630"/>
              <a:gd name="csX151" fmla="*/ 1309237 w 1609516"/>
              <a:gd name="csY151" fmla="*/ 317838 h 1538630"/>
              <a:gd name="csX152" fmla="*/ 1310087 w 1609516"/>
              <a:gd name="csY152" fmla="*/ 313153 h 1538630"/>
              <a:gd name="csX153" fmla="*/ 1307609 w 1609516"/>
              <a:gd name="csY153" fmla="*/ 313473 h 1538630"/>
              <a:gd name="csX154" fmla="*/ 1308045 w 1609516"/>
              <a:gd name="csY154" fmla="*/ 314836 h 1538630"/>
              <a:gd name="csX155" fmla="*/ 1318544 w 1609516"/>
              <a:gd name="csY155" fmla="*/ 312064 h 1538630"/>
              <a:gd name="csX156" fmla="*/ 1316298 w 1609516"/>
              <a:gd name="csY156" fmla="*/ 312353 h 1538630"/>
              <a:gd name="csX157" fmla="*/ 1318544 w 1609516"/>
              <a:gd name="csY157" fmla="*/ 312205 h 1538630"/>
              <a:gd name="csX158" fmla="*/ 1084622 w 1609516"/>
              <a:gd name="csY158" fmla="*/ 267674 h 1538630"/>
              <a:gd name="csX159" fmla="*/ 1084227 w 1609516"/>
              <a:gd name="csY159" fmla="*/ 268378 h 1538630"/>
              <a:gd name="csX160" fmla="*/ 1079540 w 1609516"/>
              <a:gd name="csY160" fmla="*/ 268378 h 1538630"/>
              <a:gd name="csX161" fmla="*/ 1079603 w 1609516"/>
              <a:gd name="csY161" fmla="*/ 268477 h 1538630"/>
              <a:gd name="csX162" fmla="*/ 1084192 w 1609516"/>
              <a:gd name="csY162" fmla="*/ 268477 h 1538630"/>
              <a:gd name="csX163" fmla="*/ 956410 w 1609516"/>
              <a:gd name="csY163" fmla="*/ 266968 h 1538630"/>
              <a:gd name="csX164" fmla="*/ 957576 w 1609516"/>
              <a:gd name="csY164" fmla="*/ 267083 h 1538630"/>
              <a:gd name="csX165" fmla="*/ 957576 w 1609516"/>
              <a:gd name="csY165" fmla="*/ 269776 h 1538630"/>
              <a:gd name="csX166" fmla="*/ 957694 w 1609516"/>
              <a:gd name="csY166" fmla="*/ 269787 h 1538630"/>
              <a:gd name="csX167" fmla="*/ 957694 w 1609516"/>
              <a:gd name="csY167" fmla="*/ 266968 h 1538630"/>
              <a:gd name="csX168" fmla="*/ 1089372 w 1609516"/>
              <a:gd name="csY168" fmla="*/ 259220 h 1538630"/>
              <a:gd name="csX169" fmla="*/ 1085856 w 1609516"/>
              <a:gd name="csY169" fmla="*/ 265479 h 1538630"/>
              <a:gd name="csX170" fmla="*/ 1088878 w 1609516"/>
              <a:gd name="csY170" fmla="*/ 261431 h 1538630"/>
              <a:gd name="csX171" fmla="*/ 1018517 w 1609516"/>
              <a:gd name="csY171" fmla="*/ 223356 h 1538630"/>
              <a:gd name="csX172" fmla="*/ 1013866 w 1609516"/>
              <a:gd name="csY172" fmla="*/ 226190 h 1538630"/>
              <a:gd name="csX173" fmla="*/ 1013024 w 1609516"/>
              <a:gd name="csY173" fmla="*/ 227709 h 1538630"/>
              <a:gd name="csX174" fmla="*/ 1017055 w 1609516"/>
              <a:gd name="csY174" fmla="*/ 224692 h 1538630"/>
              <a:gd name="csX175" fmla="*/ 850645 w 1609516"/>
              <a:gd name="csY175" fmla="*/ 220099 h 1538630"/>
              <a:gd name="csX176" fmla="*/ 850897 w 1609516"/>
              <a:gd name="csY176" fmla="*/ 221488 h 1538630"/>
              <a:gd name="csX177" fmla="*/ 851470 w 1609516"/>
              <a:gd name="csY177" fmla="*/ 224692 h 1538630"/>
              <a:gd name="csX178" fmla="*/ 852860 w 1609516"/>
              <a:gd name="csY178" fmla="*/ 224692 h 1538630"/>
              <a:gd name="csX179" fmla="*/ 1155019 w 1609516"/>
              <a:gd name="csY179" fmla="*/ 35 h 1538630"/>
              <a:gd name="csX180" fmla="*/ 1174829 w 1609516"/>
              <a:gd name="csY180" fmla="*/ 4853 h 1538630"/>
              <a:gd name="csX181" fmla="*/ 1179418 w 1609516"/>
              <a:gd name="csY181" fmla="*/ 5998 h 1538630"/>
              <a:gd name="csX182" fmla="*/ 1201385 w 1609516"/>
              <a:gd name="csY182" fmla="*/ 22997 h 1538630"/>
              <a:gd name="csX183" fmla="*/ 1201678 w 1609516"/>
              <a:gd name="csY183" fmla="*/ 62191 h 1538630"/>
              <a:gd name="csX184" fmla="*/ 1198261 w 1609516"/>
              <a:gd name="csY184" fmla="*/ 68268 h 1538630"/>
              <a:gd name="csX185" fmla="*/ 1195723 w 1609516"/>
              <a:gd name="csY185" fmla="*/ 72672 h 1538630"/>
              <a:gd name="csX186" fmla="*/ 1193575 w 1609516"/>
              <a:gd name="csY186" fmla="*/ 75314 h 1538630"/>
              <a:gd name="csX187" fmla="*/ 1190450 w 1609516"/>
              <a:gd name="csY187" fmla="*/ 75314 h 1538630"/>
              <a:gd name="csX188" fmla="*/ 1189474 w 1609516"/>
              <a:gd name="csY188" fmla="*/ 79366 h 1538630"/>
              <a:gd name="csX189" fmla="*/ 1182445 w 1609516"/>
              <a:gd name="csY189" fmla="*/ 85707 h 1538630"/>
              <a:gd name="csX190" fmla="*/ 1177953 w 1609516"/>
              <a:gd name="csY190" fmla="*/ 86588 h 1538630"/>
              <a:gd name="csX191" fmla="*/ 1177953 w 1609516"/>
              <a:gd name="csY191" fmla="*/ 89406 h 1538630"/>
              <a:gd name="csX192" fmla="*/ 1170045 w 1609516"/>
              <a:gd name="csY192" fmla="*/ 94251 h 1538630"/>
              <a:gd name="csX193" fmla="*/ 1143806 w 1609516"/>
              <a:gd name="csY193" fmla="*/ 132828 h 1538630"/>
              <a:gd name="csX194" fmla="*/ 1137338 w 1609516"/>
              <a:gd name="csY194" fmla="*/ 141548 h 1538630"/>
              <a:gd name="csX195" fmla="*/ 1133970 w 1609516"/>
              <a:gd name="csY195" fmla="*/ 149403 h 1538630"/>
              <a:gd name="csX196" fmla="*/ 1127965 w 1609516"/>
              <a:gd name="csY196" fmla="*/ 164095 h 1538630"/>
              <a:gd name="csX197" fmla="*/ 1124762 w 1609516"/>
              <a:gd name="csY197" fmla="*/ 171802 h 1538630"/>
              <a:gd name="csX198" fmla="*/ 1119359 w 1609516"/>
              <a:gd name="csY198" fmla="*/ 184798 h 1538630"/>
              <a:gd name="csX199" fmla="*/ 1111014 w 1609516"/>
              <a:gd name="csY199" fmla="*/ 204941 h 1538630"/>
              <a:gd name="csX200" fmla="*/ 1109729 w 1609516"/>
              <a:gd name="csY200" fmla="*/ 208059 h 1538630"/>
              <a:gd name="csX201" fmla="*/ 1106395 w 1609516"/>
              <a:gd name="csY201" fmla="*/ 216170 h 1538630"/>
              <a:gd name="csX202" fmla="*/ 1102147 w 1609516"/>
              <a:gd name="csY202" fmla="*/ 224810 h 1538630"/>
              <a:gd name="csX203" fmla="*/ 1098261 w 1609516"/>
              <a:gd name="csY203" fmla="*/ 227262 h 1538630"/>
              <a:gd name="csX204" fmla="*/ 1098367 w 1609516"/>
              <a:gd name="csY204" fmla="*/ 238475 h 1538630"/>
              <a:gd name="csX205" fmla="*/ 1097331 w 1609516"/>
              <a:gd name="csY205" fmla="*/ 242358 h 1538630"/>
              <a:gd name="csX206" fmla="*/ 1096201 w 1609516"/>
              <a:gd name="csY206" fmla="*/ 246458 h 1538630"/>
              <a:gd name="csX207" fmla="*/ 1089440 w 1609516"/>
              <a:gd name="csY207" fmla="*/ 279206 h 1538630"/>
              <a:gd name="csX208" fmla="*/ 1087316 w 1609516"/>
              <a:gd name="csY208" fmla="*/ 283978 h 1538630"/>
              <a:gd name="csX209" fmla="*/ 1086822 w 1609516"/>
              <a:gd name="csY209" fmla="*/ 291822 h 1538630"/>
              <a:gd name="csX210" fmla="*/ 1086623 w 1609516"/>
              <a:gd name="csY210" fmla="*/ 296625 h 1538630"/>
              <a:gd name="csX211" fmla="*/ 1086437 w 1609516"/>
              <a:gd name="csY211" fmla="*/ 301681 h 1538630"/>
              <a:gd name="csX212" fmla="*/ 1086233 w 1609516"/>
              <a:gd name="csY212" fmla="*/ 306754 h 1538630"/>
              <a:gd name="csX213" fmla="*/ 1086007 w 1609516"/>
              <a:gd name="csY213" fmla="*/ 312619 h 1538630"/>
              <a:gd name="csX214" fmla="*/ 1087470 w 1609516"/>
              <a:gd name="csY214" fmla="*/ 320554 h 1538630"/>
              <a:gd name="csX215" fmla="*/ 1098285 w 1609516"/>
              <a:gd name="csY215" fmla="*/ 334611 h 1538630"/>
              <a:gd name="csX216" fmla="*/ 1102607 w 1609516"/>
              <a:gd name="csY216" fmla="*/ 337679 h 1538630"/>
              <a:gd name="csX217" fmla="*/ 1106095 w 1609516"/>
              <a:gd name="csY217" fmla="*/ 340248 h 1538630"/>
              <a:gd name="csX218" fmla="*/ 1106095 w 1609516"/>
              <a:gd name="csY218" fmla="*/ 343066 h 1538630"/>
              <a:gd name="csX219" fmla="*/ 1109220 w 1609516"/>
              <a:gd name="csY219" fmla="*/ 343419 h 1538630"/>
              <a:gd name="csX220" fmla="*/ 1126403 w 1609516"/>
              <a:gd name="csY220" fmla="*/ 350112 h 1538630"/>
              <a:gd name="csX221" fmla="*/ 1131871 w 1609516"/>
              <a:gd name="csY221" fmla="*/ 352579 h 1538630"/>
              <a:gd name="csX222" fmla="*/ 1135776 w 1609516"/>
              <a:gd name="csY222" fmla="*/ 354340 h 1538630"/>
              <a:gd name="csX223" fmla="*/ 1135776 w 1609516"/>
              <a:gd name="csY223" fmla="*/ 357158 h 1538630"/>
              <a:gd name="csX224" fmla="*/ 1170143 w 1609516"/>
              <a:gd name="csY224" fmla="*/ 354340 h 1538630"/>
              <a:gd name="csX225" fmla="*/ 1174634 w 1609516"/>
              <a:gd name="csY225" fmla="*/ 352579 h 1538630"/>
              <a:gd name="csX226" fmla="*/ 1190890 w 1609516"/>
              <a:gd name="csY226" fmla="*/ 342907 h 1538630"/>
              <a:gd name="csX227" fmla="*/ 1204021 w 1609516"/>
              <a:gd name="csY227" fmla="*/ 335404 h 1538630"/>
              <a:gd name="csX228" fmla="*/ 1223255 w 1609516"/>
              <a:gd name="csY228" fmla="*/ 319110 h 1538630"/>
              <a:gd name="csX229" fmla="*/ 1226868 w 1609516"/>
              <a:gd name="csY229" fmla="*/ 315587 h 1538630"/>
              <a:gd name="csX230" fmla="*/ 1231859 w 1609516"/>
              <a:gd name="csY230" fmla="*/ 303559 h 1538630"/>
              <a:gd name="csX231" fmla="*/ 1234178 w 1609516"/>
              <a:gd name="csY231" fmla="*/ 298059 h 1538630"/>
              <a:gd name="csX232" fmla="*/ 1237314 w 1609516"/>
              <a:gd name="csY232" fmla="*/ 288195 h 1538630"/>
              <a:gd name="csX233" fmla="*/ 1249811 w 1609516"/>
              <a:gd name="csY233" fmla="*/ 265559 h 1538630"/>
              <a:gd name="csX234" fmla="*/ 1252935 w 1609516"/>
              <a:gd name="csY234" fmla="*/ 265559 h 1538630"/>
              <a:gd name="csX235" fmla="*/ 1252935 w 1609516"/>
              <a:gd name="csY235" fmla="*/ 262741 h 1538630"/>
              <a:gd name="csX236" fmla="*/ 1296675 w 1609516"/>
              <a:gd name="csY236" fmla="*/ 252876 h 1538630"/>
              <a:gd name="csX237" fmla="*/ 1307609 w 1609516"/>
              <a:gd name="csY237" fmla="*/ 255695 h 1538630"/>
              <a:gd name="csX238" fmla="*/ 1307609 w 1609516"/>
              <a:gd name="csY238" fmla="*/ 258513 h 1538630"/>
              <a:gd name="csX239" fmla="*/ 1311887 w 1609516"/>
              <a:gd name="csY239" fmla="*/ 258832 h 1538630"/>
              <a:gd name="csX240" fmla="*/ 1326715 w 1609516"/>
              <a:gd name="csY240" fmla="*/ 269969 h 1538630"/>
              <a:gd name="csX241" fmla="*/ 1334165 w 1609516"/>
              <a:gd name="csY241" fmla="*/ 307836 h 1538630"/>
              <a:gd name="csX242" fmla="*/ 1329479 w 1609516"/>
              <a:gd name="csY242" fmla="*/ 314882 h 1538630"/>
              <a:gd name="csX243" fmla="*/ 1323231 w 1609516"/>
              <a:gd name="csY243" fmla="*/ 314882 h 1538630"/>
              <a:gd name="csX244" fmla="*/ 1323231 w 1609516"/>
              <a:gd name="csY244" fmla="*/ 317700 h 1538630"/>
              <a:gd name="csX245" fmla="*/ 1322774 w 1609516"/>
              <a:gd name="csY245" fmla="*/ 317838 h 1538630"/>
              <a:gd name="csX246" fmla="*/ 1323295 w 1609516"/>
              <a:gd name="csY246" fmla="*/ 317838 h 1538630"/>
              <a:gd name="csX247" fmla="*/ 1323295 w 1609516"/>
              <a:gd name="csY247" fmla="*/ 315019 h 1538630"/>
              <a:gd name="csX248" fmla="*/ 1327982 w 1609516"/>
              <a:gd name="csY248" fmla="*/ 315019 h 1538630"/>
              <a:gd name="csX249" fmla="*/ 1317047 w 1609516"/>
              <a:gd name="csY249" fmla="*/ 327702 h 1538630"/>
              <a:gd name="csX250" fmla="*/ 1315484 w 1609516"/>
              <a:gd name="csY250" fmla="*/ 331930 h 1538630"/>
              <a:gd name="csX251" fmla="*/ 1309139 w 1609516"/>
              <a:gd name="csY251" fmla="*/ 333603 h 1538630"/>
              <a:gd name="csX252" fmla="*/ 1305666 w 1609516"/>
              <a:gd name="csY252" fmla="*/ 334280 h 1538630"/>
              <a:gd name="csX253" fmla="*/ 1302988 w 1609516"/>
              <a:gd name="csY253" fmla="*/ 334748 h 1538630"/>
              <a:gd name="csX254" fmla="*/ 1305905 w 1609516"/>
              <a:gd name="csY254" fmla="*/ 332775 h 1538630"/>
              <a:gd name="csX255" fmla="*/ 1304485 w 1609516"/>
              <a:gd name="csY255" fmla="*/ 333202 h 1538630"/>
              <a:gd name="csX256" fmla="*/ 1301459 w 1609516"/>
              <a:gd name="csY256" fmla="*/ 336108 h 1538630"/>
              <a:gd name="csX257" fmla="*/ 1291989 w 1609516"/>
              <a:gd name="csY257" fmla="*/ 338839 h 1538630"/>
              <a:gd name="csX258" fmla="*/ 1290426 w 1609516"/>
              <a:gd name="csY258" fmla="*/ 343066 h 1538630"/>
              <a:gd name="csX259" fmla="*/ 1285740 w 1609516"/>
              <a:gd name="csY259" fmla="*/ 344123 h 1538630"/>
              <a:gd name="csX260" fmla="*/ 1237314 w 1609516"/>
              <a:gd name="csY260" fmla="*/ 382525 h 1538630"/>
              <a:gd name="csX261" fmla="*/ 1232628 w 1609516"/>
              <a:gd name="csY261" fmla="*/ 392389 h 1538630"/>
              <a:gd name="csX262" fmla="*/ 1228625 w 1609516"/>
              <a:gd name="csY262" fmla="*/ 398731 h 1538630"/>
              <a:gd name="csX263" fmla="*/ 1222822 w 1609516"/>
              <a:gd name="csY263" fmla="*/ 434798 h 1538630"/>
              <a:gd name="csX264" fmla="*/ 1260746 w 1609516"/>
              <a:gd name="csY264" fmla="*/ 485398 h 1538630"/>
              <a:gd name="csX265" fmla="*/ 1268556 w 1609516"/>
              <a:gd name="csY265" fmla="*/ 488216 h 1538630"/>
              <a:gd name="csX266" fmla="*/ 1268556 w 1609516"/>
              <a:gd name="csY266" fmla="*/ 491034 h 1538630"/>
              <a:gd name="csX267" fmla="*/ 1338852 w 1609516"/>
              <a:gd name="csY267" fmla="*/ 489625 h 1538630"/>
              <a:gd name="csX268" fmla="*/ 1347444 w 1609516"/>
              <a:gd name="csY268" fmla="*/ 488480 h 1538630"/>
              <a:gd name="csX269" fmla="*/ 1369362 w 1609516"/>
              <a:gd name="csY269" fmla="*/ 482513 h 1538630"/>
              <a:gd name="csX270" fmla="*/ 1388840 w 1609516"/>
              <a:gd name="csY270" fmla="*/ 478351 h 1538630"/>
              <a:gd name="csX271" fmla="*/ 1388840 w 1609516"/>
              <a:gd name="csY271" fmla="*/ 475533 h 1538630"/>
              <a:gd name="csX272" fmla="*/ 1395576 w 1609516"/>
              <a:gd name="csY272" fmla="*/ 473419 h 1538630"/>
              <a:gd name="csX273" fmla="*/ 1399365 w 1609516"/>
              <a:gd name="csY273" fmla="*/ 472230 h 1538630"/>
              <a:gd name="csX274" fmla="*/ 1407585 w 1609516"/>
              <a:gd name="csY274" fmla="*/ 471305 h 1538630"/>
              <a:gd name="csX275" fmla="*/ 1409147 w 1609516"/>
              <a:gd name="csY275" fmla="*/ 467078 h 1538630"/>
              <a:gd name="csX276" fmla="*/ 1416470 w 1609516"/>
              <a:gd name="csY276" fmla="*/ 464259 h 1538630"/>
              <a:gd name="csX277" fmla="*/ 1437949 w 1609516"/>
              <a:gd name="csY277" fmla="*/ 455011 h 1538630"/>
              <a:gd name="csX278" fmla="*/ 1452887 w 1609516"/>
              <a:gd name="csY278" fmla="*/ 450167 h 1538630"/>
              <a:gd name="csX279" fmla="*/ 1452887 w 1609516"/>
              <a:gd name="csY279" fmla="*/ 447349 h 1538630"/>
              <a:gd name="csX280" fmla="*/ 1455394 w 1609516"/>
              <a:gd name="csY280" fmla="*/ 446122 h 1538630"/>
              <a:gd name="csX281" fmla="*/ 1466653 w 1609516"/>
              <a:gd name="csY281" fmla="*/ 440567 h 1538630"/>
              <a:gd name="csX282" fmla="*/ 1470598 w 1609516"/>
              <a:gd name="csY282" fmla="*/ 438637 h 1538630"/>
              <a:gd name="csX283" fmla="*/ 1474397 w 1609516"/>
              <a:gd name="csY283" fmla="*/ 436752 h 1538630"/>
              <a:gd name="csX284" fmla="*/ 1477892 w 1609516"/>
              <a:gd name="csY284" fmla="*/ 435030 h 1538630"/>
              <a:gd name="csX285" fmla="*/ 1485691 w 1609516"/>
              <a:gd name="csY285" fmla="*/ 429029 h 1538630"/>
              <a:gd name="csX286" fmla="*/ 1488858 w 1609516"/>
              <a:gd name="csY286" fmla="*/ 427653 h 1538630"/>
              <a:gd name="csX287" fmla="*/ 1495943 w 1609516"/>
              <a:gd name="csY287" fmla="*/ 421454 h 1538630"/>
              <a:gd name="csX288" fmla="*/ 1538608 w 1609516"/>
              <a:gd name="csY288" fmla="*/ 388338 h 1538630"/>
              <a:gd name="csX289" fmla="*/ 1543490 w 1609516"/>
              <a:gd name="csY289" fmla="*/ 388161 h 1538630"/>
              <a:gd name="csX290" fmla="*/ 1547621 w 1609516"/>
              <a:gd name="csY290" fmla="*/ 387804 h 1538630"/>
              <a:gd name="csX291" fmla="*/ 1579418 w 1609516"/>
              <a:gd name="csY291" fmla="*/ 396617 h 1538630"/>
              <a:gd name="csX292" fmla="*/ 1583342 w 1609516"/>
              <a:gd name="csY292" fmla="*/ 398780 h 1538630"/>
              <a:gd name="csX293" fmla="*/ 1601288 w 1609516"/>
              <a:gd name="csY293" fmla="*/ 423392 h 1538630"/>
              <a:gd name="csX294" fmla="*/ 1594484 w 1609516"/>
              <a:gd name="csY294" fmla="*/ 460159 h 1538630"/>
              <a:gd name="csX295" fmla="*/ 1574732 w 1609516"/>
              <a:gd name="csY295" fmla="*/ 475533 h 1538630"/>
              <a:gd name="csX296" fmla="*/ 1572097 w 1609516"/>
              <a:gd name="csY296" fmla="*/ 477078 h 1538630"/>
              <a:gd name="csX297" fmla="*/ 1556066 w 1609516"/>
              <a:gd name="csY297" fmla="*/ 478737 h 1538630"/>
              <a:gd name="csX298" fmla="*/ 1548631 w 1609516"/>
              <a:gd name="csY298" fmla="*/ 478825 h 1538630"/>
              <a:gd name="csX299" fmla="*/ 1536991 w 1609516"/>
              <a:gd name="csY299" fmla="*/ 478889 h 1538630"/>
              <a:gd name="csX300" fmla="*/ 1498188 w 1609516"/>
              <a:gd name="csY300" fmla="*/ 485398 h 1538630"/>
              <a:gd name="csX301" fmla="*/ 1493892 w 1609516"/>
              <a:gd name="csY301" fmla="*/ 487600 h 1538630"/>
              <a:gd name="csX302" fmla="*/ 1490377 w 1609516"/>
              <a:gd name="csY302" fmla="*/ 489625 h 1538630"/>
              <a:gd name="csX303" fmla="*/ 1471650 w 1609516"/>
              <a:gd name="csY303" fmla="*/ 498185 h 1538630"/>
              <a:gd name="csX304" fmla="*/ 1459135 w 1609516"/>
              <a:gd name="csY304" fmla="*/ 505127 h 1538630"/>
              <a:gd name="csX305" fmla="*/ 1452594 w 1609516"/>
              <a:gd name="csY305" fmla="*/ 508033 h 1538630"/>
              <a:gd name="csX306" fmla="*/ 1427795 w 1609516"/>
              <a:gd name="csY306" fmla="*/ 520100 h 1538630"/>
              <a:gd name="csX307" fmla="*/ 1423733 w 1609516"/>
              <a:gd name="csY307" fmla="*/ 522148 h 1538630"/>
              <a:gd name="csX308" fmla="*/ 1419929 w 1609516"/>
              <a:gd name="csY308" fmla="*/ 524118 h 1538630"/>
              <a:gd name="csX309" fmla="*/ 1416487 w 1609516"/>
              <a:gd name="csY309" fmla="*/ 525883 h 1538630"/>
              <a:gd name="csX310" fmla="*/ 1412271 w 1609516"/>
              <a:gd name="csY310" fmla="*/ 531902 h 1538630"/>
              <a:gd name="csX311" fmla="*/ 1396650 w 1609516"/>
              <a:gd name="csY311" fmla="*/ 537539 h 1538630"/>
              <a:gd name="csX312" fmla="*/ 1396650 w 1609516"/>
              <a:gd name="csY312" fmla="*/ 540357 h 1538630"/>
              <a:gd name="csX313" fmla="*/ 1393495 w 1609516"/>
              <a:gd name="csY313" fmla="*/ 541502 h 1538630"/>
              <a:gd name="csX314" fmla="*/ 1362284 w 1609516"/>
              <a:gd name="csY314" fmla="*/ 558678 h 1538630"/>
              <a:gd name="csX315" fmla="*/ 1355937 w 1609516"/>
              <a:gd name="csY315" fmla="*/ 562905 h 1538630"/>
              <a:gd name="csX316" fmla="*/ 1334165 w 1609516"/>
              <a:gd name="csY316" fmla="*/ 578406 h 1538630"/>
              <a:gd name="csX317" fmla="*/ 1331200 w 1609516"/>
              <a:gd name="csY317" fmla="*/ 580559 h 1538630"/>
              <a:gd name="csX318" fmla="*/ 1322175 w 1609516"/>
              <a:gd name="csY318" fmla="*/ 596793 h 1538630"/>
              <a:gd name="csX319" fmla="*/ 1320106 w 1609516"/>
              <a:gd name="csY319" fmla="*/ 602363 h 1538630"/>
              <a:gd name="csX320" fmla="*/ 1328015 w 1609516"/>
              <a:gd name="csY320" fmla="*/ 647640 h 1538630"/>
              <a:gd name="csX321" fmla="*/ 1332604 w 1609516"/>
              <a:gd name="csY321" fmla="*/ 675643 h 1538630"/>
              <a:gd name="csX322" fmla="*/ 1335727 w 1609516"/>
              <a:gd name="csY322" fmla="*/ 675643 h 1538630"/>
              <a:gd name="csX323" fmla="*/ 1337741 w 1609516"/>
              <a:gd name="csY323" fmla="*/ 690059 h 1538630"/>
              <a:gd name="csX324" fmla="*/ 1338003 w 1609516"/>
              <a:gd name="csY324" fmla="*/ 696222 h 1538630"/>
              <a:gd name="csX325" fmla="*/ 1338340 w 1609516"/>
              <a:gd name="csY325" fmla="*/ 705887 h 1538630"/>
              <a:gd name="csX326" fmla="*/ 1345277 w 1609516"/>
              <a:gd name="csY326" fmla="*/ 733245 h 1538630"/>
              <a:gd name="csX327" fmla="*/ 1363162 w 1609516"/>
              <a:gd name="csY327" fmla="*/ 741612 h 1538630"/>
              <a:gd name="csX328" fmla="*/ 1384154 w 1609516"/>
              <a:gd name="csY328" fmla="*/ 748922 h 1538630"/>
              <a:gd name="csX329" fmla="*/ 1391476 w 1609516"/>
              <a:gd name="csY329" fmla="*/ 750419 h 1538630"/>
              <a:gd name="csX330" fmla="*/ 1395564 w 1609516"/>
              <a:gd name="csY330" fmla="*/ 751080 h 1538630"/>
              <a:gd name="csX331" fmla="*/ 1399775 w 1609516"/>
              <a:gd name="csY331" fmla="*/ 751740 h 1538630"/>
              <a:gd name="csX332" fmla="*/ 1403887 w 1609516"/>
              <a:gd name="csY332" fmla="*/ 752489 h 1538630"/>
              <a:gd name="csX333" fmla="*/ 1465383 w 1609516"/>
              <a:gd name="csY333" fmla="*/ 755969 h 1538630"/>
              <a:gd name="csX334" fmla="*/ 1470339 w 1609516"/>
              <a:gd name="csY334" fmla="*/ 755897 h 1538630"/>
              <a:gd name="csX335" fmla="*/ 1496809 w 1609516"/>
              <a:gd name="csY335" fmla="*/ 749313 h 1538630"/>
              <a:gd name="csX336" fmla="*/ 1515371 w 1609516"/>
              <a:gd name="csY336" fmla="*/ 743285 h 1538630"/>
              <a:gd name="csX337" fmla="*/ 1515371 w 1609516"/>
              <a:gd name="csY337" fmla="*/ 740467 h 1538630"/>
              <a:gd name="csX338" fmla="*/ 1537632 w 1609516"/>
              <a:gd name="csY338" fmla="*/ 737120 h 1538630"/>
              <a:gd name="csX339" fmla="*/ 1541657 w 1609516"/>
              <a:gd name="csY339" fmla="*/ 737127 h 1538630"/>
              <a:gd name="csX340" fmla="*/ 1574732 w 1609516"/>
              <a:gd name="csY340" fmla="*/ 748922 h 1538630"/>
              <a:gd name="csX341" fmla="*/ 1588791 w 1609516"/>
              <a:gd name="csY341" fmla="*/ 792608 h 1538630"/>
              <a:gd name="csX342" fmla="*/ 1584105 w 1609516"/>
              <a:gd name="csY342" fmla="*/ 805291 h 1538630"/>
              <a:gd name="csX343" fmla="*/ 1580981 w 1609516"/>
              <a:gd name="csY343" fmla="*/ 806700 h 1538630"/>
              <a:gd name="csX344" fmla="*/ 1578735 w 1609516"/>
              <a:gd name="csY344" fmla="*/ 810311 h 1538630"/>
              <a:gd name="csX345" fmla="*/ 1576295 w 1609516"/>
              <a:gd name="csY345" fmla="*/ 813746 h 1538630"/>
              <a:gd name="csX346" fmla="*/ 1571652 w 1609516"/>
              <a:gd name="csY346" fmla="*/ 813746 h 1538630"/>
              <a:gd name="csX347" fmla="*/ 1571785 w 1609516"/>
              <a:gd name="csY347" fmla="*/ 814106 h 1538630"/>
              <a:gd name="csX348" fmla="*/ 1574909 w 1609516"/>
              <a:gd name="csY348" fmla="*/ 815515 h 1538630"/>
              <a:gd name="csX349" fmla="*/ 1565463 w 1609516"/>
              <a:gd name="csY349" fmla="*/ 821839 h 1538630"/>
              <a:gd name="csX350" fmla="*/ 1562085 w 1609516"/>
              <a:gd name="csY350" fmla="*/ 822101 h 1538630"/>
              <a:gd name="csX351" fmla="*/ 1551301 w 1609516"/>
              <a:gd name="csY351" fmla="*/ 825020 h 1538630"/>
              <a:gd name="csX352" fmla="*/ 1551301 w 1609516"/>
              <a:gd name="csY352" fmla="*/ 827838 h 1538630"/>
              <a:gd name="csX353" fmla="*/ 1485380 w 1609516"/>
              <a:gd name="csY353" fmla="*/ 815007 h 1538630"/>
              <a:gd name="csX354" fmla="*/ 1431603 w 1609516"/>
              <a:gd name="csY354" fmla="*/ 808726 h 1538630"/>
              <a:gd name="csX355" fmla="*/ 1424140 w 1609516"/>
              <a:gd name="csY355" fmla="*/ 808542 h 1538630"/>
              <a:gd name="csX356" fmla="*/ 1406023 w 1609516"/>
              <a:gd name="csY356" fmla="*/ 808109 h 1538630"/>
              <a:gd name="csX357" fmla="*/ 1406023 w 1609516"/>
              <a:gd name="csY357" fmla="*/ 810928 h 1538630"/>
              <a:gd name="csX358" fmla="*/ 1403383 w 1609516"/>
              <a:gd name="csY358" fmla="*/ 811311 h 1538630"/>
              <a:gd name="csX359" fmla="*/ 1345442 w 1609516"/>
              <a:gd name="csY359" fmla="*/ 828907 h 1538630"/>
              <a:gd name="csX360" fmla="*/ 1337875 w 1609516"/>
              <a:gd name="csY360" fmla="*/ 856639 h 1538630"/>
              <a:gd name="csX361" fmla="*/ 1337692 w 1609516"/>
              <a:gd name="csY361" fmla="*/ 860171 h 1538630"/>
              <a:gd name="csX362" fmla="*/ 1337290 w 1609516"/>
              <a:gd name="csY362" fmla="*/ 868706 h 1538630"/>
              <a:gd name="csX363" fmla="*/ 1334165 w 1609516"/>
              <a:gd name="csY363" fmla="*/ 868706 h 1538630"/>
              <a:gd name="csX364" fmla="*/ 1334165 w 1609516"/>
              <a:gd name="csY364" fmla="*/ 870034 h 1538630"/>
              <a:gd name="csX365" fmla="*/ 1334237 w 1609516"/>
              <a:gd name="csY365" fmla="*/ 869093 h 1538630"/>
              <a:gd name="csX366" fmla="*/ 1335800 w 1609516"/>
              <a:gd name="csY366" fmla="*/ 869093 h 1538630"/>
              <a:gd name="csX367" fmla="*/ 1335995 w 1609516"/>
              <a:gd name="csY367" fmla="*/ 876491 h 1538630"/>
              <a:gd name="csX368" fmla="*/ 1336105 w 1609516"/>
              <a:gd name="csY368" fmla="*/ 880653 h 1538630"/>
              <a:gd name="csX369" fmla="*/ 1334294 w 1609516"/>
              <a:gd name="csY369" fmla="*/ 887271 h 1538630"/>
              <a:gd name="csX370" fmla="*/ 1331455 w 1609516"/>
              <a:gd name="csY370" fmla="*/ 896440 h 1538630"/>
              <a:gd name="csX371" fmla="*/ 1330887 w 1609516"/>
              <a:gd name="csY371" fmla="*/ 899969 h 1538630"/>
              <a:gd name="csX372" fmla="*/ 1330332 w 1609516"/>
              <a:gd name="csY372" fmla="*/ 903618 h 1538630"/>
              <a:gd name="csX373" fmla="*/ 1329209 w 1609516"/>
              <a:gd name="csY373" fmla="*/ 910797 h 1538630"/>
              <a:gd name="csX374" fmla="*/ 1328724 w 1609516"/>
              <a:gd name="csY374" fmla="*/ 913998 h 1538630"/>
              <a:gd name="csX375" fmla="*/ 1324865 w 1609516"/>
              <a:gd name="csY375" fmla="*/ 922643 h 1538630"/>
              <a:gd name="csX376" fmla="*/ 1322619 w 1609516"/>
              <a:gd name="csY376" fmla="*/ 937979 h 1538630"/>
              <a:gd name="csX377" fmla="*/ 1318744 w 1609516"/>
              <a:gd name="csY377" fmla="*/ 944961 h 1538630"/>
              <a:gd name="csX378" fmla="*/ 1318544 w 1609516"/>
              <a:gd name="csY378" fmla="*/ 946213 h 1538630"/>
              <a:gd name="csX379" fmla="*/ 1318251 w 1609516"/>
              <a:gd name="csY379" fmla="*/ 955285 h 1538630"/>
              <a:gd name="csX380" fmla="*/ 1318184 w 1609516"/>
              <a:gd name="csY380" fmla="*/ 960036 h 1538630"/>
              <a:gd name="csX381" fmla="*/ 1324024 w 1609516"/>
              <a:gd name="csY381" fmla="*/ 973660 h 1538630"/>
              <a:gd name="csX382" fmla="*/ 1329284 w 1609516"/>
              <a:gd name="csY382" fmla="*/ 983382 h 1538630"/>
              <a:gd name="csX383" fmla="*/ 1340414 w 1609516"/>
              <a:gd name="csY383" fmla="*/ 998354 h 1538630"/>
              <a:gd name="csX384" fmla="*/ 1346272 w 1609516"/>
              <a:gd name="csY384" fmla="*/ 1005048 h 1538630"/>
              <a:gd name="csX385" fmla="*/ 1394716 w 1609516"/>
              <a:gd name="csY385" fmla="*/ 1042740 h 1538630"/>
              <a:gd name="csX386" fmla="*/ 1401953 w 1609516"/>
              <a:gd name="csY386" fmla="*/ 1047374 h 1538630"/>
              <a:gd name="csX387" fmla="*/ 1427197 w 1609516"/>
              <a:gd name="csY387" fmla="*/ 1059061 h 1538630"/>
              <a:gd name="csX388" fmla="*/ 1437265 w 1609516"/>
              <a:gd name="csY388" fmla="*/ 1064588 h 1538630"/>
              <a:gd name="csX389" fmla="*/ 1437265 w 1609516"/>
              <a:gd name="csY389" fmla="*/ 1067406 h 1538630"/>
              <a:gd name="csX390" fmla="*/ 1440878 w 1609516"/>
              <a:gd name="csY390" fmla="*/ 1067847 h 1538630"/>
              <a:gd name="csX391" fmla="*/ 1447175 w 1609516"/>
              <a:gd name="csY391" fmla="*/ 1070753 h 1538630"/>
              <a:gd name="csX392" fmla="*/ 1457866 w 1609516"/>
              <a:gd name="csY392" fmla="*/ 1076830 h 1538630"/>
              <a:gd name="csX393" fmla="*/ 1462132 w 1609516"/>
              <a:gd name="csY393" fmla="*/ 1078696 h 1538630"/>
              <a:gd name="csX394" fmla="*/ 1465383 w 1609516"/>
              <a:gd name="csY394" fmla="*/ 1080089 h 1538630"/>
              <a:gd name="csX395" fmla="*/ 1465383 w 1609516"/>
              <a:gd name="csY395" fmla="*/ 1082908 h 1538630"/>
              <a:gd name="csX396" fmla="*/ 1468758 w 1609516"/>
              <a:gd name="csY396" fmla="*/ 1083975 h 1538630"/>
              <a:gd name="csX397" fmla="*/ 1481688 w 1609516"/>
              <a:gd name="csY397" fmla="*/ 1091187 h 1538630"/>
              <a:gd name="csX398" fmla="*/ 1486283 w 1609516"/>
              <a:gd name="csY398" fmla="*/ 1094236 h 1538630"/>
              <a:gd name="csX399" fmla="*/ 1494869 w 1609516"/>
              <a:gd name="csY399" fmla="*/ 1100171 h 1538630"/>
              <a:gd name="csX400" fmla="*/ 1544335 w 1609516"/>
              <a:gd name="csY400" fmla="*/ 1109518 h 1538630"/>
              <a:gd name="csX401" fmla="*/ 1593477 w 1609516"/>
              <a:gd name="csY401" fmla="*/ 1119900 h 1538630"/>
              <a:gd name="csX402" fmla="*/ 1605975 w 1609516"/>
              <a:gd name="csY402" fmla="*/ 1144913 h 1538630"/>
              <a:gd name="csX403" fmla="*/ 1609099 w 1609516"/>
              <a:gd name="csY403" fmla="*/ 1144913 h 1538630"/>
              <a:gd name="csX404" fmla="*/ 1609392 w 1609516"/>
              <a:gd name="csY404" fmla="*/ 1156892 h 1538630"/>
              <a:gd name="csX405" fmla="*/ 1609511 w 1609516"/>
              <a:gd name="csY405" fmla="*/ 1160272 h 1538630"/>
              <a:gd name="csX406" fmla="*/ 1604412 w 1609516"/>
              <a:gd name="csY406" fmla="*/ 1181553 h 1538630"/>
              <a:gd name="csX407" fmla="*/ 1601288 w 1609516"/>
              <a:gd name="csY407" fmla="*/ 1190009 h 1538630"/>
              <a:gd name="csX408" fmla="*/ 1598164 w 1609516"/>
              <a:gd name="csY408" fmla="*/ 1190009 h 1538630"/>
              <a:gd name="csX409" fmla="*/ 1597187 w 1609516"/>
              <a:gd name="csY409" fmla="*/ 1192739 h 1538630"/>
              <a:gd name="csX410" fmla="*/ 1595040 w 1609516"/>
              <a:gd name="csY410" fmla="*/ 1195645 h 1538630"/>
              <a:gd name="csX411" fmla="*/ 1585667 w 1609516"/>
              <a:gd name="csY411" fmla="*/ 1197055 h 1538630"/>
              <a:gd name="csX412" fmla="*/ 1582543 w 1609516"/>
              <a:gd name="csY412" fmla="*/ 1202691 h 1538630"/>
              <a:gd name="csX413" fmla="*/ 1562431 w 1609516"/>
              <a:gd name="csY413" fmla="*/ 1204365 h 1538630"/>
              <a:gd name="csX414" fmla="*/ 1558690 w 1609516"/>
              <a:gd name="csY414" fmla="*/ 1204417 h 1538630"/>
              <a:gd name="csX415" fmla="*/ 1521102 w 1609516"/>
              <a:gd name="csY415" fmla="*/ 1189585 h 1538630"/>
              <a:gd name="csX416" fmla="*/ 1505022 w 1609516"/>
              <a:gd name="csY416" fmla="*/ 1172041 h 1538630"/>
              <a:gd name="csX417" fmla="*/ 1457573 w 1609516"/>
              <a:gd name="csY417" fmla="*/ 1140686 h 1538630"/>
              <a:gd name="csX418" fmla="*/ 1457573 w 1609516"/>
              <a:gd name="csY418" fmla="*/ 1137867 h 1538630"/>
              <a:gd name="csX419" fmla="*/ 1452985 w 1609516"/>
              <a:gd name="csY419" fmla="*/ 1137339 h 1538630"/>
              <a:gd name="csX420" fmla="*/ 1448200 w 1609516"/>
              <a:gd name="csY420" fmla="*/ 1136458 h 1538630"/>
              <a:gd name="csX421" fmla="*/ 1446638 w 1609516"/>
              <a:gd name="csY421" fmla="*/ 1133640 h 1538630"/>
              <a:gd name="csX422" fmla="*/ 1438937 w 1609516"/>
              <a:gd name="csY422" fmla="*/ 1130601 h 1538630"/>
              <a:gd name="csX423" fmla="*/ 1429260 w 1609516"/>
              <a:gd name="csY423" fmla="*/ 1126770 h 1538630"/>
              <a:gd name="csX424" fmla="*/ 1411393 w 1609516"/>
              <a:gd name="csY424" fmla="*/ 1120340 h 1538630"/>
              <a:gd name="csX425" fmla="*/ 1391427 w 1609516"/>
              <a:gd name="csY425" fmla="*/ 1111191 h 1538630"/>
              <a:gd name="csX426" fmla="*/ 1381029 w 1609516"/>
              <a:gd name="csY426" fmla="*/ 1106865 h 1538630"/>
              <a:gd name="csX427" fmla="*/ 1381029 w 1609516"/>
              <a:gd name="csY427" fmla="*/ 1104046 h 1538630"/>
              <a:gd name="csX428" fmla="*/ 1377221 w 1609516"/>
              <a:gd name="csY428" fmla="*/ 1103605 h 1538630"/>
              <a:gd name="csX429" fmla="*/ 1357597 w 1609516"/>
              <a:gd name="csY429" fmla="*/ 1098409 h 1538630"/>
              <a:gd name="csX430" fmla="*/ 1352032 w 1609516"/>
              <a:gd name="csY430" fmla="*/ 1096736 h 1538630"/>
              <a:gd name="csX431" fmla="*/ 1348225 w 1609516"/>
              <a:gd name="csY431" fmla="*/ 1095590 h 1538630"/>
              <a:gd name="csX432" fmla="*/ 1348225 w 1609516"/>
              <a:gd name="csY432" fmla="*/ 1092772 h 1538630"/>
              <a:gd name="csX433" fmla="*/ 1337290 w 1609516"/>
              <a:gd name="csY433" fmla="*/ 1091363 h 1538630"/>
              <a:gd name="csX434" fmla="*/ 1337290 w 1609516"/>
              <a:gd name="csY434" fmla="*/ 1088544 h 1538630"/>
              <a:gd name="csX435" fmla="*/ 1331529 w 1609516"/>
              <a:gd name="csY435" fmla="*/ 1088104 h 1538630"/>
              <a:gd name="csX436" fmla="*/ 1323297 w 1609516"/>
              <a:gd name="csY436" fmla="*/ 1086611 h 1538630"/>
              <a:gd name="csX437" fmla="*/ 1323297 w 1609516"/>
              <a:gd name="csY437" fmla="*/ 1087618 h 1538630"/>
              <a:gd name="csX438" fmla="*/ 1319789 w 1609516"/>
              <a:gd name="csY438" fmla="*/ 1087310 h 1538630"/>
              <a:gd name="csX439" fmla="*/ 1262375 w 1609516"/>
              <a:gd name="csY439" fmla="*/ 1089028 h 1538630"/>
              <a:gd name="csX440" fmla="*/ 1258728 w 1609516"/>
              <a:gd name="csY440" fmla="*/ 1088205 h 1538630"/>
              <a:gd name="csX441" fmla="*/ 1246964 w 1609516"/>
              <a:gd name="csY441" fmla="*/ 1091489 h 1538630"/>
              <a:gd name="csX442" fmla="*/ 1223224 w 1609516"/>
              <a:gd name="csY442" fmla="*/ 1112865 h 1538630"/>
              <a:gd name="csX443" fmla="*/ 1213883 w 1609516"/>
              <a:gd name="csY443" fmla="*/ 1122366 h 1538630"/>
              <a:gd name="csX444" fmla="*/ 1212505 w 1609516"/>
              <a:gd name="csY444" fmla="*/ 1125708 h 1538630"/>
              <a:gd name="csX445" fmla="*/ 1204180 w 1609516"/>
              <a:gd name="csY445" fmla="*/ 1135561 h 1538630"/>
              <a:gd name="csX446" fmla="*/ 1200238 w 1609516"/>
              <a:gd name="csY446" fmla="*/ 1138999 h 1538630"/>
              <a:gd name="csX447" fmla="*/ 1192025 w 1609516"/>
              <a:gd name="csY447" fmla="*/ 1146022 h 1538630"/>
              <a:gd name="csX448" fmla="*/ 1173945 w 1609516"/>
              <a:gd name="csY448" fmla="*/ 1174749 h 1538630"/>
              <a:gd name="csX449" fmla="*/ 1173950 w 1609516"/>
              <a:gd name="csY449" fmla="*/ 1182610 h 1538630"/>
              <a:gd name="csX450" fmla="*/ 1173989 w 1609516"/>
              <a:gd name="csY450" fmla="*/ 1186765 h 1538630"/>
              <a:gd name="csX451" fmla="*/ 1182640 w 1609516"/>
              <a:gd name="csY451" fmla="*/ 1215374 h 1538630"/>
              <a:gd name="csX452" fmla="*/ 1185764 w 1609516"/>
              <a:gd name="csY452" fmla="*/ 1221804 h 1538630"/>
              <a:gd name="csX453" fmla="*/ 1187301 w 1609516"/>
              <a:gd name="csY453" fmla="*/ 1224859 h 1538630"/>
              <a:gd name="csX454" fmla="*/ 1190573 w 1609516"/>
              <a:gd name="csY454" fmla="*/ 1231740 h 1538630"/>
              <a:gd name="csX455" fmla="*/ 1205925 w 1609516"/>
              <a:gd name="csY455" fmla="*/ 1255163 h 1538630"/>
              <a:gd name="csX456" fmla="*/ 1212174 w 1609516"/>
              <a:gd name="csY456" fmla="*/ 1263134 h 1538630"/>
              <a:gd name="csX457" fmla="*/ 1235556 w 1609516"/>
              <a:gd name="csY457" fmla="*/ 1282538 h 1538630"/>
              <a:gd name="csX458" fmla="*/ 1238876 w 1609516"/>
              <a:gd name="csY458" fmla="*/ 1284426 h 1538630"/>
              <a:gd name="csX459" fmla="*/ 1238876 w 1609516"/>
              <a:gd name="csY459" fmla="*/ 1287245 h 1538630"/>
              <a:gd name="csX460" fmla="*/ 1242245 w 1609516"/>
              <a:gd name="csY460" fmla="*/ 1287663 h 1538630"/>
              <a:gd name="csX461" fmla="*/ 1271681 w 1609516"/>
              <a:gd name="csY461" fmla="*/ 1305565 h 1538630"/>
              <a:gd name="csX462" fmla="*/ 1271742 w 1609516"/>
              <a:gd name="csY462" fmla="*/ 1306172 h 1538630"/>
              <a:gd name="csX463" fmla="*/ 1278525 w 1609516"/>
              <a:gd name="csY463" fmla="*/ 1315767 h 1538630"/>
              <a:gd name="csX464" fmla="*/ 1281097 w 1609516"/>
              <a:gd name="csY464" fmla="*/ 1327286 h 1538630"/>
              <a:gd name="csX465" fmla="*/ 1277973 w 1609516"/>
              <a:gd name="csY465" fmla="*/ 1355470 h 1538630"/>
              <a:gd name="csX466" fmla="*/ 1277460 w 1609516"/>
              <a:gd name="csY466" fmla="*/ 1347025 h 1538630"/>
              <a:gd name="csX467" fmla="*/ 1273531 w 1609516"/>
              <a:gd name="csY467" fmla="*/ 1357991 h 1538630"/>
              <a:gd name="csX468" fmla="*/ 1263870 w 1609516"/>
              <a:gd name="csY468" fmla="*/ 1368980 h 1538630"/>
              <a:gd name="csX469" fmla="*/ 1246686 w 1609516"/>
              <a:gd name="csY469" fmla="*/ 1376026 h 1538630"/>
              <a:gd name="csX470" fmla="*/ 1246686 w 1609516"/>
              <a:gd name="csY470" fmla="*/ 1378844 h 1538630"/>
              <a:gd name="csX471" fmla="*/ 1231651 w 1609516"/>
              <a:gd name="csY471" fmla="*/ 1379196 h 1538630"/>
              <a:gd name="csX472" fmla="*/ 1227373 w 1609516"/>
              <a:gd name="csY472" fmla="*/ 1379340 h 1538630"/>
              <a:gd name="csX473" fmla="*/ 1206071 w 1609516"/>
              <a:gd name="csY473" fmla="*/ 1373207 h 1538630"/>
              <a:gd name="csX474" fmla="*/ 1202069 w 1609516"/>
              <a:gd name="csY474" fmla="*/ 1371798 h 1538630"/>
              <a:gd name="csX475" fmla="*/ 1184104 w 1609516"/>
              <a:gd name="csY475" fmla="*/ 1356176 h 1538630"/>
              <a:gd name="csX476" fmla="*/ 1177270 w 1609516"/>
              <a:gd name="csY476" fmla="*/ 1335247 h 1538630"/>
              <a:gd name="csX477" fmla="*/ 1169002 w 1609516"/>
              <a:gd name="csY477" fmla="*/ 1313464 h 1538630"/>
              <a:gd name="csX478" fmla="*/ 1163504 w 1609516"/>
              <a:gd name="csY478" fmla="*/ 1302130 h 1538630"/>
              <a:gd name="csX479" fmla="*/ 1162015 w 1609516"/>
              <a:gd name="csY479" fmla="*/ 1298788 h 1538630"/>
              <a:gd name="csX480" fmla="*/ 1160111 w 1609516"/>
              <a:gd name="csY480" fmla="*/ 1292656 h 1538630"/>
              <a:gd name="csX481" fmla="*/ 1154522 w 1609516"/>
              <a:gd name="csY481" fmla="*/ 1287245 h 1538630"/>
              <a:gd name="csX482" fmla="*/ 1151398 w 1609516"/>
              <a:gd name="csY482" fmla="*/ 1280199 h 1538630"/>
              <a:gd name="csX483" fmla="*/ 1144173 w 1609516"/>
              <a:gd name="csY483" fmla="*/ 1270774 h 1538630"/>
              <a:gd name="csX484" fmla="*/ 1142065 w 1609516"/>
              <a:gd name="csY484" fmla="*/ 1268160 h 1538630"/>
              <a:gd name="csX485" fmla="*/ 1135776 w 1609516"/>
              <a:gd name="csY485" fmla="*/ 1260470 h 1538630"/>
              <a:gd name="csX486" fmla="*/ 1132353 w 1609516"/>
              <a:gd name="csY486" fmla="*/ 1256247 h 1538630"/>
              <a:gd name="csX487" fmla="*/ 1112344 w 1609516"/>
              <a:gd name="csY487" fmla="*/ 1240741 h 1538630"/>
              <a:gd name="csX488" fmla="*/ 1106193 w 1609516"/>
              <a:gd name="csY488" fmla="*/ 1237570 h 1538630"/>
              <a:gd name="csX489" fmla="*/ 1101409 w 1609516"/>
              <a:gd name="csY489" fmla="*/ 1235104 h 1538630"/>
              <a:gd name="csX490" fmla="*/ 1101409 w 1609516"/>
              <a:gd name="csY490" fmla="*/ 1230876 h 1538630"/>
              <a:gd name="csX491" fmla="*/ 1065480 w 1609516"/>
              <a:gd name="csY491" fmla="*/ 1230876 h 1538630"/>
              <a:gd name="csX492" fmla="*/ 1063919 w 1609516"/>
              <a:gd name="csY492" fmla="*/ 1235104 h 1538630"/>
              <a:gd name="csX493" fmla="*/ 1059232 w 1609516"/>
              <a:gd name="csY493" fmla="*/ 1235104 h 1538630"/>
              <a:gd name="csX494" fmla="*/ 1059232 w 1609516"/>
              <a:gd name="csY494" fmla="*/ 1237922 h 1538630"/>
              <a:gd name="csX495" fmla="*/ 1040194 w 1609516"/>
              <a:gd name="csY495" fmla="*/ 1245761 h 1538630"/>
              <a:gd name="csX496" fmla="*/ 1030333 w 1609516"/>
              <a:gd name="csY496" fmla="*/ 1249901 h 1538630"/>
              <a:gd name="csX497" fmla="*/ 1013931 w 1609516"/>
              <a:gd name="csY497" fmla="*/ 1256242 h 1538630"/>
              <a:gd name="csX498" fmla="*/ 1005925 w 1609516"/>
              <a:gd name="csY498" fmla="*/ 1261615 h 1538630"/>
              <a:gd name="csX499" fmla="*/ 1004558 w 1609516"/>
              <a:gd name="csY499" fmla="*/ 1264697 h 1538630"/>
              <a:gd name="csX500" fmla="*/ 1002959 w 1609516"/>
              <a:gd name="csY500" fmla="*/ 1267961 h 1538630"/>
              <a:gd name="csX501" fmla="*/ 1000653 w 1609516"/>
              <a:gd name="csY501" fmla="*/ 1278965 h 1538630"/>
              <a:gd name="csX502" fmla="*/ 998297 w 1609516"/>
              <a:gd name="csY502" fmla="*/ 1294137 h 1538630"/>
              <a:gd name="csX503" fmla="*/ 996162 w 1609516"/>
              <a:gd name="csY503" fmla="*/ 1324765 h 1538630"/>
              <a:gd name="csX504" fmla="*/ 996164 w 1609516"/>
              <a:gd name="csY504" fmla="*/ 1327846 h 1538630"/>
              <a:gd name="csX505" fmla="*/ 1007780 w 1609516"/>
              <a:gd name="csY505" fmla="*/ 1403329 h 1538630"/>
              <a:gd name="csX506" fmla="*/ 1008940 w 1609516"/>
              <a:gd name="csY506" fmla="*/ 1407701 h 1538630"/>
              <a:gd name="csX507" fmla="*/ 1010080 w 1609516"/>
              <a:gd name="csY507" fmla="*/ 1411730 h 1538630"/>
              <a:gd name="csX508" fmla="*/ 1011075 w 1609516"/>
              <a:gd name="csY508" fmla="*/ 1415277 h 1538630"/>
              <a:gd name="csX509" fmla="*/ 1017055 w 1609516"/>
              <a:gd name="csY509" fmla="*/ 1422530 h 1538630"/>
              <a:gd name="csX510" fmla="*/ 1020277 w 1609516"/>
              <a:gd name="csY510" fmla="*/ 1427991 h 1538630"/>
              <a:gd name="csX511" fmla="*/ 1021796 w 1609516"/>
              <a:gd name="csY511" fmla="*/ 1430798 h 1538630"/>
              <a:gd name="csX512" fmla="*/ 1024579 w 1609516"/>
              <a:gd name="csY512" fmla="*/ 1437239 h 1538630"/>
              <a:gd name="csX513" fmla="*/ 1034043 w 1609516"/>
              <a:gd name="csY513" fmla="*/ 1448072 h 1538630"/>
              <a:gd name="csX514" fmla="*/ 1043782 w 1609516"/>
              <a:gd name="csY514" fmla="*/ 1464320 h 1538630"/>
              <a:gd name="csX515" fmla="*/ 1050458 w 1609516"/>
              <a:gd name="csY515" fmla="*/ 1472189 h 1538630"/>
              <a:gd name="csX516" fmla="*/ 1052926 w 1609516"/>
              <a:gd name="csY516" fmla="*/ 1482370 h 1538630"/>
              <a:gd name="csX517" fmla="*/ 1053316 w 1609516"/>
              <a:gd name="csY517" fmla="*/ 1496903 h 1538630"/>
              <a:gd name="csX518" fmla="*/ 1053352 w 1609516"/>
              <a:gd name="csY518" fmla="*/ 1500660 h 1538630"/>
              <a:gd name="csX519" fmla="*/ 1053341 w 1609516"/>
              <a:gd name="csY519" fmla="*/ 1504285 h 1538630"/>
              <a:gd name="csX520" fmla="*/ 1053329 w 1609516"/>
              <a:gd name="csY520" fmla="*/ 1507529 h 1538630"/>
              <a:gd name="csX521" fmla="*/ 1049801 w 1609516"/>
              <a:gd name="csY521" fmla="*/ 1516192 h 1538630"/>
              <a:gd name="csX522" fmla="*/ 1047312 w 1609516"/>
              <a:gd name="csY522" fmla="*/ 1516192 h 1538630"/>
              <a:gd name="csX523" fmla="*/ 1043611 w 1609516"/>
              <a:gd name="csY523" fmla="*/ 1522585 h 1538630"/>
              <a:gd name="csX524" fmla="*/ 1029552 w 1609516"/>
              <a:gd name="csY524" fmla="*/ 1529631 h 1538630"/>
              <a:gd name="csX525" fmla="*/ 1028771 w 1609516"/>
              <a:gd name="csY525" fmla="*/ 1532273 h 1538630"/>
              <a:gd name="csX526" fmla="*/ 1018013 w 1609516"/>
              <a:gd name="csY526" fmla="*/ 1537640 h 1538630"/>
              <a:gd name="csX527" fmla="*/ 981126 w 1609516"/>
              <a:gd name="csY527" fmla="*/ 1533859 h 1538630"/>
              <a:gd name="csX528" fmla="*/ 977227 w 1609516"/>
              <a:gd name="csY528" fmla="*/ 1531943 h 1538630"/>
              <a:gd name="csX529" fmla="*/ 955376 w 1609516"/>
              <a:gd name="csY529" fmla="*/ 1508751 h 1538630"/>
              <a:gd name="csX530" fmla="*/ 954571 w 1609516"/>
              <a:gd name="csY530" fmla="*/ 1500037 h 1538630"/>
              <a:gd name="csX531" fmla="*/ 951446 w 1609516"/>
              <a:gd name="csY531" fmla="*/ 1500037 h 1538630"/>
              <a:gd name="csX532" fmla="*/ 951251 w 1609516"/>
              <a:gd name="csY532" fmla="*/ 1487883 h 1538630"/>
              <a:gd name="csX533" fmla="*/ 951171 w 1609516"/>
              <a:gd name="csY533" fmla="*/ 1484431 h 1538630"/>
              <a:gd name="csX534" fmla="*/ 954571 w 1609516"/>
              <a:gd name="csY534" fmla="*/ 1466216 h 1538630"/>
              <a:gd name="csX535" fmla="*/ 954961 w 1609516"/>
              <a:gd name="csY535" fmla="*/ 1455118 h 1538630"/>
              <a:gd name="csX536" fmla="*/ 954932 w 1609516"/>
              <a:gd name="csY536" fmla="*/ 1451972 h 1538630"/>
              <a:gd name="csX537" fmla="*/ 945099 w 1609516"/>
              <a:gd name="csY537" fmla="*/ 1403594 h 1538630"/>
              <a:gd name="csX538" fmla="*/ 942366 w 1609516"/>
              <a:gd name="csY538" fmla="*/ 1393553 h 1538630"/>
              <a:gd name="csX539" fmla="*/ 934451 w 1609516"/>
              <a:gd name="csY539" fmla="*/ 1372734 h 1538630"/>
              <a:gd name="csX540" fmla="*/ 931974 w 1609516"/>
              <a:gd name="csY540" fmla="*/ 1365754 h 1538630"/>
              <a:gd name="csX541" fmla="*/ 931138 w 1609516"/>
              <a:gd name="csY541" fmla="*/ 1363343 h 1538630"/>
              <a:gd name="csX542" fmla="*/ 926452 w 1609516"/>
              <a:gd name="csY542" fmla="*/ 1361933 h 1538630"/>
              <a:gd name="csX543" fmla="*/ 918641 w 1609516"/>
              <a:gd name="csY543" fmla="*/ 1340795 h 1538630"/>
              <a:gd name="csX544" fmla="*/ 917079 w 1609516"/>
              <a:gd name="csY544" fmla="*/ 1335158 h 1538630"/>
              <a:gd name="csX545" fmla="*/ 913955 w 1609516"/>
              <a:gd name="csY545" fmla="*/ 1335158 h 1538630"/>
              <a:gd name="csX546" fmla="*/ 912057 w 1609516"/>
              <a:gd name="csY546" fmla="*/ 1330793 h 1538630"/>
              <a:gd name="csX547" fmla="*/ 902142 w 1609516"/>
              <a:gd name="csY547" fmla="*/ 1316222 h 1538630"/>
              <a:gd name="csX548" fmla="*/ 900091 w 1609516"/>
              <a:gd name="csY548" fmla="*/ 1313828 h 1538630"/>
              <a:gd name="csX549" fmla="*/ 878026 w 1609516"/>
              <a:gd name="csY549" fmla="*/ 1295700 h 1538630"/>
              <a:gd name="csX550" fmla="*/ 875134 w 1609516"/>
              <a:gd name="csY550" fmla="*/ 1293465 h 1538630"/>
              <a:gd name="csX551" fmla="*/ 869869 w 1609516"/>
              <a:gd name="csY551" fmla="*/ 1291826 h 1538630"/>
              <a:gd name="csX552" fmla="*/ 862384 w 1609516"/>
              <a:gd name="csY552" fmla="*/ 1291327 h 1538630"/>
              <a:gd name="csX553" fmla="*/ 844390 w 1609516"/>
              <a:gd name="csY553" fmla="*/ 1290461 h 1538630"/>
              <a:gd name="csX554" fmla="*/ 840476 w 1609516"/>
              <a:gd name="csY554" fmla="*/ 1290500 h 1538630"/>
              <a:gd name="csX555" fmla="*/ 831015 w 1609516"/>
              <a:gd name="csY555" fmla="*/ 1290637 h 1538630"/>
              <a:gd name="csX556" fmla="*/ 831015 w 1609516"/>
              <a:gd name="csY556" fmla="*/ 1293456 h 1538630"/>
              <a:gd name="csX557" fmla="*/ 818225 w 1609516"/>
              <a:gd name="csY557" fmla="*/ 1295570 h 1538630"/>
              <a:gd name="csX558" fmla="*/ 796774 w 1609516"/>
              <a:gd name="csY558" fmla="*/ 1297671 h 1538630"/>
              <a:gd name="csX559" fmla="*/ 783646 w 1609516"/>
              <a:gd name="csY559" fmla="*/ 1305736 h 1538630"/>
              <a:gd name="csX560" fmla="*/ 769263 w 1609516"/>
              <a:gd name="csY560" fmla="*/ 1327143 h 1538630"/>
              <a:gd name="csX561" fmla="*/ 764797 w 1609516"/>
              <a:gd name="csY561" fmla="*/ 1334360 h 1538630"/>
              <a:gd name="csX562" fmla="*/ 757875 w 1609516"/>
              <a:gd name="csY562" fmla="*/ 1353503 h 1538630"/>
              <a:gd name="csX563" fmla="*/ 755676 w 1609516"/>
              <a:gd name="csY563" fmla="*/ 1367455 h 1538630"/>
              <a:gd name="csX564" fmla="*/ 750558 w 1609516"/>
              <a:gd name="csY564" fmla="*/ 1399690 h 1538630"/>
              <a:gd name="csX565" fmla="*/ 753057 w 1609516"/>
              <a:gd name="csY565" fmla="*/ 1411256 h 1538630"/>
              <a:gd name="csX566" fmla="*/ 753057 w 1609516"/>
              <a:gd name="csY566" fmla="*/ 1416893 h 1538630"/>
              <a:gd name="csX567" fmla="*/ 756181 w 1609516"/>
              <a:gd name="csY567" fmla="*/ 1416893 h 1538630"/>
              <a:gd name="csX568" fmla="*/ 758133 w 1609516"/>
              <a:gd name="csY568" fmla="*/ 1436182 h 1538630"/>
              <a:gd name="csX569" fmla="*/ 758231 w 1609516"/>
              <a:gd name="csY569" fmla="*/ 1440781 h 1538630"/>
              <a:gd name="csX570" fmla="*/ 750713 w 1609516"/>
              <a:gd name="csY570" fmla="*/ 1465704 h 1538630"/>
              <a:gd name="csX571" fmla="*/ 748370 w 1609516"/>
              <a:gd name="csY571" fmla="*/ 1467185 h 1538630"/>
              <a:gd name="csX572" fmla="*/ 741633 w 1609516"/>
              <a:gd name="csY572" fmla="*/ 1473526 h 1538630"/>
              <a:gd name="csX573" fmla="*/ 728154 w 1609516"/>
              <a:gd name="csY573" fmla="*/ 1478343 h 1538630"/>
              <a:gd name="csX574" fmla="*/ 721814 w 1609516"/>
              <a:gd name="csY574" fmla="*/ 1480308 h 1538630"/>
              <a:gd name="csX575" fmla="*/ 708341 w 1609516"/>
              <a:gd name="csY575" fmla="*/ 1480661 h 1538630"/>
              <a:gd name="csX576" fmla="*/ 704637 w 1609516"/>
              <a:gd name="csY576" fmla="*/ 1480748 h 1538630"/>
              <a:gd name="csX577" fmla="*/ 668507 w 1609516"/>
              <a:gd name="csY577" fmla="*/ 1468418 h 1538630"/>
              <a:gd name="csX578" fmla="*/ 660178 w 1609516"/>
              <a:gd name="csY578" fmla="*/ 1450027 h 1538630"/>
              <a:gd name="csX579" fmla="*/ 657767 w 1609516"/>
              <a:gd name="csY579" fmla="*/ 1445078 h 1538630"/>
              <a:gd name="csX580" fmla="*/ 663369 w 1609516"/>
              <a:gd name="csY580" fmla="*/ 1409390 h 1538630"/>
              <a:gd name="csX581" fmla="*/ 671826 w 1609516"/>
              <a:gd name="csY581" fmla="*/ 1401392 h 1538630"/>
              <a:gd name="csX582" fmla="*/ 678075 w 1609516"/>
              <a:gd name="csY582" fmla="*/ 1390118 h 1538630"/>
              <a:gd name="csX583" fmla="*/ 684323 w 1609516"/>
              <a:gd name="csY583" fmla="*/ 1388709 h 1538630"/>
              <a:gd name="csX584" fmla="*/ 685293 w 1609516"/>
              <a:gd name="csY584" fmla="*/ 1384233 h 1538630"/>
              <a:gd name="csX585" fmla="*/ 686569 w 1609516"/>
              <a:gd name="csY585" fmla="*/ 1378404 h 1538630"/>
              <a:gd name="csX586" fmla="*/ 687207 w 1609516"/>
              <a:gd name="csY586" fmla="*/ 1375456 h 1538630"/>
              <a:gd name="csX587" fmla="*/ 690572 w 1609516"/>
              <a:gd name="csY587" fmla="*/ 1363343 h 1538630"/>
              <a:gd name="csX588" fmla="*/ 692495 w 1609516"/>
              <a:gd name="csY588" fmla="*/ 1323376 h 1538630"/>
              <a:gd name="csX589" fmla="*/ 692625 w 1609516"/>
              <a:gd name="csY589" fmla="*/ 1315006 h 1538630"/>
              <a:gd name="csX590" fmla="*/ 687447 w 1609516"/>
              <a:gd name="csY590" fmla="*/ 1287245 h 1538630"/>
              <a:gd name="csX591" fmla="*/ 682761 w 1609516"/>
              <a:gd name="csY591" fmla="*/ 1285835 h 1538630"/>
              <a:gd name="csX592" fmla="*/ 678954 w 1609516"/>
              <a:gd name="csY592" fmla="*/ 1281608 h 1538630"/>
              <a:gd name="csX593" fmla="*/ 668702 w 1609516"/>
              <a:gd name="csY593" fmla="*/ 1275971 h 1538630"/>
              <a:gd name="csX594" fmla="*/ 662454 w 1609516"/>
              <a:gd name="csY594" fmla="*/ 1270334 h 1538630"/>
              <a:gd name="csX595" fmla="*/ 654643 w 1609516"/>
              <a:gd name="csY595" fmla="*/ 1267516 h 1538630"/>
              <a:gd name="csX596" fmla="*/ 654643 w 1609516"/>
              <a:gd name="csY596" fmla="*/ 1264697 h 1538630"/>
              <a:gd name="csX597" fmla="*/ 650152 w 1609516"/>
              <a:gd name="csY597" fmla="*/ 1264345 h 1538630"/>
              <a:gd name="csX598" fmla="*/ 628087 w 1609516"/>
              <a:gd name="csY598" fmla="*/ 1257651 h 1538630"/>
              <a:gd name="csX599" fmla="*/ 628087 w 1609516"/>
              <a:gd name="csY599" fmla="*/ 1254833 h 1538630"/>
              <a:gd name="csX600" fmla="*/ 625121 w 1609516"/>
              <a:gd name="csY600" fmla="*/ 1254315 h 1538630"/>
              <a:gd name="csX601" fmla="*/ 621252 w 1609516"/>
              <a:gd name="csY601" fmla="*/ 1253600 h 1538630"/>
              <a:gd name="csX602" fmla="*/ 617409 w 1609516"/>
              <a:gd name="csY602" fmla="*/ 1252906 h 1538630"/>
              <a:gd name="csX603" fmla="*/ 610904 w 1609516"/>
              <a:gd name="csY603" fmla="*/ 1249196 h 1538630"/>
              <a:gd name="csX604" fmla="*/ 565739 w 1609516"/>
              <a:gd name="csY604" fmla="*/ 1271742 h 1538630"/>
              <a:gd name="csX605" fmla="*/ 546924 w 1609516"/>
              <a:gd name="csY605" fmla="*/ 1290829 h 1538630"/>
              <a:gd name="csX606" fmla="*/ 543635 w 1609516"/>
              <a:gd name="csY606" fmla="*/ 1294643 h 1538630"/>
              <a:gd name="csX607" fmla="*/ 540651 w 1609516"/>
              <a:gd name="csY607" fmla="*/ 1298188 h 1538630"/>
              <a:gd name="csX608" fmla="*/ 529673 w 1609516"/>
              <a:gd name="csY608" fmla="*/ 1305565 h 1538630"/>
              <a:gd name="csX609" fmla="*/ 526549 w 1609516"/>
              <a:gd name="csY609" fmla="*/ 1311202 h 1538630"/>
              <a:gd name="csX610" fmla="*/ 523425 w 1609516"/>
              <a:gd name="csY610" fmla="*/ 1311202 h 1538630"/>
              <a:gd name="csX611" fmla="*/ 523230 w 1609516"/>
              <a:gd name="csY611" fmla="*/ 1313580 h 1538630"/>
              <a:gd name="csX612" fmla="*/ 517732 w 1609516"/>
              <a:gd name="csY612" fmla="*/ 1319739 h 1538630"/>
              <a:gd name="csX613" fmla="*/ 502239 w 1609516"/>
              <a:gd name="csY613" fmla="*/ 1337096 h 1538630"/>
              <a:gd name="csX614" fmla="*/ 497058 w 1609516"/>
              <a:gd name="csY614" fmla="*/ 1344087 h 1538630"/>
              <a:gd name="csX615" fmla="*/ 494572 w 1609516"/>
              <a:gd name="csY615" fmla="*/ 1347465 h 1538630"/>
              <a:gd name="csX616" fmla="*/ 487776 w 1609516"/>
              <a:gd name="csY616" fmla="*/ 1356181 h 1538630"/>
              <a:gd name="csX617" fmla="*/ 481248 w 1609516"/>
              <a:gd name="csY617" fmla="*/ 1367571 h 1538630"/>
              <a:gd name="csX618" fmla="*/ 478123 w 1609516"/>
              <a:gd name="csY618" fmla="*/ 1367571 h 1538630"/>
              <a:gd name="csX619" fmla="*/ 477635 w 1609516"/>
              <a:gd name="csY619" fmla="*/ 1370565 h 1538630"/>
              <a:gd name="csX620" fmla="*/ 465626 w 1609516"/>
              <a:gd name="csY620" fmla="*/ 1388709 h 1538630"/>
              <a:gd name="csX621" fmla="*/ 461233 w 1609516"/>
              <a:gd name="csY621" fmla="*/ 1397340 h 1538630"/>
              <a:gd name="csX622" fmla="*/ 455765 w 1609516"/>
              <a:gd name="csY622" fmla="*/ 1408086 h 1538630"/>
              <a:gd name="csX623" fmla="*/ 439070 w 1609516"/>
              <a:gd name="csY623" fmla="*/ 1477490 h 1538630"/>
              <a:gd name="csX624" fmla="*/ 434384 w 1609516"/>
              <a:gd name="csY624" fmla="*/ 1478899 h 1538630"/>
              <a:gd name="csX625" fmla="*/ 432431 w 1609516"/>
              <a:gd name="csY625" fmla="*/ 1481982 h 1538630"/>
              <a:gd name="csX626" fmla="*/ 418763 w 1609516"/>
              <a:gd name="csY626" fmla="*/ 1494401 h 1538630"/>
              <a:gd name="csX627" fmla="*/ 415639 w 1609516"/>
              <a:gd name="csY627" fmla="*/ 1494401 h 1538630"/>
              <a:gd name="csX628" fmla="*/ 415639 w 1609516"/>
              <a:gd name="csY628" fmla="*/ 1497219 h 1538630"/>
              <a:gd name="csX629" fmla="*/ 406265 w 1609516"/>
              <a:gd name="csY629" fmla="*/ 1498628 h 1538630"/>
              <a:gd name="csX630" fmla="*/ 406265 w 1609516"/>
              <a:gd name="csY630" fmla="*/ 1501447 h 1538630"/>
              <a:gd name="csX631" fmla="*/ 375023 w 1609516"/>
              <a:gd name="csY631" fmla="*/ 1501447 h 1538630"/>
              <a:gd name="csX632" fmla="*/ 375023 w 1609516"/>
              <a:gd name="csY632" fmla="*/ 1499438 h 1538630"/>
              <a:gd name="csX633" fmla="*/ 374964 w 1609516"/>
              <a:gd name="csY633" fmla="*/ 1499436 h 1538630"/>
              <a:gd name="csX634" fmla="*/ 373179 w 1609516"/>
              <a:gd name="csY634" fmla="*/ 1498628 h 1538630"/>
              <a:gd name="csX635" fmla="*/ 365650 w 1609516"/>
              <a:gd name="csY635" fmla="*/ 1498628 h 1538630"/>
              <a:gd name="csX636" fmla="*/ 363134 w 1609516"/>
              <a:gd name="csY636" fmla="*/ 1494087 h 1538630"/>
              <a:gd name="csX637" fmla="*/ 362171 w 1609516"/>
              <a:gd name="csY637" fmla="*/ 1493651 h 1538630"/>
              <a:gd name="csX638" fmla="*/ 360609 w 1609516"/>
              <a:gd name="csY638" fmla="*/ 1490833 h 1538630"/>
              <a:gd name="csX639" fmla="*/ 363733 w 1609516"/>
              <a:gd name="csY639" fmla="*/ 1490833 h 1538630"/>
              <a:gd name="csX640" fmla="*/ 363733 w 1609516"/>
              <a:gd name="csY640" fmla="*/ 1489980 h 1538630"/>
              <a:gd name="csX641" fmla="*/ 348467 w 1609516"/>
              <a:gd name="csY641" fmla="*/ 1481717 h 1538630"/>
              <a:gd name="csX642" fmla="*/ 343872 w 1609516"/>
              <a:gd name="csY642" fmla="*/ 1461078 h 1538630"/>
              <a:gd name="csX643" fmla="*/ 343656 w 1609516"/>
              <a:gd name="csY643" fmla="*/ 1463649 h 1538630"/>
              <a:gd name="csX644" fmla="*/ 343424 w 1609516"/>
              <a:gd name="csY644" fmla="*/ 1466842 h 1538630"/>
              <a:gd name="csX645" fmla="*/ 341861 w 1609516"/>
              <a:gd name="csY645" fmla="*/ 1466842 h 1538630"/>
              <a:gd name="csX646" fmla="*/ 354143 w 1609516"/>
              <a:gd name="csY646" fmla="*/ 1420549 h 1538630"/>
              <a:gd name="csX647" fmla="*/ 376229 w 1609516"/>
              <a:gd name="csY647" fmla="*/ 1403427 h 1538630"/>
              <a:gd name="csX648" fmla="*/ 379491 w 1609516"/>
              <a:gd name="csY648" fmla="*/ 1404408 h 1538630"/>
              <a:gd name="csX649" fmla="*/ 379710 w 1609516"/>
              <a:gd name="csY649" fmla="*/ 1404210 h 1538630"/>
              <a:gd name="csX650" fmla="*/ 380882 w 1609516"/>
              <a:gd name="csY650" fmla="*/ 1401568 h 1538630"/>
              <a:gd name="csX651" fmla="*/ 392207 w 1609516"/>
              <a:gd name="csY651" fmla="*/ 1392936 h 1538630"/>
              <a:gd name="csX652" fmla="*/ 399542 w 1609516"/>
              <a:gd name="csY652" fmla="*/ 1386774 h 1538630"/>
              <a:gd name="csX653" fmla="*/ 405485 w 1609516"/>
              <a:gd name="csY653" fmla="*/ 1378917 h 1538630"/>
              <a:gd name="csX654" fmla="*/ 412008 w 1609516"/>
              <a:gd name="csY654" fmla="*/ 1369481 h 1538630"/>
              <a:gd name="csX655" fmla="*/ 421130 w 1609516"/>
              <a:gd name="csY655" fmla="*/ 1357057 h 1538630"/>
              <a:gd name="csX656" fmla="*/ 424676 w 1609516"/>
              <a:gd name="csY656" fmla="*/ 1348443 h 1538630"/>
              <a:gd name="csX657" fmla="*/ 427275 w 1609516"/>
              <a:gd name="csY657" fmla="*/ 1348443 h 1538630"/>
              <a:gd name="csX658" fmla="*/ 428135 w 1609516"/>
              <a:gd name="csY658" fmla="*/ 1345727 h 1538630"/>
              <a:gd name="csX659" fmla="*/ 432822 w 1609516"/>
              <a:gd name="csY659" fmla="*/ 1335158 h 1538630"/>
              <a:gd name="csX660" fmla="*/ 435946 w 1609516"/>
              <a:gd name="csY660" fmla="*/ 1335158 h 1538630"/>
              <a:gd name="csX661" fmla="*/ 437704 w 1609516"/>
              <a:gd name="csY661" fmla="*/ 1329786 h 1538630"/>
              <a:gd name="csX662" fmla="*/ 447394 w 1609516"/>
              <a:gd name="csY662" fmla="*/ 1311196 h 1538630"/>
              <a:gd name="csX663" fmla="*/ 469287 w 1609516"/>
              <a:gd name="csY663" fmla="*/ 1265964 h 1538630"/>
              <a:gd name="csX664" fmla="*/ 478178 w 1609516"/>
              <a:gd name="csY664" fmla="*/ 1246787 h 1538630"/>
              <a:gd name="csX665" fmla="*/ 480179 w 1609516"/>
              <a:gd name="csY665" fmla="*/ 1225768 h 1538630"/>
              <a:gd name="csX666" fmla="*/ 480250 w 1609516"/>
              <a:gd name="csY666" fmla="*/ 1217149 h 1538630"/>
              <a:gd name="csX667" fmla="*/ 462972 w 1609516"/>
              <a:gd name="csY667" fmla="*/ 1174827 h 1538630"/>
              <a:gd name="csX668" fmla="*/ 457468 w 1609516"/>
              <a:gd name="csY668" fmla="*/ 1169949 h 1538630"/>
              <a:gd name="csX669" fmla="*/ 440657 w 1609516"/>
              <a:gd name="csY669" fmla="*/ 1152570 h 1538630"/>
              <a:gd name="csX670" fmla="*/ 403142 w 1609516"/>
              <a:gd name="csY670" fmla="*/ 1122366 h 1538630"/>
              <a:gd name="csX671" fmla="*/ 401579 w 1609516"/>
              <a:gd name="csY671" fmla="*/ 1119547 h 1538630"/>
              <a:gd name="csX672" fmla="*/ 364564 w 1609516"/>
              <a:gd name="csY672" fmla="*/ 1118209 h 1538630"/>
              <a:gd name="csX673" fmla="*/ 357822 w 1609516"/>
              <a:gd name="csY673" fmla="*/ 1122041 h 1538630"/>
              <a:gd name="csX674" fmla="*/ 348077 w 1609516"/>
              <a:gd name="csY674" fmla="*/ 1125273 h 1538630"/>
              <a:gd name="csX675" fmla="*/ 334408 w 1609516"/>
              <a:gd name="csY675" fmla="*/ 1132230 h 1538630"/>
              <a:gd name="csX676" fmla="*/ 327964 w 1609516"/>
              <a:gd name="csY676" fmla="*/ 1134080 h 1538630"/>
              <a:gd name="csX677" fmla="*/ 279734 w 1609516"/>
              <a:gd name="csY677" fmla="*/ 1166051 h 1538630"/>
              <a:gd name="csX678" fmla="*/ 276609 w 1609516"/>
              <a:gd name="csY678" fmla="*/ 1173098 h 1538630"/>
              <a:gd name="csX679" fmla="*/ 260988 w 1609516"/>
              <a:gd name="csY679" fmla="*/ 1188599 h 1538630"/>
              <a:gd name="csX680" fmla="*/ 257956 w 1609516"/>
              <a:gd name="csY680" fmla="*/ 1191132 h 1538630"/>
              <a:gd name="csX681" fmla="*/ 243805 w 1609516"/>
              <a:gd name="csY681" fmla="*/ 1196629 h 1538630"/>
              <a:gd name="csX682" fmla="*/ 243805 w 1609516"/>
              <a:gd name="csY682" fmla="*/ 1194236 h 1538630"/>
              <a:gd name="csX683" fmla="*/ 240288 w 1609516"/>
              <a:gd name="csY683" fmla="*/ 1194765 h 1538630"/>
              <a:gd name="csX684" fmla="*/ 243374 w 1609516"/>
              <a:gd name="csY684" fmla="*/ 1194765 h 1538630"/>
              <a:gd name="csX685" fmla="*/ 243374 w 1609516"/>
              <a:gd name="csY685" fmla="*/ 1196797 h 1538630"/>
              <a:gd name="csX686" fmla="*/ 243805 w 1609516"/>
              <a:gd name="csY686" fmla="*/ 1196629 h 1538630"/>
              <a:gd name="csX687" fmla="*/ 243805 w 1609516"/>
              <a:gd name="csY687" fmla="*/ 1197055 h 1538630"/>
              <a:gd name="csX688" fmla="*/ 243374 w 1609516"/>
              <a:gd name="csY688" fmla="*/ 1197055 h 1538630"/>
              <a:gd name="csX689" fmla="*/ 243374 w 1609516"/>
              <a:gd name="csY689" fmla="*/ 1197584 h 1538630"/>
              <a:gd name="csX690" fmla="*/ 241319 w 1609516"/>
              <a:gd name="csY690" fmla="*/ 1197595 h 1538630"/>
              <a:gd name="csX691" fmla="*/ 238009 w 1609516"/>
              <a:gd name="csY691" fmla="*/ 1198881 h 1538630"/>
              <a:gd name="csX692" fmla="*/ 215687 w 1609516"/>
              <a:gd name="csY692" fmla="*/ 1198464 h 1538630"/>
              <a:gd name="csX693" fmla="*/ 215687 w 1609516"/>
              <a:gd name="csY693" fmla="*/ 1197734 h 1538630"/>
              <a:gd name="csX694" fmla="*/ 213936 w 1609516"/>
              <a:gd name="csY694" fmla="*/ 1197744 h 1538630"/>
              <a:gd name="csX695" fmla="*/ 207446 w 1609516"/>
              <a:gd name="csY695" fmla="*/ 1196175 h 1538630"/>
              <a:gd name="csX696" fmla="*/ 207822 w 1609516"/>
              <a:gd name="csY696" fmla="*/ 1195610 h 1538630"/>
              <a:gd name="csX697" fmla="*/ 184737 w 1609516"/>
              <a:gd name="csY697" fmla="*/ 1180936 h 1538630"/>
              <a:gd name="csX698" fmla="*/ 179270 w 1609516"/>
              <a:gd name="csY698" fmla="*/ 1154866 h 1538630"/>
              <a:gd name="csX699" fmla="*/ 179194 w 1609516"/>
              <a:gd name="csY699" fmla="*/ 1151621 h 1538630"/>
              <a:gd name="csX700" fmla="*/ 193195 w 1609516"/>
              <a:gd name="csY700" fmla="*/ 1120065 h 1538630"/>
              <a:gd name="csX701" fmla="*/ 229551 w 1609516"/>
              <a:gd name="csY701" fmla="*/ 1110299 h 1538630"/>
              <a:gd name="csX702" fmla="*/ 260988 w 1609516"/>
              <a:gd name="csY702" fmla="*/ 1108274 h 1538630"/>
              <a:gd name="csX703" fmla="*/ 260988 w 1609516"/>
              <a:gd name="csY703" fmla="*/ 1105455 h 1538630"/>
              <a:gd name="csX704" fmla="*/ 263911 w 1609516"/>
              <a:gd name="csY704" fmla="*/ 1104310 h 1538630"/>
              <a:gd name="csX705" fmla="*/ 286995 w 1609516"/>
              <a:gd name="csY705" fmla="*/ 1090185 h 1538630"/>
              <a:gd name="csX706" fmla="*/ 299358 w 1609516"/>
              <a:gd name="csY706" fmla="*/ 1080970 h 1538630"/>
              <a:gd name="csX707" fmla="*/ 317762 w 1609516"/>
              <a:gd name="csY707" fmla="*/ 1063272 h 1538630"/>
              <a:gd name="csX708" fmla="*/ 325035 w 1609516"/>
              <a:gd name="csY708" fmla="*/ 1057542 h 1538630"/>
              <a:gd name="csX709" fmla="*/ 325328 w 1609516"/>
              <a:gd name="csY709" fmla="*/ 1023104 h 1538630"/>
              <a:gd name="csX710" fmla="*/ 324544 w 1609516"/>
              <a:gd name="csY710" fmla="*/ 1019247 h 1538630"/>
              <a:gd name="csX711" fmla="*/ 317225 w 1609516"/>
              <a:gd name="csY711" fmla="*/ 996945 h 1538630"/>
              <a:gd name="csX712" fmla="*/ 315388 w 1609516"/>
              <a:gd name="csY712" fmla="*/ 992690 h 1538630"/>
              <a:gd name="csX713" fmla="*/ 276232 w 1609516"/>
              <a:gd name="csY713" fmla="*/ 950666 h 1538630"/>
              <a:gd name="csX714" fmla="*/ 271923 w 1609516"/>
              <a:gd name="csY714" fmla="*/ 949031 h 1538630"/>
              <a:gd name="csX715" fmla="*/ 268299 w 1609516"/>
              <a:gd name="csY715" fmla="*/ 947441 h 1538630"/>
              <a:gd name="csX716" fmla="*/ 199187 w 1609516"/>
              <a:gd name="csY716" fmla="*/ 938991 h 1538630"/>
              <a:gd name="csX717" fmla="*/ 193719 w 1609516"/>
              <a:gd name="csY717" fmla="*/ 938971 h 1538630"/>
              <a:gd name="csX718" fmla="*/ 188539 w 1609516"/>
              <a:gd name="csY718" fmla="*/ 938980 h 1538630"/>
              <a:gd name="csX719" fmla="*/ 183874 w 1609516"/>
              <a:gd name="csY719" fmla="*/ 938985 h 1538630"/>
              <a:gd name="csX720" fmla="*/ 173509 w 1609516"/>
              <a:gd name="csY720" fmla="*/ 940576 h 1538630"/>
              <a:gd name="csX721" fmla="*/ 161403 w 1609516"/>
              <a:gd name="csY721" fmla="*/ 940664 h 1538630"/>
              <a:gd name="csX722" fmla="*/ 158102 w 1609516"/>
              <a:gd name="csY722" fmla="*/ 940645 h 1538630"/>
              <a:gd name="csX723" fmla="*/ 150875 w 1609516"/>
              <a:gd name="csY723" fmla="*/ 940583 h 1538630"/>
              <a:gd name="csX724" fmla="*/ 148425 w 1609516"/>
              <a:gd name="csY724" fmla="*/ 940717 h 1538630"/>
              <a:gd name="csX725" fmla="*/ 149617 w 1609516"/>
              <a:gd name="csY725" fmla="*/ 940995 h 1538630"/>
              <a:gd name="csX726" fmla="*/ 149617 w 1609516"/>
              <a:gd name="csY726" fmla="*/ 942404 h 1538630"/>
              <a:gd name="csX727" fmla="*/ 146627 w 1609516"/>
              <a:gd name="csY727" fmla="*/ 942871 h 1538630"/>
              <a:gd name="csX728" fmla="*/ 110564 w 1609516"/>
              <a:gd name="csY728" fmla="*/ 949449 h 1538630"/>
              <a:gd name="csX729" fmla="*/ 111283 w 1609516"/>
              <a:gd name="csY729" fmla="*/ 946205 h 1538630"/>
              <a:gd name="csX730" fmla="*/ 101652 w 1609516"/>
              <a:gd name="csY730" fmla="*/ 956078 h 1538630"/>
              <a:gd name="csX731" fmla="*/ 98052 w 1609516"/>
              <a:gd name="csY731" fmla="*/ 958467 h 1538630"/>
              <a:gd name="csX732" fmla="*/ 67286 w 1609516"/>
              <a:gd name="csY732" fmla="*/ 972989 h 1538630"/>
              <a:gd name="csX733" fmla="*/ 67286 w 1609516"/>
              <a:gd name="csY733" fmla="*/ 975807 h 1538630"/>
              <a:gd name="csX734" fmla="*/ 31942 w 1609516"/>
              <a:gd name="csY734" fmla="*/ 976423 h 1538630"/>
              <a:gd name="csX735" fmla="*/ 5673 w 1609516"/>
              <a:gd name="csY735" fmla="*/ 953419 h 1538630"/>
              <a:gd name="csX736" fmla="*/ 4801 w 1609516"/>
              <a:gd name="csY736" fmla="*/ 944804 h 1538630"/>
              <a:gd name="csX737" fmla="*/ 1676 w 1609516"/>
              <a:gd name="csY737" fmla="*/ 944804 h 1538630"/>
              <a:gd name="csX738" fmla="*/ 17 w 1609516"/>
              <a:gd name="csY738" fmla="*/ 931857 h 1538630"/>
              <a:gd name="csX739" fmla="*/ 59 w 1609516"/>
              <a:gd name="csY739" fmla="*/ 927216 h 1538630"/>
              <a:gd name="csX740" fmla="*/ 115 w 1609516"/>
              <a:gd name="csY740" fmla="*/ 923666 h 1538630"/>
              <a:gd name="csX741" fmla="*/ 3238 w 1609516"/>
              <a:gd name="csY741" fmla="*/ 923666 h 1538630"/>
              <a:gd name="csX742" fmla="*/ 3238 w 1609516"/>
              <a:gd name="csY742" fmla="*/ 918029 h 1538630"/>
              <a:gd name="csX743" fmla="*/ 6363 w 1609516"/>
              <a:gd name="csY743" fmla="*/ 918029 h 1538630"/>
              <a:gd name="csX744" fmla="*/ 6656 w 1609516"/>
              <a:gd name="csY744" fmla="*/ 912832 h 1538630"/>
              <a:gd name="csX745" fmla="*/ 15736 w 1609516"/>
              <a:gd name="csY745" fmla="*/ 899709 h 1538630"/>
              <a:gd name="csX746" fmla="*/ 17243 w 1609516"/>
              <a:gd name="csY746" fmla="*/ 898894 h 1538630"/>
              <a:gd name="csX747" fmla="*/ 16800 w 1609516"/>
              <a:gd name="csY747" fmla="*/ 898694 h 1538630"/>
              <a:gd name="csX748" fmla="*/ 24988 w 1609516"/>
              <a:gd name="csY748" fmla="*/ 894101 h 1538630"/>
              <a:gd name="csX749" fmla="*/ 26768 w 1609516"/>
              <a:gd name="csY749" fmla="*/ 892399 h 1538630"/>
              <a:gd name="csX750" fmla="*/ 30198 w 1609516"/>
              <a:gd name="csY750" fmla="*/ 890164 h 1538630"/>
              <a:gd name="csX751" fmla="*/ 32204 w 1609516"/>
              <a:gd name="csY751" fmla="*/ 890054 h 1538630"/>
              <a:gd name="csX752" fmla="*/ 38914 w 1609516"/>
              <a:gd name="csY752" fmla="*/ 886291 h 1538630"/>
              <a:gd name="csX753" fmla="*/ 63664 w 1609516"/>
              <a:gd name="csY753" fmla="*/ 886011 h 1538630"/>
              <a:gd name="csX754" fmla="*/ 63664 w 1609516"/>
              <a:gd name="csY754" fmla="*/ 886531 h 1538630"/>
              <a:gd name="csX755" fmla="*/ 70784 w 1609516"/>
              <a:gd name="csY755" fmla="*/ 886647 h 1538630"/>
              <a:gd name="csX756" fmla="*/ 82126 w 1609516"/>
              <a:gd name="csY756" fmla="*/ 889845 h 1538630"/>
              <a:gd name="csX757" fmla="*/ 114149 w 1609516"/>
              <a:gd name="csY757" fmla="*/ 892663 h 1538630"/>
              <a:gd name="csX758" fmla="*/ 118836 w 1609516"/>
              <a:gd name="csY758" fmla="*/ 889845 h 1538630"/>
              <a:gd name="csX759" fmla="*/ 131626 w 1609516"/>
              <a:gd name="csY759" fmla="*/ 887114 h 1538630"/>
              <a:gd name="csX760" fmla="*/ 155116 w 1609516"/>
              <a:gd name="csY760" fmla="*/ 880913 h 1538630"/>
              <a:gd name="csX761" fmla="*/ 165406 w 1609516"/>
              <a:gd name="csY761" fmla="*/ 878483 h 1538630"/>
              <a:gd name="csX762" fmla="*/ 176634 w 1609516"/>
              <a:gd name="csY762" fmla="*/ 874343 h 1538630"/>
              <a:gd name="csX763" fmla="*/ 186397 w 1609516"/>
              <a:gd name="csY763" fmla="*/ 871524 h 1538630"/>
              <a:gd name="csX764" fmla="*/ 191871 w 1609516"/>
              <a:gd name="csY764" fmla="*/ 870033 h 1538630"/>
              <a:gd name="csX765" fmla="*/ 203483 w 1609516"/>
              <a:gd name="csY765" fmla="*/ 867208 h 1538630"/>
              <a:gd name="csX766" fmla="*/ 211001 w 1609516"/>
              <a:gd name="csY766" fmla="*/ 861660 h 1538630"/>
              <a:gd name="csX767" fmla="*/ 218031 w 1609516"/>
              <a:gd name="csY767" fmla="*/ 858577 h 1538630"/>
              <a:gd name="csX768" fmla="*/ 254740 w 1609516"/>
              <a:gd name="csY768" fmla="*/ 825020 h 1538630"/>
              <a:gd name="csX769" fmla="*/ 257864 w 1609516"/>
              <a:gd name="csY769" fmla="*/ 820792 h 1538630"/>
              <a:gd name="csX770" fmla="*/ 258318 w 1609516"/>
              <a:gd name="csY770" fmla="*/ 813810 h 1538630"/>
              <a:gd name="csX771" fmla="*/ 258378 w 1609516"/>
              <a:gd name="csY771" fmla="*/ 809502 h 1538630"/>
              <a:gd name="csX772" fmla="*/ 258389 w 1609516"/>
              <a:gd name="csY772" fmla="*/ 804845 h 1538630"/>
              <a:gd name="csX773" fmla="*/ 258420 w 1609516"/>
              <a:gd name="csY773" fmla="*/ 800036 h 1538630"/>
              <a:gd name="csX774" fmla="*/ 258443 w 1609516"/>
              <a:gd name="csY774" fmla="*/ 789939 h 1538630"/>
              <a:gd name="csX775" fmla="*/ 258566 w 1609516"/>
              <a:gd name="csY775" fmla="*/ 774594 h 1538630"/>
              <a:gd name="csX776" fmla="*/ 258584 w 1609516"/>
              <a:gd name="csY776" fmla="*/ 764771 h 1538630"/>
              <a:gd name="csX777" fmla="*/ 258652 w 1609516"/>
              <a:gd name="csY777" fmla="*/ 760174 h 1538630"/>
              <a:gd name="csX778" fmla="*/ 251616 w 1609516"/>
              <a:gd name="csY778" fmla="*/ 733421 h 1538630"/>
              <a:gd name="csX779" fmla="*/ 247613 w 1609516"/>
              <a:gd name="csY779" fmla="*/ 721883 h 1538630"/>
              <a:gd name="csX780" fmla="*/ 241291 w 1609516"/>
              <a:gd name="csY780" fmla="*/ 705644 h 1538630"/>
              <a:gd name="csX781" fmla="*/ 237557 w 1609516"/>
              <a:gd name="csY781" fmla="*/ 689735 h 1538630"/>
              <a:gd name="csX782" fmla="*/ 248492 w 1609516"/>
              <a:gd name="csY782" fmla="*/ 685507 h 1538630"/>
              <a:gd name="csX783" fmla="*/ 248492 w 1609516"/>
              <a:gd name="csY783" fmla="*/ 681279 h 1538630"/>
              <a:gd name="csX784" fmla="*/ 240681 w 1609516"/>
              <a:gd name="csY784" fmla="*/ 679870 h 1538630"/>
              <a:gd name="csX785" fmla="*/ 240681 w 1609516"/>
              <a:gd name="csY785" fmla="*/ 677052 h 1538630"/>
              <a:gd name="csX786" fmla="*/ 238094 w 1609516"/>
              <a:gd name="csY786" fmla="*/ 676645 h 1538630"/>
              <a:gd name="csX787" fmla="*/ 225841 w 1609516"/>
              <a:gd name="csY787" fmla="*/ 670886 h 1538630"/>
              <a:gd name="csX788" fmla="*/ 201531 w 1609516"/>
              <a:gd name="csY788" fmla="*/ 662508 h 1538630"/>
              <a:gd name="csX789" fmla="*/ 188252 w 1609516"/>
              <a:gd name="csY789" fmla="*/ 658644 h 1538630"/>
              <a:gd name="csX790" fmla="*/ 182431 w 1609516"/>
              <a:gd name="csY790" fmla="*/ 657327 h 1538630"/>
              <a:gd name="csX791" fmla="*/ 182431 w 1609516"/>
              <a:gd name="csY791" fmla="*/ 657613 h 1538630"/>
              <a:gd name="csX792" fmla="*/ 146503 w 1609516"/>
              <a:gd name="csY792" fmla="*/ 656204 h 1538630"/>
              <a:gd name="csX793" fmla="*/ 146503 w 1609516"/>
              <a:gd name="csY793" fmla="*/ 659022 h 1538630"/>
              <a:gd name="csX794" fmla="*/ 110378 w 1609516"/>
              <a:gd name="csY794" fmla="*/ 663778 h 1538630"/>
              <a:gd name="csX795" fmla="*/ 106453 w 1609516"/>
              <a:gd name="csY795" fmla="*/ 663836 h 1538630"/>
              <a:gd name="csX796" fmla="*/ 102751 w 1609516"/>
              <a:gd name="csY796" fmla="*/ 663811 h 1538630"/>
              <a:gd name="csX797" fmla="*/ 99449 w 1609516"/>
              <a:gd name="csY797" fmla="*/ 663797 h 1538630"/>
              <a:gd name="csX798" fmla="*/ 91828 w 1609516"/>
              <a:gd name="csY798" fmla="*/ 659022 h 1538630"/>
              <a:gd name="csX799" fmla="*/ 98077 w 1609516"/>
              <a:gd name="csY799" fmla="*/ 659022 h 1538630"/>
              <a:gd name="csX800" fmla="*/ 98077 w 1609516"/>
              <a:gd name="csY800" fmla="*/ 661841 h 1538630"/>
              <a:gd name="csX801" fmla="*/ 119023 w 1609516"/>
              <a:gd name="csY801" fmla="*/ 661357 h 1538630"/>
              <a:gd name="csX802" fmla="*/ 119536 w 1609516"/>
              <a:gd name="csY802" fmla="*/ 661197 h 1538630"/>
              <a:gd name="csX803" fmla="*/ 109853 w 1609516"/>
              <a:gd name="csY803" fmla="*/ 661639 h 1538630"/>
              <a:gd name="csX804" fmla="*/ 106552 w 1609516"/>
              <a:gd name="csY804" fmla="*/ 661619 h 1538630"/>
              <a:gd name="csX805" fmla="*/ 98528 w 1609516"/>
              <a:gd name="csY805" fmla="*/ 661550 h 1538630"/>
              <a:gd name="csX806" fmla="*/ 98528 w 1609516"/>
              <a:gd name="csY806" fmla="*/ 658732 h 1538630"/>
              <a:gd name="csX807" fmla="*/ 89155 w 1609516"/>
              <a:gd name="csY807" fmla="*/ 657323 h 1538630"/>
              <a:gd name="csX808" fmla="*/ 89155 w 1609516"/>
              <a:gd name="csY808" fmla="*/ 654504 h 1538630"/>
              <a:gd name="csX809" fmla="*/ 86397 w 1609516"/>
              <a:gd name="csY809" fmla="*/ 653442 h 1538630"/>
              <a:gd name="csX810" fmla="*/ 77049 w 1609516"/>
              <a:gd name="csY810" fmla="*/ 646137 h 1538630"/>
              <a:gd name="csX811" fmla="*/ 74145 w 1609516"/>
              <a:gd name="csY811" fmla="*/ 643192 h 1538630"/>
              <a:gd name="csX812" fmla="*/ 71972 w 1609516"/>
              <a:gd name="csY812" fmla="*/ 636185 h 1538630"/>
              <a:gd name="csX813" fmla="*/ 68848 w 1609516"/>
              <a:gd name="csY813" fmla="*/ 636185 h 1538630"/>
              <a:gd name="csX814" fmla="*/ 70410 w 1609516"/>
              <a:gd name="csY814" fmla="*/ 595317 h 1538630"/>
              <a:gd name="csX815" fmla="*/ 79782 w 1609516"/>
              <a:gd name="csY815" fmla="*/ 584043 h 1538630"/>
              <a:gd name="csX816" fmla="*/ 82656 w 1609516"/>
              <a:gd name="csY816" fmla="*/ 581115 h 1538630"/>
              <a:gd name="csX817" fmla="*/ 116694 w 1609516"/>
              <a:gd name="csY817" fmla="*/ 572323 h 1538630"/>
              <a:gd name="csX818" fmla="*/ 152031 w 1609516"/>
              <a:gd name="csY818" fmla="*/ 590385 h 1538630"/>
              <a:gd name="csX819" fmla="*/ 191474 w 1609516"/>
              <a:gd name="csY819" fmla="*/ 605886 h 1538630"/>
              <a:gd name="csX820" fmla="*/ 206314 w 1609516"/>
              <a:gd name="csY820" fmla="*/ 608000 h 1538630"/>
              <a:gd name="csX821" fmla="*/ 206314 w 1609516"/>
              <a:gd name="csY821" fmla="*/ 610818 h 1538630"/>
              <a:gd name="csX822" fmla="*/ 234433 w 1609516"/>
              <a:gd name="csY822" fmla="*/ 610818 h 1538630"/>
              <a:gd name="csX823" fmla="*/ 239522 w 1609516"/>
              <a:gd name="csY823" fmla="*/ 610802 h 1538630"/>
              <a:gd name="csX824" fmla="*/ 268799 w 1609516"/>
              <a:gd name="csY824" fmla="*/ 600954 h 1538630"/>
              <a:gd name="csX825" fmla="*/ 271740 w 1609516"/>
              <a:gd name="csY825" fmla="*/ 599325 h 1538630"/>
              <a:gd name="csX826" fmla="*/ 284420 w 1609516"/>
              <a:gd name="csY826" fmla="*/ 579816 h 1538630"/>
              <a:gd name="csX827" fmla="*/ 289399 w 1609516"/>
              <a:gd name="csY827" fmla="*/ 568630 h 1538630"/>
              <a:gd name="csX828" fmla="*/ 293958 w 1609516"/>
              <a:gd name="csY828" fmla="*/ 535838 h 1538630"/>
              <a:gd name="csX829" fmla="*/ 289107 w 1609516"/>
              <a:gd name="csY829" fmla="*/ 529084 h 1538630"/>
              <a:gd name="csX830" fmla="*/ 289107 w 1609516"/>
              <a:gd name="csY830" fmla="*/ 526265 h 1538630"/>
              <a:gd name="csX831" fmla="*/ 284420 w 1609516"/>
              <a:gd name="csY831" fmla="*/ 524856 h 1538630"/>
              <a:gd name="csX832" fmla="*/ 282858 w 1609516"/>
              <a:gd name="csY832" fmla="*/ 520628 h 1538630"/>
              <a:gd name="csX833" fmla="*/ 277977 w 1609516"/>
              <a:gd name="csY833" fmla="*/ 516577 h 1538630"/>
              <a:gd name="csX834" fmla="*/ 264925 w 1609516"/>
              <a:gd name="csY834" fmla="*/ 506443 h 1538630"/>
              <a:gd name="csX835" fmla="*/ 229746 w 1609516"/>
              <a:gd name="csY835" fmla="*/ 481170 h 1538630"/>
              <a:gd name="csX836" fmla="*/ 221057 w 1609516"/>
              <a:gd name="csY836" fmla="*/ 475445 h 1538630"/>
              <a:gd name="csX837" fmla="*/ 212563 w 1609516"/>
              <a:gd name="csY837" fmla="*/ 469896 h 1538630"/>
              <a:gd name="csX838" fmla="*/ 208889 w 1609516"/>
              <a:gd name="csY838" fmla="*/ 467491 h 1538630"/>
              <a:gd name="csX839" fmla="*/ 190406 w 1609516"/>
              <a:gd name="csY839" fmla="*/ 456382 h 1538630"/>
              <a:gd name="csX840" fmla="*/ 186942 w 1609516"/>
              <a:gd name="csY840" fmla="*/ 454460 h 1538630"/>
              <a:gd name="csX841" fmla="*/ 180041 w 1609516"/>
              <a:gd name="csY841" fmla="*/ 450696 h 1538630"/>
              <a:gd name="csX842" fmla="*/ 171948 w 1609516"/>
              <a:gd name="csY842" fmla="*/ 445940 h 1538630"/>
              <a:gd name="csX843" fmla="*/ 171948 w 1609516"/>
              <a:gd name="csY843" fmla="*/ 443121 h 1538630"/>
              <a:gd name="csX844" fmla="*/ 168482 w 1609516"/>
              <a:gd name="csY844" fmla="*/ 442708 h 1538630"/>
              <a:gd name="csX845" fmla="*/ 157107 w 1609516"/>
              <a:gd name="csY845" fmla="*/ 437044 h 1538630"/>
              <a:gd name="csX846" fmla="*/ 132559 w 1609516"/>
              <a:gd name="csY846" fmla="*/ 427510 h 1538630"/>
              <a:gd name="csX847" fmla="*/ 123522 w 1609516"/>
              <a:gd name="csY847" fmla="*/ 421983 h 1538630"/>
              <a:gd name="csX848" fmla="*/ 107986 w 1609516"/>
              <a:gd name="csY848" fmla="*/ 418730 h 1538630"/>
              <a:gd name="csX849" fmla="*/ 102494 w 1609516"/>
              <a:gd name="csY849" fmla="*/ 418622 h 1538630"/>
              <a:gd name="csX850" fmla="*/ 91157 w 1609516"/>
              <a:gd name="csY850" fmla="*/ 418490 h 1538630"/>
              <a:gd name="csX851" fmla="*/ 55277 w 1609516"/>
              <a:gd name="csY851" fmla="*/ 410445 h 1538630"/>
              <a:gd name="csX852" fmla="*/ 51665 w 1609516"/>
              <a:gd name="csY852" fmla="*/ 406481 h 1538630"/>
              <a:gd name="csX853" fmla="*/ 45904 w 1609516"/>
              <a:gd name="csY853" fmla="*/ 400492 h 1538630"/>
              <a:gd name="csX854" fmla="*/ 43152 w 1609516"/>
              <a:gd name="csY854" fmla="*/ 397564 h 1538630"/>
              <a:gd name="csX855" fmla="*/ 37605 w 1609516"/>
              <a:gd name="csY855" fmla="*/ 393798 h 1538630"/>
              <a:gd name="csX856" fmla="*/ 38995 w 1609516"/>
              <a:gd name="csY856" fmla="*/ 368712 h 1538630"/>
              <a:gd name="csX857" fmla="*/ 38666 w 1609516"/>
              <a:gd name="csY857" fmla="*/ 369724 h 1538630"/>
              <a:gd name="csX858" fmla="*/ 35542 w 1609516"/>
              <a:gd name="csY858" fmla="*/ 384081 h 1538630"/>
              <a:gd name="csX859" fmla="*/ 33326 w 1609516"/>
              <a:gd name="csY859" fmla="*/ 357791 h 1538630"/>
              <a:gd name="csX860" fmla="*/ 52725 w 1609516"/>
              <a:gd name="csY860" fmla="*/ 333349 h 1538630"/>
              <a:gd name="csX861" fmla="*/ 55222 w 1609516"/>
              <a:gd name="csY861" fmla="*/ 334475 h 1538630"/>
              <a:gd name="csX862" fmla="*/ 56222 w 1609516"/>
              <a:gd name="csY862" fmla="*/ 333347 h 1538630"/>
              <a:gd name="csX863" fmla="*/ 55871 w 1609516"/>
              <a:gd name="csY863" fmla="*/ 333347 h 1538630"/>
              <a:gd name="csX864" fmla="*/ 56346 w 1609516"/>
              <a:gd name="csY864" fmla="*/ 333207 h 1538630"/>
              <a:gd name="csX865" fmla="*/ 56351 w 1609516"/>
              <a:gd name="csY865" fmla="*/ 333202 h 1538630"/>
              <a:gd name="csX866" fmla="*/ 56365 w 1609516"/>
              <a:gd name="csY866" fmla="*/ 333202 h 1538630"/>
              <a:gd name="csX867" fmla="*/ 79571 w 1609516"/>
              <a:gd name="csY867" fmla="*/ 326360 h 1538630"/>
              <a:gd name="csX868" fmla="*/ 104297 w 1609516"/>
              <a:gd name="csY868" fmla="*/ 330529 h 1538630"/>
              <a:gd name="csX869" fmla="*/ 107170 w 1609516"/>
              <a:gd name="csY869" fmla="*/ 334417 h 1538630"/>
              <a:gd name="csX870" fmla="*/ 109366 w 1609516"/>
              <a:gd name="csY870" fmla="*/ 336046 h 1538630"/>
              <a:gd name="csX871" fmla="*/ 109463 w 1609516"/>
              <a:gd name="csY871" fmla="*/ 336020 h 1538630"/>
              <a:gd name="csX872" fmla="*/ 109463 w 1609516"/>
              <a:gd name="csY872" fmla="*/ 336118 h 1538630"/>
              <a:gd name="csX873" fmla="*/ 115226 w 1609516"/>
              <a:gd name="csY873" fmla="*/ 340394 h 1538630"/>
              <a:gd name="csX874" fmla="*/ 114010 w 1609516"/>
              <a:gd name="csY874" fmla="*/ 340120 h 1538630"/>
              <a:gd name="csX875" fmla="*/ 133285 w 1609516"/>
              <a:gd name="csY875" fmla="*/ 357423 h 1538630"/>
              <a:gd name="csX876" fmla="*/ 173509 w 1609516"/>
              <a:gd name="csY876" fmla="*/ 389571 h 1538630"/>
              <a:gd name="csX877" fmla="*/ 181711 w 1609516"/>
              <a:gd name="csY877" fmla="*/ 393270 h 1538630"/>
              <a:gd name="csX878" fmla="*/ 185507 w 1609516"/>
              <a:gd name="csY878" fmla="*/ 394976 h 1538630"/>
              <a:gd name="csX879" fmla="*/ 192658 w 1609516"/>
              <a:gd name="csY879" fmla="*/ 398257 h 1538630"/>
              <a:gd name="csX880" fmla="*/ 195966 w 1609516"/>
              <a:gd name="csY880" fmla="*/ 399788 h 1538630"/>
              <a:gd name="csX881" fmla="*/ 198833 w 1609516"/>
              <a:gd name="csY881" fmla="*/ 401131 h 1538630"/>
              <a:gd name="csX882" fmla="*/ 207877 w 1609516"/>
              <a:gd name="csY882" fmla="*/ 403663 h 1538630"/>
              <a:gd name="csX883" fmla="*/ 207877 w 1609516"/>
              <a:gd name="csY883" fmla="*/ 406481 h 1538630"/>
              <a:gd name="csX884" fmla="*/ 248492 w 1609516"/>
              <a:gd name="csY884" fmla="*/ 419428 h 1538630"/>
              <a:gd name="csX885" fmla="*/ 253965 w 1609516"/>
              <a:gd name="csY885" fmla="*/ 421000 h 1538630"/>
              <a:gd name="csX886" fmla="*/ 267237 w 1609516"/>
              <a:gd name="csY886" fmla="*/ 424801 h 1538630"/>
              <a:gd name="csX887" fmla="*/ 267237 w 1609516"/>
              <a:gd name="csY887" fmla="*/ 426451 h 1538630"/>
              <a:gd name="csX888" fmla="*/ 288701 w 1609516"/>
              <a:gd name="csY888" fmla="*/ 429217 h 1538630"/>
              <a:gd name="csX889" fmla="*/ 288701 w 1609516"/>
              <a:gd name="csY889" fmla="*/ 432036 h 1538630"/>
              <a:gd name="csX890" fmla="*/ 327010 w 1609516"/>
              <a:gd name="csY890" fmla="*/ 433628 h 1538630"/>
              <a:gd name="csX891" fmla="*/ 337486 w 1609516"/>
              <a:gd name="csY891" fmla="*/ 433637 h 1538630"/>
              <a:gd name="csX892" fmla="*/ 344229 w 1609516"/>
              <a:gd name="csY892" fmla="*/ 433632 h 1538630"/>
              <a:gd name="csX893" fmla="*/ 350323 w 1609516"/>
              <a:gd name="csY893" fmla="*/ 433627 h 1538630"/>
              <a:gd name="csX894" fmla="*/ 365245 w 1609516"/>
              <a:gd name="csY894" fmla="*/ 432036 h 1538630"/>
              <a:gd name="csX895" fmla="*/ 360797 w 1609516"/>
              <a:gd name="csY895" fmla="*/ 433759 h 1538630"/>
              <a:gd name="csX896" fmla="*/ 365650 w 1609516"/>
              <a:gd name="csY896" fmla="*/ 433257 h 1538630"/>
              <a:gd name="csX897" fmla="*/ 367213 w 1609516"/>
              <a:gd name="csY897" fmla="*/ 429029 h 1538630"/>
              <a:gd name="csX898" fmla="*/ 375188 w 1609516"/>
              <a:gd name="csY898" fmla="*/ 424906 h 1538630"/>
              <a:gd name="csX899" fmla="*/ 404704 w 1609516"/>
              <a:gd name="csY899" fmla="*/ 389571 h 1538630"/>
              <a:gd name="csX900" fmla="*/ 406265 w 1609516"/>
              <a:gd name="csY900" fmla="*/ 388161 h 1538630"/>
              <a:gd name="csX901" fmla="*/ 406559 w 1609516"/>
              <a:gd name="csY901" fmla="*/ 370106 h 1538630"/>
              <a:gd name="csX902" fmla="*/ 406617 w 1609516"/>
              <a:gd name="csY902" fmla="*/ 364973 h 1538630"/>
              <a:gd name="csX903" fmla="*/ 406626 w 1609516"/>
              <a:gd name="csY903" fmla="*/ 360038 h 1538630"/>
              <a:gd name="csX904" fmla="*/ 406645 w 1609516"/>
              <a:gd name="csY904" fmla="*/ 355503 h 1538630"/>
              <a:gd name="csX905" fmla="*/ 403142 w 1609516"/>
              <a:gd name="csY905" fmla="*/ 345885 h 1538630"/>
              <a:gd name="csX906" fmla="*/ 401579 w 1609516"/>
              <a:gd name="csY906" fmla="*/ 338663 h 1538630"/>
              <a:gd name="csX907" fmla="*/ 390938 w 1609516"/>
              <a:gd name="csY907" fmla="*/ 315939 h 1538630"/>
              <a:gd name="csX908" fmla="*/ 388976 w 1609516"/>
              <a:gd name="csY908" fmla="*/ 312762 h 1538630"/>
              <a:gd name="csX909" fmla="*/ 377934 w 1609516"/>
              <a:gd name="csY909" fmla="*/ 297817 h 1538630"/>
              <a:gd name="csX910" fmla="*/ 368775 w 1609516"/>
              <a:gd name="csY910" fmla="*/ 282470 h 1538630"/>
              <a:gd name="csX911" fmla="*/ 359890 w 1609516"/>
              <a:gd name="csY911" fmla="*/ 271284 h 1538630"/>
              <a:gd name="csX912" fmla="*/ 357374 w 1609516"/>
              <a:gd name="csY912" fmla="*/ 268288 h 1538630"/>
              <a:gd name="csX913" fmla="*/ 337533 w 1609516"/>
              <a:gd name="csY913" fmla="*/ 248649 h 1538630"/>
              <a:gd name="csX914" fmla="*/ 335214 w 1609516"/>
              <a:gd name="csY914" fmla="*/ 246369 h 1538630"/>
              <a:gd name="csX915" fmla="*/ 327085 w 1609516"/>
              <a:gd name="csY915" fmla="*/ 242571 h 1538630"/>
              <a:gd name="csX916" fmla="*/ 288785 w 1609516"/>
              <a:gd name="csY916" fmla="*/ 207968 h 1538630"/>
              <a:gd name="csX917" fmla="*/ 286373 w 1609516"/>
              <a:gd name="csY917" fmla="*/ 192544 h 1538630"/>
              <a:gd name="csX918" fmla="*/ 286385 w 1609516"/>
              <a:gd name="csY918" fmla="*/ 189190 h 1538630"/>
              <a:gd name="csX919" fmla="*/ 300042 w 1609516"/>
              <a:gd name="csY919" fmla="*/ 164095 h 1538630"/>
              <a:gd name="csX920" fmla="*/ 302757 w 1609516"/>
              <a:gd name="csY920" fmla="*/ 161381 h 1538630"/>
              <a:gd name="csX921" fmla="*/ 338411 w 1609516"/>
              <a:gd name="csY921" fmla="*/ 152293 h 1538630"/>
              <a:gd name="csX922" fmla="*/ 368482 w 1609516"/>
              <a:gd name="csY922" fmla="*/ 161893 h 1538630"/>
              <a:gd name="csX923" fmla="*/ 371899 w 1609516"/>
              <a:gd name="csY923" fmla="*/ 165505 h 1538630"/>
              <a:gd name="csX924" fmla="*/ 375121 w 1609516"/>
              <a:gd name="csY924" fmla="*/ 168587 h 1538630"/>
              <a:gd name="csX925" fmla="*/ 384982 w 1609516"/>
              <a:gd name="csY925" fmla="*/ 193777 h 1538630"/>
              <a:gd name="csX926" fmla="*/ 390352 w 1609516"/>
              <a:gd name="csY926" fmla="*/ 214563 h 1538630"/>
              <a:gd name="csX927" fmla="*/ 391529 w 1609516"/>
              <a:gd name="csY927" fmla="*/ 217626 h 1538630"/>
              <a:gd name="csX928" fmla="*/ 401579 w 1609516"/>
              <a:gd name="csY928" fmla="*/ 234556 h 1538630"/>
              <a:gd name="csX929" fmla="*/ 401579 w 1609516"/>
              <a:gd name="csY929" fmla="*/ 238784 h 1538630"/>
              <a:gd name="csX930" fmla="*/ 404215 w 1609516"/>
              <a:gd name="csY930" fmla="*/ 239753 h 1538630"/>
              <a:gd name="csX931" fmla="*/ 417811 w 1609516"/>
              <a:gd name="csY931" fmla="*/ 251996 h 1538630"/>
              <a:gd name="csX932" fmla="*/ 426866 w 1609516"/>
              <a:gd name="csY932" fmla="*/ 262300 h 1538630"/>
              <a:gd name="csX933" fmla="*/ 450097 w 1609516"/>
              <a:gd name="csY933" fmla="*/ 287628 h 1538630"/>
              <a:gd name="csX934" fmla="*/ 457425 w 1609516"/>
              <a:gd name="csY934" fmla="*/ 293920 h 1538630"/>
              <a:gd name="csX935" fmla="*/ 460940 w 1609516"/>
              <a:gd name="csY935" fmla="*/ 296562 h 1538630"/>
              <a:gd name="csX936" fmla="*/ 460940 w 1609516"/>
              <a:gd name="csY936" fmla="*/ 300790 h 1538630"/>
              <a:gd name="csX937" fmla="*/ 473437 w 1609516"/>
              <a:gd name="csY937" fmla="*/ 305018 h 1538630"/>
              <a:gd name="csX938" fmla="*/ 473437 w 1609516"/>
              <a:gd name="csY938" fmla="*/ 307836 h 1538630"/>
              <a:gd name="csX939" fmla="*/ 479881 w 1609516"/>
              <a:gd name="csY939" fmla="*/ 309862 h 1538630"/>
              <a:gd name="csX940" fmla="*/ 483505 w 1609516"/>
              <a:gd name="csY940" fmla="*/ 311001 h 1538630"/>
              <a:gd name="csX941" fmla="*/ 548419 w 1609516"/>
              <a:gd name="csY941" fmla="*/ 306427 h 1538630"/>
              <a:gd name="csX942" fmla="*/ 551842 w 1609516"/>
              <a:gd name="csY942" fmla="*/ 305127 h 1538630"/>
              <a:gd name="csX943" fmla="*/ 560232 w 1609516"/>
              <a:gd name="csY943" fmla="*/ 298148 h 1538630"/>
              <a:gd name="csX944" fmla="*/ 562972 w 1609516"/>
              <a:gd name="csY944" fmla="*/ 295252 h 1538630"/>
              <a:gd name="csX945" fmla="*/ 568086 w 1609516"/>
              <a:gd name="csY945" fmla="*/ 289152 h 1538630"/>
              <a:gd name="csX946" fmla="*/ 570289 w 1609516"/>
              <a:gd name="csY946" fmla="*/ 286697 h 1538630"/>
              <a:gd name="csX947" fmla="*/ 573413 w 1609516"/>
              <a:gd name="csY947" fmla="*/ 286697 h 1538630"/>
              <a:gd name="csX948" fmla="*/ 577220 w 1609516"/>
              <a:gd name="csY948" fmla="*/ 257016 h 1538630"/>
              <a:gd name="csX949" fmla="*/ 577235 w 1609516"/>
              <a:gd name="csY949" fmla="*/ 254206 h 1538630"/>
              <a:gd name="csX950" fmla="*/ 569443 w 1609516"/>
              <a:gd name="csY950" fmla="*/ 206049 h 1538630"/>
              <a:gd name="csX951" fmla="*/ 568726 w 1609516"/>
              <a:gd name="csY951" fmla="*/ 200735 h 1538630"/>
              <a:gd name="csX952" fmla="*/ 565602 w 1609516"/>
              <a:gd name="csY952" fmla="*/ 200735 h 1538630"/>
              <a:gd name="csX953" fmla="*/ 559549 w 1609516"/>
              <a:gd name="csY953" fmla="*/ 184441 h 1538630"/>
              <a:gd name="csX954" fmla="*/ 537484 w 1609516"/>
              <a:gd name="csY954" fmla="*/ 159867 h 1538630"/>
              <a:gd name="csX955" fmla="*/ 531235 w 1609516"/>
              <a:gd name="csY955" fmla="*/ 154230 h 1538630"/>
              <a:gd name="csX956" fmla="*/ 531235 w 1609516"/>
              <a:gd name="csY956" fmla="*/ 151412 h 1538630"/>
              <a:gd name="csX957" fmla="*/ 526549 w 1609516"/>
              <a:gd name="csY957" fmla="*/ 150003 h 1538630"/>
              <a:gd name="csX958" fmla="*/ 524304 w 1609516"/>
              <a:gd name="csY958" fmla="*/ 107198 h 1538630"/>
              <a:gd name="csX959" fmla="*/ 547052 w 1609516"/>
              <a:gd name="csY959" fmla="*/ 85972 h 1538630"/>
              <a:gd name="csX960" fmla="*/ 588460 w 1609516"/>
              <a:gd name="csY960" fmla="*/ 83538 h 1538630"/>
              <a:gd name="csX961" fmla="*/ 617152 w 1609516"/>
              <a:gd name="csY961" fmla="*/ 111954 h 1538630"/>
              <a:gd name="csX962" fmla="*/ 617884 w 1609516"/>
              <a:gd name="csY962" fmla="*/ 124175 h 1538630"/>
              <a:gd name="csX963" fmla="*/ 617917 w 1609516"/>
              <a:gd name="csY963" fmla="*/ 127607 h 1538630"/>
              <a:gd name="csX964" fmla="*/ 617919 w 1609516"/>
              <a:gd name="csY964" fmla="*/ 141969 h 1538630"/>
              <a:gd name="csX965" fmla="*/ 630625 w 1609516"/>
              <a:gd name="csY965" fmla="*/ 191311 h 1538630"/>
              <a:gd name="csX966" fmla="*/ 637850 w 1609516"/>
              <a:gd name="csY966" fmla="*/ 205139 h 1538630"/>
              <a:gd name="csX967" fmla="*/ 643708 w 1609516"/>
              <a:gd name="csY967" fmla="*/ 212009 h 1538630"/>
              <a:gd name="csX968" fmla="*/ 647027 w 1609516"/>
              <a:gd name="csY968" fmla="*/ 217645 h 1538630"/>
              <a:gd name="csX969" fmla="*/ 670264 w 1609516"/>
              <a:gd name="csY969" fmla="*/ 241603 h 1538630"/>
              <a:gd name="csX970" fmla="*/ 670264 w 1609516"/>
              <a:gd name="csY970" fmla="*/ 244421 h 1538630"/>
              <a:gd name="csX971" fmla="*/ 675634 w 1609516"/>
              <a:gd name="csY971" fmla="*/ 245742 h 1538630"/>
              <a:gd name="csX972" fmla="*/ 682761 w 1609516"/>
              <a:gd name="csY972" fmla="*/ 248649 h 1538630"/>
              <a:gd name="csX973" fmla="*/ 752092 w 1609516"/>
              <a:gd name="csY973" fmla="*/ 245076 h 1538630"/>
              <a:gd name="csX974" fmla="*/ 758433 w 1609516"/>
              <a:gd name="csY974" fmla="*/ 240485 h 1538630"/>
              <a:gd name="csX975" fmla="*/ 763991 w 1609516"/>
              <a:gd name="csY975" fmla="*/ 238784 h 1538630"/>
              <a:gd name="csX976" fmla="*/ 765315 w 1609516"/>
              <a:gd name="csY976" fmla="*/ 235778 h 1538630"/>
              <a:gd name="csX977" fmla="*/ 770923 w 1609516"/>
              <a:gd name="csY977" fmla="*/ 223459 h 1538630"/>
              <a:gd name="csX978" fmla="*/ 772998 w 1609516"/>
              <a:gd name="csY978" fmla="*/ 218934 h 1538630"/>
              <a:gd name="csX979" fmla="*/ 777562 w 1609516"/>
              <a:gd name="csY979" fmla="*/ 209895 h 1538630"/>
              <a:gd name="csX980" fmla="*/ 781175 w 1609516"/>
              <a:gd name="csY980" fmla="*/ 124637 h 1538630"/>
              <a:gd name="csX981" fmla="*/ 778051 w 1609516"/>
              <a:gd name="csY981" fmla="*/ 124637 h 1538630"/>
              <a:gd name="csX982" fmla="*/ 767116 w 1609516"/>
              <a:gd name="csY982" fmla="*/ 79542 h 1538630"/>
              <a:gd name="csX983" fmla="*/ 793379 w 1609516"/>
              <a:gd name="csY983" fmla="*/ 54000 h 1538630"/>
              <a:gd name="csX984" fmla="*/ 840688 w 1609516"/>
              <a:gd name="csY984" fmla="*/ 55503 h 1538630"/>
              <a:gd name="csX985" fmla="*/ 851470 w 1609516"/>
              <a:gd name="csY985" fmla="*/ 64040 h 1538630"/>
              <a:gd name="csX986" fmla="*/ 853997 w 1609516"/>
              <a:gd name="csY986" fmla="*/ 66529 h 1538630"/>
              <a:gd name="csX987" fmla="*/ 861488 w 1609516"/>
              <a:gd name="csY987" fmla="*/ 82057 h 1538630"/>
              <a:gd name="csX988" fmla="*/ 861937 w 1609516"/>
              <a:gd name="csY988" fmla="*/ 90492 h 1538630"/>
              <a:gd name="csX989" fmla="*/ 863826 w 1609516"/>
              <a:gd name="csY989" fmla="*/ 100715 h 1538630"/>
              <a:gd name="csX990" fmla="*/ 857577 w 1609516"/>
              <a:gd name="csY990" fmla="*/ 121853 h 1538630"/>
              <a:gd name="csX991" fmla="*/ 856015 w 1609516"/>
              <a:gd name="csY991" fmla="*/ 121853 h 1538630"/>
              <a:gd name="csX992" fmla="*/ 855442 w 1609516"/>
              <a:gd name="csY992" fmla="*/ 118919 h 1538630"/>
              <a:gd name="csX993" fmla="*/ 855417 w 1609516"/>
              <a:gd name="csY993" fmla="*/ 118798 h 1538630"/>
              <a:gd name="csX994" fmla="*/ 856157 w 1609516"/>
              <a:gd name="csY994" fmla="*/ 124637 h 1538630"/>
              <a:gd name="csX995" fmla="*/ 850623 w 1609516"/>
              <a:gd name="csY995" fmla="*/ 134701 h 1538630"/>
              <a:gd name="csX996" fmla="*/ 851325 w 1609516"/>
              <a:gd name="csY996" fmla="*/ 135968 h 1538630"/>
              <a:gd name="csX997" fmla="*/ 849886 w 1609516"/>
              <a:gd name="csY997" fmla="*/ 139843 h 1538630"/>
              <a:gd name="csX998" fmla="*/ 847786 w 1609516"/>
              <a:gd name="csY998" fmla="*/ 152889 h 1538630"/>
              <a:gd name="csX999" fmla="*/ 847767 w 1609516"/>
              <a:gd name="csY999" fmla="*/ 157768 h 1538630"/>
              <a:gd name="csX1000" fmla="*/ 847810 w 1609516"/>
              <a:gd name="csY1000" fmla="*/ 162919 h 1538630"/>
              <a:gd name="csX1001" fmla="*/ 847832 w 1609516"/>
              <a:gd name="csY1001" fmla="*/ 168227 h 1538630"/>
              <a:gd name="csX1002" fmla="*/ 850903 w 1609516"/>
              <a:gd name="csY1002" fmla="*/ 209013 h 1538630"/>
              <a:gd name="csX1003" fmla="*/ 852880 w 1609516"/>
              <a:gd name="csY1003" fmla="*/ 224692 h 1538630"/>
              <a:gd name="csX1004" fmla="*/ 854595 w 1609516"/>
              <a:gd name="csY1004" fmla="*/ 224692 h 1538630"/>
              <a:gd name="csX1005" fmla="*/ 856083 w 1609516"/>
              <a:gd name="csY1005" fmla="*/ 227268 h 1538630"/>
              <a:gd name="csX1006" fmla="*/ 879588 w 1609516"/>
              <a:gd name="csY1006" fmla="*/ 247239 h 1538630"/>
              <a:gd name="csX1007" fmla="*/ 885739 w 1609516"/>
              <a:gd name="csY1007" fmla="*/ 249618 h 1538630"/>
              <a:gd name="csX1008" fmla="*/ 890523 w 1609516"/>
              <a:gd name="csY1008" fmla="*/ 251467 h 1538630"/>
              <a:gd name="csX1009" fmla="*/ 890523 w 1609516"/>
              <a:gd name="csY1009" fmla="*/ 254285 h 1538630"/>
              <a:gd name="csX1010" fmla="*/ 920203 w 1609516"/>
              <a:gd name="csY1010" fmla="*/ 261332 h 1538630"/>
              <a:gd name="csX1011" fmla="*/ 920203 w 1609516"/>
              <a:gd name="csY1011" fmla="*/ 262741 h 1538630"/>
              <a:gd name="csX1012" fmla="*/ 910831 w 1609516"/>
              <a:gd name="csY1012" fmla="*/ 262741 h 1538630"/>
              <a:gd name="csX1013" fmla="*/ 910831 w 1609516"/>
              <a:gd name="csY1013" fmla="*/ 262864 h 1538630"/>
              <a:gd name="csX1014" fmla="*/ 927993 w 1609516"/>
              <a:gd name="csY1014" fmla="*/ 264177 h 1538630"/>
              <a:gd name="csX1015" fmla="*/ 939273 w 1609516"/>
              <a:gd name="csY1015" fmla="*/ 265285 h 1538630"/>
              <a:gd name="csX1016" fmla="*/ 940456 w 1609516"/>
              <a:gd name="csY1016" fmla="*/ 265191 h 1538630"/>
              <a:gd name="csX1017" fmla="*/ 991622 w 1609516"/>
              <a:gd name="csY1017" fmla="*/ 242329 h 1538630"/>
              <a:gd name="csX1018" fmla="*/ 1000803 w 1609516"/>
              <a:gd name="csY1018" fmla="*/ 236505 h 1538630"/>
              <a:gd name="csX1019" fmla="*/ 999806 w 1609516"/>
              <a:gd name="csY1019" fmla="*/ 236055 h 1538630"/>
              <a:gd name="csX1020" fmla="*/ 1003126 w 1609516"/>
              <a:gd name="csY1020" fmla="*/ 232851 h 1538630"/>
              <a:gd name="csX1021" fmla="*/ 1029487 w 1609516"/>
              <a:gd name="csY1021" fmla="*/ 205052 h 1538630"/>
              <a:gd name="csX1022" fmla="*/ 1029872 w 1609516"/>
              <a:gd name="csY1022" fmla="*/ 206442 h 1538630"/>
              <a:gd name="csX1023" fmla="*/ 1031614 w 1609516"/>
              <a:gd name="csY1023" fmla="*/ 203719 h 1538630"/>
              <a:gd name="csX1024" fmla="*/ 1038924 w 1609516"/>
              <a:gd name="csY1024" fmla="*/ 192280 h 1538630"/>
              <a:gd name="csX1025" fmla="*/ 1042049 w 1609516"/>
              <a:gd name="csY1025" fmla="*/ 190870 h 1538630"/>
              <a:gd name="csX1026" fmla="*/ 1044294 w 1609516"/>
              <a:gd name="csY1026" fmla="*/ 186026 h 1538630"/>
              <a:gd name="csX1027" fmla="*/ 1051422 w 1609516"/>
              <a:gd name="csY1027" fmla="*/ 178188 h 1538630"/>
              <a:gd name="csX1028" fmla="*/ 1052984 w 1609516"/>
              <a:gd name="csY1028" fmla="*/ 172551 h 1538630"/>
              <a:gd name="csX1029" fmla="*/ 1056108 w 1609516"/>
              <a:gd name="csY1029" fmla="*/ 172551 h 1538630"/>
              <a:gd name="csX1030" fmla="*/ 1059232 w 1609516"/>
              <a:gd name="csY1030" fmla="*/ 162686 h 1538630"/>
              <a:gd name="csX1031" fmla="*/ 1062357 w 1609516"/>
              <a:gd name="csY1031" fmla="*/ 162686 h 1538630"/>
              <a:gd name="csX1032" fmla="*/ 1063162 w 1609516"/>
              <a:gd name="csY1032" fmla="*/ 160258 h 1538630"/>
              <a:gd name="csX1033" fmla="*/ 1073292 w 1609516"/>
              <a:gd name="csY1033" fmla="*/ 140138 h 1538630"/>
              <a:gd name="csX1034" fmla="*/ 1076415 w 1609516"/>
              <a:gd name="csY1034" fmla="*/ 140138 h 1538630"/>
              <a:gd name="csX1035" fmla="*/ 1085294 w 1609516"/>
              <a:gd name="csY1035" fmla="*/ 117569 h 1538630"/>
              <a:gd name="csX1036" fmla="*/ 1087350 w 1609516"/>
              <a:gd name="csY1036" fmla="*/ 113363 h 1538630"/>
              <a:gd name="csX1037" fmla="*/ 1092037 w 1609516"/>
              <a:gd name="csY1037" fmla="*/ 111954 h 1538630"/>
              <a:gd name="csX1038" fmla="*/ 1092623 w 1609516"/>
              <a:gd name="csY1038" fmla="*/ 108695 h 1538630"/>
              <a:gd name="csX1039" fmla="*/ 1096723 w 1609516"/>
              <a:gd name="csY1039" fmla="*/ 100680 h 1538630"/>
              <a:gd name="csX1040" fmla="*/ 1098188 w 1609516"/>
              <a:gd name="csY1040" fmla="*/ 96013 h 1538630"/>
              <a:gd name="csX1041" fmla="*/ 1102288 w 1609516"/>
              <a:gd name="csY1041" fmla="*/ 87029 h 1538630"/>
              <a:gd name="csX1042" fmla="*/ 1104534 w 1609516"/>
              <a:gd name="csY1042" fmla="*/ 61222 h 1538630"/>
              <a:gd name="csX1043" fmla="*/ 1104381 w 1609516"/>
              <a:gd name="csY1043" fmla="*/ 55569 h 1538630"/>
              <a:gd name="csX1044" fmla="*/ 1104397 w 1609516"/>
              <a:gd name="csY1044" fmla="*/ 52335 h 1538630"/>
              <a:gd name="csX1045" fmla="*/ 1104436 w 1609516"/>
              <a:gd name="csY1045" fmla="*/ 48979 h 1538630"/>
              <a:gd name="csX1046" fmla="*/ 1104457 w 1609516"/>
              <a:gd name="csY1046" fmla="*/ 45575 h 1538630"/>
              <a:gd name="csX1047" fmla="*/ 1104534 w 1609516"/>
              <a:gd name="csY1047" fmla="*/ 37265 h 1538630"/>
              <a:gd name="csX1048" fmla="*/ 1107658 w 1609516"/>
              <a:gd name="csY1048" fmla="*/ 37265 h 1538630"/>
              <a:gd name="csX1049" fmla="*/ 1107463 w 1609516"/>
              <a:gd name="csY1049" fmla="*/ 31805 h 1538630"/>
              <a:gd name="csX1050" fmla="*/ 1107658 w 1609516"/>
              <a:gd name="csY1050" fmla="*/ 25991 h 1538630"/>
              <a:gd name="csX1051" fmla="*/ 1110782 w 1609516"/>
              <a:gd name="csY1051" fmla="*/ 23173 h 1538630"/>
              <a:gd name="csX1052" fmla="*/ 1111759 w 1609516"/>
              <a:gd name="csY1052" fmla="*/ 20091 h 1538630"/>
              <a:gd name="csX1053" fmla="*/ 1134507 w 1609516"/>
              <a:gd name="csY1053" fmla="*/ 2828 h 1538630"/>
              <a:gd name="csX1054" fmla="*/ 1155019 w 1609516"/>
              <a:gd name="csY1054" fmla="*/ 35 h 153863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  <a:cxn ang="0">
                <a:pos x="csX170" y="csY170"/>
              </a:cxn>
              <a:cxn ang="0">
                <a:pos x="csX171" y="csY171"/>
              </a:cxn>
              <a:cxn ang="0">
                <a:pos x="csX172" y="csY172"/>
              </a:cxn>
              <a:cxn ang="0">
                <a:pos x="csX173" y="csY173"/>
              </a:cxn>
              <a:cxn ang="0">
                <a:pos x="csX174" y="csY174"/>
              </a:cxn>
              <a:cxn ang="0">
                <a:pos x="csX175" y="csY175"/>
              </a:cxn>
              <a:cxn ang="0">
                <a:pos x="csX176" y="csY176"/>
              </a:cxn>
              <a:cxn ang="0">
                <a:pos x="csX177" y="csY177"/>
              </a:cxn>
              <a:cxn ang="0">
                <a:pos x="csX178" y="csY178"/>
              </a:cxn>
              <a:cxn ang="0">
                <a:pos x="csX179" y="csY179"/>
              </a:cxn>
              <a:cxn ang="0">
                <a:pos x="csX180" y="csY180"/>
              </a:cxn>
              <a:cxn ang="0">
                <a:pos x="csX181" y="csY181"/>
              </a:cxn>
              <a:cxn ang="0">
                <a:pos x="csX182" y="csY182"/>
              </a:cxn>
              <a:cxn ang="0">
                <a:pos x="csX183" y="csY183"/>
              </a:cxn>
              <a:cxn ang="0">
                <a:pos x="csX184" y="csY184"/>
              </a:cxn>
              <a:cxn ang="0">
                <a:pos x="csX185" y="csY185"/>
              </a:cxn>
              <a:cxn ang="0">
                <a:pos x="csX186" y="csY186"/>
              </a:cxn>
              <a:cxn ang="0">
                <a:pos x="csX187" y="csY187"/>
              </a:cxn>
              <a:cxn ang="0">
                <a:pos x="csX188" y="csY188"/>
              </a:cxn>
              <a:cxn ang="0">
                <a:pos x="csX189" y="csY189"/>
              </a:cxn>
              <a:cxn ang="0">
                <a:pos x="csX190" y="csY190"/>
              </a:cxn>
              <a:cxn ang="0">
                <a:pos x="csX191" y="csY191"/>
              </a:cxn>
              <a:cxn ang="0">
                <a:pos x="csX192" y="csY192"/>
              </a:cxn>
              <a:cxn ang="0">
                <a:pos x="csX193" y="csY193"/>
              </a:cxn>
              <a:cxn ang="0">
                <a:pos x="csX194" y="csY194"/>
              </a:cxn>
              <a:cxn ang="0">
                <a:pos x="csX195" y="csY195"/>
              </a:cxn>
              <a:cxn ang="0">
                <a:pos x="csX196" y="csY196"/>
              </a:cxn>
              <a:cxn ang="0">
                <a:pos x="csX197" y="csY197"/>
              </a:cxn>
              <a:cxn ang="0">
                <a:pos x="csX198" y="csY198"/>
              </a:cxn>
              <a:cxn ang="0">
                <a:pos x="csX199" y="csY199"/>
              </a:cxn>
              <a:cxn ang="0">
                <a:pos x="csX200" y="csY200"/>
              </a:cxn>
              <a:cxn ang="0">
                <a:pos x="csX201" y="csY201"/>
              </a:cxn>
              <a:cxn ang="0">
                <a:pos x="csX202" y="csY202"/>
              </a:cxn>
              <a:cxn ang="0">
                <a:pos x="csX203" y="csY203"/>
              </a:cxn>
              <a:cxn ang="0">
                <a:pos x="csX204" y="csY204"/>
              </a:cxn>
              <a:cxn ang="0">
                <a:pos x="csX205" y="csY205"/>
              </a:cxn>
              <a:cxn ang="0">
                <a:pos x="csX206" y="csY206"/>
              </a:cxn>
              <a:cxn ang="0">
                <a:pos x="csX207" y="csY207"/>
              </a:cxn>
              <a:cxn ang="0">
                <a:pos x="csX208" y="csY208"/>
              </a:cxn>
              <a:cxn ang="0">
                <a:pos x="csX209" y="csY209"/>
              </a:cxn>
              <a:cxn ang="0">
                <a:pos x="csX210" y="csY210"/>
              </a:cxn>
              <a:cxn ang="0">
                <a:pos x="csX211" y="csY211"/>
              </a:cxn>
              <a:cxn ang="0">
                <a:pos x="csX212" y="csY212"/>
              </a:cxn>
              <a:cxn ang="0">
                <a:pos x="csX213" y="csY213"/>
              </a:cxn>
              <a:cxn ang="0">
                <a:pos x="csX214" y="csY214"/>
              </a:cxn>
              <a:cxn ang="0">
                <a:pos x="csX215" y="csY215"/>
              </a:cxn>
              <a:cxn ang="0">
                <a:pos x="csX216" y="csY216"/>
              </a:cxn>
              <a:cxn ang="0">
                <a:pos x="csX217" y="csY217"/>
              </a:cxn>
              <a:cxn ang="0">
                <a:pos x="csX218" y="csY218"/>
              </a:cxn>
              <a:cxn ang="0">
                <a:pos x="csX219" y="csY219"/>
              </a:cxn>
              <a:cxn ang="0">
                <a:pos x="csX220" y="csY220"/>
              </a:cxn>
              <a:cxn ang="0">
                <a:pos x="csX221" y="csY221"/>
              </a:cxn>
              <a:cxn ang="0">
                <a:pos x="csX222" y="csY222"/>
              </a:cxn>
              <a:cxn ang="0">
                <a:pos x="csX223" y="csY223"/>
              </a:cxn>
              <a:cxn ang="0">
                <a:pos x="csX224" y="csY224"/>
              </a:cxn>
              <a:cxn ang="0">
                <a:pos x="csX225" y="csY225"/>
              </a:cxn>
              <a:cxn ang="0">
                <a:pos x="csX226" y="csY226"/>
              </a:cxn>
              <a:cxn ang="0">
                <a:pos x="csX227" y="csY227"/>
              </a:cxn>
              <a:cxn ang="0">
                <a:pos x="csX228" y="csY228"/>
              </a:cxn>
              <a:cxn ang="0">
                <a:pos x="csX229" y="csY229"/>
              </a:cxn>
              <a:cxn ang="0">
                <a:pos x="csX230" y="csY230"/>
              </a:cxn>
              <a:cxn ang="0">
                <a:pos x="csX231" y="csY231"/>
              </a:cxn>
              <a:cxn ang="0">
                <a:pos x="csX232" y="csY232"/>
              </a:cxn>
              <a:cxn ang="0">
                <a:pos x="csX233" y="csY233"/>
              </a:cxn>
              <a:cxn ang="0">
                <a:pos x="csX234" y="csY234"/>
              </a:cxn>
              <a:cxn ang="0">
                <a:pos x="csX235" y="csY235"/>
              </a:cxn>
              <a:cxn ang="0">
                <a:pos x="csX236" y="csY236"/>
              </a:cxn>
              <a:cxn ang="0">
                <a:pos x="csX237" y="csY237"/>
              </a:cxn>
              <a:cxn ang="0">
                <a:pos x="csX238" y="csY238"/>
              </a:cxn>
              <a:cxn ang="0">
                <a:pos x="csX239" y="csY239"/>
              </a:cxn>
              <a:cxn ang="0">
                <a:pos x="csX240" y="csY240"/>
              </a:cxn>
              <a:cxn ang="0">
                <a:pos x="csX241" y="csY241"/>
              </a:cxn>
              <a:cxn ang="0">
                <a:pos x="csX242" y="csY242"/>
              </a:cxn>
              <a:cxn ang="0">
                <a:pos x="csX243" y="csY243"/>
              </a:cxn>
              <a:cxn ang="0">
                <a:pos x="csX244" y="csY244"/>
              </a:cxn>
              <a:cxn ang="0">
                <a:pos x="csX245" y="csY245"/>
              </a:cxn>
              <a:cxn ang="0">
                <a:pos x="csX246" y="csY246"/>
              </a:cxn>
              <a:cxn ang="0">
                <a:pos x="csX247" y="csY247"/>
              </a:cxn>
              <a:cxn ang="0">
                <a:pos x="csX248" y="csY248"/>
              </a:cxn>
              <a:cxn ang="0">
                <a:pos x="csX249" y="csY249"/>
              </a:cxn>
              <a:cxn ang="0">
                <a:pos x="csX250" y="csY250"/>
              </a:cxn>
              <a:cxn ang="0">
                <a:pos x="csX251" y="csY251"/>
              </a:cxn>
              <a:cxn ang="0">
                <a:pos x="csX252" y="csY252"/>
              </a:cxn>
              <a:cxn ang="0">
                <a:pos x="csX253" y="csY253"/>
              </a:cxn>
              <a:cxn ang="0">
                <a:pos x="csX254" y="csY254"/>
              </a:cxn>
              <a:cxn ang="0">
                <a:pos x="csX255" y="csY255"/>
              </a:cxn>
              <a:cxn ang="0">
                <a:pos x="csX256" y="csY256"/>
              </a:cxn>
              <a:cxn ang="0">
                <a:pos x="csX257" y="csY257"/>
              </a:cxn>
              <a:cxn ang="0">
                <a:pos x="csX258" y="csY258"/>
              </a:cxn>
              <a:cxn ang="0">
                <a:pos x="csX259" y="csY259"/>
              </a:cxn>
              <a:cxn ang="0">
                <a:pos x="csX260" y="csY260"/>
              </a:cxn>
              <a:cxn ang="0">
                <a:pos x="csX261" y="csY261"/>
              </a:cxn>
              <a:cxn ang="0">
                <a:pos x="csX262" y="csY262"/>
              </a:cxn>
              <a:cxn ang="0">
                <a:pos x="csX263" y="csY263"/>
              </a:cxn>
              <a:cxn ang="0">
                <a:pos x="csX264" y="csY264"/>
              </a:cxn>
              <a:cxn ang="0">
                <a:pos x="csX265" y="csY265"/>
              </a:cxn>
              <a:cxn ang="0">
                <a:pos x="csX266" y="csY266"/>
              </a:cxn>
              <a:cxn ang="0">
                <a:pos x="csX267" y="csY267"/>
              </a:cxn>
              <a:cxn ang="0">
                <a:pos x="csX268" y="csY268"/>
              </a:cxn>
              <a:cxn ang="0">
                <a:pos x="csX269" y="csY269"/>
              </a:cxn>
              <a:cxn ang="0">
                <a:pos x="csX270" y="csY270"/>
              </a:cxn>
              <a:cxn ang="0">
                <a:pos x="csX271" y="csY271"/>
              </a:cxn>
              <a:cxn ang="0">
                <a:pos x="csX272" y="csY272"/>
              </a:cxn>
              <a:cxn ang="0">
                <a:pos x="csX273" y="csY273"/>
              </a:cxn>
              <a:cxn ang="0">
                <a:pos x="csX274" y="csY274"/>
              </a:cxn>
              <a:cxn ang="0">
                <a:pos x="csX275" y="csY275"/>
              </a:cxn>
              <a:cxn ang="0">
                <a:pos x="csX276" y="csY276"/>
              </a:cxn>
              <a:cxn ang="0">
                <a:pos x="csX277" y="csY277"/>
              </a:cxn>
              <a:cxn ang="0">
                <a:pos x="csX278" y="csY278"/>
              </a:cxn>
              <a:cxn ang="0">
                <a:pos x="csX279" y="csY279"/>
              </a:cxn>
              <a:cxn ang="0">
                <a:pos x="csX280" y="csY280"/>
              </a:cxn>
              <a:cxn ang="0">
                <a:pos x="csX281" y="csY281"/>
              </a:cxn>
              <a:cxn ang="0">
                <a:pos x="csX282" y="csY282"/>
              </a:cxn>
              <a:cxn ang="0">
                <a:pos x="csX283" y="csY283"/>
              </a:cxn>
              <a:cxn ang="0">
                <a:pos x="csX284" y="csY284"/>
              </a:cxn>
              <a:cxn ang="0">
                <a:pos x="csX285" y="csY285"/>
              </a:cxn>
              <a:cxn ang="0">
                <a:pos x="csX286" y="csY286"/>
              </a:cxn>
              <a:cxn ang="0">
                <a:pos x="csX287" y="csY287"/>
              </a:cxn>
              <a:cxn ang="0">
                <a:pos x="csX288" y="csY288"/>
              </a:cxn>
              <a:cxn ang="0">
                <a:pos x="csX289" y="csY289"/>
              </a:cxn>
              <a:cxn ang="0">
                <a:pos x="csX290" y="csY290"/>
              </a:cxn>
              <a:cxn ang="0">
                <a:pos x="csX291" y="csY291"/>
              </a:cxn>
              <a:cxn ang="0">
                <a:pos x="csX292" y="csY292"/>
              </a:cxn>
              <a:cxn ang="0">
                <a:pos x="csX293" y="csY293"/>
              </a:cxn>
              <a:cxn ang="0">
                <a:pos x="csX294" y="csY294"/>
              </a:cxn>
              <a:cxn ang="0">
                <a:pos x="csX295" y="csY295"/>
              </a:cxn>
              <a:cxn ang="0">
                <a:pos x="csX296" y="csY296"/>
              </a:cxn>
              <a:cxn ang="0">
                <a:pos x="csX297" y="csY297"/>
              </a:cxn>
              <a:cxn ang="0">
                <a:pos x="csX298" y="csY298"/>
              </a:cxn>
              <a:cxn ang="0">
                <a:pos x="csX299" y="csY299"/>
              </a:cxn>
              <a:cxn ang="0">
                <a:pos x="csX300" y="csY300"/>
              </a:cxn>
              <a:cxn ang="0">
                <a:pos x="csX301" y="csY301"/>
              </a:cxn>
              <a:cxn ang="0">
                <a:pos x="csX302" y="csY302"/>
              </a:cxn>
              <a:cxn ang="0">
                <a:pos x="csX303" y="csY303"/>
              </a:cxn>
              <a:cxn ang="0">
                <a:pos x="csX304" y="csY304"/>
              </a:cxn>
              <a:cxn ang="0">
                <a:pos x="csX305" y="csY305"/>
              </a:cxn>
              <a:cxn ang="0">
                <a:pos x="csX306" y="csY306"/>
              </a:cxn>
              <a:cxn ang="0">
                <a:pos x="csX307" y="csY307"/>
              </a:cxn>
              <a:cxn ang="0">
                <a:pos x="csX308" y="csY308"/>
              </a:cxn>
              <a:cxn ang="0">
                <a:pos x="csX309" y="csY309"/>
              </a:cxn>
              <a:cxn ang="0">
                <a:pos x="csX310" y="csY310"/>
              </a:cxn>
              <a:cxn ang="0">
                <a:pos x="csX311" y="csY311"/>
              </a:cxn>
              <a:cxn ang="0">
                <a:pos x="csX312" y="csY312"/>
              </a:cxn>
              <a:cxn ang="0">
                <a:pos x="csX313" y="csY313"/>
              </a:cxn>
              <a:cxn ang="0">
                <a:pos x="csX314" y="csY314"/>
              </a:cxn>
              <a:cxn ang="0">
                <a:pos x="csX315" y="csY315"/>
              </a:cxn>
              <a:cxn ang="0">
                <a:pos x="csX316" y="csY316"/>
              </a:cxn>
              <a:cxn ang="0">
                <a:pos x="csX317" y="csY317"/>
              </a:cxn>
              <a:cxn ang="0">
                <a:pos x="csX318" y="csY318"/>
              </a:cxn>
              <a:cxn ang="0">
                <a:pos x="csX319" y="csY319"/>
              </a:cxn>
              <a:cxn ang="0">
                <a:pos x="csX320" y="csY320"/>
              </a:cxn>
              <a:cxn ang="0">
                <a:pos x="csX321" y="csY321"/>
              </a:cxn>
              <a:cxn ang="0">
                <a:pos x="csX322" y="csY322"/>
              </a:cxn>
              <a:cxn ang="0">
                <a:pos x="csX323" y="csY323"/>
              </a:cxn>
              <a:cxn ang="0">
                <a:pos x="csX324" y="csY324"/>
              </a:cxn>
              <a:cxn ang="0">
                <a:pos x="csX325" y="csY325"/>
              </a:cxn>
              <a:cxn ang="0">
                <a:pos x="csX326" y="csY326"/>
              </a:cxn>
              <a:cxn ang="0">
                <a:pos x="csX327" y="csY327"/>
              </a:cxn>
              <a:cxn ang="0">
                <a:pos x="csX328" y="csY328"/>
              </a:cxn>
              <a:cxn ang="0">
                <a:pos x="csX329" y="csY329"/>
              </a:cxn>
              <a:cxn ang="0">
                <a:pos x="csX330" y="csY330"/>
              </a:cxn>
              <a:cxn ang="0">
                <a:pos x="csX331" y="csY331"/>
              </a:cxn>
              <a:cxn ang="0">
                <a:pos x="csX332" y="csY332"/>
              </a:cxn>
              <a:cxn ang="0">
                <a:pos x="csX333" y="csY333"/>
              </a:cxn>
              <a:cxn ang="0">
                <a:pos x="csX334" y="csY334"/>
              </a:cxn>
              <a:cxn ang="0">
                <a:pos x="csX335" y="csY335"/>
              </a:cxn>
              <a:cxn ang="0">
                <a:pos x="csX336" y="csY336"/>
              </a:cxn>
              <a:cxn ang="0">
                <a:pos x="csX337" y="csY337"/>
              </a:cxn>
              <a:cxn ang="0">
                <a:pos x="csX338" y="csY338"/>
              </a:cxn>
              <a:cxn ang="0">
                <a:pos x="csX339" y="csY339"/>
              </a:cxn>
              <a:cxn ang="0">
                <a:pos x="csX340" y="csY340"/>
              </a:cxn>
              <a:cxn ang="0">
                <a:pos x="csX341" y="csY341"/>
              </a:cxn>
              <a:cxn ang="0">
                <a:pos x="csX342" y="csY342"/>
              </a:cxn>
              <a:cxn ang="0">
                <a:pos x="csX343" y="csY343"/>
              </a:cxn>
              <a:cxn ang="0">
                <a:pos x="csX344" y="csY344"/>
              </a:cxn>
              <a:cxn ang="0">
                <a:pos x="csX345" y="csY345"/>
              </a:cxn>
              <a:cxn ang="0">
                <a:pos x="csX346" y="csY346"/>
              </a:cxn>
              <a:cxn ang="0">
                <a:pos x="csX347" y="csY347"/>
              </a:cxn>
              <a:cxn ang="0">
                <a:pos x="csX348" y="csY348"/>
              </a:cxn>
              <a:cxn ang="0">
                <a:pos x="csX349" y="csY349"/>
              </a:cxn>
              <a:cxn ang="0">
                <a:pos x="csX350" y="csY350"/>
              </a:cxn>
              <a:cxn ang="0">
                <a:pos x="csX351" y="csY351"/>
              </a:cxn>
              <a:cxn ang="0">
                <a:pos x="csX352" y="csY352"/>
              </a:cxn>
              <a:cxn ang="0">
                <a:pos x="csX353" y="csY353"/>
              </a:cxn>
              <a:cxn ang="0">
                <a:pos x="csX354" y="csY354"/>
              </a:cxn>
              <a:cxn ang="0">
                <a:pos x="csX355" y="csY355"/>
              </a:cxn>
              <a:cxn ang="0">
                <a:pos x="csX356" y="csY356"/>
              </a:cxn>
              <a:cxn ang="0">
                <a:pos x="csX357" y="csY357"/>
              </a:cxn>
              <a:cxn ang="0">
                <a:pos x="csX358" y="csY358"/>
              </a:cxn>
              <a:cxn ang="0">
                <a:pos x="csX359" y="csY359"/>
              </a:cxn>
              <a:cxn ang="0">
                <a:pos x="csX360" y="csY360"/>
              </a:cxn>
              <a:cxn ang="0">
                <a:pos x="csX361" y="csY361"/>
              </a:cxn>
              <a:cxn ang="0">
                <a:pos x="csX362" y="csY362"/>
              </a:cxn>
              <a:cxn ang="0">
                <a:pos x="csX363" y="csY363"/>
              </a:cxn>
              <a:cxn ang="0">
                <a:pos x="csX364" y="csY364"/>
              </a:cxn>
              <a:cxn ang="0">
                <a:pos x="csX365" y="csY365"/>
              </a:cxn>
              <a:cxn ang="0">
                <a:pos x="csX366" y="csY366"/>
              </a:cxn>
              <a:cxn ang="0">
                <a:pos x="csX367" y="csY367"/>
              </a:cxn>
              <a:cxn ang="0">
                <a:pos x="csX368" y="csY368"/>
              </a:cxn>
              <a:cxn ang="0">
                <a:pos x="csX369" y="csY369"/>
              </a:cxn>
              <a:cxn ang="0">
                <a:pos x="csX370" y="csY370"/>
              </a:cxn>
              <a:cxn ang="0">
                <a:pos x="csX371" y="csY371"/>
              </a:cxn>
              <a:cxn ang="0">
                <a:pos x="csX372" y="csY372"/>
              </a:cxn>
              <a:cxn ang="0">
                <a:pos x="csX373" y="csY373"/>
              </a:cxn>
              <a:cxn ang="0">
                <a:pos x="csX374" y="csY374"/>
              </a:cxn>
              <a:cxn ang="0">
                <a:pos x="csX375" y="csY375"/>
              </a:cxn>
              <a:cxn ang="0">
                <a:pos x="csX376" y="csY376"/>
              </a:cxn>
              <a:cxn ang="0">
                <a:pos x="csX377" y="csY377"/>
              </a:cxn>
              <a:cxn ang="0">
                <a:pos x="csX378" y="csY378"/>
              </a:cxn>
              <a:cxn ang="0">
                <a:pos x="csX379" y="csY379"/>
              </a:cxn>
              <a:cxn ang="0">
                <a:pos x="csX380" y="csY380"/>
              </a:cxn>
              <a:cxn ang="0">
                <a:pos x="csX381" y="csY381"/>
              </a:cxn>
              <a:cxn ang="0">
                <a:pos x="csX382" y="csY382"/>
              </a:cxn>
              <a:cxn ang="0">
                <a:pos x="csX383" y="csY383"/>
              </a:cxn>
              <a:cxn ang="0">
                <a:pos x="csX384" y="csY384"/>
              </a:cxn>
              <a:cxn ang="0">
                <a:pos x="csX385" y="csY385"/>
              </a:cxn>
              <a:cxn ang="0">
                <a:pos x="csX386" y="csY386"/>
              </a:cxn>
              <a:cxn ang="0">
                <a:pos x="csX387" y="csY387"/>
              </a:cxn>
              <a:cxn ang="0">
                <a:pos x="csX388" y="csY388"/>
              </a:cxn>
              <a:cxn ang="0">
                <a:pos x="csX389" y="csY389"/>
              </a:cxn>
              <a:cxn ang="0">
                <a:pos x="csX390" y="csY390"/>
              </a:cxn>
              <a:cxn ang="0">
                <a:pos x="csX391" y="csY391"/>
              </a:cxn>
              <a:cxn ang="0">
                <a:pos x="csX392" y="csY392"/>
              </a:cxn>
              <a:cxn ang="0">
                <a:pos x="csX393" y="csY393"/>
              </a:cxn>
              <a:cxn ang="0">
                <a:pos x="csX394" y="csY394"/>
              </a:cxn>
              <a:cxn ang="0">
                <a:pos x="csX395" y="csY395"/>
              </a:cxn>
              <a:cxn ang="0">
                <a:pos x="csX396" y="csY396"/>
              </a:cxn>
              <a:cxn ang="0">
                <a:pos x="csX397" y="csY397"/>
              </a:cxn>
              <a:cxn ang="0">
                <a:pos x="csX398" y="csY398"/>
              </a:cxn>
              <a:cxn ang="0">
                <a:pos x="csX399" y="csY399"/>
              </a:cxn>
              <a:cxn ang="0">
                <a:pos x="csX400" y="csY400"/>
              </a:cxn>
              <a:cxn ang="0">
                <a:pos x="csX401" y="csY401"/>
              </a:cxn>
              <a:cxn ang="0">
                <a:pos x="csX402" y="csY402"/>
              </a:cxn>
              <a:cxn ang="0">
                <a:pos x="csX403" y="csY403"/>
              </a:cxn>
              <a:cxn ang="0">
                <a:pos x="csX404" y="csY404"/>
              </a:cxn>
              <a:cxn ang="0">
                <a:pos x="csX405" y="csY405"/>
              </a:cxn>
              <a:cxn ang="0">
                <a:pos x="csX406" y="csY406"/>
              </a:cxn>
              <a:cxn ang="0">
                <a:pos x="csX407" y="csY407"/>
              </a:cxn>
              <a:cxn ang="0">
                <a:pos x="csX408" y="csY408"/>
              </a:cxn>
              <a:cxn ang="0">
                <a:pos x="csX409" y="csY409"/>
              </a:cxn>
              <a:cxn ang="0">
                <a:pos x="csX410" y="csY410"/>
              </a:cxn>
              <a:cxn ang="0">
                <a:pos x="csX411" y="csY411"/>
              </a:cxn>
              <a:cxn ang="0">
                <a:pos x="csX412" y="csY412"/>
              </a:cxn>
              <a:cxn ang="0">
                <a:pos x="csX413" y="csY413"/>
              </a:cxn>
              <a:cxn ang="0">
                <a:pos x="csX414" y="csY414"/>
              </a:cxn>
              <a:cxn ang="0">
                <a:pos x="csX415" y="csY415"/>
              </a:cxn>
              <a:cxn ang="0">
                <a:pos x="csX416" y="csY416"/>
              </a:cxn>
              <a:cxn ang="0">
                <a:pos x="csX417" y="csY417"/>
              </a:cxn>
              <a:cxn ang="0">
                <a:pos x="csX418" y="csY418"/>
              </a:cxn>
              <a:cxn ang="0">
                <a:pos x="csX419" y="csY419"/>
              </a:cxn>
              <a:cxn ang="0">
                <a:pos x="csX420" y="csY420"/>
              </a:cxn>
              <a:cxn ang="0">
                <a:pos x="csX421" y="csY421"/>
              </a:cxn>
              <a:cxn ang="0">
                <a:pos x="csX422" y="csY422"/>
              </a:cxn>
              <a:cxn ang="0">
                <a:pos x="csX423" y="csY423"/>
              </a:cxn>
              <a:cxn ang="0">
                <a:pos x="csX424" y="csY424"/>
              </a:cxn>
              <a:cxn ang="0">
                <a:pos x="csX425" y="csY425"/>
              </a:cxn>
              <a:cxn ang="0">
                <a:pos x="csX426" y="csY426"/>
              </a:cxn>
              <a:cxn ang="0">
                <a:pos x="csX427" y="csY427"/>
              </a:cxn>
              <a:cxn ang="0">
                <a:pos x="csX428" y="csY428"/>
              </a:cxn>
              <a:cxn ang="0">
                <a:pos x="csX429" y="csY429"/>
              </a:cxn>
              <a:cxn ang="0">
                <a:pos x="csX430" y="csY430"/>
              </a:cxn>
              <a:cxn ang="0">
                <a:pos x="csX431" y="csY431"/>
              </a:cxn>
              <a:cxn ang="0">
                <a:pos x="csX432" y="csY432"/>
              </a:cxn>
              <a:cxn ang="0">
                <a:pos x="csX433" y="csY433"/>
              </a:cxn>
              <a:cxn ang="0">
                <a:pos x="csX434" y="csY434"/>
              </a:cxn>
              <a:cxn ang="0">
                <a:pos x="csX435" y="csY435"/>
              </a:cxn>
              <a:cxn ang="0">
                <a:pos x="csX436" y="csY436"/>
              </a:cxn>
              <a:cxn ang="0">
                <a:pos x="csX437" y="csY437"/>
              </a:cxn>
              <a:cxn ang="0">
                <a:pos x="csX438" y="csY438"/>
              </a:cxn>
              <a:cxn ang="0">
                <a:pos x="csX439" y="csY439"/>
              </a:cxn>
              <a:cxn ang="0">
                <a:pos x="csX440" y="csY440"/>
              </a:cxn>
              <a:cxn ang="0">
                <a:pos x="csX441" y="csY441"/>
              </a:cxn>
              <a:cxn ang="0">
                <a:pos x="csX442" y="csY442"/>
              </a:cxn>
              <a:cxn ang="0">
                <a:pos x="csX443" y="csY443"/>
              </a:cxn>
              <a:cxn ang="0">
                <a:pos x="csX444" y="csY444"/>
              </a:cxn>
              <a:cxn ang="0">
                <a:pos x="csX445" y="csY445"/>
              </a:cxn>
              <a:cxn ang="0">
                <a:pos x="csX446" y="csY446"/>
              </a:cxn>
              <a:cxn ang="0">
                <a:pos x="csX447" y="csY447"/>
              </a:cxn>
              <a:cxn ang="0">
                <a:pos x="csX448" y="csY448"/>
              </a:cxn>
              <a:cxn ang="0">
                <a:pos x="csX449" y="csY449"/>
              </a:cxn>
              <a:cxn ang="0">
                <a:pos x="csX450" y="csY450"/>
              </a:cxn>
              <a:cxn ang="0">
                <a:pos x="csX451" y="csY451"/>
              </a:cxn>
              <a:cxn ang="0">
                <a:pos x="csX452" y="csY452"/>
              </a:cxn>
              <a:cxn ang="0">
                <a:pos x="csX453" y="csY453"/>
              </a:cxn>
              <a:cxn ang="0">
                <a:pos x="csX454" y="csY454"/>
              </a:cxn>
              <a:cxn ang="0">
                <a:pos x="csX455" y="csY455"/>
              </a:cxn>
              <a:cxn ang="0">
                <a:pos x="csX456" y="csY456"/>
              </a:cxn>
              <a:cxn ang="0">
                <a:pos x="csX457" y="csY457"/>
              </a:cxn>
              <a:cxn ang="0">
                <a:pos x="csX458" y="csY458"/>
              </a:cxn>
              <a:cxn ang="0">
                <a:pos x="csX459" y="csY459"/>
              </a:cxn>
              <a:cxn ang="0">
                <a:pos x="csX460" y="csY460"/>
              </a:cxn>
              <a:cxn ang="0">
                <a:pos x="csX461" y="csY461"/>
              </a:cxn>
              <a:cxn ang="0">
                <a:pos x="csX462" y="csY462"/>
              </a:cxn>
              <a:cxn ang="0">
                <a:pos x="csX463" y="csY463"/>
              </a:cxn>
              <a:cxn ang="0">
                <a:pos x="csX464" y="csY464"/>
              </a:cxn>
              <a:cxn ang="0">
                <a:pos x="csX465" y="csY465"/>
              </a:cxn>
              <a:cxn ang="0">
                <a:pos x="csX466" y="csY466"/>
              </a:cxn>
              <a:cxn ang="0">
                <a:pos x="csX467" y="csY467"/>
              </a:cxn>
              <a:cxn ang="0">
                <a:pos x="csX468" y="csY468"/>
              </a:cxn>
              <a:cxn ang="0">
                <a:pos x="csX469" y="csY469"/>
              </a:cxn>
              <a:cxn ang="0">
                <a:pos x="csX470" y="csY470"/>
              </a:cxn>
              <a:cxn ang="0">
                <a:pos x="csX471" y="csY471"/>
              </a:cxn>
              <a:cxn ang="0">
                <a:pos x="csX472" y="csY472"/>
              </a:cxn>
              <a:cxn ang="0">
                <a:pos x="csX473" y="csY473"/>
              </a:cxn>
              <a:cxn ang="0">
                <a:pos x="csX474" y="csY474"/>
              </a:cxn>
              <a:cxn ang="0">
                <a:pos x="csX475" y="csY475"/>
              </a:cxn>
              <a:cxn ang="0">
                <a:pos x="csX476" y="csY476"/>
              </a:cxn>
              <a:cxn ang="0">
                <a:pos x="csX477" y="csY477"/>
              </a:cxn>
              <a:cxn ang="0">
                <a:pos x="csX478" y="csY478"/>
              </a:cxn>
              <a:cxn ang="0">
                <a:pos x="csX479" y="csY479"/>
              </a:cxn>
              <a:cxn ang="0">
                <a:pos x="csX480" y="csY480"/>
              </a:cxn>
              <a:cxn ang="0">
                <a:pos x="csX481" y="csY481"/>
              </a:cxn>
              <a:cxn ang="0">
                <a:pos x="csX482" y="csY482"/>
              </a:cxn>
              <a:cxn ang="0">
                <a:pos x="csX483" y="csY483"/>
              </a:cxn>
              <a:cxn ang="0">
                <a:pos x="csX484" y="csY484"/>
              </a:cxn>
              <a:cxn ang="0">
                <a:pos x="csX485" y="csY485"/>
              </a:cxn>
              <a:cxn ang="0">
                <a:pos x="csX486" y="csY486"/>
              </a:cxn>
              <a:cxn ang="0">
                <a:pos x="csX487" y="csY487"/>
              </a:cxn>
              <a:cxn ang="0">
                <a:pos x="csX488" y="csY488"/>
              </a:cxn>
              <a:cxn ang="0">
                <a:pos x="csX489" y="csY489"/>
              </a:cxn>
              <a:cxn ang="0">
                <a:pos x="csX490" y="csY490"/>
              </a:cxn>
              <a:cxn ang="0">
                <a:pos x="csX491" y="csY491"/>
              </a:cxn>
              <a:cxn ang="0">
                <a:pos x="csX492" y="csY492"/>
              </a:cxn>
              <a:cxn ang="0">
                <a:pos x="csX493" y="csY493"/>
              </a:cxn>
              <a:cxn ang="0">
                <a:pos x="csX494" y="csY494"/>
              </a:cxn>
              <a:cxn ang="0">
                <a:pos x="csX495" y="csY495"/>
              </a:cxn>
              <a:cxn ang="0">
                <a:pos x="csX496" y="csY496"/>
              </a:cxn>
              <a:cxn ang="0">
                <a:pos x="csX497" y="csY497"/>
              </a:cxn>
              <a:cxn ang="0">
                <a:pos x="csX498" y="csY498"/>
              </a:cxn>
              <a:cxn ang="0">
                <a:pos x="csX499" y="csY499"/>
              </a:cxn>
              <a:cxn ang="0">
                <a:pos x="csX500" y="csY500"/>
              </a:cxn>
              <a:cxn ang="0">
                <a:pos x="csX501" y="csY501"/>
              </a:cxn>
              <a:cxn ang="0">
                <a:pos x="csX502" y="csY502"/>
              </a:cxn>
              <a:cxn ang="0">
                <a:pos x="csX503" y="csY503"/>
              </a:cxn>
              <a:cxn ang="0">
                <a:pos x="csX504" y="csY504"/>
              </a:cxn>
              <a:cxn ang="0">
                <a:pos x="csX505" y="csY505"/>
              </a:cxn>
              <a:cxn ang="0">
                <a:pos x="csX506" y="csY506"/>
              </a:cxn>
              <a:cxn ang="0">
                <a:pos x="csX507" y="csY507"/>
              </a:cxn>
              <a:cxn ang="0">
                <a:pos x="csX508" y="csY508"/>
              </a:cxn>
              <a:cxn ang="0">
                <a:pos x="csX509" y="csY509"/>
              </a:cxn>
              <a:cxn ang="0">
                <a:pos x="csX510" y="csY510"/>
              </a:cxn>
              <a:cxn ang="0">
                <a:pos x="csX511" y="csY511"/>
              </a:cxn>
              <a:cxn ang="0">
                <a:pos x="csX512" y="csY512"/>
              </a:cxn>
              <a:cxn ang="0">
                <a:pos x="csX513" y="csY513"/>
              </a:cxn>
              <a:cxn ang="0">
                <a:pos x="csX514" y="csY514"/>
              </a:cxn>
              <a:cxn ang="0">
                <a:pos x="csX515" y="csY515"/>
              </a:cxn>
              <a:cxn ang="0">
                <a:pos x="csX516" y="csY516"/>
              </a:cxn>
              <a:cxn ang="0">
                <a:pos x="csX517" y="csY517"/>
              </a:cxn>
              <a:cxn ang="0">
                <a:pos x="csX518" y="csY518"/>
              </a:cxn>
              <a:cxn ang="0">
                <a:pos x="csX519" y="csY519"/>
              </a:cxn>
              <a:cxn ang="0">
                <a:pos x="csX520" y="csY520"/>
              </a:cxn>
              <a:cxn ang="0">
                <a:pos x="csX521" y="csY521"/>
              </a:cxn>
              <a:cxn ang="0">
                <a:pos x="csX522" y="csY522"/>
              </a:cxn>
              <a:cxn ang="0">
                <a:pos x="csX523" y="csY523"/>
              </a:cxn>
              <a:cxn ang="0">
                <a:pos x="csX524" y="csY524"/>
              </a:cxn>
              <a:cxn ang="0">
                <a:pos x="csX525" y="csY525"/>
              </a:cxn>
              <a:cxn ang="0">
                <a:pos x="csX526" y="csY526"/>
              </a:cxn>
              <a:cxn ang="0">
                <a:pos x="csX527" y="csY527"/>
              </a:cxn>
              <a:cxn ang="0">
                <a:pos x="csX528" y="csY528"/>
              </a:cxn>
              <a:cxn ang="0">
                <a:pos x="csX529" y="csY529"/>
              </a:cxn>
              <a:cxn ang="0">
                <a:pos x="csX530" y="csY530"/>
              </a:cxn>
              <a:cxn ang="0">
                <a:pos x="csX531" y="csY531"/>
              </a:cxn>
              <a:cxn ang="0">
                <a:pos x="csX532" y="csY532"/>
              </a:cxn>
              <a:cxn ang="0">
                <a:pos x="csX533" y="csY533"/>
              </a:cxn>
              <a:cxn ang="0">
                <a:pos x="csX534" y="csY534"/>
              </a:cxn>
              <a:cxn ang="0">
                <a:pos x="csX535" y="csY535"/>
              </a:cxn>
              <a:cxn ang="0">
                <a:pos x="csX536" y="csY536"/>
              </a:cxn>
              <a:cxn ang="0">
                <a:pos x="csX537" y="csY537"/>
              </a:cxn>
              <a:cxn ang="0">
                <a:pos x="csX538" y="csY538"/>
              </a:cxn>
              <a:cxn ang="0">
                <a:pos x="csX539" y="csY539"/>
              </a:cxn>
              <a:cxn ang="0">
                <a:pos x="csX540" y="csY540"/>
              </a:cxn>
              <a:cxn ang="0">
                <a:pos x="csX541" y="csY541"/>
              </a:cxn>
              <a:cxn ang="0">
                <a:pos x="csX542" y="csY542"/>
              </a:cxn>
              <a:cxn ang="0">
                <a:pos x="csX543" y="csY543"/>
              </a:cxn>
              <a:cxn ang="0">
                <a:pos x="csX544" y="csY544"/>
              </a:cxn>
              <a:cxn ang="0">
                <a:pos x="csX545" y="csY545"/>
              </a:cxn>
              <a:cxn ang="0">
                <a:pos x="csX546" y="csY546"/>
              </a:cxn>
              <a:cxn ang="0">
                <a:pos x="csX547" y="csY547"/>
              </a:cxn>
              <a:cxn ang="0">
                <a:pos x="csX548" y="csY548"/>
              </a:cxn>
              <a:cxn ang="0">
                <a:pos x="csX549" y="csY549"/>
              </a:cxn>
              <a:cxn ang="0">
                <a:pos x="csX550" y="csY550"/>
              </a:cxn>
              <a:cxn ang="0">
                <a:pos x="csX551" y="csY551"/>
              </a:cxn>
              <a:cxn ang="0">
                <a:pos x="csX552" y="csY552"/>
              </a:cxn>
              <a:cxn ang="0">
                <a:pos x="csX553" y="csY553"/>
              </a:cxn>
              <a:cxn ang="0">
                <a:pos x="csX554" y="csY554"/>
              </a:cxn>
              <a:cxn ang="0">
                <a:pos x="csX555" y="csY555"/>
              </a:cxn>
              <a:cxn ang="0">
                <a:pos x="csX556" y="csY556"/>
              </a:cxn>
              <a:cxn ang="0">
                <a:pos x="csX557" y="csY557"/>
              </a:cxn>
              <a:cxn ang="0">
                <a:pos x="csX558" y="csY558"/>
              </a:cxn>
              <a:cxn ang="0">
                <a:pos x="csX559" y="csY559"/>
              </a:cxn>
              <a:cxn ang="0">
                <a:pos x="csX560" y="csY560"/>
              </a:cxn>
              <a:cxn ang="0">
                <a:pos x="csX561" y="csY561"/>
              </a:cxn>
              <a:cxn ang="0">
                <a:pos x="csX562" y="csY562"/>
              </a:cxn>
              <a:cxn ang="0">
                <a:pos x="csX563" y="csY563"/>
              </a:cxn>
              <a:cxn ang="0">
                <a:pos x="csX564" y="csY564"/>
              </a:cxn>
              <a:cxn ang="0">
                <a:pos x="csX565" y="csY565"/>
              </a:cxn>
              <a:cxn ang="0">
                <a:pos x="csX566" y="csY566"/>
              </a:cxn>
              <a:cxn ang="0">
                <a:pos x="csX567" y="csY567"/>
              </a:cxn>
              <a:cxn ang="0">
                <a:pos x="csX568" y="csY568"/>
              </a:cxn>
              <a:cxn ang="0">
                <a:pos x="csX569" y="csY569"/>
              </a:cxn>
              <a:cxn ang="0">
                <a:pos x="csX570" y="csY570"/>
              </a:cxn>
              <a:cxn ang="0">
                <a:pos x="csX571" y="csY571"/>
              </a:cxn>
              <a:cxn ang="0">
                <a:pos x="csX572" y="csY572"/>
              </a:cxn>
              <a:cxn ang="0">
                <a:pos x="csX573" y="csY573"/>
              </a:cxn>
              <a:cxn ang="0">
                <a:pos x="csX574" y="csY574"/>
              </a:cxn>
              <a:cxn ang="0">
                <a:pos x="csX575" y="csY575"/>
              </a:cxn>
              <a:cxn ang="0">
                <a:pos x="csX576" y="csY576"/>
              </a:cxn>
              <a:cxn ang="0">
                <a:pos x="csX577" y="csY577"/>
              </a:cxn>
              <a:cxn ang="0">
                <a:pos x="csX578" y="csY578"/>
              </a:cxn>
              <a:cxn ang="0">
                <a:pos x="csX579" y="csY579"/>
              </a:cxn>
              <a:cxn ang="0">
                <a:pos x="csX580" y="csY580"/>
              </a:cxn>
              <a:cxn ang="0">
                <a:pos x="csX581" y="csY581"/>
              </a:cxn>
              <a:cxn ang="0">
                <a:pos x="csX582" y="csY582"/>
              </a:cxn>
              <a:cxn ang="0">
                <a:pos x="csX583" y="csY583"/>
              </a:cxn>
              <a:cxn ang="0">
                <a:pos x="csX584" y="csY584"/>
              </a:cxn>
              <a:cxn ang="0">
                <a:pos x="csX585" y="csY585"/>
              </a:cxn>
              <a:cxn ang="0">
                <a:pos x="csX586" y="csY586"/>
              </a:cxn>
              <a:cxn ang="0">
                <a:pos x="csX587" y="csY587"/>
              </a:cxn>
              <a:cxn ang="0">
                <a:pos x="csX588" y="csY588"/>
              </a:cxn>
              <a:cxn ang="0">
                <a:pos x="csX589" y="csY589"/>
              </a:cxn>
              <a:cxn ang="0">
                <a:pos x="csX590" y="csY590"/>
              </a:cxn>
              <a:cxn ang="0">
                <a:pos x="csX591" y="csY591"/>
              </a:cxn>
              <a:cxn ang="0">
                <a:pos x="csX592" y="csY592"/>
              </a:cxn>
              <a:cxn ang="0">
                <a:pos x="csX593" y="csY593"/>
              </a:cxn>
              <a:cxn ang="0">
                <a:pos x="csX594" y="csY594"/>
              </a:cxn>
              <a:cxn ang="0">
                <a:pos x="csX595" y="csY595"/>
              </a:cxn>
              <a:cxn ang="0">
                <a:pos x="csX596" y="csY596"/>
              </a:cxn>
              <a:cxn ang="0">
                <a:pos x="csX597" y="csY597"/>
              </a:cxn>
              <a:cxn ang="0">
                <a:pos x="csX598" y="csY598"/>
              </a:cxn>
              <a:cxn ang="0">
                <a:pos x="csX599" y="csY599"/>
              </a:cxn>
              <a:cxn ang="0">
                <a:pos x="csX600" y="csY600"/>
              </a:cxn>
              <a:cxn ang="0">
                <a:pos x="csX601" y="csY601"/>
              </a:cxn>
              <a:cxn ang="0">
                <a:pos x="csX602" y="csY602"/>
              </a:cxn>
              <a:cxn ang="0">
                <a:pos x="csX603" y="csY603"/>
              </a:cxn>
              <a:cxn ang="0">
                <a:pos x="csX604" y="csY604"/>
              </a:cxn>
              <a:cxn ang="0">
                <a:pos x="csX605" y="csY605"/>
              </a:cxn>
              <a:cxn ang="0">
                <a:pos x="csX606" y="csY606"/>
              </a:cxn>
              <a:cxn ang="0">
                <a:pos x="csX607" y="csY607"/>
              </a:cxn>
              <a:cxn ang="0">
                <a:pos x="csX608" y="csY608"/>
              </a:cxn>
              <a:cxn ang="0">
                <a:pos x="csX609" y="csY609"/>
              </a:cxn>
              <a:cxn ang="0">
                <a:pos x="csX610" y="csY610"/>
              </a:cxn>
              <a:cxn ang="0">
                <a:pos x="csX611" y="csY611"/>
              </a:cxn>
              <a:cxn ang="0">
                <a:pos x="csX612" y="csY612"/>
              </a:cxn>
              <a:cxn ang="0">
                <a:pos x="csX613" y="csY613"/>
              </a:cxn>
              <a:cxn ang="0">
                <a:pos x="csX614" y="csY614"/>
              </a:cxn>
              <a:cxn ang="0">
                <a:pos x="csX615" y="csY615"/>
              </a:cxn>
              <a:cxn ang="0">
                <a:pos x="csX616" y="csY616"/>
              </a:cxn>
              <a:cxn ang="0">
                <a:pos x="csX617" y="csY617"/>
              </a:cxn>
              <a:cxn ang="0">
                <a:pos x="csX618" y="csY618"/>
              </a:cxn>
              <a:cxn ang="0">
                <a:pos x="csX619" y="csY619"/>
              </a:cxn>
              <a:cxn ang="0">
                <a:pos x="csX620" y="csY620"/>
              </a:cxn>
              <a:cxn ang="0">
                <a:pos x="csX621" y="csY621"/>
              </a:cxn>
              <a:cxn ang="0">
                <a:pos x="csX622" y="csY622"/>
              </a:cxn>
              <a:cxn ang="0">
                <a:pos x="csX623" y="csY623"/>
              </a:cxn>
              <a:cxn ang="0">
                <a:pos x="csX624" y="csY624"/>
              </a:cxn>
              <a:cxn ang="0">
                <a:pos x="csX625" y="csY625"/>
              </a:cxn>
              <a:cxn ang="0">
                <a:pos x="csX626" y="csY626"/>
              </a:cxn>
              <a:cxn ang="0">
                <a:pos x="csX627" y="csY627"/>
              </a:cxn>
              <a:cxn ang="0">
                <a:pos x="csX628" y="csY628"/>
              </a:cxn>
              <a:cxn ang="0">
                <a:pos x="csX629" y="csY629"/>
              </a:cxn>
              <a:cxn ang="0">
                <a:pos x="csX630" y="csY630"/>
              </a:cxn>
              <a:cxn ang="0">
                <a:pos x="csX631" y="csY631"/>
              </a:cxn>
              <a:cxn ang="0">
                <a:pos x="csX632" y="csY632"/>
              </a:cxn>
              <a:cxn ang="0">
                <a:pos x="csX633" y="csY633"/>
              </a:cxn>
              <a:cxn ang="0">
                <a:pos x="csX634" y="csY634"/>
              </a:cxn>
              <a:cxn ang="0">
                <a:pos x="csX635" y="csY635"/>
              </a:cxn>
              <a:cxn ang="0">
                <a:pos x="csX636" y="csY636"/>
              </a:cxn>
              <a:cxn ang="0">
                <a:pos x="csX637" y="csY637"/>
              </a:cxn>
              <a:cxn ang="0">
                <a:pos x="csX638" y="csY638"/>
              </a:cxn>
              <a:cxn ang="0">
                <a:pos x="csX639" y="csY639"/>
              </a:cxn>
              <a:cxn ang="0">
                <a:pos x="csX640" y="csY640"/>
              </a:cxn>
              <a:cxn ang="0">
                <a:pos x="csX641" y="csY641"/>
              </a:cxn>
              <a:cxn ang="0">
                <a:pos x="csX642" y="csY642"/>
              </a:cxn>
              <a:cxn ang="0">
                <a:pos x="csX643" y="csY643"/>
              </a:cxn>
              <a:cxn ang="0">
                <a:pos x="csX644" y="csY644"/>
              </a:cxn>
              <a:cxn ang="0">
                <a:pos x="csX645" y="csY645"/>
              </a:cxn>
              <a:cxn ang="0">
                <a:pos x="csX646" y="csY646"/>
              </a:cxn>
              <a:cxn ang="0">
                <a:pos x="csX647" y="csY647"/>
              </a:cxn>
              <a:cxn ang="0">
                <a:pos x="csX648" y="csY648"/>
              </a:cxn>
              <a:cxn ang="0">
                <a:pos x="csX649" y="csY649"/>
              </a:cxn>
              <a:cxn ang="0">
                <a:pos x="csX650" y="csY650"/>
              </a:cxn>
              <a:cxn ang="0">
                <a:pos x="csX651" y="csY651"/>
              </a:cxn>
              <a:cxn ang="0">
                <a:pos x="csX652" y="csY652"/>
              </a:cxn>
              <a:cxn ang="0">
                <a:pos x="csX653" y="csY653"/>
              </a:cxn>
              <a:cxn ang="0">
                <a:pos x="csX654" y="csY654"/>
              </a:cxn>
              <a:cxn ang="0">
                <a:pos x="csX655" y="csY655"/>
              </a:cxn>
              <a:cxn ang="0">
                <a:pos x="csX656" y="csY656"/>
              </a:cxn>
              <a:cxn ang="0">
                <a:pos x="csX657" y="csY657"/>
              </a:cxn>
              <a:cxn ang="0">
                <a:pos x="csX658" y="csY658"/>
              </a:cxn>
              <a:cxn ang="0">
                <a:pos x="csX659" y="csY659"/>
              </a:cxn>
              <a:cxn ang="0">
                <a:pos x="csX660" y="csY660"/>
              </a:cxn>
              <a:cxn ang="0">
                <a:pos x="csX661" y="csY661"/>
              </a:cxn>
              <a:cxn ang="0">
                <a:pos x="csX662" y="csY662"/>
              </a:cxn>
              <a:cxn ang="0">
                <a:pos x="csX663" y="csY663"/>
              </a:cxn>
              <a:cxn ang="0">
                <a:pos x="csX664" y="csY664"/>
              </a:cxn>
              <a:cxn ang="0">
                <a:pos x="csX665" y="csY665"/>
              </a:cxn>
              <a:cxn ang="0">
                <a:pos x="csX666" y="csY666"/>
              </a:cxn>
              <a:cxn ang="0">
                <a:pos x="csX667" y="csY667"/>
              </a:cxn>
              <a:cxn ang="0">
                <a:pos x="csX668" y="csY668"/>
              </a:cxn>
              <a:cxn ang="0">
                <a:pos x="csX669" y="csY669"/>
              </a:cxn>
              <a:cxn ang="0">
                <a:pos x="csX670" y="csY670"/>
              </a:cxn>
              <a:cxn ang="0">
                <a:pos x="csX671" y="csY671"/>
              </a:cxn>
              <a:cxn ang="0">
                <a:pos x="csX672" y="csY672"/>
              </a:cxn>
              <a:cxn ang="0">
                <a:pos x="csX673" y="csY673"/>
              </a:cxn>
              <a:cxn ang="0">
                <a:pos x="csX674" y="csY674"/>
              </a:cxn>
              <a:cxn ang="0">
                <a:pos x="csX675" y="csY675"/>
              </a:cxn>
              <a:cxn ang="0">
                <a:pos x="csX676" y="csY676"/>
              </a:cxn>
              <a:cxn ang="0">
                <a:pos x="csX677" y="csY677"/>
              </a:cxn>
              <a:cxn ang="0">
                <a:pos x="csX678" y="csY678"/>
              </a:cxn>
              <a:cxn ang="0">
                <a:pos x="csX679" y="csY679"/>
              </a:cxn>
              <a:cxn ang="0">
                <a:pos x="csX680" y="csY680"/>
              </a:cxn>
              <a:cxn ang="0">
                <a:pos x="csX681" y="csY681"/>
              </a:cxn>
              <a:cxn ang="0">
                <a:pos x="csX682" y="csY682"/>
              </a:cxn>
              <a:cxn ang="0">
                <a:pos x="csX683" y="csY683"/>
              </a:cxn>
              <a:cxn ang="0">
                <a:pos x="csX684" y="csY684"/>
              </a:cxn>
              <a:cxn ang="0">
                <a:pos x="csX685" y="csY685"/>
              </a:cxn>
              <a:cxn ang="0">
                <a:pos x="csX686" y="csY686"/>
              </a:cxn>
              <a:cxn ang="0">
                <a:pos x="csX687" y="csY687"/>
              </a:cxn>
              <a:cxn ang="0">
                <a:pos x="csX688" y="csY688"/>
              </a:cxn>
              <a:cxn ang="0">
                <a:pos x="csX689" y="csY689"/>
              </a:cxn>
              <a:cxn ang="0">
                <a:pos x="csX690" y="csY690"/>
              </a:cxn>
              <a:cxn ang="0">
                <a:pos x="csX691" y="csY691"/>
              </a:cxn>
              <a:cxn ang="0">
                <a:pos x="csX692" y="csY692"/>
              </a:cxn>
              <a:cxn ang="0">
                <a:pos x="csX693" y="csY693"/>
              </a:cxn>
              <a:cxn ang="0">
                <a:pos x="csX694" y="csY694"/>
              </a:cxn>
              <a:cxn ang="0">
                <a:pos x="csX695" y="csY695"/>
              </a:cxn>
              <a:cxn ang="0">
                <a:pos x="csX696" y="csY696"/>
              </a:cxn>
              <a:cxn ang="0">
                <a:pos x="csX697" y="csY697"/>
              </a:cxn>
              <a:cxn ang="0">
                <a:pos x="csX698" y="csY698"/>
              </a:cxn>
              <a:cxn ang="0">
                <a:pos x="csX699" y="csY699"/>
              </a:cxn>
              <a:cxn ang="0">
                <a:pos x="csX700" y="csY700"/>
              </a:cxn>
              <a:cxn ang="0">
                <a:pos x="csX701" y="csY701"/>
              </a:cxn>
              <a:cxn ang="0">
                <a:pos x="csX702" y="csY702"/>
              </a:cxn>
              <a:cxn ang="0">
                <a:pos x="csX703" y="csY703"/>
              </a:cxn>
              <a:cxn ang="0">
                <a:pos x="csX704" y="csY704"/>
              </a:cxn>
              <a:cxn ang="0">
                <a:pos x="csX705" y="csY705"/>
              </a:cxn>
              <a:cxn ang="0">
                <a:pos x="csX706" y="csY706"/>
              </a:cxn>
              <a:cxn ang="0">
                <a:pos x="csX707" y="csY707"/>
              </a:cxn>
              <a:cxn ang="0">
                <a:pos x="csX708" y="csY708"/>
              </a:cxn>
              <a:cxn ang="0">
                <a:pos x="csX709" y="csY709"/>
              </a:cxn>
              <a:cxn ang="0">
                <a:pos x="csX710" y="csY710"/>
              </a:cxn>
              <a:cxn ang="0">
                <a:pos x="csX711" y="csY711"/>
              </a:cxn>
              <a:cxn ang="0">
                <a:pos x="csX712" y="csY712"/>
              </a:cxn>
              <a:cxn ang="0">
                <a:pos x="csX713" y="csY713"/>
              </a:cxn>
              <a:cxn ang="0">
                <a:pos x="csX714" y="csY714"/>
              </a:cxn>
              <a:cxn ang="0">
                <a:pos x="csX715" y="csY715"/>
              </a:cxn>
              <a:cxn ang="0">
                <a:pos x="csX716" y="csY716"/>
              </a:cxn>
              <a:cxn ang="0">
                <a:pos x="csX717" y="csY717"/>
              </a:cxn>
              <a:cxn ang="0">
                <a:pos x="csX718" y="csY718"/>
              </a:cxn>
              <a:cxn ang="0">
                <a:pos x="csX719" y="csY719"/>
              </a:cxn>
              <a:cxn ang="0">
                <a:pos x="csX720" y="csY720"/>
              </a:cxn>
              <a:cxn ang="0">
                <a:pos x="csX721" y="csY721"/>
              </a:cxn>
              <a:cxn ang="0">
                <a:pos x="csX722" y="csY722"/>
              </a:cxn>
              <a:cxn ang="0">
                <a:pos x="csX723" y="csY723"/>
              </a:cxn>
              <a:cxn ang="0">
                <a:pos x="csX724" y="csY724"/>
              </a:cxn>
              <a:cxn ang="0">
                <a:pos x="csX725" y="csY725"/>
              </a:cxn>
              <a:cxn ang="0">
                <a:pos x="csX726" y="csY726"/>
              </a:cxn>
              <a:cxn ang="0">
                <a:pos x="csX727" y="csY727"/>
              </a:cxn>
              <a:cxn ang="0">
                <a:pos x="csX728" y="csY728"/>
              </a:cxn>
              <a:cxn ang="0">
                <a:pos x="csX729" y="csY729"/>
              </a:cxn>
              <a:cxn ang="0">
                <a:pos x="csX730" y="csY730"/>
              </a:cxn>
              <a:cxn ang="0">
                <a:pos x="csX731" y="csY731"/>
              </a:cxn>
              <a:cxn ang="0">
                <a:pos x="csX732" y="csY732"/>
              </a:cxn>
              <a:cxn ang="0">
                <a:pos x="csX733" y="csY733"/>
              </a:cxn>
              <a:cxn ang="0">
                <a:pos x="csX734" y="csY734"/>
              </a:cxn>
              <a:cxn ang="0">
                <a:pos x="csX735" y="csY735"/>
              </a:cxn>
              <a:cxn ang="0">
                <a:pos x="csX736" y="csY736"/>
              </a:cxn>
              <a:cxn ang="0">
                <a:pos x="csX737" y="csY737"/>
              </a:cxn>
              <a:cxn ang="0">
                <a:pos x="csX738" y="csY738"/>
              </a:cxn>
              <a:cxn ang="0">
                <a:pos x="csX739" y="csY739"/>
              </a:cxn>
              <a:cxn ang="0">
                <a:pos x="csX740" y="csY740"/>
              </a:cxn>
              <a:cxn ang="0">
                <a:pos x="csX741" y="csY741"/>
              </a:cxn>
              <a:cxn ang="0">
                <a:pos x="csX742" y="csY742"/>
              </a:cxn>
              <a:cxn ang="0">
                <a:pos x="csX743" y="csY743"/>
              </a:cxn>
              <a:cxn ang="0">
                <a:pos x="csX744" y="csY744"/>
              </a:cxn>
              <a:cxn ang="0">
                <a:pos x="csX745" y="csY745"/>
              </a:cxn>
              <a:cxn ang="0">
                <a:pos x="csX746" y="csY746"/>
              </a:cxn>
              <a:cxn ang="0">
                <a:pos x="csX747" y="csY747"/>
              </a:cxn>
              <a:cxn ang="0">
                <a:pos x="csX748" y="csY748"/>
              </a:cxn>
              <a:cxn ang="0">
                <a:pos x="csX749" y="csY749"/>
              </a:cxn>
              <a:cxn ang="0">
                <a:pos x="csX750" y="csY750"/>
              </a:cxn>
              <a:cxn ang="0">
                <a:pos x="csX751" y="csY751"/>
              </a:cxn>
              <a:cxn ang="0">
                <a:pos x="csX752" y="csY752"/>
              </a:cxn>
              <a:cxn ang="0">
                <a:pos x="csX753" y="csY753"/>
              </a:cxn>
              <a:cxn ang="0">
                <a:pos x="csX754" y="csY754"/>
              </a:cxn>
              <a:cxn ang="0">
                <a:pos x="csX755" y="csY755"/>
              </a:cxn>
              <a:cxn ang="0">
                <a:pos x="csX756" y="csY756"/>
              </a:cxn>
              <a:cxn ang="0">
                <a:pos x="csX757" y="csY757"/>
              </a:cxn>
              <a:cxn ang="0">
                <a:pos x="csX758" y="csY758"/>
              </a:cxn>
              <a:cxn ang="0">
                <a:pos x="csX759" y="csY759"/>
              </a:cxn>
              <a:cxn ang="0">
                <a:pos x="csX760" y="csY760"/>
              </a:cxn>
              <a:cxn ang="0">
                <a:pos x="csX761" y="csY761"/>
              </a:cxn>
              <a:cxn ang="0">
                <a:pos x="csX762" y="csY762"/>
              </a:cxn>
              <a:cxn ang="0">
                <a:pos x="csX763" y="csY763"/>
              </a:cxn>
              <a:cxn ang="0">
                <a:pos x="csX764" y="csY764"/>
              </a:cxn>
              <a:cxn ang="0">
                <a:pos x="csX765" y="csY765"/>
              </a:cxn>
              <a:cxn ang="0">
                <a:pos x="csX766" y="csY766"/>
              </a:cxn>
              <a:cxn ang="0">
                <a:pos x="csX767" y="csY767"/>
              </a:cxn>
              <a:cxn ang="0">
                <a:pos x="csX768" y="csY768"/>
              </a:cxn>
              <a:cxn ang="0">
                <a:pos x="csX769" y="csY769"/>
              </a:cxn>
              <a:cxn ang="0">
                <a:pos x="csX770" y="csY770"/>
              </a:cxn>
              <a:cxn ang="0">
                <a:pos x="csX771" y="csY771"/>
              </a:cxn>
              <a:cxn ang="0">
                <a:pos x="csX772" y="csY772"/>
              </a:cxn>
              <a:cxn ang="0">
                <a:pos x="csX773" y="csY773"/>
              </a:cxn>
              <a:cxn ang="0">
                <a:pos x="csX774" y="csY774"/>
              </a:cxn>
              <a:cxn ang="0">
                <a:pos x="csX775" y="csY775"/>
              </a:cxn>
              <a:cxn ang="0">
                <a:pos x="csX776" y="csY776"/>
              </a:cxn>
              <a:cxn ang="0">
                <a:pos x="csX777" y="csY777"/>
              </a:cxn>
              <a:cxn ang="0">
                <a:pos x="csX778" y="csY778"/>
              </a:cxn>
              <a:cxn ang="0">
                <a:pos x="csX779" y="csY779"/>
              </a:cxn>
              <a:cxn ang="0">
                <a:pos x="csX780" y="csY780"/>
              </a:cxn>
              <a:cxn ang="0">
                <a:pos x="csX781" y="csY781"/>
              </a:cxn>
              <a:cxn ang="0">
                <a:pos x="csX782" y="csY782"/>
              </a:cxn>
              <a:cxn ang="0">
                <a:pos x="csX783" y="csY783"/>
              </a:cxn>
              <a:cxn ang="0">
                <a:pos x="csX784" y="csY784"/>
              </a:cxn>
              <a:cxn ang="0">
                <a:pos x="csX785" y="csY785"/>
              </a:cxn>
              <a:cxn ang="0">
                <a:pos x="csX786" y="csY786"/>
              </a:cxn>
              <a:cxn ang="0">
                <a:pos x="csX787" y="csY787"/>
              </a:cxn>
              <a:cxn ang="0">
                <a:pos x="csX788" y="csY788"/>
              </a:cxn>
              <a:cxn ang="0">
                <a:pos x="csX789" y="csY789"/>
              </a:cxn>
              <a:cxn ang="0">
                <a:pos x="csX790" y="csY790"/>
              </a:cxn>
              <a:cxn ang="0">
                <a:pos x="csX791" y="csY791"/>
              </a:cxn>
              <a:cxn ang="0">
                <a:pos x="csX792" y="csY792"/>
              </a:cxn>
              <a:cxn ang="0">
                <a:pos x="csX793" y="csY793"/>
              </a:cxn>
              <a:cxn ang="0">
                <a:pos x="csX794" y="csY794"/>
              </a:cxn>
              <a:cxn ang="0">
                <a:pos x="csX795" y="csY795"/>
              </a:cxn>
              <a:cxn ang="0">
                <a:pos x="csX796" y="csY796"/>
              </a:cxn>
              <a:cxn ang="0">
                <a:pos x="csX797" y="csY797"/>
              </a:cxn>
              <a:cxn ang="0">
                <a:pos x="csX798" y="csY798"/>
              </a:cxn>
              <a:cxn ang="0">
                <a:pos x="csX799" y="csY799"/>
              </a:cxn>
              <a:cxn ang="0">
                <a:pos x="csX800" y="csY800"/>
              </a:cxn>
              <a:cxn ang="0">
                <a:pos x="csX801" y="csY801"/>
              </a:cxn>
              <a:cxn ang="0">
                <a:pos x="csX802" y="csY802"/>
              </a:cxn>
              <a:cxn ang="0">
                <a:pos x="csX803" y="csY803"/>
              </a:cxn>
              <a:cxn ang="0">
                <a:pos x="csX804" y="csY804"/>
              </a:cxn>
              <a:cxn ang="0">
                <a:pos x="csX805" y="csY805"/>
              </a:cxn>
              <a:cxn ang="0">
                <a:pos x="csX806" y="csY806"/>
              </a:cxn>
              <a:cxn ang="0">
                <a:pos x="csX807" y="csY807"/>
              </a:cxn>
              <a:cxn ang="0">
                <a:pos x="csX808" y="csY808"/>
              </a:cxn>
              <a:cxn ang="0">
                <a:pos x="csX809" y="csY809"/>
              </a:cxn>
              <a:cxn ang="0">
                <a:pos x="csX810" y="csY810"/>
              </a:cxn>
              <a:cxn ang="0">
                <a:pos x="csX811" y="csY811"/>
              </a:cxn>
              <a:cxn ang="0">
                <a:pos x="csX812" y="csY812"/>
              </a:cxn>
              <a:cxn ang="0">
                <a:pos x="csX813" y="csY813"/>
              </a:cxn>
              <a:cxn ang="0">
                <a:pos x="csX814" y="csY814"/>
              </a:cxn>
              <a:cxn ang="0">
                <a:pos x="csX815" y="csY815"/>
              </a:cxn>
              <a:cxn ang="0">
                <a:pos x="csX816" y="csY816"/>
              </a:cxn>
              <a:cxn ang="0">
                <a:pos x="csX817" y="csY817"/>
              </a:cxn>
              <a:cxn ang="0">
                <a:pos x="csX818" y="csY818"/>
              </a:cxn>
              <a:cxn ang="0">
                <a:pos x="csX819" y="csY819"/>
              </a:cxn>
              <a:cxn ang="0">
                <a:pos x="csX820" y="csY820"/>
              </a:cxn>
              <a:cxn ang="0">
                <a:pos x="csX821" y="csY821"/>
              </a:cxn>
              <a:cxn ang="0">
                <a:pos x="csX822" y="csY822"/>
              </a:cxn>
              <a:cxn ang="0">
                <a:pos x="csX823" y="csY823"/>
              </a:cxn>
              <a:cxn ang="0">
                <a:pos x="csX824" y="csY824"/>
              </a:cxn>
              <a:cxn ang="0">
                <a:pos x="csX825" y="csY825"/>
              </a:cxn>
              <a:cxn ang="0">
                <a:pos x="csX826" y="csY826"/>
              </a:cxn>
              <a:cxn ang="0">
                <a:pos x="csX827" y="csY827"/>
              </a:cxn>
              <a:cxn ang="0">
                <a:pos x="csX828" y="csY828"/>
              </a:cxn>
              <a:cxn ang="0">
                <a:pos x="csX829" y="csY829"/>
              </a:cxn>
              <a:cxn ang="0">
                <a:pos x="csX830" y="csY830"/>
              </a:cxn>
              <a:cxn ang="0">
                <a:pos x="csX831" y="csY831"/>
              </a:cxn>
              <a:cxn ang="0">
                <a:pos x="csX832" y="csY832"/>
              </a:cxn>
              <a:cxn ang="0">
                <a:pos x="csX833" y="csY833"/>
              </a:cxn>
              <a:cxn ang="0">
                <a:pos x="csX834" y="csY834"/>
              </a:cxn>
              <a:cxn ang="0">
                <a:pos x="csX835" y="csY835"/>
              </a:cxn>
              <a:cxn ang="0">
                <a:pos x="csX836" y="csY836"/>
              </a:cxn>
              <a:cxn ang="0">
                <a:pos x="csX837" y="csY837"/>
              </a:cxn>
              <a:cxn ang="0">
                <a:pos x="csX838" y="csY838"/>
              </a:cxn>
              <a:cxn ang="0">
                <a:pos x="csX839" y="csY839"/>
              </a:cxn>
              <a:cxn ang="0">
                <a:pos x="csX840" y="csY840"/>
              </a:cxn>
              <a:cxn ang="0">
                <a:pos x="csX841" y="csY841"/>
              </a:cxn>
              <a:cxn ang="0">
                <a:pos x="csX842" y="csY842"/>
              </a:cxn>
              <a:cxn ang="0">
                <a:pos x="csX843" y="csY843"/>
              </a:cxn>
              <a:cxn ang="0">
                <a:pos x="csX844" y="csY844"/>
              </a:cxn>
              <a:cxn ang="0">
                <a:pos x="csX845" y="csY845"/>
              </a:cxn>
              <a:cxn ang="0">
                <a:pos x="csX846" y="csY846"/>
              </a:cxn>
              <a:cxn ang="0">
                <a:pos x="csX847" y="csY847"/>
              </a:cxn>
              <a:cxn ang="0">
                <a:pos x="csX848" y="csY848"/>
              </a:cxn>
              <a:cxn ang="0">
                <a:pos x="csX849" y="csY849"/>
              </a:cxn>
              <a:cxn ang="0">
                <a:pos x="csX850" y="csY850"/>
              </a:cxn>
              <a:cxn ang="0">
                <a:pos x="csX851" y="csY851"/>
              </a:cxn>
              <a:cxn ang="0">
                <a:pos x="csX852" y="csY852"/>
              </a:cxn>
              <a:cxn ang="0">
                <a:pos x="csX853" y="csY853"/>
              </a:cxn>
              <a:cxn ang="0">
                <a:pos x="csX854" y="csY854"/>
              </a:cxn>
              <a:cxn ang="0">
                <a:pos x="csX855" y="csY855"/>
              </a:cxn>
              <a:cxn ang="0">
                <a:pos x="csX856" y="csY856"/>
              </a:cxn>
              <a:cxn ang="0">
                <a:pos x="csX857" y="csY857"/>
              </a:cxn>
              <a:cxn ang="0">
                <a:pos x="csX858" y="csY858"/>
              </a:cxn>
              <a:cxn ang="0">
                <a:pos x="csX859" y="csY859"/>
              </a:cxn>
              <a:cxn ang="0">
                <a:pos x="csX860" y="csY860"/>
              </a:cxn>
              <a:cxn ang="0">
                <a:pos x="csX861" y="csY861"/>
              </a:cxn>
              <a:cxn ang="0">
                <a:pos x="csX862" y="csY862"/>
              </a:cxn>
              <a:cxn ang="0">
                <a:pos x="csX863" y="csY863"/>
              </a:cxn>
              <a:cxn ang="0">
                <a:pos x="csX864" y="csY864"/>
              </a:cxn>
              <a:cxn ang="0">
                <a:pos x="csX865" y="csY865"/>
              </a:cxn>
              <a:cxn ang="0">
                <a:pos x="csX866" y="csY866"/>
              </a:cxn>
              <a:cxn ang="0">
                <a:pos x="csX867" y="csY867"/>
              </a:cxn>
              <a:cxn ang="0">
                <a:pos x="csX868" y="csY868"/>
              </a:cxn>
              <a:cxn ang="0">
                <a:pos x="csX869" y="csY869"/>
              </a:cxn>
              <a:cxn ang="0">
                <a:pos x="csX870" y="csY870"/>
              </a:cxn>
              <a:cxn ang="0">
                <a:pos x="csX871" y="csY871"/>
              </a:cxn>
              <a:cxn ang="0">
                <a:pos x="csX872" y="csY872"/>
              </a:cxn>
              <a:cxn ang="0">
                <a:pos x="csX873" y="csY873"/>
              </a:cxn>
              <a:cxn ang="0">
                <a:pos x="csX874" y="csY874"/>
              </a:cxn>
              <a:cxn ang="0">
                <a:pos x="csX875" y="csY875"/>
              </a:cxn>
              <a:cxn ang="0">
                <a:pos x="csX876" y="csY876"/>
              </a:cxn>
              <a:cxn ang="0">
                <a:pos x="csX877" y="csY877"/>
              </a:cxn>
              <a:cxn ang="0">
                <a:pos x="csX878" y="csY878"/>
              </a:cxn>
              <a:cxn ang="0">
                <a:pos x="csX879" y="csY879"/>
              </a:cxn>
              <a:cxn ang="0">
                <a:pos x="csX880" y="csY880"/>
              </a:cxn>
              <a:cxn ang="0">
                <a:pos x="csX881" y="csY881"/>
              </a:cxn>
              <a:cxn ang="0">
                <a:pos x="csX882" y="csY882"/>
              </a:cxn>
              <a:cxn ang="0">
                <a:pos x="csX883" y="csY883"/>
              </a:cxn>
              <a:cxn ang="0">
                <a:pos x="csX884" y="csY884"/>
              </a:cxn>
              <a:cxn ang="0">
                <a:pos x="csX885" y="csY885"/>
              </a:cxn>
              <a:cxn ang="0">
                <a:pos x="csX886" y="csY886"/>
              </a:cxn>
              <a:cxn ang="0">
                <a:pos x="csX887" y="csY887"/>
              </a:cxn>
              <a:cxn ang="0">
                <a:pos x="csX888" y="csY888"/>
              </a:cxn>
              <a:cxn ang="0">
                <a:pos x="csX889" y="csY889"/>
              </a:cxn>
              <a:cxn ang="0">
                <a:pos x="csX890" y="csY890"/>
              </a:cxn>
              <a:cxn ang="0">
                <a:pos x="csX891" y="csY891"/>
              </a:cxn>
              <a:cxn ang="0">
                <a:pos x="csX892" y="csY892"/>
              </a:cxn>
              <a:cxn ang="0">
                <a:pos x="csX893" y="csY893"/>
              </a:cxn>
              <a:cxn ang="0">
                <a:pos x="csX894" y="csY894"/>
              </a:cxn>
              <a:cxn ang="0">
                <a:pos x="csX895" y="csY895"/>
              </a:cxn>
              <a:cxn ang="0">
                <a:pos x="csX896" y="csY896"/>
              </a:cxn>
              <a:cxn ang="0">
                <a:pos x="csX897" y="csY897"/>
              </a:cxn>
              <a:cxn ang="0">
                <a:pos x="csX898" y="csY898"/>
              </a:cxn>
              <a:cxn ang="0">
                <a:pos x="csX899" y="csY899"/>
              </a:cxn>
              <a:cxn ang="0">
                <a:pos x="csX900" y="csY900"/>
              </a:cxn>
              <a:cxn ang="0">
                <a:pos x="csX901" y="csY901"/>
              </a:cxn>
              <a:cxn ang="0">
                <a:pos x="csX902" y="csY902"/>
              </a:cxn>
              <a:cxn ang="0">
                <a:pos x="csX903" y="csY903"/>
              </a:cxn>
              <a:cxn ang="0">
                <a:pos x="csX904" y="csY904"/>
              </a:cxn>
              <a:cxn ang="0">
                <a:pos x="csX905" y="csY905"/>
              </a:cxn>
              <a:cxn ang="0">
                <a:pos x="csX906" y="csY906"/>
              </a:cxn>
              <a:cxn ang="0">
                <a:pos x="csX907" y="csY907"/>
              </a:cxn>
              <a:cxn ang="0">
                <a:pos x="csX908" y="csY908"/>
              </a:cxn>
              <a:cxn ang="0">
                <a:pos x="csX909" y="csY909"/>
              </a:cxn>
              <a:cxn ang="0">
                <a:pos x="csX910" y="csY910"/>
              </a:cxn>
              <a:cxn ang="0">
                <a:pos x="csX911" y="csY911"/>
              </a:cxn>
              <a:cxn ang="0">
                <a:pos x="csX912" y="csY912"/>
              </a:cxn>
              <a:cxn ang="0">
                <a:pos x="csX913" y="csY913"/>
              </a:cxn>
              <a:cxn ang="0">
                <a:pos x="csX914" y="csY914"/>
              </a:cxn>
              <a:cxn ang="0">
                <a:pos x="csX915" y="csY915"/>
              </a:cxn>
              <a:cxn ang="0">
                <a:pos x="csX916" y="csY916"/>
              </a:cxn>
              <a:cxn ang="0">
                <a:pos x="csX917" y="csY917"/>
              </a:cxn>
              <a:cxn ang="0">
                <a:pos x="csX918" y="csY918"/>
              </a:cxn>
              <a:cxn ang="0">
                <a:pos x="csX919" y="csY919"/>
              </a:cxn>
              <a:cxn ang="0">
                <a:pos x="csX920" y="csY920"/>
              </a:cxn>
              <a:cxn ang="0">
                <a:pos x="csX921" y="csY921"/>
              </a:cxn>
              <a:cxn ang="0">
                <a:pos x="csX922" y="csY922"/>
              </a:cxn>
              <a:cxn ang="0">
                <a:pos x="csX923" y="csY923"/>
              </a:cxn>
              <a:cxn ang="0">
                <a:pos x="csX924" y="csY924"/>
              </a:cxn>
              <a:cxn ang="0">
                <a:pos x="csX925" y="csY925"/>
              </a:cxn>
              <a:cxn ang="0">
                <a:pos x="csX926" y="csY926"/>
              </a:cxn>
              <a:cxn ang="0">
                <a:pos x="csX927" y="csY927"/>
              </a:cxn>
              <a:cxn ang="0">
                <a:pos x="csX928" y="csY928"/>
              </a:cxn>
              <a:cxn ang="0">
                <a:pos x="csX929" y="csY929"/>
              </a:cxn>
              <a:cxn ang="0">
                <a:pos x="csX930" y="csY930"/>
              </a:cxn>
              <a:cxn ang="0">
                <a:pos x="csX931" y="csY931"/>
              </a:cxn>
              <a:cxn ang="0">
                <a:pos x="csX932" y="csY932"/>
              </a:cxn>
              <a:cxn ang="0">
                <a:pos x="csX933" y="csY933"/>
              </a:cxn>
              <a:cxn ang="0">
                <a:pos x="csX934" y="csY934"/>
              </a:cxn>
              <a:cxn ang="0">
                <a:pos x="csX935" y="csY935"/>
              </a:cxn>
              <a:cxn ang="0">
                <a:pos x="csX936" y="csY936"/>
              </a:cxn>
              <a:cxn ang="0">
                <a:pos x="csX937" y="csY937"/>
              </a:cxn>
              <a:cxn ang="0">
                <a:pos x="csX938" y="csY938"/>
              </a:cxn>
              <a:cxn ang="0">
                <a:pos x="csX939" y="csY939"/>
              </a:cxn>
              <a:cxn ang="0">
                <a:pos x="csX940" y="csY940"/>
              </a:cxn>
              <a:cxn ang="0">
                <a:pos x="csX941" y="csY941"/>
              </a:cxn>
              <a:cxn ang="0">
                <a:pos x="csX942" y="csY942"/>
              </a:cxn>
              <a:cxn ang="0">
                <a:pos x="csX943" y="csY943"/>
              </a:cxn>
              <a:cxn ang="0">
                <a:pos x="csX944" y="csY944"/>
              </a:cxn>
              <a:cxn ang="0">
                <a:pos x="csX945" y="csY945"/>
              </a:cxn>
              <a:cxn ang="0">
                <a:pos x="csX946" y="csY946"/>
              </a:cxn>
              <a:cxn ang="0">
                <a:pos x="csX947" y="csY947"/>
              </a:cxn>
              <a:cxn ang="0">
                <a:pos x="csX948" y="csY948"/>
              </a:cxn>
              <a:cxn ang="0">
                <a:pos x="csX949" y="csY949"/>
              </a:cxn>
              <a:cxn ang="0">
                <a:pos x="csX950" y="csY950"/>
              </a:cxn>
              <a:cxn ang="0">
                <a:pos x="csX951" y="csY951"/>
              </a:cxn>
              <a:cxn ang="0">
                <a:pos x="csX952" y="csY952"/>
              </a:cxn>
              <a:cxn ang="0">
                <a:pos x="csX953" y="csY953"/>
              </a:cxn>
              <a:cxn ang="0">
                <a:pos x="csX954" y="csY954"/>
              </a:cxn>
              <a:cxn ang="0">
                <a:pos x="csX955" y="csY955"/>
              </a:cxn>
              <a:cxn ang="0">
                <a:pos x="csX956" y="csY956"/>
              </a:cxn>
              <a:cxn ang="0">
                <a:pos x="csX957" y="csY957"/>
              </a:cxn>
              <a:cxn ang="0">
                <a:pos x="csX958" y="csY958"/>
              </a:cxn>
              <a:cxn ang="0">
                <a:pos x="csX959" y="csY959"/>
              </a:cxn>
              <a:cxn ang="0">
                <a:pos x="csX960" y="csY960"/>
              </a:cxn>
              <a:cxn ang="0">
                <a:pos x="csX961" y="csY961"/>
              </a:cxn>
              <a:cxn ang="0">
                <a:pos x="csX962" y="csY962"/>
              </a:cxn>
              <a:cxn ang="0">
                <a:pos x="csX963" y="csY963"/>
              </a:cxn>
              <a:cxn ang="0">
                <a:pos x="csX964" y="csY964"/>
              </a:cxn>
              <a:cxn ang="0">
                <a:pos x="csX965" y="csY965"/>
              </a:cxn>
              <a:cxn ang="0">
                <a:pos x="csX966" y="csY966"/>
              </a:cxn>
              <a:cxn ang="0">
                <a:pos x="csX967" y="csY967"/>
              </a:cxn>
              <a:cxn ang="0">
                <a:pos x="csX968" y="csY968"/>
              </a:cxn>
              <a:cxn ang="0">
                <a:pos x="csX969" y="csY969"/>
              </a:cxn>
              <a:cxn ang="0">
                <a:pos x="csX970" y="csY970"/>
              </a:cxn>
              <a:cxn ang="0">
                <a:pos x="csX971" y="csY971"/>
              </a:cxn>
              <a:cxn ang="0">
                <a:pos x="csX972" y="csY972"/>
              </a:cxn>
              <a:cxn ang="0">
                <a:pos x="csX973" y="csY973"/>
              </a:cxn>
              <a:cxn ang="0">
                <a:pos x="csX974" y="csY974"/>
              </a:cxn>
              <a:cxn ang="0">
                <a:pos x="csX975" y="csY975"/>
              </a:cxn>
              <a:cxn ang="0">
                <a:pos x="csX976" y="csY976"/>
              </a:cxn>
              <a:cxn ang="0">
                <a:pos x="csX977" y="csY977"/>
              </a:cxn>
              <a:cxn ang="0">
                <a:pos x="csX978" y="csY978"/>
              </a:cxn>
              <a:cxn ang="0">
                <a:pos x="csX979" y="csY979"/>
              </a:cxn>
              <a:cxn ang="0">
                <a:pos x="csX980" y="csY980"/>
              </a:cxn>
              <a:cxn ang="0">
                <a:pos x="csX981" y="csY981"/>
              </a:cxn>
              <a:cxn ang="0">
                <a:pos x="csX982" y="csY982"/>
              </a:cxn>
              <a:cxn ang="0">
                <a:pos x="csX983" y="csY983"/>
              </a:cxn>
              <a:cxn ang="0">
                <a:pos x="csX984" y="csY984"/>
              </a:cxn>
              <a:cxn ang="0">
                <a:pos x="csX985" y="csY985"/>
              </a:cxn>
              <a:cxn ang="0">
                <a:pos x="csX986" y="csY986"/>
              </a:cxn>
              <a:cxn ang="0">
                <a:pos x="csX987" y="csY987"/>
              </a:cxn>
              <a:cxn ang="0">
                <a:pos x="csX988" y="csY988"/>
              </a:cxn>
              <a:cxn ang="0">
                <a:pos x="csX989" y="csY989"/>
              </a:cxn>
              <a:cxn ang="0">
                <a:pos x="csX990" y="csY990"/>
              </a:cxn>
              <a:cxn ang="0">
                <a:pos x="csX991" y="csY991"/>
              </a:cxn>
              <a:cxn ang="0">
                <a:pos x="csX992" y="csY992"/>
              </a:cxn>
              <a:cxn ang="0">
                <a:pos x="csX993" y="csY993"/>
              </a:cxn>
              <a:cxn ang="0">
                <a:pos x="csX994" y="csY994"/>
              </a:cxn>
              <a:cxn ang="0">
                <a:pos x="csX995" y="csY995"/>
              </a:cxn>
              <a:cxn ang="0">
                <a:pos x="csX996" y="csY996"/>
              </a:cxn>
              <a:cxn ang="0">
                <a:pos x="csX997" y="csY997"/>
              </a:cxn>
              <a:cxn ang="0">
                <a:pos x="csX998" y="csY998"/>
              </a:cxn>
              <a:cxn ang="0">
                <a:pos x="csX999" y="csY999"/>
              </a:cxn>
              <a:cxn ang="0">
                <a:pos x="csX1000" y="csY1000"/>
              </a:cxn>
              <a:cxn ang="0">
                <a:pos x="csX1001" y="csY1001"/>
              </a:cxn>
              <a:cxn ang="0">
                <a:pos x="csX1002" y="csY1002"/>
              </a:cxn>
              <a:cxn ang="0">
                <a:pos x="csX1003" y="csY1003"/>
              </a:cxn>
              <a:cxn ang="0">
                <a:pos x="csX1004" y="csY1004"/>
              </a:cxn>
              <a:cxn ang="0">
                <a:pos x="csX1005" y="csY1005"/>
              </a:cxn>
              <a:cxn ang="0">
                <a:pos x="csX1006" y="csY1006"/>
              </a:cxn>
              <a:cxn ang="0">
                <a:pos x="csX1007" y="csY1007"/>
              </a:cxn>
              <a:cxn ang="0">
                <a:pos x="csX1008" y="csY1008"/>
              </a:cxn>
              <a:cxn ang="0">
                <a:pos x="csX1009" y="csY1009"/>
              </a:cxn>
              <a:cxn ang="0">
                <a:pos x="csX1010" y="csY1010"/>
              </a:cxn>
              <a:cxn ang="0">
                <a:pos x="csX1011" y="csY1011"/>
              </a:cxn>
              <a:cxn ang="0">
                <a:pos x="csX1012" y="csY1012"/>
              </a:cxn>
              <a:cxn ang="0">
                <a:pos x="csX1013" y="csY1013"/>
              </a:cxn>
              <a:cxn ang="0">
                <a:pos x="csX1014" y="csY1014"/>
              </a:cxn>
              <a:cxn ang="0">
                <a:pos x="csX1015" y="csY1015"/>
              </a:cxn>
              <a:cxn ang="0">
                <a:pos x="csX1016" y="csY1016"/>
              </a:cxn>
              <a:cxn ang="0">
                <a:pos x="csX1017" y="csY1017"/>
              </a:cxn>
              <a:cxn ang="0">
                <a:pos x="csX1018" y="csY1018"/>
              </a:cxn>
              <a:cxn ang="0">
                <a:pos x="csX1019" y="csY1019"/>
              </a:cxn>
              <a:cxn ang="0">
                <a:pos x="csX1020" y="csY1020"/>
              </a:cxn>
              <a:cxn ang="0">
                <a:pos x="csX1021" y="csY1021"/>
              </a:cxn>
              <a:cxn ang="0">
                <a:pos x="csX1022" y="csY1022"/>
              </a:cxn>
              <a:cxn ang="0">
                <a:pos x="csX1023" y="csY1023"/>
              </a:cxn>
              <a:cxn ang="0">
                <a:pos x="csX1024" y="csY1024"/>
              </a:cxn>
              <a:cxn ang="0">
                <a:pos x="csX1025" y="csY1025"/>
              </a:cxn>
              <a:cxn ang="0">
                <a:pos x="csX1026" y="csY1026"/>
              </a:cxn>
              <a:cxn ang="0">
                <a:pos x="csX1027" y="csY1027"/>
              </a:cxn>
              <a:cxn ang="0">
                <a:pos x="csX1028" y="csY1028"/>
              </a:cxn>
              <a:cxn ang="0">
                <a:pos x="csX1029" y="csY1029"/>
              </a:cxn>
              <a:cxn ang="0">
                <a:pos x="csX1030" y="csY1030"/>
              </a:cxn>
              <a:cxn ang="0">
                <a:pos x="csX1031" y="csY1031"/>
              </a:cxn>
              <a:cxn ang="0">
                <a:pos x="csX1032" y="csY1032"/>
              </a:cxn>
              <a:cxn ang="0">
                <a:pos x="csX1033" y="csY1033"/>
              </a:cxn>
              <a:cxn ang="0">
                <a:pos x="csX1034" y="csY1034"/>
              </a:cxn>
              <a:cxn ang="0">
                <a:pos x="csX1035" y="csY1035"/>
              </a:cxn>
              <a:cxn ang="0">
                <a:pos x="csX1036" y="csY1036"/>
              </a:cxn>
              <a:cxn ang="0">
                <a:pos x="csX1037" y="csY1037"/>
              </a:cxn>
              <a:cxn ang="0">
                <a:pos x="csX1038" y="csY1038"/>
              </a:cxn>
              <a:cxn ang="0">
                <a:pos x="csX1039" y="csY1039"/>
              </a:cxn>
              <a:cxn ang="0">
                <a:pos x="csX1040" y="csY1040"/>
              </a:cxn>
              <a:cxn ang="0">
                <a:pos x="csX1041" y="csY1041"/>
              </a:cxn>
              <a:cxn ang="0">
                <a:pos x="csX1042" y="csY1042"/>
              </a:cxn>
              <a:cxn ang="0">
                <a:pos x="csX1043" y="csY1043"/>
              </a:cxn>
              <a:cxn ang="0">
                <a:pos x="csX1044" y="csY1044"/>
              </a:cxn>
              <a:cxn ang="0">
                <a:pos x="csX1045" y="csY1045"/>
              </a:cxn>
              <a:cxn ang="0">
                <a:pos x="csX1046" y="csY1046"/>
              </a:cxn>
              <a:cxn ang="0">
                <a:pos x="csX1047" y="csY1047"/>
              </a:cxn>
              <a:cxn ang="0">
                <a:pos x="csX1048" y="csY1048"/>
              </a:cxn>
              <a:cxn ang="0">
                <a:pos x="csX1049" y="csY1049"/>
              </a:cxn>
              <a:cxn ang="0">
                <a:pos x="csX1050" y="csY1050"/>
              </a:cxn>
              <a:cxn ang="0">
                <a:pos x="csX1051" y="csY1051"/>
              </a:cxn>
              <a:cxn ang="0">
                <a:pos x="csX1052" y="csY1052"/>
              </a:cxn>
              <a:cxn ang="0">
                <a:pos x="csX1053" y="csY1053"/>
              </a:cxn>
              <a:cxn ang="0">
                <a:pos x="csX1054" y="csY1054"/>
              </a:cxn>
            </a:cxnLst>
            <a:rect l="l" t="t" r="r" b="b"/>
            <a:pathLst>
              <a:path w="1609516" h="1538630">
                <a:moveTo>
                  <a:pt x="401579" y="1495809"/>
                </a:moveTo>
                <a:lnTo>
                  <a:pt x="400190" y="1496004"/>
                </a:lnTo>
                <a:lnTo>
                  <a:pt x="401224" y="1496470"/>
                </a:lnTo>
                <a:lnTo>
                  <a:pt x="401224" y="1498590"/>
                </a:lnTo>
                <a:lnTo>
                  <a:pt x="401579" y="1498628"/>
                </a:lnTo>
                <a:cubicBezTo>
                  <a:pt x="401579" y="1497698"/>
                  <a:pt x="401579" y="1496768"/>
                  <a:pt x="401579" y="1495809"/>
                </a:cubicBezTo>
                <a:close/>
                <a:moveTo>
                  <a:pt x="368755" y="1486512"/>
                </a:moveTo>
                <a:lnTo>
                  <a:pt x="364089" y="1487354"/>
                </a:lnTo>
                <a:lnTo>
                  <a:pt x="364089" y="1487908"/>
                </a:lnTo>
                <a:close/>
                <a:moveTo>
                  <a:pt x="1049801" y="1484562"/>
                </a:moveTo>
                <a:lnTo>
                  <a:pt x="1046735" y="1485945"/>
                </a:lnTo>
                <a:lnTo>
                  <a:pt x="1046955" y="1486045"/>
                </a:lnTo>
                <a:lnTo>
                  <a:pt x="1049801" y="1485188"/>
                </a:lnTo>
                <a:close/>
                <a:moveTo>
                  <a:pt x="351234" y="1444508"/>
                </a:moveTo>
                <a:lnTo>
                  <a:pt x="351234" y="1444997"/>
                </a:lnTo>
                <a:lnTo>
                  <a:pt x="351592" y="1445078"/>
                </a:lnTo>
                <a:close/>
                <a:moveTo>
                  <a:pt x="351908" y="1431206"/>
                </a:moveTo>
                <a:lnTo>
                  <a:pt x="351234" y="1431611"/>
                </a:lnTo>
                <a:lnTo>
                  <a:pt x="351234" y="1432274"/>
                </a:lnTo>
                <a:close/>
                <a:moveTo>
                  <a:pt x="358162" y="1421494"/>
                </a:moveTo>
                <a:lnTo>
                  <a:pt x="355921" y="1423156"/>
                </a:lnTo>
                <a:lnTo>
                  <a:pt x="355921" y="1423548"/>
                </a:lnTo>
                <a:close/>
                <a:moveTo>
                  <a:pt x="376098" y="1408347"/>
                </a:moveTo>
                <a:lnTo>
                  <a:pt x="370750" y="1412245"/>
                </a:lnTo>
                <a:lnTo>
                  <a:pt x="375023" y="1411256"/>
                </a:lnTo>
                <a:close/>
                <a:moveTo>
                  <a:pt x="421956" y="1365623"/>
                </a:moveTo>
                <a:lnTo>
                  <a:pt x="421765" y="1366161"/>
                </a:lnTo>
                <a:lnTo>
                  <a:pt x="421887" y="1366161"/>
                </a:lnTo>
                <a:close/>
                <a:moveTo>
                  <a:pt x="754553" y="1360575"/>
                </a:moveTo>
                <a:lnTo>
                  <a:pt x="754089" y="1361433"/>
                </a:lnTo>
                <a:lnTo>
                  <a:pt x="754431" y="1361125"/>
                </a:lnTo>
                <a:close/>
                <a:moveTo>
                  <a:pt x="1277973" y="1332923"/>
                </a:moveTo>
                <a:lnTo>
                  <a:pt x="1277944" y="1332936"/>
                </a:lnTo>
                <a:lnTo>
                  <a:pt x="1277949" y="1333139"/>
                </a:lnTo>
                <a:close/>
                <a:moveTo>
                  <a:pt x="1268556" y="1321066"/>
                </a:moveTo>
                <a:cubicBezTo>
                  <a:pt x="1268556" y="1322461"/>
                  <a:pt x="1268556" y="1323856"/>
                  <a:pt x="1268556" y="1325294"/>
                </a:cubicBezTo>
                <a:cubicBezTo>
                  <a:pt x="1267525" y="1325294"/>
                  <a:pt x="1266495" y="1325294"/>
                  <a:pt x="1265432" y="1325294"/>
                </a:cubicBezTo>
                <a:cubicBezTo>
                  <a:pt x="1265432" y="1330409"/>
                  <a:pt x="1265432" y="1335525"/>
                  <a:pt x="1265432" y="1340795"/>
                </a:cubicBezTo>
                <a:lnTo>
                  <a:pt x="1265476" y="1340714"/>
                </a:lnTo>
                <a:lnTo>
                  <a:pt x="1265476" y="1325877"/>
                </a:lnTo>
                <a:cubicBezTo>
                  <a:pt x="1266507" y="1325877"/>
                  <a:pt x="1267538" y="1325877"/>
                  <a:pt x="1268600" y="1325877"/>
                </a:cubicBezTo>
                <a:cubicBezTo>
                  <a:pt x="1268600" y="1324482"/>
                  <a:pt x="1268600" y="1323086"/>
                  <a:pt x="1268600" y="1321649"/>
                </a:cubicBezTo>
                <a:cubicBezTo>
                  <a:pt x="1270147" y="1321649"/>
                  <a:pt x="1271693" y="1321649"/>
                  <a:pt x="1273286" y="1321649"/>
                </a:cubicBezTo>
                <a:lnTo>
                  <a:pt x="1273227" y="1321066"/>
                </a:lnTo>
                <a:close/>
                <a:moveTo>
                  <a:pt x="827891" y="1291474"/>
                </a:moveTo>
                <a:lnTo>
                  <a:pt x="822601" y="1291544"/>
                </a:lnTo>
                <a:lnTo>
                  <a:pt x="818272" y="1292220"/>
                </a:lnTo>
                <a:lnTo>
                  <a:pt x="827891" y="1292047"/>
                </a:lnTo>
                <a:close/>
                <a:moveTo>
                  <a:pt x="856397" y="1288691"/>
                </a:moveTo>
                <a:lnTo>
                  <a:pt x="865903" y="1290590"/>
                </a:lnTo>
                <a:lnTo>
                  <a:pt x="859999" y="1288752"/>
                </a:lnTo>
                <a:close/>
                <a:moveTo>
                  <a:pt x="834694" y="1288572"/>
                </a:moveTo>
                <a:lnTo>
                  <a:pt x="828038" y="1288654"/>
                </a:lnTo>
                <a:lnTo>
                  <a:pt x="828038" y="1289214"/>
                </a:lnTo>
                <a:close/>
                <a:moveTo>
                  <a:pt x="229746" y="1191418"/>
                </a:moveTo>
                <a:lnTo>
                  <a:pt x="227402" y="1191947"/>
                </a:lnTo>
                <a:lnTo>
                  <a:pt x="229315" y="1191947"/>
                </a:lnTo>
                <a:cubicBezTo>
                  <a:pt x="229315" y="1192877"/>
                  <a:pt x="229315" y="1193807"/>
                  <a:pt x="229315" y="1194765"/>
                </a:cubicBezTo>
                <a:lnTo>
                  <a:pt x="231321" y="1194765"/>
                </a:lnTo>
                <a:lnTo>
                  <a:pt x="229746" y="1194236"/>
                </a:lnTo>
                <a:cubicBezTo>
                  <a:pt x="229746" y="1193306"/>
                  <a:pt x="229746" y="1192376"/>
                  <a:pt x="229746" y="1191418"/>
                </a:cubicBezTo>
                <a:close/>
                <a:moveTo>
                  <a:pt x="215687" y="1187190"/>
                </a:moveTo>
                <a:lnTo>
                  <a:pt x="215198" y="1187720"/>
                </a:lnTo>
                <a:lnTo>
                  <a:pt x="215256" y="1187720"/>
                </a:lnTo>
                <a:cubicBezTo>
                  <a:pt x="215256" y="1189115"/>
                  <a:pt x="215256" y="1190510"/>
                  <a:pt x="215256" y="1191947"/>
                </a:cubicBezTo>
                <a:lnTo>
                  <a:pt x="222721" y="1191947"/>
                </a:lnTo>
                <a:lnTo>
                  <a:pt x="215687" y="1191418"/>
                </a:lnTo>
                <a:cubicBezTo>
                  <a:pt x="215687" y="1190023"/>
                  <a:pt x="215687" y="1188628"/>
                  <a:pt x="215687" y="1187190"/>
                </a:cubicBezTo>
                <a:close/>
                <a:moveTo>
                  <a:pt x="1279678" y="1082356"/>
                </a:moveTo>
                <a:lnTo>
                  <a:pt x="1271680" y="1084589"/>
                </a:lnTo>
                <a:lnTo>
                  <a:pt x="1282181" y="1082544"/>
                </a:lnTo>
                <a:close/>
                <a:moveTo>
                  <a:pt x="117703" y="941507"/>
                </a:moveTo>
                <a:lnTo>
                  <a:pt x="112587" y="941985"/>
                </a:lnTo>
                <a:lnTo>
                  <a:pt x="112565" y="942333"/>
                </a:lnTo>
                <a:lnTo>
                  <a:pt x="115665" y="941837"/>
                </a:lnTo>
                <a:close/>
                <a:moveTo>
                  <a:pt x="144268" y="939395"/>
                </a:moveTo>
                <a:lnTo>
                  <a:pt x="143354" y="939580"/>
                </a:lnTo>
                <a:lnTo>
                  <a:pt x="144077" y="939739"/>
                </a:lnTo>
                <a:close/>
                <a:moveTo>
                  <a:pt x="162575" y="933530"/>
                </a:moveTo>
                <a:lnTo>
                  <a:pt x="161704" y="935101"/>
                </a:lnTo>
                <a:lnTo>
                  <a:pt x="170045" y="933585"/>
                </a:lnTo>
                <a:close/>
                <a:moveTo>
                  <a:pt x="1321645" y="918415"/>
                </a:moveTo>
                <a:lnTo>
                  <a:pt x="1321534" y="920177"/>
                </a:lnTo>
                <a:lnTo>
                  <a:pt x="1321740" y="918415"/>
                </a:lnTo>
                <a:close/>
                <a:moveTo>
                  <a:pt x="1319333" y="915183"/>
                </a:moveTo>
                <a:lnTo>
                  <a:pt x="1318544" y="918029"/>
                </a:lnTo>
                <a:lnTo>
                  <a:pt x="1318702" y="918029"/>
                </a:lnTo>
                <a:close/>
                <a:moveTo>
                  <a:pt x="1326355" y="907109"/>
                </a:moveTo>
                <a:lnTo>
                  <a:pt x="1326355" y="910983"/>
                </a:lnTo>
                <a:lnTo>
                  <a:pt x="1325831" y="911101"/>
                </a:lnTo>
                <a:lnTo>
                  <a:pt x="1326426" y="911369"/>
                </a:lnTo>
                <a:cubicBezTo>
                  <a:pt x="1326426" y="909974"/>
                  <a:pt x="1326426" y="908579"/>
                  <a:pt x="1326426" y="907141"/>
                </a:cubicBezTo>
                <a:close/>
                <a:moveTo>
                  <a:pt x="1328144" y="892192"/>
                </a:moveTo>
                <a:lnTo>
                  <a:pt x="1327667" y="893446"/>
                </a:lnTo>
                <a:lnTo>
                  <a:pt x="1327989" y="893049"/>
                </a:lnTo>
                <a:close/>
                <a:moveTo>
                  <a:pt x="49605" y="887420"/>
                </a:moveTo>
                <a:lnTo>
                  <a:pt x="48549" y="891229"/>
                </a:lnTo>
                <a:lnTo>
                  <a:pt x="49956" y="887420"/>
                </a:lnTo>
                <a:close/>
                <a:moveTo>
                  <a:pt x="1332266" y="883369"/>
                </a:moveTo>
                <a:lnTo>
                  <a:pt x="1329479" y="884207"/>
                </a:lnTo>
                <a:lnTo>
                  <a:pt x="1329509" y="884816"/>
                </a:lnTo>
                <a:lnTo>
                  <a:pt x="1329551" y="884594"/>
                </a:lnTo>
                <a:close/>
                <a:moveTo>
                  <a:pt x="1555987" y="821766"/>
                </a:moveTo>
                <a:lnTo>
                  <a:pt x="1555987" y="822201"/>
                </a:lnTo>
                <a:lnTo>
                  <a:pt x="1556081" y="822189"/>
                </a:lnTo>
                <a:close/>
                <a:moveTo>
                  <a:pt x="1565360" y="810928"/>
                </a:moveTo>
                <a:lnTo>
                  <a:pt x="1564871" y="811809"/>
                </a:lnTo>
                <a:lnTo>
                  <a:pt x="1567314" y="810928"/>
                </a:lnTo>
                <a:close/>
                <a:moveTo>
                  <a:pt x="1563797" y="810928"/>
                </a:moveTo>
                <a:lnTo>
                  <a:pt x="1556762" y="814736"/>
                </a:lnTo>
                <a:lnTo>
                  <a:pt x="1563797" y="812197"/>
                </a:lnTo>
                <a:close/>
                <a:moveTo>
                  <a:pt x="265833" y="806020"/>
                </a:moveTo>
                <a:lnTo>
                  <a:pt x="263704" y="809861"/>
                </a:lnTo>
                <a:lnTo>
                  <a:pt x="263704" y="816750"/>
                </a:lnTo>
                <a:lnTo>
                  <a:pt x="264113" y="816565"/>
                </a:lnTo>
                <a:cubicBezTo>
                  <a:pt x="264048" y="815315"/>
                  <a:pt x="263984" y="814065"/>
                  <a:pt x="263918" y="812777"/>
                </a:cubicBezTo>
                <a:close/>
                <a:moveTo>
                  <a:pt x="263774" y="779374"/>
                </a:moveTo>
                <a:lnTo>
                  <a:pt x="263704" y="783086"/>
                </a:lnTo>
                <a:cubicBezTo>
                  <a:pt x="263961" y="783987"/>
                  <a:pt x="264219" y="784888"/>
                  <a:pt x="264484" y="785816"/>
                </a:cubicBezTo>
                <a:cubicBezTo>
                  <a:pt x="265299" y="788846"/>
                  <a:pt x="265316" y="791337"/>
                  <a:pt x="265265" y="794448"/>
                </a:cubicBezTo>
                <a:cubicBezTo>
                  <a:pt x="265103" y="797155"/>
                  <a:pt x="265022" y="798508"/>
                  <a:pt x="265217" y="799730"/>
                </a:cubicBezTo>
                <a:lnTo>
                  <a:pt x="266556" y="803466"/>
                </a:lnTo>
                <a:lnTo>
                  <a:pt x="267237" y="801063"/>
                </a:lnTo>
                <a:cubicBezTo>
                  <a:pt x="266721" y="800598"/>
                  <a:pt x="266206" y="800133"/>
                  <a:pt x="265675" y="799654"/>
                </a:cubicBezTo>
                <a:cubicBezTo>
                  <a:pt x="265601" y="797718"/>
                  <a:pt x="265617" y="795778"/>
                  <a:pt x="265675" y="793841"/>
                </a:cubicBezTo>
                <a:close/>
                <a:moveTo>
                  <a:pt x="260988" y="770061"/>
                </a:moveTo>
                <a:lnTo>
                  <a:pt x="260988" y="771364"/>
                </a:lnTo>
                <a:lnTo>
                  <a:pt x="263497" y="777263"/>
                </a:lnTo>
                <a:lnTo>
                  <a:pt x="262551" y="770061"/>
                </a:lnTo>
                <a:cubicBezTo>
                  <a:pt x="262035" y="770061"/>
                  <a:pt x="261520" y="770061"/>
                  <a:pt x="260988" y="770061"/>
                </a:cubicBezTo>
                <a:close/>
                <a:moveTo>
                  <a:pt x="157888" y="651686"/>
                </a:moveTo>
                <a:lnTo>
                  <a:pt x="157415" y="651764"/>
                </a:lnTo>
                <a:lnTo>
                  <a:pt x="160373" y="652274"/>
                </a:lnTo>
                <a:close/>
                <a:moveTo>
                  <a:pt x="267237" y="426537"/>
                </a:moveTo>
                <a:lnTo>
                  <a:pt x="267237" y="427619"/>
                </a:lnTo>
                <a:cubicBezTo>
                  <a:pt x="268274" y="427791"/>
                  <a:pt x="269311" y="427961"/>
                  <a:pt x="270380" y="428137"/>
                </a:cubicBezTo>
                <a:lnTo>
                  <a:pt x="273548" y="428680"/>
                </a:lnTo>
                <a:close/>
                <a:moveTo>
                  <a:pt x="37605" y="359270"/>
                </a:moveTo>
                <a:lnTo>
                  <a:pt x="37103" y="361533"/>
                </a:lnTo>
                <a:lnTo>
                  <a:pt x="37605" y="361382"/>
                </a:lnTo>
                <a:close/>
                <a:moveTo>
                  <a:pt x="52477" y="337570"/>
                </a:moveTo>
                <a:lnTo>
                  <a:pt x="47288" y="342340"/>
                </a:lnTo>
                <a:lnTo>
                  <a:pt x="45805" y="345093"/>
                </a:lnTo>
                <a:close/>
                <a:moveTo>
                  <a:pt x="104291" y="336166"/>
                </a:moveTo>
                <a:lnTo>
                  <a:pt x="103776" y="337559"/>
                </a:lnTo>
                <a:lnTo>
                  <a:pt x="108925" y="336166"/>
                </a:lnTo>
                <a:close/>
                <a:moveTo>
                  <a:pt x="1309237" y="322954"/>
                </a:moveTo>
                <a:lnTo>
                  <a:pt x="1309180" y="330559"/>
                </a:lnTo>
                <a:lnTo>
                  <a:pt x="1309237" y="330520"/>
                </a:lnTo>
                <a:close/>
                <a:moveTo>
                  <a:pt x="1308964" y="317715"/>
                </a:moveTo>
                <a:lnTo>
                  <a:pt x="1309237" y="318569"/>
                </a:lnTo>
                <a:lnTo>
                  <a:pt x="1309237" y="317838"/>
                </a:lnTo>
                <a:close/>
                <a:moveTo>
                  <a:pt x="1310087" y="313153"/>
                </a:moveTo>
                <a:lnTo>
                  <a:pt x="1307609" y="313473"/>
                </a:lnTo>
                <a:lnTo>
                  <a:pt x="1308045" y="314836"/>
                </a:lnTo>
                <a:close/>
                <a:moveTo>
                  <a:pt x="1318544" y="312064"/>
                </a:moveTo>
                <a:lnTo>
                  <a:pt x="1316298" y="312353"/>
                </a:lnTo>
                <a:lnTo>
                  <a:pt x="1318544" y="312205"/>
                </a:lnTo>
                <a:close/>
                <a:moveTo>
                  <a:pt x="1084622" y="267674"/>
                </a:moveTo>
                <a:lnTo>
                  <a:pt x="1084227" y="268378"/>
                </a:lnTo>
                <a:cubicBezTo>
                  <a:pt x="1082679" y="268378"/>
                  <a:pt x="1081133" y="268378"/>
                  <a:pt x="1079540" y="268378"/>
                </a:cubicBezTo>
                <a:lnTo>
                  <a:pt x="1079603" y="268477"/>
                </a:lnTo>
                <a:lnTo>
                  <a:pt x="1084192" y="268477"/>
                </a:lnTo>
                <a:close/>
                <a:moveTo>
                  <a:pt x="956410" y="266968"/>
                </a:moveTo>
                <a:lnTo>
                  <a:pt x="957576" y="267083"/>
                </a:lnTo>
                <a:lnTo>
                  <a:pt x="957576" y="269776"/>
                </a:lnTo>
                <a:lnTo>
                  <a:pt x="957694" y="269787"/>
                </a:lnTo>
                <a:cubicBezTo>
                  <a:pt x="957694" y="268857"/>
                  <a:pt x="957694" y="267927"/>
                  <a:pt x="957694" y="266968"/>
                </a:cubicBezTo>
                <a:close/>
                <a:moveTo>
                  <a:pt x="1089372" y="259220"/>
                </a:moveTo>
                <a:lnTo>
                  <a:pt x="1085856" y="265479"/>
                </a:lnTo>
                <a:lnTo>
                  <a:pt x="1088878" y="261431"/>
                </a:lnTo>
                <a:close/>
                <a:moveTo>
                  <a:pt x="1018517" y="223356"/>
                </a:moveTo>
                <a:lnTo>
                  <a:pt x="1013866" y="226190"/>
                </a:lnTo>
                <a:lnTo>
                  <a:pt x="1013024" y="227709"/>
                </a:lnTo>
                <a:lnTo>
                  <a:pt x="1017055" y="224692"/>
                </a:lnTo>
                <a:close/>
                <a:moveTo>
                  <a:pt x="850645" y="220099"/>
                </a:moveTo>
                <a:lnTo>
                  <a:pt x="850897" y="221488"/>
                </a:lnTo>
                <a:cubicBezTo>
                  <a:pt x="851086" y="222545"/>
                  <a:pt x="851275" y="223602"/>
                  <a:pt x="851470" y="224692"/>
                </a:cubicBezTo>
                <a:lnTo>
                  <a:pt x="852860" y="224692"/>
                </a:lnTo>
                <a:close/>
                <a:moveTo>
                  <a:pt x="1155019" y="35"/>
                </a:moveTo>
                <a:cubicBezTo>
                  <a:pt x="1161775" y="275"/>
                  <a:pt x="1168415" y="1783"/>
                  <a:pt x="1174829" y="4853"/>
                </a:cubicBezTo>
                <a:cubicBezTo>
                  <a:pt x="1176343" y="5231"/>
                  <a:pt x="1177858" y="5609"/>
                  <a:pt x="1179418" y="5998"/>
                </a:cubicBezTo>
                <a:cubicBezTo>
                  <a:pt x="1189392" y="9487"/>
                  <a:pt x="1196322" y="14392"/>
                  <a:pt x="1201385" y="22997"/>
                </a:cubicBezTo>
                <a:cubicBezTo>
                  <a:pt x="1206849" y="35244"/>
                  <a:pt x="1206940" y="49865"/>
                  <a:pt x="1201678" y="62191"/>
                </a:cubicBezTo>
                <a:cubicBezTo>
                  <a:pt x="1200594" y="64241"/>
                  <a:pt x="1199461" y="66271"/>
                  <a:pt x="1198261" y="68268"/>
                </a:cubicBezTo>
                <a:cubicBezTo>
                  <a:pt x="1197423" y="69721"/>
                  <a:pt x="1196586" y="71175"/>
                  <a:pt x="1195723" y="72672"/>
                </a:cubicBezTo>
                <a:cubicBezTo>
                  <a:pt x="1194659" y="73980"/>
                  <a:pt x="1194659" y="73980"/>
                  <a:pt x="1193575" y="75314"/>
                </a:cubicBezTo>
                <a:cubicBezTo>
                  <a:pt x="1192544" y="75314"/>
                  <a:pt x="1191512" y="75314"/>
                  <a:pt x="1190450" y="75314"/>
                </a:cubicBezTo>
                <a:cubicBezTo>
                  <a:pt x="1190128" y="76651"/>
                  <a:pt x="1189806" y="77988"/>
                  <a:pt x="1189474" y="79366"/>
                </a:cubicBezTo>
                <a:cubicBezTo>
                  <a:pt x="1187326" y="83769"/>
                  <a:pt x="1187326" y="83769"/>
                  <a:pt x="1182445" y="85707"/>
                </a:cubicBezTo>
                <a:cubicBezTo>
                  <a:pt x="1180962" y="85998"/>
                  <a:pt x="1179480" y="86289"/>
                  <a:pt x="1177953" y="86588"/>
                </a:cubicBezTo>
                <a:cubicBezTo>
                  <a:pt x="1177953" y="87518"/>
                  <a:pt x="1177953" y="88448"/>
                  <a:pt x="1177953" y="89406"/>
                </a:cubicBezTo>
                <a:cubicBezTo>
                  <a:pt x="1175369" y="91088"/>
                  <a:pt x="1172720" y="92688"/>
                  <a:pt x="1170045" y="94251"/>
                </a:cubicBezTo>
                <a:cubicBezTo>
                  <a:pt x="1154651" y="104199"/>
                  <a:pt x="1148918" y="116979"/>
                  <a:pt x="1143806" y="132828"/>
                </a:cubicBezTo>
                <a:cubicBezTo>
                  <a:pt x="1142095" y="137144"/>
                  <a:pt x="1140989" y="138617"/>
                  <a:pt x="1137338" y="141548"/>
                </a:cubicBezTo>
                <a:cubicBezTo>
                  <a:pt x="1136166" y="144148"/>
                  <a:pt x="1134992" y="146751"/>
                  <a:pt x="1133970" y="149403"/>
                </a:cubicBezTo>
                <a:cubicBezTo>
                  <a:pt x="1132069" y="154334"/>
                  <a:pt x="1130006" y="159210"/>
                  <a:pt x="1127965" y="164095"/>
                </a:cubicBezTo>
                <a:cubicBezTo>
                  <a:pt x="1126897" y="166664"/>
                  <a:pt x="1125830" y="169233"/>
                  <a:pt x="1124762" y="171802"/>
                </a:cubicBezTo>
                <a:cubicBezTo>
                  <a:pt x="1122961" y="176134"/>
                  <a:pt x="1121160" y="180466"/>
                  <a:pt x="1119359" y="184798"/>
                </a:cubicBezTo>
                <a:cubicBezTo>
                  <a:pt x="1116567" y="191508"/>
                  <a:pt x="1113778" y="198220"/>
                  <a:pt x="1111014" y="204941"/>
                </a:cubicBezTo>
                <a:cubicBezTo>
                  <a:pt x="1110590" y="205970"/>
                  <a:pt x="1110165" y="206999"/>
                  <a:pt x="1109729" y="208059"/>
                </a:cubicBezTo>
                <a:cubicBezTo>
                  <a:pt x="1108615" y="210762"/>
                  <a:pt x="1107505" y="213466"/>
                  <a:pt x="1106395" y="216170"/>
                </a:cubicBezTo>
                <a:cubicBezTo>
                  <a:pt x="1104320" y="220956"/>
                  <a:pt x="1103283" y="223349"/>
                  <a:pt x="1102147" y="224810"/>
                </a:cubicBezTo>
                <a:lnTo>
                  <a:pt x="1098261" y="227262"/>
                </a:lnTo>
                <a:lnTo>
                  <a:pt x="1098367" y="238475"/>
                </a:lnTo>
                <a:cubicBezTo>
                  <a:pt x="1098025" y="239757"/>
                  <a:pt x="1097684" y="241038"/>
                  <a:pt x="1097331" y="242358"/>
                </a:cubicBezTo>
                <a:cubicBezTo>
                  <a:pt x="1096958" y="243711"/>
                  <a:pt x="1096585" y="245064"/>
                  <a:pt x="1096201" y="246458"/>
                </a:cubicBezTo>
                <a:cubicBezTo>
                  <a:pt x="1093302" y="257363"/>
                  <a:pt x="1090901" y="268062"/>
                  <a:pt x="1089440" y="279206"/>
                </a:cubicBezTo>
                <a:cubicBezTo>
                  <a:pt x="1088878" y="282569"/>
                  <a:pt x="1088878" y="282569"/>
                  <a:pt x="1087316" y="283978"/>
                </a:cubicBezTo>
                <a:cubicBezTo>
                  <a:pt x="1087070" y="286587"/>
                  <a:pt x="1086924" y="289205"/>
                  <a:pt x="1086822" y="291822"/>
                </a:cubicBezTo>
                <a:cubicBezTo>
                  <a:pt x="1086756" y="293408"/>
                  <a:pt x="1086691" y="294993"/>
                  <a:pt x="1086623" y="296625"/>
                </a:cubicBezTo>
                <a:cubicBezTo>
                  <a:pt x="1086562" y="298294"/>
                  <a:pt x="1086501" y="299962"/>
                  <a:pt x="1086437" y="301681"/>
                </a:cubicBezTo>
                <a:cubicBezTo>
                  <a:pt x="1086336" y="304192"/>
                  <a:pt x="1086336" y="304192"/>
                  <a:pt x="1086233" y="306754"/>
                </a:cubicBezTo>
                <a:lnTo>
                  <a:pt x="1086007" y="312619"/>
                </a:lnTo>
                <a:lnTo>
                  <a:pt x="1087470" y="320554"/>
                </a:lnTo>
                <a:cubicBezTo>
                  <a:pt x="1089648" y="325409"/>
                  <a:pt x="1093111" y="329799"/>
                  <a:pt x="1098285" y="334611"/>
                </a:cubicBezTo>
                <a:cubicBezTo>
                  <a:pt x="1100424" y="336130"/>
                  <a:pt x="1100424" y="336130"/>
                  <a:pt x="1102607" y="337679"/>
                </a:cubicBezTo>
                <a:cubicBezTo>
                  <a:pt x="1104334" y="338951"/>
                  <a:pt x="1104334" y="338951"/>
                  <a:pt x="1106095" y="340248"/>
                </a:cubicBezTo>
                <a:cubicBezTo>
                  <a:pt x="1106095" y="341178"/>
                  <a:pt x="1106095" y="342108"/>
                  <a:pt x="1106095" y="343066"/>
                </a:cubicBezTo>
                <a:cubicBezTo>
                  <a:pt x="1107127" y="343183"/>
                  <a:pt x="1108158" y="343299"/>
                  <a:pt x="1109220" y="343419"/>
                </a:cubicBezTo>
                <a:cubicBezTo>
                  <a:pt x="1115473" y="344829"/>
                  <a:pt x="1120724" y="347416"/>
                  <a:pt x="1126403" y="350112"/>
                </a:cubicBezTo>
                <a:cubicBezTo>
                  <a:pt x="1128207" y="350926"/>
                  <a:pt x="1130012" y="351740"/>
                  <a:pt x="1131871" y="352579"/>
                </a:cubicBezTo>
                <a:cubicBezTo>
                  <a:pt x="1133159" y="353160"/>
                  <a:pt x="1134448" y="353741"/>
                  <a:pt x="1135776" y="354340"/>
                </a:cubicBezTo>
                <a:cubicBezTo>
                  <a:pt x="1135776" y="355270"/>
                  <a:pt x="1135776" y="356200"/>
                  <a:pt x="1135776" y="357158"/>
                </a:cubicBezTo>
                <a:cubicBezTo>
                  <a:pt x="1148107" y="360029"/>
                  <a:pt x="1158679" y="359101"/>
                  <a:pt x="1170143" y="354340"/>
                </a:cubicBezTo>
                <a:cubicBezTo>
                  <a:pt x="1172366" y="353468"/>
                  <a:pt x="1172366" y="353468"/>
                  <a:pt x="1174634" y="352579"/>
                </a:cubicBezTo>
                <a:cubicBezTo>
                  <a:pt x="1180354" y="349689"/>
                  <a:pt x="1185568" y="346355"/>
                  <a:pt x="1190890" y="342907"/>
                </a:cubicBezTo>
                <a:cubicBezTo>
                  <a:pt x="1195169" y="340228"/>
                  <a:pt x="1199557" y="337821"/>
                  <a:pt x="1204021" y="335404"/>
                </a:cubicBezTo>
                <a:cubicBezTo>
                  <a:pt x="1211989" y="330886"/>
                  <a:pt x="1217509" y="325766"/>
                  <a:pt x="1223255" y="319110"/>
                </a:cubicBezTo>
                <a:cubicBezTo>
                  <a:pt x="1224447" y="317947"/>
                  <a:pt x="1225639" y="316784"/>
                  <a:pt x="1226868" y="315587"/>
                </a:cubicBezTo>
                <a:cubicBezTo>
                  <a:pt x="1229855" y="311593"/>
                  <a:pt x="1230852" y="308240"/>
                  <a:pt x="1231859" y="303559"/>
                </a:cubicBezTo>
                <a:cubicBezTo>
                  <a:pt x="1232628" y="300790"/>
                  <a:pt x="1232628" y="300790"/>
                  <a:pt x="1234178" y="298059"/>
                </a:cubicBezTo>
                <a:cubicBezTo>
                  <a:pt x="1235964" y="294761"/>
                  <a:pt x="1236623" y="291807"/>
                  <a:pt x="1237314" y="288195"/>
                </a:cubicBezTo>
                <a:cubicBezTo>
                  <a:pt x="1239360" y="278571"/>
                  <a:pt x="1242414" y="272733"/>
                  <a:pt x="1249811" y="265559"/>
                </a:cubicBezTo>
                <a:cubicBezTo>
                  <a:pt x="1250842" y="265559"/>
                  <a:pt x="1251873" y="265559"/>
                  <a:pt x="1252935" y="265559"/>
                </a:cubicBezTo>
                <a:cubicBezTo>
                  <a:pt x="1252935" y="264629"/>
                  <a:pt x="1252935" y="263699"/>
                  <a:pt x="1252935" y="262741"/>
                </a:cubicBezTo>
                <a:cubicBezTo>
                  <a:pt x="1265591" y="253427"/>
                  <a:pt x="1280762" y="251648"/>
                  <a:pt x="1296675" y="252876"/>
                </a:cubicBezTo>
                <a:cubicBezTo>
                  <a:pt x="1300535" y="253563"/>
                  <a:pt x="1303901" y="254478"/>
                  <a:pt x="1307609" y="255695"/>
                </a:cubicBezTo>
                <a:cubicBezTo>
                  <a:pt x="1307609" y="256625"/>
                  <a:pt x="1307609" y="257555"/>
                  <a:pt x="1307609" y="258513"/>
                </a:cubicBezTo>
                <a:cubicBezTo>
                  <a:pt x="1309021" y="258619"/>
                  <a:pt x="1310432" y="258723"/>
                  <a:pt x="1311887" y="258832"/>
                </a:cubicBezTo>
                <a:cubicBezTo>
                  <a:pt x="1319573" y="260476"/>
                  <a:pt x="1322149" y="264416"/>
                  <a:pt x="1326715" y="269969"/>
                </a:cubicBezTo>
                <a:cubicBezTo>
                  <a:pt x="1334402" y="281220"/>
                  <a:pt x="1336114" y="294839"/>
                  <a:pt x="1334165" y="307836"/>
                </a:cubicBezTo>
                <a:cubicBezTo>
                  <a:pt x="1332176" y="311898"/>
                  <a:pt x="1332176" y="311898"/>
                  <a:pt x="1329479" y="314882"/>
                </a:cubicBezTo>
                <a:cubicBezTo>
                  <a:pt x="1327417" y="314882"/>
                  <a:pt x="1325355" y="314882"/>
                  <a:pt x="1323231" y="314882"/>
                </a:cubicBezTo>
                <a:cubicBezTo>
                  <a:pt x="1323231" y="315812"/>
                  <a:pt x="1323231" y="316742"/>
                  <a:pt x="1323231" y="317700"/>
                </a:cubicBezTo>
                <a:lnTo>
                  <a:pt x="1322774" y="317838"/>
                </a:lnTo>
                <a:lnTo>
                  <a:pt x="1323295" y="317838"/>
                </a:lnTo>
                <a:cubicBezTo>
                  <a:pt x="1323295" y="316907"/>
                  <a:pt x="1323295" y="315977"/>
                  <a:pt x="1323295" y="315019"/>
                </a:cubicBezTo>
                <a:cubicBezTo>
                  <a:pt x="1324842" y="315019"/>
                  <a:pt x="1326388" y="315019"/>
                  <a:pt x="1327982" y="315019"/>
                </a:cubicBezTo>
                <a:cubicBezTo>
                  <a:pt x="1325845" y="321328"/>
                  <a:pt x="1322753" y="323742"/>
                  <a:pt x="1317047" y="327702"/>
                </a:cubicBezTo>
                <a:cubicBezTo>
                  <a:pt x="1316531" y="329097"/>
                  <a:pt x="1316016" y="330492"/>
                  <a:pt x="1315484" y="331930"/>
                </a:cubicBezTo>
                <a:cubicBezTo>
                  <a:pt x="1312599" y="332959"/>
                  <a:pt x="1312599" y="332959"/>
                  <a:pt x="1309139" y="333603"/>
                </a:cubicBezTo>
                <a:cubicBezTo>
                  <a:pt x="1307993" y="333827"/>
                  <a:pt x="1306847" y="334050"/>
                  <a:pt x="1305666" y="334280"/>
                </a:cubicBezTo>
                <a:cubicBezTo>
                  <a:pt x="1304783" y="334434"/>
                  <a:pt x="1303899" y="334589"/>
                  <a:pt x="1302988" y="334748"/>
                </a:cubicBezTo>
                <a:lnTo>
                  <a:pt x="1305905" y="332775"/>
                </a:lnTo>
                <a:lnTo>
                  <a:pt x="1304485" y="333202"/>
                </a:lnTo>
                <a:cubicBezTo>
                  <a:pt x="1302987" y="334640"/>
                  <a:pt x="1302987" y="334640"/>
                  <a:pt x="1301459" y="336108"/>
                </a:cubicBezTo>
                <a:cubicBezTo>
                  <a:pt x="1298237" y="338839"/>
                  <a:pt x="1298237" y="338839"/>
                  <a:pt x="1291989" y="338839"/>
                </a:cubicBezTo>
                <a:cubicBezTo>
                  <a:pt x="1291473" y="340234"/>
                  <a:pt x="1290957" y="341629"/>
                  <a:pt x="1290426" y="343066"/>
                </a:cubicBezTo>
                <a:cubicBezTo>
                  <a:pt x="1288879" y="343415"/>
                  <a:pt x="1287333" y="343764"/>
                  <a:pt x="1285740" y="344123"/>
                </a:cubicBezTo>
                <a:cubicBezTo>
                  <a:pt x="1266905" y="348491"/>
                  <a:pt x="1249005" y="369098"/>
                  <a:pt x="1237314" y="382525"/>
                </a:cubicBezTo>
                <a:cubicBezTo>
                  <a:pt x="1235678" y="385783"/>
                  <a:pt x="1234122" y="389075"/>
                  <a:pt x="1232628" y="392389"/>
                </a:cubicBezTo>
                <a:cubicBezTo>
                  <a:pt x="1231317" y="394515"/>
                  <a:pt x="1229981" y="396629"/>
                  <a:pt x="1228625" y="398731"/>
                </a:cubicBezTo>
                <a:cubicBezTo>
                  <a:pt x="1221457" y="410300"/>
                  <a:pt x="1219465" y="421836"/>
                  <a:pt x="1222822" y="434798"/>
                </a:cubicBezTo>
                <a:cubicBezTo>
                  <a:pt x="1229360" y="453710"/>
                  <a:pt x="1244088" y="472467"/>
                  <a:pt x="1260746" y="485398"/>
                </a:cubicBezTo>
                <a:cubicBezTo>
                  <a:pt x="1264961" y="487349"/>
                  <a:pt x="1264961" y="487349"/>
                  <a:pt x="1268556" y="488216"/>
                </a:cubicBezTo>
                <a:cubicBezTo>
                  <a:pt x="1268556" y="489146"/>
                  <a:pt x="1268556" y="490076"/>
                  <a:pt x="1268556" y="491034"/>
                </a:cubicBezTo>
                <a:cubicBezTo>
                  <a:pt x="1288790" y="497071"/>
                  <a:pt x="1319055" y="498555"/>
                  <a:pt x="1338852" y="489625"/>
                </a:cubicBezTo>
                <a:cubicBezTo>
                  <a:pt x="1341711" y="489213"/>
                  <a:pt x="1344575" y="488837"/>
                  <a:pt x="1347444" y="488480"/>
                </a:cubicBezTo>
                <a:cubicBezTo>
                  <a:pt x="1355372" y="487345"/>
                  <a:pt x="1362033" y="485390"/>
                  <a:pt x="1369362" y="482513"/>
                </a:cubicBezTo>
                <a:cubicBezTo>
                  <a:pt x="1375665" y="480318"/>
                  <a:pt x="1382189" y="479322"/>
                  <a:pt x="1388840" y="478351"/>
                </a:cubicBezTo>
                <a:cubicBezTo>
                  <a:pt x="1388840" y="477421"/>
                  <a:pt x="1388840" y="476492"/>
                  <a:pt x="1388840" y="475533"/>
                </a:cubicBezTo>
                <a:cubicBezTo>
                  <a:pt x="1391083" y="474821"/>
                  <a:pt x="1393329" y="474118"/>
                  <a:pt x="1395576" y="473419"/>
                </a:cubicBezTo>
                <a:cubicBezTo>
                  <a:pt x="1396827" y="473027"/>
                  <a:pt x="1398077" y="472635"/>
                  <a:pt x="1399365" y="472230"/>
                </a:cubicBezTo>
                <a:cubicBezTo>
                  <a:pt x="1402899" y="471305"/>
                  <a:pt x="1402899" y="471305"/>
                  <a:pt x="1407585" y="471305"/>
                </a:cubicBezTo>
                <a:cubicBezTo>
                  <a:pt x="1408101" y="469910"/>
                  <a:pt x="1408616" y="468515"/>
                  <a:pt x="1409147" y="467078"/>
                </a:cubicBezTo>
                <a:cubicBezTo>
                  <a:pt x="1412388" y="465580"/>
                  <a:pt x="1412388" y="465580"/>
                  <a:pt x="1416470" y="464259"/>
                </a:cubicBezTo>
                <a:cubicBezTo>
                  <a:pt x="1424029" y="461705"/>
                  <a:pt x="1431130" y="458955"/>
                  <a:pt x="1437949" y="455011"/>
                </a:cubicBezTo>
                <a:cubicBezTo>
                  <a:pt x="1442765" y="452574"/>
                  <a:pt x="1447553" y="451394"/>
                  <a:pt x="1452887" y="450167"/>
                </a:cubicBezTo>
                <a:cubicBezTo>
                  <a:pt x="1452887" y="449237"/>
                  <a:pt x="1452887" y="448307"/>
                  <a:pt x="1452887" y="447349"/>
                </a:cubicBezTo>
                <a:cubicBezTo>
                  <a:pt x="1453714" y="446944"/>
                  <a:pt x="1454541" y="446539"/>
                  <a:pt x="1455394" y="446122"/>
                </a:cubicBezTo>
                <a:cubicBezTo>
                  <a:pt x="1459151" y="444278"/>
                  <a:pt x="1462902" y="442422"/>
                  <a:pt x="1466653" y="440567"/>
                </a:cubicBezTo>
                <a:cubicBezTo>
                  <a:pt x="1467955" y="439930"/>
                  <a:pt x="1469256" y="439293"/>
                  <a:pt x="1470598" y="438637"/>
                </a:cubicBezTo>
                <a:cubicBezTo>
                  <a:pt x="1471852" y="438016"/>
                  <a:pt x="1473105" y="437393"/>
                  <a:pt x="1474397" y="436752"/>
                </a:cubicBezTo>
                <a:cubicBezTo>
                  <a:pt x="1475550" y="436184"/>
                  <a:pt x="1476703" y="435616"/>
                  <a:pt x="1477892" y="435030"/>
                </a:cubicBezTo>
                <a:cubicBezTo>
                  <a:pt x="1480966" y="433279"/>
                  <a:pt x="1483173" y="431373"/>
                  <a:pt x="1485691" y="429029"/>
                </a:cubicBezTo>
                <a:cubicBezTo>
                  <a:pt x="1486737" y="428575"/>
                  <a:pt x="1487781" y="428121"/>
                  <a:pt x="1488858" y="427653"/>
                </a:cubicBezTo>
                <a:cubicBezTo>
                  <a:pt x="1492438" y="425977"/>
                  <a:pt x="1493705" y="424453"/>
                  <a:pt x="1495943" y="421454"/>
                </a:cubicBezTo>
                <a:cubicBezTo>
                  <a:pt x="1507114" y="407544"/>
                  <a:pt x="1519758" y="393513"/>
                  <a:pt x="1538608" y="388338"/>
                </a:cubicBezTo>
                <a:cubicBezTo>
                  <a:pt x="1541025" y="388250"/>
                  <a:pt x="1541025" y="388250"/>
                  <a:pt x="1543490" y="388161"/>
                </a:cubicBezTo>
                <a:cubicBezTo>
                  <a:pt x="1545535" y="387984"/>
                  <a:pt x="1545535" y="387984"/>
                  <a:pt x="1547621" y="387804"/>
                </a:cubicBezTo>
                <a:cubicBezTo>
                  <a:pt x="1560659" y="387094"/>
                  <a:pt x="1568716" y="390117"/>
                  <a:pt x="1579418" y="396617"/>
                </a:cubicBezTo>
                <a:cubicBezTo>
                  <a:pt x="1581361" y="397687"/>
                  <a:pt x="1581361" y="397687"/>
                  <a:pt x="1583342" y="398780"/>
                </a:cubicBezTo>
                <a:cubicBezTo>
                  <a:pt x="1593703" y="405068"/>
                  <a:pt x="1598513" y="412459"/>
                  <a:pt x="1601288" y="423392"/>
                </a:cubicBezTo>
                <a:cubicBezTo>
                  <a:pt x="1603295" y="436596"/>
                  <a:pt x="1603517" y="449033"/>
                  <a:pt x="1594484" y="460159"/>
                </a:cubicBezTo>
                <a:cubicBezTo>
                  <a:pt x="1588468" y="466462"/>
                  <a:pt x="1582607" y="471150"/>
                  <a:pt x="1574732" y="475533"/>
                </a:cubicBezTo>
                <a:cubicBezTo>
                  <a:pt x="1573862" y="476043"/>
                  <a:pt x="1572993" y="476553"/>
                  <a:pt x="1572097" y="477078"/>
                </a:cubicBezTo>
                <a:cubicBezTo>
                  <a:pt x="1566828" y="478935"/>
                  <a:pt x="1561641" y="478744"/>
                  <a:pt x="1556066" y="478737"/>
                </a:cubicBezTo>
                <a:cubicBezTo>
                  <a:pt x="1553587" y="478765"/>
                  <a:pt x="1551109" y="478795"/>
                  <a:pt x="1548631" y="478825"/>
                </a:cubicBezTo>
                <a:cubicBezTo>
                  <a:pt x="1544751" y="478857"/>
                  <a:pt x="1540871" y="478880"/>
                  <a:pt x="1536991" y="478889"/>
                </a:cubicBezTo>
                <a:cubicBezTo>
                  <a:pt x="1516714" y="478693"/>
                  <a:pt x="1516714" y="478693"/>
                  <a:pt x="1498188" y="485398"/>
                </a:cubicBezTo>
                <a:cubicBezTo>
                  <a:pt x="1496062" y="486488"/>
                  <a:pt x="1496062" y="486488"/>
                  <a:pt x="1493892" y="487600"/>
                </a:cubicBezTo>
                <a:cubicBezTo>
                  <a:pt x="1492733" y="488268"/>
                  <a:pt x="1491573" y="488937"/>
                  <a:pt x="1490377" y="489625"/>
                </a:cubicBezTo>
                <a:cubicBezTo>
                  <a:pt x="1484304" y="493012"/>
                  <a:pt x="1478212" y="495675"/>
                  <a:pt x="1471650" y="498185"/>
                </a:cubicBezTo>
                <a:cubicBezTo>
                  <a:pt x="1467148" y="500054"/>
                  <a:pt x="1463242" y="502632"/>
                  <a:pt x="1459135" y="505127"/>
                </a:cubicBezTo>
                <a:cubicBezTo>
                  <a:pt x="1456968" y="506120"/>
                  <a:pt x="1454786" y="507086"/>
                  <a:pt x="1452594" y="508033"/>
                </a:cubicBezTo>
                <a:cubicBezTo>
                  <a:pt x="1444148" y="511772"/>
                  <a:pt x="1435969" y="515903"/>
                  <a:pt x="1427795" y="520100"/>
                </a:cubicBezTo>
                <a:cubicBezTo>
                  <a:pt x="1425784" y="521114"/>
                  <a:pt x="1425784" y="521114"/>
                  <a:pt x="1423733" y="522148"/>
                </a:cubicBezTo>
                <a:cubicBezTo>
                  <a:pt x="1422478" y="522798"/>
                  <a:pt x="1421223" y="523449"/>
                  <a:pt x="1419929" y="524118"/>
                </a:cubicBezTo>
                <a:cubicBezTo>
                  <a:pt x="1418794" y="524701"/>
                  <a:pt x="1417658" y="525283"/>
                  <a:pt x="1416487" y="525883"/>
                </a:cubicBezTo>
                <a:cubicBezTo>
                  <a:pt x="1413349" y="527646"/>
                  <a:pt x="1413349" y="527646"/>
                  <a:pt x="1412271" y="531902"/>
                </a:cubicBezTo>
                <a:cubicBezTo>
                  <a:pt x="1407205" y="535203"/>
                  <a:pt x="1402819" y="536744"/>
                  <a:pt x="1396650" y="537539"/>
                </a:cubicBezTo>
                <a:cubicBezTo>
                  <a:pt x="1396650" y="538469"/>
                  <a:pt x="1396650" y="539399"/>
                  <a:pt x="1396650" y="540357"/>
                </a:cubicBezTo>
                <a:cubicBezTo>
                  <a:pt x="1395609" y="540735"/>
                  <a:pt x="1394568" y="541113"/>
                  <a:pt x="1393495" y="541502"/>
                </a:cubicBezTo>
                <a:cubicBezTo>
                  <a:pt x="1381840" y="545973"/>
                  <a:pt x="1372279" y="551715"/>
                  <a:pt x="1362284" y="558678"/>
                </a:cubicBezTo>
                <a:cubicBezTo>
                  <a:pt x="1360170" y="560088"/>
                  <a:pt x="1358055" y="561497"/>
                  <a:pt x="1355937" y="562905"/>
                </a:cubicBezTo>
                <a:cubicBezTo>
                  <a:pt x="1348556" y="567937"/>
                  <a:pt x="1341292" y="573085"/>
                  <a:pt x="1334165" y="578406"/>
                </a:cubicBezTo>
                <a:cubicBezTo>
                  <a:pt x="1332697" y="579472"/>
                  <a:pt x="1332697" y="579472"/>
                  <a:pt x="1331200" y="580559"/>
                </a:cubicBezTo>
                <a:cubicBezTo>
                  <a:pt x="1325067" y="585430"/>
                  <a:pt x="1323406" y="589771"/>
                  <a:pt x="1322175" y="596793"/>
                </a:cubicBezTo>
                <a:cubicBezTo>
                  <a:pt x="1321669" y="599545"/>
                  <a:pt x="1321669" y="599545"/>
                  <a:pt x="1320106" y="602363"/>
                </a:cubicBezTo>
                <a:cubicBezTo>
                  <a:pt x="1318419" y="618189"/>
                  <a:pt x="1322416" y="632767"/>
                  <a:pt x="1328015" y="647640"/>
                </a:cubicBezTo>
                <a:cubicBezTo>
                  <a:pt x="1331267" y="656625"/>
                  <a:pt x="1333170" y="666179"/>
                  <a:pt x="1332604" y="675643"/>
                </a:cubicBezTo>
                <a:cubicBezTo>
                  <a:pt x="1333634" y="675643"/>
                  <a:pt x="1334665" y="675643"/>
                  <a:pt x="1335727" y="675643"/>
                </a:cubicBezTo>
                <a:cubicBezTo>
                  <a:pt x="1337571" y="680632"/>
                  <a:pt x="1337591" y="684795"/>
                  <a:pt x="1337741" y="690059"/>
                </a:cubicBezTo>
                <a:cubicBezTo>
                  <a:pt x="1337826" y="692114"/>
                  <a:pt x="1337913" y="694168"/>
                  <a:pt x="1338003" y="696222"/>
                </a:cubicBezTo>
                <a:cubicBezTo>
                  <a:pt x="1338142" y="699444"/>
                  <a:pt x="1338266" y="702664"/>
                  <a:pt x="1338340" y="705887"/>
                </a:cubicBezTo>
                <a:cubicBezTo>
                  <a:pt x="1338372" y="720474"/>
                  <a:pt x="1338372" y="720474"/>
                  <a:pt x="1345277" y="733245"/>
                </a:cubicBezTo>
                <a:cubicBezTo>
                  <a:pt x="1350822" y="737861"/>
                  <a:pt x="1355921" y="739823"/>
                  <a:pt x="1363162" y="741612"/>
                </a:cubicBezTo>
                <a:cubicBezTo>
                  <a:pt x="1370672" y="743533"/>
                  <a:pt x="1377197" y="745750"/>
                  <a:pt x="1384154" y="748922"/>
                </a:cubicBezTo>
                <a:cubicBezTo>
                  <a:pt x="1387833" y="749898"/>
                  <a:pt x="1387833" y="749898"/>
                  <a:pt x="1391476" y="750419"/>
                </a:cubicBezTo>
                <a:cubicBezTo>
                  <a:pt x="1393499" y="750747"/>
                  <a:pt x="1393499" y="750747"/>
                  <a:pt x="1395564" y="751080"/>
                </a:cubicBezTo>
                <a:cubicBezTo>
                  <a:pt x="1397648" y="751407"/>
                  <a:pt x="1397648" y="751407"/>
                  <a:pt x="1399775" y="751740"/>
                </a:cubicBezTo>
                <a:cubicBezTo>
                  <a:pt x="1401810" y="752111"/>
                  <a:pt x="1401810" y="752111"/>
                  <a:pt x="1403887" y="752489"/>
                </a:cubicBezTo>
                <a:cubicBezTo>
                  <a:pt x="1424247" y="756131"/>
                  <a:pt x="1444708" y="756350"/>
                  <a:pt x="1465383" y="755969"/>
                </a:cubicBezTo>
                <a:cubicBezTo>
                  <a:pt x="1467019" y="755945"/>
                  <a:pt x="1468654" y="755921"/>
                  <a:pt x="1470339" y="755897"/>
                </a:cubicBezTo>
                <a:cubicBezTo>
                  <a:pt x="1480128" y="755450"/>
                  <a:pt x="1487899" y="752933"/>
                  <a:pt x="1496809" y="749313"/>
                </a:cubicBezTo>
                <a:cubicBezTo>
                  <a:pt x="1502876" y="746888"/>
                  <a:pt x="1509049" y="745091"/>
                  <a:pt x="1515371" y="743285"/>
                </a:cubicBezTo>
                <a:cubicBezTo>
                  <a:pt x="1515371" y="742356"/>
                  <a:pt x="1515371" y="741425"/>
                  <a:pt x="1515371" y="740467"/>
                </a:cubicBezTo>
                <a:cubicBezTo>
                  <a:pt x="1522710" y="737103"/>
                  <a:pt x="1529583" y="737106"/>
                  <a:pt x="1537632" y="737120"/>
                </a:cubicBezTo>
                <a:cubicBezTo>
                  <a:pt x="1538960" y="737122"/>
                  <a:pt x="1540289" y="737124"/>
                  <a:pt x="1541657" y="737127"/>
                </a:cubicBezTo>
                <a:cubicBezTo>
                  <a:pt x="1555502" y="737372"/>
                  <a:pt x="1564314" y="740697"/>
                  <a:pt x="1574732" y="748922"/>
                </a:cubicBezTo>
                <a:cubicBezTo>
                  <a:pt x="1586507" y="762822"/>
                  <a:pt x="1590347" y="775219"/>
                  <a:pt x="1588791" y="792608"/>
                </a:cubicBezTo>
                <a:cubicBezTo>
                  <a:pt x="1587728" y="797050"/>
                  <a:pt x="1586468" y="801261"/>
                  <a:pt x="1584105" y="805291"/>
                </a:cubicBezTo>
                <a:cubicBezTo>
                  <a:pt x="1583074" y="805756"/>
                  <a:pt x="1582043" y="806221"/>
                  <a:pt x="1580981" y="806700"/>
                </a:cubicBezTo>
                <a:cubicBezTo>
                  <a:pt x="1580240" y="807892"/>
                  <a:pt x="1579499" y="809083"/>
                  <a:pt x="1578735" y="810311"/>
                </a:cubicBezTo>
                <a:cubicBezTo>
                  <a:pt x="1577930" y="811445"/>
                  <a:pt x="1577124" y="812579"/>
                  <a:pt x="1576295" y="813746"/>
                </a:cubicBezTo>
                <a:lnTo>
                  <a:pt x="1571652" y="813746"/>
                </a:lnTo>
                <a:lnTo>
                  <a:pt x="1571785" y="814106"/>
                </a:lnTo>
                <a:cubicBezTo>
                  <a:pt x="1572816" y="814571"/>
                  <a:pt x="1573846" y="815036"/>
                  <a:pt x="1574909" y="815515"/>
                </a:cubicBezTo>
                <a:cubicBezTo>
                  <a:pt x="1572126" y="818758"/>
                  <a:pt x="1569968" y="820871"/>
                  <a:pt x="1565463" y="821839"/>
                </a:cubicBezTo>
                <a:lnTo>
                  <a:pt x="1562085" y="822101"/>
                </a:lnTo>
                <a:lnTo>
                  <a:pt x="1551301" y="825020"/>
                </a:lnTo>
                <a:cubicBezTo>
                  <a:pt x="1551301" y="825950"/>
                  <a:pt x="1551301" y="826880"/>
                  <a:pt x="1551301" y="827838"/>
                </a:cubicBezTo>
                <a:cubicBezTo>
                  <a:pt x="1526697" y="828735"/>
                  <a:pt x="1507496" y="825036"/>
                  <a:pt x="1485380" y="815007"/>
                </a:cubicBezTo>
                <a:cubicBezTo>
                  <a:pt x="1468723" y="807743"/>
                  <a:pt x="1449749" y="809144"/>
                  <a:pt x="1431603" y="808726"/>
                </a:cubicBezTo>
                <a:cubicBezTo>
                  <a:pt x="1429115" y="808665"/>
                  <a:pt x="1426627" y="808604"/>
                  <a:pt x="1424140" y="808542"/>
                </a:cubicBezTo>
                <a:cubicBezTo>
                  <a:pt x="1418101" y="808392"/>
                  <a:pt x="1412062" y="808249"/>
                  <a:pt x="1406023" y="808109"/>
                </a:cubicBezTo>
                <a:cubicBezTo>
                  <a:pt x="1406023" y="809040"/>
                  <a:pt x="1406023" y="809970"/>
                  <a:pt x="1406023" y="810928"/>
                </a:cubicBezTo>
                <a:cubicBezTo>
                  <a:pt x="1404716" y="811118"/>
                  <a:pt x="1404716" y="811118"/>
                  <a:pt x="1403383" y="811311"/>
                </a:cubicBezTo>
                <a:cubicBezTo>
                  <a:pt x="1372054" y="815110"/>
                  <a:pt x="1372054" y="815110"/>
                  <a:pt x="1345442" y="828907"/>
                </a:cubicBezTo>
                <a:cubicBezTo>
                  <a:pt x="1338843" y="837605"/>
                  <a:pt x="1338313" y="846434"/>
                  <a:pt x="1337875" y="856639"/>
                </a:cubicBezTo>
                <a:cubicBezTo>
                  <a:pt x="1337815" y="857805"/>
                  <a:pt x="1337754" y="858970"/>
                  <a:pt x="1337692" y="860171"/>
                </a:cubicBezTo>
                <a:cubicBezTo>
                  <a:pt x="1337547" y="863016"/>
                  <a:pt x="1337417" y="865861"/>
                  <a:pt x="1337290" y="868706"/>
                </a:cubicBezTo>
                <a:cubicBezTo>
                  <a:pt x="1336258" y="868706"/>
                  <a:pt x="1335228" y="868706"/>
                  <a:pt x="1334165" y="868706"/>
                </a:cubicBezTo>
                <a:lnTo>
                  <a:pt x="1334165" y="870034"/>
                </a:lnTo>
                <a:lnTo>
                  <a:pt x="1334237" y="869093"/>
                </a:lnTo>
                <a:cubicBezTo>
                  <a:pt x="1334753" y="869093"/>
                  <a:pt x="1335268" y="869093"/>
                  <a:pt x="1335800" y="869093"/>
                </a:cubicBezTo>
                <a:cubicBezTo>
                  <a:pt x="1335884" y="871559"/>
                  <a:pt x="1335944" y="874025"/>
                  <a:pt x="1335995" y="876491"/>
                </a:cubicBezTo>
                <a:cubicBezTo>
                  <a:pt x="1336030" y="877865"/>
                  <a:pt x="1336067" y="879238"/>
                  <a:pt x="1336105" y="880653"/>
                </a:cubicBezTo>
                <a:cubicBezTo>
                  <a:pt x="1335800" y="884594"/>
                  <a:pt x="1335800" y="884594"/>
                  <a:pt x="1334294" y="887271"/>
                </a:cubicBezTo>
                <a:cubicBezTo>
                  <a:pt x="1332567" y="890428"/>
                  <a:pt x="1331982" y="892964"/>
                  <a:pt x="1331455" y="896440"/>
                </a:cubicBezTo>
                <a:cubicBezTo>
                  <a:pt x="1331267" y="897605"/>
                  <a:pt x="1331080" y="898769"/>
                  <a:pt x="1330887" y="899969"/>
                </a:cubicBezTo>
                <a:cubicBezTo>
                  <a:pt x="1330704" y="901174"/>
                  <a:pt x="1330521" y="902378"/>
                  <a:pt x="1330332" y="903618"/>
                </a:cubicBezTo>
                <a:cubicBezTo>
                  <a:pt x="1329968" y="906013"/>
                  <a:pt x="1329594" y="908405"/>
                  <a:pt x="1329209" y="910797"/>
                </a:cubicBezTo>
                <a:cubicBezTo>
                  <a:pt x="1329049" y="911853"/>
                  <a:pt x="1328889" y="912910"/>
                  <a:pt x="1328724" y="913998"/>
                </a:cubicBezTo>
                <a:cubicBezTo>
                  <a:pt x="1327933" y="917233"/>
                  <a:pt x="1326525" y="919703"/>
                  <a:pt x="1324865" y="922643"/>
                </a:cubicBezTo>
                <a:cubicBezTo>
                  <a:pt x="1323924" y="927743"/>
                  <a:pt x="1323282" y="932845"/>
                  <a:pt x="1322619" y="937979"/>
                </a:cubicBezTo>
                <a:lnTo>
                  <a:pt x="1318744" y="944961"/>
                </a:lnTo>
                <a:lnTo>
                  <a:pt x="1318544" y="946213"/>
                </a:lnTo>
                <a:cubicBezTo>
                  <a:pt x="1318360" y="949234"/>
                  <a:pt x="1318271" y="952260"/>
                  <a:pt x="1318251" y="955285"/>
                </a:cubicBezTo>
                <a:cubicBezTo>
                  <a:pt x="1318218" y="957637"/>
                  <a:pt x="1318218" y="957637"/>
                  <a:pt x="1318184" y="960036"/>
                </a:cubicBezTo>
                <a:cubicBezTo>
                  <a:pt x="1318624" y="965530"/>
                  <a:pt x="1319569" y="969724"/>
                  <a:pt x="1324024" y="973660"/>
                </a:cubicBezTo>
                <a:cubicBezTo>
                  <a:pt x="1327197" y="976583"/>
                  <a:pt x="1327950" y="979494"/>
                  <a:pt x="1329284" y="983382"/>
                </a:cubicBezTo>
                <a:cubicBezTo>
                  <a:pt x="1331875" y="990106"/>
                  <a:pt x="1334445" y="993582"/>
                  <a:pt x="1340414" y="998354"/>
                </a:cubicBezTo>
                <a:cubicBezTo>
                  <a:pt x="1342397" y="1000564"/>
                  <a:pt x="1344347" y="1002798"/>
                  <a:pt x="1346272" y="1005048"/>
                </a:cubicBezTo>
                <a:cubicBezTo>
                  <a:pt x="1360055" y="1020713"/>
                  <a:pt x="1376247" y="1031879"/>
                  <a:pt x="1394716" y="1042740"/>
                </a:cubicBezTo>
                <a:cubicBezTo>
                  <a:pt x="1397172" y="1044228"/>
                  <a:pt x="1399581" y="1045779"/>
                  <a:pt x="1401953" y="1047374"/>
                </a:cubicBezTo>
                <a:cubicBezTo>
                  <a:pt x="1410065" y="1052802"/>
                  <a:pt x="1417529" y="1056366"/>
                  <a:pt x="1427197" y="1059061"/>
                </a:cubicBezTo>
                <a:cubicBezTo>
                  <a:pt x="1431243" y="1060437"/>
                  <a:pt x="1434061" y="1061979"/>
                  <a:pt x="1437265" y="1064588"/>
                </a:cubicBezTo>
                <a:cubicBezTo>
                  <a:pt x="1437265" y="1065518"/>
                  <a:pt x="1437265" y="1066448"/>
                  <a:pt x="1437265" y="1067406"/>
                </a:cubicBezTo>
                <a:cubicBezTo>
                  <a:pt x="1439053" y="1067624"/>
                  <a:pt x="1439053" y="1067624"/>
                  <a:pt x="1440878" y="1067847"/>
                </a:cubicBezTo>
                <a:cubicBezTo>
                  <a:pt x="1445076" y="1068815"/>
                  <a:pt x="1445076" y="1068815"/>
                  <a:pt x="1447175" y="1070753"/>
                </a:cubicBezTo>
                <a:cubicBezTo>
                  <a:pt x="1450417" y="1073622"/>
                  <a:pt x="1453781" y="1075060"/>
                  <a:pt x="1457866" y="1076830"/>
                </a:cubicBezTo>
                <a:cubicBezTo>
                  <a:pt x="1459274" y="1077446"/>
                  <a:pt x="1460681" y="1078062"/>
                  <a:pt x="1462132" y="1078696"/>
                </a:cubicBezTo>
                <a:cubicBezTo>
                  <a:pt x="1463204" y="1079156"/>
                  <a:pt x="1464278" y="1079616"/>
                  <a:pt x="1465383" y="1080089"/>
                </a:cubicBezTo>
                <a:cubicBezTo>
                  <a:pt x="1465383" y="1081019"/>
                  <a:pt x="1465383" y="1081949"/>
                  <a:pt x="1465383" y="1082908"/>
                </a:cubicBezTo>
                <a:cubicBezTo>
                  <a:pt x="1466497" y="1083260"/>
                  <a:pt x="1467611" y="1083612"/>
                  <a:pt x="1468758" y="1083975"/>
                </a:cubicBezTo>
                <a:cubicBezTo>
                  <a:pt x="1473648" y="1085905"/>
                  <a:pt x="1477426" y="1088296"/>
                  <a:pt x="1481688" y="1091187"/>
                </a:cubicBezTo>
                <a:cubicBezTo>
                  <a:pt x="1483204" y="1092193"/>
                  <a:pt x="1484721" y="1093200"/>
                  <a:pt x="1486283" y="1094236"/>
                </a:cubicBezTo>
                <a:cubicBezTo>
                  <a:pt x="1489170" y="1096185"/>
                  <a:pt x="1492029" y="1098166"/>
                  <a:pt x="1494869" y="1100171"/>
                </a:cubicBezTo>
                <a:cubicBezTo>
                  <a:pt x="1510181" y="1107906"/>
                  <a:pt x="1527080" y="1109898"/>
                  <a:pt x="1544335" y="1109518"/>
                </a:cubicBezTo>
                <a:cubicBezTo>
                  <a:pt x="1579932" y="1108798"/>
                  <a:pt x="1579932" y="1108798"/>
                  <a:pt x="1593477" y="1119900"/>
                </a:cubicBezTo>
                <a:cubicBezTo>
                  <a:pt x="1600636" y="1127255"/>
                  <a:pt x="1604889" y="1135120"/>
                  <a:pt x="1605975" y="1144913"/>
                </a:cubicBezTo>
                <a:cubicBezTo>
                  <a:pt x="1607006" y="1144913"/>
                  <a:pt x="1608036" y="1144913"/>
                  <a:pt x="1609099" y="1144913"/>
                </a:cubicBezTo>
                <a:cubicBezTo>
                  <a:pt x="1609227" y="1148907"/>
                  <a:pt x="1609319" y="1152897"/>
                  <a:pt x="1609392" y="1156892"/>
                </a:cubicBezTo>
                <a:cubicBezTo>
                  <a:pt x="1609451" y="1158565"/>
                  <a:pt x="1609451" y="1158565"/>
                  <a:pt x="1609511" y="1160272"/>
                </a:cubicBezTo>
                <a:cubicBezTo>
                  <a:pt x="1609621" y="1168378"/>
                  <a:pt x="1607970" y="1174108"/>
                  <a:pt x="1604412" y="1181553"/>
                </a:cubicBezTo>
                <a:cubicBezTo>
                  <a:pt x="1603354" y="1184367"/>
                  <a:pt x="1602306" y="1187183"/>
                  <a:pt x="1601288" y="1190009"/>
                </a:cubicBezTo>
                <a:cubicBezTo>
                  <a:pt x="1600257" y="1190009"/>
                  <a:pt x="1599226" y="1190009"/>
                  <a:pt x="1598164" y="1190009"/>
                </a:cubicBezTo>
                <a:cubicBezTo>
                  <a:pt x="1597842" y="1190910"/>
                  <a:pt x="1597520" y="1191810"/>
                  <a:pt x="1597187" y="1192739"/>
                </a:cubicBezTo>
                <a:cubicBezTo>
                  <a:pt x="1596479" y="1193698"/>
                  <a:pt x="1595770" y="1194657"/>
                  <a:pt x="1595040" y="1195645"/>
                </a:cubicBezTo>
                <a:cubicBezTo>
                  <a:pt x="1591916" y="1196115"/>
                  <a:pt x="1588791" y="1196585"/>
                  <a:pt x="1585667" y="1197055"/>
                </a:cubicBezTo>
                <a:cubicBezTo>
                  <a:pt x="1583871" y="1199826"/>
                  <a:pt x="1583871" y="1199826"/>
                  <a:pt x="1582543" y="1202691"/>
                </a:cubicBezTo>
                <a:cubicBezTo>
                  <a:pt x="1575997" y="1204710"/>
                  <a:pt x="1569266" y="1204360"/>
                  <a:pt x="1562431" y="1204365"/>
                </a:cubicBezTo>
                <a:cubicBezTo>
                  <a:pt x="1561196" y="1204382"/>
                  <a:pt x="1559962" y="1204399"/>
                  <a:pt x="1558690" y="1204417"/>
                </a:cubicBezTo>
                <a:cubicBezTo>
                  <a:pt x="1543339" y="1204452"/>
                  <a:pt x="1531981" y="1199267"/>
                  <a:pt x="1521102" y="1189585"/>
                </a:cubicBezTo>
                <a:cubicBezTo>
                  <a:pt x="1515403" y="1183953"/>
                  <a:pt x="1510116" y="1178123"/>
                  <a:pt x="1505022" y="1172041"/>
                </a:cubicBezTo>
                <a:cubicBezTo>
                  <a:pt x="1493200" y="1158177"/>
                  <a:pt x="1475492" y="1147115"/>
                  <a:pt x="1457573" y="1140686"/>
                </a:cubicBezTo>
                <a:cubicBezTo>
                  <a:pt x="1457573" y="1139755"/>
                  <a:pt x="1457573" y="1138826"/>
                  <a:pt x="1457573" y="1137867"/>
                </a:cubicBezTo>
                <a:cubicBezTo>
                  <a:pt x="1456059" y="1137693"/>
                  <a:pt x="1454544" y="1137518"/>
                  <a:pt x="1452985" y="1137339"/>
                </a:cubicBezTo>
                <a:cubicBezTo>
                  <a:pt x="1451406" y="1137048"/>
                  <a:pt x="1449827" y="1136758"/>
                  <a:pt x="1448200" y="1136458"/>
                </a:cubicBezTo>
                <a:cubicBezTo>
                  <a:pt x="1447685" y="1135528"/>
                  <a:pt x="1447169" y="1134598"/>
                  <a:pt x="1446638" y="1133640"/>
                </a:cubicBezTo>
                <a:cubicBezTo>
                  <a:pt x="1444091" y="1132586"/>
                  <a:pt x="1441535" y="1131550"/>
                  <a:pt x="1438937" y="1130601"/>
                </a:cubicBezTo>
                <a:cubicBezTo>
                  <a:pt x="1435668" y="1129399"/>
                  <a:pt x="1432469" y="1128095"/>
                  <a:pt x="1429260" y="1126770"/>
                </a:cubicBezTo>
                <a:cubicBezTo>
                  <a:pt x="1423389" y="1124389"/>
                  <a:pt x="1417431" y="1122349"/>
                  <a:pt x="1411393" y="1120340"/>
                </a:cubicBezTo>
                <a:cubicBezTo>
                  <a:pt x="1404143" y="1117867"/>
                  <a:pt x="1397842" y="1115090"/>
                  <a:pt x="1391427" y="1111191"/>
                </a:cubicBezTo>
                <a:cubicBezTo>
                  <a:pt x="1388139" y="1109274"/>
                  <a:pt x="1384723" y="1108010"/>
                  <a:pt x="1381029" y="1106865"/>
                </a:cubicBezTo>
                <a:cubicBezTo>
                  <a:pt x="1381029" y="1105934"/>
                  <a:pt x="1381029" y="1105004"/>
                  <a:pt x="1381029" y="1104046"/>
                </a:cubicBezTo>
                <a:cubicBezTo>
                  <a:pt x="1379773" y="1103901"/>
                  <a:pt x="1378516" y="1103755"/>
                  <a:pt x="1377221" y="1103605"/>
                </a:cubicBezTo>
                <a:cubicBezTo>
                  <a:pt x="1370425" y="1102422"/>
                  <a:pt x="1364120" y="1100465"/>
                  <a:pt x="1357597" y="1098409"/>
                </a:cubicBezTo>
                <a:cubicBezTo>
                  <a:pt x="1355761" y="1097857"/>
                  <a:pt x="1353924" y="1097304"/>
                  <a:pt x="1352032" y="1096736"/>
                </a:cubicBezTo>
                <a:cubicBezTo>
                  <a:pt x="1350776" y="1096358"/>
                  <a:pt x="1349519" y="1095980"/>
                  <a:pt x="1348225" y="1095590"/>
                </a:cubicBezTo>
                <a:cubicBezTo>
                  <a:pt x="1348225" y="1094661"/>
                  <a:pt x="1348225" y="1093730"/>
                  <a:pt x="1348225" y="1092772"/>
                </a:cubicBezTo>
                <a:cubicBezTo>
                  <a:pt x="1344616" y="1092307"/>
                  <a:pt x="1341007" y="1091842"/>
                  <a:pt x="1337290" y="1091363"/>
                </a:cubicBezTo>
                <a:cubicBezTo>
                  <a:pt x="1337290" y="1090433"/>
                  <a:pt x="1337290" y="1089503"/>
                  <a:pt x="1337290" y="1088544"/>
                </a:cubicBezTo>
                <a:cubicBezTo>
                  <a:pt x="1334438" y="1088327"/>
                  <a:pt x="1334438" y="1088327"/>
                  <a:pt x="1331529" y="1088104"/>
                </a:cubicBezTo>
                <a:lnTo>
                  <a:pt x="1323297" y="1086611"/>
                </a:lnTo>
                <a:lnTo>
                  <a:pt x="1323297" y="1087618"/>
                </a:lnTo>
                <a:cubicBezTo>
                  <a:pt x="1322139" y="1087517"/>
                  <a:pt x="1320982" y="1087415"/>
                  <a:pt x="1319789" y="1087310"/>
                </a:cubicBezTo>
                <a:cubicBezTo>
                  <a:pt x="1300429" y="1085771"/>
                  <a:pt x="1281330" y="1084680"/>
                  <a:pt x="1262375" y="1089028"/>
                </a:cubicBezTo>
                <a:lnTo>
                  <a:pt x="1258728" y="1088205"/>
                </a:lnTo>
                <a:lnTo>
                  <a:pt x="1246964" y="1091489"/>
                </a:lnTo>
                <a:cubicBezTo>
                  <a:pt x="1237239" y="1097222"/>
                  <a:pt x="1228703" y="1103434"/>
                  <a:pt x="1223224" y="1112865"/>
                </a:cubicBezTo>
                <a:cubicBezTo>
                  <a:pt x="1220867" y="1116643"/>
                  <a:pt x="1217262" y="1119317"/>
                  <a:pt x="1213883" y="1122366"/>
                </a:cubicBezTo>
                <a:cubicBezTo>
                  <a:pt x="1213428" y="1123469"/>
                  <a:pt x="1212973" y="1124572"/>
                  <a:pt x="1212505" y="1125708"/>
                </a:cubicBezTo>
                <a:cubicBezTo>
                  <a:pt x="1210449" y="1130067"/>
                  <a:pt x="1207984" y="1132315"/>
                  <a:pt x="1204180" y="1135561"/>
                </a:cubicBezTo>
                <a:cubicBezTo>
                  <a:pt x="1202879" y="1136695"/>
                  <a:pt x="1201578" y="1137829"/>
                  <a:pt x="1200238" y="1138999"/>
                </a:cubicBezTo>
                <a:cubicBezTo>
                  <a:pt x="1197504" y="1141343"/>
                  <a:pt x="1194765" y="1143684"/>
                  <a:pt x="1192025" y="1146022"/>
                </a:cubicBezTo>
                <a:cubicBezTo>
                  <a:pt x="1181899" y="1154869"/>
                  <a:pt x="1174983" y="1161763"/>
                  <a:pt x="1173945" y="1174749"/>
                </a:cubicBezTo>
                <a:cubicBezTo>
                  <a:pt x="1173902" y="1177369"/>
                  <a:pt x="1173905" y="1179990"/>
                  <a:pt x="1173950" y="1182610"/>
                </a:cubicBezTo>
                <a:cubicBezTo>
                  <a:pt x="1173963" y="1183981"/>
                  <a:pt x="1173975" y="1185352"/>
                  <a:pt x="1173989" y="1186765"/>
                </a:cubicBezTo>
                <a:cubicBezTo>
                  <a:pt x="1174321" y="1197573"/>
                  <a:pt x="1176809" y="1205883"/>
                  <a:pt x="1182640" y="1215374"/>
                </a:cubicBezTo>
                <a:cubicBezTo>
                  <a:pt x="1183703" y="1217509"/>
                  <a:pt x="1184746" y="1219652"/>
                  <a:pt x="1185764" y="1221804"/>
                </a:cubicBezTo>
                <a:cubicBezTo>
                  <a:pt x="1186271" y="1222812"/>
                  <a:pt x="1186779" y="1223821"/>
                  <a:pt x="1187301" y="1224859"/>
                </a:cubicBezTo>
                <a:cubicBezTo>
                  <a:pt x="1188431" y="1227137"/>
                  <a:pt x="1189517" y="1229433"/>
                  <a:pt x="1190573" y="1231740"/>
                </a:cubicBezTo>
                <a:cubicBezTo>
                  <a:pt x="1194650" y="1240409"/>
                  <a:pt x="1199581" y="1247688"/>
                  <a:pt x="1205925" y="1255163"/>
                </a:cubicBezTo>
                <a:cubicBezTo>
                  <a:pt x="1208103" y="1257757"/>
                  <a:pt x="1210188" y="1260417"/>
                  <a:pt x="1212174" y="1263134"/>
                </a:cubicBezTo>
                <a:cubicBezTo>
                  <a:pt x="1218757" y="1272043"/>
                  <a:pt x="1225157" y="1277324"/>
                  <a:pt x="1235556" y="1282538"/>
                </a:cubicBezTo>
                <a:cubicBezTo>
                  <a:pt x="1236652" y="1283161"/>
                  <a:pt x="1237747" y="1283784"/>
                  <a:pt x="1238876" y="1284426"/>
                </a:cubicBezTo>
                <a:cubicBezTo>
                  <a:pt x="1238876" y="1285356"/>
                  <a:pt x="1238876" y="1286287"/>
                  <a:pt x="1238876" y="1287245"/>
                </a:cubicBezTo>
                <a:cubicBezTo>
                  <a:pt x="1239988" y="1287383"/>
                  <a:pt x="1241099" y="1287521"/>
                  <a:pt x="1242245" y="1287663"/>
                </a:cubicBezTo>
                <a:cubicBezTo>
                  <a:pt x="1253043" y="1290072"/>
                  <a:pt x="1264916" y="1297690"/>
                  <a:pt x="1271681" y="1305565"/>
                </a:cubicBezTo>
                <a:lnTo>
                  <a:pt x="1271742" y="1306172"/>
                </a:lnTo>
                <a:lnTo>
                  <a:pt x="1278525" y="1315767"/>
                </a:lnTo>
                <a:cubicBezTo>
                  <a:pt x="1279797" y="1319398"/>
                  <a:pt x="1280365" y="1323346"/>
                  <a:pt x="1281097" y="1327286"/>
                </a:cubicBezTo>
                <a:cubicBezTo>
                  <a:pt x="1281916" y="1337121"/>
                  <a:pt x="1281807" y="1346176"/>
                  <a:pt x="1277973" y="1355470"/>
                </a:cubicBezTo>
                <a:lnTo>
                  <a:pt x="1277460" y="1347025"/>
                </a:lnTo>
                <a:lnTo>
                  <a:pt x="1273531" y="1357991"/>
                </a:lnTo>
                <a:cubicBezTo>
                  <a:pt x="1270940" y="1361892"/>
                  <a:pt x="1267521" y="1365435"/>
                  <a:pt x="1263870" y="1368980"/>
                </a:cubicBezTo>
                <a:cubicBezTo>
                  <a:pt x="1258351" y="1372929"/>
                  <a:pt x="1253850" y="1376026"/>
                  <a:pt x="1246686" y="1376026"/>
                </a:cubicBezTo>
                <a:cubicBezTo>
                  <a:pt x="1246686" y="1376956"/>
                  <a:pt x="1246686" y="1377886"/>
                  <a:pt x="1246686" y="1378844"/>
                </a:cubicBezTo>
                <a:cubicBezTo>
                  <a:pt x="1241676" y="1379009"/>
                  <a:pt x="1236665" y="1379109"/>
                  <a:pt x="1231651" y="1379196"/>
                </a:cubicBezTo>
                <a:cubicBezTo>
                  <a:pt x="1230240" y="1379244"/>
                  <a:pt x="1228828" y="1379291"/>
                  <a:pt x="1227373" y="1379340"/>
                </a:cubicBezTo>
                <a:cubicBezTo>
                  <a:pt x="1218287" y="1379460"/>
                  <a:pt x="1213363" y="1378568"/>
                  <a:pt x="1206071" y="1373207"/>
                </a:cubicBezTo>
                <a:cubicBezTo>
                  <a:pt x="1204751" y="1372742"/>
                  <a:pt x="1203430" y="1372277"/>
                  <a:pt x="1202069" y="1371798"/>
                </a:cubicBezTo>
                <a:cubicBezTo>
                  <a:pt x="1193777" y="1368730"/>
                  <a:pt x="1188124" y="1363294"/>
                  <a:pt x="1184104" y="1356176"/>
                </a:cubicBezTo>
                <a:cubicBezTo>
                  <a:pt x="1180965" y="1349259"/>
                  <a:pt x="1178852" y="1342590"/>
                  <a:pt x="1177270" y="1335247"/>
                </a:cubicBezTo>
                <a:cubicBezTo>
                  <a:pt x="1175525" y="1327352"/>
                  <a:pt x="1172911" y="1320677"/>
                  <a:pt x="1169002" y="1313464"/>
                </a:cubicBezTo>
                <a:cubicBezTo>
                  <a:pt x="1166989" y="1309737"/>
                  <a:pt x="1165215" y="1305976"/>
                  <a:pt x="1163504" y="1302130"/>
                </a:cubicBezTo>
                <a:cubicBezTo>
                  <a:pt x="1163013" y="1301027"/>
                  <a:pt x="1162521" y="1299924"/>
                  <a:pt x="1162015" y="1298788"/>
                </a:cubicBezTo>
                <a:cubicBezTo>
                  <a:pt x="1160770" y="1295700"/>
                  <a:pt x="1160770" y="1295700"/>
                  <a:pt x="1160111" y="1292656"/>
                </a:cubicBezTo>
                <a:cubicBezTo>
                  <a:pt x="1159345" y="1289507"/>
                  <a:pt x="1159345" y="1289507"/>
                  <a:pt x="1154522" y="1287245"/>
                </a:cubicBezTo>
                <a:cubicBezTo>
                  <a:pt x="1153465" y="1284902"/>
                  <a:pt x="1152426" y="1282552"/>
                  <a:pt x="1151398" y="1280199"/>
                </a:cubicBezTo>
                <a:cubicBezTo>
                  <a:pt x="1149056" y="1276983"/>
                  <a:pt x="1146686" y="1273874"/>
                  <a:pt x="1144173" y="1270774"/>
                </a:cubicBezTo>
                <a:cubicBezTo>
                  <a:pt x="1143477" y="1269912"/>
                  <a:pt x="1142782" y="1269049"/>
                  <a:pt x="1142065" y="1268160"/>
                </a:cubicBezTo>
                <a:cubicBezTo>
                  <a:pt x="1139981" y="1265589"/>
                  <a:pt x="1137880" y="1263029"/>
                  <a:pt x="1135776" y="1260470"/>
                </a:cubicBezTo>
                <a:cubicBezTo>
                  <a:pt x="1134647" y="1259076"/>
                  <a:pt x="1133517" y="1257683"/>
                  <a:pt x="1132353" y="1256247"/>
                </a:cubicBezTo>
                <a:cubicBezTo>
                  <a:pt x="1126291" y="1249045"/>
                  <a:pt x="1121408" y="1244606"/>
                  <a:pt x="1112344" y="1240741"/>
                </a:cubicBezTo>
                <a:cubicBezTo>
                  <a:pt x="1110285" y="1239698"/>
                  <a:pt x="1108234" y="1238642"/>
                  <a:pt x="1106193" y="1237570"/>
                </a:cubicBezTo>
                <a:cubicBezTo>
                  <a:pt x="1104615" y="1236756"/>
                  <a:pt x="1103036" y="1235942"/>
                  <a:pt x="1101409" y="1235104"/>
                </a:cubicBezTo>
                <a:cubicBezTo>
                  <a:pt x="1101409" y="1233708"/>
                  <a:pt x="1101409" y="1232313"/>
                  <a:pt x="1101409" y="1230876"/>
                </a:cubicBezTo>
                <a:cubicBezTo>
                  <a:pt x="1089553" y="1230876"/>
                  <a:pt x="1077697" y="1230876"/>
                  <a:pt x="1065480" y="1230876"/>
                </a:cubicBezTo>
                <a:cubicBezTo>
                  <a:pt x="1064965" y="1232271"/>
                  <a:pt x="1064450" y="1233666"/>
                  <a:pt x="1063919" y="1235104"/>
                </a:cubicBezTo>
                <a:cubicBezTo>
                  <a:pt x="1062372" y="1235104"/>
                  <a:pt x="1060826" y="1235104"/>
                  <a:pt x="1059232" y="1235104"/>
                </a:cubicBezTo>
                <a:cubicBezTo>
                  <a:pt x="1059232" y="1236033"/>
                  <a:pt x="1059232" y="1236964"/>
                  <a:pt x="1059232" y="1237922"/>
                </a:cubicBezTo>
                <a:cubicBezTo>
                  <a:pt x="1052964" y="1240850"/>
                  <a:pt x="1046842" y="1243613"/>
                  <a:pt x="1040194" y="1245761"/>
                </a:cubicBezTo>
                <a:cubicBezTo>
                  <a:pt x="1036552" y="1246941"/>
                  <a:pt x="1033682" y="1248088"/>
                  <a:pt x="1030333" y="1249901"/>
                </a:cubicBezTo>
                <a:cubicBezTo>
                  <a:pt x="1025129" y="1252717"/>
                  <a:pt x="1019615" y="1254371"/>
                  <a:pt x="1013931" y="1256242"/>
                </a:cubicBezTo>
                <a:cubicBezTo>
                  <a:pt x="1009870" y="1257688"/>
                  <a:pt x="1008221" y="1258277"/>
                  <a:pt x="1005925" y="1261615"/>
                </a:cubicBezTo>
                <a:cubicBezTo>
                  <a:pt x="1005474" y="1262632"/>
                  <a:pt x="1005023" y="1263649"/>
                  <a:pt x="1004558" y="1264697"/>
                </a:cubicBezTo>
                <a:cubicBezTo>
                  <a:pt x="1004030" y="1265774"/>
                  <a:pt x="1003503" y="1266852"/>
                  <a:pt x="1002959" y="1267961"/>
                </a:cubicBezTo>
                <a:cubicBezTo>
                  <a:pt x="1001408" y="1271808"/>
                  <a:pt x="1000922" y="1274896"/>
                  <a:pt x="1000653" y="1278965"/>
                </a:cubicBezTo>
                <a:cubicBezTo>
                  <a:pt x="1000303" y="1284158"/>
                  <a:pt x="999467" y="1289055"/>
                  <a:pt x="998297" y="1294137"/>
                </a:cubicBezTo>
                <a:cubicBezTo>
                  <a:pt x="996204" y="1304306"/>
                  <a:pt x="996129" y="1314460"/>
                  <a:pt x="996162" y="1324765"/>
                </a:cubicBezTo>
                <a:cubicBezTo>
                  <a:pt x="996163" y="1325782"/>
                  <a:pt x="996163" y="1326799"/>
                  <a:pt x="996164" y="1327846"/>
                </a:cubicBezTo>
                <a:cubicBezTo>
                  <a:pt x="996263" y="1353742"/>
                  <a:pt x="1001081" y="1378188"/>
                  <a:pt x="1007780" y="1403329"/>
                </a:cubicBezTo>
                <a:cubicBezTo>
                  <a:pt x="1008163" y="1404772"/>
                  <a:pt x="1008546" y="1406215"/>
                  <a:pt x="1008940" y="1407701"/>
                </a:cubicBezTo>
                <a:cubicBezTo>
                  <a:pt x="1009316" y="1409030"/>
                  <a:pt x="1009693" y="1410360"/>
                  <a:pt x="1010080" y="1411730"/>
                </a:cubicBezTo>
                <a:cubicBezTo>
                  <a:pt x="1010409" y="1412900"/>
                  <a:pt x="1010737" y="1414071"/>
                  <a:pt x="1011075" y="1415277"/>
                </a:cubicBezTo>
                <a:cubicBezTo>
                  <a:pt x="1012501" y="1418612"/>
                  <a:pt x="1014136" y="1420168"/>
                  <a:pt x="1017055" y="1422530"/>
                </a:cubicBezTo>
                <a:cubicBezTo>
                  <a:pt x="1018770" y="1425162"/>
                  <a:pt x="1018770" y="1425162"/>
                  <a:pt x="1020277" y="1427991"/>
                </a:cubicBezTo>
                <a:cubicBezTo>
                  <a:pt x="1020778" y="1428917"/>
                  <a:pt x="1021280" y="1429844"/>
                  <a:pt x="1021796" y="1430798"/>
                </a:cubicBezTo>
                <a:cubicBezTo>
                  <a:pt x="1023303" y="1433804"/>
                  <a:pt x="1023303" y="1433804"/>
                  <a:pt x="1024579" y="1437239"/>
                </a:cubicBezTo>
                <a:cubicBezTo>
                  <a:pt x="1026915" y="1441803"/>
                  <a:pt x="1030098" y="1444534"/>
                  <a:pt x="1034043" y="1448072"/>
                </a:cubicBezTo>
                <a:lnTo>
                  <a:pt x="1043782" y="1464320"/>
                </a:lnTo>
                <a:lnTo>
                  <a:pt x="1050458" y="1472189"/>
                </a:lnTo>
                <a:cubicBezTo>
                  <a:pt x="1051737" y="1475181"/>
                  <a:pt x="1052277" y="1478513"/>
                  <a:pt x="1052926" y="1482370"/>
                </a:cubicBezTo>
                <a:cubicBezTo>
                  <a:pt x="1053325" y="1487224"/>
                  <a:pt x="1053364" y="1492038"/>
                  <a:pt x="1053316" y="1496903"/>
                </a:cubicBezTo>
                <a:cubicBezTo>
                  <a:pt x="1053328" y="1498142"/>
                  <a:pt x="1053340" y="1499382"/>
                  <a:pt x="1053352" y="1500660"/>
                </a:cubicBezTo>
                <a:cubicBezTo>
                  <a:pt x="1053348" y="1501856"/>
                  <a:pt x="1053344" y="1503052"/>
                  <a:pt x="1053341" y="1504285"/>
                </a:cubicBezTo>
                <a:cubicBezTo>
                  <a:pt x="1053336" y="1505355"/>
                  <a:pt x="1053333" y="1506426"/>
                  <a:pt x="1053329" y="1507529"/>
                </a:cubicBezTo>
                <a:cubicBezTo>
                  <a:pt x="1052876" y="1510927"/>
                  <a:pt x="1051672" y="1513237"/>
                  <a:pt x="1049801" y="1516192"/>
                </a:cubicBezTo>
                <a:lnTo>
                  <a:pt x="1047312" y="1516192"/>
                </a:lnTo>
                <a:lnTo>
                  <a:pt x="1043611" y="1522585"/>
                </a:lnTo>
                <a:cubicBezTo>
                  <a:pt x="1035301" y="1529631"/>
                  <a:pt x="1035301" y="1529631"/>
                  <a:pt x="1029552" y="1529631"/>
                </a:cubicBezTo>
                <a:cubicBezTo>
                  <a:pt x="1029294" y="1530503"/>
                  <a:pt x="1029036" y="1531375"/>
                  <a:pt x="1028771" y="1532273"/>
                </a:cubicBezTo>
                <a:cubicBezTo>
                  <a:pt x="1025795" y="1536076"/>
                  <a:pt x="1022970" y="1536733"/>
                  <a:pt x="1018013" y="1537640"/>
                </a:cubicBezTo>
                <a:cubicBezTo>
                  <a:pt x="1005216" y="1539038"/>
                  <a:pt x="992573" y="1539816"/>
                  <a:pt x="981126" y="1533859"/>
                </a:cubicBezTo>
                <a:cubicBezTo>
                  <a:pt x="979840" y="1533226"/>
                  <a:pt x="978553" y="1532594"/>
                  <a:pt x="977227" y="1531943"/>
                </a:cubicBezTo>
                <a:cubicBezTo>
                  <a:pt x="965286" y="1525877"/>
                  <a:pt x="959626" y="1520520"/>
                  <a:pt x="955376" y="1508751"/>
                </a:cubicBezTo>
                <a:cubicBezTo>
                  <a:pt x="954571" y="1505674"/>
                  <a:pt x="954571" y="1505674"/>
                  <a:pt x="954571" y="1500037"/>
                </a:cubicBezTo>
                <a:cubicBezTo>
                  <a:pt x="953539" y="1500037"/>
                  <a:pt x="952508" y="1500037"/>
                  <a:pt x="951446" y="1500037"/>
                </a:cubicBezTo>
                <a:cubicBezTo>
                  <a:pt x="951361" y="1495986"/>
                  <a:pt x="951299" y="1491935"/>
                  <a:pt x="951251" y="1487883"/>
                </a:cubicBezTo>
                <a:cubicBezTo>
                  <a:pt x="951224" y="1486744"/>
                  <a:pt x="951198" y="1485605"/>
                  <a:pt x="951171" y="1484431"/>
                </a:cubicBezTo>
                <a:cubicBezTo>
                  <a:pt x="951110" y="1477657"/>
                  <a:pt x="952093" y="1472660"/>
                  <a:pt x="954571" y="1466216"/>
                </a:cubicBezTo>
                <a:cubicBezTo>
                  <a:pt x="954867" y="1462451"/>
                  <a:pt x="955016" y="1458876"/>
                  <a:pt x="954961" y="1455118"/>
                </a:cubicBezTo>
                <a:cubicBezTo>
                  <a:pt x="954951" y="1454080"/>
                  <a:pt x="954942" y="1453042"/>
                  <a:pt x="954932" y="1451972"/>
                </a:cubicBezTo>
                <a:cubicBezTo>
                  <a:pt x="954606" y="1435235"/>
                  <a:pt x="952568" y="1419050"/>
                  <a:pt x="945099" y="1403594"/>
                </a:cubicBezTo>
                <a:cubicBezTo>
                  <a:pt x="943714" y="1400177"/>
                  <a:pt x="943046" y="1397128"/>
                  <a:pt x="942366" y="1393553"/>
                </a:cubicBezTo>
                <a:cubicBezTo>
                  <a:pt x="940837" y="1386134"/>
                  <a:pt x="937840" y="1379609"/>
                  <a:pt x="934451" y="1372734"/>
                </a:cubicBezTo>
                <a:cubicBezTo>
                  <a:pt x="932701" y="1368980"/>
                  <a:pt x="932701" y="1368980"/>
                  <a:pt x="931974" y="1365754"/>
                </a:cubicBezTo>
                <a:cubicBezTo>
                  <a:pt x="931699" y="1364958"/>
                  <a:pt x="931422" y="1364162"/>
                  <a:pt x="931138" y="1363343"/>
                </a:cubicBezTo>
                <a:cubicBezTo>
                  <a:pt x="929592" y="1362878"/>
                  <a:pt x="928045" y="1362413"/>
                  <a:pt x="926452" y="1361933"/>
                </a:cubicBezTo>
                <a:cubicBezTo>
                  <a:pt x="921830" y="1355261"/>
                  <a:pt x="920323" y="1348382"/>
                  <a:pt x="918641" y="1340795"/>
                </a:cubicBezTo>
                <a:cubicBezTo>
                  <a:pt x="918133" y="1338914"/>
                  <a:pt x="917616" y="1337034"/>
                  <a:pt x="917079" y="1335158"/>
                </a:cubicBezTo>
                <a:cubicBezTo>
                  <a:pt x="916048" y="1335158"/>
                  <a:pt x="915018" y="1335158"/>
                  <a:pt x="913955" y="1335158"/>
                </a:cubicBezTo>
                <a:cubicBezTo>
                  <a:pt x="913329" y="1333718"/>
                  <a:pt x="912703" y="1332277"/>
                  <a:pt x="912057" y="1330793"/>
                </a:cubicBezTo>
                <a:cubicBezTo>
                  <a:pt x="909497" y="1325424"/>
                  <a:pt x="906114" y="1320822"/>
                  <a:pt x="902142" y="1316222"/>
                </a:cubicBezTo>
                <a:cubicBezTo>
                  <a:pt x="901465" y="1315432"/>
                  <a:pt x="900788" y="1314642"/>
                  <a:pt x="900091" y="1313828"/>
                </a:cubicBezTo>
                <a:cubicBezTo>
                  <a:pt x="893705" y="1306618"/>
                  <a:pt x="886350" y="1301049"/>
                  <a:pt x="878026" y="1295700"/>
                </a:cubicBezTo>
                <a:cubicBezTo>
                  <a:pt x="876595" y="1294594"/>
                  <a:pt x="876595" y="1294594"/>
                  <a:pt x="875134" y="1293465"/>
                </a:cubicBezTo>
                <a:lnTo>
                  <a:pt x="869869" y="1291826"/>
                </a:lnTo>
                <a:lnTo>
                  <a:pt x="862384" y="1291327"/>
                </a:lnTo>
                <a:cubicBezTo>
                  <a:pt x="856441" y="1290067"/>
                  <a:pt x="850461" y="1290346"/>
                  <a:pt x="844390" y="1290461"/>
                </a:cubicBezTo>
                <a:cubicBezTo>
                  <a:pt x="842453" y="1290480"/>
                  <a:pt x="842453" y="1290480"/>
                  <a:pt x="840476" y="1290500"/>
                </a:cubicBezTo>
                <a:cubicBezTo>
                  <a:pt x="837322" y="1290532"/>
                  <a:pt x="834169" y="1290583"/>
                  <a:pt x="831015" y="1290637"/>
                </a:cubicBezTo>
                <a:cubicBezTo>
                  <a:pt x="831015" y="1291568"/>
                  <a:pt x="831015" y="1292498"/>
                  <a:pt x="831015" y="1293456"/>
                </a:cubicBezTo>
                <a:cubicBezTo>
                  <a:pt x="826519" y="1294808"/>
                  <a:pt x="822922" y="1295235"/>
                  <a:pt x="818225" y="1295570"/>
                </a:cubicBezTo>
                <a:lnTo>
                  <a:pt x="796774" y="1297671"/>
                </a:lnTo>
                <a:lnTo>
                  <a:pt x="783646" y="1305736"/>
                </a:lnTo>
                <a:cubicBezTo>
                  <a:pt x="776915" y="1312506"/>
                  <a:pt x="772692" y="1318638"/>
                  <a:pt x="769263" y="1327143"/>
                </a:cubicBezTo>
                <a:cubicBezTo>
                  <a:pt x="767116" y="1332340"/>
                  <a:pt x="767116" y="1332340"/>
                  <a:pt x="764797" y="1334360"/>
                </a:cubicBezTo>
                <a:lnTo>
                  <a:pt x="757875" y="1353503"/>
                </a:lnTo>
                <a:lnTo>
                  <a:pt x="755676" y="1367455"/>
                </a:lnTo>
                <a:lnTo>
                  <a:pt x="750558" y="1399690"/>
                </a:lnTo>
                <a:lnTo>
                  <a:pt x="753057" y="1411256"/>
                </a:lnTo>
                <a:cubicBezTo>
                  <a:pt x="753057" y="1413117"/>
                  <a:pt x="753057" y="1414976"/>
                  <a:pt x="753057" y="1416893"/>
                </a:cubicBezTo>
                <a:cubicBezTo>
                  <a:pt x="754087" y="1416893"/>
                  <a:pt x="755119" y="1416893"/>
                  <a:pt x="756181" y="1416893"/>
                </a:cubicBezTo>
                <a:cubicBezTo>
                  <a:pt x="759348" y="1422607"/>
                  <a:pt x="758101" y="1429902"/>
                  <a:pt x="758133" y="1436182"/>
                </a:cubicBezTo>
                <a:cubicBezTo>
                  <a:pt x="758182" y="1438458"/>
                  <a:pt x="758182" y="1438458"/>
                  <a:pt x="758231" y="1440781"/>
                </a:cubicBezTo>
                <a:cubicBezTo>
                  <a:pt x="758283" y="1450271"/>
                  <a:pt x="758174" y="1458360"/>
                  <a:pt x="750713" y="1465704"/>
                </a:cubicBezTo>
                <a:cubicBezTo>
                  <a:pt x="749940" y="1466193"/>
                  <a:pt x="749167" y="1466681"/>
                  <a:pt x="748370" y="1467185"/>
                </a:cubicBezTo>
                <a:cubicBezTo>
                  <a:pt x="743665" y="1470047"/>
                  <a:pt x="743665" y="1470047"/>
                  <a:pt x="741633" y="1473526"/>
                </a:cubicBezTo>
                <a:cubicBezTo>
                  <a:pt x="737793" y="1477248"/>
                  <a:pt x="733582" y="1477483"/>
                  <a:pt x="728154" y="1478343"/>
                </a:cubicBezTo>
                <a:cubicBezTo>
                  <a:pt x="724855" y="1478778"/>
                  <a:pt x="724855" y="1478778"/>
                  <a:pt x="721814" y="1480308"/>
                </a:cubicBezTo>
                <a:cubicBezTo>
                  <a:pt x="717303" y="1480523"/>
                  <a:pt x="712854" y="1480634"/>
                  <a:pt x="708341" y="1480661"/>
                </a:cubicBezTo>
                <a:cubicBezTo>
                  <a:pt x="707118" y="1480690"/>
                  <a:pt x="705896" y="1480719"/>
                  <a:pt x="704637" y="1480748"/>
                </a:cubicBezTo>
                <a:cubicBezTo>
                  <a:pt x="690446" y="1480834"/>
                  <a:pt x="679632" y="1476246"/>
                  <a:pt x="668507" y="1468418"/>
                </a:cubicBezTo>
                <a:cubicBezTo>
                  <a:pt x="662823" y="1463224"/>
                  <a:pt x="661745" y="1456995"/>
                  <a:pt x="660178" y="1450027"/>
                </a:cubicBezTo>
                <a:cubicBezTo>
                  <a:pt x="659725" y="1446589"/>
                  <a:pt x="659725" y="1446589"/>
                  <a:pt x="657767" y="1445078"/>
                </a:cubicBezTo>
                <a:cubicBezTo>
                  <a:pt x="656859" y="1433686"/>
                  <a:pt x="655965" y="1419178"/>
                  <a:pt x="663369" y="1409390"/>
                </a:cubicBezTo>
                <a:cubicBezTo>
                  <a:pt x="666078" y="1406601"/>
                  <a:pt x="668921" y="1404013"/>
                  <a:pt x="671826" y="1401392"/>
                </a:cubicBezTo>
                <a:cubicBezTo>
                  <a:pt x="675197" y="1397623"/>
                  <a:pt x="677125" y="1394916"/>
                  <a:pt x="678075" y="1390118"/>
                </a:cubicBezTo>
                <a:cubicBezTo>
                  <a:pt x="680137" y="1389653"/>
                  <a:pt x="682199" y="1389188"/>
                  <a:pt x="684323" y="1388709"/>
                </a:cubicBezTo>
                <a:cubicBezTo>
                  <a:pt x="684643" y="1387232"/>
                  <a:pt x="684964" y="1385755"/>
                  <a:pt x="685293" y="1384233"/>
                </a:cubicBezTo>
                <a:cubicBezTo>
                  <a:pt x="685718" y="1382290"/>
                  <a:pt x="686144" y="1380347"/>
                  <a:pt x="686569" y="1378404"/>
                </a:cubicBezTo>
                <a:cubicBezTo>
                  <a:pt x="686885" y="1376945"/>
                  <a:pt x="686885" y="1376945"/>
                  <a:pt x="687207" y="1375456"/>
                </a:cubicBezTo>
                <a:cubicBezTo>
                  <a:pt x="688115" y="1371315"/>
                  <a:pt x="689090" y="1367353"/>
                  <a:pt x="690572" y="1363343"/>
                </a:cubicBezTo>
                <a:cubicBezTo>
                  <a:pt x="692411" y="1350128"/>
                  <a:pt x="692374" y="1336672"/>
                  <a:pt x="692495" y="1323376"/>
                </a:cubicBezTo>
                <a:cubicBezTo>
                  <a:pt x="692524" y="1320586"/>
                  <a:pt x="692574" y="1317796"/>
                  <a:pt x="692625" y="1315006"/>
                </a:cubicBezTo>
                <a:cubicBezTo>
                  <a:pt x="692853" y="1300589"/>
                  <a:pt x="692853" y="1300589"/>
                  <a:pt x="687447" y="1287245"/>
                </a:cubicBezTo>
                <a:cubicBezTo>
                  <a:pt x="685901" y="1286780"/>
                  <a:pt x="684354" y="1286315"/>
                  <a:pt x="682761" y="1285835"/>
                </a:cubicBezTo>
                <a:cubicBezTo>
                  <a:pt x="680876" y="1283743"/>
                  <a:pt x="680876" y="1283743"/>
                  <a:pt x="678954" y="1281608"/>
                </a:cubicBezTo>
                <a:cubicBezTo>
                  <a:pt x="674854" y="1277278"/>
                  <a:pt x="674356" y="1276958"/>
                  <a:pt x="668702" y="1275971"/>
                </a:cubicBezTo>
                <a:cubicBezTo>
                  <a:pt x="666619" y="1274092"/>
                  <a:pt x="664536" y="1272213"/>
                  <a:pt x="662454" y="1270334"/>
                </a:cubicBezTo>
                <a:cubicBezTo>
                  <a:pt x="658341" y="1268566"/>
                  <a:pt x="658341" y="1268566"/>
                  <a:pt x="654643" y="1267516"/>
                </a:cubicBezTo>
                <a:cubicBezTo>
                  <a:pt x="654643" y="1266585"/>
                  <a:pt x="654643" y="1265656"/>
                  <a:pt x="654643" y="1264697"/>
                </a:cubicBezTo>
                <a:cubicBezTo>
                  <a:pt x="653161" y="1264581"/>
                  <a:pt x="651679" y="1264465"/>
                  <a:pt x="650152" y="1264345"/>
                </a:cubicBezTo>
                <a:cubicBezTo>
                  <a:pt x="642318" y="1263373"/>
                  <a:pt x="635297" y="1260465"/>
                  <a:pt x="628087" y="1257651"/>
                </a:cubicBezTo>
                <a:cubicBezTo>
                  <a:pt x="628087" y="1256721"/>
                  <a:pt x="628087" y="1255791"/>
                  <a:pt x="628087" y="1254833"/>
                </a:cubicBezTo>
                <a:cubicBezTo>
                  <a:pt x="627108" y="1254662"/>
                  <a:pt x="626129" y="1254491"/>
                  <a:pt x="625121" y="1254315"/>
                </a:cubicBezTo>
                <a:cubicBezTo>
                  <a:pt x="623845" y="1254079"/>
                  <a:pt x="622568" y="1253843"/>
                  <a:pt x="621252" y="1253600"/>
                </a:cubicBezTo>
                <a:cubicBezTo>
                  <a:pt x="619984" y="1253371"/>
                  <a:pt x="618716" y="1253142"/>
                  <a:pt x="617409" y="1252906"/>
                </a:cubicBezTo>
                <a:cubicBezTo>
                  <a:pt x="614027" y="1252014"/>
                  <a:pt x="614027" y="1252014"/>
                  <a:pt x="610904" y="1249196"/>
                </a:cubicBezTo>
                <a:cubicBezTo>
                  <a:pt x="592259" y="1248653"/>
                  <a:pt x="578635" y="1260869"/>
                  <a:pt x="565739" y="1271742"/>
                </a:cubicBezTo>
                <a:cubicBezTo>
                  <a:pt x="558808" y="1277725"/>
                  <a:pt x="552763" y="1283983"/>
                  <a:pt x="546924" y="1290829"/>
                </a:cubicBezTo>
                <a:cubicBezTo>
                  <a:pt x="545838" y="1292087"/>
                  <a:pt x="544753" y="1293346"/>
                  <a:pt x="543635" y="1294643"/>
                </a:cubicBezTo>
                <a:cubicBezTo>
                  <a:pt x="542650" y="1295813"/>
                  <a:pt x="541666" y="1296983"/>
                  <a:pt x="540651" y="1298188"/>
                </a:cubicBezTo>
                <a:cubicBezTo>
                  <a:pt x="537294" y="1301526"/>
                  <a:pt x="533978" y="1303337"/>
                  <a:pt x="529673" y="1305565"/>
                </a:cubicBezTo>
                <a:cubicBezTo>
                  <a:pt x="527599" y="1308478"/>
                  <a:pt x="527599" y="1308478"/>
                  <a:pt x="526549" y="1311202"/>
                </a:cubicBezTo>
                <a:cubicBezTo>
                  <a:pt x="525518" y="1311202"/>
                  <a:pt x="524487" y="1311202"/>
                  <a:pt x="523425" y="1311202"/>
                </a:cubicBezTo>
                <a:cubicBezTo>
                  <a:pt x="523360" y="1311986"/>
                  <a:pt x="523296" y="1312771"/>
                  <a:pt x="523230" y="1313580"/>
                </a:cubicBezTo>
                <a:cubicBezTo>
                  <a:pt x="521863" y="1316839"/>
                  <a:pt x="521863" y="1316839"/>
                  <a:pt x="517732" y="1319739"/>
                </a:cubicBezTo>
                <a:cubicBezTo>
                  <a:pt x="511111" y="1324565"/>
                  <a:pt x="506875" y="1330731"/>
                  <a:pt x="502239" y="1337096"/>
                </a:cubicBezTo>
                <a:cubicBezTo>
                  <a:pt x="500512" y="1339427"/>
                  <a:pt x="498785" y="1341757"/>
                  <a:pt x="497058" y="1344087"/>
                </a:cubicBezTo>
                <a:cubicBezTo>
                  <a:pt x="495827" y="1345760"/>
                  <a:pt x="495827" y="1345760"/>
                  <a:pt x="494572" y="1347465"/>
                </a:cubicBezTo>
                <a:cubicBezTo>
                  <a:pt x="492366" y="1350414"/>
                  <a:pt x="490094" y="1353304"/>
                  <a:pt x="487776" y="1356181"/>
                </a:cubicBezTo>
                <a:cubicBezTo>
                  <a:pt x="484805" y="1359972"/>
                  <a:pt x="482865" y="1363193"/>
                  <a:pt x="481248" y="1367571"/>
                </a:cubicBezTo>
                <a:cubicBezTo>
                  <a:pt x="480216" y="1367571"/>
                  <a:pt x="479186" y="1367571"/>
                  <a:pt x="478123" y="1367571"/>
                </a:cubicBezTo>
                <a:cubicBezTo>
                  <a:pt x="477963" y="1368558"/>
                  <a:pt x="477801" y="1369547"/>
                  <a:pt x="477635" y="1370565"/>
                </a:cubicBezTo>
                <a:cubicBezTo>
                  <a:pt x="475602" y="1378236"/>
                  <a:pt x="471952" y="1383371"/>
                  <a:pt x="465626" y="1388709"/>
                </a:cubicBezTo>
                <a:cubicBezTo>
                  <a:pt x="462272" y="1392748"/>
                  <a:pt x="462272" y="1392748"/>
                  <a:pt x="461233" y="1397340"/>
                </a:cubicBezTo>
                <a:cubicBezTo>
                  <a:pt x="460030" y="1401461"/>
                  <a:pt x="458298" y="1404501"/>
                  <a:pt x="455765" y="1408086"/>
                </a:cubicBezTo>
                <a:cubicBezTo>
                  <a:pt x="442829" y="1428603"/>
                  <a:pt x="441572" y="1454548"/>
                  <a:pt x="439070" y="1477490"/>
                </a:cubicBezTo>
                <a:cubicBezTo>
                  <a:pt x="437524" y="1477955"/>
                  <a:pt x="435977" y="1478420"/>
                  <a:pt x="434384" y="1478899"/>
                </a:cubicBezTo>
                <a:cubicBezTo>
                  <a:pt x="433739" y="1479916"/>
                  <a:pt x="433095" y="1480933"/>
                  <a:pt x="432431" y="1481982"/>
                </a:cubicBezTo>
                <a:cubicBezTo>
                  <a:pt x="428860" y="1487159"/>
                  <a:pt x="424291" y="1490903"/>
                  <a:pt x="418763" y="1494401"/>
                </a:cubicBezTo>
                <a:cubicBezTo>
                  <a:pt x="417731" y="1494401"/>
                  <a:pt x="416701" y="1494401"/>
                  <a:pt x="415639" y="1494401"/>
                </a:cubicBezTo>
                <a:cubicBezTo>
                  <a:pt x="415639" y="1495330"/>
                  <a:pt x="415639" y="1496260"/>
                  <a:pt x="415639" y="1497219"/>
                </a:cubicBezTo>
                <a:cubicBezTo>
                  <a:pt x="412546" y="1497684"/>
                  <a:pt x="409453" y="1498149"/>
                  <a:pt x="406265" y="1498628"/>
                </a:cubicBezTo>
                <a:cubicBezTo>
                  <a:pt x="406265" y="1499559"/>
                  <a:pt x="406265" y="1500488"/>
                  <a:pt x="406265" y="1501447"/>
                </a:cubicBezTo>
                <a:cubicBezTo>
                  <a:pt x="395955" y="1501447"/>
                  <a:pt x="385645" y="1501447"/>
                  <a:pt x="375023" y="1501447"/>
                </a:cubicBezTo>
                <a:lnTo>
                  <a:pt x="375023" y="1499438"/>
                </a:lnTo>
                <a:lnTo>
                  <a:pt x="374964" y="1499436"/>
                </a:lnTo>
                <a:lnTo>
                  <a:pt x="373179" y="1498628"/>
                </a:lnTo>
                <a:lnTo>
                  <a:pt x="365650" y="1498628"/>
                </a:lnTo>
                <a:lnTo>
                  <a:pt x="363134" y="1494087"/>
                </a:lnTo>
                <a:lnTo>
                  <a:pt x="362171" y="1493651"/>
                </a:lnTo>
                <a:cubicBezTo>
                  <a:pt x="361656" y="1492722"/>
                  <a:pt x="361140" y="1491791"/>
                  <a:pt x="360609" y="1490833"/>
                </a:cubicBezTo>
                <a:cubicBezTo>
                  <a:pt x="361640" y="1490833"/>
                  <a:pt x="362671" y="1490833"/>
                  <a:pt x="363733" y="1490833"/>
                </a:cubicBezTo>
                <a:lnTo>
                  <a:pt x="363733" y="1489980"/>
                </a:lnTo>
                <a:lnTo>
                  <a:pt x="348467" y="1481717"/>
                </a:lnTo>
                <a:lnTo>
                  <a:pt x="343872" y="1461078"/>
                </a:lnTo>
                <a:lnTo>
                  <a:pt x="343656" y="1463649"/>
                </a:lnTo>
                <a:cubicBezTo>
                  <a:pt x="343541" y="1465230"/>
                  <a:pt x="343541" y="1465230"/>
                  <a:pt x="343424" y="1466842"/>
                </a:cubicBezTo>
                <a:cubicBezTo>
                  <a:pt x="342908" y="1466842"/>
                  <a:pt x="342393" y="1466842"/>
                  <a:pt x="341861" y="1466842"/>
                </a:cubicBezTo>
                <a:cubicBezTo>
                  <a:pt x="340987" y="1449564"/>
                  <a:pt x="340999" y="1434331"/>
                  <a:pt x="354143" y="1420549"/>
                </a:cubicBezTo>
                <a:cubicBezTo>
                  <a:pt x="360765" y="1414011"/>
                  <a:pt x="367631" y="1407790"/>
                  <a:pt x="376229" y="1403427"/>
                </a:cubicBezTo>
                <a:lnTo>
                  <a:pt x="379491" y="1404408"/>
                </a:lnTo>
                <a:lnTo>
                  <a:pt x="379710" y="1404210"/>
                </a:lnTo>
                <a:cubicBezTo>
                  <a:pt x="380290" y="1402902"/>
                  <a:pt x="380290" y="1402902"/>
                  <a:pt x="380882" y="1401568"/>
                </a:cubicBezTo>
                <a:cubicBezTo>
                  <a:pt x="383675" y="1397284"/>
                  <a:pt x="387587" y="1395610"/>
                  <a:pt x="392207" y="1392936"/>
                </a:cubicBezTo>
                <a:lnTo>
                  <a:pt x="399542" y="1386774"/>
                </a:lnTo>
                <a:lnTo>
                  <a:pt x="405485" y="1378917"/>
                </a:lnTo>
                <a:cubicBezTo>
                  <a:pt x="408065" y="1375974"/>
                  <a:pt x="410029" y="1372774"/>
                  <a:pt x="412008" y="1369481"/>
                </a:cubicBezTo>
                <a:cubicBezTo>
                  <a:pt x="414759" y="1365166"/>
                  <a:pt x="417963" y="1361131"/>
                  <a:pt x="421130" y="1357057"/>
                </a:cubicBezTo>
                <a:cubicBezTo>
                  <a:pt x="423073" y="1354140"/>
                  <a:pt x="423985" y="1351767"/>
                  <a:pt x="424676" y="1348443"/>
                </a:cubicBezTo>
                <a:lnTo>
                  <a:pt x="427275" y="1348443"/>
                </a:lnTo>
                <a:lnTo>
                  <a:pt x="428135" y="1345727"/>
                </a:lnTo>
                <a:cubicBezTo>
                  <a:pt x="429370" y="1341828"/>
                  <a:pt x="430645" y="1338666"/>
                  <a:pt x="432822" y="1335158"/>
                </a:cubicBezTo>
                <a:cubicBezTo>
                  <a:pt x="433853" y="1335158"/>
                  <a:pt x="434884" y="1335158"/>
                  <a:pt x="435946" y="1335158"/>
                </a:cubicBezTo>
                <a:cubicBezTo>
                  <a:pt x="436526" y="1333385"/>
                  <a:pt x="437106" y="1331613"/>
                  <a:pt x="437704" y="1329786"/>
                </a:cubicBezTo>
                <a:cubicBezTo>
                  <a:pt x="440162" y="1323132"/>
                  <a:pt x="443602" y="1317301"/>
                  <a:pt x="447394" y="1311196"/>
                </a:cubicBezTo>
                <a:cubicBezTo>
                  <a:pt x="456493" y="1296485"/>
                  <a:pt x="463325" y="1281864"/>
                  <a:pt x="469287" y="1265964"/>
                </a:cubicBezTo>
                <a:cubicBezTo>
                  <a:pt x="474589" y="1252134"/>
                  <a:pt x="474589" y="1252134"/>
                  <a:pt x="478178" y="1246787"/>
                </a:cubicBezTo>
                <a:cubicBezTo>
                  <a:pt x="481232" y="1240246"/>
                  <a:pt x="480204" y="1232766"/>
                  <a:pt x="480179" y="1225768"/>
                </a:cubicBezTo>
                <a:cubicBezTo>
                  <a:pt x="480174" y="1222894"/>
                  <a:pt x="480210" y="1220023"/>
                  <a:pt x="480250" y="1217149"/>
                </a:cubicBezTo>
                <a:cubicBezTo>
                  <a:pt x="480260" y="1199291"/>
                  <a:pt x="476718" y="1187768"/>
                  <a:pt x="462972" y="1174827"/>
                </a:cubicBezTo>
                <a:cubicBezTo>
                  <a:pt x="461148" y="1173192"/>
                  <a:pt x="459312" y="1171566"/>
                  <a:pt x="457468" y="1169949"/>
                </a:cubicBezTo>
                <a:cubicBezTo>
                  <a:pt x="451412" y="1164522"/>
                  <a:pt x="445876" y="1158660"/>
                  <a:pt x="440657" y="1152570"/>
                </a:cubicBezTo>
                <a:cubicBezTo>
                  <a:pt x="430474" y="1140786"/>
                  <a:pt x="418230" y="1128998"/>
                  <a:pt x="403142" y="1122366"/>
                </a:cubicBezTo>
                <a:cubicBezTo>
                  <a:pt x="402626" y="1121436"/>
                  <a:pt x="402110" y="1120506"/>
                  <a:pt x="401579" y="1119547"/>
                </a:cubicBezTo>
                <a:cubicBezTo>
                  <a:pt x="390472" y="1115326"/>
                  <a:pt x="375918" y="1114217"/>
                  <a:pt x="364564" y="1118209"/>
                </a:cubicBezTo>
                <a:cubicBezTo>
                  <a:pt x="362278" y="1119428"/>
                  <a:pt x="360026" y="1120704"/>
                  <a:pt x="357822" y="1122041"/>
                </a:cubicBezTo>
                <a:cubicBezTo>
                  <a:pt x="354521" y="1123884"/>
                  <a:pt x="351862" y="1124582"/>
                  <a:pt x="348077" y="1125273"/>
                </a:cubicBezTo>
                <a:cubicBezTo>
                  <a:pt x="341765" y="1126696"/>
                  <a:pt x="339382" y="1128619"/>
                  <a:pt x="334408" y="1132230"/>
                </a:cubicBezTo>
                <a:cubicBezTo>
                  <a:pt x="332284" y="1132909"/>
                  <a:pt x="330131" y="1133519"/>
                  <a:pt x="327964" y="1134080"/>
                </a:cubicBezTo>
                <a:cubicBezTo>
                  <a:pt x="309975" y="1139067"/>
                  <a:pt x="290592" y="1152117"/>
                  <a:pt x="279734" y="1166051"/>
                </a:cubicBezTo>
                <a:cubicBezTo>
                  <a:pt x="277929" y="1169534"/>
                  <a:pt x="277929" y="1169534"/>
                  <a:pt x="276609" y="1173098"/>
                </a:cubicBezTo>
                <a:cubicBezTo>
                  <a:pt x="272413" y="1180804"/>
                  <a:pt x="269322" y="1184144"/>
                  <a:pt x="260988" y="1188599"/>
                </a:cubicBezTo>
                <a:cubicBezTo>
                  <a:pt x="259988" y="1189435"/>
                  <a:pt x="258987" y="1190271"/>
                  <a:pt x="257956" y="1191132"/>
                </a:cubicBezTo>
                <a:lnTo>
                  <a:pt x="243805" y="1196629"/>
                </a:lnTo>
                <a:lnTo>
                  <a:pt x="243805" y="1194236"/>
                </a:lnTo>
                <a:lnTo>
                  <a:pt x="240288" y="1194765"/>
                </a:lnTo>
                <a:lnTo>
                  <a:pt x="243374" y="1194765"/>
                </a:lnTo>
                <a:lnTo>
                  <a:pt x="243374" y="1196797"/>
                </a:lnTo>
                <a:lnTo>
                  <a:pt x="243805" y="1196629"/>
                </a:lnTo>
                <a:lnTo>
                  <a:pt x="243805" y="1197055"/>
                </a:lnTo>
                <a:lnTo>
                  <a:pt x="243374" y="1197055"/>
                </a:lnTo>
                <a:lnTo>
                  <a:pt x="243374" y="1197584"/>
                </a:lnTo>
                <a:lnTo>
                  <a:pt x="241319" y="1197595"/>
                </a:lnTo>
                <a:lnTo>
                  <a:pt x="238009" y="1198881"/>
                </a:lnTo>
                <a:cubicBezTo>
                  <a:pt x="231012" y="1199584"/>
                  <a:pt x="223620" y="1198927"/>
                  <a:pt x="215687" y="1198464"/>
                </a:cubicBezTo>
                <a:lnTo>
                  <a:pt x="215687" y="1197734"/>
                </a:lnTo>
                <a:lnTo>
                  <a:pt x="213936" y="1197744"/>
                </a:lnTo>
                <a:cubicBezTo>
                  <a:pt x="210570" y="1197584"/>
                  <a:pt x="210570" y="1197584"/>
                  <a:pt x="207446" y="1196175"/>
                </a:cubicBezTo>
                <a:lnTo>
                  <a:pt x="207822" y="1195610"/>
                </a:lnTo>
                <a:lnTo>
                  <a:pt x="184737" y="1180936"/>
                </a:lnTo>
                <a:cubicBezTo>
                  <a:pt x="180258" y="1172216"/>
                  <a:pt x="179226" y="1164355"/>
                  <a:pt x="179270" y="1154866"/>
                </a:cubicBezTo>
                <a:cubicBezTo>
                  <a:pt x="179233" y="1153260"/>
                  <a:pt x="179233" y="1153260"/>
                  <a:pt x="179194" y="1151621"/>
                </a:cubicBezTo>
                <a:cubicBezTo>
                  <a:pt x="179182" y="1139523"/>
                  <a:pt x="183658" y="1128837"/>
                  <a:pt x="193195" y="1120065"/>
                </a:cubicBezTo>
                <a:cubicBezTo>
                  <a:pt x="204265" y="1110959"/>
                  <a:pt x="215062" y="1110626"/>
                  <a:pt x="229551" y="1110299"/>
                </a:cubicBezTo>
                <a:cubicBezTo>
                  <a:pt x="240132" y="1110024"/>
                  <a:pt x="250506" y="1109652"/>
                  <a:pt x="260988" y="1108274"/>
                </a:cubicBezTo>
                <a:cubicBezTo>
                  <a:pt x="260988" y="1107344"/>
                  <a:pt x="260988" y="1106413"/>
                  <a:pt x="260988" y="1105455"/>
                </a:cubicBezTo>
                <a:cubicBezTo>
                  <a:pt x="261953" y="1105078"/>
                  <a:pt x="262918" y="1104699"/>
                  <a:pt x="263911" y="1104310"/>
                </a:cubicBezTo>
                <a:cubicBezTo>
                  <a:pt x="272903" y="1100557"/>
                  <a:pt x="279802" y="1096307"/>
                  <a:pt x="286995" y="1090185"/>
                </a:cubicBezTo>
                <a:cubicBezTo>
                  <a:pt x="290956" y="1086897"/>
                  <a:pt x="295114" y="1083955"/>
                  <a:pt x="299358" y="1080970"/>
                </a:cubicBezTo>
                <a:cubicBezTo>
                  <a:pt x="306613" y="1075692"/>
                  <a:pt x="312234" y="1070023"/>
                  <a:pt x="317762" y="1063272"/>
                </a:cubicBezTo>
                <a:cubicBezTo>
                  <a:pt x="320349" y="1060360"/>
                  <a:pt x="320349" y="1060360"/>
                  <a:pt x="325035" y="1057542"/>
                </a:cubicBezTo>
                <a:cubicBezTo>
                  <a:pt x="329912" y="1045734"/>
                  <a:pt x="327928" y="1035103"/>
                  <a:pt x="325328" y="1023104"/>
                </a:cubicBezTo>
                <a:cubicBezTo>
                  <a:pt x="325069" y="1021831"/>
                  <a:pt x="324811" y="1020559"/>
                  <a:pt x="324544" y="1019247"/>
                </a:cubicBezTo>
                <a:cubicBezTo>
                  <a:pt x="322876" y="1011407"/>
                  <a:pt x="320562" y="1004340"/>
                  <a:pt x="317225" y="996945"/>
                </a:cubicBezTo>
                <a:cubicBezTo>
                  <a:pt x="316619" y="995541"/>
                  <a:pt x="316013" y="994137"/>
                  <a:pt x="315388" y="992690"/>
                </a:cubicBezTo>
                <a:cubicBezTo>
                  <a:pt x="306307" y="972561"/>
                  <a:pt x="298931" y="959343"/>
                  <a:pt x="276232" y="950666"/>
                </a:cubicBezTo>
                <a:cubicBezTo>
                  <a:pt x="274810" y="950127"/>
                  <a:pt x="273388" y="949587"/>
                  <a:pt x="271923" y="949031"/>
                </a:cubicBezTo>
                <a:cubicBezTo>
                  <a:pt x="270129" y="948244"/>
                  <a:pt x="270129" y="948244"/>
                  <a:pt x="268299" y="947441"/>
                </a:cubicBezTo>
                <a:cubicBezTo>
                  <a:pt x="247071" y="938140"/>
                  <a:pt x="222259" y="939051"/>
                  <a:pt x="199187" y="938991"/>
                </a:cubicBezTo>
                <a:cubicBezTo>
                  <a:pt x="197383" y="938984"/>
                  <a:pt x="195579" y="938978"/>
                  <a:pt x="193719" y="938971"/>
                </a:cubicBezTo>
                <a:cubicBezTo>
                  <a:pt x="192010" y="938974"/>
                  <a:pt x="190300" y="938977"/>
                  <a:pt x="188539" y="938980"/>
                </a:cubicBezTo>
                <a:cubicBezTo>
                  <a:pt x="187000" y="938981"/>
                  <a:pt x="185460" y="938983"/>
                  <a:pt x="183874" y="938985"/>
                </a:cubicBezTo>
                <a:cubicBezTo>
                  <a:pt x="180148" y="939150"/>
                  <a:pt x="177092" y="939720"/>
                  <a:pt x="173509" y="940576"/>
                </a:cubicBezTo>
                <a:cubicBezTo>
                  <a:pt x="169458" y="940674"/>
                  <a:pt x="165452" y="940710"/>
                  <a:pt x="161403" y="940664"/>
                </a:cubicBezTo>
                <a:cubicBezTo>
                  <a:pt x="160314" y="940658"/>
                  <a:pt x="159224" y="940651"/>
                  <a:pt x="158102" y="940645"/>
                </a:cubicBezTo>
                <a:lnTo>
                  <a:pt x="150875" y="940583"/>
                </a:lnTo>
                <a:lnTo>
                  <a:pt x="148425" y="940717"/>
                </a:lnTo>
                <a:lnTo>
                  <a:pt x="149617" y="940995"/>
                </a:lnTo>
                <a:cubicBezTo>
                  <a:pt x="149617" y="941459"/>
                  <a:pt x="149617" y="941924"/>
                  <a:pt x="149617" y="942404"/>
                </a:cubicBezTo>
                <a:cubicBezTo>
                  <a:pt x="148630" y="942558"/>
                  <a:pt x="147643" y="942712"/>
                  <a:pt x="146627" y="942871"/>
                </a:cubicBezTo>
                <a:cubicBezTo>
                  <a:pt x="134541" y="944804"/>
                  <a:pt x="122553" y="947081"/>
                  <a:pt x="110564" y="949449"/>
                </a:cubicBezTo>
                <a:lnTo>
                  <a:pt x="111283" y="946205"/>
                </a:lnTo>
                <a:lnTo>
                  <a:pt x="101652" y="956078"/>
                </a:lnTo>
                <a:cubicBezTo>
                  <a:pt x="99870" y="957260"/>
                  <a:pt x="99870" y="957260"/>
                  <a:pt x="98052" y="958467"/>
                </a:cubicBezTo>
                <a:cubicBezTo>
                  <a:pt x="75683" y="972989"/>
                  <a:pt x="75683" y="972989"/>
                  <a:pt x="67286" y="972989"/>
                </a:cubicBezTo>
                <a:cubicBezTo>
                  <a:pt x="67286" y="973918"/>
                  <a:pt x="67286" y="974848"/>
                  <a:pt x="67286" y="975807"/>
                </a:cubicBezTo>
                <a:cubicBezTo>
                  <a:pt x="55713" y="979519"/>
                  <a:pt x="43549" y="980689"/>
                  <a:pt x="31942" y="976423"/>
                </a:cubicBezTo>
                <a:cubicBezTo>
                  <a:pt x="19953" y="970870"/>
                  <a:pt x="10774" y="964932"/>
                  <a:pt x="5673" y="953419"/>
                </a:cubicBezTo>
                <a:cubicBezTo>
                  <a:pt x="4801" y="950441"/>
                  <a:pt x="4801" y="950441"/>
                  <a:pt x="4801" y="944804"/>
                </a:cubicBezTo>
                <a:cubicBezTo>
                  <a:pt x="3770" y="944804"/>
                  <a:pt x="2739" y="944804"/>
                  <a:pt x="1676" y="944804"/>
                </a:cubicBezTo>
                <a:cubicBezTo>
                  <a:pt x="-34" y="940174"/>
                  <a:pt x="-41" y="936720"/>
                  <a:pt x="17" y="931857"/>
                </a:cubicBezTo>
                <a:cubicBezTo>
                  <a:pt x="31" y="930325"/>
                  <a:pt x="45" y="928794"/>
                  <a:pt x="59" y="927216"/>
                </a:cubicBezTo>
                <a:cubicBezTo>
                  <a:pt x="78" y="926044"/>
                  <a:pt x="96" y="924873"/>
                  <a:pt x="115" y="923666"/>
                </a:cubicBezTo>
                <a:cubicBezTo>
                  <a:pt x="1145" y="923666"/>
                  <a:pt x="2176" y="923666"/>
                  <a:pt x="3238" y="923666"/>
                </a:cubicBezTo>
                <a:cubicBezTo>
                  <a:pt x="3238" y="921805"/>
                  <a:pt x="3238" y="919945"/>
                  <a:pt x="3238" y="918029"/>
                </a:cubicBezTo>
                <a:cubicBezTo>
                  <a:pt x="4270" y="918029"/>
                  <a:pt x="5300" y="918029"/>
                  <a:pt x="6363" y="918029"/>
                </a:cubicBezTo>
                <a:cubicBezTo>
                  <a:pt x="6459" y="916314"/>
                  <a:pt x="6556" y="914599"/>
                  <a:pt x="6656" y="912832"/>
                </a:cubicBezTo>
                <a:cubicBezTo>
                  <a:pt x="7542" y="906455"/>
                  <a:pt x="10104" y="903750"/>
                  <a:pt x="15736" y="899709"/>
                </a:cubicBezTo>
                <a:lnTo>
                  <a:pt x="17243" y="898894"/>
                </a:lnTo>
                <a:lnTo>
                  <a:pt x="16800" y="898694"/>
                </a:lnTo>
                <a:lnTo>
                  <a:pt x="24988" y="894101"/>
                </a:lnTo>
                <a:lnTo>
                  <a:pt x="26768" y="892399"/>
                </a:lnTo>
                <a:cubicBezTo>
                  <a:pt x="28282" y="891122"/>
                  <a:pt x="29038" y="890483"/>
                  <a:pt x="30198" y="890164"/>
                </a:cubicBezTo>
                <a:lnTo>
                  <a:pt x="32204" y="890054"/>
                </a:lnTo>
                <a:lnTo>
                  <a:pt x="38914" y="886291"/>
                </a:lnTo>
                <a:cubicBezTo>
                  <a:pt x="47169" y="885770"/>
                  <a:pt x="55396" y="885800"/>
                  <a:pt x="63664" y="886011"/>
                </a:cubicBezTo>
                <a:lnTo>
                  <a:pt x="63664" y="886531"/>
                </a:lnTo>
                <a:lnTo>
                  <a:pt x="70784" y="886647"/>
                </a:lnTo>
                <a:cubicBezTo>
                  <a:pt x="74787" y="887000"/>
                  <a:pt x="77233" y="887948"/>
                  <a:pt x="82126" y="889845"/>
                </a:cubicBezTo>
                <a:cubicBezTo>
                  <a:pt x="92427" y="893791"/>
                  <a:pt x="103139" y="893710"/>
                  <a:pt x="114149" y="892663"/>
                </a:cubicBezTo>
                <a:cubicBezTo>
                  <a:pt x="115696" y="891733"/>
                  <a:pt x="117242" y="890803"/>
                  <a:pt x="118836" y="889845"/>
                </a:cubicBezTo>
                <a:cubicBezTo>
                  <a:pt x="123097" y="888850"/>
                  <a:pt x="127325" y="887944"/>
                  <a:pt x="131626" y="887114"/>
                </a:cubicBezTo>
                <a:cubicBezTo>
                  <a:pt x="139750" y="885542"/>
                  <a:pt x="147376" y="883653"/>
                  <a:pt x="155116" y="880913"/>
                </a:cubicBezTo>
                <a:cubicBezTo>
                  <a:pt x="158498" y="879775"/>
                  <a:pt x="161861" y="879076"/>
                  <a:pt x="165406" y="878483"/>
                </a:cubicBezTo>
                <a:cubicBezTo>
                  <a:pt x="170342" y="877655"/>
                  <a:pt x="172265" y="876971"/>
                  <a:pt x="176634" y="874343"/>
                </a:cubicBezTo>
                <a:cubicBezTo>
                  <a:pt x="179863" y="873335"/>
                  <a:pt x="183123" y="872404"/>
                  <a:pt x="186397" y="871524"/>
                </a:cubicBezTo>
                <a:cubicBezTo>
                  <a:pt x="189107" y="870786"/>
                  <a:pt x="189107" y="870786"/>
                  <a:pt x="191871" y="870033"/>
                </a:cubicBezTo>
                <a:cubicBezTo>
                  <a:pt x="195731" y="869023"/>
                  <a:pt x="199587" y="868093"/>
                  <a:pt x="203483" y="867208"/>
                </a:cubicBezTo>
                <a:cubicBezTo>
                  <a:pt x="208339" y="866199"/>
                  <a:pt x="208339" y="866199"/>
                  <a:pt x="211001" y="861660"/>
                </a:cubicBezTo>
                <a:cubicBezTo>
                  <a:pt x="214174" y="860102"/>
                  <a:pt x="214174" y="860102"/>
                  <a:pt x="218031" y="858577"/>
                </a:cubicBezTo>
                <a:cubicBezTo>
                  <a:pt x="236068" y="850629"/>
                  <a:pt x="245199" y="840442"/>
                  <a:pt x="254740" y="825020"/>
                </a:cubicBezTo>
                <a:cubicBezTo>
                  <a:pt x="255771" y="823625"/>
                  <a:pt x="256802" y="822230"/>
                  <a:pt x="257864" y="820792"/>
                </a:cubicBezTo>
                <a:cubicBezTo>
                  <a:pt x="258359" y="817506"/>
                  <a:pt x="258359" y="817506"/>
                  <a:pt x="258318" y="813810"/>
                </a:cubicBezTo>
                <a:cubicBezTo>
                  <a:pt x="258338" y="812388"/>
                  <a:pt x="258358" y="810967"/>
                  <a:pt x="258378" y="809502"/>
                </a:cubicBezTo>
                <a:cubicBezTo>
                  <a:pt x="258382" y="807965"/>
                  <a:pt x="258385" y="806429"/>
                  <a:pt x="258389" y="804845"/>
                </a:cubicBezTo>
                <a:cubicBezTo>
                  <a:pt x="258399" y="803258"/>
                  <a:pt x="258410" y="801671"/>
                  <a:pt x="258420" y="800036"/>
                </a:cubicBezTo>
                <a:cubicBezTo>
                  <a:pt x="258436" y="796670"/>
                  <a:pt x="258443" y="793305"/>
                  <a:pt x="258443" y="789939"/>
                </a:cubicBezTo>
                <a:cubicBezTo>
                  <a:pt x="258450" y="784823"/>
                  <a:pt x="258506" y="779709"/>
                  <a:pt x="258566" y="774594"/>
                </a:cubicBezTo>
                <a:cubicBezTo>
                  <a:pt x="258575" y="771319"/>
                  <a:pt x="258581" y="768045"/>
                  <a:pt x="258584" y="764771"/>
                </a:cubicBezTo>
                <a:cubicBezTo>
                  <a:pt x="258618" y="762495"/>
                  <a:pt x="258618" y="762495"/>
                  <a:pt x="258652" y="760174"/>
                </a:cubicBezTo>
                <a:cubicBezTo>
                  <a:pt x="258586" y="750030"/>
                  <a:pt x="256266" y="742584"/>
                  <a:pt x="251616" y="733421"/>
                </a:cubicBezTo>
                <a:cubicBezTo>
                  <a:pt x="250163" y="729605"/>
                  <a:pt x="248880" y="725752"/>
                  <a:pt x="247613" y="721883"/>
                </a:cubicBezTo>
                <a:cubicBezTo>
                  <a:pt x="245789" y="716328"/>
                  <a:pt x="243913" y="710939"/>
                  <a:pt x="241291" y="705644"/>
                </a:cubicBezTo>
                <a:cubicBezTo>
                  <a:pt x="238691" y="700096"/>
                  <a:pt x="238136" y="695685"/>
                  <a:pt x="237557" y="689735"/>
                </a:cubicBezTo>
                <a:cubicBezTo>
                  <a:pt x="244977" y="685507"/>
                  <a:pt x="244977" y="685507"/>
                  <a:pt x="248492" y="685507"/>
                </a:cubicBezTo>
                <a:cubicBezTo>
                  <a:pt x="248492" y="684112"/>
                  <a:pt x="248492" y="682717"/>
                  <a:pt x="248492" y="681279"/>
                </a:cubicBezTo>
                <a:cubicBezTo>
                  <a:pt x="245914" y="680815"/>
                  <a:pt x="243337" y="680350"/>
                  <a:pt x="240681" y="679870"/>
                </a:cubicBezTo>
                <a:cubicBezTo>
                  <a:pt x="240681" y="678940"/>
                  <a:pt x="240681" y="678010"/>
                  <a:pt x="240681" y="677052"/>
                </a:cubicBezTo>
                <a:cubicBezTo>
                  <a:pt x="239827" y="676917"/>
                  <a:pt x="238973" y="676783"/>
                  <a:pt x="238094" y="676645"/>
                </a:cubicBezTo>
                <a:cubicBezTo>
                  <a:pt x="233442" y="675371"/>
                  <a:pt x="229939" y="673242"/>
                  <a:pt x="225841" y="670886"/>
                </a:cubicBezTo>
                <a:cubicBezTo>
                  <a:pt x="217808" y="666564"/>
                  <a:pt x="210635" y="664241"/>
                  <a:pt x="201531" y="662508"/>
                </a:cubicBezTo>
                <a:cubicBezTo>
                  <a:pt x="196896" y="661541"/>
                  <a:pt x="192682" y="660199"/>
                  <a:pt x="188252" y="658644"/>
                </a:cubicBezTo>
                <a:lnTo>
                  <a:pt x="182431" y="657327"/>
                </a:lnTo>
                <a:lnTo>
                  <a:pt x="182431" y="657613"/>
                </a:lnTo>
                <a:cubicBezTo>
                  <a:pt x="170575" y="657148"/>
                  <a:pt x="158718" y="656683"/>
                  <a:pt x="146503" y="656204"/>
                </a:cubicBezTo>
                <a:cubicBezTo>
                  <a:pt x="146503" y="657133"/>
                  <a:pt x="146503" y="658064"/>
                  <a:pt x="146503" y="659022"/>
                </a:cubicBezTo>
                <a:cubicBezTo>
                  <a:pt x="134359" y="662326"/>
                  <a:pt x="123013" y="663700"/>
                  <a:pt x="110378" y="663778"/>
                </a:cubicBezTo>
                <a:cubicBezTo>
                  <a:pt x="108435" y="663806"/>
                  <a:pt x="108435" y="663806"/>
                  <a:pt x="106453" y="663836"/>
                </a:cubicBezTo>
                <a:cubicBezTo>
                  <a:pt x="105231" y="663828"/>
                  <a:pt x="104009" y="663820"/>
                  <a:pt x="102751" y="663811"/>
                </a:cubicBezTo>
                <a:cubicBezTo>
                  <a:pt x="101117" y="663804"/>
                  <a:pt x="101117" y="663804"/>
                  <a:pt x="99449" y="663797"/>
                </a:cubicBezTo>
                <a:cubicBezTo>
                  <a:pt x="95696" y="663097"/>
                  <a:pt x="94265" y="661615"/>
                  <a:pt x="91828" y="659022"/>
                </a:cubicBezTo>
                <a:cubicBezTo>
                  <a:pt x="93890" y="659022"/>
                  <a:pt x="95953" y="659022"/>
                  <a:pt x="98077" y="659022"/>
                </a:cubicBezTo>
                <a:cubicBezTo>
                  <a:pt x="98077" y="659952"/>
                  <a:pt x="98077" y="660882"/>
                  <a:pt x="98077" y="661841"/>
                </a:cubicBezTo>
                <a:cubicBezTo>
                  <a:pt x="108735" y="662045"/>
                  <a:pt x="114063" y="662148"/>
                  <a:pt x="119023" y="661357"/>
                </a:cubicBezTo>
                <a:lnTo>
                  <a:pt x="119536" y="661197"/>
                </a:lnTo>
                <a:lnTo>
                  <a:pt x="109853" y="661639"/>
                </a:lnTo>
                <a:cubicBezTo>
                  <a:pt x="108764" y="661632"/>
                  <a:pt x="107675" y="661626"/>
                  <a:pt x="106552" y="661619"/>
                </a:cubicBezTo>
                <a:cubicBezTo>
                  <a:pt x="103877" y="661603"/>
                  <a:pt x="101203" y="661577"/>
                  <a:pt x="98528" y="661550"/>
                </a:cubicBezTo>
                <a:cubicBezTo>
                  <a:pt x="98528" y="660620"/>
                  <a:pt x="98528" y="659691"/>
                  <a:pt x="98528" y="658732"/>
                </a:cubicBezTo>
                <a:cubicBezTo>
                  <a:pt x="95435" y="658267"/>
                  <a:pt x="92342" y="657802"/>
                  <a:pt x="89155" y="657323"/>
                </a:cubicBezTo>
                <a:cubicBezTo>
                  <a:pt x="89155" y="656393"/>
                  <a:pt x="89155" y="655462"/>
                  <a:pt x="89155" y="654504"/>
                </a:cubicBezTo>
                <a:cubicBezTo>
                  <a:pt x="87790" y="653978"/>
                  <a:pt x="87790" y="653978"/>
                  <a:pt x="86397" y="653442"/>
                </a:cubicBezTo>
                <a:cubicBezTo>
                  <a:pt x="82415" y="651438"/>
                  <a:pt x="80039" y="649232"/>
                  <a:pt x="77049" y="646137"/>
                </a:cubicBezTo>
                <a:cubicBezTo>
                  <a:pt x="75611" y="644679"/>
                  <a:pt x="75611" y="644679"/>
                  <a:pt x="74145" y="643192"/>
                </a:cubicBezTo>
                <a:cubicBezTo>
                  <a:pt x="71972" y="640412"/>
                  <a:pt x="71972" y="640412"/>
                  <a:pt x="71972" y="636185"/>
                </a:cubicBezTo>
                <a:cubicBezTo>
                  <a:pt x="70941" y="636185"/>
                  <a:pt x="69910" y="636185"/>
                  <a:pt x="68848" y="636185"/>
                </a:cubicBezTo>
                <a:cubicBezTo>
                  <a:pt x="64250" y="621928"/>
                  <a:pt x="64695" y="609404"/>
                  <a:pt x="70410" y="595317"/>
                </a:cubicBezTo>
                <a:cubicBezTo>
                  <a:pt x="73096" y="591142"/>
                  <a:pt x="76144" y="587574"/>
                  <a:pt x="79782" y="584043"/>
                </a:cubicBezTo>
                <a:cubicBezTo>
                  <a:pt x="81205" y="582594"/>
                  <a:pt x="81205" y="582594"/>
                  <a:pt x="82656" y="581115"/>
                </a:cubicBezTo>
                <a:cubicBezTo>
                  <a:pt x="91488" y="574027"/>
                  <a:pt x="105133" y="571806"/>
                  <a:pt x="116694" y="572323"/>
                </a:cubicBezTo>
                <a:cubicBezTo>
                  <a:pt x="131556" y="574113"/>
                  <a:pt x="142046" y="580551"/>
                  <a:pt x="152031" y="590385"/>
                </a:cubicBezTo>
                <a:cubicBezTo>
                  <a:pt x="162272" y="600009"/>
                  <a:pt x="176992" y="605062"/>
                  <a:pt x="191474" y="605886"/>
                </a:cubicBezTo>
                <a:cubicBezTo>
                  <a:pt x="196845" y="606192"/>
                  <a:pt x="201203" y="606463"/>
                  <a:pt x="206314" y="608000"/>
                </a:cubicBezTo>
                <a:cubicBezTo>
                  <a:pt x="206314" y="608930"/>
                  <a:pt x="206314" y="609860"/>
                  <a:pt x="206314" y="610818"/>
                </a:cubicBezTo>
                <a:cubicBezTo>
                  <a:pt x="215689" y="610902"/>
                  <a:pt x="225058" y="610898"/>
                  <a:pt x="234433" y="610818"/>
                </a:cubicBezTo>
                <a:cubicBezTo>
                  <a:pt x="236112" y="610813"/>
                  <a:pt x="237791" y="610808"/>
                  <a:pt x="239522" y="610802"/>
                </a:cubicBezTo>
                <a:cubicBezTo>
                  <a:pt x="251005" y="610364"/>
                  <a:pt x="259257" y="606564"/>
                  <a:pt x="268799" y="600954"/>
                </a:cubicBezTo>
                <a:cubicBezTo>
                  <a:pt x="269770" y="600416"/>
                  <a:pt x="270740" y="599879"/>
                  <a:pt x="271740" y="599325"/>
                </a:cubicBezTo>
                <a:cubicBezTo>
                  <a:pt x="279452" y="594430"/>
                  <a:pt x="281420" y="587464"/>
                  <a:pt x="284420" y="579816"/>
                </a:cubicBezTo>
                <a:cubicBezTo>
                  <a:pt x="286047" y="576075"/>
                  <a:pt x="287725" y="572353"/>
                  <a:pt x="289399" y="568630"/>
                </a:cubicBezTo>
                <a:cubicBezTo>
                  <a:pt x="294095" y="558121"/>
                  <a:pt x="299004" y="547070"/>
                  <a:pt x="293958" y="535838"/>
                </a:cubicBezTo>
                <a:cubicBezTo>
                  <a:pt x="292436" y="533533"/>
                  <a:pt x="290781" y="531301"/>
                  <a:pt x="289107" y="529084"/>
                </a:cubicBezTo>
                <a:cubicBezTo>
                  <a:pt x="289107" y="528153"/>
                  <a:pt x="289107" y="527223"/>
                  <a:pt x="289107" y="526265"/>
                </a:cubicBezTo>
                <a:cubicBezTo>
                  <a:pt x="287560" y="525800"/>
                  <a:pt x="286014" y="525335"/>
                  <a:pt x="284420" y="524856"/>
                </a:cubicBezTo>
                <a:cubicBezTo>
                  <a:pt x="283905" y="523461"/>
                  <a:pt x="283389" y="522066"/>
                  <a:pt x="282858" y="520628"/>
                </a:cubicBezTo>
                <a:cubicBezTo>
                  <a:pt x="280750" y="518590"/>
                  <a:pt x="280750" y="518590"/>
                  <a:pt x="277977" y="516577"/>
                </a:cubicBezTo>
                <a:cubicBezTo>
                  <a:pt x="273591" y="513232"/>
                  <a:pt x="269227" y="509874"/>
                  <a:pt x="264925" y="506443"/>
                </a:cubicBezTo>
                <a:cubicBezTo>
                  <a:pt x="253596" y="497433"/>
                  <a:pt x="242132" y="488987"/>
                  <a:pt x="229746" y="481170"/>
                </a:cubicBezTo>
                <a:cubicBezTo>
                  <a:pt x="226846" y="479266"/>
                  <a:pt x="223950" y="477358"/>
                  <a:pt x="221057" y="475445"/>
                </a:cubicBezTo>
                <a:cubicBezTo>
                  <a:pt x="218227" y="473594"/>
                  <a:pt x="215396" y="471744"/>
                  <a:pt x="212563" y="469896"/>
                </a:cubicBezTo>
                <a:cubicBezTo>
                  <a:pt x="211351" y="469102"/>
                  <a:pt x="210138" y="468309"/>
                  <a:pt x="208889" y="467491"/>
                </a:cubicBezTo>
                <a:cubicBezTo>
                  <a:pt x="202848" y="463599"/>
                  <a:pt x="196732" y="459888"/>
                  <a:pt x="190406" y="456382"/>
                </a:cubicBezTo>
                <a:cubicBezTo>
                  <a:pt x="189263" y="455748"/>
                  <a:pt x="188119" y="455114"/>
                  <a:pt x="186942" y="454460"/>
                </a:cubicBezTo>
                <a:cubicBezTo>
                  <a:pt x="184648" y="453196"/>
                  <a:pt x="182348" y="451941"/>
                  <a:pt x="180041" y="450696"/>
                </a:cubicBezTo>
                <a:cubicBezTo>
                  <a:pt x="177292" y="449185"/>
                  <a:pt x="174612" y="447571"/>
                  <a:pt x="171948" y="445940"/>
                </a:cubicBezTo>
                <a:cubicBezTo>
                  <a:pt x="171948" y="445009"/>
                  <a:pt x="171948" y="444079"/>
                  <a:pt x="171948" y="443121"/>
                </a:cubicBezTo>
                <a:cubicBezTo>
                  <a:pt x="170804" y="442985"/>
                  <a:pt x="169660" y="442848"/>
                  <a:pt x="168482" y="442708"/>
                </a:cubicBezTo>
                <a:cubicBezTo>
                  <a:pt x="163547" y="441576"/>
                  <a:pt x="161063" y="439897"/>
                  <a:pt x="157107" y="437044"/>
                </a:cubicBezTo>
                <a:cubicBezTo>
                  <a:pt x="149345" y="431895"/>
                  <a:pt x="141843" y="429626"/>
                  <a:pt x="132559" y="427510"/>
                </a:cubicBezTo>
                <a:cubicBezTo>
                  <a:pt x="128067" y="426168"/>
                  <a:pt x="126607" y="425060"/>
                  <a:pt x="123522" y="421983"/>
                </a:cubicBezTo>
                <a:cubicBezTo>
                  <a:pt x="118310" y="419033"/>
                  <a:pt x="114076" y="418794"/>
                  <a:pt x="107986" y="418730"/>
                </a:cubicBezTo>
                <a:cubicBezTo>
                  <a:pt x="106174" y="418694"/>
                  <a:pt x="104362" y="418659"/>
                  <a:pt x="102494" y="418622"/>
                </a:cubicBezTo>
                <a:cubicBezTo>
                  <a:pt x="98715" y="418573"/>
                  <a:pt x="94936" y="418529"/>
                  <a:pt x="91157" y="418490"/>
                </a:cubicBezTo>
                <a:cubicBezTo>
                  <a:pt x="78470" y="418231"/>
                  <a:pt x="65485" y="417940"/>
                  <a:pt x="55277" y="410445"/>
                </a:cubicBezTo>
                <a:cubicBezTo>
                  <a:pt x="54084" y="409137"/>
                  <a:pt x="52893" y="407829"/>
                  <a:pt x="51665" y="406481"/>
                </a:cubicBezTo>
                <a:cubicBezTo>
                  <a:pt x="49752" y="404480"/>
                  <a:pt x="47831" y="402483"/>
                  <a:pt x="45904" y="400492"/>
                </a:cubicBezTo>
                <a:cubicBezTo>
                  <a:pt x="44996" y="399526"/>
                  <a:pt x="44088" y="398559"/>
                  <a:pt x="43152" y="397564"/>
                </a:cubicBezTo>
                <a:cubicBezTo>
                  <a:pt x="40865" y="395062"/>
                  <a:pt x="40865" y="395062"/>
                  <a:pt x="37605" y="393798"/>
                </a:cubicBezTo>
                <a:lnTo>
                  <a:pt x="38995" y="368712"/>
                </a:lnTo>
                <a:lnTo>
                  <a:pt x="38666" y="369724"/>
                </a:lnTo>
                <a:cubicBezTo>
                  <a:pt x="37003" y="374506"/>
                  <a:pt x="36202" y="379113"/>
                  <a:pt x="35542" y="384081"/>
                </a:cubicBezTo>
                <a:cubicBezTo>
                  <a:pt x="30313" y="376119"/>
                  <a:pt x="31188" y="366593"/>
                  <a:pt x="33326" y="357791"/>
                </a:cubicBezTo>
                <a:cubicBezTo>
                  <a:pt x="37176" y="347767"/>
                  <a:pt x="44536" y="340769"/>
                  <a:pt x="52725" y="333349"/>
                </a:cubicBezTo>
                <a:lnTo>
                  <a:pt x="55222" y="334475"/>
                </a:lnTo>
                <a:lnTo>
                  <a:pt x="56222" y="333347"/>
                </a:lnTo>
                <a:lnTo>
                  <a:pt x="55871" y="333347"/>
                </a:lnTo>
                <a:lnTo>
                  <a:pt x="56346" y="333207"/>
                </a:lnTo>
                <a:lnTo>
                  <a:pt x="56351" y="333202"/>
                </a:lnTo>
                <a:lnTo>
                  <a:pt x="56365" y="333202"/>
                </a:lnTo>
                <a:lnTo>
                  <a:pt x="79571" y="326360"/>
                </a:lnTo>
                <a:cubicBezTo>
                  <a:pt x="87782" y="326037"/>
                  <a:pt x="96164" y="327572"/>
                  <a:pt x="104297" y="330529"/>
                </a:cubicBezTo>
                <a:lnTo>
                  <a:pt x="107170" y="334417"/>
                </a:lnTo>
                <a:lnTo>
                  <a:pt x="109366" y="336046"/>
                </a:lnTo>
                <a:lnTo>
                  <a:pt x="109463" y="336020"/>
                </a:lnTo>
                <a:lnTo>
                  <a:pt x="109463" y="336118"/>
                </a:lnTo>
                <a:lnTo>
                  <a:pt x="115226" y="340394"/>
                </a:lnTo>
                <a:lnTo>
                  <a:pt x="114010" y="340120"/>
                </a:lnTo>
                <a:lnTo>
                  <a:pt x="133285" y="357423"/>
                </a:lnTo>
                <a:cubicBezTo>
                  <a:pt x="142471" y="373187"/>
                  <a:pt x="155564" y="382744"/>
                  <a:pt x="173509" y="389571"/>
                </a:cubicBezTo>
                <a:cubicBezTo>
                  <a:pt x="176254" y="390785"/>
                  <a:pt x="178988" y="392017"/>
                  <a:pt x="181711" y="393270"/>
                </a:cubicBezTo>
                <a:cubicBezTo>
                  <a:pt x="182964" y="393833"/>
                  <a:pt x="184216" y="394396"/>
                  <a:pt x="185507" y="394976"/>
                </a:cubicBezTo>
                <a:cubicBezTo>
                  <a:pt x="187897" y="396058"/>
                  <a:pt x="190281" y="397151"/>
                  <a:pt x="192658" y="398257"/>
                </a:cubicBezTo>
                <a:cubicBezTo>
                  <a:pt x="193749" y="398762"/>
                  <a:pt x="194841" y="399267"/>
                  <a:pt x="195966" y="399788"/>
                </a:cubicBezTo>
                <a:cubicBezTo>
                  <a:pt x="196912" y="400231"/>
                  <a:pt x="197858" y="400674"/>
                  <a:pt x="198833" y="401131"/>
                </a:cubicBezTo>
                <a:cubicBezTo>
                  <a:pt x="201808" y="402326"/>
                  <a:pt x="204701" y="403032"/>
                  <a:pt x="207877" y="403663"/>
                </a:cubicBezTo>
                <a:cubicBezTo>
                  <a:pt x="207877" y="404593"/>
                  <a:pt x="207877" y="405523"/>
                  <a:pt x="207877" y="406481"/>
                </a:cubicBezTo>
                <a:cubicBezTo>
                  <a:pt x="221233" y="411377"/>
                  <a:pt x="234752" y="415503"/>
                  <a:pt x="248492" y="419428"/>
                </a:cubicBezTo>
                <a:cubicBezTo>
                  <a:pt x="250298" y="419947"/>
                  <a:pt x="252104" y="420466"/>
                  <a:pt x="253965" y="421000"/>
                </a:cubicBezTo>
                <a:cubicBezTo>
                  <a:pt x="258388" y="422270"/>
                  <a:pt x="262812" y="423537"/>
                  <a:pt x="267237" y="424801"/>
                </a:cubicBezTo>
                <a:lnTo>
                  <a:pt x="267237" y="426451"/>
                </a:lnTo>
                <a:lnTo>
                  <a:pt x="288701" y="429217"/>
                </a:lnTo>
                <a:cubicBezTo>
                  <a:pt x="288701" y="430147"/>
                  <a:pt x="288701" y="431078"/>
                  <a:pt x="288701" y="432036"/>
                </a:cubicBezTo>
                <a:cubicBezTo>
                  <a:pt x="301487" y="433472"/>
                  <a:pt x="314148" y="433662"/>
                  <a:pt x="327010" y="433628"/>
                </a:cubicBezTo>
                <a:cubicBezTo>
                  <a:pt x="330502" y="433621"/>
                  <a:pt x="333994" y="433628"/>
                  <a:pt x="337486" y="433637"/>
                </a:cubicBezTo>
                <a:cubicBezTo>
                  <a:pt x="339734" y="433637"/>
                  <a:pt x="341982" y="433635"/>
                  <a:pt x="344229" y="433632"/>
                </a:cubicBezTo>
                <a:cubicBezTo>
                  <a:pt x="347246" y="433630"/>
                  <a:pt x="347246" y="433630"/>
                  <a:pt x="350323" y="433627"/>
                </a:cubicBezTo>
                <a:cubicBezTo>
                  <a:pt x="355445" y="433459"/>
                  <a:pt x="360220" y="432915"/>
                  <a:pt x="365245" y="432036"/>
                </a:cubicBezTo>
                <a:lnTo>
                  <a:pt x="360797" y="433759"/>
                </a:lnTo>
                <a:lnTo>
                  <a:pt x="365650" y="433257"/>
                </a:lnTo>
                <a:cubicBezTo>
                  <a:pt x="366166" y="431861"/>
                  <a:pt x="366682" y="430466"/>
                  <a:pt x="367213" y="429029"/>
                </a:cubicBezTo>
                <a:cubicBezTo>
                  <a:pt x="369854" y="427628"/>
                  <a:pt x="372501" y="426234"/>
                  <a:pt x="375188" y="424906"/>
                </a:cubicBezTo>
                <a:cubicBezTo>
                  <a:pt x="390245" y="417204"/>
                  <a:pt x="397438" y="403183"/>
                  <a:pt x="404704" y="389571"/>
                </a:cubicBezTo>
                <a:cubicBezTo>
                  <a:pt x="405219" y="389105"/>
                  <a:pt x="405734" y="388641"/>
                  <a:pt x="406265" y="388161"/>
                </a:cubicBezTo>
                <a:cubicBezTo>
                  <a:pt x="406663" y="382152"/>
                  <a:pt x="406555" y="376125"/>
                  <a:pt x="406559" y="370106"/>
                </a:cubicBezTo>
                <a:cubicBezTo>
                  <a:pt x="406578" y="368412"/>
                  <a:pt x="406597" y="366718"/>
                  <a:pt x="406617" y="364973"/>
                </a:cubicBezTo>
                <a:cubicBezTo>
                  <a:pt x="406620" y="363344"/>
                  <a:pt x="406622" y="361715"/>
                  <a:pt x="406626" y="360038"/>
                </a:cubicBezTo>
                <a:cubicBezTo>
                  <a:pt x="406632" y="358541"/>
                  <a:pt x="406638" y="357045"/>
                  <a:pt x="406645" y="355503"/>
                </a:cubicBezTo>
                <a:cubicBezTo>
                  <a:pt x="406264" y="351503"/>
                  <a:pt x="405326" y="349318"/>
                  <a:pt x="403142" y="345885"/>
                </a:cubicBezTo>
                <a:cubicBezTo>
                  <a:pt x="402583" y="343484"/>
                  <a:pt x="402067" y="341075"/>
                  <a:pt x="401579" y="338663"/>
                </a:cubicBezTo>
                <a:cubicBezTo>
                  <a:pt x="399365" y="330323"/>
                  <a:pt x="395538" y="323370"/>
                  <a:pt x="390938" y="315939"/>
                </a:cubicBezTo>
                <a:cubicBezTo>
                  <a:pt x="390290" y="314890"/>
                  <a:pt x="389642" y="313842"/>
                  <a:pt x="388976" y="312762"/>
                </a:cubicBezTo>
                <a:cubicBezTo>
                  <a:pt x="385623" y="307500"/>
                  <a:pt x="382070" y="302607"/>
                  <a:pt x="377934" y="297817"/>
                </a:cubicBezTo>
                <a:cubicBezTo>
                  <a:pt x="373788" y="292978"/>
                  <a:pt x="371423" y="288111"/>
                  <a:pt x="368775" y="282470"/>
                </a:cubicBezTo>
                <a:cubicBezTo>
                  <a:pt x="366035" y="278585"/>
                  <a:pt x="362994" y="274937"/>
                  <a:pt x="359890" y="271284"/>
                </a:cubicBezTo>
                <a:cubicBezTo>
                  <a:pt x="359059" y="270296"/>
                  <a:pt x="358230" y="269307"/>
                  <a:pt x="357374" y="268288"/>
                </a:cubicBezTo>
                <a:cubicBezTo>
                  <a:pt x="351312" y="261177"/>
                  <a:pt x="344882" y="254704"/>
                  <a:pt x="337533" y="248649"/>
                </a:cubicBezTo>
                <a:cubicBezTo>
                  <a:pt x="336767" y="247896"/>
                  <a:pt x="336002" y="247144"/>
                  <a:pt x="335214" y="246369"/>
                </a:cubicBezTo>
                <a:cubicBezTo>
                  <a:pt x="332597" y="243963"/>
                  <a:pt x="332597" y="243963"/>
                  <a:pt x="327085" y="242571"/>
                </a:cubicBezTo>
                <a:cubicBezTo>
                  <a:pt x="309670" y="236923"/>
                  <a:pt x="296614" y="222751"/>
                  <a:pt x="288785" y="207968"/>
                </a:cubicBezTo>
                <a:cubicBezTo>
                  <a:pt x="286673" y="202851"/>
                  <a:pt x="286348" y="197968"/>
                  <a:pt x="286373" y="192544"/>
                </a:cubicBezTo>
                <a:cubicBezTo>
                  <a:pt x="286377" y="191437"/>
                  <a:pt x="286381" y="190330"/>
                  <a:pt x="286385" y="189190"/>
                </a:cubicBezTo>
                <a:cubicBezTo>
                  <a:pt x="286881" y="178340"/>
                  <a:pt x="291581" y="171728"/>
                  <a:pt x="300042" y="164095"/>
                </a:cubicBezTo>
                <a:cubicBezTo>
                  <a:pt x="301386" y="162752"/>
                  <a:pt x="301386" y="162752"/>
                  <a:pt x="302757" y="161381"/>
                </a:cubicBezTo>
                <a:cubicBezTo>
                  <a:pt x="312597" y="152504"/>
                  <a:pt x="325185" y="152675"/>
                  <a:pt x="338411" y="152293"/>
                </a:cubicBezTo>
                <a:cubicBezTo>
                  <a:pt x="350839" y="152463"/>
                  <a:pt x="359094" y="154554"/>
                  <a:pt x="368482" y="161893"/>
                </a:cubicBezTo>
                <a:cubicBezTo>
                  <a:pt x="369609" y="163085"/>
                  <a:pt x="370737" y="164277"/>
                  <a:pt x="371899" y="165505"/>
                </a:cubicBezTo>
                <a:cubicBezTo>
                  <a:pt x="372962" y="166522"/>
                  <a:pt x="374026" y="167539"/>
                  <a:pt x="375121" y="168587"/>
                </a:cubicBezTo>
                <a:cubicBezTo>
                  <a:pt x="381050" y="176351"/>
                  <a:pt x="384520" y="184328"/>
                  <a:pt x="384982" y="193777"/>
                </a:cubicBezTo>
                <a:cubicBezTo>
                  <a:pt x="385464" y="201192"/>
                  <a:pt x="387638" y="207607"/>
                  <a:pt x="390352" y="214563"/>
                </a:cubicBezTo>
                <a:cubicBezTo>
                  <a:pt x="390934" y="216079"/>
                  <a:pt x="390934" y="216079"/>
                  <a:pt x="391529" y="217626"/>
                </a:cubicBezTo>
                <a:cubicBezTo>
                  <a:pt x="394082" y="223926"/>
                  <a:pt x="397412" y="228969"/>
                  <a:pt x="401579" y="234556"/>
                </a:cubicBezTo>
                <a:cubicBezTo>
                  <a:pt x="401579" y="235952"/>
                  <a:pt x="401579" y="237347"/>
                  <a:pt x="401579" y="238784"/>
                </a:cubicBezTo>
                <a:cubicBezTo>
                  <a:pt x="402884" y="239263"/>
                  <a:pt x="402884" y="239263"/>
                  <a:pt x="404215" y="239753"/>
                </a:cubicBezTo>
                <a:cubicBezTo>
                  <a:pt x="410099" y="242765"/>
                  <a:pt x="414395" y="246733"/>
                  <a:pt x="417811" y="251996"/>
                </a:cubicBezTo>
                <a:cubicBezTo>
                  <a:pt x="420462" y="255897"/>
                  <a:pt x="423407" y="258959"/>
                  <a:pt x="426866" y="262300"/>
                </a:cubicBezTo>
                <a:cubicBezTo>
                  <a:pt x="435101" y="270407"/>
                  <a:pt x="442641" y="278936"/>
                  <a:pt x="450097" y="287628"/>
                </a:cubicBezTo>
                <a:cubicBezTo>
                  <a:pt x="453081" y="291117"/>
                  <a:pt x="453081" y="291117"/>
                  <a:pt x="457425" y="293920"/>
                </a:cubicBezTo>
                <a:cubicBezTo>
                  <a:pt x="458585" y="294792"/>
                  <a:pt x="459745" y="295664"/>
                  <a:pt x="460940" y="296562"/>
                </a:cubicBezTo>
                <a:cubicBezTo>
                  <a:pt x="460940" y="297957"/>
                  <a:pt x="460940" y="299352"/>
                  <a:pt x="460940" y="300790"/>
                </a:cubicBezTo>
                <a:cubicBezTo>
                  <a:pt x="465063" y="302782"/>
                  <a:pt x="468862" y="304133"/>
                  <a:pt x="473437" y="305018"/>
                </a:cubicBezTo>
                <a:cubicBezTo>
                  <a:pt x="473437" y="305947"/>
                  <a:pt x="473437" y="306877"/>
                  <a:pt x="473437" y="307836"/>
                </a:cubicBezTo>
                <a:cubicBezTo>
                  <a:pt x="475581" y="308519"/>
                  <a:pt x="477730" y="309193"/>
                  <a:pt x="479881" y="309862"/>
                </a:cubicBezTo>
                <a:cubicBezTo>
                  <a:pt x="481077" y="310237"/>
                  <a:pt x="482273" y="310614"/>
                  <a:pt x="483505" y="311001"/>
                </a:cubicBezTo>
                <a:cubicBezTo>
                  <a:pt x="505448" y="316843"/>
                  <a:pt x="527690" y="314359"/>
                  <a:pt x="548419" y="306427"/>
                </a:cubicBezTo>
                <a:cubicBezTo>
                  <a:pt x="549548" y="305998"/>
                  <a:pt x="550678" y="305569"/>
                  <a:pt x="551842" y="305127"/>
                </a:cubicBezTo>
                <a:cubicBezTo>
                  <a:pt x="555376" y="303227"/>
                  <a:pt x="557584" y="300980"/>
                  <a:pt x="560232" y="298148"/>
                </a:cubicBezTo>
                <a:cubicBezTo>
                  <a:pt x="561137" y="297192"/>
                  <a:pt x="562041" y="296236"/>
                  <a:pt x="562972" y="295252"/>
                </a:cubicBezTo>
                <a:cubicBezTo>
                  <a:pt x="564755" y="293274"/>
                  <a:pt x="566459" y="291237"/>
                  <a:pt x="568086" y="289152"/>
                </a:cubicBezTo>
                <a:cubicBezTo>
                  <a:pt x="568813" y="288342"/>
                  <a:pt x="569539" y="287532"/>
                  <a:pt x="570289" y="286697"/>
                </a:cubicBezTo>
                <a:cubicBezTo>
                  <a:pt x="571319" y="286697"/>
                  <a:pt x="572350" y="286697"/>
                  <a:pt x="573413" y="286697"/>
                </a:cubicBezTo>
                <a:cubicBezTo>
                  <a:pt x="577408" y="276984"/>
                  <a:pt x="577197" y="267284"/>
                  <a:pt x="577220" y="257016"/>
                </a:cubicBezTo>
                <a:cubicBezTo>
                  <a:pt x="577227" y="255625"/>
                  <a:pt x="577227" y="255625"/>
                  <a:pt x="577235" y="254206"/>
                </a:cubicBezTo>
                <a:cubicBezTo>
                  <a:pt x="577257" y="237553"/>
                  <a:pt x="574604" y="222055"/>
                  <a:pt x="569443" y="206049"/>
                </a:cubicBezTo>
                <a:cubicBezTo>
                  <a:pt x="568726" y="203553"/>
                  <a:pt x="568726" y="203553"/>
                  <a:pt x="568726" y="200735"/>
                </a:cubicBezTo>
                <a:cubicBezTo>
                  <a:pt x="567695" y="200735"/>
                  <a:pt x="566664" y="200735"/>
                  <a:pt x="565602" y="200735"/>
                </a:cubicBezTo>
                <a:cubicBezTo>
                  <a:pt x="563274" y="195295"/>
                  <a:pt x="561092" y="190108"/>
                  <a:pt x="559549" y="184441"/>
                </a:cubicBezTo>
                <a:cubicBezTo>
                  <a:pt x="555572" y="173477"/>
                  <a:pt x="547043" y="167105"/>
                  <a:pt x="537484" y="159867"/>
                </a:cubicBezTo>
                <a:cubicBezTo>
                  <a:pt x="533579" y="156609"/>
                  <a:pt x="533579" y="156609"/>
                  <a:pt x="531235" y="154230"/>
                </a:cubicBezTo>
                <a:cubicBezTo>
                  <a:pt x="531235" y="153301"/>
                  <a:pt x="531235" y="152371"/>
                  <a:pt x="531235" y="151412"/>
                </a:cubicBezTo>
                <a:cubicBezTo>
                  <a:pt x="529689" y="150947"/>
                  <a:pt x="528143" y="150482"/>
                  <a:pt x="526549" y="150003"/>
                </a:cubicBezTo>
                <a:cubicBezTo>
                  <a:pt x="519904" y="137298"/>
                  <a:pt x="519105" y="120357"/>
                  <a:pt x="524304" y="107198"/>
                </a:cubicBezTo>
                <a:cubicBezTo>
                  <a:pt x="529443" y="97376"/>
                  <a:pt x="535781" y="90193"/>
                  <a:pt x="547052" y="85972"/>
                </a:cubicBezTo>
                <a:cubicBezTo>
                  <a:pt x="559924" y="81835"/>
                  <a:pt x="575221" y="79746"/>
                  <a:pt x="588460" y="83538"/>
                </a:cubicBezTo>
                <a:cubicBezTo>
                  <a:pt x="601643" y="89713"/>
                  <a:pt x="611835" y="99450"/>
                  <a:pt x="617152" y="111954"/>
                </a:cubicBezTo>
                <a:cubicBezTo>
                  <a:pt x="617935" y="116052"/>
                  <a:pt x="617954" y="120024"/>
                  <a:pt x="617884" y="124175"/>
                </a:cubicBezTo>
                <a:cubicBezTo>
                  <a:pt x="617896" y="125307"/>
                  <a:pt x="617906" y="126440"/>
                  <a:pt x="617917" y="127607"/>
                </a:cubicBezTo>
                <a:cubicBezTo>
                  <a:pt x="617963" y="132394"/>
                  <a:pt x="617938" y="137181"/>
                  <a:pt x="617919" y="141969"/>
                </a:cubicBezTo>
                <a:cubicBezTo>
                  <a:pt x="617899" y="160184"/>
                  <a:pt x="619422" y="175572"/>
                  <a:pt x="630625" y="191311"/>
                </a:cubicBezTo>
                <a:cubicBezTo>
                  <a:pt x="633753" y="195891"/>
                  <a:pt x="636431" y="199900"/>
                  <a:pt x="637850" y="205139"/>
                </a:cubicBezTo>
                <a:cubicBezTo>
                  <a:pt x="638615" y="209623"/>
                  <a:pt x="638615" y="209623"/>
                  <a:pt x="643708" y="212009"/>
                </a:cubicBezTo>
                <a:cubicBezTo>
                  <a:pt x="645380" y="214563"/>
                  <a:pt x="645380" y="214563"/>
                  <a:pt x="647027" y="217645"/>
                </a:cubicBezTo>
                <a:cubicBezTo>
                  <a:pt x="652549" y="227016"/>
                  <a:pt x="660443" y="235696"/>
                  <a:pt x="670264" y="241603"/>
                </a:cubicBezTo>
                <a:cubicBezTo>
                  <a:pt x="670264" y="242532"/>
                  <a:pt x="670264" y="243462"/>
                  <a:pt x="670264" y="244421"/>
                </a:cubicBezTo>
                <a:cubicBezTo>
                  <a:pt x="672036" y="244857"/>
                  <a:pt x="673808" y="245293"/>
                  <a:pt x="675634" y="245742"/>
                </a:cubicBezTo>
                <a:cubicBezTo>
                  <a:pt x="681199" y="247239"/>
                  <a:pt x="681199" y="247239"/>
                  <a:pt x="682761" y="248649"/>
                </a:cubicBezTo>
                <a:cubicBezTo>
                  <a:pt x="704487" y="252065"/>
                  <a:pt x="732606" y="256402"/>
                  <a:pt x="752092" y="245076"/>
                </a:cubicBezTo>
                <a:cubicBezTo>
                  <a:pt x="754252" y="243599"/>
                  <a:pt x="756372" y="242073"/>
                  <a:pt x="758433" y="240485"/>
                </a:cubicBezTo>
                <a:cubicBezTo>
                  <a:pt x="760867" y="238784"/>
                  <a:pt x="760867" y="238784"/>
                  <a:pt x="763991" y="238784"/>
                </a:cubicBezTo>
                <a:cubicBezTo>
                  <a:pt x="764647" y="237296"/>
                  <a:pt x="764647" y="237296"/>
                  <a:pt x="765315" y="235778"/>
                </a:cubicBezTo>
                <a:cubicBezTo>
                  <a:pt x="767151" y="231659"/>
                  <a:pt x="769030" y="227557"/>
                  <a:pt x="770923" y="223459"/>
                </a:cubicBezTo>
                <a:cubicBezTo>
                  <a:pt x="771608" y="221966"/>
                  <a:pt x="772292" y="220472"/>
                  <a:pt x="772998" y="218934"/>
                </a:cubicBezTo>
                <a:cubicBezTo>
                  <a:pt x="774429" y="215885"/>
                  <a:pt x="775968" y="212878"/>
                  <a:pt x="777562" y="209895"/>
                </a:cubicBezTo>
                <a:cubicBezTo>
                  <a:pt x="787607" y="185732"/>
                  <a:pt x="788559" y="149501"/>
                  <a:pt x="781175" y="124637"/>
                </a:cubicBezTo>
                <a:cubicBezTo>
                  <a:pt x="780144" y="124637"/>
                  <a:pt x="779113" y="124637"/>
                  <a:pt x="778051" y="124637"/>
                </a:cubicBezTo>
                <a:cubicBezTo>
                  <a:pt x="768501" y="110080"/>
                  <a:pt x="762898" y="96653"/>
                  <a:pt x="767116" y="79542"/>
                </a:cubicBezTo>
                <a:cubicBezTo>
                  <a:pt x="772286" y="69057"/>
                  <a:pt x="781456" y="58252"/>
                  <a:pt x="793379" y="54000"/>
                </a:cubicBezTo>
                <a:cubicBezTo>
                  <a:pt x="808369" y="49250"/>
                  <a:pt x="826058" y="49579"/>
                  <a:pt x="840688" y="55503"/>
                </a:cubicBezTo>
                <a:cubicBezTo>
                  <a:pt x="845183" y="57759"/>
                  <a:pt x="848037" y="60575"/>
                  <a:pt x="851470" y="64040"/>
                </a:cubicBezTo>
                <a:cubicBezTo>
                  <a:pt x="852721" y="65272"/>
                  <a:pt x="852721" y="65272"/>
                  <a:pt x="853997" y="66529"/>
                </a:cubicBezTo>
                <a:cubicBezTo>
                  <a:pt x="858396" y="71505"/>
                  <a:pt x="860490" y="76640"/>
                  <a:pt x="861488" y="82057"/>
                </a:cubicBezTo>
                <a:lnTo>
                  <a:pt x="861937" y="90492"/>
                </a:lnTo>
                <a:lnTo>
                  <a:pt x="863826" y="100715"/>
                </a:lnTo>
                <a:cubicBezTo>
                  <a:pt x="862141" y="107853"/>
                  <a:pt x="859866" y="114857"/>
                  <a:pt x="857577" y="121853"/>
                </a:cubicBezTo>
                <a:cubicBezTo>
                  <a:pt x="857062" y="121853"/>
                  <a:pt x="856547" y="121853"/>
                  <a:pt x="856015" y="121853"/>
                </a:cubicBezTo>
                <a:cubicBezTo>
                  <a:pt x="855731" y="120401"/>
                  <a:pt x="855731" y="120401"/>
                  <a:pt x="855442" y="118919"/>
                </a:cubicBezTo>
                <a:lnTo>
                  <a:pt x="855417" y="118798"/>
                </a:lnTo>
                <a:lnTo>
                  <a:pt x="856157" y="124637"/>
                </a:lnTo>
                <a:lnTo>
                  <a:pt x="850623" y="134701"/>
                </a:lnTo>
                <a:lnTo>
                  <a:pt x="851325" y="135968"/>
                </a:lnTo>
                <a:cubicBezTo>
                  <a:pt x="850851" y="137246"/>
                  <a:pt x="850376" y="138525"/>
                  <a:pt x="849886" y="139843"/>
                </a:cubicBezTo>
                <a:cubicBezTo>
                  <a:pt x="848171" y="144505"/>
                  <a:pt x="847798" y="148002"/>
                  <a:pt x="847786" y="152889"/>
                </a:cubicBezTo>
                <a:cubicBezTo>
                  <a:pt x="847779" y="154500"/>
                  <a:pt x="847773" y="156109"/>
                  <a:pt x="847767" y="157768"/>
                </a:cubicBezTo>
                <a:cubicBezTo>
                  <a:pt x="847782" y="159468"/>
                  <a:pt x="847796" y="161167"/>
                  <a:pt x="847810" y="162919"/>
                </a:cubicBezTo>
                <a:cubicBezTo>
                  <a:pt x="847821" y="165546"/>
                  <a:pt x="847821" y="165546"/>
                  <a:pt x="847832" y="168227"/>
                </a:cubicBezTo>
                <a:cubicBezTo>
                  <a:pt x="847980" y="181934"/>
                  <a:pt x="849003" y="195419"/>
                  <a:pt x="850903" y="209013"/>
                </a:cubicBezTo>
                <a:lnTo>
                  <a:pt x="852880" y="224692"/>
                </a:lnTo>
                <a:lnTo>
                  <a:pt x="854595" y="224692"/>
                </a:lnTo>
                <a:cubicBezTo>
                  <a:pt x="855086" y="225542"/>
                  <a:pt x="855577" y="226392"/>
                  <a:pt x="856083" y="227268"/>
                </a:cubicBezTo>
                <a:cubicBezTo>
                  <a:pt x="862358" y="237839"/>
                  <a:pt x="866924" y="242785"/>
                  <a:pt x="879588" y="247239"/>
                </a:cubicBezTo>
                <a:cubicBezTo>
                  <a:pt x="881642" y="248025"/>
                  <a:pt x="883692" y="248817"/>
                  <a:pt x="885739" y="249618"/>
                </a:cubicBezTo>
                <a:cubicBezTo>
                  <a:pt x="887318" y="250227"/>
                  <a:pt x="888897" y="250838"/>
                  <a:pt x="890523" y="251467"/>
                </a:cubicBezTo>
                <a:cubicBezTo>
                  <a:pt x="890523" y="252397"/>
                  <a:pt x="890523" y="253327"/>
                  <a:pt x="890523" y="254285"/>
                </a:cubicBezTo>
                <a:cubicBezTo>
                  <a:pt x="900347" y="257061"/>
                  <a:pt x="910127" y="259425"/>
                  <a:pt x="920203" y="261332"/>
                </a:cubicBezTo>
                <a:cubicBezTo>
                  <a:pt x="920203" y="261796"/>
                  <a:pt x="920203" y="262262"/>
                  <a:pt x="920203" y="262741"/>
                </a:cubicBezTo>
                <a:cubicBezTo>
                  <a:pt x="917111" y="262741"/>
                  <a:pt x="914018" y="262741"/>
                  <a:pt x="910831" y="262741"/>
                </a:cubicBezTo>
                <a:lnTo>
                  <a:pt x="910831" y="262864"/>
                </a:lnTo>
                <a:lnTo>
                  <a:pt x="927993" y="264177"/>
                </a:lnTo>
                <a:lnTo>
                  <a:pt x="939273" y="265285"/>
                </a:lnTo>
                <a:lnTo>
                  <a:pt x="940456" y="265191"/>
                </a:lnTo>
                <a:cubicBezTo>
                  <a:pt x="962552" y="263054"/>
                  <a:pt x="974979" y="255295"/>
                  <a:pt x="991622" y="242329"/>
                </a:cubicBezTo>
                <a:lnTo>
                  <a:pt x="1000803" y="236505"/>
                </a:lnTo>
                <a:lnTo>
                  <a:pt x="999806" y="236055"/>
                </a:lnTo>
                <a:cubicBezTo>
                  <a:pt x="1000902" y="234997"/>
                  <a:pt x="1001997" y="233941"/>
                  <a:pt x="1003126" y="232851"/>
                </a:cubicBezTo>
                <a:cubicBezTo>
                  <a:pt x="1012364" y="223880"/>
                  <a:pt x="1021184" y="214752"/>
                  <a:pt x="1029487" y="205052"/>
                </a:cubicBezTo>
                <a:lnTo>
                  <a:pt x="1029872" y="206442"/>
                </a:lnTo>
                <a:lnTo>
                  <a:pt x="1031614" y="203719"/>
                </a:lnTo>
                <a:cubicBezTo>
                  <a:pt x="1033221" y="199204"/>
                  <a:pt x="1035713" y="196017"/>
                  <a:pt x="1038924" y="192280"/>
                </a:cubicBezTo>
                <a:cubicBezTo>
                  <a:pt x="1039956" y="191815"/>
                  <a:pt x="1040987" y="191349"/>
                  <a:pt x="1042049" y="190870"/>
                </a:cubicBezTo>
                <a:cubicBezTo>
                  <a:pt x="1043161" y="188473"/>
                  <a:pt x="1043161" y="188473"/>
                  <a:pt x="1044294" y="186026"/>
                </a:cubicBezTo>
                <a:cubicBezTo>
                  <a:pt x="1046735" y="181006"/>
                  <a:pt x="1046735" y="181006"/>
                  <a:pt x="1051422" y="178188"/>
                </a:cubicBezTo>
                <a:cubicBezTo>
                  <a:pt x="1052553" y="175286"/>
                  <a:pt x="1052553" y="175286"/>
                  <a:pt x="1052984" y="172551"/>
                </a:cubicBezTo>
                <a:cubicBezTo>
                  <a:pt x="1054014" y="172551"/>
                  <a:pt x="1055046" y="172551"/>
                  <a:pt x="1056108" y="172551"/>
                </a:cubicBezTo>
                <a:cubicBezTo>
                  <a:pt x="1057139" y="169295"/>
                  <a:pt x="1058170" y="166040"/>
                  <a:pt x="1059232" y="162686"/>
                </a:cubicBezTo>
                <a:cubicBezTo>
                  <a:pt x="1060263" y="162686"/>
                  <a:pt x="1061295" y="162686"/>
                  <a:pt x="1062357" y="162686"/>
                </a:cubicBezTo>
                <a:cubicBezTo>
                  <a:pt x="1062755" y="161484"/>
                  <a:pt x="1062755" y="161484"/>
                  <a:pt x="1063162" y="160258"/>
                </a:cubicBezTo>
                <a:cubicBezTo>
                  <a:pt x="1065716" y="152917"/>
                  <a:pt x="1068813" y="146686"/>
                  <a:pt x="1073292" y="140138"/>
                </a:cubicBezTo>
                <a:cubicBezTo>
                  <a:pt x="1074322" y="140138"/>
                  <a:pt x="1075353" y="140138"/>
                  <a:pt x="1076415" y="140138"/>
                </a:cubicBezTo>
                <a:cubicBezTo>
                  <a:pt x="1079808" y="132748"/>
                  <a:pt x="1082509" y="125160"/>
                  <a:pt x="1085294" y="117569"/>
                </a:cubicBezTo>
                <a:cubicBezTo>
                  <a:pt x="1085972" y="116181"/>
                  <a:pt x="1086651" y="114793"/>
                  <a:pt x="1087350" y="113363"/>
                </a:cubicBezTo>
                <a:cubicBezTo>
                  <a:pt x="1089671" y="112666"/>
                  <a:pt x="1089671" y="112666"/>
                  <a:pt x="1092037" y="111954"/>
                </a:cubicBezTo>
                <a:cubicBezTo>
                  <a:pt x="1092230" y="110879"/>
                  <a:pt x="1092423" y="109803"/>
                  <a:pt x="1092623" y="108695"/>
                </a:cubicBezTo>
                <a:cubicBezTo>
                  <a:pt x="1093599" y="104908"/>
                  <a:pt x="1093599" y="104908"/>
                  <a:pt x="1096723" y="100680"/>
                </a:cubicBezTo>
                <a:cubicBezTo>
                  <a:pt x="1097207" y="99140"/>
                  <a:pt x="1097689" y="97599"/>
                  <a:pt x="1098188" y="96013"/>
                </a:cubicBezTo>
                <a:cubicBezTo>
                  <a:pt x="1099847" y="90815"/>
                  <a:pt x="1099847" y="90815"/>
                  <a:pt x="1102288" y="87029"/>
                </a:cubicBezTo>
                <a:cubicBezTo>
                  <a:pt x="1106061" y="79186"/>
                  <a:pt x="1107564" y="69424"/>
                  <a:pt x="1104534" y="61222"/>
                </a:cubicBezTo>
                <a:cubicBezTo>
                  <a:pt x="1104409" y="59341"/>
                  <a:pt x="1104366" y="57454"/>
                  <a:pt x="1104381" y="55569"/>
                </a:cubicBezTo>
                <a:cubicBezTo>
                  <a:pt x="1104386" y="54501"/>
                  <a:pt x="1104391" y="53434"/>
                  <a:pt x="1104397" y="52335"/>
                </a:cubicBezTo>
                <a:cubicBezTo>
                  <a:pt x="1104410" y="51228"/>
                  <a:pt x="1104423" y="50120"/>
                  <a:pt x="1104436" y="48979"/>
                </a:cubicBezTo>
                <a:cubicBezTo>
                  <a:pt x="1104443" y="47856"/>
                  <a:pt x="1104451" y="46733"/>
                  <a:pt x="1104457" y="45575"/>
                </a:cubicBezTo>
                <a:cubicBezTo>
                  <a:pt x="1104476" y="42805"/>
                  <a:pt x="1104504" y="40035"/>
                  <a:pt x="1104534" y="37265"/>
                </a:cubicBezTo>
                <a:cubicBezTo>
                  <a:pt x="1105565" y="37265"/>
                  <a:pt x="1106596" y="37265"/>
                  <a:pt x="1107658" y="37265"/>
                </a:cubicBezTo>
                <a:cubicBezTo>
                  <a:pt x="1107561" y="34562"/>
                  <a:pt x="1107561" y="34562"/>
                  <a:pt x="1107463" y="31805"/>
                </a:cubicBezTo>
                <a:cubicBezTo>
                  <a:pt x="1107353" y="28733"/>
                  <a:pt x="1107353" y="28733"/>
                  <a:pt x="1107658" y="25991"/>
                </a:cubicBezTo>
                <a:cubicBezTo>
                  <a:pt x="1108689" y="25062"/>
                  <a:pt x="1109720" y="24131"/>
                  <a:pt x="1110782" y="23173"/>
                </a:cubicBezTo>
                <a:cubicBezTo>
                  <a:pt x="1111104" y="22156"/>
                  <a:pt x="1111427" y="21138"/>
                  <a:pt x="1111759" y="20091"/>
                </a:cubicBezTo>
                <a:cubicBezTo>
                  <a:pt x="1116393" y="11539"/>
                  <a:pt x="1124927" y="6390"/>
                  <a:pt x="1134507" y="2828"/>
                </a:cubicBezTo>
                <a:cubicBezTo>
                  <a:pt x="1141389" y="825"/>
                  <a:pt x="1148262" y="-204"/>
                  <a:pt x="1155019" y="35"/>
                </a:cubicBezTo>
                <a:close/>
              </a:path>
            </a:pathLst>
          </a:custGeom>
          <a:solidFill>
            <a:srgbClr val="496471"/>
          </a:solidFill>
          <a:ln w="2232" cap="flat">
            <a:noFill/>
            <a:prstDash val="solid"/>
            <a:miter/>
          </a:ln>
          <a:effectLst>
            <a:innerShdw blurRad="63500" dist="101600" dir="8100000">
              <a:schemeClr val="accent3">
                <a:lumMod val="75000"/>
                <a:alpha val="50000"/>
              </a:schemeClr>
            </a:innerShdw>
          </a:effectLst>
        </p:spPr>
        <p:txBody>
          <a:bodyPr wrap="square">
            <a:noAutofit/>
          </a:bodyPr>
          <a:lstStyle/>
          <a:p>
            <a:endParaRPr lang="en-GB" dirty="0"/>
          </a:p>
        </p:txBody>
      </p:sp>
      <p:sp>
        <p:nvSpPr>
          <p:cNvPr id="7403" name="Oval 7402">
            <a:extLst>
              <a:ext uri="{FF2B5EF4-FFF2-40B4-BE49-F238E27FC236}">
                <a16:creationId xmlns:a16="http://schemas.microsoft.com/office/drawing/2014/main" id="{E8965F65-2A32-87E7-4DF9-AA9A237A07E3}"/>
              </a:ext>
            </a:extLst>
          </p:cNvPr>
          <p:cNvSpPr/>
          <p:nvPr/>
        </p:nvSpPr>
        <p:spPr>
          <a:xfrm>
            <a:off x="6810305" y="6071341"/>
            <a:ext cx="1045916" cy="260032"/>
          </a:xfrm>
          <a:prstGeom prst="ellipse">
            <a:avLst/>
          </a:prstGeom>
          <a:solidFill>
            <a:schemeClr val="tx1">
              <a:alpha val="33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7404" name="Oval 7403">
            <a:extLst>
              <a:ext uri="{FF2B5EF4-FFF2-40B4-BE49-F238E27FC236}">
                <a16:creationId xmlns:a16="http://schemas.microsoft.com/office/drawing/2014/main" id="{2C3AD0C9-1D1F-C43D-F697-6913BA6CEF4C}"/>
              </a:ext>
            </a:extLst>
          </p:cNvPr>
          <p:cNvSpPr/>
          <p:nvPr/>
        </p:nvSpPr>
        <p:spPr>
          <a:xfrm>
            <a:off x="8001000" y="5576993"/>
            <a:ext cx="828377" cy="192722"/>
          </a:xfrm>
          <a:prstGeom prst="ellipse">
            <a:avLst/>
          </a:prstGeom>
          <a:solidFill>
            <a:schemeClr val="tx1">
              <a:alpha val="33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7396" name="Free-form: Shape 7395">
            <a:extLst>
              <a:ext uri="{FF2B5EF4-FFF2-40B4-BE49-F238E27FC236}">
                <a16:creationId xmlns:a16="http://schemas.microsoft.com/office/drawing/2014/main" id="{EEA04024-51DA-662E-5506-B5D2DAAE29F3}"/>
              </a:ext>
            </a:extLst>
          </p:cNvPr>
          <p:cNvSpPr/>
          <p:nvPr/>
        </p:nvSpPr>
        <p:spPr>
          <a:xfrm>
            <a:off x="7802379" y="4623018"/>
            <a:ext cx="1122546" cy="1073107"/>
          </a:xfrm>
          <a:custGeom>
            <a:avLst/>
            <a:gdLst>
              <a:gd name="csX0" fmla="*/ 401579 w 1609516"/>
              <a:gd name="csY0" fmla="*/ 1495809 h 1538630"/>
              <a:gd name="csX1" fmla="*/ 400190 w 1609516"/>
              <a:gd name="csY1" fmla="*/ 1496004 h 1538630"/>
              <a:gd name="csX2" fmla="*/ 401224 w 1609516"/>
              <a:gd name="csY2" fmla="*/ 1496470 h 1538630"/>
              <a:gd name="csX3" fmla="*/ 401224 w 1609516"/>
              <a:gd name="csY3" fmla="*/ 1498590 h 1538630"/>
              <a:gd name="csX4" fmla="*/ 401579 w 1609516"/>
              <a:gd name="csY4" fmla="*/ 1498628 h 1538630"/>
              <a:gd name="csX5" fmla="*/ 401579 w 1609516"/>
              <a:gd name="csY5" fmla="*/ 1495809 h 1538630"/>
              <a:gd name="csX6" fmla="*/ 368755 w 1609516"/>
              <a:gd name="csY6" fmla="*/ 1486512 h 1538630"/>
              <a:gd name="csX7" fmla="*/ 364089 w 1609516"/>
              <a:gd name="csY7" fmla="*/ 1487354 h 1538630"/>
              <a:gd name="csX8" fmla="*/ 364089 w 1609516"/>
              <a:gd name="csY8" fmla="*/ 1487908 h 1538630"/>
              <a:gd name="csX9" fmla="*/ 1049801 w 1609516"/>
              <a:gd name="csY9" fmla="*/ 1484562 h 1538630"/>
              <a:gd name="csX10" fmla="*/ 1046735 w 1609516"/>
              <a:gd name="csY10" fmla="*/ 1485945 h 1538630"/>
              <a:gd name="csX11" fmla="*/ 1046955 w 1609516"/>
              <a:gd name="csY11" fmla="*/ 1486045 h 1538630"/>
              <a:gd name="csX12" fmla="*/ 1049801 w 1609516"/>
              <a:gd name="csY12" fmla="*/ 1485188 h 1538630"/>
              <a:gd name="csX13" fmla="*/ 351234 w 1609516"/>
              <a:gd name="csY13" fmla="*/ 1444508 h 1538630"/>
              <a:gd name="csX14" fmla="*/ 351234 w 1609516"/>
              <a:gd name="csY14" fmla="*/ 1444997 h 1538630"/>
              <a:gd name="csX15" fmla="*/ 351592 w 1609516"/>
              <a:gd name="csY15" fmla="*/ 1445078 h 1538630"/>
              <a:gd name="csX16" fmla="*/ 351908 w 1609516"/>
              <a:gd name="csY16" fmla="*/ 1431206 h 1538630"/>
              <a:gd name="csX17" fmla="*/ 351234 w 1609516"/>
              <a:gd name="csY17" fmla="*/ 1431611 h 1538630"/>
              <a:gd name="csX18" fmla="*/ 351234 w 1609516"/>
              <a:gd name="csY18" fmla="*/ 1432274 h 1538630"/>
              <a:gd name="csX19" fmla="*/ 358162 w 1609516"/>
              <a:gd name="csY19" fmla="*/ 1421494 h 1538630"/>
              <a:gd name="csX20" fmla="*/ 355921 w 1609516"/>
              <a:gd name="csY20" fmla="*/ 1423156 h 1538630"/>
              <a:gd name="csX21" fmla="*/ 355921 w 1609516"/>
              <a:gd name="csY21" fmla="*/ 1423548 h 1538630"/>
              <a:gd name="csX22" fmla="*/ 376098 w 1609516"/>
              <a:gd name="csY22" fmla="*/ 1408347 h 1538630"/>
              <a:gd name="csX23" fmla="*/ 370750 w 1609516"/>
              <a:gd name="csY23" fmla="*/ 1412245 h 1538630"/>
              <a:gd name="csX24" fmla="*/ 375023 w 1609516"/>
              <a:gd name="csY24" fmla="*/ 1411256 h 1538630"/>
              <a:gd name="csX25" fmla="*/ 421956 w 1609516"/>
              <a:gd name="csY25" fmla="*/ 1365623 h 1538630"/>
              <a:gd name="csX26" fmla="*/ 421765 w 1609516"/>
              <a:gd name="csY26" fmla="*/ 1366161 h 1538630"/>
              <a:gd name="csX27" fmla="*/ 421887 w 1609516"/>
              <a:gd name="csY27" fmla="*/ 1366161 h 1538630"/>
              <a:gd name="csX28" fmla="*/ 754553 w 1609516"/>
              <a:gd name="csY28" fmla="*/ 1360575 h 1538630"/>
              <a:gd name="csX29" fmla="*/ 754089 w 1609516"/>
              <a:gd name="csY29" fmla="*/ 1361433 h 1538630"/>
              <a:gd name="csX30" fmla="*/ 754431 w 1609516"/>
              <a:gd name="csY30" fmla="*/ 1361125 h 1538630"/>
              <a:gd name="csX31" fmla="*/ 1277973 w 1609516"/>
              <a:gd name="csY31" fmla="*/ 1332923 h 1538630"/>
              <a:gd name="csX32" fmla="*/ 1277944 w 1609516"/>
              <a:gd name="csY32" fmla="*/ 1332936 h 1538630"/>
              <a:gd name="csX33" fmla="*/ 1277949 w 1609516"/>
              <a:gd name="csY33" fmla="*/ 1333139 h 1538630"/>
              <a:gd name="csX34" fmla="*/ 1268556 w 1609516"/>
              <a:gd name="csY34" fmla="*/ 1321066 h 1538630"/>
              <a:gd name="csX35" fmla="*/ 1268556 w 1609516"/>
              <a:gd name="csY35" fmla="*/ 1325294 h 1538630"/>
              <a:gd name="csX36" fmla="*/ 1265432 w 1609516"/>
              <a:gd name="csY36" fmla="*/ 1325294 h 1538630"/>
              <a:gd name="csX37" fmla="*/ 1265432 w 1609516"/>
              <a:gd name="csY37" fmla="*/ 1340795 h 1538630"/>
              <a:gd name="csX38" fmla="*/ 1265476 w 1609516"/>
              <a:gd name="csY38" fmla="*/ 1340714 h 1538630"/>
              <a:gd name="csX39" fmla="*/ 1265476 w 1609516"/>
              <a:gd name="csY39" fmla="*/ 1325877 h 1538630"/>
              <a:gd name="csX40" fmla="*/ 1268600 w 1609516"/>
              <a:gd name="csY40" fmla="*/ 1325877 h 1538630"/>
              <a:gd name="csX41" fmla="*/ 1268600 w 1609516"/>
              <a:gd name="csY41" fmla="*/ 1321649 h 1538630"/>
              <a:gd name="csX42" fmla="*/ 1273286 w 1609516"/>
              <a:gd name="csY42" fmla="*/ 1321649 h 1538630"/>
              <a:gd name="csX43" fmla="*/ 1273227 w 1609516"/>
              <a:gd name="csY43" fmla="*/ 1321066 h 1538630"/>
              <a:gd name="csX44" fmla="*/ 827891 w 1609516"/>
              <a:gd name="csY44" fmla="*/ 1291474 h 1538630"/>
              <a:gd name="csX45" fmla="*/ 822601 w 1609516"/>
              <a:gd name="csY45" fmla="*/ 1291544 h 1538630"/>
              <a:gd name="csX46" fmla="*/ 818272 w 1609516"/>
              <a:gd name="csY46" fmla="*/ 1292220 h 1538630"/>
              <a:gd name="csX47" fmla="*/ 827891 w 1609516"/>
              <a:gd name="csY47" fmla="*/ 1292047 h 1538630"/>
              <a:gd name="csX48" fmla="*/ 856397 w 1609516"/>
              <a:gd name="csY48" fmla="*/ 1288691 h 1538630"/>
              <a:gd name="csX49" fmla="*/ 865903 w 1609516"/>
              <a:gd name="csY49" fmla="*/ 1290590 h 1538630"/>
              <a:gd name="csX50" fmla="*/ 859999 w 1609516"/>
              <a:gd name="csY50" fmla="*/ 1288752 h 1538630"/>
              <a:gd name="csX51" fmla="*/ 834694 w 1609516"/>
              <a:gd name="csY51" fmla="*/ 1288572 h 1538630"/>
              <a:gd name="csX52" fmla="*/ 828038 w 1609516"/>
              <a:gd name="csY52" fmla="*/ 1288654 h 1538630"/>
              <a:gd name="csX53" fmla="*/ 828038 w 1609516"/>
              <a:gd name="csY53" fmla="*/ 1289214 h 1538630"/>
              <a:gd name="csX54" fmla="*/ 229746 w 1609516"/>
              <a:gd name="csY54" fmla="*/ 1191418 h 1538630"/>
              <a:gd name="csX55" fmla="*/ 227402 w 1609516"/>
              <a:gd name="csY55" fmla="*/ 1191947 h 1538630"/>
              <a:gd name="csX56" fmla="*/ 229315 w 1609516"/>
              <a:gd name="csY56" fmla="*/ 1191947 h 1538630"/>
              <a:gd name="csX57" fmla="*/ 229315 w 1609516"/>
              <a:gd name="csY57" fmla="*/ 1194765 h 1538630"/>
              <a:gd name="csX58" fmla="*/ 231321 w 1609516"/>
              <a:gd name="csY58" fmla="*/ 1194765 h 1538630"/>
              <a:gd name="csX59" fmla="*/ 229746 w 1609516"/>
              <a:gd name="csY59" fmla="*/ 1194236 h 1538630"/>
              <a:gd name="csX60" fmla="*/ 229746 w 1609516"/>
              <a:gd name="csY60" fmla="*/ 1191418 h 1538630"/>
              <a:gd name="csX61" fmla="*/ 215687 w 1609516"/>
              <a:gd name="csY61" fmla="*/ 1187190 h 1538630"/>
              <a:gd name="csX62" fmla="*/ 215198 w 1609516"/>
              <a:gd name="csY62" fmla="*/ 1187720 h 1538630"/>
              <a:gd name="csX63" fmla="*/ 215256 w 1609516"/>
              <a:gd name="csY63" fmla="*/ 1187720 h 1538630"/>
              <a:gd name="csX64" fmla="*/ 215256 w 1609516"/>
              <a:gd name="csY64" fmla="*/ 1191947 h 1538630"/>
              <a:gd name="csX65" fmla="*/ 222721 w 1609516"/>
              <a:gd name="csY65" fmla="*/ 1191947 h 1538630"/>
              <a:gd name="csX66" fmla="*/ 215687 w 1609516"/>
              <a:gd name="csY66" fmla="*/ 1191418 h 1538630"/>
              <a:gd name="csX67" fmla="*/ 215687 w 1609516"/>
              <a:gd name="csY67" fmla="*/ 1187190 h 1538630"/>
              <a:gd name="csX68" fmla="*/ 1279678 w 1609516"/>
              <a:gd name="csY68" fmla="*/ 1082356 h 1538630"/>
              <a:gd name="csX69" fmla="*/ 1271680 w 1609516"/>
              <a:gd name="csY69" fmla="*/ 1084589 h 1538630"/>
              <a:gd name="csX70" fmla="*/ 1282181 w 1609516"/>
              <a:gd name="csY70" fmla="*/ 1082544 h 1538630"/>
              <a:gd name="csX71" fmla="*/ 117703 w 1609516"/>
              <a:gd name="csY71" fmla="*/ 941507 h 1538630"/>
              <a:gd name="csX72" fmla="*/ 112587 w 1609516"/>
              <a:gd name="csY72" fmla="*/ 941985 h 1538630"/>
              <a:gd name="csX73" fmla="*/ 112565 w 1609516"/>
              <a:gd name="csY73" fmla="*/ 942333 h 1538630"/>
              <a:gd name="csX74" fmla="*/ 115665 w 1609516"/>
              <a:gd name="csY74" fmla="*/ 941837 h 1538630"/>
              <a:gd name="csX75" fmla="*/ 144268 w 1609516"/>
              <a:gd name="csY75" fmla="*/ 939395 h 1538630"/>
              <a:gd name="csX76" fmla="*/ 143354 w 1609516"/>
              <a:gd name="csY76" fmla="*/ 939580 h 1538630"/>
              <a:gd name="csX77" fmla="*/ 144077 w 1609516"/>
              <a:gd name="csY77" fmla="*/ 939739 h 1538630"/>
              <a:gd name="csX78" fmla="*/ 162575 w 1609516"/>
              <a:gd name="csY78" fmla="*/ 933530 h 1538630"/>
              <a:gd name="csX79" fmla="*/ 161704 w 1609516"/>
              <a:gd name="csY79" fmla="*/ 935101 h 1538630"/>
              <a:gd name="csX80" fmla="*/ 170045 w 1609516"/>
              <a:gd name="csY80" fmla="*/ 933585 h 1538630"/>
              <a:gd name="csX81" fmla="*/ 1321645 w 1609516"/>
              <a:gd name="csY81" fmla="*/ 918415 h 1538630"/>
              <a:gd name="csX82" fmla="*/ 1321534 w 1609516"/>
              <a:gd name="csY82" fmla="*/ 920177 h 1538630"/>
              <a:gd name="csX83" fmla="*/ 1321740 w 1609516"/>
              <a:gd name="csY83" fmla="*/ 918415 h 1538630"/>
              <a:gd name="csX84" fmla="*/ 1319333 w 1609516"/>
              <a:gd name="csY84" fmla="*/ 915183 h 1538630"/>
              <a:gd name="csX85" fmla="*/ 1318544 w 1609516"/>
              <a:gd name="csY85" fmla="*/ 918029 h 1538630"/>
              <a:gd name="csX86" fmla="*/ 1318702 w 1609516"/>
              <a:gd name="csY86" fmla="*/ 918029 h 1538630"/>
              <a:gd name="csX87" fmla="*/ 1326355 w 1609516"/>
              <a:gd name="csY87" fmla="*/ 907109 h 1538630"/>
              <a:gd name="csX88" fmla="*/ 1326355 w 1609516"/>
              <a:gd name="csY88" fmla="*/ 910983 h 1538630"/>
              <a:gd name="csX89" fmla="*/ 1325831 w 1609516"/>
              <a:gd name="csY89" fmla="*/ 911101 h 1538630"/>
              <a:gd name="csX90" fmla="*/ 1326426 w 1609516"/>
              <a:gd name="csY90" fmla="*/ 911369 h 1538630"/>
              <a:gd name="csX91" fmla="*/ 1326426 w 1609516"/>
              <a:gd name="csY91" fmla="*/ 907141 h 1538630"/>
              <a:gd name="csX92" fmla="*/ 1328144 w 1609516"/>
              <a:gd name="csY92" fmla="*/ 892192 h 1538630"/>
              <a:gd name="csX93" fmla="*/ 1327667 w 1609516"/>
              <a:gd name="csY93" fmla="*/ 893446 h 1538630"/>
              <a:gd name="csX94" fmla="*/ 1327989 w 1609516"/>
              <a:gd name="csY94" fmla="*/ 893049 h 1538630"/>
              <a:gd name="csX95" fmla="*/ 49605 w 1609516"/>
              <a:gd name="csY95" fmla="*/ 887420 h 1538630"/>
              <a:gd name="csX96" fmla="*/ 48549 w 1609516"/>
              <a:gd name="csY96" fmla="*/ 891229 h 1538630"/>
              <a:gd name="csX97" fmla="*/ 49956 w 1609516"/>
              <a:gd name="csY97" fmla="*/ 887420 h 1538630"/>
              <a:gd name="csX98" fmla="*/ 1332266 w 1609516"/>
              <a:gd name="csY98" fmla="*/ 883369 h 1538630"/>
              <a:gd name="csX99" fmla="*/ 1329479 w 1609516"/>
              <a:gd name="csY99" fmla="*/ 884207 h 1538630"/>
              <a:gd name="csX100" fmla="*/ 1329509 w 1609516"/>
              <a:gd name="csY100" fmla="*/ 884816 h 1538630"/>
              <a:gd name="csX101" fmla="*/ 1329551 w 1609516"/>
              <a:gd name="csY101" fmla="*/ 884594 h 1538630"/>
              <a:gd name="csX102" fmla="*/ 1555987 w 1609516"/>
              <a:gd name="csY102" fmla="*/ 821766 h 1538630"/>
              <a:gd name="csX103" fmla="*/ 1555987 w 1609516"/>
              <a:gd name="csY103" fmla="*/ 822201 h 1538630"/>
              <a:gd name="csX104" fmla="*/ 1556081 w 1609516"/>
              <a:gd name="csY104" fmla="*/ 822189 h 1538630"/>
              <a:gd name="csX105" fmla="*/ 1565360 w 1609516"/>
              <a:gd name="csY105" fmla="*/ 810928 h 1538630"/>
              <a:gd name="csX106" fmla="*/ 1564871 w 1609516"/>
              <a:gd name="csY106" fmla="*/ 811809 h 1538630"/>
              <a:gd name="csX107" fmla="*/ 1567314 w 1609516"/>
              <a:gd name="csY107" fmla="*/ 810928 h 1538630"/>
              <a:gd name="csX108" fmla="*/ 1563797 w 1609516"/>
              <a:gd name="csY108" fmla="*/ 810928 h 1538630"/>
              <a:gd name="csX109" fmla="*/ 1556762 w 1609516"/>
              <a:gd name="csY109" fmla="*/ 814736 h 1538630"/>
              <a:gd name="csX110" fmla="*/ 1563797 w 1609516"/>
              <a:gd name="csY110" fmla="*/ 812197 h 1538630"/>
              <a:gd name="csX111" fmla="*/ 265833 w 1609516"/>
              <a:gd name="csY111" fmla="*/ 806020 h 1538630"/>
              <a:gd name="csX112" fmla="*/ 263704 w 1609516"/>
              <a:gd name="csY112" fmla="*/ 809861 h 1538630"/>
              <a:gd name="csX113" fmla="*/ 263704 w 1609516"/>
              <a:gd name="csY113" fmla="*/ 816750 h 1538630"/>
              <a:gd name="csX114" fmla="*/ 264113 w 1609516"/>
              <a:gd name="csY114" fmla="*/ 816565 h 1538630"/>
              <a:gd name="csX115" fmla="*/ 263918 w 1609516"/>
              <a:gd name="csY115" fmla="*/ 812777 h 1538630"/>
              <a:gd name="csX116" fmla="*/ 263774 w 1609516"/>
              <a:gd name="csY116" fmla="*/ 779374 h 1538630"/>
              <a:gd name="csX117" fmla="*/ 263704 w 1609516"/>
              <a:gd name="csY117" fmla="*/ 783086 h 1538630"/>
              <a:gd name="csX118" fmla="*/ 264484 w 1609516"/>
              <a:gd name="csY118" fmla="*/ 785816 h 1538630"/>
              <a:gd name="csX119" fmla="*/ 265265 w 1609516"/>
              <a:gd name="csY119" fmla="*/ 794448 h 1538630"/>
              <a:gd name="csX120" fmla="*/ 265217 w 1609516"/>
              <a:gd name="csY120" fmla="*/ 799730 h 1538630"/>
              <a:gd name="csX121" fmla="*/ 266556 w 1609516"/>
              <a:gd name="csY121" fmla="*/ 803466 h 1538630"/>
              <a:gd name="csX122" fmla="*/ 267237 w 1609516"/>
              <a:gd name="csY122" fmla="*/ 801063 h 1538630"/>
              <a:gd name="csX123" fmla="*/ 265675 w 1609516"/>
              <a:gd name="csY123" fmla="*/ 799654 h 1538630"/>
              <a:gd name="csX124" fmla="*/ 265675 w 1609516"/>
              <a:gd name="csY124" fmla="*/ 793841 h 1538630"/>
              <a:gd name="csX125" fmla="*/ 260988 w 1609516"/>
              <a:gd name="csY125" fmla="*/ 770061 h 1538630"/>
              <a:gd name="csX126" fmla="*/ 260988 w 1609516"/>
              <a:gd name="csY126" fmla="*/ 771364 h 1538630"/>
              <a:gd name="csX127" fmla="*/ 263497 w 1609516"/>
              <a:gd name="csY127" fmla="*/ 777263 h 1538630"/>
              <a:gd name="csX128" fmla="*/ 262551 w 1609516"/>
              <a:gd name="csY128" fmla="*/ 770061 h 1538630"/>
              <a:gd name="csX129" fmla="*/ 260988 w 1609516"/>
              <a:gd name="csY129" fmla="*/ 770061 h 1538630"/>
              <a:gd name="csX130" fmla="*/ 157888 w 1609516"/>
              <a:gd name="csY130" fmla="*/ 651686 h 1538630"/>
              <a:gd name="csX131" fmla="*/ 157415 w 1609516"/>
              <a:gd name="csY131" fmla="*/ 651764 h 1538630"/>
              <a:gd name="csX132" fmla="*/ 160373 w 1609516"/>
              <a:gd name="csY132" fmla="*/ 652274 h 1538630"/>
              <a:gd name="csX133" fmla="*/ 267237 w 1609516"/>
              <a:gd name="csY133" fmla="*/ 426537 h 1538630"/>
              <a:gd name="csX134" fmla="*/ 267237 w 1609516"/>
              <a:gd name="csY134" fmla="*/ 427619 h 1538630"/>
              <a:gd name="csX135" fmla="*/ 270380 w 1609516"/>
              <a:gd name="csY135" fmla="*/ 428137 h 1538630"/>
              <a:gd name="csX136" fmla="*/ 273548 w 1609516"/>
              <a:gd name="csY136" fmla="*/ 428680 h 1538630"/>
              <a:gd name="csX137" fmla="*/ 37605 w 1609516"/>
              <a:gd name="csY137" fmla="*/ 359270 h 1538630"/>
              <a:gd name="csX138" fmla="*/ 37103 w 1609516"/>
              <a:gd name="csY138" fmla="*/ 361533 h 1538630"/>
              <a:gd name="csX139" fmla="*/ 37605 w 1609516"/>
              <a:gd name="csY139" fmla="*/ 361382 h 1538630"/>
              <a:gd name="csX140" fmla="*/ 52477 w 1609516"/>
              <a:gd name="csY140" fmla="*/ 337570 h 1538630"/>
              <a:gd name="csX141" fmla="*/ 47288 w 1609516"/>
              <a:gd name="csY141" fmla="*/ 342340 h 1538630"/>
              <a:gd name="csX142" fmla="*/ 45805 w 1609516"/>
              <a:gd name="csY142" fmla="*/ 345093 h 1538630"/>
              <a:gd name="csX143" fmla="*/ 104291 w 1609516"/>
              <a:gd name="csY143" fmla="*/ 336166 h 1538630"/>
              <a:gd name="csX144" fmla="*/ 103776 w 1609516"/>
              <a:gd name="csY144" fmla="*/ 337559 h 1538630"/>
              <a:gd name="csX145" fmla="*/ 108925 w 1609516"/>
              <a:gd name="csY145" fmla="*/ 336166 h 1538630"/>
              <a:gd name="csX146" fmla="*/ 1309237 w 1609516"/>
              <a:gd name="csY146" fmla="*/ 322954 h 1538630"/>
              <a:gd name="csX147" fmla="*/ 1309180 w 1609516"/>
              <a:gd name="csY147" fmla="*/ 330559 h 1538630"/>
              <a:gd name="csX148" fmla="*/ 1309237 w 1609516"/>
              <a:gd name="csY148" fmla="*/ 330520 h 1538630"/>
              <a:gd name="csX149" fmla="*/ 1308964 w 1609516"/>
              <a:gd name="csY149" fmla="*/ 317715 h 1538630"/>
              <a:gd name="csX150" fmla="*/ 1309237 w 1609516"/>
              <a:gd name="csY150" fmla="*/ 318569 h 1538630"/>
              <a:gd name="csX151" fmla="*/ 1309237 w 1609516"/>
              <a:gd name="csY151" fmla="*/ 317838 h 1538630"/>
              <a:gd name="csX152" fmla="*/ 1310087 w 1609516"/>
              <a:gd name="csY152" fmla="*/ 313153 h 1538630"/>
              <a:gd name="csX153" fmla="*/ 1307609 w 1609516"/>
              <a:gd name="csY153" fmla="*/ 313473 h 1538630"/>
              <a:gd name="csX154" fmla="*/ 1308045 w 1609516"/>
              <a:gd name="csY154" fmla="*/ 314836 h 1538630"/>
              <a:gd name="csX155" fmla="*/ 1318544 w 1609516"/>
              <a:gd name="csY155" fmla="*/ 312064 h 1538630"/>
              <a:gd name="csX156" fmla="*/ 1316298 w 1609516"/>
              <a:gd name="csY156" fmla="*/ 312353 h 1538630"/>
              <a:gd name="csX157" fmla="*/ 1318544 w 1609516"/>
              <a:gd name="csY157" fmla="*/ 312205 h 1538630"/>
              <a:gd name="csX158" fmla="*/ 1084622 w 1609516"/>
              <a:gd name="csY158" fmla="*/ 267674 h 1538630"/>
              <a:gd name="csX159" fmla="*/ 1084227 w 1609516"/>
              <a:gd name="csY159" fmla="*/ 268378 h 1538630"/>
              <a:gd name="csX160" fmla="*/ 1079540 w 1609516"/>
              <a:gd name="csY160" fmla="*/ 268378 h 1538630"/>
              <a:gd name="csX161" fmla="*/ 1079603 w 1609516"/>
              <a:gd name="csY161" fmla="*/ 268477 h 1538630"/>
              <a:gd name="csX162" fmla="*/ 1084192 w 1609516"/>
              <a:gd name="csY162" fmla="*/ 268477 h 1538630"/>
              <a:gd name="csX163" fmla="*/ 956410 w 1609516"/>
              <a:gd name="csY163" fmla="*/ 266968 h 1538630"/>
              <a:gd name="csX164" fmla="*/ 957576 w 1609516"/>
              <a:gd name="csY164" fmla="*/ 267083 h 1538630"/>
              <a:gd name="csX165" fmla="*/ 957576 w 1609516"/>
              <a:gd name="csY165" fmla="*/ 269776 h 1538630"/>
              <a:gd name="csX166" fmla="*/ 957694 w 1609516"/>
              <a:gd name="csY166" fmla="*/ 269787 h 1538630"/>
              <a:gd name="csX167" fmla="*/ 957694 w 1609516"/>
              <a:gd name="csY167" fmla="*/ 266968 h 1538630"/>
              <a:gd name="csX168" fmla="*/ 1089372 w 1609516"/>
              <a:gd name="csY168" fmla="*/ 259220 h 1538630"/>
              <a:gd name="csX169" fmla="*/ 1085856 w 1609516"/>
              <a:gd name="csY169" fmla="*/ 265479 h 1538630"/>
              <a:gd name="csX170" fmla="*/ 1088878 w 1609516"/>
              <a:gd name="csY170" fmla="*/ 261431 h 1538630"/>
              <a:gd name="csX171" fmla="*/ 1018517 w 1609516"/>
              <a:gd name="csY171" fmla="*/ 223356 h 1538630"/>
              <a:gd name="csX172" fmla="*/ 1013866 w 1609516"/>
              <a:gd name="csY172" fmla="*/ 226190 h 1538630"/>
              <a:gd name="csX173" fmla="*/ 1013024 w 1609516"/>
              <a:gd name="csY173" fmla="*/ 227709 h 1538630"/>
              <a:gd name="csX174" fmla="*/ 1017055 w 1609516"/>
              <a:gd name="csY174" fmla="*/ 224692 h 1538630"/>
              <a:gd name="csX175" fmla="*/ 850645 w 1609516"/>
              <a:gd name="csY175" fmla="*/ 220099 h 1538630"/>
              <a:gd name="csX176" fmla="*/ 850897 w 1609516"/>
              <a:gd name="csY176" fmla="*/ 221488 h 1538630"/>
              <a:gd name="csX177" fmla="*/ 851470 w 1609516"/>
              <a:gd name="csY177" fmla="*/ 224692 h 1538630"/>
              <a:gd name="csX178" fmla="*/ 852860 w 1609516"/>
              <a:gd name="csY178" fmla="*/ 224692 h 1538630"/>
              <a:gd name="csX179" fmla="*/ 1155019 w 1609516"/>
              <a:gd name="csY179" fmla="*/ 35 h 1538630"/>
              <a:gd name="csX180" fmla="*/ 1174829 w 1609516"/>
              <a:gd name="csY180" fmla="*/ 4853 h 1538630"/>
              <a:gd name="csX181" fmla="*/ 1179418 w 1609516"/>
              <a:gd name="csY181" fmla="*/ 5998 h 1538630"/>
              <a:gd name="csX182" fmla="*/ 1201385 w 1609516"/>
              <a:gd name="csY182" fmla="*/ 22997 h 1538630"/>
              <a:gd name="csX183" fmla="*/ 1201678 w 1609516"/>
              <a:gd name="csY183" fmla="*/ 62191 h 1538630"/>
              <a:gd name="csX184" fmla="*/ 1198261 w 1609516"/>
              <a:gd name="csY184" fmla="*/ 68268 h 1538630"/>
              <a:gd name="csX185" fmla="*/ 1195723 w 1609516"/>
              <a:gd name="csY185" fmla="*/ 72672 h 1538630"/>
              <a:gd name="csX186" fmla="*/ 1193575 w 1609516"/>
              <a:gd name="csY186" fmla="*/ 75314 h 1538630"/>
              <a:gd name="csX187" fmla="*/ 1190450 w 1609516"/>
              <a:gd name="csY187" fmla="*/ 75314 h 1538630"/>
              <a:gd name="csX188" fmla="*/ 1189474 w 1609516"/>
              <a:gd name="csY188" fmla="*/ 79366 h 1538630"/>
              <a:gd name="csX189" fmla="*/ 1182445 w 1609516"/>
              <a:gd name="csY189" fmla="*/ 85707 h 1538630"/>
              <a:gd name="csX190" fmla="*/ 1177953 w 1609516"/>
              <a:gd name="csY190" fmla="*/ 86588 h 1538630"/>
              <a:gd name="csX191" fmla="*/ 1177953 w 1609516"/>
              <a:gd name="csY191" fmla="*/ 89406 h 1538630"/>
              <a:gd name="csX192" fmla="*/ 1170045 w 1609516"/>
              <a:gd name="csY192" fmla="*/ 94251 h 1538630"/>
              <a:gd name="csX193" fmla="*/ 1143806 w 1609516"/>
              <a:gd name="csY193" fmla="*/ 132828 h 1538630"/>
              <a:gd name="csX194" fmla="*/ 1137338 w 1609516"/>
              <a:gd name="csY194" fmla="*/ 141548 h 1538630"/>
              <a:gd name="csX195" fmla="*/ 1133970 w 1609516"/>
              <a:gd name="csY195" fmla="*/ 149403 h 1538630"/>
              <a:gd name="csX196" fmla="*/ 1127965 w 1609516"/>
              <a:gd name="csY196" fmla="*/ 164095 h 1538630"/>
              <a:gd name="csX197" fmla="*/ 1124762 w 1609516"/>
              <a:gd name="csY197" fmla="*/ 171802 h 1538630"/>
              <a:gd name="csX198" fmla="*/ 1119359 w 1609516"/>
              <a:gd name="csY198" fmla="*/ 184798 h 1538630"/>
              <a:gd name="csX199" fmla="*/ 1111014 w 1609516"/>
              <a:gd name="csY199" fmla="*/ 204941 h 1538630"/>
              <a:gd name="csX200" fmla="*/ 1109729 w 1609516"/>
              <a:gd name="csY200" fmla="*/ 208059 h 1538630"/>
              <a:gd name="csX201" fmla="*/ 1106395 w 1609516"/>
              <a:gd name="csY201" fmla="*/ 216170 h 1538630"/>
              <a:gd name="csX202" fmla="*/ 1102147 w 1609516"/>
              <a:gd name="csY202" fmla="*/ 224810 h 1538630"/>
              <a:gd name="csX203" fmla="*/ 1098261 w 1609516"/>
              <a:gd name="csY203" fmla="*/ 227262 h 1538630"/>
              <a:gd name="csX204" fmla="*/ 1098367 w 1609516"/>
              <a:gd name="csY204" fmla="*/ 238475 h 1538630"/>
              <a:gd name="csX205" fmla="*/ 1097331 w 1609516"/>
              <a:gd name="csY205" fmla="*/ 242358 h 1538630"/>
              <a:gd name="csX206" fmla="*/ 1096201 w 1609516"/>
              <a:gd name="csY206" fmla="*/ 246458 h 1538630"/>
              <a:gd name="csX207" fmla="*/ 1089440 w 1609516"/>
              <a:gd name="csY207" fmla="*/ 279206 h 1538630"/>
              <a:gd name="csX208" fmla="*/ 1087316 w 1609516"/>
              <a:gd name="csY208" fmla="*/ 283978 h 1538630"/>
              <a:gd name="csX209" fmla="*/ 1086822 w 1609516"/>
              <a:gd name="csY209" fmla="*/ 291822 h 1538630"/>
              <a:gd name="csX210" fmla="*/ 1086623 w 1609516"/>
              <a:gd name="csY210" fmla="*/ 296625 h 1538630"/>
              <a:gd name="csX211" fmla="*/ 1086437 w 1609516"/>
              <a:gd name="csY211" fmla="*/ 301681 h 1538630"/>
              <a:gd name="csX212" fmla="*/ 1086233 w 1609516"/>
              <a:gd name="csY212" fmla="*/ 306754 h 1538630"/>
              <a:gd name="csX213" fmla="*/ 1086007 w 1609516"/>
              <a:gd name="csY213" fmla="*/ 312619 h 1538630"/>
              <a:gd name="csX214" fmla="*/ 1087470 w 1609516"/>
              <a:gd name="csY214" fmla="*/ 320554 h 1538630"/>
              <a:gd name="csX215" fmla="*/ 1098285 w 1609516"/>
              <a:gd name="csY215" fmla="*/ 334611 h 1538630"/>
              <a:gd name="csX216" fmla="*/ 1102607 w 1609516"/>
              <a:gd name="csY216" fmla="*/ 337679 h 1538630"/>
              <a:gd name="csX217" fmla="*/ 1106095 w 1609516"/>
              <a:gd name="csY217" fmla="*/ 340248 h 1538630"/>
              <a:gd name="csX218" fmla="*/ 1106095 w 1609516"/>
              <a:gd name="csY218" fmla="*/ 343066 h 1538630"/>
              <a:gd name="csX219" fmla="*/ 1109220 w 1609516"/>
              <a:gd name="csY219" fmla="*/ 343419 h 1538630"/>
              <a:gd name="csX220" fmla="*/ 1126403 w 1609516"/>
              <a:gd name="csY220" fmla="*/ 350112 h 1538630"/>
              <a:gd name="csX221" fmla="*/ 1131871 w 1609516"/>
              <a:gd name="csY221" fmla="*/ 352579 h 1538630"/>
              <a:gd name="csX222" fmla="*/ 1135776 w 1609516"/>
              <a:gd name="csY222" fmla="*/ 354340 h 1538630"/>
              <a:gd name="csX223" fmla="*/ 1135776 w 1609516"/>
              <a:gd name="csY223" fmla="*/ 357158 h 1538630"/>
              <a:gd name="csX224" fmla="*/ 1170143 w 1609516"/>
              <a:gd name="csY224" fmla="*/ 354340 h 1538630"/>
              <a:gd name="csX225" fmla="*/ 1174634 w 1609516"/>
              <a:gd name="csY225" fmla="*/ 352579 h 1538630"/>
              <a:gd name="csX226" fmla="*/ 1190890 w 1609516"/>
              <a:gd name="csY226" fmla="*/ 342907 h 1538630"/>
              <a:gd name="csX227" fmla="*/ 1204021 w 1609516"/>
              <a:gd name="csY227" fmla="*/ 335404 h 1538630"/>
              <a:gd name="csX228" fmla="*/ 1223255 w 1609516"/>
              <a:gd name="csY228" fmla="*/ 319110 h 1538630"/>
              <a:gd name="csX229" fmla="*/ 1226868 w 1609516"/>
              <a:gd name="csY229" fmla="*/ 315587 h 1538630"/>
              <a:gd name="csX230" fmla="*/ 1231859 w 1609516"/>
              <a:gd name="csY230" fmla="*/ 303559 h 1538630"/>
              <a:gd name="csX231" fmla="*/ 1234178 w 1609516"/>
              <a:gd name="csY231" fmla="*/ 298059 h 1538630"/>
              <a:gd name="csX232" fmla="*/ 1237314 w 1609516"/>
              <a:gd name="csY232" fmla="*/ 288195 h 1538630"/>
              <a:gd name="csX233" fmla="*/ 1249811 w 1609516"/>
              <a:gd name="csY233" fmla="*/ 265559 h 1538630"/>
              <a:gd name="csX234" fmla="*/ 1252935 w 1609516"/>
              <a:gd name="csY234" fmla="*/ 265559 h 1538630"/>
              <a:gd name="csX235" fmla="*/ 1252935 w 1609516"/>
              <a:gd name="csY235" fmla="*/ 262741 h 1538630"/>
              <a:gd name="csX236" fmla="*/ 1296675 w 1609516"/>
              <a:gd name="csY236" fmla="*/ 252876 h 1538630"/>
              <a:gd name="csX237" fmla="*/ 1307609 w 1609516"/>
              <a:gd name="csY237" fmla="*/ 255695 h 1538630"/>
              <a:gd name="csX238" fmla="*/ 1307609 w 1609516"/>
              <a:gd name="csY238" fmla="*/ 258513 h 1538630"/>
              <a:gd name="csX239" fmla="*/ 1311887 w 1609516"/>
              <a:gd name="csY239" fmla="*/ 258832 h 1538630"/>
              <a:gd name="csX240" fmla="*/ 1326715 w 1609516"/>
              <a:gd name="csY240" fmla="*/ 269969 h 1538630"/>
              <a:gd name="csX241" fmla="*/ 1334165 w 1609516"/>
              <a:gd name="csY241" fmla="*/ 307836 h 1538630"/>
              <a:gd name="csX242" fmla="*/ 1329479 w 1609516"/>
              <a:gd name="csY242" fmla="*/ 314882 h 1538630"/>
              <a:gd name="csX243" fmla="*/ 1323231 w 1609516"/>
              <a:gd name="csY243" fmla="*/ 314882 h 1538630"/>
              <a:gd name="csX244" fmla="*/ 1323231 w 1609516"/>
              <a:gd name="csY244" fmla="*/ 317700 h 1538630"/>
              <a:gd name="csX245" fmla="*/ 1322774 w 1609516"/>
              <a:gd name="csY245" fmla="*/ 317838 h 1538630"/>
              <a:gd name="csX246" fmla="*/ 1323295 w 1609516"/>
              <a:gd name="csY246" fmla="*/ 317838 h 1538630"/>
              <a:gd name="csX247" fmla="*/ 1323295 w 1609516"/>
              <a:gd name="csY247" fmla="*/ 315019 h 1538630"/>
              <a:gd name="csX248" fmla="*/ 1327982 w 1609516"/>
              <a:gd name="csY248" fmla="*/ 315019 h 1538630"/>
              <a:gd name="csX249" fmla="*/ 1317047 w 1609516"/>
              <a:gd name="csY249" fmla="*/ 327702 h 1538630"/>
              <a:gd name="csX250" fmla="*/ 1315484 w 1609516"/>
              <a:gd name="csY250" fmla="*/ 331930 h 1538630"/>
              <a:gd name="csX251" fmla="*/ 1309139 w 1609516"/>
              <a:gd name="csY251" fmla="*/ 333603 h 1538630"/>
              <a:gd name="csX252" fmla="*/ 1305666 w 1609516"/>
              <a:gd name="csY252" fmla="*/ 334280 h 1538630"/>
              <a:gd name="csX253" fmla="*/ 1302988 w 1609516"/>
              <a:gd name="csY253" fmla="*/ 334748 h 1538630"/>
              <a:gd name="csX254" fmla="*/ 1305905 w 1609516"/>
              <a:gd name="csY254" fmla="*/ 332775 h 1538630"/>
              <a:gd name="csX255" fmla="*/ 1304485 w 1609516"/>
              <a:gd name="csY255" fmla="*/ 333202 h 1538630"/>
              <a:gd name="csX256" fmla="*/ 1301459 w 1609516"/>
              <a:gd name="csY256" fmla="*/ 336108 h 1538630"/>
              <a:gd name="csX257" fmla="*/ 1291989 w 1609516"/>
              <a:gd name="csY257" fmla="*/ 338839 h 1538630"/>
              <a:gd name="csX258" fmla="*/ 1290426 w 1609516"/>
              <a:gd name="csY258" fmla="*/ 343066 h 1538630"/>
              <a:gd name="csX259" fmla="*/ 1285740 w 1609516"/>
              <a:gd name="csY259" fmla="*/ 344123 h 1538630"/>
              <a:gd name="csX260" fmla="*/ 1237314 w 1609516"/>
              <a:gd name="csY260" fmla="*/ 382525 h 1538630"/>
              <a:gd name="csX261" fmla="*/ 1232628 w 1609516"/>
              <a:gd name="csY261" fmla="*/ 392389 h 1538630"/>
              <a:gd name="csX262" fmla="*/ 1228625 w 1609516"/>
              <a:gd name="csY262" fmla="*/ 398731 h 1538630"/>
              <a:gd name="csX263" fmla="*/ 1222822 w 1609516"/>
              <a:gd name="csY263" fmla="*/ 434798 h 1538630"/>
              <a:gd name="csX264" fmla="*/ 1260746 w 1609516"/>
              <a:gd name="csY264" fmla="*/ 485398 h 1538630"/>
              <a:gd name="csX265" fmla="*/ 1268556 w 1609516"/>
              <a:gd name="csY265" fmla="*/ 488216 h 1538630"/>
              <a:gd name="csX266" fmla="*/ 1268556 w 1609516"/>
              <a:gd name="csY266" fmla="*/ 491034 h 1538630"/>
              <a:gd name="csX267" fmla="*/ 1338852 w 1609516"/>
              <a:gd name="csY267" fmla="*/ 489625 h 1538630"/>
              <a:gd name="csX268" fmla="*/ 1347444 w 1609516"/>
              <a:gd name="csY268" fmla="*/ 488480 h 1538630"/>
              <a:gd name="csX269" fmla="*/ 1369362 w 1609516"/>
              <a:gd name="csY269" fmla="*/ 482513 h 1538630"/>
              <a:gd name="csX270" fmla="*/ 1388840 w 1609516"/>
              <a:gd name="csY270" fmla="*/ 478351 h 1538630"/>
              <a:gd name="csX271" fmla="*/ 1388840 w 1609516"/>
              <a:gd name="csY271" fmla="*/ 475533 h 1538630"/>
              <a:gd name="csX272" fmla="*/ 1395576 w 1609516"/>
              <a:gd name="csY272" fmla="*/ 473419 h 1538630"/>
              <a:gd name="csX273" fmla="*/ 1399365 w 1609516"/>
              <a:gd name="csY273" fmla="*/ 472230 h 1538630"/>
              <a:gd name="csX274" fmla="*/ 1407585 w 1609516"/>
              <a:gd name="csY274" fmla="*/ 471305 h 1538630"/>
              <a:gd name="csX275" fmla="*/ 1409147 w 1609516"/>
              <a:gd name="csY275" fmla="*/ 467078 h 1538630"/>
              <a:gd name="csX276" fmla="*/ 1416470 w 1609516"/>
              <a:gd name="csY276" fmla="*/ 464259 h 1538630"/>
              <a:gd name="csX277" fmla="*/ 1437949 w 1609516"/>
              <a:gd name="csY277" fmla="*/ 455011 h 1538630"/>
              <a:gd name="csX278" fmla="*/ 1452887 w 1609516"/>
              <a:gd name="csY278" fmla="*/ 450167 h 1538630"/>
              <a:gd name="csX279" fmla="*/ 1452887 w 1609516"/>
              <a:gd name="csY279" fmla="*/ 447349 h 1538630"/>
              <a:gd name="csX280" fmla="*/ 1455394 w 1609516"/>
              <a:gd name="csY280" fmla="*/ 446122 h 1538630"/>
              <a:gd name="csX281" fmla="*/ 1466653 w 1609516"/>
              <a:gd name="csY281" fmla="*/ 440567 h 1538630"/>
              <a:gd name="csX282" fmla="*/ 1470598 w 1609516"/>
              <a:gd name="csY282" fmla="*/ 438637 h 1538630"/>
              <a:gd name="csX283" fmla="*/ 1474397 w 1609516"/>
              <a:gd name="csY283" fmla="*/ 436752 h 1538630"/>
              <a:gd name="csX284" fmla="*/ 1477892 w 1609516"/>
              <a:gd name="csY284" fmla="*/ 435030 h 1538630"/>
              <a:gd name="csX285" fmla="*/ 1485691 w 1609516"/>
              <a:gd name="csY285" fmla="*/ 429029 h 1538630"/>
              <a:gd name="csX286" fmla="*/ 1488858 w 1609516"/>
              <a:gd name="csY286" fmla="*/ 427653 h 1538630"/>
              <a:gd name="csX287" fmla="*/ 1495943 w 1609516"/>
              <a:gd name="csY287" fmla="*/ 421454 h 1538630"/>
              <a:gd name="csX288" fmla="*/ 1538608 w 1609516"/>
              <a:gd name="csY288" fmla="*/ 388338 h 1538630"/>
              <a:gd name="csX289" fmla="*/ 1543490 w 1609516"/>
              <a:gd name="csY289" fmla="*/ 388161 h 1538630"/>
              <a:gd name="csX290" fmla="*/ 1547621 w 1609516"/>
              <a:gd name="csY290" fmla="*/ 387804 h 1538630"/>
              <a:gd name="csX291" fmla="*/ 1579418 w 1609516"/>
              <a:gd name="csY291" fmla="*/ 396617 h 1538630"/>
              <a:gd name="csX292" fmla="*/ 1583342 w 1609516"/>
              <a:gd name="csY292" fmla="*/ 398780 h 1538630"/>
              <a:gd name="csX293" fmla="*/ 1601288 w 1609516"/>
              <a:gd name="csY293" fmla="*/ 423392 h 1538630"/>
              <a:gd name="csX294" fmla="*/ 1594484 w 1609516"/>
              <a:gd name="csY294" fmla="*/ 460159 h 1538630"/>
              <a:gd name="csX295" fmla="*/ 1574732 w 1609516"/>
              <a:gd name="csY295" fmla="*/ 475533 h 1538630"/>
              <a:gd name="csX296" fmla="*/ 1572097 w 1609516"/>
              <a:gd name="csY296" fmla="*/ 477078 h 1538630"/>
              <a:gd name="csX297" fmla="*/ 1556066 w 1609516"/>
              <a:gd name="csY297" fmla="*/ 478737 h 1538630"/>
              <a:gd name="csX298" fmla="*/ 1548631 w 1609516"/>
              <a:gd name="csY298" fmla="*/ 478825 h 1538630"/>
              <a:gd name="csX299" fmla="*/ 1536991 w 1609516"/>
              <a:gd name="csY299" fmla="*/ 478889 h 1538630"/>
              <a:gd name="csX300" fmla="*/ 1498188 w 1609516"/>
              <a:gd name="csY300" fmla="*/ 485398 h 1538630"/>
              <a:gd name="csX301" fmla="*/ 1493892 w 1609516"/>
              <a:gd name="csY301" fmla="*/ 487600 h 1538630"/>
              <a:gd name="csX302" fmla="*/ 1490377 w 1609516"/>
              <a:gd name="csY302" fmla="*/ 489625 h 1538630"/>
              <a:gd name="csX303" fmla="*/ 1471650 w 1609516"/>
              <a:gd name="csY303" fmla="*/ 498185 h 1538630"/>
              <a:gd name="csX304" fmla="*/ 1459135 w 1609516"/>
              <a:gd name="csY304" fmla="*/ 505127 h 1538630"/>
              <a:gd name="csX305" fmla="*/ 1452594 w 1609516"/>
              <a:gd name="csY305" fmla="*/ 508033 h 1538630"/>
              <a:gd name="csX306" fmla="*/ 1427795 w 1609516"/>
              <a:gd name="csY306" fmla="*/ 520100 h 1538630"/>
              <a:gd name="csX307" fmla="*/ 1423733 w 1609516"/>
              <a:gd name="csY307" fmla="*/ 522148 h 1538630"/>
              <a:gd name="csX308" fmla="*/ 1419929 w 1609516"/>
              <a:gd name="csY308" fmla="*/ 524118 h 1538630"/>
              <a:gd name="csX309" fmla="*/ 1416487 w 1609516"/>
              <a:gd name="csY309" fmla="*/ 525883 h 1538630"/>
              <a:gd name="csX310" fmla="*/ 1412271 w 1609516"/>
              <a:gd name="csY310" fmla="*/ 531902 h 1538630"/>
              <a:gd name="csX311" fmla="*/ 1396650 w 1609516"/>
              <a:gd name="csY311" fmla="*/ 537539 h 1538630"/>
              <a:gd name="csX312" fmla="*/ 1396650 w 1609516"/>
              <a:gd name="csY312" fmla="*/ 540357 h 1538630"/>
              <a:gd name="csX313" fmla="*/ 1393495 w 1609516"/>
              <a:gd name="csY313" fmla="*/ 541502 h 1538630"/>
              <a:gd name="csX314" fmla="*/ 1362284 w 1609516"/>
              <a:gd name="csY314" fmla="*/ 558678 h 1538630"/>
              <a:gd name="csX315" fmla="*/ 1355937 w 1609516"/>
              <a:gd name="csY315" fmla="*/ 562905 h 1538630"/>
              <a:gd name="csX316" fmla="*/ 1334165 w 1609516"/>
              <a:gd name="csY316" fmla="*/ 578406 h 1538630"/>
              <a:gd name="csX317" fmla="*/ 1331200 w 1609516"/>
              <a:gd name="csY317" fmla="*/ 580559 h 1538630"/>
              <a:gd name="csX318" fmla="*/ 1322175 w 1609516"/>
              <a:gd name="csY318" fmla="*/ 596793 h 1538630"/>
              <a:gd name="csX319" fmla="*/ 1320106 w 1609516"/>
              <a:gd name="csY319" fmla="*/ 602363 h 1538630"/>
              <a:gd name="csX320" fmla="*/ 1328015 w 1609516"/>
              <a:gd name="csY320" fmla="*/ 647640 h 1538630"/>
              <a:gd name="csX321" fmla="*/ 1332604 w 1609516"/>
              <a:gd name="csY321" fmla="*/ 675643 h 1538630"/>
              <a:gd name="csX322" fmla="*/ 1335727 w 1609516"/>
              <a:gd name="csY322" fmla="*/ 675643 h 1538630"/>
              <a:gd name="csX323" fmla="*/ 1337741 w 1609516"/>
              <a:gd name="csY323" fmla="*/ 690059 h 1538630"/>
              <a:gd name="csX324" fmla="*/ 1338003 w 1609516"/>
              <a:gd name="csY324" fmla="*/ 696222 h 1538630"/>
              <a:gd name="csX325" fmla="*/ 1338340 w 1609516"/>
              <a:gd name="csY325" fmla="*/ 705887 h 1538630"/>
              <a:gd name="csX326" fmla="*/ 1345277 w 1609516"/>
              <a:gd name="csY326" fmla="*/ 733245 h 1538630"/>
              <a:gd name="csX327" fmla="*/ 1363162 w 1609516"/>
              <a:gd name="csY327" fmla="*/ 741612 h 1538630"/>
              <a:gd name="csX328" fmla="*/ 1384154 w 1609516"/>
              <a:gd name="csY328" fmla="*/ 748922 h 1538630"/>
              <a:gd name="csX329" fmla="*/ 1391476 w 1609516"/>
              <a:gd name="csY329" fmla="*/ 750419 h 1538630"/>
              <a:gd name="csX330" fmla="*/ 1395564 w 1609516"/>
              <a:gd name="csY330" fmla="*/ 751080 h 1538630"/>
              <a:gd name="csX331" fmla="*/ 1399775 w 1609516"/>
              <a:gd name="csY331" fmla="*/ 751740 h 1538630"/>
              <a:gd name="csX332" fmla="*/ 1403887 w 1609516"/>
              <a:gd name="csY332" fmla="*/ 752489 h 1538630"/>
              <a:gd name="csX333" fmla="*/ 1465383 w 1609516"/>
              <a:gd name="csY333" fmla="*/ 755969 h 1538630"/>
              <a:gd name="csX334" fmla="*/ 1470339 w 1609516"/>
              <a:gd name="csY334" fmla="*/ 755897 h 1538630"/>
              <a:gd name="csX335" fmla="*/ 1496809 w 1609516"/>
              <a:gd name="csY335" fmla="*/ 749313 h 1538630"/>
              <a:gd name="csX336" fmla="*/ 1515371 w 1609516"/>
              <a:gd name="csY336" fmla="*/ 743285 h 1538630"/>
              <a:gd name="csX337" fmla="*/ 1515371 w 1609516"/>
              <a:gd name="csY337" fmla="*/ 740467 h 1538630"/>
              <a:gd name="csX338" fmla="*/ 1537632 w 1609516"/>
              <a:gd name="csY338" fmla="*/ 737120 h 1538630"/>
              <a:gd name="csX339" fmla="*/ 1541657 w 1609516"/>
              <a:gd name="csY339" fmla="*/ 737127 h 1538630"/>
              <a:gd name="csX340" fmla="*/ 1574732 w 1609516"/>
              <a:gd name="csY340" fmla="*/ 748922 h 1538630"/>
              <a:gd name="csX341" fmla="*/ 1588791 w 1609516"/>
              <a:gd name="csY341" fmla="*/ 792608 h 1538630"/>
              <a:gd name="csX342" fmla="*/ 1584105 w 1609516"/>
              <a:gd name="csY342" fmla="*/ 805291 h 1538630"/>
              <a:gd name="csX343" fmla="*/ 1580981 w 1609516"/>
              <a:gd name="csY343" fmla="*/ 806700 h 1538630"/>
              <a:gd name="csX344" fmla="*/ 1578735 w 1609516"/>
              <a:gd name="csY344" fmla="*/ 810311 h 1538630"/>
              <a:gd name="csX345" fmla="*/ 1576295 w 1609516"/>
              <a:gd name="csY345" fmla="*/ 813746 h 1538630"/>
              <a:gd name="csX346" fmla="*/ 1571652 w 1609516"/>
              <a:gd name="csY346" fmla="*/ 813746 h 1538630"/>
              <a:gd name="csX347" fmla="*/ 1571785 w 1609516"/>
              <a:gd name="csY347" fmla="*/ 814106 h 1538630"/>
              <a:gd name="csX348" fmla="*/ 1574909 w 1609516"/>
              <a:gd name="csY348" fmla="*/ 815515 h 1538630"/>
              <a:gd name="csX349" fmla="*/ 1565463 w 1609516"/>
              <a:gd name="csY349" fmla="*/ 821839 h 1538630"/>
              <a:gd name="csX350" fmla="*/ 1562085 w 1609516"/>
              <a:gd name="csY350" fmla="*/ 822101 h 1538630"/>
              <a:gd name="csX351" fmla="*/ 1551301 w 1609516"/>
              <a:gd name="csY351" fmla="*/ 825020 h 1538630"/>
              <a:gd name="csX352" fmla="*/ 1551301 w 1609516"/>
              <a:gd name="csY352" fmla="*/ 827838 h 1538630"/>
              <a:gd name="csX353" fmla="*/ 1485380 w 1609516"/>
              <a:gd name="csY353" fmla="*/ 815007 h 1538630"/>
              <a:gd name="csX354" fmla="*/ 1431603 w 1609516"/>
              <a:gd name="csY354" fmla="*/ 808726 h 1538630"/>
              <a:gd name="csX355" fmla="*/ 1424140 w 1609516"/>
              <a:gd name="csY355" fmla="*/ 808542 h 1538630"/>
              <a:gd name="csX356" fmla="*/ 1406023 w 1609516"/>
              <a:gd name="csY356" fmla="*/ 808109 h 1538630"/>
              <a:gd name="csX357" fmla="*/ 1406023 w 1609516"/>
              <a:gd name="csY357" fmla="*/ 810928 h 1538630"/>
              <a:gd name="csX358" fmla="*/ 1403383 w 1609516"/>
              <a:gd name="csY358" fmla="*/ 811311 h 1538630"/>
              <a:gd name="csX359" fmla="*/ 1345442 w 1609516"/>
              <a:gd name="csY359" fmla="*/ 828907 h 1538630"/>
              <a:gd name="csX360" fmla="*/ 1337875 w 1609516"/>
              <a:gd name="csY360" fmla="*/ 856639 h 1538630"/>
              <a:gd name="csX361" fmla="*/ 1337692 w 1609516"/>
              <a:gd name="csY361" fmla="*/ 860171 h 1538630"/>
              <a:gd name="csX362" fmla="*/ 1337290 w 1609516"/>
              <a:gd name="csY362" fmla="*/ 868706 h 1538630"/>
              <a:gd name="csX363" fmla="*/ 1334165 w 1609516"/>
              <a:gd name="csY363" fmla="*/ 868706 h 1538630"/>
              <a:gd name="csX364" fmla="*/ 1334165 w 1609516"/>
              <a:gd name="csY364" fmla="*/ 870034 h 1538630"/>
              <a:gd name="csX365" fmla="*/ 1334237 w 1609516"/>
              <a:gd name="csY365" fmla="*/ 869093 h 1538630"/>
              <a:gd name="csX366" fmla="*/ 1335800 w 1609516"/>
              <a:gd name="csY366" fmla="*/ 869093 h 1538630"/>
              <a:gd name="csX367" fmla="*/ 1335995 w 1609516"/>
              <a:gd name="csY367" fmla="*/ 876491 h 1538630"/>
              <a:gd name="csX368" fmla="*/ 1336105 w 1609516"/>
              <a:gd name="csY368" fmla="*/ 880653 h 1538630"/>
              <a:gd name="csX369" fmla="*/ 1334294 w 1609516"/>
              <a:gd name="csY369" fmla="*/ 887271 h 1538630"/>
              <a:gd name="csX370" fmla="*/ 1331455 w 1609516"/>
              <a:gd name="csY370" fmla="*/ 896440 h 1538630"/>
              <a:gd name="csX371" fmla="*/ 1330887 w 1609516"/>
              <a:gd name="csY371" fmla="*/ 899969 h 1538630"/>
              <a:gd name="csX372" fmla="*/ 1330332 w 1609516"/>
              <a:gd name="csY372" fmla="*/ 903618 h 1538630"/>
              <a:gd name="csX373" fmla="*/ 1329209 w 1609516"/>
              <a:gd name="csY373" fmla="*/ 910797 h 1538630"/>
              <a:gd name="csX374" fmla="*/ 1328724 w 1609516"/>
              <a:gd name="csY374" fmla="*/ 913998 h 1538630"/>
              <a:gd name="csX375" fmla="*/ 1324865 w 1609516"/>
              <a:gd name="csY375" fmla="*/ 922643 h 1538630"/>
              <a:gd name="csX376" fmla="*/ 1322619 w 1609516"/>
              <a:gd name="csY376" fmla="*/ 937979 h 1538630"/>
              <a:gd name="csX377" fmla="*/ 1318744 w 1609516"/>
              <a:gd name="csY377" fmla="*/ 944961 h 1538630"/>
              <a:gd name="csX378" fmla="*/ 1318544 w 1609516"/>
              <a:gd name="csY378" fmla="*/ 946213 h 1538630"/>
              <a:gd name="csX379" fmla="*/ 1318251 w 1609516"/>
              <a:gd name="csY379" fmla="*/ 955285 h 1538630"/>
              <a:gd name="csX380" fmla="*/ 1318184 w 1609516"/>
              <a:gd name="csY380" fmla="*/ 960036 h 1538630"/>
              <a:gd name="csX381" fmla="*/ 1324024 w 1609516"/>
              <a:gd name="csY381" fmla="*/ 973660 h 1538630"/>
              <a:gd name="csX382" fmla="*/ 1329284 w 1609516"/>
              <a:gd name="csY382" fmla="*/ 983382 h 1538630"/>
              <a:gd name="csX383" fmla="*/ 1340414 w 1609516"/>
              <a:gd name="csY383" fmla="*/ 998354 h 1538630"/>
              <a:gd name="csX384" fmla="*/ 1346272 w 1609516"/>
              <a:gd name="csY384" fmla="*/ 1005048 h 1538630"/>
              <a:gd name="csX385" fmla="*/ 1394716 w 1609516"/>
              <a:gd name="csY385" fmla="*/ 1042740 h 1538630"/>
              <a:gd name="csX386" fmla="*/ 1401953 w 1609516"/>
              <a:gd name="csY386" fmla="*/ 1047374 h 1538630"/>
              <a:gd name="csX387" fmla="*/ 1427197 w 1609516"/>
              <a:gd name="csY387" fmla="*/ 1059061 h 1538630"/>
              <a:gd name="csX388" fmla="*/ 1437265 w 1609516"/>
              <a:gd name="csY388" fmla="*/ 1064588 h 1538630"/>
              <a:gd name="csX389" fmla="*/ 1437265 w 1609516"/>
              <a:gd name="csY389" fmla="*/ 1067406 h 1538630"/>
              <a:gd name="csX390" fmla="*/ 1440878 w 1609516"/>
              <a:gd name="csY390" fmla="*/ 1067847 h 1538630"/>
              <a:gd name="csX391" fmla="*/ 1447175 w 1609516"/>
              <a:gd name="csY391" fmla="*/ 1070753 h 1538630"/>
              <a:gd name="csX392" fmla="*/ 1457866 w 1609516"/>
              <a:gd name="csY392" fmla="*/ 1076830 h 1538630"/>
              <a:gd name="csX393" fmla="*/ 1462132 w 1609516"/>
              <a:gd name="csY393" fmla="*/ 1078696 h 1538630"/>
              <a:gd name="csX394" fmla="*/ 1465383 w 1609516"/>
              <a:gd name="csY394" fmla="*/ 1080089 h 1538630"/>
              <a:gd name="csX395" fmla="*/ 1465383 w 1609516"/>
              <a:gd name="csY395" fmla="*/ 1082908 h 1538630"/>
              <a:gd name="csX396" fmla="*/ 1468758 w 1609516"/>
              <a:gd name="csY396" fmla="*/ 1083975 h 1538630"/>
              <a:gd name="csX397" fmla="*/ 1481688 w 1609516"/>
              <a:gd name="csY397" fmla="*/ 1091187 h 1538630"/>
              <a:gd name="csX398" fmla="*/ 1486283 w 1609516"/>
              <a:gd name="csY398" fmla="*/ 1094236 h 1538630"/>
              <a:gd name="csX399" fmla="*/ 1494869 w 1609516"/>
              <a:gd name="csY399" fmla="*/ 1100171 h 1538630"/>
              <a:gd name="csX400" fmla="*/ 1544335 w 1609516"/>
              <a:gd name="csY400" fmla="*/ 1109518 h 1538630"/>
              <a:gd name="csX401" fmla="*/ 1593477 w 1609516"/>
              <a:gd name="csY401" fmla="*/ 1119900 h 1538630"/>
              <a:gd name="csX402" fmla="*/ 1605975 w 1609516"/>
              <a:gd name="csY402" fmla="*/ 1144913 h 1538630"/>
              <a:gd name="csX403" fmla="*/ 1609099 w 1609516"/>
              <a:gd name="csY403" fmla="*/ 1144913 h 1538630"/>
              <a:gd name="csX404" fmla="*/ 1609392 w 1609516"/>
              <a:gd name="csY404" fmla="*/ 1156892 h 1538630"/>
              <a:gd name="csX405" fmla="*/ 1609511 w 1609516"/>
              <a:gd name="csY405" fmla="*/ 1160272 h 1538630"/>
              <a:gd name="csX406" fmla="*/ 1604412 w 1609516"/>
              <a:gd name="csY406" fmla="*/ 1181553 h 1538630"/>
              <a:gd name="csX407" fmla="*/ 1601288 w 1609516"/>
              <a:gd name="csY407" fmla="*/ 1190009 h 1538630"/>
              <a:gd name="csX408" fmla="*/ 1598164 w 1609516"/>
              <a:gd name="csY408" fmla="*/ 1190009 h 1538630"/>
              <a:gd name="csX409" fmla="*/ 1597187 w 1609516"/>
              <a:gd name="csY409" fmla="*/ 1192739 h 1538630"/>
              <a:gd name="csX410" fmla="*/ 1595040 w 1609516"/>
              <a:gd name="csY410" fmla="*/ 1195645 h 1538630"/>
              <a:gd name="csX411" fmla="*/ 1585667 w 1609516"/>
              <a:gd name="csY411" fmla="*/ 1197055 h 1538630"/>
              <a:gd name="csX412" fmla="*/ 1582543 w 1609516"/>
              <a:gd name="csY412" fmla="*/ 1202691 h 1538630"/>
              <a:gd name="csX413" fmla="*/ 1562431 w 1609516"/>
              <a:gd name="csY413" fmla="*/ 1204365 h 1538630"/>
              <a:gd name="csX414" fmla="*/ 1558690 w 1609516"/>
              <a:gd name="csY414" fmla="*/ 1204417 h 1538630"/>
              <a:gd name="csX415" fmla="*/ 1521102 w 1609516"/>
              <a:gd name="csY415" fmla="*/ 1189585 h 1538630"/>
              <a:gd name="csX416" fmla="*/ 1505022 w 1609516"/>
              <a:gd name="csY416" fmla="*/ 1172041 h 1538630"/>
              <a:gd name="csX417" fmla="*/ 1457573 w 1609516"/>
              <a:gd name="csY417" fmla="*/ 1140686 h 1538630"/>
              <a:gd name="csX418" fmla="*/ 1457573 w 1609516"/>
              <a:gd name="csY418" fmla="*/ 1137867 h 1538630"/>
              <a:gd name="csX419" fmla="*/ 1452985 w 1609516"/>
              <a:gd name="csY419" fmla="*/ 1137339 h 1538630"/>
              <a:gd name="csX420" fmla="*/ 1448200 w 1609516"/>
              <a:gd name="csY420" fmla="*/ 1136458 h 1538630"/>
              <a:gd name="csX421" fmla="*/ 1446638 w 1609516"/>
              <a:gd name="csY421" fmla="*/ 1133640 h 1538630"/>
              <a:gd name="csX422" fmla="*/ 1438937 w 1609516"/>
              <a:gd name="csY422" fmla="*/ 1130601 h 1538630"/>
              <a:gd name="csX423" fmla="*/ 1429260 w 1609516"/>
              <a:gd name="csY423" fmla="*/ 1126770 h 1538630"/>
              <a:gd name="csX424" fmla="*/ 1411393 w 1609516"/>
              <a:gd name="csY424" fmla="*/ 1120340 h 1538630"/>
              <a:gd name="csX425" fmla="*/ 1391427 w 1609516"/>
              <a:gd name="csY425" fmla="*/ 1111191 h 1538630"/>
              <a:gd name="csX426" fmla="*/ 1381029 w 1609516"/>
              <a:gd name="csY426" fmla="*/ 1106865 h 1538630"/>
              <a:gd name="csX427" fmla="*/ 1381029 w 1609516"/>
              <a:gd name="csY427" fmla="*/ 1104046 h 1538630"/>
              <a:gd name="csX428" fmla="*/ 1377221 w 1609516"/>
              <a:gd name="csY428" fmla="*/ 1103605 h 1538630"/>
              <a:gd name="csX429" fmla="*/ 1357597 w 1609516"/>
              <a:gd name="csY429" fmla="*/ 1098409 h 1538630"/>
              <a:gd name="csX430" fmla="*/ 1352032 w 1609516"/>
              <a:gd name="csY430" fmla="*/ 1096736 h 1538630"/>
              <a:gd name="csX431" fmla="*/ 1348225 w 1609516"/>
              <a:gd name="csY431" fmla="*/ 1095590 h 1538630"/>
              <a:gd name="csX432" fmla="*/ 1348225 w 1609516"/>
              <a:gd name="csY432" fmla="*/ 1092772 h 1538630"/>
              <a:gd name="csX433" fmla="*/ 1337290 w 1609516"/>
              <a:gd name="csY433" fmla="*/ 1091363 h 1538630"/>
              <a:gd name="csX434" fmla="*/ 1337290 w 1609516"/>
              <a:gd name="csY434" fmla="*/ 1088544 h 1538630"/>
              <a:gd name="csX435" fmla="*/ 1331529 w 1609516"/>
              <a:gd name="csY435" fmla="*/ 1088104 h 1538630"/>
              <a:gd name="csX436" fmla="*/ 1323297 w 1609516"/>
              <a:gd name="csY436" fmla="*/ 1086611 h 1538630"/>
              <a:gd name="csX437" fmla="*/ 1323297 w 1609516"/>
              <a:gd name="csY437" fmla="*/ 1087618 h 1538630"/>
              <a:gd name="csX438" fmla="*/ 1319789 w 1609516"/>
              <a:gd name="csY438" fmla="*/ 1087310 h 1538630"/>
              <a:gd name="csX439" fmla="*/ 1262375 w 1609516"/>
              <a:gd name="csY439" fmla="*/ 1089028 h 1538630"/>
              <a:gd name="csX440" fmla="*/ 1258728 w 1609516"/>
              <a:gd name="csY440" fmla="*/ 1088205 h 1538630"/>
              <a:gd name="csX441" fmla="*/ 1246964 w 1609516"/>
              <a:gd name="csY441" fmla="*/ 1091489 h 1538630"/>
              <a:gd name="csX442" fmla="*/ 1223224 w 1609516"/>
              <a:gd name="csY442" fmla="*/ 1112865 h 1538630"/>
              <a:gd name="csX443" fmla="*/ 1213883 w 1609516"/>
              <a:gd name="csY443" fmla="*/ 1122366 h 1538630"/>
              <a:gd name="csX444" fmla="*/ 1212505 w 1609516"/>
              <a:gd name="csY444" fmla="*/ 1125708 h 1538630"/>
              <a:gd name="csX445" fmla="*/ 1204180 w 1609516"/>
              <a:gd name="csY445" fmla="*/ 1135561 h 1538630"/>
              <a:gd name="csX446" fmla="*/ 1200238 w 1609516"/>
              <a:gd name="csY446" fmla="*/ 1138999 h 1538630"/>
              <a:gd name="csX447" fmla="*/ 1192025 w 1609516"/>
              <a:gd name="csY447" fmla="*/ 1146022 h 1538630"/>
              <a:gd name="csX448" fmla="*/ 1173945 w 1609516"/>
              <a:gd name="csY448" fmla="*/ 1174749 h 1538630"/>
              <a:gd name="csX449" fmla="*/ 1173950 w 1609516"/>
              <a:gd name="csY449" fmla="*/ 1182610 h 1538630"/>
              <a:gd name="csX450" fmla="*/ 1173989 w 1609516"/>
              <a:gd name="csY450" fmla="*/ 1186765 h 1538630"/>
              <a:gd name="csX451" fmla="*/ 1182640 w 1609516"/>
              <a:gd name="csY451" fmla="*/ 1215374 h 1538630"/>
              <a:gd name="csX452" fmla="*/ 1185764 w 1609516"/>
              <a:gd name="csY452" fmla="*/ 1221804 h 1538630"/>
              <a:gd name="csX453" fmla="*/ 1187301 w 1609516"/>
              <a:gd name="csY453" fmla="*/ 1224859 h 1538630"/>
              <a:gd name="csX454" fmla="*/ 1190573 w 1609516"/>
              <a:gd name="csY454" fmla="*/ 1231740 h 1538630"/>
              <a:gd name="csX455" fmla="*/ 1205925 w 1609516"/>
              <a:gd name="csY455" fmla="*/ 1255163 h 1538630"/>
              <a:gd name="csX456" fmla="*/ 1212174 w 1609516"/>
              <a:gd name="csY456" fmla="*/ 1263134 h 1538630"/>
              <a:gd name="csX457" fmla="*/ 1235556 w 1609516"/>
              <a:gd name="csY457" fmla="*/ 1282538 h 1538630"/>
              <a:gd name="csX458" fmla="*/ 1238876 w 1609516"/>
              <a:gd name="csY458" fmla="*/ 1284426 h 1538630"/>
              <a:gd name="csX459" fmla="*/ 1238876 w 1609516"/>
              <a:gd name="csY459" fmla="*/ 1287245 h 1538630"/>
              <a:gd name="csX460" fmla="*/ 1242245 w 1609516"/>
              <a:gd name="csY460" fmla="*/ 1287663 h 1538630"/>
              <a:gd name="csX461" fmla="*/ 1271681 w 1609516"/>
              <a:gd name="csY461" fmla="*/ 1305565 h 1538630"/>
              <a:gd name="csX462" fmla="*/ 1271742 w 1609516"/>
              <a:gd name="csY462" fmla="*/ 1306172 h 1538630"/>
              <a:gd name="csX463" fmla="*/ 1278525 w 1609516"/>
              <a:gd name="csY463" fmla="*/ 1315767 h 1538630"/>
              <a:gd name="csX464" fmla="*/ 1281097 w 1609516"/>
              <a:gd name="csY464" fmla="*/ 1327286 h 1538630"/>
              <a:gd name="csX465" fmla="*/ 1277973 w 1609516"/>
              <a:gd name="csY465" fmla="*/ 1355470 h 1538630"/>
              <a:gd name="csX466" fmla="*/ 1277460 w 1609516"/>
              <a:gd name="csY466" fmla="*/ 1347025 h 1538630"/>
              <a:gd name="csX467" fmla="*/ 1273531 w 1609516"/>
              <a:gd name="csY467" fmla="*/ 1357991 h 1538630"/>
              <a:gd name="csX468" fmla="*/ 1263870 w 1609516"/>
              <a:gd name="csY468" fmla="*/ 1368980 h 1538630"/>
              <a:gd name="csX469" fmla="*/ 1246686 w 1609516"/>
              <a:gd name="csY469" fmla="*/ 1376026 h 1538630"/>
              <a:gd name="csX470" fmla="*/ 1246686 w 1609516"/>
              <a:gd name="csY470" fmla="*/ 1378844 h 1538630"/>
              <a:gd name="csX471" fmla="*/ 1231651 w 1609516"/>
              <a:gd name="csY471" fmla="*/ 1379196 h 1538630"/>
              <a:gd name="csX472" fmla="*/ 1227373 w 1609516"/>
              <a:gd name="csY472" fmla="*/ 1379340 h 1538630"/>
              <a:gd name="csX473" fmla="*/ 1206071 w 1609516"/>
              <a:gd name="csY473" fmla="*/ 1373207 h 1538630"/>
              <a:gd name="csX474" fmla="*/ 1202069 w 1609516"/>
              <a:gd name="csY474" fmla="*/ 1371798 h 1538630"/>
              <a:gd name="csX475" fmla="*/ 1184104 w 1609516"/>
              <a:gd name="csY475" fmla="*/ 1356176 h 1538630"/>
              <a:gd name="csX476" fmla="*/ 1177270 w 1609516"/>
              <a:gd name="csY476" fmla="*/ 1335247 h 1538630"/>
              <a:gd name="csX477" fmla="*/ 1169002 w 1609516"/>
              <a:gd name="csY477" fmla="*/ 1313464 h 1538630"/>
              <a:gd name="csX478" fmla="*/ 1163504 w 1609516"/>
              <a:gd name="csY478" fmla="*/ 1302130 h 1538630"/>
              <a:gd name="csX479" fmla="*/ 1162015 w 1609516"/>
              <a:gd name="csY479" fmla="*/ 1298788 h 1538630"/>
              <a:gd name="csX480" fmla="*/ 1160111 w 1609516"/>
              <a:gd name="csY480" fmla="*/ 1292656 h 1538630"/>
              <a:gd name="csX481" fmla="*/ 1154522 w 1609516"/>
              <a:gd name="csY481" fmla="*/ 1287245 h 1538630"/>
              <a:gd name="csX482" fmla="*/ 1151398 w 1609516"/>
              <a:gd name="csY482" fmla="*/ 1280199 h 1538630"/>
              <a:gd name="csX483" fmla="*/ 1144173 w 1609516"/>
              <a:gd name="csY483" fmla="*/ 1270774 h 1538630"/>
              <a:gd name="csX484" fmla="*/ 1142065 w 1609516"/>
              <a:gd name="csY484" fmla="*/ 1268160 h 1538630"/>
              <a:gd name="csX485" fmla="*/ 1135776 w 1609516"/>
              <a:gd name="csY485" fmla="*/ 1260470 h 1538630"/>
              <a:gd name="csX486" fmla="*/ 1132353 w 1609516"/>
              <a:gd name="csY486" fmla="*/ 1256247 h 1538630"/>
              <a:gd name="csX487" fmla="*/ 1112344 w 1609516"/>
              <a:gd name="csY487" fmla="*/ 1240741 h 1538630"/>
              <a:gd name="csX488" fmla="*/ 1106193 w 1609516"/>
              <a:gd name="csY488" fmla="*/ 1237570 h 1538630"/>
              <a:gd name="csX489" fmla="*/ 1101409 w 1609516"/>
              <a:gd name="csY489" fmla="*/ 1235104 h 1538630"/>
              <a:gd name="csX490" fmla="*/ 1101409 w 1609516"/>
              <a:gd name="csY490" fmla="*/ 1230876 h 1538630"/>
              <a:gd name="csX491" fmla="*/ 1065480 w 1609516"/>
              <a:gd name="csY491" fmla="*/ 1230876 h 1538630"/>
              <a:gd name="csX492" fmla="*/ 1063919 w 1609516"/>
              <a:gd name="csY492" fmla="*/ 1235104 h 1538630"/>
              <a:gd name="csX493" fmla="*/ 1059232 w 1609516"/>
              <a:gd name="csY493" fmla="*/ 1235104 h 1538630"/>
              <a:gd name="csX494" fmla="*/ 1059232 w 1609516"/>
              <a:gd name="csY494" fmla="*/ 1237922 h 1538630"/>
              <a:gd name="csX495" fmla="*/ 1040194 w 1609516"/>
              <a:gd name="csY495" fmla="*/ 1245761 h 1538630"/>
              <a:gd name="csX496" fmla="*/ 1030333 w 1609516"/>
              <a:gd name="csY496" fmla="*/ 1249901 h 1538630"/>
              <a:gd name="csX497" fmla="*/ 1013931 w 1609516"/>
              <a:gd name="csY497" fmla="*/ 1256242 h 1538630"/>
              <a:gd name="csX498" fmla="*/ 1005925 w 1609516"/>
              <a:gd name="csY498" fmla="*/ 1261615 h 1538630"/>
              <a:gd name="csX499" fmla="*/ 1004558 w 1609516"/>
              <a:gd name="csY499" fmla="*/ 1264697 h 1538630"/>
              <a:gd name="csX500" fmla="*/ 1002959 w 1609516"/>
              <a:gd name="csY500" fmla="*/ 1267961 h 1538630"/>
              <a:gd name="csX501" fmla="*/ 1000653 w 1609516"/>
              <a:gd name="csY501" fmla="*/ 1278965 h 1538630"/>
              <a:gd name="csX502" fmla="*/ 998297 w 1609516"/>
              <a:gd name="csY502" fmla="*/ 1294137 h 1538630"/>
              <a:gd name="csX503" fmla="*/ 996162 w 1609516"/>
              <a:gd name="csY503" fmla="*/ 1324765 h 1538630"/>
              <a:gd name="csX504" fmla="*/ 996164 w 1609516"/>
              <a:gd name="csY504" fmla="*/ 1327846 h 1538630"/>
              <a:gd name="csX505" fmla="*/ 1007780 w 1609516"/>
              <a:gd name="csY505" fmla="*/ 1403329 h 1538630"/>
              <a:gd name="csX506" fmla="*/ 1008940 w 1609516"/>
              <a:gd name="csY506" fmla="*/ 1407701 h 1538630"/>
              <a:gd name="csX507" fmla="*/ 1010080 w 1609516"/>
              <a:gd name="csY507" fmla="*/ 1411730 h 1538630"/>
              <a:gd name="csX508" fmla="*/ 1011075 w 1609516"/>
              <a:gd name="csY508" fmla="*/ 1415277 h 1538630"/>
              <a:gd name="csX509" fmla="*/ 1017055 w 1609516"/>
              <a:gd name="csY509" fmla="*/ 1422530 h 1538630"/>
              <a:gd name="csX510" fmla="*/ 1020277 w 1609516"/>
              <a:gd name="csY510" fmla="*/ 1427991 h 1538630"/>
              <a:gd name="csX511" fmla="*/ 1021796 w 1609516"/>
              <a:gd name="csY511" fmla="*/ 1430798 h 1538630"/>
              <a:gd name="csX512" fmla="*/ 1024579 w 1609516"/>
              <a:gd name="csY512" fmla="*/ 1437239 h 1538630"/>
              <a:gd name="csX513" fmla="*/ 1034043 w 1609516"/>
              <a:gd name="csY513" fmla="*/ 1448072 h 1538630"/>
              <a:gd name="csX514" fmla="*/ 1043782 w 1609516"/>
              <a:gd name="csY514" fmla="*/ 1464320 h 1538630"/>
              <a:gd name="csX515" fmla="*/ 1050458 w 1609516"/>
              <a:gd name="csY515" fmla="*/ 1472189 h 1538630"/>
              <a:gd name="csX516" fmla="*/ 1052926 w 1609516"/>
              <a:gd name="csY516" fmla="*/ 1482370 h 1538630"/>
              <a:gd name="csX517" fmla="*/ 1053316 w 1609516"/>
              <a:gd name="csY517" fmla="*/ 1496903 h 1538630"/>
              <a:gd name="csX518" fmla="*/ 1053352 w 1609516"/>
              <a:gd name="csY518" fmla="*/ 1500660 h 1538630"/>
              <a:gd name="csX519" fmla="*/ 1053341 w 1609516"/>
              <a:gd name="csY519" fmla="*/ 1504285 h 1538630"/>
              <a:gd name="csX520" fmla="*/ 1053329 w 1609516"/>
              <a:gd name="csY520" fmla="*/ 1507529 h 1538630"/>
              <a:gd name="csX521" fmla="*/ 1049801 w 1609516"/>
              <a:gd name="csY521" fmla="*/ 1516192 h 1538630"/>
              <a:gd name="csX522" fmla="*/ 1047312 w 1609516"/>
              <a:gd name="csY522" fmla="*/ 1516192 h 1538630"/>
              <a:gd name="csX523" fmla="*/ 1043611 w 1609516"/>
              <a:gd name="csY523" fmla="*/ 1522585 h 1538630"/>
              <a:gd name="csX524" fmla="*/ 1029552 w 1609516"/>
              <a:gd name="csY524" fmla="*/ 1529631 h 1538630"/>
              <a:gd name="csX525" fmla="*/ 1028771 w 1609516"/>
              <a:gd name="csY525" fmla="*/ 1532273 h 1538630"/>
              <a:gd name="csX526" fmla="*/ 1018013 w 1609516"/>
              <a:gd name="csY526" fmla="*/ 1537640 h 1538630"/>
              <a:gd name="csX527" fmla="*/ 981126 w 1609516"/>
              <a:gd name="csY527" fmla="*/ 1533859 h 1538630"/>
              <a:gd name="csX528" fmla="*/ 977227 w 1609516"/>
              <a:gd name="csY528" fmla="*/ 1531943 h 1538630"/>
              <a:gd name="csX529" fmla="*/ 955376 w 1609516"/>
              <a:gd name="csY529" fmla="*/ 1508751 h 1538630"/>
              <a:gd name="csX530" fmla="*/ 954571 w 1609516"/>
              <a:gd name="csY530" fmla="*/ 1500037 h 1538630"/>
              <a:gd name="csX531" fmla="*/ 951446 w 1609516"/>
              <a:gd name="csY531" fmla="*/ 1500037 h 1538630"/>
              <a:gd name="csX532" fmla="*/ 951251 w 1609516"/>
              <a:gd name="csY532" fmla="*/ 1487883 h 1538630"/>
              <a:gd name="csX533" fmla="*/ 951171 w 1609516"/>
              <a:gd name="csY533" fmla="*/ 1484431 h 1538630"/>
              <a:gd name="csX534" fmla="*/ 954571 w 1609516"/>
              <a:gd name="csY534" fmla="*/ 1466216 h 1538630"/>
              <a:gd name="csX535" fmla="*/ 954961 w 1609516"/>
              <a:gd name="csY535" fmla="*/ 1455118 h 1538630"/>
              <a:gd name="csX536" fmla="*/ 954932 w 1609516"/>
              <a:gd name="csY536" fmla="*/ 1451972 h 1538630"/>
              <a:gd name="csX537" fmla="*/ 945099 w 1609516"/>
              <a:gd name="csY537" fmla="*/ 1403594 h 1538630"/>
              <a:gd name="csX538" fmla="*/ 942366 w 1609516"/>
              <a:gd name="csY538" fmla="*/ 1393553 h 1538630"/>
              <a:gd name="csX539" fmla="*/ 934451 w 1609516"/>
              <a:gd name="csY539" fmla="*/ 1372734 h 1538630"/>
              <a:gd name="csX540" fmla="*/ 931974 w 1609516"/>
              <a:gd name="csY540" fmla="*/ 1365754 h 1538630"/>
              <a:gd name="csX541" fmla="*/ 931138 w 1609516"/>
              <a:gd name="csY541" fmla="*/ 1363343 h 1538630"/>
              <a:gd name="csX542" fmla="*/ 926452 w 1609516"/>
              <a:gd name="csY542" fmla="*/ 1361933 h 1538630"/>
              <a:gd name="csX543" fmla="*/ 918641 w 1609516"/>
              <a:gd name="csY543" fmla="*/ 1340795 h 1538630"/>
              <a:gd name="csX544" fmla="*/ 917079 w 1609516"/>
              <a:gd name="csY544" fmla="*/ 1335158 h 1538630"/>
              <a:gd name="csX545" fmla="*/ 913955 w 1609516"/>
              <a:gd name="csY545" fmla="*/ 1335158 h 1538630"/>
              <a:gd name="csX546" fmla="*/ 912057 w 1609516"/>
              <a:gd name="csY546" fmla="*/ 1330793 h 1538630"/>
              <a:gd name="csX547" fmla="*/ 902142 w 1609516"/>
              <a:gd name="csY547" fmla="*/ 1316222 h 1538630"/>
              <a:gd name="csX548" fmla="*/ 900091 w 1609516"/>
              <a:gd name="csY548" fmla="*/ 1313828 h 1538630"/>
              <a:gd name="csX549" fmla="*/ 878026 w 1609516"/>
              <a:gd name="csY549" fmla="*/ 1295700 h 1538630"/>
              <a:gd name="csX550" fmla="*/ 875134 w 1609516"/>
              <a:gd name="csY550" fmla="*/ 1293465 h 1538630"/>
              <a:gd name="csX551" fmla="*/ 869869 w 1609516"/>
              <a:gd name="csY551" fmla="*/ 1291826 h 1538630"/>
              <a:gd name="csX552" fmla="*/ 862384 w 1609516"/>
              <a:gd name="csY552" fmla="*/ 1291327 h 1538630"/>
              <a:gd name="csX553" fmla="*/ 844390 w 1609516"/>
              <a:gd name="csY553" fmla="*/ 1290461 h 1538630"/>
              <a:gd name="csX554" fmla="*/ 840476 w 1609516"/>
              <a:gd name="csY554" fmla="*/ 1290500 h 1538630"/>
              <a:gd name="csX555" fmla="*/ 831015 w 1609516"/>
              <a:gd name="csY555" fmla="*/ 1290637 h 1538630"/>
              <a:gd name="csX556" fmla="*/ 831015 w 1609516"/>
              <a:gd name="csY556" fmla="*/ 1293456 h 1538630"/>
              <a:gd name="csX557" fmla="*/ 818225 w 1609516"/>
              <a:gd name="csY557" fmla="*/ 1295570 h 1538630"/>
              <a:gd name="csX558" fmla="*/ 796774 w 1609516"/>
              <a:gd name="csY558" fmla="*/ 1297671 h 1538630"/>
              <a:gd name="csX559" fmla="*/ 783646 w 1609516"/>
              <a:gd name="csY559" fmla="*/ 1305736 h 1538630"/>
              <a:gd name="csX560" fmla="*/ 769263 w 1609516"/>
              <a:gd name="csY560" fmla="*/ 1327143 h 1538630"/>
              <a:gd name="csX561" fmla="*/ 764797 w 1609516"/>
              <a:gd name="csY561" fmla="*/ 1334360 h 1538630"/>
              <a:gd name="csX562" fmla="*/ 757875 w 1609516"/>
              <a:gd name="csY562" fmla="*/ 1353503 h 1538630"/>
              <a:gd name="csX563" fmla="*/ 755676 w 1609516"/>
              <a:gd name="csY563" fmla="*/ 1367455 h 1538630"/>
              <a:gd name="csX564" fmla="*/ 750558 w 1609516"/>
              <a:gd name="csY564" fmla="*/ 1399690 h 1538630"/>
              <a:gd name="csX565" fmla="*/ 753057 w 1609516"/>
              <a:gd name="csY565" fmla="*/ 1411256 h 1538630"/>
              <a:gd name="csX566" fmla="*/ 753057 w 1609516"/>
              <a:gd name="csY566" fmla="*/ 1416893 h 1538630"/>
              <a:gd name="csX567" fmla="*/ 756181 w 1609516"/>
              <a:gd name="csY567" fmla="*/ 1416893 h 1538630"/>
              <a:gd name="csX568" fmla="*/ 758133 w 1609516"/>
              <a:gd name="csY568" fmla="*/ 1436182 h 1538630"/>
              <a:gd name="csX569" fmla="*/ 758231 w 1609516"/>
              <a:gd name="csY569" fmla="*/ 1440781 h 1538630"/>
              <a:gd name="csX570" fmla="*/ 750713 w 1609516"/>
              <a:gd name="csY570" fmla="*/ 1465704 h 1538630"/>
              <a:gd name="csX571" fmla="*/ 748370 w 1609516"/>
              <a:gd name="csY571" fmla="*/ 1467185 h 1538630"/>
              <a:gd name="csX572" fmla="*/ 741633 w 1609516"/>
              <a:gd name="csY572" fmla="*/ 1473526 h 1538630"/>
              <a:gd name="csX573" fmla="*/ 728154 w 1609516"/>
              <a:gd name="csY573" fmla="*/ 1478343 h 1538630"/>
              <a:gd name="csX574" fmla="*/ 721814 w 1609516"/>
              <a:gd name="csY574" fmla="*/ 1480308 h 1538630"/>
              <a:gd name="csX575" fmla="*/ 708341 w 1609516"/>
              <a:gd name="csY575" fmla="*/ 1480661 h 1538630"/>
              <a:gd name="csX576" fmla="*/ 704637 w 1609516"/>
              <a:gd name="csY576" fmla="*/ 1480748 h 1538630"/>
              <a:gd name="csX577" fmla="*/ 668507 w 1609516"/>
              <a:gd name="csY577" fmla="*/ 1468418 h 1538630"/>
              <a:gd name="csX578" fmla="*/ 660178 w 1609516"/>
              <a:gd name="csY578" fmla="*/ 1450027 h 1538630"/>
              <a:gd name="csX579" fmla="*/ 657767 w 1609516"/>
              <a:gd name="csY579" fmla="*/ 1445078 h 1538630"/>
              <a:gd name="csX580" fmla="*/ 663369 w 1609516"/>
              <a:gd name="csY580" fmla="*/ 1409390 h 1538630"/>
              <a:gd name="csX581" fmla="*/ 671826 w 1609516"/>
              <a:gd name="csY581" fmla="*/ 1401392 h 1538630"/>
              <a:gd name="csX582" fmla="*/ 678075 w 1609516"/>
              <a:gd name="csY582" fmla="*/ 1390118 h 1538630"/>
              <a:gd name="csX583" fmla="*/ 684323 w 1609516"/>
              <a:gd name="csY583" fmla="*/ 1388709 h 1538630"/>
              <a:gd name="csX584" fmla="*/ 685293 w 1609516"/>
              <a:gd name="csY584" fmla="*/ 1384233 h 1538630"/>
              <a:gd name="csX585" fmla="*/ 686569 w 1609516"/>
              <a:gd name="csY585" fmla="*/ 1378404 h 1538630"/>
              <a:gd name="csX586" fmla="*/ 687207 w 1609516"/>
              <a:gd name="csY586" fmla="*/ 1375456 h 1538630"/>
              <a:gd name="csX587" fmla="*/ 690572 w 1609516"/>
              <a:gd name="csY587" fmla="*/ 1363343 h 1538630"/>
              <a:gd name="csX588" fmla="*/ 692495 w 1609516"/>
              <a:gd name="csY588" fmla="*/ 1323376 h 1538630"/>
              <a:gd name="csX589" fmla="*/ 692625 w 1609516"/>
              <a:gd name="csY589" fmla="*/ 1315006 h 1538630"/>
              <a:gd name="csX590" fmla="*/ 687447 w 1609516"/>
              <a:gd name="csY590" fmla="*/ 1287245 h 1538630"/>
              <a:gd name="csX591" fmla="*/ 682761 w 1609516"/>
              <a:gd name="csY591" fmla="*/ 1285835 h 1538630"/>
              <a:gd name="csX592" fmla="*/ 678954 w 1609516"/>
              <a:gd name="csY592" fmla="*/ 1281608 h 1538630"/>
              <a:gd name="csX593" fmla="*/ 668702 w 1609516"/>
              <a:gd name="csY593" fmla="*/ 1275971 h 1538630"/>
              <a:gd name="csX594" fmla="*/ 662454 w 1609516"/>
              <a:gd name="csY594" fmla="*/ 1270334 h 1538630"/>
              <a:gd name="csX595" fmla="*/ 654643 w 1609516"/>
              <a:gd name="csY595" fmla="*/ 1267516 h 1538630"/>
              <a:gd name="csX596" fmla="*/ 654643 w 1609516"/>
              <a:gd name="csY596" fmla="*/ 1264697 h 1538630"/>
              <a:gd name="csX597" fmla="*/ 650152 w 1609516"/>
              <a:gd name="csY597" fmla="*/ 1264345 h 1538630"/>
              <a:gd name="csX598" fmla="*/ 628087 w 1609516"/>
              <a:gd name="csY598" fmla="*/ 1257651 h 1538630"/>
              <a:gd name="csX599" fmla="*/ 628087 w 1609516"/>
              <a:gd name="csY599" fmla="*/ 1254833 h 1538630"/>
              <a:gd name="csX600" fmla="*/ 625121 w 1609516"/>
              <a:gd name="csY600" fmla="*/ 1254315 h 1538630"/>
              <a:gd name="csX601" fmla="*/ 621252 w 1609516"/>
              <a:gd name="csY601" fmla="*/ 1253600 h 1538630"/>
              <a:gd name="csX602" fmla="*/ 617409 w 1609516"/>
              <a:gd name="csY602" fmla="*/ 1252906 h 1538630"/>
              <a:gd name="csX603" fmla="*/ 610904 w 1609516"/>
              <a:gd name="csY603" fmla="*/ 1249196 h 1538630"/>
              <a:gd name="csX604" fmla="*/ 565739 w 1609516"/>
              <a:gd name="csY604" fmla="*/ 1271742 h 1538630"/>
              <a:gd name="csX605" fmla="*/ 546924 w 1609516"/>
              <a:gd name="csY605" fmla="*/ 1290829 h 1538630"/>
              <a:gd name="csX606" fmla="*/ 543635 w 1609516"/>
              <a:gd name="csY606" fmla="*/ 1294643 h 1538630"/>
              <a:gd name="csX607" fmla="*/ 540651 w 1609516"/>
              <a:gd name="csY607" fmla="*/ 1298188 h 1538630"/>
              <a:gd name="csX608" fmla="*/ 529673 w 1609516"/>
              <a:gd name="csY608" fmla="*/ 1305565 h 1538630"/>
              <a:gd name="csX609" fmla="*/ 526549 w 1609516"/>
              <a:gd name="csY609" fmla="*/ 1311202 h 1538630"/>
              <a:gd name="csX610" fmla="*/ 523425 w 1609516"/>
              <a:gd name="csY610" fmla="*/ 1311202 h 1538630"/>
              <a:gd name="csX611" fmla="*/ 523230 w 1609516"/>
              <a:gd name="csY611" fmla="*/ 1313580 h 1538630"/>
              <a:gd name="csX612" fmla="*/ 517732 w 1609516"/>
              <a:gd name="csY612" fmla="*/ 1319739 h 1538630"/>
              <a:gd name="csX613" fmla="*/ 502239 w 1609516"/>
              <a:gd name="csY613" fmla="*/ 1337096 h 1538630"/>
              <a:gd name="csX614" fmla="*/ 497058 w 1609516"/>
              <a:gd name="csY614" fmla="*/ 1344087 h 1538630"/>
              <a:gd name="csX615" fmla="*/ 494572 w 1609516"/>
              <a:gd name="csY615" fmla="*/ 1347465 h 1538630"/>
              <a:gd name="csX616" fmla="*/ 487776 w 1609516"/>
              <a:gd name="csY616" fmla="*/ 1356181 h 1538630"/>
              <a:gd name="csX617" fmla="*/ 481248 w 1609516"/>
              <a:gd name="csY617" fmla="*/ 1367571 h 1538630"/>
              <a:gd name="csX618" fmla="*/ 478123 w 1609516"/>
              <a:gd name="csY618" fmla="*/ 1367571 h 1538630"/>
              <a:gd name="csX619" fmla="*/ 477635 w 1609516"/>
              <a:gd name="csY619" fmla="*/ 1370565 h 1538630"/>
              <a:gd name="csX620" fmla="*/ 465626 w 1609516"/>
              <a:gd name="csY620" fmla="*/ 1388709 h 1538630"/>
              <a:gd name="csX621" fmla="*/ 461233 w 1609516"/>
              <a:gd name="csY621" fmla="*/ 1397340 h 1538630"/>
              <a:gd name="csX622" fmla="*/ 455765 w 1609516"/>
              <a:gd name="csY622" fmla="*/ 1408086 h 1538630"/>
              <a:gd name="csX623" fmla="*/ 439070 w 1609516"/>
              <a:gd name="csY623" fmla="*/ 1477490 h 1538630"/>
              <a:gd name="csX624" fmla="*/ 434384 w 1609516"/>
              <a:gd name="csY624" fmla="*/ 1478899 h 1538630"/>
              <a:gd name="csX625" fmla="*/ 432431 w 1609516"/>
              <a:gd name="csY625" fmla="*/ 1481982 h 1538630"/>
              <a:gd name="csX626" fmla="*/ 418763 w 1609516"/>
              <a:gd name="csY626" fmla="*/ 1494401 h 1538630"/>
              <a:gd name="csX627" fmla="*/ 415639 w 1609516"/>
              <a:gd name="csY627" fmla="*/ 1494401 h 1538630"/>
              <a:gd name="csX628" fmla="*/ 415639 w 1609516"/>
              <a:gd name="csY628" fmla="*/ 1497219 h 1538630"/>
              <a:gd name="csX629" fmla="*/ 406265 w 1609516"/>
              <a:gd name="csY629" fmla="*/ 1498628 h 1538630"/>
              <a:gd name="csX630" fmla="*/ 406265 w 1609516"/>
              <a:gd name="csY630" fmla="*/ 1501447 h 1538630"/>
              <a:gd name="csX631" fmla="*/ 375023 w 1609516"/>
              <a:gd name="csY631" fmla="*/ 1501447 h 1538630"/>
              <a:gd name="csX632" fmla="*/ 375023 w 1609516"/>
              <a:gd name="csY632" fmla="*/ 1499438 h 1538630"/>
              <a:gd name="csX633" fmla="*/ 374964 w 1609516"/>
              <a:gd name="csY633" fmla="*/ 1499436 h 1538630"/>
              <a:gd name="csX634" fmla="*/ 373179 w 1609516"/>
              <a:gd name="csY634" fmla="*/ 1498628 h 1538630"/>
              <a:gd name="csX635" fmla="*/ 365650 w 1609516"/>
              <a:gd name="csY635" fmla="*/ 1498628 h 1538630"/>
              <a:gd name="csX636" fmla="*/ 363134 w 1609516"/>
              <a:gd name="csY636" fmla="*/ 1494087 h 1538630"/>
              <a:gd name="csX637" fmla="*/ 362171 w 1609516"/>
              <a:gd name="csY637" fmla="*/ 1493651 h 1538630"/>
              <a:gd name="csX638" fmla="*/ 360609 w 1609516"/>
              <a:gd name="csY638" fmla="*/ 1490833 h 1538630"/>
              <a:gd name="csX639" fmla="*/ 363733 w 1609516"/>
              <a:gd name="csY639" fmla="*/ 1490833 h 1538630"/>
              <a:gd name="csX640" fmla="*/ 363733 w 1609516"/>
              <a:gd name="csY640" fmla="*/ 1489980 h 1538630"/>
              <a:gd name="csX641" fmla="*/ 348467 w 1609516"/>
              <a:gd name="csY641" fmla="*/ 1481717 h 1538630"/>
              <a:gd name="csX642" fmla="*/ 343872 w 1609516"/>
              <a:gd name="csY642" fmla="*/ 1461078 h 1538630"/>
              <a:gd name="csX643" fmla="*/ 343656 w 1609516"/>
              <a:gd name="csY643" fmla="*/ 1463649 h 1538630"/>
              <a:gd name="csX644" fmla="*/ 343424 w 1609516"/>
              <a:gd name="csY644" fmla="*/ 1466842 h 1538630"/>
              <a:gd name="csX645" fmla="*/ 341861 w 1609516"/>
              <a:gd name="csY645" fmla="*/ 1466842 h 1538630"/>
              <a:gd name="csX646" fmla="*/ 354143 w 1609516"/>
              <a:gd name="csY646" fmla="*/ 1420549 h 1538630"/>
              <a:gd name="csX647" fmla="*/ 376229 w 1609516"/>
              <a:gd name="csY647" fmla="*/ 1403427 h 1538630"/>
              <a:gd name="csX648" fmla="*/ 379491 w 1609516"/>
              <a:gd name="csY648" fmla="*/ 1404408 h 1538630"/>
              <a:gd name="csX649" fmla="*/ 379710 w 1609516"/>
              <a:gd name="csY649" fmla="*/ 1404210 h 1538630"/>
              <a:gd name="csX650" fmla="*/ 380882 w 1609516"/>
              <a:gd name="csY650" fmla="*/ 1401568 h 1538630"/>
              <a:gd name="csX651" fmla="*/ 392207 w 1609516"/>
              <a:gd name="csY651" fmla="*/ 1392936 h 1538630"/>
              <a:gd name="csX652" fmla="*/ 399542 w 1609516"/>
              <a:gd name="csY652" fmla="*/ 1386774 h 1538630"/>
              <a:gd name="csX653" fmla="*/ 405485 w 1609516"/>
              <a:gd name="csY653" fmla="*/ 1378917 h 1538630"/>
              <a:gd name="csX654" fmla="*/ 412008 w 1609516"/>
              <a:gd name="csY654" fmla="*/ 1369481 h 1538630"/>
              <a:gd name="csX655" fmla="*/ 421130 w 1609516"/>
              <a:gd name="csY655" fmla="*/ 1357057 h 1538630"/>
              <a:gd name="csX656" fmla="*/ 424676 w 1609516"/>
              <a:gd name="csY656" fmla="*/ 1348443 h 1538630"/>
              <a:gd name="csX657" fmla="*/ 427275 w 1609516"/>
              <a:gd name="csY657" fmla="*/ 1348443 h 1538630"/>
              <a:gd name="csX658" fmla="*/ 428135 w 1609516"/>
              <a:gd name="csY658" fmla="*/ 1345727 h 1538630"/>
              <a:gd name="csX659" fmla="*/ 432822 w 1609516"/>
              <a:gd name="csY659" fmla="*/ 1335158 h 1538630"/>
              <a:gd name="csX660" fmla="*/ 435946 w 1609516"/>
              <a:gd name="csY660" fmla="*/ 1335158 h 1538630"/>
              <a:gd name="csX661" fmla="*/ 437704 w 1609516"/>
              <a:gd name="csY661" fmla="*/ 1329786 h 1538630"/>
              <a:gd name="csX662" fmla="*/ 447394 w 1609516"/>
              <a:gd name="csY662" fmla="*/ 1311196 h 1538630"/>
              <a:gd name="csX663" fmla="*/ 469287 w 1609516"/>
              <a:gd name="csY663" fmla="*/ 1265964 h 1538630"/>
              <a:gd name="csX664" fmla="*/ 478178 w 1609516"/>
              <a:gd name="csY664" fmla="*/ 1246787 h 1538630"/>
              <a:gd name="csX665" fmla="*/ 480179 w 1609516"/>
              <a:gd name="csY665" fmla="*/ 1225768 h 1538630"/>
              <a:gd name="csX666" fmla="*/ 480250 w 1609516"/>
              <a:gd name="csY666" fmla="*/ 1217149 h 1538630"/>
              <a:gd name="csX667" fmla="*/ 462972 w 1609516"/>
              <a:gd name="csY667" fmla="*/ 1174827 h 1538630"/>
              <a:gd name="csX668" fmla="*/ 457468 w 1609516"/>
              <a:gd name="csY668" fmla="*/ 1169949 h 1538630"/>
              <a:gd name="csX669" fmla="*/ 440657 w 1609516"/>
              <a:gd name="csY669" fmla="*/ 1152570 h 1538630"/>
              <a:gd name="csX670" fmla="*/ 403142 w 1609516"/>
              <a:gd name="csY670" fmla="*/ 1122366 h 1538630"/>
              <a:gd name="csX671" fmla="*/ 401579 w 1609516"/>
              <a:gd name="csY671" fmla="*/ 1119547 h 1538630"/>
              <a:gd name="csX672" fmla="*/ 364564 w 1609516"/>
              <a:gd name="csY672" fmla="*/ 1118209 h 1538630"/>
              <a:gd name="csX673" fmla="*/ 357822 w 1609516"/>
              <a:gd name="csY673" fmla="*/ 1122041 h 1538630"/>
              <a:gd name="csX674" fmla="*/ 348077 w 1609516"/>
              <a:gd name="csY674" fmla="*/ 1125273 h 1538630"/>
              <a:gd name="csX675" fmla="*/ 334408 w 1609516"/>
              <a:gd name="csY675" fmla="*/ 1132230 h 1538630"/>
              <a:gd name="csX676" fmla="*/ 327964 w 1609516"/>
              <a:gd name="csY676" fmla="*/ 1134080 h 1538630"/>
              <a:gd name="csX677" fmla="*/ 279734 w 1609516"/>
              <a:gd name="csY677" fmla="*/ 1166051 h 1538630"/>
              <a:gd name="csX678" fmla="*/ 276609 w 1609516"/>
              <a:gd name="csY678" fmla="*/ 1173098 h 1538630"/>
              <a:gd name="csX679" fmla="*/ 260988 w 1609516"/>
              <a:gd name="csY679" fmla="*/ 1188599 h 1538630"/>
              <a:gd name="csX680" fmla="*/ 257956 w 1609516"/>
              <a:gd name="csY680" fmla="*/ 1191132 h 1538630"/>
              <a:gd name="csX681" fmla="*/ 243805 w 1609516"/>
              <a:gd name="csY681" fmla="*/ 1196629 h 1538630"/>
              <a:gd name="csX682" fmla="*/ 243805 w 1609516"/>
              <a:gd name="csY682" fmla="*/ 1194236 h 1538630"/>
              <a:gd name="csX683" fmla="*/ 240288 w 1609516"/>
              <a:gd name="csY683" fmla="*/ 1194765 h 1538630"/>
              <a:gd name="csX684" fmla="*/ 243374 w 1609516"/>
              <a:gd name="csY684" fmla="*/ 1194765 h 1538630"/>
              <a:gd name="csX685" fmla="*/ 243374 w 1609516"/>
              <a:gd name="csY685" fmla="*/ 1196797 h 1538630"/>
              <a:gd name="csX686" fmla="*/ 243805 w 1609516"/>
              <a:gd name="csY686" fmla="*/ 1196629 h 1538630"/>
              <a:gd name="csX687" fmla="*/ 243805 w 1609516"/>
              <a:gd name="csY687" fmla="*/ 1197055 h 1538630"/>
              <a:gd name="csX688" fmla="*/ 243374 w 1609516"/>
              <a:gd name="csY688" fmla="*/ 1197055 h 1538630"/>
              <a:gd name="csX689" fmla="*/ 243374 w 1609516"/>
              <a:gd name="csY689" fmla="*/ 1197584 h 1538630"/>
              <a:gd name="csX690" fmla="*/ 241319 w 1609516"/>
              <a:gd name="csY690" fmla="*/ 1197595 h 1538630"/>
              <a:gd name="csX691" fmla="*/ 238009 w 1609516"/>
              <a:gd name="csY691" fmla="*/ 1198881 h 1538630"/>
              <a:gd name="csX692" fmla="*/ 215687 w 1609516"/>
              <a:gd name="csY692" fmla="*/ 1198464 h 1538630"/>
              <a:gd name="csX693" fmla="*/ 215687 w 1609516"/>
              <a:gd name="csY693" fmla="*/ 1197734 h 1538630"/>
              <a:gd name="csX694" fmla="*/ 213936 w 1609516"/>
              <a:gd name="csY694" fmla="*/ 1197744 h 1538630"/>
              <a:gd name="csX695" fmla="*/ 207446 w 1609516"/>
              <a:gd name="csY695" fmla="*/ 1196175 h 1538630"/>
              <a:gd name="csX696" fmla="*/ 207822 w 1609516"/>
              <a:gd name="csY696" fmla="*/ 1195610 h 1538630"/>
              <a:gd name="csX697" fmla="*/ 184737 w 1609516"/>
              <a:gd name="csY697" fmla="*/ 1180936 h 1538630"/>
              <a:gd name="csX698" fmla="*/ 179270 w 1609516"/>
              <a:gd name="csY698" fmla="*/ 1154866 h 1538630"/>
              <a:gd name="csX699" fmla="*/ 179194 w 1609516"/>
              <a:gd name="csY699" fmla="*/ 1151621 h 1538630"/>
              <a:gd name="csX700" fmla="*/ 193195 w 1609516"/>
              <a:gd name="csY700" fmla="*/ 1120065 h 1538630"/>
              <a:gd name="csX701" fmla="*/ 229551 w 1609516"/>
              <a:gd name="csY701" fmla="*/ 1110299 h 1538630"/>
              <a:gd name="csX702" fmla="*/ 260988 w 1609516"/>
              <a:gd name="csY702" fmla="*/ 1108274 h 1538630"/>
              <a:gd name="csX703" fmla="*/ 260988 w 1609516"/>
              <a:gd name="csY703" fmla="*/ 1105455 h 1538630"/>
              <a:gd name="csX704" fmla="*/ 263911 w 1609516"/>
              <a:gd name="csY704" fmla="*/ 1104310 h 1538630"/>
              <a:gd name="csX705" fmla="*/ 286995 w 1609516"/>
              <a:gd name="csY705" fmla="*/ 1090185 h 1538630"/>
              <a:gd name="csX706" fmla="*/ 299358 w 1609516"/>
              <a:gd name="csY706" fmla="*/ 1080970 h 1538630"/>
              <a:gd name="csX707" fmla="*/ 317762 w 1609516"/>
              <a:gd name="csY707" fmla="*/ 1063272 h 1538630"/>
              <a:gd name="csX708" fmla="*/ 325035 w 1609516"/>
              <a:gd name="csY708" fmla="*/ 1057542 h 1538630"/>
              <a:gd name="csX709" fmla="*/ 325328 w 1609516"/>
              <a:gd name="csY709" fmla="*/ 1023104 h 1538630"/>
              <a:gd name="csX710" fmla="*/ 324544 w 1609516"/>
              <a:gd name="csY710" fmla="*/ 1019247 h 1538630"/>
              <a:gd name="csX711" fmla="*/ 317225 w 1609516"/>
              <a:gd name="csY711" fmla="*/ 996945 h 1538630"/>
              <a:gd name="csX712" fmla="*/ 315388 w 1609516"/>
              <a:gd name="csY712" fmla="*/ 992690 h 1538630"/>
              <a:gd name="csX713" fmla="*/ 276232 w 1609516"/>
              <a:gd name="csY713" fmla="*/ 950666 h 1538630"/>
              <a:gd name="csX714" fmla="*/ 271923 w 1609516"/>
              <a:gd name="csY714" fmla="*/ 949031 h 1538630"/>
              <a:gd name="csX715" fmla="*/ 268299 w 1609516"/>
              <a:gd name="csY715" fmla="*/ 947441 h 1538630"/>
              <a:gd name="csX716" fmla="*/ 199187 w 1609516"/>
              <a:gd name="csY716" fmla="*/ 938991 h 1538630"/>
              <a:gd name="csX717" fmla="*/ 193719 w 1609516"/>
              <a:gd name="csY717" fmla="*/ 938971 h 1538630"/>
              <a:gd name="csX718" fmla="*/ 188539 w 1609516"/>
              <a:gd name="csY718" fmla="*/ 938980 h 1538630"/>
              <a:gd name="csX719" fmla="*/ 183874 w 1609516"/>
              <a:gd name="csY719" fmla="*/ 938985 h 1538630"/>
              <a:gd name="csX720" fmla="*/ 173509 w 1609516"/>
              <a:gd name="csY720" fmla="*/ 940576 h 1538630"/>
              <a:gd name="csX721" fmla="*/ 161403 w 1609516"/>
              <a:gd name="csY721" fmla="*/ 940664 h 1538630"/>
              <a:gd name="csX722" fmla="*/ 158102 w 1609516"/>
              <a:gd name="csY722" fmla="*/ 940645 h 1538630"/>
              <a:gd name="csX723" fmla="*/ 150875 w 1609516"/>
              <a:gd name="csY723" fmla="*/ 940583 h 1538630"/>
              <a:gd name="csX724" fmla="*/ 148425 w 1609516"/>
              <a:gd name="csY724" fmla="*/ 940717 h 1538630"/>
              <a:gd name="csX725" fmla="*/ 149617 w 1609516"/>
              <a:gd name="csY725" fmla="*/ 940995 h 1538630"/>
              <a:gd name="csX726" fmla="*/ 149617 w 1609516"/>
              <a:gd name="csY726" fmla="*/ 942404 h 1538630"/>
              <a:gd name="csX727" fmla="*/ 146627 w 1609516"/>
              <a:gd name="csY727" fmla="*/ 942871 h 1538630"/>
              <a:gd name="csX728" fmla="*/ 110564 w 1609516"/>
              <a:gd name="csY728" fmla="*/ 949449 h 1538630"/>
              <a:gd name="csX729" fmla="*/ 111283 w 1609516"/>
              <a:gd name="csY729" fmla="*/ 946205 h 1538630"/>
              <a:gd name="csX730" fmla="*/ 101652 w 1609516"/>
              <a:gd name="csY730" fmla="*/ 956078 h 1538630"/>
              <a:gd name="csX731" fmla="*/ 98052 w 1609516"/>
              <a:gd name="csY731" fmla="*/ 958467 h 1538630"/>
              <a:gd name="csX732" fmla="*/ 67286 w 1609516"/>
              <a:gd name="csY732" fmla="*/ 972989 h 1538630"/>
              <a:gd name="csX733" fmla="*/ 67286 w 1609516"/>
              <a:gd name="csY733" fmla="*/ 975807 h 1538630"/>
              <a:gd name="csX734" fmla="*/ 31942 w 1609516"/>
              <a:gd name="csY734" fmla="*/ 976423 h 1538630"/>
              <a:gd name="csX735" fmla="*/ 5673 w 1609516"/>
              <a:gd name="csY735" fmla="*/ 953419 h 1538630"/>
              <a:gd name="csX736" fmla="*/ 4801 w 1609516"/>
              <a:gd name="csY736" fmla="*/ 944804 h 1538630"/>
              <a:gd name="csX737" fmla="*/ 1676 w 1609516"/>
              <a:gd name="csY737" fmla="*/ 944804 h 1538630"/>
              <a:gd name="csX738" fmla="*/ 17 w 1609516"/>
              <a:gd name="csY738" fmla="*/ 931857 h 1538630"/>
              <a:gd name="csX739" fmla="*/ 59 w 1609516"/>
              <a:gd name="csY739" fmla="*/ 927216 h 1538630"/>
              <a:gd name="csX740" fmla="*/ 115 w 1609516"/>
              <a:gd name="csY740" fmla="*/ 923666 h 1538630"/>
              <a:gd name="csX741" fmla="*/ 3238 w 1609516"/>
              <a:gd name="csY741" fmla="*/ 923666 h 1538630"/>
              <a:gd name="csX742" fmla="*/ 3238 w 1609516"/>
              <a:gd name="csY742" fmla="*/ 918029 h 1538630"/>
              <a:gd name="csX743" fmla="*/ 6363 w 1609516"/>
              <a:gd name="csY743" fmla="*/ 918029 h 1538630"/>
              <a:gd name="csX744" fmla="*/ 6656 w 1609516"/>
              <a:gd name="csY744" fmla="*/ 912832 h 1538630"/>
              <a:gd name="csX745" fmla="*/ 15736 w 1609516"/>
              <a:gd name="csY745" fmla="*/ 899709 h 1538630"/>
              <a:gd name="csX746" fmla="*/ 17243 w 1609516"/>
              <a:gd name="csY746" fmla="*/ 898894 h 1538630"/>
              <a:gd name="csX747" fmla="*/ 16800 w 1609516"/>
              <a:gd name="csY747" fmla="*/ 898694 h 1538630"/>
              <a:gd name="csX748" fmla="*/ 24988 w 1609516"/>
              <a:gd name="csY748" fmla="*/ 894101 h 1538630"/>
              <a:gd name="csX749" fmla="*/ 26768 w 1609516"/>
              <a:gd name="csY749" fmla="*/ 892399 h 1538630"/>
              <a:gd name="csX750" fmla="*/ 30198 w 1609516"/>
              <a:gd name="csY750" fmla="*/ 890164 h 1538630"/>
              <a:gd name="csX751" fmla="*/ 32204 w 1609516"/>
              <a:gd name="csY751" fmla="*/ 890054 h 1538630"/>
              <a:gd name="csX752" fmla="*/ 38914 w 1609516"/>
              <a:gd name="csY752" fmla="*/ 886291 h 1538630"/>
              <a:gd name="csX753" fmla="*/ 63664 w 1609516"/>
              <a:gd name="csY753" fmla="*/ 886011 h 1538630"/>
              <a:gd name="csX754" fmla="*/ 63664 w 1609516"/>
              <a:gd name="csY754" fmla="*/ 886531 h 1538630"/>
              <a:gd name="csX755" fmla="*/ 70784 w 1609516"/>
              <a:gd name="csY755" fmla="*/ 886647 h 1538630"/>
              <a:gd name="csX756" fmla="*/ 82126 w 1609516"/>
              <a:gd name="csY756" fmla="*/ 889845 h 1538630"/>
              <a:gd name="csX757" fmla="*/ 114149 w 1609516"/>
              <a:gd name="csY757" fmla="*/ 892663 h 1538630"/>
              <a:gd name="csX758" fmla="*/ 118836 w 1609516"/>
              <a:gd name="csY758" fmla="*/ 889845 h 1538630"/>
              <a:gd name="csX759" fmla="*/ 131626 w 1609516"/>
              <a:gd name="csY759" fmla="*/ 887114 h 1538630"/>
              <a:gd name="csX760" fmla="*/ 155116 w 1609516"/>
              <a:gd name="csY760" fmla="*/ 880913 h 1538630"/>
              <a:gd name="csX761" fmla="*/ 165406 w 1609516"/>
              <a:gd name="csY761" fmla="*/ 878483 h 1538630"/>
              <a:gd name="csX762" fmla="*/ 176634 w 1609516"/>
              <a:gd name="csY762" fmla="*/ 874343 h 1538630"/>
              <a:gd name="csX763" fmla="*/ 186397 w 1609516"/>
              <a:gd name="csY763" fmla="*/ 871524 h 1538630"/>
              <a:gd name="csX764" fmla="*/ 191871 w 1609516"/>
              <a:gd name="csY764" fmla="*/ 870033 h 1538630"/>
              <a:gd name="csX765" fmla="*/ 203483 w 1609516"/>
              <a:gd name="csY765" fmla="*/ 867208 h 1538630"/>
              <a:gd name="csX766" fmla="*/ 211001 w 1609516"/>
              <a:gd name="csY766" fmla="*/ 861660 h 1538630"/>
              <a:gd name="csX767" fmla="*/ 218031 w 1609516"/>
              <a:gd name="csY767" fmla="*/ 858577 h 1538630"/>
              <a:gd name="csX768" fmla="*/ 254740 w 1609516"/>
              <a:gd name="csY768" fmla="*/ 825020 h 1538630"/>
              <a:gd name="csX769" fmla="*/ 257864 w 1609516"/>
              <a:gd name="csY769" fmla="*/ 820792 h 1538630"/>
              <a:gd name="csX770" fmla="*/ 258318 w 1609516"/>
              <a:gd name="csY770" fmla="*/ 813810 h 1538630"/>
              <a:gd name="csX771" fmla="*/ 258378 w 1609516"/>
              <a:gd name="csY771" fmla="*/ 809502 h 1538630"/>
              <a:gd name="csX772" fmla="*/ 258389 w 1609516"/>
              <a:gd name="csY772" fmla="*/ 804845 h 1538630"/>
              <a:gd name="csX773" fmla="*/ 258420 w 1609516"/>
              <a:gd name="csY773" fmla="*/ 800036 h 1538630"/>
              <a:gd name="csX774" fmla="*/ 258443 w 1609516"/>
              <a:gd name="csY774" fmla="*/ 789939 h 1538630"/>
              <a:gd name="csX775" fmla="*/ 258566 w 1609516"/>
              <a:gd name="csY775" fmla="*/ 774594 h 1538630"/>
              <a:gd name="csX776" fmla="*/ 258584 w 1609516"/>
              <a:gd name="csY776" fmla="*/ 764771 h 1538630"/>
              <a:gd name="csX777" fmla="*/ 258652 w 1609516"/>
              <a:gd name="csY777" fmla="*/ 760174 h 1538630"/>
              <a:gd name="csX778" fmla="*/ 251616 w 1609516"/>
              <a:gd name="csY778" fmla="*/ 733421 h 1538630"/>
              <a:gd name="csX779" fmla="*/ 247613 w 1609516"/>
              <a:gd name="csY779" fmla="*/ 721883 h 1538630"/>
              <a:gd name="csX780" fmla="*/ 241291 w 1609516"/>
              <a:gd name="csY780" fmla="*/ 705644 h 1538630"/>
              <a:gd name="csX781" fmla="*/ 237557 w 1609516"/>
              <a:gd name="csY781" fmla="*/ 689735 h 1538630"/>
              <a:gd name="csX782" fmla="*/ 248492 w 1609516"/>
              <a:gd name="csY782" fmla="*/ 685507 h 1538630"/>
              <a:gd name="csX783" fmla="*/ 248492 w 1609516"/>
              <a:gd name="csY783" fmla="*/ 681279 h 1538630"/>
              <a:gd name="csX784" fmla="*/ 240681 w 1609516"/>
              <a:gd name="csY784" fmla="*/ 679870 h 1538630"/>
              <a:gd name="csX785" fmla="*/ 240681 w 1609516"/>
              <a:gd name="csY785" fmla="*/ 677052 h 1538630"/>
              <a:gd name="csX786" fmla="*/ 238094 w 1609516"/>
              <a:gd name="csY786" fmla="*/ 676645 h 1538630"/>
              <a:gd name="csX787" fmla="*/ 225841 w 1609516"/>
              <a:gd name="csY787" fmla="*/ 670886 h 1538630"/>
              <a:gd name="csX788" fmla="*/ 201531 w 1609516"/>
              <a:gd name="csY788" fmla="*/ 662508 h 1538630"/>
              <a:gd name="csX789" fmla="*/ 188252 w 1609516"/>
              <a:gd name="csY789" fmla="*/ 658644 h 1538630"/>
              <a:gd name="csX790" fmla="*/ 182431 w 1609516"/>
              <a:gd name="csY790" fmla="*/ 657327 h 1538630"/>
              <a:gd name="csX791" fmla="*/ 182431 w 1609516"/>
              <a:gd name="csY791" fmla="*/ 657613 h 1538630"/>
              <a:gd name="csX792" fmla="*/ 146503 w 1609516"/>
              <a:gd name="csY792" fmla="*/ 656204 h 1538630"/>
              <a:gd name="csX793" fmla="*/ 146503 w 1609516"/>
              <a:gd name="csY793" fmla="*/ 659022 h 1538630"/>
              <a:gd name="csX794" fmla="*/ 110378 w 1609516"/>
              <a:gd name="csY794" fmla="*/ 663778 h 1538630"/>
              <a:gd name="csX795" fmla="*/ 106453 w 1609516"/>
              <a:gd name="csY795" fmla="*/ 663836 h 1538630"/>
              <a:gd name="csX796" fmla="*/ 102751 w 1609516"/>
              <a:gd name="csY796" fmla="*/ 663811 h 1538630"/>
              <a:gd name="csX797" fmla="*/ 99449 w 1609516"/>
              <a:gd name="csY797" fmla="*/ 663797 h 1538630"/>
              <a:gd name="csX798" fmla="*/ 91828 w 1609516"/>
              <a:gd name="csY798" fmla="*/ 659022 h 1538630"/>
              <a:gd name="csX799" fmla="*/ 98077 w 1609516"/>
              <a:gd name="csY799" fmla="*/ 659022 h 1538630"/>
              <a:gd name="csX800" fmla="*/ 98077 w 1609516"/>
              <a:gd name="csY800" fmla="*/ 661841 h 1538630"/>
              <a:gd name="csX801" fmla="*/ 119023 w 1609516"/>
              <a:gd name="csY801" fmla="*/ 661357 h 1538630"/>
              <a:gd name="csX802" fmla="*/ 119536 w 1609516"/>
              <a:gd name="csY802" fmla="*/ 661197 h 1538630"/>
              <a:gd name="csX803" fmla="*/ 109853 w 1609516"/>
              <a:gd name="csY803" fmla="*/ 661639 h 1538630"/>
              <a:gd name="csX804" fmla="*/ 106552 w 1609516"/>
              <a:gd name="csY804" fmla="*/ 661619 h 1538630"/>
              <a:gd name="csX805" fmla="*/ 98528 w 1609516"/>
              <a:gd name="csY805" fmla="*/ 661550 h 1538630"/>
              <a:gd name="csX806" fmla="*/ 98528 w 1609516"/>
              <a:gd name="csY806" fmla="*/ 658732 h 1538630"/>
              <a:gd name="csX807" fmla="*/ 89155 w 1609516"/>
              <a:gd name="csY807" fmla="*/ 657323 h 1538630"/>
              <a:gd name="csX808" fmla="*/ 89155 w 1609516"/>
              <a:gd name="csY808" fmla="*/ 654504 h 1538630"/>
              <a:gd name="csX809" fmla="*/ 86397 w 1609516"/>
              <a:gd name="csY809" fmla="*/ 653442 h 1538630"/>
              <a:gd name="csX810" fmla="*/ 77049 w 1609516"/>
              <a:gd name="csY810" fmla="*/ 646137 h 1538630"/>
              <a:gd name="csX811" fmla="*/ 74145 w 1609516"/>
              <a:gd name="csY811" fmla="*/ 643192 h 1538630"/>
              <a:gd name="csX812" fmla="*/ 71972 w 1609516"/>
              <a:gd name="csY812" fmla="*/ 636185 h 1538630"/>
              <a:gd name="csX813" fmla="*/ 68848 w 1609516"/>
              <a:gd name="csY813" fmla="*/ 636185 h 1538630"/>
              <a:gd name="csX814" fmla="*/ 70410 w 1609516"/>
              <a:gd name="csY814" fmla="*/ 595317 h 1538630"/>
              <a:gd name="csX815" fmla="*/ 79782 w 1609516"/>
              <a:gd name="csY815" fmla="*/ 584043 h 1538630"/>
              <a:gd name="csX816" fmla="*/ 82656 w 1609516"/>
              <a:gd name="csY816" fmla="*/ 581115 h 1538630"/>
              <a:gd name="csX817" fmla="*/ 116694 w 1609516"/>
              <a:gd name="csY817" fmla="*/ 572323 h 1538630"/>
              <a:gd name="csX818" fmla="*/ 152031 w 1609516"/>
              <a:gd name="csY818" fmla="*/ 590385 h 1538630"/>
              <a:gd name="csX819" fmla="*/ 191474 w 1609516"/>
              <a:gd name="csY819" fmla="*/ 605886 h 1538630"/>
              <a:gd name="csX820" fmla="*/ 206314 w 1609516"/>
              <a:gd name="csY820" fmla="*/ 608000 h 1538630"/>
              <a:gd name="csX821" fmla="*/ 206314 w 1609516"/>
              <a:gd name="csY821" fmla="*/ 610818 h 1538630"/>
              <a:gd name="csX822" fmla="*/ 234433 w 1609516"/>
              <a:gd name="csY822" fmla="*/ 610818 h 1538630"/>
              <a:gd name="csX823" fmla="*/ 239522 w 1609516"/>
              <a:gd name="csY823" fmla="*/ 610802 h 1538630"/>
              <a:gd name="csX824" fmla="*/ 268799 w 1609516"/>
              <a:gd name="csY824" fmla="*/ 600954 h 1538630"/>
              <a:gd name="csX825" fmla="*/ 271740 w 1609516"/>
              <a:gd name="csY825" fmla="*/ 599325 h 1538630"/>
              <a:gd name="csX826" fmla="*/ 284420 w 1609516"/>
              <a:gd name="csY826" fmla="*/ 579816 h 1538630"/>
              <a:gd name="csX827" fmla="*/ 289399 w 1609516"/>
              <a:gd name="csY827" fmla="*/ 568630 h 1538630"/>
              <a:gd name="csX828" fmla="*/ 293958 w 1609516"/>
              <a:gd name="csY828" fmla="*/ 535838 h 1538630"/>
              <a:gd name="csX829" fmla="*/ 289107 w 1609516"/>
              <a:gd name="csY829" fmla="*/ 529084 h 1538630"/>
              <a:gd name="csX830" fmla="*/ 289107 w 1609516"/>
              <a:gd name="csY830" fmla="*/ 526265 h 1538630"/>
              <a:gd name="csX831" fmla="*/ 284420 w 1609516"/>
              <a:gd name="csY831" fmla="*/ 524856 h 1538630"/>
              <a:gd name="csX832" fmla="*/ 282858 w 1609516"/>
              <a:gd name="csY832" fmla="*/ 520628 h 1538630"/>
              <a:gd name="csX833" fmla="*/ 277977 w 1609516"/>
              <a:gd name="csY833" fmla="*/ 516577 h 1538630"/>
              <a:gd name="csX834" fmla="*/ 264925 w 1609516"/>
              <a:gd name="csY834" fmla="*/ 506443 h 1538630"/>
              <a:gd name="csX835" fmla="*/ 229746 w 1609516"/>
              <a:gd name="csY835" fmla="*/ 481170 h 1538630"/>
              <a:gd name="csX836" fmla="*/ 221057 w 1609516"/>
              <a:gd name="csY836" fmla="*/ 475445 h 1538630"/>
              <a:gd name="csX837" fmla="*/ 212563 w 1609516"/>
              <a:gd name="csY837" fmla="*/ 469896 h 1538630"/>
              <a:gd name="csX838" fmla="*/ 208889 w 1609516"/>
              <a:gd name="csY838" fmla="*/ 467491 h 1538630"/>
              <a:gd name="csX839" fmla="*/ 190406 w 1609516"/>
              <a:gd name="csY839" fmla="*/ 456382 h 1538630"/>
              <a:gd name="csX840" fmla="*/ 186942 w 1609516"/>
              <a:gd name="csY840" fmla="*/ 454460 h 1538630"/>
              <a:gd name="csX841" fmla="*/ 180041 w 1609516"/>
              <a:gd name="csY841" fmla="*/ 450696 h 1538630"/>
              <a:gd name="csX842" fmla="*/ 171948 w 1609516"/>
              <a:gd name="csY842" fmla="*/ 445940 h 1538630"/>
              <a:gd name="csX843" fmla="*/ 171948 w 1609516"/>
              <a:gd name="csY843" fmla="*/ 443121 h 1538630"/>
              <a:gd name="csX844" fmla="*/ 168482 w 1609516"/>
              <a:gd name="csY844" fmla="*/ 442708 h 1538630"/>
              <a:gd name="csX845" fmla="*/ 157107 w 1609516"/>
              <a:gd name="csY845" fmla="*/ 437044 h 1538630"/>
              <a:gd name="csX846" fmla="*/ 132559 w 1609516"/>
              <a:gd name="csY846" fmla="*/ 427510 h 1538630"/>
              <a:gd name="csX847" fmla="*/ 123522 w 1609516"/>
              <a:gd name="csY847" fmla="*/ 421983 h 1538630"/>
              <a:gd name="csX848" fmla="*/ 107986 w 1609516"/>
              <a:gd name="csY848" fmla="*/ 418730 h 1538630"/>
              <a:gd name="csX849" fmla="*/ 102494 w 1609516"/>
              <a:gd name="csY849" fmla="*/ 418622 h 1538630"/>
              <a:gd name="csX850" fmla="*/ 91157 w 1609516"/>
              <a:gd name="csY850" fmla="*/ 418490 h 1538630"/>
              <a:gd name="csX851" fmla="*/ 55277 w 1609516"/>
              <a:gd name="csY851" fmla="*/ 410445 h 1538630"/>
              <a:gd name="csX852" fmla="*/ 51665 w 1609516"/>
              <a:gd name="csY852" fmla="*/ 406481 h 1538630"/>
              <a:gd name="csX853" fmla="*/ 45904 w 1609516"/>
              <a:gd name="csY853" fmla="*/ 400492 h 1538630"/>
              <a:gd name="csX854" fmla="*/ 43152 w 1609516"/>
              <a:gd name="csY854" fmla="*/ 397564 h 1538630"/>
              <a:gd name="csX855" fmla="*/ 37605 w 1609516"/>
              <a:gd name="csY855" fmla="*/ 393798 h 1538630"/>
              <a:gd name="csX856" fmla="*/ 38995 w 1609516"/>
              <a:gd name="csY856" fmla="*/ 368712 h 1538630"/>
              <a:gd name="csX857" fmla="*/ 38666 w 1609516"/>
              <a:gd name="csY857" fmla="*/ 369724 h 1538630"/>
              <a:gd name="csX858" fmla="*/ 35542 w 1609516"/>
              <a:gd name="csY858" fmla="*/ 384081 h 1538630"/>
              <a:gd name="csX859" fmla="*/ 33326 w 1609516"/>
              <a:gd name="csY859" fmla="*/ 357791 h 1538630"/>
              <a:gd name="csX860" fmla="*/ 52725 w 1609516"/>
              <a:gd name="csY860" fmla="*/ 333349 h 1538630"/>
              <a:gd name="csX861" fmla="*/ 55222 w 1609516"/>
              <a:gd name="csY861" fmla="*/ 334475 h 1538630"/>
              <a:gd name="csX862" fmla="*/ 56222 w 1609516"/>
              <a:gd name="csY862" fmla="*/ 333347 h 1538630"/>
              <a:gd name="csX863" fmla="*/ 55871 w 1609516"/>
              <a:gd name="csY863" fmla="*/ 333347 h 1538630"/>
              <a:gd name="csX864" fmla="*/ 56346 w 1609516"/>
              <a:gd name="csY864" fmla="*/ 333207 h 1538630"/>
              <a:gd name="csX865" fmla="*/ 56351 w 1609516"/>
              <a:gd name="csY865" fmla="*/ 333202 h 1538630"/>
              <a:gd name="csX866" fmla="*/ 56365 w 1609516"/>
              <a:gd name="csY866" fmla="*/ 333202 h 1538630"/>
              <a:gd name="csX867" fmla="*/ 79571 w 1609516"/>
              <a:gd name="csY867" fmla="*/ 326360 h 1538630"/>
              <a:gd name="csX868" fmla="*/ 104297 w 1609516"/>
              <a:gd name="csY868" fmla="*/ 330529 h 1538630"/>
              <a:gd name="csX869" fmla="*/ 107170 w 1609516"/>
              <a:gd name="csY869" fmla="*/ 334417 h 1538630"/>
              <a:gd name="csX870" fmla="*/ 109366 w 1609516"/>
              <a:gd name="csY870" fmla="*/ 336046 h 1538630"/>
              <a:gd name="csX871" fmla="*/ 109463 w 1609516"/>
              <a:gd name="csY871" fmla="*/ 336020 h 1538630"/>
              <a:gd name="csX872" fmla="*/ 109463 w 1609516"/>
              <a:gd name="csY872" fmla="*/ 336118 h 1538630"/>
              <a:gd name="csX873" fmla="*/ 115226 w 1609516"/>
              <a:gd name="csY873" fmla="*/ 340394 h 1538630"/>
              <a:gd name="csX874" fmla="*/ 114010 w 1609516"/>
              <a:gd name="csY874" fmla="*/ 340120 h 1538630"/>
              <a:gd name="csX875" fmla="*/ 133285 w 1609516"/>
              <a:gd name="csY875" fmla="*/ 357423 h 1538630"/>
              <a:gd name="csX876" fmla="*/ 173509 w 1609516"/>
              <a:gd name="csY876" fmla="*/ 389571 h 1538630"/>
              <a:gd name="csX877" fmla="*/ 181711 w 1609516"/>
              <a:gd name="csY877" fmla="*/ 393270 h 1538630"/>
              <a:gd name="csX878" fmla="*/ 185507 w 1609516"/>
              <a:gd name="csY878" fmla="*/ 394976 h 1538630"/>
              <a:gd name="csX879" fmla="*/ 192658 w 1609516"/>
              <a:gd name="csY879" fmla="*/ 398257 h 1538630"/>
              <a:gd name="csX880" fmla="*/ 195966 w 1609516"/>
              <a:gd name="csY880" fmla="*/ 399788 h 1538630"/>
              <a:gd name="csX881" fmla="*/ 198833 w 1609516"/>
              <a:gd name="csY881" fmla="*/ 401131 h 1538630"/>
              <a:gd name="csX882" fmla="*/ 207877 w 1609516"/>
              <a:gd name="csY882" fmla="*/ 403663 h 1538630"/>
              <a:gd name="csX883" fmla="*/ 207877 w 1609516"/>
              <a:gd name="csY883" fmla="*/ 406481 h 1538630"/>
              <a:gd name="csX884" fmla="*/ 248492 w 1609516"/>
              <a:gd name="csY884" fmla="*/ 419428 h 1538630"/>
              <a:gd name="csX885" fmla="*/ 253965 w 1609516"/>
              <a:gd name="csY885" fmla="*/ 421000 h 1538630"/>
              <a:gd name="csX886" fmla="*/ 267237 w 1609516"/>
              <a:gd name="csY886" fmla="*/ 424801 h 1538630"/>
              <a:gd name="csX887" fmla="*/ 267237 w 1609516"/>
              <a:gd name="csY887" fmla="*/ 426451 h 1538630"/>
              <a:gd name="csX888" fmla="*/ 288701 w 1609516"/>
              <a:gd name="csY888" fmla="*/ 429217 h 1538630"/>
              <a:gd name="csX889" fmla="*/ 288701 w 1609516"/>
              <a:gd name="csY889" fmla="*/ 432036 h 1538630"/>
              <a:gd name="csX890" fmla="*/ 327010 w 1609516"/>
              <a:gd name="csY890" fmla="*/ 433628 h 1538630"/>
              <a:gd name="csX891" fmla="*/ 337486 w 1609516"/>
              <a:gd name="csY891" fmla="*/ 433637 h 1538630"/>
              <a:gd name="csX892" fmla="*/ 344229 w 1609516"/>
              <a:gd name="csY892" fmla="*/ 433632 h 1538630"/>
              <a:gd name="csX893" fmla="*/ 350323 w 1609516"/>
              <a:gd name="csY893" fmla="*/ 433627 h 1538630"/>
              <a:gd name="csX894" fmla="*/ 365245 w 1609516"/>
              <a:gd name="csY894" fmla="*/ 432036 h 1538630"/>
              <a:gd name="csX895" fmla="*/ 360797 w 1609516"/>
              <a:gd name="csY895" fmla="*/ 433759 h 1538630"/>
              <a:gd name="csX896" fmla="*/ 365650 w 1609516"/>
              <a:gd name="csY896" fmla="*/ 433257 h 1538630"/>
              <a:gd name="csX897" fmla="*/ 367213 w 1609516"/>
              <a:gd name="csY897" fmla="*/ 429029 h 1538630"/>
              <a:gd name="csX898" fmla="*/ 375188 w 1609516"/>
              <a:gd name="csY898" fmla="*/ 424906 h 1538630"/>
              <a:gd name="csX899" fmla="*/ 404704 w 1609516"/>
              <a:gd name="csY899" fmla="*/ 389571 h 1538630"/>
              <a:gd name="csX900" fmla="*/ 406265 w 1609516"/>
              <a:gd name="csY900" fmla="*/ 388161 h 1538630"/>
              <a:gd name="csX901" fmla="*/ 406559 w 1609516"/>
              <a:gd name="csY901" fmla="*/ 370106 h 1538630"/>
              <a:gd name="csX902" fmla="*/ 406617 w 1609516"/>
              <a:gd name="csY902" fmla="*/ 364973 h 1538630"/>
              <a:gd name="csX903" fmla="*/ 406626 w 1609516"/>
              <a:gd name="csY903" fmla="*/ 360038 h 1538630"/>
              <a:gd name="csX904" fmla="*/ 406645 w 1609516"/>
              <a:gd name="csY904" fmla="*/ 355503 h 1538630"/>
              <a:gd name="csX905" fmla="*/ 403142 w 1609516"/>
              <a:gd name="csY905" fmla="*/ 345885 h 1538630"/>
              <a:gd name="csX906" fmla="*/ 401579 w 1609516"/>
              <a:gd name="csY906" fmla="*/ 338663 h 1538630"/>
              <a:gd name="csX907" fmla="*/ 390938 w 1609516"/>
              <a:gd name="csY907" fmla="*/ 315939 h 1538630"/>
              <a:gd name="csX908" fmla="*/ 388976 w 1609516"/>
              <a:gd name="csY908" fmla="*/ 312762 h 1538630"/>
              <a:gd name="csX909" fmla="*/ 377934 w 1609516"/>
              <a:gd name="csY909" fmla="*/ 297817 h 1538630"/>
              <a:gd name="csX910" fmla="*/ 368775 w 1609516"/>
              <a:gd name="csY910" fmla="*/ 282470 h 1538630"/>
              <a:gd name="csX911" fmla="*/ 359890 w 1609516"/>
              <a:gd name="csY911" fmla="*/ 271284 h 1538630"/>
              <a:gd name="csX912" fmla="*/ 357374 w 1609516"/>
              <a:gd name="csY912" fmla="*/ 268288 h 1538630"/>
              <a:gd name="csX913" fmla="*/ 337533 w 1609516"/>
              <a:gd name="csY913" fmla="*/ 248649 h 1538630"/>
              <a:gd name="csX914" fmla="*/ 335214 w 1609516"/>
              <a:gd name="csY914" fmla="*/ 246369 h 1538630"/>
              <a:gd name="csX915" fmla="*/ 327085 w 1609516"/>
              <a:gd name="csY915" fmla="*/ 242571 h 1538630"/>
              <a:gd name="csX916" fmla="*/ 288785 w 1609516"/>
              <a:gd name="csY916" fmla="*/ 207968 h 1538630"/>
              <a:gd name="csX917" fmla="*/ 286373 w 1609516"/>
              <a:gd name="csY917" fmla="*/ 192544 h 1538630"/>
              <a:gd name="csX918" fmla="*/ 286385 w 1609516"/>
              <a:gd name="csY918" fmla="*/ 189190 h 1538630"/>
              <a:gd name="csX919" fmla="*/ 300042 w 1609516"/>
              <a:gd name="csY919" fmla="*/ 164095 h 1538630"/>
              <a:gd name="csX920" fmla="*/ 302757 w 1609516"/>
              <a:gd name="csY920" fmla="*/ 161381 h 1538630"/>
              <a:gd name="csX921" fmla="*/ 338411 w 1609516"/>
              <a:gd name="csY921" fmla="*/ 152293 h 1538630"/>
              <a:gd name="csX922" fmla="*/ 368482 w 1609516"/>
              <a:gd name="csY922" fmla="*/ 161893 h 1538630"/>
              <a:gd name="csX923" fmla="*/ 371899 w 1609516"/>
              <a:gd name="csY923" fmla="*/ 165505 h 1538630"/>
              <a:gd name="csX924" fmla="*/ 375121 w 1609516"/>
              <a:gd name="csY924" fmla="*/ 168587 h 1538630"/>
              <a:gd name="csX925" fmla="*/ 384982 w 1609516"/>
              <a:gd name="csY925" fmla="*/ 193777 h 1538630"/>
              <a:gd name="csX926" fmla="*/ 390352 w 1609516"/>
              <a:gd name="csY926" fmla="*/ 214563 h 1538630"/>
              <a:gd name="csX927" fmla="*/ 391529 w 1609516"/>
              <a:gd name="csY927" fmla="*/ 217626 h 1538630"/>
              <a:gd name="csX928" fmla="*/ 401579 w 1609516"/>
              <a:gd name="csY928" fmla="*/ 234556 h 1538630"/>
              <a:gd name="csX929" fmla="*/ 401579 w 1609516"/>
              <a:gd name="csY929" fmla="*/ 238784 h 1538630"/>
              <a:gd name="csX930" fmla="*/ 404215 w 1609516"/>
              <a:gd name="csY930" fmla="*/ 239753 h 1538630"/>
              <a:gd name="csX931" fmla="*/ 417811 w 1609516"/>
              <a:gd name="csY931" fmla="*/ 251996 h 1538630"/>
              <a:gd name="csX932" fmla="*/ 426866 w 1609516"/>
              <a:gd name="csY932" fmla="*/ 262300 h 1538630"/>
              <a:gd name="csX933" fmla="*/ 450097 w 1609516"/>
              <a:gd name="csY933" fmla="*/ 287628 h 1538630"/>
              <a:gd name="csX934" fmla="*/ 457425 w 1609516"/>
              <a:gd name="csY934" fmla="*/ 293920 h 1538630"/>
              <a:gd name="csX935" fmla="*/ 460940 w 1609516"/>
              <a:gd name="csY935" fmla="*/ 296562 h 1538630"/>
              <a:gd name="csX936" fmla="*/ 460940 w 1609516"/>
              <a:gd name="csY936" fmla="*/ 300790 h 1538630"/>
              <a:gd name="csX937" fmla="*/ 473437 w 1609516"/>
              <a:gd name="csY937" fmla="*/ 305018 h 1538630"/>
              <a:gd name="csX938" fmla="*/ 473437 w 1609516"/>
              <a:gd name="csY938" fmla="*/ 307836 h 1538630"/>
              <a:gd name="csX939" fmla="*/ 479881 w 1609516"/>
              <a:gd name="csY939" fmla="*/ 309862 h 1538630"/>
              <a:gd name="csX940" fmla="*/ 483505 w 1609516"/>
              <a:gd name="csY940" fmla="*/ 311001 h 1538630"/>
              <a:gd name="csX941" fmla="*/ 548419 w 1609516"/>
              <a:gd name="csY941" fmla="*/ 306427 h 1538630"/>
              <a:gd name="csX942" fmla="*/ 551842 w 1609516"/>
              <a:gd name="csY942" fmla="*/ 305127 h 1538630"/>
              <a:gd name="csX943" fmla="*/ 560232 w 1609516"/>
              <a:gd name="csY943" fmla="*/ 298148 h 1538630"/>
              <a:gd name="csX944" fmla="*/ 562972 w 1609516"/>
              <a:gd name="csY944" fmla="*/ 295252 h 1538630"/>
              <a:gd name="csX945" fmla="*/ 568086 w 1609516"/>
              <a:gd name="csY945" fmla="*/ 289152 h 1538630"/>
              <a:gd name="csX946" fmla="*/ 570289 w 1609516"/>
              <a:gd name="csY946" fmla="*/ 286697 h 1538630"/>
              <a:gd name="csX947" fmla="*/ 573413 w 1609516"/>
              <a:gd name="csY947" fmla="*/ 286697 h 1538630"/>
              <a:gd name="csX948" fmla="*/ 577220 w 1609516"/>
              <a:gd name="csY948" fmla="*/ 257016 h 1538630"/>
              <a:gd name="csX949" fmla="*/ 577235 w 1609516"/>
              <a:gd name="csY949" fmla="*/ 254206 h 1538630"/>
              <a:gd name="csX950" fmla="*/ 569443 w 1609516"/>
              <a:gd name="csY950" fmla="*/ 206049 h 1538630"/>
              <a:gd name="csX951" fmla="*/ 568726 w 1609516"/>
              <a:gd name="csY951" fmla="*/ 200735 h 1538630"/>
              <a:gd name="csX952" fmla="*/ 565602 w 1609516"/>
              <a:gd name="csY952" fmla="*/ 200735 h 1538630"/>
              <a:gd name="csX953" fmla="*/ 559549 w 1609516"/>
              <a:gd name="csY953" fmla="*/ 184441 h 1538630"/>
              <a:gd name="csX954" fmla="*/ 537484 w 1609516"/>
              <a:gd name="csY954" fmla="*/ 159867 h 1538630"/>
              <a:gd name="csX955" fmla="*/ 531235 w 1609516"/>
              <a:gd name="csY955" fmla="*/ 154230 h 1538630"/>
              <a:gd name="csX956" fmla="*/ 531235 w 1609516"/>
              <a:gd name="csY956" fmla="*/ 151412 h 1538630"/>
              <a:gd name="csX957" fmla="*/ 526549 w 1609516"/>
              <a:gd name="csY957" fmla="*/ 150003 h 1538630"/>
              <a:gd name="csX958" fmla="*/ 524304 w 1609516"/>
              <a:gd name="csY958" fmla="*/ 107198 h 1538630"/>
              <a:gd name="csX959" fmla="*/ 547052 w 1609516"/>
              <a:gd name="csY959" fmla="*/ 85972 h 1538630"/>
              <a:gd name="csX960" fmla="*/ 588460 w 1609516"/>
              <a:gd name="csY960" fmla="*/ 83538 h 1538630"/>
              <a:gd name="csX961" fmla="*/ 617152 w 1609516"/>
              <a:gd name="csY961" fmla="*/ 111954 h 1538630"/>
              <a:gd name="csX962" fmla="*/ 617884 w 1609516"/>
              <a:gd name="csY962" fmla="*/ 124175 h 1538630"/>
              <a:gd name="csX963" fmla="*/ 617917 w 1609516"/>
              <a:gd name="csY963" fmla="*/ 127607 h 1538630"/>
              <a:gd name="csX964" fmla="*/ 617919 w 1609516"/>
              <a:gd name="csY964" fmla="*/ 141969 h 1538630"/>
              <a:gd name="csX965" fmla="*/ 630625 w 1609516"/>
              <a:gd name="csY965" fmla="*/ 191311 h 1538630"/>
              <a:gd name="csX966" fmla="*/ 637850 w 1609516"/>
              <a:gd name="csY966" fmla="*/ 205139 h 1538630"/>
              <a:gd name="csX967" fmla="*/ 643708 w 1609516"/>
              <a:gd name="csY967" fmla="*/ 212009 h 1538630"/>
              <a:gd name="csX968" fmla="*/ 647027 w 1609516"/>
              <a:gd name="csY968" fmla="*/ 217645 h 1538630"/>
              <a:gd name="csX969" fmla="*/ 670264 w 1609516"/>
              <a:gd name="csY969" fmla="*/ 241603 h 1538630"/>
              <a:gd name="csX970" fmla="*/ 670264 w 1609516"/>
              <a:gd name="csY970" fmla="*/ 244421 h 1538630"/>
              <a:gd name="csX971" fmla="*/ 675634 w 1609516"/>
              <a:gd name="csY971" fmla="*/ 245742 h 1538630"/>
              <a:gd name="csX972" fmla="*/ 682761 w 1609516"/>
              <a:gd name="csY972" fmla="*/ 248649 h 1538630"/>
              <a:gd name="csX973" fmla="*/ 752092 w 1609516"/>
              <a:gd name="csY973" fmla="*/ 245076 h 1538630"/>
              <a:gd name="csX974" fmla="*/ 758433 w 1609516"/>
              <a:gd name="csY974" fmla="*/ 240485 h 1538630"/>
              <a:gd name="csX975" fmla="*/ 763991 w 1609516"/>
              <a:gd name="csY975" fmla="*/ 238784 h 1538630"/>
              <a:gd name="csX976" fmla="*/ 765315 w 1609516"/>
              <a:gd name="csY976" fmla="*/ 235778 h 1538630"/>
              <a:gd name="csX977" fmla="*/ 770923 w 1609516"/>
              <a:gd name="csY977" fmla="*/ 223459 h 1538630"/>
              <a:gd name="csX978" fmla="*/ 772998 w 1609516"/>
              <a:gd name="csY978" fmla="*/ 218934 h 1538630"/>
              <a:gd name="csX979" fmla="*/ 777562 w 1609516"/>
              <a:gd name="csY979" fmla="*/ 209895 h 1538630"/>
              <a:gd name="csX980" fmla="*/ 781175 w 1609516"/>
              <a:gd name="csY980" fmla="*/ 124637 h 1538630"/>
              <a:gd name="csX981" fmla="*/ 778051 w 1609516"/>
              <a:gd name="csY981" fmla="*/ 124637 h 1538630"/>
              <a:gd name="csX982" fmla="*/ 767116 w 1609516"/>
              <a:gd name="csY982" fmla="*/ 79542 h 1538630"/>
              <a:gd name="csX983" fmla="*/ 793379 w 1609516"/>
              <a:gd name="csY983" fmla="*/ 54000 h 1538630"/>
              <a:gd name="csX984" fmla="*/ 840688 w 1609516"/>
              <a:gd name="csY984" fmla="*/ 55503 h 1538630"/>
              <a:gd name="csX985" fmla="*/ 851470 w 1609516"/>
              <a:gd name="csY985" fmla="*/ 64040 h 1538630"/>
              <a:gd name="csX986" fmla="*/ 853997 w 1609516"/>
              <a:gd name="csY986" fmla="*/ 66529 h 1538630"/>
              <a:gd name="csX987" fmla="*/ 861488 w 1609516"/>
              <a:gd name="csY987" fmla="*/ 82057 h 1538630"/>
              <a:gd name="csX988" fmla="*/ 861937 w 1609516"/>
              <a:gd name="csY988" fmla="*/ 90492 h 1538630"/>
              <a:gd name="csX989" fmla="*/ 863826 w 1609516"/>
              <a:gd name="csY989" fmla="*/ 100715 h 1538630"/>
              <a:gd name="csX990" fmla="*/ 857577 w 1609516"/>
              <a:gd name="csY990" fmla="*/ 121853 h 1538630"/>
              <a:gd name="csX991" fmla="*/ 856015 w 1609516"/>
              <a:gd name="csY991" fmla="*/ 121853 h 1538630"/>
              <a:gd name="csX992" fmla="*/ 855442 w 1609516"/>
              <a:gd name="csY992" fmla="*/ 118919 h 1538630"/>
              <a:gd name="csX993" fmla="*/ 855417 w 1609516"/>
              <a:gd name="csY993" fmla="*/ 118798 h 1538630"/>
              <a:gd name="csX994" fmla="*/ 856157 w 1609516"/>
              <a:gd name="csY994" fmla="*/ 124637 h 1538630"/>
              <a:gd name="csX995" fmla="*/ 850623 w 1609516"/>
              <a:gd name="csY995" fmla="*/ 134701 h 1538630"/>
              <a:gd name="csX996" fmla="*/ 851325 w 1609516"/>
              <a:gd name="csY996" fmla="*/ 135968 h 1538630"/>
              <a:gd name="csX997" fmla="*/ 849886 w 1609516"/>
              <a:gd name="csY997" fmla="*/ 139843 h 1538630"/>
              <a:gd name="csX998" fmla="*/ 847786 w 1609516"/>
              <a:gd name="csY998" fmla="*/ 152889 h 1538630"/>
              <a:gd name="csX999" fmla="*/ 847767 w 1609516"/>
              <a:gd name="csY999" fmla="*/ 157768 h 1538630"/>
              <a:gd name="csX1000" fmla="*/ 847810 w 1609516"/>
              <a:gd name="csY1000" fmla="*/ 162919 h 1538630"/>
              <a:gd name="csX1001" fmla="*/ 847832 w 1609516"/>
              <a:gd name="csY1001" fmla="*/ 168227 h 1538630"/>
              <a:gd name="csX1002" fmla="*/ 850903 w 1609516"/>
              <a:gd name="csY1002" fmla="*/ 209013 h 1538630"/>
              <a:gd name="csX1003" fmla="*/ 852880 w 1609516"/>
              <a:gd name="csY1003" fmla="*/ 224692 h 1538630"/>
              <a:gd name="csX1004" fmla="*/ 854595 w 1609516"/>
              <a:gd name="csY1004" fmla="*/ 224692 h 1538630"/>
              <a:gd name="csX1005" fmla="*/ 856083 w 1609516"/>
              <a:gd name="csY1005" fmla="*/ 227268 h 1538630"/>
              <a:gd name="csX1006" fmla="*/ 879588 w 1609516"/>
              <a:gd name="csY1006" fmla="*/ 247239 h 1538630"/>
              <a:gd name="csX1007" fmla="*/ 885739 w 1609516"/>
              <a:gd name="csY1007" fmla="*/ 249618 h 1538630"/>
              <a:gd name="csX1008" fmla="*/ 890523 w 1609516"/>
              <a:gd name="csY1008" fmla="*/ 251467 h 1538630"/>
              <a:gd name="csX1009" fmla="*/ 890523 w 1609516"/>
              <a:gd name="csY1009" fmla="*/ 254285 h 1538630"/>
              <a:gd name="csX1010" fmla="*/ 920203 w 1609516"/>
              <a:gd name="csY1010" fmla="*/ 261332 h 1538630"/>
              <a:gd name="csX1011" fmla="*/ 920203 w 1609516"/>
              <a:gd name="csY1011" fmla="*/ 262741 h 1538630"/>
              <a:gd name="csX1012" fmla="*/ 910831 w 1609516"/>
              <a:gd name="csY1012" fmla="*/ 262741 h 1538630"/>
              <a:gd name="csX1013" fmla="*/ 910831 w 1609516"/>
              <a:gd name="csY1013" fmla="*/ 262864 h 1538630"/>
              <a:gd name="csX1014" fmla="*/ 927993 w 1609516"/>
              <a:gd name="csY1014" fmla="*/ 264177 h 1538630"/>
              <a:gd name="csX1015" fmla="*/ 939273 w 1609516"/>
              <a:gd name="csY1015" fmla="*/ 265285 h 1538630"/>
              <a:gd name="csX1016" fmla="*/ 940456 w 1609516"/>
              <a:gd name="csY1016" fmla="*/ 265191 h 1538630"/>
              <a:gd name="csX1017" fmla="*/ 991622 w 1609516"/>
              <a:gd name="csY1017" fmla="*/ 242329 h 1538630"/>
              <a:gd name="csX1018" fmla="*/ 1000803 w 1609516"/>
              <a:gd name="csY1018" fmla="*/ 236505 h 1538630"/>
              <a:gd name="csX1019" fmla="*/ 999806 w 1609516"/>
              <a:gd name="csY1019" fmla="*/ 236055 h 1538630"/>
              <a:gd name="csX1020" fmla="*/ 1003126 w 1609516"/>
              <a:gd name="csY1020" fmla="*/ 232851 h 1538630"/>
              <a:gd name="csX1021" fmla="*/ 1029487 w 1609516"/>
              <a:gd name="csY1021" fmla="*/ 205052 h 1538630"/>
              <a:gd name="csX1022" fmla="*/ 1029872 w 1609516"/>
              <a:gd name="csY1022" fmla="*/ 206442 h 1538630"/>
              <a:gd name="csX1023" fmla="*/ 1031614 w 1609516"/>
              <a:gd name="csY1023" fmla="*/ 203719 h 1538630"/>
              <a:gd name="csX1024" fmla="*/ 1038924 w 1609516"/>
              <a:gd name="csY1024" fmla="*/ 192280 h 1538630"/>
              <a:gd name="csX1025" fmla="*/ 1042049 w 1609516"/>
              <a:gd name="csY1025" fmla="*/ 190870 h 1538630"/>
              <a:gd name="csX1026" fmla="*/ 1044294 w 1609516"/>
              <a:gd name="csY1026" fmla="*/ 186026 h 1538630"/>
              <a:gd name="csX1027" fmla="*/ 1051422 w 1609516"/>
              <a:gd name="csY1027" fmla="*/ 178188 h 1538630"/>
              <a:gd name="csX1028" fmla="*/ 1052984 w 1609516"/>
              <a:gd name="csY1028" fmla="*/ 172551 h 1538630"/>
              <a:gd name="csX1029" fmla="*/ 1056108 w 1609516"/>
              <a:gd name="csY1029" fmla="*/ 172551 h 1538630"/>
              <a:gd name="csX1030" fmla="*/ 1059232 w 1609516"/>
              <a:gd name="csY1030" fmla="*/ 162686 h 1538630"/>
              <a:gd name="csX1031" fmla="*/ 1062357 w 1609516"/>
              <a:gd name="csY1031" fmla="*/ 162686 h 1538630"/>
              <a:gd name="csX1032" fmla="*/ 1063162 w 1609516"/>
              <a:gd name="csY1032" fmla="*/ 160258 h 1538630"/>
              <a:gd name="csX1033" fmla="*/ 1073292 w 1609516"/>
              <a:gd name="csY1033" fmla="*/ 140138 h 1538630"/>
              <a:gd name="csX1034" fmla="*/ 1076415 w 1609516"/>
              <a:gd name="csY1034" fmla="*/ 140138 h 1538630"/>
              <a:gd name="csX1035" fmla="*/ 1085294 w 1609516"/>
              <a:gd name="csY1035" fmla="*/ 117569 h 1538630"/>
              <a:gd name="csX1036" fmla="*/ 1087350 w 1609516"/>
              <a:gd name="csY1036" fmla="*/ 113363 h 1538630"/>
              <a:gd name="csX1037" fmla="*/ 1092037 w 1609516"/>
              <a:gd name="csY1037" fmla="*/ 111954 h 1538630"/>
              <a:gd name="csX1038" fmla="*/ 1092623 w 1609516"/>
              <a:gd name="csY1038" fmla="*/ 108695 h 1538630"/>
              <a:gd name="csX1039" fmla="*/ 1096723 w 1609516"/>
              <a:gd name="csY1039" fmla="*/ 100680 h 1538630"/>
              <a:gd name="csX1040" fmla="*/ 1098188 w 1609516"/>
              <a:gd name="csY1040" fmla="*/ 96013 h 1538630"/>
              <a:gd name="csX1041" fmla="*/ 1102288 w 1609516"/>
              <a:gd name="csY1041" fmla="*/ 87029 h 1538630"/>
              <a:gd name="csX1042" fmla="*/ 1104534 w 1609516"/>
              <a:gd name="csY1042" fmla="*/ 61222 h 1538630"/>
              <a:gd name="csX1043" fmla="*/ 1104381 w 1609516"/>
              <a:gd name="csY1043" fmla="*/ 55569 h 1538630"/>
              <a:gd name="csX1044" fmla="*/ 1104397 w 1609516"/>
              <a:gd name="csY1044" fmla="*/ 52335 h 1538630"/>
              <a:gd name="csX1045" fmla="*/ 1104436 w 1609516"/>
              <a:gd name="csY1045" fmla="*/ 48979 h 1538630"/>
              <a:gd name="csX1046" fmla="*/ 1104457 w 1609516"/>
              <a:gd name="csY1046" fmla="*/ 45575 h 1538630"/>
              <a:gd name="csX1047" fmla="*/ 1104534 w 1609516"/>
              <a:gd name="csY1047" fmla="*/ 37265 h 1538630"/>
              <a:gd name="csX1048" fmla="*/ 1107658 w 1609516"/>
              <a:gd name="csY1048" fmla="*/ 37265 h 1538630"/>
              <a:gd name="csX1049" fmla="*/ 1107463 w 1609516"/>
              <a:gd name="csY1049" fmla="*/ 31805 h 1538630"/>
              <a:gd name="csX1050" fmla="*/ 1107658 w 1609516"/>
              <a:gd name="csY1050" fmla="*/ 25991 h 1538630"/>
              <a:gd name="csX1051" fmla="*/ 1110782 w 1609516"/>
              <a:gd name="csY1051" fmla="*/ 23173 h 1538630"/>
              <a:gd name="csX1052" fmla="*/ 1111759 w 1609516"/>
              <a:gd name="csY1052" fmla="*/ 20091 h 1538630"/>
              <a:gd name="csX1053" fmla="*/ 1134507 w 1609516"/>
              <a:gd name="csY1053" fmla="*/ 2828 h 1538630"/>
              <a:gd name="csX1054" fmla="*/ 1155019 w 1609516"/>
              <a:gd name="csY1054" fmla="*/ 35 h 153863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  <a:cxn ang="0">
                <a:pos x="csX170" y="csY170"/>
              </a:cxn>
              <a:cxn ang="0">
                <a:pos x="csX171" y="csY171"/>
              </a:cxn>
              <a:cxn ang="0">
                <a:pos x="csX172" y="csY172"/>
              </a:cxn>
              <a:cxn ang="0">
                <a:pos x="csX173" y="csY173"/>
              </a:cxn>
              <a:cxn ang="0">
                <a:pos x="csX174" y="csY174"/>
              </a:cxn>
              <a:cxn ang="0">
                <a:pos x="csX175" y="csY175"/>
              </a:cxn>
              <a:cxn ang="0">
                <a:pos x="csX176" y="csY176"/>
              </a:cxn>
              <a:cxn ang="0">
                <a:pos x="csX177" y="csY177"/>
              </a:cxn>
              <a:cxn ang="0">
                <a:pos x="csX178" y="csY178"/>
              </a:cxn>
              <a:cxn ang="0">
                <a:pos x="csX179" y="csY179"/>
              </a:cxn>
              <a:cxn ang="0">
                <a:pos x="csX180" y="csY180"/>
              </a:cxn>
              <a:cxn ang="0">
                <a:pos x="csX181" y="csY181"/>
              </a:cxn>
              <a:cxn ang="0">
                <a:pos x="csX182" y="csY182"/>
              </a:cxn>
              <a:cxn ang="0">
                <a:pos x="csX183" y="csY183"/>
              </a:cxn>
              <a:cxn ang="0">
                <a:pos x="csX184" y="csY184"/>
              </a:cxn>
              <a:cxn ang="0">
                <a:pos x="csX185" y="csY185"/>
              </a:cxn>
              <a:cxn ang="0">
                <a:pos x="csX186" y="csY186"/>
              </a:cxn>
              <a:cxn ang="0">
                <a:pos x="csX187" y="csY187"/>
              </a:cxn>
              <a:cxn ang="0">
                <a:pos x="csX188" y="csY188"/>
              </a:cxn>
              <a:cxn ang="0">
                <a:pos x="csX189" y="csY189"/>
              </a:cxn>
              <a:cxn ang="0">
                <a:pos x="csX190" y="csY190"/>
              </a:cxn>
              <a:cxn ang="0">
                <a:pos x="csX191" y="csY191"/>
              </a:cxn>
              <a:cxn ang="0">
                <a:pos x="csX192" y="csY192"/>
              </a:cxn>
              <a:cxn ang="0">
                <a:pos x="csX193" y="csY193"/>
              </a:cxn>
              <a:cxn ang="0">
                <a:pos x="csX194" y="csY194"/>
              </a:cxn>
              <a:cxn ang="0">
                <a:pos x="csX195" y="csY195"/>
              </a:cxn>
              <a:cxn ang="0">
                <a:pos x="csX196" y="csY196"/>
              </a:cxn>
              <a:cxn ang="0">
                <a:pos x="csX197" y="csY197"/>
              </a:cxn>
              <a:cxn ang="0">
                <a:pos x="csX198" y="csY198"/>
              </a:cxn>
              <a:cxn ang="0">
                <a:pos x="csX199" y="csY199"/>
              </a:cxn>
              <a:cxn ang="0">
                <a:pos x="csX200" y="csY200"/>
              </a:cxn>
              <a:cxn ang="0">
                <a:pos x="csX201" y="csY201"/>
              </a:cxn>
              <a:cxn ang="0">
                <a:pos x="csX202" y="csY202"/>
              </a:cxn>
              <a:cxn ang="0">
                <a:pos x="csX203" y="csY203"/>
              </a:cxn>
              <a:cxn ang="0">
                <a:pos x="csX204" y="csY204"/>
              </a:cxn>
              <a:cxn ang="0">
                <a:pos x="csX205" y="csY205"/>
              </a:cxn>
              <a:cxn ang="0">
                <a:pos x="csX206" y="csY206"/>
              </a:cxn>
              <a:cxn ang="0">
                <a:pos x="csX207" y="csY207"/>
              </a:cxn>
              <a:cxn ang="0">
                <a:pos x="csX208" y="csY208"/>
              </a:cxn>
              <a:cxn ang="0">
                <a:pos x="csX209" y="csY209"/>
              </a:cxn>
              <a:cxn ang="0">
                <a:pos x="csX210" y="csY210"/>
              </a:cxn>
              <a:cxn ang="0">
                <a:pos x="csX211" y="csY211"/>
              </a:cxn>
              <a:cxn ang="0">
                <a:pos x="csX212" y="csY212"/>
              </a:cxn>
              <a:cxn ang="0">
                <a:pos x="csX213" y="csY213"/>
              </a:cxn>
              <a:cxn ang="0">
                <a:pos x="csX214" y="csY214"/>
              </a:cxn>
              <a:cxn ang="0">
                <a:pos x="csX215" y="csY215"/>
              </a:cxn>
              <a:cxn ang="0">
                <a:pos x="csX216" y="csY216"/>
              </a:cxn>
              <a:cxn ang="0">
                <a:pos x="csX217" y="csY217"/>
              </a:cxn>
              <a:cxn ang="0">
                <a:pos x="csX218" y="csY218"/>
              </a:cxn>
              <a:cxn ang="0">
                <a:pos x="csX219" y="csY219"/>
              </a:cxn>
              <a:cxn ang="0">
                <a:pos x="csX220" y="csY220"/>
              </a:cxn>
              <a:cxn ang="0">
                <a:pos x="csX221" y="csY221"/>
              </a:cxn>
              <a:cxn ang="0">
                <a:pos x="csX222" y="csY222"/>
              </a:cxn>
              <a:cxn ang="0">
                <a:pos x="csX223" y="csY223"/>
              </a:cxn>
              <a:cxn ang="0">
                <a:pos x="csX224" y="csY224"/>
              </a:cxn>
              <a:cxn ang="0">
                <a:pos x="csX225" y="csY225"/>
              </a:cxn>
              <a:cxn ang="0">
                <a:pos x="csX226" y="csY226"/>
              </a:cxn>
              <a:cxn ang="0">
                <a:pos x="csX227" y="csY227"/>
              </a:cxn>
              <a:cxn ang="0">
                <a:pos x="csX228" y="csY228"/>
              </a:cxn>
              <a:cxn ang="0">
                <a:pos x="csX229" y="csY229"/>
              </a:cxn>
              <a:cxn ang="0">
                <a:pos x="csX230" y="csY230"/>
              </a:cxn>
              <a:cxn ang="0">
                <a:pos x="csX231" y="csY231"/>
              </a:cxn>
              <a:cxn ang="0">
                <a:pos x="csX232" y="csY232"/>
              </a:cxn>
              <a:cxn ang="0">
                <a:pos x="csX233" y="csY233"/>
              </a:cxn>
              <a:cxn ang="0">
                <a:pos x="csX234" y="csY234"/>
              </a:cxn>
              <a:cxn ang="0">
                <a:pos x="csX235" y="csY235"/>
              </a:cxn>
              <a:cxn ang="0">
                <a:pos x="csX236" y="csY236"/>
              </a:cxn>
              <a:cxn ang="0">
                <a:pos x="csX237" y="csY237"/>
              </a:cxn>
              <a:cxn ang="0">
                <a:pos x="csX238" y="csY238"/>
              </a:cxn>
              <a:cxn ang="0">
                <a:pos x="csX239" y="csY239"/>
              </a:cxn>
              <a:cxn ang="0">
                <a:pos x="csX240" y="csY240"/>
              </a:cxn>
              <a:cxn ang="0">
                <a:pos x="csX241" y="csY241"/>
              </a:cxn>
              <a:cxn ang="0">
                <a:pos x="csX242" y="csY242"/>
              </a:cxn>
              <a:cxn ang="0">
                <a:pos x="csX243" y="csY243"/>
              </a:cxn>
              <a:cxn ang="0">
                <a:pos x="csX244" y="csY244"/>
              </a:cxn>
              <a:cxn ang="0">
                <a:pos x="csX245" y="csY245"/>
              </a:cxn>
              <a:cxn ang="0">
                <a:pos x="csX246" y="csY246"/>
              </a:cxn>
              <a:cxn ang="0">
                <a:pos x="csX247" y="csY247"/>
              </a:cxn>
              <a:cxn ang="0">
                <a:pos x="csX248" y="csY248"/>
              </a:cxn>
              <a:cxn ang="0">
                <a:pos x="csX249" y="csY249"/>
              </a:cxn>
              <a:cxn ang="0">
                <a:pos x="csX250" y="csY250"/>
              </a:cxn>
              <a:cxn ang="0">
                <a:pos x="csX251" y="csY251"/>
              </a:cxn>
              <a:cxn ang="0">
                <a:pos x="csX252" y="csY252"/>
              </a:cxn>
              <a:cxn ang="0">
                <a:pos x="csX253" y="csY253"/>
              </a:cxn>
              <a:cxn ang="0">
                <a:pos x="csX254" y="csY254"/>
              </a:cxn>
              <a:cxn ang="0">
                <a:pos x="csX255" y="csY255"/>
              </a:cxn>
              <a:cxn ang="0">
                <a:pos x="csX256" y="csY256"/>
              </a:cxn>
              <a:cxn ang="0">
                <a:pos x="csX257" y="csY257"/>
              </a:cxn>
              <a:cxn ang="0">
                <a:pos x="csX258" y="csY258"/>
              </a:cxn>
              <a:cxn ang="0">
                <a:pos x="csX259" y="csY259"/>
              </a:cxn>
              <a:cxn ang="0">
                <a:pos x="csX260" y="csY260"/>
              </a:cxn>
              <a:cxn ang="0">
                <a:pos x="csX261" y="csY261"/>
              </a:cxn>
              <a:cxn ang="0">
                <a:pos x="csX262" y="csY262"/>
              </a:cxn>
              <a:cxn ang="0">
                <a:pos x="csX263" y="csY263"/>
              </a:cxn>
              <a:cxn ang="0">
                <a:pos x="csX264" y="csY264"/>
              </a:cxn>
              <a:cxn ang="0">
                <a:pos x="csX265" y="csY265"/>
              </a:cxn>
              <a:cxn ang="0">
                <a:pos x="csX266" y="csY266"/>
              </a:cxn>
              <a:cxn ang="0">
                <a:pos x="csX267" y="csY267"/>
              </a:cxn>
              <a:cxn ang="0">
                <a:pos x="csX268" y="csY268"/>
              </a:cxn>
              <a:cxn ang="0">
                <a:pos x="csX269" y="csY269"/>
              </a:cxn>
              <a:cxn ang="0">
                <a:pos x="csX270" y="csY270"/>
              </a:cxn>
              <a:cxn ang="0">
                <a:pos x="csX271" y="csY271"/>
              </a:cxn>
              <a:cxn ang="0">
                <a:pos x="csX272" y="csY272"/>
              </a:cxn>
              <a:cxn ang="0">
                <a:pos x="csX273" y="csY273"/>
              </a:cxn>
              <a:cxn ang="0">
                <a:pos x="csX274" y="csY274"/>
              </a:cxn>
              <a:cxn ang="0">
                <a:pos x="csX275" y="csY275"/>
              </a:cxn>
              <a:cxn ang="0">
                <a:pos x="csX276" y="csY276"/>
              </a:cxn>
              <a:cxn ang="0">
                <a:pos x="csX277" y="csY277"/>
              </a:cxn>
              <a:cxn ang="0">
                <a:pos x="csX278" y="csY278"/>
              </a:cxn>
              <a:cxn ang="0">
                <a:pos x="csX279" y="csY279"/>
              </a:cxn>
              <a:cxn ang="0">
                <a:pos x="csX280" y="csY280"/>
              </a:cxn>
              <a:cxn ang="0">
                <a:pos x="csX281" y="csY281"/>
              </a:cxn>
              <a:cxn ang="0">
                <a:pos x="csX282" y="csY282"/>
              </a:cxn>
              <a:cxn ang="0">
                <a:pos x="csX283" y="csY283"/>
              </a:cxn>
              <a:cxn ang="0">
                <a:pos x="csX284" y="csY284"/>
              </a:cxn>
              <a:cxn ang="0">
                <a:pos x="csX285" y="csY285"/>
              </a:cxn>
              <a:cxn ang="0">
                <a:pos x="csX286" y="csY286"/>
              </a:cxn>
              <a:cxn ang="0">
                <a:pos x="csX287" y="csY287"/>
              </a:cxn>
              <a:cxn ang="0">
                <a:pos x="csX288" y="csY288"/>
              </a:cxn>
              <a:cxn ang="0">
                <a:pos x="csX289" y="csY289"/>
              </a:cxn>
              <a:cxn ang="0">
                <a:pos x="csX290" y="csY290"/>
              </a:cxn>
              <a:cxn ang="0">
                <a:pos x="csX291" y="csY291"/>
              </a:cxn>
              <a:cxn ang="0">
                <a:pos x="csX292" y="csY292"/>
              </a:cxn>
              <a:cxn ang="0">
                <a:pos x="csX293" y="csY293"/>
              </a:cxn>
              <a:cxn ang="0">
                <a:pos x="csX294" y="csY294"/>
              </a:cxn>
              <a:cxn ang="0">
                <a:pos x="csX295" y="csY295"/>
              </a:cxn>
              <a:cxn ang="0">
                <a:pos x="csX296" y="csY296"/>
              </a:cxn>
              <a:cxn ang="0">
                <a:pos x="csX297" y="csY297"/>
              </a:cxn>
              <a:cxn ang="0">
                <a:pos x="csX298" y="csY298"/>
              </a:cxn>
              <a:cxn ang="0">
                <a:pos x="csX299" y="csY299"/>
              </a:cxn>
              <a:cxn ang="0">
                <a:pos x="csX300" y="csY300"/>
              </a:cxn>
              <a:cxn ang="0">
                <a:pos x="csX301" y="csY301"/>
              </a:cxn>
              <a:cxn ang="0">
                <a:pos x="csX302" y="csY302"/>
              </a:cxn>
              <a:cxn ang="0">
                <a:pos x="csX303" y="csY303"/>
              </a:cxn>
              <a:cxn ang="0">
                <a:pos x="csX304" y="csY304"/>
              </a:cxn>
              <a:cxn ang="0">
                <a:pos x="csX305" y="csY305"/>
              </a:cxn>
              <a:cxn ang="0">
                <a:pos x="csX306" y="csY306"/>
              </a:cxn>
              <a:cxn ang="0">
                <a:pos x="csX307" y="csY307"/>
              </a:cxn>
              <a:cxn ang="0">
                <a:pos x="csX308" y="csY308"/>
              </a:cxn>
              <a:cxn ang="0">
                <a:pos x="csX309" y="csY309"/>
              </a:cxn>
              <a:cxn ang="0">
                <a:pos x="csX310" y="csY310"/>
              </a:cxn>
              <a:cxn ang="0">
                <a:pos x="csX311" y="csY311"/>
              </a:cxn>
              <a:cxn ang="0">
                <a:pos x="csX312" y="csY312"/>
              </a:cxn>
              <a:cxn ang="0">
                <a:pos x="csX313" y="csY313"/>
              </a:cxn>
              <a:cxn ang="0">
                <a:pos x="csX314" y="csY314"/>
              </a:cxn>
              <a:cxn ang="0">
                <a:pos x="csX315" y="csY315"/>
              </a:cxn>
              <a:cxn ang="0">
                <a:pos x="csX316" y="csY316"/>
              </a:cxn>
              <a:cxn ang="0">
                <a:pos x="csX317" y="csY317"/>
              </a:cxn>
              <a:cxn ang="0">
                <a:pos x="csX318" y="csY318"/>
              </a:cxn>
              <a:cxn ang="0">
                <a:pos x="csX319" y="csY319"/>
              </a:cxn>
              <a:cxn ang="0">
                <a:pos x="csX320" y="csY320"/>
              </a:cxn>
              <a:cxn ang="0">
                <a:pos x="csX321" y="csY321"/>
              </a:cxn>
              <a:cxn ang="0">
                <a:pos x="csX322" y="csY322"/>
              </a:cxn>
              <a:cxn ang="0">
                <a:pos x="csX323" y="csY323"/>
              </a:cxn>
              <a:cxn ang="0">
                <a:pos x="csX324" y="csY324"/>
              </a:cxn>
              <a:cxn ang="0">
                <a:pos x="csX325" y="csY325"/>
              </a:cxn>
              <a:cxn ang="0">
                <a:pos x="csX326" y="csY326"/>
              </a:cxn>
              <a:cxn ang="0">
                <a:pos x="csX327" y="csY327"/>
              </a:cxn>
              <a:cxn ang="0">
                <a:pos x="csX328" y="csY328"/>
              </a:cxn>
              <a:cxn ang="0">
                <a:pos x="csX329" y="csY329"/>
              </a:cxn>
              <a:cxn ang="0">
                <a:pos x="csX330" y="csY330"/>
              </a:cxn>
              <a:cxn ang="0">
                <a:pos x="csX331" y="csY331"/>
              </a:cxn>
              <a:cxn ang="0">
                <a:pos x="csX332" y="csY332"/>
              </a:cxn>
              <a:cxn ang="0">
                <a:pos x="csX333" y="csY333"/>
              </a:cxn>
              <a:cxn ang="0">
                <a:pos x="csX334" y="csY334"/>
              </a:cxn>
              <a:cxn ang="0">
                <a:pos x="csX335" y="csY335"/>
              </a:cxn>
              <a:cxn ang="0">
                <a:pos x="csX336" y="csY336"/>
              </a:cxn>
              <a:cxn ang="0">
                <a:pos x="csX337" y="csY337"/>
              </a:cxn>
              <a:cxn ang="0">
                <a:pos x="csX338" y="csY338"/>
              </a:cxn>
              <a:cxn ang="0">
                <a:pos x="csX339" y="csY339"/>
              </a:cxn>
              <a:cxn ang="0">
                <a:pos x="csX340" y="csY340"/>
              </a:cxn>
              <a:cxn ang="0">
                <a:pos x="csX341" y="csY341"/>
              </a:cxn>
              <a:cxn ang="0">
                <a:pos x="csX342" y="csY342"/>
              </a:cxn>
              <a:cxn ang="0">
                <a:pos x="csX343" y="csY343"/>
              </a:cxn>
              <a:cxn ang="0">
                <a:pos x="csX344" y="csY344"/>
              </a:cxn>
              <a:cxn ang="0">
                <a:pos x="csX345" y="csY345"/>
              </a:cxn>
              <a:cxn ang="0">
                <a:pos x="csX346" y="csY346"/>
              </a:cxn>
              <a:cxn ang="0">
                <a:pos x="csX347" y="csY347"/>
              </a:cxn>
              <a:cxn ang="0">
                <a:pos x="csX348" y="csY348"/>
              </a:cxn>
              <a:cxn ang="0">
                <a:pos x="csX349" y="csY349"/>
              </a:cxn>
              <a:cxn ang="0">
                <a:pos x="csX350" y="csY350"/>
              </a:cxn>
              <a:cxn ang="0">
                <a:pos x="csX351" y="csY351"/>
              </a:cxn>
              <a:cxn ang="0">
                <a:pos x="csX352" y="csY352"/>
              </a:cxn>
              <a:cxn ang="0">
                <a:pos x="csX353" y="csY353"/>
              </a:cxn>
              <a:cxn ang="0">
                <a:pos x="csX354" y="csY354"/>
              </a:cxn>
              <a:cxn ang="0">
                <a:pos x="csX355" y="csY355"/>
              </a:cxn>
              <a:cxn ang="0">
                <a:pos x="csX356" y="csY356"/>
              </a:cxn>
              <a:cxn ang="0">
                <a:pos x="csX357" y="csY357"/>
              </a:cxn>
              <a:cxn ang="0">
                <a:pos x="csX358" y="csY358"/>
              </a:cxn>
              <a:cxn ang="0">
                <a:pos x="csX359" y="csY359"/>
              </a:cxn>
              <a:cxn ang="0">
                <a:pos x="csX360" y="csY360"/>
              </a:cxn>
              <a:cxn ang="0">
                <a:pos x="csX361" y="csY361"/>
              </a:cxn>
              <a:cxn ang="0">
                <a:pos x="csX362" y="csY362"/>
              </a:cxn>
              <a:cxn ang="0">
                <a:pos x="csX363" y="csY363"/>
              </a:cxn>
              <a:cxn ang="0">
                <a:pos x="csX364" y="csY364"/>
              </a:cxn>
              <a:cxn ang="0">
                <a:pos x="csX365" y="csY365"/>
              </a:cxn>
              <a:cxn ang="0">
                <a:pos x="csX366" y="csY366"/>
              </a:cxn>
              <a:cxn ang="0">
                <a:pos x="csX367" y="csY367"/>
              </a:cxn>
              <a:cxn ang="0">
                <a:pos x="csX368" y="csY368"/>
              </a:cxn>
              <a:cxn ang="0">
                <a:pos x="csX369" y="csY369"/>
              </a:cxn>
              <a:cxn ang="0">
                <a:pos x="csX370" y="csY370"/>
              </a:cxn>
              <a:cxn ang="0">
                <a:pos x="csX371" y="csY371"/>
              </a:cxn>
              <a:cxn ang="0">
                <a:pos x="csX372" y="csY372"/>
              </a:cxn>
              <a:cxn ang="0">
                <a:pos x="csX373" y="csY373"/>
              </a:cxn>
              <a:cxn ang="0">
                <a:pos x="csX374" y="csY374"/>
              </a:cxn>
              <a:cxn ang="0">
                <a:pos x="csX375" y="csY375"/>
              </a:cxn>
              <a:cxn ang="0">
                <a:pos x="csX376" y="csY376"/>
              </a:cxn>
              <a:cxn ang="0">
                <a:pos x="csX377" y="csY377"/>
              </a:cxn>
              <a:cxn ang="0">
                <a:pos x="csX378" y="csY378"/>
              </a:cxn>
              <a:cxn ang="0">
                <a:pos x="csX379" y="csY379"/>
              </a:cxn>
              <a:cxn ang="0">
                <a:pos x="csX380" y="csY380"/>
              </a:cxn>
              <a:cxn ang="0">
                <a:pos x="csX381" y="csY381"/>
              </a:cxn>
              <a:cxn ang="0">
                <a:pos x="csX382" y="csY382"/>
              </a:cxn>
              <a:cxn ang="0">
                <a:pos x="csX383" y="csY383"/>
              </a:cxn>
              <a:cxn ang="0">
                <a:pos x="csX384" y="csY384"/>
              </a:cxn>
              <a:cxn ang="0">
                <a:pos x="csX385" y="csY385"/>
              </a:cxn>
              <a:cxn ang="0">
                <a:pos x="csX386" y="csY386"/>
              </a:cxn>
              <a:cxn ang="0">
                <a:pos x="csX387" y="csY387"/>
              </a:cxn>
              <a:cxn ang="0">
                <a:pos x="csX388" y="csY388"/>
              </a:cxn>
              <a:cxn ang="0">
                <a:pos x="csX389" y="csY389"/>
              </a:cxn>
              <a:cxn ang="0">
                <a:pos x="csX390" y="csY390"/>
              </a:cxn>
              <a:cxn ang="0">
                <a:pos x="csX391" y="csY391"/>
              </a:cxn>
              <a:cxn ang="0">
                <a:pos x="csX392" y="csY392"/>
              </a:cxn>
              <a:cxn ang="0">
                <a:pos x="csX393" y="csY393"/>
              </a:cxn>
              <a:cxn ang="0">
                <a:pos x="csX394" y="csY394"/>
              </a:cxn>
              <a:cxn ang="0">
                <a:pos x="csX395" y="csY395"/>
              </a:cxn>
              <a:cxn ang="0">
                <a:pos x="csX396" y="csY396"/>
              </a:cxn>
              <a:cxn ang="0">
                <a:pos x="csX397" y="csY397"/>
              </a:cxn>
              <a:cxn ang="0">
                <a:pos x="csX398" y="csY398"/>
              </a:cxn>
              <a:cxn ang="0">
                <a:pos x="csX399" y="csY399"/>
              </a:cxn>
              <a:cxn ang="0">
                <a:pos x="csX400" y="csY400"/>
              </a:cxn>
              <a:cxn ang="0">
                <a:pos x="csX401" y="csY401"/>
              </a:cxn>
              <a:cxn ang="0">
                <a:pos x="csX402" y="csY402"/>
              </a:cxn>
              <a:cxn ang="0">
                <a:pos x="csX403" y="csY403"/>
              </a:cxn>
              <a:cxn ang="0">
                <a:pos x="csX404" y="csY404"/>
              </a:cxn>
              <a:cxn ang="0">
                <a:pos x="csX405" y="csY405"/>
              </a:cxn>
              <a:cxn ang="0">
                <a:pos x="csX406" y="csY406"/>
              </a:cxn>
              <a:cxn ang="0">
                <a:pos x="csX407" y="csY407"/>
              </a:cxn>
              <a:cxn ang="0">
                <a:pos x="csX408" y="csY408"/>
              </a:cxn>
              <a:cxn ang="0">
                <a:pos x="csX409" y="csY409"/>
              </a:cxn>
              <a:cxn ang="0">
                <a:pos x="csX410" y="csY410"/>
              </a:cxn>
              <a:cxn ang="0">
                <a:pos x="csX411" y="csY411"/>
              </a:cxn>
              <a:cxn ang="0">
                <a:pos x="csX412" y="csY412"/>
              </a:cxn>
              <a:cxn ang="0">
                <a:pos x="csX413" y="csY413"/>
              </a:cxn>
              <a:cxn ang="0">
                <a:pos x="csX414" y="csY414"/>
              </a:cxn>
              <a:cxn ang="0">
                <a:pos x="csX415" y="csY415"/>
              </a:cxn>
              <a:cxn ang="0">
                <a:pos x="csX416" y="csY416"/>
              </a:cxn>
              <a:cxn ang="0">
                <a:pos x="csX417" y="csY417"/>
              </a:cxn>
              <a:cxn ang="0">
                <a:pos x="csX418" y="csY418"/>
              </a:cxn>
              <a:cxn ang="0">
                <a:pos x="csX419" y="csY419"/>
              </a:cxn>
              <a:cxn ang="0">
                <a:pos x="csX420" y="csY420"/>
              </a:cxn>
              <a:cxn ang="0">
                <a:pos x="csX421" y="csY421"/>
              </a:cxn>
              <a:cxn ang="0">
                <a:pos x="csX422" y="csY422"/>
              </a:cxn>
              <a:cxn ang="0">
                <a:pos x="csX423" y="csY423"/>
              </a:cxn>
              <a:cxn ang="0">
                <a:pos x="csX424" y="csY424"/>
              </a:cxn>
              <a:cxn ang="0">
                <a:pos x="csX425" y="csY425"/>
              </a:cxn>
              <a:cxn ang="0">
                <a:pos x="csX426" y="csY426"/>
              </a:cxn>
              <a:cxn ang="0">
                <a:pos x="csX427" y="csY427"/>
              </a:cxn>
              <a:cxn ang="0">
                <a:pos x="csX428" y="csY428"/>
              </a:cxn>
              <a:cxn ang="0">
                <a:pos x="csX429" y="csY429"/>
              </a:cxn>
              <a:cxn ang="0">
                <a:pos x="csX430" y="csY430"/>
              </a:cxn>
              <a:cxn ang="0">
                <a:pos x="csX431" y="csY431"/>
              </a:cxn>
              <a:cxn ang="0">
                <a:pos x="csX432" y="csY432"/>
              </a:cxn>
              <a:cxn ang="0">
                <a:pos x="csX433" y="csY433"/>
              </a:cxn>
              <a:cxn ang="0">
                <a:pos x="csX434" y="csY434"/>
              </a:cxn>
              <a:cxn ang="0">
                <a:pos x="csX435" y="csY435"/>
              </a:cxn>
              <a:cxn ang="0">
                <a:pos x="csX436" y="csY436"/>
              </a:cxn>
              <a:cxn ang="0">
                <a:pos x="csX437" y="csY437"/>
              </a:cxn>
              <a:cxn ang="0">
                <a:pos x="csX438" y="csY438"/>
              </a:cxn>
              <a:cxn ang="0">
                <a:pos x="csX439" y="csY439"/>
              </a:cxn>
              <a:cxn ang="0">
                <a:pos x="csX440" y="csY440"/>
              </a:cxn>
              <a:cxn ang="0">
                <a:pos x="csX441" y="csY441"/>
              </a:cxn>
              <a:cxn ang="0">
                <a:pos x="csX442" y="csY442"/>
              </a:cxn>
              <a:cxn ang="0">
                <a:pos x="csX443" y="csY443"/>
              </a:cxn>
              <a:cxn ang="0">
                <a:pos x="csX444" y="csY444"/>
              </a:cxn>
              <a:cxn ang="0">
                <a:pos x="csX445" y="csY445"/>
              </a:cxn>
              <a:cxn ang="0">
                <a:pos x="csX446" y="csY446"/>
              </a:cxn>
              <a:cxn ang="0">
                <a:pos x="csX447" y="csY447"/>
              </a:cxn>
              <a:cxn ang="0">
                <a:pos x="csX448" y="csY448"/>
              </a:cxn>
              <a:cxn ang="0">
                <a:pos x="csX449" y="csY449"/>
              </a:cxn>
              <a:cxn ang="0">
                <a:pos x="csX450" y="csY450"/>
              </a:cxn>
              <a:cxn ang="0">
                <a:pos x="csX451" y="csY451"/>
              </a:cxn>
              <a:cxn ang="0">
                <a:pos x="csX452" y="csY452"/>
              </a:cxn>
              <a:cxn ang="0">
                <a:pos x="csX453" y="csY453"/>
              </a:cxn>
              <a:cxn ang="0">
                <a:pos x="csX454" y="csY454"/>
              </a:cxn>
              <a:cxn ang="0">
                <a:pos x="csX455" y="csY455"/>
              </a:cxn>
              <a:cxn ang="0">
                <a:pos x="csX456" y="csY456"/>
              </a:cxn>
              <a:cxn ang="0">
                <a:pos x="csX457" y="csY457"/>
              </a:cxn>
              <a:cxn ang="0">
                <a:pos x="csX458" y="csY458"/>
              </a:cxn>
              <a:cxn ang="0">
                <a:pos x="csX459" y="csY459"/>
              </a:cxn>
              <a:cxn ang="0">
                <a:pos x="csX460" y="csY460"/>
              </a:cxn>
              <a:cxn ang="0">
                <a:pos x="csX461" y="csY461"/>
              </a:cxn>
              <a:cxn ang="0">
                <a:pos x="csX462" y="csY462"/>
              </a:cxn>
              <a:cxn ang="0">
                <a:pos x="csX463" y="csY463"/>
              </a:cxn>
              <a:cxn ang="0">
                <a:pos x="csX464" y="csY464"/>
              </a:cxn>
              <a:cxn ang="0">
                <a:pos x="csX465" y="csY465"/>
              </a:cxn>
              <a:cxn ang="0">
                <a:pos x="csX466" y="csY466"/>
              </a:cxn>
              <a:cxn ang="0">
                <a:pos x="csX467" y="csY467"/>
              </a:cxn>
              <a:cxn ang="0">
                <a:pos x="csX468" y="csY468"/>
              </a:cxn>
              <a:cxn ang="0">
                <a:pos x="csX469" y="csY469"/>
              </a:cxn>
              <a:cxn ang="0">
                <a:pos x="csX470" y="csY470"/>
              </a:cxn>
              <a:cxn ang="0">
                <a:pos x="csX471" y="csY471"/>
              </a:cxn>
              <a:cxn ang="0">
                <a:pos x="csX472" y="csY472"/>
              </a:cxn>
              <a:cxn ang="0">
                <a:pos x="csX473" y="csY473"/>
              </a:cxn>
              <a:cxn ang="0">
                <a:pos x="csX474" y="csY474"/>
              </a:cxn>
              <a:cxn ang="0">
                <a:pos x="csX475" y="csY475"/>
              </a:cxn>
              <a:cxn ang="0">
                <a:pos x="csX476" y="csY476"/>
              </a:cxn>
              <a:cxn ang="0">
                <a:pos x="csX477" y="csY477"/>
              </a:cxn>
              <a:cxn ang="0">
                <a:pos x="csX478" y="csY478"/>
              </a:cxn>
              <a:cxn ang="0">
                <a:pos x="csX479" y="csY479"/>
              </a:cxn>
              <a:cxn ang="0">
                <a:pos x="csX480" y="csY480"/>
              </a:cxn>
              <a:cxn ang="0">
                <a:pos x="csX481" y="csY481"/>
              </a:cxn>
              <a:cxn ang="0">
                <a:pos x="csX482" y="csY482"/>
              </a:cxn>
              <a:cxn ang="0">
                <a:pos x="csX483" y="csY483"/>
              </a:cxn>
              <a:cxn ang="0">
                <a:pos x="csX484" y="csY484"/>
              </a:cxn>
              <a:cxn ang="0">
                <a:pos x="csX485" y="csY485"/>
              </a:cxn>
              <a:cxn ang="0">
                <a:pos x="csX486" y="csY486"/>
              </a:cxn>
              <a:cxn ang="0">
                <a:pos x="csX487" y="csY487"/>
              </a:cxn>
              <a:cxn ang="0">
                <a:pos x="csX488" y="csY488"/>
              </a:cxn>
              <a:cxn ang="0">
                <a:pos x="csX489" y="csY489"/>
              </a:cxn>
              <a:cxn ang="0">
                <a:pos x="csX490" y="csY490"/>
              </a:cxn>
              <a:cxn ang="0">
                <a:pos x="csX491" y="csY491"/>
              </a:cxn>
              <a:cxn ang="0">
                <a:pos x="csX492" y="csY492"/>
              </a:cxn>
              <a:cxn ang="0">
                <a:pos x="csX493" y="csY493"/>
              </a:cxn>
              <a:cxn ang="0">
                <a:pos x="csX494" y="csY494"/>
              </a:cxn>
              <a:cxn ang="0">
                <a:pos x="csX495" y="csY495"/>
              </a:cxn>
              <a:cxn ang="0">
                <a:pos x="csX496" y="csY496"/>
              </a:cxn>
              <a:cxn ang="0">
                <a:pos x="csX497" y="csY497"/>
              </a:cxn>
              <a:cxn ang="0">
                <a:pos x="csX498" y="csY498"/>
              </a:cxn>
              <a:cxn ang="0">
                <a:pos x="csX499" y="csY499"/>
              </a:cxn>
              <a:cxn ang="0">
                <a:pos x="csX500" y="csY500"/>
              </a:cxn>
              <a:cxn ang="0">
                <a:pos x="csX501" y="csY501"/>
              </a:cxn>
              <a:cxn ang="0">
                <a:pos x="csX502" y="csY502"/>
              </a:cxn>
              <a:cxn ang="0">
                <a:pos x="csX503" y="csY503"/>
              </a:cxn>
              <a:cxn ang="0">
                <a:pos x="csX504" y="csY504"/>
              </a:cxn>
              <a:cxn ang="0">
                <a:pos x="csX505" y="csY505"/>
              </a:cxn>
              <a:cxn ang="0">
                <a:pos x="csX506" y="csY506"/>
              </a:cxn>
              <a:cxn ang="0">
                <a:pos x="csX507" y="csY507"/>
              </a:cxn>
              <a:cxn ang="0">
                <a:pos x="csX508" y="csY508"/>
              </a:cxn>
              <a:cxn ang="0">
                <a:pos x="csX509" y="csY509"/>
              </a:cxn>
              <a:cxn ang="0">
                <a:pos x="csX510" y="csY510"/>
              </a:cxn>
              <a:cxn ang="0">
                <a:pos x="csX511" y="csY511"/>
              </a:cxn>
              <a:cxn ang="0">
                <a:pos x="csX512" y="csY512"/>
              </a:cxn>
              <a:cxn ang="0">
                <a:pos x="csX513" y="csY513"/>
              </a:cxn>
              <a:cxn ang="0">
                <a:pos x="csX514" y="csY514"/>
              </a:cxn>
              <a:cxn ang="0">
                <a:pos x="csX515" y="csY515"/>
              </a:cxn>
              <a:cxn ang="0">
                <a:pos x="csX516" y="csY516"/>
              </a:cxn>
              <a:cxn ang="0">
                <a:pos x="csX517" y="csY517"/>
              </a:cxn>
              <a:cxn ang="0">
                <a:pos x="csX518" y="csY518"/>
              </a:cxn>
              <a:cxn ang="0">
                <a:pos x="csX519" y="csY519"/>
              </a:cxn>
              <a:cxn ang="0">
                <a:pos x="csX520" y="csY520"/>
              </a:cxn>
              <a:cxn ang="0">
                <a:pos x="csX521" y="csY521"/>
              </a:cxn>
              <a:cxn ang="0">
                <a:pos x="csX522" y="csY522"/>
              </a:cxn>
              <a:cxn ang="0">
                <a:pos x="csX523" y="csY523"/>
              </a:cxn>
              <a:cxn ang="0">
                <a:pos x="csX524" y="csY524"/>
              </a:cxn>
              <a:cxn ang="0">
                <a:pos x="csX525" y="csY525"/>
              </a:cxn>
              <a:cxn ang="0">
                <a:pos x="csX526" y="csY526"/>
              </a:cxn>
              <a:cxn ang="0">
                <a:pos x="csX527" y="csY527"/>
              </a:cxn>
              <a:cxn ang="0">
                <a:pos x="csX528" y="csY528"/>
              </a:cxn>
              <a:cxn ang="0">
                <a:pos x="csX529" y="csY529"/>
              </a:cxn>
              <a:cxn ang="0">
                <a:pos x="csX530" y="csY530"/>
              </a:cxn>
              <a:cxn ang="0">
                <a:pos x="csX531" y="csY531"/>
              </a:cxn>
              <a:cxn ang="0">
                <a:pos x="csX532" y="csY532"/>
              </a:cxn>
              <a:cxn ang="0">
                <a:pos x="csX533" y="csY533"/>
              </a:cxn>
              <a:cxn ang="0">
                <a:pos x="csX534" y="csY534"/>
              </a:cxn>
              <a:cxn ang="0">
                <a:pos x="csX535" y="csY535"/>
              </a:cxn>
              <a:cxn ang="0">
                <a:pos x="csX536" y="csY536"/>
              </a:cxn>
              <a:cxn ang="0">
                <a:pos x="csX537" y="csY537"/>
              </a:cxn>
              <a:cxn ang="0">
                <a:pos x="csX538" y="csY538"/>
              </a:cxn>
              <a:cxn ang="0">
                <a:pos x="csX539" y="csY539"/>
              </a:cxn>
              <a:cxn ang="0">
                <a:pos x="csX540" y="csY540"/>
              </a:cxn>
              <a:cxn ang="0">
                <a:pos x="csX541" y="csY541"/>
              </a:cxn>
              <a:cxn ang="0">
                <a:pos x="csX542" y="csY542"/>
              </a:cxn>
              <a:cxn ang="0">
                <a:pos x="csX543" y="csY543"/>
              </a:cxn>
              <a:cxn ang="0">
                <a:pos x="csX544" y="csY544"/>
              </a:cxn>
              <a:cxn ang="0">
                <a:pos x="csX545" y="csY545"/>
              </a:cxn>
              <a:cxn ang="0">
                <a:pos x="csX546" y="csY546"/>
              </a:cxn>
              <a:cxn ang="0">
                <a:pos x="csX547" y="csY547"/>
              </a:cxn>
              <a:cxn ang="0">
                <a:pos x="csX548" y="csY548"/>
              </a:cxn>
              <a:cxn ang="0">
                <a:pos x="csX549" y="csY549"/>
              </a:cxn>
              <a:cxn ang="0">
                <a:pos x="csX550" y="csY550"/>
              </a:cxn>
              <a:cxn ang="0">
                <a:pos x="csX551" y="csY551"/>
              </a:cxn>
              <a:cxn ang="0">
                <a:pos x="csX552" y="csY552"/>
              </a:cxn>
              <a:cxn ang="0">
                <a:pos x="csX553" y="csY553"/>
              </a:cxn>
              <a:cxn ang="0">
                <a:pos x="csX554" y="csY554"/>
              </a:cxn>
              <a:cxn ang="0">
                <a:pos x="csX555" y="csY555"/>
              </a:cxn>
              <a:cxn ang="0">
                <a:pos x="csX556" y="csY556"/>
              </a:cxn>
              <a:cxn ang="0">
                <a:pos x="csX557" y="csY557"/>
              </a:cxn>
              <a:cxn ang="0">
                <a:pos x="csX558" y="csY558"/>
              </a:cxn>
              <a:cxn ang="0">
                <a:pos x="csX559" y="csY559"/>
              </a:cxn>
              <a:cxn ang="0">
                <a:pos x="csX560" y="csY560"/>
              </a:cxn>
              <a:cxn ang="0">
                <a:pos x="csX561" y="csY561"/>
              </a:cxn>
              <a:cxn ang="0">
                <a:pos x="csX562" y="csY562"/>
              </a:cxn>
              <a:cxn ang="0">
                <a:pos x="csX563" y="csY563"/>
              </a:cxn>
              <a:cxn ang="0">
                <a:pos x="csX564" y="csY564"/>
              </a:cxn>
              <a:cxn ang="0">
                <a:pos x="csX565" y="csY565"/>
              </a:cxn>
              <a:cxn ang="0">
                <a:pos x="csX566" y="csY566"/>
              </a:cxn>
              <a:cxn ang="0">
                <a:pos x="csX567" y="csY567"/>
              </a:cxn>
              <a:cxn ang="0">
                <a:pos x="csX568" y="csY568"/>
              </a:cxn>
              <a:cxn ang="0">
                <a:pos x="csX569" y="csY569"/>
              </a:cxn>
              <a:cxn ang="0">
                <a:pos x="csX570" y="csY570"/>
              </a:cxn>
              <a:cxn ang="0">
                <a:pos x="csX571" y="csY571"/>
              </a:cxn>
              <a:cxn ang="0">
                <a:pos x="csX572" y="csY572"/>
              </a:cxn>
              <a:cxn ang="0">
                <a:pos x="csX573" y="csY573"/>
              </a:cxn>
              <a:cxn ang="0">
                <a:pos x="csX574" y="csY574"/>
              </a:cxn>
              <a:cxn ang="0">
                <a:pos x="csX575" y="csY575"/>
              </a:cxn>
              <a:cxn ang="0">
                <a:pos x="csX576" y="csY576"/>
              </a:cxn>
              <a:cxn ang="0">
                <a:pos x="csX577" y="csY577"/>
              </a:cxn>
              <a:cxn ang="0">
                <a:pos x="csX578" y="csY578"/>
              </a:cxn>
              <a:cxn ang="0">
                <a:pos x="csX579" y="csY579"/>
              </a:cxn>
              <a:cxn ang="0">
                <a:pos x="csX580" y="csY580"/>
              </a:cxn>
              <a:cxn ang="0">
                <a:pos x="csX581" y="csY581"/>
              </a:cxn>
              <a:cxn ang="0">
                <a:pos x="csX582" y="csY582"/>
              </a:cxn>
              <a:cxn ang="0">
                <a:pos x="csX583" y="csY583"/>
              </a:cxn>
              <a:cxn ang="0">
                <a:pos x="csX584" y="csY584"/>
              </a:cxn>
              <a:cxn ang="0">
                <a:pos x="csX585" y="csY585"/>
              </a:cxn>
              <a:cxn ang="0">
                <a:pos x="csX586" y="csY586"/>
              </a:cxn>
              <a:cxn ang="0">
                <a:pos x="csX587" y="csY587"/>
              </a:cxn>
              <a:cxn ang="0">
                <a:pos x="csX588" y="csY588"/>
              </a:cxn>
              <a:cxn ang="0">
                <a:pos x="csX589" y="csY589"/>
              </a:cxn>
              <a:cxn ang="0">
                <a:pos x="csX590" y="csY590"/>
              </a:cxn>
              <a:cxn ang="0">
                <a:pos x="csX591" y="csY591"/>
              </a:cxn>
              <a:cxn ang="0">
                <a:pos x="csX592" y="csY592"/>
              </a:cxn>
              <a:cxn ang="0">
                <a:pos x="csX593" y="csY593"/>
              </a:cxn>
              <a:cxn ang="0">
                <a:pos x="csX594" y="csY594"/>
              </a:cxn>
              <a:cxn ang="0">
                <a:pos x="csX595" y="csY595"/>
              </a:cxn>
              <a:cxn ang="0">
                <a:pos x="csX596" y="csY596"/>
              </a:cxn>
              <a:cxn ang="0">
                <a:pos x="csX597" y="csY597"/>
              </a:cxn>
              <a:cxn ang="0">
                <a:pos x="csX598" y="csY598"/>
              </a:cxn>
              <a:cxn ang="0">
                <a:pos x="csX599" y="csY599"/>
              </a:cxn>
              <a:cxn ang="0">
                <a:pos x="csX600" y="csY600"/>
              </a:cxn>
              <a:cxn ang="0">
                <a:pos x="csX601" y="csY601"/>
              </a:cxn>
              <a:cxn ang="0">
                <a:pos x="csX602" y="csY602"/>
              </a:cxn>
              <a:cxn ang="0">
                <a:pos x="csX603" y="csY603"/>
              </a:cxn>
              <a:cxn ang="0">
                <a:pos x="csX604" y="csY604"/>
              </a:cxn>
              <a:cxn ang="0">
                <a:pos x="csX605" y="csY605"/>
              </a:cxn>
              <a:cxn ang="0">
                <a:pos x="csX606" y="csY606"/>
              </a:cxn>
              <a:cxn ang="0">
                <a:pos x="csX607" y="csY607"/>
              </a:cxn>
              <a:cxn ang="0">
                <a:pos x="csX608" y="csY608"/>
              </a:cxn>
              <a:cxn ang="0">
                <a:pos x="csX609" y="csY609"/>
              </a:cxn>
              <a:cxn ang="0">
                <a:pos x="csX610" y="csY610"/>
              </a:cxn>
              <a:cxn ang="0">
                <a:pos x="csX611" y="csY611"/>
              </a:cxn>
              <a:cxn ang="0">
                <a:pos x="csX612" y="csY612"/>
              </a:cxn>
              <a:cxn ang="0">
                <a:pos x="csX613" y="csY613"/>
              </a:cxn>
              <a:cxn ang="0">
                <a:pos x="csX614" y="csY614"/>
              </a:cxn>
              <a:cxn ang="0">
                <a:pos x="csX615" y="csY615"/>
              </a:cxn>
              <a:cxn ang="0">
                <a:pos x="csX616" y="csY616"/>
              </a:cxn>
              <a:cxn ang="0">
                <a:pos x="csX617" y="csY617"/>
              </a:cxn>
              <a:cxn ang="0">
                <a:pos x="csX618" y="csY618"/>
              </a:cxn>
              <a:cxn ang="0">
                <a:pos x="csX619" y="csY619"/>
              </a:cxn>
              <a:cxn ang="0">
                <a:pos x="csX620" y="csY620"/>
              </a:cxn>
              <a:cxn ang="0">
                <a:pos x="csX621" y="csY621"/>
              </a:cxn>
              <a:cxn ang="0">
                <a:pos x="csX622" y="csY622"/>
              </a:cxn>
              <a:cxn ang="0">
                <a:pos x="csX623" y="csY623"/>
              </a:cxn>
              <a:cxn ang="0">
                <a:pos x="csX624" y="csY624"/>
              </a:cxn>
              <a:cxn ang="0">
                <a:pos x="csX625" y="csY625"/>
              </a:cxn>
              <a:cxn ang="0">
                <a:pos x="csX626" y="csY626"/>
              </a:cxn>
              <a:cxn ang="0">
                <a:pos x="csX627" y="csY627"/>
              </a:cxn>
              <a:cxn ang="0">
                <a:pos x="csX628" y="csY628"/>
              </a:cxn>
              <a:cxn ang="0">
                <a:pos x="csX629" y="csY629"/>
              </a:cxn>
              <a:cxn ang="0">
                <a:pos x="csX630" y="csY630"/>
              </a:cxn>
              <a:cxn ang="0">
                <a:pos x="csX631" y="csY631"/>
              </a:cxn>
              <a:cxn ang="0">
                <a:pos x="csX632" y="csY632"/>
              </a:cxn>
              <a:cxn ang="0">
                <a:pos x="csX633" y="csY633"/>
              </a:cxn>
              <a:cxn ang="0">
                <a:pos x="csX634" y="csY634"/>
              </a:cxn>
              <a:cxn ang="0">
                <a:pos x="csX635" y="csY635"/>
              </a:cxn>
              <a:cxn ang="0">
                <a:pos x="csX636" y="csY636"/>
              </a:cxn>
              <a:cxn ang="0">
                <a:pos x="csX637" y="csY637"/>
              </a:cxn>
              <a:cxn ang="0">
                <a:pos x="csX638" y="csY638"/>
              </a:cxn>
              <a:cxn ang="0">
                <a:pos x="csX639" y="csY639"/>
              </a:cxn>
              <a:cxn ang="0">
                <a:pos x="csX640" y="csY640"/>
              </a:cxn>
              <a:cxn ang="0">
                <a:pos x="csX641" y="csY641"/>
              </a:cxn>
              <a:cxn ang="0">
                <a:pos x="csX642" y="csY642"/>
              </a:cxn>
              <a:cxn ang="0">
                <a:pos x="csX643" y="csY643"/>
              </a:cxn>
              <a:cxn ang="0">
                <a:pos x="csX644" y="csY644"/>
              </a:cxn>
              <a:cxn ang="0">
                <a:pos x="csX645" y="csY645"/>
              </a:cxn>
              <a:cxn ang="0">
                <a:pos x="csX646" y="csY646"/>
              </a:cxn>
              <a:cxn ang="0">
                <a:pos x="csX647" y="csY647"/>
              </a:cxn>
              <a:cxn ang="0">
                <a:pos x="csX648" y="csY648"/>
              </a:cxn>
              <a:cxn ang="0">
                <a:pos x="csX649" y="csY649"/>
              </a:cxn>
              <a:cxn ang="0">
                <a:pos x="csX650" y="csY650"/>
              </a:cxn>
              <a:cxn ang="0">
                <a:pos x="csX651" y="csY651"/>
              </a:cxn>
              <a:cxn ang="0">
                <a:pos x="csX652" y="csY652"/>
              </a:cxn>
              <a:cxn ang="0">
                <a:pos x="csX653" y="csY653"/>
              </a:cxn>
              <a:cxn ang="0">
                <a:pos x="csX654" y="csY654"/>
              </a:cxn>
              <a:cxn ang="0">
                <a:pos x="csX655" y="csY655"/>
              </a:cxn>
              <a:cxn ang="0">
                <a:pos x="csX656" y="csY656"/>
              </a:cxn>
              <a:cxn ang="0">
                <a:pos x="csX657" y="csY657"/>
              </a:cxn>
              <a:cxn ang="0">
                <a:pos x="csX658" y="csY658"/>
              </a:cxn>
              <a:cxn ang="0">
                <a:pos x="csX659" y="csY659"/>
              </a:cxn>
              <a:cxn ang="0">
                <a:pos x="csX660" y="csY660"/>
              </a:cxn>
              <a:cxn ang="0">
                <a:pos x="csX661" y="csY661"/>
              </a:cxn>
              <a:cxn ang="0">
                <a:pos x="csX662" y="csY662"/>
              </a:cxn>
              <a:cxn ang="0">
                <a:pos x="csX663" y="csY663"/>
              </a:cxn>
              <a:cxn ang="0">
                <a:pos x="csX664" y="csY664"/>
              </a:cxn>
              <a:cxn ang="0">
                <a:pos x="csX665" y="csY665"/>
              </a:cxn>
              <a:cxn ang="0">
                <a:pos x="csX666" y="csY666"/>
              </a:cxn>
              <a:cxn ang="0">
                <a:pos x="csX667" y="csY667"/>
              </a:cxn>
              <a:cxn ang="0">
                <a:pos x="csX668" y="csY668"/>
              </a:cxn>
              <a:cxn ang="0">
                <a:pos x="csX669" y="csY669"/>
              </a:cxn>
              <a:cxn ang="0">
                <a:pos x="csX670" y="csY670"/>
              </a:cxn>
              <a:cxn ang="0">
                <a:pos x="csX671" y="csY671"/>
              </a:cxn>
              <a:cxn ang="0">
                <a:pos x="csX672" y="csY672"/>
              </a:cxn>
              <a:cxn ang="0">
                <a:pos x="csX673" y="csY673"/>
              </a:cxn>
              <a:cxn ang="0">
                <a:pos x="csX674" y="csY674"/>
              </a:cxn>
              <a:cxn ang="0">
                <a:pos x="csX675" y="csY675"/>
              </a:cxn>
              <a:cxn ang="0">
                <a:pos x="csX676" y="csY676"/>
              </a:cxn>
              <a:cxn ang="0">
                <a:pos x="csX677" y="csY677"/>
              </a:cxn>
              <a:cxn ang="0">
                <a:pos x="csX678" y="csY678"/>
              </a:cxn>
              <a:cxn ang="0">
                <a:pos x="csX679" y="csY679"/>
              </a:cxn>
              <a:cxn ang="0">
                <a:pos x="csX680" y="csY680"/>
              </a:cxn>
              <a:cxn ang="0">
                <a:pos x="csX681" y="csY681"/>
              </a:cxn>
              <a:cxn ang="0">
                <a:pos x="csX682" y="csY682"/>
              </a:cxn>
              <a:cxn ang="0">
                <a:pos x="csX683" y="csY683"/>
              </a:cxn>
              <a:cxn ang="0">
                <a:pos x="csX684" y="csY684"/>
              </a:cxn>
              <a:cxn ang="0">
                <a:pos x="csX685" y="csY685"/>
              </a:cxn>
              <a:cxn ang="0">
                <a:pos x="csX686" y="csY686"/>
              </a:cxn>
              <a:cxn ang="0">
                <a:pos x="csX687" y="csY687"/>
              </a:cxn>
              <a:cxn ang="0">
                <a:pos x="csX688" y="csY688"/>
              </a:cxn>
              <a:cxn ang="0">
                <a:pos x="csX689" y="csY689"/>
              </a:cxn>
              <a:cxn ang="0">
                <a:pos x="csX690" y="csY690"/>
              </a:cxn>
              <a:cxn ang="0">
                <a:pos x="csX691" y="csY691"/>
              </a:cxn>
              <a:cxn ang="0">
                <a:pos x="csX692" y="csY692"/>
              </a:cxn>
              <a:cxn ang="0">
                <a:pos x="csX693" y="csY693"/>
              </a:cxn>
              <a:cxn ang="0">
                <a:pos x="csX694" y="csY694"/>
              </a:cxn>
              <a:cxn ang="0">
                <a:pos x="csX695" y="csY695"/>
              </a:cxn>
              <a:cxn ang="0">
                <a:pos x="csX696" y="csY696"/>
              </a:cxn>
              <a:cxn ang="0">
                <a:pos x="csX697" y="csY697"/>
              </a:cxn>
              <a:cxn ang="0">
                <a:pos x="csX698" y="csY698"/>
              </a:cxn>
              <a:cxn ang="0">
                <a:pos x="csX699" y="csY699"/>
              </a:cxn>
              <a:cxn ang="0">
                <a:pos x="csX700" y="csY700"/>
              </a:cxn>
              <a:cxn ang="0">
                <a:pos x="csX701" y="csY701"/>
              </a:cxn>
              <a:cxn ang="0">
                <a:pos x="csX702" y="csY702"/>
              </a:cxn>
              <a:cxn ang="0">
                <a:pos x="csX703" y="csY703"/>
              </a:cxn>
              <a:cxn ang="0">
                <a:pos x="csX704" y="csY704"/>
              </a:cxn>
              <a:cxn ang="0">
                <a:pos x="csX705" y="csY705"/>
              </a:cxn>
              <a:cxn ang="0">
                <a:pos x="csX706" y="csY706"/>
              </a:cxn>
              <a:cxn ang="0">
                <a:pos x="csX707" y="csY707"/>
              </a:cxn>
              <a:cxn ang="0">
                <a:pos x="csX708" y="csY708"/>
              </a:cxn>
              <a:cxn ang="0">
                <a:pos x="csX709" y="csY709"/>
              </a:cxn>
              <a:cxn ang="0">
                <a:pos x="csX710" y="csY710"/>
              </a:cxn>
              <a:cxn ang="0">
                <a:pos x="csX711" y="csY711"/>
              </a:cxn>
              <a:cxn ang="0">
                <a:pos x="csX712" y="csY712"/>
              </a:cxn>
              <a:cxn ang="0">
                <a:pos x="csX713" y="csY713"/>
              </a:cxn>
              <a:cxn ang="0">
                <a:pos x="csX714" y="csY714"/>
              </a:cxn>
              <a:cxn ang="0">
                <a:pos x="csX715" y="csY715"/>
              </a:cxn>
              <a:cxn ang="0">
                <a:pos x="csX716" y="csY716"/>
              </a:cxn>
              <a:cxn ang="0">
                <a:pos x="csX717" y="csY717"/>
              </a:cxn>
              <a:cxn ang="0">
                <a:pos x="csX718" y="csY718"/>
              </a:cxn>
              <a:cxn ang="0">
                <a:pos x="csX719" y="csY719"/>
              </a:cxn>
              <a:cxn ang="0">
                <a:pos x="csX720" y="csY720"/>
              </a:cxn>
              <a:cxn ang="0">
                <a:pos x="csX721" y="csY721"/>
              </a:cxn>
              <a:cxn ang="0">
                <a:pos x="csX722" y="csY722"/>
              </a:cxn>
              <a:cxn ang="0">
                <a:pos x="csX723" y="csY723"/>
              </a:cxn>
              <a:cxn ang="0">
                <a:pos x="csX724" y="csY724"/>
              </a:cxn>
              <a:cxn ang="0">
                <a:pos x="csX725" y="csY725"/>
              </a:cxn>
              <a:cxn ang="0">
                <a:pos x="csX726" y="csY726"/>
              </a:cxn>
              <a:cxn ang="0">
                <a:pos x="csX727" y="csY727"/>
              </a:cxn>
              <a:cxn ang="0">
                <a:pos x="csX728" y="csY728"/>
              </a:cxn>
              <a:cxn ang="0">
                <a:pos x="csX729" y="csY729"/>
              </a:cxn>
              <a:cxn ang="0">
                <a:pos x="csX730" y="csY730"/>
              </a:cxn>
              <a:cxn ang="0">
                <a:pos x="csX731" y="csY731"/>
              </a:cxn>
              <a:cxn ang="0">
                <a:pos x="csX732" y="csY732"/>
              </a:cxn>
              <a:cxn ang="0">
                <a:pos x="csX733" y="csY733"/>
              </a:cxn>
              <a:cxn ang="0">
                <a:pos x="csX734" y="csY734"/>
              </a:cxn>
              <a:cxn ang="0">
                <a:pos x="csX735" y="csY735"/>
              </a:cxn>
              <a:cxn ang="0">
                <a:pos x="csX736" y="csY736"/>
              </a:cxn>
              <a:cxn ang="0">
                <a:pos x="csX737" y="csY737"/>
              </a:cxn>
              <a:cxn ang="0">
                <a:pos x="csX738" y="csY738"/>
              </a:cxn>
              <a:cxn ang="0">
                <a:pos x="csX739" y="csY739"/>
              </a:cxn>
              <a:cxn ang="0">
                <a:pos x="csX740" y="csY740"/>
              </a:cxn>
              <a:cxn ang="0">
                <a:pos x="csX741" y="csY741"/>
              </a:cxn>
              <a:cxn ang="0">
                <a:pos x="csX742" y="csY742"/>
              </a:cxn>
              <a:cxn ang="0">
                <a:pos x="csX743" y="csY743"/>
              </a:cxn>
              <a:cxn ang="0">
                <a:pos x="csX744" y="csY744"/>
              </a:cxn>
              <a:cxn ang="0">
                <a:pos x="csX745" y="csY745"/>
              </a:cxn>
              <a:cxn ang="0">
                <a:pos x="csX746" y="csY746"/>
              </a:cxn>
              <a:cxn ang="0">
                <a:pos x="csX747" y="csY747"/>
              </a:cxn>
              <a:cxn ang="0">
                <a:pos x="csX748" y="csY748"/>
              </a:cxn>
              <a:cxn ang="0">
                <a:pos x="csX749" y="csY749"/>
              </a:cxn>
              <a:cxn ang="0">
                <a:pos x="csX750" y="csY750"/>
              </a:cxn>
              <a:cxn ang="0">
                <a:pos x="csX751" y="csY751"/>
              </a:cxn>
              <a:cxn ang="0">
                <a:pos x="csX752" y="csY752"/>
              </a:cxn>
              <a:cxn ang="0">
                <a:pos x="csX753" y="csY753"/>
              </a:cxn>
              <a:cxn ang="0">
                <a:pos x="csX754" y="csY754"/>
              </a:cxn>
              <a:cxn ang="0">
                <a:pos x="csX755" y="csY755"/>
              </a:cxn>
              <a:cxn ang="0">
                <a:pos x="csX756" y="csY756"/>
              </a:cxn>
              <a:cxn ang="0">
                <a:pos x="csX757" y="csY757"/>
              </a:cxn>
              <a:cxn ang="0">
                <a:pos x="csX758" y="csY758"/>
              </a:cxn>
              <a:cxn ang="0">
                <a:pos x="csX759" y="csY759"/>
              </a:cxn>
              <a:cxn ang="0">
                <a:pos x="csX760" y="csY760"/>
              </a:cxn>
              <a:cxn ang="0">
                <a:pos x="csX761" y="csY761"/>
              </a:cxn>
              <a:cxn ang="0">
                <a:pos x="csX762" y="csY762"/>
              </a:cxn>
              <a:cxn ang="0">
                <a:pos x="csX763" y="csY763"/>
              </a:cxn>
              <a:cxn ang="0">
                <a:pos x="csX764" y="csY764"/>
              </a:cxn>
              <a:cxn ang="0">
                <a:pos x="csX765" y="csY765"/>
              </a:cxn>
              <a:cxn ang="0">
                <a:pos x="csX766" y="csY766"/>
              </a:cxn>
              <a:cxn ang="0">
                <a:pos x="csX767" y="csY767"/>
              </a:cxn>
              <a:cxn ang="0">
                <a:pos x="csX768" y="csY768"/>
              </a:cxn>
              <a:cxn ang="0">
                <a:pos x="csX769" y="csY769"/>
              </a:cxn>
              <a:cxn ang="0">
                <a:pos x="csX770" y="csY770"/>
              </a:cxn>
              <a:cxn ang="0">
                <a:pos x="csX771" y="csY771"/>
              </a:cxn>
              <a:cxn ang="0">
                <a:pos x="csX772" y="csY772"/>
              </a:cxn>
              <a:cxn ang="0">
                <a:pos x="csX773" y="csY773"/>
              </a:cxn>
              <a:cxn ang="0">
                <a:pos x="csX774" y="csY774"/>
              </a:cxn>
              <a:cxn ang="0">
                <a:pos x="csX775" y="csY775"/>
              </a:cxn>
              <a:cxn ang="0">
                <a:pos x="csX776" y="csY776"/>
              </a:cxn>
              <a:cxn ang="0">
                <a:pos x="csX777" y="csY777"/>
              </a:cxn>
              <a:cxn ang="0">
                <a:pos x="csX778" y="csY778"/>
              </a:cxn>
              <a:cxn ang="0">
                <a:pos x="csX779" y="csY779"/>
              </a:cxn>
              <a:cxn ang="0">
                <a:pos x="csX780" y="csY780"/>
              </a:cxn>
              <a:cxn ang="0">
                <a:pos x="csX781" y="csY781"/>
              </a:cxn>
              <a:cxn ang="0">
                <a:pos x="csX782" y="csY782"/>
              </a:cxn>
              <a:cxn ang="0">
                <a:pos x="csX783" y="csY783"/>
              </a:cxn>
              <a:cxn ang="0">
                <a:pos x="csX784" y="csY784"/>
              </a:cxn>
              <a:cxn ang="0">
                <a:pos x="csX785" y="csY785"/>
              </a:cxn>
              <a:cxn ang="0">
                <a:pos x="csX786" y="csY786"/>
              </a:cxn>
              <a:cxn ang="0">
                <a:pos x="csX787" y="csY787"/>
              </a:cxn>
              <a:cxn ang="0">
                <a:pos x="csX788" y="csY788"/>
              </a:cxn>
              <a:cxn ang="0">
                <a:pos x="csX789" y="csY789"/>
              </a:cxn>
              <a:cxn ang="0">
                <a:pos x="csX790" y="csY790"/>
              </a:cxn>
              <a:cxn ang="0">
                <a:pos x="csX791" y="csY791"/>
              </a:cxn>
              <a:cxn ang="0">
                <a:pos x="csX792" y="csY792"/>
              </a:cxn>
              <a:cxn ang="0">
                <a:pos x="csX793" y="csY793"/>
              </a:cxn>
              <a:cxn ang="0">
                <a:pos x="csX794" y="csY794"/>
              </a:cxn>
              <a:cxn ang="0">
                <a:pos x="csX795" y="csY795"/>
              </a:cxn>
              <a:cxn ang="0">
                <a:pos x="csX796" y="csY796"/>
              </a:cxn>
              <a:cxn ang="0">
                <a:pos x="csX797" y="csY797"/>
              </a:cxn>
              <a:cxn ang="0">
                <a:pos x="csX798" y="csY798"/>
              </a:cxn>
              <a:cxn ang="0">
                <a:pos x="csX799" y="csY799"/>
              </a:cxn>
              <a:cxn ang="0">
                <a:pos x="csX800" y="csY800"/>
              </a:cxn>
              <a:cxn ang="0">
                <a:pos x="csX801" y="csY801"/>
              </a:cxn>
              <a:cxn ang="0">
                <a:pos x="csX802" y="csY802"/>
              </a:cxn>
              <a:cxn ang="0">
                <a:pos x="csX803" y="csY803"/>
              </a:cxn>
              <a:cxn ang="0">
                <a:pos x="csX804" y="csY804"/>
              </a:cxn>
              <a:cxn ang="0">
                <a:pos x="csX805" y="csY805"/>
              </a:cxn>
              <a:cxn ang="0">
                <a:pos x="csX806" y="csY806"/>
              </a:cxn>
              <a:cxn ang="0">
                <a:pos x="csX807" y="csY807"/>
              </a:cxn>
              <a:cxn ang="0">
                <a:pos x="csX808" y="csY808"/>
              </a:cxn>
              <a:cxn ang="0">
                <a:pos x="csX809" y="csY809"/>
              </a:cxn>
              <a:cxn ang="0">
                <a:pos x="csX810" y="csY810"/>
              </a:cxn>
              <a:cxn ang="0">
                <a:pos x="csX811" y="csY811"/>
              </a:cxn>
              <a:cxn ang="0">
                <a:pos x="csX812" y="csY812"/>
              </a:cxn>
              <a:cxn ang="0">
                <a:pos x="csX813" y="csY813"/>
              </a:cxn>
              <a:cxn ang="0">
                <a:pos x="csX814" y="csY814"/>
              </a:cxn>
              <a:cxn ang="0">
                <a:pos x="csX815" y="csY815"/>
              </a:cxn>
              <a:cxn ang="0">
                <a:pos x="csX816" y="csY816"/>
              </a:cxn>
              <a:cxn ang="0">
                <a:pos x="csX817" y="csY817"/>
              </a:cxn>
              <a:cxn ang="0">
                <a:pos x="csX818" y="csY818"/>
              </a:cxn>
              <a:cxn ang="0">
                <a:pos x="csX819" y="csY819"/>
              </a:cxn>
              <a:cxn ang="0">
                <a:pos x="csX820" y="csY820"/>
              </a:cxn>
              <a:cxn ang="0">
                <a:pos x="csX821" y="csY821"/>
              </a:cxn>
              <a:cxn ang="0">
                <a:pos x="csX822" y="csY822"/>
              </a:cxn>
              <a:cxn ang="0">
                <a:pos x="csX823" y="csY823"/>
              </a:cxn>
              <a:cxn ang="0">
                <a:pos x="csX824" y="csY824"/>
              </a:cxn>
              <a:cxn ang="0">
                <a:pos x="csX825" y="csY825"/>
              </a:cxn>
              <a:cxn ang="0">
                <a:pos x="csX826" y="csY826"/>
              </a:cxn>
              <a:cxn ang="0">
                <a:pos x="csX827" y="csY827"/>
              </a:cxn>
              <a:cxn ang="0">
                <a:pos x="csX828" y="csY828"/>
              </a:cxn>
              <a:cxn ang="0">
                <a:pos x="csX829" y="csY829"/>
              </a:cxn>
              <a:cxn ang="0">
                <a:pos x="csX830" y="csY830"/>
              </a:cxn>
              <a:cxn ang="0">
                <a:pos x="csX831" y="csY831"/>
              </a:cxn>
              <a:cxn ang="0">
                <a:pos x="csX832" y="csY832"/>
              </a:cxn>
              <a:cxn ang="0">
                <a:pos x="csX833" y="csY833"/>
              </a:cxn>
              <a:cxn ang="0">
                <a:pos x="csX834" y="csY834"/>
              </a:cxn>
              <a:cxn ang="0">
                <a:pos x="csX835" y="csY835"/>
              </a:cxn>
              <a:cxn ang="0">
                <a:pos x="csX836" y="csY836"/>
              </a:cxn>
              <a:cxn ang="0">
                <a:pos x="csX837" y="csY837"/>
              </a:cxn>
              <a:cxn ang="0">
                <a:pos x="csX838" y="csY838"/>
              </a:cxn>
              <a:cxn ang="0">
                <a:pos x="csX839" y="csY839"/>
              </a:cxn>
              <a:cxn ang="0">
                <a:pos x="csX840" y="csY840"/>
              </a:cxn>
              <a:cxn ang="0">
                <a:pos x="csX841" y="csY841"/>
              </a:cxn>
              <a:cxn ang="0">
                <a:pos x="csX842" y="csY842"/>
              </a:cxn>
              <a:cxn ang="0">
                <a:pos x="csX843" y="csY843"/>
              </a:cxn>
              <a:cxn ang="0">
                <a:pos x="csX844" y="csY844"/>
              </a:cxn>
              <a:cxn ang="0">
                <a:pos x="csX845" y="csY845"/>
              </a:cxn>
              <a:cxn ang="0">
                <a:pos x="csX846" y="csY846"/>
              </a:cxn>
              <a:cxn ang="0">
                <a:pos x="csX847" y="csY847"/>
              </a:cxn>
              <a:cxn ang="0">
                <a:pos x="csX848" y="csY848"/>
              </a:cxn>
              <a:cxn ang="0">
                <a:pos x="csX849" y="csY849"/>
              </a:cxn>
              <a:cxn ang="0">
                <a:pos x="csX850" y="csY850"/>
              </a:cxn>
              <a:cxn ang="0">
                <a:pos x="csX851" y="csY851"/>
              </a:cxn>
              <a:cxn ang="0">
                <a:pos x="csX852" y="csY852"/>
              </a:cxn>
              <a:cxn ang="0">
                <a:pos x="csX853" y="csY853"/>
              </a:cxn>
              <a:cxn ang="0">
                <a:pos x="csX854" y="csY854"/>
              </a:cxn>
              <a:cxn ang="0">
                <a:pos x="csX855" y="csY855"/>
              </a:cxn>
              <a:cxn ang="0">
                <a:pos x="csX856" y="csY856"/>
              </a:cxn>
              <a:cxn ang="0">
                <a:pos x="csX857" y="csY857"/>
              </a:cxn>
              <a:cxn ang="0">
                <a:pos x="csX858" y="csY858"/>
              </a:cxn>
              <a:cxn ang="0">
                <a:pos x="csX859" y="csY859"/>
              </a:cxn>
              <a:cxn ang="0">
                <a:pos x="csX860" y="csY860"/>
              </a:cxn>
              <a:cxn ang="0">
                <a:pos x="csX861" y="csY861"/>
              </a:cxn>
              <a:cxn ang="0">
                <a:pos x="csX862" y="csY862"/>
              </a:cxn>
              <a:cxn ang="0">
                <a:pos x="csX863" y="csY863"/>
              </a:cxn>
              <a:cxn ang="0">
                <a:pos x="csX864" y="csY864"/>
              </a:cxn>
              <a:cxn ang="0">
                <a:pos x="csX865" y="csY865"/>
              </a:cxn>
              <a:cxn ang="0">
                <a:pos x="csX866" y="csY866"/>
              </a:cxn>
              <a:cxn ang="0">
                <a:pos x="csX867" y="csY867"/>
              </a:cxn>
              <a:cxn ang="0">
                <a:pos x="csX868" y="csY868"/>
              </a:cxn>
              <a:cxn ang="0">
                <a:pos x="csX869" y="csY869"/>
              </a:cxn>
              <a:cxn ang="0">
                <a:pos x="csX870" y="csY870"/>
              </a:cxn>
              <a:cxn ang="0">
                <a:pos x="csX871" y="csY871"/>
              </a:cxn>
              <a:cxn ang="0">
                <a:pos x="csX872" y="csY872"/>
              </a:cxn>
              <a:cxn ang="0">
                <a:pos x="csX873" y="csY873"/>
              </a:cxn>
              <a:cxn ang="0">
                <a:pos x="csX874" y="csY874"/>
              </a:cxn>
              <a:cxn ang="0">
                <a:pos x="csX875" y="csY875"/>
              </a:cxn>
              <a:cxn ang="0">
                <a:pos x="csX876" y="csY876"/>
              </a:cxn>
              <a:cxn ang="0">
                <a:pos x="csX877" y="csY877"/>
              </a:cxn>
              <a:cxn ang="0">
                <a:pos x="csX878" y="csY878"/>
              </a:cxn>
              <a:cxn ang="0">
                <a:pos x="csX879" y="csY879"/>
              </a:cxn>
              <a:cxn ang="0">
                <a:pos x="csX880" y="csY880"/>
              </a:cxn>
              <a:cxn ang="0">
                <a:pos x="csX881" y="csY881"/>
              </a:cxn>
              <a:cxn ang="0">
                <a:pos x="csX882" y="csY882"/>
              </a:cxn>
              <a:cxn ang="0">
                <a:pos x="csX883" y="csY883"/>
              </a:cxn>
              <a:cxn ang="0">
                <a:pos x="csX884" y="csY884"/>
              </a:cxn>
              <a:cxn ang="0">
                <a:pos x="csX885" y="csY885"/>
              </a:cxn>
              <a:cxn ang="0">
                <a:pos x="csX886" y="csY886"/>
              </a:cxn>
              <a:cxn ang="0">
                <a:pos x="csX887" y="csY887"/>
              </a:cxn>
              <a:cxn ang="0">
                <a:pos x="csX888" y="csY888"/>
              </a:cxn>
              <a:cxn ang="0">
                <a:pos x="csX889" y="csY889"/>
              </a:cxn>
              <a:cxn ang="0">
                <a:pos x="csX890" y="csY890"/>
              </a:cxn>
              <a:cxn ang="0">
                <a:pos x="csX891" y="csY891"/>
              </a:cxn>
              <a:cxn ang="0">
                <a:pos x="csX892" y="csY892"/>
              </a:cxn>
              <a:cxn ang="0">
                <a:pos x="csX893" y="csY893"/>
              </a:cxn>
              <a:cxn ang="0">
                <a:pos x="csX894" y="csY894"/>
              </a:cxn>
              <a:cxn ang="0">
                <a:pos x="csX895" y="csY895"/>
              </a:cxn>
              <a:cxn ang="0">
                <a:pos x="csX896" y="csY896"/>
              </a:cxn>
              <a:cxn ang="0">
                <a:pos x="csX897" y="csY897"/>
              </a:cxn>
              <a:cxn ang="0">
                <a:pos x="csX898" y="csY898"/>
              </a:cxn>
              <a:cxn ang="0">
                <a:pos x="csX899" y="csY899"/>
              </a:cxn>
              <a:cxn ang="0">
                <a:pos x="csX900" y="csY900"/>
              </a:cxn>
              <a:cxn ang="0">
                <a:pos x="csX901" y="csY901"/>
              </a:cxn>
              <a:cxn ang="0">
                <a:pos x="csX902" y="csY902"/>
              </a:cxn>
              <a:cxn ang="0">
                <a:pos x="csX903" y="csY903"/>
              </a:cxn>
              <a:cxn ang="0">
                <a:pos x="csX904" y="csY904"/>
              </a:cxn>
              <a:cxn ang="0">
                <a:pos x="csX905" y="csY905"/>
              </a:cxn>
              <a:cxn ang="0">
                <a:pos x="csX906" y="csY906"/>
              </a:cxn>
              <a:cxn ang="0">
                <a:pos x="csX907" y="csY907"/>
              </a:cxn>
              <a:cxn ang="0">
                <a:pos x="csX908" y="csY908"/>
              </a:cxn>
              <a:cxn ang="0">
                <a:pos x="csX909" y="csY909"/>
              </a:cxn>
              <a:cxn ang="0">
                <a:pos x="csX910" y="csY910"/>
              </a:cxn>
              <a:cxn ang="0">
                <a:pos x="csX911" y="csY911"/>
              </a:cxn>
              <a:cxn ang="0">
                <a:pos x="csX912" y="csY912"/>
              </a:cxn>
              <a:cxn ang="0">
                <a:pos x="csX913" y="csY913"/>
              </a:cxn>
              <a:cxn ang="0">
                <a:pos x="csX914" y="csY914"/>
              </a:cxn>
              <a:cxn ang="0">
                <a:pos x="csX915" y="csY915"/>
              </a:cxn>
              <a:cxn ang="0">
                <a:pos x="csX916" y="csY916"/>
              </a:cxn>
              <a:cxn ang="0">
                <a:pos x="csX917" y="csY917"/>
              </a:cxn>
              <a:cxn ang="0">
                <a:pos x="csX918" y="csY918"/>
              </a:cxn>
              <a:cxn ang="0">
                <a:pos x="csX919" y="csY919"/>
              </a:cxn>
              <a:cxn ang="0">
                <a:pos x="csX920" y="csY920"/>
              </a:cxn>
              <a:cxn ang="0">
                <a:pos x="csX921" y="csY921"/>
              </a:cxn>
              <a:cxn ang="0">
                <a:pos x="csX922" y="csY922"/>
              </a:cxn>
              <a:cxn ang="0">
                <a:pos x="csX923" y="csY923"/>
              </a:cxn>
              <a:cxn ang="0">
                <a:pos x="csX924" y="csY924"/>
              </a:cxn>
              <a:cxn ang="0">
                <a:pos x="csX925" y="csY925"/>
              </a:cxn>
              <a:cxn ang="0">
                <a:pos x="csX926" y="csY926"/>
              </a:cxn>
              <a:cxn ang="0">
                <a:pos x="csX927" y="csY927"/>
              </a:cxn>
              <a:cxn ang="0">
                <a:pos x="csX928" y="csY928"/>
              </a:cxn>
              <a:cxn ang="0">
                <a:pos x="csX929" y="csY929"/>
              </a:cxn>
              <a:cxn ang="0">
                <a:pos x="csX930" y="csY930"/>
              </a:cxn>
              <a:cxn ang="0">
                <a:pos x="csX931" y="csY931"/>
              </a:cxn>
              <a:cxn ang="0">
                <a:pos x="csX932" y="csY932"/>
              </a:cxn>
              <a:cxn ang="0">
                <a:pos x="csX933" y="csY933"/>
              </a:cxn>
              <a:cxn ang="0">
                <a:pos x="csX934" y="csY934"/>
              </a:cxn>
              <a:cxn ang="0">
                <a:pos x="csX935" y="csY935"/>
              </a:cxn>
              <a:cxn ang="0">
                <a:pos x="csX936" y="csY936"/>
              </a:cxn>
              <a:cxn ang="0">
                <a:pos x="csX937" y="csY937"/>
              </a:cxn>
              <a:cxn ang="0">
                <a:pos x="csX938" y="csY938"/>
              </a:cxn>
              <a:cxn ang="0">
                <a:pos x="csX939" y="csY939"/>
              </a:cxn>
              <a:cxn ang="0">
                <a:pos x="csX940" y="csY940"/>
              </a:cxn>
              <a:cxn ang="0">
                <a:pos x="csX941" y="csY941"/>
              </a:cxn>
              <a:cxn ang="0">
                <a:pos x="csX942" y="csY942"/>
              </a:cxn>
              <a:cxn ang="0">
                <a:pos x="csX943" y="csY943"/>
              </a:cxn>
              <a:cxn ang="0">
                <a:pos x="csX944" y="csY944"/>
              </a:cxn>
              <a:cxn ang="0">
                <a:pos x="csX945" y="csY945"/>
              </a:cxn>
              <a:cxn ang="0">
                <a:pos x="csX946" y="csY946"/>
              </a:cxn>
              <a:cxn ang="0">
                <a:pos x="csX947" y="csY947"/>
              </a:cxn>
              <a:cxn ang="0">
                <a:pos x="csX948" y="csY948"/>
              </a:cxn>
              <a:cxn ang="0">
                <a:pos x="csX949" y="csY949"/>
              </a:cxn>
              <a:cxn ang="0">
                <a:pos x="csX950" y="csY950"/>
              </a:cxn>
              <a:cxn ang="0">
                <a:pos x="csX951" y="csY951"/>
              </a:cxn>
              <a:cxn ang="0">
                <a:pos x="csX952" y="csY952"/>
              </a:cxn>
              <a:cxn ang="0">
                <a:pos x="csX953" y="csY953"/>
              </a:cxn>
              <a:cxn ang="0">
                <a:pos x="csX954" y="csY954"/>
              </a:cxn>
              <a:cxn ang="0">
                <a:pos x="csX955" y="csY955"/>
              </a:cxn>
              <a:cxn ang="0">
                <a:pos x="csX956" y="csY956"/>
              </a:cxn>
              <a:cxn ang="0">
                <a:pos x="csX957" y="csY957"/>
              </a:cxn>
              <a:cxn ang="0">
                <a:pos x="csX958" y="csY958"/>
              </a:cxn>
              <a:cxn ang="0">
                <a:pos x="csX959" y="csY959"/>
              </a:cxn>
              <a:cxn ang="0">
                <a:pos x="csX960" y="csY960"/>
              </a:cxn>
              <a:cxn ang="0">
                <a:pos x="csX961" y="csY961"/>
              </a:cxn>
              <a:cxn ang="0">
                <a:pos x="csX962" y="csY962"/>
              </a:cxn>
              <a:cxn ang="0">
                <a:pos x="csX963" y="csY963"/>
              </a:cxn>
              <a:cxn ang="0">
                <a:pos x="csX964" y="csY964"/>
              </a:cxn>
              <a:cxn ang="0">
                <a:pos x="csX965" y="csY965"/>
              </a:cxn>
              <a:cxn ang="0">
                <a:pos x="csX966" y="csY966"/>
              </a:cxn>
              <a:cxn ang="0">
                <a:pos x="csX967" y="csY967"/>
              </a:cxn>
              <a:cxn ang="0">
                <a:pos x="csX968" y="csY968"/>
              </a:cxn>
              <a:cxn ang="0">
                <a:pos x="csX969" y="csY969"/>
              </a:cxn>
              <a:cxn ang="0">
                <a:pos x="csX970" y="csY970"/>
              </a:cxn>
              <a:cxn ang="0">
                <a:pos x="csX971" y="csY971"/>
              </a:cxn>
              <a:cxn ang="0">
                <a:pos x="csX972" y="csY972"/>
              </a:cxn>
              <a:cxn ang="0">
                <a:pos x="csX973" y="csY973"/>
              </a:cxn>
              <a:cxn ang="0">
                <a:pos x="csX974" y="csY974"/>
              </a:cxn>
              <a:cxn ang="0">
                <a:pos x="csX975" y="csY975"/>
              </a:cxn>
              <a:cxn ang="0">
                <a:pos x="csX976" y="csY976"/>
              </a:cxn>
              <a:cxn ang="0">
                <a:pos x="csX977" y="csY977"/>
              </a:cxn>
              <a:cxn ang="0">
                <a:pos x="csX978" y="csY978"/>
              </a:cxn>
              <a:cxn ang="0">
                <a:pos x="csX979" y="csY979"/>
              </a:cxn>
              <a:cxn ang="0">
                <a:pos x="csX980" y="csY980"/>
              </a:cxn>
              <a:cxn ang="0">
                <a:pos x="csX981" y="csY981"/>
              </a:cxn>
              <a:cxn ang="0">
                <a:pos x="csX982" y="csY982"/>
              </a:cxn>
              <a:cxn ang="0">
                <a:pos x="csX983" y="csY983"/>
              </a:cxn>
              <a:cxn ang="0">
                <a:pos x="csX984" y="csY984"/>
              </a:cxn>
              <a:cxn ang="0">
                <a:pos x="csX985" y="csY985"/>
              </a:cxn>
              <a:cxn ang="0">
                <a:pos x="csX986" y="csY986"/>
              </a:cxn>
              <a:cxn ang="0">
                <a:pos x="csX987" y="csY987"/>
              </a:cxn>
              <a:cxn ang="0">
                <a:pos x="csX988" y="csY988"/>
              </a:cxn>
              <a:cxn ang="0">
                <a:pos x="csX989" y="csY989"/>
              </a:cxn>
              <a:cxn ang="0">
                <a:pos x="csX990" y="csY990"/>
              </a:cxn>
              <a:cxn ang="0">
                <a:pos x="csX991" y="csY991"/>
              </a:cxn>
              <a:cxn ang="0">
                <a:pos x="csX992" y="csY992"/>
              </a:cxn>
              <a:cxn ang="0">
                <a:pos x="csX993" y="csY993"/>
              </a:cxn>
              <a:cxn ang="0">
                <a:pos x="csX994" y="csY994"/>
              </a:cxn>
              <a:cxn ang="0">
                <a:pos x="csX995" y="csY995"/>
              </a:cxn>
              <a:cxn ang="0">
                <a:pos x="csX996" y="csY996"/>
              </a:cxn>
              <a:cxn ang="0">
                <a:pos x="csX997" y="csY997"/>
              </a:cxn>
              <a:cxn ang="0">
                <a:pos x="csX998" y="csY998"/>
              </a:cxn>
              <a:cxn ang="0">
                <a:pos x="csX999" y="csY999"/>
              </a:cxn>
              <a:cxn ang="0">
                <a:pos x="csX1000" y="csY1000"/>
              </a:cxn>
              <a:cxn ang="0">
                <a:pos x="csX1001" y="csY1001"/>
              </a:cxn>
              <a:cxn ang="0">
                <a:pos x="csX1002" y="csY1002"/>
              </a:cxn>
              <a:cxn ang="0">
                <a:pos x="csX1003" y="csY1003"/>
              </a:cxn>
              <a:cxn ang="0">
                <a:pos x="csX1004" y="csY1004"/>
              </a:cxn>
              <a:cxn ang="0">
                <a:pos x="csX1005" y="csY1005"/>
              </a:cxn>
              <a:cxn ang="0">
                <a:pos x="csX1006" y="csY1006"/>
              </a:cxn>
              <a:cxn ang="0">
                <a:pos x="csX1007" y="csY1007"/>
              </a:cxn>
              <a:cxn ang="0">
                <a:pos x="csX1008" y="csY1008"/>
              </a:cxn>
              <a:cxn ang="0">
                <a:pos x="csX1009" y="csY1009"/>
              </a:cxn>
              <a:cxn ang="0">
                <a:pos x="csX1010" y="csY1010"/>
              </a:cxn>
              <a:cxn ang="0">
                <a:pos x="csX1011" y="csY1011"/>
              </a:cxn>
              <a:cxn ang="0">
                <a:pos x="csX1012" y="csY1012"/>
              </a:cxn>
              <a:cxn ang="0">
                <a:pos x="csX1013" y="csY1013"/>
              </a:cxn>
              <a:cxn ang="0">
                <a:pos x="csX1014" y="csY1014"/>
              </a:cxn>
              <a:cxn ang="0">
                <a:pos x="csX1015" y="csY1015"/>
              </a:cxn>
              <a:cxn ang="0">
                <a:pos x="csX1016" y="csY1016"/>
              </a:cxn>
              <a:cxn ang="0">
                <a:pos x="csX1017" y="csY1017"/>
              </a:cxn>
              <a:cxn ang="0">
                <a:pos x="csX1018" y="csY1018"/>
              </a:cxn>
              <a:cxn ang="0">
                <a:pos x="csX1019" y="csY1019"/>
              </a:cxn>
              <a:cxn ang="0">
                <a:pos x="csX1020" y="csY1020"/>
              </a:cxn>
              <a:cxn ang="0">
                <a:pos x="csX1021" y="csY1021"/>
              </a:cxn>
              <a:cxn ang="0">
                <a:pos x="csX1022" y="csY1022"/>
              </a:cxn>
              <a:cxn ang="0">
                <a:pos x="csX1023" y="csY1023"/>
              </a:cxn>
              <a:cxn ang="0">
                <a:pos x="csX1024" y="csY1024"/>
              </a:cxn>
              <a:cxn ang="0">
                <a:pos x="csX1025" y="csY1025"/>
              </a:cxn>
              <a:cxn ang="0">
                <a:pos x="csX1026" y="csY1026"/>
              </a:cxn>
              <a:cxn ang="0">
                <a:pos x="csX1027" y="csY1027"/>
              </a:cxn>
              <a:cxn ang="0">
                <a:pos x="csX1028" y="csY1028"/>
              </a:cxn>
              <a:cxn ang="0">
                <a:pos x="csX1029" y="csY1029"/>
              </a:cxn>
              <a:cxn ang="0">
                <a:pos x="csX1030" y="csY1030"/>
              </a:cxn>
              <a:cxn ang="0">
                <a:pos x="csX1031" y="csY1031"/>
              </a:cxn>
              <a:cxn ang="0">
                <a:pos x="csX1032" y="csY1032"/>
              </a:cxn>
              <a:cxn ang="0">
                <a:pos x="csX1033" y="csY1033"/>
              </a:cxn>
              <a:cxn ang="0">
                <a:pos x="csX1034" y="csY1034"/>
              </a:cxn>
              <a:cxn ang="0">
                <a:pos x="csX1035" y="csY1035"/>
              </a:cxn>
              <a:cxn ang="0">
                <a:pos x="csX1036" y="csY1036"/>
              </a:cxn>
              <a:cxn ang="0">
                <a:pos x="csX1037" y="csY1037"/>
              </a:cxn>
              <a:cxn ang="0">
                <a:pos x="csX1038" y="csY1038"/>
              </a:cxn>
              <a:cxn ang="0">
                <a:pos x="csX1039" y="csY1039"/>
              </a:cxn>
              <a:cxn ang="0">
                <a:pos x="csX1040" y="csY1040"/>
              </a:cxn>
              <a:cxn ang="0">
                <a:pos x="csX1041" y="csY1041"/>
              </a:cxn>
              <a:cxn ang="0">
                <a:pos x="csX1042" y="csY1042"/>
              </a:cxn>
              <a:cxn ang="0">
                <a:pos x="csX1043" y="csY1043"/>
              </a:cxn>
              <a:cxn ang="0">
                <a:pos x="csX1044" y="csY1044"/>
              </a:cxn>
              <a:cxn ang="0">
                <a:pos x="csX1045" y="csY1045"/>
              </a:cxn>
              <a:cxn ang="0">
                <a:pos x="csX1046" y="csY1046"/>
              </a:cxn>
              <a:cxn ang="0">
                <a:pos x="csX1047" y="csY1047"/>
              </a:cxn>
              <a:cxn ang="0">
                <a:pos x="csX1048" y="csY1048"/>
              </a:cxn>
              <a:cxn ang="0">
                <a:pos x="csX1049" y="csY1049"/>
              </a:cxn>
              <a:cxn ang="0">
                <a:pos x="csX1050" y="csY1050"/>
              </a:cxn>
              <a:cxn ang="0">
                <a:pos x="csX1051" y="csY1051"/>
              </a:cxn>
              <a:cxn ang="0">
                <a:pos x="csX1052" y="csY1052"/>
              </a:cxn>
              <a:cxn ang="0">
                <a:pos x="csX1053" y="csY1053"/>
              </a:cxn>
              <a:cxn ang="0">
                <a:pos x="csX1054" y="csY1054"/>
              </a:cxn>
            </a:cxnLst>
            <a:rect l="l" t="t" r="r" b="b"/>
            <a:pathLst>
              <a:path w="1609516" h="1538630">
                <a:moveTo>
                  <a:pt x="401579" y="1495809"/>
                </a:moveTo>
                <a:lnTo>
                  <a:pt x="400190" y="1496004"/>
                </a:lnTo>
                <a:lnTo>
                  <a:pt x="401224" y="1496470"/>
                </a:lnTo>
                <a:lnTo>
                  <a:pt x="401224" y="1498590"/>
                </a:lnTo>
                <a:lnTo>
                  <a:pt x="401579" y="1498628"/>
                </a:lnTo>
                <a:cubicBezTo>
                  <a:pt x="401579" y="1497698"/>
                  <a:pt x="401579" y="1496768"/>
                  <a:pt x="401579" y="1495809"/>
                </a:cubicBezTo>
                <a:close/>
                <a:moveTo>
                  <a:pt x="368755" y="1486512"/>
                </a:moveTo>
                <a:lnTo>
                  <a:pt x="364089" y="1487354"/>
                </a:lnTo>
                <a:lnTo>
                  <a:pt x="364089" y="1487908"/>
                </a:lnTo>
                <a:close/>
                <a:moveTo>
                  <a:pt x="1049801" y="1484562"/>
                </a:moveTo>
                <a:lnTo>
                  <a:pt x="1046735" y="1485945"/>
                </a:lnTo>
                <a:lnTo>
                  <a:pt x="1046955" y="1486045"/>
                </a:lnTo>
                <a:lnTo>
                  <a:pt x="1049801" y="1485188"/>
                </a:lnTo>
                <a:close/>
                <a:moveTo>
                  <a:pt x="351234" y="1444508"/>
                </a:moveTo>
                <a:lnTo>
                  <a:pt x="351234" y="1444997"/>
                </a:lnTo>
                <a:lnTo>
                  <a:pt x="351592" y="1445078"/>
                </a:lnTo>
                <a:close/>
                <a:moveTo>
                  <a:pt x="351908" y="1431206"/>
                </a:moveTo>
                <a:lnTo>
                  <a:pt x="351234" y="1431611"/>
                </a:lnTo>
                <a:lnTo>
                  <a:pt x="351234" y="1432274"/>
                </a:lnTo>
                <a:close/>
                <a:moveTo>
                  <a:pt x="358162" y="1421494"/>
                </a:moveTo>
                <a:lnTo>
                  <a:pt x="355921" y="1423156"/>
                </a:lnTo>
                <a:lnTo>
                  <a:pt x="355921" y="1423548"/>
                </a:lnTo>
                <a:close/>
                <a:moveTo>
                  <a:pt x="376098" y="1408347"/>
                </a:moveTo>
                <a:lnTo>
                  <a:pt x="370750" y="1412245"/>
                </a:lnTo>
                <a:lnTo>
                  <a:pt x="375023" y="1411256"/>
                </a:lnTo>
                <a:close/>
                <a:moveTo>
                  <a:pt x="421956" y="1365623"/>
                </a:moveTo>
                <a:lnTo>
                  <a:pt x="421765" y="1366161"/>
                </a:lnTo>
                <a:lnTo>
                  <a:pt x="421887" y="1366161"/>
                </a:lnTo>
                <a:close/>
                <a:moveTo>
                  <a:pt x="754553" y="1360575"/>
                </a:moveTo>
                <a:lnTo>
                  <a:pt x="754089" y="1361433"/>
                </a:lnTo>
                <a:lnTo>
                  <a:pt x="754431" y="1361125"/>
                </a:lnTo>
                <a:close/>
                <a:moveTo>
                  <a:pt x="1277973" y="1332923"/>
                </a:moveTo>
                <a:lnTo>
                  <a:pt x="1277944" y="1332936"/>
                </a:lnTo>
                <a:lnTo>
                  <a:pt x="1277949" y="1333139"/>
                </a:lnTo>
                <a:close/>
                <a:moveTo>
                  <a:pt x="1268556" y="1321066"/>
                </a:moveTo>
                <a:cubicBezTo>
                  <a:pt x="1268556" y="1322461"/>
                  <a:pt x="1268556" y="1323856"/>
                  <a:pt x="1268556" y="1325294"/>
                </a:cubicBezTo>
                <a:cubicBezTo>
                  <a:pt x="1267525" y="1325294"/>
                  <a:pt x="1266495" y="1325294"/>
                  <a:pt x="1265432" y="1325294"/>
                </a:cubicBezTo>
                <a:cubicBezTo>
                  <a:pt x="1265432" y="1330409"/>
                  <a:pt x="1265432" y="1335525"/>
                  <a:pt x="1265432" y="1340795"/>
                </a:cubicBezTo>
                <a:lnTo>
                  <a:pt x="1265476" y="1340714"/>
                </a:lnTo>
                <a:lnTo>
                  <a:pt x="1265476" y="1325877"/>
                </a:lnTo>
                <a:cubicBezTo>
                  <a:pt x="1266507" y="1325877"/>
                  <a:pt x="1267538" y="1325877"/>
                  <a:pt x="1268600" y="1325877"/>
                </a:cubicBezTo>
                <a:cubicBezTo>
                  <a:pt x="1268600" y="1324482"/>
                  <a:pt x="1268600" y="1323086"/>
                  <a:pt x="1268600" y="1321649"/>
                </a:cubicBezTo>
                <a:cubicBezTo>
                  <a:pt x="1270147" y="1321649"/>
                  <a:pt x="1271693" y="1321649"/>
                  <a:pt x="1273286" y="1321649"/>
                </a:cubicBezTo>
                <a:lnTo>
                  <a:pt x="1273227" y="1321066"/>
                </a:lnTo>
                <a:close/>
                <a:moveTo>
                  <a:pt x="827891" y="1291474"/>
                </a:moveTo>
                <a:lnTo>
                  <a:pt x="822601" y="1291544"/>
                </a:lnTo>
                <a:lnTo>
                  <a:pt x="818272" y="1292220"/>
                </a:lnTo>
                <a:lnTo>
                  <a:pt x="827891" y="1292047"/>
                </a:lnTo>
                <a:close/>
                <a:moveTo>
                  <a:pt x="856397" y="1288691"/>
                </a:moveTo>
                <a:lnTo>
                  <a:pt x="865903" y="1290590"/>
                </a:lnTo>
                <a:lnTo>
                  <a:pt x="859999" y="1288752"/>
                </a:lnTo>
                <a:close/>
                <a:moveTo>
                  <a:pt x="834694" y="1288572"/>
                </a:moveTo>
                <a:lnTo>
                  <a:pt x="828038" y="1288654"/>
                </a:lnTo>
                <a:lnTo>
                  <a:pt x="828038" y="1289214"/>
                </a:lnTo>
                <a:close/>
                <a:moveTo>
                  <a:pt x="229746" y="1191418"/>
                </a:moveTo>
                <a:lnTo>
                  <a:pt x="227402" y="1191947"/>
                </a:lnTo>
                <a:lnTo>
                  <a:pt x="229315" y="1191947"/>
                </a:lnTo>
                <a:cubicBezTo>
                  <a:pt x="229315" y="1192877"/>
                  <a:pt x="229315" y="1193807"/>
                  <a:pt x="229315" y="1194765"/>
                </a:cubicBezTo>
                <a:lnTo>
                  <a:pt x="231321" y="1194765"/>
                </a:lnTo>
                <a:lnTo>
                  <a:pt x="229746" y="1194236"/>
                </a:lnTo>
                <a:cubicBezTo>
                  <a:pt x="229746" y="1193306"/>
                  <a:pt x="229746" y="1192376"/>
                  <a:pt x="229746" y="1191418"/>
                </a:cubicBezTo>
                <a:close/>
                <a:moveTo>
                  <a:pt x="215687" y="1187190"/>
                </a:moveTo>
                <a:lnTo>
                  <a:pt x="215198" y="1187720"/>
                </a:lnTo>
                <a:lnTo>
                  <a:pt x="215256" y="1187720"/>
                </a:lnTo>
                <a:cubicBezTo>
                  <a:pt x="215256" y="1189115"/>
                  <a:pt x="215256" y="1190510"/>
                  <a:pt x="215256" y="1191947"/>
                </a:cubicBezTo>
                <a:lnTo>
                  <a:pt x="222721" y="1191947"/>
                </a:lnTo>
                <a:lnTo>
                  <a:pt x="215687" y="1191418"/>
                </a:lnTo>
                <a:cubicBezTo>
                  <a:pt x="215687" y="1190023"/>
                  <a:pt x="215687" y="1188628"/>
                  <a:pt x="215687" y="1187190"/>
                </a:cubicBezTo>
                <a:close/>
                <a:moveTo>
                  <a:pt x="1279678" y="1082356"/>
                </a:moveTo>
                <a:lnTo>
                  <a:pt x="1271680" y="1084589"/>
                </a:lnTo>
                <a:lnTo>
                  <a:pt x="1282181" y="1082544"/>
                </a:lnTo>
                <a:close/>
                <a:moveTo>
                  <a:pt x="117703" y="941507"/>
                </a:moveTo>
                <a:lnTo>
                  <a:pt x="112587" y="941985"/>
                </a:lnTo>
                <a:lnTo>
                  <a:pt x="112565" y="942333"/>
                </a:lnTo>
                <a:lnTo>
                  <a:pt x="115665" y="941837"/>
                </a:lnTo>
                <a:close/>
                <a:moveTo>
                  <a:pt x="144268" y="939395"/>
                </a:moveTo>
                <a:lnTo>
                  <a:pt x="143354" y="939580"/>
                </a:lnTo>
                <a:lnTo>
                  <a:pt x="144077" y="939739"/>
                </a:lnTo>
                <a:close/>
                <a:moveTo>
                  <a:pt x="162575" y="933530"/>
                </a:moveTo>
                <a:lnTo>
                  <a:pt x="161704" y="935101"/>
                </a:lnTo>
                <a:lnTo>
                  <a:pt x="170045" y="933585"/>
                </a:lnTo>
                <a:close/>
                <a:moveTo>
                  <a:pt x="1321645" y="918415"/>
                </a:moveTo>
                <a:lnTo>
                  <a:pt x="1321534" y="920177"/>
                </a:lnTo>
                <a:lnTo>
                  <a:pt x="1321740" y="918415"/>
                </a:lnTo>
                <a:close/>
                <a:moveTo>
                  <a:pt x="1319333" y="915183"/>
                </a:moveTo>
                <a:lnTo>
                  <a:pt x="1318544" y="918029"/>
                </a:lnTo>
                <a:lnTo>
                  <a:pt x="1318702" y="918029"/>
                </a:lnTo>
                <a:close/>
                <a:moveTo>
                  <a:pt x="1326355" y="907109"/>
                </a:moveTo>
                <a:lnTo>
                  <a:pt x="1326355" y="910983"/>
                </a:lnTo>
                <a:lnTo>
                  <a:pt x="1325831" y="911101"/>
                </a:lnTo>
                <a:lnTo>
                  <a:pt x="1326426" y="911369"/>
                </a:lnTo>
                <a:cubicBezTo>
                  <a:pt x="1326426" y="909974"/>
                  <a:pt x="1326426" y="908579"/>
                  <a:pt x="1326426" y="907141"/>
                </a:cubicBezTo>
                <a:close/>
                <a:moveTo>
                  <a:pt x="1328144" y="892192"/>
                </a:moveTo>
                <a:lnTo>
                  <a:pt x="1327667" y="893446"/>
                </a:lnTo>
                <a:lnTo>
                  <a:pt x="1327989" y="893049"/>
                </a:lnTo>
                <a:close/>
                <a:moveTo>
                  <a:pt x="49605" y="887420"/>
                </a:moveTo>
                <a:lnTo>
                  <a:pt x="48549" y="891229"/>
                </a:lnTo>
                <a:lnTo>
                  <a:pt x="49956" y="887420"/>
                </a:lnTo>
                <a:close/>
                <a:moveTo>
                  <a:pt x="1332266" y="883369"/>
                </a:moveTo>
                <a:lnTo>
                  <a:pt x="1329479" y="884207"/>
                </a:lnTo>
                <a:lnTo>
                  <a:pt x="1329509" y="884816"/>
                </a:lnTo>
                <a:lnTo>
                  <a:pt x="1329551" y="884594"/>
                </a:lnTo>
                <a:close/>
                <a:moveTo>
                  <a:pt x="1555987" y="821766"/>
                </a:moveTo>
                <a:lnTo>
                  <a:pt x="1555987" y="822201"/>
                </a:lnTo>
                <a:lnTo>
                  <a:pt x="1556081" y="822189"/>
                </a:lnTo>
                <a:close/>
                <a:moveTo>
                  <a:pt x="1565360" y="810928"/>
                </a:moveTo>
                <a:lnTo>
                  <a:pt x="1564871" y="811809"/>
                </a:lnTo>
                <a:lnTo>
                  <a:pt x="1567314" y="810928"/>
                </a:lnTo>
                <a:close/>
                <a:moveTo>
                  <a:pt x="1563797" y="810928"/>
                </a:moveTo>
                <a:lnTo>
                  <a:pt x="1556762" y="814736"/>
                </a:lnTo>
                <a:lnTo>
                  <a:pt x="1563797" y="812197"/>
                </a:lnTo>
                <a:close/>
                <a:moveTo>
                  <a:pt x="265833" y="806020"/>
                </a:moveTo>
                <a:lnTo>
                  <a:pt x="263704" y="809861"/>
                </a:lnTo>
                <a:lnTo>
                  <a:pt x="263704" y="816750"/>
                </a:lnTo>
                <a:lnTo>
                  <a:pt x="264113" y="816565"/>
                </a:lnTo>
                <a:cubicBezTo>
                  <a:pt x="264048" y="815315"/>
                  <a:pt x="263984" y="814065"/>
                  <a:pt x="263918" y="812777"/>
                </a:cubicBezTo>
                <a:close/>
                <a:moveTo>
                  <a:pt x="263774" y="779374"/>
                </a:moveTo>
                <a:lnTo>
                  <a:pt x="263704" y="783086"/>
                </a:lnTo>
                <a:cubicBezTo>
                  <a:pt x="263961" y="783987"/>
                  <a:pt x="264219" y="784888"/>
                  <a:pt x="264484" y="785816"/>
                </a:cubicBezTo>
                <a:cubicBezTo>
                  <a:pt x="265299" y="788846"/>
                  <a:pt x="265316" y="791337"/>
                  <a:pt x="265265" y="794448"/>
                </a:cubicBezTo>
                <a:cubicBezTo>
                  <a:pt x="265103" y="797155"/>
                  <a:pt x="265022" y="798508"/>
                  <a:pt x="265217" y="799730"/>
                </a:cubicBezTo>
                <a:lnTo>
                  <a:pt x="266556" y="803466"/>
                </a:lnTo>
                <a:lnTo>
                  <a:pt x="267237" y="801063"/>
                </a:lnTo>
                <a:cubicBezTo>
                  <a:pt x="266721" y="800598"/>
                  <a:pt x="266206" y="800133"/>
                  <a:pt x="265675" y="799654"/>
                </a:cubicBezTo>
                <a:cubicBezTo>
                  <a:pt x="265601" y="797718"/>
                  <a:pt x="265617" y="795778"/>
                  <a:pt x="265675" y="793841"/>
                </a:cubicBezTo>
                <a:close/>
                <a:moveTo>
                  <a:pt x="260988" y="770061"/>
                </a:moveTo>
                <a:lnTo>
                  <a:pt x="260988" y="771364"/>
                </a:lnTo>
                <a:lnTo>
                  <a:pt x="263497" y="777263"/>
                </a:lnTo>
                <a:lnTo>
                  <a:pt x="262551" y="770061"/>
                </a:lnTo>
                <a:cubicBezTo>
                  <a:pt x="262035" y="770061"/>
                  <a:pt x="261520" y="770061"/>
                  <a:pt x="260988" y="770061"/>
                </a:cubicBezTo>
                <a:close/>
                <a:moveTo>
                  <a:pt x="157888" y="651686"/>
                </a:moveTo>
                <a:lnTo>
                  <a:pt x="157415" y="651764"/>
                </a:lnTo>
                <a:lnTo>
                  <a:pt x="160373" y="652274"/>
                </a:lnTo>
                <a:close/>
                <a:moveTo>
                  <a:pt x="267237" y="426537"/>
                </a:moveTo>
                <a:lnTo>
                  <a:pt x="267237" y="427619"/>
                </a:lnTo>
                <a:cubicBezTo>
                  <a:pt x="268274" y="427791"/>
                  <a:pt x="269311" y="427961"/>
                  <a:pt x="270380" y="428137"/>
                </a:cubicBezTo>
                <a:lnTo>
                  <a:pt x="273548" y="428680"/>
                </a:lnTo>
                <a:close/>
                <a:moveTo>
                  <a:pt x="37605" y="359270"/>
                </a:moveTo>
                <a:lnTo>
                  <a:pt x="37103" y="361533"/>
                </a:lnTo>
                <a:lnTo>
                  <a:pt x="37605" y="361382"/>
                </a:lnTo>
                <a:close/>
                <a:moveTo>
                  <a:pt x="52477" y="337570"/>
                </a:moveTo>
                <a:lnTo>
                  <a:pt x="47288" y="342340"/>
                </a:lnTo>
                <a:lnTo>
                  <a:pt x="45805" y="345093"/>
                </a:lnTo>
                <a:close/>
                <a:moveTo>
                  <a:pt x="104291" y="336166"/>
                </a:moveTo>
                <a:lnTo>
                  <a:pt x="103776" y="337559"/>
                </a:lnTo>
                <a:lnTo>
                  <a:pt x="108925" y="336166"/>
                </a:lnTo>
                <a:close/>
                <a:moveTo>
                  <a:pt x="1309237" y="322954"/>
                </a:moveTo>
                <a:lnTo>
                  <a:pt x="1309180" y="330559"/>
                </a:lnTo>
                <a:lnTo>
                  <a:pt x="1309237" y="330520"/>
                </a:lnTo>
                <a:close/>
                <a:moveTo>
                  <a:pt x="1308964" y="317715"/>
                </a:moveTo>
                <a:lnTo>
                  <a:pt x="1309237" y="318569"/>
                </a:lnTo>
                <a:lnTo>
                  <a:pt x="1309237" y="317838"/>
                </a:lnTo>
                <a:close/>
                <a:moveTo>
                  <a:pt x="1310087" y="313153"/>
                </a:moveTo>
                <a:lnTo>
                  <a:pt x="1307609" y="313473"/>
                </a:lnTo>
                <a:lnTo>
                  <a:pt x="1308045" y="314836"/>
                </a:lnTo>
                <a:close/>
                <a:moveTo>
                  <a:pt x="1318544" y="312064"/>
                </a:moveTo>
                <a:lnTo>
                  <a:pt x="1316298" y="312353"/>
                </a:lnTo>
                <a:lnTo>
                  <a:pt x="1318544" y="312205"/>
                </a:lnTo>
                <a:close/>
                <a:moveTo>
                  <a:pt x="1084622" y="267674"/>
                </a:moveTo>
                <a:lnTo>
                  <a:pt x="1084227" y="268378"/>
                </a:lnTo>
                <a:cubicBezTo>
                  <a:pt x="1082679" y="268378"/>
                  <a:pt x="1081133" y="268378"/>
                  <a:pt x="1079540" y="268378"/>
                </a:cubicBezTo>
                <a:lnTo>
                  <a:pt x="1079603" y="268477"/>
                </a:lnTo>
                <a:lnTo>
                  <a:pt x="1084192" y="268477"/>
                </a:lnTo>
                <a:close/>
                <a:moveTo>
                  <a:pt x="956410" y="266968"/>
                </a:moveTo>
                <a:lnTo>
                  <a:pt x="957576" y="267083"/>
                </a:lnTo>
                <a:lnTo>
                  <a:pt x="957576" y="269776"/>
                </a:lnTo>
                <a:lnTo>
                  <a:pt x="957694" y="269787"/>
                </a:lnTo>
                <a:cubicBezTo>
                  <a:pt x="957694" y="268857"/>
                  <a:pt x="957694" y="267927"/>
                  <a:pt x="957694" y="266968"/>
                </a:cubicBezTo>
                <a:close/>
                <a:moveTo>
                  <a:pt x="1089372" y="259220"/>
                </a:moveTo>
                <a:lnTo>
                  <a:pt x="1085856" y="265479"/>
                </a:lnTo>
                <a:lnTo>
                  <a:pt x="1088878" y="261431"/>
                </a:lnTo>
                <a:close/>
                <a:moveTo>
                  <a:pt x="1018517" y="223356"/>
                </a:moveTo>
                <a:lnTo>
                  <a:pt x="1013866" y="226190"/>
                </a:lnTo>
                <a:lnTo>
                  <a:pt x="1013024" y="227709"/>
                </a:lnTo>
                <a:lnTo>
                  <a:pt x="1017055" y="224692"/>
                </a:lnTo>
                <a:close/>
                <a:moveTo>
                  <a:pt x="850645" y="220099"/>
                </a:moveTo>
                <a:lnTo>
                  <a:pt x="850897" y="221488"/>
                </a:lnTo>
                <a:cubicBezTo>
                  <a:pt x="851086" y="222545"/>
                  <a:pt x="851275" y="223602"/>
                  <a:pt x="851470" y="224692"/>
                </a:cubicBezTo>
                <a:lnTo>
                  <a:pt x="852860" y="224692"/>
                </a:lnTo>
                <a:close/>
                <a:moveTo>
                  <a:pt x="1155019" y="35"/>
                </a:moveTo>
                <a:cubicBezTo>
                  <a:pt x="1161775" y="275"/>
                  <a:pt x="1168415" y="1783"/>
                  <a:pt x="1174829" y="4853"/>
                </a:cubicBezTo>
                <a:cubicBezTo>
                  <a:pt x="1176343" y="5231"/>
                  <a:pt x="1177858" y="5609"/>
                  <a:pt x="1179418" y="5998"/>
                </a:cubicBezTo>
                <a:cubicBezTo>
                  <a:pt x="1189392" y="9487"/>
                  <a:pt x="1196322" y="14392"/>
                  <a:pt x="1201385" y="22997"/>
                </a:cubicBezTo>
                <a:cubicBezTo>
                  <a:pt x="1206849" y="35244"/>
                  <a:pt x="1206940" y="49865"/>
                  <a:pt x="1201678" y="62191"/>
                </a:cubicBezTo>
                <a:cubicBezTo>
                  <a:pt x="1200594" y="64241"/>
                  <a:pt x="1199461" y="66271"/>
                  <a:pt x="1198261" y="68268"/>
                </a:cubicBezTo>
                <a:cubicBezTo>
                  <a:pt x="1197423" y="69721"/>
                  <a:pt x="1196586" y="71175"/>
                  <a:pt x="1195723" y="72672"/>
                </a:cubicBezTo>
                <a:cubicBezTo>
                  <a:pt x="1194659" y="73980"/>
                  <a:pt x="1194659" y="73980"/>
                  <a:pt x="1193575" y="75314"/>
                </a:cubicBezTo>
                <a:cubicBezTo>
                  <a:pt x="1192544" y="75314"/>
                  <a:pt x="1191512" y="75314"/>
                  <a:pt x="1190450" y="75314"/>
                </a:cubicBezTo>
                <a:cubicBezTo>
                  <a:pt x="1190128" y="76651"/>
                  <a:pt x="1189806" y="77988"/>
                  <a:pt x="1189474" y="79366"/>
                </a:cubicBezTo>
                <a:cubicBezTo>
                  <a:pt x="1187326" y="83769"/>
                  <a:pt x="1187326" y="83769"/>
                  <a:pt x="1182445" y="85707"/>
                </a:cubicBezTo>
                <a:cubicBezTo>
                  <a:pt x="1180962" y="85998"/>
                  <a:pt x="1179480" y="86289"/>
                  <a:pt x="1177953" y="86588"/>
                </a:cubicBezTo>
                <a:cubicBezTo>
                  <a:pt x="1177953" y="87518"/>
                  <a:pt x="1177953" y="88448"/>
                  <a:pt x="1177953" y="89406"/>
                </a:cubicBezTo>
                <a:cubicBezTo>
                  <a:pt x="1175369" y="91088"/>
                  <a:pt x="1172720" y="92688"/>
                  <a:pt x="1170045" y="94251"/>
                </a:cubicBezTo>
                <a:cubicBezTo>
                  <a:pt x="1154651" y="104199"/>
                  <a:pt x="1148918" y="116979"/>
                  <a:pt x="1143806" y="132828"/>
                </a:cubicBezTo>
                <a:cubicBezTo>
                  <a:pt x="1142095" y="137144"/>
                  <a:pt x="1140989" y="138617"/>
                  <a:pt x="1137338" y="141548"/>
                </a:cubicBezTo>
                <a:cubicBezTo>
                  <a:pt x="1136166" y="144148"/>
                  <a:pt x="1134992" y="146751"/>
                  <a:pt x="1133970" y="149403"/>
                </a:cubicBezTo>
                <a:cubicBezTo>
                  <a:pt x="1132069" y="154334"/>
                  <a:pt x="1130006" y="159210"/>
                  <a:pt x="1127965" y="164095"/>
                </a:cubicBezTo>
                <a:cubicBezTo>
                  <a:pt x="1126897" y="166664"/>
                  <a:pt x="1125830" y="169233"/>
                  <a:pt x="1124762" y="171802"/>
                </a:cubicBezTo>
                <a:cubicBezTo>
                  <a:pt x="1122961" y="176134"/>
                  <a:pt x="1121160" y="180466"/>
                  <a:pt x="1119359" y="184798"/>
                </a:cubicBezTo>
                <a:cubicBezTo>
                  <a:pt x="1116567" y="191508"/>
                  <a:pt x="1113778" y="198220"/>
                  <a:pt x="1111014" y="204941"/>
                </a:cubicBezTo>
                <a:cubicBezTo>
                  <a:pt x="1110590" y="205970"/>
                  <a:pt x="1110165" y="206999"/>
                  <a:pt x="1109729" y="208059"/>
                </a:cubicBezTo>
                <a:cubicBezTo>
                  <a:pt x="1108615" y="210762"/>
                  <a:pt x="1107505" y="213466"/>
                  <a:pt x="1106395" y="216170"/>
                </a:cubicBezTo>
                <a:cubicBezTo>
                  <a:pt x="1104320" y="220956"/>
                  <a:pt x="1103283" y="223349"/>
                  <a:pt x="1102147" y="224810"/>
                </a:cubicBezTo>
                <a:lnTo>
                  <a:pt x="1098261" y="227262"/>
                </a:lnTo>
                <a:lnTo>
                  <a:pt x="1098367" y="238475"/>
                </a:lnTo>
                <a:cubicBezTo>
                  <a:pt x="1098025" y="239757"/>
                  <a:pt x="1097684" y="241038"/>
                  <a:pt x="1097331" y="242358"/>
                </a:cubicBezTo>
                <a:cubicBezTo>
                  <a:pt x="1096958" y="243711"/>
                  <a:pt x="1096585" y="245064"/>
                  <a:pt x="1096201" y="246458"/>
                </a:cubicBezTo>
                <a:cubicBezTo>
                  <a:pt x="1093302" y="257363"/>
                  <a:pt x="1090901" y="268062"/>
                  <a:pt x="1089440" y="279206"/>
                </a:cubicBezTo>
                <a:cubicBezTo>
                  <a:pt x="1088878" y="282569"/>
                  <a:pt x="1088878" y="282569"/>
                  <a:pt x="1087316" y="283978"/>
                </a:cubicBezTo>
                <a:cubicBezTo>
                  <a:pt x="1087070" y="286587"/>
                  <a:pt x="1086924" y="289205"/>
                  <a:pt x="1086822" y="291822"/>
                </a:cubicBezTo>
                <a:cubicBezTo>
                  <a:pt x="1086756" y="293408"/>
                  <a:pt x="1086691" y="294993"/>
                  <a:pt x="1086623" y="296625"/>
                </a:cubicBezTo>
                <a:cubicBezTo>
                  <a:pt x="1086562" y="298294"/>
                  <a:pt x="1086501" y="299962"/>
                  <a:pt x="1086437" y="301681"/>
                </a:cubicBezTo>
                <a:cubicBezTo>
                  <a:pt x="1086336" y="304192"/>
                  <a:pt x="1086336" y="304192"/>
                  <a:pt x="1086233" y="306754"/>
                </a:cubicBezTo>
                <a:lnTo>
                  <a:pt x="1086007" y="312619"/>
                </a:lnTo>
                <a:lnTo>
                  <a:pt x="1087470" y="320554"/>
                </a:lnTo>
                <a:cubicBezTo>
                  <a:pt x="1089648" y="325409"/>
                  <a:pt x="1093111" y="329799"/>
                  <a:pt x="1098285" y="334611"/>
                </a:cubicBezTo>
                <a:cubicBezTo>
                  <a:pt x="1100424" y="336130"/>
                  <a:pt x="1100424" y="336130"/>
                  <a:pt x="1102607" y="337679"/>
                </a:cubicBezTo>
                <a:cubicBezTo>
                  <a:pt x="1104334" y="338951"/>
                  <a:pt x="1104334" y="338951"/>
                  <a:pt x="1106095" y="340248"/>
                </a:cubicBezTo>
                <a:cubicBezTo>
                  <a:pt x="1106095" y="341178"/>
                  <a:pt x="1106095" y="342108"/>
                  <a:pt x="1106095" y="343066"/>
                </a:cubicBezTo>
                <a:cubicBezTo>
                  <a:pt x="1107127" y="343183"/>
                  <a:pt x="1108158" y="343299"/>
                  <a:pt x="1109220" y="343419"/>
                </a:cubicBezTo>
                <a:cubicBezTo>
                  <a:pt x="1115473" y="344829"/>
                  <a:pt x="1120724" y="347416"/>
                  <a:pt x="1126403" y="350112"/>
                </a:cubicBezTo>
                <a:cubicBezTo>
                  <a:pt x="1128207" y="350926"/>
                  <a:pt x="1130012" y="351740"/>
                  <a:pt x="1131871" y="352579"/>
                </a:cubicBezTo>
                <a:cubicBezTo>
                  <a:pt x="1133159" y="353160"/>
                  <a:pt x="1134448" y="353741"/>
                  <a:pt x="1135776" y="354340"/>
                </a:cubicBezTo>
                <a:cubicBezTo>
                  <a:pt x="1135776" y="355270"/>
                  <a:pt x="1135776" y="356200"/>
                  <a:pt x="1135776" y="357158"/>
                </a:cubicBezTo>
                <a:cubicBezTo>
                  <a:pt x="1148107" y="360029"/>
                  <a:pt x="1158679" y="359101"/>
                  <a:pt x="1170143" y="354340"/>
                </a:cubicBezTo>
                <a:cubicBezTo>
                  <a:pt x="1172366" y="353468"/>
                  <a:pt x="1172366" y="353468"/>
                  <a:pt x="1174634" y="352579"/>
                </a:cubicBezTo>
                <a:cubicBezTo>
                  <a:pt x="1180354" y="349689"/>
                  <a:pt x="1185568" y="346355"/>
                  <a:pt x="1190890" y="342907"/>
                </a:cubicBezTo>
                <a:cubicBezTo>
                  <a:pt x="1195169" y="340228"/>
                  <a:pt x="1199557" y="337821"/>
                  <a:pt x="1204021" y="335404"/>
                </a:cubicBezTo>
                <a:cubicBezTo>
                  <a:pt x="1211989" y="330886"/>
                  <a:pt x="1217509" y="325766"/>
                  <a:pt x="1223255" y="319110"/>
                </a:cubicBezTo>
                <a:cubicBezTo>
                  <a:pt x="1224447" y="317947"/>
                  <a:pt x="1225639" y="316784"/>
                  <a:pt x="1226868" y="315587"/>
                </a:cubicBezTo>
                <a:cubicBezTo>
                  <a:pt x="1229855" y="311593"/>
                  <a:pt x="1230852" y="308240"/>
                  <a:pt x="1231859" y="303559"/>
                </a:cubicBezTo>
                <a:cubicBezTo>
                  <a:pt x="1232628" y="300790"/>
                  <a:pt x="1232628" y="300790"/>
                  <a:pt x="1234178" y="298059"/>
                </a:cubicBezTo>
                <a:cubicBezTo>
                  <a:pt x="1235964" y="294761"/>
                  <a:pt x="1236623" y="291807"/>
                  <a:pt x="1237314" y="288195"/>
                </a:cubicBezTo>
                <a:cubicBezTo>
                  <a:pt x="1239360" y="278571"/>
                  <a:pt x="1242414" y="272733"/>
                  <a:pt x="1249811" y="265559"/>
                </a:cubicBezTo>
                <a:cubicBezTo>
                  <a:pt x="1250842" y="265559"/>
                  <a:pt x="1251873" y="265559"/>
                  <a:pt x="1252935" y="265559"/>
                </a:cubicBezTo>
                <a:cubicBezTo>
                  <a:pt x="1252935" y="264629"/>
                  <a:pt x="1252935" y="263699"/>
                  <a:pt x="1252935" y="262741"/>
                </a:cubicBezTo>
                <a:cubicBezTo>
                  <a:pt x="1265591" y="253427"/>
                  <a:pt x="1280762" y="251648"/>
                  <a:pt x="1296675" y="252876"/>
                </a:cubicBezTo>
                <a:cubicBezTo>
                  <a:pt x="1300535" y="253563"/>
                  <a:pt x="1303901" y="254478"/>
                  <a:pt x="1307609" y="255695"/>
                </a:cubicBezTo>
                <a:cubicBezTo>
                  <a:pt x="1307609" y="256625"/>
                  <a:pt x="1307609" y="257555"/>
                  <a:pt x="1307609" y="258513"/>
                </a:cubicBezTo>
                <a:cubicBezTo>
                  <a:pt x="1309021" y="258619"/>
                  <a:pt x="1310432" y="258723"/>
                  <a:pt x="1311887" y="258832"/>
                </a:cubicBezTo>
                <a:cubicBezTo>
                  <a:pt x="1319573" y="260476"/>
                  <a:pt x="1322149" y="264416"/>
                  <a:pt x="1326715" y="269969"/>
                </a:cubicBezTo>
                <a:cubicBezTo>
                  <a:pt x="1334402" y="281220"/>
                  <a:pt x="1336114" y="294839"/>
                  <a:pt x="1334165" y="307836"/>
                </a:cubicBezTo>
                <a:cubicBezTo>
                  <a:pt x="1332176" y="311898"/>
                  <a:pt x="1332176" y="311898"/>
                  <a:pt x="1329479" y="314882"/>
                </a:cubicBezTo>
                <a:cubicBezTo>
                  <a:pt x="1327417" y="314882"/>
                  <a:pt x="1325355" y="314882"/>
                  <a:pt x="1323231" y="314882"/>
                </a:cubicBezTo>
                <a:cubicBezTo>
                  <a:pt x="1323231" y="315812"/>
                  <a:pt x="1323231" y="316742"/>
                  <a:pt x="1323231" y="317700"/>
                </a:cubicBezTo>
                <a:lnTo>
                  <a:pt x="1322774" y="317838"/>
                </a:lnTo>
                <a:lnTo>
                  <a:pt x="1323295" y="317838"/>
                </a:lnTo>
                <a:cubicBezTo>
                  <a:pt x="1323295" y="316907"/>
                  <a:pt x="1323295" y="315977"/>
                  <a:pt x="1323295" y="315019"/>
                </a:cubicBezTo>
                <a:cubicBezTo>
                  <a:pt x="1324842" y="315019"/>
                  <a:pt x="1326388" y="315019"/>
                  <a:pt x="1327982" y="315019"/>
                </a:cubicBezTo>
                <a:cubicBezTo>
                  <a:pt x="1325845" y="321328"/>
                  <a:pt x="1322753" y="323742"/>
                  <a:pt x="1317047" y="327702"/>
                </a:cubicBezTo>
                <a:cubicBezTo>
                  <a:pt x="1316531" y="329097"/>
                  <a:pt x="1316016" y="330492"/>
                  <a:pt x="1315484" y="331930"/>
                </a:cubicBezTo>
                <a:cubicBezTo>
                  <a:pt x="1312599" y="332959"/>
                  <a:pt x="1312599" y="332959"/>
                  <a:pt x="1309139" y="333603"/>
                </a:cubicBezTo>
                <a:cubicBezTo>
                  <a:pt x="1307993" y="333827"/>
                  <a:pt x="1306847" y="334050"/>
                  <a:pt x="1305666" y="334280"/>
                </a:cubicBezTo>
                <a:cubicBezTo>
                  <a:pt x="1304783" y="334434"/>
                  <a:pt x="1303899" y="334589"/>
                  <a:pt x="1302988" y="334748"/>
                </a:cubicBezTo>
                <a:lnTo>
                  <a:pt x="1305905" y="332775"/>
                </a:lnTo>
                <a:lnTo>
                  <a:pt x="1304485" y="333202"/>
                </a:lnTo>
                <a:cubicBezTo>
                  <a:pt x="1302987" y="334640"/>
                  <a:pt x="1302987" y="334640"/>
                  <a:pt x="1301459" y="336108"/>
                </a:cubicBezTo>
                <a:cubicBezTo>
                  <a:pt x="1298237" y="338839"/>
                  <a:pt x="1298237" y="338839"/>
                  <a:pt x="1291989" y="338839"/>
                </a:cubicBezTo>
                <a:cubicBezTo>
                  <a:pt x="1291473" y="340234"/>
                  <a:pt x="1290957" y="341629"/>
                  <a:pt x="1290426" y="343066"/>
                </a:cubicBezTo>
                <a:cubicBezTo>
                  <a:pt x="1288879" y="343415"/>
                  <a:pt x="1287333" y="343764"/>
                  <a:pt x="1285740" y="344123"/>
                </a:cubicBezTo>
                <a:cubicBezTo>
                  <a:pt x="1266905" y="348491"/>
                  <a:pt x="1249005" y="369098"/>
                  <a:pt x="1237314" y="382525"/>
                </a:cubicBezTo>
                <a:cubicBezTo>
                  <a:pt x="1235678" y="385783"/>
                  <a:pt x="1234122" y="389075"/>
                  <a:pt x="1232628" y="392389"/>
                </a:cubicBezTo>
                <a:cubicBezTo>
                  <a:pt x="1231317" y="394515"/>
                  <a:pt x="1229981" y="396629"/>
                  <a:pt x="1228625" y="398731"/>
                </a:cubicBezTo>
                <a:cubicBezTo>
                  <a:pt x="1221457" y="410300"/>
                  <a:pt x="1219465" y="421836"/>
                  <a:pt x="1222822" y="434798"/>
                </a:cubicBezTo>
                <a:cubicBezTo>
                  <a:pt x="1229360" y="453710"/>
                  <a:pt x="1244088" y="472467"/>
                  <a:pt x="1260746" y="485398"/>
                </a:cubicBezTo>
                <a:cubicBezTo>
                  <a:pt x="1264961" y="487349"/>
                  <a:pt x="1264961" y="487349"/>
                  <a:pt x="1268556" y="488216"/>
                </a:cubicBezTo>
                <a:cubicBezTo>
                  <a:pt x="1268556" y="489146"/>
                  <a:pt x="1268556" y="490076"/>
                  <a:pt x="1268556" y="491034"/>
                </a:cubicBezTo>
                <a:cubicBezTo>
                  <a:pt x="1288790" y="497071"/>
                  <a:pt x="1319055" y="498555"/>
                  <a:pt x="1338852" y="489625"/>
                </a:cubicBezTo>
                <a:cubicBezTo>
                  <a:pt x="1341711" y="489213"/>
                  <a:pt x="1344575" y="488837"/>
                  <a:pt x="1347444" y="488480"/>
                </a:cubicBezTo>
                <a:cubicBezTo>
                  <a:pt x="1355372" y="487345"/>
                  <a:pt x="1362033" y="485390"/>
                  <a:pt x="1369362" y="482513"/>
                </a:cubicBezTo>
                <a:cubicBezTo>
                  <a:pt x="1375665" y="480318"/>
                  <a:pt x="1382189" y="479322"/>
                  <a:pt x="1388840" y="478351"/>
                </a:cubicBezTo>
                <a:cubicBezTo>
                  <a:pt x="1388840" y="477421"/>
                  <a:pt x="1388840" y="476492"/>
                  <a:pt x="1388840" y="475533"/>
                </a:cubicBezTo>
                <a:cubicBezTo>
                  <a:pt x="1391083" y="474821"/>
                  <a:pt x="1393329" y="474118"/>
                  <a:pt x="1395576" y="473419"/>
                </a:cubicBezTo>
                <a:cubicBezTo>
                  <a:pt x="1396827" y="473027"/>
                  <a:pt x="1398077" y="472635"/>
                  <a:pt x="1399365" y="472230"/>
                </a:cubicBezTo>
                <a:cubicBezTo>
                  <a:pt x="1402899" y="471305"/>
                  <a:pt x="1402899" y="471305"/>
                  <a:pt x="1407585" y="471305"/>
                </a:cubicBezTo>
                <a:cubicBezTo>
                  <a:pt x="1408101" y="469910"/>
                  <a:pt x="1408616" y="468515"/>
                  <a:pt x="1409147" y="467078"/>
                </a:cubicBezTo>
                <a:cubicBezTo>
                  <a:pt x="1412388" y="465580"/>
                  <a:pt x="1412388" y="465580"/>
                  <a:pt x="1416470" y="464259"/>
                </a:cubicBezTo>
                <a:cubicBezTo>
                  <a:pt x="1424029" y="461705"/>
                  <a:pt x="1431130" y="458955"/>
                  <a:pt x="1437949" y="455011"/>
                </a:cubicBezTo>
                <a:cubicBezTo>
                  <a:pt x="1442765" y="452574"/>
                  <a:pt x="1447553" y="451394"/>
                  <a:pt x="1452887" y="450167"/>
                </a:cubicBezTo>
                <a:cubicBezTo>
                  <a:pt x="1452887" y="449237"/>
                  <a:pt x="1452887" y="448307"/>
                  <a:pt x="1452887" y="447349"/>
                </a:cubicBezTo>
                <a:cubicBezTo>
                  <a:pt x="1453714" y="446944"/>
                  <a:pt x="1454541" y="446539"/>
                  <a:pt x="1455394" y="446122"/>
                </a:cubicBezTo>
                <a:cubicBezTo>
                  <a:pt x="1459151" y="444278"/>
                  <a:pt x="1462902" y="442422"/>
                  <a:pt x="1466653" y="440567"/>
                </a:cubicBezTo>
                <a:cubicBezTo>
                  <a:pt x="1467955" y="439930"/>
                  <a:pt x="1469256" y="439293"/>
                  <a:pt x="1470598" y="438637"/>
                </a:cubicBezTo>
                <a:cubicBezTo>
                  <a:pt x="1471852" y="438016"/>
                  <a:pt x="1473105" y="437393"/>
                  <a:pt x="1474397" y="436752"/>
                </a:cubicBezTo>
                <a:cubicBezTo>
                  <a:pt x="1475550" y="436184"/>
                  <a:pt x="1476703" y="435616"/>
                  <a:pt x="1477892" y="435030"/>
                </a:cubicBezTo>
                <a:cubicBezTo>
                  <a:pt x="1480966" y="433279"/>
                  <a:pt x="1483173" y="431373"/>
                  <a:pt x="1485691" y="429029"/>
                </a:cubicBezTo>
                <a:cubicBezTo>
                  <a:pt x="1486737" y="428575"/>
                  <a:pt x="1487781" y="428121"/>
                  <a:pt x="1488858" y="427653"/>
                </a:cubicBezTo>
                <a:cubicBezTo>
                  <a:pt x="1492438" y="425977"/>
                  <a:pt x="1493705" y="424453"/>
                  <a:pt x="1495943" y="421454"/>
                </a:cubicBezTo>
                <a:cubicBezTo>
                  <a:pt x="1507114" y="407544"/>
                  <a:pt x="1519758" y="393513"/>
                  <a:pt x="1538608" y="388338"/>
                </a:cubicBezTo>
                <a:cubicBezTo>
                  <a:pt x="1541025" y="388250"/>
                  <a:pt x="1541025" y="388250"/>
                  <a:pt x="1543490" y="388161"/>
                </a:cubicBezTo>
                <a:cubicBezTo>
                  <a:pt x="1545535" y="387984"/>
                  <a:pt x="1545535" y="387984"/>
                  <a:pt x="1547621" y="387804"/>
                </a:cubicBezTo>
                <a:cubicBezTo>
                  <a:pt x="1560659" y="387094"/>
                  <a:pt x="1568716" y="390117"/>
                  <a:pt x="1579418" y="396617"/>
                </a:cubicBezTo>
                <a:cubicBezTo>
                  <a:pt x="1581361" y="397687"/>
                  <a:pt x="1581361" y="397687"/>
                  <a:pt x="1583342" y="398780"/>
                </a:cubicBezTo>
                <a:cubicBezTo>
                  <a:pt x="1593703" y="405068"/>
                  <a:pt x="1598513" y="412459"/>
                  <a:pt x="1601288" y="423392"/>
                </a:cubicBezTo>
                <a:cubicBezTo>
                  <a:pt x="1603295" y="436596"/>
                  <a:pt x="1603517" y="449033"/>
                  <a:pt x="1594484" y="460159"/>
                </a:cubicBezTo>
                <a:cubicBezTo>
                  <a:pt x="1588468" y="466462"/>
                  <a:pt x="1582607" y="471150"/>
                  <a:pt x="1574732" y="475533"/>
                </a:cubicBezTo>
                <a:cubicBezTo>
                  <a:pt x="1573862" y="476043"/>
                  <a:pt x="1572993" y="476553"/>
                  <a:pt x="1572097" y="477078"/>
                </a:cubicBezTo>
                <a:cubicBezTo>
                  <a:pt x="1566828" y="478935"/>
                  <a:pt x="1561641" y="478744"/>
                  <a:pt x="1556066" y="478737"/>
                </a:cubicBezTo>
                <a:cubicBezTo>
                  <a:pt x="1553587" y="478765"/>
                  <a:pt x="1551109" y="478795"/>
                  <a:pt x="1548631" y="478825"/>
                </a:cubicBezTo>
                <a:cubicBezTo>
                  <a:pt x="1544751" y="478857"/>
                  <a:pt x="1540871" y="478880"/>
                  <a:pt x="1536991" y="478889"/>
                </a:cubicBezTo>
                <a:cubicBezTo>
                  <a:pt x="1516714" y="478693"/>
                  <a:pt x="1516714" y="478693"/>
                  <a:pt x="1498188" y="485398"/>
                </a:cubicBezTo>
                <a:cubicBezTo>
                  <a:pt x="1496062" y="486488"/>
                  <a:pt x="1496062" y="486488"/>
                  <a:pt x="1493892" y="487600"/>
                </a:cubicBezTo>
                <a:cubicBezTo>
                  <a:pt x="1492733" y="488268"/>
                  <a:pt x="1491573" y="488937"/>
                  <a:pt x="1490377" y="489625"/>
                </a:cubicBezTo>
                <a:cubicBezTo>
                  <a:pt x="1484304" y="493012"/>
                  <a:pt x="1478212" y="495675"/>
                  <a:pt x="1471650" y="498185"/>
                </a:cubicBezTo>
                <a:cubicBezTo>
                  <a:pt x="1467148" y="500054"/>
                  <a:pt x="1463242" y="502632"/>
                  <a:pt x="1459135" y="505127"/>
                </a:cubicBezTo>
                <a:cubicBezTo>
                  <a:pt x="1456968" y="506120"/>
                  <a:pt x="1454786" y="507086"/>
                  <a:pt x="1452594" y="508033"/>
                </a:cubicBezTo>
                <a:cubicBezTo>
                  <a:pt x="1444148" y="511772"/>
                  <a:pt x="1435969" y="515903"/>
                  <a:pt x="1427795" y="520100"/>
                </a:cubicBezTo>
                <a:cubicBezTo>
                  <a:pt x="1425784" y="521114"/>
                  <a:pt x="1425784" y="521114"/>
                  <a:pt x="1423733" y="522148"/>
                </a:cubicBezTo>
                <a:cubicBezTo>
                  <a:pt x="1422478" y="522798"/>
                  <a:pt x="1421223" y="523449"/>
                  <a:pt x="1419929" y="524118"/>
                </a:cubicBezTo>
                <a:cubicBezTo>
                  <a:pt x="1418794" y="524701"/>
                  <a:pt x="1417658" y="525283"/>
                  <a:pt x="1416487" y="525883"/>
                </a:cubicBezTo>
                <a:cubicBezTo>
                  <a:pt x="1413349" y="527646"/>
                  <a:pt x="1413349" y="527646"/>
                  <a:pt x="1412271" y="531902"/>
                </a:cubicBezTo>
                <a:cubicBezTo>
                  <a:pt x="1407205" y="535203"/>
                  <a:pt x="1402819" y="536744"/>
                  <a:pt x="1396650" y="537539"/>
                </a:cubicBezTo>
                <a:cubicBezTo>
                  <a:pt x="1396650" y="538469"/>
                  <a:pt x="1396650" y="539399"/>
                  <a:pt x="1396650" y="540357"/>
                </a:cubicBezTo>
                <a:cubicBezTo>
                  <a:pt x="1395609" y="540735"/>
                  <a:pt x="1394568" y="541113"/>
                  <a:pt x="1393495" y="541502"/>
                </a:cubicBezTo>
                <a:cubicBezTo>
                  <a:pt x="1381840" y="545973"/>
                  <a:pt x="1372279" y="551715"/>
                  <a:pt x="1362284" y="558678"/>
                </a:cubicBezTo>
                <a:cubicBezTo>
                  <a:pt x="1360170" y="560088"/>
                  <a:pt x="1358055" y="561497"/>
                  <a:pt x="1355937" y="562905"/>
                </a:cubicBezTo>
                <a:cubicBezTo>
                  <a:pt x="1348556" y="567937"/>
                  <a:pt x="1341292" y="573085"/>
                  <a:pt x="1334165" y="578406"/>
                </a:cubicBezTo>
                <a:cubicBezTo>
                  <a:pt x="1332697" y="579472"/>
                  <a:pt x="1332697" y="579472"/>
                  <a:pt x="1331200" y="580559"/>
                </a:cubicBezTo>
                <a:cubicBezTo>
                  <a:pt x="1325067" y="585430"/>
                  <a:pt x="1323406" y="589771"/>
                  <a:pt x="1322175" y="596793"/>
                </a:cubicBezTo>
                <a:cubicBezTo>
                  <a:pt x="1321669" y="599545"/>
                  <a:pt x="1321669" y="599545"/>
                  <a:pt x="1320106" y="602363"/>
                </a:cubicBezTo>
                <a:cubicBezTo>
                  <a:pt x="1318419" y="618189"/>
                  <a:pt x="1322416" y="632767"/>
                  <a:pt x="1328015" y="647640"/>
                </a:cubicBezTo>
                <a:cubicBezTo>
                  <a:pt x="1331267" y="656625"/>
                  <a:pt x="1333170" y="666179"/>
                  <a:pt x="1332604" y="675643"/>
                </a:cubicBezTo>
                <a:cubicBezTo>
                  <a:pt x="1333634" y="675643"/>
                  <a:pt x="1334665" y="675643"/>
                  <a:pt x="1335727" y="675643"/>
                </a:cubicBezTo>
                <a:cubicBezTo>
                  <a:pt x="1337571" y="680632"/>
                  <a:pt x="1337591" y="684795"/>
                  <a:pt x="1337741" y="690059"/>
                </a:cubicBezTo>
                <a:cubicBezTo>
                  <a:pt x="1337826" y="692114"/>
                  <a:pt x="1337913" y="694168"/>
                  <a:pt x="1338003" y="696222"/>
                </a:cubicBezTo>
                <a:cubicBezTo>
                  <a:pt x="1338142" y="699444"/>
                  <a:pt x="1338266" y="702664"/>
                  <a:pt x="1338340" y="705887"/>
                </a:cubicBezTo>
                <a:cubicBezTo>
                  <a:pt x="1338372" y="720474"/>
                  <a:pt x="1338372" y="720474"/>
                  <a:pt x="1345277" y="733245"/>
                </a:cubicBezTo>
                <a:cubicBezTo>
                  <a:pt x="1350822" y="737861"/>
                  <a:pt x="1355921" y="739823"/>
                  <a:pt x="1363162" y="741612"/>
                </a:cubicBezTo>
                <a:cubicBezTo>
                  <a:pt x="1370672" y="743533"/>
                  <a:pt x="1377197" y="745750"/>
                  <a:pt x="1384154" y="748922"/>
                </a:cubicBezTo>
                <a:cubicBezTo>
                  <a:pt x="1387833" y="749898"/>
                  <a:pt x="1387833" y="749898"/>
                  <a:pt x="1391476" y="750419"/>
                </a:cubicBezTo>
                <a:cubicBezTo>
                  <a:pt x="1393499" y="750747"/>
                  <a:pt x="1393499" y="750747"/>
                  <a:pt x="1395564" y="751080"/>
                </a:cubicBezTo>
                <a:cubicBezTo>
                  <a:pt x="1397648" y="751407"/>
                  <a:pt x="1397648" y="751407"/>
                  <a:pt x="1399775" y="751740"/>
                </a:cubicBezTo>
                <a:cubicBezTo>
                  <a:pt x="1401810" y="752111"/>
                  <a:pt x="1401810" y="752111"/>
                  <a:pt x="1403887" y="752489"/>
                </a:cubicBezTo>
                <a:cubicBezTo>
                  <a:pt x="1424247" y="756131"/>
                  <a:pt x="1444708" y="756350"/>
                  <a:pt x="1465383" y="755969"/>
                </a:cubicBezTo>
                <a:cubicBezTo>
                  <a:pt x="1467019" y="755945"/>
                  <a:pt x="1468654" y="755921"/>
                  <a:pt x="1470339" y="755897"/>
                </a:cubicBezTo>
                <a:cubicBezTo>
                  <a:pt x="1480128" y="755450"/>
                  <a:pt x="1487899" y="752933"/>
                  <a:pt x="1496809" y="749313"/>
                </a:cubicBezTo>
                <a:cubicBezTo>
                  <a:pt x="1502876" y="746888"/>
                  <a:pt x="1509049" y="745091"/>
                  <a:pt x="1515371" y="743285"/>
                </a:cubicBezTo>
                <a:cubicBezTo>
                  <a:pt x="1515371" y="742356"/>
                  <a:pt x="1515371" y="741425"/>
                  <a:pt x="1515371" y="740467"/>
                </a:cubicBezTo>
                <a:cubicBezTo>
                  <a:pt x="1522710" y="737103"/>
                  <a:pt x="1529583" y="737106"/>
                  <a:pt x="1537632" y="737120"/>
                </a:cubicBezTo>
                <a:cubicBezTo>
                  <a:pt x="1538960" y="737122"/>
                  <a:pt x="1540289" y="737124"/>
                  <a:pt x="1541657" y="737127"/>
                </a:cubicBezTo>
                <a:cubicBezTo>
                  <a:pt x="1555502" y="737372"/>
                  <a:pt x="1564314" y="740697"/>
                  <a:pt x="1574732" y="748922"/>
                </a:cubicBezTo>
                <a:cubicBezTo>
                  <a:pt x="1586507" y="762822"/>
                  <a:pt x="1590347" y="775219"/>
                  <a:pt x="1588791" y="792608"/>
                </a:cubicBezTo>
                <a:cubicBezTo>
                  <a:pt x="1587728" y="797050"/>
                  <a:pt x="1586468" y="801261"/>
                  <a:pt x="1584105" y="805291"/>
                </a:cubicBezTo>
                <a:cubicBezTo>
                  <a:pt x="1583074" y="805756"/>
                  <a:pt x="1582043" y="806221"/>
                  <a:pt x="1580981" y="806700"/>
                </a:cubicBezTo>
                <a:cubicBezTo>
                  <a:pt x="1580240" y="807892"/>
                  <a:pt x="1579499" y="809083"/>
                  <a:pt x="1578735" y="810311"/>
                </a:cubicBezTo>
                <a:cubicBezTo>
                  <a:pt x="1577930" y="811445"/>
                  <a:pt x="1577124" y="812579"/>
                  <a:pt x="1576295" y="813746"/>
                </a:cubicBezTo>
                <a:lnTo>
                  <a:pt x="1571652" y="813746"/>
                </a:lnTo>
                <a:lnTo>
                  <a:pt x="1571785" y="814106"/>
                </a:lnTo>
                <a:cubicBezTo>
                  <a:pt x="1572816" y="814571"/>
                  <a:pt x="1573846" y="815036"/>
                  <a:pt x="1574909" y="815515"/>
                </a:cubicBezTo>
                <a:cubicBezTo>
                  <a:pt x="1572126" y="818758"/>
                  <a:pt x="1569968" y="820871"/>
                  <a:pt x="1565463" y="821839"/>
                </a:cubicBezTo>
                <a:lnTo>
                  <a:pt x="1562085" y="822101"/>
                </a:lnTo>
                <a:lnTo>
                  <a:pt x="1551301" y="825020"/>
                </a:lnTo>
                <a:cubicBezTo>
                  <a:pt x="1551301" y="825950"/>
                  <a:pt x="1551301" y="826880"/>
                  <a:pt x="1551301" y="827838"/>
                </a:cubicBezTo>
                <a:cubicBezTo>
                  <a:pt x="1526697" y="828735"/>
                  <a:pt x="1507496" y="825036"/>
                  <a:pt x="1485380" y="815007"/>
                </a:cubicBezTo>
                <a:cubicBezTo>
                  <a:pt x="1468723" y="807743"/>
                  <a:pt x="1449749" y="809144"/>
                  <a:pt x="1431603" y="808726"/>
                </a:cubicBezTo>
                <a:cubicBezTo>
                  <a:pt x="1429115" y="808665"/>
                  <a:pt x="1426627" y="808604"/>
                  <a:pt x="1424140" y="808542"/>
                </a:cubicBezTo>
                <a:cubicBezTo>
                  <a:pt x="1418101" y="808392"/>
                  <a:pt x="1412062" y="808249"/>
                  <a:pt x="1406023" y="808109"/>
                </a:cubicBezTo>
                <a:cubicBezTo>
                  <a:pt x="1406023" y="809040"/>
                  <a:pt x="1406023" y="809970"/>
                  <a:pt x="1406023" y="810928"/>
                </a:cubicBezTo>
                <a:cubicBezTo>
                  <a:pt x="1404716" y="811118"/>
                  <a:pt x="1404716" y="811118"/>
                  <a:pt x="1403383" y="811311"/>
                </a:cubicBezTo>
                <a:cubicBezTo>
                  <a:pt x="1372054" y="815110"/>
                  <a:pt x="1372054" y="815110"/>
                  <a:pt x="1345442" y="828907"/>
                </a:cubicBezTo>
                <a:cubicBezTo>
                  <a:pt x="1338843" y="837605"/>
                  <a:pt x="1338313" y="846434"/>
                  <a:pt x="1337875" y="856639"/>
                </a:cubicBezTo>
                <a:cubicBezTo>
                  <a:pt x="1337815" y="857805"/>
                  <a:pt x="1337754" y="858970"/>
                  <a:pt x="1337692" y="860171"/>
                </a:cubicBezTo>
                <a:cubicBezTo>
                  <a:pt x="1337547" y="863016"/>
                  <a:pt x="1337417" y="865861"/>
                  <a:pt x="1337290" y="868706"/>
                </a:cubicBezTo>
                <a:cubicBezTo>
                  <a:pt x="1336258" y="868706"/>
                  <a:pt x="1335228" y="868706"/>
                  <a:pt x="1334165" y="868706"/>
                </a:cubicBezTo>
                <a:lnTo>
                  <a:pt x="1334165" y="870034"/>
                </a:lnTo>
                <a:lnTo>
                  <a:pt x="1334237" y="869093"/>
                </a:lnTo>
                <a:cubicBezTo>
                  <a:pt x="1334753" y="869093"/>
                  <a:pt x="1335268" y="869093"/>
                  <a:pt x="1335800" y="869093"/>
                </a:cubicBezTo>
                <a:cubicBezTo>
                  <a:pt x="1335884" y="871559"/>
                  <a:pt x="1335944" y="874025"/>
                  <a:pt x="1335995" y="876491"/>
                </a:cubicBezTo>
                <a:cubicBezTo>
                  <a:pt x="1336030" y="877865"/>
                  <a:pt x="1336067" y="879238"/>
                  <a:pt x="1336105" y="880653"/>
                </a:cubicBezTo>
                <a:cubicBezTo>
                  <a:pt x="1335800" y="884594"/>
                  <a:pt x="1335800" y="884594"/>
                  <a:pt x="1334294" y="887271"/>
                </a:cubicBezTo>
                <a:cubicBezTo>
                  <a:pt x="1332567" y="890428"/>
                  <a:pt x="1331982" y="892964"/>
                  <a:pt x="1331455" y="896440"/>
                </a:cubicBezTo>
                <a:cubicBezTo>
                  <a:pt x="1331267" y="897605"/>
                  <a:pt x="1331080" y="898769"/>
                  <a:pt x="1330887" y="899969"/>
                </a:cubicBezTo>
                <a:cubicBezTo>
                  <a:pt x="1330704" y="901174"/>
                  <a:pt x="1330521" y="902378"/>
                  <a:pt x="1330332" y="903618"/>
                </a:cubicBezTo>
                <a:cubicBezTo>
                  <a:pt x="1329968" y="906013"/>
                  <a:pt x="1329594" y="908405"/>
                  <a:pt x="1329209" y="910797"/>
                </a:cubicBezTo>
                <a:cubicBezTo>
                  <a:pt x="1329049" y="911853"/>
                  <a:pt x="1328889" y="912910"/>
                  <a:pt x="1328724" y="913998"/>
                </a:cubicBezTo>
                <a:cubicBezTo>
                  <a:pt x="1327933" y="917233"/>
                  <a:pt x="1326525" y="919703"/>
                  <a:pt x="1324865" y="922643"/>
                </a:cubicBezTo>
                <a:cubicBezTo>
                  <a:pt x="1323924" y="927743"/>
                  <a:pt x="1323282" y="932845"/>
                  <a:pt x="1322619" y="937979"/>
                </a:cubicBezTo>
                <a:lnTo>
                  <a:pt x="1318744" y="944961"/>
                </a:lnTo>
                <a:lnTo>
                  <a:pt x="1318544" y="946213"/>
                </a:lnTo>
                <a:cubicBezTo>
                  <a:pt x="1318360" y="949234"/>
                  <a:pt x="1318271" y="952260"/>
                  <a:pt x="1318251" y="955285"/>
                </a:cubicBezTo>
                <a:cubicBezTo>
                  <a:pt x="1318218" y="957637"/>
                  <a:pt x="1318218" y="957637"/>
                  <a:pt x="1318184" y="960036"/>
                </a:cubicBezTo>
                <a:cubicBezTo>
                  <a:pt x="1318624" y="965530"/>
                  <a:pt x="1319569" y="969724"/>
                  <a:pt x="1324024" y="973660"/>
                </a:cubicBezTo>
                <a:cubicBezTo>
                  <a:pt x="1327197" y="976583"/>
                  <a:pt x="1327950" y="979494"/>
                  <a:pt x="1329284" y="983382"/>
                </a:cubicBezTo>
                <a:cubicBezTo>
                  <a:pt x="1331875" y="990106"/>
                  <a:pt x="1334445" y="993582"/>
                  <a:pt x="1340414" y="998354"/>
                </a:cubicBezTo>
                <a:cubicBezTo>
                  <a:pt x="1342397" y="1000564"/>
                  <a:pt x="1344347" y="1002798"/>
                  <a:pt x="1346272" y="1005048"/>
                </a:cubicBezTo>
                <a:cubicBezTo>
                  <a:pt x="1360055" y="1020713"/>
                  <a:pt x="1376247" y="1031879"/>
                  <a:pt x="1394716" y="1042740"/>
                </a:cubicBezTo>
                <a:cubicBezTo>
                  <a:pt x="1397172" y="1044228"/>
                  <a:pt x="1399581" y="1045779"/>
                  <a:pt x="1401953" y="1047374"/>
                </a:cubicBezTo>
                <a:cubicBezTo>
                  <a:pt x="1410065" y="1052802"/>
                  <a:pt x="1417529" y="1056366"/>
                  <a:pt x="1427197" y="1059061"/>
                </a:cubicBezTo>
                <a:cubicBezTo>
                  <a:pt x="1431243" y="1060437"/>
                  <a:pt x="1434061" y="1061979"/>
                  <a:pt x="1437265" y="1064588"/>
                </a:cubicBezTo>
                <a:cubicBezTo>
                  <a:pt x="1437265" y="1065518"/>
                  <a:pt x="1437265" y="1066448"/>
                  <a:pt x="1437265" y="1067406"/>
                </a:cubicBezTo>
                <a:cubicBezTo>
                  <a:pt x="1439053" y="1067624"/>
                  <a:pt x="1439053" y="1067624"/>
                  <a:pt x="1440878" y="1067847"/>
                </a:cubicBezTo>
                <a:cubicBezTo>
                  <a:pt x="1445076" y="1068815"/>
                  <a:pt x="1445076" y="1068815"/>
                  <a:pt x="1447175" y="1070753"/>
                </a:cubicBezTo>
                <a:cubicBezTo>
                  <a:pt x="1450417" y="1073622"/>
                  <a:pt x="1453781" y="1075060"/>
                  <a:pt x="1457866" y="1076830"/>
                </a:cubicBezTo>
                <a:cubicBezTo>
                  <a:pt x="1459274" y="1077446"/>
                  <a:pt x="1460681" y="1078062"/>
                  <a:pt x="1462132" y="1078696"/>
                </a:cubicBezTo>
                <a:cubicBezTo>
                  <a:pt x="1463204" y="1079156"/>
                  <a:pt x="1464278" y="1079616"/>
                  <a:pt x="1465383" y="1080089"/>
                </a:cubicBezTo>
                <a:cubicBezTo>
                  <a:pt x="1465383" y="1081019"/>
                  <a:pt x="1465383" y="1081949"/>
                  <a:pt x="1465383" y="1082908"/>
                </a:cubicBezTo>
                <a:cubicBezTo>
                  <a:pt x="1466497" y="1083260"/>
                  <a:pt x="1467611" y="1083612"/>
                  <a:pt x="1468758" y="1083975"/>
                </a:cubicBezTo>
                <a:cubicBezTo>
                  <a:pt x="1473648" y="1085905"/>
                  <a:pt x="1477426" y="1088296"/>
                  <a:pt x="1481688" y="1091187"/>
                </a:cubicBezTo>
                <a:cubicBezTo>
                  <a:pt x="1483204" y="1092193"/>
                  <a:pt x="1484721" y="1093200"/>
                  <a:pt x="1486283" y="1094236"/>
                </a:cubicBezTo>
                <a:cubicBezTo>
                  <a:pt x="1489170" y="1096185"/>
                  <a:pt x="1492029" y="1098166"/>
                  <a:pt x="1494869" y="1100171"/>
                </a:cubicBezTo>
                <a:cubicBezTo>
                  <a:pt x="1510181" y="1107906"/>
                  <a:pt x="1527080" y="1109898"/>
                  <a:pt x="1544335" y="1109518"/>
                </a:cubicBezTo>
                <a:cubicBezTo>
                  <a:pt x="1579932" y="1108798"/>
                  <a:pt x="1579932" y="1108798"/>
                  <a:pt x="1593477" y="1119900"/>
                </a:cubicBezTo>
                <a:cubicBezTo>
                  <a:pt x="1600636" y="1127255"/>
                  <a:pt x="1604889" y="1135120"/>
                  <a:pt x="1605975" y="1144913"/>
                </a:cubicBezTo>
                <a:cubicBezTo>
                  <a:pt x="1607006" y="1144913"/>
                  <a:pt x="1608036" y="1144913"/>
                  <a:pt x="1609099" y="1144913"/>
                </a:cubicBezTo>
                <a:cubicBezTo>
                  <a:pt x="1609227" y="1148907"/>
                  <a:pt x="1609319" y="1152897"/>
                  <a:pt x="1609392" y="1156892"/>
                </a:cubicBezTo>
                <a:cubicBezTo>
                  <a:pt x="1609451" y="1158565"/>
                  <a:pt x="1609451" y="1158565"/>
                  <a:pt x="1609511" y="1160272"/>
                </a:cubicBezTo>
                <a:cubicBezTo>
                  <a:pt x="1609621" y="1168378"/>
                  <a:pt x="1607970" y="1174108"/>
                  <a:pt x="1604412" y="1181553"/>
                </a:cubicBezTo>
                <a:cubicBezTo>
                  <a:pt x="1603354" y="1184367"/>
                  <a:pt x="1602306" y="1187183"/>
                  <a:pt x="1601288" y="1190009"/>
                </a:cubicBezTo>
                <a:cubicBezTo>
                  <a:pt x="1600257" y="1190009"/>
                  <a:pt x="1599226" y="1190009"/>
                  <a:pt x="1598164" y="1190009"/>
                </a:cubicBezTo>
                <a:cubicBezTo>
                  <a:pt x="1597842" y="1190910"/>
                  <a:pt x="1597520" y="1191810"/>
                  <a:pt x="1597187" y="1192739"/>
                </a:cubicBezTo>
                <a:cubicBezTo>
                  <a:pt x="1596479" y="1193698"/>
                  <a:pt x="1595770" y="1194657"/>
                  <a:pt x="1595040" y="1195645"/>
                </a:cubicBezTo>
                <a:cubicBezTo>
                  <a:pt x="1591916" y="1196115"/>
                  <a:pt x="1588791" y="1196585"/>
                  <a:pt x="1585667" y="1197055"/>
                </a:cubicBezTo>
                <a:cubicBezTo>
                  <a:pt x="1583871" y="1199826"/>
                  <a:pt x="1583871" y="1199826"/>
                  <a:pt x="1582543" y="1202691"/>
                </a:cubicBezTo>
                <a:cubicBezTo>
                  <a:pt x="1575997" y="1204710"/>
                  <a:pt x="1569266" y="1204360"/>
                  <a:pt x="1562431" y="1204365"/>
                </a:cubicBezTo>
                <a:cubicBezTo>
                  <a:pt x="1561196" y="1204382"/>
                  <a:pt x="1559962" y="1204399"/>
                  <a:pt x="1558690" y="1204417"/>
                </a:cubicBezTo>
                <a:cubicBezTo>
                  <a:pt x="1543339" y="1204452"/>
                  <a:pt x="1531981" y="1199267"/>
                  <a:pt x="1521102" y="1189585"/>
                </a:cubicBezTo>
                <a:cubicBezTo>
                  <a:pt x="1515403" y="1183953"/>
                  <a:pt x="1510116" y="1178123"/>
                  <a:pt x="1505022" y="1172041"/>
                </a:cubicBezTo>
                <a:cubicBezTo>
                  <a:pt x="1493200" y="1158177"/>
                  <a:pt x="1475492" y="1147115"/>
                  <a:pt x="1457573" y="1140686"/>
                </a:cubicBezTo>
                <a:cubicBezTo>
                  <a:pt x="1457573" y="1139755"/>
                  <a:pt x="1457573" y="1138826"/>
                  <a:pt x="1457573" y="1137867"/>
                </a:cubicBezTo>
                <a:cubicBezTo>
                  <a:pt x="1456059" y="1137693"/>
                  <a:pt x="1454544" y="1137518"/>
                  <a:pt x="1452985" y="1137339"/>
                </a:cubicBezTo>
                <a:cubicBezTo>
                  <a:pt x="1451406" y="1137048"/>
                  <a:pt x="1449827" y="1136758"/>
                  <a:pt x="1448200" y="1136458"/>
                </a:cubicBezTo>
                <a:cubicBezTo>
                  <a:pt x="1447685" y="1135528"/>
                  <a:pt x="1447169" y="1134598"/>
                  <a:pt x="1446638" y="1133640"/>
                </a:cubicBezTo>
                <a:cubicBezTo>
                  <a:pt x="1444091" y="1132586"/>
                  <a:pt x="1441535" y="1131550"/>
                  <a:pt x="1438937" y="1130601"/>
                </a:cubicBezTo>
                <a:cubicBezTo>
                  <a:pt x="1435668" y="1129399"/>
                  <a:pt x="1432469" y="1128095"/>
                  <a:pt x="1429260" y="1126770"/>
                </a:cubicBezTo>
                <a:cubicBezTo>
                  <a:pt x="1423389" y="1124389"/>
                  <a:pt x="1417431" y="1122349"/>
                  <a:pt x="1411393" y="1120340"/>
                </a:cubicBezTo>
                <a:cubicBezTo>
                  <a:pt x="1404143" y="1117867"/>
                  <a:pt x="1397842" y="1115090"/>
                  <a:pt x="1391427" y="1111191"/>
                </a:cubicBezTo>
                <a:cubicBezTo>
                  <a:pt x="1388139" y="1109274"/>
                  <a:pt x="1384723" y="1108010"/>
                  <a:pt x="1381029" y="1106865"/>
                </a:cubicBezTo>
                <a:cubicBezTo>
                  <a:pt x="1381029" y="1105934"/>
                  <a:pt x="1381029" y="1105004"/>
                  <a:pt x="1381029" y="1104046"/>
                </a:cubicBezTo>
                <a:cubicBezTo>
                  <a:pt x="1379773" y="1103901"/>
                  <a:pt x="1378516" y="1103755"/>
                  <a:pt x="1377221" y="1103605"/>
                </a:cubicBezTo>
                <a:cubicBezTo>
                  <a:pt x="1370425" y="1102422"/>
                  <a:pt x="1364120" y="1100465"/>
                  <a:pt x="1357597" y="1098409"/>
                </a:cubicBezTo>
                <a:cubicBezTo>
                  <a:pt x="1355761" y="1097857"/>
                  <a:pt x="1353924" y="1097304"/>
                  <a:pt x="1352032" y="1096736"/>
                </a:cubicBezTo>
                <a:cubicBezTo>
                  <a:pt x="1350776" y="1096358"/>
                  <a:pt x="1349519" y="1095980"/>
                  <a:pt x="1348225" y="1095590"/>
                </a:cubicBezTo>
                <a:cubicBezTo>
                  <a:pt x="1348225" y="1094661"/>
                  <a:pt x="1348225" y="1093730"/>
                  <a:pt x="1348225" y="1092772"/>
                </a:cubicBezTo>
                <a:cubicBezTo>
                  <a:pt x="1344616" y="1092307"/>
                  <a:pt x="1341007" y="1091842"/>
                  <a:pt x="1337290" y="1091363"/>
                </a:cubicBezTo>
                <a:cubicBezTo>
                  <a:pt x="1337290" y="1090433"/>
                  <a:pt x="1337290" y="1089503"/>
                  <a:pt x="1337290" y="1088544"/>
                </a:cubicBezTo>
                <a:cubicBezTo>
                  <a:pt x="1334438" y="1088327"/>
                  <a:pt x="1334438" y="1088327"/>
                  <a:pt x="1331529" y="1088104"/>
                </a:cubicBezTo>
                <a:lnTo>
                  <a:pt x="1323297" y="1086611"/>
                </a:lnTo>
                <a:lnTo>
                  <a:pt x="1323297" y="1087618"/>
                </a:lnTo>
                <a:cubicBezTo>
                  <a:pt x="1322139" y="1087517"/>
                  <a:pt x="1320982" y="1087415"/>
                  <a:pt x="1319789" y="1087310"/>
                </a:cubicBezTo>
                <a:cubicBezTo>
                  <a:pt x="1300429" y="1085771"/>
                  <a:pt x="1281330" y="1084680"/>
                  <a:pt x="1262375" y="1089028"/>
                </a:cubicBezTo>
                <a:lnTo>
                  <a:pt x="1258728" y="1088205"/>
                </a:lnTo>
                <a:lnTo>
                  <a:pt x="1246964" y="1091489"/>
                </a:lnTo>
                <a:cubicBezTo>
                  <a:pt x="1237239" y="1097222"/>
                  <a:pt x="1228703" y="1103434"/>
                  <a:pt x="1223224" y="1112865"/>
                </a:cubicBezTo>
                <a:cubicBezTo>
                  <a:pt x="1220867" y="1116643"/>
                  <a:pt x="1217262" y="1119317"/>
                  <a:pt x="1213883" y="1122366"/>
                </a:cubicBezTo>
                <a:cubicBezTo>
                  <a:pt x="1213428" y="1123469"/>
                  <a:pt x="1212973" y="1124572"/>
                  <a:pt x="1212505" y="1125708"/>
                </a:cubicBezTo>
                <a:cubicBezTo>
                  <a:pt x="1210449" y="1130067"/>
                  <a:pt x="1207984" y="1132315"/>
                  <a:pt x="1204180" y="1135561"/>
                </a:cubicBezTo>
                <a:cubicBezTo>
                  <a:pt x="1202879" y="1136695"/>
                  <a:pt x="1201578" y="1137829"/>
                  <a:pt x="1200238" y="1138999"/>
                </a:cubicBezTo>
                <a:cubicBezTo>
                  <a:pt x="1197504" y="1141343"/>
                  <a:pt x="1194765" y="1143684"/>
                  <a:pt x="1192025" y="1146022"/>
                </a:cubicBezTo>
                <a:cubicBezTo>
                  <a:pt x="1181899" y="1154869"/>
                  <a:pt x="1174983" y="1161763"/>
                  <a:pt x="1173945" y="1174749"/>
                </a:cubicBezTo>
                <a:cubicBezTo>
                  <a:pt x="1173902" y="1177369"/>
                  <a:pt x="1173905" y="1179990"/>
                  <a:pt x="1173950" y="1182610"/>
                </a:cubicBezTo>
                <a:cubicBezTo>
                  <a:pt x="1173963" y="1183981"/>
                  <a:pt x="1173975" y="1185352"/>
                  <a:pt x="1173989" y="1186765"/>
                </a:cubicBezTo>
                <a:cubicBezTo>
                  <a:pt x="1174321" y="1197573"/>
                  <a:pt x="1176809" y="1205883"/>
                  <a:pt x="1182640" y="1215374"/>
                </a:cubicBezTo>
                <a:cubicBezTo>
                  <a:pt x="1183703" y="1217509"/>
                  <a:pt x="1184746" y="1219652"/>
                  <a:pt x="1185764" y="1221804"/>
                </a:cubicBezTo>
                <a:cubicBezTo>
                  <a:pt x="1186271" y="1222812"/>
                  <a:pt x="1186779" y="1223821"/>
                  <a:pt x="1187301" y="1224859"/>
                </a:cubicBezTo>
                <a:cubicBezTo>
                  <a:pt x="1188431" y="1227137"/>
                  <a:pt x="1189517" y="1229433"/>
                  <a:pt x="1190573" y="1231740"/>
                </a:cubicBezTo>
                <a:cubicBezTo>
                  <a:pt x="1194650" y="1240409"/>
                  <a:pt x="1199581" y="1247688"/>
                  <a:pt x="1205925" y="1255163"/>
                </a:cubicBezTo>
                <a:cubicBezTo>
                  <a:pt x="1208103" y="1257757"/>
                  <a:pt x="1210188" y="1260417"/>
                  <a:pt x="1212174" y="1263134"/>
                </a:cubicBezTo>
                <a:cubicBezTo>
                  <a:pt x="1218757" y="1272043"/>
                  <a:pt x="1225157" y="1277324"/>
                  <a:pt x="1235556" y="1282538"/>
                </a:cubicBezTo>
                <a:cubicBezTo>
                  <a:pt x="1236652" y="1283161"/>
                  <a:pt x="1237747" y="1283784"/>
                  <a:pt x="1238876" y="1284426"/>
                </a:cubicBezTo>
                <a:cubicBezTo>
                  <a:pt x="1238876" y="1285356"/>
                  <a:pt x="1238876" y="1286287"/>
                  <a:pt x="1238876" y="1287245"/>
                </a:cubicBezTo>
                <a:cubicBezTo>
                  <a:pt x="1239988" y="1287383"/>
                  <a:pt x="1241099" y="1287521"/>
                  <a:pt x="1242245" y="1287663"/>
                </a:cubicBezTo>
                <a:cubicBezTo>
                  <a:pt x="1253043" y="1290072"/>
                  <a:pt x="1264916" y="1297690"/>
                  <a:pt x="1271681" y="1305565"/>
                </a:cubicBezTo>
                <a:lnTo>
                  <a:pt x="1271742" y="1306172"/>
                </a:lnTo>
                <a:lnTo>
                  <a:pt x="1278525" y="1315767"/>
                </a:lnTo>
                <a:cubicBezTo>
                  <a:pt x="1279797" y="1319398"/>
                  <a:pt x="1280365" y="1323346"/>
                  <a:pt x="1281097" y="1327286"/>
                </a:cubicBezTo>
                <a:cubicBezTo>
                  <a:pt x="1281916" y="1337121"/>
                  <a:pt x="1281807" y="1346176"/>
                  <a:pt x="1277973" y="1355470"/>
                </a:cubicBezTo>
                <a:lnTo>
                  <a:pt x="1277460" y="1347025"/>
                </a:lnTo>
                <a:lnTo>
                  <a:pt x="1273531" y="1357991"/>
                </a:lnTo>
                <a:cubicBezTo>
                  <a:pt x="1270940" y="1361892"/>
                  <a:pt x="1267521" y="1365435"/>
                  <a:pt x="1263870" y="1368980"/>
                </a:cubicBezTo>
                <a:cubicBezTo>
                  <a:pt x="1258351" y="1372929"/>
                  <a:pt x="1253850" y="1376026"/>
                  <a:pt x="1246686" y="1376026"/>
                </a:cubicBezTo>
                <a:cubicBezTo>
                  <a:pt x="1246686" y="1376956"/>
                  <a:pt x="1246686" y="1377886"/>
                  <a:pt x="1246686" y="1378844"/>
                </a:cubicBezTo>
                <a:cubicBezTo>
                  <a:pt x="1241676" y="1379009"/>
                  <a:pt x="1236665" y="1379109"/>
                  <a:pt x="1231651" y="1379196"/>
                </a:cubicBezTo>
                <a:cubicBezTo>
                  <a:pt x="1230240" y="1379244"/>
                  <a:pt x="1228828" y="1379291"/>
                  <a:pt x="1227373" y="1379340"/>
                </a:cubicBezTo>
                <a:cubicBezTo>
                  <a:pt x="1218287" y="1379460"/>
                  <a:pt x="1213363" y="1378568"/>
                  <a:pt x="1206071" y="1373207"/>
                </a:cubicBezTo>
                <a:cubicBezTo>
                  <a:pt x="1204751" y="1372742"/>
                  <a:pt x="1203430" y="1372277"/>
                  <a:pt x="1202069" y="1371798"/>
                </a:cubicBezTo>
                <a:cubicBezTo>
                  <a:pt x="1193777" y="1368730"/>
                  <a:pt x="1188124" y="1363294"/>
                  <a:pt x="1184104" y="1356176"/>
                </a:cubicBezTo>
                <a:cubicBezTo>
                  <a:pt x="1180965" y="1349259"/>
                  <a:pt x="1178852" y="1342590"/>
                  <a:pt x="1177270" y="1335247"/>
                </a:cubicBezTo>
                <a:cubicBezTo>
                  <a:pt x="1175525" y="1327352"/>
                  <a:pt x="1172911" y="1320677"/>
                  <a:pt x="1169002" y="1313464"/>
                </a:cubicBezTo>
                <a:cubicBezTo>
                  <a:pt x="1166989" y="1309737"/>
                  <a:pt x="1165215" y="1305976"/>
                  <a:pt x="1163504" y="1302130"/>
                </a:cubicBezTo>
                <a:cubicBezTo>
                  <a:pt x="1163013" y="1301027"/>
                  <a:pt x="1162521" y="1299924"/>
                  <a:pt x="1162015" y="1298788"/>
                </a:cubicBezTo>
                <a:cubicBezTo>
                  <a:pt x="1160770" y="1295700"/>
                  <a:pt x="1160770" y="1295700"/>
                  <a:pt x="1160111" y="1292656"/>
                </a:cubicBezTo>
                <a:cubicBezTo>
                  <a:pt x="1159345" y="1289507"/>
                  <a:pt x="1159345" y="1289507"/>
                  <a:pt x="1154522" y="1287245"/>
                </a:cubicBezTo>
                <a:cubicBezTo>
                  <a:pt x="1153465" y="1284902"/>
                  <a:pt x="1152426" y="1282552"/>
                  <a:pt x="1151398" y="1280199"/>
                </a:cubicBezTo>
                <a:cubicBezTo>
                  <a:pt x="1149056" y="1276983"/>
                  <a:pt x="1146686" y="1273874"/>
                  <a:pt x="1144173" y="1270774"/>
                </a:cubicBezTo>
                <a:cubicBezTo>
                  <a:pt x="1143477" y="1269912"/>
                  <a:pt x="1142782" y="1269049"/>
                  <a:pt x="1142065" y="1268160"/>
                </a:cubicBezTo>
                <a:cubicBezTo>
                  <a:pt x="1139981" y="1265589"/>
                  <a:pt x="1137880" y="1263029"/>
                  <a:pt x="1135776" y="1260470"/>
                </a:cubicBezTo>
                <a:cubicBezTo>
                  <a:pt x="1134647" y="1259076"/>
                  <a:pt x="1133517" y="1257683"/>
                  <a:pt x="1132353" y="1256247"/>
                </a:cubicBezTo>
                <a:cubicBezTo>
                  <a:pt x="1126291" y="1249045"/>
                  <a:pt x="1121408" y="1244606"/>
                  <a:pt x="1112344" y="1240741"/>
                </a:cubicBezTo>
                <a:cubicBezTo>
                  <a:pt x="1110285" y="1239698"/>
                  <a:pt x="1108234" y="1238642"/>
                  <a:pt x="1106193" y="1237570"/>
                </a:cubicBezTo>
                <a:cubicBezTo>
                  <a:pt x="1104615" y="1236756"/>
                  <a:pt x="1103036" y="1235942"/>
                  <a:pt x="1101409" y="1235104"/>
                </a:cubicBezTo>
                <a:cubicBezTo>
                  <a:pt x="1101409" y="1233708"/>
                  <a:pt x="1101409" y="1232313"/>
                  <a:pt x="1101409" y="1230876"/>
                </a:cubicBezTo>
                <a:cubicBezTo>
                  <a:pt x="1089553" y="1230876"/>
                  <a:pt x="1077697" y="1230876"/>
                  <a:pt x="1065480" y="1230876"/>
                </a:cubicBezTo>
                <a:cubicBezTo>
                  <a:pt x="1064965" y="1232271"/>
                  <a:pt x="1064450" y="1233666"/>
                  <a:pt x="1063919" y="1235104"/>
                </a:cubicBezTo>
                <a:cubicBezTo>
                  <a:pt x="1062372" y="1235104"/>
                  <a:pt x="1060826" y="1235104"/>
                  <a:pt x="1059232" y="1235104"/>
                </a:cubicBezTo>
                <a:cubicBezTo>
                  <a:pt x="1059232" y="1236033"/>
                  <a:pt x="1059232" y="1236964"/>
                  <a:pt x="1059232" y="1237922"/>
                </a:cubicBezTo>
                <a:cubicBezTo>
                  <a:pt x="1052964" y="1240850"/>
                  <a:pt x="1046842" y="1243613"/>
                  <a:pt x="1040194" y="1245761"/>
                </a:cubicBezTo>
                <a:cubicBezTo>
                  <a:pt x="1036552" y="1246941"/>
                  <a:pt x="1033682" y="1248088"/>
                  <a:pt x="1030333" y="1249901"/>
                </a:cubicBezTo>
                <a:cubicBezTo>
                  <a:pt x="1025129" y="1252717"/>
                  <a:pt x="1019615" y="1254371"/>
                  <a:pt x="1013931" y="1256242"/>
                </a:cubicBezTo>
                <a:cubicBezTo>
                  <a:pt x="1009870" y="1257688"/>
                  <a:pt x="1008221" y="1258277"/>
                  <a:pt x="1005925" y="1261615"/>
                </a:cubicBezTo>
                <a:cubicBezTo>
                  <a:pt x="1005474" y="1262632"/>
                  <a:pt x="1005023" y="1263649"/>
                  <a:pt x="1004558" y="1264697"/>
                </a:cubicBezTo>
                <a:cubicBezTo>
                  <a:pt x="1004030" y="1265774"/>
                  <a:pt x="1003503" y="1266852"/>
                  <a:pt x="1002959" y="1267961"/>
                </a:cubicBezTo>
                <a:cubicBezTo>
                  <a:pt x="1001408" y="1271808"/>
                  <a:pt x="1000922" y="1274896"/>
                  <a:pt x="1000653" y="1278965"/>
                </a:cubicBezTo>
                <a:cubicBezTo>
                  <a:pt x="1000303" y="1284158"/>
                  <a:pt x="999467" y="1289055"/>
                  <a:pt x="998297" y="1294137"/>
                </a:cubicBezTo>
                <a:cubicBezTo>
                  <a:pt x="996204" y="1304306"/>
                  <a:pt x="996129" y="1314460"/>
                  <a:pt x="996162" y="1324765"/>
                </a:cubicBezTo>
                <a:cubicBezTo>
                  <a:pt x="996163" y="1325782"/>
                  <a:pt x="996163" y="1326799"/>
                  <a:pt x="996164" y="1327846"/>
                </a:cubicBezTo>
                <a:cubicBezTo>
                  <a:pt x="996263" y="1353742"/>
                  <a:pt x="1001081" y="1378188"/>
                  <a:pt x="1007780" y="1403329"/>
                </a:cubicBezTo>
                <a:cubicBezTo>
                  <a:pt x="1008163" y="1404772"/>
                  <a:pt x="1008546" y="1406215"/>
                  <a:pt x="1008940" y="1407701"/>
                </a:cubicBezTo>
                <a:cubicBezTo>
                  <a:pt x="1009316" y="1409030"/>
                  <a:pt x="1009693" y="1410360"/>
                  <a:pt x="1010080" y="1411730"/>
                </a:cubicBezTo>
                <a:cubicBezTo>
                  <a:pt x="1010409" y="1412900"/>
                  <a:pt x="1010737" y="1414071"/>
                  <a:pt x="1011075" y="1415277"/>
                </a:cubicBezTo>
                <a:cubicBezTo>
                  <a:pt x="1012501" y="1418612"/>
                  <a:pt x="1014136" y="1420168"/>
                  <a:pt x="1017055" y="1422530"/>
                </a:cubicBezTo>
                <a:cubicBezTo>
                  <a:pt x="1018770" y="1425162"/>
                  <a:pt x="1018770" y="1425162"/>
                  <a:pt x="1020277" y="1427991"/>
                </a:cubicBezTo>
                <a:cubicBezTo>
                  <a:pt x="1020778" y="1428917"/>
                  <a:pt x="1021280" y="1429844"/>
                  <a:pt x="1021796" y="1430798"/>
                </a:cubicBezTo>
                <a:cubicBezTo>
                  <a:pt x="1023303" y="1433804"/>
                  <a:pt x="1023303" y="1433804"/>
                  <a:pt x="1024579" y="1437239"/>
                </a:cubicBezTo>
                <a:cubicBezTo>
                  <a:pt x="1026915" y="1441803"/>
                  <a:pt x="1030098" y="1444534"/>
                  <a:pt x="1034043" y="1448072"/>
                </a:cubicBezTo>
                <a:lnTo>
                  <a:pt x="1043782" y="1464320"/>
                </a:lnTo>
                <a:lnTo>
                  <a:pt x="1050458" y="1472189"/>
                </a:lnTo>
                <a:cubicBezTo>
                  <a:pt x="1051737" y="1475181"/>
                  <a:pt x="1052277" y="1478513"/>
                  <a:pt x="1052926" y="1482370"/>
                </a:cubicBezTo>
                <a:cubicBezTo>
                  <a:pt x="1053325" y="1487224"/>
                  <a:pt x="1053364" y="1492038"/>
                  <a:pt x="1053316" y="1496903"/>
                </a:cubicBezTo>
                <a:cubicBezTo>
                  <a:pt x="1053328" y="1498142"/>
                  <a:pt x="1053340" y="1499382"/>
                  <a:pt x="1053352" y="1500660"/>
                </a:cubicBezTo>
                <a:cubicBezTo>
                  <a:pt x="1053348" y="1501856"/>
                  <a:pt x="1053344" y="1503052"/>
                  <a:pt x="1053341" y="1504285"/>
                </a:cubicBezTo>
                <a:cubicBezTo>
                  <a:pt x="1053336" y="1505355"/>
                  <a:pt x="1053333" y="1506426"/>
                  <a:pt x="1053329" y="1507529"/>
                </a:cubicBezTo>
                <a:cubicBezTo>
                  <a:pt x="1052876" y="1510927"/>
                  <a:pt x="1051672" y="1513237"/>
                  <a:pt x="1049801" y="1516192"/>
                </a:cubicBezTo>
                <a:lnTo>
                  <a:pt x="1047312" y="1516192"/>
                </a:lnTo>
                <a:lnTo>
                  <a:pt x="1043611" y="1522585"/>
                </a:lnTo>
                <a:cubicBezTo>
                  <a:pt x="1035301" y="1529631"/>
                  <a:pt x="1035301" y="1529631"/>
                  <a:pt x="1029552" y="1529631"/>
                </a:cubicBezTo>
                <a:cubicBezTo>
                  <a:pt x="1029294" y="1530503"/>
                  <a:pt x="1029036" y="1531375"/>
                  <a:pt x="1028771" y="1532273"/>
                </a:cubicBezTo>
                <a:cubicBezTo>
                  <a:pt x="1025795" y="1536076"/>
                  <a:pt x="1022970" y="1536733"/>
                  <a:pt x="1018013" y="1537640"/>
                </a:cubicBezTo>
                <a:cubicBezTo>
                  <a:pt x="1005216" y="1539038"/>
                  <a:pt x="992573" y="1539816"/>
                  <a:pt x="981126" y="1533859"/>
                </a:cubicBezTo>
                <a:cubicBezTo>
                  <a:pt x="979840" y="1533226"/>
                  <a:pt x="978553" y="1532594"/>
                  <a:pt x="977227" y="1531943"/>
                </a:cubicBezTo>
                <a:cubicBezTo>
                  <a:pt x="965286" y="1525877"/>
                  <a:pt x="959626" y="1520520"/>
                  <a:pt x="955376" y="1508751"/>
                </a:cubicBezTo>
                <a:cubicBezTo>
                  <a:pt x="954571" y="1505674"/>
                  <a:pt x="954571" y="1505674"/>
                  <a:pt x="954571" y="1500037"/>
                </a:cubicBezTo>
                <a:cubicBezTo>
                  <a:pt x="953539" y="1500037"/>
                  <a:pt x="952508" y="1500037"/>
                  <a:pt x="951446" y="1500037"/>
                </a:cubicBezTo>
                <a:cubicBezTo>
                  <a:pt x="951361" y="1495986"/>
                  <a:pt x="951299" y="1491935"/>
                  <a:pt x="951251" y="1487883"/>
                </a:cubicBezTo>
                <a:cubicBezTo>
                  <a:pt x="951224" y="1486744"/>
                  <a:pt x="951198" y="1485605"/>
                  <a:pt x="951171" y="1484431"/>
                </a:cubicBezTo>
                <a:cubicBezTo>
                  <a:pt x="951110" y="1477657"/>
                  <a:pt x="952093" y="1472660"/>
                  <a:pt x="954571" y="1466216"/>
                </a:cubicBezTo>
                <a:cubicBezTo>
                  <a:pt x="954867" y="1462451"/>
                  <a:pt x="955016" y="1458876"/>
                  <a:pt x="954961" y="1455118"/>
                </a:cubicBezTo>
                <a:cubicBezTo>
                  <a:pt x="954951" y="1454080"/>
                  <a:pt x="954942" y="1453042"/>
                  <a:pt x="954932" y="1451972"/>
                </a:cubicBezTo>
                <a:cubicBezTo>
                  <a:pt x="954606" y="1435235"/>
                  <a:pt x="952568" y="1419050"/>
                  <a:pt x="945099" y="1403594"/>
                </a:cubicBezTo>
                <a:cubicBezTo>
                  <a:pt x="943714" y="1400177"/>
                  <a:pt x="943046" y="1397128"/>
                  <a:pt x="942366" y="1393553"/>
                </a:cubicBezTo>
                <a:cubicBezTo>
                  <a:pt x="940837" y="1386134"/>
                  <a:pt x="937840" y="1379609"/>
                  <a:pt x="934451" y="1372734"/>
                </a:cubicBezTo>
                <a:cubicBezTo>
                  <a:pt x="932701" y="1368980"/>
                  <a:pt x="932701" y="1368980"/>
                  <a:pt x="931974" y="1365754"/>
                </a:cubicBezTo>
                <a:cubicBezTo>
                  <a:pt x="931699" y="1364958"/>
                  <a:pt x="931422" y="1364162"/>
                  <a:pt x="931138" y="1363343"/>
                </a:cubicBezTo>
                <a:cubicBezTo>
                  <a:pt x="929592" y="1362878"/>
                  <a:pt x="928045" y="1362413"/>
                  <a:pt x="926452" y="1361933"/>
                </a:cubicBezTo>
                <a:cubicBezTo>
                  <a:pt x="921830" y="1355261"/>
                  <a:pt x="920323" y="1348382"/>
                  <a:pt x="918641" y="1340795"/>
                </a:cubicBezTo>
                <a:cubicBezTo>
                  <a:pt x="918133" y="1338914"/>
                  <a:pt x="917616" y="1337034"/>
                  <a:pt x="917079" y="1335158"/>
                </a:cubicBezTo>
                <a:cubicBezTo>
                  <a:pt x="916048" y="1335158"/>
                  <a:pt x="915018" y="1335158"/>
                  <a:pt x="913955" y="1335158"/>
                </a:cubicBezTo>
                <a:cubicBezTo>
                  <a:pt x="913329" y="1333718"/>
                  <a:pt x="912703" y="1332277"/>
                  <a:pt x="912057" y="1330793"/>
                </a:cubicBezTo>
                <a:cubicBezTo>
                  <a:pt x="909497" y="1325424"/>
                  <a:pt x="906114" y="1320822"/>
                  <a:pt x="902142" y="1316222"/>
                </a:cubicBezTo>
                <a:cubicBezTo>
                  <a:pt x="901465" y="1315432"/>
                  <a:pt x="900788" y="1314642"/>
                  <a:pt x="900091" y="1313828"/>
                </a:cubicBezTo>
                <a:cubicBezTo>
                  <a:pt x="893705" y="1306618"/>
                  <a:pt x="886350" y="1301049"/>
                  <a:pt x="878026" y="1295700"/>
                </a:cubicBezTo>
                <a:cubicBezTo>
                  <a:pt x="876595" y="1294594"/>
                  <a:pt x="876595" y="1294594"/>
                  <a:pt x="875134" y="1293465"/>
                </a:cubicBezTo>
                <a:lnTo>
                  <a:pt x="869869" y="1291826"/>
                </a:lnTo>
                <a:lnTo>
                  <a:pt x="862384" y="1291327"/>
                </a:lnTo>
                <a:cubicBezTo>
                  <a:pt x="856441" y="1290067"/>
                  <a:pt x="850461" y="1290346"/>
                  <a:pt x="844390" y="1290461"/>
                </a:cubicBezTo>
                <a:cubicBezTo>
                  <a:pt x="842453" y="1290480"/>
                  <a:pt x="842453" y="1290480"/>
                  <a:pt x="840476" y="1290500"/>
                </a:cubicBezTo>
                <a:cubicBezTo>
                  <a:pt x="837322" y="1290532"/>
                  <a:pt x="834169" y="1290583"/>
                  <a:pt x="831015" y="1290637"/>
                </a:cubicBezTo>
                <a:cubicBezTo>
                  <a:pt x="831015" y="1291568"/>
                  <a:pt x="831015" y="1292498"/>
                  <a:pt x="831015" y="1293456"/>
                </a:cubicBezTo>
                <a:cubicBezTo>
                  <a:pt x="826519" y="1294808"/>
                  <a:pt x="822922" y="1295235"/>
                  <a:pt x="818225" y="1295570"/>
                </a:cubicBezTo>
                <a:lnTo>
                  <a:pt x="796774" y="1297671"/>
                </a:lnTo>
                <a:lnTo>
                  <a:pt x="783646" y="1305736"/>
                </a:lnTo>
                <a:cubicBezTo>
                  <a:pt x="776915" y="1312506"/>
                  <a:pt x="772692" y="1318638"/>
                  <a:pt x="769263" y="1327143"/>
                </a:cubicBezTo>
                <a:cubicBezTo>
                  <a:pt x="767116" y="1332340"/>
                  <a:pt x="767116" y="1332340"/>
                  <a:pt x="764797" y="1334360"/>
                </a:cubicBezTo>
                <a:lnTo>
                  <a:pt x="757875" y="1353503"/>
                </a:lnTo>
                <a:lnTo>
                  <a:pt x="755676" y="1367455"/>
                </a:lnTo>
                <a:lnTo>
                  <a:pt x="750558" y="1399690"/>
                </a:lnTo>
                <a:lnTo>
                  <a:pt x="753057" y="1411256"/>
                </a:lnTo>
                <a:cubicBezTo>
                  <a:pt x="753057" y="1413117"/>
                  <a:pt x="753057" y="1414976"/>
                  <a:pt x="753057" y="1416893"/>
                </a:cubicBezTo>
                <a:cubicBezTo>
                  <a:pt x="754087" y="1416893"/>
                  <a:pt x="755119" y="1416893"/>
                  <a:pt x="756181" y="1416893"/>
                </a:cubicBezTo>
                <a:cubicBezTo>
                  <a:pt x="759348" y="1422607"/>
                  <a:pt x="758101" y="1429902"/>
                  <a:pt x="758133" y="1436182"/>
                </a:cubicBezTo>
                <a:cubicBezTo>
                  <a:pt x="758182" y="1438458"/>
                  <a:pt x="758182" y="1438458"/>
                  <a:pt x="758231" y="1440781"/>
                </a:cubicBezTo>
                <a:cubicBezTo>
                  <a:pt x="758283" y="1450271"/>
                  <a:pt x="758174" y="1458360"/>
                  <a:pt x="750713" y="1465704"/>
                </a:cubicBezTo>
                <a:cubicBezTo>
                  <a:pt x="749940" y="1466193"/>
                  <a:pt x="749167" y="1466681"/>
                  <a:pt x="748370" y="1467185"/>
                </a:cubicBezTo>
                <a:cubicBezTo>
                  <a:pt x="743665" y="1470047"/>
                  <a:pt x="743665" y="1470047"/>
                  <a:pt x="741633" y="1473526"/>
                </a:cubicBezTo>
                <a:cubicBezTo>
                  <a:pt x="737793" y="1477248"/>
                  <a:pt x="733582" y="1477483"/>
                  <a:pt x="728154" y="1478343"/>
                </a:cubicBezTo>
                <a:cubicBezTo>
                  <a:pt x="724855" y="1478778"/>
                  <a:pt x="724855" y="1478778"/>
                  <a:pt x="721814" y="1480308"/>
                </a:cubicBezTo>
                <a:cubicBezTo>
                  <a:pt x="717303" y="1480523"/>
                  <a:pt x="712854" y="1480634"/>
                  <a:pt x="708341" y="1480661"/>
                </a:cubicBezTo>
                <a:cubicBezTo>
                  <a:pt x="707118" y="1480690"/>
                  <a:pt x="705896" y="1480719"/>
                  <a:pt x="704637" y="1480748"/>
                </a:cubicBezTo>
                <a:cubicBezTo>
                  <a:pt x="690446" y="1480834"/>
                  <a:pt x="679632" y="1476246"/>
                  <a:pt x="668507" y="1468418"/>
                </a:cubicBezTo>
                <a:cubicBezTo>
                  <a:pt x="662823" y="1463224"/>
                  <a:pt x="661745" y="1456995"/>
                  <a:pt x="660178" y="1450027"/>
                </a:cubicBezTo>
                <a:cubicBezTo>
                  <a:pt x="659725" y="1446589"/>
                  <a:pt x="659725" y="1446589"/>
                  <a:pt x="657767" y="1445078"/>
                </a:cubicBezTo>
                <a:cubicBezTo>
                  <a:pt x="656859" y="1433686"/>
                  <a:pt x="655965" y="1419178"/>
                  <a:pt x="663369" y="1409390"/>
                </a:cubicBezTo>
                <a:cubicBezTo>
                  <a:pt x="666078" y="1406601"/>
                  <a:pt x="668921" y="1404013"/>
                  <a:pt x="671826" y="1401392"/>
                </a:cubicBezTo>
                <a:cubicBezTo>
                  <a:pt x="675197" y="1397623"/>
                  <a:pt x="677125" y="1394916"/>
                  <a:pt x="678075" y="1390118"/>
                </a:cubicBezTo>
                <a:cubicBezTo>
                  <a:pt x="680137" y="1389653"/>
                  <a:pt x="682199" y="1389188"/>
                  <a:pt x="684323" y="1388709"/>
                </a:cubicBezTo>
                <a:cubicBezTo>
                  <a:pt x="684643" y="1387232"/>
                  <a:pt x="684964" y="1385755"/>
                  <a:pt x="685293" y="1384233"/>
                </a:cubicBezTo>
                <a:cubicBezTo>
                  <a:pt x="685718" y="1382290"/>
                  <a:pt x="686144" y="1380347"/>
                  <a:pt x="686569" y="1378404"/>
                </a:cubicBezTo>
                <a:cubicBezTo>
                  <a:pt x="686885" y="1376945"/>
                  <a:pt x="686885" y="1376945"/>
                  <a:pt x="687207" y="1375456"/>
                </a:cubicBezTo>
                <a:cubicBezTo>
                  <a:pt x="688115" y="1371315"/>
                  <a:pt x="689090" y="1367353"/>
                  <a:pt x="690572" y="1363343"/>
                </a:cubicBezTo>
                <a:cubicBezTo>
                  <a:pt x="692411" y="1350128"/>
                  <a:pt x="692374" y="1336672"/>
                  <a:pt x="692495" y="1323376"/>
                </a:cubicBezTo>
                <a:cubicBezTo>
                  <a:pt x="692524" y="1320586"/>
                  <a:pt x="692574" y="1317796"/>
                  <a:pt x="692625" y="1315006"/>
                </a:cubicBezTo>
                <a:cubicBezTo>
                  <a:pt x="692853" y="1300589"/>
                  <a:pt x="692853" y="1300589"/>
                  <a:pt x="687447" y="1287245"/>
                </a:cubicBezTo>
                <a:cubicBezTo>
                  <a:pt x="685901" y="1286780"/>
                  <a:pt x="684354" y="1286315"/>
                  <a:pt x="682761" y="1285835"/>
                </a:cubicBezTo>
                <a:cubicBezTo>
                  <a:pt x="680876" y="1283743"/>
                  <a:pt x="680876" y="1283743"/>
                  <a:pt x="678954" y="1281608"/>
                </a:cubicBezTo>
                <a:cubicBezTo>
                  <a:pt x="674854" y="1277278"/>
                  <a:pt x="674356" y="1276958"/>
                  <a:pt x="668702" y="1275971"/>
                </a:cubicBezTo>
                <a:cubicBezTo>
                  <a:pt x="666619" y="1274092"/>
                  <a:pt x="664536" y="1272213"/>
                  <a:pt x="662454" y="1270334"/>
                </a:cubicBezTo>
                <a:cubicBezTo>
                  <a:pt x="658341" y="1268566"/>
                  <a:pt x="658341" y="1268566"/>
                  <a:pt x="654643" y="1267516"/>
                </a:cubicBezTo>
                <a:cubicBezTo>
                  <a:pt x="654643" y="1266585"/>
                  <a:pt x="654643" y="1265656"/>
                  <a:pt x="654643" y="1264697"/>
                </a:cubicBezTo>
                <a:cubicBezTo>
                  <a:pt x="653161" y="1264581"/>
                  <a:pt x="651679" y="1264465"/>
                  <a:pt x="650152" y="1264345"/>
                </a:cubicBezTo>
                <a:cubicBezTo>
                  <a:pt x="642318" y="1263373"/>
                  <a:pt x="635297" y="1260465"/>
                  <a:pt x="628087" y="1257651"/>
                </a:cubicBezTo>
                <a:cubicBezTo>
                  <a:pt x="628087" y="1256721"/>
                  <a:pt x="628087" y="1255791"/>
                  <a:pt x="628087" y="1254833"/>
                </a:cubicBezTo>
                <a:cubicBezTo>
                  <a:pt x="627108" y="1254662"/>
                  <a:pt x="626129" y="1254491"/>
                  <a:pt x="625121" y="1254315"/>
                </a:cubicBezTo>
                <a:cubicBezTo>
                  <a:pt x="623845" y="1254079"/>
                  <a:pt x="622568" y="1253843"/>
                  <a:pt x="621252" y="1253600"/>
                </a:cubicBezTo>
                <a:cubicBezTo>
                  <a:pt x="619984" y="1253371"/>
                  <a:pt x="618716" y="1253142"/>
                  <a:pt x="617409" y="1252906"/>
                </a:cubicBezTo>
                <a:cubicBezTo>
                  <a:pt x="614027" y="1252014"/>
                  <a:pt x="614027" y="1252014"/>
                  <a:pt x="610904" y="1249196"/>
                </a:cubicBezTo>
                <a:cubicBezTo>
                  <a:pt x="592259" y="1248653"/>
                  <a:pt x="578635" y="1260869"/>
                  <a:pt x="565739" y="1271742"/>
                </a:cubicBezTo>
                <a:cubicBezTo>
                  <a:pt x="558808" y="1277725"/>
                  <a:pt x="552763" y="1283983"/>
                  <a:pt x="546924" y="1290829"/>
                </a:cubicBezTo>
                <a:cubicBezTo>
                  <a:pt x="545838" y="1292087"/>
                  <a:pt x="544753" y="1293346"/>
                  <a:pt x="543635" y="1294643"/>
                </a:cubicBezTo>
                <a:cubicBezTo>
                  <a:pt x="542650" y="1295813"/>
                  <a:pt x="541666" y="1296983"/>
                  <a:pt x="540651" y="1298188"/>
                </a:cubicBezTo>
                <a:cubicBezTo>
                  <a:pt x="537294" y="1301526"/>
                  <a:pt x="533978" y="1303337"/>
                  <a:pt x="529673" y="1305565"/>
                </a:cubicBezTo>
                <a:cubicBezTo>
                  <a:pt x="527599" y="1308478"/>
                  <a:pt x="527599" y="1308478"/>
                  <a:pt x="526549" y="1311202"/>
                </a:cubicBezTo>
                <a:cubicBezTo>
                  <a:pt x="525518" y="1311202"/>
                  <a:pt x="524487" y="1311202"/>
                  <a:pt x="523425" y="1311202"/>
                </a:cubicBezTo>
                <a:cubicBezTo>
                  <a:pt x="523360" y="1311986"/>
                  <a:pt x="523296" y="1312771"/>
                  <a:pt x="523230" y="1313580"/>
                </a:cubicBezTo>
                <a:cubicBezTo>
                  <a:pt x="521863" y="1316839"/>
                  <a:pt x="521863" y="1316839"/>
                  <a:pt x="517732" y="1319739"/>
                </a:cubicBezTo>
                <a:cubicBezTo>
                  <a:pt x="511111" y="1324565"/>
                  <a:pt x="506875" y="1330731"/>
                  <a:pt x="502239" y="1337096"/>
                </a:cubicBezTo>
                <a:cubicBezTo>
                  <a:pt x="500512" y="1339427"/>
                  <a:pt x="498785" y="1341757"/>
                  <a:pt x="497058" y="1344087"/>
                </a:cubicBezTo>
                <a:cubicBezTo>
                  <a:pt x="495827" y="1345760"/>
                  <a:pt x="495827" y="1345760"/>
                  <a:pt x="494572" y="1347465"/>
                </a:cubicBezTo>
                <a:cubicBezTo>
                  <a:pt x="492366" y="1350414"/>
                  <a:pt x="490094" y="1353304"/>
                  <a:pt x="487776" y="1356181"/>
                </a:cubicBezTo>
                <a:cubicBezTo>
                  <a:pt x="484805" y="1359972"/>
                  <a:pt x="482865" y="1363193"/>
                  <a:pt x="481248" y="1367571"/>
                </a:cubicBezTo>
                <a:cubicBezTo>
                  <a:pt x="480216" y="1367571"/>
                  <a:pt x="479186" y="1367571"/>
                  <a:pt x="478123" y="1367571"/>
                </a:cubicBezTo>
                <a:cubicBezTo>
                  <a:pt x="477963" y="1368558"/>
                  <a:pt x="477801" y="1369547"/>
                  <a:pt x="477635" y="1370565"/>
                </a:cubicBezTo>
                <a:cubicBezTo>
                  <a:pt x="475602" y="1378236"/>
                  <a:pt x="471952" y="1383371"/>
                  <a:pt x="465626" y="1388709"/>
                </a:cubicBezTo>
                <a:cubicBezTo>
                  <a:pt x="462272" y="1392748"/>
                  <a:pt x="462272" y="1392748"/>
                  <a:pt x="461233" y="1397340"/>
                </a:cubicBezTo>
                <a:cubicBezTo>
                  <a:pt x="460030" y="1401461"/>
                  <a:pt x="458298" y="1404501"/>
                  <a:pt x="455765" y="1408086"/>
                </a:cubicBezTo>
                <a:cubicBezTo>
                  <a:pt x="442829" y="1428603"/>
                  <a:pt x="441572" y="1454548"/>
                  <a:pt x="439070" y="1477490"/>
                </a:cubicBezTo>
                <a:cubicBezTo>
                  <a:pt x="437524" y="1477955"/>
                  <a:pt x="435977" y="1478420"/>
                  <a:pt x="434384" y="1478899"/>
                </a:cubicBezTo>
                <a:cubicBezTo>
                  <a:pt x="433739" y="1479916"/>
                  <a:pt x="433095" y="1480933"/>
                  <a:pt x="432431" y="1481982"/>
                </a:cubicBezTo>
                <a:cubicBezTo>
                  <a:pt x="428860" y="1487159"/>
                  <a:pt x="424291" y="1490903"/>
                  <a:pt x="418763" y="1494401"/>
                </a:cubicBezTo>
                <a:cubicBezTo>
                  <a:pt x="417731" y="1494401"/>
                  <a:pt x="416701" y="1494401"/>
                  <a:pt x="415639" y="1494401"/>
                </a:cubicBezTo>
                <a:cubicBezTo>
                  <a:pt x="415639" y="1495330"/>
                  <a:pt x="415639" y="1496260"/>
                  <a:pt x="415639" y="1497219"/>
                </a:cubicBezTo>
                <a:cubicBezTo>
                  <a:pt x="412546" y="1497684"/>
                  <a:pt x="409453" y="1498149"/>
                  <a:pt x="406265" y="1498628"/>
                </a:cubicBezTo>
                <a:cubicBezTo>
                  <a:pt x="406265" y="1499559"/>
                  <a:pt x="406265" y="1500488"/>
                  <a:pt x="406265" y="1501447"/>
                </a:cubicBezTo>
                <a:cubicBezTo>
                  <a:pt x="395955" y="1501447"/>
                  <a:pt x="385645" y="1501447"/>
                  <a:pt x="375023" y="1501447"/>
                </a:cubicBezTo>
                <a:lnTo>
                  <a:pt x="375023" y="1499438"/>
                </a:lnTo>
                <a:lnTo>
                  <a:pt x="374964" y="1499436"/>
                </a:lnTo>
                <a:lnTo>
                  <a:pt x="373179" y="1498628"/>
                </a:lnTo>
                <a:lnTo>
                  <a:pt x="365650" y="1498628"/>
                </a:lnTo>
                <a:lnTo>
                  <a:pt x="363134" y="1494087"/>
                </a:lnTo>
                <a:lnTo>
                  <a:pt x="362171" y="1493651"/>
                </a:lnTo>
                <a:cubicBezTo>
                  <a:pt x="361656" y="1492722"/>
                  <a:pt x="361140" y="1491791"/>
                  <a:pt x="360609" y="1490833"/>
                </a:cubicBezTo>
                <a:cubicBezTo>
                  <a:pt x="361640" y="1490833"/>
                  <a:pt x="362671" y="1490833"/>
                  <a:pt x="363733" y="1490833"/>
                </a:cubicBezTo>
                <a:lnTo>
                  <a:pt x="363733" y="1489980"/>
                </a:lnTo>
                <a:lnTo>
                  <a:pt x="348467" y="1481717"/>
                </a:lnTo>
                <a:lnTo>
                  <a:pt x="343872" y="1461078"/>
                </a:lnTo>
                <a:lnTo>
                  <a:pt x="343656" y="1463649"/>
                </a:lnTo>
                <a:cubicBezTo>
                  <a:pt x="343541" y="1465230"/>
                  <a:pt x="343541" y="1465230"/>
                  <a:pt x="343424" y="1466842"/>
                </a:cubicBezTo>
                <a:cubicBezTo>
                  <a:pt x="342908" y="1466842"/>
                  <a:pt x="342393" y="1466842"/>
                  <a:pt x="341861" y="1466842"/>
                </a:cubicBezTo>
                <a:cubicBezTo>
                  <a:pt x="340987" y="1449564"/>
                  <a:pt x="340999" y="1434331"/>
                  <a:pt x="354143" y="1420549"/>
                </a:cubicBezTo>
                <a:cubicBezTo>
                  <a:pt x="360765" y="1414011"/>
                  <a:pt x="367631" y="1407790"/>
                  <a:pt x="376229" y="1403427"/>
                </a:cubicBezTo>
                <a:lnTo>
                  <a:pt x="379491" y="1404408"/>
                </a:lnTo>
                <a:lnTo>
                  <a:pt x="379710" y="1404210"/>
                </a:lnTo>
                <a:cubicBezTo>
                  <a:pt x="380290" y="1402902"/>
                  <a:pt x="380290" y="1402902"/>
                  <a:pt x="380882" y="1401568"/>
                </a:cubicBezTo>
                <a:cubicBezTo>
                  <a:pt x="383675" y="1397284"/>
                  <a:pt x="387587" y="1395610"/>
                  <a:pt x="392207" y="1392936"/>
                </a:cubicBezTo>
                <a:lnTo>
                  <a:pt x="399542" y="1386774"/>
                </a:lnTo>
                <a:lnTo>
                  <a:pt x="405485" y="1378917"/>
                </a:lnTo>
                <a:cubicBezTo>
                  <a:pt x="408065" y="1375974"/>
                  <a:pt x="410029" y="1372774"/>
                  <a:pt x="412008" y="1369481"/>
                </a:cubicBezTo>
                <a:cubicBezTo>
                  <a:pt x="414759" y="1365166"/>
                  <a:pt x="417963" y="1361131"/>
                  <a:pt x="421130" y="1357057"/>
                </a:cubicBezTo>
                <a:cubicBezTo>
                  <a:pt x="423073" y="1354140"/>
                  <a:pt x="423985" y="1351767"/>
                  <a:pt x="424676" y="1348443"/>
                </a:cubicBezTo>
                <a:lnTo>
                  <a:pt x="427275" y="1348443"/>
                </a:lnTo>
                <a:lnTo>
                  <a:pt x="428135" y="1345727"/>
                </a:lnTo>
                <a:cubicBezTo>
                  <a:pt x="429370" y="1341828"/>
                  <a:pt x="430645" y="1338666"/>
                  <a:pt x="432822" y="1335158"/>
                </a:cubicBezTo>
                <a:cubicBezTo>
                  <a:pt x="433853" y="1335158"/>
                  <a:pt x="434884" y="1335158"/>
                  <a:pt x="435946" y="1335158"/>
                </a:cubicBezTo>
                <a:cubicBezTo>
                  <a:pt x="436526" y="1333385"/>
                  <a:pt x="437106" y="1331613"/>
                  <a:pt x="437704" y="1329786"/>
                </a:cubicBezTo>
                <a:cubicBezTo>
                  <a:pt x="440162" y="1323132"/>
                  <a:pt x="443602" y="1317301"/>
                  <a:pt x="447394" y="1311196"/>
                </a:cubicBezTo>
                <a:cubicBezTo>
                  <a:pt x="456493" y="1296485"/>
                  <a:pt x="463325" y="1281864"/>
                  <a:pt x="469287" y="1265964"/>
                </a:cubicBezTo>
                <a:cubicBezTo>
                  <a:pt x="474589" y="1252134"/>
                  <a:pt x="474589" y="1252134"/>
                  <a:pt x="478178" y="1246787"/>
                </a:cubicBezTo>
                <a:cubicBezTo>
                  <a:pt x="481232" y="1240246"/>
                  <a:pt x="480204" y="1232766"/>
                  <a:pt x="480179" y="1225768"/>
                </a:cubicBezTo>
                <a:cubicBezTo>
                  <a:pt x="480174" y="1222894"/>
                  <a:pt x="480210" y="1220023"/>
                  <a:pt x="480250" y="1217149"/>
                </a:cubicBezTo>
                <a:cubicBezTo>
                  <a:pt x="480260" y="1199291"/>
                  <a:pt x="476718" y="1187768"/>
                  <a:pt x="462972" y="1174827"/>
                </a:cubicBezTo>
                <a:cubicBezTo>
                  <a:pt x="461148" y="1173192"/>
                  <a:pt x="459312" y="1171566"/>
                  <a:pt x="457468" y="1169949"/>
                </a:cubicBezTo>
                <a:cubicBezTo>
                  <a:pt x="451412" y="1164522"/>
                  <a:pt x="445876" y="1158660"/>
                  <a:pt x="440657" y="1152570"/>
                </a:cubicBezTo>
                <a:cubicBezTo>
                  <a:pt x="430474" y="1140786"/>
                  <a:pt x="418230" y="1128998"/>
                  <a:pt x="403142" y="1122366"/>
                </a:cubicBezTo>
                <a:cubicBezTo>
                  <a:pt x="402626" y="1121436"/>
                  <a:pt x="402110" y="1120506"/>
                  <a:pt x="401579" y="1119547"/>
                </a:cubicBezTo>
                <a:cubicBezTo>
                  <a:pt x="390472" y="1115326"/>
                  <a:pt x="375918" y="1114217"/>
                  <a:pt x="364564" y="1118209"/>
                </a:cubicBezTo>
                <a:cubicBezTo>
                  <a:pt x="362278" y="1119428"/>
                  <a:pt x="360026" y="1120704"/>
                  <a:pt x="357822" y="1122041"/>
                </a:cubicBezTo>
                <a:cubicBezTo>
                  <a:pt x="354521" y="1123884"/>
                  <a:pt x="351862" y="1124582"/>
                  <a:pt x="348077" y="1125273"/>
                </a:cubicBezTo>
                <a:cubicBezTo>
                  <a:pt x="341765" y="1126696"/>
                  <a:pt x="339382" y="1128619"/>
                  <a:pt x="334408" y="1132230"/>
                </a:cubicBezTo>
                <a:cubicBezTo>
                  <a:pt x="332284" y="1132909"/>
                  <a:pt x="330131" y="1133519"/>
                  <a:pt x="327964" y="1134080"/>
                </a:cubicBezTo>
                <a:cubicBezTo>
                  <a:pt x="309975" y="1139067"/>
                  <a:pt x="290592" y="1152117"/>
                  <a:pt x="279734" y="1166051"/>
                </a:cubicBezTo>
                <a:cubicBezTo>
                  <a:pt x="277929" y="1169534"/>
                  <a:pt x="277929" y="1169534"/>
                  <a:pt x="276609" y="1173098"/>
                </a:cubicBezTo>
                <a:cubicBezTo>
                  <a:pt x="272413" y="1180804"/>
                  <a:pt x="269322" y="1184144"/>
                  <a:pt x="260988" y="1188599"/>
                </a:cubicBezTo>
                <a:cubicBezTo>
                  <a:pt x="259988" y="1189435"/>
                  <a:pt x="258987" y="1190271"/>
                  <a:pt x="257956" y="1191132"/>
                </a:cubicBezTo>
                <a:lnTo>
                  <a:pt x="243805" y="1196629"/>
                </a:lnTo>
                <a:lnTo>
                  <a:pt x="243805" y="1194236"/>
                </a:lnTo>
                <a:lnTo>
                  <a:pt x="240288" y="1194765"/>
                </a:lnTo>
                <a:lnTo>
                  <a:pt x="243374" y="1194765"/>
                </a:lnTo>
                <a:lnTo>
                  <a:pt x="243374" y="1196797"/>
                </a:lnTo>
                <a:lnTo>
                  <a:pt x="243805" y="1196629"/>
                </a:lnTo>
                <a:lnTo>
                  <a:pt x="243805" y="1197055"/>
                </a:lnTo>
                <a:lnTo>
                  <a:pt x="243374" y="1197055"/>
                </a:lnTo>
                <a:lnTo>
                  <a:pt x="243374" y="1197584"/>
                </a:lnTo>
                <a:lnTo>
                  <a:pt x="241319" y="1197595"/>
                </a:lnTo>
                <a:lnTo>
                  <a:pt x="238009" y="1198881"/>
                </a:lnTo>
                <a:cubicBezTo>
                  <a:pt x="231012" y="1199584"/>
                  <a:pt x="223620" y="1198927"/>
                  <a:pt x="215687" y="1198464"/>
                </a:cubicBezTo>
                <a:lnTo>
                  <a:pt x="215687" y="1197734"/>
                </a:lnTo>
                <a:lnTo>
                  <a:pt x="213936" y="1197744"/>
                </a:lnTo>
                <a:cubicBezTo>
                  <a:pt x="210570" y="1197584"/>
                  <a:pt x="210570" y="1197584"/>
                  <a:pt x="207446" y="1196175"/>
                </a:cubicBezTo>
                <a:lnTo>
                  <a:pt x="207822" y="1195610"/>
                </a:lnTo>
                <a:lnTo>
                  <a:pt x="184737" y="1180936"/>
                </a:lnTo>
                <a:cubicBezTo>
                  <a:pt x="180258" y="1172216"/>
                  <a:pt x="179226" y="1164355"/>
                  <a:pt x="179270" y="1154866"/>
                </a:cubicBezTo>
                <a:cubicBezTo>
                  <a:pt x="179233" y="1153260"/>
                  <a:pt x="179233" y="1153260"/>
                  <a:pt x="179194" y="1151621"/>
                </a:cubicBezTo>
                <a:cubicBezTo>
                  <a:pt x="179182" y="1139523"/>
                  <a:pt x="183658" y="1128837"/>
                  <a:pt x="193195" y="1120065"/>
                </a:cubicBezTo>
                <a:cubicBezTo>
                  <a:pt x="204265" y="1110959"/>
                  <a:pt x="215062" y="1110626"/>
                  <a:pt x="229551" y="1110299"/>
                </a:cubicBezTo>
                <a:cubicBezTo>
                  <a:pt x="240132" y="1110024"/>
                  <a:pt x="250506" y="1109652"/>
                  <a:pt x="260988" y="1108274"/>
                </a:cubicBezTo>
                <a:cubicBezTo>
                  <a:pt x="260988" y="1107344"/>
                  <a:pt x="260988" y="1106413"/>
                  <a:pt x="260988" y="1105455"/>
                </a:cubicBezTo>
                <a:cubicBezTo>
                  <a:pt x="261953" y="1105078"/>
                  <a:pt x="262918" y="1104699"/>
                  <a:pt x="263911" y="1104310"/>
                </a:cubicBezTo>
                <a:cubicBezTo>
                  <a:pt x="272903" y="1100557"/>
                  <a:pt x="279802" y="1096307"/>
                  <a:pt x="286995" y="1090185"/>
                </a:cubicBezTo>
                <a:cubicBezTo>
                  <a:pt x="290956" y="1086897"/>
                  <a:pt x="295114" y="1083955"/>
                  <a:pt x="299358" y="1080970"/>
                </a:cubicBezTo>
                <a:cubicBezTo>
                  <a:pt x="306613" y="1075692"/>
                  <a:pt x="312234" y="1070023"/>
                  <a:pt x="317762" y="1063272"/>
                </a:cubicBezTo>
                <a:cubicBezTo>
                  <a:pt x="320349" y="1060360"/>
                  <a:pt x="320349" y="1060360"/>
                  <a:pt x="325035" y="1057542"/>
                </a:cubicBezTo>
                <a:cubicBezTo>
                  <a:pt x="329912" y="1045734"/>
                  <a:pt x="327928" y="1035103"/>
                  <a:pt x="325328" y="1023104"/>
                </a:cubicBezTo>
                <a:cubicBezTo>
                  <a:pt x="325069" y="1021831"/>
                  <a:pt x="324811" y="1020559"/>
                  <a:pt x="324544" y="1019247"/>
                </a:cubicBezTo>
                <a:cubicBezTo>
                  <a:pt x="322876" y="1011407"/>
                  <a:pt x="320562" y="1004340"/>
                  <a:pt x="317225" y="996945"/>
                </a:cubicBezTo>
                <a:cubicBezTo>
                  <a:pt x="316619" y="995541"/>
                  <a:pt x="316013" y="994137"/>
                  <a:pt x="315388" y="992690"/>
                </a:cubicBezTo>
                <a:cubicBezTo>
                  <a:pt x="306307" y="972561"/>
                  <a:pt x="298931" y="959343"/>
                  <a:pt x="276232" y="950666"/>
                </a:cubicBezTo>
                <a:cubicBezTo>
                  <a:pt x="274810" y="950127"/>
                  <a:pt x="273388" y="949587"/>
                  <a:pt x="271923" y="949031"/>
                </a:cubicBezTo>
                <a:cubicBezTo>
                  <a:pt x="270129" y="948244"/>
                  <a:pt x="270129" y="948244"/>
                  <a:pt x="268299" y="947441"/>
                </a:cubicBezTo>
                <a:cubicBezTo>
                  <a:pt x="247071" y="938140"/>
                  <a:pt x="222259" y="939051"/>
                  <a:pt x="199187" y="938991"/>
                </a:cubicBezTo>
                <a:cubicBezTo>
                  <a:pt x="197383" y="938984"/>
                  <a:pt x="195579" y="938978"/>
                  <a:pt x="193719" y="938971"/>
                </a:cubicBezTo>
                <a:cubicBezTo>
                  <a:pt x="192010" y="938974"/>
                  <a:pt x="190300" y="938977"/>
                  <a:pt x="188539" y="938980"/>
                </a:cubicBezTo>
                <a:cubicBezTo>
                  <a:pt x="187000" y="938981"/>
                  <a:pt x="185460" y="938983"/>
                  <a:pt x="183874" y="938985"/>
                </a:cubicBezTo>
                <a:cubicBezTo>
                  <a:pt x="180148" y="939150"/>
                  <a:pt x="177092" y="939720"/>
                  <a:pt x="173509" y="940576"/>
                </a:cubicBezTo>
                <a:cubicBezTo>
                  <a:pt x="169458" y="940674"/>
                  <a:pt x="165452" y="940710"/>
                  <a:pt x="161403" y="940664"/>
                </a:cubicBezTo>
                <a:cubicBezTo>
                  <a:pt x="160314" y="940658"/>
                  <a:pt x="159224" y="940651"/>
                  <a:pt x="158102" y="940645"/>
                </a:cubicBezTo>
                <a:lnTo>
                  <a:pt x="150875" y="940583"/>
                </a:lnTo>
                <a:lnTo>
                  <a:pt x="148425" y="940717"/>
                </a:lnTo>
                <a:lnTo>
                  <a:pt x="149617" y="940995"/>
                </a:lnTo>
                <a:cubicBezTo>
                  <a:pt x="149617" y="941459"/>
                  <a:pt x="149617" y="941924"/>
                  <a:pt x="149617" y="942404"/>
                </a:cubicBezTo>
                <a:cubicBezTo>
                  <a:pt x="148630" y="942558"/>
                  <a:pt x="147643" y="942712"/>
                  <a:pt x="146627" y="942871"/>
                </a:cubicBezTo>
                <a:cubicBezTo>
                  <a:pt x="134541" y="944804"/>
                  <a:pt x="122553" y="947081"/>
                  <a:pt x="110564" y="949449"/>
                </a:cubicBezTo>
                <a:lnTo>
                  <a:pt x="111283" y="946205"/>
                </a:lnTo>
                <a:lnTo>
                  <a:pt x="101652" y="956078"/>
                </a:lnTo>
                <a:cubicBezTo>
                  <a:pt x="99870" y="957260"/>
                  <a:pt x="99870" y="957260"/>
                  <a:pt x="98052" y="958467"/>
                </a:cubicBezTo>
                <a:cubicBezTo>
                  <a:pt x="75683" y="972989"/>
                  <a:pt x="75683" y="972989"/>
                  <a:pt x="67286" y="972989"/>
                </a:cubicBezTo>
                <a:cubicBezTo>
                  <a:pt x="67286" y="973918"/>
                  <a:pt x="67286" y="974848"/>
                  <a:pt x="67286" y="975807"/>
                </a:cubicBezTo>
                <a:cubicBezTo>
                  <a:pt x="55713" y="979519"/>
                  <a:pt x="43549" y="980689"/>
                  <a:pt x="31942" y="976423"/>
                </a:cubicBezTo>
                <a:cubicBezTo>
                  <a:pt x="19953" y="970870"/>
                  <a:pt x="10774" y="964932"/>
                  <a:pt x="5673" y="953419"/>
                </a:cubicBezTo>
                <a:cubicBezTo>
                  <a:pt x="4801" y="950441"/>
                  <a:pt x="4801" y="950441"/>
                  <a:pt x="4801" y="944804"/>
                </a:cubicBezTo>
                <a:cubicBezTo>
                  <a:pt x="3770" y="944804"/>
                  <a:pt x="2739" y="944804"/>
                  <a:pt x="1676" y="944804"/>
                </a:cubicBezTo>
                <a:cubicBezTo>
                  <a:pt x="-34" y="940174"/>
                  <a:pt x="-41" y="936720"/>
                  <a:pt x="17" y="931857"/>
                </a:cubicBezTo>
                <a:cubicBezTo>
                  <a:pt x="31" y="930325"/>
                  <a:pt x="45" y="928794"/>
                  <a:pt x="59" y="927216"/>
                </a:cubicBezTo>
                <a:cubicBezTo>
                  <a:pt x="78" y="926044"/>
                  <a:pt x="96" y="924873"/>
                  <a:pt x="115" y="923666"/>
                </a:cubicBezTo>
                <a:cubicBezTo>
                  <a:pt x="1145" y="923666"/>
                  <a:pt x="2176" y="923666"/>
                  <a:pt x="3238" y="923666"/>
                </a:cubicBezTo>
                <a:cubicBezTo>
                  <a:pt x="3238" y="921805"/>
                  <a:pt x="3238" y="919945"/>
                  <a:pt x="3238" y="918029"/>
                </a:cubicBezTo>
                <a:cubicBezTo>
                  <a:pt x="4270" y="918029"/>
                  <a:pt x="5300" y="918029"/>
                  <a:pt x="6363" y="918029"/>
                </a:cubicBezTo>
                <a:cubicBezTo>
                  <a:pt x="6459" y="916314"/>
                  <a:pt x="6556" y="914599"/>
                  <a:pt x="6656" y="912832"/>
                </a:cubicBezTo>
                <a:cubicBezTo>
                  <a:pt x="7542" y="906455"/>
                  <a:pt x="10104" y="903750"/>
                  <a:pt x="15736" y="899709"/>
                </a:cubicBezTo>
                <a:lnTo>
                  <a:pt x="17243" y="898894"/>
                </a:lnTo>
                <a:lnTo>
                  <a:pt x="16800" y="898694"/>
                </a:lnTo>
                <a:lnTo>
                  <a:pt x="24988" y="894101"/>
                </a:lnTo>
                <a:lnTo>
                  <a:pt x="26768" y="892399"/>
                </a:lnTo>
                <a:cubicBezTo>
                  <a:pt x="28282" y="891122"/>
                  <a:pt x="29038" y="890483"/>
                  <a:pt x="30198" y="890164"/>
                </a:cubicBezTo>
                <a:lnTo>
                  <a:pt x="32204" y="890054"/>
                </a:lnTo>
                <a:lnTo>
                  <a:pt x="38914" y="886291"/>
                </a:lnTo>
                <a:cubicBezTo>
                  <a:pt x="47169" y="885770"/>
                  <a:pt x="55396" y="885800"/>
                  <a:pt x="63664" y="886011"/>
                </a:cubicBezTo>
                <a:lnTo>
                  <a:pt x="63664" y="886531"/>
                </a:lnTo>
                <a:lnTo>
                  <a:pt x="70784" y="886647"/>
                </a:lnTo>
                <a:cubicBezTo>
                  <a:pt x="74787" y="887000"/>
                  <a:pt x="77233" y="887948"/>
                  <a:pt x="82126" y="889845"/>
                </a:cubicBezTo>
                <a:cubicBezTo>
                  <a:pt x="92427" y="893791"/>
                  <a:pt x="103139" y="893710"/>
                  <a:pt x="114149" y="892663"/>
                </a:cubicBezTo>
                <a:cubicBezTo>
                  <a:pt x="115696" y="891733"/>
                  <a:pt x="117242" y="890803"/>
                  <a:pt x="118836" y="889845"/>
                </a:cubicBezTo>
                <a:cubicBezTo>
                  <a:pt x="123097" y="888850"/>
                  <a:pt x="127325" y="887944"/>
                  <a:pt x="131626" y="887114"/>
                </a:cubicBezTo>
                <a:cubicBezTo>
                  <a:pt x="139750" y="885542"/>
                  <a:pt x="147376" y="883653"/>
                  <a:pt x="155116" y="880913"/>
                </a:cubicBezTo>
                <a:cubicBezTo>
                  <a:pt x="158498" y="879775"/>
                  <a:pt x="161861" y="879076"/>
                  <a:pt x="165406" y="878483"/>
                </a:cubicBezTo>
                <a:cubicBezTo>
                  <a:pt x="170342" y="877655"/>
                  <a:pt x="172265" y="876971"/>
                  <a:pt x="176634" y="874343"/>
                </a:cubicBezTo>
                <a:cubicBezTo>
                  <a:pt x="179863" y="873335"/>
                  <a:pt x="183123" y="872404"/>
                  <a:pt x="186397" y="871524"/>
                </a:cubicBezTo>
                <a:cubicBezTo>
                  <a:pt x="189107" y="870786"/>
                  <a:pt x="189107" y="870786"/>
                  <a:pt x="191871" y="870033"/>
                </a:cubicBezTo>
                <a:cubicBezTo>
                  <a:pt x="195731" y="869023"/>
                  <a:pt x="199587" y="868093"/>
                  <a:pt x="203483" y="867208"/>
                </a:cubicBezTo>
                <a:cubicBezTo>
                  <a:pt x="208339" y="866199"/>
                  <a:pt x="208339" y="866199"/>
                  <a:pt x="211001" y="861660"/>
                </a:cubicBezTo>
                <a:cubicBezTo>
                  <a:pt x="214174" y="860102"/>
                  <a:pt x="214174" y="860102"/>
                  <a:pt x="218031" y="858577"/>
                </a:cubicBezTo>
                <a:cubicBezTo>
                  <a:pt x="236068" y="850629"/>
                  <a:pt x="245199" y="840442"/>
                  <a:pt x="254740" y="825020"/>
                </a:cubicBezTo>
                <a:cubicBezTo>
                  <a:pt x="255771" y="823625"/>
                  <a:pt x="256802" y="822230"/>
                  <a:pt x="257864" y="820792"/>
                </a:cubicBezTo>
                <a:cubicBezTo>
                  <a:pt x="258359" y="817506"/>
                  <a:pt x="258359" y="817506"/>
                  <a:pt x="258318" y="813810"/>
                </a:cubicBezTo>
                <a:cubicBezTo>
                  <a:pt x="258338" y="812388"/>
                  <a:pt x="258358" y="810967"/>
                  <a:pt x="258378" y="809502"/>
                </a:cubicBezTo>
                <a:cubicBezTo>
                  <a:pt x="258382" y="807965"/>
                  <a:pt x="258385" y="806429"/>
                  <a:pt x="258389" y="804845"/>
                </a:cubicBezTo>
                <a:cubicBezTo>
                  <a:pt x="258399" y="803258"/>
                  <a:pt x="258410" y="801671"/>
                  <a:pt x="258420" y="800036"/>
                </a:cubicBezTo>
                <a:cubicBezTo>
                  <a:pt x="258436" y="796670"/>
                  <a:pt x="258443" y="793305"/>
                  <a:pt x="258443" y="789939"/>
                </a:cubicBezTo>
                <a:cubicBezTo>
                  <a:pt x="258450" y="784823"/>
                  <a:pt x="258506" y="779709"/>
                  <a:pt x="258566" y="774594"/>
                </a:cubicBezTo>
                <a:cubicBezTo>
                  <a:pt x="258575" y="771319"/>
                  <a:pt x="258581" y="768045"/>
                  <a:pt x="258584" y="764771"/>
                </a:cubicBezTo>
                <a:cubicBezTo>
                  <a:pt x="258618" y="762495"/>
                  <a:pt x="258618" y="762495"/>
                  <a:pt x="258652" y="760174"/>
                </a:cubicBezTo>
                <a:cubicBezTo>
                  <a:pt x="258586" y="750030"/>
                  <a:pt x="256266" y="742584"/>
                  <a:pt x="251616" y="733421"/>
                </a:cubicBezTo>
                <a:cubicBezTo>
                  <a:pt x="250163" y="729605"/>
                  <a:pt x="248880" y="725752"/>
                  <a:pt x="247613" y="721883"/>
                </a:cubicBezTo>
                <a:cubicBezTo>
                  <a:pt x="245789" y="716328"/>
                  <a:pt x="243913" y="710939"/>
                  <a:pt x="241291" y="705644"/>
                </a:cubicBezTo>
                <a:cubicBezTo>
                  <a:pt x="238691" y="700096"/>
                  <a:pt x="238136" y="695685"/>
                  <a:pt x="237557" y="689735"/>
                </a:cubicBezTo>
                <a:cubicBezTo>
                  <a:pt x="244977" y="685507"/>
                  <a:pt x="244977" y="685507"/>
                  <a:pt x="248492" y="685507"/>
                </a:cubicBezTo>
                <a:cubicBezTo>
                  <a:pt x="248492" y="684112"/>
                  <a:pt x="248492" y="682717"/>
                  <a:pt x="248492" y="681279"/>
                </a:cubicBezTo>
                <a:cubicBezTo>
                  <a:pt x="245914" y="680815"/>
                  <a:pt x="243337" y="680350"/>
                  <a:pt x="240681" y="679870"/>
                </a:cubicBezTo>
                <a:cubicBezTo>
                  <a:pt x="240681" y="678940"/>
                  <a:pt x="240681" y="678010"/>
                  <a:pt x="240681" y="677052"/>
                </a:cubicBezTo>
                <a:cubicBezTo>
                  <a:pt x="239827" y="676917"/>
                  <a:pt x="238973" y="676783"/>
                  <a:pt x="238094" y="676645"/>
                </a:cubicBezTo>
                <a:cubicBezTo>
                  <a:pt x="233442" y="675371"/>
                  <a:pt x="229939" y="673242"/>
                  <a:pt x="225841" y="670886"/>
                </a:cubicBezTo>
                <a:cubicBezTo>
                  <a:pt x="217808" y="666564"/>
                  <a:pt x="210635" y="664241"/>
                  <a:pt x="201531" y="662508"/>
                </a:cubicBezTo>
                <a:cubicBezTo>
                  <a:pt x="196896" y="661541"/>
                  <a:pt x="192682" y="660199"/>
                  <a:pt x="188252" y="658644"/>
                </a:cubicBezTo>
                <a:lnTo>
                  <a:pt x="182431" y="657327"/>
                </a:lnTo>
                <a:lnTo>
                  <a:pt x="182431" y="657613"/>
                </a:lnTo>
                <a:cubicBezTo>
                  <a:pt x="170575" y="657148"/>
                  <a:pt x="158718" y="656683"/>
                  <a:pt x="146503" y="656204"/>
                </a:cubicBezTo>
                <a:cubicBezTo>
                  <a:pt x="146503" y="657133"/>
                  <a:pt x="146503" y="658064"/>
                  <a:pt x="146503" y="659022"/>
                </a:cubicBezTo>
                <a:cubicBezTo>
                  <a:pt x="134359" y="662326"/>
                  <a:pt x="123013" y="663700"/>
                  <a:pt x="110378" y="663778"/>
                </a:cubicBezTo>
                <a:cubicBezTo>
                  <a:pt x="108435" y="663806"/>
                  <a:pt x="108435" y="663806"/>
                  <a:pt x="106453" y="663836"/>
                </a:cubicBezTo>
                <a:cubicBezTo>
                  <a:pt x="105231" y="663828"/>
                  <a:pt x="104009" y="663820"/>
                  <a:pt x="102751" y="663811"/>
                </a:cubicBezTo>
                <a:cubicBezTo>
                  <a:pt x="101117" y="663804"/>
                  <a:pt x="101117" y="663804"/>
                  <a:pt x="99449" y="663797"/>
                </a:cubicBezTo>
                <a:cubicBezTo>
                  <a:pt x="95696" y="663097"/>
                  <a:pt x="94265" y="661615"/>
                  <a:pt x="91828" y="659022"/>
                </a:cubicBezTo>
                <a:cubicBezTo>
                  <a:pt x="93890" y="659022"/>
                  <a:pt x="95953" y="659022"/>
                  <a:pt x="98077" y="659022"/>
                </a:cubicBezTo>
                <a:cubicBezTo>
                  <a:pt x="98077" y="659952"/>
                  <a:pt x="98077" y="660882"/>
                  <a:pt x="98077" y="661841"/>
                </a:cubicBezTo>
                <a:cubicBezTo>
                  <a:pt x="108735" y="662045"/>
                  <a:pt x="114063" y="662148"/>
                  <a:pt x="119023" y="661357"/>
                </a:cubicBezTo>
                <a:lnTo>
                  <a:pt x="119536" y="661197"/>
                </a:lnTo>
                <a:lnTo>
                  <a:pt x="109853" y="661639"/>
                </a:lnTo>
                <a:cubicBezTo>
                  <a:pt x="108764" y="661632"/>
                  <a:pt x="107675" y="661626"/>
                  <a:pt x="106552" y="661619"/>
                </a:cubicBezTo>
                <a:cubicBezTo>
                  <a:pt x="103877" y="661603"/>
                  <a:pt x="101203" y="661577"/>
                  <a:pt x="98528" y="661550"/>
                </a:cubicBezTo>
                <a:cubicBezTo>
                  <a:pt x="98528" y="660620"/>
                  <a:pt x="98528" y="659691"/>
                  <a:pt x="98528" y="658732"/>
                </a:cubicBezTo>
                <a:cubicBezTo>
                  <a:pt x="95435" y="658267"/>
                  <a:pt x="92342" y="657802"/>
                  <a:pt x="89155" y="657323"/>
                </a:cubicBezTo>
                <a:cubicBezTo>
                  <a:pt x="89155" y="656393"/>
                  <a:pt x="89155" y="655462"/>
                  <a:pt x="89155" y="654504"/>
                </a:cubicBezTo>
                <a:cubicBezTo>
                  <a:pt x="87790" y="653978"/>
                  <a:pt x="87790" y="653978"/>
                  <a:pt x="86397" y="653442"/>
                </a:cubicBezTo>
                <a:cubicBezTo>
                  <a:pt x="82415" y="651438"/>
                  <a:pt x="80039" y="649232"/>
                  <a:pt x="77049" y="646137"/>
                </a:cubicBezTo>
                <a:cubicBezTo>
                  <a:pt x="75611" y="644679"/>
                  <a:pt x="75611" y="644679"/>
                  <a:pt x="74145" y="643192"/>
                </a:cubicBezTo>
                <a:cubicBezTo>
                  <a:pt x="71972" y="640412"/>
                  <a:pt x="71972" y="640412"/>
                  <a:pt x="71972" y="636185"/>
                </a:cubicBezTo>
                <a:cubicBezTo>
                  <a:pt x="70941" y="636185"/>
                  <a:pt x="69910" y="636185"/>
                  <a:pt x="68848" y="636185"/>
                </a:cubicBezTo>
                <a:cubicBezTo>
                  <a:pt x="64250" y="621928"/>
                  <a:pt x="64695" y="609404"/>
                  <a:pt x="70410" y="595317"/>
                </a:cubicBezTo>
                <a:cubicBezTo>
                  <a:pt x="73096" y="591142"/>
                  <a:pt x="76144" y="587574"/>
                  <a:pt x="79782" y="584043"/>
                </a:cubicBezTo>
                <a:cubicBezTo>
                  <a:pt x="81205" y="582594"/>
                  <a:pt x="81205" y="582594"/>
                  <a:pt x="82656" y="581115"/>
                </a:cubicBezTo>
                <a:cubicBezTo>
                  <a:pt x="91488" y="574027"/>
                  <a:pt x="105133" y="571806"/>
                  <a:pt x="116694" y="572323"/>
                </a:cubicBezTo>
                <a:cubicBezTo>
                  <a:pt x="131556" y="574113"/>
                  <a:pt x="142046" y="580551"/>
                  <a:pt x="152031" y="590385"/>
                </a:cubicBezTo>
                <a:cubicBezTo>
                  <a:pt x="162272" y="600009"/>
                  <a:pt x="176992" y="605062"/>
                  <a:pt x="191474" y="605886"/>
                </a:cubicBezTo>
                <a:cubicBezTo>
                  <a:pt x="196845" y="606192"/>
                  <a:pt x="201203" y="606463"/>
                  <a:pt x="206314" y="608000"/>
                </a:cubicBezTo>
                <a:cubicBezTo>
                  <a:pt x="206314" y="608930"/>
                  <a:pt x="206314" y="609860"/>
                  <a:pt x="206314" y="610818"/>
                </a:cubicBezTo>
                <a:cubicBezTo>
                  <a:pt x="215689" y="610902"/>
                  <a:pt x="225058" y="610898"/>
                  <a:pt x="234433" y="610818"/>
                </a:cubicBezTo>
                <a:cubicBezTo>
                  <a:pt x="236112" y="610813"/>
                  <a:pt x="237791" y="610808"/>
                  <a:pt x="239522" y="610802"/>
                </a:cubicBezTo>
                <a:cubicBezTo>
                  <a:pt x="251005" y="610364"/>
                  <a:pt x="259257" y="606564"/>
                  <a:pt x="268799" y="600954"/>
                </a:cubicBezTo>
                <a:cubicBezTo>
                  <a:pt x="269770" y="600416"/>
                  <a:pt x="270740" y="599879"/>
                  <a:pt x="271740" y="599325"/>
                </a:cubicBezTo>
                <a:cubicBezTo>
                  <a:pt x="279452" y="594430"/>
                  <a:pt x="281420" y="587464"/>
                  <a:pt x="284420" y="579816"/>
                </a:cubicBezTo>
                <a:cubicBezTo>
                  <a:pt x="286047" y="576075"/>
                  <a:pt x="287725" y="572353"/>
                  <a:pt x="289399" y="568630"/>
                </a:cubicBezTo>
                <a:cubicBezTo>
                  <a:pt x="294095" y="558121"/>
                  <a:pt x="299004" y="547070"/>
                  <a:pt x="293958" y="535838"/>
                </a:cubicBezTo>
                <a:cubicBezTo>
                  <a:pt x="292436" y="533533"/>
                  <a:pt x="290781" y="531301"/>
                  <a:pt x="289107" y="529084"/>
                </a:cubicBezTo>
                <a:cubicBezTo>
                  <a:pt x="289107" y="528153"/>
                  <a:pt x="289107" y="527223"/>
                  <a:pt x="289107" y="526265"/>
                </a:cubicBezTo>
                <a:cubicBezTo>
                  <a:pt x="287560" y="525800"/>
                  <a:pt x="286014" y="525335"/>
                  <a:pt x="284420" y="524856"/>
                </a:cubicBezTo>
                <a:cubicBezTo>
                  <a:pt x="283905" y="523461"/>
                  <a:pt x="283389" y="522066"/>
                  <a:pt x="282858" y="520628"/>
                </a:cubicBezTo>
                <a:cubicBezTo>
                  <a:pt x="280750" y="518590"/>
                  <a:pt x="280750" y="518590"/>
                  <a:pt x="277977" y="516577"/>
                </a:cubicBezTo>
                <a:cubicBezTo>
                  <a:pt x="273591" y="513232"/>
                  <a:pt x="269227" y="509874"/>
                  <a:pt x="264925" y="506443"/>
                </a:cubicBezTo>
                <a:cubicBezTo>
                  <a:pt x="253596" y="497433"/>
                  <a:pt x="242132" y="488987"/>
                  <a:pt x="229746" y="481170"/>
                </a:cubicBezTo>
                <a:cubicBezTo>
                  <a:pt x="226846" y="479266"/>
                  <a:pt x="223950" y="477358"/>
                  <a:pt x="221057" y="475445"/>
                </a:cubicBezTo>
                <a:cubicBezTo>
                  <a:pt x="218227" y="473594"/>
                  <a:pt x="215396" y="471744"/>
                  <a:pt x="212563" y="469896"/>
                </a:cubicBezTo>
                <a:cubicBezTo>
                  <a:pt x="211351" y="469102"/>
                  <a:pt x="210138" y="468309"/>
                  <a:pt x="208889" y="467491"/>
                </a:cubicBezTo>
                <a:cubicBezTo>
                  <a:pt x="202848" y="463599"/>
                  <a:pt x="196732" y="459888"/>
                  <a:pt x="190406" y="456382"/>
                </a:cubicBezTo>
                <a:cubicBezTo>
                  <a:pt x="189263" y="455748"/>
                  <a:pt x="188119" y="455114"/>
                  <a:pt x="186942" y="454460"/>
                </a:cubicBezTo>
                <a:cubicBezTo>
                  <a:pt x="184648" y="453196"/>
                  <a:pt x="182348" y="451941"/>
                  <a:pt x="180041" y="450696"/>
                </a:cubicBezTo>
                <a:cubicBezTo>
                  <a:pt x="177292" y="449185"/>
                  <a:pt x="174612" y="447571"/>
                  <a:pt x="171948" y="445940"/>
                </a:cubicBezTo>
                <a:cubicBezTo>
                  <a:pt x="171948" y="445009"/>
                  <a:pt x="171948" y="444079"/>
                  <a:pt x="171948" y="443121"/>
                </a:cubicBezTo>
                <a:cubicBezTo>
                  <a:pt x="170804" y="442985"/>
                  <a:pt x="169660" y="442848"/>
                  <a:pt x="168482" y="442708"/>
                </a:cubicBezTo>
                <a:cubicBezTo>
                  <a:pt x="163547" y="441576"/>
                  <a:pt x="161063" y="439897"/>
                  <a:pt x="157107" y="437044"/>
                </a:cubicBezTo>
                <a:cubicBezTo>
                  <a:pt x="149345" y="431895"/>
                  <a:pt x="141843" y="429626"/>
                  <a:pt x="132559" y="427510"/>
                </a:cubicBezTo>
                <a:cubicBezTo>
                  <a:pt x="128067" y="426168"/>
                  <a:pt x="126607" y="425060"/>
                  <a:pt x="123522" y="421983"/>
                </a:cubicBezTo>
                <a:cubicBezTo>
                  <a:pt x="118310" y="419033"/>
                  <a:pt x="114076" y="418794"/>
                  <a:pt x="107986" y="418730"/>
                </a:cubicBezTo>
                <a:cubicBezTo>
                  <a:pt x="106174" y="418694"/>
                  <a:pt x="104362" y="418659"/>
                  <a:pt x="102494" y="418622"/>
                </a:cubicBezTo>
                <a:cubicBezTo>
                  <a:pt x="98715" y="418573"/>
                  <a:pt x="94936" y="418529"/>
                  <a:pt x="91157" y="418490"/>
                </a:cubicBezTo>
                <a:cubicBezTo>
                  <a:pt x="78470" y="418231"/>
                  <a:pt x="65485" y="417940"/>
                  <a:pt x="55277" y="410445"/>
                </a:cubicBezTo>
                <a:cubicBezTo>
                  <a:pt x="54084" y="409137"/>
                  <a:pt x="52893" y="407829"/>
                  <a:pt x="51665" y="406481"/>
                </a:cubicBezTo>
                <a:cubicBezTo>
                  <a:pt x="49752" y="404480"/>
                  <a:pt x="47831" y="402483"/>
                  <a:pt x="45904" y="400492"/>
                </a:cubicBezTo>
                <a:cubicBezTo>
                  <a:pt x="44996" y="399526"/>
                  <a:pt x="44088" y="398559"/>
                  <a:pt x="43152" y="397564"/>
                </a:cubicBezTo>
                <a:cubicBezTo>
                  <a:pt x="40865" y="395062"/>
                  <a:pt x="40865" y="395062"/>
                  <a:pt x="37605" y="393798"/>
                </a:cubicBezTo>
                <a:lnTo>
                  <a:pt x="38995" y="368712"/>
                </a:lnTo>
                <a:lnTo>
                  <a:pt x="38666" y="369724"/>
                </a:lnTo>
                <a:cubicBezTo>
                  <a:pt x="37003" y="374506"/>
                  <a:pt x="36202" y="379113"/>
                  <a:pt x="35542" y="384081"/>
                </a:cubicBezTo>
                <a:cubicBezTo>
                  <a:pt x="30313" y="376119"/>
                  <a:pt x="31188" y="366593"/>
                  <a:pt x="33326" y="357791"/>
                </a:cubicBezTo>
                <a:cubicBezTo>
                  <a:pt x="37176" y="347767"/>
                  <a:pt x="44536" y="340769"/>
                  <a:pt x="52725" y="333349"/>
                </a:cubicBezTo>
                <a:lnTo>
                  <a:pt x="55222" y="334475"/>
                </a:lnTo>
                <a:lnTo>
                  <a:pt x="56222" y="333347"/>
                </a:lnTo>
                <a:lnTo>
                  <a:pt x="55871" y="333347"/>
                </a:lnTo>
                <a:lnTo>
                  <a:pt x="56346" y="333207"/>
                </a:lnTo>
                <a:lnTo>
                  <a:pt x="56351" y="333202"/>
                </a:lnTo>
                <a:lnTo>
                  <a:pt x="56365" y="333202"/>
                </a:lnTo>
                <a:lnTo>
                  <a:pt x="79571" y="326360"/>
                </a:lnTo>
                <a:cubicBezTo>
                  <a:pt x="87782" y="326037"/>
                  <a:pt x="96164" y="327572"/>
                  <a:pt x="104297" y="330529"/>
                </a:cubicBezTo>
                <a:lnTo>
                  <a:pt x="107170" y="334417"/>
                </a:lnTo>
                <a:lnTo>
                  <a:pt x="109366" y="336046"/>
                </a:lnTo>
                <a:lnTo>
                  <a:pt x="109463" y="336020"/>
                </a:lnTo>
                <a:lnTo>
                  <a:pt x="109463" y="336118"/>
                </a:lnTo>
                <a:lnTo>
                  <a:pt x="115226" y="340394"/>
                </a:lnTo>
                <a:lnTo>
                  <a:pt x="114010" y="340120"/>
                </a:lnTo>
                <a:lnTo>
                  <a:pt x="133285" y="357423"/>
                </a:lnTo>
                <a:cubicBezTo>
                  <a:pt x="142471" y="373187"/>
                  <a:pt x="155564" y="382744"/>
                  <a:pt x="173509" y="389571"/>
                </a:cubicBezTo>
                <a:cubicBezTo>
                  <a:pt x="176254" y="390785"/>
                  <a:pt x="178988" y="392017"/>
                  <a:pt x="181711" y="393270"/>
                </a:cubicBezTo>
                <a:cubicBezTo>
                  <a:pt x="182964" y="393833"/>
                  <a:pt x="184216" y="394396"/>
                  <a:pt x="185507" y="394976"/>
                </a:cubicBezTo>
                <a:cubicBezTo>
                  <a:pt x="187897" y="396058"/>
                  <a:pt x="190281" y="397151"/>
                  <a:pt x="192658" y="398257"/>
                </a:cubicBezTo>
                <a:cubicBezTo>
                  <a:pt x="193749" y="398762"/>
                  <a:pt x="194841" y="399267"/>
                  <a:pt x="195966" y="399788"/>
                </a:cubicBezTo>
                <a:cubicBezTo>
                  <a:pt x="196912" y="400231"/>
                  <a:pt x="197858" y="400674"/>
                  <a:pt x="198833" y="401131"/>
                </a:cubicBezTo>
                <a:cubicBezTo>
                  <a:pt x="201808" y="402326"/>
                  <a:pt x="204701" y="403032"/>
                  <a:pt x="207877" y="403663"/>
                </a:cubicBezTo>
                <a:cubicBezTo>
                  <a:pt x="207877" y="404593"/>
                  <a:pt x="207877" y="405523"/>
                  <a:pt x="207877" y="406481"/>
                </a:cubicBezTo>
                <a:cubicBezTo>
                  <a:pt x="221233" y="411377"/>
                  <a:pt x="234752" y="415503"/>
                  <a:pt x="248492" y="419428"/>
                </a:cubicBezTo>
                <a:cubicBezTo>
                  <a:pt x="250298" y="419947"/>
                  <a:pt x="252104" y="420466"/>
                  <a:pt x="253965" y="421000"/>
                </a:cubicBezTo>
                <a:cubicBezTo>
                  <a:pt x="258388" y="422270"/>
                  <a:pt x="262812" y="423537"/>
                  <a:pt x="267237" y="424801"/>
                </a:cubicBezTo>
                <a:lnTo>
                  <a:pt x="267237" y="426451"/>
                </a:lnTo>
                <a:lnTo>
                  <a:pt x="288701" y="429217"/>
                </a:lnTo>
                <a:cubicBezTo>
                  <a:pt x="288701" y="430147"/>
                  <a:pt x="288701" y="431078"/>
                  <a:pt x="288701" y="432036"/>
                </a:cubicBezTo>
                <a:cubicBezTo>
                  <a:pt x="301487" y="433472"/>
                  <a:pt x="314148" y="433662"/>
                  <a:pt x="327010" y="433628"/>
                </a:cubicBezTo>
                <a:cubicBezTo>
                  <a:pt x="330502" y="433621"/>
                  <a:pt x="333994" y="433628"/>
                  <a:pt x="337486" y="433637"/>
                </a:cubicBezTo>
                <a:cubicBezTo>
                  <a:pt x="339734" y="433637"/>
                  <a:pt x="341982" y="433635"/>
                  <a:pt x="344229" y="433632"/>
                </a:cubicBezTo>
                <a:cubicBezTo>
                  <a:pt x="347246" y="433630"/>
                  <a:pt x="347246" y="433630"/>
                  <a:pt x="350323" y="433627"/>
                </a:cubicBezTo>
                <a:cubicBezTo>
                  <a:pt x="355445" y="433459"/>
                  <a:pt x="360220" y="432915"/>
                  <a:pt x="365245" y="432036"/>
                </a:cubicBezTo>
                <a:lnTo>
                  <a:pt x="360797" y="433759"/>
                </a:lnTo>
                <a:lnTo>
                  <a:pt x="365650" y="433257"/>
                </a:lnTo>
                <a:cubicBezTo>
                  <a:pt x="366166" y="431861"/>
                  <a:pt x="366682" y="430466"/>
                  <a:pt x="367213" y="429029"/>
                </a:cubicBezTo>
                <a:cubicBezTo>
                  <a:pt x="369854" y="427628"/>
                  <a:pt x="372501" y="426234"/>
                  <a:pt x="375188" y="424906"/>
                </a:cubicBezTo>
                <a:cubicBezTo>
                  <a:pt x="390245" y="417204"/>
                  <a:pt x="397438" y="403183"/>
                  <a:pt x="404704" y="389571"/>
                </a:cubicBezTo>
                <a:cubicBezTo>
                  <a:pt x="405219" y="389105"/>
                  <a:pt x="405734" y="388641"/>
                  <a:pt x="406265" y="388161"/>
                </a:cubicBezTo>
                <a:cubicBezTo>
                  <a:pt x="406663" y="382152"/>
                  <a:pt x="406555" y="376125"/>
                  <a:pt x="406559" y="370106"/>
                </a:cubicBezTo>
                <a:cubicBezTo>
                  <a:pt x="406578" y="368412"/>
                  <a:pt x="406597" y="366718"/>
                  <a:pt x="406617" y="364973"/>
                </a:cubicBezTo>
                <a:cubicBezTo>
                  <a:pt x="406620" y="363344"/>
                  <a:pt x="406622" y="361715"/>
                  <a:pt x="406626" y="360038"/>
                </a:cubicBezTo>
                <a:cubicBezTo>
                  <a:pt x="406632" y="358541"/>
                  <a:pt x="406638" y="357045"/>
                  <a:pt x="406645" y="355503"/>
                </a:cubicBezTo>
                <a:cubicBezTo>
                  <a:pt x="406264" y="351503"/>
                  <a:pt x="405326" y="349318"/>
                  <a:pt x="403142" y="345885"/>
                </a:cubicBezTo>
                <a:cubicBezTo>
                  <a:pt x="402583" y="343484"/>
                  <a:pt x="402067" y="341075"/>
                  <a:pt x="401579" y="338663"/>
                </a:cubicBezTo>
                <a:cubicBezTo>
                  <a:pt x="399365" y="330323"/>
                  <a:pt x="395538" y="323370"/>
                  <a:pt x="390938" y="315939"/>
                </a:cubicBezTo>
                <a:cubicBezTo>
                  <a:pt x="390290" y="314890"/>
                  <a:pt x="389642" y="313842"/>
                  <a:pt x="388976" y="312762"/>
                </a:cubicBezTo>
                <a:cubicBezTo>
                  <a:pt x="385623" y="307500"/>
                  <a:pt x="382070" y="302607"/>
                  <a:pt x="377934" y="297817"/>
                </a:cubicBezTo>
                <a:cubicBezTo>
                  <a:pt x="373788" y="292978"/>
                  <a:pt x="371423" y="288111"/>
                  <a:pt x="368775" y="282470"/>
                </a:cubicBezTo>
                <a:cubicBezTo>
                  <a:pt x="366035" y="278585"/>
                  <a:pt x="362994" y="274937"/>
                  <a:pt x="359890" y="271284"/>
                </a:cubicBezTo>
                <a:cubicBezTo>
                  <a:pt x="359059" y="270296"/>
                  <a:pt x="358230" y="269307"/>
                  <a:pt x="357374" y="268288"/>
                </a:cubicBezTo>
                <a:cubicBezTo>
                  <a:pt x="351312" y="261177"/>
                  <a:pt x="344882" y="254704"/>
                  <a:pt x="337533" y="248649"/>
                </a:cubicBezTo>
                <a:cubicBezTo>
                  <a:pt x="336767" y="247896"/>
                  <a:pt x="336002" y="247144"/>
                  <a:pt x="335214" y="246369"/>
                </a:cubicBezTo>
                <a:cubicBezTo>
                  <a:pt x="332597" y="243963"/>
                  <a:pt x="332597" y="243963"/>
                  <a:pt x="327085" y="242571"/>
                </a:cubicBezTo>
                <a:cubicBezTo>
                  <a:pt x="309670" y="236923"/>
                  <a:pt x="296614" y="222751"/>
                  <a:pt x="288785" y="207968"/>
                </a:cubicBezTo>
                <a:cubicBezTo>
                  <a:pt x="286673" y="202851"/>
                  <a:pt x="286348" y="197968"/>
                  <a:pt x="286373" y="192544"/>
                </a:cubicBezTo>
                <a:cubicBezTo>
                  <a:pt x="286377" y="191437"/>
                  <a:pt x="286381" y="190330"/>
                  <a:pt x="286385" y="189190"/>
                </a:cubicBezTo>
                <a:cubicBezTo>
                  <a:pt x="286881" y="178340"/>
                  <a:pt x="291581" y="171728"/>
                  <a:pt x="300042" y="164095"/>
                </a:cubicBezTo>
                <a:cubicBezTo>
                  <a:pt x="301386" y="162752"/>
                  <a:pt x="301386" y="162752"/>
                  <a:pt x="302757" y="161381"/>
                </a:cubicBezTo>
                <a:cubicBezTo>
                  <a:pt x="312597" y="152504"/>
                  <a:pt x="325185" y="152675"/>
                  <a:pt x="338411" y="152293"/>
                </a:cubicBezTo>
                <a:cubicBezTo>
                  <a:pt x="350839" y="152463"/>
                  <a:pt x="359094" y="154554"/>
                  <a:pt x="368482" y="161893"/>
                </a:cubicBezTo>
                <a:cubicBezTo>
                  <a:pt x="369609" y="163085"/>
                  <a:pt x="370737" y="164277"/>
                  <a:pt x="371899" y="165505"/>
                </a:cubicBezTo>
                <a:cubicBezTo>
                  <a:pt x="372962" y="166522"/>
                  <a:pt x="374026" y="167539"/>
                  <a:pt x="375121" y="168587"/>
                </a:cubicBezTo>
                <a:cubicBezTo>
                  <a:pt x="381050" y="176351"/>
                  <a:pt x="384520" y="184328"/>
                  <a:pt x="384982" y="193777"/>
                </a:cubicBezTo>
                <a:cubicBezTo>
                  <a:pt x="385464" y="201192"/>
                  <a:pt x="387638" y="207607"/>
                  <a:pt x="390352" y="214563"/>
                </a:cubicBezTo>
                <a:cubicBezTo>
                  <a:pt x="390934" y="216079"/>
                  <a:pt x="390934" y="216079"/>
                  <a:pt x="391529" y="217626"/>
                </a:cubicBezTo>
                <a:cubicBezTo>
                  <a:pt x="394082" y="223926"/>
                  <a:pt x="397412" y="228969"/>
                  <a:pt x="401579" y="234556"/>
                </a:cubicBezTo>
                <a:cubicBezTo>
                  <a:pt x="401579" y="235952"/>
                  <a:pt x="401579" y="237347"/>
                  <a:pt x="401579" y="238784"/>
                </a:cubicBezTo>
                <a:cubicBezTo>
                  <a:pt x="402884" y="239263"/>
                  <a:pt x="402884" y="239263"/>
                  <a:pt x="404215" y="239753"/>
                </a:cubicBezTo>
                <a:cubicBezTo>
                  <a:pt x="410099" y="242765"/>
                  <a:pt x="414395" y="246733"/>
                  <a:pt x="417811" y="251996"/>
                </a:cubicBezTo>
                <a:cubicBezTo>
                  <a:pt x="420462" y="255897"/>
                  <a:pt x="423407" y="258959"/>
                  <a:pt x="426866" y="262300"/>
                </a:cubicBezTo>
                <a:cubicBezTo>
                  <a:pt x="435101" y="270407"/>
                  <a:pt x="442641" y="278936"/>
                  <a:pt x="450097" y="287628"/>
                </a:cubicBezTo>
                <a:cubicBezTo>
                  <a:pt x="453081" y="291117"/>
                  <a:pt x="453081" y="291117"/>
                  <a:pt x="457425" y="293920"/>
                </a:cubicBezTo>
                <a:cubicBezTo>
                  <a:pt x="458585" y="294792"/>
                  <a:pt x="459745" y="295664"/>
                  <a:pt x="460940" y="296562"/>
                </a:cubicBezTo>
                <a:cubicBezTo>
                  <a:pt x="460940" y="297957"/>
                  <a:pt x="460940" y="299352"/>
                  <a:pt x="460940" y="300790"/>
                </a:cubicBezTo>
                <a:cubicBezTo>
                  <a:pt x="465063" y="302782"/>
                  <a:pt x="468862" y="304133"/>
                  <a:pt x="473437" y="305018"/>
                </a:cubicBezTo>
                <a:cubicBezTo>
                  <a:pt x="473437" y="305947"/>
                  <a:pt x="473437" y="306877"/>
                  <a:pt x="473437" y="307836"/>
                </a:cubicBezTo>
                <a:cubicBezTo>
                  <a:pt x="475581" y="308519"/>
                  <a:pt x="477730" y="309193"/>
                  <a:pt x="479881" y="309862"/>
                </a:cubicBezTo>
                <a:cubicBezTo>
                  <a:pt x="481077" y="310237"/>
                  <a:pt x="482273" y="310614"/>
                  <a:pt x="483505" y="311001"/>
                </a:cubicBezTo>
                <a:cubicBezTo>
                  <a:pt x="505448" y="316843"/>
                  <a:pt x="527690" y="314359"/>
                  <a:pt x="548419" y="306427"/>
                </a:cubicBezTo>
                <a:cubicBezTo>
                  <a:pt x="549548" y="305998"/>
                  <a:pt x="550678" y="305569"/>
                  <a:pt x="551842" y="305127"/>
                </a:cubicBezTo>
                <a:cubicBezTo>
                  <a:pt x="555376" y="303227"/>
                  <a:pt x="557584" y="300980"/>
                  <a:pt x="560232" y="298148"/>
                </a:cubicBezTo>
                <a:cubicBezTo>
                  <a:pt x="561137" y="297192"/>
                  <a:pt x="562041" y="296236"/>
                  <a:pt x="562972" y="295252"/>
                </a:cubicBezTo>
                <a:cubicBezTo>
                  <a:pt x="564755" y="293274"/>
                  <a:pt x="566459" y="291237"/>
                  <a:pt x="568086" y="289152"/>
                </a:cubicBezTo>
                <a:cubicBezTo>
                  <a:pt x="568813" y="288342"/>
                  <a:pt x="569539" y="287532"/>
                  <a:pt x="570289" y="286697"/>
                </a:cubicBezTo>
                <a:cubicBezTo>
                  <a:pt x="571319" y="286697"/>
                  <a:pt x="572350" y="286697"/>
                  <a:pt x="573413" y="286697"/>
                </a:cubicBezTo>
                <a:cubicBezTo>
                  <a:pt x="577408" y="276984"/>
                  <a:pt x="577197" y="267284"/>
                  <a:pt x="577220" y="257016"/>
                </a:cubicBezTo>
                <a:cubicBezTo>
                  <a:pt x="577227" y="255625"/>
                  <a:pt x="577227" y="255625"/>
                  <a:pt x="577235" y="254206"/>
                </a:cubicBezTo>
                <a:cubicBezTo>
                  <a:pt x="577257" y="237553"/>
                  <a:pt x="574604" y="222055"/>
                  <a:pt x="569443" y="206049"/>
                </a:cubicBezTo>
                <a:cubicBezTo>
                  <a:pt x="568726" y="203553"/>
                  <a:pt x="568726" y="203553"/>
                  <a:pt x="568726" y="200735"/>
                </a:cubicBezTo>
                <a:cubicBezTo>
                  <a:pt x="567695" y="200735"/>
                  <a:pt x="566664" y="200735"/>
                  <a:pt x="565602" y="200735"/>
                </a:cubicBezTo>
                <a:cubicBezTo>
                  <a:pt x="563274" y="195295"/>
                  <a:pt x="561092" y="190108"/>
                  <a:pt x="559549" y="184441"/>
                </a:cubicBezTo>
                <a:cubicBezTo>
                  <a:pt x="555572" y="173477"/>
                  <a:pt x="547043" y="167105"/>
                  <a:pt x="537484" y="159867"/>
                </a:cubicBezTo>
                <a:cubicBezTo>
                  <a:pt x="533579" y="156609"/>
                  <a:pt x="533579" y="156609"/>
                  <a:pt x="531235" y="154230"/>
                </a:cubicBezTo>
                <a:cubicBezTo>
                  <a:pt x="531235" y="153301"/>
                  <a:pt x="531235" y="152371"/>
                  <a:pt x="531235" y="151412"/>
                </a:cubicBezTo>
                <a:cubicBezTo>
                  <a:pt x="529689" y="150947"/>
                  <a:pt x="528143" y="150482"/>
                  <a:pt x="526549" y="150003"/>
                </a:cubicBezTo>
                <a:cubicBezTo>
                  <a:pt x="519904" y="137298"/>
                  <a:pt x="519105" y="120357"/>
                  <a:pt x="524304" y="107198"/>
                </a:cubicBezTo>
                <a:cubicBezTo>
                  <a:pt x="529443" y="97376"/>
                  <a:pt x="535781" y="90193"/>
                  <a:pt x="547052" y="85972"/>
                </a:cubicBezTo>
                <a:cubicBezTo>
                  <a:pt x="559924" y="81835"/>
                  <a:pt x="575221" y="79746"/>
                  <a:pt x="588460" y="83538"/>
                </a:cubicBezTo>
                <a:cubicBezTo>
                  <a:pt x="601643" y="89713"/>
                  <a:pt x="611835" y="99450"/>
                  <a:pt x="617152" y="111954"/>
                </a:cubicBezTo>
                <a:cubicBezTo>
                  <a:pt x="617935" y="116052"/>
                  <a:pt x="617954" y="120024"/>
                  <a:pt x="617884" y="124175"/>
                </a:cubicBezTo>
                <a:cubicBezTo>
                  <a:pt x="617896" y="125307"/>
                  <a:pt x="617906" y="126440"/>
                  <a:pt x="617917" y="127607"/>
                </a:cubicBezTo>
                <a:cubicBezTo>
                  <a:pt x="617963" y="132394"/>
                  <a:pt x="617938" y="137181"/>
                  <a:pt x="617919" y="141969"/>
                </a:cubicBezTo>
                <a:cubicBezTo>
                  <a:pt x="617899" y="160184"/>
                  <a:pt x="619422" y="175572"/>
                  <a:pt x="630625" y="191311"/>
                </a:cubicBezTo>
                <a:cubicBezTo>
                  <a:pt x="633753" y="195891"/>
                  <a:pt x="636431" y="199900"/>
                  <a:pt x="637850" y="205139"/>
                </a:cubicBezTo>
                <a:cubicBezTo>
                  <a:pt x="638615" y="209623"/>
                  <a:pt x="638615" y="209623"/>
                  <a:pt x="643708" y="212009"/>
                </a:cubicBezTo>
                <a:cubicBezTo>
                  <a:pt x="645380" y="214563"/>
                  <a:pt x="645380" y="214563"/>
                  <a:pt x="647027" y="217645"/>
                </a:cubicBezTo>
                <a:cubicBezTo>
                  <a:pt x="652549" y="227016"/>
                  <a:pt x="660443" y="235696"/>
                  <a:pt x="670264" y="241603"/>
                </a:cubicBezTo>
                <a:cubicBezTo>
                  <a:pt x="670264" y="242532"/>
                  <a:pt x="670264" y="243462"/>
                  <a:pt x="670264" y="244421"/>
                </a:cubicBezTo>
                <a:cubicBezTo>
                  <a:pt x="672036" y="244857"/>
                  <a:pt x="673808" y="245293"/>
                  <a:pt x="675634" y="245742"/>
                </a:cubicBezTo>
                <a:cubicBezTo>
                  <a:pt x="681199" y="247239"/>
                  <a:pt x="681199" y="247239"/>
                  <a:pt x="682761" y="248649"/>
                </a:cubicBezTo>
                <a:cubicBezTo>
                  <a:pt x="704487" y="252065"/>
                  <a:pt x="732606" y="256402"/>
                  <a:pt x="752092" y="245076"/>
                </a:cubicBezTo>
                <a:cubicBezTo>
                  <a:pt x="754252" y="243599"/>
                  <a:pt x="756372" y="242073"/>
                  <a:pt x="758433" y="240485"/>
                </a:cubicBezTo>
                <a:cubicBezTo>
                  <a:pt x="760867" y="238784"/>
                  <a:pt x="760867" y="238784"/>
                  <a:pt x="763991" y="238784"/>
                </a:cubicBezTo>
                <a:cubicBezTo>
                  <a:pt x="764647" y="237296"/>
                  <a:pt x="764647" y="237296"/>
                  <a:pt x="765315" y="235778"/>
                </a:cubicBezTo>
                <a:cubicBezTo>
                  <a:pt x="767151" y="231659"/>
                  <a:pt x="769030" y="227557"/>
                  <a:pt x="770923" y="223459"/>
                </a:cubicBezTo>
                <a:cubicBezTo>
                  <a:pt x="771608" y="221966"/>
                  <a:pt x="772292" y="220472"/>
                  <a:pt x="772998" y="218934"/>
                </a:cubicBezTo>
                <a:cubicBezTo>
                  <a:pt x="774429" y="215885"/>
                  <a:pt x="775968" y="212878"/>
                  <a:pt x="777562" y="209895"/>
                </a:cubicBezTo>
                <a:cubicBezTo>
                  <a:pt x="787607" y="185732"/>
                  <a:pt x="788559" y="149501"/>
                  <a:pt x="781175" y="124637"/>
                </a:cubicBezTo>
                <a:cubicBezTo>
                  <a:pt x="780144" y="124637"/>
                  <a:pt x="779113" y="124637"/>
                  <a:pt x="778051" y="124637"/>
                </a:cubicBezTo>
                <a:cubicBezTo>
                  <a:pt x="768501" y="110080"/>
                  <a:pt x="762898" y="96653"/>
                  <a:pt x="767116" y="79542"/>
                </a:cubicBezTo>
                <a:cubicBezTo>
                  <a:pt x="772286" y="69057"/>
                  <a:pt x="781456" y="58252"/>
                  <a:pt x="793379" y="54000"/>
                </a:cubicBezTo>
                <a:cubicBezTo>
                  <a:pt x="808369" y="49250"/>
                  <a:pt x="826058" y="49579"/>
                  <a:pt x="840688" y="55503"/>
                </a:cubicBezTo>
                <a:cubicBezTo>
                  <a:pt x="845183" y="57759"/>
                  <a:pt x="848037" y="60575"/>
                  <a:pt x="851470" y="64040"/>
                </a:cubicBezTo>
                <a:cubicBezTo>
                  <a:pt x="852721" y="65272"/>
                  <a:pt x="852721" y="65272"/>
                  <a:pt x="853997" y="66529"/>
                </a:cubicBezTo>
                <a:cubicBezTo>
                  <a:pt x="858396" y="71505"/>
                  <a:pt x="860490" y="76640"/>
                  <a:pt x="861488" y="82057"/>
                </a:cubicBezTo>
                <a:lnTo>
                  <a:pt x="861937" y="90492"/>
                </a:lnTo>
                <a:lnTo>
                  <a:pt x="863826" y="100715"/>
                </a:lnTo>
                <a:cubicBezTo>
                  <a:pt x="862141" y="107853"/>
                  <a:pt x="859866" y="114857"/>
                  <a:pt x="857577" y="121853"/>
                </a:cubicBezTo>
                <a:cubicBezTo>
                  <a:pt x="857062" y="121853"/>
                  <a:pt x="856547" y="121853"/>
                  <a:pt x="856015" y="121853"/>
                </a:cubicBezTo>
                <a:cubicBezTo>
                  <a:pt x="855731" y="120401"/>
                  <a:pt x="855731" y="120401"/>
                  <a:pt x="855442" y="118919"/>
                </a:cubicBezTo>
                <a:lnTo>
                  <a:pt x="855417" y="118798"/>
                </a:lnTo>
                <a:lnTo>
                  <a:pt x="856157" y="124637"/>
                </a:lnTo>
                <a:lnTo>
                  <a:pt x="850623" y="134701"/>
                </a:lnTo>
                <a:lnTo>
                  <a:pt x="851325" y="135968"/>
                </a:lnTo>
                <a:cubicBezTo>
                  <a:pt x="850851" y="137246"/>
                  <a:pt x="850376" y="138525"/>
                  <a:pt x="849886" y="139843"/>
                </a:cubicBezTo>
                <a:cubicBezTo>
                  <a:pt x="848171" y="144505"/>
                  <a:pt x="847798" y="148002"/>
                  <a:pt x="847786" y="152889"/>
                </a:cubicBezTo>
                <a:cubicBezTo>
                  <a:pt x="847779" y="154500"/>
                  <a:pt x="847773" y="156109"/>
                  <a:pt x="847767" y="157768"/>
                </a:cubicBezTo>
                <a:cubicBezTo>
                  <a:pt x="847782" y="159468"/>
                  <a:pt x="847796" y="161167"/>
                  <a:pt x="847810" y="162919"/>
                </a:cubicBezTo>
                <a:cubicBezTo>
                  <a:pt x="847821" y="165546"/>
                  <a:pt x="847821" y="165546"/>
                  <a:pt x="847832" y="168227"/>
                </a:cubicBezTo>
                <a:cubicBezTo>
                  <a:pt x="847980" y="181934"/>
                  <a:pt x="849003" y="195419"/>
                  <a:pt x="850903" y="209013"/>
                </a:cubicBezTo>
                <a:lnTo>
                  <a:pt x="852880" y="224692"/>
                </a:lnTo>
                <a:lnTo>
                  <a:pt x="854595" y="224692"/>
                </a:lnTo>
                <a:cubicBezTo>
                  <a:pt x="855086" y="225542"/>
                  <a:pt x="855577" y="226392"/>
                  <a:pt x="856083" y="227268"/>
                </a:cubicBezTo>
                <a:cubicBezTo>
                  <a:pt x="862358" y="237839"/>
                  <a:pt x="866924" y="242785"/>
                  <a:pt x="879588" y="247239"/>
                </a:cubicBezTo>
                <a:cubicBezTo>
                  <a:pt x="881642" y="248025"/>
                  <a:pt x="883692" y="248817"/>
                  <a:pt x="885739" y="249618"/>
                </a:cubicBezTo>
                <a:cubicBezTo>
                  <a:pt x="887318" y="250227"/>
                  <a:pt x="888897" y="250838"/>
                  <a:pt x="890523" y="251467"/>
                </a:cubicBezTo>
                <a:cubicBezTo>
                  <a:pt x="890523" y="252397"/>
                  <a:pt x="890523" y="253327"/>
                  <a:pt x="890523" y="254285"/>
                </a:cubicBezTo>
                <a:cubicBezTo>
                  <a:pt x="900347" y="257061"/>
                  <a:pt x="910127" y="259425"/>
                  <a:pt x="920203" y="261332"/>
                </a:cubicBezTo>
                <a:cubicBezTo>
                  <a:pt x="920203" y="261796"/>
                  <a:pt x="920203" y="262262"/>
                  <a:pt x="920203" y="262741"/>
                </a:cubicBezTo>
                <a:cubicBezTo>
                  <a:pt x="917111" y="262741"/>
                  <a:pt x="914018" y="262741"/>
                  <a:pt x="910831" y="262741"/>
                </a:cubicBezTo>
                <a:lnTo>
                  <a:pt x="910831" y="262864"/>
                </a:lnTo>
                <a:lnTo>
                  <a:pt x="927993" y="264177"/>
                </a:lnTo>
                <a:lnTo>
                  <a:pt x="939273" y="265285"/>
                </a:lnTo>
                <a:lnTo>
                  <a:pt x="940456" y="265191"/>
                </a:lnTo>
                <a:cubicBezTo>
                  <a:pt x="962552" y="263054"/>
                  <a:pt x="974979" y="255295"/>
                  <a:pt x="991622" y="242329"/>
                </a:cubicBezTo>
                <a:lnTo>
                  <a:pt x="1000803" y="236505"/>
                </a:lnTo>
                <a:lnTo>
                  <a:pt x="999806" y="236055"/>
                </a:lnTo>
                <a:cubicBezTo>
                  <a:pt x="1000902" y="234997"/>
                  <a:pt x="1001997" y="233941"/>
                  <a:pt x="1003126" y="232851"/>
                </a:cubicBezTo>
                <a:cubicBezTo>
                  <a:pt x="1012364" y="223880"/>
                  <a:pt x="1021184" y="214752"/>
                  <a:pt x="1029487" y="205052"/>
                </a:cubicBezTo>
                <a:lnTo>
                  <a:pt x="1029872" y="206442"/>
                </a:lnTo>
                <a:lnTo>
                  <a:pt x="1031614" y="203719"/>
                </a:lnTo>
                <a:cubicBezTo>
                  <a:pt x="1033221" y="199204"/>
                  <a:pt x="1035713" y="196017"/>
                  <a:pt x="1038924" y="192280"/>
                </a:cubicBezTo>
                <a:cubicBezTo>
                  <a:pt x="1039956" y="191815"/>
                  <a:pt x="1040987" y="191349"/>
                  <a:pt x="1042049" y="190870"/>
                </a:cubicBezTo>
                <a:cubicBezTo>
                  <a:pt x="1043161" y="188473"/>
                  <a:pt x="1043161" y="188473"/>
                  <a:pt x="1044294" y="186026"/>
                </a:cubicBezTo>
                <a:cubicBezTo>
                  <a:pt x="1046735" y="181006"/>
                  <a:pt x="1046735" y="181006"/>
                  <a:pt x="1051422" y="178188"/>
                </a:cubicBezTo>
                <a:cubicBezTo>
                  <a:pt x="1052553" y="175286"/>
                  <a:pt x="1052553" y="175286"/>
                  <a:pt x="1052984" y="172551"/>
                </a:cubicBezTo>
                <a:cubicBezTo>
                  <a:pt x="1054014" y="172551"/>
                  <a:pt x="1055046" y="172551"/>
                  <a:pt x="1056108" y="172551"/>
                </a:cubicBezTo>
                <a:cubicBezTo>
                  <a:pt x="1057139" y="169295"/>
                  <a:pt x="1058170" y="166040"/>
                  <a:pt x="1059232" y="162686"/>
                </a:cubicBezTo>
                <a:cubicBezTo>
                  <a:pt x="1060263" y="162686"/>
                  <a:pt x="1061295" y="162686"/>
                  <a:pt x="1062357" y="162686"/>
                </a:cubicBezTo>
                <a:cubicBezTo>
                  <a:pt x="1062755" y="161484"/>
                  <a:pt x="1062755" y="161484"/>
                  <a:pt x="1063162" y="160258"/>
                </a:cubicBezTo>
                <a:cubicBezTo>
                  <a:pt x="1065716" y="152917"/>
                  <a:pt x="1068813" y="146686"/>
                  <a:pt x="1073292" y="140138"/>
                </a:cubicBezTo>
                <a:cubicBezTo>
                  <a:pt x="1074322" y="140138"/>
                  <a:pt x="1075353" y="140138"/>
                  <a:pt x="1076415" y="140138"/>
                </a:cubicBezTo>
                <a:cubicBezTo>
                  <a:pt x="1079808" y="132748"/>
                  <a:pt x="1082509" y="125160"/>
                  <a:pt x="1085294" y="117569"/>
                </a:cubicBezTo>
                <a:cubicBezTo>
                  <a:pt x="1085972" y="116181"/>
                  <a:pt x="1086651" y="114793"/>
                  <a:pt x="1087350" y="113363"/>
                </a:cubicBezTo>
                <a:cubicBezTo>
                  <a:pt x="1089671" y="112666"/>
                  <a:pt x="1089671" y="112666"/>
                  <a:pt x="1092037" y="111954"/>
                </a:cubicBezTo>
                <a:cubicBezTo>
                  <a:pt x="1092230" y="110879"/>
                  <a:pt x="1092423" y="109803"/>
                  <a:pt x="1092623" y="108695"/>
                </a:cubicBezTo>
                <a:cubicBezTo>
                  <a:pt x="1093599" y="104908"/>
                  <a:pt x="1093599" y="104908"/>
                  <a:pt x="1096723" y="100680"/>
                </a:cubicBezTo>
                <a:cubicBezTo>
                  <a:pt x="1097207" y="99140"/>
                  <a:pt x="1097689" y="97599"/>
                  <a:pt x="1098188" y="96013"/>
                </a:cubicBezTo>
                <a:cubicBezTo>
                  <a:pt x="1099847" y="90815"/>
                  <a:pt x="1099847" y="90815"/>
                  <a:pt x="1102288" y="87029"/>
                </a:cubicBezTo>
                <a:cubicBezTo>
                  <a:pt x="1106061" y="79186"/>
                  <a:pt x="1107564" y="69424"/>
                  <a:pt x="1104534" y="61222"/>
                </a:cubicBezTo>
                <a:cubicBezTo>
                  <a:pt x="1104409" y="59341"/>
                  <a:pt x="1104366" y="57454"/>
                  <a:pt x="1104381" y="55569"/>
                </a:cubicBezTo>
                <a:cubicBezTo>
                  <a:pt x="1104386" y="54501"/>
                  <a:pt x="1104391" y="53434"/>
                  <a:pt x="1104397" y="52335"/>
                </a:cubicBezTo>
                <a:cubicBezTo>
                  <a:pt x="1104410" y="51228"/>
                  <a:pt x="1104423" y="50120"/>
                  <a:pt x="1104436" y="48979"/>
                </a:cubicBezTo>
                <a:cubicBezTo>
                  <a:pt x="1104443" y="47856"/>
                  <a:pt x="1104451" y="46733"/>
                  <a:pt x="1104457" y="45575"/>
                </a:cubicBezTo>
                <a:cubicBezTo>
                  <a:pt x="1104476" y="42805"/>
                  <a:pt x="1104504" y="40035"/>
                  <a:pt x="1104534" y="37265"/>
                </a:cubicBezTo>
                <a:cubicBezTo>
                  <a:pt x="1105565" y="37265"/>
                  <a:pt x="1106596" y="37265"/>
                  <a:pt x="1107658" y="37265"/>
                </a:cubicBezTo>
                <a:cubicBezTo>
                  <a:pt x="1107561" y="34562"/>
                  <a:pt x="1107561" y="34562"/>
                  <a:pt x="1107463" y="31805"/>
                </a:cubicBezTo>
                <a:cubicBezTo>
                  <a:pt x="1107353" y="28733"/>
                  <a:pt x="1107353" y="28733"/>
                  <a:pt x="1107658" y="25991"/>
                </a:cubicBezTo>
                <a:cubicBezTo>
                  <a:pt x="1108689" y="25062"/>
                  <a:pt x="1109720" y="24131"/>
                  <a:pt x="1110782" y="23173"/>
                </a:cubicBezTo>
                <a:cubicBezTo>
                  <a:pt x="1111104" y="22156"/>
                  <a:pt x="1111427" y="21138"/>
                  <a:pt x="1111759" y="20091"/>
                </a:cubicBezTo>
                <a:cubicBezTo>
                  <a:pt x="1116393" y="11539"/>
                  <a:pt x="1124927" y="6390"/>
                  <a:pt x="1134507" y="2828"/>
                </a:cubicBezTo>
                <a:cubicBezTo>
                  <a:pt x="1141389" y="825"/>
                  <a:pt x="1148262" y="-204"/>
                  <a:pt x="1155019" y="35"/>
                </a:cubicBezTo>
                <a:close/>
              </a:path>
            </a:pathLst>
          </a:custGeom>
          <a:solidFill>
            <a:srgbClr val="255061"/>
          </a:solidFill>
          <a:ln w="2232" cap="flat">
            <a:noFill/>
            <a:prstDash val="solid"/>
            <a:miter/>
          </a:ln>
          <a:effectLst>
            <a:innerShdw blurRad="63500" dist="177800" dir="8100000">
              <a:schemeClr val="accent3">
                <a:lumMod val="75000"/>
                <a:alpha val="50000"/>
              </a:schemeClr>
            </a:innerShdw>
          </a:effectLst>
        </p:spPr>
        <p:txBody>
          <a:bodyPr wrap="square">
            <a:noAutofit/>
          </a:bodyPr>
          <a:lstStyle/>
          <a:p>
            <a:endParaRPr lang="en-GB" dirty="0"/>
          </a:p>
        </p:txBody>
      </p:sp>
      <p:sp>
        <p:nvSpPr>
          <p:cNvPr id="7395" name="Free-form: Shape 7394">
            <a:extLst>
              <a:ext uri="{FF2B5EF4-FFF2-40B4-BE49-F238E27FC236}">
                <a16:creationId xmlns:a16="http://schemas.microsoft.com/office/drawing/2014/main" id="{0D500128-4A3D-5455-CE23-C0782F6B5A45}"/>
              </a:ext>
            </a:extLst>
          </p:cNvPr>
          <p:cNvSpPr/>
          <p:nvPr/>
        </p:nvSpPr>
        <p:spPr>
          <a:xfrm>
            <a:off x="6611754" y="4801657"/>
            <a:ext cx="1479702" cy="1414533"/>
          </a:xfrm>
          <a:custGeom>
            <a:avLst/>
            <a:gdLst>
              <a:gd name="csX0" fmla="*/ 401579 w 1609516"/>
              <a:gd name="csY0" fmla="*/ 1495809 h 1538630"/>
              <a:gd name="csX1" fmla="*/ 400190 w 1609516"/>
              <a:gd name="csY1" fmla="*/ 1496004 h 1538630"/>
              <a:gd name="csX2" fmla="*/ 401224 w 1609516"/>
              <a:gd name="csY2" fmla="*/ 1496470 h 1538630"/>
              <a:gd name="csX3" fmla="*/ 401224 w 1609516"/>
              <a:gd name="csY3" fmla="*/ 1498590 h 1538630"/>
              <a:gd name="csX4" fmla="*/ 401579 w 1609516"/>
              <a:gd name="csY4" fmla="*/ 1498628 h 1538630"/>
              <a:gd name="csX5" fmla="*/ 401579 w 1609516"/>
              <a:gd name="csY5" fmla="*/ 1495809 h 1538630"/>
              <a:gd name="csX6" fmla="*/ 368755 w 1609516"/>
              <a:gd name="csY6" fmla="*/ 1486512 h 1538630"/>
              <a:gd name="csX7" fmla="*/ 364089 w 1609516"/>
              <a:gd name="csY7" fmla="*/ 1487354 h 1538630"/>
              <a:gd name="csX8" fmla="*/ 364089 w 1609516"/>
              <a:gd name="csY8" fmla="*/ 1487908 h 1538630"/>
              <a:gd name="csX9" fmla="*/ 1049801 w 1609516"/>
              <a:gd name="csY9" fmla="*/ 1484562 h 1538630"/>
              <a:gd name="csX10" fmla="*/ 1046735 w 1609516"/>
              <a:gd name="csY10" fmla="*/ 1485945 h 1538630"/>
              <a:gd name="csX11" fmla="*/ 1046955 w 1609516"/>
              <a:gd name="csY11" fmla="*/ 1486045 h 1538630"/>
              <a:gd name="csX12" fmla="*/ 1049801 w 1609516"/>
              <a:gd name="csY12" fmla="*/ 1485188 h 1538630"/>
              <a:gd name="csX13" fmla="*/ 351234 w 1609516"/>
              <a:gd name="csY13" fmla="*/ 1444508 h 1538630"/>
              <a:gd name="csX14" fmla="*/ 351234 w 1609516"/>
              <a:gd name="csY14" fmla="*/ 1444997 h 1538630"/>
              <a:gd name="csX15" fmla="*/ 351592 w 1609516"/>
              <a:gd name="csY15" fmla="*/ 1445078 h 1538630"/>
              <a:gd name="csX16" fmla="*/ 351908 w 1609516"/>
              <a:gd name="csY16" fmla="*/ 1431206 h 1538630"/>
              <a:gd name="csX17" fmla="*/ 351234 w 1609516"/>
              <a:gd name="csY17" fmla="*/ 1431611 h 1538630"/>
              <a:gd name="csX18" fmla="*/ 351234 w 1609516"/>
              <a:gd name="csY18" fmla="*/ 1432274 h 1538630"/>
              <a:gd name="csX19" fmla="*/ 358162 w 1609516"/>
              <a:gd name="csY19" fmla="*/ 1421494 h 1538630"/>
              <a:gd name="csX20" fmla="*/ 355921 w 1609516"/>
              <a:gd name="csY20" fmla="*/ 1423156 h 1538630"/>
              <a:gd name="csX21" fmla="*/ 355921 w 1609516"/>
              <a:gd name="csY21" fmla="*/ 1423548 h 1538630"/>
              <a:gd name="csX22" fmla="*/ 376098 w 1609516"/>
              <a:gd name="csY22" fmla="*/ 1408347 h 1538630"/>
              <a:gd name="csX23" fmla="*/ 370750 w 1609516"/>
              <a:gd name="csY23" fmla="*/ 1412245 h 1538630"/>
              <a:gd name="csX24" fmla="*/ 375023 w 1609516"/>
              <a:gd name="csY24" fmla="*/ 1411256 h 1538630"/>
              <a:gd name="csX25" fmla="*/ 421956 w 1609516"/>
              <a:gd name="csY25" fmla="*/ 1365623 h 1538630"/>
              <a:gd name="csX26" fmla="*/ 421765 w 1609516"/>
              <a:gd name="csY26" fmla="*/ 1366161 h 1538630"/>
              <a:gd name="csX27" fmla="*/ 421887 w 1609516"/>
              <a:gd name="csY27" fmla="*/ 1366161 h 1538630"/>
              <a:gd name="csX28" fmla="*/ 754553 w 1609516"/>
              <a:gd name="csY28" fmla="*/ 1360575 h 1538630"/>
              <a:gd name="csX29" fmla="*/ 754089 w 1609516"/>
              <a:gd name="csY29" fmla="*/ 1361433 h 1538630"/>
              <a:gd name="csX30" fmla="*/ 754431 w 1609516"/>
              <a:gd name="csY30" fmla="*/ 1361125 h 1538630"/>
              <a:gd name="csX31" fmla="*/ 1277973 w 1609516"/>
              <a:gd name="csY31" fmla="*/ 1332923 h 1538630"/>
              <a:gd name="csX32" fmla="*/ 1277944 w 1609516"/>
              <a:gd name="csY32" fmla="*/ 1332936 h 1538630"/>
              <a:gd name="csX33" fmla="*/ 1277949 w 1609516"/>
              <a:gd name="csY33" fmla="*/ 1333139 h 1538630"/>
              <a:gd name="csX34" fmla="*/ 1268556 w 1609516"/>
              <a:gd name="csY34" fmla="*/ 1321066 h 1538630"/>
              <a:gd name="csX35" fmla="*/ 1268556 w 1609516"/>
              <a:gd name="csY35" fmla="*/ 1325294 h 1538630"/>
              <a:gd name="csX36" fmla="*/ 1265432 w 1609516"/>
              <a:gd name="csY36" fmla="*/ 1325294 h 1538630"/>
              <a:gd name="csX37" fmla="*/ 1265432 w 1609516"/>
              <a:gd name="csY37" fmla="*/ 1340795 h 1538630"/>
              <a:gd name="csX38" fmla="*/ 1265476 w 1609516"/>
              <a:gd name="csY38" fmla="*/ 1340714 h 1538630"/>
              <a:gd name="csX39" fmla="*/ 1265476 w 1609516"/>
              <a:gd name="csY39" fmla="*/ 1325877 h 1538630"/>
              <a:gd name="csX40" fmla="*/ 1268600 w 1609516"/>
              <a:gd name="csY40" fmla="*/ 1325877 h 1538630"/>
              <a:gd name="csX41" fmla="*/ 1268600 w 1609516"/>
              <a:gd name="csY41" fmla="*/ 1321649 h 1538630"/>
              <a:gd name="csX42" fmla="*/ 1273286 w 1609516"/>
              <a:gd name="csY42" fmla="*/ 1321649 h 1538630"/>
              <a:gd name="csX43" fmla="*/ 1273227 w 1609516"/>
              <a:gd name="csY43" fmla="*/ 1321066 h 1538630"/>
              <a:gd name="csX44" fmla="*/ 827891 w 1609516"/>
              <a:gd name="csY44" fmla="*/ 1291474 h 1538630"/>
              <a:gd name="csX45" fmla="*/ 822601 w 1609516"/>
              <a:gd name="csY45" fmla="*/ 1291544 h 1538630"/>
              <a:gd name="csX46" fmla="*/ 818272 w 1609516"/>
              <a:gd name="csY46" fmla="*/ 1292220 h 1538630"/>
              <a:gd name="csX47" fmla="*/ 827891 w 1609516"/>
              <a:gd name="csY47" fmla="*/ 1292047 h 1538630"/>
              <a:gd name="csX48" fmla="*/ 856397 w 1609516"/>
              <a:gd name="csY48" fmla="*/ 1288691 h 1538630"/>
              <a:gd name="csX49" fmla="*/ 865903 w 1609516"/>
              <a:gd name="csY49" fmla="*/ 1290590 h 1538630"/>
              <a:gd name="csX50" fmla="*/ 859999 w 1609516"/>
              <a:gd name="csY50" fmla="*/ 1288752 h 1538630"/>
              <a:gd name="csX51" fmla="*/ 834694 w 1609516"/>
              <a:gd name="csY51" fmla="*/ 1288572 h 1538630"/>
              <a:gd name="csX52" fmla="*/ 828038 w 1609516"/>
              <a:gd name="csY52" fmla="*/ 1288654 h 1538630"/>
              <a:gd name="csX53" fmla="*/ 828038 w 1609516"/>
              <a:gd name="csY53" fmla="*/ 1289214 h 1538630"/>
              <a:gd name="csX54" fmla="*/ 229746 w 1609516"/>
              <a:gd name="csY54" fmla="*/ 1191418 h 1538630"/>
              <a:gd name="csX55" fmla="*/ 227402 w 1609516"/>
              <a:gd name="csY55" fmla="*/ 1191947 h 1538630"/>
              <a:gd name="csX56" fmla="*/ 229315 w 1609516"/>
              <a:gd name="csY56" fmla="*/ 1191947 h 1538630"/>
              <a:gd name="csX57" fmla="*/ 229315 w 1609516"/>
              <a:gd name="csY57" fmla="*/ 1194765 h 1538630"/>
              <a:gd name="csX58" fmla="*/ 231321 w 1609516"/>
              <a:gd name="csY58" fmla="*/ 1194765 h 1538630"/>
              <a:gd name="csX59" fmla="*/ 229746 w 1609516"/>
              <a:gd name="csY59" fmla="*/ 1194236 h 1538630"/>
              <a:gd name="csX60" fmla="*/ 229746 w 1609516"/>
              <a:gd name="csY60" fmla="*/ 1191418 h 1538630"/>
              <a:gd name="csX61" fmla="*/ 215687 w 1609516"/>
              <a:gd name="csY61" fmla="*/ 1187190 h 1538630"/>
              <a:gd name="csX62" fmla="*/ 215198 w 1609516"/>
              <a:gd name="csY62" fmla="*/ 1187720 h 1538630"/>
              <a:gd name="csX63" fmla="*/ 215256 w 1609516"/>
              <a:gd name="csY63" fmla="*/ 1187720 h 1538630"/>
              <a:gd name="csX64" fmla="*/ 215256 w 1609516"/>
              <a:gd name="csY64" fmla="*/ 1191947 h 1538630"/>
              <a:gd name="csX65" fmla="*/ 222721 w 1609516"/>
              <a:gd name="csY65" fmla="*/ 1191947 h 1538630"/>
              <a:gd name="csX66" fmla="*/ 215687 w 1609516"/>
              <a:gd name="csY66" fmla="*/ 1191418 h 1538630"/>
              <a:gd name="csX67" fmla="*/ 215687 w 1609516"/>
              <a:gd name="csY67" fmla="*/ 1187190 h 1538630"/>
              <a:gd name="csX68" fmla="*/ 1279678 w 1609516"/>
              <a:gd name="csY68" fmla="*/ 1082356 h 1538630"/>
              <a:gd name="csX69" fmla="*/ 1271680 w 1609516"/>
              <a:gd name="csY69" fmla="*/ 1084589 h 1538630"/>
              <a:gd name="csX70" fmla="*/ 1282181 w 1609516"/>
              <a:gd name="csY70" fmla="*/ 1082544 h 1538630"/>
              <a:gd name="csX71" fmla="*/ 117703 w 1609516"/>
              <a:gd name="csY71" fmla="*/ 941507 h 1538630"/>
              <a:gd name="csX72" fmla="*/ 112587 w 1609516"/>
              <a:gd name="csY72" fmla="*/ 941985 h 1538630"/>
              <a:gd name="csX73" fmla="*/ 112565 w 1609516"/>
              <a:gd name="csY73" fmla="*/ 942333 h 1538630"/>
              <a:gd name="csX74" fmla="*/ 115665 w 1609516"/>
              <a:gd name="csY74" fmla="*/ 941837 h 1538630"/>
              <a:gd name="csX75" fmla="*/ 144268 w 1609516"/>
              <a:gd name="csY75" fmla="*/ 939395 h 1538630"/>
              <a:gd name="csX76" fmla="*/ 143354 w 1609516"/>
              <a:gd name="csY76" fmla="*/ 939580 h 1538630"/>
              <a:gd name="csX77" fmla="*/ 144077 w 1609516"/>
              <a:gd name="csY77" fmla="*/ 939739 h 1538630"/>
              <a:gd name="csX78" fmla="*/ 162575 w 1609516"/>
              <a:gd name="csY78" fmla="*/ 933530 h 1538630"/>
              <a:gd name="csX79" fmla="*/ 161704 w 1609516"/>
              <a:gd name="csY79" fmla="*/ 935101 h 1538630"/>
              <a:gd name="csX80" fmla="*/ 170045 w 1609516"/>
              <a:gd name="csY80" fmla="*/ 933585 h 1538630"/>
              <a:gd name="csX81" fmla="*/ 1321645 w 1609516"/>
              <a:gd name="csY81" fmla="*/ 918415 h 1538630"/>
              <a:gd name="csX82" fmla="*/ 1321534 w 1609516"/>
              <a:gd name="csY82" fmla="*/ 920177 h 1538630"/>
              <a:gd name="csX83" fmla="*/ 1321740 w 1609516"/>
              <a:gd name="csY83" fmla="*/ 918415 h 1538630"/>
              <a:gd name="csX84" fmla="*/ 1319333 w 1609516"/>
              <a:gd name="csY84" fmla="*/ 915183 h 1538630"/>
              <a:gd name="csX85" fmla="*/ 1318544 w 1609516"/>
              <a:gd name="csY85" fmla="*/ 918029 h 1538630"/>
              <a:gd name="csX86" fmla="*/ 1318702 w 1609516"/>
              <a:gd name="csY86" fmla="*/ 918029 h 1538630"/>
              <a:gd name="csX87" fmla="*/ 1326355 w 1609516"/>
              <a:gd name="csY87" fmla="*/ 907109 h 1538630"/>
              <a:gd name="csX88" fmla="*/ 1326355 w 1609516"/>
              <a:gd name="csY88" fmla="*/ 910983 h 1538630"/>
              <a:gd name="csX89" fmla="*/ 1325831 w 1609516"/>
              <a:gd name="csY89" fmla="*/ 911101 h 1538630"/>
              <a:gd name="csX90" fmla="*/ 1326426 w 1609516"/>
              <a:gd name="csY90" fmla="*/ 911369 h 1538630"/>
              <a:gd name="csX91" fmla="*/ 1326426 w 1609516"/>
              <a:gd name="csY91" fmla="*/ 907141 h 1538630"/>
              <a:gd name="csX92" fmla="*/ 1328144 w 1609516"/>
              <a:gd name="csY92" fmla="*/ 892192 h 1538630"/>
              <a:gd name="csX93" fmla="*/ 1327667 w 1609516"/>
              <a:gd name="csY93" fmla="*/ 893446 h 1538630"/>
              <a:gd name="csX94" fmla="*/ 1327989 w 1609516"/>
              <a:gd name="csY94" fmla="*/ 893049 h 1538630"/>
              <a:gd name="csX95" fmla="*/ 49605 w 1609516"/>
              <a:gd name="csY95" fmla="*/ 887420 h 1538630"/>
              <a:gd name="csX96" fmla="*/ 48549 w 1609516"/>
              <a:gd name="csY96" fmla="*/ 891229 h 1538630"/>
              <a:gd name="csX97" fmla="*/ 49956 w 1609516"/>
              <a:gd name="csY97" fmla="*/ 887420 h 1538630"/>
              <a:gd name="csX98" fmla="*/ 1332266 w 1609516"/>
              <a:gd name="csY98" fmla="*/ 883369 h 1538630"/>
              <a:gd name="csX99" fmla="*/ 1329479 w 1609516"/>
              <a:gd name="csY99" fmla="*/ 884207 h 1538630"/>
              <a:gd name="csX100" fmla="*/ 1329509 w 1609516"/>
              <a:gd name="csY100" fmla="*/ 884816 h 1538630"/>
              <a:gd name="csX101" fmla="*/ 1329551 w 1609516"/>
              <a:gd name="csY101" fmla="*/ 884594 h 1538630"/>
              <a:gd name="csX102" fmla="*/ 1555987 w 1609516"/>
              <a:gd name="csY102" fmla="*/ 821766 h 1538630"/>
              <a:gd name="csX103" fmla="*/ 1555987 w 1609516"/>
              <a:gd name="csY103" fmla="*/ 822201 h 1538630"/>
              <a:gd name="csX104" fmla="*/ 1556081 w 1609516"/>
              <a:gd name="csY104" fmla="*/ 822189 h 1538630"/>
              <a:gd name="csX105" fmla="*/ 1565360 w 1609516"/>
              <a:gd name="csY105" fmla="*/ 810928 h 1538630"/>
              <a:gd name="csX106" fmla="*/ 1564871 w 1609516"/>
              <a:gd name="csY106" fmla="*/ 811809 h 1538630"/>
              <a:gd name="csX107" fmla="*/ 1567314 w 1609516"/>
              <a:gd name="csY107" fmla="*/ 810928 h 1538630"/>
              <a:gd name="csX108" fmla="*/ 1563797 w 1609516"/>
              <a:gd name="csY108" fmla="*/ 810928 h 1538630"/>
              <a:gd name="csX109" fmla="*/ 1556762 w 1609516"/>
              <a:gd name="csY109" fmla="*/ 814736 h 1538630"/>
              <a:gd name="csX110" fmla="*/ 1563797 w 1609516"/>
              <a:gd name="csY110" fmla="*/ 812197 h 1538630"/>
              <a:gd name="csX111" fmla="*/ 265833 w 1609516"/>
              <a:gd name="csY111" fmla="*/ 806020 h 1538630"/>
              <a:gd name="csX112" fmla="*/ 263704 w 1609516"/>
              <a:gd name="csY112" fmla="*/ 809861 h 1538630"/>
              <a:gd name="csX113" fmla="*/ 263704 w 1609516"/>
              <a:gd name="csY113" fmla="*/ 816750 h 1538630"/>
              <a:gd name="csX114" fmla="*/ 264113 w 1609516"/>
              <a:gd name="csY114" fmla="*/ 816565 h 1538630"/>
              <a:gd name="csX115" fmla="*/ 263918 w 1609516"/>
              <a:gd name="csY115" fmla="*/ 812777 h 1538630"/>
              <a:gd name="csX116" fmla="*/ 263774 w 1609516"/>
              <a:gd name="csY116" fmla="*/ 779374 h 1538630"/>
              <a:gd name="csX117" fmla="*/ 263704 w 1609516"/>
              <a:gd name="csY117" fmla="*/ 783086 h 1538630"/>
              <a:gd name="csX118" fmla="*/ 264484 w 1609516"/>
              <a:gd name="csY118" fmla="*/ 785816 h 1538630"/>
              <a:gd name="csX119" fmla="*/ 265265 w 1609516"/>
              <a:gd name="csY119" fmla="*/ 794448 h 1538630"/>
              <a:gd name="csX120" fmla="*/ 265217 w 1609516"/>
              <a:gd name="csY120" fmla="*/ 799730 h 1538630"/>
              <a:gd name="csX121" fmla="*/ 266556 w 1609516"/>
              <a:gd name="csY121" fmla="*/ 803466 h 1538630"/>
              <a:gd name="csX122" fmla="*/ 267237 w 1609516"/>
              <a:gd name="csY122" fmla="*/ 801063 h 1538630"/>
              <a:gd name="csX123" fmla="*/ 265675 w 1609516"/>
              <a:gd name="csY123" fmla="*/ 799654 h 1538630"/>
              <a:gd name="csX124" fmla="*/ 265675 w 1609516"/>
              <a:gd name="csY124" fmla="*/ 793841 h 1538630"/>
              <a:gd name="csX125" fmla="*/ 260988 w 1609516"/>
              <a:gd name="csY125" fmla="*/ 770061 h 1538630"/>
              <a:gd name="csX126" fmla="*/ 260988 w 1609516"/>
              <a:gd name="csY126" fmla="*/ 771364 h 1538630"/>
              <a:gd name="csX127" fmla="*/ 263497 w 1609516"/>
              <a:gd name="csY127" fmla="*/ 777263 h 1538630"/>
              <a:gd name="csX128" fmla="*/ 262551 w 1609516"/>
              <a:gd name="csY128" fmla="*/ 770061 h 1538630"/>
              <a:gd name="csX129" fmla="*/ 260988 w 1609516"/>
              <a:gd name="csY129" fmla="*/ 770061 h 1538630"/>
              <a:gd name="csX130" fmla="*/ 157888 w 1609516"/>
              <a:gd name="csY130" fmla="*/ 651686 h 1538630"/>
              <a:gd name="csX131" fmla="*/ 157415 w 1609516"/>
              <a:gd name="csY131" fmla="*/ 651764 h 1538630"/>
              <a:gd name="csX132" fmla="*/ 160373 w 1609516"/>
              <a:gd name="csY132" fmla="*/ 652274 h 1538630"/>
              <a:gd name="csX133" fmla="*/ 267237 w 1609516"/>
              <a:gd name="csY133" fmla="*/ 426537 h 1538630"/>
              <a:gd name="csX134" fmla="*/ 267237 w 1609516"/>
              <a:gd name="csY134" fmla="*/ 427619 h 1538630"/>
              <a:gd name="csX135" fmla="*/ 270380 w 1609516"/>
              <a:gd name="csY135" fmla="*/ 428137 h 1538630"/>
              <a:gd name="csX136" fmla="*/ 273548 w 1609516"/>
              <a:gd name="csY136" fmla="*/ 428680 h 1538630"/>
              <a:gd name="csX137" fmla="*/ 37605 w 1609516"/>
              <a:gd name="csY137" fmla="*/ 359270 h 1538630"/>
              <a:gd name="csX138" fmla="*/ 37103 w 1609516"/>
              <a:gd name="csY138" fmla="*/ 361533 h 1538630"/>
              <a:gd name="csX139" fmla="*/ 37605 w 1609516"/>
              <a:gd name="csY139" fmla="*/ 361382 h 1538630"/>
              <a:gd name="csX140" fmla="*/ 52477 w 1609516"/>
              <a:gd name="csY140" fmla="*/ 337570 h 1538630"/>
              <a:gd name="csX141" fmla="*/ 47288 w 1609516"/>
              <a:gd name="csY141" fmla="*/ 342340 h 1538630"/>
              <a:gd name="csX142" fmla="*/ 45805 w 1609516"/>
              <a:gd name="csY142" fmla="*/ 345093 h 1538630"/>
              <a:gd name="csX143" fmla="*/ 104291 w 1609516"/>
              <a:gd name="csY143" fmla="*/ 336166 h 1538630"/>
              <a:gd name="csX144" fmla="*/ 103776 w 1609516"/>
              <a:gd name="csY144" fmla="*/ 337559 h 1538630"/>
              <a:gd name="csX145" fmla="*/ 108925 w 1609516"/>
              <a:gd name="csY145" fmla="*/ 336166 h 1538630"/>
              <a:gd name="csX146" fmla="*/ 1309237 w 1609516"/>
              <a:gd name="csY146" fmla="*/ 322954 h 1538630"/>
              <a:gd name="csX147" fmla="*/ 1309180 w 1609516"/>
              <a:gd name="csY147" fmla="*/ 330559 h 1538630"/>
              <a:gd name="csX148" fmla="*/ 1309237 w 1609516"/>
              <a:gd name="csY148" fmla="*/ 330520 h 1538630"/>
              <a:gd name="csX149" fmla="*/ 1308964 w 1609516"/>
              <a:gd name="csY149" fmla="*/ 317715 h 1538630"/>
              <a:gd name="csX150" fmla="*/ 1309237 w 1609516"/>
              <a:gd name="csY150" fmla="*/ 318569 h 1538630"/>
              <a:gd name="csX151" fmla="*/ 1309237 w 1609516"/>
              <a:gd name="csY151" fmla="*/ 317838 h 1538630"/>
              <a:gd name="csX152" fmla="*/ 1310087 w 1609516"/>
              <a:gd name="csY152" fmla="*/ 313153 h 1538630"/>
              <a:gd name="csX153" fmla="*/ 1307609 w 1609516"/>
              <a:gd name="csY153" fmla="*/ 313473 h 1538630"/>
              <a:gd name="csX154" fmla="*/ 1308045 w 1609516"/>
              <a:gd name="csY154" fmla="*/ 314836 h 1538630"/>
              <a:gd name="csX155" fmla="*/ 1318544 w 1609516"/>
              <a:gd name="csY155" fmla="*/ 312064 h 1538630"/>
              <a:gd name="csX156" fmla="*/ 1316298 w 1609516"/>
              <a:gd name="csY156" fmla="*/ 312353 h 1538630"/>
              <a:gd name="csX157" fmla="*/ 1318544 w 1609516"/>
              <a:gd name="csY157" fmla="*/ 312205 h 1538630"/>
              <a:gd name="csX158" fmla="*/ 1084622 w 1609516"/>
              <a:gd name="csY158" fmla="*/ 267674 h 1538630"/>
              <a:gd name="csX159" fmla="*/ 1084227 w 1609516"/>
              <a:gd name="csY159" fmla="*/ 268378 h 1538630"/>
              <a:gd name="csX160" fmla="*/ 1079540 w 1609516"/>
              <a:gd name="csY160" fmla="*/ 268378 h 1538630"/>
              <a:gd name="csX161" fmla="*/ 1079603 w 1609516"/>
              <a:gd name="csY161" fmla="*/ 268477 h 1538630"/>
              <a:gd name="csX162" fmla="*/ 1084192 w 1609516"/>
              <a:gd name="csY162" fmla="*/ 268477 h 1538630"/>
              <a:gd name="csX163" fmla="*/ 956410 w 1609516"/>
              <a:gd name="csY163" fmla="*/ 266968 h 1538630"/>
              <a:gd name="csX164" fmla="*/ 957576 w 1609516"/>
              <a:gd name="csY164" fmla="*/ 267083 h 1538630"/>
              <a:gd name="csX165" fmla="*/ 957576 w 1609516"/>
              <a:gd name="csY165" fmla="*/ 269776 h 1538630"/>
              <a:gd name="csX166" fmla="*/ 957694 w 1609516"/>
              <a:gd name="csY166" fmla="*/ 269787 h 1538630"/>
              <a:gd name="csX167" fmla="*/ 957694 w 1609516"/>
              <a:gd name="csY167" fmla="*/ 266968 h 1538630"/>
              <a:gd name="csX168" fmla="*/ 1089372 w 1609516"/>
              <a:gd name="csY168" fmla="*/ 259220 h 1538630"/>
              <a:gd name="csX169" fmla="*/ 1085856 w 1609516"/>
              <a:gd name="csY169" fmla="*/ 265479 h 1538630"/>
              <a:gd name="csX170" fmla="*/ 1088878 w 1609516"/>
              <a:gd name="csY170" fmla="*/ 261431 h 1538630"/>
              <a:gd name="csX171" fmla="*/ 1018517 w 1609516"/>
              <a:gd name="csY171" fmla="*/ 223356 h 1538630"/>
              <a:gd name="csX172" fmla="*/ 1013866 w 1609516"/>
              <a:gd name="csY172" fmla="*/ 226190 h 1538630"/>
              <a:gd name="csX173" fmla="*/ 1013024 w 1609516"/>
              <a:gd name="csY173" fmla="*/ 227709 h 1538630"/>
              <a:gd name="csX174" fmla="*/ 1017055 w 1609516"/>
              <a:gd name="csY174" fmla="*/ 224692 h 1538630"/>
              <a:gd name="csX175" fmla="*/ 850645 w 1609516"/>
              <a:gd name="csY175" fmla="*/ 220099 h 1538630"/>
              <a:gd name="csX176" fmla="*/ 850897 w 1609516"/>
              <a:gd name="csY176" fmla="*/ 221488 h 1538630"/>
              <a:gd name="csX177" fmla="*/ 851470 w 1609516"/>
              <a:gd name="csY177" fmla="*/ 224692 h 1538630"/>
              <a:gd name="csX178" fmla="*/ 852860 w 1609516"/>
              <a:gd name="csY178" fmla="*/ 224692 h 1538630"/>
              <a:gd name="csX179" fmla="*/ 1155019 w 1609516"/>
              <a:gd name="csY179" fmla="*/ 35 h 1538630"/>
              <a:gd name="csX180" fmla="*/ 1174829 w 1609516"/>
              <a:gd name="csY180" fmla="*/ 4853 h 1538630"/>
              <a:gd name="csX181" fmla="*/ 1179418 w 1609516"/>
              <a:gd name="csY181" fmla="*/ 5998 h 1538630"/>
              <a:gd name="csX182" fmla="*/ 1201385 w 1609516"/>
              <a:gd name="csY182" fmla="*/ 22997 h 1538630"/>
              <a:gd name="csX183" fmla="*/ 1201678 w 1609516"/>
              <a:gd name="csY183" fmla="*/ 62191 h 1538630"/>
              <a:gd name="csX184" fmla="*/ 1198261 w 1609516"/>
              <a:gd name="csY184" fmla="*/ 68268 h 1538630"/>
              <a:gd name="csX185" fmla="*/ 1195723 w 1609516"/>
              <a:gd name="csY185" fmla="*/ 72672 h 1538630"/>
              <a:gd name="csX186" fmla="*/ 1193575 w 1609516"/>
              <a:gd name="csY186" fmla="*/ 75314 h 1538630"/>
              <a:gd name="csX187" fmla="*/ 1190450 w 1609516"/>
              <a:gd name="csY187" fmla="*/ 75314 h 1538630"/>
              <a:gd name="csX188" fmla="*/ 1189474 w 1609516"/>
              <a:gd name="csY188" fmla="*/ 79366 h 1538630"/>
              <a:gd name="csX189" fmla="*/ 1182445 w 1609516"/>
              <a:gd name="csY189" fmla="*/ 85707 h 1538630"/>
              <a:gd name="csX190" fmla="*/ 1177953 w 1609516"/>
              <a:gd name="csY190" fmla="*/ 86588 h 1538630"/>
              <a:gd name="csX191" fmla="*/ 1177953 w 1609516"/>
              <a:gd name="csY191" fmla="*/ 89406 h 1538630"/>
              <a:gd name="csX192" fmla="*/ 1170045 w 1609516"/>
              <a:gd name="csY192" fmla="*/ 94251 h 1538630"/>
              <a:gd name="csX193" fmla="*/ 1143806 w 1609516"/>
              <a:gd name="csY193" fmla="*/ 132828 h 1538630"/>
              <a:gd name="csX194" fmla="*/ 1137338 w 1609516"/>
              <a:gd name="csY194" fmla="*/ 141548 h 1538630"/>
              <a:gd name="csX195" fmla="*/ 1133970 w 1609516"/>
              <a:gd name="csY195" fmla="*/ 149403 h 1538630"/>
              <a:gd name="csX196" fmla="*/ 1127965 w 1609516"/>
              <a:gd name="csY196" fmla="*/ 164095 h 1538630"/>
              <a:gd name="csX197" fmla="*/ 1124762 w 1609516"/>
              <a:gd name="csY197" fmla="*/ 171802 h 1538630"/>
              <a:gd name="csX198" fmla="*/ 1119359 w 1609516"/>
              <a:gd name="csY198" fmla="*/ 184798 h 1538630"/>
              <a:gd name="csX199" fmla="*/ 1111014 w 1609516"/>
              <a:gd name="csY199" fmla="*/ 204941 h 1538630"/>
              <a:gd name="csX200" fmla="*/ 1109729 w 1609516"/>
              <a:gd name="csY200" fmla="*/ 208059 h 1538630"/>
              <a:gd name="csX201" fmla="*/ 1106395 w 1609516"/>
              <a:gd name="csY201" fmla="*/ 216170 h 1538630"/>
              <a:gd name="csX202" fmla="*/ 1102147 w 1609516"/>
              <a:gd name="csY202" fmla="*/ 224810 h 1538630"/>
              <a:gd name="csX203" fmla="*/ 1098261 w 1609516"/>
              <a:gd name="csY203" fmla="*/ 227262 h 1538630"/>
              <a:gd name="csX204" fmla="*/ 1098367 w 1609516"/>
              <a:gd name="csY204" fmla="*/ 238475 h 1538630"/>
              <a:gd name="csX205" fmla="*/ 1097331 w 1609516"/>
              <a:gd name="csY205" fmla="*/ 242358 h 1538630"/>
              <a:gd name="csX206" fmla="*/ 1096201 w 1609516"/>
              <a:gd name="csY206" fmla="*/ 246458 h 1538630"/>
              <a:gd name="csX207" fmla="*/ 1089440 w 1609516"/>
              <a:gd name="csY207" fmla="*/ 279206 h 1538630"/>
              <a:gd name="csX208" fmla="*/ 1087316 w 1609516"/>
              <a:gd name="csY208" fmla="*/ 283978 h 1538630"/>
              <a:gd name="csX209" fmla="*/ 1086822 w 1609516"/>
              <a:gd name="csY209" fmla="*/ 291822 h 1538630"/>
              <a:gd name="csX210" fmla="*/ 1086623 w 1609516"/>
              <a:gd name="csY210" fmla="*/ 296625 h 1538630"/>
              <a:gd name="csX211" fmla="*/ 1086437 w 1609516"/>
              <a:gd name="csY211" fmla="*/ 301681 h 1538630"/>
              <a:gd name="csX212" fmla="*/ 1086233 w 1609516"/>
              <a:gd name="csY212" fmla="*/ 306754 h 1538630"/>
              <a:gd name="csX213" fmla="*/ 1086007 w 1609516"/>
              <a:gd name="csY213" fmla="*/ 312619 h 1538630"/>
              <a:gd name="csX214" fmla="*/ 1087470 w 1609516"/>
              <a:gd name="csY214" fmla="*/ 320554 h 1538630"/>
              <a:gd name="csX215" fmla="*/ 1098285 w 1609516"/>
              <a:gd name="csY215" fmla="*/ 334611 h 1538630"/>
              <a:gd name="csX216" fmla="*/ 1102607 w 1609516"/>
              <a:gd name="csY216" fmla="*/ 337679 h 1538630"/>
              <a:gd name="csX217" fmla="*/ 1106095 w 1609516"/>
              <a:gd name="csY217" fmla="*/ 340248 h 1538630"/>
              <a:gd name="csX218" fmla="*/ 1106095 w 1609516"/>
              <a:gd name="csY218" fmla="*/ 343066 h 1538630"/>
              <a:gd name="csX219" fmla="*/ 1109220 w 1609516"/>
              <a:gd name="csY219" fmla="*/ 343419 h 1538630"/>
              <a:gd name="csX220" fmla="*/ 1126403 w 1609516"/>
              <a:gd name="csY220" fmla="*/ 350112 h 1538630"/>
              <a:gd name="csX221" fmla="*/ 1131871 w 1609516"/>
              <a:gd name="csY221" fmla="*/ 352579 h 1538630"/>
              <a:gd name="csX222" fmla="*/ 1135776 w 1609516"/>
              <a:gd name="csY222" fmla="*/ 354340 h 1538630"/>
              <a:gd name="csX223" fmla="*/ 1135776 w 1609516"/>
              <a:gd name="csY223" fmla="*/ 357158 h 1538630"/>
              <a:gd name="csX224" fmla="*/ 1170143 w 1609516"/>
              <a:gd name="csY224" fmla="*/ 354340 h 1538630"/>
              <a:gd name="csX225" fmla="*/ 1174634 w 1609516"/>
              <a:gd name="csY225" fmla="*/ 352579 h 1538630"/>
              <a:gd name="csX226" fmla="*/ 1190890 w 1609516"/>
              <a:gd name="csY226" fmla="*/ 342907 h 1538630"/>
              <a:gd name="csX227" fmla="*/ 1204021 w 1609516"/>
              <a:gd name="csY227" fmla="*/ 335404 h 1538630"/>
              <a:gd name="csX228" fmla="*/ 1223255 w 1609516"/>
              <a:gd name="csY228" fmla="*/ 319110 h 1538630"/>
              <a:gd name="csX229" fmla="*/ 1226868 w 1609516"/>
              <a:gd name="csY229" fmla="*/ 315587 h 1538630"/>
              <a:gd name="csX230" fmla="*/ 1231859 w 1609516"/>
              <a:gd name="csY230" fmla="*/ 303559 h 1538630"/>
              <a:gd name="csX231" fmla="*/ 1234178 w 1609516"/>
              <a:gd name="csY231" fmla="*/ 298059 h 1538630"/>
              <a:gd name="csX232" fmla="*/ 1237314 w 1609516"/>
              <a:gd name="csY232" fmla="*/ 288195 h 1538630"/>
              <a:gd name="csX233" fmla="*/ 1249811 w 1609516"/>
              <a:gd name="csY233" fmla="*/ 265559 h 1538630"/>
              <a:gd name="csX234" fmla="*/ 1252935 w 1609516"/>
              <a:gd name="csY234" fmla="*/ 265559 h 1538630"/>
              <a:gd name="csX235" fmla="*/ 1252935 w 1609516"/>
              <a:gd name="csY235" fmla="*/ 262741 h 1538630"/>
              <a:gd name="csX236" fmla="*/ 1296675 w 1609516"/>
              <a:gd name="csY236" fmla="*/ 252876 h 1538630"/>
              <a:gd name="csX237" fmla="*/ 1307609 w 1609516"/>
              <a:gd name="csY237" fmla="*/ 255695 h 1538630"/>
              <a:gd name="csX238" fmla="*/ 1307609 w 1609516"/>
              <a:gd name="csY238" fmla="*/ 258513 h 1538630"/>
              <a:gd name="csX239" fmla="*/ 1311887 w 1609516"/>
              <a:gd name="csY239" fmla="*/ 258832 h 1538630"/>
              <a:gd name="csX240" fmla="*/ 1326715 w 1609516"/>
              <a:gd name="csY240" fmla="*/ 269969 h 1538630"/>
              <a:gd name="csX241" fmla="*/ 1334165 w 1609516"/>
              <a:gd name="csY241" fmla="*/ 307836 h 1538630"/>
              <a:gd name="csX242" fmla="*/ 1329479 w 1609516"/>
              <a:gd name="csY242" fmla="*/ 314882 h 1538630"/>
              <a:gd name="csX243" fmla="*/ 1323231 w 1609516"/>
              <a:gd name="csY243" fmla="*/ 314882 h 1538630"/>
              <a:gd name="csX244" fmla="*/ 1323231 w 1609516"/>
              <a:gd name="csY244" fmla="*/ 317700 h 1538630"/>
              <a:gd name="csX245" fmla="*/ 1322774 w 1609516"/>
              <a:gd name="csY245" fmla="*/ 317838 h 1538630"/>
              <a:gd name="csX246" fmla="*/ 1323295 w 1609516"/>
              <a:gd name="csY246" fmla="*/ 317838 h 1538630"/>
              <a:gd name="csX247" fmla="*/ 1323295 w 1609516"/>
              <a:gd name="csY247" fmla="*/ 315019 h 1538630"/>
              <a:gd name="csX248" fmla="*/ 1327982 w 1609516"/>
              <a:gd name="csY248" fmla="*/ 315019 h 1538630"/>
              <a:gd name="csX249" fmla="*/ 1317047 w 1609516"/>
              <a:gd name="csY249" fmla="*/ 327702 h 1538630"/>
              <a:gd name="csX250" fmla="*/ 1315484 w 1609516"/>
              <a:gd name="csY250" fmla="*/ 331930 h 1538630"/>
              <a:gd name="csX251" fmla="*/ 1309139 w 1609516"/>
              <a:gd name="csY251" fmla="*/ 333603 h 1538630"/>
              <a:gd name="csX252" fmla="*/ 1305666 w 1609516"/>
              <a:gd name="csY252" fmla="*/ 334280 h 1538630"/>
              <a:gd name="csX253" fmla="*/ 1302988 w 1609516"/>
              <a:gd name="csY253" fmla="*/ 334748 h 1538630"/>
              <a:gd name="csX254" fmla="*/ 1305905 w 1609516"/>
              <a:gd name="csY254" fmla="*/ 332775 h 1538630"/>
              <a:gd name="csX255" fmla="*/ 1304485 w 1609516"/>
              <a:gd name="csY255" fmla="*/ 333202 h 1538630"/>
              <a:gd name="csX256" fmla="*/ 1301459 w 1609516"/>
              <a:gd name="csY256" fmla="*/ 336108 h 1538630"/>
              <a:gd name="csX257" fmla="*/ 1291989 w 1609516"/>
              <a:gd name="csY257" fmla="*/ 338839 h 1538630"/>
              <a:gd name="csX258" fmla="*/ 1290426 w 1609516"/>
              <a:gd name="csY258" fmla="*/ 343066 h 1538630"/>
              <a:gd name="csX259" fmla="*/ 1285740 w 1609516"/>
              <a:gd name="csY259" fmla="*/ 344123 h 1538630"/>
              <a:gd name="csX260" fmla="*/ 1237314 w 1609516"/>
              <a:gd name="csY260" fmla="*/ 382525 h 1538630"/>
              <a:gd name="csX261" fmla="*/ 1232628 w 1609516"/>
              <a:gd name="csY261" fmla="*/ 392389 h 1538630"/>
              <a:gd name="csX262" fmla="*/ 1228625 w 1609516"/>
              <a:gd name="csY262" fmla="*/ 398731 h 1538630"/>
              <a:gd name="csX263" fmla="*/ 1222822 w 1609516"/>
              <a:gd name="csY263" fmla="*/ 434798 h 1538630"/>
              <a:gd name="csX264" fmla="*/ 1260746 w 1609516"/>
              <a:gd name="csY264" fmla="*/ 485398 h 1538630"/>
              <a:gd name="csX265" fmla="*/ 1268556 w 1609516"/>
              <a:gd name="csY265" fmla="*/ 488216 h 1538630"/>
              <a:gd name="csX266" fmla="*/ 1268556 w 1609516"/>
              <a:gd name="csY266" fmla="*/ 491034 h 1538630"/>
              <a:gd name="csX267" fmla="*/ 1338852 w 1609516"/>
              <a:gd name="csY267" fmla="*/ 489625 h 1538630"/>
              <a:gd name="csX268" fmla="*/ 1347444 w 1609516"/>
              <a:gd name="csY268" fmla="*/ 488480 h 1538630"/>
              <a:gd name="csX269" fmla="*/ 1369362 w 1609516"/>
              <a:gd name="csY269" fmla="*/ 482513 h 1538630"/>
              <a:gd name="csX270" fmla="*/ 1388840 w 1609516"/>
              <a:gd name="csY270" fmla="*/ 478351 h 1538630"/>
              <a:gd name="csX271" fmla="*/ 1388840 w 1609516"/>
              <a:gd name="csY271" fmla="*/ 475533 h 1538630"/>
              <a:gd name="csX272" fmla="*/ 1395576 w 1609516"/>
              <a:gd name="csY272" fmla="*/ 473419 h 1538630"/>
              <a:gd name="csX273" fmla="*/ 1399365 w 1609516"/>
              <a:gd name="csY273" fmla="*/ 472230 h 1538630"/>
              <a:gd name="csX274" fmla="*/ 1407585 w 1609516"/>
              <a:gd name="csY274" fmla="*/ 471305 h 1538630"/>
              <a:gd name="csX275" fmla="*/ 1409147 w 1609516"/>
              <a:gd name="csY275" fmla="*/ 467078 h 1538630"/>
              <a:gd name="csX276" fmla="*/ 1416470 w 1609516"/>
              <a:gd name="csY276" fmla="*/ 464259 h 1538630"/>
              <a:gd name="csX277" fmla="*/ 1437949 w 1609516"/>
              <a:gd name="csY277" fmla="*/ 455011 h 1538630"/>
              <a:gd name="csX278" fmla="*/ 1452887 w 1609516"/>
              <a:gd name="csY278" fmla="*/ 450167 h 1538630"/>
              <a:gd name="csX279" fmla="*/ 1452887 w 1609516"/>
              <a:gd name="csY279" fmla="*/ 447349 h 1538630"/>
              <a:gd name="csX280" fmla="*/ 1455394 w 1609516"/>
              <a:gd name="csY280" fmla="*/ 446122 h 1538630"/>
              <a:gd name="csX281" fmla="*/ 1466653 w 1609516"/>
              <a:gd name="csY281" fmla="*/ 440567 h 1538630"/>
              <a:gd name="csX282" fmla="*/ 1470598 w 1609516"/>
              <a:gd name="csY282" fmla="*/ 438637 h 1538630"/>
              <a:gd name="csX283" fmla="*/ 1474397 w 1609516"/>
              <a:gd name="csY283" fmla="*/ 436752 h 1538630"/>
              <a:gd name="csX284" fmla="*/ 1477892 w 1609516"/>
              <a:gd name="csY284" fmla="*/ 435030 h 1538630"/>
              <a:gd name="csX285" fmla="*/ 1485691 w 1609516"/>
              <a:gd name="csY285" fmla="*/ 429029 h 1538630"/>
              <a:gd name="csX286" fmla="*/ 1488858 w 1609516"/>
              <a:gd name="csY286" fmla="*/ 427653 h 1538630"/>
              <a:gd name="csX287" fmla="*/ 1495943 w 1609516"/>
              <a:gd name="csY287" fmla="*/ 421454 h 1538630"/>
              <a:gd name="csX288" fmla="*/ 1538608 w 1609516"/>
              <a:gd name="csY288" fmla="*/ 388338 h 1538630"/>
              <a:gd name="csX289" fmla="*/ 1543490 w 1609516"/>
              <a:gd name="csY289" fmla="*/ 388161 h 1538630"/>
              <a:gd name="csX290" fmla="*/ 1547621 w 1609516"/>
              <a:gd name="csY290" fmla="*/ 387804 h 1538630"/>
              <a:gd name="csX291" fmla="*/ 1579418 w 1609516"/>
              <a:gd name="csY291" fmla="*/ 396617 h 1538630"/>
              <a:gd name="csX292" fmla="*/ 1583342 w 1609516"/>
              <a:gd name="csY292" fmla="*/ 398780 h 1538630"/>
              <a:gd name="csX293" fmla="*/ 1601288 w 1609516"/>
              <a:gd name="csY293" fmla="*/ 423392 h 1538630"/>
              <a:gd name="csX294" fmla="*/ 1594484 w 1609516"/>
              <a:gd name="csY294" fmla="*/ 460159 h 1538630"/>
              <a:gd name="csX295" fmla="*/ 1574732 w 1609516"/>
              <a:gd name="csY295" fmla="*/ 475533 h 1538630"/>
              <a:gd name="csX296" fmla="*/ 1572097 w 1609516"/>
              <a:gd name="csY296" fmla="*/ 477078 h 1538630"/>
              <a:gd name="csX297" fmla="*/ 1556066 w 1609516"/>
              <a:gd name="csY297" fmla="*/ 478737 h 1538630"/>
              <a:gd name="csX298" fmla="*/ 1548631 w 1609516"/>
              <a:gd name="csY298" fmla="*/ 478825 h 1538630"/>
              <a:gd name="csX299" fmla="*/ 1536991 w 1609516"/>
              <a:gd name="csY299" fmla="*/ 478889 h 1538630"/>
              <a:gd name="csX300" fmla="*/ 1498188 w 1609516"/>
              <a:gd name="csY300" fmla="*/ 485398 h 1538630"/>
              <a:gd name="csX301" fmla="*/ 1493892 w 1609516"/>
              <a:gd name="csY301" fmla="*/ 487600 h 1538630"/>
              <a:gd name="csX302" fmla="*/ 1490377 w 1609516"/>
              <a:gd name="csY302" fmla="*/ 489625 h 1538630"/>
              <a:gd name="csX303" fmla="*/ 1471650 w 1609516"/>
              <a:gd name="csY303" fmla="*/ 498185 h 1538630"/>
              <a:gd name="csX304" fmla="*/ 1459135 w 1609516"/>
              <a:gd name="csY304" fmla="*/ 505127 h 1538630"/>
              <a:gd name="csX305" fmla="*/ 1452594 w 1609516"/>
              <a:gd name="csY305" fmla="*/ 508033 h 1538630"/>
              <a:gd name="csX306" fmla="*/ 1427795 w 1609516"/>
              <a:gd name="csY306" fmla="*/ 520100 h 1538630"/>
              <a:gd name="csX307" fmla="*/ 1423733 w 1609516"/>
              <a:gd name="csY307" fmla="*/ 522148 h 1538630"/>
              <a:gd name="csX308" fmla="*/ 1419929 w 1609516"/>
              <a:gd name="csY308" fmla="*/ 524118 h 1538630"/>
              <a:gd name="csX309" fmla="*/ 1416487 w 1609516"/>
              <a:gd name="csY309" fmla="*/ 525883 h 1538630"/>
              <a:gd name="csX310" fmla="*/ 1412271 w 1609516"/>
              <a:gd name="csY310" fmla="*/ 531902 h 1538630"/>
              <a:gd name="csX311" fmla="*/ 1396650 w 1609516"/>
              <a:gd name="csY311" fmla="*/ 537539 h 1538630"/>
              <a:gd name="csX312" fmla="*/ 1396650 w 1609516"/>
              <a:gd name="csY312" fmla="*/ 540357 h 1538630"/>
              <a:gd name="csX313" fmla="*/ 1393495 w 1609516"/>
              <a:gd name="csY313" fmla="*/ 541502 h 1538630"/>
              <a:gd name="csX314" fmla="*/ 1362284 w 1609516"/>
              <a:gd name="csY314" fmla="*/ 558678 h 1538630"/>
              <a:gd name="csX315" fmla="*/ 1355937 w 1609516"/>
              <a:gd name="csY315" fmla="*/ 562905 h 1538630"/>
              <a:gd name="csX316" fmla="*/ 1334165 w 1609516"/>
              <a:gd name="csY316" fmla="*/ 578406 h 1538630"/>
              <a:gd name="csX317" fmla="*/ 1331200 w 1609516"/>
              <a:gd name="csY317" fmla="*/ 580559 h 1538630"/>
              <a:gd name="csX318" fmla="*/ 1322175 w 1609516"/>
              <a:gd name="csY318" fmla="*/ 596793 h 1538630"/>
              <a:gd name="csX319" fmla="*/ 1320106 w 1609516"/>
              <a:gd name="csY319" fmla="*/ 602363 h 1538630"/>
              <a:gd name="csX320" fmla="*/ 1328015 w 1609516"/>
              <a:gd name="csY320" fmla="*/ 647640 h 1538630"/>
              <a:gd name="csX321" fmla="*/ 1332604 w 1609516"/>
              <a:gd name="csY321" fmla="*/ 675643 h 1538630"/>
              <a:gd name="csX322" fmla="*/ 1335727 w 1609516"/>
              <a:gd name="csY322" fmla="*/ 675643 h 1538630"/>
              <a:gd name="csX323" fmla="*/ 1337741 w 1609516"/>
              <a:gd name="csY323" fmla="*/ 690059 h 1538630"/>
              <a:gd name="csX324" fmla="*/ 1338003 w 1609516"/>
              <a:gd name="csY324" fmla="*/ 696222 h 1538630"/>
              <a:gd name="csX325" fmla="*/ 1338340 w 1609516"/>
              <a:gd name="csY325" fmla="*/ 705887 h 1538630"/>
              <a:gd name="csX326" fmla="*/ 1345277 w 1609516"/>
              <a:gd name="csY326" fmla="*/ 733245 h 1538630"/>
              <a:gd name="csX327" fmla="*/ 1363162 w 1609516"/>
              <a:gd name="csY327" fmla="*/ 741612 h 1538630"/>
              <a:gd name="csX328" fmla="*/ 1384154 w 1609516"/>
              <a:gd name="csY328" fmla="*/ 748922 h 1538630"/>
              <a:gd name="csX329" fmla="*/ 1391476 w 1609516"/>
              <a:gd name="csY329" fmla="*/ 750419 h 1538630"/>
              <a:gd name="csX330" fmla="*/ 1395564 w 1609516"/>
              <a:gd name="csY330" fmla="*/ 751080 h 1538630"/>
              <a:gd name="csX331" fmla="*/ 1399775 w 1609516"/>
              <a:gd name="csY331" fmla="*/ 751740 h 1538630"/>
              <a:gd name="csX332" fmla="*/ 1403887 w 1609516"/>
              <a:gd name="csY332" fmla="*/ 752489 h 1538630"/>
              <a:gd name="csX333" fmla="*/ 1465383 w 1609516"/>
              <a:gd name="csY333" fmla="*/ 755969 h 1538630"/>
              <a:gd name="csX334" fmla="*/ 1470339 w 1609516"/>
              <a:gd name="csY334" fmla="*/ 755897 h 1538630"/>
              <a:gd name="csX335" fmla="*/ 1496809 w 1609516"/>
              <a:gd name="csY335" fmla="*/ 749313 h 1538630"/>
              <a:gd name="csX336" fmla="*/ 1515371 w 1609516"/>
              <a:gd name="csY336" fmla="*/ 743285 h 1538630"/>
              <a:gd name="csX337" fmla="*/ 1515371 w 1609516"/>
              <a:gd name="csY337" fmla="*/ 740467 h 1538630"/>
              <a:gd name="csX338" fmla="*/ 1537632 w 1609516"/>
              <a:gd name="csY338" fmla="*/ 737120 h 1538630"/>
              <a:gd name="csX339" fmla="*/ 1541657 w 1609516"/>
              <a:gd name="csY339" fmla="*/ 737127 h 1538630"/>
              <a:gd name="csX340" fmla="*/ 1574732 w 1609516"/>
              <a:gd name="csY340" fmla="*/ 748922 h 1538630"/>
              <a:gd name="csX341" fmla="*/ 1588791 w 1609516"/>
              <a:gd name="csY341" fmla="*/ 792608 h 1538630"/>
              <a:gd name="csX342" fmla="*/ 1584105 w 1609516"/>
              <a:gd name="csY342" fmla="*/ 805291 h 1538630"/>
              <a:gd name="csX343" fmla="*/ 1580981 w 1609516"/>
              <a:gd name="csY343" fmla="*/ 806700 h 1538630"/>
              <a:gd name="csX344" fmla="*/ 1578735 w 1609516"/>
              <a:gd name="csY344" fmla="*/ 810311 h 1538630"/>
              <a:gd name="csX345" fmla="*/ 1576295 w 1609516"/>
              <a:gd name="csY345" fmla="*/ 813746 h 1538630"/>
              <a:gd name="csX346" fmla="*/ 1571652 w 1609516"/>
              <a:gd name="csY346" fmla="*/ 813746 h 1538630"/>
              <a:gd name="csX347" fmla="*/ 1571785 w 1609516"/>
              <a:gd name="csY347" fmla="*/ 814106 h 1538630"/>
              <a:gd name="csX348" fmla="*/ 1574909 w 1609516"/>
              <a:gd name="csY348" fmla="*/ 815515 h 1538630"/>
              <a:gd name="csX349" fmla="*/ 1565463 w 1609516"/>
              <a:gd name="csY349" fmla="*/ 821839 h 1538630"/>
              <a:gd name="csX350" fmla="*/ 1562085 w 1609516"/>
              <a:gd name="csY350" fmla="*/ 822101 h 1538630"/>
              <a:gd name="csX351" fmla="*/ 1551301 w 1609516"/>
              <a:gd name="csY351" fmla="*/ 825020 h 1538630"/>
              <a:gd name="csX352" fmla="*/ 1551301 w 1609516"/>
              <a:gd name="csY352" fmla="*/ 827838 h 1538630"/>
              <a:gd name="csX353" fmla="*/ 1485380 w 1609516"/>
              <a:gd name="csY353" fmla="*/ 815007 h 1538630"/>
              <a:gd name="csX354" fmla="*/ 1431603 w 1609516"/>
              <a:gd name="csY354" fmla="*/ 808726 h 1538630"/>
              <a:gd name="csX355" fmla="*/ 1424140 w 1609516"/>
              <a:gd name="csY355" fmla="*/ 808542 h 1538630"/>
              <a:gd name="csX356" fmla="*/ 1406023 w 1609516"/>
              <a:gd name="csY356" fmla="*/ 808109 h 1538630"/>
              <a:gd name="csX357" fmla="*/ 1406023 w 1609516"/>
              <a:gd name="csY357" fmla="*/ 810928 h 1538630"/>
              <a:gd name="csX358" fmla="*/ 1403383 w 1609516"/>
              <a:gd name="csY358" fmla="*/ 811311 h 1538630"/>
              <a:gd name="csX359" fmla="*/ 1345442 w 1609516"/>
              <a:gd name="csY359" fmla="*/ 828907 h 1538630"/>
              <a:gd name="csX360" fmla="*/ 1337875 w 1609516"/>
              <a:gd name="csY360" fmla="*/ 856639 h 1538630"/>
              <a:gd name="csX361" fmla="*/ 1337692 w 1609516"/>
              <a:gd name="csY361" fmla="*/ 860171 h 1538630"/>
              <a:gd name="csX362" fmla="*/ 1337290 w 1609516"/>
              <a:gd name="csY362" fmla="*/ 868706 h 1538630"/>
              <a:gd name="csX363" fmla="*/ 1334165 w 1609516"/>
              <a:gd name="csY363" fmla="*/ 868706 h 1538630"/>
              <a:gd name="csX364" fmla="*/ 1334165 w 1609516"/>
              <a:gd name="csY364" fmla="*/ 870034 h 1538630"/>
              <a:gd name="csX365" fmla="*/ 1334237 w 1609516"/>
              <a:gd name="csY365" fmla="*/ 869093 h 1538630"/>
              <a:gd name="csX366" fmla="*/ 1335800 w 1609516"/>
              <a:gd name="csY366" fmla="*/ 869093 h 1538630"/>
              <a:gd name="csX367" fmla="*/ 1335995 w 1609516"/>
              <a:gd name="csY367" fmla="*/ 876491 h 1538630"/>
              <a:gd name="csX368" fmla="*/ 1336105 w 1609516"/>
              <a:gd name="csY368" fmla="*/ 880653 h 1538630"/>
              <a:gd name="csX369" fmla="*/ 1334294 w 1609516"/>
              <a:gd name="csY369" fmla="*/ 887271 h 1538630"/>
              <a:gd name="csX370" fmla="*/ 1331455 w 1609516"/>
              <a:gd name="csY370" fmla="*/ 896440 h 1538630"/>
              <a:gd name="csX371" fmla="*/ 1330887 w 1609516"/>
              <a:gd name="csY371" fmla="*/ 899969 h 1538630"/>
              <a:gd name="csX372" fmla="*/ 1330332 w 1609516"/>
              <a:gd name="csY372" fmla="*/ 903618 h 1538630"/>
              <a:gd name="csX373" fmla="*/ 1329209 w 1609516"/>
              <a:gd name="csY373" fmla="*/ 910797 h 1538630"/>
              <a:gd name="csX374" fmla="*/ 1328724 w 1609516"/>
              <a:gd name="csY374" fmla="*/ 913998 h 1538630"/>
              <a:gd name="csX375" fmla="*/ 1324865 w 1609516"/>
              <a:gd name="csY375" fmla="*/ 922643 h 1538630"/>
              <a:gd name="csX376" fmla="*/ 1322619 w 1609516"/>
              <a:gd name="csY376" fmla="*/ 937979 h 1538630"/>
              <a:gd name="csX377" fmla="*/ 1318744 w 1609516"/>
              <a:gd name="csY377" fmla="*/ 944961 h 1538630"/>
              <a:gd name="csX378" fmla="*/ 1318544 w 1609516"/>
              <a:gd name="csY378" fmla="*/ 946213 h 1538630"/>
              <a:gd name="csX379" fmla="*/ 1318251 w 1609516"/>
              <a:gd name="csY379" fmla="*/ 955285 h 1538630"/>
              <a:gd name="csX380" fmla="*/ 1318184 w 1609516"/>
              <a:gd name="csY380" fmla="*/ 960036 h 1538630"/>
              <a:gd name="csX381" fmla="*/ 1324024 w 1609516"/>
              <a:gd name="csY381" fmla="*/ 973660 h 1538630"/>
              <a:gd name="csX382" fmla="*/ 1329284 w 1609516"/>
              <a:gd name="csY382" fmla="*/ 983382 h 1538630"/>
              <a:gd name="csX383" fmla="*/ 1340414 w 1609516"/>
              <a:gd name="csY383" fmla="*/ 998354 h 1538630"/>
              <a:gd name="csX384" fmla="*/ 1346272 w 1609516"/>
              <a:gd name="csY384" fmla="*/ 1005048 h 1538630"/>
              <a:gd name="csX385" fmla="*/ 1394716 w 1609516"/>
              <a:gd name="csY385" fmla="*/ 1042740 h 1538630"/>
              <a:gd name="csX386" fmla="*/ 1401953 w 1609516"/>
              <a:gd name="csY386" fmla="*/ 1047374 h 1538630"/>
              <a:gd name="csX387" fmla="*/ 1427197 w 1609516"/>
              <a:gd name="csY387" fmla="*/ 1059061 h 1538630"/>
              <a:gd name="csX388" fmla="*/ 1437265 w 1609516"/>
              <a:gd name="csY388" fmla="*/ 1064588 h 1538630"/>
              <a:gd name="csX389" fmla="*/ 1437265 w 1609516"/>
              <a:gd name="csY389" fmla="*/ 1067406 h 1538630"/>
              <a:gd name="csX390" fmla="*/ 1440878 w 1609516"/>
              <a:gd name="csY390" fmla="*/ 1067847 h 1538630"/>
              <a:gd name="csX391" fmla="*/ 1447175 w 1609516"/>
              <a:gd name="csY391" fmla="*/ 1070753 h 1538630"/>
              <a:gd name="csX392" fmla="*/ 1457866 w 1609516"/>
              <a:gd name="csY392" fmla="*/ 1076830 h 1538630"/>
              <a:gd name="csX393" fmla="*/ 1462132 w 1609516"/>
              <a:gd name="csY393" fmla="*/ 1078696 h 1538630"/>
              <a:gd name="csX394" fmla="*/ 1465383 w 1609516"/>
              <a:gd name="csY394" fmla="*/ 1080089 h 1538630"/>
              <a:gd name="csX395" fmla="*/ 1465383 w 1609516"/>
              <a:gd name="csY395" fmla="*/ 1082908 h 1538630"/>
              <a:gd name="csX396" fmla="*/ 1468758 w 1609516"/>
              <a:gd name="csY396" fmla="*/ 1083975 h 1538630"/>
              <a:gd name="csX397" fmla="*/ 1481688 w 1609516"/>
              <a:gd name="csY397" fmla="*/ 1091187 h 1538630"/>
              <a:gd name="csX398" fmla="*/ 1486283 w 1609516"/>
              <a:gd name="csY398" fmla="*/ 1094236 h 1538630"/>
              <a:gd name="csX399" fmla="*/ 1494869 w 1609516"/>
              <a:gd name="csY399" fmla="*/ 1100171 h 1538630"/>
              <a:gd name="csX400" fmla="*/ 1544335 w 1609516"/>
              <a:gd name="csY400" fmla="*/ 1109518 h 1538630"/>
              <a:gd name="csX401" fmla="*/ 1593477 w 1609516"/>
              <a:gd name="csY401" fmla="*/ 1119900 h 1538630"/>
              <a:gd name="csX402" fmla="*/ 1605975 w 1609516"/>
              <a:gd name="csY402" fmla="*/ 1144913 h 1538630"/>
              <a:gd name="csX403" fmla="*/ 1609099 w 1609516"/>
              <a:gd name="csY403" fmla="*/ 1144913 h 1538630"/>
              <a:gd name="csX404" fmla="*/ 1609392 w 1609516"/>
              <a:gd name="csY404" fmla="*/ 1156892 h 1538630"/>
              <a:gd name="csX405" fmla="*/ 1609511 w 1609516"/>
              <a:gd name="csY405" fmla="*/ 1160272 h 1538630"/>
              <a:gd name="csX406" fmla="*/ 1604412 w 1609516"/>
              <a:gd name="csY406" fmla="*/ 1181553 h 1538630"/>
              <a:gd name="csX407" fmla="*/ 1601288 w 1609516"/>
              <a:gd name="csY407" fmla="*/ 1190009 h 1538630"/>
              <a:gd name="csX408" fmla="*/ 1598164 w 1609516"/>
              <a:gd name="csY408" fmla="*/ 1190009 h 1538630"/>
              <a:gd name="csX409" fmla="*/ 1597187 w 1609516"/>
              <a:gd name="csY409" fmla="*/ 1192739 h 1538630"/>
              <a:gd name="csX410" fmla="*/ 1595040 w 1609516"/>
              <a:gd name="csY410" fmla="*/ 1195645 h 1538630"/>
              <a:gd name="csX411" fmla="*/ 1585667 w 1609516"/>
              <a:gd name="csY411" fmla="*/ 1197055 h 1538630"/>
              <a:gd name="csX412" fmla="*/ 1582543 w 1609516"/>
              <a:gd name="csY412" fmla="*/ 1202691 h 1538630"/>
              <a:gd name="csX413" fmla="*/ 1562431 w 1609516"/>
              <a:gd name="csY413" fmla="*/ 1204365 h 1538630"/>
              <a:gd name="csX414" fmla="*/ 1558690 w 1609516"/>
              <a:gd name="csY414" fmla="*/ 1204417 h 1538630"/>
              <a:gd name="csX415" fmla="*/ 1521102 w 1609516"/>
              <a:gd name="csY415" fmla="*/ 1189585 h 1538630"/>
              <a:gd name="csX416" fmla="*/ 1505022 w 1609516"/>
              <a:gd name="csY416" fmla="*/ 1172041 h 1538630"/>
              <a:gd name="csX417" fmla="*/ 1457573 w 1609516"/>
              <a:gd name="csY417" fmla="*/ 1140686 h 1538630"/>
              <a:gd name="csX418" fmla="*/ 1457573 w 1609516"/>
              <a:gd name="csY418" fmla="*/ 1137867 h 1538630"/>
              <a:gd name="csX419" fmla="*/ 1452985 w 1609516"/>
              <a:gd name="csY419" fmla="*/ 1137339 h 1538630"/>
              <a:gd name="csX420" fmla="*/ 1448200 w 1609516"/>
              <a:gd name="csY420" fmla="*/ 1136458 h 1538630"/>
              <a:gd name="csX421" fmla="*/ 1446638 w 1609516"/>
              <a:gd name="csY421" fmla="*/ 1133640 h 1538630"/>
              <a:gd name="csX422" fmla="*/ 1438937 w 1609516"/>
              <a:gd name="csY422" fmla="*/ 1130601 h 1538630"/>
              <a:gd name="csX423" fmla="*/ 1429260 w 1609516"/>
              <a:gd name="csY423" fmla="*/ 1126770 h 1538630"/>
              <a:gd name="csX424" fmla="*/ 1411393 w 1609516"/>
              <a:gd name="csY424" fmla="*/ 1120340 h 1538630"/>
              <a:gd name="csX425" fmla="*/ 1391427 w 1609516"/>
              <a:gd name="csY425" fmla="*/ 1111191 h 1538630"/>
              <a:gd name="csX426" fmla="*/ 1381029 w 1609516"/>
              <a:gd name="csY426" fmla="*/ 1106865 h 1538630"/>
              <a:gd name="csX427" fmla="*/ 1381029 w 1609516"/>
              <a:gd name="csY427" fmla="*/ 1104046 h 1538630"/>
              <a:gd name="csX428" fmla="*/ 1377221 w 1609516"/>
              <a:gd name="csY428" fmla="*/ 1103605 h 1538630"/>
              <a:gd name="csX429" fmla="*/ 1357597 w 1609516"/>
              <a:gd name="csY429" fmla="*/ 1098409 h 1538630"/>
              <a:gd name="csX430" fmla="*/ 1352032 w 1609516"/>
              <a:gd name="csY430" fmla="*/ 1096736 h 1538630"/>
              <a:gd name="csX431" fmla="*/ 1348225 w 1609516"/>
              <a:gd name="csY431" fmla="*/ 1095590 h 1538630"/>
              <a:gd name="csX432" fmla="*/ 1348225 w 1609516"/>
              <a:gd name="csY432" fmla="*/ 1092772 h 1538630"/>
              <a:gd name="csX433" fmla="*/ 1337290 w 1609516"/>
              <a:gd name="csY433" fmla="*/ 1091363 h 1538630"/>
              <a:gd name="csX434" fmla="*/ 1337290 w 1609516"/>
              <a:gd name="csY434" fmla="*/ 1088544 h 1538630"/>
              <a:gd name="csX435" fmla="*/ 1331529 w 1609516"/>
              <a:gd name="csY435" fmla="*/ 1088104 h 1538630"/>
              <a:gd name="csX436" fmla="*/ 1323297 w 1609516"/>
              <a:gd name="csY436" fmla="*/ 1086611 h 1538630"/>
              <a:gd name="csX437" fmla="*/ 1323297 w 1609516"/>
              <a:gd name="csY437" fmla="*/ 1087618 h 1538630"/>
              <a:gd name="csX438" fmla="*/ 1319789 w 1609516"/>
              <a:gd name="csY438" fmla="*/ 1087310 h 1538630"/>
              <a:gd name="csX439" fmla="*/ 1262375 w 1609516"/>
              <a:gd name="csY439" fmla="*/ 1089028 h 1538630"/>
              <a:gd name="csX440" fmla="*/ 1258728 w 1609516"/>
              <a:gd name="csY440" fmla="*/ 1088205 h 1538630"/>
              <a:gd name="csX441" fmla="*/ 1246964 w 1609516"/>
              <a:gd name="csY441" fmla="*/ 1091489 h 1538630"/>
              <a:gd name="csX442" fmla="*/ 1223224 w 1609516"/>
              <a:gd name="csY442" fmla="*/ 1112865 h 1538630"/>
              <a:gd name="csX443" fmla="*/ 1213883 w 1609516"/>
              <a:gd name="csY443" fmla="*/ 1122366 h 1538630"/>
              <a:gd name="csX444" fmla="*/ 1212505 w 1609516"/>
              <a:gd name="csY444" fmla="*/ 1125708 h 1538630"/>
              <a:gd name="csX445" fmla="*/ 1204180 w 1609516"/>
              <a:gd name="csY445" fmla="*/ 1135561 h 1538630"/>
              <a:gd name="csX446" fmla="*/ 1200238 w 1609516"/>
              <a:gd name="csY446" fmla="*/ 1138999 h 1538630"/>
              <a:gd name="csX447" fmla="*/ 1192025 w 1609516"/>
              <a:gd name="csY447" fmla="*/ 1146022 h 1538630"/>
              <a:gd name="csX448" fmla="*/ 1173945 w 1609516"/>
              <a:gd name="csY448" fmla="*/ 1174749 h 1538630"/>
              <a:gd name="csX449" fmla="*/ 1173950 w 1609516"/>
              <a:gd name="csY449" fmla="*/ 1182610 h 1538630"/>
              <a:gd name="csX450" fmla="*/ 1173989 w 1609516"/>
              <a:gd name="csY450" fmla="*/ 1186765 h 1538630"/>
              <a:gd name="csX451" fmla="*/ 1182640 w 1609516"/>
              <a:gd name="csY451" fmla="*/ 1215374 h 1538630"/>
              <a:gd name="csX452" fmla="*/ 1185764 w 1609516"/>
              <a:gd name="csY452" fmla="*/ 1221804 h 1538630"/>
              <a:gd name="csX453" fmla="*/ 1187301 w 1609516"/>
              <a:gd name="csY453" fmla="*/ 1224859 h 1538630"/>
              <a:gd name="csX454" fmla="*/ 1190573 w 1609516"/>
              <a:gd name="csY454" fmla="*/ 1231740 h 1538630"/>
              <a:gd name="csX455" fmla="*/ 1205925 w 1609516"/>
              <a:gd name="csY455" fmla="*/ 1255163 h 1538630"/>
              <a:gd name="csX456" fmla="*/ 1212174 w 1609516"/>
              <a:gd name="csY456" fmla="*/ 1263134 h 1538630"/>
              <a:gd name="csX457" fmla="*/ 1235556 w 1609516"/>
              <a:gd name="csY457" fmla="*/ 1282538 h 1538630"/>
              <a:gd name="csX458" fmla="*/ 1238876 w 1609516"/>
              <a:gd name="csY458" fmla="*/ 1284426 h 1538630"/>
              <a:gd name="csX459" fmla="*/ 1238876 w 1609516"/>
              <a:gd name="csY459" fmla="*/ 1287245 h 1538630"/>
              <a:gd name="csX460" fmla="*/ 1242245 w 1609516"/>
              <a:gd name="csY460" fmla="*/ 1287663 h 1538630"/>
              <a:gd name="csX461" fmla="*/ 1271681 w 1609516"/>
              <a:gd name="csY461" fmla="*/ 1305565 h 1538630"/>
              <a:gd name="csX462" fmla="*/ 1271742 w 1609516"/>
              <a:gd name="csY462" fmla="*/ 1306172 h 1538630"/>
              <a:gd name="csX463" fmla="*/ 1278525 w 1609516"/>
              <a:gd name="csY463" fmla="*/ 1315767 h 1538630"/>
              <a:gd name="csX464" fmla="*/ 1281097 w 1609516"/>
              <a:gd name="csY464" fmla="*/ 1327286 h 1538630"/>
              <a:gd name="csX465" fmla="*/ 1277973 w 1609516"/>
              <a:gd name="csY465" fmla="*/ 1355470 h 1538630"/>
              <a:gd name="csX466" fmla="*/ 1277460 w 1609516"/>
              <a:gd name="csY466" fmla="*/ 1347025 h 1538630"/>
              <a:gd name="csX467" fmla="*/ 1273531 w 1609516"/>
              <a:gd name="csY467" fmla="*/ 1357991 h 1538630"/>
              <a:gd name="csX468" fmla="*/ 1263870 w 1609516"/>
              <a:gd name="csY468" fmla="*/ 1368980 h 1538630"/>
              <a:gd name="csX469" fmla="*/ 1246686 w 1609516"/>
              <a:gd name="csY469" fmla="*/ 1376026 h 1538630"/>
              <a:gd name="csX470" fmla="*/ 1246686 w 1609516"/>
              <a:gd name="csY470" fmla="*/ 1378844 h 1538630"/>
              <a:gd name="csX471" fmla="*/ 1231651 w 1609516"/>
              <a:gd name="csY471" fmla="*/ 1379196 h 1538630"/>
              <a:gd name="csX472" fmla="*/ 1227373 w 1609516"/>
              <a:gd name="csY472" fmla="*/ 1379340 h 1538630"/>
              <a:gd name="csX473" fmla="*/ 1206071 w 1609516"/>
              <a:gd name="csY473" fmla="*/ 1373207 h 1538630"/>
              <a:gd name="csX474" fmla="*/ 1202069 w 1609516"/>
              <a:gd name="csY474" fmla="*/ 1371798 h 1538630"/>
              <a:gd name="csX475" fmla="*/ 1184104 w 1609516"/>
              <a:gd name="csY475" fmla="*/ 1356176 h 1538630"/>
              <a:gd name="csX476" fmla="*/ 1177270 w 1609516"/>
              <a:gd name="csY476" fmla="*/ 1335247 h 1538630"/>
              <a:gd name="csX477" fmla="*/ 1169002 w 1609516"/>
              <a:gd name="csY477" fmla="*/ 1313464 h 1538630"/>
              <a:gd name="csX478" fmla="*/ 1163504 w 1609516"/>
              <a:gd name="csY478" fmla="*/ 1302130 h 1538630"/>
              <a:gd name="csX479" fmla="*/ 1162015 w 1609516"/>
              <a:gd name="csY479" fmla="*/ 1298788 h 1538630"/>
              <a:gd name="csX480" fmla="*/ 1160111 w 1609516"/>
              <a:gd name="csY480" fmla="*/ 1292656 h 1538630"/>
              <a:gd name="csX481" fmla="*/ 1154522 w 1609516"/>
              <a:gd name="csY481" fmla="*/ 1287245 h 1538630"/>
              <a:gd name="csX482" fmla="*/ 1151398 w 1609516"/>
              <a:gd name="csY482" fmla="*/ 1280199 h 1538630"/>
              <a:gd name="csX483" fmla="*/ 1144173 w 1609516"/>
              <a:gd name="csY483" fmla="*/ 1270774 h 1538630"/>
              <a:gd name="csX484" fmla="*/ 1142065 w 1609516"/>
              <a:gd name="csY484" fmla="*/ 1268160 h 1538630"/>
              <a:gd name="csX485" fmla="*/ 1135776 w 1609516"/>
              <a:gd name="csY485" fmla="*/ 1260470 h 1538630"/>
              <a:gd name="csX486" fmla="*/ 1132353 w 1609516"/>
              <a:gd name="csY486" fmla="*/ 1256247 h 1538630"/>
              <a:gd name="csX487" fmla="*/ 1112344 w 1609516"/>
              <a:gd name="csY487" fmla="*/ 1240741 h 1538630"/>
              <a:gd name="csX488" fmla="*/ 1106193 w 1609516"/>
              <a:gd name="csY488" fmla="*/ 1237570 h 1538630"/>
              <a:gd name="csX489" fmla="*/ 1101409 w 1609516"/>
              <a:gd name="csY489" fmla="*/ 1235104 h 1538630"/>
              <a:gd name="csX490" fmla="*/ 1101409 w 1609516"/>
              <a:gd name="csY490" fmla="*/ 1230876 h 1538630"/>
              <a:gd name="csX491" fmla="*/ 1065480 w 1609516"/>
              <a:gd name="csY491" fmla="*/ 1230876 h 1538630"/>
              <a:gd name="csX492" fmla="*/ 1063919 w 1609516"/>
              <a:gd name="csY492" fmla="*/ 1235104 h 1538630"/>
              <a:gd name="csX493" fmla="*/ 1059232 w 1609516"/>
              <a:gd name="csY493" fmla="*/ 1235104 h 1538630"/>
              <a:gd name="csX494" fmla="*/ 1059232 w 1609516"/>
              <a:gd name="csY494" fmla="*/ 1237922 h 1538630"/>
              <a:gd name="csX495" fmla="*/ 1040194 w 1609516"/>
              <a:gd name="csY495" fmla="*/ 1245761 h 1538630"/>
              <a:gd name="csX496" fmla="*/ 1030333 w 1609516"/>
              <a:gd name="csY496" fmla="*/ 1249901 h 1538630"/>
              <a:gd name="csX497" fmla="*/ 1013931 w 1609516"/>
              <a:gd name="csY497" fmla="*/ 1256242 h 1538630"/>
              <a:gd name="csX498" fmla="*/ 1005925 w 1609516"/>
              <a:gd name="csY498" fmla="*/ 1261615 h 1538630"/>
              <a:gd name="csX499" fmla="*/ 1004558 w 1609516"/>
              <a:gd name="csY499" fmla="*/ 1264697 h 1538630"/>
              <a:gd name="csX500" fmla="*/ 1002959 w 1609516"/>
              <a:gd name="csY500" fmla="*/ 1267961 h 1538630"/>
              <a:gd name="csX501" fmla="*/ 1000653 w 1609516"/>
              <a:gd name="csY501" fmla="*/ 1278965 h 1538630"/>
              <a:gd name="csX502" fmla="*/ 998297 w 1609516"/>
              <a:gd name="csY502" fmla="*/ 1294137 h 1538630"/>
              <a:gd name="csX503" fmla="*/ 996162 w 1609516"/>
              <a:gd name="csY503" fmla="*/ 1324765 h 1538630"/>
              <a:gd name="csX504" fmla="*/ 996164 w 1609516"/>
              <a:gd name="csY504" fmla="*/ 1327846 h 1538630"/>
              <a:gd name="csX505" fmla="*/ 1007780 w 1609516"/>
              <a:gd name="csY505" fmla="*/ 1403329 h 1538630"/>
              <a:gd name="csX506" fmla="*/ 1008940 w 1609516"/>
              <a:gd name="csY506" fmla="*/ 1407701 h 1538630"/>
              <a:gd name="csX507" fmla="*/ 1010080 w 1609516"/>
              <a:gd name="csY507" fmla="*/ 1411730 h 1538630"/>
              <a:gd name="csX508" fmla="*/ 1011075 w 1609516"/>
              <a:gd name="csY508" fmla="*/ 1415277 h 1538630"/>
              <a:gd name="csX509" fmla="*/ 1017055 w 1609516"/>
              <a:gd name="csY509" fmla="*/ 1422530 h 1538630"/>
              <a:gd name="csX510" fmla="*/ 1020277 w 1609516"/>
              <a:gd name="csY510" fmla="*/ 1427991 h 1538630"/>
              <a:gd name="csX511" fmla="*/ 1021796 w 1609516"/>
              <a:gd name="csY511" fmla="*/ 1430798 h 1538630"/>
              <a:gd name="csX512" fmla="*/ 1024579 w 1609516"/>
              <a:gd name="csY512" fmla="*/ 1437239 h 1538630"/>
              <a:gd name="csX513" fmla="*/ 1034043 w 1609516"/>
              <a:gd name="csY513" fmla="*/ 1448072 h 1538630"/>
              <a:gd name="csX514" fmla="*/ 1043782 w 1609516"/>
              <a:gd name="csY514" fmla="*/ 1464320 h 1538630"/>
              <a:gd name="csX515" fmla="*/ 1050458 w 1609516"/>
              <a:gd name="csY515" fmla="*/ 1472189 h 1538630"/>
              <a:gd name="csX516" fmla="*/ 1052926 w 1609516"/>
              <a:gd name="csY516" fmla="*/ 1482370 h 1538630"/>
              <a:gd name="csX517" fmla="*/ 1053316 w 1609516"/>
              <a:gd name="csY517" fmla="*/ 1496903 h 1538630"/>
              <a:gd name="csX518" fmla="*/ 1053352 w 1609516"/>
              <a:gd name="csY518" fmla="*/ 1500660 h 1538630"/>
              <a:gd name="csX519" fmla="*/ 1053341 w 1609516"/>
              <a:gd name="csY519" fmla="*/ 1504285 h 1538630"/>
              <a:gd name="csX520" fmla="*/ 1053329 w 1609516"/>
              <a:gd name="csY520" fmla="*/ 1507529 h 1538630"/>
              <a:gd name="csX521" fmla="*/ 1049801 w 1609516"/>
              <a:gd name="csY521" fmla="*/ 1516192 h 1538630"/>
              <a:gd name="csX522" fmla="*/ 1047312 w 1609516"/>
              <a:gd name="csY522" fmla="*/ 1516192 h 1538630"/>
              <a:gd name="csX523" fmla="*/ 1043611 w 1609516"/>
              <a:gd name="csY523" fmla="*/ 1522585 h 1538630"/>
              <a:gd name="csX524" fmla="*/ 1029552 w 1609516"/>
              <a:gd name="csY524" fmla="*/ 1529631 h 1538630"/>
              <a:gd name="csX525" fmla="*/ 1028771 w 1609516"/>
              <a:gd name="csY525" fmla="*/ 1532273 h 1538630"/>
              <a:gd name="csX526" fmla="*/ 1018013 w 1609516"/>
              <a:gd name="csY526" fmla="*/ 1537640 h 1538630"/>
              <a:gd name="csX527" fmla="*/ 981126 w 1609516"/>
              <a:gd name="csY527" fmla="*/ 1533859 h 1538630"/>
              <a:gd name="csX528" fmla="*/ 977227 w 1609516"/>
              <a:gd name="csY528" fmla="*/ 1531943 h 1538630"/>
              <a:gd name="csX529" fmla="*/ 955376 w 1609516"/>
              <a:gd name="csY529" fmla="*/ 1508751 h 1538630"/>
              <a:gd name="csX530" fmla="*/ 954571 w 1609516"/>
              <a:gd name="csY530" fmla="*/ 1500037 h 1538630"/>
              <a:gd name="csX531" fmla="*/ 951446 w 1609516"/>
              <a:gd name="csY531" fmla="*/ 1500037 h 1538630"/>
              <a:gd name="csX532" fmla="*/ 951251 w 1609516"/>
              <a:gd name="csY532" fmla="*/ 1487883 h 1538630"/>
              <a:gd name="csX533" fmla="*/ 951171 w 1609516"/>
              <a:gd name="csY533" fmla="*/ 1484431 h 1538630"/>
              <a:gd name="csX534" fmla="*/ 954571 w 1609516"/>
              <a:gd name="csY534" fmla="*/ 1466216 h 1538630"/>
              <a:gd name="csX535" fmla="*/ 954961 w 1609516"/>
              <a:gd name="csY535" fmla="*/ 1455118 h 1538630"/>
              <a:gd name="csX536" fmla="*/ 954932 w 1609516"/>
              <a:gd name="csY536" fmla="*/ 1451972 h 1538630"/>
              <a:gd name="csX537" fmla="*/ 945099 w 1609516"/>
              <a:gd name="csY537" fmla="*/ 1403594 h 1538630"/>
              <a:gd name="csX538" fmla="*/ 942366 w 1609516"/>
              <a:gd name="csY538" fmla="*/ 1393553 h 1538630"/>
              <a:gd name="csX539" fmla="*/ 934451 w 1609516"/>
              <a:gd name="csY539" fmla="*/ 1372734 h 1538630"/>
              <a:gd name="csX540" fmla="*/ 931974 w 1609516"/>
              <a:gd name="csY540" fmla="*/ 1365754 h 1538630"/>
              <a:gd name="csX541" fmla="*/ 931138 w 1609516"/>
              <a:gd name="csY541" fmla="*/ 1363343 h 1538630"/>
              <a:gd name="csX542" fmla="*/ 926452 w 1609516"/>
              <a:gd name="csY542" fmla="*/ 1361933 h 1538630"/>
              <a:gd name="csX543" fmla="*/ 918641 w 1609516"/>
              <a:gd name="csY543" fmla="*/ 1340795 h 1538630"/>
              <a:gd name="csX544" fmla="*/ 917079 w 1609516"/>
              <a:gd name="csY544" fmla="*/ 1335158 h 1538630"/>
              <a:gd name="csX545" fmla="*/ 913955 w 1609516"/>
              <a:gd name="csY545" fmla="*/ 1335158 h 1538630"/>
              <a:gd name="csX546" fmla="*/ 912057 w 1609516"/>
              <a:gd name="csY546" fmla="*/ 1330793 h 1538630"/>
              <a:gd name="csX547" fmla="*/ 902142 w 1609516"/>
              <a:gd name="csY547" fmla="*/ 1316222 h 1538630"/>
              <a:gd name="csX548" fmla="*/ 900091 w 1609516"/>
              <a:gd name="csY548" fmla="*/ 1313828 h 1538630"/>
              <a:gd name="csX549" fmla="*/ 878026 w 1609516"/>
              <a:gd name="csY549" fmla="*/ 1295700 h 1538630"/>
              <a:gd name="csX550" fmla="*/ 875134 w 1609516"/>
              <a:gd name="csY550" fmla="*/ 1293465 h 1538630"/>
              <a:gd name="csX551" fmla="*/ 869869 w 1609516"/>
              <a:gd name="csY551" fmla="*/ 1291826 h 1538630"/>
              <a:gd name="csX552" fmla="*/ 862384 w 1609516"/>
              <a:gd name="csY552" fmla="*/ 1291327 h 1538630"/>
              <a:gd name="csX553" fmla="*/ 844390 w 1609516"/>
              <a:gd name="csY553" fmla="*/ 1290461 h 1538630"/>
              <a:gd name="csX554" fmla="*/ 840476 w 1609516"/>
              <a:gd name="csY554" fmla="*/ 1290500 h 1538630"/>
              <a:gd name="csX555" fmla="*/ 831015 w 1609516"/>
              <a:gd name="csY555" fmla="*/ 1290637 h 1538630"/>
              <a:gd name="csX556" fmla="*/ 831015 w 1609516"/>
              <a:gd name="csY556" fmla="*/ 1293456 h 1538630"/>
              <a:gd name="csX557" fmla="*/ 818225 w 1609516"/>
              <a:gd name="csY557" fmla="*/ 1295570 h 1538630"/>
              <a:gd name="csX558" fmla="*/ 796774 w 1609516"/>
              <a:gd name="csY558" fmla="*/ 1297671 h 1538630"/>
              <a:gd name="csX559" fmla="*/ 783646 w 1609516"/>
              <a:gd name="csY559" fmla="*/ 1305736 h 1538630"/>
              <a:gd name="csX560" fmla="*/ 769263 w 1609516"/>
              <a:gd name="csY560" fmla="*/ 1327143 h 1538630"/>
              <a:gd name="csX561" fmla="*/ 764797 w 1609516"/>
              <a:gd name="csY561" fmla="*/ 1334360 h 1538630"/>
              <a:gd name="csX562" fmla="*/ 757875 w 1609516"/>
              <a:gd name="csY562" fmla="*/ 1353503 h 1538630"/>
              <a:gd name="csX563" fmla="*/ 755676 w 1609516"/>
              <a:gd name="csY563" fmla="*/ 1367455 h 1538630"/>
              <a:gd name="csX564" fmla="*/ 750558 w 1609516"/>
              <a:gd name="csY564" fmla="*/ 1399690 h 1538630"/>
              <a:gd name="csX565" fmla="*/ 753057 w 1609516"/>
              <a:gd name="csY565" fmla="*/ 1411256 h 1538630"/>
              <a:gd name="csX566" fmla="*/ 753057 w 1609516"/>
              <a:gd name="csY566" fmla="*/ 1416893 h 1538630"/>
              <a:gd name="csX567" fmla="*/ 756181 w 1609516"/>
              <a:gd name="csY567" fmla="*/ 1416893 h 1538630"/>
              <a:gd name="csX568" fmla="*/ 758133 w 1609516"/>
              <a:gd name="csY568" fmla="*/ 1436182 h 1538630"/>
              <a:gd name="csX569" fmla="*/ 758231 w 1609516"/>
              <a:gd name="csY569" fmla="*/ 1440781 h 1538630"/>
              <a:gd name="csX570" fmla="*/ 750713 w 1609516"/>
              <a:gd name="csY570" fmla="*/ 1465704 h 1538630"/>
              <a:gd name="csX571" fmla="*/ 748370 w 1609516"/>
              <a:gd name="csY571" fmla="*/ 1467185 h 1538630"/>
              <a:gd name="csX572" fmla="*/ 741633 w 1609516"/>
              <a:gd name="csY572" fmla="*/ 1473526 h 1538630"/>
              <a:gd name="csX573" fmla="*/ 728154 w 1609516"/>
              <a:gd name="csY573" fmla="*/ 1478343 h 1538630"/>
              <a:gd name="csX574" fmla="*/ 721814 w 1609516"/>
              <a:gd name="csY574" fmla="*/ 1480308 h 1538630"/>
              <a:gd name="csX575" fmla="*/ 708341 w 1609516"/>
              <a:gd name="csY575" fmla="*/ 1480661 h 1538630"/>
              <a:gd name="csX576" fmla="*/ 704637 w 1609516"/>
              <a:gd name="csY576" fmla="*/ 1480748 h 1538630"/>
              <a:gd name="csX577" fmla="*/ 668507 w 1609516"/>
              <a:gd name="csY577" fmla="*/ 1468418 h 1538630"/>
              <a:gd name="csX578" fmla="*/ 660178 w 1609516"/>
              <a:gd name="csY578" fmla="*/ 1450027 h 1538630"/>
              <a:gd name="csX579" fmla="*/ 657767 w 1609516"/>
              <a:gd name="csY579" fmla="*/ 1445078 h 1538630"/>
              <a:gd name="csX580" fmla="*/ 663369 w 1609516"/>
              <a:gd name="csY580" fmla="*/ 1409390 h 1538630"/>
              <a:gd name="csX581" fmla="*/ 671826 w 1609516"/>
              <a:gd name="csY581" fmla="*/ 1401392 h 1538630"/>
              <a:gd name="csX582" fmla="*/ 678075 w 1609516"/>
              <a:gd name="csY582" fmla="*/ 1390118 h 1538630"/>
              <a:gd name="csX583" fmla="*/ 684323 w 1609516"/>
              <a:gd name="csY583" fmla="*/ 1388709 h 1538630"/>
              <a:gd name="csX584" fmla="*/ 685293 w 1609516"/>
              <a:gd name="csY584" fmla="*/ 1384233 h 1538630"/>
              <a:gd name="csX585" fmla="*/ 686569 w 1609516"/>
              <a:gd name="csY585" fmla="*/ 1378404 h 1538630"/>
              <a:gd name="csX586" fmla="*/ 687207 w 1609516"/>
              <a:gd name="csY586" fmla="*/ 1375456 h 1538630"/>
              <a:gd name="csX587" fmla="*/ 690572 w 1609516"/>
              <a:gd name="csY587" fmla="*/ 1363343 h 1538630"/>
              <a:gd name="csX588" fmla="*/ 692495 w 1609516"/>
              <a:gd name="csY588" fmla="*/ 1323376 h 1538630"/>
              <a:gd name="csX589" fmla="*/ 692625 w 1609516"/>
              <a:gd name="csY589" fmla="*/ 1315006 h 1538630"/>
              <a:gd name="csX590" fmla="*/ 687447 w 1609516"/>
              <a:gd name="csY590" fmla="*/ 1287245 h 1538630"/>
              <a:gd name="csX591" fmla="*/ 682761 w 1609516"/>
              <a:gd name="csY591" fmla="*/ 1285835 h 1538630"/>
              <a:gd name="csX592" fmla="*/ 678954 w 1609516"/>
              <a:gd name="csY592" fmla="*/ 1281608 h 1538630"/>
              <a:gd name="csX593" fmla="*/ 668702 w 1609516"/>
              <a:gd name="csY593" fmla="*/ 1275971 h 1538630"/>
              <a:gd name="csX594" fmla="*/ 662454 w 1609516"/>
              <a:gd name="csY594" fmla="*/ 1270334 h 1538630"/>
              <a:gd name="csX595" fmla="*/ 654643 w 1609516"/>
              <a:gd name="csY595" fmla="*/ 1267516 h 1538630"/>
              <a:gd name="csX596" fmla="*/ 654643 w 1609516"/>
              <a:gd name="csY596" fmla="*/ 1264697 h 1538630"/>
              <a:gd name="csX597" fmla="*/ 650152 w 1609516"/>
              <a:gd name="csY597" fmla="*/ 1264345 h 1538630"/>
              <a:gd name="csX598" fmla="*/ 628087 w 1609516"/>
              <a:gd name="csY598" fmla="*/ 1257651 h 1538630"/>
              <a:gd name="csX599" fmla="*/ 628087 w 1609516"/>
              <a:gd name="csY599" fmla="*/ 1254833 h 1538630"/>
              <a:gd name="csX600" fmla="*/ 625121 w 1609516"/>
              <a:gd name="csY600" fmla="*/ 1254315 h 1538630"/>
              <a:gd name="csX601" fmla="*/ 621252 w 1609516"/>
              <a:gd name="csY601" fmla="*/ 1253600 h 1538630"/>
              <a:gd name="csX602" fmla="*/ 617409 w 1609516"/>
              <a:gd name="csY602" fmla="*/ 1252906 h 1538630"/>
              <a:gd name="csX603" fmla="*/ 610904 w 1609516"/>
              <a:gd name="csY603" fmla="*/ 1249196 h 1538630"/>
              <a:gd name="csX604" fmla="*/ 565739 w 1609516"/>
              <a:gd name="csY604" fmla="*/ 1271742 h 1538630"/>
              <a:gd name="csX605" fmla="*/ 546924 w 1609516"/>
              <a:gd name="csY605" fmla="*/ 1290829 h 1538630"/>
              <a:gd name="csX606" fmla="*/ 543635 w 1609516"/>
              <a:gd name="csY606" fmla="*/ 1294643 h 1538630"/>
              <a:gd name="csX607" fmla="*/ 540651 w 1609516"/>
              <a:gd name="csY607" fmla="*/ 1298188 h 1538630"/>
              <a:gd name="csX608" fmla="*/ 529673 w 1609516"/>
              <a:gd name="csY608" fmla="*/ 1305565 h 1538630"/>
              <a:gd name="csX609" fmla="*/ 526549 w 1609516"/>
              <a:gd name="csY609" fmla="*/ 1311202 h 1538630"/>
              <a:gd name="csX610" fmla="*/ 523425 w 1609516"/>
              <a:gd name="csY610" fmla="*/ 1311202 h 1538630"/>
              <a:gd name="csX611" fmla="*/ 523230 w 1609516"/>
              <a:gd name="csY611" fmla="*/ 1313580 h 1538630"/>
              <a:gd name="csX612" fmla="*/ 517732 w 1609516"/>
              <a:gd name="csY612" fmla="*/ 1319739 h 1538630"/>
              <a:gd name="csX613" fmla="*/ 502239 w 1609516"/>
              <a:gd name="csY613" fmla="*/ 1337096 h 1538630"/>
              <a:gd name="csX614" fmla="*/ 497058 w 1609516"/>
              <a:gd name="csY614" fmla="*/ 1344087 h 1538630"/>
              <a:gd name="csX615" fmla="*/ 494572 w 1609516"/>
              <a:gd name="csY615" fmla="*/ 1347465 h 1538630"/>
              <a:gd name="csX616" fmla="*/ 487776 w 1609516"/>
              <a:gd name="csY616" fmla="*/ 1356181 h 1538630"/>
              <a:gd name="csX617" fmla="*/ 481248 w 1609516"/>
              <a:gd name="csY617" fmla="*/ 1367571 h 1538630"/>
              <a:gd name="csX618" fmla="*/ 478123 w 1609516"/>
              <a:gd name="csY618" fmla="*/ 1367571 h 1538630"/>
              <a:gd name="csX619" fmla="*/ 477635 w 1609516"/>
              <a:gd name="csY619" fmla="*/ 1370565 h 1538630"/>
              <a:gd name="csX620" fmla="*/ 465626 w 1609516"/>
              <a:gd name="csY620" fmla="*/ 1388709 h 1538630"/>
              <a:gd name="csX621" fmla="*/ 461233 w 1609516"/>
              <a:gd name="csY621" fmla="*/ 1397340 h 1538630"/>
              <a:gd name="csX622" fmla="*/ 455765 w 1609516"/>
              <a:gd name="csY622" fmla="*/ 1408086 h 1538630"/>
              <a:gd name="csX623" fmla="*/ 439070 w 1609516"/>
              <a:gd name="csY623" fmla="*/ 1477490 h 1538630"/>
              <a:gd name="csX624" fmla="*/ 434384 w 1609516"/>
              <a:gd name="csY624" fmla="*/ 1478899 h 1538630"/>
              <a:gd name="csX625" fmla="*/ 432431 w 1609516"/>
              <a:gd name="csY625" fmla="*/ 1481982 h 1538630"/>
              <a:gd name="csX626" fmla="*/ 418763 w 1609516"/>
              <a:gd name="csY626" fmla="*/ 1494401 h 1538630"/>
              <a:gd name="csX627" fmla="*/ 415639 w 1609516"/>
              <a:gd name="csY627" fmla="*/ 1494401 h 1538630"/>
              <a:gd name="csX628" fmla="*/ 415639 w 1609516"/>
              <a:gd name="csY628" fmla="*/ 1497219 h 1538630"/>
              <a:gd name="csX629" fmla="*/ 406265 w 1609516"/>
              <a:gd name="csY629" fmla="*/ 1498628 h 1538630"/>
              <a:gd name="csX630" fmla="*/ 406265 w 1609516"/>
              <a:gd name="csY630" fmla="*/ 1501447 h 1538630"/>
              <a:gd name="csX631" fmla="*/ 375023 w 1609516"/>
              <a:gd name="csY631" fmla="*/ 1501447 h 1538630"/>
              <a:gd name="csX632" fmla="*/ 375023 w 1609516"/>
              <a:gd name="csY632" fmla="*/ 1499438 h 1538630"/>
              <a:gd name="csX633" fmla="*/ 374964 w 1609516"/>
              <a:gd name="csY633" fmla="*/ 1499436 h 1538630"/>
              <a:gd name="csX634" fmla="*/ 373179 w 1609516"/>
              <a:gd name="csY634" fmla="*/ 1498628 h 1538630"/>
              <a:gd name="csX635" fmla="*/ 365650 w 1609516"/>
              <a:gd name="csY635" fmla="*/ 1498628 h 1538630"/>
              <a:gd name="csX636" fmla="*/ 363134 w 1609516"/>
              <a:gd name="csY636" fmla="*/ 1494087 h 1538630"/>
              <a:gd name="csX637" fmla="*/ 362171 w 1609516"/>
              <a:gd name="csY637" fmla="*/ 1493651 h 1538630"/>
              <a:gd name="csX638" fmla="*/ 360609 w 1609516"/>
              <a:gd name="csY638" fmla="*/ 1490833 h 1538630"/>
              <a:gd name="csX639" fmla="*/ 363733 w 1609516"/>
              <a:gd name="csY639" fmla="*/ 1490833 h 1538630"/>
              <a:gd name="csX640" fmla="*/ 363733 w 1609516"/>
              <a:gd name="csY640" fmla="*/ 1489980 h 1538630"/>
              <a:gd name="csX641" fmla="*/ 348467 w 1609516"/>
              <a:gd name="csY641" fmla="*/ 1481717 h 1538630"/>
              <a:gd name="csX642" fmla="*/ 343872 w 1609516"/>
              <a:gd name="csY642" fmla="*/ 1461078 h 1538630"/>
              <a:gd name="csX643" fmla="*/ 343656 w 1609516"/>
              <a:gd name="csY643" fmla="*/ 1463649 h 1538630"/>
              <a:gd name="csX644" fmla="*/ 343424 w 1609516"/>
              <a:gd name="csY644" fmla="*/ 1466842 h 1538630"/>
              <a:gd name="csX645" fmla="*/ 341861 w 1609516"/>
              <a:gd name="csY645" fmla="*/ 1466842 h 1538630"/>
              <a:gd name="csX646" fmla="*/ 354143 w 1609516"/>
              <a:gd name="csY646" fmla="*/ 1420549 h 1538630"/>
              <a:gd name="csX647" fmla="*/ 376229 w 1609516"/>
              <a:gd name="csY647" fmla="*/ 1403427 h 1538630"/>
              <a:gd name="csX648" fmla="*/ 379491 w 1609516"/>
              <a:gd name="csY648" fmla="*/ 1404408 h 1538630"/>
              <a:gd name="csX649" fmla="*/ 379710 w 1609516"/>
              <a:gd name="csY649" fmla="*/ 1404210 h 1538630"/>
              <a:gd name="csX650" fmla="*/ 380882 w 1609516"/>
              <a:gd name="csY650" fmla="*/ 1401568 h 1538630"/>
              <a:gd name="csX651" fmla="*/ 392207 w 1609516"/>
              <a:gd name="csY651" fmla="*/ 1392936 h 1538630"/>
              <a:gd name="csX652" fmla="*/ 399542 w 1609516"/>
              <a:gd name="csY652" fmla="*/ 1386774 h 1538630"/>
              <a:gd name="csX653" fmla="*/ 405485 w 1609516"/>
              <a:gd name="csY653" fmla="*/ 1378917 h 1538630"/>
              <a:gd name="csX654" fmla="*/ 412008 w 1609516"/>
              <a:gd name="csY654" fmla="*/ 1369481 h 1538630"/>
              <a:gd name="csX655" fmla="*/ 421130 w 1609516"/>
              <a:gd name="csY655" fmla="*/ 1357057 h 1538630"/>
              <a:gd name="csX656" fmla="*/ 424676 w 1609516"/>
              <a:gd name="csY656" fmla="*/ 1348443 h 1538630"/>
              <a:gd name="csX657" fmla="*/ 427275 w 1609516"/>
              <a:gd name="csY657" fmla="*/ 1348443 h 1538630"/>
              <a:gd name="csX658" fmla="*/ 428135 w 1609516"/>
              <a:gd name="csY658" fmla="*/ 1345727 h 1538630"/>
              <a:gd name="csX659" fmla="*/ 432822 w 1609516"/>
              <a:gd name="csY659" fmla="*/ 1335158 h 1538630"/>
              <a:gd name="csX660" fmla="*/ 435946 w 1609516"/>
              <a:gd name="csY660" fmla="*/ 1335158 h 1538630"/>
              <a:gd name="csX661" fmla="*/ 437704 w 1609516"/>
              <a:gd name="csY661" fmla="*/ 1329786 h 1538630"/>
              <a:gd name="csX662" fmla="*/ 447394 w 1609516"/>
              <a:gd name="csY662" fmla="*/ 1311196 h 1538630"/>
              <a:gd name="csX663" fmla="*/ 469287 w 1609516"/>
              <a:gd name="csY663" fmla="*/ 1265964 h 1538630"/>
              <a:gd name="csX664" fmla="*/ 478178 w 1609516"/>
              <a:gd name="csY664" fmla="*/ 1246787 h 1538630"/>
              <a:gd name="csX665" fmla="*/ 480179 w 1609516"/>
              <a:gd name="csY665" fmla="*/ 1225768 h 1538630"/>
              <a:gd name="csX666" fmla="*/ 480250 w 1609516"/>
              <a:gd name="csY666" fmla="*/ 1217149 h 1538630"/>
              <a:gd name="csX667" fmla="*/ 462972 w 1609516"/>
              <a:gd name="csY667" fmla="*/ 1174827 h 1538630"/>
              <a:gd name="csX668" fmla="*/ 457468 w 1609516"/>
              <a:gd name="csY668" fmla="*/ 1169949 h 1538630"/>
              <a:gd name="csX669" fmla="*/ 440657 w 1609516"/>
              <a:gd name="csY669" fmla="*/ 1152570 h 1538630"/>
              <a:gd name="csX670" fmla="*/ 403142 w 1609516"/>
              <a:gd name="csY670" fmla="*/ 1122366 h 1538630"/>
              <a:gd name="csX671" fmla="*/ 401579 w 1609516"/>
              <a:gd name="csY671" fmla="*/ 1119547 h 1538630"/>
              <a:gd name="csX672" fmla="*/ 364564 w 1609516"/>
              <a:gd name="csY672" fmla="*/ 1118209 h 1538630"/>
              <a:gd name="csX673" fmla="*/ 357822 w 1609516"/>
              <a:gd name="csY673" fmla="*/ 1122041 h 1538630"/>
              <a:gd name="csX674" fmla="*/ 348077 w 1609516"/>
              <a:gd name="csY674" fmla="*/ 1125273 h 1538630"/>
              <a:gd name="csX675" fmla="*/ 334408 w 1609516"/>
              <a:gd name="csY675" fmla="*/ 1132230 h 1538630"/>
              <a:gd name="csX676" fmla="*/ 327964 w 1609516"/>
              <a:gd name="csY676" fmla="*/ 1134080 h 1538630"/>
              <a:gd name="csX677" fmla="*/ 279734 w 1609516"/>
              <a:gd name="csY677" fmla="*/ 1166051 h 1538630"/>
              <a:gd name="csX678" fmla="*/ 276609 w 1609516"/>
              <a:gd name="csY678" fmla="*/ 1173098 h 1538630"/>
              <a:gd name="csX679" fmla="*/ 260988 w 1609516"/>
              <a:gd name="csY679" fmla="*/ 1188599 h 1538630"/>
              <a:gd name="csX680" fmla="*/ 257956 w 1609516"/>
              <a:gd name="csY680" fmla="*/ 1191132 h 1538630"/>
              <a:gd name="csX681" fmla="*/ 243805 w 1609516"/>
              <a:gd name="csY681" fmla="*/ 1196629 h 1538630"/>
              <a:gd name="csX682" fmla="*/ 243805 w 1609516"/>
              <a:gd name="csY682" fmla="*/ 1194236 h 1538630"/>
              <a:gd name="csX683" fmla="*/ 240288 w 1609516"/>
              <a:gd name="csY683" fmla="*/ 1194765 h 1538630"/>
              <a:gd name="csX684" fmla="*/ 243374 w 1609516"/>
              <a:gd name="csY684" fmla="*/ 1194765 h 1538630"/>
              <a:gd name="csX685" fmla="*/ 243374 w 1609516"/>
              <a:gd name="csY685" fmla="*/ 1196797 h 1538630"/>
              <a:gd name="csX686" fmla="*/ 243805 w 1609516"/>
              <a:gd name="csY686" fmla="*/ 1196629 h 1538630"/>
              <a:gd name="csX687" fmla="*/ 243805 w 1609516"/>
              <a:gd name="csY687" fmla="*/ 1197055 h 1538630"/>
              <a:gd name="csX688" fmla="*/ 243374 w 1609516"/>
              <a:gd name="csY688" fmla="*/ 1197055 h 1538630"/>
              <a:gd name="csX689" fmla="*/ 243374 w 1609516"/>
              <a:gd name="csY689" fmla="*/ 1197584 h 1538630"/>
              <a:gd name="csX690" fmla="*/ 241319 w 1609516"/>
              <a:gd name="csY690" fmla="*/ 1197595 h 1538630"/>
              <a:gd name="csX691" fmla="*/ 238009 w 1609516"/>
              <a:gd name="csY691" fmla="*/ 1198881 h 1538630"/>
              <a:gd name="csX692" fmla="*/ 215687 w 1609516"/>
              <a:gd name="csY692" fmla="*/ 1198464 h 1538630"/>
              <a:gd name="csX693" fmla="*/ 215687 w 1609516"/>
              <a:gd name="csY693" fmla="*/ 1197734 h 1538630"/>
              <a:gd name="csX694" fmla="*/ 213936 w 1609516"/>
              <a:gd name="csY694" fmla="*/ 1197744 h 1538630"/>
              <a:gd name="csX695" fmla="*/ 207446 w 1609516"/>
              <a:gd name="csY695" fmla="*/ 1196175 h 1538630"/>
              <a:gd name="csX696" fmla="*/ 207822 w 1609516"/>
              <a:gd name="csY696" fmla="*/ 1195610 h 1538630"/>
              <a:gd name="csX697" fmla="*/ 184737 w 1609516"/>
              <a:gd name="csY697" fmla="*/ 1180936 h 1538630"/>
              <a:gd name="csX698" fmla="*/ 179270 w 1609516"/>
              <a:gd name="csY698" fmla="*/ 1154866 h 1538630"/>
              <a:gd name="csX699" fmla="*/ 179194 w 1609516"/>
              <a:gd name="csY699" fmla="*/ 1151621 h 1538630"/>
              <a:gd name="csX700" fmla="*/ 193195 w 1609516"/>
              <a:gd name="csY700" fmla="*/ 1120065 h 1538630"/>
              <a:gd name="csX701" fmla="*/ 229551 w 1609516"/>
              <a:gd name="csY701" fmla="*/ 1110299 h 1538630"/>
              <a:gd name="csX702" fmla="*/ 260988 w 1609516"/>
              <a:gd name="csY702" fmla="*/ 1108274 h 1538630"/>
              <a:gd name="csX703" fmla="*/ 260988 w 1609516"/>
              <a:gd name="csY703" fmla="*/ 1105455 h 1538630"/>
              <a:gd name="csX704" fmla="*/ 263911 w 1609516"/>
              <a:gd name="csY704" fmla="*/ 1104310 h 1538630"/>
              <a:gd name="csX705" fmla="*/ 286995 w 1609516"/>
              <a:gd name="csY705" fmla="*/ 1090185 h 1538630"/>
              <a:gd name="csX706" fmla="*/ 299358 w 1609516"/>
              <a:gd name="csY706" fmla="*/ 1080970 h 1538630"/>
              <a:gd name="csX707" fmla="*/ 317762 w 1609516"/>
              <a:gd name="csY707" fmla="*/ 1063272 h 1538630"/>
              <a:gd name="csX708" fmla="*/ 325035 w 1609516"/>
              <a:gd name="csY708" fmla="*/ 1057542 h 1538630"/>
              <a:gd name="csX709" fmla="*/ 325328 w 1609516"/>
              <a:gd name="csY709" fmla="*/ 1023104 h 1538630"/>
              <a:gd name="csX710" fmla="*/ 324544 w 1609516"/>
              <a:gd name="csY710" fmla="*/ 1019247 h 1538630"/>
              <a:gd name="csX711" fmla="*/ 317225 w 1609516"/>
              <a:gd name="csY711" fmla="*/ 996945 h 1538630"/>
              <a:gd name="csX712" fmla="*/ 315388 w 1609516"/>
              <a:gd name="csY712" fmla="*/ 992690 h 1538630"/>
              <a:gd name="csX713" fmla="*/ 276232 w 1609516"/>
              <a:gd name="csY713" fmla="*/ 950666 h 1538630"/>
              <a:gd name="csX714" fmla="*/ 271923 w 1609516"/>
              <a:gd name="csY714" fmla="*/ 949031 h 1538630"/>
              <a:gd name="csX715" fmla="*/ 268299 w 1609516"/>
              <a:gd name="csY715" fmla="*/ 947441 h 1538630"/>
              <a:gd name="csX716" fmla="*/ 199187 w 1609516"/>
              <a:gd name="csY716" fmla="*/ 938991 h 1538630"/>
              <a:gd name="csX717" fmla="*/ 193719 w 1609516"/>
              <a:gd name="csY717" fmla="*/ 938971 h 1538630"/>
              <a:gd name="csX718" fmla="*/ 188539 w 1609516"/>
              <a:gd name="csY718" fmla="*/ 938980 h 1538630"/>
              <a:gd name="csX719" fmla="*/ 183874 w 1609516"/>
              <a:gd name="csY719" fmla="*/ 938985 h 1538630"/>
              <a:gd name="csX720" fmla="*/ 173509 w 1609516"/>
              <a:gd name="csY720" fmla="*/ 940576 h 1538630"/>
              <a:gd name="csX721" fmla="*/ 161403 w 1609516"/>
              <a:gd name="csY721" fmla="*/ 940664 h 1538630"/>
              <a:gd name="csX722" fmla="*/ 158102 w 1609516"/>
              <a:gd name="csY722" fmla="*/ 940645 h 1538630"/>
              <a:gd name="csX723" fmla="*/ 150875 w 1609516"/>
              <a:gd name="csY723" fmla="*/ 940583 h 1538630"/>
              <a:gd name="csX724" fmla="*/ 148425 w 1609516"/>
              <a:gd name="csY724" fmla="*/ 940717 h 1538630"/>
              <a:gd name="csX725" fmla="*/ 149617 w 1609516"/>
              <a:gd name="csY725" fmla="*/ 940995 h 1538630"/>
              <a:gd name="csX726" fmla="*/ 149617 w 1609516"/>
              <a:gd name="csY726" fmla="*/ 942404 h 1538630"/>
              <a:gd name="csX727" fmla="*/ 146627 w 1609516"/>
              <a:gd name="csY727" fmla="*/ 942871 h 1538630"/>
              <a:gd name="csX728" fmla="*/ 110564 w 1609516"/>
              <a:gd name="csY728" fmla="*/ 949449 h 1538630"/>
              <a:gd name="csX729" fmla="*/ 111283 w 1609516"/>
              <a:gd name="csY729" fmla="*/ 946205 h 1538630"/>
              <a:gd name="csX730" fmla="*/ 101652 w 1609516"/>
              <a:gd name="csY730" fmla="*/ 956078 h 1538630"/>
              <a:gd name="csX731" fmla="*/ 98052 w 1609516"/>
              <a:gd name="csY731" fmla="*/ 958467 h 1538630"/>
              <a:gd name="csX732" fmla="*/ 67286 w 1609516"/>
              <a:gd name="csY732" fmla="*/ 972989 h 1538630"/>
              <a:gd name="csX733" fmla="*/ 67286 w 1609516"/>
              <a:gd name="csY733" fmla="*/ 975807 h 1538630"/>
              <a:gd name="csX734" fmla="*/ 31942 w 1609516"/>
              <a:gd name="csY734" fmla="*/ 976423 h 1538630"/>
              <a:gd name="csX735" fmla="*/ 5673 w 1609516"/>
              <a:gd name="csY735" fmla="*/ 953419 h 1538630"/>
              <a:gd name="csX736" fmla="*/ 4801 w 1609516"/>
              <a:gd name="csY736" fmla="*/ 944804 h 1538630"/>
              <a:gd name="csX737" fmla="*/ 1676 w 1609516"/>
              <a:gd name="csY737" fmla="*/ 944804 h 1538630"/>
              <a:gd name="csX738" fmla="*/ 17 w 1609516"/>
              <a:gd name="csY738" fmla="*/ 931857 h 1538630"/>
              <a:gd name="csX739" fmla="*/ 59 w 1609516"/>
              <a:gd name="csY739" fmla="*/ 927216 h 1538630"/>
              <a:gd name="csX740" fmla="*/ 115 w 1609516"/>
              <a:gd name="csY740" fmla="*/ 923666 h 1538630"/>
              <a:gd name="csX741" fmla="*/ 3238 w 1609516"/>
              <a:gd name="csY741" fmla="*/ 923666 h 1538630"/>
              <a:gd name="csX742" fmla="*/ 3238 w 1609516"/>
              <a:gd name="csY742" fmla="*/ 918029 h 1538630"/>
              <a:gd name="csX743" fmla="*/ 6363 w 1609516"/>
              <a:gd name="csY743" fmla="*/ 918029 h 1538630"/>
              <a:gd name="csX744" fmla="*/ 6656 w 1609516"/>
              <a:gd name="csY744" fmla="*/ 912832 h 1538630"/>
              <a:gd name="csX745" fmla="*/ 15736 w 1609516"/>
              <a:gd name="csY745" fmla="*/ 899709 h 1538630"/>
              <a:gd name="csX746" fmla="*/ 17243 w 1609516"/>
              <a:gd name="csY746" fmla="*/ 898894 h 1538630"/>
              <a:gd name="csX747" fmla="*/ 16800 w 1609516"/>
              <a:gd name="csY747" fmla="*/ 898694 h 1538630"/>
              <a:gd name="csX748" fmla="*/ 24988 w 1609516"/>
              <a:gd name="csY748" fmla="*/ 894101 h 1538630"/>
              <a:gd name="csX749" fmla="*/ 26768 w 1609516"/>
              <a:gd name="csY749" fmla="*/ 892399 h 1538630"/>
              <a:gd name="csX750" fmla="*/ 30198 w 1609516"/>
              <a:gd name="csY750" fmla="*/ 890164 h 1538630"/>
              <a:gd name="csX751" fmla="*/ 32204 w 1609516"/>
              <a:gd name="csY751" fmla="*/ 890054 h 1538630"/>
              <a:gd name="csX752" fmla="*/ 38914 w 1609516"/>
              <a:gd name="csY752" fmla="*/ 886291 h 1538630"/>
              <a:gd name="csX753" fmla="*/ 63664 w 1609516"/>
              <a:gd name="csY753" fmla="*/ 886011 h 1538630"/>
              <a:gd name="csX754" fmla="*/ 63664 w 1609516"/>
              <a:gd name="csY754" fmla="*/ 886531 h 1538630"/>
              <a:gd name="csX755" fmla="*/ 70784 w 1609516"/>
              <a:gd name="csY755" fmla="*/ 886647 h 1538630"/>
              <a:gd name="csX756" fmla="*/ 82126 w 1609516"/>
              <a:gd name="csY756" fmla="*/ 889845 h 1538630"/>
              <a:gd name="csX757" fmla="*/ 114149 w 1609516"/>
              <a:gd name="csY757" fmla="*/ 892663 h 1538630"/>
              <a:gd name="csX758" fmla="*/ 118836 w 1609516"/>
              <a:gd name="csY758" fmla="*/ 889845 h 1538630"/>
              <a:gd name="csX759" fmla="*/ 131626 w 1609516"/>
              <a:gd name="csY759" fmla="*/ 887114 h 1538630"/>
              <a:gd name="csX760" fmla="*/ 155116 w 1609516"/>
              <a:gd name="csY760" fmla="*/ 880913 h 1538630"/>
              <a:gd name="csX761" fmla="*/ 165406 w 1609516"/>
              <a:gd name="csY761" fmla="*/ 878483 h 1538630"/>
              <a:gd name="csX762" fmla="*/ 176634 w 1609516"/>
              <a:gd name="csY762" fmla="*/ 874343 h 1538630"/>
              <a:gd name="csX763" fmla="*/ 186397 w 1609516"/>
              <a:gd name="csY763" fmla="*/ 871524 h 1538630"/>
              <a:gd name="csX764" fmla="*/ 191871 w 1609516"/>
              <a:gd name="csY764" fmla="*/ 870033 h 1538630"/>
              <a:gd name="csX765" fmla="*/ 203483 w 1609516"/>
              <a:gd name="csY765" fmla="*/ 867208 h 1538630"/>
              <a:gd name="csX766" fmla="*/ 211001 w 1609516"/>
              <a:gd name="csY766" fmla="*/ 861660 h 1538630"/>
              <a:gd name="csX767" fmla="*/ 218031 w 1609516"/>
              <a:gd name="csY767" fmla="*/ 858577 h 1538630"/>
              <a:gd name="csX768" fmla="*/ 254740 w 1609516"/>
              <a:gd name="csY768" fmla="*/ 825020 h 1538630"/>
              <a:gd name="csX769" fmla="*/ 257864 w 1609516"/>
              <a:gd name="csY769" fmla="*/ 820792 h 1538630"/>
              <a:gd name="csX770" fmla="*/ 258318 w 1609516"/>
              <a:gd name="csY770" fmla="*/ 813810 h 1538630"/>
              <a:gd name="csX771" fmla="*/ 258378 w 1609516"/>
              <a:gd name="csY771" fmla="*/ 809502 h 1538630"/>
              <a:gd name="csX772" fmla="*/ 258389 w 1609516"/>
              <a:gd name="csY772" fmla="*/ 804845 h 1538630"/>
              <a:gd name="csX773" fmla="*/ 258420 w 1609516"/>
              <a:gd name="csY773" fmla="*/ 800036 h 1538630"/>
              <a:gd name="csX774" fmla="*/ 258443 w 1609516"/>
              <a:gd name="csY774" fmla="*/ 789939 h 1538630"/>
              <a:gd name="csX775" fmla="*/ 258566 w 1609516"/>
              <a:gd name="csY775" fmla="*/ 774594 h 1538630"/>
              <a:gd name="csX776" fmla="*/ 258584 w 1609516"/>
              <a:gd name="csY776" fmla="*/ 764771 h 1538630"/>
              <a:gd name="csX777" fmla="*/ 258652 w 1609516"/>
              <a:gd name="csY777" fmla="*/ 760174 h 1538630"/>
              <a:gd name="csX778" fmla="*/ 251616 w 1609516"/>
              <a:gd name="csY778" fmla="*/ 733421 h 1538630"/>
              <a:gd name="csX779" fmla="*/ 247613 w 1609516"/>
              <a:gd name="csY779" fmla="*/ 721883 h 1538630"/>
              <a:gd name="csX780" fmla="*/ 241291 w 1609516"/>
              <a:gd name="csY780" fmla="*/ 705644 h 1538630"/>
              <a:gd name="csX781" fmla="*/ 237557 w 1609516"/>
              <a:gd name="csY781" fmla="*/ 689735 h 1538630"/>
              <a:gd name="csX782" fmla="*/ 248492 w 1609516"/>
              <a:gd name="csY782" fmla="*/ 685507 h 1538630"/>
              <a:gd name="csX783" fmla="*/ 248492 w 1609516"/>
              <a:gd name="csY783" fmla="*/ 681279 h 1538630"/>
              <a:gd name="csX784" fmla="*/ 240681 w 1609516"/>
              <a:gd name="csY784" fmla="*/ 679870 h 1538630"/>
              <a:gd name="csX785" fmla="*/ 240681 w 1609516"/>
              <a:gd name="csY785" fmla="*/ 677052 h 1538630"/>
              <a:gd name="csX786" fmla="*/ 238094 w 1609516"/>
              <a:gd name="csY786" fmla="*/ 676645 h 1538630"/>
              <a:gd name="csX787" fmla="*/ 225841 w 1609516"/>
              <a:gd name="csY787" fmla="*/ 670886 h 1538630"/>
              <a:gd name="csX788" fmla="*/ 201531 w 1609516"/>
              <a:gd name="csY788" fmla="*/ 662508 h 1538630"/>
              <a:gd name="csX789" fmla="*/ 188252 w 1609516"/>
              <a:gd name="csY789" fmla="*/ 658644 h 1538630"/>
              <a:gd name="csX790" fmla="*/ 182431 w 1609516"/>
              <a:gd name="csY790" fmla="*/ 657327 h 1538630"/>
              <a:gd name="csX791" fmla="*/ 182431 w 1609516"/>
              <a:gd name="csY791" fmla="*/ 657613 h 1538630"/>
              <a:gd name="csX792" fmla="*/ 146503 w 1609516"/>
              <a:gd name="csY792" fmla="*/ 656204 h 1538630"/>
              <a:gd name="csX793" fmla="*/ 146503 w 1609516"/>
              <a:gd name="csY793" fmla="*/ 659022 h 1538630"/>
              <a:gd name="csX794" fmla="*/ 110378 w 1609516"/>
              <a:gd name="csY794" fmla="*/ 663778 h 1538630"/>
              <a:gd name="csX795" fmla="*/ 106453 w 1609516"/>
              <a:gd name="csY795" fmla="*/ 663836 h 1538630"/>
              <a:gd name="csX796" fmla="*/ 102751 w 1609516"/>
              <a:gd name="csY796" fmla="*/ 663811 h 1538630"/>
              <a:gd name="csX797" fmla="*/ 99449 w 1609516"/>
              <a:gd name="csY797" fmla="*/ 663797 h 1538630"/>
              <a:gd name="csX798" fmla="*/ 91828 w 1609516"/>
              <a:gd name="csY798" fmla="*/ 659022 h 1538630"/>
              <a:gd name="csX799" fmla="*/ 98077 w 1609516"/>
              <a:gd name="csY799" fmla="*/ 659022 h 1538630"/>
              <a:gd name="csX800" fmla="*/ 98077 w 1609516"/>
              <a:gd name="csY800" fmla="*/ 661841 h 1538630"/>
              <a:gd name="csX801" fmla="*/ 119023 w 1609516"/>
              <a:gd name="csY801" fmla="*/ 661357 h 1538630"/>
              <a:gd name="csX802" fmla="*/ 119536 w 1609516"/>
              <a:gd name="csY802" fmla="*/ 661197 h 1538630"/>
              <a:gd name="csX803" fmla="*/ 109853 w 1609516"/>
              <a:gd name="csY803" fmla="*/ 661639 h 1538630"/>
              <a:gd name="csX804" fmla="*/ 106552 w 1609516"/>
              <a:gd name="csY804" fmla="*/ 661619 h 1538630"/>
              <a:gd name="csX805" fmla="*/ 98528 w 1609516"/>
              <a:gd name="csY805" fmla="*/ 661550 h 1538630"/>
              <a:gd name="csX806" fmla="*/ 98528 w 1609516"/>
              <a:gd name="csY806" fmla="*/ 658732 h 1538630"/>
              <a:gd name="csX807" fmla="*/ 89155 w 1609516"/>
              <a:gd name="csY807" fmla="*/ 657323 h 1538630"/>
              <a:gd name="csX808" fmla="*/ 89155 w 1609516"/>
              <a:gd name="csY808" fmla="*/ 654504 h 1538630"/>
              <a:gd name="csX809" fmla="*/ 86397 w 1609516"/>
              <a:gd name="csY809" fmla="*/ 653442 h 1538630"/>
              <a:gd name="csX810" fmla="*/ 77049 w 1609516"/>
              <a:gd name="csY810" fmla="*/ 646137 h 1538630"/>
              <a:gd name="csX811" fmla="*/ 74145 w 1609516"/>
              <a:gd name="csY811" fmla="*/ 643192 h 1538630"/>
              <a:gd name="csX812" fmla="*/ 71972 w 1609516"/>
              <a:gd name="csY812" fmla="*/ 636185 h 1538630"/>
              <a:gd name="csX813" fmla="*/ 68848 w 1609516"/>
              <a:gd name="csY813" fmla="*/ 636185 h 1538630"/>
              <a:gd name="csX814" fmla="*/ 70410 w 1609516"/>
              <a:gd name="csY814" fmla="*/ 595317 h 1538630"/>
              <a:gd name="csX815" fmla="*/ 79782 w 1609516"/>
              <a:gd name="csY815" fmla="*/ 584043 h 1538630"/>
              <a:gd name="csX816" fmla="*/ 82656 w 1609516"/>
              <a:gd name="csY816" fmla="*/ 581115 h 1538630"/>
              <a:gd name="csX817" fmla="*/ 116694 w 1609516"/>
              <a:gd name="csY817" fmla="*/ 572323 h 1538630"/>
              <a:gd name="csX818" fmla="*/ 152031 w 1609516"/>
              <a:gd name="csY818" fmla="*/ 590385 h 1538630"/>
              <a:gd name="csX819" fmla="*/ 191474 w 1609516"/>
              <a:gd name="csY819" fmla="*/ 605886 h 1538630"/>
              <a:gd name="csX820" fmla="*/ 206314 w 1609516"/>
              <a:gd name="csY820" fmla="*/ 608000 h 1538630"/>
              <a:gd name="csX821" fmla="*/ 206314 w 1609516"/>
              <a:gd name="csY821" fmla="*/ 610818 h 1538630"/>
              <a:gd name="csX822" fmla="*/ 234433 w 1609516"/>
              <a:gd name="csY822" fmla="*/ 610818 h 1538630"/>
              <a:gd name="csX823" fmla="*/ 239522 w 1609516"/>
              <a:gd name="csY823" fmla="*/ 610802 h 1538630"/>
              <a:gd name="csX824" fmla="*/ 268799 w 1609516"/>
              <a:gd name="csY824" fmla="*/ 600954 h 1538630"/>
              <a:gd name="csX825" fmla="*/ 271740 w 1609516"/>
              <a:gd name="csY825" fmla="*/ 599325 h 1538630"/>
              <a:gd name="csX826" fmla="*/ 284420 w 1609516"/>
              <a:gd name="csY826" fmla="*/ 579816 h 1538630"/>
              <a:gd name="csX827" fmla="*/ 289399 w 1609516"/>
              <a:gd name="csY827" fmla="*/ 568630 h 1538630"/>
              <a:gd name="csX828" fmla="*/ 293958 w 1609516"/>
              <a:gd name="csY828" fmla="*/ 535838 h 1538630"/>
              <a:gd name="csX829" fmla="*/ 289107 w 1609516"/>
              <a:gd name="csY829" fmla="*/ 529084 h 1538630"/>
              <a:gd name="csX830" fmla="*/ 289107 w 1609516"/>
              <a:gd name="csY830" fmla="*/ 526265 h 1538630"/>
              <a:gd name="csX831" fmla="*/ 284420 w 1609516"/>
              <a:gd name="csY831" fmla="*/ 524856 h 1538630"/>
              <a:gd name="csX832" fmla="*/ 282858 w 1609516"/>
              <a:gd name="csY832" fmla="*/ 520628 h 1538630"/>
              <a:gd name="csX833" fmla="*/ 277977 w 1609516"/>
              <a:gd name="csY833" fmla="*/ 516577 h 1538630"/>
              <a:gd name="csX834" fmla="*/ 264925 w 1609516"/>
              <a:gd name="csY834" fmla="*/ 506443 h 1538630"/>
              <a:gd name="csX835" fmla="*/ 229746 w 1609516"/>
              <a:gd name="csY835" fmla="*/ 481170 h 1538630"/>
              <a:gd name="csX836" fmla="*/ 221057 w 1609516"/>
              <a:gd name="csY836" fmla="*/ 475445 h 1538630"/>
              <a:gd name="csX837" fmla="*/ 212563 w 1609516"/>
              <a:gd name="csY837" fmla="*/ 469896 h 1538630"/>
              <a:gd name="csX838" fmla="*/ 208889 w 1609516"/>
              <a:gd name="csY838" fmla="*/ 467491 h 1538630"/>
              <a:gd name="csX839" fmla="*/ 190406 w 1609516"/>
              <a:gd name="csY839" fmla="*/ 456382 h 1538630"/>
              <a:gd name="csX840" fmla="*/ 186942 w 1609516"/>
              <a:gd name="csY840" fmla="*/ 454460 h 1538630"/>
              <a:gd name="csX841" fmla="*/ 180041 w 1609516"/>
              <a:gd name="csY841" fmla="*/ 450696 h 1538630"/>
              <a:gd name="csX842" fmla="*/ 171948 w 1609516"/>
              <a:gd name="csY842" fmla="*/ 445940 h 1538630"/>
              <a:gd name="csX843" fmla="*/ 171948 w 1609516"/>
              <a:gd name="csY843" fmla="*/ 443121 h 1538630"/>
              <a:gd name="csX844" fmla="*/ 168482 w 1609516"/>
              <a:gd name="csY844" fmla="*/ 442708 h 1538630"/>
              <a:gd name="csX845" fmla="*/ 157107 w 1609516"/>
              <a:gd name="csY845" fmla="*/ 437044 h 1538630"/>
              <a:gd name="csX846" fmla="*/ 132559 w 1609516"/>
              <a:gd name="csY846" fmla="*/ 427510 h 1538630"/>
              <a:gd name="csX847" fmla="*/ 123522 w 1609516"/>
              <a:gd name="csY847" fmla="*/ 421983 h 1538630"/>
              <a:gd name="csX848" fmla="*/ 107986 w 1609516"/>
              <a:gd name="csY848" fmla="*/ 418730 h 1538630"/>
              <a:gd name="csX849" fmla="*/ 102494 w 1609516"/>
              <a:gd name="csY849" fmla="*/ 418622 h 1538630"/>
              <a:gd name="csX850" fmla="*/ 91157 w 1609516"/>
              <a:gd name="csY850" fmla="*/ 418490 h 1538630"/>
              <a:gd name="csX851" fmla="*/ 55277 w 1609516"/>
              <a:gd name="csY851" fmla="*/ 410445 h 1538630"/>
              <a:gd name="csX852" fmla="*/ 51665 w 1609516"/>
              <a:gd name="csY852" fmla="*/ 406481 h 1538630"/>
              <a:gd name="csX853" fmla="*/ 45904 w 1609516"/>
              <a:gd name="csY853" fmla="*/ 400492 h 1538630"/>
              <a:gd name="csX854" fmla="*/ 43152 w 1609516"/>
              <a:gd name="csY854" fmla="*/ 397564 h 1538630"/>
              <a:gd name="csX855" fmla="*/ 37605 w 1609516"/>
              <a:gd name="csY855" fmla="*/ 393798 h 1538630"/>
              <a:gd name="csX856" fmla="*/ 38995 w 1609516"/>
              <a:gd name="csY856" fmla="*/ 368712 h 1538630"/>
              <a:gd name="csX857" fmla="*/ 38666 w 1609516"/>
              <a:gd name="csY857" fmla="*/ 369724 h 1538630"/>
              <a:gd name="csX858" fmla="*/ 35542 w 1609516"/>
              <a:gd name="csY858" fmla="*/ 384081 h 1538630"/>
              <a:gd name="csX859" fmla="*/ 33326 w 1609516"/>
              <a:gd name="csY859" fmla="*/ 357791 h 1538630"/>
              <a:gd name="csX860" fmla="*/ 52725 w 1609516"/>
              <a:gd name="csY860" fmla="*/ 333349 h 1538630"/>
              <a:gd name="csX861" fmla="*/ 55222 w 1609516"/>
              <a:gd name="csY861" fmla="*/ 334475 h 1538630"/>
              <a:gd name="csX862" fmla="*/ 56222 w 1609516"/>
              <a:gd name="csY862" fmla="*/ 333347 h 1538630"/>
              <a:gd name="csX863" fmla="*/ 55871 w 1609516"/>
              <a:gd name="csY863" fmla="*/ 333347 h 1538630"/>
              <a:gd name="csX864" fmla="*/ 56346 w 1609516"/>
              <a:gd name="csY864" fmla="*/ 333207 h 1538630"/>
              <a:gd name="csX865" fmla="*/ 56351 w 1609516"/>
              <a:gd name="csY865" fmla="*/ 333202 h 1538630"/>
              <a:gd name="csX866" fmla="*/ 56365 w 1609516"/>
              <a:gd name="csY866" fmla="*/ 333202 h 1538630"/>
              <a:gd name="csX867" fmla="*/ 79571 w 1609516"/>
              <a:gd name="csY867" fmla="*/ 326360 h 1538630"/>
              <a:gd name="csX868" fmla="*/ 104297 w 1609516"/>
              <a:gd name="csY868" fmla="*/ 330529 h 1538630"/>
              <a:gd name="csX869" fmla="*/ 107170 w 1609516"/>
              <a:gd name="csY869" fmla="*/ 334417 h 1538630"/>
              <a:gd name="csX870" fmla="*/ 109366 w 1609516"/>
              <a:gd name="csY870" fmla="*/ 336046 h 1538630"/>
              <a:gd name="csX871" fmla="*/ 109463 w 1609516"/>
              <a:gd name="csY871" fmla="*/ 336020 h 1538630"/>
              <a:gd name="csX872" fmla="*/ 109463 w 1609516"/>
              <a:gd name="csY872" fmla="*/ 336118 h 1538630"/>
              <a:gd name="csX873" fmla="*/ 115226 w 1609516"/>
              <a:gd name="csY873" fmla="*/ 340394 h 1538630"/>
              <a:gd name="csX874" fmla="*/ 114010 w 1609516"/>
              <a:gd name="csY874" fmla="*/ 340120 h 1538630"/>
              <a:gd name="csX875" fmla="*/ 133285 w 1609516"/>
              <a:gd name="csY875" fmla="*/ 357423 h 1538630"/>
              <a:gd name="csX876" fmla="*/ 173509 w 1609516"/>
              <a:gd name="csY876" fmla="*/ 389571 h 1538630"/>
              <a:gd name="csX877" fmla="*/ 181711 w 1609516"/>
              <a:gd name="csY877" fmla="*/ 393270 h 1538630"/>
              <a:gd name="csX878" fmla="*/ 185507 w 1609516"/>
              <a:gd name="csY878" fmla="*/ 394976 h 1538630"/>
              <a:gd name="csX879" fmla="*/ 192658 w 1609516"/>
              <a:gd name="csY879" fmla="*/ 398257 h 1538630"/>
              <a:gd name="csX880" fmla="*/ 195966 w 1609516"/>
              <a:gd name="csY880" fmla="*/ 399788 h 1538630"/>
              <a:gd name="csX881" fmla="*/ 198833 w 1609516"/>
              <a:gd name="csY881" fmla="*/ 401131 h 1538630"/>
              <a:gd name="csX882" fmla="*/ 207877 w 1609516"/>
              <a:gd name="csY882" fmla="*/ 403663 h 1538630"/>
              <a:gd name="csX883" fmla="*/ 207877 w 1609516"/>
              <a:gd name="csY883" fmla="*/ 406481 h 1538630"/>
              <a:gd name="csX884" fmla="*/ 248492 w 1609516"/>
              <a:gd name="csY884" fmla="*/ 419428 h 1538630"/>
              <a:gd name="csX885" fmla="*/ 253965 w 1609516"/>
              <a:gd name="csY885" fmla="*/ 421000 h 1538630"/>
              <a:gd name="csX886" fmla="*/ 267237 w 1609516"/>
              <a:gd name="csY886" fmla="*/ 424801 h 1538630"/>
              <a:gd name="csX887" fmla="*/ 267237 w 1609516"/>
              <a:gd name="csY887" fmla="*/ 426451 h 1538630"/>
              <a:gd name="csX888" fmla="*/ 288701 w 1609516"/>
              <a:gd name="csY888" fmla="*/ 429217 h 1538630"/>
              <a:gd name="csX889" fmla="*/ 288701 w 1609516"/>
              <a:gd name="csY889" fmla="*/ 432036 h 1538630"/>
              <a:gd name="csX890" fmla="*/ 327010 w 1609516"/>
              <a:gd name="csY890" fmla="*/ 433628 h 1538630"/>
              <a:gd name="csX891" fmla="*/ 337486 w 1609516"/>
              <a:gd name="csY891" fmla="*/ 433637 h 1538630"/>
              <a:gd name="csX892" fmla="*/ 344229 w 1609516"/>
              <a:gd name="csY892" fmla="*/ 433632 h 1538630"/>
              <a:gd name="csX893" fmla="*/ 350323 w 1609516"/>
              <a:gd name="csY893" fmla="*/ 433627 h 1538630"/>
              <a:gd name="csX894" fmla="*/ 365245 w 1609516"/>
              <a:gd name="csY894" fmla="*/ 432036 h 1538630"/>
              <a:gd name="csX895" fmla="*/ 360797 w 1609516"/>
              <a:gd name="csY895" fmla="*/ 433759 h 1538630"/>
              <a:gd name="csX896" fmla="*/ 365650 w 1609516"/>
              <a:gd name="csY896" fmla="*/ 433257 h 1538630"/>
              <a:gd name="csX897" fmla="*/ 367213 w 1609516"/>
              <a:gd name="csY897" fmla="*/ 429029 h 1538630"/>
              <a:gd name="csX898" fmla="*/ 375188 w 1609516"/>
              <a:gd name="csY898" fmla="*/ 424906 h 1538630"/>
              <a:gd name="csX899" fmla="*/ 404704 w 1609516"/>
              <a:gd name="csY899" fmla="*/ 389571 h 1538630"/>
              <a:gd name="csX900" fmla="*/ 406265 w 1609516"/>
              <a:gd name="csY900" fmla="*/ 388161 h 1538630"/>
              <a:gd name="csX901" fmla="*/ 406559 w 1609516"/>
              <a:gd name="csY901" fmla="*/ 370106 h 1538630"/>
              <a:gd name="csX902" fmla="*/ 406617 w 1609516"/>
              <a:gd name="csY902" fmla="*/ 364973 h 1538630"/>
              <a:gd name="csX903" fmla="*/ 406626 w 1609516"/>
              <a:gd name="csY903" fmla="*/ 360038 h 1538630"/>
              <a:gd name="csX904" fmla="*/ 406645 w 1609516"/>
              <a:gd name="csY904" fmla="*/ 355503 h 1538630"/>
              <a:gd name="csX905" fmla="*/ 403142 w 1609516"/>
              <a:gd name="csY905" fmla="*/ 345885 h 1538630"/>
              <a:gd name="csX906" fmla="*/ 401579 w 1609516"/>
              <a:gd name="csY906" fmla="*/ 338663 h 1538630"/>
              <a:gd name="csX907" fmla="*/ 390938 w 1609516"/>
              <a:gd name="csY907" fmla="*/ 315939 h 1538630"/>
              <a:gd name="csX908" fmla="*/ 388976 w 1609516"/>
              <a:gd name="csY908" fmla="*/ 312762 h 1538630"/>
              <a:gd name="csX909" fmla="*/ 377934 w 1609516"/>
              <a:gd name="csY909" fmla="*/ 297817 h 1538630"/>
              <a:gd name="csX910" fmla="*/ 368775 w 1609516"/>
              <a:gd name="csY910" fmla="*/ 282470 h 1538630"/>
              <a:gd name="csX911" fmla="*/ 359890 w 1609516"/>
              <a:gd name="csY911" fmla="*/ 271284 h 1538630"/>
              <a:gd name="csX912" fmla="*/ 357374 w 1609516"/>
              <a:gd name="csY912" fmla="*/ 268288 h 1538630"/>
              <a:gd name="csX913" fmla="*/ 337533 w 1609516"/>
              <a:gd name="csY913" fmla="*/ 248649 h 1538630"/>
              <a:gd name="csX914" fmla="*/ 335214 w 1609516"/>
              <a:gd name="csY914" fmla="*/ 246369 h 1538630"/>
              <a:gd name="csX915" fmla="*/ 327085 w 1609516"/>
              <a:gd name="csY915" fmla="*/ 242571 h 1538630"/>
              <a:gd name="csX916" fmla="*/ 288785 w 1609516"/>
              <a:gd name="csY916" fmla="*/ 207968 h 1538630"/>
              <a:gd name="csX917" fmla="*/ 286373 w 1609516"/>
              <a:gd name="csY917" fmla="*/ 192544 h 1538630"/>
              <a:gd name="csX918" fmla="*/ 286385 w 1609516"/>
              <a:gd name="csY918" fmla="*/ 189190 h 1538630"/>
              <a:gd name="csX919" fmla="*/ 300042 w 1609516"/>
              <a:gd name="csY919" fmla="*/ 164095 h 1538630"/>
              <a:gd name="csX920" fmla="*/ 302757 w 1609516"/>
              <a:gd name="csY920" fmla="*/ 161381 h 1538630"/>
              <a:gd name="csX921" fmla="*/ 338411 w 1609516"/>
              <a:gd name="csY921" fmla="*/ 152293 h 1538630"/>
              <a:gd name="csX922" fmla="*/ 368482 w 1609516"/>
              <a:gd name="csY922" fmla="*/ 161893 h 1538630"/>
              <a:gd name="csX923" fmla="*/ 371899 w 1609516"/>
              <a:gd name="csY923" fmla="*/ 165505 h 1538630"/>
              <a:gd name="csX924" fmla="*/ 375121 w 1609516"/>
              <a:gd name="csY924" fmla="*/ 168587 h 1538630"/>
              <a:gd name="csX925" fmla="*/ 384982 w 1609516"/>
              <a:gd name="csY925" fmla="*/ 193777 h 1538630"/>
              <a:gd name="csX926" fmla="*/ 390352 w 1609516"/>
              <a:gd name="csY926" fmla="*/ 214563 h 1538630"/>
              <a:gd name="csX927" fmla="*/ 391529 w 1609516"/>
              <a:gd name="csY927" fmla="*/ 217626 h 1538630"/>
              <a:gd name="csX928" fmla="*/ 401579 w 1609516"/>
              <a:gd name="csY928" fmla="*/ 234556 h 1538630"/>
              <a:gd name="csX929" fmla="*/ 401579 w 1609516"/>
              <a:gd name="csY929" fmla="*/ 238784 h 1538630"/>
              <a:gd name="csX930" fmla="*/ 404215 w 1609516"/>
              <a:gd name="csY930" fmla="*/ 239753 h 1538630"/>
              <a:gd name="csX931" fmla="*/ 417811 w 1609516"/>
              <a:gd name="csY931" fmla="*/ 251996 h 1538630"/>
              <a:gd name="csX932" fmla="*/ 426866 w 1609516"/>
              <a:gd name="csY932" fmla="*/ 262300 h 1538630"/>
              <a:gd name="csX933" fmla="*/ 450097 w 1609516"/>
              <a:gd name="csY933" fmla="*/ 287628 h 1538630"/>
              <a:gd name="csX934" fmla="*/ 457425 w 1609516"/>
              <a:gd name="csY934" fmla="*/ 293920 h 1538630"/>
              <a:gd name="csX935" fmla="*/ 460940 w 1609516"/>
              <a:gd name="csY935" fmla="*/ 296562 h 1538630"/>
              <a:gd name="csX936" fmla="*/ 460940 w 1609516"/>
              <a:gd name="csY936" fmla="*/ 300790 h 1538630"/>
              <a:gd name="csX937" fmla="*/ 473437 w 1609516"/>
              <a:gd name="csY937" fmla="*/ 305018 h 1538630"/>
              <a:gd name="csX938" fmla="*/ 473437 w 1609516"/>
              <a:gd name="csY938" fmla="*/ 307836 h 1538630"/>
              <a:gd name="csX939" fmla="*/ 479881 w 1609516"/>
              <a:gd name="csY939" fmla="*/ 309862 h 1538630"/>
              <a:gd name="csX940" fmla="*/ 483505 w 1609516"/>
              <a:gd name="csY940" fmla="*/ 311001 h 1538630"/>
              <a:gd name="csX941" fmla="*/ 548419 w 1609516"/>
              <a:gd name="csY941" fmla="*/ 306427 h 1538630"/>
              <a:gd name="csX942" fmla="*/ 551842 w 1609516"/>
              <a:gd name="csY942" fmla="*/ 305127 h 1538630"/>
              <a:gd name="csX943" fmla="*/ 560232 w 1609516"/>
              <a:gd name="csY943" fmla="*/ 298148 h 1538630"/>
              <a:gd name="csX944" fmla="*/ 562972 w 1609516"/>
              <a:gd name="csY944" fmla="*/ 295252 h 1538630"/>
              <a:gd name="csX945" fmla="*/ 568086 w 1609516"/>
              <a:gd name="csY945" fmla="*/ 289152 h 1538630"/>
              <a:gd name="csX946" fmla="*/ 570289 w 1609516"/>
              <a:gd name="csY946" fmla="*/ 286697 h 1538630"/>
              <a:gd name="csX947" fmla="*/ 573413 w 1609516"/>
              <a:gd name="csY947" fmla="*/ 286697 h 1538630"/>
              <a:gd name="csX948" fmla="*/ 577220 w 1609516"/>
              <a:gd name="csY948" fmla="*/ 257016 h 1538630"/>
              <a:gd name="csX949" fmla="*/ 577235 w 1609516"/>
              <a:gd name="csY949" fmla="*/ 254206 h 1538630"/>
              <a:gd name="csX950" fmla="*/ 569443 w 1609516"/>
              <a:gd name="csY950" fmla="*/ 206049 h 1538630"/>
              <a:gd name="csX951" fmla="*/ 568726 w 1609516"/>
              <a:gd name="csY951" fmla="*/ 200735 h 1538630"/>
              <a:gd name="csX952" fmla="*/ 565602 w 1609516"/>
              <a:gd name="csY952" fmla="*/ 200735 h 1538630"/>
              <a:gd name="csX953" fmla="*/ 559549 w 1609516"/>
              <a:gd name="csY953" fmla="*/ 184441 h 1538630"/>
              <a:gd name="csX954" fmla="*/ 537484 w 1609516"/>
              <a:gd name="csY954" fmla="*/ 159867 h 1538630"/>
              <a:gd name="csX955" fmla="*/ 531235 w 1609516"/>
              <a:gd name="csY955" fmla="*/ 154230 h 1538630"/>
              <a:gd name="csX956" fmla="*/ 531235 w 1609516"/>
              <a:gd name="csY956" fmla="*/ 151412 h 1538630"/>
              <a:gd name="csX957" fmla="*/ 526549 w 1609516"/>
              <a:gd name="csY957" fmla="*/ 150003 h 1538630"/>
              <a:gd name="csX958" fmla="*/ 524304 w 1609516"/>
              <a:gd name="csY958" fmla="*/ 107198 h 1538630"/>
              <a:gd name="csX959" fmla="*/ 547052 w 1609516"/>
              <a:gd name="csY959" fmla="*/ 85972 h 1538630"/>
              <a:gd name="csX960" fmla="*/ 588460 w 1609516"/>
              <a:gd name="csY960" fmla="*/ 83538 h 1538630"/>
              <a:gd name="csX961" fmla="*/ 617152 w 1609516"/>
              <a:gd name="csY961" fmla="*/ 111954 h 1538630"/>
              <a:gd name="csX962" fmla="*/ 617884 w 1609516"/>
              <a:gd name="csY962" fmla="*/ 124175 h 1538630"/>
              <a:gd name="csX963" fmla="*/ 617917 w 1609516"/>
              <a:gd name="csY963" fmla="*/ 127607 h 1538630"/>
              <a:gd name="csX964" fmla="*/ 617919 w 1609516"/>
              <a:gd name="csY964" fmla="*/ 141969 h 1538630"/>
              <a:gd name="csX965" fmla="*/ 630625 w 1609516"/>
              <a:gd name="csY965" fmla="*/ 191311 h 1538630"/>
              <a:gd name="csX966" fmla="*/ 637850 w 1609516"/>
              <a:gd name="csY966" fmla="*/ 205139 h 1538630"/>
              <a:gd name="csX967" fmla="*/ 643708 w 1609516"/>
              <a:gd name="csY967" fmla="*/ 212009 h 1538630"/>
              <a:gd name="csX968" fmla="*/ 647027 w 1609516"/>
              <a:gd name="csY968" fmla="*/ 217645 h 1538630"/>
              <a:gd name="csX969" fmla="*/ 670264 w 1609516"/>
              <a:gd name="csY969" fmla="*/ 241603 h 1538630"/>
              <a:gd name="csX970" fmla="*/ 670264 w 1609516"/>
              <a:gd name="csY970" fmla="*/ 244421 h 1538630"/>
              <a:gd name="csX971" fmla="*/ 675634 w 1609516"/>
              <a:gd name="csY971" fmla="*/ 245742 h 1538630"/>
              <a:gd name="csX972" fmla="*/ 682761 w 1609516"/>
              <a:gd name="csY972" fmla="*/ 248649 h 1538630"/>
              <a:gd name="csX973" fmla="*/ 752092 w 1609516"/>
              <a:gd name="csY973" fmla="*/ 245076 h 1538630"/>
              <a:gd name="csX974" fmla="*/ 758433 w 1609516"/>
              <a:gd name="csY974" fmla="*/ 240485 h 1538630"/>
              <a:gd name="csX975" fmla="*/ 763991 w 1609516"/>
              <a:gd name="csY975" fmla="*/ 238784 h 1538630"/>
              <a:gd name="csX976" fmla="*/ 765315 w 1609516"/>
              <a:gd name="csY976" fmla="*/ 235778 h 1538630"/>
              <a:gd name="csX977" fmla="*/ 770923 w 1609516"/>
              <a:gd name="csY977" fmla="*/ 223459 h 1538630"/>
              <a:gd name="csX978" fmla="*/ 772998 w 1609516"/>
              <a:gd name="csY978" fmla="*/ 218934 h 1538630"/>
              <a:gd name="csX979" fmla="*/ 777562 w 1609516"/>
              <a:gd name="csY979" fmla="*/ 209895 h 1538630"/>
              <a:gd name="csX980" fmla="*/ 781175 w 1609516"/>
              <a:gd name="csY980" fmla="*/ 124637 h 1538630"/>
              <a:gd name="csX981" fmla="*/ 778051 w 1609516"/>
              <a:gd name="csY981" fmla="*/ 124637 h 1538630"/>
              <a:gd name="csX982" fmla="*/ 767116 w 1609516"/>
              <a:gd name="csY982" fmla="*/ 79542 h 1538630"/>
              <a:gd name="csX983" fmla="*/ 793379 w 1609516"/>
              <a:gd name="csY983" fmla="*/ 54000 h 1538630"/>
              <a:gd name="csX984" fmla="*/ 840688 w 1609516"/>
              <a:gd name="csY984" fmla="*/ 55503 h 1538630"/>
              <a:gd name="csX985" fmla="*/ 851470 w 1609516"/>
              <a:gd name="csY985" fmla="*/ 64040 h 1538630"/>
              <a:gd name="csX986" fmla="*/ 853997 w 1609516"/>
              <a:gd name="csY986" fmla="*/ 66529 h 1538630"/>
              <a:gd name="csX987" fmla="*/ 861488 w 1609516"/>
              <a:gd name="csY987" fmla="*/ 82057 h 1538630"/>
              <a:gd name="csX988" fmla="*/ 861937 w 1609516"/>
              <a:gd name="csY988" fmla="*/ 90492 h 1538630"/>
              <a:gd name="csX989" fmla="*/ 863826 w 1609516"/>
              <a:gd name="csY989" fmla="*/ 100715 h 1538630"/>
              <a:gd name="csX990" fmla="*/ 857577 w 1609516"/>
              <a:gd name="csY990" fmla="*/ 121853 h 1538630"/>
              <a:gd name="csX991" fmla="*/ 856015 w 1609516"/>
              <a:gd name="csY991" fmla="*/ 121853 h 1538630"/>
              <a:gd name="csX992" fmla="*/ 855442 w 1609516"/>
              <a:gd name="csY992" fmla="*/ 118919 h 1538630"/>
              <a:gd name="csX993" fmla="*/ 855417 w 1609516"/>
              <a:gd name="csY993" fmla="*/ 118798 h 1538630"/>
              <a:gd name="csX994" fmla="*/ 856157 w 1609516"/>
              <a:gd name="csY994" fmla="*/ 124637 h 1538630"/>
              <a:gd name="csX995" fmla="*/ 850623 w 1609516"/>
              <a:gd name="csY995" fmla="*/ 134701 h 1538630"/>
              <a:gd name="csX996" fmla="*/ 851325 w 1609516"/>
              <a:gd name="csY996" fmla="*/ 135968 h 1538630"/>
              <a:gd name="csX997" fmla="*/ 849886 w 1609516"/>
              <a:gd name="csY997" fmla="*/ 139843 h 1538630"/>
              <a:gd name="csX998" fmla="*/ 847786 w 1609516"/>
              <a:gd name="csY998" fmla="*/ 152889 h 1538630"/>
              <a:gd name="csX999" fmla="*/ 847767 w 1609516"/>
              <a:gd name="csY999" fmla="*/ 157768 h 1538630"/>
              <a:gd name="csX1000" fmla="*/ 847810 w 1609516"/>
              <a:gd name="csY1000" fmla="*/ 162919 h 1538630"/>
              <a:gd name="csX1001" fmla="*/ 847832 w 1609516"/>
              <a:gd name="csY1001" fmla="*/ 168227 h 1538630"/>
              <a:gd name="csX1002" fmla="*/ 850903 w 1609516"/>
              <a:gd name="csY1002" fmla="*/ 209013 h 1538630"/>
              <a:gd name="csX1003" fmla="*/ 852880 w 1609516"/>
              <a:gd name="csY1003" fmla="*/ 224692 h 1538630"/>
              <a:gd name="csX1004" fmla="*/ 854595 w 1609516"/>
              <a:gd name="csY1004" fmla="*/ 224692 h 1538630"/>
              <a:gd name="csX1005" fmla="*/ 856083 w 1609516"/>
              <a:gd name="csY1005" fmla="*/ 227268 h 1538630"/>
              <a:gd name="csX1006" fmla="*/ 879588 w 1609516"/>
              <a:gd name="csY1006" fmla="*/ 247239 h 1538630"/>
              <a:gd name="csX1007" fmla="*/ 885739 w 1609516"/>
              <a:gd name="csY1007" fmla="*/ 249618 h 1538630"/>
              <a:gd name="csX1008" fmla="*/ 890523 w 1609516"/>
              <a:gd name="csY1008" fmla="*/ 251467 h 1538630"/>
              <a:gd name="csX1009" fmla="*/ 890523 w 1609516"/>
              <a:gd name="csY1009" fmla="*/ 254285 h 1538630"/>
              <a:gd name="csX1010" fmla="*/ 920203 w 1609516"/>
              <a:gd name="csY1010" fmla="*/ 261332 h 1538630"/>
              <a:gd name="csX1011" fmla="*/ 920203 w 1609516"/>
              <a:gd name="csY1011" fmla="*/ 262741 h 1538630"/>
              <a:gd name="csX1012" fmla="*/ 910831 w 1609516"/>
              <a:gd name="csY1012" fmla="*/ 262741 h 1538630"/>
              <a:gd name="csX1013" fmla="*/ 910831 w 1609516"/>
              <a:gd name="csY1013" fmla="*/ 262864 h 1538630"/>
              <a:gd name="csX1014" fmla="*/ 927993 w 1609516"/>
              <a:gd name="csY1014" fmla="*/ 264177 h 1538630"/>
              <a:gd name="csX1015" fmla="*/ 939273 w 1609516"/>
              <a:gd name="csY1015" fmla="*/ 265285 h 1538630"/>
              <a:gd name="csX1016" fmla="*/ 940456 w 1609516"/>
              <a:gd name="csY1016" fmla="*/ 265191 h 1538630"/>
              <a:gd name="csX1017" fmla="*/ 991622 w 1609516"/>
              <a:gd name="csY1017" fmla="*/ 242329 h 1538630"/>
              <a:gd name="csX1018" fmla="*/ 1000803 w 1609516"/>
              <a:gd name="csY1018" fmla="*/ 236505 h 1538630"/>
              <a:gd name="csX1019" fmla="*/ 999806 w 1609516"/>
              <a:gd name="csY1019" fmla="*/ 236055 h 1538630"/>
              <a:gd name="csX1020" fmla="*/ 1003126 w 1609516"/>
              <a:gd name="csY1020" fmla="*/ 232851 h 1538630"/>
              <a:gd name="csX1021" fmla="*/ 1029487 w 1609516"/>
              <a:gd name="csY1021" fmla="*/ 205052 h 1538630"/>
              <a:gd name="csX1022" fmla="*/ 1029872 w 1609516"/>
              <a:gd name="csY1022" fmla="*/ 206442 h 1538630"/>
              <a:gd name="csX1023" fmla="*/ 1031614 w 1609516"/>
              <a:gd name="csY1023" fmla="*/ 203719 h 1538630"/>
              <a:gd name="csX1024" fmla="*/ 1038924 w 1609516"/>
              <a:gd name="csY1024" fmla="*/ 192280 h 1538630"/>
              <a:gd name="csX1025" fmla="*/ 1042049 w 1609516"/>
              <a:gd name="csY1025" fmla="*/ 190870 h 1538630"/>
              <a:gd name="csX1026" fmla="*/ 1044294 w 1609516"/>
              <a:gd name="csY1026" fmla="*/ 186026 h 1538630"/>
              <a:gd name="csX1027" fmla="*/ 1051422 w 1609516"/>
              <a:gd name="csY1027" fmla="*/ 178188 h 1538630"/>
              <a:gd name="csX1028" fmla="*/ 1052984 w 1609516"/>
              <a:gd name="csY1028" fmla="*/ 172551 h 1538630"/>
              <a:gd name="csX1029" fmla="*/ 1056108 w 1609516"/>
              <a:gd name="csY1029" fmla="*/ 172551 h 1538630"/>
              <a:gd name="csX1030" fmla="*/ 1059232 w 1609516"/>
              <a:gd name="csY1030" fmla="*/ 162686 h 1538630"/>
              <a:gd name="csX1031" fmla="*/ 1062357 w 1609516"/>
              <a:gd name="csY1031" fmla="*/ 162686 h 1538630"/>
              <a:gd name="csX1032" fmla="*/ 1063162 w 1609516"/>
              <a:gd name="csY1032" fmla="*/ 160258 h 1538630"/>
              <a:gd name="csX1033" fmla="*/ 1073292 w 1609516"/>
              <a:gd name="csY1033" fmla="*/ 140138 h 1538630"/>
              <a:gd name="csX1034" fmla="*/ 1076415 w 1609516"/>
              <a:gd name="csY1034" fmla="*/ 140138 h 1538630"/>
              <a:gd name="csX1035" fmla="*/ 1085294 w 1609516"/>
              <a:gd name="csY1035" fmla="*/ 117569 h 1538630"/>
              <a:gd name="csX1036" fmla="*/ 1087350 w 1609516"/>
              <a:gd name="csY1036" fmla="*/ 113363 h 1538630"/>
              <a:gd name="csX1037" fmla="*/ 1092037 w 1609516"/>
              <a:gd name="csY1037" fmla="*/ 111954 h 1538630"/>
              <a:gd name="csX1038" fmla="*/ 1092623 w 1609516"/>
              <a:gd name="csY1038" fmla="*/ 108695 h 1538630"/>
              <a:gd name="csX1039" fmla="*/ 1096723 w 1609516"/>
              <a:gd name="csY1039" fmla="*/ 100680 h 1538630"/>
              <a:gd name="csX1040" fmla="*/ 1098188 w 1609516"/>
              <a:gd name="csY1040" fmla="*/ 96013 h 1538630"/>
              <a:gd name="csX1041" fmla="*/ 1102288 w 1609516"/>
              <a:gd name="csY1041" fmla="*/ 87029 h 1538630"/>
              <a:gd name="csX1042" fmla="*/ 1104534 w 1609516"/>
              <a:gd name="csY1042" fmla="*/ 61222 h 1538630"/>
              <a:gd name="csX1043" fmla="*/ 1104381 w 1609516"/>
              <a:gd name="csY1043" fmla="*/ 55569 h 1538630"/>
              <a:gd name="csX1044" fmla="*/ 1104397 w 1609516"/>
              <a:gd name="csY1044" fmla="*/ 52335 h 1538630"/>
              <a:gd name="csX1045" fmla="*/ 1104436 w 1609516"/>
              <a:gd name="csY1045" fmla="*/ 48979 h 1538630"/>
              <a:gd name="csX1046" fmla="*/ 1104457 w 1609516"/>
              <a:gd name="csY1046" fmla="*/ 45575 h 1538630"/>
              <a:gd name="csX1047" fmla="*/ 1104534 w 1609516"/>
              <a:gd name="csY1047" fmla="*/ 37265 h 1538630"/>
              <a:gd name="csX1048" fmla="*/ 1107658 w 1609516"/>
              <a:gd name="csY1048" fmla="*/ 37265 h 1538630"/>
              <a:gd name="csX1049" fmla="*/ 1107463 w 1609516"/>
              <a:gd name="csY1049" fmla="*/ 31805 h 1538630"/>
              <a:gd name="csX1050" fmla="*/ 1107658 w 1609516"/>
              <a:gd name="csY1050" fmla="*/ 25991 h 1538630"/>
              <a:gd name="csX1051" fmla="*/ 1110782 w 1609516"/>
              <a:gd name="csY1051" fmla="*/ 23173 h 1538630"/>
              <a:gd name="csX1052" fmla="*/ 1111759 w 1609516"/>
              <a:gd name="csY1052" fmla="*/ 20091 h 1538630"/>
              <a:gd name="csX1053" fmla="*/ 1134507 w 1609516"/>
              <a:gd name="csY1053" fmla="*/ 2828 h 1538630"/>
              <a:gd name="csX1054" fmla="*/ 1155019 w 1609516"/>
              <a:gd name="csY1054" fmla="*/ 35 h 153863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  <a:cxn ang="0">
                <a:pos x="csX170" y="csY170"/>
              </a:cxn>
              <a:cxn ang="0">
                <a:pos x="csX171" y="csY171"/>
              </a:cxn>
              <a:cxn ang="0">
                <a:pos x="csX172" y="csY172"/>
              </a:cxn>
              <a:cxn ang="0">
                <a:pos x="csX173" y="csY173"/>
              </a:cxn>
              <a:cxn ang="0">
                <a:pos x="csX174" y="csY174"/>
              </a:cxn>
              <a:cxn ang="0">
                <a:pos x="csX175" y="csY175"/>
              </a:cxn>
              <a:cxn ang="0">
                <a:pos x="csX176" y="csY176"/>
              </a:cxn>
              <a:cxn ang="0">
                <a:pos x="csX177" y="csY177"/>
              </a:cxn>
              <a:cxn ang="0">
                <a:pos x="csX178" y="csY178"/>
              </a:cxn>
              <a:cxn ang="0">
                <a:pos x="csX179" y="csY179"/>
              </a:cxn>
              <a:cxn ang="0">
                <a:pos x="csX180" y="csY180"/>
              </a:cxn>
              <a:cxn ang="0">
                <a:pos x="csX181" y="csY181"/>
              </a:cxn>
              <a:cxn ang="0">
                <a:pos x="csX182" y="csY182"/>
              </a:cxn>
              <a:cxn ang="0">
                <a:pos x="csX183" y="csY183"/>
              </a:cxn>
              <a:cxn ang="0">
                <a:pos x="csX184" y="csY184"/>
              </a:cxn>
              <a:cxn ang="0">
                <a:pos x="csX185" y="csY185"/>
              </a:cxn>
              <a:cxn ang="0">
                <a:pos x="csX186" y="csY186"/>
              </a:cxn>
              <a:cxn ang="0">
                <a:pos x="csX187" y="csY187"/>
              </a:cxn>
              <a:cxn ang="0">
                <a:pos x="csX188" y="csY188"/>
              </a:cxn>
              <a:cxn ang="0">
                <a:pos x="csX189" y="csY189"/>
              </a:cxn>
              <a:cxn ang="0">
                <a:pos x="csX190" y="csY190"/>
              </a:cxn>
              <a:cxn ang="0">
                <a:pos x="csX191" y="csY191"/>
              </a:cxn>
              <a:cxn ang="0">
                <a:pos x="csX192" y="csY192"/>
              </a:cxn>
              <a:cxn ang="0">
                <a:pos x="csX193" y="csY193"/>
              </a:cxn>
              <a:cxn ang="0">
                <a:pos x="csX194" y="csY194"/>
              </a:cxn>
              <a:cxn ang="0">
                <a:pos x="csX195" y="csY195"/>
              </a:cxn>
              <a:cxn ang="0">
                <a:pos x="csX196" y="csY196"/>
              </a:cxn>
              <a:cxn ang="0">
                <a:pos x="csX197" y="csY197"/>
              </a:cxn>
              <a:cxn ang="0">
                <a:pos x="csX198" y="csY198"/>
              </a:cxn>
              <a:cxn ang="0">
                <a:pos x="csX199" y="csY199"/>
              </a:cxn>
              <a:cxn ang="0">
                <a:pos x="csX200" y="csY200"/>
              </a:cxn>
              <a:cxn ang="0">
                <a:pos x="csX201" y="csY201"/>
              </a:cxn>
              <a:cxn ang="0">
                <a:pos x="csX202" y="csY202"/>
              </a:cxn>
              <a:cxn ang="0">
                <a:pos x="csX203" y="csY203"/>
              </a:cxn>
              <a:cxn ang="0">
                <a:pos x="csX204" y="csY204"/>
              </a:cxn>
              <a:cxn ang="0">
                <a:pos x="csX205" y="csY205"/>
              </a:cxn>
              <a:cxn ang="0">
                <a:pos x="csX206" y="csY206"/>
              </a:cxn>
              <a:cxn ang="0">
                <a:pos x="csX207" y="csY207"/>
              </a:cxn>
              <a:cxn ang="0">
                <a:pos x="csX208" y="csY208"/>
              </a:cxn>
              <a:cxn ang="0">
                <a:pos x="csX209" y="csY209"/>
              </a:cxn>
              <a:cxn ang="0">
                <a:pos x="csX210" y="csY210"/>
              </a:cxn>
              <a:cxn ang="0">
                <a:pos x="csX211" y="csY211"/>
              </a:cxn>
              <a:cxn ang="0">
                <a:pos x="csX212" y="csY212"/>
              </a:cxn>
              <a:cxn ang="0">
                <a:pos x="csX213" y="csY213"/>
              </a:cxn>
              <a:cxn ang="0">
                <a:pos x="csX214" y="csY214"/>
              </a:cxn>
              <a:cxn ang="0">
                <a:pos x="csX215" y="csY215"/>
              </a:cxn>
              <a:cxn ang="0">
                <a:pos x="csX216" y="csY216"/>
              </a:cxn>
              <a:cxn ang="0">
                <a:pos x="csX217" y="csY217"/>
              </a:cxn>
              <a:cxn ang="0">
                <a:pos x="csX218" y="csY218"/>
              </a:cxn>
              <a:cxn ang="0">
                <a:pos x="csX219" y="csY219"/>
              </a:cxn>
              <a:cxn ang="0">
                <a:pos x="csX220" y="csY220"/>
              </a:cxn>
              <a:cxn ang="0">
                <a:pos x="csX221" y="csY221"/>
              </a:cxn>
              <a:cxn ang="0">
                <a:pos x="csX222" y="csY222"/>
              </a:cxn>
              <a:cxn ang="0">
                <a:pos x="csX223" y="csY223"/>
              </a:cxn>
              <a:cxn ang="0">
                <a:pos x="csX224" y="csY224"/>
              </a:cxn>
              <a:cxn ang="0">
                <a:pos x="csX225" y="csY225"/>
              </a:cxn>
              <a:cxn ang="0">
                <a:pos x="csX226" y="csY226"/>
              </a:cxn>
              <a:cxn ang="0">
                <a:pos x="csX227" y="csY227"/>
              </a:cxn>
              <a:cxn ang="0">
                <a:pos x="csX228" y="csY228"/>
              </a:cxn>
              <a:cxn ang="0">
                <a:pos x="csX229" y="csY229"/>
              </a:cxn>
              <a:cxn ang="0">
                <a:pos x="csX230" y="csY230"/>
              </a:cxn>
              <a:cxn ang="0">
                <a:pos x="csX231" y="csY231"/>
              </a:cxn>
              <a:cxn ang="0">
                <a:pos x="csX232" y="csY232"/>
              </a:cxn>
              <a:cxn ang="0">
                <a:pos x="csX233" y="csY233"/>
              </a:cxn>
              <a:cxn ang="0">
                <a:pos x="csX234" y="csY234"/>
              </a:cxn>
              <a:cxn ang="0">
                <a:pos x="csX235" y="csY235"/>
              </a:cxn>
              <a:cxn ang="0">
                <a:pos x="csX236" y="csY236"/>
              </a:cxn>
              <a:cxn ang="0">
                <a:pos x="csX237" y="csY237"/>
              </a:cxn>
              <a:cxn ang="0">
                <a:pos x="csX238" y="csY238"/>
              </a:cxn>
              <a:cxn ang="0">
                <a:pos x="csX239" y="csY239"/>
              </a:cxn>
              <a:cxn ang="0">
                <a:pos x="csX240" y="csY240"/>
              </a:cxn>
              <a:cxn ang="0">
                <a:pos x="csX241" y="csY241"/>
              </a:cxn>
              <a:cxn ang="0">
                <a:pos x="csX242" y="csY242"/>
              </a:cxn>
              <a:cxn ang="0">
                <a:pos x="csX243" y="csY243"/>
              </a:cxn>
              <a:cxn ang="0">
                <a:pos x="csX244" y="csY244"/>
              </a:cxn>
              <a:cxn ang="0">
                <a:pos x="csX245" y="csY245"/>
              </a:cxn>
              <a:cxn ang="0">
                <a:pos x="csX246" y="csY246"/>
              </a:cxn>
              <a:cxn ang="0">
                <a:pos x="csX247" y="csY247"/>
              </a:cxn>
              <a:cxn ang="0">
                <a:pos x="csX248" y="csY248"/>
              </a:cxn>
              <a:cxn ang="0">
                <a:pos x="csX249" y="csY249"/>
              </a:cxn>
              <a:cxn ang="0">
                <a:pos x="csX250" y="csY250"/>
              </a:cxn>
              <a:cxn ang="0">
                <a:pos x="csX251" y="csY251"/>
              </a:cxn>
              <a:cxn ang="0">
                <a:pos x="csX252" y="csY252"/>
              </a:cxn>
              <a:cxn ang="0">
                <a:pos x="csX253" y="csY253"/>
              </a:cxn>
              <a:cxn ang="0">
                <a:pos x="csX254" y="csY254"/>
              </a:cxn>
              <a:cxn ang="0">
                <a:pos x="csX255" y="csY255"/>
              </a:cxn>
              <a:cxn ang="0">
                <a:pos x="csX256" y="csY256"/>
              </a:cxn>
              <a:cxn ang="0">
                <a:pos x="csX257" y="csY257"/>
              </a:cxn>
              <a:cxn ang="0">
                <a:pos x="csX258" y="csY258"/>
              </a:cxn>
              <a:cxn ang="0">
                <a:pos x="csX259" y="csY259"/>
              </a:cxn>
              <a:cxn ang="0">
                <a:pos x="csX260" y="csY260"/>
              </a:cxn>
              <a:cxn ang="0">
                <a:pos x="csX261" y="csY261"/>
              </a:cxn>
              <a:cxn ang="0">
                <a:pos x="csX262" y="csY262"/>
              </a:cxn>
              <a:cxn ang="0">
                <a:pos x="csX263" y="csY263"/>
              </a:cxn>
              <a:cxn ang="0">
                <a:pos x="csX264" y="csY264"/>
              </a:cxn>
              <a:cxn ang="0">
                <a:pos x="csX265" y="csY265"/>
              </a:cxn>
              <a:cxn ang="0">
                <a:pos x="csX266" y="csY266"/>
              </a:cxn>
              <a:cxn ang="0">
                <a:pos x="csX267" y="csY267"/>
              </a:cxn>
              <a:cxn ang="0">
                <a:pos x="csX268" y="csY268"/>
              </a:cxn>
              <a:cxn ang="0">
                <a:pos x="csX269" y="csY269"/>
              </a:cxn>
              <a:cxn ang="0">
                <a:pos x="csX270" y="csY270"/>
              </a:cxn>
              <a:cxn ang="0">
                <a:pos x="csX271" y="csY271"/>
              </a:cxn>
              <a:cxn ang="0">
                <a:pos x="csX272" y="csY272"/>
              </a:cxn>
              <a:cxn ang="0">
                <a:pos x="csX273" y="csY273"/>
              </a:cxn>
              <a:cxn ang="0">
                <a:pos x="csX274" y="csY274"/>
              </a:cxn>
              <a:cxn ang="0">
                <a:pos x="csX275" y="csY275"/>
              </a:cxn>
              <a:cxn ang="0">
                <a:pos x="csX276" y="csY276"/>
              </a:cxn>
              <a:cxn ang="0">
                <a:pos x="csX277" y="csY277"/>
              </a:cxn>
              <a:cxn ang="0">
                <a:pos x="csX278" y="csY278"/>
              </a:cxn>
              <a:cxn ang="0">
                <a:pos x="csX279" y="csY279"/>
              </a:cxn>
              <a:cxn ang="0">
                <a:pos x="csX280" y="csY280"/>
              </a:cxn>
              <a:cxn ang="0">
                <a:pos x="csX281" y="csY281"/>
              </a:cxn>
              <a:cxn ang="0">
                <a:pos x="csX282" y="csY282"/>
              </a:cxn>
              <a:cxn ang="0">
                <a:pos x="csX283" y="csY283"/>
              </a:cxn>
              <a:cxn ang="0">
                <a:pos x="csX284" y="csY284"/>
              </a:cxn>
              <a:cxn ang="0">
                <a:pos x="csX285" y="csY285"/>
              </a:cxn>
              <a:cxn ang="0">
                <a:pos x="csX286" y="csY286"/>
              </a:cxn>
              <a:cxn ang="0">
                <a:pos x="csX287" y="csY287"/>
              </a:cxn>
              <a:cxn ang="0">
                <a:pos x="csX288" y="csY288"/>
              </a:cxn>
              <a:cxn ang="0">
                <a:pos x="csX289" y="csY289"/>
              </a:cxn>
              <a:cxn ang="0">
                <a:pos x="csX290" y="csY290"/>
              </a:cxn>
              <a:cxn ang="0">
                <a:pos x="csX291" y="csY291"/>
              </a:cxn>
              <a:cxn ang="0">
                <a:pos x="csX292" y="csY292"/>
              </a:cxn>
              <a:cxn ang="0">
                <a:pos x="csX293" y="csY293"/>
              </a:cxn>
              <a:cxn ang="0">
                <a:pos x="csX294" y="csY294"/>
              </a:cxn>
              <a:cxn ang="0">
                <a:pos x="csX295" y="csY295"/>
              </a:cxn>
              <a:cxn ang="0">
                <a:pos x="csX296" y="csY296"/>
              </a:cxn>
              <a:cxn ang="0">
                <a:pos x="csX297" y="csY297"/>
              </a:cxn>
              <a:cxn ang="0">
                <a:pos x="csX298" y="csY298"/>
              </a:cxn>
              <a:cxn ang="0">
                <a:pos x="csX299" y="csY299"/>
              </a:cxn>
              <a:cxn ang="0">
                <a:pos x="csX300" y="csY300"/>
              </a:cxn>
              <a:cxn ang="0">
                <a:pos x="csX301" y="csY301"/>
              </a:cxn>
              <a:cxn ang="0">
                <a:pos x="csX302" y="csY302"/>
              </a:cxn>
              <a:cxn ang="0">
                <a:pos x="csX303" y="csY303"/>
              </a:cxn>
              <a:cxn ang="0">
                <a:pos x="csX304" y="csY304"/>
              </a:cxn>
              <a:cxn ang="0">
                <a:pos x="csX305" y="csY305"/>
              </a:cxn>
              <a:cxn ang="0">
                <a:pos x="csX306" y="csY306"/>
              </a:cxn>
              <a:cxn ang="0">
                <a:pos x="csX307" y="csY307"/>
              </a:cxn>
              <a:cxn ang="0">
                <a:pos x="csX308" y="csY308"/>
              </a:cxn>
              <a:cxn ang="0">
                <a:pos x="csX309" y="csY309"/>
              </a:cxn>
              <a:cxn ang="0">
                <a:pos x="csX310" y="csY310"/>
              </a:cxn>
              <a:cxn ang="0">
                <a:pos x="csX311" y="csY311"/>
              </a:cxn>
              <a:cxn ang="0">
                <a:pos x="csX312" y="csY312"/>
              </a:cxn>
              <a:cxn ang="0">
                <a:pos x="csX313" y="csY313"/>
              </a:cxn>
              <a:cxn ang="0">
                <a:pos x="csX314" y="csY314"/>
              </a:cxn>
              <a:cxn ang="0">
                <a:pos x="csX315" y="csY315"/>
              </a:cxn>
              <a:cxn ang="0">
                <a:pos x="csX316" y="csY316"/>
              </a:cxn>
              <a:cxn ang="0">
                <a:pos x="csX317" y="csY317"/>
              </a:cxn>
              <a:cxn ang="0">
                <a:pos x="csX318" y="csY318"/>
              </a:cxn>
              <a:cxn ang="0">
                <a:pos x="csX319" y="csY319"/>
              </a:cxn>
              <a:cxn ang="0">
                <a:pos x="csX320" y="csY320"/>
              </a:cxn>
              <a:cxn ang="0">
                <a:pos x="csX321" y="csY321"/>
              </a:cxn>
              <a:cxn ang="0">
                <a:pos x="csX322" y="csY322"/>
              </a:cxn>
              <a:cxn ang="0">
                <a:pos x="csX323" y="csY323"/>
              </a:cxn>
              <a:cxn ang="0">
                <a:pos x="csX324" y="csY324"/>
              </a:cxn>
              <a:cxn ang="0">
                <a:pos x="csX325" y="csY325"/>
              </a:cxn>
              <a:cxn ang="0">
                <a:pos x="csX326" y="csY326"/>
              </a:cxn>
              <a:cxn ang="0">
                <a:pos x="csX327" y="csY327"/>
              </a:cxn>
              <a:cxn ang="0">
                <a:pos x="csX328" y="csY328"/>
              </a:cxn>
              <a:cxn ang="0">
                <a:pos x="csX329" y="csY329"/>
              </a:cxn>
              <a:cxn ang="0">
                <a:pos x="csX330" y="csY330"/>
              </a:cxn>
              <a:cxn ang="0">
                <a:pos x="csX331" y="csY331"/>
              </a:cxn>
              <a:cxn ang="0">
                <a:pos x="csX332" y="csY332"/>
              </a:cxn>
              <a:cxn ang="0">
                <a:pos x="csX333" y="csY333"/>
              </a:cxn>
              <a:cxn ang="0">
                <a:pos x="csX334" y="csY334"/>
              </a:cxn>
              <a:cxn ang="0">
                <a:pos x="csX335" y="csY335"/>
              </a:cxn>
              <a:cxn ang="0">
                <a:pos x="csX336" y="csY336"/>
              </a:cxn>
              <a:cxn ang="0">
                <a:pos x="csX337" y="csY337"/>
              </a:cxn>
              <a:cxn ang="0">
                <a:pos x="csX338" y="csY338"/>
              </a:cxn>
              <a:cxn ang="0">
                <a:pos x="csX339" y="csY339"/>
              </a:cxn>
              <a:cxn ang="0">
                <a:pos x="csX340" y="csY340"/>
              </a:cxn>
              <a:cxn ang="0">
                <a:pos x="csX341" y="csY341"/>
              </a:cxn>
              <a:cxn ang="0">
                <a:pos x="csX342" y="csY342"/>
              </a:cxn>
              <a:cxn ang="0">
                <a:pos x="csX343" y="csY343"/>
              </a:cxn>
              <a:cxn ang="0">
                <a:pos x="csX344" y="csY344"/>
              </a:cxn>
              <a:cxn ang="0">
                <a:pos x="csX345" y="csY345"/>
              </a:cxn>
              <a:cxn ang="0">
                <a:pos x="csX346" y="csY346"/>
              </a:cxn>
              <a:cxn ang="0">
                <a:pos x="csX347" y="csY347"/>
              </a:cxn>
              <a:cxn ang="0">
                <a:pos x="csX348" y="csY348"/>
              </a:cxn>
              <a:cxn ang="0">
                <a:pos x="csX349" y="csY349"/>
              </a:cxn>
              <a:cxn ang="0">
                <a:pos x="csX350" y="csY350"/>
              </a:cxn>
              <a:cxn ang="0">
                <a:pos x="csX351" y="csY351"/>
              </a:cxn>
              <a:cxn ang="0">
                <a:pos x="csX352" y="csY352"/>
              </a:cxn>
              <a:cxn ang="0">
                <a:pos x="csX353" y="csY353"/>
              </a:cxn>
              <a:cxn ang="0">
                <a:pos x="csX354" y="csY354"/>
              </a:cxn>
              <a:cxn ang="0">
                <a:pos x="csX355" y="csY355"/>
              </a:cxn>
              <a:cxn ang="0">
                <a:pos x="csX356" y="csY356"/>
              </a:cxn>
              <a:cxn ang="0">
                <a:pos x="csX357" y="csY357"/>
              </a:cxn>
              <a:cxn ang="0">
                <a:pos x="csX358" y="csY358"/>
              </a:cxn>
              <a:cxn ang="0">
                <a:pos x="csX359" y="csY359"/>
              </a:cxn>
              <a:cxn ang="0">
                <a:pos x="csX360" y="csY360"/>
              </a:cxn>
              <a:cxn ang="0">
                <a:pos x="csX361" y="csY361"/>
              </a:cxn>
              <a:cxn ang="0">
                <a:pos x="csX362" y="csY362"/>
              </a:cxn>
              <a:cxn ang="0">
                <a:pos x="csX363" y="csY363"/>
              </a:cxn>
              <a:cxn ang="0">
                <a:pos x="csX364" y="csY364"/>
              </a:cxn>
              <a:cxn ang="0">
                <a:pos x="csX365" y="csY365"/>
              </a:cxn>
              <a:cxn ang="0">
                <a:pos x="csX366" y="csY366"/>
              </a:cxn>
              <a:cxn ang="0">
                <a:pos x="csX367" y="csY367"/>
              </a:cxn>
              <a:cxn ang="0">
                <a:pos x="csX368" y="csY368"/>
              </a:cxn>
              <a:cxn ang="0">
                <a:pos x="csX369" y="csY369"/>
              </a:cxn>
              <a:cxn ang="0">
                <a:pos x="csX370" y="csY370"/>
              </a:cxn>
              <a:cxn ang="0">
                <a:pos x="csX371" y="csY371"/>
              </a:cxn>
              <a:cxn ang="0">
                <a:pos x="csX372" y="csY372"/>
              </a:cxn>
              <a:cxn ang="0">
                <a:pos x="csX373" y="csY373"/>
              </a:cxn>
              <a:cxn ang="0">
                <a:pos x="csX374" y="csY374"/>
              </a:cxn>
              <a:cxn ang="0">
                <a:pos x="csX375" y="csY375"/>
              </a:cxn>
              <a:cxn ang="0">
                <a:pos x="csX376" y="csY376"/>
              </a:cxn>
              <a:cxn ang="0">
                <a:pos x="csX377" y="csY377"/>
              </a:cxn>
              <a:cxn ang="0">
                <a:pos x="csX378" y="csY378"/>
              </a:cxn>
              <a:cxn ang="0">
                <a:pos x="csX379" y="csY379"/>
              </a:cxn>
              <a:cxn ang="0">
                <a:pos x="csX380" y="csY380"/>
              </a:cxn>
              <a:cxn ang="0">
                <a:pos x="csX381" y="csY381"/>
              </a:cxn>
              <a:cxn ang="0">
                <a:pos x="csX382" y="csY382"/>
              </a:cxn>
              <a:cxn ang="0">
                <a:pos x="csX383" y="csY383"/>
              </a:cxn>
              <a:cxn ang="0">
                <a:pos x="csX384" y="csY384"/>
              </a:cxn>
              <a:cxn ang="0">
                <a:pos x="csX385" y="csY385"/>
              </a:cxn>
              <a:cxn ang="0">
                <a:pos x="csX386" y="csY386"/>
              </a:cxn>
              <a:cxn ang="0">
                <a:pos x="csX387" y="csY387"/>
              </a:cxn>
              <a:cxn ang="0">
                <a:pos x="csX388" y="csY388"/>
              </a:cxn>
              <a:cxn ang="0">
                <a:pos x="csX389" y="csY389"/>
              </a:cxn>
              <a:cxn ang="0">
                <a:pos x="csX390" y="csY390"/>
              </a:cxn>
              <a:cxn ang="0">
                <a:pos x="csX391" y="csY391"/>
              </a:cxn>
              <a:cxn ang="0">
                <a:pos x="csX392" y="csY392"/>
              </a:cxn>
              <a:cxn ang="0">
                <a:pos x="csX393" y="csY393"/>
              </a:cxn>
              <a:cxn ang="0">
                <a:pos x="csX394" y="csY394"/>
              </a:cxn>
              <a:cxn ang="0">
                <a:pos x="csX395" y="csY395"/>
              </a:cxn>
              <a:cxn ang="0">
                <a:pos x="csX396" y="csY396"/>
              </a:cxn>
              <a:cxn ang="0">
                <a:pos x="csX397" y="csY397"/>
              </a:cxn>
              <a:cxn ang="0">
                <a:pos x="csX398" y="csY398"/>
              </a:cxn>
              <a:cxn ang="0">
                <a:pos x="csX399" y="csY399"/>
              </a:cxn>
              <a:cxn ang="0">
                <a:pos x="csX400" y="csY400"/>
              </a:cxn>
              <a:cxn ang="0">
                <a:pos x="csX401" y="csY401"/>
              </a:cxn>
              <a:cxn ang="0">
                <a:pos x="csX402" y="csY402"/>
              </a:cxn>
              <a:cxn ang="0">
                <a:pos x="csX403" y="csY403"/>
              </a:cxn>
              <a:cxn ang="0">
                <a:pos x="csX404" y="csY404"/>
              </a:cxn>
              <a:cxn ang="0">
                <a:pos x="csX405" y="csY405"/>
              </a:cxn>
              <a:cxn ang="0">
                <a:pos x="csX406" y="csY406"/>
              </a:cxn>
              <a:cxn ang="0">
                <a:pos x="csX407" y="csY407"/>
              </a:cxn>
              <a:cxn ang="0">
                <a:pos x="csX408" y="csY408"/>
              </a:cxn>
              <a:cxn ang="0">
                <a:pos x="csX409" y="csY409"/>
              </a:cxn>
              <a:cxn ang="0">
                <a:pos x="csX410" y="csY410"/>
              </a:cxn>
              <a:cxn ang="0">
                <a:pos x="csX411" y="csY411"/>
              </a:cxn>
              <a:cxn ang="0">
                <a:pos x="csX412" y="csY412"/>
              </a:cxn>
              <a:cxn ang="0">
                <a:pos x="csX413" y="csY413"/>
              </a:cxn>
              <a:cxn ang="0">
                <a:pos x="csX414" y="csY414"/>
              </a:cxn>
              <a:cxn ang="0">
                <a:pos x="csX415" y="csY415"/>
              </a:cxn>
              <a:cxn ang="0">
                <a:pos x="csX416" y="csY416"/>
              </a:cxn>
              <a:cxn ang="0">
                <a:pos x="csX417" y="csY417"/>
              </a:cxn>
              <a:cxn ang="0">
                <a:pos x="csX418" y="csY418"/>
              </a:cxn>
              <a:cxn ang="0">
                <a:pos x="csX419" y="csY419"/>
              </a:cxn>
              <a:cxn ang="0">
                <a:pos x="csX420" y="csY420"/>
              </a:cxn>
              <a:cxn ang="0">
                <a:pos x="csX421" y="csY421"/>
              </a:cxn>
              <a:cxn ang="0">
                <a:pos x="csX422" y="csY422"/>
              </a:cxn>
              <a:cxn ang="0">
                <a:pos x="csX423" y="csY423"/>
              </a:cxn>
              <a:cxn ang="0">
                <a:pos x="csX424" y="csY424"/>
              </a:cxn>
              <a:cxn ang="0">
                <a:pos x="csX425" y="csY425"/>
              </a:cxn>
              <a:cxn ang="0">
                <a:pos x="csX426" y="csY426"/>
              </a:cxn>
              <a:cxn ang="0">
                <a:pos x="csX427" y="csY427"/>
              </a:cxn>
              <a:cxn ang="0">
                <a:pos x="csX428" y="csY428"/>
              </a:cxn>
              <a:cxn ang="0">
                <a:pos x="csX429" y="csY429"/>
              </a:cxn>
              <a:cxn ang="0">
                <a:pos x="csX430" y="csY430"/>
              </a:cxn>
              <a:cxn ang="0">
                <a:pos x="csX431" y="csY431"/>
              </a:cxn>
              <a:cxn ang="0">
                <a:pos x="csX432" y="csY432"/>
              </a:cxn>
              <a:cxn ang="0">
                <a:pos x="csX433" y="csY433"/>
              </a:cxn>
              <a:cxn ang="0">
                <a:pos x="csX434" y="csY434"/>
              </a:cxn>
              <a:cxn ang="0">
                <a:pos x="csX435" y="csY435"/>
              </a:cxn>
              <a:cxn ang="0">
                <a:pos x="csX436" y="csY436"/>
              </a:cxn>
              <a:cxn ang="0">
                <a:pos x="csX437" y="csY437"/>
              </a:cxn>
              <a:cxn ang="0">
                <a:pos x="csX438" y="csY438"/>
              </a:cxn>
              <a:cxn ang="0">
                <a:pos x="csX439" y="csY439"/>
              </a:cxn>
              <a:cxn ang="0">
                <a:pos x="csX440" y="csY440"/>
              </a:cxn>
              <a:cxn ang="0">
                <a:pos x="csX441" y="csY441"/>
              </a:cxn>
              <a:cxn ang="0">
                <a:pos x="csX442" y="csY442"/>
              </a:cxn>
              <a:cxn ang="0">
                <a:pos x="csX443" y="csY443"/>
              </a:cxn>
              <a:cxn ang="0">
                <a:pos x="csX444" y="csY444"/>
              </a:cxn>
              <a:cxn ang="0">
                <a:pos x="csX445" y="csY445"/>
              </a:cxn>
              <a:cxn ang="0">
                <a:pos x="csX446" y="csY446"/>
              </a:cxn>
              <a:cxn ang="0">
                <a:pos x="csX447" y="csY447"/>
              </a:cxn>
              <a:cxn ang="0">
                <a:pos x="csX448" y="csY448"/>
              </a:cxn>
              <a:cxn ang="0">
                <a:pos x="csX449" y="csY449"/>
              </a:cxn>
              <a:cxn ang="0">
                <a:pos x="csX450" y="csY450"/>
              </a:cxn>
              <a:cxn ang="0">
                <a:pos x="csX451" y="csY451"/>
              </a:cxn>
              <a:cxn ang="0">
                <a:pos x="csX452" y="csY452"/>
              </a:cxn>
              <a:cxn ang="0">
                <a:pos x="csX453" y="csY453"/>
              </a:cxn>
              <a:cxn ang="0">
                <a:pos x="csX454" y="csY454"/>
              </a:cxn>
              <a:cxn ang="0">
                <a:pos x="csX455" y="csY455"/>
              </a:cxn>
              <a:cxn ang="0">
                <a:pos x="csX456" y="csY456"/>
              </a:cxn>
              <a:cxn ang="0">
                <a:pos x="csX457" y="csY457"/>
              </a:cxn>
              <a:cxn ang="0">
                <a:pos x="csX458" y="csY458"/>
              </a:cxn>
              <a:cxn ang="0">
                <a:pos x="csX459" y="csY459"/>
              </a:cxn>
              <a:cxn ang="0">
                <a:pos x="csX460" y="csY460"/>
              </a:cxn>
              <a:cxn ang="0">
                <a:pos x="csX461" y="csY461"/>
              </a:cxn>
              <a:cxn ang="0">
                <a:pos x="csX462" y="csY462"/>
              </a:cxn>
              <a:cxn ang="0">
                <a:pos x="csX463" y="csY463"/>
              </a:cxn>
              <a:cxn ang="0">
                <a:pos x="csX464" y="csY464"/>
              </a:cxn>
              <a:cxn ang="0">
                <a:pos x="csX465" y="csY465"/>
              </a:cxn>
              <a:cxn ang="0">
                <a:pos x="csX466" y="csY466"/>
              </a:cxn>
              <a:cxn ang="0">
                <a:pos x="csX467" y="csY467"/>
              </a:cxn>
              <a:cxn ang="0">
                <a:pos x="csX468" y="csY468"/>
              </a:cxn>
              <a:cxn ang="0">
                <a:pos x="csX469" y="csY469"/>
              </a:cxn>
              <a:cxn ang="0">
                <a:pos x="csX470" y="csY470"/>
              </a:cxn>
              <a:cxn ang="0">
                <a:pos x="csX471" y="csY471"/>
              </a:cxn>
              <a:cxn ang="0">
                <a:pos x="csX472" y="csY472"/>
              </a:cxn>
              <a:cxn ang="0">
                <a:pos x="csX473" y="csY473"/>
              </a:cxn>
              <a:cxn ang="0">
                <a:pos x="csX474" y="csY474"/>
              </a:cxn>
              <a:cxn ang="0">
                <a:pos x="csX475" y="csY475"/>
              </a:cxn>
              <a:cxn ang="0">
                <a:pos x="csX476" y="csY476"/>
              </a:cxn>
              <a:cxn ang="0">
                <a:pos x="csX477" y="csY477"/>
              </a:cxn>
              <a:cxn ang="0">
                <a:pos x="csX478" y="csY478"/>
              </a:cxn>
              <a:cxn ang="0">
                <a:pos x="csX479" y="csY479"/>
              </a:cxn>
              <a:cxn ang="0">
                <a:pos x="csX480" y="csY480"/>
              </a:cxn>
              <a:cxn ang="0">
                <a:pos x="csX481" y="csY481"/>
              </a:cxn>
              <a:cxn ang="0">
                <a:pos x="csX482" y="csY482"/>
              </a:cxn>
              <a:cxn ang="0">
                <a:pos x="csX483" y="csY483"/>
              </a:cxn>
              <a:cxn ang="0">
                <a:pos x="csX484" y="csY484"/>
              </a:cxn>
              <a:cxn ang="0">
                <a:pos x="csX485" y="csY485"/>
              </a:cxn>
              <a:cxn ang="0">
                <a:pos x="csX486" y="csY486"/>
              </a:cxn>
              <a:cxn ang="0">
                <a:pos x="csX487" y="csY487"/>
              </a:cxn>
              <a:cxn ang="0">
                <a:pos x="csX488" y="csY488"/>
              </a:cxn>
              <a:cxn ang="0">
                <a:pos x="csX489" y="csY489"/>
              </a:cxn>
              <a:cxn ang="0">
                <a:pos x="csX490" y="csY490"/>
              </a:cxn>
              <a:cxn ang="0">
                <a:pos x="csX491" y="csY491"/>
              </a:cxn>
              <a:cxn ang="0">
                <a:pos x="csX492" y="csY492"/>
              </a:cxn>
              <a:cxn ang="0">
                <a:pos x="csX493" y="csY493"/>
              </a:cxn>
              <a:cxn ang="0">
                <a:pos x="csX494" y="csY494"/>
              </a:cxn>
              <a:cxn ang="0">
                <a:pos x="csX495" y="csY495"/>
              </a:cxn>
              <a:cxn ang="0">
                <a:pos x="csX496" y="csY496"/>
              </a:cxn>
              <a:cxn ang="0">
                <a:pos x="csX497" y="csY497"/>
              </a:cxn>
              <a:cxn ang="0">
                <a:pos x="csX498" y="csY498"/>
              </a:cxn>
              <a:cxn ang="0">
                <a:pos x="csX499" y="csY499"/>
              </a:cxn>
              <a:cxn ang="0">
                <a:pos x="csX500" y="csY500"/>
              </a:cxn>
              <a:cxn ang="0">
                <a:pos x="csX501" y="csY501"/>
              </a:cxn>
              <a:cxn ang="0">
                <a:pos x="csX502" y="csY502"/>
              </a:cxn>
              <a:cxn ang="0">
                <a:pos x="csX503" y="csY503"/>
              </a:cxn>
              <a:cxn ang="0">
                <a:pos x="csX504" y="csY504"/>
              </a:cxn>
              <a:cxn ang="0">
                <a:pos x="csX505" y="csY505"/>
              </a:cxn>
              <a:cxn ang="0">
                <a:pos x="csX506" y="csY506"/>
              </a:cxn>
              <a:cxn ang="0">
                <a:pos x="csX507" y="csY507"/>
              </a:cxn>
              <a:cxn ang="0">
                <a:pos x="csX508" y="csY508"/>
              </a:cxn>
              <a:cxn ang="0">
                <a:pos x="csX509" y="csY509"/>
              </a:cxn>
              <a:cxn ang="0">
                <a:pos x="csX510" y="csY510"/>
              </a:cxn>
              <a:cxn ang="0">
                <a:pos x="csX511" y="csY511"/>
              </a:cxn>
              <a:cxn ang="0">
                <a:pos x="csX512" y="csY512"/>
              </a:cxn>
              <a:cxn ang="0">
                <a:pos x="csX513" y="csY513"/>
              </a:cxn>
              <a:cxn ang="0">
                <a:pos x="csX514" y="csY514"/>
              </a:cxn>
              <a:cxn ang="0">
                <a:pos x="csX515" y="csY515"/>
              </a:cxn>
              <a:cxn ang="0">
                <a:pos x="csX516" y="csY516"/>
              </a:cxn>
              <a:cxn ang="0">
                <a:pos x="csX517" y="csY517"/>
              </a:cxn>
              <a:cxn ang="0">
                <a:pos x="csX518" y="csY518"/>
              </a:cxn>
              <a:cxn ang="0">
                <a:pos x="csX519" y="csY519"/>
              </a:cxn>
              <a:cxn ang="0">
                <a:pos x="csX520" y="csY520"/>
              </a:cxn>
              <a:cxn ang="0">
                <a:pos x="csX521" y="csY521"/>
              </a:cxn>
              <a:cxn ang="0">
                <a:pos x="csX522" y="csY522"/>
              </a:cxn>
              <a:cxn ang="0">
                <a:pos x="csX523" y="csY523"/>
              </a:cxn>
              <a:cxn ang="0">
                <a:pos x="csX524" y="csY524"/>
              </a:cxn>
              <a:cxn ang="0">
                <a:pos x="csX525" y="csY525"/>
              </a:cxn>
              <a:cxn ang="0">
                <a:pos x="csX526" y="csY526"/>
              </a:cxn>
              <a:cxn ang="0">
                <a:pos x="csX527" y="csY527"/>
              </a:cxn>
              <a:cxn ang="0">
                <a:pos x="csX528" y="csY528"/>
              </a:cxn>
              <a:cxn ang="0">
                <a:pos x="csX529" y="csY529"/>
              </a:cxn>
              <a:cxn ang="0">
                <a:pos x="csX530" y="csY530"/>
              </a:cxn>
              <a:cxn ang="0">
                <a:pos x="csX531" y="csY531"/>
              </a:cxn>
              <a:cxn ang="0">
                <a:pos x="csX532" y="csY532"/>
              </a:cxn>
              <a:cxn ang="0">
                <a:pos x="csX533" y="csY533"/>
              </a:cxn>
              <a:cxn ang="0">
                <a:pos x="csX534" y="csY534"/>
              </a:cxn>
              <a:cxn ang="0">
                <a:pos x="csX535" y="csY535"/>
              </a:cxn>
              <a:cxn ang="0">
                <a:pos x="csX536" y="csY536"/>
              </a:cxn>
              <a:cxn ang="0">
                <a:pos x="csX537" y="csY537"/>
              </a:cxn>
              <a:cxn ang="0">
                <a:pos x="csX538" y="csY538"/>
              </a:cxn>
              <a:cxn ang="0">
                <a:pos x="csX539" y="csY539"/>
              </a:cxn>
              <a:cxn ang="0">
                <a:pos x="csX540" y="csY540"/>
              </a:cxn>
              <a:cxn ang="0">
                <a:pos x="csX541" y="csY541"/>
              </a:cxn>
              <a:cxn ang="0">
                <a:pos x="csX542" y="csY542"/>
              </a:cxn>
              <a:cxn ang="0">
                <a:pos x="csX543" y="csY543"/>
              </a:cxn>
              <a:cxn ang="0">
                <a:pos x="csX544" y="csY544"/>
              </a:cxn>
              <a:cxn ang="0">
                <a:pos x="csX545" y="csY545"/>
              </a:cxn>
              <a:cxn ang="0">
                <a:pos x="csX546" y="csY546"/>
              </a:cxn>
              <a:cxn ang="0">
                <a:pos x="csX547" y="csY547"/>
              </a:cxn>
              <a:cxn ang="0">
                <a:pos x="csX548" y="csY548"/>
              </a:cxn>
              <a:cxn ang="0">
                <a:pos x="csX549" y="csY549"/>
              </a:cxn>
              <a:cxn ang="0">
                <a:pos x="csX550" y="csY550"/>
              </a:cxn>
              <a:cxn ang="0">
                <a:pos x="csX551" y="csY551"/>
              </a:cxn>
              <a:cxn ang="0">
                <a:pos x="csX552" y="csY552"/>
              </a:cxn>
              <a:cxn ang="0">
                <a:pos x="csX553" y="csY553"/>
              </a:cxn>
              <a:cxn ang="0">
                <a:pos x="csX554" y="csY554"/>
              </a:cxn>
              <a:cxn ang="0">
                <a:pos x="csX555" y="csY555"/>
              </a:cxn>
              <a:cxn ang="0">
                <a:pos x="csX556" y="csY556"/>
              </a:cxn>
              <a:cxn ang="0">
                <a:pos x="csX557" y="csY557"/>
              </a:cxn>
              <a:cxn ang="0">
                <a:pos x="csX558" y="csY558"/>
              </a:cxn>
              <a:cxn ang="0">
                <a:pos x="csX559" y="csY559"/>
              </a:cxn>
              <a:cxn ang="0">
                <a:pos x="csX560" y="csY560"/>
              </a:cxn>
              <a:cxn ang="0">
                <a:pos x="csX561" y="csY561"/>
              </a:cxn>
              <a:cxn ang="0">
                <a:pos x="csX562" y="csY562"/>
              </a:cxn>
              <a:cxn ang="0">
                <a:pos x="csX563" y="csY563"/>
              </a:cxn>
              <a:cxn ang="0">
                <a:pos x="csX564" y="csY564"/>
              </a:cxn>
              <a:cxn ang="0">
                <a:pos x="csX565" y="csY565"/>
              </a:cxn>
              <a:cxn ang="0">
                <a:pos x="csX566" y="csY566"/>
              </a:cxn>
              <a:cxn ang="0">
                <a:pos x="csX567" y="csY567"/>
              </a:cxn>
              <a:cxn ang="0">
                <a:pos x="csX568" y="csY568"/>
              </a:cxn>
              <a:cxn ang="0">
                <a:pos x="csX569" y="csY569"/>
              </a:cxn>
              <a:cxn ang="0">
                <a:pos x="csX570" y="csY570"/>
              </a:cxn>
              <a:cxn ang="0">
                <a:pos x="csX571" y="csY571"/>
              </a:cxn>
              <a:cxn ang="0">
                <a:pos x="csX572" y="csY572"/>
              </a:cxn>
              <a:cxn ang="0">
                <a:pos x="csX573" y="csY573"/>
              </a:cxn>
              <a:cxn ang="0">
                <a:pos x="csX574" y="csY574"/>
              </a:cxn>
              <a:cxn ang="0">
                <a:pos x="csX575" y="csY575"/>
              </a:cxn>
              <a:cxn ang="0">
                <a:pos x="csX576" y="csY576"/>
              </a:cxn>
              <a:cxn ang="0">
                <a:pos x="csX577" y="csY577"/>
              </a:cxn>
              <a:cxn ang="0">
                <a:pos x="csX578" y="csY578"/>
              </a:cxn>
              <a:cxn ang="0">
                <a:pos x="csX579" y="csY579"/>
              </a:cxn>
              <a:cxn ang="0">
                <a:pos x="csX580" y="csY580"/>
              </a:cxn>
              <a:cxn ang="0">
                <a:pos x="csX581" y="csY581"/>
              </a:cxn>
              <a:cxn ang="0">
                <a:pos x="csX582" y="csY582"/>
              </a:cxn>
              <a:cxn ang="0">
                <a:pos x="csX583" y="csY583"/>
              </a:cxn>
              <a:cxn ang="0">
                <a:pos x="csX584" y="csY584"/>
              </a:cxn>
              <a:cxn ang="0">
                <a:pos x="csX585" y="csY585"/>
              </a:cxn>
              <a:cxn ang="0">
                <a:pos x="csX586" y="csY586"/>
              </a:cxn>
              <a:cxn ang="0">
                <a:pos x="csX587" y="csY587"/>
              </a:cxn>
              <a:cxn ang="0">
                <a:pos x="csX588" y="csY588"/>
              </a:cxn>
              <a:cxn ang="0">
                <a:pos x="csX589" y="csY589"/>
              </a:cxn>
              <a:cxn ang="0">
                <a:pos x="csX590" y="csY590"/>
              </a:cxn>
              <a:cxn ang="0">
                <a:pos x="csX591" y="csY591"/>
              </a:cxn>
              <a:cxn ang="0">
                <a:pos x="csX592" y="csY592"/>
              </a:cxn>
              <a:cxn ang="0">
                <a:pos x="csX593" y="csY593"/>
              </a:cxn>
              <a:cxn ang="0">
                <a:pos x="csX594" y="csY594"/>
              </a:cxn>
              <a:cxn ang="0">
                <a:pos x="csX595" y="csY595"/>
              </a:cxn>
              <a:cxn ang="0">
                <a:pos x="csX596" y="csY596"/>
              </a:cxn>
              <a:cxn ang="0">
                <a:pos x="csX597" y="csY597"/>
              </a:cxn>
              <a:cxn ang="0">
                <a:pos x="csX598" y="csY598"/>
              </a:cxn>
              <a:cxn ang="0">
                <a:pos x="csX599" y="csY599"/>
              </a:cxn>
              <a:cxn ang="0">
                <a:pos x="csX600" y="csY600"/>
              </a:cxn>
              <a:cxn ang="0">
                <a:pos x="csX601" y="csY601"/>
              </a:cxn>
              <a:cxn ang="0">
                <a:pos x="csX602" y="csY602"/>
              </a:cxn>
              <a:cxn ang="0">
                <a:pos x="csX603" y="csY603"/>
              </a:cxn>
              <a:cxn ang="0">
                <a:pos x="csX604" y="csY604"/>
              </a:cxn>
              <a:cxn ang="0">
                <a:pos x="csX605" y="csY605"/>
              </a:cxn>
              <a:cxn ang="0">
                <a:pos x="csX606" y="csY606"/>
              </a:cxn>
              <a:cxn ang="0">
                <a:pos x="csX607" y="csY607"/>
              </a:cxn>
              <a:cxn ang="0">
                <a:pos x="csX608" y="csY608"/>
              </a:cxn>
              <a:cxn ang="0">
                <a:pos x="csX609" y="csY609"/>
              </a:cxn>
              <a:cxn ang="0">
                <a:pos x="csX610" y="csY610"/>
              </a:cxn>
              <a:cxn ang="0">
                <a:pos x="csX611" y="csY611"/>
              </a:cxn>
              <a:cxn ang="0">
                <a:pos x="csX612" y="csY612"/>
              </a:cxn>
              <a:cxn ang="0">
                <a:pos x="csX613" y="csY613"/>
              </a:cxn>
              <a:cxn ang="0">
                <a:pos x="csX614" y="csY614"/>
              </a:cxn>
              <a:cxn ang="0">
                <a:pos x="csX615" y="csY615"/>
              </a:cxn>
              <a:cxn ang="0">
                <a:pos x="csX616" y="csY616"/>
              </a:cxn>
              <a:cxn ang="0">
                <a:pos x="csX617" y="csY617"/>
              </a:cxn>
              <a:cxn ang="0">
                <a:pos x="csX618" y="csY618"/>
              </a:cxn>
              <a:cxn ang="0">
                <a:pos x="csX619" y="csY619"/>
              </a:cxn>
              <a:cxn ang="0">
                <a:pos x="csX620" y="csY620"/>
              </a:cxn>
              <a:cxn ang="0">
                <a:pos x="csX621" y="csY621"/>
              </a:cxn>
              <a:cxn ang="0">
                <a:pos x="csX622" y="csY622"/>
              </a:cxn>
              <a:cxn ang="0">
                <a:pos x="csX623" y="csY623"/>
              </a:cxn>
              <a:cxn ang="0">
                <a:pos x="csX624" y="csY624"/>
              </a:cxn>
              <a:cxn ang="0">
                <a:pos x="csX625" y="csY625"/>
              </a:cxn>
              <a:cxn ang="0">
                <a:pos x="csX626" y="csY626"/>
              </a:cxn>
              <a:cxn ang="0">
                <a:pos x="csX627" y="csY627"/>
              </a:cxn>
              <a:cxn ang="0">
                <a:pos x="csX628" y="csY628"/>
              </a:cxn>
              <a:cxn ang="0">
                <a:pos x="csX629" y="csY629"/>
              </a:cxn>
              <a:cxn ang="0">
                <a:pos x="csX630" y="csY630"/>
              </a:cxn>
              <a:cxn ang="0">
                <a:pos x="csX631" y="csY631"/>
              </a:cxn>
              <a:cxn ang="0">
                <a:pos x="csX632" y="csY632"/>
              </a:cxn>
              <a:cxn ang="0">
                <a:pos x="csX633" y="csY633"/>
              </a:cxn>
              <a:cxn ang="0">
                <a:pos x="csX634" y="csY634"/>
              </a:cxn>
              <a:cxn ang="0">
                <a:pos x="csX635" y="csY635"/>
              </a:cxn>
              <a:cxn ang="0">
                <a:pos x="csX636" y="csY636"/>
              </a:cxn>
              <a:cxn ang="0">
                <a:pos x="csX637" y="csY637"/>
              </a:cxn>
              <a:cxn ang="0">
                <a:pos x="csX638" y="csY638"/>
              </a:cxn>
              <a:cxn ang="0">
                <a:pos x="csX639" y="csY639"/>
              </a:cxn>
              <a:cxn ang="0">
                <a:pos x="csX640" y="csY640"/>
              </a:cxn>
              <a:cxn ang="0">
                <a:pos x="csX641" y="csY641"/>
              </a:cxn>
              <a:cxn ang="0">
                <a:pos x="csX642" y="csY642"/>
              </a:cxn>
              <a:cxn ang="0">
                <a:pos x="csX643" y="csY643"/>
              </a:cxn>
              <a:cxn ang="0">
                <a:pos x="csX644" y="csY644"/>
              </a:cxn>
              <a:cxn ang="0">
                <a:pos x="csX645" y="csY645"/>
              </a:cxn>
              <a:cxn ang="0">
                <a:pos x="csX646" y="csY646"/>
              </a:cxn>
              <a:cxn ang="0">
                <a:pos x="csX647" y="csY647"/>
              </a:cxn>
              <a:cxn ang="0">
                <a:pos x="csX648" y="csY648"/>
              </a:cxn>
              <a:cxn ang="0">
                <a:pos x="csX649" y="csY649"/>
              </a:cxn>
              <a:cxn ang="0">
                <a:pos x="csX650" y="csY650"/>
              </a:cxn>
              <a:cxn ang="0">
                <a:pos x="csX651" y="csY651"/>
              </a:cxn>
              <a:cxn ang="0">
                <a:pos x="csX652" y="csY652"/>
              </a:cxn>
              <a:cxn ang="0">
                <a:pos x="csX653" y="csY653"/>
              </a:cxn>
              <a:cxn ang="0">
                <a:pos x="csX654" y="csY654"/>
              </a:cxn>
              <a:cxn ang="0">
                <a:pos x="csX655" y="csY655"/>
              </a:cxn>
              <a:cxn ang="0">
                <a:pos x="csX656" y="csY656"/>
              </a:cxn>
              <a:cxn ang="0">
                <a:pos x="csX657" y="csY657"/>
              </a:cxn>
              <a:cxn ang="0">
                <a:pos x="csX658" y="csY658"/>
              </a:cxn>
              <a:cxn ang="0">
                <a:pos x="csX659" y="csY659"/>
              </a:cxn>
              <a:cxn ang="0">
                <a:pos x="csX660" y="csY660"/>
              </a:cxn>
              <a:cxn ang="0">
                <a:pos x="csX661" y="csY661"/>
              </a:cxn>
              <a:cxn ang="0">
                <a:pos x="csX662" y="csY662"/>
              </a:cxn>
              <a:cxn ang="0">
                <a:pos x="csX663" y="csY663"/>
              </a:cxn>
              <a:cxn ang="0">
                <a:pos x="csX664" y="csY664"/>
              </a:cxn>
              <a:cxn ang="0">
                <a:pos x="csX665" y="csY665"/>
              </a:cxn>
              <a:cxn ang="0">
                <a:pos x="csX666" y="csY666"/>
              </a:cxn>
              <a:cxn ang="0">
                <a:pos x="csX667" y="csY667"/>
              </a:cxn>
              <a:cxn ang="0">
                <a:pos x="csX668" y="csY668"/>
              </a:cxn>
              <a:cxn ang="0">
                <a:pos x="csX669" y="csY669"/>
              </a:cxn>
              <a:cxn ang="0">
                <a:pos x="csX670" y="csY670"/>
              </a:cxn>
              <a:cxn ang="0">
                <a:pos x="csX671" y="csY671"/>
              </a:cxn>
              <a:cxn ang="0">
                <a:pos x="csX672" y="csY672"/>
              </a:cxn>
              <a:cxn ang="0">
                <a:pos x="csX673" y="csY673"/>
              </a:cxn>
              <a:cxn ang="0">
                <a:pos x="csX674" y="csY674"/>
              </a:cxn>
              <a:cxn ang="0">
                <a:pos x="csX675" y="csY675"/>
              </a:cxn>
              <a:cxn ang="0">
                <a:pos x="csX676" y="csY676"/>
              </a:cxn>
              <a:cxn ang="0">
                <a:pos x="csX677" y="csY677"/>
              </a:cxn>
              <a:cxn ang="0">
                <a:pos x="csX678" y="csY678"/>
              </a:cxn>
              <a:cxn ang="0">
                <a:pos x="csX679" y="csY679"/>
              </a:cxn>
              <a:cxn ang="0">
                <a:pos x="csX680" y="csY680"/>
              </a:cxn>
              <a:cxn ang="0">
                <a:pos x="csX681" y="csY681"/>
              </a:cxn>
              <a:cxn ang="0">
                <a:pos x="csX682" y="csY682"/>
              </a:cxn>
              <a:cxn ang="0">
                <a:pos x="csX683" y="csY683"/>
              </a:cxn>
              <a:cxn ang="0">
                <a:pos x="csX684" y="csY684"/>
              </a:cxn>
              <a:cxn ang="0">
                <a:pos x="csX685" y="csY685"/>
              </a:cxn>
              <a:cxn ang="0">
                <a:pos x="csX686" y="csY686"/>
              </a:cxn>
              <a:cxn ang="0">
                <a:pos x="csX687" y="csY687"/>
              </a:cxn>
              <a:cxn ang="0">
                <a:pos x="csX688" y="csY688"/>
              </a:cxn>
              <a:cxn ang="0">
                <a:pos x="csX689" y="csY689"/>
              </a:cxn>
              <a:cxn ang="0">
                <a:pos x="csX690" y="csY690"/>
              </a:cxn>
              <a:cxn ang="0">
                <a:pos x="csX691" y="csY691"/>
              </a:cxn>
              <a:cxn ang="0">
                <a:pos x="csX692" y="csY692"/>
              </a:cxn>
              <a:cxn ang="0">
                <a:pos x="csX693" y="csY693"/>
              </a:cxn>
              <a:cxn ang="0">
                <a:pos x="csX694" y="csY694"/>
              </a:cxn>
              <a:cxn ang="0">
                <a:pos x="csX695" y="csY695"/>
              </a:cxn>
              <a:cxn ang="0">
                <a:pos x="csX696" y="csY696"/>
              </a:cxn>
              <a:cxn ang="0">
                <a:pos x="csX697" y="csY697"/>
              </a:cxn>
              <a:cxn ang="0">
                <a:pos x="csX698" y="csY698"/>
              </a:cxn>
              <a:cxn ang="0">
                <a:pos x="csX699" y="csY699"/>
              </a:cxn>
              <a:cxn ang="0">
                <a:pos x="csX700" y="csY700"/>
              </a:cxn>
              <a:cxn ang="0">
                <a:pos x="csX701" y="csY701"/>
              </a:cxn>
              <a:cxn ang="0">
                <a:pos x="csX702" y="csY702"/>
              </a:cxn>
              <a:cxn ang="0">
                <a:pos x="csX703" y="csY703"/>
              </a:cxn>
              <a:cxn ang="0">
                <a:pos x="csX704" y="csY704"/>
              </a:cxn>
              <a:cxn ang="0">
                <a:pos x="csX705" y="csY705"/>
              </a:cxn>
              <a:cxn ang="0">
                <a:pos x="csX706" y="csY706"/>
              </a:cxn>
              <a:cxn ang="0">
                <a:pos x="csX707" y="csY707"/>
              </a:cxn>
              <a:cxn ang="0">
                <a:pos x="csX708" y="csY708"/>
              </a:cxn>
              <a:cxn ang="0">
                <a:pos x="csX709" y="csY709"/>
              </a:cxn>
              <a:cxn ang="0">
                <a:pos x="csX710" y="csY710"/>
              </a:cxn>
              <a:cxn ang="0">
                <a:pos x="csX711" y="csY711"/>
              </a:cxn>
              <a:cxn ang="0">
                <a:pos x="csX712" y="csY712"/>
              </a:cxn>
              <a:cxn ang="0">
                <a:pos x="csX713" y="csY713"/>
              </a:cxn>
              <a:cxn ang="0">
                <a:pos x="csX714" y="csY714"/>
              </a:cxn>
              <a:cxn ang="0">
                <a:pos x="csX715" y="csY715"/>
              </a:cxn>
              <a:cxn ang="0">
                <a:pos x="csX716" y="csY716"/>
              </a:cxn>
              <a:cxn ang="0">
                <a:pos x="csX717" y="csY717"/>
              </a:cxn>
              <a:cxn ang="0">
                <a:pos x="csX718" y="csY718"/>
              </a:cxn>
              <a:cxn ang="0">
                <a:pos x="csX719" y="csY719"/>
              </a:cxn>
              <a:cxn ang="0">
                <a:pos x="csX720" y="csY720"/>
              </a:cxn>
              <a:cxn ang="0">
                <a:pos x="csX721" y="csY721"/>
              </a:cxn>
              <a:cxn ang="0">
                <a:pos x="csX722" y="csY722"/>
              </a:cxn>
              <a:cxn ang="0">
                <a:pos x="csX723" y="csY723"/>
              </a:cxn>
              <a:cxn ang="0">
                <a:pos x="csX724" y="csY724"/>
              </a:cxn>
              <a:cxn ang="0">
                <a:pos x="csX725" y="csY725"/>
              </a:cxn>
              <a:cxn ang="0">
                <a:pos x="csX726" y="csY726"/>
              </a:cxn>
              <a:cxn ang="0">
                <a:pos x="csX727" y="csY727"/>
              </a:cxn>
              <a:cxn ang="0">
                <a:pos x="csX728" y="csY728"/>
              </a:cxn>
              <a:cxn ang="0">
                <a:pos x="csX729" y="csY729"/>
              </a:cxn>
              <a:cxn ang="0">
                <a:pos x="csX730" y="csY730"/>
              </a:cxn>
              <a:cxn ang="0">
                <a:pos x="csX731" y="csY731"/>
              </a:cxn>
              <a:cxn ang="0">
                <a:pos x="csX732" y="csY732"/>
              </a:cxn>
              <a:cxn ang="0">
                <a:pos x="csX733" y="csY733"/>
              </a:cxn>
              <a:cxn ang="0">
                <a:pos x="csX734" y="csY734"/>
              </a:cxn>
              <a:cxn ang="0">
                <a:pos x="csX735" y="csY735"/>
              </a:cxn>
              <a:cxn ang="0">
                <a:pos x="csX736" y="csY736"/>
              </a:cxn>
              <a:cxn ang="0">
                <a:pos x="csX737" y="csY737"/>
              </a:cxn>
              <a:cxn ang="0">
                <a:pos x="csX738" y="csY738"/>
              </a:cxn>
              <a:cxn ang="0">
                <a:pos x="csX739" y="csY739"/>
              </a:cxn>
              <a:cxn ang="0">
                <a:pos x="csX740" y="csY740"/>
              </a:cxn>
              <a:cxn ang="0">
                <a:pos x="csX741" y="csY741"/>
              </a:cxn>
              <a:cxn ang="0">
                <a:pos x="csX742" y="csY742"/>
              </a:cxn>
              <a:cxn ang="0">
                <a:pos x="csX743" y="csY743"/>
              </a:cxn>
              <a:cxn ang="0">
                <a:pos x="csX744" y="csY744"/>
              </a:cxn>
              <a:cxn ang="0">
                <a:pos x="csX745" y="csY745"/>
              </a:cxn>
              <a:cxn ang="0">
                <a:pos x="csX746" y="csY746"/>
              </a:cxn>
              <a:cxn ang="0">
                <a:pos x="csX747" y="csY747"/>
              </a:cxn>
              <a:cxn ang="0">
                <a:pos x="csX748" y="csY748"/>
              </a:cxn>
              <a:cxn ang="0">
                <a:pos x="csX749" y="csY749"/>
              </a:cxn>
              <a:cxn ang="0">
                <a:pos x="csX750" y="csY750"/>
              </a:cxn>
              <a:cxn ang="0">
                <a:pos x="csX751" y="csY751"/>
              </a:cxn>
              <a:cxn ang="0">
                <a:pos x="csX752" y="csY752"/>
              </a:cxn>
              <a:cxn ang="0">
                <a:pos x="csX753" y="csY753"/>
              </a:cxn>
              <a:cxn ang="0">
                <a:pos x="csX754" y="csY754"/>
              </a:cxn>
              <a:cxn ang="0">
                <a:pos x="csX755" y="csY755"/>
              </a:cxn>
              <a:cxn ang="0">
                <a:pos x="csX756" y="csY756"/>
              </a:cxn>
              <a:cxn ang="0">
                <a:pos x="csX757" y="csY757"/>
              </a:cxn>
              <a:cxn ang="0">
                <a:pos x="csX758" y="csY758"/>
              </a:cxn>
              <a:cxn ang="0">
                <a:pos x="csX759" y="csY759"/>
              </a:cxn>
              <a:cxn ang="0">
                <a:pos x="csX760" y="csY760"/>
              </a:cxn>
              <a:cxn ang="0">
                <a:pos x="csX761" y="csY761"/>
              </a:cxn>
              <a:cxn ang="0">
                <a:pos x="csX762" y="csY762"/>
              </a:cxn>
              <a:cxn ang="0">
                <a:pos x="csX763" y="csY763"/>
              </a:cxn>
              <a:cxn ang="0">
                <a:pos x="csX764" y="csY764"/>
              </a:cxn>
              <a:cxn ang="0">
                <a:pos x="csX765" y="csY765"/>
              </a:cxn>
              <a:cxn ang="0">
                <a:pos x="csX766" y="csY766"/>
              </a:cxn>
              <a:cxn ang="0">
                <a:pos x="csX767" y="csY767"/>
              </a:cxn>
              <a:cxn ang="0">
                <a:pos x="csX768" y="csY768"/>
              </a:cxn>
              <a:cxn ang="0">
                <a:pos x="csX769" y="csY769"/>
              </a:cxn>
              <a:cxn ang="0">
                <a:pos x="csX770" y="csY770"/>
              </a:cxn>
              <a:cxn ang="0">
                <a:pos x="csX771" y="csY771"/>
              </a:cxn>
              <a:cxn ang="0">
                <a:pos x="csX772" y="csY772"/>
              </a:cxn>
              <a:cxn ang="0">
                <a:pos x="csX773" y="csY773"/>
              </a:cxn>
              <a:cxn ang="0">
                <a:pos x="csX774" y="csY774"/>
              </a:cxn>
              <a:cxn ang="0">
                <a:pos x="csX775" y="csY775"/>
              </a:cxn>
              <a:cxn ang="0">
                <a:pos x="csX776" y="csY776"/>
              </a:cxn>
              <a:cxn ang="0">
                <a:pos x="csX777" y="csY777"/>
              </a:cxn>
              <a:cxn ang="0">
                <a:pos x="csX778" y="csY778"/>
              </a:cxn>
              <a:cxn ang="0">
                <a:pos x="csX779" y="csY779"/>
              </a:cxn>
              <a:cxn ang="0">
                <a:pos x="csX780" y="csY780"/>
              </a:cxn>
              <a:cxn ang="0">
                <a:pos x="csX781" y="csY781"/>
              </a:cxn>
              <a:cxn ang="0">
                <a:pos x="csX782" y="csY782"/>
              </a:cxn>
              <a:cxn ang="0">
                <a:pos x="csX783" y="csY783"/>
              </a:cxn>
              <a:cxn ang="0">
                <a:pos x="csX784" y="csY784"/>
              </a:cxn>
              <a:cxn ang="0">
                <a:pos x="csX785" y="csY785"/>
              </a:cxn>
              <a:cxn ang="0">
                <a:pos x="csX786" y="csY786"/>
              </a:cxn>
              <a:cxn ang="0">
                <a:pos x="csX787" y="csY787"/>
              </a:cxn>
              <a:cxn ang="0">
                <a:pos x="csX788" y="csY788"/>
              </a:cxn>
              <a:cxn ang="0">
                <a:pos x="csX789" y="csY789"/>
              </a:cxn>
              <a:cxn ang="0">
                <a:pos x="csX790" y="csY790"/>
              </a:cxn>
              <a:cxn ang="0">
                <a:pos x="csX791" y="csY791"/>
              </a:cxn>
              <a:cxn ang="0">
                <a:pos x="csX792" y="csY792"/>
              </a:cxn>
              <a:cxn ang="0">
                <a:pos x="csX793" y="csY793"/>
              </a:cxn>
              <a:cxn ang="0">
                <a:pos x="csX794" y="csY794"/>
              </a:cxn>
              <a:cxn ang="0">
                <a:pos x="csX795" y="csY795"/>
              </a:cxn>
              <a:cxn ang="0">
                <a:pos x="csX796" y="csY796"/>
              </a:cxn>
              <a:cxn ang="0">
                <a:pos x="csX797" y="csY797"/>
              </a:cxn>
              <a:cxn ang="0">
                <a:pos x="csX798" y="csY798"/>
              </a:cxn>
              <a:cxn ang="0">
                <a:pos x="csX799" y="csY799"/>
              </a:cxn>
              <a:cxn ang="0">
                <a:pos x="csX800" y="csY800"/>
              </a:cxn>
              <a:cxn ang="0">
                <a:pos x="csX801" y="csY801"/>
              </a:cxn>
              <a:cxn ang="0">
                <a:pos x="csX802" y="csY802"/>
              </a:cxn>
              <a:cxn ang="0">
                <a:pos x="csX803" y="csY803"/>
              </a:cxn>
              <a:cxn ang="0">
                <a:pos x="csX804" y="csY804"/>
              </a:cxn>
              <a:cxn ang="0">
                <a:pos x="csX805" y="csY805"/>
              </a:cxn>
              <a:cxn ang="0">
                <a:pos x="csX806" y="csY806"/>
              </a:cxn>
              <a:cxn ang="0">
                <a:pos x="csX807" y="csY807"/>
              </a:cxn>
              <a:cxn ang="0">
                <a:pos x="csX808" y="csY808"/>
              </a:cxn>
              <a:cxn ang="0">
                <a:pos x="csX809" y="csY809"/>
              </a:cxn>
              <a:cxn ang="0">
                <a:pos x="csX810" y="csY810"/>
              </a:cxn>
              <a:cxn ang="0">
                <a:pos x="csX811" y="csY811"/>
              </a:cxn>
              <a:cxn ang="0">
                <a:pos x="csX812" y="csY812"/>
              </a:cxn>
              <a:cxn ang="0">
                <a:pos x="csX813" y="csY813"/>
              </a:cxn>
              <a:cxn ang="0">
                <a:pos x="csX814" y="csY814"/>
              </a:cxn>
              <a:cxn ang="0">
                <a:pos x="csX815" y="csY815"/>
              </a:cxn>
              <a:cxn ang="0">
                <a:pos x="csX816" y="csY816"/>
              </a:cxn>
              <a:cxn ang="0">
                <a:pos x="csX817" y="csY817"/>
              </a:cxn>
              <a:cxn ang="0">
                <a:pos x="csX818" y="csY818"/>
              </a:cxn>
              <a:cxn ang="0">
                <a:pos x="csX819" y="csY819"/>
              </a:cxn>
              <a:cxn ang="0">
                <a:pos x="csX820" y="csY820"/>
              </a:cxn>
              <a:cxn ang="0">
                <a:pos x="csX821" y="csY821"/>
              </a:cxn>
              <a:cxn ang="0">
                <a:pos x="csX822" y="csY822"/>
              </a:cxn>
              <a:cxn ang="0">
                <a:pos x="csX823" y="csY823"/>
              </a:cxn>
              <a:cxn ang="0">
                <a:pos x="csX824" y="csY824"/>
              </a:cxn>
              <a:cxn ang="0">
                <a:pos x="csX825" y="csY825"/>
              </a:cxn>
              <a:cxn ang="0">
                <a:pos x="csX826" y="csY826"/>
              </a:cxn>
              <a:cxn ang="0">
                <a:pos x="csX827" y="csY827"/>
              </a:cxn>
              <a:cxn ang="0">
                <a:pos x="csX828" y="csY828"/>
              </a:cxn>
              <a:cxn ang="0">
                <a:pos x="csX829" y="csY829"/>
              </a:cxn>
              <a:cxn ang="0">
                <a:pos x="csX830" y="csY830"/>
              </a:cxn>
              <a:cxn ang="0">
                <a:pos x="csX831" y="csY831"/>
              </a:cxn>
              <a:cxn ang="0">
                <a:pos x="csX832" y="csY832"/>
              </a:cxn>
              <a:cxn ang="0">
                <a:pos x="csX833" y="csY833"/>
              </a:cxn>
              <a:cxn ang="0">
                <a:pos x="csX834" y="csY834"/>
              </a:cxn>
              <a:cxn ang="0">
                <a:pos x="csX835" y="csY835"/>
              </a:cxn>
              <a:cxn ang="0">
                <a:pos x="csX836" y="csY836"/>
              </a:cxn>
              <a:cxn ang="0">
                <a:pos x="csX837" y="csY837"/>
              </a:cxn>
              <a:cxn ang="0">
                <a:pos x="csX838" y="csY838"/>
              </a:cxn>
              <a:cxn ang="0">
                <a:pos x="csX839" y="csY839"/>
              </a:cxn>
              <a:cxn ang="0">
                <a:pos x="csX840" y="csY840"/>
              </a:cxn>
              <a:cxn ang="0">
                <a:pos x="csX841" y="csY841"/>
              </a:cxn>
              <a:cxn ang="0">
                <a:pos x="csX842" y="csY842"/>
              </a:cxn>
              <a:cxn ang="0">
                <a:pos x="csX843" y="csY843"/>
              </a:cxn>
              <a:cxn ang="0">
                <a:pos x="csX844" y="csY844"/>
              </a:cxn>
              <a:cxn ang="0">
                <a:pos x="csX845" y="csY845"/>
              </a:cxn>
              <a:cxn ang="0">
                <a:pos x="csX846" y="csY846"/>
              </a:cxn>
              <a:cxn ang="0">
                <a:pos x="csX847" y="csY847"/>
              </a:cxn>
              <a:cxn ang="0">
                <a:pos x="csX848" y="csY848"/>
              </a:cxn>
              <a:cxn ang="0">
                <a:pos x="csX849" y="csY849"/>
              </a:cxn>
              <a:cxn ang="0">
                <a:pos x="csX850" y="csY850"/>
              </a:cxn>
              <a:cxn ang="0">
                <a:pos x="csX851" y="csY851"/>
              </a:cxn>
              <a:cxn ang="0">
                <a:pos x="csX852" y="csY852"/>
              </a:cxn>
              <a:cxn ang="0">
                <a:pos x="csX853" y="csY853"/>
              </a:cxn>
              <a:cxn ang="0">
                <a:pos x="csX854" y="csY854"/>
              </a:cxn>
              <a:cxn ang="0">
                <a:pos x="csX855" y="csY855"/>
              </a:cxn>
              <a:cxn ang="0">
                <a:pos x="csX856" y="csY856"/>
              </a:cxn>
              <a:cxn ang="0">
                <a:pos x="csX857" y="csY857"/>
              </a:cxn>
              <a:cxn ang="0">
                <a:pos x="csX858" y="csY858"/>
              </a:cxn>
              <a:cxn ang="0">
                <a:pos x="csX859" y="csY859"/>
              </a:cxn>
              <a:cxn ang="0">
                <a:pos x="csX860" y="csY860"/>
              </a:cxn>
              <a:cxn ang="0">
                <a:pos x="csX861" y="csY861"/>
              </a:cxn>
              <a:cxn ang="0">
                <a:pos x="csX862" y="csY862"/>
              </a:cxn>
              <a:cxn ang="0">
                <a:pos x="csX863" y="csY863"/>
              </a:cxn>
              <a:cxn ang="0">
                <a:pos x="csX864" y="csY864"/>
              </a:cxn>
              <a:cxn ang="0">
                <a:pos x="csX865" y="csY865"/>
              </a:cxn>
              <a:cxn ang="0">
                <a:pos x="csX866" y="csY866"/>
              </a:cxn>
              <a:cxn ang="0">
                <a:pos x="csX867" y="csY867"/>
              </a:cxn>
              <a:cxn ang="0">
                <a:pos x="csX868" y="csY868"/>
              </a:cxn>
              <a:cxn ang="0">
                <a:pos x="csX869" y="csY869"/>
              </a:cxn>
              <a:cxn ang="0">
                <a:pos x="csX870" y="csY870"/>
              </a:cxn>
              <a:cxn ang="0">
                <a:pos x="csX871" y="csY871"/>
              </a:cxn>
              <a:cxn ang="0">
                <a:pos x="csX872" y="csY872"/>
              </a:cxn>
              <a:cxn ang="0">
                <a:pos x="csX873" y="csY873"/>
              </a:cxn>
              <a:cxn ang="0">
                <a:pos x="csX874" y="csY874"/>
              </a:cxn>
              <a:cxn ang="0">
                <a:pos x="csX875" y="csY875"/>
              </a:cxn>
              <a:cxn ang="0">
                <a:pos x="csX876" y="csY876"/>
              </a:cxn>
              <a:cxn ang="0">
                <a:pos x="csX877" y="csY877"/>
              </a:cxn>
              <a:cxn ang="0">
                <a:pos x="csX878" y="csY878"/>
              </a:cxn>
              <a:cxn ang="0">
                <a:pos x="csX879" y="csY879"/>
              </a:cxn>
              <a:cxn ang="0">
                <a:pos x="csX880" y="csY880"/>
              </a:cxn>
              <a:cxn ang="0">
                <a:pos x="csX881" y="csY881"/>
              </a:cxn>
              <a:cxn ang="0">
                <a:pos x="csX882" y="csY882"/>
              </a:cxn>
              <a:cxn ang="0">
                <a:pos x="csX883" y="csY883"/>
              </a:cxn>
              <a:cxn ang="0">
                <a:pos x="csX884" y="csY884"/>
              </a:cxn>
              <a:cxn ang="0">
                <a:pos x="csX885" y="csY885"/>
              </a:cxn>
              <a:cxn ang="0">
                <a:pos x="csX886" y="csY886"/>
              </a:cxn>
              <a:cxn ang="0">
                <a:pos x="csX887" y="csY887"/>
              </a:cxn>
              <a:cxn ang="0">
                <a:pos x="csX888" y="csY888"/>
              </a:cxn>
              <a:cxn ang="0">
                <a:pos x="csX889" y="csY889"/>
              </a:cxn>
              <a:cxn ang="0">
                <a:pos x="csX890" y="csY890"/>
              </a:cxn>
              <a:cxn ang="0">
                <a:pos x="csX891" y="csY891"/>
              </a:cxn>
              <a:cxn ang="0">
                <a:pos x="csX892" y="csY892"/>
              </a:cxn>
              <a:cxn ang="0">
                <a:pos x="csX893" y="csY893"/>
              </a:cxn>
              <a:cxn ang="0">
                <a:pos x="csX894" y="csY894"/>
              </a:cxn>
              <a:cxn ang="0">
                <a:pos x="csX895" y="csY895"/>
              </a:cxn>
              <a:cxn ang="0">
                <a:pos x="csX896" y="csY896"/>
              </a:cxn>
              <a:cxn ang="0">
                <a:pos x="csX897" y="csY897"/>
              </a:cxn>
              <a:cxn ang="0">
                <a:pos x="csX898" y="csY898"/>
              </a:cxn>
              <a:cxn ang="0">
                <a:pos x="csX899" y="csY899"/>
              </a:cxn>
              <a:cxn ang="0">
                <a:pos x="csX900" y="csY900"/>
              </a:cxn>
              <a:cxn ang="0">
                <a:pos x="csX901" y="csY901"/>
              </a:cxn>
              <a:cxn ang="0">
                <a:pos x="csX902" y="csY902"/>
              </a:cxn>
              <a:cxn ang="0">
                <a:pos x="csX903" y="csY903"/>
              </a:cxn>
              <a:cxn ang="0">
                <a:pos x="csX904" y="csY904"/>
              </a:cxn>
              <a:cxn ang="0">
                <a:pos x="csX905" y="csY905"/>
              </a:cxn>
              <a:cxn ang="0">
                <a:pos x="csX906" y="csY906"/>
              </a:cxn>
              <a:cxn ang="0">
                <a:pos x="csX907" y="csY907"/>
              </a:cxn>
              <a:cxn ang="0">
                <a:pos x="csX908" y="csY908"/>
              </a:cxn>
              <a:cxn ang="0">
                <a:pos x="csX909" y="csY909"/>
              </a:cxn>
              <a:cxn ang="0">
                <a:pos x="csX910" y="csY910"/>
              </a:cxn>
              <a:cxn ang="0">
                <a:pos x="csX911" y="csY911"/>
              </a:cxn>
              <a:cxn ang="0">
                <a:pos x="csX912" y="csY912"/>
              </a:cxn>
              <a:cxn ang="0">
                <a:pos x="csX913" y="csY913"/>
              </a:cxn>
              <a:cxn ang="0">
                <a:pos x="csX914" y="csY914"/>
              </a:cxn>
              <a:cxn ang="0">
                <a:pos x="csX915" y="csY915"/>
              </a:cxn>
              <a:cxn ang="0">
                <a:pos x="csX916" y="csY916"/>
              </a:cxn>
              <a:cxn ang="0">
                <a:pos x="csX917" y="csY917"/>
              </a:cxn>
              <a:cxn ang="0">
                <a:pos x="csX918" y="csY918"/>
              </a:cxn>
              <a:cxn ang="0">
                <a:pos x="csX919" y="csY919"/>
              </a:cxn>
              <a:cxn ang="0">
                <a:pos x="csX920" y="csY920"/>
              </a:cxn>
              <a:cxn ang="0">
                <a:pos x="csX921" y="csY921"/>
              </a:cxn>
              <a:cxn ang="0">
                <a:pos x="csX922" y="csY922"/>
              </a:cxn>
              <a:cxn ang="0">
                <a:pos x="csX923" y="csY923"/>
              </a:cxn>
              <a:cxn ang="0">
                <a:pos x="csX924" y="csY924"/>
              </a:cxn>
              <a:cxn ang="0">
                <a:pos x="csX925" y="csY925"/>
              </a:cxn>
              <a:cxn ang="0">
                <a:pos x="csX926" y="csY926"/>
              </a:cxn>
              <a:cxn ang="0">
                <a:pos x="csX927" y="csY927"/>
              </a:cxn>
              <a:cxn ang="0">
                <a:pos x="csX928" y="csY928"/>
              </a:cxn>
              <a:cxn ang="0">
                <a:pos x="csX929" y="csY929"/>
              </a:cxn>
              <a:cxn ang="0">
                <a:pos x="csX930" y="csY930"/>
              </a:cxn>
              <a:cxn ang="0">
                <a:pos x="csX931" y="csY931"/>
              </a:cxn>
              <a:cxn ang="0">
                <a:pos x="csX932" y="csY932"/>
              </a:cxn>
              <a:cxn ang="0">
                <a:pos x="csX933" y="csY933"/>
              </a:cxn>
              <a:cxn ang="0">
                <a:pos x="csX934" y="csY934"/>
              </a:cxn>
              <a:cxn ang="0">
                <a:pos x="csX935" y="csY935"/>
              </a:cxn>
              <a:cxn ang="0">
                <a:pos x="csX936" y="csY936"/>
              </a:cxn>
              <a:cxn ang="0">
                <a:pos x="csX937" y="csY937"/>
              </a:cxn>
              <a:cxn ang="0">
                <a:pos x="csX938" y="csY938"/>
              </a:cxn>
              <a:cxn ang="0">
                <a:pos x="csX939" y="csY939"/>
              </a:cxn>
              <a:cxn ang="0">
                <a:pos x="csX940" y="csY940"/>
              </a:cxn>
              <a:cxn ang="0">
                <a:pos x="csX941" y="csY941"/>
              </a:cxn>
              <a:cxn ang="0">
                <a:pos x="csX942" y="csY942"/>
              </a:cxn>
              <a:cxn ang="0">
                <a:pos x="csX943" y="csY943"/>
              </a:cxn>
              <a:cxn ang="0">
                <a:pos x="csX944" y="csY944"/>
              </a:cxn>
              <a:cxn ang="0">
                <a:pos x="csX945" y="csY945"/>
              </a:cxn>
              <a:cxn ang="0">
                <a:pos x="csX946" y="csY946"/>
              </a:cxn>
              <a:cxn ang="0">
                <a:pos x="csX947" y="csY947"/>
              </a:cxn>
              <a:cxn ang="0">
                <a:pos x="csX948" y="csY948"/>
              </a:cxn>
              <a:cxn ang="0">
                <a:pos x="csX949" y="csY949"/>
              </a:cxn>
              <a:cxn ang="0">
                <a:pos x="csX950" y="csY950"/>
              </a:cxn>
              <a:cxn ang="0">
                <a:pos x="csX951" y="csY951"/>
              </a:cxn>
              <a:cxn ang="0">
                <a:pos x="csX952" y="csY952"/>
              </a:cxn>
              <a:cxn ang="0">
                <a:pos x="csX953" y="csY953"/>
              </a:cxn>
              <a:cxn ang="0">
                <a:pos x="csX954" y="csY954"/>
              </a:cxn>
              <a:cxn ang="0">
                <a:pos x="csX955" y="csY955"/>
              </a:cxn>
              <a:cxn ang="0">
                <a:pos x="csX956" y="csY956"/>
              </a:cxn>
              <a:cxn ang="0">
                <a:pos x="csX957" y="csY957"/>
              </a:cxn>
              <a:cxn ang="0">
                <a:pos x="csX958" y="csY958"/>
              </a:cxn>
              <a:cxn ang="0">
                <a:pos x="csX959" y="csY959"/>
              </a:cxn>
              <a:cxn ang="0">
                <a:pos x="csX960" y="csY960"/>
              </a:cxn>
              <a:cxn ang="0">
                <a:pos x="csX961" y="csY961"/>
              </a:cxn>
              <a:cxn ang="0">
                <a:pos x="csX962" y="csY962"/>
              </a:cxn>
              <a:cxn ang="0">
                <a:pos x="csX963" y="csY963"/>
              </a:cxn>
              <a:cxn ang="0">
                <a:pos x="csX964" y="csY964"/>
              </a:cxn>
              <a:cxn ang="0">
                <a:pos x="csX965" y="csY965"/>
              </a:cxn>
              <a:cxn ang="0">
                <a:pos x="csX966" y="csY966"/>
              </a:cxn>
              <a:cxn ang="0">
                <a:pos x="csX967" y="csY967"/>
              </a:cxn>
              <a:cxn ang="0">
                <a:pos x="csX968" y="csY968"/>
              </a:cxn>
              <a:cxn ang="0">
                <a:pos x="csX969" y="csY969"/>
              </a:cxn>
              <a:cxn ang="0">
                <a:pos x="csX970" y="csY970"/>
              </a:cxn>
              <a:cxn ang="0">
                <a:pos x="csX971" y="csY971"/>
              </a:cxn>
              <a:cxn ang="0">
                <a:pos x="csX972" y="csY972"/>
              </a:cxn>
              <a:cxn ang="0">
                <a:pos x="csX973" y="csY973"/>
              </a:cxn>
              <a:cxn ang="0">
                <a:pos x="csX974" y="csY974"/>
              </a:cxn>
              <a:cxn ang="0">
                <a:pos x="csX975" y="csY975"/>
              </a:cxn>
              <a:cxn ang="0">
                <a:pos x="csX976" y="csY976"/>
              </a:cxn>
              <a:cxn ang="0">
                <a:pos x="csX977" y="csY977"/>
              </a:cxn>
              <a:cxn ang="0">
                <a:pos x="csX978" y="csY978"/>
              </a:cxn>
              <a:cxn ang="0">
                <a:pos x="csX979" y="csY979"/>
              </a:cxn>
              <a:cxn ang="0">
                <a:pos x="csX980" y="csY980"/>
              </a:cxn>
              <a:cxn ang="0">
                <a:pos x="csX981" y="csY981"/>
              </a:cxn>
              <a:cxn ang="0">
                <a:pos x="csX982" y="csY982"/>
              </a:cxn>
              <a:cxn ang="0">
                <a:pos x="csX983" y="csY983"/>
              </a:cxn>
              <a:cxn ang="0">
                <a:pos x="csX984" y="csY984"/>
              </a:cxn>
              <a:cxn ang="0">
                <a:pos x="csX985" y="csY985"/>
              </a:cxn>
              <a:cxn ang="0">
                <a:pos x="csX986" y="csY986"/>
              </a:cxn>
              <a:cxn ang="0">
                <a:pos x="csX987" y="csY987"/>
              </a:cxn>
              <a:cxn ang="0">
                <a:pos x="csX988" y="csY988"/>
              </a:cxn>
              <a:cxn ang="0">
                <a:pos x="csX989" y="csY989"/>
              </a:cxn>
              <a:cxn ang="0">
                <a:pos x="csX990" y="csY990"/>
              </a:cxn>
              <a:cxn ang="0">
                <a:pos x="csX991" y="csY991"/>
              </a:cxn>
              <a:cxn ang="0">
                <a:pos x="csX992" y="csY992"/>
              </a:cxn>
              <a:cxn ang="0">
                <a:pos x="csX993" y="csY993"/>
              </a:cxn>
              <a:cxn ang="0">
                <a:pos x="csX994" y="csY994"/>
              </a:cxn>
              <a:cxn ang="0">
                <a:pos x="csX995" y="csY995"/>
              </a:cxn>
              <a:cxn ang="0">
                <a:pos x="csX996" y="csY996"/>
              </a:cxn>
              <a:cxn ang="0">
                <a:pos x="csX997" y="csY997"/>
              </a:cxn>
              <a:cxn ang="0">
                <a:pos x="csX998" y="csY998"/>
              </a:cxn>
              <a:cxn ang="0">
                <a:pos x="csX999" y="csY999"/>
              </a:cxn>
              <a:cxn ang="0">
                <a:pos x="csX1000" y="csY1000"/>
              </a:cxn>
              <a:cxn ang="0">
                <a:pos x="csX1001" y="csY1001"/>
              </a:cxn>
              <a:cxn ang="0">
                <a:pos x="csX1002" y="csY1002"/>
              </a:cxn>
              <a:cxn ang="0">
                <a:pos x="csX1003" y="csY1003"/>
              </a:cxn>
              <a:cxn ang="0">
                <a:pos x="csX1004" y="csY1004"/>
              </a:cxn>
              <a:cxn ang="0">
                <a:pos x="csX1005" y="csY1005"/>
              </a:cxn>
              <a:cxn ang="0">
                <a:pos x="csX1006" y="csY1006"/>
              </a:cxn>
              <a:cxn ang="0">
                <a:pos x="csX1007" y="csY1007"/>
              </a:cxn>
              <a:cxn ang="0">
                <a:pos x="csX1008" y="csY1008"/>
              </a:cxn>
              <a:cxn ang="0">
                <a:pos x="csX1009" y="csY1009"/>
              </a:cxn>
              <a:cxn ang="0">
                <a:pos x="csX1010" y="csY1010"/>
              </a:cxn>
              <a:cxn ang="0">
                <a:pos x="csX1011" y="csY1011"/>
              </a:cxn>
              <a:cxn ang="0">
                <a:pos x="csX1012" y="csY1012"/>
              </a:cxn>
              <a:cxn ang="0">
                <a:pos x="csX1013" y="csY1013"/>
              </a:cxn>
              <a:cxn ang="0">
                <a:pos x="csX1014" y="csY1014"/>
              </a:cxn>
              <a:cxn ang="0">
                <a:pos x="csX1015" y="csY1015"/>
              </a:cxn>
              <a:cxn ang="0">
                <a:pos x="csX1016" y="csY1016"/>
              </a:cxn>
              <a:cxn ang="0">
                <a:pos x="csX1017" y="csY1017"/>
              </a:cxn>
              <a:cxn ang="0">
                <a:pos x="csX1018" y="csY1018"/>
              </a:cxn>
              <a:cxn ang="0">
                <a:pos x="csX1019" y="csY1019"/>
              </a:cxn>
              <a:cxn ang="0">
                <a:pos x="csX1020" y="csY1020"/>
              </a:cxn>
              <a:cxn ang="0">
                <a:pos x="csX1021" y="csY1021"/>
              </a:cxn>
              <a:cxn ang="0">
                <a:pos x="csX1022" y="csY1022"/>
              </a:cxn>
              <a:cxn ang="0">
                <a:pos x="csX1023" y="csY1023"/>
              </a:cxn>
              <a:cxn ang="0">
                <a:pos x="csX1024" y="csY1024"/>
              </a:cxn>
              <a:cxn ang="0">
                <a:pos x="csX1025" y="csY1025"/>
              </a:cxn>
              <a:cxn ang="0">
                <a:pos x="csX1026" y="csY1026"/>
              </a:cxn>
              <a:cxn ang="0">
                <a:pos x="csX1027" y="csY1027"/>
              </a:cxn>
              <a:cxn ang="0">
                <a:pos x="csX1028" y="csY1028"/>
              </a:cxn>
              <a:cxn ang="0">
                <a:pos x="csX1029" y="csY1029"/>
              </a:cxn>
              <a:cxn ang="0">
                <a:pos x="csX1030" y="csY1030"/>
              </a:cxn>
              <a:cxn ang="0">
                <a:pos x="csX1031" y="csY1031"/>
              </a:cxn>
              <a:cxn ang="0">
                <a:pos x="csX1032" y="csY1032"/>
              </a:cxn>
              <a:cxn ang="0">
                <a:pos x="csX1033" y="csY1033"/>
              </a:cxn>
              <a:cxn ang="0">
                <a:pos x="csX1034" y="csY1034"/>
              </a:cxn>
              <a:cxn ang="0">
                <a:pos x="csX1035" y="csY1035"/>
              </a:cxn>
              <a:cxn ang="0">
                <a:pos x="csX1036" y="csY1036"/>
              </a:cxn>
              <a:cxn ang="0">
                <a:pos x="csX1037" y="csY1037"/>
              </a:cxn>
              <a:cxn ang="0">
                <a:pos x="csX1038" y="csY1038"/>
              </a:cxn>
              <a:cxn ang="0">
                <a:pos x="csX1039" y="csY1039"/>
              </a:cxn>
              <a:cxn ang="0">
                <a:pos x="csX1040" y="csY1040"/>
              </a:cxn>
              <a:cxn ang="0">
                <a:pos x="csX1041" y="csY1041"/>
              </a:cxn>
              <a:cxn ang="0">
                <a:pos x="csX1042" y="csY1042"/>
              </a:cxn>
              <a:cxn ang="0">
                <a:pos x="csX1043" y="csY1043"/>
              </a:cxn>
              <a:cxn ang="0">
                <a:pos x="csX1044" y="csY1044"/>
              </a:cxn>
              <a:cxn ang="0">
                <a:pos x="csX1045" y="csY1045"/>
              </a:cxn>
              <a:cxn ang="0">
                <a:pos x="csX1046" y="csY1046"/>
              </a:cxn>
              <a:cxn ang="0">
                <a:pos x="csX1047" y="csY1047"/>
              </a:cxn>
              <a:cxn ang="0">
                <a:pos x="csX1048" y="csY1048"/>
              </a:cxn>
              <a:cxn ang="0">
                <a:pos x="csX1049" y="csY1049"/>
              </a:cxn>
              <a:cxn ang="0">
                <a:pos x="csX1050" y="csY1050"/>
              </a:cxn>
              <a:cxn ang="0">
                <a:pos x="csX1051" y="csY1051"/>
              </a:cxn>
              <a:cxn ang="0">
                <a:pos x="csX1052" y="csY1052"/>
              </a:cxn>
              <a:cxn ang="0">
                <a:pos x="csX1053" y="csY1053"/>
              </a:cxn>
              <a:cxn ang="0">
                <a:pos x="csX1054" y="csY1054"/>
              </a:cxn>
            </a:cxnLst>
            <a:rect l="l" t="t" r="r" b="b"/>
            <a:pathLst>
              <a:path w="1609516" h="1538630">
                <a:moveTo>
                  <a:pt x="401579" y="1495809"/>
                </a:moveTo>
                <a:lnTo>
                  <a:pt x="400190" y="1496004"/>
                </a:lnTo>
                <a:lnTo>
                  <a:pt x="401224" y="1496470"/>
                </a:lnTo>
                <a:lnTo>
                  <a:pt x="401224" y="1498590"/>
                </a:lnTo>
                <a:lnTo>
                  <a:pt x="401579" y="1498628"/>
                </a:lnTo>
                <a:cubicBezTo>
                  <a:pt x="401579" y="1497698"/>
                  <a:pt x="401579" y="1496768"/>
                  <a:pt x="401579" y="1495809"/>
                </a:cubicBezTo>
                <a:close/>
                <a:moveTo>
                  <a:pt x="368755" y="1486512"/>
                </a:moveTo>
                <a:lnTo>
                  <a:pt x="364089" y="1487354"/>
                </a:lnTo>
                <a:lnTo>
                  <a:pt x="364089" y="1487908"/>
                </a:lnTo>
                <a:close/>
                <a:moveTo>
                  <a:pt x="1049801" y="1484562"/>
                </a:moveTo>
                <a:lnTo>
                  <a:pt x="1046735" y="1485945"/>
                </a:lnTo>
                <a:lnTo>
                  <a:pt x="1046955" y="1486045"/>
                </a:lnTo>
                <a:lnTo>
                  <a:pt x="1049801" y="1485188"/>
                </a:lnTo>
                <a:close/>
                <a:moveTo>
                  <a:pt x="351234" y="1444508"/>
                </a:moveTo>
                <a:lnTo>
                  <a:pt x="351234" y="1444997"/>
                </a:lnTo>
                <a:lnTo>
                  <a:pt x="351592" y="1445078"/>
                </a:lnTo>
                <a:close/>
                <a:moveTo>
                  <a:pt x="351908" y="1431206"/>
                </a:moveTo>
                <a:lnTo>
                  <a:pt x="351234" y="1431611"/>
                </a:lnTo>
                <a:lnTo>
                  <a:pt x="351234" y="1432274"/>
                </a:lnTo>
                <a:close/>
                <a:moveTo>
                  <a:pt x="358162" y="1421494"/>
                </a:moveTo>
                <a:lnTo>
                  <a:pt x="355921" y="1423156"/>
                </a:lnTo>
                <a:lnTo>
                  <a:pt x="355921" y="1423548"/>
                </a:lnTo>
                <a:close/>
                <a:moveTo>
                  <a:pt x="376098" y="1408347"/>
                </a:moveTo>
                <a:lnTo>
                  <a:pt x="370750" y="1412245"/>
                </a:lnTo>
                <a:lnTo>
                  <a:pt x="375023" y="1411256"/>
                </a:lnTo>
                <a:close/>
                <a:moveTo>
                  <a:pt x="421956" y="1365623"/>
                </a:moveTo>
                <a:lnTo>
                  <a:pt x="421765" y="1366161"/>
                </a:lnTo>
                <a:lnTo>
                  <a:pt x="421887" y="1366161"/>
                </a:lnTo>
                <a:close/>
                <a:moveTo>
                  <a:pt x="754553" y="1360575"/>
                </a:moveTo>
                <a:lnTo>
                  <a:pt x="754089" y="1361433"/>
                </a:lnTo>
                <a:lnTo>
                  <a:pt x="754431" y="1361125"/>
                </a:lnTo>
                <a:close/>
                <a:moveTo>
                  <a:pt x="1277973" y="1332923"/>
                </a:moveTo>
                <a:lnTo>
                  <a:pt x="1277944" y="1332936"/>
                </a:lnTo>
                <a:lnTo>
                  <a:pt x="1277949" y="1333139"/>
                </a:lnTo>
                <a:close/>
                <a:moveTo>
                  <a:pt x="1268556" y="1321066"/>
                </a:moveTo>
                <a:cubicBezTo>
                  <a:pt x="1268556" y="1322461"/>
                  <a:pt x="1268556" y="1323856"/>
                  <a:pt x="1268556" y="1325294"/>
                </a:cubicBezTo>
                <a:cubicBezTo>
                  <a:pt x="1267525" y="1325294"/>
                  <a:pt x="1266495" y="1325294"/>
                  <a:pt x="1265432" y="1325294"/>
                </a:cubicBezTo>
                <a:cubicBezTo>
                  <a:pt x="1265432" y="1330409"/>
                  <a:pt x="1265432" y="1335525"/>
                  <a:pt x="1265432" y="1340795"/>
                </a:cubicBezTo>
                <a:lnTo>
                  <a:pt x="1265476" y="1340714"/>
                </a:lnTo>
                <a:lnTo>
                  <a:pt x="1265476" y="1325877"/>
                </a:lnTo>
                <a:cubicBezTo>
                  <a:pt x="1266507" y="1325877"/>
                  <a:pt x="1267538" y="1325877"/>
                  <a:pt x="1268600" y="1325877"/>
                </a:cubicBezTo>
                <a:cubicBezTo>
                  <a:pt x="1268600" y="1324482"/>
                  <a:pt x="1268600" y="1323086"/>
                  <a:pt x="1268600" y="1321649"/>
                </a:cubicBezTo>
                <a:cubicBezTo>
                  <a:pt x="1270147" y="1321649"/>
                  <a:pt x="1271693" y="1321649"/>
                  <a:pt x="1273286" y="1321649"/>
                </a:cubicBezTo>
                <a:lnTo>
                  <a:pt x="1273227" y="1321066"/>
                </a:lnTo>
                <a:close/>
                <a:moveTo>
                  <a:pt x="827891" y="1291474"/>
                </a:moveTo>
                <a:lnTo>
                  <a:pt x="822601" y="1291544"/>
                </a:lnTo>
                <a:lnTo>
                  <a:pt x="818272" y="1292220"/>
                </a:lnTo>
                <a:lnTo>
                  <a:pt x="827891" y="1292047"/>
                </a:lnTo>
                <a:close/>
                <a:moveTo>
                  <a:pt x="856397" y="1288691"/>
                </a:moveTo>
                <a:lnTo>
                  <a:pt x="865903" y="1290590"/>
                </a:lnTo>
                <a:lnTo>
                  <a:pt x="859999" y="1288752"/>
                </a:lnTo>
                <a:close/>
                <a:moveTo>
                  <a:pt x="834694" y="1288572"/>
                </a:moveTo>
                <a:lnTo>
                  <a:pt x="828038" y="1288654"/>
                </a:lnTo>
                <a:lnTo>
                  <a:pt x="828038" y="1289214"/>
                </a:lnTo>
                <a:close/>
                <a:moveTo>
                  <a:pt x="229746" y="1191418"/>
                </a:moveTo>
                <a:lnTo>
                  <a:pt x="227402" y="1191947"/>
                </a:lnTo>
                <a:lnTo>
                  <a:pt x="229315" y="1191947"/>
                </a:lnTo>
                <a:cubicBezTo>
                  <a:pt x="229315" y="1192877"/>
                  <a:pt x="229315" y="1193807"/>
                  <a:pt x="229315" y="1194765"/>
                </a:cubicBezTo>
                <a:lnTo>
                  <a:pt x="231321" y="1194765"/>
                </a:lnTo>
                <a:lnTo>
                  <a:pt x="229746" y="1194236"/>
                </a:lnTo>
                <a:cubicBezTo>
                  <a:pt x="229746" y="1193306"/>
                  <a:pt x="229746" y="1192376"/>
                  <a:pt x="229746" y="1191418"/>
                </a:cubicBezTo>
                <a:close/>
                <a:moveTo>
                  <a:pt x="215687" y="1187190"/>
                </a:moveTo>
                <a:lnTo>
                  <a:pt x="215198" y="1187720"/>
                </a:lnTo>
                <a:lnTo>
                  <a:pt x="215256" y="1187720"/>
                </a:lnTo>
                <a:cubicBezTo>
                  <a:pt x="215256" y="1189115"/>
                  <a:pt x="215256" y="1190510"/>
                  <a:pt x="215256" y="1191947"/>
                </a:cubicBezTo>
                <a:lnTo>
                  <a:pt x="222721" y="1191947"/>
                </a:lnTo>
                <a:lnTo>
                  <a:pt x="215687" y="1191418"/>
                </a:lnTo>
                <a:cubicBezTo>
                  <a:pt x="215687" y="1190023"/>
                  <a:pt x="215687" y="1188628"/>
                  <a:pt x="215687" y="1187190"/>
                </a:cubicBezTo>
                <a:close/>
                <a:moveTo>
                  <a:pt x="1279678" y="1082356"/>
                </a:moveTo>
                <a:lnTo>
                  <a:pt x="1271680" y="1084589"/>
                </a:lnTo>
                <a:lnTo>
                  <a:pt x="1282181" y="1082544"/>
                </a:lnTo>
                <a:close/>
                <a:moveTo>
                  <a:pt x="117703" y="941507"/>
                </a:moveTo>
                <a:lnTo>
                  <a:pt x="112587" y="941985"/>
                </a:lnTo>
                <a:lnTo>
                  <a:pt x="112565" y="942333"/>
                </a:lnTo>
                <a:lnTo>
                  <a:pt x="115665" y="941837"/>
                </a:lnTo>
                <a:close/>
                <a:moveTo>
                  <a:pt x="144268" y="939395"/>
                </a:moveTo>
                <a:lnTo>
                  <a:pt x="143354" y="939580"/>
                </a:lnTo>
                <a:lnTo>
                  <a:pt x="144077" y="939739"/>
                </a:lnTo>
                <a:close/>
                <a:moveTo>
                  <a:pt x="162575" y="933530"/>
                </a:moveTo>
                <a:lnTo>
                  <a:pt x="161704" y="935101"/>
                </a:lnTo>
                <a:lnTo>
                  <a:pt x="170045" y="933585"/>
                </a:lnTo>
                <a:close/>
                <a:moveTo>
                  <a:pt x="1321645" y="918415"/>
                </a:moveTo>
                <a:lnTo>
                  <a:pt x="1321534" y="920177"/>
                </a:lnTo>
                <a:lnTo>
                  <a:pt x="1321740" y="918415"/>
                </a:lnTo>
                <a:close/>
                <a:moveTo>
                  <a:pt x="1319333" y="915183"/>
                </a:moveTo>
                <a:lnTo>
                  <a:pt x="1318544" y="918029"/>
                </a:lnTo>
                <a:lnTo>
                  <a:pt x="1318702" y="918029"/>
                </a:lnTo>
                <a:close/>
                <a:moveTo>
                  <a:pt x="1326355" y="907109"/>
                </a:moveTo>
                <a:lnTo>
                  <a:pt x="1326355" y="910983"/>
                </a:lnTo>
                <a:lnTo>
                  <a:pt x="1325831" y="911101"/>
                </a:lnTo>
                <a:lnTo>
                  <a:pt x="1326426" y="911369"/>
                </a:lnTo>
                <a:cubicBezTo>
                  <a:pt x="1326426" y="909974"/>
                  <a:pt x="1326426" y="908579"/>
                  <a:pt x="1326426" y="907141"/>
                </a:cubicBezTo>
                <a:close/>
                <a:moveTo>
                  <a:pt x="1328144" y="892192"/>
                </a:moveTo>
                <a:lnTo>
                  <a:pt x="1327667" y="893446"/>
                </a:lnTo>
                <a:lnTo>
                  <a:pt x="1327989" y="893049"/>
                </a:lnTo>
                <a:close/>
                <a:moveTo>
                  <a:pt x="49605" y="887420"/>
                </a:moveTo>
                <a:lnTo>
                  <a:pt x="48549" y="891229"/>
                </a:lnTo>
                <a:lnTo>
                  <a:pt x="49956" y="887420"/>
                </a:lnTo>
                <a:close/>
                <a:moveTo>
                  <a:pt x="1332266" y="883369"/>
                </a:moveTo>
                <a:lnTo>
                  <a:pt x="1329479" y="884207"/>
                </a:lnTo>
                <a:lnTo>
                  <a:pt x="1329509" y="884816"/>
                </a:lnTo>
                <a:lnTo>
                  <a:pt x="1329551" y="884594"/>
                </a:lnTo>
                <a:close/>
                <a:moveTo>
                  <a:pt x="1555987" y="821766"/>
                </a:moveTo>
                <a:lnTo>
                  <a:pt x="1555987" y="822201"/>
                </a:lnTo>
                <a:lnTo>
                  <a:pt x="1556081" y="822189"/>
                </a:lnTo>
                <a:close/>
                <a:moveTo>
                  <a:pt x="1565360" y="810928"/>
                </a:moveTo>
                <a:lnTo>
                  <a:pt x="1564871" y="811809"/>
                </a:lnTo>
                <a:lnTo>
                  <a:pt x="1567314" y="810928"/>
                </a:lnTo>
                <a:close/>
                <a:moveTo>
                  <a:pt x="1563797" y="810928"/>
                </a:moveTo>
                <a:lnTo>
                  <a:pt x="1556762" y="814736"/>
                </a:lnTo>
                <a:lnTo>
                  <a:pt x="1563797" y="812197"/>
                </a:lnTo>
                <a:close/>
                <a:moveTo>
                  <a:pt x="265833" y="806020"/>
                </a:moveTo>
                <a:lnTo>
                  <a:pt x="263704" y="809861"/>
                </a:lnTo>
                <a:lnTo>
                  <a:pt x="263704" y="816750"/>
                </a:lnTo>
                <a:lnTo>
                  <a:pt x="264113" y="816565"/>
                </a:lnTo>
                <a:cubicBezTo>
                  <a:pt x="264048" y="815315"/>
                  <a:pt x="263984" y="814065"/>
                  <a:pt x="263918" y="812777"/>
                </a:cubicBezTo>
                <a:close/>
                <a:moveTo>
                  <a:pt x="263774" y="779374"/>
                </a:moveTo>
                <a:lnTo>
                  <a:pt x="263704" y="783086"/>
                </a:lnTo>
                <a:cubicBezTo>
                  <a:pt x="263961" y="783987"/>
                  <a:pt x="264219" y="784888"/>
                  <a:pt x="264484" y="785816"/>
                </a:cubicBezTo>
                <a:cubicBezTo>
                  <a:pt x="265299" y="788846"/>
                  <a:pt x="265316" y="791337"/>
                  <a:pt x="265265" y="794448"/>
                </a:cubicBezTo>
                <a:cubicBezTo>
                  <a:pt x="265103" y="797155"/>
                  <a:pt x="265022" y="798508"/>
                  <a:pt x="265217" y="799730"/>
                </a:cubicBezTo>
                <a:lnTo>
                  <a:pt x="266556" y="803466"/>
                </a:lnTo>
                <a:lnTo>
                  <a:pt x="267237" y="801063"/>
                </a:lnTo>
                <a:cubicBezTo>
                  <a:pt x="266721" y="800598"/>
                  <a:pt x="266206" y="800133"/>
                  <a:pt x="265675" y="799654"/>
                </a:cubicBezTo>
                <a:cubicBezTo>
                  <a:pt x="265601" y="797718"/>
                  <a:pt x="265617" y="795778"/>
                  <a:pt x="265675" y="793841"/>
                </a:cubicBezTo>
                <a:close/>
                <a:moveTo>
                  <a:pt x="260988" y="770061"/>
                </a:moveTo>
                <a:lnTo>
                  <a:pt x="260988" y="771364"/>
                </a:lnTo>
                <a:lnTo>
                  <a:pt x="263497" y="777263"/>
                </a:lnTo>
                <a:lnTo>
                  <a:pt x="262551" y="770061"/>
                </a:lnTo>
                <a:cubicBezTo>
                  <a:pt x="262035" y="770061"/>
                  <a:pt x="261520" y="770061"/>
                  <a:pt x="260988" y="770061"/>
                </a:cubicBezTo>
                <a:close/>
                <a:moveTo>
                  <a:pt x="157888" y="651686"/>
                </a:moveTo>
                <a:lnTo>
                  <a:pt x="157415" y="651764"/>
                </a:lnTo>
                <a:lnTo>
                  <a:pt x="160373" y="652274"/>
                </a:lnTo>
                <a:close/>
                <a:moveTo>
                  <a:pt x="267237" y="426537"/>
                </a:moveTo>
                <a:lnTo>
                  <a:pt x="267237" y="427619"/>
                </a:lnTo>
                <a:cubicBezTo>
                  <a:pt x="268274" y="427791"/>
                  <a:pt x="269311" y="427961"/>
                  <a:pt x="270380" y="428137"/>
                </a:cubicBezTo>
                <a:lnTo>
                  <a:pt x="273548" y="428680"/>
                </a:lnTo>
                <a:close/>
                <a:moveTo>
                  <a:pt x="37605" y="359270"/>
                </a:moveTo>
                <a:lnTo>
                  <a:pt x="37103" y="361533"/>
                </a:lnTo>
                <a:lnTo>
                  <a:pt x="37605" y="361382"/>
                </a:lnTo>
                <a:close/>
                <a:moveTo>
                  <a:pt x="52477" y="337570"/>
                </a:moveTo>
                <a:lnTo>
                  <a:pt x="47288" y="342340"/>
                </a:lnTo>
                <a:lnTo>
                  <a:pt x="45805" y="345093"/>
                </a:lnTo>
                <a:close/>
                <a:moveTo>
                  <a:pt x="104291" y="336166"/>
                </a:moveTo>
                <a:lnTo>
                  <a:pt x="103776" y="337559"/>
                </a:lnTo>
                <a:lnTo>
                  <a:pt x="108925" y="336166"/>
                </a:lnTo>
                <a:close/>
                <a:moveTo>
                  <a:pt x="1309237" y="322954"/>
                </a:moveTo>
                <a:lnTo>
                  <a:pt x="1309180" y="330559"/>
                </a:lnTo>
                <a:lnTo>
                  <a:pt x="1309237" y="330520"/>
                </a:lnTo>
                <a:close/>
                <a:moveTo>
                  <a:pt x="1308964" y="317715"/>
                </a:moveTo>
                <a:lnTo>
                  <a:pt x="1309237" y="318569"/>
                </a:lnTo>
                <a:lnTo>
                  <a:pt x="1309237" y="317838"/>
                </a:lnTo>
                <a:close/>
                <a:moveTo>
                  <a:pt x="1310087" y="313153"/>
                </a:moveTo>
                <a:lnTo>
                  <a:pt x="1307609" y="313473"/>
                </a:lnTo>
                <a:lnTo>
                  <a:pt x="1308045" y="314836"/>
                </a:lnTo>
                <a:close/>
                <a:moveTo>
                  <a:pt x="1318544" y="312064"/>
                </a:moveTo>
                <a:lnTo>
                  <a:pt x="1316298" y="312353"/>
                </a:lnTo>
                <a:lnTo>
                  <a:pt x="1318544" y="312205"/>
                </a:lnTo>
                <a:close/>
                <a:moveTo>
                  <a:pt x="1084622" y="267674"/>
                </a:moveTo>
                <a:lnTo>
                  <a:pt x="1084227" y="268378"/>
                </a:lnTo>
                <a:cubicBezTo>
                  <a:pt x="1082679" y="268378"/>
                  <a:pt x="1081133" y="268378"/>
                  <a:pt x="1079540" y="268378"/>
                </a:cubicBezTo>
                <a:lnTo>
                  <a:pt x="1079603" y="268477"/>
                </a:lnTo>
                <a:lnTo>
                  <a:pt x="1084192" y="268477"/>
                </a:lnTo>
                <a:close/>
                <a:moveTo>
                  <a:pt x="956410" y="266968"/>
                </a:moveTo>
                <a:lnTo>
                  <a:pt x="957576" y="267083"/>
                </a:lnTo>
                <a:lnTo>
                  <a:pt x="957576" y="269776"/>
                </a:lnTo>
                <a:lnTo>
                  <a:pt x="957694" y="269787"/>
                </a:lnTo>
                <a:cubicBezTo>
                  <a:pt x="957694" y="268857"/>
                  <a:pt x="957694" y="267927"/>
                  <a:pt x="957694" y="266968"/>
                </a:cubicBezTo>
                <a:close/>
                <a:moveTo>
                  <a:pt x="1089372" y="259220"/>
                </a:moveTo>
                <a:lnTo>
                  <a:pt x="1085856" y="265479"/>
                </a:lnTo>
                <a:lnTo>
                  <a:pt x="1088878" y="261431"/>
                </a:lnTo>
                <a:close/>
                <a:moveTo>
                  <a:pt x="1018517" y="223356"/>
                </a:moveTo>
                <a:lnTo>
                  <a:pt x="1013866" y="226190"/>
                </a:lnTo>
                <a:lnTo>
                  <a:pt x="1013024" y="227709"/>
                </a:lnTo>
                <a:lnTo>
                  <a:pt x="1017055" y="224692"/>
                </a:lnTo>
                <a:close/>
                <a:moveTo>
                  <a:pt x="850645" y="220099"/>
                </a:moveTo>
                <a:lnTo>
                  <a:pt x="850897" y="221488"/>
                </a:lnTo>
                <a:cubicBezTo>
                  <a:pt x="851086" y="222545"/>
                  <a:pt x="851275" y="223602"/>
                  <a:pt x="851470" y="224692"/>
                </a:cubicBezTo>
                <a:lnTo>
                  <a:pt x="852860" y="224692"/>
                </a:lnTo>
                <a:close/>
                <a:moveTo>
                  <a:pt x="1155019" y="35"/>
                </a:moveTo>
                <a:cubicBezTo>
                  <a:pt x="1161775" y="275"/>
                  <a:pt x="1168415" y="1783"/>
                  <a:pt x="1174829" y="4853"/>
                </a:cubicBezTo>
                <a:cubicBezTo>
                  <a:pt x="1176343" y="5231"/>
                  <a:pt x="1177858" y="5609"/>
                  <a:pt x="1179418" y="5998"/>
                </a:cubicBezTo>
                <a:cubicBezTo>
                  <a:pt x="1189392" y="9487"/>
                  <a:pt x="1196322" y="14392"/>
                  <a:pt x="1201385" y="22997"/>
                </a:cubicBezTo>
                <a:cubicBezTo>
                  <a:pt x="1206849" y="35244"/>
                  <a:pt x="1206940" y="49865"/>
                  <a:pt x="1201678" y="62191"/>
                </a:cubicBezTo>
                <a:cubicBezTo>
                  <a:pt x="1200594" y="64241"/>
                  <a:pt x="1199461" y="66271"/>
                  <a:pt x="1198261" y="68268"/>
                </a:cubicBezTo>
                <a:cubicBezTo>
                  <a:pt x="1197423" y="69721"/>
                  <a:pt x="1196586" y="71175"/>
                  <a:pt x="1195723" y="72672"/>
                </a:cubicBezTo>
                <a:cubicBezTo>
                  <a:pt x="1194659" y="73980"/>
                  <a:pt x="1194659" y="73980"/>
                  <a:pt x="1193575" y="75314"/>
                </a:cubicBezTo>
                <a:cubicBezTo>
                  <a:pt x="1192544" y="75314"/>
                  <a:pt x="1191512" y="75314"/>
                  <a:pt x="1190450" y="75314"/>
                </a:cubicBezTo>
                <a:cubicBezTo>
                  <a:pt x="1190128" y="76651"/>
                  <a:pt x="1189806" y="77988"/>
                  <a:pt x="1189474" y="79366"/>
                </a:cubicBezTo>
                <a:cubicBezTo>
                  <a:pt x="1187326" y="83769"/>
                  <a:pt x="1187326" y="83769"/>
                  <a:pt x="1182445" y="85707"/>
                </a:cubicBezTo>
                <a:cubicBezTo>
                  <a:pt x="1180962" y="85998"/>
                  <a:pt x="1179480" y="86289"/>
                  <a:pt x="1177953" y="86588"/>
                </a:cubicBezTo>
                <a:cubicBezTo>
                  <a:pt x="1177953" y="87518"/>
                  <a:pt x="1177953" y="88448"/>
                  <a:pt x="1177953" y="89406"/>
                </a:cubicBezTo>
                <a:cubicBezTo>
                  <a:pt x="1175369" y="91088"/>
                  <a:pt x="1172720" y="92688"/>
                  <a:pt x="1170045" y="94251"/>
                </a:cubicBezTo>
                <a:cubicBezTo>
                  <a:pt x="1154651" y="104199"/>
                  <a:pt x="1148918" y="116979"/>
                  <a:pt x="1143806" y="132828"/>
                </a:cubicBezTo>
                <a:cubicBezTo>
                  <a:pt x="1142095" y="137144"/>
                  <a:pt x="1140989" y="138617"/>
                  <a:pt x="1137338" y="141548"/>
                </a:cubicBezTo>
                <a:cubicBezTo>
                  <a:pt x="1136166" y="144148"/>
                  <a:pt x="1134992" y="146751"/>
                  <a:pt x="1133970" y="149403"/>
                </a:cubicBezTo>
                <a:cubicBezTo>
                  <a:pt x="1132069" y="154334"/>
                  <a:pt x="1130006" y="159210"/>
                  <a:pt x="1127965" y="164095"/>
                </a:cubicBezTo>
                <a:cubicBezTo>
                  <a:pt x="1126897" y="166664"/>
                  <a:pt x="1125830" y="169233"/>
                  <a:pt x="1124762" y="171802"/>
                </a:cubicBezTo>
                <a:cubicBezTo>
                  <a:pt x="1122961" y="176134"/>
                  <a:pt x="1121160" y="180466"/>
                  <a:pt x="1119359" y="184798"/>
                </a:cubicBezTo>
                <a:cubicBezTo>
                  <a:pt x="1116567" y="191508"/>
                  <a:pt x="1113778" y="198220"/>
                  <a:pt x="1111014" y="204941"/>
                </a:cubicBezTo>
                <a:cubicBezTo>
                  <a:pt x="1110590" y="205970"/>
                  <a:pt x="1110165" y="206999"/>
                  <a:pt x="1109729" y="208059"/>
                </a:cubicBezTo>
                <a:cubicBezTo>
                  <a:pt x="1108615" y="210762"/>
                  <a:pt x="1107505" y="213466"/>
                  <a:pt x="1106395" y="216170"/>
                </a:cubicBezTo>
                <a:cubicBezTo>
                  <a:pt x="1104320" y="220956"/>
                  <a:pt x="1103283" y="223349"/>
                  <a:pt x="1102147" y="224810"/>
                </a:cubicBezTo>
                <a:lnTo>
                  <a:pt x="1098261" y="227262"/>
                </a:lnTo>
                <a:lnTo>
                  <a:pt x="1098367" y="238475"/>
                </a:lnTo>
                <a:cubicBezTo>
                  <a:pt x="1098025" y="239757"/>
                  <a:pt x="1097684" y="241038"/>
                  <a:pt x="1097331" y="242358"/>
                </a:cubicBezTo>
                <a:cubicBezTo>
                  <a:pt x="1096958" y="243711"/>
                  <a:pt x="1096585" y="245064"/>
                  <a:pt x="1096201" y="246458"/>
                </a:cubicBezTo>
                <a:cubicBezTo>
                  <a:pt x="1093302" y="257363"/>
                  <a:pt x="1090901" y="268062"/>
                  <a:pt x="1089440" y="279206"/>
                </a:cubicBezTo>
                <a:cubicBezTo>
                  <a:pt x="1088878" y="282569"/>
                  <a:pt x="1088878" y="282569"/>
                  <a:pt x="1087316" y="283978"/>
                </a:cubicBezTo>
                <a:cubicBezTo>
                  <a:pt x="1087070" y="286587"/>
                  <a:pt x="1086924" y="289205"/>
                  <a:pt x="1086822" y="291822"/>
                </a:cubicBezTo>
                <a:cubicBezTo>
                  <a:pt x="1086756" y="293408"/>
                  <a:pt x="1086691" y="294993"/>
                  <a:pt x="1086623" y="296625"/>
                </a:cubicBezTo>
                <a:cubicBezTo>
                  <a:pt x="1086562" y="298294"/>
                  <a:pt x="1086501" y="299962"/>
                  <a:pt x="1086437" y="301681"/>
                </a:cubicBezTo>
                <a:cubicBezTo>
                  <a:pt x="1086336" y="304192"/>
                  <a:pt x="1086336" y="304192"/>
                  <a:pt x="1086233" y="306754"/>
                </a:cubicBezTo>
                <a:lnTo>
                  <a:pt x="1086007" y="312619"/>
                </a:lnTo>
                <a:lnTo>
                  <a:pt x="1087470" y="320554"/>
                </a:lnTo>
                <a:cubicBezTo>
                  <a:pt x="1089648" y="325409"/>
                  <a:pt x="1093111" y="329799"/>
                  <a:pt x="1098285" y="334611"/>
                </a:cubicBezTo>
                <a:cubicBezTo>
                  <a:pt x="1100424" y="336130"/>
                  <a:pt x="1100424" y="336130"/>
                  <a:pt x="1102607" y="337679"/>
                </a:cubicBezTo>
                <a:cubicBezTo>
                  <a:pt x="1104334" y="338951"/>
                  <a:pt x="1104334" y="338951"/>
                  <a:pt x="1106095" y="340248"/>
                </a:cubicBezTo>
                <a:cubicBezTo>
                  <a:pt x="1106095" y="341178"/>
                  <a:pt x="1106095" y="342108"/>
                  <a:pt x="1106095" y="343066"/>
                </a:cubicBezTo>
                <a:cubicBezTo>
                  <a:pt x="1107127" y="343183"/>
                  <a:pt x="1108158" y="343299"/>
                  <a:pt x="1109220" y="343419"/>
                </a:cubicBezTo>
                <a:cubicBezTo>
                  <a:pt x="1115473" y="344829"/>
                  <a:pt x="1120724" y="347416"/>
                  <a:pt x="1126403" y="350112"/>
                </a:cubicBezTo>
                <a:cubicBezTo>
                  <a:pt x="1128207" y="350926"/>
                  <a:pt x="1130012" y="351740"/>
                  <a:pt x="1131871" y="352579"/>
                </a:cubicBezTo>
                <a:cubicBezTo>
                  <a:pt x="1133159" y="353160"/>
                  <a:pt x="1134448" y="353741"/>
                  <a:pt x="1135776" y="354340"/>
                </a:cubicBezTo>
                <a:cubicBezTo>
                  <a:pt x="1135776" y="355270"/>
                  <a:pt x="1135776" y="356200"/>
                  <a:pt x="1135776" y="357158"/>
                </a:cubicBezTo>
                <a:cubicBezTo>
                  <a:pt x="1148107" y="360029"/>
                  <a:pt x="1158679" y="359101"/>
                  <a:pt x="1170143" y="354340"/>
                </a:cubicBezTo>
                <a:cubicBezTo>
                  <a:pt x="1172366" y="353468"/>
                  <a:pt x="1172366" y="353468"/>
                  <a:pt x="1174634" y="352579"/>
                </a:cubicBezTo>
                <a:cubicBezTo>
                  <a:pt x="1180354" y="349689"/>
                  <a:pt x="1185568" y="346355"/>
                  <a:pt x="1190890" y="342907"/>
                </a:cubicBezTo>
                <a:cubicBezTo>
                  <a:pt x="1195169" y="340228"/>
                  <a:pt x="1199557" y="337821"/>
                  <a:pt x="1204021" y="335404"/>
                </a:cubicBezTo>
                <a:cubicBezTo>
                  <a:pt x="1211989" y="330886"/>
                  <a:pt x="1217509" y="325766"/>
                  <a:pt x="1223255" y="319110"/>
                </a:cubicBezTo>
                <a:cubicBezTo>
                  <a:pt x="1224447" y="317947"/>
                  <a:pt x="1225639" y="316784"/>
                  <a:pt x="1226868" y="315587"/>
                </a:cubicBezTo>
                <a:cubicBezTo>
                  <a:pt x="1229855" y="311593"/>
                  <a:pt x="1230852" y="308240"/>
                  <a:pt x="1231859" y="303559"/>
                </a:cubicBezTo>
                <a:cubicBezTo>
                  <a:pt x="1232628" y="300790"/>
                  <a:pt x="1232628" y="300790"/>
                  <a:pt x="1234178" y="298059"/>
                </a:cubicBezTo>
                <a:cubicBezTo>
                  <a:pt x="1235964" y="294761"/>
                  <a:pt x="1236623" y="291807"/>
                  <a:pt x="1237314" y="288195"/>
                </a:cubicBezTo>
                <a:cubicBezTo>
                  <a:pt x="1239360" y="278571"/>
                  <a:pt x="1242414" y="272733"/>
                  <a:pt x="1249811" y="265559"/>
                </a:cubicBezTo>
                <a:cubicBezTo>
                  <a:pt x="1250842" y="265559"/>
                  <a:pt x="1251873" y="265559"/>
                  <a:pt x="1252935" y="265559"/>
                </a:cubicBezTo>
                <a:cubicBezTo>
                  <a:pt x="1252935" y="264629"/>
                  <a:pt x="1252935" y="263699"/>
                  <a:pt x="1252935" y="262741"/>
                </a:cubicBezTo>
                <a:cubicBezTo>
                  <a:pt x="1265591" y="253427"/>
                  <a:pt x="1280762" y="251648"/>
                  <a:pt x="1296675" y="252876"/>
                </a:cubicBezTo>
                <a:cubicBezTo>
                  <a:pt x="1300535" y="253563"/>
                  <a:pt x="1303901" y="254478"/>
                  <a:pt x="1307609" y="255695"/>
                </a:cubicBezTo>
                <a:cubicBezTo>
                  <a:pt x="1307609" y="256625"/>
                  <a:pt x="1307609" y="257555"/>
                  <a:pt x="1307609" y="258513"/>
                </a:cubicBezTo>
                <a:cubicBezTo>
                  <a:pt x="1309021" y="258619"/>
                  <a:pt x="1310432" y="258723"/>
                  <a:pt x="1311887" y="258832"/>
                </a:cubicBezTo>
                <a:cubicBezTo>
                  <a:pt x="1319573" y="260476"/>
                  <a:pt x="1322149" y="264416"/>
                  <a:pt x="1326715" y="269969"/>
                </a:cubicBezTo>
                <a:cubicBezTo>
                  <a:pt x="1334402" y="281220"/>
                  <a:pt x="1336114" y="294839"/>
                  <a:pt x="1334165" y="307836"/>
                </a:cubicBezTo>
                <a:cubicBezTo>
                  <a:pt x="1332176" y="311898"/>
                  <a:pt x="1332176" y="311898"/>
                  <a:pt x="1329479" y="314882"/>
                </a:cubicBezTo>
                <a:cubicBezTo>
                  <a:pt x="1327417" y="314882"/>
                  <a:pt x="1325355" y="314882"/>
                  <a:pt x="1323231" y="314882"/>
                </a:cubicBezTo>
                <a:cubicBezTo>
                  <a:pt x="1323231" y="315812"/>
                  <a:pt x="1323231" y="316742"/>
                  <a:pt x="1323231" y="317700"/>
                </a:cubicBezTo>
                <a:lnTo>
                  <a:pt x="1322774" y="317838"/>
                </a:lnTo>
                <a:lnTo>
                  <a:pt x="1323295" y="317838"/>
                </a:lnTo>
                <a:cubicBezTo>
                  <a:pt x="1323295" y="316907"/>
                  <a:pt x="1323295" y="315977"/>
                  <a:pt x="1323295" y="315019"/>
                </a:cubicBezTo>
                <a:cubicBezTo>
                  <a:pt x="1324842" y="315019"/>
                  <a:pt x="1326388" y="315019"/>
                  <a:pt x="1327982" y="315019"/>
                </a:cubicBezTo>
                <a:cubicBezTo>
                  <a:pt x="1325845" y="321328"/>
                  <a:pt x="1322753" y="323742"/>
                  <a:pt x="1317047" y="327702"/>
                </a:cubicBezTo>
                <a:cubicBezTo>
                  <a:pt x="1316531" y="329097"/>
                  <a:pt x="1316016" y="330492"/>
                  <a:pt x="1315484" y="331930"/>
                </a:cubicBezTo>
                <a:cubicBezTo>
                  <a:pt x="1312599" y="332959"/>
                  <a:pt x="1312599" y="332959"/>
                  <a:pt x="1309139" y="333603"/>
                </a:cubicBezTo>
                <a:cubicBezTo>
                  <a:pt x="1307993" y="333827"/>
                  <a:pt x="1306847" y="334050"/>
                  <a:pt x="1305666" y="334280"/>
                </a:cubicBezTo>
                <a:cubicBezTo>
                  <a:pt x="1304783" y="334434"/>
                  <a:pt x="1303899" y="334589"/>
                  <a:pt x="1302988" y="334748"/>
                </a:cubicBezTo>
                <a:lnTo>
                  <a:pt x="1305905" y="332775"/>
                </a:lnTo>
                <a:lnTo>
                  <a:pt x="1304485" y="333202"/>
                </a:lnTo>
                <a:cubicBezTo>
                  <a:pt x="1302987" y="334640"/>
                  <a:pt x="1302987" y="334640"/>
                  <a:pt x="1301459" y="336108"/>
                </a:cubicBezTo>
                <a:cubicBezTo>
                  <a:pt x="1298237" y="338839"/>
                  <a:pt x="1298237" y="338839"/>
                  <a:pt x="1291989" y="338839"/>
                </a:cubicBezTo>
                <a:cubicBezTo>
                  <a:pt x="1291473" y="340234"/>
                  <a:pt x="1290957" y="341629"/>
                  <a:pt x="1290426" y="343066"/>
                </a:cubicBezTo>
                <a:cubicBezTo>
                  <a:pt x="1288879" y="343415"/>
                  <a:pt x="1287333" y="343764"/>
                  <a:pt x="1285740" y="344123"/>
                </a:cubicBezTo>
                <a:cubicBezTo>
                  <a:pt x="1266905" y="348491"/>
                  <a:pt x="1249005" y="369098"/>
                  <a:pt x="1237314" y="382525"/>
                </a:cubicBezTo>
                <a:cubicBezTo>
                  <a:pt x="1235678" y="385783"/>
                  <a:pt x="1234122" y="389075"/>
                  <a:pt x="1232628" y="392389"/>
                </a:cubicBezTo>
                <a:cubicBezTo>
                  <a:pt x="1231317" y="394515"/>
                  <a:pt x="1229981" y="396629"/>
                  <a:pt x="1228625" y="398731"/>
                </a:cubicBezTo>
                <a:cubicBezTo>
                  <a:pt x="1221457" y="410300"/>
                  <a:pt x="1219465" y="421836"/>
                  <a:pt x="1222822" y="434798"/>
                </a:cubicBezTo>
                <a:cubicBezTo>
                  <a:pt x="1229360" y="453710"/>
                  <a:pt x="1244088" y="472467"/>
                  <a:pt x="1260746" y="485398"/>
                </a:cubicBezTo>
                <a:cubicBezTo>
                  <a:pt x="1264961" y="487349"/>
                  <a:pt x="1264961" y="487349"/>
                  <a:pt x="1268556" y="488216"/>
                </a:cubicBezTo>
                <a:cubicBezTo>
                  <a:pt x="1268556" y="489146"/>
                  <a:pt x="1268556" y="490076"/>
                  <a:pt x="1268556" y="491034"/>
                </a:cubicBezTo>
                <a:cubicBezTo>
                  <a:pt x="1288790" y="497071"/>
                  <a:pt x="1319055" y="498555"/>
                  <a:pt x="1338852" y="489625"/>
                </a:cubicBezTo>
                <a:cubicBezTo>
                  <a:pt x="1341711" y="489213"/>
                  <a:pt x="1344575" y="488837"/>
                  <a:pt x="1347444" y="488480"/>
                </a:cubicBezTo>
                <a:cubicBezTo>
                  <a:pt x="1355372" y="487345"/>
                  <a:pt x="1362033" y="485390"/>
                  <a:pt x="1369362" y="482513"/>
                </a:cubicBezTo>
                <a:cubicBezTo>
                  <a:pt x="1375665" y="480318"/>
                  <a:pt x="1382189" y="479322"/>
                  <a:pt x="1388840" y="478351"/>
                </a:cubicBezTo>
                <a:cubicBezTo>
                  <a:pt x="1388840" y="477421"/>
                  <a:pt x="1388840" y="476492"/>
                  <a:pt x="1388840" y="475533"/>
                </a:cubicBezTo>
                <a:cubicBezTo>
                  <a:pt x="1391083" y="474821"/>
                  <a:pt x="1393329" y="474118"/>
                  <a:pt x="1395576" y="473419"/>
                </a:cubicBezTo>
                <a:cubicBezTo>
                  <a:pt x="1396827" y="473027"/>
                  <a:pt x="1398077" y="472635"/>
                  <a:pt x="1399365" y="472230"/>
                </a:cubicBezTo>
                <a:cubicBezTo>
                  <a:pt x="1402899" y="471305"/>
                  <a:pt x="1402899" y="471305"/>
                  <a:pt x="1407585" y="471305"/>
                </a:cubicBezTo>
                <a:cubicBezTo>
                  <a:pt x="1408101" y="469910"/>
                  <a:pt x="1408616" y="468515"/>
                  <a:pt x="1409147" y="467078"/>
                </a:cubicBezTo>
                <a:cubicBezTo>
                  <a:pt x="1412388" y="465580"/>
                  <a:pt x="1412388" y="465580"/>
                  <a:pt x="1416470" y="464259"/>
                </a:cubicBezTo>
                <a:cubicBezTo>
                  <a:pt x="1424029" y="461705"/>
                  <a:pt x="1431130" y="458955"/>
                  <a:pt x="1437949" y="455011"/>
                </a:cubicBezTo>
                <a:cubicBezTo>
                  <a:pt x="1442765" y="452574"/>
                  <a:pt x="1447553" y="451394"/>
                  <a:pt x="1452887" y="450167"/>
                </a:cubicBezTo>
                <a:cubicBezTo>
                  <a:pt x="1452887" y="449237"/>
                  <a:pt x="1452887" y="448307"/>
                  <a:pt x="1452887" y="447349"/>
                </a:cubicBezTo>
                <a:cubicBezTo>
                  <a:pt x="1453714" y="446944"/>
                  <a:pt x="1454541" y="446539"/>
                  <a:pt x="1455394" y="446122"/>
                </a:cubicBezTo>
                <a:cubicBezTo>
                  <a:pt x="1459151" y="444278"/>
                  <a:pt x="1462902" y="442422"/>
                  <a:pt x="1466653" y="440567"/>
                </a:cubicBezTo>
                <a:cubicBezTo>
                  <a:pt x="1467955" y="439930"/>
                  <a:pt x="1469256" y="439293"/>
                  <a:pt x="1470598" y="438637"/>
                </a:cubicBezTo>
                <a:cubicBezTo>
                  <a:pt x="1471852" y="438016"/>
                  <a:pt x="1473105" y="437393"/>
                  <a:pt x="1474397" y="436752"/>
                </a:cubicBezTo>
                <a:cubicBezTo>
                  <a:pt x="1475550" y="436184"/>
                  <a:pt x="1476703" y="435616"/>
                  <a:pt x="1477892" y="435030"/>
                </a:cubicBezTo>
                <a:cubicBezTo>
                  <a:pt x="1480966" y="433279"/>
                  <a:pt x="1483173" y="431373"/>
                  <a:pt x="1485691" y="429029"/>
                </a:cubicBezTo>
                <a:cubicBezTo>
                  <a:pt x="1486737" y="428575"/>
                  <a:pt x="1487781" y="428121"/>
                  <a:pt x="1488858" y="427653"/>
                </a:cubicBezTo>
                <a:cubicBezTo>
                  <a:pt x="1492438" y="425977"/>
                  <a:pt x="1493705" y="424453"/>
                  <a:pt x="1495943" y="421454"/>
                </a:cubicBezTo>
                <a:cubicBezTo>
                  <a:pt x="1507114" y="407544"/>
                  <a:pt x="1519758" y="393513"/>
                  <a:pt x="1538608" y="388338"/>
                </a:cubicBezTo>
                <a:cubicBezTo>
                  <a:pt x="1541025" y="388250"/>
                  <a:pt x="1541025" y="388250"/>
                  <a:pt x="1543490" y="388161"/>
                </a:cubicBezTo>
                <a:cubicBezTo>
                  <a:pt x="1545535" y="387984"/>
                  <a:pt x="1545535" y="387984"/>
                  <a:pt x="1547621" y="387804"/>
                </a:cubicBezTo>
                <a:cubicBezTo>
                  <a:pt x="1560659" y="387094"/>
                  <a:pt x="1568716" y="390117"/>
                  <a:pt x="1579418" y="396617"/>
                </a:cubicBezTo>
                <a:cubicBezTo>
                  <a:pt x="1581361" y="397687"/>
                  <a:pt x="1581361" y="397687"/>
                  <a:pt x="1583342" y="398780"/>
                </a:cubicBezTo>
                <a:cubicBezTo>
                  <a:pt x="1593703" y="405068"/>
                  <a:pt x="1598513" y="412459"/>
                  <a:pt x="1601288" y="423392"/>
                </a:cubicBezTo>
                <a:cubicBezTo>
                  <a:pt x="1603295" y="436596"/>
                  <a:pt x="1603517" y="449033"/>
                  <a:pt x="1594484" y="460159"/>
                </a:cubicBezTo>
                <a:cubicBezTo>
                  <a:pt x="1588468" y="466462"/>
                  <a:pt x="1582607" y="471150"/>
                  <a:pt x="1574732" y="475533"/>
                </a:cubicBezTo>
                <a:cubicBezTo>
                  <a:pt x="1573862" y="476043"/>
                  <a:pt x="1572993" y="476553"/>
                  <a:pt x="1572097" y="477078"/>
                </a:cubicBezTo>
                <a:cubicBezTo>
                  <a:pt x="1566828" y="478935"/>
                  <a:pt x="1561641" y="478744"/>
                  <a:pt x="1556066" y="478737"/>
                </a:cubicBezTo>
                <a:cubicBezTo>
                  <a:pt x="1553587" y="478765"/>
                  <a:pt x="1551109" y="478795"/>
                  <a:pt x="1548631" y="478825"/>
                </a:cubicBezTo>
                <a:cubicBezTo>
                  <a:pt x="1544751" y="478857"/>
                  <a:pt x="1540871" y="478880"/>
                  <a:pt x="1536991" y="478889"/>
                </a:cubicBezTo>
                <a:cubicBezTo>
                  <a:pt x="1516714" y="478693"/>
                  <a:pt x="1516714" y="478693"/>
                  <a:pt x="1498188" y="485398"/>
                </a:cubicBezTo>
                <a:cubicBezTo>
                  <a:pt x="1496062" y="486488"/>
                  <a:pt x="1496062" y="486488"/>
                  <a:pt x="1493892" y="487600"/>
                </a:cubicBezTo>
                <a:cubicBezTo>
                  <a:pt x="1492733" y="488268"/>
                  <a:pt x="1491573" y="488937"/>
                  <a:pt x="1490377" y="489625"/>
                </a:cubicBezTo>
                <a:cubicBezTo>
                  <a:pt x="1484304" y="493012"/>
                  <a:pt x="1478212" y="495675"/>
                  <a:pt x="1471650" y="498185"/>
                </a:cubicBezTo>
                <a:cubicBezTo>
                  <a:pt x="1467148" y="500054"/>
                  <a:pt x="1463242" y="502632"/>
                  <a:pt x="1459135" y="505127"/>
                </a:cubicBezTo>
                <a:cubicBezTo>
                  <a:pt x="1456968" y="506120"/>
                  <a:pt x="1454786" y="507086"/>
                  <a:pt x="1452594" y="508033"/>
                </a:cubicBezTo>
                <a:cubicBezTo>
                  <a:pt x="1444148" y="511772"/>
                  <a:pt x="1435969" y="515903"/>
                  <a:pt x="1427795" y="520100"/>
                </a:cubicBezTo>
                <a:cubicBezTo>
                  <a:pt x="1425784" y="521114"/>
                  <a:pt x="1425784" y="521114"/>
                  <a:pt x="1423733" y="522148"/>
                </a:cubicBezTo>
                <a:cubicBezTo>
                  <a:pt x="1422478" y="522798"/>
                  <a:pt x="1421223" y="523449"/>
                  <a:pt x="1419929" y="524118"/>
                </a:cubicBezTo>
                <a:cubicBezTo>
                  <a:pt x="1418794" y="524701"/>
                  <a:pt x="1417658" y="525283"/>
                  <a:pt x="1416487" y="525883"/>
                </a:cubicBezTo>
                <a:cubicBezTo>
                  <a:pt x="1413349" y="527646"/>
                  <a:pt x="1413349" y="527646"/>
                  <a:pt x="1412271" y="531902"/>
                </a:cubicBezTo>
                <a:cubicBezTo>
                  <a:pt x="1407205" y="535203"/>
                  <a:pt x="1402819" y="536744"/>
                  <a:pt x="1396650" y="537539"/>
                </a:cubicBezTo>
                <a:cubicBezTo>
                  <a:pt x="1396650" y="538469"/>
                  <a:pt x="1396650" y="539399"/>
                  <a:pt x="1396650" y="540357"/>
                </a:cubicBezTo>
                <a:cubicBezTo>
                  <a:pt x="1395609" y="540735"/>
                  <a:pt x="1394568" y="541113"/>
                  <a:pt x="1393495" y="541502"/>
                </a:cubicBezTo>
                <a:cubicBezTo>
                  <a:pt x="1381840" y="545973"/>
                  <a:pt x="1372279" y="551715"/>
                  <a:pt x="1362284" y="558678"/>
                </a:cubicBezTo>
                <a:cubicBezTo>
                  <a:pt x="1360170" y="560088"/>
                  <a:pt x="1358055" y="561497"/>
                  <a:pt x="1355937" y="562905"/>
                </a:cubicBezTo>
                <a:cubicBezTo>
                  <a:pt x="1348556" y="567937"/>
                  <a:pt x="1341292" y="573085"/>
                  <a:pt x="1334165" y="578406"/>
                </a:cubicBezTo>
                <a:cubicBezTo>
                  <a:pt x="1332697" y="579472"/>
                  <a:pt x="1332697" y="579472"/>
                  <a:pt x="1331200" y="580559"/>
                </a:cubicBezTo>
                <a:cubicBezTo>
                  <a:pt x="1325067" y="585430"/>
                  <a:pt x="1323406" y="589771"/>
                  <a:pt x="1322175" y="596793"/>
                </a:cubicBezTo>
                <a:cubicBezTo>
                  <a:pt x="1321669" y="599545"/>
                  <a:pt x="1321669" y="599545"/>
                  <a:pt x="1320106" y="602363"/>
                </a:cubicBezTo>
                <a:cubicBezTo>
                  <a:pt x="1318419" y="618189"/>
                  <a:pt x="1322416" y="632767"/>
                  <a:pt x="1328015" y="647640"/>
                </a:cubicBezTo>
                <a:cubicBezTo>
                  <a:pt x="1331267" y="656625"/>
                  <a:pt x="1333170" y="666179"/>
                  <a:pt x="1332604" y="675643"/>
                </a:cubicBezTo>
                <a:cubicBezTo>
                  <a:pt x="1333634" y="675643"/>
                  <a:pt x="1334665" y="675643"/>
                  <a:pt x="1335727" y="675643"/>
                </a:cubicBezTo>
                <a:cubicBezTo>
                  <a:pt x="1337571" y="680632"/>
                  <a:pt x="1337591" y="684795"/>
                  <a:pt x="1337741" y="690059"/>
                </a:cubicBezTo>
                <a:cubicBezTo>
                  <a:pt x="1337826" y="692114"/>
                  <a:pt x="1337913" y="694168"/>
                  <a:pt x="1338003" y="696222"/>
                </a:cubicBezTo>
                <a:cubicBezTo>
                  <a:pt x="1338142" y="699444"/>
                  <a:pt x="1338266" y="702664"/>
                  <a:pt x="1338340" y="705887"/>
                </a:cubicBezTo>
                <a:cubicBezTo>
                  <a:pt x="1338372" y="720474"/>
                  <a:pt x="1338372" y="720474"/>
                  <a:pt x="1345277" y="733245"/>
                </a:cubicBezTo>
                <a:cubicBezTo>
                  <a:pt x="1350822" y="737861"/>
                  <a:pt x="1355921" y="739823"/>
                  <a:pt x="1363162" y="741612"/>
                </a:cubicBezTo>
                <a:cubicBezTo>
                  <a:pt x="1370672" y="743533"/>
                  <a:pt x="1377197" y="745750"/>
                  <a:pt x="1384154" y="748922"/>
                </a:cubicBezTo>
                <a:cubicBezTo>
                  <a:pt x="1387833" y="749898"/>
                  <a:pt x="1387833" y="749898"/>
                  <a:pt x="1391476" y="750419"/>
                </a:cubicBezTo>
                <a:cubicBezTo>
                  <a:pt x="1393499" y="750747"/>
                  <a:pt x="1393499" y="750747"/>
                  <a:pt x="1395564" y="751080"/>
                </a:cubicBezTo>
                <a:cubicBezTo>
                  <a:pt x="1397648" y="751407"/>
                  <a:pt x="1397648" y="751407"/>
                  <a:pt x="1399775" y="751740"/>
                </a:cubicBezTo>
                <a:cubicBezTo>
                  <a:pt x="1401810" y="752111"/>
                  <a:pt x="1401810" y="752111"/>
                  <a:pt x="1403887" y="752489"/>
                </a:cubicBezTo>
                <a:cubicBezTo>
                  <a:pt x="1424247" y="756131"/>
                  <a:pt x="1444708" y="756350"/>
                  <a:pt x="1465383" y="755969"/>
                </a:cubicBezTo>
                <a:cubicBezTo>
                  <a:pt x="1467019" y="755945"/>
                  <a:pt x="1468654" y="755921"/>
                  <a:pt x="1470339" y="755897"/>
                </a:cubicBezTo>
                <a:cubicBezTo>
                  <a:pt x="1480128" y="755450"/>
                  <a:pt x="1487899" y="752933"/>
                  <a:pt x="1496809" y="749313"/>
                </a:cubicBezTo>
                <a:cubicBezTo>
                  <a:pt x="1502876" y="746888"/>
                  <a:pt x="1509049" y="745091"/>
                  <a:pt x="1515371" y="743285"/>
                </a:cubicBezTo>
                <a:cubicBezTo>
                  <a:pt x="1515371" y="742356"/>
                  <a:pt x="1515371" y="741425"/>
                  <a:pt x="1515371" y="740467"/>
                </a:cubicBezTo>
                <a:cubicBezTo>
                  <a:pt x="1522710" y="737103"/>
                  <a:pt x="1529583" y="737106"/>
                  <a:pt x="1537632" y="737120"/>
                </a:cubicBezTo>
                <a:cubicBezTo>
                  <a:pt x="1538960" y="737122"/>
                  <a:pt x="1540289" y="737124"/>
                  <a:pt x="1541657" y="737127"/>
                </a:cubicBezTo>
                <a:cubicBezTo>
                  <a:pt x="1555502" y="737372"/>
                  <a:pt x="1564314" y="740697"/>
                  <a:pt x="1574732" y="748922"/>
                </a:cubicBezTo>
                <a:cubicBezTo>
                  <a:pt x="1586507" y="762822"/>
                  <a:pt x="1590347" y="775219"/>
                  <a:pt x="1588791" y="792608"/>
                </a:cubicBezTo>
                <a:cubicBezTo>
                  <a:pt x="1587728" y="797050"/>
                  <a:pt x="1586468" y="801261"/>
                  <a:pt x="1584105" y="805291"/>
                </a:cubicBezTo>
                <a:cubicBezTo>
                  <a:pt x="1583074" y="805756"/>
                  <a:pt x="1582043" y="806221"/>
                  <a:pt x="1580981" y="806700"/>
                </a:cubicBezTo>
                <a:cubicBezTo>
                  <a:pt x="1580240" y="807892"/>
                  <a:pt x="1579499" y="809083"/>
                  <a:pt x="1578735" y="810311"/>
                </a:cubicBezTo>
                <a:cubicBezTo>
                  <a:pt x="1577930" y="811445"/>
                  <a:pt x="1577124" y="812579"/>
                  <a:pt x="1576295" y="813746"/>
                </a:cubicBezTo>
                <a:lnTo>
                  <a:pt x="1571652" y="813746"/>
                </a:lnTo>
                <a:lnTo>
                  <a:pt x="1571785" y="814106"/>
                </a:lnTo>
                <a:cubicBezTo>
                  <a:pt x="1572816" y="814571"/>
                  <a:pt x="1573846" y="815036"/>
                  <a:pt x="1574909" y="815515"/>
                </a:cubicBezTo>
                <a:cubicBezTo>
                  <a:pt x="1572126" y="818758"/>
                  <a:pt x="1569968" y="820871"/>
                  <a:pt x="1565463" y="821839"/>
                </a:cubicBezTo>
                <a:lnTo>
                  <a:pt x="1562085" y="822101"/>
                </a:lnTo>
                <a:lnTo>
                  <a:pt x="1551301" y="825020"/>
                </a:lnTo>
                <a:cubicBezTo>
                  <a:pt x="1551301" y="825950"/>
                  <a:pt x="1551301" y="826880"/>
                  <a:pt x="1551301" y="827838"/>
                </a:cubicBezTo>
                <a:cubicBezTo>
                  <a:pt x="1526697" y="828735"/>
                  <a:pt x="1507496" y="825036"/>
                  <a:pt x="1485380" y="815007"/>
                </a:cubicBezTo>
                <a:cubicBezTo>
                  <a:pt x="1468723" y="807743"/>
                  <a:pt x="1449749" y="809144"/>
                  <a:pt x="1431603" y="808726"/>
                </a:cubicBezTo>
                <a:cubicBezTo>
                  <a:pt x="1429115" y="808665"/>
                  <a:pt x="1426627" y="808604"/>
                  <a:pt x="1424140" y="808542"/>
                </a:cubicBezTo>
                <a:cubicBezTo>
                  <a:pt x="1418101" y="808392"/>
                  <a:pt x="1412062" y="808249"/>
                  <a:pt x="1406023" y="808109"/>
                </a:cubicBezTo>
                <a:cubicBezTo>
                  <a:pt x="1406023" y="809040"/>
                  <a:pt x="1406023" y="809970"/>
                  <a:pt x="1406023" y="810928"/>
                </a:cubicBezTo>
                <a:cubicBezTo>
                  <a:pt x="1404716" y="811118"/>
                  <a:pt x="1404716" y="811118"/>
                  <a:pt x="1403383" y="811311"/>
                </a:cubicBezTo>
                <a:cubicBezTo>
                  <a:pt x="1372054" y="815110"/>
                  <a:pt x="1372054" y="815110"/>
                  <a:pt x="1345442" y="828907"/>
                </a:cubicBezTo>
                <a:cubicBezTo>
                  <a:pt x="1338843" y="837605"/>
                  <a:pt x="1338313" y="846434"/>
                  <a:pt x="1337875" y="856639"/>
                </a:cubicBezTo>
                <a:cubicBezTo>
                  <a:pt x="1337815" y="857805"/>
                  <a:pt x="1337754" y="858970"/>
                  <a:pt x="1337692" y="860171"/>
                </a:cubicBezTo>
                <a:cubicBezTo>
                  <a:pt x="1337547" y="863016"/>
                  <a:pt x="1337417" y="865861"/>
                  <a:pt x="1337290" y="868706"/>
                </a:cubicBezTo>
                <a:cubicBezTo>
                  <a:pt x="1336258" y="868706"/>
                  <a:pt x="1335228" y="868706"/>
                  <a:pt x="1334165" y="868706"/>
                </a:cubicBezTo>
                <a:lnTo>
                  <a:pt x="1334165" y="870034"/>
                </a:lnTo>
                <a:lnTo>
                  <a:pt x="1334237" y="869093"/>
                </a:lnTo>
                <a:cubicBezTo>
                  <a:pt x="1334753" y="869093"/>
                  <a:pt x="1335268" y="869093"/>
                  <a:pt x="1335800" y="869093"/>
                </a:cubicBezTo>
                <a:cubicBezTo>
                  <a:pt x="1335884" y="871559"/>
                  <a:pt x="1335944" y="874025"/>
                  <a:pt x="1335995" y="876491"/>
                </a:cubicBezTo>
                <a:cubicBezTo>
                  <a:pt x="1336030" y="877865"/>
                  <a:pt x="1336067" y="879238"/>
                  <a:pt x="1336105" y="880653"/>
                </a:cubicBezTo>
                <a:cubicBezTo>
                  <a:pt x="1335800" y="884594"/>
                  <a:pt x="1335800" y="884594"/>
                  <a:pt x="1334294" y="887271"/>
                </a:cubicBezTo>
                <a:cubicBezTo>
                  <a:pt x="1332567" y="890428"/>
                  <a:pt x="1331982" y="892964"/>
                  <a:pt x="1331455" y="896440"/>
                </a:cubicBezTo>
                <a:cubicBezTo>
                  <a:pt x="1331267" y="897605"/>
                  <a:pt x="1331080" y="898769"/>
                  <a:pt x="1330887" y="899969"/>
                </a:cubicBezTo>
                <a:cubicBezTo>
                  <a:pt x="1330704" y="901174"/>
                  <a:pt x="1330521" y="902378"/>
                  <a:pt x="1330332" y="903618"/>
                </a:cubicBezTo>
                <a:cubicBezTo>
                  <a:pt x="1329968" y="906013"/>
                  <a:pt x="1329594" y="908405"/>
                  <a:pt x="1329209" y="910797"/>
                </a:cubicBezTo>
                <a:cubicBezTo>
                  <a:pt x="1329049" y="911853"/>
                  <a:pt x="1328889" y="912910"/>
                  <a:pt x="1328724" y="913998"/>
                </a:cubicBezTo>
                <a:cubicBezTo>
                  <a:pt x="1327933" y="917233"/>
                  <a:pt x="1326525" y="919703"/>
                  <a:pt x="1324865" y="922643"/>
                </a:cubicBezTo>
                <a:cubicBezTo>
                  <a:pt x="1323924" y="927743"/>
                  <a:pt x="1323282" y="932845"/>
                  <a:pt x="1322619" y="937979"/>
                </a:cubicBezTo>
                <a:lnTo>
                  <a:pt x="1318744" y="944961"/>
                </a:lnTo>
                <a:lnTo>
                  <a:pt x="1318544" y="946213"/>
                </a:lnTo>
                <a:cubicBezTo>
                  <a:pt x="1318360" y="949234"/>
                  <a:pt x="1318271" y="952260"/>
                  <a:pt x="1318251" y="955285"/>
                </a:cubicBezTo>
                <a:cubicBezTo>
                  <a:pt x="1318218" y="957637"/>
                  <a:pt x="1318218" y="957637"/>
                  <a:pt x="1318184" y="960036"/>
                </a:cubicBezTo>
                <a:cubicBezTo>
                  <a:pt x="1318624" y="965530"/>
                  <a:pt x="1319569" y="969724"/>
                  <a:pt x="1324024" y="973660"/>
                </a:cubicBezTo>
                <a:cubicBezTo>
                  <a:pt x="1327197" y="976583"/>
                  <a:pt x="1327950" y="979494"/>
                  <a:pt x="1329284" y="983382"/>
                </a:cubicBezTo>
                <a:cubicBezTo>
                  <a:pt x="1331875" y="990106"/>
                  <a:pt x="1334445" y="993582"/>
                  <a:pt x="1340414" y="998354"/>
                </a:cubicBezTo>
                <a:cubicBezTo>
                  <a:pt x="1342397" y="1000564"/>
                  <a:pt x="1344347" y="1002798"/>
                  <a:pt x="1346272" y="1005048"/>
                </a:cubicBezTo>
                <a:cubicBezTo>
                  <a:pt x="1360055" y="1020713"/>
                  <a:pt x="1376247" y="1031879"/>
                  <a:pt x="1394716" y="1042740"/>
                </a:cubicBezTo>
                <a:cubicBezTo>
                  <a:pt x="1397172" y="1044228"/>
                  <a:pt x="1399581" y="1045779"/>
                  <a:pt x="1401953" y="1047374"/>
                </a:cubicBezTo>
                <a:cubicBezTo>
                  <a:pt x="1410065" y="1052802"/>
                  <a:pt x="1417529" y="1056366"/>
                  <a:pt x="1427197" y="1059061"/>
                </a:cubicBezTo>
                <a:cubicBezTo>
                  <a:pt x="1431243" y="1060437"/>
                  <a:pt x="1434061" y="1061979"/>
                  <a:pt x="1437265" y="1064588"/>
                </a:cubicBezTo>
                <a:cubicBezTo>
                  <a:pt x="1437265" y="1065518"/>
                  <a:pt x="1437265" y="1066448"/>
                  <a:pt x="1437265" y="1067406"/>
                </a:cubicBezTo>
                <a:cubicBezTo>
                  <a:pt x="1439053" y="1067624"/>
                  <a:pt x="1439053" y="1067624"/>
                  <a:pt x="1440878" y="1067847"/>
                </a:cubicBezTo>
                <a:cubicBezTo>
                  <a:pt x="1445076" y="1068815"/>
                  <a:pt x="1445076" y="1068815"/>
                  <a:pt x="1447175" y="1070753"/>
                </a:cubicBezTo>
                <a:cubicBezTo>
                  <a:pt x="1450417" y="1073622"/>
                  <a:pt x="1453781" y="1075060"/>
                  <a:pt x="1457866" y="1076830"/>
                </a:cubicBezTo>
                <a:cubicBezTo>
                  <a:pt x="1459274" y="1077446"/>
                  <a:pt x="1460681" y="1078062"/>
                  <a:pt x="1462132" y="1078696"/>
                </a:cubicBezTo>
                <a:cubicBezTo>
                  <a:pt x="1463204" y="1079156"/>
                  <a:pt x="1464278" y="1079616"/>
                  <a:pt x="1465383" y="1080089"/>
                </a:cubicBezTo>
                <a:cubicBezTo>
                  <a:pt x="1465383" y="1081019"/>
                  <a:pt x="1465383" y="1081949"/>
                  <a:pt x="1465383" y="1082908"/>
                </a:cubicBezTo>
                <a:cubicBezTo>
                  <a:pt x="1466497" y="1083260"/>
                  <a:pt x="1467611" y="1083612"/>
                  <a:pt x="1468758" y="1083975"/>
                </a:cubicBezTo>
                <a:cubicBezTo>
                  <a:pt x="1473648" y="1085905"/>
                  <a:pt x="1477426" y="1088296"/>
                  <a:pt x="1481688" y="1091187"/>
                </a:cubicBezTo>
                <a:cubicBezTo>
                  <a:pt x="1483204" y="1092193"/>
                  <a:pt x="1484721" y="1093200"/>
                  <a:pt x="1486283" y="1094236"/>
                </a:cubicBezTo>
                <a:cubicBezTo>
                  <a:pt x="1489170" y="1096185"/>
                  <a:pt x="1492029" y="1098166"/>
                  <a:pt x="1494869" y="1100171"/>
                </a:cubicBezTo>
                <a:cubicBezTo>
                  <a:pt x="1510181" y="1107906"/>
                  <a:pt x="1527080" y="1109898"/>
                  <a:pt x="1544335" y="1109518"/>
                </a:cubicBezTo>
                <a:cubicBezTo>
                  <a:pt x="1579932" y="1108798"/>
                  <a:pt x="1579932" y="1108798"/>
                  <a:pt x="1593477" y="1119900"/>
                </a:cubicBezTo>
                <a:cubicBezTo>
                  <a:pt x="1600636" y="1127255"/>
                  <a:pt x="1604889" y="1135120"/>
                  <a:pt x="1605975" y="1144913"/>
                </a:cubicBezTo>
                <a:cubicBezTo>
                  <a:pt x="1607006" y="1144913"/>
                  <a:pt x="1608036" y="1144913"/>
                  <a:pt x="1609099" y="1144913"/>
                </a:cubicBezTo>
                <a:cubicBezTo>
                  <a:pt x="1609227" y="1148907"/>
                  <a:pt x="1609319" y="1152897"/>
                  <a:pt x="1609392" y="1156892"/>
                </a:cubicBezTo>
                <a:cubicBezTo>
                  <a:pt x="1609451" y="1158565"/>
                  <a:pt x="1609451" y="1158565"/>
                  <a:pt x="1609511" y="1160272"/>
                </a:cubicBezTo>
                <a:cubicBezTo>
                  <a:pt x="1609621" y="1168378"/>
                  <a:pt x="1607970" y="1174108"/>
                  <a:pt x="1604412" y="1181553"/>
                </a:cubicBezTo>
                <a:cubicBezTo>
                  <a:pt x="1603354" y="1184367"/>
                  <a:pt x="1602306" y="1187183"/>
                  <a:pt x="1601288" y="1190009"/>
                </a:cubicBezTo>
                <a:cubicBezTo>
                  <a:pt x="1600257" y="1190009"/>
                  <a:pt x="1599226" y="1190009"/>
                  <a:pt x="1598164" y="1190009"/>
                </a:cubicBezTo>
                <a:cubicBezTo>
                  <a:pt x="1597842" y="1190910"/>
                  <a:pt x="1597520" y="1191810"/>
                  <a:pt x="1597187" y="1192739"/>
                </a:cubicBezTo>
                <a:cubicBezTo>
                  <a:pt x="1596479" y="1193698"/>
                  <a:pt x="1595770" y="1194657"/>
                  <a:pt x="1595040" y="1195645"/>
                </a:cubicBezTo>
                <a:cubicBezTo>
                  <a:pt x="1591916" y="1196115"/>
                  <a:pt x="1588791" y="1196585"/>
                  <a:pt x="1585667" y="1197055"/>
                </a:cubicBezTo>
                <a:cubicBezTo>
                  <a:pt x="1583871" y="1199826"/>
                  <a:pt x="1583871" y="1199826"/>
                  <a:pt x="1582543" y="1202691"/>
                </a:cubicBezTo>
                <a:cubicBezTo>
                  <a:pt x="1575997" y="1204710"/>
                  <a:pt x="1569266" y="1204360"/>
                  <a:pt x="1562431" y="1204365"/>
                </a:cubicBezTo>
                <a:cubicBezTo>
                  <a:pt x="1561196" y="1204382"/>
                  <a:pt x="1559962" y="1204399"/>
                  <a:pt x="1558690" y="1204417"/>
                </a:cubicBezTo>
                <a:cubicBezTo>
                  <a:pt x="1543339" y="1204452"/>
                  <a:pt x="1531981" y="1199267"/>
                  <a:pt x="1521102" y="1189585"/>
                </a:cubicBezTo>
                <a:cubicBezTo>
                  <a:pt x="1515403" y="1183953"/>
                  <a:pt x="1510116" y="1178123"/>
                  <a:pt x="1505022" y="1172041"/>
                </a:cubicBezTo>
                <a:cubicBezTo>
                  <a:pt x="1493200" y="1158177"/>
                  <a:pt x="1475492" y="1147115"/>
                  <a:pt x="1457573" y="1140686"/>
                </a:cubicBezTo>
                <a:cubicBezTo>
                  <a:pt x="1457573" y="1139755"/>
                  <a:pt x="1457573" y="1138826"/>
                  <a:pt x="1457573" y="1137867"/>
                </a:cubicBezTo>
                <a:cubicBezTo>
                  <a:pt x="1456059" y="1137693"/>
                  <a:pt x="1454544" y="1137518"/>
                  <a:pt x="1452985" y="1137339"/>
                </a:cubicBezTo>
                <a:cubicBezTo>
                  <a:pt x="1451406" y="1137048"/>
                  <a:pt x="1449827" y="1136758"/>
                  <a:pt x="1448200" y="1136458"/>
                </a:cubicBezTo>
                <a:cubicBezTo>
                  <a:pt x="1447685" y="1135528"/>
                  <a:pt x="1447169" y="1134598"/>
                  <a:pt x="1446638" y="1133640"/>
                </a:cubicBezTo>
                <a:cubicBezTo>
                  <a:pt x="1444091" y="1132586"/>
                  <a:pt x="1441535" y="1131550"/>
                  <a:pt x="1438937" y="1130601"/>
                </a:cubicBezTo>
                <a:cubicBezTo>
                  <a:pt x="1435668" y="1129399"/>
                  <a:pt x="1432469" y="1128095"/>
                  <a:pt x="1429260" y="1126770"/>
                </a:cubicBezTo>
                <a:cubicBezTo>
                  <a:pt x="1423389" y="1124389"/>
                  <a:pt x="1417431" y="1122349"/>
                  <a:pt x="1411393" y="1120340"/>
                </a:cubicBezTo>
                <a:cubicBezTo>
                  <a:pt x="1404143" y="1117867"/>
                  <a:pt x="1397842" y="1115090"/>
                  <a:pt x="1391427" y="1111191"/>
                </a:cubicBezTo>
                <a:cubicBezTo>
                  <a:pt x="1388139" y="1109274"/>
                  <a:pt x="1384723" y="1108010"/>
                  <a:pt x="1381029" y="1106865"/>
                </a:cubicBezTo>
                <a:cubicBezTo>
                  <a:pt x="1381029" y="1105934"/>
                  <a:pt x="1381029" y="1105004"/>
                  <a:pt x="1381029" y="1104046"/>
                </a:cubicBezTo>
                <a:cubicBezTo>
                  <a:pt x="1379773" y="1103901"/>
                  <a:pt x="1378516" y="1103755"/>
                  <a:pt x="1377221" y="1103605"/>
                </a:cubicBezTo>
                <a:cubicBezTo>
                  <a:pt x="1370425" y="1102422"/>
                  <a:pt x="1364120" y="1100465"/>
                  <a:pt x="1357597" y="1098409"/>
                </a:cubicBezTo>
                <a:cubicBezTo>
                  <a:pt x="1355761" y="1097857"/>
                  <a:pt x="1353924" y="1097304"/>
                  <a:pt x="1352032" y="1096736"/>
                </a:cubicBezTo>
                <a:cubicBezTo>
                  <a:pt x="1350776" y="1096358"/>
                  <a:pt x="1349519" y="1095980"/>
                  <a:pt x="1348225" y="1095590"/>
                </a:cubicBezTo>
                <a:cubicBezTo>
                  <a:pt x="1348225" y="1094661"/>
                  <a:pt x="1348225" y="1093730"/>
                  <a:pt x="1348225" y="1092772"/>
                </a:cubicBezTo>
                <a:cubicBezTo>
                  <a:pt x="1344616" y="1092307"/>
                  <a:pt x="1341007" y="1091842"/>
                  <a:pt x="1337290" y="1091363"/>
                </a:cubicBezTo>
                <a:cubicBezTo>
                  <a:pt x="1337290" y="1090433"/>
                  <a:pt x="1337290" y="1089503"/>
                  <a:pt x="1337290" y="1088544"/>
                </a:cubicBezTo>
                <a:cubicBezTo>
                  <a:pt x="1334438" y="1088327"/>
                  <a:pt x="1334438" y="1088327"/>
                  <a:pt x="1331529" y="1088104"/>
                </a:cubicBezTo>
                <a:lnTo>
                  <a:pt x="1323297" y="1086611"/>
                </a:lnTo>
                <a:lnTo>
                  <a:pt x="1323297" y="1087618"/>
                </a:lnTo>
                <a:cubicBezTo>
                  <a:pt x="1322139" y="1087517"/>
                  <a:pt x="1320982" y="1087415"/>
                  <a:pt x="1319789" y="1087310"/>
                </a:cubicBezTo>
                <a:cubicBezTo>
                  <a:pt x="1300429" y="1085771"/>
                  <a:pt x="1281330" y="1084680"/>
                  <a:pt x="1262375" y="1089028"/>
                </a:cubicBezTo>
                <a:lnTo>
                  <a:pt x="1258728" y="1088205"/>
                </a:lnTo>
                <a:lnTo>
                  <a:pt x="1246964" y="1091489"/>
                </a:lnTo>
                <a:cubicBezTo>
                  <a:pt x="1237239" y="1097222"/>
                  <a:pt x="1228703" y="1103434"/>
                  <a:pt x="1223224" y="1112865"/>
                </a:cubicBezTo>
                <a:cubicBezTo>
                  <a:pt x="1220867" y="1116643"/>
                  <a:pt x="1217262" y="1119317"/>
                  <a:pt x="1213883" y="1122366"/>
                </a:cubicBezTo>
                <a:cubicBezTo>
                  <a:pt x="1213428" y="1123469"/>
                  <a:pt x="1212973" y="1124572"/>
                  <a:pt x="1212505" y="1125708"/>
                </a:cubicBezTo>
                <a:cubicBezTo>
                  <a:pt x="1210449" y="1130067"/>
                  <a:pt x="1207984" y="1132315"/>
                  <a:pt x="1204180" y="1135561"/>
                </a:cubicBezTo>
                <a:cubicBezTo>
                  <a:pt x="1202879" y="1136695"/>
                  <a:pt x="1201578" y="1137829"/>
                  <a:pt x="1200238" y="1138999"/>
                </a:cubicBezTo>
                <a:cubicBezTo>
                  <a:pt x="1197504" y="1141343"/>
                  <a:pt x="1194765" y="1143684"/>
                  <a:pt x="1192025" y="1146022"/>
                </a:cubicBezTo>
                <a:cubicBezTo>
                  <a:pt x="1181899" y="1154869"/>
                  <a:pt x="1174983" y="1161763"/>
                  <a:pt x="1173945" y="1174749"/>
                </a:cubicBezTo>
                <a:cubicBezTo>
                  <a:pt x="1173902" y="1177369"/>
                  <a:pt x="1173905" y="1179990"/>
                  <a:pt x="1173950" y="1182610"/>
                </a:cubicBezTo>
                <a:cubicBezTo>
                  <a:pt x="1173963" y="1183981"/>
                  <a:pt x="1173975" y="1185352"/>
                  <a:pt x="1173989" y="1186765"/>
                </a:cubicBezTo>
                <a:cubicBezTo>
                  <a:pt x="1174321" y="1197573"/>
                  <a:pt x="1176809" y="1205883"/>
                  <a:pt x="1182640" y="1215374"/>
                </a:cubicBezTo>
                <a:cubicBezTo>
                  <a:pt x="1183703" y="1217509"/>
                  <a:pt x="1184746" y="1219652"/>
                  <a:pt x="1185764" y="1221804"/>
                </a:cubicBezTo>
                <a:cubicBezTo>
                  <a:pt x="1186271" y="1222812"/>
                  <a:pt x="1186779" y="1223821"/>
                  <a:pt x="1187301" y="1224859"/>
                </a:cubicBezTo>
                <a:cubicBezTo>
                  <a:pt x="1188431" y="1227137"/>
                  <a:pt x="1189517" y="1229433"/>
                  <a:pt x="1190573" y="1231740"/>
                </a:cubicBezTo>
                <a:cubicBezTo>
                  <a:pt x="1194650" y="1240409"/>
                  <a:pt x="1199581" y="1247688"/>
                  <a:pt x="1205925" y="1255163"/>
                </a:cubicBezTo>
                <a:cubicBezTo>
                  <a:pt x="1208103" y="1257757"/>
                  <a:pt x="1210188" y="1260417"/>
                  <a:pt x="1212174" y="1263134"/>
                </a:cubicBezTo>
                <a:cubicBezTo>
                  <a:pt x="1218757" y="1272043"/>
                  <a:pt x="1225157" y="1277324"/>
                  <a:pt x="1235556" y="1282538"/>
                </a:cubicBezTo>
                <a:cubicBezTo>
                  <a:pt x="1236652" y="1283161"/>
                  <a:pt x="1237747" y="1283784"/>
                  <a:pt x="1238876" y="1284426"/>
                </a:cubicBezTo>
                <a:cubicBezTo>
                  <a:pt x="1238876" y="1285356"/>
                  <a:pt x="1238876" y="1286287"/>
                  <a:pt x="1238876" y="1287245"/>
                </a:cubicBezTo>
                <a:cubicBezTo>
                  <a:pt x="1239988" y="1287383"/>
                  <a:pt x="1241099" y="1287521"/>
                  <a:pt x="1242245" y="1287663"/>
                </a:cubicBezTo>
                <a:cubicBezTo>
                  <a:pt x="1253043" y="1290072"/>
                  <a:pt x="1264916" y="1297690"/>
                  <a:pt x="1271681" y="1305565"/>
                </a:cubicBezTo>
                <a:lnTo>
                  <a:pt x="1271742" y="1306172"/>
                </a:lnTo>
                <a:lnTo>
                  <a:pt x="1278525" y="1315767"/>
                </a:lnTo>
                <a:cubicBezTo>
                  <a:pt x="1279797" y="1319398"/>
                  <a:pt x="1280365" y="1323346"/>
                  <a:pt x="1281097" y="1327286"/>
                </a:cubicBezTo>
                <a:cubicBezTo>
                  <a:pt x="1281916" y="1337121"/>
                  <a:pt x="1281807" y="1346176"/>
                  <a:pt x="1277973" y="1355470"/>
                </a:cubicBezTo>
                <a:lnTo>
                  <a:pt x="1277460" y="1347025"/>
                </a:lnTo>
                <a:lnTo>
                  <a:pt x="1273531" y="1357991"/>
                </a:lnTo>
                <a:cubicBezTo>
                  <a:pt x="1270940" y="1361892"/>
                  <a:pt x="1267521" y="1365435"/>
                  <a:pt x="1263870" y="1368980"/>
                </a:cubicBezTo>
                <a:cubicBezTo>
                  <a:pt x="1258351" y="1372929"/>
                  <a:pt x="1253850" y="1376026"/>
                  <a:pt x="1246686" y="1376026"/>
                </a:cubicBezTo>
                <a:cubicBezTo>
                  <a:pt x="1246686" y="1376956"/>
                  <a:pt x="1246686" y="1377886"/>
                  <a:pt x="1246686" y="1378844"/>
                </a:cubicBezTo>
                <a:cubicBezTo>
                  <a:pt x="1241676" y="1379009"/>
                  <a:pt x="1236665" y="1379109"/>
                  <a:pt x="1231651" y="1379196"/>
                </a:cubicBezTo>
                <a:cubicBezTo>
                  <a:pt x="1230240" y="1379244"/>
                  <a:pt x="1228828" y="1379291"/>
                  <a:pt x="1227373" y="1379340"/>
                </a:cubicBezTo>
                <a:cubicBezTo>
                  <a:pt x="1218287" y="1379460"/>
                  <a:pt x="1213363" y="1378568"/>
                  <a:pt x="1206071" y="1373207"/>
                </a:cubicBezTo>
                <a:cubicBezTo>
                  <a:pt x="1204751" y="1372742"/>
                  <a:pt x="1203430" y="1372277"/>
                  <a:pt x="1202069" y="1371798"/>
                </a:cubicBezTo>
                <a:cubicBezTo>
                  <a:pt x="1193777" y="1368730"/>
                  <a:pt x="1188124" y="1363294"/>
                  <a:pt x="1184104" y="1356176"/>
                </a:cubicBezTo>
                <a:cubicBezTo>
                  <a:pt x="1180965" y="1349259"/>
                  <a:pt x="1178852" y="1342590"/>
                  <a:pt x="1177270" y="1335247"/>
                </a:cubicBezTo>
                <a:cubicBezTo>
                  <a:pt x="1175525" y="1327352"/>
                  <a:pt x="1172911" y="1320677"/>
                  <a:pt x="1169002" y="1313464"/>
                </a:cubicBezTo>
                <a:cubicBezTo>
                  <a:pt x="1166989" y="1309737"/>
                  <a:pt x="1165215" y="1305976"/>
                  <a:pt x="1163504" y="1302130"/>
                </a:cubicBezTo>
                <a:cubicBezTo>
                  <a:pt x="1163013" y="1301027"/>
                  <a:pt x="1162521" y="1299924"/>
                  <a:pt x="1162015" y="1298788"/>
                </a:cubicBezTo>
                <a:cubicBezTo>
                  <a:pt x="1160770" y="1295700"/>
                  <a:pt x="1160770" y="1295700"/>
                  <a:pt x="1160111" y="1292656"/>
                </a:cubicBezTo>
                <a:cubicBezTo>
                  <a:pt x="1159345" y="1289507"/>
                  <a:pt x="1159345" y="1289507"/>
                  <a:pt x="1154522" y="1287245"/>
                </a:cubicBezTo>
                <a:cubicBezTo>
                  <a:pt x="1153465" y="1284902"/>
                  <a:pt x="1152426" y="1282552"/>
                  <a:pt x="1151398" y="1280199"/>
                </a:cubicBezTo>
                <a:cubicBezTo>
                  <a:pt x="1149056" y="1276983"/>
                  <a:pt x="1146686" y="1273874"/>
                  <a:pt x="1144173" y="1270774"/>
                </a:cubicBezTo>
                <a:cubicBezTo>
                  <a:pt x="1143477" y="1269912"/>
                  <a:pt x="1142782" y="1269049"/>
                  <a:pt x="1142065" y="1268160"/>
                </a:cubicBezTo>
                <a:cubicBezTo>
                  <a:pt x="1139981" y="1265589"/>
                  <a:pt x="1137880" y="1263029"/>
                  <a:pt x="1135776" y="1260470"/>
                </a:cubicBezTo>
                <a:cubicBezTo>
                  <a:pt x="1134647" y="1259076"/>
                  <a:pt x="1133517" y="1257683"/>
                  <a:pt x="1132353" y="1256247"/>
                </a:cubicBezTo>
                <a:cubicBezTo>
                  <a:pt x="1126291" y="1249045"/>
                  <a:pt x="1121408" y="1244606"/>
                  <a:pt x="1112344" y="1240741"/>
                </a:cubicBezTo>
                <a:cubicBezTo>
                  <a:pt x="1110285" y="1239698"/>
                  <a:pt x="1108234" y="1238642"/>
                  <a:pt x="1106193" y="1237570"/>
                </a:cubicBezTo>
                <a:cubicBezTo>
                  <a:pt x="1104615" y="1236756"/>
                  <a:pt x="1103036" y="1235942"/>
                  <a:pt x="1101409" y="1235104"/>
                </a:cubicBezTo>
                <a:cubicBezTo>
                  <a:pt x="1101409" y="1233708"/>
                  <a:pt x="1101409" y="1232313"/>
                  <a:pt x="1101409" y="1230876"/>
                </a:cubicBezTo>
                <a:cubicBezTo>
                  <a:pt x="1089553" y="1230876"/>
                  <a:pt x="1077697" y="1230876"/>
                  <a:pt x="1065480" y="1230876"/>
                </a:cubicBezTo>
                <a:cubicBezTo>
                  <a:pt x="1064965" y="1232271"/>
                  <a:pt x="1064450" y="1233666"/>
                  <a:pt x="1063919" y="1235104"/>
                </a:cubicBezTo>
                <a:cubicBezTo>
                  <a:pt x="1062372" y="1235104"/>
                  <a:pt x="1060826" y="1235104"/>
                  <a:pt x="1059232" y="1235104"/>
                </a:cubicBezTo>
                <a:cubicBezTo>
                  <a:pt x="1059232" y="1236033"/>
                  <a:pt x="1059232" y="1236964"/>
                  <a:pt x="1059232" y="1237922"/>
                </a:cubicBezTo>
                <a:cubicBezTo>
                  <a:pt x="1052964" y="1240850"/>
                  <a:pt x="1046842" y="1243613"/>
                  <a:pt x="1040194" y="1245761"/>
                </a:cubicBezTo>
                <a:cubicBezTo>
                  <a:pt x="1036552" y="1246941"/>
                  <a:pt x="1033682" y="1248088"/>
                  <a:pt x="1030333" y="1249901"/>
                </a:cubicBezTo>
                <a:cubicBezTo>
                  <a:pt x="1025129" y="1252717"/>
                  <a:pt x="1019615" y="1254371"/>
                  <a:pt x="1013931" y="1256242"/>
                </a:cubicBezTo>
                <a:cubicBezTo>
                  <a:pt x="1009870" y="1257688"/>
                  <a:pt x="1008221" y="1258277"/>
                  <a:pt x="1005925" y="1261615"/>
                </a:cubicBezTo>
                <a:cubicBezTo>
                  <a:pt x="1005474" y="1262632"/>
                  <a:pt x="1005023" y="1263649"/>
                  <a:pt x="1004558" y="1264697"/>
                </a:cubicBezTo>
                <a:cubicBezTo>
                  <a:pt x="1004030" y="1265774"/>
                  <a:pt x="1003503" y="1266852"/>
                  <a:pt x="1002959" y="1267961"/>
                </a:cubicBezTo>
                <a:cubicBezTo>
                  <a:pt x="1001408" y="1271808"/>
                  <a:pt x="1000922" y="1274896"/>
                  <a:pt x="1000653" y="1278965"/>
                </a:cubicBezTo>
                <a:cubicBezTo>
                  <a:pt x="1000303" y="1284158"/>
                  <a:pt x="999467" y="1289055"/>
                  <a:pt x="998297" y="1294137"/>
                </a:cubicBezTo>
                <a:cubicBezTo>
                  <a:pt x="996204" y="1304306"/>
                  <a:pt x="996129" y="1314460"/>
                  <a:pt x="996162" y="1324765"/>
                </a:cubicBezTo>
                <a:cubicBezTo>
                  <a:pt x="996163" y="1325782"/>
                  <a:pt x="996163" y="1326799"/>
                  <a:pt x="996164" y="1327846"/>
                </a:cubicBezTo>
                <a:cubicBezTo>
                  <a:pt x="996263" y="1353742"/>
                  <a:pt x="1001081" y="1378188"/>
                  <a:pt x="1007780" y="1403329"/>
                </a:cubicBezTo>
                <a:cubicBezTo>
                  <a:pt x="1008163" y="1404772"/>
                  <a:pt x="1008546" y="1406215"/>
                  <a:pt x="1008940" y="1407701"/>
                </a:cubicBezTo>
                <a:cubicBezTo>
                  <a:pt x="1009316" y="1409030"/>
                  <a:pt x="1009693" y="1410360"/>
                  <a:pt x="1010080" y="1411730"/>
                </a:cubicBezTo>
                <a:cubicBezTo>
                  <a:pt x="1010409" y="1412900"/>
                  <a:pt x="1010737" y="1414071"/>
                  <a:pt x="1011075" y="1415277"/>
                </a:cubicBezTo>
                <a:cubicBezTo>
                  <a:pt x="1012501" y="1418612"/>
                  <a:pt x="1014136" y="1420168"/>
                  <a:pt x="1017055" y="1422530"/>
                </a:cubicBezTo>
                <a:cubicBezTo>
                  <a:pt x="1018770" y="1425162"/>
                  <a:pt x="1018770" y="1425162"/>
                  <a:pt x="1020277" y="1427991"/>
                </a:cubicBezTo>
                <a:cubicBezTo>
                  <a:pt x="1020778" y="1428917"/>
                  <a:pt x="1021280" y="1429844"/>
                  <a:pt x="1021796" y="1430798"/>
                </a:cubicBezTo>
                <a:cubicBezTo>
                  <a:pt x="1023303" y="1433804"/>
                  <a:pt x="1023303" y="1433804"/>
                  <a:pt x="1024579" y="1437239"/>
                </a:cubicBezTo>
                <a:cubicBezTo>
                  <a:pt x="1026915" y="1441803"/>
                  <a:pt x="1030098" y="1444534"/>
                  <a:pt x="1034043" y="1448072"/>
                </a:cubicBezTo>
                <a:lnTo>
                  <a:pt x="1043782" y="1464320"/>
                </a:lnTo>
                <a:lnTo>
                  <a:pt x="1050458" y="1472189"/>
                </a:lnTo>
                <a:cubicBezTo>
                  <a:pt x="1051737" y="1475181"/>
                  <a:pt x="1052277" y="1478513"/>
                  <a:pt x="1052926" y="1482370"/>
                </a:cubicBezTo>
                <a:cubicBezTo>
                  <a:pt x="1053325" y="1487224"/>
                  <a:pt x="1053364" y="1492038"/>
                  <a:pt x="1053316" y="1496903"/>
                </a:cubicBezTo>
                <a:cubicBezTo>
                  <a:pt x="1053328" y="1498142"/>
                  <a:pt x="1053340" y="1499382"/>
                  <a:pt x="1053352" y="1500660"/>
                </a:cubicBezTo>
                <a:cubicBezTo>
                  <a:pt x="1053348" y="1501856"/>
                  <a:pt x="1053344" y="1503052"/>
                  <a:pt x="1053341" y="1504285"/>
                </a:cubicBezTo>
                <a:cubicBezTo>
                  <a:pt x="1053336" y="1505355"/>
                  <a:pt x="1053333" y="1506426"/>
                  <a:pt x="1053329" y="1507529"/>
                </a:cubicBezTo>
                <a:cubicBezTo>
                  <a:pt x="1052876" y="1510927"/>
                  <a:pt x="1051672" y="1513237"/>
                  <a:pt x="1049801" y="1516192"/>
                </a:cubicBezTo>
                <a:lnTo>
                  <a:pt x="1047312" y="1516192"/>
                </a:lnTo>
                <a:lnTo>
                  <a:pt x="1043611" y="1522585"/>
                </a:lnTo>
                <a:cubicBezTo>
                  <a:pt x="1035301" y="1529631"/>
                  <a:pt x="1035301" y="1529631"/>
                  <a:pt x="1029552" y="1529631"/>
                </a:cubicBezTo>
                <a:cubicBezTo>
                  <a:pt x="1029294" y="1530503"/>
                  <a:pt x="1029036" y="1531375"/>
                  <a:pt x="1028771" y="1532273"/>
                </a:cubicBezTo>
                <a:cubicBezTo>
                  <a:pt x="1025795" y="1536076"/>
                  <a:pt x="1022970" y="1536733"/>
                  <a:pt x="1018013" y="1537640"/>
                </a:cubicBezTo>
                <a:cubicBezTo>
                  <a:pt x="1005216" y="1539038"/>
                  <a:pt x="992573" y="1539816"/>
                  <a:pt x="981126" y="1533859"/>
                </a:cubicBezTo>
                <a:cubicBezTo>
                  <a:pt x="979840" y="1533226"/>
                  <a:pt x="978553" y="1532594"/>
                  <a:pt x="977227" y="1531943"/>
                </a:cubicBezTo>
                <a:cubicBezTo>
                  <a:pt x="965286" y="1525877"/>
                  <a:pt x="959626" y="1520520"/>
                  <a:pt x="955376" y="1508751"/>
                </a:cubicBezTo>
                <a:cubicBezTo>
                  <a:pt x="954571" y="1505674"/>
                  <a:pt x="954571" y="1505674"/>
                  <a:pt x="954571" y="1500037"/>
                </a:cubicBezTo>
                <a:cubicBezTo>
                  <a:pt x="953539" y="1500037"/>
                  <a:pt x="952508" y="1500037"/>
                  <a:pt x="951446" y="1500037"/>
                </a:cubicBezTo>
                <a:cubicBezTo>
                  <a:pt x="951361" y="1495986"/>
                  <a:pt x="951299" y="1491935"/>
                  <a:pt x="951251" y="1487883"/>
                </a:cubicBezTo>
                <a:cubicBezTo>
                  <a:pt x="951224" y="1486744"/>
                  <a:pt x="951198" y="1485605"/>
                  <a:pt x="951171" y="1484431"/>
                </a:cubicBezTo>
                <a:cubicBezTo>
                  <a:pt x="951110" y="1477657"/>
                  <a:pt x="952093" y="1472660"/>
                  <a:pt x="954571" y="1466216"/>
                </a:cubicBezTo>
                <a:cubicBezTo>
                  <a:pt x="954867" y="1462451"/>
                  <a:pt x="955016" y="1458876"/>
                  <a:pt x="954961" y="1455118"/>
                </a:cubicBezTo>
                <a:cubicBezTo>
                  <a:pt x="954951" y="1454080"/>
                  <a:pt x="954942" y="1453042"/>
                  <a:pt x="954932" y="1451972"/>
                </a:cubicBezTo>
                <a:cubicBezTo>
                  <a:pt x="954606" y="1435235"/>
                  <a:pt x="952568" y="1419050"/>
                  <a:pt x="945099" y="1403594"/>
                </a:cubicBezTo>
                <a:cubicBezTo>
                  <a:pt x="943714" y="1400177"/>
                  <a:pt x="943046" y="1397128"/>
                  <a:pt x="942366" y="1393553"/>
                </a:cubicBezTo>
                <a:cubicBezTo>
                  <a:pt x="940837" y="1386134"/>
                  <a:pt x="937840" y="1379609"/>
                  <a:pt x="934451" y="1372734"/>
                </a:cubicBezTo>
                <a:cubicBezTo>
                  <a:pt x="932701" y="1368980"/>
                  <a:pt x="932701" y="1368980"/>
                  <a:pt x="931974" y="1365754"/>
                </a:cubicBezTo>
                <a:cubicBezTo>
                  <a:pt x="931699" y="1364958"/>
                  <a:pt x="931422" y="1364162"/>
                  <a:pt x="931138" y="1363343"/>
                </a:cubicBezTo>
                <a:cubicBezTo>
                  <a:pt x="929592" y="1362878"/>
                  <a:pt x="928045" y="1362413"/>
                  <a:pt x="926452" y="1361933"/>
                </a:cubicBezTo>
                <a:cubicBezTo>
                  <a:pt x="921830" y="1355261"/>
                  <a:pt x="920323" y="1348382"/>
                  <a:pt x="918641" y="1340795"/>
                </a:cubicBezTo>
                <a:cubicBezTo>
                  <a:pt x="918133" y="1338914"/>
                  <a:pt x="917616" y="1337034"/>
                  <a:pt x="917079" y="1335158"/>
                </a:cubicBezTo>
                <a:cubicBezTo>
                  <a:pt x="916048" y="1335158"/>
                  <a:pt x="915018" y="1335158"/>
                  <a:pt x="913955" y="1335158"/>
                </a:cubicBezTo>
                <a:cubicBezTo>
                  <a:pt x="913329" y="1333718"/>
                  <a:pt x="912703" y="1332277"/>
                  <a:pt x="912057" y="1330793"/>
                </a:cubicBezTo>
                <a:cubicBezTo>
                  <a:pt x="909497" y="1325424"/>
                  <a:pt x="906114" y="1320822"/>
                  <a:pt x="902142" y="1316222"/>
                </a:cubicBezTo>
                <a:cubicBezTo>
                  <a:pt x="901465" y="1315432"/>
                  <a:pt x="900788" y="1314642"/>
                  <a:pt x="900091" y="1313828"/>
                </a:cubicBezTo>
                <a:cubicBezTo>
                  <a:pt x="893705" y="1306618"/>
                  <a:pt x="886350" y="1301049"/>
                  <a:pt x="878026" y="1295700"/>
                </a:cubicBezTo>
                <a:cubicBezTo>
                  <a:pt x="876595" y="1294594"/>
                  <a:pt x="876595" y="1294594"/>
                  <a:pt x="875134" y="1293465"/>
                </a:cubicBezTo>
                <a:lnTo>
                  <a:pt x="869869" y="1291826"/>
                </a:lnTo>
                <a:lnTo>
                  <a:pt x="862384" y="1291327"/>
                </a:lnTo>
                <a:cubicBezTo>
                  <a:pt x="856441" y="1290067"/>
                  <a:pt x="850461" y="1290346"/>
                  <a:pt x="844390" y="1290461"/>
                </a:cubicBezTo>
                <a:cubicBezTo>
                  <a:pt x="842453" y="1290480"/>
                  <a:pt x="842453" y="1290480"/>
                  <a:pt x="840476" y="1290500"/>
                </a:cubicBezTo>
                <a:cubicBezTo>
                  <a:pt x="837322" y="1290532"/>
                  <a:pt x="834169" y="1290583"/>
                  <a:pt x="831015" y="1290637"/>
                </a:cubicBezTo>
                <a:cubicBezTo>
                  <a:pt x="831015" y="1291568"/>
                  <a:pt x="831015" y="1292498"/>
                  <a:pt x="831015" y="1293456"/>
                </a:cubicBezTo>
                <a:cubicBezTo>
                  <a:pt x="826519" y="1294808"/>
                  <a:pt x="822922" y="1295235"/>
                  <a:pt x="818225" y="1295570"/>
                </a:cubicBezTo>
                <a:lnTo>
                  <a:pt x="796774" y="1297671"/>
                </a:lnTo>
                <a:lnTo>
                  <a:pt x="783646" y="1305736"/>
                </a:lnTo>
                <a:cubicBezTo>
                  <a:pt x="776915" y="1312506"/>
                  <a:pt x="772692" y="1318638"/>
                  <a:pt x="769263" y="1327143"/>
                </a:cubicBezTo>
                <a:cubicBezTo>
                  <a:pt x="767116" y="1332340"/>
                  <a:pt x="767116" y="1332340"/>
                  <a:pt x="764797" y="1334360"/>
                </a:cubicBezTo>
                <a:lnTo>
                  <a:pt x="757875" y="1353503"/>
                </a:lnTo>
                <a:lnTo>
                  <a:pt x="755676" y="1367455"/>
                </a:lnTo>
                <a:lnTo>
                  <a:pt x="750558" y="1399690"/>
                </a:lnTo>
                <a:lnTo>
                  <a:pt x="753057" y="1411256"/>
                </a:lnTo>
                <a:cubicBezTo>
                  <a:pt x="753057" y="1413117"/>
                  <a:pt x="753057" y="1414976"/>
                  <a:pt x="753057" y="1416893"/>
                </a:cubicBezTo>
                <a:cubicBezTo>
                  <a:pt x="754087" y="1416893"/>
                  <a:pt x="755119" y="1416893"/>
                  <a:pt x="756181" y="1416893"/>
                </a:cubicBezTo>
                <a:cubicBezTo>
                  <a:pt x="759348" y="1422607"/>
                  <a:pt x="758101" y="1429902"/>
                  <a:pt x="758133" y="1436182"/>
                </a:cubicBezTo>
                <a:cubicBezTo>
                  <a:pt x="758182" y="1438458"/>
                  <a:pt x="758182" y="1438458"/>
                  <a:pt x="758231" y="1440781"/>
                </a:cubicBezTo>
                <a:cubicBezTo>
                  <a:pt x="758283" y="1450271"/>
                  <a:pt x="758174" y="1458360"/>
                  <a:pt x="750713" y="1465704"/>
                </a:cubicBezTo>
                <a:cubicBezTo>
                  <a:pt x="749940" y="1466193"/>
                  <a:pt x="749167" y="1466681"/>
                  <a:pt x="748370" y="1467185"/>
                </a:cubicBezTo>
                <a:cubicBezTo>
                  <a:pt x="743665" y="1470047"/>
                  <a:pt x="743665" y="1470047"/>
                  <a:pt x="741633" y="1473526"/>
                </a:cubicBezTo>
                <a:cubicBezTo>
                  <a:pt x="737793" y="1477248"/>
                  <a:pt x="733582" y="1477483"/>
                  <a:pt x="728154" y="1478343"/>
                </a:cubicBezTo>
                <a:cubicBezTo>
                  <a:pt x="724855" y="1478778"/>
                  <a:pt x="724855" y="1478778"/>
                  <a:pt x="721814" y="1480308"/>
                </a:cubicBezTo>
                <a:cubicBezTo>
                  <a:pt x="717303" y="1480523"/>
                  <a:pt x="712854" y="1480634"/>
                  <a:pt x="708341" y="1480661"/>
                </a:cubicBezTo>
                <a:cubicBezTo>
                  <a:pt x="707118" y="1480690"/>
                  <a:pt x="705896" y="1480719"/>
                  <a:pt x="704637" y="1480748"/>
                </a:cubicBezTo>
                <a:cubicBezTo>
                  <a:pt x="690446" y="1480834"/>
                  <a:pt x="679632" y="1476246"/>
                  <a:pt x="668507" y="1468418"/>
                </a:cubicBezTo>
                <a:cubicBezTo>
                  <a:pt x="662823" y="1463224"/>
                  <a:pt x="661745" y="1456995"/>
                  <a:pt x="660178" y="1450027"/>
                </a:cubicBezTo>
                <a:cubicBezTo>
                  <a:pt x="659725" y="1446589"/>
                  <a:pt x="659725" y="1446589"/>
                  <a:pt x="657767" y="1445078"/>
                </a:cubicBezTo>
                <a:cubicBezTo>
                  <a:pt x="656859" y="1433686"/>
                  <a:pt x="655965" y="1419178"/>
                  <a:pt x="663369" y="1409390"/>
                </a:cubicBezTo>
                <a:cubicBezTo>
                  <a:pt x="666078" y="1406601"/>
                  <a:pt x="668921" y="1404013"/>
                  <a:pt x="671826" y="1401392"/>
                </a:cubicBezTo>
                <a:cubicBezTo>
                  <a:pt x="675197" y="1397623"/>
                  <a:pt x="677125" y="1394916"/>
                  <a:pt x="678075" y="1390118"/>
                </a:cubicBezTo>
                <a:cubicBezTo>
                  <a:pt x="680137" y="1389653"/>
                  <a:pt x="682199" y="1389188"/>
                  <a:pt x="684323" y="1388709"/>
                </a:cubicBezTo>
                <a:cubicBezTo>
                  <a:pt x="684643" y="1387232"/>
                  <a:pt x="684964" y="1385755"/>
                  <a:pt x="685293" y="1384233"/>
                </a:cubicBezTo>
                <a:cubicBezTo>
                  <a:pt x="685718" y="1382290"/>
                  <a:pt x="686144" y="1380347"/>
                  <a:pt x="686569" y="1378404"/>
                </a:cubicBezTo>
                <a:cubicBezTo>
                  <a:pt x="686885" y="1376945"/>
                  <a:pt x="686885" y="1376945"/>
                  <a:pt x="687207" y="1375456"/>
                </a:cubicBezTo>
                <a:cubicBezTo>
                  <a:pt x="688115" y="1371315"/>
                  <a:pt x="689090" y="1367353"/>
                  <a:pt x="690572" y="1363343"/>
                </a:cubicBezTo>
                <a:cubicBezTo>
                  <a:pt x="692411" y="1350128"/>
                  <a:pt x="692374" y="1336672"/>
                  <a:pt x="692495" y="1323376"/>
                </a:cubicBezTo>
                <a:cubicBezTo>
                  <a:pt x="692524" y="1320586"/>
                  <a:pt x="692574" y="1317796"/>
                  <a:pt x="692625" y="1315006"/>
                </a:cubicBezTo>
                <a:cubicBezTo>
                  <a:pt x="692853" y="1300589"/>
                  <a:pt x="692853" y="1300589"/>
                  <a:pt x="687447" y="1287245"/>
                </a:cubicBezTo>
                <a:cubicBezTo>
                  <a:pt x="685901" y="1286780"/>
                  <a:pt x="684354" y="1286315"/>
                  <a:pt x="682761" y="1285835"/>
                </a:cubicBezTo>
                <a:cubicBezTo>
                  <a:pt x="680876" y="1283743"/>
                  <a:pt x="680876" y="1283743"/>
                  <a:pt x="678954" y="1281608"/>
                </a:cubicBezTo>
                <a:cubicBezTo>
                  <a:pt x="674854" y="1277278"/>
                  <a:pt x="674356" y="1276958"/>
                  <a:pt x="668702" y="1275971"/>
                </a:cubicBezTo>
                <a:cubicBezTo>
                  <a:pt x="666619" y="1274092"/>
                  <a:pt x="664536" y="1272213"/>
                  <a:pt x="662454" y="1270334"/>
                </a:cubicBezTo>
                <a:cubicBezTo>
                  <a:pt x="658341" y="1268566"/>
                  <a:pt x="658341" y="1268566"/>
                  <a:pt x="654643" y="1267516"/>
                </a:cubicBezTo>
                <a:cubicBezTo>
                  <a:pt x="654643" y="1266585"/>
                  <a:pt x="654643" y="1265656"/>
                  <a:pt x="654643" y="1264697"/>
                </a:cubicBezTo>
                <a:cubicBezTo>
                  <a:pt x="653161" y="1264581"/>
                  <a:pt x="651679" y="1264465"/>
                  <a:pt x="650152" y="1264345"/>
                </a:cubicBezTo>
                <a:cubicBezTo>
                  <a:pt x="642318" y="1263373"/>
                  <a:pt x="635297" y="1260465"/>
                  <a:pt x="628087" y="1257651"/>
                </a:cubicBezTo>
                <a:cubicBezTo>
                  <a:pt x="628087" y="1256721"/>
                  <a:pt x="628087" y="1255791"/>
                  <a:pt x="628087" y="1254833"/>
                </a:cubicBezTo>
                <a:cubicBezTo>
                  <a:pt x="627108" y="1254662"/>
                  <a:pt x="626129" y="1254491"/>
                  <a:pt x="625121" y="1254315"/>
                </a:cubicBezTo>
                <a:cubicBezTo>
                  <a:pt x="623845" y="1254079"/>
                  <a:pt x="622568" y="1253843"/>
                  <a:pt x="621252" y="1253600"/>
                </a:cubicBezTo>
                <a:cubicBezTo>
                  <a:pt x="619984" y="1253371"/>
                  <a:pt x="618716" y="1253142"/>
                  <a:pt x="617409" y="1252906"/>
                </a:cubicBezTo>
                <a:cubicBezTo>
                  <a:pt x="614027" y="1252014"/>
                  <a:pt x="614027" y="1252014"/>
                  <a:pt x="610904" y="1249196"/>
                </a:cubicBezTo>
                <a:cubicBezTo>
                  <a:pt x="592259" y="1248653"/>
                  <a:pt x="578635" y="1260869"/>
                  <a:pt x="565739" y="1271742"/>
                </a:cubicBezTo>
                <a:cubicBezTo>
                  <a:pt x="558808" y="1277725"/>
                  <a:pt x="552763" y="1283983"/>
                  <a:pt x="546924" y="1290829"/>
                </a:cubicBezTo>
                <a:cubicBezTo>
                  <a:pt x="545838" y="1292087"/>
                  <a:pt x="544753" y="1293346"/>
                  <a:pt x="543635" y="1294643"/>
                </a:cubicBezTo>
                <a:cubicBezTo>
                  <a:pt x="542650" y="1295813"/>
                  <a:pt x="541666" y="1296983"/>
                  <a:pt x="540651" y="1298188"/>
                </a:cubicBezTo>
                <a:cubicBezTo>
                  <a:pt x="537294" y="1301526"/>
                  <a:pt x="533978" y="1303337"/>
                  <a:pt x="529673" y="1305565"/>
                </a:cubicBezTo>
                <a:cubicBezTo>
                  <a:pt x="527599" y="1308478"/>
                  <a:pt x="527599" y="1308478"/>
                  <a:pt x="526549" y="1311202"/>
                </a:cubicBezTo>
                <a:cubicBezTo>
                  <a:pt x="525518" y="1311202"/>
                  <a:pt x="524487" y="1311202"/>
                  <a:pt x="523425" y="1311202"/>
                </a:cubicBezTo>
                <a:cubicBezTo>
                  <a:pt x="523360" y="1311986"/>
                  <a:pt x="523296" y="1312771"/>
                  <a:pt x="523230" y="1313580"/>
                </a:cubicBezTo>
                <a:cubicBezTo>
                  <a:pt x="521863" y="1316839"/>
                  <a:pt x="521863" y="1316839"/>
                  <a:pt x="517732" y="1319739"/>
                </a:cubicBezTo>
                <a:cubicBezTo>
                  <a:pt x="511111" y="1324565"/>
                  <a:pt x="506875" y="1330731"/>
                  <a:pt x="502239" y="1337096"/>
                </a:cubicBezTo>
                <a:cubicBezTo>
                  <a:pt x="500512" y="1339427"/>
                  <a:pt x="498785" y="1341757"/>
                  <a:pt x="497058" y="1344087"/>
                </a:cubicBezTo>
                <a:cubicBezTo>
                  <a:pt x="495827" y="1345760"/>
                  <a:pt x="495827" y="1345760"/>
                  <a:pt x="494572" y="1347465"/>
                </a:cubicBezTo>
                <a:cubicBezTo>
                  <a:pt x="492366" y="1350414"/>
                  <a:pt x="490094" y="1353304"/>
                  <a:pt x="487776" y="1356181"/>
                </a:cubicBezTo>
                <a:cubicBezTo>
                  <a:pt x="484805" y="1359972"/>
                  <a:pt x="482865" y="1363193"/>
                  <a:pt x="481248" y="1367571"/>
                </a:cubicBezTo>
                <a:cubicBezTo>
                  <a:pt x="480216" y="1367571"/>
                  <a:pt x="479186" y="1367571"/>
                  <a:pt x="478123" y="1367571"/>
                </a:cubicBezTo>
                <a:cubicBezTo>
                  <a:pt x="477963" y="1368558"/>
                  <a:pt x="477801" y="1369547"/>
                  <a:pt x="477635" y="1370565"/>
                </a:cubicBezTo>
                <a:cubicBezTo>
                  <a:pt x="475602" y="1378236"/>
                  <a:pt x="471952" y="1383371"/>
                  <a:pt x="465626" y="1388709"/>
                </a:cubicBezTo>
                <a:cubicBezTo>
                  <a:pt x="462272" y="1392748"/>
                  <a:pt x="462272" y="1392748"/>
                  <a:pt x="461233" y="1397340"/>
                </a:cubicBezTo>
                <a:cubicBezTo>
                  <a:pt x="460030" y="1401461"/>
                  <a:pt x="458298" y="1404501"/>
                  <a:pt x="455765" y="1408086"/>
                </a:cubicBezTo>
                <a:cubicBezTo>
                  <a:pt x="442829" y="1428603"/>
                  <a:pt x="441572" y="1454548"/>
                  <a:pt x="439070" y="1477490"/>
                </a:cubicBezTo>
                <a:cubicBezTo>
                  <a:pt x="437524" y="1477955"/>
                  <a:pt x="435977" y="1478420"/>
                  <a:pt x="434384" y="1478899"/>
                </a:cubicBezTo>
                <a:cubicBezTo>
                  <a:pt x="433739" y="1479916"/>
                  <a:pt x="433095" y="1480933"/>
                  <a:pt x="432431" y="1481982"/>
                </a:cubicBezTo>
                <a:cubicBezTo>
                  <a:pt x="428860" y="1487159"/>
                  <a:pt x="424291" y="1490903"/>
                  <a:pt x="418763" y="1494401"/>
                </a:cubicBezTo>
                <a:cubicBezTo>
                  <a:pt x="417731" y="1494401"/>
                  <a:pt x="416701" y="1494401"/>
                  <a:pt x="415639" y="1494401"/>
                </a:cubicBezTo>
                <a:cubicBezTo>
                  <a:pt x="415639" y="1495330"/>
                  <a:pt x="415639" y="1496260"/>
                  <a:pt x="415639" y="1497219"/>
                </a:cubicBezTo>
                <a:cubicBezTo>
                  <a:pt x="412546" y="1497684"/>
                  <a:pt x="409453" y="1498149"/>
                  <a:pt x="406265" y="1498628"/>
                </a:cubicBezTo>
                <a:cubicBezTo>
                  <a:pt x="406265" y="1499559"/>
                  <a:pt x="406265" y="1500488"/>
                  <a:pt x="406265" y="1501447"/>
                </a:cubicBezTo>
                <a:cubicBezTo>
                  <a:pt x="395955" y="1501447"/>
                  <a:pt x="385645" y="1501447"/>
                  <a:pt x="375023" y="1501447"/>
                </a:cubicBezTo>
                <a:lnTo>
                  <a:pt x="375023" y="1499438"/>
                </a:lnTo>
                <a:lnTo>
                  <a:pt x="374964" y="1499436"/>
                </a:lnTo>
                <a:lnTo>
                  <a:pt x="373179" y="1498628"/>
                </a:lnTo>
                <a:lnTo>
                  <a:pt x="365650" y="1498628"/>
                </a:lnTo>
                <a:lnTo>
                  <a:pt x="363134" y="1494087"/>
                </a:lnTo>
                <a:lnTo>
                  <a:pt x="362171" y="1493651"/>
                </a:lnTo>
                <a:cubicBezTo>
                  <a:pt x="361656" y="1492722"/>
                  <a:pt x="361140" y="1491791"/>
                  <a:pt x="360609" y="1490833"/>
                </a:cubicBezTo>
                <a:cubicBezTo>
                  <a:pt x="361640" y="1490833"/>
                  <a:pt x="362671" y="1490833"/>
                  <a:pt x="363733" y="1490833"/>
                </a:cubicBezTo>
                <a:lnTo>
                  <a:pt x="363733" y="1489980"/>
                </a:lnTo>
                <a:lnTo>
                  <a:pt x="348467" y="1481717"/>
                </a:lnTo>
                <a:lnTo>
                  <a:pt x="343872" y="1461078"/>
                </a:lnTo>
                <a:lnTo>
                  <a:pt x="343656" y="1463649"/>
                </a:lnTo>
                <a:cubicBezTo>
                  <a:pt x="343541" y="1465230"/>
                  <a:pt x="343541" y="1465230"/>
                  <a:pt x="343424" y="1466842"/>
                </a:cubicBezTo>
                <a:cubicBezTo>
                  <a:pt x="342908" y="1466842"/>
                  <a:pt x="342393" y="1466842"/>
                  <a:pt x="341861" y="1466842"/>
                </a:cubicBezTo>
                <a:cubicBezTo>
                  <a:pt x="340987" y="1449564"/>
                  <a:pt x="340999" y="1434331"/>
                  <a:pt x="354143" y="1420549"/>
                </a:cubicBezTo>
                <a:cubicBezTo>
                  <a:pt x="360765" y="1414011"/>
                  <a:pt x="367631" y="1407790"/>
                  <a:pt x="376229" y="1403427"/>
                </a:cubicBezTo>
                <a:lnTo>
                  <a:pt x="379491" y="1404408"/>
                </a:lnTo>
                <a:lnTo>
                  <a:pt x="379710" y="1404210"/>
                </a:lnTo>
                <a:cubicBezTo>
                  <a:pt x="380290" y="1402902"/>
                  <a:pt x="380290" y="1402902"/>
                  <a:pt x="380882" y="1401568"/>
                </a:cubicBezTo>
                <a:cubicBezTo>
                  <a:pt x="383675" y="1397284"/>
                  <a:pt x="387587" y="1395610"/>
                  <a:pt x="392207" y="1392936"/>
                </a:cubicBezTo>
                <a:lnTo>
                  <a:pt x="399542" y="1386774"/>
                </a:lnTo>
                <a:lnTo>
                  <a:pt x="405485" y="1378917"/>
                </a:lnTo>
                <a:cubicBezTo>
                  <a:pt x="408065" y="1375974"/>
                  <a:pt x="410029" y="1372774"/>
                  <a:pt x="412008" y="1369481"/>
                </a:cubicBezTo>
                <a:cubicBezTo>
                  <a:pt x="414759" y="1365166"/>
                  <a:pt x="417963" y="1361131"/>
                  <a:pt x="421130" y="1357057"/>
                </a:cubicBezTo>
                <a:cubicBezTo>
                  <a:pt x="423073" y="1354140"/>
                  <a:pt x="423985" y="1351767"/>
                  <a:pt x="424676" y="1348443"/>
                </a:cubicBezTo>
                <a:lnTo>
                  <a:pt x="427275" y="1348443"/>
                </a:lnTo>
                <a:lnTo>
                  <a:pt x="428135" y="1345727"/>
                </a:lnTo>
                <a:cubicBezTo>
                  <a:pt x="429370" y="1341828"/>
                  <a:pt x="430645" y="1338666"/>
                  <a:pt x="432822" y="1335158"/>
                </a:cubicBezTo>
                <a:cubicBezTo>
                  <a:pt x="433853" y="1335158"/>
                  <a:pt x="434884" y="1335158"/>
                  <a:pt x="435946" y="1335158"/>
                </a:cubicBezTo>
                <a:cubicBezTo>
                  <a:pt x="436526" y="1333385"/>
                  <a:pt x="437106" y="1331613"/>
                  <a:pt x="437704" y="1329786"/>
                </a:cubicBezTo>
                <a:cubicBezTo>
                  <a:pt x="440162" y="1323132"/>
                  <a:pt x="443602" y="1317301"/>
                  <a:pt x="447394" y="1311196"/>
                </a:cubicBezTo>
                <a:cubicBezTo>
                  <a:pt x="456493" y="1296485"/>
                  <a:pt x="463325" y="1281864"/>
                  <a:pt x="469287" y="1265964"/>
                </a:cubicBezTo>
                <a:cubicBezTo>
                  <a:pt x="474589" y="1252134"/>
                  <a:pt x="474589" y="1252134"/>
                  <a:pt x="478178" y="1246787"/>
                </a:cubicBezTo>
                <a:cubicBezTo>
                  <a:pt x="481232" y="1240246"/>
                  <a:pt x="480204" y="1232766"/>
                  <a:pt x="480179" y="1225768"/>
                </a:cubicBezTo>
                <a:cubicBezTo>
                  <a:pt x="480174" y="1222894"/>
                  <a:pt x="480210" y="1220023"/>
                  <a:pt x="480250" y="1217149"/>
                </a:cubicBezTo>
                <a:cubicBezTo>
                  <a:pt x="480260" y="1199291"/>
                  <a:pt x="476718" y="1187768"/>
                  <a:pt x="462972" y="1174827"/>
                </a:cubicBezTo>
                <a:cubicBezTo>
                  <a:pt x="461148" y="1173192"/>
                  <a:pt x="459312" y="1171566"/>
                  <a:pt x="457468" y="1169949"/>
                </a:cubicBezTo>
                <a:cubicBezTo>
                  <a:pt x="451412" y="1164522"/>
                  <a:pt x="445876" y="1158660"/>
                  <a:pt x="440657" y="1152570"/>
                </a:cubicBezTo>
                <a:cubicBezTo>
                  <a:pt x="430474" y="1140786"/>
                  <a:pt x="418230" y="1128998"/>
                  <a:pt x="403142" y="1122366"/>
                </a:cubicBezTo>
                <a:cubicBezTo>
                  <a:pt x="402626" y="1121436"/>
                  <a:pt x="402110" y="1120506"/>
                  <a:pt x="401579" y="1119547"/>
                </a:cubicBezTo>
                <a:cubicBezTo>
                  <a:pt x="390472" y="1115326"/>
                  <a:pt x="375918" y="1114217"/>
                  <a:pt x="364564" y="1118209"/>
                </a:cubicBezTo>
                <a:cubicBezTo>
                  <a:pt x="362278" y="1119428"/>
                  <a:pt x="360026" y="1120704"/>
                  <a:pt x="357822" y="1122041"/>
                </a:cubicBezTo>
                <a:cubicBezTo>
                  <a:pt x="354521" y="1123884"/>
                  <a:pt x="351862" y="1124582"/>
                  <a:pt x="348077" y="1125273"/>
                </a:cubicBezTo>
                <a:cubicBezTo>
                  <a:pt x="341765" y="1126696"/>
                  <a:pt x="339382" y="1128619"/>
                  <a:pt x="334408" y="1132230"/>
                </a:cubicBezTo>
                <a:cubicBezTo>
                  <a:pt x="332284" y="1132909"/>
                  <a:pt x="330131" y="1133519"/>
                  <a:pt x="327964" y="1134080"/>
                </a:cubicBezTo>
                <a:cubicBezTo>
                  <a:pt x="309975" y="1139067"/>
                  <a:pt x="290592" y="1152117"/>
                  <a:pt x="279734" y="1166051"/>
                </a:cubicBezTo>
                <a:cubicBezTo>
                  <a:pt x="277929" y="1169534"/>
                  <a:pt x="277929" y="1169534"/>
                  <a:pt x="276609" y="1173098"/>
                </a:cubicBezTo>
                <a:cubicBezTo>
                  <a:pt x="272413" y="1180804"/>
                  <a:pt x="269322" y="1184144"/>
                  <a:pt x="260988" y="1188599"/>
                </a:cubicBezTo>
                <a:cubicBezTo>
                  <a:pt x="259988" y="1189435"/>
                  <a:pt x="258987" y="1190271"/>
                  <a:pt x="257956" y="1191132"/>
                </a:cubicBezTo>
                <a:lnTo>
                  <a:pt x="243805" y="1196629"/>
                </a:lnTo>
                <a:lnTo>
                  <a:pt x="243805" y="1194236"/>
                </a:lnTo>
                <a:lnTo>
                  <a:pt x="240288" y="1194765"/>
                </a:lnTo>
                <a:lnTo>
                  <a:pt x="243374" y="1194765"/>
                </a:lnTo>
                <a:lnTo>
                  <a:pt x="243374" y="1196797"/>
                </a:lnTo>
                <a:lnTo>
                  <a:pt x="243805" y="1196629"/>
                </a:lnTo>
                <a:lnTo>
                  <a:pt x="243805" y="1197055"/>
                </a:lnTo>
                <a:lnTo>
                  <a:pt x="243374" y="1197055"/>
                </a:lnTo>
                <a:lnTo>
                  <a:pt x="243374" y="1197584"/>
                </a:lnTo>
                <a:lnTo>
                  <a:pt x="241319" y="1197595"/>
                </a:lnTo>
                <a:lnTo>
                  <a:pt x="238009" y="1198881"/>
                </a:lnTo>
                <a:cubicBezTo>
                  <a:pt x="231012" y="1199584"/>
                  <a:pt x="223620" y="1198927"/>
                  <a:pt x="215687" y="1198464"/>
                </a:cubicBezTo>
                <a:lnTo>
                  <a:pt x="215687" y="1197734"/>
                </a:lnTo>
                <a:lnTo>
                  <a:pt x="213936" y="1197744"/>
                </a:lnTo>
                <a:cubicBezTo>
                  <a:pt x="210570" y="1197584"/>
                  <a:pt x="210570" y="1197584"/>
                  <a:pt x="207446" y="1196175"/>
                </a:cubicBezTo>
                <a:lnTo>
                  <a:pt x="207822" y="1195610"/>
                </a:lnTo>
                <a:lnTo>
                  <a:pt x="184737" y="1180936"/>
                </a:lnTo>
                <a:cubicBezTo>
                  <a:pt x="180258" y="1172216"/>
                  <a:pt x="179226" y="1164355"/>
                  <a:pt x="179270" y="1154866"/>
                </a:cubicBezTo>
                <a:cubicBezTo>
                  <a:pt x="179233" y="1153260"/>
                  <a:pt x="179233" y="1153260"/>
                  <a:pt x="179194" y="1151621"/>
                </a:cubicBezTo>
                <a:cubicBezTo>
                  <a:pt x="179182" y="1139523"/>
                  <a:pt x="183658" y="1128837"/>
                  <a:pt x="193195" y="1120065"/>
                </a:cubicBezTo>
                <a:cubicBezTo>
                  <a:pt x="204265" y="1110959"/>
                  <a:pt x="215062" y="1110626"/>
                  <a:pt x="229551" y="1110299"/>
                </a:cubicBezTo>
                <a:cubicBezTo>
                  <a:pt x="240132" y="1110024"/>
                  <a:pt x="250506" y="1109652"/>
                  <a:pt x="260988" y="1108274"/>
                </a:cubicBezTo>
                <a:cubicBezTo>
                  <a:pt x="260988" y="1107344"/>
                  <a:pt x="260988" y="1106413"/>
                  <a:pt x="260988" y="1105455"/>
                </a:cubicBezTo>
                <a:cubicBezTo>
                  <a:pt x="261953" y="1105078"/>
                  <a:pt x="262918" y="1104699"/>
                  <a:pt x="263911" y="1104310"/>
                </a:cubicBezTo>
                <a:cubicBezTo>
                  <a:pt x="272903" y="1100557"/>
                  <a:pt x="279802" y="1096307"/>
                  <a:pt x="286995" y="1090185"/>
                </a:cubicBezTo>
                <a:cubicBezTo>
                  <a:pt x="290956" y="1086897"/>
                  <a:pt x="295114" y="1083955"/>
                  <a:pt x="299358" y="1080970"/>
                </a:cubicBezTo>
                <a:cubicBezTo>
                  <a:pt x="306613" y="1075692"/>
                  <a:pt x="312234" y="1070023"/>
                  <a:pt x="317762" y="1063272"/>
                </a:cubicBezTo>
                <a:cubicBezTo>
                  <a:pt x="320349" y="1060360"/>
                  <a:pt x="320349" y="1060360"/>
                  <a:pt x="325035" y="1057542"/>
                </a:cubicBezTo>
                <a:cubicBezTo>
                  <a:pt x="329912" y="1045734"/>
                  <a:pt x="327928" y="1035103"/>
                  <a:pt x="325328" y="1023104"/>
                </a:cubicBezTo>
                <a:cubicBezTo>
                  <a:pt x="325069" y="1021831"/>
                  <a:pt x="324811" y="1020559"/>
                  <a:pt x="324544" y="1019247"/>
                </a:cubicBezTo>
                <a:cubicBezTo>
                  <a:pt x="322876" y="1011407"/>
                  <a:pt x="320562" y="1004340"/>
                  <a:pt x="317225" y="996945"/>
                </a:cubicBezTo>
                <a:cubicBezTo>
                  <a:pt x="316619" y="995541"/>
                  <a:pt x="316013" y="994137"/>
                  <a:pt x="315388" y="992690"/>
                </a:cubicBezTo>
                <a:cubicBezTo>
                  <a:pt x="306307" y="972561"/>
                  <a:pt x="298931" y="959343"/>
                  <a:pt x="276232" y="950666"/>
                </a:cubicBezTo>
                <a:cubicBezTo>
                  <a:pt x="274810" y="950127"/>
                  <a:pt x="273388" y="949587"/>
                  <a:pt x="271923" y="949031"/>
                </a:cubicBezTo>
                <a:cubicBezTo>
                  <a:pt x="270129" y="948244"/>
                  <a:pt x="270129" y="948244"/>
                  <a:pt x="268299" y="947441"/>
                </a:cubicBezTo>
                <a:cubicBezTo>
                  <a:pt x="247071" y="938140"/>
                  <a:pt x="222259" y="939051"/>
                  <a:pt x="199187" y="938991"/>
                </a:cubicBezTo>
                <a:cubicBezTo>
                  <a:pt x="197383" y="938984"/>
                  <a:pt x="195579" y="938978"/>
                  <a:pt x="193719" y="938971"/>
                </a:cubicBezTo>
                <a:cubicBezTo>
                  <a:pt x="192010" y="938974"/>
                  <a:pt x="190300" y="938977"/>
                  <a:pt x="188539" y="938980"/>
                </a:cubicBezTo>
                <a:cubicBezTo>
                  <a:pt x="187000" y="938981"/>
                  <a:pt x="185460" y="938983"/>
                  <a:pt x="183874" y="938985"/>
                </a:cubicBezTo>
                <a:cubicBezTo>
                  <a:pt x="180148" y="939150"/>
                  <a:pt x="177092" y="939720"/>
                  <a:pt x="173509" y="940576"/>
                </a:cubicBezTo>
                <a:cubicBezTo>
                  <a:pt x="169458" y="940674"/>
                  <a:pt x="165452" y="940710"/>
                  <a:pt x="161403" y="940664"/>
                </a:cubicBezTo>
                <a:cubicBezTo>
                  <a:pt x="160314" y="940658"/>
                  <a:pt x="159224" y="940651"/>
                  <a:pt x="158102" y="940645"/>
                </a:cubicBezTo>
                <a:lnTo>
                  <a:pt x="150875" y="940583"/>
                </a:lnTo>
                <a:lnTo>
                  <a:pt x="148425" y="940717"/>
                </a:lnTo>
                <a:lnTo>
                  <a:pt x="149617" y="940995"/>
                </a:lnTo>
                <a:cubicBezTo>
                  <a:pt x="149617" y="941459"/>
                  <a:pt x="149617" y="941924"/>
                  <a:pt x="149617" y="942404"/>
                </a:cubicBezTo>
                <a:cubicBezTo>
                  <a:pt x="148630" y="942558"/>
                  <a:pt x="147643" y="942712"/>
                  <a:pt x="146627" y="942871"/>
                </a:cubicBezTo>
                <a:cubicBezTo>
                  <a:pt x="134541" y="944804"/>
                  <a:pt x="122553" y="947081"/>
                  <a:pt x="110564" y="949449"/>
                </a:cubicBezTo>
                <a:lnTo>
                  <a:pt x="111283" y="946205"/>
                </a:lnTo>
                <a:lnTo>
                  <a:pt x="101652" y="956078"/>
                </a:lnTo>
                <a:cubicBezTo>
                  <a:pt x="99870" y="957260"/>
                  <a:pt x="99870" y="957260"/>
                  <a:pt x="98052" y="958467"/>
                </a:cubicBezTo>
                <a:cubicBezTo>
                  <a:pt x="75683" y="972989"/>
                  <a:pt x="75683" y="972989"/>
                  <a:pt x="67286" y="972989"/>
                </a:cubicBezTo>
                <a:cubicBezTo>
                  <a:pt x="67286" y="973918"/>
                  <a:pt x="67286" y="974848"/>
                  <a:pt x="67286" y="975807"/>
                </a:cubicBezTo>
                <a:cubicBezTo>
                  <a:pt x="55713" y="979519"/>
                  <a:pt x="43549" y="980689"/>
                  <a:pt x="31942" y="976423"/>
                </a:cubicBezTo>
                <a:cubicBezTo>
                  <a:pt x="19953" y="970870"/>
                  <a:pt x="10774" y="964932"/>
                  <a:pt x="5673" y="953419"/>
                </a:cubicBezTo>
                <a:cubicBezTo>
                  <a:pt x="4801" y="950441"/>
                  <a:pt x="4801" y="950441"/>
                  <a:pt x="4801" y="944804"/>
                </a:cubicBezTo>
                <a:cubicBezTo>
                  <a:pt x="3770" y="944804"/>
                  <a:pt x="2739" y="944804"/>
                  <a:pt x="1676" y="944804"/>
                </a:cubicBezTo>
                <a:cubicBezTo>
                  <a:pt x="-34" y="940174"/>
                  <a:pt x="-41" y="936720"/>
                  <a:pt x="17" y="931857"/>
                </a:cubicBezTo>
                <a:cubicBezTo>
                  <a:pt x="31" y="930325"/>
                  <a:pt x="45" y="928794"/>
                  <a:pt x="59" y="927216"/>
                </a:cubicBezTo>
                <a:cubicBezTo>
                  <a:pt x="78" y="926044"/>
                  <a:pt x="96" y="924873"/>
                  <a:pt x="115" y="923666"/>
                </a:cubicBezTo>
                <a:cubicBezTo>
                  <a:pt x="1145" y="923666"/>
                  <a:pt x="2176" y="923666"/>
                  <a:pt x="3238" y="923666"/>
                </a:cubicBezTo>
                <a:cubicBezTo>
                  <a:pt x="3238" y="921805"/>
                  <a:pt x="3238" y="919945"/>
                  <a:pt x="3238" y="918029"/>
                </a:cubicBezTo>
                <a:cubicBezTo>
                  <a:pt x="4270" y="918029"/>
                  <a:pt x="5300" y="918029"/>
                  <a:pt x="6363" y="918029"/>
                </a:cubicBezTo>
                <a:cubicBezTo>
                  <a:pt x="6459" y="916314"/>
                  <a:pt x="6556" y="914599"/>
                  <a:pt x="6656" y="912832"/>
                </a:cubicBezTo>
                <a:cubicBezTo>
                  <a:pt x="7542" y="906455"/>
                  <a:pt x="10104" y="903750"/>
                  <a:pt x="15736" y="899709"/>
                </a:cubicBezTo>
                <a:lnTo>
                  <a:pt x="17243" y="898894"/>
                </a:lnTo>
                <a:lnTo>
                  <a:pt x="16800" y="898694"/>
                </a:lnTo>
                <a:lnTo>
                  <a:pt x="24988" y="894101"/>
                </a:lnTo>
                <a:lnTo>
                  <a:pt x="26768" y="892399"/>
                </a:lnTo>
                <a:cubicBezTo>
                  <a:pt x="28282" y="891122"/>
                  <a:pt x="29038" y="890483"/>
                  <a:pt x="30198" y="890164"/>
                </a:cubicBezTo>
                <a:lnTo>
                  <a:pt x="32204" y="890054"/>
                </a:lnTo>
                <a:lnTo>
                  <a:pt x="38914" y="886291"/>
                </a:lnTo>
                <a:cubicBezTo>
                  <a:pt x="47169" y="885770"/>
                  <a:pt x="55396" y="885800"/>
                  <a:pt x="63664" y="886011"/>
                </a:cubicBezTo>
                <a:lnTo>
                  <a:pt x="63664" y="886531"/>
                </a:lnTo>
                <a:lnTo>
                  <a:pt x="70784" y="886647"/>
                </a:lnTo>
                <a:cubicBezTo>
                  <a:pt x="74787" y="887000"/>
                  <a:pt x="77233" y="887948"/>
                  <a:pt x="82126" y="889845"/>
                </a:cubicBezTo>
                <a:cubicBezTo>
                  <a:pt x="92427" y="893791"/>
                  <a:pt x="103139" y="893710"/>
                  <a:pt x="114149" y="892663"/>
                </a:cubicBezTo>
                <a:cubicBezTo>
                  <a:pt x="115696" y="891733"/>
                  <a:pt x="117242" y="890803"/>
                  <a:pt x="118836" y="889845"/>
                </a:cubicBezTo>
                <a:cubicBezTo>
                  <a:pt x="123097" y="888850"/>
                  <a:pt x="127325" y="887944"/>
                  <a:pt x="131626" y="887114"/>
                </a:cubicBezTo>
                <a:cubicBezTo>
                  <a:pt x="139750" y="885542"/>
                  <a:pt x="147376" y="883653"/>
                  <a:pt x="155116" y="880913"/>
                </a:cubicBezTo>
                <a:cubicBezTo>
                  <a:pt x="158498" y="879775"/>
                  <a:pt x="161861" y="879076"/>
                  <a:pt x="165406" y="878483"/>
                </a:cubicBezTo>
                <a:cubicBezTo>
                  <a:pt x="170342" y="877655"/>
                  <a:pt x="172265" y="876971"/>
                  <a:pt x="176634" y="874343"/>
                </a:cubicBezTo>
                <a:cubicBezTo>
                  <a:pt x="179863" y="873335"/>
                  <a:pt x="183123" y="872404"/>
                  <a:pt x="186397" y="871524"/>
                </a:cubicBezTo>
                <a:cubicBezTo>
                  <a:pt x="189107" y="870786"/>
                  <a:pt x="189107" y="870786"/>
                  <a:pt x="191871" y="870033"/>
                </a:cubicBezTo>
                <a:cubicBezTo>
                  <a:pt x="195731" y="869023"/>
                  <a:pt x="199587" y="868093"/>
                  <a:pt x="203483" y="867208"/>
                </a:cubicBezTo>
                <a:cubicBezTo>
                  <a:pt x="208339" y="866199"/>
                  <a:pt x="208339" y="866199"/>
                  <a:pt x="211001" y="861660"/>
                </a:cubicBezTo>
                <a:cubicBezTo>
                  <a:pt x="214174" y="860102"/>
                  <a:pt x="214174" y="860102"/>
                  <a:pt x="218031" y="858577"/>
                </a:cubicBezTo>
                <a:cubicBezTo>
                  <a:pt x="236068" y="850629"/>
                  <a:pt x="245199" y="840442"/>
                  <a:pt x="254740" y="825020"/>
                </a:cubicBezTo>
                <a:cubicBezTo>
                  <a:pt x="255771" y="823625"/>
                  <a:pt x="256802" y="822230"/>
                  <a:pt x="257864" y="820792"/>
                </a:cubicBezTo>
                <a:cubicBezTo>
                  <a:pt x="258359" y="817506"/>
                  <a:pt x="258359" y="817506"/>
                  <a:pt x="258318" y="813810"/>
                </a:cubicBezTo>
                <a:cubicBezTo>
                  <a:pt x="258338" y="812388"/>
                  <a:pt x="258358" y="810967"/>
                  <a:pt x="258378" y="809502"/>
                </a:cubicBezTo>
                <a:cubicBezTo>
                  <a:pt x="258382" y="807965"/>
                  <a:pt x="258385" y="806429"/>
                  <a:pt x="258389" y="804845"/>
                </a:cubicBezTo>
                <a:cubicBezTo>
                  <a:pt x="258399" y="803258"/>
                  <a:pt x="258410" y="801671"/>
                  <a:pt x="258420" y="800036"/>
                </a:cubicBezTo>
                <a:cubicBezTo>
                  <a:pt x="258436" y="796670"/>
                  <a:pt x="258443" y="793305"/>
                  <a:pt x="258443" y="789939"/>
                </a:cubicBezTo>
                <a:cubicBezTo>
                  <a:pt x="258450" y="784823"/>
                  <a:pt x="258506" y="779709"/>
                  <a:pt x="258566" y="774594"/>
                </a:cubicBezTo>
                <a:cubicBezTo>
                  <a:pt x="258575" y="771319"/>
                  <a:pt x="258581" y="768045"/>
                  <a:pt x="258584" y="764771"/>
                </a:cubicBezTo>
                <a:cubicBezTo>
                  <a:pt x="258618" y="762495"/>
                  <a:pt x="258618" y="762495"/>
                  <a:pt x="258652" y="760174"/>
                </a:cubicBezTo>
                <a:cubicBezTo>
                  <a:pt x="258586" y="750030"/>
                  <a:pt x="256266" y="742584"/>
                  <a:pt x="251616" y="733421"/>
                </a:cubicBezTo>
                <a:cubicBezTo>
                  <a:pt x="250163" y="729605"/>
                  <a:pt x="248880" y="725752"/>
                  <a:pt x="247613" y="721883"/>
                </a:cubicBezTo>
                <a:cubicBezTo>
                  <a:pt x="245789" y="716328"/>
                  <a:pt x="243913" y="710939"/>
                  <a:pt x="241291" y="705644"/>
                </a:cubicBezTo>
                <a:cubicBezTo>
                  <a:pt x="238691" y="700096"/>
                  <a:pt x="238136" y="695685"/>
                  <a:pt x="237557" y="689735"/>
                </a:cubicBezTo>
                <a:cubicBezTo>
                  <a:pt x="244977" y="685507"/>
                  <a:pt x="244977" y="685507"/>
                  <a:pt x="248492" y="685507"/>
                </a:cubicBezTo>
                <a:cubicBezTo>
                  <a:pt x="248492" y="684112"/>
                  <a:pt x="248492" y="682717"/>
                  <a:pt x="248492" y="681279"/>
                </a:cubicBezTo>
                <a:cubicBezTo>
                  <a:pt x="245914" y="680815"/>
                  <a:pt x="243337" y="680350"/>
                  <a:pt x="240681" y="679870"/>
                </a:cubicBezTo>
                <a:cubicBezTo>
                  <a:pt x="240681" y="678940"/>
                  <a:pt x="240681" y="678010"/>
                  <a:pt x="240681" y="677052"/>
                </a:cubicBezTo>
                <a:cubicBezTo>
                  <a:pt x="239827" y="676917"/>
                  <a:pt x="238973" y="676783"/>
                  <a:pt x="238094" y="676645"/>
                </a:cubicBezTo>
                <a:cubicBezTo>
                  <a:pt x="233442" y="675371"/>
                  <a:pt x="229939" y="673242"/>
                  <a:pt x="225841" y="670886"/>
                </a:cubicBezTo>
                <a:cubicBezTo>
                  <a:pt x="217808" y="666564"/>
                  <a:pt x="210635" y="664241"/>
                  <a:pt x="201531" y="662508"/>
                </a:cubicBezTo>
                <a:cubicBezTo>
                  <a:pt x="196896" y="661541"/>
                  <a:pt x="192682" y="660199"/>
                  <a:pt x="188252" y="658644"/>
                </a:cubicBezTo>
                <a:lnTo>
                  <a:pt x="182431" y="657327"/>
                </a:lnTo>
                <a:lnTo>
                  <a:pt x="182431" y="657613"/>
                </a:lnTo>
                <a:cubicBezTo>
                  <a:pt x="170575" y="657148"/>
                  <a:pt x="158718" y="656683"/>
                  <a:pt x="146503" y="656204"/>
                </a:cubicBezTo>
                <a:cubicBezTo>
                  <a:pt x="146503" y="657133"/>
                  <a:pt x="146503" y="658064"/>
                  <a:pt x="146503" y="659022"/>
                </a:cubicBezTo>
                <a:cubicBezTo>
                  <a:pt x="134359" y="662326"/>
                  <a:pt x="123013" y="663700"/>
                  <a:pt x="110378" y="663778"/>
                </a:cubicBezTo>
                <a:cubicBezTo>
                  <a:pt x="108435" y="663806"/>
                  <a:pt x="108435" y="663806"/>
                  <a:pt x="106453" y="663836"/>
                </a:cubicBezTo>
                <a:cubicBezTo>
                  <a:pt x="105231" y="663828"/>
                  <a:pt x="104009" y="663820"/>
                  <a:pt x="102751" y="663811"/>
                </a:cubicBezTo>
                <a:cubicBezTo>
                  <a:pt x="101117" y="663804"/>
                  <a:pt x="101117" y="663804"/>
                  <a:pt x="99449" y="663797"/>
                </a:cubicBezTo>
                <a:cubicBezTo>
                  <a:pt x="95696" y="663097"/>
                  <a:pt x="94265" y="661615"/>
                  <a:pt x="91828" y="659022"/>
                </a:cubicBezTo>
                <a:cubicBezTo>
                  <a:pt x="93890" y="659022"/>
                  <a:pt x="95953" y="659022"/>
                  <a:pt x="98077" y="659022"/>
                </a:cubicBezTo>
                <a:cubicBezTo>
                  <a:pt x="98077" y="659952"/>
                  <a:pt x="98077" y="660882"/>
                  <a:pt x="98077" y="661841"/>
                </a:cubicBezTo>
                <a:cubicBezTo>
                  <a:pt x="108735" y="662045"/>
                  <a:pt x="114063" y="662148"/>
                  <a:pt x="119023" y="661357"/>
                </a:cubicBezTo>
                <a:lnTo>
                  <a:pt x="119536" y="661197"/>
                </a:lnTo>
                <a:lnTo>
                  <a:pt x="109853" y="661639"/>
                </a:lnTo>
                <a:cubicBezTo>
                  <a:pt x="108764" y="661632"/>
                  <a:pt x="107675" y="661626"/>
                  <a:pt x="106552" y="661619"/>
                </a:cubicBezTo>
                <a:cubicBezTo>
                  <a:pt x="103877" y="661603"/>
                  <a:pt x="101203" y="661577"/>
                  <a:pt x="98528" y="661550"/>
                </a:cubicBezTo>
                <a:cubicBezTo>
                  <a:pt x="98528" y="660620"/>
                  <a:pt x="98528" y="659691"/>
                  <a:pt x="98528" y="658732"/>
                </a:cubicBezTo>
                <a:cubicBezTo>
                  <a:pt x="95435" y="658267"/>
                  <a:pt x="92342" y="657802"/>
                  <a:pt x="89155" y="657323"/>
                </a:cubicBezTo>
                <a:cubicBezTo>
                  <a:pt x="89155" y="656393"/>
                  <a:pt x="89155" y="655462"/>
                  <a:pt x="89155" y="654504"/>
                </a:cubicBezTo>
                <a:cubicBezTo>
                  <a:pt x="87790" y="653978"/>
                  <a:pt x="87790" y="653978"/>
                  <a:pt x="86397" y="653442"/>
                </a:cubicBezTo>
                <a:cubicBezTo>
                  <a:pt x="82415" y="651438"/>
                  <a:pt x="80039" y="649232"/>
                  <a:pt x="77049" y="646137"/>
                </a:cubicBezTo>
                <a:cubicBezTo>
                  <a:pt x="75611" y="644679"/>
                  <a:pt x="75611" y="644679"/>
                  <a:pt x="74145" y="643192"/>
                </a:cubicBezTo>
                <a:cubicBezTo>
                  <a:pt x="71972" y="640412"/>
                  <a:pt x="71972" y="640412"/>
                  <a:pt x="71972" y="636185"/>
                </a:cubicBezTo>
                <a:cubicBezTo>
                  <a:pt x="70941" y="636185"/>
                  <a:pt x="69910" y="636185"/>
                  <a:pt x="68848" y="636185"/>
                </a:cubicBezTo>
                <a:cubicBezTo>
                  <a:pt x="64250" y="621928"/>
                  <a:pt x="64695" y="609404"/>
                  <a:pt x="70410" y="595317"/>
                </a:cubicBezTo>
                <a:cubicBezTo>
                  <a:pt x="73096" y="591142"/>
                  <a:pt x="76144" y="587574"/>
                  <a:pt x="79782" y="584043"/>
                </a:cubicBezTo>
                <a:cubicBezTo>
                  <a:pt x="81205" y="582594"/>
                  <a:pt x="81205" y="582594"/>
                  <a:pt x="82656" y="581115"/>
                </a:cubicBezTo>
                <a:cubicBezTo>
                  <a:pt x="91488" y="574027"/>
                  <a:pt x="105133" y="571806"/>
                  <a:pt x="116694" y="572323"/>
                </a:cubicBezTo>
                <a:cubicBezTo>
                  <a:pt x="131556" y="574113"/>
                  <a:pt x="142046" y="580551"/>
                  <a:pt x="152031" y="590385"/>
                </a:cubicBezTo>
                <a:cubicBezTo>
                  <a:pt x="162272" y="600009"/>
                  <a:pt x="176992" y="605062"/>
                  <a:pt x="191474" y="605886"/>
                </a:cubicBezTo>
                <a:cubicBezTo>
                  <a:pt x="196845" y="606192"/>
                  <a:pt x="201203" y="606463"/>
                  <a:pt x="206314" y="608000"/>
                </a:cubicBezTo>
                <a:cubicBezTo>
                  <a:pt x="206314" y="608930"/>
                  <a:pt x="206314" y="609860"/>
                  <a:pt x="206314" y="610818"/>
                </a:cubicBezTo>
                <a:cubicBezTo>
                  <a:pt x="215689" y="610902"/>
                  <a:pt x="225058" y="610898"/>
                  <a:pt x="234433" y="610818"/>
                </a:cubicBezTo>
                <a:cubicBezTo>
                  <a:pt x="236112" y="610813"/>
                  <a:pt x="237791" y="610808"/>
                  <a:pt x="239522" y="610802"/>
                </a:cubicBezTo>
                <a:cubicBezTo>
                  <a:pt x="251005" y="610364"/>
                  <a:pt x="259257" y="606564"/>
                  <a:pt x="268799" y="600954"/>
                </a:cubicBezTo>
                <a:cubicBezTo>
                  <a:pt x="269770" y="600416"/>
                  <a:pt x="270740" y="599879"/>
                  <a:pt x="271740" y="599325"/>
                </a:cubicBezTo>
                <a:cubicBezTo>
                  <a:pt x="279452" y="594430"/>
                  <a:pt x="281420" y="587464"/>
                  <a:pt x="284420" y="579816"/>
                </a:cubicBezTo>
                <a:cubicBezTo>
                  <a:pt x="286047" y="576075"/>
                  <a:pt x="287725" y="572353"/>
                  <a:pt x="289399" y="568630"/>
                </a:cubicBezTo>
                <a:cubicBezTo>
                  <a:pt x="294095" y="558121"/>
                  <a:pt x="299004" y="547070"/>
                  <a:pt x="293958" y="535838"/>
                </a:cubicBezTo>
                <a:cubicBezTo>
                  <a:pt x="292436" y="533533"/>
                  <a:pt x="290781" y="531301"/>
                  <a:pt x="289107" y="529084"/>
                </a:cubicBezTo>
                <a:cubicBezTo>
                  <a:pt x="289107" y="528153"/>
                  <a:pt x="289107" y="527223"/>
                  <a:pt x="289107" y="526265"/>
                </a:cubicBezTo>
                <a:cubicBezTo>
                  <a:pt x="287560" y="525800"/>
                  <a:pt x="286014" y="525335"/>
                  <a:pt x="284420" y="524856"/>
                </a:cubicBezTo>
                <a:cubicBezTo>
                  <a:pt x="283905" y="523461"/>
                  <a:pt x="283389" y="522066"/>
                  <a:pt x="282858" y="520628"/>
                </a:cubicBezTo>
                <a:cubicBezTo>
                  <a:pt x="280750" y="518590"/>
                  <a:pt x="280750" y="518590"/>
                  <a:pt x="277977" y="516577"/>
                </a:cubicBezTo>
                <a:cubicBezTo>
                  <a:pt x="273591" y="513232"/>
                  <a:pt x="269227" y="509874"/>
                  <a:pt x="264925" y="506443"/>
                </a:cubicBezTo>
                <a:cubicBezTo>
                  <a:pt x="253596" y="497433"/>
                  <a:pt x="242132" y="488987"/>
                  <a:pt x="229746" y="481170"/>
                </a:cubicBezTo>
                <a:cubicBezTo>
                  <a:pt x="226846" y="479266"/>
                  <a:pt x="223950" y="477358"/>
                  <a:pt x="221057" y="475445"/>
                </a:cubicBezTo>
                <a:cubicBezTo>
                  <a:pt x="218227" y="473594"/>
                  <a:pt x="215396" y="471744"/>
                  <a:pt x="212563" y="469896"/>
                </a:cubicBezTo>
                <a:cubicBezTo>
                  <a:pt x="211351" y="469102"/>
                  <a:pt x="210138" y="468309"/>
                  <a:pt x="208889" y="467491"/>
                </a:cubicBezTo>
                <a:cubicBezTo>
                  <a:pt x="202848" y="463599"/>
                  <a:pt x="196732" y="459888"/>
                  <a:pt x="190406" y="456382"/>
                </a:cubicBezTo>
                <a:cubicBezTo>
                  <a:pt x="189263" y="455748"/>
                  <a:pt x="188119" y="455114"/>
                  <a:pt x="186942" y="454460"/>
                </a:cubicBezTo>
                <a:cubicBezTo>
                  <a:pt x="184648" y="453196"/>
                  <a:pt x="182348" y="451941"/>
                  <a:pt x="180041" y="450696"/>
                </a:cubicBezTo>
                <a:cubicBezTo>
                  <a:pt x="177292" y="449185"/>
                  <a:pt x="174612" y="447571"/>
                  <a:pt x="171948" y="445940"/>
                </a:cubicBezTo>
                <a:cubicBezTo>
                  <a:pt x="171948" y="445009"/>
                  <a:pt x="171948" y="444079"/>
                  <a:pt x="171948" y="443121"/>
                </a:cubicBezTo>
                <a:cubicBezTo>
                  <a:pt x="170804" y="442985"/>
                  <a:pt x="169660" y="442848"/>
                  <a:pt x="168482" y="442708"/>
                </a:cubicBezTo>
                <a:cubicBezTo>
                  <a:pt x="163547" y="441576"/>
                  <a:pt x="161063" y="439897"/>
                  <a:pt x="157107" y="437044"/>
                </a:cubicBezTo>
                <a:cubicBezTo>
                  <a:pt x="149345" y="431895"/>
                  <a:pt x="141843" y="429626"/>
                  <a:pt x="132559" y="427510"/>
                </a:cubicBezTo>
                <a:cubicBezTo>
                  <a:pt x="128067" y="426168"/>
                  <a:pt x="126607" y="425060"/>
                  <a:pt x="123522" y="421983"/>
                </a:cubicBezTo>
                <a:cubicBezTo>
                  <a:pt x="118310" y="419033"/>
                  <a:pt x="114076" y="418794"/>
                  <a:pt x="107986" y="418730"/>
                </a:cubicBezTo>
                <a:cubicBezTo>
                  <a:pt x="106174" y="418694"/>
                  <a:pt x="104362" y="418659"/>
                  <a:pt x="102494" y="418622"/>
                </a:cubicBezTo>
                <a:cubicBezTo>
                  <a:pt x="98715" y="418573"/>
                  <a:pt x="94936" y="418529"/>
                  <a:pt x="91157" y="418490"/>
                </a:cubicBezTo>
                <a:cubicBezTo>
                  <a:pt x="78470" y="418231"/>
                  <a:pt x="65485" y="417940"/>
                  <a:pt x="55277" y="410445"/>
                </a:cubicBezTo>
                <a:cubicBezTo>
                  <a:pt x="54084" y="409137"/>
                  <a:pt x="52893" y="407829"/>
                  <a:pt x="51665" y="406481"/>
                </a:cubicBezTo>
                <a:cubicBezTo>
                  <a:pt x="49752" y="404480"/>
                  <a:pt x="47831" y="402483"/>
                  <a:pt x="45904" y="400492"/>
                </a:cubicBezTo>
                <a:cubicBezTo>
                  <a:pt x="44996" y="399526"/>
                  <a:pt x="44088" y="398559"/>
                  <a:pt x="43152" y="397564"/>
                </a:cubicBezTo>
                <a:cubicBezTo>
                  <a:pt x="40865" y="395062"/>
                  <a:pt x="40865" y="395062"/>
                  <a:pt x="37605" y="393798"/>
                </a:cubicBezTo>
                <a:lnTo>
                  <a:pt x="38995" y="368712"/>
                </a:lnTo>
                <a:lnTo>
                  <a:pt x="38666" y="369724"/>
                </a:lnTo>
                <a:cubicBezTo>
                  <a:pt x="37003" y="374506"/>
                  <a:pt x="36202" y="379113"/>
                  <a:pt x="35542" y="384081"/>
                </a:cubicBezTo>
                <a:cubicBezTo>
                  <a:pt x="30313" y="376119"/>
                  <a:pt x="31188" y="366593"/>
                  <a:pt x="33326" y="357791"/>
                </a:cubicBezTo>
                <a:cubicBezTo>
                  <a:pt x="37176" y="347767"/>
                  <a:pt x="44536" y="340769"/>
                  <a:pt x="52725" y="333349"/>
                </a:cubicBezTo>
                <a:lnTo>
                  <a:pt x="55222" y="334475"/>
                </a:lnTo>
                <a:lnTo>
                  <a:pt x="56222" y="333347"/>
                </a:lnTo>
                <a:lnTo>
                  <a:pt x="55871" y="333347"/>
                </a:lnTo>
                <a:lnTo>
                  <a:pt x="56346" y="333207"/>
                </a:lnTo>
                <a:lnTo>
                  <a:pt x="56351" y="333202"/>
                </a:lnTo>
                <a:lnTo>
                  <a:pt x="56365" y="333202"/>
                </a:lnTo>
                <a:lnTo>
                  <a:pt x="79571" y="326360"/>
                </a:lnTo>
                <a:cubicBezTo>
                  <a:pt x="87782" y="326037"/>
                  <a:pt x="96164" y="327572"/>
                  <a:pt x="104297" y="330529"/>
                </a:cubicBezTo>
                <a:lnTo>
                  <a:pt x="107170" y="334417"/>
                </a:lnTo>
                <a:lnTo>
                  <a:pt x="109366" y="336046"/>
                </a:lnTo>
                <a:lnTo>
                  <a:pt x="109463" y="336020"/>
                </a:lnTo>
                <a:lnTo>
                  <a:pt x="109463" y="336118"/>
                </a:lnTo>
                <a:lnTo>
                  <a:pt x="115226" y="340394"/>
                </a:lnTo>
                <a:lnTo>
                  <a:pt x="114010" y="340120"/>
                </a:lnTo>
                <a:lnTo>
                  <a:pt x="133285" y="357423"/>
                </a:lnTo>
                <a:cubicBezTo>
                  <a:pt x="142471" y="373187"/>
                  <a:pt x="155564" y="382744"/>
                  <a:pt x="173509" y="389571"/>
                </a:cubicBezTo>
                <a:cubicBezTo>
                  <a:pt x="176254" y="390785"/>
                  <a:pt x="178988" y="392017"/>
                  <a:pt x="181711" y="393270"/>
                </a:cubicBezTo>
                <a:cubicBezTo>
                  <a:pt x="182964" y="393833"/>
                  <a:pt x="184216" y="394396"/>
                  <a:pt x="185507" y="394976"/>
                </a:cubicBezTo>
                <a:cubicBezTo>
                  <a:pt x="187897" y="396058"/>
                  <a:pt x="190281" y="397151"/>
                  <a:pt x="192658" y="398257"/>
                </a:cubicBezTo>
                <a:cubicBezTo>
                  <a:pt x="193749" y="398762"/>
                  <a:pt x="194841" y="399267"/>
                  <a:pt x="195966" y="399788"/>
                </a:cubicBezTo>
                <a:cubicBezTo>
                  <a:pt x="196912" y="400231"/>
                  <a:pt x="197858" y="400674"/>
                  <a:pt x="198833" y="401131"/>
                </a:cubicBezTo>
                <a:cubicBezTo>
                  <a:pt x="201808" y="402326"/>
                  <a:pt x="204701" y="403032"/>
                  <a:pt x="207877" y="403663"/>
                </a:cubicBezTo>
                <a:cubicBezTo>
                  <a:pt x="207877" y="404593"/>
                  <a:pt x="207877" y="405523"/>
                  <a:pt x="207877" y="406481"/>
                </a:cubicBezTo>
                <a:cubicBezTo>
                  <a:pt x="221233" y="411377"/>
                  <a:pt x="234752" y="415503"/>
                  <a:pt x="248492" y="419428"/>
                </a:cubicBezTo>
                <a:cubicBezTo>
                  <a:pt x="250298" y="419947"/>
                  <a:pt x="252104" y="420466"/>
                  <a:pt x="253965" y="421000"/>
                </a:cubicBezTo>
                <a:cubicBezTo>
                  <a:pt x="258388" y="422270"/>
                  <a:pt x="262812" y="423537"/>
                  <a:pt x="267237" y="424801"/>
                </a:cubicBezTo>
                <a:lnTo>
                  <a:pt x="267237" y="426451"/>
                </a:lnTo>
                <a:lnTo>
                  <a:pt x="288701" y="429217"/>
                </a:lnTo>
                <a:cubicBezTo>
                  <a:pt x="288701" y="430147"/>
                  <a:pt x="288701" y="431078"/>
                  <a:pt x="288701" y="432036"/>
                </a:cubicBezTo>
                <a:cubicBezTo>
                  <a:pt x="301487" y="433472"/>
                  <a:pt x="314148" y="433662"/>
                  <a:pt x="327010" y="433628"/>
                </a:cubicBezTo>
                <a:cubicBezTo>
                  <a:pt x="330502" y="433621"/>
                  <a:pt x="333994" y="433628"/>
                  <a:pt x="337486" y="433637"/>
                </a:cubicBezTo>
                <a:cubicBezTo>
                  <a:pt x="339734" y="433637"/>
                  <a:pt x="341982" y="433635"/>
                  <a:pt x="344229" y="433632"/>
                </a:cubicBezTo>
                <a:cubicBezTo>
                  <a:pt x="347246" y="433630"/>
                  <a:pt x="347246" y="433630"/>
                  <a:pt x="350323" y="433627"/>
                </a:cubicBezTo>
                <a:cubicBezTo>
                  <a:pt x="355445" y="433459"/>
                  <a:pt x="360220" y="432915"/>
                  <a:pt x="365245" y="432036"/>
                </a:cubicBezTo>
                <a:lnTo>
                  <a:pt x="360797" y="433759"/>
                </a:lnTo>
                <a:lnTo>
                  <a:pt x="365650" y="433257"/>
                </a:lnTo>
                <a:cubicBezTo>
                  <a:pt x="366166" y="431861"/>
                  <a:pt x="366682" y="430466"/>
                  <a:pt x="367213" y="429029"/>
                </a:cubicBezTo>
                <a:cubicBezTo>
                  <a:pt x="369854" y="427628"/>
                  <a:pt x="372501" y="426234"/>
                  <a:pt x="375188" y="424906"/>
                </a:cubicBezTo>
                <a:cubicBezTo>
                  <a:pt x="390245" y="417204"/>
                  <a:pt x="397438" y="403183"/>
                  <a:pt x="404704" y="389571"/>
                </a:cubicBezTo>
                <a:cubicBezTo>
                  <a:pt x="405219" y="389105"/>
                  <a:pt x="405734" y="388641"/>
                  <a:pt x="406265" y="388161"/>
                </a:cubicBezTo>
                <a:cubicBezTo>
                  <a:pt x="406663" y="382152"/>
                  <a:pt x="406555" y="376125"/>
                  <a:pt x="406559" y="370106"/>
                </a:cubicBezTo>
                <a:cubicBezTo>
                  <a:pt x="406578" y="368412"/>
                  <a:pt x="406597" y="366718"/>
                  <a:pt x="406617" y="364973"/>
                </a:cubicBezTo>
                <a:cubicBezTo>
                  <a:pt x="406620" y="363344"/>
                  <a:pt x="406622" y="361715"/>
                  <a:pt x="406626" y="360038"/>
                </a:cubicBezTo>
                <a:cubicBezTo>
                  <a:pt x="406632" y="358541"/>
                  <a:pt x="406638" y="357045"/>
                  <a:pt x="406645" y="355503"/>
                </a:cubicBezTo>
                <a:cubicBezTo>
                  <a:pt x="406264" y="351503"/>
                  <a:pt x="405326" y="349318"/>
                  <a:pt x="403142" y="345885"/>
                </a:cubicBezTo>
                <a:cubicBezTo>
                  <a:pt x="402583" y="343484"/>
                  <a:pt x="402067" y="341075"/>
                  <a:pt x="401579" y="338663"/>
                </a:cubicBezTo>
                <a:cubicBezTo>
                  <a:pt x="399365" y="330323"/>
                  <a:pt x="395538" y="323370"/>
                  <a:pt x="390938" y="315939"/>
                </a:cubicBezTo>
                <a:cubicBezTo>
                  <a:pt x="390290" y="314890"/>
                  <a:pt x="389642" y="313842"/>
                  <a:pt x="388976" y="312762"/>
                </a:cubicBezTo>
                <a:cubicBezTo>
                  <a:pt x="385623" y="307500"/>
                  <a:pt x="382070" y="302607"/>
                  <a:pt x="377934" y="297817"/>
                </a:cubicBezTo>
                <a:cubicBezTo>
                  <a:pt x="373788" y="292978"/>
                  <a:pt x="371423" y="288111"/>
                  <a:pt x="368775" y="282470"/>
                </a:cubicBezTo>
                <a:cubicBezTo>
                  <a:pt x="366035" y="278585"/>
                  <a:pt x="362994" y="274937"/>
                  <a:pt x="359890" y="271284"/>
                </a:cubicBezTo>
                <a:cubicBezTo>
                  <a:pt x="359059" y="270296"/>
                  <a:pt x="358230" y="269307"/>
                  <a:pt x="357374" y="268288"/>
                </a:cubicBezTo>
                <a:cubicBezTo>
                  <a:pt x="351312" y="261177"/>
                  <a:pt x="344882" y="254704"/>
                  <a:pt x="337533" y="248649"/>
                </a:cubicBezTo>
                <a:cubicBezTo>
                  <a:pt x="336767" y="247896"/>
                  <a:pt x="336002" y="247144"/>
                  <a:pt x="335214" y="246369"/>
                </a:cubicBezTo>
                <a:cubicBezTo>
                  <a:pt x="332597" y="243963"/>
                  <a:pt x="332597" y="243963"/>
                  <a:pt x="327085" y="242571"/>
                </a:cubicBezTo>
                <a:cubicBezTo>
                  <a:pt x="309670" y="236923"/>
                  <a:pt x="296614" y="222751"/>
                  <a:pt x="288785" y="207968"/>
                </a:cubicBezTo>
                <a:cubicBezTo>
                  <a:pt x="286673" y="202851"/>
                  <a:pt x="286348" y="197968"/>
                  <a:pt x="286373" y="192544"/>
                </a:cubicBezTo>
                <a:cubicBezTo>
                  <a:pt x="286377" y="191437"/>
                  <a:pt x="286381" y="190330"/>
                  <a:pt x="286385" y="189190"/>
                </a:cubicBezTo>
                <a:cubicBezTo>
                  <a:pt x="286881" y="178340"/>
                  <a:pt x="291581" y="171728"/>
                  <a:pt x="300042" y="164095"/>
                </a:cubicBezTo>
                <a:cubicBezTo>
                  <a:pt x="301386" y="162752"/>
                  <a:pt x="301386" y="162752"/>
                  <a:pt x="302757" y="161381"/>
                </a:cubicBezTo>
                <a:cubicBezTo>
                  <a:pt x="312597" y="152504"/>
                  <a:pt x="325185" y="152675"/>
                  <a:pt x="338411" y="152293"/>
                </a:cubicBezTo>
                <a:cubicBezTo>
                  <a:pt x="350839" y="152463"/>
                  <a:pt x="359094" y="154554"/>
                  <a:pt x="368482" y="161893"/>
                </a:cubicBezTo>
                <a:cubicBezTo>
                  <a:pt x="369609" y="163085"/>
                  <a:pt x="370737" y="164277"/>
                  <a:pt x="371899" y="165505"/>
                </a:cubicBezTo>
                <a:cubicBezTo>
                  <a:pt x="372962" y="166522"/>
                  <a:pt x="374026" y="167539"/>
                  <a:pt x="375121" y="168587"/>
                </a:cubicBezTo>
                <a:cubicBezTo>
                  <a:pt x="381050" y="176351"/>
                  <a:pt x="384520" y="184328"/>
                  <a:pt x="384982" y="193777"/>
                </a:cubicBezTo>
                <a:cubicBezTo>
                  <a:pt x="385464" y="201192"/>
                  <a:pt x="387638" y="207607"/>
                  <a:pt x="390352" y="214563"/>
                </a:cubicBezTo>
                <a:cubicBezTo>
                  <a:pt x="390934" y="216079"/>
                  <a:pt x="390934" y="216079"/>
                  <a:pt x="391529" y="217626"/>
                </a:cubicBezTo>
                <a:cubicBezTo>
                  <a:pt x="394082" y="223926"/>
                  <a:pt x="397412" y="228969"/>
                  <a:pt x="401579" y="234556"/>
                </a:cubicBezTo>
                <a:cubicBezTo>
                  <a:pt x="401579" y="235952"/>
                  <a:pt x="401579" y="237347"/>
                  <a:pt x="401579" y="238784"/>
                </a:cubicBezTo>
                <a:cubicBezTo>
                  <a:pt x="402884" y="239263"/>
                  <a:pt x="402884" y="239263"/>
                  <a:pt x="404215" y="239753"/>
                </a:cubicBezTo>
                <a:cubicBezTo>
                  <a:pt x="410099" y="242765"/>
                  <a:pt x="414395" y="246733"/>
                  <a:pt x="417811" y="251996"/>
                </a:cubicBezTo>
                <a:cubicBezTo>
                  <a:pt x="420462" y="255897"/>
                  <a:pt x="423407" y="258959"/>
                  <a:pt x="426866" y="262300"/>
                </a:cubicBezTo>
                <a:cubicBezTo>
                  <a:pt x="435101" y="270407"/>
                  <a:pt x="442641" y="278936"/>
                  <a:pt x="450097" y="287628"/>
                </a:cubicBezTo>
                <a:cubicBezTo>
                  <a:pt x="453081" y="291117"/>
                  <a:pt x="453081" y="291117"/>
                  <a:pt x="457425" y="293920"/>
                </a:cubicBezTo>
                <a:cubicBezTo>
                  <a:pt x="458585" y="294792"/>
                  <a:pt x="459745" y="295664"/>
                  <a:pt x="460940" y="296562"/>
                </a:cubicBezTo>
                <a:cubicBezTo>
                  <a:pt x="460940" y="297957"/>
                  <a:pt x="460940" y="299352"/>
                  <a:pt x="460940" y="300790"/>
                </a:cubicBezTo>
                <a:cubicBezTo>
                  <a:pt x="465063" y="302782"/>
                  <a:pt x="468862" y="304133"/>
                  <a:pt x="473437" y="305018"/>
                </a:cubicBezTo>
                <a:cubicBezTo>
                  <a:pt x="473437" y="305947"/>
                  <a:pt x="473437" y="306877"/>
                  <a:pt x="473437" y="307836"/>
                </a:cubicBezTo>
                <a:cubicBezTo>
                  <a:pt x="475581" y="308519"/>
                  <a:pt x="477730" y="309193"/>
                  <a:pt x="479881" y="309862"/>
                </a:cubicBezTo>
                <a:cubicBezTo>
                  <a:pt x="481077" y="310237"/>
                  <a:pt x="482273" y="310614"/>
                  <a:pt x="483505" y="311001"/>
                </a:cubicBezTo>
                <a:cubicBezTo>
                  <a:pt x="505448" y="316843"/>
                  <a:pt x="527690" y="314359"/>
                  <a:pt x="548419" y="306427"/>
                </a:cubicBezTo>
                <a:cubicBezTo>
                  <a:pt x="549548" y="305998"/>
                  <a:pt x="550678" y="305569"/>
                  <a:pt x="551842" y="305127"/>
                </a:cubicBezTo>
                <a:cubicBezTo>
                  <a:pt x="555376" y="303227"/>
                  <a:pt x="557584" y="300980"/>
                  <a:pt x="560232" y="298148"/>
                </a:cubicBezTo>
                <a:cubicBezTo>
                  <a:pt x="561137" y="297192"/>
                  <a:pt x="562041" y="296236"/>
                  <a:pt x="562972" y="295252"/>
                </a:cubicBezTo>
                <a:cubicBezTo>
                  <a:pt x="564755" y="293274"/>
                  <a:pt x="566459" y="291237"/>
                  <a:pt x="568086" y="289152"/>
                </a:cubicBezTo>
                <a:cubicBezTo>
                  <a:pt x="568813" y="288342"/>
                  <a:pt x="569539" y="287532"/>
                  <a:pt x="570289" y="286697"/>
                </a:cubicBezTo>
                <a:cubicBezTo>
                  <a:pt x="571319" y="286697"/>
                  <a:pt x="572350" y="286697"/>
                  <a:pt x="573413" y="286697"/>
                </a:cubicBezTo>
                <a:cubicBezTo>
                  <a:pt x="577408" y="276984"/>
                  <a:pt x="577197" y="267284"/>
                  <a:pt x="577220" y="257016"/>
                </a:cubicBezTo>
                <a:cubicBezTo>
                  <a:pt x="577227" y="255625"/>
                  <a:pt x="577227" y="255625"/>
                  <a:pt x="577235" y="254206"/>
                </a:cubicBezTo>
                <a:cubicBezTo>
                  <a:pt x="577257" y="237553"/>
                  <a:pt x="574604" y="222055"/>
                  <a:pt x="569443" y="206049"/>
                </a:cubicBezTo>
                <a:cubicBezTo>
                  <a:pt x="568726" y="203553"/>
                  <a:pt x="568726" y="203553"/>
                  <a:pt x="568726" y="200735"/>
                </a:cubicBezTo>
                <a:cubicBezTo>
                  <a:pt x="567695" y="200735"/>
                  <a:pt x="566664" y="200735"/>
                  <a:pt x="565602" y="200735"/>
                </a:cubicBezTo>
                <a:cubicBezTo>
                  <a:pt x="563274" y="195295"/>
                  <a:pt x="561092" y="190108"/>
                  <a:pt x="559549" y="184441"/>
                </a:cubicBezTo>
                <a:cubicBezTo>
                  <a:pt x="555572" y="173477"/>
                  <a:pt x="547043" y="167105"/>
                  <a:pt x="537484" y="159867"/>
                </a:cubicBezTo>
                <a:cubicBezTo>
                  <a:pt x="533579" y="156609"/>
                  <a:pt x="533579" y="156609"/>
                  <a:pt x="531235" y="154230"/>
                </a:cubicBezTo>
                <a:cubicBezTo>
                  <a:pt x="531235" y="153301"/>
                  <a:pt x="531235" y="152371"/>
                  <a:pt x="531235" y="151412"/>
                </a:cubicBezTo>
                <a:cubicBezTo>
                  <a:pt x="529689" y="150947"/>
                  <a:pt x="528143" y="150482"/>
                  <a:pt x="526549" y="150003"/>
                </a:cubicBezTo>
                <a:cubicBezTo>
                  <a:pt x="519904" y="137298"/>
                  <a:pt x="519105" y="120357"/>
                  <a:pt x="524304" y="107198"/>
                </a:cubicBezTo>
                <a:cubicBezTo>
                  <a:pt x="529443" y="97376"/>
                  <a:pt x="535781" y="90193"/>
                  <a:pt x="547052" y="85972"/>
                </a:cubicBezTo>
                <a:cubicBezTo>
                  <a:pt x="559924" y="81835"/>
                  <a:pt x="575221" y="79746"/>
                  <a:pt x="588460" y="83538"/>
                </a:cubicBezTo>
                <a:cubicBezTo>
                  <a:pt x="601643" y="89713"/>
                  <a:pt x="611835" y="99450"/>
                  <a:pt x="617152" y="111954"/>
                </a:cubicBezTo>
                <a:cubicBezTo>
                  <a:pt x="617935" y="116052"/>
                  <a:pt x="617954" y="120024"/>
                  <a:pt x="617884" y="124175"/>
                </a:cubicBezTo>
                <a:cubicBezTo>
                  <a:pt x="617896" y="125307"/>
                  <a:pt x="617906" y="126440"/>
                  <a:pt x="617917" y="127607"/>
                </a:cubicBezTo>
                <a:cubicBezTo>
                  <a:pt x="617963" y="132394"/>
                  <a:pt x="617938" y="137181"/>
                  <a:pt x="617919" y="141969"/>
                </a:cubicBezTo>
                <a:cubicBezTo>
                  <a:pt x="617899" y="160184"/>
                  <a:pt x="619422" y="175572"/>
                  <a:pt x="630625" y="191311"/>
                </a:cubicBezTo>
                <a:cubicBezTo>
                  <a:pt x="633753" y="195891"/>
                  <a:pt x="636431" y="199900"/>
                  <a:pt x="637850" y="205139"/>
                </a:cubicBezTo>
                <a:cubicBezTo>
                  <a:pt x="638615" y="209623"/>
                  <a:pt x="638615" y="209623"/>
                  <a:pt x="643708" y="212009"/>
                </a:cubicBezTo>
                <a:cubicBezTo>
                  <a:pt x="645380" y="214563"/>
                  <a:pt x="645380" y="214563"/>
                  <a:pt x="647027" y="217645"/>
                </a:cubicBezTo>
                <a:cubicBezTo>
                  <a:pt x="652549" y="227016"/>
                  <a:pt x="660443" y="235696"/>
                  <a:pt x="670264" y="241603"/>
                </a:cubicBezTo>
                <a:cubicBezTo>
                  <a:pt x="670264" y="242532"/>
                  <a:pt x="670264" y="243462"/>
                  <a:pt x="670264" y="244421"/>
                </a:cubicBezTo>
                <a:cubicBezTo>
                  <a:pt x="672036" y="244857"/>
                  <a:pt x="673808" y="245293"/>
                  <a:pt x="675634" y="245742"/>
                </a:cubicBezTo>
                <a:cubicBezTo>
                  <a:pt x="681199" y="247239"/>
                  <a:pt x="681199" y="247239"/>
                  <a:pt x="682761" y="248649"/>
                </a:cubicBezTo>
                <a:cubicBezTo>
                  <a:pt x="704487" y="252065"/>
                  <a:pt x="732606" y="256402"/>
                  <a:pt x="752092" y="245076"/>
                </a:cubicBezTo>
                <a:cubicBezTo>
                  <a:pt x="754252" y="243599"/>
                  <a:pt x="756372" y="242073"/>
                  <a:pt x="758433" y="240485"/>
                </a:cubicBezTo>
                <a:cubicBezTo>
                  <a:pt x="760867" y="238784"/>
                  <a:pt x="760867" y="238784"/>
                  <a:pt x="763991" y="238784"/>
                </a:cubicBezTo>
                <a:cubicBezTo>
                  <a:pt x="764647" y="237296"/>
                  <a:pt x="764647" y="237296"/>
                  <a:pt x="765315" y="235778"/>
                </a:cubicBezTo>
                <a:cubicBezTo>
                  <a:pt x="767151" y="231659"/>
                  <a:pt x="769030" y="227557"/>
                  <a:pt x="770923" y="223459"/>
                </a:cubicBezTo>
                <a:cubicBezTo>
                  <a:pt x="771608" y="221966"/>
                  <a:pt x="772292" y="220472"/>
                  <a:pt x="772998" y="218934"/>
                </a:cubicBezTo>
                <a:cubicBezTo>
                  <a:pt x="774429" y="215885"/>
                  <a:pt x="775968" y="212878"/>
                  <a:pt x="777562" y="209895"/>
                </a:cubicBezTo>
                <a:cubicBezTo>
                  <a:pt x="787607" y="185732"/>
                  <a:pt x="788559" y="149501"/>
                  <a:pt x="781175" y="124637"/>
                </a:cubicBezTo>
                <a:cubicBezTo>
                  <a:pt x="780144" y="124637"/>
                  <a:pt x="779113" y="124637"/>
                  <a:pt x="778051" y="124637"/>
                </a:cubicBezTo>
                <a:cubicBezTo>
                  <a:pt x="768501" y="110080"/>
                  <a:pt x="762898" y="96653"/>
                  <a:pt x="767116" y="79542"/>
                </a:cubicBezTo>
                <a:cubicBezTo>
                  <a:pt x="772286" y="69057"/>
                  <a:pt x="781456" y="58252"/>
                  <a:pt x="793379" y="54000"/>
                </a:cubicBezTo>
                <a:cubicBezTo>
                  <a:pt x="808369" y="49250"/>
                  <a:pt x="826058" y="49579"/>
                  <a:pt x="840688" y="55503"/>
                </a:cubicBezTo>
                <a:cubicBezTo>
                  <a:pt x="845183" y="57759"/>
                  <a:pt x="848037" y="60575"/>
                  <a:pt x="851470" y="64040"/>
                </a:cubicBezTo>
                <a:cubicBezTo>
                  <a:pt x="852721" y="65272"/>
                  <a:pt x="852721" y="65272"/>
                  <a:pt x="853997" y="66529"/>
                </a:cubicBezTo>
                <a:cubicBezTo>
                  <a:pt x="858396" y="71505"/>
                  <a:pt x="860490" y="76640"/>
                  <a:pt x="861488" y="82057"/>
                </a:cubicBezTo>
                <a:lnTo>
                  <a:pt x="861937" y="90492"/>
                </a:lnTo>
                <a:lnTo>
                  <a:pt x="863826" y="100715"/>
                </a:lnTo>
                <a:cubicBezTo>
                  <a:pt x="862141" y="107853"/>
                  <a:pt x="859866" y="114857"/>
                  <a:pt x="857577" y="121853"/>
                </a:cubicBezTo>
                <a:cubicBezTo>
                  <a:pt x="857062" y="121853"/>
                  <a:pt x="856547" y="121853"/>
                  <a:pt x="856015" y="121853"/>
                </a:cubicBezTo>
                <a:cubicBezTo>
                  <a:pt x="855731" y="120401"/>
                  <a:pt x="855731" y="120401"/>
                  <a:pt x="855442" y="118919"/>
                </a:cubicBezTo>
                <a:lnTo>
                  <a:pt x="855417" y="118798"/>
                </a:lnTo>
                <a:lnTo>
                  <a:pt x="856157" y="124637"/>
                </a:lnTo>
                <a:lnTo>
                  <a:pt x="850623" y="134701"/>
                </a:lnTo>
                <a:lnTo>
                  <a:pt x="851325" y="135968"/>
                </a:lnTo>
                <a:cubicBezTo>
                  <a:pt x="850851" y="137246"/>
                  <a:pt x="850376" y="138525"/>
                  <a:pt x="849886" y="139843"/>
                </a:cubicBezTo>
                <a:cubicBezTo>
                  <a:pt x="848171" y="144505"/>
                  <a:pt x="847798" y="148002"/>
                  <a:pt x="847786" y="152889"/>
                </a:cubicBezTo>
                <a:cubicBezTo>
                  <a:pt x="847779" y="154500"/>
                  <a:pt x="847773" y="156109"/>
                  <a:pt x="847767" y="157768"/>
                </a:cubicBezTo>
                <a:cubicBezTo>
                  <a:pt x="847782" y="159468"/>
                  <a:pt x="847796" y="161167"/>
                  <a:pt x="847810" y="162919"/>
                </a:cubicBezTo>
                <a:cubicBezTo>
                  <a:pt x="847821" y="165546"/>
                  <a:pt x="847821" y="165546"/>
                  <a:pt x="847832" y="168227"/>
                </a:cubicBezTo>
                <a:cubicBezTo>
                  <a:pt x="847980" y="181934"/>
                  <a:pt x="849003" y="195419"/>
                  <a:pt x="850903" y="209013"/>
                </a:cubicBezTo>
                <a:lnTo>
                  <a:pt x="852880" y="224692"/>
                </a:lnTo>
                <a:lnTo>
                  <a:pt x="854595" y="224692"/>
                </a:lnTo>
                <a:cubicBezTo>
                  <a:pt x="855086" y="225542"/>
                  <a:pt x="855577" y="226392"/>
                  <a:pt x="856083" y="227268"/>
                </a:cubicBezTo>
                <a:cubicBezTo>
                  <a:pt x="862358" y="237839"/>
                  <a:pt x="866924" y="242785"/>
                  <a:pt x="879588" y="247239"/>
                </a:cubicBezTo>
                <a:cubicBezTo>
                  <a:pt x="881642" y="248025"/>
                  <a:pt x="883692" y="248817"/>
                  <a:pt x="885739" y="249618"/>
                </a:cubicBezTo>
                <a:cubicBezTo>
                  <a:pt x="887318" y="250227"/>
                  <a:pt x="888897" y="250838"/>
                  <a:pt x="890523" y="251467"/>
                </a:cubicBezTo>
                <a:cubicBezTo>
                  <a:pt x="890523" y="252397"/>
                  <a:pt x="890523" y="253327"/>
                  <a:pt x="890523" y="254285"/>
                </a:cubicBezTo>
                <a:cubicBezTo>
                  <a:pt x="900347" y="257061"/>
                  <a:pt x="910127" y="259425"/>
                  <a:pt x="920203" y="261332"/>
                </a:cubicBezTo>
                <a:cubicBezTo>
                  <a:pt x="920203" y="261796"/>
                  <a:pt x="920203" y="262262"/>
                  <a:pt x="920203" y="262741"/>
                </a:cubicBezTo>
                <a:cubicBezTo>
                  <a:pt x="917111" y="262741"/>
                  <a:pt x="914018" y="262741"/>
                  <a:pt x="910831" y="262741"/>
                </a:cubicBezTo>
                <a:lnTo>
                  <a:pt x="910831" y="262864"/>
                </a:lnTo>
                <a:lnTo>
                  <a:pt x="927993" y="264177"/>
                </a:lnTo>
                <a:lnTo>
                  <a:pt x="939273" y="265285"/>
                </a:lnTo>
                <a:lnTo>
                  <a:pt x="940456" y="265191"/>
                </a:lnTo>
                <a:cubicBezTo>
                  <a:pt x="962552" y="263054"/>
                  <a:pt x="974979" y="255295"/>
                  <a:pt x="991622" y="242329"/>
                </a:cubicBezTo>
                <a:lnTo>
                  <a:pt x="1000803" y="236505"/>
                </a:lnTo>
                <a:lnTo>
                  <a:pt x="999806" y="236055"/>
                </a:lnTo>
                <a:cubicBezTo>
                  <a:pt x="1000902" y="234997"/>
                  <a:pt x="1001997" y="233941"/>
                  <a:pt x="1003126" y="232851"/>
                </a:cubicBezTo>
                <a:cubicBezTo>
                  <a:pt x="1012364" y="223880"/>
                  <a:pt x="1021184" y="214752"/>
                  <a:pt x="1029487" y="205052"/>
                </a:cubicBezTo>
                <a:lnTo>
                  <a:pt x="1029872" y="206442"/>
                </a:lnTo>
                <a:lnTo>
                  <a:pt x="1031614" y="203719"/>
                </a:lnTo>
                <a:cubicBezTo>
                  <a:pt x="1033221" y="199204"/>
                  <a:pt x="1035713" y="196017"/>
                  <a:pt x="1038924" y="192280"/>
                </a:cubicBezTo>
                <a:cubicBezTo>
                  <a:pt x="1039956" y="191815"/>
                  <a:pt x="1040987" y="191349"/>
                  <a:pt x="1042049" y="190870"/>
                </a:cubicBezTo>
                <a:cubicBezTo>
                  <a:pt x="1043161" y="188473"/>
                  <a:pt x="1043161" y="188473"/>
                  <a:pt x="1044294" y="186026"/>
                </a:cubicBezTo>
                <a:cubicBezTo>
                  <a:pt x="1046735" y="181006"/>
                  <a:pt x="1046735" y="181006"/>
                  <a:pt x="1051422" y="178188"/>
                </a:cubicBezTo>
                <a:cubicBezTo>
                  <a:pt x="1052553" y="175286"/>
                  <a:pt x="1052553" y="175286"/>
                  <a:pt x="1052984" y="172551"/>
                </a:cubicBezTo>
                <a:cubicBezTo>
                  <a:pt x="1054014" y="172551"/>
                  <a:pt x="1055046" y="172551"/>
                  <a:pt x="1056108" y="172551"/>
                </a:cubicBezTo>
                <a:cubicBezTo>
                  <a:pt x="1057139" y="169295"/>
                  <a:pt x="1058170" y="166040"/>
                  <a:pt x="1059232" y="162686"/>
                </a:cubicBezTo>
                <a:cubicBezTo>
                  <a:pt x="1060263" y="162686"/>
                  <a:pt x="1061295" y="162686"/>
                  <a:pt x="1062357" y="162686"/>
                </a:cubicBezTo>
                <a:cubicBezTo>
                  <a:pt x="1062755" y="161484"/>
                  <a:pt x="1062755" y="161484"/>
                  <a:pt x="1063162" y="160258"/>
                </a:cubicBezTo>
                <a:cubicBezTo>
                  <a:pt x="1065716" y="152917"/>
                  <a:pt x="1068813" y="146686"/>
                  <a:pt x="1073292" y="140138"/>
                </a:cubicBezTo>
                <a:cubicBezTo>
                  <a:pt x="1074322" y="140138"/>
                  <a:pt x="1075353" y="140138"/>
                  <a:pt x="1076415" y="140138"/>
                </a:cubicBezTo>
                <a:cubicBezTo>
                  <a:pt x="1079808" y="132748"/>
                  <a:pt x="1082509" y="125160"/>
                  <a:pt x="1085294" y="117569"/>
                </a:cubicBezTo>
                <a:cubicBezTo>
                  <a:pt x="1085972" y="116181"/>
                  <a:pt x="1086651" y="114793"/>
                  <a:pt x="1087350" y="113363"/>
                </a:cubicBezTo>
                <a:cubicBezTo>
                  <a:pt x="1089671" y="112666"/>
                  <a:pt x="1089671" y="112666"/>
                  <a:pt x="1092037" y="111954"/>
                </a:cubicBezTo>
                <a:cubicBezTo>
                  <a:pt x="1092230" y="110879"/>
                  <a:pt x="1092423" y="109803"/>
                  <a:pt x="1092623" y="108695"/>
                </a:cubicBezTo>
                <a:cubicBezTo>
                  <a:pt x="1093599" y="104908"/>
                  <a:pt x="1093599" y="104908"/>
                  <a:pt x="1096723" y="100680"/>
                </a:cubicBezTo>
                <a:cubicBezTo>
                  <a:pt x="1097207" y="99140"/>
                  <a:pt x="1097689" y="97599"/>
                  <a:pt x="1098188" y="96013"/>
                </a:cubicBezTo>
                <a:cubicBezTo>
                  <a:pt x="1099847" y="90815"/>
                  <a:pt x="1099847" y="90815"/>
                  <a:pt x="1102288" y="87029"/>
                </a:cubicBezTo>
                <a:cubicBezTo>
                  <a:pt x="1106061" y="79186"/>
                  <a:pt x="1107564" y="69424"/>
                  <a:pt x="1104534" y="61222"/>
                </a:cubicBezTo>
                <a:cubicBezTo>
                  <a:pt x="1104409" y="59341"/>
                  <a:pt x="1104366" y="57454"/>
                  <a:pt x="1104381" y="55569"/>
                </a:cubicBezTo>
                <a:cubicBezTo>
                  <a:pt x="1104386" y="54501"/>
                  <a:pt x="1104391" y="53434"/>
                  <a:pt x="1104397" y="52335"/>
                </a:cubicBezTo>
                <a:cubicBezTo>
                  <a:pt x="1104410" y="51228"/>
                  <a:pt x="1104423" y="50120"/>
                  <a:pt x="1104436" y="48979"/>
                </a:cubicBezTo>
                <a:cubicBezTo>
                  <a:pt x="1104443" y="47856"/>
                  <a:pt x="1104451" y="46733"/>
                  <a:pt x="1104457" y="45575"/>
                </a:cubicBezTo>
                <a:cubicBezTo>
                  <a:pt x="1104476" y="42805"/>
                  <a:pt x="1104504" y="40035"/>
                  <a:pt x="1104534" y="37265"/>
                </a:cubicBezTo>
                <a:cubicBezTo>
                  <a:pt x="1105565" y="37265"/>
                  <a:pt x="1106596" y="37265"/>
                  <a:pt x="1107658" y="37265"/>
                </a:cubicBezTo>
                <a:cubicBezTo>
                  <a:pt x="1107561" y="34562"/>
                  <a:pt x="1107561" y="34562"/>
                  <a:pt x="1107463" y="31805"/>
                </a:cubicBezTo>
                <a:cubicBezTo>
                  <a:pt x="1107353" y="28733"/>
                  <a:pt x="1107353" y="28733"/>
                  <a:pt x="1107658" y="25991"/>
                </a:cubicBezTo>
                <a:cubicBezTo>
                  <a:pt x="1108689" y="25062"/>
                  <a:pt x="1109720" y="24131"/>
                  <a:pt x="1110782" y="23173"/>
                </a:cubicBezTo>
                <a:cubicBezTo>
                  <a:pt x="1111104" y="22156"/>
                  <a:pt x="1111427" y="21138"/>
                  <a:pt x="1111759" y="20091"/>
                </a:cubicBezTo>
                <a:cubicBezTo>
                  <a:pt x="1116393" y="11539"/>
                  <a:pt x="1124927" y="6390"/>
                  <a:pt x="1134507" y="2828"/>
                </a:cubicBezTo>
                <a:cubicBezTo>
                  <a:pt x="1141389" y="825"/>
                  <a:pt x="1148262" y="-204"/>
                  <a:pt x="1155019" y="35"/>
                </a:cubicBezTo>
                <a:close/>
              </a:path>
            </a:pathLst>
          </a:custGeom>
          <a:solidFill>
            <a:schemeClr val="accent3"/>
          </a:solidFill>
          <a:ln w="2232" cap="flat">
            <a:noFill/>
            <a:prstDash val="solid"/>
            <a:miter/>
          </a:ln>
          <a:effectLst>
            <a:innerShdw blurRad="63500" dist="190500" dir="8100000">
              <a:schemeClr val="accent3">
                <a:lumMod val="75000"/>
                <a:alpha val="50000"/>
              </a:schemeClr>
            </a:innerShdw>
          </a:effectLst>
        </p:spPr>
        <p:txBody>
          <a:bodyPr wrap="square">
            <a:noAutofit/>
          </a:bodyPr>
          <a:lstStyle/>
          <a:p>
            <a:endParaRPr lang="en-GB" dirty="0"/>
          </a:p>
        </p:txBody>
      </p:sp>
      <p:sp>
        <p:nvSpPr>
          <p:cNvPr id="7405" name="Oval 7404">
            <a:extLst>
              <a:ext uri="{FF2B5EF4-FFF2-40B4-BE49-F238E27FC236}">
                <a16:creationId xmlns:a16="http://schemas.microsoft.com/office/drawing/2014/main" id="{26BA2EF5-1024-945A-2BAA-733701723945}"/>
              </a:ext>
            </a:extLst>
          </p:cNvPr>
          <p:cNvSpPr/>
          <p:nvPr/>
        </p:nvSpPr>
        <p:spPr>
          <a:xfrm>
            <a:off x="5995746" y="5247599"/>
            <a:ext cx="535375" cy="133103"/>
          </a:xfrm>
          <a:prstGeom prst="ellipse">
            <a:avLst/>
          </a:prstGeom>
          <a:solidFill>
            <a:schemeClr val="tx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7401" name="Free-form: Shape 7400">
            <a:extLst>
              <a:ext uri="{FF2B5EF4-FFF2-40B4-BE49-F238E27FC236}">
                <a16:creationId xmlns:a16="http://schemas.microsoft.com/office/drawing/2014/main" id="{AE16A983-BDDB-81C5-4929-DA16DF7BFB72}"/>
              </a:ext>
            </a:extLst>
          </p:cNvPr>
          <p:cNvSpPr/>
          <p:nvPr/>
        </p:nvSpPr>
        <p:spPr>
          <a:xfrm>
            <a:off x="5928642" y="4718961"/>
            <a:ext cx="652704" cy="623957"/>
          </a:xfrm>
          <a:custGeom>
            <a:avLst/>
            <a:gdLst>
              <a:gd name="csX0" fmla="*/ 401579 w 1609516"/>
              <a:gd name="csY0" fmla="*/ 1495809 h 1538630"/>
              <a:gd name="csX1" fmla="*/ 400190 w 1609516"/>
              <a:gd name="csY1" fmla="*/ 1496004 h 1538630"/>
              <a:gd name="csX2" fmla="*/ 401224 w 1609516"/>
              <a:gd name="csY2" fmla="*/ 1496470 h 1538630"/>
              <a:gd name="csX3" fmla="*/ 401224 w 1609516"/>
              <a:gd name="csY3" fmla="*/ 1498590 h 1538630"/>
              <a:gd name="csX4" fmla="*/ 401579 w 1609516"/>
              <a:gd name="csY4" fmla="*/ 1498628 h 1538630"/>
              <a:gd name="csX5" fmla="*/ 401579 w 1609516"/>
              <a:gd name="csY5" fmla="*/ 1495809 h 1538630"/>
              <a:gd name="csX6" fmla="*/ 368755 w 1609516"/>
              <a:gd name="csY6" fmla="*/ 1486512 h 1538630"/>
              <a:gd name="csX7" fmla="*/ 364089 w 1609516"/>
              <a:gd name="csY7" fmla="*/ 1487354 h 1538630"/>
              <a:gd name="csX8" fmla="*/ 364089 w 1609516"/>
              <a:gd name="csY8" fmla="*/ 1487908 h 1538630"/>
              <a:gd name="csX9" fmla="*/ 1049801 w 1609516"/>
              <a:gd name="csY9" fmla="*/ 1484562 h 1538630"/>
              <a:gd name="csX10" fmla="*/ 1046735 w 1609516"/>
              <a:gd name="csY10" fmla="*/ 1485945 h 1538630"/>
              <a:gd name="csX11" fmla="*/ 1046955 w 1609516"/>
              <a:gd name="csY11" fmla="*/ 1486045 h 1538630"/>
              <a:gd name="csX12" fmla="*/ 1049801 w 1609516"/>
              <a:gd name="csY12" fmla="*/ 1485188 h 1538630"/>
              <a:gd name="csX13" fmla="*/ 351234 w 1609516"/>
              <a:gd name="csY13" fmla="*/ 1444508 h 1538630"/>
              <a:gd name="csX14" fmla="*/ 351234 w 1609516"/>
              <a:gd name="csY14" fmla="*/ 1444997 h 1538630"/>
              <a:gd name="csX15" fmla="*/ 351592 w 1609516"/>
              <a:gd name="csY15" fmla="*/ 1445078 h 1538630"/>
              <a:gd name="csX16" fmla="*/ 351908 w 1609516"/>
              <a:gd name="csY16" fmla="*/ 1431206 h 1538630"/>
              <a:gd name="csX17" fmla="*/ 351234 w 1609516"/>
              <a:gd name="csY17" fmla="*/ 1431611 h 1538630"/>
              <a:gd name="csX18" fmla="*/ 351234 w 1609516"/>
              <a:gd name="csY18" fmla="*/ 1432274 h 1538630"/>
              <a:gd name="csX19" fmla="*/ 358162 w 1609516"/>
              <a:gd name="csY19" fmla="*/ 1421494 h 1538630"/>
              <a:gd name="csX20" fmla="*/ 355921 w 1609516"/>
              <a:gd name="csY20" fmla="*/ 1423156 h 1538630"/>
              <a:gd name="csX21" fmla="*/ 355921 w 1609516"/>
              <a:gd name="csY21" fmla="*/ 1423548 h 1538630"/>
              <a:gd name="csX22" fmla="*/ 376098 w 1609516"/>
              <a:gd name="csY22" fmla="*/ 1408347 h 1538630"/>
              <a:gd name="csX23" fmla="*/ 370750 w 1609516"/>
              <a:gd name="csY23" fmla="*/ 1412245 h 1538630"/>
              <a:gd name="csX24" fmla="*/ 375023 w 1609516"/>
              <a:gd name="csY24" fmla="*/ 1411256 h 1538630"/>
              <a:gd name="csX25" fmla="*/ 421956 w 1609516"/>
              <a:gd name="csY25" fmla="*/ 1365623 h 1538630"/>
              <a:gd name="csX26" fmla="*/ 421765 w 1609516"/>
              <a:gd name="csY26" fmla="*/ 1366161 h 1538630"/>
              <a:gd name="csX27" fmla="*/ 421887 w 1609516"/>
              <a:gd name="csY27" fmla="*/ 1366161 h 1538630"/>
              <a:gd name="csX28" fmla="*/ 754553 w 1609516"/>
              <a:gd name="csY28" fmla="*/ 1360575 h 1538630"/>
              <a:gd name="csX29" fmla="*/ 754089 w 1609516"/>
              <a:gd name="csY29" fmla="*/ 1361433 h 1538630"/>
              <a:gd name="csX30" fmla="*/ 754431 w 1609516"/>
              <a:gd name="csY30" fmla="*/ 1361125 h 1538630"/>
              <a:gd name="csX31" fmla="*/ 1277973 w 1609516"/>
              <a:gd name="csY31" fmla="*/ 1332923 h 1538630"/>
              <a:gd name="csX32" fmla="*/ 1277944 w 1609516"/>
              <a:gd name="csY32" fmla="*/ 1332936 h 1538630"/>
              <a:gd name="csX33" fmla="*/ 1277949 w 1609516"/>
              <a:gd name="csY33" fmla="*/ 1333139 h 1538630"/>
              <a:gd name="csX34" fmla="*/ 1268556 w 1609516"/>
              <a:gd name="csY34" fmla="*/ 1321066 h 1538630"/>
              <a:gd name="csX35" fmla="*/ 1268556 w 1609516"/>
              <a:gd name="csY35" fmla="*/ 1325294 h 1538630"/>
              <a:gd name="csX36" fmla="*/ 1265432 w 1609516"/>
              <a:gd name="csY36" fmla="*/ 1325294 h 1538630"/>
              <a:gd name="csX37" fmla="*/ 1265432 w 1609516"/>
              <a:gd name="csY37" fmla="*/ 1340795 h 1538630"/>
              <a:gd name="csX38" fmla="*/ 1265476 w 1609516"/>
              <a:gd name="csY38" fmla="*/ 1340714 h 1538630"/>
              <a:gd name="csX39" fmla="*/ 1265476 w 1609516"/>
              <a:gd name="csY39" fmla="*/ 1325877 h 1538630"/>
              <a:gd name="csX40" fmla="*/ 1268600 w 1609516"/>
              <a:gd name="csY40" fmla="*/ 1325877 h 1538630"/>
              <a:gd name="csX41" fmla="*/ 1268600 w 1609516"/>
              <a:gd name="csY41" fmla="*/ 1321649 h 1538630"/>
              <a:gd name="csX42" fmla="*/ 1273286 w 1609516"/>
              <a:gd name="csY42" fmla="*/ 1321649 h 1538630"/>
              <a:gd name="csX43" fmla="*/ 1273227 w 1609516"/>
              <a:gd name="csY43" fmla="*/ 1321066 h 1538630"/>
              <a:gd name="csX44" fmla="*/ 827891 w 1609516"/>
              <a:gd name="csY44" fmla="*/ 1291474 h 1538630"/>
              <a:gd name="csX45" fmla="*/ 822601 w 1609516"/>
              <a:gd name="csY45" fmla="*/ 1291544 h 1538630"/>
              <a:gd name="csX46" fmla="*/ 818272 w 1609516"/>
              <a:gd name="csY46" fmla="*/ 1292220 h 1538630"/>
              <a:gd name="csX47" fmla="*/ 827891 w 1609516"/>
              <a:gd name="csY47" fmla="*/ 1292047 h 1538630"/>
              <a:gd name="csX48" fmla="*/ 856397 w 1609516"/>
              <a:gd name="csY48" fmla="*/ 1288691 h 1538630"/>
              <a:gd name="csX49" fmla="*/ 865903 w 1609516"/>
              <a:gd name="csY49" fmla="*/ 1290590 h 1538630"/>
              <a:gd name="csX50" fmla="*/ 859999 w 1609516"/>
              <a:gd name="csY50" fmla="*/ 1288752 h 1538630"/>
              <a:gd name="csX51" fmla="*/ 834694 w 1609516"/>
              <a:gd name="csY51" fmla="*/ 1288572 h 1538630"/>
              <a:gd name="csX52" fmla="*/ 828038 w 1609516"/>
              <a:gd name="csY52" fmla="*/ 1288654 h 1538630"/>
              <a:gd name="csX53" fmla="*/ 828038 w 1609516"/>
              <a:gd name="csY53" fmla="*/ 1289214 h 1538630"/>
              <a:gd name="csX54" fmla="*/ 229746 w 1609516"/>
              <a:gd name="csY54" fmla="*/ 1191418 h 1538630"/>
              <a:gd name="csX55" fmla="*/ 227402 w 1609516"/>
              <a:gd name="csY55" fmla="*/ 1191947 h 1538630"/>
              <a:gd name="csX56" fmla="*/ 229315 w 1609516"/>
              <a:gd name="csY56" fmla="*/ 1191947 h 1538630"/>
              <a:gd name="csX57" fmla="*/ 229315 w 1609516"/>
              <a:gd name="csY57" fmla="*/ 1194765 h 1538630"/>
              <a:gd name="csX58" fmla="*/ 231321 w 1609516"/>
              <a:gd name="csY58" fmla="*/ 1194765 h 1538630"/>
              <a:gd name="csX59" fmla="*/ 229746 w 1609516"/>
              <a:gd name="csY59" fmla="*/ 1194236 h 1538630"/>
              <a:gd name="csX60" fmla="*/ 229746 w 1609516"/>
              <a:gd name="csY60" fmla="*/ 1191418 h 1538630"/>
              <a:gd name="csX61" fmla="*/ 215687 w 1609516"/>
              <a:gd name="csY61" fmla="*/ 1187190 h 1538630"/>
              <a:gd name="csX62" fmla="*/ 215198 w 1609516"/>
              <a:gd name="csY62" fmla="*/ 1187720 h 1538630"/>
              <a:gd name="csX63" fmla="*/ 215256 w 1609516"/>
              <a:gd name="csY63" fmla="*/ 1187720 h 1538630"/>
              <a:gd name="csX64" fmla="*/ 215256 w 1609516"/>
              <a:gd name="csY64" fmla="*/ 1191947 h 1538630"/>
              <a:gd name="csX65" fmla="*/ 222721 w 1609516"/>
              <a:gd name="csY65" fmla="*/ 1191947 h 1538630"/>
              <a:gd name="csX66" fmla="*/ 215687 w 1609516"/>
              <a:gd name="csY66" fmla="*/ 1191418 h 1538630"/>
              <a:gd name="csX67" fmla="*/ 215687 w 1609516"/>
              <a:gd name="csY67" fmla="*/ 1187190 h 1538630"/>
              <a:gd name="csX68" fmla="*/ 1279678 w 1609516"/>
              <a:gd name="csY68" fmla="*/ 1082356 h 1538630"/>
              <a:gd name="csX69" fmla="*/ 1271680 w 1609516"/>
              <a:gd name="csY69" fmla="*/ 1084589 h 1538630"/>
              <a:gd name="csX70" fmla="*/ 1282181 w 1609516"/>
              <a:gd name="csY70" fmla="*/ 1082544 h 1538630"/>
              <a:gd name="csX71" fmla="*/ 117703 w 1609516"/>
              <a:gd name="csY71" fmla="*/ 941507 h 1538630"/>
              <a:gd name="csX72" fmla="*/ 112587 w 1609516"/>
              <a:gd name="csY72" fmla="*/ 941985 h 1538630"/>
              <a:gd name="csX73" fmla="*/ 112565 w 1609516"/>
              <a:gd name="csY73" fmla="*/ 942333 h 1538630"/>
              <a:gd name="csX74" fmla="*/ 115665 w 1609516"/>
              <a:gd name="csY74" fmla="*/ 941837 h 1538630"/>
              <a:gd name="csX75" fmla="*/ 144268 w 1609516"/>
              <a:gd name="csY75" fmla="*/ 939395 h 1538630"/>
              <a:gd name="csX76" fmla="*/ 143354 w 1609516"/>
              <a:gd name="csY76" fmla="*/ 939580 h 1538630"/>
              <a:gd name="csX77" fmla="*/ 144077 w 1609516"/>
              <a:gd name="csY77" fmla="*/ 939739 h 1538630"/>
              <a:gd name="csX78" fmla="*/ 162575 w 1609516"/>
              <a:gd name="csY78" fmla="*/ 933530 h 1538630"/>
              <a:gd name="csX79" fmla="*/ 161704 w 1609516"/>
              <a:gd name="csY79" fmla="*/ 935101 h 1538630"/>
              <a:gd name="csX80" fmla="*/ 170045 w 1609516"/>
              <a:gd name="csY80" fmla="*/ 933585 h 1538630"/>
              <a:gd name="csX81" fmla="*/ 1321645 w 1609516"/>
              <a:gd name="csY81" fmla="*/ 918415 h 1538630"/>
              <a:gd name="csX82" fmla="*/ 1321534 w 1609516"/>
              <a:gd name="csY82" fmla="*/ 920177 h 1538630"/>
              <a:gd name="csX83" fmla="*/ 1321740 w 1609516"/>
              <a:gd name="csY83" fmla="*/ 918415 h 1538630"/>
              <a:gd name="csX84" fmla="*/ 1319333 w 1609516"/>
              <a:gd name="csY84" fmla="*/ 915183 h 1538630"/>
              <a:gd name="csX85" fmla="*/ 1318544 w 1609516"/>
              <a:gd name="csY85" fmla="*/ 918029 h 1538630"/>
              <a:gd name="csX86" fmla="*/ 1318702 w 1609516"/>
              <a:gd name="csY86" fmla="*/ 918029 h 1538630"/>
              <a:gd name="csX87" fmla="*/ 1326355 w 1609516"/>
              <a:gd name="csY87" fmla="*/ 907109 h 1538630"/>
              <a:gd name="csX88" fmla="*/ 1326355 w 1609516"/>
              <a:gd name="csY88" fmla="*/ 910983 h 1538630"/>
              <a:gd name="csX89" fmla="*/ 1325831 w 1609516"/>
              <a:gd name="csY89" fmla="*/ 911101 h 1538630"/>
              <a:gd name="csX90" fmla="*/ 1326426 w 1609516"/>
              <a:gd name="csY90" fmla="*/ 911369 h 1538630"/>
              <a:gd name="csX91" fmla="*/ 1326426 w 1609516"/>
              <a:gd name="csY91" fmla="*/ 907141 h 1538630"/>
              <a:gd name="csX92" fmla="*/ 1328144 w 1609516"/>
              <a:gd name="csY92" fmla="*/ 892192 h 1538630"/>
              <a:gd name="csX93" fmla="*/ 1327667 w 1609516"/>
              <a:gd name="csY93" fmla="*/ 893446 h 1538630"/>
              <a:gd name="csX94" fmla="*/ 1327989 w 1609516"/>
              <a:gd name="csY94" fmla="*/ 893049 h 1538630"/>
              <a:gd name="csX95" fmla="*/ 49605 w 1609516"/>
              <a:gd name="csY95" fmla="*/ 887420 h 1538630"/>
              <a:gd name="csX96" fmla="*/ 48549 w 1609516"/>
              <a:gd name="csY96" fmla="*/ 891229 h 1538630"/>
              <a:gd name="csX97" fmla="*/ 49956 w 1609516"/>
              <a:gd name="csY97" fmla="*/ 887420 h 1538630"/>
              <a:gd name="csX98" fmla="*/ 1332266 w 1609516"/>
              <a:gd name="csY98" fmla="*/ 883369 h 1538630"/>
              <a:gd name="csX99" fmla="*/ 1329479 w 1609516"/>
              <a:gd name="csY99" fmla="*/ 884207 h 1538630"/>
              <a:gd name="csX100" fmla="*/ 1329509 w 1609516"/>
              <a:gd name="csY100" fmla="*/ 884816 h 1538630"/>
              <a:gd name="csX101" fmla="*/ 1329551 w 1609516"/>
              <a:gd name="csY101" fmla="*/ 884594 h 1538630"/>
              <a:gd name="csX102" fmla="*/ 1555987 w 1609516"/>
              <a:gd name="csY102" fmla="*/ 821766 h 1538630"/>
              <a:gd name="csX103" fmla="*/ 1555987 w 1609516"/>
              <a:gd name="csY103" fmla="*/ 822201 h 1538630"/>
              <a:gd name="csX104" fmla="*/ 1556081 w 1609516"/>
              <a:gd name="csY104" fmla="*/ 822189 h 1538630"/>
              <a:gd name="csX105" fmla="*/ 1565360 w 1609516"/>
              <a:gd name="csY105" fmla="*/ 810928 h 1538630"/>
              <a:gd name="csX106" fmla="*/ 1564871 w 1609516"/>
              <a:gd name="csY106" fmla="*/ 811809 h 1538630"/>
              <a:gd name="csX107" fmla="*/ 1567314 w 1609516"/>
              <a:gd name="csY107" fmla="*/ 810928 h 1538630"/>
              <a:gd name="csX108" fmla="*/ 1563797 w 1609516"/>
              <a:gd name="csY108" fmla="*/ 810928 h 1538630"/>
              <a:gd name="csX109" fmla="*/ 1556762 w 1609516"/>
              <a:gd name="csY109" fmla="*/ 814736 h 1538630"/>
              <a:gd name="csX110" fmla="*/ 1563797 w 1609516"/>
              <a:gd name="csY110" fmla="*/ 812197 h 1538630"/>
              <a:gd name="csX111" fmla="*/ 265833 w 1609516"/>
              <a:gd name="csY111" fmla="*/ 806020 h 1538630"/>
              <a:gd name="csX112" fmla="*/ 263704 w 1609516"/>
              <a:gd name="csY112" fmla="*/ 809861 h 1538630"/>
              <a:gd name="csX113" fmla="*/ 263704 w 1609516"/>
              <a:gd name="csY113" fmla="*/ 816750 h 1538630"/>
              <a:gd name="csX114" fmla="*/ 264113 w 1609516"/>
              <a:gd name="csY114" fmla="*/ 816565 h 1538630"/>
              <a:gd name="csX115" fmla="*/ 263918 w 1609516"/>
              <a:gd name="csY115" fmla="*/ 812777 h 1538630"/>
              <a:gd name="csX116" fmla="*/ 263774 w 1609516"/>
              <a:gd name="csY116" fmla="*/ 779374 h 1538630"/>
              <a:gd name="csX117" fmla="*/ 263704 w 1609516"/>
              <a:gd name="csY117" fmla="*/ 783086 h 1538630"/>
              <a:gd name="csX118" fmla="*/ 264484 w 1609516"/>
              <a:gd name="csY118" fmla="*/ 785816 h 1538630"/>
              <a:gd name="csX119" fmla="*/ 265265 w 1609516"/>
              <a:gd name="csY119" fmla="*/ 794448 h 1538630"/>
              <a:gd name="csX120" fmla="*/ 265217 w 1609516"/>
              <a:gd name="csY120" fmla="*/ 799730 h 1538630"/>
              <a:gd name="csX121" fmla="*/ 266556 w 1609516"/>
              <a:gd name="csY121" fmla="*/ 803466 h 1538630"/>
              <a:gd name="csX122" fmla="*/ 267237 w 1609516"/>
              <a:gd name="csY122" fmla="*/ 801063 h 1538630"/>
              <a:gd name="csX123" fmla="*/ 265675 w 1609516"/>
              <a:gd name="csY123" fmla="*/ 799654 h 1538630"/>
              <a:gd name="csX124" fmla="*/ 265675 w 1609516"/>
              <a:gd name="csY124" fmla="*/ 793841 h 1538630"/>
              <a:gd name="csX125" fmla="*/ 260988 w 1609516"/>
              <a:gd name="csY125" fmla="*/ 770061 h 1538630"/>
              <a:gd name="csX126" fmla="*/ 260988 w 1609516"/>
              <a:gd name="csY126" fmla="*/ 771364 h 1538630"/>
              <a:gd name="csX127" fmla="*/ 263497 w 1609516"/>
              <a:gd name="csY127" fmla="*/ 777263 h 1538630"/>
              <a:gd name="csX128" fmla="*/ 262551 w 1609516"/>
              <a:gd name="csY128" fmla="*/ 770061 h 1538630"/>
              <a:gd name="csX129" fmla="*/ 260988 w 1609516"/>
              <a:gd name="csY129" fmla="*/ 770061 h 1538630"/>
              <a:gd name="csX130" fmla="*/ 157888 w 1609516"/>
              <a:gd name="csY130" fmla="*/ 651686 h 1538630"/>
              <a:gd name="csX131" fmla="*/ 157415 w 1609516"/>
              <a:gd name="csY131" fmla="*/ 651764 h 1538630"/>
              <a:gd name="csX132" fmla="*/ 160373 w 1609516"/>
              <a:gd name="csY132" fmla="*/ 652274 h 1538630"/>
              <a:gd name="csX133" fmla="*/ 267237 w 1609516"/>
              <a:gd name="csY133" fmla="*/ 426537 h 1538630"/>
              <a:gd name="csX134" fmla="*/ 267237 w 1609516"/>
              <a:gd name="csY134" fmla="*/ 427619 h 1538630"/>
              <a:gd name="csX135" fmla="*/ 270380 w 1609516"/>
              <a:gd name="csY135" fmla="*/ 428137 h 1538630"/>
              <a:gd name="csX136" fmla="*/ 273548 w 1609516"/>
              <a:gd name="csY136" fmla="*/ 428680 h 1538630"/>
              <a:gd name="csX137" fmla="*/ 37605 w 1609516"/>
              <a:gd name="csY137" fmla="*/ 359270 h 1538630"/>
              <a:gd name="csX138" fmla="*/ 37103 w 1609516"/>
              <a:gd name="csY138" fmla="*/ 361533 h 1538630"/>
              <a:gd name="csX139" fmla="*/ 37605 w 1609516"/>
              <a:gd name="csY139" fmla="*/ 361382 h 1538630"/>
              <a:gd name="csX140" fmla="*/ 52477 w 1609516"/>
              <a:gd name="csY140" fmla="*/ 337570 h 1538630"/>
              <a:gd name="csX141" fmla="*/ 47288 w 1609516"/>
              <a:gd name="csY141" fmla="*/ 342340 h 1538630"/>
              <a:gd name="csX142" fmla="*/ 45805 w 1609516"/>
              <a:gd name="csY142" fmla="*/ 345093 h 1538630"/>
              <a:gd name="csX143" fmla="*/ 104291 w 1609516"/>
              <a:gd name="csY143" fmla="*/ 336166 h 1538630"/>
              <a:gd name="csX144" fmla="*/ 103776 w 1609516"/>
              <a:gd name="csY144" fmla="*/ 337559 h 1538630"/>
              <a:gd name="csX145" fmla="*/ 108925 w 1609516"/>
              <a:gd name="csY145" fmla="*/ 336166 h 1538630"/>
              <a:gd name="csX146" fmla="*/ 1309237 w 1609516"/>
              <a:gd name="csY146" fmla="*/ 322954 h 1538630"/>
              <a:gd name="csX147" fmla="*/ 1309180 w 1609516"/>
              <a:gd name="csY147" fmla="*/ 330559 h 1538630"/>
              <a:gd name="csX148" fmla="*/ 1309237 w 1609516"/>
              <a:gd name="csY148" fmla="*/ 330520 h 1538630"/>
              <a:gd name="csX149" fmla="*/ 1308964 w 1609516"/>
              <a:gd name="csY149" fmla="*/ 317715 h 1538630"/>
              <a:gd name="csX150" fmla="*/ 1309237 w 1609516"/>
              <a:gd name="csY150" fmla="*/ 318569 h 1538630"/>
              <a:gd name="csX151" fmla="*/ 1309237 w 1609516"/>
              <a:gd name="csY151" fmla="*/ 317838 h 1538630"/>
              <a:gd name="csX152" fmla="*/ 1310087 w 1609516"/>
              <a:gd name="csY152" fmla="*/ 313153 h 1538630"/>
              <a:gd name="csX153" fmla="*/ 1307609 w 1609516"/>
              <a:gd name="csY153" fmla="*/ 313473 h 1538630"/>
              <a:gd name="csX154" fmla="*/ 1308045 w 1609516"/>
              <a:gd name="csY154" fmla="*/ 314836 h 1538630"/>
              <a:gd name="csX155" fmla="*/ 1318544 w 1609516"/>
              <a:gd name="csY155" fmla="*/ 312064 h 1538630"/>
              <a:gd name="csX156" fmla="*/ 1316298 w 1609516"/>
              <a:gd name="csY156" fmla="*/ 312353 h 1538630"/>
              <a:gd name="csX157" fmla="*/ 1318544 w 1609516"/>
              <a:gd name="csY157" fmla="*/ 312205 h 1538630"/>
              <a:gd name="csX158" fmla="*/ 1084622 w 1609516"/>
              <a:gd name="csY158" fmla="*/ 267674 h 1538630"/>
              <a:gd name="csX159" fmla="*/ 1084227 w 1609516"/>
              <a:gd name="csY159" fmla="*/ 268378 h 1538630"/>
              <a:gd name="csX160" fmla="*/ 1079540 w 1609516"/>
              <a:gd name="csY160" fmla="*/ 268378 h 1538630"/>
              <a:gd name="csX161" fmla="*/ 1079603 w 1609516"/>
              <a:gd name="csY161" fmla="*/ 268477 h 1538630"/>
              <a:gd name="csX162" fmla="*/ 1084192 w 1609516"/>
              <a:gd name="csY162" fmla="*/ 268477 h 1538630"/>
              <a:gd name="csX163" fmla="*/ 956410 w 1609516"/>
              <a:gd name="csY163" fmla="*/ 266968 h 1538630"/>
              <a:gd name="csX164" fmla="*/ 957576 w 1609516"/>
              <a:gd name="csY164" fmla="*/ 267083 h 1538630"/>
              <a:gd name="csX165" fmla="*/ 957576 w 1609516"/>
              <a:gd name="csY165" fmla="*/ 269776 h 1538630"/>
              <a:gd name="csX166" fmla="*/ 957694 w 1609516"/>
              <a:gd name="csY166" fmla="*/ 269787 h 1538630"/>
              <a:gd name="csX167" fmla="*/ 957694 w 1609516"/>
              <a:gd name="csY167" fmla="*/ 266968 h 1538630"/>
              <a:gd name="csX168" fmla="*/ 1089372 w 1609516"/>
              <a:gd name="csY168" fmla="*/ 259220 h 1538630"/>
              <a:gd name="csX169" fmla="*/ 1085856 w 1609516"/>
              <a:gd name="csY169" fmla="*/ 265479 h 1538630"/>
              <a:gd name="csX170" fmla="*/ 1088878 w 1609516"/>
              <a:gd name="csY170" fmla="*/ 261431 h 1538630"/>
              <a:gd name="csX171" fmla="*/ 1018517 w 1609516"/>
              <a:gd name="csY171" fmla="*/ 223356 h 1538630"/>
              <a:gd name="csX172" fmla="*/ 1013866 w 1609516"/>
              <a:gd name="csY172" fmla="*/ 226190 h 1538630"/>
              <a:gd name="csX173" fmla="*/ 1013024 w 1609516"/>
              <a:gd name="csY173" fmla="*/ 227709 h 1538630"/>
              <a:gd name="csX174" fmla="*/ 1017055 w 1609516"/>
              <a:gd name="csY174" fmla="*/ 224692 h 1538630"/>
              <a:gd name="csX175" fmla="*/ 850645 w 1609516"/>
              <a:gd name="csY175" fmla="*/ 220099 h 1538630"/>
              <a:gd name="csX176" fmla="*/ 850897 w 1609516"/>
              <a:gd name="csY176" fmla="*/ 221488 h 1538630"/>
              <a:gd name="csX177" fmla="*/ 851470 w 1609516"/>
              <a:gd name="csY177" fmla="*/ 224692 h 1538630"/>
              <a:gd name="csX178" fmla="*/ 852860 w 1609516"/>
              <a:gd name="csY178" fmla="*/ 224692 h 1538630"/>
              <a:gd name="csX179" fmla="*/ 1155019 w 1609516"/>
              <a:gd name="csY179" fmla="*/ 35 h 1538630"/>
              <a:gd name="csX180" fmla="*/ 1174829 w 1609516"/>
              <a:gd name="csY180" fmla="*/ 4853 h 1538630"/>
              <a:gd name="csX181" fmla="*/ 1179418 w 1609516"/>
              <a:gd name="csY181" fmla="*/ 5998 h 1538630"/>
              <a:gd name="csX182" fmla="*/ 1201385 w 1609516"/>
              <a:gd name="csY182" fmla="*/ 22997 h 1538630"/>
              <a:gd name="csX183" fmla="*/ 1201678 w 1609516"/>
              <a:gd name="csY183" fmla="*/ 62191 h 1538630"/>
              <a:gd name="csX184" fmla="*/ 1198261 w 1609516"/>
              <a:gd name="csY184" fmla="*/ 68268 h 1538630"/>
              <a:gd name="csX185" fmla="*/ 1195723 w 1609516"/>
              <a:gd name="csY185" fmla="*/ 72672 h 1538630"/>
              <a:gd name="csX186" fmla="*/ 1193575 w 1609516"/>
              <a:gd name="csY186" fmla="*/ 75314 h 1538630"/>
              <a:gd name="csX187" fmla="*/ 1190450 w 1609516"/>
              <a:gd name="csY187" fmla="*/ 75314 h 1538630"/>
              <a:gd name="csX188" fmla="*/ 1189474 w 1609516"/>
              <a:gd name="csY188" fmla="*/ 79366 h 1538630"/>
              <a:gd name="csX189" fmla="*/ 1182445 w 1609516"/>
              <a:gd name="csY189" fmla="*/ 85707 h 1538630"/>
              <a:gd name="csX190" fmla="*/ 1177953 w 1609516"/>
              <a:gd name="csY190" fmla="*/ 86588 h 1538630"/>
              <a:gd name="csX191" fmla="*/ 1177953 w 1609516"/>
              <a:gd name="csY191" fmla="*/ 89406 h 1538630"/>
              <a:gd name="csX192" fmla="*/ 1170045 w 1609516"/>
              <a:gd name="csY192" fmla="*/ 94251 h 1538630"/>
              <a:gd name="csX193" fmla="*/ 1143806 w 1609516"/>
              <a:gd name="csY193" fmla="*/ 132828 h 1538630"/>
              <a:gd name="csX194" fmla="*/ 1137338 w 1609516"/>
              <a:gd name="csY194" fmla="*/ 141548 h 1538630"/>
              <a:gd name="csX195" fmla="*/ 1133970 w 1609516"/>
              <a:gd name="csY195" fmla="*/ 149403 h 1538630"/>
              <a:gd name="csX196" fmla="*/ 1127965 w 1609516"/>
              <a:gd name="csY196" fmla="*/ 164095 h 1538630"/>
              <a:gd name="csX197" fmla="*/ 1124762 w 1609516"/>
              <a:gd name="csY197" fmla="*/ 171802 h 1538630"/>
              <a:gd name="csX198" fmla="*/ 1119359 w 1609516"/>
              <a:gd name="csY198" fmla="*/ 184798 h 1538630"/>
              <a:gd name="csX199" fmla="*/ 1111014 w 1609516"/>
              <a:gd name="csY199" fmla="*/ 204941 h 1538630"/>
              <a:gd name="csX200" fmla="*/ 1109729 w 1609516"/>
              <a:gd name="csY200" fmla="*/ 208059 h 1538630"/>
              <a:gd name="csX201" fmla="*/ 1106395 w 1609516"/>
              <a:gd name="csY201" fmla="*/ 216170 h 1538630"/>
              <a:gd name="csX202" fmla="*/ 1102147 w 1609516"/>
              <a:gd name="csY202" fmla="*/ 224810 h 1538630"/>
              <a:gd name="csX203" fmla="*/ 1098261 w 1609516"/>
              <a:gd name="csY203" fmla="*/ 227262 h 1538630"/>
              <a:gd name="csX204" fmla="*/ 1098367 w 1609516"/>
              <a:gd name="csY204" fmla="*/ 238475 h 1538630"/>
              <a:gd name="csX205" fmla="*/ 1097331 w 1609516"/>
              <a:gd name="csY205" fmla="*/ 242358 h 1538630"/>
              <a:gd name="csX206" fmla="*/ 1096201 w 1609516"/>
              <a:gd name="csY206" fmla="*/ 246458 h 1538630"/>
              <a:gd name="csX207" fmla="*/ 1089440 w 1609516"/>
              <a:gd name="csY207" fmla="*/ 279206 h 1538630"/>
              <a:gd name="csX208" fmla="*/ 1087316 w 1609516"/>
              <a:gd name="csY208" fmla="*/ 283978 h 1538630"/>
              <a:gd name="csX209" fmla="*/ 1086822 w 1609516"/>
              <a:gd name="csY209" fmla="*/ 291822 h 1538630"/>
              <a:gd name="csX210" fmla="*/ 1086623 w 1609516"/>
              <a:gd name="csY210" fmla="*/ 296625 h 1538630"/>
              <a:gd name="csX211" fmla="*/ 1086437 w 1609516"/>
              <a:gd name="csY211" fmla="*/ 301681 h 1538630"/>
              <a:gd name="csX212" fmla="*/ 1086233 w 1609516"/>
              <a:gd name="csY212" fmla="*/ 306754 h 1538630"/>
              <a:gd name="csX213" fmla="*/ 1086007 w 1609516"/>
              <a:gd name="csY213" fmla="*/ 312619 h 1538630"/>
              <a:gd name="csX214" fmla="*/ 1087470 w 1609516"/>
              <a:gd name="csY214" fmla="*/ 320554 h 1538630"/>
              <a:gd name="csX215" fmla="*/ 1098285 w 1609516"/>
              <a:gd name="csY215" fmla="*/ 334611 h 1538630"/>
              <a:gd name="csX216" fmla="*/ 1102607 w 1609516"/>
              <a:gd name="csY216" fmla="*/ 337679 h 1538630"/>
              <a:gd name="csX217" fmla="*/ 1106095 w 1609516"/>
              <a:gd name="csY217" fmla="*/ 340248 h 1538630"/>
              <a:gd name="csX218" fmla="*/ 1106095 w 1609516"/>
              <a:gd name="csY218" fmla="*/ 343066 h 1538630"/>
              <a:gd name="csX219" fmla="*/ 1109220 w 1609516"/>
              <a:gd name="csY219" fmla="*/ 343419 h 1538630"/>
              <a:gd name="csX220" fmla="*/ 1126403 w 1609516"/>
              <a:gd name="csY220" fmla="*/ 350112 h 1538630"/>
              <a:gd name="csX221" fmla="*/ 1131871 w 1609516"/>
              <a:gd name="csY221" fmla="*/ 352579 h 1538630"/>
              <a:gd name="csX222" fmla="*/ 1135776 w 1609516"/>
              <a:gd name="csY222" fmla="*/ 354340 h 1538630"/>
              <a:gd name="csX223" fmla="*/ 1135776 w 1609516"/>
              <a:gd name="csY223" fmla="*/ 357158 h 1538630"/>
              <a:gd name="csX224" fmla="*/ 1170143 w 1609516"/>
              <a:gd name="csY224" fmla="*/ 354340 h 1538630"/>
              <a:gd name="csX225" fmla="*/ 1174634 w 1609516"/>
              <a:gd name="csY225" fmla="*/ 352579 h 1538630"/>
              <a:gd name="csX226" fmla="*/ 1190890 w 1609516"/>
              <a:gd name="csY226" fmla="*/ 342907 h 1538630"/>
              <a:gd name="csX227" fmla="*/ 1204021 w 1609516"/>
              <a:gd name="csY227" fmla="*/ 335404 h 1538630"/>
              <a:gd name="csX228" fmla="*/ 1223255 w 1609516"/>
              <a:gd name="csY228" fmla="*/ 319110 h 1538630"/>
              <a:gd name="csX229" fmla="*/ 1226868 w 1609516"/>
              <a:gd name="csY229" fmla="*/ 315587 h 1538630"/>
              <a:gd name="csX230" fmla="*/ 1231859 w 1609516"/>
              <a:gd name="csY230" fmla="*/ 303559 h 1538630"/>
              <a:gd name="csX231" fmla="*/ 1234178 w 1609516"/>
              <a:gd name="csY231" fmla="*/ 298059 h 1538630"/>
              <a:gd name="csX232" fmla="*/ 1237314 w 1609516"/>
              <a:gd name="csY232" fmla="*/ 288195 h 1538630"/>
              <a:gd name="csX233" fmla="*/ 1249811 w 1609516"/>
              <a:gd name="csY233" fmla="*/ 265559 h 1538630"/>
              <a:gd name="csX234" fmla="*/ 1252935 w 1609516"/>
              <a:gd name="csY234" fmla="*/ 265559 h 1538630"/>
              <a:gd name="csX235" fmla="*/ 1252935 w 1609516"/>
              <a:gd name="csY235" fmla="*/ 262741 h 1538630"/>
              <a:gd name="csX236" fmla="*/ 1296675 w 1609516"/>
              <a:gd name="csY236" fmla="*/ 252876 h 1538630"/>
              <a:gd name="csX237" fmla="*/ 1307609 w 1609516"/>
              <a:gd name="csY237" fmla="*/ 255695 h 1538630"/>
              <a:gd name="csX238" fmla="*/ 1307609 w 1609516"/>
              <a:gd name="csY238" fmla="*/ 258513 h 1538630"/>
              <a:gd name="csX239" fmla="*/ 1311887 w 1609516"/>
              <a:gd name="csY239" fmla="*/ 258832 h 1538630"/>
              <a:gd name="csX240" fmla="*/ 1326715 w 1609516"/>
              <a:gd name="csY240" fmla="*/ 269969 h 1538630"/>
              <a:gd name="csX241" fmla="*/ 1334165 w 1609516"/>
              <a:gd name="csY241" fmla="*/ 307836 h 1538630"/>
              <a:gd name="csX242" fmla="*/ 1329479 w 1609516"/>
              <a:gd name="csY242" fmla="*/ 314882 h 1538630"/>
              <a:gd name="csX243" fmla="*/ 1323231 w 1609516"/>
              <a:gd name="csY243" fmla="*/ 314882 h 1538630"/>
              <a:gd name="csX244" fmla="*/ 1323231 w 1609516"/>
              <a:gd name="csY244" fmla="*/ 317700 h 1538630"/>
              <a:gd name="csX245" fmla="*/ 1322774 w 1609516"/>
              <a:gd name="csY245" fmla="*/ 317838 h 1538630"/>
              <a:gd name="csX246" fmla="*/ 1323295 w 1609516"/>
              <a:gd name="csY246" fmla="*/ 317838 h 1538630"/>
              <a:gd name="csX247" fmla="*/ 1323295 w 1609516"/>
              <a:gd name="csY247" fmla="*/ 315019 h 1538630"/>
              <a:gd name="csX248" fmla="*/ 1327982 w 1609516"/>
              <a:gd name="csY248" fmla="*/ 315019 h 1538630"/>
              <a:gd name="csX249" fmla="*/ 1317047 w 1609516"/>
              <a:gd name="csY249" fmla="*/ 327702 h 1538630"/>
              <a:gd name="csX250" fmla="*/ 1315484 w 1609516"/>
              <a:gd name="csY250" fmla="*/ 331930 h 1538630"/>
              <a:gd name="csX251" fmla="*/ 1309139 w 1609516"/>
              <a:gd name="csY251" fmla="*/ 333603 h 1538630"/>
              <a:gd name="csX252" fmla="*/ 1305666 w 1609516"/>
              <a:gd name="csY252" fmla="*/ 334280 h 1538630"/>
              <a:gd name="csX253" fmla="*/ 1302988 w 1609516"/>
              <a:gd name="csY253" fmla="*/ 334748 h 1538630"/>
              <a:gd name="csX254" fmla="*/ 1305905 w 1609516"/>
              <a:gd name="csY254" fmla="*/ 332775 h 1538630"/>
              <a:gd name="csX255" fmla="*/ 1304485 w 1609516"/>
              <a:gd name="csY255" fmla="*/ 333202 h 1538630"/>
              <a:gd name="csX256" fmla="*/ 1301459 w 1609516"/>
              <a:gd name="csY256" fmla="*/ 336108 h 1538630"/>
              <a:gd name="csX257" fmla="*/ 1291989 w 1609516"/>
              <a:gd name="csY257" fmla="*/ 338839 h 1538630"/>
              <a:gd name="csX258" fmla="*/ 1290426 w 1609516"/>
              <a:gd name="csY258" fmla="*/ 343066 h 1538630"/>
              <a:gd name="csX259" fmla="*/ 1285740 w 1609516"/>
              <a:gd name="csY259" fmla="*/ 344123 h 1538630"/>
              <a:gd name="csX260" fmla="*/ 1237314 w 1609516"/>
              <a:gd name="csY260" fmla="*/ 382525 h 1538630"/>
              <a:gd name="csX261" fmla="*/ 1232628 w 1609516"/>
              <a:gd name="csY261" fmla="*/ 392389 h 1538630"/>
              <a:gd name="csX262" fmla="*/ 1228625 w 1609516"/>
              <a:gd name="csY262" fmla="*/ 398731 h 1538630"/>
              <a:gd name="csX263" fmla="*/ 1222822 w 1609516"/>
              <a:gd name="csY263" fmla="*/ 434798 h 1538630"/>
              <a:gd name="csX264" fmla="*/ 1260746 w 1609516"/>
              <a:gd name="csY264" fmla="*/ 485398 h 1538630"/>
              <a:gd name="csX265" fmla="*/ 1268556 w 1609516"/>
              <a:gd name="csY265" fmla="*/ 488216 h 1538630"/>
              <a:gd name="csX266" fmla="*/ 1268556 w 1609516"/>
              <a:gd name="csY266" fmla="*/ 491034 h 1538630"/>
              <a:gd name="csX267" fmla="*/ 1338852 w 1609516"/>
              <a:gd name="csY267" fmla="*/ 489625 h 1538630"/>
              <a:gd name="csX268" fmla="*/ 1347444 w 1609516"/>
              <a:gd name="csY268" fmla="*/ 488480 h 1538630"/>
              <a:gd name="csX269" fmla="*/ 1369362 w 1609516"/>
              <a:gd name="csY269" fmla="*/ 482513 h 1538630"/>
              <a:gd name="csX270" fmla="*/ 1388840 w 1609516"/>
              <a:gd name="csY270" fmla="*/ 478351 h 1538630"/>
              <a:gd name="csX271" fmla="*/ 1388840 w 1609516"/>
              <a:gd name="csY271" fmla="*/ 475533 h 1538630"/>
              <a:gd name="csX272" fmla="*/ 1395576 w 1609516"/>
              <a:gd name="csY272" fmla="*/ 473419 h 1538630"/>
              <a:gd name="csX273" fmla="*/ 1399365 w 1609516"/>
              <a:gd name="csY273" fmla="*/ 472230 h 1538630"/>
              <a:gd name="csX274" fmla="*/ 1407585 w 1609516"/>
              <a:gd name="csY274" fmla="*/ 471305 h 1538630"/>
              <a:gd name="csX275" fmla="*/ 1409147 w 1609516"/>
              <a:gd name="csY275" fmla="*/ 467078 h 1538630"/>
              <a:gd name="csX276" fmla="*/ 1416470 w 1609516"/>
              <a:gd name="csY276" fmla="*/ 464259 h 1538630"/>
              <a:gd name="csX277" fmla="*/ 1437949 w 1609516"/>
              <a:gd name="csY277" fmla="*/ 455011 h 1538630"/>
              <a:gd name="csX278" fmla="*/ 1452887 w 1609516"/>
              <a:gd name="csY278" fmla="*/ 450167 h 1538630"/>
              <a:gd name="csX279" fmla="*/ 1452887 w 1609516"/>
              <a:gd name="csY279" fmla="*/ 447349 h 1538630"/>
              <a:gd name="csX280" fmla="*/ 1455394 w 1609516"/>
              <a:gd name="csY280" fmla="*/ 446122 h 1538630"/>
              <a:gd name="csX281" fmla="*/ 1466653 w 1609516"/>
              <a:gd name="csY281" fmla="*/ 440567 h 1538630"/>
              <a:gd name="csX282" fmla="*/ 1470598 w 1609516"/>
              <a:gd name="csY282" fmla="*/ 438637 h 1538630"/>
              <a:gd name="csX283" fmla="*/ 1474397 w 1609516"/>
              <a:gd name="csY283" fmla="*/ 436752 h 1538630"/>
              <a:gd name="csX284" fmla="*/ 1477892 w 1609516"/>
              <a:gd name="csY284" fmla="*/ 435030 h 1538630"/>
              <a:gd name="csX285" fmla="*/ 1485691 w 1609516"/>
              <a:gd name="csY285" fmla="*/ 429029 h 1538630"/>
              <a:gd name="csX286" fmla="*/ 1488858 w 1609516"/>
              <a:gd name="csY286" fmla="*/ 427653 h 1538630"/>
              <a:gd name="csX287" fmla="*/ 1495943 w 1609516"/>
              <a:gd name="csY287" fmla="*/ 421454 h 1538630"/>
              <a:gd name="csX288" fmla="*/ 1538608 w 1609516"/>
              <a:gd name="csY288" fmla="*/ 388338 h 1538630"/>
              <a:gd name="csX289" fmla="*/ 1543490 w 1609516"/>
              <a:gd name="csY289" fmla="*/ 388161 h 1538630"/>
              <a:gd name="csX290" fmla="*/ 1547621 w 1609516"/>
              <a:gd name="csY290" fmla="*/ 387804 h 1538630"/>
              <a:gd name="csX291" fmla="*/ 1579418 w 1609516"/>
              <a:gd name="csY291" fmla="*/ 396617 h 1538630"/>
              <a:gd name="csX292" fmla="*/ 1583342 w 1609516"/>
              <a:gd name="csY292" fmla="*/ 398780 h 1538630"/>
              <a:gd name="csX293" fmla="*/ 1601288 w 1609516"/>
              <a:gd name="csY293" fmla="*/ 423392 h 1538630"/>
              <a:gd name="csX294" fmla="*/ 1594484 w 1609516"/>
              <a:gd name="csY294" fmla="*/ 460159 h 1538630"/>
              <a:gd name="csX295" fmla="*/ 1574732 w 1609516"/>
              <a:gd name="csY295" fmla="*/ 475533 h 1538630"/>
              <a:gd name="csX296" fmla="*/ 1572097 w 1609516"/>
              <a:gd name="csY296" fmla="*/ 477078 h 1538630"/>
              <a:gd name="csX297" fmla="*/ 1556066 w 1609516"/>
              <a:gd name="csY297" fmla="*/ 478737 h 1538630"/>
              <a:gd name="csX298" fmla="*/ 1548631 w 1609516"/>
              <a:gd name="csY298" fmla="*/ 478825 h 1538630"/>
              <a:gd name="csX299" fmla="*/ 1536991 w 1609516"/>
              <a:gd name="csY299" fmla="*/ 478889 h 1538630"/>
              <a:gd name="csX300" fmla="*/ 1498188 w 1609516"/>
              <a:gd name="csY300" fmla="*/ 485398 h 1538630"/>
              <a:gd name="csX301" fmla="*/ 1493892 w 1609516"/>
              <a:gd name="csY301" fmla="*/ 487600 h 1538630"/>
              <a:gd name="csX302" fmla="*/ 1490377 w 1609516"/>
              <a:gd name="csY302" fmla="*/ 489625 h 1538630"/>
              <a:gd name="csX303" fmla="*/ 1471650 w 1609516"/>
              <a:gd name="csY303" fmla="*/ 498185 h 1538630"/>
              <a:gd name="csX304" fmla="*/ 1459135 w 1609516"/>
              <a:gd name="csY304" fmla="*/ 505127 h 1538630"/>
              <a:gd name="csX305" fmla="*/ 1452594 w 1609516"/>
              <a:gd name="csY305" fmla="*/ 508033 h 1538630"/>
              <a:gd name="csX306" fmla="*/ 1427795 w 1609516"/>
              <a:gd name="csY306" fmla="*/ 520100 h 1538630"/>
              <a:gd name="csX307" fmla="*/ 1423733 w 1609516"/>
              <a:gd name="csY307" fmla="*/ 522148 h 1538630"/>
              <a:gd name="csX308" fmla="*/ 1419929 w 1609516"/>
              <a:gd name="csY308" fmla="*/ 524118 h 1538630"/>
              <a:gd name="csX309" fmla="*/ 1416487 w 1609516"/>
              <a:gd name="csY309" fmla="*/ 525883 h 1538630"/>
              <a:gd name="csX310" fmla="*/ 1412271 w 1609516"/>
              <a:gd name="csY310" fmla="*/ 531902 h 1538630"/>
              <a:gd name="csX311" fmla="*/ 1396650 w 1609516"/>
              <a:gd name="csY311" fmla="*/ 537539 h 1538630"/>
              <a:gd name="csX312" fmla="*/ 1396650 w 1609516"/>
              <a:gd name="csY312" fmla="*/ 540357 h 1538630"/>
              <a:gd name="csX313" fmla="*/ 1393495 w 1609516"/>
              <a:gd name="csY313" fmla="*/ 541502 h 1538630"/>
              <a:gd name="csX314" fmla="*/ 1362284 w 1609516"/>
              <a:gd name="csY314" fmla="*/ 558678 h 1538630"/>
              <a:gd name="csX315" fmla="*/ 1355937 w 1609516"/>
              <a:gd name="csY315" fmla="*/ 562905 h 1538630"/>
              <a:gd name="csX316" fmla="*/ 1334165 w 1609516"/>
              <a:gd name="csY316" fmla="*/ 578406 h 1538630"/>
              <a:gd name="csX317" fmla="*/ 1331200 w 1609516"/>
              <a:gd name="csY317" fmla="*/ 580559 h 1538630"/>
              <a:gd name="csX318" fmla="*/ 1322175 w 1609516"/>
              <a:gd name="csY318" fmla="*/ 596793 h 1538630"/>
              <a:gd name="csX319" fmla="*/ 1320106 w 1609516"/>
              <a:gd name="csY319" fmla="*/ 602363 h 1538630"/>
              <a:gd name="csX320" fmla="*/ 1328015 w 1609516"/>
              <a:gd name="csY320" fmla="*/ 647640 h 1538630"/>
              <a:gd name="csX321" fmla="*/ 1332604 w 1609516"/>
              <a:gd name="csY321" fmla="*/ 675643 h 1538630"/>
              <a:gd name="csX322" fmla="*/ 1335727 w 1609516"/>
              <a:gd name="csY322" fmla="*/ 675643 h 1538630"/>
              <a:gd name="csX323" fmla="*/ 1337741 w 1609516"/>
              <a:gd name="csY323" fmla="*/ 690059 h 1538630"/>
              <a:gd name="csX324" fmla="*/ 1338003 w 1609516"/>
              <a:gd name="csY324" fmla="*/ 696222 h 1538630"/>
              <a:gd name="csX325" fmla="*/ 1338340 w 1609516"/>
              <a:gd name="csY325" fmla="*/ 705887 h 1538630"/>
              <a:gd name="csX326" fmla="*/ 1345277 w 1609516"/>
              <a:gd name="csY326" fmla="*/ 733245 h 1538630"/>
              <a:gd name="csX327" fmla="*/ 1363162 w 1609516"/>
              <a:gd name="csY327" fmla="*/ 741612 h 1538630"/>
              <a:gd name="csX328" fmla="*/ 1384154 w 1609516"/>
              <a:gd name="csY328" fmla="*/ 748922 h 1538630"/>
              <a:gd name="csX329" fmla="*/ 1391476 w 1609516"/>
              <a:gd name="csY329" fmla="*/ 750419 h 1538630"/>
              <a:gd name="csX330" fmla="*/ 1395564 w 1609516"/>
              <a:gd name="csY330" fmla="*/ 751080 h 1538630"/>
              <a:gd name="csX331" fmla="*/ 1399775 w 1609516"/>
              <a:gd name="csY331" fmla="*/ 751740 h 1538630"/>
              <a:gd name="csX332" fmla="*/ 1403887 w 1609516"/>
              <a:gd name="csY332" fmla="*/ 752489 h 1538630"/>
              <a:gd name="csX333" fmla="*/ 1465383 w 1609516"/>
              <a:gd name="csY333" fmla="*/ 755969 h 1538630"/>
              <a:gd name="csX334" fmla="*/ 1470339 w 1609516"/>
              <a:gd name="csY334" fmla="*/ 755897 h 1538630"/>
              <a:gd name="csX335" fmla="*/ 1496809 w 1609516"/>
              <a:gd name="csY335" fmla="*/ 749313 h 1538630"/>
              <a:gd name="csX336" fmla="*/ 1515371 w 1609516"/>
              <a:gd name="csY336" fmla="*/ 743285 h 1538630"/>
              <a:gd name="csX337" fmla="*/ 1515371 w 1609516"/>
              <a:gd name="csY337" fmla="*/ 740467 h 1538630"/>
              <a:gd name="csX338" fmla="*/ 1537632 w 1609516"/>
              <a:gd name="csY338" fmla="*/ 737120 h 1538630"/>
              <a:gd name="csX339" fmla="*/ 1541657 w 1609516"/>
              <a:gd name="csY339" fmla="*/ 737127 h 1538630"/>
              <a:gd name="csX340" fmla="*/ 1574732 w 1609516"/>
              <a:gd name="csY340" fmla="*/ 748922 h 1538630"/>
              <a:gd name="csX341" fmla="*/ 1588791 w 1609516"/>
              <a:gd name="csY341" fmla="*/ 792608 h 1538630"/>
              <a:gd name="csX342" fmla="*/ 1584105 w 1609516"/>
              <a:gd name="csY342" fmla="*/ 805291 h 1538630"/>
              <a:gd name="csX343" fmla="*/ 1580981 w 1609516"/>
              <a:gd name="csY343" fmla="*/ 806700 h 1538630"/>
              <a:gd name="csX344" fmla="*/ 1578735 w 1609516"/>
              <a:gd name="csY344" fmla="*/ 810311 h 1538630"/>
              <a:gd name="csX345" fmla="*/ 1576295 w 1609516"/>
              <a:gd name="csY345" fmla="*/ 813746 h 1538630"/>
              <a:gd name="csX346" fmla="*/ 1571652 w 1609516"/>
              <a:gd name="csY346" fmla="*/ 813746 h 1538630"/>
              <a:gd name="csX347" fmla="*/ 1571785 w 1609516"/>
              <a:gd name="csY347" fmla="*/ 814106 h 1538630"/>
              <a:gd name="csX348" fmla="*/ 1574909 w 1609516"/>
              <a:gd name="csY348" fmla="*/ 815515 h 1538630"/>
              <a:gd name="csX349" fmla="*/ 1565463 w 1609516"/>
              <a:gd name="csY349" fmla="*/ 821839 h 1538630"/>
              <a:gd name="csX350" fmla="*/ 1562085 w 1609516"/>
              <a:gd name="csY350" fmla="*/ 822101 h 1538630"/>
              <a:gd name="csX351" fmla="*/ 1551301 w 1609516"/>
              <a:gd name="csY351" fmla="*/ 825020 h 1538630"/>
              <a:gd name="csX352" fmla="*/ 1551301 w 1609516"/>
              <a:gd name="csY352" fmla="*/ 827838 h 1538630"/>
              <a:gd name="csX353" fmla="*/ 1485380 w 1609516"/>
              <a:gd name="csY353" fmla="*/ 815007 h 1538630"/>
              <a:gd name="csX354" fmla="*/ 1431603 w 1609516"/>
              <a:gd name="csY354" fmla="*/ 808726 h 1538630"/>
              <a:gd name="csX355" fmla="*/ 1424140 w 1609516"/>
              <a:gd name="csY355" fmla="*/ 808542 h 1538630"/>
              <a:gd name="csX356" fmla="*/ 1406023 w 1609516"/>
              <a:gd name="csY356" fmla="*/ 808109 h 1538630"/>
              <a:gd name="csX357" fmla="*/ 1406023 w 1609516"/>
              <a:gd name="csY357" fmla="*/ 810928 h 1538630"/>
              <a:gd name="csX358" fmla="*/ 1403383 w 1609516"/>
              <a:gd name="csY358" fmla="*/ 811311 h 1538630"/>
              <a:gd name="csX359" fmla="*/ 1345442 w 1609516"/>
              <a:gd name="csY359" fmla="*/ 828907 h 1538630"/>
              <a:gd name="csX360" fmla="*/ 1337875 w 1609516"/>
              <a:gd name="csY360" fmla="*/ 856639 h 1538630"/>
              <a:gd name="csX361" fmla="*/ 1337692 w 1609516"/>
              <a:gd name="csY361" fmla="*/ 860171 h 1538630"/>
              <a:gd name="csX362" fmla="*/ 1337290 w 1609516"/>
              <a:gd name="csY362" fmla="*/ 868706 h 1538630"/>
              <a:gd name="csX363" fmla="*/ 1334165 w 1609516"/>
              <a:gd name="csY363" fmla="*/ 868706 h 1538630"/>
              <a:gd name="csX364" fmla="*/ 1334165 w 1609516"/>
              <a:gd name="csY364" fmla="*/ 870034 h 1538630"/>
              <a:gd name="csX365" fmla="*/ 1334237 w 1609516"/>
              <a:gd name="csY365" fmla="*/ 869093 h 1538630"/>
              <a:gd name="csX366" fmla="*/ 1335800 w 1609516"/>
              <a:gd name="csY366" fmla="*/ 869093 h 1538630"/>
              <a:gd name="csX367" fmla="*/ 1335995 w 1609516"/>
              <a:gd name="csY367" fmla="*/ 876491 h 1538630"/>
              <a:gd name="csX368" fmla="*/ 1336105 w 1609516"/>
              <a:gd name="csY368" fmla="*/ 880653 h 1538630"/>
              <a:gd name="csX369" fmla="*/ 1334294 w 1609516"/>
              <a:gd name="csY369" fmla="*/ 887271 h 1538630"/>
              <a:gd name="csX370" fmla="*/ 1331455 w 1609516"/>
              <a:gd name="csY370" fmla="*/ 896440 h 1538630"/>
              <a:gd name="csX371" fmla="*/ 1330887 w 1609516"/>
              <a:gd name="csY371" fmla="*/ 899969 h 1538630"/>
              <a:gd name="csX372" fmla="*/ 1330332 w 1609516"/>
              <a:gd name="csY372" fmla="*/ 903618 h 1538630"/>
              <a:gd name="csX373" fmla="*/ 1329209 w 1609516"/>
              <a:gd name="csY373" fmla="*/ 910797 h 1538630"/>
              <a:gd name="csX374" fmla="*/ 1328724 w 1609516"/>
              <a:gd name="csY374" fmla="*/ 913998 h 1538630"/>
              <a:gd name="csX375" fmla="*/ 1324865 w 1609516"/>
              <a:gd name="csY375" fmla="*/ 922643 h 1538630"/>
              <a:gd name="csX376" fmla="*/ 1322619 w 1609516"/>
              <a:gd name="csY376" fmla="*/ 937979 h 1538630"/>
              <a:gd name="csX377" fmla="*/ 1318744 w 1609516"/>
              <a:gd name="csY377" fmla="*/ 944961 h 1538630"/>
              <a:gd name="csX378" fmla="*/ 1318544 w 1609516"/>
              <a:gd name="csY378" fmla="*/ 946213 h 1538630"/>
              <a:gd name="csX379" fmla="*/ 1318251 w 1609516"/>
              <a:gd name="csY379" fmla="*/ 955285 h 1538630"/>
              <a:gd name="csX380" fmla="*/ 1318184 w 1609516"/>
              <a:gd name="csY380" fmla="*/ 960036 h 1538630"/>
              <a:gd name="csX381" fmla="*/ 1324024 w 1609516"/>
              <a:gd name="csY381" fmla="*/ 973660 h 1538630"/>
              <a:gd name="csX382" fmla="*/ 1329284 w 1609516"/>
              <a:gd name="csY382" fmla="*/ 983382 h 1538630"/>
              <a:gd name="csX383" fmla="*/ 1340414 w 1609516"/>
              <a:gd name="csY383" fmla="*/ 998354 h 1538630"/>
              <a:gd name="csX384" fmla="*/ 1346272 w 1609516"/>
              <a:gd name="csY384" fmla="*/ 1005048 h 1538630"/>
              <a:gd name="csX385" fmla="*/ 1394716 w 1609516"/>
              <a:gd name="csY385" fmla="*/ 1042740 h 1538630"/>
              <a:gd name="csX386" fmla="*/ 1401953 w 1609516"/>
              <a:gd name="csY386" fmla="*/ 1047374 h 1538630"/>
              <a:gd name="csX387" fmla="*/ 1427197 w 1609516"/>
              <a:gd name="csY387" fmla="*/ 1059061 h 1538630"/>
              <a:gd name="csX388" fmla="*/ 1437265 w 1609516"/>
              <a:gd name="csY388" fmla="*/ 1064588 h 1538630"/>
              <a:gd name="csX389" fmla="*/ 1437265 w 1609516"/>
              <a:gd name="csY389" fmla="*/ 1067406 h 1538630"/>
              <a:gd name="csX390" fmla="*/ 1440878 w 1609516"/>
              <a:gd name="csY390" fmla="*/ 1067847 h 1538630"/>
              <a:gd name="csX391" fmla="*/ 1447175 w 1609516"/>
              <a:gd name="csY391" fmla="*/ 1070753 h 1538630"/>
              <a:gd name="csX392" fmla="*/ 1457866 w 1609516"/>
              <a:gd name="csY392" fmla="*/ 1076830 h 1538630"/>
              <a:gd name="csX393" fmla="*/ 1462132 w 1609516"/>
              <a:gd name="csY393" fmla="*/ 1078696 h 1538630"/>
              <a:gd name="csX394" fmla="*/ 1465383 w 1609516"/>
              <a:gd name="csY394" fmla="*/ 1080089 h 1538630"/>
              <a:gd name="csX395" fmla="*/ 1465383 w 1609516"/>
              <a:gd name="csY395" fmla="*/ 1082908 h 1538630"/>
              <a:gd name="csX396" fmla="*/ 1468758 w 1609516"/>
              <a:gd name="csY396" fmla="*/ 1083975 h 1538630"/>
              <a:gd name="csX397" fmla="*/ 1481688 w 1609516"/>
              <a:gd name="csY397" fmla="*/ 1091187 h 1538630"/>
              <a:gd name="csX398" fmla="*/ 1486283 w 1609516"/>
              <a:gd name="csY398" fmla="*/ 1094236 h 1538630"/>
              <a:gd name="csX399" fmla="*/ 1494869 w 1609516"/>
              <a:gd name="csY399" fmla="*/ 1100171 h 1538630"/>
              <a:gd name="csX400" fmla="*/ 1544335 w 1609516"/>
              <a:gd name="csY400" fmla="*/ 1109518 h 1538630"/>
              <a:gd name="csX401" fmla="*/ 1593477 w 1609516"/>
              <a:gd name="csY401" fmla="*/ 1119900 h 1538630"/>
              <a:gd name="csX402" fmla="*/ 1605975 w 1609516"/>
              <a:gd name="csY402" fmla="*/ 1144913 h 1538630"/>
              <a:gd name="csX403" fmla="*/ 1609099 w 1609516"/>
              <a:gd name="csY403" fmla="*/ 1144913 h 1538630"/>
              <a:gd name="csX404" fmla="*/ 1609392 w 1609516"/>
              <a:gd name="csY404" fmla="*/ 1156892 h 1538630"/>
              <a:gd name="csX405" fmla="*/ 1609511 w 1609516"/>
              <a:gd name="csY405" fmla="*/ 1160272 h 1538630"/>
              <a:gd name="csX406" fmla="*/ 1604412 w 1609516"/>
              <a:gd name="csY406" fmla="*/ 1181553 h 1538630"/>
              <a:gd name="csX407" fmla="*/ 1601288 w 1609516"/>
              <a:gd name="csY407" fmla="*/ 1190009 h 1538630"/>
              <a:gd name="csX408" fmla="*/ 1598164 w 1609516"/>
              <a:gd name="csY408" fmla="*/ 1190009 h 1538630"/>
              <a:gd name="csX409" fmla="*/ 1597187 w 1609516"/>
              <a:gd name="csY409" fmla="*/ 1192739 h 1538630"/>
              <a:gd name="csX410" fmla="*/ 1595040 w 1609516"/>
              <a:gd name="csY410" fmla="*/ 1195645 h 1538630"/>
              <a:gd name="csX411" fmla="*/ 1585667 w 1609516"/>
              <a:gd name="csY411" fmla="*/ 1197055 h 1538630"/>
              <a:gd name="csX412" fmla="*/ 1582543 w 1609516"/>
              <a:gd name="csY412" fmla="*/ 1202691 h 1538630"/>
              <a:gd name="csX413" fmla="*/ 1562431 w 1609516"/>
              <a:gd name="csY413" fmla="*/ 1204365 h 1538630"/>
              <a:gd name="csX414" fmla="*/ 1558690 w 1609516"/>
              <a:gd name="csY414" fmla="*/ 1204417 h 1538630"/>
              <a:gd name="csX415" fmla="*/ 1521102 w 1609516"/>
              <a:gd name="csY415" fmla="*/ 1189585 h 1538630"/>
              <a:gd name="csX416" fmla="*/ 1505022 w 1609516"/>
              <a:gd name="csY416" fmla="*/ 1172041 h 1538630"/>
              <a:gd name="csX417" fmla="*/ 1457573 w 1609516"/>
              <a:gd name="csY417" fmla="*/ 1140686 h 1538630"/>
              <a:gd name="csX418" fmla="*/ 1457573 w 1609516"/>
              <a:gd name="csY418" fmla="*/ 1137867 h 1538630"/>
              <a:gd name="csX419" fmla="*/ 1452985 w 1609516"/>
              <a:gd name="csY419" fmla="*/ 1137339 h 1538630"/>
              <a:gd name="csX420" fmla="*/ 1448200 w 1609516"/>
              <a:gd name="csY420" fmla="*/ 1136458 h 1538630"/>
              <a:gd name="csX421" fmla="*/ 1446638 w 1609516"/>
              <a:gd name="csY421" fmla="*/ 1133640 h 1538630"/>
              <a:gd name="csX422" fmla="*/ 1438937 w 1609516"/>
              <a:gd name="csY422" fmla="*/ 1130601 h 1538630"/>
              <a:gd name="csX423" fmla="*/ 1429260 w 1609516"/>
              <a:gd name="csY423" fmla="*/ 1126770 h 1538630"/>
              <a:gd name="csX424" fmla="*/ 1411393 w 1609516"/>
              <a:gd name="csY424" fmla="*/ 1120340 h 1538630"/>
              <a:gd name="csX425" fmla="*/ 1391427 w 1609516"/>
              <a:gd name="csY425" fmla="*/ 1111191 h 1538630"/>
              <a:gd name="csX426" fmla="*/ 1381029 w 1609516"/>
              <a:gd name="csY426" fmla="*/ 1106865 h 1538630"/>
              <a:gd name="csX427" fmla="*/ 1381029 w 1609516"/>
              <a:gd name="csY427" fmla="*/ 1104046 h 1538630"/>
              <a:gd name="csX428" fmla="*/ 1377221 w 1609516"/>
              <a:gd name="csY428" fmla="*/ 1103605 h 1538630"/>
              <a:gd name="csX429" fmla="*/ 1357597 w 1609516"/>
              <a:gd name="csY429" fmla="*/ 1098409 h 1538630"/>
              <a:gd name="csX430" fmla="*/ 1352032 w 1609516"/>
              <a:gd name="csY430" fmla="*/ 1096736 h 1538630"/>
              <a:gd name="csX431" fmla="*/ 1348225 w 1609516"/>
              <a:gd name="csY431" fmla="*/ 1095590 h 1538630"/>
              <a:gd name="csX432" fmla="*/ 1348225 w 1609516"/>
              <a:gd name="csY432" fmla="*/ 1092772 h 1538630"/>
              <a:gd name="csX433" fmla="*/ 1337290 w 1609516"/>
              <a:gd name="csY433" fmla="*/ 1091363 h 1538630"/>
              <a:gd name="csX434" fmla="*/ 1337290 w 1609516"/>
              <a:gd name="csY434" fmla="*/ 1088544 h 1538630"/>
              <a:gd name="csX435" fmla="*/ 1331529 w 1609516"/>
              <a:gd name="csY435" fmla="*/ 1088104 h 1538630"/>
              <a:gd name="csX436" fmla="*/ 1323297 w 1609516"/>
              <a:gd name="csY436" fmla="*/ 1086611 h 1538630"/>
              <a:gd name="csX437" fmla="*/ 1323297 w 1609516"/>
              <a:gd name="csY437" fmla="*/ 1087618 h 1538630"/>
              <a:gd name="csX438" fmla="*/ 1319789 w 1609516"/>
              <a:gd name="csY438" fmla="*/ 1087310 h 1538630"/>
              <a:gd name="csX439" fmla="*/ 1262375 w 1609516"/>
              <a:gd name="csY439" fmla="*/ 1089028 h 1538630"/>
              <a:gd name="csX440" fmla="*/ 1258728 w 1609516"/>
              <a:gd name="csY440" fmla="*/ 1088205 h 1538630"/>
              <a:gd name="csX441" fmla="*/ 1246964 w 1609516"/>
              <a:gd name="csY441" fmla="*/ 1091489 h 1538630"/>
              <a:gd name="csX442" fmla="*/ 1223224 w 1609516"/>
              <a:gd name="csY442" fmla="*/ 1112865 h 1538630"/>
              <a:gd name="csX443" fmla="*/ 1213883 w 1609516"/>
              <a:gd name="csY443" fmla="*/ 1122366 h 1538630"/>
              <a:gd name="csX444" fmla="*/ 1212505 w 1609516"/>
              <a:gd name="csY444" fmla="*/ 1125708 h 1538630"/>
              <a:gd name="csX445" fmla="*/ 1204180 w 1609516"/>
              <a:gd name="csY445" fmla="*/ 1135561 h 1538630"/>
              <a:gd name="csX446" fmla="*/ 1200238 w 1609516"/>
              <a:gd name="csY446" fmla="*/ 1138999 h 1538630"/>
              <a:gd name="csX447" fmla="*/ 1192025 w 1609516"/>
              <a:gd name="csY447" fmla="*/ 1146022 h 1538630"/>
              <a:gd name="csX448" fmla="*/ 1173945 w 1609516"/>
              <a:gd name="csY448" fmla="*/ 1174749 h 1538630"/>
              <a:gd name="csX449" fmla="*/ 1173950 w 1609516"/>
              <a:gd name="csY449" fmla="*/ 1182610 h 1538630"/>
              <a:gd name="csX450" fmla="*/ 1173989 w 1609516"/>
              <a:gd name="csY450" fmla="*/ 1186765 h 1538630"/>
              <a:gd name="csX451" fmla="*/ 1182640 w 1609516"/>
              <a:gd name="csY451" fmla="*/ 1215374 h 1538630"/>
              <a:gd name="csX452" fmla="*/ 1185764 w 1609516"/>
              <a:gd name="csY452" fmla="*/ 1221804 h 1538630"/>
              <a:gd name="csX453" fmla="*/ 1187301 w 1609516"/>
              <a:gd name="csY453" fmla="*/ 1224859 h 1538630"/>
              <a:gd name="csX454" fmla="*/ 1190573 w 1609516"/>
              <a:gd name="csY454" fmla="*/ 1231740 h 1538630"/>
              <a:gd name="csX455" fmla="*/ 1205925 w 1609516"/>
              <a:gd name="csY455" fmla="*/ 1255163 h 1538630"/>
              <a:gd name="csX456" fmla="*/ 1212174 w 1609516"/>
              <a:gd name="csY456" fmla="*/ 1263134 h 1538630"/>
              <a:gd name="csX457" fmla="*/ 1235556 w 1609516"/>
              <a:gd name="csY457" fmla="*/ 1282538 h 1538630"/>
              <a:gd name="csX458" fmla="*/ 1238876 w 1609516"/>
              <a:gd name="csY458" fmla="*/ 1284426 h 1538630"/>
              <a:gd name="csX459" fmla="*/ 1238876 w 1609516"/>
              <a:gd name="csY459" fmla="*/ 1287245 h 1538630"/>
              <a:gd name="csX460" fmla="*/ 1242245 w 1609516"/>
              <a:gd name="csY460" fmla="*/ 1287663 h 1538630"/>
              <a:gd name="csX461" fmla="*/ 1271681 w 1609516"/>
              <a:gd name="csY461" fmla="*/ 1305565 h 1538630"/>
              <a:gd name="csX462" fmla="*/ 1271742 w 1609516"/>
              <a:gd name="csY462" fmla="*/ 1306172 h 1538630"/>
              <a:gd name="csX463" fmla="*/ 1278525 w 1609516"/>
              <a:gd name="csY463" fmla="*/ 1315767 h 1538630"/>
              <a:gd name="csX464" fmla="*/ 1281097 w 1609516"/>
              <a:gd name="csY464" fmla="*/ 1327286 h 1538630"/>
              <a:gd name="csX465" fmla="*/ 1277973 w 1609516"/>
              <a:gd name="csY465" fmla="*/ 1355470 h 1538630"/>
              <a:gd name="csX466" fmla="*/ 1277460 w 1609516"/>
              <a:gd name="csY466" fmla="*/ 1347025 h 1538630"/>
              <a:gd name="csX467" fmla="*/ 1273531 w 1609516"/>
              <a:gd name="csY467" fmla="*/ 1357991 h 1538630"/>
              <a:gd name="csX468" fmla="*/ 1263870 w 1609516"/>
              <a:gd name="csY468" fmla="*/ 1368980 h 1538630"/>
              <a:gd name="csX469" fmla="*/ 1246686 w 1609516"/>
              <a:gd name="csY469" fmla="*/ 1376026 h 1538630"/>
              <a:gd name="csX470" fmla="*/ 1246686 w 1609516"/>
              <a:gd name="csY470" fmla="*/ 1378844 h 1538630"/>
              <a:gd name="csX471" fmla="*/ 1231651 w 1609516"/>
              <a:gd name="csY471" fmla="*/ 1379196 h 1538630"/>
              <a:gd name="csX472" fmla="*/ 1227373 w 1609516"/>
              <a:gd name="csY472" fmla="*/ 1379340 h 1538630"/>
              <a:gd name="csX473" fmla="*/ 1206071 w 1609516"/>
              <a:gd name="csY473" fmla="*/ 1373207 h 1538630"/>
              <a:gd name="csX474" fmla="*/ 1202069 w 1609516"/>
              <a:gd name="csY474" fmla="*/ 1371798 h 1538630"/>
              <a:gd name="csX475" fmla="*/ 1184104 w 1609516"/>
              <a:gd name="csY475" fmla="*/ 1356176 h 1538630"/>
              <a:gd name="csX476" fmla="*/ 1177270 w 1609516"/>
              <a:gd name="csY476" fmla="*/ 1335247 h 1538630"/>
              <a:gd name="csX477" fmla="*/ 1169002 w 1609516"/>
              <a:gd name="csY477" fmla="*/ 1313464 h 1538630"/>
              <a:gd name="csX478" fmla="*/ 1163504 w 1609516"/>
              <a:gd name="csY478" fmla="*/ 1302130 h 1538630"/>
              <a:gd name="csX479" fmla="*/ 1162015 w 1609516"/>
              <a:gd name="csY479" fmla="*/ 1298788 h 1538630"/>
              <a:gd name="csX480" fmla="*/ 1160111 w 1609516"/>
              <a:gd name="csY480" fmla="*/ 1292656 h 1538630"/>
              <a:gd name="csX481" fmla="*/ 1154522 w 1609516"/>
              <a:gd name="csY481" fmla="*/ 1287245 h 1538630"/>
              <a:gd name="csX482" fmla="*/ 1151398 w 1609516"/>
              <a:gd name="csY482" fmla="*/ 1280199 h 1538630"/>
              <a:gd name="csX483" fmla="*/ 1144173 w 1609516"/>
              <a:gd name="csY483" fmla="*/ 1270774 h 1538630"/>
              <a:gd name="csX484" fmla="*/ 1142065 w 1609516"/>
              <a:gd name="csY484" fmla="*/ 1268160 h 1538630"/>
              <a:gd name="csX485" fmla="*/ 1135776 w 1609516"/>
              <a:gd name="csY485" fmla="*/ 1260470 h 1538630"/>
              <a:gd name="csX486" fmla="*/ 1132353 w 1609516"/>
              <a:gd name="csY486" fmla="*/ 1256247 h 1538630"/>
              <a:gd name="csX487" fmla="*/ 1112344 w 1609516"/>
              <a:gd name="csY487" fmla="*/ 1240741 h 1538630"/>
              <a:gd name="csX488" fmla="*/ 1106193 w 1609516"/>
              <a:gd name="csY488" fmla="*/ 1237570 h 1538630"/>
              <a:gd name="csX489" fmla="*/ 1101409 w 1609516"/>
              <a:gd name="csY489" fmla="*/ 1235104 h 1538630"/>
              <a:gd name="csX490" fmla="*/ 1101409 w 1609516"/>
              <a:gd name="csY490" fmla="*/ 1230876 h 1538630"/>
              <a:gd name="csX491" fmla="*/ 1065480 w 1609516"/>
              <a:gd name="csY491" fmla="*/ 1230876 h 1538630"/>
              <a:gd name="csX492" fmla="*/ 1063919 w 1609516"/>
              <a:gd name="csY492" fmla="*/ 1235104 h 1538630"/>
              <a:gd name="csX493" fmla="*/ 1059232 w 1609516"/>
              <a:gd name="csY493" fmla="*/ 1235104 h 1538630"/>
              <a:gd name="csX494" fmla="*/ 1059232 w 1609516"/>
              <a:gd name="csY494" fmla="*/ 1237922 h 1538630"/>
              <a:gd name="csX495" fmla="*/ 1040194 w 1609516"/>
              <a:gd name="csY495" fmla="*/ 1245761 h 1538630"/>
              <a:gd name="csX496" fmla="*/ 1030333 w 1609516"/>
              <a:gd name="csY496" fmla="*/ 1249901 h 1538630"/>
              <a:gd name="csX497" fmla="*/ 1013931 w 1609516"/>
              <a:gd name="csY497" fmla="*/ 1256242 h 1538630"/>
              <a:gd name="csX498" fmla="*/ 1005925 w 1609516"/>
              <a:gd name="csY498" fmla="*/ 1261615 h 1538630"/>
              <a:gd name="csX499" fmla="*/ 1004558 w 1609516"/>
              <a:gd name="csY499" fmla="*/ 1264697 h 1538630"/>
              <a:gd name="csX500" fmla="*/ 1002959 w 1609516"/>
              <a:gd name="csY500" fmla="*/ 1267961 h 1538630"/>
              <a:gd name="csX501" fmla="*/ 1000653 w 1609516"/>
              <a:gd name="csY501" fmla="*/ 1278965 h 1538630"/>
              <a:gd name="csX502" fmla="*/ 998297 w 1609516"/>
              <a:gd name="csY502" fmla="*/ 1294137 h 1538630"/>
              <a:gd name="csX503" fmla="*/ 996162 w 1609516"/>
              <a:gd name="csY503" fmla="*/ 1324765 h 1538630"/>
              <a:gd name="csX504" fmla="*/ 996164 w 1609516"/>
              <a:gd name="csY504" fmla="*/ 1327846 h 1538630"/>
              <a:gd name="csX505" fmla="*/ 1007780 w 1609516"/>
              <a:gd name="csY505" fmla="*/ 1403329 h 1538630"/>
              <a:gd name="csX506" fmla="*/ 1008940 w 1609516"/>
              <a:gd name="csY506" fmla="*/ 1407701 h 1538630"/>
              <a:gd name="csX507" fmla="*/ 1010080 w 1609516"/>
              <a:gd name="csY507" fmla="*/ 1411730 h 1538630"/>
              <a:gd name="csX508" fmla="*/ 1011075 w 1609516"/>
              <a:gd name="csY508" fmla="*/ 1415277 h 1538630"/>
              <a:gd name="csX509" fmla="*/ 1017055 w 1609516"/>
              <a:gd name="csY509" fmla="*/ 1422530 h 1538630"/>
              <a:gd name="csX510" fmla="*/ 1020277 w 1609516"/>
              <a:gd name="csY510" fmla="*/ 1427991 h 1538630"/>
              <a:gd name="csX511" fmla="*/ 1021796 w 1609516"/>
              <a:gd name="csY511" fmla="*/ 1430798 h 1538630"/>
              <a:gd name="csX512" fmla="*/ 1024579 w 1609516"/>
              <a:gd name="csY512" fmla="*/ 1437239 h 1538630"/>
              <a:gd name="csX513" fmla="*/ 1034043 w 1609516"/>
              <a:gd name="csY513" fmla="*/ 1448072 h 1538630"/>
              <a:gd name="csX514" fmla="*/ 1043782 w 1609516"/>
              <a:gd name="csY514" fmla="*/ 1464320 h 1538630"/>
              <a:gd name="csX515" fmla="*/ 1050458 w 1609516"/>
              <a:gd name="csY515" fmla="*/ 1472189 h 1538630"/>
              <a:gd name="csX516" fmla="*/ 1052926 w 1609516"/>
              <a:gd name="csY516" fmla="*/ 1482370 h 1538630"/>
              <a:gd name="csX517" fmla="*/ 1053316 w 1609516"/>
              <a:gd name="csY517" fmla="*/ 1496903 h 1538630"/>
              <a:gd name="csX518" fmla="*/ 1053352 w 1609516"/>
              <a:gd name="csY518" fmla="*/ 1500660 h 1538630"/>
              <a:gd name="csX519" fmla="*/ 1053341 w 1609516"/>
              <a:gd name="csY519" fmla="*/ 1504285 h 1538630"/>
              <a:gd name="csX520" fmla="*/ 1053329 w 1609516"/>
              <a:gd name="csY520" fmla="*/ 1507529 h 1538630"/>
              <a:gd name="csX521" fmla="*/ 1049801 w 1609516"/>
              <a:gd name="csY521" fmla="*/ 1516192 h 1538630"/>
              <a:gd name="csX522" fmla="*/ 1047312 w 1609516"/>
              <a:gd name="csY522" fmla="*/ 1516192 h 1538630"/>
              <a:gd name="csX523" fmla="*/ 1043611 w 1609516"/>
              <a:gd name="csY523" fmla="*/ 1522585 h 1538630"/>
              <a:gd name="csX524" fmla="*/ 1029552 w 1609516"/>
              <a:gd name="csY524" fmla="*/ 1529631 h 1538630"/>
              <a:gd name="csX525" fmla="*/ 1028771 w 1609516"/>
              <a:gd name="csY525" fmla="*/ 1532273 h 1538630"/>
              <a:gd name="csX526" fmla="*/ 1018013 w 1609516"/>
              <a:gd name="csY526" fmla="*/ 1537640 h 1538630"/>
              <a:gd name="csX527" fmla="*/ 981126 w 1609516"/>
              <a:gd name="csY527" fmla="*/ 1533859 h 1538630"/>
              <a:gd name="csX528" fmla="*/ 977227 w 1609516"/>
              <a:gd name="csY528" fmla="*/ 1531943 h 1538630"/>
              <a:gd name="csX529" fmla="*/ 955376 w 1609516"/>
              <a:gd name="csY529" fmla="*/ 1508751 h 1538630"/>
              <a:gd name="csX530" fmla="*/ 954571 w 1609516"/>
              <a:gd name="csY530" fmla="*/ 1500037 h 1538630"/>
              <a:gd name="csX531" fmla="*/ 951446 w 1609516"/>
              <a:gd name="csY531" fmla="*/ 1500037 h 1538630"/>
              <a:gd name="csX532" fmla="*/ 951251 w 1609516"/>
              <a:gd name="csY532" fmla="*/ 1487883 h 1538630"/>
              <a:gd name="csX533" fmla="*/ 951171 w 1609516"/>
              <a:gd name="csY533" fmla="*/ 1484431 h 1538630"/>
              <a:gd name="csX534" fmla="*/ 954571 w 1609516"/>
              <a:gd name="csY534" fmla="*/ 1466216 h 1538630"/>
              <a:gd name="csX535" fmla="*/ 954961 w 1609516"/>
              <a:gd name="csY535" fmla="*/ 1455118 h 1538630"/>
              <a:gd name="csX536" fmla="*/ 954932 w 1609516"/>
              <a:gd name="csY536" fmla="*/ 1451972 h 1538630"/>
              <a:gd name="csX537" fmla="*/ 945099 w 1609516"/>
              <a:gd name="csY537" fmla="*/ 1403594 h 1538630"/>
              <a:gd name="csX538" fmla="*/ 942366 w 1609516"/>
              <a:gd name="csY538" fmla="*/ 1393553 h 1538630"/>
              <a:gd name="csX539" fmla="*/ 934451 w 1609516"/>
              <a:gd name="csY539" fmla="*/ 1372734 h 1538630"/>
              <a:gd name="csX540" fmla="*/ 931974 w 1609516"/>
              <a:gd name="csY540" fmla="*/ 1365754 h 1538630"/>
              <a:gd name="csX541" fmla="*/ 931138 w 1609516"/>
              <a:gd name="csY541" fmla="*/ 1363343 h 1538630"/>
              <a:gd name="csX542" fmla="*/ 926452 w 1609516"/>
              <a:gd name="csY542" fmla="*/ 1361933 h 1538630"/>
              <a:gd name="csX543" fmla="*/ 918641 w 1609516"/>
              <a:gd name="csY543" fmla="*/ 1340795 h 1538630"/>
              <a:gd name="csX544" fmla="*/ 917079 w 1609516"/>
              <a:gd name="csY544" fmla="*/ 1335158 h 1538630"/>
              <a:gd name="csX545" fmla="*/ 913955 w 1609516"/>
              <a:gd name="csY545" fmla="*/ 1335158 h 1538630"/>
              <a:gd name="csX546" fmla="*/ 912057 w 1609516"/>
              <a:gd name="csY546" fmla="*/ 1330793 h 1538630"/>
              <a:gd name="csX547" fmla="*/ 902142 w 1609516"/>
              <a:gd name="csY547" fmla="*/ 1316222 h 1538630"/>
              <a:gd name="csX548" fmla="*/ 900091 w 1609516"/>
              <a:gd name="csY548" fmla="*/ 1313828 h 1538630"/>
              <a:gd name="csX549" fmla="*/ 878026 w 1609516"/>
              <a:gd name="csY549" fmla="*/ 1295700 h 1538630"/>
              <a:gd name="csX550" fmla="*/ 875134 w 1609516"/>
              <a:gd name="csY550" fmla="*/ 1293465 h 1538630"/>
              <a:gd name="csX551" fmla="*/ 869869 w 1609516"/>
              <a:gd name="csY551" fmla="*/ 1291826 h 1538630"/>
              <a:gd name="csX552" fmla="*/ 862384 w 1609516"/>
              <a:gd name="csY552" fmla="*/ 1291327 h 1538630"/>
              <a:gd name="csX553" fmla="*/ 844390 w 1609516"/>
              <a:gd name="csY553" fmla="*/ 1290461 h 1538630"/>
              <a:gd name="csX554" fmla="*/ 840476 w 1609516"/>
              <a:gd name="csY554" fmla="*/ 1290500 h 1538630"/>
              <a:gd name="csX555" fmla="*/ 831015 w 1609516"/>
              <a:gd name="csY555" fmla="*/ 1290637 h 1538630"/>
              <a:gd name="csX556" fmla="*/ 831015 w 1609516"/>
              <a:gd name="csY556" fmla="*/ 1293456 h 1538630"/>
              <a:gd name="csX557" fmla="*/ 818225 w 1609516"/>
              <a:gd name="csY557" fmla="*/ 1295570 h 1538630"/>
              <a:gd name="csX558" fmla="*/ 796774 w 1609516"/>
              <a:gd name="csY558" fmla="*/ 1297671 h 1538630"/>
              <a:gd name="csX559" fmla="*/ 783646 w 1609516"/>
              <a:gd name="csY559" fmla="*/ 1305736 h 1538630"/>
              <a:gd name="csX560" fmla="*/ 769263 w 1609516"/>
              <a:gd name="csY560" fmla="*/ 1327143 h 1538630"/>
              <a:gd name="csX561" fmla="*/ 764797 w 1609516"/>
              <a:gd name="csY561" fmla="*/ 1334360 h 1538630"/>
              <a:gd name="csX562" fmla="*/ 757875 w 1609516"/>
              <a:gd name="csY562" fmla="*/ 1353503 h 1538630"/>
              <a:gd name="csX563" fmla="*/ 755676 w 1609516"/>
              <a:gd name="csY563" fmla="*/ 1367455 h 1538630"/>
              <a:gd name="csX564" fmla="*/ 750558 w 1609516"/>
              <a:gd name="csY564" fmla="*/ 1399690 h 1538630"/>
              <a:gd name="csX565" fmla="*/ 753057 w 1609516"/>
              <a:gd name="csY565" fmla="*/ 1411256 h 1538630"/>
              <a:gd name="csX566" fmla="*/ 753057 w 1609516"/>
              <a:gd name="csY566" fmla="*/ 1416893 h 1538630"/>
              <a:gd name="csX567" fmla="*/ 756181 w 1609516"/>
              <a:gd name="csY567" fmla="*/ 1416893 h 1538630"/>
              <a:gd name="csX568" fmla="*/ 758133 w 1609516"/>
              <a:gd name="csY568" fmla="*/ 1436182 h 1538630"/>
              <a:gd name="csX569" fmla="*/ 758231 w 1609516"/>
              <a:gd name="csY569" fmla="*/ 1440781 h 1538630"/>
              <a:gd name="csX570" fmla="*/ 750713 w 1609516"/>
              <a:gd name="csY570" fmla="*/ 1465704 h 1538630"/>
              <a:gd name="csX571" fmla="*/ 748370 w 1609516"/>
              <a:gd name="csY571" fmla="*/ 1467185 h 1538630"/>
              <a:gd name="csX572" fmla="*/ 741633 w 1609516"/>
              <a:gd name="csY572" fmla="*/ 1473526 h 1538630"/>
              <a:gd name="csX573" fmla="*/ 728154 w 1609516"/>
              <a:gd name="csY573" fmla="*/ 1478343 h 1538630"/>
              <a:gd name="csX574" fmla="*/ 721814 w 1609516"/>
              <a:gd name="csY574" fmla="*/ 1480308 h 1538630"/>
              <a:gd name="csX575" fmla="*/ 708341 w 1609516"/>
              <a:gd name="csY575" fmla="*/ 1480661 h 1538630"/>
              <a:gd name="csX576" fmla="*/ 704637 w 1609516"/>
              <a:gd name="csY576" fmla="*/ 1480748 h 1538630"/>
              <a:gd name="csX577" fmla="*/ 668507 w 1609516"/>
              <a:gd name="csY577" fmla="*/ 1468418 h 1538630"/>
              <a:gd name="csX578" fmla="*/ 660178 w 1609516"/>
              <a:gd name="csY578" fmla="*/ 1450027 h 1538630"/>
              <a:gd name="csX579" fmla="*/ 657767 w 1609516"/>
              <a:gd name="csY579" fmla="*/ 1445078 h 1538630"/>
              <a:gd name="csX580" fmla="*/ 663369 w 1609516"/>
              <a:gd name="csY580" fmla="*/ 1409390 h 1538630"/>
              <a:gd name="csX581" fmla="*/ 671826 w 1609516"/>
              <a:gd name="csY581" fmla="*/ 1401392 h 1538630"/>
              <a:gd name="csX582" fmla="*/ 678075 w 1609516"/>
              <a:gd name="csY582" fmla="*/ 1390118 h 1538630"/>
              <a:gd name="csX583" fmla="*/ 684323 w 1609516"/>
              <a:gd name="csY583" fmla="*/ 1388709 h 1538630"/>
              <a:gd name="csX584" fmla="*/ 685293 w 1609516"/>
              <a:gd name="csY584" fmla="*/ 1384233 h 1538630"/>
              <a:gd name="csX585" fmla="*/ 686569 w 1609516"/>
              <a:gd name="csY585" fmla="*/ 1378404 h 1538630"/>
              <a:gd name="csX586" fmla="*/ 687207 w 1609516"/>
              <a:gd name="csY586" fmla="*/ 1375456 h 1538630"/>
              <a:gd name="csX587" fmla="*/ 690572 w 1609516"/>
              <a:gd name="csY587" fmla="*/ 1363343 h 1538630"/>
              <a:gd name="csX588" fmla="*/ 692495 w 1609516"/>
              <a:gd name="csY588" fmla="*/ 1323376 h 1538630"/>
              <a:gd name="csX589" fmla="*/ 692625 w 1609516"/>
              <a:gd name="csY589" fmla="*/ 1315006 h 1538630"/>
              <a:gd name="csX590" fmla="*/ 687447 w 1609516"/>
              <a:gd name="csY590" fmla="*/ 1287245 h 1538630"/>
              <a:gd name="csX591" fmla="*/ 682761 w 1609516"/>
              <a:gd name="csY591" fmla="*/ 1285835 h 1538630"/>
              <a:gd name="csX592" fmla="*/ 678954 w 1609516"/>
              <a:gd name="csY592" fmla="*/ 1281608 h 1538630"/>
              <a:gd name="csX593" fmla="*/ 668702 w 1609516"/>
              <a:gd name="csY593" fmla="*/ 1275971 h 1538630"/>
              <a:gd name="csX594" fmla="*/ 662454 w 1609516"/>
              <a:gd name="csY594" fmla="*/ 1270334 h 1538630"/>
              <a:gd name="csX595" fmla="*/ 654643 w 1609516"/>
              <a:gd name="csY595" fmla="*/ 1267516 h 1538630"/>
              <a:gd name="csX596" fmla="*/ 654643 w 1609516"/>
              <a:gd name="csY596" fmla="*/ 1264697 h 1538630"/>
              <a:gd name="csX597" fmla="*/ 650152 w 1609516"/>
              <a:gd name="csY597" fmla="*/ 1264345 h 1538630"/>
              <a:gd name="csX598" fmla="*/ 628087 w 1609516"/>
              <a:gd name="csY598" fmla="*/ 1257651 h 1538630"/>
              <a:gd name="csX599" fmla="*/ 628087 w 1609516"/>
              <a:gd name="csY599" fmla="*/ 1254833 h 1538630"/>
              <a:gd name="csX600" fmla="*/ 625121 w 1609516"/>
              <a:gd name="csY600" fmla="*/ 1254315 h 1538630"/>
              <a:gd name="csX601" fmla="*/ 621252 w 1609516"/>
              <a:gd name="csY601" fmla="*/ 1253600 h 1538630"/>
              <a:gd name="csX602" fmla="*/ 617409 w 1609516"/>
              <a:gd name="csY602" fmla="*/ 1252906 h 1538630"/>
              <a:gd name="csX603" fmla="*/ 610904 w 1609516"/>
              <a:gd name="csY603" fmla="*/ 1249196 h 1538630"/>
              <a:gd name="csX604" fmla="*/ 565739 w 1609516"/>
              <a:gd name="csY604" fmla="*/ 1271742 h 1538630"/>
              <a:gd name="csX605" fmla="*/ 546924 w 1609516"/>
              <a:gd name="csY605" fmla="*/ 1290829 h 1538630"/>
              <a:gd name="csX606" fmla="*/ 543635 w 1609516"/>
              <a:gd name="csY606" fmla="*/ 1294643 h 1538630"/>
              <a:gd name="csX607" fmla="*/ 540651 w 1609516"/>
              <a:gd name="csY607" fmla="*/ 1298188 h 1538630"/>
              <a:gd name="csX608" fmla="*/ 529673 w 1609516"/>
              <a:gd name="csY608" fmla="*/ 1305565 h 1538630"/>
              <a:gd name="csX609" fmla="*/ 526549 w 1609516"/>
              <a:gd name="csY609" fmla="*/ 1311202 h 1538630"/>
              <a:gd name="csX610" fmla="*/ 523425 w 1609516"/>
              <a:gd name="csY610" fmla="*/ 1311202 h 1538630"/>
              <a:gd name="csX611" fmla="*/ 523230 w 1609516"/>
              <a:gd name="csY611" fmla="*/ 1313580 h 1538630"/>
              <a:gd name="csX612" fmla="*/ 517732 w 1609516"/>
              <a:gd name="csY612" fmla="*/ 1319739 h 1538630"/>
              <a:gd name="csX613" fmla="*/ 502239 w 1609516"/>
              <a:gd name="csY613" fmla="*/ 1337096 h 1538630"/>
              <a:gd name="csX614" fmla="*/ 497058 w 1609516"/>
              <a:gd name="csY614" fmla="*/ 1344087 h 1538630"/>
              <a:gd name="csX615" fmla="*/ 494572 w 1609516"/>
              <a:gd name="csY615" fmla="*/ 1347465 h 1538630"/>
              <a:gd name="csX616" fmla="*/ 487776 w 1609516"/>
              <a:gd name="csY616" fmla="*/ 1356181 h 1538630"/>
              <a:gd name="csX617" fmla="*/ 481248 w 1609516"/>
              <a:gd name="csY617" fmla="*/ 1367571 h 1538630"/>
              <a:gd name="csX618" fmla="*/ 478123 w 1609516"/>
              <a:gd name="csY618" fmla="*/ 1367571 h 1538630"/>
              <a:gd name="csX619" fmla="*/ 477635 w 1609516"/>
              <a:gd name="csY619" fmla="*/ 1370565 h 1538630"/>
              <a:gd name="csX620" fmla="*/ 465626 w 1609516"/>
              <a:gd name="csY620" fmla="*/ 1388709 h 1538630"/>
              <a:gd name="csX621" fmla="*/ 461233 w 1609516"/>
              <a:gd name="csY621" fmla="*/ 1397340 h 1538630"/>
              <a:gd name="csX622" fmla="*/ 455765 w 1609516"/>
              <a:gd name="csY622" fmla="*/ 1408086 h 1538630"/>
              <a:gd name="csX623" fmla="*/ 439070 w 1609516"/>
              <a:gd name="csY623" fmla="*/ 1477490 h 1538630"/>
              <a:gd name="csX624" fmla="*/ 434384 w 1609516"/>
              <a:gd name="csY624" fmla="*/ 1478899 h 1538630"/>
              <a:gd name="csX625" fmla="*/ 432431 w 1609516"/>
              <a:gd name="csY625" fmla="*/ 1481982 h 1538630"/>
              <a:gd name="csX626" fmla="*/ 418763 w 1609516"/>
              <a:gd name="csY626" fmla="*/ 1494401 h 1538630"/>
              <a:gd name="csX627" fmla="*/ 415639 w 1609516"/>
              <a:gd name="csY627" fmla="*/ 1494401 h 1538630"/>
              <a:gd name="csX628" fmla="*/ 415639 w 1609516"/>
              <a:gd name="csY628" fmla="*/ 1497219 h 1538630"/>
              <a:gd name="csX629" fmla="*/ 406265 w 1609516"/>
              <a:gd name="csY629" fmla="*/ 1498628 h 1538630"/>
              <a:gd name="csX630" fmla="*/ 406265 w 1609516"/>
              <a:gd name="csY630" fmla="*/ 1501447 h 1538630"/>
              <a:gd name="csX631" fmla="*/ 375023 w 1609516"/>
              <a:gd name="csY631" fmla="*/ 1501447 h 1538630"/>
              <a:gd name="csX632" fmla="*/ 375023 w 1609516"/>
              <a:gd name="csY632" fmla="*/ 1499438 h 1538630"/>
              <a:gd name="csX633" fmla="*/ 374964 w 1609516"/>
              <a:gd name="csY633" fmla="*/ 1499436 h 1538630"/>
              <a:gd name="csX634" fmla="*/ 373179 w 1609516"/>
              <a:gd name="csY634" fmla="*/ 1498628 h 1538630"/>
              <a:gd name="csX635" fmla="*/ 365650 w 1609516"/>
              <a:gd name="csY635" fmla="*/ 1498628 h 1538630"/>
              <a:gd name="csX636" fmla="*/ 363134 w 1609516"/>
              <a:gd name="csY636" fmla="*/ 1494087 h 1538630"/>
              <a:gd name="csX637" fmla="*/ 362171 w 1609516"/>
              <a:gd name="csY637" fmla="*/ 1493651 h 1538630"/>
              <a:gd name="csX638" fmla="*/ 360609 w 1609516"/>
              <a:gd name="csY638" fmla="*/ 1490833 h 1538630"/>
              <a:gd name="csX639" fmla="*/ 363733 w 1609516"/>
              <a:gd name="csY639" fmla="*/ 1490833 h 1538630"/>
              <a:gd name="csX640" fmla="*/ 363733 w 1609516"/>
              <a:gd name="csY640" fmla="*/ 1489980 h 1538630"/>
              <a:gd name="csX641" fmla="*/ 348467 w 1609516"/>
              <a:gd name="csY641" fmla="*/ 1481717 h 1538630"/>
              <a:gd name="csX642" fmla="*/ 343872 w 1609516"/>
              <a:gd name="csY642" fmla="*/ 1461078 h 1538630"/>
              <a:gd name="csX643" fmla="*/ 343656 w 1609516"/>
              <a:gd name="csY643" fmla="*/ 1463649 h 1538630"/>
              <a:gd name="csX644" fmla="*/ 343424 w 1609516"/>
              <a:gd name="csY644" fmla="*/ 1466842 h 1538630"/>
              <a:gd name="csX645" fmla="*/ 341861 w 1609516"/>
              <a:gd name="csY645" fmla="*/ 1466842 h 1538630"/>
              <a:gd name="csX646" fmla="*/ 354143 w 1609516"/>
              <a:gd name="csY646" fmla="*/ 1420549 h 1538630"/>
              <a:gd name="csX647" fmla="*/ 376229 w 1609516"/>
              <a:gd name="csY647" fmla="*/ 1403427 h 1538630"/>
              <a:gd name="csX648" fmla="*/ 379491 w 1609516"/>
              <a:gd name="csY648" fmla="*/ 1404408 h 1538630"/>
              <a:gd name="csX649" fmla="*/ 379710 w 1609516"/>
              <a:gd name="csY649" fmla="*/ 1404210 h 1538630"/>
              <a:gd name="csX650" fmla="*/ 380882 w 1609516"/>
              <a:gd name="csY650" fmla="*/ 1401568 h 1538630"/>
              <a:gd name="csX651" fmla="*/ 392207 w 1609516"/>
              <a:gd name="csY651" fmla="*/ 1392936 h 1538630"/>
              <a:gd name="csX652" fmla="*/ 399542 w 1609516"/>
              <a:gd name="csY652" fmla="*/ 1386774 h 1538630"/>
              <a:gd name="csX653" fmla="*/ 405485 w 1609516"/>
              <a:gd name="csY653" fmla="*/ 1378917 h 1538630"/>
              <a:gd name="csX654" fmla="*/ 412008 w 1609516"/>
              <a:gd name="csY654" fmla="*/ 1369481 h 1538630"/>
              <a:gd name="csX655" fmla="*/ 421130 w 1609516"/>
              <a:gd name="csY655" fmla="*/ 1357057 h 1538630"/>
              <a:gd name="csX656" fmla="*/ 424676 w 1609516"/>
              <a:gd name="csY656" fmla="*/ 1348443 h 1538630"/>
              <a:gd name="csX657" fmla="*/ 427275 w 1609516"/>
              <a:gd name="csY657" fmla="*/ 1348443 h 1538630"/>
              <a:gd name="csX658" fmla="*/ 428135 w 1609516"/>
              <a:gd name="csY658" fmla="*/ 1345727 h 1538630"/>
              <a:gd name="csX659" fmla="*/ 432822 w 1609516"/>
              <a:gd name="csY659" fmla="*/ 1335158 h 1538630"/>
              <a:gd name="csX660" fmla="*/ 435946 w 1609516"/>
              <a:gd name="csY660" fmla="*/ 1335158 h 1538630"/>
              <a:gd name="csX661" fmla="*/ 437704 w 1609516"/>
              <a:gd name="csY661" fmla="*/ 1329786 h 1538630"/>
              <a:gd name="csX662" fmla="*/ 447394 w 1609516"/>
              <a:gd name="csY662" fmla="*/ 1311196 h 1538630"/>
              <a:gd name="csX663" fmla="*/ 469287 w 1609516"/>
              <a:gd name="csY663" fmla="*/ 1265964 h 1538630"/>
              <a:gd name="csX664" fmla="*/ 478178 w 1609516"/>
              <a:gd name="csY664" fmla="*/ 1246787 h 1538630"/>
              <a:gd name="csX665" fmla="*/ 480179 w 1609516"/>
              <a:gd name="csY665" fmla="*/ 1225768 h 1538630"/>
              <a:gd name="csX666" fmla="*/ 480250 w 1609516"/>
              <a:gd name="csY666" fmla="*/ 1217149 h 1538630"/>
              <a:gd name="csX667" fmla="*/ 462972 w 1609516"/>
              <a:gd name="csY667" fmla="*/ 1174827 h 1538630"/>
              <a:gd name="csX668" fmla="*/ 457468 w 1609516"/>
              <a:gd name="csY668" fmla="*/ 1169949 h 1538630"/>
              <a:gd name="csX669" fmla="*/ 440657 w 1609516"/>
              <a:gd name="csY669" fmla="*/ 1152570 h 1538630"/>
              <a:gd name="csX670" fmla="*/ 403142 w 1609516"/>
              <a:gd name="csY670" fmla="*/ 1122366 h 1538630"/>
              <a:gd name="csX671" fmla="*/ 401579 w 1609516"/>
              <a:gd name="csY671" fmla="*/ 1119547 h 1538630"/>
              <a:gd name="csX672" fmla="*/ 364564 w 1609516"/>
              <a:gd name="csY672" fmla="*/ 1118209 h 1538630"/>
              <a:gd name="csX673" fmla="*/ 357822 w 1609516"/>
              <a:gd name="csY673" fmla="*/ 1122041 h 1538630"/>
              <a:gd name="csX674" fmla="*/ 348077 w 1609516"/>
              <a:gd name="csY674" fmla="*/ 1125273 h 1538630"/>
              <a:gd name="csX675" fmla="*/ 334408 w 1609516"/>
              <a:gd name="csY675" fmla="*/ 1132230 h 1538630"/>
              <a:gd name="csX676" fmla="*/ 327964 w 1609516"/>
              <a:gd name="csY676" fmla="*/ 1134080 h 1538630"/>
              <a:gd name="csX677" fmla="*/ 279734 w 1609516"/>
              <a:gd name="csY677" fmla="*/ 1166051 h 1538630"/>
              <a:gd name="csX678" fmla="*/ 276609 w 1609516"/>
              <a:gd name="csY678" fmla="*/ 1173098 h 1538630"/>
              <a:gd name="csX679" fmla="*/ 260988 w 1609516"/>
              <a:gd name="csY679" fmla="*/ 1188599 h 1538630"/>
              <a:gd name="csX680" fmla="*/ 257956 w 1609516"/>
              <a:gd name="csY680" fmla="*/ 1191132 h 1538630"/>
              <a:gd name="csX681" fmla="*/ 243805 w 1609516"/>
              <a:gd name="csY681" fmla="*/ 1196629 h 1538630"/>
              <a:gd name="csX682" fmla="*/ 243805 w 1609516"/>
              <a:gd name="csY682" fmla="*/ 1194236 h 1538630"/>
              <a:gd name="csX683" fmla="*/ 240288 w 1609516"/>
              <a:gd name="csY683" fmla="*/ 1194765 h 1538630"/>
              <a:gd name="csX684" fmla="*/ 243374 w 1609516"/>
              <a:gd name="csY684" fmla="*/ 1194765 h 1538630"/>
              <a:gd name="csX685" fmla="*/ 243374 w 1609516"/>
              <a:gd name="csY685" fmla="*/ 1196797 h 1538630"/>
              <a:gd name="csX686" fmla="*/ 243805 w 1609516"/>
              <a:gd name="csY686" fmla="*/ 1196629 h 1538630"/>
              <a:gd name="csX687" fmla="*/ 243805 w 1609516"/>
              <a:gd name="csY687" fmla="*/ 1197055 h 1538630"/>
              <a:gd name="csX688" fmla="*/ 243374 w 1609516"/>
              <a:gd name="csY688" fmla="*/ 1197055 h 1538630"/>
              <a:gd name="csX689" fmla="*/ 243374 w 1609516"/>
              <a:gd name="csY689" fmla="*/ 1197584 h 1538630"/>
              <a:gd name="csX690" fmla="*/ 241319 w 1609516"/>
              <a:gd name="csY690" fmla="*/ 1197595 h 1538630"/>
              <a:gd name="csX691" fmla="*/ 238009 w 1609516"/>
              <a:gd name="csY691" fmla="*/ 1198881 h 1538630"/>
              <a:gd name="csX692" fmla="*/ 215687 w 1609516"/>
              <a:gd name="csY692" fmla="*/ 1198464 h 1538630"/>
              <a:gd name="csX693" fmla="*/ 215687 w 1609516"/>
              <a:gd name="csY693" fmla="*/ 1197734 h 1538630"/>
              <a:gd name="csX694" fmla="*/ 213936 w 1609516"/>
              <a:gd name="csY694" fmla="*/ 1197744 h 1538630"/>
              <a:gd name="csX695" fmla="*/ 207446 w 1609516"/>
              <a:gd name="csY695" fmla="*/ 1196175 h 1538630"/>
              <a:gd name="csX696" fmla="*/ 207822 w 1609516"/>
              <a:gd name="csY696" fmla="*/ 1195610 h 1538630"/>
              <a:gd name="csX697" fmla="*/ 184737 w 1609516"/>
              <a:gd name="csY697" fmla="*/ 1180936 h 1538630"/>
              <a:gd name="csX698" fmla="*/ 179270 w 1609516"/>
              <a:gd name="csY698" fmla="*/ 1154866 h 1538630"/>
              <a:gd name="csX699" fmla="*/ 179194 w 1609516"/>
              <a:gd name="csY699" fmla="*/ 1151621 h 1538630"/>
              <a:gd name="csX700" fmla="*/ 193195 w 1609516"/>
              <a:gd name="csY700" fmla="*/ 1120065 h 1538630"/>
              <a:gd name="csX701" fmla="*/ 229551 w 1609516"/>
              <a:gd name="csY701" fmla="*/ 1110299 h 1538630"/>
              <a:gd name="csX702" fmla="*/ 260988 w 1609516"/>
              <a:gd name="csY702" fmla="*/ 1108274 h 1538630"/>
              <a:gd name="csX703" fmla="*/ 260988 w 1609516"/>
              <a:gd name="csY703" fmla="*/ 1105455 h 1538630"/>
              <a:gd name="csX704" fmla="*/ 263911 w 1609516"/>
              <a:gd name="csY704" fmla="*/ 1104310 h 1538630"/>
              <a:gd name="csX705" fmla="*/ 286995 w 1609516"/>
              <a:gd name="csY705" fmla="*/ 1090185 h 1538630"/>
              <a:gd name="csX706" fmla="*/ 299358 w 1609516"/>
              <a:gd name="csY706" fmla="*/ 1080970 h 1538630"/>
              <a:gd name="csX707" fmla="*/ 317762 w 1609516"/>
              <a:gd name="csY707" fmla="*/ 1063272 h 1538630"/>
              <a:gd name="csX708" fmla="*/ 325035 w 1609516"/>
              <a:gd name="csY708" fmla="*/ 1057542 h 1538630"/>
              <a:gd name="csX709" fmla="*/ 325328 w 1609516"/>
              <a:gd name="csY709" fmla="*/ 1023104 h 1538630"/>
              <a:gd name="csX710" fmla="*/ 324544 w 1609516"/>
              <a:gd name="csY710" fmla="*/ 1019247 h 1538630"/>
              <a:gd name="csX711" fmla="*/ 317225 w 1609516"/>
              <a:gd name="csY711" fmla="*/ 996945 h 1538630"/>
              <a:gd name="csX712" fmla="*/ 315388 w 1609516"/>
              <a:gd name="csY712" fmla="*/ 992690 h 1538630"/>
              <a:gd name="csX713" fmla="*/ 276232 w 1609516"/>
              <a:gd name="csY713" fmla="*/ 950666 h 1538630"/>
              <a:gd name="csX714" fmla="*/ 271923 w 1609516"/>
              <a:gd name="csY714" fmla="*/ 949031 h 1538630"/>
              <a:gd name="csX715" fmla="*/ 268299 w 1609516"/>
              <a:gd name="csY715" fmla="*/ 947441 h 1538630"/>
              <a:gd name="csX716" fmla="*/ 199187 w 1609516"/>
              <a:gd name="csY716" fmla="*/ 938991 h 1538630"/>
              <a:gd name="csX717" fmla="*/ 193719 w 1609516"/>
              <a:gd name="csY717" fmla="*/ 938971 h 1538630"/>
              <a:gd name="csX718" fmla="*/ 188539 w 1609516"/>
              <a:gd name="csY718" fmla="*/ 938980 h 1538630"/>
              <a:gd name="csX719" fmla="*/ 183874 w 1609516"/>
              <a:gd name="csY719" fmla="*/ 938985 h 1538630"/>
              <a:gd name="csX720" fmla="*/ 173509 w 1609516"/>
              <a:gd name="csY720" fmla="*/ 940576 h 1538630"/>
              <a:gd name="csX721" fmla="*/ 161403 w 1609516"/>
              <a:gd name="csY721" fmla="*/ 940664 h 1538630"/>
              <a:gd name="csX722" fmla="*/ 158102 w 1609516"/>
              <a:gd name="csY722" fmla="*/ 940645 h 1538630"/>
              <a:gd name="csX723" fmla="*/ 150875 w 1609516"/>
              <a:gd name="csY723" fmla="*/ 940583 h 1538630"/>
              <a:gd name="csX724" fmla="*/ 148425 w 1609516"/>
              <a:gd name="csY724" fmla="*/ 940717 h 1538630"/>
              <a:gd name="csX725" fmla="*/ 149617 w 1609516"/>
              <a:gd name="csY725" fmla="*/ 940995 h 1538630"/>
              <a:gd name="csX726" fmla="*/ 149617 w 1609516"/>
              <a:gd name="csY726" fmla="*/ 942404 h 1538630"/>
              <a:gd name="csX727" fmla="*/ 146627 w 1609516"/>
              <a:gd name="csY727" fmla="*/ 942871 h 1538630"/>
              <a:gd name="csX728" fmla="*/ 110564 w 1609516"/>
              <a:gd name="csY728" fmla="*/ 949449 h 1538630"/>
              <a:gd name="csX729" fmla="*/ 111283 w 1609516"/>
              <a:gd name="csY729" fmla="*/ 946205 h 1538630"/>
              <a:gd name="csX730" fmla="*/ 101652 w 1609516"/>
              <a:gd name="csY730" fmla="*/ 956078 h 1538630"/>
              <a:gd name="csX731" fmla="*/ 98052 w 1609516"/>
              <a:gd name="csY731" fmla="*/ 958467 h 1538630"/>
              <a:gd name="csX732" fmla="*/ 67286 w 1609516"/>
              <a:gd name="csY732" fmla="*/ 972989 h 1538630"/>
              <a:gd name="csX733" fmla="*/ 67286 w 1609516"/>
              <a:gd name="csY733" fmla="*/ 975807 h 1538630"/>
              <a:gd name="csX734" fmla="*/ 31942 w 1609516"/>
              <a:gd name="csY734" fmla="*/ 976423 h 1538630"/>
              <a:gd name="csX735" fmla="*/ 5673 w 1609516"/>
              <a:gd name="csY735" fmla="*/ 953419 h 1538630"/>
              <a:gd name="csX736" fmla="*/ 4801 w 1609516"/>
              <a:gd name="csY736" fmla="*/ 944804 h 1538630"/>
              <a:gd name="csX737" fmla="*/ 1676 w 1609516"/>
              <a:gd name="csY737" fmla="*/ 944804 h 1538630"/>
              <a:gd name="csX738" fmla="*/ 17 w 1609516"/>
              <a:gd name="csY738" fmla="*/ 931857 h 1538630"/>
              <a:gd name="csX739" fmla="*/ 59 w 1609516"/>
              <a:gd name="csY739" fmla="*/ 927216 h 1538630"/>
              <a:gd name="csX740" fmla="*/ 115 w 1609516"/>
              <a:gd name="csY740" fmla="*/ 923666 h 1538630"/>
              <a:gd name="csX741" fmla="*/ 3238 w 1609516"/>
              <a:gd name="csY741" fmla="*/ 923666 h 1538630"/>
              <a:gd name="csX742" fmla="*/ 3238 w 1609516"/>
              <a:gd name="csY742" fmla="*/ 918029 h 1538630"/>
              <a:gd name="csX743" fmla="*/ 6363 w 1609516"/>
              <a:gd name="csY743" fmla="*/ 918029 h 1538630"/>
              <a:gd name="csX744" fmla="*/ 6656 w 1609516"/>
              <a:gd name="csY744" fmla="*/ 912832 h 1538630"/>
              <a:gd name="csX745" fmla="*/ 15736 w 1609516"/>
              <a:gd name="csY745" fmla="*/ 899709 h 1538630"/>
              <a:gd name="csX746" fmla="*/ 17243 w 1609516"/>
              <a:gd name="csY746" fmla="*/ 898894 h 1538630"/>
              <a:gd name="csX747" fmla="*/ 16800 w 1609516"/>
              <a:gd name="csY747" fmla="*/ 898694 h 1538630"/>
              <a:gd name="csX748" fmla="*/ 24988 w 1609516"/>
              <a:gd name="csY748" fmla="*/ 894101 h 1538630"/>
              <a:gd name="csX749" fmla="*/ 26768 w 1609516"/>
              <a:gd name="csY749" fmla="*/ 892399 h 1538630"/>
              <a:gd name="csX750" fmla="*/ 30198 w 1609516"/>
              <a:gd name="csY750" fmla="*/ 890164 h 1538630"/>
              <a:gd name="csX751" fmla="*/ 32204 w 1609516"/>
              <a:gd name="csY751" fmla="*/ 890054 h 1538630"/>
              <a:gd name="csX752" fmla="*/ 38914 w 1609516"/>
              <a:gd name="csY752" fmla="*/ 886291 h 1538630"/>
              <a:gd name="csX753" fmla="*/ 63664 w 1609516"/>
              <a:gd name="csY753" fmla="*/ 886011 h 1538630"/>
              <a:gd name="csX754" fmla="*/ 63664 w 1609516"/>
              <a:gd name="csY754" fmla="*/ 886531 h 1538630"/>
              <a:gd name="csX755" fmla="*/ 70784 w 1609516"/>
              <a:gd name="csY755" fmla="*/ 886647 h 1538630"/>
              <a:gd name="csX756" fmla="*/ 82126 w 1609516"/>
              <a:gd name="csY756" fmla="*/ 889845 h 1538630"/>
              <a:gd name="csX757" fmla="*/ 114149 w 1609516"/>
              <a:gd name="csY757" fmla="*/ 892663 h 1538630"/>
              <a:gd name="csX758" fmla="*/ 118836 w 1609516"/>
              <a:gd name="csY758" fmla="*/ 889845 h 1538630"/>
              <a:gd name="csX759" fmla="*/ 131626 w 1609516"/>
              <a:gd name="csY759" fmla="*/ 887114 h 1538630"/>
              <a:gd name="csX760" fmla="*/ 155116 w 1609516"/>
              <a:gd name="csY760" fmla="*/ 880913 h 1538630"/>
              <a:gd name="csX761" fmla="*/ 165406 w 1609516"/>
              <a:gd name="csY761" fmla="*/ 878483 h 1538630"/>
              <a:gd name="csX762" fmla="*/ 176634 w 1609516"/>
              <a:gd name="csY762" fmla="*/ 874343 h 1538630"/>
              <a:gd name="csX763" fmla="*/ 186397 w 1609516"/>
              <a:gd name="csY763" fmla="*/ 871524 h 1538630"/>
              <a:gd name="csX764" fmla="*/ 191871 w 1609516"/>
              <a:gd name="csY764" fmla="*/ 870033 h 1538630"/>
              <a:gd name="csX765" fmla="*/ 203483 w 1609516"/>
              <a:gd name="csY765" fmla="*/ 867208 h 1538630"/>
              <a:gd name="csX766" fmla="*/ 211001 w 1609516"/>
              <a:gd name="csY766" fmla="*/ 861660 h 1538630"/>
              <a:gd name="csX767" fmla="*/ 218031 w 1609516"/>
              <a:gd name="csY767" fmla="*/ 858577 h 1538630"/>
              <a:gd name="csX768" fmla="*/ 254740 w 1609516"/>
              <a:gd name="csY768" fmla="*/ 825020 h 1538630"/>
              <a:gd name="csX769" fmla="*/ 257864 w 1609516"/>
              <a:gd name="csY769" fmla="*/ 820792 h 1538630"/>
              <a:gd name="csX770" fmla="*/ 258318 w 1609516"/>
              <a:gd name="csY770" fmla="*/ 813810 h 1538630"/>
              <a:gd name="csX771" fmla="*/ 258378 w 1609516"/>
              <a:gd name="csY771" fmla="*/ 809502 h 1538630"/>
              <a:gd name="csX772" fmla="*/ 258389 w 1609516"/>
              <a:gd name="csY772" fmla="*/ 804845 h 1538630"/>
              <a:gd name="csX773" fmla="*/ 258420 w 1609516"/>
              <a:gd name="csY773" fmla="*/ 800036 h 1538630"/>
              <a:gd name="csX774" fmla="*/ 258443 w 1609516"/>
              <a:gd name="csY774" fmla="*/ 789939 h 1538630"/>
              <a:gd name="csX775" fmla="*/ 258566 w 1609516"/>
              <a:gd name="csY775" fmla="*/ 774594 h 1538630"/>
              <a:gd name="csX776" fmla="*/ 258584 w 1609516"/>
              <a:gd name="csY776" fmla="*/ 764771 h 1538630"/>
              <a:gd name="csX777" fmla="*/ 258652 w 1609516"/>
              <a:gd name="csY777" fmla="*/ 760174 h 1538630"/>
              <a:gd name="csX778" fmla="*/ 251616 w 1609516"/>
              <a:gd name="csY778" fmla="*/ 733421 h 1538630"/>
              <a:gd name="csX779" fmla="*/ 247613 w 1609516"/>
              <a:gd name="csY779" fmla="*/ 721883 h 1538630"/>
              <a:gd name="csX780" fmla="*/ 241291 w 1609516"/>
              <a:gd name="csY780" fmla="*/ 705644 h 1538630"/>
              <a:gd name="csX781" fmla="*/ 237557 w 1609516"/>
              <a:gd name="csY781" fmla="*/ 689735 h 1538630"/>
              <a:gd name="csX782" fmla="*/ 248492 w 1609516"/>
              <a:gd name="csY782" fmla="*/ 685507 h 1538630"/>
              <a:gd name="csX783" fmla="*/ 248492 w 1609516"/>
              <a:gd name="csY783" fmla="*/ 681279 h 1538630"/>
              <a:gd name="csX784" fmla="*/ 240681 w 1609516"/>
              <a:gd name="csY784" fmla="*/ 679870 h 1538630"/>
              <a:gd name="csX785" fmla="*/ 240681 w 1609516"/>
              <a:gd name="csY785" fmla="*/ 677052 h 1538630"/>
              <a:gd name="csX786" fmla="*/ 238094 w 1609516"/>
              <a:gd name="csY786" fmla="*/ 676645 h 1538630"/>
              <a:gd name="csX787" fmla="*/ 225841 w 1609516"/>
              <a:gd name="csY787" fmla="*/ 670886 h 1538630"/>
              <a:gd name="csX788" fmla="*/ 201531 w 1609516"/>
              <a:gd name="csY788" fmla="*/ 662508 h 1538630"/>
              <a:gd name="csX789" fmla="*/ 188252 w 1609516"/>
              <a:gd name="csY789" fmla="*/ 658644 h 1538630"/>
              <a:gd name="csX790" fmla="*/ 182431 w 1609516"/>
              <a:gd name="csY790" fmla="*/ 657327 h 1538630"/>
              <a:gd name="csX791" fmla="*/ 182431 w 1609516"/>
              <a:gd name="csY791" fmla="*/ 657613 h 1538630"/>
              <a:gd name="csX792" fmla="*/ 146503 w 1609516"/>
              <a:gd name="csY792" fmla="*/ 656204 h 1538630"/>
              <a:gd name="csX793" fmla="*/ 146503 w 1609516"/>
              <a:gd name="csY793" fmla="*/ 659022 h 1538630"/>
              <a:gd name="csX794" fmla="*/ 110378 w 1609516"/>
              <a:gd name="csY794" fmla="*/ 663778 h 1538630"/>
              <a:gd name="csX795" fmla="*/ 106453 w 1609516"/>
              <a:gd name="csY795" fmla="*/ 663836 h 1538630"/>
              <a:gd name="csX796" fmla="*/ 102751 w 1609516"/>
              <a:gd name="csY796" fmla="*/ 663811 h 1538630"/>
              <a:gd name="csX797" fmla="*/ 99449 w 1609516"/>
              <a:gd name="csY797" fmla="*/ 663797 h 1538630"/>
              <a:gd name="csX798" fmla="*/ 91828 w 1609516"/>
              <a:gd name="csY798" fmla="*/ 659022 h 1538630"/>
              <a:gd name="csX799" fmla="*/ 98077 w 1609516"/>
              <a:gd name="csY799" fmla="*/ 659022 h 1538630"/>
              <a:gd name="csX800" fmla="*/ 98077 w 1609516"/>
              <a:gd name="csY800" fmla="*/ 661841 h 1538630"/>
              <a:gd name="csX801" fmla="*/ 119023 w 1609516"/>
              <a:gd name="csY801" fmla="*/ 661357 h 1538630"/>
              <a:gd name="csX802" fmla="*/ 119536 w 1609516"/>
              <a:gd name="csY802" fmla="*/ 661197 h 1538630"/>
              <a:gd name="csX803" fmla="*/ 109853 w 1609516"/>
              <a:gd name="csY803" fmla="*/ 661639 h 1538630"/>
              <a:gd name="csX804" fmla="*/ 106552 w 1609516"/>
              <a:gd name="csY804" fmla="*/ 661619 h 1538630"/>
              <a:gd name="csX805" fmla="*/ 98528 w 1609516"/>
              <a:gd name="csY805" fmla="*/ 661550 h 1538630"/>
              <a:gd name="csX806" fmla="*/ 98528 w 1609516"/>
              <a:gd name="csY806" fmla="*/ 658732 h 1538630"/>
              <a:gd name="csX807" fmla="*/ 89155 w 1609516"/>
              <a:gd name="csY807" fmla="*/ 657323 h 1538630"/>
              <a:gd name="csX808" fmla="*/ 89155 w 1609516"/>
              <a:gd name="csY808" fmla="*/ 654504 h 1538630"/>
              <a:gd name="csX809" fmla="*/ 86397 w 1609516"/>
              <a:gd name="csY809" fmla="*/ 653442 h 1538630"/>
              <a:gd name="csX810" fmla="*/ 77049 w 1609516"/>
              <a:gd name="csY810" fmla="*/ 646137 h 1538630"/>
              <a:gd name="csX811" fmla="*/ 74145 w 1609516"/>
              <a:gd name="csY811" fmla="*/ 643192 h 1538630"/>
              <a:gd name="csX812" fmla="*/ 71972 w 1609516"/>
              <a:gd name="csY812" fmla="*/ 636185 h 1538630"/>
              <a:gd name="csX813" fmla="*/ 68848 w 1609516"/>
              <a:gd name="csY813" fmla="*/ 636185 h 1538630"/>
              <a:gd name="csX814" fmla="*/ 70410 w 1609516"/>
              <a:gd name="csY814" fmla="*/ 595317 h 1538630"/>
              <a:gd name="csX815" fmla="*/ 79782 w 1609516"/>
              <a:gd name="csY815" fmla="*/ 584043 h 1538630"/>
              <a:gd name="csX816" fmla="*/ 82656 w 1609516"/>
              <a:gd name="csY816" fmla="*/ 581115 h 1538630"/>
              <a:gd name="csX817" fmla="*/ 116694 w 1609516"/>
              <a:gd name="csY817" fmla="*/ 572323 h 1538630"/>
              <a:gd name="csX818" fmla="*/ 152031 w 1609516"/>
              <a:gd name="csY818" fmla="*/ 590385 h 1538630"/>
              <a:gd name="csX819" fmla="*/ 191474 w 1609516"/>
              <a:gd name="csY819" fmla="*/ 605886 h 1538630"/>
              <a:gd name="csX820" fmla="*/ 206314 w 1609516"/>
              <a:gd name="csY820" fmla="*/ 608000 h 1538630"/>
              <a:gd name="csX821" fmla="*/ 206314 w 1609516"/>
              <a:gd name="csY821" fmla="*/ 610818 h 1538630"/>
              <a:gd name="csX822" fmla="*/ 234433 w 1609516"/>
              <a:gd name="csY822" fmla="*/ 610818 h 1538630"/>
              <a:gd name="csX823" fmla="*/ 239522 w 1609516"/>
              <a:gd name="csY823" fmla="*/ 610802 h 1538630"/>
              <a:gd name="csX824" fmla="*/ 268799 w 1609516"/>
              <a:gd name="csY824" fmla="*/ 600954 h 1538630"/>
              <a:gd name="csX825" fmla="*/ 271740 w 1609516"/>
              <a:gd name="csY825" fmla="*/ 599325 h 1538630"/>
              <a:gd name="csX826" fmla="*/ 284420 w 1609516"/>
              <a:gd name="csY826" fmla="*/ 579816 h 1538630"/>
              <a:gd name="csX827" fmla="*/ 289399 w 1609516"/>
              <a:gd name="csY827" fmla="*/ 568630 h 1538630"/>
              <a:gd name="csX828" fmla="*/ 293958 w 1609516"/>
              <a:gd name="csY828" fmla="*/ 535838 h 1538630"/>
              <a:gd name="csX829" fmla="*/ 289107 w 1609516"/>
              <a:gd name="csY829" fmla="*/ 529084 h 1538630"/>
              <a:gd name="csX830" fmla="*/ 289107 w 1609516"/>
              <a:gd name="csY830" fmla="*/ 526265 h 1538630"/>
              <a:gd name="csX831" fmla="*/ 284420 w 1609516"/>
              <a:gd name="csY831" fmla="*/ 524856 h 1538630"/>
              <a:gd name="csX832" fmla="*/ 282858 w 1609516"/>
              <a:gd name="csY832" fmla="*/ 520628 h 1538630"/>
              <a:gd name="csX833" fmla="*/ 277977 w 1609516"/>
              <a:gd name="csY833" fmla="*/ 516577 h 1538630"/>
              <a:gd name="csX834" fmla="*/ 264925 w 1609516"/>
              <a:gd name="csY834" fmla="*/ 506443 h 1538630"/>
              <a:gd name="csX835" fmla="*/ 229746 w 1609516"/>
              <a:gd name="csY835" fmla="*/ 481170 h 1538630"/>
              <a:gd name="csX836" fmla="*/ 221057 w 1609516"/>
              <a:gd name="csY836" fmla="*/ 475445 h 1538630"/>
              <a:gd name="csX837" fmla="*/ 212563 w 1609516"/>
              <a:gd name="csY837" fmla="*/ 469896 h 1538630"/>
              <a:gd name="csX838" fmla="*/ 208889 w 1609516"/>
              <a:gd name="csY838" fmla="*/ 467491 h 1538630"/>
              <a:gd name="csX839" fmla="*/ 190406 w 1609516"/>
              <a:gd name="csY839" fmla="*/ 456382 h 1538630"/>
              <a:gd name="csX840" fmla="*/ 186942 w 1609516"/>
              <a:gd name="csY840" fmla="*/ 454460 h 1538630"/>
              <a:gd name="csX841" fmla="*/ 180041 w 1609516"/>
              <a:gd name="csY841" fmla="*/ 450696 h 1538630"/>
              <a:gd name="csX842" fmla="*/ 171948 w 1609516"/>
              <a:gd name="csY842" fmla="*/ 445940 h 1538630"/>
              <a:gd name="csX843" fmla="*/ 171948 w 1609516"/>
              <a:gd name="csY843" fmla="*/ 443121 h 1538630"/>
              <a:gd name="csX844" fmla="*/ 168482 w 1609516"/>
              <a:gd name="csY844" fmla="*/ 442708 h 1538630"/>
              <a:gd name="csX845" fmla="*/ 157107 w 1609516"/>
              <a:gd name="csY845" fmla="*/ 437044 h 1538630"/>
              <a:gd name="csX846" fmla="*/ 132559 w 1609516"/>
              <a:gd name="csY846" fmla="*/ 427510 h 1538630"/>
              <a:gd name="csX847" fmla="*/ 123522 w 1609516"/>
              <a:gd name="csY847" fmla="*/ 421983 h 1538630"/>
              <a:gd name="csX848" fmla="*/ 107986 w 1609516"/>
              <a:gd name="csY848" fmla="*/ 418730 h 1538630"/>
              <a:gd name="csX849" fmla="*/ 102494 w 1609516"/>
              <a:gd name="csY849" fmla="*/ 418622 h 1538630"/>
              <a:gd name="csX850" fmla="*/ 91157 w 1609516"/>
              <a:gd name="csY850" fmla="*/ 418490 h 1538630"/>
              <a:gd name="csX851" fmla="*/ 55277 w 1609516"/>
              <a:gd name="csY851" fmla="*/ 410445 h 1538630"/>
              <a:gd name="csX852" fmla="*/ 51665 w 1609516"/>
              <a:gd name="csY852" fmla="*/ 406481 h 1538630"/>
              <a:gd name="csX853" fmla="*/ 45904 w 1609516"/>
              <a:gd name="csY853" fmla="*/ 400492 h 1538630"/>
              <a:gd name="csX854" fmla="*/ 43152 w 1609516"/>
              <a:gd name="csY854" fmla="*/ 397564 h 1538630"/>
              <a:gd name="csX855" fmla="*/ 37605 w 1609516"/>
              <a:gd name="csY855" fmla="*/ 393798 h 1538630"/>
              <a:gd name="csX856" fmla="*/ 38995 w 1609516"/>
              <a:gd name="csY856" fmla="*/ 368712 h 1538630"/>
              <a:gd name="csX857" fmla="*/ 38666 w 1609516"/>
              <a:gd name="csY857" fmla="*/ 369724 h 1538630"/>
              <a:gd name="csX858" fmla="*/ 35542 w 1609516"/>
              <a:gd name="csY858" fmla="*/ 384081 h 1538630"/>
              <a:gd name="csX859" fmla="*/ 33326 w 1609516"/>
              <a:gd name="csY859" fmla="*/ 357791 h 1538630"/>
              <a:gd name="csX860" fmla="*/ 52725 w 1609516"/>
              <a:gd name="csY860" fmla="*/ 333349 h 1538630"/>
              <a:gd name="csX861" fmla="*/ 55222 w 1609516"/>
              <a:gd name="csY861" fmla="*/ 334475 h 1538630"/>
              <a:gd name="csX862" fmla="*/ 56222 w 1609516"/>
              <a:gd name="csY862" fmla="*/ 333347 h 1538630"/>
              <a:gd name="csX863" fmla="*/ 55871 w 1609516"/>
              <a:gd name="csY863" fmla="*/ 333347 h 1538630"/>
              <a:gd name="csX864" fmla="*/ 56346 w 1609516"/>
              <a:gd name="csY864" fmla="*/ 333207 h 1538630"/>
              <a:gd name="csX865" fmla="*/ 56351 w 1609516"/>
              <a:gd name="csY865" fmla="*/ 333202 h 1538630"/>
              <a:gd name="csX866" fmla="*/ 56365 w 1609516"/>
              <a:gd name="csY866" fmla="*/ 333202 h 1538630"/>
              <a:gd name="csX867" fmla="*/ 79571 w 1609516"/>
              <a:gd name="csY867" fmla="*/ 326360 h 1538630"/>
              <a:gd name="csX868" fmla="*/ 104297 w 1609516"/>
              <a:gd name="csY868" fmla="*/ 330529 h 1538630"/>
              <a:gd name="csX869" fmla="*/ 107170 w 1609516"/>
              <a:gd name="csY869" fmla="*/ 334417 h 1538630"/>
              <a:gd name="csX870" fmla="*/ 109366 w 1609516"/>
              <a:gd name="csY870" fmla="*/ 336046 h 1538630"/>
              <a:gd name="csX871" fmla="*/ 109463 w 1609516"/>
              <a:gd name="csY871" fmla="*/ 336020 h 1538630"/>
              <a:gd name="csX872" fmla="*/ 109463 w 1609516"/>
              <a:gd name="csY872" fmla="*/ 336118 h 1538630"/>
              <a:gd name="csX873" fmla="*/ 115226 w 1609516"/>
              <a:gd name="csY873" fmla="*/ 340394 h 1538630"/>
              <a:gd name="csX874" fmla="*/ 114010 w 1609516"/>
              <a:gd name="csY874" fmla="*/ 340120 h 1538630"/>
              <a:gd name="csX875" fmla="*/ 133285 w 1609516"/>
              <a:gd name="csY875" fmla="*/ 357423 h 1538630"/>
              <a:gd name="csX876" fmla="*/ 173509 w 1609516"/>
              <a:gd name="csY876" fmla="*/ 389571 h 1538630"/>
              <a:gd name="csX877" fmla="*/ 181711 w 1609516"/>
              <a:gd name="csY877" fmla="*/ 393270 h 1538630"/>
              <a:gd name="csX878" fmla="*/ 185507 w 1609516"/>
              <a:gd name="csY878" fmla="*/ 394976 h 1538630"/>
              <a:gd name="csX879" fmla="*/ 192658 w 1609516"/>
              <a:gd name="csY879" fmla="*/ 398257 h 1538630"/>
              <a:gd name="csX880" fmla="*/ 195966 w 1609516"/>
              <a:gd name="csY880" fmla="*/ 399788 h 1538630"/>
              <a:gd name="csX881" fmla="*/ 198833 w 1609516"/>
              <a:gd name="csY881" fmla="*/ 401131 h 1538630"/>
              <a:gd name="csX882" fmla="*/ 207877 w 1609516"/>
              <a:gd name="csY882" fmla="*/ 403663 h 1538630"/>
              <a:gd name="csX883" fmla="*/ 207877 w 1609516"/>
              <a:gd name="csY883" fmla="*/ 406481 h 1538630"/>
              <a:gd name="csX884" fmla="*/ 248492 w 1609516"/>
              <a:gd name="csY884" fmla="*/ 419428 h 1538630"/>
              <a:gd name="csX885" fmla="*/ 253965 w 1609516"/>
              <a:gd name="csY885" fmla="*/ 421000 h 1538630"/>
              <a:gd name="csX886" fmla="*/ 267237 w 1609516"/>
              <a:gd name="csY886" fmla="*/ 424801 h 1538630"/>
              <a:gd name="csX887" fmla="*/ 267237 w 1609516"/>
              <a:gd name="csY887" fmla="*/ 426451 h 1538630"/>
              <a:gd name="csX888" fmla="*/ 288701 w 1609516"/>
              <a:gd name="csY888" fmla="*/ 429217 h 1538630"/>
              <a:gd name="csX889" fmla="*/ 288701 w 1609516"/>
              <a:gd name="csY889" fmla="*/ 432036 h 1538630"/>
              <a:gd name="csX890" fmla="*/ 327010 w 1609516"/>
              <a:gd name="csY890" fmla="*/ 433628 h 1538630"/>
              <a:gd name="csX891" fmla="*/ 337486 w 1609516"/>
              <a:gd name="csY891" fmla="*/ 433637 h 1538630"/>
              <a:gd name="csX892" fmla="*/ 344229 w 1609516"/>
              <a:gd name="csY892" fmla="*/ 433632 h 1538630"/>
              <a:gd name="csX893" fmla="*/ 350323 w 1609516"/>
              <a:gd name="csY893" fmla="*/ 433627 h 1538630"/>
              <a:gd name="csX894" fmla="*/ 365245 w 1609516"/>
              <a:gd name="csY894" fmla="*/ 432036 h 1538630"/>
              <a:gd name="csX895" fmla="*/ 360797 w 1609516"/>
              <a:gd name="csY895" fmla="*/ 433759 h 1538630"/>
              <a:gd name="csX896" fmla="*/ 365650 w 1609516"/>
              <a:gd name="csY896" fmla="*/ 433257 h 1538630"/>
              <a:gd name="csX897" fmla="*/ 367213 w 1609516"/>
              <a:gd name="csY897" fmla="*/ 429029 h 1538630"/>
              <a:gd name="csX898" fmla="*/ 375188 w 1609516"/>
              <a:gd name="csY898" fmla="*/ 424906 h 1538630"/>
              <a:gd name="csX899" fmla="*/ 404704 w 1609516"/>
              <a:gd name="csY899" fmla="*/ 389571 h 1538630"/>
              <a:gd name="csX900" fmla="*/ 406265 w 1609516"/>
              <a:gd name="csY900" fmla="*/ 388161 h 1538630"/>
              <a:gd name="csX901" fmla="*/ 406559 w 1609516"/>
              <a:gd name="csY901" fmla="*/ 370106 h 1538630"/>
              <a:gd name="csX902" fmla="*/ 406617 w 1609516"/>
              <a:gd name="csY902" fmla="*/ 364973 h 1538630"/>
              <a:gd name="csX903" fmla="*/ 406626 w 1609516"/>
              <a:gd name="csY903" fmla="*/ 360038 h 1538630"/>
              <a:gd name="csX904" fmla="*/ 406645 w 1609516"/>
              <a:gd name="csY904" fmla="*/ 355503 h 1538630"/>
              <a:gd name="csX905" fmla="*/ 403142 w 1609516"/>
              <a:gd name="csY905" fmla="*/ 345885 h 1538630"/>
              <a:gd name="csX906" fmla="*/ 401579 w 1609516"/>
              <a:gd name="csY906" fmla="*/ 338663 h 1538630"/>
              <a:gd name="csX907" fmla="*/ 390938 w 1609516"/>
              <a:gd name="csY907" fmla="*/ 315939 h 1538630"/>
              <a:gd name="csX908" fmla="*/ 388976 w 1609516"/>
              <a:gd name="csY908" fmla="*/ 312762 h 1538630"/>
              <a:gd name="csX909" fmla="*/ 377934 w 1609516"/>
              <a:gd name="csY909" fmla="*/ 297817 h 1538630"/>
              <a:gd name="csX910" fmla="*/ 368775 w 1609516"/>
              <a:gd name="csY910" fmla="*/ 282470 h 1538630"/>
              <a:gd name="csX911" fmla="*/ 359890 w 1609516"/>
              <a:gd name="csY911" fmla="*/ 271284 h 1538630"/>
              <a:gd name="csX912" fmla="*/ 357374 w 1609516"/>
              <a:gd name="csY912" fmla="*/ 268288 h 1538630"/>
              <a:gd name="csX913" fmla="*/ 337533 w 1609516"/>
              <a:gd name="csY913" fmla="*/ 248649 h 1538630"/>
              <a:gd name="csX914" fmla="*/ 335214 w 1609516"/>
              <a:gd name="csY914" fmla="*/ 246369 h 1538630"/>
              <a:gd name="csX915" fmla="*/ 327085 w 1609516"/>
              <a:gd name="csY915" fmla="*/ 242571 h 1538630"/>
              <a:gd name="csX916" fmla="*/ 288785 w 1609516"/>
              <a:gd name="csY916" fmla="*/ 207968 h 1538630"/>
              <a:gd name="csX917" fmla="*/ 286373 w 1609516"/>
              <a:gd name="csY917" fmla="*/ 192544 h 1538630"/>
              <a:gd name="csX918" fmla="*/ 286385 w 1609516"/>
              <a:gd name="csY918" fmla="*/ 189190 h 1538630"/>
              <a:gd name="csX919" fmla="*/ 300042 w 1609516"/>
              <a:gd name="csY919" fmla="*/ 164095 h 1538630"/>
              <a:gd name="csX920" fmla="*/ 302757 w 1609516"/>
              <a:gd name="csY920" fmla="*/ 161381 h 1538630"/>
              <a:gd name="csX921" fmla="*/ 338411 w 1609516"/>
              <a:gd name="csY921" fmla="*/ 152293 h 1538630"/>
              <a:gd name="csX922" fmla="*/ 368482 w 1609516"/>
              <a:gd name="csY922" fmla="*/ 161893 h 1538630"/>
              <a:gd name="csX923" fmla="*/ 371899 w 1609516"/>
              <a:gd name="csY923" fmla="*/ 165505 h 1538630"/>
              <a:gd name="csX924" fmla="*/ 375121 w 1609516"/>
              <a:gd name="csY924" fmla="*/ 168587 h 1538630"/>
              <a:gd name="csX925" fmla="*/ 384982 w 1609516"/>
              <a:gd name="csY925" fmla="*/ 193777 h 1538630"/>
              <a:gd name="csX926" fmla="*/ 390352 w 1609516"/>
              <a:gd name="csY926" fmla="*/ 214563 h 1538630"/>
              <a:gd name="csX927" fmla="*/ 391529 w 1609516"/>
              <a:gd name="csY927" fmla="*/ 217626 h 1538630"/>
              <a:gd name="csX928" fmla="*/ 401579 w 1609516"/>
              <a:gd name="csY928" fmla="*/ 234556 h 1538630"/>
              <a:gd name="csX929" fmla="*/ 401579 w 1609516"/>
              <a:gd name="csY929" fmla="*/ 238784 h 1538630"/>
              <a:gd name="csX930" fmla="*/ 404215 w 1609516"/>
              <a:gd name="csY930" fmla="*/ 239753 h 1538630"/>
              <a:gd name="csX931" fmla="*/ 417811 w 1609516"/>
              <a:gd name="csY931" fmla="*/ 251996 h 1538630"/>
              <a:gd name="csX932" fmla="*/ 426866 w 1609516"/>
              <a:gd name="csY932" fmla="*/ 262300 h 1538630"/>
              <a:gd name="csX933" fmla="*/ 450097 w 1609516"/>
              <a:gd name="csY933" fmla="*/ 287628 h 1538630"/>
              <a:gd name="csX934" fmla="*/ 457425 w 1609516"/>
              <a:gd name="csY934" fmla="*/ 293920 h 1538630"/>
              <a:gd name="csX935" fmla="*/ 460940 w 1609516"/>
              <a:gd name="csY935" fmla="*/ 296562 h 1538630"/>
              <a:gd name="csX936" fmla="*/ 460940 w 1609516"/>
              <a:gd name="csY936" fmla="*/ 300790 h 1538630"/>
              <a:gd name="csX937" fmla="*/ 473437 w 1609516"/>
              <a:gd name="csY937" fmla="*/ 305018 h 1538630"/>
              <a:gd name="csX938" fmla="*/ 473437 w 1609516"/>
              <a:gd name="csY938" fmla="*/ 307836 h 1538630"/>
              <a:gd name="csX939" fmla="*/ 479881 w 1609516"/>
              <a:gd name="csY939" fmla="*/ 309862 h 1538630"/>
              <a:gd name="csX940" fmla="*/ 483505 w 1609516"/>
              <a:gd name="csY940" fmla="*/ 311001 h 1538630"/>
              <a:gd name="csX941" fmla="*/ 548419 w 1609516"/>
              <a:gd name="csY941" fmla="*/ 306427 h 1538630"/>
              <a:gd name="csX942" fmla="*/ 551842 w 1609516"/>
              <a:gd name="csY942" fmla="*/ 305127 h 1538630"/>
              <a:gd name="csX943" fmla="*/ 560232 w 1609516"/>
              <a:gd name="csY943" fmla="*/ 298148 h 1538630"/>
              <a:gd name="csX944" fmla="*/ 562972 w 1609516"/>
              <a:gd name="csY944" fmla="*/ 295252 h 1538630"/>
              <a:gd name="csX945" fmla="*/ 568086 w 1609516"/>
              <a:gd name="csY945" fmla="*/ 289152 h 1538630"/>
              <a:gd name="csX946" fmla="*/ 570289 w 1609516"/>
              <a:gd name="csY946" fmla="*/ 286697 h 1538630"/>
              <a:gd name="csX947" fmla="*/ 573413 w 1609516"/>
              <a:gd name="csY947" fmla="*/ 286697 h 1538630"/>
              <a:gd name="csX948" fmla="*/ 577220 w 1609516"/>
              <a:gd name="csY948" fmla="*/ 257016 h 1538630"/>
              <a:gd name="csX949" fmla="*/ 577235 w 1609516"/>
              <a:gd name="csY949" fmla="*/ 254206 h 1538630"/>
              <a:gd name="csX950" fmla="*/ 569443 w 1609516"/>
              <a:gd name="csY950" fmla="*/ 206049 h 1538630"/>
              <a:gd name="csX951" fmla="*/ 568726 w 1609516"/>
              <a:gd name="csY951" fmla="*/ 200735 h 1538630"/>
              <a:gd name="csX952" fmla="*/ 565602 w 1609516"/>
              <a:gd name="csY952" fmla="*/ 200735 h 1538630"/>
              <a:gd name="csX953" fmla="*/ 559549 w 1609516"/>
              <a:gd name="csY953" fmla="*/ 184441 h 1538630"/>
              <a:gd name="csX954" fmla="*/ 537484 w 1609516"/>
              <a:gd name="csY954" fmla="*/ 159867 h 1538630"/>
              <a:gd name="csX955" fmla="*/ 531235 w 1609516"/>
              <a:gd name="csY955" fmla="*/ 154230 h 1538630"/>
              <a:gd name="csX956" fmla="*/ 531235 w 1609516"/>
              <a:gd name="csY956" fmla="*/ 151412 h 1538630"/>
              <a:gd name="csX957" fmla="*/ 526549 w 1609516"/>
              <a:gd name="csY957" fmla="*/ 150003 h 1538630"/>
              <a:gd name="csX958" fmla="*/ 524304 w 1609516"/>
              <a:gd name="csY958" fmla="*/ 107198 h 1538630"/>
              <a:gd name="csX959" fmla="*/ 547052 w 1609516"/>
              <a:gd name="csY959" fmla="*/ 85972 h 1538630"/>
              <a:gd name="csX960" fmla="*/ 588460 w 1609516"/>
              <a:gd name="csY960" fmla="*/ 83538 h 1538630"/>
              <a:gd name="csX961" fmla="*/ 617152 w 1609516"/>
              <a:gd name="csY961" fmla="*/ 111954 h 1538630"/>
              <a:gd name="csX962" fmla="*/ 617884 w 1609516"/>
              <a:gd name="csY962" fmla="*/ 124175 h 1538630"/>
              <a:gd name="csX963" fmla="*/ 617917 w 1609516"/>
              <a:gd name="csY963" fmla="*/ 127607 h 1538630"/>
              <a:gd name="csX964" fmla="*/ 617919 w 1609516"/>
              <a:gd name="csY964" fmla="*/ 141969 h 1538630"/>
              <a:gd name="csX965" fmla="*/ 630625 w 1609516"/>
              <a:gd name="csY965" fmla="*/ 191311 h 1538630"/>
              <a:gd name="csX966" fmla="*/ 637850 w 1609516"/>
              <a:gd name="csY966" fmla="*/ 205139 h 1538630"/>
              <a:gd name="csX967" fmla="*/ 643708 w 1609516"/>
              <a:gd name="csY967" fmla="*/ 212009 h 1538630"/>
              <a:gd name="csX968" fmla="*/ 647027 w 1609516"/>
              <a:gd name="csY968" fmla="*/ 217645 h 1538630"/>
              <a:gd name="csX969" fmla="*/ 670264 w 1609516"/>
              <a:gd name="csY969" fmla="*/ 241603 h 1538630"/>
              <a:gd name="csX970" fmla="*/ 670264 w 1609516"/>
              <a:gd name="csY970" fmla="*/ 244421 h 1538630"/>
              <a:gd name="csX971" fmla="*/ 675634 w 1609516"/>
              <a:gd name="csY971" fmla="*/ 245742 h 1538630"/>
              <a:gd name="csX972" fmla="*/ 682761 w 1609516"/>
              <a:gd name="csY972" fmla="*/ 248649 h 1538630"/>
              <a:gd name="csX973" fmla="*/ 752092 w 1609516"/>
              <a:gd name="csY973" fmla="*/ 245076 h 1538630"/>
              <a:gd name="csX974" fmla="*/ 758433 w 1609516"/>
              <a:gd name="csY974" fmla="*/ 240485 h 1538630"/>
              <a:gd name="csX975" fmla="*/ 763991 w 1609516"/>
              <a:gd name="csY975" fmla="*/ 238784 h 1538630"/>
              <a:gd name="csX976" fmla="*/ 765315 w 1609516"/>
              <a:gd name="csY976" fmla="*/ 235778 h 1538630"/>
              <a:gd name="csX977" fmla="*/ 770923 w 1609516"/>
              <a:gd name="csY977" fmla="*/ 223459 h 1538630"/>
              <a:gd name="csX978" fmla="*/ 772998 w 1609516"/>
              <a:gd name="csY978" fmla="*/ 218934 h 1538630"/>
              <a:gd name="csX979" fmla="*/ 777562 w 1609516"/>
              <a:gd name="csY979" fmla="*/ 209895 h 1538630"/>
              <a:gd name="csX980" fmla="*/ 781175 w 1609516"/>
              <a:gd name="csY980" fmla="*/ 124637 h 1538630"/>
              <a:gd name="csX981" fmla="*/ 778051 w 1609516"/>
              <a:gd name="csY981" fmla="*/ 124637 h 1538630"/>
              <a:gd name="csX982" fmla="*/ 767116 w 1609516"/>
              <a:gd name="csY982" fmla="*/ 79542 h 1538630"/>
              <a:gd name="csX983" fmla="*/ 793379 w 1609516"/>
              <a:gd name="csY983" fmla="*/ 54000 h 1538630"/>
              <a:gd name="csX984" fmla="*/ 840688 w 1609516"/>
              <a:gd name="csY984" fmla="*/ 55503 h 1538630"/>
              <a:gd name="csX985" fmla="*/ 851470 w 1609516"/>
              <a:gd name="csY985" fmla="*/ 64040 h 1538630"/>
              <a:gd name="csX986" fmla="*/ 853997 w 1609516"/>
              <a:gd name="csY986" fmla="*/ 66529 h 1538630"/>
              <a:gd name="csX987" fmla="*/ 861488 w 1609516"/>
              <a:gd name="csY987" fmla="*/ 82057 h 1538630"/>
              <a:gd name="csX988" fmla="*/ 861937 w 1609516"/>
              <a:gd name="csY988" fmla="*/ 90492 h 1538630"/>
              <a:gd name="csX989" fmla="*/ 863826 w 1609516"/>
              <a:gd name="csY989" fmla="*/ 100715 h 1538630"/>
              <a:gd name="csX990" fmla="*/ 857577 w 1609516"/>
              <a:gd name="csY990" fmla="*/ 121853 h 1538630"/>
              <a:gd name="csX991" fmla="*/ 856015 w 1609516"/>
              <a:gd name="csY991" fmla="*/ 121853 h 1538630"/>
              <a:gd name="csX992" fmla="*/ 855442 w 1609516"/>
              <a:gd name="csY992" fmla="*/ 118919 h 1538630"/>
              <a:gd name="csX993" fmla="*/ 855417 w 1609516"/>
              <a:gd name="csY993" fmla="*/ 118798 h 1538630"/>
              <a:gd name="csX994" fmla="*/ 856157 w 1609516"/>
              <a:gd name="csY994" fmla="*/ 124637 h 1538630"/>
              <a:gd name="csX995" fmla="*/ 850623 w 1609516"/>
              <a:gd name="csY995" fmla="*/ 134701 h 1538630"/>
              <a:gd name="csX996" fmla="*/ 851325 w 1609516"/>
              <a:gd name="csY996" fmla="*/ 135968 h 1538630"/>
              <a:gd name="csX997" fmla="*/ 849886 w 1609516"/>
              <a:gd name="csY997" fmla="*/ 139843 h 1538630"/>
              <a:gd name="csX998" fmla="*/ 847786 w 1609516"/>
              <a:gd name="csY998" fmla="*/ 152889 h 1538630"/>
              <a:gd name="csX999" fmla="*/ 847767 w 1609516"/>
              <a:gd name="csY999" fmla="*/ 157768 h 1538630"/>
              <a:gd name="csX1000" fmla="*/ 847810 w 1609516"/>
              <a:gd name="csY1000" fmla="*/ 162919 h 1538630"/>
              <a:gd name="csX1001" fmla="*/ 847832 w 1609516"/>
              <a:gd name="csY1001" fmla="*/ 168227 h 1538630"/>
              <a:gd name="csX1002" fmla="*/ 850903 w 1609516"/>
              <a:gd name="csY1002" fmla="*/ 209013 h 1538630"/>
              <a:gd name="csX1003" fmla="*/ 852880 w 1609516"/>
              <a:gd name="csY1003" fmla="*/ 224692 h 1538630"/>
              <a:gd name="csX1004" fmla="*/ 854595 w 1609516"/>
              <a:gd name="csY1004" fmla="*/ 224692 h 1538630"/>
              <a:gd name="csX1005" fmla="*/ 856083 w 1609516"/>
              <a:gd name="csY1005" fmla="*/ 227268 h 1538630"/>
              <a:gd name="csX1006" fmla="*/ 879588 w 1609516"/>
              <a:gd name="csY1006" fmla="*/ 247239 h 1538630"/>
              <a:gd name="csX1007" fmla="*/ 885739 w 1609516"/>
              <a:gd name="csY1007" fmla="*/ 249618 h 1538630"/>
              <a:gd name="csX1008" fmla="*/ 890523 w 1609516"/>
              <a:gd name="csY1008" fmla="*/ 251467 h 1538630"/>
              <a:gd name="csX1009" fmla="*/ 890523 w 1609516"/>
              <a:gd name="csY1009" fmla="*/ 254285 h 1538630"/>
              <a:gd name="csX1010" fmla="*/ 920203 w 1609516"/>
              <a:gd name="csY1010" fmla="*/ 261332 h 1538630"/>
              <a:gd name="csX1011" fmla="*/ 920203 w 1609516"/>
              <a:gd name="csY1011" fmla="*/ 262741 h 1538630"/>
              <a:gd name="csX1012" fmla="*/ 910831 w 1609516"/>
              <a:gd name="csY1012" fmla="*/ 262741 h 1538630"/>
              <a:gd name="csX1013" fmla="*/ 910831 w 1609516"/>
              <a:gd name="csY1013" fmla="*/ 262864 h 1538630"/>
              <a:gd name="csX1014" fmla="*/ 927993 w 1609516"/>
              <a:gd name="csY1014" fmla="*/ 264177 h 1538630"/>
              <a:gd name="csX1015" fmla="*/ 939273 w 1609516"/>
              <a:gd name="csY1015" fmla="*/ 265285 h 1538630"/>
              <a:gd name="csX1016" fmla="*/ 940456 w 1609516"/>
              <a:gd name="csY1016" fmla="*/ 265191 h 1538630"/>
              <a:gd name="csX1017" fmla="*/ 991622 w 1609516"/>
              <a:gd name="csY1017" fmla="*/ 242329 h 1538630"/>
              <a:gd name="csX1018" fmla="*/ 1000803 w 1609516"/>
              <a:gd name="csY1018" fmla="*/ 236505 h 1538630"/>
              <a:gd name="csX1019" fmla="*/ 999806 w 1609516"/>
              <a:gd name="csY1019" fmla="*/ 236055 h 1538630"/>
              <a:gd name="csX1020" fmla="*/ 1003126 w 1609516"/>
              <a:gd name="csY1020" fmla="*/ 232851 h 1538630"/>
              <a:gd name="csX1021" fmla="*/ 1029487 w 1609516"/>
              <a:gd name="csY1021" fmla="*/ 205052 h 1538630"/>
              <a:gd name="csX1022" fmla="*/ 1029872 w 1609516"/>
              <a:gd name="csY1022" fmla="*/ 206442 h 1538630"/>
              <a:gd name="csX1023" fmla="*/ 1031614 w 1609516"/>
              <a:gd name="csY1023" fmla="*/ 203719 h 1538630"/>
              <a:gd name="csX1024" fmla="*/ 1038924 w 1609516"/>
              <a:gd name="csY1024" fmla="*/ 192280 h 1538630"/>
              <a:gd name="csX1025" fmla="*/ 1042049 w 1609516"/>
              <a:gd name="csY1025" fmla="*/ 190870 h 1538630"/>
              <a:gd name="csX1026" fmla="*/ 1044294 w 1609516"/>
              <a:gd name="csY1026" fmla="*/ 186026 h 1538630"/>
              <a:gd name="csX1027" fmla="*/ 1051422 w 1609516"/>
              <a:gd name="csY1027" fmla="*/ 178188 h 1538630"/>
              <a:gd name="csX1028" fmla="*/ 1052984 w 1609516"/>
              <a:gd name="csY1028" fmla="*/ 172551 h 1538630"/>
              <a:gd name="csX1029" fmla="*/ 1056108 w 1609516"/>
              <a:gd name="csY1029" fmla="*/ 172551 h 1538630"/>
              <a:gd name="csX1030" fmla="*/ 1059232 w 1609516"/>
              <a:gd name="csY1030" fmla="*/ 162686 h 1538630"/>
              <a:gd name="csX1031" fmla="*/ 1062357 w 1609516"/>
              <a:gd name="csY1031" fmla="*/ 162686 h 1538630"/>
              <a:gd name="csX1032" fmla="*/ 1063162 w 1609516"/>
              <a:gd name="csY1032" fmla="*/ 160258 h 1538630"/>
              <a:gd name="csX1033" fmla="*/ 1073292 w 1609516"/>
              <a:gd name="csY1033" fmla="*/ 140138 h 1538630"/>
              <a:gd name="csX1034" fmla="*/ 1076415 w 1609516"/>
              <a:gd name="csY1034" fmla="*/ 140138 h 1538630"/>
              <a:gd name="csX1035" fmla="*/ 1085294 w 1609516"/>
              <a:gd name="csY1035" fmla="*/ 117569 h 1538630"/>
              <a:gd name="csX1036" fmla="*/ 1087350 w 1609516"/>
              <a:gd name="csY1036" fmla="*/ 113363 h 1538630"/>
              <a:gd name="csX1037" fmla="*/ 1092037 w 1609516"/>
              <a:gd name="csY1037" fmla="*/ 111954 h 1538630"/>
              <a:gd name="csX1038" fmla="*/ 1092623 w 1609516"/>
              <a:gd name="csY1038" fmla="*/ 108695 h 1538630"/>
              <a:gd name="csX1039" fmla="*/ 1096723 w 1609516"/>
              <a:gd name="csY1039" fmla="*/ 100680 h 1538630"/>
              <a:gd name="csX1040" fmla="*/ 1098188 w 1609516"/>
              <a:gd name="csY1040" fmla="*/ 96013 h 1538630"/>
              <a:gd name="csX1041" fmla="*/ 1102288 w 1609516"/>
              <a:gd name="csY1041" fmla="*/ 87029 h 1538630"/>
              <a:gd name="csX1042" fmla="*/ 1104534 w 1609516"/>
              <a:gd name="csY1042" fmla="*/ 61222 h 1538630"/>
              <a:gd name="csX1043" fmla="*/ 1104381 w 1609516"/>
              <a:gd name="csY1043" fmla="*/ 55569 h 1538630"/>
              <a:gd name="csX1044" fmla="*/ 1104397 w 1609516"/>
              <a:gd name="csY1044" fmla="*/ 52335 h 1538630"/>
              <a:gd name="csX1045" fmla="*/ 1104436 w 1609516"/>
              <a:gd name="csY1045" fmla="*/ 48979 h 1538630"/>
              <a:gd name="csX1046" fmla="*/ 1104457 w 1609516"/>
              <a:gd name="csY1046" fmla="*/ 45575 h 1538630"/>
              <a:gd name="csX1047" fmla="*/ 1104534 w 1609516"/>
              <a:gd name="csY1047" fmla="*/ 37265 h 1538630"/>
              <a:gd name="csX1048" fmla="*/ 1107658 w 1609516"/>
              <a:gd name="csY1048" fmla="*/ 37265 h 1538630"/>
              <a:gd name="csX1049" fmla="*/ 1107463 w 1609516"/>
              <a:gd name="csY1049" fmla="*/ 31805 h 1538630"/>
              <a:gd name="csX1050" fmla="*/ 1107658 w 1609516"/>
              <a:gd name="csY1050" fmla="*/ 25991 h 1538630"/>
              <a:gd name="csX1051" fmla="*/ 1110782 w 1609516"/>
              <a:gd name="csY1051" fmla="*/ 23173 h 1538630"/>
              <a:gd name="csX1052" fmla="*/ 1111759 w 1609516"/>
              <a:gd name="csY1052" fmla="*/ 20091 h 1538630"/>
              <a:gd name="csX1053" fmla="*/ 1134507 w 1609516"/>
              <a:gd name="csY1053" fmla="*/ 2828 h 1538630"/>
              <a:gd name="csX1054" fmla="*/ 1155019 w 1609516"/>
              <a:gd name="csY1054" fmla="*/ 35 h 153863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  <a:cxn ang="0">
                <a:pos x="csX170" y="csY170"/>
              </a:cxn>
              <a:cxn ang="0">
                <a:pos x="csX171" y="csY171"/>
              </a:cxn>
              <a:cxn ang="0">
                <a:pos x="csX172" y="csY172"/>
              </a:cxn>
              <a:cxn ang="0">
                <a:pos x="csX173" y="csY173"/>
              </a:cxn>
              <a:cxn ang="0">
                <a:pos x="csX174" y="csY174"/>
              </a:cxn>
              <a:cxn ang="0">
                <a:pos x="csX175" y="csY175"/>
              </a:cxn>
              <a:cxn ang="0">
                <a:pos x="csX176" y="csY176"/>
              </a:cxn>
              <a:cxn ang="0">
                <a:pos x="csX177" y="csY177"/>
              </a:cxn>
              <a:cxn ang="0">
                <a:pos x="csX178" y="csY178"/>
              </a:cxn>
              <a:cxn ang="0">
                <a:pos x="csX179" y="csY179"/>
              </a:cxn>
              <a:cxn ang="0">
                <a:pos x="csX180" y="csY180"/>
              </a:cxn>
              <a:cxn ang="0">
                <a:pos x="csX181" y="csY181"/>
              </a:cxn>
              <a:cxn ang="0">
                <a:pos x="csX182" y="csY182"/>
              </a:cxn>
              <a:cxn ang="0">
                <a:pos x="csX183" y="csY183"/>
              </a:cxn>
              <a:cxn ang="0">
                <a:pos x="csX184" y="csY184"/>
              </a:cxn>
              <a:cxn ang="0">
                <a:pos x="csX185" y="csY185"/>
              </a:cxn>
              <a:cxn ang="0">
                <a:pos x="csX186" y="csY186"/>
              </a:cxn>
              <a:cxn ang="0">
                <a:pos x="csX187" y="csY187"/>
              </a:cxn>
              <a:cxn ang="0">
                <a:pos x="csX188" y="csY188"/>
              </a:cxn>
              <a:cxn ang="0">
                <a:pos x="csX189" y="csY189"/>
              </a:cxn>
              <a:cxn ang="0">
                <a:pos x="csX190" y="csY190"/>
              </a:cxn>
              <a:cxn ang="0">
                <a:pos x="csX191" y="csY191"/>
              </a:cxn>
              <a:cxn ang="0">
                <a:pos x="csX192" y="csY192"/>
              </a:cxn>
              <a:cxn ang="0">
                <a:pos x="csX193" y="csY193"/>
              </a:cxn>
              <a:cxn ang="0">
                <a:pos x="csX194" y="csY194"/>
              </a:cxn>
              <a:cxn ang="0">
                <a:pos x="csX195" y="csY195"/>
              </a:cxn>
              <a:cxn ang="0">
                <a:pos x="csX196" y="csY196"/>
              </a:cxn>
              <a:cxn ang="0">
                <a:pos x="csX197" y="csY197"/>
              </a:cxn>
              <a:cxn ang="0">
                <a:pos x="csX198" y="csY198"/>
              </a:cxn>
              <a:cxn ang="0">
                <a:pos x="csX199" y="csY199"/>
              </a:cxn>
              <a:cxn ang="0">
                <a:pos x="csX200" y="csY200"/>
              </a:cxn>
              <a:cxn ang="0">
                <a:pos x="csX201" y="csY201"/>
              </a:cxn>
              <a:cxn ang="0">
                <a:pos x="csX202" y="csY202"/>
              </a:cxn>
              <a:cxn ang="0">
                <a:pos x="csX203" y="csY203"/>
              </a:cxn>
              <a:cxn ang="0">
                <a:pos x="csX204" y="csY204"/>
              </a:cxn>
              <a:cxn ang="0">
                <a:pos x="csX205" y="csY205"/>
              </a:cxn>
              <a:cxn ang="0">
                <a:pos x="csX206" y="csY206"/>
              </a:cxn>
              <a:cxn ang="0">
                <a:pos x="csX207" y="csY207"/>
              </a:cxn>
              <a:cxn ang="0">
                <a:pos x="csX208" y="csY208"/>
              </a:cxn>
              <a:cxn ang="0">
                <a:pos x="csX209" y="csY209"/>
              </a:cxn>
              <a:cxn ang="0">
                <a:pos x="csX210" y="csY210"/>
              </a:cxn>
              <a:cxn ang="0">
                <a:pos x="csX211" y="csY211"/>
              </a:cxn>
              <a:cxn ang="0">
                <a:pos x="csX212" y="csY212"/>
              </a:cxn>
              <a:cxn ang="0">
                <a:pos x="csX213" y="csY213"/>
              </a:cxn>
              <a:cxn ang="0">
                <a:pos x="csX214" y="csY214"/>
              </a:cxn>
              <a:cxn ang="0">
                <a:pos x="csX215" y="csY215"/>
              </a:cxn>
              <a:cxn ang="0">
                <a:pos x="csX216" y="csY216"/>
              </a:cxn>
              <a:cxn ang="0">
                <a:pos x="csX217" y="csY217"/>
              </a:cxn>
              <a:cxn ang="0">
                <a:pos x="csX218" y="csY218"/>
              </a:cxn>
              <a:cxn ang="0">
                <a:pos x="csX219" y="csY219"/>
              </a:cxn>
              <a:cxn ang="0">
                <a:pos x="csX220" y="csY220"/>
              </a:cxn>
              <a:cxn ang="0">
                <a:pos x="csX221" y="csY221"/>
              </a:cxn>
              <a:cxn ang="0">
                <a:pos x="csX222" y="csY222"/>
              </a:cxn>
              <a:cxn ang="0">
                <a:pos x="csX223" y="csY223"/>
              </a:cxn>
              <a:cxn ang="0">
                <a:pos x="csX224" y="csY224"/>
              </a:cxn>
              <a:cxn ang="0">
                <a:pos x="csX225" y="csY225"/>
              </a:cxn>
              <a:cxn ang="0">
                <a:pos x="csX226" y="csY226"/>
              </a:cxn>
              <a:cxn ang="0">
                <a:pos x="csX227" y="csY227"/>
              </a:cxn>
              <a:cxn ang="0">
                <a:pos x="csX228" y="csY228"/>
              </a:cxn>
              <a:cxn ang="0">
                <a:pos x="csX229" y="csY229"/>
              </a:cxn>
              <a:cxn ang="0">
                <a:pos x="csX230" y="csY230"/>
              </a:cxn>
              <a:cxn ang="0">
                <a:pos x="csX231" y="csY231"/>
              </a:cxn>
              <a:cxn ang="0">
                <a:pos x="csX232" y="csY232"/>
              </a:cxn>
              <a:cxn ang="0">
                <a:pos x="csX233" y="csY233"/>
              </a:cxn>
              <a:cxn ang="0">
                <a:pos x="csX234" y="csY234"/>
              </a:cxn>
              <a:cxn ang="0">
                <a:pos x="csX235" y="csY235"/>
              </a:cxn>
              <a:cxn ang="0">
                <a:pos x="csX236" y="csY236"/>
              </a:cxn>
              <a:cxn ang="0">
                <a:pos x="csX237" y="csY237"/>
              </a:cxn>
              <a:cxn ang="0">
                <a:pos x="csX238" y="csY238"/>
              </a:cxn>
              <a:cxn ang="0">
                <a:pos x="csX239" y="csY239"/>
              </a:cxn>
              <a:cxn ang="0">
                <a:pos x="csX240" y="csY240"/>
              </a:cxn>
              <a:cxn ang="0">
                <a:pos x="csX241" y="csY241"/>
              </a:cxn>
              <a:cxn ang="0">
                <a:pos x="csX242" y="csY242"/>
              </a:cxn>
              <a:cxn ang="0">
                <a:pos x="csX243" y="csY243"/>
              </a:cxn>
              <a:cxn ang="0">
                <a:pos x="csX244" y="csY244"/>
              </a:cxn>
              <a:cxn ang="0">
                <a:pos x="csX245" y="csY245"/>
              </a:cxn>
              <a:cxn ang="0">
                <a:pos x="csX246" y="csY246"/>
              </a:cxn>
              <a:cxn ang="0">
                <a:pos x="csX247" y="csY247"/>
              </a:cxn>
              <a:cxn ang="0">
                <a:pos x="csX248" y="csY248"/>
              </a:cxn>
              <a:cxn ang="0">
                <a:pos x="csX249" y="csY249"/>
              </a:cxn>
              <a:cxn ang="0">
                <a:pos x="csX250" y="csY250"/>
              </a:cxn>
              <a:cxn ang="0">
                <a:pos x="csX251" y="csY251"/>
              </a:cxn>
              <a:cxn ang="0">
                <a:pos x="csX252" y="csY252"/>
              </a:cxn>
              <a:cxn ang="0">
                <a:pos x="csX253" y="csY253"/>
              </a:cxn>
              <a:cxn ang="0">
                <a:pos x="csX254" y="csY254"/>
              </a:cxn>
              <a:cxn ang="0">
                <a:pos x="csX255" y="csY255"/>
              </a:cxn>
              <a:cxn ang="0">
                <a:pos x="csX256" y="csY256"/>
              </a:cxn>
              <a:cxn ang="0">
                <a:pos x="csX257" y="csY257"/>
              </a:cxn>
              <a:cxn ang="0">
                <a:pos x="csX258" y="csY258"/>
              </a:cxn>
              <a:cxn ang="0">
                <a:pos x="csX259" y="csY259"/>
              </a:cxn>
              <a:cxn ang="0">
                <a:pos x="csX260" y="csY260"/>
              </a:cxn>
              <a:cxn ang="0">
                <a:pos x="csX261" y="csY261"/>
              </a:cxn>
              <a:cxn ang="0">
                <a:pos x="csX262" y="csY262"/>
              </a:cxn>
              <a:cxn ang="0">
                <a:pos x="csX263" y="csY263"/>
              </a:cxn>
              <a:cxn ang="0">
                <a:pos x="csX264" y="csY264"/>
              </a:cxn>
              <a:cxn ang="0">
                <a:pos x="csX265" y="csY265"/>
              </a:cxn>
              <a:cxn ang="0">
                <a:pos x="csX266" y="csY266"/>
              </a:cxn>
              <a:cxn ang="0">
                <a:pos x="csX267" y="csY267"/>
              </a:cxn>
              <a:cxn ang="0">
                <a:pos x="csX268" y="csY268"/>
              </a:cxn>
              <a:cxn ang="0">
                <a:pos x="csX269" y="csY269"/>
              </a:cxn>
              <a:cxn ang="0">
                <a:pos x="csX270" y="csY270"/>
              </a:cxn>
              <a:cxn ang="0">
                <a:pos x="csX271" y="csY271"/>
              </a:cxn>
              <a:cxn ang="0">
                <a:pos x="csX272" y="csY272"/>
              </a:cxn>
              <a:cxn ang="0">
                <a:pos x="csX273" y="csY273"/>
              </a:cxn>
              <a:cxn ang="0">
                <a:pos x="csX274" y="csY274"/>
              </a:cxn>
              <a:cxn ang="0">
                <a:pos x="csX275" y="csY275"/>
              </a:cxn>
              <a:cxn ang="0">
                <a:pos x="csX276" y="csY276"/>
              </a:cxn>
              <a:cxn ang="0">
                <a:pos x="csX277" y="csY277"/>
              </a:cxn>
              <a:cxn ang="0">
                <a:pos x="csX278" y="csY278"/>
              </a:cxn>
              <a:cxn ang="0">
                <a:pos x="csX279" y="csY279"/>
              </a:cxn>
              <a:cxn ang="0">
                <a:pos x="csX280" y="csY280"/>
              </a:cxn>
              <a:cxn ang="0">
                <a:pos x="csX281" y="csY281"/>
              </a:cxn>
              <a:cxn ang="0">
                <a:pos x="csX282" y="csY282"/>
              </a:cxn>
              <a:cxn ang="0">
                <a:pos x="csX283" y="csY283"/>
              </a:cxn>
              <a:cxn ang="0">
                <a:pos x="csX284" y="csY284"/>
              </a:cxn>
              <a:cxn ang="0">
                <a:pos x="csX285" y="csY285"/>
              </a:cxn>
              <a:cxn ang="0">
                <a:pos x="csX286" y="csY286"/>
              </a:cxn>
              <a:cxn ang="0">
                <a:pos x="csX287" y="csY287"/>
              </a:cxn>
              <a:cxn ang="0">
                <a:pos x="csX288" y="csY288"/>
              </a:cxn>
              <a:cxn ang="0">
                <a:pos x="csX289" y="csY289"/>
              </a:cxn>
              <a:cxn ang="0">
                <a:pos x="csX290" y="csY290"/>
              </a:cxn>
              <a:cxn ang="0">
                <a:pos x="csX291" y="csY291"/>
              </a:cxn>
              <a:cxn ang="0">
                <a:pos x="csX292" y="csY292"/>
              </a:cxn>
              <a:cxn ang="0">
                <a:pos x="csX293" y="csY293"/>
              </a:cxn>
              <a:cxn ang="0">
                <a:pos x="csX294" y="csY294"/>
              </a:cxn>
              <a:cxn ang="0">
                <a:pos x="csX295" y="csY295"/>
              </a:cxn>
              <a:cxn ang="0">
                <a:pos x="csX296" y="csY296"/>
              </a:cxn>
              <a:cxn ang="0">
                <a:pos x="csX297" y="csY297"/>
              </a:cxn>
              <a:cxn ang="0">
                <a:pos x="csX298" y="csY298"/>
              </a:cxn>
              <a:cxn ang="0">
                <a:pos x="csX299" y="csY299"/>
              </a:cxn>
              <a:cxn ang="0">
                <a:pos x="csX300" y="csY300"/>
              </a:cxn>
              <a:cxn ang="0">
                <a:pos x="csX301" y="csY301"/>
              </a:cxn>
              <a:cxn ang="0">
                <a:pos x="csX302" y="csY302"/>
              </a:cxn>
              <a:cxn ang="0">
                <a:pos x="csX303" y="csY303"/>
              </a:cxn>
              <a:cxn ang="0">
                <a:pos x="csX304" y="csY304"/>
              </a:cxn>
              <a:cxn ang="0">
                <a:pos x="csX305" y="csY305"/>
              </a:cxn>
              <a:cxn ang="0">
                <a:pos x="csX306" y="csY306"/>
              </a:cxn>
              <a:cxn ang="0">
                <a:pos x="csX307" y="csY307"/>
              </a:cxn>
              <a:cxn ang="0">
                <a:pos x="csX308" y="csY308"/>
              </a:cxn>
              <a:cxn ang="0">
                <a:pos x="csX309" y="csY309"/>
              </a:cxn>
              <a:cxn ang="0">
                <a:pos x="csX310" y="csY310"/>
              </a:cxn>
              <a:cxn ang="0">
                <a:pos x="csX311" y="csY311"/>
              </a:cxn>
              <a:cxn ang="0">
                <a:pos x="csX312" y="csY312"/>
              </a:cxn>
              <a:cxn ang="0">
                <a:pos x="csX313" y="csY313"/>
              </a:cxn>
              <a:cxn ang="0">
                <a:pos x="csX314" y="csY314"/>
              </a:cxn>
              <a:cxn ang="0">
                <a:pos x="csX315" y="csY315"/>
              </a:cxn>
              <a:cxn ang="0">
                <a:pos x="csX316" y="csY316"/>
              </a:cxn>
              <a:cxn ang="0">
                <a:pos x="csX317" y="csY317"/>
              </a:cxn>
              <a:cxn ang="0">
                <a:pos x="csX318" y="csY318"/>
              </a:cxn>
              <a:cxn ang="0">
                <a:pos x="csX319" y="csY319"/>
              </a:cxn>
              <a:cxn ang="0">
                <a:pos x="csX320" y="csY320"/>
              </a:cxn>
              <a:cxn ang="0">
                <a:pos x="csX321" y="csY321"/>
              </a:cxn>
              <a:cxn ang="0">
                <a:pos x="csX322" y="csY322"/>
              </a:cxn>
              <a:cxn ang="0">
                <a:pos x="csX323" y="csY323"/>
              </a:cxn>
              <a:cxn ang="0">
                <a:pos x="csX324" y="csY324"/>
              </a:cxn>
              <a:cxn ang="0">
                <a:pos x="csX325" y="csY325"/>
              </a:cxn>
              <a:cxn ang="0">
                <a:pos x="csX326" y="csY326"/>
              </a:cxn>
              <a:cxn ang="0">
                <a:pos x="csX327" y="csY327"/>
              </a:cxn>
              <a:cxn ang="0">
                <a:pos x="csX328" y="csY328"/>
              </a:cxn>
              <a:cxn ang="0">
                <a:pos x="csX329" y="csY329"/>
              </a:cxn>
              <a:cxn ang="0">
                <a:pos x="csX330" y="csY330"/>
              </a:cxn>
              <a:cxn ang="0">
                <a:pos x="csX331" y="csY331"/>
              </a:cxn>
              <a:cxn ang="0">
                <a:pos x="csX332" y="csY332"/>
              </a:cxn>
              <a:cxn ang="0">
                <a:pos x="csX333" y="csY333"/>
              </a:cxn>
              <a:cxn ang="0">
                <a:pos x="csX334" y="csY334"/>
              </a:cxn>
              <a:cxn ang="0">
                <a:pos x="csX335" y="csY335"/>
              </a:cxn>
              <a:cxn ang="0">
                <a:pos x="csX336" y="csY336"/>
              </a:cxn>
              <a:cxn ang="0">
                <a:pos x="csX337" y="csY337"/>
              </a:cxn>
              <a:cxn ang="0">
                <a:pos x="csX338" y="csY338"/>
              </a:cxn>
              <a:cxn ang="0">
                <a:pos x="csX339" y="csY339"/>
              </a:cxn>
              <a:cxn ang="0">
                <a:pos x="csX340" y="csY340"/>
              </a:cxn>
              <a:cxn ang="0">
                <a:pos x="csX341" y="csY341"/>
              </a:cxn>
              <a:cxn ang="0">
                <a:pos x="csX342" y="csY342"/>
              </a:cxn>
              <a:cxn ang="0">
                <a:pos x="csX343" y="csY343"/>
              </a:cxn>
              <a:cxn ang="0">
                <a:pos x="csX344" y="csY344"/>
              </a:cxn>
              <a:cxn ang="0">
                <a:pos x="csX345" y="csY345"/>
              </a:cxn>
              <a:cxn ang="0">
                <a:pos x="csX346" y="csY346"/>
              </a:cxn>
              <a:cxn ang="0">
                <a:pos x="csX347" y="csY347"/>
              </a:cxn>
              <a:cxn ang="0">
                <a:pos x="csX348" y="csY348"/>
              </a:cxn>
              <a:cxn ang="0">
                <a:pos x="csX349" y="csY349"/>
              </a:cxn>
              <a:cxn ang="0">
                <a:pos x="csX350" y="csY350"/>
              </a:cxn>
              <a:cxn ang="0">
                <a:pos x="csX351" y="csY351"/>
              </a:cxn>
              <a:cxn ang="0">
                <a:pos x="csX352" y="csY352"/>
              </a:cxn>
              <a:cxn ang="0">
                <a:pos x="csX353" y="csY353"/>
              </a:cxn>
              <a:cxn ang="0">
                <a:pos x="csX354" y="csY354"/>
              </a:cxn>
              <a:cxn ang="0">
                <a:pos x="csX355" y="csY355"/>
              </a:cxn>
              <a:cxn ang="0">
                <a:pos x="csX356" y="csY356"/>
              </a:cxn>
              <a:cxn ang="0">
                <a:pos x="csX357" y="csY357"/>
              </a:cxn>
              <a:cxn ang="0">
                <a:pos x="csX358" y="csY358"/>
              </a:cxn>
              <a:cxn ang="0">
                <a:pos x="csX359" y="csY359"/>
              </a:cxn>
              <a:cxn ang="0">
                <a:pos x="csX360" y="csY360"/>
              </a:cxn>
              <a:cxn ang="0">
                <a:pos x="csX361" y="csY361"/>
              </a:cxn>
              <a:cxn ang="0">
                <a:pos x="csX362" y="csY362"/>
              </a:cxn>
              <a:cxn ang="0">
                <a:pos x="csX363" y="csY363"/>
              </a:cxn>
              <a:cxn ang="0">
                <a:pos x="csX364" y="csY364"/>
              </a:cxn>
              <a:cxn ang="0">
                <a:pos x="csX365" y="csY365"/>
              </a:cxn>
              <a:cxn ang="0">
                <a:pos x="csX366" y="csY366"/>
              </a:cxn>
              <a:cxn ang="0">
                <a:pos x="csX367" y="csY367"/>
              </a:cxn>
              <a:cxn ang="0">
                <a:pos x="csX368" y="csY368"/>
              </a:cxn>
              <a:cxn ang="0">
                <a:pos x="csX369" y="csY369"/>
              </a:cxn>
              <a:cxn ang="0">
                <a:pos x="csX370" y="csY370"/>
              </a:cxn>
              <a:cxn ang="0">
                <a:pos x="csX371" y="csY371"/>
              </a:cxn>
              <a:cxn ang="0">
                <a:pos x="csX372" y="csY372"/>
              </a:cxn>
              <a:cxn ang="0">
                <a:pos x="csX373" y="csY373"/>
              </a:cxn>
              <a:cxn ang="0">
                <a:pos x="csX374" y="csY374"/>
              </a:cxn>
              <a:cxn ang="0">
                <a:pos x="csX375" y="csY375"/>
              </a:cxn>
              <a:cxn ang="0">
                <a:pos x="csX376" y="csY376"/>
              </a:cxn>
              <a:cxn ang="0">
                <a:pos x="csX377" y="csY377"/>
              </a:cxn>
              <a:cxn ang="0">
                <a:pos x="csX378" y="csY378"/>
              </a:cxn>
              <a:cxn ang="0">
                <a:pos x="csX379" y="csY379"/>
              </a:cxn>
              <a:cxn ang="0">
                <a:pos x="csX380" y="csY380"/>
              </a:cxn>
              <a:cxn ang="0">
                <a:pos x="csX381" y="csY381"/>
              </a:cxn>
              <a:cxn ang="0">
                <a:pos x="csX382" y="csY382"/>
              </a:cxn>
              <a:cxn ang="0">
                <a:pos x="csX383" y="csY383"/>
              </a:cxn>
              <a:cxn ang="0">
                <a:pos x="csX384" y="csY384"/>
              </a:cxn>
              <a:cxn ang="0">
                <a:pos x="csX385" y="csY385"/>
              </a:cxn>
              <a:cxn ang="0">
                <a:pos x="csX386" y="csY386"/>
              </a:cxn>
              <a:cxn ang="0">
                <a:pos x="csX387" y="csY387"/>
              </a:cxn>
              <a:cxn ang="0">
                <a:pos x="csX388" y="csY388"/>
              </a:cxn>
              <a:cxn ang="0">
                <a:pos x="csX389" y="csY389"/>
              </a:cxn>
              <a:cxn ang="0">
                <a:pos x="csX390" y="csY390"/>
              </a:cxn>
              <a:cxn ang="0">
                <a:pos x="csX391" y="csY391"/>
              </a:cxn>
              <a:cxn ang="0">
                <a:pos x="csX392" y="csY392"/>
              </a:cxn>
              <a:cxn ang="0">
                <a:pos x="csX393" y="csY393"/>
              </a:cxn>
              <a:cxn ang="0">
                <a:pos x="csX394" y="csY394"/>
              </a:cxn>
              <a:cxn ang="0">
                <a:pos x="csX395" y="csY395"/>
              </a:cxn>
              <a:cxn ang="0">
                <a:pos x="csX396" y="csY396"/>
              </a:cxn>
              <a:cxn ang="0">
                <a:pos x="csX397" y="csY397"/>
              </a:cxn>
              <a:cxn ang="0">
                <a:pos x="csX398" y="csY398"/>
              </a:cxn>
              <a:cxn ang="0">
                <a:pos x="csX399" y="csY399"/>
              </a:cxn>
              <a:cxn ang="0">
                <a:pos x="csX400" y="csY400"/>
              </a:cxn>
              <a:cxn ang="0">
                <a:pos x="csX401" y="csY401"/>
              </a:cxn>
              <a:cxn ang="0">
                <a:pos x="csX402" y="csY402"/>
              </a:cxn>
              <a:cxn ang="0">
                <a:pos x="csX403" y="csY403"/>
              </a:cxn>
              <a:cxn ang="0">
                <a:pos x="csX404" y="csY404"/>
              </a:cxn>
              <a:cxn ang="0">
                <a:pos x="csX405" y="csY405"/>
              </a:cxn>
              <a:cxn ang="0">
                <a:pos x="csX406" y="csY406"/>
              </a:cxn>
              <a:cxn ang="0">
                <a:pos x="csX407" y="csY407"/>
              </a:cxn>
              <a:cxn ang="0">
                <a:pos x="csX408" y="csY408"/>
              </a:cxn>
              <a:cxn ang="0">
                <a:pos x="csX409" y="csY409"/>
              </a:cxn>
              <a:cxn ang="0">
                <a:pos x="csX410" y="csY410"/>
              </a:cxn>
              <a:cxn ang="0">
                <a:pos x="csX411" y="csY411"/>
              </a:cxn>
              <a:cxn ang="0">
                <a:pos x="csX412" y="csY412"/>
              </a:cxn>
              <a:cxn ang="0">
                <a:pos x="csX413" y="csY413"/>
              </a:cxn>
              <a:cxn ang="0">
                <a:pos x="csX414" y="csY414"/>
              </a:cxn>
              <a:cxn ang="0">
                <a:pos x="csX415" y="csY415"/>
              </a:cxn>
              <a:cxn ang="0">
                <a:pos x="csX416" y="csY416"/>
              </a:cxn>
              <a:cxn ang="0">
                <a:pos x="csX417" y="csY417"/>
              </a:cxn>
              <a:cxn ang="0">
                <a:pos x="csX418" y="csY418"/>
              </a:cxn>
              <a:cxn ang="0">
                <a:pos x="csX419" y="csY419"/>
              </a:cxn>
              <a:cxn ang="0">
                <a:pos x="csX420" y="csY420"/>
              </a:cxn>
              <a:cxn ang="0">
                <a:pos x="csX421" y="csY421"/>
              </a:cxn>
              <a:cxn ang="0">
                <a:pos x="csX422" y="csY422"/>
              </a:cxn>
              <a:cxn ang="0">
                <a:pos x="csX423" y="csY423"/>
              </a:cxn>
              <a:cxn ang="0">
                <a:pos x="csX424" y="csY424"/>
              </a:cxn>
              <a:cxn ang="0">
                <a:pos x="csX425" y="csY425"/>
              </a:cxn>
              <a:cxn ang="0">
                <a:pos x="csX426" y="csY426"/>
              </a:cxn>
              <a:cxn ang="0">
                <a:pos x="csX427" y="csY427"/>
              </a:cxn>
              <a:cxn ang="0">
                <a:pos x="csX428" y="csY428"/>
              </a:cxn>
              <a:cxn ang="0">
                <a:pos x="csX429" y="csY429"/>
              </a:cxn>
              <a:cxn ang="0">
                <a:pos x="csX430" y="csY430"/>
              </a:cxn>
              <a:cxn ang="0">
                <a:pos x="csX431" y="csY431"/>
              </a:cxn>
              <a:cxn ang="0">
                <a:pos x="csX432" y="csY432"/>
              </a:cxn>
              <a:cxn ang="0">
                <a:pos x="csX433" y="csY433"/>
              </a:cxn>
              <a:cxn ang="0">
                <a:pos x="csX434" y="csY434"/>
              </a:cxn>
              <a:cxn ang="0">
                <a:pos x="csX435" y="csY435"/>
              </a:cxn>
              <a:cxn ang="0">
                <a:pos x="csX436" y="csY436"/>
              </a:cxn>
              <a:cxn ang="0">
                <a:pos x="csX437" y="csY437"/>
              </a:cxn>
              <a:cxn ang="0">
                <a:pos x="csX438" y="csY438"/>
              </a:cxn>
              <a:cxn ang="0">
                <a:pos x="csX439" y="csY439"/>
              </a:cxn>
              <a:cxn ang="0">
                <a:pos x="csX440" y="csY440"/>
              </a:cxn>
              <a:cxn ang="0">
                <a:pos x="csX441" y="csY441"/>
              </a:cxn>
              <a:cxn ang="0">
                <a:pos x="csX442" y="csY442"/>
              </a:cxn>
              <a:cxn ang="0">
                <a:pos x="csX443" y="csY443"/>
              </a:cxn>
              <a:cxn ang="0">
                <a:pos x="csX444" y="csY444"/>
              </a:cxn>
              <a:cxn ang="0">
                <a:pos x="csX445" y="csY445"/>
              </a:cxn>
              <a:cxn ang="0">
                <a:pos x="csX446" y="csY446"/>
              </a:cxn>
              <a:cxn ang="0">
                <a:pos x="csX447" y="csY447"/>
              </a:cxn>
              <a:cxn ang="0">
                <a:pos x="csX448" y="csY448"/>
              </a:cxn>
              <a:cxn ang="0">
                <a:pos x="csX449" y="csY449"/>
              </a:cxn>
              <a:cxn ang="0">
                <a:pos x="csX450" y="csY450"/>
              </a:cxn>
              <a:cxn ang="0">
                <a:pos x="csX451" y="csY451"/>
              </a:cxn>
              <a:cxn ang="0">
                <a:pos x="csX452" y="csY452"/>
              </a:cxn>
              <a:cxn ang="0">
                <a:pos x="csX453" y="csY453"/>
              </a:cxn>
              <a:cxn ang="0">
                <a:pos x="csX454" y="csY454"/>
              </a:cxn>
              <a:cxn ang="0">
                <a:pos x="csX455" y="csY455"/>
              </a:cxn>
              <a:cxn ang="0">
                <a:pos x="csX456" y="csY456"/>
              </a:cxn>
              <a:cxn ang="0">
                <a:pos x="csX457" y="csY457"/>
              </a:cxn>
              <a:cxn ang="0">
                <a:pos x="csX458" y="csY458"/>
              </a:cxn>
              <a:cxn ang="0">
                <a:pos x="csX459" y="csY459"/>
              </a:cxn>
              <a:cxn ang="0">
                <a:pos x="csX460" y="csY460"/>
              </a:cxn>
              <a:cxn ang="0">
                <a:pos x="csX461" y="csY461"/>
              </a:cxn>
              <a:cxn ang="0">
                <a:pos x="csX462" y="csY462"/>
              </a:cxn>
              <a:cxn ang="0">
                <a:pos x="csX463" y="csY463"/>
              </a:cxn>
              <a:cxn ang="0">
                <a:pos x="csX464" y="csY464"/>
              </a:cxn>
              <a:cxn ang="0">
                <a:pos x="csX465" y="csY465"/>
              </a:cxn>
              <a:cxn ang="0">
                <a:pos x="csX466" y="csY466"/>
              </a:cxn>
              <a:cxn ang="0">
                <a:pos x="csX467" y="csY467"/>
              </a:cxn>
              <a:cxn ang="0">
                <a:pos x="csX468" y="csY468"/>
              </a:cxn>
              <a:cxn ang="0">
                <a:pos x="csX469" y="csY469"/>
              </a:cxn>
              <a:cxn ang="0">
                <a:pos x="csX470" y="csY470"/>
              </a:cxn>
              <a:cxn ang="0">
                <a:pos x="csX471" y="csY471"/>
              </a:cxn>
              <a:cxn ang="0">
                <a:pos x="csX472" y="csY472"/>
              </a:cxn>
              <a:cxn ang="0">
                <a:pos x="csX473" y="csY473"/>
              </a:cxn>
              <a:cxn ang="0">
                <a:pos x="csX474" y="csY474"/>
              </a:cxn>
              <a:cxn ang="0">
                <a:pos x="csX475" y="csY475"/>
              </a:cxn>
              <a:cxn ang="0">
                <a:pos x="csX476" y="csY476"/>
              </a:cxn>
              <a:cxn ang="0">
                <a:pos x="csX477" y="csY477"/>
              </a:cxn>
              <a:cxn ang="0">
                <a:pos x="csX478" y="csY478"/>
              </a:cxn>
              <a:cxn ang="0">
                <a:pos x="csX479" y="csY479"/>
              </a:cxn>
              <a:cxn ang="0">
                <a:pos x="csX480" y="csY480"/>
              </a:cxn>
              <a:cxn ang="0">
                <a:pos x="csX481" y="csY481"/>
              </a:cxn>
              <a:cxn ang="0">
                <a:pos x="csX482" y="csY482"/>
              </a:cxn>
              <a:cxn ang="0">
                <a:pos x="csX483" y="csY483"/>
              </a:cxn>
              <a:cxn ang="0">
                <a:pos x="csX484" y="csY484"/>
              </a:cxn>
              <a:cxn ang="0">
                <a:pos x="csX485" y="csY485"/>
              </a:cxn>
              <a:cxn ang="0">
                <a:pos x="csX486" y="csY486"/>
              </a:cxn>
              <a:cxn ang="0">
                <a:pos x="csX487" y="csY487"/>
              </a:cxn>
              <a:cxn ang="0">
                <a:pos x="csX488" y="csY488"/>
              </a:cxn>
              <a:cxn ang="0">
                <a:pos x="csX489" y="csY489"/>
              </a:cxn>
              <a:cxn ang="0">
                <a:pos x="csX490" y="csY490"/>
              </a:cxn>
              <a:cxn ang="0">
                <a:pos x="csX491" y="csY491"/>
              </a:cxn>
              <a:cxn ang="0">
                <a:pos x="csX492" y="csY492"/>
              </a:cxn>
              <a:cxn ang="0">
                <a:pos x="csX493" y="csY493"/>
              </a:cxn>
              <a:cxn ang="0">
                <a:pos x="csX494" y="csY494"/>
              </a:cxn>
              <a:cxn ang="0">
                <a:pos x="csX495" y="csY495"/>
              </a:cxn>
              <a:cxn ang="0">
                <a:pos x="csX496" y="csY496"/>
              </a:cxn>
              <a:cxn ang="0">
                <a:pos x="csX497" y="csY497"/>
              </a:cxn>
              <a:cxn ang="0">
                <a:pos x="csX498" y="csY498"/>
              </a:cxn>
              <a:cxn ang="0">
                <a:pos x="csX499" y="csY499"/>
              </a:cxn>
              <a:cxn ang="0">
                <a:pos x="csX500" y="csY500"/>
              </a:cxn>
              <a:cxn ang="0">
                <a:pos x="csX501" y="csY501"/>
              </a:cxn>
              <a:cxn ang="0">
                <a:pos x="csX502" y="csY502"/>
              </a:cxn>
              <a:cxn ang="0">
                <a:pos x="csX503" y="csY503"/>
              </a:cxn>
              <a:cxn ang="0">
                <a:pos x="csX504" y="csY504"/>
              </a:cxn>
              <a:cxn ang="0">
                <a:pos x="csX505" y="csY505"/>
              </a:cxn>
              <a:cxn ang="0">
                <a:pos x="csX506" y="csY506"/>
              </a:cxn>
              <a:cxn ang="0">
                <a:pos x="csX507" y="csY507"/>
              </a:cxn>
              <a:cxn ang="0">
                <a:pos x="csX508" y="csY508"/>
              </a:cxn>
              <a:cxn ang="0">
                <a:pos x="csX509" y="csY509"/>
              </a:cxn>
              <a:cxn ang="0">
                <a:pos x="csX510" y="csY510"/>
              </a:cxn>
              <a:cxn ang="0">
                <a:pos x="csX511" y="csY511"/>
              </a:cxn>
              <a:cxn ang="0">
                <a:pos x="csX512" y="csY512"/>
              </a:cxn>
              <a:cxn ang="0">
                <a:pos x="csX513" y="csY513"/>
              </a:cxn>
              <a:cxn ang="0">
                <a:pos x="csX514" y="csY514"/>
              </a:cxn>
              <a:cxn ang="0">
                <a:pos x="csX515" y="csY515"/>
              </a:cxn>
              <a:cxn ang="0">
                <a:pos x="csX516" y="csY516"/>
              </a:cxn>
              <a:cxn ang="0">
                <a:pos x="csX517" y="csY517"/>
              </a:cxn>
              <a:cxn ang="0">
                <a:pos x="csX518" y="csY518"/>
              </a:cxn>
              <a:cxn ang="0">
                <a:pos x="csX519" y="csY519"/>
              </a:cxn>
              <a:cxn ang="0">
                <a:pos x="csX520" y="csY520"/>
              </a:cxn>
              <a:cxn ang="0">
                <a:pos x="csX521" y="csY521"/>
              </a:cxn>
              <a:cxn ang="0">
                <a:pos x="csX522" y="csY522"/>
              </a:cxn>
              <a:cxn ang="0">
                <a:pos x="csX523" y="csY523"/>
              </a:cxn>
              <a:cxn ang="0">
                <a:pos x="csX524" y="csY524"/>
              </a:cxn>
              <a:cxn ang="0">
                <a:pos x="csX525" y="csY525"/>
              </a:cxn>
              <a:cxn ang="0">
                <a:pos x="csX526" y="csY526"/>
              </a:cxn>
              <a:cxn ang="0">
                <a:pos x="csX527" y="csY527"/>
              </a:cxn>
              <a:cxn ang="0">
                <a:pos x="csX528" y="csY528"/>
              </a:cxn>
              <a:cxn ang="0">
                <a:pos x="csX529" y="csY529"/>
              </a:cxn>
              <a:cxn ang="0">
                <a:pos x="csX530" y="csY530"/>
              </a:cxn>
              <a:cxn ang="0">
                <a:pos x="csX531" y="csY531"/>
              </a:cxn>
              <a:cxn ang="0">
                <a:pos x="csX532" y="csY532"/>
              </a:cxn>
              <a:cxn ang="0">
                <a:pos x="csX533" y="csY533"/>
              </a:cxn>
              <a:cxn ang="0">
                <a:pos x="csX534" y="csY534"/>
              </a:cxn>
              <a:cxn ang="0">
                <a:pos x="csX535" y="csY535"/>
              </a:cxn>
              <a:cxn ang="0">
                <a:pos x="csX536" y="csY536"/>
              </a:cxn>
              <a:cxn ang="0">
                <a:pos x="csX537" y="csY537"/>
              </a:cxn>
              <a:cxn ang="0">
                <a:pos x="csX538" y="csY538"/>
              </a:cxn>
              <a:cxn ang="0">
                <a:pos x="csX539" y="csY539"/>
              </a:cxn>
              <a:cxn ang="0">
                <a:pos x="csX540" y="csY540"/>
              </a:cxn>
              <a:cxn ang="0">
                <a:pos x="csX541" y="csY541"/>
              </a:cxn>
              <a:cxn ang="0">
                <a:pos x="csX542" y="csY542"/>
              </a:cxn>
              <a:cxn ang="0">
                <a:pos x="csX543" y="csY543"/>
              </a:cxn>
              <a:cxn ang="0">
                <a:pos x="csX544" y="csY544"/>
              </a:cxn>
              <a:cxn ang="0">
                <a:pos x="csX545" y="csY545"/>
              </a:cxn>
              <a:cxn ang="0">
                <a:pos x="csX546" y="csY546"/>
              </a:cxn>
              <a:cxn ang="0">
                <a:pos x="csX547" y="csY547"/>
              </a:cxn>
              <a:cxn ang="0">
                <a:pos x="csX548" y="csY548"/>
              </a:cxn>
              <a:cxn ang="0">
                <a:pos x="csX549" y="csY549"/>
              </a:cxn>
              <a:cxn ang="0">
                <a:pos x="csX550" y="csY550"/>
              </a:cxn>
              <a:cxn ang="0">
                <a:pos x="csX551" y="csY551"/>
              </a:cxn>
              <a:cxn ang="0">
                <a:pos x="csX552" y="csY552"/>
              </a:cxn>
              <a:cxn ang="0">
                <a:pos x="csX553" y="csY553"/>
              </a:cxn>
              <a:cxn ang="0">
                <a:pos x="csX554" y="csY554"/>
              </a:cxn>
              <a:cxn ang="0">
                <a:pos x="csX555" y="csY555"/>
              </a:cxn>
              <a:cxn ang="0">
                <a:pos x="csX556" y="csY556"/>
              </a:cxn>
              <a:cxn ang="0">
                <a:pos x="csX557" y="csY557"/>
              </a:cxn>
              <a:cxn ang="0">
                <a:pos x="csX558" y="csY558"/>
              </a:cxn>
              <a:cxn ang="0">
                <a:pos x="csX559" y="csY559"/>
              </a:cxn>
              <a:cxn ang="0">
                <a:pos x="csX560" y="csY560"/>
              </a:cxn>
              <a:cxn ang="0">
                <a:pos x="csX561" y="csY561"/>
              </a:cxn>
              <a:cxn ang="0">
                <a:pos x="csX562" y="csY562"/>
              </a:cxn>
              <a:cxn ang="0">
                <a:pos x="csX563" y="csY563"/>
              </a:cxn>
              <a:cxn ang="0">
                <a:pos x="csX564" y="csY564"/>
              </a:cxn>
              <a:cxn ang="0">
                <a:pos x="csX565" y="csY565"/>
              </a:cxn>
              <a:cxn ang="0">
                <a:pos x="csX566" y="csY566"/>
              </a:cxn>
              <a:cxn ang="0">
                <a:pos x="csX567" y="csY567"/>
              </a:cxn>
              <a:cxn ang="0">
                <a:pos x="csX568" y="csY568"/>
              </a:cxn>
              <a:cxn ang="0">
                <a:pos x="csX569" y="csY569"/>
              </a:cxn>
              <a:cxn ang="0">
                <a:pos x="csX570" y="csY570"/>
              </a:cxn>
              <a:cxn ang="0">
                <a:pos x="csX571" y="csY571"/>
              </a:cxn>
              <a:cxn ang="0">
                <a:pos x="csX572" y="csY572"/>
              </a:cxn>
              <a:cxn ang="0">
                <a:pos x="csX573" y="csY573"/>
              </a:cxn>
              <a:cxn ang="0">
                <a:pos x="csX574" y="csY574"/>
              </a:cxn>
              <a:cxn ang="0">
                <a:pos x="csX575" y="csY575"/>
              </a:cxn>
              <a:cxn ang="0">
                <a:pos x="csX576" y="csY576"/>
              </a:cxn>
              <a:cxn ang="0">
                <a:pos x="csX577" y="csY577"/>
              </a:cxn>
              <a:cxn ang="0">
                <a:pos x="csX578" y="csY578"/>
              </a:cxn>
              <a:cxn ang="0">
                <a:pos x="csX579" y="csY579"/>
              </a:cxn>
              <a:cxn ang="0">
                <a:pos x="csX580" y="csY580"/>
              </a:cxn>
              <a:cxn ang="0">
                <a:pos x="csX581" y="csY581"/>
              </a:cxn>
              <a:cxn ang="0">
                <a:pos x="csX582" y="csY582"/>
              </a:cxn>
              <a:cxn ang="0">
                <a:pos x="csX583" y="csY583"/>
              </a:cxn>
              <a:cxn ang="0">
                <a:pos x="csX584" y="csY584"/>
              </a:cxn>
              <a:cxn ang="0">
                <a:pos x="csX585" y="csY585"/>
              </a:cxn>
              <a:cxn ang="0">
                <a:pos x="csX586" y="csY586"/>
              </a:cxn>
              <a:cxn ang="0">
                <a:pos x="csX587" y="csY587"/>
              </a:cxn>
              <a:cxn ang="0">
                <a:pos x="csX588" y="csY588"/>
              </a:cxn>
              <a:cxn ang="0">
                <a:pos x="csX589" y="csY589"/>
              </a:cxn>
              <a:cxn ang="0">
                <a:pos x="csX590" y="csY590"/>
              </a:cxn>
              <a:cxn ang="0">
                <a:pos x="csX591" y="csY591"/>
              </a:cxn>
              <a:cxn ang="0">
                <a:pos x="csX592" y="csY592"/>
              </a:cxn>
              <a:cxn ang="0">
                <a:pos x="csX593" y="csY593"/>
              </a:cxn>
              <a:cxn ang="0">
                <a:pos x="csX594" y="csY594"/>
              </a:cxn>
              <a:cxn ang="0">
                <a:pos x="csX595" y="csY595"/>
              </a:cxn>
              <a:cxn ang="0">
                <a:pos x="csX596" y="csY596"/>
              </a:cxn>
              <a:cxn ang="0">
                <a:pos x="csX597" y="csY597"/>
              </a:cxn>
              <a:cxn ang="0">
                <a:pos x="csX598" y="csY598"/>
              </a:cxn>
              <a:cxn ang="0">
                <a:pos x="csX599" y="csY599"/>
              </a:cxn>
              <a:cxn ang="0">
                <a:pos x="csX600" y="csY600"/>
              </a:cxn>
              <a:cxn ang="0">
                <a:pos x="csX601" y="csY601"/>
              </a:cxn>
              <a:cxn ang="0">
                <a:pos x="csX602" y="csY602"/>
              </a:cxn>
              <a:cxn ang="0">
                <a:pos x="csX603" y="csY603"/>
              </a:cxn>
              <a:cxn ang="0">
                <a:pos x="csX604" y="csY604"/>
              </a:cxn>
              <a:cxn ang="0">
                <a:pos x="csX605" y="csY605"/>
              </a:cxn>
              <a:cxn ang="0">
                <a:pos x="csX606" y="csY606"/>
              </a:cxn>
              <a:cxn ang="0">
                <a:pos x="csX607" y="csY607"/>
              </a:cxn>
              <a:cxn ang="0">
                <a:pos x="csX608" y="csY608"/>
              </a:cxn>
              <a:cxn ang="0">
                <a:pos x="csX609" y="csY609"/>
              </a:cxn>
              <a:cxn ang="0">
                <a:pos x="csX610" y="csY610"/>
              </a:cxn>
              <a:cxn ang="0">
                <a:pos x="csX611" y="csY611"/>
              </a:cxn>
              <a:cxn ang="0">
                <a:pos x="csX612" y="csY612"/>
              </a:cxn>
              <a:cxn ang="0">
                <a:pos x="csX613" y="csY613"/>
              </a:cxn>
              <a:cxn ang="0">
                <a:pos x="csX614" y="csY614"/>
              </a:cxn>
              <a:cxn ang="0">
                <a:pos x="csX615" y="csY615"/>
              </a:cxn>
              <a:cxn ang="0">
                <a:pos x="csX616" y="csY616"/>
              </a:cxn>
              <a:cxn ang="0">
                <a:pos x="csX617" y="csY617"/>
              </a:cxn>
              <a:cxn ang="0">
                <a:pos x="csX618" y="csY618"/>
              </a:cxn>
              <a:cxn ang="0">
                <a:pos x="csX619" y="csY619"/>
              </a:cxn>
              <a:cxn ang="0">
                <a:pos x="csX620" y="csY620"/>
              </a:cxn>
              <a:cxn ang="0">
                <a:pos x="csX621" y="csY621"/>
              </a:cxn>
              <a:cxn ang="0">
                <a:pos x="csX622" y="csY622"/>
              </a:cxn>
              <a:cxn ang="0">
                <a:pos x="csX623" y="csY623"/>
              </a:cxn>
              <a:cxn ang="0">
                <a:pos x="csX624" y="csY624"/>
              </a:cxn>
              <a:cxn ang="0">
                <a:pos x="csX625" y="csY625"/>
              </a:cxn>
              <a:cxn ang="0">
                <a:pos x="csX626" y="csY626"/>
              </a:cxn>
              <a:cxn ang="0">
                <a:pos x="csX627" y="csY627"/>
              </a:cxn>
              <a:cxn ang="0">
                <a:pos x="csX628" y="csY628"/>
              </a:cxn>
              <a:cxn ang="0">
                <a:pos x="csX629" y="csY629"/>
              </a:cxn>
              <a:cxn ang="0">
                <a:pos x="csX630" y="csY630"/>
              </a:cxn>
              <a:cxn ang="0">
                <a:pos x="csX631" y="csY631"/>
              </a:cxn>
              <a:cxn ang="0">
                <a:pos x="csX632" y="csY632"/>
              </a:cxn>
              <a:cxn ang="0">
                <a:pos x="csX633" y="csY633"/>
              </a:cxn>
              <a:cxn ang="0">
                <a:pos x="csX634" y="csY634"/>
              </a:cxn>
              <a:cxn ang="0">
                <a:pos x="csX635" y="csY635"/>
              </a:cxn>
              <a:cxn ang="0">
                <a:pos x="csX636" y="csY636"/>
              </a:cxn>
              <a:cxn ang="0">
                <a:pos x="csX637" y="csY637"/>
              </a:cxn>
              <a:cxn ang="0">
                <a:pos x="csX638" y="csY638"/>
              </a:cxn>
              <a:cxn ang="0">
                <a:pos x="csX639" y="csY639"/>
              </a:cxn>
              <a:cxn ang="0">
                <a:pos x="csX640" y="csY640"/>
              </a:cxn>
              <a:cxn ang="0">
                <a:pos x="csX641" y="csY641"/>
              </a:cxn>
              <a:cxn ang="0">
                <a:pos x="csX642" y="csY642"/>
              </a:cxn>
              <a:cxn ang="0">
                <a:pos x="csX643" y="csY643"/>
              </a:cxn>
              <a:cxn ang="0">
                <a:pos x="csX644" y="csY644"/>
              </a:cxn>
              <a:cxn ang="0">
                <a:pos x="csX645" y="csY645"/>
              </a:cxn>
              <a:cxn ang="0">
                <a:pos x="csX646" y="csY646"/>
              </a:cxn>
              <a:cxn ang="0">
                <a:pos x="csX647" y="csY647"/>
              </a:cxn>
              <a:cxn ang="0">
                <a:pos x="csX648" y="csY648"/>
              </a:cxn>
              <a:cxn ang="0">
                <a:pos x="csX649" y="csY649"/>
              </a:cxn>
              <a:cxn ang="0">
                <a:pos x="csX650" y="csY650"/>
              </a:cxn>
              <a:cxn ang="0">
                <a:pos x="csX651" y="csY651"/>
              </a:cxn>
              <a:cxn ang="0">
                <a:pos x="csX652" y="csY652"/>
              </a:cxn>
              <a:cxn ang="0">
                <a:pos x="csX653" y="csY653"/>
              </a:cxn>
              <a:cxn ang="0">
                <a:pos x="csX654" y="csY654"/>
              </a:cxn>
              <a:cxn ang="0">
                <a:pos x="csX655" y="csY655"/>
              </a:cxn>
              <a:cxn ang="0">
                <a:pos x="csX656" y="csY656"/>
              </a:cxn>
              <a:cxn ang="0">
                <a:pos x="csX657" y="csY657"/>
              </a:cxn>
              <a:cxn ang="0">
                <a:pos x="csX658" y="csY658"/>
              </a:cxn>
              <a:cxn ang="0">
                <a:pos x="csX659" y="csY659"/>
              </a:cxn>
              <a:cxn ang="0">
                <a:pos x="csX660" y="csY660"/>
              </a:cxn>
              <a:cxn ang="0">
                <a:pos x="csX661" y="csY661"/>
              </a:cxn>
              <a:cxn ang="0">
                <a:pos x="csX662" y="csY662"/>
              </a:cxn>
              <a:cxn ang="0">
                <a:pos x="csX663" y="csY663"/>
              </a:cxn>
              <a:cxn ang="0">
                <a:pos x="csX664" y="csY664"/>
              </a:cxn>
              <a:cxn ang="0">
                <a:pos x="csX665" y="csY665"/>
              </a:cxn>
              <a:cxn ang="0">
                <a:pos x="csX666" y="csY666"/>
              </a:cxn>
              <a:cxn ang="0">
                <a:pos x="csX667" y="csY667"/>
              </a:cxn>
              <a:cxn ang="0">
                <a:pos x="csX668" y="csY668"/>
              </a:cxn>
              <a:cxn ang="0">
                <a:pos x="csX669" y="csY669"/>
              </a:cxn>
              <a:cxn ang="0">
                <a:pos x="csX670" y="csY670"/>
              </a:cxn>
              <a:cxn ang="0">
                <a:pos x="csX671" y="csY671"/>
              </a:cxn>
              <a:cxn ang="0">
                <a:pos x="csX672" y="csY672"/>
              </a:cxn>
              <a:cxn ang="0">
                <a:pos x="csX673" y="csY673"/>
              </a:cxn>
              <a:cxn ang="0">
                <a:pos x="csX674" y="csY674"/>
              </a:cxn>
              <a:cxn ang="0">
                <a:pos x="csX675" y="csY675"/>
              </a:cxn>
              <a:cxn ang="0">
                <a:pos x="csX676" y="csY676"/>
              </a:cxn>
              <a:cxn ang="0">
                <a:pos x="csX677" y="csY677"/>
              </a:cxn>
              <a:cxn ang="0">
                <a:pos x="csX678" y="csY678"/>
              </a:cxn>
              <a:cxn ang="0">
                <a:pos x="csX679" y="csY679"/>
              </a:cxn>
              <a:cxn ang="0">
                <a:pos x="csX680" y="csY680"/>
              </a:cxn>
              <a:cxn ang="0">
                <a:pos x="csX681" y="csY681"/>
              </a:cxn>
              <a:cxn ang="0">
                <a:pos x="csX682" y="csY682"/>
              </a:cxn>
              <a:cxn ang="0">
                <a:pos x="csX683" y="csY683"/>
              </a:cxn>
              <a:cxn ang="0">
                <a:pos x="csX684" y="csY684"/>
              </a:cxn>
              <a:cxn ang="0">
                <a:pos x="csX685" y="csY685"/>
              </a:cxn>
              <a:cxn ang="0">
                <a:pos x="csX686" y="csY686"/>
              </a:cxn>
              <a:cxn ang="0">
                <a:pos x="csX687" y="csY687"/>
              </a:cxn>
              <a:cxn ang="0">
                <a:pos x="csX688" y="csY688"/>
              </a:cxn>
              <a:cxn ang="0">
                <a:pos x="csX689" y="csY689"/>
              </a:cxn>
              <a:cxn ang="0">
                <a:pos x="csX690" y="csY690"/>
              </a:cxn>
              <a:cxn ang="0">
                <a:pos x="csX691" y="csY691"/>
              </a:cxn>
              <a:cxn ang="0">
                <a:pos x="csX692" y="csY692"/>
              </a:cxn>
              <a:cxn ang="0">
                <a:pos x="csX693" y="csY693"/>
              </a:cxn>
              <a:cxn ang="0">
                <a:pos x="csX694" y="csY694"/>
              </a:cxn>
              <a:cxn ang="0">
                <a:pos x="csX695" y="csY695"/>
              </a:cxn>
              <a:cxn ang="0">
                <a:pos x="csX696" y="csY696"/>
              </a:cxn>
              <a:cxn ang="0">
                <a:pos x="csX697" y="csY697"/>
              </a:cxn>
              <a:cxn ang="0">
                <a:pos x="csX698" y="csY698"/>
              </a:cxn>
              <a:cxn ang="0">
                <a:pos x="csX699" y="csY699"/>
              </a:cxn>
              <a:cxn ang="0">
                <a:pos x="csX700" y="csY700"/>
              </a:cxn>
              <a:cxn ang="0">
                <a:pos x="csX701" y="csY701"/>
              </a:cxn>
              <a:cxn ang="0">
                <a:pos x="csX702" y="csY702"/>
              </a:cxn>
              <a:cxn ang="0">
                <a:pos x="csX703" y="csY703"/>
              </a:cxn>
              <a:cxn ang="0">
                <a:pos x="csX704" y="csY704"/>
              </a:cxn>
              <a:cxn ang="0">
                <a:pos x="csX705" y="csY705"/>
              </a:cxn>
              <a:cxn ang="0">
                <a:pos x="csX706" y="csY706"/>
              </a:cxn>
              <a:cxn ang="0">
                <a:pos x="csX707" y="csY707"/>
              </a:cxn>
              <a:cxn ang="0">
                <a:pos x="csX708" y="csY708"/>
              </a:cxn>
              <a:cxn ang="0">
                <a:pos x="csX709" y="csY709"/>
              </a:cxn>
              <a:cxn ang="0">
                <a:pos x="csX710" y="csY710"/>
              </a:cxn>
              <a:cxn ang="0">
                <a:pos x="csX711" y="csY711"/>
              </a:cxn>
              <a:cxn ang="0">
                <a:pos x="csX712" y="csY712"/>
              </a:cxn>
              <a:cxn ang="0">
                <a:pos x="csX713" y="csY713"/>
              </a:cxn>
              <a:cxn ang="0">
                <a:pos x="csX714" y="csY714"/>
              </a:cxn>
              <a:cxn ang="0">
                <a:pos x="csX715" y="csY715"/>
              </a:cxn>
              <a:cxn ang="0">
                <a:pos x="csX716" y="csY716"/>
              </a:cxn>
              <a:cxn ang="0">
                <a:pos x="csX717" y="csY717"/>
              </a:cxn>
              <a:cxn ang="0">
                <a:pos x="csX718" y="csY718"/>
              </a:cxn>
              <a:cxn ang="0">
                <a:pos x="csX719" y="csY719"/>
              </a:cxn>
              <a:cxn ang="0">
                <a:pos x="csX720" y="csY720"/>
              </a:cxn>
              <a:cxn ang="0">
                <a:pos x="csX721" y="csY721"/>
              </a:cxn>
              <a:cxn ang="0">
                <a:pos x="csX722" y="csY722"/>
              </a:cxn>
              <a:cxn ang="0">
                <a:pos x="csX723" y="csY723"/>
              </a:cxn>
              <a:cxn ang="0">
                <a:pos x="csX724" y="csY724"/>
              </a:cxn>
              <a:cxn ang="0">
                <a:pos x="csX725" y="csY725"/>
              </a:cxn>
              <a:cxn ang="0">
                <a:pos x="csX726" y="csY726"/>
              </a:cxn>
              <a:cxn ang="0">
                <a:pos x="csX727" y="csY727"/>
              </a:cxn>
              <a:cxn ang="0">
                <a:pos x="csX728" y="csY728"/>
              </a:cxn>
              <a:cxn ang="0">
                <a:pos x="csX729" y="csY729"/>
              </a:cxn>
              <a:cxn ang="0">
                <a:pos x="csX730" y="csY730"/>
              </a:cxn>
              <a:cxn ang="0">
                <a:pos x="csX731" y="csY731"/>
              </a:cxn>
              <a:cxn ang="0">
                <a:pos x="csX732" y="csY732"/>
              </a:cxn>
              <a:cxn ang="0">
                <a:pos x="csX733" y="csY733"/>
              </a:cxn>
              <a:cxn ang="0">
                <a:pos x="csX734" y="csY734"/>
              </a:cxn>
              <a:cxn ang="0">
                <a:pos x="csX735" y="csY735"/>
              </a:cxn>
              <a:cxn ang="0">
                <a:pos x="csX736" y="csY736"/>
              </a:cxn>
              <a:cxn ang="0">
                <a:pos x="csX737" y="csY737"/>
              </a:cxn>
              <a:cxn ang="0">
                <a:pos x="csX738" y="csY738"/>
              </a:cxn>
              <a:cxn ang="0">
                <a:pos x="csX739" y="csY739"/>
              </a:cxn>
              <a:cxn ang="0">
                <a:pos x="csX740" y="csY740"/>
              </a:cxn>
              <a:cxn ang="0">
                <a:pos x="csX741" y="csY741"/>
              </a:cxn>
              <a:cxn ang="0">
                <a:pos x="csX742" y="csY742"/>
              </a:cxn>
              <a:cxn ang="0">
                <a:pos x="csX743" y="csY743"/>
              </a:cxn>
              <a:cxn ang="0">
                <a:pos x="csX744" y="csY744"/>
              </a:cxn>
              <a:cxn ang="0">
                <a:pos x="csX745" y="csY745"/>
              </a:cxn>
              <a:cxn ang="0">
                <a:pos x="csX746" y="csY746"/>
              </a:cxn>
              <a:cxn ang="0">
                <a:pos x="csX747" y="csY747"/>
              </a:cxn>
              <a:cxn ang="0">
                <a:pos x="csX748" y="csY748"/>
              </a:cxn>
              <a:cxn ang="0">
                <a:pos x="csX749" y="csY749"/>
              </a:cxn>
              <a:cxn ang="0">
                <a:pos x="csX750" y="csY750"/>
              </a:cxn>
              <a:cxn ang="0">
                <a:pos x="csX751" y="csY751"/>
              </a:cxn>
              <a:cxn ang="0">
                <a:pos x="csX752" y="csY752"/>
              </a:cxn>
              <a:cxn ang="0">
                <a:pos x="csX753" y="csY753"/>
              </a:cxn>
              <a:cxn ang="0">
                <a:pos x="csX754" y="csY754"/>
              </a:cxn>
              <a:cxn ang="0">
                <a:pos x="csX755" y="csY755"/>
              </a:cxn>
              <a:cxn ang="0">
                <a:pos x="csX756" y="csY756"/>
              </a:cxn>
              <a:cxn ang="0">
                <a:pos x="csX757" y="csY757"/>
              </a:cxn>
              <a:cxn ang="0">
                <a:pos x="csX758" y="csY758"/>
              </a:cxn>
              <a:cxn ang="0">
                <a:pos x="csX759" y="csY759"/>
              </a:cxn>
              <a:cxn ang="0">
                <a:pos x="csX760" y="csY760"/>
              </a:cxn>
              <a:cxn ang="0">
                <a:pos x="csX761" y="csY761"/>
              </a:cxn>
              <a:cxn ang="0">
                <a:pos x="csX762" y="csY762"/>
              </a:cxn>
              <a:cxn ang="0">
                <a:pos x="csX763" y="csY763"/>
              </a:cxn>
              <a:cxn ang="0">
                <a:pos x="csX764" y="csY764"/>
              </a:cxn>
              <a:cxn ang="0">
                <a:pos x="csX765" y="csY765"/>
              </a:cxn>
              <a:cxn ang="0">
                <a:pos x="csX766" y="csY766"/>
              </a:cxn>
              <a:cxn ang="0">
                <a:pos x="csX767" y="csY767"/>
              </a:cxn>
              <a:cxn ang="0">
                <a:pos x="csX768" y="csY768"/>
              </a:cxn>
              <a:cxn ang="0">
                <a:pos x="csX769" y="csY769"/>
              </a:cxn>
              <a:cxn ang="0">
                <a:pos x="csX770" y="csY770"/>
              </a:cxn>
              <a:cxn ang="0">
                <a:pos x="csX771" y="csY771"/>
              </a:cxn>
              <a:cxn ang="0">
                <a:pos x="csX772" y="csY772"/>
              </a:cxn>
              <a:cxn ang="0">
                <a:pos x="csX773" y="csY773"/>
              </a:cxn>
              <a:cxn ang="0">
                <a:pos x="csX774" y="csY774"/>
              </a:cxn>
              <a:cxn ang="0">
                <a:pos x="csX775" y="csY775"/>
              </a:cxn>
              <a:cxn ang="0">
                <a:pos x="csX776" y="csY776"/>
              </a:cxn>
              <a:cxn ang="0">
                <a:pos x="csX777" y="csY777"/>
              </a:cxn>
              <a:cxn ang="0">
                <a:pos x="csX778" y="csY778"/>
              </a:cxn>
              <a:cxn ang="0">
                <a:pos x="csX779" y="csY779"/>
              </a:cxn>
              <a:cxn ang="0">
                <a:pos x="csX780" y="csY780"/>
              </a:cxn>
              <a:cxn ang="0">
                <a:pos x="csX781" y="csY781"/>
              </a:cxn>
              <a:cxn ang="0">
                <a:pos x="csX782" y="csY782"/>
              </a:cxn>
              <a:cxn ang="0">
                <a:pos x="csX783" y="csY783"/>
              </a:cxn>
              <a:cxn ang="0">
                <a:pos x="csX784" y="csY784"/>
              </a:cxn>
              <a:cxn ang="0">
                <a:pos x="csX785" y="csY785"/>
              </a:cxn>
              <a:cxn ang="0">
                <a:pos x="csX786" y="csY786"/>
              </a:cxn>
              <a:cxn ang="0">
                <a:pos x="csX787" y="csY787"/>
              </a:cxn>
              <a:cxn ang="0">
                <a:pos x="csX788" y="csY788"/>
              </a:cxn>
              <a:cxn ang="0">
                <a:pos x="csX789" y="csY789"/>
              </a:cxn>
              <a:cxn ang="0">
                <a:pos x="csX790" y="csY790"/>
              </a:cxn>
              <a:cxn ang="0">
                <a:pos x="csX791" y="csY791"/>
              </a:cxn>
              <a:cxn ang="0">
                <a:pos x="csX792" y="csY792"/>
              </a:cxn>
              <a:cxn ang="0">
                <a:pos x="csX793" y="csY793"/>
              </a:cxn>
              <a:cxn ang="0">
                <a:pos x="csX794" y="csY794"/>
              </a:cxn>
              <a:cxn ang="0">
                <a:pos x="csX795" y="csY795"/>
              </a:cxn>
              <a:cxn ang="0">
                <a:pos x="csX796" y="csY796"/>
              </a:cxn>
              <a:cxn ang="0">
                <a:pos x="csX797" y="csY797"/>
              </a:cxn>
              <a:cxn ang="0">
                <a:pos x="csX798" y="csY798"/>
              </a:cxn>
              <a:cxn ang="0">
                <a:pos x="csX799" y="csY799"/>
              </a:cxn>
              <a:cxn ang="0">
                <a:pos x="csX800" y="csY800"/>
              </a:cxn>
              <a:cxn ang="0">
                <a:pos x="csX801" y="csY801"/>
              </a:cxn>
              <a:cxn ang="0">
                <a:pos x="csX802" y="csY802"/>
              </a:cxn>
              <a:cxn ang="0">
                <a:pos x="csX803" y="csY803"/>
              </a:cxn>
              <a:cxn ang="0">
                <a:pos x="csX804" y="csY804"/>
              </a:cxn>
              <a:cxn ang="0">
                <a:pos x="csX805" y="csY805"/>
              </a:cxn>
              <a:cxn ang="0">
                <a:pos x="csX806" y="csY806"/>
              </a:cxn>
              <a:cxn ang="0">
                <a:pos x="csX807" y="csY807"/>
              </a:cxn>
              <a:cxn ang="0">
                <a:pos x="csX808" y="csY808"/>
              </a:cxn>
              <a:cxn ang="0">
                <a:pos x="csX809" y="csY809"/>
              </a:cxn>
              <a:cxn ang="0">
                <a:pos x="csX810" y="csY810"/>
              </a:cxn>
              <a:cxn ang="0">
                <a:pos x="csX811" y="csY811"/>
              </a:cxn>
              <a:cxn ang="0">
                <a:pos x="csX812" y="csY812"/>
              </a:cxn>
              <a:cxn ang="0">
                <a:pos x="csX813" y="csY813"/>
              </a:cxn>
              <a:cxn ang="0">
                <a:pos x="csX814" y="csY814"/>
              </a:cxn>
              <a:cxn ang="0">
                <a:pos x="csX815" y="csY815"/>
              </a:cxn>
              <a:cxn ang="0">
                <a:pos x="csX816" y="csY816"/>
              </a:cxn>
              <a:cxn ang="0">
                <a:pos x="csX817" y="csY817"/>
              </a:cxn>
              <a:cxn ang="0">
                <a:pos x="csX818" y="csY818"/>
              </a:cxn>
              <a:cxn ang="0">
                <a:pos x="csX819" y="csY819"/>
              </a:cxn>
              <a:cxn ang="0">
                <a:pos x="csX820" y="csY820"/>
              </a:cxn>
              <a:cxn ang="0">
                <a:pos x="csX821" y="csY821"/>
              </a:cxn>
              <a:cxn ang="0">
                <a:pos x="csX822" y="csY822"/>
              </a:cxn>
              <a:cxn ang="0">
                <a:pos x="csX823" y="csY823"/>
              </a:cxn>
              <a:cxn ang="0">
                <a:pos x="csX824" y="csY824"/>
              </a:cxn>
              <a:cxn ang="0">
                <a:pos x="csX825" y="csY825"/>
              </a:cxn>
              <a:cxn ang="0">
                <a:pos x="csX826" y="csY826"/>
              </a:cxn>
              <a:cxn ang="0">
                <a:pos x="csX827" y="csY827"/>
              </a:cxn>
              <a:cxn ang="0">
                <a:pos x="csX828" y="csY828"/>
              </a:cxn>
              <a:cxn ang="0">
                <a:pos x="csX829" y="csY829"/>
              </a:cxn>
              <a:cxn ang="0">
                <a:pos x="csX830" y="csY830"/>
              </a:cxn>
              <a:cxn ang="0">
                <a:pos x="csX831" y="csY831"/>
              </a:cxn>
              <a:cxn ang="0">
                <a:pos x="csX832" y="csY832"/>
              </a:cxn>
              <a:cxn ang="0">
                <a:pos x="csX833" y="csY833"/>
              </a:cxn>
              <a:cxn ang="0">
                <a:pos x="csX834" y="csY834"/>
              </a:cxn>
              <a:cxn ang="0">
                <a:pos x="csX835" y="csY835"/>
              </a:cxn>
              <a:cxn ang="0">
                <a:pos x="csX836" y="csY836"/>
              </a:cxn>
              <a:cxn ang="0">
                <a:pos x="csX837" y="csY837"/>
              </a:cxn>
              <a:cxn ang="0">
                <a:pos x="csX838" y="csY838"/>
              </a:cxn>
              <a:cxn ang="0">
                <a:pos x="csX839" y="csY839"/>
              </a:cxn>
              <a:cxn ang="0">
                <a:pos x="csX840" y="csY840"/>
              </a:cxn>
              <a:cxn ang="0">
                <a:pos x="csX841" y="csY841"/>
              </a:cxn>
              <a:cxn ang="0">
                <a:pos x="csX842" y="csY842"/>
              </a:cxn>
              <a:cxn ang="0">
                <a:pos x="csX843" y="csY843"/>
              </a:cxn>
              <a:cxn ang="0">
                <a:pos x="csX844" y="csY844"/>
              </a:cxn>
              <a:cxn ang="0">
                <a:pos x="csX845" y="csY845"/>
              </a:cxn>
              <a:cxn ang="0">
                <a:pos x="csX846" y="csY846"/>
              </a:cxn>
              <a:cxn ang="0">
                <a:pos x="csX847" y="csY847"/>
              </a:cxn>
              <a:cxn ang="0">
                <a:pos x="csX848" y="csY848"/>
              </a:cxn>
              <a:cxn ang="0">
                <a:pos x="csX849" y="csY849"/>
              </a:cxn>
              <a:cxn ang="0">
                <a:pos x="csX850" y="csY850"/>
              </a:cxn>
              <a:cxn ang="0">
                <a:pos x="csX851" y="csY851"/>
              </a:cxn>
              <a:cxn ang="0">
                <a:pos x="csX852" y="csY852"/>
              </a:cxn>
              <a:cxn ang="0">
                <a:pos x="csX853" y="csY853"/>
              </a:cxn>
              <a:cxn ang="0">
                <a:pos x="csX854" y="csY854"/>
              </a:cxn>
              <a:cxn ang="0">
                <a:pos x="csX855" y="csY855"/>
              </a:cxn>
              <a:cxn ang="0">
                <a:pos x="csX856" y="csY856"/>
              </a:cxn>
              <a:cxn ang="0">
                <a:pos x="csX857" y="csY857"/>
              </a:cxn>
              <a:cxn ang="0">
                <a:pos x="csX858" y="csY858"/>
              </a:cxn>
              <a:cxn ang="0">
                <a:pos x="csX859" y="csY859"/>
              </a:cxn>
              <a:cxn ang="0">
                <a:pos x="csX860" y="csY860"/>
              </a:cxn>
              <a:cxn ang="0">
                <a:pos x="csX861" y="csY861"/>
              </a:cxn>
              <a:cxn ang="0">
                <a:pos x="csX862" y="csY862"/>
              </a:cxn>
              <a:cxn ang="0">
                <a:pos x="csX863" y="csY863"/>
              </a:cxn>
              <a:cxn ang="0">
                <a:pos x="csX864" y="csY864"/>
              </a:cxn>
              <a:cxn ang="0">
                <a:pos x="csX865" y="csY865"/>
              </a:cxn>
              <a:cxn ang="0">
                <a:pos x="csX866" y="csY866"/>
              </a:cxn>
              <a:cxn ang="0">
                <a:pos x="csX867" y="csY867"/>
              </a:cxn>
              <a:cxn ang="0">
                <a:pos x="csX868" y="csY868"/>
              </a:cxn>
              <a:cxn ang="0">
                <a:pos x="csX869" y="csY869"/>
              </a:cxn>
              <a:cxn ang="0">
                <a:pos x="csX870" y="csY870"/>
              </a:cxn>
              <a:cxn ang="0">
                <a:pos x="csX871" y="csY871"/>
              </a:cxn>
              <a:cxn ang="0">
                <a:pos x="csX872" y="csY872"/>
              </a:cxn>
              <a:cxn ang="0">
                <a:pos x="csX873" y="csY873"/>
              </a:cxn>
              <a:cxn ang="0">
                <a:pos x="csX874" y="csY874"/>
              </a:cxn>
              <a:cxn ang="0">
                <a:pos x="csX875" y="csY875"/>
              </a:cxn>
              <a:cxn ang="0">
                <a:pos x="csX876" y="csY876"/>
              </a:cxn>
              <a:cxn ang="0">
                <a:pos x="csX877" y="csY877"/>
              </a:cxn>
              <a:cxn ang="0">
                <a:pos x="csX878" y="csY878"/>
              </a:cxn>
              <a:cxn ang="0">
                <a:pos x="csX879" y="csY879"/>
              </a:cxn>
              <a:cxn ang="0">
                <a:pos x="csX880" y="csY880"/>
              </a:cxn>
              <a:cxn ang="0">
                <a:pos x="csX881" y="csY881"/>
              </a:cxn>
              <a:cxn ang="0">
                <a:pos x="csX882" y="csY882"/>
              </a:cxn>
              <a:cxn ang="0">
                <a:pos x="csX883" y="csY883"/>
              </a:cxn>
              <a:cxn ang="0">
                <a:pos x="csX884" y="csY884"/>
              </a:cxn>
              <a:cxn ang="0">
                <a:pos x="csX885" y="csY885"/>
              </a:cxn>
              <a:cxn ang="0">
                <a:pos x="csX886" y="csY886"/>
              </a:cxn>
              <a:cxn ang="0">
                <a:pos x="csX887" y="csY887"/>
              </a:cxn>
              <a:cxn ang="0">
                <a:pos x="csX888" y="csY888"/>
              </a:cxn>
              <a:cxn ang="0">
                <a:pos x="csX889" y="csY889"/>
              </a:cxn>
              <a:cxn ang="0">
                <a:pos x="csX890" y="csY890"/>
              </a:cxn>
              <a:cxn ang="0">
                <a:pos x="csX891" y="csY891"/>
              </a:cxn>
              <a:cxn ang="0">
                <a:pos x="csX892" y="csY892"/>
              </a:cxn>
              <a:cxn ang="0">
                <a:pos x="csX893" y="csY893"/>
              </a:cxn>
              <a:cxn ang="0">
                <a:pos x="csX894" y="csY894"/>
              </a:cxn>
              <a:cxn ang="0">
                <a:pos x="csX895" y="csY895"/>
              </a:cxn>
              <a:cxn ang="0">
                <a:pos x="csX896" y="csY896"/>
              </a:cxn>
              <a:cxn ang="0">
                <a:pos x="csX897" y="csY897"/>
              </a:cxn>
              <a:cxn ang="0">
                <a:pos x="csX898" y="csY898"/>
              </a:cxn>
              <a:cxn ang="0">
                <a:pos x="csX899" y="csY899"/>
              </a:cxn>
              <a:cxn ang="0">
                <a:pos x="csX900" y="csY900"/>
              </a:cxn>
              <a:cxn ang="0">
                <a:pos x="csX901" y="csY901"/>
              </a:cxn>
              <a:cxn ang="0">
                <a:pos x="csX902" y="csY902"/>
              </a:cxn>
              <a:cxn ang="0">
                <a:pos x="csX903" y="csY903"/>
              </a:cxn>
              <a:cxn ang="0">
                <a:pos x="csX904" y="csY904"/>
              </a:cxn>
              <a:cxn ang="0">
                <a:pos x="csX905" y="csY905"/>
              </a:cxn>
              <a:cxn ang="0">
                <a:pos x="csX906" y="csY906"/>
              </a:cxn>
              <a:cxn ang="0">
                <a:pos x="csX907" y="csY907"/>
              </a:cxn>
              <a:cxn ang="0">
                <a:pos x="csX908" y="csY908"/>
              </a:cxn>
              <a:cxn ang="0">
                <a:pos x="csX909" y="csY909"/>
              </a:cxn>
              <a:cxn ang="0">
                <a:pos x="csX910" y="csY910"/>
              </a:cxn>
              <a:cxn ang="0">
                <a:pos x="csX911" y="csY911"/>
              </a:cxn>
              <a:cxn ang="0">
                <a:pos x="csX912" y="csY912"/>
              </a:cxn>
              <a:cxn ang="0">
                <a:pos x="csX913" y="csY913"/>
              </a:cxn>
              <a:cxn ang="0">
                <a:pos x="csX914" y="csY914"/>
              </a:cxn>
              <a:cxn ang="0">
                <a:pos x="csX915" y="csY915"/>
              </a:cxn>
              <a:cxn ang="0">
                <a:pos x="csX916" y="csY916"/>
              </a:cxn>
              <a:cxn ang="0">
                <a:pos x="csX917" y="csY917"/>
              </a:cxn>
              <a:cxn ang="0">
                <a:pos x="csX918" y="csY918"/>
              </a:cxn>
              <a:cxn ang="0">
                <a:pos x="csX919" y="csY919"/>
              </a:cxn>
              <a:cxn ang="0">
                <a:pos x="csX920" y="csY920"/>
              </a:cxn>
              <a:cxn ang="0">
                <a:pos x="csX921" y="csY921"/>
              </a:cxn>
              <a:cxn ang="0">
                <a:pos x="csX922" y="csY922"/>
              </a:cxn>
              <a:cxn ang="0">
                <a:pos x="csX923" y="csY923"/>
              </a:cxn>
              <a:cxn ang="0">
                <a:pos x="csX924" y="csY924"/>
              </a:cxn>
              <a:cxn ang="0">
                <a:pos x="csX925" y="csY925"/>
              </a:cxn>
              <a:cxn ang="0">
                <a:pos x="csX926" y="csY926"/>
              </a:cxn>
              <a:cxn ang="0">
                <a:pos x="csX927" y="csY927"/>
              </a:cxn>
              <a:cxn ang="0">
                <a:pos x="csX928" y="csY928"/>
              </a:cxn>
              <a:cxn ang="0">
                <a:pos x="csX929" y="csY929"/>
              </a:cxn>
              <a:cxn ang="0">
                <a:pos x="csX930" y="csY930"/>
              </a:cxn>
              <a:cxn ang="0">
                <a:pos x="csX931" y="csY931"/>
              </a:cxn>
              <a:cxn ang="0">
                <a:pos x="csX932" y="csY932"/>
              </a:cxn>
              <a:cxn ang="0">
                <a:pos x="csX933" y="csY933"/>
              </a:cxn>
              <a:cxn ang="0">
                <a:pos x="csX934" y="csY934"/>
              </a:cxn>
              <a:cxn ang="0">
                <a:pos x="csX935" y="csY935"/>
              </a:cxn>
              <a:cxn ang="0">
                <a:pos x="csX936" y="csY936"/>
              </a:cxn>
              <a:cxn ang="0">
                <a:pos x="csX937" y="csY937"/>
              </a:cxn>
              <a:cxn ang="0">
                <a:pos x="csX938" y="csY938"/>
              </a:cxn>
              <a:cxn ang="0">
                <a:pos x="csX939" y="csY939"/>
              </a:cxn>
              <a:cxn ang="0">
                <a:pos x="csX940" y="csY940"/>
              </a:cxn>
              <a:cxn ang="0">
                <a:pos x="csX941" y="csY941"/>
              </a:cxn>
              <a:cxn ang="0">
                <a:pos x="csX942" y="csY942"/>
              </a:cxn>
              <a:cxn ang="0">
                <a:pos x="csX943" y="csY943"/>
              </a:cxn>
              <a:cxn ang="0">
                <a:pos x="csX944" y="csY944"/>
              </a:cxn>
              <a:cxn ang="0">
                <a:pos x="csX945" y="csY945"/>
              </a:cxn>
              <a:cxn ang="0">
                <a:pos x="csX946" y="csY946"/>
              </a:cxn>
              <a:cxn ang="0">
                <a:pos x="csX947" y="csY947"/>
              </a:cxn>
              <a:cxn ang="0">
                <a:pos x="csX948" y="csY948"/>
              </a:cxn>
              <a:cxn ang="0">
                <a:pos x="csX949" y="csY949"/>
              </a:cxn>
              <a:cxn ang="0">
                <a:pos x="csX950" y="csY950"/>
              </a:cxn>
              <a:cxn ang="0">
                <a:pos x="csX951" y="csY951"/>
              </a:cxn>
              <a:cxn ang="0">
                <a:pos x="csX952" y="csY952"/>
              </a:cxn>
              <a:cxn ang="0">
                <a:pos x="csX953" y="csY953"/>
              </a:cxn>
              <a:cxn ang="0">
                <a:pos x="csX954" y="csY954"/>
              </a:cxn>
              <a:cxn ang="0">
                <a:pos x="csX955" y="csY955"/>
              </a:cxn>
              <a:cxn ang="0">
                <a:pos x="csX956" y="csY956"/>
              </a:cxn>
              <a:cxn ang="0">
                <a:pos x="csX957" y="csY957"/>
              </a:cxn>
              <a:cxn ang="0">
                <a:pos x="csX958" y="csY958"/>
              </a:cxn>
              <a:cxn ang="0">
                <a:pos x="csX959" y="csY959"/>
              </a:cxn>
              <a:cxn ang="0">
                <a:pos x="csX960" y="csY960"/>
              </a:cxn>
              <a:cxn ang="0">
                <a:pos x="csX961" y="csY961"/>
              </a:cxn>
              <a:cxn ang="0">
                <a:pos x="csX962" y="csY962"/>
              </a:cxn>
              <a:cxn ang="0">
                <a:pos x="csX963" y="csY963"/>
              </a:cxn>
              <a:cxn ang="0">
                <a:pos x="csX964" y="csY964"/>
              </a:cxn>
              <a:cxn ang="0">
                <a:pos x="csX965" y="csY965"/>
              </a:cxn>
              <a:cxn ang="0">
                <a:pos x="csX966" y="csY966"/>
              </a:cxn>
              <a:cxn ang="0">
                <a:pos x="csX967" y="csY967"/>
              </a:cxn>
              <a:cxn ang="0">
                <a:pos x="csX968" y="csY968"/>
              </a:cxn>
              <a:cxn ang="0">
                <a:pos x="csX969" y="csY969"/>
              </a:cxn>
              <a:cxn ang="0">
                <a:pos x="csX970" y="csY970"/>
              </a:cxn>
              <a:cxn ang="0">
                <a:pos x="csX971" y="csY971"/>
              </a:cxn>
              <a:cxn ang="0">
                <a:pos x="csX972" y="csY972"/>
              </a:cxn>
              <a:cxn ang="0">
                <a:pos x="csX973" y="csY973"/>
              </a:cxn>
              <a:cxn ang="0">
                <a:pos x="csX974" y="csY974"/>
              </a:cxn>
              <a:cxn ang="0">
                <a:pos x="csX975" y="csY975"/>
              </a:cxn>
              <a:cxn ang="0">
                <a:pos x="csX976" y="csY976"/>
              </a:cxn>
              <a:cxn ang="0">
                <a:pos x="csX977" y="csY977"/>
              </a:cxn>
              <a:cxn ang="0">
                <a:pos x="csX978" y="csY978"/>
              </a:cxn>
              <a:cxn ang="0">
                <a:pos x="csX979" y="csY979"/>
              </a:cxn>
              <a:cxn ang="0">
                <a:pos x="csX980" y="csY980"/>
              </a:cxn>
              <a:cxn ang="0">
                <a:pos x="csX981" y="csY981"/>
              </a:cxn>
              <a:cxn ang="0">
                <a:pos x="csX982" y="csY982"/>
              </a:cxn>
              <a:cxn ang="0">
                <a:pos x="csX983" y="csY983"/>
              </a:cxn>
              <a:cxn ang="0">
                <a:pos x="csX984" y="csY984"/>
              </a:cxn>
              <a:cxn ang="0">
                <a:pos x="csX985" y="csY985"/>
              </a:cxn>
              <a:cxn ang="0">
                <a:pos x="csX986" y="csY986"/>
              </a:cxn>
              <a:cxn ang="0">
                <a:pos x="csX987" y="csY987"/>
              </a:cxn>
              <a:cxn ang="0">
                <a:pos x="csX988" y="csY988"/>
              </a:cxn>
              <a:cxn ang="0">
                <a:pos x="csX989" y="csY989"/>
              </a:cxn>
              <a:cxn ang="0">
                <a:pos x="csX990" y="csY990"/>
              </a:cxn>
              <a:cxn ang="0">
                <a:pos x="csX991" y="csY991"/>
              </a:cxn>
              <a:cxn ang="0">
                <a:pos x="csX992" y="csY992"/>
              </a:cxn>
              <a:cxn ang="0">
                <a:pos x="csX993" y="csY993"/>
              </a:cxn>
              <a:cxn ang="0">
                <a:pos x="csX994" y="csY994"/>
              </a:cxn>
              <a:cxn ang="0">
                <a:pos x="csX995" y="csY995"/>
              </a:cxn>
              <a:cxn ang="0">
                <a:pos x="csX996" y="csY996"/>
              </a:cxn>
              <a:cxn ang="0">
                <a:pos x="csX997" y="csY997"/>
              </a:cxn>
              <a:cxn ang="0">
                <a:pos x="csX998" y="csY998"/>
              </a:cxn>
              <a:cxn ang="0">
                <a:pos x="csX999" y="csY999"/>
              </a:cxn>
              <a:cxn ang="0">
                <a:pos x="csX1000" y="csY1000"/>
              </a:cxn>
              <a:cxn ang="0">
                <a:pos x="csX1001" y="csY1001"/>
              </a:cxn>
              <a:cxn ang="0">
                <a:pos x="csX1002" y="csY1002"/>
              </a:cxn>
              <a:cxn ang="0">
                <a:pos x="csX1003" y="csY1003"/>
              </a:cxn>
              <a:cxn ang="0">
                <a:pos x="csX1004" y="csY1004"/>
              </a:cxn>
              <a:cxn ang="0">
                <a:pos x="csX1005" y="csY1005"/>
              </a:cxn>
              <a:cxn ang="0">
                <a:pos x="csX1006" y="csY1006"/>
              </a:cxn>
              <a:cxn ang="0">
                <a:pos x="csX1007" y="csY1007"/>
              </a:cxn>
              <a:cxn ang="0">
                <a:pos x="csX1008" y="csY1008"/>
              </a:cxn>
              <a:cxn ang="0">
                <a:pos x="csX1009" y="csY1009"/>
              </a:cxn>
              <a:cxn ang="0">
                <a:pos x="csX1010" y="csY1010"/>
              </a:cxn>
              <a:cxn ang="0">
                <a:pos x="csX1011" y="csY1011"/>
              </a:cxn>
              <a:cxn ang="0">
                <a:pos x="csX1012" y="csY1012"/>
              </a:cxn>
              <a:cxn ang="0">
                <a:pos x="csX1013" y="csY1013"/>
              </a:cxn>
              <a:cxn ang="0">
                <a:pos x="csX1014" y="csY1014"/>
              </a:cxn>
              <a:cxn ang="0">
                <a:pos x="csX1015" y="csY1015"/>
              </a:cxn>
              <a:cxn ang="0">
                <a:pos x="csX1016" y="csY1016"/>
              </a:cxn>
              <a:cxn ang="0">
                <a:pos x="csX1017" y="csY1017"/>
              </a:cxn>
              <a:cxn ang="0">
                <a:pos x="csX1018" y="csY1018"/>
              </a:cxn>
              <a:cxn ang="0">
                <a:pos x="csX1019" y="csY1019"/>
              </a:cxn>
              <a:cxn ang="0">
                <a:pos x="csX1020" y="csY1020"/>
              </a:cxn>
              <a:cxn ang="0">
                <a:pos x="csX1021" y="csY1021"/>
              </a:cxn>
              <a:cxn ang="0">
                <a:pos x="csX1022" y="csY1022"/>
              </a:cxn>
              <a:cxn ang="0">
                <a:pos x="csX1023" y="csY1023"/>
              </a:cxn>
              <a:cxn ang="0">
                <a:pos x="csX1024" y="csY1024"/>
              </a:cxn>
              <a:cxn ang="0">
                <a:pos x="csX1025" y="csY1025"/>
              </a:cxn>
              <a:cxn ang="0">
                <a:pos x="csX1026" y="csY1026"/>
              </a:cxn>
              <a:cxn ang="0">
                <a:pos x="csX1027" y="csY1027"/>
              </a:cxn>
              <a:cxn ang="0">
                <a:pos x="csX1028" y="csY1028"/>
              </a:cxn>
              <a:cxn ang="0">
                <a:pos x="csX1029" y="csY1029"/>
              </a:cxn>
              <a:cxn ang="0">
                <a:pos x="csX1030" y="csY1030"/>
              </a:cxn>
              <a:cxn ang="0">
                <a:pos x="csX1031" y="csY1031"/>
              </a:cxn>
              <a:cxn ang="0">
                <a:pos x="csX1032" y="csY1032"/>
              </a:cxn>
              <a:cxn ang="0">
                <a:pos x="csX1033" y="csY1033"/>
              </a:cxn>
              <a:cxn ang="0">
                <a:pos x="csX1034" y="csY1034"/>
              </a:cxn>
              <a:cxn ang="0">
                <a:pos x="csX1035" y="csY1035"/>
              </a:cxn>
              <a:cxn ang="0">
                <a:pos x="csX1036" y="csY1036"/>
              </a:cxn>
              <a:cxn ang="0">
                <a:pos x="csX1037" y="csY1037"/>
              </a:cxn>
              <a:cxn ang="0">
                <a:pos x="csX1038" y="csY1038"/>
              </a:cxn>
              <a:cxn ang="0">
                <a:pos x="csX1039" y="csY1039"/>
              </a:cxn>
              <a:cxn ang="0">
                <a:pos x="csX1040" y="csY1040"/>
              </a:cxn>
              <a:cxn ang="0">
                <a:pos x="csX1041" y="csY1041"/>
              </a:cxn>
              <a:cxn ang="0">
                <a:pos x="csX1042" y="csY1042"/>
              </a:cxn>
              <a:cxn ang="0">
                <a:pos x="csX1043" y="csY1043"/>
              </a:cxn>
              <a:cxn ang="0">
                <a:pos x="csX1044" y="csY1044"/>
              </a:cxn>
              <a:cxn ang="0">
                <a:pos x="csX1045" y="csY1045"/>
              </a:cxn>
              <a:cxn ang="0">
                <a:pos x="csX1046" y="csY1046"/>
              </a:cxn>
              <a:cxn ang="0">
                <a:pos x="csX1047" y="csY1047"/>
              </a:cxn>
              <a:cxn ang="0">
                <a:pos x="csX1048" y="csY1048"/>
              </a:cxn>
              <a:cxn ang="0">
                <a:pos x="csX1049" y="csY1049"/>
              </a:cxn>
              <a:cxn ang="0">
                <a:pos x="csX1050" y="csY1050"/>
              </a:cxn>
              <a:cxn ang="0">
                <a:pos x="csX1051" y="csY1051"/>
              </a:cxn>
              <a:cxn ang="0">
                <a:pos x="csX1052" y="csY1052"/>
              </a:cxn>
              <a:cxn ang="0">
                <a:pos x="csX1053" y="csY1053"/>
              </a:cxn>
              <a:cxn ang="0">
                <a:pos x="csX1054" y="csY1054"/>
              </a:cxn>
            </a:cxnLst>
            <a:rect l="l" t="t" r="r" b="b"/>
            <a:pathLst>
              <a:path w="1609516" h="1538630">
                <a:moveTo>
                  <a:pt x="401579" y="1495809"/>
                </a:moveTo>
                <a:lnTo>
                  <a:pt x="400190" y="1496004"/>
                </a:lnTo>
                <a:lnTo>
                  <a:pt x="401224" y="1496470"/>
                </a:lnTo>
                <a:lnTo>
                  <a:pt x="401224" y="1498590"/>
                </a:lnTo>
                <a:lnTo>
                  <a:pt x="401579" y="1498628"/>
                </a:lnTo>
                <a:cubicBezTo>
                  <a:pt x="401579" y="1497698"/>
                  <a:pt x="401579" y="1496768"/>
                  <a:pt x="401579" y="1495809"/>
                </a:cubicBezTo>
                <a:close/>
                <a:moveTo>
                  <a:pt x="368755" y="1486512"/>
                </a:moveTo>
                <a:lnTo>
                  <a:pt x="364089" y="1487354"/>
                </a:lnTo>
                <a:lnTo>
                  <a:pt x="364089" y="1487908"/>
                </a:lnTo>
                <a:close/>
                <a:moveTo>
                  <a:pt x="1049801" y="1484562"/>
                </a:moveTo>
                <a:lnTo>
                  <a:pt x="1046735" y="1485945"/>
                </a:lnTo>
                <a:lnTo>
                  <a:pt x="1046955" y="1486045"/>
                </a:lnTo>
                <a:lnTo>
                  <a:pt x="1049801" y="1485188"/>
                </a:lnTo>
                <a:close/>
                <a:moveTo>
                  <a:pt x="351234" y="1444508"/>
                </a:moveTo>
                <a:lnTo>
                  <a:pt x="351234" y="1444997"/>
                </a:lnTo>
                <a:lnTo>
                  <a:pt x="351592" y="1445078"/>
                </a:lnTo>
                <a:close/>
                <a:moveTo>
                  <a:pt x="351908" y="1431206"/>
                </a:moveTo>
                <a:lnTo>
                  <a:pt x="351234" y="1431611"/>
                </a:lnTo>
                <a:lnTo>
                  <a:pt x="351234" y="1432274"/>
                </a:lnTo>
                <a:close/>
                <a:moveTo>
                  <a:pt x="358162" y="1421494"/>
                </a:moveTo>
                <a:lnTo>
                  <a:pt x="355921" y="1423156"/>
                </a:lnTo>
                <a:lnTo>
                  <a:pt x="355921" y="1423548"/>
                </a:lnTo>
                <a:close/>
                <a:moveTo>
                  <a:pt x="376098" y="1408347"/>
                </a:moveTo>
                <a:lnTo>
                  <a:pt x="370750" y="1412245"/>
                </a:lnTo>
                <a:lnTo>
                  <a:pt x="375023" y="1411256"/>
                </a:lnTo>
                <a:close/>
                <a:moveTo>
                  <a:pt x="421956" y="1365623"/>
                </a:moveTo>
                <a:lnTo>
                  <a:pt x="421765" y="1366161"/>
                </a:lnTo>
                <a:lnTo>
                  <a:pt x="421887" y="1366161"/>
                </a:lnTo>
                <a:close/>
                <a:moveTo>
                  <a:pt x="754553" y="1360575"/>
                </a:moveTo>
                <a:lnTo>
                  <a:pt x="754089" y="1361433"/>
                </a:lnTo>
                <a:lnTo>
                  <a:pt x="754431" y="1361125"/>
                </a:lnTo>
                <a:close/>
                <a:moveTo>
                  <a:pt x="1277973" y="1332923"/>
                </a:moveTo>
                <a:lnTo>
                  <a:pt x="1277944" y="1332936"/>
                </a:lnTo>
                <a:lnTo>
                  <a:pt x="1277949" y="1333139"/>
                </a:lnTo>
                <a:close/>
                <a:moveTo>
                  <a:pt x="1268556" y="1321066"/>
                </a:moveTo>
                <a:cubicBezTo>
                  <a:pt x="1268556" y="1322461"/>
                  <a:pt x="1268556" y="1323856"/>
                  <a:pt x="1268556" y="1325294"/>
                </a:cubicBezTo>
                <a:cubicBezTo>
                  <a:pt x="1267525" y="1325294"/>
                  <a:pt x="1266495" y="1325294"/>
                  <a:pt x="1265432" y="1325294"/>
                </a:cubicBezTo>
                <a:cubicBezTo>
                  <a:pt x="1265432" y="1330409"/>
                  <a:pt x="1265432" y="1335525"/>
                  <a:pt x="1265432" y="1340795"/>
                </a:cubicBezTo>
                <a:lnTo>
                  <a:pt x="1265476" y="1340714"/>
                </a:lnTo>
                <a:lnTo>
                  <a:pt x="1265476" y="1325877"/>
                </a:lnTo>
                <a:cubicBezTo>
                  <a:pt x="1266507" y="1325877"/>
                  <a:pt x="1267538" y="1325877"/>
                  <a:pt x="1268600" y="1325877"/>
                </a:cubicBezTo>
                <a:cubicBezTo>
                  <a:pt x="1268600" y="1324482"/>
                  <a:pt x="1268600" y="1323086"/>
                  <a:pt x="1268600" y="1321649"/>
                </a:cubicBezTo>
                <a:cubicBezTo>
                  <a:pt x="1270147" y="1321649"/>
                  <a:pt x="1271693" y="1321649"/>
                  <a:pt x="1273286" y="1321649"/>
                </a:cubicBezTo>
                <a:lnTo>
                  <a:pt x="1273227" y="1321066"/>
                </a:lnTo>
                <a:close/>
                <a:moveTo>
                  <a:pt x="827891" y="1291474"/>
                </a:moveTo>
                <a:lnTo>
                  <a:pt x="822601" y="1291544"/>
                </a:lnTo>
                <a:lnTo>
                  <a:pt x="818272" y="1292220"/>
                </a:lnTo>
                <a:lnTo>
                  <a:pt x="827891" y="1292047"/>
                </a:lnTo>
                <a:close/>
                <a:moveTo>
                  <a:pt x="856397" y="1288691"/>
                </a:moveTo>
                <a:lnTo>
                  <a:pt x="865903" y="1290590"/>
                </a:lnTo>
                <a:lnTo>
                  <a:pt x="859999" y="1288752"/>
                </a:lnTo>
                <a:close/>
                <a:moveTo>
                  <a:pt x="834694" y="1288572"/>
                </a:moveTo>
                <a:lnTo>
                  <a:pt x="828038" y="1288654"/>
                </a:lnTo>
                <a:lnTo>
                  <a:pt x="828038" y="1289214"/>
                </a:lnTo>
                <a:close/>
                <a:moveTo>
                  <a:pt x="229746" y="1191418"/>
                </a:moveTo>
                <a:lnTo>
                  <a:pt x="227402" y="1191947"/>
                </a:lnTo>
                <a:lnTo>
                  <a:pt x="229315" y="1191947"/>
                </a:lnTo>
                <a:cubicBezTo>
                  <a:pt x="229315" y="1192877"/>
                  <a:pt x="229315" y="1193807"/>
                  <a:pt x="229315" y="1194765"/>
                </a:cubicBezTo>
                <a:lnTo>
                  <a:pt x="231321" y="1194765"/>
                </a:lnTo>
                <a:lnTo>
                  <a:pt x="229746" y="1194236"/>
                </a:lnTo>
                <a:cubicBezTo>
                  <a:pt x="229746" y="1193306"/>
                  <a:pt x="229746" y="1192376"/>
                  <a:pt x="229746" y="1191418"/>
                </a:cubicBezTo>
                <a:close/>
                <a:moveTo>
                  <a:pt x="215687" y="1187190"/>
                </a:moveTo>
                <a:lnTo>
                  <a:pt x="215198" y="1187720"/>
                </a:lnTo>
                <a:lnTo>
                  <a:pt x="215256" y="1187720"/>
                </a:lnTo>
                <a:cubicBezTo>
                  <a:pt x="215256" y="1189115"/>
                  <a:pt x="215256" y="1190510"/>
                  <a:pt x="215256" y="1191947"/>
                </a:cubicBezTo>
                <a:lnTo>
                  <a:pt x="222721" y="1191947"/>
                </a:lnTo>
                <a:lnTo>
                  <a:pt x="215687" y="1191418"/>
                </a:lnTo>
                <a:cubicBezTo>
                  <a:pt x="215687" y="1190023"/>
                  <a:pt x="215687" y="1188628"/>
                  <a:pt x="215687" y="1187190"/>
                </a:cubicBezTo>
                <a:close/>
                <a:moveTo>
                  <a:pt x="1279678" y="1082356"/>
                </a:moveTo>
                <a:lnTo>
                  <a:pt x="1271680" y="1084589"/>
                </a:lnTo>
                <a:lnTo>
                  <a:pt x="1282181" y="1082544"/>
                </a:lnTo>
                <a:close/>
                <a:moveTo>
                  <a:pt x="117703" y="941507"/>
                </a:moveTo>
                <a:lnTo>
                  <a:pt x="112587" y="941985"/>
                </a:lnTo>
                <a:lnTo>
                  <a:pt x="112565" y="942333"/>
                </a:lnTo>
                <a:lnTo>
                  <a:pt x="115665" y="941837"/>
                </a:lnTo>
                <a:close/>
                <a:moveTo>
                  <a:pt x="144268" y="939395"/>
                </a:moveTo>
                <a:lnTo>
                  <a:pt x="143354" y="939580"/>
                </a:lnTo>
                <a:lnTo>
                  <a:pt x="144077" y="939739"/>
                </a:lnTo>
                <a:close/>
                <a:moveTo>
                  <a:pt x="162575" y="933530"/>
                </a:moveTo>
                <a:lnTo>
                  <a:pt x="161704" y="935101"/>
                </a:lnTo>
                <a:lnTo>
                  <a:pt x="170045" y="933585"/>
                </a:lnTo>
                <a:close/>
                <a:moveTo>
                  <a:pt x="1321645" y="918415"/>
                </a:moveTo>
                <a:lnTo>
                  <a:pt x="1321534" y="920177"/>
                </a:lnTo>
                <a:lnTo>
                  <a:pt x="1321740" y="918415"/>
                </a:lnTo>
                <a:close/>
                <a:moveTo>
                  <a:pt x="1319333" y="915183"/>
                </a:moveTo>
                <a:lnTo>
                  <a:pt x="1318544" y="918029"/>
                </a:lnTo>
                <a:lnTo>
                  <a:pt x="1318702" y="918029"/>
                </a:lnTo>
                <a:close/>
                <a:moveTo>
                  <a:pt x="1326355" y="907109"/>
                </a:moveTo>
                <a:lnTo>
                  <a:pt x="1326355" y="910983"/>
                </a:lnTo>
                <a:lnTo>
                  <a:pt x="1325831" y="911101"/>
                </a:lnTo>
                <a:lnTo>
                  <a:pt x="1326426" y="911369"/>
                </a:lnTo>
                <a:cubicBezTo>
                  <a:pt x="1326426" y="909974"/>
                  <a:pt x="1326426" y="908579"/>
                  <a:pt x="1326426" y="907141"/>
                </a:cubicBezTo>
                <a:close/>
                <a:moveTo>
                  <a:pt x="1328144" y="892192"/>
                </a:moveTo>
                <a:lnTo>
                  <a:pt x="1327667" y="893446"/>
                </a:lnTo>
                <a:lnTo>
                  <a:pt x="1327989" y="893049"/>
                </a:lnTo>
                <a:close/>
                <a:moveTo>
                  <a:pt x="49605" y="887420"/>
                </a:moveTo>
                <a:lnTo>
                  <a:pt x="48549" y="891229"/>
                </a:lnTo>
                <a:lnTo>
                  <a:pt x="49956" y="887420"/>
                </a:lnTo>
                <a:close/>
                <a:moveTo>
                  <a:pt x="1332266" y="883369"/>
                </a:moveTo>
                <a:lnTo>
                  <a:pt x="1329479" y="884207"/>
                </a:lnTo>
                <a:lnTo>
                  <a:pt x="1329509" y="884816"/>
                </a:lnTo>
                <a:lnTo>
                  <a:pt x="1329551" y="884594"/>
                </a:lnTo>
                <a:close/>
                <a:moveTo>
                  <a:pt x="1555987" y="821766"/>
                </a:moveTo>
                <a:lnTo>
                  <a:pt x="1555987" y="822201"/>
                </a:lnTo>
                <a:lnTo>
                  <a:pt x="1556081" y="822189"/>
                </a:lnTo>
                <a:close/>
                <a:moveTo>
                  <a:pt x="1565360" y="810928"/>
                </a:moveTo>
                <a:lnTo>
                  <a:pt x="1564871" y="811809"/>
                </a:lnTo>
                <a:lnTo>
                  <a:pt x="1567314" y="810928"/>
                </a:lnTo>
                <a:close/>
                <a:moveTo>
                  <a:pt x="1563797" y="810928"/>
                </a:moveTo>
                <a:lnTo>
                  <a:pt x="1556762" y="814736"/>
                </a:lnTo>
                <a:lnTo>
                  <a:pt x="1563797" y="812197"/>
                </a:lnTo>
                <a:close/>
                <a:moveTo>
                  <a:pt x="265833" y="806020"/>
                </a:moveTo>
                <a:lnTo>
                  <a:pt x="263704" y="809861"/>
                </a:lnTo>
                <a:lnTo>
                  <a:pt x="263704" y="816750"/>
                </a:lnTo>
                <a:lnTo>
                  <a:pt x="264113" y="816565"/>
                </a:lnTo>
                <a:cubicBezTo>
                  <a:pt x="264048" y="815315"/>
                  <a:pt x="263984" y="814065"/>
                  <a:pt x="263918" y="812777"/>
                </a:cubicBezTo>
                <a:close/>
                <a:moveTo>
                  <a:pt x="263774" y="779374"/>
                </a:moveTo>
                <a:lnTo>
                  <a:pt x="263704" y="783086"/>
                </a:lnTo>
                <a:cubicBezTo>
                  <a:pt x="263961" y="783987"/>
                  <a:pt x="264219" y="784888"/>
                  <a:pt x="264484" y="785816"/>
                </a:cubicBezTo>
                <a:cubicBezTo>
                  <a:pt x="265299" y="788846"/>
                  <a:pt x="265316" y="791337"/>
                  <a:pt x="265265" y="794448"/>
                </a:cubicBezTo>
                <a:cubicBezTo>
                  <a:pt x="265103" y="797155"/>
                  <a:pt x="265022" y="798508"/>
                  <a:pt x="265217" y="799730"/>
                </a:cubicBezTo>
                <a:lnTo>
                  <a:pt x="266556" y="803466"/>
                </a:lnTo>
                <a:lnTo>
                  <a:pt x="267237" y="801063"/>
                </a:lnTo>
                <a:cubicBezTo>
                  <a:pt x="266721" y="800598"/>
                  <a:pt x="266206" y="800133"/>
                  <a:pt x="265675" y="799654"/>
                </a:cubicBezTo>
                <a:cubicBezTo>
                  <a:pt x="265601" y="797718"/>
                  <a:pt x="265617" y="795778"/>
                  <a:pt x="265675" y="793841"/>
                </a:cubicBezTo>
                <a:close/>
                <a:moveTo>
                  <a:pt x="260988" y="770061"/>
                </a:moveTo>
                <a:lnTo>
                  <a:pt x="260988" y="771364"/>
                </a:lnTo>
                <a:lnTo>
                  <a:pt x="263497" y="777263"/>
                </a:lnTo>
                <a:lnTo>
                  <a:pt x="262551" y="770061"/>
                </a:lnTo>
                <a:cubicBezTo>
                  <a:pt x="262035" y="770061"/>
                  <a:pt x="261520" y="770061"/>
                  <a:pt x="260988" y="770061"/>
                </a:cubicBezTo>
                <a:close/>
                <a:moveTo>
                  <a:pt x="157888" y="651686"/>
                </a:moveTo>
                <a:lnTo>
                  <a:pt x="157415" y="651764"/>
                </a:lnTo>
                <a:lnTo>
                  <a:pt x="160373" y="652274"/>
                </a:lnTo>
                <a:close/>
                <a:moveTo>
                  <a:pt x="267237" y="426537"/>
                </a:moveTo>
                <a:lnTo>
                  <a:pt x="267237" y="427619"/>
                </a:lnTo>
                <a:cubicBezTo>
                  <a:pt x="268274" y="427791"/>
                  <a:pt x="269311" y="427961"/>
                  <a:pt x="270380" y="428137"/>
                </a:cubicBezTo>
                <a:lnTo>
                  <a:pt x="273548" y="428680"/>
                </a:lnTo>
                <a:close/>
                <a:moveTo>
                  <a:pt x="37605" y="359270"/>
                </a:moveTo>
                <a:lnTo>
                  <a:pt x="37103" y="361533"/>
                </a:lnTo>
                <a:lnTo>
                  <a:pt x="37605" y="361382"/>
                </a:lnTo>
                <a:close/>
                <a:moveTo>
                  <a:pt x="52477" y="337570"/>
                </a:moveTo>
                <a:lnTo>
                  <a:pt x="47288" y="342340"/>
                </a:lnTo>
                <a:lnTo>
                  <a:pt x="45805" y="345093"/>
                </a:lnTo>
                <a:close/>
                <a:moveTo>
                  <a:pt x="104291" y="336166"/>
                </a:moveTo>
                <a:lnTo>
                  <a:pt x="103776" y="337559"/>
                </a:lnTo>
                <a:lnTo>
                  <a:pt x="108925" y="336166"/>
                </a:lnTo>
                <a:close/>
                <a:moveTo>
                  <a:pt x="1309237" y="322954"/>
                </a:moveTo>
                <a:lnTo>
                  <a:pt x="1309180" y="330559"/>
                </a:lnTo>
                <a:lnTo>
                  <a:pt x="1309237" y="330520"/>
                </a:lnTo>
                <a:close/>
                <a:moveTo>
                  <a:pt x="1308964" y="317715"/>
                </a:moveTo>
                <a:lnTo>
                  <a:pt x="1309237" y="318569"/>
                </a:lnTo>
                <a:lnTo>
                  <a:pt x="1309237" y="317838"/>
                </a:lnTo>
                <a:close/>
                <a:moveTo>
                  <a:pt x="1310087" y="313153"/>
                </a:moveTo>
                <a:lnTo>
                  <a:pt x="1307609" y="313473"/>
                </a:lnTo>
                <a:lnTo>
                  <a:pt x="1308045" y="314836"/>
                </a:lnTo>
                <a:close/>
                <a:moveTo>
                  <a:pt x="1318544" y="312064"/>
                </a:moveTo>
                <a:lnTo>
                  <a:pt x="1316298" y="312353"/>
                </a:lnTo>
                <a:lnTo>
                  <a:pt x="1318544" y="312205"/>
                </a:lnTo>
                <a:close/>
                <a:moveTo>
                  <a:pt x="1084622" y="267674"/>
                </a:moveTo>
                <a:lnTo>
                  <a:pt x="1084227" y="268378"/>
                </a:lnTo>
                <a:cubicBezTo>
                  <a:pt x="1082679" y="268378"/>
                  <a:pt x="1081133" y="268378"/>
                  <a:pt x="1079540" y="268378"/>
                </a:cubicBezTo>
                <a:lnTo>
                  <a:pt x="1079603" y="268477"/>
                </a:lnTo>
                <a:lnTo>
                  <a:pt x="1084192" y="268477"/>
                </a:lnTo>
                <a:close/>
                <a:moveTo>
                  <a:pt x="956410" y="266968"/>
                </a:moveTo>
                <a:lnTo>
                  <a:pt x="957576" y="267083"/>
                </a:lnTo>
                <a:lnTo>
                  <a:pt x="957576" y="269776"/>
                </a:lnTo>
                <a:lnTo>
                  <a:pt x="957694" y="269787"/>
                </a:lnTo>
                <a:cubicBezTo>
                  <a:pt x="957694" y="268857"/>
                  <a:pt x="957694" y="267927"/>
                  <a:pt x="957694" y="266968"/>
                </a:cubicBezTo>
                <a:close/>
                <a:moveTo>
                  <a:pt x="1089372" y="259220"/>
                </a:moveTo>
                <a:lnTo>
                  <a:pt x="1085856" y="265479"/>
                </a:lnTo>
                <a:lnTo>
                  <a:pt x="1088878" y="261431"/>
                </a:lnTo>
                <a:close/>
                <a:moveTo>
                  <a:pt x="1018517" y="223356"/>
                </a:moveTo>
                <a:lnTo>
                  <a:pt x="1013866" y="226190"/>
                </a:lnTo>
                <a:lnTo>
                  <a:pt x="1013024" y="227709"/>
                </a:lnTo>
                <a:lnTo>
                  <a:pt x="1017055" y="224692"/>
                </a:lnTo>
                <a:close/>
                <a:moveTo>
                  <a:pt x="850645" y="220099"/>
                </a:moveTo>
                <a:lnTo>
                  <a:pt x="850897" y="221488"/>
                </a:lnTo>
                <a:cubicBezTo>
                  <a:pt x="851086" y="222545"/>
                  <a:pt x="851275" y="223602"/>
                  <a:pt x="851470" y="224692"/>
                </a:cubicBezTo>
                <a:lnTo>
                  <a:pt x="852860" y="224692"/>
                </a:lnTo>
                <a:close/>
                <a:moveTo>
                  <a:pt x="1155019" y="35"/>
                </a:moveTo>
                <a:cubicBezTo>
                  <a:pt x="1161775" y="275"/>
                  <a:pt x="1168415" y="1783"/>
                  <a:pt x="1174829" y="4853"/>
                </a:cubicBezTo>
                <a:cubicBezTo>
                  <a:pt x="1176343" y="5231"/>
                  <a:pt x="1177858" y="5609"/>
                  <a:pt x="1179418" y="5998"/>
                </a:cubicBezTo>
                <a:cubicBezTo>
                  <a:pt x="1189392" y="9487"/>
                  <a:pt x="1196322" y="14392"/>
                  <a:pt x="1201385" y="22997"/>
                </a:cubicBezTo>
                <a:cubicBezTo>
                  <a:pt x="1206849" y="35244"/>
                  <a:pt x="1206940" y="49865"/>
                  <a:pt x="1201678" y="62191"/>
                </a:cubicBezTo>
                <a:cubicBezTo>
                  <a:pt x="1200594" y="64241"/>
                  <a:pt x="1199461" y="66271"/>
                  <a:pt x="1198261" y="68268"/>
                </a:cubicBezTo>
                <a:cubicBezTo>
                  <a:pt x="1197423" y="69721"/>
                  <a:pt x="1196586" y="71175"/>
                  <a:pt x="1195723" y="72672"/>
                </a:cubicBezTo>
                <a:cubicBezTo>
                  <a:pt x="1194659" y="73980"/>
                  <a:pt x="1194659" y="73980"/>
                  <a:pt x="1193575" y="75314"/>
                </a:cubicBezTo>
                <a:cubicBezTo>
                  <a:pt x="1192544" y="75314"/>
                  <a:pt x="1191512" y="75314"/>
                  <a:pt x="1190450" y="75314"/>
                </a:cubicBezTo>
                <a:cubicBezTo>
                  <a:pt x="1190128" y="76651"/>
                  <a:pt x="1189806" y="77988"/>
                  <a:pt x="1189474" y="79366"/>
                </a:cubicBezTo>
                <a:cubicBezTo>
                  <a:pt x="1187326" y="83769"/>
                  <a:pt x="1187326" y="83769"/>
                  <a:pt x="1182445" y="85707"/>
                </a:cubicBezTo>
                <a:cubicBezTo>
                  <a:pt x="1180962" y="85998"/>
                  <a:pt x="1179480" y="86289"/>
                  <a:pt x="1177953" y="86588"/>
                </a:cubicBezTo>
                <a:cubicBezTo>
                  <a:pt x="1177953" y="87518"/>
                  <a:pt x="1177953" y="88448"/>
                  <a:pt x="1177953" y="89406"/>
                </a:cubicBezTo>
                <a:cubicBezTo>
                  <a:pt x="1175369" y="91088"/>
                  <a:pt x="1172720" y="92688"/>
                  <a:pt x="1170045" y="94251"/>
                </a:cubicBezTo>
                <a:cubicBezTo>
                  <a:pt x="1154651" y="104199"/>
                  <a:pt x="1148918" y="116979"/>
                  <a:pt x="1143806" y="132828"/>
                </a:cubicBezTo>
                <a:cubicBezTo>
                  <a:pt x="1142095" y="137144"/>
                  <a:pt x="1140989" y="138617"/>
                  <a:pt x="1137338" y="141548"/>
                </a:cubicBezTo>
                <a:cubicBezTo>
                  <a:pt x="1136166" y="144148"/>
                  <a:pt x="1134992" y="146751"/>
                  <a:pt x="1133970" y="149403"/>
                </a:cubicBezTo>
                <a:cubicBezTo>
                  <a:pt x="1132069" y="154334"/>
                  <a:pt x="1130006" y="159210"/>
                  <a:pt x="1127965" y="164095"/>
                </a:cubicBezTo>
                <a:cubicBezTo>
                  <a:pt x="1126897" y="166664"/>
                  <a:pt x="1125830" y="169233"/>
                  <a:pt x="1124762" y="171802"/>
                </a:cubicBezTo>
                <a:cubicBezTo>
                  <a:pt x="1122961" y="176134"/>
                  <a:pt x="1121160" y="180466"/>
                  <a:pt x="1119359" y="184798"/>
                </a:cubicBezTo>
                <a:cubicBezTo>
                  <a:pt x="1116567" y="191508"/>
                  <a:pt x="1113778" y="198220"/>
                  <a:pt x="1111014" y="204941"/>
                </a:cubicBezTo>
                <a:cubicBezTo>
                  <a:pt x="1110590" y="205970"/>
                  <a:pt x="1110165" y="206999"/>
                  <a:pt x="1109729" y="208059"/>
                </a:cubicBezTo>
                <a:cubicBezTo>
                  <a:pt x="1108615" y="210762"/>
                  <a:pt x="1107505" y="213466"/>
                  <a:pt x="1106395" y="216170"/>
                </a:cubicBezTo>
                <a:cubicBezTo>
                  <a:pt x="1104320" y="220956"/>
                  <a:pt x="1103283" y="223349"/>
                  <a:pt x="1102147" y="224810"/>
                </a:cubicBezTo>
                <a:lnTo>
                  <a:pt x="1098261" y="227262"/>
                </a:lnTo>
                <a:lnTo>
                  <a:pt x="1098367" y="238475"/>
                </a:lnTo>
                <a:cubicBezTo>
                  <a:pt x="1098025" y="239757"/>
                  <a:pt x="1097684" y="241038"/>
                  <a:pt x="1097331" y="242358"/>
                </a:cubicBezTo>
                <a:cubicBezTo>
                  <a:pt x="1096958" y="243711"/>
                  <a:pt x="1096585" y="245064"/>
                  <a:pt x="1096201" y="246458"/>
                </a:cubicBezTo>
                <a:cubicBezTo>
                  <a:pt x="1093302" y="257363"/>
                  <a:pt x="1090901" y="268062"/>
                  <a:pt x="1089440" y="279206"/>
                </a:cubicBezTo>
                <a:cubicBezTo>
                  <a:pt x="1088878" y="282569"/>
                  <a:pt x="1088878" y="282569"/>
                  <a:pt x="1087316" y="283978"/>
                </a:cubicBezTo>
                <a:cubicBezTo>
                  <a:pt x="1087070" y="286587"/>
                  <a:pt x="1086924" y="289205"/>
                  <a:pt x="1086822" y="291822"/>
                </a:cubicBezTo>
                <a:cubicBezTo>
                  <a:pt x="1086756" y="293408"/>
                  <a:pt x="1086691" y="294993"/>
                  <a:pt x="1086623" y="296625"/>
                </a:cubicBezTo>
                <a:cubicBezTo>
                  <a:pt x="1086562" y="298294"/>
                  <a:pt x="1086501" y="299962"/>
                  <a:pt x="1086437" y="301681"/>
                </a:cubicBezTo>
                <a:cubicBezTo>
                  <a:pt x="1086336" y="304192"/>
                  <a:pt x="1086336" y="304192"/>
                  <a:pt x="1086233" y="306754"/>
                </a:cubicBezTo>
                <a:lnTo>
                  <a:pt x="1086007" y="312619"/>
                </a:lnTo>
                <a:lnTo>
                  <a:pt x="1087470" y="320554"/>
                </a:lnTo>
                <a:cubicBezTo>
                  <a:pt x="1089648" y="325409"/>
                  <a:pt x="1093111" y="329799"/>
                  <a:pt x="1098285" y="334611"/>
                </a:cubicBezTo>
                <a:cubicBezTo>
                  <a:pt x="1100424" y="336130"/>
                  <a:pt x="1100424" y="336130"/>
                  <a:pt x="1102607" y="337679"/>
                </a:cubicBezTo>
                <a:cubicBezTo>
                  <a:pt x="1104334" y="338951"/>
                  <a:pt x="1104334" y="338951"/>
                  <a:pt x="1106095" y="340248"/>
                </a:cubicBezTo>
                <a:cubicBezTo>
                  <a:pt x="1106095" y="341178"/>
                  <a:pt x="1106095" y="342108"/>
                  <a:pt x="1106095" y="343066"/>
                </a:cubicBezTo>
                <a:cubicBezTo>
                  <a:pt x="1107127" y="343183"/>
                  <a:pt x="1108158" y="343299"/>
                  <a:pt x="1109220" y="343419"/>
                </a:cubicBezTo>
                <a:cubicBezTo>
                  <a:pt x="1115473" y="344829"/>
                  <a:pt x="1120724" y="347416"/>
                  <a:pt x="1126403" y="350112"/>
                </a:cubicBezTo>
                <a:cubicBezTo>
                  <a:pt x="1128207" y="350926"/>
                  <a:pt x="1130012" y="351740"/>
                  <a:pt x="1131871" y="352579"/>
                </a:cubicBezTo>
                <a:cubicBezTo>
                  <a:pt x="1133159" y="353160"/>
                  <a:pt x="1134448" y="353741"/>
                  <a:pt x="1135776" y="354340"/>
                </a:cubicBezTo>
                <a:cubicBezTo>
                  <a:pt x="1135776" y="355270"/>
                  <a:pt x="1135776" y="356200"/>
                  <a:pt x="1135776" y="357158"/>
                </a:cubicBezTo>
                <a:cubicBezTo>
                  <a:pt x="1148107" y="360029"/>
                  <a:pt x="1158679" y="359101"/>
                  <a:pt x="1170143" y="354340"/>
                </a:cubicBezTo>
                <a:cubicBezTo>
                  <a:pt x="1172366" y="353468"/>
                  <a:pt x="1172366" y="353468"/>
                  <a:pt x="1174634" y="352579"/>
                </a:cubicBezTo>
                <a:cubicBezTo>
                  <a:pt x="1180354" y="349689"/>
                  <a:pt x="1185568" y="346355"/>
                  <a:pt x="1190890" y="342907"/>
                </a:cubicBezTo>
                <a:cubicBezTo>
                  <a:pt x="1195169" y="340228"/>
                  <a:pt x="1199557" y="337821"/>
                  <a:pt x="1204021" y="335404"/>
                </a:cubicBezTo>
                <a:cubicBezTo>
                  <a:pt x="1211989" y="330886"/>
                  <a:pt x="1217509" y="325766"/>
                  <a:pt x="1223255" y="319110"/>
                </a:cubicBezTo>
                <a:cubicBezTo>
                  <a:pt x="1224447" y="317947"/>
                  <a:pt x="1225639" y="316784"/>
                  <a:pt x="1226868" y="315587"/>
                </a:cubicBezTo>
                <a:cubicBezTo>
                  <a:pt x="1229855" y="311593"/>
                  <a:pt x="1230852" y="308240"/>
                  <a:pt x="1231859" y="303559"/>
                </a:cubicBezTo>
                <a:cubicBezTo>
                  <a:pt x="1232628" y="300790"/>
                  <a:pt x="1232628" y="300790"/>
                  <a:pt x="1234178" y="298059"/>
                </a:cubicBezTo>
                <a:cubicBezTo>
                  <a:pt x="1235964" y="294761"/>
                  <a:pt x="1236623" y="291807"/>
                  <a:pt x="1237314" y="288195"/>
                </a:cubicBezTo>
                <a:cubicBezTo>
                  <a:pt x="1239360" y="278571"/>
                  <a:pt x="1242414" y="272733"/>
                  <a:pt x="1249811" y="265559"/>
                </a:cubicBezTo>
                <a:cubicBezTo>
                  <a:pt x="1250842" y="265559"/>
                  <a:pt x="1251873" y="265559"/>
                  <a:pt x="1252935" y="265559"/>
                </a:cubicBezTo>
                <a:cubicBezTo>
                  <a:pt x="1252935" y="264629"/>
                  <a:pt x="1252935" y="263699"/>
                  <a:pt x="1252935" y="262741"/>
                </a:cubicBezTo>
                <a:cubicBezTo>
                  <a:pt x="1265591" y="253427"/>
                  <a:pt x="1280762" y="251648"/>
                  <a:pt x="1296675" y="252876"/>
                </a:cubicBezTo>
                <a:cubicBezTo>
                  <a:pt x="1300535" y="253563"/>
                  <a:pt x="1303901" y="254478"/>
                  <a:pt x="1307609" y="255695"/>
                </a:cubicBezTo>
                <a:cubicBezTo>
                  <a:pt x="1307609" y="256625"/>
                  <a:pt x="1307609" y="257555"/>
                  <a:pt x="1307609" y="258513"/>
                </a:cubicBezTo>
                <a:cubicBezTo>
                  <a:pt x="1309021" y="258619"/>
                  <a:pt x="1310432" y="258723"/>
                  <a:pt x="1311887" y="258832"/>
                </a:cubicBezTo>
                <a:cubicBezTo>
                  <a:pt x="1319573" y="260476"/>
                  <a:pt x="1322149" y="264416"/>
                  <a:pt x="1326715" y="269969"/>
                </a:cubicBezTo>
                <a:cubicBezTo>
                  <a:pt x="1334402" y="281220"/>
                  <a:pt x="1336114" y="294839"/>
                  <a:pt x="1334165" y="307836"/>
                </a:cubicBezTo>
                <a:cubicBezTo>
                  <a:pt x="1332176" y="311898"/>
                  <a:pt x="1332176" y="311898"/>
                  <a:pt x="1329479" y="314882"/>
                </a:cubicBezTo>
                <a:cubicBezTo>
                  <a:pt x="1327417" y="314882"/>
                  <a:pt x="1325355" y="314882"/>
                  <a:pt x="1323231" y="314882"/>
                </a:cubicBezTo>
                <a:cubicBezTo>
                  <a:pt x="1323231" y="315812"/>
                  <a:pt x="1323231" y="316742"/>
                  <a:pt x="1323231" y="317700"/>
                </a:cubicBezTo>
                <a:lnTo>
                  <a:pt x="1322774" y="317838"/>
                </a:lnTo>
                <a:lnTo>
                  <a:pt x="1323295" y="317838"/>
                </a:lnTo>
                <a:cubicBezTo>
                  <a:pt x="1323295" y="316907"/>
                  <a:pt x="1323295" y="315977"/>
                  <a:pt x="1323295" y="315019"/>
                </a:cubicBezTo>
                <a:cubicBezTo>
                  <a:pt x="1324842" y="315019"/>
                  <a:pt x="1326388" y="315019"/>
                  <a:pt x="1327982" y="315019"/>
                </a:cubicBezTo>
                <a:cubicBezTo>
                  <a:pt x="1325845" y="321328"/>
                  <a:pt x="1322753" y="323742"/>
                  <a:pt x="1317047" y="327702"/>
                </a:cubicBezTo>
                <a:cubicBezTo>
                  <a:pt x="1316531" y="329097"/>
                  <a:pt x="1316016" y="330492"/>
                  <a:pt x="1315484" y="331930"/>
                </a:cubicBezTo>
                <a:cubicBezTo>
                  <a:pt x="1312599" y="332959"/>
                  <a:pt x="1312599" y="332959"/>
                  <a:pt x="1309139" y="333603"/>
                </a:cubicBezTo>
                <a:cubicBezTo>
                  <a:pt x="1307993" y="333827"/>
                  <a:pt x="1306847" y="334050"/>
                  <a:pt x="1305666" y="334280"/>
                </a:cubicBezTo>
                <a:cubicBezTo>
                  <a:pt x="1304783" y="334434"/>
                  <a:pt x="1303899" y="334589"/>
                  <a:pt x="1302988" y="334748"/>
                </a:cubicBezTo>
                <a:lnTo>
                  <a:pt x="1305905" y="332775"/>
                </a:lnTo>
                <a:lnTo>
                  <a:pt x="1304485" y="333202"/>
                </a:lnTo>
                <a:cubicBezTo>
                  <a:pt x="1302987" y="334640"/>
                  <a:pt x="1302987" y="334640"/>
                  <a:pt x="1301459" y="336108"/>
                </a:cubicBezTo>
                <a:cubicBezTo>
                  <a:pt x="1298237" y="338839"/>
                  <a:pt x="1298237" y="338839"/>
                  <a:pt x="1291989" y="338839"/>
                </a:cubicBezTo>
                <a:cubicBezTo>
                  <a:pt x="1291473" y="340234"/>
                  <a:pt x="1290957" y="341629"/>
                  <a:pt x="1290426" y="343066"/>
                </a:cubicBezTo>
                <a:cubicBezTo>
                  <a:pt x="1288879" y="343415"/>
                  <a:pt x="1287333" y="343764"/>
                  <a:pt x="1285740" y="344123"/>
                </a:cubicBezTo>
                <a:cubicBezTo>
                  <a:pt x="1266905" y="348491"/>
                  <a:pt x="1249005" y="369098"/>
                  <a:pt x="1237314" y="382525"/>
                </a:cubicBezTo>
                <a:cubicBezTo>
                  <a:pt x="1235678" y="385783"/>
                  <a:pt x="1234122" y="389075"/>
                  <a:pt x="1232628" y="392389"/>
                </a:cubicBezTo>
                <a:cubicBezTo>
                  <a:pt x="1231317" y="394515"/>
                  <a:pt x="1229981" y="396629"/>
                  <a:pt x="1228625" y="398731"/>
                </a:cubicBezTo>
                <a:cubicBezTo>
                  <a:pt x="1221457" y="410300"/>
                  <a:pt x="1219465" y="421836"/>
                  <a:pt x="1222822" y="434798"/>
                </a:cubicBezTo>
                <a:cubicBezTo>
                  <a:pt x="1229360" y="453710"/>
                  <a:pt x="1244088" y="472467"/>
                  <a:pt x="1260746" y="485398"/>
                </a:cubicBezTo>
                <a:cubicBezTo>
                  <a:pt x="1264961" y="487349"/>
                  <a:pt x="1264961" y="487349"/>
                  <a:pt x="1268556" y="488216"/>
                </a:cubicBezTo>
                <a:cubicBezTo>
                  <a:pt x="1268556" y="489146"/>
                  <a:pt x="1268556" y="490076"/>
                  <a:pt x="1268556" y="491034"/>
                </a:cubicBezTo>
                <a:cubicBezTo>
                  <a:pt x="1288790" y="497071"/>
                  <a:pt x="1319055" y="498555"/>
                  <a:pt x="1338852" y="489625"/>
                </a:cubicBezTo>
                <a:cubicBezTo>
                  <a:pt x="1341711" y="489213"/>
                  <a:pt x="1344575" y="488837"/>
                  <a:pt x="1347444" y="488480"/>
                </a:cubicBezTo>
                <a:cubicBezTo>
                  <a:pt x="1355372" y="487345"/>
                  <a:pt x="1362033" y="485390"/>
                  <a:pt x="1369362" y="482513"/>
                </a:cubicBezTo>
                <a:cubicBezTo>
                  <a:pt x="1375665" y="480318"/>
                  <a:pt x="1382189" y="479322"/>
                  <a:pt x="1388840" y="478351"/>
                </a:cubicBezTo>
                <a:cubicBezTo>
                  <a:pt x="1388840" y="477421"/>
                  <a:pt x="1388840" y="476492"/>
                  <a:pt x="1388840" y="475533"/>
                </a:cubicBezTo>
                <a:cubicBezTo>
                  <a:pt x="1391083" y="474821"/>
                  <a:pt x="1393329" y="474118"/>
                  <a:pt x="1395576" y="473419"/>
                </a:cubicBezTo>
                <a:cubicBezTo>
                  <a:pt x="1396827" y="473027"/>
                  <a:pt x="1398077" y="472635"/>
                  <a:pt x="1399365" y="472230"/>
                </a:cubicBezTo>
                <a:cubicBezTo>
                  <a:pt x="1402899" y="471305"/>
                  <a:pt x="1402899" y="471305"/>
                  <a:pt x="1407585" y="471305"/>
                </a:cubicBezTo>
                <a:cubicBezTo>
                  <a:pt x="1408101" y="469910"/>
                  <a:pt x="1408616" y="468515"/>
                  <a:pt x="1409147" y="467078"/>
                </a:cubicBezTo>
                <a:cubicBezTo>
                  <a:pt x="1412388" y="465580"/>
                  <a:pt x="1412388" y="465580"/>
                  <a:pt x="1416470" y="464259"/>
                </a:cubicBezTo>
                <a:cubicBezTo>
                  <a:pt x="1424029" y="461705"/>
                  <a:pt x="1431130" y="458955"/>
                  <a:pt x="1437949" y="455011"/>
                </a:cubicBezTo>
                <a:cubicBezTo>
                  <a:pt x="1442765" y="452574"/>
                  <a:pt x="1447553" y="451394"/>
                  <a:pt x="1452887" y="450167"/>
                </a:cubicBezTo>
                <a:cubicBezTo>
                  <a:pt x="1452887" y="449237"/>
                  <a:pt x="1452887" y="448307"/>
                  <a:pt x="1452887" y="447349"/>
                </a:cubicBezTo>
                <a:cubicBezTo>
                  <a:pt x="1453714" y="446944"/>
                  <a:pt x="1454541" y="446539"/>
                  <a:pt x="1455394" y="446122"/>
                </a:cubicBezTo>
                <a:cubicBezTo>
                  <a:pt x="1459151" y="444278"/>
                  <a:pt x="1462902" y="442422"/>
                  <a:pt x="1466653" y="440567"/>
                </a:cubicBezTo>
                <a:cubicBezTo>
                  <a:pt x="1467955" y="439930"/>
                  <a:pt x="1469256" y="439293"/>
                  <a:pt x="1470598" y="438637"/>
                </a:cubicBezTo>
                <a:cubicBezTo>
                  <a:pt x="1471852" y="438016"/>
                  <a:pt x="1473105" y="437393"/>
                  <a:pt x="1474397" y="436752"/>
                </a:cubicBezTo>
                <a:cubicBezTo>
                  <a:pt x="1475550" y="436184"/>
                  <a:pt x="1476703" y="435616"/>
                  <a:pt x="1477892" y="435030"/>
                </a:cubicBezTo>
                <a:cubicBezTo>
                  <a:pt x="1480966" y="433279"/>
                  <a:pt x="1483173" y="431373"/>
                  <a:pt x="1485691" y="429029"/>
                </a:cubicBezTo>
                <a:cubicBezTo>
                  <a:pt x="1486737" y="428575"/>
                  <a:pt x="1487781" y="428121"/>
                  <a:pt x="1488858" y="427653"/>
                </a:cubicBezTo>
                <a:cubicBezTo>
                  <a:pt x="1492438" y="425977"/>
                  <a:pt x="1493705" y="424453"/>
                  <a:pt x="1495943" y="421454"/>
                </a:cubicBezTo>
                <a:cubicBezTo>
                  <a:pt x="1507114" y="407544"/>
                  <a:pt x="1519758" y="393513"/>
                  <a:pt x="1538608" y="388338"/>
                </a:cubicBezTo>
                <a:cubicBezTo>
                  <a:pt x="1541025" y="388250"/>
                  <a:pt x="1541025" y="388250"/>
                  <a:pt x="1543490" y="388161"/>
                </a:cubicBezTo>
                <a:cubicBezTo>
                  <a:pt x="1545535" y="387984"/>
                  <a:pt x="1545535" y="387984"/>
                  <a:pt x="1547621" y="387804"/>
                </a:cubicBezTo>
                <a:cubicBezTo>
                  <a:pt x="1560659" y="387094"/>
                  <a:pt x="1568716" y="390117"/>
                  <a:pt x="1579418" y="396617"/>
                </a:cubicBezTo>
                <a:cubicBezTo>
                  <a:pt x="1581361" y="397687"/>
                  <a:pt x="1581361" y="397687"/>
                  <a:pt x="1583342" y="398780"/>
                </a:cubicBezTo>
                <a:cubicBezTo>
                  <a:pt x="1593703" y="405068"/>
                  <a:pt x="1598513" y="412459"/>
                  <a:pt x="1601288" y="423392"/>
                </a:cubicBezTo>
                <a:cubicBezTo>
                  <a:pt x="1603295" y="436596"/>
                  <a:pt x="1603517" y="449033"/>
                  <a:pt x="1594484" y="460159"/>
                </a:cubicBezTo>
                <a:cubicBezTo>
                  <a:pt x="1588468" y="466462"/>
                  <a:pt x="1582607" y="471150"/>
                  <a:pt x="1574732" y="475533"/>
                </a:cubicBezTo>
                <a:cubicBezTo>
                  <a:pt x="1573862" y="476043"/>
                  <a:pt x="1572993" y="476553"/>
                  <a:pt x="1572097" y="477078"/>
                </a:cubicBezTo>
                <a:cubicBezTo>
                  <a:pt x="1566828" y="478935"/>
                  <a:pt x="1561641" y="478744"/>
                  <a:pt x="1556066" y="478737"/>
                </a:cubicBezTo>
                <a:cubicBezTo>
                  <a:pt x="1553587" y="478765"/>
                  <a:pt x="1551109" y="478795"/>
                  <a:pt x="1548631" y="478825"/>
                </a:cubicBezTo>
                <a:cubicBezTo>
                  <a:pt x="1544751" y="478857"/>
                  <a:pt x="1540871" y="478880"/>
                  <a:pt x="1536991" y="478889"/>
                </a:cubicBezTo>
                <a:cubicBezTo>
                  <a:pt x="1516714" y="478693"/>
                  <a:pt x="1516714" y="478693"/>
                  <a:pt x="1498188" y="485398"/>
                </a:cubicBezTo>
                <a:cubicBezTo>
                  <a:pt x="1496062" y="486488"/>
                  <a:pt x="1496062" y="486488"/>
                  <a:pt x="1493892" y="487600"/>
                </a:cubicBezTo>
                <a:cubicBezTo>
                  <a:pt x="1492733" y="488268"/>
                  <a:pt x="1491573" y="488937"/>
                  <a:pt x="1490377" y="489625"/>
                </a:cubicBezTo>
                <a:cubicBezTo>
                  <a:pt x="1484304" y="493012"/>
                  <a:pt x="1478212" y="495675"/>
                  <a:pt x="1471650" y="498185"/>
                </a:cubicBezTo>
                <a:cubicBezTo>
                  <a:pt x="1467148" y="500054"/>
                  <a:pt x="1463242" y="502632"/>
                  <a:pt x="1459135" y="505127"/>
                </a:cubicBezTo>
                <a:cubicBezTo>
                  <a:pt x="1456968" y="506120"/>
                  <a:pt x="1454786" y="507086"/>
                  <a:pt x="1452594" y="508033"/>
                </a:cubicBezTo>
                <a:cubicBezTo>
                  <a:pt x="1444148" y="511772"/>
                  <a:pt x="1435969" y="515903"/>
                  <a:pt x="1427795" y="520100"/>
                </a:cubicBezTo>
                <a:cubicBezTo>
                  <a:pt x="1425784" y="521114"/>
                  <a:pt x="1425784" y="521114"/>
                  <a:pt x="1423733" y="522148"/>
                </a:cubicBezTo>
                <a:cubicBezTo>
                  <a:pt x="1422478" y="522798"/>
                  <a:pt x="1421223" y="523449"/>
                  <a:pt x="1419929" y="524118"/>
                </a:cubicBezTo>
                <a:cubicBezTo>
                  <a:pt x="1418794" y="524701"/>
                  <a:pt x="1417658" y="525283"/>
                  <a:pt x="1416487" y="525883"/>
                </a:cubicBezTo>
                <a:cubicBezTo>
                  <a:pt x="1413349" y="527646"/>
                  <a:pt x="1413349" y="527646"/>
                  <a:pt x="1412271" y="531902"/>
                </a:cubicBezTo>
                <a:cubicBezTo>
                  <a:pt x="1407205" y="535203"/>
                  <a:pt x="1402819" y="536744"/>
                  <a:pt x="1396650" y="537539"/>
                </a:cubicBezTo>
                <a:cubicBezTo>
                  <a:pt x="1396650" y="538469"/>
                  <a:pt x="1396650" y="539399"/>
                  <a:pt x="1396650" y="540357"/>
                </a:cubicBezTo>
                <a:cubicBezTo>
                  <a:pt x="1395609" y="540735"/>
                  <a:pt x="1394568" y="541113"/>
                  <a:pt x="1393495" y="541502"/>
                </a:cubicBezTo>
                <a:cubicBezTo>
                  <a:pt x="1381840" y="545973"/>
                  <a:pt x="1372279" y="551715"/>
                  <a:pt x="1362284" y="558678"/>
                </a:cubicBezTo>
                <a:cubicBezTo>
                  <a:pt x="1360170" y="560088"/>
                  <a:pt x="1358055" y="561497"/>
                  <a:pt x="1355937" y="562905"/>
                </a:cubicBezTo>
                <a:cubicBezTo>
                  <a:pt x="1348556" y="567937"/>
                  <a:pt x="1341292" y="573085"/>
                  <a:pt x="1334165" y="578406"/>
                </a:cubicBezTo>
                <a:cubicBezTo>
                  <a:pt x="1332697" y="579472"/>
                  <a:pt x="1332697" y="579472"/>
                  <a:pt x="1331200" y="580559"/>
                </a:cubicBezTo>
                <a:cubicBezTo>
                  <a:pt x="1325067" y="585430"/>
                  <a:pt x="1323406" y="589771"/>
                  <a:pt x="1322175" y="596793"/>
                </a:cubicBezTo>
                <a:cubicBezTo>
                  <a:pt x="1321669" y="599545"/>
                  <a:pt x="1321669" y="599545"/>
                  <a:pt x="1320106" y="602363"/>
                </a:cubicBezTo>
                <a:cubicBezTo>
                  <a:pt x="1318419" y="618189"/>
                  <a:pt x="1322416" y="632767"/>
                  <a:pt x="1328015" y="647640"/>
                </a:cubicBezTo>
                <a:cubicBezTo>
                  <a:pt x="1331267" y="656625"/>
                  <a:pt x="1333170" y="666179"/>
                  <a:pt x="1332604" y="675643"/>
                </a:cubicBezTo>
                <a:cubicBezTo>
                  <a:pt x="1333634" y="675643"/>
                  <a:pt x="1334665" y="675643"/>
                  <a:pt x="1335727" y="675643"/>
                </a:cubicBezTo>
                <a:cubicBezTo>
                  <a:pt x="1337571" y="680632"/>
                  <a:pt x="1337591" y="684795"/>
                  <a:pt x="1337741" y="690059"/>
                </a:cubicBezTo>
                <a:cubicBezTo>
                  <a:pt x="1337826" y="692114"/>
                  <a:pt x="1337913" y="694168"/>
                  <a:pt x="1338003" y="696222"/>
                </a:cubicBezTo>
                <a:cubicBezTo>
                  <a:pt x="1338142" y="699444"/>
                  <a:pt x="1338266" y="702664"/>
                  <a:pt x="1338340" y="705887"/>
                </a:cubicBezTo>
                <a:cubicBezTo>
                  <a:pt x="1338372" y="720474"/>
                  <a:pt x="1338372" y="720474"/>
                  <a:pt x="1345277" y="733245"/>
                </a:cubicBezTo>
                <a:cubicBezTo>
                  <a:pt x="1350822" y="737861"/>
                  <a:pt x="1355921" y="739823"/>
                  <a:pt x="1363162" y="741612"/>
                </a:cubicBezTo>
                <a:cubicBezTo>
                  <a:pt x="1370672" y="743533"/>
                  <a:pt x="1377197" y="745750"/>
                  <a:pt x="1384154" y="748922"/>
                </a:cubicBezTo>
                <a:cubicBezTo>
                  <a:pt x="1387833" y="749898"/>
                  <a:pt x="1387833" y="749898"/>
                  <a:pt x="1391476" y="750419"/>
                </a:cubicBezTo>
                <a:cubicBezTo>
                  <a:pt x="1393499" y="750747"/>
                  <a:pt x="1393499" y="750747"/>
                  <a:pt x="1395564" y="751080"/>
                </a:cubicBezTo>
                <a:cubicBezTo>
                  <a:pt x="1397648" y="751407"/>
                  <a:pt x="1397648" y="751407"/>
                  <a:pt x="1399775" y="751740"/>
                </a:cubicBezTo>
                <a:cubicBezTo>
                  <a:pt x="1401810" y="752111"/>
                  <a:pt x="1401810" y="752111"/>
                  <a:pt x="1403887" y="752489"/>
                </a:cubicBezTo>
                <a:cubicBezTo>
                  <a:pt x="1424247" y="756131"/>
                  <a:pt x="1444708" y="756350"/>
                  <a:pt x="1465383" y="755969"/>
                </a:cubicBezTo>
                <a:cubicBezTo>
                  <a:pt x="1467019" y="755945"/>
                  <a:pt x="1468654" y="755921"/>
                  <a:pt x="1470339" y="755897"/>
                </a:cubicBezTo>
                <a:cubicBezTo>
                  <a:pt x="1480128" y="755450"/>
                  <a:pt x="1487899" y="752933"/>
                  <a:pt x="1496809" y="749313"/>
                </a:cubicBezTo>
                <a:cubicBezTo>
                  <a:pt x="1502876" y="746888"/>
                  <a:pt x="1509049" y="745091"/>
                  <a:pt x="1515371" y="743285"/>
                </a:cubicBezTo>
                <a:cubicBezTo>
                  <a:pt x="1515371" y="742356"/>
                  <a:pt x="1515371" y="741425"/>
                  <a:pt x="1515371" y="740467"/>
                </a:cubicBezTo>
                <a:cubicBezTo>
                  <a:pt x="1522710" y="737103"/>
                  <a:pt x="1529583" y="737106"/>
                  <a:pt x="1537632" y="737120"/>
                </a:cubicBezTo>
                <a:cubicBezTo>
                  <a:pt x="1538960" y="737122"/>
                  <a:pt x="1540289" y="737124"/>
                  <a:pt x="1541657" y="737127"/>
                </a:cubicBezTo>
                <a:cubicBezTo>
                  <a:pt x="1555502" y="737372"/>
                  <a:pt x="1564314" y="740697"/>
                  <a:pt x="1574732" y="748922"/>
                </a:cubicBezTo>
                <a:cubicBezTo>
                  <a:pt x="1586507" y="762822"/>
                  <a:pt x="1590347" y="775219"/>
                  <a:pt x="1588791" y="792608"/>
                </a:cubicBezTo>
                <a:cubicBezTo>
                  <a:pt x="1587728" y="797050"/>
                  <a:pt x="1586468" y="801261"/>
                  <a:pt x="1584105" y="805291"/>
                </a:cubicBezTo>
                <a:cubicBezTo>
                  <a:pt x="1583074" y="805756"/>
                  <a:pt x="1582043" y="806221"/>
                  <a:pt x="1580981" y="806700"/>
                </a:cubicBezTo>
                <a:cubicBezTo>
                  <a:pt x="1580240" y="807892"/>
                  <a:pt x="1579499" y="809083"/>
                  <a:pt x="1578735" y="810311"/>
                </a:cubicBezTo>
                <a:cubicBezTo>
                  <a:pt x="1577930" y="811445"/>
                  <a:pt x="1577124" y="812579"/>
                  <a:pt x="1576295" y="813746"/>
                </a:cubicBezTo>
                <a:lnTo>
                  <a:pt x="1571652" y="813746"/>
                </a:lnTo>
                <a:lnTo>
                  <a:pt x="1571785" y="814106"/>
                </a:lnTo>
                <a:cubicBezTo>
                  <a:pt x="1572816" y="814571"/>
                  <a:pt x="1573846" y="815036"/>
                  <a:pt x="1574909" y="815515"/>
                </a:cubicBezTo>
                <a:cubicBezTo>
                  <a:pt x="1572126" y="818758"/>
                  <a:pt x="1569968" y="820871"/>
                  <a:pt x="1565463" y="821839"/>
                </a:cubicBezTo>
                <a:lnTo>
                  <a:pt x="1562085" y="822101"/>
                </a:lnTo>
                <a:lnTo>
                  <a:pt x="1551301" y="825020"/>
                </a:lnTo>
                <a:cubicBezTo>
                  <a:pt x="1551301" y="825950"/>
                  <a:pt x="1551301" y="826880"/>
                  <a:pt x="1551301" y="827838"/>
                </a:cubicBezTo>
                <a:cubicBezTo>
                  <a:pt x="1526697" y="828735"/>
                  <a:pt x="1507496" y="825036"/>
                  <a:pt x="1485380" y="815007"/>
                </a:cubicBezTo>
                <a:cubicBezTo>
                  <a:pt x="1468723" y="807743"/>
                  <a:pt x="1449749" y="809144"/>
                  <a:pt x="1431603" y="808726"/>
                </a:cubicBezTo>
                <a:cubicBezTo>
                  <a:pt x="1429115" y="808665"/>
                  <a:pt x="1426627" y="808604"/>
                  <a:pt x="1424140" y="808542"/>
                </a:cubicBezTo>
                <a:cubicBezTo>
                  <a:pt x="1418101" y="808392"/>
                  <a:pt x="1412062" y="808249"/>
                  <a:pt x="1406023" y="808109"/>
                </a:cubicBezTo>
                <a:cubicBezTo>
                  <a:pt x="1406023" y="809040"/>
                  <a:pt x="1406023" y="809970"/>
                  <a:pt x="1406023" y="810928"/>
                </a:cubicBezTo>
                <a:cubicBezTo>
                  <a:pt x="1404716" y="811118"/>
                  <a:pt x="1404716" y="811118"/>
                  <a:pt x="1403383" y="811311"/>
                </a:cubicBezTo>
                <a:cubicBezTo>
                  <a:pt x="1372054" y="815110"/>
                  <a:pt x="1372054" y="815110"/>
                  <a:pt x="1345442" y="828907"/>
                </a:cubicBezTo>
                <a:cubicBezTo>
                  <a:pt x="1338843" y="837605"/>
                  <a:pt x="1338313" y="846434"/>
                  <a:pt x="1337875" y="856639"/>
                </a:cubicBezTo>
                <a:cubicBezTo>
                  <a:pt x="1337815" y="857805"/>
                  <a:pt x="1337754" y="858970"/>
                  <a:pt x="1337692" y="860171"/>
                </a:cubicBezTo>
                <a:cubicBezTo>
                  <a:pt x="1337547" y="863016"/>
                  <a:pt x="1337417" y="865861"/>
                  <a:pt x="1337290" y="868706"/>
                </a:cubicBezTo>
                <a:cubicBezTo>
                  <a:pt x="1336258" y="868706"/>
                  <a:pt x="1335228" y="868706"/>
                  <a:pt x="1334165" y="868706"/>
                </a:cubicBezTo>
                <a:lnTo>
                  <a:pt x="1334165" y="870034"/>
                </a:lnTo>
                <a:lnTo>
                  <a:pt x="1334237" y="869093"/>
                </a:lnTo>
                <a:cubicBezTo>
                  <a:pt x="1334753" y="869093"/>
                  <a:pt x="1335268" y="869093"/>
                  <a:pt x="1335800" y="869093"/>
                </a:cubicBezTo>
                <a:cubicBezTo>
                  <a:pt x="1335884" y="871559"/>
                  <a:pt x="1335944" y="874025"/>
                  <a:pt x="1335995" y="876491"/>
                </a:cubicBezTo>
                <a:cubicBezTo>
                  <a:pt x="1336030" y="877865"/>
                  <a:pt x="1336067" y="879238"/>
                  <a:pt x="1336105" y="880653"/>
                </a:cubicBezTo>
                <a:cubicBezTo>
                  <a:pt x="1335800" y="884594"/>
                  <a:pt x="1335800" y="884594"/>
                  <a:pt x="1334294" y="887271"/>
                </a:cubicBezTo>
                <a:cubicBezTo>
                  <a:pt x="1332567" y="890428"/>
                  <a:pt x="1331982" y="892964"/>
                  <a:pt x="1331455" y="896440"/>
                </a:cubicBezTo>
                <a:cubicBezTo>
                  <a:pt x="1331267" y="897605"/>
                  <a:pt x="1331080" y="898769"/>
                  <a:pt x="1330887" y="899969"/>
                </a:cubicBezTo>
                <a:cubicBezTo>
                  <a:pt x="1330704" y="901174"/>
                  <a:pt x="1330521" y="902378"/>
                  <a:pt x="1330332" y="903618"/>
                </a:cubicBezTo>
                <a:cubicBezTo>
                  <a:pt x="1329968" y="906013"/>
                  <a:pt x="1329594" y="908405"/>
                  <a:pt x="1329209" y="910797"/>
                </a:cubicBezTo>
                <a:cubicBezTo>
                  <a:pt x="1329049" y="911853"/>
                  <a:pt x="1328889" y="912910"/>
                  <a:pt x="1328724" y="913998"/>
                </a:cubicBezTo>
                <a:cubicBezTo>
                  <a:pt x="1327933" y="917233"/>
                  <a:pt x="1326525" y="919703"/>
                  <a:pt x="1324865" y="922643"/>
                </a:cubicBezTo>
                <a:cubicBezTo>
                  <a:pt x="1323924" y="927743"/>
                  <a:pt x="1323282" y="932845"/>
                  <a:pt x="1322619" y="937979"/>
                </a:cubicBezTo>
                <a:lnTo>
                  <a:pt x="1318744" y="944961"/>
                </a:lnTo>
                <a:lnTo>
                  <a:pt x="1318544" y="946213"/>
                </a:lnTo>
                <a:cubicBezTo>
                  <a:pt x="1318360" y="949234"/>
                  <a:pt x="1318271" y="952260"/>
                  <a:pt x="1318251" y="955285"/>
                </a:cubicBezTo>
                <a:cubicBezTo>
                  <a:pt x="1318218" y="957637"/>
                  <a:pt x="1318218" y="957637"/>
                  <a:pt x="1318184" y="960036"/>
                </a:cubicBezTo>
                <a:cubicBezTo>
                  <a:pt x="1318624" y="965530"/>
                  <a:pt x="1319569" y="969724"/>
                  <a:pt x="1324024" y="973660"/>
                </a:cubicBezTo>
                <a:cubicBezTo>
                  <a:pt x="1327197" y="976583"/>
                  <a:pt x="1327950" y="979494"/>
                  <a:pt x="1329284" y="983382"/>
                </a:cubicBezTo>
                <a:cubicBezTo>
                  <a:pt x="1331875" y="990106"/>
                  <a:pt x="1334445" y="993582"/>
                  <a:pt x="1340414" y="998354"/>
                </a:cubicBezTo>
                <a:cubicBezTo>
                  <a:pt x="1342397" y="1000564"/>
                  <a:pt x="1344347" y="1002798"/>
                  <a:pt x="1346272" y="1005048"/>
                </a:cubicBezTo>
                <a:cubicBezTo>
                  <a:pt x="1360055" y="1020713"/>
                  <a:pt x="1376247" y="1031879"/>
                  <a:pt x="1394716" y="1042740"/>
                </a:cubicBezTo>
                <a:cubicBezTo>
                  <a:pt x="1397172" y="1044228"/>
                  <a:pt x="1399581" y="1045779"/>
                  <a:pt x="1401953" y="1047374"/>
                </a:cubicBezTo>
                <a:cubicBezTo>
                  <a:pt x="1410065" y="1052802"/>
                  <a:pt x="1417529" y="1056366"/>
                  <a:pt x="1427197" y="1059061"/>
                </a:cubicBezTo>
                <a:cubicBezTo>
                  <a:pt x="1431243" y="1060437"/>
                  <a:pt x="1434061" y="1061979"/>
                  <a:pt x="1437265" y="1064588"/>
                </a:cubicBezTo>
                <a:cubicBezTo>
                  <a:pt x="1437265" y="1065518"/>
                  <a:pt x="1437265" y="1066448"/>
                  <a:pt x="1437265" y="1067406"/>
                </a:cubicBezTo>
                <a:cubicBezTo>
                  <a:pt x="1439053" y="1067624"/>
                  <a:pt x="1439053" y="1067624"/>
                  <a:pt x="1440878" y="1067847"/>
                </a:cubicBezTo>
                <a:cubicBezTo>
                  <a:pt x="1445076" y="1068815"/>
                  <a:pt x="1445076" y="1068815"/>
                  <a:pt x="1447175" y="1070753"/>
                </a:cubicBezTo>
                <a:cubicBezTo>
                  <a:pt x="1450417" y="1073622"/>
                  <a:pt x="1453781" y="1075060"/>
                  <a:pt x="1457866" y="1076830"/>
                </a:cubicBezTo>
                <a:cubicBezTo>
                  <a:pt x="1459274" y="1077446"/>
                  <a:pt x="1460681" y="1078062"/>
                  <a:pt x="1462132" y="1078696"/>
                </a:cubicBezTo>
                <a:cubicBezTo>
                  <a:pt x="1463204" y="1079156"/>
                  <a:pt x="1464278" y="1079616"/>
                  <a:pt x="1465383" y="1080089"/>
                </a:cubicBezTo>
                <a:cubicBezTo>
                  <a:pt x="1465383" y="1081019"/>
                  <a:pt x="1465383" y="1081949"/>
                  <a:pt x="1465383" y="1082908"/>
                </a:cubicBezTo>
                <a:cubicBezTo>
                  <a:pt x="1466497" y="1083260"/>
                  <a:pt x="1467611" y="1083612"/>
                  <a:pt x="1468758" y="1083975"/>
                </a:cubicBezTo>
                <a:cubicBezTo>
                  <a:pt x="1473648" y="1085905"/>
                  <a:pt x="1477426" y="1088296"/>
                  <a:pt x="1481688" y="1091187"/>
                </a:cubicBezTo>
                <a:cubicBezTo>
                  <a:pt x="1483204" y="1092193"/>
                  <a:pt x="1484721" y="1093200"/>
                  <a:pt x="1486283" y="1094236"/>
                </a:cubicBezTo>
                <a:cubicBezTo>
                  <a:pt x="1489170" y="1096185"/>
                  <a:pt x="1492029" y="1098166"/>
                  <a:pt x="1494869" y="1100171"/>
                </a:cubicBezTo>
                <a:cubicBezTo>
                  <a:pt x="1510181" y="1107906"/>
                  <a:pt x="1527080" y="1109898"/>
                  <a:pt x="1544335" y="1109518"/>
                </a:cubicBezTo>
                <a:cubicBezTo>
                  <a:pt x="1579932" y="1108798"/>
                  <a:pt x="1579932" y="1108798"/>
                  <a:pt x="1593477" y="1119900"/>
                </a:cubicBezTo>
                <a:cubicBezTo>
                  <a:pt x="1600636" y="1127255"/>
                  <a:pt x="1604889" y="1135120"/>
                  <a:pt x="1605975" y="1144913"/>
                </a:cubicBezTo>
                <a:cubicBezTo>
                  <a:pt x="1607006" y="1144913"/>
                  <a:pt x="1608036" y="1144913"/>
                  <a:pt x="1609099" y="1144913"/>
                </a:cubicBezTo>
                <a:cubicBezTo>
                  <a:pt x="1609227" y="1148907"/>
                  <a:pt x="1609319" y="1152897"/>
                  <a:pt x="1609392" y="1156892"/>
                </a:cubicBezTo>
                <a:cubicBezTo>
                  <a:pt x="1609451" y="1158565"/>
                  <a:pt x="1609451" y="1158565"/>
                  <a:pt x="1609511" y="1160272"/>
                </a:cubicBezTo>
                <a:cubicBezTo>
                  <a:pt x="1609621" y="1168378"/>
                  <a:pt x="1607970" y="1174108"/>
                  <a:pt x="1604412" y="1181553"/>
                </a:cubicBezTo>
                <a:cubicBezTo>
                  <a:pt x="1603354" y="1184367"/>
                  <a:pt x="1602306" y="1187183"/>
                  <a:pt x="1601288" y="1190009"/>
                </a:cubicBezTo>
                <a:cubicBezTo>
                  <a:pt x="1600257" y="1190009"/>
                  <a:pt x="1599226" y="1190009"/>
                  <a:pt x="1598164" y="1190009"/>
                </a:cubicBezTo>
                <a:cubicBezTo>
                  <a:pt x="1597842" y="1190910"/>
                  <a:pt x="1597520" y="1191810"/>
                  <a:pt x="1597187" y="1192739"/>
                </a:cubicBezTo>
                <a:cubicBezTo>
                  <a:pt x="1596479" y="1193698"/>
                  <a:pt x="1595770" y="1194657"/>
                  <a:pt x="1595040" y="1195645"/>
                </a:cubicBezTo>
                <a:cubicBezTo>
                  <a:pt x="1591916" y="1196115"/>
                  <a:pt x="1588791" y="1196585"/>
                  <a:pt x="1585667" y="1197055"/>
                </a:cubicBezTo>
                <a:cubicBezTo>
                  <a:pt x="1583871" y="1199826"/>
                  <a:pt x="1583871" y="1199826"/>
                  <a:pt x="1582543" y="1202691"/>
                </a:cubicBezTo>
                <a:cubicBezTo>
                  <a:pt x="1575997" y="1204710"/>
                  <a:pt x="1569266" y="1204360"/>
                  <a:pt x="1562431" y="1204365"/>
                </a:cubicBezTo>
                <a:cubicBezTo>
                  <a:pt x="1561196" y="1204382"/>
                  <a:pt x="1559962" y="1204399"/>
                  <a:pt x="1558690" y="1204417"/>
                </a:cubicBezTo>
                <a:cubicBezTo>
                  <a:pt x="1543339" y="1204452"/>
                  <a:pt x="1531981" y="1199267"/>
                  <a:pt x="1521102" y="1189585"/>
                </a:cubicBezTo>
                <a:cubicBezTo>
                  <a:pt x="1515403" y="1183953"/>
                  <a:pt x="1510116" y="1178123"/>
                  <a:pt x="1505022" y="1172041"/>
                </a:cubicBezTo>
                <a:cubicBezTo>
                  <a:pt x="1493200" y="1158177"/>
                  <a:pt x="1475492" y="1147115"/>
                  <a:pt x="1457573" y="1140686"/>
                </a:cubicBezTo>
                <a:cubicBezTo>
                  <a:pt x="1457573" y="1139755"/>
                  <a:pt x="1457573" y="1138826"/>
                  <a:pt x="1457573" y="1137867"/>
                </a:cubicBezTo>
                <a:cubicBezTo>
                  <a:pt x="1456059" y="1137693"/>
                  <a:pt x="1454544" y="1137518"/>
                  <a:pt x="1452985" y="1137339"/>
                </a:cubicBezTo>
                <a:cubicBezTo>
                  <a:pt x="1451406" y="1137048"/>
                  <a:pt x="1449827" y="1136758"/>
                  <a:pt x="1448200" y="1136458"/>
                </a:cubicBezTo>
                <a:cubicBezTo>
                  <a:pt x="1447685" y="1135528"/>
                  <a:pt x="1447169" y="1134598"/>
                  <a:pt x="1446638" y="1133640"/>
                </a:cubicBezTo>
                <a:cubicBezTo>
                  <a:pt x="1444091" y="1132586"/>
                  <a:pt x="1441535" y="1131550"/>
                  <a:pt x="1438937" y="1130601"/>
                </a:cubicBezTo>
                <a:cubicBezTo>
                  <a:pt x="1435668" y="1129399"/>
                  <a:pt x="1432469" y="1128095"/>
                  <a:pt x="1429260" y="1126770"/>
                </a:cubicBezTo>
                <a:cubicBezTo>
                  <a:pt x="1423389" y="1124389"/>
                  <a:pt x="1417431" y="1122349"/>
                  <a:pt x="1411393" y="1120340"/>
                </a:cubicBezTo>
                <a:cubicBezTo>
                  <a:pt x="1404143" y="1117867"/>
                  <a:pt x="1397842" y="1115090"/>
                  <a:pt x="1391427" y="1111191"/>
                </a:cubicBezTo>
                <a:cubicBezTo>
                  <a:pt x="1388139" y="1109274"/>
                  <a:pt x="1384723" y="1108010"/>
                  <a:pt x="1381029" y="1106865"/>
                </a:cubicBezTo>
                <a:cubicBezTo>
                  <a:pt x="1381029" y="1105934"/>
                  <a:pt x="1381029" y="1105004"/>
                  <a:pt x="1381029" y="1104046"/>
                </a:cubicBezTo>
                <a:cubicBezTo>
                  <a:pt x="1379773" y="1103901"/>
                  <a:pt x="1378516" y="1103755"/>
                  <a:pt x="1377221" y="1103605"/>
                </a:cubicBezTo>
                <a:cubicBezTo>
                  <a:pt x="1370425" y="1102422"/>
                  <a:pt x="1364120" y="1100465"/>
                  <a:pt x="1357597" y="1098409"/>
                </a:cubicBezTo>
                <a:cubicBezTo>
                  <a:pt x="1355761" y="1097857"/>
                  <a:pt x="1353924" y="1097304"/>
                  <a:pt x="1352032" y="1096736"/>
                </a:cubicBezTo>
                <a:cubicBezTo>
                  <a:pt x="1350776" y="1096358"/>
                  <a:pt x="1349519" y="1095980"/>
                  <a:pt x="1348225" y="1095590"/>
                </a:cubicBezTo>
                <a:cubicBezTo>
                  <a:pt x="1348225" y="1094661"/>
                  <a:pt x="1348225" y="1093730"/>
                  <a:pt x="1348225" y="1092772"/>
                </a:cubicBezTo>
                <a:cubicBezTo>
                  <a:pt x="1344616" y="1092307"/>
                  <a:pt x="1341007" y="1091842"/>
                  <a:pt x="1337290" y="1091363"/>
                </a:cubicBezTo>
                <a:cubicBezTo>
                  <a:pt x="1337290" y="1090433"/>
                  <a:pt x="1337290" y="1089503"/>
                  <a:pt x="1337290" y="1088544"/>
                </a:cubicBezTo>
                <a:cubicBezTo>
                  <a:pt x="1334438" y="1088327"/>
                  <a:pt x="1334438" y="1088327"/>
                  <a:pt x="1331529" y="1088104"/>
                </a:cubicBezTo>
                <a:lnTo>
                  <a:pt x="1323297" y="1086611"/>
                </a:lnTo>
                <a:lnTo>
                  <a:pt x="1323297" y="1087618"/>
                </a:lnTo>
                <a:cubicBezTo>
                  <a:pt x="1322139" y="1087517"/>
                  <a:pt x="1320982" y="1087415"/>
                  <a:pt x="1319789" y="1087310"/>
                </a:cubicBezTo>
                <a:cubicBezTo>
                  <a:pt x="1300429" y="1085771"/>
                  <a:pt x="1281330" y="1084680"/>
                  <a:pt x="1262375" y="1089028"/>
                </a:cubicBezTo>
                <a:lnTo>
                  <a:pt x="1258728" y="1088205"/>
                </a:lnTo>
                <a:lnTo>
                  <a:pt x="1246964" y="1091489"/>
                </a:lnTo>
                <a:cubicBezTo>
                  <a:pt x="1237239" y="1097222"/>
                  <a:pt x="1228703" y="1103434"/>
                  <a:pt x="1223224" y="1112865"/>
                </a:cubicBezTo>
                <a:cubicBezTo>
                  <a:pt x="1220867" y="1116643"/>
                  <a:pt x="1217262" y="1119317"/>
                  <a:pt x="1213883" y="1122366"/>
                </a:cubicBezTo>
                <a:cubicBezTo>
                  <a:pt x="1213428" y="1123469"/>
                  <a:pt x="1212973" y="1124572"/>
                  <a:pt x="1212505" y="1125708"/>
                </a:cubicBezTo>
                <a:cubicBezTo>
                  <a:pt x="1210449" y="1130067"/>
                  <a:pt x="1207984" y="1132315"/>
                  <a:pt x="1204180" y="1135561"/>
                </a:cubicBezTo>
                <a:cubicBezTo>
                  <a:pt x="1202879" y="1136695"/>
                  <a:pt x="1201578" y="1137829"/>
                  <a:pt x="1200238" y="1138999"/>
                </a:cubicBezTo>
                <a:cubicBezTo>
                  <a:pt x="1197504" y="1141343"/>
                  <a:pt x="1194765" y="1143684"/>
                  <a:pt x="1192025" y="1146022"/>
                </a:cubicBezTo>
                <a:cubicBezTo>
                  <a:pt x="1181899" y="1154869"/>
                  <a:pt x="1174983" y="1161763"/>
                  <a:pt x="1173945" y="1174749"/>
                </a:cubicBezTo>
                <a:cubicBezTo>
                  <a:pt x="1173902" y="1177369"/>
                  <a:pt x="1173905" y="1179990"/>
                  <a:pt x="1173950" y="1182610"/>
                </a:cubicBezTo>
                <a:cubicBezTo>
                  <a:pt x="1173963" y="1183981"/>
                  <a:pt x="1173975" y="1185352"/>
                  <a:pt x="1173989" y="1186765"/>
                </a:cubicBezTo>
                <a:cubicBezTo>
                  <a:pt x="1174321" y="1197573"/>
                  <a:pt x="1176809" y="1205883"/>
                  <a:pt x="1182640" y="1215374"/>
                </a:cubicBezTo>
                <a:cubicBezTo>
                  <a:pt x="1183703" y="1217509"/>
                  <a:pt x="1184746" y="1219652"/>
                  <a:pt x="1185764" y="1221804"/>
                </a:cubicBezTo>
                <a:cubicBezTo>
                  <a:pt x="1186271" y="1222812"/>
                  <a:pt x="1186779" y="1223821"/>
                  <a:pt x="1187301" y="1224859"/>
                </a:cubicBezTo>
                <a:cubicBezTo>
                  <a:pt x="1188431" y="1227137"/>
                  <a:pt x="1189517" y="1229433"/>
                  <a:pt x="1190573" y="1231740"/>
                </a:cubicBezTo>
                <a:cubicBezTo>
                  <a:pt x="1194650" y="1240409"/>
                  <a:pt x="1199581" y="1247688"/>
                  <a:pt x="1205925" y="1255163"/>
                </a:cubicBezTo>
                <a:cubicBezTo>
                  <a:pt x="1208103" y="1257757"/>
                  <a:pt x="1210188" y="1260417"/>
                  <a:pt x="1212174" y="1263134"/>
                </a:cubicBezTo>
                <a:cubicBezTo>
                  <a:pt x="1218757" y="1272043"/>
                  <a:pt x="1225157" y="1277324"/>
                  <a:pt x="1235556" y="1282538"/>
                </a:cubicBezTo>
                <a:cubicBezTo>
                  <a:pt x="1236652" y="1283161"/>
                  <a:pt x="1237747" y="1283784"/>
                  <a:pt x="1238876" y="1284426"/>
                </a:cubicBezTo>
                <a:cubicBezTo>
                  <a:pt x="1238876" y="1285356"/>
                  <a:pt x="1238876" y="1286287"/>
                  <a:pt x="1238876" y="1287245"/>
                </a:cubicBezTo>
                <a:cubicBezTo>
                  <a:pt x="1239988" y="1287383"/>
                  <a:pt x="1241099" y="1287521"/>
                  <a:pt x="1242245" y="1287663"/>
                </a:cubicBezTo>
                <a:cubicBezTo>
                  <a:pt x="1253043" y="1290072"/>
                  <a:pt x="1264916" y="1297690"/>
                  <a:pt x="1271681" y="1305565"/>
                </a:cubicBezTo>
                <a:lnTo>
                  <a:pt x="1271742" y="1306172"/>
                </a:lnTo>
                <a:lnTo>
                  <a:pt x="1278525" y="1315767"/>
                </a:lnTo>
                <a:cubicBezTo>
                  <a:pt x="1279797" y="1319398"/>
                  <a:pt x="1280365" y="1323346"/>
                  <a:pt x="1281097" y="1327286"/>
                </a:cubicBezTo>
                <a:cubicBezTo>
                  <a:pt x="1281916" y="1337121"/>
                  <a:pt x="1281807" y="1346176"/>
                  <a:pt x="1277973" y="1355470"/>
                </a:cubicBezTo>
                <a:lnTo>
                  <a:pt x="1277460" y="1347025"/>
                </a:lnTo>
                <a:lnTo>
                  <a:pt x="1273531" y="1357991"/>
                </a:lnTo>
                <a:cubicBezTo>
                  <a:pt x="1270940" y="1361892"/>
                  <a:pt x="1267521" y="1365435"/>
                  <a:pt x="1263870" y="1368980"/>
                </a:cubicBezTo>
                <a:cubicBezTo>
                  <a:pt x="1258351" y="1372929"/>
                  <a:pt x="1253850" y="1376026"/>
                  <a:pt x="1246686" y="1376026"/>
                </a:cubicBezTo>
                <a:cubicBezTo>
                  <a:pt x="1246686" y="1376956"/>
                  <a:pt x="1246686" y="1377886"/>
                  <a:pt x="1246686" y="1378844"/>
                </a:cubicBezTo>
                <a:cubicBezTo>
                  <a:pt x="1241676" y="1379009"/>
                  <a:pt x="1236665" y="1379109"/>
                  <a:pt x="1231651" y="1379196"/>
                </a:cubicBezTo>
                <a:cubicBezTo>
                  <a:pt x="1230240" y="1379244"/>
                  <a:pt x="1228828" y="1379291"/>
                  <a:pt x="1227373" y="1379340"/>
                </a:cubicBezTo>
                <a:cubicBezTo>
                  <a:pt x="1218287" y="1379460"/>
                  <a:pt x="1213363" y="1378568"/>
                  <a:pt x="1206071" y="1373207"/>
                </a:cubicBezTo>
                <a:cubicBezTo>
                  <a:pt x="1204751" y="1372742"/>
                  <a:pt x="1203430" y="1372277"/>
                  <a:pt x="1202069" y="1371798"/>
                </a:cubicBezTo>
                <a:cubicBezTo>
                  <a:pt x="1193777" y="1368730"/>
                  <a:pt x="1188124" y="1363294"/>
                  <a:pt x="1184104" y="1356176"/>
                </a:cubicBezTo>
                <a:cubicBezTo>
                  <a:pt x="1180965" y="1349259"/>
                  <a:pt x="1178852" y="1342590"/>
                  <a:pt x="1177270" y="1335247"/>
                </a:cubicBezTo>
                <a:cubicBezTo>
                  <a:pt x="1175525" y="1327352"/>
                  <a:pt x="1172911" y="1320677"/>
                  <a:pt x="1169002" y="1313464"/>
                </a:cubicBezTo>
                <a:cubicBezTo>
                  <a:pt x="1166989" y="1309737"/>
                  <a:pt x="1165215" y="1305976"/>
                  <a:pt x="1163504" y="1302130"/>
                </a:cubicBezTo>
                <a:cubicBezTo>
                  <a:pt x="1163013" y="1301027"/>
                  <a:pt x="1162521" y="1299924"/>
                  <a:pt x="1162015" y="1298788"/>
                </a:cubicBezTo>
                <a:cubicBezTo>
                  <a:pt x="1160770" y="1295700"/>
                  <a:pt x="1160770" y="1295700"/>
                  <a:pt x="1160111" y="1292656"/>
                </a:cubicBezTo>
                <a:cubicBezTo>
                  <a:pt x="1159345" y="1289507"/>
                  <a:pt x="1159345" y="1289507"/>
                  <a:pt x="1154522" y="1287245"/>
                </a:cubicBezTo>
                <a:cubicBezTo>
                  <a:pt x="1153465" y="1284902"/>
                  <a:pt x="1152426" y="1282552"/>
                  <a:pt x="1151398" y="1280199"/>
                </a:cubicBezTo>
                <a:cubicBezTo>
                  <a:pt x="1149056" y="1276983"/>
                  <a:pt x="1146686" y="1273874"/>
                  <a:pt x="1144173" y="1270774"/>
                </a:cubicBezTo>
                <a:cubicBezTo>
                  <a:pt x="1143477" y="1269912"/>
                  <a:pt x="1142782" y="1269049"/>
                  <a:pt x="1142065" y="1268160"/>
                </a:cubicBezTo>
                <a:cubicBezTo>
                  <a:pt x="1139981" y="1265589"/>
                  <a:pt x="1137880" y="1263029"/>
                  <a:pt x="1135776" y="1260470"/>
                </a:cubicBezTo>
                <a:cubicBezTo>
                  <a:pt x="1134647" y="1259076"/>
                  <a:pt x="1133517" y="1257683"/>
                  <a:pt x="1132353" y="1256247"/>
                </a:cubicBezTo>
                <a:cubicBezTo>
                  <a:pt x="1126291" y="1249045"/>
                  <a:pt x="1121408" y="1244606"/>
                  <a:pt x="1112344" y="1240741"/>
                </a:cubicBezTo>
                <a:cubicBezTo>
                  <a:pt x="1110285" y="1239698"/>
                  <a:pt x="1108234" y="1238642"/>
                  <a:pt x="1106193" y="1237570"/>
                </a:cubicBezTo>
                <a:cubicBezTo>
                  <a:pt x="1104615" y="1236756"/>
                  <a:pt x="1103036" y="1235942"/>
                  <a:pt x="1101409" y="1235104"/>
                </a:cubicBezTo>
                <a:cubicBezTo>
                  <a:pt x="1101409" y="1233708"/>
                  <a:pt x="1101409" y="1232313"/>
                  <a:pt x="1101409" y="1230876"/>
                </a:cubicBezTo>
                <a:cubicBezTo>
                  <a:pt x="1089553" y="1230876"/>
                  <a:pt x="1077697" y="1230876"/>
                  <a:pt x="1065480" y="1230876"/>
                </a:cubicBezTo>
                <a:cubicBezTo>
                  <a:pt x="1064965" y="1232271"/>
                  <a:pt x="1064450" y="1233666"/>
                  <a:pt x="1063919" y="1235104"/>
                </a:cubicBezTo>
                <a:cubicBezTo>
                  <a:pt x="1062372" y="1235104"/>
                  <a:pt x="1060826" y="1235104"/>
                  <a:pt x="1059232" y="1235104"/>
                </a:cubicBezTo>
                <a:cubicBezTo>
                  <a:pt x="1059232" y="1236033"/>
                  <a:pt x="1059232" y="1236964"/>
                  <a:pt x="1059232" y="1237922"/>
                </a:cubicBezTo>
                <a:cubicBezTo>
                  <a:pt x="1052964" y="1240850"/>
                  <a:pt x="1046842" y="1243613"/>
                  <a:pt x="1040194" y="1245761"/>
                </a:cubicBezTo>
                <a:cubicBezTo>
                  <a:pt x="1036552" y="1246941"/>
                  <a:pt x="1033682" y="1248088"/>
                  <a:pt x="1030333" y="1249901"/>
                </a:cubicBezTo>
                <a:cubicBezTo>
                  <a:pt x="1025129" y="1252717"/>
                  <a:pt x="1019615" y="1254371"/>
                  <a:pt x="1013931" y="1256242"/>
                </a:cubicBezTo>
                <a:cubicBezTo>
                  <a:pt x="1009870" y="1257688"/>
                  <a:pt x="1008221" y="1258277"/>
                  <a:pt x="1005925" y="1261615"/>
                </a:cubicBezTo>
                <a:cubicBezTo>
                  <a:pt x="1005474" y="1262632"/>
                  <a:pt x="1005023" y="1263649"/>
                  <a:pt x="1004558" y="1264697"/>
                </a:cubicBezTo>
                <a:cubicBezTo>
                  <a:pt x="1004030" y="1265774"/>
                  <a:pt x="1003503" y="1266852"/>
                  <a:pt x="1002959" y="1267961"/>
                </a:cubicBezTo>
                <a:cubicBezTo>
                  <a:pt x="1001408" y="1271808"/>
                  <a:pt x="1000922" y="1274896"/>
                  <a:pt x="1000653" y="1278965"/>
                </a:cubicBezTo>
                <a:cubicBezTo>
                  <a:pt x="1000303" y="1284158"/>
                  <a:pt x="999467" y="1289055"/>
                  <a:pt x="998297" y="1294137"/>
                </a:cubicBezTo>
                <a:cubicBezTo>
                  <a:pt x="996204" y="1304306"/>
                  <a:pt x="996129" y="1314460"/>
                  <a:pt x="996162" y="1324765"/>
                </a:cubicBezTo>
                <a:cubicBezTo>
                  <a:pt x="996163" y="1325782"/>
                  <a:pt x="996163" y="1326799"/>
                  <a:pt x="996164" y="1327846"/>
                </a:cubicBezTo>
                <a:cubicBezTo>
                  <a:pt x="996263" y="1353742"/>
                  <a:pt x="1001081" y="1378188"/>
                  <a:pt x="1007780" y="1403329"/>
                </a:cubicBezTo>
                <a:cubicBezTo>
                  <a:pt x="1008163" y="1404772"/>
                  <a:pt x="1008546" y="1406215"/>
                  <a:pt x="1008940" y="1407701"/>
                </a:cubicBezTo>
                <a:cubicBezTo>
                  <a:pt x="1009316" y="1409030"/>
                  <a:pt x="1009693" y="1410360"/>
                  <a:pt x="1010080" y="1411730"/>
                </a:cubicBezTo>
                <a:cubicBezTo>
                  <a:pt x="1010409" y="1412900"/>
                  <a:pt x="1010737" y="1414071"/>
                  <a:pt x="1011075" y="1415277"/>
                </a:cubicBezTo>
                <a:cubicBezTo>
                  <a:pt x="1012501" y="1418612"/>
                  <a:pt x="1014136" y="1420168"/>
                  <a:pt x="1017055" y="1422530"/>
                </a:cubicBezTo>
                <a:cubicBezTo>
                  <a:pt x="1018770" y="1425162"/>
                  <a:pt x="1018770" y="1425162"/>
                  <a:pt x="1020277" y="1427991"/>
                </a:cubicBezTo>
                <a:cubicBezTo>
                  <a:pt x="1020778" y="1428917"/>
                  <a:pt x="1021280" y="1429844"/>
                  <a:pt x="1021796" y="1430798"/>
                </a:cubicBezTo>
                <a:cubicBezTo>
                  <a:pt x="1023303" y="1433804"/>
                  <a:pt x="1023303" y="1433804"/>
                  <a:pt x="1024579" y="1437239"/>
                </a:cubicBezTo>
                <a:cubicBezTo>
                  <a:pt x="1026915" y="1441803"/>
                  <a:pt x="1030098" y="1444534"/>
                  <a:pt x="1034043" y="1448072"/>
                </a:cubicBezTo>
                <a:lnTo>
                  <a:pt x="1043782" y="1464320"/>
                </a:lnTo>
                <a:lnTo>
                  <a:pt x="1050458" y="1472189"/>
                </a:lnTo>
                <a:cubicBezTo>
                  <a:pt x="1051737" y="1475181"/>
                  <a:pt x="1052277" y="1478513"/>
                  <a:pt x="1052926" y="1482370"/>
                </a:cubicBezTo>
                <a:cubicBezTo>
                  <a:pt x="1053325" y="1487224"/>
                  <a:pt x="1053364" y="1492038"/>
                  <a:pt x="1053316" y="1496903"/>
                </a:cubicBezTo>
                <a:cubicBezTo>
                  <a:pt x="1053328" y="1498142"/>
                  <a:pt x="1053340" y="1499382"/>
                  <a:pt x="1053352" y="1500660"/>
                </a:cubicBezTo>
                <a:cubicBezTo>
                  <a:pt x="1053348" y="1501856"/>
                  <a:pt x="1053344" y="1503052"/>
                  <a:pt x="1053341" y="1504285"/>
                </a:cubicBezTo>
                <a:cubicBezTo>
                  <a:pt x="1053336" y="1505355"/>
                  <a:pt x="1053333" y="1506426"/>
                  <a:pt x="1053329" y="1507529"/>
                </a:cubicBezTo>
                <a:cubicBezTo>
                  <a:pt x="1052876" y="1510927"/>
                  <a:pt x="1051672" y="1513237"/>
                  <a:pt x="1049801" y="1516192"/>
                </a:cubicBezTo>
                <a:lnTo>
                  <a:pt x="1047312" y="1516192"/>
                </a:lnTo>
                <a:lnTo>
                  <a:pt x="1043611" y="1522585"/>
                </a:lnTo>
                <a:cubicBezTo>
                  <a:pt x="1035301" y="1529631"/>
                  <a:pt x="1035301" y="1529631"/>
                  <a:pt x="1029552" y="1529631"/>
                </a:cubicBezTo>
                <a:cubicBezTo>
                  <a:pt x="1029294" y="1530503"/>
                  <a:pt x="1029036" y="1531375"/>
                  <a:pt x="1028771" y="1532273"/>
                </a:cubicBezTo>
                <a:cubicBezTo>
                  <a:pt x="1025795" y="1536076"/>
                  <a:pt x="1022970" y="1536733"/>
                  <a:pt x="1018013" y="1537640"/>
                </a:cubicBezTo>
                <a:cubicBezTo>
                  <a:pt x="1005216" y="1539038"/>
                  <a:pt x="992573" y="1539816"/>
                  <a:pt x="981126" y="1533859"/>
                </a:cubicBezTo>
                <a:cubicBezTo>
                  <a:pt x="979840" y="1533226"/>
                  <a:pt x="978553" y="1532594"/>
                  <a:pt x="977227" y="1531943"/>
                </a:cubicBezTo>
                <a:cubicBezTo>
                  <a:pt x="965286" y="1525877"/>
                  <a:pt x="959626" y="1520520"/>
                  <a:pt x="955376" y="1508751"/>
                </a:cubicBezTo>
                <a:cubicBezTo>
                  <a:pt x="954571" y="1505674"/>
                  <a:pt x="954571" y="1505674"/>
                  <a:pt x="954571" y="1500037"/>
                </a:cubicBezTo>
                <a:cubicBezTo>
                  <a:pt x="953539" y="1500037"/>
                  <a:pt x="952508" y="1500037"/>
                  <a:pt x="951446" y="1500037"/>
                </a:cubicBezTo>
                <a:cubicBezTo>
                  <a:pt x="951361" y="1495986"/>
                  <a:pt x="951299" y="1491935"/>
                  <a:pt x="951251" y="1487883"/>
                </a:cubicBezTo>
                <a:cubicBezTo>
                  <a:pt x="951224" y="1486744"/>
                  <a:pt x="951198" y="1485605"/>
                  <a:pt x="951171" y="1484431"/>
                </a:cubicBezTo>
                <a:cubicBezTo>
                  <a:pt x="951110" y="1477657"/>
                  <a:pt x="952093" y="1472660"/>
                  <a:pt x="954571" y="1466216"/>
                </a:cubicBezTo>
                <a:cubicBezTo>
                  <a:pt x="954867" y="1462451"/>
                  <a:pt x="955016" y="1458876"/>
                  <a:pt x="954961" y="1455118"/>
                </a:cubicBezTo>
                <a:cubicBezTo>
                  <a:pt x="954951" y="1454080"/>
                  <a:pt x="954942" y="1453042"/>
                  <a:pt x="954932" y="1451972"/>
                </a:cubicBezTo>
                <a:cubicBezTo>
                  <a:pt x="954606" y="1435235"/>
                  <a:pt x="952568" y="1419050"/>
                  <a:pt x="945099" y="1403594"/>
                </a:cubicBezTo>
                <a:cubicBezTo>
                  <a:pt x="943714" y="1400177"/>
                  <a:pt x="943046" y="1397128"/>
                  <a:pt x="942366" y="1393553"/>
                </a:cubicBezTo>
                <a:cubicBezTo>
                  <a:pt x="940837" y="1386134"/>
                  <a:pt x="937840" y="1379609"/>
                  <a:pt x="934451" y="1372734"/>
                </a:cubicBezTo>
                <a:cubicBezTo>
                  <a:pt x="932701" y="1368980"/>
                  <a:pt x="932701" y="1368980"/>
                  <a:pt x="931974" y="1365754"/>
                </a:cubicBezTo>
                <a:cubicBezTo>
                  <a:pt x="931699" y="1364958"/>
                  <a:pt x="931422" y="1364162"/>
                  <a:pt x="931138" y="1363343"/>
                </a:cubicBezTo>
                <a:cubicBezTo>
                  <a:pt x="929592" y="1362878"/>
                  <a:pt x="928045" y="1362413"/>
                  <a:pt x="926452" y="1361933"/>
                </a:cubicBezTo>
                <a:cubicBezTo>
                  <a:pt x="921830" y="1355261"/>
                  <a:pt x="920323" y="1348382"/>
                  <a:pt x="918641" y="1340795"/>
                </a:cubicBezTo>
                <a:cubicBezTo>
                  <a:pt x="918133" y="1338914"/>
                  <a:pt x="917616" y="1337034"/>
                  <a:pt x="917079" y="1335158"/>
                </a:cubicBezTo>
                <a:cubicBezTo>
                  <a:pt x="916048" y="1335158"/>
                  <a:pt x="915018" y="1335158"/>
                  <a:pt x="913955" y="1335158"/>
                </a:cubicBezTo>
                <a:cubicBezTo>
                  <a:pt x="913329" y="1333718"/>
                  <a:pt x="912703" y="1332277"/>
                  <a:pt x="912057" y="1330793"/>
                </a:cubicBezTo>
                <a:cubicBezTo>
                  <a:pt x="909497" y="1325424"/>
                  <a:pt x="906114" y="1320822"/>
                  <a:pt x="902142" y="1316222"/>
                </a:cubicBezTo>
                <a:cubicBezTo>
                  <a:pt x="901465" y="1315432"/>
                  <a:pt x="900788" y="1314642"/>
                  <a:pt x="900091" y="1313828"/>
                </a:cubicBezTo>
                <a:cubicBezTo>
                  <a:pt x="893705" y="1306618"/>
                  <a:pt x="886350" y="1301049"/>
                  <a:pt x="878026" y="1295700"/>
                </a:cubicBezTo>
                <a:cubicBezTo>
                  <a:pt x="876595" y="1294594"/>
                  <a:pt x="876595" y="1294594"/>
                  <a:pt x="875134" y="1293465"/>
                </a:cubicBezTo>
                <a:lnTo>
                  <a:pt x="869869" y="1291826"/>
                </a:lnTo>
                <a:lnTo>
                  <a:pt x="862384" y="1291327"/>
                </a:lnTo>
                <a:cubicBezTo>
                  <a:pt x="856441" y="1290067"/>
                  <a:pt x="850461" y="1290346"/>
                  <a:pt x="844390" y="1290461"/>
                </a:cubicBezTo>
                <a:cubicBezTo>
                  <a:pt x="842453" y="1290480"/>
                  <a:pt x="842453" y="1290480"/>
                  <a:pt x="840476" y="1290500"/>
                </a:cubicBezTo>
                <a:cubicBezTo>
                  <a:pt x="837322" y="1290532"/>
                  <a:pt x="834169" y="1290583"/>
                  <a:pt x="831015" y="1290637"/>
                </a:cubicBezTo>
                <a:cubicBezTo>
                  <a:pt x="831015" y="1291568"/>
                  <a:pt x="831015" y="1292498"/>
                  <a:pt x="831015" y="1293456"/>
                </a:cubicBezTo>
                <a:cubicBezTo>
                  <a:pt x="826519" y="1294808"/>
                  <a:pt x="822922" y="1295235"/>
                  <a:pt x="818225" y="1295570"/>
                </a:cubicBezTo>
                <a:lnTo>
                  <a:pt x="796774" y="1297671"/>
                </a:lnTo>
                <a:lnTo>
                  <a:pt x="783646" y="1305736"/>
                </a:lnTo>
                <a:cubicBezTo>
                  <a:pt x="776915" y="1312506"/>
                  <a:pt x="772692" y="1318638"/>
                  <a:pt x="769263" y="1327143"/>
                </a:cubicBezTo>
                <a:cubicBezTo>
                  <a:pt x="767116" y="1332340"/>
                  <a:pt x="767116" y="1332340"/>
                  <a:pt x="764797" y="1334360"/>
                </a:cubicBezTo>
                <a:lnTo>
                  <a:pt x="757875" y="1353503"/>
                </a:lnTo>
                <a:lnTo>
                  <a:pt x="755676" y="1367455"/>
                </a:lnTo>
                <a:lnTo>
                  <a:pt x="750558" y="1399690"/>
                </a:lnTo>
                <a:lnTo>
                  <a:pt x="753057" y="1411256"/>
                </a:lnTo>
                <a:cubicBezTo>
                  <a:pt x="753057" y="1413117"/>
                  <a:pt x="753057" y="1414976"/>
                  <a:pt x="753057" y="1416893"/>
                </a:cubicBezTo>
                <a:cubicBezTo>
                  <a:pt x="754087" y="1416893"/>
                  <a:pt x="755119" y="1416893"/>
                  <a:pt x="756181" y="1416893"/>
                </a:cubicBezTo>
                <a:cubicBezTo>
                  <a:pt x="759348" y="1422607"/>
                  <a:pt x="758101" y="1429902"/>
                  <a:pt x="758133" y="1436182"/>
                </a:cubicBezTo>
                <a:cubicBezTo>
                  <a:pt x="758182" y="1438458"/>
                  <a:pt x="758182" y="1438458"/>
                  <a:pt x="758231" y="1440781"/>
                </a:cubicBezTo>
                <a:cubicBezTo>
                  <a:pt x="758283" y="1450271"/>
                  <a:pt x="758174" y="1458360"/>
                  <a:pt x="750713" y="1465704"/>
                </a:cubicBezTo>
                <a:cubicBezTo>
                  <a:pt x="749940" y="1466193"/>
                  <a:pt x="749167" y="1466681"/>
                  <a:pt x="748370" y="1467185"/>
                </a:cubicBezTo>
                <a:cubicBezTo>
                  <a:pt x="743665" y="1470047"/>
                  <a:pt x="743665" y="1470047"/>
                  <a:pt x="741633" y="1473526"/>
                </a:cubicBezTo>
                <a:cubicBezTo>
                  <a:pt x="737793" y="1477248"/>
                  <a:pt x="733582" y="1477483"/>
                  <a:pt x="728154" y="1478343"/>
                </a:cubicBezTo>
                <a:cubicBezTo>
                  <a:pt x="724855" y="1478778"/>
                  <a:pt x="724855" y="1478778"/>
                  <a:pt x="721814" y="1480308"/>
                </a:cubicBezTo>
                <a:cubicBezTo>
                  <a:pt x="717303" y="1480523"/>
                  <a:pt x="712854" y="1480634"/>
                  <a:pt x="708341" y="1480661"/>
                </a:cubicBezTo>
                <a:cubicBezTo>
                  <a:pt x="707118" y="1480690"/>
                  <a:pt x="705896" y="1480719"/>
                  <a:pt x="704637" y="1480748"/>
                </a:cubicBezTo>
                <a:cubicBezTo>
                  <a:pt x="690446" y="1480834"/>
                  <a:pt x="679632" y="1476246"/>
                  <a:pt x="668507" y="1468418"/>
                </a:cubicBezTo>
                <a:cubicBezTo>
                  <a:pt x="662823" y="1463224"/>
                  <a:pt x="661745" y="1456995"/>
                  <a:pt x="660178" y="1450027"/>
                </a:cubicBezTo>
                <a:cubicBezTo>
                  <a:pt x="659725" y="1446589"/>
                  <a:pt x="659725" y="1446589"/>
                  <a:pt x="657767" y="1445078"/>
                </a:cubicBezTo>
                <a:cubicBezTo>
                  <a:pt x="656859" y="1433686"/>
                  <a:pt x="655965" y="1419178"/>
                  <a:pt x="663369" y="1409390"/>
                </a:cubicBezTo>
                <a:cubicBezTo>
                  <a:pt x="666078" y="1406601"/>
                  <a:pt x="668921" y="1404013"/>
                  <a:pt x="671826" y="1401392"/>
                </a:cubicBezTo>
                <a:cubicBezTo>
                  <a:pt x="675197" y="1397623"/>
                  <a:pt x="677125" y="1394916"/>
                  <a:pt x="678075" y="1390118"/>
                </a:cubicBezTo>
                <a:cubicBezTo>
                  <a:pt x="680137" y="1389653"/>
                  <a:pt x="682199" y="1389188"/>
                  <a:pt x="684323" y="1388709"/>
                </a:cubicBezTo>
                <a:cubicBezTo>
                  <a:pt x="684643" y="1387232"/>
                  <a:pt x="684964" y="1385755"/>
                  <a:pt x="685293" y="1384233"/>
                </a:cubicBezTo>
                <a:cubicBezTo>
                  <a:pt x="685718" y="1382290"/>
                  <a:pt x="686144" y="1380347"/>
                  <a:pt x="686569" y="1378404"/>
                </a:cubicBezTo>
                <a:cubicBezTo>
                  <a:pt x="686885" y="1376945"/>
                  <a:pt x="686885" y="1376945"/>
                  <a:pt x="687207" y="1375456"/>
                </a:cubicBezTo>
                <a:cubicBezTo>
                  <a:pt x="688115" y="1371315"/>
                  <a:pt x="689090" y="1367353"/>
                  <a:pt x="690572" y="1363343"/>
                </a:cubicBezTo>
                <a:cubicBezTo>
                  <a:pt x="692411" y="1350128"/>
                  <a:pt x="692374" y="1336672"/>
                  <a:pt x="692495" y="1323376"/>
                </a:cubicBezTo>
                <a:cubicBezTo>
                  <a:pt x="692524" y="1320586"/>
                  <a:pt x="692574" y="1317796"/>
                  <a:pt x="692625" y="1315006"/>
                </a:cubicBezTo>
                <a:cubicBezTo>
                  <a:pt x="692853" y="1300589"/>
                  <a:pt x="692853" y="1300589"/>
                  <a:pt x="687447" y="1287245"/>
                </a:cubicBezTo>
                <a:cubicBezTo>
                  <a:pt x="685901" y="1286780"/>
                  <a:pt x="684354" y="1286315"/>
                  <a:pt x="682761" y="1285835"/>
                </a:cubicBezTo>
                <a:cubicBezTo>
                  <a:pt x="680876" y="1283743"/>
                  <a:pt x="680876" y="1283743"/>
                  <a:pt x="678954" y="1281608"/>
                </a:cubicBezTo>
                <a:cubicBezTo>
                  <a:pt x="674854" y="1277278"/>
                  <a:pt x="674356" y="1276958"/>
                  <a:pt x="668702" y="1275971"/>
                </a:cubicBezTo>
                <a:cubicBezTo>
                  <a:pt x="666619" y="1274092"/>
                  <a:pt x="664536" y="1272213"/>
                  <a:pt x="662454" y="1270334"/>
                </a:cubicBezTo>
                <a:cubicBezTo>
                  <a:pt x="658341" y="1268566"/>
                  <a:pt x="658341" y="1268566"/>
                  <a:pt x="654643" y="1267516"/>
                </a:cubicBezTo>
                <a:cubicBezTo>
                  <a:pt x="654643" y="1266585"/>
                  <a:pt x="654643" y="1265656"/>
                  <a:pt x="654643" y="1264697"/>
                </a:cubicBezTo>
                <a:cubicBezTo>
                  <a:pt x="653161" y="1264581"/>
                  <a:pt x="651679" y="1264465"/>
                  <a:pt x="650152" y="1264345"/>
                </a:cubicBezTo>
                <a:cubicBezTo>
                  <a:pt x="642318" y="1263373"/>
                  <a:pt x="635297" y="1260465"/>
                  <a:pt x="628087" y="1257651"/>
                </a:cubicBezTo>
                <a:cubicBezTo>
                  <a:pt x="628087" y="1256721"/>
                  <a:pt x="628087" y="1255791"/>
                  <a:pt x="628087" y="1254833"/>
                </a:cubicBezTo>
                <a:cubicBezTo>
                  <a:pt x="627108" y="1254662"/>
                  <a:pt x="626129" y="1254491"/>
                  <a:pt x="625121" y="1254315"/>
                </a:cubicBezTo>
                <a:cubicBezTo>
                  <a:pt x="623845" y="1254079"/>
                  <a:pt x="622568" y="1253843"/>
                  <a:pt x="621252" y="1253600"/>
                </a:cubicBezTo>
                <a:cubicBezTo>
                  <a:pt x="619984" y="1253371"/>
                  <a:pt x="618716" y="1253142"/>
                  <a:pt x="617409" y="1252906"/>
                </a:cubicBezTo>
                <a:cubicBezTo>
                  <a:pt x="614027" y="1252014"/>
                  <a:pt x="614027" y="1252014"/>
                  <a:pt x="610904" y="1249196"/>
                </a:cubicBezTo>
                <a:cubicBezTo>
                  <a:pt x="592259" y="1248653"/>
                  <a:pt x="578635" y="1260869"/>
                  <a:pt x="565739" y="1271742"/>
                </a:cubicBezTo>
                <a:cubicBezTo>
                  <a:pt x="558808" y="1277725"/>
                  <a:pt x="552763" y="1283983"/>
                  <a:pt x="546924" y="1290829"/>
                </a:cubicBezTo>
                <a:cubicBezTo>
                  <a:pt x="545838" y="1292087"/>
                  <a:pt x="544753" y="1293346"/>
                  <a:pt x="543635" y="1294643"/>
                </a:cubicBezTo>
                <a:cubicBezTo>
                  <a:pt x="542650" y="1295813"/>
                  <a:pt x="541666" y="1296983"/>
                  <a:pt x="540651" y="1298188"/>
                </a:cubicBezTo>
                <a:cubicBezTo>
                  <a:pt x="537294" y="1301526"/>
                  <a:pt x="533978" y="1303337"/>
                  <a:pt x="529673" y="1305565"/>
                </a:cubicBezTo>
                <a:cubicBezTo>
                  <a:pt x="527599" y="1308478"/>
                  <a:pt x="527599" y="1308478"/>
                  <a:pt x="526549" y="1311202"/>
                </a:cubicBezTo>
                <a:cubicBezTo>
                  <a:pt x="525518" y="1311202"/>
                  <a:pt x="524487" y="1311202"/>
                  <a:pt x="523425" y="1311202"/>
                </a:cubicBezTo>
                <a:cubicBezTo>
                  <a:pt x="523360" y="1311986"/>
                  <a:pt x="523296" y="1312771"/>
                  <a:pt x="523230" y="1313580"/>
                </a:cubicBezTo>
                <a:cubicBezTo>
                  <a:pt x="521863" y="1316839"/>
                  <a:pt x="521863" y="1316839"/>
                  <a:pt x="517732" y="1319739"/>
                </a:cubicBezTo>
                <a:cubicBezTo>
                  <a:pt x="511111" y="1324565"/>
                  <a:pt x="506875" y="1330731"/>
                  <a:pt x="502239" y="1337096"/>
                </a:cubicBezTo>
                <a:cubicBezTo>
                  <a:pt x="500512" y="1339427"/>
                  <a:pt x="498785" y="1341757"/>
                  <a:pt x="497058" y="1344087"/>
                </a:cubicBezTo>
                <a:cubicBezTo>
                  <a:pt x="495827" y="1345760"/>
                  <a:pt x="495827" y="1345760"/>
                  <a:pt x="494572" y="1347465"/>
                </a:cubicBezTo>
                <a:cubicBezTo>
                  <a:pt x="492366" y="1350414"/>
                  <a:pt x="490094" y="1353304"/>
                  <a:pt x="487776" y="1356181"/>
                </a:cubicBezTo>
                <a:cubicBezTo>
                  <a:pt x="484805" y="1359972"/>
                  <a:pt x="482865" y="1363193"/>
                  <a:pt x="481248" y="1367571"/>
                </a:cubicBezTo>
                <a:cubicBezTo>
                  <a:pt x="480216" y="1367571"/>
                  <a:pt x="479186" y="1367571"/>
                  <a:pt x="478123" y="1367571"/>
                </a:cubicBezTo>
                <a:cubicBezTo>
                  <a:pt x="477963" y="1368558"/>
                  <a:pt x="477801" y="1369547"/>
                  <a:pt x="477635" y="1370565"/>
                </a:cubicBezTo>
                <a:cubicBezTo>
                  <a:pt x="475602" y="1378236"/>
                  <a:pt x="471952" y="1383371"/>
                  <a:pt x="465626" y="1388709"/>
                </a:cubicBezTo>
                <a:cubicBezTo>
                  <a:pt x="462272" y="1392748"/>
                  <a:pt x="462272" y="1392748"/>
                  <a:pt x="461233" y="1397340"/>
                </a:cubicBezTo>
                <a:cubicBezTo>
                  <a:pt x="460030" y="1401461"/>
                  <a:pt x="458298" y="1404501"/>
                  <a:pt x="455765" y="1408086"/>
                </a:cubicBezTo>
                <a:cubicBezTo>
                  <a:pt x="442829" y="1428603"/>
                  <a:pt x="441572" y="1454548"/>
                  <a:pt x="439070" y="1477490"/>
                </a:cubicBezTo>
                <a:cubicBezTo>
                  <a:pt x="437524" y="1477955"/>
                  <a:pt x="435977" y="1478420"/>
                  <a:pt x="434384" y="1478899"/>
                </a:cubicBezTo>
                <a:cubicBezTo>
                  <a:pt x="433739" y="1479916"/>
                  <a:pt x="433095" y="1480933"/>
                  <a:pt x="432431" y="1481982"/>
                </a:cubicBezTo>
                <a:cubicBezTo>
                  <a:pt x="428860" y="1487159"/>
                  <a:pt x="424291" y="1490903"/>
                  <a:pt x="418763" y="1494401"/>
                </a:cubicBezTo>
                <a:cubicBezTo>
                  <a:pt x="417731" y="1494401"/>
                  <a:pt x="416701" y="1494401"/>
                  <a:pt x="415639" y="1494401"/>
                </a:cubicBezTo>
                <a:cubicBezTo>
                  <a:pt x="415639" y="1495330"/>
                  <a:pt x="415639" y="1496260"/>
                  <a:pt x="415639" y="1497219"/>
                </a:cubicBezTo>
                <a:cubicBezTo>
                  <a:pt x="412546" y="1497684"/>
                  <a:pt x="409453" y="1498149"/>
                  <a:pt x="406265" y="1498628"/>
                </a:cubicBezTo>
                <a:cubicBezTo>
                  <a:pt x="406265" y="1499559"/>
                  <a:pt x="406265" y="1500488"/>
                  <a:pt x="406265" y="1501447"/>
                </a:cubicBezTo>
                <a:cubicBezTo>
                  <a:pt x="395955" y="1501447"/>
                  <a:pt x="385645" y="1501447"/>
                  <a:pt x="375023" y="1501447"/>
                </a:cubicBezTo>
                <a:lnTo>
                  <a:pt x="375023" y="1499438"/>
                </a:lnTo>
                <a:lnTo>
                  <a:pt x="374964" y="1499436"/>
                </a:lnTo>
                <a:lnTo>
                  <a:pt x="373179" y="1498628"/>
                </a:lnTo>
                <a:lnTo>
                  <a:pt x="365650" y="1498628"/>
                </a:lnTo>
                <a:lnTo>
                  <a:pt x="363134" y="1494087"/>
                </a:lnTo>
                <a:lnTo>
                  <a:pt x="362171" y="1493651"/>
                </a:lnTo>
                <a:cubicBezTo>
                  <a:pt x="361656" y="1492722"/>
                  <a:pt x="361140" y="1491791"/>
                  <a:pt x="360609" y="1490833"/>
                </a:cubicBezTo>
                <a:cubicBezTo>
                  <a:pt x="361640" y="1490833"/>
                  <a:pt x="362671" y="1490833"/>
                  <a:pt x="363733" y="1490833"/>
                </a:cubicBezTo>
                <a:lnTo>
                  <a:pt x="363733" y="1489980"/>
                </a:lnTo>
                <a:lnTo>
                  <a:pt x="348467" y="1481717"/>
                </a:lnTo>
                <a:lnTo>
                  <a:pt x="343872" y="1461078"/>
                </a:lnTo>
                <a:lnTo>
                  <a:pt x="343656" y="1463649"/>
                </a:lnTo>
                <a:cubicBezTo>
                  <a:pt x="343541" y="1465230"/>
                  <a:pt x="343541" y="1465230"/>
                  <a:pt x="343424" y="1466842"/>
                </a:cubicBezTo>
                <a:cubicBezTo>
                  <a:pt x="342908" y="1466842"/>
                  <a:pt x="342393" y="1466842"/>
                  <a:pt x="341861" y="1466842"/>
                </a:cubicBezTo>
                <a:cubicBezTo>
                  <a:pt x="340987" y="1449564"/>
                  <a:pt x="340999" y="1434331"/>
                  <a:pt x="354143" y="1420549"/>
                </a:cubicBezTo>
                <a:cubicBezTo>
                  <a:pt x="360765" y="1414011"/>
                  <a:pt x="367631" y="1407790"/>
                  <a:pt x="376229" y="1403427"/>
                </a:cubicBezTo>
                <a:lnTo>
                  <a:pt x="379491" y="1404408"/>
                </a:lnTo>
                <a:lnTo>
                  <a:pt x="379710" y="1404210"/>
                </a:lnTo>
                <a:cubicBezTo>
                  <a:pt x="380290" y="1402902"/>
                  <a:pt x="380290" y="1402902"/>
                  <a:pt x="380882" y="1401568"/>
                </a:cubicBezTo>
                <a:cubicBezTo>
                  <a:pt x="383675" y="1397284"/>
                  <a:pt x="387587" y="1395610"/>
                  <a:pt x="392207" y="1392936"/>
                </a:cubicBezTo>
                <a:lnTo>
                  <a:pt x="399542" y="1386774"/>
                </a:lnTo>
                <a:lnTo>
                  <a:pt x="405485" y="1378917"/>
                </a:lnTo>
                <a:cubicBezTo>
                  <a:pt x="408065" y="1375974"/>
                  <a:pt x="410029" y="1372774"/>
                  <a:pt x="412008" y="1369481"/>
                </a:cubicBezTo>
                <a:cubicBezTo>
                  <a:pt x="414759" y="1365166"/>
                  <a:pt x="417963" y="1361131"/>
                  <a:pt x="421130" y="1357057"/>
                </a:cubicBezTo>
                <a:cubicBezTo>
                  <a:pt x="423073" y="1354140"/>
                  <a:pt x="423985" y="1351767"/>
                  <a:pt x="424676" y="1348443"/>
                </a:cubicBezTo>
                <a:lnTo>
                  <a:pt x="427275" y="1348443"/>
                </a:lnTo>
                <a:lnTo>
                  <a:pt x="428135" y="1345727"/>
                </a:lnTo>
                <a:cubicBezTo>
                  <a:pt x="429370" y="1341828"/>
                  <a:pt x="430645" y="1338666"/>
                  <a:pt x="432822" y="1335158"/>
                </a:cubicBezTo>
                <a:cubicBezTo>
                  <a:pt x="433853" y="1335158"/>
                  <a:pt x="434884" y="1335158"/>
                  <a:pt x="435946" y="1335158"/>
                </a:cubicBezTo>
                <a:cubicBezTo>
                  <a:pt x="436526" y="1333385"/>
                  <a:pt x="437106" y="1331613"/>
                  <a:pt x="437704" y="1329786"/>
                </a:cubicBezTo>
                <a:cubicBezTo>
                  <a:pt x="440162" y="1323132"/>
                  <a:pt x="443602" y="1317301"/>
                  <a:pt x="447394" y="1311196"/>
                </a:cubicBezTo>
                <a:cubicBezTo>
                  <a:pt x="456493" y="1296485"/>
                  <a:pt x="463325" y="1281864"/>
                  <a:pt x="469287" y="1265964"/>
                </a:cubicBezTo>
                <a:cubicBezTo>
                  <a:pt x="474589" y="1252134"/>
                  <a:pt x="474589" y="1252134"/>
                  <a:pt x="478178" y="1246787"/>
                </a:cubicBezTo>
                <a:cubicBezTo>
                  <a:pt x="481232" y="1240246"/>
                  <a:pt x="480204" y="1232766"/>
                  <a:pt x="480179" y="1225768"/>
                </a:cubicBezTo>
                <a:cubicBezTo>
                  <a:pt x="480174" y="1222894"/>
                  <a:pt x="480210" y="1220023"/>
                  <a:pt x="480250" y="1217149"/>
                </a:cubicBezTo>
                <a:cubicBezTo>
                  <a:pt x="480260" y="1199291"/>
                  <a:pt x="476718" y="1187768"/>
                  <a:pt x="462972" y="1174827"/>
                </a:cubicBezTo>
                <a:cubicBezTo>
                  <a:pt x="461148" y="1173192"/>
                  <a:pt x="459312" y="1171566"/>
                  <a:pt x="457468" y="1169949"/>
                </a:cubicBezTo>
                <a:cubicBezTo>
                  <a:pt x="451412" y="1164522"/>
                  <a:pt x="445876" y="1158660"/>
                  <a:pt x="440657" y="1152570"/>
                </a:cubicBezTo>
                <a:cubicBezTo>
                  <a:pt x="430474" y="1140786"/>
                  <a:pt x="418230" y="1128998"/>
                  <a:pt x="403142" y="1122366"/>
                </a:cubicBezTo>
                <a:cubicBezTo>
                  <a:pt x="402626" y="1121436"/>
                  <a:pt x="402110" y="1120506"/>
                  <a:pt x="401579" y="1119547"/>
                </a:cubicBezTo>
                <a:cubicBezTo>
                  <a:pt x="390472" y="1115326"/>
                  <a:pt x="375918" y="1114217"/>
                  <a:pt x="364564" y="1118209"/>
                </a:cubicBezTo>
                <a:cubicBezTo>
                  <a:pt x="362278" y="1119428"/>
                  <a:pt x="360026" y="1120704"/>
                  <a:pt x="357822" y="1122041"/>
                </a:cubicBezTo>
                <a:cubicBezTo>
                  <a:pt x="354521" y="1123884"/>
                  <a:pt x="351862" y="1124582"/>
                  <a:pt x="348077" y="1125273"/>
                </a:cubicBezTo>
                <a:cubicBezTo>
                  <a:pt x="341765" y="1126696"/>
                  <a:pt x="339382" y="1128619"/>
                  <a:pt x="334408" y="1132230"/>
                </a:cubicBezTo>
                <a:cubicBezTo>
                  <a:pt x="332284" y="1132909"/>
                  <a:pt x="330131" y="1133519"/>
                  <a:pt x="327964" y="1134080"/>
                </a:cubicBezTo>
                <a:cubicBezTo>
                  <a:pt x="309975" y="1139067"/>
                  <a:pt x="290592" y="1152117"/>
                  <a:pt x="279734" y="1166051"/>
                </a:cubicBezTo>
                <a:cubicBezTo>
                  <a:pt x="277929" y="1169534"/>
                  <a:pt x="277929" y="1169534"/>
                  <a:pt x="276609" y="1173098"/>
                </a:cubicBezTo>
                <a:cubicBezTo>
                  <a:pt x="272413" y="1180804"/>
                  <a:pt x="269322" y="1184144"/>
                  <a:pt x="260988" y="1188599"/>
                </a:cubicBezTo>
                <a:cubicBezTo>
                  <a:pt x="259988" y="1189435"/>
                  <a:pt x="258987" y="1190271"/>
                  <a:pt x="257956" y="1191132"/>
                </a:cubicBezTo>
                <a:lnTo>
                  <a:pt x="243805" y="1196629"/>
                </a:lnTo>
                <a:lnTo>
                  <a:pt x="243805" y="1194236"/>
                </a:lnTo>
                <a:lnTo>
                  <a:pt x="240288" y="1194765"/>
                </a:lnTo>
                <a:lnTo>
                  <a:pt x="243374" y="1194765"/>
                </a:lnTo>
                <a:lnTo>
                  <a:pt x="243374" y="1196797"/>
                </a:lnTo>
                <a:lnTo>
                  <a:pt x="243805" y="1196629"/>
                </a:lnTo>
                <a:lnTo>
                  <a:pt x="243805" y="1197055"/>
                </a:lnTo>
                <a:lnTo>
                  <a:pt x="243374" y="1197055"/>
                </a:lnTo>
                <a:lnTo>
                  <a:pt x="243374" y="1197584"/>
                </a:lnTo>
                <a:lnTo>
                  <a:pt x="241319" y="1197595"/>
                </a:lnTo>
                <a:lnTo>
                  <a:pt x="238009" y="1198881"/>
                </a:lnTo>
                <a:cubicBezTo>
                  <a:pt x="231012" y="1199584"/>
                  <a:pt x="223620" y="1198927"/>
                  <a:pt x="215687" y="1198464"/>
                </a:cubicBezTo>
                <a:lnTo>
                  <a:pt x="215687" y="1197734"/>
                </a:lnTo>
                <a:lnTo>
                  <a:pt x="213936" y="1197744"/>
                </a:lnTo>
                <a:cubicBezTo>
                  <a:pt x="210570" y="1197584"/>
                  <a:pt x="210570" y="1197584"/>
                  <a:pt x="207446" y="1196175"/>
                </a:cubicBezTo>
                <a:lnTo>
                  <a:pt x="207822" y="1195610"/>
                </a:lnTo>
                <a:lnTo>
                  <a:pt x="184737" y="1180936"/>
                </a:lnTo>
                <a:cubicBezTo>
                  <a:pt x="180258" y="1172216"/>
                  <a:pt x="179226" y="1164355"/>
                  <a:pt x="179270" y="1154866"/>
                </a:cubicBezTo>
                <a:cubicBezTo>
                  <a:pt x="179233" y="1153260"/>
                  <a:pt x="179233" y="1153260"/>
                  <a:pt x="179194" y="1151621"/>
                </a:cubicBezTo>
                <a:cubicBezTo>
                  <a:pt x="179182" y="1139523"/>
                  <a:pt x="183658" y="1128837"/>
                  <a:pt x="193195" y="1120065"/>
                </a:cubicBezTo>
                <a:cubicBezTo>
                  <a:pt x="204265" y="1110959"/>
                  <a:pt x="215062" y="1110626"/>
                  <a:pt x="229551" y="1110299"/>
                </a:cubicBezTo>
                <a:cubicBezTo>
                  <a:pt x="240132" y="1110024"/>
                  <a:pt x="250506" y="1109652"/>
                  <a:pt x="260988" y="1108274"/>
                </a:cubicBezTo>
                <a:cubicBezTo>
                  <a:pt x="260988" y="1107344"/>
                  <a:pt x="260988" y="1106413"/>
                  <a:pt x="260988" y="1105455"/>
                </a:cubicBezTo>
                <a:cubicBezTo>
                  <a:pt x="261953" y="1105078"/>
                  <a:pt x="262918" y="1104699"/>
                  <a:pt x="263911" y="1104310"/>
                </a:cubicBezTo>
                <a:cubicBezTo>
                  <a:pt x="272903" y="1100557"/>
                  <a:pt x="279802" y="1096307"/>
                  <a:pt x="286995" y="1090185"/>
                </a:cubicBezTo>
                <a:cubicBezTo>
                  <a:pt x="290956" y="1086897"/>
                  <a:pt x="295114" y="1083955"/>
                  <a:pt x="299358" y="1080970"/>
                </a:cubicBezTo>
                <a:cubicBezTo>
                  <a:pt x="306613" y="1075692"/>
                  <a:pt x="312234" y="1070023"/>
                  <a:pt x="317762" y="1063272"/>
                </a:cubicBezTo>
                <a:cubicBezTo>
                  <a:pt x="320349" y="1060360"/>
                  <a:pt x="320349" y="1060360"/>
                  <a:pt x="325035" y="1057542"/>
                </a:cubicBezTo>
                <a:cubicBezTo>
                  <a:pt x="329912" y="1045734"/>
                  <a:pt x="327928" y="1035103"/>
                  <a:pt x="325328" y="1023104"/>
                </a:cubicBezTo>
                <a:cubicBezTo>
                  <a:pt x="325069" y="1021831"/>
                  <a:pt x="324811" y="1020559"/>
                  <a:pt x="324544" y="1019247"/>
                </a:cubicBezTo>
                <a:cubicBezTo>
                  <a:pt x="322876" y="1011407"/>
                  <a:pt x="320562" y="1004340"/>
                  <a:pt x="317225" y="996945"/>
                </a:cubicBezTo>
                <a:cubicBezTo>
                  <a:pt x="316619" y="995541"/>
                  <a:pt x="316013" y="994137"/>
                  <a:pt x="315388" y="992690"/>
                </a:cubicBezTo>
                <a:cubicBezTo>
                  <a:pt x="306307" y="972561"/>
                  <a:pt x="298931" y="959343"/>
                  <a:pt x="276232" y="950666"/>
                </a:cubicBezTo>
                <a:cubicBezTo>
                  <a:pt x="274810" y="950127"/>
                  <a:pt x="273388" y="949587"/>
                  <a:pt x="271923" y="949031"/>
                </a:cubicBezTo>
                <a:cubicBezTo>
                  <a:pt x="270129" y="948244"/>
                  <a:pt x="270129" y="948244"/>
                  <a:pt x="268299" y="947441"/>
                </a:cubicBezTo>
                <a:cubicBezTo>
                  <a:pt x="247071" y="938140"/>
                  <a:pt x="222259" y="939051"/>
                  <a:pt x="199187" y="938991"/>
                </a:cubicBezTo>
                <a:cubicBezTo>
                  <a:pt x="197383" y="938984"/>
                  <a:pt x="195579" y="938978"/>
                  <a:pt x="193719" y="938971"/>
                </a:cubicBezTo>
                <a:cubicBezTo>
                  <a:pt x="192010" y="938974"/>
                  <a:pt x="190300" y="938977"/>
                  <a:pt x="188539" y="938980"/>
                </a:cubicBezTo>
                <a:cubicBezTo>
                  <a:pt x="187000" y="938981"/>
                  <a:pt x="185460" y="938983"/>
                  <a:pt x="183874" y="938985"/>
                </a:cubicBezTo>
                <a:cubicBezTo>
                  <a:pt x="180148" y="939150"/>
                  <a:pt x="177092" y="939720"/>
                  <a:pt x="173509" y="940576"/>
                </a:cubicBezTo>
                <a:cubicBezTo>
                  <a:pt x="169458" y="940674"/>
                  <a:pt x="165452" y="940710"/>
                  <a:pt x="161403" y="940664"/>
                </a:cubicBezTo>
                <a:cubicBezTo>
                  <a:pt x="160314" y="940658"/>
                  <a:pt x="159224" y="940651"/>
                  <a:pt x="158102" y="940645"/>
                </a:cubicBezTo>
                <a:lnTo>
                  <a:pt x="150875" y="940583"/>
                </a:lnTo>
                <a:lnTo>
                  <a:pt x="148425" y="940717"/>
                </a:lnTo>
                <a:lnTo>
                  <a:pt x="149617" y="940995"/>
                </a:lnTo>
                <a:cubicBezTo>
                  <a:pt x="149617" y="941459"/>
                  <a:pt x="149617" y="941924"/>
                  <a:pt x="149617" y="942404"/>
                </a:cubicBezTo>
                <a:cubicBezTo>
                  <a:pt x="148630" y="942558"/>
                  <a:pt x="147643" y="942712"/>
                  <a:pt x="146627" y="942871"/>
                </a:cubicBezTo>
                <a:cubicBezTo>
                  <a:pt x="134541" y="944804"/>
                  <a:pt x="122553" y="947081"/>
                  <a:pt x="110564" y="949449"/>
                </a:cubicBezTo>
                <a:lnTo>
                  <a:pt x="111283" y="946205"/>
                </a:lnTo>
                <a:lnTo>
                  <a:pt x="101652" y="956078"/>
                </a:lnTo>
                <a:cubicBezTo>
                  <a:pt x="99870" y="957260"/>
                  <a:pt x="99870" y="957260"/>
                  <a:pt x="98052" y="958467"/>
                </a:cubicBezTo>
                <a:cubicBezTo>
                  <a:pt x="75683" y="972989"/>
                  <a:pt x="75683" y="972989"/>
                  <a:pt x="67286" y="972989"/>
                </a:cubicBezTo>
                <a:cubicBezTo>
                  <a:pt x="67286" y="973918"/>
                  <a:pt x="67286" y="974848"/>
                  <a:pt x="67286" y="975807"/>
                </a:cubicBezTo>
                <a:cubicBezTo>
                  <a:pt x="55713" y="979519"/>
                  <a:pt x="43549" y="980689"/>
                  <a:pt x="31942" y="976423"/>
                </a:cubicBezTo>
                <a:cubicBezTo>
                  <a:pt x="19953" y="970870"/>
                  <a:pt x="10774" y="964932"/>
                  <a:pt x="5673" y="953419"/>
                </a:cubicBezTo>
                <a:cubicBezTo>
                  <a:pt x="4801" y="950441"/>
                  <a:pt x="4801" y="950441"/>
                  <a:pt x="4801" y="944804"/>
                </a:cubicBezTo>
                <a:cubicBezTo>
                  <a:pt x="3770" y="944804"/>
                  <a:pt x="2739" y="944804"/>
                  <a:pt x="1676" y="944804"/>
                </a:cubicBezTo>
                <a:cubicBezTo>
                  <a:pt x="-34" y="940174"/>
                  <a:pt x="-41" y="936720"/>
                  <a:pt x="17" y="931857"/>
                </a:cubicBezTo>
                <a:cubicBezTo>
                  <a:pt x="31" y="930325"/>
                  <a:pt x="45" y="928794"/>
                  <a:pt x="59" y="927216"/>
                </a:cubicBezTo>
                <a:cubicBezTo>
                  <a:pt x="78" y="926044"/>
                  <a:pt x="96" y="924873"/>
                  <a:pt x="115" y="923666"/>
                </a:cubicBezTo>
                <a:cubicBezTo>
                  <a:pt x="1145" y="923666"/>
                  <a:pt x="2176" y="923666"/>
                  <a:pt x="3238" y="923666"/>
                </a:cubicBezTo>
                <a:cubicBezTo>
                  <a:pt x="3238" y="921805"/>
                  <a:pt x="3238" y="919945"/>
                  <a:pt x="3238" y="918029"/>
                </a:cubicBezTo>
                <a:cubicBezTo>
                  <a:pt x="4270" y="918029"/>
                  <a:pt x="5300" y="918029"/>
                  <a:pt x="6363" y="918029"/>
                </a:cubicBezTo>
                <a:cubicBezTo>
                  <a:pt x="6459" y="916314"/>
                  <a:pt x="6556" y="914599"/>
                  <a:pt x="6656" y="912832"/>
                </a:cubicBezTo>
                <a:cubicBezTo>
                  <a:pt x="7542" y="906455"/>
                  <a:pt x="10104" y="903750"/>
                  <a:pt x="15736" y="899709"/>
                </a:cubicBezTo>
                <a:lnTo>
                  <a:pt x="17243" y="898894"/>
                </a:lnTo>
                <a:lnTo>
                  <a:pt x="16800" y="898694"/>
                </a:lnTo>
                <a:lnTo>
                  <a:pt x="24988" y="894101"/>
                </a:lnTo>
                <a:lnTo>
                  <a:pt x="26768" y="892399"/>
                </a:lnTo>
                <a:cubicBezTo>
                  <a:pt x="28282" y="891122"/>
                  <a:pt x="29038" y="890483"/>
                  <a:pt x="30198" y="890164"/>
                </a:cubicBezTo>
                <a:lnTo>
                  <a:pt x="32204" y="890054"/>
                </a:lnTo>
                <a:lnTo>
                  <a:pt x="38914" y="886291"/>
                </a:lnTo>
                <a:cubicBezTo>
                  <a:pt x="47169" y="885770"/>
                  <a:pt x="55396" y="885800"/>
                  <a:pt x="63664" y="886011"/>
                </a:cubicBezTo>
                <a:lnTo>
                  <a:pt x="63664" y="886531"/>
                </a:lnTo>
                <a:lnTo>
                  <a:pt x="70784" y="886647"/>
                </a:lnTo>
                <a:cubicBezTo>
                  <a:pt x="74787" y="887000"/>
                  <a:pt x="77233" y="887948"/>
                  <a:pt x="82126" y="889845"/>
                </a:cubicBezTo>
                <a:cubicBezTo>
                  <a:pt x="92427" y="893791"/>
                  <a:pt x="103139" y="893710"/>
                  <a:pt x="114149" y="892663"/>
                </a:cubicBezTo>
                <a:cubicBezTo>
                  <a:pt x="115696" y="891733"/>
                  <a:pt x="117242" y="890803"/>
                  <a:pt x="118836" y="889845"/>
                </a:cubicBezTo>
                <a:cubicBezTo>
                  <a:pt x="123097" y="888850"/>
                  <a:pt x="127325" y="887944"/>
                  <a:pt x="131626" y="887114"/>
                </a:cubicBezTo>
                <a:cubicBezTo>
                  <a:pt x="139750" y="885542"/>
                  <a:pt x="147376" y="883653"/>
                  <a:pt x="155116" y="880913"/>
                </a:cubicBezTo>
                <a:cubicBezTo>
                  <a:pt x="158498" y="879775"/>
                  <a:pt x="161861" y="879076"/>
                  <a:pt x="165406" y="878483"/>
                </a:cubicBezTo>
                <a:cubicBezTo>
                  <a:pt x="170342" y="877655"/>
                  <a:pt x="172265" y="876971"/>
                  <a:pt x="176634" y="874343"/>
                </a:cubicBezTo>
                <a:cubicBezTo>
                  <a:pt x="179863" y="873335"/>
                  <a:pt x="183123" y="872404"/>
                  <a:pt x="186397" y="871524"/>
                </a:cubicBezTo>
                <a:cubicBezTo>
                  <a:pt x="189107" y="870786"/>
                  <a:pt x="189107" y="870786"/>
                  <a:pt x="191871" y="870033"/>
                </a:cubicBezTo>
                <a:cubicBezTo>
                  <a:pt x="195731" y="869023"/>
                  <a:pt x="199587" y="868093"/>
                  <a:pt x="203483" y="867208"/>
                </a:cubicBezTo>
                <a:cubicBezTo>
                  <a:pt x="208339" y="866199"/>
                  <a:pt x="208339" y="866199"/>
                  <a:pt x="211001" y="861660"/>
                </a:cubicBezTo>
                <a:cubicBezTo>
                  <a:pt x="214174" y="860102"/>
                  <a:pt x="214174" y="860102"/>
                  <a:pt x="218031" y="858577"/>
                </a:cubicBezTo>
                <a:cubicBezTo>
                  <a:pt x="236068" y="850629"/>
                  <a:pt x="245199" y="840442"/>
                  <a:pt x="254740" y="825020"/>
                </a:cubicBezTo>
                <a:cubicBezTo>
                  <a:pt x="255771" y="823625"/>
                  <a:pt x="256802" y="822230"/>
                  <a:pt x="257864" y="820792"/>
                </a:cubicBezTo>
                <a:cubicBezTo>
                  <a:pt x="258359" y="817506"/>
                  <a:pt x="258359" y="817506"/>
                  <a:pt x="258318" y="813810"/>
                </a:cubicBezTo>
                <a:cubicBezTo>
                  <a:pt x="258338" y="812388"/>
                  <a:pt x="258358" y="810967"/>
                  <a:pt x="258378" y="809502"/>
                </a:cubicBezTo>
                <a:cubicBezTo>
                  <a:pt x="258382" y="807965"/>
                  <a:pt x="258385" y="806429"/>
                  <a:pt x="258389" y="804845"/>
                </a:cubicBezTo>
                <a:cubicBezTo>
                  <a:pt x="258399" y="803258"/>
                  <a:pt x="258410" y="801671"/>
                  <a:pt x="258420" y="800036"/>
                </a:cubicBezTo>
                <a:cubicBezTo>
                  <a:pt x="258436" y="796670"/>
                  <a:pt x="258443" y="793305"/>
                  <a:pt x="258443" y="789939"/>
                </a:cubicBezTo>
                <a:cubicBezTo>
                  <a:pt x="258450" y="784823"/>
                  <a:pt x="258506" y="779709"/>
                  <a:pt x="258566" y="774594"/>
                </a:cubicBezTo>
                <a:cubicBezTo>
                  <a:pt x="258575" y="771319"/>
                  <a:pt x="258581" y="768045"/>
                  <a:pt x="258584" y="764771"/>
                </a:cubicBezTo>
                <a:cubicBezTo>
                  <a:pt x="258618" y="762495"/>
                  <a:pt x="258618" y="762495"/>
                  <a:pt x="258652" y="760174"/>
                </a:cubicBezTo>
                <a:cubicBezTo>
                  <a:pt x="258586" y="750030"/>
                  <a:pt x="256266" y="742584"/>
                  <a:pt x="251616" y="733421"/>
                </a:cubicBezTo>
                <a:cubicBezTo>
                  <a:pt x="250163" y="729605"/>
                  <a:pt x="248880" y="725752"/>
                  <a:pt x="247613" y="721883"/>
                </a:cubicBezTo>
                <a:cubicBezTo>
                  <a:pt x="245789" y="716328"/>
                  <a:pt x="243913" y="710939"/>
                  <a:pt x="241291" y="705644"/>
                </a:cubicBezTo>
                <a:cubicBezTo>
                  <a:pt x="238691" y="700096"/>
                  <a:pt x="238136" y="695685"/>
                  <a:pt x="237557" y="689735"/>
                </a:cubicBezTo>
                <a:cubicBezTo>
                  <a:pt x="244977" y="685507"/>
                  <a:pt x="244977" y="685507"/>
                  <a:pt x="248492" y="685507"/>
                </a:cubicBezTo>
                <a:cubicBezTo>
                  <a:pt x="248492" y="684112"/>
                  <a:pt x="248492" y="682717"/>
                  <a:pt x="248492" y="681279"/>
                </a:cubicBezTo>
                <a:cubicBezTo>
                  <a:pt x="245914" y="680815"/>
                  <a:pt x="243337" y="680350"/>
                  <a:pt x="240681" y="679870"/>
                </a:cubicBezTo>
                <a:cubicBezTo>
                  <a:pt x="240681" y="678940"/>
                  <a:pt x="240681" y="678010"/>
                  <a:pt x="240681" y="677052"/>
                </a:cubicBezTo>
                <a:cubicBezTo>
                  <a:pt x="239827" y="676917"/>
                  <a:pt x="238973" y="676783"/>
                  <a:pt x="238094" y="676645"/>
                </a:cubicBezTo>
                <a:cubicBezTo>
                  <a:pt x="233442" y="675371"/>
                  <a:pt x="229939" y="673242"/>
                  <a:pt x="225841" y="670886"/>
                </a:cubicBezTo>
                <a:cubicBezTo>
                  <a:pt x="217808" y="666564"/>
                  <a:pt x="210635" y="664241"/>
                  <a:pt x="201531" y="662508"/>
                </a:cubicBezTo>
                <a:cubicBezTo>
                  <a:pt x="196896" y="661541"/>
                  <a:pt x="192682" y="660199"/>
                  <a:pt x="188252" y="658644"/>
                </a:cubicBezTo>
                <a:lnTo>
                  <a:pt x="182431" y="657327"/>
                </a:lnTo>
                <a:lnTo>
                  <a:pt x="182431" y="657613"/>
                </a:lnTo>
                <a:cubicBezTo>
                  <a:pt x="170575" y="657148"/>
                  <a:pt x="158718" y="656683"/>
                  <a:pt x="146503" y="656204"/>
                </a:cubicBezTo>
                <a:cubicBezTo>
                  <a:pt x="146503" y="657133"/>
                  <a:pt x="146503" y="658064"/>
                  <a:pt x="146503" y="659022"/>
                </a:cubicBezTo>
                <a:cubicBezTo>
                  <a:pt x="134359" y="662326"/>
                  <a:pt x="123013" y="663700"/>
                  <a:pt x="110378" y="663778"/>
                </a:cubicBezTo>
                <a:cubicBezTo>
                  <a:pt x="108435" y="663806"/>
                  <a:pt x="108435" y="663806"/>
                  <a:pt x="106453" y="663836"/>
                </a:cubicBezTo>
                <a:cubicBezTo>
                  <a:pt x="105231" y="663828"/>
                  <a:pt x="104009" y="663820"/>
                  <a:pt x="102751" y="663811"/>
                </a:cubicBezTo>
                <a:cubicBezTo>
                  <a:pt x="101117" y="663804"/>
                  <a:pt x="101117" y="663804"/>
                  <a:pt x="99449" y="663797"/>
                </a:cubicBezTo>
                <a:cubicBezTo>
                  <a:pt x="95696" y="663097"/>
                  <a:pt x="94265" y="661615"/>
                  <a:pt x="91828" y="659022"/>
                </a:cubicBezTo>
                <a:cubicBezTo>
                  <a:pt x="93890" y="659022"/>
                  <a:pt x="95953" y="659022"/>
                  <a:pt x="98077" y="659022"/>
                </a:cubicBezTo>
                <a:cubicBezTo>
                  <a:pt x="98077" y="659952"/>
                  <a:pt x="98077" y="660882"/>
                  <a:pt x="98077" y="661841"/>
                </a:cubicBezTo>
                <a:cubicBezTo>
                  <a:pt x="108735" y="662045"/>
                  <a:pt x="114063" y="662148"/>
                  <a:pt x="119023" y="661357"/>
                </a:cubicBezTo>
                <a:lnTo>
                  <a:pt x="119536" y="661197"/>
                </a:lnTo>
                <a:lnTo>
                  <a:pt x="109853" y="661639"/>
                </a:lnTo>
                <a:cubicBezTo>
                  <a:pt x="108764" y="661632"/>
                  <a:pt x="107675" y="661626"/>
                  <a:pt x="106552" y="661619"/>
                </a:cubicBezTo>
                <a:cubicBezTo>
                  <a:pt x="103877" y="661603"/>
                  <a:pt x="101203" y="661577"/>
                  <a:pt x="98528" y="661550"/>
                </a:cubicBezTo>
                <a:cubicBezTo>
                  <a:pt x="98528" y="660620"/>
                  <a:pt x="98528" y="659691"/>
                  <a:pt x="98528" y="658732"/>
                </a:cubicBezTo>
                <a:cubicBezTo>
                  <a:pt x="95435" y="658267"/>
                  <a:pt x="92342" y="657802"/>
                  <a:pt x="89155" y="657323"/>
                </a:cubicBezTo>
                <a:cubicBezTo>
                  <a:pt x="89155" y="656393"/>
                  <a:pt x="89155" y="655462"/>
                  <a:pt x="89155" y="654504"/>
                </a:cubicBezTo>
                <a:cubicBezTo>
                  <a:pt x="87790" y="653978"/>
                  <a:pt x="87790" y="653978"/>
                  <a:pt x="86397" y="653442"/>
                </a:cubicBezTo>
                <a:cubicBezTo>
                  <a:pt x="82415" y="651438"/>
                  <a:pt x="80039" y="649232"/>
                  <a:pt x="77049" y="646137"/>
                </a:cubicBezTo>
                <a:cubicBezTo>
                  <a:pt x="75611" y="644679"/>
                  <a:pt x="75611" y="644679"/>
                  <a:pt x="74145" y="643192"/>
                </a:cubicBezTo>
                <a:cubicBezTo>
                  <a:pt x="71972" y="640412"/>
                  <a:pt x="71972" y="640412"/>
                  <a:pt x="71972" y="636185"/>
                </a:cubicBezTo>
                <a:cubicBezTo>
                  <a:pt x="70941" y="636185"/>
                  <a:pt x="69910" y="636185"/>
                  <a:pt x="68848" y="636185"/>
                </a:cubicBezTo>
                <a:cubicBezTo>
                  <a:pt x="64250" y="621928"/>
                  <a:pt x="64695" y="609404"/>
                  <a:pt x="70410" y="595317"/>
                </a:cubicBezTo>
                <a:cubicBezTo>
                  <a:pt x="73096" y="591142"/>
                  <a:pt x="76144" y="587574"/>
                  <a:pt x="79782" y="584043"/>
                </a:cubicBezTo>
                <a:cubicBezTo>
                  <a:pt x="81205" y="582594"/>
                  <a:pt x="81205" y="582594"/>
                  <a:pt x="82656" y="581115"/>
                </a:cubicBezTo>
                <a:cubicBezTo>
                  <a:pt x="91488" y="574027"/>
                  <a:pt x="105133" y="571806"/>
                  <a:pt x="116694" y="572323"/>
                </a:cubicBezTo>
                <a:cubicBezTo>
                  <a:pt x="131556" y="574113"/>
                  <a:pt x="142046" y="580551"/>
                  <a:pt x="152031" y="590385"/>
                </a:cubicBezTo>
                <a:cubicBezTo>
                  <a:pt x="162272" y="600009"/>
                  <a:pt x="176992" y="605062"/>
                  <a:pt x="191474" y="605886"/>
                </a:cubicBezTo>
                <a:cubicBezTo>
                  <a:pt x="196845" y="606192"/>
                  <a:pt x="201203" y="606463"/>
                  <a:pt x="206314" y="608000"/>
                </a:cubicBezTo>
                <a:cubicBezTo>
                  <a:pt x="206314" y="608930"/>
                  <a:pt x="206314" y="609860"/>
                  <a:pt x="206314" y="610818"/>
                </a:cubicBezTo>
                <a:cubicBezTo>
                  <a:pt x="215689" y="610902"/>
                  <a:pt x="225058" y="610898"/>
                  <a:pt x="234433" y="610818"/>
                </a:cubicBezTo>
                <a:cubicBezTo>
                  <a:pt x="236112" y="610813"/>
                  <a:pt x="237791" y="610808"/>
                  <a:pt x="239522" y="610802"/>
                </a:cubicBezTo>
                <a:cubicBezTo>
                  <a:pt x="251005" y="610364"/>
                  <a:pt x="259257" y="606564"/>
                  <a:pt x="268799" y="600954"/>
                </a:cubicBezTo>
                <a:cubicBezTo>
                  <a:pt x="269770" y="600416"/>
                  <a:pt x="270740" y="599879"/>
                  <a:pt x="271740" y="599325"/>
                </a:cubicBezTo>
                <a:cubicBezTo>
                  <a:pt x="279452" y="594430"/>
                  <a:pt x="281420" y="587464"/>
                  <a:pt x="284420" y="579816"/>
                </a:cubicBezTo>
                <a:cubicBezTo>
                  <a:pt x="286047" y="576075"/>
                  <a:pt x="287725" y="572353"/>
                  <a:pt x="289399" y="568630"/>
                </a:cubicBezTo>
                <a:cubicBezTo>
                  <a:pt x="294095" y="558121"/>
                  <a:pt x="299004" y="547070"/>
                  <a:pt x="293958" y="535838"/>
                </a:cubicBezTo>
                <a:cubicBezTo>
                  <a:pt x="292436" y="533533"/>
                  <a:pt x="290781" y="531301"/>
                  <a:pt x="289107" y="529084"/>
                </a:cubicBezTo>
                <a:cubicBezTo>
                  <a:pt x="289107" y="528153"/>
                  <a:pt x="289107" y="527223"/>
                  <a:pt x="289107" y="526265"/>
                </a:cubicBezTo>
                <a:cubicBezTo>
                  <a:pt x="287560" y="525800"/>
                  <a:pt x="286014" y="525335"/>
                  <a:pt x="284420" y="524856"/>
                </a:cubicBezTo>
                <a:cubicBezTo>
                  <a:pt x="283905" y="523461"/>
                  <a:pt x="283389" y="522066"/>
                  <a:pt x="282858" y="520628"/>
                </a:cubicBezTo>
                <a:cubicBezTo>
                  <a:pt x="280750" y="518590"/>
                  <a:pt x="280750" y="518590"/>
                  <a:pt x="277977" y="516577"/>
                </a:cubicBezTo>
                <a:cubicBezTo>
                  <a:pt x="273591" y="513232"/>
                  <a:pt x="269227" y="509874"/>
                  <a:pt x="264925" y="506443"/>
                </a:cubicBezTo>
                <a:cubicBezTo>
                  <a:pt x="253596" y="497433"/>
                  <a:pt x="242132" y="488987"/>
                  <a:pt x="229746" y="481170"/>
                </a:cubicBezTo>
                <a:cubicBezTo>
                  <a:pt x="226846" y="479266"/>
                  <a:pt x="223950" y="477358"/>
                  <a:pt x="221057" y="475445"/>
                </a:cubicBezTo>
                <a:cubicBezTo>
                  <a:pt x="218227" y="473594"/>
                  <a:pt x="215396" y="471744"/>
                  <a:pt x="212563" y="469896"/>
                </a:cubicBezTo>
                <a:cubicBezTo>
                  <a:pt x="211351" y="469102"/>
                  <a:pt x="210138" y="468309"/>
                  <a:pt x="208889" y="467491"/>
                </a:cubicBezTo>
                <a:cubicBezTo>
                  <a:pt x="202848" y="463599"/>
                  <a:pt x="196732" y="459888"/>
                  <a:pt x="190406" y="456382"/>
                </a:cubicBezTo>
                <a:cubicBezTo>
                  <a:pt x="189263" y="455748"/>
                  <a:pt x="188119" y="455114"/>
                  <a:pt x="186942" y="454460"/>
                </a:cubicBezTo>
                <a:cubicBezTo>
                  <a:pt x="184648" y="453196"/>
                  <a:pt x="182348" y="451941"/>
                  <a:pt x="180041" y="450696"/>
                </a:cubicBezTo>
                <a:cubicBezTo>
                  <a:pt x="177292" y="449185"/>
                  <a:pt x="174612" y="447571"/>
                  <a:pt x="171948" y="445940"/>
                </a:cubicBezTo>
                <a:cubicBezTo>
                  <a:pt x="171948" y="445009"/>
                  <a:pt x="171948" y="444079"/>
                  <a:pt x="171948" y="443121"/>
                </a:cubicBezTo>
                <a:cubicBezTo>
                  <a:pt x="170804" y="442985"/>
                  <a:pt x="169660" y="442848"/>
                  <a:pt x="168482" y="442708"/>
                </a:cubicBezTo>
                <a:cubicBezTo>
                  <a:pt x="163547" y="441576"/>
                  <a:pt x="161063" y="439897"/>
                  <a:pt x="157107" y="437044"/>
                </a:cubicBezTo>
                <a:cubicBezTo>
                  <a:pt x="149345" y="431895"/>
                  <a:pt x="141843" y="429626"/>
                  <a:pt x="132559" y="427510"/>
                </a:cubicBezTo>
                <a:cubicBezTo>
                  <a:pt x="128067" y="426168"/>
                  <a:pt x="126607" y="425060"/>
                  <a:pt x="123522" y="421983"/>
                </a:cubicBezTo>
                <a:cubicBezTo>
                  <a:pt x="118310" y="419033"/>
                  <a:pt x="114076" y="418794"/>
                  <a:pt x="107986" y="418730"/>
                </a:cubicBezTo>
                <a:cubicBezTo>
                  <a:pt x="106174" y="418694"/>
                  <a:pt x="104362" y="418659"/>
                  <a:pt x="102494" y="418622"/>
                </a:cubicBezTo>
                <a:cubicBezTo>
                  <a:pt x="98715" y="418573"/>
                  <a:pt x="94936" y="418529"/>
                  <a:pt x="91157" y="418490"/>
                </a:cubicBezTo>
                <a:cubicBezTo>
                  <a:pt x="78470" y="418231"/>
                  <a:pt x="65485" y="417940"/>
                  <a:pt x="55277" y="410445"/>
                </a:cubicBezTo>
                <a:cubicBezTo>
                  <a:pt x="54084" y="409137"/>
                  <a:pt x="52893" y="407829"/>
                  <a:pt x="51665" y="406481"/>
                </a:cubicBezTo>
                <a:cubicBezTo>
                  <a:pt x="49752" y="404480"/>
                  <a:pt x="47831" y="402483"/>
                  <a:pt x="45904" y="400492"/>
                </a:cubicBezTo>
                <a:cubicBezTo>
                  <a:pt x="44996" y="399526"/>
                  <a:pt x="44088" y="398559"/>
                  <a:pt x="43152" y="397564"/>
                </a:cubicBezTo>
                <a:cubicBezTo>
                  <a:pt x="40865" y="395062"/>
                  <a:pt x="40865" y="395062"/>
                  <a:pt x="37605" y="393798"/>
                </a:cubicBezTo>
                <a:lnTo>
                  <a:pt x="38995" y="368712"/>
                </a:lnTo>
                <a:lnTo>
                  <a:pt x="38666" y="369724"/>
                </a:lnTo>
                <a:cubicBezTo>
                  <a:pt x="37003" y="374506"/>
                  <a:pt x="36202" y="379113"/>
                  <a:pt x="35542" y="384081"/>
                </a:cubicBezTo>
                <a:cubicBezTo>
                  <a:pt x="30313" y="376119"/>
                  <a:pt x="31188" y="366593"/>
                  <a:pt x="33326" y="357791"/>
                </a:cubicBezTo>
                <a:cubicBezTo>
                  <a:pt x="37176" y="347767"/>
                  <a:pt x="44536" y="340769"/>
                  <a:pt x="52725" y="333349"/>
                </a:cubicBezTo>
                <a:lnTo>
                  <a:pt x="55222" y="334475"/>
                </a:lnTo>
                <a:lnTo>
                  <a:pt x="56222" y="333347"/>
                </a:lnTo>
                <a:lnTo>
                  <a:pt x="55871" y="333347"/>
                </a:lnTo>
                <a:lnTo>
                  <a:pt x="56346" y="333207"/>
                </a:lnTo>
                <a:lnTo>
                  <a:pt x="56351" y="333202"/>
                </a:lnTo>
                <a:lnTo>
                  <a:pt x="56365" y="333202"/>
                </a:lnTo>
                <a:lnTo>
                  <a:pt x="79571" y="326360"/>
                </a:lnTo>
                <a:cubicBezTo>
                  <a:pt x="87782" y="326037"/>
                  <a:pt x="96164" y="327572"/>
                  <a:pt x="104297" y="330529"/>
                </a:cubicBezTo>
                <a:lnTo>
                  <a:pt x="107170" y="334417"/>
                </a:lnTo>
                <a:lnTo>
                  <a:pt x="109366" y="336046"/>
                </a:lnTo>
                <a:lnTo>
                  <a:pt x="109463" y="336020"/>
                </a:lnTo>
                <a:lnTo>
                  <a:pt x="109463" y="336118"/>
                </a:lnTo>
                <a:lnTo>
                  <a:pt x="115226" y="340394"/>
                </a:lnTo>
                <a:lnTo>
                  <a:pt x="114010" y="340120"/>
                </a:lnTo>
                <a:lnTo>
                  <a:pt x="133285" y="357423"/>
                </a:lnTo>
                <a:cubicBezTo>
                  <a:pt x="142471" y="373187"/>
                  <a:pt x="155564" y="382744"/>
                  <a:pt x="173509" y="389571"/>
                </a:cubicBezTo>
                <a:cubicBezTo>
                  <a:pt x="176254" y="390785"/>
                  <a:pt x="178988" y="392017"/>
                  <a:pt x="181711" y="393270"/>
                </a:cubicBezTo>
                <a:cubicBezTo>
                  <a:pt x="182964" y="393833"/>
                  <a:pt x="184216" y="394396"/>
                  <a:pt x="185507" y="394976"/>
                </a:cubicBezTo>
                <a:cubicBezTo>
                  <a:pt x="187897" y="396058"/>
                  <a:pt x="190281" y="397151"/>
                  <a:pt x="192658" y="398257"/>
                </a:cubicBezTo>
                <a:cubicBezTo>
                  <a:pt x="193749" y="398762"/>
                  <a:pt x="194841" y="399267"/>
                  <a:pt x="195966" y="399788"/>
                </a:cubicBezTo>
                <a:cubicBezTo>
                  <a:pt x="196912" y="400231"/>
                  <a:pt x="197858" y="400674"/>
                  <a:pt x="198833" y="401131"/>
                </a:cubicBezTo>
                <a:cubicBezTo>
                  <a:pt x="201808" y="402326"/>
                  <a:pt x="204701" y="403032"/>
                  <a:pt x="207877" y="403663"/>
                </a:cubicBezTo>
                <a:cubicBezTo>
                  <a:pt x="207877" y="404593"/>
                  <a:pt x="207877" y="405523"/>
                  <a:pt x="207877" y="406481"/>
                </a:cubicBezTo>
                <a:cubicBezTo>
                  <a:pt x="221233" y="411377"/>
                  <a:pt x="234752" y="415503"/>
                  <a:pt x="248492" y="419428"/>
                </a:cubicBezTo>
                <a:cubicBezTo>
                  <a:pt x="250298" y="419947"/>
                  <a:pt x="252104" y="420466"/>
                  <a:pt x="253965" y="421000"/>
                </a:cubicBezTo>
                <a:cubicBezTo>
                  <a:pt x="258388" y="422270"/>
                  <a:pt x="262812" y="423537"/>
                  <a:pt x="267237" y="424801"/>
                </a:cubicBezTo>
                <a:lnTo>
                  <a:pt x="267237" y="426451"/>
                </a:lnTo>
                <a:lnTo>
                  <a:pt x="288701" y="429217"/>
                </a:lnTo>
                <a:cubicBezTo>
                  <a:pt x="288701" y="430147"/>
                  <a:pt x="288701" y="431078"/>
                  <a:pt x="288701" y="432036"/>
                </a:cubicBezTo>
                <a:cubicBezTo>
                  <a:pt x="301487" y="433472"/>
                  <a:pt x="314148" y="433662"/>
                  <a:pt x="327010" y="433628"/>
                </a:cubicBezTo>
                <a:cubicBezTo>
                  <a:pt x="330502" y="433621"/>
                  <a:pt x="333994" y="433628"/>
                  <a:pt x="337486" y="433637"/>
                </a:cubicBezTo>
                <a:cubicBezTo>
                  <a:pt x="339734" y="433637"/>
                  <a:pt x="341982" y="433635"/>
                  <a:pt x="344229" y="433632"/>
                </a:cubicBezTo>
                <a:cubicBezTo>
                  <a:pt x="347246" y="433630"/>
                  <a:pt x="347246" y="433630"/>
                  <a:pt x="350323" y="433627"/>
                </a:cubicBezTo>
                <a:cubicBezTo>
                  <a:pt x="355445" y="433459"/>
                  <a:pt x="360220" y="432915"/>
                  <a:pt x="365245" y="432036"/>
                </a:cubicBezTo>
                <a:lnTo>
                  <a:pt x="360797" y="433759"/>
                </a:lnTo>
                <a:lnTo>
                  <a:pt x="365650" y="433257"/>
                </a:lnTo>
                <a:cubicBezTo>
                  <a:pt x="366166" y="431861"/>
                  <a:pt x="366682" y="430466"/>
                  <a:pt x="367213" y="429029"/>
                </a:cubicBezTo>
                <a:cubicBezTo>
                  <a:pt x="369854" y="427628"/>
                  <a:pt x="372501" y="426234"/>
                  <a:pt x="375188" y="424906"/>
                </a:cubicBezTo>
                <a:cubicBezTo>
                  <a:pt x="390245" y="417204"/>
                  <a:pt x="397438" y="403183"/>
                  <a:pt x="404704" y="389571"/>
                </a:cubicBezTo>
                <a:cubicBezTo>
                  <a:pt x="405219" y="389105"/>
                  <a:pt x="405734" y="388641"/>
                  <a:pt x="406265" y="388161"/>
                </a:cubicBezTo>
                <a:cubicBezTo>
                  <a:pt x="406663" y="382152"/>
                  <a:pt x="406555" y="376125"/>
                  <a:pt x="406559" y="370106"/>
                </a:cubicBezTo>
                <a:cubicBezTo>
                  <a:pt x="406578" y="368412"/>
                  <a:pt x="406597" y="366718"/>
                  <a:pt x="406617" y="364973"/>
                </a:cubicBezTo>
                <a:cubicBezTo>
                  <a:pt x="406620" y="363344"/>
                  <a:pt x="406622" y="361715"/>
                  <a:pt x="406626" y="360038"/>
                </a:cubicBezTo>
                <a:cubicBezTo>
                  <a:pt x="406632" y="358541"/>
                  <a:pt x="406638" y="357045"/>
                  <a:pt x="406645" y="355503"/>
                </a:cubicBezTo>
                <a:cubicBezTo>
                  <a:pt x="406264" y="351503"/>
                  <a:pt x="405326" y="349318"/>
                  <a:pt x="403142" y="345885"/>
                </a:cubicBezTo>
                <a:cubicBezTo>
                  <a:pt x="402583" y="343484"/>
                  <a:pt x="402067" y="341075"/>
                  <a:pt x="401579" y="338663"/>
                </a:cubicBezTo>
                <a:cubicBezTo>
                  <a:pt x="399365" y="330323"/>
                  <a:pt x="395538" y="323370"/>
                  <a:pt x="390938" y="315939"/>
                </a:cubicBezTo>
                <a:cubicBezTo>
                  <a:pt x="390290" y="314890"/>
                  <a:pt x="389642" y="313842"/>
                  <a:pt x="388976" y="312762"/>
                </a:cubicBezTo>
                <a:cubicBezTo>
                  <a:pt x="385623" y="307500"/>
                  <a:pt x="382070" y="302607"/>
                  <a:pt x="377934" y="297817"/>
                </a:cubicBezTo>
                <a:cubicBezTo>
                  <a:pt x="373788" y="292978"/>
                  <a:pt x="371423" y="288111"/>
                  <a:pt x="368775" y="282470"/>
                </a:cubicBezTo>
                <a:cubicBezTo>
                  <a:pt x="366035" y="278585"/>
                  <a:pt x="362994" y="274937"/>
                  <a:pt x="359890" y="271284"/>
                </a:cubicBezTo>
                <a:cubicBezTo>
                  <a:pt x="359059" y="270296"/>
                  <a:pt x="358230" y="269307"/>
                  <a:pt x="357374" y="268288"/>
                </a:cubicBezTo>
                <a:cubicBezTo>
                  <a:pt x="351312" y="261177"/>
                  <a:pt x="344882" y="254704"/>
                  <a:pt x="337533" y="248649"/>
                </a:cubicBezTo>
                <a:cubicBezTo>
                  <a:pt x="336767" y="247896"/>
                  <a:pt x="336002" y="247144"/>
                  <a:pt x="335214" y="246369"/>
                </a:cubicBezTo>
                <a:cubicBezTo>
                  <a:pt x="332597" y="243963"/>
                  <a:pt x="332597" y="243963"/>
                  <a:pt x="327085" y="242571"/>
                </a:cubicBezTo>
                <a:cubicBezTo>
                  <a:pt x="309670" y="236923"/>
                  <a:pt x="296614" y="222751"/>
                  <a:pt x="288785" y="207968"/>
                </a:cubicBezTo>
                <a:cubicBezTo>
                  <a:pt x="286673" y="202851"/>
                  <a:pt x="286348" y="197968"/>
                  <a:pt x="286373" y="192544"/>
                </a:cubicBezTo>
                <a:cubicBezTo>
                  <a:pt x="286377" y="191437"/>
                  <a:pt x="286381" y="190330"/>
                  <a:pt x="286385" y="189190"/>
                </a:cubicBezTo>
                <a:cubicBezTo>
                  <a:pt x="286881" y="178340"/>
                  <a:pt x="291581" y="171728"/>
                  <a:pt x="300042" y="164095"/>
                </a:cubicBezTo>
                <a:cubicBezTo>
                  <a:pt x="301386" y="162752"/>
                  <a:pt x="301386" y="162752"/>
                  <a:pt x="302757" y="161381"/>
                </a:cubicBezTo>
                <a:cubicBezTo>
                  <a:pt x="312597" y="152504"/>
                  <a:pt x="325185" y="152675"/>
                  <a:pt x="338411" y="152293"/>
                </a:cubicBezTo>
                <a:cubicBezTo>
                  <a:pt x="350839" y="152463"/>
                  <a:pt x="359094" y="154554"/>
                  <a:pt x="368482" y="161893"/>
                </a:cubicBezTo>
                <a:cubicBezTo>
                  <a:pt x="369609" y="163085"/>
                  <a:pt x="370737" y="164277"/>
                  <a:pt x="371899" y="165505"/>
                </a:cubicBezTo>
                <a:cubicBezTo>
                  <a:pt x="372962" y="166522"/>
                  <a:pt x="374026" y="167539"/>
                  <a:pt x="375121" y="168587"/>
                </a:cubicBezTo>
                <a:cubicBezTo>
                  <a:pt x="381050" y="176351"/>
                  <a:pt x="384520" y="184328"/>
                  <a:pt x="384982" y="193777"/>
                </a:cubicBezTo>
                <a:cubicBezTo>
                  <a:pt x="385464" y="201192"/>
                  <a:pt x="387638" y="207607"/>
                  <a:pt x="390352" y="214563"/>
                </a:cubicBezTo>
                <a:cubicBezTo>
                  <a:pt x="390934" y="216079"/>
                  <a:pt x="390934" y="216079"/>
                  <a:pt x="391529" y="217626"/>
                </a:cubicBezTo>
                <a:cubicBezTo>
                  <a:pt x="394082" y="223926"/>
                  <a:pt x="397412" y="228969"/>
                  <a:pt x="401579" y="234556"/>
                </a:cubicBezTo>
                <a:cubicBezTo>
                  <a:pt x="401579" y="235952"/>
                  <a:pt x="401579" y="237347"/>
                  <a:pt x="401579" y="238784"/>
                </a:cubicBezTo>
                <a:cubicBezTo>
                  <a:pt x="402884" y="239263"/>
                  <a:pt x="402884" y="239263"/>
                  <a:pt x="404215" y="239753"/>
                </a:cubicBezTo>
                <a:cubicBezTo>
                  <a:pt x="410099" y="242765"/>
                  <a:pt x="414395" y="246733"/>
                  <a:pt x="417811" y="251996"/>
                </a:cubicBezTo>
                <a:cubicBezTo>
                  <a:pt x="420462" y="255897"/>
                  <a:pt x="423407" y="258959"/>
                  <a:pt x="426866" y="262300"/>
                </a:cubicBezTo>
                <a:cubicBezTo>
                  <a:pt x="435101" y="270407"/>
                  <a:pt x="442641" y="278936"/>
                  <a:pt x="450097" y="287628"/>
                </a:cubicBezTo>
                <a:cubicBezTo>
                  <a:pt x="453081" y="291117"/>
                  <a:pt x="453081" y="291117"/>
                  <a:pt x="457425" y="293920"/>
                </a:cubicBezTo>
                <a:cubicBezTo>
                  <a:pt x="458585" y="294792"/>
                  <a:pt x="459745" y="295664"/>
                  <a:pt x="460940" y="296562"/>
                </a:cubicBezTo>
                <a:cubicBezTo>
                  <a:pt x="460940" y="297957"/>
                  <a:pt x="460940" y="299352"/>
                  <a:pt x="460940" y="300790"/>
                </a:cubicBezTo>
                <a:cubicBezTo>
                  <a:pt x="465063" y="302782"/>
                  <a:pt x="468862" y="304133"/>
                  <a:pt x="473437" y="305018"/>
                </a:cubicBezTo>
                <a:cubicBezTo>
                  <a:pt x="473437" y="305947"/>
                  <a:pt x="473437" y="306877"/>
                  <a:pt x="473437" y="307836"/>
                </a:cubicBezTo>
                <a:cubicBezTo>
                  <a:pt x="475581" y="308519"/>
                  <a:pt x="477730" y="309193"/>
                  <a:pt x="479881" y="309862"/>
                </a:cubicBezTo>
                <a:cubicBezTo>
                  <a:pt x="481077" y="310237"/>
                  <a:pt x="482273" y="310614"/>
                  <a:pt x="483505" y="311001"/>
                </a:cubicBezTo>
                <a:cubicBezTo>
                  <a:pt x="505448" y="316843"/>
                  <a:pt x="527690" y="314359"/>
                  <a:pt x="548419" y="306427"/>
                </a:cubicBezTo>
                <a:cubicBezTo>
                  <a:pt x="549548" y="305998"/>
                  <a:pt x="550678" y="305569"/>
                  <a:pt x="551842" y="305127"/>
                </a:cubicBezTo>
                <a:cubicBezTo>
                  <a:pt x="555376" y="303227"/>
                  <a:pt x="557584" y="300980"/>
                  <a:pt x="560232" y="298148"/>
                </a:cubicBezTo>
                <a:cubicBezTo>
                  <a:pt x="561137" y="297192"/>
                  <a:pt x="562041" y="296236"/>
                  <a:pt x="562972" y="295252"/>
                </a:cubicBezTo>
                <a:cubicBezTo>
                  <a:pt x="564755" y="293274"/>
                  <a:pt x="566459" y="291237"/>
                  <a:pt x="568086" y="289152"/>
                </a:cubicBezTo>
                <a:cubicBezTo>
                  <a:pt x="568813" y="288342"/>
                  <a:pt x="569539" y="287532"/>
                  <a:pt x="570289" y="286697"/>
                </a:cubicBezTo>
                <a:cubicBezTo>
                  <a:pt x="571319" y="286697"/>
                  <a:pt x="572350" y="286697"/>
                  <a:pt x="573413" y="286697"/>
                </a:cubicBezTo>
                <a:cubicBezTo>
                  <a:pt x="577408" y="276984"/>
                  <a:pt x="577197" y="267284"/>
                  <a:pt x="577220" y="257016"/>
                </a:cubicBezTo>
                <a:cubicBezTo>
                  <a:pt x="577227" y="255625"/>
                  <a:pt x="577227" y="255625"/>
                  <a:pt x="577235" y="254206"/>
                </a:cubicBezTo>
                <a:cubicBezTo>
                  <a:pt x="577257" y="237553"/>
                  <a:pt x="574604" y="222055"/>
                  <a:pt x="569443" y="206049"/>
                </a:cubicBezTo>
                <a:cubicBezTo>
                  <a:pt x="568726" y="203553"/>
                  <a:pt x="568726" y="203553"/>
                  <a:pt x="568726" y="200735"/>
                </a:cubicBezTo>
                <a:cubicBezTo>
                  <a:pt x="567695" y="200735"/>
                  <a:pt x="566664" y="200735"/>
                  <a:pt x="565602" y="200735"/>
                </a:cubicBezTo>
                <a:cubicBezTo>
                  <a:pt x="563274" y="195295"/>
                  <a:pt x="561092" y="190108"/>
                  <a:pt x="559549" y="184441"/>
                </a:cubicBezTo>
                <a:cubicBezTo>
                  <a:pt x="555572" y="173477"/>
                  <a:pt x="547043" y="167105"/>
                  <a:pt x="537484" y="159867"/>
                </a:cubicBezTo>
                <a:cubicBezTo>
                  <a:pt x="533579" y="156609"/>
                  <a:pt x="533579" y="156609"/>
                  <a:pt x="531235" y="154230"/>
                </a:cubicBezTo>
                <a:cubicBezTo>
                  <a:pt x="531235" y="153301"/>
                  <a:pt x="531235" y="152371"/>
                  <a:pt x="531235" y="151412"/>
                </a:cubicBezTo>
                <a:cubicBezTo>
                  <a:pt x="529689" y="150947"/>
                  <a:pt x="528143" y="150482"/>
                  <a:pt x="526549" y="150003"/>
                </a:cubicBezTo>
                <a:cubicBezTo>
                  <a:pt x="519904" y="137298"/>
                  <a:pt x="519105" y="120357"/>
                  <a:pt x="524304" y="107198"/>
                </a:cubicBezTo>
                <a:cubicBezTo>
                  <a:pt x="529443" y="97376"/>
                  <a:pt x="535781" y="90193"/>
                  <a:pt x="547052" y="85972"/>
                </a:cubicBezTo>
                <a:cubicBezTo>
                  <a:pt x="559924" y="81835"/>
                  <a:pt x="575221" y="79746"/>
                  <a:pt x="588460" y="83538"/>
                </a:cubicBezTo>
                <a:cubicBezTo>
                  <a:pt x="601643" y="89713"/>
                  <a:pt x="611835" y="99450"/>
                  <a:pt x="617152" y="111954"/>
                </a:cubicBezTo>
                <a:cubicBezTo>
                  <a:pt x="617935" y="116052"/>
                  <a:pt x="617954" y="120024"/>
                  <a:pt x="617884" y="124175"/>
                </a:cubicBezTo>
                <a:cubicBezTo>
                  <a:pt x="617896" y="125307"/>
                  <a:pt x="617906" y="126440"/>
                  <a:pt x="617917" y="127607"/>
                </a:cubicBezTo>
                <a:cubicBezTo>
                  <a:pt x="617963" y="132394"/>
                  <a:pt x="617938" y="137181"/>
                  <a:pt x="617919" y="141969"/>
                </a:cubicBezTo>
                <a:cubicBezTo>
                  <a:pt x="617899" y="160184"/>
                  <a:pt x="619422" y="175572"/>
                  <a:pt x="630625" y="191311"/>
                </a:cubicBezTo>
                <a:cubicBezTo>
                  <a:pt x="633753" y="195891"/>
                  <a:pt x="636431" y="199900"/>
                  <a:pt x="637850" y="205139"/>
                </a:cubicBezTo>
                <a:cubicBezTo>
                  <a:pt x="638615" y="209623"/>
                  <a:pt x="638615" y="209623"/>
                  <a:pt x="643708" y="212009"/>
                </a:cubicBezTo>
                <a:cubicBezTo>
                  <a:pt x="645380" y="214563"/>
                  <a:pt x="645380" y="214563"/>
                  <a:pt x="647027" y="217645"/>
                </a:cubicBezTo>
                <a:cubicBezTo>
                  <a:pt x="652549" y="227016"/>
                  <a:pt x="660443" y="235696"/>
                  <a:pt x="670264" y="241603"/>
                </a:cubicBezTo>
                <a:cubicBezTo>
                  <a:pt x="670264" y="242532"/>
                  <a:pt x="670264" y="243462"/>
                  <a:pt x="670264" y="244421"/>
                </a:cubicBezTo>
                <a:cubicBezTo>
                  <a:pt x="672036" y="244857"/>
                  <a:pt x="673808" y="245293"/>
                  <a:pt x="675634" y="245742"/>
                </a:cubicBezTo>
                <a:cubicBezTo>
                  <a:pt x="681199" y="247239"/>
                  <a:pt x="681199" y="247239"/>
                  <a:pt x="682761" y="248649"/>
                </a:cubicBezTo>
                <a:cubicBezTo>
                  <a:pt x="704487" y="252065"/>
                  <a:pt x="732606" y="256402"/>
                  <a:pt x="752092" y="245076"/>
                </a:cubicBezTo>
                <a:cubicBezTo>
                  <a:pt x="754252" y="243599"/>
                  <a:pt x="756372" y="242073"/>
                  <a:pt x="758433" y="240485"/>
                </a:cubicBezTo>
                <a:cubicBezTo>
                  <a:pt x="760867" y="238784"/>
                  <a:pt x="760867" y="238784"/>
                  <a:pt x="763991" y="238784"/>
                </a:cubicBezTo>
                <a:cubicBezTo>
                  <a:pt x="764647" y="237296"/>
                  <a:pt x="764647" y="237296"/>
                  <a:pt x="765315" y="235778"/>
                </a:cubicBezTo>
                <a:cubicBezTo>
                  <a:pt x="767151" y="231659"/>
                  <a:pt x="769030" y="227557"/>
                  <a:pt x="770923" y="223459"/>
                </a:cubicBezTo>
                <a:cubicBezTo>
                  <a:pt x="771608" y="221966"/>
                  <a:pt x="772292" y="220472"/>
                  <a:pt x="772998" y="218934"/>
                </a:cubicBezTo>
                <a:cubicBezTo>
                  <a:pt x="774429" y="215885"/>
                  <a:pt x="775968" y="212878"/>
                  <a:pt x="777562" y="209895"/>
                </a:cubicBezTo>
                <a:cubicBezTo>
                  <a:pt x="787607" y="185732"/>
                  <a:pt x="788559" y="149501"/>
                  <a:pt x="781175" y="124637"/>
                </a:cubicBezTo>
                <a:cubicBezTo>
                  <a:pt x="780144" y="124637"/>
                  <a:pt x="779113" y="124637"/>
                  <a:pt x="778051" y="124637"/>
                </a:cubicBezTo>
                <a:cubicBezTo>
                  <a:pt x="768501" y="110080"/>
                  <a:pt x="762898" y="96653"/>
                  <a:pt x="767116" y="79542"/>
                </a:cubicBezTo>
                <a:cubicBezTo>
                  <a:pt x="772286" y="69057"/>
                  <a:pt x="781456" y="58252"/>
                  <a:pt x="793379" y="54000"/>
                </a:cubicBezTo>
                <a:cubicBezTo>
                  <a:pt x="808369" y="49250"/>
                  <a:pt x="826058" y="49579"/>
                  <a:pt x="840688" y="55503"/>
                </a:cubicBezTo>
                <a:cubicBezTo>
                  <a:pt x="845183" y="57759"/>
                  <a:pt x="848037" y="60575"/>
                  <a:pt x="851470" y="64040"/>
                </a:cubicBezTo>
                <a:cubicBezTo>
                  <a:pt x="852721" y="65272"/>
                  <a:pt x="852721" y="65272"/>
                  <a:pt x="853997" y="66529"/>
                </a:cubicBezTo>
                <a:cubicBezTo>
                  <a:pt x="858396" y="71505"/>
                  <a:pt x="860490" y="76640"/>
                  <a:pt x="861488" y="82057"/>
                </a:cubicBezTo>
                <a:lnTo>
                  <a:pt x="861937" y="90492"/>
                </a:lnTo>
                <a:lnTo>
                  <a:pt x="863826" y="100715"/>
                </a:lnTo>
                <a:cubicBezTo>
                  <a:pt x="862141" y="107853"/>
                  <a:pt x="859866" y="114857"/>
                  <a:pt x="857577" y="121853"/>
                </a:cubicBezTo>
                <a:cubicBezTo>
                  <a:pt x="857062" y="121853"/>
                  <a:pt x="856547" y="121853"/>
                  <a:pt x="856015" y="121853"/>
                </a:cubicBezTo>
                <a:cubicBezTo>
                  <a:pt x="855731" y="120401"/>
                  <a:pt x="855731" y="120401"/>
                  <a:pt x="855442" y="118919"/>
                </a:cubicBezTo>
                <a:lnTo>
                  <a:pt x="855417" y="118798"/>
                </a:lnTo>
                <a:lnTo>
                  <a:pt x="856157" y="124637"/>
                </a:lnTo>
                <a:lnTo>
                  <a:pt x="850623" y="134701"/>
                </a:lnTo>
                <a:lnTo>
                  <a:pt x="851325" y="135968"/>
                </a:lnTo>
                <a:cubicBezTo>
                  <a:pt x="850851" y="137246"/>
                  <a:pt x="850376" y="138525"/>
                  <a:pt x="849886" y="139843"/>
                </a:cubicBezTo>
                <a:cubicBezTo>
                  <a:pt x="848171" y="144505"/>
                  <a:pt x="847798" y="148002"/>
                  <a:pt x="847786" y="152889"/>
                </a:cubicBezTo>
                <a:cubicBezTo>
                  <a:pt x="847779" y="154500"/>
                  <a:pt x="847773" y="156109"/>
                  <a:pt x="847767" y="157768"/>
                </a:cubicBezTo>
                <a:cubicBezTo>
                  <a:pt x="847782" y="159468"/>
                  <a:pt x="847796" y="161167"/>
                  <a:pt x="847810" y="162919"/>
                </a:cubicBezTo>
                <a:cubicBezTo>
                  <a:pt x="847821" y="165546"/>
                  <a:pt x="847821" y="165546"/>
                  <a:pt x="847832" y="168227"/>
                </a:cubicBezTo>
                <a:cubicBezTo>
                  <a:pt x="847980" y="181934"/>
                  <a:pt x="849003" y="195419"/>
                  <a:pt x="850903" y="209013"/>
                </a:cubicBezTo>
                <a:lnTo>
                  <a:pt x="852880" y="224692"/>
                </a:lnTo>
                <a:lnTo>
                  <a:pt x="854595" y="224692"/>
                </a:lnTo>
                <a:cubicBezTo>
                  <a:pt x="855086" y="225542"/>
                  <a:pt x="855577" y="226392"/>
                  <a:pt x="856083" y="227268"/>
                </a:cubicBezTo>
                <a:cubicBezTo>
                  <a:pt x="862358" y="237839"/>
                  <a:pt x="866924" y="242785"/>
                  <a:pt x="879588" y="247239"/>
                </a:cubicBezTo>
                <a:cubicBezTo>
                  <a:pt x="881642" y="248025"/>
                  <a:pt x="883692" y="248817"/>
                  <a:pt x="885739" y="249618"/>
                </a:cubicBezTo>
                <a:cubicBezTo>
                  <a:pt x="887318" y="250227"/>
                  <a:pt x="888897" y="250838"/>
                  <a:pt x="890523" y="251467"/>
                </a:cubicBezTo>
                <a:cubicBezTo>
                  <a:pt x="890523" y="252397"/>
                  <a:pt x="890523" y="253327"/>
                  <a:pt x="890523" y="254285"/>
                </a:cubicBezTo>
                <a:cubicBezTo>
                  <a:pt x="900347" y="257061"/>
                  <a:pt x="910127" y="259425"/>
                  <a:pt x="920203" y="261332"/>
                </a:cubicBezTo>
                <a:cubicBezTo>
                  <a:pt x="920203" y="261796"/>
                  <a:pt x="920203" y="262262"/>
                  <a:pt x="920203" y="262741"/>
                </a:cubicBezTo>
                <a:cubicBezTo>
                  <a:pt x="917111" y="262741"/>
                  <a:pt x="914018" y="262741"/>
                  <a:pt x="910831" y="262741"/>
                </a:cubicBezTo>
                <a:lnTo>
                  <a:pt x="910831" y="262864"/>
                </a:lnTo>
                <a:lnTo>
                  <a:pt x="927993" y="264177"/>
                </a:lnTo>
                <a:lnTo>
                  <a:pt x="939273" y="265285"/>
                </a:lnTo>
                <a:lnTo>
                  <a:pt x="940456" y="265191"/>
                </a:lnTo>
                <a:cubicBezTo>
                  <a:pt x="962552" y="263054"/>
                  <a:pt x="974979" y="255295"/>
                  <a:pt x="991622" y="242329"/>
                </a:cubicBezTo>
                <a:lnTo>
                  <a:pt x="1000803" y="236505"/>
                </a:lnTo>
                <a:lnTo>
                  <a:pt x="999806" y="236055"/>
                </a:lnTo>
                <a:cubicBezTo>
                  <a:pt x="1000902" y="234997"/>
                  <a:pt x="1001997" y="233941"/>
                  <a:pt x="1003126" y="232851"/>
                </a:cubicBezTo>
                <a:cubicBezTo>
                  <a:pt x="1012364" y="223880"/>
                  <a:pt x="1021184" y="214752"/>
                  <a:pt x="1029487" y="205052"/>
                </a:cubicBezTo>
                <a:lnTo>
                  <a:pt x="1029872" y="206442"/>
                </a:lnTo>
                <a:lnTo>
                  <a:pt x="1031614" y="203719"/>
                </a:lnTo>
                <a:cubicBezTo>
                  <a:pt x="1033221" y="199204"/>
                  <a:pt x="1035713" y="196017"/>
                  <a:pt x="1038924" y="192280"/>
                </a:cubicBezTo>
                <a:cubicBezTo>
                  <a:pt x="1039956" y="191815"/>
                  <a:pt x="1040987" y="191349"/>
                  <a:pt x="1042049" y="190870"/>
                </a:cubicBezTo>
                <a:cubicBezTo>
                  <a:pt x="1043161" y="188473"/>
                  <a:pt x="1043161" y="188473"/>
                  <a:pt x="1044294" y="186026"/>
                </a:cubicBezTo>
                <a:cubicBezTo>
                  <a:pt x="1046735" y="181006"/>
                  <a:pt x="1046735" y="181006"/>
                  <a:pt x="1051422" y="178188"/>
                </a:cubicBezTo>
                <a:cubicBezTo>
                  <a:pt x="1052553" y="175286"/>
                  <a:pt x="1052553" y="175286"/>
                  <a:pt x="1052984" y="172551"/>
                </a:cubicBezTo>
                <a:cubicBezTo>
                  <a:pt x="1054014" y="172551"/>
                  <a:pt x="1055046" y="172551"/>
                  <a:pt x="1056108" y="172551"/>
                </a:cubicBezTo>
                <a:cubicBezTo>
                  <a:pt x="1057139" y="169295"/>
                  <a:pt x="1058170" y="166040"/>
                  <a:pt x="1059232" y="162686"/>
                </a:cubicBezTo>
                <a:cubicBezTo>
                  <a:pt x="1060263" y="162686"/>
                  <a:pt x="1061295" y="162686"/>
                  <a:pt x="1062357" y="162686"/>
                </a:cubicBezTo>
                <a:cubicBezTo>
                  <a:pt x="1062755" y="161484"/>
                  <a:pt x="1062755" y="161484"/>
                  <a:pt x="1063162" y="160258"/>
                </a:cubicBezTo>
                <a:cubicBezTo>
                  <a:pt x="1065716" y="152917"/>
                  <a:pt x="1068813" y="146686"/>
                  <a:pt x="1073292" y="140138"/>
                </a:cubicBezTo>
                <a:cubicBezTo>
                  <a:pt x="1074322" y="140138"/>
                  <a:pt x="1075353" y="140138"/>
                  <a:pt x="1076415" y="140138"/>
                </a:cubicBezTo>
                <a:cubicBezTo>
                  <a:pt x="1079808" y="132748"/>
                  <a:pt x="1082509" y="125160"/>
                  <a:pt x="1085294" y="117569"/>
                </a:cubicBezTo>
                <a:cubicBezTo>
                  <a:pt x="1085972" y="116181"/>
                  <a:pt x="1086651" y="114793"/>
                  <a:pt x="1087350" y="113363"/>
                </a:cubicBezTo>
                <a:cubicBezTo>
                  <a:pt x="1089671" y="112666"/>
                  <a:pt x="1089671" y="112666"/>
                  <a:pt x="1092037" y="111954"/>
                </a:cubicBezTo>
                <a:cubicBezTo>
                  <a:pt x="1092230" y="110879"/>
                  <a:pt x="1092423" y="109803"/>
                  <a:pt x="1092623" y="108695"/>
                </a:cubicBezTo>
                <a:cubicBezTo>
                  <a:pt x="1093599" y="104908"/>
                  <a:pt x="1093599" y="104908"/>
                  <a:pt x="1096723" y="100680"/>
                </a:cubicBezTo>
                <a:cubicBezTo>
                  <a:pt x="1097207" y="99140"/>
                  <a:pt x="1097689" y="97599"/>
                  <a:pt x="1098188" y="96013"/>
                </a:cubicBezTo>
                <a:cubicBezTo>
                  <a:pt x="1099847" y="90815"/>
                  <a:pt x="1099847" y="90815"/>
                  <a:pt x="1102288" y="87029"/>
                </a:cubicBezTo>
                <a:cubicBezTo>
                  <a:pt x="1106061" y="79186"/>
                  <a:pt x="1107564" y="69424"/>
                  <a:pt x="1104534" y="61222"/>
                </a:cubicBezTo>
                <a:cubicBezTo>
                  <a:pt x="1104409" y="59341"/>
                  <a:pt x="1104366" y="57454"/>
                  <a:pt x="1104381" y="55569"/>
                </a:cubicBezTo>
                <a:cubicBezTo>
                  <a:pt x="1104386" y="54501"/>
                  <a:pt x="1104391" y="53434"/>
                  <a:pt x="1104397" y="52335"/>
                </a:cubicBezTo>
                <a:cubicBezTo>
                  <a:pt x="1104410" y="51228"/>
                  <a:pt x="1104423" y="50120"/>
                  <a:pt x="1104436" y="48979"/>
                </a:cubicBezTo>
                <a:cubicBezTo>
                  <a:pt x="1104443" y="47856"/>
                  <a:pt x="1104451" y="46733"/>
                  <a:pt x="1104457" y="45575"/>
                </a:cubicBezTo>
                <a:cubicBezTo>
                  <a:pt x="1104476" y="42805"/>
                  <a:pt x="1104504" y="40035"/>
                  <a:pt x="1104534" y="37265"/>
                </a:cubicBezTo>
                <a:cubicBezTo>
                  <a:pt x="1105565" y="37265"/>
                  <a:pt x="1106596" y="37265"/>
                  <a:pt x="1107658" y="37265"/>
                </a:cubicBezTo>
                <a:cubicBezTo>
                  <a:pt x="1107561" y="34562"/>
                  <a:pt x="1107561" y="34562"/>
                  <a:pt x="1107463" y="31805"/>
                </a:cubicBezTo>
                <a:cubicBezTo>
                  <a:pt x="1107353" y="28733"/>
                  <a:pt x="1107353" y="28733"/>
                  <a:pt x="1107658" y="25991"/>
                </a:cubicBezTo>
                <a:cubicBezTo>
                  <a:pt x="1108689" y="25062"/>
                  <a:pt x="1109720" y="24131"/>
                  <a:pt x="1110782" y="23173"/>
                </a:cubicBezTo>
                <a:cubicBezTo>
                  <a:pt x="1111104" y="22156"/>
                  <a:pt x="1111427" y="21138"/>
                  <a:pt x="1111759" y="20091"/>
                </a:cubicBezTo>
                <a:cubicBezTo>
                  <a:pt x="1116393" y="11539"/>
                  <a:pt x="1124927" y="6390"/>
                  <a:pt x="1134507" y="2828"/>
                </a:cubicBezTo>
                <a:cubicBezTo>
                  <a:pt x="1141389" y="825"/>
                  <a:pt x="1148262" y="-204"/>
                  <a:pt x="1155019" y="35"/>
                </a:cubicBezTo>
                <a:close/>
              </a:path>
            </a:pathLst>
          </a:custGeom>
          <a:solidFill>
            <a:schemeClr val="accent6">
              <a:lumMod val="50000"/>
            </a:schemeClr>
          </a:solidFill>
          <a:ln w="2232" cap="flat">
            <a:noFill/>
            <a:prstDash val="solid"/>
            <a:miter/>
          </a:ln>
          <a:effectLst>
            <a:innerShdw blurRad="63500" dist="165100" dir="8100000">
              <a:schemeClr val="accent3">
                <a:lumMod val="75000"/>
                <a:alpha val="50000"/>
              </a:schemeClr>
            </a:innerShdw>
          </a:effectLst>
        </p:spPr>
        <p:txBody>
          <a:bodyPr wrap="square">
            <a:noAutofit/>
          </a:bodyPr>
          <a:lstStyle/>
          <a:p>
            <a:endParaRPr lang="en-GB" dirty="0"/>
          </a:p>
        </p:txBody>
      </p:sp>
      <p:sp>
        <p:nvSpPr>
          <p:cNvPr id="7406" name="Oval 7405">
            <a:extLst>
              <a:ext uri="{FF2B5EF4-FFF2-40B4-BE49-F238E27FC236}">
                <a16:creationId xmlns:a16="http://schemas.microsoft.com/office/drawing/2014/main" id="{7FC029EF-D693-AA89-FD1A-1ABEF88D3A23}"/>
              </a:ext>
            </a:extLst>
          </p:cNvPr>
          <p:cNvSpPr/>
          <p:nvPr/>
        </p:nvSpPr>
        <p:spPr>
          <a:xfrm>
            <a:off x="6718865" y="4768321"/>
            <a:ext cx="535375" cy="133103"/>
          </a:xfrm>
          <a:prstGeom prst="ellipse">
            <a:avLst/>
          </a:prstGeom>
          <a:solidFill>
            <a:schemeClr val="tx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7407" name="Oval 7406">
            <a:extLst>
              <a:ext uri="{FF2B5EF4-FFF2-40B4-BE49-F238E27FC236}">
                <a16:creationId xmlns:a16="http://schemas.microsoft.com/office/drawing/2014/main" id="{55161DE5-2BF6-4C90-48F5-93E2D465950A}"/>
              </a:ext>
            </a:extLst>
          </p:cNvPr>
          <p:cNvSpPr/>
          <p:nvPr/>
        </p:nvSpPr>
        <p:spPr>
          <a:xfrm>
            <a:off x="7115385" y="5231305"/>
            <a:ext cx="176955" cy="176955"/>
          </a:xfrm>
          <a:prstGeom prst="ellipse">
            <a:avLst/>
          </a:prstGeom>
          <a:solidFill>
            <a:srgbClr val="275268">
              <a:alpha val="72000"/>
            </a:srgbClr>
          </a:solidFill>
          <a:ln>
            <a:noFill/>
          </a:ln>
          <a:effectLst>
            <a:outerShdw blurRad="50800" dist="38100" dir="8100000" sx="112000" sy="112000" algn="tr" rotWithShape="0">
              <a:prstClr val="black">
                <a:alpha val="32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7408" name="Oval 7407">
            <a:extLst>
              <a:ext uri="{FF2B5EF4-FFF2-40B4-BE49-F238E27FC236}">
                <a16:creationId xmlns:a16="http://schemas.microsoft.com/office/drawing/2014/main" id="{C701E483-E049-29AD-B484-4F8D6DA69552}"/>
              </a:ext>
            </a:extLst>
          </p:cNvPr>
          <p:cNvSpPr/>
          <p:nvPr/>
        </p:nvSpPr>
        <p:spPr>
          <a:xfrm>
            <a:off x="7420185" y="5231305"/>
            <a:ext cx="176955" cy="176955"/>
          </a:xfrm>
          <a:prstGeom prst="ellipse">
            <a:avLst/>
          </a:prstGeom>
          <a:solidFill>
            <a:srgbClr val="275268">
              <a:alpha val="72000"/>
            </a:srgbClr>
          </a:solidFill>
          <a:ln>
            <a:noFill/>
          </a:ln>
          <a:effectLst>
            <a:outerShdw blurRad="50800" dist="38100" dir="8100000" sx="112000" sy="112000" algn="tr" rotWithShape="0">
              <a:prstClr val="black">
                <a:alpha val="32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7409" name="Oval 7408">
            <a:extLst>
              <a:ext uri="{FF2B5EF4-FFF2-40B4-BE49-F238E27FC236}">
                <a16:creationId xmlns:a16="http://schemas.microsoft.com/office/drawing/2014/main" id="{7F570E2E-3F95-01C2-B516-5C3D042ECD6B}"/>
              </a:ext>
            </a:extLst>
          </p:cNvPr>
          <p:cNvSpPr/>
          <p:nvPr/>
        </p:nvSpPr>
        <p:spPr>
          <a:xfrm>
            <a:off x="7328745" y="5528485"/>
            <a:ext cx="145663" cy="145663"/>
          </a:xfrm>
          <a:prstGeom prst="ellipse">
            <a:avLst/>
          </a:prstGeom>
          <a:solidFill>
            <a:srgbClr val="275268">
              <a:alpha val="72000"/>
            </a:srgbClr>
          </a:solidFill>
          <a:ln>
            <a:noFill/>
          </a:ln>
          <a:effectLst>
            <a:outerShdw blurRad="50800" dist="38100" dir="8100000" sx="112000" sy="112000" algn="tr" rotWithShape="0">
              <a:prstClr val="black">
                <a:alpha val="32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7416" name="Oval 7415">
            <a:extLst>
              <a:ext uri="{FF2B5EF4-FFF2-40B4-BE49-F238E27FC236}">
                <a16:creationId xmlns:a16="http://schemas.microsoft.com/office/drawing/2014/main" id="{D8E13E49-4390-295D-4211-2D428119D100}"/>
              </a:ext>
            </a:extLst>
          </p:cNvPr>
          <p:cNvSpPr/>
          <p:nvPr/>
        </p:nvSpPr>
        <p:spPr>
          <a:xfrm>
            <a:off x="8258385" y="4888405"/>
            <a:ext cx="123615" cy="123615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7417" name="Oval 7416">
            <a:extLst>
              <a:ext uri="{FF2B5EF4-FFF2-40B4-BE49-F238E27FC236}">
                <a16:creationId xmlns:a16="http://schemas.microsoft.com/office/drawing/2014/main" id="{E47B9C62-DF93-115E-0CE2-88914C33F203}"/>
              </a:ext>
            </a:extLst>
          </p:cNvPr>
          <p:cNvSpPr/>
          <p:nvPr/>
        </p:nvSpPr>
        <p:spPr>
          <a:xfrm>
            <a:off x="8426025" y="5071285"/>
            <a:ext cx="123615" cy="123615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7418" name="Oval 7417">
            <a:extLst>
              <a:ext uri="{FF2B5EF4-FFF2-40B4-BE49-F238E27FC236}">
                <a16:creationId xmlns:a16="http://schemas.microsoft.com/office/drawing/2014/main" id="{5F8EA946-FCBB-14BF-14D9-9A9823DB0DC5}"/>
              </a:ext>
            </a:extLst>
          </p:cNvPr>
          <p:cNvSpPr/>
          <p:nvPr/>
        </p:nvSpPr>
        <p:spPr>
          <a:xfrm>
            <a:off x="8220285" y="5162725"/>
            <a:ext cx="123615" cy="123615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7422" name="Oval 7421">
            <a:extLst>
              <a:ext uri="{FF2B5EF4-FFF2-40B4-BE49-F238E27FC236}">
                <a16:creationId xmlns:a16="http://schemas.microsoft.com/office/drawing/2014/main" id="{FC65FEB0-3572-1B21-DCF3-9A1A15A3E5D8}"/>
              </a:ext>
            </a:extLst>
          </p:cNvPr>
          <p:cNvSpPr/>
          <p:nvPr/>
        </p:nvSpPr>
        <p:spPr>
          <a:xfrm>
            <a:off x="6161440" y="5088408"/>
            <a:ext cx="53940" cy="45720"/>
          </a:xfrm>
          <a:prstGeom prst="ellipse">
            <a:avLst/>
          </a:prstGeom>
          <a:solidFill>
            <a:srgbClr val="35556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7423" name="Oval 7422">
            <a:extLst>
              <a:ext uri="{FF2B5EF4-FFF2-40B4-BE49-F238E27FC236}">
                <a16:creationId xmlns:a16="http://schemas.microsoft.com/office/drawing/2014/main" id="{6421E5A1-06EB-336A-3F08-D3DA77D1B8EA}"/>
              </a:ext>
            </a:extLst>
          </p:cNvPr>
          <p:cNvSpPr/>
          <p:nvPr/>
        </p:nvSpPr>
        <p:spPr>
          <a:xfrm>
            <a:off x="6313840" y="5028878"/>
            <a:ext cx="53940" cy="45720"/>
          </a:xfrm>
          <a:prstGeom prst="ellipse">
            <a:avLst/>
          </a:prstGeom>
          <a:solidFill>
            <a:srgbClr val="35556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7424" name="Oval 7423">
            <a:extLst>
              <a:ext uri="{FF2B5EF4-FFF2-40B4-BE49-F238E27FC236}">
                <a16:creationId xmlns:a16="http://schemas.microsoft.com/office/drawing/2014/main" id="{5A629228-7980-503F-FB29-26979D4CB46C}"/>
              </a:ext>
            </a:extLst>
          </p:cNvPr>
          <p:cNvSpPr/>
          <p:nvPr/>
        </p:nvSpPr>
        <p:spPr>
          <a:xfrm>
            <a:off x="6182566" y="4900352"/>
            <a:ext cx="53940" cy="45720"/>
          </a:xfrm>
          <a:prstGeom prst="ellipse">
            <a:avLst/>
          </a:prstGeom>
          <a:solidFill>
            <a:srgbClr val="35556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7402" name="Oval 7401">
            <a:extLst>
              <a:ext uri="{FF2B5EF4-FFF2-40B4-BE49-F238E27FC236}">
                <a16:creationId xmlns:a16="http://schemas.microsoft.com/office/drawing/2014/main" id="{190B40DD-752E-DD09-6D5B-BC39840270B9}"/>
              </a:ext>
            </a:extLst>
          </p:cNvPr>
          <p:cNvSpPr/>
          <p:nvPr/>
        </p:nvSpPr>
        <p:spPr>
          <a:xfrm>
            <a:off x="9167873" y="6505539"/>
            <a:ext cx="1321387" cy="326548"/>
          </a:xfrm>
          <a:prstGeom prst="ellipse">
            <a:avLst/>
          </a:prstGeom>
          <a:solidFill>
            <a:schemeClr val="tx1">
              <a:alpha val="5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7394" name="Free-form: Shape 7393">
            <a:extLst>
              <a:ext uri="{FF2B5EF4-FFF2-40B4-BE49-F238E27FC236}">
                <a16:creationId xmlns:a16="http://schemas.microsoft.com/office/drawing/2014/main" id="{59FA9395-854C-A052-8CEA-0C669E871B1A}"/>
              </a:ext>
            </a:extLst>
          </p:cNvPr>
          <p:cNvSpPr/>
          <p:nvPr/>
        </p:nvSpPr>
        <p:spPr>
          <a:xfrm>
            <a:off x="8846865" y="4852488"/>
            <a:ext cx="1947515" cy="1861743"/>
          </a:xfrm>
          <a:custGeom>
            <a:avLst/>
            <a:gdLst>
              <a:gd name="csX0" fmla="*/ 401579 w 1609516"/>
              <a:gd name="csY0" fmla="*/ 1495809 h 1538630"/>
              <a:gd name="csX1" fmla="*/ 400190 w 1609516"/>
              <a:gd name="csY1" fmla="*/ 1496004 h 1538630"/>
              <a:gd name="csX2" fmla="*/ 401224 w 1609516"/>
              <a:gd name="csY2" fmla="*/ 1496470 h 1538630"/>
              <a:gd name="csX3" fmla="*/ 401224 w 1609516"/>
              <a:gd name="csY3" fmla="*/ 1498590 h 1538630"/>
              <a:gd name="csX4" fmla="*/ 401579 w 1609516"/>
              <a:gd name="csY4" fmla="*/ 1498628 h 1538630"/>
              <a:gd name="csX5" fmla="*/ 401579 w 1609516"/>
              <a:gd name="csY5" fmla="*/ 1495809 h 1538630"/>
              <a:gd name="csX6" fmla="*/ 368755 w 1609516"/>
              <a:gd name="csY6" fmla="*/ 1486512 h 1538630"/>
              <a:gd name="csX7" fmla="*/ 364089 w 1609516"/>
              <a:gd name="csY7" fmla="*/ 1487354 h 1538630"/>
              <a:gd name="csX8" fmla="*/ 364089 w 1609516"/>
              <a:gd name="csY8" fmla="*/ 1487908 h 1538630"/>
              <a:gd name="csX9" fmla="*/ 1049801 w 1609516"/>
              <a:gd name="csY9" fmla="*/ 1484562 h 1538630"/>
              <a:gd name="csX10" fmla="*/ 1046735 w 1609516"/>
              <a:gd name="csY10" fmla="*/ 1485945 h 1538630"/>
              <a:gd name="csX11" fmla="*/ 1046955 w 1609516"/>
              <a:gd name="csY11" fmla="*/ 1486045 h 1538630"/>
              <a:gd name="csX12" fmla="*/ 1049801 w 1609516"/>
              <a:gd name="csY12" fmla="*/ 1485188 h 1538630"/>
              <a:gd name="csX13" fmla="*/ 351234 w 1609516"/>
              <a:gd name="csY13" fmla="*/ 1444508 h 1538630"/>
              <a:gd name="csX14" fmla="*/ 351234 w 1609516"/>
              <a:gd name="csY14" fmla="*/ 1444997 h 1538630"/>
              <a:gd name="csX15" fmla="*/ 351592 w 1609516"/>
              <a:gd name="csY15" fmla="*/ 1445078 h 1538630"/>
              <a:gd name="csX16" fmla="*/ 351908 w 1609516"/>
              <a:gd name="csY16" fmla="*/ 1431206 h 1538630"/>
              <a:gd name="csX17" fmla="*/ 351234 w 1609516"/>
              <a:gd name="csY17" fmla="*/ 1431611 h 1538630"/>
              <a:gd name="csX18" fmla="*/ 351234 w 1609516"/>
              <a:gd name="csY18" fmla="*/ 1432274 h 1538630"/>
              <a:gd name="csX19" fmla="*/ 358162 w 1609516"/>
              <a:gd name="csY19" fmla="*/ 1421494 h 1538630"/>
              <a:gd name="csX20" fmla="*/ 355921 w 1609516"/>
              <a:gd name="csY20" fmla="*/ 1423156 h 1538630"/>
              <a:gd name="csX21" fmla="*/ 355921 w 1609516"/>
              <a:gd name="csY21" fmla="*/ 1423548 h 1538630"/>
              <a:gd name="csX22" fmla="*/ 376098 w 1609516"/>
              <a:gd name="csY22" fmla="*/ 1408347 h 1538630"/>
              <a:gd name="csX23" fmla="*/ 370750 w 1609516"/>
              <a:gd name="csY23" fmla="*/ 1412245 h 1538630"/>
              <a:gd name="csX24" fmla="*/ 375023 w 1609516"/>
              <a:gd name="csY24" fmla="*/ 1411256 h 1538630"/>
              <a:gd name="csX25" fmla="*/ 421956 w 1609516"/>
              <a:gd name="csY25" fmla="*/ 1365623 h 1538630"/>
              <a:gd name="csX26" fmla="*/ 421765 w 1609516"/>
              <a:gd name="csY26" fmla="*/ 1366161 h 1538630"/>
              <a:gd name="csX27" fmla="*/ 421887 w 1609516"/>
              <a:gd name="csY27" fmla="*/ 1366161 h 1538630"/>
              <a:gd name="csX28" fmla="*/ 754553 w 1609516"/>
              <a:gd name="csY28" fmla="*/ 1360575 h 1538630"/>
              <a:gd name="csX29" fmla="*/ 754089 w 1609516"/>
              <a:gd name="csY29" fmla="*/ 1361433 h 1538630"/>
              <a:gd name="csX30" fmla="*/ 754431 w 1609516"/>
              <a:gd name="csY30" fmla="*/ 1361125 h 1538630"/>
              <a:gd name="csX31" fmla="*/ 1277973 w 1609516"/>
              <a:gd name="csY31" fmla="*/ 1332923 h 1538630"/>
              <a:gd name="csX32" fmla="*/ 1277944 w 1609516"/>
              <a:gd name="csY32" fmla="*/ 1332936 h 1538630"/>
              <a:gd name="csX33" fmla="*/ 1277949 w 1609516"/>
              <a:gd name="csY33" fmla="*/ 1333139 h 1538630"/>
              <a:gd name="csX34" fmla="*/ 1268556 w 1609516"/>
              <a:gd name="csY34" fmla="*/ 1321066 h 1538630"/>
              <a:gd name="csX35" fmla="*/ 1268556 w 1609516"/>
              <a:gd name="csY35" fmla="*/ 1325294 h 1538630"/>
              <a:gd name="csX36" fmla="*/ 1265432 w 1609516"/>
              <a:gd name="csY36" fmla="*/ 1325294 h 1538630"/>
              <a:gd name="csX37" fmla="*/ 1265432 w 1609516"/>
              <a:gd name="csY37" fmla="*/ 1340795 h 1538630"/>
              <a:gd name="csX38" fmla="*/ 1265476 w 1609516"/>
              <a:gd name="csY38" fmla="*/ 1340714 h 1538630"/>
              <a:gd name="csX39" fmla="*/ 1265476 w 1609516"/>
              <a:gd name="csY39" fmla="*/ 1325877 h 1538630"/>
              <a:gd name="csX40" fmla="*/ 1268600 w 1609516"/>
              <a:gd name="csY40" fmla="*/ 1325877 h 1538630"/>
              <a:gd name="csX41" fmla="*/ 1268600 w 1609516"/>
              <a:gd name="csY41" fmla="*/ 1321649 h 1538630"/>
              <a:gd name="csX42" fmla="*/ 1273286 w 1609516"/>
              <a:gd name="csY42" fmla="*/ 1321649 h 1538630"/>
              <a:gd name="csX43" fmla="*/ 1273227 w 1609516"/>
              <a:gd name="csY43" fmla="*/ 1321066 h 1538630"/>
              <a:gd name="csX44" fmla="*/ 827891 w 1609516"/>
              <a:gd name="csY44" fmla="*/ 1291474 h 1538630"/>
              <a:gd name="csX45" fmla="*/ 822601 w 1609516"/>
              <a:gd name="csY45" fmla="*/ 1291544 h 1538630"/>
              <a:gd name="csX46" fmla="*/ 818272 w 1609516"/>
              <a:gd name="csY46" fmla="*/ 1292220 h 1538630"/>
              <a:gd name="csX47" fmla="*/ 827891 w 1609516"/>
              <a:gd name="csY47" fmla="*/ 1292047 h 1538630"/>
              <a:gd name="csX48" fmla="*/ 856397 w 1609516"/>
              <a:gd name="csY48" fmla="*/ 1288691 h 1538630"/>
              <a:gd name="csX49" fmla="*/ 865903 w 1609516"/>
              <a:gd name="csY49" fmla="*/ 1290590 h 1538630"/>
              <a:gd name="csX50" fmla="*/ 859999 w 1609516"/>
              <a:gd name="csY50" fmla="*/ 1288752 h 1538630"/>
              <a:gd name="csX51" fmla="*/ 834694 w 1609516"/>
              <a:gd name="csY51" fmla="*/ 1288572 h 1538630"/>
              <a:gd name="csX52" fmla="*/ 828038 w 1609516"/>
              <a:gd name="csY52" fmla="*/ 1288654 h 1538630"/>
              <a:gd name="csX53" fmla="*/ 828038 w 1609516"/>
              <a:gd name="csY53" fmla="*/ 1289214 h 1538630"/>
              <a:gd name="csX54" fmla="*/ 229746 w 1609516"/>
              <a:gd name="csY54" fmla="*/ 1191418 h 1538630"/>
              <a:gd name="csX55" fmla="*/ 227402 w 1609516"/>
              <a:gd name="csY55" fmla="*/ 1191947 h 1538630"/>
              <a:gd name="csX56" fmla="*/ 229315 w 1609516"/>
              <a:gd name="csY56" fmla="*/ 1191947 h 1538630"/>
              <a:gd name="csX57" fmla="*/ 229315 w 1609516"/>
              <a:gd name="csY57" fmla="*/ 1194765 h 1538630"/>
              <a:gd name="csX58" fmla="*/ 231321 w 1609516"/>
              <a:gd name="csY58" fmla="*/ 1194765 h 1538630"/>
              <a:gd name="csX59" fmla="*/ 229746 w 1609516"/>
              <a:gd name="csY59" fmla="*/ 1194236 h 1538630"/>
              <a:gd name="csX60" fmla="*/ 229746 w 1609516"/>
              <a:gd name="csY60" fmla="*/ 1191418 h 1538630"/>
              <a:gd name="csX61" fmla="*/ 215687 w 1609516"/>
              <a:gd name="csY61" fmla="*/ 1187190 h 1538630"/>
              <a:gd name="csX62" fmla="*/ 215198 w 1609516"/>
              <a:gd name="csY62" fmla="*/ 1187720 h 1538630"/>
              <a:gd name="csX63" fmla="*/ 215256 w 1609516"/>
              <a:gd name="csY63" fmla="*/ 1187720 h 1538630"/>
              <a:gd name="csX64" fmla="*/ 215256 w 1609516"/>
              <a:gd name="csY64" fmla="*/ 1191947 h 1538630"/>
              <a:gd name="csX65" fmla="*/ 222721 w 1609516"/>
              <a:gd name="csY65" fmla="*/ 1191947 h 1538630"/>
              <a:gd name="csX66" fmla="*/ 215687 w 1609516"/>
              <a:gd name="csY66" fmla="*/ 1191418 h 1538630"/>
              <a:gd name="csX67" fmla="*/ 215687 w 1609516"/>
              <a:gd name="csY67" fmla="*/ 1187190 h 1538630"/>
              <a:gd name="csX68" fmla="*/ 1279678 w 1609516"/>
              <a:gd name="csY68" fmla="*/ 1082356 h 1538630"/>
              <a:gd name="csX69" fmla="*/ 1271680 w 1609516"/>
              <a:gd name="csY69" fmla="*/ 1084589 h 1538630"/>
              <a:gd name="csX70" fmla="*/ 1282181 w 1609516"/>
              <a:gd name="csY70" fmla="*/ 1082544 h 1538630"/>
              <a:gd name="csX71" fmla="*/ 117703 w 1609516"/>
              <a:gd name="csY71" fmla="*/ 941507 h 1538630"/>
              <a:gd name="csX72" fmla="*/ 112587 w 1609516"/>
              <a:gd name="csY72" fmla="*/ 941985 h 1538630"/>
              <a:gd name="csX73" fmla="*/ 112565 w 1609516"/>
              <a:gd name="csY73" fmla="*/ 942333 h 1538630"/>
              <a:gd name="csX74" fmla="*/ 115665 w 1609516"/>
              <a:gd name="csY74" fmla="*/ 941837 h 1538630"/>
              <a:gd name="csX75" fmla="*/ 144268 w 1609516"/>
              <a:gd name="csY75" fmla="*/ 939395 h 1538630"/>
              <a:gd name="csX76" fmla="*/ 143354 w 1609516"/>
              <a:gd name="csY76" fmla="*/ 939580 h 1538630"/>
              <a:gd name="csX77" fmla="*/ 144077 w 1609516"/>
              <a:gd name="csY77" fmla="*/ 939739 h 1538630"/>
              <a:gd name="csX78" fmla="*/ 162575 w 1609516"/>
              <a:gd name="csY78" fmla="*/ 933530 h 1538630"/>
              <a:gd name="csX79" fmla="*/ 161704 w 1609516"/>
              <a:gd name="csY79" fmla="*/ 935101 h 1538630"/>
              <a:gd name="csX80" fmla="*/ 170045 w 1609516"/>
              <a:gd name="csY80" fmla="*/ 933585 h 1538630"/>
              <a:gd name="csX81" fmla="*/ 1321645 w 1609516"/>
              <a:gd name="csY81" fmla="*/ 918415 h 1538630"/>
              <a:gd name="csX82" fmla="*/ 1321534 w 1609516"/>
              <a:gd name="csY82" fmla="*/ 920177 h 1538630"/>
              <a:gd name="csX83" fmla="*/ 1321740 w 1609516"/>
              <a:gd name="csY83" fmla="*/ 918415 h 1538630"/>
              <a:gd name="csX84" fmla="*/ 1319333 w 1609516"/>
              <a:gd name="csY84" fmla="*/ 915183 h 1538630"/>
              <a:gd name="csX85" fmla="*/ 1318544 w 1609516"/>
              <a:gd name="csY85" fmla="*/ 918029 h 1538630"/>
              <a:gd name="csX86" fmla="*/ 1318702 w 1609516"/>
              <a:gd name="csY86" fmla="*/ 918029 h 1538630"/>
              <a:gd name="csX87" fmla="*/ 1326355 w 1609516"/>
              <a:gd name="csY87" fmla="*/ 907109 h 1538630"/>
              <a:gd name="csX88" fmla="*/ 1326355 w 1609516"/>
              <a:gd name="csY88" fmla="*/ 910983 h 1538630"/>
              <a:gd name="csX89" fmla="*/ 1325831 w 1609516"/>
              <a:gd name="csY89" fmla="*/ 911101 h 1538630"/>
              <a:gd name="csX90" fmla="*/ 1326426 w 1609516"/>
              <a:gd name="csY90" fmla="*/ 911369 h 1538630"/>
              <a:gd name="csX91" fmla="*/ 1326426 w 1609516"/>
              <a:gd name="csY91" fmla="*/ 907141 h 1538630"/>
              <a:gd name="csX92" fmla="*/ 1328144 w 1609516"/>
              <a:gd name="csY92" fmla="*/ 892192 h 1538630"/>
              <a:gd name="csX93" fmla="*/ 1327667 w 1609516"/>
              <a:gd name="csY93" fmla="*/ 893446 h 1538630"/>
              <a:gd name="csX94" fmla="*/ 1327989 w 1609516"/>
              <a:gd name="csY94" fmla="*/ 893049 h 1538630"/>
              <a:gd name="csX95" fmla="*/ 49605 w 1609516"/>
              <a:gd name="csY95" fmla="*/ 887420 h 1538630"/>
              <a:gd name="csX96" fmla="*/ 48549 w 1609516"/>
              <a:gd name="csY96" fmla="*/ 891229 h 1538630"/>
              <a:gd name="csX97" fmla="*/ 49956 w 1609516"/>
              <a:gd name="csY97" fmla="*/ 887420 h 1538630"/>
              <a:gd name="csX98" fmla="*/ 1332266 w 1609516"/>
              <a:gd name="csY98" fmla="*/ 883369 h 1538630"/>
              <a:gd name="csX99" fmla="*/ 1329479 w 1609516"/>
              <a:gd name="csY99" fmla="*/ 884207 h 1538630"/>
              <a:gd name="csX100" fmla="*/ 1329509 w 1609516"/>
              <a:gd name="csY100" fmla="*/ 884816 h 1538630"/>
              <a:gd name="csX101" fmla="*/ 1329551 w 1609516"/>
              <a:gd name="csY101" fmla="*/ 884594 h 1538630"/>
              <a:gd name="csX102" fmla="*/ 1555987 w 1609516"/>
              <a:gd name="csY102" fmla="*/ 821766 h 1538630"/>
              <a:gd name="csX103" fmla="*/ 1555987 w 1609516"/>
              <a:gd name="csY103" fmla="*/ 822201 h 1538630"/>
              <a:gd name="csX104" fmla="*/ 1556081 w 1609516"/>
              <a:gd name="csY104" fmla="*/ 822189 h 1538630"/>
              <a:gd name="csX105" fmla="*/ 1565360 w 1609516"/>
              <a:gd name="csY105" fmla="*/ 810928 h 1538630"/>
              <a:gd name="csX106" fmla="*/ 1564871 w 1609516"/>
              <a:gd name="csY106" fmla="*/ 811809 h 1538630"/>
              <a:gd name="csX107" fmla="*/ 1567314 w 1609516"/>
              <a:gd name="csY107" fmla="*/ 810928 h 1538630"/>
              <a:gd name="csX108" fmla="*/ 1563797 w 1609516"/>
              <a:gd name="csY108" fmla="*/ 810928 h 1538630"/>
              <a:gd name="csX109" fmla="*/ 1556762 w 1609516"/>
              <a:gd name="csY109" fmla="*/ 814736 h 1538630"/>
              <a:gd name="csX110" fmla="*/ 1563797 w 1609516"/>
              <a:gd name="csY110" fmla="*/ 812197 h 1538630"/>
              <a:gd name="csX111" fmla="*/ 265833 w 1609516"/>
              <a:gd name="csY111" fmla="*/ 806020 h 1538630"/>
              <a:gd name="csX112" fmla="*/ 263704 w 1609516"/>
              <a:gd name="csY112" fmla="*/ 809861 h 1538630"/>
              <a:gd name="csX113" fmla="*/ 263704 w 1609516"/>
              <a:gd name="csY113" fmla="*/ 816750 h 1538630"/>
              <a:gd name="csX114" fmla="*/ 264113 w 1609516"/>
              <a:gd name="csY114" fmla="*/ 816565 h 1538630"/>
              <a:gd name="csX115" fmla="*/ 263918 w 1609516"/>
              <a:gd name="csY115" fmla="*/ 812777 h 1538630"/>
              <a:gd name="csX116" fmla="*/ 263774 w 1609516"/>
              <a:gd name="csY116" fmla="*/ 779374 h 1538630"/>
              <a:gd name="csX117" fmla="*/ 263704 w 1609516"/>
              <a:gd name="csY117" fmla="*/ 783086 h 1538630"/>
              <a:gd name="csX118" fmla="*/ 264484 w 1609516"/>
              <a:gd name="csY118" fmla="*/ 785816 h 1538630"/>
              <a:gd name="csX119" fmla="*/ 265265 w 1609516"/>
              <a:gd name="csY119" fmla="*/ 794448 h 1538630"/>
              <a:gd name="csX120" fmla="*/ 265217 w 1609516"/>
              <a:gd name="csY120" fmla="*/ 799730 h 1538630"/>
              <a:gd name="csX121" fmla="*/ 266556 w 1609516"/>
              <a:gd name="csY121" fmla="*/ 803466 h 1538630"/>
              <a:gd name="csX122" fmla="*/ 267237 w 1609516"/>
              <a:gd name="csY122" fmla="*/ 801063 h 1538630"/>
              <a:gd name="csX123" fmla="*/ 265675 w 1609516"/>
              <a:gd name="csY123" fmla="*/ 799654 h 1538630"/>
              <a:gd name="csX124" fmla="*/ 265675 w 1609516"/>
              <a:gd name="csY124" fmla="*/ 793841 h 1538630"/>
              <a:gd name="csX125" fmla="*/ 260988 w 1609516"/>
              <a:gd name="csY125" fmla="*/ 770061 h 1538630"/>
              <a:gd name="csX126" fmla="*/ 260988 w 1609516"/>
              <a:gd name="csY126" fmla="*/ 771364 h 1538630"/>
              <a:gd name="csX127" fmla="*/ 263497 w 1609516"/>
              <a:gd name="csY127" fmla="*/ 777263 h 1538630"/>
              <a:gd name="csX128" fmla="*/ 262551 w 1609516"/>
              <a:gd name="csY128" fmla="*/ 770061 h 1538630"/>
              <a:gd name="csX129" fmla="*/ 260988 w 1609516"/>
              <a:gd name="csY129" fmla="*/ 770061 h 1538630"/>
              <a:gd name="csX130" fmla="*/ 157888 w 1609516"/>
              <a:gd name="csY130" fmla="*/ 651686 h 1538630"/>
              <a:gd name="csX131" fmla="*/ 157415 w 1609516"/>
              <a:gd name="csY131" fmla="*/ 651764 h 1538630"/>
              <a:gd name="csX132" fmla="*/ 160373 w 1609516"/>
              <a:gd name="csY132" fmla="*/ 652274 h 1538630"/>
              <a:gd name="csX133" fmla="*/ 267237 w 1609516"/>
              <a:gd name="csY133" fmla="*/ 426537 h 1538630"/>
              <a:gd name="csX134" fmla="*/ 267237 w 1609516"/>
              <a:gd name="csY134" fmla="*/ 427619 h 1538630"/>
              <a:gd name="csX135" fmla="*/ 270380 w 1609516"/>
              <a:gd name="csY135" fmla="*/ 428137 h 1538630"/>
              <a:gd name="csX136" fmla="*/ 273548 w 1609516"/>
              <a:gd name="csY136" fmla="*/ 428680 h 1538630"/>
              <a:gd name="csX137" fmla="*/ 37605 w 1609516"/>
              <a:gd name="csY137" fmla="*/ 359270 h 1538630"/>
              <a:gd name="csX138" fmla="*/ 37103 w 1609516"/>
              <a:gd name="csY138" fmla="*/ 361533 h 1538630"/>
              <a:gd name="csX139" fmla="*/ 37605 w 1609516"/>
              <a:gd name="csY139" fmla="*/ 361382 h 1538630"/>
              <a:gd name="csX140" fmla="*/ 52477 w 1609516"/>
              <a:gd name="csY140" fmla="*/ 337570 h 1538630"/>
              <a:gd name="csX141" fmla="*/ 47288 w 1609516"/>
              <a:gd name="csY141" fmla="*/ 342340 h 1538630"/>
              <a:gd name="csX142" fmla="*/ 45805 w 1609516"/>
              <a:gd name="csY142" fmla="*/ 345093 h 1538630"/>
              <a:gd name="csX143" fmla="*/ 104291 w 1609516"/>
              <a:gd name="csY143" fmla="*/ 336166 h 1538630"/>
              <a:gd name="csX144" fmla="*/ 103776 w 1609516"/>
              <a:gd name="csY144" fmla="*/ 337559 h 1538630"/>
              <a:gd name="csX145" fmla="*/ 108925 w 1609516"/>
              <a:gd name="csY145" fmla="*/ 336166 h 1538630"/>
              <a:gd name="csX146" fmla="*/ 1309237 w 1609516"/>
              <a:gd name="csY146" fmla="*/ 322954 h 1538630"/>
              <a:gd name="csX147" fmla="*/ 1309180 w 1609516"/>
              <a:gd name="csY147" fmla="*/ 330559 h 1538630"/>
              <a:gd name="csX148" fmla="*/ 1309237 w 1609516"/>
              <a:gd name="csY148" fmla="*/ 330520 h 1538630"/>
              <a:gd name="csX149" fmla="*/ 1308964 w 1609516"/>
              <a:gd name="csY149" fmla="*/ 317715 h 1538630"/>
              <a:gd name="csX150" fmla="*/ 1309237 w 1609516"/>
              <a:gd name="csY150" fmla="*/ 318569 h 1538630"/>
              <a:gd name="csX151" fmla="*/ 1309237 w 1609516"/>
              <a:gd name="csY151" fmla="*/ 317838 h 1538630"/>
              <a:gd name="csX152" fmla="*/ 1310087 w 1609516"/>
              <a:gd name="csY152" fmla="*/ 313153 h 1538630"/>
              <a:gd name="csX153" fmla="*/ 1307609 w 1609516"/>
              <a:gd name="csY153" fmla="*/ 313473 h 1538630"/>
              <a:gd name="csX154" fmla="*/ 1308045 w 1609516"/>
              <a:gd name="csY154" fmla="*/ 314836 h 1538630"/>
              <a:gd name="csX155" fmla="*/ 1318544 w 1609516"/>
              <a:gd name="csY155" fmla="*/ 312064 h 1538630"/>
              <a:gd name="csX156" fmla="*/ 1316298 w 1609516"/>
              <a:gd name="csY156" fmla="*/ 312353 h 1538630"/>
              <a:gd name="csX157" fmla="*/ 1318544 w 1609516"/>
              <a:gd name="csY157" fmla="*/ 312205 h 1538630"/>
              <a:gd name="csX158" fmla="*/ 1084622 w 1609516"/>
              <a:gd name="csY158" fmla="*/ 267674 h 1538630"/>
              <a:gd name="csX159" fmla="*/ 1084227 w 1609516"/>
              <a:gd name="csY159" fmla="*/ 268378 h 1538630"/>
              <a:gd name="csX160" fmla="*/ 1079540 w 1609516"/>
              <a:gd name="csY160" fmla="*/ 268378 h 1538630"/>
              <a:gd name="csX161" fmla="*/ 1079603 w 1609516"/>
              <a:gd name="csY161" fmla="*/ 268477 h 1538630"/>
              <a:gd name="csX162" fmla="*/ 1084192 w 1609516"/>
              <a:gd name="csY162" fmla="*/ 268477 h 1538630"/>
              <a:gd name="csX163" fmla="*/ 956410 w 1609516"/>
              <a:gd name="csY163" fmla="*/ 266968 h 1538630"/>
              <a:gd name="csX164" fmla="*/ 957576 w 1609516"/>
              <a:gd name="csY164" fmla="*/ 267083 h 1538630"/>
              <a:gd name="csX165" fmla="*/ 957576 w 1609516"/>
              <a:gd name="csY165" fmla="*/ 269776 h 1538630"/>
              <a:gd name="csX166" fmla="*/ 957694 w 1609516"/>
              <a:gd name="csY166" fmla="*/ 269787 h 1538630"/>
              <a:gd name="csX167" fmla="*/ 957694 w 1609516"/>
              <a:gd name="csY167" fmla="*/ 266968 h 1538630"/>
              <a:gd name="csX168" fmla="*/ 1089372 w 1609516"/>
              <a:gd name="csY168" fmla="*/ 259220 h 1538630"/>
              <a:gd name="csX169" fmla="*/ 1085856 w 1609516"/>
              <a:gd name="csY169" fmla="*/ 265479 h 1538630"/>
              <a:gd name="csX170" fmla="*/ 1088878 w 1609516"/>
              <a:gd name="csY170" fmla="*/ 261431 h 1538630"/>
              <a:gd name="csX171" fmla="*/ 1018517 w 1609516"/>
              <a:gd name="csY171" fmla="*/ 223356 h 1538630"/>
              <a:gd name="csX172" fmla="*/ 1013866 w 1609516"/>
              <a:gd name="csY172" fmla="*/ 226190 h 1538630"/>
              <a:gd name="csX173" fmla="*/ 1013024 w 1609516"/>
              <a:gd name="csY173" fmla="*/ 227709 h 1538630"/>
              <a:gd name="csX174" fmla="*/ 1017055 w 1609516"/>
              <a:gd name="csY174" fmla="*/ 224692 h 1538630"/>
              <a:gd name="csX175" fmla="*/ 850645 w 1609516"/>
              <a:gd name="csY175" fmla="*/ 220099 h 1538630"/>
              <a:gd name="csX176" fmla="*/ 850897 w 1609516"/>
              <a:gd name="csY176" fmla="*/ 221488 h 1538630"/>
              <a:gd name="csX177" fmla="*/ 851470 w 1609516"/>
              <a:gd name="csY177" fmla="*/ 224692 h 1538630"/>
              <a:gd name="csX178" fmla="*/ 852860 w 1609516"/>
              <a:gd name="csY178" fmla="*/ 224692 h 1538630"/>
              <a:gd name="csX179" fmla="*/ 1155019 w 1609516"/>
              <a:gd name="csY179" fmla="*/ 35 h 1538630"/>
              <a:gd name="csX180" fmla="*/ 1174829 w 1609516"/>
              <a:gd name="csY180" fmla="*/ 4853 h 1538630"/>
              <a:gd name="csX181" fmla="*/ 1179418 w 1609516"/>
              <a:gd name="csY181" fmla="*/ 5998 h 1538630"/>
              <a:gd name="csX182" fmla="*/ 1201385 w 1609516"/>
              <a:gd name="csY182" fmla="*/ 22997 h 1538630"/>
              <a:gd name="csX183" fmla="*/ 1201678 w 1609516"/>
              <a:gd name="csY183" fmla="*/ 62191 h 1538630"/>
              <a:gd name="csX184" fmla="*/ 1198261 w 1609516"/>
              <a:gd name="csY184" fmla="*/ 68268 h 1538630"/>
              <a:gd name="csX185" fmla="*/ 1195723 w 1609516"/>
              <a:gd name="csY185" fmla="*/ 72672 h 1538630"/>
              <a:gd name="csX186" fmla="*/ 1193575 w 1609516"/>
              <a:gd name="csY186" fmla="*/ 75314 h 1538630"/>
              <a:gd name="csX187" fmla="*/ 1190450 w 1609516"/>
              <a:gd name="csY187" fmla="*/ 75314 h 1538630"/>
              <a:gd name="csX188" fmla="*/ 1189474 w 1609516"/>
              <a:gd name="csY188" fmla="*/ 79366 h 1538630"/>
              <a:gd name="csX189" fmla="*/ 1182445 w 1609516"/>
              <a:gd name="csY189" fmla="*/ 85707 h 1538630"/>
              <a:gd name="csX190" fmla="*/ 1177953 w 1609516"/>
              <a:gd name="csY190" fmla="*/ 86588 h 1538630"/>
              <a:gd name="csX191" fmla="*/ 1177953 w 1609516"/>
              <a:gd name="csY191" fmla="*/ 89406 h 1538630"/>
              <a:gd name="csX192" fmla="*/ 1170045 w 1609516"/>
              <a:gd name="csY192" fmla="*/ 94251 h 1538630"/>
              <a:gd name="csX193" fmla="*/ 1143806 w 1609516"/>
              <a:gd name="csY193" fmla="*/ 132828 h 1538630"/>
              <a:gd name="csX194" fmla="*/ 1137338 w 1609516"/>
              <a:gd name="csY194" fmla="*/ 141548 h 1538630"/>
              <a:gd name="csX195" fmla="*/ 1133970 w 1609516"/>
              <a:gd name="csY195" fmla="*/ 149403 h 1538630"/>
              <a:gd name="csX196" fmla="*/ 1127965 w 1609516"/>
              <a:gd name="csY196" fmla="*/ 164095 h 1538630"/>
              <a:gd name="csX197" fmla="*/ 1124762 w 1609516"/>
              <a:gd name="csY197" fmla="*/ 171802 h 1538630"/>
              <a:gd name="csX198" fmla="*/ 1119359 w 1609516"/>
              <a:gd name="csY198" fmla="*/ 184798 h 1538630"/>
              <a:gd name="csX199" fmla="*/ 1111014 w 1609516"/>
              <a:gd name="csY199" fmla="*/ 204941 h 1538630"/>
              <a:gd name="csX200" fmla="*/ 1109729 w 1609516"/>
              <a:gd name="csY200" fmla="*/ 208059 h 1538630"/>
              <a:gd name="csX201" fmla="*/ 1106395 w 1609516"/>
              <a:gd name="csY201" fmla="*/ 216170 h 1538630"/>
              <a:gd name="csX202" fmla="*/ 1102147 w 1609516"/>
              <a:gd name="csY202" fmla="*/ 224810 h 1538630"/>
              <a:gd name="csX203" fmla="*/ 1098261 w 1609516"/>
              <a:gd name="csY203" fmla="*/ 227262 h 1538630"/>
              <a:gd name="csX204" fmla="*/ 1098367 w 1609516"/>
              <a:gd name="csY204" fmla="*/ 238475 h 1538630"/>
              <a:gd name="csX205" fmla="*/ 1097331 w 1609516"/>
              <a:gd name="csY205" fmla="*/ 242358 h 1538630"/>
              <a:gd name="csX206" fmla="*/ 1096201 w 1609516"/>
              <a:gd name="csY206" fmla="*/ 246458 h 1538630"/>
              <a:gd name="csX207" fmla="*/ 1089440 w 1609516"/>
              <a:gd name="csY207" fmla="*/ 279206 h 1538630"/>
              <a:gd name="csX208" fmla="*/ 1087316 w 1609516"/>
              <a:gd name="csY208" fmla="*/ 283978 h 1538630"/>
              <a:gd name="csX209" fmla="*/ 1086822 w 1609516"/>
              <a:gd name="csY209" fmla="*/ 291822 h 1538630"/>
              <a:gd name="csX210" fmla="*/ 1086623 w 1609516"/>
              <a:gd name="csY210" fmla="*/ 296625 h 1538630"/>
              <a:gd name="csX211" fmla="*/ 1086437 w 1609516"/>
              <a:gd name="csY211" fmla="*/ 301681 h 1538630"/>
              <a:gd name="csX212" fmla="*/ 1086233 w 1609516"/>
              <a:gd name="csY212" fmla="*/ 306754 h 1538630"/>
              <a:gd name="csX213" fmla="*/ 1086007 w 1609516"/>
              <a:gd name="csY213" fmla="*/ 312619 h 1538630"/>
              <a:gd name="csX214" fmla="*/ 1087470 w 1609516"/>
              <a:gd name="csY214" fmla="*/ 320554 h 1538630"/>
              <a:gd name="csX215" fmla="*/ 1098285 w 1609516"/>
              <a:gd name="csY215" fmla="*/ 334611 h 1538630"/>
              <a:gd name="csX216" fmla="*/ 1102607 w 1609516"/>
              <a:gd name="csY216" fmla="*/ 337679 h 1538630"/>
              <a:gd name="csX217" fmla="*/ 1106095 w 1609516"/>
              <a:gd name="csY217" fmla="*/ 340248 h 1538630"/>
              <a:gd name="csX218" fmla="*/ 1106095 w 1609516"/>
              <a:gd name="csY218" fmla="*/ 343066 h 1538630"/>
              <a:gd name="csX219" fmla="*/ 1109220 w 1609516"/>
              <a:gd name="csY219" fmla="*/ 343419 h 1538630"/>
              <a:gd name="csX220" fmla="*/ 1126403 w 1609516"/>
              <a:gd name="csY220" fmla="*/ 350112 h 1538630"/>
              <a:gd name="csX221" fmla="*/ 1131871 w 1609516"/>
              <a:gd name="csY221" fmla="*/ 352579 h 1538630"/>
              <a:gd name="csX222" fmla="*/ 1135776 w 1609516"/>
              <a:gd name="csY222" fmla="*/ 354340 h 1538630"/>
              <a:gd name="csX223" fmla="*/ 1135776 w 1609516"/>
              <a:gd name="csY223" fmla="*/ 357158 h 1538630"/>
              <a:gd name="csX224" fmla="*/ 1170143 w 1609516"/>
              <a:gd name="csY224" fmla="*/ 354340 h 1538630"/>
              <a:gd name="csX225" fmla="*/ 1174634 w 1609516"/>
              <a:gd name="csY225" fmla="*/ 352579 h 1538630"/>
              <a:gd name="csX226" fmla="*/ 1190890 w 1609516"/>
              <a:gd name="csY226" fmla="*/ 342907 h 1538630"/>
              <a:gd name="csX227" fmla="*/ 1204021 w 1609516"/>
              <a:gd name="csY227" fmla="*/ 335404 h 1538630"/>
              <a:gd name="csX228" fmla="*/ 1223255 w 1609516"/>
              <a:gd name="csY228" fmla="*/ 319110 h 1538630"/>
              <a:gd name="csX229" fmla="*/ 1226868 w 1609516"/>
              <a:gd name="csY229" fmla="*/ 315587 h 1538630"/>
              <a:gd name="csX230" fmla="*/ 1231859 w 1609516"/>
              <a:gd name="csY230" fmla="*/ 303559 h 1538630"/>
              <a:gd name="csX231" fmla="*/ 1234178 w 1609516"/>
              <a:gd name="csY231" fmla="*/ 298059 h 1538630"/>
              <a:gd name="csX232" fmla="*/ 1237314 w 1609516"/>
              <a:gd name="csY232" fmla="*/ 288195 h 1538630"/>
              <a:gd name="csX233" fmla="*/ 1249811 w 1609516"/>
              <a:gd name="csY233" fmla="*/ 265559 h 1538630"/>
              <a:gd name="csX234" fmla="*/ 1252935 w 1609516"/>
              <a:gd name="csY234" fmla="*/ 265559 h 1538630"/>
              <a:gd name="csX235" fmla="*/ 1252935 w 1609516"/>
              <a:gd name="csY235" fmla="*/ 262741 h 1538630"/>
              <a:gd name="csX236" fmla="*/ 1296675 w 1609516"/>
              <a:gd name="csY236" fmla="*/ 252876 h 1538630"/>
              <a:gd name="csX237" fmla="*/ 1307609 w 1609516"/>
              <a:gd name="csY237" fmla="*/ 255695 h 1538630"/>
              <a:gd name="csX238" fmla="*/ 1307609 w 1609516"/>
              <a:gd name="csY238" fmla="*/ 258513 h 1538630"/>
              <a:gd name="csX239" fmla="*/ 1311887 w 1609516"/>
              <a:gd name="csY239" fmla="*/ 258832 h 1538630"/>
              <a:gd name="csX240" fmla="*/ 1326715 w 1609516"/>
              <a:gd name="csY240" fmla="*/ 269969 h 1538630"/>
              <a:gd name="csX241" fmla="*/ 1334165 w 1609516"/>
              <a:gd name="csY241" fmla="*/ 307836 h 1538630"/>
              <a:gd name="csX242" fmla="*/ 1329479 w 1609516"/>
              <a:gd name="csY242" fmla="*/ 314882 h 1538630"/>
              <a:gd name="csX243" fmla="*/ 1323231 w 1609516"/>
              <a:gd name="csY243" fmla="*/ 314882 h 1538630"/>
              <a:gd name="csX244" fmla="*/ 1323231 w 1609516"/>
              <a:gd name="csY244" fmla="*/ 317700 h 1538630"/>
              <a:gd name="csX245" fmla="*/ 1322774 w 1609516"/>
              <a:gd name="csY245" fmla="*/ 317838 h 1538630"/>
              <a:gd name="csX246" fmla="*/ 1323295 w 1609516"/>
              <a:gd name="csY246" fmla="*/ 317838 h 1538630"/>
              <a:gd name="csX247" fmla="*/ 1323295 w 1609516"/>
              <a:gd name="csY247" fmla="*/ 315019 h 1538630"/>
              <a:gd name="csX248" fmla="*/ 1327982 w 1609516"/>
              <a:gd name="csY248" fmla="*/ 315019 h 1538630"/>
              <a:gd name="csX249" fmla="*/ 1317047 w 1609516"/>
              <a:gd name="csY249" fmla="*/ 327702 h 1538630"/>
              <a:gd name="csX250" fmla="*/ 1315484 w 1609516"/>
              <a:gd name="csY250" fmla="*/ 331930 h 1538630"/>
              <a:gd name="csX251" fmla="*/ 1309139 w 1609516"/>
              <a:gd name="csY251" fmla="*/ 333603 h 1538630"/>
              <a:gd name="csX252" fmla="*/ 1305666 w 1609516"/>
              <a:gd name="csY252" fmla="*/ 334280 h 1538630"/>
              <a:gd name="csX253" fmla="*/ 1302988 w 1609516"/>
              <a:gd name="csY253" fmla="*/ 334748 h 1538630"/>
              <a:gd name="csX254" fmla="*/ 1305905 w 1609516"/>
              <a:gd name="csY254" fmla="*/ 332775 h 1538630"/>
              <a:gd name="csX255" fmla="*/ 1304485 w 1609516"/>
              <a:gd name="csY255" fmla="*/ 333202 h 1538630"/>
              <a:gd name="csX256" fmla="*/ 1301459 w 1609516"/>
              <a:gd name="csY256" fmla="*/ 336108 h 1538630"/>
              <a:gd name="csX257" fmla="*/ 1291989 w 1609516"/>
              <a:gd name="csY257" fmla="*/ 338839 h 1538630"/>
              <a:gd name="csX258" fmla="*/ 1290426 w 1609516"/>
              <a:gd name="csY258" fmla="*/ 343066 h 1538630"/>
              <a:gd name="csX259" fmla="*/ 1285740 w 1609516"/>
              <a:gd name="csY259" fmla="*/ 344123 h 1538630"/>
              <a:gd name="csX260" fmla="*/ 1237314 w 1609516"/>
              <a:gd name="csY260" fmla="*/ 382525 h 1538630"/>
              <a:gd name="csX261" fmla="*/ 1232628 w 1609516"/>
              <a:gd name="csY261" fmla="*/ 392389 h 1538630"/>
              <a:gd name="csX262" fmla="*/ 1228625 w 1609516"/>
              <a:gd name="csY262" fmla="*/ 398731 h 1538630"/>
              <a:gd name="csX263" fmla="*/ 1222822 w 1609516"/>
              <a:gd name="csY263" fmla="*/ 434798 h 1538630"/>
              <a:gd name="csX264" fmla="*/ 1260746 w 1609516"/>
              <a:gd name="csY264" fmla="*/ 485398 h 1538630"/>
              <a:gd name="csX265" fmla="*/ 1268556 w 1609516"/>
              <a:gd name="csY265" fmla="*/ 488216 h 1538630"/>
              <a:gd name="csX266" fmla="*/ 1268556 w 1609516"/>
              <a:gd name="csY266" fmla="*/ 491034 h 1538630"/>
              <a:gd name="csX267" fmla="*/ 1338852 w 1609516"/>
              <a:gd name="csY267" fmla="*/ 489625 h 1538630"/>
              <a:gd name="csX268" fmla="*/ 1347444 w 1609516"/>
              <a:gd name="csY268" fmla="*/ 488480 h 1538630"/>
              <a:gd name="csX269" fmla="*/ 1369362 w 1609516"/>
              <a:gd name="csY269" fmla="*/ 482513 h 1538630"/>
              <a:gd name="csX270" fmla="*/ 1388840 w 1609516"/>
              <a:gd name="csY270" fmla="*/ 478351 h 1538630"/>
              <a:gd name="csX271" fmla="*/ 1388840 w 1609516"/>
              <a:gd name="csY271" fmla="*/ 475533 h 1538630"/>
              <a:gd name="csX272" fmla="*/ 1395576 w 1609516"/>
              <a:gd name="csY272" fmla="*/ 473419 h 1538630"/>
              <a:gd name="csX273" fmla="*/ 1399365 w 1609516"/>
              <a:gd name="csY273" fmla="*/ 472230 h 1538630"/>
              <a:gd name="csX274" fmla="*/ 1407585 w 1609516"/>
              <a:gd name="csY274" fmla="*/ 471305 h 1538630"/>
              <a:gd name="csX275" fmla="*/ 1409147 w 1609516"/>
              <a:gd name="csY275" fmla="*/ 467078 h 1538630"/>
              <a:gd name="csX276" fmla="*/ 1416470 w 1609516"/>
              <a:gd name="csY276" fmla="*/ 464259 h 1538630"/>
              <a:gd name="csX277" fmla="*/ 1437949 w 1609516"/>
              <a:gd name="csY277" fmla="*/ 455011 h 1538630"/>
              <a:gd name="csX278" fmla="*/ 1452887 w 1609516"/>
              <a:gd name="csY278" fmla="*/ 450167 h 1538630"/>
              <a:gd name="csX279" fmla="*/ 1452887 w 1609516"/>
              <a:gd name="csY279" fmla="*/ 447349 h 1538630"/>
              <a:gd name="csX280" fmla="*/ 1455394 w 1609516"/>
              <a:gd name="csY280" fmla="*/ 446122 h 1538630"/>
              <a:gd name="csX281" fmla="*/ 1466653 w 1609516"/>
              <a:gd name="csY281" fmla="*/ 440567 h 1538630"/>
              <a:gd name="csX282" fmla="*/ 1470598 w 1609516"/>
              <a:gd name="csY282" fmla="*/ 438637 h 1538630"/>
              <a:gd name="csX283" fmla="*/ 1474397 w 1609516"/>
              <a:gd name="csY283" fmla="*/ 436752 h 1538630"/>
              <a:gd name="csX284" fmla="*/ 1477892 w 1609516"/>
              <a:gd name="csY284" fmla="*/ 435030 h 1538630"/>
              <a:gd name="csX285" fmla="*/ 1485691 w 1609516"/>
              <a:gd name="csY285" fmla="*/ 429029 h 1538630"/>
              <a:gd name="csX286" fmla="*/ 1488858 w 1609516"/>
              <a:gd name="csY286" fmla="*/ 427653 h 1538630"/>
              <a:gd name="csX287" fmla="*/ 1495943 w 1609516"/>
              <a:gd name="csY287" fmla="*/ 421454 h 1538630"/>
              <a:gd name="csX288" fmla="*/ 1538608 w 1609516"/>
              <a:gd name="csY288" fmla="*/ 388338 h 1538630"/>
              <a:gd name="csX289" fmla="*/ 1543490 w 1609516"/>
              <a:gd name="csY289" fmla="*/ 388161 h 1538630"/>
              <a:gd name="csX290" fmla="*/ 1547621 w 1609516"/>
              <a:gd name="csY290" fmla="*/ 387804 h 1538630"/>
              <a:gd name="csX291" fmla="*/ 1579418 w 1609516"/>
              <a:gd name="csY291" fmla="*/ 396617 h 1538630"/>
              <a:gd name="csX292" fmla="*/ 1583342 w 1609516"/>
              <a:gd name="csY292" fmla="*/ 398780 h 1538630"/>
              <a:gd name="csX293" fmla="*/ 1601288 w 1609516"/>
              <a:gd name="csY293" fmla="*/ 423392 h 1538630"/>
              <a:gd name="csX294" fmla="*/ 1594484 w 1609516"/>
              <a:gd name="csY294" fmla="*/ 460159 h 1538630"/>
              <a:gd name="csX295" fmla="*/ 1574732 w 1609516"/>
              <a:gd name="csY295" fmla="*/ 475533 h 1538630"/>
              <a:gd name="csX296" fmla="*/ 1572097 w 1609516"/>
              <a:gd name="csY296" fmla="*/ 477078 h 1538630"/>
              <a:gd name="csX297" fmla="*/ 1556066 w 1609516"/>
              <a:gd name="csY297" fmla="*/ 478737 h 1538630"/>
              <a:gd name="csX298" fmla="*/ 1548631 w 1609516"/>
              <a:gd name="csY298" fmla="*/ 478825 h 1538630"/>
              <a:gd name="csX299" fmla="*/ 1536991 w 1609516"/>
              <a:gd name="csY299" fmla="*/ 478889 h 1538630"/>
              <a:gd name="csX300" fmla="*/ 1498188 w 1609516"/>
              <a:gd name="csY300" fmla="*/ 485398 h 1538630"/>
              <a:gd name="csX301" fmla="*/ 1493892 w 1609516"/>
              <a:gd name="csY301" fmla="*/ 487600 h 1538630"/>
              <a:gd name="csX302" fmla="*/ 1490377 w 1609516"/>
              <a:gd name="csY302" fmla="*/ 489625 h 1538630"/>
              <a:gd name="csX303" fmla="*/ 1471650 w 1609516"/>
              <a:gd name="csY303" fmla="*/ 498185 h 1538630"/>
              <a:gd name="csX304" fmla="*/ 1459135 w 1609516"/>
              <a:gd name="csY304" fmla="*/ 505127 h 1538630"/>
              <a:gd name="csX305" fmla="*/ 1452594 w 1609516"/>
              <a:gd name="csY305" fmla="*/ 508033 h 1538630"/>
              <a:gd name="csX306" fmla="*/ 1427795 w 1609516"/>
              <a:gd name="csY306" fmla="*/ 520100 h 1538630"/>
              <a:gd name="csX307" fmla="*/ 1423733 w 1609516"/>
              <a:gd name="csY307" fmla="*/ 522148 h 1538630"/>
              <a:gd name="csX308" fmla="*/ 1419929 w 1609516"/>
              <a:gd name="csY308" fmla="*/ 524118 h 1538630"/>
              <a:gd name="csX309" fmla="*/ 1416487 w 1609516"/>
              <a:gd name="csY309" fmla="*/ 525883 h 1538630"/>
              <a:gd name="csX310" fmla="*/ 1412271 w 1609516"/>
              <a:gd name="csY310" fmla="*/ 531902 h 1538630"/>
              <a:gd name="csX311" fmla="*/ 1396650 w 1609516"/>
              <a:gd name="csY311" fmla="*/ 537539 h 1538630"/>
              <a:gd name="csX312" fmla="*/ 1396650 w 1609516"/>
              <a:gd name="csY312" fmla="*/ 540357 h 1538630"/>
              <a:gd name="csX313" fmla="*/ 1393495 w 1609516"/>
              <a:gd name="csY313" fmla="*/ 541502 h 1538630"/>
              <a:gd name="csX314" fmla="*/ 1362284 w 1609516"/>
              <a:gd name="csY314" fmla="*/ 558678 h 1538630"/>
              <a:gd name="csX315" fmla="*/ 1355937 w 1609516"/>
              <a:gd name="csY315" fmla="*/ 562905 h 1538630"/>
              <a:gd name="csX316" fmla="*/ 1334165 w 1609516"/>
              <a:gd name="csY316" fmla="*/ 578406 h 1538630"/>
              <a:gd name="csX317" fmla="*/ 1331200 w 1609516"/>
              <a:gd name="csY317" fmla="*/ 580559 h 1538630"/>
              <a:gd name="csX318" fmla="*/ 1322175 w 1609516"/>
              <a:gd name="csY318" fmla="*/ 596793 h 1538630"/>
              <a:gd name="csX319" fmla="*/ 1320106 w 1609516"/>
              <a:gd name="csY319" fmla="*/ 602363 h 1538630"/>
              <a:gd name="csX320" fmla="*/ 1328015 w 1609516"/>
              <a:gd name="csY320" fmla="*/ 647640 h 1538630"/>
              <a:gd name="csX321" fmla="*/ 1332604 w 1609516"/>
              <a:gd name="csY321" fmla="*/ 675643 h 1538630"/>
              <a:gd name="csX322" fmla="*/ 1335727 w 1609516"/>
              <a:gd name="csY322" fmla="*/ 675643 h 1538630"/>
              <a:gd name="csX323" fmla="*/ 1337741 w 1609516"/>
              <a:gd name="csY323" fmla="*/ 690059 h 1538630"/>
              <a:gd name="csX324" fmla="*/ 1338003 w 1609516"/>
              <a:gd name="csY324" fmla="*/ 696222 h 1538630"/>
              <a:gd name="csX325" fmla="*/ 1338340 w 1609516"/>
              <a:gd name="csY325" fmla="*/ 705887 h 1538630"/>
              <a:gd name="csX326" fmla="*/ 1345277 w 1609516"/>
              <a:gd name="csY326" fmla="*/ 733245 h 1538630"/>
              <a:gd name="csX327" fmla="*/ 1363162 w 1609516"/>
              <a:gd name="csY327" fmla="*/ 741612 h 1538630"/>
              <a:gd name="csX328" fmla="*/ 1384154 w 1609516"/>
              <a:gd name="csY328" fmla="*/ 748922 h 1538630"/>
              <a:gd name="csX329" fmla="*/ 1391476 w 1609516"/>
              <a:gd name="csY329" fmla="*/ 750419 h 1538630"/>
              <a:gd name="csX330" fmla="*/ 1395564 w 1609516"/>
              <a:gd name="csY330" fmla="*/ 751080 h 1538630"/>
              <a:gd name="csX331" fmla="*/ 1399775 w 1609516"/>
              <a:gd name="csY331" fmla="*/ 751740 h 1538630"/>
              <a:gd name="csX332" fmla="*/ 1403887 w 1609516"/>
              <a:gd name="csY332" fmla="*/ 752489 h 1538630"/>
              <a:gd name="csX333" fmla="*/ 1465383 w 1609516"/>
              <a:gd name="csY333" fmla="*/ 755969 h 1538630"/>
              <a:gd name="csX334" fmla="*/ 1470339 w 1609516"/>
              <a:gd name="csY334" fmla="*/ 755897 h 1538630"/>
              <a:gd name="csX335" fmla="*/ 1496809 w 1609516"/>
              <a:gd name="csY335" fmla="*/ 749313 h 1538630"/>
              <a:gd name="csX336" fmla="*/ 1515371 w 1609516"/>
              <a:gd name="csY336" fmla="*/ 743285 h 1538630"/>
              <a:gd name="csX337" fmla="*/ 1515371 w 1609516"/>
              <a:gd name="csY337" fmla="*/ 740467 h 1538630"/>
              <a:gd name="csX338" fmla="*/ 1537632 w 1609516"/>
              <a:gd name="csY338" fmla="*/ 737120 h 1538630"/>
              <a:gd name="csX339" fmla="*/ 1541657 w 1609516"/>
              <a:gd name="csY339" fmla="*/ 737127 h 1538630"/>
              <a:gd name="csX340" fmla="*/ 1574732 w 1609516"/>
              <a:gd name="csY340" fmla="*/ 748922 h 1538630"/>
              <a:gd name="csX341" fmla="*/ 1588791 w 1609516"/>
              <a:gd name="csY341" fmla="*/ 792608 h 1538630"/>
              <a:gd name="csX342" fmla="*/ 1584105 w 1609516"/>
              <a:gd name="csY342" fmla="*/ 805291 h 1538630"/>
              <a:gd name="csX343" fmla="*/ 1580981 w 1609516"/>
              <a:gd name="csY343" fmla="*/ 806700 h 1538630"/>
              <a:gd name="csX344" fmla="*/ 1578735 w 1609516"/>
              <a:gd name="csY344" fmla="*/ 810311 h 1538630"/>
              <a:gd name="csX345" fmla="*/ 1576295 w 1609516"/>
              <a:gd name="csY345" fmla="*/ 813746 h 1538630"/>
              <a:gd name="csX346" fmla="*/ 1571652 w 1609516"/>
              <a:gd name="csY346" fmla="*/ 813746 h 1538630"/>
              <a:gd name="csX347" fmla="*/ 1571785 w 1609516"/>
              <a:gd name="csY347" fmla="*/ 814106 h 1538630"/>
              <a:gd name="csX348" fmla="*/ 1574909 w 1609516"/>
              <a:gd name="csY348" fmla="*/ 815515 h 1538630"/>
              <a:gd name="csX349" fmla="*/ 1565463 w 1609516"/>
              <a:gd name="csY349" fmla="*/ 821839 h 1538630"/>
              <a:gd name="csX350" fmla="*/ 1562085 w 1609516"/>
              <a:gd name="csY350" fmla="*/ 822101 h 1538630"/>
              <a:gd name="csX351" fmla="*/ 1551301 w 1609516"/>
              <a:gd name="csY351" fmla="*/ 825020 h 1538630"/>
              <a:gd name="csX352" fmla="*/ 1551301 w 1609516"/>
              <a:gd name="csY352" fmla="*/ 827838 h 1538630"/>
              <a:gd name="csX353" fmla="*/ 1485380 w 1609516"/>
              <a:gd name="csY353" fmla="*/ 815007 h 1538630"/>
              <a:gd name="csX354" fmla="*/ 1431603 w 1609516"/>
              <a:gd name="csY354" fmla="*/ 808726 h 1538630"/>
              <a:gd name="csX355" fmla="*/ 1424140 w 1609516"/>
              <a:gd name="csY355" fmla="*/ 808542 h 1538630"/>
              <a:gd name="csX356" fmla="*/ 1406023 w 1609516"/>
              <a:gd name="csY356" fmla="*/ 808109 h 1538630"/>
              <a:gd name="csX357" fmla="*/ 1406023 w 1609516"/>
              <a:gd name="csY357" fmla="*/ 810928 h 1538630"/>
              <a:gd name="csX358" fmla="*/ 1403383 w 1609516"/>
              <a:gd name="csY358" fmla="*/ 811311 h 1538630"/>
              <a:gd name="csX359" fmla="*/ 1345442 w 1609516"/>
              <a:gd name="csY359" fmla="*/ 828907 h 1538630"/>
              <a:gd name="csX360" fmla="*/ 1337875 w 1609516"/>
              <a:gd name="csY360" fmla="*/ 856639 h 1538630"/>
              <a:gd name="csX361" fmla="*/ 1337692 w 1609516"/>
              <a:gd name="csY361" fmla="*/ 860171 h 1538630"/>
              <a:gd name="csX362" fmla="*/ 1337290 w 1609516"/>
              <a:gd name="csY362" fmla="*/ 868706 h 1538630"/>
              <a:gd name="csX363" fmla="*/ 1334165 w 1609516"/>
              <a:gd name="csY363" fmla="*/ 868706 h 1538630"/>
              <a:gd name="csX364" fmla="*/ 1334165 w 1609516"/>
              <a:gd name="csY364" fmla="*/ 870034 h 1538630"/>
              <a:gd name="csX365" fmla="*/ 1334237 w 1609516"/>
              <a:gd name="csY365" fmla="*/ 869093 h 1538630"/>
              <a:gd name="csX366" fmla="*/ 1335800 w 1609516"/>
              <a:gd name="csY366" fmla="*/ 869093 h 1538630"/>
              <a:gd name="csX367" fmla="*/ 1335995 w 1609516"/>
              <a:gd name="csY367" fmla="*/ 876491 h 1538630"/>
              <a:gd name="csX368" fmla="*/ 1336105 w 1609516"/>
              <a:gd name="csY368" fmla="*/ 880653 h 1538630"/>
              <a:gd name="csX369" fmla="*/ 1334294 w 1609516"/>
              <a:gd name="csY369" fmla="*/ 887271 h 1538630"/>
              <a:gd name="csX370" fmla="*/ 1331455 w 1609516"/>
              <a:gd name="csY370" fmla="*/ 896440 h 1538630"/>
              <a:gd name="csX371" fmla="*/ 1330887 w 1609516"/>
              <a:gd name="csY371" fmla="*/ 899969 h 1538630"/>
              <a:gd name="csX372" fmla="*/ 1330332 w 1609516"/>
              <a:gd name="csY372" fmla="*/ 903618 h 1538630"/>
              <a:gd name="csX373" fmla="*/ 1329209 w 1609516"/>
              <a:gd name="csY373" fmla="*/ 910797 h 1538630"/>
              <a:gd name="csX374" fmla="*/ 1328724 w 1609516"/>
              <a:gd name="csY374" fmla="*/ 913998 h 1538630"/>
              <a:gd name="csX375" fmla="*/ 1324865 w 1609516"/>
              <a:gd name="csY375" fmla="*/ 922643 h 1538630"/>
              <a:gd name="csX376" fmla="*/ 1322619 w 1609516"/>
              <a:gd name="csY376" fmla="*/ 937979 h 1538630"/>
              <a:gd name="csX377" fmla="*/ 1318744 w 1609516"/>
              <a:gd name="csY377" fmla="*/ 944961 h 1538630"/>
              <a:gd name="csX378" fmla="*/ 1318544 w 1609516"/>
              <a:gd name="csY378" fmla="*/ 946213 h 1538630"/>
              <a:gd name="csX379" fmla="*/ 1318251 w 1609516"/>
              <a:gd name="csY379" fmla="*/ 955285 h 1538630"/>
              <a:gd name="csX380" fmla="*/ 1318184 w 1609516"/>
              <a:gd name="csY380" fmla="*/ 960036 h 1538630"/>
              <a:gd name="csX381" fmla="*/ 1324024 w 1609516"/>
              <a:gd name="csY381" fmla="*/ 973660 h 1538630"/>
              <a:gd name="csX382" fmla="*/ 1329284 w 1609516"/>
              <a:gd name="csY382" fmla="*/ 983382 h 1538630"/>
              <a:gd name="csX383" fmla="*/ 1340414 w 1609516"/>
              <a:gd name="csY383" fmla="*/ 998354 h 1538630"/>
              <a:gd name="csX384" fmla="*/ 1346272 w 1609516"/>
              <a:gd name="csY384" fmla="*/ 1005048 h 1538630"/>
              <a:gd name="csX385" fmla="*/ 1394716 w 1609516"/>
              <a:gd name="csY385" fmla="*/ 1042740 h 1538630"/>
              <a:gd name="csX386" fmla="*/ 1401953 w 1609516"/>
              <a:gd name="csY386" fmla="*/ 1047374 h 1538630"/>
              <a:gd name="csX387" fmla="*/ 1427197 w 1609516"/>
              <a:gd name="csY387" fmla="*/ 1059061 h 1538630"/>
              <a:gd name="csX388" fmla="*/ 1437265 w 1609516"/>
              <a:gd name="csY388" fmla="*/ 1064588 h 1538630"/>
              <a:gd name="csX389" fmla="*/ 1437265 w 1609516"/>
              <a:gd name="csY389" fmla="*/ 1067406 h 1538630"/>
              <a:gd name="csX390" fmla="*/ 1440878 w 1609516"/>
              <a:gd name="csY390" fmla="*/ 1067847 h 1538630"/>
              <a:gd name="csX391" fmla="*/ 1447175 w 1609516"/>
              <a:gd name="csY391" fmla="*/ 1070753 h 1538630"/>
              <a:gd name="csX392" fmla="*/ 1457866 w 1609516"/>
              <a:gd name="csY392" fmla="*/ 1076830 h 1538630"/>
              <a:gd name="csX393" fmla="*/ 1462132 w 1609516"/>
              <a:gd name="csY393" fmla="*/ 1078696 h 1538630"/>
              <a:gd name="csX394" fmla="*/ 1465383 w 1609516"/>
              <a:gd name="csY394" fmla="*/ 1080089 h 1538630"/>
              <a:gd name="csX395" fmla="*/ 1465383 w 1609516"/>
              <a:gd name="csY395" fmla="*/ 1082908 h 1538630"/>
              <a:gd name="csX396" fmla="*/ 1468758 w 1609516"/>
              <a:gd name="csY396" fmla="*/ 1083975 h 1538630"/>
              <a:gd name="csX397" fmla="*/ 1481688 w 1609516"/>
              <a:gd name="csY397" fmla="*/ 1091187 h 1538630"/>
              <a:gd name="csX398" fmla="*/ 1486283 w 1609516"/>
              <a:gd name="csY398" fmla="*/ 1094236 h 1538630"/>
              <a:gd name="csX399" fmla="*/ 1494869 w 1609516"/>
              <a:gd name="csY399" fmla="*/ 1100171 h 1538630"/>
              <a:gd name="csX400" fmla="*/ 1544335 w 1609516"/>
              <a:gd name="csY400" fmla="*/ 1109518 h 1538630"/>
              <a:gd name="csX401" fmla="*/ 1593477 w 1609516"/>
              <a:gd name="csY401" fmla="*/ 1119900 h 1538630"/>
              <a:gd name="csX402" fmla="*/ 1605975 w 1609516"/>
              <a:gd name="csY402" fmla="*/ 1144913 h 1538630"/>
              <a:gd name="csX403" fmla="*/ 1609099 w 1609516"/>
              <a:gd name="csY403" fmla="*/ 1144913 h 1538630"/>
              <a:gd name="csX404" fmla="*/ 1609392 w 1609516"/>
              <a:gd name="csY404" fmla="*/ 1156892 h 1538630"/>
              <a:gd name="csX405" fmla="*/ 1609511 w 1609516"/>
              <a:gd name="csY405" fmla="*/ 1160272 h 1538630"/>
              <a:gd name="csX406" fmla="*/ 1604412 w 1609516"/>
              <a:gd name="csY406" fmla="*/ 1181553 h 1538630"/>
              <a:gd name="csX407" fmla="*/ 1601288 w 1609516"/>
              <a:gd name="csY407" fmla="*/ 1190009 h 1538630"/>
              <a:gd name="csX408" fmla="*/ 1598164 w 1609516"/>
              <a:gd name="csY408" fmla="*/ 1190009 h 1538630"/>
              <a:gd name="csX409" fmla="*/ 1597187 w 1609516"/>
              <a:gd name="csY409" fmla="*/ 1192739 h 1538630"/>
              <a:gd name="csX410" fmla="*/ 1595040 w 1609516"/>
              <a:gd name="csY410" fmla="*/ 1195645 h 1538630"/>
              <a:gd name="csX411" fmla="*/ 1585667 w 1609516"/>
              <a:gd name="csY411" fmla="*/ 1197055 h 1538630"/>
              <a:gd name="csX412" fmla="*/ 1582543 w 1609516"/>
              <a:gd name="csY412" fmla="*/ 1202691 h 1538630"/>
              <a:gd name="csX413" fmla="*/ 1562431 w 1609516"/>
              <a:gd name="csY413" fmla="*/ 1204365 h 1538630"/>
              <a:gd name="csX414" fmla="*/ 1558690 w 1609516"/>
              <a:gd name="csY414" fmla="*/ 1204417 h 1538630"/>
              <a:gd name="csX415" fmla="*/ 1521102 w 1609516"/>
              <a:gd name="csY415" fmla="*/ 1189585 h 1538630"/>
              <a:gd name="csX416" fmla="*/ 1505022 w 1609516"/>
              <a:gd name="csY416" fmla="*/ 1172041 h 1538630"/>
              <a:gd name="csX417" fmla="*/ 1457573 w 1609516"/>
              <a:gd name="csY417" fmla="*/ 1140686 h 1538630"/>
              <a:gd name="csX418" fmla="*/ 1457573 w 1609516"/>
              <a:gd name="csY418" fmla="*/ 1137867 h 1538630"/>
              <a:gd name="csX419" fmla="*/ 1452985 w 1609516"/>
              <a:gd name="csY419" fmla="*/ 1137339 h 1538630"/>
              <a:gd name="csX420" fmla="*/ 1448200 w 1609516"/>
              <a:gd name="csY420" fmla="*/ 1136458 h 1538630"/>
              <a:gd name="csX421" fmla="*/ 1446638 w 1609516"/>
              <a:gd name="csY421" fmla="*/ 1133640 h 1538630"/>
              <a:gd name="csX422" fmla="*/ 1438937 w 1609516"/>
              <a:gd name="csY422" fmla="*/ 1130601 h 1538630"/>
              <a:gd name="csX423" fmla="*/ 1429260 w 1609516"/>
              <a:gd name="csY423" fmla="*/ 1126770 h 1538630"/>
              <a:gd name="csX424" fmla="*/ 1411393 w 1609516"/>
              <a:gd name="csY424" fmla="*/ 1120340 h 1538630"/>
              <a:gd name="csX425" fmla="*/ 1391427 w 1609516"/>
              <a:gd name="csY425" fmla="*/ 1111191 h 1538630"/>
              <a:gd name="csX426" fmla="*/ 1381029 w 1609516"/>
              <a:gd name="csY426" fmla="*/ 1106865 h 1538630"/>
              <a:gd name="csX427" fmla="*/ 1381029 w 1609516"/>
              <a:gd name="csY427" fmla="*/ 1104046 h 1538630"/>
              <a:gd name="csX428" fmla="*/ 1377221 w 1609516"/>
              <a:gd name="csY428" fmla="*/ 1103605 h 1538630"/>
              <a:gd name="csX429" fmla="*/ 1357597 w 1609516"/>
              <a:gd name="csY429" fmla="*/ 1098409 h 1538630"/>
              <a:gd name="csX430" fmla="*/ 1352032 w 1609516"/>
              <a:gd name="csY430" fmla="*/ 1096736 h 1538630"/>
              <a:gd name="csX431" fmla="*/ 1348225 w 1609516"/>
              <a:gd name="csY431" fmla="*/ 1095590 h 1538630"/>
              <a:gd name="csX432" fmla="*/ 1348225 w 1609516"/>
              <a:gd name="csY432" fmla="*/ 1092772 h 1538630"/>
              <a:gd name="csX433" fmla="*/ 1337290 w 1609516"/>
              <a:gd name="csY433" fmla="*/ 1091363 h 1538630"/>
              <a:gd name="csX434" fmla="*/ 1337290 w 1609516"/>
              <a:gd name="csY434" fmla="*/ 1088544 h 1538630"/>
              <a:gd name="csX435" fmla="*/ 1331529 w 1609516"/>
              <a:gd name="csY435" fmla="*/ 1088104 h 1538630"/>
              <a:gd name="csX436" fmla="*/ 1323297 w 1609516"/>
              <a:gd name="csY436" fmla="*/ 1086611 h 1538630"/>
              <a:gd name="csX437" fmla="*/ 1323297 w 1609516"/>
              <a:gd name="csY437" fmla="*/ 1087618 h 1538630"/>
              <a:gd name="csX438" fmla="*/ 1319789 w 1609516"/>
              <a:gd name="csY438" fmla="*/ 1087310 h 1538630"/>
              <a:gd name="csX439" fmla="*/ 1262375 w 1609516"/>
              <a:gd name="csY439" fmla="*/ 1089028 h 1538630"/>
              <a:gd name="csX440" fmla="*/ 1258728 w 1609516"/>
              <a:gd name="csY440" fmla="*/ 1088205 h 1538630"/>
              <a:gd name="csX441" fmla="*/ 1246964 w 1609516"/>
              <a:gd name="csY441" fmla="*/ 1091489 h 1538630"/>
              <a:gd name="csX442" fmla="*/ 1223224 w 1609516"/>
              <a:gd name="csY442" fmla="*/ 1112865 h 1538630"/>
              <a:gd name="csX443" fmla="*/ 1213883 w 1609516"/>
              <a:gd name="csY443" fmla="*/ 1122366 h 1538630"/>
              <a:gd name="csX444" fmla="*/ 1212505 w 1609516"/>
              <a:gd name="csY444" fmla="*/ 1125708 h 1538630"/>
              <a:gd name="csX445" fmla="*/ 1204180 w 1609516"/>
              <a:gd name="csY445" fmla="*/ 1135561 h 1538630"/>
              <a:gd name="csX446" fmla="*/ 1200238 w 1609516"/>
              <a:gd name="csY446" fmla="*/ 1138999 h 1538630"/>
              <a:gd name="csX447" fmla="*/ 1192025 w 1609516"/>
              <a:gd name="csY447" fmla="*/ 1146022 h 1538630"/>
              <a:gd name="csX448" fmla="*/ 1173945 w 1609516"/>
              <a:gd name="csY448" fmla="*/ 1174749 h 1538630"/>
              <a:gd name="csX449" fmla="*/ 1173950 w 1609516"/>
              <a:gd name="csY449" fmla="*/ 1182610 h 1538630"/>
              <a:gd name="csX450" fmla="*/ 1173989 w 1609516"/>
              <a:gd name="csY450" fmla="*/ 1186765 h 1538630"/>
              <a:gd name="csX451" fmla="*/ 1182640 w 1609516"/>
              <a:gd name="csY451" fmla="*/ 1215374 h 1538630"/>
              <a:gd name="csX452" fmla="*/ 1185764 w 1609516"/>
              <a:gd name="csY452" fmla="*/ 1221804 h 1538630"/>
              <a:gd name="csX453" fmla="*/ 1187301 w 1609516"/>
              <a:gd name="csY453" fmla="*/ 1224859 h 1538630"/>
              <a:gd name="csX454" fmla="*/ 1190573 w 1609516"/>
              <a:gd name="csY454" fmla="*/ 1231740 h 1538630"/>
              <a:gd name="csX455" fmla="*/ 1205925 w 1609516"/>
              <a:gd name="csY455" fmla="*/ 1255163 h 1538630"/>
              <a:gd name="csX456" fmla="*/ 1212174 w 1609516"/>
              <a:gd name="csY456" fmla="*/ 1263134 h 1538630"/>
              <a:gd name="csX457" fmla="*/ 1235556 w 1609516"/>
              <a:gd name="csY457" fmla="*/ 1282538 h 1538630"/>
              <a:gd name="csX458" fmla="*/ 1238876 w 1609516"/>
              <a:gd name="csY458" fmla="*/ 1284426 h 1538630"/>
              <a:gd name="csX459" fmla="*/ 1238876 w 1609516"/>
              <a:gd name="csY459" fmla="*/ 1287245 h 1538630"/>
              <a:gd name="csX460" fmla="*/ 1242245 w 1609516"/>
              <a:gd name="csY460" fmla="*/ 1287663 h 1538630"/>
              <a:gd name="csX461" fmla="*/ 1271681 w 1609516"/>
              <a:gd name="csY461" fmla="*/ 1305565 h 1538630"/>
              <a:gd name="csX462" fmla="*/ 1271742 w 1609516"/>
              <a:gd name="csY462" fmla="*/ 1306172 h 1538630"/>
              <a:gd name="csX463" fmla="*/ 1278525 w 1609516"/>
              <a:gd name="csY463" fmla="*/ 1315767 h 1538630"/>
              <a:gd name="csX464" fmla="*/ 1281097 w 1609516"/>
              <a:gd name="csY464" fmla="*/ 1327286 h 1538630"/>
              <a:gd name="csX465" fmla="*/ 1277973 w 1609516"/>
              <a:gd name="csY465" fmla="*/ 1355470 h 1538630"/>
              <a:gd name="csX466" fmla="*/ 1277460 w 1609516"/>
              <a:gd name="csY466" fmla="*/ 1347025 h 1538630"/>
              <a:gd name="csX467" fmla="*/ 1273531 w 1609516"/>
              <a:gd name="csY467" fmla="*/ 1357991 h 1538630"/>
              <a:gd name="csX468" fmla="*/ 1263870 w 1609516"/>
              <a:gd name="csY468" fmla="*/ 1368980 h 1538630"/>
              <a:gd name="csX469" fmla="*/ 1246686 w 1609516"/>
              <a:gd name="csY469" fmla="*/ 1376026 h 1538630"/>
              <a:gd name="csX470" fmla="*/ 1246686 w 1609516"/>
              <a:gd name="csY470" fmla="*/ 1378844 h 1538630"/>
              <a:gd name="csX471" fmla="*/ 1231651 w 1609516"/>
              <a:gd name="csY471" fmla="*/ 1379196 h 1538630"/>
              <a:gd name="csX472" fmla="*/ 1227373 w 1609516"/>
              <a:gd name="csY472" fmla="*/ 1379340 h 1538630"/>
              <a:gd name="csX473" fmla="*/ 1206071 w 1609516"/>
              <a:gd name="csY473" fmla="*/ 1373207 h 1538630"/>
              <a:gd name="csX474" fmla="*/ 1202069 w 1609516"/>
              <a:gd name="csY474" fmla="*/ 1371798 h 1538630"/>
              <a:gd name="csX475" fmla="*/ 1184104 w 1609516"/>
              <a:gd name="csY475" fmla="*/ 1356176 h 1538630"/>
              <a:gd name="csX476" fmla="*/ 1177270 w 1609516"/>
              <a:gd name="csY476" fmla="*/ 1335247 h 1538630"/>
              <a:gd name="csX477" fmla="*/ 1169002 w 1609516"/>
              <a:gd name="csY477" fmla="*/ 1313464 h 1538630"/>
              <a:gd name="csX478" fmla="*/ 1163504 w 1609516"/>
              <a:gd name="csY478" fmla="*/ 1302130 h 1538630"/>
              <a:gd name="csX479" fmla="*/ 1162015 w 1609516"/>
              <a:gd name="csY479" fmla="*/ 1298788 h 1538630"/>
              <a:gd name="csX480" fmla="*/ 1160111 w 1609516"/>
              <a:gd name="csY480" fmla="*/ 1292656 h 1538630"/>
              <a:gd name="csX481" fmla="*/ 1154522 w 1609516"/>
              <a:gd name="csY481" fmla="*/ 1287245 h 1538630"/>
              <a:gd name="csX482" fmla="*/ 1151398 w 1609516"/>
              <a:gd name="csY482" fmla="*/ 1280199 h 1538630"/>
              <a:gd name="csX483" fmla="*/ 1144173 w 1609516"/>
              <a:gd name="csY483" fmla="*/ 1270774 h 1538630"/>
              <a:gd name="csX484" fmla="*/ 1142065 w 1609516"/>
              <a:gd name="csY484" fmla="*/ 1268160 h 1538630"/>
              <a:gd name="csX485" fmla="*/ 1135776 w 1609516"/>
              <a:gd name="csY485" fmla="*/ 1260470 h 1538630"/>
              <a:gd name="csX486" fmla="*/ 1132353 w 1609516"/>
              <a:gd name="csY486" fmla="*/ 1256247 h 1538630"/>
              <a:gd name="csX487" fmla="*/ 1112344 w 1609516"/>
              <a:gd name="csY487" fmla="*/ 1240741 h 1538630"/>
              <a:gd name="csX488" fmla="*/ 1106193 w 1609516"/>
              <a:gd name="csY488" fmla="*/ 1237570 h 1538630"/>
              <a:gd name="csX489" fmla="*/ 1101409 w 1609516"/>
              <a:gd name="csY489" fmla="*/ 1235104 h 1538630"/>
              <a:gd name="csX490" fmla="*/ 1101409 w 1609516"/>
              <a:gd name="csY490" fmla="*/ 1230876 h 1538630"/>
              <a:gd name="csX491" fmla="*/ 1065480 w 1609516"/>
              <a:gd name="csY491" fmla="*/ 1230876 h 1538630"/>
              <a:gd name="csX492" fmla="*/ 1063919 w 1609516"/>
              <a:gd name="csY492" fmla="*/ 1235104 h 1538630"/>
              <a:gd name="csX493" fmla="*/ 1059232 w 1609516"/>
              <a:gd name="csY493" fmla="*/ 1235104 h 1538630"/>
              <a:gd name="csX494" fmla="*/ 1059232 w 1609516"/>
              <a:gd name="csY494" fmla="*/ 1237922 h 1538630"/>
              <a:gd name="csX495" fmla="*/ 1040194 w 1609516"/>
              <a:gd name="csY495" fmla="*/ 1245761 h 1538630"/>
              <a:gd name="csX496" fmla="*/ 1030333 w 1609516"/>
              <a:gd name="csY496" fmla="*/ 1249901 h 1538630"/>
              <a:gd name="csX497" fmla="*/ 1013931 w 1609516"/>
              <a:gd name="csY497" fmla="*/ 1256242 h 1538630"/>
              <a:gd name="csX498" fmla="*/ 1005925 w 1609516"/>
              <a:gd name="csY498" fmla="*/ 1261615 h 1538630"/>
              <a:gd name="csX499" fmla="*/ 1004558 w 1609516"/>
              <a:gd name="csY499" fmla="*/ 1264697 h 1538630"/>
              <a:gd name="csX500" fmla="*/ 1002959 w 1609516"/>
              <a:gd name="csY500" fmla="*/ 1267961 h 1538630"/>
              <a:gd name="csX501" fmla="*/ 1000653 w 1609516"/>
              <a:gd name="csY501" fmla="*/ 1278965 h 1538630"/>
              <a:gd name="csX502" fmla="*/ 998297 w 1609516"/>
              <a:gd name="csY502" fmla="*/ 1294137 h 1538630"/>
              <a:gd name="csX503" fmla="*/ 996162 w 1609516"/>
              <a:gd name="csY503" fmla="*/ 1324765 h 1538630"/>
              <a:gd name="csX504" fmla="*/ 996164 w 1609516"/>
              <a:gd name="csY504" fmla="*/ 1327846 h 1538630"/>
              <a:gd name="csX505" fmla="*/ 1007780 w 1609516"/>
              <a:gd name="csY505" fmla="*/ 1403329 h 1538630"/>
              <a:gd name="csX506" fmla="*/ 1008940 w 1609516"/>
              <a:gd name="csY506" fmla="*/ 1407701 h 1538630"/>
              <a:gd name="csX507" fmla="*/ 1010080 w 1609516"/>
              <a:gd name="csY507" fmla="*/ 1411730 h 1538630"/>
              <a:gd name="csX508" fmla="*/ 1011075 w 1609516"/>
              <a:gd name="csY508" fmla="*/ 1415277 h 1538630"/>
              <a:gd name="csX509" fmla="*/ 1017055 w 1609516"/>
              <a:gd name="csY509" fmla="*/ 1422530 h 1538630"/>
              <a:gd name="csX510" fmla="*/ 1020277 w 1609516"/>
              <a:gd name="csY510" fmla="*/ 1427991 h 1538630"/>
              <a:gd name="csX511" fmla="*/ 1021796 w 1609516"/>
              <a:gd name="csY511" fmla="*/ 1430798 h 1538630"/>
              <a:gd name="csX512" fmla="*/ 1024579 w 1609516"/>
              <a:gd name="csY512" fmla="*/ 1437239 h 1538630"/>
              <a:gd name="csX513" fmla="*/ 1034043 w 1609516"/>
              <a:gd name="csY513" fmla="*/ 1448072 h 1538630"/>
              <a:gd name="csX514" fmla="*/ 1043782 w 1609516"/>
              <a:gd name="csY514" fmla="*/ 1464320 h 1538630"/>
              <a:gd name="csX515" fmla="*/ 1050458 w 1609516"/>
              <a:gd name="csY515" fmla="*/ 1472189 h 1538630"/>
              <a:gd name="csX516" fmla="*/ 1052926 w 1609516"/>
              <a:gd name="csY516" fmla="*/ 1482370 h 1538630"/>
              <a:gd name="csX517" fmla="*/ 1053316 w 1609516"/>
              <a:gd name="csY517" fmla="*/ 1496903 h 1538630"/>
              <a:gd name="csX518" fmla="*/ 1053352 w 1609516"/>
              <a:gd name="csY518" fmla="*/ 1500660 h 1538630"/>
              <a:gd name="csX519" fmla="*/ 1053341 w 1609516"/>
              <a:gd name="csY519" fmla="*/ 1504285 h 1538630"/>
              <a:gd name="csX520" fmla="*/ 1053329 w 1609516"/>
              <a:gd name="csY520" fmla="*/ 1507529 h 1538630"/>
              <a:gd name="csX521" fmla="*/ 1049801 w 1609516"/>
              <a:gd name="csY521" fmla="*/ 1516192 h 1538630"/>
              <a:gd name="csX522" fmla="*/ 1047312 w 1609516"/>
              <a:gd name="csY522" fmla="*/ 1516192 h 1538630"/>
              <a:gd name="csX523" fmla="*/ 1043611 w 1609516"/>
              <a:gd name="csY523" fmla="*/ 1522585 h 1538630"/>
              <a:gd name="csX524" fmla="*/ 1029552 w 1609516"/>
              <a:gd name="csY524" fmla="*/ 1529631 h 1538630"/>
              <a:gd name="csX525" fmla="*/ 1028771 w 1609516"/>
              <a:gd name="csY525" fmla="*/ 1532273 h 1538630"/>
              <a:gd name="csX526" fmla="*/ 1018013 w 1609516"/>
              <a:gd name="csY526" fmla="*/ 1537640 h 1538630"/>
              <a:gd name="csX527" fmla="*/ 981126 w 1609516"/>
              <a:gd name="csY527" fmla="*/ 1533859 h 1538630"/>
              <a:gd name="csX528" fmla="*/ 977227 w 1609516"/>
              <a:gd name="csY528" fmla="*/ 1531943 h 1538630"/>
              <a:gd name="csX529" fmla="*/ 955376 w 1609516"/>
              <a:gd name="csY529" fmla="*/ 1508751 h 1538630"/>
              <a:gd name="csX530" fmla="*/ 954571 w 1609516"/>
              <a:gd name="csY530" fmla="*/ 1500037 h 1538630"/>
              <a:gd name="csX531" fmla="*/ 951446 w 1609516"/>
              <a:gd name="csY531" fmla="*/ 1500037 h 1538630"/>
              <a:gd name="csX532" fmla="*/ 951251 w 1609516"/>
              <a:gd name="csY532" fmla="*/ 1487883 h 1538630"/>
              <a:gd name="csX533" fmla="*/ 951171 w 1609516"/>
              <a:gd name="csY533" fmla="*/ 1484431 h 1538630"/>
              <a:gd name="csX534" fmla="*/ 954571 w 1609516"/>
              <a:gd name="csY534" fmla="*/ 1466216 h 1538630"/>
              <a:gd name="csX535" fmla="*/ 954961 w 1609516"/>
              <a:gd name="csY535" fmla="*/ 1455118 h 1538630"/>
              <a:gd name="csX536" fmla="*/ 954932 w 1609516"/>
              <a:gd name="csY536" fmla="*/ 1451972 h 1538630"/>
              <a:gd name="csX537" fmla="*/ 945099 w 1609516"/>
              <a:gd name="csY537" fmla="*/ 1403594 h 1538630"/>
              <a:gd name="csX538" fmla="*/ 942366 w 1609516"/>
              <a:gd name="csY538" fmla="*/ 1393553 h 1538630"/>
              <a:gd name="csX539" fmla="*/ 934451 w 1609516"/>
              <a:gd name="csY539" fmla="*/ 1372734 h 1538630"/>
              <a:gd name="csX540" fmla="*/ 931974 w 1609516"/>
              <a:gd name="csY540" fmla="*/ 1365754 h 1538630"/>
              <a:gd name="csX541" fmla="*/ 931138 w 1609516"/>
              <a:gd name="csY541" fmla="*/ 1363343 h 1538630"/>
              <a:gd name="csX542" fmla="*/ 926452 w 1609516"/>
              <a:gd name="csY542" fmla="*/ 1361933 h 1538630"/>
              <a:gd name="csX543" fmla="*/ 918641 w 1609516"/>
              <a:gd name="csY543" fmla="*/ 1340795 h 1538630"/>
              <a:gd name="csX544" fmla="*/ 917079 w 1609516"/>
              <a:gd name="csY544" fmla="*/ 1335158 h 1538630"/>
              <a:gd name="csX545" fmla="*/ 913955 w 1609516"/>
              <a:gd name="csY545" fmla="*/ 1335158 h 1538630"/>
              <a:gd name="csX546" fmla="*/ 912057 w 1609516"/>
              <a:gd name="csY546" fmla="*/ 1330793 h 1538630"/>
              <a:gd name="csX547" fmla="*/ 902142 w 1609516"/>
              <a:gd name="csY547" fmla="*/ 1316222 h 1538630"/>
              <a:gd name="csX548" fmla="*/ 900091 w 1609516"/>
              <a:gd name="csY548" fmla="*/ 1313828 h 1538630"/>
              <a:gd name="csX549" fmla="*/ 878026 w 1609516"/>
              <a:gd name="csY549" fmla="*/ 1295700 h 1538630"/>
              <a:gd name="csX550" fmla="*/ 875134 w 1609516"/>
              <a:gd name="csY550" fmla="*/ 1293465 h 1538630"/>
              <a:gd name="csX551" fmla="*/ 869869 w 1609516"/>
              <a:gd name="csY551" fmla="*/ 1291826 h 1538630"/>
              <a:gd name="csX552" fmla="*/ 862384 w 1609516"/>
              <a:gd name="csY552" fmla="*/ 1291327 h 1538630"/>
              <a:gd name="csX553" fmla="*/ 844390 w 1609516"/>
              <a:gd name="csY553" fmla="*/ 1290461 h 1538630"/>
              <a:gd name="csX554" fmla="*/ 840476 w 1609516"/>
              <a:gd name="csY554" fmla="*/ 1290500 h 1538630"/>
              <a:gd name="csX555" fmla="*/ 831015 w 1609516"/>
              <a:gd name="csY555" fmla="*/ 1290637 h 1538630"/>
              <a:gd name="csX556" fmla="*/ 831015 w 1609516"/>
              <a:gd name="csY556" fmla="*/ 1293456 h 1538630"/>
              <a:gd name="csX557" fmla="*/ 818225 w 1609516"/>
              <a:gd name="csY557" fmla="*/ 1295570 h 1538630"/>
              <a:gd name="csX558" fmla="*/ 796774 w 1609516"/>
              <a:gd name="csY558" fmla="*/ 1297671 h 1538630"/>
              <a:gd name="csX559" fmla="*/ 783646 w 1609516"/>
              <a:gd name="csY559" fmla="*/ 1305736 h 1538630"/>
              <a:gd name="csX560" fmla="*/ 769263 w 1609516"/>
              <a:gd name="csY560" fmla="*/ 1327143 h 1538630"/>
              <a:gd name="csX561" fmla="*/ 764797 w 1609516"/>
              <a:gd name="csY561" fmla="*/ 1334360 h 1538630"/>
              <a:gd name="csX562" fmla="*/ 757875 w 1609516"/>
              <a:gd name="csY562" fmla="*/ 1353503 h 1538630"/>
              <a:gd name="csX563" fmla="*/ 755676 w 1609516"/>
              <a:gd name="csY563" fmla="*/ 1367455 h 1538630"/>
              <a:gd name="csX564" fmla="*/ 750558 w 1609516"/>
              <a:gd name="csY564" fmla="*/ 1399690 h 1538630"/>
              <a:gd name="csX565" fmla="*/ 753057 w 1609516"/>
              <a:gd name="csY565" fmla="*/ 1411256 h 1538630"/>
              <a:gd name="csX566" fmla="*/ 753057 w 1609516"/>
              <a:gd name="csY566" fmla="*/ 1416893 h 1538630"/>
              <a:gd name="csX567" fmla="*/ 756181 w 1609516"/>
              <a:gd name="csY567" fmla="*/ 1416893 h 1538630"/>
              <a:gd name="csX568" fmla="*/ 758133 w 1609516"/>
              <a:gd name="csY568" fmla="*/ 1436182 h 1538630"/>
              <a:gd name="csX569" fmla="*/ 758231 w 1609516"/>
              <a:gd name="csY569" fmla="*/ 1440781 h 1538630"/>
              <a:gd name="csX570" fmla="*/ 750713 w 1609516"/>
              <a:gd name="csY570" fmla="*/ 1465704 h 1538630"/>
              <a:gd name="csX571" fmla="*/ 748370 w 1609516"/>
              <a:gd name="csY571" fmla="*/ 1467185 h 1538630"/>
              <a:gd name="csX572" fmla="*/ 741633 w 1609516"/>
              <a:gd name="csY572" fmla="*/ 1473526 h 1538630"/>
              <a:gd name="csX573" fmla="*/ 728154 w 1609516"/>
              <a:gd name="csY573" fmla="*/ 1478343 h 1538630"/>
              <a:gd name="csX574" fmla="*/ 721814 w 1609516"/>
              <a:gd name="csY574" fmla="*/ 1480308 h 1538630"/>
              <a:gd name="csX575" fmla="*/ 708341 w 1609516"/>
              <a:gd name="csY575" fmla="*/ 1480661 h 1538630"/>
              <a:gd name="csX576" fmla="*/ 704637 w 1609516"/>
              <a:gd name="csY576" fmla="*/ 1480748 h 1538630"/>
              <a:gd name="csX577" fmla="*/ 668507 w 1609516"/>
              <a:gd name="csY577" fmla="*/ 1468418 h 1538630"/>
              <a:gd name="csX578" fmla="*/ 660178 w 1609516"/>
              <a:gd name="csY578" fmla="*/ 1450027 h 1538630"/>
              <a:gd name="csX579" fmla="*/ 657767 w 1609516"/>
              <a:gd name="csY579" fmla="*/ 1445078 h 1538630"/>
              <a:gd name="csX580" fmla="*/ 663369 w 1609516"/>
              <a:gd name="csY580" fmla="*/ 1409390 h 1538630"/>
              <a:gd name="csX581" fmla="*/ 671826 w 1609516"/>
              <a:gd name="csY581" fmla="*/ 1401392 h 1538630"/>
              <a:gd name="csX582" fmla="*/ 678075 w 1609516"/>
              <a:gd name="csY582" fmla="*/ 1390118 h 1538630"/>
              <a:gd name="csX583" fmla="*/ 684323 w 1609516"/>
              <a:gd name="csY583" fmla="*/ 1388709 h 1538630"/>
              <a:gd name="csX584" fmla="*/ 685293 w 1609516"/>
              <a:gd name="csY584" fmla="*/ 1384233 h 1538630"/>
              <a:gd name="csX585" fmla="*/ 686569 w 1609516"/>
              <a:gd name="csY585" fmla="*/ 1378404 h 1538630"/>
              <a:gd name="csX586" fmla="*/ 687207 w 1609516"/>
              <a:gd name="csY586" fmla="*/ 1375456 h 1538630"/>
              <a:gd name="csX587" fmla="*/ 690572 w 1609516"/>
              <a:gd name="csY587" fmla="*/ 1363343 h 1538630"/>
              <a:gd name="csX588" fmla="*/ 692495 w 1609516"/>
              <a:gd name="csY588" fmla="*/ 1323376 h 1538630"/>
              <a:gd name="csX589" fmla="*/ 692625 w 1609516"/>
              <a:gd name="csY589" fmla="*/ 1315006 h 1538630"/>
              <a:gd name="csX590" fmla="*/ 687447 w 1609516"/>
              <a:gd name="csY590" fmla="*/ 1287245 h 1538630"/>
              <a:gd name="csX591" fmla="*/ 682761 w 1609516"/>
              <a:gd name="csY591" fmla="*/ 1285835 h 1538630"/>
              <a:gd name="csX592" fmla="*/ 678954 w 1609516"/>
              <a:gd name="csY592" fmla="*/ 1281608 h 1538630"/>
              <a:gd name="csX593" fmla="*/ 668702 w 1609516"/>
              <a:gd name="csY593" fmla="*/ 1275971 h 1538630"/>
              <a:gd name="csX594" fmla="*/ 662454 w 1609516"/>
              <a:gd name="csY594" fmla="*/ 1270334 h 1538630"/>
              <a:gd name="csX595" fmla="*/ 654643 w 1609516"/>
              <a:gd name="csY595" fmla="*/ 1267516 h 1538630"/>
              <a:gd name="csX596" fmla="*/ 654643 w 1609516"/>
              <a:gd name="csY596" fmla="*/ 1264697 h 1538630"/>
              <a:gd name="csX597" fmla="*/ 650152 w 1609516"/>
              <a:gd name="csY597" fmla="*/ 1264345 h 1538630"/>
              <a:gd name="csX598" fmla="*/ 628087 w 1609516"/>
              <a:gd name="csY598" fmla="*/ 1257651 h 1538630"/>
              <a:gd name="csX599" fmla="*/ 628087 w 1609516"/>
              <a:gd name="csY599" fmla="*/ 1254833 h 1538630"/>
              <a:gd name="csX600" fmla="*/ 625121 w 1609516"/>
              <a:gd name="csY600" fmla="*/ 1254315 h 1538630"/>
              <a:gd name="csX601" fmla="*/ 621252 w 1609516"/>
              <a:gd name="csY601" fmla="*/ 1253600 h 1538630"/>
              <a:gd name="csX602" fmla="*/ 617409 w 1609516"/>
              <a:gd name="csY602" fmla="*/ 1252906 h 1538630"/>
              <a:gd name="csX603" fmla="*/ 610904 w 1609516"/>
              <a:gd name="csY603" fmla="*/ 1249196 h 1538630"/>
              <a:gd name="csX604" fmla="*/ 565739 w 1609516"/>
              <a:gd name="csY604" fmla="*/ 1271742 h 1538630"/>
              <a:gd name="csX605" fmla="*/ 546924 w 1609516"/>
              <a:gd name="csY605" fmla="*/ 1290829 h 1538630"/>
              <a:gd name="csX606" fmla="*/ 543635 w 1609516"/>
              <a:gd name="csY606" fmla="*/ 1294643 h 1538630"/>
              <a:gd name="csX607" fmla="*/ 540651 w 1609516"/>
              <a:gd name="csY607" fmla="*/ 1298188 h 1538630"/>
              <a:gd name="csX608" fmla="*/ 529673 w 1609516"/>
              <a:gd name="csY608" fmla="*/ 1305565 h 1538630"/>
              <a:gd name="csX609" fmla="*/ 526549 w 1609516"/>
              <a:gd name="csY609" fmla="*/ 1311202 h 1538630"/>
              <a:gd name="csX610" fmla="*/ 523425 w 1609516"/>
              <a:gd name="csY610" fmla="*/ 1311202 h 1538630"/>
              <a:gd name="csX611" fmla="*/ 523230 w 1609516"/>
              <a:gd name="csY611" fmla="*/ 1313580 h 1538630"/>
              <a:gd name="csX612" fmla="*/ 517732 w 1609516"/>
              <a:gd name="csY612" fmla="*/ 1319739 h 1538630"/>
              <a:gd name="csX613" fmla="*/ 502239 w 1609516"/>
              <a:gd name="csY613" fmla="*/ 1337096 h 1538630"/>
              <a:gd name="csX614" fmla="*/ 497058 w 1609516"/>
              <a:gd name="csY614" fmla="*/ 1344087 h 1538630"/>
              <a:gd name="csX615" fmla="*/ 494572 w 1609516"/>
              <a:gd name="csY615" fmla="*/ 1347465 h 1538630"/>
              <a:gd name="csX616" fmla="*/ 487776 w 1609516"/>
              <a:gd name="csY616" fmla="*/ 1356181 h 1538630"/>
              <a:gd name="csX617" fmla="*/ 481248 w 1609516"/>
              <a:gd name="csY617" fmla="*/ 1367571 h 1538630"/>
              <a:gd name="csX618" fmla="*/ 478123 w 1609516"/>
              <a:gd name="csY618" fmla="*/ 1367571 h 1538630"/>
              <a:gd name="csX619" fmla="*/ 477635 w 1609516"/>
              <a:gd name="csY619" fmla="*/ 1370565 h 1538630"/>
              <a:gd name="csX620" fmla="*/ 465626 w 1609516"/>
              <a:gd name="csY620" fmla="*/ 1388709 h 1538630"/>
              <a:gd name="csX621" fmla="*/ 461233 w 1609516"/>
              <a:gd name="csY621" fmla="*/ 1397340 h 1538630"/>
              <a:gd name="csX622" fmla="*/ 455765 w 1609516"/>
              <a:gd name="csY622" fmla="*/ 1408086 h 1538630"/>
              <a:gd name="csX623" fmla="*/ 439070 w 1609516"/>
              <a:gd name="csY623" fmla="*/ 1477490 h 1538630"/>
              <a:gd name="csX624" fmla="*/ 434384 w 1609516"/>
              <a:gd name="csY624" fmla="*/ 1478899 h 1538630"/>
              <a:gd name="csX625" fmla="*/ 432431 w 1609516"/>
              <a:gd name="csY625" fmla="*/ 1481982 h 1538630"/>
              <a:gd name="csX626" fmla="*/ 418763 w 1609516"/>
              <a:gd name="csY626" fmla="*/ 1494401 h 1538630"/>
              <a:gd name="csX627" fmla="*/ 415639 w 1609516"/>
              <a:gd name="csY627" fmla="*/ 1494401 h 1538630"/>
              <a:gd name="csX628" fmla="*/ 415639 w 1609516"/>
              <a:gd name="csY628" fmla="*/ 1497219 h 1538630"/>
              <a:gd name="csX629" fmla="*/ 406265 w 1609516"/>
              <a:gd name="csY629" fmla="*/ 1498628 h 1538630"/>
              <a:gd name="csX630" fmla="*/ 406265 w 1609516"/>
              <a:gd name="csY630" fmla="*/ 1501447 h 1538630"/>
              <a:gd name="csX631" fmla="*/ 375023 w 1609516"/>
              <a:gd name="csY631" fmla="*/ 1501447 h 1538630"/>
              <a:gd name="csX632" fmla="*/ 375023 w 1609516"/>
              <a:gd name="csY632" fmla="*/ 1499438 h 1538630"/>
              <a:gd name="csX633" fmla="*/ 374964 w 1609516"/>
              <a:gd name="csY633" fmla="*/ 1499436 h 1538630"/>
              <a:gd name="csX634" fmla="*/ 373179 w 1609516"/>
              <a:gd name="csY634" fmla="*/ 1498628 h 1538630"/>
              <a:gd name="csX635" fmla="*/ 365650 w 1609516"/>
              <a:gd name="csY635" fmla="*/ 1498628 h 1538630"/>
              <a:gd name="csX636" fmla="*/ 363134 w 1609516"/>
              <a:gd name="csY636" fmla="*/ 1494087 h 1538630"/>
              <a:gd name="csX637" fmla="*/ 362171 w 1609516"/>
              <a:gd name="csY637" fmla="*/ 1493651 h 1538630"/>
              <a:gd name="csX638" fmla="*/ 360609 w 1609516"/>
              <a:gd name="csY638" fmla="*/ 1490833 h 1538630"/>
              <a:gd name="csX639" fmla="*/ 363733 w 1609516"/>
              <a:gd name="csY639" fmla="*/ 1490833 h 1538630"/>
              <a:gd name="csX640" fmla="*/ 363733 w 1609516"/>
              <a:gd name="csY640" fmla="*/ 1489980 h 1538630"/>
              <a:gd name="csX641" fmla="*/ 348467 w 1609516"/>
              <a:gd name="csY641" fmla="*/ 1481717 h 1538630"/>
              <a:gd name="csX642" fmla="*/ 343872 w 1609516"/>
              <a:gd name="csY642" fmla="*/ 1461078 h 1538630"/>
              <a:gd name="csX643" fmla="*/ 343656 w 1609516"/>
              <a:gd name="csY643" fmla="*/ 1463649 h 1538630"/>
              <a:gd name="csX644" fmla="*/ 343424 w 1609516"/>
              <a:gd name="csY644" fmla="*/ 1466842 h 1538630"/>
              <a:gd name="csX645" fmla="*/ 341861 w 1609516"/>
              <a:gd name="csY645" fmla="*/ 1466842 h 1538630"/>
              <a:gd name="csX646" fmla="*/ 354143 w 1609516"/>
              <a:gd name="csY646" fmla="*/ 1420549 h 1538630"/>
              <a:gd name="csX647" fmla="*/ 376229 w 1609516"/>
              <a:gd name="csY647" fmla="*/ 1403427 h 1538630"/>
              <a:gd name="csX648" fmla="*/ 379491 w 1609516"/>
              <a:gd name="csY648" fmla="*/ 1404408 h 1538630"/>
              <a:gd name="csX649" fmla="*/ 379710 w 1609516"/>
              <a:gd name="csY649" fmla="*/ 1404210 h 1538630"/>
              <a:gd name="csX650" fmla="*/ 380882 w 1609516"/>
              <a:gd name="csY650" fmla="*/ 1401568 h 1538630"/>
              <a:gd name="csX651" fmla="*/ 392207 w 1609516"/>
              <a:gd name="csY651" fmla="*/ 1392936 h 1538630"/>
              <a:gd name="csX652" fmla="*/ 399542 w 1609516"/>
              <a:gd name="csY652" fmla="*/ 1386774 h 1538630"/>
              <a:gd name="csX653" fmla="*/ 405485 w 1609516"/>
              <a:gd name="csY653" fmla="*/ 1378917 h 1538630"/>
              <a:gd name="csX654" fmla="*/ 412008 w 1609516"/>
              <a:gd name="csY654" fmla="*/ 1369481 h 1538630"/>
              <a:gd name="csX655" fmla="*/ 421130 w 1609516"/>
              <a:gd name="csY655" fmla="*/ 1357057 h 1538630"/>
              <a:gd name="csX656" fmla="*/ 424676 w 1609516"/>
              <a:gd name="csY656" fmla="*/ 1348443 h 1538630"/>
              <a:gd name="csX657" fmla="*/ 427275 w 1609516"/>
              <a:gd name="csY657" fmla="*/ 1348443 h 1538630"/>
              <a:gd name="csX658" fmla="*/ 428135 w 1609516"/>
              <a:gd name="csY658" fmla="*/ 1345727 h 1538630"/>
              <a:gd name="csX659" fmla="*/ 432822 w 1609516"/>
              <a:gd name="csY659" fmla="*/ 1335158 h 1538630"/>
              <a:gd name="csX660" fmla="*/ 435946 w 1609516"/>
              <a:gd name="csY660" fmla="*/ 1335158 h 1538630"/>
              <a:gd name="csX661" fmla="*/ 437704 w 1609516"/>
              <a:gd name="csY661" fmla="*/ 1329786 h 1538630"/>
              <a:gd name="csX662" fmla="*/ 447394 w 1609516"/>
              <a:gd name="csY662" fmla="*/ 1311196 h 1538630"/>
              <a:gd name="csX663" fmla="*/ 469287 w 1609516"/>
              <a:gd name="csY663" fmla="*/ 1265964 h 1538630"/>
              <a:gd name="csX664" fmla="*/ 478178 w 1609516"/>
              <a:gd name="csY664" fmla="*/ 1246787 h 1538630"/>
              <a:gd name="csX665" fmla="*/ 480179 w 1609516"/>
              <a:gd name="csY665" fmla="*/ 1225768 h 1538630"/>
              <a:gd name="csX666" fmla="*/ 480250 w 1609516"/>
              <a:gd name="csY666" fmla="*/ 1217149 h 1538630"/>
              <a:gd name="csX667" fmla="*/ 462972 w 1609516"/>
              <a:gd name="csY667" fmla="*/ 1174827 h 1538630"/>
              <a:gd name="csX668" fmla="*/ 457468 w 1609516"/>
              <a:gd name="csY668" fmla="*/ 1169949 h 1538630"/>
              <a:gd name="csX669" fmla="*/ 440657 w 1609516"/>
              <a:gd name="csY669" fmla="*/ 1152570 h 1538630"/>
              <a:gd name="csX670" fmla="*/ 403142 w 1609516"/>
              <a:gd name="csY670" fmla="*/ 1122366 h 1538630"/>
              <a:gd name="csX671" fmla="*/ 401579 w 1609516"/>
              <a:gd name="csY671" fmla="*/ 1119547 h 1538630"/>
              <a:gd name="csX672" fmla="*/ 364564 w 1609516"/>
              <a:gd name="csY672" fmla="*/ 1118209 h 1538630"/>
              <a:gd name="csX673" fmla="*/ 357822 w 1609516"/>
              <a:gd name="csY673" fmla="*/ 1122041 h 1538630"/>
              <a:gd name="csX674" fmla="*/ 348077 w 1609516"/>
              <a:gd name="csY674" fmla="*/ 1125273 h 1538630"/>
              <a:gd name="csX675" fmla="*/ 334408 w 1609516"/>
              <a:gd name="csY675" fmla="*/ 1132230 h 1538630"/>
              <a:gd name="csX676" fmla="*/ 327964 w 1609516"/>
              <a:gd name="csY676" fmla="*/ 1134080 h 1538630"/>
              <a:gd name="csX677" fmla="*/ 279734 w 1609516"/>
              <a:gd name="csY677" fmla="*/ 1166051 h 1538630"/>
              <a:gd name="csX678" fmla="*/ 276609 w 1609516"/>
              <a:gd name="csY678" fmla="*/ 1173098 h 1538630"/>
              <a:gd name="csX679" fmla="*/ 260988 w 1609516"/>
              <a:gd name="csY679" fmla="*/ 1188599 h 1538630"/>
              <a:gd name="csX680" fmla="*/ 257956 w 1609516"/>
              <a:gd name="csY680" fmla="*/ 1191132 h 1538630"/>
              <a:gd name="csX681" fmla="*/ 243805 w 1609516"/>
              <a:gd name="csY681" fmla="*/ 1196629 h 1538630"/>
              <a:gd name="csX682" fmla="*/ 243805 w 1609516"/>
              <a:gd name="csY682" fmla="*/ 1194236 h 1538630"/>
              <a:gd name="csX683" fmla="*/ 240288 w 1609516"/>
              <a:gd name="csY683" fmla="*/ 1194765 h 1538630"/>
              <a:gd name="csX684" fmla="*/ 243374 w 1609516"/>
              <a:gd name="csY684" fmla="*/ 1194765 h 1538630"/>
              <a:gd name="csX685" fmla="*/ 243374 w 1609516"/>
              <a:gd name="csY685" fmla="*/ 1196797 h 1538630"/>
              <a:gd name="csX686" fmla="*/ 243805 w 1609516"/>
              <a:gd name="csY686" fmla="*/ 1196629 h 1538630"/>
              <a:gd name="csX687" fmla="*/ 243805 w 1609516"/>
              <a:gd name="csY687" fmla="*/ 1197055 h 1538630"/>
              <a:gd name="csX688" fmla="*/ 243374 w 1609516"/>
              <a:gd name="csY688" fmla="*/ 1197055 h 1538630"/>
              <a:gd name="csX689" fmla="*/ 243374 w 1609516"/>
              <a:gd name="csY689" fmla="*/ 1197584 h 1538630"/>
              <a:gd name="csX690" fmla="*/ 241319 w 1609516"/>
              <a:gd name="csY690" fmla="*/ 1197595 h 1538630"/>
              <a:gd name="csX691" fmla="*/ 238009 w 1609516"/>
              <a:gd name="csY691" fmla="*/ 1198881 h 1538630"/>
              <a:gd name="csX692" fmla="*/ 215687 w 1609516"/>
              <a:gd name="csY692" fmla="*/ 1198464 h 1538630"/>
              <a:gd name="csX693" fmla="*/ 215687 w 1609516"/>
              <a:gd name="csY693" fmla="*/ 1197734 h 1538630"/>
              <a:gd name="csX694" fmla="*/ 213936 w 1609516"/>
              <a:gd name="csY694" fmla="*/ 1197744 h 1538630"/>
              <a:gd name="csX695" fmla="*/ 207446 w 1609516"/>
              <a:gd name="csY695" fmla="*/ 1196175 h 1538630"/>
              <a:gd name="csX696" fmla="*/ 207822 w 1609516"/>
              <a:gd name="csY696" fmla="*/ 1195610 h 1538630"/>
              <a:gd name="csX697" fmla="*/ 184737 w 1609516"/>
              <a:gd name="csY697" fmla="*/ 1180936 h 1538630"/>
              <a:gd name="csX698" fmla="*/ 179270 w 1609516"/>
              <a:gd name="csY698" fmla="*/ 1154866 h 1538630"/>
              <a:gd name="csX699" fmla="*/ 179194 w 1609516"/>
              <a:gd name="csY699" fmla="*/ 1151621 h 1538630"/>
              <a:gd name="csX700" fmla="*/ 193195 w 1609516"/>
              <a:gd name="csY700" fmla="*/ 1120065 h 1538630"/>
              <a:gd name="csX701" fmla="*/ 229551 w 1609516"/>
              <a:gd name="csY701" fmla="*/ 1110299 h 1538630"/>
              <a:gd name="csX702" fmla="*/ 260988 w 1609516"/>
              <a:gd name="csY702" fmla="*/ 1108274 h 1538630"/>
              <a:gd name="csX703" fmla="*/ 260988 w 1609516"/>
              <a:gd name="csY703" fmla="*/ 1105455 h 1538630"/>
              <a:gd name="csX704" fmla="*/ 263911 w 1609516"/>
              <a:gd name="csY704" fmla="*/ 1104310 h 1538630"/>
              <a:gd name="csX705" fmla="*/ 286995 w 1609516"/>
              <a:gd name="csY705" fmla="*/ 1090185 h 1538630"/>
              <a:gd name="csX706" fmla="*/ 299358 w 1609516"/>
              <a:gd name="csY706" fmla="*/ 1080970 h 1538630"/>
              <a:gd name="csX707" fmla="*/ 317762 w 1609516"/>
              <a:gd name="csY707" fmla="*/ 1063272 h 1538630"/>
              <a:gd name="csX708" fmla="*/ 325035 w 1609516"/>
              <a:gd name="csY708" fmla="*/ 1057542 h 1538630"/>
              <a:gd name="csX709" fmla="*/ 325328 w 1609516"/>
              <a:gd name="csY709" fmla="*/ 1023104 h 1538630"/>
              <a:gd name="csX710" fmla="*/ 324544 w 1609516"/>
              <a:gd name="csY710" fmla="*/ 1019247 h 1538630"/>
              <a:gd name="csX711" fmla="*/ 317225 w 1609516"/>
              <a:gd name="csY711" fmla="*/ 996945 h 1538630"/>
              <a:gd name="csX712" fmla="*/ 315388 w 1609516"/>
              <a:gd name="csY712" fmla="*/ 992690 h 1538630"/>
              <a:gd name="csX713" fmla="*/ 276232 w 1609516"/>
              <a:gd name="csY713" fmla="*/ 950666 h 1538630"/>
              <a:gd name="csX714" fmla="*/ 271923 w 1609516"/>
              <a:gd name="csY714" fmla="*/ 949031 h 1538630"/>
              <a:gd name="csX715" fmla="*/ 268299 w 1609516"/>
              <a:gd name="csY715" fmla="*/ 947441 h 1538630"/>
              <a:gd name="csX716" fmla="*/ 199187 w 1609516"/>
              <a:gd name="csY716" fmla="*/ 938991 h 1538630"/>
              <a:gd name="csX717" fmla="*/ 193719 w 1609516"/>
              <a:gd name="csY717" fmla="*/ 938971 h 1538630"/>
              <a:gd name="csX718" fmla="*/ 188539 w 1609516"/>
              <a:gd name="csY718" fmla="*/ 938980 h 1538630"/>
              <a:gd name="csX719" fmla="*/ 183874 w 1609516"/>
              <a:gd name="csY719" fmla="*/ 938985 h 1538630"/>
              <a:gd name="csX720" fmla="*/ 173509 w 1609516"/>
              <a:gd name="csY720" fmla="*/ 940576 h 1538630"/>
              <a:gd name="csX721" fmla="*/ 161403 w 1609516"/>
              <a:gd name="csY721" fmla="*/ 940664 h 1538630"/>
              <a:gd name="csX722" fmla="*/ 158102 w 1609516"/>
              <a:gd name="csY722" fmla="*/ 940645 h 1538630"/>
              <a:gd name="csX723" fmla="*/ 150875 w 1609516"/>
              <a:gd name="csY723" fmla="*/ 940583 h 1538630"/>
              <a:gd name="csX724" fmla="*/ 148425 w 1609516"/>
              <a:gd name="csY724" fmla="*/ 940717 h 1538630"/>
              <a:gd name="csX725" fmla="*/ 149617 w 1609516"/>
              <a:gd name="csY725" fmla="*/ 940995 h 1538630"/>
              <a:gd name="csX726" fmla="*/ 149617 w 1609516"/>
              <a:gd name="csY726" fmla="*/ 942404 h 1538630"/>
              <a:gd name="csX727" fmla="*/ 146627 w 1609516"/>
              <a:gd name="csY727" fmla="*/ 942871 h 1538630"/>
              <a:gd name="csX728" fmla="*/ 110564 w 1609516"/>
              <a:gd name="csY728" fmla="*/ 949449 h 1538630"/>
              <a:gd name="csX729" fmla="*/ 111283 w 1609516"/>
              <a:gd name="csY729" fmla="*/ 946205 h 1538630"/>
              <a:gd name="csX730" fmla="*/ 101652 w 1609516"/>
              <a:gd name="csY730" fmla="*/ 956078 h 1538630"/>
              <a:gd name="csX731" fmla="*/ 98052 w 1609516"/>
              <a:gd name="csY731" fmla="*/ 958467 h 1538630"/>
              <a:gd name="csX732" fmla="*/ 67286 w 1609516"/>
              <a:gd name="csY732" fmla="*/ 972989 h 1538630"/>
              <a:gd name="csX733" fmla="*/ 67286 w 1609516"/>
              <a:gd name="csY733" fmla="*/ 975807 h 1538630"/>
              <a:gd name="csX734" fmla="*/ 31942 w 1609516"/>
              <a:gd name="csY734" fmla="*/ 976423 h 1538630"/>
              <a:gd name="csX735" fmla="*/ 5673 w 1609516"/>
              <a:gd name="csY735" fmla="*/ 953419 h 1538630"/>
              <a:gd name="csX736" fmla="*/ 4801 w 1609516"/>
              <a:gd name="csY736" fmla="*/ 944804 h 1538630"/>
              <a:gd name="csX737" fmla="*/ 1676 w 1609516"/>
              <a:gd name="csY737" fmla="*/ 944804 h 1538630"/>
              <a:gd name="csX738" fmla="*/ 17 w 1609516"/>
              <a:gd name="csY738" fmla="*/ 931857 h 1538630"/>
              <a:gd name="csX739" fmla="*/ 59 w 1609516"/>
              <a:gd name="csY739" fmla="*/ 927216 h 1538630"/>
              <a:gd name="csX740" fmla="*/ 115 w 1609516"/>
              <a:gd name="csY740" fmla="*/ 923666 h 1538630"/>
              <a:gd name="csX741" fmla="*/ 3238 w 1609516"/>
              <a:gd name="csY741" fmla="*/ 923666 h 1538630"/>
              <a:gd name="csX742" fmla="*/ 3238 w 1609516"/>
              <a:gd name="csY742" fmla="*/ 918029 h 1538630"/>
              <a:gd name="csX743" fmla="*/ 6363 w 1609516"/>
              <a:gd name="csY743" fmla="*/ 918029 h 1538630"/>
              <a:gd name="csX744" fmla="*/ 6656 w 1609516"/>
              <a:gd name="csY744" fmla="*/ 912832 h 1538630"/>
              <a:gd name="csX745" fmla="*/ 15736 w 1609516"/>
              <a:gd name="csY745" fmla="*/ 899709 h 1538630"/>
              <a:gd name="csX746" fmla="*/ 17243 w 1609516"/>
              <a:gd name="csY746" fmla="*/ 898894 h 1538630"/>
              <a:gd name="csX747" fmla="*/ 16800 w 1609516"/>
              <a:gd name="csY747" fmla="*/ 898694 h 1538630"/>
              <a:gd name="csX748" fmla="*/ 24988 w 1609516"/>
              <a:gd name="csY748" fmla="*/ 894101 h 1538630"/>
              <a:gd name="csX749" fmla="*/ 26768 w 1609516"/>
              <a:gd name="csY749" fmla="*/ 892399 h 1538630"/>
              <a:gd name="csX750" fmla="*/ 30198 w 1609516"/>
              <a:gd name="csY750" fmla="*/ 890164 h 1538630"/>
              <a:gd name="csX751" fmla="*/ 32204 w 1609516"/>
              <a:gd name="csY751" fmla="*/ 890054 h 1538630"/>
              <a:gd name="csX752" fmla="*/ 38914 w 1609516"/>
              <a:gd name="csY752" fmla="*/ 886291 h 1538630"/>
              <a:gd name="csX753" fmla="*/ 63664 w 1609516"/>
              <a:gd name="csY753" fmla="*/ 886011 h 1538630"/>
              <a:gd name="csX754" fmla="*/ 63664 w 1609516"/>
              <a:gd name="csY754" fmla="*/ 886531 h 1538630"/>
              <a:gd name="csX755" fmla="*/ 70784 w 1609516"/>
              <a:gd name="csY755" fmla="*/ 886647 h 1538630"/>
              <a:gd name="csX756" fmla="*/ 82126 w 1609516"/>
              <a:gd name="csY756" fmla="*/ 889845 h 1538630"/>
              <a:gd name="csX757" fmla="*/ 114149 w 1609516"/>
              <a:gd name="csY757" fmla="*/ 892663 h 1538630"/>
              <a:gd name="csX758" fmla="*/ 118836 w 1609516"/>
              <a:gd name="csY758" fmla="*/ 889845 h 1538630"/>
              <a:gd name="csX759" fmla="*/ 131626 w 1609516"/>
              <a:gd name="csY759" fmla="*/ 887114 h 1538630"/>
              <a:gd name="csX760" fmla="*/ 155116 w 1609516"/>
              <a:gd name="csY760" fmla="*/ 880913 h 1538630"/>
              <a:gd name="csX761" fmla="*/ 165406 w 1609516"/>
              <a:gd name="csY761" fmla="*/ 878483 h 1538630"/>
              <a:gd name="csX762" fmla="*/ 176634 w 1609516"/>
              <a:gd name="csY762" fmla="*/ 874343 h 1538630"/>
              <a:gd name="csX763" fmla="*/ 186397 w 1609516"/>
              <a:gd name="csY763" fmla="*/ 871524 h 1538630"/>
              <a:gd name="csX764" fmla="*/ 191871 w 1609516"/>
              <a:gd name="csY764" fmla="*/ 870033 h 1538630"/>
              <a:gd name="csX765" fmla="*/ 203483 w 1609516"/>
              <a:gd name="csY765" fmla="*/ 867208 h 1538630"/>
              <a:gd name="csX766" fmla="*/ 211001 w 1609516"/>
              <a:gd name="csY766" fmla="*/ 861660 h 1538630"/>
              <a:gd name="csX767" fmla="*/ 218031 w 1609516"/>
              <a:gd name="csY767" fmla="*/ 858577 h 1538630"/>
              <a:gd name="csX768" fmla="*/ 254740 w 1609516"/>
              <a:gd name="csY768" fmla="*/ 825020 h 1538630"/>
              <a:gd name="csX769" fmla="*/ 257864 w 1609516"/>
              <a:gd name="csY769" fmla="*/ 820792 h 1538630"/>
              <a:gd name="csX770" fmla="*/ 258318 w 1609516"/>
              <a:gd name="csY770" fmla="*/ 813810 h 1538630"/>
              <a:gd name="csX771" fmla="*/ 258378 w 1609516"/>
              <a:gd name="csY771" fmla="*/ 809502 h 1538630"/>
              <a:gd name="csX772" fmla="*/ 258389 w 1609516"/>
              <a:gd name="csY772" fmla="*/ 804845 h 1538630"/>
              <a:gd name="csX773" fmla="*/ 258420 w 1609516"/>
              <a:gd name="csY773" fmla="*/ 800036 h 1538630"/>
              <a:gd name="csX774" fmla="*/ 258443 w 1609516"/>
              <a:gd name="csY774" fmla="*/ 789939 h 1538630"/>
              <a:gd name="csX775" fmla="*/ 258566 w 1609516"/>
              <a:gd name="csY775" fmla="*/ 774594 h 1538630"/>
              <a:gd name="csX776" fmla="*/ 258584 w 1609516"/>
              <a:gd name="csY776" fmla="*/ 764771 h 1538630"/>
              <a:gd name="csX777" fmla="*/ 258652 w 1609516"/>
              <a:gd name="csY777" fmla="*/ 760174 h 1538630"/>
              <a:gd name="csX778" fmla="*/ 251616 w 1609516"/>
              <a:gd name="csY778" fmla="*/ 733421 h 1538630"/>
              <a:gd name="csX779" fmla="*/ 247613 w 1609516"/>
              <a:gd name="csY779" fmla="*/ 721883 h 1538630"/>
              <a:gd name="csX780" fmla="*/ 241291 w 1609516"/>
              <a:gd name="csY780" fmla="*/ 705644 h 1538630"/>
              <a:gd name="csX781" fmla="*/ 237557 w 1609516"/>
              <a:gd name="csY781" fmla="*/ 689735 h 1538630"/>
              <a:gd name="csX782" fmla="*/ 248492 w 1609516"/>
              <a:gd name="csY782" fmla="*/ 685507 h 1538630"/>
              <a:gd name="csX783" fmla="*/ 248492 w 1609516"/>
              <a:gd name="csY783" fmla="*/ 681279 h 1538630"/>
              <a:gd name="csX784" fmla="*/ 240681 w 1609516"/>
              <a:gd name="csY784" fmla="*/ 679870 h 1538630"/>
              <a:gd name="csX785" fmla="*/ 240681 w 1609516"/>
              <a:gd name="csY785" fmla="*/ 677052 h 1538630"/>
              <a:gd name="csX786" fmla="*/ 238094 w 1609516"/>
              <a:gd name="csY786" fmla="*/ 676645 h 1538630"/>
              <a:gd name="csX787" fmla="*/ 225841 w 1609516"/>
              <a:gd name="csY787" fmla="*/ 670886 h 1538630"/>
              <a:gd name="csX788" fmla="*/ 201531 w 1609516"/>
              <a:gd name="csY788" fmla="*/ 662508 h 1538630"/>
              <a:gd name="csX789" fmla="*/ 188252 w 1609516"/>
              <a:gd name="csY789" fmla="*/ 658644 h 1538630"/>
              <a:gd name="csX790" fmla="*/ 182431 w 1609516"/>
              <a:gd name="csY790" fmla="*/ 657327 h 1538630"/>
              <a:gd name="csX791" fmla="*/ 182431 w 1609516"/>
              <a:gd name="csY791" fmla="*/ 657613 h 1538630"/>
              <a:gd name="csX792" fmla="*/ 146503 w 1609516"/>
              <a:gd name="csY792" fmla="*/ 656204 h 1538630"/>
              <a:gd name="csX793" fmla="*/ 146503 w 1609516"/>
              <a:gd name="csY793" fmla="*/ 659022 h 1538630"/>
              <a:gd name="csX794" fmla="*/ 110378 w 1609516"/>
              <a:gd name="csY794" fmla="*/ 663778 h 1538630"/>
              <a:gd name="csX795" fmla="*/ 106453 w 1609516"/>
              <a:gd name="csY795" fmla="*/ 663836 h 1538630"/>
              <a:gd name="csX796" fmla="*/ 102751 w 1609516"/>
              <a:gd name="csY796" fmla="*/ 663811 h 1538630"/>
              <a:gd name="csX797" fmla="*/ 99449 w 1609516"/>
              <a:gd name="csY797" fmla="*/ 663797 h 1538630"/>
              <a:gd name="csX798" fmla="*/ 91828 w 1609516"/>
              <a:gd name="csY798" fmla="*/ 659022 h 1538630"/>
              <a:gd name="csX799" fmla="*/ 98077 w 1609516"/>
              <a:gd name="csY799" fmla="*/ 659022 h 1538630"/>
              <a:gd name="csX800" fmla="*/ 98077 w 1609516"/>
              <a:gd name="csY800" fmla="*/ 661841 h 1538630"/>
              <a:gd name="csX801" fmla="*/ 119023 w 1609516"/>
              <a:gd name="csY801" fmla="*/ 661357 h 1538630"/>
              <a:gd name="csX802" fmla="*/ 119536 w 1609516"/>
              <a:gd name="csY802" fmla="*/ 661197 h 1538630"/>
              <a:gd name="csX803" fmla="*/ 109853 w 1609516"/>
              <a:gd name="csY803" fmla="*/ 661639 h 1538630"/>
              <a:gd name="csX804" fmla="*/ 106552 w 1609516"/>
              <a:gd name="csY804" fmla="*/ 661619 h 1538630"/>
              <a:gd name="csX805" fmla="*/ 98528 w 1609516"/>
              <a:gd name="csY805" fmla="*/ 661550 h 1538630"/>
              <a:gd name="csX806" fmla="*/ 98528 w 1609516"/>
              <a:gd name="csY806" fmla="*/ 658732 h 1538630"/>
              <a:gd name="csX807" fmla="*/ 89155 w 1609516"/>
              <a:gd name="csY807" fmla="*/ 657323 h 1538630"/>
              <a:gd name="csX808" fmla="*/ 89155 w 1609516"/>
              <a:gd name="csY808" fmla="*/ 654504 h 1538630"/>
              <a:gd name="csX809" fmla="*/ 86397 w 1609516"/>
              <a:gd name="csY809" fmla="*/ 653442 h 1538630"/>
              <a:gd name="csX810" fmla="*/ 77049 w 1609516"/>
              <a:gd name="csY810" fmla="*/ 646137 h 1538630"/>
              <a:gd name="csX811" fmla="*/ 74145 w 1609516"/>
              <a:gd name="csY811" fmla="*/ 643192 h 1538630"/>
              <a:gd name="csX812" fmla="*/ 71972 w 1609516"/>
              <a:gd name="csY812" fmla="*/ 636185 h 1538630"/>
              <a:gd name="csX813" fmla="*/ 68848 w 1609516"/>
              <a:gd name="csY813" fmla="*/ 636185 h 1538630"/>
              <a:gd name="csX814" fmla="*/ 70410 w 1609516"/>
              <a:gd name="csY814" fmla="*/ 595317 h 1538630"/>
              <a:gd name="csX815" fmla="*/ 79782 w 1609516"/>
              <a:gd name="csY815" fmla="*/ 584043 h 1538630"/>
              <a:gd name="csX816" fmla="*/ 82656 w 1609516"/>
              <a:gd name="csY816" fmla="*/ 581115 h 1538630"/>
              <a:gd name="csX817" fmla="*/ 116694 w 1609516"/>
              <a:gd name="csY817" fmla="*/ 572323 h 1538630"/>
              <a:gd name="csX818" fmla="*/ 152031 w 1609516"/>
              <a:gd name="csY818" fmla="*/ 590385 h 1538630"/>
              <a:gd name="csX819" fmla="*/ 191474 w 1609516"/>
              <a:gd name="csY819" fmla="*/ 605886 h 1538630"/>
              <a:gd name="csX820" fmla="*/ 206314 w 1609516"/>
              <a:gd name="csY820" fmla="*/ 608000 h 1538630"/>
              <a:gd name="csX821" fmla="*/ 206314 w 1609516"/>
              <a:gd name="csY821" fmla="*/ 610818 h 1538630"/>
              <a:gd name="csX822" fmla="*/ 234433 w 1609516"/>
              <a:gd name="csY822" fmla="*/ 610818 h 1538630"/>
              <a:gd name="csX823" fmla="*/ 239522 w 1609516"/>
              <a:gd name="csY823" fmla="*/ 610802 h 1538630"/>
              <a:gd name="csX824" fmla="*/ 268799 w 1609516"/>
              <a:gd name="csY824" fmla="*/ 600954 h 1538630"/>
              <a:gd name="csX825" fmla="*/ 271740 w 1609516"/>
              <a:gd name="csY825" fmla="*/ 599325 h 1538630"/>
              <a:gd name="csX826" fmla="*/ 284420 w 1609516"/>
              <a:gd name="csY826" fmla="*/ 579816 h 1538630"/>
              <a:gd name="csX827" fmla="*/ 289399 w 1609516"/>
              <a:gd name="csY827" fmla="*/ 568630 h 1538630"/>
              <a:gd name="csX828" fmla="*/ 293958 w 1609516"/>
              <a:gd name="csY828" fmla="*/ 535838 h 1538630"/>
              <a:gd name="csX829" fmla="*/ 289107 w 1609516"/>
              <a:gd name="csY829" fmla="*/ 529084 h 1538630"/>
              <a:gd name="csX830" fmla="*/ 289107 w 1609516"/>
              <a:gd name="csY830" fmla="*/ 526265 h 1538630"/>
              <a:gd name="csX831" fmla="*/ 284420 w 1609516"/>
              <a:gd name="csY831" fmla="*/ 524856 h 1538630"/>
              <a:gd name="csX832" fmla="*/ 282858 w 1609516"/>
              <a:gd name="csY832" fmla="*/ 520628 h 1538630"/>
              <a:gd name="csX833" fmla="*/ 277977 w 1609516"/>
              <a:gd name="csY833" fmla="*/ 516577 h 1538630"/>
              <a:gd name="csX834" fmla="*/ 264925 w 1609516"/>
              <a:gd name="csY834" fmla="*/ 506443 h 1538630"/>
              <a:gd name="csX835" fmla="*/ 229746 w 1609516"/>
              <a:gd name="csY835" fmla="*/ 481170 h 1538630"/>
              <a:gd name="csX836" fmla="*/ 221057 w 1609516"/>
              <a:gd name="csY836" fmla="*/ 475445 h 1538630"/>
              <a:gd name="csX837" fmla="*/ 212563 w 1609516"/>
              <a:gd name="csY837" fmla="*/ 469896 h 1538630"/>
              <a:gd name="csX838" fmla="*/ 208889 w 1609516"/>
              <a:gd name="csY838" fmla="*/ 467491 h 1538630"/>
              <a:gd name="csX839" fmla="*/ 190406 w 1609516"/>
              <a:gd name="csY839" fmla="*/ 456382 h 1538630"/>
              <a:gd name="csX840" fmla="*/ 186942 w 1609516"/>
              <a:gd name="csY840" fmla="*/ 454460 h 1538630"/>
              <a:gd name="csX841" fmla="*/ 180041 w 1609516"/>
              <a:gd name="csY841" fmla="*/ 450696 h 1538630"/>
              <a:gd name="csX842" fmla="*/ 171948 w 1609516"/>
              <a:gd name="csY842" fmla="*/ 445940 h 1538630"/>
              <a:gd name="csX843" fmla="*/ 171948 w 1609516"/>
              <a:gd name="csY843" fmla="*/ 443121 h 1538630"/>
              <a:gd name="csX844" fmla="*/ 168482 w 1609516"/>
              <a:gd name="csY844" fmla="*/ 442708 h 1538630"/>
              <a:gd name="csX845" fmla="*/ 157107 w 1609516"/>
              <a:gd name="csY845" fmla="*/ 437044 h 1538630"/>
              <a:gd name="csX846" fmla="*/ 132559 w 1609516"/>
              <a:gd name="csY846" fmla="*/ 427510 h 1538630"/>
              <a:gd name="csX847" fmla="*/ 123522 w 1609516"/>
              <a:gd name="csY847" fmla="*/ 421983 h 1538630"/>
              <a:gd name="csX848" fmla="*/ 107986 w 1609516"/>
              <a:gd name="csY848" fmla="*/ 418730 h 1538630"/>
              <a:gd name="csX849" fmla="*/ 102494 w 1609516"/>
              <a:gd name="csY849" fmla="*/ 418622 h 1538630"/>
              <a:gd name="csX850" fmla="*/ 91157 w 1609516"/>
              <a:gd name="csY850" fmla="*/ 418490 h 1538630"/>
              <a:gd name="csX851" fmla="*/ 55277 w 1609516"/>
              <a:gd name="csY851" fmla="*/ 410445 h 1538630"/>
              <a:gd name="csX852" fmla="*/ 51665 w 1609516"/>
              <a:gd name="csY852" fmla="*/ 406481 h 1538630"/>
              <a:gd name="csX853" fmla="*/ 45904 w 1609516"/>
              <a:gd name="csY853" fmla="*/ 400492 h 1538630"/>
              <a:gd name="csX854" fmla="*/ 43152 w 1609516"/>
              <a:gd name="csY854" fmla="*/ 397564 h 1538630"/>
              <a:gd name="csX855" fmla="*/ 37605 w 1609516"/>
              <a:gd name="csY855" fmla="*/ 393798 h 1538630"/>
              <a:gd name="csX856" fmla="*/ 38995 w 1609516"/>
              <a:gd name="csY856" fmla="*/ 368712 h 1538630"/>
              <a:gd name="csX857" fmla="*/ 38666 w 1609516"/>
              <a:gd name="csY857" fmla="*/ 369724 h 1538630"/>
              <a:gd name="csX858" fmla="*/ 35542 w 1609516"/>
              <a:gd name="csY858" fmla="*/ 384081 h 1538630"/>
              <a:gd name="csX859" fmla="*/ 33326 w 1609516"/>
              <a:gd name="csY859" fmla="*/ 357791 h 1538630"/>
              <a:gd name="csX860" fmla="*/ 52725 w 1609516"/>
              <a:gd name="csY860" fmla="*/ 333349 h 1538630"/>
              <a:gd name="csX861" fmla="*/ 55222 w 1609516"/>
              <a:gd name="csY861" fmla="*/ 334475 h 1538630"/>
              <a:gd name="csX862" fmla="*/ 56222 w 1609516"/>
              <a:gd name="csY862" fmla="*/ 333347 h 1538630"/>
              <a:gd name="csX863" fmla="*/ 55871 w 1609516"/>
              <a:gd name="csY863" fmla="*/ 333347 h 1538630"/>
              <a:gd name="csX864" fmla="*/ 56346 w 1609516"/>
              <a:gd name="csY864" fmla="*/ 333207 h 1538630"/>
              <a:gd name="csX865" fmla="*/ 56351 w 1609516"/>
              <a:gd name="csY865" fmla="*/ 333202 h 1538630"/>
              <a:gd name="csX866" fmla="*/ 56365 w 1609516"/>
              <a:gd name="csY866" fmla="*/ 333202 h 1538630"/>
              <a:gd name="csX867" fmla="*/ 79571 w 1609516"/>
              <a:gd name="csY867" fmla="*/ 326360 h 1538630"/>
              <a:gd name="csX868" fmla="*/ 104297 w 1609516"/>
              <a:gd name="csY868" fmla="*/ 330529 h 1538630"/>
              <a:gd name="csX869" fmla="*/ 107170 w 1609516"/>
              <a:gd name="csY869" fmla="*/ 334417 h 1538630"/>
              <a:gd name="csX870" fmla="*/ 109366 w 1609516"/>
              <a:gd name="csY870" fmla="*/ 336046 h 1538630"/>
              <a:gd name="csX871" fmla="*/ 109463 w 1609516"/>
              <a:gd name="csY871" fmla="*/ 336020 h 1538630"/>
              <a:gd name="csX872" fmla="*/ 109463 w 1609516"/>
              <a:gd name="csY872" fmla="*/ 336118 h 1538630"/>
              <a:gd name="csX873" fmla="*/ 115226 w 1609516"/>
              <a:gd name="csY873" fmla="*/ 340394 h 1538630"/>
              <a:gd name="csX874" fmla="*/ 114010 w 1609516"/>
              <a:gd name="csY874" fmla="*/ 340120 h 1538630"/>
              <a:gd name="csX875" fmla="*/ 133285 w 1609516"/>
              <a:gd name="csY875" fmla="*/ 357423 h 1538630"/>
              <a:gd name="csX876" fmla="*/ 173509 w 1609516"/>
              <a:gd name="csY876" fmla="*/ 389571 h 1538630"/>
              <a:gd name="csX877" fmla="*/ 181711 w 1609516"/>
              <a:gd name="csY877" fmla="*/ 393270 h 1538630"/>
              <a:gd name="csX878" fmla="*/ 185507 w 1609516"/>
              <a:gd name="csY878" fmla="*/ 394976 h 1538630"/>
              <a:gd name="csX879" fmla="*/ 192658 w 1609516"/>
              <a:gd name="csY879" fmla="*/ 398257 h 1538630"/>
              <a:gd name="csX880" fmla="*/ 195966 w 1609516"/>
              <a:gd name="csY880" fmla="*/ 399788 h 1538630"/>
              <a:gd name="csX881" fmla="*/ 198833 w 1609516"/>
              <a:gd name="csY881" fmla="*/ 401131 h 1538630"/>
              <a:gd name="csX882" fmla="*/ 207877 w 1609516"/>
              <a:gd name="csY882" fmla="*/ 403663 h 1538630"/>
              <a:gd name="csX883" fmla="*/ 207877 w 1609516"/>
              <a:gd name="csY883" fmla="*/ 406481 h 1538630"/>
              <a:gd name="csX884" fmla="*/ 248492 w 1609516"/>
              <a:gd name="csY884" fmla="*/ 419428 h 1538630"/>
              <a:gd name="csX885" fmla="*/ 253965 w 1609516"/>
              <a:gd name="csY885" fmla="*/ 421000 h 1538630"/>
              <a:gd name="csX886" fmla="*/ 267237 w 1609516"/>
              <a:gd name="csY886" fmla="*/ 424801 h 1538630"/>
              <a:gd name="csX887" fmla="*/ 267237 w 1609516"/>
              <a:gd name="csY887" fmla="*/ 426451 h 1538630"/>
              <a:gd name="csX888" fmla="*/ 288701 w 1609516"/>
              <a:gd name="csY888" fmla="*/ 429217 h 1538630"/>
              <a:gd name="csX889" fmla="*/ 288701 w 1609516"/>
              <a:gd name="csY889" fmla="*/ 432036 h 1538630"/>
              <a:gd name="csX890" fmla="*/ 327010 w 1609516"/>
              <a:gd name="csY890" fmla="*/ 433628 h 1538630"/>
              <a:gd name="csX891" fmla="*/ 337486 w 1609516"/>
              <a:gd name="csY891" fmla="*/ 433637 h 1538630"/>
              <a:gd name="csX892" fmla="*/ 344229 w 1609516"/>
              <a:gd name="csY892" fmla="*/ 433632 h 1538630"/>
              <a:gd name="csX893" fmla="*/ 350323 w 1609516"/>
              <a:gd name="csY893" fmla="*/ 433627 h 1538630"/>
              <a:gd name="csX894" fmla="*/ 365245 w 1609516"/>
              <a:gd name="csY894" fmla="*/ 432036 h 1538630"/>
              <a:gd name="csX895" fmla="*/ 360797 w 1609516"/>
              <a:gd name="csY895" fmla="*/ 433759 h 1538630"/>
              <a:gd name="csX896" fmla="*/ 365650 w 1609516"/>
              <a:gd name="csY896" fmla="*/ 433257 h 1538630"/>
              <a:gd name="csX897" fmla="*/ 367213 w 1609516"/>
              <a:gd name="csY897" fmla="*/ 429029 h 1538630"/>
              <a:gd name="csX898" fmla="*/ 375188 w 1609516"/>
              <a:gd name="csY898" fmla="*/ 424906 h 1538630"/>
              <a:gd name="csX899" fmla="*/ 404704 w 1609516"/>
              <a:gd name="csY899" fmla="*/ 389571 h 1538630"/>
              <a:gd name="csX900" fmla="*/ 406265 w 1609516"/>
              <a:gd name="csY900" fmla="*/ 388161 h 1538630"/>
              <a:gd name="csX901" fmla="*/ 406559 w 1609516"/>
              <a:gd name="csY901" fmla="*/ 370106 h 1538630"/>
              <a:gd name="csX902" fmla="*/ 406617 w 1609516"/>
              <a:gd name="csY902" fmla="*/ 364973 h 1538630"/>
              <a:gd name="csX903" fmla="*/ 406626 w 1609516"/>
              <a:gd name="csY903" fmla="*/ 360038 h 1538630"/>
              <a:gd name="csX904" fmla="*/ 406645 w 1609516"/>
              <a:gd name="csY904" fmla="*/ 355503 h 1538630"/>
              <a:gd name="csX905" fmla="*/ 403142 w 1609516"/>
              <a:gd name="csY905" fmla="*/ 345885 h 1538630"/>
              <a:gd name="csX906" fmla="*/ 401579 w 1609516"/>
              <a:gd name="csY906" fmla="*/ 338663 h 1538630"/>
              <a:gd name="csX907" fmla="*/ 390938 w 1609516"/>
              <a:gd name="csY907" fmla="*/ 315939 h 1538630"/>
              <a:gd name="csX908" fmla="*/ 388976 w 1609516"/>
              <a:gd name="csY908" fmla="*/ 312762 h 1538630"/>
              <a:gd name="csX909" fmla="*/ 377934 w 1609516"/>
              <a:gd name="csY909" fmla="*/ 297817 h 1538630"/>
              <a:gd name="csX910" fmla="*/ 368775 w 1609516"/>
              <a:gd name="csY910" fmla="*/ 282470 h 1538630"/>
              <a:gd name="csX911" fmla="*/ 359890 w 1609516"/>
              <a:gd name="csY911" fmla="*/ 271284 h 1538630"/>
              <a:gd name="csX912" fmla="*/ 357374 w 1609516"/>
              <a:gd name="csY912" fmla="*/ 268288 h 1538630"/>
              <a:gd name="csX913" fmla="*/ 337533 w 1609516"/>
              <a:gd name="csY913" fmla="*/ 248649 h 1538630"/>
              <a:gd name="csX914" fmla="*/ 335214 w 1609516"/>
              <a:gd name="csY914" fmla="*/ 246369 h 1538630"/>
              <a:gd name="csX915" fmla="*/ 327085 w 1609516"/>
              <a:gd name="csY915" fmla="*/ 242571 h 1538630"/>
              <a:gd name="csX916" fmla="*/ 288785 w 1609516"/>
              <a:gd name="csY916" fmla="*/ 207968 h 1538630"/>
              <a:gd name="csX917" fmla="*/ 286373 w 1609516"/>
              <a:gd name="csY917" fmla="*/ 192544 h 1538630"/>
              <a:gd name="csX918" fmla="*/ 286385 w 1609516"/>
              <a:gd name="csY918" fmla="*/ 189190 h 1538630"/>
              <a:gd name="csX919" fmla="*/ 300042 w 1609516"/>
              <a:gd name="csY919" fmla="*/ 164095 h 1538630"/>
              <a:gd name="csX920" fmla="*/ 302757 w 1609516"/>
              <a:gd name="csY920" fmla="*/ 161381 h 1538630"/>
              <a:gd name="csX921" fmla="*/ 338411 w 1609516"/>
              <a:gd name="csY921" fmla="*/ 152293 h 1538630"/>
              <a:gd name="csX922" fmla="*/ 368482 w 1609516"/>
              <a:gd name="csY922" fmla="*/ 161893 h 1538630"/>
              <a:gd name="csX923" fmla="*/ 371899 w 1609516"/>
              <a:gd name="csY923" fmla="*/ 165505 h 1538630"/>
              <a:gd name="csX924" fmla="*/ 375121 w 1609516"/>
              <a:gd name="csY924" fmla="*/ 168587 h 1538630"/>
              <a:gd name="csX925" fmla="*/ 384982 w 1609516"/>
              <a:gd name="csY925" fmla="*/ 193777 h 1538630"/>
              <a:gd name="csX926" fmla="*/ 390352 w 1609516"/>
              <a:gd name="csY926" fmla="*/ 214563 h 1538630"/>
              <a:gd name="csX927" fmla="*/ 391529 w 1609516"/>
              <a:gd name="csY927" fmla="*/ 217626 h 1538630"/>
              <a:gd name="csX928" fmla="*/ 401579 w 1609516"/>
              <a:gd name="csY928" fmla="*/ 234556 h 1538630"/>
              <a:gd name="csX929" fmla="*/ 401579 w 1609516"/>
              <a:gd name="csY929" fmla="*/ 238784 h 1538630"/>
              <a:gd name="csX930" fmla="*/ 404215 w 1609516"/>
              <a:gd name="csY930" fmla="*/ 239753 h 1538630"/>
              <a:gd name="csX931" fmla="*/ 417811 w 1609516"/>
              <a:gd name="csY931" fmla="*/ 251996 h 1538630"/>
              <a:gd name="csX932" fmla="*/ 426866 w 1609516"/>
              <a:gd name="csY932" fmla="*/ 262300 h 1538630"/>
              <a:gd name="csX933" fmla="*/ 450097 w 1609516"/>
              <a:gd name="csY933" fmla="*/ 287628 h 1538630"/>
              <a:gd name="csX934" fmla="*/ 457425 w 1609516"/>
              <a:gd name="csY934" fmla="*/ 293920 h 1538630"/>
              <a:gd name="csX935" fmla="*/ 460940 w 1609516"/>
              <a:gd name="csY935" fmla="*/ 296562 h 1538630"/>
              <a:gd name="csX936" fmla="*/ 460940 w 1609516"/>
              <a:gd name="csY936" fmla="*/ 300790 h 1538630"/>
              <a:gd name="csX937" fmla="*/ 473437 w 1609516"/>
              <a:gd name="csY937" fmla="*/ 305018 h 1538630"/>
              <a:gd name="csX938" fmla="*/ 473437 w 1609516"/>
              <a:gd name="csY938" fmla="*/ 307836 h 1538630"/>
              <a:gd name="csX939" fmla="*/ 479881 w 1609516"/>
              <a:gd name="csY939" fmla="*/ 309862 h 1538630"/>
              <a:gd name="csX940" fmla="*/ 483505 w 1609516"/>
              <a:gd name="csY940" fmla="*/ 311001 h 1538630"/>
              <a:gd name="csX941" fmla="*/ 548419 w 1609516"/>
              <a:gd name="csY941" fmla="*/ 306427 h 1538630"/>
              <a:gd name="csX942" fmla="*/ 551842 w 1609516"/>
              <a:gd name="csY942" fmla="*/ 305127 h 1538630"/>
              <a:gd name="csX943" fmla="*/ 560232 w 1609516"/>
              <a:gd name="csY943" fmla="*/ 298148 h 1538630"/>
              <a:gd name="csX944" fmla="*/ 562972 w 1609516"/>
              <a:gd name="csY944" fmla="*/ 295252 h 1538630"/>
              <a:gd name="csX945" fmla="*/ 568086 w 1609516"/>
              <a:gd name="csY945" fmla="*/ 289152 h 1538630"/>
              <a:gd name="csX946" fmla="*/ 570289 w 1609516"/>
              <a:gd name="csY946" fmla="*/ 286697 h 1538630"/>
              <a:gd name="csX947" fmla="*/ 573413 w 1609516"/>
              <a:gd name="csY947" fmla="*/ 286697 h 1538630"/>
              <a:gd name="csX948" fmla="*/ 577220 w 1609516"/>
              <a:gd name="csY948" fmla="*/ 257016 h 1538630"/>
              <a:gd name="csX949" fmla="*/ 577235 w 1609516"/>
              <a:gd name="csY949" fmla="*/ 254206 h 1538630"/>
              <a:gd name="csX950" fmla="*/ 569443 w 1609516"/>
              <a:gd name="csY950" fmla="*/ 206049 h 1538630"/>
              <a:gd name="csX951" fmla="*/ 568726 w 1609516"/>
              <a:gd name="csY951" fmla="*/ 200735 h 1538630"/>
              <a:gd name="csX952" fmla="*/ 565602 w 1609516"/>
              <a:gd name="csY952" fmla="*/ 200735 h 1538630"/>
              <a:gd name="csX953" fmla="*/ 559549 w 1609516"/>
              <a:gd name="csY953" fmla="*/ 184441 h 1538630"/>
              <a:gd name="csX954" fmla="*/ 537484 w 1609516"/>
              <a:gd name="csY954" fmla="*/ 159867 h 1538630"/>
              <a:gd name="csX955" fmla="*/ 531235 w 1609516"/>
              <a:gd name="csY955" fmla="*/ 154230 h 1538630"/>
              <a:gd name="csX956" fmla="*/ 531235 w 1609516"/>
              <a:gd name="csY956" fmla="*/ 151412 h 1538630"/>
              <a:gd name="csX957" fmla="*/ 526549 w 1609516"/>
              <a:gd name="csY957" fmla="*/ 150003 h 1538630"/>
              <a:gd name="csX958" fmla="*/ 524304 w 1609516"/>
              <a:gd name="csY958" fmla="*/ 107198 h 1538630"/>
              <a:gd name="csX959" fmla="*/ 547052 w 1609516"/>
              <a:gd name="csY959" fmla="*/ 85972 h 1538630"/>
              <a:gd name="csX960" fmla="*/ 588460 w 1609516"/>
              <a:gd name="csY960" fmla="*/ 83538 h 1538630"/>
              <a:gd name="csX961" fmla="*/ 617152 w 1609516"/>
              <a:gd name="csY961" fmla="*/ 111954 h 1538630"/>
              <a:gd name="csX962" fmla="*/ 617884 w 1609516"/>
              <a:gd name="csY962" fmla="*/ 124175 h 1538630"/>
              <a:gd name="csX963" fmla="*/ 617917 w 1609516"/>
              <a:gd name="csY963" fmla="*/ 127607 h 1538630"/>
              <a:gd name="csX964" fmla="*/ 617919 w 1609516"/>
              <a:gd name="csY964" fmla="*/ 141969 h 1538630"/>
              <a:gd name="csX965" fmla="*/ 630625 w 1609516"/>
              <a:gd name="csY965" fmla="*/ 191311 h 1538630"/>
              <a:gd name="csX966" fmla="*/ 637850 w 1609516"/>
              <a:gd name="csY966" fmla="*/ 205139 h 1538630"/>
              <a:gd name="csX967" fmla="*/ 643708 w 1609516"/>
              <a:gd name="csY967" fmla="*/ 212009 h 1538630"/>
              <a:gd name="csX968" fmla="*/ 647027 w 1609516"/>
              <a:gd name="csY968" fmla="*/ 217645 h 1538630"/>
              <a:gd name="csX969" fmla="*/ 670264 w 1609516"/>
              <a:gd name="csY969" fmla="*/ 241603 h 1538630"/>
              <a:gd name="csX970" fmla="*/ 670264 w 1609516"/>
              <a:gd name="csY970" fmla="*/ 244421 h 1538630"/>
              <a:gd name="csX971" fmla="*/ 675634 w 1609516"/>
              <a:gd name="csY971" fmla="*/ 245742 h 1538630"/>
              <a:gd name="csX972" fmla="*/ 682761 w 1609516"/>
              <a:gd name="csY972" fmla="*/ 248649 h 1538630"/>
              <a:gd name="csX973" fmla="*/ 752092 w 1609516"/>
              <a:gd name="csY973" fmla="*/ 245076 h 1538630"/>
              <a:gd name="csX974" fmla="*/ 758433 w 1609516"/>
              <a:gd name="csY974" fmla="*/ 240485 h 1538630"/>
              <a:gd name="csX975" fmla="*/ 763991 w 1609516"/>
              <a:gd name="csY975" fmla="*/ 238784 h 1538630"/>
              <a:gd name="csX976" fmla="*/ 765315 w 1609516"/>
              <a:gd name="csY976" fmla="*/ 235778 h 1538630"/>
              <a:gd name="csX977" fmla="*/ 770923 w 1609516"/>
              <a:gd name="csY977" fmla="*/ 223459 h 1538630"/>
              <a:gd name="csX978" fmla="*/ 772998 w 1609516"/>
              <a:gd name="csY978" fmla="*/ 218934 h 1538630"/>
              <a:gd name="csX979" fmla="*/ 777562 w 1609516"/>
              <a:gd name="csY979" fmla="*/ 209895 h 1538630"/>
              <a:gd name="csX980" fmla="*/ 781175 w 1609516"/>
              <a:gd name="csY980" fmla="*/ 124637 h 1538630"/>
              <a:gd name="csX981" fmla="*/ 778051 w 1609516"/>
              <a:gd name="csY981" fmla="*/ 124637 h 1538630"/>
              <a:gd name="csX982" fmla="*/ 767116 w 1609516"/>
              <a:gd name="csY982" fmla="*/ 79542 h 1538630"/>
              <a:gd name="csX983" fmla="*/ 793379 w 1609516"/>
              <a:gd name="csY983" fmla="*/ 54000 h 1538630"/>
              <a:gd name="csX984" fmla="*/ 840688 w 1609516"/>
              <a:gd name="csY984" fmla="*/ 55503 h 1538630"/>
              <a:gd name="csX985" fmla="*/ 851470 w 1609516"/>
              <a:gd name="csY985" fmla="*/ 64040 h 1538630"/>
              <a:gd name="csX986" fmla="*/ 853997 w 1609516"/>
              <a:gd name="csY986" fmla="*/ 66529 h 1538630"/>
              <a:gd name="csX987" fmla="*/ 861488 w 1609516"/>
              <a:gd name="csY987" fmla="*/ 82057 h 1538630"/>
              <a:gd name="csX988" fmla="*/ 861937 w 1609516"/>
              <a:gd name="csY988" fmla="*/ 90492 h 1538630"/>
              <a:gd name="csX989" fmla="*/ 863826 w 1609516"/>
              <a:gd name="csY989" fmla="*/ 100715 h 1538630"/>
              <a:gd name="csX990" fmla="*/ 857577 w 1609516"/>
              <a:gd name="csY990" fmla="*/ 121853 h 1538630"/>
              <a:gd name="csX991" fmla="*/ 856015 w 1609516"/>
              <a:gd name="csY991" fmla="*/ 121853 h 1538630"/>
              <a:gd name="csX992" fmla="*/ 855442 w 1609516"/>
              <a:gd name="csY992" fmla="*/ 118919 h 1538630"/>
              <a:gd name="csX993" fmla="*/ 855417 w 1609516"/>
              <a:gd name="csY993" fmla="*/ 118798 h 1538630"/>
              <a:gd name="csX994" fmla="*/ 856157 w 1609516"/>
              <a:gd name="csY994" fmla="*/ 124637 h 1538630"/>
              <a:gd name="csX995" fmla="*/ 850623 w 1609516"/>
              <a:gd name="csY995" fmla="*/ 134701 h 1538630"/>
              <a:gd name="csX996" fmla="*/ 851325 w 1609516"/>
              <a:gd name="csY996" fmla="*/ 135968 h 1538630"/>
              <a:gd name="csX997" fmla="*/ 849886 w 1609516"/>
              <a:gd name="csY997" fmla="*/ 139843 h 1538630"/>
              <a:gd name="csX998" fmla="*/ 847786 w 1609516"/>
              <a:gd name="csY998" fmla="*/ 152889 h 1538630"/>
              <a:gd name="csX999" fmla="*/ 847767 w 1609516"/>
              <a:gd name="csY999" fmla="*/ 157768 h 1538630"/>
              <a:gd name="csX1000" fmla="*/ 847810 w 1609516"/>
              <a:gd name="csY1000" fmla="*/ 162919 h 1538630"/>
              <a:gd name="csX1001" fmla="*/ 847832 w 1609516"/>
              <a:gd name="csY1001" fmla="*/ 168227 h 1538630"/>
              <a:gd name="csX1002" fmla="*/ 850903 w 1609516"/>
              <a:gd name="csY1002" fmla="*/ 209013 h 1538630"/>
              <a:gd name="csX1003" fmla="*/ 852880 w 1609516"/>
              <a:gd name="csY1003" fmla="*/ 224692 h 1538630"/>
              <a:gd name="csX1004" fmla="*/ 854595 w 1609516"/>
              <a:gd name="csY1004" fmla="*/ 224692 h 1538630"/>
              <a:gd name="csX1005" fmla="*/ 856083 w 1609516"/>
              <a:gd name="csY1005" fmla="*/ 227268 h 1538630"/>
              <a:gd name="csX1006" fmla="*/ 879588 w 1609516"/>
              <a:gd name="csY1006" fmla="*/ 247239 h 1538630"/>
              <a:gd name="csX1007" fmla="*/ 885739 w 1609516"/>
              <a:gd name="csY1007" fmla="*/ 249618 h 1538630"/>
              <a:gd name="csX1008" fmla="*/ 890523 w 1609516"/>
              <a:gd name="csY1008" fmla="*/ 251467 h 1538630"/>
              <a:gd name="csX1009" fmla="*/ 890523 w 1609516"/>
              <a:gd name="csY1009" fmla="*/ 254285 h 1538630"/>
              <a:gd name="csX1010" fmla="*/ 920203 w 1609516"/>
              <a:gd name="csY1010" fmla="*/ 261332 h 1538630"/>
              <a:gd name="csX1011" fmla="*/ 920203 w 1609516"/>
              <a:gd name="csY1011" fmla="*/ 262741 h 1538630"/>
              <a:gd name="csX1012" fmla="*/ 910831 w 1609516"/>
              <a:gd name="csY1012" fmla="*/ 262741 h 1538630"/>
              <a:gd name="csX1013" fmla="*/ 910831 w 1609516"/>
              <a:gd name="csY1013" fmla="*/ 262864 h 1538630"/>
              <a:gd name="csX1014" fmla="*/ 927993 w 1609516"/>
              <a:gd name="csY1014" fmla="*/ 264177 h 1538630"/>
              <a:gd name="csX1015" fmla="*/ 939273 w 1609516"/>
              <a:gd name="csY1015" fmla="*/ 265285 h 1538630"/>
              <a:gd name="csX1016" fmla="*/ 940456 w 1609516"/>
              <a:gd name="csY1016" fmla="*/ 265191 h 1538630"/>
              <a:gd name="csX1017" fmla="*/ 991622 w 1609516"/>
              <a:gd name="csY1017" fmla="*/ 242329 h 1538630"/>
              <a:gd name="csX1018" fmla="*/ 1000803 w 1609516"/>
              <a:gd name="csY1018" fmla="*/ 236505 h 1538630"/>
              <a:gd name="csX1019" fmla="*/ 999806 w 1609516"/>
              <a:gd name="csY1019" fmla="*/ 236055 h 1538630"/>
              <a:gd name="csX1020" fmla="*/ 1003126 w 1609516"/>
              <a:gd name="csY1020" fmla="*/ 232851 h 1538630"/>
              <a:gd name="csX1021" fmla="*/ 1029487 w 1609516"/>
              <a:gd name="csY1021" fmla="*/ 205052 h 1538630"/>
              <a:gd name="csX1022" fmla="*/ 1029872 w 1609516"/>
              <a:gd name="csY1022" fmla="*/ 206442 h 1538630"/>
              <a:gd name="csX1023" fmla="*/ 1031614 w 1609516"/>
              <a:gd name="csY1023" fmla="*/ 203719 h 1538630"/>
              <a:gd name="csX1024" fmla="*/ 1038924 w 1609516"/>
              <a:gd name="csY1024" fmla="*/ 192280 h 1538630"/>
              <a:gd name="csX1025" fmla="*/ 1042049 w 1609516"/>
              <a:gd name="csY1025" fmla="*/ 190870 h 1538630"/>
              <a:gd name="csX1026" fmla="*/ 1044294 w 1609516"/>
              <a:gd name="csY1026" fmla="*/ 186026 h 1538630"/>
              <a:gd name="csX1027" fmla="*/ 1051422 w 1609516"/>
              <a:gd name="csY1027" fmla="*/ 178188 h 1538630"/>
              <a:gd name="csX1028" fmla="*/ 1052984 w 1609516"/>
              <a:gd name="csY1028" fmla="*/ 172551 h 1538630"/>
              <a:gd name="csX1029" fmla="*/ 1056108 w 1609516"/>
              <a:gd name="csY1029" fmla="*/ 172551 h 1538630"/>
              <a:gd name="csX1030" fmla="*/ 1059232 w 1609516"/>
              <a:gd name="csY1030" fmla="*/ 162686 h 1538630"/>
              <a:gd name="csX1031" fmla="*/ 1062357 w 1609516"/>
              <a:gd name="csY1031" fmla="*/ 162686 h 1538630"/>
              <a:gd name="csX1032" fmla="*/ 1063162 w 1609516"/>
              <a:gd name="csY1032" fmla="*/ 160258 h 1538630"/>
              <a:gd name="csX1033" fmla="*/ 1073292 w 1609516"/>
              <a:gd name="csY1033" fmla="*/ 140138 h 1538630"/>
              <a:gd name="csX1034" fmla="*/ 1076415 w 1609516"/>
              <a:gd name="csY1034" fmla="*/ 140138 h 1538630"/>
              <a:gd name="csX1035" fmla="*/ 1085294 w 1609516"/>
              <a:gd name="csY1035" fmla="*/ 117569 h 1538630"/>
              <a:gd name="csX1036" fmla="*/ 1087350 w 1609516"/>
              <a:gd name="csY1036" fmla="*/ 113363 h 1538630"/>
              <a:gd name="csX1037" fmla="*/ 1092037 w 1609516"/>
              <a:gd name="csY1037" fmla="*/ 111954 h 1538630"/>
              <a:gd name="csX1038" fmla="*/ 1092623 w 1609516"/>
              <a:gd name="csY1038" fmla="*/ 108695 h 1538630"/>
              <a:gd name="csX1039" fmla="*/ 1096723 w 1609516"/>
              <a:gd name="csY1039" fmla="*/ 100680 h 1538630"/>
              <a:gd name="csX1040" fmla="*/ 1098188 w 1609516"/>
              <a:gd name="csY1040" fmla="*/ 96013 h 1538630"/>
              <a:gd name="csX1041" fmla="*/ 1102288 w 1609516"/>
              <a:gd name="csY1041" fmla="*/ 87029 h 1538630"/>
              <a:gd name="csX1042" fmla="*/ 1104534 w 1609516"/>
              <a:gd name="csY1042" fmla="*/ 61222 h 1538630"/>
              <a:gd name="csX1043" fmla="*/ 1104381 w 1609516"/>
              <a:gd name="csY1043" fmla="*/ 55569 h 1538630"/>
              <a:gd name="csX1044" fmla="*/ 1104397 w 1609516"/>
              <a:gd name="csY1044" fmla="*/ 52335 h 1538630"/>
              <a:gd name="csX1045" fmla="*/ 1104436 w 1609516"/>
              <a:gd name="csY1045" fmla="*/ 48979 h 1538630"/>
              <a:gd name="csX1046" fmla="*/ 1104457 w 1609516"/>
              <a:gd name="csY1046" fmla="*/ 45575 h 1538630"/>
              <a:gd name="csX1047" fmla="*/ 1104534 w 1609516"/>
              <a:gd name="csY1047" fmla="*/ 37265 h 1538630"/>
              <a:gd name="csX1048" fmla="*/ 1107658 w 1609516"/>
              <a:gd name="csY1048" fmla="*/ 37265 h 1538630"/>
              <a:gd name="csX1049" fmla="*/ 1107463 w 1609516"/>
              <a:gd name="csY1049" fmla="*/ 31805 h 1538630"/>
              <a:gd name="csX1050" fmla="*/ 1107658 w 1609516"/>
              <a:gd name="csY1050" fmla="*/ 25991 h 1538630"/>
              <a:gd name="csX1051" fmla="*/ 1110782 w 1609516"/>
              <a:gd name="csY1051" fmla="*/ 23173 h 1538630"/>
              <a:gd name="csX1052" fmla="*/ 1111759 w 1609516"/>
              <a:gd name="csY1052" fmla="*/ 20091 h 1538630"/>
              <a:gd name="csX1053" fmla="*/ 1134507 w 1609516"/>
              <a:gd name="csY1053" fmla="*/ 2828 h 1538630"/>
              <a:gd name="csX1054" fmla="*/ 1155019 w 1609516"/>
              <a:gd name="csY1054" fmla="*/ 35 h 153863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  <a:cxn ang="0">
                <a:pos x="csX170" y="csY170"/>
              </a:cxn>
              <a:cxn ang="0">
                <a:pos x="csX171" y="csY171"/>
              </a:cxn>
              <a:cxn ang="0">
                <a:pos x="csX172" y="csY172"/>
              </a:cxn>
              <a:cxn ang="0">
                <a:pos x="csX173" y="csY173"/>
              </a:cxn>
              <a:cxn ang="0">
                <a:pos x="csX174" y="csY174"/>
              </a:cxn>
              <a:cxn ang="0">
                <a:pos x="csX175" y="csY175"/>
              </a:cxn>
              <a:cxn ang="0">
                <a:pos x="csX176" y="csY176"/>
              </a:cxn>
              <a:cxn ang="0">
                <a:pos x="csX177" y="csY177"/>
              </a:cxn>
              <a:cxn ang="0">
                <a:pos x="csX178" y="csY178"/>
              </a:cxn>
              <a:cxn ang="0">
                <a:pos x="csX179" y="csY179"/>
              </a:cxn>
              <a:cxn ang="0">
                <a:pos x="csX180" y="csY180"/>
              </a:cxn>
              <a:cxn ang="0">
                <a:pos x="csX181" y="csY181"/>
              </a:cxn>
              <a:cxn ang="0">
                <a:pos x="csX182" y="csY182"/>
              </a:cxn>
              <a:cxn ang="0">
                <a:pos x="csX183" y="csY183"/>
              </a:cxn>
              <a:cxn ang="0">
                <a:pos x="csX184" y="csY184"/>
              </a:cxn>
              <a:cxn ang="0">
                <a:pos x="csX185" y="csY185"/>
              </a:cxn>
              <a:cxn ang="0">
                <a:pos x="csX186" y="csY186"/>
              </a:cxn>
              <a:cxn ang="0">
                <a:pos x="csX187" y="csY187"/>
              </a:cxn>
              <a:cxn ang="0">
                <a:pos x="csX188" y="csY188"/>
              </a:cxn>
              <a:cxn ang="0">
                <a:pos x="csX189" y="csY189"/>
              </a:cxn>
              <a:cxn ang="0">
                <a:pos x="csX190" y="csY190"/>
              </a:cxn>
              <a:cxn ang="0">
                <a:pos x="csX191" y="csY191"/>
              </a:cxn>
              <a:cxn ang="0">
                <a:pos x="csX192" y="csY192"/>
              </a:cxn>
              <a:cxn ang="0">
                <a:pos x="csX193" y="csY193"/>
              </a:cxn>
              <a:cxn ang="0">
                <a:pos x="csX194" y="csY194"/>
              </a:cxn>
              <a:cxn ang="0">
                <a:pos x="csX195" y="csY195"/>
              </a:cxn>
              <a:cxn ang="0">
                <a:pos x="csX196" y="csY196"/>
              </a:cxn>
              <a:cxn ang="0">
                <a:pos x="csX197" y="csY197"/>
              </a:cxn>
              <a:cxn ang="0">
                <a:pos x="csX198" y="csY198"/>
              </a:cxn>
              <a:cxn ang="0">
                <a:pos x="csX199" y="csY199"/>
              </a:cxn>
              <a:cxn ang="0">
                <a:pos x="csX200" y="csY200"/>
              </a:cxn>
              <a:cxn ang="0">
                <a:pos x="csX201" y="csY201"/>
              </a:cxn>
              <a:cxn ang="0">
                <a:pos x="csX202" y="csY202"/>
              </a:cxn>
              <a:cxn ang="0">
                <a:pos x="csX203" y="csY203"/>
              </a:cxn>
              <a:cxn ang="0">
                <a:pos x="csX204" y="csY204"/>
              </a:cxn>
              <a:cxn ang="0">
                <a:pos x="csX205" y="csY205"/>
              </a:cxn>
              <a:cxn ang="0">
                <a:pos x="csX206" y="csY206"/>
              </a:cxn>
              <a:cxn ang="0">
                <a:pos x="csX207" y="csY207"/>
              </a:cxn>
              <a:cxn ang="0">
                <a:pos x="csX208" y="csY208"/>
              </a:cxn>
              <a:cxn ang="0">
                <a:pos x="csX209" y="csY209"/>
              </a:cxn>
              <a:cxn ang="0">
                <a:pos x="csX210" y="csY210"/>
              </a:cxn>
              <a:cxn ang="0">
                <a:pos x="csX211" y="csY211"/>
              </a:cxn>
              <a:cxn ang="0">
                <a:pos x="csX212" y="csY212"/>
              </a:cxn>
              <a:cxn ang="0">
                <a:pos x="csX213" y="csY213"/>
              </a:cxn>
              <a:cxn ang="0">
                <a:pos x="csX214" y="csY214"/>
              </a:cxn>
              <a:cxn ang="0">
                <a:pos x="csX215" y="csY215"/>
              </a:cxn>
              <a:cxn ang="0">
                <a:pos x="csX216" y="csY216"/>
              </a:cxn>
              <a:cxn ang="0">
                <a:pos x="csX217" y="csY217"/>
              </a:cxn>
              <a:cxn ang="0">
                <a:pos x="csX218" y="csY218"/>
              </a:cxn>
              <a:cxn ang="0">
                <a:pos x="csX219" y="csY219"/>
              </a:cxn>
              <a:cxn ang="0">
                <a:pos x="csX220" y="csY220"/>
              </a:cxn>
              <a:cxn ang="0">
                <a:pos x="csX221" y="csY221"/>
              </a:cxn>
              <a:cxn ang="0">
                <a:pos x="csX222" y="csY222"/>
              </a:cxn>
              <a:cxn ang="0">
                <a:pos x="csX223" y="csY223"/>
              </a:cxn>
              <a:cxn ang="0">
                <a:pos x="csX224" y="csY224"/>
              </a:cxn>
              <a:cxn ang="0">
                <a:pos x="csX225" y="csY225"/>
              </a:cxn>
              <a:cxn ang="0">
                <a:pos x="csX226" y="csY226"/>
              </a:cxn>
              <a:cxn ang="0">
                <a:pos x="csX227" y="csY227"/>
              </a:cxn>
              <a:cxn ang="0">
                <a:pos x="csX228" y="csY228"/>
              </a:cxn>
              <a:cxn ang="0">
                <a:pos x="csX229" y="csY229"/>
              </a:cxn>
              <a:cxn ang="0">
                <a:pos x="csX230" y="csY230"/>
              </a:cxn>
              <a:cxn ang="0">
                <a:pos x="csX231" y="csY231"/>
              </a:cxn>
              <a:cxn ang="0">
                <a:pos x="csX232" y="csY232"/>
              </a:cxn>
              <a:cxn ang="0">
                <a:pos x="csX233" y="csY233"/>
              </a:cxn>
              <a:cxn ang="0">
                <a:pos x="csX234" y="csY234"/>
              </a:cxn>
              <a:cxn ang="0">
                <a:pos x="csX235" y="csY235"/>
              </a:cxn>
              <a:cxn ang="0">
                <a:pos x="csX236" y="csY236"/>
              </a:cxn>
              <a:cxn ang="0">
                <a:pos x="csX237" y="csY237"/>
              </a:cxn>
              <a:cxn ang="0">
                <a:pos x="csX238" y="csY238"/>
              </a:cxn>
              <a:cxn ang="0">
                <a:pos x="csX239" y="csY239"/>
              </a:cxn>
              <a:cxn ang="0">
                <a:pos x="csX240" y="csY240"/>
              </a:cxn>
              <a:cxn ang="0">
                <a:pos x="csX241" y="csY241"/>
              </a:cxn>
              <a:cxn ang="0">
                <a:pos x="csX242" y="csY242"/>
              </a:cxn>
              <a:cxn ang="0">
                <a:pos x="csX243" y="csY243"/>
              </a:cxn>
              <a:cxn ang="0">
                <a:pos x="csX244" y="csY244"/>
              </a:cxn>
              <a:cxn ang="0">
                <a:pos x="csX245" y="csY245"/>
              </a:cxn>
              <a:cxn ang="0">
                <a:pos x="csX246" y="csY246"/>
              </a:cxn>
              <a:cxn ang="0">
                <a:pos x="csX247" y="csY247"/>
              </a:cxn>
              <a:cxn ang="0">
                <a:pos x="csX248" y="csY248"/>
              </a:cxn>
              <a:cxn ang="0">
                <a:pos x="csX249" y="csY249"/>
              </a:cxn>
              <a:cxn ang="0">
                <a:pos x="csX250" y="csY250"/>
              </a:cxn>
              <a:cxn ang="0">
                <a:pos x="csX251" y="csY251"/>
              </a:cxn>
              <a:cxn ang="0">
                <a:pos x="csX252" y="csY252"/>
              </a:cxn>
              <a:cxn ang="0">
                <a:pos x="csX253" y="csY253"/>
              </a:cxn>
              <a:cxn ang="0">
                <a:pos x="csX254" y="csY254"/>
              </a:cxn>
              <a:cxn ang="0">
                <a:pos x="csX255" y="csY255"/>
              </a:cxn>
              <a:cxn ang="0">
                <a:pos x="csX256" y="csY256"/>
              </a:cxn>
              <a:cxn ang="0">
                <a:pos x="csX257" y="csY257"/>
              </a:cxn>
              <a:cxn ang="0">
                <a:pos x="csX258" y="csY258"/>
              </a:cxn>
              <a:cxn ang="0">
                <a:pos x="csX259" y="csY259"/>
              </a:cxn>
              <a:cxn ang="0">
                <a:pos x="csX260" y="csY260"/>
              </a:cxn>
              <a:cxn ang="0">
                <a:pos x="csX261" y="csY261"/>
              </a:cxn>
              <a:cxn ang="0">
                <a:pos x="csX262" y="csY262"/>
              </a:cxn>
              <a:cxn ang="0">
                <a:pos x="csX263" y="csY263"/>
              </a:cxn>
              <a:cxn ang="0">
                <a:pos x="csX264" y="csY264"/>
              </a:cxn>
              <a:cxn ang="0">
                <a:pos x="csX265" y="csY265"/>
              </a:cxn>
              <a:cxn ang="0">
                <a:pos x="csX266" y="csY266"/>
              </a:cxn>
              <a:cxn ang="0">
                <a:pos x="csX267" y="csY267"/>
              </a:cxn>
              <a:cxn ang="0">
                <a:pos x="csX268" y="csY268"/>
              </a:cxn>
              <a:cxn ang="0">
                <a:pos x="csX269" y="csY269"/>
              </a:cxn>
              <a:cxn ang="0">
                <a:pos x="csX270" y="csY270"/>
              </a:cxn>
              <a:cxn ang="0">
                <a:pos x="csX271" y="csY271"/>
              </a:cxn>
              <a:cxn ang="0">
                <a:pos x="csX272" y="csY272"/>
              </a:cxn>
              <a:cxn ang="0">
                <a:pos x="csX273" y="csY273"/>
              </a:cxn>
              <a:cxn ang="0">
                <a:pos x="csX274" y="csY274"/>
              </a:cxn>
              <a:cxn ang="0">
                <a:pos x="csX275" y="csY275"/>
              </a:cxn>
              <a:cxn ang="0">
                <a:pos x="csX276" y="csY276"/>
              </a:cxn>
              <a:cxn ang="0">
                <a:pos x="csX277" y="csY277"/>
              </a:cxn>
              <a:cxn ang="0">
                <a:pos x="csX278" y="csY278"/>
              </a:cxn>
              <a:cxn ang="0">
                <a:pos x="csX279" y="csY279"/>
              </a:cxn>
              <a:cxn ang="0">
                <a:pos x="csX280" y="csY280"/>
              </a:cxn>
              <a:cxn ang="0">
                <a:pos x="csX281" y="csY281"/>
              </a:cxn>
              <a:cxn ang="0">
                <a:pos x="csX282" y="csY282"/>
              </a:cxn>
              <a:cxn ang="0">
                <a:pos x="csX283" y="csY283"/>
              </a:cxn>
              <a:cxn ang="0">
                <a:pos x="csX284" y="csY284"/>
              </a:cxn>
              <a:cxn ang="0">
                <a:pos x="csX285" y="csY285"/>
              </a:cxn>
              <a:cxn ang="0">
                <a:pos x="csX286" y="csY286"/>
              </a:cxn>
              <a:cxn ang="0">
                <a:pos x="csX287" y="csY287"/>
              </a:cxn>
              <a:cxn ang="0">
                <a:pos x="csX288" y="csY288"/>
              </a:cxn>
              <a:cxn ang="0">
                <a:pos x="csX289" y="csY289"/>
              </a:cxn>
              <a:cxn ang="0">
                <a:pos x="csX290" y="csY290"/>
              </a:cxn>
              <a:cxn ang="0">
                <a:pos x="csX291" y="csY291"/>
              </a:cxn>
              <a:cxn ang="0">
                <a:pos x="csX292" y="csY292"/>
              </a:cxn>
              <a:cxn ang="0">
                <a:pos x="csX293" y="csY293"/>
              </a:cxn>
              <a:cxn ang="0">
                <a:pos x="csX294" y="csY294"/>
              </a:cxn>
              <a:cxn ang="0">
                <a:pos x="csX295" y="csY295"/>
              </a:cxn>
              <a:cxn ang="0">
                <a:pos x="csX296" y="csY296"/>
              </a:cxn>
              <a:cxn ang="0">
                <a:pos x="csX297" y="csY297"/>
              </a:cxn>
              <a:cxn ang="0">
                <a:pos x="csX298" y="csY298"/>
              </a:cxn>
              <a:cxn ang="0">
                <a:pos x="csX299" y="csY299"/>
              </a:cxn>
              <a:cxn ang="0">
                <a:pos x="csX300" y="csY300"/>
              </a:cxn>
              <a:cxn ang="0">
                <a:pos x="csX301" y="csY301"/>
              </a:cxn>
              <a:cxn ang="0">
                <a:pos x="csX302" y="csY302"/>
              </a:cxn>
              <a:cxn ang="0">
                <a:pos x="csX303" y="csY303"/>
              </a:cxn>
              <a:cxn ang="0">
                <a:pos x="csX304" y="csY304"/>
              </a:cxn>
              <a:cxn ang="0">
                <a:pos x="csX305" y="csY305"/>
              </a:cxn>
              <a:cxn ang="0">
                <a:pos x="csX306" y="csY306"/>
              </a:cxn>
              <a:cxn ang="0">
                <a:pos x="csX307" y="csY307"/>
              </a:cxn>
              <a:cxn ang="0">
                <a:pos x="csX308" y="csY308"/>
              </a:cxn>
              <a:cxn ang="0">
                <a:pos x="csX309" y="csY309"/>
              </a:cxn>
              <a:cxn ang="0">
                <a:pos x="csX310" y="csY310"/>
              </a:cxn>
              <a:cxn ang="0">
                <a:pos x="csX311" y="csY311"/>
              </a:cxn>
              <a:cxn ang="0">
                <a:pos x="csX312" y="csY312"/>
              </a:cxn>
              <a:cxn ang="0">
                <a:pos x="csX313" y="csY313"/>
              </a:cxn>
              <a:cxn ang="0">
                <a:pos x="csX314" y="csY314"/>
              </a:cxn>
              <a:cxn ang="0">
                <a:pos x="csX315" y="csY315"/>
              </a:cxn>
              <a:cxn ang="0">
                <a:pos x="csX316" y="csY316"/>
              </a:cxn>
              <a:cxn ang="0">
                <a:pos x="csX317" y="csY317"/>
              </a:cxn>
              <a:cxn ang="0">
                <a:pos x="csX318" y="csY318"/>
              </a:cxn>
              <a:cxn ang="0">
                <a:pos x="csX319" y="csY319"/>
              </a:cxn>
              <a:cxn ang="0">
                <a:pos x="csX320" y="csY320"/>
              </a:cxn>
              <a:cxn ang="0">
                <a:pos x="csX321" y="csY321"/>
              </a:cxn>
              <a:cxn ang="0">
                <a:pos x="csX322" y="csY322"/>
              </a:cxn>
              <a:cxn ang="0">
                <a:pos x="csX323" y="csY323"/>
              </a:cxn>
              <a:cxn ang="0">
                <a:pos x="csX324" y="csY324"/>
              </a:cxn>
              <a:cxn ang="0">
                <a:pos x="csX325" y="csY325"/>
              </a:cxn>
              <a:cxn ang="0">
                <a:pos x="csX326" y="csY326"/>
              </a:cxn>
              <a:cxn ang="0">
                <a:pos x="csX327" y="csY327"/>
              </a:cxn>
              <a:cxn ang="0">
                <a:pos x="csX328" y="csY328"/>
              </a:cxn>
              <a:cxn ang="0">
                <a:pos x="csX329" y="csY329"/>
              </a:cxn>
              <a:cxn ang="0">
                <a:pos x="csX330" y="csY330"/>
              </a:cxn>
              <a:cxn ang="0">
                <a:pos x="csX331" y="csY331"/>
              </a:cxn>
              <a:cxn ang="0">
                <a:pos x="csX332" y="csY332"/>
              </a:cxn>
              <a:cxn ang="0">
                <a:pos x="csX333" y="csY333"/>
              </a:cxn>
              <a:cxn ang="0">
                <a:pos x="csX334" y="csY334"/>
              </a:cxn>
              <a:cxn ang="0">
                <a:pos x="csX335" y="csY335"/>
              </a:cxn>
              <a:cxn ang="0">
                <a:pos x="csX336" y="csY336"/>
              </a:cxn>
              <a:cxn ang="0">
                <a:pos x="csX337" y="csY337"/>
              </a:cxn>
              <a:cxn ang="0">
                <a:pos x="csX338" y="csY338"/>
              </a:cxn>
              <a:cxn ang="0">
                <a:pos x="csX339" y="csY339"/>
              </a:cxn>
              <a:cxn ang="0">
                <a:pos x="csX340" y="csY340"/>
              </a:cxn>
              <a:cxn ang="0">
                <a:pos x="csX341" y="csY341"/>
              </a:cxn>
              <a:cxn ang="0">
                <a:pos x="csX342" y="csY342"/>
              </a:cxn>
              <a:cxn ang="0">
                <a:pos x="csX343" y="csY343"/>
              </a:cxn>
              <a:cxn ang="0">
                <a:pos x="csX344" y="csY344"/>
              </a:cxn>
              <a:cxn ang="0">
                <a:pos x="csX345" y="csY345"/>
              </a:cxn>
              <a:cxn ang="0">
                <a:pos x="csX346" y="csY346"/>
              </a:cxn>
              <a:cxn ang="0">
                <a:pos x="csX347" y="csY347"/>
              </a:cxn>
              <a:cxn ang="0">
                <a:pos x="csX348" y="csY348"/>
              </a:cxn>
              <a:cxn ang="0">
                <a:pos x="csX349" y="csY349"/>
              </a:cxn>
              <a:cxn ang="0">
                <a:pos x="csX350" y="csY350"/>
              </a:cxn>
              <a:cxn ang="0">
                <a:pos x="csX351" y="csY351"/>
              </a:cxn>
              <a:cxn ang="0">
                <a:pos x="csX352" y="csY352"/>
              </a:cxn>
              <a:cxn ang="0">
                <a:pos x="csX353" y="csY353"/>
              </a:cxn>
              <a:cxn ang="0">
                <a:pos x="csX354" y="csY354"/>
              </a:cxn>
              <a:cxn ang="0">
                <a:pos x="csX355" y="csY355"/>
              </a:cxn>
              <a:cxn ang="0">
                <a:pos x="csX356" y="csY356"/>
              </a:cxn>
              <a:cxn ang="0">
                <a:pos x="csX357" y="csY357"/>
              </a:cxn>
              <a:cxn ang="0">
                <a:pos x="csX358" y="csY358"/>
              </a:cxn>
              <a:cxn ang="0">
                <a:pos x="csX359" y="csY359"/>
              </a:cxn>
              <a:cxn ang="0">
                <a:pos x="csX360" y="csY360"/>
              </a:cxn>
              <a:cxn ang="0">
                <a:pos x="csX361" y="csY361"/>
              </a:cxn>
              <a:cxn ang="0">
                <a:pos x="csX362" y="csY362"/>
              </a:cxn>
              <a:cxn ang="0">
                <a:pos x="csX363" y="csY363"/>
              </a:cxn>
              <a:cxn ang="0">
                <a:pos x="csX364" y="csY364"/>
              </a:cxn>
              <a:cxn ang="0">
                <a:pos x="csX365" y="csY365"/>
              </a:cxn>
              <a:cxn ang="0">
                <a:pos x="csX366" y="csY366"/>
              </a:cxn>
              <a:cxn ang="0">
                <a:pos x="csX367" y="csY367"/>
              </a:cxn>
              <a:cxn ang="0">
                <a:pos x="csX368" y="csY368"/>
              </a:cxn>
              <a:cxn ang="0">
                <a:pos x="csX369" y="csY369"/>
              </a:cxn>
              <a:cxn ang="0">
                <a:pos x="csX370" y="csY370"/>
              </a:cxn>
              <a:cxn ang="0">
                <a:pos x="csX371" y="csY371"/>
              </a:cxn>
              <a:cxn ang="0">
                <a:pos x="csX372" y="csY372"/>
              </a:cxn>
              <a:cxn ang="0">
                <a:pos x="csX373" y="csY373"/>
              </a:cxn>
              <a:cxn ang="0">
                <a:pos x="csX374" y="csY374"/>
              </a:cxn>
              <a:cxn ang="0">
                <a:pos x="csX375" y="csY375"/>
              </a:cxn>
              <a:cxn ang="0">
                <a:pos x="csX376" y="csY376"/>
              </a:cxn>
              <a:cxn ang="0">
                <a:pos x="csX377" y="csY377"/>
              </a:cxn>
              <a:cxn ang="0">
                <a:pos x="csX378" y="csY378"/>
              </a:cxn>
              <a:cxn ang="0">
                <a:pos x="csX379" y="csY379"/>
              </a:cxn>
              <a:cxn ang="0">
                <a:pos x="csX380" y="csY380"/>
              </a:cxn>
              <a:cxn ang="0">
                <a:pos x="csX381" y="csY381"/>
              </a:cxn>
              <a:cxn ang="0">
                <a:pos x="csX382" y="csY382"/>
              </a:cxn>
              <a:cxn ang="0">
                <a:pos x="csX383" y="csY383"/>
              </a:cxn>
              <a:cxn ang="0">
                <a:pos x="csX384" y="csY384"/>
              </a:cxn>
              <a:cxn ang="0">
                <a:pos x="csX385" y="csY385"/>
              </a:cxn>
              <a:cxn ang="0">
                <a:pos x="csX386" y="csY386"/>
              </a:cxn>
              <a:cxn ang="0">
                <a:pos x="csX387" y="csY387"/>
              </a:cxn>
              <a:cxn ang="0">
                <a:pos x="csX388" y="csY388"/>
              </a:cxn>
              <a:cxn ang="0">
                <a:pos x="csX389" y="csY389"/>
              </a:cxn>
              <a:cxn ang="0">
                <a:pos x="csX390" y="csY390"/>
              </a:cxn>
              <a:cxn ang="0">
                <a:pos x="csX391" y="csY391"/>
              </a:cxn>
              <a:cxn ang="0">
                <a:pos x="csX392" y="csY392"/>
              </a:cxn>
              <a:cxn ang="0">
                <a:pos x="csX393" y="csY393"/>
              </a:cxn>
              <a:cxn ang="0">
                <a:pos x="csX394" y="csY394"/>
              </a:cxn>
              <a:cxn ang="0">
                <a:pos x="csX395" y="csY395"/>
              </a:cxn>
              <a:cxn ang="0">
                <a:pos x="csX396" y="csY396"/>
              </a:cxn>
              <a:cxn ang="0">
                <a:pos x="csX397" y="csY397"/>
              </a:cxn>
              <a:cxn ang="0">
                <a:pos x="csX398" y="csY398"/>
              </a:cxn>
              <a:cxn ang="0">
                <a:pos x="csX399" y="csY399"/>
              </a:cxn>
              <a:cxn ang="0">
                <a:pos x="csX400" y="csY400"/>
              </a:cxn>
              <a:cxn ang="0">
                <a:pos x="csX401" y="csY401"/>
              </a:cxn>
              <a:cxn ang="0">
                <a:pos x="csX402" y="csY402"/>
              </a:cxn>
              <a:cxn ang="0">
                <a:pos x="csX403" y="csY403"/>
              </a:cxn>
              <a:cxn ang="0">
                <a:pos x="csX404" y="csY404"/>
              </a:cxn>
              <a:cxn ang="0">
                <a:pos x="csX405" y="csY405"/>
              </a:cxn>
              <a:cxn ang="0">
                <a:pos x="csX406" y="csY406"/>
              </a:cxn>
              <a:cxn ang="0">
                <a:pos x="csX407" y="csY407"/>
              </a:cxn>
              <a:cxn ang="0">
                <a:pos x="csX408" y="csY408"/>
              </a:cxn>
              <a:cxn ang="0">
                <a:pos x="csX409" y="csY409"/>
              </a:cxn>
              <a:cxn ang="0">
                <a:pos x="csX410" y="csY410"/>
              </a:cxn>
              <a:cxn ang="0">
                <a:pos x="csX411" y="csY411"/>
              </a:cxn>
              <a:cxn ang="0">
                <a:pos x="csX412" y="csY412"/>
              </a:cxn>
              <a:cxn ang="0">
                <a:pos x="csX413" y="csY413"/>
              </a:cxn>
              <a:cxn ang="0">
                <a:pos x="csX414" y="csY414"/>
              </a:cxn>
              <a:cxn ang="0">
                <a:pos x="csX415" y="csY415"/>
              </a:cxn>
              <a:cxn ang="0">
                <a:pos x="csX416" y="csY416"/>
              </a:cxn>
              <a:cxn ang="0">
                <a:pos x="csX417" y="csY417"/>
              </a:cxn>
              <a:cxn ang="0">
                <a:pos x="csX418" y="csY418"/>
              </a:cxn>
              <a:cxn ang="0">
                <a:pos x="csX419" y="csY419"/>
              </a:cxn>
              <a:cxn ang="0">
                <a:pos x="csX420" y="csY420"/>
              </a:cxn>
              <a:cxn ang="0">
                <a:pos x="csX421" y="csY421"/>
              </a:cxn>
              <a:cxn ang="0">
                <a:pos x="csX422" y="csY422"/>
              </a:cxn>
              <a:cxn ang="0">
                <a:pos x="csX423" y="csY423"/>
              </a:cxn>
              <a:cxn ang="0">
                <a:pos x="csX424" y="csY424"/>
              </a:cxn>
              <a:cxn ang="0">
                <a:pos x="csX425" y="csY425"/>
              </a:cxn>
              <a:cxn ang="0">
                <a:pos x="csX426" y="csY426"/>
              </a:cxn>
              <a:cxn ang="0">
                <a:pos x="csX427" y="csY427"/>
              </a:cxn>
              <a:cxn ang="0">
                <a:pos x="csX428" y="csY428"/>
              </a:cxn>
              <a:cxn ang="0">
                <a:pos x="csX429" y="csY429"/>
              </a:cxn>
              <a:cxn ang="0">
                <a:pos x="csX430" y="csY430"/>
              </a:cxn>
              <a:cxn ang="0">
                <a:pos x="csX431" y="csY431"/>
              </a:cxn>
              <a:cxn ang="0">
                <a:pos x="csX432" y="csY432"/>
              </a:cxn>
              <a:cxn ang="0">
                <a:pos x="csX433" y="csY433"/>
              </a:cxn>
              <a:cxn ang="0">
                <a:pos x="csX434" y="csY434"/>
              </a:cxn>
              <a:cxn ang="0">
                <a:pos x="csX435" y="csY435"/>
              </a:cxn>
              <a:cxn ang="0">
                <a:pos x="csX436" y="csY436"/>
              </a:cxn>
              <a:cxn ang="0">
                <a:pos x="csX437" y="csY437"/>
              </a:cxn>
              <a:cxn ang="0">
                <a:pos x="csX438" y="csY438"/>
              </a:cxn>
              <a:cxn ang="0">
                <a:pos x="csX439" y="csY439"/>
              </a:cxn>
              <a:cxn ang="0">
                <a:pos x="csX440" y="csY440"/>
              </a:cxn>
              <a:cxn ang="0">
                <a:pos x="csX441" y="csY441"/>
              </a:cxn>
              <a:cxn ang="0">
                <a:pos x="csX442" y="csY442"/>
              </a:cxn>
              <a:cxn ang="0">
                <a:pos x="csX443" y="csY443"/>
              </a:cxn>
              <a:cxn ang="0">
                <a:pos x="csX444" y="csY444"/>
              </a:cxn>
              <a:cxn ang="0">
                <a:pos x="csX445" y="csY445"/>
              </a:cxn>
              <a:cxn ang="0">
                <a:pos x="csX446" y="csY446"/>
              </a:cxn>
              <a:cxn ang="0">
                <a:pos x="csX447" y="csY447"/>
              </a:cxn>
              <a:cxn ang="0">
                <a:pos x="csX448" y="csY448"/>
              </a:cxn>
              <a:cxn ang="0">
                <a:pos x="csX449" y="csY449"/>
              </a:cxn>
              <a:cxn ang="0">
                <a:pos x="csX450" y="csY450"/>
              </a:cxn>
              <a:cxn ang="0">
                <a:pos x="csX451" y="csY451"/>
              </a:cxn>
              <a:cxn ang="0">
                <a:pos x="csX452" y="csY452"/>
              </a:cxn>
              <a:cxn ang="0">
                <a:pos x="csX453" y="csY453"/>
              </a:cxn>
              <a:cxn ang="0">
                <a:pos x="csX454" y="csY454"/>
              </a:cxn>
              <a:cxn ang="0">
                <a:pos x="csX455" y="csY455"/>
              </a:cxn>
              <a:cxn ang="0">
                <a:pos x="csX456" y="csY456"/>
              </a:cxn>
              <a:cxn ang="0">
                <a:pos x="csX457" y="csY457"/>
              </a:cxn>
              <a:cxn ang="0">
                <a:pos x="csX458" y="csY458"/>
              </a:cxn>
              <a:cxn ang="0">
                <a:pos x="csX459" y="csY459"/>
              </a:cxn>
              <a:cxn ang="0">
                <a:pos x="csX460" y="csY460"/>
              </a:cxn>
              <a:cxn ang="0">
                <a:pos x="csX461" y="csY461"/>
              </a:cxn>
              <a:cxn ang="0">
                <a:pos x="csX462" y="csY462"/>
              </a:cxn>
              <a:cxn ang="0">
                <a:pos x="csX463" y="csY463"/>
              </a:cxn>
              <a:cxn ang="0">
                <a:pos x="csX464" y="csY464"/>
              </a:cxn>
              <a:cxn ang="0">
                <a:pos x="csX465" y="csY465"/>
              </a:cxn>
              <a:cxn ang="0">
                <a:pos x="csX466" y="csY466"/>
              </a:cxn>
              <a:cxn ang="0">
                <a:pos x="csX467" y="csY467"/>
              </a:cxn>
              <a:cxn ang="0">
                <a:pos x="csX468" y="csY468"/>
              </a:cxn>
              <a:cxn ang="0">
                <a:pos x="csX469" y="csY469"/>
              </a:cxn>
              <a:cxn ang="0">
                <a:pos x="csX470" y="csY470"/>
              </a:cxn>
              <a:cxn ang="0">
                <a:pos x="csX471" y="csY471"/>
              </a:cxn>
              <a:cxn ang="0">
                <a:pos x="csX472" y="csY472"/>
              </a:cxn>
              <a:cxn ang="0">
                <a:pos x="csX473" y="csY473"/>
              </a:cxn>
              <a:cxn ang="0">
                <a:pos x="csX474" y="csY474"/>
              </a:cxn>
              <a:cxn ang="0">
                <a:pos x="csX475" y="csY475"/>
              </a:cxn>
              <a:cxn ang="0">
                <a:pos x="csX476" y="csY476"/>
              </a:cxn>
              <a:cxn ang="0">
                <a:pos x="csX477" y="csY477"/>
              </a:cxn>
              <a:cxn ang="0">
                <a:pos x="csX478" y="csY478"/>
              </a:cxn>
              <a:cxn ang="0">
                <a:pos x="csX479" y="csY479"/>
              </a:cxn>
              <a:cxn ang="0">
                <a:pos x="csX480" y="csY480"/>
              </a:cxn>
              <a:cxn ang="0">
                <a:pos x="csX481" y="csY481"/>
              </a:cxn>
              <a:cxn ang="0">
                <a:pos x="csX482" y="csY482"/>
              </a:cxn>
              <a:cxn ang="0">
                <a:pos x="csX483" y="csY483"/>
              </a:cxn>
              <a:cxn ang="0">
                <a:pos x="csX484" y="csY484"/>
              </a:cxn>
              <a:cxn ang="0">
                <a:pos x="csX485" y="csY485"/>
              </a:cxn>
              <a:cxn ang="0">
                <a:pos x="csX486" y="csY486"/>
              </a:cxn>
              <a:cxn ang="0">
                <a:pos x="csX487" y="csY487"/>
              </a:cxn>
              <a:cxn ang="0">
                <a:pos x="csX488" y="csY488"/>
              </a:cxn>
              <a:cxn ang="0">
                <a:pos x="csX489" y="csY489"/>
              </a:cxn>
              <a:cxn ang="0">
                <a:pos x="csX490" y="csY490"/>
              </a:cxn>
              <a:cxn ang="0">
                <a:pos x="csX491" y="csY491"/>
              </a:cxn>
              <a:cxn ang="0">
                <a:pos x="csX492" y="csY492"/>
              </a:cxn>
              <a:cxn ang="0">
                <a:pos x="csX493" y="csY493"/>
              </a:cxn>
              <a:cxn ang="0">
                <a:pos x="csX494" y="csY494"/>
              </a:cxn>
              <a:cxn ang="0">
                <a:pos x="csX495" y="csY495"/>
              </a:cxn>
              <a:cxn ang="0">
                <a:pos x="csX496" y="csY496"/>
              </a:cxn>
              <a:cxn ang="0">
                <a:pos x="csX497" y="csY497"/>
              </a:cxn>
              <a:cxn ang="0">
                <a:pos x="csX498" y="csY498"/>
              </a:cxn>
              <a:cxn ang="0">
                <a:pos x="csX499" y="csY499"/>
              </a:cxn>
              <a:cxn ang="0">
                <a:pos x="csX500" y="csY500"/>
              </a:cxn>
              <a:cxn ang="0">
                <a:pos x="csX501" y="csY501"/>
              </a:cxn>
              <a:cxn ang="0">
                <a:pos x="csX502" y="csY502"/>
              </a:cxn>
              <a:cxn ang="0">
                <a:pos x="csX503" y="csY503"/>
              </a:cxn>
              <a:cxn ang="0">
                <a:pos x="csX504" y="csY504"/>
              </a:cxn>
              <a:cxn ang="0">
                <a:pos x="csX505" y="csY505"/>
              </a:cxn>
              <a:cxn ang="0">
                <a:pos x="csX506" y="csY506"/>
              </a:cxn>
              <a:cxn ang="0">
                <a:pos x="csX507" y="csY507"/>
              </a:cxn>
              <a:cxn ang="0">
                <a:pos x="csX508" y="csY508"/>
              </a:cxn>
              <a:cxn ang="0">
                <a:pos x="csX509" y="csY509"/>
              </a:cxn>
              <a:cxn ang="0">
                <a:pos x="csX510" y="csY510"/>
              </a:cxn>
              <a:cxn ang="0">
                <a:pos x="csX511" y="csY511"/>
              </a:cxn>
              <a:cxn ang="0">
                <a:pos x="csX512" y="csY512"/>
              </a:cxn>
              <a:cxn ang="0">
                <a:pos x="csX513" y="csY513"/>
              </a:cxn>
              <a:cxn ang="0">
                <a:pos x="csX514" y="csY514"/>
              </a:cxn>
              <a:cxn ang="0">
                <a:pos x="csX515" y="csY515"/>
              </a:cxn>
              <a:cxn ang="0">
                <a:pos x="csX516" y="csY516"/>
              </a:cxn>
              <a:cxn ang="0">
                <a:pos x="csX517" y="csY517"/>
              </a:cxn>
              <a:cxn ang="0">
                <a:pos x="csX518" y="csY518"/>
              </a:cxn>
              <a:cxn ang="0">
                <a:pos x="csX519" y="csY519"/>
              </a:cxn>
              <a:cxn ang="0">
                <a:pos x="csX520" y="csY520"/>
              </a:cxn>
              <a:cxn ang="0">
                <a:pos x="csX521" y="csY521"/>
              </a:cxn>
              <a:cxn ang="0">
                <a:pos x="csX522" y="csY522"/>
              </a:cxn>
              <a:cxn ang="0">
                <a:pos x="csX523" y="csY523"/>
              </a:cxn>
              <a:cxn ang="0">
                <a:pos x="csX524" y="csY524"/>
              </a:cxn>
              <a:cxn ang="0">
                <a:pos x="csX525" y="csY525"/>
              </a:cxn>
              <a:cxn ang="0">
                <a:pos x="csX526" y="csY526"/>
              </a:cxn>
              <a:cxn ang="0">
                <a:pos x="csX527" y="csY527"/>
              </a:cxn>
              <a:cxn ang="0">
                <a:pos x="csX528" y="csY528"/>
              </a:cxn>
              <a:cxn ang="0">
                <a:pos x="csX529" y="csY529"/>
              </a:cxn>
              <a:cxn ang="0">
                <a:pos x="csX530" y="csY530"/>
              </a:cxn>
              <a:cxn ang="0">
                <a:pos x="csX531" y="csY531"/>
              </a:cxn>
              <a:cxn ang="0">
                <a:pos x="csX532" y="csY532"/>
              </a:cxn>
              <a:cxn ang="0">
                <a:pos x="csX533" y="csY533"/>
              </a:cxn>
              <a:cxn ang="0">
                <a:pos x="csX534" y="csY534"/>
              </a:cxn>
              <a:cxn ang="0">
                <a:pos x="csX535" y="csY535"/>
              </a:cxn>
              <a:cxn ang="0">
                <a:pos x="csX536" y="csY536"/>
              </a:cxn>
              <a:cxn ang="0">
                <a:pos x="csX537" y="csY537"/>
              </a:cxn>
              <a:cxn ang="0">
                <a:pos x="csX538" y="csY538"/>
              </a:cxn>
              <a:cxn ang="0">
                <a:pos x="csX539" y="csY539"/>
              </a:cxn>
              <a:cxn ang="0">
                <a:pos x="csX540" y="csY540"/>
              </a:cxn>
              <a:cxn ang="0">
                <a:pos x="csX541" y="csY541"/>
              </a:cxn>
              <a:cxn ang="0">
                <a:pos x="csX542" y="csY542"/>
              </a:cxn>
              <a:cxn ang="0">
                <a:pos x="csX543" y="csY543"/>
              </a:cxn>
              <a:cxn ang="0">
                <a:pos x="csX544" y="csY544"/>
              </a:cxn>
              <a:cxn ang="0">
                <a:pos x="csX545" y="csY545"/>
              </a:cxn>
              <a:cxn ang="0">
                <a:pos x="csX546" y="csY546"/>
              </a:cxn>
              <a:cxn ang="0">
                <a:pos x="csX547" y="csY547"/>
              </a:cxn>
              <a:cxn ang="0">
                <a:pos x="csX548" y="csY548"/>
              </a:cxn>
              <a:cxn ang="0">
                <a:pos x="csX549" y="csY549"/>
              </a:cxn>
              <a:cxn ang="0">
                <a:pos x="csX550" y="csY550"/>
              </a:cxn>
              <a:cxn ang="0">
                <a:pos x="csX551" y="csY551"/>
              </a:cxn>
              <a:cxn ang="0">
                <a:pos x="csX552" y="csY552"/>
              </a:cxn>
              <a:cxn ang="0">
                <a:pos x="csX553" y="csY553"/>
              </a:cxn>
              <a:cxn ang="0">
                <a:pos x="csX554" y="csY554"/>
              </a:cxn>
              <a:cxn ang="0">
                <a:pos x="csX555" y="csY555"/>
              </a:cxn>
              <a:cxn ang="0">
                <a:pos x="csX556" y="csY556"/>
              </a:cxn>
              <a:cxn ang="0">
                <a:pos x="csX557" y="csY557"/>
              </a:cxn>
              <a:cxn ang="0">
                <a:pos x="csX558" y="csY558"/>
              </a:cxn>
              <a:cxn ang="0">
                <a:pos x="csX559" y="csY559"/>
              </a:cxn>
              <a:cxn ang="0">
                <a:pos x="csX560" y="csY560"/>
              </a:cxn>
              <a:cxn ang="0">
                <a:pos x="csX561" y="csY561"/>
              </a:cxn>
              <a:cxn ang="0">
                <a:pos x="csX562" y="csY562"/>
              </a:cxn>
              <a:cxn ang="0">
                <a:pos x="csX563" y="csY563"/>
              </a:cxn>
              <a:cxn ang="0">
                <a:pos x="csX564" y="csY564"/>
              </a:cxn>
              <a:cxn ang="0">
                <a:pos x="csX565" y="csY565"/>
              </a:cxn>
              <a:cxn ang="0">
                <a:pos x="csX566" y="csY566"/>
              </a:cxn>
              <a:cxn ang="0">
                <a:pos x="csX567" y="csY567"/>
              </a:cxn>
              <a:cxn ang="0">
                <a:pos x="csX568" y="csY568"/>
              </a:cxn>
              <a:cxn ang="0">
                <a:pos x="csX569" y="csY569"/>
              </a:cxn>
              <a:cxn ang="0">
                <a:pos x="csX570" y="csY570"/>
              </a:cxn>
              <a:cxn ang="0">
                <a:pos x="csX571" y="csY571"/>
              </a:cxn>
              <a:cxn ang="0">
                <a:pos x="csX572" y="csY572"/>
              </a:cxn>
              <a:cxn ang="0">
                <a:pos x="csX573" y="csY573"/>
              </a:cxn>
              <a:cxn ang="0">
                <a:pos x="csX574" y="csY574"/>
              </a:cxn>
              <a:cxn ang="0">
                <a:pos x="csX575" y="csY575"/>
              </a:cxn>
              <a:cxn ang="0">
                <a:pos x="csX576" y="csY576"/>
              </a:cxn>
              <a:cxn ang="0">
                <a:pos x="csX577" y="csY577"/>
              </a:cxn>
              <a:cxn ang="0">
                <a:pos x="csX578" y="csY578"/>
              </a:cxn>
              <a:cxn ang="0">
                <a:pos x="csX579" y="csY579"/>
              </a:cxn>
              <a:cxn ang="0">
                <a:pos x="csX580" y="csY580"/>
              </a:cxn>
              <a:cxn ang="0">
                <a:pos x="csX581" y="csY581"/>
              </a:cxn>
              <a:cxn ang="0">
                <a:pos x="csX582" y="csY582"/>
              </a:cxn>
              <a:cxn ang="0">
                <a:pos x="csX583" y="csY583"/>
              </a:cxn>
              <a:cxn ang="0">
                <a:pos x="csX584" y="csY584"/>
              </a:cxn>
              <a:cxn ang="0">
                <a:pos x="csX585" y="csY585"/>
              </a:cxn>
              <a:cxn ang="0">
                <a:pos x="csX586" y="csY586"/>
              </a:cxn>
              <a:cxn ang="0">
                <a:pos x="csX587" y="csY587"/>
              </a:cxn>
              <a:cxn ang="0">
                <a:pos x="csX588" y="csY588"/>
              </a:cxn>
              <a:cxn ang="0">
                <a:pos x="csX589" y="csY589"/>
              </a:cxn>
              <a:cxn ang="0">
                <a:pos x="csX590" y="csY590"/>
              </a:cxn>
              <a:cxn ang="0">
                <a:pos x="csX591" y="csY591"/>
              </a:cxn>
              <a:cxn ang="0">
                <a:pos x="csX592" y="csY592"/>
              </a:cxn>
              <a:cxn ang="0">
                <a:pos x="csX593" y="csY593"/>
              </a:cxn>
              <a:cxn ang="0">
                <a:pos x="csX594" y="csY594"/>
              </a:cxn>
              <a:cxn ang="0">
                <a:pos x="csX595" y="csY595"/>
              </a:cxn>
              <a:cxn ang="0">
                <a:pos x="csX596" y="csY596"/>
              </a:cxn>
              <a:cxn ang="0">
                <a:pos x="csX597" y="csY597"/>
              </a:cxn>
              <a:cxn ang="0">
                <a:pos x="csX598" y="csY598"/>
              </a:cxn>
              <a:cxn ang="0">
                <a:pos x="csX599" y="csY599"/>
              </a:cxn>
              <a:cxn ang="0">
                <a:pos x="csX600" y="csY600"/>
              </a:cxn>
              <a:cxn ang="0">
                <a:pos x="csX601" y="csY601"/>
              </a:cxn>
              <a:cxn ang="0">
                <a:pos x="csX602" y="csY602"/>
              </a:cxn>
              <a:cxn ang="0">
                <a:pos x="csX603" y="csY603"/>
              </a:cxn>
              <a:cxn ang="0">
                <a:pos x="csX604" y="csY604"/>
              </a:cxn>
              <a:cxn ang="0">
                <a:pos x="csX605" y="csY605"/>
              </a:cxn>
              <a:cxn ang="0">
                <a:pos x="csX606" y="csY606"/>
              </a:cxn>
              <a:cxn ang="0">
                <a:pos x="csX607" y="csY607"/>
              </a:cxn>
              <a:cxn ang="0">
                <a:pos x="csX608" y="csY608"/>
              </a:cxn>
              <a:cxn ang="0">
                <a:pos x="csX609" y="csY609"/>
              </a:cxn>
              <a:cxn ang="0">
                <a:pos x="csX610" y="csY610"/>
              </a:cxn>
              <a:cxn ang="0">
                <a:pos x="csX611" y="csY611"/>
              </a:cxn>
              <a:cxn ang="0">
                <a:pos x="csX612" y="csY612"/>
              </a:cxn>
              <a:cxn ang="0">
                <a:pos x="csX613" y="csY613"/>
              </a:cxn>
              <a:cxn ang="0">
                <a:pos x="csX614" y="csY614"/>
              </a:cxn>
              <a:cxn ang="0">
                <a:pos x="csX615" y="csY615"/>
              </a:cxn>
              <a:cxn ang="0">
                <a:pos x="csX616" y="csY616"/>
              </a:cxn>
              <a:cxn ang="0">
                <a:pos x="csX617" y="csY617"/>
              </a:cxn>
              <a:cxn ang="0">
                <a:pos x="csX618" y="csY618"/>
              </a:cxn>
              <a:cxn ang="0">
                <a:pos x="csX619" y="csY619"/>
              </a:cxn>
              <a:cxn ang="0">
                <a:pos x="csX620" y="csY620"/>
              </a:cxn>
              <a:cxn ang="0">
                <a:pos x="csX621" y="csY621"/>
              </a:cxn>
              <a:cxn ang="0">
                <a:pos x="csX622" y="csY622"/>
              </a:cxn>
              <a:cxn ang="0">
                <a:pos x="csX623" y="csY623"/>
              </a:cxn>
              <a:cxn ang="0">
                <a:pos x="csX624" y="csY624"/>
              </a:cxn>
              <a:cxn ang="0">
                <a:pos x="csX625" y="csY625"/>
              </a:cxn>
              <a:cxn ang="0">
                <a:pos x="csX626" y="csY626"/>
              </a:cxn>
              <a:cxn ang="0">
                <a:pos x="csX627" y="csY627"/>
              </a:cxn>
              <a:cxn ang="0">
                <a:pos x="csX628" y="csY628"/>
              </a:cxn>
              <a:cxn ang="0">
                <a:pos x="csX629" y="csY629"/>
              </a:cxn>
              <a:cxn ang="0">
                <a:pos x="csX630" y="csY630"/>
              </a:cxn>
              <a:cxn ang="0">
                <a:pos x="csX631" y="csY631"/>
              </a:cxn>
              <a:cxn ang="0">
                <a:pos x="csX632" y="csY632"/>
              </a:cxn>
              <a:cxn ang="0">
                <a:pos x="csX633" y="csY633"/>
              </a:cxn>
              <a:cxn ang="0">
                <a:pos x="csX634" y="csY634"/>
              </a:cxn>
              <a:cxn ang="0">
                <a:pos x="csX635" y="csY635"/>
              </a:cxn>
              <a:cxn ang="0">
                <a:pos x="csX636" y="csY636"/>
              </a:cxn>
              <a:cxn ang="0">
                <a:pos x="csX637" y="csY637"/>
              </a:cxn>
              <a:cxn ang="0">
                <a:pos x="csX638" y="csY638"/>
              </a:cxn>
              <a:cxn ang="0">
                <a:pos x="csX639" y="csY639"/>
              </a:cxn>
              <a:cxn ang="0">
                <a:pos x="csX640" y="csY640"/>
              </a:cxn>
              <a:cxn ang="0">
                <a:pos x="csX641" y="csY641"/>
              </a:cxn>
              <a:cxn ang="0">
                <a:pos x="csX642" y="csY642"/>
              </a:cxn>
              <a:cxn ang="0">
                <a:pos x="csX643" y="csY643"/>
              </a:cxn>
              <a:cxn ang="0">
                <a:pos x="csX644" y="csY644"/>
              </a:cxn>
              <a:cxn ang="0">
                <a:pos x="csX645" y="csY645"/>
              </a:cxn>
              <a:cxn ang="0">
                <a:pos x="csX646" y="csY646"/>
              </a:cxn>
              <a:cxn ang="0">
                <a:pos x="csX647" y="csY647"/>
              </a:cxn>
              <a:cxn ang="0">
                <a:pos x="csX648" y="csY648"/>
              </a:cxn>
              <a:cxn ang="0">
                <a:pos x="csX649" y="csY649"/>
              </a:cxn>
              <a:cxn ang="0">
                <a:pos x="csX650" y="csY650"/>
              </a:cxn>
              <a:cxn ang="0">
                <a:pos x="csX651" y="csY651"/>
              </a:cxn>
              <a:cxn ang="0">
                <a:pos x="csX652" y="csY652"/>
              </a:cxn>
              <a:cxn ang="0">
                <a:pos x="csX653" y="csY653"/>
              </a:cxn>
              <a:cxn ang="0">
                <a:pos x="csX654" y="csY654"/>
              </a:cxn>
              <a:cxn ang="0">
                <a:pos x="csX655" y="csY655"/>
              </a:cxn>
              <a:cxn ang="0">
                <a:pos x="csX656" y="csY656"/>
              </a:cxn>
              <a:cxn ang="0">
                <a:pos x="csX657" y="csY657"/>
              </a:cxn>
              <a:cxn ang="0">
                <a:pos x="csX658" y="csY658"/>
              </a:cxn>
              <a:cxn ang="0">
                <a:pos x="csX659" y="csY659"/>
              </a:cxn>
              <a:cxn ang="0">
                <a:pos x="csX660" y="csY660"/>
              </a:cxn>
              <a:cxn ang="0">
                <a:pos x="csX661" y="csY661"/>
              </a:cxn>
              <a:cxn ang="0">
                <a:pos x="csX662" y="csY662"/>
              </a:cxn>
              <a:cxn ang="0">
                <a:pos x="csX663" y="csY663"/>
              </a:cxn>
              <a:cxn ang="0">
                <a:pos x="csX664" y="csY664"/>
              </a:cxn>
              <a:cxn ang="0">
                <a:pos x="csX665" y="csY665"/>
              </a:cxn>
              <a:cxn ang="0">
                <a:pos x="csX666" y="csY666"/>
              </a:cxn>
              <a:cxn ang="0">
                <a:pos x="csX667" y="csY667"/>
              </a:cxn>
              <a:cxn ang="0">
                <a:pos x="csX668" y="csY668"/>
              </a:cxn>
              <a:cxn ang="0">
                <a:pos x="csX669" y="csY669"/>
              </a:cxn>
              <a:cxn ang="0">
                <a:pos x="csX670" y="csY670"/>
              </a:cxn>
              <a:cxn ang="0">
                <a:pos x="csX671" y="csY671"/>
              </a:cxn>
              <a:cxn ang="0">
                <a:pos x="csX672" y="csY672"/>
              </a:cxn>
              <a:cxn ang="0">
                <a:pos x="csX673" y="csY673"/>
              </a:cxn>
              <a:cxn ang="0">
                <a:pos x="csX674" y="csY674"/>
              </a:cxn>
              <a:cxn ang="0">
                <a:pos x="csX675" y="csY675"/>
              </a:cxn>
              <a:cxn ang="0">
                <a:pos x="csX676" y="csY676"/>
              </a:cxn>
              <a:cxn ang="0">
                <a:pos x="csX677" y="csY677"/>
              </a:cxn>
              <a:cxn ang="0">
                <a:pos x="csX678" y="csY678"/>
              </a:cxn>
              <a:cxn ang="0">
                <a:pos x="csX679" y="csY679"/>
              </a:cxn>
              <a:cxn ang="0">
                <a:pos x="csX680" y="csY680"/>
              </a:cxn>
              <a:cxn ang="0">
                <a:pos x="csX681" y="csY681"/>
              </a:cxn>
              <a:cxn ang="0">
                <a:pos x="csX682" y="csY682"/>
              </a:cxn>
              <a:cxn ang="0">
                <a:pos x="csX683" y="csY683"/>
              </a:cxn>
              <a:cxn ang="0">
                <a:pos x="csX684" y="csY684"/>
              </a:cxn>
              <a:cxn ang="0">
                <a:pos x="csX685" y="csY685"/>
              </a:cxn>
              <a:cxn ang="0">
                <a:pos x="csX686" y="csY686"/>
              </a:cxn>
              <a:cxn ang="0">
                <a:pos x="csX687" y="csY687"/>
              </a:cxn>
              <a:cxn ang="0">
                <a:pos x="csX688" y="csY688"/>
              </a:cxn>
              <a:cxn ang="0">
                <a:pos x="csX689" y="csY689"/>
              </a:cxn>
              <a:cxn ang="0">
                <a:pos x="csX690" y="csY690"/>
              </a:cxn>
              <a:cxn ang="0">
                <a:pos x="csX691" y="csY691"/>
              </a:cxn>
              <a:cxn ang="0">
                <a:pos x="csX692" y="csY692"/>
              </a:cxn>
              <a:cxn ang="0">
                <a:pos x="csX693" y="csY693"/>
              </a:cxn>
              <a:cxn ang="0">
                <a:pos x="csX694" y="csY694"/>
              </a:cxn>
              <a:cxn ang="0">
                <a:pos x="csX695" y="csY695"/>
              </a:cxn>
              <a:cxn ang="0">
                <a:pos x="csX696" y="csY696"/>
              </a:cxn>
              <a:cxn ang="0">
                <a:pos x="csX697" y="csY697"/>
              </a:cxn>
              <a:cxn ang="0">
                <a:pos x="csX698" y="csY698"/>
              </a:cxn>
              <a:cxn ang="0">
                <a:pos x="csX699" y="csY699"/>
              </a:cxn>
              <a:cxn ang="0">
                <a:pos x="csX700" y="csY700"/>
              </a:cxn>
              <a:cxn ang="0">
                <a:pos x="csX701" y="csY701"/>
              </a:cxn>
              <a:cxn ang="0">
                <a:pos x="csX702" y="csY702"/>
              </a:cxn>
              <a:cxn ang="0">
                <a:pos x="csX703" y="csY703"/>
              </a:cxn>
              <a:cxn ang="0">
                <a:pos x="csX704" y="csY704"/>
              </a:cxn>
              <a:cxn ang="0">
                <a:pos x="csX705" y="csY705"/>
              </a:cxn>
              <a:cxn ang="0">
                <a:pos x="csX706" y="csY706"/>
              </a:cxn>
              <a:cxn ang="0">
                <a:pos x="csX707" y="csY707"/>
              </a:cxn>
              <a:cxn ang="0">
                <a:pos x="csX708" y="csY708"/>
              </a:cxn>
              <a:cxn ang="0">
                <a:pos x="csX709" y="csY709"/>
              </a:cxn>
              <a:cxn ang="0">
                <a:pos x="csX710" y="csY710"/>
              </a:cxn>
              <a:cxn ang="0">
                <a:pos x="csX711" y="csY711"/>
              </a:cxn>
              <a:cxn ang="0">
                <a:pos x="csX712" y="csY712"/>
              </a:cxn>
              <a:cxn ang="0">
                <a:pos x="csX713" y="csY713"/>
              </a:cxn>
              <a:cxn ang="0">
                <a:pos x="csX714" y="csY714"/>
              </a:cxn>
              <a:cxn ang="0">
                <a:pos x="csX715" y="csY715"/>
              </a:cxn>
              <a:cxn ang="0">
                <a:pos x="csX716" y="csY716"/>
              </a:cxn>
              <a:cxn ang="0">
                <a:pos x="csX717" y="csY717"/>
              </a:cxn>
              <a:cxn ang="0">
                <a:pos x="csX718" y="csY718"/>
              </a:cxn>
              <a:cxn ang="0">
                <a:pos x="csX719" y="csY719"/>
              </a:cxn>
              <a:cxn ang="0">
                <a:pos x="csX720" y="csY720"/>
              </a:cxn>
              <a:cxn ang="0">
                <a:pos x="csX721" y="csY721"/>
              </a:cxn>
              <a:cxn ang="0">
                <a:pos x="csX722" y="csY722"/>
              </a:cxn>
              <a:cxn ang="0">
                <a:pos x="csX723" y="csY723"/>
              </a:cxn>
              <a:cxn ang="0">
                <a:pos x="csX724" y="csY724"/>
              </a:cxn>
              <a:cxn ang="0">
                <a:pos x="csX725" y="csY725"/>
              </a:cxn>
              <a:cxn ang="0">
                <a:pos x="csX726" y="csY726"/>
              </a:cxn>
              <a:cxn ang="0">
                <a:pos x="csX727" y="csY727"/>
              </a:cxn>
              <a:cxn ang="0">
                <a:pos x="csX728" y="csY728"/>
              </a:cxn>
              <a:cxn ang="0">
                <a:pos x="csX729" y="csY729"/>
              </a:cxn>
              <a:cxn ang="0">
                <a:pos x="csX730" y="csY730"/>
              </a:cxn>
              <a:cxn ang="0">
                <a:pos x="csX731" y="csY731"/>
              </a:cxn>
              <a:cxn ang="0">
                <a:pos x="csX732" y="csY732"/>
              </a:cxn>
              <a:cxn ang="0">
                <a:pos x="csX733" y="csY733"/>
              </a:cxn>
              <a:cxn ang="0">
                <a:pos x="csX734" y="csY734"/>
              </a:cxn>
              <a:cxn ang="0">
                <a:pos x="csX735" y="csY735"/>
              </a:cxn>
              <a:cxn ang="0">
                <a:pos x="csX736" y="csY736"/>
              </a:cxn>
              <a:cxn ang="0">
                <a:pos x="csX737" y="csY737"/>
              </a:cxn>
              <a:cxn ang="0">
                <a:pos x="csX738" y="csY738"/>
              </a:cxn>
              <a:cxn ang="0">
                <a:pos x="csX739" y="csY739"/>
              </a:cxn>
              <a:cxn ang="0">
                <a:pos x="csX740" y="csY740"/>
              </a:cxn>
              <a:cxn ang="0">
                <a:pos x="csX741" y="csY741"/>
              </a:cxn>
              <a:cxn ang="0">
                <a:pos x="csX742" y="csY742"/>
              </a:cxn>
              <a:cxn ang="0">
                <a:pos x="csX743" y="csY743"/>
              </a:cxn>
              <a:cxn ang="0">
                <a:pos x="csX744" y="csY744"/>
              </a:cxn>
              <a:cxn ang="0">
                <a:pos x="csX745" y="csY745"/>
              </a:cxn>
              <a:cxn ang="0">
                <a:pos x="csX746" y="csY746"/>
              </a:cxn>
              <a:cxn ang="0">
                <a:pos x="csX747" y="csY747"/>
              </a:cxn>
              <a:cxn ang="0">
                <a:pos x="csX748" y="csY748"/>
              </a:cxn>
              <a:cxn ang="0">
                <a:pos x="csX749" y="csY749"/>
              </a:cxn>
              <a:cxn ang="0">
                <a:pos x="csX750" y="csY750"/>
              </a:cxn>
              <a:cxn ang="0">
                <a:pos x="csX751" y="csY751"/>
              </a:cxn>
              <a:cxn ang="0">
                <a:pos x="csX752" y="csY752"/>
              </a:cxn>
              <a:cxn ang="0">
                <a:pos x="csX753" y="csY753"/>
              </a:cxn>
              <a:cxn ang="0">
                <a:pos x="csX754" y="csY754"/>
              </a:cxn>
              <a:cxn ang="0">
                <a:pos x="csX755" y="csY755"/>
              </a:cxn>
              <a:cxn ang="0">
                <a:pos x="csX756" y="csY756"/>
              </a:cxn>
              <a:cxn ang="0">
                <a:pos x="csX757" y="csY757"/>
              </a:cxn>
              <a:cxn ang="0">
                <a:pos x="csX758" y="csY758"/>
              </a:cxn>
              <a:cxn ang="0">
                <a:pos x="csX759" y="csY759"/>
              </a:cxn>
              <a:cxn ang="0">
                <a:pos x="csX760" y="csY760"/>
              </a:cxn>
              <a:cxn ang="0">
                <a:pos x="csX761" y="csY761"/>
              </a:cxn>
              <a:cxn ang="0">
                <a:pos x="csX762" y="csY762"/>
              </a:cxn>
              <a:cxn ang="0">
                <a:pos x="csX763" y="csY763"/>
              </a:cxn>
              <a:cxn ang="0">
                <a:pos x="csX764" y="csY764"/>
              </a:cxn>
              <a:cxn ang="0">
                <a:pos x="csX765" y="csY765"/>
              </a:cxn>
              <a:cxn ang="0">
                <a:pos x="csX766" y="csY766"/>
              </a:cxn>
              <a:cxn ang="0">
                <a:pos x="csX767" y="csY767"/>
              </a:cxn>
              <a:cxn ang="0">
                <a:pos x="csX768" y="csY768"/>
              </a:cxn>
              <a:cxn ang="0">
                <a:pos x="csX769" y="csY769"/>
              </a:cxn>
              <a:cxn ang="0">
                <a:pos x="csX770" y="csY770"/>
              </a:cxn>
              <a:cxn ang="0">
                <a:pos x="csX771" y="csY771"/>
              </a:cxn>
              <a:cxn ang="0">
                <a:pos x="csX772" y="csY772"/>
              </a:cxn>
              <a:cxn ang="0">
                <a:pos x="csX773" y="csY773"/>
              </a:cxn>
              <a:cxn ang="0">
                <a:pos x="csX774" y="csY774"/>
              </a:cxn>
              <a:cxn ang="0">
                <a:pos x="csX775" y="csY775"/>
              </a:cxn>
              <a:cxn ang="0">
                <a:pos x="csX776" y="csY776"/>
              </a:cxn>
              <a:cxn ang="0">
                <a:pos x="csX777" y="csY777"/>
              </a:cxn>
              <a:cxn ang="0">
                <a:pos x="csX778" y="csY778"/>
              </a:cxn>
              <a:cxn ang="0">
                <a:pos x="csX779" y="csY779"/>
              </a:cxn>
              <a:cxn ang="0">
                <a:pos x="csX780" y="csY780"/>
              </a:cxn>
              <a:cxn ang="0">
                <a:pos x="csX781" y="csY781"/>
              </a:cxn>
              <a:cxn ang="0">
                <a:pos x="csX782" y="csY782"/>
              </a:cxn>
              <a:cxn ang="0">
                <a:pos x="csX783" y="csY783"/>
              </a:cxn>
              <a:cxn ang="0">
                <a:pos x="csX784" y="csY784"/>
              </a:cxn>
              <a:cxn ang="0">
                <a:pos x="csX785" y="csY785"/>
              </a:cxn>
              <a:cxn ang="0">
                <a:pos x="csX786" y="csY786"/>
              </a:cxn>
              <a:cxn ang="0">
                <a:pos x="csX787" y="csY787"/>
              </a:cxn>
              <a:cxn ang="0">
                <a:pos x="csX788" y="csY788"/>
              </a:cxn>
              <a:cxn ang="0">
                <a:pos x="csX789" y="csY789"/>
              </a:cxn>
              <a:cxn ang="0">
                <a:pos x="csX790" y="csY790"/>
              </a:cxn>
              <a:cxn ang="0">
                <a:pos x="csX791" y="csY791"/>
              </a:cxn>
              <a:cxn ang="0">
                <a:pos x="csX792" y="csY792"/>
              </a:cxn>
              <a:cxn ang="0">
                <a:pos x="csX793" y="csY793"/>
              </a:cxn>
              <a:cxn ang="0">
                <a:pos x="csX794" y="csY794"/>
              </a:cxn>
              <a:cxn ang="0">
                <a:pos x="csX795" y="csY795"/>
              </a:cxn>
              <a:cxn ang="0">
                <a:pos x="csX796" y="csY796"/>
              </a:cxn>
              <a:cxn ang="0">
                <a:pos x="csX797" y="csY797"/>
              </a:cxn>
              <a:cxn ang="0">
                <a:pos x="csX798" y="csY798"/>
              </a:cxn>
              <a:cxn ang="0">
                <a:pos x="csX799" y="csY799"/>
              </a:cxn>
              <a:cxn ang="0">
                <a:pos x="csX800" y="csY800"/>
              </a:cxn>
              <a:cxn ang="0">
                <a:pos x="csX801" y="csY801"/>
              </a:cxn>
              <a:cxn ang="0">
                <a:pos x="csX802" y="csY802"/>
              </a:cxn>
              <a:cxn ang="0">
                <a:pos x="csX803" y="csY803"/>
              </a:cxn>
              <a:cxn ang="0">
                <a:pos x="csX804" y="csY804"/>
              </a:cxn>
              <a:cxn ang="0">
                <a:pos x="csX805" y="csY805"/>
              </a:cxn>
              <a:cxn ang="0">
                <a:pos x="csX806" y="csY806"/>
              </a:cxn>
              <a:cxn ang="0">
                <a:pos x="csX807" y="csY807"/>
              </a:cxn>
              <a:cxn ang="0">
                <a:pos x="csX808" y="csY808"/>
              </a:cxn>
              <a:cxn ang="0">
                <a:pos x="csX809" y="csY809"/>
              </a:cxn>
              <a:cxn ang="0">
                <a:pos x="csX810" y="csY810"/>
              </a:cxn>
              <a:cxn ang="0">
                <a:pos x="csX811" y="csY811"/>
              </a:cxn>
              <a:cxn ang="0">
                <a:pos x="csX812" y="csY812"/>
              </a:cxn>
              <a:cxn ang="0">
                <a:pos x="csX813" y="csY813"/>
              </a:cxn>
              <a:cxn ang="0">
                <a:pos x="csX814" y="csY814"/>
              </a:cxn>
              <a:cxn ang="0">
                <a:pos x="csX815" y="csY815"/>
              </a:cxn>
              <a:cxn ang="0">
                <a:pos x="csX816" y="csY816"/>
              </a:cxn>
              <a:cxn ang="0">
                <a:pos x="csX817" y="csY817"/>
              </a:cxn>
              <a:cxn ang="0">
                <a:pos x="csX818" y="csY818"/>
              </a:cxn>
              <a:cxn ang="0">
                <a:pos x="csX819" y="csY819"/>
              </a:cxn>
              <a:cxn ang="0">
                <a:pos x="csX820" y="csY820"/>
              </a:cxn>
              <a:cxn ang="0">
                <a:pos x="csX821" y="csY821"/>
              </a:cxn>
              <a:cxn ang="0">
                <a:pos x="csX822" y="csY822"/>
              </a:cxn>
              <a:cxn ang="0">
                <a:pos x="csX823" y="csY823"/>
              </a:cxn>
              <a:cxn ang="0">
                <a:pos x="csX824" y="csY824"/>
              </a:cxn>
              <a:cxn ang="0">
                <a:pos x="csX825" y="csY825"/>
              </a:cxn>
              <a:cxn ang="0">
                <a:pos x="csX826" y="csY826"/>
              </a:cxn>
              <a:cxn ang="0">
                <a:pos x="csX827" y="csY827"/>
              </a:cxn>
              <a:cxn ang="0">
                <a:pos x="csX828" y="csY828"/>
              </a:cxn>
              <a:cxn ang="0">
                <a:pos x="csX829" y="csY829"/>
              </a:cxn>
              <a:cxn ang="0">
                <a:pos x="csX830" y="csY830"/>
              </a:cxn>
              <a:cxn ang="0">
                <a:pos x="csX831" y="csY831"/>
              </a:cxn>
              <a:cxn ang="0">
                <a:pos x="csX832" y="csY832"/>
              </a:cxn>
              <a:cxn ang="0">
                <a:pos x="csX833" y="csY833"/>
              </a:cxn>
              <a:cxn ang="0">
                <a:pos x="csX834" y="csY834"/>
              </a:cxn>
              <a:cxn ang="0">
                <a:pos x="csX835" y="csY835"/>
              </a:cxn>
              <a:cxn ang="0">
                <a:pos x="csX836" y="csY836"/>
              </a:cxn>
              <a:cxn ang="0">
                <a:pos x="csX837" y="csY837"/>
              </a:cxn>
              <a:cxn ang="0">
                <a:pos x="csX838" y="csY838"/>
              </a:cxn>
              <a:cxn ang="0">
                <a:pos x="csX839" y="csY839"/>
              </a:cxn>
              <a:cxn ang="0">
                <a:pos x="csX840" y="csY840"/>
              </a:cxn>
              <a:cxn ang="0">
                <a:pos x="csX841" y="csY841"/>
              </a:cxn>
              <a:cxn ang="0">
                <a:pos x="csX842" y="csY842"/>
              </a:cxn>
              <a:cxn ang="0">
                <a:pos x="csX843" y="csY843"/>
              </a:cxn>
              <a:cxn ang="0">
                <a:pos x="csX844" y="csY844"/>
              </a:cxn>
              <a:cxn ang="0">
                <a:pos x="csX845" y="csY845"/>
              </a:cxn>
              <a:cxn ang="0">
                <a:pos x="csX846" y="csY846"/>
              </a:cxn>
              <a:cxn ang="0">
                <a:pos x="csX847" y="csY847"/>
              </a:cxn>
              <a:cxn ang="0">
                <a:pos x="csX848" y="csY848"/>
              </a:cxn>
              <a:cxn ang="0">
                <a:pos x="csX849" y="csY849"/>
              </a:cxn>
              <a:cxn ang="0">
                <a:pos x="csX850" y="csY850"/>
              </a:cxn>
              <a:cxn ang="0">
                <a:pos x="csX851" y="csY851"/>
              </a:cxn>
              <a:cxn ang="0">
                <a:pos x="csX852" y="csY852"/>
              </a:cxn>
              <a:cxn ang="0">
                <a:pos x="csX853" y="csY853"/>
              </a:cxn>
              <a:cxn ang="0">
                <a:pos x="csX854" y="csY854"/>
              </a:cxn>
              <a:cxn ang="0">
                <a:pos x="csX855" y="csY855"/>
              </a:cxn>
              <a:cxn ang="0">
                <a:pos x="csX856" y="csY856"/>
              </a:cxn>
              <a:cxn ang="0">
                <a:pos x="csX857" y="csY857"/>
              </a:cxn>
              <a:cxn ang="0">
                <a:pos x="csX858" y="csY858"/>
              </a:cxn>
              <a:cxn ang="0">
                <a:pos x="csX859" y="csY859"/>
              </a:cxn>
              <a:cxn ang="0">
                <a:pos x="csX860" y="csY860"/>
              </a:cxn>
              <a:cxn ang="0">
                <a:pos x="csX861" y="csY861"/>
              </a:cxn>
              <a:cxn ang="0">
                <a:pos x="csX862" y="csY862"/>
              </a:cxn>
              <a:cxn ang="0">
                <a:pos x="csX863" y="csY863"/>
              </a:cxn>
              <a:cxn ang="0">
                <a:pos x="csX864" y="csY864"/>
              </a:cxn>
              <a:cxn ang="0">
                <a:pos x="csX865" y="csY865"/>
              </a:cxn>
              <a:cxn ang="0">
                <a:pos x="csX866" y="csY866"/>
              </a:cxn>
              <a:cxn ang="0">
                <a:pos x="csX867" y="csY867"/>
              </a:cxn>
              <a:cxn ang="0">
                <a:pos x="csX868" y="csY868"/>
              </a:cxn>
              <a:cxn ang="0">
                <a:pos x="csX869" y="csY869"/>
              </a:cxn>
              <a:cxn ang="0">
                <a:pos x="csX870" y="csY870"/>
              </a:cxn>
              <a:cxn ang="0">
                <a:pos x="csX871" y="csY871"/>
              </a:cxn>
              <a:cxn ang="0">
                <a:pos x="csX872" y="csY872"/>
              </a:cxn>
              <a:cxn ang="0">
                <a:pos x="csX873" y="csY873"/>
              </a:cxn>
              <a:cxn ang="0">
                <a:pos x="csX874" y="csY874"/>
              </a:cxn>
              <a:cxn ang="0">
                <a:pos x="csX875" y="csY875"/>
              </a:cxn>
              <a:cxn ang="0">
                <a:pos x="csX876" y="csY876"/>
              </a:cxn>
              <a:cxn ang="0">
                <a:pos x="csX877" y="csY877"/>
              </a:cxn>
              <a:cxn ang="0">
                <a:pos x="csX878" y="csY878"/>
              </a:cxn>
              <a:cxn ang="0">
                <a:pos x="csX879" y="csY879"/>
              </a:cxn>
              <a:cxn ang="0">
                <a:pos x="csX880" y="csY880"/>
              </a:cxn>
              <a:cxn ang="0">
                <a:pos x="csX881" y="csY881"/>
              </a:cxn>
              <a:cxn ang="0">
                <a:pos x="csX882" y="csY882"/>
              </a:cxn>
              <a:cxn ang="0">
                <a:pos x="csX883" y="csY883"/>
              </a:cxn>
              <a:cxn ang="0">
                <a:pos x="csX884" y="csY884"/>
              </a:cxn>
              <a:cxn ang="0">
                <a:pos x="csX885" y="csY885"/>
              </a:cxn>
              <a:cxn ang="0">
                <a:pos x="csX886" y="csY886"/>
              </a:cxn>
              <a:cxn ang="0">
                <a:pos x="csX887" y="csY887"/>
              </a:cxn>
              <a:cxn ang="0">
                <a:pos x="csX888" y="csY888"/>
              </a:cxn>
              <a:cxn ang="0">
                <a:pos x="csX889" y="csY889"/>
              </a:cxn>
              <a:cxn ang="0">
                <a:pos x="csX890" y="csY890"/>
              </a:cxn>
              <a:cxn ang="0">
                <a:pos x="csX891" y="csY891"/>
              </a:cxn>
              <a:cxn ang="0">
                <a:pos x="csX892" y="csY892"/>
              </a:cxn>
              <a:cxn ang="0">
                <a:pos x="csX893" y="csY893"/>
              </a:cxn>
              <a:cxn ang="0">
                <a:pos x="csX894" y="csY894"/>
              </a:cxn>
              <a:cxn ang="0">
                <a:pos x="csX895" y="csY895"/>
              </a:cxn>
              <a:cxn ang="0">
                <a:pos x="csX896" y="csY896"/>
              </a:cxn>
              <a:cxn ang="0">
                <a:pos x="csX897" y="csY897"/>
              </a:cxn>
              <a:cxn ang="0">
                <a:pos x="csX898" y="csY898"/>
              </a:cxn>
              <a:cxn ang="0">
                <a:pos x="csX899" y="csY899"/>
              </a:cxn>
              <a:cxn ang="0">
                <a:pos x="csX900" y="csY900"/>
              </a:cxn>
              <a:cxn ang="0">
                <a:pos x="csX901" y="csY901"/>
              </a:cxn>
              <a:cxn ang="0">
                <a:pos x="csX902" y="csY902"/>
              </a:cxn>
              <a:cxn ang="0">
                <a:pos x="csX903" y="csY903"/>
              </a:cxn>
              <a:cxn ang="0">
                <a:pos x="csX904" y="csY904"/>
              </a:cxn>
              <a:cxn ang="0">
                <a:pos x="csX905" y="csY905"/>
              </a:cxn>
              <a:cxn ang="0">
                <a:pos x="csX906" y="csY906"/>
              </a:cxn>
              <a:cxn ang="0">
                <a:pos x="csX907" y="csY907"/>
              </a:cxn>
              <a:cxn ang="0">
                <a:pos x="csX908" y="csY908"/>
              </a:cxn>
              <a:cxn ang="0">
                <a:pos x="csX909" y="csY909"/>
              </a:cxn>
              <a:cxn ang="0">
                <a:pos x="csX910" y="csY910"/>
              </a:cxn>
              <a:cxn ang="0">
                <a:pos x="csX911" y="csY911"/>
              </a:cxn>
              <a:cxn ang="0">
                <a:pos x="csX912" y="csY912"/>
              </a:cxn>
              <a:cxn ang="0">
                <a:pos x="csX913" y="csY913"/>
              </a:cxn>
              <a:cxn ang="0">
                <a:pos x="csX914" y="csY914"/>
              </a:cxn>
              <a:cxn ang="0">
                <a:pos x="csX915" y="csY915"/>
              </a:cxn>
              <a:cxn ang="0">
                <a:pos x="csX916" y="csY916"/>
              </a:cxn>
              <a:cxn ang="0">
                <a:pos x="csX917" y="csY917"/>
              </a:cxn>
              <a:cxn ang="0">
                <a:pos x="csX918" y="csY918"/>
              </a:cxn>
              <a:cxn ang="0">
                <a:pos x="csX919" y="csY919"/>
              </a:cxn>
              <a:cxn ang="0">
                <a:pos x="csX920" y="csY920"/>
              </a:cxn>
              <a:cxn ang="0">
                <a:pos x="csX921" y="csY921"/>
              </a:cxn>
              <a:cxn ang="0">
                <a:pos x="csX922" y="csY922"/>
              </a:cxn>
              <a:cxn ang="0">
                <a:pos x="csX923" y="csY923"/>
              </a:cxn>
              <a:cxn ang="0">
                <a:pos x="csX924" y="csY924"/>
              </a:cxn>
              <a:cxn ang="0">
                <a:pos x="csX925" y="csY925"/>
              </a:cxn>
              <a:cxn ang="0">
                <a:pos x="csX926" y="csY926"/>
              </a:cxn>
              <a:cxn ang="0">
                <a:pos x="csX927" y="csY927"/>
              </a:cxn>
              <a:cxn ang="0">
                <a:pos x="csX928" y="csY928"/>
              </a:cxn>
              <a:cxn ang="0">
                <a:pos x="csX929" y="csY929"/>
              </a:cxn>
              <a:cxn ang="0">
                <a:pos x="csX930" y="csY930"/>
              </a:cxn>
              <a:cxn ang="0">
                <a:pos x="csX931" y="csY931"/>
              </a:cxn>
              <a:cxn ang="0">
                <a:pos x="csX932" y="csY932"/>
              </a:cxn>
              <a:cxn ang="0">
                <a:pos x="csX933" y="csY933"/>
              </a:cxn>
              <a:cxn ang="0">
                <a:pos x="csX934" y="csY934"/>
              </a:cxn>
              <a:cxn ang="0">
                <a:pos x="csX935" y="csY935"/>
              </a:cxn>
              <a:cxn ang="0">
                <a:pos x="csX936" y="csY936"/>
              </a:cxn>
              <a:cxn ang="0">
                <a:pos x="csX937" y="csY937"/>
              </a:cxn>
              <a:cxn ang="0">
                <a:pos x="csX938" y="csY938"/>
              </a:cxn>
              <a:cxn ang="0">
                <a:pos x="csX939" y="csY939"/>
              </a:cxn>
              <a:cxn ang="0">
                <a:pos x="csX940" y="csY940"/>
              </a:cxn>
              <a:cxn ang="0">
                <a:pos x="csX941" y="csY941"/>
              </a:cxn>
              <a:cxn ang="0">
                <a:pos x="csX942" y="csY942"/>
              </a:cxn>
              <a:cxn ang="0">
                <a:pos x="csX943" y="csY943"/>
              </a:cxn>
              <a:cxn ang="0">
                <a:pos x="csX944" y="csY944"/>
              </a:cxn>
              <a:cxn ang="0">
                <a:pos x="csX945" y="csY945"/>
              </a:cxn>
              <a:cxn ang="0">
                <a:pos x="csX946" y="csY946"/>
              </a:cxn>
              <a:cxn ang="0">
                <a:pos x="csX947" y="csY947"/>
              </a:cxn>
              <a:cxn ang="0">
                <a:pos x="csX948" y="csY948"/>
              </a:cxn>
              <a:cxn ang="0">
                <a:pos x="csX949" y="csY949"/>
              </a:cxn>
              <a:cxn ang="0">
                <a:pos x="csX950" y="csY950"/>
              </a:cxn>
              <a:cxn ang="0">
                <a:pos x="csX951" y="csY951"/>
              </a:cxn>
              <a:cxn ang="0">
                <a:pos x="csX952" y="csY952"/>
              </a:cxn>
              <a:cxn ang="0">
                <a:pos x="csX953" y="csY953"/>
              </a:cxn>
              <a:cxn ang="0">
                <a:pos x="csX954" y="csY954"/>
              </a:cxn>
              <a:cxn ang="0">
                <a:pos x="csX955" y="csY955"/>
              </a:cxn>
              <a:cxn ang="0">
                <a:pos x="csX956" y="csY956"/>
              </a:cxn>
              <a:cxn ang="0">
                <a:pos x="csX957" y="csY957"/>
              </a:cxn>
              <a:cxn ang="0">
                <a:pos x="csX958" y="csY958"/>
              </a:cxn>
              <a:cxn ang="0">
                <a:pos x="csX959" y="csY959"/>
              </a:cxn>
              <a:cxn ang="0">
                <a:pos x="csX960" y="csY960"/>
              </a:cxn>
              <a:cxn ang="0">
                <a:pos x="csX961" y="csY961"/>
              </a:cxn>
              <a:cxn ang="0">
                <a:pos x="csX962" y="csY962"/>
              </a:cxn>
              <a:cxn ang="0">
                <a:pos x="csX963" y="csY963"/>
              </a:cxn>
              <a:cxn ang="0">
                <a:pos x="csX964" y="csY964"/>
              </a:cxn>
              <a:cxn ang="0">
                <a:pos x="csX965" y="csY965"/>
              </a:cxn>
              <a:cxn ang="0">
                <a:pos x="csX966" y="csY966"/>
              </a:cxn>
              <a:cxn ang="0">
                <a:pos x="csX967" y="csY967"/>
              </a:cxn>
              <a:cxn ang="0">
                <a:pos x="csX968" y="csY968"/>
              </a:cxn>
              <a:cxn ang="0">
                <a:pos x="csX969" y="csY969"/>
              </a:cxn>
              <a:cxn ang="0">
                <a:pos x="csX970" y="csY970"/>
              </a:cxn>
              <a:cxn ang="0">
                <a:pos x="csX971" y="csY971"/>
              </a:cxn>
              <a:cxn ang="0">
                <a:pos x="csX972" y="csY972"/>
              </a:cxn>
              <a:cxn ang="0">
                <a:pos x="csX973" y="csY973"/>
              </a:cxn>
              <a:cxn ang="0">
                <a:pos x="csX974" y="csY974"/>
              </a:cxn>
              <a:cxn ang="0">
                <a:pos x="csX975" y="csY975"/>
              </a:cxn>
              <a:cxn ang="0">
                <a:pos x="csX976" y="csY976"/>
              </a:cxn>
              <a:cxn ang="0">
                <a:pos x="csX977" y="csY977"/>
              </a:cxn>
              <a:cxn ang="0">
                <a:pos x="csX978" y="csY978"/>
              </a:cxn>
              <a:cxn ang="0">
                <a:pos x="csX979" y="csY979"/>
              </a:cxn>
              <a:cxn ang="0">
                <a:pos x="csX980" y="csY980"/>
              </a:cxn>
              <a:cxn ang="0">
                <a:pos x="csX981" y="csY981"/>
              </a:cxn>
              <a:cxn ang="0">
                <a:pos x="csX982" y="csY982"/>
              </a:cxn>
              <a:cxn ang="0">
                <a:pos x="csX983" y="csY983"/>
              </a:cxn>
              <a:cxn ang="0">
                <a:pos x="csX984" y="csY984"/>
              </a:cxn>
              <a:cxn ang="0">
                <a:pos x="csX985" y="csY985"/>
              </a:cxn>
              <a:cxn ang="0">
                <a:pos x="csX986" y="csY986"/>
              </a:cxn>
              <a:cxn ang="0">
                <a:pos x="csX987" y="csY987"/>
              </a:cxn>
              <a:cxn ang="0">
                <a:pos x="csX988" y="csY988"/>
              </a:cxn>
              <a:cxn ang="0">
                <a:pos x="csX989" y="csY989"/>
              </a:cxn>
              <a:cxn ang="0">
                <a:pos x="csX990" y="csY990"/>
              </a:cxn>
              <a:cxn ang="0">
                <a:pos x="csX991" y="csY991"/>
              </a:cxn>
              <a:cxn ang="0">
                <a:pos x="csX992" y="csY992"/>
              </a:cxn>
              <a:cxn ang="0">
                <a:pos x="csX993" y="csY993"/>
              </a:cxn>
              <a:cxn ang="0">
                <a:pos x="csX994" y="csY994"/>
              </a:cxn>
              <a:cxn ang="0">
                <a:pos x="csX995" y="csY995"/>
              </a:cxn>
              <a:cxn ang="0">
                <a:pos x="csX996" y="csY996"/>
              </a:cxn>
              <a:cxn ang="0">
                <a:pos x="csX997" y="csY997"/>
              </a:cxn>
              <a:cxn ang="0">
                <a:pos x="csX998" y="csY998"/>
              </a:cxn>
              <a:cxn ang="0">
                <a:pos x="csX999" y="csY999"/>
              </a:cxn>
              <a:cxn ang="0">
                <a:pos x="csX1000" y="csY1000"/>
              </a:cxn>
              <a:cxn ang="0">
                <a:pos x="csX1001" y="csY1001"/>
              </a:cxn>
              <a:cxn ang="0">
                <a:pos x="csX1002" y="csY1002"/>
              </a:cxn>
              <a:cxn ang="0">
                <a:pos x="csX1003" y="csY1003"/>
              </a:cxn>
              <a:cxn ang="0">
                <a:pos x="csX1004" y="csY1004"/>
              </a:cxn>
              <a:cxn ang="0">
                <a:pos x="csX1005" y="csY1005"/>
              </a:cxn>
              <a:cxn ang="0">
                <a:pos x="csX1006" y="csY1006"/>
              </a:cxn>
              <a:cxn ang="0">
                <a:pos x="csX1007" y="csY1007"/>
              </a:cxn>
              <a:cxn ang="0">
                <a:pos x="csX1008" y="csY1008"/>
              </a:cxn>
              <a:cxn ang="0">
                <a:pos x="csX1009" y="csY1009"/>
              </a:cxn>
              <a:cxn ang="0">
                <a:pos x="csX1010" y="csY1010"/>
              </a:cxn>
              <a:cxn ang="0">
                <a:pos x="csX1011" y="csY1011"/>
              </a:cxn>
              <a:cxn ang="0">
                <a:pos x="csX1012" y="csY1012"/>
              </a:cxn>
              <a:cxn ang="0">
                <a:pos x="csX1013" y="csY1013"/>
              </a:cxn>
              <a:cxn ang="0">
                <a:pos x="csX1014" y="csY1014"/>
              </a:cxn>
              <a:cxn ang="0">
                <a:pos x="csX1015" y="csY1015"/>
              </a:cxn>
              <a:cxn ang="0">
                <a:pos x="csX1016" y="csY1016"/>
              </a:cxn>
              <a:cxn ang="0">
                <a:pos x="csX1017" y="csY1017"/>
              </a:cxn>
              <a:cxn ang="0">
                <a:pos x="csX1018" y="csY1018"/>
              </a:cxn>
              <a:cxn ang="0">
                <a:pos x="csX1019" y="csY1019"/>
              </a:cxn>
              <a:cxn ang="0">
                <a:pos x="csX1020" y="csY1020"/>
              </a:cxn>
              <a:cxn ang="0">
                <a:pos x="csX1021" y="csY1021"/>
              </a:cxn>
              <a:cxn ang="0">
                <a:pos x="csX1022" y="csY1022"/>
              </a:cxn>
              <a:cxn ang="0">
                <a:pos x="csX1023" y="csY1023"/>
              </a:cxn>
              <a:cxn ang="0">
                <a:pos x="csX1024" y="csY1024"/>
              </a:cxn>
              <a:cxn ang="0">
                <a:pos x="csX1025" y="csY1025"/>
              </a:cxn>
              <a:cxn ang="0">
                <a:pos x="csX1026" y="csY1026"/>
              </a:cxn>
              <a:cxn ang="0">
                <a:pos x="csX1027" y="csY1027"/>
              </a:cxn>
              <a:cxn ang="0">
                <a:pos x="csX1028" y="csY1028"/>
              </a:cxn>
              <a:cxn ang="0">
                <a:pos x="csX1029" y="csY1029"/>
              </a:cxn>
              <a:cxn ang="0">
                <a:pos x="csX1030" y="csY1030"/>
              </a:cxn>
              <a:cxn ang="0">
                <a:pos x="csX1031" y="csY1031"/>
              </a:cxn>
              <a:cxn ang="0">
                <a:pos x="csX1032" y="csY1032"/>
              </a:cxn>
              <a:cxn ang="0">
                <a:pos x="csX1033" y="csY1033"/>
              </a:cxn>
              <a:cxn ang="0">
                <a:pos x="csX1034" y="csY1034"/>
              </a:cxn>
              <a:cxn ang="0">
                <a:pos x="csX1035" y="csY1035"/>
              </a:cxn>
              <a:cxn ang="0">
                <a:pos x="csX1036" y="csY1036"/>
              </a:cxn>
              <a:cxn ang="0">
                <a:pos x="csX1037" y="csY1037"/>
              </a:cxn>
              <a:cxn ang="0">
                <a:pos x="csX1038" y="csY1038"/>
              </a:cxn>
              <a:cxn ang="0">
                <a:pos x="csX1039" y="csY1039"/>
              </a:cxn>
              <a:cxn ang="0">
                <a:pos x="csX1040" y="csY1040"/>
              </a:cxn>
              <a:cxn ang="0">
                <a:pos x="csX1041" y="csY1041"/>
              </a:cxn>
              <a:cxn ang="0">
                <a:pos x="csX1042" y="csY1042"/>
              </a:cxn>
              <a:cxn ang="0">
                <a:pos x="csX1043" y="csY1043"/>
              </a:cxn>
              <a:cxn ang="0">
                <a:pos x="csX1044" y="csY1044"/>
              </a:cxn>
              <a:cxn ang="0">
                <a:pos x="csX1045" y="csY1045"/>
              </a:cxn>
              <a:cxn ang="0">
                <a:pos x="csX1046" y="csY1046"/>
              </a:cxn>
              <a:cxn ang="0">
                <a:pos x="csX1047" y="csY1047"/>
              </a:cxn>
              <a:cxn ang="0">
                <a:pos x="csX1048" y="csY1048"/>
              </a:cxn>
              <a:cxn ang="0">
                <a:pos x="csX1049" y="csY1049"/>
              </a:cxn>
              <a:cxn ang="0">
                <a:pos x="csX1050" y="csY1050"/>
              </a:cxn>
              <a:cxn ang="0">
                <a:pos x="csX1051" y="csY1051"/>
              </a:cxn>
              <a:cxn ang="0">
                <a:pos x="csX1052" y="csY1052"/>
              </a:cxn>
              <a:cxn ang="0">
                <a:pos x="csX1053" y="csY1053"/>
              </a:cxn>
              <a:cxn ang="0">
                <a:pos x="csX1054" y="csY1054"/>
              </a:cxn>
            </a:cxnLst>
            <a:rect l="l" t="t" r="r" b="b"/>
            <a:pathLst>
              <a:path w="1609516" h="1538630">
                <a:moveTo>
                  <a:pt x="401579" y="1495809"/>
                </a:moveTo>
                <a:lnTo>
                  <a:pt x="400190" y="1496004"/>
                </a:lnTo>
                <a:lnTo>
                  <a:pt x="401224" y="1496470"/>
                </a:lnTo>
                <a:lnTo>
                  <a:pt x="401224" y="1498590"/>
                </a:lnTo>
                <a:lnTo>
                  <a:pt x="401579" y="1498628"/>
                </a:lnTo>
                <a:cubicBezTo>
                  <a:pt x="401579" y="1497698"/>
                  <a:pt x="401579" y="1496768"/>
                  <a:pt x="401579" y="1495809"/>
                </a:cubicBezTo>
                <a:close/>
                <a:moveTo>
                  <a:pt x="368755" y="1486512"/>
                </a:moveTo>
                <a:lnTo>
                  <a:pt x="364089" y="1487354"/>
                </a:lnTo>
                <a:lnTo>
                  <a:pt x="364089" y="1487908"/>
                </a:lnTo>
                <a:close/>
                <a:moveTo>
                  <a:pt x="1049801" y="1484562"/>
                </a:moveTo>
                <a:lnTo>
                  <a:pt x="1046735" y="1485945"/>
                </a:lnTo>
                <a:lnTo>
                  <a:pt x="1046955" y="1486045"/>
                </a:lnTo>
                <a:lnTo>
                  <a:pt x="1049801" y="1485188"/>
                </a:lnTo>
                <a:close/>
                <a:moveTo>
                  <a:pt x="351234" y="1444508"/>
                </a:moveTo>
                <a:lnTo>
                  <a:pt x="351234" y="1444997"/>
                </a:lnTo>
                <a:lnTo>
                  <a:pt x="351592" y="1445078"/>
                </a:lnTo>
                <a:close/>
                <a:moveTo>
                  <a:pt x="351908" y="1431206"/>
                </a:moveTo>
                <a:lnTo>
                  <a:pt x="351234" y="1431611"/>
                </a:lnTo>
                <a:lnTo>
                  <a:pt x="351234" y="1432274"/>
                </a:lnTo>
                <a:close/>
                <a:moveTo>
                  <a:pt x="358162" y="1421494"/>
                </a:moveTo>
                <a:lnTo>
                  <a:pt x="355921" y="1423156"/>
                </a:lnTo>
                <a:lnTo>
                  <a:pt x="355921" y="1423548"/>
                </a:lnTo>
                <a:close/>
                <a:moveTo>
                  <a:pt x="376098" y="1408347"/>
                </a:moveTo>
                <a:lnTo>
                  <a:pt x="370750" y="1412245"/>
                </a:lnTo>
                <a:lnTo>
                  <a:pt x="375023" y="1411256"/>
                </a:lnTo>
                <a:close/>
                <a:moveTo>
                  <a:pt x="421956" y="1365623"/>
                </a:moveTo>
                <a:lnTo>
                  <a:pt x="421765" y="1366161"/>
                </a:lnTo>
                <a:lnTo>
                  <a:pt x="421887" y="1366161"/>
                </a:lnTo>
                <a:close/>
                <a:moveTo>
                  <a:pt x="754553" y="1360575"/>
                </a:moveTo>
                <a:lnTo>
                  <a:pt x="754089" y="1361433"/>
                </a:lnTo>
                <a:lnTo>
                  <a:pt x="754431" y="1361125"/>
                </a:lnTo>
                <a:close/>
                <a:moveTo>
                  <a:pt x="1277973" y="1332923"/>
                </a:moveTo>
                <a:lnTo>
                  <a:pt x="1277944" y="1332936"/>
                </a:lnTo>
                <a:lnTo>
                  <a:pt x="1277949" y="1333139"/>
                </a:lnTo>
                <a:close/>
                <a:moveTo>
                  <a:pt x="1268556" y="1321066"/>
                </a:moveTo>
                <a:cubicBezTo>
                  <a:pt x="1268556" y="1322461"/>
                  <a:pt x="1268556" y="1323856"/>
                  <a:pt x="1268556" y="1325294"/>
                </a:cubicBezTo>
                <a:cubicBezTo>
                  <a:pt x="1267525" y="1325294"/>
                  <a:pt x="1266495" y="1325294"/>
                  <a:pt x="1265432" y="1325294"/>
                </a:cubicBezTo>
                <a:cubicBezTo>
                  <a:pt x="1265432" y="1330409"/>
                  <a:pt x="1265432" y="1335525"/>
                  <a:pt x="1265432" y="1340795"/>
                </a:cubicBezTo>
                <a:lnTo>
                  <a:pt x="1265476" y="1340714"/>
                </a:lnTo>
                <a:lnTo>
                  <a:pt x="1265476" y="1325877"/>
                </a:lnTo>
                <a:cubicBezTo>
                  <a:pt x="1266507" y="1325877"/>
                  <a:pt x="1267538" y="1325877"/>
                  <a:pt x="1268600" y="1325877"/>
                </a:cubicBezTo>
                <a:cubicBezTo>
                  <a:pt x="1268600" y="1324482"/>
                  <a:pt x="1268600" y="1323086"/>
                  <a:pt x="1268600" y="1321649"/>
                </a:cubicBezTo>
                <a:cubicBezTo>
                  <a:pt x="1270147" y="1321649"/>
                  <a:pt x="1271693" y="1321649"/>
                  <a:pt x="1273286" y="1321649"/>
                </a:cubicBezTo>
                <a:lnTo>
                  <a:pt x="1273227" y="1321066"/>
                </a:lnTo>
                <a:close/>
                <a:moveTo>
                  <a:pt x="827891" y="1291474"/>
                </a:moveTo>
                <a:lnTo>
                  <a:pt x="822601" y="1291544"/>
                </a:lnTo>
                <a:lnTo>
                  <a:pt x="818272" y="1292220"/>
                </a:lnTo>
                <a:lnTo>
                  <a:pt x="827891" y="1292047"/>
                </a:lnTo>
                <a:close/>
                <a:moveTo>
                  <a:pt x="856397" y="1288691"/>
                </a:moveTo>
                <a:lnTo>
                  <a:pt x="865903" y="1290590"/>
                </a:lnTo>
                <a:lnTo>
                  <a:pt x="859999" y="1288752"/>
                </a:lnTo>
                <a:close/>
                <a:moveTo>
                  <a:pt x="834694" y="1288572"/>
                </a:moveTo>
                <a:lnTo>
                  <a:pt x="828038" y="1288654"/>
                </a:lnTo>
                <a:lnTo>
                  <a:pt x="828038" y="1289214"/>
                </a:lnTo>
                <a:close/>
                <a:moveTo>
                  <a:pt x="229746" y="1191418"/>
                </a:moveTo>
                <a:lnTo>
                  <a:pt x="227402" y="1191947"/>
                </a:lnTo>
                <a:lnTo>
                  <a:pt x="229315" y="1191947"/>
                </a:lnTo>
                <a:cubicBezTo>
                  <a:pt x="229315" y="1192877"/>
                  <a:pt x="229315" y="1193807"/>
                  <a:pt x="229315" y="1194765"/>
                </a:cubicBezTo>
                <a:lnTo>
                  <a:pt x="231321" y="1194765"/>
                </a:lnTo>
                <a:lnTo>
                  <a:pt x="229746" y="1194236"/>
                </a:lnTo>
                <a:cubicBezTo>
                  <a:pt x="229746" y="1193306"/>
                  <a:pt x="229746" y="1192376"/>
                  <a:pt x="229746" y="1191418"/>
                </a:cubicBezTo>
                <a:close/>
                <a:moveTo>
                  <a:pt x="215687" y="1187190"/>
                </a:moveTo>
                <a:lnTo>
                  <a:pt x="215198" y="1187720"/>
                </a:lnTo>
                <a:lnTo>
                  <a:pt x="215256" y="1187720"/>
                </a:lnTo>
                <a:cubicBezTo>
                  <a:pt x="215256" y="1189115"/>
                  <a:pt x="215256" y="1190510"/>
                  <a:pt x="215256" y="1191947"/>
                </a:cubicBezTo>
                <a:lnTo>
                  <a:pt x="222721" y="1191947"/>
                </a:lnTo>
                <a:lnTo>
                  <a:pt x="215687" y="1191418"/>
                </a:lnTo>
                <a:cubicBezTo>
                  <a:pt x="215687" y="1190023"/>
                  <a:pt x="215687" y="1188628"/>
                  <a:pt x="215687" y="1187190"/>
                </a:cubicBezTo>
                <a:close/>
                <a:moveTo>
                  <a:pt x="1279678" y="1082356"/>
                </a:moveTo>
                <a:lnTo>
                  <a:pt x="1271680" y="1084589"/>
                </a:lnTo>
                <a:lnTo>
                  <a:pt x="1282181" y="1082544"/>
                </a:lnTo>
                <a:close/>
                <a:moveTo>
                  <a:pt x="117703" y="941507"/>
                </a:moveTo>
                <a:lnTo>
                  <a:pt x="112587" y="941985"/>
                </a:lnTo>
                <a:lnTo>
                  <a:pt x="112565" y="942333"/>
                </a:lnTo>
                <a:lnTo>
                  <a:pt x="115665" y="941837"/>
                </a:lnTo>
                <a:close/>
                <a:moveTo>
                  <a:pt x="144268" y="939395"/>
                </a:moveTo>
                <a:lnTo>
                  <a:pt x="143354" y="939580"/>
                </a:lnTo>
                <a:lnTo>
                  <a:pt x="144077" y="939739"/>
                </a:lnTo>
                <a:close/>
                <a:moveTo>
                  <a:pt x="162575" y="933530"/>
                </a:moveTo>
                <a:lnTo>
                  <a:pt x="161704" y="935101"/>
                </a:lnTo>
                <a:lnTo>
                  <a:pt x="170045" y="933585"/>
                </a:lnTo>
                <a:close/>
                <a:moveTo>
                  <a:pt x="1321645" y="918415"/>
                </a:moveTo>
                <a:lnTo>
                  <a:pt x="1321534" y="920177"/>
                </a:lnTo>
                <a:lnTo>
                  <a:pt x="1321740" y="918415"/>
                </a:lnTo>
                <a:close/>
                <a:moveTo>
                  <a:pt x="1319333" y="915183"/>
                </a:moveTo>
                <a:lnTo>
                  <a:pt x="1318544" y="918029"/>
                </a:lnTo>
                <a:lnTo>
                  <a:pt x="1318702" y="918029"/>
                </a:lnTo>
                <a:close/>
                <a:moveTo>
                  <a:pt x="1326355" y="907109"/>
                </a:moveTo>
                <a:lnTo>
                  <a:pt x="1326355" y="910983"/>
                </a:lnTo>
                <a:lnTo>
                  <a:pt x="1325831" y="911101"/>
                </a:lnTo>
                <a:lnTo>
                  <a:pt x="1326426" y="911369"/>
                </a:lnTo>
                <a:cubicBezTo>
                  <a:pt x="1326426" y="909974"/>
                  <a:pt x="1326426" y="908579"/>
                  <a:pt x="1326426" y="907141"/>
                </a:cubicBezTo>
                <a:close/>
                <a:moveTo>
                  <a:pt x="1328144" y="892192"/>
                </a:moveTo>
                <a:lnTo>
                  <a:pt x="1327667" y="893446"/>
                </a:lnTo>
                <a:lnTo>
                  <a:pt x="1327989" y="893049"/>
                </a:lnTo>
                <a:close/>
                <a:moveTo>
                  <a:pt x="49605" y="887420"/>
                </a:moveTo>
                <a:lnTo>
                  <a:pt x="48549" y="891229"/>
                </a:lnTo>
                <a:lnTo>
                  <a:pt x="49956" y="887420"/>
                </a:lnTo>
                <a:close/>
                <a:moveTo>
                  <a:pt x="1332266" y="883369"/>
                </a:moveTo>
                <a:lnTo>
                  <a:pt x="1329479" y="884207"/>
                </a:lnTo>
                <a:lnTo>
                  <a:pt x="1329509" y="884816"/>
                </a:lnTo>
                <a:lnTo>
                  <a:pt x="1329551" y="884594"/>
                </a:lnTo>
                <a:close/>
                <a:moveTo>
                  <a:pt x="1555987" y="821766"/>
                </a:moveTo>
                <a:lnTo>
                  <a:pt x="1555987" y="822201"/>
                </a:lnTo>
                <a:lnTo>
                  <a:pt x="1556081" y="822189"/>
                </a:lnTo>
                <a:close/>
                <a:moveTo>
                  <a:pt x="1565360" y="810928"/>
                </a:moveTo>
                <a:lnTo>
                  <a:pt x="1564871" y="811809"/>
                </a:lnTo>
                <a:lnTo>
                  <a:pt x="1567314" y="810928"/>
                </a:lnTo>
                <a:close/>
                <a:moveTo>
                  <a:pt x="1563797" y="810928"/>
                </a:moveTo>
                <a:lnTo>
                  <a:pt x="1556762" y="814736"/>
                </a:lnTo>
                <a:lnTo>
                  <a:pt x="1563797" y="812197"/>
                </a:lnTo>
                <a:close/>
                <a:moveTo>
                  <a:pt x="265833" y="806020"/>
                </a:moveTo>
                <a:lnTo>
                  <a:pt x="263704" y="809861"/>
                </a:lnTo>
                <a:lnTo>
                  <a:pt x="263704" y="816750"/>
                </a:lnTo>
                <a:lnTo>
                  <a:pt x="264113" y="816565"/>
                </a:lnTo>
                <a:cubicBezTo>
                  <a:pt x="264048" y="815315"/>
                  <a:pt x="263984" y="814065"/>
                  <a:pt x="263918" y="812777"/>
                </a:cubicBezTo>
                <a:close/>
                <a:moveTo>
                  <a:pt x="263774" y="779374"/>
                </a:moveTo>
                <a:lnTo>
                  <a:pt x="263704" y="783086"/>
                </a:lnTo>
                <a:cubicBezTo>
                  <a:pt x="263961" y="783987"/>
                  <a:pt x="264219" y="784888"/>
                  <a:pt x="264484" y="785816"/>
                </a:cubicBezTo>
                <a:cubicBezTo>
                  <a:pt x="265299" y="788846"/>
                  <a:pt x="265316" y="791337"/>
                  <a:pt x="265265" y="794448"/>
                </a:cubicBezTo>
                <a:cubicBezTo>
                  <a:pt x="265103" y="797155"/>
                  <a:pt x="265022" y="798508"/>
                  <a:pt x="265217" y="799730"/>
                </a:cubicBezTo>
                <a:lnTo>
                  <a:pt x="266556" y="803466"/>
                </a:lnTo>
                <a:lnTo>
                  <a:pt x="267237" y="801063"/>
                </a:lnTo>
                <a:cubicBezTo>
                  <a:pt x="266721" y="800598"/>
                  <a:pt x="266206" y="800133"/>
                  <a:pt x="265675" y="799654"/>
                </a:cubicBezTo>
                <a:cubicBezTo>
                  <a:pt x="265601" y="797718"/>
                  <a:pt x="265617" y="795778"/>
                  <a:pt x="265675" y="793841"/>
                </a:cubicBezTo>
                <a:close/>
                <a:moveTo>
                  <a:pt x="260988" y="770061"/>
                </a:moveTo>
                <a:lnTo>
                  <a:pt x="260988" y="771364"/>
                </a:lnTo>
                <a:lnTo>
                  <a:pt x="263497" y="777263"/>
                </a:lnTo>
                <a:lnTo>
                  <a:pt x="262551" y="770061"/>
                </a:lnTo>
                <a:cubicBezTo>
                  <a:pt x="262035" y="770061"/>
                  <a:pt x="261520" y="770061"/>
                  <a:pt x="260988" y="770061"/>
                </a:cubicBezTo>
                <a:close/>
                <a:moveTo>
                  <a:pt x="157888" y="651686"/>
                </a:moveTo>
                <a:lnTo>
                  <a:pt x="157415" y="651764"/>
                </a:lnTo>
                <a:lnTo>
                  <a:pt x="160373" y="652274"/>
                </a:lnTo>
                <a:close/>
                <a:moveTo>
                  <a:pt x="267237" y="426537"/>
                </a:moveTo>
                <a:lnTo>
                  <a:pt x="267237" y="427619"/>
                </a:lnTo>
                <a:cubicBezTo>
                  <a:pt x="268274" y="427791"/>
                  <a:pt x="269311" y="427961"/>
                  <a:pt x="270380" y="428137"/>
                </a:cubicBezTo>
                <a:lnTo>
                  <a:pt x="273548" y="428680"/>
                </a:lnTo>
                <a:close/>
                <a:moveTo>
                  <a:pt x="37605" y="359270"/>
                </a:moveTo>
                <a:lnTo>
                  <a:pt x="37103" y="361533"/>
                </a:lnTo>
                <a:lnTo>
                  <a:pt x="37605" y="361382"/>
                </a:lnTo>
                <a:close/>
                <a:moveTo>
                  <a:pt x="52477" y="337570"/>
                </a:moveTo>
                <a:lnTo>
                  <a:pt x="47288" y="342340"/>
                </a:lnTo>
                <a:lnTo>
                  <a:pt x="45805" y="345093"/>
                </a:lnTo>
                <a:close/>
                <a:moveTo>
                  <a:pt x="104291" y="336166"/>
                </a:moveTo>
                <a:lnTo>
                  <a:pt x="103776" y="337559"/>
                </a:lnTo>
                <a:lnTo>
                  <a:pt x="108925" y="336166"/>
                </a:lnTo>
                <a:close/>
                <a:moveTo>
                  <a:pt x="1309237" y="322954"/>
                </a:moveTo>
                <a:lnTo>
                  <a:pt x="1309180" y="330559"/>
                </a:lnTo>
                <a:lnTo>
                  <a:pt x="1309237" y="330520"/>
                </a:lnTo>
                <a:close/>
                <a:moveTo>
                  <a:pt x="1308964" y="317715"/>
                </a:moveTo>
                <a:lnTo>
                  <a:pt x="1309237" y="318569"/>
                </a:lnTo>
                <a:lnTo>
                  <a:pt x="1309237" y="317838"/>
                </a:lnTo>
                <a:close/>
                <a:moveTo>
                  <a:pt x="1310087" y="313153"/>
                </a:moveTo>
                <a:lnTo>
                  <a:pt x="1307609" y="313473"/>
                </a:lnTo>
                <a:lnTo>
                  <a:pt x="1308045" y="314836"/>
                </a:lnTo>
                <a:close/>
                <a:moveTo>
                  <a:pt x="1318544" y="312064"/>
                </a:moveTo>
                <a:lnTo>
                  <a:pt x="1316298" y="312353"/>
                </a:lnTo>
                <a:lnTo>
                  <a:pt x="1318544" y="312205"/>
                </a:lnTo>
                <a:close/>
                <a:moveTo>
                  <a:pt x="1084622" y="267674"/>
                </a:moveTo>
                <a:lnTo>
                  <a:pt x="1084227" y="268378"/>
                </a:lnTo>
                <a:cubicBezTo>
                  <a:pt x="1082679" y="268378"/>
                  <a:pt x="1081133" y="268378"/>
                  <a:pt x="1079540" y="268378"/>
                </a:cubicBezTo>
                <a:lnTo>
                  <a:pt x="1079603" y="268477"/>
                </a:lnTo>
                <a:lnTo>
                  <a:pt x="1084192" y="268477"/>
                </a:lnTo>
                <a:close/>
                <a:moveTo>
                  <a:pt x="956410" y="266968"/>
                </a:moveTo>
                <a:lnTo>
                  <a:pt x="957576" y="267083"/>
                </a:lnTo>
                <a:lnTo>
                  <a:pt x="957576" y="269776"/>
                </a:lnTo>
                <a:lnTo>
                  <a:pt x="957694" y="269787"/>
                </a:lnTo>
                <a:cubicBezTo>
                  <a:pt x="957694" y="268857"/>
                  <a:pt x="957694" y="267927"/>
                  <a:pt x="957694" y="266968"/>
                </a:cubicBezTo>
                <a:close/>
                <a:moveTo>
                  <a:pt x="1089372" y="259220"/>
                </a:moveTo>
                <a:lnTo>
                  <a:pt x="1085856" y="265479"/>
                </a:lnTo>
                <a:lnTo>
                  <a:pt x="1088878" y="261431"/>
                </a:lnTo>
                <a:close/>
                <a:moveTo>
                  <a:pt x="1018517" y="223356"/>
                </a:moveTo>
                <a:lnTo>
                  <a:pt x="1013866" y="226190"/>
                </a:lnTo>
                <a:lnTo>
                  <a:pt x="1013024" y="227709"/>
                </a:lnTo>
                <a:lnTo>
                  <a:pt x="1017055" y="224692"/>
                </a:lnTo>
                <a:close/>
                <a:moveTo>
                  <a:pt x="850645" y="220099"/>
                </a:moveTo>
                <a:lnTo>
                  <a:pt x="850897" y="221488"/>
                </a:lnTo>
                <a:cubicBezTo>
                  <a:pt x="851086" y="222545"/>
                  <a:pt x="851275" y="223602"/>
                  <a:pt x="851470" y="224692"/>
                </a:cubicBezTo>
                <a:lnTo>
                  <a:pt x="852860" y="224692"/>
                </a:lnTo>
                <a:close/>
                <a:moveTo>
                  <a:pt x="1155019" y="35"/>
                </a:moveTo>
                <a:cubicBezTo>
                  <a:pt x="1161775" y="275"/>
                  <a:pt x="1168415" y="1783"/>
                  <a:pt x="1174829" y="4853"/>
                </a:cubicBezTo>
                <a:cubicBezTo>
                  <a:pt x="1176343" y="5231"/>
                  <a:pt x="1177858" y="5609"/>
                  <a:pt x="1179418" y="5998"/>
                </a:cubicBezTo>
                <a:cubicBezTo>
                  <a:pt x="1189392" y="9487"/>
                  <a:pt x="1196322" y="14392"/>
                  <a:pt x="1201385" y="22997"/>
                </a:cubicBezTo>
                <a:cubicBezTo>
                  <a:pt x="1206849" y="35244"/>
                  <a:pt x="1206940" y="49865"/>
                  <a:pt x="1201678" y="62191"/>
                </a:cubicBezTo>
                <a:cubicBezTo>
                  <a:pt x="1200594" y="64241"/>
                  <a:pt x="1199461" y="66271"/>
                  <a:pt x="1198261" y="68268"/>
                </a:cubicBezTo>
                <a:cubicBezTo>
                  <a:pt x="1197423" y="69721"/>
                  <a:pt x="1196586" y="71175"/>
                  <a:pt x="1195723" y="72672"/>
                </a:cubicBezTo>
                <a:cubicBezTo>
                  <a:pt x="1194659" y="73980"/>
                  <a:pt x="1194659" y="73980"/>
                  <a:pt x="1193575" y="75314"/>
                </a:cubicBezTo>
                <a:cubicBezTo>
                  <a:pt x="1192544" y="75314"/>
                  <a:pt x="1191512" y="75314"/>
                  <a:pt x="1190450" y="75314"/>
                </a:cubicBezTo>
                <a:cubicBezTo>
                  <a:pt x="1190128" y="76651"/>
                  <a:pt x="1189806" y="77988"/>
                  <a:pt x="1189474" y="79366"/>
                </a:cubicBezTo>
                <a:cubicBezTo>
                  <a:pt x="1187326" y="83769"/>
                  <a:pt x="1187326" y="83769"/>
                  <a:pt x="1182445" y="85707"/>
                </a:cubicBezTo>
                <a:cubicBezTo>
                  <a:pt x="1180962" y="85998"/>
                  <a:pt x="1179480" y="86289"/>
                  <a:pt x="1177953" y="86588"/>
                </a:cubicBezTo>
                <a:cubicBezTo>
                  <a:pt x="1177953" y="87518"/>
                  <a:pt x="1177953" y="88448"/>
                  <a:pt x="1177953" y="89406"/>
                </a:cubicBezTo>
                <a:cubicBezTo>
                  <a:pt x="1175369" y="91088"/>
                  <a:pt x="1172720" y="92688"/>
                  <a:pt x="1170045" y="94251"/>
                </a:cubicBezTo>
                <a:cubicBezTo>
                  <a:pt x="1154651" y="104199"/>
                  <a:pt x="1148918" y="116979"/>
                  <a:pt x="1143806" y="132828"/>
                </a:cubicBezTo>
                <a:cubicBezTo>
                  <a:pt x="1142095" y="137144"/>
                  <a:pt x="1140989" y="138617"/>
                  <a:pt x="1137338" y="141548"/>
                </a:cubicBezTo>
                <a:cubicBezTo>
                  <a:pt x="1136166" y="144148"/>
                  <a:pt x="1134992" y="146751"/>
                  <a:pt x="1133970" y="149403"/>
                </a:cubicBezTo>
                <a:cubicBezTo>
                  <a:pt x="1132069" y="154334"/>
                  <a:pt x="1130006" y="159210"/>
                  <a:pt x="1127965" y="164095"/>
                </a:cubicBezTo>
                <a:cubicBezTo>
                  <a:pt x="1126897" y="166664"/>
                  <a:pt x="1125830" y="169233"/>
                  <a:pt x="1124762" y="171802"/>
                </a:cubicBezTo>
                <a:cubicBezTo>
                  <a:pt x="1122961" y="176134"/>
                  <a:pt x="1121160" y="180466"/>
                  <a:pt x="1119359" y="184798"/>
                </a:cubicBezTo>
                <a:cubicBezTo>
                  <a:pt x="1116567" y="191508"/>
                  <a:pt x="1113778" y="198220"/>
                  <a:pt x="1111014" y="204941"/>
                </a:cubicBezTo>
                <a:cubicBezTo>
                  <a:pt x="1110590" y="205970"/>
                  <a:pt x="1110165" y="206999"/>
                  <a:pt x="1109729" y="208059"/>
                </a:cubicBezTo>
                <a:cubicBezTo>
                  <a:pt x="1108615" y="210762"/>
                  <a:pt x="1107505" y="213466"/>
                  <a:pt x="1106395" y="216170"/>
                </a:cubicBezTo>
                <a:cubicBezTo>
                  <a:pt x="1104320" y="220956"/>
                  <a:pt x="1103283" y="223349"/>
                  <a:pt x="1102147" y="224810"/>
                </a:cubicBezTo>
                <a:lnTo>
                  <a:pt x="1098261" y="227262"/>
                </a:lnTo>
                <a:lnTo>
                  <a:pt x="1098367" y="238475"/>
                </a:lnTo>
                <a:cubicBezTo>
                  <a:pt x="1098025" y="239757"/>
                  <a:pt x="1097684" y="241038"/>
                  <a:pt x="1097331" y="242358"/>
                </a:cubicBezTo>
                <a:cubicBezTo>
                  <a:pt x="1096958" y="243711"/>
                  <a:pt x="1096585" y="245064"/>
                  <a:pt x="1096201" y="246458"/>
                </a:cubicBezTo>
                <a:cubicBezTo>
                  <a:pt x="1093302" y="257363"/>
                  <a:pt x="1090901" y="268062"/>
                  <a:pt x="1089440" y="279206"/>
                </a:cubicBezTo>
                <a:cubicBezTo>
                  <a:pt x="1088878" y="282569"/>
                  <a:pt x="1088878" y="282569"/>
                  <a:pt x="1087316" y="283978"/>
                </a:cubicBezTo>
                <a:cubicBezTo>
                  <a:pt x="1087070" y="286587"/>
                  <a:pt x="1086924" y="289205"/>
                  <a:pt x="1086822" y="291822"/>
                </a:cubicBezTo>
                <a:cubicBezTo>
                  <a:pt x="1086756" y="293408"/>
                  <a:pt x="1086691" y="294993"/>
                  <a:pt x="1086623" y="296625"/>
                </a:cubicBezTo>
                <a:cubicBezTo>
                  <a:pt x="1086562" y="298294"/>
                  <a:pt x="1086501" y="299962"/>
                  <a:pt x="1086437" y="301681"/>
                </a:cubicBezTo>
                <a:cubicBezTo>
                  <a:pt x="1086336" y="304192"/>
                  <a:pt x="1086336" y="304192"/>
                  <a:pt x="1086233" y="306754"/>
                </a:cubicBezTo>
                <a:lnTo>
                  <a:pt x="1086007" y="312619"/>
                </a:lnTo>
                <a:lnTo>
                  <a:pt x="1087470" y="320554"/>
                </a:lnTo>
                <a:cubicBezTo>
                  <a:pt x="1089648" y="325409"/>
                  <a:pt x="1093111" y="329799"/>
                  <a:pt x="1098285" y="334611"/>
                </a:cubicBezTo>
                <a:cubicBezTo>
                  <a:pt x="1100424" y="336130"/>
                  <a:pt x="1100424" y="336130"/>
                  <a:pt x="1102607" y="337679"/>
                </a:cubicBezTo>
                <a:cubicBezTo>
                  <a:pt x="1104334" y="338951"/>
                  <a:pt x="1104334" y="338951"/>
                  <a:pt x="1106095" y="340248"/>
                </a:cubicBezTo>
                <a:cubicBezTo>
                  <a:pt x="1106095" y="341178"/>
                  <a:pt x="1106095" y="342108"/>
                  <a:pt x="1106095" y="343066"/>
                </a:cubicBezTo>
                <a:cubicBezTo>
                  <a:pt x="1107127" y="343183"/>
                  <a:pt x="1108158" y="343299"/>
                  <a:pt x="1109220" y="343419"/>
                </a:cubicBezTo>
                <a:cubicBezTo>
                  <a:pt x="1115473" y="344829"/>
                  <a:pt x="1120724" y="347416"/>
                  <a:pt x="1126403" y="350112"/>
                </a:cubicBezTo>
                <a:cubicBezTo>
                  <a:pt x="1128207" y="350926"/>
                  <a:pt x="1130012" y="351740"/>
                  <a:pt x="1131871" y="352579"/>
                </a:cubicBezTo>
                <a:cubicBezTo>
                  <a:pt x="1133159" y="353160"/>
                  <a:pt x="1134448" y="353741"/>
                  <a:pt x="1135776" y="354340"/>
                </a:cubicBezTo>
                <a:cubicBezTo>
                  <a:pt x="1135776" y="355270"/>
                  <a:pt x="1135776" y="356200"/>
                  <a:pt x="1135776" y="357158"/>
                </a:cubicBezTo>
                <a:cubicBezTo>
                  <a:pt x="1148107" y="360029"/>
                  <a:pt x="1158679" y="359101"/>
                  <a:pt x="1170143" y="354340"/>
                </a:cubicBezTo>
                <a:cubicBezTo>
                  <a:pt x="1172366" y="353468"/>
                  <a:pt x="1172366" y="353468"/>
                  <a:pt x="1174634" y="352579"/>
                </a:cubicBezTo>
                <a:cubicBezTo>
                  <a:pt x="1180354" y="349689"/>
                  <a:pt x="1185568" y="346355"/>
                  <a:pt x="1190890" y="342907"/>
                </a:cubicBezTo>
                <a:cubicBezTo>
                  <a:pt x="1195169" y="340228"/>
                  <a:pt x="1199557" y="337821"/>
                  <a:pt x="1204021" y="335404"/>
                </a:cubicBezTo>
                <a:cubicBezTo>
                  <a:pt x="1211989" y="330886"/>
                  <a:pt x="1217509" y="325766"/>
                  <a:pt x="1223255" y="319110"/>
                </a:cubicBezTo>
                <a:cubicBezTo>
                  <a:pt x="1224447" y="317947"/>
                  <a:pt x="1225639" y="316784"/>
                  <a:pt x="1226868" y="315587"/>
                </a:cubicBezTo>
                <a:cubicBezTo>
                  <a:pt x="1229855" y="311593"/>
                  <a:pt x="1230852" y="308240"/>
                  <a:pt x="1231859" y="303559"/>
                </a:cubicBezTo>
                <a:cubicBezTo>
                  <a:pt x="1232628" y="300790"/>
                  <a:pt x="1232628" y="300790"/>
                  <a:pt x="1234178" y="298059"/>
                </a:cubicBezTo>
                <a:cubicBezTo>
                  <a:pt x="1235964" y="294761"/>
                  <a:pt x="1236623" y="291807"/>
                  <a:pt x="1237314" y="288195"/>
                </a:cubicBezTo>
                <a:cubicBezTo>
                  <a:pt x="1239360" y="278571"/>
                  <a:pt x="1242414" y="272733"/>
                  <a:pt x="1249811" y="265559"/>
                </a:cubicBezTo>
                <a:cubicBezTo>
                  <a:pt x="1250842" y="265559"/>
                  <a:pt x="1251873" y="265559"/>
                  <a:pt x="1252935" y="265559"/>
                </a:cubicBezTo>
                <a:cubicBezTo>
                  <a:pt x="1252935" y="264629"/>
                  <a:pt x="1252935" y="263699"/>
                  <a:pt x="1252935" y="262741"/>
                </a:cubicBezTo>
                <a:cubicBezTo>
                  <a:pt x="1265591" y="253427"/>
                  <a:pt x="1280762" y="251648"/>
                  <a:pt x="1296675" y="252876"/>
                </a:cubicBezTo>
                <a:cubicBezTo>
                  <a:pt x="1300535" y="253563"/>
                  <a:pt x="1303901" y="254478"/>
                  <a:pt x="1307609" y="255695"/>
                </a:cubicBezTo>
                <a:cubicBezTo>
                  <a:pt x="1307609" y="256625"/>
                  <a:pt x="1307609" y="257555"/>
                  <a:pt x="1307609" y="258513"/>
                </a:cubicBezTo>
                <a:cubicBezTo>
                  <a:pt x="1309021" y="258619"/>
                  <a:pt x="1310432" y="258723"/>
                  <a:pt x="1311887" y="258832"/>
                </a:cubicBezTo>
                <a:cubicBezTo>
                  <a:pt x="1319573" y="260476"/>
                  <a:pt x="1322149" y="264416"/>
                  <a:pt x="1326715" y="269969"/>
                </a:cubicBezTo>
                <a:cubicBezTo>
                  <a:pt x="1334402" y="281220"/>
                  <a:pt x="1336114" y="294839"/>
                  <a:pt x="1334165" y="307836"/>
                </a:cubicBezTo>
                <a:cubicBezTo>
                  <a:pt x="1332176" y="311898"/>
                  <a:pt x="1332176" y="311898"/>
                  <a:pt x="1329479" y="314882"/>
                </a:cubicBezTo>
                <a:cubicBezTo>
                  <a:pt x="1327417" y="314882"/>
                  <a:pt x="1325355" y="314882"/>
                  <a:pt x="1323231" y="314882"/>
                </a:cubicBezTo>
                <a:cubicBezTo>
                  <a:pt x="1323231" y="315812"/>
                  <a:pt x="1323231" y="316742"/>
                  <a:pt x="1323231" y="317700"/>
                </a:cubicBezTo>
                <a:lnTo>
                  <a:pt x="1322774" y="317838"/>
                </a:lnTo>
                <a:lnTo>
                  <a:pt x="1323295" y="317838"/>
                </a:lnTo>
                <a:cubicBezTo>
                  <a:pt x="1323295" y="316907"/>
                  <a:pt x="1323295" y="315977"/>
                  <a:pt x="1323295" y="315019"/>
                </a:cubicBezTo>
                <a:cubicBezTo>
                  <a:pt x="1324842" y="315019"/>
                  <a:pt x="1326388" y="315019"/>
                  <a:pt x="1327982" y="315019"/>
                </a:cubicBezTo>
                <a:cubicBezTo>
                  <a:pt x="1325845" y="321328"/>
                  <a:pt x="1322753" y="323742"/>
                  <a:pt x="1317047" y="327702"/>
                </a:cubicBezTo>
                <a:cubicBezTo>
                  <a:pt x="1316531" y="329097"/>
                  <a:pt x="1316016" y="330492"/>
                  <a:pt x="1315484" y="331930"/>
                </a:cubicBezTo>
                <a:cubicBezTo>
                  <a:pt x="1312599" y="332959"/>
                  <a:pt x="1312599" y="332959"/>
                  <a:pt x="1309139" y="333603"/>
                </a:cubicBezTo>
                <a:cubicBezTo>
                  <a:pt x="1307993" y="333827"/>
                  <a:pt x="1306847" y="334050"/>
                  <a:pt x="1305666" y="334280"/>
                </a:cubicBezTo>
                <a:cubicBezTo>
                  <a:pt x="1304783" y="334434"/>
                  <a:pt x="1303899" y="334589"/>
                  <a:pt x="1302988" y="334748"/>
                </a:cubicBezTo>
                <a:lnTo>
                  <a:pt x="1305905" y="332775"/>
                </a:lnTo>
                <a:lnTo>
                  <a:pt x="1304485" y="333202"/>
                </a:lnTo>
                <a:cubicBezTo>
                  <a:pt x="1302987" y="334640"/>
                  <a:pt x="1302987" y="334640"/>
                  <a:pt x="1301459" y="336108"/>
                </a:cubicBezTo>
                <a:cubicBezTo>
                  <a:pt x="1298237" y="338839"/>
                  <a:pt x="1298237" y="338839"/>
                  <a:pt x="1291989" y="338839"/>
                </a:cubicBezTo>
                <a:cubicBezTo>
                  <a:pt x="1291473" y="340234"/>
                  <a:pt x="1290957" y="341629"/>
                  <a:pt x="1290426" y="343066"/>
                </a:cubicBezTo>
                <a:cubicBezTo>
                  <a:pt x="1288879" y="343415"/>
                  <a:pt x="1287333" y="343764"/>
                  <a:pt x="1285740" y="344123"/>
                </a:cubicBezTo>
                <a:cubicBezTo>
                  <a:pt x="1266905" y="348491"/>
                  <a:pt x="1249005" y="369098"/>
                  <a:pt x="1237314" y="382525"/>
                </a:cubicBezTo>
                <a:cubicBezTo>
                  <a:pt x="1235678" y="385783"/>
                  <a:pt x="1234122" y="389075"/>
                  <a:pt x="1232628" y="392389"/>
                </a:cubicBezTo>
                <a:cubicBezTo>
                  <a:pt x="1231317" y="394515"/>
                  <a:pt x="1229981" y="396629"/>
                  <a:pt x="1228625" y="398731"/>
                </a:cubicBezTo>
                <a:cubicBezTo>
                  <a:pt x="1221457" y="410300"/>
                  <a:pt x="1219465" y="421836"/>
                  <a:pt x="1222822" y="434798"/>
                </a:cubicBezTo>
                <a:cubicBezTo>
                  <a:pt x="1229360" y="453710"/>
                  <a:pt x="1244088" y="472467"/>
                  <a:pt x="1260746" y="485398"/>
                </a:cubicBezTo>
                <a:cubicBezTo>
                  <a:pt x="1264961" y="487349"/>
                  <a:pt x="1264961" y="487349"/>
                  <a:pt x="1268556" y="488216"/>
                </a:cubicBezTo>
                <a:cubicBezTo>
                  <a:pt x="1268556" y="489146"/>
                  <a:pt x="1268556" y="490076"/>
                  <a:pt x="1268556" y="491034"/>
                </a:cubicBezTo>
                <a:cubicBezTo>
                  <a:pt x="1288790" y="497071"/>
                  <a:pt x="1319055" y="498555"/>
                  <a:pt x="1338852" y="489625"/>
                </a:cubicBezTo>
                <a:cubicBezTo>
                  <a:pt x="1341711" y="489213"/>
                  <a:pt x="1344575" y="488837"/>
                  <a:pt x="1347444" y="488480"/>
                </a:cubicBezTo>
                <a:cubicBezTo>
                  <a:pt x="1355372" y="487345"/>
                  <a:pt x="1362033" y="485390"/>
                  <a:pt x="1369362" y="482513"/>
                </a:cubicBezTo>
                <a:cubicBezTo>
                  <a:pt x="1375665" y="480318"/>
                  <a:pt x="1382189" y="479322"/>
                  <a:pt x="1388840" y="478351"/>
                </a:cubicBezTo>
                <a:cubicBezTo>
                  <a:pt x="1388840" y="477421"/>
                  <a:pt x="1388840" y="476492"/>
                  <a:pt x="1388840" y="475533"/>
                </a:cubicBezTo>
                <a:cubicBezTo>
                  <a:pt x="1391083" y="474821"/>
                  <a:pt x="1393329" y="474118"/>
                  <a:pt x="1395576" y="473419"/>
                </a:cubicBezTo>
                <a:cubicBezTo>
                  <a:pt x="1396827" y="473027"/>
                  <a:pt x="1398077" y="472635"/>
                  <a:pt x="1399365" y="472230"/>
                </a:cubicBezTo>
                <a:cubicBezTo>
                  <a:pt x="1402899" y="471305"/>
                  <a:pt x="1402899" y="471305"/>
                  <a:pt x="1407585" y="471305"/>
                </a:cubicBezTo>
                <a:cubicBezTo>
                  <a:pt x="1408101" y="469910"/>
                  <a:pt x="1408616" y="468515"/>
                  <a:pt x="1409147" y="467078"/>
                </a:cubicBezTo>
                <a:cubicBezTo>
                  <a:pt x="1412388" y="465580"/>
                  <a:pt x="1412388" y="465580"/>
                  <a:pt x="1416470" y="464259"/>
                </a:cubicBezTo>
                <a:cubicBezTo>
                  <a:pt x="1424029" y="461705"/>
                  <a:pt x="1431130" y="458955"/>
                  <a:pt x="1437949" y="455011"/>
                </a:cubicBezTo>
                <a:cubicBezTo>
                  <a:pt x="1442765" y="452574"/>
                  <a:pt x="1447553" y="451394"/>
                  <a:pt x="1452887" y="450167"/>
                </a:cubicBezTo>
                <a:cubicBezTo>
                  <a:pt x="1452887" y="449237"/>
                  <a:pt x="1452887" y="448307"/>
                  <a:pt x="1452887" y="447349"/>
                </a:cubicBezTo>
                <a:cubicBezTo>
                  <a:pt x="1453714" y="446944"/>
                  <a:pt x="1454541" y="446539"/>
                  <a:pt x="1455394" y="446122"/>
                </a:cubicBezTo>
                <a:cubicBezTo>
                  <a:pt x="1459151" y="444278"/>
                  <a:pt x="1462902" y="442422"/>
                  <a:pt x="1466653" y="440567"/>
                </a:cubicBezTo>
                <a:cubicBezTo>
                  <a:pt x="1467955" y="439930"/>
                  <a:pt x="1469256" y="439293"/>
                  <a:pt x="1470598" y="438637"/>
                </a:cubicBezTo>
                <a:cubicBezTo>
                  <a:pt x="1471852" y="438016"/>
                  <a:pt x="1473105" y="437393"/>
                  <a:pt x="1474397" y="436752"/>
                </a:cubicBezTo>
                <a:cubicBezTo>
                  <a:pt x="1475550" y="436184"/>
                  <a:pt x="1476703" y="435616"/>
                  <a:pt x="1477892" y="435030"/>
                </a:cubicBezTo>
                <a:cubicBezTo>
                  <a:pt x="1480966" y="433279"/>
                  <a:pt x="1483173" y="431373"/>
                  <a:pt x="1485691" y="429029"/>
                </a:cubicBezTo>
                <a:cubicBezTo>
                  <a:pt x="1486737" y="428575"/>
                  <a:pt x="1487781" y="428121"/>
                  <a:pt x="1488858" y="427653"/>
                </a:cubicBezTo>
                <a:cubicBezTo>
                  <a:pt x="1492438" y="425977"/>
                  <a:pt x="1493705" y="424453"/>
                  <a:pt x="1495943" y="421454"/>
                </a:cubicBezTo>
                <a:cubicBezTo>
                  <a:pt x="1507114" y="407544"/>
                  <a:pt x="1519758" y="393513"/>
                  <a:pt x="1538608" y="388338"/>
                </a:cubicBezTo>
                <a:cubicBezTo>
                  <a:pt x="1541025" y="388250"/>
                  <a:pt x="1541025" y="388250"/>
                  <a:pt x="1543490" y="388161"/>
                </a:cubicBezTo>
                <a:cubicBezTo>
                  <a:pt x="1545535" y="387984"/>
                  <a:pt x="1545535" y="387984"/>
                  <a:pt x="1547621" y="387804"/>
                </a:cubicBezTo>
                <a:cubicBezTo>
                  <a:pt x="1560659" y="387094"/>
                  <a:pt x="1568716" y="390117"/>
                  <a:pt x="1579418" y="396617"/>
                </a:cubicBezTo>
                <a:cubicBezTo>
                  <a:pt x="1581361" y="397687"/>
                  <a:pt x="1581361" y="397687"/>
                  <a:pt x="1583342" y="398780"/>
                </a:cubicBezTo>
                <a:cubicBezTo>
                  <a:pt x="1593703" y="405068"/>
                  <a:pt x="1598513" y="412459"/>
                  <a:pt x="1601288" y="423392"/>
                </a:cubicBezTo>
                <a:cubicBezTo>
                  <a:pt x="1603295" y="436596"/>
                  <a:pt x="1603517" y="449033"/>
                  <a:pt x="1594484" y="460159"/>
                </a:cubicBezTo>
                <a:cubicBezTo>
                  <a:pt x="1588468" y="466462"/>
                  <a:pt x="1582607" y="471150"/>
                  <a:pt x="1574732" y="475533"/>
                </a:cubicBezTo>
                <a:cubicBezTo>
                  <a:pt x="1573862" y="476043"/>
                  <a:pt x="1572993" y="476553"/>
                  <a:pt x="1572097" y="477078"/>
                </a:cubicBezTo>
                <a:cubicBezTo>
                  <a:pt x="1566828" y="478935"/>
                  <a:pt x="1561641" y="478744"/>
                  <a:pt x="1556066" y="478737"/>
                </a:cubicBezTo>
                <a:cubicBezTo>
                  <a:pt x="1553587" y="478765"/>
                  <a:pt x="1551109" y="478795"/>
                  <a:pt x="1548631" y="478825"/>
                </a:cubicBezTo>
                <a:cubicBezTo>
                  <a:pt x="1544751" y="478857"/>
                  <a:pt x="1540871" y="478880"/>
                  <a:pt x="1536991" y="478889"/>
                </a:cubicBezTo>
                <a:cubicBezTo>
                  <a:pt x="1516714" y="478693"/>
                  <a:pt x="1516714" y="478693"/>
                  <a:pt x="1498188" y="485398"/>
                </a:cubicBezTo>
                <a:cubicBezTo>
                  <a:pt x="1496062" y="486488"/>
                  <a:pt x="1496062" y="486488"/>
                  <a:pt x="1493892" y="487600"/>
                </a:cubicBezTo>
                <a:cubicBezTo>
                  <a:pt x="1492733" y="488268"/>
                  <a:pt x="1491573" y="488937"/>
                  <a:pt x="1490377" y="489625"/>
                </a:cubicBezTo>
                <a:cubicBezTo>
                  <a:pt x="1484304" y="493012"/>
                  <a:pt x="1478212" y="495675"/>
                  <a:pt x="1471650" y="498185"/>
                </a:cubicBezTo>
                <a:cubicBezTo>
                  <a:pt x="1467148" y="500054"/>
                  <a:pt x="1463242" y="502632"/>
                  <a:pt x="1459135" y="505127"/>
                </a:cubicBezTo>
                <a:cubicBezTo>
                  <a:pt x="1456968" y="506120"/>
                  <a:pt x="1454786" y="507086"/>
                  <a:pt x="1452594" y="508033"/>
                </a:cubicBezTo>
                <a:cubicBezTo>
                  <a:pt x="1444148" y="511772"/>
                  <a:pt x="1435969" y="515903"/>
                  <a:pt x="1427795" y="520100"/>
                </a:cubicBezTo>
                <a:cubicBezTo>
                  <a:pt x="1425784" y="521114"/>
                  <a:pt x="1425784" y="521114"/>
                  <a:pt x="1423733" y="522148"/>
                </a:cubicBezTo>
                <a:cubicBezTo>
                  <a:pt x="1422478" y="522798"/>
                  <a:pt x="1421223" y="523449"/>
                  <a:pt x="1419929" y="524118"/>
                </a:cubicBezTo>
                <a:cubicBezTo>
                  <a:pt x="1418794" y="524701"/>
                  <a:pt x="1417658" y="525283"/>
                  <a:pt x="1416487" y="525883"/>
                </a:cubicBezTo>
                <a:cubicBezTo>
                  <a:pt x="1413349" y="527646"/>
                  <a:pt x="1413349" y="527646"/>
                  <a:pt x="1412271" y="531902"/>
                </a:cubicBezTo>
                <a:cubicBezTo>
                  <a:pt x="1407205" y="535203"/>
                  <a:pt x="1402819" y="536744"/>
                  <a:pt x="1396650" y="537539"/>
                </a:cubicBezTo>
                <a:cubicBezTo>
                  <a:pt x="1396650" y="538469"/>
                  <a:pt x="1396650" y="539399"/>
                  <a:pt x="1396650" y="540357"/>
                </a:cubicBezTo>
                <a:cubicBezTo>
                  <a:pt x="1395609" y="540735"/>
                  <a:pt x="1394568" y="541113"/>
                  <a:pt x="1393495" y="541502"/>
                </a:cubicBezTo>
                <a:cubicBezTo>
                  <a:pt x="1381840" y="545973"/>
                  <a:pt x="1372279" y="551715"/>
                  <a:pt x="1362284" y="558678"/>
                </a:cubicBezTo>
                <a:cubicBezTo>
                  <a:pt x="1360170" y="560088"/>
                  <a:pt x="1358055" y="561497"/>
                  <a:pt x="1355937" y="562905"/>
                </a:cubicBezTo>
                <a:cubicBezTo>
                  <a:pt x="1348556" y="567937"/>
                  <a:pt x="1341292" y="573085"/>
                  <a:pt x="1334165" y="578406"/>
                </a:cubicBezTo>
                <a:cubicBezTo>
                  <a:pt x="1332697" y="579472"/>
                  <a:pt x="1332697" y="579472"/>
                  <a:pt x="1331200" y="580559"/>
                </a:cubicBezTo>
                <a:cubicBezTo>
                  <a:pt x="1325067" y="585430"/>
                  <a:pt x="1323406" y="589771"/>
                  <a:pt x="1322175" y="596793"/>
                </a:cubicBezTo>
                <a:cubicBezTo>
                  <a:pt x="1321669" y="599545"/>
                  <a:pt x="1321669" y="599545"/>
                  <a:pt x="1320106" y="602363"/>
                </a:cubicBezTo>
                <a:cubicBezTo>
                  <a:pt x="1318419" y="618189"/>
                  <a:pt x="1322416" y="632767"/>
                  <a:pt x="1328015" y="647640"/>
                </a:cubicBezTo>
                <a:cubicBezTo>
                  <a:pt x="1331267" y="656625"/>
                  <a:pt x="1333170" y="666179"/>
                  <a:pt x="1332604" y="675643"/>
                </a:cubicBezTo>
                <a:cubicBezTo>
                  <a:pt x="1333634" y="675643"/>
                  <a:pt x="1334665" y="675643"/>
                  <a:pt x="1335727" y="675643"/>
                </a:cubicBezTo>
                <a:cubicBezTo>
                  <a:pt x="1337571" y="680632"/>
                  <a:pt x="1337591" y="684795"/>
                  <a:pt x="1337741" y="690059"/>
                </a:cubicBezTo>
                <a:cubicBezTo>
                  <a:pt x="1337826" y="692114"/>
                  <a:pt x="1337913" y="694168"/>
                  <a:pt x="1338003" y="696222"/>
                </a:cubicBezTo>
                <a:cubicBezTo>
                  <a:pt x="1338142" y="699444"/>
                  <a:pt x="1338266" y="702664"/>
                  <a:pt x="1338340" y="705887"/>
                </a:cubicBezTo>
                <a:cubicBezTo>
                  <a:pt x="1338372" y="720474"/>
                  <a:pt x="1338372" y="720474"/>
                  <a:pt x="1345277" y="733245"/>
                </a:cubicBezTo>
                <a:cubicBezTo>
                  <a:pt x="1350822" y="737861"/>
                  <a:pt x="1355921" y="739823"/>
                  <a:pt x="1363162" y="741612"/>
                </a:cubicBezTo>
                <a:cubicBezTo>
                  <a:pt x="1370672" y="743533"/>
                  <a:pt x="1377197" y="745750"/>
                  <a:pt x="1384154" y="748922"/>
                </a:cubicBezTo>
                <a:cubicBezTo>
                  <a:pt x="1387833" y="749898"/>
                  <a:pt x="1387833" y="749898"/>
                  <a:pt x="1391476" y="750419"/>
                </a:cubicBezTo>
                <a:cubicBezTo>
                  <a:pt x="1393499" y="750747"/>
                  <a:pt x="1393499" y="750747"/>
                  <a:pt x="1395564" y="751080"/>
                </a:cubicBezTo>
                <a:cubicBezTo>
                  <a:pt x="1397648" y="751407"/>
                  <a:pt x="1397648" y="751407"/>
                  <a:pt x="1399775" y="751740"/>
                </a:cubicBezTo>
                <a:cubicBezTo>
                  <a:pt x="1401810" y="752111"/>
                  <a:pt x="1401810" y="752111"/>
                  <a:pt x="1403887" y="752489"/>
                </a:cubicBezTo>
                <a:cubicBezTo>
                  <a:pt x="1424247" y="756131"/>
                  <a:pt x="1444708" y="756350"/>
                  <a:pt x="1465383" y="755969"/>
                </a:cubicBezTo>
                <a:cubicBezTo>
                  <a:pt x="1467019" y="755945"/>
                  <a:pt x="1468654" y="755921"/>
                  <a:pt x="1470339" y="755897"/>
                </a:cubicBezTo>
                <a:cubicBezTo>
                  <a:pt x="1480128" y="755450"/>
                  <a:pt x="1487899" y="752933"/>
                  <a:pt x="1496809" y="749313"/>
                </a:cubicBezTo>
                <a:cubicBezTo>
                  <a:pt x="1502876" y="746888"/>
                  <a:pt x="1509049" y="745091"/>
                  <a:pt x="1515371" y="743285"/>
                </a:cubicBezTo>
                <a:cubicBezTo>
                  <a:pt x="1515371" y="742356"/>
                  <a:pt x="1515371" y="741425"/>
                  <a:pt x="1515371" y="740467"/>
                </a:cubicBezTo>
                <a:cubicBezTo>
                  <a:pt x="1522710" y="737103"/>
                  <a:pt x="1529583" y="737106"/>
                  <a:pt x="1537632" y="737120"/>
                </a:cubicBezTo>
                <a:cubicBezTo>
                  <a:pt x="1538960" y="737122"/>
                  <a:pt x="1540289" y="737124"/>
                  <a:pt x="1541657" y="737127"/>
                </a:cubicBezTo>
                <a:cubicBezTo>
                  <a:pt x="1555502" y="737372"/>
                  <a:pt x="1564314" y="740697"/>
                  <a:pt x="1574732" y="748922"/>
                </a:cubicBezTo>
                <a:cubicBezTo>
                  <a:pt x="1586507" y="762822"/>
                  <a:pt x="1590347" y="775219"/>
                  <a:pt x="1588791" y="792608"/>
                </a:cubicBezTo>
                <a:cubicBezTo>
                  <a:pt x="1587728" y="797050"/>
                  <a:pt x="1586468" y="801261"/>
                  <a:pt x="1584105" y="805291"/>
                </a:cubicBezTo>
                <a:cubicBezTo>
                  <a:pt x="1583074" y="805756"/>
                  <a:pt x="1582043" y="806221"/>
                  <a:pt x="1580981" y="806700"/>
                </a:cubicBezTo>
                <a:cubicBezTo>
                  <a:pt x="1580240" y="807892"/>
                  <a:pt x="1579499" y="809083"/>
                  <a:pt x="1578735" y="810311"/>
                </a:cubicBezTo>
                <a:cubicBezTo>
                  <a:pt x="1577930" y="811445"/>
                  <a:pt x="1577124" y="812579"/>
                  <a:pt x="1576295" y="813746"/>
                </a:cubicBezTo>
                <a:lnTo>
                  <a:pt x="1571652" y="813746"/>
                </a:lnTo>
                <a:lnTo>
                  <a:pt x="1571785" y="814106"/>
                </a:lnTo>
                <a:cubicBezTo>
                  <a:pt x="1572816" y="814571"/>
                  <a:pt x="1573846" y="815036"/>
                  <a:pt x="1574909" y="815515"/>
                </a:cubicBezTo>
                <a:cubicBezTo>
                  <a:pt x="1572126" y="818758"/>
                  <a:pt x="1569968" y="820871"/>
                  <a:pt x="1565463" y="821839"/>
                </a:cubicBezTo>
                <a:lnTo>
                  <a:pt x="1562085" y="822101"/>
                </a:lnTo>
                <a:lnTo>
                  <a:pt x="1551301" y="825020"/>
                </a:lnTo>
                <a:cubicBezTo>
                  <a:pt x="1551301" y="825950"/>
                  <a:pt x="1551301" y="826880"/>
                  <a:pt x="1551301" y="827838"/>
                </a:cubicBezTo>
                <a:cubicBezTo>
                  <a:pt x="1526697" y="828735"/>
                  <a:pt x="1507496" y="825036"/>
                  <a:pt x="1485380" y="815007"/>
                </a:cubicBezTo>
                <a:cubicBezTo>
                  <a:pt x="1468723" y="807743"/>
                  <a:pt x="1449749" y="809144"/>
                  <a:pt x="1431603" y="808726"/>
                </a:cubicBezTo>
                <a:cubicBezTo>
                  <a:pt x="1429115" y="808665"/>
                  <a:pt x="1426627" y="808604"/>
                  <a:pt x="1424140" y="808542"/>
                </a:cubicBezTo>
                <a:cubicBezTo>
                  <a:pt x="1418101" y="808392"/>
                  <a:pt x="1412062" y="808249"/>
                  <a:pt x="1406023" y="808109"/>
                </a:cubicBezTo>
                <a:cubicBezTo>
                  <a:pt x="1406023" y="809040"/>
                  <a:pt x="1406023" y="809970"/>
                  <a:pt x="1406023" y="810928"/>
                </a:cubicBezTo>
                <a:cubicBezTo>
                  <a:pt x="1404716" y="811118"/>
                  <a:pt x="1404716" y="811118"/>
                  <a:pt x="1403383" y="811311"/>
                </a:cubicBezTo>
                <a:cubicBezTo>
                  <a:pt x="1372054" y="815110"/>
                  <a:pt x="1372054" y="815110"/>
                  <a:pt x="1345442" y="828907"/>
                </a:cubicBezTo>
                <a:cubicBezTo>
                  <a:pt x="1338843" y="837605"/>
                  <a:pt x="1338313" y="846434"/>
                  <a:pt x="1337875" y="856639"/>
                </a:cubicBezTo>
                <a:cubicBezTo>
                  <a:pt x="1337815" y="857805"/>
                  <a:pt x="1337754" y="858970"/>
                  <a:pt x="1337692" y="860171"/>
                </a:cubicBezTo>
                <a:cubicBezTo>
                  <a:pt x="1337547" y="863016"/>
                  <a:pt x="1337417" y="865861"/>
                  <a:pt x="1337290" y="868706"/>
                </a:cubicBezTo>
                <a:cubicBezTo>
                  <a:pt x="1336258" y="868706"/>
                  <a:pt x="1335228" y="868706"/>
                  <a:pt x="1334165" y="868706"/>
                </a:cubicBezTo>
                <a:lnTo>
                  <a:pt x="1334165" y="870034"/>
                </a:lnTo>
                <a:lnTo>
                  <a:pt x="1334237" y="869093"/>
                </a:lnTo>
                <a:cubicBezTo>
                  <a:pt x="1334753" y="869093"/>
                  <a:pt x="1335268" y="869093"/>
                  <a:pt x="1335800" y="869093"/>
                </a:cubicBezTo>
                <a:cubicBezTo>
                  <a:pt x="1335884" y="871559"/>
                  <a:pt x="1335944" y="874025"/>
                  <a:pt x="1335995" y="876491"/>
                </a:cubicBezTo>
                <a:cubicBezTo>
                  <a:pt x="1336030" y="877865"/>
                  <a:pt x="1336067" y="879238"/>
                  <a:pt x="1336105" y="880653"/>
                </a:cubicBezTo>
                <a:cubicBezTo>
                  <a:pt x="1335800" y="884594"/>
                  <a:pt x="1335800" y="884594"/>
                  <a:pt x="1334294" y="887271"/>
                </a:cubicBezTo>
                <a:cubicBezTo>
                  <a:pt x="1332567" y="890428"/>
                  <a:pt x="1331982" y="892964"/>
                  <a:pt x="1331455" y="896440"/>
                </a:cubicBezTo>
                <a:cubicBezTo>
                  <a:pt x="1331267" y="897605"/>
                  <a:pt x="1331080" y="898769"/>
                  <a:pt x="1330887" y="899969"/>
                </a:cubicBezTo>
                <a:cubicBezTo>
                  <a:pt x="1330704" y="901174"/>
                  <a:pt x="1330521" y="902378"/>
                  <a:pt x="1330332" y="903618"/>
                </a:cubicBezTo>
                <a:cubicBezTo>
                  <a:pt x="1329968" y="906013"/>
                  <a:pt x="1329594" y="908405"/>
                  <a:pt x="1329209" y="910797"/>
                </a:cubicBezTo>
                <a:cubicBezTo>
                  <a:pt x="1329049" y="911853"/>
                  <a:pt x="1328889" y="912910"/>
                  <a:pt x="1328724" y="913998"/>
                </a:cubicBezTo>
                <a:cubicBezTo>
                  <a:pt x="1327933" y="917233"/>
                  <a:pt x="1326525" y="919703"/>
                  <a:pt x="1324865" y="922643"/>
                </a:cubicBezTo>
                <a:cubicBezTo>
                  <a:pt x="1323924" y="927743"/>
                  <a:pt x="1323282" y="932845"/>
                  <a:pt x="1322619" y="937979"/>
                </a:cubicBezTo>
                <a:lnTo>
                  <a:pt x="1318744" y="944961"/>
                </a:lnTo>
                <a:lnTo>
                  <a:pt x="1318544" y="946213"/>
                </a:lnTo>
                <a:cubicBezTo>
                  <a:pt x="1318360" y="949234"/>
                  <a:pt x="1318271" y="952260"/>
                  <a:pt x="1318251" y="955285"/>
                </a:cubicBezTo>
                <a:cubicBezTo>
                  <a:pt x="1318218" y="957637"/>
                  <a:pt x="1318218" y="957637"/>
                  <a:pt x="1318184" y="960036"/>
                </a:cubicBezTo>
                <a:cubicBezTo>
                  <a:pt x="1318624" y="965530"/>
                  <a:pt x="1319569" y="969724"/>
                  <a:pt x="1324024" y="973660"/>
                </a:cubicBezTo>
                <a:cubicBezTo>
                  <a:pt x="1327197" y="976583"/>
                  <a:pt x="1327950" y="979494"/>
                  <a:pt x="1329284" y="983382"/>
                </a:cubicBezTo>
                <a:cubicBezTo>
                  <a:pt x="1331875" y="990106"/>
                  <a:pt x="1334445" y="993582"/>
                  <a:pt x="1340414" y="998354"/>
                </a:cubicBezTo>
                <a:cubicBezTo>
                  <a:pt x="1342397" y="1000564"/>
                  <a:pt x="1344347" y="1002798"/>
                  <a:pt x="1346272" y="1005048"/>
                </a:cubicBezTo>
                <a:cubicBezTo>
                  <a:pt x="1360055" y="1020713"/>
                  <a:pt x="1376247" y="1031879"/>
                  <a:pt x="1394716" y="1042740"/>
                </a:cubicBezTo>
                <a:cubicBezTo>
                  <a:pt x="1397172" y="1044228"/>
                  <a:pt x="1399581" y="1045779"/>
                  <a:pt x="1401953" y="1047374"/>
                </a:cubicBezTo>
                <a:cubicBezTo>
                  <a:pt x="1410065" y="1052802"/>
                  <a:pt x="1417529" y="1056366"/>
                  <a:pt x="1427197" y="1059061"/>
                </a:cubicBezTo>
                <a:cubicBezTo>
                  <a:pt x="1431243" y="1060437"/>
                  <a:pt x="1434061" y="1061979"/>
                  <a:pt x="1437265" y="1064588"/>
                </a:cubicBezTo>
                <a:cubicBezTo>
                  <a:pt x="1437265" y="1065518"/>
                  <a:pt x="1437265" y="1066448"/>
                  <a:pt x="1437265" y="1067406"/>
                </a:cubicBezTo>
                <a:cubicBezTo>
                  <a:pt x="1439053" y="1067624"/>
                  <a:pt x="1439053" y="1067624"/>
                  <a:pt x="1440878" y="1067847"/>
                </a:cubicBezTo>
                <a:cubicBezTo>
                  <a:pt x="1445076" y="1068815"/>
                  <a:pt x="1445076" y="1068815"/>
                  <a:pt x="1447175" y="1070753"/>
                </a:cubicBezTo>
                <a:cubicBezTo>
                  <a:pt x="1450417" y="1073622"/>
                  <a:pt x="1453781" y="1075060"/>
                  <a:pt x="1457866" y="1076830"/>
                </a:cubicBezTo>
                <a:cubicBezTo>
                  <a:pt x="1459274" y="1077446"/>
                  <a:pt x="1460681" y="1078062"/>
                  <a:pt x="1462132" y="1078696"/>
                </a:cubicBezTo>
                <a:cubicBezTo>
                  <a:pt x="1463204" y="1079156"/>
                  <a:pt x="1464278" y="1079616"/>
                  <a:pt x="1465383" y="1080089"/>
                </a:cubicBezTo>
                <a:cubicBezTo>
                  <a:pt x="1465383" y="1081019"/>
                  <a:pt x="1465383" y="1081949"/>
                  <a:pt x="1465383" y="1082908"/>
                </a:cubicBezTo>
                <a:cubicBezTo>
                  <a:pt x="1466497" y="1083260"/>
                  <a:pt x="1467611" y="1083612"/>
                  <a:pt x="1468758" y="1083975"/>
                </a:cubicBezTo>
                <a:cubicBezTo>
                  <a:pt x="1473648" y="1085905"/>
                  <a:pt x="1477426" y="1088296"/>
                  <a:pt x="1481688" y="1091187"/>
                </a:cubicBezTo>
                <a:cubicBezTo>
                  <a:pt x="1483204" y="1092193"/>
                  <a:pt x="1484721" y="1093200"/>
                  <a:pt x="1486283" y="1094236"/>
                </a:cubicBezTo>
                <a:cubicBezTo>
                  <a:pt x="1489170" y="1096185"/>
                  <a:pt x="1492029" y="1098166"/>
                  <a:pt x="1494869" y="1100171"/>
                </a:cubicBezTo>
                <a:cubicBezTo>
                  <a:pt x="1510181" y="1107906"/>
                  <a:pt x="1527080" y="1109898"/>
                  <a:pt x="1544335" y="1109518"/>
                </a:cubicBezTo>
                <a:cubicBezTo>
                  <a:pt x="1579932" y="1108798"/>
                  <a:pt x="1579932" y="1108798"/>
                  <a:pt x="1593477" y="1119900"/>
                </a:cubicBezTo>
                <a:cubicBezTo>
                  <a:pt x="1600636" y="1127255"/>
                  <a:pt x="1604889" y="1135120"/>
                  <a:pt x="1605975" y="1144913"/>
                </a:cubicBezTo>
                <a:cubicBezTo>
                  <a:pt x="1607006" y="1144913"/>
                  <a:pt x="1608036" y="1144913"/>
                  <a:pt x="1609099" y="1144913"/>
                </a:cubicBezTo>
                <a:cubicBezTo>
                  <a:pt x="1609227" y="1148907"/>
                  <a:pt x="1609319" y="1152897"/>
                  <a:pt x="1609392" y="1156892"/>
                </a:cubicBezTo>
                <a:cubicBezTo>
                  <a:pt x="1609451" y="1158565"/>
                  <a:pt x="1609451" y="1158565"/>
                  <a:pt x="1609511" y="1160272"/>
                </a:cubicBezTo>
                <a:cubicBezTo>
                  <a:pt x="1609621" y="1168378"/>
                  <a:pt x="1607970" y="1174108"/>
                  <a:pt x="1604412" y="1181553"/>
                </a:cubicBezTo>
                <a:cubicBezTo>
                  <a:pt x="1603354" y="1184367"/>
                  <a:pt x="1602306" y="1187183"/>
                  <a:pt x="1601288" y="1190009"/>
                </a:cubicBezTo>
                <a:cubicBezTo>
                  <a:pt x="1600257" y="1190009"/>
                  <a:pt x="1599226" y="1190009"/>
                  <a:pt x="1598164" y="1190009"/>
                </a:cubicBezTo>
                <a:cubicBezTo>
                  <a:pt x="1597842" y="1190910"/>
                  <a:pt x="1597520" y="1191810"/>
                  <a:pt x="1597187" y="1192739"/>
                </a:cubicBezTo>
                <a:cubicBezTo>
                  <a:pt x="1596479" y="1193698"/>
                  <a:pt x="1595770" y="1194657"/>
                  <a:pt x="1595040" y="1195645"/>
                </a:cubicBezTo>
                <a:cubicBezTo>
                  <a:pt x="1591916" y="1196115"/>
                  <a:pt x="1588791" y="1196585"/>
                  <a:pt x="1585667" y="1197055"/>
                </a:cubicBezTo>
                <a:cubicBezTo>
                  <a:pt x="1583871" y="1199826"/>
                  <a:pt x="1583871" y="1199826"/>
                  <a:pt x="1582543" y="1202691"/>
                </a:cubicBezTo>
                <a:cubicBezTo>
                  <a:pt x="1575997" y="1204710"/>
                  <a:pt x="1569266" y="1204360"/>
                  <a:pt x="1562431" y="1204365"/>
                </a:cubicBezTo>
                <a:cubicBezTo>
                  <a:pt x="1561196" y="1204382"/>
                  <a:pt x="1559962" y="1204399"/>
                  <a:pt x="1558690" y="1204417"/>
                </a:cubicBezTo>
                <a:cubicBezTo>
                  <a:pt x="1543339" y="1204452"/>
                  <a:pt x="1531981" y="1199267"/>
                  <a:pt x="1521102" y="1189585"/>
                </a:cubicBezTo>
                <a:cubicBezTo>
                  <a:pt x="1515403" y="1183953"/>
                  <a:pt x="1510116" y="1178123"/>
                  <a:pt x="1505022" y="1172041"/>
                </a:cubicBezTo>
                <a:cubicBezTo>
                  <a:pt x="1493200" y="1158177"/>
                  <a:pt x="1475492" y="1147115"/>
                  <a:pt x="1457573" y="1140686"/>
                </a:cubicBezTo>
                <a:cubicBezTo>
                  <a:pt x="1457573" y="1139755"/>
                  <a:pt x="1457573" y="1138826"/>
                  <a:pt x="1457573" y="1137867"/>
                </a:cubicBezTo>
                <a:cubicBezTo>
                  <a:pt x="1456059" y="1137693"/>
                  <a:pt x="1454544" y="1137518"/>
                  <a:pt x="1452985" y="1137339"/>
                </a:cubicBezTo>
                <a:cubicBezTo>
                  <a:pt x="1451406" y="1137048"/>
                  <a:pt x="1449827" y="1136758"/>
                  <a:pt x="1448200" y="1136458"/>
                </a:cubicBezTo>
                <a:cubicBezTo>
                  <a:pt x="1447685" y="1135528"/>
                  <a:pt x="1447169" y="1134598"/>
                  <a:pt x="1446638" y="1133640"/>
                </a:cubicBezTo>
                <a:cubicBezTo>
                  <a:pt x="1444091" y="1132586"/>
                  <a:pt x="1441535" y="1131550"/>
                  <a:pt x="1438937" y="1130601"/>
                </a:cubicBezTo>
                <a:cubicBezTo>
                  <a:pt x="1435668" y="1129399"/>
                  <a:pt x="1432469" y="1128095"/>
                  <a:pt x="1429260" y="1126770"/>
                </a:cubicBezTo>
                <a:cubicBezTo>
                  <a:pt x="1423389" y="1124389"/>
                  <a:pt x="1417431" y="1122349"/>
                  <a:pt x="1411393" y="1120340"/>
                </a:cubicBezTo>
                <a:cubicBezTo>
                  <a:pt x="1404143" y="1117867"/>
                  <a:pt x="1397842" y="1115090"/>
                  <a:pt x="1391427" y="1111191"/>
                </a:cubicBezTo>
                <a:cubicBezTo>
                  <a:pt x="1388139" y="1109274"/>
                  <a:pt x="1384723" y="1108010"/>
                  <a:pt x="1381029" y="1106865"/>
                </a:cubicBezTo>
                <a:cubicBezTo>
                  <a:pt x="1381029" y="1105934"/>
                  <a:pt x="1381029" y="1105004"/>
                  <a:pt x="1381029" y="1104046"/>
                </a:cubicBezTo>
                <a:cubicBezTo>
                  <a:pt x="1379773" y="1103901"/>
                  <a:pt x="1378516" y="1103755"/>
                  <a:pt x="1377221" y="1103605"/>
                </a:cubicBezTo>
                <a:cubicBezTo>
                  <a:pt x="1370425" y="1102422"/>
                  <a:pt x="1364120" y="1100465"/>
                  <a:pt x="1357597" y="1098409"/>
                </a:cubicBezTo>
                <a:cubicBezTo>
                  <a:pt x="1355761" y="1097857"/>
                  <a:pt x="1353924" y="1097304"/>
                  <a:pt x="1352032" y="1096736"/>
                </a:cubicBezTo>
                <a:cubicBezTo>
                  <a:pt x="1350776" y="1096358"/>
                  <a:pt x="1349519" y="1095980"/>
                  <a:pt x="1348225" y="1095590"/>
                </a:cubicBezTo>
                <a:cubicBezTo>
                  <a:pt x="1348225" y="1094661"/>
                  <a:pt x="1348225" y="1093730"/>
                  <a:pt x="1348225" y="1092772"/>
                </a:cubicBezTo>
                <a:cubicBezTo>
                  <a:pt x="1344616" y="1092307"/>
                  <a:pt x="1341007" y="1091842"/>
                  <a:pt x="1337290" y="1091363"/>
                </a:cubicBezTo>
                <a:cubicBezTo>
                  <a:pt x="1337290" y="1090433"/>
                  <a:pt x="1337290" y="1089503"/>
                  <a:pt x="1337290" y="1088544"/>
                </a:cubicBezTo>
                <a:cubicBezTo>
                  <a:pt x="1334438" y="1088327"/>
                  <a:pt x="1334438" y="1088327"/>
                  <a:pt x="1331529" y="1088104"/>
                </a:cubicBezTo>
                <a:lnTo>
                  <a:pt x="1323297" y="1086611"/>
                </a:lnTo>
                <a:lnTo>
                  <a:pt x="1323297" y="1087618"/>
                </a:lnTo>
                <a:cubicBezTo>
                  <a:pt x="1322139" y="1087517"/>
                  <a:pt x="1320982" y="1087415"/>
                  <a:pt x="1319789" y="1087310"/>
                </a:cubicBezTo>
                <a:cubicBezTo>
                  <a:pt x="1300429" y="1085771"/>
                  <a:pt x="1281330" y="1084680"/>
                  <a:pt x="1262375" y="1089028"/>
                </a:cubicBezTo>
                <a:lnTo>
                  <a:pt x="1258728" y="1088205"/>
                </a:lnTo>
                <a:lnTo>
                  <a:pt x="1246964" y="1091489"/>
                </a:lnTo>
                <a:cubicBezTo>
                  <a:pt x="1237239" y="1097222"/>
                  <a:pt x="1228703" y="1103434"/>
                  <a:pt x="1223224" y="1112865"/>
                </a:cubicBezTo>
                <a:cubicBezTo>
                  <a:pt x="1220867" y="1116643"/>
                  <a:pt x="1217262" y="1119317"/>
                  <a:pt x="1213883" y="1122366"/>
                </a:cubicBezTo>
                <a:cubicBezTo>
                  <a:pt x="1213428" y="1123469"/>
                  <a:pt x="1212973" y="1124572"/>
                  <a:pt x="1212505" y="1125708"/>
                </a:cubicBezTo>
                <a:cubicBezTo>
                  <a:pt x="1210449" y="1130067"/>
                  <a:pt x="1207984" y="1132315"/>
                  <a:pt x="1204180" y="1135561"/>
                </a:cubicBezTo>
                <a:cubicBezTo>
                  <a:pt x="1202879" y="1136695"/>
                  <a:pt x="1201578" y="1137829"/>
                  <a:pt x="1200238" y="1138999"/>
                </a:cubicBezTo>
                <a:cubicBezTo>
                  <a:pt x="1197504" y="1141343"/>
                  <a:pt x="1194765" y="1143684"/>
                  <a:pt x="1192025" y="1146022"/>
                </a:cubicBezTo>
                <a:cubicBezTo>
                  <a:pt x="1181899" y="1154869"/>
                  <a:pt x="1174983" y="1161763"/>
                  <a:pt x="1173945" y="1174749"/>
                </a:cubicBezTo>
                <a:cubicBezTo>
                  <a:pt x="1173902" y="1177369"/>
                  <a:pt x="1173905" y="1179990"/>
                  <a:pt x="1173950" y="1182610"/>
                </a:cubicBezTo>
                <a:cubicBezTo>
                  <a:pt x="1173963" y="1183981"/>
                  <a:pt x="1173975" y="1185352"/>
                  <a:pt x="1173989" y="1186765"/>
                </a:cubicBezTo>
                <a:cubicBezTo>
                  <a:pt x="1174321" y="1197573"/>
                  <a:pt x="1176809" y="1205883"/>
                  <a:pt x="1182640" y="1215374"/>
                </a:cubicBezTo>
                <a:cubicBezTo>
                  <a:pt x="1183703" y="1217509"/>
                  <a:pt x="1184746" y="1219652"/>
                  <a:pt x="1185764" y="1221804"/>
                </a:cubicBezTo>
                <a:cubicBezTo>
                  <a:pt x="1186271" y="1222812"/>
                  <a:pt x="1186779" y="1223821"/>
                  <a:pt x="1187301" y="1224859"/>
                </a:cubicBezTo>
                <a:cubicBezTo>
                  <a:pt x="1188431" y="1227137"/>
                  <a:pt x="1189517" y="1229433"/>
                  <a:pt x="1190573" y="1231740"/>
                </a:cubicBezTo>
                <a:cubicBezTo>
                  <a:pt x="1194650" y="1240409"/>
                  <a:pt x="1199581" y="1247688"/>
                  <a:pt x="1205925" y="1255163"/>
                </a:cubicBezTo>
                <a:cubicBezTo>
                  <a:pt x="1208103" y="1257757"/>
                  <a:pt x="1210188" y="1260417"/>
                  <a:pt x="1212174" y="1263134"/>
                </a:cubicBezTo>
                <a:cubicBezTo>
                  <a:pt x="1218757" y="1272043"/>
                  <a:pt x="1225157" y="1277324"/>
                  <a:pt x="1235556" y="1282538"/>
                </a:cubicBezTo>
                <a:cubicBezTo>
                  <a:pt x="1236652" y="1283161"/>
                  <a:pt x="1237747" y="1283784"/>
                  <a:pt x="1238876" y="1284426"/>
                </a:cubicBezTo>
                <a:cubicBezTo>
                  <a:pt x="1238876" y="1285356"/>
                  <a:pt x="1238876" y="1286287"/>
                  <a:pt x="1238876" y="1287245"/>
                </a:cubicBezTo>
                <a:cubicBezTo>
                  <a:pt x="1239988" y="1287383"/>
                  <a:pt x="1241099" y="1287521"/>
                  <a:pt x="1242245" y="1287663"/>
                </a:cubicBezTo>
                <a:cubicBezTo>
                  <a:pt x="1253043" y="1290072"/>
                  <a:pt x="1264916" y="1297690"/>
                  <a:pt x="1271681" y="1305565"/>
                </a:cubicBezTo>
                <a:lnTo>
                  <a:pt x="1271742" y="1306172"/>
                </a:lnTo>
                <a:lnTo>
                  <a:pt x="1278525" y="1315767"/>
                </a:lnTo>
                <a:cubicBezTo>
                  <a:pt x="1279797" y="1319398"/>
                  <a:pt x="1280365" y="1323346"/>
                  <a:pt x="1281097" y="1327286"/>
                </a:cubicBezTo>
                <a:cubicBezTo>
                  <a:pt x="1281916" y="1337121"/>
                  <a:pt x="1281807" y="1346176"/>
                  <a:pt x="1277973" y="1355470"/>
                </a:cubicBezTo>
                <a:lnTo>
                  <a:pt x="1277460" y="1347025"/>
                </a:lnTo>
                <a:lnTo>
                  <a:pt x="1273531" y="1357991"/>
                </a:lnTo>
                <a:cubicBezTo>
                  <a:pt x="1270940" y="1361892"/>
                  <a:pt x="1267521" y="1365435"/>
                  <a:pt x="1263870" y="1368980"/>
                </a:cubicBezTo>
                <a:cubicBezTo>
                  <a:pt x="1258351" y="1372929"/>
                  <a:pt x="1253850" y="1376026"/>
                  <a:pt x="1246686" y="1376026"/>
                </a:cubicBezTo>
                <a:cubicBezTo>
                  <a:pt x="1246686" y="1376956"/>
                  <a:pt x="1246686" y="1377886"/>
                  <a:pt x="1246686" y="1378844"/>
                </a:cubicBezTo>
                <a:cubicBezTo>
                  <a:pt x="1241676" y="1379009"/>
                  <a:pt x="1236665" y="1379109"/>
                  <a:pt x="1231651" y="1379196"/>
                </a:cubicBezTo>
                <a:cubicBezTo>
                  <a:pt x="1230240" y="1379244"/>
                  <a:pt x="1228828" y="1379291"/>
                  <a:pt x="1227373" y="1379340"/>
                </a:cubicBezTo>
                <a:cubicBezTo>
                  <a:pt x="1218287" y="1379460"/>
                  <a:pt x="1213363" y="1378568"/>
                  <a:pt x="1206071" y="1373207"/>
                </a:cubicBezTo>
                <a:cubicBezTo>
                  <a:pt x="1204751" y="1372742"/>
                  <a:pt x="1203430" y="1372277"/>
                  <a:pt x="1202069" y="1371798"/>
                </a:cubicBezTo>
                <a:cubicBezTo>
                  <a:pt x="1193777" y="1368730"/>
                  <a:pt x="1188124" y="1363294"/>
                  <a:pt x="1184104" y="1356176"/>
                </a:cubicBezTo>
                <a:cubicBezTo>
                  <a:pt x="1180965" y="1349259"/>
                  <a:pt x="1178852" y="1342590"/>
                  <a:pt x="1177270" y="1335247"/>
                </a:cubicBezTo>
                <a:cubicBezTo>
                  <a:pt x="1175525" y="1327352"/>
                  <a:pt x="1172911" y="1320677"/>
                  <a:pt x="1169002" y="1313464"/>
                </a:cubicBezTo>
                <a:cubicBezTo>
                  <a:pt x="1166989" y="1309737"/>
                  <a:pt x="1165215" y="1305976"/>
                  <a:pt x="1163504" y="1302130"/>
                </a:cubicBezTo>
                <a:cubicBezTo>
                  <a:pt x="1163013" y="1301027"/>
                  <a:pt x="1162521" y="1299924"/>
                  <a:pt x="1162015" y="1298788"/>
                </a:cubicBezTo>
                <a:cubicBezTo>
                  <a:pt x="1160770" y="1295700"/>
                  <a:pt x="1160770" y="1295700"/>
                  <a:pt x="1160111" y="1292656"/>
                </a:cubicBezTo>
                <a:cubicBezTo>
                  <a:pt x="1159345" y="1289507"/>
                  <a:pt x="1159345" y="1289507"/>
                  <a:pt x="1154522" y="1287245"/>
                </a:cubicBezTo>
                <a:cubicBezTo>
                  <a:pt x="1153465" y="1284902"/>
                  <a:pt x="1152426" y="1282552"/>
                  <a:pt x="1151398" y="1280199"/>
                </a:cubicBezTo>
                <a:cubicBezTo>
                  <a:pt x="1149056" y="1276983"/>
                  <a:pt x="1146686" y="1273874"/>
                  <a:pt x="1144173" y="1270774"/>
                </a:cubicBezTo>
                <a:cubicBezTo>
                  <a:pt x="1143477" y="1269912"/>
                  <a:pt x="1142782" y="1269049"/>
                  <a:pt x="1142065" y="1268160"/>
                </a:cubicBezTo>
                <a:cubicBezTo>
                  <a:pt x="1139981" y="1265589"/>
                  <a:pt x="1137880" y="1263029"/>
                  <a:pt x="1135776" y="1260470"/>
                </a:cubicBezTo>
                <a:cubicBezTo>
                  <a:pt x="1134647" y="1259076"/>
                  <a:pt x="1133517" y="1257683"/>
                  <a:pt x="1132353" y="1256247"/>
                </a:cubicBezTo>
                <a:cubicBezTo>
                  <a:pt x="1126291" y="1249045"/>
                  <a:pt x="1121408" y="1244606"/>
                  <a:pt x="1112344" y="1240741"/>
                </a:cubicBezTo>
                <a:cubicBezTo>
                  <a:pt x="1110285" y="1239698"/>
                  <a:pt x="1108234" y="1238642"/>
                  <a:pt x="1106193" y="1237570"/>
                </a:cubicBezTo>
                <a:cubicBezTo>
                  <a:pt x="1104615" y="1236756"/>
                  <a:pt x="1103036" y="1235942"/>
                  <a:pt x="1101409" y="1235104"/>
                </a:cubicBezTo>
                <a:cubicBezTo>
                  <a:pt x="1101409" y="1233708"/>
                  <a:pt x="1101409" y="1232313"/>
                  <a:pt x="1101409" y="1230876"/>
                </a:cubicBezTo>
                <a:cubicBezTo>
                  <a:pt x="1089553" y="1230876"/>
                  <a:pt x="1077697" y="1230876"/>
                  <a:pt x="1065480" y="1230876"/>
                </a:cubicBezTo>
                <a:cubicBezTo>
                  <a:pt x="1064965" y="1232271"/>
                  <a:pt x="1064450" y="1233666"/>
                  <a:pt x="1063919" y="1235104"/>
                </a:cubicBezTo>
                <a:cubicBezTo>
                  <a:pt x="1062372" y="1235104"/>
                  <a:pt x="1060826" y="1235104"/>
                  <a:pt x="1059232" y="1235104"/>
                </a:cubicBezTo>
                <a:cubicBezTo>
                  <a:pt x="1059232" y="1236033"/>
                  <a:pt x="1059232" y="1236964"/>
                  <a:pt x="1059232" y="1237922"/>
                </a:cubicBezTo>
                <a:cubicBezTo>
                  <a:pt x="1052964" y="1240850"/>
                  <a:pt x="1046842" y="1243613"/>
                  <a:pt x="1040194" y="1245761"/>
                </a:cubicBezTo>
                <a:cubicBezTo>
                  <a:pt x="1036552" y="1246941"/>
                  <a:pt x="1033682" y="1248088"/>
                  <a:pt x="1030333" y="1249901"/>
                </a:cubicBezTo>
                <a:cubicBezTo>
                  <a:pt x="1025129" y="1252717"/>
                  <a:pt x="1019615" y="1254371"/>
                  <a:pt x="1013931" y="1256242"/>
                </a:cubicBezTo>
                <a:cubicBezTo>
                  <a:pt x="1009870" y="1257688"/>
                  <a:pt x="1008221" y="1258277"/>
                  <a:pt x="1005925" y="1261615"/>
                </a:cubicBezTo>
                <a:cubicBezTo>
                  <a:pt x="1005474" y="1262632"/>
                  <a:pt x="1005023" y="1263649"/>
                  <a:pt x="1004558" y="1264697"/>
                </a:cubicBezTo>
                <a:cubicBezTo>
                  <a:pt x="1004030" y="1265774"/>
                  <a:pt x="1003503" y="1266852"/>
                  <a:pt x="1002959" y="1267961"/>
                </a:cubicBezTo>
                <a:cubicBezTo>
                  <a:pt x="1001408" y="1271808"/>
                  <a:pt x="1000922" y="1274896"/>
                  <a:pt x="1000653" y="1278965"/>
                </a:cubicBezTo>
                <a:cubicBezTo>
                  <a:pt x="1000303" y="1284158"/>
                  <a:pt x="999467" y="1289055"/>
                  <a:pt x="998297" y="1294137"/>
                </a:cubicBezTo>
                <a:cubicBezTo>
                  <a:pt x="996204" y="1304306"/>
                  <a:pt x="996129" y="1314460"/>
                  <a:pt x="996162" y="1324765"/>
                </a:cubicBezTo>
                <a:cubicBezTo>
                  <a:pt x="996163" y="1325782"/>
                  <a:pt x="996163" y="1326799"/>
                  <a:pt x="996164" y="1327846"/>
                </a:cubicBezTo>
                <a:cubicBezTo>
                  <a:pt x="996263" y="1353742"/>
                  <a:pt x="1001081" y="1378188"/>
                  <a:pt x="1007780" y="1403329"/>
                </a:cubicBezTo>
                <a:cubicBezTo>
                  <a:pt x="1008163" y="1404772"/>
                  <a:pt x="1008546" y="1406215"/>
                  <a:pt x="1008940" y="1407701"/>
                </a:cubicBezTo>
                <a:cubicBezTo>
                  <a:pt x="1009316" y="1409030"/>
                  <a:pt x="1009693" y="1410360"/>
                  <a:pt x="1010080" y="1411730"/>
                </a:cubicBezTo>
                <a:cubicBezTo>
                  <a:pt x="1010409" y="1412900"/>
                  <a:pt x="1010737" y="1414071"/>
                  <a:pt x="1011075" y="1415277"/>
                </a:cubicBezTo>
                <a:cubicBezTo>
                  <a:pt x="1012501" y="1418612"/>
                  <a:pt x="1014136" y="1420168"/>
                  <a:pt x="1017055" y="1422530"/>
                </a:cubicBezTo>
                <a:cubicBezTo>
                  <a:pt x="1018770" y="1425162"/>
                  <a:pt x="1018770" y="1425162"/>
                  <a:pt x="1020277" y="1427991"/>
                </a:cubicBezTo>
                <a:cubicBezTo>
                  <a:pt x="1020778" y="1428917"/>
                  <a:pt x="1021280" y="1429844"/>
                  <a:pt x="1021796" y="1430798"/>
                </a:cubicBezTo>
                <a:cubicBezTo>
                  <a:pt x="1023303" y="1433804"/>
                  <a:pt x="1023303" y="1433804"/>
                  <a:pt x="1024579" y="1437239"/>
                </a:cubicBezTo>
                <a:cubicBezTo>
                  <a:pt x="1026915" y="1441803"/>
                  <a:pt x="1030098" y="1444534"/>
                  <a:pt x="1034043" y="1448072"/>
                </a:cubicBezTo>
                <a:lnTo>
                  <a:pt x="1043782" y="1464320"/>
                </a:lnTo>
                <a:lnTo>
                  <a:pt x="1050458" y="1472189"/>
                </a:lnTo>
                <a:cubicBezTo>
                  <a:pt x="1051737" y="1475181"/>
                  <a:pt x="1052277" y="1478513"/>
                  <a:pt x="1052926" y="1482370"/>
                </a:cubicBezTo>
                <a:cubicBezTo>
                  <a:pt x="1053325" y="1487224"/>
                  <a:pt x="1053364" y="1492038"/>
                  <a:pt x="1053316" y="1496903"/>
                </a:cubicBezTo>
                <a:cubicBezTo>
                  <a:pt x="1053328" y="1498142"/>
                  <a:pt x="1053340" y="1499382"/>
                  <a:pt x="1053352" y="1500660"/>
                </a:cubicBezTo>
                <a:cubicBezTo>
                  <a:pt x="1053348" y="1501856"/>
                  <a:pt x="1053344" y="1503052"/>
                  <a:pt x="1053341" y="1504285"/>
                </a:cubicBezTo>
                <a:cubicBezTo>
                  <a:pt x="1053336" y="1505355"/>
                  <a:pt x="1053333" y="1506426"/>
                  <a:pt x="1053329" y="1507529"/>
                </a:cubicBezTo>
                <a:cubicBezTo>
                  <a:pt x="1052876" y="1510927"/>
                  <a:pt x="1051672" y="1513237"/>
                  <a:pt x="1049801" y="1516192"/>
                </a:cubicBezTo>
                <a:lnTo>
                  <a:pt x="1047312" y="1516192"/>
                </a:lnTo>
                <a:lnTo>
                  <a:pt x="1043611" y="1522585"/>
                </a:lnTo>
                <a:cubicBezTo>
                  <a:pt x="1035301" y="1529631"/>
                  <a:pt x="1035301" y="1529631"/>
                  <a:pt x="1029552" y="1529631"/>
                </a:cubicBezTo>
                <a:cubicBezTo>
                  <a:pt x="1029294" y="1530503"/>
                  <a:pt x="1029036" y="1531375"/>
                  <a:pt x="1028771" y="1532273"/>
                </a:cubicBezTo>
                <a:cubicBezTo>
                  <a:pt x="1025795" y="1536076"/>
                  <a:pt x="1022970" y="1536733"/>
                  <a:pt x="1018013" y="1537640"/>
                </a:cubicBezTo>
                <a:cubicBezTo>
                  <a:pt x="1005216" y="1539038"/>
                  <a:pt x="992573" y="1539816"/>
                  <a:pt x="981126" y="1533859"/>
                </a:cubicBezTo>
                <a:cubicBezTo>
                  <a:pt x="979840" y="1533226"/>
                  <a:pt x="978553" y="1532594"/>
                  <a:pt x="977227" y="1531943"/>
                </a:cubicBezTo>
                <a:cubicBezTo>
                  <a:pt x="965286" y="1525877"/>
                  <a:pt x="959626" y="1520520"/>
                  <a:pt x="955376" y="1508751"/>
                </a:cubicBezTo>
                <a:cubicBezTo>
                  <a:pt x="954571" y="1505674"/>
                  <a:pt x="954571" y="1505674"/>
                  <a:pt x="954571" y="1500037"/>
                </a:cubicBezTo>
                <a:cubicBezTo>
                  <a:pt x="953539" y="1500037"/>
                  <a:pt x="952508" y="1500037"/>
                  <a:pt x="951446" y="1500037"/>
                </a:cubicBezTo>
                <a:cubicBezTo>
                  <a:pt x="951361" y="1495986"/>
                  <a:pt x="951299" y="1491935"/>
                  <a:pt x="951251" y="1487883"/>
                </a:cubicBezTo>
                <a:cubicBezTo>
                  <a:pt x="951224" y="1486744"/>
                  <a:pt x="951198" y="1485605"/>
                  <a:pt x="951171" y="1484431"/>
                </a:cubicBezTo>
                <a:cubicBezTo>
                  <a:pt x="951110" y="1477657"/>
                  <a:pt x="952093" y="1472660"/>
                  <a:pt x="954571" y="1466216"/>
                </a:cubicBezTo>
                <a:cubicBezTo>
                  <a:pt x="954867" y="1462451"/>
                  <a:pt x="955016" y="1458876"/>
                  <a:pt x="954961" y="1455118"/>
                </a:cubicBezTo>
                <a:cubicBezTo>
                  <a:pt x="954951" y="1454080"/>
                  <a:pt x="954942" y="1453042"/>
                  <a:pt x="954932" y="1451972"/>
                </a:cubicBezTo>
                <a:cubicBezTo>
                  <a:pt x="954606" y="1435235"/>
                  <a:pt x="952568" y="1419050"/>
                  <a:pt x="945099" y="1403594"/>
                </a:cubicBezTo>
                <a:cubicBezTo>
                  <a:pt x="943714" y="1400177"/>
                  <a:pt x="943046" y="1397128"/>
                  <a:pt x="942366" y="1393553"/>
                </a:cubicBezTo>
                <a:cubicBezTo>
                  <a:pt x="940837" y="1386134"/>
                  <a:pt x="937840" y="1379609"/>
                  <a:pt x="934451" y="1372734"/>
                </a:cubicBezTo>
                <a:cubicBezTo>
                  <a:pt x="932701" y="1368980"/>
                  <a:pt x="932701" y="1368980"/>
                  <a:pt x="931974" y="1365754"/>
                </a:cubicBezTo>
                <a:cubicBezTo>
                  <a:pt x="931699" y="1364958"/>
                  <a:pt x="931422" y="1364162"/>
                  <a:pt x="931138" y="1363343"/>
                </a:cubicBezTo>
                <a:cubicBezTo>
                  <a:pt x="929592" y="1362878"/>
                  <a:pt x="928045" y="1362413"/>
                  <a:pt x="926452" y="1361933"/>
                </a:cubicBezTo>
                <a:cubicBezTo>
                  <a:pt x="921830" y="1355261"/>
                  <a:pt x="920323" y="1348382"/>
                  <a:pt x="918641" y="1340795"/>
                </a:cubicBezTo>
                <a:cubicBezTo>
                  <a:pt x="918133" y="1338914"/>
                  <a:pt x="917616" y="1337034"/>
                  <a:pt x="917079" y="1335158"/>
                </a:cubicBezTo>
                <a:cubicBezTo>
                  <a:pt x="916048" y="1335158"/>
                  <a:pt x="915018" y="1335158"/>
                  <a:pt x="913955" y="1335158"/>
                </a:cubicBezTo>
                <a:cubicBezTo>
                  <a:pt x="913329" y="1333718"/>
                  <a:pt x="912703" y="1332277"/>
                  <a:pt x="912057" y="1330793"/>
                </a:cubicBezTo>
                <a:cubicBezTo>
                  <a:pt x="909497" y="1325424"/>
                  <a:pt x="906114" y="1320822"/>
                  <a:pt x="902142" y="1316222"/>
                </a:cubicBezTo>
                <a:cubicBezTo>
                  <a:pt x="901465" y="1315432"/>
                  <a:pt x="900788" y="1314642"/>
                  <a:pt x="900091" y="1313828"/>
                </a:cubicBezTo>
                <a:cubicBezTo>
                  <a:pt x="893705" y="1306618"/>
                  <a:pt x="886350" y="1301049"/>
                  <a:pt x="878026" y="1295700"/>
                </a:cubicBezTo>
                <a:cubicBezTo>
                  <a:pt x="876595" y="1294594"/>
                  <a:pt x="876595" y="1294594"/>
                  <a:pt x="875134" y="1293465"/>
                </a:cubicBezTo>
                <a:lnTo>
                  <a:pt x="869869" y="1291826"/>
                </a:lnTo>
                <a:lnTo>
                  <a:pt x="862384" y="1291327"/>
                </a:lnTo>
                <a:cubicBezTo>
                  <a:pt x="856441" y="1290067"/>
                  <a:pt x="850461" y="1290346"/>
                  <a:pt x="844390" y="1290461"/>
                </a:cubicBezTo>
                <a:cubicBezTo>
                  <a:pt x="842453" y="1290480"/>
                  <a:pt x="842453" y="1290480"/>
                  <a:pt x="840476" y="1290500"/>
                </a:cubicBezTo>
                <a:cubicBezTo>
                  <a:pt x="837322" y="1290532"/>
                  <a:pt x="834169" y="1290583"/>
                  <a:pt x="831015" y="1290637"/>
                </a:cubicBezTo>
                <a:cubicBezTo>
                  <a:pt x="831015" y="1291568"/>
                  <a:pt x="831015" y="1292498"/>
                  <a:pt x="831015" y="1293456"/>
                </a:cubicBezTo>
                <a:cubicBezTo>
                  <a:pt x="826519" y="1294808"/>
                  <a:pt x="822922" y="1295235"/>
                  <a:pt x="818225" y="1295570"/>
                </a:cubicBezTo>
                <a:lnTo>
                  <a:pt x="796774" y="1297671"/>
                </a:lnTo>
                <a:lnTo>
                  <a:pt x="783646" y="1305736"/>
                </a:lnTo>
                <a:cubicBezTo>
                  <a:pt x="776915" y="1312506"/>
                  <a:pt x="772692" y="1318638"/>
                  <a:pt x="769263" y="1327143"/>
                </a:cubicBezTo>
                <a:cubicBezTo>
                  <a:pt x="767116" y="1332340"/>
                  <a:pt x="767116" y="1332340"/>
                  <a:pt x="764797" y="1334360"/>
                </a:cubicBezTo>
                <a:lnTo>
                  <a:pt x="757875" y="1353503"/>
                </a:lnTo>
                <a:lnTo>
                  <a:pt x="755676" y="1367455"/>
                </a:lnTo>
                <a:lnTo>
                  <a:pt x="750558" y="1399690"/>
                </a:lnTo>
                <a:lnTo>
                  <a:pt x="753057" y="1411256"/>
                </a:lnTo>
                <a:cubicBezTo>
                  <a:pt x="753057" y="1413117"/>
                  <a:pt x="753057" y="1414976"/>
                  <a:pt x="753057" y="1416893"/>
                </a:cubicBezTo>
                <a:cubicBezTo>
                  <a:pt x="754087" y="1416893"/>
                  <a:pt x="755119" y="1416893"/>
                  <a:pt x="756181" y="1416893"/>
                </a:cubicBezTo>
                <a:cubicBezTo>
                  <a:pt x="759348" y="1422607"/>
                  <a:pt x="758101" y="1429902"/>
                  <a:pt x="758133" y="1436182"/>
                </a:cubicBezTo>
                <a:cubicBezTo>
                  <a:pt x="758182" y="1438458"/>
                  <a:pt x="758182" y="1438458"/>
                  <a:pt x="758231" y="1440781"/>
                </a:cubicBezTo>
                <a:cubicBezTo>
                  <a:pt x="758283" y="1450271"/>
                  <a:pt x="758174" y="1458360"/>
                  <a:pt x="750713" y="1465704"/>
                </a:cubicBezTo>
                <a:cubicBezTo>
                  <a:pt x="749940" y="1466193"/>
                  <a:pt x="749167" y="1466681"/>
                  <a:pt x="748370" y="1467185"/>
                </a:cubicBezTo>
                <a:cubicBezTo>
                  <a:pt x="743665" y="1470047"/>
                  <a:pt x="743665" y="1470047"/>
                  <a:pt x="741633" y="1473526"/>
                </a:cubicBezTo>
                <a:cubicBezTo>
                  <a:pt x="737793" y="1477248"/>
                  <a:pt x="733582" y="1477483"/>
                  <a:pt x="728154" y="1478343"/>
                </a:cubicBezTo>
                <a:cubicBezTo>
                  <a:pt x="724855" y="1478778"/>
                  <a:pt x="724855" y="1478778"/>
                  <a:pt x="721814" y="1480308"/>
                </a:cubicBezTo>
                <a:cubicBezTo>
                  <a:pt x="717303" y="1480523"/>
                  <a:pt x="712854" y="1480634"/>
                  <a:pt x="708341" y="1480661"/>
                </a:cubicBezTo>
                <a:cubicBezTo>
                  <a:pt x="707118" y="1480690"/>
                  <a:pt x="705896" y="1480719"/>
                  <a:pt x="704637" y="1480748"/>
                </a:cubicBezTo>
                <a:cubicBezTo>
                  <a:pt x="690446" y="1480834"/>
                  <a:pt x="679632" y="1476246"/>
                  <a:pt x="668507" y="1468418"/>
                </a:cubicBezTo>
                <a:cubicBezTo>
                  <a:pt x="662823" y="1463224"/>
                  <a:pt x="661745" y="1456995"/>
                  <a:pt x="660178" y="1450027"/>
                </a:cubicBezTo>
                <a:cubicBezTo>
                  <a:pt x="659725" y="1446589"/>
                  <a:pt x="659725" y="1446589"/>
                  <a:pt x="657767" y="1445078"/>
                </a:cubicBezTo>
                <a:cubicBezTo>
                  <a:pt x="656859" y="1433686"/>
                  <a:pt x="655965" y="1419178"/>
                  <a:pt x="663369" y="1409390"/>
                </a:cubicBezTo>
                <a:cubicBezTo>
                  <a:pt x="666078" y="1406601"/>
                  <a:pt x="668921" y="1404013"/>
                  <a:pt x="671826" y="1401392"/>
                </a:cubicBezTo>
                <a:cubicBezTo>
                  <a:pt x="675197" y="1397623"/>
                  <a:pt x="677125" y="1394916"/>
                  <a:pt x="678075" y="1390118"/>
                </a:cubicBezTo>
                <a:cubicBezTo>
                  <a:pt x="680137" y="1389653"/>
                  <a:pt x="682199" y="1389188"/>
                  <a:pt x="684323" y="1388709"/>
                </a:cubicBezTo>
                <a:cubicBezTo>
                  <a:pt x="684643" y="1387232"/>
                  <a:pt x="684964" y="1385755"/>
                  <a:pt x="685293" y="1384233"/>
                </a:cubicBezTo>
                <a:cubicBezTo>
                  <a:pt x="685718" y="1382290"/>
                  <a:pt x="686144" y="1380347"/>
                  <a:pt x="686569" y="1378404"/>
                </a:cubicBezTo>
                <a:cubicBezTo>
                  <a:pt x="686885" y="1376945"/>
                  <a:pt x="686885" y="1376945"/>
                  <a:pt x="687207" y="1375456"/>
                </a:cubicBezTo>
                <a:cubicBezTo>
                  <a:pt x="688115" y="1371315"/>
                  <a:pt x="689090" y="1367353"/>
                  <a:pt x="690572" y="1363343"/>
                </a:cubicBezTo>
                <a:cubicBezTo>
                  <a:pt x="692411" y="1350128"/>
                  <a:pt x="692374" y="1336672"/>
                  <a:pt x="692495" y="1323376"/>
                </a:cubicBezTo>
                <a:cubicBezTo>
                  <a:pt x="692524" y="1320586"/>
                  <a:pt x="692574" y="1317796"/>
                  <a:pt x="692625" y="1315006"/>
                </a:cubicBezTo>
                <a:cubicBezTo>
                  <a:pt x="692853" y="1300589"/>
                  <a:pt x="692853" y="1300589"/>
                  <a:pt x="687447" y="1287245"/>
                </a:cubicBezTo>
                <a:cubicBezTo>
                  <a:pt x="685901" y="1286780"/>
                  <a:pt x="684354" y="1286315"/>
                  <a:pt x="682761" y="1285835"/>
                </a:cubicBezTo>
                <a:cubicBezTo>
                  <a:pt x="680876" y="1283743"/>
                  <a:pt x="680876" y="1283743"/>
                  <a:pt x="678954" y="1281608"/>
                </a:cubicBezTo>
                <a:cubicBezTo>
                  <a:pt x="674854" y="1277278"/>
                  <a:pt x="674356" y="1276958"/>
                  <a:pt x="668702" y="1275971"/>
                </a:cubicBezTo>
                <a:cubicBezTo>
                  <a:pt x="666619" y="1274092"/>
                  <a:pt x="664536" y="1272213"/>
                  <a:pt x="662454" y="1270334"/>
                </a:cubicBezTo>
                <a:cubicBezTo>
                  <a:pt x="658341" y="1268566"/>
                  <a:pt x="658341" y="1268566"/>
                  <a:pt x="654643" y="1267516"/>
                </a:cubicBezTo>
                <a:cubicBezTo>
                  <a:pt x="654643" y="1266585"/>
                  <a:pt x="654643" y="1265656"/>
                  <a:pt x="654643" y="1264697"/>
                </a:cubicBezTo>
                <a:cubicBezTo>
                  <a:pt x="653161" y="1264581"/>
                  <a:pt x="651679" y="1264465"/>
                  <a:pt x="650152" y="1264345"/>
                </a:cubicBezTo>
                <a:cubicBezTo>
                  <a:pt x="642318" y="1263373"/>
                  <a:pt x="635297" y="1260465"/>
                  <a:pt x="628087" y="1257651"/>
                </a:cubicBezTo>
                <a:cubicBezTo>
                  <a:pt x="628087" y="1256721"/>
                  <a:pt x="628087" y="1255791"/>
                  <a:pt x="628087" y="1254833"/>
                </a:cubicBezTo>
                <a:cubicBezTo>
                  <a:pt x="627108" y="1254662"/>
                  <a:pt x="626129" y="1254491"/>
                  <a:pt x="625121" y="1254315"/>
                </a:cubicBezTo>
                <a:cubicBezTo>
                  <a:pt x="623845" y="1254079"/>
                  <a:pt x="622568" y="1253843"/>
                  <a:pt x="621252" y="1253600"/>
                </a:cubicBezTo>
                <a:cubicBezTo>
                  <a:pt x="619984" y="1253371"/>
                  <a:pt x="618716" y="1253142"/>
                  <a:pt x="617409" y="1252906"/>
                </a:cubicBezTo>
                <a:cubicBezTo>
                  <a:pt x="614027" y="1252014"/>
                  <a:pt x="614027" y="1252014"/>
                  <a:pt x="610904" y="1249196"/>
                </a:cubicBezTo>
                <a:cubicBezTo>
                  <a:pt x="592259" y="1248653"/>
                  <a:pt x="578635" y="1260869"/>
                  <a:pt x="565739" y="1271742"/>
                </a:cubicBezTo>
                <a:cubicBezTo>
                  <a:pt x="558808" y="1277725"/>
                  <a:pt x="552763" y="1283983"/>
                  <a:pt x="546924" y="1290829"/>
                </a:cubicBezTo>
                <a:cubicBezTo>
                  <a:pt x="545838" y="1292087"/>
                  <a:pt x="544753" y="1293346"/>
                  <a:pt x="543635" y="1294643"/>
                </a:cubicBezTo>
                <a:cubicBezTo>
                  <a:pt x="542650" y="1295813"/>
                  <a:pt x="541666" y="1296983"/>
                  <a:pt x="540651" y="1298188"/>
                </a:cubicBezTo>
                <a:cubicBezTo>
                  <a:pt x="537294" y="1301526"/>
                  <a:pt x="533978" y="1303337"/>
                  <a:pt x="529673" y="1305565"/>
                </a:cubicBezTo>
                <a:cubicBezTo>
                  <a:pt x="527599" y="1308478"/>
                  <a:pt x="527599" y="1308478"/>
                  <a:pt x="526549" y="1311202"/>
                </a:cubicBezTo>
                <a:cubicBezTo>
                  <a:pt x="525518" y="1311202"/>
                  <a:pt x="524487" y="1311202"/>
                  <a:pt x="523425" y="1311202"/>
                </a:cubicBezTo>
                <a:cubicBezTo>
                  <a:pt x="523360" y="1311986"/>
                  <a:pt x="523296" y="1312771"/>
                  <a:pt x="523230" y="1313580"/>
                </a:cubicBezTo>
                <a:cubicBezTo>
                  <a:pt x="521863" y="1316839"/>
                  <a:pt x="521863" y="1316839"/>
                  <a:pt x="517732" y="1319739"/>
                </a:cubicBezTo>
                <a:cubicBezTo>
                  <a:pt x="511111" y="1324565"/>
                  <a:pt x="506875" y="1330731"/>
                  <a:pt x="502239" y="1337096"/>
                </a:cubicBezTo>
                <a:cubicBezTo>
                  <a:pt x="500512" y="1339427"/>
                  <a:pt x="498785" y="1341757"/>
                  <a:pt x="497058" y="1344087"/>
                </a:cubicBezTo>
                <a:cubicBezTo>
                  <a:pt x="495827" y="1345760"/>
                  <a:pt x="495827" y="1345760"/>
                  <a:pt x="494572" y="1347465"/>
                </a:cubicBezTo>
                <a:cubicBezTo>
                  <a:pt x="492366" y="1350414"/>
                  <a:pt x="490094" y="1353304"/>
                  <a:pt x="487776" y="1356181"/>
                </a:cubicBezTo>
                <a:cubicBezTo>
                  <a:pt x="484805" y="1359972"/>
                  <a:pt x="482865" y="1363193"/>
                  <a:pt x="481248" y="1367571"/>
                </a:cubicBezTo>
                <a:cubicBezTo>
                  <a:pt x="480216" y="1367571"/>
                  <a:pt x="479186" y="1367571"/>
                  <a:pt x="478123" y="1367571"/>
                </a:cubicBezTo>
                <a:cubicBezTo>
                  <a:pt x="477963" y="1368558"/>
                  <a:pt x="477801" y="1369547"/>
                  <a:pt x="477635" y="1370565"/>
                </a:cubicBezTo>
                <a:cubicBezTo>
                  <a:pt x="475602" y="1378236"/>
                  <a:pt x="471952" y="1383371"/>
                  <a:pt x="465626" y="1388709"/>
                </a:cubicBezTo>
                <a:cubicBezTo>
                  <a:pt x="462272" y="1392748"/>
                  <a:pt x="462272" y="1392748"/>
                  <a:pt x="461233" y="1397340"/>
                </a:cubicBezTo>
                <a:cubicBezTo>
                  <a:pt x="460030" y="1401461"/>
                  <a:pt x="458298" y="1404501"/>
                  <a:pt x="455765" y="1408086"/>
                </a:cubicBezTo>
                <a:cubicBezTo>
                  <a:pt x="442829" y="1428603"/>
                  <a:pt x="441572" y="1454548"/>
                  <a:pt x="439070" y="1477490"/>
                </a:cubicBezTo>
                <a:cubicBezTo>
                  <a:pt x="437524" y="1477955"/>
                  <a:pt x="435977" y="1478420"/>
                  <a:pt x="434384" y="1478899"/>
                </a:cubicBezTo>
                <a:cubicBezTo>
                  <a:pt x="433739" y="1479916"/>
                  <a:pt x="433095" y="1480933"/>
                  <a:pt x="432431" y="1481982"/>
                </a:cubicBezTo>
                <a:cubicBezTo>
                  <a:pt x="428860" y="1487159"/>
                  <a:pt x="424291" y="1490903"/>
                  <a:pt x="418763" y="1494401"/>
                </a:cubicBezTo>
                <a:cubicBezTo>
                  <a:pt x="417731" y="1494401"/>
                  <a:pt x="416701" y="1494401"/>
                  <a:pt x="415639" y="1494401"/>
                </a:cubicBezTo>
                <a:cubicBezTo>
                  <a:pt x="415639" y="1495330"/>
                  <a:pt x="415639" y="1496260"/>
                  <a:pt x="415639" y="1497219"/>
                </a:cubicBezTo>
                <a:cubicBezTo>
                  <a:pt x="412546" y="1497684"/>
                  <a:pt x="409453" y="1498149"/>
                  <a:pt x="406265" y="1498628"/>
                </a:cubicBezTo>
                <a:cubicBezTo>
                  <a:pt x="406265" y="1499559"/>
                  <a:pt x="406265" y="1500488"/>
                  <a:pt x="406265" y="1501447"/>
                </a:cubicBezTo>
                <a:cubicBezTo>
                  <a:pt x="395955" y="1501447"/>
                  <a:pt x="385645" y="1501447"/>
                  <a:pt x="375023" y="1501447"/>
                </a:cubicBezTo>
                <a:lnTo>
                  <a:pt x="375023" y="1499438"/>
                </a:lnTo>
                <a:lnTo>
                  <a:pt x="374964" y="1499436"/>
                </a:lnTo>
                <a:lnTo>
                  <a:pt x="373179" y="1498628"/>
                </a:lnTo>
                <a:lnTo>
                  <a:pt x="365650" y="1498628"/>
                </a:lnTo>
                <a:lnTo>
                  <a:pt x="363134" y="1494087"/>
                </a:lnTo>
                <a:lnTo>
                  <a:pt x="362171" y="1493651"/>
                </a:lnTo>
                <a:cubicBezTo>
                  <a:pt x="361656" y="1492722"/>
                  <a:pt x="361140" y="1491791"/>
                  <a:pt x="360609" y="1490833"/>
                </a:cubicBezTo>
                <a:cubicBezTo>
                  <a:pt x="361640" y="1490833"/>
                  <a:pt x="362671" y="1490833"/>
                  <a:pt x="363733" y="1490833"/>
                </a:cubicBezTo>
                <a:lnTo>
                  <a:pt x="363733" y="1489980"/>
                </a:lnTo>
                <a:lnTo>
                  <a:pt x="348467" y="1481717"/>
                </a:lnTo>
                <a:lnTo>
                  <a:pt x="343872" y="1461078"/>
                </a:lnTo>
                <a:lnTo>
                  <a:pt x="343656" y="1463649"/>
                </a:lnTo>
                <a:cubicBezTo>
                  <a:pt x="343541" y="1465230"/>
                  <a:pt x="343541" y="1465230"/>
                  <a:pt x="343424" y="1466842"/>
                </a:cubicBezTo>
                <a:cubicBezTo>
                  <a:pt x="342908" y="1466842"/>
                  <a:pt x="342393" y="1466842"/>
                  <a:pt x="341861" y="1466842"/>
                </a:cubicBezTo>
                <a:cubicBezTo>
                  <a:pt x="340987" y="1449564"/>
                  <a:pt x="340999" y="1434331"/>
                  <a:pt x="354143" y="1420549"/>
                </a:cubicBezTo>
                <a:cubicBezTo>
                  <a:pt x="360765" y="1414011"/>
                  <a:pt x="367631" y="1407790"/>
                  <a:pt x="376229" y="1403427"/>
                </a:cubicBezTo>
                <a:lnTo>
                  <a:pt x="379491" y="1404408"/>
                </a:lnTo>
                <a:lnTo>
                  <a:pt x="379710" y="1404210"/>
                </a:lnTo>
                <a:cubicBezTo>
                  <a:pt x="380290" y="1402902"/>
                  <a:pt x="380290" y="1402902"/>
                  <a:pt x="380882" y="1401568"/>
                </a:cubicBezTo>
                <a:cubicBezTo>
                  <a:pt x="383675" y="1397284"/>
                  <a:pt x="387587" y="1395610"/>
                  <a:pt x="392207" y="1392936"/>
                </a:cubicBezTo>
                <a:lnTo>
                  <a:pt x="399542" y="1386774"/>
                </a:lnTo>
                <a:lnTo>
                  <a:pt x="405485" y="1378917"/>
                </a:lnTo>
                <a:cubicBezTo>
                  <a:pt x="408065" y="1375974"/>
                  <a:pt x="410029" y="1372774"/>
                  <a:pt x="412008" y="1369481"/>
                </a:cubicBezTo>
                <a:cubicBezTo>
                  <a:pt x="414759" y="1365166"/>
                  <a:pt x="417963" y="1361131"/>
                  <a:pt x="421130" y="1357057"/>
                </a:cubicBezTo>
                <a:cubicBezTo>
                  <a:pt x="423073" y="1354140"/>
                  <a:pt x="423985" y="1351767"/>
                  <a:pt x="424676" y="1348443"/>
                </a:cubicBezTo>
                <a:lnTo>
                  <a:pt x="427275" y="1348443"/>
                </a:lnTo>
                <a:lnTo>
                  <a:pt x="428135" y="1345727"/>
                </a:lnTo>
                <a:cubicBezTo>
                  <a:pt x="429370" y="1341828"/>
                  <a:pt x="430645" y="1338666"/>
                  <a:pt x="432822" y="1335158"/>
                </a:cubicBezTo>
                <a:cubicBezTo>
                  <a:pt x="433853" y="1335158"/>
                  <a:pt x="434884" y="1335158"/>
                  <a:pt x="435946" y="1335158"/>
                </a:cubicBezTo>
                <a:cubicBezTo>
                  <a:pt x="436526" y="1333385"/>
                  <a:pt x="437106" y="1331613"/>
                  <a:pt x="437704" y="1329786"/>
                </a:cubicBezTo>
                <a:cubicBezTo>
                  <a:pt x="440162" y="1323132"/>
                  <a:pt x="443602" y="1317301"/>
                  <a:pt x="447394" y="1311196"/>
                </a:cubicBezTo>
                <a:cubicBezTo>
                  <a:pt x="456493" y="1296485"/>
                  <a:pt x="463325" y="1281864"/>
                  <a:pt x="469287" y="1265964"/>
                </a:cubicBezTo>
                <a:cubicBezTo>
                  <a:pt x="474589" y="1252134"/>
                  <a:pt x="474589" y="1252134"/>
                  <a:pt x="478178" y="1246787"/>
                </a:cubicBezTo>
                <a:cubicBezTo>
                  <a:pt x="481232" y="1240246"/>
                  <a:pt x="480204" y="1232766"/>
                  <a:pt x="480179" y="1225768"/>
                </a:cubicBezTo>
                <a:cubicBezTo>
                  <a:pt x="480174" y="1222894"/>
                  <a:pt x="480210" y="1220023"/>
                  <a:pt x="480250" y="1217149"/>
                </a:cubicBezTo>
                <a:cubicBezTo>
                  <a:pt x="480260" y="1199291"/>
                  <a:pt x="476718" y="1187768"/>
                  <a:pt x="462972" y="1174827"/>
                </a:cubicBezTo>
                <a:cubicBezTo>
                  <a:pt x="461148" y="1173192"/>
                  <a:pt x="459312" y="1171566"/>
                  <a:pt x="457468" y="1169949"/>
                </a:cubicBezTo>
                <a:cubicBezTo>
                  <a:pt x="451412" y="1164522"/>
                  <a:pt x="445876" y="1158660"/>
                  <a:pt x="440657" y="1152570"/>
                </a:cubicBezTo>
                <a:cubicBezTo>
                  <a:pt x="430474" y="1140786"/>
                  <a:pt x="418230" y="1128998"/>
                  <a:pt x="403142" y="1122366"/>
                </a:cubicBezTo>
                <a:cubicBezTo>
                  <a:pt x="402626" y="1121436"/>
                  <a:pt x="402110" y="1120506"/>
                  <a:pt x="401579" y="1119547"/>
                </a:cubicBezTo>
                <a:cubicBezTo>
                  <a:pt x="390472" y="1115326"/>
                  <a:pt x="375918" y="1114217"/>
                  <a:pt x="364564" y="1118209"/>
                </a:cubicBezTo>
                <a:cubicBezTo>
                  <a:pt x="362278" y="1119428"/>
                  <a:pt x="360026" y="1120704"/>
                  <a:pt x="357822" y="1122041"/>
                </a:cubicBezTo>
                <a:cubicBezTo>
                  <a:pt x="354521" y="1123884"/>
                  <a:pt x="351862" y="1124582"/>
                  <a:pt x="348077" y="1125273"/>
                </a:cubicBezTo>
                <a:cubicBezTo>
                  <a:pt x="341765" y="1126696"/>
                  <a:pt x="339382" y="1128619"/>
                  <a:pt x="334408" y="1132230"/>
                </a:cubicBezTo>
                <a:cubicBezTo>
                  <a:pt x="332284" y="1132909"/>
                  <a:pt x="330131" y="1133519"/>
                  <a:pt x="327964" y="1134080"/>
                </a:cubicBezTo>
                <a:cubicBezTo>
                  <a:pt x="309975" y="1139067"/>
                  <a:pt x="290592" y="1152117"/>
                  <a:pt x="279734" y="1166051"/>
                </a:cubicBezTo>
                <a:cubicBezTo>
                  <a:pt x="277929" y="1169534"/>
                  <a:pt x="277929" y="1169534"/>
                  <a:pt x="276609" y="1173098"/>
                </a:cubicBezTo>
                <a:cubicBezTo>
                  <a:pt x="272413" y="1180804"/>
                  <a:pt x="269322" y="1184144"/>
                  <a:pt x="260988" y="1188599"/>
                </a:cubicBezTo>
                <a:cubicBezTo>
                  <a:pt x="259988" y="1189435"/>
                  <a:pt x="258987" y="1190271"/>
                  <a:pt x="257956" y="1191132"/>
                </a:cubicBezTo>
                <a:lnTo>
                  <a:pt x="243805" y="1196629"/>
                </a:lnTo>
                <a:lnTo>
                  <a:pt x="243805" y="1194236"/>
                </a:lnTo>
                <a:lnTo>
                  <a:pt x="240288" y="1194765"/>
                </a:lnTo>
                <a:lnTo>
                  <a:pt x="243374" y="1194765"/>
                </a:lnTo>
                <a:lnTo>
                  <a:pt x="243374" y="1196797"/>
                </a:lnTo>
                <a:lnTo>
                  <a:pt x="243805" y="1196629"/>
                </a:lnTo>
                <a:lnTo>
                  <a:pt x="243805" y="1197055"/>
                </a:lnTo>
                <a:lnTo>
                  <a:pt x="243374" y="1197055"/>
                </a:lnTo>
                <a:lnTo>
                  <a:pt x="243374" y="1197584"/>
                </a:lnTo>
                <a:lnTo>
                  <a:pt x="241319" y="1197595"/>
                </a:lnTo>
                <a:lnTo>
                  <a:pt x="238009" y="1198881"/>
                </a:lnTo>
                <a:cubicBezTo>
                  <a:pt x="231012" y="1199584"/>
                  <a:pt x="223620" y="1198927"/>
                  <a:pt x="215687" y="1198464"/>
                </a:cubicBezTo>
                <a:lnTo>
                  <a:pt x="215687" y="1197734"/>
                </a:lnTo>
                <a:lnTo>
                  <a:pt x="213936" y="1197744"/>
                </a:lnTo>
                <a:cubicBezTo>
                  <a:pt x="210570" y="1197584"/>
                  <a:pt x="210570" y="1197584"/>
                  <a:pt x="207446" y="1196175"/>
                </a:cubicBezTo>
                <a:lnTo>
                  <a:pt x="207822" y="1195610"/>
                </a:lnTo>
                <a:lnTo>
                  <a:pt x="184737" y="1180936"/>
                </a:lnTo>
                <a:cubicBezTo>
                  <a:pt x="180258" y="1172216"/>
                  <a:pt x="179226" y="1164355"/>
                  <a:pt x="179270" y="1154866"/>
                </a:cubicBezTo>
                <a:cubicBezTo>
                  <a:pt x="179233" y="1153260"/>
                  <a:pt x="179233" y="1153260"/>
                  <a:pt x="179194" y="1151621"/>
                </a:cubicBezTo>
                <a:cubicBezTo>
                  <a:pt x="179182" y="1139523"/>
                  <a:pt x="183658" y="1128837"/>
                  <a:pt x="193195" y="1120065"/>
                </a:cubicBezTo>
                <a:cubicBezTo>
                  <a:pt x="204265" y="1110959"/>
                  <a:pt x="215062" y="1110626"/>
                  <a:pt x="229551" y="1110299"/>
                </a:cubicBezTo>
                <a:cubicBezTo>
                  <a:pt x="240132" y="1110024"/>
                  <a:pt x="250506" y="1109652"/>
                  <a:pt x="260988" y="1108274"/>
                </a:cubicBezTo>
                <a:cubicBezTo>
                  <a:pt x="260988" y="1107344"/>
                  <a:pt x="260988" y="1106413"/>
                  <a:pt x="260988" y="1105455"/>
                </a:cubicBezTo>
                <a:cubicBezTo>
                  <a:pt x="261953" y="1105078"/>
                  <a:pt x="262918" y="1104699"/>
                  <a:pt x="263911" y="1104310"/>
                </a:cubicBezTo>
                <a:cubicBezTo>
                  <a:pt x="272903" y="1100557"/>
                  <a:pt x="279802" y="1096307"/>
                  <a:pt x="286995" y="1090185"/>
                </a:cubicBezTo>
                <a:cubicBezTo>
                  <a:pt x="290956" y="1086897"/>
                  <a:pt x="295114" y="1083955"/>
                  <a:pt x="299358" y="1080970"/>
                </a:cubicBezTo>
                <a:cubicBezTo>
                  <a:pt x="306613" y="1075692"/>
                  <a:pt x="312234" y="1070023"/>
                  <a:pt x="317762" y="1063272"/>
                </a:cubicBezTo>
                <a:cubicBezTo>
                  <a:pt x="320349" y="1060360"/>
                  <a:pt x="320349" y="1060360"/>
                  <a:pt x="325035" y="1057542"/>
                </a:cubicBezTo>
                <a:cubicBezTo>
                  <a:pt x="329912" y="1045734"/>
                  <a:pt x="327928" y="1035103"/>
                  <a:pt x="325328" y="1023104"/>
                </a:cubicBezTo>
                <a:cubicBezTo>
                  <a:pt x="325069" y="1021831"/>
                  <a:pt x="324811" y="1020559"/>
                  <a:pt x="324544" y="1019247"/>
                </a:cubicBezTo>
                <a:cubicBezTo>
                  <a:pt x="322876" y="1011407"/>
                  <a:pt x="320562" y="1004340"/>
                  <a:pt x="317225" y="996945"/>
                </a:cubicBezTo>
                <a:cubicBezTo>
                  <a:pt x="316619" y="995541"/>
                  <a:pt x="316013" y="994137"/>
                  <a:pt x="315388" y="992690"/>
                </a:cubicBezTo>
                <a:cubicBezTo>
                  <a:pt x="306307" y="972561"/>
                  <a:pt x="298931" y="959343"/>
                  <a:pt x="276232" y="950666"/>
                </a:cubicBezTo>
                <a:cubicBezTo>
                  <a:pt x="274810" y="950127"/>
                  <a:pt x="273388" y="949587"/>
                  <a:pt x="271923" y="949031"/>
                </a:cubicBezTo>
                <a:cubicBezTo>
                  <a:pt x="270129" y="948244"/>
                  <a:pt x="270129" y="948244"/>
                  <a:pt x="268299" y="947441"/>
                </a:cubicBezTo>
                <a:cubicBezTo>
                  <a:pt x="247071" y="938140"/>
                  <a:pt x="222259" y="939051"/>
                  <a:pt x="199187" y="938991"/>
                </a:cubicBezTo>
                <a:cubicBezTo>
                  <a:pt x="197383" y="938984"/>
                  <a:pt x="195579" y="938978"/>
                  <a:pt x="193719" y="938971"/>
                </a:cubicBezTo>
                <a:cubicBezTo>
                  <a:pt x="192010" y="938974"/>
                  <a:pt x="190300" y="938977"/>
                  <a:pt x="188539" y="938980"/>
                </a:cubicBezTo>
                <a:cubicBezTo>
                  <a:pt x="187000" y="938981"/>
                  <a:pt x="185460" y="938983"/>
                  <a:pt x="183874" y="938985"/>
                </a:cubicBezTo>
                <a:cubicBezTo>
                  <a:pt x="180148" y="939150"/>
                  <a:pt x="177092" y="939720"/>
                  <a:pt x="173509" y="940576"/>
                </a:cubicBezTo>
                <a:cubicBezTo>
                  <a:pt x="169458" y="940674"/>
                  <a:pt x="165452" y="940710"/>
                  <a:pt x="161403" y="940664"/>
                </a:cubicBezTo>
                <a:cubicBezTo>
                  <a:pt x="160314" y="940658"/>
                  <a:pt x="159224" y="940651"/>
                  <a:pt x="158102" y="940645"/>
                </a:cubicBezTo>
                <a:lnTo>
                  <a:pt x="150875" y="940583"/>
                </a:lnTo>
                <a:lnTo>
                  <a:pt x="148425" y="940717"/>
                </a:lnTo>
                <a:lnTo>
                  <a:pt x="149617" y="940995"/>
                </a:lnTo>
                <a:cubicBezTo>
                  <a:pt x="149617" y="941459"/>
                  <a:pt x="149617" y="941924"/>
                  <a:pt x="149617" y="942404"/>
                </a:cubicBezTo>
                <a:cubicBezTo>
                  <a:pt x="148630" y="942558"/>
                  <a:pt x="147643" y="942712"/>
                  <a:pt x="146627" y="942871"/>
                </a:cubicBezTo>
                <a:cubicBezTo>
                  <a:pt x="134541" y="944804"/>
                  <a:pt x="122553" y="947081"/>
                  <a:pt x="110564" y="949449"/>
                </a:cubicBezTo>
                <a:lnTo>
                  <a:pt x="111283" y="946205"/>
                </a:lnTo>
                <a:lnTo>
                  <a:pt x="101652" y="956078"/>
                </a:lnTo>
                <a:cubicBezTo>
                  <a:pt x="99870" y="957260"/>
                  <a:pt x="99870" y="957260"/>
                  <a:pt x="98052" y="958467"/>
                </a:cubicBezTo>
                <a:cubicBezTo>
                  <a:pt x="75683" y="972989"/>
                  <a:pt x="75683" y="972989"/>
                  <a:pt x="67286" y="972989"/>
                </a:cubicBezTo>
                <a:cubicBezTo>
                  <a:pt x="67286" y="973918"/>
                  <a:pt x="67286" y="974848"/>
                  <a:pt x="67286" y="975807"/>
                </a:cubicBezTo>
                <a:cubicBezTo>
                  <a:pt x="55713" y="979519"/>
                  <a:pt x="43549" y="980689"/>
                  <a:pt x="31942" y="976423"/>
                </a:cubicBezTo>
                <a:cubicBezTo>
                  <a:pt x="19953" y="970870"/>
                  <a:pt x="10774" y="964932"/>
                  <a:pt x="5673" y="953419"/>
                </a:cubicBezTo>
                <a:cubicBezTo>
                  <a:pt x="4801" y="950441"/>
                  <a:pt x="4801" y="950441"/>
                  <a:pt x="4801" y="944804"/>
                </a:cubicBezTo>
                <a:cubicBezTo>
                  <a:pt x="3770" y="944804"/>
                  <a:pt x="2739" y="944804"/>
                  <a:pt x="1676" y="944804"/>
                </a:cubicBezTo>
                <a:cubicBezTo>
                  <a:pt x="-34" y="940174"/>
                  <a:pt x="-41" y="936720"/>
                  <a:pt x="17" y="931857"/>
                </a:cubicBezTo>
                <a:cubicBezTo>
                  <a:pt x="31" y="930325"/>
                  <a:pt x="45" y="928794"/>
                  <a:pt x="59" y="927216"/>
                </a:cubicBezTo>
                <a:cubicBezTo>
                  <a:pt x="78" y="926044"/>
                  <a:pt x="96" y="924873"/>
                  <a:pt x="115" y="923666"/>
                </a:cubicBezTo>
                <a:cubicBezTo>
                  <a:pt x="1145" y="923666"/>
                  <a:pt x="2176" y="923666"/>
                  <a:pt x="3238" y="923666"/>
                </a:cubicBezTo>
                <a:cubicBezTo>
                  <a:pt x="3238" y="921805"/>
                  <a:pt x="3238" y="919945"/>
                  <a:pt x="3238" y="918029"/>
                </a:cubicBezTo>
                <a:cubicBezTo>
                  <a:pt x="4270" y="918029"/>
                  <a:pt x="5300" y="918029"/>
                  <a:pt x="6363" y="918029"/>
                </a:cubicBezTo>
                <a:cubicBezTo>
                  <a:pt x="6459" y="916314"/>
                  <a:pt x="6556" y="914599"/>
                  <a:pt x="6656" y="912832"/>
                </a:cubicBezTo>
                <a:cubicBezTo>
                  <a:pt x="7542" y="906455"/>
                  <a:pt x="10104" y="903750"/>
                  <a:pt x="15736" y="899709"/>
                </a:cubicBezTo>
                <a:lnTo>
                  <a:pt x="17243" y="898894"/>
                </a:lnTo>
                <a:lnTo>
                  <a:pt x="16800" y="898694"/>
                </a:lnTo>
                <a:lnTo>
                  <a:pt x="24988" y="894101"/>
                </a:lnTo>
                <a:lnTo>
                  <a:pt x="26768" y="892399"/>
                </a:lnTo>
                <a:cubicBezTo>
                  <a:pt x="28282" y="891122"/>
                  <a:pt x="29038" y="890483"/>
                  <a:pt x="30198" y="890164"/>
                </a:cubicBezTo>
                <a:lnTo>
                  <a:pt x="32204" y="890054"/>
                </a:lnTo>
                <a:lnTo>
                  <a:pt x="38914" y="886291"/>
                </a:lnTo>
                <a:cubicBezTo>
                  <a:pt x="47169" y="885770"/>
                  <a:pt x="55396" y="885800"/>
                  <a:pt x="63664" y="886011"/>
                </a:cubicBezTo>
                <a:lnTo>
                  <a:pt x="63664" y="886531"/>
                </a:lnTo>
                <a:lnTo>
                  <a:pt x="70784" y="886647"/>
                </a:lnTo>
                <a:cubicBezTo>
                  <a:pt x="74787" y="887000"/>
                  <a:pt x="77233" y="887948"/>
                  <a:pt x="82126" y="889845"/>
                </a:cubicBezTo>
                <a:cubicBezTo>
                  <a:pt x="92427" y="893791"/>
                  <a:pt x="103139" y="893710"/>
                  <a:pt x="114149" y="892663"/>
                </a:cubicBezTo>
                <a:cubicBezTo>
                  <a:pt x="115696" y="891733"/>
                  <a:pt x="117242" y="890803"/>
                  <a:pt x="118836" y="889845"/>
                </a:cubicBezTo>
                <a:cubicBezTo>
                  <a:pt x="123097" y="888850"/>
                  <a:pt x="127325" y="887944"/>
                  <a:pt x="131626" y="887114"/>
                </a:cubicBezTo>
                <a:cubicBezTo>
                  <a:pt x="139750" y="885542"/>
                  <a:pt x="147376" y="883653"/>
                  <a:pt x="155116" y="880913"/>
                </a:cubicBezTo>
                <a:cubicBezTo>
                  <a:pt x="158498" y="879775"/>
                  <a:pt x="161861" y="879076"/>
                  <a:pt x="165406" y="878483"/>
                </a:cubicBezTo>
                <a:cubicBezTo>
                  <a:pt x="170342" y="877655"/>
                  <a:pt x="172265" y="876971"/>
                  <a:pt x="176634" y="874343"/>
                </a:cubicBezTo>
                <a:cubicBezTo>
                  <a:pt x="179863" y="873335"/>
                  <a:pt x="183123" y="872404"/>
                  <a:pt x="186397" y="871524"/>
                </a:cubicBezTo>
                <a:cubicBezTo>
                  <a:pt x="189107" y="870786"/>
                  <a:pt x="189107" y="870786"/>
                  <a:pt x="191871" y="870033"/>
                </a:cubicBezTo>
                <a:cubicBezTo>
                  <a:pt x="195731" y="869023"/>
                  <a:pt x="199587" y="868093"/>
                  <a:pt x="203483" y="867208"/>
                </a:cubicBezTo>
                <a:cubicBezTo>
                  <a:pt x="208339" y="866199"/>
                  <a:pt x="208339" y="866199"/>
                  <a:pt x="211001" y="861660"/>
                </a:cubicBezTo>
                <a:cubicBezTo>
                  <a:pt x="214174" y="860102"/>
                  <a:pt x="214174" y="860102"/>
                  <a:pt x="218031" y="858577"/>
                </a:cubicBezTo>
                <a:cubicBezTo>
                  <a:pt x="236068" y="850629"/>
                  <a:pt x="245199" y="840442"/>
                  <a:pt x="254740" y="825020"/>
                </a:cubicBezTo>
                <a:cubicBezTo>
                  <a:pt x="255771" y="823625"/>
                  <a:pt x="256802" y="822230"/>
                  <a:pt x="257864" y="820792"/>
                </a:cubicBezTo>
                <a:cubicBezTo>
                  <a:pt x="258359" y="817506"/>
                  <a:pt x="258359" y="817506"/>
                  <a:pt x="258318" y="813810"/>
                </a:cubicBezTo>
                <a:cubicBezTo>
                  <a:pt x="258338" y="812388"/>
                  <a:pt x="258358" y="810967"/>
                  <a:pt x="258378" y="809502"/>
                </a:cubicBezTo>
                <a:cubicBezTo>
                  <a:pt x="258382" y="807965"/>
                  <a:pt x="258385" y="806429"/>
                  <a:pt x="258389" y="804845"/>
                </a:cubicBezTo>
                <a:cubicBezTo>
                  <a:pt x="258399" y="803258"/>
                  <a:pt x="258410" y="801671"/>
                  <a:pt x="258420" y="800036"/>
                </a:cubicBezTo>
                <a:cubicBezTo>
                  <a:pt x="258436" y="796670"/>
                  <a:pt x="258443" y="793305"/>
                  <a:pt x="258443" y="789939"/>
                </a:cubicBezTo>
                <a:cubicBezTo>
                  <a:pt x="258450" y="784823"/>
                  <a:pt x="258506" y="779709"/>
                  <a:pt x="258566" y="774594"/>
                </a:cubicBezTo>
                <a:cubicBezTo>
                  <a:pt x="258575" y="771319"/>
                  <a:pt x="258581" y="768045"/>
                  <a:pt x="258584" y="764771"/>
                </a:cubicBezTo>
                <a:cubicBezTo>
                  <a:pt x="258618" y="762495"/>
                  <a:pt x="258618" y="762495"/>
                  <a:pt x="258652" y="760174"/>
                </a:cubicBezTo>
                <a:cubicBezTo>
                  <a:pt x="258586" y="750030"/>
                  <a:pt x="256266" y="742584"/>
                  <a:pt x="251616" y="733421"/>
                </a:cubicBezTo>
                <a:cubicBezTo>
                  <a:pt x="250163" y="729605"/>
                  <a:pt x="248880" y="725752"/>
                  <a:pt x="247613" y="721883"/>
                </a:cubicBezTo>
                <a:cubicBezTo>
                  <a:pt x="245789" y="716328"/>
                  <a:pt x="243913" y="710939"/>
                  <a:pt x="241291" y="705644"/>
                </a:cubicBezTo>
                <a:cubicBezTo>
                  <a:pt x="238691" y="700096"/>
                  <a:pt x="238136" y="695685"/>
                  <a:pt x="237557" y="689735"/>
                </a:cubicBezTo>
                <a:cubicBezTo>
                  <a:pt x="244977" y="685507"/>
                  <a:pt x="244977" y="685507"/>
                  <a:pt x="248492" y="685507"/>
                </a:cubicBezTo>
                <a:cubicBezTo>
                  <a:pt x="248492" y="684112"/>
                  <a:pt x="248492" y="682717"/>
                  <a:pt x="248492" y="681279"/>
                </a:cubicBezTo>
                <a:cubicBezTo>
                  <a:pt x="245914" y="680815"/>
                  <a:pt x="243337" y="680350"/>
                  <a:pt x="240681" y="679870"/>
                </a:cubicBezTo>
                <a:cubicBezTo>
                  <a:pt x="240681" y="678940"/>
                  <a:pt x="240681" y="678010"/>
                  <a:pt x="240681" y="677052"/>
                </a:cubicBezTo>
                <a:cubicBezTo>
                  <a:pt x="239827" y="676917"/>
                  <a:pt x="238973" y="676783"/>
                  <a:pt x="238094" y="676645"/>
                </a:cubicBezTo>
                <a:cubicBezTo>
                  <a:pt x="233442" y="675371"/>
                  <a:pt x="229939" y="673242"/>
                  <a:pt x="225841" y="670886"/>
                </a:cubicBezTo>
                <a:cubicBezTo>
                  <a:pt x="217808" y="666564"/>
                  <a:pt x="210635" y="664241"/>
                  <a:pt x="201531" y="662508"/>
                </a:cubicBezTo>
                <a:cubicBezTo>
                  <a:pt x="196896" y="661541"/>
                  <a:pt x="192682" y="660199"/>
                  <a:pt x="188252" y="658644"/>
                </a:cubicBezTo>
                <a:lnTo>
                  <a:pt x="182431" y="657327"/>
                </a:lnTo>
                <a:lnTo>
                  <a:pt x="182431" y="657613"/>
                </a:lnTo>
                <a:cubicBezTo>
                  <a:pt x="170575" y="657148"/>
                  <a:pt x="158718" y="656683"/>
                  <a:pt x="146503" y="656204"/>
                </a:cubicBezTo>
                <a:cubicBezTo>
                  <a:pt x="146503" y="657133"/>
                  <a:pt x="146503" y="658064"/>
                  <a:pt x="146503" y="659022"/>
                </a:cubicBezTo>
                <a:cubicBezTo>
                  <a:pt x="134359" y="662326"/>
                  <a:pt x="123013" y="663700"/>
                  <a:pt x="110378" y="663778"/>
                </a:cubicBezTo>
                <a:cubicBezTo>
                  <a:pt x="108435" y="663806"/>
                  <a:pt x="108435" y="663806"/>
                  <a:pt x="106453" y="663836"/>
                </a:cubicBezTo>
                <a:cubicBezTo>
                  <a:pt x="105231" y="663828"/>
                  <a:pt x="104009" y="663820"/>
                  <a:pt x="102751" y="663811"/>
                </a:cubicBezTo>
                <a:cubicBezTo>
                  <a:pt x="101117" y="663804"/>
                  <a:pt x="101117" y="663804"/>
                  <a:pt x="99449" y="663797"/>
                </a:cubicBezTo>
                <a:cubicBezTo>
                  <a:pt x="95696" y="663097"/>
                  <a:pt x="94265" y="661615"/>
                  <a:pt x="91828" y="659022"/>
                </a:cubicBezTo>
                <a:cubicBezTo>
                  <a:pt x="93890" y="659022"/>
                  <a:pt x="95953" y="659022"/>
                  <a:pt x="98077" y="659022"/>
                </a:cubicBezTo>
                <a:cubicBezTo>
                  <a:pt x="98077" y="659952"/>
                  <a:pt x="98077" y="660882"/>
                  <a:pt x="98077" y="661841"/>
                </a:cubicBezTo>
                <a:cubicBezTo>
                  <a:pt x="108735" y="662045"/>
                  <a:pt x="114063" y="662148"/>
                  <a:pt x="119023" y="661357"/>
                </a:cubicBezTo>
                <a:lnTo>
                  <a:pt x="119536" y="661197"/>
                </a:lnTo>
                <a:lnTo>
                  <a:pt x="109853" y="661639"/>
                </a:lnTo>
                <a:cubicBezTo>
                  <a:pt x="108764" y="661632"/>
                  <a:pt x="107675" y="661626"/>
                  <a:pt x="106552" y="661619"/>
                </a:cubicBezTo>
                <a:cubicBezTo>
                  <a:pt x="103877" y="661603"/>
                  <a:pt x="101203" y="661577"/>
                  <a:pt x="98528" y="661550"/>
                </a:cubicBezTo>
                <a:cubicBezTo>
                  <a:pt x="98528" y="660620"/>
                  <a:pt x="98528" y="659691"/>
                  <a:pt x="98528" y="658732"/>
                </a:cubicBezTo>
                <a:cubicBezTo>
                  <a:pt x="95435" y="658267"/>
                  <a:pt x="92342" y="657802"/>
                  <a:pt x="89155" y="657323"/>
                </a:cubicBezTo>
                <a:cubicBezTo>
                  <a:pt x="89155" y="656393"/>
                  <a:pt x="89155" y="655462"/>
                  <a:pt x="89155" y="654504"/>
                </a:cubicBezTo>
                <a:cubicBezTo>
                  <a:pt x="87790" y="653978"/>
                  <a:pt x="87790" y="653978"/>
                  <a:pt x="86397" y="653442"/>
                </a:cubicBezTo>
                <a:cubicBezTo>
                  <a:pt x="82415" y="651438"/>
                  <a:pt x="80039" y="649232"/>
                  <a:pt x="77049" y="646137"/>
                </a:cubicBezTo>
                <a:cubicBezTo>
                  <a:pt x="75611" y="644679"/>
                  <a:pt x="75611" y="644679"/>
                  <a:pt x="74145" y="643192"/>
                </a:cubicBezTo>
                <a:cubicBezTo>
                  <a:pt x="71972" y="640412"/>
                  <a:pt x="71972" y="640412"/>
                  <a:pt x="71972" y="636185"/>
                </a:cubicBezTo>
                <a:cubicBezTo>
                  <a:pt x="70941" y="636185"/>
                  <a:pt x="69910" y="636185"/>
                  <a:pt x="68848" y="636185"/>
                </a:cubicBezTo>
                <a:cubicBezTo>
                  <a:pt x="64250" y="621928"/>
                  <a:pt x="64695" y="609404"/>
                  <a:pt x="70410" y="595317"/>
                </a:cubicBezTo>
                <a:cubicBezTo>
                  <a:pt x="73096" y="591142"/>
                  <a:pt x="76144" y="587574"/>
                  <a:pt x="79782" y="584043"/>
                </a:cubicBezTo>
                <a:cubicBezTo>
                  <a:pt x="81205" y="582594"/>
                  <a:pt x="81205" y="582594"/>
                  <a:pt x="82656" y="581115"/>
                </a:cubicBezTo>
                <a:cubicBezTo>
                  <a:pt x="91488" y="574027"/>
                  <a:pt x="105133" y="571806"/>
                  <a:pt x="116694" y="572323"/>
                </a:cubicBezTo>
                <a:cubicBezTo>
                  <a:pt x="131556" y="574113"/>
                  <a:pt x="142046" y="580551"/>
                  <a:pt x="152031" y="590385"/>
                </a:cubicBezTo>
                <a:cubicBezTo>
                  <a:pt x="162272" y="600009"/>
                  <a:pt x="176992" y="605062"/>
                  <a:pt x="191474" y="605886"/>
                </a:cubicBezTo>
                <a:cubicBezTo>
                  <a:pt x="196845" y="606192"/>
                  <a:pt x="201203" y="606463"/>
                  <a:pt x="206314" y="608000"/>
                </a:cubicBezTo>
                <a:cubicBezTo>
                  <a:pt x="206314" y="608930"/>
                  <a:pt x="206314" y="609860"/>
                  <a:pt x="206314" y="610818"/>
                </a:cubicBezTo>
                <a:cubicBezTo>
                  <a:pt x="215689" y="610902"/>
                  <a:pt x="225058" y="610898"/>
                  <a:pt x="234433" y="610818"/>
                </a:cubicBezTo>
                <a:cubicBezTo>
                  <a:pt x="236112" y="610813"/>
                  <a:pt x="237791" y="610808"/>
                  <a:pt x="239522" y="610802"/>
                </a:cubicBezTo>
                <a:cubicBezTo>
                  <a:pt x="251005" y="610364"/>
                  <a:pt x="259257" y="606564"/>
                  <a:pt x="268799" y="600954"/>
                </a:cubicBezTo>
                <a:cubicBezTo>
                  <a:pt x="269770" y="600416"/>
                  <a:pt x="270740" y="599879"/>
                  <a:pt x="271740" y="599325"/>
                </a:cubicBezTo>
                <a:cubicBezTo>
                  <a:pt x="279452" y="594430"/>
                  <a:pt x="281420" y="587464"/>
                  <a:pt x="284420" y="579816"/>
                </a:cubicBezTo>
                <a:cubicBezTo>
                  <a:pt x="286047" y="576075"/>
                  <a:pt x="287725" y="572353"/>
                  <a:pt x="289399" y="568630"/>
                </a:cubicBezTo>
                <a:cubicBezTo>
                  <a:pt x="294095" y="558121"/>
                  <a:pt x="299004" y="547070"/>
                  <a:pt x="293958" y="535838"/>
                </a:cubicBezTo>
                <a:cubicBezTo>
                  <a:pt x="292436" y="533533"/>
                  <a:pt x="290781" y="531301"/>
                  <a:pt x="289107" y="529084"/>
                </a:cubicBezTo>
                <a:cubicBezTo>
                  <a:pt x="289107" y="528153"/>
                  <a:pt x="289107" y="527223"/>
                  <a:pt x="289107" y="526265"/>
                </a:cubicBezTo>
                <a:cubicBezTo>
                  <a:pt x="287560" y="525800"/>
                  <a:pt x="286014" y="525335"/>
                  <a:pt x="284420" y="524856"/>
                </a:cubicBezTo>
                <a:cubicBezTo>
                  <a:pt x="283905" y="523461"/>
                  <a:pt x="283389" y="522066"/>
                  <a:pt x="282858" y="520628"/>
                </a:cubicBezTo>
                <a:cubicBezTo>
                  <a:pt x="280750" y="518590"/>
                  <a:pt x="280750" y="518590"/>
                  <a:pt x="277977" y="516577"/>
                </a:cubicBezTo>
                <a:cubicBezTo>
                  <a:pt x="273591" y="513232"/>
                  <a:pt x="269227" y="509874"/>
                  <a:pt x="264925" y="506443"/>
                </a:cubicBezTo>
                <a:cubicBezTo>
                  <a:pt x="253596" y="497433"/>
                  <a:pt x="242132" y="488987"/>
                  <a:pt x="229746" y="481170"/>
                </a:cubicBezTo>
                <a:cubicBezTo>
                  <a:pt x="226846" y="479266"/>
                  <a:pt x="223950" y="477358"/>
                  <a:pt x="221057" y="475445"/>
                </a:cubicBezTo>
                <a:cubicBezTo>
                  <a:pt x="218227" y="473594"/>
                  <a:pt x="215396" y="471744"/>
                  <a:pt x="212563" y="469896"/>
                </a:cubicBezTo>
                <a:cubicBezTo>
                  <a:pt x="211351" y="469102"/>
                  <a:pt x="210138" y="468309"/>
                  <a:pt x="208889" y="467491"/>
                </a:cubicBezTo>
                <a:cubicBezTo>
                  <a:pt x="202848" y="463599"/>
                  <a:pt x="196732" y="459888"/>
                  <a:pt x="190406" y="456382"/>
                </a:cubicBezTo>
                <a:cubicBezTo>
                  <a:pt x="189263" y="455748"/>
                  <a:pt x="188119" y="455114"/>
                  <a:pt x="186942" y="454460"/>
                </a:cubicBezTo>
                <a:cubicBezTo>
                  <a:pt x="184648" y="453196"/>
                  <a:pt x="182348" y="451941"/>
                  <a:pt x="180041" y="450696"/>
                </a:cubicBezTo>
                <a:cubicBezTo>
                  <a:pt x="177292" y="449185"/>
                  <a:pt x="174612" y="447571"/>
                  <a:pt x="171948" y="445940"/>
                </a:cubicBezTo>
                <a:cubicBezTo>
                  <a:pt x="171948" y="445009"/>
                  <a:pt x="171948" y="444079"/>
                  <a:pt x="171948" y="443121"/>
                </a:cubicBezTo>
                <a:cubicBezTo>
                  <a:pt x="170804" y="442985"/>
                  <a:pt x="169660" y="442848"/>
                  <a:pt x="168482" y="442708"/>
                </a:cubicBezTo>
                <a:cubicBezTo>
                  <a:pt x="163547" y="441576"/>
                  <a:pt x="161063" y="439897"/>
                  <a:pt x="157107" y="437044"/>
                </a:cubicBezTo>
                <a:cubicBezTo>
                  <a:pt x="149345" y="431895"/>
                  <a:pt x="141843" y="429626"/>
                  <a:pt x="132559" y="427510"/>
                </a:cubicBezTo>
                <a:cubicBezTo>
                  <a:pt x="128067" y="426168"/>
                  <a:pt x="126607" y="425060"/>
                  <a:pt x="123522" y="421983"/>
                </a:cubicBezTo>
                <a:cubicBezTo>
                  <a:pt x="118310" y="419033"/>
                  <a:pt x="114076" y="418794"/>
                  <a:pt x="107986" y="418730"/>
                </a:cubicBezTo>
                <a:cubicBezTo>
                  <a:pt x="106174" y="418694"/>
                  <a:pt x="104362" y="418659"/>
                  <a:pt x="102494" y="418622"/>
                </a:cubicBezTo>
                <a:cubicBezTo>
                  <a:pt x="98715" y="418573"/>
                  <a:pt x="94936" y="418529"/>
                  <a:pt x="91157" y="418490"/>
                </a:cubicBezTo>
                <a:cubicBezTo>
                  <a:pt x="78470" y="418231"/>
                  <a:pt x="65485" y="417940"/>
                  <a:pt x="55277" y="410445"/>
                </a:cubicBezTo>
                <a:cubicBezTo>
                  <a:pt x="54084" y="409137"/>
                  <a:pt x="52893" y="407829"/>
                  <a:pt x="51665" y="406481"/>
                </a:cubicBezTo>
                <a:cubicBezTo>
                  <a:pt x="49752" y="404480"/>
                  <a:pt x="47831" y="402483"/>
                  <a:pt x="45904" y="400492"/>
                </a:cubicBezTo>
                <a:cubicBezTo>
                  <a:pt x="44996" y="399526"/>
                  <a:pt x="44088" y="398559"/>
                  <a:pt x="43152" y="397564"/>
                </a:cubicBezTo>
                <a:cubicBezTo>
                  <a:pt x="40865" y="395062"/>
                  <a:pt x="40865" y="395062"/>
                  <a:pt x="37605" y="393798"/>
                </a:cubicBezTo>
                <a:lnTo>
                  <a:pt x="38995" y="368712"/>
                </a:lnTo>
                <a:lnTo>
                  <a:pt x="38666" y="369724"/>
                </a:lnTo>
                <a:cubicBezTo>
                  <a:pt x="37003" y="374506"/>
                  <a:pt x="36202" y="379113"/>
                  <a:pt x="35542" y="384081"/>
                </a:cubicBezTo>
                <a:cubicBezTo>
                  <a:pt x="30313" y="376119"/>
                  <a:pt x="31188" y="366593"/>
                  <a:pt x="33326" y="357791"/>
                </a:cubicBezTo>
                <a:cubicBezTo>
                  <a:pt x="37176" y="347767"/>
                  <a:pt x="44536" y="340769"/>
                  <a:pt x="52725" y="333349"/>
                </a:cubicBezTo>
                <a:lnTo>
                  <a:pt x="55222" y="334475"/>
                </a:lnTo>
                <a:lnTo>
                  <a:pt x="56222" y="333347"/>
                </a:lnTo>
                <a:lnTo>
                  <a:pt x="55871" y="333347"/>
                </a:lnTo>
                <a:lnTo>
                  <a:pt x="56346" y="333207"/>
                </a:lnTo>
                <a:lnTo>
                  <a:pt x="56351" y="333202"/>
                </a:lnTo>
                <a:lnTo>
                  <a:pt x="56365" y="333202"/>
                </a:lnTo>
                <a:lnTo>
                  <a:pt x="79571" y="326360"/>
                </a:lnTo>
                <a:cubicBezTo>
                  <a:pt x="87782" y="326037"/>
                  <a:pt x="96164" y="327572"/>
                  <a:pt x="104297" y="330529"/>
                </a:cubicBezTo>
                <a:lnTo>
                  <a:pt x="107170" y="334417"/>
                </a:lnTo>
                <a:lnTo>
                  <a:pt x="109366" y="336046"/>
                </a:lnTo>
                <a:lnTo>
                  <a:pt x="109463" y="336020"/>
                </a:lnTo>
                <a:lnTo>
                  <a:pt x="109463" y="336118"/>
                </a:lnTo>
                <a:lnTo>
                  <a:pt x="115226" y="340394"/>
                </a:lnTo>
                <a:lnTo>
                  <a:pt x="114010" y="340120"/>
                </a:lnTo>
                <a:lnTo>
                  <a:pt x="133285" y="357423"/>
                </a:lnTo>
                <a:cubicBezTo>
                  <a:pt x="142471" y="373187"/>
                  <a:pt x="155564" y="382744"/>
                  <a:pt x="173509" y="389571"/>
                </a:cubicBezTo>
                <a:cubicBezTo>
                  <a:pt x="176254" y="390785"/>
                  <a:pt x="178988" y="392017"/>
                  <a:pt x="181711" y="393270"/>
                </a:cubicBezTo>
                <a:cubicBezTo>
                  <a:pt x="182964" y="393833"/>
                  <a:pt x="184216" y="394396"/>
                  <a:pt x="185507" y="394976"/>
                </a:cubicBezTo>
                <a:cubicBezTo>
                  <a:pt x="187897" y="396058"/>
                  <a:pt x="190281" y="397151"/>
                  <a:pt x="192658" y="398257"/>
                </a:cubicBezTo>
                <a:cubicBezTo>
                  <a:pt x="193749" y="398762"/>
                  <a:pt x="194841" y="399267"/>
                  <a:pt x="195966" y="399788"/>
                </a:cubicBezTo>
                <a:cubicBezTo>
                  <a:pt x="196912" y="400231"/>
                  <a:pt x="197858" y="400674"/>
                  <a:pt x="198833" y="401131"/>
                </a:cubicBezTo>
                <a:cubicBezTo>
                  <a:pt x="201808" y="402326"/>
                  <a:pt x="204701" y="403032"/>
                  <a:pt x="207877" y="403663"/>
                </a:cubicBezTo>
                <a:cubicBezTo>
                  <a:pt x="207877" y="404593"/>
                  <a:pt x="207877" y="405523"/>
                  <a:pt x="207877" y="406481"/>
                </a:cubicBezTo>
                <a:cubicBezTo>
                  <a:pt x="221233" y="411377"/>
                  <a:pt x="234752" y="415503"/>
                  <a:pt x="248492" y="419428"/>
                </a:cubicBezTo>
                <a:cubicBezTo>
                  <a:pt x="250298" y="419947"/>
                  <a:pt x="252104" y="420466"/>
                  <a:pt x="253965" y="421000"/>
                </a:cubicBezTo>
                <a:cubicBezTo>
                  <a:pt x="258388" y="422270"/>
                  <a:pt x="262812" y="423537"/>
                  <a:pt x="267237" y="424801"/>
                </a:cubicBezTo>
                <a:lnTo>
                  <a:pt x="267237" y="426451"/>
                </a:lnTo>
                <a:lnTo>
                  <a:pt x="288701" y="429217"/>
                </a:lnTo>
                <a:cubicBezTo>
                  <a:pt x="288701" y="430147"/>
                  <a:pt x="288701" y="431078"/>
                  <a:pt x="288701" y="432036"/>
                </a:cubicBezTo>
                <a:cubicBezTo>
                  <a:pt x="301487" y="433472"/>
                  <a:pt x="314148" y="433662"/>
                  <a:pt x="327010" y="433628"/>
                </a:cubicBezTo>
                <a:cubicBezTo>
                  <a:pt x="330502" y="433621"/>
                  <a:pt x="333994" y="433628"/>
                  <a:pt x="337486" y="433637"/>
                </a:cubicBezTo>
                <a:cubicBezTo>
                  <a:pt x="339734" y="433637"/>
                  <a:pt x="341982" y="433635"/>
                  <a:pt x="344229" y="433632"/>
                </a:cubicBezTo>
                <a:cubicBezTo>
                  <a:pt x="347246" y="433630"/>
                  <a:pt x="347246" y="433630"/>
                  <a:pt x="350323" y="433627"/>
                </a:cubicBezTo>
                <a:cubicBezTo>
                  <a:pt x="355445" y="433459"/>
                  <a:pt x="360220" y="432915"/>
                  <a:pt x="365245" y="432036"/>
                </a:cubicBezTo>
                <a:lnTo>
                  <a:pt x="360797" y="433759"/>
                </a:lnTo>
                <a:lnTo>
                  <a:pt x="365650" y="433257"/>
                </a:lnTo>
                <a:cubicBezTo>
                  <a:pt x="366166" y="431861"/>
                  <a:pt x="366682" y="430466"/>
                  <a:pt x="367213" y="429029"/>
                </a:cubicBezTo>
                <a:cubicBezTo>
                  <a:pt x="369854" y="427628"/>
                  <a:pt x="372501" y="426234"/>
                  <a:pt x="375188" y="424906"/>
                </a:cubicBezTo>
                <a:cubicBezTo>
                  <a:pt x="390245" y="417204"/>
                  <a:pt x="397438" y="403183"/>
                  <a:pt x="404704" y="389571"/>
                </a:cubicBezTo>
                <a:cubicBezTo>
                  <a:pt x="405219" y="389105"/>
                  <a:pt x="405734" y="388641"/>
                  <a:pt x="406265" y="388161"/>
                </a:cubicBezTo>
                <a:cubicBezTo>
                  <a:pt x="406663" y="382152"/>
                  <a:pt x="406555" y="376125"/>
                  <a:pt x="406559" y="370106"/>
                </a:cubicBezTo>
                <a:cubicBezTo>
                  <a:pt x="406578" y="368412"/>
                  <a:pt x="406597" y="366718"/>
                  <a:pt x="406617" y="364973"/>
                </a:cubicBezTo>
                <a:cubicBezTo>
                  <a:pt x="406620" y="363344"/>
                  <a:pt x="406622" y="361715"/>
                  <a:pt x="406626" y="360038"/>
                </a:cubicBezTo>
                <a:cubicBezTo>
                  <a:pt x="406632" y="358541"/>
                  <a:pt x="406638" y="357045"/>
                  <a:pt x="406645" y="355503"/>
                </a:cubicBezTo>
                <a:cubicBezTo>
                  <a:pt x="406264" y="351503"/>
                  <a:pt x="405326" y="349318"/>
                  <a:pt x="403142" y="345885"/>
                </a:cubicBezTo>
                <a:cubicBezTo>
                  <a:pt x="402583" y="343484"/>
                  <a:pt x="402067" y="341075"/>
                  <a:pt x="401579" y="338663"/>
                </a:cubicBezTo>
                <a:cubicBezTo>
                  <a:pt x="399365" y="330323"/>
                  <a:pt x="395538" y="323370"/>
                  <a:pt x="390938" y="315939"/>
                </a:cubicBezTo>
                <a:cubicBezTo>
                  <a:pt x="390290" y="314890"/>
                  <a:pt x="389642" y="313842"/>
                  <a:pt x="388976" y="312762"/>
                </a:cubicBezTo>
                <a:cubicBezTo>
                  <a:pt x="385623" y="307500"/>
                  <a:pt x="382070" y="302607"/>
                  <a:pt x="377934" y="297817"/>
                </a:cubicBezTo>
                <a:cubicBezTo>
                  <a:pt x="373788" y="292978"/>
                  <a:pt x="371423" y="288111"/>
                  <a:pt x="368775" y="282470"/>
                </a:cubicBezTo>
                <a:cubicBezTo>
                  <a:pt x="366035" y="278585"/>
                  <a:pt x="362994" y="274937"/>
                  <a:pt x="359890" y="271284"/>
                </a:cubicBezTo>
                <a:cubicBezTo>
                  <a:pt x="359059" y="270296"/>
                  <a:pt x="358230" y="269307"/>
                  <a:pt x="357374" y="268288"/>
                </a:cubicBezTo>
                <a:cubicBezTo>
                  <a:pt x="351312" y="261177"/>
                  <a:pt x="344882" y="254704"/>
                  <a:pt x="337533" y="248649"/>
                </a:cubicBezTo>
                <a:cubicBezTo>
                  <a:pt x="336767" y="247896"/>
                  <a:pt x="336002" y="247144"/>
                  <a:pt x="335214" y="246369"/>
                </a:cubicBezTo>
                <a:cubicBezTo>
                  <a:pt x="332597" y="243963"/>
                  <a:pt x="332597" y="243963"/>
                  <a:pt x="327085" y="242571"/>
                </a:cubicBezTo>
                <a:cubicBezTo>
                  <a:pt x="309670" y="236923"/>
                  <a:pt x="296614" y="222751"/>
                  <a:pt x="288785" y="207968"/>
                </a:cubicBezTo>
                <a:cubicBezTo>
                  <a:pt x="286673" y="202851"/>
                  <a:pt x="286348" y="197968"/>
                  <a:pt x="286373" y="192544"/>
                </a:cubicBezTo>
                <a:cubicBezTo>
                  <a:pt x="286377" y="191437"/>
                  <a:pt x="286381" y="190330"/>
                  <a:pt x="286385" y="189190"/>
                </a:cubicBezTo>
                <a:cubicBezTo>
                  <a:pt x="286881" y="178340"/>
                  <a:pt x="291581" y="171728"/>
                  <a:pt x="300042" y="164095"/>
                </a:cubicBezTo>
                <a:cubicBezTo>
                  <a:pt x="301386" y="162752"/>
                  <a:pt x="301386" y="162752"/>
                  <a:pt x="302757" y="161381"/>
                </a:cubicBezTo>
                <a:cubicBezTo>
                  <a:pt x="312597" y="152504"/>
                  <a:pt x="325185" y="152675"/>
                  <a:pt x="338411" y="152293"/>
                </a:cubicBezTo>
                <a:cubicBezTo>
                  <a:pt x="350839" y="152463"/>
                  <a:pt x="359094" y="154554"/>
                  <a:pt x="368482" y="161893"/>
                </a:cubicBezTo>
                <a:cubicBezTo>
                  <a:pt x="369609" y="163085"/>
                  <a:pt x="370737" y="164277"/>
                  <a:pt x="371899" y="165505"/>
                </a:cubicBezTo>
                <a:cubicBezTo>
                  <a:pt x="372962" y="166522"/>
                  <a:pt x="374026" y="167539"/>
                  <a:pt x="375121" y="168587"/>
                </a:cubicBezTo>
                <a:cubicBezTo>
                  <a:pt x="381050" y="176351"/>
                  <a:pt x="384520" y="184328"/>
                  <a:pt x="384982" y="193777"/>
                </a:cubicBezTo>
                <a:cubicBezTo>
                  <a:pt x="385464" y="201192"/>
                  <a:pt x="387638" y="207607"/>
                  <a:pt x="390352" y="214563"/>
                </a:cubicBezTo>
                <a:cubicBezTo>
                  <a:pt x="390934" y="216079"/>
                  <a:pt x="390934" y="216079"/>
                  <a:pt x="391529" y="217626"/>
                </a:cubicBezTo>
                <a:cubicBezTo>
                  <a:pt x="394082" y="223926"/>
                  <a:pt x="397412" y="228969"/>
                  <a:pt x="401579" y="234556"/>
                </a:cubicBezTo>
                <a:cubicBezTo>
                  <a:pt x="401579" y="235952"/>
                  <a:pt x="401579" y="237347"/>
                  <a:pt x="401579" y="238784"/>
                </a:cubicBezTo>
                <a:cubicBezTo>
                  <a:pt x="402884" y="239263"/>
                  <a:pt x="402884" y="239263"/>
                  <a:pt x="404215" y="239753"/>
                </a:cubicBezTo>
                <a:cubicBezTo>
                  <a:pt x="410099" y="242765"/>
                  <a:pt x="414395" y="246733"/>
                  <a:pt x="417811" y="251996"/>
                </a:cubicBezTo>
                <a:cubicBezTo>
                  <a:pt x="420462" y="255897"/>
                  <a:pt x="423407" y="258959"/>
                  <a:pt x="426866" y="262300"/>
                </a:cubicBezTo>
                <a:cubicBezTo>
                  <a:pt x="435101" y="270407"/>
                  <a:pt x="442641" y="278936"/>
                  <a:pt x="450097" y="287628"/>
                </a:cubicBezTo>
                <a:cubicBezTo>
                  <a:pt x="453081" y="291117"/>
                  <a:pt x="453081" y="291117"/>
                  <a:pt x="457425" y="293920"/>
                </a:cubicBezTo>
                <a:cubicBezTo>
                  <a:pt x="458585" y="294792"/>
                  <a:pt x="459745" y="295664"/>
                  <a:pt x="460940" y="296562"/>
                </a:cubicBezTo>
                <a:cubicBezTo>
                  <a:pt x="460940" y="297957"/>
                  <a:pt x="460940" y="299352"/>
                  <a:pt x="460940" y="300790"/>
                </a:cubicBezTo>
                <a:cubicBezTo>
                  <a:pt x="465063" y="302782"/>
                  <a:pt x="468862" y="304133"/>
                  <a:pt x="473437" y="305018"/>
                </a:cubicBezTo>
                <a:cubicBezTo>
                  <a:pt x="473437" y="305947"/>
                  <a:pt x="473437" y="306877"/>
                  <a:pt x="473437" y="307836"/>
                </a:cubicBezTo>
                <a:cubicBezTo>
                  <a:pt x="475581" y="308519"/>
                  <a:pt x="477730" y="309193"/>
                  <a:pt x="479881" y="309862"/>
                </a:cubicBezTo>
                <a:cubicBezTo>
                  <a:pt x="481077" y="310237"/>
                  <a:pt x="482273" y="310614"/>
                  <a:pt x="483505" y="311001"/>
                </a:cubicBezTo>
                <a:cubicBezTo>
                  <a:pt x="505448" y="316843"/>
                  <a:pt x="527690" y="314359"/>
                  <a:pt x="548419" y="306427"/>
                </a:cubicBezTo>
                <a:cubicBezTo>
                  <a:pt x="549548" y="305998"/>
                  <a:pt x="550678" y="305569"/>
                  <a:pt x="551842" y="305127"/>
                </a:cubicBezTo>
                <a:cubicBezTo>
                  <a:pt x="555376" y="303227"/>
                  <a:pt x="557584" y="300980"/>
                  <a:pt x="560232" y="298148"/>
                </a:cubicBezTo>
                <a:cubicBezTo>
                  <a:pt x="561137" y="297192"/>
                  <a:pt x="562041" y="296236"/>
                  <a:pt x="562972" y="295252"/>
                </a:cubicBezTo>
                <a:cubicBezTo>
                  <a:pt x="564755" y="293274"/>
                  <a:pt x="566459" y="291237"/>
                  <a:pt x="568086" y="289152"/>
                </a:cubicBezTo>
                <a:cubicBezTo>
                  <a:pt x="568813" y="288342"/>
                  <a:pt x="569539" y="287532"/>
                  <a:pt x="570289" y="286697"/>
                </a:cubicBezTo>
                <a:cubicBezTo>
                  <a:pt x="571319" y="286697"/>
                  <a:pt x="572350" y="286697"/>
                  <a:pt x="573413" y="286697"/>
                </a:cubicBezTo>
                <a:cubicBezTo>
                  <a:pt x="577408" y="276984"/>
                  <a:pt x="577197" y="267284"/>
                  <a:pt x="577220" y="257016"/>
                </a:cubicBezTo>
                <a:cubicBezTo>
                  <a:pt x="577227" y="255625"/>
                  <a:pt x="577227" y="255625"/>
                  <a:pt x="577235" y="254206"/>
                </a:cubicBezTo>
                <a:cubicBezTo>
                  <a:pt x="577257" y="237553"/>
                  <a:pt x="574604" y="222055"/>
                  <a:pt x="569443" y="206049"/>
                </a:cubicBezTo>
                <a:cubicBezTo>
                  <a:pt x="568726" y="203553"/>
                  <a:pt x="568726" y="203553"/>
                  <a:pt x="568726" y="200735"/>
                </a:cubicBezTo>
                <a:cubicBezTo>
                  <a:pt x="567695" y="200735"/>
                  <a:pt x="566664" y="200735"/>
                  <a:pt x="565602" y="200735"/>
                </a:cubicBezTo>
                <a:cubicBezTo>
                  <a:pt x="563274" y="195295"/>
                  <a:pt x="561092" y="190108"/>
                  <a:pt x="559549" y="184441"/>
                </a:cubicBezTo>
                <a:cubicBezTo>
                  <a:pt x="555572" y="173477"/>
                  <a:pt x="547043" y="167105"/>
                  <a:pt x="537484" y="159867"/>
                </a:cubicBezTo>
                <a:cubicBezTo>
                  <a:pt x="533579" y="156609"/>
                  <a:pt x="533579" y="156609"/>
                  <a:pt x="531235" y="154230"/>
                </a:cubicBezTo>
                <a:cubicBezTo>
                  <a:pt x="531235" y="153301"/>
                  <a:pt x="531235" y="152371"/>
                  <a:pt x="531235" y="151412"/>
                </a:cubicBezTo>
                <a:cubicBezTo>
                  <a:pt x="529689" y="150947"/>
                  <a:pt x="528143" y="150482"/>
                  <a:pt x="526549" y="150003"/>
                </a:cubicBezTo>
                <a:cubicBezTo>
                  <a:pt x="519904" y="137298"/>
                  <a:pt x="519105" y="120357"/>
                  <a:pt x="524304" y="107198"/>
                </a:cubicBezTo>
                <a:cubicBezTo>
                  <a:pt x="529443" y="97376"/>
                  <a:pt x="535781" y="90193"/>
                  <a:pt x="547052" y="85972"/>
                </a:cubicBezTo>
                <a:cubicBezTo>
                  <a:pt x="559924" y="81835"/>
                  <a:pt x="575221" y="79746"/>
                  <a:pt x="588460" y="83538"/>
                </a:cubicBezTo>
                <a:cubicBezTo>
                  <a:pt x="601643" y="89713"/>
                  <a:pt x="611835" y="99450"/>
                  <a:pt x="617152" y="111954"/>
                </a:cubicBezTo>
                <a:cubicBezTo>
                  <a:pt x="617935" y="116052"/>
                  <a:pt x="617954" y="120024"/>
                  <a:pt x="617884" y="124175"/>
                </a:cubicBezTo>
                <a:cubicBezTo>
                  <a:pt x="617896" y="125307"/>
                  <a:pt x="617906" y="126440"/>
                  <a:pt x="617917" y="127607"/>
                </a:cubicBezTo>
                <a:cubicBezTo>
                  <a:pt x="617963" y="132394"/>
                  <a:pt x="617938" y="137181"/>
                  <a:pt x="617919" y="141969"/>
                </a:cubicBezTo>
                <a:cubicBezTo>
                  <a:pt x="617899" y="160184"/>
                  <a:pt x="619422" y="175572"/>
                  <a:pt x="630625" y="191311"/>
                </a:cubicBezTo>
                <a:cubicBezTo>
                  <a:pt x="633753" y="195891"/>
                  <a:pt x="636431" y="199900"/>
                  <a:pt x="637850" y="205139"/>
                </a:cubicBezTo>
                <a:cubicBezTo>
                  <a:pt x="638615" y="209623"/>
                  <a:pt x="638615" y="209623"/>
                  <a:pt x="643708" y="212009"/>
                </a:cubicBezTo>
                <a:cubicBezTo>
                  <a:pt x="645380" y="214563"/>
                  <a:pt x="645380" y="214563"/>
                  <a:pt x="647027" y="217645"/>
                </a:cubicBezTo>
                <a:cubicBezTo>
                  <a:pt x="652549" y="227016"/>
                  <a:pt x="660443" y="235696"/>
                  <a:pt x="670264" y="241603"/>
                </a:cubicBezTo>
                <a:cubicBezTo>
                  <a:pt x="670264" y="242532"/>
                  <a:pt x="670264" y="243462"/>
                  <a:pt x="670264" y="244421"/>
                </a:cubicBezTo>
                <a:cubicBezTo>
                  <a:pt x="672036" y="244857"/>
                  <a:pt x="673808" y="245293"/>
                  <a:pt x="675634" y="245742"/>
                </a:cubicBezTo>
                <a:cubicBezTo>
                  <a:pt x="681199" y="247239"/>
                  <a:pt x="681199" y="247239"/>
                  <a:pt x="682761" y="248649"/>
                </a:cubicBezTo>
                <a:cubicBezTo>
                  <a:pt x="704487" y="252065"/>
                  <a:pt x="732606" y="256402"/>
                  <a:pt x="752092" y="245076"/>
                </a:cubicBezTo>
                <a:cubicBezTo>
                  <a:pt x="754252" y="243599"/>
                  <a:pt x="756372" y="242073"/>
                  <a:pt x="758433" y="240485"/>
                </a:cubicBezTo>
                <a:cubicBezTo>
                  <a:pt x="760867" y="238784"/>
                  <a:pt x="760867" y="238784"/>
                  <a:pt x="763991" y="238784"/>
                </a:cubicBezTo>
                <a:cubicBezTo>
                  <a:pt x="764647" y="237296"/>
                  <a:pt x="764647" y="237296"/>
                  <a:pt x="765315" y="235778"/>
                </a:cubicBezTo>
                <a:cubicBezTo>
                  <a:pt x="767151" y="231659"/>
                  <a:pt x="769030" y="227557"/>
                  <a:pt x="770923" y="223459"/>
                </a:cubicBezTo>
                <a:cubicBezTo>
                  <a:pt x="771608" y="221966"/>
                  <a:pt x="772292" y="220472"/>
                  <a:pt x="772998" y="218934"/>
                </a:cubicBezTo>
                <a:cubicBezTo>
                  <a:pt x="774429" y="215885"/>
                  <a:pt x="775968" y="212878"/>
                  <a:pt x="777562" y="209895"/>
                </a:cubicBezTo>
                <a:cubicBezTo>
                  <a:pt x="787607" y="185732"/>
                  <a:pt x="788559" y="149501"/>
                  <a:pt x="781175" y="124637"/>
                </a:cubicBezTo>
                <a:cubicBezTo>
                  <a:pt x="780144" y="124637"/>
                  <a:pt x="779113" y="124637"/>
                  <a:pt x="778051" y="124637"/>
                </a:cubicBezTo>
                <a:cubicBezTo>
                  <a:pt x="768501" y="110080"/>
                  <a:pt x="762898" y="96653"/>
                  <a:pt x="767116" y="79542"/>
                </a:cubicBezTo>
                <a:cubicBezTo>
                  <a:pt x="772286" y="69057"/>
                  <a:pt x="781456" y="58252"/>
                  <a:pt x="793379" y="54000"/>
                </a:cubicBezTo>
                <a:cubicBezTo>
                  <a:pt x="808369" y="49250"/>
                  <a:pt x="826058" y="49579"/>
                  <a:pt x="840688" y="55503"/>
                </a:cubicBezTo>
                <a:cubicBezTo>
                  <a:pt x="845183" y="57759"/>
                  <a:pt x="848037" y="60575"/>
                  <a:pt x="851470" y="64040"/>
                </a:cubicBezTo>
                <a:cubicBezTo>
                  <a:pt x="852721" y="65272"/>
                  <a:pt x="852721" y="65272"/>
                  <a:pt x="853997" y="66529"/>
                </a:cubicBezTo>
                <a:cubicBezTo>
                  <a:pt x="858396" y="71505"/>
                  <a:pt x="860490" y="76640"/>
                  <a:pt x="861488" y="82057"/>
                </a:cubicBezTo>
                <a:lnTo>
                  <a:pt x="861937" y="90492"/>
                </a:lnTo>
                <a:lnTo>
                  <a:pt x="863826" y="100715"/>
                </a:lnTo>
                <a:cubicBezTo>
                  <a:pt x="862141" y="107853"/>
                  <a:pt x="859866" y="114857"/>
                  <a:pt x="857577" y="121853"/>
                </a:cubicBezTo>
                <a:cubicBezTo>
                  <a:pt x="857062" y="121853"/>
                  <a:pt x="856547" y="121853"/>
                  <a:pt x="856015" y="121853"/>
                </a:cubicBezTo>
                <a:cubicBezTo>
                  <a:pt x="855731" y="120401"/>
                  <a:pt x="855731" y="120401"/>
                  <a:pt x="855442" y="118919"/>
                </a:cubicBezTo>
                <a:lnTo>
                  <a:pt x="855417" y="118798"/>
                </a:lnTo>
                <a:lnTo>
                  <a:pt x="856157" y="124637"/>
                </a:lnTo>
                <a:lnTo>
                  <a:pt x="850623" y="134701"/>
                </a:lnTo>
                <a:lnTo>
                  <a:pt x="851325" y="135968"/>
                </a:lnTo>
                <a:cubicBezTo>
                  <a:pt x="850851" y="137246"/>
                  <a:pt x="850376" y="138525"/>
                  <a:pt x="849886" y="139843"/>
                </a:cubicBezTo>
                <a:cubicBezTo>
                  <a:pt x="848171" y="144505"/>
                  <a:pt x="847798" y="148002"/>
                  <a:pt x="847786" y="152889"/>
                </a:cubicBezTo>
                <a:cubicBezTo>
                  <a:pt x="847779" y="154500"/>
                  <a:pt x="847773" y="156109"/>
                  <a:pt x="847767" y="157768"/>
                </a:cubicBezTo>
                <a:cubicBezTo>
                  <a:pt x="847782" y="159468"/>
                  <a:pt x="847796" y="161167"/>
                  <a:pt x="847810" y="162919"/>
                </a:cubicBezTo>
                <a:cubicBezTo>
                  <a:pt x="847821" y="165546"/>
                  <a:pt x="847821" y="165546"/>
                  <a:pt x="847832" y="168227"/>
                </a:cubicBezTo>
                <a:cubicBezTo>
                  <a:pt x="847980" y="181934"/>
                  <a:pt x="849003" y="195419"/>
                  <a:pt x="850903" y="209013"/>
                </a:cubicBezTo>
                <a:lnTo>
                  <a:pt x="852880" y="224692"/>
                </a:lnTo>
                <a:lnTo>
                  <a:pt x="854595" y="224692"/>
                </a:lnTo>
                <a:cubicBezTo>
                  <a:pt x="855086" y="225542"/>
                  <a:pt x="855577" y="226392"/>
                  <a:pt x="856083" y="227268"/>
                </a:cubicBezTo>
                <a:cubicBezTo>
                  <a:pt x="862358" y="237839"/>
                  <a:pt x="866924" y="242785"/>
                  <a:pt x="879588" y="247239"/>
                </a:cubicBezTo>
                <a:cubicBezTo>
                  <a:pt x="881642" y="248025"/>
                  <a:pt x="883692" y="248817"/>
                  <a:pt x="885739" y="249618"/>
                </a:cubicBezTo>
                <a:cubicBezTo>
                  <a:pt x="887318" y="250227"/>
                  <a:pt x="888897" y="250838"/>
                  <a:pt x="890523" y="251467"/>
                </a:cubicBezTo>
                <a:cubicBezTo>
                  <a:pt x="890523" y="252397"/>
                  <a:pt x="890523" y="253327"/>
                  <a:pt x="890523" y="254285"/>
                </a:cubicBezTo>
                <a:cubicBezTo>
                  <a:pt x="900347" y="257061"/>
                  <a:pt x="910127" y="259425"/>
                  <a:pt x="920203" y="261332"/>
                </a:cubicBezTo>
                <a:cubicBezTo>
                  <a:pt x="920203" y="261796"/>
                  <a:pt x="920203" y="262262"/>
                  <a:pt x="920203" y="262741"/>
                </a:cubicBezTo>
                <a:cubicBezTo>
                  <a:pt x="917111" y="262741"/>
                  <a:pt x="914018" y="262741"/>
                  <a:pt x="910831" y="262741"/>
                </a:cubicBezTo>
                <a:lnTo>
                  <a:pt x="910831" y="262864"/>
                </a:lnTo>
                <a:lnTo>
                  <a:pt x="927993" y="264177"/>
                </a:lnTo>
                <a:lnTo>
                  <a:pt x="939273" y="265285"/>
                </a:lnTo>
                <a:lnTo>
                  <a:pt x="940456" y="265191"/>
                </a:lnTo>
                <a:cubicBezTo>
                  <a:pt x="962552" y="263054"/>
                  <a:pt x="974979" y="255295"/>
                  <a:pt x="991622" y="242329"/>
                </a:cubicBezTo>
                <a:lnTo>
                  <a:pt x="1000803" y="236505"/>
                </a:lnTo>
                <a:lnTo>
                  <a:pt x="999806" y="236055"/>
                </a:lnTo>
                <a:cubicBezTo>
                  <a:pt x="1000902" y="234997"/>
                  <a:pt x="1001997" y="233941"/>
                  <a:pt x="1003126" y="232851"/>
                </a:cubicBezTo>
                <a:cubicBezTo>
                  <a:pt x="1012364" y="223880"/>
                  <a:pt x="1021184" y="214752"/>
                  <a:pt x="1029487" y="205052"/>
                </a:cubicBezTo>
                <a:lnTo>
                  <a:pt x="1029872" y="206442"/>
                </a:lnTo>
                <a:lnTo>
                  <a:pt x="1031614" y="203719"/>
                </a:lnTo>
                <a:cubicBezTo>
                  <a:pt x="1033221" y="199204"/>
                  <a:pt x="1035713" y="196017"/>
                  <a:pt x="1038924" y="192280"/>
                </a:cubicBezTo>
                <a:cubicBezTo>
                  <a:pt x="1039956" y="191815"/>
                  <a:pt x="1040987" y="191349"/>
                  <a:pt x="1042049" y="190870"/>
                </a:cubicBezTo>
                <a:cubicBezTo>
                  <a:pt x="1043161" y="188473"/>
                  <a:pt x="1043161" y="188473"/>
                  <a:pt x="1044294" y="186026"/>
                </a:cubicBezTo>
                <a:cubicBezTo>
                  <a:pt x="1046735" y="181006"/>
                  <a:pt x="1046735" y="181006"/>
                  <a:pt x="1051422" y="178188"/>
                </a:cubicBezTo>
                <a:cubicBezTo>
                  <a:pt x="1052553" y="175286"/>
                  <a:pt x="1052553" y="175286"/>
                  <a:pt x="1052984" y="172551"/>
                </a:cubicBezTo>
                <a:cubicBezTo>
                  <a:pt x="1054014" y="172551"/>
                  <a:pt x="1055046" y="172551"/>
                  <a:pt x="1056108" y="172551"/>
                </a:cubicBezTo>
                <a:cubicBezTo>
                  <a:pt x="1057139" y="169295"/>
                  <a:pt x="1058170" y="166040"/>
                  <a:pt x="1059232" y="162686"/>
                </a:cubicBezTo>
                <a:cubicBezTo>
                  <a:pt x="1060263" y="162686"/>
                  <a:pt x="1061295" y="162686"/>
                  <a:pt x="1062357" y="162686"/>
                </a:cubicBezTo>
                <a:cubicBezTo>
                  <a:pt x="1062755" y="161484"/>
                  <a:pt x="1062755" y="161484"/>
                  <a:pt x="1063162" y="160258"/>
                </a:cubicBezTo>
                <a:cubicBezTo>
                  <a:pt x="1065716" y="152917"/>
                  <a:pt x="1068813" y="146686"/>
                  <a:pt x="1073292" y="140138"/>
                </a:cubicBezTo>
                <a:cubicBezTo>
                  <a:pt x="1074322" y="140138"/>
                  <a:pt x="1075353" y="140138"/>
                  <a:pt x="1076415" y="140138"/>
                </a:cubicBezTo>
                <a:cubicBezTo>
                  <a:pt x="1079808" y="132748"/>
                  <a:pt x="1082509" y="125160"/>
                  <a:pt x="1085294" y="117569"/>
                </a:cubicBezTo>
                <a:cubicBezTo>
                  <a:pt x="1085972" y="116181"/>
                  <a:pt x="1086651" y="114793"/>
                  <a:pt x="1087350" y="113363"/>
                </a:cubicBezTo>
                <a:cubicBezTo>
                  <a:pt x="1089671" y="112666"/>
                  <a:pt x="1089671" y="112666"/>
                  <a:pt x="1092037" y="111954"/>
                </a:cubicBezTo>
                <a:cubicBezTo>
                  <a:pt x="1092230" y="110879"/>
                  <a:pt x="1092423" y="109803"/>
                  <a:pt x="1092623" y="108695"/>
                </a:cubicBezTo>
                <a:cubicBezTo>
                  <a:pt x="1093599" y="104908"/>
                  <a:pt x="1093599" y="104908"/>
                  <a:pt x="1096723" y="100680"/>
                </a:cubicBezTo>
                <a:cubicBezTo>
                  <a:pt x="1097207" y="99140"/>
                  <a:pt x="1097689" y="97599"/>
                  <a:pt x="1098188" y="96013"/>
                </a:cubicBezTo>
                <a:cubicBezTo>
                  <a:pt x="1099847" y="90815"/>
                  <a:pt x="1099847" y="90815"/>
                  <a:pt x="1102288" y="87029"/>
                </a:cubicBezTo>
                <a:cubicBezTo>
                  <a:pt x="1106061" y="79186"/>
                  <a:pt x="1107564" y="69424"/>
                  <a:pt x="1104534" y="61222"/>
                </a:cubicBezTo>
                <a:cubicBezTo>
                  <a:pt x="1104409" y="59341"/>
                  <a:pt x="1104366" y="57454"/>
                  <a:pt x="1104381" y="55569"/>
                </a:cubicBezTo>
                <a:cubicBezTo>
                  <a:pt x="1104386" y="54501"/>
                  <a:pt x="1104391" y="53434"/>
                  <a:pt x="1104397" y="52335"/>
                </a:cubicBezTo>
                <a:cubicBezTo>
                  <a:pt x="1104410" y="51228"/>
                  <a:pt x="1104423" y="50120"/>
                  <a:pt x="1104436" y="48979"/>
                </a:cubicBezTo>
                <a:cubicBezTo>
                  <a:pt x="1104443" y="47856"/>
                  <a:pt x="1104451" y="46733"/>
                  <a:pt x="1104457" y="45575"/>
                </a:cubicBezTo>
                <a:cubicBezTo>
                  <a:pt x="1104476" y="42805"/>
                  <a:pt x="1104504" y="40035"/>
                  <a:pt x="1104534" y="37265"/>
                </a:cubicBezTo>
                <a:cubicBezTo>
                  <a:pt x="1105565" y="37265"/>
                  <a:pt x="1106596" y="37265"/>
                  <a:pt x="1107658" y="37265"/>
                </a:cubicBezTo>
                <a:cubicBezTo>
                  <a:pt x="1107561" y="34562"/>
                  <a:pt x="1107561" y="34562"/>
                  <a:pt x="1107463" y="31805"/>
                </a:cubicBezTo>
                <a:cubicBezTo>
                  <a:pt x="1107353" y="28733"/>
                  <a:pt x="1107353" y="28733"/>
                  <a:pt x="1107658" y="25991"/>
                </a:cubicBezTo>
                <a:cubicBezTo>
                  <a:pt x="1108689" y="25062"/>
                  <a:pt x="1109720" y="24131"/>
                  <a:pt x="1110782" y="23173"/>
                </a:cubicBezTo>
                <a:cubicBezTo>
                  <a:pt x="1111104" y="22156"/>
                  <a:pt x="1111427" y="21138"/>
                  <a:pt x="1111759" y="20091"/>
                </a:cubicBezTo>
                <a:cubicBezTo>
                  <a:pt x="1116393" y="11539"/>
                  <a:pt x="1124927" y="6390"/>
                  <a:pt x="1134507" y="2828"/>
                </a:cubicBezTo>
                <a:cubicBezTo>
                  <a:pt x="1141389" y="825"/>
                  <a:pt x="1148262" y="-204"/>
                  <a:pt x="1155019" y="35"/>
                </a:cubicBezTo>
                <a:close/>
              </a:path>
            </a:pathLst>
          </a:custGeom>
          <a:solidFill>
            <a:schemeClr val="accent3"/>
          </a:solidFill>
          <a:ln w="2232" cap="flat">
            <a:noFill/>
            <a:prstDash val="solid"/>
            <a:miter/>
          </a:ln>
          <a:effectLst>
            <a:innerShdw blurRad="63500" dist="190500" dir="8100000">
              <a:schemeClr val="accent3">
                <a:lumMod val="75000"/>
                <a:alpha val="50000"/>
              </a:schemeClr>
            </a:innerShdw>
          </a:effectLst>
        </p:spPr>
        <p:txBody>
          <a:bodyPr wrap="square">
            <a:noAutofit/>
          </a:bodyPr>
          <a:lstStyle/>
          <a:p>
            <a:endParaRPr lang="en-GB" dirty="0"/>
          </a:p>
        </p:txBody>
      </p:sp>
      <p:sp>
        <p:nvSpPr>
          <p:cNvPr id="7410" name="Oval 7409">
            <a:extLst>
              <a:ext uri="{FF2B5EF4-FFF2-40B4-BE49-F238E27FC236}">
                <a16:creationId xmlns:a16="http://schemas.microsoft.com/office/drawing/2014/main" id="{E2543847-C897-FF28-47E8-56B24C1BF29A}"/>
              </a:ext>
            </a:extLst>
          </p:cNvPr>
          <p:cNvSpPr/>
          <p:nvPr/>
        </p:nvSpPr>
        <p:spPr>
          <a:xfrm>
            <a:off x="9553071" y="5368080"/>
            <a:ext cx="214116" cy="214116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7413" name="Oval 7412">
            <a:extLst>
              <a:ext uri="{FF2B5EF4-FFF2-40B4-BE49-F238E27FC236}">
                <a16:creationId xmlns:a16="http://schemas.microsoft.com/office/drawing/2014/main" id="{AA72A8A6-D432-ADFD-E49E-144A40DBE8F7}"/>
              </a:ext>
            </a:extLst>
          </p:cNvPr>
          <p:cNvSpPr/>
          <p:nvPr/>
        </p:nvSpPr>
        <p:spPr>
          <a:xfrm>
            <a:off x="9838897" y="5555557"/>
            <a:ext cx="214116" cy="214116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7414" name="Oval 7413">
            <a:extLst>
              <a:ext uri="{FF2B5EF4-FFF2-40B4-BE49-F238E27FC236}">
                <a16:creationId xmlns:a16="http://schemas.microsoft.com/office/drawing/2014/main" id="{4EEC01B7-8226-3904-12D1-689525DFCC9B}"/>
              </a:ext>
            </a:extLst>
          </p:cNvPr>
          <p:cNvSpPr/>
          <p:nvPr/>
        </p:nvSpPr>
        <p:spPr>
          <a:xfrm>
            <a:off x="9631443" y="5904388"/>
            <a:ext cx="167608" cy="167608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7415" name="Oval 7414">
            <a:extLst>
              <a:ext uri="{FF2B5EF4-FFF2-40B4-BE49-F238E27FC236}">
                <a16:creationId xmlns:a16="http://schemas.microsoft.com/office/drawing/2014/main" id="{BC9F5744-12EB-E11C-98AE-6F51BD0D2E22}"/>
              </a:ext>
            </a:extLst>
          </p:cNvPr>
          <p:cNvSpPr/>
          <p:nvPr/>
        </p:nvSpPr>
        <p:spPr>
          <a:xfrm>
            <a:off x="10078622" y="5865971"/>
            <a:ext cx="214116" cy="214116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7426" name="Oval 7425">
            <a:extLst>
              <a:ext uri="{FF2B5EF4-FFF2-40B4-BE49-F238E27FC236}">
                <a16:creationId xmlns:a16="http://schemas.microsoft.com/office/drawing/2014/main" id="{CAE49190-D931-A065-8DA0-540A90F5D49A}"/>
              </a:ext>
            </a:extLst>
          </p:cNvPr>
          <p:cNvSpPr/>
          <p:nvPr/>
        </p:nvSpPr>
        <p:spPr>
          <a:xfrm>
            <a:off x="10147774" y="5420328"/>
            <a:ext cx="144964" cy="144964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7428" name="Oval 7427">
            <a:extLst>
              <a:ext uri="{FF2B5EF4-FFF2-40B4-BE49-F238E27FC236}">
                <a16:creationId xmlns:a16="http://schemas.microsoft.com/office/drawing/2014/main" id="{61D8780C-B7C1-9977-0127-793D23ACBD92}"/>
              </a:ext>
            </a:extLst>
          </p:cNvPr>
          <p:cNvSpPr/>
          <p:nvPr/>
        </p:nvSpPr>
        <p:spPr>
          <a:xfrm>
            <a:off x="7601161" y="5522770"/>
            <a:ext cx="114090" cy="114090"/>
          </a:xfrm>
          <a:prstGeom prst="ellipse">
            <a:avLst/>
          </a:prstGeom>
          <a:solidFill>
            <a:srgbClr val="275268">
              <a:alpha val="72000"/>
            </a:srgbClr>
          </a:solidFill>
          <a:ln>
            <a:noFill/>
          </a:ln>
          <a:effectLst>
            <a:outerShdw blurRad="50800" dist="38100" dir="8100000" sx="112000" sy="112000" algn="tr" rotWithShape="0">
              <a:prstClr val="black">
                <a:alpha val="32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7429" name="Oval 7428">
            <a:extLst>
              <a:ext uri="{FF2B5EF4-FFF2-40B4-BE49-F238E27FC236}">
                <a16:creationId xmlns:a16="http://schemas.microsoft.com/office/drawing/2014/main" id="{370D2B04-6414-73E9-7891-5F63B743DC1E}"/>
              </a:ext>
            </a:extLst>
          </p:cNvPr>
          <p:cNvSpPr/>
          <p:nvPr/>
        </p:nvSpPr>
        <p:spPr>
          <a:xfrm>
            <a:off x="7315410" y="5081217"/>
            <a:ext cx="112731" cy="112731"/>
          </a:xfrm>
          <a:prstGeom prst="ellipse">
            <a:avLst/>
          </a:prstGeom>
          <a:solidFill>
            <a:srgbClr val="275268">
              <a:alpha val="72000"/>
            </a:srgbClr>
          </a:solidFill>
          <a:ln>
            <a:noFill/>
          </a:ln>
          <a:effectLst>
            <a:outerShdw blurRad="50800" dist="38100" dir="8100000" sx="112000" sy="112000" algn="tr" rotWithShape="0">
              <a:prstClr val="black">
                <a:alpha val="32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7430" name="Oval 7429">
            <a:extLst>
              <a:ext uri="{FF2B5EF4-FFF2-40B4-BE49-F238E27FC236}">
                <a16:creationId xmlns:a16="http://schemas.microsoft.com/office/drawing/2014/main" id="{48DBA261-845C-134B-3CDD-DA03F6E50AAE}"/>
              </a:ext>
            </a:extLst>
          </p:cNvPr>
          <p:cNvSpPr/>
          <p:nvPr/>
        </p:nvSpPr>
        <p:spPr>
          <a:xfrm>
            <a:off x="7085859" y="5547199"/>
            <a:ext cx="95992" cy="95992"/>
          </a:xfrm>
          <a:prstGeom prst="ellipse">
            <a:avLst/>
          </a:prstGeom>
          <a:solidFill>
            <a:srgbClr val="275268">
              <a:alpha val="72000"/>
            </a:srgbClr>
          </a:solidFill>
          <a:ln>
            <a:noFill/>
          </a:ln>
          <a:effectLst>
            <a:outerShdw blurRad="50800" dist="38100" dir="8100000" sx="112000" sy="112000" algn="tr" rotWithShape="0">
              <a:prstClr val="black">
                <a:alpha val="32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7431" name="Oval 7430">
            <a:extLst>
              <a:ext uri="{FF2B5EF4-FFF2-40B4-BE49-F238E27FC236}">
                <a16:creationId xmlns:a16="http://schemas.microsoft.com/office/drawing/2014/main" id="{AE37CE6E-A8BC-593C-2795-D8EF3E857403}"/>
              </a:ext>
            </a:extLst>
          </p:cNvPr>
          <p:cNvSpPr/>
          <p:nvPr/>
        </p:nvSpPr>
        <p:spPr>
          <a:xfrm>
            <a:off x="8398880" y="5353225"/>
            <a:ext cx="56940" cy="5694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7700" name="Oval 7699">
            <a:extLst>
              <a:ext uri="{FF2B5EF4-FFF2-40B4-BE49-F238E27FC236}">
                <a16:creationId xmlns:a16="http://schemas.microsoft.com/office/drawing/2014/main" id="{BFBBE2FB-2C4A-F857-1246-45F2AAC0DD75}"/>
              </a:ext>
            </a:extLst>
          </p:cNvPr>
          <p:cNvSpPr/>
          <p:nvPr/>
        </p:nvSpPr>
        <p:spPr>
          <a:xfrm>
            <a:off x="918141" y="6636490"/>
            <a:ext cx="984885" cy="202564"/>
          </a:xfrm>
          <a:prstGeom prst="ellipse">
            <a:avLst/>
          </a:prstGeom>
          <a:solidFill>
            <a:schemeClr val="tx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7702" name="Free-form: Shape 7701">
            <a:extLst>
              <a:ext uri="{FF2B5EF4-FFF2-40B4-BE49-F238E27FC236}">
                <a16:creationId xmlns:a16="http://schemas.microsoft.com/office/drawing/2014/main" id="{F6964EEA-D9EC-41AB-7B28-AC76336B9BAF}"/>
              </a:ext>
            </a:extLst>
          </p:cNvPr>
          <p:cNvSpPr/>
          <p:nvPr/>
        </p:nvSpPr>
        <p:spPr>
          <a:xfrm>
            <a:off x="1063322" y="5516554"/>
            <a:ext cx="697572" cy="1240128"/>
          </a:xfrm>
          <a:custGeom>
            <a:avLst/>
            <a:gdLst>
              <a:gd name="csX0" fmla="*/ 581793 w 697572"/>
              <a:gd name="csY0" fmla="*/ 1234401 h 1240128"/>
              <a:gd name="csX1" fmla="*/ 577427 w 697572"/>
              <a:gd name="csY1" fmla="*/ 1234156 h 1240128"/>
              <a:gd name="csX2" fmla="*/ 559133 w 697572"/>
              <a:gd name="csY2" fmla="*/ 1230909 h 1240128"/>
              <a:gd name="csX3" fmla="*/ 516706 w 697572"/>
              <a:gd name="csY3" fmla="*/ 1235117 h 1240128"/>
              <a:gd name="csX4" fmla="*/ 475244 w 697572"/>
              <a:gd name="csY4" fmla="*/ 1237506 h 1240128"/>
              <a:gd name="csX5" fmla="*/ 371154 w 697572"/>
              <a:gd name="csY5" fmla="*/ 1239428 h 1240128"/>
              <a:gd name="csX6" fmla="*/ 276813 w 697572"/>
              <a:gd name="csY6" fmla="*/ 1237654 h 1240128"/>
              <a:gd name="csX7" fmla="*/ 268212 w 697572"/>
              <a:gd name="csY7" fmla="*/ 1237635 h 1240128"/>
              <a:gd name="csX8" fmla="*/ 262072 w 697572"/>
              <a:gd name="csY8" fmla="*/ 1237523 h 1240128"/>
              <a:gd name="csX9" fmla="*/ 195111 w 697572"/>
              <a:gd name="csY9" fmla="*/ 1232775 h 1240128"/>
              <a:gd name="csX10" fmla="*/ 145060 w 697572"/>
              <a:gd name="csY10" fmla="*/ 1230076 h 1240128"/>
              <a:gd name="csX11" fmla="*/ 114933 w 697572"/>
              <a:gd name="csY11" fmla="*/ 1225832 h 1240128"/>
              <a:gd name="csX12" fmla="*/ 72642 w 697572"/>
              <a:gd name="csY12" fmla="*/ 1220237 h 1240128"/>
              <a:gd name="csX13" fmla="*/ 10894 w 697572"/>
              <a:gd name="csY13" fmla="*/ 1205737 h 1240128"/>
              <a:gd name="csX14" fmla="*/ 5856 w 697572"/>
              <a:gd name="csY14" fmla="*/ 1202799 h 1240128"/>
              <a:gd name="csX15" fmla="*/ 40 w 697572"/>
              <a:gd name="csY15" fmla="*/ 1174450 h 1240128"/>
              <a:gd name="csX16" fmla="*/ 19831 w 697572"/>
              <a:gd name="csY16" fmla="*/ 1118410 h 1240128"/>
              <a:gd name="csX17" fmla="*/ 22004 w 697572"/>
              <a:gd name="csY17" fmla="*/ 1107240 h 1240128"/>
              <a:gd name="csX18" fmla="*/ 25947 w 697572"/>
              <a:gd name="csY18" fmla="*/ 1038650 h 1240128"/>
              <a:gd name="csX19" fmla="*/ 58234 w 697572"/>
              <a:gd name="csY19" fmla="*/ 988567 h 1240128"/>
              <a:gd name="csX20" fmla="*/ 118645 w 697572"/>
              <a:gd name="csY20" fmla="*/ 928298 h 1240128"/>
              <a:gd name="csX21" fmla="*/ 126320 w 697572"/>
              <a:gd name="csY21" fmla="*/ 892015 h 1240128"/>
              <a:gd name="csX22" fmla="*/ 120345 w 697572"/>
              <a:gd name="csY22" fmla="*/ 872258 h 1240128"/>
              <a:gd name="csX23" fmla="*/ 125668 w 697572"/>
              <a:gd name="csY23" fmla="*/ 861640 h 1240128"/>
              <a:gd name="csX24" fmla="*/ 154237 w 697572"/>
              <a:gd name="csY24" fmla="*/ 850716 h 1240128"/>
              <a:gd name="csX25" fmla="*/ 170248 w 697572"/>
              <a:gd name="csY25" fmla="*/ 836767 h 1240128"/>
              <a:gd name="csX26" fmla="*/ 187840 w 697572"/>
              <a:gd name="csY26" fmla="*/ 796341 h 1240128"/>
              <a:gd name="csX27" fmla="*/ 209346 w 697572"/>
              <a:gd name="csY27" fmla="*/ 743126 h 1240128"/>
              <a:gd name="csX28" fmla="*/ 210630 w 697572"/>
              <a:gd name="csY28" fmla="*/ 737219 h 1240128"/>
              <a:gd name="csX29" fmla="*/ 213836 w 697572"/>
              <a:gd name="csY29" fmla="*/ 720505 h 1240128"/>
              <a:gd name="csX30" fmla="*/ 227791 w 697572"/>
              <a:gd name="csY30" fmla="*/ 667353 h 1240128"/>
              <a:gd name="csX31" fmla="*/ 241013 w 697572"/>
              <a:gd name="csY31" fmla="*/ 599151 h 1240128"/>
              <a:gd name="csX32" fmla="*/ 247322 w 697572"/>
              <a:gd name="csY32" fmla="*/ 542242 h 1240128"/>
              <a:gd name="csX33" fmla="*/ 247948 w 697572"/>
              <a:gd name="csY33" fmla="*/ 499296 h 1240128"/>
              <a:gd name="csX34" fmla="*/ 247577 w 697572"/>
              <a:gd name="csY34" fmla="*/ 470384 h 1240128"/>
              <a:gd name="csX35" fmla="*/ 238877 w 697572"/>
              <a:gd name="csY35" fmla="*/ 460987 h 1240128"/>
              <a:gd name="csX36" fmla="*/ 222040 w 697572"/>
              <a:gd name="csY36" fmla="*/ 458353 h 1240128"/>
              <a:gd name="csX37" fmla="*/ 172193 w 697572"/>
              <a:gd name="csY37" fmla="*/ 433714 h 1240128"/>
              <a:gd name="csX38" fmla="*/ 168410 w 697572"/>
              <a:gd name="csY38" fmla="*/ 396591 h 1240128"/>
              <a:gd name="csX39" fmla="*/ 209826 w 697572"/>
              <a:gd name="csY39" fmla="*/ 367773 h 1240128"/>
              <a:gd name="csX40" fmla="*/ 250732 w 697572"/>
              <a:gd name="csY40" fmla="*/ 355208 h 1240128"/>
              <a:gd name="csX41" fmla="*/ 258289 w 697572"/>
              <a:gd name="csY41" fmla="*/ 350426 h 1240128"/>
              <a:gd name="csX42" fmla="*/ 233274 w 697572"/>
              <a:gd name="csY42" fmla="*/ 333513 h 1240128"/>
              <a:gd name="csX43" fmla="*/ 229677 w 697572"/>
              <a:gd name="csY43" fmla="*/ 333922 h 1240128"/>
              <a:gd name="csX44" fmla="*/ 230149 w 697572"/>
              <a:gd name="csY44" fmla="*/ 332979 h 1240128"/>
              <a:gd name="csX45" fmla="*/ 227053 w 697572"/>
              <a:gd name="csY45" fmla="*/ 327076 h 1240128"/>
              <a:gd name="csX46" fmla="*/ 196769 w 697572"/>
              <a:gd name="csY46" fmla="*/ 291380 h 1240128"/>
              <a:gd name="csX47" fmla="*/ 184389 w 697572"/>
              <a:gd name="csY47" fmla="*/ 264042 h 1240128"/>
              <a:gd name="csX48" fmla="*/ 180630 w 697572"/>
              <a:gd name="csY48" fmla="*/ 257839 h 1240128"/>
              <a:gd name="csX49" fmla="*/ 176231 w 697572"/>
              <a:gd name="csY49" fmla="*/ 250643 h 1240128"/>
              <a:gd name="csX50" fmla="*/ 170073 w 697572"/>
              <a:gd name="csY50" fmla="*/ 146723 h 1240128"/>
              <a:gd name="csX51" fmla="*/ 180929 w 697572"/>
              <a:gd name="csY51" fmla="*/ 114280 h 1240128"/>
              <a:gd name="csX52" fmla="*/ 180839 w 697572"/>
              <a:gd name="csY52" fmla="*/ 101501 h 1240128"/>
              <a:gd name="csX53" fmla="*/ 233536 w 697572"/>
              <a:gd name="csY53" fmla="*/ 39653 h 1240128"/>
              <a:gd name="csX54" fmla="*/ 347618 w 697572"/>
              <a:gd name="csY54" fmla="*/ 35 h 1240128"/>
              <a:gd name="csX55" fmla="*/ 437139 w 697572"/>
              <a:gd name="csY55" fmla="*/ 22396 h 1240128"/>
              <a:gd name="csX56" fmla="*/ 529052 w 697572"/>
              <a:gd name="csY56" fmla="*/ 131093 h 1240128"/>
              <a:gd name="csX57" fmla="*/ 518497 w 697572"/>
              <a:gd name="csY57" fmla="*/ 271517 h 1240128"/>
              <a:gd name="csX58" fmla="*/ 500808 w 697572"/>
              <a:gd name="csY58" fmla="*/ 287385 h 1240128"/>
              <a:gd name="csX59" fmla="*/ 472948 w 697572"/>
              <a:gd name="csY59" fmla="*/ 323290 h 1240128"/>
              <a:gd name="csX60" fmla="*/ 469385 w 697572"/>
              <a:gd name="csY60" fmla="*/ 331565 h 1240128"/>
              <a:gd name="csX61" fmla="*/ 468293 w 697572"/>
              <a:gd name="csY61" fmla="*/ 331320 h 1240128"/>
              <a:gd name="csX62" fmla="*/ 459542 w 697572"/>
              <a:gd name="csY62" fmla="*/ 338942 h 1240128"/>
              <a:gd name="csX63" fmla="*/ 458492 w 697572"/>
              <a:gd name="csY63" fmla="*/ 338671 h 1240128"/>
              <a:gd name="csX64" fmla="*/ 436978 w 697572"/>
              <a:gd name="csY64" fmla="*/ 352226 h 1240128"/>
              <a:gd name="csX65" fmla="*/ 472329 w 697572"/>
              <a:gd name="csY65" fmla="*/ 362890 h 1240128"/>
              <a:gd name="csX66" fmla="*/ 523779 w 697572"/>
              <a:gd name="csY66" fmla="*/ 391962 h 1240128"/>
              <a:gd name="csX67" fmla="*/ 527344 w 697572"/>
              <a:gd name="csY67" fmla="*/ 430096 h 1240128"/>
              <a:gd name="csX68" fmla="*/ 504112 w 697572"/>
              <a:gd name="csY68" fmla="*/ 449628 h 1240128"/>
              <a:gd name="csX69" fmla="*/ 459430 w 697572"/>
              <a:gd name="csY69" fmla="*/ 461116 h 1240128"/>
              <a:gd name="csX70" fmla="*/ 446666 w 697572"/>
              <a:gd name="csY70" fmla="*/ 474229 h 1240128"/>
              <a:gd name="csX71" fmla="*/ 449133 w 697572"/>
              <a:gd name="csY71" fmla="*/ 531639 h 1240128"/>
              <a:gd name="csX72" fmla="*/ 454546 w 697572"/>
              <a:gd name="csY72" fmla="*/ 588688 h 1240128"/>
              <a:gd name="csX73" fmla="*/ 466126 w 697572"/>
              <a:gd name="csY73" fmla="*/ 649736 h 1240128"/>
              <a:gd name="csX74" fmla="*/ 512154 w 697572"/>
              <a:gd name="csY74" fmla="*/ 794006 h 1240128"/>
              <a:gd name="csX75" fmla="*/ 525763 w 697572"/>
              <a:gd name="csY75" fmla="*/ 834323 h 1240128"/>
              <a:gd name="csX76" fmla="*/ 530555 w 697572"/>
              <a:gd name="csY76" fmla="*/ 845114 h 1240128"/>
              <a:gd name="csX77" fmla="*/ 554424 w 697572"/>
              <a:gd name="csY77" fmla="*/ 856618 h 1240128"/>
              <a:gd name="csX78" fmla="*/ 572880 w 697572"/>
              <a:gd name="csY78" fmla="*/ 862546 h 1240128"/>
              <a:gd name="csX79" fmla="*/ 578643 w 697572"/>
              <a:gd name="csY79" fmla="*/ 880396 h 1240128"/>
              <a:gd name="csX80" fmla="*/ 572188 w 697572"/>
              <a:gd name="csY80" fmla="*/ 899820 h 1240128"/>
              <a:gd name="csX81" fmla="*/ 582698 w 697572"/>
              <a:gd name="csY81" fmla="*/ 930382 h 1240128"/>
              <a:gd name="csX82" fmla="*/ 604747 w 697572"/>
              <a:gd name="csY82" fmla="*/ 960852 h 1240128"/>
              <a:gd name="csX83" fmla="*/ 613863 w 697572"/>
              <a:gd name="csY83" fmla="*/ 968311 h 1240128"/>
              <a:gd name="csX84" fmla="*/ 629435 w 697572"/>
              <a:gd name="csY84" fmla="*/ 981186 h 1240128"/>
              <a:gd name="csX85" fmla="*/ 633611 w 697572"/>
              <a:gd name="csY85" fmla="*/ 985609 h 1240128"/>
              <a:gd name="csX86" fmla="*/ 673790 w 697572"/>
              <a:gd name="csY86" fmla="*/ 1049348 h 1240128"/>
              <a:gd name="csX87" fmla="*/ 675873 w 697572"/>
              <a:gd name="csY87" fmla="*/ 1092839 h 1240128"/>
              <a:gd name="csX88" fmla="*/ 681668 w 697572"/>
              <a:gd name="csY88" fmla="*/ 1129292 h 1240128"/>
              <a:gd name="csX89" fmla="*/ 697338 w 697572"/>
              <a:gd name="csY89" fmla="*/ 1196079 h 1240128"/>
              <a:gd name="csX90" fmla="*/ 690637 w 697572"/>
              <a:gd name="csY90" fmla="*/ 1205035 h 1240128"/>
              <a:gd name="csX91" fmla="*/ 639777 w 697572"/>
              <a:gd name="csY91" fmla="*/ 1217994 h 1240128"/>
              <a:gd name="csX92" fmla="*/ 587072 w 697572"/>
              <a:gd name="csY92" fmla="*/ 1227761 h 1240128"/>
              <a:gd name="csX93" fmla="*/ 581793 w 697572"/>
              <a:gd name="csY93" fmla="*/ 1234401 h 1240128"/>
              <a:gd name="csX94" fmla="*/ 357446 w 697572"/>
              <a:gd name="csY94" fmla="*/ 903795 h 1240128"/>
              <a:gd name="csX95" fmla="*/ 344445 w 697572"/>
              <a:gd name="csY95" fmla="*/ 903795 h 1240128"/>
              <a:gd name="csX96" fmla="*/ 349212 w 697572"/>
              <a:gd name="csY96" fmla="*/ 950515 h 1240128"/>
              <a:gd name="csX97" fmla="*/ 349538 w 697572"/>
              <a:gd name="csY97" fmla="*/ 1069392 h 1240128"/>
              <a:gd name="csX98" fmla="*/ 349415 w 697572"/>
              <a:gd name="csY98" fmla="*/ 1108925 h 1240128"/>
              <a:gd name="csX99" fmla="*/ 647726 w 697572"/>
              <a:gd name="csY99" fmla="*/ 1089872 h 1240128"/>
              <a:gd name="csX100" fmla="*/ 647654 w 697572"/>
              <a:gd name="csY100" fmla="*/ 1076267 h 1240128"/>
              <a:gd name="csX101" fmla="*/ 610267 w 697572"/>
              <a:gd name="csY101" fmla="*/ 994126 h 1240128"/>
              <a:gd name="csX102" fmla="*/ 571459 w 697572"/>
              <a:gd name="csY102" fmla="*/ 956568 h 1240128"/>
              <a:gd name="csX103" fmla="*/ 541653 w 697572"/>
              <a:gd name="csY103" fmla="*/ 901544 h 1240128"/>
              <a:gd name="csX104" fmla="*/ 539477 w 697572"/>
              <a:gd name="csY104" fmla="*/ 895908 h 1240128"/>
              <a:gd name="csX105" fmla="*/ 357446 w 697572"/>
              <a:gd name="csY105" fmla="*/ 903795 h 1240128"/>
              <a:gd name="csX106" fmla="*/ 300108 w 697572"/>
              <a:gd name="csY106" fmla="*/ 85260 h 1240128"/>
              <a:gd name="csX107" fmla="*/ 290213 w 697572"/>
              <a:gd name="csY107" fmla="*/ 127888 h 1240128"/>
              <a:gd name="csX108" fmla="*/ 331056 w 697572"/>
              <a:gd name="csY108" fmla="*/ 214168 h 1240128"/>
              <a:gd name="csX109" fmla="*/ 424717 w 697572"/>
              <a:gd name="csY109" fmla="*/ 245160 h 1240128"/>
              <a:gd name="csX110" fmla="*/ 496752 w 697572"/>
              <a:gd name="csY110" fmla="*/ 141256 h 1240128"/>
              <a:gd name="csX111" fmla="*/ 390320 w 697572"/>
              <a:gd name="csY111" fmla="*/ 43995 h 1240128"/>
              <a:gd name="csX112" fmla="*/ 300108 w 697572"/>
              <a:gd name="csY112" fmla="*/ 85260 h 1240128"/>
              <a:gd name="csX113" fmla="*/ 343360 w 697572"/>
              <a:gd name="csY113" fmla="*/ 634332 h 1240128"/>
              <a:gd name="csX114" fmla="*/ 340877 w 697572"/>
              <a:gd name="csY114" fmla="*/ 732259 h 1240128"/>
              <a:gd name="csX115" fmla="*/ 338360 w 697572"/>
              <a:gd name="csY115" fmla="*/ 810538 h 1240128"/>
              <a:gd name="csX116" fmla="*/ 337115 w 697572"/>
              <a:gd name="csY116" fmla="*/ 817736 h 1240128"/>
              <a:gd name="csX117" fmla="*/ 336516 w 697572"/>
              <a:gd name="csY117" fmla="*/ 863022 h 1240128"/>
              <a:gd name="csX118" fmla="*/ 343436 w 697572"/>
              <a:gd name="csY118" fmla="*/ 864027 h 1240128"/>
              <a:gd name="csX119" fmla="*/ 406718 w 697572"/>
              <a:gd name="csY119" fmla="*/ 862982 h 1240128"/>
              <a:gd name="csX120" fmla="*/ 456888 w 697572"/>
              <a:gd name="csY120" fmla="*/ 861794 h 1240128"/>
              <a:gd name="csX121" fmla="*/ 495873 w 697572"/>
              <a:gd name="csY121" fmla="*/ 863963 h 1240128"/>
              <a:gd name="csX122" fmla="*/ 509286 w 697572"/>
              <a:gd name="csY122" fmla="*/ 863595 h 1240128"/>
              <a:gd name="csX123" fmla="*/ 516956 w 697572"/>
              <a:gd name="csY123" fmla="*/ 856791 h 1240128"/>
              <a:gd name="csX124" fmla="*/ 513920 w 697572"/>
              <a:gd name="csY124" fmla="*/ 848709 h 1240128"/>
              <a:gd name="csX125" fmla="*/ 506683 w 697572"/>
              <a:gd name="csY125" fmla="*/ 839054 h 1240128"/>
              <a:gd name="csX126" fmla="*/ 488629 w 697572"/>
              <a:gd name="csY126" fmla="*/ 799037 h 1240128"/>
              <a:gd name="csX127" fmla="*/ 456922 w 697572"/>
              <a:gd name="csY127" fmla="*/ 696297 h 1240128"/>
              <a:gd name="csX128" fmla="*/ 441346 w 697572"/>
              <a:gd name="csY128" fmla="*/ 619885 h 1240128"/>
              <a:gd name="csX129" fmla="*/ 435963 w 697572"/>
              <a:gd name="csY129" fmla="*/ 582529 h 1240128"/>
              <a:gd name="csX130" fmla="*/ 429497 w 697572"/>
              <a:gd name="csY130" fmla="*/ 521990 h 1240128"/>
              <a:gd name="csX131" fmla="*/ 426887 w 697572"/>
              <a:gd name="csY131" fmla="*/ 471989 h 1240128"/>
              <a:gd name="csX132" fmla="*/ 413744 w 697572"/>
              <a:gd name="csY132" fmla="*/ 461077 h 1240128"/>
              <a:gd name="csX133" fmla="*/ 353573 w 697572"/>
              <a:gd name="csY133" fmla="*/ 461120 h 1240128"/>
              <a:gd name="csX134" fmla="*/ 344160 w 697572"/>
              <a:gd name="csY134" fmla="*/ 462286 h 1240128"/>
              <a:gd name="csX135" fmla="*/ 343404 w 697572"/>
              <a:gd name="csY135" fmla="*/ 469192 h 1240128"/>
              <a:gd name="csX136" fmla="*/ 343469 w 697572"/>
              <a:gd name="csY136" fmla="*/ 574797 h 1240128"/>
              <a:gd name="csX137" fmla="*/ 345522 w 697572"/>
              <a:gd name="csY137" fmla="*/ 591669 h 1240128"/>
              <a:gd name="csX138" fmla="*/ 343360 w 697572"/>
              <a:gd name="csY138" fmla="*/ 634332 h 1240128"/>
              <a:gd name="csX139" fmla="*/ 416946 w 697572"/>
              <a:gd name="csY139" fmla="*/ 385943 h 1240128"/>
              <a:gd name="csX140" fmla="*/ 401091 w 697572"/>
              <a:gd name="csY140" fmla="*/ 387162 h 1240128"/>
              <a:gd name="csX141" fmla="*/ 369218 w 697572"/>
              <a:gd name="csY141" fmla="*/ 387708 h 1240128"/>
              <a:gd name="csX142" fmla="*/ 351833 w 697572"/>
              <a:gd name="csY142" fmla="*/ 398991 h 1240128"/>
              <a:gd name="csX143" fmla="*/ 349778 w 697572"/>
              <a:gd name="csY143" fmla="*/ 426021 h 1240128"/>
              <a:gd name="csX144" fmla="*/ 361839 w 697572"/>
              <a:gd name="csY144" fmla="*/ 426538 h 1240128"/>
              <a:gd name="csX145" fmla="*/ 455022 w 697572"/>
              <a:gd name="csY145" fmla="*/ 426922 h 1240128"/>
              <a:gd name="csX146" fmla="*/ 481958 w 697572"/>
              <a:gd name="csY146" fmla="*/ 426527 h 1240128"/>
              <a:gd name="csX147" fmla="*/ 499817 w 697572"/>
              <a:gd name="csY147" fmla="*/ 419888 h 1240128"/>
              <a:gd name="csX148" fmla="*/ 499439 w 697572"/>
              <a:gd name="csY148" fmla="*/ 400719 h 1240128"/>
              <a:gd name="csX149" fmla="*/ 468062 w 697572"/>
              <a:gd name="csY149" fmla="*/ 387775 h 1240128"/>
              <a:gd name="csX150" fmla="*/ 416946 w 697572"/>
              <a:gd name="csY150" fmla="*/ 385943 h 1240128"/>
              <a:gd name="csX151" fmla="*/ 636802 w 697572"/>
              <a:gd name="csY151" fmla="*/ 1190940 h 1240128"/>
              <a:gd name="csX152" fmla="*/ 666492 w 697572"/>
              <a:gd name="csY152" fmla="*/ 1184186 h 1240128"/>
              <a:gd name="csX153" fmla="*/ 674465 w 697572"/>
              <a:gd name="csY153" fmla="*/ 1170880 h 1240128"/>
              <a:gd name="csX154" fmla="*/ 662462 w 697572"/>
              <a:gd name="csY154" fmla="*/ 1141464 h 1240128"/>
              <a:gd name="csX155" fmla="*/ 645564 w 697572"/>
              <a:gd name="csY155" fmla="*/ 1131937 h 1240128"/>
              <a:gd name="csX156" fmla="*/ 627387 w 697572"/>
              <a:gd name="csY156" fmla="*/ 1133618 h 1240128"/>
              <a:gd name="csX157" fmla="*/ 583917 w 697572"/>
              <a:gd name="csY157" fmla="*/ 1139222 h 1240128"/>
              <a:gd name="csX158" fmla="*/ 543741 w 697572"/>
              <a:gd name="csY158" fmla="*/ 1141869 h 1240128"/>
              <a:gd name="csX159" fmla="*/ 512146 w 697572"/>
              <a:gd name="csY159" fmla="*/ 1144418 h 1240128"/>
              <a:gd name="csX160" fmla="*/ 447711 w 697572"/>
              <a:gd name="csY160" fmla="*/ 1148973 h 1240128"/>
              <a:gd name="csX161" fmla="*/ 351979 w 697572"/>
              <a:gd name="csY161" fmla="*/ 1149200 h 1240128"/>
              <a:gd name="csX162" fmla="*/ 338443 w 697572"/>
              <a:gd name="csY162" fmla="*/ 1150040 h 1240128"/>
              <a:gd name="csX163" fmla="*/ 338451 w 697572"/>
              <a:gd name="csY163" fmla="*/ 1190780 h 1240128"/>
              <a:gd name="csX164" fmla="*/ 351082 w 697572"/>
              <a:gd name="csY164" fmla="*/ 1207015 h 1240128"/>
              <a:gd name="csX165" fmla="*/ 358298 w 697572"/>
              <a:gd name="csY165" fmla="*/ 1208094 h 1240128"/>
              <a:gd name="csX166" fmla="*/ 521229 w 697572"/>
              <a:gd name="csY166" fmla="*/ 1205646 h 1240128"/>
              <a:gd name="csX167" fmla="*/ 523675 w 697572"/>
              <a:gd name="csY167" fmla="*/ 1205490 h 1240128"/>
              <a:gd name="csX168" fmla="*/ 580423 w 697572"/>
              <a:gd name="csY168" fmla="*/ 1198350 h 1240128"/>
              <a:gd name="csX169" fmla="*/ 636802 w 697572"/>
              <a:gd name="csY169" fmla="*/ 1190940 h 124012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</a:cxnLst>
            <a:rect l="l" t="t" r="r" b="b"/>
            <a:pathLst>
              <a:path w="697572" h="1240128">
                <a:moveTo>
                  <a:pt x="581793" y="1234401"/>
                </a:moveTo>
                <a:cubicBezTo>
                  <a:pt x="580693" y="1234661"/>
                  <a:pt x="579594" y="1234922"/>
                  <a:pt x="577427" y="1234156"/>
                </a:cubicBezTo>
                <a:cubicBezTo>
                  <a:pt x="571216" y="1227899"/>
                  <a:pt x="564912" y="1230441"/>
                  <a:pt x="559133" y="1230909"/>
                </a:cubicBezTo>
                <a:cubicBezTo>
                  <a:pt x="544971" y="1232056"/>
                  <a:pt x="530869" y="1233971"/>
                  <a:pt x="516706" y="1235117"/>
                </a:cubicBezTo>
                <a:cubicBezTo>
                  <a:pt x="502910" y="1236232"/>
                  <a:pt x="489077" y="1237097"/>
                  <a:pt x="475244" y="1237506"/>
                </a:cubicBezTo>
                <a:cubicBezTo>
                  <a:pt x="440539" y="1238535"/>
                  <a:pt x="405696" y="1241458"/>
                  <a:pt x="371154" y="1239428"/>
                </a:cubicBezTo>
                <a:cubicBezTo>
                  <a:pt x="339645" y="1237575"/>
                  <a:pt x="308239" y="1238753"/>
                  <a:pt x="276813" y="1237654"/>
                </a:cubicBezTo>
                <a:cubicBezTo>
                  <a:pt x="273949" y="1237553"/>
                  <a:pt x="271079" y="1237652"/>
                  <a:pt x="268212" y="1237635"/>
                </a:cubicBezTo>
                <a:cubicBezTo>
                  <a:pt x="266165" y="1237623"/>
                  <a:pt x="264111" y="1237668"/>
                  <a:pt x="262072" y="1237523"/>
                </a:cubicBezTo>
                <a:cubicBezTo>
                  <a:pt x="239751" y="1235944"/>
                  <a:pt x="217441" y="1234201"/>
                  <a:pt x="195111" y="1232775"/>
                </a:cubicBezTo>
                <a:cubicBezTo>
                  <a:pt x="178437" y="1231710"/>
                  <a:pt x="161712" y="1231378"/>
                  <a:pt x="145060" y="1230076"/>
                </a:cubicBezTo>
                <a:cubicBezTo>
                  <a:pt x="134969" y="1229287"/>
                  <a:pt x="124987" y="1227177"/>
                  <a:pt x="114933" y="1225832"/>
                </a:cubicBezTo>
                <a:cubicBezTo>
                  <a:pt x="100834" y="1223946"/>
                  <a:pt x="86554" y="1223022"/>
                  <a:pt x="72642" y="1220237"/>
                </a:cubicBezTo>
                <a:cubicBezTo>
                  <a:pt x="51920" y="1216091"/>
                  <a:pt x="31443" y="1210723"/>
                  <a:pt x="10894" y="1205737"/>
                </a:cubicBezTo>
                <a:cubicBezTo>
                  <a:pt x="9027" y="1205284"/>
                  <a:pt x="6196" y="1204140"/>
                  <a:pt x="5856" y="1202799"/>
                </a:cubicBezTo>
                <a:cubicBezTo>
                  <a:pt x="3474" y="1193418"/>
                  <a:pt x="-438" y="1183796"/>
                  <a:pt x="40" y="1174450"/>
                </a:cubicBezTo>
                <a:cubicBezTo>
                  <a:pt x="1079" y="1154149"/>
                  <a:pt x="9757" y="1135843"/>
                  <a:pt x="19831" y="1118410"/>
                </a:cubicBezTo>
                <a:cubicBezTo>
                  <a:pt x="21968" y="1114713"/>
                  <a:pt x="22970" y="1111858"/>
                  <a:pt x="22004" y="1107240"/>
                </a:cubicBezTo>
                <a:cubicBezTo>
                  <a:pt x="17168" y="1084118"/>
                  <a:pt x="17717" y="1061168"/>
                  <a:pt x="25947" y="1038650"/>
                </a:cubicBezTo>
                <a:cubicBezTo>
                  <a:pt x="32954" y="1019481"/>
                  <a:pt x="44478" y="1003118"/>
                  <a:pt x="58234" y="988567"/>
                </a:cubicBezTo>
                <a:cubicBezTo>
                  <a:pt x="77769" y="967902"/>
                  <a:pt x="97978" y="947832"/>
                  <a:pt x="118645" y="928298"/>
                </a:cubicBezTo>
                <a:cubicBezTo>
                  <a:pt x="130104" y="917467"/>
                  <a:pt x="131835" y="905961"/>
                  <a:pt x="126320" y="892015"/>
                </a:cubicBezTo>
                <a:cubicBezTo>
                  <a:pt x="123798" y="885637"/>
                  <a:pt x="122123" y="878904"/>
                  <a:pt x="120345" y="872258"/>
                </a:cubicBezTo>
                <a:cubicBezTo>
                  <a:pt x="119029" y="867341"/>
                  <a:pt x="120162" y="863613"/>
                  <a:pt x="125668" y="861640"/>
                </a:cubicBezTo>
                <a:cubicBezTo>
                  <a:pt x="135266" y="858201"/>
                  <a:pt x="144535" y="853788"/>
                  <a:pt x="154237" y="850716"/>
                </a:cubicBezTo>
                <a:cubicBezTo>
                  <a:pt x="161882" y="848296"/>
                  <a:pt x="167110" y="843897"/>
                  <a:pt x="170248" y="836767"/>
                </a:cubicBezTo>
                <a:cubicBezTo>
                  <a:pt x="176168" y="823316"/>
                  <a:pt x="182193" y="809907"/>
                  <a:pt x="187840" y="796341"/>
                </a:cubicBezTo>
                <a:cubicBezTo>
                  <a:pt x="195194" y="778679"/>
                  <a:pt x="202250" y="760894"/>
                  <a:pt x="209346" y="743126"/>
                </a:cubicBezTo>
                <a:cubicBezTo>
                  <a:pt x="210083" y="741280"/>
                  <a:pt x="210252" y="739200"/>
                  <a:pt x="210630" y="737219"/>
                </a:cubicBezTo>
                <a:cubicBezTo>
                  <a:pt x="211694" y="731645"/>
                  <a:pt x="212425" y="725987"/>
                  <a:pt x="213836" y="720505"/>
                </a:cubicBezTo>
                <a:cubicBezTo>
                  <a:pt x="218406" y="702764"/>
                  <a:pt x="223811" y="685219"/>
                  <a:pt x="227791" y="667353"/>
                </a:cubicBezTo>
                <a:cubicBezTo>
                  <a:pt x="232826" y="644755"/>
                  <a:pt x="237367" y="622009"/>
                  <a:pt x="241013" y="599151"/>
                </a:cubicBezTo>
                <a:cubicBezTo>
                  <a:pt x="244018" y="580319"/>
                  <a:pt x="246001" y="561272"/>
                  <a:pt x="247322" y="542242"/>
                </a:cubicBezTo>
                <a:cubicBezTo>
                  <a:pt x="248312" y="527975"/>
                  <a:pt x="246344" y="513451"/>
                  <a:pt x="247948" y="499296"/>
                </a:cubicBezTo>
                <a:cubicBezTo>
                  <a:pt x="249066" y="489432"/>
                  <a:pt x="247923" y="480014"/>
                  <a:pt x="247577" y="470384"/>
                </a:cubicBezTo>
                <a:cubicBezTo>
                  <a:pt x="247364" y="464453"/>
                  <a:pt x="245121" y="461397"/>
                  <a:pt x="238877" y="460987"/>
                </a:cubicBezTo>
                <a:cubicBezTo>
                  <a:pt x="233224" y="460615"/>
                  <a:pt x="227461" y="459920"/>
                  <a:pt x="222040" y="458353"/>
                </a:cubicBezTo>
                <a:cubicBezTo>
                  <a:pt x="203991" y="453134"/>
                  <a:pt x="185737" y="448229"/>
                  <a:pt x="172193" y="433714"/>
                </a:cubicBezTo>
                <a:cubicBezTo>
                  <a:pt x="162702" y="423544"/>
                  <a:pt x="160887" y="408134"/>
                  <a:pt x="168410" y="396591"/>
                </a:cubicBezTo>
                <a:cubicBezTo>
                  <a:pt x="178294" y="381428"/>
                  <a:pt x="193736" y="373793"/>
                  <a:pt x="209826" y="367773"/>
                </a:cubicBezTo>
                <a:cubicBezTo>
                  <a:pt x="223159" y="362784"/>
                  <a:pt x="237124" y="359493"/>
                  <a:pt x="250732" y="355208"/>
                </a:cubicBezTo>
                <a:cubicBezTo>
                  <a:pt x="253085" y="354467"/>
                  <a:pt x="255058" y="352518"/>
                  <a:pt x="258289" y="350426"/>
                </a:cubicBezTo>
                <a:cubicBezTo>
                  <a:pt x="250173" y="342610"/>
                  <a:pt x="241833" y="337880"/>
                  <a:pt x="233274" y="333513"/>
                </a:cubicBezTo>
                <a:cubicBezTo>
                  <a:pt x="232377" y="333055"/>
                  <a:pt x="230890" y="333758"/>
                  <a:pt x="229677" y="333922"/>
                </a:cubicBezTo>
                <a:cubicBezTo>
                  <a:pt x="229677" y="333922"/>
                  <a:pt x="230323" y="333834"/>
                  <a:pt x="230149" y="332979"/>
                </a:cubicBezTo>
                <a:cubicBezTo>
                  <a:pt x="229023" y="330409"/>
                  <a:pt x="228502" y="328059"/>
                  <a:pt x="227053" y="327076"/>
                </a:cubicBezTo>
                <a:cubicBezTo>
                  <a:pt x="213615" y="317962"/>
                  <a:pt x="204643" y="305332"/>
                  <a:pt x="196769" y="291380"/>
                </a:cubicBezTo>
                <a:cubicBezTo>
                  <a:pt x="191792" y="282564"/>
                  <a:pt x="185421" y="274665"/>
                  <a:pt x="184389" y="264042"/>
                </a:cubicBezTo>
                <a:cubicBezTo>
                  <a:pt x="184179" y="261874"/>
                  <a:pt x="181925" y="259908"/>
                  <a:pt x="180630" y="257839"/>
                </a:cubicBezTo>
                <a:cubicBezTo>
                  <a:pt x="179137" y="255454"/>
                  <a:pt x="177317" y="253204"/>
                  <a:pt x="176231" y="250643"/>
                </a:cubicBezTo>
                <a:cubicBezTo>
                  <a:pt x="161865" y="216749"/>
                  <a:pt x="159606" y="182060"/>
                  <a:pt x="170073" y="146723"/>
                </a:cubicBezTo>
                <a:cubicBezTo>
                  <a:pt x="173311" y="135795"/>
                  <a:pt x="177248" y="125074"/>
                  <a:pt x="180929" y="114280"/>
                </a:cubicBezTo>
                <a:cubicBezTo>
                  <a:pt x="182396" y="109981"/>
                  <a:pt x="183922" y="105742"/>
                  <a:pt x="180839" y="101501"/>
                </a:cubicBezTo>
                <a:cubicBezTo>
                  <a:pt x="192473" y="75833"/>
                  <a:pt x="211344" y="56271"/>
                  <a:pt x="233536" y="39653"/>
                </a:cubicBezTo>
                <a:cubicBezTo>
                  <a:pt x="267321" y="14353"/>
                  <a:pt x="305621" y="873"/>
                  <a:pt x="347618" y="35"/>
                </a:cubicBezTo>
                <a:cubicBezTo>
                  <a:pt x="379125" y="-593"/>
                  <a:pt x="409214" y="7172"/>
                  <a:pt x="437139" y="22396"/>
                </a:cubicBezTo>
                <a:cubicBezTo>
                  <a:pt x="481844" y="46766"/>
                  <a:pt x="514077" y="82116"/>
                  <a:pt x="529052" y="131093"/>
                </a:cubicBezTo>
                <a:cubicBezTo>
                  <a:pt x="543544" y="178495"/>
                  <a:pt x="541630" y="225548"/>
                  <a:pt x="518497" y="271517"/>
                </a:cubicBezTo>
                <a:cubicBezTo>
                  <a:pt x="511428" y="277096"/>
                  <a:pt x="503848" y="281136"/>
                  <a:pt x="500808" y="287385"/>
                </a:cubicBezTo>
                <a:cubicBezTo>
                  <a:pt x="493932" y="301522"/>
                  <a:pt x="483805" y="312513"/>
                  <a:pt x="472948" y="323290"/>
                </a:cubicBezTo>
                <a:cubicBezTo>
                  <a:pt x="470972" y="325253"/>
                  <a:pt x="470533" y="328767"/>
                  <a:pt x="469385" y="331565"/>
                </a:cubicBezTo>
                <a:cubicBezTo>
                  <a:pt x="469385" y="331565"/>
                  <a:pt x="469172" y="331584"/>
                  <a:pt x="468293" y="331320"/>
                </a:cubicBezTo>
                <a:cubicBezTo>
                  <a:pt x="461937" y="330836"/>
                  <a:pt x="458618" y="332772"/>
                  <a:pt x="459542" y="338942"/>
                </a:cubicBezTo>
                <a:cubicBezTo>
                  <a:pt x="459542" y="338942"/>
                  <a:pt x="459473" y="338913"/>
                  <a:pt x="458492" y="338671"/>
                </a:cubicBezTo>
                <a:cubicBezTo>
                  <a:pt x="450936" y="342653"/>
                  <a:pt x="440712" y="341355"/>
                  <a:pt x="436978" y="352226"/>
                </a:cubicBezTo>
                <a:cubicBezTo>
                  <a:pt x="449178" y="355911"/>
                  <a:pt x="460733" y="359469"/>
                  <a:pt x="472329" y="362890"/>
                </a:cubicBezTo>
                <a:cubicBezTo>
                  <a:pt x="491728" y="368613"/>
                  <a:pt x="510182" y="375784"/>
                  <a:pt x="523779" y="391962"/>
                </a:cubicBezTo>
                <a:cubicBezTo>
                  <a:pt x="535849" y="406326"/>
                  <a:pt x="534845" y="420076"/>
                  <a:pt x="527344" y="430096"/>
                </a:cubicBezTo>
                <a:cubicBezTo>
                  <a:pt x="521323" y="438139"/>
                  <a:pt x="513928" y="445333"/>
                  <a:pt x="504112" y="449628"/>
                </a:cubicBezTo>
                <a:cubicBezTo>
                  <a:pt x="489776" y="455901"/>
                  <a:pt x="475173" y="460486"/>
                  <a:pt x="459430" y="461116"/>
                </a:cubicBezTo>
                <a:cubicBezTo>
                  <a:pt x="448415" y="461557"/>
                  <a:pt x="446384" y="463369"/>
                  <a:pt x="446666" y="474229"/>
                </a:cubicBezTo>
                <a:cubicBezTo>
                  <a:pt x="447164" y="493376"/>
                  <a:pt x="447839" y="512533"/>
                  <a:pt x="449133" y="531639"/>
                </a:cubicBezTo>
                <a:cubicBezTo>
                  <a:pt x="450424" y="550696"/>
                  <a:pt x="451783" y="569809"/>
                  <a:pt x="454546" y="588688"/>
                </a:cubicBezTo>
                <a:cubicBezTo>
                  <a:pt x="457543" y="609164"/>
                  <a:pt x="462165" y="629403"/>
                  <a:pt x="466126" y="649736"/>
                </a:cubicBezTo>
                <a:cubicBezTo>
                  <a:pt x="475845" y="699621"/>
                  <a:pt x="493414" y="746980"/>
                  <a:pt x="512154" y="794006"/>
                </a:cubicBezTo>
                <a:cubicBezTo>
                  <a:pt x="517387" y="807138"/>
                  <a:pt x="525145" y="819463"/>
                  <a:pt x="525763" y="834323"/>
                </a:cubicBezTo>
                <a:cubicBezTo>
                  <a:pt x="525919" y="838081"/>
                  <a:pt x="527739" y="843335"/>
                  <a:pt x="530555" y="845114"/>
                </a:cubicBezTo>
                <a:cubicBezTo>
                  <a:pt x="537981" y="849801"/>
                  <a:pt x="546243" y="853278"/>
                  <a:pt x="554424" y="856618"/>
                </a:cubicBezTo>
                <a:cubicBezTo>
                  <a:pt x="560391" y="859054"/>
                  <a:pt x="567041" y="859887"/>
                  <a:pt x="572880" y="862546"/>
                </a:cubicBezTo>
                <a:cubicBezTo>
                  <a:pt x="581470" y="866458"/>
                  <a:pt x="582467" y="871415"/>
                  <a:pt x="578643" y="880396"/>
                </a:cubicBezTo>
                <a:cubicBezTo>
                  <a:pt x="575969" y="886677"/>
                  <a:pt x="572900" y="893182"/>
                  <a:pt x="572188" y="899820"/>
                </a:cubicBezTo>
                <a:cubicBezTo>
                  <a:pt x="570960" y="911271"/>
                  <a:pt x="576506" y="920944"/>
                  <a:pt x="582698" y="930382"/>
                </a:cubicBezTo>
                <a:cubicBezTo>
                  <a:pt x="589569" y="940856"/>
                  <a:pt x="600933" y="947930"/>
                  <a:pt x="604747" y="960852"/>
                </a:cubicBezTo>
                <a:cubicBezTo>
                  <a:pt x="605684" y="964030"/>
                  <a:pt x="610294" y="967128"/>
                  <a:pt x="613863" y="968311"/>
                </a:cubicBezTo>
                <a:cubicBezTo>
                  <a:pt x="620963" y="970665"/>
                  <a:pt x="625924" y="974774"/>
                  <a:pt x="629435" y="981186"/>
                </a:cubicBezTo>
                <a:cubicBezTo>
                  <a:pt x="630381" y="982913"/>
                  <a:pt x="631977" y="984459"/>
                  <a:pt x="633611" y="985609"/>
                </a:cubicBezTo>
                <a:cubicBezTo>
                  <a:pt x="655878" y="1001272"/>
                  <a:pt x="668032" y="1023762"/>
                  <a:pt x="673790" y="1049348"/>
                </a:cubicBezTo>
                <a:cubicBezTo>
                  <a:pt x="676936" y="1063327"/>
                  <a:pt x="679769" y="1077802"/>
                  <a:pt x="675873" y="1092839"/>
                </a:cubicBezTo>
                <a:cubicBezTo>
                  <a:pt x="672677" y="1105174"/>
                  <a:pt x="673042" y="1116963"/>
                  <a:pt x="681668" y="1129292"/>
                </a:cubicBezTo>
                <a:cubicBezTo>
                  <a:pt x="695321" y="1148802"/>
                  <a:pt x="698550" y="1172235"/>
                  <a:pt x="697338" y="1196079"/>
                </a:cubicBezTo>
                <a:cubicBezTo>
                  <a:pt x="697087" y="1201014"/>
                  <a:pt x="694979" y="1203886"/>
                  <a:pt x="690637" y="1205035"/>
                </a:cubicBezTo>
                <a:cubicBezTo>
                  <a:pt x="673723" y="1209511"/>
                  <a:pt x="656856" y="1214241"/>
                  <a:pt x="639777" y="1217994"/>
                </a:cubicBezTo>
                <a:cubicBezTo>
                  <a:pt x="622334" y="1221827"/>
                  <a:pt x="604691" y="1224790"/>
                  <a:pt x="587072" y="1227761"/>
                </a:cubicBezTo>
                <a:cubicBezTo>
                  <a:pt x="582708" y="1228497"/>
                  <a:pt x="581724" y="1230736"/>
                  <a:pt x="581793" y="1234401"/>
                </a:cubicBezTo>
                <a:moveTo>
                  <a:pt x="357446" y="903795"/>
                </a:moveTo>
                <a:cubicBezTo>
                  <a:pt x="353141" y="903795"/>
                  <a:pt x="348835" y="903795"/>
                  <a:pt x="344445" y="903795"/>
                </a:cubicBezTo>
                <a:cubicBezTo>
                  <a:pt x="346169" y="920562"/>
                  <a:pt x="347908" y="935520"/>
                  <a:pt x="349212" y="950515"/>
                </a:cubicBezTo>
                <a:cubicBezTo>
                  <a:pt x="352656" y="990125"/>
                  <a:pt x="351941" y="1029743"/>
                  <a:pt x="349538" y="1069392"/>
                </a:cubicBezTo>
                <a:cubicBezTo>
                  <a:pt x="348759" y="1082241"/>
                  <a:pt x="349415" y="1095176"/>
                  <a:pt x="349415" y="1108925"/>
                </a:cubicBezTo>
                <a:cubicBezTo>
                  <a:pt x="449467" y="1111953"/>
                  <a:pt x="548509" y="1104712"/>
                  <a:pt x="647726" y="1089872"/>
                </a:cubicBezTo>
                <a:cubicBezTo>
                  <a:pt x="647726" y="1084313"/>
                  <a:pt x="648180" y="1080225"/>
                  <a:pt x="647654" y="1076267"/>
                </a:cubicBezTo>
                <a:cubicBezTo>
                  <a:pt x="643515" y="1045124"/>
                  <a:pt x="633172" y="1016714"/>
                  <a:pt x="610267" y="994126"/>
                </a:cubicBezTo>
                <a:cubicBezTo>
                  <a:pt x="597451" y="981485"/>
                  <a:pt x="584392" y="969090"/>
                  <a:pt x="571459" y="956568"/>
                </a:cubicBezTo>
                <a:cubicBezTo>
                  <a:pt x="555751" y="941359"/>
                  <a:pt x="544836" y="923558"/>
                  <a:pt x="541653" y="901544"/>
                </a:cubicBezTo>
                <a:cubicBezTo>
                  <a:pt x="541430" y="900007"/>
                  <a:pt x="540528" y="898570"/>
                  <a:pt x="539477" y="895908"/>
                </a:cubicBezTo>
                <a:cubicBezTo>
                  <a:pt x="479736" y="901652"/>
                  <a:pt x="419815" y="904536"/>
                  <a:pt x="357446" y="903795"/>
                </a:cubicBezTo>
                <a:moveTo>
                  <a:pt x="300108" y="85260"/>
                </a:moveTo>
                <a:cubicBezTo>
                  <a:pt x="293656" y="98745"/>
                  <a:pt x="289202" y="113094"/>
                  <a:pt x="290213" y="127888"/>
                </a:cubicBezTo>
                <a:cubicBezTo>
                  <a:pt x="292527" y="161736"/>
                  <a:pt x="304185" y="191723"/>
                  <a:pt x="331056" y="214168"/>
                </a:cubicBezTo>
                <a:cubicBezTo>
                  <a:pt x="358172" y="236816"/>
                  <a:pt x="388435" y="249934"/>
                  <a:pt x="424717" y="245160"/>
                </a:cubicBezTo>
                <a:cubicBezTo>
                  <a:pt x="468593" y="239387"/>
                  <a:pt x="509574" y="203365"/>
                  <a:pt x="496752" y="141256"/>
                </a:cubicBezTo>
                <a:cubicBezTo>
                  <a:pt x="487021" y="94124"/>
                  <a:pt x="447261" y="51874"/>
                  <a:pt x="390320" y="43995"/>
                </a:cubicBezTo>
                <a:cubicBezTo>
                  <a:pt x="353241" y="38865"/>
                  <a:pt x="321136" y="48750"/>
                  <a:pt x="300108" y="85260"/>
                </a:cubicBezTo>
                <a:moveTo>
                  <a:pt x="343360" y="634332"/>
                </a:moveTo>
                <a:cubicBezTo>
                  <a:pt x="342539" y="666975"/>
                  <a:pt x="341785" y="699619"/>
                  <a:pt x="340877" y="732259"/>
                </a:cubicBezTo>
                <a:cubicBezTo>
                  <a:pt x="340151" y="758355"/>
                  <a:pt x="339265" y="784447"/>
                  <a:pt x="338360" y="810538"/>
                </a:cubicBezTo>
                <a:cubicBezTo>
                  <a:pt x="338277" y="812948"/>
                  <a:pt x="337465" y="815325"/>
                  <a:pt x="337115" y="817736"/>
                </a:cubicBezTo>
                <a:cubicBezTo>
                  <a:pt x="334935" y="832710"/>
                  <a:pt x="336026" y="847647"/>
                  <a:pt x="336516" y="863022"/>
                </a:cubicBezTo>
                <a:cubicBezTo>
                  <a:pt x="339537" y="863479"/>
                  <a:pt x="341490" y="864053"/>
                  <a:pt x="343436" y="864027"/>
                </a:cubicBezTo>
                <a:cubicBezTo>
                  <a:pt x="364531" y="863739"/>
                  <a:pt x="385626" y="863422"/>
                  <a:pt x="406718" y="862982"/>
                </a:cubicBezTo>
                <a:cubicBezTo>
                  <a:pt x="423444" y="862634"/>
                  <a:pt x="440168" y="861675"/>
                  <a:pt x="456888" y="861794"/>
                </a:cubicBezTo>
                <a:cubicBezTo>
                  <a:pt x="469887" y="861886"/>
                  <a:pt x="482872" y="863302"/>
                  <a:pt x="495873" y="863963"/>
                </a:cubicBezTo>
                <a:cubicBezTo>
                  <a:pt x="500358" y="864191"/>
                  <a:pt x="505108" y="864773"/>
                  <a:pt x="509286" y="863595"/>
                </a:cubicBezTo>
                <a:cubicBezTo>
                  <a:pt x="512346" y="862732"/>
                  <a:pt x="515714" y="859703"/>
                  <a:pt x="516956" y="856791"/>
                </a:cubicBezTo>
                <a:cubicBezTo>
                  <a:pt x="517783" y="854851"/>
                  <a:pt x="515475" y="851192"/>
                  <a:pt x="513920" y="848709"/>
                </a:cubicBezTo>
                <a:cubicBezTo>
                  <a:pt x="511791" y="845308"/>
                  <a:pt x="508393" y="842606"/>
                  <a:pt x="506683" y="839054"/>
                </a:cubicBezTo>
                <a:cubicBezTo>
                  <a:pt x="500331" y="825864"/>
                  <a:pt x="493224" y="812855"/>
                  <a:pt x="488629" y="799037"/>
                </a:cubicBezTo>
                <a:cubicBezTo>
                  <a:pt x="477322" y="765031"/>
                  <a:pt x="466537" y="730814"/>
                  <a:pt x="456922" y="696297"/>
                </a:cubicBezTo>
                <a:cubicBezTo>
                  <a:pt x="449953" y="671276"/>
                  <a:pt x="443477" y="646020"/>
                  <a:pt x="441346" y="619885"/>
                </a:cubicBezTo>
                <a:cubicBezTo>
                  <a:pt x="440327" y="607371"/>
                  <a:pt x="437466" y="595018"/>
                  <a:pt x="435963" y="582529"/>
                </a:cubicBezTo>
                <a:cubicBezTo>
                  <a:pt x="433539" y="562380"/>
                  <a:pt x="431154" y="542212"/>
                  <a:pt x="429497" y="521990"/>
                </a:cubicBezTo>
                <a:cubicBezTo>
                  <a:pt x="428135" y="505363"/>
                  <a:pt x="428437" y="488593"/>
                  <a:pt x="426887" y="471989"/>
                </a:cubicBezTo>
                <a:cubicBezTo>
                  <a:pt x="425874" y="461140"/>
                  <a:pt x="424983" y="461120"/>
                  <a:pt x="413744" y="461077"/>
                </a:cubicBezTo>
                <a:cubicBezTo>
                  <a:pt x="393687" y="461000"/>
                  <a:pt x="373630" y="461011"/>
                  <a:pt x="353573" y="461120"/>
                </a:cubicBezTo>
                <a:cubicBezTo>
                  <a:pt x="350472" y="461137"/>
                  <a:pt x="347374" y="461869"/>
                  <a:pt x="344160" y="462286"/>
                </a:cubicBezTo>
                <a:cubicBezTo>
                  <a:pt x="343828" y="465198"/>
                  <a:pt x="343406" y="467195"/>
                  <a:pt x="343404" y="469192"/>
                </a:cubicBezTo>
                <a:cubicBezTo>
                  <a:pt x="343360" y="504394"/>
                  <a:pt x="343267" y="539596"/>
                  <a:pt x="343469" y="574797"/>
                </a:cubicBezTo>
                <a:cubicBezTo>
                  <a:pt x="343501" y="580426"/>
                  <a:pt x="345652" y="586065"/>
                  <a:pt x="345522" y="591669"/>
                </a:cubicBezTo>
                <a:cubicBezTo>
                  <a:pt x="345214" y="605082"/>
                  <a:pt x="344131" y="618478"/>
                  <a:pt x="343360" y="634332"/>
                </a:cubicBezTo>
                <a:moveTo>
                  <a:pt x="416946" y="385943"/>
                </a:moveTo>
                <a:cubicBezTo>
                  <a:pt x="411661" y="386365"/>
                  <a:pt x="406384" y="387006"/>
                  <a:pt x="401091" y="387162"/>
                </a:cubicBezTo>
                <a:cubicBezTo>
                  <a:pt x="390470" y="387477"/>
                  <a:pt x="379841" y="387447"/>
                  <a:pt x="369218" y="387708"/>
                </a:cubicBezTo>
                <a:cubicBezTo>
                  <a:pt x="361167" y="387906"/>
                  <a:pt x="354429" y="391368"/>
                  <a:pt x="351833" y="398991"/>
                </a:cubicBezTo>
                <a:cubicBezTo>
                  <a:pt x="348989" y="407342"/>
                  <a:pt x="347050" y="416214"/>
                  <a:pt x="349778" y="426021"/>
                </a:cubicBezTo>
                <a:cubicBezTo>
                  <a:pt x="353876" y="426204"/>
                  <a:pt x="357857" y="426517"/>
                  <a:pt x="361839" y="426538"/>
                </a:cubicBezTo>
                <a:cubicBezTo>
                  <a:pt x="392900" y="426701"/>
                  <a:pt x="423961" y="426826"/>
                  <a:pt x="455022" y="426922"/>
                </a:cubicBezTo>
                <a:cubicBezTo>
                  <a:pt x="464013" y="426950"/>
                  <a:pt x="473106" y="427654"/>
                  <a:pt x="481958" y="426527"/>
                </a:cubicBezTo>
                <a:cubicBezTo>
                  <a:pt x="488144" y="425740"/>
                  <a:pt x="494821" y="423501"/>
                  <a:pt x="499817" y="419888"/>
                </a:cubicBezTo>
                <a:cubicBezTo>
                  <a:pt x="507869" y="414066"/>
                  <a:pt x="507286" y="406755"/>
                  <a:pt x="499439" y="400719"/>
                </a:cubicBezTo>
                <a:cubicBezTo>
                  <a:pt x="490179" y="393597"/>
                  <a:pt x="479486" y="388885"/>
                  <a:pt x="468062" y="387775"/>
                </a:cubicBezTo>
                <a:cubicBezTo>
                  <a:pt x="451873" y="386202"/>
                  <a:pt x="435520" y="386321"/>
                  <a:pt x="416946" y="385943"/>
                </a:cubicBezTo>
                <a:moveTo>
                  <a:pt x="636802" y="1190940"/>
                </a:moveTo>
                <a:cubicBezTo>
                  <a:pt x="646709" y="1188723"/>
                  <a:pt x="656705" y="1186841"/>
                  <a:pt x="666492" y="1184186"/>
                </a:cubicBezTo>
                <a:cubicBezTo>
                  <a:pt x="674710" y="1181958"/>
                  <a:pt x="676989" y="1178509"/>
                  <a:pt x="674465" y="1170880"/>
                </a:cubicBezTo>
                <a:cubicBezTo>
                  <a:pt x="671144" y="1160843"/>
                  <a:pt x="667026" y="1151009"/>
                  <a:pt x="662462" y="1141464"/>
                </a:cubicBezTo>
                <a:cubicBezTo>
                  <a:pt x="659273" y="1134795"/>
                  <a:pt x="653671" y="1130908"/>
                  <a:pt x="645564" y="1131937"/>
                </a:cubicBezTo>
                <a:cubicBezTo>
                  <a:pt x="639532" y="1132703"/>
                  <a:pt x="633423" y="1132867"/>
                  <a:pt x="627387" y="1133618"/>
                </a:cubicBezTo>
                <a:cubicBezTo>
                  <a:pt x="612888" y="1135421"/>
                  <a:pt x="598449" y="1137770"/>
                  <a:pt x="583917" y="1139222"/>
                </a:cubicBezTo>
                <a:cubicBezTo>
                  <a:pt x="570571" y="1140557"/>
                  <a:pt x="557130" y="1140930"/>
                  <a:pt x="543741" y="1141869"/>
                </a:cubicBezTo>
                <a:cubicBezTo>
                  <a:pt x="533202" y="1142610"/>
                  <a:pt x="522682" y="1143623"/>
                  <a:pt x="512146" y="1144418"/>
                </a:cubicBezTo>
                <a:cubicBezTo>
                  <a:pt x="490671" y="1146038"/>
                  <a:pt x="469214" y="1148450"/>
                  <a:pt x="447711" y="1148973"/>
                </a:cubicBezTo>
                <a:cubicBezTo>
                  <a:pt x="415817" y="1149749"/>
                  <a:pt x="383891" y="1149136"/>
                  <a:pt x="351979" y="1149200"/>
                </a:cubicBezTo>
                <a:cubicBezTo>
                  <a:pt x="347698" y="1149209"/>
                  <a:pt x="343419" y="1149717"/>
                  <a:pt x="338443" y="1150040"/>
                </a:cubicBezTo>
                <a:cubicBezTo>
                  <a:pt x="338443" y="1164651"/>
                  <a:pt x="338413" y="1177715"/>
                  <a:pt x="338451" y="1190780"/>
                </a:cubicBezTo>
                <a:cubicBezTo>
                  <a:pt x="338490" y="1204031"/>
                  <a:pt x="338512" y="1204062"/>
                  <a:pt x="351082" y="1207015"/>
                </a:cubicBezTo>
                <a:cubicBezTo>
                  <a:pt x="353445" y="1207570"/>
                  <a:pt x="355895" y="1208128"/>
                  <a:pt x="358298" y="1208094"/>
                </a:cubicBezTo>
                <a:cubicBezTo>
                  <a:pt x="412608" y="1207329"/>
                  <a:pt x="466919" y="1206484"/>
                  <a:pt x="521229" y="1205646"/>
                </a:cubicBezTo>
                <a:cubicBezTo>
                  <a:pt x="522045" y="1205634"/>
                  <a:pt x="522865" y="1205591"/>
                  <a:pt x="523675" y="1205490"/>
                </a:cubicBezTo>
                <a:cubicBezTo>
                  <a:pt x="542593" y="1203123"/>
                  <a:pt x="561519" y="1200820"/>
                  <a:pt x="580423" y="1198350"/>
                </a:cubicBezTo>
                <a:cubicBezTo>
                  <a:pt x="598523" y="1195985"/>
                  <a:pt x="616599" y="1193446"/>
                  <a:pt x="636802" y="1190940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7703" name="Free-form: Shape 7702">
            <a:extLst>
              <a:ext uri="{FF2B5EF4-FFF2-40B4-BE49-F238E27FC236}">
                <a16:creationId xmlns:a16="http://schemas.microsoft.com/office/drawing/2014/main" id="{460F95CE-4164-35B3-5144-2D43579EC862}"/>
              </a:ext>
            </a:extLst>
          </p:cNvPr>
          <p:cNvSpPr/>
          <p:nvPr/>
        </p:nvSpPr>
        <p:spPr>
          <a:xfrm>
            <a:off x="1469023" y="6758962"/>
            <a:ext cx="27674" cy="2925"/>
          </a:xfrm>
          <a:custGeom>
            <a:avLst/>
            <a:gdLst>
              <a:gd name="csX0" fmla="*/ 0 w 27674"/>
              <a:gd name="csY0" fmla="*/ 2915 h 2925"/>
              <a:gd name="csX1" fmla="*/ 27675 w 27674"/>
              <a:gd name="csY1" fmla="*/ 1550 h 2925"/>
              <a:gd name="csX2" fmla="*/ 0 w 27674"/>
              <a:gd name="csY2" fmla="*/ 2915 h 292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27674" h="2925">
                <a:moveTo>
                  <a:pt x="0" y="2915"/>
                </a:moveTo>
                <a:cubicBezTo>
                  <a:pt x="8211" y="-1939"/>
                  <a:pt x="17625" y="498"/>
                  <a:pt x="27675" y="1550"/>
                </a:cubicBezTo>
                <a:cubicBezTo>
                  <a:pt x="19225" y="2593"/>
                  <a:pt x="10029" y="2999"/>
                  <a:pt x="0" y="2915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7704" name="Free-form: Shape 7703">
            <a:extLst>
              <a:ext uri="{FF2B5EF4-FFF2-40B4-BE49-F238E27FC236}">
                <a16:creationId xmlns:a16="http://schemas.microsoft.com/office/drawing/2014/main" id="{E0D3AF5A-5409-AAF7-B506-4E2BA180074B}"/>
              </a:ext>
            </a:extLst>
          </p:cNvPr>
          <p:cNvSpPr/>
          <p:nvPr/>
        </p:nvSpPr>
        <p:spPr>
          <a:xfrm>
            <a:off x="1392839" y="6760611"/>
            <a:ext cx="18003" cy="1128"/>
          </a:xfrm>
          <a:custGeom>
            <a:avLst/>
            <a:gdLst>
              <a:gd name="csX0" fmla="*/ 0 w 18003"/>
              <a:gd name="csY0" fmla="*/ 1050 h 1128"/>
              <a:gd name="csX1" fmla="*/ 18004 w 18003"/>
              <a:gd name="csY1" fmla="*/ 93 h 1128"/>
              <a:gd name="csX2" fmla="*/ 0 w 18003"/>
              <a:gd name="csY2" fmla="*/ 1050 h 112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8003" h="1128">
                <a:moveTo>
                  <a:pt x="0" y="1050"/>
                </a:moveTo>
                <a:cubicBezTo>
                  <a:pt x="5276" y="182"/>
                  <a:pt x="11306" y="-189"/>
                  <a:pt x="18004" y="93"/>
                </a:cubicBezTo>
                <a:cubicBezTo>
                  <a:pt x="12699" y="1013"/>
                  <a:pt x="6726" y="1280"/>
                  <a:pt x="0" y="1050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7705" name="Free-form: Shape 7704">
            <a:extLst>
              <a:ext uri="{FF2B5EF4-FFF2-40B4-BE49-F238E27FC236}">
                <a16:creationId xmlns:a16="http://schemas.microsoft.com/office/drawing/2014/main" id="{AC4CEC29-A1BB-6CED-1D1D-AC078138AF60}"/>
              </a:ext>
            </a:extLst>
          </p:cNvPr>
          <p:cNvSpPr/>
          <p:nvPr/>
        </p:nvSpPr>
        <p:spPr>
          <a:xfrm>
            <a:off x="1523238" y="5847775"/>
            <a:ext cx="8466" cy="7838"/>
          </a:xfrm>
          <a:custGeom>
            <a:avLst/>
            <a:gdLst>
              <a:gd name="csX0" fmla="*/ 473 w 8466"/>
              <a:gd name="csY0" fmla="*/ 7839 h 7838"/>
              <a:gd name="csX1" fmla="*/ 8466 w 8466"/>
              <a:gd name="csY1" fmla="*/ 61 h 7838"/>
              <a:gd name="csX2" fmla="*/ 473 w 8466"/>
              <a:gd name="csY2" fmla="*/ 7839 h 783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66" h="7838">
                <a:moveTo>
                  <a:pt x="473" y="7839"/>
                </a:moveTo>
                <a:cubicBezTo>
                  <a:pt x="-1298" y="1550"/>
                  <a:pt x="2020" y="-386"/>
                  <a:pt x="8466" y="61"/>
                </a:cubicBezTo>
                <a:cubicBezTo>
                  <a:pt x="6730" y="2845"/>
                  <a:pt x="4026" y="5401"/>
                  <a:pt x="473" y="7839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7706" name="Free-form: Shape 7705">
            <a:extLst>
              <a:ext uri="{FF2B5EF4-FFF2-40B4-BE49-F238E27FC236}">
                <a16:creationId xmlns:a16="http://schemas.microsoft.com/office/drawing/2014/main" id="{21DCD40A-6F11-A9FE-5DB8-99C6212231DB}"/>
              </a:ext>
            </a:extLst>
          </p:cNvPr>
          <p:cNvSpPr/>
          <p:nvPr/>
        </p:nvSpPr>
        <p:spPr>
          <a:xfrm>
            <a:off x="1304215" y="6758172"/>
            <a:ext cx="8480" cy="996"/>
          </a:xfrm>
          <a:custGeom>
            <a:avLst/>
            <a:gdLst>
              <a:gd name="csX0" fmla="*/ 0 w 8480"/>
              <a:gd name="csY0" fmla="*/ 896 h 996"/>
              <a:gd name="csX1" fmla="*/ 8480 w 8480"/>
              <a:gd name="csY1" fmla="*/ 110 h 996"/>
              <a:gd name="csX2" fmla="*/ 0 w 8480"/>
              <a:gd name="csY2" fmla="*/ 896 h 99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80" h="996">
                <a:moveTo>
                  <a:pt x="0" y="896"/>
                </a:moveTo>
                <a:cubicBezTo>
                  <a:pt x="2285" y="115"/>
                  <a:pt x="5130" y="-182"/>
                  <a:pt x="8480" y="110"/>
                </a:cubicBezTo>
                <a:cubicBezTo>
                  <a:pt x="6177" y="927"/>
                  <a:pt x="3368" y="1153"/>
                  <a:pt x="0" y="896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7707" name="Free-form: Shape 7706">
            <a:extLst>
              <a:ext uri="{FF2B5EF4-FFF2-40B4-BE49-F238E27FC236}">
                <a16:creationId xmlns:a16="http://schemas.microsoft.com/office/drawing/2014/main" id="{3884C379-D8CD-BE3B-61F0-33CF216B417E}"/>
              </a:ext>
            </a:extLst>
          </p:cNvPr>
          <p:cNvSpPr/>
          <p:nvPr/>
        </p:nvSpPr>
        <p:spPr>
          <a:xfrm>
            <a:off x="1766046" y="6715449"/>
            <a:ext cx="1229" cy="6658"/>
          </a:xfrm>
          <a:custGeom>
            <a:avLst/>
            <a:gdLst>
              <a:gd name="csX0" fmla="*/ 132 w 1229"/>
              <a:gd name="csY0" fmla="*/ 6659 h 6658"/>
              <a:gd name="csX1" fmla="*/ 1107 w 1229"/>
              <a:gd name="csY1" fmla="*/ 0 h 6658"/>
              <a:gd name="csX2" fmla="*/ 132 w 1229"/>
              <a:gd name="csY2" fmla="*/ 6659 h 665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229" h="6658">
                <a:moveTo>
                  <a:pt x="132" y="6659"/>
                </a:moveTo>
                <a:cubicBezTo>
                  <a:pt x="-219" y="4616"/>
                  <a:pt x="139" y="2560"/>
                  <a:pt x="1107" y="0"/>
                </a:cubicBezTo>
                <a:cubicBezTo>
                  <a:pt x="1425" y="1879"/>
                  <a:pt x="1133" y="4263"/>
                  <a:pt x="132" y="6659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7708" name="Free-form: Shape 7707">
            <a:extLst>
              <a:ext uri="{FF2B5EF4-FFF2-40B4-BE49-F238E27FC236}">
                <a16:creationId xmlns:a16="http://schemas.microsoft.com/office/drawing/2014/main" id="{A1F470EF-1383-F4A9-7569-A6074F8B40FE}"/>
              </a:ext>
            </a:extLst>
          </p:cNvPr>
          <p:cNvSpPr/>
          <p:nvPr/>
        </p:nvSpPr>
        <p:spPr>
          <a:xfrm>
            <a:off x="1657826" y="6748105"/>
            <a:ext cx="3788" cy="1364"/>
          </a:xfrm>
          <a:custGeom>
            <a:avLst/>
            <a:gdLst>
              <a:gd name="csX0" fmla="*/ 0 w 3788"/>
              <a:gd name="csY0" fmla="*/ 1364 h 1364"/>
              <a:gd name="csX1" fmla="*/ 3788 w 3788"/>
              <a:gd name="csY1" fmla="*/ 0 h 1364"/>
              <a:gd name="csX2" fmla="*/ 0 w 3788"/>
              <a:gd name="csY2" fmla="*/ 1364 h 136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788" h="1364">
                <a:moveTo>
                  <a:pt x="0" y="1364"/>
                </a:moveTo>
                <a:cubicBezTo>
                  <a:pt x="856" y="517"/>
                  <a:pt x="2126" y="39"/>
                  <a:pt x="3788" y="0"/>
                </a:cubicBezTo>
                <a:cubicBezTo>
                  <a:pt x="2925" y="870"/>
                  <a:pt x="1670" y="1303"/>
                  <a:pt x="0" y="1364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7709" name="Free-form: Shape 7708">
            <a:extLst>
              <a:ext uri="{FF2B5EF4-FFF2-40B4-BE49-F238E27FC236}">
                <a16:creationId xmlns:a16="http://schemas.microsoft.com/office/drawing/2014/main" id="{3B4F7522-605F-6C10-751D-9DA9B6550932}"/>
              </a:ext>
            </a:extLst>
          </p:cNvPr>
          <p:cNvSpPr/>
          <p:nvPr/>
        </p:nvSpPr>
        <p:spPr>
          <a:xfrm>
            <a:off x="1220439" y="6753376"/>
            <a:ext cx="3990" cy="829"/>
          </a:xfrm>
          <a:custGeom>
            <a:avLst/>
            <a:gdLst>
              <a:gd name="csX0" fmla="*/ 0 w 3990"/>
              <a:gd name="csY0" fmla="*/ 719 h 829"/>
              <a:gd name="csX1" fmla="*/ 3990 w 3990"/>
              <a:gd name="csY1" fmla="*/ 119 h 829"/>
              <a:gd name="csX2" fmla="*/ 0 w 3990"/>
              <a:gd name="csY2" fmla="*/ 719 h 82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990" h="829">
                <a:moveTo>
                  <a:pt x="0" y="719"/>
                </a:moveTo>
                <a:cubicBezTo>
                  <a:pt x="982" y="66"/>
                  <a:pt x="2323" y="-163"/>
                  <a:pt x="3990" y="119"/>
                </a:cubicBezTo>
                <a:cubicBezTo>
                  <a:pt x="2998" y="800"/>
                  <a:pt x="1678" y="972"/>
                  <a:pt x="0" y="719"/>
                </a:cubicBezTo>
                <a:close/>
              </a:path>
            </a:pathLst>
          </a:custGeom>
          <a:solidFill>
            <a:srgbClr val="959DA0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7710" name="Free-form: Shape 7709">
            <a:extLst>
              <a:ext uri="{FF2B5EF4-FFF2-40B4-BE49-F238E27FC236}">
                <a16:creationId xmlns:a16="http://schemas.microsoft.com/office/drawing/2014/main" id="{2BE8061A-E934-4732-9B9C-5977352F5E87}"/>
              </a:ext>
            </a:extLst>
          </p:cNvPr>
          <p:cNvSpPr/>
          <p:nvPr/>
        </p:nvSpPr>
        <p:spPr>
          <a:xfrm>
            <a:off x="1559529" y="6758138"/>
            <a:ext cx="3893" cy="1135"/>
          </a:xfrm>
          <a:custGeom>
            <a:avLst/>
            <a:gdLst>
              <a:gd name="csX0" fmla="*/ 0 w 3893"/>
              <a:gd name="csY0" fmla="*/ 1133 h 1135"/>
              <a:gd name="csX1" fmla="*/ 3893 w 3893"/>
              <a:gd name="csY1" fmla="*/ 7 h 1135"/>
              <a:gd name="csX2" fmla="*/ 0 w 3893"/>
              <a:gd name="csY2" fmla="*/ 1133 h 113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893" h="1135">
                <a:moveTo>
                  <a:pt x="0" y="1133"/>
                </a:moveTo>
                <a:cubicBezTo>
                  <a:pt x="902" y="349"/>
                  <a:pt x="2213" y="-60"/>
                  <a:pt x="3893" y="7"/>
                </a:cubicBezTo>
                <a:cubicBezTo>
                  <a:pt x="2978" y="825"/>
                  <a:pt x="1693" y="1167"/>
                  <a:pt x="0" y="1133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7711" name="Free-form: Shape 7710">
            <a:extLst>
              <a:ext uri="{FF2B5EF4-FFF2-40B4-BE49-F238E27FC236}">
                <a16:creationId xmlns:a16="http://schemas.microsoft.com/office/drawing/2014/main" id="{59F86872-3E41-AEB5-8001-FBCA8871DDD2}"/>
              </a:ext>
            </a:extLst>
          </p:cNvPr>
          <p:cNvSpPr/>
          <p:nvPr/>
        </p:nvSpPr>
        <p:spPr>
          <a:xfrm>
            <a:off x="1399128" y="5977581"/>
            <a:ext cx="181323" cy="403282"/>
          </a:xfrm>
          <a:custGeom>
            <a:avLst/>
            <a:gdLst>
              <a:gd name="csX0" fmla="*/ 7554 w 181323"/>
              <a:gd name="csY0" fmla="*/ 172079 h 403282"/>
              <a:gd name="csX1" fmla="*/ 9716 w 181323"/>
              <a:gd name="csY1" fmla="*/ 130641 h 403282"/>
              <a:gd name="csX2" fmla="*/ 7663 w 181323"/>
              <a:gd name="csY2" fmla="*/ 113770 h 403282"/>
              <a:gd name="csX3" fmla="*/ 7598 w 181323"/>
              <a:gd name="csY3" fmla="*/ 8165 h 403282"/>
              <a:gd name="csX4" fmla="*/ 8353 w 181323"/>
              <a:gd name="csY4" fmla="*/ 1259 h 403282"/>
              <a:gd name="csX5" fmla="*/ 17767 w 181323"/>
              <a:gd name="csY5" fmla="*/ 93 h 403282"/>
              <a:gd name="csX6" fmla="*/ 77938 w 181323"/>
              <a:gd name="csY6" fmla="*/ 50 h 403282"/>
              <a:gd name="csX7" fmla="*/ 91081 w 181323"/>
              <a:gd name="csY7" fmla="*/ 10962 h 403282"/>
              <a:gd name="csX8" fmla="*/ 93691 w 181323"/>
              <a:gd name="csY8" fmla="*/ 60963 h 403282"/>
              <a:gd name="csX9" fmla="*/ 100157 w 181323"/>
              <a:gd name="csY9" fmla="*/ 121501 h 403282"/>
              <a:gd name="csX10" fmla="*/ 105540 w 181323"/>
              <a:gd name="csY10" fmla="*/ 158857 h 403282"/>
              <a:gd name="csX11" fmla="*/ 121116 w 181323"/>
              <a:gd name="csY11" fmla="*/ 235269 h 403282"/>
              <a:gd name="csX12" fmla="*/ 152823 w 181323"/>
              <a:gd name="csY12" fmla="*/ 338010 h 403282"/>
              <a:gd name="csX13" fmla="*/ 170877 w 181323"/>
              <a:gd name="csY13" fmla="*/ 378027 h 403282"/>
              <a:gd name="csX14" fmla="*/ 178114 w 181323"/>
              <a:gd name="csY14" fmla="*/ 387682 h 403282"/>
              <a:gd name="csX15" fmla="*/ 181150 w 181323"/>
              <a:gd name="csY15" fmla="*/ 395764 h 403282"/>
              <a:gd name="csX16" fmla="*/ 173480 w 181323"/>
              <a:gd name="csY16" fmla="*/ 402568 h 403282"/>
              <a:gd name="csX17" fmla="*/ 160067 w 181323"/>
              <a:gd name="csY17" fmla="*/ 402936 h 403282"/>
              <a:gd name="csX18" fmla="*/ 121081 w 181323"/>
              <a:gd name="csY18" fmla="*/ 400766 h 403282"/>
              <a:gd name="csX19" fmla="*/ 70912 w 181323"/>
              <a:gd name="csY19" fmla="*/ 401955 h 403282"/>
              <a:gd name="csX20" fmla="*/ 7630 w 181323"/>
              <a:gd name="csY20" fmla="*/ 402999 h 403282"/>
              <a:gd name="csX21" fmla="*/ 710 w 181323"/>
              <a:gd name="csY21" fmla="*/ 401995 h 403282"/>
              <a:gd name="csX22" fmla="*/ 1308 w 181323"/>
              <a:gd name="csY22" fmla="*/ 356708 h 403282"/>
              <a:gd name="csX23" fmla="*/ 2554 w 181323"/>
              <a:gd name="csY23" fmla="*/ 349510 h 403282"/>
              <a:gd name="csX24" fmla="*/ 5071 w 181323"/>
              <a:gd name="csY24" fmla="*/ 271231 h 403282"/>
              <a:gd name="csX25" fmla="*/ 7554 w 181323"/>
              <a:gd name="csY25" fmla="*/ 172079 h 403282"/>
              <a:gd name="csX26" fmla="*/ 98286 w 181323"/>
              <a:gd name="csY26" fmla="*/ 163566 h 403282"/>
              <a:gd name="csX27" fmla="*/ 83497 w 181323"/>
              <a:gd name="csY27" fmla="*/ 8289 h 403282"/>
              <a:gd name="csX28" fmla="*/ 15161 w 181323"/>
              <a:gd name="csY28" fmla="*/ 9148 h 403282"/>
              <a:gd name="csX29" fmla="*/ 15058 w 181323"/>
              <a:gd name="csY29" fmla="*/ 137939 h 403282"/>
              <a:gd name="csX30" fmla="*/ 12252 w 181323"/>
              <a:gd name="csY30" fmla="*/ 266862 h 403282"/>
              <a:gd name="csX31" fmla="*/ 7068 w 181323"/>
              <a:gd name="csY31" fmla="*/ 395996 h 403282"/>
              <a:gd name="csX32" fmla="*/ 171647 w 181323"/>
              <a:gd name="csY32" fmla="*/ 395996 h 403282"/>
              <a:gd name="csX33" fmla="*/ 119950 w 181323"/>
              <a:gd name="csY33" fmla="*/ 259496 h 403282"/>
              <a:gd name="csX34" fmla="*/ 98286 w 181323"/>
              <a:gd name="csY34" fmla="*/ 163566 h 40328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</a:cxnLst>
            <a:rect l="l" t="t" r="r" b="b"/>
            <a:pathLst>
              <a:path w="181323" h="403282">
                <a:moveTo>
                  <a:pt x="7554" y="172079"/>
                </a:moveTo>
                <a:cubicBezTo>
                  <a:pt x="8325" y="157451"/>
                  <a:pt x="9408" y="144055"/>
                  <a:pt x="9716" y="130641"/>
                </a:cubicBezTo>
                <a:cubicBezTo>
                  <a:pt x="9846" y="125037"/>
                  <a:pt x="7695" y="119399"/>
                  <a:pt x="7663" y="113770"/>
                </a:cubicBezTo>
                <a:cubicBezTo>
                  <a:pt x="7461" y="78569"/>
                  <a:pt x="7554" y="43367"/>
                  <a:pt x="7598" y="8165"/>
                </a:cubicBezTo>
                <a:cubicBezTo>
                  <a:pt x="7600" y="6167"/>
                  <a:pt x="8022" y="4170"/>
                  <a:pt x="8353" y="1259"/>
                </a:cubicBezTo>
                <a:cubicBezTo>
                  <a:pt x="11568" y="842"/>
                  <a:pt x="14666" y="109"/>
                  <a:pt x="17767" y="93"/>
                </a:cubicBezTo>
                <a:cubicBezTo>
                  <a:pt x="37824" y="-17"/>
                  <a:pt x="57881" y="-27"/>
                  <a:pt x="77938" y="50"/>
                </a:cubicBezTo>
                <a:cubicBezTo>
                  <a:pt x="89177" y="93"/>
                  <a:pt x="90068" y="113"/>
                  <a:pt x="91081" y="10962"/>
                </a:cubicBezTo>
                <a:cubicBezTo>
                  <a:pt x="92631" y="27565"/>
                  <a:pt x="92329" y="44335"/>
                  <a:pt x="93691" y="60963"/>
                </a:cubicBezTo>
                <a:cubicBezTo>
                  <a:pt x="95348" y="81184"/>
                  <a:pt x="97732" y="101353"/>
                  <a:pt x="100157" y="121501"/>
                </a:cubicBezTo>
                <a:cubicBezTo>
                  <a:pt x="101660" y="133990"/>
                  <a:pt x="104521" y="146343"/>
                  <a:pt x="105540" y="158857"/>
                </a:cubicBezTo>
                <a:cubicBezTo>
                  <a:pt x="107671" y="184993"/>
                  <a:pt x="114147" y="210249"/>
                  <a:pt x="121116" y="235269"/>
                </a:cubicBezTo>
                <a:cubicBezTo>
                  <a:pt x="130731" y="269786"/>
                  <a:pt x="141516" y="304004"/>
                  <a:pt x="152823" y="338010"/>
                </a:cubicBezTo>
                <a:cubicBezTo>
                  <a:pt x="157418" y="351828"/>
                  <a:pt x="164524" y="364837"/>
                  <a:pt x="170877" y="378027"/>
                </a:cubicBezTo>
                <a:cubicBezTo>
                  <a:pt x="172587" y="381579"/>
                  <a:pt x="175985" y="384280"/>
                  <a:pt x="178114" y="387682"/>
                </a:cubicBezTo>
                <a:cubicBezTo>
                  <a:pt x="179669" y="390165"/>
                  <a:pt x="181977" y="393824"/>
                  <a:pt x="181150" y="395764"/>
                </a:cubicBezTo>
                <a:cubicBezTo>
                  <a:pt x="179907" y="398676"/>
                  <a:pt x="176540" y="401705"/>
                  <a:pt x="173480" y="402568"/>
                </a:cubicBezTo>
                <a:cubicBezTo>
                  <a:pt x="169302" y="403746"/>
                  <a:pt x="164551" y="403164"/>
                  <a:pt x="160067" y="402936"/>
                </a:cubicBezTo>
                <a:cubicBezTo>
                  <a:pt x="147066" y="402274"/>
                  <a:pt x="134081" y="400859"/>
                  <a:pt x="121081" y="400766"/>
                </a:cubicBezTo>
                <a:cubicBezTo>
                  <a:pt x="104362" y="400647"/>
                  <a:pt x="87638" y="401607"/>
                  <a:pt x="70912" y="401955"/>
                </a:cubicBezTo>
                <a:cubicBezTo>
                  <a:pt x="49820" y="402394"/>
                  <a:pt x="28725" y="402712"/>
                  <a:pt x="7630" y="402999"/>
                </a:cubicBezTo>
                <a:cubicBezTo>
                  <a:pt x="5684" y="403026"/>
                  <a:pt x="3731" y="402452"/>
                  <a:pt x="710" y="401995"/>
                </a:cubicBezTo>
                <a:cubicBezTo>
                  <a:pt x="219" y="386620"/>
                  <a:pt x="-871" y="371682"/>
                  <a:pt x="1308" y="356708"/>
                </a:cubicBezTo>
                <a:cubicBezTo>
                  <a:pt x="1659" y="354298"/>
                  <a:pt x="2471" y="351920"/>
                  <a:pt x="2554" y="349510"/>
                </a:cubicBezTo>
                <a:cubicBezTo>
                  <a:pt x="3459" y="323419"/>
                  <a:pt x="4345" y="297328"/>
                  <a:pt x="5071" y="271231"/>
                </a:cubicBezTo>
                <a:cubicBezTo>
                  <a:pt x="5979" y="238591"/>
                  <a:pt x="6733" y="205947"/>
                  <a:pt x="7554" y="172079"/>
                </a:cubicBezTo>
                <a:moveTo>
                  <a:pt x="98286" y="163566"/>
                </a:moveTo>
                <a:cubicBezTo>
                  <a:pt x="89288" y="112116"/>
                  <a:pt x="86355" y="60033"/>
                  <a:pt x="83497" y="8289"/>
                </a:cubicBezTo>
                <a:cubicBezTo>
                  <a:pt x="65606" y="5845"/>
                  <a:pt x="24110" y="6470"/>
                  <a:pt x="15161" y="9148"/>
                </a:cubicBezTo>
                <a:cubicBezTo>
                  <a:pt x="15161" y="52045"/>
                  <a:pt x="15527" y="94996"/>
                  <a:pt x="15058" y="137939"/>
                </a:cubicBezTo>
                <a:cubicBezTo>
                  <a:pt x="14587" y="180919"/>
                  <a:pt x="13597" y="223900"/>
                  <a:pt x="12252" y="266862"/>
                </a:cubicBezTo>
                <a:cubicBezTo>
                  <a:pt x="10912" y="309638"/>
                  <a:pt x="8849" y="352391"/>
                  <a:pt x="7068" y="395996"/>
                </a:cubicBezTo>
                <a:cubicBezTo>
                  <a:pt x="62774" y="395996"/>
                  <a:pt x="116821" y="395996"/>
                  <a:pt x="171647" y="395996"/>
                </a:cubicBezTo>
                <a:cubicBezTo>
                  <a:pt x="148550" y="352016"/>
                  <a:pt x="132566" y="306307"/>
                  <a:pt x="119950" y="259496"/>
                </a:cubicBezTo>
                <a:cubicBezTo>
                  <a:pt x="111608" y="228543"/>
                  <a:pt x="105493" y="196989"/>
                  <a:pt x="98286" y="163566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7712" name="Free-form: Shape 7711">
            <a:extLst>
              <a:ext uri="{FF2B5EF4-FFF2-40B4-BE49-F238E27FC236}">
                <a16:creationId xmlns:a16="http://schemas.microsoft.com/office/drawing/2014/main" id="{82604BEF-E7DF-5D11-2606-EDD191EB73D1}"/>
              </a:ext>
            </a:extLst>
          </p:cNvPr>
          <p:cNvSpPr/>
          <p:nvPr/>
        </p:nvSpPr>
        <p:spPr>
          <a:xfrm>
            <a:off x="1401754" y="6648327"/>
            <a:ext cx="337008" cy="76321"/>
          </a:xfrm>
          <a:custGeom>
            <a:avLst/>
            <a:gdLst>
              <a:gd name="csX0" fmla="*/ 297312 w 337008"/>
              <a:gd name="csY0" fmla="*/ 59188 h 76321"/>
              <a:gd name="csX1" fmla="*/ 241991 w 337008"/>
              <a:gd name="csY1" fmla="*/ 66577 h 76321"/>
              <a:gd name="csX2" fmla="*/ 185243 w 337008"/>
              <a:gd name="csY2" fmla="*/ 73717 h 76321"/>
              <a:gd name="csX3" fmla="*/ 182797 w 337008"/>
              <a:gd name="csY3" fmla="*/ 73873 h 76321"/>
              <a:gd name="csX4" fmla="*/ 19866 w 337008"/>
              <a:gd name="csY4" fmla="*/ 76320 h 76321"/>
              <a:gd name="csX5" fmla="*/ 12650 w 337008"/>
              <a:gd name="csY5" fmla="*/ 75242 h 76321"/>
              <a:gd name="csX6" fmla="*/ 19 w 337008"/>
              <a:gd name="csY6" fmla="*/ 59006 h 76321"/>
              <a:gd name="csX7" fmla="*/ 11 w 337008"/>
              <a:gd name="csY7" fmla="*/ 18266 h 76321"/>
              <a:gd name="csX8" fmla="*/ 13547 w 337008"/>
              <a:gd name="csY8" fmla="*/ 17427 h 76321"/>
              <a:gd name="csX9" fmla="*/ 109279 w 337008"/>
              <a:gd name="csY9" fmla="*/ 17200 h 76321"/>
              <a:gd name="csX10" fmla="*/ 173714 w 337008"/>
              <a:gd name="csY10" fmla="*/ 12645 h 76321"/>
              <a:gd name="csX11" fmla="*/ 205309 w 337008"/>
              <a:gd name="csY11" fmla="*/ 10096 h 76321"/>
              <a:gd name="csX12" fmla="*/ 245485 w 337008"/>
              <a:gd name="csY12" fmla="*/ 7449 h 76321"/>
              <a:gd name="csX13" fmla="*/ 288955 w 337008"/>
              <a:gd name="csY13" fmla="*/ 1844 h 76321"/>
              <a:gd name="csX14" fmla="*/ 307132 w 337008"/>
              <a:gd name="csY14" fmla="*/ 164 h 76321"/>
              <a:gd name="csX15" fmla="*/ 324030 w 337008"/>
              <a:gd name="csY15" fmla="*/ 9691 h 76321"/>
              <a:gd name="csX16" fmla="*/ 336033 w 337008"/>
              <a:gd name="csY16" fmla="*/ 39107 h 76321"/>
              <a:gd name="csX17" fmla="*/ 328060 w 337008"/>
              <a:gd name="csY17" fmla="*/ 52413 h 76321"/>
              <a:gd name="csX18" fmla="*/ 297312 w 337008"/>
              <a:gd name="csY18" fmla="*/ 59188 h 76321"/>
              <a:gd name="csX19" fmla="*/ 207688 w 337008"/>
              <a:gd name="csY19" fmla="*/ 64284 h 76321"/>
              <a:gd name="csX20" fmla="*/ 330050 w 337008"/>
              <a:gd name="csY20" fmla="*/ 45606 h 76321"/>
              <a:gd name="csX21" fmla="*/ 317356 w 337008"/>
              <a:gd name="csY21" fmla="*/ 11297 h 76321"/>
              <a:gd name="csX22" fmla="*/ 304170 w 337008"/>
              <a:gd name="csY22" fmla="*/ 5545 h 76321"/>
              <a:gd name="csX23" fmla="*/ 273851 w 337008"/>
              <a:gd name="csY23" fmla="*/ 10014 h 76321"/>
              <a:gd name="csX24" fmla="*/ 163935 w 337008"/>
              <a:gd name="csY24" fmla="*/ 20274 h 76321"/>
              <a:gd name="csX25" fmla="*/ 17973 w 337008"/>
              <a:gd name="csY25" fmla="*/ 22950 h 76321"/>
              <a:gd name="csX26" fmla="*/ 7372 w 337008"/>
              <a:gd name="csY26" fmla="*/ 23601 h 76321"/>
              <a:gd name="csX27" fmla="*/ 7372 w 337008"/>
              <a:gd name="csY27" fmla="*/ 67898 h 76321"/>
              <a:gd name="csX28" fmla="*/ 207688 w 337008"/>
              <a:gd name="csY28" fmla="*/ 64284 h 7632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</a:cxnLst>
            <a:rect l="l" t="t" r="r" b="b"/>
            <a:pathLst>
              <a:path w="337008" h="76321">
                <a:moveTo>
                  <a:pt x="297312" y="59188"/>
                </a:moveTo>
                <a:cubicBezTo>
                  <a:pt x="278167" y="61672"/>
                  <a:pt x="260091" y="64212"/>
                  <a:pt x="241991" y="66577"/>
                </a:cubicBezTo>
                <a:cubicBezTo>
                  <a:pt x="223087" y="69047"/>
                  <a:pt x="204161" y="71350"/>
                  <a:pt x="185243" y="73717"/>
                </a:cubicBezTo>
                <a:cubicBezTo>
                  <a:pt x="184433" y="73818"/>
                  <a:pt x="183613" y="73861"/>
                  <a:pt x="182797" y="73873"/>
                </a:cubicBezTo>
                <a:cubicBezTo>
                  <a:pt x="128487" y="74710"/>
                  <a:pt x="74176" y="75556"/>
                  <a:pt x="19866" y="76320"/>
                </a:cubicBezTo>
                <a:cubicBezTo>
                  <a:pt x="17463" y="76354"/>
                  <a:pt x="15013" y="75797"/>
                  <a:pt x="12650" y="75242"/>
                </a:cubicBezTo>
                <a:cubicBezTo>
                  <a:pt x="80" y="72288"/>
                  <a:pt x="58" y="72258"/>
                  <a:pt x="19" y="59006"/>
                </a:cubicBezTo>
                <a:cubicBezTo>
                  <a:pt x="-19" y="45942"/>
                  <a:pt x="11" y="32877"/>
                  <a:pt x="11" y="18266"/>
                </a:cubicBezTo>
                <a:cubicBezTo>
                  <a:pt x="4987" y="17944"/>
                  <a:pt x="9266" y="17435"/>
                  <a:pt x="13547" y="17427"/>
                </a:cubicBezTo>
                <a:cubicBezTo>
                  <a:pt x="45459" y="17362"/>
                  <a:pt x="77385" y="17975"/>
                  <a:pt x="109279" y="17200"/>
                </a:cubicBezTo>
                <a:cubicBezTo>
                  <a:pt x="130782" y="16677"/>
                  <a:pt x="152239" y="14265"/>
                  <a:pt x="173714" y="12645"/>
                </a:cubicBezTo>
                <a:cubicBezTo>
                  <a:pt x="184250" y="11850"/>
                  <a:pt x="194770" y="10836"/>
                  <a:pt x="205309" y="10096"/>
                </a:cubicBezTo>
                <a:cubicBezTo>
                  <a:pt x="218698" y="9156"/>
                  <a:pt x="232139" y="8783"/>
                  <a:pt x="245485" y="7449"/>
                </a:cubicBezTo>
                <a:cubicBezTo>
                  <a:pt x="260017" y="5997"/>
                  <a:pt x="274456" y="3648"/>
                  <a:pt x="288955" y="1844"/>
                </a:cubicBezTo>
                <a:cubicBezTo>
                  <a:pt x="294991" y="1094"/>
                  <a:pt x="301100" y="930"/>
                  <a:pt x="307132" y="164"/>
                </a:cubicBezTo>
                <a:cubicBezTo>
                  <a:pt x="315239" y="-865"/>
                  <a:pt x="320841" y="3022"/>
                  <a:pt x="324030" y="9691"/>
                </a:cubicBezTo>
                <a:cubicBezTo>
                  <a:pt x="328594" y="19236"/>
                  <a:pt x="332712" y="29070"/>
                  <a:pt x="336033" y="39107"/>
                </a:cubicBezTo>
                <a:cubicBezTo>
                  <a:pt x="338557" y="46735"/>
                  <a:pt x="336278" y="50185"/>
                  <a:pt x="328060" y="52413"/>
                </a:cubicBezTo>
                <a:cubicBezTo>
                  <a:pt x="318273" y="55068"/>
                  <a:pt x="308277" y="56950"/>
                  <a:pt x="297312" y="59188"/>
                </a:cubicBezTo>
                <a:moveTo>
                  <a:pt x="207688" y="64284"/>
                </a:moveTo>
                <a:cubicBezTo>
                  <a:pt x="248681" y="60632"/>
                  <a:pt x="289317" y="54812"/>
                  <a:pt x="330050" y="45606"/>
                </a:cubicBezTo>
                <a:cubicBezTo>
                  <a:pt x="327603" y="32443"/>
                  <a:pt x="323777" y="21532"/>
                  <a:pt x="317356" y="11297"/>
                </a:cubicBezTo>
                <a:cubicBezTo>
                  <a:pt x="313908" y="5803"/>
                  <a:pt x="310145" y="4465"/>
                  <a:pt x="304170" y="5545"/>
                </a:cubicBezTo>
                <a:cubicBezTo>
                  <a:pt x="294121" y="7361"/>
                  <a:pt x="284007" y="9006"/>
                  <a:pt x="273851" y="10014"/>
                </a:cubicBezTo>
                <a:cubicBezTo>
                  <a:pt x="237233" y="13650"/>
                  <a:pt x="200632" y="17661"/>
                  <a:pt x="163935" y="20274"/>
                </a:cubicBezTo>
                <a:cubicBezTo>
                  <a:pt x="115360" y="23734"/>
                  <a:pt x="66701" y="25937"/>
                  <a:pt x="17973" y="22950"/>
                </a:cubicBezTo>
                <a:cubicBezTo>
                  <a:pt x="14492" y="22737"/>
                  <a:pt x="10959" y="23361"/>
                  <a:pt x="7372" y="23601"/>
                </a:cubicBezTo>
                <a:cubicBezTo>
                  <a:pt x="7372" y="38609"/>
                  <a:pt x="7372" y="52361"/>
                  <a:pt x="7372" y="67898"/>
                </a:cubicBezTo>
                <a:cubicBezTo>
                  <a:pt x="74001" y="69806"/>
                  <a:pt x="139746" y="71025"/>
                  <a:pt x="207688" y="64284"/>
                </a:cubicBezTo>
                <a:close/>
              </a:path>
            </a:pathLst>
          </a:custGeom>
          <a:solidFill>
            <a:srgbClr val="CDD9DF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7713" name="Free-form: Shape 7712">
            <a:extLst>
              <a:ext uri="{FF2B5EF4-FFF2-40B4-BE49-F238E27FC236}">
                <a16:creationId xmlns:a16="http://schemas.microsoft.com/office/drawing/2014/main" id="{91148631-66EE-F213-6A40-C3A4ED9A8D63}"/>
              </a:ext>
            </a:extLst>
          </p:cNvPr>
          <p:cNvSpPr/>
          <p:nvPr/>
        </p:nvSpPr>
        <p:spPr>
          <a:xfrm>
            <a:off x="1407766" y="6412462"/>
            <a:ext cx="303463" cy="213695"/>
          </a:xfrm>
          <a:custGeom>
            <a:avLst/>
            <a:gdLst>
              <a:gd name="csX0" fmla="*/ 14160 w 303463"/>
              <a:gd name="csY0" fmla="*/ 7889 h 213695"/>
              <a:gd name="csX1" fmla="*/ 195033 w 303463"/>
              <a:gd name="csY1" fmla="*/ 0 h 213695"/>
              <a:gd name="csX2" fmla="*/ 197208 w 303463"/>
              <a:gd name="csY2" fmla="*/ 5635 h 213695"/>
              <a:gd name="csX3" fmla="*/ 227014 w 303463"/>
              <a:gd name="csY3" fmla="*/ 60660 h 213695"/>
              <a:gd name="csX4" fmla="*/ 265823 w 303463"/>
              <a:gd name="csY4" fmla="*/ 98217 h 213695"/>
              <a:gd name="csX5" fmla="*/ 303210 w 303463"/>
              <a:gd name="csY5" fmla="*/ 180358 h 213695"/>
              <a:gd name="csX6" fmla="*/ 303282 w 303463"/>
              <a:gd name="csY6" fmla="*/ 193964 h 213695"/>
              <a:gd name="csX7" fmla="*/ 4971 w 303463"/>
              <a:gd name="csY7" fmla="*/ 213017 h 213695"/>
              <a:gd name="csX8" fmla="*/ 5093 w 303463"/>
              <a:gd name="csY8" fmla="*/ 173484 h 213695"/>
              <a:gd name="csX9" fmla="*/ 4767 w 303463"/>
              <a:gd name="csY9" fmla="*/ 54607 h 213695"/>
              <a:gd name="csX10" fmla="*/ 0 w 303463"/>
              <a:gd name="csY10" fmla="*/ 7887 h 213695"/>
              <a:gd name="csX11" fmla="*/ 14160 w 303463"/>
              <a:gd name="csY11" fmla="*/ 7889 h 21369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303463" h="213695">
                <a:moveTo>
                  <a:pt x="14160" y="7889"/>
                </a:moveTo>
                <a:cubicBezTo>
                  <a:pt x="75371" y="8627"/>
                  <a:pt x="135292" y="5744"/>
                  <a:pt x="195033" y="0"/>
                </a:cubicBezTo>
                <a:cubicBezTo>
                  <a:pt x="196084" y="2662"/>
                  <a:pt x="196986" y="4099"/>
                  <a:pt x="197208" y="5635"/>
                </a:cubicBezTo>
                <a:cubicBezTo>
                  <a:pt x="200391" y="27650"/>
                  <a:pt x="211307" y="45450"/>
                  <a:pt x="227014" y="60660"/>
                </a:cubicBezTo>
                <a:cubicBezTo>
                  <a:pt x="239947" y="73182"/>
                  <a:pt x="253006" y="85577"/>
                  <a:pt x="265823" y="98217"/>
                </a:cubicBezTo>
                <a:cubicBezTo>
                  <a:pt x="288727" y="120806"/>
                  <a:pt x="299071" y="149215"/>
                  <a:pt x="303210" y="180358"/>
                </a:cubicBezTo>
                <a:cubicBezTo>
                  <a:pt x="303735" y="184317"/>
                  <a:pt x="303282" y="188405"/>
                  <a:pt x="303282" y="193964"/>
                </a:cubicBezTo>
                <a:cubicBezTo>
                  <a:pt x="204065" y="208804"/>
                  <a:pt x="105022" y="216044"/>
                  <a:pt x="4971" y="213017"/>
                </a:cubicBezTo>
                <a:cubicBezTo>
                  <a:pt x="4971" y="199268"/>
                  <a:pt x="4314" y="186332"/>
                  <a:pt x="5093" y="173484"/>
                </a:cubicBezTo>
                <a:cubicBezTo>
                  <a:pt x="7497" y="133835"/>
                  <a:pt x="8211" y="94216"/>
                  <a:pt x="4767" y="54607"/>
                </a:cubicBezTo>
                <a:cubicBezTo>
                  <a:pt x="3464" y="39611"/>
                  <a:pt x="1725" y="24653"/>
                  <a:pt x="0" y="7887"/>
                </a:cubicBezTo>
                <a:cubicBezTo>
                  <a:pt x="4390" y="7887"/>
                  <a:pt x="8696" y="7887"/>
                  <a:pt x="14160" y="7889"/>
                </a:cubicBezTo>
                <a:close/>
              </a:path>
            </a:pathLst>
          </a:custGeom>
          <a:solidFill>
            <a:schemeClr val="bg1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7714" name="Free-form: Shape 7713">
            <a:extLst>
              <a:ext uri="{FF2B5EF4-FFF2-40B4-BE49-F238E27FC236}">
                <a16:creationId xmlns:a16="http://schemas.microsoft.com/office/drawing/2014/main" id="{403A7FF5-317E-FC0B-0109-3C1FC1D24CD0}"/>
              </a:ext>
            </a:extLst>
          </p:cNvPr>
          <p:cNvSpPr/>
          <p:nvPr/>
        </p:nvSpPr>
        <p:spPr>
          <a:xfrm>
            <a:off x="1353392" y="5559284"/>
            <a:ext cx="209067" cy="203406"/>
          </a:xfrm>
          <a:custGeom>
            <a:avLst/>
            <a:gdLst>
              <a:gd name="csX0" fmla="*/ 10475 w 209067"/>
              <a:gd name="csY0" fmla="*/ 41718 h 203406"/>
              <a:gd name="csX1" fmla="*/ 100250 w 209067"/>
              <a:gd name="csY1" fmla="*/ 1265 h 203406"/>
              <a:gd name="csX2" fmla="*/ 206681 w 209067"/>
              <a:gd name="csY2" fmla="*/ 98526 h 203406"/>
              <a:gd name="csX3" fmla="*/ 134647 w 209067"/>
              <a:gd name="csY3" fmla="*/ 202431 h 203406"/>
              <a:gd name="csX4" fmla="*/ 40986 w 209067"/>
              <a:gd name="csY4" fmla="*/ 171438 h 203406"/>
              <a:gd name="csX5" fmla="*/ 143 w 209067"/>
              <a:gd name="csY5" fmla="*/ 85158 h 203406"/>
              <a:gd name="csX6" fmla="*/ 10475 w 209067"/>
              <a:gd name="csY6" fmla="*/ 41718 h 20340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</a:cxnLst>
            <a:rect l="l" t="t" r="r" b="b"/>
            <a:pathLst>
              <a:path w="209067" h="203406">
                <a:moveTo>
                  <a:pt x="10475" y="41718"/>
                </a:moveTo>
                <a:cubicBezTo>
                  <a:pt x="31065" y="6021"/>
                  <a:pt x="63171" y="-3865"/>
                  <a:pt x="100250" y="1265"/>
                </a:cubicBezTo>
                <a:cubicBezTo>
                  <a:pt x="157191" y="9144"/>
                  <a:pt x="196951" y="51394"/>
                  <a:pt x="206681" y="98526"/>
                </a:cubicBezTo>
                <a:cubicBezTo>
                  <a:pt x="219504" y="160635"/>
                  <a:pt x="178523" y="196657"/>
                  <a:pt x="134647" y="202431"/>
                </a:cubicBezTo>
                <a:cubicBezTo>
                  <a:pt x="98365" y="207204"/>
                  <a:pt x="68101" y="194086"/>
                  <a:pt x="40986" y="171438"/>
                </a:cubicBezTo>
                <a:cubicBezTo>
                  <a:pt x="14115" y="148994"/>
                  <a:pt x="2457" y="119007"/>
                  <a:pt x="143" y="85158"/>
                </a:cubicBezTo>
                <a:cubicBezTo>
                  <a:pt x="-869" y="70364"/>
                  <a:pt x="3586" y="56015"/>
                  <a:pt x="10475" y="41718"/>
                </a:cubicBezTo>
                <a:close/>
              </a:path>
            </a:pathLst>
          </a:custGeom>
          <a:solidFill>
            <a:schemeClr val="bg1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7715" name="Free-form: Shape 7714">
            <a:extLst>
              <a:ext uri="{FF2B5EF4-FFF2-40B4-BE49-F238E27FC236}">
                <a16:creationId xmlns:a16="http://schemas.microsoft.com/office/drawing/2014/main" id="{26A6BFEE-43BA-1F47-599B-76E6973D68E9}"/>
              </a:ext>
            </a:extLst>
          </p:cNvPr>
          <p:cNvSpPr/>
          <p:nvPr/>
        </p:nvSpPr>
        <p:spPr>
          <a:xfrm>
            <a:off x="1411788" y="5902384"/>
            <a:ext cx="157129" cy="41334"/>
          </a:xfrm>
          <a:custGeom>
            <a:avLst/>
            <a:gdLst>
              <a:gd name="csX0" fmla="*/ 69625 w 157129"/>
              <a:gd name="csY0" fmla="*/ 0 h 41334"/>
              <a:gd name="csX1" fmla="*/ 119596 w 157129"/>
              <a:gd name="csY1" fmla="*/ 1945 h 41334"/>
              <a:gd name="csX2" fmla="*/ 150973 w 157129"/>
              <a:gd name="csY2" fmla="*/ 14889 h 41334"/>
              <a:gd name="csX3" fmla="*/ 151351 w 157129"/>
              <a:gd name="csY3" fmla="*/ 34058 h 41334"/>
              <a:gd name="csX4" fmla="*/ 133492 w 157129"/>
              <a:gd name="csY4" fmla="*/ 40697 h 41334"/>
              <a:gd name="csX5" fmla="*/ 106556 w 157129"/>
              <a:gd name="csY5" fmla="*/ 41092 h 41334"/>
              <a:gd name="csX6" fmla="*/ 13373 w 157129"/>
              <a:gd name="csY6" fmla="*/ 40708 h 41334"/>
              <a:gd name="csX7" fmla="*/ 1312 w 157129"/>
              <a:gd name="csY7" fmla="*/ 40191 h 41334"/>
              <a:gd name="csX8" fmla="*/ 3367 w 157129"/>
              <a:gd name="csY8" fmla="*/ 13162 h 41334"/>
              <a:gd name="csX9" fmla="*/ 20752 w 157129"/>
              <a:gd name="csY9" fmla="*/ 1879 h 41334"/>
              <a:gd name="csX10" fmla="*/ 52625 w 157129"/>
              <a:gd name="csY10" fmla="*/ 1332 h 41334"/>
              <a:gd name="csX11" fmla="*/ 69625 w 157129"/>
              <a:gd name="csY11" fmla="*/ 0 h 4133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157129" h="41334">
                <a:moveTo>
                  <a:pt x="69625" y="0"/>
                </a:moveTo>
                <a:cubicBezTo>
                  <a:pt x="87054" y="491"/>
                  <a:pt x="103407" y="373"/>
                  <a:pt x="119596" y="1945"/>
                </a:cubicBezTo>
                <a:cubicBezTo>
                  <a:pt x="131020" y="3055"/>
                  <a:pt x="141713" y="7767"/>
                  <a:pt x="150973" y="14889"/>
                </a:cubicBezTo>
                <a:cubicBezTo>
                  <a:pt x="158820" y="20925"/>
                  <a:pt x="159403" y="28236"/>
                  <a:pt x="151351" y="34058"/>
                </a:cubicBezTo>
                <a:cubicBezTo>
                  <a:pt x="146355" y="37671"/>
                  <a:pt x="139678" y="39910"/>
                  <a:pt x="133492" y="40697"/>
                </a:cubicBezTo>
                <a:cubicBezTo>
                  <a:pt x="124640" y="41824"/>
                  <a:pt x="115547" y="41120"/>
                  <a:pt x="106556" y="41092"/>
                </a:cubicBezTo>
                <a:cubicBezTo>
                  <a:pt x="75495" y="40996"/>
                  <a:pt x="44434" y="40872"/>
                  <a:pt x="13373" y="40708"/>
                </a:cubicBezTo>
                <a:cubicBezTo>
                  <a:pt x="9391" y="40687"/>
                  <a:pt x="5410" y="40374"/>
                  <a:pt x="1312" y="40191"/>
                </a:cubicBezTo>
                <a:cubicBezTo>
                  <a:pt x="-1416" y="30384"/>
                  <a:pt x="523" y="21512"/>
                  <a:pt x="3367" y="13162"/>
                </a:cubicBezTo>
                <a:cubicBezTo>
                  <a:pt x="5963" y="5538"/>
                  <a:pt x="12701" y="2077"/>
                  <a:pt x="20752" y="1879"/>
                </a:cubicBezTo>
                <a:cubicBezTo>
                  <a:pt x="31375" y="1617"/>
                  <a:pt x="42004" y="1647"/>
                  <a:pt x="52625" y="1332"/>
                </a:cubicBezTo>
                <a:cubicBezTo>
                  <a:pt x="57918" y="1176"/>
                  <a:pt x="63195" y="535"/>
                  <a:pt x="69625" y="0"/>
                </a:cubicBezTo>
                <a:close/>
              </a:path>
            </a:pathLst>
          </a:custGeom>
          <a:solidFill>
            <a:schemeClr val="bg1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7716" name="Free-form: Shape 7715">
            <a:extLst>
              <a:ext uri="{FF2B5EF4-FFF2-40B4-BE49-F238E27FC236}">
                <a16:creationId xmlns:a16="http://schemas.microsoft.com/office/drawing/2014/main" id="{CFC3DBDE-F5EB-7369-C7CB-AFA6AF8FD876}"/>
              </a:ext>
            </a:extLst>
          </p:cNvPr>
          <p:cNvSpPr/>
          <p:nvPr/>
        </p:nvSpPr>
        <p:spPr>
          <a:xfrm>
            <a:off x="1406196" y="5984339"/>
            <a:ext cx="164579" cy="389238"/>
          </a:xfrm>
          <a:custGeom>
            <a:avLst/>
            <a:gdLst>
              <a:gd name="csX0" fmla="*/ 91265 w 164579"/>
              <a:gd name="csY0" fmla="*/ 157878 h 389238"/>
              <a:gd name="csX1" fmla="*/ 112882 w 164579"/>
              <a:gd name="csY1" fmla="*/ 252738 h 389238"/>
              <a:gd name="csX2" fmla="*/ 164579 w 164579"/>
              <a:gd name="csY2" fmla="*/ 389238 h 389238"/>
              <a:gd name="csX3" fmla="*/ 0 w 164579"/>
              <a:gd name="csY3" fmla="*/ 389238 h 389238"/>
              <a:gd name="csX4" fmla="*/ 5184 w 164579"/>
              <a:gd name="csY4" fmla="*/ 260105 h 389238"/>
              <a:gd name="csX5" fmla="*/ 7989 w 164579"/>
              <a:gd name="csY5" fmla="*/ 131182 h 389238"/>
              <a:gd name="csX6" fmla="*/ 8093 w 164579"/>
              <a:gd name="csY6" fmla="*/ 2390 h 389238"/>
              <a:gd name="csX7" fmla="*/ 76429 w 164579"/>
              <a:gd name="csY7" fmla="*/ 1531 h 389238"/>
              <a:gd name="csX8" fmla="*/ 91265 w 164579"/>
              <a:gd name="csY8" fmla="*/ 157878 h 38923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</a:cxnLst>
            <a:rect l="l" t="t" r="r" b="b"/>
            <a:pathLst>
              <a:path w="164579" h="389238">
                <a:moveTo>
                  <a:pt x="91265" y="157878"/>
                </a:moveTo>
                <a:cubicBezTo>
                  <a:pt x="98425" y="190232"/>
                  <a:pt x="104539" y="221785"/>
                  <a:pt x="112882" y="252738"/>
                </a:cubicBezTo>
                <a:cubicBezTo>
                  <a:pt x="125498" y="299549"/>
                  <a:pt x="141482" y="345258"/>
                  <a:pt x="164579" y="389238"/>
                </a:cubicBezTo>
                <a:cubicBezTo>
                  <a:pt x="109753" y="389238"/>
                  <a:pt x="55706" y="389238"/>
                  <a:pt x="0" y="389238"/>
                </a:cubicBezTo>
                <a:cubicBezTo>
                  <a:pt x="1781" y="345633"/>
                  <a:pt x="3844" y="302880"/>
                  <a:pt x="5184" y="260105"/>
                </a:cubicBezTo>
                <a:cubicBezTo>
                  <a:pt x="6529" y="217143"/>
                  <a:pt x="7519" y="174162"/>
                  <a:pt x="7989" y="131182"/>
                </a:cubicBezTo>
                <a:cubicBezTo>
                  <a:pt x="8459" y="88239"/>
                  <a:pt x="8093" y="45287"/>
                  <a:pt x="8093" y="2390"/>
                </a:cubicBezTo>
                <a:cubicBezTo>
                  <a:pt x="17041" y="-288"/>
                  <a:pt x="58537" y="-913"/>
                  <a:pt x="76429" y="1531"/>
                </a:cubicBezTo>
                <a:cubicBezTo>
                  <a:pt x="79287" y="53276"/>
                  <a:pt x="82219" y="105359"/>
                  <a:pt x="91265" y="157878"/>
                </a:cubicBezTo>
                <a:close/>
              </a:path>
            </a:pathLst>
          </a:custGeom>
          <a:solidFill>
            <a:schemeClr val="bg1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7717" name="Free-form: Shape 7716">
            <a:extLst>
              <a:ext uri="{FF2B5EF4-FFF2-40B4-BE49-F238E27FC236}">
                <a16:creationId xmlns:a16="http://schemas.microsoft.com/office/drawing/2014/main" id="{E8A0237B-3186-AD9A-6F95-9DBC4595AFD9}"/>
              </a:ext>
            </a:extLst>
          </p:cNvPr>
          <p:cNvSpPr/>
          <p:nvPr/>
        </p:nvSpPr>
        <p:spPr>
          <a:xfrm>
            <a:off x="1409126" y="6653528"/>
            <a:ext cx="322677" cy="64202"/>
          </a:xfrm>
          <a:custGeom>
            <a:avLst/>
            <a:gdLst>
              <a:gd name="csX0" fmla="*/ 199184 w 322677"/>
              <a:gd name="csY0" fmla="*/ 59136 h 64202"/>
              <a:gd name="csX1" fmla="*/ 0 w 322677"/>
              <a:gd name="csY1" fmla="*/ 62697 h 64202"/>
              <a:gd name="csX2" fmla="*/ 0 w 322677"/>
              <a:gd name="csY2" fmla="*/ 18400 h 64202"/>
              <a:gd name="csX3" fmla="*/ 10601 w 322677"/>
              <a:gd name="csY3" fmla="*/ 17750 h 64202"/>
              <a:gd name="csX4" fmla="*/ 156563 w 322677"/>
              <a:gd name="csY4" fmla="*/ 15074 h 64202"/>
              <a:gd name="csX5" fmla="*/ 266479 w 322677"/>
              <a:gd name="csY5" fmla="*/ 4814 h 64202"/>
              <a:gd name="csX6" fmla="*/ 296798 w 322677"/>
              <a:gd name="csY6" fmla="*/ 344 h 64202"/>
              <a:gd name="csX7" fmla="*/ 309983 w 322677"/>
              <a:gd name="csY7" fmla="*/ 6097 h 64202"/>
              <a:gd name="csX8" fmla="*/ 322678 w 322677"/>
              <a:gd name="csY8" fmla="*/ 40406 h 64202"/>
              <a:gd name="csX9" fmla="*/ 199184 w 322677"/>
              <a:gd name="csY9" fmla="*/ 59136 h 6420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322677" h="64202">
                <a:moveTo>
                  <a:pt x="199184" y="59136"/>
                </a:moveTo>
                <a:cubicBezTo>
                  <a:pt x="132374" y="65824"/>
                  <a:pt x="66629" y="64605"/>
                  <a:pt x="0" y="62697"/>
                </a:cubicBezTo>
                <a:cubicBezTo>
                  <a:pt x="0" y="47160"/>
                  <a:pt x="0" y="33409"/>
                  <a:pt x="0" y="18400"/>
                </a:cubicBezTo>
                <a:cubicBezTo>
                  <a:pt x="3587" y="18160"/>
                  <a:pt x="7120" y="17536"/>
                  <a:pt x="10601" y="17750"/>
                </a:cubicBezTo>
                <a:cubicBezTo>
                  <a:pt x="59329" y="20736"/>
                  <a:pt x="107987" y="18533"/>
                  <a:pt x="156563" y="15074"/>
                </a:cubicBezTo>
                <a:cubicBezTo>
                  <a:pt x="193260" y="12461"/>
                  <a:pt x="229860" y="8449"/>
                  <a:pt x="266479" y="4814"/>
                </a:cubicBezTo>
                <a:cubicBezTo>
                  <a:pt x="276635" y="3806"/>
                  <a:pt x="286748" y="2160"/>
                  <a:pt x="296798" y="344"/>
                </a:cubicBezTo>
                <a:cubicBezTo>
                  <a:pt x="302773" y="-735"/>
                  <a:pt x="306536" y="602"/>
                  <a:pt x="309983" y="6097"/>
                </a:cubicBezTo>
                <a:cubicBezTo>
                  <a:pt x="316405" y="16331"/>
                  <a:pt x="320231" y="27243"/>
                  <a:pt x="322678" y="40406"/>
                </a:cubicBezTo>
                <a:cubicBezTo>
                  <a:pt x="281944" y="49611"/>
                  <a:pt x="241309" y="55431"/>
                  <a:pt x="199184" y="59136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7737" name="Oval 7736">
            <a:extLst>
              <a:ext uri="{FF2B5EF4-FFF2-40B4-BE49-F238E27FC236}">
                <a16:creationId xmlns:a16="http://schemas.microsoft.com/office/drawing/2014/main" id="{098F980D-051D-EB46-1E6F-781810D0BC46}"/>
              </a:ext>
            </a:extLst>
          </p:cNvPr>
          <p:cNvSpPr/>
          <p:nvPr/>
        </p:nvSpPr>
        <p:spPr>
          <a:xfrm>
            <a:off x="2268486" y="4969298"/>
            <a:ext cx="531864" cy="123825"/>
          </a:xfrm>
          <a:prstGeom prst="ellipse">
            <a:avLst/>
          </a:prstGeom>
          <a:solidFill>
            <a:schemeClr val="tx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7739" name="Free-form: Shape 7738">
            <a:extLst>
              <a:ext uri="{FF2B5EF4-FFF2-40B4-BE49-F238E27FC236}">
                <a16:creationId xmlns:a16="http://schemas.microsoft.com/office/drawing/2014/main" id="{923C1C09-A1A2-F2A4-AFC5-0B2D3B052826}"/>
              </a:ext>
            </a:extLst>
          </p:cNvPr>
          <p:cNvSpPr/>
          <p:nvPr/>
        </p:nvSpPr>
        <p:spPr>
          <a:xfrm>
            <a:off x="2311097" y="4232063"/>
            <a:ext cx="459904" cy="817607"/>
          </a:xfrm>
          <a:custGeom>
            <a:avLst/>
            <a:gdLst>
              <a:gd name="csX0" fmla="*/ 581793 w 697572"/>
              <a:gd name="csY0" fmla="*/ 1234401 h 1240128"/>
              <a:gd name="csX1" fmla="*/ 577427 w 697572"/>
              <a:gd name="csY1" fmla="*/ 1234156 h 1240128"/>
              <a:gd name="csX2" fmla="*/ 559133 w 697572"/>
              <a:gd name="csY2" fmla="*/ 1230909 h 1240128"/>
              <a:gd name="csX3" fmla="*/ 516706 w 697572"/>
              <a:gd name="csY3" fmla="*/ 1235117 h 1240128"/>
              <a:gd name="csX4" fmla="*/ 475244 w 697572"/>
              <a:gd name="csY4" fmla="*/ 1237506 h 1240128"/>
              <a:gd name="csX5" fmla="*/ 371154 w 697572"/>
              <a:gd name="csY5" fmla="*/ 1239428 h 1240128"/>
              <a:gd name="csX6" fmla="*/ 276813 w 697572"/>
              <a:gd name="csY6" fmla="*/ 1237654 h 1240128"/>
              <a:gd name="csX7" fmla="*/ 268212 w 697572"/>
              <a:gd name="csY7" fmla="*/ 1237635 h 1240128"/>
              <a:gd name="csX8" fmla="*/ 262072 w 697572"/>
              <a:gd name="csY8" fmla="*/ 1237523 h 1240128"/>
              <a:gd name="csX9" fmla="*/ 195111 w 697572"/>
              <a:gd name="csY9" fmla="*/ 1232775 h 1240128"/>
              <a:gd name="csX10" fmla="*/ 145060 w 697572"/>
              <a:gd name="csY10" fmla="*/ 1230076 h 1240128"/>
              <a:gd name="csX11" fmla="*/ 114933 w 697572"/>
              <a:gd name="csY11" fmla="*/ 1225832 h 1240128"/>
              <a:gd name="csX12" fmla="*/ 72642 w 697572"/>
              <a:gd name="csY12" fmla="*/ 1220237 h 1240128"/>
              <a:gd name="csX13" fmla="*/ 10894 w 697572"/>
              <a:gd name="csY13" fmla="*/ 1205737 h 1240128"/>
              <a:gd name="csX14" fmla="*/ 5856 w 697572"/>
              <a:gd name="csY14" fmla="*/ 1202799 h 1240128"/>
              <a:gd name="csX15" fmla="*/ 40 w 697572"/>
              <a:gd name="csY15" fmla="*/ 1174450 h 1240128"/>
              <a:gd name="csX16" fmla="*/ 19831 w 697572"/>
              <a:gd name="csY16" fmla="*/ 1118410 h 1240128"/>
              <a:gd name="csX17" fmla="*/ 22004 w 697572"/>
              <a:gd name="csY17" fmla="*/ 1107240 h 1240128"/>
              <a:gd name="csX18" fmla="*/ 25947 w 697572"/>
              <a:gd name="csY18" fmla="*/ 1038650 h 1240128"/>
              <a:gd name="csX19" fmla="*/ 58234 w 697572"/>
              <a:gd name="csY19" fmla="*/ 988567 h 1240128"/>
              <a:gd name="csX20" fmla="*/ 118645 w 697572"/>
              <a:gd name="csY20" fmla="*/ 928298 h 1240128"/>
              <a:gd name="csX21" fmla="*/ 126320 w 697572"/>
              <a:gd name="csY21" fmla="*/ 892015 h 1240128"/>
              <a:gd name="csX22" fmla="*/ 120345 w 697572"/>
              <a:gd name="csY22" fmla="*/ 872258 h 1240128"/>
              <a:gd name="csX23" fmla="*/ 125668 w 697572"/>
              <a:gd name="csY23" fmla="*/ 861640 h 1240128"/>
              <a:gd name="csX24" fmla="*/ 154237 w 697572"/>
              <a:gd name="csY24" fmla="*/ 850716 h 1240128"/>
              <a:gd name="csX25" fmla="*/ 170248 w 697572"/>
              <a:gd name="csY25" fmla="*/ 836767 h 1240128"/>
              <a:gd name="csX26" fmla="*/ 187840 w 697572"/>
              <a:gd name="csY26" fmla="*/ 796341 h 1240128"/>
              <a:gd name="csX27" fmla="*/ 209346 w 697572"/>
              <a:gd name="csY27" fmla="*/ 743126 h 1240128"/>
              <a:gd name="csX28" fmla="*/ 210630 w 697572"/>
              <a:gd name="csY28" fmla="*/ 737219 h 1240128"/>
              <a:gd name="csX29" fmla="*/ 213836 w 697572"/>
              <a:gd name="csY29" fmla="*/ 720505 h 1240128"/>
              <a:gd name="csX30" fmla="*/ 227791 w 697572"/>
              <a:gd name="csY30" fmla="*/ 667353 h 1240128"/>
              <a:gd name="csX31" fmla="*/ 241013 w 697572"/>
              <a:gd name="csY31" fmla="*/ 599151 h 1240128"/>
              <a:gd name="csX32" fmla="*/ 247322 w 697572"/>
              <a:gd name="csY32" fmla="*/ 542242 h 1240128"/>
              <a:gd name="csX33" fmla="*/ 247948 w 697572"/>
              <a:gd name="csY33" fmla="*/ 499296 h 1240128"/>
              <a:gd name="csX34" fmla="*/ 247577 w 697572"/>
              <a:gd name="csY34" fmla="*/ 470384 h 1240128"/>
              <a:gd name="csX35" fmla="*/ 238877 w 697572"/>
              <a:gd name="csY35" fmla="*/ 460987 h 1240128"/>
              <a:gd name="csX36" fmla="*/ 222040 w 697572"/>
              <a:gd name="csY36" fmla="*/ 458353 h 1240128"/>
              <a:gd name="csX37" fmla="*/ 172193 w 697572"/>
              <a:gd name="csY37" fmla="*/ 433714 h 1240128"/>
              <a:gd name="csX38" fmla="*/ 168410 w 697572"/>
              <a:gd name="csY38" fmla="*/ 396591 h 1240128"/>
              <a:gd name="csX39" fmla="*/ 209826 w 697572"/>
              <a:gd name="csY39" fmla="*/ 367773 h 1240128"/>
              <a:gd name="csX40" fmla="*/ 250732 w 697572"/>
              <a:gd name="csY40" fmla="*/ 355208 h 1240128"/>
              <a:gd name="csX41" fmla="*/ 258289 w 697572"/>
              <a:gd name="csY41" fmla="*/ 350426 h 1240128"/>
              <a:gd name="csX42" fmla="*/ 233274 w 697572"/>
              <a:gd name="csY42" fmla="*/ 333513 h 1240128"/>
              <a:gd name="csX43" fmla="*/ 229677 w 697572"/>
              <a:gd name="csY43" fmla="*/ 333922 h 1240128"/>
              <a:gd name="csX44" fmla="*/ 230149 w 697572"/>
              <a:gd name="csY44" fmla="*/ 332979 h 1240128"/>
              <a:gd name="csX45" fmla="*/ 227053 w 697572"/>
              <a:gd name="csY45" fmla="*/ 327076 h 1240128"/>
              <a:gd name="csX46" fmla="*/ 196769 w 697572"/>
              <a:gd name="csY46" fmla="*/ 291380 h 1240128"/>
              <a:gd name="csX47" fmla="*/ 184389 w 697572"/>
              <a:gd name="csY47" fmla="*/ 264042 h 1240128"/>
              <a:gd name="csX48" fmla="*/ 180630 w 697572"/>
              <a:gd name="csY48" fmla="*/ 257839 h 1240128"/>
              <a:gd name="csX49" fmla="*/ 176231 w 697572"/>
              <a:gd name="csY49" fmla="*/ 250643 h 1240128"/>
              <a:gd name="csX50" fmla="*/ 170073 w 697572"/>
              <a:gd name="csY50" fmla="*/ 146723 h 1240128"/>
              <a:gd name="csX51" fmla="*/ 180929 w 697572"/>
              <a:gd name="csY51" fmla="*/ 114280 h 1240128"/>
              <a:gd name="csX52" fmla="*/ 180839 w 697572"/>
              <a:gd name="csY52" fmla="*/ 101501 h 1240128"/>
              <a:gd name="csX53" fmla="*/ 233536 w 697572"/>
              <a:gd name="csY53" fmla="*/ 39653 h 1240128"/>
              <a:gd name="csX54" fmla="*/ 347618 w 697572"/>
              <a:gd name="csY54" fmla="*/ 35 h 1240128"/>
              <a:gd name="csX55" fmla="*/ 437139 w 697572"/>
              <a:gd name="csY55" fmla="*/ 22396 h 1240128"/>
              <a:gd name="csX56" fmla="*/ 529052 w 697572"/>
              <a:gd name="csY56" fmla="*/ 131093 h 1240128"/>
              <a:gd name="csX57" fmla="*/ 518497 w 697572"/>
              <a:gd name="csY57" fmla="*/ 271517 h 1240128"/>
              <a:gd name="csX58" fmla="*/ 500808 w 697572"/>
              <a:gd name="csY58" fmla="*/ 287385 h 1240128"/>
              <a:gd name="csX59" fmla="*/ 472948 w 697572"/>
              <a:gd name="csY59" fmla="*/ 323290 h 1240128"/>
              <a:gd name="csX60" fmla="*/ 469385 w 697572"/>
              <a:gd name="csY60" fmla="*/ 331565 h 1240128"/>
              <a:gd name="csX61" fmla="*/ 468293 w 697572"/>
              <a:gd name="csY61" fmla="*/ 331320 h 1240128"/>
              <a:gd name="csX62" fmla="*/ 459542 w 697572"/>
              <a:gd name="csY62" fmla="*/ 338942 h 1240128"/>
              <a:gd name="csX63" fmla="*/ 458492 w 697572"/>
              <a:gd name="csY63" fmla="*/ 338671 h 1240128"/>
              <a:gd name="csX64" fmla="*/ 436978 w 697572"/>
              <a:gd name="csY64" fmla="*/ 352226 h 1240128"/>
              <a:gd name="csX65" fmla="*/ 472329 w 697572"/>
              <a:gd name="csY65" fmla="*/ 362890 h 1240128"/>
              <a:gd name="csX66" fmla="*/ 523779 w 697572"/>
              <a:gd name="csY66" fmla="*/ 391962 h 1240128"/>
              <a:gd name="csX67" fmla="*/ 527344 w 697572"/>
              <a:gd name="csY67" fmla="*/ 430096 h 1240128"/>
              <a:gd name="csX68" fmla="*/ 504112 w 697572"/>
              <a:gd name="csY68" fmla="*/ 449628 h 1240128"/>
              <a:gd name="csX69" fmla="*/ 459430 w 697572"/>
              <a:gd name="csY69" fmla="*/ 461116 h 1240128"/>
              <a:gd name="csX70" fmla="*/ 446666 w 697572"/>
              <a:gd name="csY70" fmla="*/ 474229 h 1240128"/>
              <a:gd name="csX71" fmla="*/ 449133 w 697572"/>
              <a:gd name="csY71" fmla="*/ 531639 h 1240128"/>
              <a:gd name="csX72" fmla="*/ 454546 w 697572"/>
              <a:gd name="csY72" fmla="*/ 588688 h 1240128"/>
              <a:gd name="csX73" fmla="*/ 466126 w 697572"/>
              <a:gd name="csY73" fmla="*/ 649736 h 1240128"/>
              <a:gd name="csX74" fmla="*/ 512154 w 697572"/>
              <a:gd name="csY74" fmla="*/ 794006 h 1240128"/>
              <a:gd name="csX75" fmla="*/ 525763 w 697572"/>
              <a:gd name="csY75" fmla="*/ 834323 h 1240128"/>
              <a:gd name="csX76" fmla="*/ 530555 w 697572"/>
              <a:gd name="csY76" fmla="*/ 845114 h 1240128"/>
              <a:gd name="csX77" fmla="*/ 554424 w 697572"/>
              <a:gd name="csY77" fmla="*/ 856618 h 1240128"/>
              <a:gd name="csX78" fmla="*/ 572880 w 697572"/>
              <a:gd name="csY78" fmla="*/ 862546 h 1240128"/>
              <a:gd name="csX79" fmla="*/ 578643 w 697572"/>
              <a:gd name="csY79" fmla="*/ 880396 h 1240128"/>
              <a:gd name="csX80" fmla="*/ 572188 w 697572"/>
              <a:gd name="csY80" fmla="*/ 899820 h 1240128"/>
              <a:gd name="csX81" fmla="*/ 582698 w 697572"/>
              <a:gd name="csY81" fmla="*/ 930382 h 1240128"/>
              <a:gd name="csX82" fmla="*/ 604747 w 697572"/>
              <a:gd name="csY82" fmla="*/ 960852 h 1240128"/>
              <a:gd name="csX83" fmla="*/ 613863 w 697572"/>
              <a:gd name="csY83" fmla="*/ 968311 h 1240128"/>
              <a:gd name="csX84" fmla="*/ 629435 w 697572"/>
              <a:gd name="csY84" fmla="*/ 981186 h 1240128"/>
              <a:gd name="csX85" fmla="*/ 633611 w 697572"/>
              <a:gd name="csY85" fmla="*/ 985609 h 1240128"/>
              <a:gd name="csX86" fmla="*/ 673790 w 697572"/>
              <a:gd name="csY86" fmla="*/ 1049348 h 1240128"/>
              <a:gd name="csX87" fmla="*/ 675873 w 697572"/>
              <a:gd name="csY87" fmla="*/ 1092839 h 1240128"/>
              <a:gd name="csX88" fmla="*/ 681668 w 697572"/>
              <a:gd name="csY88" fmla="*/ 1129292 h 1240128"/>
              <a:gd name="csX89" fmla="*/ 697338 w 697572"/>
              <a:gd name="csY89" fmla="*/ 1196079 h 1240128"/>
              <a:gd name="csX90" fmla="*/ 690637 w 697572"/>
              <a:gd name="csY90" fmla="*/ 1205035 h 1240128"/>
              <a:gd name="csX91" fmla="*/ 639777 w 697572"/>
              <a:gd name="csY91" fmla="*/ 1217994 h 1240128"/>
              <a:gd name="csX92" fmla="*/ 587072 w 697572"/>
              <a:gd name="csY92" fmla="*/ 1227761 h 1240128"/>
              <a:gd name="csX93" fmla="*/ 581793 w 697572"/>
              <a:gd name="csY93" fmla="*/ 1234401 h 1240128"/>
              <a:gd name="csX94" fmla="*/ 357446 w 697572"/>
              <a:gd name="csY94" fmla="*/ 903795 h 1240128"/>
              <a:gd name="csX95" fmla="*/ 344445 w 697572"/>
              <a:gd name="csY95" fmla="*/ 903795 h 1240128"/>
              <a:gd name="csX96" fmla="*/ 349212 w 697572"/>
              <a:gd name="csY96" fmla="*/ 950515 h 1240128"/>
              <a:gd name="csX97" fmla="*/ 349538 w 697572"/>
              <a:gd name="csY97" fmla="*/ 1069392 h 1240128"/>
              <a:gd name="csX98" fmla="*/ 349415 w 697572"/>
              <a:gd name="csY98" fmla="*/ 1108925 h 1240128"/>
              <a:gd name="csX99" fmla="*/ 647726 w 697572"/>
              <a:gd name="csY99" fmla="*/ 1089872 h 1240128"/>
              <a:gd name="csX100" fmla="*/ 647654 w 697572"/>
              <a:gd name="csY100" fmla="*/ 1076267 h 1240128"/>
              <a:gd name="csX101" fmla="*/ 610267 w 697572"/>
              <a:gd name="csY101" fmla="*/ 994126 h 1240128"/>
              <a:gd name="csX102" fmla="*/ 571459 w 697572"/>
              <a:gd name="csY102" fmla="*/ 956568 h 1240128"/>
              <a:gd name="csX103" fmla="*/ 541653 w 697572"/>
              <a:gd name="csY103" fmla="*/ 901544 h 1240128"/>
              <a:gd name="csX104" fmla="*/ 539477 w 697572"/>
              <a:gd name="csY104" fmla="*/ 895908 h 1240128"/>
              <a:gd name="csX105" fmla="*/ 357446 w 697572"/>
              <a:gd name="csY105" fmla="*/ 903795 h 1240128"/>
              <a:gd name="csX106" fmla="*/ 300108 w 697572"/>
              <a:gd name="csY106" fmla="*/ 85260 h 1240128"/>
              <a:gd name="csX107" fmla="*/ 290213 w 697572"/>
              <a:gd name="csY107" fmla="*/ 127888 h 1240128"/>
              <a:gd name="csX108" fmla="*/ 331056 w 697572"/>
              <a:gd name="csY108" fmla="*/ 214168 h 1240128"/>
              <a:gd name="csX109" fmla="*/ 424717 w 697572"/>
              <a:gd name="csY109" fmla="*/ 245160 h 1240128"/>
              <a:gd name="csX110" fmla="*/ 496752 w 697572"/>
              <a:gd name="csY110" fmla="*/ 141256 h 1240128"/>
              <a:gd name="csX111" fmla="*/ 390320 w 697572"/>
              <a:gd name="csY111" fmla="*/ 43995 h 1240128"/>
              <a:gd name="csX112" fmla="*/ 300108 w 697572"/>
              <a:gd name="csY112" fmla="*/ 85260 h 1240128"/>
              <a:gd name="csX113" fmla="*/ 343360 w 697572"/>
              <a:gd name="csY113" fmla="*/ 634332 h 1240128"/>
              <a:gd name="csX114" fmla="*/ 340877 w 697572"/>
              <a:gd name="csY114" fmla="*/ 732259 h 1240128"/>
              <a:gd name="csX115" fmla="*/ 338360 w 697572"/>
              <a:gd name="csY115" fmla="*/ 810538 h 1240128"/>
              <a:gd name="csX116" fmla="*/ 337115 w 697572"/>
              <a:gd name="csY116" fmla="*/ 817736 h 1240128"/>
              <a:gd name="csX117" fmla="*/ 336516 w 697572"/>
              <a:gd name="csY117" fmla="*/ 863022 h 1240128"/>
              <a:gd name="csX118" fmla="*/ 343436 w 697572"/>
              <a:gd name="csY118" fmla="*/ 864027 h 1240128"/>
              <a:gd name="csX119" fmla="*/ 406718 w 697572"/>
              <a:gd name="csY119" fmla="*/ 862982 h 1240128"/>
              <a:gd name="csX120" fmla="*/ 456888 w 697572"/>
              <a:gd name="csY120" fmla="*/ 861794 h 1240128"/>
              <a:gd name="csX121" fmla="*/ 495873 w 697572"/>
              <a:gd name="csY121" fmla="*/ 863963 h 1240128"/>
              <a:gd name="csX122" fmla="*/ 509286 w 697572"/>
              <a:gd name="csY122" fmla="*/ 863595 h 1240128"/>
              <a:gd name="csX123" fmla="*/ 516956 w 697572"/>
              <a:gd name="csY123" fmla="*/ 856791 h 1240128"/>
              <a:gd name="csX124" fmla="*/ 513920 w 697572"/>
              <a:gd name="csY124" fmla="*/ 848709 h 1240128"/>
              <a:gd name="csX125" fmla="*/ 506683 w 697572"/>
              <a:gd name="csY125" fmla="*/ 839054 h 1240128"/>
              <a:gd name="csX126" fmla="*/ 488629 w 697572"/>
              <a:gd name="csY126" fmla="*/ 799037 h 1240128"/>
              <a:gd name="csX127" fmla="*/ 456922 w 697572"/>
              <a:gd name="csY127" fmla="*/ 696297 h 1240128"/>
              <a:gd name="csX128" fmla="*/ 441346 w 697572"/>
              <a:gd name="csY128" fmla="*/ 619885 h 1240128"/>
              <a:gd name="csX129" fmla="*/ 435963 w 697572"/>
              <a:gd name="csY129" fmla="*/ 582529 h 1240128"/>
              <a:gd name="csX130" fmla="*/ 429497 w 697572"/>
              <a:gd name="csY130" fmla="*/ 521990 h 1240128"/>
              <a:gd name="csX131" fmla="*/ 426887 w 697572"/>
              <a:gd name="csY131" fmla="*/ 471989 h 1240128"/>
              <a:gd name="csX132" fmla="*/ 413744 w 697572"/>
              <a:gd name="csY132" fmla="*/ 461077 h 1240128"/>
              <a:gd name="csX133" fmla="*/ 353573 w 697572"/>
              <a:gd name="csY133" fmla="*/ 461120 h 1240128"/>
              <a:gd name="csX134" fmla="*/ 344160 w 697572"/>
              <a:gd name="csY134" fmla="*/ 462286 h 1240128"/>
              <a:gd name="csX135" fmla="*/ 343404 w 697572"/>
              <a:gd name="csY135" fmla="*/ 469192 h 1240128"/>
              <a:gd name="csX136" fmla="*/ 343469 w 697572"/>
              <a:gd name="csY136" fmla="*/ 574797 h 1240128"/>
              <a:gd name="csX137" fmla="*/ 345522 w 697572"/>
              <a:gd name="csY137" fmla="*/ 591669 h 1240128"/>
              <a:gd name="csX138" fmla="*/ 343360 w 697572"/>
              <a:gd name="csY138" fmla="*/ 634332 h 1240128"/>
              <a:gd name="csX139" fmla="*/ 416946 w 697572"/>
              <a:gd name="csY139" fmla="*/ 385943 h 1240128"/>
              <a:gd name="csX140" fmla="*/ 401091 w 697572"/>
              <a:gd name="csY140" fmla="*/ 387162 h 1240128"/>
              <a:gd name="csX141" fmla="*/ 369218 w 697572"/>
              <a:gd name="csY141" fmla="*/ 387708 h 1240128"/>
              <a:gd name="csX142" fmla="*/ 351833 w 697572"/>
              <a:gd name="csY142" fmla="*/ 398991 h 1240128"/>
              <a:gd name="csX143" fmla="*/ 349778 w 697572"/>
              <a:gd name="csY143" fmla="*/ 426021 h 1240128"/>
              <a:gd name="csX144" fmla="*/ 361839 w 697572"/>
              <a:gd name="csY144" fmla="*/ 426538 h 1240128"/>
              <a:gd name="csX145" fmla="*/ 455022 w 697572"/>
              <a:gd name="csY145" fmla="*/ 426922 h 1240128"/>
              <a:gd name="csX146" fmla="*/ 481958 w 697572"/>
              <a:gd name="csY146" fmla="*/ 426527 h 1240128"/>
              <a:gd name="csX147" fmla="*/ 499817 w 697572"/>
              <a:gd name="csY147" fmla="*/ 419888 h 1240128"/>
              <a:gd name="csX148" fmla="*/ 499439 w 697572"/>
              <a:gd name="csY148" fmla="*/ 400719 h 1240128"/>
              <a:gd name="csX149" fmla="*/ 468062 w 697572"/>
              <a:gd name="csY149" fmla="*/ 387775 h 1240128"/>
              <a:gd name="csX150" fmla="*/ 416946 w 697572"/>
              <a:gd name="csY150" fmla="*/ 385943 h 1240128"/>
              <a:gd name="csX151" fmla="*/ 636802 w 697572"/>
              <a:gd name="csY151" fmla="*/ 1190940 h 1240128"/>
              <a:gd name="csX152" fmla="*/ 666492 w 697572"/>
              <a:gd name="csY152" fmla="*/ 1184186 h 1240128"/>
              <a:gd name="csX153" fmla="*/ 674465 w 697572"/>
              <a:gd name="csY153" fmla="*/ 1170880 h 1240128"/>
              <a:gd name="csX154" fmla="*/ 662462 w 697572"/>
              <a:gd name="csY154" fmla="*/ 1141464 h 1240128"/>
              <a:gd name="csX155" fmla="*/ 645564 w 697572"/>
              <a:gd name="csY155" fmla="*/ 1131937 h 1240128"/>
              <a:gd name="csX156" fmla="*/ 627387 w 697572"/>
              <a:gd name="csY156" fmla="*/ 1133618 h 1240128"/>
              <a:gd name="csX157" fmla="*/ 583917 w 697572"/>
              <a:gd name="csY157" fmla="*/ 1139222 h 1240128"/>
              <a:gd name="csX158" fmla="*/ 543741 w 697572"/>
              <a:gd name="csY158" fmla="*/ 1141869 h 1240128"/>
              <a:gd name="csX159" fmla="*/ 512146 w 697572"/>
              <a:gd name="csY159" fmla="*/ 1144418 h 1240128"/>
              <a:gd name="csX160" fmla="*/ 447711 w 697572"/>
              <a:gd name="csY160" fmla="*/ 1148973 h 1240128"/>
              <a:gd name="csX161" fmla="*/ 351979 w 697572"/>
              <a:gd name="csY161" fmla="*/ 1149200 h 1240128"/>
              <a:gd name="csX162" fmla="*/ 338443 w 697572"/>
              <a:gd name="csY162" fmla="*/ 1150040 h 1240128"/>
              <a:gd name="csX163" fmla="*/ 338451 w 697572"/>
              <a:gd name="csY163" fmla="*/ 1190780 h 1240128"/>
              <a:gd name="csX164" fmla="*/ 351082 w 697572"/>
              <a:gd name="csY164" fmla="*/ 1207015 h 1240128"/>
              <a:gd name="csX165" fmla="*/ 358298 w 697572"/>
              <a:gd name="csY165" fmla="*/ 1208094 h 1240128"/>
              <a:gd name="csX166" fmla="*/ 521229 w 697572"/>
              <a:gd name="csY166" fmla="*/ 1205646 h 1240128"/>
              <a:gd name="csX167" fmla="*/ 523675 w 697572"/>
              <a:gd name="csY167" fmla="*/ 1205490 h 1240128"/>
              <a:gd name="csX168" fmla="*/ 580423 w 697572"/>
              <a:gd name="csY168" fmla="*/ 1198350 h 1240128"/>
              <a:gd name="csX169" fmla="*/ 636802 w 697572"/>
              <a:gd name="csY169" fmla="*/ 1190940 h 124012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</a:cxnLst>
            <a:rect l="l" t="t" r="r" b="b"/>
            <a:pathLst>
              <a:path w="697572" h="1240128">
                <a:moveTo>
                  <a:pt x="581793" y="1234401"/>
                </a:moveTo>
                <a:cubicBezTo>
                  <a:pt x="580693" y="1234661"/>
                  <a:pt x="579594" y="1234922"/>
                  <a:pt x="577427" y="1234156"/>
                </a:cubicBezTo>
                <a:cubicBezTo>
                  <a:pt x="571216" y="1227899"/>
                  <a:pt x="564912" y="1230441"/>
                  <a:pt x="559133" y="1230909"/>
                </a:cubicBezTo>
                <a:cubicBezTo>
                  <a:pt x="544971" y="1232056"/>
                  <a:pt x="530869" y="1233971"/>
                  <a:pt x="516706" y="1235117"/>
                </a:cubicBezTo>
                <a:cubicBezTo>
                  <a:pt x="502910" y="1236232"/>
                  <a:pt x="489077" y="1237097"/>
                  <a:pt x="475244" y="1237506"/>
                </a:cubicBezTo>
                <a:cubicBezTo>
                  <a:pt x="440539" y="1238535"/>
                  <a:pt x="405696" y="1241458"/>
                  <a:pt x="371154" y="1239428"/>
                </a:cubicBezTo>
                <a:cubicBezTo>
                  <a:pt x="339645" y="1237575"/>
                  <a:pt x="308239" y="1238753"/>
                  <a:pt x="276813" y="1237654"/>
                </a:cubicBezTo>
                <a:cubicBezTo>
                  <a:pt x="273949" y="1237553"/>
                  <a:pt x="271079" y="1237652"/>
                  <a:pt x="268212" y="1237635"/>
                </a:cubicBezTo>
                <a:cubicBezTo>
                  <a:pt x="266165" y="1237623"/>
                  <a:pt x="264111" y="1237668"/>
                  <a:pt x="262072" y="1237523"/>
                </a:cubicBezTo>
                <a:cubicBezTo>
                  <a:pt x="239751" y="1235944"/>
                  <a:pt x="217441" y="1234201"/>
                  <a:pt x="195111" y="1232775"/>
                </a:cubicBezTo>
                <a:cubicBezTo>
                  <a:pt x="178437" y="1231710"/>
                  <a:pt x="161712" y="1231378"/>
                  <a:pt x="145060" y="1230076"/>
                </a:cubicBezTo>
                <a:cubicBezTo>
                  <a:pt x="134969" y="1229287"/>
                  <a:pt x="124987" y="1227177"/>
                  <a:pt x="114933" y="1225832"/>
                </a:cubicBezTo>
                <a:cubicBezTo>
                  <a:pt x="100834" y="1223946"/>
                  <a:pt x="86554" y="1223022"/>
                  <a:pt x="72642" y="1220237"/>
                </a:cubicBezTo>
                <a:cubicBezTo>
                  <a:pt x="51920" y="1216091"/>
                  <a:pt x="31443" y="1210723"/>
                  <a:pt x="10894" y="1205737"/>
                </a:cubicBezTo>
                <a:cubicBezTo>
                  <a:pt x="9027" y="1205284"/>
                  <a:pt x="6196" y="1204140"/>
                  <a:pt x="5856" y="1202799"/>
                </a:cubicBezTo>
                <a:cubicBezTo>
                  <a:pt x="3474" y="1193418"/>
                  <a:pt x="-438" y="1183796"/>
                  <a:pt x="40" y="1174450"/>
                </a:cubicBezTo>
                <a:cubicBezTo>
                  <a:pt x="1079" y="1154149"/>
                  <a:pt x="9757" y="1135843"/>
                  <a:pt x="19831" y="1118410"/>
                </a:cubicBezTo>
                <a:cubicBezTo>
                  <a:pt x="21968" y="1114713"/>
                  <a:pt x="22970" y="1111858"/>
                  <a:pt x="22004" y="1107240"/>
                </a:cubicBezTo>
                <a:cubicBezTo>
                  <a:pt x="17168" y="1084118"/>
                  <a:pt x="17717" y="1061168"/>
                  <a:pt x="25947" y="1038650"/>
                </a:cubicBezTo>
                <a:cubicBezTo>
                  <a:pt x="32954" y="1019481"/>
                  <a:pt x="44478" y="1003118"/>
                  <a:pt x="58234" y="988567"/>
                </a:cubicBezTo>
                <a:cubicBezTo>
                  <a:pt x="77769" y="967902"/>
                  <a:pt x="97978" y="947832"/>
                  <a:pt x="118645" y="928298"/>
                </a:cubicBezTo>
                <a:cubicBezTo>
                  <a:pt x="130104" y="917467"/>
                  <a:pt x="131835" y="905961"/>
                  <a:pt x="126320" y="892015"/>
                </a:cubicBezTo>
                <a:cubicBezTo>
                  <a:pt x="123798" y="885637"/>
                  <a:pt x="122123" y="878904"/>
                  <a:pt x="120345" y="872258"/>
                </a:cubicBezTo>
                <a:cubicBezTo>
                  <a:pt x="119029" y="867341"/>
                  <a:pt x="120162" y="863613"/>
                  <a:pt x="125668" y="861640"/>
                </a:cubicBezTo>
                <a:cubicBezTo>
                  <a:pt x="135266" y="858201"/>
                  <a:pt x="144535" y="853788"/>
                  <a:pt x="154237" y="850716"/>
                </a:cubicBezTo>
                <a:cubicBezTo>
                  <a:pt x="161882" y="848296"/>
                  <a:pt x="167110" y="843897"/>
                  <a:pt x="170248" y="836767"/>
                </a:cubicBezTo>
                <a:cubicBezTo>
                  <a:pt x="176168" y="823316"/>
                  <a:pt x="182193" y="809907"/>
                  <a:pt x="187840" y="796341"/>
                </a:cubicBezTo>
                <a:cubicBezTo>
                  <a:pt x="195194" y="778679"/>
                  <a:pt x="202250" y="760894"/>
                  <a:pt x="209346" y="743126"/>
                </a:cubicBezTo>
                <a:cubicBezTo>
                  <a:pt x="210083" y="741280"/>
                  <a:pt x="210252" y="739200"/>
                  <a:pt x="210630" y="737219"/>
                </a:cubicBezTo>
                <a:cubicBezTo>
                  <a:pt x="211694" y="731645"/>
                  <a:pt x="212425" y="725987"/>
                  <a:pt x="213836" y="720505"/>
                </a:cubicBezTo>
                <a:cubicBezTo>
                  <a:pt x="218406" y="702764"/>
                  <a:pt x="223811" y="685219"/>
                  <a:pt x="227791" y="667353"/>
                </a:cubicBezTo>
                <a:cubicBezTo>
                  <a:pt x="232826" y="644755"/>
                  <a:pt x="237367" y="622009"/>
                  <a:pt x="241013" y="599151"/>
                </a:cubicBezTo>
                <a:cubicBezTo>
                  <a:pt x="244018" y="580319"/>
                  <a:pt x="246001" y="561272"/>
                  <a:pt x="247322" y="542242"/>
                </a:cubicBezTo>
                <a:cubicBezTo>
                  <a:pt x="248312" y="527975"/>
                  <a:pt x="246344" y="513451"/>
                  <a:pt x="247948" y="499296"/>
                </a:cubicBezTo>
                <a:cubicBezTo>
                  <a:pt x="249066" y="489432"/>
                  <a:pt x="247923" y="480014"/>
                  <a:pt x="247577" y="470384"/>
                </a:cubicBezTo>
                <a:cubicBezTo>
                  <a:pt x="247364" y="464453"/>
                  <a:pt x="245121" y="461397"/>
                  <a:pt x="238877" y="460987"/>
                </a:cubicBezTo>
                <a:cubicBezTo>
                  <a:pt x="233224" y="460615"/>
                  <a:pt x="227461" y="459920"/>
                  <a:pt x="222040" y="458353"/>
                </a:cubicBezTo>
                <a:cubicBezTo>
                  <a:pt x="203991" y="453134"/>
                  <a:pt x="185737" y="448229"/>
                  <a:pt x="172193" y="433714"/>
                </a:cubicBezTo>
                <a:cubicBezTo>
                  <a:pt x="162702" y="423544"/>
                  <a:pt x="160887" y="408134"/>
                  <a:pt x="168410" y="396591"/>
                </a:cubicBezTo>
                <a:cubicBezTo>
                  <a:pt x="178294" y="381428"/>
                  <a:pt x="193736" y="373793"/>
                  <a:pt x="209826" y="367773"/>
                </a:cubicBezTo>
                <a:cubicBezTo>
                  <a:pt x="223159" y="362784"/>
                  <a:pt x="237124" y="359493"/>
                  <a:pt x="250732" y="355208"/>
                </a:cubicBezTo>
                <a:cubicBezTo>
                  <a:pt x="253085" y="354467"/>
                  <a:pt x="255058" y="352518"/>
                  <a:pt x="258289" y="350426"/>
                </a:cubicBezTo>
                <a:cubicBezTo>
                  <a:pt x="250173" y="342610"/>
                  <a:pt x="241833" y="337880"/>
                  <a:pt x="233274" y="333513"/>
                </a:cubicBezTo>
                <a:cubicBezTo>
                  <a:pt x="232377" y="333055"/>
                  <a:pt x="230890" y="333758"/>
                  <a:pt x="229677" y="333922"/>
                </a:cubicBezTo>
                <a:cubicBezTo>
                  <a:pt x="229677" y="333922"/>
                  <a:pt x="230323" y="333834"/>
                  <a:pt x="230149" y="332979"/>
                </a:cubicBezTo>
                <a:cubicBezTo>
                  <a:pt x="229023" y="330409"/>
                  <a:pt x="228502" y="328059"/>
                  <a:pt x="227053" y="327076"/>
                </a:cubicBezTo>
                <a:cubicBezTo>
                  <a:pt x="213615" y="317962"/>
                  <a:pt x="204643" y="305332"/>
                  <a:pt x="196769" y="291380"/>
                </a:cubicBezTo>
                <a:cubicBezTo>
                  <a:pt x="191792" y="282564"/>
                  <a:pt x="185421" y="274665"/>
                  <a:pt x="184389" y="264042"/>
                </a:cubicBezTo>
                <a:cubicBezTo>
                  <a:pt x="184179" y="261874"/>
                  <a:pt x="181925" y="259908"/>
                  <a:pt x="180630" y="257839"/>
                </a:cubicBezTo>
                <a:cubicBezTo>
                  <a:pt x="179137" y="255454"/>
                  <a:pt x="177317" y="253204"/>
                  <a:pt x="176231" y="250643"/>
                </a:cubicBezTo>
                <a:cubicBezTo>
                  <a:pt x="161865" y="216749"/>
                  <a:pt x="159606" y="182060"/>
                  <a:pt x="170073" y="146723"/>
                </a:cubicBezTo>
                <a:cubicBezTo>
                  <a:pt x="173311" y="135795"/>
                  <a:pt x="177248" y="125074"/>
                  <a:pt x="180929" y="114280"/>
                </a:cubicBezTo>
                <a:cubicBezTo>
                  <a:pt x="182396" y="109981"/>
                  <a:pt x="183922" y="105742"/>
                  <a:pt x="180839" y="101501"/>
                </a:cubicBezTo>
                <a:cubicBezTo>
                  <a:pt x="192473" y="75833"/>
                  <a:pt x="211344" y="56271"/>
                  <a:pt x="233536" y="39653"/>
                </a:cubicBezTo>
                <a:cubicBezTo>
                  <a:pt x="267321" y="14353"/>
                  <a:pt x="305621" y="873"/>
                  <a:pt x="347618" y="35"/>
                </a:cubicBezTo>
                <a:cubicBezTo>
                  <a:pt x="379125" y="-593"/>
                  <a:pt x="409214" y="7172"/>
                  <a:pt x="437139" y="22396"/>
                </a:cubicBezTo>
                <a:cubicBezTo>
                  <a:pt x="481844" y="46766"/>
                  <a:pt x="514077" y="82116"/>
                  <a:pt x="529052" y="131093"/>
                </a:cubicBezTo>
                <a:cubicBezTo>
                  <a:pt x="543544" y="178495"/>
                  <a:pt x="541630" y="225548"/>
                  <a:pt x="518497" y="271517"/>
                </a:cubicBezTo>
                <a:cubicBezTo>
                  <a:pt x="511428" y="277096"/>
                  <a:pt x="503848" y="281136"/>
                  <a:pt x="500808" y="287385"/>
                </a:cubicBezTo>
                <a:cubicBezTo>
                  <a:pt x="493932" y="301522"/>
                  <a:pt x="483805" y="312513"/>
                  <a:pt x="472948" y="323290"/>
                </a:cubicBezTo>
                <a:cubicBezTo>
                  <a:pt x="470972" y="325253"/>
                  <a:pt x="470533" y="328767"/>
                  <a:pt x="469385" y="331565"/>
                </a:cubicBezTo>
                <a:cubicBezTo>
                  <a:pt x="469385" y="331565"/>
                  <a:pt x="469172" y="331584"/>
                  <a:pt x="468293" y="331320"/>
                </a:cubicBezTo>
                <a:cubicBezTo>
                  <a:pt x="461937" y="330836"/>
                  <a:pt x="458618" y="332772"/>
                  <a:pt x="459542" y="338942"/>
                </a:cubicBezTo>
                <a:cubicBezTo>
                  <a:pt x="459542" y="338942"/>
                  <a:pt x="459473" y="338913"/>
                  <a:pt x="458492" y="338671"/>
                </a:cubicBezTo>
                <a:cubicBezTo>
                  <a:pt x="450936" y="342653"/>
                  <a:pt x="440712" y="341355"/>
                  <a:pt x="436978" y="352226"/>
                </a:cubicBezTo>
                <a:cubicBezTo>
                  <a:pt x="449178" y="355911"/>
                  <a:pt x="460733" y="359469"/>
                  <a:pt x="472329" y="362890"/>
                </a:cubicBezTo>
                <a:cubicBezTo>
                  <a:pt x="491728" y="368613"/>
                  <a:pt x="510182" y="375784"/>
                  <a:pt x="523779" y="391962"/>
                </a:cubicBezTo>
                <a:cubicBezTo>
                  <a:pt x="535849" y="406326"/>
                  <a:pt x="534845" y="420076"/>
                  <a:pt x="527344" y="430096"/>
                </a:cubicBezTo>
                <a:cubicBezTo>
                  <a:pt x="521323" y="438139"/>
                  <a:pt x="513928" y="445333"/>
                  <a:pt x="504112" y="449628"/>
                </a:cubicBezTo>
                <a:cubicBezTo>
                  <a:pt x="489776" y="455901"/>
                  <a:pt x="475173" y="460486"/>
                  <a:pt x="459430" y="461116"/>
                </a:cubicBezTo>
                <a:cubicBezTo>
                  <a:pt x="448415" y="461557"/>
                  <a:pt x="446384" y="463369"/>
                  <a:pt x="446666" y="474229"/>
                </a:cubicBezTo>
                <a:cubicBezTo>
                  <a:pt x="447164" y="493376"/>
                  <a:pt x="447839" y="512533"/>
                  <a:pt x="449133" y="531639"/>
                </a:cubicBezTo>
                <a:cubicBezTo>
                  <a:pt x="450424" y="550696"/>
                  <a:pt x="451783" y="569809"/>
                  <a:pt x="454546" y="588688"/>
                </a:cubicBezTo>
                <a:cubicBezTo>
                  <a:pt x="457543" y="609164"/>
                  <a:pt x="462165" y="629403"/>
                  <a:pt x="466126" y="649736"/>
                </a:cubicBezTo>
                <a:cubicBezTo>
                  <a:pt x="475845" y="699621"/>
                  <a:pt x="493414" y="746980"/>
                  <a:pt x="512154" y="794006"/>
                </a:cubicBezTo>
                <a:cubicBezTo>
                  <a:pt x="517387" y="807138"/>
                  <a:pt x="525145" y="819463"/>
                  <a:pt x="525763" y="834323"/>
                </a:cubicBezTo>
                <a:cubicBezTo>
                  <a:pt x="525919" y="838081"/>
                  <a:pt x="527739" y="843335"/>
                  <a:pt x="530555" y="845114"/>
                </a:cubicBezTo>
                <a:cubicBezTo>
                  <a:pt x="537981" y="849801"/>
                  <a:pt x="546243" y="853278"/>
                  <a:pt x="554424" y="856618"/>
                </a:cubicBezTo>
                <a:cubicBezTo>
                  <a:pt x="560391" y="859054"/>
                  <a:pt x="567041" y="859887"/>
                  <a:pt x="572880" y="862546"/>
                </a:cubicBezTo>
                <a:cubicBezTo>
                  <a:pt x="581470" y="866458"/>
                  <a:pt x="582467" y="871415"/>
                  <a:pt x="578643" y="880396"/>
                </a:cubicBezTo>
                <a:cubicBezTo>
                  <a:pt x="575969" y="886677"/>
                  <a:pt x="572900" y="893182"/>
                  <a:pt x="572188" y="899820"/>
                </a:cubicBezTo>
                <a:cubicBezTo>
                  <a:pt x="570960" y="911271"/>
                  <a:pt x="576506" y="920944"/>
                  <a:pt x="582698" y="930382"/>
                </a:cubicBezTo>
                <a:cubicBezTo>
                  <a:pt x="589569" y="940856"/>
                  <a:pt x="600933" y="947930"/>
                  <a:pt x="604747" y="960852"/>
                </a:cubicBezTo>
                <a:cubicBezTo>
                  <a:pt x="605684" y="964030"/>
                  <a:pt x="610294" y="967128"/>
                  <a:pt x="613863" y="968311"/>
                </a:cubicBezTo>
                <a:cubicBezTo>
                  <a:pt x="620963" y="970665"/>
                  <a:pt x="625924" y="974774"/>
                  <a:pt x="629435" y="981186"/>
                </a:cubicBezTo>
                <a:cubicBezTo>
                  <a:pt x="630381" y="982913"/>
                  <a:pt x="631977" y="984459"/>
                  <a:pt x="633611" y="985609"/>
                </a:cubicBezTo>
                <a:cubicBezTo>
                  <a:pt x="655878" y="1001272"/>
                  <a:pt x="668032" y="1023762"/>
                  <a:pt x="673790" y="1049348"/>
                </a:cubicBezTo>
                <a:cubicBezTo>
                  <a:pt x="676936" y="1063327"/>
                  <a:pt x="679769" y="1077802"/>
                  <a:pt x="675873" y="1092839"/>
                </a:cubicBezTo>
                <a:cubicBezTo>
                  <a:pt x="672677" y="1105174"/>
                  <a:pt x="673042" y="1116963"/>
                  <a:pt x="681668" y="1129292"/>
                </a:cubicBezTo>
                <a:cubicBezTo>
                  <a:pt x="695321" y="1148802"/>
                  <a:pt x="698550" y="1172235"/>
                  <a:pt x="697338" y="1196079"/>
                </a:cubicBezTo>
                <a:cubicBezTo>
                  <a:pt x="697087" y="1201014"/>
                  <a:pt x="694979" y="1203886"/>
                  <a:pt x="690637" y="1205035"/>
                </a:cubicBezTo>
                <a:cubicBezTo>
                  <a:pt x="673723" y="1209511"/>
                  <a:pt x="656856" y="1214241"/>
                  <a:pt x="639777" y="1217994"/>
                </a:cubicBezTo>
                <a:cubicBezTo>
                  <a:pt x="622334" y="1221827"/>
                  <a:pt x="604691" y="1224790"/>
                  <a:pt x="587072" y="1227761"/>
                </a:cubicBezTo>
                <a:cubicBezTo>
                  <a:pt x="582708" y="1228497"/>
                  <a:pt x="581724" y="1230736"/>
                  <a:pt x="581793" y="1234401"/>
                </a:cubicBezTo>
                <a:moveTo>
                  <a:pt x="357446" y="903795"/>
                </a:moveTo>
                <a:cubicBezTo>
                  <a:pt x="353141" y="903795"/>
                  <a:pt x="348835" y="903795"/>
                  <a:pt x="344445" y="903795"/>
                </a:cubicBezTo>
                <a:cubicBezTo>
                  <a:pt x="346169" y="920562"/>
                  <a:pt x="347908" y="935520"/>
                  <a:pt x="349212" y="950515"/>
                </a:cubicBezTo>
                <a:cubicBezTo>
                  <a:pt x="352656" y="990125"/>
                  <a:pt x="351941" y="1029743"/>
                  <a:pt x="349538" y="1069392"/>
                </a:cubicBezTo>
                <a:cubicBezTo>
                  <a:pt x="348759" y="1082241"/>
                  <a:pt x="349415" y="1095176"/>
                  <a:pt x="349415" y="1108925"/>
                </a:cubicBezTo>
                <a:cubicBezTo>
                  <a:pt x="449467" y="1111953"/>
                  <a:pt x="548509" y="1104712"/>
                  <a:pt x="647726" y="1089872"/>
                </a:cubicBezTo>
                <a:cubicBezTo>
                  <a:pt x="647726" y="1084313"/>
                  <a:pt x="648180" y="1080225"/>
                  <a:pt x="647654" y="1076267"/>
                </a:cubicBezTo>
                <a:cubicBezTo>
                  <a:pt x="643515" y="1045124"/>
                  <a:pt x="633172" y="1016714"/>
                  <a:pt x="610267" y="994126"/>
                </a:cubicBezTo>
                <a:cubicBezTo>
                  <a:pt x="597451" y="981485"/>
                  <a:pt x="584392" y="969090"/>
                  <a:pt x="571459" y="956568"/>
                </a:cubicBezTo>
                <a:cubicBezTo>
                  <a:pt x="555751" y="941359"/>
                  <a:pt x="544836" y="923558"/>
                  <a:pt x="541653" y="901544"/>
                </a:cubicBezTo>
                <a:cubicBezTo>
                  <a:pt x="541430" y="900007"/>
                  <a:pt x="540528" y="898570"/>
                  <a:pt x="539477" y="895908"/>
                </a:cubicBezTo>
                <a:cubicBezTo>
                  <a:pt x="479736" y="901652"/>
                  <a:pt x="419815" y="904536"/>
                  <a:pt x="357446" y="903795"/>
                </a:cubicBezTo>
                <a:moveTo>
                  <a:pt x="300108" y="85260"/>
                </a:moveTo>
                <a:cubicBezTo>
                  <a:pt x="293656" y="98745"/>
                  <a:pt x="289202" y="113094"/>
                  <a:pt x="290213" y="127888"/>
                </a:cubicBezTo>
                <a:cubicBezTo>
                  <a:pt x="292527" y="161736"/>
                  <a:pt x="304185" y="191723"/>
                  <a:pt x="331056" y="214168"/>
                </a:cubicBezTo>
                <a:cubicBezTo>
                  <a:pt x="358172" y="236816"/>
                  <a:pt x="388435" y="249934"/>
                  <a:pt x="424717" y="245160"/>
                </a:cubicBezTo>
                <a:cubicBezTo>
                  <a:pt x="468593" y="239387"/>
                  <a:pt x="509574" y="203365"/>
                  <a:pt x="496752" y="141256"/>
                </a:cubicBezTo>
                <a:cubicBezTo>
                  <a:pt x="487021" y="94124"/>
                  <a:pt x="447261" y="51874"/>
                  <a:pt x="390320" y="43995"/>
                </a:cubicBezTo>
                <a:cubicBezTo>
                  <a:pt x="353241" y="38865"/>
                  <a:pt x="321136" y="48750"/>
                  <a:pt x="300108" y="85260"/>
                </a:cubicBezTo>
                <a:moveTo>
                  <a:pt x="343360" y="634332"/>
                </a:moveTo>
                <a:cubicBezTo>
                  <a:pt x="342539" y="666975"/>
                  <a:pt x="341785" y="699619"/>
                  <a:pt x="340877" y="732259"/>
                </a:cubicBezTo>
                <a:cubicBezTo>
                  <a:pt x="340151" y="758355"/>
                  <a:pt x="339265" y="784447"/>
                  <a:pt x="338360" y="810538"/>
                </a:cubicBezTo>
                <a:cubicBezTo>
                  <a:pt x="338277" y="812948"/>
                  <a:pt x="337465" y="815325"/>
                  <a:pt x="337115" y="817736"/>
                </a:cubicBezTo>
                <a:cubicBezTo>
                  <a:pt x="334935" y="832710"/>
                  <a:pt x="336026" y="847647"/>
                  <a:pt x="336516" y="863022"/>
                </a:cubicBezTo>
                <a:cubicBezTo>
                  <a:pt x="339537" y="863479"/>
                  <a:pt x="341490" y="864053"/>
                  <a:pt x="343436" y="864027"/>
                </a:cubicBezTo>
                <a:cubicBezTo>
                  <a:pt x="364531" y="863739"/>
                  <a:pt x="385626" y="863422"/>
                  <a:pt x="406718" y="862982"/>
                </a:cubicBezTo>
                <a:cubicBezTo>
                  <a:pt x="423444" y="862634"/>
                  <a:pt x="440168" y="861675"/>
                  <a:pt x="456888" y="861794"/>
                </a:cubicBezTo>
                <a:cubicBezTo>
                  <a:pt x="469887" y="861886"/>
                  <a:pt x="482872" y="863302"/>
                  <a:pt x="495873" y="863963"/>
                </a:cubicBezTo>
                <a:cubicBezTo>
                  <a:pt x="500358" y="864191"/>
                  <a:pt x="505108" y="864773"/>
                  <a:pt x="509286" y="863595"/>
                </a:cubicBezTo>
                <a:cubicBezTo>
                  <a:pt x="512346" y="862732"/>
                  <a:pt x="515714" y="859703"/>
                  <a:pt x="516956" y="856791"/>
                </a:cubicBezTo>
                <a:cubicBezTo>
                  <a:pt x="517783" y="854851"/>
                  <a:pt x="515475" y="851192"/>
                  <a:pt x="513920" y="848709"/>
                </a:cubicBezTo>
                <a:cubicBezTo>
                  <a:pt x="511791" y="845308"/>
                  <a:pt x="508393" y="842606"/>
                  <a:pt x="506683" y="839054"/>
                </a:cubicBezTo>
                <a:cubicBezTo>
                  <a:pt x="500331" y="825864"/>
                  <a:pt x="493224" y="812855"/>
                  <a:pt x="488629" y="799037"/>
                </a:cubicBezTo>
                <a:cubicBezTo>
                  <a:pt x="477322" y="765031"/>
                  <a:pt x="466537" y="730814"/>
                  <a:pt x="456922" y="696297"/>
                </a:cubicBezTo>
                <a:cubicBezTo>
                  <a:pt x="449953" y="671276"/>
                  <a:pt x="443477" y="646020"/>
                  <a:pt x="441346" y="619885"/>
                </a:cubicBezTo>
                <a:cubicBezTo>
                  <a:pt x="440327" y="607371"/>
                  <a:pt x="437466" y="595018"/>
                  <a:pt x="435963" y="582529"/>
                </a:cubicBezTo>
                <a:cubicBezTo>
                  <a:pt x="433539" y="562380"/>
                  <a:pt x="431154" y="542212"/>
                  <a:pt x="429497" y="521990"/>
                </a:cubicBezTo>
                <a:cubicBezTo>
                  <a:pt x="428135" y="505363"/>
                  <a:pt x="428437" y="488593"/>
                  <a:pt x="426887" y="471989"/>
                </a:cubicBezTo>
                <a:cubicBezTo>
                  <a:pt x="425874" y="461140"/>
                  <a:pt x="424983" y="461120"/>
                  <a:pt x="413744" y="461077"/>
                </a:cubicBezTo>
                <a:cubicBezTo>
                  <a:pt x="393687" y="461000"/>
                  <a:pt x="373630" y="461011"/>
                  <a:pt x="353573" y="461120"/>
                </a:cubicBezTo>
                <a:cubicBezTo>
                  <a:pt x="350472" y="461137"/>
                  <a:pt x="347374" y="461869"/>
                  <a:pt x="344160" y="462286"/>
                </a:cubicBezTo>
                <a:cubicBezTo>
                  <a:pt x="343828" y="465198"/>
                  <a:pt x="343406" y="467195"/>
                  <a:pt x="343404" y="469192"/>
                </a:cubicBezTo>
                <a:cubicBezTo>
                  <a:pt x="343360" y="504394"/>
                  <a:pt x="343267" y="539596"/>
                  <a:pt x="343469" y="574797"/>
                </a:cubicBezTo>
                <a:cubicBezTo>
                  <a:pt x="343501" y="580426"/>
                  <a:pt x="345652" y="586065"/>
                  <a:pt x="345522" y="591669"/>
                </a:cubicBezTo>
                <a:cubicBezTo>
                  <a:pt x="345214" y="605082"/>
                  <a:pt x="344131" y="618478"/>
                  <a:pt x="343360" y="634332"/>
                </a:cubicBezTo>
                <a:moveTo>
                  <a:pt x="416946" y="385943"/>
                </a:moveTo>
                <a:cubicBezTo>
                  <a:pt x="411661" y="386365"/>
                  <a:pt x="406384" y="387006"/>
                  <a:pt x="401091" y="387162"/>
                </a:cubicBezTo>
                <a:cubicBezTo>
                  <a:pt x="390470" y="387477"/>
                  <a:pt x="379841" y="387447"/>
                  <a:pt x="369218" y="387708"/>
                </a:cubicBezTo>
                <a:cubicBezTo>
                  <a:pt x="361167" y="387906"/>
                  <a:pt x="354429" y="391368"/>
                  <a:pt x="351833" y="398991"/>
                </a:cubicBezTo>
                <a:cubicBezTo>
                  <a:pt x="348989" y="407342"/>
                  <a:pt x="347050" y="416214"/>
                  <a:pt x="349778" y="426021"/>
                </a:cubicBezTo>
                <a:cubicBezTo>
                  <a:pt x="353876" y="426204"/>
                  <a:pt x="357857" y="426517"/>
                  <a:pt x="361839" y="426538"/>
                </a:cubicBezTo>
                <a:cubicBezTo>
                  <a:pt x="392900" y="426701"/>
                  <a:pt x="423961" y="426826"/>
                  <a:pt x="455022" y="426922"/>
                </a:cubicBezTo>
                <a:cubicBezTo>
                  <a:pt x="464013" y="426950"/>
                  <a:pt x="473106" y="427654"/>
                  <a:pt x="481958" y="426527"/>
                </a:cubicBezTo>
                <a:cubicBezTo>
                  <a:pt x="488144" y="425740"/>
                  <a:pt x="494821" y="423501"/>
                  <a:pt x="499817" y="419888"/>
                </a:cubicBezTo>
                <a:cubicBezTo>
                  <a:pt x="507869" y="414066"/>
                  <a:pt x="507286" y="406755"/>
                  <a:pt x="499439" y="400719"/>
                </a:cubicBezTo>
                <a:cubicBezTo>
                  <a:pt x="490179" y="393597"/>
                  <a:pt x="479486" y="388885"/>
                  <a:pt x="468062" y="387775"/>
                </a:cubicBezTo>
                <a:cubicBezTo>
                  <a:pt x="451873" y="386202"/>
                  <a:pt x="435520" y="386321"/>
                  <a:pt x="416946" y="385943"/>
                </a:cubicBezTo>
                <a:moveTo>
                  <a:pt x="636802" y="1190940"/>
                </a:moveTo>
                <a:cubicBezTo>
                  <a:pt x="646709" y="1188723"/>
                  <a:pt x="656705" y="1186841"/>
                  <a:pt x="666492" y="1184186"/>
                </a:cubicBezTo>
                <a:cubicBezTo>
                  <a:pt x="674710" y="1181958"/>
                  <a:pt x="676989" y="1178509"/>
                  <a:pt x="674465" y="1170880"/>
                </a:cubicBezTo>
                <a:cubicBezTo>
                  <a:pt x="671144" y="1160843"/>
                  <a:pt x="667026" y="1151009"/>
                  <a:pt x="662462" y="1141464"/>
                </a:cubicBezTo>
                <a:cubicBezTo>
                  <a:pt x="659273" y="1134795"/>
                  <a:pt x="653671" y="1130908"/>
                  <a:pt x="645564" y="1131937"/>
                </a:cubicBezTo>
                <a:cubicBezTo>
                  <a:pt x="639532" y="1132703"/>
                  <a:pt x="633423" y="1132867"/>
                  <a:pt x="627387" y="1133618"/>
                </a:cubicBezTo>
                <a:cubicBezTo>
                  <a:pt x="612888" y="1135421"/>
                  <a:pt x="598449" y="1137770"/>
                  <a:pt x="583917" y="1139222"/>
                </a:cubicBezTo>
                <a:cubicBezTo>
                  <a:pt x="570571" y="1140557"/>
                  <a:pt x="557130" y="1140930"/>
                  <a:pt x="543741" y="1141869"/>
                </a:cubicBezTo>
                <a:cubicBezTo>
                  <a:pt x="533202" y="1142610"/>
                  <a:pt x="522682" y="1143623"/>
                  <a:pt x="512146" y="1144418"/>
                </a:cubicBezTo>
                <a:cubicBezTo>
                  <a:pt x="490671" y="1146038"/>
                  <a:pt x="469214" y="1148450"/>
                  <a:pt x="447711" y="1148973"/>
                </a:cubicBezTo>
                <a:cubicBezTo>
                  <a:pt x="415817" y="1149749"/>
                  <a:pt x="383891" y="1149136"/>
                  <a:pt x="351979" y="1149200"/>
                </a:cubicBezTo>
                <a:cubicBezTo>
                  <a:pt x="347698" y="1149209"/>
                  <a:pt x="343419" y="1149717"/>
                  <a:pt x="338443" y="1150040"/>
                </a:cubicBezTo>
                <a:cubicBezTo>
                  <a:pt x="338443" y="1164651"/>
                  <a:pt x="338413" y="1177715"/>
                  <a:pt x="338451" y="1190780"/>
                </a:cubicBezTo>
                <a:cubicBezTo>
                  <a:pt x="338490" y="1204031"/>
                  <a:pt x="338512" y="1204062"/>
                  <a:pt x="351082" y="1207015"/>
                </a:cubicBezTo>
                <a:cubicBezTo>
                  <a:pt x="353445" y="1207570"/>
                  <a:pt x="355895" y="1208128"/>
                  <a:pt x="358298" y="1208094"/>
                </a:cubicBezTo>
                <a:cubicBezTo>
                  <a:pt x="412608" y="1207329"/>
                  <a:pt x="466919" y="1206484"/>
                  <a:pt x="521229" y="1205646"/>
                </a:cubicBezTo>
                <a:cubicBezTo>
                  <a:pt x="522045" y="1205634"/>
                  <a:pt x="522865" y="1205591"/>
                  <a:pt x="523675" y="1205490"/>
                </a:cubicBezTo>
                <a:cubicBezTo>
                  <a:pt x="542593" y="1203123"/>
                  <a:pt x="561519" y="1200820"/>
                  <a:pt x="580423" y="1198350"/>
                </a:cubicBezTo>
                <a:cubicBezTo>
                  <a:pt x="598523" y="1195985"/>
                  <a:pt x="616599" y="1193446"/>
                  <a:pt x="636802" y="1190940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7740" name="Free-form: Shape 7739">
            <a:extLst>
              <a:ext uri="{FF2B5EF4-FFF2-40B4-BE49-F238E27FC236}">
                <a16:creationId xmlns:a16="http://schemas.microsoft.com/office/drawing/2014/main" id="{BEE6D2C4-B4E2-1A4D-15BE-2628082CCEFC}"/>
              </a:ext>
            </a:extLst>
          </p:cNvPr>
          <p:cNvSpPr/>
          <p:nvPr/>
        </p:nvSpPr>
        <p:spPr>
          <a:xfrm>
            <a:off x="2578573" y="5051174"/>
            <a:ext cx="18245" cy="1928"/>
          </a:xfrm>
          <a:custGeom>
            <a:avLst/>
            <a:gdLst>
              <a:gd name="csX0" fmla="*/ 0 w 27674"/>
              <a:gd name="csY0" fmla="*/ 2915 h 2925"/>
              <a:gd name="csX1" fmla="*/ 27675 w 27674"/>
              <a:gd name="csY1" fmla="*/ 1550 h 2925"/>
              <a:gd name="csX2" fmla="*/ 0 w 27674"/>
              <a:gd name="csY2" fmla="*/ 2915 h 292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27674" h="2925">
                <a:moveTo>
                  <a:pt x="0" y="2915"/>
                </a:moveTo>
                <a:cubicBezTo>
                  <a:pt x="8211" y="-1939"/>
                  <a:pt x="17625" y="498"/>
                  <a:pt x="27675" y="1550"/>
                </a:cubicBezTo>
                <a:cubicBezTo>
                  <a:pt x="19225" y="2593"/>
                  <a:pt x="10029" y="2999"/>
                  <a:pt x="0" y="2915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7741" name="Free-form: Shape 7740">
            <a:extLst>
              <a:ext uri="{FF2B5EF4-FFF2-40B4-BE49-F238E27FC236}">
                <a16:creationId xmlns:a16="http://schemas.microsoft.com/office/drawing/2014/main" id="{F7802628-2A6B-1166-D5DA-40EC380D2551}"/>
              </a:ext>
            </a:extLst>
          </p:cNvPr>
          <p:cNvSpPr/>
          <p:nvPr/>
        </p:nvSpPr>
        <p:spPr>
          <a:xfrm>
            <a:off x="2528345" y="5052261"/>
            <a:ext cx="11869" cy="744"/>
          </a:xfrm>
          <a:custGeom>
            <a:avLst/>
            <a:gdLst>
              <a:gd name="csX0" fmla="*/ 0 w 18003"/>
              <a:gd name="csY0" fmla="*/ 1050 h 1128"/>
              <a:gd name="csX1" fmla="*/ 18004 w 18003"/>
              <a:gd name="csY1" fmla="*/ 93 h 1128"/>
              <a:gd name="csX2" fmla="*/ 0 w 18003"/>
              <a:gd name="csY2" fmla="*/ 1050 h 112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8003" h="1128">
                <a:moveTo>
                  <a:pt x="0" y="1050"/>
                </a:moveTo>
                <a:cubicBezTo>
                  <a:pt x="5276" y="182"/>
                  <a:pt x="11306" y="-189"/>
                  <a:pt x="18004" y="93"/>
                </a:cubicBezTo>
                <a:cubicBezTo>
                  <a:pt x="12699" y="1013"/>
                  <a:pt x="6726" y="1280"/>
                  <a:pt x="0" y="1050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7742" name="Free-form: Shape 7741">
            <a:extLst>
              <a:ext uri="{FF2B5EF4-FFF2-40B4-BE49-F238E27FC236}">
                <a16:creationId xmlns:a16="http://schemas.microsoft.com/office/drawing/2014/main" id="{C2B44D0E-1085-EEFA-E99D-1D15D6CFCB48}"/>
              </a:ext>
            </a:extLst>
          </p:cNvPr>
          <p:cNvSpPr/>
          <p:nvPr/>
        </p:nvSpPr>
        <p:spPr>
          <a:xfrm>
            <a:off x="2614316" y="4450435"/>
            <a:ext cx="5582" cy="5168"/>
          </a:xfrm>
          <a:custGeom>
            <a:avLst/>
            <a:gdLst>
              <a:gd name="csX0" fmla="*/ 473 w 8466"/>
              <a:gd name="csY0" fmla="*/ 7839 h 7838"/>
              <a:gd name="csX1" fmla="*/ 8466 w 8466"/>
              <a:gd name="csY1" fmla="*/ 61 h 7838"/>
              <a:gd name="csX2" fmla="*/ 473 w 8466"/>
              <a:gd name="csY2" fmla="*/ 7839 h 783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66" h="7838">
                <a:moveTo>
                  <a:pt x="473" y="7839"/>
                </a:moveTo>
                <a:cubicBezTo>
                  <a:pt x="-1298" y="1550"/>
                  <a:pt x="2020" y="-386"/>
                  <a:pt x="8466" y="61"/>
                </a:cubicBezTo>
                <a:cubicBezTo>
                  <a:pt x="6730" y="2845"/>
                  <a:pt x="4026" y="5401"/>
                  <a:pt x="473" y="7839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7743" name="Free-form: Shape 7742">
            <a:extLst>
              <a:ext uri="{FF2B5EF4-FFF2-40B4-BE49-F238E27FC236}">
                <a16:creationId xmlns:a16="http://schemas.microsoft.com/office/drawing/2014/main" id="{4CB36D64-D1BD-2D75-3BF4-9837F65BFF12}"/>
              </a:ext>
            </a:extLst>
          </p:cNvPr>
          <p:cNvSpPr/>
          <p:nvPr/>
        </p:nvSpPr>
        <p:spPr>
          <a:xfrm>
            <a:off x="2469916" y="5050653"/>
            <a:ext cx="5591" cy="657"/>
          </a:xfrm>
          <a:custGeom>
            <a:avLst/>
            <a:gdLst>
              <a:gd name="csX0" fmla="*/ 0 w 8480"/>
              <a:gd name="csY0" fmla="*/ 896 h 996"/>
              <a:gd name="csX1" fmla="*/ 8480 w 8480"/>
              <a:gd name="csY1" fmla="*/ 110 h 996"/>
              <a:gd name="csX2" fmla="*/ 0 w 8480"/>
              <a:gd name="csY2" fmla="*/ 896 h 99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80" h="996">
                <a:moveTo>
                  <a:pt x="0" y="896"/>
                </a:moveTo>
                <a:cubicBezTo>
                  <a:pt x="2285" y="115"/>
                  <a:pt x="5130" y="-182"/>
                  <a:pt x="8480" y="110"/>
                </a:cubicBezTo>
                <a:cubicBezTo>
                  <a:pt x="6177" y="927"/>
                  <a:pt x="3368" y="1153"/>
                  <a:pt x="0" y="896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7744" name="Free-form: Shape 7743">
            <a:extLst>
              <a:ext uri="{FF2B5EF4-FFF2-40B4-BE49-F238E27FC236}">
                <a16:creationId xmlns:a16="http://schemas.microsoft.com/office/drawing/2014/main" id="{5FDF48C3-4D52-8184-A519-2C11D0B52726}"/>
              </a:ext>
            </a:extLst>
          </p:cNvPr>
          <p:cNvSpPr/>
          <p:nvPr/>
        </p:nvSpPr>
        <p:spPr>
          <a:xfrm>
            <a:off x="2774398" y="5022486"/>
            <a:ext cx="810" cy="4390"/>
          </a:xfrm>
          <a:custGeom>
            <a:avLst/>
            <a:gdLst>
              <a:gd name="csX0" fmla="*/ 132 w 1229"/>
              <a:gd name="csY0" fmla="*/ 6659 h 6658"/>
              <a:gd name="csX1" fmla="*/ 1107 w 1229"/>
              <a:gd name="csY1" fmla="*/ 0 h 6658"/>
              <a:gd name="csX2" fmla="*/ 132 w 1229"/>
              <a:gd name="csY2" fmla="*/ 6659 h 665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229" h="6658">
                <a:moveTo>
                  <a:pt x="132" y="6659"/>
                </a:moveTo>
                <a:cubicBezTo>
                  <a:pt x="-219" y="4616"/>
                  <a:pt x="139" y="2560"/>
                  <a:pt x="1107" y="0"/>
                </a:cubicBezTo>
                <a:cubicBezTo>
                  <a:pt x="1425" y="1879"/>
                  <a:pt x="1133" y="4263"/>
                  <a:pt x="132" y="6659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7745" name="Free-form: Shape 7744">
            <a:extLst>
              <a:ext uri="{FF2B5EF4-FFF2-40B4-BE49-F238E27FC236}">
                <a16:creationId xmlns:a16="http://schemas.microsoft.com/office/drawing/2014/main" id="{0E7431EA-AB90-BB2C-0C3C-0443D666497A}"/>
              </a:ext>
            </a:extLst>
          </p:cNvPr>
          <p:cNvSpPr/>
          <p:nvPr/>
        </p:nvSpPr>
        <p:spPr>
          <a:xfrm>
            <a:off x="2703049" y="5044016"/>
            <a:ext cx="2497" cy="899"/>
          </a:xfrm>
          <a:custGeom>
            <a:avLst/>
            <a:gdLst>
              <a:gd name="csX0" fmla="*/ 0 w 3788"/>
              <a:gd name="csY0" fmla="*/ 1364 h 1364"/>
              <a:gd name="csX1" fmla="*/ 3788 w 3788"/>
              <a:gd name="csY1" fmla="*/ 0 h 1364"/>
              <a:gd name="csX2" fmla="*/ 0 w 3788"/>
              <a:gd name="csY2" fmla="*/ 1364 h 136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788" h="1364">
                <a:moveTo>
                  <a:pt x="0" y="1364"/>
                </a:moveTo>
                <a:cubicBezTo>
                  <a:pt x="856" y="517"/>
                  <a:pt x="2126" y="39"/>
                  <a:pt x="3788" y="0"/>
                </a:cubicBezTo>
                <a:cubicBezTo>
                  <a:pt x="2925" y="870"/>
                  <a:pt x="1670" y="1303"/>
                  <a:pt x="0" y="1364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7746" name="Free-form: Shape 7745">
            <a:extLst>
              <a:ext uri="{FF2B5EF4-FFF2-40B4-BE49-F238E27FC236}">
                <a16:creationId xmlns:a16="http://schemas.microsoft.com/office/drawing/2014/main" id="{CEE71DE5-6CB1-C495-5E0A-75098D60411F}"/>
              </a:ext>
            </a:extLst>
          </p:cNvPr>
          <p:cNvSpPr/>
          <p:nvPr/>
        </p:nvSpPr>
        <p:spPr>
          <a:xfrm>
            <a:off x="2414683" y="5047491"/>
            <a:ext cx="2631" cy="547"/>
          </a:xfrm>
          <a:custGeom>
            <a:avLst/>
            <a:gdLst>
              <a:gd name="csX0" fmla="*/ 0 w 3990"/>
              <a:gd name="csY0" fmla="*/ 719 h 829"/>
              <a:gd name="csX1" fmla="*/ 3990 w 3990"/>
              <a:gd name="csY1" fmla="*/ 119 h 829"/>
              <a:gd name="csX2" fmla="*/ 0 w 3990"/>
              <a:gd name="csY2" fmla="*/ 719 h 82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990" h="829">
                <a:moveTo>
                  <a:pt x="0" y="719"/>
                </a:moveTo>
                <a:cubicBezTo>
                  <a:pt x="982" y="66"/>
                  <a:pt x="2323" y="-163"/>
                  <a:pt x="3990" y="119"/>
                </a:cubicBezTo>
                <a:cubicBezTo>
                  <a:pt x="2998" y="800"/>
                  <a:pt x="1678" y="972"/>
                  <a:pt x="0" y="719"/>
                </a:cubicBezTo>
                <a:close/>
              </a:path>
            </a:pathLst>
          </a:custGeom>
          <a:solidFill>
            <a:srgbClr val="959DA0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7747" name="Free-form: Shape 7746">
            <a:extLst>
              <a:ext uri="{FF2B5EF4-FFF2-40B4-BE49-F238E27FC236}">
                <a16:creationId xmlns:a16="http://schemas.microsoft.com/office/drawing/2014/main" id="{317C2083-263B-AD31-93CF-5F4863DBE0D6}"/>
              </a:ext>
            </a:extLst>
          </p:cNvPr>
          <p:cNvSpPr/>
          <p:nvPr/>
        </p:nvSpPr>
        <p:spPr>
          <a:xfrm>
            <a:off x="2638243" y="5050630"/>
            <a:ext cx="2567" cy="748"/>
          </a:xfrm>
          <a:custGeom>
            <a:avLst/>
            <a:gdLst>
              <a:gd name="csX0" fmla="*/ 0 w 3893"/>
              <a:gd name="csY0" fmla="*/ 1133 h 1135"/>
              <a:gd name="csX1" fmla="*/ 3893 w 3893"/>
              <a:gd name="csY1" fmla="*/ 7 h 1135"/>
              <a:gd name="csX2" fmla="*/ 0 w 3893"/>
              <a:gd name="csY2" fmla="*/ 1133 h 113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893" h="1135">
                <a:moveTo>
                  <a:pt x="0" y="1133"/>
                </a:moveTo>
                <a:cubicBezTo>
                  <a:pt x="902" y="349"/>
                  <a:pt x="2213" y="-60"/>
                  <a:pt x="3893" y="7"/>
                </a:cubicBezTo>
                <a:cubicBezTo>
                  <a:pt x="2978" y="825"/>
                  <a:pt x="1693" y="1167"/>
                  <a:pt x="0" y="1133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7748" name="Free-form: Shape 7747">
            <a:extLst>
              <a:ext uri="{FF2B5EF4-FFF2-40B4-BE49-F238E27FC236}">
                <a16:creationId xmlns:a16="http://schemas.microsoft.com/office/drawing/2014/main" id="{E2ADBE6F-E144-76C1-ADC8-65D48E2440DD}"/>
              </a:ext>
            </a:extLst>
          </p:cNvPr>
          <p:cNvSpPr/>
          <p:nvPr/>
        </p:nvSpPr>
        <p:spPr>
          <a:xfrm>
            <a:off x="2532491" y="4536015"/>
            <a:ext cx="119545" cy="265881"/>
          </a:xfrm>
          <a:custGeom>
            <a:avLst/>
            <a:gdLst>
              <a:gd name="csX0" fmla="*/ 7554 w 181323"/>
              <a:gd name="csY0" fmla="*/ 172079 h 403282"/>
              <a:gd name="csX1" fmla="*/ 9716 w 181323"/>
              <a:gd name="csY1" fmla="*/ 130641 h 403282"/>
              <a:gd name="csX2" fmla="*/ 7663 w 181323"/>
              <a:gd name="csY2" fmla="*/ 113770 h 403282"/>
              <a:gd name="csX3" fmla="*/ 7598 w 181323"/>
              <a:gd name="csY3" fmla="*/ 8165 h 403282"/>
              <a:gd name="csX4" fmla="*/ 8353 w 181323"/>
              <a:gd name="csY4" fmla="*/ 1259 h 403282"/>
              <a:gd name="csX5" fmla="*/ 17767 w 181323"/>
              <a:gd name="csY5" fmla="*/ 93 h 403282"/>
              <a:gd name="csX6" fmla="*/ 77938 w 181323"/>
              <a:gd name="csY6" fmla="*/ 50 h 403282"/>
              <a:gd name="csX7" fmla="*/ 91081 w 181323"/>
              <a:gd name="csY7" fmla="*/ 10962 h 403282"/>
              <a:gd name="csX8" fmla="*/ 93691 w 181323"/>
              <a:gd name="csY8" fmla="*/ 60963 h 403282"/>
              <a:gd name="csX9" fmla="*/ 100157 w 181323"/>
              <a:gd name="csY9" fmla="*/ 121501 h 403282"/>
              <a:gd name="csX10" fmla="*/ 105540 w 181323"/>
              <a:gd name="csY10" fmla="*/ 158857 h 403282"/>
              <a:gd name="csX11" fmla="*/ 121116 w 181323"/>
              <a:gd name="csY11" fmla="*/ 235269 h 403282"/>
              <a:gd name="csX12" fmla="*/ 152823 w 181323"/>
              <a:gd name="csY12" fmla="*/ 338010 h 403282"/>
              <a:gd name="csX13" fmla="*/ 170877 w 181323"/>
              <a:gd name="csY13" fmla="*/ 378027 h 403282"/>
              <a:gd name="csX14" fmla="*/ 178114 w 181323"/>
              <a:gd name="csY14" fmla="*/ 387682 h 403282"/>
              <a:gd name="csX15" fmla="*/ 181150 w 181323"/>
              <a:gd name="csY15" fmla="*/ 395764 h 403282"/>
              <a:gd name="csX16" fmla="*/ 173480 w 181323"/>
              <a:gd name="csY16" fmla="*/ 402568 h 403282"/>
              <a:gd name="csX17" fmla="*/ 160067 w 181323"/>
              <a:gd name="csY17" fmla="*/ 402936 h 403282"/>
              <a:gd name="csX18" fmla="*/ 121081 w 181323"/>
              <a:gd name="csY18" fmla="*/ 400766 h 403282"/>
              <a:gd name="csX19" fmla="*/ 70912 w 181323"/>
              <a:gd name="csY19" fmla="*/ 401955 h 403282"/>
              <a:gd name="csX20" fmla="*/ 7630 w 181323"/>
              <a:gd name="csY20" fmla="*/ 402999 h 403282"/>
              <a:gd name="csX21" fmla="*/ 710 w 181323"/>
              <a:gd name="csY21" fmla="*/ 401995 h 403282"/>
              <a:gd name="csX22" fmla="*/ 1308 w 181323"/>
              <a:gd name="csY22" fmla="*/ 356708 h 403282"/>
              <a:gd name="csX23" fmla="*/ 2554 w 181323"/>
              <a:gd name="csY23" fmla="*/ 349510 h 403282"/>
              <a:gd name="csX24" fmla="*/ 5071 w 181323"/>
              <a:gd name="csY24" fmla="*/ 271231 h 403282"/>
              <a:gd name="csX25" fmla="*/ 7554 w 181323"/>
              <a:gd name="csY25" fmla="*/ 172079 h 403282"/>
              <a:gd name="csX26" fmla="*/ 98286 w 181323"/>
              <a:gd name="csY26" fmla="*/ 163566 h 403282"/>
              <a:gd name="csX27" fmla="*/ 83497 w 181323"/>
              <a:gd name="csY27" fmla="*/ 8289 h 403282"/>
              <a:gd name="csX28" fmla="*/ 15161 w 181323"/>
              <a:gd name="csY28" fmla="*/ 9148 h 403282"/>
              <a:gd name="csX29" fmla="*/ 15058 w 181323"/>
              <a:gd name="csY29" fmla="*/ 137939 h 403282"/>
              <a:gd name="csX30" fmla="*/ 12252 w 181323"/>
              <a:gd name="csY30" fmla="*/ 266862 h 403282"/>
              <a:gd name="csX31" fmla="*/ 7068 w 181323"/>
              <a:gd name="csY31" fmla="*/ 395996 h 403282"/>
              <a:gd name="csX32" fmla="*/ 171647 w 181323"/>
              <a:gd name="csY32" fmla="*/ 395996 h 403282"/>
              <a:gd name="csX33" fmla="*/ 119950 w 181323"/>
              <a:gd name="csY33" fmla="*/ 259496 h 403282"/>
              <a:gd name="csX34" fmla="*/ 98286 w 181323"/>
              <a:gd name="csY34" fmla="*/ 163566 h 40328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</a:cxnLst>
            <a:rect l="l" t="t" r="r" b="b"/>
            <a:pathLst>
              <a:path w="181323" h="403282">
                <a:moveTo>
                  <a:pt x="7554" y="172079"/>
                </a:moveTo>
                <a:cubicBezTo>
                  <a:pt x="8325" y="157451"/>
                  <a:pt x="9408" y="144055"/>
                  <a:pt x="9716" y="130641"/>
                </a:cubicBezTo>
                <a:cubicBezTo>
                  <a:pt x="9846" y="125037"/>
                  <a:pt x="7695" y="119399"/>
                  <a:pt x="7663" y="113770"/>
                </a:cubicBezTo>
                <a:cubicBezTo>
                  <a:pt x="7461" y="78569"/>
                  <a:pt x="7554" y="43367"/>
                  <a:pt x="7598" y="8165"/>
                </a:cubicBezTo>
                <a:cubicBezTo>
                  <a:pt x="7600" y="6167"/>
                  <a:pt x="8022" y="4170"/>
                  <a:pt x="8353" y="1259"/>
                </a:cubicBezTo>
                <a:cubicBezTo>
                  <a:pt x="11568" y="842"/>
                  <a:pt x="14666" y="109"/>
                  <a:pt x="17767" y="93"/>
                </a:cubicBezTo>
                <a:cubicBezTo>
                  <a:pt x="37824" y="-17"/>
                  <a:pt x="57881" y="-27"/>
                  <a:pt x="77938" y="50"/>
                </a:cubicBezTo>
                <a:cubicBezTo>
                  <a:pt x="89177" y="93"/>
                  <a:pt x="90068" y="113"/>
                  <a:pt x="91081" y="10962"/>
                </a:cubicBezTo>
                <a:cubicBezTo>
                  <a:pt x="92631" y="27565"/>
                  <a:pt x="92329" y="44335"/>
                  <a:pt x="93691" y="60963"/>
                </a:cubicBezTo>
                <a:cubicBezTo>
                  <a:pt x="95348" y="81184"/>
                  <a:pt x="97732" y="101353"/>
                  <a:pt x="100157" y="121501"/>
                </a:cubicBezTo>
                <a:cubicBezTo>
                  <a:pt x="101660" y="133990"/>
                  <a:pt x="104521" y="146343"/>
                  <a:pt x="105540" y="158857"/>
                </a:cubicBezTo>
                <a:cubicBezTo>
                  <a:pt x="107671" y="184993"/>
                  <a:pt x="114147" y="210249"/>
                  <a:pt x="121116" y="235269"/>
                </a:cubicBezTo>
                <a:cubicBezTo>
                  <a:pt x="130731" y="269786"/>
                  <a:pt x="141516" y="304004"/>
                  <a:pt x="152823" y="338010"/>
                </a:cubicBezTo>
                <a:cubicBezTo>
                  <a:pt x="157418" y="351828"/>
                  <a:pt x="164524" y="364837"/>
                  <a:pt x="170877" y="378027"/>
                </a:cubicBezTo>
                <a:cubicBezTo>
                  <a:pt x="172587" y="381579"/>
                  <a:pt x="175985" y="384280"/>
                  <a:pt x="178114" y="387682"/>
                </a:cubicBezTo>
                <a:cubicBezTo>
                  <a:pt x="179669" y="390165"/>
                  <a:pt x="181977" y="393824"/>
                  <a:pt x="181150" y="395764"/>
                </a:cubicBezTo>
                <a:cubicBezTo>
                  <a:pt x="179907" y="398676"/>
                  <a:pt x="176540" y="401705"/>
                  <a:pt x="173480" y="402568"/>
                </a:cubicBezTo>
                <a:cubicBezTo>
                  <a:pt x="169302" y="403746"/>
                  <a:pt x="164551" y="403164"/>
                  <a:pt x="160067" y="402936"/>
                </a:cubicBezTo>
                <a:cubicBezTo>
                  <a:pt x="147066" y="402274"/>
                  <a:pt x="134081" y="400859"/>
                  <a:pt x="121081" y="400766"/>
                </a:cubicBezTo>
                <a:cubicBezTo>
                  <a:pt x="104362" y="400647"/>
                  <a:pt x="87638" y="401607"/>
                  <a:pt x="70912" y="401955"/>
                </a:cubicBezTo>
                <a:cubicBezTo>
                  <a:pt x="49820" y="402394"/>
                  <a:pt x="28725" y="402712"/>
                  <a:pt x="7630" y="402999"/>
                </a:cubicBezTo>
                <a:cubicBezTo>
                  <a:pt x="5684" y="403026"/>
                  <a:pt x="3731" y="402452"/>
                  <a:pt x="710" y="401995"/>
                </a:cubicBezTo>
                <a:cubicBezTo>
                  <a:pt x="219" y="386620"/>
                  <a:pt x="-871" y="371682"/>
                  <a:pt x="1308" y="356708"/>
                </a:cubicBezTo>
                <a:cubicBezTo>
                  <a:pt x="1659" y="354298"/>
                  <a:pt x="2471" y="351920"/>
                  <a:pt x="2554" y="349510"/>
                </a:cubicBezTo>
                <a:cubicBezTo>
                  <a:pt x="3459" y="323419"/>
                  <a:pt x="4345" y="297328"/>
                  <a:pt x="5071" y="271231"/>
                </a:cubicBezTo>
                <a:cubicBezTo>
                  <a:pt x="5979" y="238591"/>
                  <a:pt x="6733" y="205947"/>
                  <a:pt x="7554" y="172079"/>
                </a:cubicBezTo>
                <a:moveTo>
                  <a:pt x="98286" y="163566"/>
                </a:moveTo>
                <a:cubicBezTo>
                  <a:pt x="89288" y="112116"/>
                  <a:pt x="86355" y="60033"/>
                  <a:pt x="83497" y="8289"/>
                </a:cubicBezTo>
                <a:cubicBezTo>
                  <a:pt x="65606" y="5845"/>
                  <a:pt x="24110" y="6470"/>
                  <a:pt x="15161" y="9148"/>
                </a:cubicBezTo>
                <a:cubicBezTo>
                  <a:pt x="15161" y="52045"/>
                  <a:pt x="15527" y="94996"/>
                  <a:pt x="15058" y="137939"/>
                </a:cubicBezTo>
                <a:cubicBezTo>
                  <a:pt x="14587" y="180919"/>
                  <a:pt x="13597" y="223900"/>
                  <a:pt x="12252" y="266862"/>
                </a:cubicBezTo>
                <a:cubicBezTo>
                  <a:pt x="10912" y="309638"/>
                  <a:pt x="8849" y="352391"/>
                  <a:pt x="7068" y="395996"/>
                </a:cubicBezTo>
                <a:cubicBezTo>
                  <a:pt x="62774" y="395996"/>
                  <a:pt x="116821" y="395996"/>
                  <a:pt x="171647" y="395996"/>
                </a:cubicBezTo>
                <a:cubicBezTo>
                  <a:pt x="148550" y="352016"/>
                  <a:pt x="132566" y="306307"/>
                  <a:pt x="119950" y="259496"/>
                </a:cubicBezTo>
                <a:cubicBezTo>
                  <a:pt x="111608" y="228543"/>
                  <a:pt x="105493" y="196989"/>
                  <a:pt x="98286" y="163566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7749" name="Free-form: Shape 7748">
            <a:extLst>
              <a:ext uri="{FF2B5EF4-FFF2-40B4-BE49-F238E27FC236}">
                <a16:creationId xmlns:a16="http://schemas.microsoft.com/office/drawing/2014/main" id="{0FB66EC1-DCCE-B1A2-BF0E-348A3C164708}"/>
              </a:ext>
            </a:extLst>
          </p:cNvPr>
          <p:cNvSpPr/>
          <p:nvPr/>
        </p:nvSpPr>
        <p:spPr>
          <a:xfrm>
            <a:off x="2534223" y="4978233"/>
            <a:ext cx="222187" cy="50318"/>
          </a:xfrm>
          <a:custGeom>
            <a:avLst/>
            <a:gdLst>
              <a:gd name="csX0" fmla="*/ 297312 w 337008"/>
              <a:gd name="csY0" fmla="*/ 59188 h 76321"/>
              <a:gd name="csX1" fmla="*/ 241991 w 337008"/>
              <a:gd name="csY1" fmla="*/ 66577 h 76321"/>
              <a:gd name="csX2" fmla="*/ 185243 w 337008"/>
              <a:gd name="csY2" fmla="*/ 73717 h 76321"/>
              <a:gd name="csX3" fmla="*/ 182797 w 337008"/>
              <a:gd name="csY3" fmla="*/ 73873 h 76321"/>
              <a:gd name="csX4" fmla="*/ 19866 w 337008"/>
              <a:gd name="csY4" fmla="*/ 76320 h 76321"/>
              <a:gd name="csX5" fmla="*/ 12650 w 337008"/>
              <a:gd name="csY5" fmla="*/ 75242 h 76321"/>
              <a:gd name="csX6" fmla="*/ 19 w 337008"/>
              <a:gd name="csY6" fmla="*/ 59006 h 76321"/>
              <a:gd name="csX7" fmla="*/ 11 w 337008"/>
              <a:gd name="csY7" fmla="*/ 18266 h 76321"/>
              <a:gd name="csX8" fmla="*/ 13547 w 337008"/>
              <a:gd name="csY8" fmla="*/ 17427 h 76321"/>
              <a:gd name="csX9" fmla="*/ 109279 w 337008"/>
              <a:gd name="csY9" fmla="*/ 17200 h 76321"/>
              <a:gd name="csX10" fmla="*/ 173714 w 337008"/>
              <a:gd name="csY10" fmla="*/ 12645 h 76321"/>
              <a:gd name="csX11" fmla="*/ 205309 w 337008"/>
              <a:gd name="csY11" fmla="*/ 10096 h 76321"/>
              <a:gd name="csX12" fmla="*/ 245485 w 337008"/>
              <a:gd name="csY12" fmla="*/ 7449 h 76321"/>
              <a:gd name="csX13" fmla="*/ 288955 w 337008"/>
              <a:gd name="csY13" fmla="*/ 1844 h 76321"/>
              <a:gd name="csX14" fmla="*/ 307132 w 337008"/>
              <a:gd name="csY14" fmla="*/ 164 h 76321"/>
              <a:gd name="csX15" fmla="*/ 324030 w 337008"/>
              <a:gd name="csY15" fmla="*/ 9691 h 76321"/>
              <a:gd name="csX16" fmla="*/ 336033 w 337008"/>
              <a:gd name="csY16" fmla="*/ 39107 h 76321"/>
              <a:gd name="csX17" fmla="*/ 328060 w 337008"/>
              <a:gd name="csY17" fmla="*/ 52413 h 76321"/>
              <a:gd name="csX18" fmla="*/ 297312 w 337008"/>
              <a:gd name="csY18" fmla="*/ 59188 h 76321"/>
              <a:gd name="csX19" fmla="*/ 207688 w 337008"/>
              <a:gd name="csY19" fmla="*/ 64284 h 76321"/>
              <a:gd name="csX20" fmla="*/ 330050 w 337008"/>
              <a:gd name="csY20" fmla="*/ 45606 h 76321"/>
              <a:gd name="csX21" fmla="*/ 317356 w 337008"/>
              <a:gd name="csY21" fmla="*/ 11297 h 76321"/>
              <a:gd name="csX22" fmla="*/ 304170 w 337008"/>
              <a:gd name="csY22" fmla="*/ 5545 h 76321"/>
              <a:gd name="csX23" fmla="*/ 273851 w 337008"/>
              <a:gd name="csY23" fmla="*/ 10014 h 76321"/>
              <a:gd name="csX24" fmla="*/ 163935 w 337008"/>
              <a:gd name="csY24" fmla="*/ 20274 h 76321"/>
              <a:gd name="csX25" fmla="*/ 17973 w 337008"/>
              <a:gd name="csY25" fmla="*/ 22950 h 76321"/>
              <a:gd name="csX26" fmla="*/ 7372 w 337008"/>
              <a:gd name="csY26" fmla="*/ 23601 h 76321"/>
              <a:gd name="csX27" fmla="*/ 7372 w 337008"/>
              <a:gd name="csY27" fmla="*/ 67898 h 76321"/>
              <a:gd name="csX28" fmla="*/ 207688 w 337008"/>
              <a:gd name="csY28" fmla="*/ 64284 h 7632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</a:cxnLst>
            <a:rect l="l" t="t" r="r" b="b"/>
            <a:pathLst>
              <a:path w="337008" h="76321">
                <a:moveTo>
                  <a:pt x="297312" y="59188"/>
                </a:moveTo>
                <a:cubicBezTo>
                  <a:pt x="278167" y="61672"/>
                  <a:pt x="260091" y="64212"/>
                  <a:pt x="241991" y="66577"/>
                </a:cubicBezTo>
                <a:cubicBezTo>
                  <a:pt x="223087" y="69047"/>
                  <a:pt x="204161" y="71350"/>
                  <a:pt x="185243" y="73717"/>
                </a:cubicBezTo>
                <a:cubicBezTo>
                  <a:pt x="184433" y="73818"/>
                  <a:pt x="183613" y="73861"/>
                  <a:pt x="182797" y="73873"/>
                </a:cubicBezTo>
                <a:cubicBezTo>
                  <a:pt x="128487" y="74710"/>
                  <a:pt x="74176" y="75556"/>
                  <a:pt x="19866" y="76320"/>
                </a:cubicBezTo>
                <a:cubicBezTo>
                  <a:pt x="17463" y="76354"/>
                  <a:pt x="15013" y="75797"/>
                  <a:pt x="12650" y="75242"/>
                </a:cubicBezTo>
                <a:cubicBezTo>
                  <a:pt x="80" y="72288"/>
                  <a:pt x="58" y="72258"/>
                  <a:pt x="19" y="59006"/>
                </a:cubicBezTo>
                <a:cubicBezTo>
                  <a:pt x="-19" y="45942"/>
                  <a:pt x="11" y="32877"/>
                  <a:pt x="11" y="18266"/>
                </a:cubicBezTo>
                <a:cubicBezTo>
                  <a:pt x="4987" y="17944"/>
                  <a:pt x="9266" y="17435"/>
                  <a:pt x="13547" y="17427"/>
                </a:cubicBezTo>
                <a:cubicBezTo>
                  <a:pt x="45459" y="17362"/>
                  <a:pt x="77385" y="17975"/>
                  <a:pt x="109279" y="17200"/>
                </a:cubicBezTo>
                <a:cubicBezTo>
                  <a:pt x="130782" y="16677"/>
                  <a:pt x="152239" y="14265"/>
                  <a:pt x="173714" y="12645"/>
                </a:cubicBezTo>
                <a:cubicBezTo>
                  <a:pt x="184250" y="11850"/>
                  <a:pt x="194770" y="10836"/>
                  <a:pt x="205309" y="10096"/>
                </a:cubicBezTo>
                <a:cubicBezTo>
                  <a:pt x="218698" y="9156"/>
                  <a:pt x="232139" y="8783"/>
                  <a:pt x="245485" y="7449"/>
                </a:cubicBezTo>
                <a:cubicBezTo>
                  <a:pt x="260017" y="5997"/>
                  <a:pt x="274456" y="3648"/>
                  <a:pt x="288955" y="1844"/>
                </a:cubicBezTo>
                <a:cubicBezTo>
                  <a:pt x="294991" y="1094"/>
                  <a:pt x="301100" y="930"/>
                  <a:pt x="307132" y="164"/>
                </a:cubicBezTo>
                <a:cubicBezTo>
                  <a:pt x="315239" y="-865"/>
                  <a:pt x="320841" y="3022"/>
                  <a:pt x="324030" y="9691"/>
                </a:cubicBezTo>
                <a:cubicBezTo>
                  <a:pt x="328594" y="19236"/>
                  <a:pt x="332712" y="29070"/>
                  <a:pt x="336033" y="39107"/>
                </a:cubicBezTo>
                <a:cubicBezTo>
                  <a:pt x="338557" y="46735"/>
                  <a:pt x="336278" y="50185"/>
                  <a:pt x="328060" y="52413"/>
                </a:cubicBezTo>
                <a:cubicBezTo>
                  <a:pt x="318273" y="55068"/>
                  <a:pt x="308277" y="56950"/>
                  <a:pt x="297312" y="59188"/>
                </a:cubicBezTo>
                <a:moveTo>
                  <a:pt x="207688" y="64284"/>
                </a:moveTo>
                <a:cubicBezTo>
                  <a:pt x="248681" y="60632"/>
                  <a:pt x="289317" y="54812"/>
                  <a:pt x="330050" y="45606"/>
                </a:cubicBezTo>
                <a:cubicBezTo>
                  <a:pt x="327603" y="32443"/>
                  <a:pt x="323777" y="21532"/>
                  <a:pt x="317356" y="11297"/>
                </a:cubicBezTo>
                <a:cubicBezTo>
                  <a:pt x="313908" y="5803"/>
                  <a:pt x="310145" y="4465"/>
                  <a:pt x="304170" y="5545"/>
                </a:cubicBezTo>
                <a:cubicBezTo>
                  <a:pt x="294121" y="7361"/>
                  <a:pt x="284007" y="9006"/>
                  <a:pt x="273851" y="10014"/>
                </a:cubicBezTo>
                <a:cubicBezTo>
                  <a:pt x="237233" y="13650"/>
                  <a:pt x="200632" y="17661"/>
                  <a:pt x="163935" y="20274"/>
                </a:cubicBezTo>
                <a:cubicBezTo>
                  <a:pt x="115360" y="23734"/>
                  <a:pt x="66701" y="25937"/>
                  <a:pt x="17973" y="22950"/>
                </a:cubicBezTo>
                <a:cubicBezTo>
                  <a:pt x="14492" y="22737"/>
                  <a:pt x="10959" y="23361"/>
                  <a:pt x="7372" y="23601"/>
                </a:cubicBezTo>
                <a:cubicBezTo>
                  <a:pt x="7372" y="38609"/>
                  <a:pt x="7372" y="52361"/>
                  <a:pt x="7372" y="67898"/>
                </a:cubicBezTo>
                <a:cubicBezTo>
                  <a:pt x="74001" y="69806"/>
                  <a:pt x="139746" y="71025"/>
                  <a:pt x="207688" y="64284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7750" name="Free-form: Shape 7749">
            <a:extLst>
              <a:ext uri="{FF2B5EF4-FFF2-40B4-BE49-F238E27FC236}">
                <a16:creationId xmlns:a16="http://schemas.microsoft.com/office/drawing/2014/main" id="{05CF412E-ADAF-3347-D7DC-90821556593C}"/>
              </a:ext>
            </a:extLst>
          </p:cNvPr>
          <p:cNvSpPr/>
          <p:nvPr/>
        </p:nvSpPr>
        <p:spPr>
          <a:xfrm>
            <a:off x="2538186" y="4822729"/>
            <a:ext cx="200071" cy="140888"/>
          </a:xfrm>
          <a:custGeom>
            <a:avLst/>
            <a:gdLst>
              <a:gd name="csX0" fmla="*/ 14160 w 303463"/>
              <a:gd name="csY0" fmla="*/ 7889 h 213695"/>
              <a:gd name="csX1" fmla="*/ 195033 w 303463"/>
              <a:gd name="csY1" fmla="*/ 0 h 213695"/>
              <a:gd name="csX2" fmla="*/ 197208 w 303463"/>
              <a:gd name="csY2" fmla="*/ 5635 h 213695"/>
              <a:gd name="csX3" fmla="*/ 227014 w 303463"/>
              <a:gd name="csY3" fmla="*/ 60660 h 213695"/>
              <a:gd name="csX4" fmla="*/ 265823 w 303463"/>
              <a:gd name="csY4" fmla="*/ 98217 h 213695"/>
              <a:gd name="csX5" fmla="*/ 303210 w 303463"/>
              <a:gd name="csY5" fmla="*/ 180358 h 213695"/>
              <a:gd name="csX6" fmla="*/ 303282 w 303463"/>
              <a:gd name="csY6" fmla="*/ 193964 h 213695"/>
              <a:gd name="csX7" fmla="*/ 4971 w 303463"/>
              <a:gd name="csY7" fmla="*/ 213017 h 213695"/>
              <a:gd name="csX8" fmla="*/ 5093 w 303463"/>
              <a:gd name="csY8" fmla="*/ 173484 h 213695"/>
              <a:gd name="csX9" fmla="*/ 4767 w 303463"/>
              <a:gd name="csY9" fmla="*/ 54607 h 213695"/>
              <a:gd name="csX10" fmla="*/ 0 w 303463"/>
              <a:gd name="csY10" fmla="*/ 7887 h 213695"/>
              <a:gd name="csX11" fmla="*/ 14160 w 303463"/>
              <a:gd name="csY11" fmla="*/ 7889 h 21369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303463" h="213695">
                <a:moveTo>
                  <a:pt x="14160" y="7889"/>
                </a:moveTo>
                <a:cubicBezTo>
                  <a:pt x="75371" y="8627"/>
                  <a:pt x="135292" y="5744"/>
                  <a:pt x="195033" y="0"/>
                </a:cubicBezTo>
                <a:cubicBezTo>
                  <a:pt x="196084" y="2662"/>
                  <a:pt x="196986" y="4099"/>
                  <a:pt x="197208" y="5635"/>
                </a:cubicBezTo>
                <a:cubicBezTo>
                  <a:pt x="200391" y="27650"/>
                  <a:pt x="211307" y="45450"/>
                  <a:pt x="227014" y="60660"/>
                </a:cubicBezTo>
                <a:cubicBezTo>
                  <a:pt x="239947" y="73182"/>
                  <a:pt x="253006" y="85577"/>
                  <a:pt x="265823" y="98217"/>
                </a:cubicBezTo>
                <a:cubicBezTo>
                  <a:pt x="288727" y="120806"/>
                  <a:pt x="299071" y="149215"/>
                  <a:pt x="303210" y="180358"/>
                </a:cubicBezTo>
                <a:cubicBezTo>
                  <a:pt x="303735" y="184317"/>
                  <a:pt x="303282" y="188405"/>
                  <a:pt x="303282" y="193964"/>
                </a:cubicBezTo>
                <a:cubicBezTo>
                  <a:pt x="204065" y="208804"/>
                  <a:pt x="105022" y="216044"/>
                  <a:pt x="4971" y="213017"/>
                </a:cubicBezTo>
                <a:cubicBezTo>
                  <a:pt x="4971" y="199268"/>
                  <a:pt x="4314" y="186332"/>
                  <a:pt x="5093" y="173484"/>
                </a:cubicBezTo>
                <a:cubicBezTo>
                  <a:pt x="7497" y="133835"/>
                  <a:pt x="8211" y="94216"/>
                  <a:pt x="4767" y="54607"/>
                </a:cubicBezTo>
                <a:cubicBezTo>
                  <a:pt x="3464" y="39611"/>
                  <a:pt x="1725" y="24653"/>
                  <a:pt x="0" y="7887"/>
                </a:cubicBezTo>
                <a:cubicBezTo>
                  <a:pt x="4390" y="7887"/>
                  <a:pt x="8696" y="7887"/>
                  <a:pt x="14160" y="7889"/>
                </a:cubicBezTo>
                <a:close/>
              </a:path>
            </a:pathLst>
          </a:custGeom>
          <a:solidFill>
            <a:schemeClr val="bg1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7751" name="Free-form: Shape 7750">
            <a:extLst>
              <a:ext uri="{FF2B5EF4-FFF2-40B4-BE49-F238E27FC236}">
                <a16:creationId xmlns:a16="http://schemas.microsoft.com/office/drawing/2014/main" id="{3658F434-F8B2-F385-47E6-E3C8599FB161}"/>
              </a:ext>
            </a:extLst>
          </p:cNvPr>
          <p:cNvSpPr/>
          <p:nvPr/>
        </p:nvSpPr>
        <p:spPr>
          <a:xfrm>
            <a:off x="2502338" y="4260235"/>
            <a:ext cx="137836" cy="134104"/>
          </a:xfrm>
          <a:custGeom>
            <a:avLst/>
            <a:gdLst>
              <a:gd name="csX0" fmla="*/ 10475 w 209067"/>
              <a:gd name="csY0" fmla="*/ 41718 h 203406"/>
              <a:gd name="csX1" fmla="*/ 100250 w 209067"/>
              <a:gd name="csY1" fmla="*/ 1265 h 203406"/>
              <a:gd name="csX2" fmla="*/ 206681 w 209067"/>
              <a:gd name="csY2" fmla="*/ 98526 h 203406"/>
              <a:gd name="csX3" fmla="*/ 134647 w 209067"/>
              <a:gd name="csY3" fmla="*/ 202431 h 203406"/>
              <a:gd name="csX4" fmla="*/ 40986 w 209067"/>
              <a:gd name="csY4" fmla="*/ 171438 h 203406"/>
              <a:gd name="csX5" fmla="*/ 143 w 209067"/>
              <a:gd name="csY5" fmla="*/ 85158 h 203406"/>
              <a:gd name="csX6" fmla="*/ 10475 w 209067"/>
              <a:gd name="csY6" fmla="*/ 41718 h 20340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</a:cxnLst>
            <a:rect l="l" t="t" r="r" b="b"/>
            <a:pathLst>
              <a:path w="209067" h="203406">
                <a:moveTo>
                  <a:pt x="10475" y="41718"/>
                </a:moveTo>
                <a:cubicBezTo>
                  <a:pt x="31065" y="6021"/>
                  <a:pt x="63171" y="-3865"/>
                  <a:pt x="100250" y="1265"/>
                </a:cubicBezTo>
                <a:cubicBezTo>
                  <a:pt x="157191" y="9144"/>
                  <a:pt x="196951" y="51394"/>
                  <a:pt x="206681" y="98526"/>
                </a:cubicBezTo>
                <a:cubicBezTo>
                  <a:pt x="219504" y="160635"/>
                  <a:pt x="178523" y="196657"/>
                  <a:pt x="134647" y="202431"/>
                </a:cubicBezTo>
                <a:cubicBezTo>
                  <a:pt x="98365" y="207204"/>
                  <a:pt x="68101" y="194086"/>
                  <a:pt x="40986" y="171438"/>
                </a:cubicBezTo>
                <a:cubicBezTo>
                  <a:pt x="14115" y="148994"/>
                  <a:pt x="2457" y="119007"/>
                  <a:pt x="143" y="85158"/>
                </a:cubicBezTo>
                <a:cubicBezTo>
                  <a:pt x="-869" y="70364"/>
                  <a:pt x="3586" y="56015"/>
                  <a:pt x="10475" y="41718"/>
                </a:cubicBezTo>
                <a:close/>
              </a:path>
            </a:pathLst>
          </a:custGeom>
          <a:solidFill>
            <a:schemeClr val="bg1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7752" name="Free-form: Shape 7751">
            <a:extLst>
              <a:ext uri="{FF2B5EF4-FFF2-40B4-BE49-F238E27FC236}">
                <a16:creationId xmlns:a16="http://schemas.microsoft.com/office/drawing/2014/main" id="{9029A08E-32CF-E626-3919-75C843319AD8}"/>
              </a:ext>
            </a:extLst>
          </p:cNvPr>
          <p:cNvSpPr/>
          <p:nvPr/>
        </p:nvSpPr>
        <p:spPr>
          <a:xfrm>
            <a:off x="2540838" y="4486438"/>
            <a:ext cx="103594" cy="27251"/>
          </a:xfrm>
          <a:custGeom>
            <a:avLst/>
            <a:gdLst>
              <a:gd name="csX0" fmla="*/ 69625 w 157129"/>
              <a:gd name="csY0" fmla="*/ 0 h 41334"/>
              <a:gd name="csX1" fmla="*/ 119596 w 157129"/>
              <a:gd name="csY1" fmla="*/ 1945 h 41334"/>
              <a:gd name="csX2" fmla="*/ 150973 w 157129"/>
              <a:gd name="csY2" fmla="*/ 14889 h 41334"/>
              <a:gd name="csX3" fmla="*/ 151351 w 157129"/>
              <a:gd name="csY3" fmla="*/ 34058 h 41334"/>
              <a:gd name="csX4" fmla="*/ 133492 w 157129"/>
              <a:gd name="csY4" fmla="*/ 40697 h 41334"/>
              <a:gd name="csX5" fmla="*/ 106556 w 157129"/>
              <a:gd name="csY5" fmla="*/ 41092 h 41334"/>
              <a:gd name="csX6" fmla="*/ 13373 w 157129"/>
              <a:gd name="csY6" fmla="*/ 40708 h 41334"/>
              <a:gd name="csX7" fmla="*/ 1312 w 157129"/>
              <a:gd name="csY7" fmla="*/ 40191 h 41334"/>
              <a:gd name="csX8" fmla="*/ 3367 w 157129"/>
              <a:gd name="csY8" fmla="*/ 13162 h 41334"/>
              <a:gd name="csX9" fmla="*/ 20752 w 157129"/>
              <a:gd name="csY9" fmla="*/ 1879 h 41334"/>
              <a:gd name="csX10" fmla="*/ 52625 w 157129"/>
              <a:gd name="csY10" fmla="*/ 1332 h 41334"/>
              <a:gd name="csX11" fmla="*/ 69625 w 157129"/>
              <a:gd name="csY11" fmla="*/ 0 h 4133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157129" h="41334">
                <a:moveTo>
                  <a:pt x="69625" y="0"/>
                </a:moveTo>
                <a:cubicBezTo>
                  <a:pt x="87054" y="491"/>
                  <a:pt x="103407" y="373"/>
                  <a:pt x="119596" y="1945"/>
                </a:cubicBezTo>
                <a:cubicBezTo>
                  <a:pt x="131020" y="3055"/>
                  <a:pt x="141713" y="7767"/>
                  <a:pt x="150973" y="14889"/>
                </a:cubicBezTo>
                <a:cubicBezTo>
                  <a:pt x="158820" y="20925"/>
                  <a:pt x="159403" y="28236"/>
                  <a:pt x="151351" y="34058"/>
                </a:cubicBezTo>
                <a:cubicBezTo>
                  <a:pt x="146355" y="37671"/>
                  <a:pt x="139678" y="39910"/>
                  <a:pt x="133492" y="40697"/>
                </a:cubicBezTo>
                <a:cubicBezTo>
                  <a:pt x="124640" y="41824"/>
                  <a:pt x="115547" y="41120"/>
                  <a:pt x="106556" y="41092"/>
                </a:cubicBezTo>
                <a:cubicBezTo>
                  <a:pt x="75495" y="40996"/>
                  <a:pt x="44434" y="40872"/>
                  <a:pt x="13373" y="40708"/>
                </a:cubicBezTo>
                <a:cubicBezTo>
                  <a:pt x="9391" y="40687"/>
                  <a:pt x="5410" y="40374"/>
                  <a:pt x="1312" y="40191"/>
                </a:cubicBezTo>
                <a:cubicBezTo>
                  <a:pt x="-1416" y="30384"/>
                  <a:pt x="523" y="21512"/>
                  <a:pt x="3367" y="13162"/>
                </a:cubicBezTo>
                <a:cubicBezTo>
                  <a:pt x="5963" y="5538"/>
                  <a:pt x="12701" y="2077"/>
                  <a:pt x="20752" y="1879"/>
                </a:cubicBezTo>
                <a:cubicBezTo>
                  <a:pt x="31375" y="1617"/>
                  <a:pt x="42004" y="1647"/>
                  <a:pt x="52625" y="1332"/>
                </a:cubicBezTo>
                <a:cubicBezTo>
                  <a:pt x="57918" y="1176"/>
                  <a:pt x="63195" y="535"/>
                  <a:pt x="69625" y="0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7753" name="Free-form: Shape 7752">
            <a:extLst>
              <a:ext uri="{FF2B5EF4-FFF2-40B4-BE49-F238E27FC236}">
                <a16:creationId xmlns:a16="http://schemas.microsoft.com/office/drawing/2014/main" id="{FA77EE08-431E-02E4-3B16-95304167C145}"/>
              </a:ext>
            </a:extLst>
          </p:cNvPr>
          <p:cNvSpPr/>
          <p:nvPr/>
        </p:nvSpPr>
        <p:spPr>
          <a:xfrm>
            <a:off x="2537151" y="4540470"/>
            <a:ext cx="108506" cy="256622"/>
          </a:xfrm>
          <a:custGeom>
            <a:avLst/>
            <a:gdLst>
              <a:gd name="csX0" fmla="*/ 91265 w 164579"/>
              <a:gd name="csY0" fmla="*/ 157878 h 389238"/>
              <a:gd name="csX1" fmla="*/ 112882 w 164579"/>
              <a:gd name="csY1" fmla="*/ 252738 h 389238"/>
              <a:gd name="csX2" fmla="*/ 164579 w 164579"/>
              <a:gd name="csY2" fmla="*/ 389238 h 389238"/>
              <a:gd name="csX3" fmla="*/ 0 w 164579"/>
              <a:gd name="csY3" fmla="*/ 389238 h 389238"/>
              <a:gd name="csX4" fmla="*/ 5184 w 164579"/>
              <a:gd name="csY4" fmla="*/ 260105 h 389238"/>
              <a:gd name="csX5" fmla="*/ 7989 w 164579"/>
              <a:gd name="csY5" fmla="*/ 131182 h 389238"/>
              <a:gd name="csX6" fmla="*/ 8093 w 164579"/>
              <a:gd name="csY6" fmla="*/ 2390 h 389238"/>
              <a:gd name="csX7" fmla="*/ 76429 w 164579"/>
              <a:gd name="csY7" fmla="*/ 1531 h 389238"/>
              <a:gd name="csX8" fmla="*/ 91265 w 164579"/>
              <a:gd name="csY8" fmla="*/ 157878 h 38923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</a:cxnLst>
            <a:rect l="l" t="t" r="r" b="b"/>
            <a:pathLst>
              <a:path w="164579" h="389238">
                <a:moveTo>
                  <a:pt x="91265" y="157878"/>
                </a:moveTo>
                <a:cubicBezTo>
                  <a:pt x="98425" y="190232"/>
                  <a:pt x="104539" y="221785"/>
                  <a:pt x="112882" y="252738"/>
                </a:cubicBezTo>
                <a:cubicBezTo>
                  <a:pt x="125498" y="299549"/>
                  <a:pt x="141482" y="345258"/>
                  <a:pt x="164579" y="389238"/>
                </a:cubicBezTo>
                <a:cubicBezTo>
                  <a:pt x="109753" y="389238"/>
                  <a:pt x="55706" y="389238"/>
                  <a:pt x="0" y="389238"/>
                </a:cubicBezTo>
                <a:cubicBezTo>
                  <a:pt x="1781" y="345633"/>
                  <a:pt x="3844" y="302880"/>
                  <a:pt x="5184" y="260105"/>
                </a:cubicBezTo>
                <a:cubicBezTo>
                  <a:pt x="6529" y="217143"/>
                  <a:pt x="7519" y="174162"/>
                  <a:pt x="7989" y="131182"/>
                </a:cubicBezTo>
                <a:cubicBezTo>
                  <a:pt x="8459" y="88239"/>
                  <a:pt x="8093" y="45287"/>
                  <a:pt x="8093" y="2390"/>
                </a:cubicBezTo>
                <a:cubicBezTo>
                  <a:pt x="17041" y="-288"/>
                  <a:pt x="58537" y="-913"/>
                  <a:pt x="76429" y="1531"/>
                </a:cubicBezTo>
                <a:cubicBezTo>
                  <a:pt x="79287" y="53276"/>
                  <a:pt x="82219" y="105359"/>
                  <a:pt x="91265" y="157878"/>
                </a:cubicBezTo>
                <a:close/>
              </a:path>
            </a:pathLst>
          </a:custGeom>
          <a:solidFill>
            <a:schemeClr val="bg1"/>
          </a:solidFill>
          <a:ln w="28575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7754" name="Free-form: Shape 7753">
            <a:extLst>
              <a:ext uri="{FF2B5EF4-FFF2-40B4-BE49-F238E27FC236}">
                <a16:creationId xmlns:a16="http://schemas.microsoft.com/office/drawing/2014/main" id="{EBB666EA-A4A8-43CB-1EE3-FDDB7794997A}"/>
              </a:ext>
            </a:extLst>
          </p:cNvPr>
          <p:cNvSpPr/>
          <p:nvPr/>
        </p:nvSpPr>
        <p:spPr>
          <a:xfrm>
            <a:off x="2539083" y="4981662"/>
            <a:ext cx="212739" cy="42328"/>
          </a:xfrm>
          <a:custGeom>
            <a:avLst/>
            <a:gdLst>
              <a:gd name="csX0" fmla="*/ 199184 w 322677"/>
              <a:gd name="csY0" fmla="*/ 59136 h 64202"/>
              <a:gd name="csX1" fmla="*/ 0 w 322677"/>
              <a:gd name="csY1" fmla="*/ 62697 h 64202"/>
              <a:gd name="csX2" fmla="*/ 0 w 322677"/>
              <a:gd name="csY2" fmla="*/ 18400 h 64202"/>
              <a:gd name="csX3" fmla="*/ 10601 w 322677"/>
              <a:gd name="csY3" fmla="*/ 17750 h 64202"/>
              <a:gd name="csX4" fmla="*/ 156563 w 322677"/>
              <a:gd name="csY4" fmla="*/ 15074 h 64202"/>
              <a:gd name="csX5" fmla="*/ 266479 w 322677"/>
              <a:gd name="csY5" fmla="*/ 4814 h 64202"/>
              <a:gd name="csX6" fmla="*/ 296798 w 322677"/>
              <a:gd name="csY6" fmla="*/ 344 h 64202"/>
              <a:gd name="csX7" fmla="*/ 309983 w 322677"/>
              <a:gd name="csY7" fmla="*/ 6097 h 64202"/>
              <a:gd name="csX8" fmla="*/ 322678 w 322677"/>
              <a:gd name="csY8" fmla="*/ 40406 h 64202"/>
              <a:gd name="csX9" fmla="*/ 199184 w 322677"/>
              <a:gd name="csY9" fmla="*/ 59136 h 6420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322677" h="64202">
                <a:moveTo>
                  <a:pt x="199184" y="59136"/>
                </a:moveTo>
                <a:cubicBezTo>
                  <a:pt x="132374" y="65824"/>
                  <a:pt x="66629" y="64605"/>
                  <a:pt x="0" y="62697"/>
                </a:cubicBezTo>
                <a:cubicBezTo>
                  <a:pt x="0" y="47160"/>
                  <a:pt x="0" y="33409"/>
                  <a:pt x="0" y="18400"/>
                </a:cubicBezTo>
                <a:cubicBezTo>
                  <a:pt x="3587" y="18160"/>
                  <a:pt x="7120" y="17536"/>
                  <a:pt x="10601" y="17750"/>
                </a:cubicBezTo>
                <a:cubicBezTo>
                  <a:pt x="59329" y="20736"/>
                  <a:pt x="107987" y="18533"/>
                  <a:pt x="156563" y="15074"/>
                </a:cubicBezTo>
                <a:cubicBezTo>
                  <a:pt x="193260" y="12461"/>
                  <a:pt x="229860" y="8449"/>
                  <a:pt x="266479" y="4814"/>
                </a:cubicBezTo>
                <a:cubicBezTo>
                  <a:pt x="276635" y="3806"/>
                  <a:pt x="286748" y="2160"/>
                  <a:pt x="296798" y="344"/>
                </a:cubicBezTo>
                <a:cubicBezTo>
                  <a:pt x="302773" y="-735"/>
                  <a:pt x="306536" y="602"/>
                  <a:pt x="309983" y="6097"/>
                </a:cubicBezTo>
                <a:cubicBezTo>
                  <a:pt x="316405" y="16331"/>
                  <a:pt x="320231" y="27243"/>
                  <a:pt x="322678" y="40406"/>
                </a:cubicBezTo>
                <a:cubicBezTo>
                  <a:pt x="281944" y="49611"/>
                  <a:pt x="241309" y="55431"/>
                  <a:pt x="199184" y="59136"/>
                </a:cubicBezTo>
                <a:close/>
              </a:path>
            </a:pathLst>
          </a:custGeom>
          <a:solidFill>
            <a:schemeClr val="bg1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7755" name="Oval 7754">
            <a:extLst>
              <a:ext uri="{FF2B5EF4-FFF2-40B4-BE49-F238E27FC236}">
                <a16:creationId xmlns:a16="http://schemas.microsoft.com/office/drawing/2014/main" id="{32FB02ED-93F4-72B5-F6CA-4F17495C3C1B}"/>
              </a:ext>
            </a:extLst>
          </p:cNvPr>
          <p:cNvSpPr/>
          <p:nvPr/>
        </p:nvSpPr>
        <p:spPr>
          <a:xfrm>
            <a:off x="39635" y="4969299"/>
            <a:ext cx="674739" cy="114300"/>
          </a:xfrm>
          <a:prstGeom prst="ellipse">
            <a:avLst/>
          </a:prstGeom>
          <a:solidFill>
            <a:schemeClr val="tx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7757" name="Free-form: Shape 7756">
            <a:extLst>
              <a:ext uri="{FF2B5EF4-FFF2-40B4-BE49-F238E27FC236}">
                <a16:creationId xmlns:a16="http://schemas.microsoft.com/office/drawing/2014/main" id="{9BE8CF0D-D692-1FB6-5BC8-FAE81A70F7DD}"/>
              </a:ext>
            </a:extLst>
          </p:cNvPr>
          <p:cNvSpPr/>
          <p:nvPr/>
        </p:nvSpPr>
        <p:spPr>
          <a:xfrm>
            <a:off x="98462" y="3971470"/>
            <a:ext cx="539713" cy="1076347"/>
          </a:xfrm>
          <a:custGeom>
            <a:avLst/>
            <a:gdLst>
              <a:gd name="csX0" fmla="*/ 703087 w 763849"/>
              <a:gd name="csY0" fmla="*/ 1241174 h 1523340"/>
              <a:gd name="csX1" fmla="*/ 732932 w 763849"/>
              <a:gd name="csY1" fmla="*/ 1359634 h 1523340"/>
              <a:gd name="csX2" fmla="*/ 735544 w 763849"/>
              <a:gd name="csY2" fmla="*/ 1377287 h 1523340"/>
              <a:gd name="csX3" fmla="*/ 756764 w 763849"/>
              <a:gd name="csY3" fmla="*/ 1458577 h 1523340"/>
              <a:gd name="csX4" fmla="*/ 757108 w 763849"/>
              <a:gd name="csY4" fmla="*/ 1465940 h 1523340"/>
              <a:gd name="csX5" fmla="*/ 744215 w 763849"/>
              <a:gd name="csY5" fmla="*/ 1488332 h 1523340"/>
              <a:gd name="csX6" fmla="*/ 712781 w 763849"/>
              <a:gd name="csY6" fmla="*/ 1498472 h 1523340"/>
              <a:gd name="csX7" fmla="*/ 625540 w 763849"/>
              <a:gd name="csY7" fmla="*/ 1511981 h 1523340"/>
              <a:gd name="csX8" fmla="*/ 488540 w 763849"/>
              <a:gd name="csY8" fmla="*/ 1522029 h 1523340"/>
              <a:gd name="csX9" fmla="*/ 306789 w 763849"/>
              <a:gd name="csY9" fmla="*/ 1523231 h 1523340"/>
              <a:gd name="csX10" fmla="*/ 200103 w 763849"/>
              <a:gd name="csY10" fmla="*/ 1518579 h 1523340"/>
              <a:gd name="csX11" fmla="*/ 31607 w 763849"/>
              <a:gd name="csY11" fmla="*/ 1493880 h 1523340"/>
              <a:gd name="csX12" fmla="*/ 5860 w 763849"/>
              <a:gd name="csY12" fmla="*/ 1482933 h 1523340"/>
              <a:gd name="csX13" fmla="*/ 32 w 763849"/>
              <a:gd name="csY13" fmla="*/ 1471774 h 1523340"/>
              <a:gd name="csX14" fmla="*/ 21295 w 763849"/>
              <a:gd name="csY14" fmla="*/ 1378237 h 1523340"/>
              <a:gd name="csX15" fmla="*/ 23169 w 763849"/>
              <a:gd name="csY15" fmla="*/ 1364271 h 1523340"/>
              <a:gd name="csX16" fmla="*/ 23871 w 763849"/>
              <a:gd name="csY16" fmla="*/ 1303132 h 1523340"/>
              <a:gd name="csX17" fmla="*/ 59740 w 763849"/>
              <a:gd name="csY17" fmla="*/ 1234649 h 1523340"/>
              <a:gd name="csX18" fmla="*/ 98899 w 763849"/>
              <a:gd name="csY18" fmla="*/ 1195619 h 1523340"/>
              <a:gd name="csX19" fmla="*/ 131493 w 763849"/>
              <a:gd name="csY19" fmla="*/ 1127593 h 1523340"/>
              <a:gd name="csX20" fmla="*/ 108213 w 763849"/>
              <a:gd name="csY20" fmla="*/ 1058723 h 1523340"/>
              <a:gd name="csX21" fmla="*/ 74370 w 763849"/>
              <a:gd name="csY21" fmla="*/ 1024929 h 1523340"/>
              <a:gd name="csX22" fmla="*/ 68137 w 763849"/>
              <a:gd name="csY22" fmla="*/ 987550 h 1523340"/>
              <a:gd name="csX23" fmla="*/ 86420 w 763849"/>
              <a:gd name="csY23" fmla="*/ 941991 h 1523340"/>
              <a:gd name="csX24" fmla="*/ 97082 w 763849"/>
              <a:gd name="csY24" fmla="*/ 828037 h 1523340"/>
              <a:gd name="csX25" fmla="*/ 61782 w 763849"/>
              <a:gd name="csY25" fmla="*/ 696973 h 1523340"/>
              <a:gd name="csX26" fmla="*/ 26901 w 763849"/>
              <a:gd name="csY26" fmla="*/ 547868 h 1523340"/>
              <a:gd name="csX27" fmla="*/ 20221 w 763849"/>
              <a:gd name="csY27" fmla="*/ 479529 h 1523340"/>
              <a:gd name="csX28" fmla="*/ 40808 w 763849"/>
              <a:gd name="csY28" fmla="*/ 334388 h 1523340"/>
              <a:gd name="csX29" fmla="*/ 65171 w 763849"/>
              <a:gd name="csY29" fmla="*/ 263707 h 1523340"/>
              <a:gd name="csX30" fmla="*/ 142827 w 763849"/>
              <a:gd name="csY30" fmla="*/ 171003 h 1523340"/>
              <a:gd name="csX31" fmla="*/ 172290 w 763849"/>
              <a:gd name="csY31" fmla="*/ 155872 h 1523340"/>
              <a:gd name="csX32" fmla="*/ 189008 w 763849"/>
              <a:gd name="csY32" fmla="*/ 148158 h 1523340"/>
              <a:gd name="csX33" fmla="*/ 212828 w 763849"/>
              <a:gd name="csY33" fmla="*/ 126123 h 1523340"/>
              <a:gd name="csX34" fmla="*/ 217217 w 763849"/>
              <a:gd name="csY34" fmla="*/ 118740 h 1523340"/>
              <a:gd name="csX35" fmla="*/ 253000 w 763849"/>
              <a:gd name="csY35" fmla="*/ 88998 h 1523340"/>
              <a:gd name="csX36" fmla="*/ 322085 w 763849"/>
              <a:gd name="csY36" fmla="*/ 72193 h 1523340"/>
              <a:gd name="csX37" fmla="*/ 330478 w 763849"/>
              <a:gd name="csY37" fmla="*/ 70387 h 1523340"/>
              <a:gd name="csX38" fmla="*/ 388016 w 763849"/>
              <a:gd name="csY38" fmla="*/ 35457 h 1523340"/>
              <a:gd name="csX39" fmla="*/ 421527 w 763849"/>
              <a:gd name="csY39" fmla="*/ 0 h 1523340"/>
              <a:gd name="csX40" fmla="*/ 424538 w 763849"/>
              <a:gd name="csY40" fmla="*/ 10833 h 1523340"/>
              <a:gd name="csX41" fmla="*/ 436339 w 763849"/>
              <a:gd name="csY41" fmla="*/ 121836 h 1523340"/>
              <a:gd name="csX42" fmla="*/ 449983 w 763849"/>
              <a:gd name="csY42" fmla="*/ 141450 h 1523340"/>
              <a:gd name="csX43" fmla="*/ 503299 w 763849"/>
              <a:gd name="csY43" fmla="*/ 169290 h 1523340"/>
              <a:gd name="csX44" fmla="*/ 551461 w 763849"/>
              <a:gd name="csY44" fmla="*/ 203111 h 1523340"/>
              <a:gd name="csX45" fmla="*/ 588803 w 763849"/>
              <a:gd name="csY45" fmla="*/ 252797 h 1523340"/>
              <a:gd name="csX46" fmla="*/ 634209 w 763849"/>
              <a:gd name="csY46" fmla="*/ 327081 h 1523340"/>
              <a:gd name="csX47" fmla="*/ 697923 w 763849"/>
              <a:gd name="csY47" fmla="*/ 384157 h 1523340"/>
              <a:gd name="csX48" fmla="*/ 729658 w 763849"/>
              <a:gd name="csY48" fmla="*/ 407288 h 1523340"/>
              <a:gd name="csX49" fmla="*/ 763354 w 763849"/>
              <a:gd name="csY49" fmla="*/ 471325 h 1523340"/>
              <a:gd name="csX50" fmla="*/ 757092 w 763849"/>
              <a:gd name="csY50" fmla="*/ 527116 h 1523340"/>
              <a:gd name="csX51" fmla="*/ 720673 w 763849"/>
              <a:gd name="csY51" fmla="*/ 570023 h 1523340"/>
              <a:gd name="csX52" fmla="*/ 704918 w 763849"/>
              <a:gd name="csY52" fmla="*/ 581294 h 1523340"/>
              <a:gd name="csX53" fmla="*/ 671960 w 763849"/>
              <a:gd name="csY53" fmla="*/ 595325 h 1523340"/>
              <a:gd name="csX54" fmla="*/ 633021 w 763849"/>
              <a:gd name="csY54" fmla="*/ 591397 h 1523340"/>
              <a:gd name="csX55" fmla="*/ 580696 w 763849"/>
              <a:gd name="csY55" fmla="*/ 556742 h 1523340"/>
              <a:gd name="csX56" fmla="*/ 545415 w 763849"/>
              <a:gd name="csY56" fmla="*/ 524617 h 1523340"/>
              <a:gd name="csX57" fmla="*/ 518889 w 763849"/>
              <a:gd name="csY57" fmla="*/ 516179 h 1523340"/>
              <a:gd name="csX58" fmla="*/ 472309 w 763849"/>
              <a:gd name="csY58" fmla="*/ 517812 h 1523340"/>
              <a:gd name="csX59" fmla="*/ 415953 w 763849"/>
              <a:gd name="csY59" fmla="*/ 517245 h 1523340"/>
              <a:gd name="csX60" fmla="*/ 403392 w 763849"/>
              <a:gd name="csY60" fmla="*/ 516539 h 1523340"/>
              <a:gd name="csX61" fmla="*/ 407957 w 763849"/>
              <a:gd name="csY61" fmla="*/ 542045 h 1523340"/>
              <a:gd name="csX62" fmla="*/ 434134 w 763849"/>
              <a:gd name="csY62" fmla="*/ 583349 h 1523340"/>
              <a:gd name="csX63" fmla="*/ 524267 w 763849"/>
              <a:gd name="csY63" fmla="*/ 683922 h 1523340"/>
              <a:gd name="csX64" fmla="*/ 614317 w 763849"/>
              <a:gd name="csY64" fmla="*/ 786085 h 1523340"/>
              <a:gd name="csX65" fmla="*/ 669590 w 763849"/>
              <a:gd name="csY65" fmla="*/ 921089 h 1523340"/>
              <a:gd name="csX66" fmla="*/ 647360 w 763849"/>
              <a:gd name="csY66" fmla="*/ 1057245 h 1523340"/>
              <a:gd name="csX67" fmla="*/ 627872 w 763849"/>
              <a:gd name="csY67" fmla="*/ 1102111 h 1523340"/>
              <a:gd name="csX68" fmla="*/ 642300 w 763849"/>
              <a:gd name="csY68" fmla="*/ 1175941 h 1523340"/>
              <a:gd name="csX69" fmla="*/ 668829 w 763849"/>
              <a:gd name="csY69" fmla="*/ 1206449 h 1523340"/>
              <a:gd name="csX70" fmla="*/ 703087 w 763849"/>
              <a:gd name="csY70" fmla="*/ 1241174 h 1523340"/>
              <a:gd name="csX71" fmla="*/ 648750 w 763849"/>
              <a:gd name="csY71" fmla="*/ 562343 h 1523340"/>
              <a:gd name="csX72" fmla="*/ 674049 w 763849"/>
              <a:gd name="csY72" fmla="*/ 562834 h 1523340"/>
              <a:gd name="csX73" fmla="*/ 660781 w 763849"/>
              <a:gd name="csY73" fmla="*/ 550178 h 1523340"/>
              <a:gd name="csX74" fmla="*/ 650911 w 763849"/>
              <a:gd name="csY74" fmla="*/ 534051 h 1523340"/>
              <a:gd name="csX75" fmla="*/ 660724 w 763849"/>
              <a:gd name="csY75" fmla="*/ 537605 h 1523340"/>
              <a:gd name="csX76" fmla="*/ 688133 w 763849"/>
              <a:gd name="csY76" fmla="*/ 543363 h 1523340"/>
              <a:gd name="csX77" fmla="*/ 731514 w 763849"/>
              <a:gd name="csY77" fmla="*/ 510767 h 1523340"/>
              <a:gd name="csX78" fmla="*/ 733611 w 763849"/>
              <a:gd name="csY78" fmla="*/ 466905 h 1523340"/>
              <a:gd name="csX79" fmla="*/ 708076 w 763849"/>
              <a:gd name="csY79" fmla="*/ 425975 h 1523340"/>
              <a:gd name="csX80" fmla="*/ 667538 w 763849"/>
              <a:gd name="csY80" fmla="*/ 398254 h 1523340"/>
              <a:gd name="csX81" fmla="*/ 601016 w 763849"/>
              <a:gd name="csY81" fmla="*/ 332127 h 1523340"/>
              <a:gd name="csX82" fmla="*/ 565354 w 763849"/>
              <a:gd name="csY82" fmla="*/ 270526 h 1523340"/>
              <a:gd name="csX83" fmla="*/ 490657 w 763849"/>
              <a:gd name="csY83" fmla="*/ 195121 h 1523340"/>
              <a:gd name="csX84" fmla="*/ 432834 w 763849"/>
              <a:gd name="csY84" fmla="*/ 165243 h 1523340"/>
              <a:gd name="csX85" fmla="*/ 407594 w 763849"/>
              <a:gd name="csY85" fmla="*/ 127852 h 1523340"/>
              <a:gd name="csX86" fmla="*/ 405020 w 763849"/>
              <a:gd name="csY86" fmla="*/ 69029 h 1523340"/>
              <a:gd name="csX87" fmla="*/ 403638 w 763849"/>
              <a:gd name="csY87" fmla="*/ 58130 h 1523340"/>
              <a:gd name="csX88" fmla="*/ 349776 w 763849"/>
              <a:gd name="csY88" fmla="*/ 133259 h 1523340"/>
              <a:gd name="csX89" fmla="*/ 326975 w 763849"/>
              <a:gd name="csY89" fmla="*/ 159669 h 1523340"/>
              <a:gd name="csX90" fmla="*/ 240374 w 763849"/>
              <a:gd name="csY90" fmla="*/ 221714 h 1523340"/>
              <a:gd name="csX91" fmla="*/ 171637 w 763849"/>
              <a:gd name="csY91" fmla="*/ 309087 h 1523340"/>
              <a:gd name="csX92" fmla="*/ 138048 w 763849"/>
              <a:gd name="csY92" fmla="*/ 516954 h 1523340"/>
              <a:gd name="csX93" fmla="*/ 163889 w 763849"/>
              <a:gd name="csY93" fmla="*/ 641780 h 1523340"/>
              <a:gd name="csX94" fmla="*/ 204800 w 763849"/>
              <a:gd name="csY94" fmla="*/ 787055 h 1523340"/>
              <a:gd name="csX95" fmla="*/ 218549 w 763849"/>
              <a:gd name="csY95" fmla="*/ 949545 h 1523340"/>
              <a:gd name="csX96" fmla="*/ 191487 w 763849"/>
              <a:gd name="csY96" fmla="*/ 1033064 h 1523340"/>
              <a:gd name="csX97" fmla="*/ 188729 w 763849"/>
              <a:gd name="csY97" fmla="*/ 1039835 h 1523340"/>
              <a:gd name="csX98" fmla="*/ 221417 w 763849"/>
              <a:gd name="csY98" fmla="*/ 1040799 h 1523340"/>
              <a:gd name="csX99" fmla="*/ 348895 w 763849"/>
              <a:gd name="csY99" fmla="*/ 1046759 h 1523340"/>
              <a:gd name="csX100" fmla="*/ 545369 w 763849"/>
              <a:gd name="csY100" fmla="*/ 1044456 h 1523340"/>
              <a:gd name="csX101" fmla="*/ 612424 w 763849"/>
              <a:gd name="csY101" fmla="*/ 1037365 h 1523340"/>
              <a:gd name="csX102" fmla="*/ 623169 w 763849"/>
              <a:gd name="csY102" fmla="*/ 1028873 h 1523340"/>
              <a:gd name="csX103" fmla="*/ 638508 w 763849"/>
              <a:gd name="csY103" fmla="*/ 959599 h 1523340"/>
              <a:gd name="csX104" fmla="*/ 609213 w 763849"/>
              <a:gd name="csY104" fmla="*/ 842075 h 1523340"/>
              <a:gd name="csX105" fmla="*/ 529367 w 763849"/>
              <a:gd name="csY105" fmla="*/ 735065 h 1523340"/>
              <a:gd name="csX106" fmla="*/ 403792 w 763849"/>
              <a:gd name="csY106" fmla="*/ 596993 h 1523340"/>
              <a:gd name="csX107" fmla="*/ 344708 w 763849"/>
              <a:gd name="csY107" fmla="*/ 511366 h 1523340"/>
              <a:gd name="csX108" fmla="*/ 324464 w 763849"/>
              <a:gd name="csY108" fmla="*/ 380084 h 1523340"/>
              <a:gd name="csX109" fmla="*/ 327688 w 763849"/>
              <a:gd name="csY109" fmla="*/ 373535 h 1523340"/>
              <a:gd name="csX110" fmla="*/ 330334 w 763849"/>
              <a:gd name="csY110" fmla="*/ 373641 h 1523340"/>
              <a:gd name="csX111" fmla="*/ 334272 w 763849"/>
              <a:gd name="csY111" fmla="*/ 384645 h 1523340"/>
              <a:gd name="csX112" fmla="*/ 365260 w 763849"/>
              <a:gd name="csY112" fmla="*/ 453955 h 1523340"/>
              <a:gd name="csX113" fmla="*/ 408246 w 763849"/>
              <a:gd name="csY113" fmla="*/ 483592 h 1523340"/>
              <a:gd name="csX114" fmla="*/ 464529 w 763849"/>
              <a:gd name="csY114" fmla="*/ 486187 h 1523340"/>
              <a:gd name="csX115" fmla="*/ 511119 w 763849"/>
              <a:gd name="csY115" fmla="*/ 484308 h 1523340"/>
              <a:gd name="csX116" fmla="*/ 567913 w 763849"/>
              <a:gd name="csY116" fmla="*/ 503736 h 1523340"/>
              <a:gd name="csX117" fmla="*/ 607611 w 763849"/>
              <a:gd name="csY117" fmla="*/ 540326 h 1523340"/>
              <a:gd name="csX118" fmla="*/ 648750 w 763849"/>
              <a:gd name="csY118" fmla="*/ 562343 h 1523340"/>
              <a:gd name="csX119" fmla="*/ 462594 w 763849"/>
              <a:gd name="csY119" fmla="*/ 1369008 h 1523340"/>
              <a:gd name="csX120" fmla="*/ 510357 w 763849"/>
              <a:gd name="csY120" fmla="*/ 1366345 h 1523340"/>
              <a:gd name="csX121" fmla="*/ 549434 w 763849"/>
              <a:gd name="csY121" fmla="*/ 1362956 h 1523340"/>
              <a:gd name="csX122" fmla="*/ 632369 w 763849"/>
              <a:gd name="csY122" fmla="*/ 1354439 h 1523340"/>
              <a:gd name="csX123" fmla="*/ 697252 w 763849"/>
              <a:gd name="csY123" fmla="*/ 1346424 h 1523340"/>
              <a:gd name="csX124" fmla="*/ 676674 w 763849"/>
              <a:gd name="csY124" fmla="*/ 1266396 h 1523340"/>
              <a:gd name="csX125" fmla="*/ 646594 w 763849"/>
              <a:gd name="csY125" fmla="*/ 1234108 h 1523340"/>
              <a:gd name="csX126" fmla="*/ 612063 w 763849"/>
              <a:gd name="csY126" fmla="*/ 1194382 h 1523340"/>
              <a:gd name="csX127" fmla="*/ 591616 w 763849"/>
              <a:gd name="csY127" fmla="*/ 1111541 h 1523340"/>
              <a:gd name="csX128" fmla="*/ 594320 w 763849"/>
              <a:gd name="csY128" fmla="*/ 1089609 h 1523340"/>
              <a:gd name="csX129" fmla="*/ 578634 w 763849"/>
              <a:gd name="csY129" fmla="*/ 1089642 h 1523340"/>
              <a:gd name="csX130" fmla="*/ 443931 w 763849"/>
              <a:gd name="csY130" fmla="*/ 1096700 h 1523340"/>
              <a:gd name="csX131" fmla="*/ 403417 w 763849"/>
              <a:gd name="csY131" fmla="*/ 1097156 h 1523340"/>
              <a:gd name="csX132" fmla="*/ 388348 w 763849"/>
              <a:gd name="csY132" fmla="*/ 1111502 h 1523340"/>
              <a:gd name="csX133" fmla="*/ 385048 w 763849"/>
              <a:gd name="csY133" fmla="*/ 1176431 h 1523340"/>
              <a:gd name="csX134" fmla="*/ 377687 w 763849"/>
              <a:gd name="csY134" fmla="*/ 1308672 h 1523340"/>
              <a:gd name="csX135" fmla="*/ 376823 w 763849"/>
              <a:gd name="csY135" fmla="*/ 1320897 h 1523340"/>
              <a:gd name="csX136" fmla="*/ 376781 w 763849"/>
              <a:gd name="csY136" fmla="*/ 1366151 h 1523340"/>
              <a:gd name="csX137" fmla="*/ 462594 w 763849"/>
              <a:gd name="csY137" fmla="*/ 1369008 h 1523340"/>
              <a:gd name="csX138" fmla="*/ 648494 w 763849"/>
              <a:gd name="csY138" fmla="*/ 1463981 h 1523340"/>
              <a:gd name="csX139" fmla="*/ 718746 w 763849"/>
              <a:gd name="csY139" fmla="*/ 1451892 h 1523340"/>
              <a:gd name="csX140" fmla="*/ 711827 w 763849"/>
              <a:gd name="csY140" fmla="*/ 1416835 h 1523340"/>
              <a:gd name="csX141" fmla="*/ 685812 w 763849"/>
              <a:gd name="csY141" fmla="*/ 1398502 h 1523340"/>
              <a:gd name="csX142" fmla="*/ 680924 w 763849"/>
              <a:gd name="csY142" fmla="*/ 1398973 h 1523340"/>
              <a:gd name="csX143" fmla="*/ 598278 w 763849"/>
              <a:gd name="csY143" fmla="*/ 1409218 h 1523340"/>
              <a:gd name="csX144" fmla="*/ 474765 w 763849"/>
              <a:gd name="csY144" fmla="*/ 1417945 h 1523340"/>
              <a:gd name="csX145" fmla="*/ 385143 w 763849"/>
              <a:gd name="csY145" fmla="*/ 1418978 h 1523340"/>
              <a:gd name="csX146" fmla="*/ 376639 w 763849"/>
              <a:gd name="csY146" fmla="*/ 1419613 h 1523340"/>
              <a:gd name="csX147" fmla="*/ 376639 w 763849"/>
              <a:gd name="csY147" fmla="*/ 1473939 h 1523340"/>
              <a:gd name="csX148" fmla="*/ 382089 w 763849"/>
              <a:gd name="csY148" fmla="*/ 1474854 h 1523340"/>
              <a:gd name="csX149" fmla="*/ 449536 w 763849"/>
              <a:gd name="csY149" fmla="*/ 1476855 h 1523340"/>
              <a:gd name="csX150" fmla="*/ 559930 w 763849"/>
              <a:gd name="csY150" fmla="*/ 1474307 h 1523340"/>
              <a:gd name="csX151" fmla="*/ 648494 w 763849"/>
              <a:gd name="csY151" fmla="*/ 1463981 h 152334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</a:cxnLst>
            <a:rect l="l" t="t" r="r" b="b"/>
            <a:pathLst>
              <a:path w="763849" h="1523340">
                <a:moveTo>
                  <a:pt x="703087" y="1241174"/>
                </a:moveTo>
                <a:cubicBezTo>
                  <a:pt x="732418" y="1276379"/>
                  <a:pt x="738825" y="1316526"/>
                  <a:pt x="732932" y="1359634"/>
                </a:cubicBezTo>
                <a:cubicBezTo>
                  <a:pt x="732067" y="1365959"/>
                  <a:pt x="732453" y="1371428"/>
                  <a:pt x="735544" y="1377287"/>
                </a:cubicBezTo>
                <a:cubicBezTo>
                  <a:pt x="748937" y="1402675"/>
                  <a:pt x="755318" y="1430010"/>
                  <a:pt x="756764" y="1458577"/>
                </a:cubicBezTo>
                <a:cubicBezTo>
                  <a:pt x="756887" y="1461031"/>
                  <a:pt x="756895" y="1463494"/>
                  <a:pt x="757108" y="1465940"/>
                </a:cubicBezTo>
                <a:cubicBezTo>
                  <a:pt x="758375" y="1480486"/>
                  <a:pt x="757802" y="1482498"/>
                  <a:pt x="744215" y="1488332"/>
                </a:cubicBezTo>
                <a:cubicBezTo>
                  <a:pt x="734126" y="1492664"/>
                  <a:pt x="723536" y="1496562"/>
                  <a:pt x="712781" y="1498472"/>
                </a:cubicBezTo>
                <a:cubicBezTo>
                  <a:pt x="683814" y="1503617"/>
                  <a:pt x="654674" y="1507832"/>
                  <a:pt x="625540" y="1511981"/>
                </a:cubicBezTo>
                <a:cubicBezTo>
                  <a:pt x="580114" y="1518449"/>
                  <a:pt x="534395" y="1521481"/>
                  <a:pt x="488540" y="1522029"/>
                </a:cubicBezTo>
                <a:cubicBezTo>
                  <a:pt x="427958" y="1522752"/>
                  <a:pt x="367367" y="1523658"/>
                  <a:pt x="306789" y="1523231"/>
                </a:cubicBezTo>
                <a:cubicBezTo>
                  <a:pt x="271215" y="1522980"/>
                  <a:pt x="235625" y="1520833"/>
                  <a:pt x="200103" y="1518579"/>
                </a:cubicBezTo>
                <a:cubicBezTo>
                  <a:pt x="143289" y="1514974"/>
                  <a:pt x="86915" y="1507766"/>
                  <a:pt x="31607" y="1493880"/>
                </a:cubicBezTo>
                <a:cubicBezTo>
                  <a:pt x="22666" y="1491635"/>
                  <a:pt x="14297" y="1486920"/>
                  <a:pt x="5860" y="1482933"/>
                </a:cubicBezTo>
                <a:cubicBezTo>
                  <a:pt x="1433" y="1480841"/>
                  <a:pt x="-262" y="1476934"/>
                  <a:pt x="32" y="1471774"/>
                </a:cubicBezTo>
                <a:cubicBezTo>
                  <a:pt x="1880" y="1439401"/>
                  <a:pt x="3993" y="1407192"/>
                  <a:pt x="21295" y="1378237"/>
                </a:cubicBezTo>
                <a:cubicBezTo>
                  <a:pt x="23526" y="1374504"/>
                  <a:pt x="23666" y="1368858"/>
                  <a:pt x="23169" y="1364271"/>
                </a:cubicBezTo>
                <a:cubicBezTo>
                  <a:pt x="20957" y="1343833"/>
                  <a:pt x="20482" y="1323540"/>
                  <a:pt x="23871" y="1303132"/>
                </a:cubicBezTo>
                <a:cubicBezTo>
                  <a:pt x="28332" y="1276267"/>
                  <a:pt x="41045" y="1253887"/>
                  <a:pt x="59740" y="1234649"/>
                </a:cubicBezTo>
                <a:cubicBezTo>
                  <a:pt x="72582" y="1221434"/>
                  <a:pt x="85657" y="1208434"/>
                  <a:pt x="98899" y="1195619"/>
                </a:cubicBezTo>
                <a:cubicBezTo>
                  <a:pt x="118216" y="1176926"/>
                  <a:pt x="130484" y="1154702"/>
                  <a:pt x="131493" y="1127593"/>
                </a:cubicBezTo>
                <a:cubicBezTo>
                  <a:pt x="132448" y="1101948"/>
                  <a:pt x="127125" y="1077868"/>
                  <a:pt x="108213" y="1058723"/>
                </a:cubicBezTo>
                <a:cubicBezTo>
                  <a:pt x="97010" y="1047381"/>
                  <a:pt x="85438" y="1036399"/>
                  <a:pt x="74370" y="1024929"/>
                </a:cubicBezTo>
                <a:cubicBezTo>
                  <a:pt x="63868" y="1014043"/>
                  <a:pt x="62267" y="1001475"/>
                  <a:pt x="68137" y="987550"/>
                </a:cubicBezTo>
                <a:cubicBezTo>
                  <a:pt x="74493" y="972473"/>
                  <a:pt x="80703" y="957319"/>
                  <a:pt x="86420" y="941991"/>
                </a:cubicBezTo>
                <a:cubicBezTo>
                  <a:pt x="100218" y="905001"/>
                  <a:pt x="99441" y="866690"/>
                  <a:pt x="97082" y="828037"/>
                </a:cubicBezTo>
                <a:cubicBezTo>
                  <a:pt x="94260" y="781809"/>
                  <a:pt x="76370" y="739899"/>
                  <a:pt x="61782" y="696973"/>
                </a:cubicBezTo>
                <a:cubicBezTo>
                  <a:pt x="45282" y="648419"/>
                  <a:pt x="33285" y="598770"/>
                  <a:pt x="26901" y="547868"/>
                </a:cubicBezTo>
                <a:cubicBezTo>
                  <a:pt x="24054" y="525160"/>
                  <a:pt x="21110" y="502364"/>
                  <a:pt x="20221" y="479529"/>
                </a:cubicBezTo>
                <a:cubicBezTo>
                  <a:pt x="18293" y="430013"/>
                  <a:pt x="26126" y="381610"/>
                  <a:pt x="40808" y="334388"/>
                </a:cubicBezTo>
                <a:cubicBezTo>
                  <a:pt x="48208" y="310588"/>
                  <a:pt x="55162" y="286441"/>
                  <a:pt x="65171" y="263707"/>
                </a:cubicBezTo>
                <a:cubicBezTo>
                  <a:pt x="81946" y="225606"/>
                  <a:pt x="106517" y="193071"/>
                  <a:pt x="142827" y="171003"/>
                </a:cubicBezTo>
                <a:cubicBezTo>
                  <a:pt x="152238" y="165283"/>
                  <a:pt x="162401" y="160787"/>
                  <a:pt x="172290" y="155872"/>
                </a:cubicBezTo>
                <a:cubicBezTo>
                  <a:pt x="177784" y="153142"/>
                  <a:pt x="183393" y="150635"/>
                  <a:pt x="189008" y="148158"/>
                </a:cubicBezTo>
                <a:cubicBezTo>
                  <a:pt x="199487" y="143534"/>
                  <a:pt x="207598" y="136426"/>
                  <a:pt x="212828" y="126123"/>
                </a:cubicBezTo>
                <a:cubicBezTo>
                  <a:pt x="214121" y="123575"/>
                  <a:pt x="215966" y="121304"/>
                  <a:pt x="217217" y="118740"/>
                </a:cubicBezTo>
                <a:cubicBezTo>
                  <a:pt x="224688" y="103433"/>
                  <a:pt x="237053" y="93440"/>
                  <a:pt x="253000" y="88998"/>
                </a:cubicBezTo>
                <a:cubicBezTo>
                  <a:pt x="275818" y="82642"/>
                  <a:pt x="299033" y="77711"/>
                  <a:pt x="322085" y="72193"/>
                </a:cubicBezTo>
                <a:cubicBezTo>
                  <a:pt x="324867" y="71527"/>
                  <a:pt x="327694" y="71045"/>
                  <a:pt x="330478" y="70387"/>
                </a:cubicBezTo>
                <a:cubicBezTo>
                  <a:pt x="364731" y="62297"/>
                  <a:pt x="364569" y="62151"/>
                  <a:pt x="388016" y="35457"/>
                </a:cubicBezTo>
                <a:cubicBezTo>
                  <a:pt x="398189" y="23875"/>
                  <a:pt x="409180" y="13010"/>
                  <a:pt x="421527" y="0"/>
                </a:cubicBezTo>
                <a:cubicBezTo>
                  <a:pt x="423000" y="5190"/>
                  <a:pt x="424219" y="7961"/>
                  <a:pt x="424538" y="10833"/>
                </a:cubicBezTo>
                <a:cubicBezTo>
                  <a:pt x="428638" y="47817"/>
                  <a:pt x="433030" y="84779"/>
                  <a:pt x="436339" y="121836"/>
                </a:cubicBezTo>
                <a:cubicBezTo>
                  <a:pt x="437236" y="131893"/>
                  <a:pt x="441545" y="137271"/>
                  <a:pt x="449983" y="141450"/>
                </a:cubicBezTo>
                <a:cubicBezTo>
                  <a:pt x="467954" y="150348"/>
                  <a:pt x="486187" y="158915"/>
                  <a:pt x="503299" y="169290"/>
                </a:cubicBezTo>
                <a:cubicBezTo>
                  <a:pt x="520041" y="179441"/>
                  <a:pt x="535883" y="191197"/>
                  <a:pt x="551461" y="203111"/>
                </a:cubicBezTo>
                <a:cubicBezTo>
                  <a:pt x="568416" y="216079"/>
                  <a:pt x="579195" y="234146"/>
                  <a:pt x="588803" y="252797"/>
                </a:cubicBezTo>
                <a:cubicBezTo>
                  <a:pt x="602134" y="278677"/>
                  <a:pt x="616556" y="303835"/>
                  <a:pt x="634209" y="327081"/>
                </a:cubicBezTo>
                <a:cubicBezTo>
                  <a:pt x="651797" y="350241"/>
                  <a:pt x="673980" y="368103"/>
                  <a:pt x="697923" y="384157"/>
                </a:cubicBezTo>
                <a:cubicBezTo>
                  <a:pt x="708787" y="391441"/>
                  <a:pt x="719007" y="399678"/>
                  <a:pt x="729658" y="407288"/>
                </a:cubicBezTo>
                <a:cubicBezTo>
                  <a:pt x="751657" y="423004"/>
                  <a:pt x="761259" y="445265"/>
                  <a:pt x="763354" y="471325"/>
                </a:cubicBezTo>
                <a:cubicBezTo>
                  <a:pt x="764877" y="490275"/>
                  <a:pt x="762919" y="509064"/>
                  <a:pt x="757092" y="527116"/>
                </a:cubicBezTo>
                <a:cubicBezTo>
                  <a:pt x="750932" y="546198"/>
                  <a:pt x="738296" y="560266"/>
                  <a:pt x="720673" y="570023"/>
                </a:cubicBezTo>
                <a:cubicBezTo>
                  <a:pt x="715048" y="573138"/>
                  <a:pt x="709487" y="576825"/>
                  <a:pt x="704918" y="581294"/>
                </a:cubicBezTo>
                <a:cubicBezTo>
                  <a:pt x="695625" y="590383"/>
                  <a:pt x="684728" y="595697"/>
                  <a:pt x="671960" y="595325"/>
                </a:cubicBezTo>
                <a:cubicBezTo>
                  <a:pt x="658939" y="594945"/>
                  <a:pt x="645743" y="594018"/>
                  <a:pt x="633021" y="591397"/>
                </a:cubicBezTo>
                <a:cubicBezTo>
                  <a:pt x="611233" y="586907"/>
                  <a:pt x="595034" y="572939"/>
                  <a:pt x="580696" y="556742"/>
                </a:cubicBezTo>
                <a:cubicBezTo>
                  <a:pt x="570081" y="544750"/>
                  <a:pt x="559052" y="533306"/>
                  <a:pt x="545415" y="524617"/>
                </a:cubicBezTo>
                <a:cubicBezTo>
                  <a:pt x="537261" y="519422"/>
                  <a:pt x="528551" y="515996"/>
                  <a:pt x="518889" y="516179"/>
                </a:cubicBezTo>
                <a:cubicBezTo>
                  <a:pt x="503357" y="516473"/>
                  <a:pt x="487839" y="517663"/>
                  <a:pt x="472309" y="517812"/>
                </a:cubicBezTo>
                <a:cubicBezTo>
                  <a:pt x="453527" y="517993"/>
                  <a:pt x="434738" y="517514"/>
                  <a:pt x="415953" y="517245"/>
                </a:cubicBezTo>
                <a:cubicBezTo>
                  <a:pt x="411976" y="517189"/>
                  <a:pt x="408003" y="516808"/>
                  <a:pt x="403392" y="516539"/>
                </a:cubicBezTo>
                <a:cubicBezTo>
                  <a:pt x="401207" y="526363"/>
                  <a:pt x="404857" y="534293"/>
                  <a:pt x="407957" y="542045"/>
                </a:cubicBezTo>
                <a:cubicBezTo>
                  <a:pt x="414092" y="557387"/>
                  <a:pt x="423168" y="571042"/>
                  <a:pt x="434134" y="583349"/>
                </a:cubicBezTo>
                <a:cubicBezTo>
                  <a:pt x="464083" y="616959"/>
                  <a:pt x="493980" y="650618"/>
                  <a:pt x="524267" y="683922"/>
                </a:cubicBezTo>
                <a:cubicBezTo>
                  <a:pt x="554818" y="717518"/>
                  <a:pt x="588291" y="748619"/>
                  <a:pt x="614317" y="786085"/>
                </a:cubicBezTo>
                <a:cubicBezTo>
                  <a:pt x="642656" y="826881"/>
                  <a:pt x="663974" y="871159"/>
                  <a:pt x="669590" y="921089"/>
                </a:cubicBezTo>
                <a:cubicBezTo>
                  <a:pt x="674894" y="968240"/>
                  <a:pt x="669774" y="1014226"/>
                  <a:pt x="647360" y="1057245"/>
                </a:cubicBezTo>
                <a:cubicBezTo>
                  <a:pt x="639830" y="1071697"/>
                  <a:pt x="630533" y="1085565"/>
                  <a:pt x="627872" y="1102111"/>
                </a:cubicBezTo>
                <a:cubicBezTo>
                  <a:pt x="623640" y="1128439"/>
                  <a:pt x="626183" y="1153784"/>
                  <a:pt x="642300" y="1175941"/>
                </a:cubicBezTo>
                <a:cubicBezTo>
                  <a:pt x="650201" y="1186801"/>
                  <a:pt x="659595" y="1196636"/>
                  <a:pt x="668829" y="1206449"/>
                </a:cubicBezTo>
                <a:cubicBezTo>
                  <a:pt x="679770" y="1218075"/>
                  <a:pt x="691267" y="1229177"/>
                  <a:pt x="703087" y="1241174"/>
                </a:cubicBezTo>
                <a:moveTo>
                  <a:pt x="648750" y="562343"/>
                </a:moveTo>
                <a:cubicBezTo>
                  <a:pt x="656729" y="562558"/>
                  <a:pt x="664698" y="567407"/>
                  <a:pt x="674049" y="562834"/>
                </a:cubicBezTo>
                <a:cubicBezTo>
                  <a:pt x="668990" y="558037"/>
                  <a:pt x="664729" y="554259"/>
                  <a:pt x="660781" y="550178"/>
                </a:cubicBezTo>
                <a:cubicBezTo>
                  <a:pt x="656713" y="545973"/>
                  <a:pt x="651493" y="542363"/>
                  <a:pt x="650911" y="534051"/>
                </a:cubicBezTo>
                <a:cubicBezTo>
                  <a:pt x="654940" y="535536"/>
                  <a:pt x="657753" y="536907"/>
                  <a:pt x="660724" y="537605"/>
                </a:cubicBezTo>
                <a:cubicBezTo>
                  <a:pt x="669824" y="539743"/>
                  <a:pt x="678915" y="542853"/>
                  <a:pt x="688133" y="543363"/>
                </a:cubicBezTo>
                <a:cubicBezTo>
                  <a:pt x="712019" y="544686"/>
                  <a:pt x="726964" y="534053"/>
                  <a:pt x="731514" y="510767"/>
                </a:cubicBezTo>
                <a:cubicBezTo>
                  <a:pt x="734296" y="496535"/>
                  <a:pt x="734146" y="481511"/>
                  <a:pt x="733611" y="466905"/>
                </a:cubicBezTo>
                <a:cubicBezTo>
                  <a:pt x="732951" y="448863"/>
                  <a:pt x="723348" y="435653"/>
                  <a:pt x="708076" y="425975"/>
                </a:cubicBezTo>
                <a:cubicBezTo>
                  <a:pt x="694258" y="417218"/>
                  <a:pt x="681056" y="407489"/>
                  <a:pt x="667538" y="398254"/>
                </a:cubicBezTo>
                <a:cubicBezTo>
                  <a:pt x="641278" y="380314"/>
                  <a:pt x="617580" y="359743"/>
                  <a:pt x="601016" y="332127"/>
                </a:cubicBezTo>
                <a:cubicBezTo>
                  <a:pt x="588810" y="311778"/>
                  <a:pt x="576093" y="291645"/>
                  <a:pt x="565354" y="270526"/>
                </a:cubicBezTo>
                <a:cubicBezTo>
                  <a:pt x="548401" y="237186"/>
                  <a:pt x="523821" y="212104"/>
                  <a:pt x="490657" y="195121"/>
                </a:cubicBezTo>
                <a:cubicBezTo>
                  <a:pt x="471346" y="185231"/>
                  <a:pt x="452394" y="174606"/>
                  <a:pt x="432834" y="165243"/>
                </a:cubicBezTo>
                <a:cubicBezTo>
                  <a:pt x="416725" y="157532"/>
                  <a:pt x="408325" y="145526"/>
                  <a:pt x="407594" y="127852"/>
                </a:cubicBezTo>
                <a:cubicBezTo>
                  <a:pt x="406783" y="108242"/>
                  <a:pt x="405935" y="88634"/>
                  <a:pt x="405020" y="69029"/>
                </a:cubicBezTo>
                <a:cubicBezTo>
                  <a:pt x="404882" y="66067"/>
                  <a:pt x="404287" y="63127"/>
                  <a:pt x="403638" y="58130"/>
                </a:cubicBezTo>
                <a:cubicBezTo>
                  <a:pt x="381792" y="82321"/>
                  <a:pt x="361650" y="104820"/>
                  <a:pt x="349776" y="133259"/>
                </a:cubicBezTo>
                <a:cubicBezTo>
                  <a:pt x="345032" y="144621"/>
                  <a:pt x="337822" y="153814"/>
                  <a:pt x="326975" y="159669"/>
                </a:cubicBezTo>
                <a:cubicBezTo>
                  <a:pt x="295461" y="176681"/>
                  <a:pt x="266610" y="197333"/>
                  <a:pt x="240374" y="221714"/>
                </a:cubicBezTo>
                <a:cubicBezTo>
                  <a:pt x="212881" y="247263"/>
                  <a:pt x="188313" y="275340"/>
                  <a:pt x="171637" y="309087"/>
                </a:cubicBezTo>
                <a:cubicBezTo>
                  <a:pt x="139180" y="374765"/>
                  <a:pt x="129692" y="444532"/>
                  <a:pt x="138048" y="516954"/>
                </a:cubicBezTo>
                <a:cubicBezTo>
                  <a:pt x="142936" y="559318"/>
                  <a:pt x="152518" y="600762"/>
                  <a:pt x="163889" y="641780"/>
                </a:cubicBezTo>
                <a:cubicBezTo>
                  <a:pt x="177329" y="690261"/>
                  <a:pt x="191989" y="738413"/>
                  <a:pt x="204800" y="787055"/>
                </a:cubicBezTo>
                <a:cubicBezTo>
                  <a:pt x="218820" y="840287"/>
                  <a:pt x="228587" y="894088"/>
                  <a:pt x="218549" y="949545"/>
                </a:cubicBezTo>
                <a:cubicBezTo>
                  <a:pt x="213279" y="978659"/>
                  <a:pt x="207130" y="1007359"/>
                  <a:pt x="191487" y="1033064"/>
                </a:cubicBezTo>
                <a:cubicBezTo>
                  <a:pt x="190499" y="1034686"/>
                  <a:pt x="190018" y="1036618"/>
                  <a:pt x="188729" y="1039835"/>
                </a:cubicBezTo>
                <a:cubicBezTo>
                  <a:pt x="200470" y="1040170"/>
                  <a:pt x="210952" y="1040298"/>
                  <a:pt x="221417" y="1040799"/>
                </a:cubicBezTo>
                <a:cubicBezTo>
                  <a:pt x="263912" y="1042835"/>
                  <a:pt x="306390" y="1046436"/>
                  <a:pt x="348895" y="1046759"/>
                </a:cubicBezTo>
                <a:cubicBezTo>
                  <a:pt x="414380" y="1047258"/>
                  <a:pt x="479896" y="1046092"/>
                  <a:pt x="545369" y="1044456"/>
                </a:cubicBezTo>
                <a:cubicBezTo>
                  <a:pt x="567764" y="1043897"/>
                  <a:pt x="590066" y="1039744"/>
                  <a:pt x="612424" y="1037365"/>
                </a:cubicBezTo>
                <a:cubicBezTo>
                  <a:pt x="617948" y="1036777"/>
                  <a:pt x="621342" y="1034139"/>
                  <a:pt x="623169" y="1028873"/>
                </a:cubicBezTo>
                <a:cubicBezTo>
                  <a:pt x="630975" y="1006370"/>
                  <a:pt x="637026" y="983472"/>
                  <a:pt x="638508" y="959599"/>
                </a:cubicBezTo>
                <a:cubicBezTo>
                  <a:pt x="641131" y="917363"/>
                  <a:pt x="628970" y="878727"/>
                  <a:pt x="609213" y="842075"/>
                </a:cubicBezTo>
                <a:cubicBezTo>
                  <a:pt x="587874" y="802491"/>
                  <a:pt x="559403" y="768169"/>
                  <a:pt x="529367" y="735065"/>
                </a:cubicBezTo>
                <a:cubicBezTo>
                  <a:pt x="487563" y="688992"/>
                  <a:pt x="445474" y="643176"/>
                  <a:pt x="403792" y="596993"/>
                </a:cubicBezTo>
                <a:cubicBezTo>
                  <a:pt x="380393" y="571066"/>
                  <a:pt x="360083" y="542922"/>
                  <a:pt x="344708" y="511366"/>
                </a:cubicBezTo>
                <a:cubicBezTo>
                  <a:pt x="324385" y="469655"/>
                  <a:pt x="317321" y="425966"/>
                  <a:pt x="324464" y="380084"/>
                </a:cubicBezTo>
                <a:cubicBezTo>
                  <a:pt x="324821" y="377789"/>
                  <a:pt x="326581" y="375713"/>
                  <a:pt x="327688" y="373535"/>
                </a:cubicBezTo>
                <a:cubicBezTo>
                  <a:pt x="328570" y="373570"/>
                  <a:pt x="329452" y="373606"/>
                  <a:pt x="330334" y="373641"/>
                </a:cubicBezTo>
                <a:cubicBezTo>
                  <a:pt x="331649" y="377308"/>
                  <a:pt x="333001" y="380963"/>
                  <a:pt x="334272" y="384645"/>
                </a:cubicBezTo>
                <a:cubicBezTo>
                  <a:pt x="342569" y="408660"/>
                  <a:pt x="351164" y="432573"/>
                  <a:pt x="365260" y="453955"/>
                </a:cubicBezTo>
                <a:cubicBezTo>
                  <a:pt x="375537" y="469544"/>
                  <a:pt x="388811" y="481767"/>
                  <a:pt x="408246" y="483592"/>
                </a:cubicBezTo>
                <a:cubicBezTo>
                  <a:pt x="426928" y="485346"/>
                  <a:pt x="445757" y="486037"/>
                  <a:pt x="464529" y="486187"/>
                </a:cubicBezTo>
                <a:cubicBezTo>
                  <a:pt x="480053" y="486311"/>
                  <a:pt x="495582" y="484792"/>
                  <a:pt x="511119" y="484308"/>
                </a:cubicBezTo>
                <a:cubicBezTo>
                  <a:pt x="532443" y="483644"/>
                  <a:pt x="551690" y="490014"/>
                  <a:pt x="567913" y="503736"/>
                </a:cubicBezTo>
                <a:cubicBezTo>
                  <a:pt x="581642" y="515348"/>
                  <a:pt x="594604" y="527888"/>
                  <a:pt x="607611" y="540326"/>
                </a:cubicBezTo>
                <a:cubicBezTo>
                  <a:pt x="618811" y="551038"/>
                  <a:pt x="631177" y="559300"/>
                  <a:pt x="648750" y="562343"/>
                </a:cubicBezTo>
                <a:moveTo>
                  <a:pt x="462594" y="1369008"/>
                </a:moveTo>
                <a:cubicBezTo>
                  <a:pt x="478517" y="1368137"/>
                  <a:pt x="494449" y="1367429"/>
                  <a:pt x="510357" y="1366345"/>
                </a:cubicBezTo>
                <a:cubicBezTo>
                  <a:pt x="523399" y="1365456"/>
                  <a:pt x="536424" y="1364247"/>
                  <a:pt x="549434" y="1362956"/>
                </a:cubicBezTo>
                <a:cubicBezTo>
                  <a:pt x="577089" y="1360213"/>
                  <a:pt x="604749" y="1357503"/>
                  <a:pt x="632369" y="1354439"/>
                </a:cubicBezTo>
                <a:cubicBezTo>
                  <a:pt x="653805" y="1352062"/>
                  <a:pt x="675183" y="1349170"/>
                  <a:pt x="697252" y="1346424"/>
                </a:cubicBezTo>
                <a:cubicBezTo>
                  <a:pt x="701148" y="1316348"/>
                  <a:pt x="695768" y="1289474"/>
                  <a:pt x="676674" y="1266396"/>
                </a:cubicBezTo>
                <a:cubicBezTo>
                  <a:pt x="667313" y="1255080"/>
                  <a:pt x="656878" y="1244625"/>
                  <a:pt x="646594" y="1234108"/>
                </a:cubicBezTo>
                <a:cubicBezTo>
                  <a:pt x="634298" y="1221533"/>
                  <a:pt x="621353" y="1209623"/>
                  <a:pt x="612063" y="1194382"/>
                </a:cubicBezTo>
                <a:cubicBezTo>
                  <a:pt x="596511" y="1168867"/>
                  <a:pt x="588079" y="1141707"/>
                  <a:pt x="591616" y="1111541"/>
                </a:cubicBezTo>
                <a:cubicBezTo>
                  <a:pt x="592450" y="1104432"/>
                  <a:pt x="593365" y="1097332"/>
                  <a:pt x="594320" y="1089609"/>
                </a:cubicBezTo>
                <a:cubicBezTo>
                  <a:pt x="588294" y="1089609"/>
                  <a:pt x="583452" y="1089392"/>
                  <a:pt x="578634" y="1089642"/>
                </a:cubicBezTo>
                <a:cubicBezTo>
                  <a:pt x="533732" y="1091976"/>
                  <a:pt x="488841" y="1094525"/>
                  <a:pt x="443931" y="1096700"/>
                </a:cubicBezTo>
                <a:cubicBezTo>
                  <a:pt x="430451" y="1097353"/>
                  <a:pt x="416923" y="1097005"/>
                  <a:pt x="403417" y="1097156"/>
                </a:cubicBezTo>
                <a:cubicBezTo>
                  <a:pt x="389337" y="1097313"/>
                  <a:pt x="388961" y="1097850"/>
                  <a:pt x="388348" y="1111502"/>
                </a:cubicBezTo>
                <a:cubicBezTo>
                  <a:pt x="387375" y="1133151"/>
                  <a:pt x="386231" y="1154793"/>
                  <a:pt x="385048" y="1176431"/>
                </a:cubicBezTo>
                <a:cubicBezTo>
                  <a:pt x="382637" y="1220514"/>
                  <a:pt x="380158" y="1264593"/>
                  <a:pt x="377687" y="1308672"/>
                </a:cubicBezTo>
                <a:cubicBezTo>
                  <a:pt x="377458" y="1312751"/>
                  <a:pt x="376852" y="1316821"/>
                  <a:pt x="376823" y="1320897"/>
                </a:cubicBezTo>
                <a:cubicBezTo>
                  <a:pt x="376717" y="1335880"/>
                  <a:pt x="376781" y="1350864"/>
                  <a:pt x="376781" y="1366151"/>
                </a:cubicBezTo>
                <a:cubicBezTo>
                  <a:pt x="404707" y="1370397"/>
                  <a:pt x="432477" y="1369351"/>
                  <a:pt x="462594" y="1369008"/>
                </a:cubicBezTo>
                <a:moveTo>
                  <a:pt x="648494" y="1463981"/>
                </a:moveTo>
                <a:cubicBezTo>
                  <a:pt x="671329" y="1460052"/>
                  <a:pt x="694163" y="1456122"/>
                  <a:pt x="718746" y="1451892"/>
                </a:cubicBezTo>
                <a:cubicBezTo>
                  <a:pt x="716257" y="1439067"/>
                  <a:pt x="714578" y="1427816"/>
                  <a:pt x="711827" y="1416835"/>
                </a:cubicBezTo>
                <a:cubicBezTo>
                  <a:pt x="707611" y="1400009"/>
                  <a:pt x="703502" y="1397423"/>
                  <a:pt x="685812" y="1398502"/>
                </a:cubicBezTo>
                <a:cubicBezTo>
                  <a:pt x="684179" y="1398602"/>
                  <a:pt x="682547" y="1398768"/>
                  <a:pt x="680924" y="1398973"/>
                </a:cubicBezTo>
                <a:cubicBezTo>
                  <a:pt x="653380" y="1402446"/>
                  <a:pt x="625911" y="1406752"/>
                  <a:pt x="598278" y="1409218"/>
                </a:cubicBezTo>
                <a:cubicBezTo>
                  <a:pt x="557171" y="1412886"/>
                  <a:pt x="515983" y="1415946"/>
                  <a:pt x="474765" y="1417945"/>
                </a:cubicBezTo>
                <a:cubicBezTo>
                  <a:pt x="444944" y="1419391"/>
                  <a:pt x="415021" y="1418680"/>
                  <a:pt x="385143" y="1418978"/>
                </a:cubicBezTo>
                <a:cubicBezTo>
                  <a:pt x="382419" y="1419005"/>
                  <a:pt x="379697" y="1419376"/>
                  <a:pt x="376639" y="1419613"/>
                </a:cubicBezTo>
                <a:cubicBezTo>
                  <a:pt x="376639" y="1438152"/>
                  <a:pt x="376639" y="1455909"/>
                  <a:pt x="376639" y="1473939"/>
                </a:cubicBezTo>
                <a:cubicBezTo>
                  <a:pt x="378971" y="1474343"/>
                  <a:pt x="380523" y="1474802"/>
                  <a:pt x="382089" y="1474854"/>
                </a:cubicBezTo>
                <a:cubicBezTo>
                  <a:pt x="404571" y="1475605"/>
                  <a:pt x="427058" y="1476986"/>
                  <a:pt x="449536" y="1476855"/>
                </a:cubicBezTo>
                <a:cubicBezTo>
                  <a:pt x="486344" y="1476639"/>
                  <a:pt x="523207" y="1476480"/>
                  <a:pt x="559930" y="1474307"/>
                </a:cubicBezTo>
                <a:cubicBezTo>
                  <a:pt x="588839" y="1472596"/>
                  <a:pt x="617570" y="1467884"/>
                  <a:pt x="648494" y="1463981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7758" name="Free-form: Shape 7757">
            <a:extLst>
              <a:ext uri="{FF2B5EF4-FFF2-40B4-BE49-F238E27FC236}">
                <a16:creationId xmlns:a16="http://schemas.microsoft.com/office/drawing/2014/main" id="{312DDC57-B101-C641-7209-83B7814EFED3}"/>
              </a:ext>
            </a:extLst>
          </p:cNvPr>
          <p:cNvSpPr/>
          <p:nvPr/>
        </p:nvSpPr>
        <p:spPr>
          <a:xfrm>
            <a:off x="193973" y="4012543"/>
            <a:ext cx="423057" cy="698618"/>
          </a:xfrm>
          <a:custGeom>
            <a:avLst/>
            <a:gdLst>
              <a:gd name="csX0" fmla="*/ 512604 w 598747"/>
              <a:gd name="csY0" fmla="*/ 503918 h 988745"/>
              <a:gd name="csX1" fmla="*/ 472435 w 598747"/>
              <a:gd name="csY1" fmla="*/ 482196 h 988745"/>
              <a:gd name="csX2" fmla="*/ 432737 w 598747"/>
              <a:gd name="csY2" fmla="*/ 445605 h 988745"/>
              <a:gd name="csX3" fmla="*/ 375943 w 598747"/>
              <a:gd name="csY3" fmla="*/ 426178 h 988745"/>
              <a:gd name="csX4" fmla="*/ 329354 w 598747"/>
              <a:gd name="csY4" fmla="*/ 428057 h 988745"/>
              <a:gd name="csX5" fmla="*/ 273070 w 598747"/>
              <a:gd name="csY5" fmla="*/ 425461 h 988745"/>
              <a:gd name="csX6" fmla="*/ 230084 w 598747"/>
              <a:gd name="csY6" fmla="*/ 395825 h 988745"/>
              <a:gd name="csX7" fmla="*/ 199097 w 598747"/>
              <a:gd name="csY7" fmla="*/ 326515 h 988745"/>
              <a:gd name="csX8" fmla="*/ 195158 w 598747"/>
              <a:gd name="csY8" fmla="*/ 315511 h 988745"/>
              <a:gd name="csX9" fmla="*/ 192512 w 598747"/>
              <a:gd name="csY9" fmla="*/ 315405 h 988745"/>
              <a:gd name="csX10" fmla="*/ 189288 w 598747"/>
              <a:gd name="csY10" fmla="*/ 321954 h 988745"/>
              <a:gd name="csX11" fmla="*/ 209532 w 598747"/>
              <a:gd name="csY11" fmla="*/ 453235 h 988745"/>
              <a:gd name="csX12" fmla="*/ 268616 w 598747"/>
              <a:gd name="csY12" fmla="*/ 538863 h 988745"/>
              <a:gd name="csX13" fmla="*/ 394191 w 598747"/>
              <a:gd name="csY13" fmla="*/ 676935 h 988745"/>
              <a:gd name="csX14" fmla="*/ 474037 w 598747"/>
              <a:gd name="csY14" fmla="*/ 783945 h 988745"/>
              <a:gd name="csX15" fmla="*/ 503332 w 598747"/>
              <a:gd name="csY15" fmla="*/ 901469 h 988745"/>
              <a:gd name="csX16" fmla="*/ 487993 w 598747"/>
              <a:gd name="csY16" fmla="*/ 970743 h 988745"/>
              <a:gd name="csX17" fmla="*/ 477248 w 598747"/>
              <a:gd name="csY17" fmla="*/ 979235 h 988745"/>
              <a:gd name="csX18" fmla="*/ 410194 w 598747"/>
              <a:gd name="csY18" fmla="*/ 986326 h 988745"/>
              <a:gd name="csX19" fmla="*/ 213720 w 598747"/>
              <a:gd name="csY19" fmla="*/ 988629 h 988745"/>
              <a:gd name="csX20" fmla="*/ 86242 w 598747"/>
              <a:gd name="csY20" fmla="*/ 982669 h 988745"/>
              <a:gd name="csX21" fmla="*/ 53553 w 598747"/>
              <a:gd name="csY21" fmla="*/ 981705 h 988745"/>
              <a:gd name="csX22" fmla="*/ 56311 w 598747"/>
              <a:gd name="csY22" fmla="*/ 974933 h 988745"/>
              <a:gd name="csX23" fmla="*/ 83373 w 598747"/>
              <a:gd name="csY23" fmla="*/ 891414 h 988745"/>
              <a:gd name="csX24" fmla="*/ 69625 w 598747"/>
              <a:gd name="csY24" fmla="*/ 728925 h 988745"/>
              <a:gd name="csX25" fmla="*/ 28713 w 598747"/>
              <a:gd name="csY25" fmla="*/ 583650 h 988745"/>
              <a:gd name="csX26" fmla="*/ 2872 w 598747"/>
              <a:gd name="csY26" fmla="*/ 458823 h 988745"/>
              <a:gd name="csX27" fmla="*/ 36461 w 598747"/>
              <a:gd name="csY27" fmla="*/ 250957 h 988745"/>
              <a:gd name="csX28" fmla="*/ 105198 w 598747"/>
              <a:gd name="csY28" fmla="*/ 163584 h 988745"/>
              <a:gd name="csX29" fmla="*/ 191800 w 598747"/>
              <a:gd name="csY29" fmla="*/ 101539 h 988745"/>
              <a:gd name="csX30" fmla="*/ 214600 w 598747"/>
              <a:gd name="csY30" fmla="*/ 75129 h 988745"/>
              <a:gd name="csX31" fmla="*/ 268462 w 598747"/>
              <a:gd name="csY31" fmla="*/ 0 h 988745"/>
              <a:gd name="csX32" fmla="*/ 269844 w 598747"/>
              <a:gd name="csY32" fmla="*/ 10898 h 988745"/>
              <a:gd name="csX33" fmla="*/ 272418 w 598747"/>
              <a:gd name="csY33" fmla="*/ 69722 h 988745"/>
              <a:gd name="csX34" fmla="*/ 297658 w 598747"/>
              <a:gd name="csY34" fmla="*/ 107113 h 988745"/>
              <a:gd name="csX35" fmla="*/ 355481 w 598747"/>
              <a:gd name="csY35" fmla="*/ 136991 h 988745"/>
              <a:gd name="csX36" fmla="*/ 430178 w 598747"/>
              <a:gd name="csY36" fmla="*/ 212396 h 988745"/>
              <a:gd name="csX37" fmla="*/ 465840 w 598747"/>
              <a:gd name="csY37" fmla="*/ 273997 h 988745"/>
              <a:gd name="csX38" fmla="*/ 532362 w 598747"/>
              <a:gd name="csY38" fmla="*/ 340124 h 988745"/>
              <a:gd name="csX39" fmla="*/ 572901 w 598747"/>
              <a:gd name="csY39" fmla="*/ 367845 h 988745"/>
              <a:gd name="csX40" fmla="*/ 598436 w 598747"/>
              <a:gd name="csY40" fmla="*/ 408775 h 988745"/>
              <a:gd name="csX41" fmla="*/ 596339 w 598747"/>
              <a:gd name="csY41" fmla="*/ 452637 h 988745"/>
              <a:gd name="csX42" fmla="*/ 552957 w 598747"/>
              <a:gd name="csY42" fmla="*/ 485233 h 988745"/>
              <a:gd name="csX43" fmla="*/ 525548 w 598747"/>
              <a:gd name="csY43" fmla="*/ 479475 h 988745"/>
              <a:gd name="csX44" fmla="*/ 515736 w 598747"/>
              <a:gd name="csY44" fmla="*/ 475921 h 988745"/>
              <a:gd name="csX45" fmla="*/ 525605 w 598747"/>
              <a:gd name="csY45" fmla="*/ 492048 h 988745"/>
              <a:gd name="csX46" fmla="*/ 538873 w 598747"/>
              <a:gd name="csY46" fmla="*/ 504704 h 988745"/>
              <a:gd name="csX47" fmla="*/ 512604 w 598747"/>
              <a:gd name="csY47" fmla="*/ 503918 h 988745"/>
              <a:gd name="csX48" fmla="*/ 332072 w 598747"/>
              <a:gd name="csY48" fmla="*/ 218143 h 988745"/>
              <a:gd name="csX49" fmla="*/ 334388 w 598747"/>
              <a:gd name="csY49" fmla="*/ 226400 h 988745"/>
              <a:gd name="csX50" fmla="*/ 372370 w 598747"/>
              <a:gd name="csY50" fmla="*/ 254505 h 988745"/>
              <a:gd name="csX51" fmla="*/ 405258 w 598747"/>
              <a:gd name="csY51" fmla="*/ 252089 h 988745"/>
              <a:gd name="csX52" fmla="*/ 409167 w 598747"/>
              <a:gd name="csY52" fmla="*/ 244359 h 988745"/>
              <a:gd name="csX53" fmla="*/ 396364 w 598747"/>
              <a:gd name="csY53" fmla="*/ 219471 h 988745"/>
              <a:gd name="csX54" fmla="*/ 365755 w 598747"/>
              <a:gd name="csY54" fmla="*/ 195821 h 988745"/>
              <a:gd name="csX55" fmla="*/ 333572 w 598747"/>
              <a:gd name="csY55" fmla="*/ 188536 h 988745"/>
              <a:gd name="csX56" fmla="*/ 322931 w 598747"/>
              <a:gd name="csY56" fmla="*/ 190843 h 988745"/>
              <a:gd name="csX57" fmla="*/ 329041 w 598747"/>
              <a:gd name="csY57" fmla="*/ 203001 h 988745"/>
              <a:gd name="csX58" fmla="*/ 332072 w 598747"/>
              <a:gd name="csY58" fmla="*/ 218143 h 98874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</a:cxnLst>
            <a:rect l="l" t="t" r="r" b="b"/>
            <a:pathLst>
              <a:path w="598747" h="988745">
                <a:moveTo>
                  <a:pt x="512604" y="503918"/>
                </a:moveTo>
                <a:cubicBezTo>
                  <a:pt x="496002" y="501170"/>
                  <a:pt x="483635" y="492907"/>
                  <a:pt x="472435" y="482196"/>
                </a:cubicBezTo>
                <a:cubicBezTo>
                  <a:pt x="459429" y="469758"/>
                  <a:pt x="446467" y="457218"/>
                  <a:pt x="432737" y="445605"/>
                </a:cubicBezTo>
                <a:cubicBezTo>
                  <a:pt x="416514" y="431883"/>
                  <a:pt x="397267" y="425513"/>
                  <a:pt x="375943" y="426178"/>
                </a:cubicBezTo>
                <a:cubicBezTo>
                  <a:pt x="360407" y="426662"/>
                  <a:pt x="344877" y="428180"/>
                  <a:pt x="329354" y="428057"/>
                </a:cubicBezTo>
                <a:cubicBezTo>
                  <a:pt x="310581" y="427907"/>
                  <a:pt x="291752" y="427215"/>
                  <a:pt x="273070" y="425461"/>
                </a:cubicBezTo>
                <a:cubicBezTo>
                  <a:pt x="253636" y="423637"/>
                  <a:pt x="240361" y="411413"/>
                  <a:pt x="230084" y="395825"/>
                </a:cubicBezTo>
                <a:cubicBezTo>
                  <a:pt x="215988" y="374443"/>
                  <a:pt x="207393" y="350530"/>
                  <a:pt x="199097" y="326515"/>
                </a:cubicBezTo>
                <a:cubicBezTo>
                  <a:pt x="197825" y="322833"/>
                  <a:pt x="196473" y="319178"/>
                  <a:pt x="195158" y="315511"/>
                </a:cubicBezTo>
                <a:cubicBezTo>
                  <a:pt x="194276" y="315475"/>
                  <a:pt x="193394" y="315440"/>
                  <a:pt x="192512" y="315405"/>
                </a:cubicBezTo>
                <a:cubicBezTo>
                  <a:pt x="191405" y="317583"/>
                  <a:pt x="189646" y="319659"/>
                  <a:pt x="189288" y="321954"/>
                </a:cubicBezTo>
                <a:cubicBezTo>
                  <a:pt x="182145" y="367836"/>
                  <a:pt x="189209" y="411525"/>
                  <a:pt x="209532" y="453235"/>
                </a:cubicBezTo>
                <a:cubicBezTo>
                  <a:pt x="224908" y="484792"/>
                  <a:pt x="245217" y="512936"/>
                  <a:pt x="268616" y="538863"/>
                </a:cubicBezTo>
                <a:cubicBezTo>
                  <a:pt x="310298" y="585046"/>
                  <a:pt x="352387" y="630861"/>
                  <a:pt x="394191" y="676935"/>
                </a:cubicBezTo>
                <a:cubicBezTo>
                  <a:pt x="424227" y="710039"/>
                  <a:pt x="452698" y="744360"/>
                  <a:pt x="474037" y="783945"/>
                </a:cubicBezTo>
                <a:cubicBezTo>
                  <a:pt x="493795" y="820596"/>
                  <a:pt x="505956" y="859233"/>
                  <a:pt x="503332" y="901469"/>
                </a:cubicBezTo>
                <a:cubicBezTo>
                  <a:pt x="501850" y="925342"/>
                  <a:pt x="495799" y="948239"/>
                  <a:pt x="487993" y="970743"/>
                </a:cubicBezTo>
                <a:cubicBezTo>
                  <a:pt x="486166" y="976009"/>
                  <a:pt x="482772" y="978647"/>
                  <a:pt x="477248" y="979235"/>
                </a:cubicBezTo>
                <a:cubicBezTo>
                  <a:pt x="454890" y="981614"/>
                  <a:pt x="432589" y="985767"/>
                  <a:pt x="410194" y="986326"/>
                </a:cubicBezTo>
                <a:cubicBezTo>
                  <a:pt x="344720" y="987961"/>
                  <a:pt x="279205" y="989128"/>
                  <a:pt x="213720" y="988629"/>
                </a:cubicBezTo>
                <a:cubicBezTo>
                  <a:pt x="171215" y="988306"/>
                  <a:pt x="128736" y="984705"/>
                  <a:pt x="86242" y="982669"/>
                </a:cubicBezTo>
                <a:cubicBezTo>
                  <a:pt x="75776" y="982167"/>
                  <a:pt x="65294" y="982040"/>
                  <a:pt x="53553" y="981705"/>
                </a:cubicBezTo>
                <a:cubicBezTo>
                  <a:pt x="54842" y="978488"/>
                  <a:pt x="55323" y="976556"/>
                  <a:pt x="56311" y="974933"/>
                </a:cubicBezTo>
                <a:cubicBezTo>
                  <a:pt x="71955" y="949229"/>
                  <a:pt x="78103" y="920529"/>
                  <a:pt x="83373" y="891414"/>
                </a:cubicBezTo>
                <a:cubicBezTo>
                  <a:pt x="93411" y="835958"/>
                  <a:pt x="83645" y="782156"/>
                  <a:pt x="69625" y="728925"/>
                </a:cubicBezTo>
                <a:cubicBezTo>
                  <a:pt x="56813" y="680283"/>
                  <a:pt x="42153" y="632130"/>
                  <a:pt x="28713" y="583650"/>
                </a:cubicBezTo>
                <a:cubicBezTo>
                  <a:pt x="17342" y="542631"/>
                  <a:pt x="7760" y="501188"/>
                  <a:pt x="2872" y="458823"/>
                </a:cubicBezTo>
                <a:cubicBezTo>
                  <a:pt x="-5484" y="386401"/>
                  <a:pt x="4005" y="316635"/>
                  <a:pt x="36461" y="250957"/>
                </a:cubicBezTo>
                <a:cubicBezTo>
                  <a:pt x="53137" y="217210"/>
                  <a:pt x="77705" y="189133"/>
                  <a:pt x="105198" y="163584"/>
                </a:cubicBezTo>
                <a:cubicBezTo>
                  <a:pt x="131434" y="139203"/>
                  <a:pt x="160285" y="118551"/>
                  <a:pt x="191800" y="101539"/>
                </a:cubicBezTo>
                <a:cubicBezTo>
                  <a:pt x="202646" y="95684"/>
                  <a:pt x="209856" y="86491"/>
                  <a:pt x="214600" y="75129"/>
                </a:cubicBezTo>
                <a:cubicBezTo>
                  <a:pt x="226474" y="46689"/>
                  <a:pt x="246616" y="24191"/>
                  <a:pt x="268462" y="0"/>
                </a:cubicBezTo>
                <a:cubicBezTo>
                  <a:pt x="269111" y="4997"/>
                  <a:pt x="269706" y="7937"/>
                  <a:pt x="269844" y="10898"/>
                </a:cubicBezTo>
                <a:cubicBezTo>
                  <a:pt x="270760" y="30504"/>
                  <a:pt x="271607" y="50112"/>
                  <a:pt x="272418" y="69722"/>
                </a:cubicBezTo>
                <a:cubicBezTo>
                  <a:pt x="273150" y="87396"/>
                  <a:pt x="281549" y="99401"/>
                  <a:pt x="297658" y="107113"/>
                </a:cubicBezTo>
                <a:cubicBezTo>
                  <a:pt x="317218" y="116476"/>
                  <a:pt x="336170" y="127101"/>
                  <a:pt x="355481" y="136991"/>
                </a:cubicBezTo>
                <a:cubicBezTo>
                  <a:pt x="388645" y="153974"/>
                  <a:pt x="413226" y="179056"/>
                  <a:pt x="430178" y="212396"/>
                </a:cubicBezTo>
                <a:cubicBezTo>
                  <a:pt x="440917" y="233515"/>
                  <a:pt x="453634" y="253647"/>
                  <a:pt x="465840" y="273997"/>
                </a:cubicBezTo>
                <a:cubicBezTo>
                  <a:pt x="482404" y="301613"/>
                  <a:pt x="506102" y="322183"/>
                  <a:pt x="532362" y="340124"/>
                </a:cubicBezTo>
                <a:cubicBezTo>
                  <a:pt x="545881" y="349359"/>
                  <a:pt x="559082" y="359088"/>
                  <a:pt x="572901" y="367845"/>
                </a:cubicBezTo>
                <a:cubicBezTo>
                  <a:pt x="588172" y="377523"/>
                  <a:pt x="597775" y="390733"/>
                  <a:pt x="598436" y="408775"/>
                </a:cubicBezTo>
                <a:cubicBezTo>
                  <a:pt x="598970" y="423381"/>
                  <a:pt x="599120" y="438404"/>
                  <a:pt x="596339" y="452637"/>
                </a:cubicBezTo>
                <a:cubicBezTo>
                  <a:pt x="591789" y="475923"/>
                  <a:pt x="576843" y="486555"/>
                  <a:pt x="552957" y="485233"/>
                </a:cubicBezTo>
                <a:cubicBezTo>
                  <a:pt x="543740" y="484722"/>
                  <a:pt x="534648" y="481613"/>
                  <a:pt x="525548" y="479475"/>
                </a:cubicBezTo>
                <a:cubicBezTo>
                  <a:pt x="522577" y="478776"/>
                  <a:pt x="519764" y="477405"/>
                  <a:pt x="515736" y="475921"/>
                </a:cubicBezTo>
                <a:cubicBezTo>
                  <a:pt x="516318" y="484233"/>
                  <a:pt x="521537" y="487842"/>
                  <a:pt x="525605" y="492048"/>
                </a:cubicBezTo>
                <a:cubicBezTo>
                  <a:pt x="529554" y="496129"/>
                  <a:pt x="533815" y="499907"/>
                  <a:pt x="538873" y="504704"/>
                </a:cubicBezTo>
                <a:cubicBezTo>
                  <a:pt x="529522" y="509277"/>
                  <a:pt x="521553" y="504428"/>
                  <a:pt x="512604" y="503918"/>
                </a:cubicBezTo>
                <a:moveTo>
                  <a:pt x="332072" y="218143"/>
                </a:moveTo>
                <a:cubicBezTo>
                  <a:pt x="332837" y="220898"/>
                  <a:pt x="333478" y="223695"/>
                  <a:pt x="334388" y="226400"/>
                </a:cubicBezTo>
                <a:cubicBezTo>
                  <a:pt x="341073" y="246268"/>
                  <a:pt x="351614" y="254460"/>
                  <a:pt x="372370" y="254505"/>
                </a:cubicBezTo>
                <a:cubicBezTo>
                  <a:pt x="383333" y="254529"/>
                  <a:pt x="394312" y="253121"/>
                  <a:pt x="405258" y="252089"/>
                </a:cubicBezTo>
                <a:cubicBezTo>
                  <a:pt x="409961" y="251646"/>
                  <a:pt x="411340" y="248568"/>
                  <a:pt x="409167" y="244359"/>
                </a:cubicBezTo>
                <a:cubicBezTo>
                  <a:pt x="404885" y="236068"/>
                  <a:pt x="400139" y="227985"/>
                  <a:pt x="396364" y="219471"/>
                </a:cubicBezTo>
                <a:cubicBezTo>
                  <a:pt x="390350" y="205908"/>
                  <a:pt x="379963" y="198663"/>
                  <a:pt x="365755" y="195821"/>
                </a:cubicBezTo>
                <a:cubicBezTo>
                  <a:pt x="354973" y="193665"/>
                  <a:pt x="344291" y="191003"/>
                  <a:pt x="333572" y="188536"/>
                </a:cubicBezTo>
                <a:cubicBezTo>
                  <a:pt x="329511" y="187602"/>
                  <a:pt x="325579" y="187007"/>
                  <a:pt x="322931" y="190843"/>
                </a:cubicBezTo>
                <a:cubicBezTo>
                  <a:pt x="325138" y="195129"/>
                  <a:pt x="327613" y="198884"/>
                  <a:pt x="329041" y="203001"/>
                </a:cubicBezTo>
                <a:cubicBezTo>
                  <a:pt x="330500" y="207204"/>
                  <a:pt x="330929" y="211764"/>
                  <a:pt x="332072" y="218143"/>
                </a:cubicBezTo>
                <a:close/>
              </a:path>
            </a:pathLst>
          </a:custGeom>
          <a:solidFill>
            <a:srgbClr val="FEFEFE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7759" name="Free-form: Shape 7758">
            <a:extLst>
              <a:ext uri="{FF2B5EF4-FFF2-40B4-BE49-F238E27FC236}">
                <a16:creationId xmlns:a16="http://schemas.microsoft.com/office/drawing/2014/main" id="{23B34ED2-3ED1-9C30-2E29-D1978B824E66}"/>
              </a:ext>
            </a:extLst>
          </p:cNvPr>
          <p:cNvSpPr/>
          <p:nvPr/>
        </p:nvSpPr>
        <p:spPr>
          <a:xfrm>
            <a:off x="364671" y="4741294"/>
            <a:ext cx="227289" cy="197739"/>
          </a:xfrm>
          <a:custGeom>
            <a:avLst/>
            <a:gdLst>
              <a:gd name="csX0" fmla="*/ 84645 w 321679"/>
              <a:gd name="csY0" fmla="*/ 279507 h 279857"/>
              <a:gd name="csX1" fmla="*/ 19 w 321679"/>
              <a:gd name="csY1" fmla="*/ 276629 h 279857"/>
              <a:gd name="csX2" fmla="*/ 61 w 321679"/>
              <a:gd name="csY2" fmla="*/ 231376 h 279857"/>
              <a:gd name="csX3" fmla="*/ 925 w 321679"/>
              <a:gd name="csY3" fmla="*/ 219150 h 279857"/>
              <a:gd name="csX4" fmla="*/ 8286 w 321679"/>
              <a:gd name="csY4" fmla="*/ 86910 h 279857"/>
              <a:gd name="csX5" fmla="*/ 11586 w 321679"/>
              <a:gd name="csY5" fmla="*/ 21981 h 279857"/>
              <a:gd name="csX6" fmla="*/ 26655 w 321679"/>
              <a:gd name="csY6" fmla="*/ 7635 h 279857"/>
              <a:gd name="csX7" fmla="*/ 67169 w 321679"/>
              <a:gd name="csY7" fmla="*/ 7178 h 279857"/>
              <a:gd name="csX8" fmla="*/ 201872 w 321679"/>
              <a:gd name="csY8" fmla="*/ 121 h 279857"/>
              <a:gd name="csX9" fmla="*/ 217558 w 321679"/>
              <a:gd name="csY9" fmla="*/ 87 h 279857"/>
              <a:gd name="csX10" fmla="*/ 214854 w 321679"/>
              <a:gd name="csY10" fmla="*/ 22019 h 279857"/>
              <a:gd name="csX11" fmla="*/ 235301 w 321679"/>
              <a:gd name="csY11" fmla="*/ 104861 h 279857"/>
              <a:gd name="csX12" fmla="*/ 269832 w 321679"/>
              <a:gd name="csY12" fmla="*/ 144587 h 279857"/>
              <a:gd name="csX13" fmla="*/ 299912 w 321679"/>
              <a:gd name="csY13" fmla="*/ 176874 h 279857"/>
              <a:gd name="csX14" fmla="*/ 320491 w 321679"/>
              <a:gd name="csY14" fmla="*/ 256903 h 279857"/>
              <a:gd name="csX15" fmla="*/ 255607 w 321679"/>
              <a:gd name="csY15" fmla="*/ 264918 h 279857"/>
              <a:gd name="csX16" fmla="*/ 172672 w 321679"/>
              <a:gd name="csY16" fmla="*/ 273435 h 279857"/>
              <a:gd name="csX17" fmla="*/ 133595 w 321679"/>
              <a:gd name="csY17" fmla="*/ 276823 h 279857"/>
              <a:gd name="csX18" fmla="*/ 84645 w 321679"/>
              <a:gd name="csY18" fmla="*/ 279507 h 27985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</a:cxnLst>
            <a:rect l="l" t="t" r="r" b="b"/>
            <a:pathLst>
              <a:path w="321679" h="279857">
                <a:moveTo>
                  <a:pt x="84645" y="279507"/>
                </a:moveTo>
                <a:cubicBezTo>
                  <a:pt x="55716" y="279830"/>
                  <a:pt x="27945" y="280875"/>
                  <a:pt x="19" y="276629"/>
                </a:cubicBezTo>
                <a:cubicBezTo>
                  <a:pt x="19" y="261343"/>
                  <a:pt x="-45" y="246359"/>
                  <a:pt x="61" y="231376"/>
                </a:cubicBezTo>
                <a:cubicBezTo>
                  <a:pt x="90" y="227299"/>
                  <a:pt x="696" y="223229"/>
                  <a:pt x="925" y="219150"/>
                </a:cubicBezTo>
                <a:cubicBezTo>
                  <a:pt x="3396" y="175071"/>
                  <a:pt x="5876" y="130992"/>
                  <a:pt x="8286" y="86910"/>
                </a:cubicBezTo>
                <a:cubicBezTo>
                  <a:pt x="9469" y="65271"/>
                  <a:pt x="10613" y="43630"/>
                  <a:pt x="11586" y="21981"/>
                </a:cubicBezTo>
                <a:cubicBezTo>
                  <a:pt x="12199" y="8328"/>
                  <a:pt x="12576" y="7792"/>
                  <a:pt x="26655" y="7635"/>
                </a:cubicBezTo>
                <a:cubicBezTo>
                  <a:pt x="40161" y="7484"/>
                  <a:pt x="53689" y="7831"/>
                  <a:pt x="67169" y="7178"/>
                </a:cubicBezTo>
                <a:cubicBezTo>
                  <a:pt x="112079" y="5004"/>
                  <a:pt x="156970" y="2455"/>
                  <a:pt x="201872" y="121"/>
                </a:cubicBezTo>
                <a:cubicBezTo>
                  <a:pt x="206690" y="-130"/>
                  <a:pt x="211533" y="87"/>
                  <a:pt x="217558" y="87"/>
                </a:cubicBezTo>
                <a:cubicBezTo>
                  <a:pt x="216603" y="7811"/>
                  <a:pt x="215688" y="14910"/>
                  <a:pt x="214854" y="22019"/>
                </a:cubicBezTo>
                <a:cubicBezTo>
                  <a:pt x="211318" y="52185"/>
                  <a:pt x="219749" y="79345"/>
                  <a:pt x="235301" y="104861"/>
                </a:cubicBezTo>
                <a:cubicBezTo>
                  <a:pt x="244591" y="120102"/>
                  <a:pt x="257536" y="132012"/>
                  <a:pt x="269832" y="144587"/>
                </a:cubicBezTo>
                <a:cubicBezTo>
                  <a:pt x="280116" y="155103"/>
                  <a:pt x="290551" y="165559"/>
                  <a:pt x="299912" y="176874"/>
                </a:cubicBezTo>
                <a:cubicBezTo>
                  <a:pt x="319006" y="199953"/>
                  <a:pt x="324386" y="226827"/>
                  <a:pt x="320491" y="256903"/>
                </a:cubicBezTo>
                <a:cubicBezTo>
                  <a:pt x="298421" y="259649"/>
                  <a:pt x="277043" y="262541"/>
                  <a:pt x="255607" y="264918"/>
                </a:cubicBezTo>
                <a:cubicBezTo>
                  <a:pt x="227987" y="267981"/>
                  <a:pt x="200327" y="270692"/>
                  <a:pt x="172672" y="273435"/>
                </a:cubicBezTo>
                <a:cubicBezTo>
                  <a:pt x="159662" y="274725"/>
                  <a:pt x="146637" y="275935"/>
                  <a:pt x="133595" y="276823"/>
                </a:cubicBezTo>
                <a:cubicBezTo>
                  <a:pt x="117688" y="277907"/>
                  <a:pt x="101755" y="278616"/>
                  <a:pt x="84645" y="279507"/>
                </a:cubicBezTo>
                <a:close/>
              </a:path>
            </a:pathLst>
          </a:custGeom>
          <a:solidFill>
            <a:srgbClr val="FDFEFE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7760" name="Free-form: Shape 7759">
            <a:extLst>
              <a:ext uri="{FF2B5EF4-FFF2-40B4-BE49-F238E27FC236}">
                <a16:creationId xmlns:a16="http://schemas.microsoft.com/office/drawing/2014/main" id="{46F0E0A0-A916-A42C-5A44-9B8F06DF1D82}"/>
              </a:ext>
            </a:extLst>
          </p:cNvPr>
          <p:cNvSpPr/>
          <p:nvPr/>
        </p:nvSpPr>
        <p:spPr>
          <a:xfrm>
            <a:off x="364584" y="4959460"/>
            <a:ext cx="241722" cy="55517"/>
          </a:xfrm>
          <a:custGeom>
            <a:avLst/>
            <a:gdLst>
              <a:gd name="csX0" fmla="*/ 270798 w 342106"/>
              <a:gd name="csY0" fmla="*/ 65953 h 78573"/>
              <a:gd name="csX1" fmla="*/ 183290 w 342106"/>
              <a:gd name="csY1" fmla="*/ 76017 h 78573"/>
              <a:gd name="csX2" fmla="*/ 72897 w 342106"/>
              <a:gd name="csY2" fmla="*/ 78565 h 78573"/>
              <a:gd name="csX3" fmla="*/ 5450 w 342106"/>
              <a:gd name="csY3" fmla="*/ 76564 h 78573"/>
              <a:gd name="csX4" fmla="*/ 0 w 342106"/>
              <a:gd name="csY4" fmla="*/ 75649 h 78573"/>
              <a:gd name="csX5" fmla="*/ 0 w 342106"/>
              <a:gd name="csY5" fmla="*/ 21324 h 78573"/>
              <a:gd name="csX6" fmla="*/ 8504 w 342106"/>
              <a:gd name="csY6" fmla="*/ 20688 h 78573"/>
              <a:gd name="csX7" fmla="*/ 98126 w 342106"/>
              <a:gd name="csY7" fmla="*/ 19655 h 78573"/>
              <a:gd name="csX8" fmla="*/ 221639 w 342106"/>
              <a:gd name="csY8" fmla="*/ 10929 h 78573"/>
              <a:gd name="csX9" fmla="*/ 304285 w 342106"/>
              <a:gd name="csY9" fmla="*/ 683 h 78573"/>
              <a:gd name="csX10" fmla="*/ 309173 w 342106"/>
              <a:gd name="csY10" fmla="*/ 212 h 78573"/>
              <a:gd name="csX11" fmla="*/ 335187 w 342106"/>
              <a:gd name="csY11" fmla="*/ 18545 h 78573"/>
              <a:gd name="csX12" fmla="*/ 342106 w 342106"/>
              <a:gd name="csY12" fmla="*/ 53602 h 78573"/>
              <a:gd name="csX13" fmla="*/ 270798 w 342106"/>
              <a:gd name="csY13" fmla="*/ 65953 h 7857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</a:cxnLst>
            <a:rect l="l" t="t" r="r" b="b"/>
            <a:pathLst>
              <a:path w="342106" h="78573">
                <a:moveTo>
                  <a:pt x="270798" y="65953"/>
                </a:moveTo>
                <a:cubicBezTo>
                  <a:pt x="240931" y="69594"/>
                  <a:pt x="212199" y="74306"/>
                  <a:pt x="183290" y="76017"/>
                </a:cubicBezTo>
                <a:cubicBezTo>
                  <a:pt x="146568" y="78191"/>
                  <a:pt x="109704" y="78349"/>
                  <a:pt x="72897" y="78565"/>
                </a:cubicBezTo>
                <a:cubicBezTo>
                  <a:pt x="50419" y="78697"/>
                  <a:pt x="27931" y="77315"/>
                  <a:pt x="5450" y="76564"/>
                </a:cubicBezTo>
                <a:cubicBezTo>
                  <a:pt x="3884" y="76512"/>
                  <a:pt x="2332" y="76053"/>
                  <a:pt x="0" y="75649"/>
                </a:cubicBezTo>
                <a:cubicBezTo>
                  <a:pt x="0" y="57619"/>
                  <a:pt x="0" y="39863"/>
                  <a:pt x="0" y="21324"/>
                </a:cubicBezTo>
                <a:cubicBezTo>
                  <a:pt x="3058" y="21086"/>
                  <a:pt x="5779" y="20715"/>
                  <a:pt x="8504" y="20688"/>
                </a:cubicBezTo>
                <a:cubicBezTo>
                  <a:pt x="38382" y="20390"/>
                  <a:pt x="68305" y="21101"/>
                  <a:pt x="98126" y="19655"/>
                </a:cubicBezTo>
                <a:cubicBezTo>
                  <a:pt x="139343" y="17657"/>
                  <a:pt x="180532" y="14597"/>
                  <a:pt x="221639" y="10929"/>
                </a:cubicBezTo>
                <a:cubicBezTo>
                  <a:pt x="249272" y="8463"/>
                  <a:pt x="276741" y="4156"/>
                  <a:pt x="304285" y="683"/>
                </a:cubicBezTo>
                <a:cubicBezTo>
                  <a:pt x="305908" y="478"/>
                  <a:pt x="307539" y="312"/>
                  <a:pt x="309173" y="212"/>
                </a:cubicBezTo>
                <a:cubicBezTo>
                  <a:pt x="326863" y="-867"/>
                  <a:pt x="330972" y="1719"/>
                  <a:pt x="335187" y="18545"/>
                </a:cubicBezTo>
                <a:cubicBezTo>
                  <a:pt x="337939" y="29526"/>
                  <a:pt x="339618" y="40777"/>
                  <a:pt x="342106" y="53602"/>
                </a:cubicBezTo>
                <a:cubicBezTo>
                  <a:pt x="317523" y="57833"/>
                  <a:pt x="294689" y="61762"/>
                  <a:pt x="270798" y="65953"/>
                </a:cubicBezTo>
                <a:close/>
              </a:path>
            </a:pathLst>
          </a:custGeom>
          <a:solidFill>
            <a:srgbClr val="FCFCFC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7761" name="Free-form: Shape 7760">
            <a:extLst>
              <a:ext uri="{FF2B5EF4-FFF2-40B4-BE49-F238E27FC236}">
                <a16:creationId xmlns:a16="http://schemas.microsoft.com/office/drawing/2014/main" id="{A5538214-EFA0-D29F-C64F-8D3354B13C8A}"/>
              </a:ext>
            </a:extLst>
          </p:cNvPr>
          <p:cNvSpPr/>
          <p:nvPr/>
        </p:nvSpPr>
        <p:spPr>
          <a:xfrm>
            <a:off x="422147" y="4145265"/>
            <a:ext cx="61640" cy="47104"/>
          </a:xfrm>
          <a:custGeom>
            <a:avLst/>
            <a:gdLst>
              <a:gd name="csX0" fmla="*/ 9010 w 87239"/>
              <a:gd name="csY0" fmla="*/ 29316 h 66665"/>
              <a:gd name="csX1" fmla="*/ 6110 w 87239"/>
              <a:gd name="csY1" fmla="*/ 15162 h 66665"/>
              <a:gd name="csX2" fmla="*/ 0 w 87239"/>
              <a:gd name="csY2" fmla="*/ 3003 h 66665"/>
              <a:gd name="csX3" fmla="*/ 10641 w 87239"/>
              <a:gd name="csY3" fmla="*/ 697 h 66665"/>
              <a:gd name="csX4" fmla="*/ 42824 w 87239"/>
              <a:gd name="csY4" fmla="*/ 7981 h 66665"/>
              <a:gd name="csX5" fmla="*/ 73433 w 87239"/>
              <a:gd name="csY5" fmla="*/ 31631 h 66665"/>
              <a:gd name="csX6" fmla="*/ 86236 w 87239"/>
              <a:gd name="csY6" fmla="*/ 56519 h 66665"/>
              <a:gd name="csX7" fmla="*/ 82327 w 87239"/>
              <a:gd name="csY7" fmla="*/ 64249 h 66665"/>
              <a:gd name="csX8" fmla="*/ 49439 w 87239"/>
              <a:gd name="csY8" fmla="*/ 66665 h 66665"/>
              <a:gd name="csX9" fmla="*/ 11457 w 87239"/>
              <a:gd name="csY9" fmla="*/ 38560 h 66665"/>
              <a:gd name="csX10" fmla="*/ 9010 w 87239"/>
              <a:gd name="csY10" fmla="*/ 29316 h 6666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</a:cxnLst>
            <a:rect l="l" t="t" r="r" b="b"/>
            <a:pathLst>
              <a:path w="87239" h="66665">
                <a:moveTo>
                  <a:pt x="9010" y="29316"/>
                </a:moveTo>
                <a:cubicBezTo>
                  <a:pt x="7998" y="23924"/>
                  <a:pt x="7568" y="19365"/>
                  <a:pt x="6110" y="15162"/>
                </a:cubicBezTo>
                <a:cubicBezTo>
                  <a:pt x="4682" y="11044"/>
                  <a:pt x="2207" y="7289"/>
                  <a:pt x="0" y="3003"/>
                </a:cubicBezTo>
                <a:cubicBezTo>
                  <a:pt x="2648" y="-833"/>
                  <a:pt x="6580" y="-238"/>
                  <a:pt x="10641" y="697"/>
                </a:cubicBezTo>
                <a:cubicBezTo>
                  <a:pt x="21360" y="3163"/>
                  <a:pt x="32042" y="5825"/>
                  <a:pt x="42824" y="7981"/>
                </a:cubicBezTo>
                <a:cubicBezTo>
                  <a:pt x="57032" y="10823"/>
                  <a:pt x="67419" y="18068"/>
                  <a:pt x="73433" y="31631"/>
                </a:cubicBezTo>
                <a:cubicBezTo>
                  <a:pt x="77208" y="40146"/>
                  <a:pt x="81954" y="48228"/>
                  <a:pt x="86236" y="56519"/>
                </a:cubicBezTo>
                <a:cubicBezTo>
                  <a:pt x="88409" y="60728"/>
                  <a:pt x="87030" y="63806"/>
                  <a:pt x="82327" y="64249"/>
                </a:cubicBezTo>
                <a:cubicBezTo>
                  <a:pt x="71381" y="65282"/>
                  <a:pt x="60402" y="66689"/>
                  <a:pt x="49439" y="66665"/>
                </a:cubicBezTo>
                <a:cubicBezTo>
                  <a:pt x="28683" y="66620"/>
                  <a:pt x="18142" y="58428"/>
                  <a:pt x="11457" y="38560"/>
                </a:cubicBezTo>
                <a:cubicBezTo>
                  <a:pt x="10547" y="35855"/>
                  <a:pt x="9906" y="33058"/>
                  <a:pt x="9010" y="29316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7781" name="Oval 7780">
            <a:extLst>
              <a:ext uri="{FF2B5EF4-FFF2-40B4-BE49-F238E27FC236}">
                <a16:creationId xmlns:a16="http://schemas.microsoft.com/office/drawing/2014/main" id="{578BD55D-37D2-437B-2FA1-D42B1CE66CAD}"/>
              </a:ext>
            </a:extLst>
          </p:cNvPr>
          <p:cNvSpPr/>
          <p:nvPr/>
        </p:nvSpPr>
        <p:spPr>
          <a:xfrm>
            <a:off x="1407710" y="4709063"/>
            <a:ext cx="611536" cy="167408"/>
          </a:xfrm>
          <a:prstGeom prst="ellipse">
            <a:avLst/>
          </a:prstGeom>
          <a:solidFill>
            <a:schemeClr val="tx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7783" name="Free-form: Shape 7782">
            <a:extLst>
              <a:ext uri="{FF2B5EF4-FFF2-40B4-BE49-F238E27FC236}">
                <a16:creationId xmlns:a16="http://schemas.microsoft.com/office/drawing/2014/main" id="{A3AC2CA6-713E-48BE-526C-2C3BF8C57B73}"/>
              </a:ext>
            </a:extLst>
          </p:cNvPr>
          <p:cNvSpPr/>
          <p:nvPr/>
        </p:nvSpPr>
        <p:spPr>
          <a:xfrm>
            <a:off x="1464345" y="3868208"/>
            <a:ext cx="491638" cy="965285"/>
          </a:xfrm>
          <a:custGeom>
            <a:avLst/>
            <a:gdLst>
              <a:gd name="csX0" fmla="*/ 576414 w 768725"/>
              <a:gd name="csY0" fmla="*/ 893042 h 1509319"/>
              <a:gd name="csX1" fmla="*/ 613047 w 768725"/>
              <a:gd name="csY1" fmla="*/ 1059329 h 1509319"/>
              <a:gd name="csX2" fmla="*/ 623337 w 768725"/>
              <a:gd name="csY2" fmla="*/ 1071825 h 1509319"/>
              <a:gd name="csX3" fmla="*/ 639863 w 768725"/>
              <a:gd name="csY3" fmla="*/ 1079946 h 1509319"/>
              <a:gd name="csX4" fmla="*/ 652266 w 768725"/>
              <a:gd name="csY4" fmla="*/ 1109045 h 1509319"/>
              <a:gd name="csX5" fmla="*/ 645501 w 768725"/>
              <a:gd name="csY5" fmla="*/ 1127466 h 1509319"/>
              <a:gd name="csX6" fmla="*/ 645547 w 768725"/>
              <a:gd name="csY6" fmla="*/ 1144138 h 1509319"/>
              <a:gd name="csX7" fmla="*/ 664589 w 768725"/>
              <a:gd name="csY7" fmla="*/ 1175322 h 1509319"/>
              <a:gd name="csX8" fmla="*/ 712015 w 768725"/>
              <a:gd name="csY8" fmla="*/ 1225118 h 1509319"/>
              <a:gd name="csX9" fmla="*/ 744465 w 768725"/>
              <a:gd name="csY9" fmla="*/ 1300385 h 1509319"/>
              <a:gd name="csX10" fmla="*/ 743270 w 768725"/>
              <a:gd name="csY10" fmla="*/ 1350524 h 1509319"/>
              <a:gd name="csX11" fmla="*/ 745429 w 768725"/>
              <a:gd name="csY11" fmla="*/ 1363274 h 1509319"/>
              <a:gd name="csX12" fmla="*/ 768672 w 768725"/>
              <a:gd name="csY12" fmla="*/ 1456512 h 1509319"/>
              <a:gd name="csX13" fmla="*/ 758521 w 768725"/>
              <a:gd name="csY13" fmla="*/ 1472434 h 1509319"/>
              <a:gd name="csX14" fmla="*/ 730455 w 768725"/>
              <a:gd name="csY14" fmla="*/ 1481228 h 1509319"/>
              <a:gd name="csX15" fmla="*/ 594867 w 768725"/>
              <a:gd name="csY15" fmla="*/ 1502210 h 1509319"/>
              <a:gd name="csX16" fmla="*/ 320018 w 768725"/>
              <a:gd name="csY16" fmla="*/ 1508300 h 1509319"/>
              <a:gd name="csX17" fmla="*/ 186464 w 768725"/>
              <a:gd name="csY17" fmla="*/ 1501258 h 1509319"/>
              <a:gd name="csX18" fmla="*/ 26582 w 768725"/>
              <a:gd name="csY18" fmla="*/ 1477021 h 1509319"/>
              <a:gd name="csX19" fmla="*/ 3929 w 768725"/>
              <a:gd name="csY19" fmla="*/ 1465652 h 1509319"/>
              <a:gd name="csX20" fmla="*/ 18 w 768725"/>
              <a:gd name="csY20" fmla="*/ 1456203 h 1509319"/>
              <a:gd name="csX21" fmla="*/ 4393 w 768725"/>
              <a:gd name="csY21" fmla="*/ 1417235 h 1509319"/>
              <a:gd name="csX22" fmla="*/ 19158 w 768725"/>
              <a:gd name="csY22" fmla="*/ 1370678 h 1509319"/>
              <a:gd name="csX23" fmla="*/ 23255 w 768725"/>
              <a:gd name="csY23" fmla="*/ 1342388 h 1509319"/>
              <a:gd name="csX24" fmla="*/ 38705 w 768725"/>
              <a:gd name="csY24" fmla="*/ 1247261 h 1509319"/>
              <a:gd name="csX25" fmla="*/ 58454 w 768725"/>
              <a:gd name="csY25" fmla="*/ 1220807 h 1509319"/>
              <a:gd name="csX26" fmla="*/ 103638 w 768725"/>
              <a:gd name="csY26" fmla="*/ 1175667 h 1509319"/>
              <a:gd name="csX27" fmla="*/ 122996 w 768725"/>
              <a:gd name="csY27" fmla="*/ 1146131 h 1509319"/>
              <a:gd name="csX28" fmla="*/ 122689 w 768725"/>
              <a:gd name="csY28" fmla="*/ 1128316 h 1509319"/>
              <a:gd name="csX29" fmla="*/ 116576 w 768725"/>
              <a:gd name="csY29" fmla="*/ 1113575 h 1509319"/>
              <a:gd name="csX30" fmla="*/ 127479 w 768725"/>
              <a:gd name="csY30" fmla="*/ 1081076 h 1509319"/>
              <a:gd name="csX31" fmla="*/ 137480 w 768725"/>
              <a:gd name="csY31" fmla="*/ 1076482 h 1509319"/>
              <a:gd name="csX32" fmla="*/ 157312 w 768725"/>
              <a:gd name="csY32" fmla="*/ 1053855 h 1509319"/>
              <a:gd name="csX33" fmla="*/ 178876 w 768725"/>
              <a:gd name="csY33" fmla="*/ 958120 h 1509319"/>
              <a:gd name="csX34" fmla="*/ 210165 w 768725"/>
              <a:gd name="csY34" fmla="*/ 781849 h 1509319"/>
              <a:gd name="csX35" fmla="*/ 223295 w 768725"/>
              <a:gd name="csY35" fmla="*/ 674755 h 1509319"/>
              <a:gd name="csX36" fmla="*/ 231121 w 768725"/>
              <a:gd name="csY36" fmla="*/ 564636 h 1509319"/>
              <a:gd name="csX37" fmla="*/ 235173 w 768725"/>
              <a:gd name="csY37" fmla="*/ 453038 h 1509319"/>
              <a:gd name="csX38" fmla="*/ 235001 w 768725"/>
              <a:gd name="csY38" fmla="*/ 443215 h 1509319"/>
              <a:gd name="csX39" fmla="*/ 224321 w 768725"/>
              <a:gd name="csY39" fmla="*/ 428479 h 1509319"/>
              <a:gd name="csX40" fmla="*/ 204712 w 768725"/>
              <a:gd name="csY40" fmla="*/ 418450 h 1509319"/>
              <a:gd name="csX41" fmla="*/ 184069 w 768725"/>
              <a:gd name="csY41" fmla="*/ 366060 h 1509319"/>
              <a:gd name="csX42" fmla="*/ 206519 w 768725"/>
              <a:gd name="csY42" fmla="*/ 338181 h 1509319"/>
              <a:gd name="csX43" fmla="*/ 226643 w 768725"/>
              <a:gd name="csY43" fmla="*/ 329113 h 1509319"/>
              <a:gd name="csX44" fmla="*/ 232085 w 768725"/>
              <a:gd name="csY44" fmla="*/ 311135 h 1509319"/>
              <a:gd name="csX45" fmla="*/ 221280 w 768725"/>
              <a:gd name="csY45" fmla="*/ 299552 h 1509319"/>
              <a:gd name="csX46" fmla="*/ 173478 w 768725"/>
              <a:gd name="csY46" fmla="*/ 230303 h 1509319"/>
              <a:gd name="csX47" fmla="*/ 141864 w 768725"/>
              <a:gd name="csY47" fmla="*/ 95780 h 1509319"/>
              <a:gd name="csX48" fmla="*/ 137158 w 768725"/>
              <a:gd name="csY48" fmla="*/ 37107 h 1509319"/>
              <a:gd name="csX49" fmla="*/ 148750 w 768725"/>
              <a:gd name="csY49" fmla="*/ 22335 h 1509319"/>
              <a:gd name="csX50" fmla="*/ 236982 w 768725"/>
              <a:gd name="csY50" fmla="*/ 7640 h 1509319"/>
              <a:gd name="csX51" fmla="*/ 246862 w 768725"/>
              <a:gd name="csY51" fmla="*/ 7580 h 1509319"/>
              <a:gd name="csX52" fmla="*/ 261473 w 768725"/>
              <a:gd name="csY52" fmla="*/ 86763 h 1509319"/>
              <a:gd name="csX53" fmla="*/ 306246 w 768725"/>
              <a:gd name="csY53" fmla="*/ 83559 h 1509319"/>
              <a:gd name="csX54" fmla="*/ 306960 w 768725"/>
              <a:gd name="csY54" fmla="*/ 71087 h 1509319"/>
              <a:gd name="csX55" fmla="*/ 306724 w 768725"/>
              <a:gd name="csY55" fmla="*/ 19491 h 1509319"/>
              <a:gd name="csX56" fmla="*/ 319581 w 768725"/>
              <a:gd name="csY56" fmla="*/ 4733 h 1509319"/>
              <a:gd name="csX57" fmla="*/ 430956 w 768725"/>
              <a:gd name="csY57" fmla="*/ 2070 h 1509319"/>
              <a:gd name="csX58" fmla="*/ 437066 w 768725"/>
              <a:gd name="csY58" fmla="*/ 2646 h 1509319"/>
              <a:gd name="csX59" fmla="*/ 460335 w 768725"/>
              <a:gd name="csY59" fmla="*/ 24205 h 1509319"/>
              <a:gd name="csX60" fmla="*/ 463579 w 768725"/>
              <a:gd name="csY60" fmla="*/ 62081 h 1509319"/>
              <a:gd name="csX61" fmla="*/ 463652 w 768725"/>
              <a:gd name="csY61" fmla="*/ 82953 h 1509319"/>
              <a:gd name="csX62" fmla="*/ 507205 w 768725"/>
              <a:gd name="csY62" fmla="*/ 85553 h 1509319"/>
              <a:gd name="csX63" fmla="*/ 513271 w 768725"/>
              <a:gd name="csY63" fmla="*/ 61890 h 1509319"/>
              <a:gd name="csX64" fmla="*/ 520203 w 768725"/>
              <a:gd name="csY64" fmla="*/ 18323 h 1509319"/>
              <a:gd name="csX65" fmla="*/ 534008 w 768725"/>
              <a:gd name="csY65" fmla="*/ 7785 h 1509319"/>
              <a:gd name="csX66" fmla="*/ 595925 w 768725"/>
              <a:gd name="csY66" fmla="*/ 16407 h 1509319"/>
              <a:gd name="csX67" fmla="*/ 619972 w 768725"/>
              <a:gd name="csY67" fmla="*/ 21156 h 1509319"/>
              <a:gd name="csX68" fmla="*/ 631161 w 768725"/>
              <a:gd name="csY68" fmla="*/ 36134 h 1509319"/>
              <a:gd name="csX69" fmla="*/ 628140 w 768725"/>
              <a:gd name="csY69" fmla="*/ 85104 h 1509319"/>
              <a:gd name="csX70" fmla="*/ 613954 w 768725"/>
              <a:gd name="csY70" fmla="*/ 179618 h 1509319"/>
              <a:gd name="csX71" fmla="*/ 586196 w 768725"/>
              <a:gd name="csY71" fmla="*/ 256886 h 1509319"/>
              <a:gd name="csX72" fmla="*/ 554619 w 768725"/>
              <a:gd name="csY72" fmla="*/ 295312 h 1509319"/>
              <a:gd name="csX73" fmla="*/ 538601 w 768725"/>
              <a:gd name="csY73" fmla="*/ 315001 h 1509319"/>
              <a:gd name="csX74" fmla="*/ 542630 w 768725"/>
              <a:gd name="csY74" fmla="*/ 326199 h 1509319"/>
              <a:gd name="csX75" fmla="*/ 560240 w 768725"/>
              <a:gd name="csY75" fmla="*/ 334912 h 1509319"/>
              <a:gd name="csX76" fmla="*/ 586933 w 768725"/>
              <a:gd name="csY76" fmla="*/ 371800 h 1509319"/>
              <a:gd name="csX77" fmla="*/ 563039 w 768725"/>
              <a:gd name="csY77" fmla="*/ 418184 h 1509319"/>
              <a:gd name="csX78" fmla="*/ 545522 w 768725"/>
              <a:gd name="csY78" fmla="*/ 427008 h 1509319"/>
              <a:gd name="csX79" fmla="*/ 535507 w 768725"/>
              <a:gd name="csY79" fmla="*/ 440667 h 1509319"/>
              <a:gd name="csX80" fmla="*/ 536723 w 768725"/>
              <a:gd name="csY80" fmla="*/ 537651 h 1509319"/>
              <a:gd name="csX81" fmla="*/ 539820 w 768725"/>
              <a:gd name="csY81" fmla="*/ 595237 h 1509319"/>
              <a:gd name="csX82" fmla="*/ 553105 w 768725"/>
              <a:gd name="csY82" fmla="*/ 746727 h 1509319"/>
              <a:gd name="csX83" fmla="*/ 576414 w 768725"/>
              <a:gd name="csY83" fmla="*/ 893042 h 1509319"/>
              <a:gd name="csX84" fmla="*/ 500356 w 768725"/>
              <a:gd name="csY84" fmla="*/ 473996 h 1509319"/>
              <a:gd name="csX85" fmla="*/ 499749 w 768725"/>
              <a:gd name="csY85" fmla="*/ 463598 h 1509319"/>
              <a:gd name="csX86" fmla="*/ 392525 w 768725"/>
              <a:gd name="csY86" fmla="*/ 471627 h 1509319"/>
              <a:gd name="csX87" fmla="*/ 392518 w 768725"/>
              <a:gd name="csY87" fmla="*/ 482742 h 1509319"/>
              <a:gd name="csX88" fmla="*/ 390814 w 768725"/>
              <a:gd name="csY88" fmla="*/ 596913 h 1509319"/>
              <a:gd name="csX89" fmla="*/ 385953 w 768725"/>
              <a:gd name="csY89" fmla="*/ 788374 h 1509319"/>
              <a:gd name="csX90" fmla="*/ 383485 w 768725"/>
              <a:gd name="csY90" fmla="*/ 884103 h 1509319"/>
              <a:gd name="csX91" fmla="*/ 380173 w 768725"/>
              <a:gd name="csY91" fmla="*/ 1035109 h 1509319"/>
              <a:gd name="csX92" fmla="*/ 378826 w 768725"/>
              <a:gd name="csY92" fmla="*/ 1068199 h 1509319"/>
              <a:gd name="csX93" fmla="*/ 380180 w 768725"/>
              <a:gd name="csY93" fmla="*/ 1074648 h 1509319"/>
              <a:gd name="csX94" fmla="*/ 446854 w 768725"/>
              <a:gd name="csY94" fmla="*/ 1074654 h 1509319"/>
              <a:gd name="csX95" fmla="*/ 513191 w 768725"/>
              <a:gd name="csY95" fmla="*/ 1074731 h 1509319"/>
              <a:gd name="csX96" fmla="*/ 580317 w 768725"/>
              <a:gd name="csY96" fmla="*/ 1075095 h 1509319"/>
              <a:gd name="csX97" fmla="*/ 500356 w 768725"/>
              <a:gd name="csY97" fmla="*/ 473996 h 1509319"/>
              <a:gd name="csX98" fmla="*/ 459731 w 768725"/>
              <a:gd name="csY98" fmla="*/ 1135086 h 1509319"/>
              <a:gd name="csX99" fmla="*/ 383756 w 768725"/>
              <a:gd name="csY99" fmla="*/ 1135086 h 1509319"/>
              <a:gd name="csX100" fmla="*/ 387612 w 768725"/>
              <a:gd name="csY100" fmla="*/ 1242590 h 1509319"/>
              <a:gd name="csX101" fmla="*/ 383907 w 768725"/>
              <a:gd name="csY101" fmla="*/ 1351330 h 1509319"/>
              <a:gd name="csX102" fmla="*/ 707112 w 768725"/>
              <a:gd name="csY102" fmla="*/ 1330559 h 1509319"/>
              <a:gd name="csX103" fmla="*/ 686366 w 768725"/>
              <a:gd name="csY103" fmla="*/ 1251637 h 1509319"/>
              <a:gd name="csX104" fmla="*/ 639403 w 768725"/>
              <a:gd name="csY104" fmla="*/ 1199952 h 1509319"/>
              <a:gd name="csX105" fmla="*/ 606292 w 768725"/>
              <a:gd name="csY105" fmla="*/ 1135508 h 1509319"/>
              <a:gd name="csX106" fmla="*/ 602971 w 768725"/>
              <a:gd name="csY106" fmla="*/ 1123400 h 1509319"/>
              <a:gd name="csX107" fmla="*/ 591474 w 768725"/>
              <a:gd name="csY107" fmla="*/ 1124633 h 1509319"/>
              <a:gd name="csX108" fmla="*/ 530551 w 768725"/>
              <a:gd name="csY108" fmla="*/ 1130880 h 1509319"/>
              <a:gd name="csX109" fmla="*/ 459731 w 768725"/>
              <a:gd name="csY109" fmla="*/ 1135086 h 1509319"/>
              <a:gd name="csX110" fmla="*/ 469505 w 768725"/>
              <a:gd name="csY110" fmla="*/ 116252 h 1509319"/>
              <a:gd name="csX111" fmla="*/ 443782 w 768725"/>
              <a:gd name="csY111" fmla="*/ 114911 h 1509319"/>
              <a:gd name="csX112" fmla="*/ 430007 w 768725"/>
              <a:gd name="csY112" fmla="*/ 99878 h 1509319"/>
              <a:gd name="csX113" fmla="*/ 429331 w 768725"/>
              <a:gd name="csY113" fmla="*/ 69197 h 1509319"/>
              <a:gd name="csX114" fmla="*/ 426333 w 768725"/>
              <a:gd name="csY114" fmla="*/ 34606 h 1509319"/>
              <a:gd name="csX115" fmla="*/ 377548 w 768725"/>
              <a:gd name="csY115" fmla="*/ 34613 h 1509319"/>
              <a:gd name="csX116" fmla="*/ 368004 w 768725"/>
              <a:gd name="csY116" fmla="*/ 44529 h 1509319"/>
              <a:gd name="csX117" fmla="*/ 366185 w 768725"/>
              <a:gd name="csY117" fmla="*/ 76343 h 1509319"/>
              <a:gd name="csX118" fmla="*/ 379384 w 768725"/>
              <a:gd name="csY118" fmla="*/ 206619 h 1509319"/>
              <a:gd name="csX119" fmla="*/ 390997 w 768725"/>
              <a:gd name="csY119" fmla="*/ 277965 h 1509319"/>
              <a:gd name="csX120" fmla="*/ 394040 w 768725"/>
              <a:gd name="csY120" fmla="*/ 305053 h 1509319"/>
              <a:gd name="csX121" fmla="*/ 501758 w 768725"/>
              <a:gd name="csY121" fmla="*/ 304814 h 1509319"/>
              <a:gd name="csX122" fmla="*/ 510340 w 768725"/>
              <a:gd name="csY122" fmla="*/ 299427 h 1509319"/>
              <a:gd name="csX123" fmla="*/ 526940 w 768725"/>
              <a:gd name="csY123" fmla="*/ 279822 h 1509319"/>
              <a:gd name="csX124" fmla="*/ 576920 w 768725"/>
              <a:gd name="csY124" fmla="*/ 192342 h 1509319"/>
              <a:gd name="csX125" fmla="*/ 594042 w 768725"/>
              <a:gd name="csY125" fmla="*/ 74918 h 1509319"/>
              <a:gd name="csX126" fmla="*/ 594159 w 768725"/>
              <a:gd name="csY126" fmla="*/ 49195 h 1509319"/>
              <a:gd name="csX127" fmla="*/ 554791 w 768725"/>
              <a:gd name="csY127" fmla="*/ 42552 h 1509319"/>
              <a:gd name="csX128" fmla="*/ 552461 w 768725"/>
              <a:gd name="csY128" fmla="*/ 55598 h 1509319"/>
              <a:gd name="csX129" fmla="*/ 544678 w 768725"/>
              <a:gd name="csY129" fmla="*/ 102721 h 1509319"/>
              <a:gd name="csX130" fmla="*/ 525701 w 768725"/>
              <a:gd name="csY130" fmla="*/ 118186 h 1509319"/>
              <a:gd name="csX131" fmla="*/ 469505 w 768725"/>
              <a:gd name="csY131" fmla="*/ 116252 h 1509319"/>
              <a:gd name="csX132" fmla="*/ 513928 w 768725"/>
              <a:gd name="csY132" fmla="*/ 1403203 h 1509319"/>
              <a:gd name="csX133" fmla="*/ 379322 w 768725"/>
              <a:gd name="csY133" fmla="*/ 1404000 h 1509319"/>
              <a:gd name="csX134" fmla="*/ 379322 w 768725"/>
              <a:gd name="csY134" fmla="*/ 1460424 h 1509319"/>
              <a:gd name="csX135" fmla="*/ 726554 w 768725"/>
              <a:gd name="csY135" fmla="*/ 1439225 h 1509319"/>
              <a:gd name="csX136" fmla="*/ 721089 w 768725"/>
              <a:gd name="csY136" fmla="*/ 1397750 h 1509319"/>
              <a:gd name="csX137" fmla="*/ 697967 w 768725"/>
              <a:gd name="csY137" fmla="*/ 1385046 h 1509319"/>
              <a:gd name="csX138" fmla="*/ 619039 w 768725"/>
              <a:gd name="csY138" fmla="*/ 1395892 h 1509319"/>
              <a:gd name="csX139" fmla="*/ 513928 w 768725"/>
              <a:gd name="csY139" fmla="*/ 1403203 h 1509319"/>
              <a:gd name="csX140" fmla="*/ 462814 w 768725"/>
              <a:gd name="csY140" fmla="*/ 375981 h 1509319"/>
              <a:gd name="csX141" fmla="*/ 538992 w 768725"/>
              <a:gd name="csY141" fmla="*/ 375736 h 1509319"/>
              <a:gd name="csX142" fmla="*/ 551835 w 768725"/>
              <a:gd name="csY142" fmla="*/ 373923 h 1509319"/>
              <a:gd name="csX143" fmla="*/ 539689 w 768725"/>
              <a:gd name="csY143" fmla="*/ 356085 h 1509319"/>
              <a:gd name="csX144" fmla="*/ 521074 w 768725"/>
              <a:gd name="csY144" fmla="*/ 344186 h 1509319"/>
              <a:gd name="csX145" fmla="*/ 503789 w 768725"/>
              <a:gd name="csY145" fmla="*/ 339280 h 1509319"/>
              <a:gd name="csX146" fmla="*/ 404270 w 768725"/>
              <a:gd name="csY146" fmla="*/ 339994 h 1509319"/>
              <a:gd name="csX147" fmla="*/ 393081 w 768725"/>
              <a:gd name="csY147" fmla="*/ 340868 h 1509319"/>
              <a:gd name="csX148" fmla="*/ 395001 w 768725"/>
              <a:gd name="csY148" fmla="*/ 375976 h 1509319"/>
              <a:gd name="csX149" fmla="*/ 462814 w 768725"/>
              <a:gd name="csY149" fmla="*/ 375981 h 150931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</a:cxnLst>
            <a:rect l="l" t="t" r="r" b="b"/>
            <a:pathLst>
              <a:path w="768725" h="1509319">
                <a:moveTo>
                  <a:pt x="576414" y="893042"/>
                </a:moveTo>
                <a:cubicBezTo>
                  <a:pt x="588806" y="949146"/>
                  <a:pt x="601091" y="1004202"/>
                  <a:pt x="613047" y="1059329"/>
                </a:cubicBezTo>
                <a:cubicBezTo>
                  <a:pt x="614432" y="1065716"/>
                  <a:pt x="617736" y="1069332"/>
                  <a:pt x="623337" y="1071825"/>
                </a:cubicBezTo>
                <a:cubicBezTo>
                  <a:pt x="628942" y="1074320"/>
                  <a:pt x="634521" y="1076938"/>
                  <a:pt x="639863" y="1079946"/>
                </a:cubicBezTo>
                <a:cubicBezTo>
                  <a:pt x="650944" y="1086186"/>
                  <a:pt x="655598" y="1096871"/>
                  <a:pt x="652266" y="1109045"/>
                </a:cubicBezTo>
                <a:cubicBezTo>
                  <a:pt x="650545" y="1115333"/>
                  <a:pt x="647953" y="1121401"/>
                  <a:pt x="645501" y="1127466"/>
                </a:cubicBezTo>
                <a:cubicBezTo>
                  <a:pt x="643225" y="1133097"/>
                  <a:pt x="643438" y="1138435"/>
                  <a:pt x="645547" y="1144138"/>
                </a:cubicBezTo>
                <a:cubicBezTo>
                  <a:pt x="649868" y="1155821"/>
                  <a:pt x="655892" y="1166306"/>
                  <a:pt x="664589" y="1175322"/>
                </a:cubicBezTo>
                <a:cubicBezTo>
                  <a:pt x="680503" y="1191819"/>
                  <a:pt x="696298" y="1208434"/>
                  <a:pt x="712015" y="1225118"/>
                </a:cubicBezTo>
                <a:cubicBezTo>
                  <a:pt x="731931" y="1246258"/>
                  <a:pt x="740856" y="1272032"/>
                  <a:pt x="744465" y="1300385"/>
                </a:cubicBezTo>
                <a:cubicBezTo>
                  <a:pt x="746614" y="1317273"/>
                  <a:pt x="744537" y="1333855"/>
                  <a:pt x="743270" y="1350524"/>
                </a:cubicBezTo>
                <a:cubicBezTo>
                  <a:pt x="742916" y="1355183"/>
                  <a:pt x="743079" y="1358990"/>
                  <a:pt x="745429" y="1363274"/>
                </a:cubicBezTo>
                <a:cubicBezTo>
                  <a:pt x="761335" y="1392276"/>
                  <a:pt x="766719" y="1423956"/>
                  <a:pt x="768672" y="1456512"/>
                </a:cubicBezTo>
                <a:cubicBezTo>
                  <a:pt x="769161" y="1464651"/>
                  <a:pt x="766327" y="1469951"/>
                  <a:pt x="758521" y="1472434"/>
                </a:cubicBezTo>
                <a:cubicBezTo>
                  <a:pt x="749176" y="1475406"/>
                  <a:pt x="739961" y="1478919"/>
                  <a:pt x="730455" y="1481228"/>
                </a:cubicBezTo>
                <a:cubicBezTo>
                  <a:pt x="685866" y="1492058"/>
                  <a:pt x="640613" y="1498445"/>
                  <a:pt x="594867" y="1502210"/>
                </a:cubicBezTo>
                <a:cubicBezTo>
                  <a:pt x="503351" y="1509743"/>
                  <a:pt x="411695" y="1510364"/>
                  <a:pt x="320018" y="1508300"/>
                </a:cubicBezTo>
                <a:cubicBezTo>
                  <a:pt x="275466" y="1507297"/>
                  <a:pt x="230913" y="1504582"/>
                  <a:pt x="186464" y="1501258"/>
                </a:cubicBezTo>
                <a:cubicBezTo>
                  <a:pt x="132610" y="1497231"/>
                  <a:pt x="79072" y="1490389"/>
                  <a:pt x="26582" y="1477021"/>
                </a:cubicBezTo>
                <a:cubicBezTo>
                  <a:pt x="18195" y="1474885"/>
                  <a:pt x="9735" y="1472585"/>
                  <a:pt x="3929" y="1465652"/>
                </a:cubicBezTo>
                <a:cubicBezTo>
                  <a:pt x="1807" y="1463117"/>
                  <a:pt x="-213" y="1459275"/>
                  <a:pt x="18" y="1456203"/>
                </a:cubicBezTo>
                <a:cubicBezTo>
                  <a:pt x="995" y="1443177"/>
                  <a:pt x="2714" y="1430200"/>
                  <a:pt x="4393" y="1417235"/>
                </a:cubicBezTo>
                <a:cubicBezTo>
                  <a:pt x="6515" y="1400846"/>
                  <a:pt x="11310" y="1385118"/>
                  <a:pt x="19158" y="1370678"/>
                </a:cubicBezTo>
                <a:cubicBezTo>
                  <a:pt x="24205" y="1361393"/>
                  <a:pt x="24576" y="1352443"/>
                  <a:pt x="23255" y="1342388"/>
                </a:cubicBezTo>
                <a:cubicBezTo>
                  <a:pt x="18901" y="1309218"/>
                  <a:pt x="21603" y="1276876"/>
                  <a:pt x="38705" y="1247261"/>
                </a:cubicBezTo>
                <a:cubicBezTo>
                  <a:pt x="44179" y="1237783"/>
                  <a:pt x="50956" y="1228786"/>
                  <a:pt x="58454" y="1220807"/>
                </a:cubicBezTo>
                <a:cubicBezTo>
                  <a:pt x="73024" y="1205299"/>
                  <a:pt x="88543" y="1190683"/>
                  <a:pt x="103638" y="1175667"/>
                </a:cubicBezTo>
                <a:cubicBezTo>
                  <a:pt x="112161" y="1167189"/>
                  <a:pt x="118801" y="1157513"/>
                  <a:pt x="122996" y="1146131"/>
                </a:cubicBezTo>
                <a:cubicBezTo>
                  <a:pt x="125249" y="1140016"/>
                  <a:pt x="125488" y="1134282"/>
                  <a:pt x="122689" y="1128316"/>
                </a:cubicBezTo>
                <a:cubicBezTo>
                  <a:pt x="120431" y="1123504"/>
                  <a:pt x="118446" y="1118553"/>
                  <a:pt x="116576" y="1113575"/>
                </a:cubicBezTo>
                <a:cubicBezTo>
                  <a:pt x="111153" y="1099133"/>
                  <a:pt x="114404" y="1089299"/>
                  <a:pt x="127479" y="1081076"/>
                </a:cubicBezTo>
                <a:cubicBezTo>
                  <a:pt x="130563" y="1079137"/>
                  <a:pt x="134000" y="1077564"/>
                  <a:pt x="137480" y="1076482"/>
                </a:cubicBezTo>
                <a:cubicBezTo>
                  <a:pt x="148800" y="1072962"/>
                  <a:pt x="154794" y="1065351"/>
                  <a:pt x="157312" y="1053855"/>
                </a:cubicBezTo>
                <a:cubicBezTo>
                  <a:pt x="164312" y="1021900"/>
                  <a:pt x="172752" y="990234"/>
                  <a:pt x="178876" y="958120"/>
                </a:cubicBezTo>
                <a:cubicBezTo>
                  <a:pt x="190055" y="899504"/>
                  <a:pt x="200649" y="840756"/>
                  <a:pt x="210165" y="781849"/>
                </a:cubicBezTo>
                <a:cubicBezTo>
                  <a:pt x="215898" y="746366"/>
                  <a:pt x="219868" y="710550"/>
                  <a:pt x="223295" y="674755"/>
                </a:cubicBezTo>
                <a:cubicBezTo>
                  <a:pt x="226801" y="638133"/>
                  <a:pt x="229185" y="601381"/>
                  <a:pt x="231121" y="564636"/>
                </a:cubicBezTo>
                <a:cubicBezTo>
                  <a:pt x="233079" y="527469"/>
                  <a:pt x="233899" y="490241"/>
                  <a:pt x="235173" y="453038"/>
                </a:cubicBezTo>
                <a:cubicBezTo>
                  <a:pt x="235285" y="449770"/>
                  <a:pt x="235108" y="446488"/>
                  <a:pt x="235001" y="443215"/>
                </a:cubicBezTo>
                <a:cubicBezTo>
                  <a:pt x="234761" y="435907"/>
                  <a:pt x="231291" y="431283"/>
                  <a:pt x="224321" y="428479"/>
                </a:cubicBezTo>
                <a:cubicBezTo>
                  <a:pt x="217531" y="425747"/>
                  <a:pt x="210873" y="422395"/>
                  <a:pt x="204712" y="418450"/>
                </a:cubicBezTo>
                <a:cubicBezTo>
                  <a:pt x="187562" y="407468"/>
                  <a:pt x="179141" y="385623"/>
                  <a:pt x="184069" y="366060"/>
                </a:cubicBezTo>
                <a:cubicBezTo>
                  <a:pt x="187270" y="353354"/>
                  <a:pt x="195406" y="344379"/>
                  <a:pt x="206519" y="338181"/>
                </a:cubicBezTo>
                <a:cubicBezTo>
                  <a:pt x="212922" y="334611"/>
                  <a:pt x="219930" y="332132"/>
                  <a:pt x="226643" y="329113"/>
                </a:cubicBezTo>
                <a:cubicBezTo>
                  <a:pt x="236636" y="324620"/>
                  <a:pt x="238185" y="320246"/>
                  <a:pt x="232085" y="311135"/>
                </a:cubicBezTo>
                <a:cubicBezTo>
                  <a:pt x="229169" y="306779"/>
                  <a:pt x="225643" y="302195"/>
                  <a:pt x="221280" y="299552"/>
                </a:cubicBezTo>
                <a:cubicBezTo>
                  <a:pt x="194874" y="283553"/>
                  <a:pt x="183766" y="257401"/>
                  <a:pt x="173478" y="230303"/>
                </a:cubicBezTo>
                <a:cubicBezTo>
                  <a:pt x="156973" y="186824"/>
                  <a:pt x="146078" y="142097"/>
                  <a:pt x="141864" y="95780"/>
                </a:cubicBezTo>
                <a:cubicBezTo>
                  <a:pt x="140086" y="76240"/>
                  <a:pt x="138323" y="56689"/>
                  <a:pt x="137158" y="37107"/>
                </a:cubicBezTo>
                <a:cubicBezTo>
                  <a:pt x="136482" y="25735"/>
                  <a:pt x="137408" y="24372"/>
                  <a:pt x="148750" y="22335"/>
                </a:cubicBezTo>
                <a:cubicBezTo>
                  <a:pt x="178094" y="17065"/>
                  <a:pt x="207551" y="12418"/>
                  <a:pt x="236982" y="7640"/>
                </a:cubicBezTo>
                <a:cubicBezTo>
                  <a:pt x="239748" y="7191"/>
                  <a:pt x="242650" y="7580"/>
                  <a:pt x="246862" y="7580"/>
                </a:cubicBezTo>
                <a:cubicBezTo>
                  <a:pt x="255824" y="32568"/>
                  <a:pt x="255201" y="59502"/>
                  <a:pt x="261473" y="86763"/>
                </a:cubicBezTo>
                <a:cubicBezTo>
                  <a:pt x="276122" y="85715"/>
                  <a:pt x="290587" y="84680"/>
                  <a:pt x="306246" y="83559"/>
                </a:cubicBezTo>
                <a:cubicBezTo>
                  <a:pt x="306524" y="78935"/>
                  <a:pt x="306966" y="75011"/>
                  <a:pt x="306960" y="71087"/>
                </a:cubicBezTo>
                <a:cubicBezTo>
                  <a:pt x="306936" y="53888"/>
                  <a:pt x="306633" y="36688"/>
                  <a:pt x="306724" y="19491"/>
                </a:cubicBezTo>
                <a:cubicBezTo>
                  <a:pt x="306789" y="7258"/>
                  <a:pt x="307148" y="6664"/>
                  <a:pt x="319581" y="4733"/>
                </a:cubicBezTo>
                <a:cubicBezTo>
                  <a:pt x="356571" y="-1011"/>
                  <a:pt x="393735" y="-1048"/>
                  <a:pt x="430956" y="2070"/>
                </a:cubicBezTo>
                <a:cubicBezTo>
                  <a:pt x="432994" y="2241"/>
                  <a:pt x="435026" y="2485"/>
                  <a:pt x="437066" y="2646"/>
                </a:cubicBezTo>
                <a:cubicBezTo>
                  <a:pt x="455684" y="4122"/>
                  <a:pt x="457626" y="5472"/>
                  <a:pt x="460335" y="24205"/>
                </a:cubicBezTo>
                <a:cubicBezTo>
                  <a:pt x="462146" y="36727"/>
                  <a:pt x="462770" y="49435"/>
                  <a:pt x="463579" y="62081"/>
                </a:cubicBezTo>
                <a:cubicBezTo>
                  <a:pt x="463995" y="68573"/>
                  <a:pt x="463652" y="75113"/>
                  <a:pt x="463652" y="82953"/>
                </a:cubicBezTo>
                <a:cubicBezTo>
                  <a:pt x="478793" y="83857"/>
                  <a:pt x="492851" y="84696"/>
                  <a:pt x="507205" y="85553"/>
                </a:cubicBezTo>
                <a:cubicBezTo>
                  <a:pt x="512102" y="78145"/>
                  <a:pt x="511920" y="69770"/>
                  <a:pt x="513271" y="61890"/>
                </a:cubicBezTo>
                <a:cubicBezTo>
                  <a:pt x="515756" y="47397"/>
                  <a:pt x="517439" y="32758"/>
                  <a:pt x="520203" y="18323"/>
                </a:cubicBezTo>
                <a:cubicBezTo>
                  <a:pt x="522330" y="7216"/>
                  <a:pt x="522926" y="6539"/>
                  <a:pt x="534008" y="7785"/>
                </a:cubicBezTo>
                <a:cubicBezTo>
                  <a:pt x="554709" y="10113"/>
                  <a:pt x="575316" y="13322"/>
                  <a:pt x="595925" y="16407"/>
                </a:cubicBezTo>
                <a:cubicBezTo>
                  <a:pt x="604001" y="17616"/>
                  <a:pt x="612093" y="19051"/>
                  <a:pt x="619972" y="21156"/>
                </a:cubicBezTo>
                <a:cubicBezTo>
                  <a:pt x="628887" y="23538"/>
                  <a:pt x="631496" y="26848"/>
                  <a:pt x="631161" y="36134"/>
                </a:cubicBezTo>
                <a:cubicBezTo>
                  <a:pt x="630572" y="52475"/>
                  <a:pt x="629765" y="68840"/>
                  <a:pt x="628140" y="85104"/>
                </a:cubicBezTo>
                <a:cubicBezTo>
                  <a:pt x="624968" y="116827"/>
                  <a:pt x="621618" y="148545"/>
                  <a:pt x="613954" y="179618"/>
                </a:cubicBezTo>
                <a:cubicBezTo>
                  <a:pt x="607361" y="206344"/>
                  <a:pt x="597791" y="231950"/>
                  <a:pt x="586196" y="256886"/>
                </a:cubicBezTo>
                <a:cubicBezTo>
                  <a:pt x="578940" y="272491"/>
                  <a:pt x="568647" y="285371"/>
                  <a:pt x="554619" y="295312"/>
                </a:cubicBezTo>
                <a:cubicBezTo>
                  <a:pt x="547467" y="300381"/>
                  <a:pt x="541673" y="306562"/>
                  <a:pt x="538601" y="315001"/>
                </a:cubicBezTo>
                <a:cubicBezTo>
                  <a:pt x="536802" y="319945"/>
                  <a:pt x="537533" y="323761"/>
                  <a:pt x="542630" y="326199"/>
                </a:cubicBezTo>
                <a:cubicBezTo>
                  <a:pt x="548539" y="329025"/>
                  <a:pt x="554513" y="331748"/>
                  <a:pt x="560240" y="334912"/>
                </a:cubicBezTo>
                <a:cubicBezTo>
                  <a:pt x="574874" y="342998"/>
                  <a:pt x="586216" y="353688"/>
                  <a:pt x="586933" y="371800"/>
                </a:cubicBezTo>
                <a:cubicBezTo>
                  <a:pt x="587721" y="391697"/>
                  <a:pt x="581146" y="407998"/>
                  <a:pt x="563039" y="418184"/>
                </a:cubicBezTo>
                <a:cubicBezTo>
                  <a:pt x="557338" y="421391"/>
                  <a:pt x="551634" y="424825"/>
                  <a:pt x="545522" y="427008"/>
                </a:cubicBezTo>
                <a:cubicBezTo>
                  <a:pt x="538690" y="429449"/>
                  <a:pt x="535443" y="433770"/>
                  <a:pt x="535507" y="440667"/>
                </a:cubicBezTo>
                <a:cubicBezTo>
                  <a:pt x="535813" y="472997"/>
                  <a:pt x="535953" y="505332"/>
                  <a:pt x="536723" y="537651"/>
                </a:cubicBezTo>
                <a:cubicBezTo>
                  <a:pt x="537181" y="556862"/>
                  <a:pt x="538274" y="576081"/>
                  <a:pt x="539820" y="595237"/>
                </a:cubicBezTo>
                <a:cubicBezTo>
                  <a:pt x="543897" y="645768"/>
                  <a:pt x="546950" y="696441"/>
                  <a:pt x="553105" y="746727"/>
                </a:cubicBezTo>
                <a:cubicBezTo>
                  <a:pt x="559060" y="795370"/>
                  <a:pt x="568372" y="843602"/>
                  <a:pt x="576414" y="893042"/>
                </a:cubicBezTo>
                <a:moveTo>
                  <a:pt x="500356" y="473996"/>
                </a:moveTo>
                <a:cubicBezTo>
                  <a:pt x="500146" y="470396"/>
                  <a:pt x="499936" y="466797"/>
                  <a:pt x="499749" y="463598"/>
                </a:cubicBezTo>
                <a:cubicBezTo>
                  <a:pt x="463731" y="466295"/>
                  <a:pt x="428548" y="468929"/>
                  <a:pt x="392525" y="471627"/>
                </a:cubicBezTo>
                <a:cubicBezTo>
                  <a:pt x="392525" y="475456"/>
                  <a:pt x="392570" y="479099"/>
                  <a:pt x="392518" y="482742"/>
                </a:cubicBezTo>
                <a:cubicBezTo>
                  <a:pt x="391977" y="520799"/>
                  <a:pt x="391669" y="558862"/>
                  <a:pt x="390814" y="596913"/>
                </a:cubicBezTo>
                <a:cubicBezTo>
                  <a:pt x="389379" y="660737"/>
                  <a:pt x="387596" y="724554"/>
                  <a:pt x="385953" y="788374"/>
                </a:cubicBezTo>
                <a:cubicBezTo>
                  <a:pt x="385132" y="820284"/>
                  <a:pt x="384217" y="852191"/>
                  <a:pt x="383485" y="884103"/>
                </a:cubicBezTo>
                <a:cubicBezTo>
                  <a:pt x="382329" y="934437"/>
                  <a:pt x="381336" y="984775"/>
                  <a:pt x="380173" y="1035109"/>
                </a:cubicBezTo>
                <a:cubicBezTo>
                  <a:pt x="379918" y="1046143"/>
                  <a:pt x="379172" y="1057166"/>
                  <a:pt x="378826" y="1068199"/>
                </a:cubicBezTo>
                <a:cubicBezTo>
                  <a:pt x="378768" y="1070073"/>
                  <a:pt x="379592" y="1071975"/>
                  <a:pt x="380180" y="1074648"/>
                </a:cubicBezTo>
                <a:cubicBezTo>
                  <a:pt x="402724" y="1074648"/>
                  <a:pt x="424789" y="1074626"/>
                  <a:pt x="446854" y="1074654"/>
                </a:cubicBezTo>
                <a:cubicBezTo>
                  <a:pt x="468967" y="1074682"/>
                  <a:pt x="491084" y="1075062"/>
                  <a:pt x="513191" y="1074731"/>
                </a:cubicBezTo>
                <a:cubicBezTo>
                  <a:pt x="535020" y="1074404"/>
                  <a:pt x="556890" y="1078397"/>
                  <a:pt x="580317" y="1075095"/>
                </a:cubicBezTo>
                <a:cubicBezTo>
                  <a:pt x="530688" y="877741"/>
                  <a:pt x="498514" y="679261"/>
                  <a:pt x="500356" y="473996"/>
                </a:cubicBezTo>
                <a:moveTo>
                  <a:pt x="459731" y="1135086"/>
                </a:moveTo>
                <a:cubicBezTo>
                  <a:pt x="434501" y="1135086"/>
                  <a:pt x="409270" y="1135086"/>
                  <a:pt x="383756" y="1135086"/>
                </a:cubicBezTo>
                <a:cubicBezTo>
                  <a:pt x="385145" y="1171037"/>
                  <a:pt x="387590" y="1206813"/>
                  <a:pt x="387612" y="1242590"/>
                </a:cubicBezTo>
                <a:cubicBezTo>
                  <a:pt x="387634" y="1278699"/>
                  <a:pt x="385252" y="1314810"/>
                  <a:pt x="383907" y="1351330"/>
                </a:cubicBezTo>
                <a:cubicBezTo>
                  <a:pt x="493016" y="1355954"/>
                  <a:pt x="600298" y="1349068"/>
                  <a:pt x="707112" y="1330559"/>
                </a:cubicBezTo>
                <a:cubicBezTo>
                  <a:pt x="710922" y="1301049"/>
                  <a:pt x="703971" y="1274394"/>
                  <a:pt x="686366" y="1251637"/>
                </a:cubicBezTo>
                <a:cubicBezTo>
                  <a:pt x="672164" y="1233278"/>
                  <a:pt x="655625" y="1216649"/>
                  <a:pt x="639403" y="1199952"/>
                </a:cubicBezTo>
                <a:cubicBezTo>
                  <a:pt x="621690" y="1181720"/>
                  <a:pt x="611031" y="1160243"/>
                  <a:pt x="606292" y="1135508"/>
                </a:cubicBezTo>
                <a:cubicBezTo>
                  <a:pt x="605546" y="1131614"/>
                  <a:pt x="604205" y="1127833"/>
                  <a:pt x="602971" y="1123400"/>
                </a:cubicBezTo>
                <a:cubicBezTo>
                  <a:pt x="598647" y="1123864"/>
                  <a:pt x="595062" y="1124258"/>
                  <a:pt x="591474" y="1124633"/>
                </a:cubicBezTo>
                <a:cubicBezTo>
                  <a:pt x="571170" y="1126753"/>
                  <a:pt x="550896" y="1129262"/>
                  <a:pt x="530551" y="1130880"/>
                </a:cubicBezTo>
                <a:cubicBezTo>
                  <a:pt x="507752" y="1132694"/>
                  <a:pt x="484887" y="1133699"/>
                  <a:pt x="459731" y="1135086"/>
                </a:cubicBezTo>
                <a:moveTo>
                  <a:pt x="469505" y="116252"/>
                </a:moveTo>
                <a:cubicBezTo>
                  <a:pt x="460926" y="115846"/>
                  <a:pt x="452288" y="115932"/>
                  <a:pt x="443782" y="114911"/>
                </a:cubicBezTo>
                <a:cubicBezTo>
                  <a:pt x="433023" y="113619"/>
                  <a:pt x="430601" y="110848"/>
                  <a:pt x="430007" y="99878"/>
                </a:cubicBezTo>
                <a:cubicBezTo>
                  <a:pt x="429457" y="89668"/>
                  <a:pt x="429903" y="79404"/>
                  <a:pt x="429331" y="69197"/>
                </a:cubicBezTo>
                <a:cubicBezTo>
                  <a:pt x="428702" y="57943"/>
                  <a:pt x="427414" y="46725"/>
                  <a:pt x="426333" y="34606"/>
                </a:cubicBezTo>
                <a:cubicBezTo>
                  <a:pt x="409217" y="34606"/>
                  <a:pt x="393383" y="34593"/>
                  <a:pt x="377548" y="34613"/>
                </a:cubicBezTo>
                <a:cubicBezTo>
                  <a:pt x="370973" y="34621"/>
                  <a:pt x="368175" y="37880"/>
                  <a:pt x="368004" y="44529"/>
                </a:cubicBezTo>
                <a:cubicBezTo>
                  <a:pt x="367731" y="55142"/>
                  <a:pt x="366531" y="65729"/>
                  <a:pt x="366185" y="76343"/>
                </a:cubicBezTo>
                <a:cubicBezTo>
                  <a:pt x="364748" y="120348"/>
                  <a:pt x="372586" y="163440"/>
                  <a:pt x="379384" y="206619"/>
                </a:cubicBezTo>
                <a:cubicBezTo>
                  <a:pt x="383132" y="230420"/>
                  <a:pt x="387281" y="254159"/>
                  <a:pt x="390997" y="277965"/>
                </a:cubicBezTo>
                <a:cubicBezTo>
                  <a:pt x="392356" y="286668"/>
                  <a:pt x="392988" y="295485"/>
                  <a:pt x="394040" y="305053"/>
                </a:cubicBezTo>
                <a:cubicBezTo>
                  <a:pt x="430625" y="305053"/>
                  <a:pt x="466194" y="305182"/>
                  <a:pt x="501758" y="304814"/>
                </a:cubicBezTo>
                <a:cubicBezTo>
                  <a:pt x="504672" y="304784"/>
                  <a:pt x="508099" y="301870"/>
                  <a:pt x="510340" y="299427"/>
                </a:cubicBezTo>
                <a:cubicBezTo>
                  <a:pt x="516125" y="293119"/>
                  <a:pt x="520822" y="285749"/>
                  <a:pt x="526940" y="279822"/>
                </a:cubicBezTo>
                <a:cubicBezTo>
                  <a:pt x="552103" y="255447"/>
                  <a:pt x="566819" y="225104"/>
                  <a:pt x="576920" y="192342"/>
                </a:cubicBezTo>
                <a:cubicBezTo>
                  <a:pt x="588690" y="154165"/>
                  <a:pt x="590063" y="114309"/>
                  <a:pt x="594042" y="74918"/>
                </a:cubicBezTo>
                <a:cubicBezTo>
                  <a:pt x="594852" y="66901"/>
                  <a:pt x="594159" y="58731"/>
                  <a:pt x="594159" y="49195"/>
                </a:cubicBezTo>
                <a:cubicBezTo>
                  <a:pt x="581125" y="46996"/>
                  <a:pt x="568493" y="44864"/>
                  <a:pt x="554791" y="42552"/>
                </a:cubicBezTo>
                <a:cubicBezTo>
                  <a:pt x="553857" y="47762"/>
                  <a:pt x="553099" y="51670"/>
                  <a:pt x="552461" y="55598"/>
                </a:cubicBezTo>
                <a:cubicBezTo>
                  <a:pt x="549905" y="71314"/>
                  <a:pt x="547903" y="87144"/>
                  <a:pt x="544678" y="102721"/>
                </a:cubicBezTo>
                <a:cubicBezTo>
                  <a:pt x="542363" y="113902"/>
                  <a:pt x="537010" y="118223"/>
                  <a:pt x="525701" y="118186"/>
                </a:cubicBezTo>
                <a:cubicBezTo>
                  <a:pt x="507730" y="118128"/>
                  <a:pt x="489762" y="117027"/>
                  <a:pt x="469505" y="116252"/>
                </a:cubicBezTo>
                <a:moveTo>
                  <a:pt x="513928" y="1403203"/>
                </a:moveTo>
                <a:cubicBezTo>
                  <a:pt x="469441" y="1403467"/>
                  <a:pt x="424955" y="1403730"/>
                  <a:pt x="379322" y="1404000"/>
                </a:cubicBezTo>
                <a:cubicBezTo>
                  <a:pt x="379322" y="1423089"/>
                  <a:pt x="379322" y="1440883"/>
                  <a:pt x="379322" y="1460424"/>
                </a:cubicBezTo>
                <a:cubicBezTo>
                  <a:pt x="496078" y="1471584"/>
                  <a:pt x="611510" y="1462301"/>
                  <a:pt x="726554" y="1439225"/>
                </a:cubicBezTo>
                <a:cubicBezTo>
                  <a:pt x="728615" y="1424350"/>
                  <a:pt x="725601" y="1410872"/>
                  <a:pt x="721089" y="1397750"/>
                </a:cubicBezTo>
                <a:cubicBezTo>
                  <a:pt x="717269" y="1386638"/>
                  <a:pt x="709802" y="1383286"/>
                  <a:pt x="697967" y="1385046"/>
                </a:cubicBezTo>
                <a:cubicBezTo>
                  <a:pt x="671697" y="1388954"/>
                  <a:pt x="645454" y="1393360"/>
                  <a:pt x="619039" y="1395892"/>
                </a:cubicBezTo>
                <a:cubicBezTo>
                  <a:pt x="584863" y="1399168"/>
                  <a:pt x="550531" y="1400815"/>
                  <a:pt x="513928" y="1403203"/>
                </a:cubicBezTo>
                <a:moveTo>
                  <a:pt x="462814" y="375981"/>
                </a:moveTo>
                <a:cubicBezTo>
                  <a:pt x="488207" y="375927"/>
                  <a:pt x="513601" y="375954"/>
                  <a:pt x="538992" y="375736"/>
                </a:cubicBezTo>
                <a:cubicBezTo>
                  <a:pt x="543170" y="375700"/>
                  <a:pt x="547338" y="374587"/>
                  <a:pt x="551835" y="373923"/>
                </a:cubicBezTo>
                <a:cubicBezTo>
                  <a:pt x="550780" y="364535"/>
                  <a:pt x="545320" y="360090"/>
                  <a:pt x="539689" y="356085"/>
                </a:cubicBezTo>
                <a:cubicBezTo>
                  <a:pt x="533696" y="351821"/>
                  <a:pt x="527145" y="348349"/>
                  <a:pt x="521074" y="344186"/>
                </a:cubicBezTo>
                <a:cubicBezTo>
                  <a:pt x="515783" y="340559"/>
                  <a:pt x="510232" y="339198"/>
                  <a:pt x="503789" y="339280"/>
                </a:cubicBezTo>
                <a:cubicBezTo>
                  <a:pt x="470618" y="339700"/>
                  <a:pt x="437443" y="339744"/>
                  <a:pt x="404270" y="339994"/>
                </a:cubicBezTo>
                <a:cubicBezTo>
                  <a:pt x="400758" y="340021"/>
                  <a:pt x="397250" y="340529"/>
                  <a:pt x="393081" y="340868"/>
                </a:cubicBezTo>
                <a:cubicBezTo>
                  <a:pt x="393653" y="352908"/>
                  <a:pt x="392145" y="363845"/>
                  <a:pt x="395001" y="375976"/>
                </a:cubicBezTo>
                <a:cubicBezTo>
                  <a:pt x="417133" y="375976"/>
                  <a:pt x="438745" y="375976"/>
                  <a:pt x="462814" y="375981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7784" name="Free-form: Shape 7783">
            <a:extLst>
              <a:ext uri="{FF2B5EF4-FFF2-40B4-BE49-F238E27FC236}">
                <a16:creationId xmlns:a16="http://schemas.microsoft.com/office/drawing/2014/main" id="{CD716C5F-B7EC-97CA-D562-1AF89EEC51F3}"/>
              </a:ext>
            </a:extLst>
          </p:cNvPr>
          <p:cNvSpPr/>
          <p:nvPr/>
        </p:nvSpPr>
        <p:spPr>
          <a:xfrm>
            <a:off x="1706622" y="4164701"/>
            <a:ext cx="128865" cy="391925"/>
          </a:xfrm>
          <a:custGeom>
            <a:avLst/>
            <a:gdLst>
              <a:gd name="csX0" fmla="*/ 121535 w 201493"/>
              <a:gd name="csY0" fmla="*/ 11562 h 612813"/>
              <a:gd name="csX1" fmla="*/ 201493 w 201493"/>
              <a:gd name="csY1" fmla="*/ 611498 h 612813"/>
              <a:gd name="csX2" fmla="*/ 134368 w 201493"/>
              <a:gd name="csY2" fmla="*/ 611133 h 612813"/>
              <a:gd name="csX3" fmla="*/ 68030 w 201493"/>
              <a:gd name="csY3" fmla="*/ 611056 h 612813"/>
              <a:gd name="csX4" fmla="*/ 1357 w 201493"/>
              <a:gd name="csY4" fmla="*/ 611050 h 612813"/>
              <a:gd name="csX5" fmla="*/ 3 w 201493"/>
              <a:gd name="csY5" fmla="*/ 604601 h 612813"/>
              <a:gd name="csX6" fmla="*/ 1350 w 201493"/>
              <a:gd name="csY6" fmla="*/ 571511 h 612813"/>
              <a:gd name="csX7" fmla="*/ 4661 w 201493"/>
              <a:gd name="csY7" fmla="*/ 420505 h 612813"/>
              <a:gd name="csX8" fmla="*/ 7130 w 201493"/>
              <a:gd name="csY8" fmla="*/ 324777 h 612813"/>
              <a:gd name="csX9" fmla="*/ 11991 w 201493"/>
              <a:gd name="csY9" fmla="*/ 133315 h 612813"/>
              <a:gd name="csX10" fmla="*/ 13695 w 201493"/>
              <a:gd name="csY10" fmla="*/ 19144 h 612813"/>
              <a:gd name="csX11" fmla="*/ 13702 w 201493"/>
              <a:gd name="csY11" fmla="*/ 8029 h 612813"/>
              <a:gd name="csX12" fmla="*/ 120926 w 201493"/>
              <a:gd name="csY12" fmla="*/ 0 h 612813"/>
              <a:gd name="csX13" fmla="*/ 121535 w 201493"/>
              <a:gd name="csY13" fmla="*/ 11562 h 61281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</a:cxnLst>
            <a:rect l="l" t="t" r="r" b="b"/>
            <a:pathLst>
              <a:path w="201493" h="612813">
                <a:moveTo>
                  <a:pt x="121535" y="11562"/>
                </a:moveTo>
                <a:cubicBezTo>
                  <a:pt x="119691" y="215664"/>
                  <a:pt x="151865" y="414144"/>
                  <a:pt x="201493" y="611498"/>
                </a:cubicBezTo>
                <a:cubicBezTo>
                  <a:pt x="178066" y="614799"/>
                  <a:pt x="156197" y="610806"/>
                  <a:pt x="134368" y="611133"/>
                </a:cubicBezTo>
                <a:cubicBezTo>
                  <a:pt x="112261" y="611465"/>
                  <a:pt x="90143" y="611084"/>
                  <a:pt x="68030" y="611056"/>
                </a:cubicBezTo>
                <a:cubicBezTo>
                  <a:pt x="45965" y="611028"/>
                  <a:pt x="23900" y="611050"/>
                  <a:pt x="1357" y="611050"/>
                </a:cubicBezTo>
                <a:cubicBezTo>
                  <a:pt x="769" y="608377"/>
                  <a:pt x="-56" y="606475"/>
                  <a:pt x="3" y="604601"/>
                </a:cubicBezTo>
                <a:cubicBezTo>
                  <a:pt x="349" y="593568"/>
                  <a:pt x="1095" y="582545"/>
                  <a:pt x="1350" y="571511"/>
                </a:cubicBezTo>
                <a:cubicBezTo>
                  <a:pt x="2513" y="521177"/>
                  <a:pt x="3506" y="470839"/>
                  <a:pt x="4661" y="420505"/>
                </a:cubicBezTo>
                <a:cubicBezTo>
                  <a:pt x="5393" y="388594"/>
                  <a:pt x="6308" y="356686"/>
                  <a:pt x="7130" y="324777"/>
                </a:cubicBezTo>
                <a:cubicBezTo>
                  <a:pt x="8772" y="260956"/>
                  <a:pt x="10555" y="197140"/>
                  <a:pt x="11991" y="133315"/>
                </a:cubicBezTo>
                <a:cubicBezTo>
                  <a:pt x="12846" y="95264"/>
                  <a:pt x="13154" y="57201"/>
                  <a:pt x="13695" y="19144"/>
                </a:cubicBezTo>
                <a:cubicBezTo>
                  <a:pt x="13746" y="15501"/>
                  <a:pt x="13702" y="11858"/>
                  <a:pt x="13702" y="8029"/>
                </a:cubicBezTo>
                <a:cubicBezTo>
                  <a:pt x="49725" y="5331"/>
                  <a:pt x="84908" y="2697"/>
                  <a:pt x="120926" y="0"/>
                </a:cubicBezTo>
                <a:cubicBezTo>
                  <a:pt x="121113" y="3199"/>
                  <a:pt x="121323" y="6798"/>
                  <a:pt x="121535" y="11562"/>
                </a:cubicBezTo>
                <a:close/>
              </a:path>
            </a:pathLst>
          </a:custGeom>
          <a:solidFill>
            <a:srgbClr val="FDFDFD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7785" name="Free-form: Shape 7784">
            <a:extLst>
              <a:ext uri="{FF2B5EF4-FFF2-40B4-BE49-F238E27FC236}">
                <a16:creationId xmlns:a16="http://schemas.microsoft.com/office/drawing/2014/main" id="{AF94B053-C69C-C0A4-B646-DE6919C2509C}"/>
              </a:ext>
            </a:extLst>
          </p:cNvPr>
          <p:cNvSpPr/>
          <p:nvPr/>
        </p:nvSpPr>
        <p:spPr>
          <a:xfrm>
            <a:off x="1709777" y="4586678"/>
            <a:ext cx="207449" cy="146663"/>
          </a:xfrm>
          <a:custGeom>
            <a:avLst/>
            <a:gdLst>
              <a:gd name="csX0" fmla="*/ 77135 w 324367"/>
              <a:gd name="csY0" fmla="*/ 11670 h 229322"/>
              <a:gd name="csX1" fmla="*/ 146795 w 324367"/>
              <a:gd name="csY1" fmla="*/ 7480 h 229322"/>
              <a:gd name="csX2" fmla="*/ 207718 w 324367"/>
              <a:gd name="csY2" fmla="*/ 1232 h 229322"/>
              <a:gd name="csX3" fmla="*/ 219215 w 324367"/>
              <a:gd name="csY3" fmla="*/ 0 h 229322"/>
              <a:gd name="csX4" fmla="*/ 222536 w 324367"/>
              <a:gd name="csY4" fmla="*/ 12108 h 229322"/>
              <a:gd name="csX5" fmla="*/ 255647 w 324367"/>
              <a:gd name="csY5" fmla="*/ 76552 h 229322"/>
              <a:gd name="csX6" fmla="*/ 302610 w 324367"/>
              <a:gd name="csY6" fmla="*/ 128236 h 229322"/>
              <a:gd name="csX7" fmla="*/ 323355 w 324367"/>
              <a:gd name="csY7" fmla="*/ 207159 h 229322"/>
              <a:gd name="csX8" fmla="*/ 151 w 324367"/>
              <a:gd name="csY8" fmla="*/ 227930 h 229322"/>
              <a:gd name="csX9" fmla="*/ 3855 w 324367"/>
              <a:gd name="csY9" fmla="*/ 119190 h 229322"/>
              <a:gd name="csX10" fmla="*/ 0 w 324367"/>
              <a:gd name="csY10" fmla="*/ 11685 h 229322"/>
              <a:gd name="csX11" fmla="*/ 77135 w 324367"/>
              <a:gd name="csY11" fmla="*/ 11670 h 22932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324367" h="229322">
                <a:moveTo>
                  <a:pt x="77135" y="11670"/>
                </a:moveTo>
                <a:cubicBezTo>
                  <a:pt x="101131" y="10299"/>
                  <a:pt x="123996" y="9293"/>
                  <a:pt x="146795" y="7480"/>
                </a:cubicBezTo>
                <a:cubicBezTo>
                  <a:pt x="167139" y="5862"/>
                  <a:pt x="187413" y="3352"/>
                  <a:pt x="207718" y="1232"/>
                </a:cubicBezTo>
                <a:cubicBezTo>
                  <a:pt x="211305" y="858"/>
                  <a:pt x="214891" y="464"/>
                  <a:pt x="219215" y="0"/>
                </a:cubicBezTo>
                <a:cubicBezTo>
                  <a:pt x="220448" y="4433"/>
                  <a:pt x="221789" y="8213"/>
                  <a:pt x="222536" y="12108"/>
                </a:cubicBezTo>
                <a:cubicBezTo>
                  <a:pt x="227274" y="36843"/>
                  <a:pt x="237933" y="58320"/>
                  <a:pt x="255647" y="76552"/>
                </a:cubicBezTo>
                <a:cubicBezTo>
                  <a:pt x="271868" y="93249"/>
                  <a:pt x="288407" y="109878"/>
                  <a:pt x="302610" y="128236"/>
                </a:cubicBezTo>
                <a:cubicBezTo>
                  <a:pt x="320215" y="150993"/>
                  <a:pt x="327166" y="177648"/>
                  <a:pt x="323355" y="207159"/>
                </a:cubicBezTo>
                <a:cubicBezTo>
                  <a:pt x="216542" y="225668"/>
                  <a:pt x="109259" y="232554"/>
                  <a:pt x="151" y="227930"/>
                </a:cubicBezTo>
                <a:cubicBezTo>
                  <a:pt x="1495" y="191410"/>
                  <a:pt x="3878" y="155299"/>
                  <a:pt x="3855" y="119190"/>
                </a:cubicBezTo>
                <a:cubicBezTo>
                  <a:pt x="3834" y="83413"/>
                  <a:pt x="1388" y="47637"/>
                  <a:pt x="0" y="11685"/>
                </a:cubicBezTo>
                <a:cubicBezTo>
                  <a:pt x="25514" y="11685"/>
                  <a:pt x="50744" y="11685"/>
                  <a:pt x="77135" y="11670"/>
                </a:cubicBezTo>
                <a:close/>
              </a:path>
            </a:pathLst>
          </a:custGeom>
          <a:solidFill>
            <a:srgbClr val="FDFEFE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7786" name="Free-form: Shape 7785">
            <a:extLst>
              <a:ext uri="{FF2B5EF4-FFF2-40B4-BE49-F238E27FC236}">
                <a16:creationId xmlns:a16="http://schemas.microsoft.com/office/drawing/2014/main" id="{A4639858-F068-F231-CD3E-DA6A64E641A3}"/>
              </a:ext>
            </a:extLst>
          </p:cNvPr>
          <p:cNvSpPr/>
          <p:nvPr/>
        </p:nvSpPr>
        <p:spPr>
          <a:xfrm>
            <a:off x="1698429" y="3890338"/>
            <a:ext cx="146087" cy="172981"/>
          </a:xfrm>
          <a:custGeom>
            <a:avLst/>
            <a:gdLst>
              <a:gd name="csX0" fmla="*/ 104636 w 228422"/>
              <a:gd name="csY0" fmla="*/ 81707 h 270473"/>
              <a:gd name="csX1" fmla="*/ 159689 w 228422"/>
              <a:gd name="csY1" fmla="*/ 83584 h 270473"/>
              <a:gd name="csX2" fmla="*/ 178665 w 228422"/>
              <a:gd name="csY2" fmla="*/ 68119 h 270473"/>
              <a:gd name="csX3" fmla="*/ 186448 w 228422"/>
              <a:gd name="csY3" fmla="*/ 20996 h 270473"/>
              <a:gd name="csX4" fmla="*/ 188779 w 228422"/>
              <a:gd name="csY4" fmla="*/ 7950 h 270473"/>
              <a:gd name="csX5" fmla="*/ 228146 w 228422"/>
              <a:gd name="csY5" fmla="*/ 14593 h 270473"/>
              <a:gd name="csX6" fmla="*/ 228030 w 228422"/>
              <a:gd name="csY6" fmla="*/ 40316 h 270473"/>
              <a:gd name="csX7" fmla="*/ 210907 w 228422"/>
              <a:gd name="csY7" fmla="*/ 157740 h 270473"/>
              <a:gd name="csX8" fmla="*/ 160928 w 228422"/>
              <a:gd name="csY8" fmla="*/ 245220 h 270473"/>
              <a:gd name="csX9" fmla="*/ 144327 w 228422"/>
              <a:gd name="csY9" fmla="*/ 264825 h 270473"/>
              <a:gd name="csX10" fmla="*/ 135745 w 228422"/>
              <a:gd name="csY10" fmla="*/ 270212 h 270473"/>
              <a:gd name="csX11" fmla="*/ 28028 w 228422"/>
              <a:gd name="csY11" fmla="*/ 270451 h 270473"/>
              <a:gd name="csX12" fmla="*/ 24984 w 228422"/>
              <a:gd name="csY12" fmla="*/ 243363 h 270473"/>
              <a:gd name="csX13" fmla="*/ 13372 w 228422"/>
              <a:gd name="csY13" fmla="*/ 172017 h 270473"/>
              <a:gd name="csX14" fmla="*/ 172 w 228422"/>
              <a:gd name="csY14" fmla="*/ 41741 h 270473"/>
              <a:gd name="csX15" fmla="*/ 1991 w 228422"/>
              <a:gd name="csY15" fmla="*/ 9927 h 270473"/>
              <a:gd name="csX16" fmla="*/ 11535 w 228422"/>
              <a:gd name="csY16" fmla="*/ 11 h 270473"/>
              <a:gd name="csX17" fmla="*/ 60320 w 228422"/>
              <a:gd name="csY17" fmla="*/ 4 h 270473"/>
              <a:gd name="csX18" fmla="*/ 63319 w 228422"/>
              <a:gd name="csY18" fmla="*/ 34595 h 270473"/>
              <a:gd name="csX19" fmla="*/ 63995 w 228422"/>
              <a:gd name="csY19" fmla="*/ 65276 h 270473"/>
              <a:gd name="csX20" fmla="*/ 77770 w 228422"/>
              <a:gd name="csY20" fmla="*/ 80309 h 270473"/>
              <a:gd name="csX21" fmla="*/ 104636 w 228422"/>
              <a:gd name="csY21" fmla="*/ 81707 h 27047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</a:cxnLst>
            <a:rect l="l" t="t" r="r" b="b"/>
            <a:pathLst>
              <a:path w="228422" h="270473">
                <a:moveTo>
                  <a:pt x="104636" y="81707"/>
                </a:moveTo>
                <a:cubicBezTo>
                  <a:pt x="123750" y="82425"/>
                  <a:pt x="141717" y="83526"/>
                  <a:pt x="159689" y="83584"/>
                </a:cubicBezTo>
                <a:cubicBezTo>
                  <a:pt x="170998" y="83621"/>
                  <a:pt x="176351" y="79300"/>
                  <a:pt x="178665" y="68119"/>
                </a:cubicBezTo>
                <a:cubicBezTo>
                  <a:pt x="181890" y="52542"/>
                  <a:pt x="183892" y="36712"/>
                  <a:pt x="186448" y="20996"/>
                </a:cubicBezTo>
                <a:cubicBezTo>
                  <a:pt x="187087" y="17068"/>
                  <a:pt x="187844" y="13160"/>
                  <a:pt x="188779" y="7950"/>
                </a:cubicBezTo>
                <a:cubicBezTo>
                  <a:pt x="202480" y="10262"/>
                  <a:pt x="215113" y="12394"/>
                  <a:pt x="228146" y="14593"/>
                </a:cubicBezTo>
                <a:cubicBezTo>
                  <a:pt x="228146" y="24129"/>
                  <a:pt x="228839" y="32299"/>
                  <a:pt x="228030" y="40316"/>
                </a:cubicBezTo>
                <a:cubicBezTo>
                  <a:pt x="224051" y="79707"/>
                  <a:pt x="222678" y="119563"/>
                  <a:pt x="210907" y="157740"/>
                </a:cubicBezTo>
                <a:cubicBezTo>
                  <a:pt x="200806" y="190502"/>
                  <a:pt x="186090" y="220845"/>
                  <a:pt x="160928" y="245220"/>
                </a:cubicBezTo>
                <a:cubicBezTo>
                  <a:pt x="154810" y="251147"/>
                  <a:pt x="150112" y="258517"/>
                  <a:pt x="144327" y="264825"/>
                </a:cubicBezTo>
                <a:cubicBezTo>
                  <a:pt x="142086" y="267268"/>
                  <a:pt x="138659" y="270182"/>
                  <a:pt x="135745" y="270212"/>
                </a:cubicBezTo>
                <a:cubicBezTo>
                  <a:pt x="100181" y="270580"/>
                  <a:pt x="64612" y="270451"/>
                  <a:pt x="28028" y="270451"/>
                </a:cubicBezTo>
                <a:cubicBezTo>
                  <a:pt x="26976" y="260883"/>
                  <a:pt x="26343" y="252066"/>
                  <a:pt x="24984" y="243363"/>
                </a:cubicBezTo>
                <a:cubicBezTo>
                  <a:pt x="21268" y="219557"/>
                  <a:pt x="17119" y="195818"/>
                  <a:pt x="13372" y="172017"/>
                </a:cubicBezTo>
                <a:cubicBezTo>
                  <a:pt x="6574" y="128838"/>
                  <a:pt x="-1265" y="85746"/>
                  <a:pt x="172" y="41741"/>
                </a:cubicBezTo>
                <a:cubicBezTo>
                  <a:pt x="518" y="31127"/>
                  <a:pt x="1719" y="20540"/>
                  <a:pt x="1991" y="9927"/>
                </a:cubicBezTo>
                <a:cubicBezTo>
                  <a:pt x="2163" y="3278"/>
                  <a:pt x="4961" y="19"/>
                  <a:pt x="11535" y="11"/>
                </a:cubicBezTo>
                <a:cubicBezTo>
                  <a:pt x="27370" y="-9"/>
                  <a:pt x="43205" y="4"/>
                  <a:pt x="60320" y="4"/>
                </a:cubicBezTo>
                <a:cubicBezTo>
                  <a:pt x="61401" y="12123"/>
                  <a:pt x="62689" y="23341"/>
                  <a:pt x="63319" y="34595"/>
                </a:cubicBezTo>
                <a:cubicBezTo>
                  <a:pt x="63890" y="44802"/>
                  <a:pt x="63444" y="55066"/>
                  <a:pt x="63995" y="65276"/>
                </a:cubicBezTo>
                <a:cubicBezTo>
                  <a:pt x="64588" y="76246"/>
                  <a:pt x="67011" y="79017"/>
                  <a:pt x="77770" y="80309"/>
                </a:cubicBezTo>
                <a:cubicBezTo>
                  <a:pt x="86275" y="81330"/>
                  <a:pt x="94914" y="81244"/>
                  <a:pt x="104636" y="81707"/>
                </a:cubicBezTo>
                <a:close/>
              </a:path>
            </a:pathLst>
          </a:custGeom>
          <a:solidFill>
            <a:srgbClr val="FDFDFD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7787" name="Free-form: Shape 7786">
            <a:extLst>
              <a:ext uri="{FF2B5EF4-FFF2-40B4-BE49-F238E27FC236}">
                <a16:creationId xmlns:a16="http://schemas.microsoft.com/office/drawing/2014/main" id="{45FF6638-F110-821A-8FE6-7BB6DACAC95C}"/>
              </a:ext>
            </a:extLst>
          </p:cNvPr>
          <p:cNvSpPr/>
          <p:nvPr/>
        </p:nvSpPr>
        <p:spPr>
          <a:xfrm>
            <a:off x="1706940" y="4753732"/>
            <a:ext cx="222495" cy="51506"/>
          </a:xfrm>
          <a:custGeom>
            <a:avLst/>
            <a:gdLst>
              <a:gd name="csX0" fmla="*/ 135775 w 347893"/>
              <a:gd name="csY0" fmla="*/ 18580 h 80534"/>
              <a:gd name="csX1" fmla="*/ 239717 w 347893"/>
              <a:gd name="csY1" fmla="*/ 11288 h 80534"/>
              <a:gd name="csX2" fmla="*/ 318645 w 347893"/>
              <a:gd name="csY2" fmla="*/ 442 h 80534"/>
              <a:gd name="csX3" fmla="*/ 341767 w 347893"/>
              <a:gd name="csY3" fmla="*/ 13145 h 80534"/>
              <a:gd name="csX4" fmla="*/ 347232 w 347893"/>
              <a:gd name="csY4" fmla="*/ 54621 h 80534"/>
              <a:gd name="csX5" fmla="*/ 0 w 347893"/>
              <a:gd name="csY5" fmla="*/ 75820 h 80534"/>
              <a:gd name="csX6" fmla="*/ 0 w 347893"/>
              <a:gd name="csY6" fmla="*/ 19396 h 80534"/>
              <a:gd name="csX7" fmla="*/ 135775 w 347893"/>
              <a:gd name="csY7" fmla="*/ 18580 h 8053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</a:cxnLst>
            <a:rect l="l" t="t" r="r" b="b"/>
            <a:pathLst>
              <a:path w="347893" h="80534">
                <a:moveTo>
                  <a:pt x="135775" y="18580"/>
                </a:moveTo>
                <a:cubicBezTo>
                  <a:pt x="171209" y="16211"/>
                  <a:pt x="205541" y="14564"/>
                  <a:pt x="239717" y="11288"/>
                </a:cubicBezTo>
                <a:cubicBezTo>
                  <a:pt x="266132" y="8756"/>
                  <a:pt x="292375" y="4350"/>
                  <a:pt x="318645" y="442"/>
                </a:cubicBezTo>
                <a:cubicBezTo>
                  <a:pt x="330480" y="-1319"/>
                  <a:pt x="337947" y="2033"/>
                  <a:pt x="341767" y="13145"/>
                </a:cubicBezTo>
                <a:cubicBezTo>
                  <a:pt x="346279" y="26268"/>
                  <a:pt x="349293" y="39746"/>
                  <a:pt x="347232" y="54621"/>
                </a:cubicBezTo>
                <a:cubicBezTo>
                  <a:pt x="232188" y="77697"/>
                  <a:pt x="116756" y="86979"/>
                  <a:pt x="0" y="75820"/>
                </a:cubicBezTo>
                <a:cubicBezTo>
                  <a:pt x="0" y="56279"/>
                  <a:pt x="0" y="38485"/>
                  <a:pt x="0" y="19396"/>
                </a:cubicBezTo>
                <a:cubicBezTo>
                  <a:pt x="45633" y="19126"/>
                  <a:pt x="90119" y="18862"/>
                  <a:pt x="135775" y="18580"/>
                </a:cubicBezTo>
                <a:close/>
              </a:path>
            </a:pathLst>
          </a:custGeom>
          <a:solidFill>
            <a:srgbClr val="FCFDFD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7788" name="Free-form: Shape 7787">
            <a:extLst>
              <a:ext uri="{FF2B5EF4-FFF2-40B4-BE49-F238E27FC236}">
                <a16:creationId xmlns:a16="http://schemas.microsoft.com/office/drawing/2014/main" id="{D5E7BBFB-3515-C2D9-17DD-CDCE4D6B3903}"/>
              </a:ext>
            </a:extLst>
          </p:cNvPr>
          <p:cNvSpPr/>
          <p:nvPr/>
        </p:nvSpPr>
        <p:spPr>
          <a:xfrm>
            <a:off x="1715740" y="4085192"/>
            <a:ext cx="101531" cy="23472"/>
          </a:xfrm>
          <a:custGeom>
            <a:avLst/>
            <a:gdLst>
              <a:gd name="csX0" fmla="*/ 68505 w 158754"/>
              <a:gd name="csY0" fmla="*/ 36702 h 36701"/>
              <a:gd name="csX1" fmla="*/ 1920 w 158754"/>
              <a:gd name="csY1" fmla="*/ 36699 h 36701"/>
              <a:gd name="csX2" fmla="*/ 0 w 158754"/>
              <a:gd name="csY2" fmla="*/ 1592 h 36701"/>
              <a:gd name="csX3" fmla="*/ 11189 w 158754"/>
              <a:gd name="csY3" fmla="*/ 718 h 36701"/>
              <a:gd name="csX4" fmla="*/ 110708 w 158754"/>
              <a:gd name="csY4" fmla="*/ 3 h 36701"/>
              <a:gd name="csX5" fmla="*/ 127993 w 158754"/>
              <a:gd name="csY5" fmla="*/ 4910 h 36701"/>
              <a:gd name="csX6" fmla="*/ 146608 w 158754"/>
              <a:gd name="csY6" fmla="*/ 16808 h 36701"/>
              <a:gd name="csX7" fmla="*/ 158755 w 158754"/>
              <a:gd name="csY7" fmla="*/ 34647 h 36701"/>
              <a:gd name="csX8" fmla="*/ 145911 w 158754"/>
              <a:gd name="csY8" fmla="*/ 36459 h 36701"/>
              <a:gd name="csX9" fmla="*/ 68505 w 158754"/>
              <a:gd name="csY9" fmla="*/ 36702 h 3670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158754" h="36701">
                <a:moveTo>
                  <a:pt x="68505" y="36702"/>
                </a:moveTo>
                <a:cubicBezTo>
                  <a:pt x="45664" y="36699"/>
                  <a:pt x="24052" y="36699"/>
                  <a:pt x="1920" y="36699"/>
                </a:cubicBezTo>
                <a:cubicBezTo>
                  <a:pt x="-935" y="24569"/>
                  <a:pt x="572" y="13631"/>
                  <a:pt x="0" y="1592"/>
                </a:cubicBezTo>
                <a:cubicBezTo>
                  <a:pt x="4169" y="1253"/>
                  <a:pt x="7677" y="744"/>
                  <a:pt x="11189" y="718"/>
                </a:cubicBezTo>
                <a:cubicBezTo>
                  <a:pt x="44362" y="468"/>
                  <a:pt x="77538" y="423"/>
                  <a:pt x="110708" y="3"/>
                </a:cubicBezTo>
                <a:cubicBezTo>
                  <a:pt x="117152" y="-78"/>
                  <a:pt x="122702" y="1282"/>
                  <a:pt x="127993" y="4910"/>
                </a:cubicBezTo>
                <a:cubicBezTo>
                  <a:pt x="134065" y="9072"/>
                  <a:pt x="140615" y="12545"/>
                  <a:pt x="146608" y="16808"/>
                </a:cubicBezTo>
                <a:cubicBezTo>
                  <a:pt x="152239" y="20814"/>
                  <a:pt x="157699" y="25259"/>
                  <a:pt x="158755" y="34647"/>
                </a:cubicBezTo>
                <a:cubicBezTo>
                  <a:pt x="154257" y="35310"/>
                  <a:pt x="150089" y="36424"/>
                  <a:pt x="145911" y="36459"/>
                </a:cubicBezTo>
                <a:cubicBezTo>
                  <a:pt x="120520" y="36677"/>
                  <a:pt x="95126" y="36650"/>
                  <a:pt x="68505" y="36702"/>
                </a:cubicBezTo>
                <a:close/>
              </a:path>
            </a:pathLst>
          </a:custGeom>
          <a:solidFill>
            <a:srgbClr val="FBFCFB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2" name="Arrow: Striped Right 1">
            <a:extLst>
              <a:ext uri="{FF2B5EF4-FFF2-40B4-BE49-F238E27FC236}">
                <a16:creationId xmlns:a16="http://schemas.microsoft.com/office/drawing/2014/main" id="{81B52D90-D118-5E0B-CE51-65883E7B215F}"/>
              </a:ext>
            </a:extLst>
          </p:cNvPr>
          <p:cNvSpPr/>
          <p:nvPr/>
        </p:nvSpPr>
        <p:spPr>
          <a:xfrm>
            <a:off x="2306587" y="5906841"/>
            <a:ext cx="3280008" cy="486786"/>
          </a:xfrm>
          <a:prstGeom prst="stripedRightArrow">
            <a:avLst>
              <a:gd name="adj1" fmla="val 100000"/>
              <a:gd name="adj2" fmla="val 0"/>
            </a:avLst>
          </a:prstGeom>
          <a:solidFill>
            <a:schemeClr val="accent1"/>
          </a:solidFill>
          <a:ln>
            <a:noFill/>
          </a:ln>
          <a:scene3d>
            <a:camera prst="perspectiveRelaxed" fov="4500000">
              <a:rot lat="18000000" lon="0" rev="0"/>
            </a:camera>
            <a:lightRig rig="threePt" dir="t"/>
          </a:scene3d>
          <a:sp3d prstMaterial="matte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cene3d>
              <a:camera prst="isometricOffAxis2Top"/>
              <a:lightRig rig="threePt" dir="t"/>
            </a:scene3d>
          </a:bodyPr>
          <a:lstStyle/>
          <a:p>
            <a:pPr algn="ctr"/>
            <a:endParaRPr lang="en-GB" dirty="0"/>
          </a:p>
        </p:txBody>
      </p:sp>
      <p:sp>
        <p:nvSpPr>
          <p:cNvPr id="3" name="Arrow: Right 2">
            <a:extLst>
              <a:ext uri="{FF2B5EF4-FFF2-40B4-BE49-F238E27FC236}">
                <a16:creationId xmlns:a16="http://schemas.microsoft.com/office/drawing/2014/main" id="{716BD78C-B4EE-0A27-F8FC-8DC98C25EDB5}"/>
              </a:ext>
            </a:extLst>
          </p:cNvPr>
          <p:cNvSpPr/>
          <p:nvPr/>
        </p:nvSpPr>
        <p:spPr>
          <a:xfrm rot="16200000">
            <a:off x="4623647" y="5557683"/>
            <a:ext cx="1414462" cy="813953"/>
          </a:xfrm>
          <a:prstGeom prst="rightArrow">
            <a:avLst/>
          </a:prstGeom>
          <a:solidFill>
            <a:schemeClr val="accent1"/>
          </a:solidFill>
          <a:ln>
            <a:noFill/>
          </a:ln>
          <a:scene3d>
            <a:camera prst="isometricOffAxis2Right"/>
            <a:lightRig rig="threePt" dir="t"/>
          </a:scene3d>
          <a:sp3d prstMaterial="matte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cene3d>
              <a:camera prst="isometricOffAxis2Top"/>
              <a:lightRig rig="threePt" dir="t"/>
            </a:scene3d>
          </a:bodyPr>
          <a:lstStyle/>
          <a:p>
            <a:pPr algn="ctr"/>
            <a:endParaRPr lang="en-GB" dirty="0"/>
          </a:p>
        </p:txBody>
      </p:sp>
      <p:sp>
        <p:nvSpPr>
          <p:cNvPr id="5654" name="Oval 5653">
            <a:extLst>
              <a:ext uri="{FF2B5EF4-FFF2-40B4-BE49-F238E27FC236}">
                <a16:creationId xmlns:a16="http://schemas.microsoft.com/office/drawing/2014/main" id="{4FAB1F19-7877-08DC-A019-25FE56797FCB}"/>
              </a:ext>
            </a:extLst>
          </p:cNvPr>
          <p:cNvSpPr/>
          <p:nvPr/>
        </p:nvSpPr>
        <p:spPr>
          <a:xfrm>
            <a:off x="2639308" y="6045623"/>
            <a:ext cx="895350" cy="184149"/>
          </a:xfrm>
          <a:prstGeom prst="ellipse">
            <a:avLst/>
          </a:prstGeom>
          <a:solidFill>
            <a:schemeClr val="tx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7427" name="Free-form: Shape 7426">
            <a:extLst>
              <a:ext uri="{FF2B5EF4-FFF2-40B4-BE49-F238E27FC236}">
                <a16:creationId xmlns:a16="http://schemas.microsoft.com/office/drawing/2014/main" id="{1AFCEE2A-64DD-A827-332C-B32BEECCE392}"/>
              </a:ext>
            </a:extLst>
          </p:cNvPr>
          <p:cNvSpPr/>
          <p:nvPr/>
        </p:nvSpPr>
        <p:spPr>
          <a:xfrm>
            <a:off x="-7690" y="6125632"/>
            <a:ext cx="713425" cy="184150"/>
          </a:xfrm>
          <a:custGeom>
            <a:avLst/>
            <a:gdLst>
              <a:gd name="csX0" fmla="*/ 265749 w 713425"/>
              <a:gd name="csY0" fmla="*/ 0 h 184150"/>
              <a:gd name="csX1" fmla="*/ 713425 w 713425"/>
              <a:gd name="csY1" fmla="*/ 92075 h 184150"/>
              <a:gd name="csX2" fmla="*/ 265749 w 713425"/>
              <a:gd name="csY2" fmla="*/ 184150 h 184150"/>
              <a:gd name="csX3" fmla="*/ 15449 w 713425"/>
              <a:gd name="csY3" fmla="*/ 168425 h 184150"/>
              <a:gd name="csX4" fmla="*/ 0 w 713425"/>
              <a:gd name="csY4" fmla="*/ 165804 h 184150"/>
              <a:gd name="csX5" fmla="*/ 0 w 713425"/>
              <a:gd name="csY5" fmla="*/ 18347 h 184150"/>
              <a:gd name="csX6" fmla="*/ 15449 w 713425"/>
              <a:gd name="csY6" fmla="*/ 15725 h 184150"/>
              <a:gd name="csX7" fmla="*/ 265749 w 713425"/>
              <a:gd name="csY7" fmla="*/ 0 h 18415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</a:cxnLst>
            <a:rect l="l" t="t" r="r" b="b"/>
            <a:pathLst>
              <a:path w="713425" h="184150">
                <a:moveTo>
                  <a:pt x="265749" y="0"/>
                </a:moveTo>
                <a:cubicBezTo>
                  <a:pt x="512994" y="0"/>
                  <a:pt x="713425" y="41223"/>
                  <a:pt x="713425" y="92075"/>
                </a:cubicBezTo>
                <a:cubicBezTo>
                  <a:pt x="713425" y="142927"/>
                  <a:pt x="512994" y="184150"/>
                  <a:pt x="265749" y="184150"/>
                </a:cubicBezTo>
                <a:cubicBezTo>
                  <a:pt x="173032" y="184150"/>
                  <a:pt x="86898" y="178353"/>
                  <a:pt x="15449" y="168425"/>
                </a:cubicBezTo>
                <a:lnTo>
                  <a:pt x="0" y="165804"/>
                </a:lnTo>
                <a:lnTo>
                  <a:pt x="0" y="18347"/>
                </a:lnTo>
                <a:lnTo>
                  <a:pt x="15449" y="15725"/>
                </a:lnTo>
                <a:cubicBezTo>
                  <a:pt x="86898" y="5797"/>
                  <a:pt x="173032" y="0"/>
                  <a:pt x="265749" y="0"/>
                </a:cubicBezTo>
                <a:close/>
              </a:path>
            </a:pathLst>
          </a:custGeom>
          <a:solidFill>
            <a:schemeClr val="tx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7434" name="Free-form: Shape 7433">
            <a:extLst>
              <a:ext uri="{FF2B5EF4-FFF2-40B4-BE49-F238E27FC236}">
                <a16:creationId xmlns:a16="http://schemas.microsoft.com/office/drawing/2014/main" id="{3F077EB3-1B61-3E4B-DD73-0C176E39AB5E}"/>
              </a:ext>
            </a:extLst>
          </p:cNvPr>
          <p:cNvSpPr/>
          <p:nvPr/>
        </p:nvSpPr>
        <p:spPr>
          <a:xfrm>
            <a:off x="-7690" y="4525836"/>
            <a:ext cx="650776" cy="1711963"/>
          </a:xfrm>
          <a:custGeom>
            <a:avLst/>
            <a:gdLst>
              <a:gd name="csX0" fmla="*/ 590040 w 650776"/>
              <a:gd name="csY0" fmla="*/ 1595274 h 1711963"/>
              <a:gd name="csX1" fmla="*/ 560602 w 650776"/>
              <a:gd name="csY1" fmla="*/ 1598948 h 1711963"/>
              <a:gd name="csX2" fmla="*/ 360274 w 650776"/>
              <a:gd name="csY2" fmla="*/ 1614204 h 1711963"/>
              <a:gd name="csX3" fmla="*/ 263020 w 650776"/>
              <a:gd name="csY3" fmla="*/ 1614728 h 1711963"/>
              <a:gd name="csX4" fmla="*/ 249011 w 650776"/>
              <a:gd name="csY4" fmla="*/ 1614730 h 1711963"/>
              <a:gd name="csX5" fmla="*/ 251471 w 650776"/>
              <a:gd name="csY5" fmla="*/ 1671054 h 1711963"/>
              <a:gd name="csX6" fmla="*/ 365464 w 650776"/>
              <a:gd name="csY6" fmla="*/ 1673624 h 1711963"/>
              <a:gd name="csX7" fmla="*/ 617663 w 650776"/>
              <a:gd name="csY7" fmla="*/ 1646160 h 1711963"/>
              <a:gd name="csX8" fmla="*/ 604329 w 650776"/>
              <a:gd name="csY8" fmla="*/ 1602332 h 1711963"/>
              <a:gd name="csX9" fmla="*/ 590040 w 650776"/>
              <a:gd name="csY9" fmla="*/ 1595274 h 1711963"/>
              <a:gd name="csX10" fmla="*/ 488481 w 650776"/>
              <a:gd name="csY10" fmla="*/ 1342065 h 1711963"/>
              <a:gd name="csX11" fmla="*/ 458330 w 650776"/>
              <a:gd name="csY11" fmla="*/ 1342142 h 1711963"/>
              <a:gd name="csX12" fmla="*/ 330440 w 650776"/>
              <a:gd name="csY12" fmla="*/ 1349459 h 1711963"/>
              <a:gd name="csX13" fmla="*/ 257645 w 650776"/>
              <a:gd name="csY13" fmla="*/ 1352096 h 1711963"/>
              <a:gd name="csX14" fmla="*/ 251654 w 650776"/>
              <a:gd name="csY14" fmla="*/ 1353678 h 1711963"/>
              <a:gd name="csX15" fmla="*/ 255467 w 650776"/>
              <a:gd name="csY15" fmla="*/ 1456644 h 1711963"/>
              <a:gd name="csX16" fmla="*/ 252252 w 650776"/>
              <a:gd name="csY16" fmla="*/ 1559654 h 1711963"/>
              <a:gd name="csX17" fmla="*/ 429174 w 650776"/>
              <a:gd name="csY17" fmla="*/ 1559444 h 1711963"/>
              <a:gd name="csX18" fmla="*/ 435834 w 650776"/>
              <a:gd name="csY18" fmla="*/ 1558370 h 1711963"/>
              <a:gd name="csX19" fmla="*/ 559275 w 650776"/>
              <a:gd name="csY19" fmla="*/ 1546734 h 1711963"/>
              <a:gd name="csX20" fmla="*/ 595574 w 650776"/>
              <a:gd name="csY20" fmla="*/ 1540698 h 1711963"/>
              <a:gd name="csX21" fmla="*/ 596274 w 650776"/>
              <a:gd name="csY21" fmla="*/ 1535739 h 1711963"/>
              <a:gd name="csX22" fmla="*/ 596112 w 650776"/>
              <a:gd name="csY22" fmla="*/ 1528994 h 1711963"/>
              <a:gd name="csX23" fmla="*/ 549380 w 650776"/>
              <a:gd name="csY23" fmla="*/ 1436862 h 1711963"/>
              <a:gd name="csX24" fmla="*/ 519646 w 650776"/>
              <a:gd name="csY24" fmla="*/ 1409414 h 1711963"/>
              <a:gd name="csX25" fmla="*/ 488481 w 650776"/>
              <a:gd name="csY25" fmla="*/ 1342065 h 1711963"/>
              <a:gd name="csX26" fmla="*/ 365657 w 650776"/>
              <a:gd name="csY26" fmla="*/ 777116 h 1711963"/>
              <a:gd name="csX27" fmla="*/ 267579 w 650776"/>
              <a:gd name="csY27" fmla="*/ 781830 h 1711963"/>
              <a:gd name="csX28" fmla="*/ 266804 w 650776"/>
              <a:gd name="csY28" fmla="*/ 791141 h 1711963"/>
              <a:gd name="csX29" fmla="*/ 264604 w 650776"/>
              <a:gd name="csY29" fmla="*/ 918039 h 1711963"/>
              <a:gd name="csX30" fmla="*/ 261826 w 650776"/>
              <a:gd name="csY30" fmla="*/ 1034129 h 1711963"/>
              <a:gd name="csX31" fmla="*/ 258174 w 650776"/>
              <a:gd name="csY31" fmla="*/ 1158306 h 1711963"/>
              <a:gd name="csX32" fmla="*/ 257918 w 650776"/>
              <a:gd name="csY32" fmla="*/ 1163703 h 1711963"/>
              <a:gd name="csX33" fmla="*/ 253106 w 650776"/>
              <a:gd name="csY33" fmla="*/ 1281027 h 1711963"/>
              <a:gd name="csX34" fmla="*/ 254475 w 650776"/>
              <a:gd name="csY34" fmla="*/ 1289802 h 1711963"/>
              <a:gd name="csX35" fmla="*/ 459084 w 650776"/>
              <a:gd name="csY35" fmla="*/ 1293569 h 1711963"/>
              <a:gd name="csX36" fmla="*/ 385634 w 650776"/>
              <a:gd name="csY36" fmla="*/ 1021220 h 1711963"/>
              <a:gd name="csX37" fmla="*/ 369949 w 650776"/>
              <a:gd name="csY37" fmla="*/ 899569 h 1711963"/>
              <a:gd name="csX38" fmla="*/ 365657 w 650776"/>
              <a:gd name="csY38" fmla="*/ 777116 h 1711963"/>
              <a:gd name="csX39" fmla="*/ 417141 w 650776"/>
              <a:gd name="csY39" fmla="*/ 698289 h 1711963"/>
              <a:gd name="csX40" fmla="*/ 363336 w 650776"/>
              <a:gd name="csY40" fmla="*/ 698794 h 1711963"/>
              <a:gd name="csX41" fmla="*/ 275649 w 650776"/>
              <a:gd name="csY41" fmla="*/ 703342 h 1711963"/>
              <a:gd name="csX42" fmla="*/ 275649 w 650776"/>
              <a:gd name="csY42" fmla="*/ 740527 h 1711963"/>
              <a:gd name="csX43" fmla="*/ 289332 w 650776"/>
              <a:gd name="csY43" fmla="*/ 741090 h 1711963"/>
              <a:gd name="csX44" fmla="*/ 437347 w 650776"/>
              <a:gd name="csY44" fmla="*/ 735395 h 1711963"/>
              <a:gd name="csX45" fmla="*/ 451647 w 650776"/>
              <a:gd name="csY45" fmla="*/ 732073 h 1711963"/>
              <a:gd name="csX46" fmla="*/ 456284 w 650776"/>
              <a:gd name="csY46" fmla="*/ 717779 h 1711963"/>
              <a:gd name="csX47" fmla="*/ 446344 w 650776"/>
              <a:gd name="csY47" fmla="*/ 707185 h 1711963"/>
              <a:gd name="csX48" fmla="*/ 417141 w 650776"/>
              <a:gd name="csY48" fmla="*/ 698289 h 1711963"/>
              <a:gd name="csX49" fmla="*/ 375529 w 650776"/>
              <a:gd name="csY49" fmla="*/ 589918 h 1711963"/>
              <a:gd name="csX50" fmla="*/ 360490 w 650776"/>
              <a:gd name="csY50" fmla="*/ 589948 h 1711963"/>
              <a:gd name="csX51" fmla="*/ 293183 w 650776"/>
              <a:gd name="csY51" fmla="*/ 592877 h 1711963"/>
              <a:gd name="csX52" fmla="*/ 275666 w 650776"/>
              <a:gd name="csY52" fmla="*/ 593234 h 1711963"/>
              <a:gd name="csX53" fmla="*/ 269580 w 650776"/>
              <a:gd name="csY53" fmla="*/ 599331 h 1711963"/>
              <a:gd name="csX54" fmla="*/ 263989 w 650776"/>
              <a:gd name="csY54" fmla="*/ 666197 h 1711963"/>
              <a:gd name="csX55" fmla="*/ 410016 w 650776"/>
              <a:gd name="csY55" fmla="*/ 661613 h 1711963"/>
              <a:gd name="csX56" fmla="*/ 397604 w 650776"/>
              <a:gd name="csY56" fmla="*/ 637217 h 1711963"/>
              <a:gd name="csX57" fmla="*/ 377206 w 650776"/>
              <a:gd name="csY57" fmla="*/ 595129 h 1711963"/>
              <a:gd name="csX58" fmla="*/ 375529 w 650776"/>
              <a:gd name="csY58" fmla="*/ 589918 h 1711963"/>
              <a:gd name="csX59" fmla="*/ 269699 w 650776"/>
              <a:gd name="csY59" fmla="*/ 111819 h 1711963"/>
              <a:gd name="csX60" fmla="*/ 267123 w 650776"/>
              <a:gd name="csY60" fmla="*/ 159144 h 1711963"/>
              <a:gd name="csX61" fmla="*/ 266021 w 650776"/>
              <a:gd name="csY61" fmla="*/ 202341 h 1711963"/>
              <a:gd name="csX62" fmla="*/ 265241 w 650776"/>
              <a:gd name="csY62" fmla="*/ 327824 h 1711963"/>
              <a:gd name="csX63" fmla="*/ 275281 w 650776"/>
              <a:gd name="csY63" fmla="*/ 473106 h 1711963"/>
              <a:gd name="csX64" fmla="*/ 283226 w 650776"/>
              <a:gd name="csY64" fmla="*/ 541386 h 1711963"/>
              <a:gd name="csX65" fmla="*/ 290752 w 650776"/>
              <a:gd name="csY65" fmla="*/ 549715 h 1711963"/>
              <a:gd name="csX66" fmla="*/ 366211 w 650776"/>
              <a:gd name="csY66" fmla="*/ 546509 h 1711963"/>
              <a:gd name="csX67" fmla="*/ 394620 w 650776"/>
              <a:gd name="csY67" fmla="*/ 533605 h 1711963"/>
              <a:gd name="csX68" fmla="*/ 444847 w 650776"/>
              <a:gd name="csY68" fmla="*/ 412312 h 1711963"/>
              <a:gd name="csX69" fmla="*/ 415542 w 650776"/>
              <a:gd name="csY69" fmla="*/ 287808 h 1711963"/>
              <a:gd name="csX70" fmla="*/ 406917 w 650776"/>
              <a:gd name="csY70" fmla="*/ 274800 h 1711963"/>
              <a:gd name="csX71" fmla="*/ 398542 w 650776"/>
              <a:gd name="csY71" fmla="*/ 286011 h 1711963"/>
              <a:gd name="csX72" fmla="*/ 362665 w 650776"/>
              <a:gd name="csY72" fmla="*/ 341576 h 1711963"/>
              <a:gd name="csX73" fmla="*/ 341075 w 650776"/>
              <a:gd name="csY73" fmla="*/ 372539 h 1711963"/>
              <a:gd name="csX74" fmla="*/ 308114 w 650776"/>
              <a:gd name="csY74" fmla="*/ 378081 h 1711963"/>
              <a:gd name="csX75" fmla="*/ 300099 w 650776"/>
              <a:gd name="csY75" fmla="*/ 347173 h 1711963"/>
              <a:gd name="csX76" fmla="*/ 303659 w 650776"/>
              <a:gd name="csY76" fmla="*/ 339900 h 1711963"/>
              <a:gd name="csX77" fmla="*/ 361336 w 650776"/>
              <a:gd name="csY77" fmla="*/ 220847 h 1711963"/>
              <a:gd name="csX78" fmla="*/ 359159 w 650776"/>
              <a:gd name="csY78" fmla="*/ 198656 h 1711963"/>
              <a:gd name="csX79" fmla="*/ 278229 w 650776"/>
              <a:gd name="csY79" fmla="*/ 116078 h 1711963"/>
              <a:gd name="csX80" fmla="*/ 269699 w 650776"/>
              <a:gd name="csY80" fmla="*/ 111819 h 1711963"/>
              <a:gd name="csX81" fmla="*/ 258428 w 650776"/>
              <a:gd name="csY81" fmla="*/ 0 h 1711963"/>
              <a:gd name="csX82" fmla="*/ 287424 w 650776"/>
              <a:gd name="csY82" fmla="*/ 6106 h 1711963"/>
              <a:gd name="csX83" fmla="*/ 314780 w 650776"/>
              <a:gd name="csY83" fmla="*/ 29456 h 1711963"/>
              <a:gd name="csX84" fmla="*/ 311758 w 650776"/>
              <a:gd name="csY84" fmla="*/ 50657 h 1711963"/>
              <a:gd name="csX85" fmla="*/ 307078 w 650776"/>
              <a:gd name="csY85" fmla="*/ 34046 h 1711963"/>
              <a:gd name="csX86" fmla="*/ 300771 w 650776"/>
              <a:gd name="csY86" fmla="*/ 33397 h 1711963"/>
              <a:gd name="csX87" fmla="*/ 260793 w 650776"/>
              <a:gd name="csY87" fmla="*/ 25036 h 1711963"/>
              <a:gd name="csX88" fmla="*/ 250865 w 650776"/>
              <a:gd name="csY88" fmla="*/ 34910 h 1711963"/>
              <a:gd name="csX89" fmla="*/ 250598 w 650776"/>
              <a:gd name="csY89" fmla="*/ 48386 h 1711963"/>
              <a:gd name="csX90" fmla="*/ 294094 w 650776"/>
              <a:gd name="csY90" fmla="*/ 75638 h 1711963"/>
              <a:gd name="csX91" fmla="*/ 305976 w 650776"/>
              <a:gd name="csY91" fmla="*/ 64928 h 1711963"/>
              <a:gd name="csX92" fmla="*/ 314610 w 650776"/>
              <a:gd name="csY92" fmla="*/ 61365 h 1711963"/>
              <a:gd name="csX93" fmla="*/ 315499 w 650776"/>
              <a:gd name="csY93" fmla="*/ 70682 h 1711963"/>
              <a:gd name="csX94" fmla="*/ 303428 w 650776"/>
              <a:gd name="csY94" fmla="*/ 89992 h 1711963"/>
              <a:gd name="csX95" fmla="*/ 303310 w 650776"/>
              <a:gd name="csY95" fmla="*/ 107892 h 1711963"/>
              <a:gd name="csX96" fmla="*/ 382781 w 650776"/>
              <a:gd name="csY96" fmla="*/ 198577 h 1711963"/>
              <a:gd name="csX97" fmla="*/ 384934 w 650776"/>
              <a:gd name="csY97" fmla="*/ 221016 h 1711963"/>
              <a:gd name="csX98" fmla="*/ 374074 w 650776"/>
              <a:gd name="csY98" fmla="*/ 245642 h 1711963"/>
              <a:gd name="csX99" fmla="*/ 377567 w 650776"/>
              <a:gd name="csY99" fmla="*/ 251992 h 1711963"/>
              <a:gd name="csX100" fmla="*/ 372590 w 650776"/>
              <a:gd name="csY100" fmla="*/ 266865 h 1711963"/>
              <a:gd name="csX101" fmla="*/ 410668 w 650776"/>
              <a:gd name="csY101" fmla="*/ 225213 h 1711963"/>
              <a:gd name="csX102" fmla="*/ 451824 w 650776"/>
              <a:gd name="csY102" fmla="*/ 298056 h 1711963"/>
              <a:gd name="csX103" fmla="*/ 458677 w 650776"/>
              <a:gd name="csY103" fmla="*/ 490585 h 1711963"/>
              <a:gd name="csX104" fmla="*/ 424729 w 650776"/>
              <a:gd name="csY104" fmla="*/ 546617 h 1711963"/>
              <a:gd name="csX105" fmla="*/ 419932 w 650776"/>
              <a:gd name="csY105" fmla="*/ 563083 h 1711963"/>
              <a:gd name="csX106" fmla="*/ 416210 w 650776"/>
              <a:gd name="csY106" fmla="*/ 583415 h 1711963"/>
              <a:gd name="csX107" fmla="*/ 420275 w 650776"/>
              <a:gd name="csY107" fmla="*/ 612101 h 1711963"/>
              <a:gd name="csX108" fmla="*/ 442756 w 650776"/>
              <a:gd name="csY108" fmla="*/ 650963 h 1711963"/>
              <a:gd name="csX109" fmla="*/ 459766 w 650776"/>
              <a:gd name="csY109" fmla="*/ 673491 h 1711963"/>
              <a:gd name="csX110" fmla="*/ 490559 w 650776"/>
              <a:gd name="csY110" fmla="*/ 707785 h 1711963"/>
              <a:gd name="csX111" fmla="*/ 474787 w 650776"/>
              <a:gd name="csY111" fmla="*/ 757321 h 1711963"/>
              <a:gd name="csX112" fmla="*/ 428635 w 650776"/>
              <a:gd name="csY112" fmla="*/ 770612 h 1711963"/>
              <a:gd name="csX113" fmla="*/ 401444 w 650776"/>
              <a:gd name="csY113" fmla="*/ 773103 h 1711963"/>
              <a:gd name="csX114" fmla="*/ 401428 w 650776"/>
              <a:gd name="csY114" fmla="*/ 789894 h 1711963"/>
              <a:gd name="csX115" fmla="*/ 443247 w 650776"/>
              <a:gd name="csY115" fmla="*/ 1111233 h 1711963"/>
              <a:gd name="csX116" fmla="*/ 491014 w 650776"/>
              <a:gd name="csY116" fmla="*/ 1268649 h 1711963"/>
              <a:gd name="csX117" fmla="*/ 510158 w 650776"/>
              <a:gd name="csY117" fmla="*/ 1289390 h 1711963"/>
              <a:gd name="csX118" fmla="*/ 530944 w 650776"/>
              <a:gd name="csY118" fmla="*/ 1298980 h 1711963"/>
              <a:gd name="csX119" fmla="*/ 538770 w 650776"/>
              <a:gd name="csY119" fmla="*/ 1324686 h 1711963"/>
              <a:gd name="csX120" fmla="*/ 529915 w 650776"/>
              <a:gd name="csY120" fmla="*/ 1338436 h 1711963"/>
              <a:gd name="csX121" fmla="*/ 524324 w 650776"/>
              <a:gd name="csY121" fmla="*/ 1342300 h 1711963"/>
              <a:gd name="csX122" fmla="*/ 535661 w 650776"/>
              <a:gd name="csY122" fmla="*/ 1384625 h 1711963"/>
              <a:gd name="csX123" fmla="*/ 603638 w 650776"/>
              <a:gd name="csY123" fmla="*/ 1451791 h 1711963"/>
              <a:gd name="csX124" fmla="*/ 607073 w 650776"/>
              <a:gd name="csY124" fmla="*/ 1455703 h 1711963"/>
              <a:gd name="csX125" fmla="*/ 626274 w 650776"/>
              <a:gd name="csY125" fmla="*/ 1535675 h 1711963"/>
              <a:gd name="csX126" fmla="*/ 623721 w 650776"/>
              <a:gd name="csY126" fmla="*/ 1555529 h 1711963"/>
              <a:gd name="csX127" fmla="*/ 629177 w 650776"/>
              <a:gd name="csY127" fmla="*/ 1563139 h 1711963"/>
              <a:gd name="csX128" fmla="*/ 627818 w 650776"/>
              <a:gd name="csY128" fmla="*/ 1567709 h 1711963"/>
              <a:gd name="csX129" fmla="*/ 622046 w 650776"/>
              <a:gd name="csY129" fmla="*/ 1571586 h 1711963"/>
              <a:gd name="csX130" fmla="*/ 628632 w 650776"/>
              <a:gd name="csY130" fmla="*/ 1571276 h 1711963"/>
              <a:gd name="csX131" fmla="*/ 631437 w 650776"/>
              <a:gd name="csY131" fmla="*/ 1576151 h 1711963"/>
              <a:gd name="csX132" fmla="*/ 632057 w 650776"/>
              <a:gd name="csY132" fmla="*/ 1586187 h 1711963"/>
              <a:gd name="csX133" fmla="*/ 650731 w 650776"/>
              <a:gd name="csY133" fmla="*/ 1659627 h 1711963"/>
              <a:gd name="csX134" fmla="*/ 635724 w 650776"/>
              <a:gd name="csY134" fmla="*/ 1679177 h 1711963"/>
              <a:gd name="csX135" fmla="*/ 503916 w 650776"/>
              <a:gd name="csY135" fmla="*/ 1703415 h 1711963"/>
              <a:gd name="csX136" fmla="*/ 438414 w 650776"/>
              <a:gd name="csY136" fmla="*/ 1708897 h 1711963"/>
              <a:gd name="csX137" fmla="*/ 359038 w 650776"/>
              <a:gd name="csY137" fmla="*/ 1711621 h 1711963"/>
              <a:gd name="csX138" fmla="*/ 133715 w 650776"/>
              <a:gd name="csY138" fmla="*/ 1709124 h 1711963"/>
              <a:gd name="csX139" fmla="*/ 108069 w 650776"/>
              <a:gd name="csY139" fmla="*/ 1708637 h 1711963"/>
              <a:gd name="csX140" fmla="*/ 49275 w 650776"/>
              <a:gd name="csY140" fmla="*/ 1703711 h 1711963"/>
              <a:gd name="csX141" fmla="*/ 3696 w 650776"/>
              <a:gd name="csY141" fmla="*/ 1700700 h 1711963"/>
              <a:gd name="csX142" fmla="*/ 0 w 650776"/>
              <a:gd name="csY142" fmla="*/ 1700188 h 1711963"/>
              <a:gd name="csX143" fmla="*/ 0 w 650776"/>
              <a:gd name="csY143" fmla="*/ 1300965 h 1711963"/>
              <a:gd name="csX144" fmla="*/ 12759 w 650776"/>
              <a:gd name="csY144" fmla="*/ 1295952 h 1711963"/>
              <a:gd name="csX145" fmla="*/ 36218 w 650776"/>
              <a:gd name="csY145" fmla="*/ 1272036 h 1711963"/>
              <a:gd name="csX146" fmla="*/ 68241 w 650776"/>
              <a:gd name="csY146" fmla="*/ 1167850 h 1711963"/>
              <a:gd name="csX147" fmla="*/ 85211 w 650776"/>
              <a:gd name="csY147" fmla="*/ 1105602 h 1711963"/>
              <a:gd name="csX148" fmla="*/ 99280 w 650776"/>
              <a:gd name="csY148" fmla="*/ 1037344 h 1711963"/>
              <a:gd name="csX149" fmla="*/ 109967 w 650776"/>
              <a:gd name="csY149" fmla="*/ 972584 h 1711963"/>
              <a:gd name="csX150" fmla="*/ 115739 w 650776"/>
              <a:gd name="csY150" fmla="*/ 923320 h 1711963"/>
              <a:gd name="csX151" fmla="*/ 120605 w 650776"/>
              <a:gd name="csY151" fmla="*/ 873993 h 1711963"/>
              <a:gd name="csX152" fmla="*/ 120784 w 650776"/>
              <a:gd name="csY152" fmla="*/ 779410 h 1711963"/>
              <a:gd name="csX153" fmla="*/ 119508 w 650776"/>
              <a:gd name="csY153" fmla="*/ 769099 h 1711963"/>
              <a:gd name="csX154" fmla="*/ 76082 w 650776"/>
              <a:gd name="csY154" fmla="*/ 762444 h 1711963"/>
              <a:gd name="csX155" fmla="*/ 46873 w 650776"/>
              <a:gd name="csY155" fmla="*/ 752652 h 1711963"/>
              <a:gd name="csX156" fmla="*/ 32863 w 650776"/>
              <a:gd name="csY156" fmla="*/ 714675 h 1711963"/>
              <a:gd name="csX157" fmla="*/ 61261 w 650776"/>
              <a:gd name="csY157" fmla="*/ 683107 h 1711963"/>
              <a:gd name="csX158" fmla="*/ 75429 w 650776"/>
              <a:gd name="csY158" fmla="*/ 661843 h 1711963"/>
              <a:gd name="csX159" fmla="*/ 89413 w 650776"/>
              <a:gd name="csY159" fmla="*/ 641759 h 1711963"/>
              <a:gd name="csX160" fmla="*/ 120564 w 650776"/>
              <a:gd name="csY160" fmla="*/ 620833 h 1711963"/>
              <a:gd name="csX161" fmla="*/ 116727 w 650776"/>
              <a:gd name="csY161" fmla="*/ 591995 h 1711963"/>
              <a:gd name="csX162" fmla="*/ 104677 w 650776"/>
              <a:gd name="csY162" fmla="*/ 585897 h 1711963"/>
              <a:gd name="csX163" fmla="*/ 100731 w 650776"/>
              <a:gd name="csY163" fmla="*/ 573725 h 1711963"/>
              <a:gd name="csX164" fmla="*/ 109734 w 650776"/>
              <a:gd name="csY164" fmla="*/ 559791 h 1711963"/>
              <a:gd name="csX165" fmla="*/ 104238 w 650776"/>
              <a:gd name="csY165" fmla="*/ 547949 h 1711963"/>
              <a:gd name="csX166" fmla="*/ 63613 w 650776"/>
              <a:gd name="csY166" fmla="*/ 475539 h 1711963"/>
              <a:gd name="csX167" fmla="*/ 48318 w 650776"/>
              <a:gd name="csY167" fmla="*/ 384825 h 1711963"/>
              <a:gd name="csX168" fmla="*/ 76866 w 650776"/>
              <a:gd name="csY168" fmla="*/ 288770 h 1711963"/>
              <a:gd name="csX169" fmla="*/ 125552 w 650776"/>
              <a:gd name="csY169" fmla="*/ 209759 h 1711963"/>
              <a:gd name="csX170" fmla="*/ 204434 w 650776"/>
              <a:gd name="csY170" fmla="*/ 112886 h 1711963"/>
              <a:gd name="csX171" fmla="*/ 205534 w 650776"/>
              <a:gd name="csY171" fmla="*/ 86373 h 1711963"/>
              <a:gd name="csX172" fmla="*/ 194323 w 650776"/>
              <a:gd name="csY172" fmla="*/ 63642 h 1711963"/>
              <a:gd name="csX173" fmla="*/ 229496 w 650776"/>
              <a:gd name="csY173" fmla="*/ 4864 h 1711963"/>
              <a:gd name="csX174" fmla="*/ 258428 w 650776"/>
              <a:gd name="csY174" fmla="*/ 0 h 171196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  <a:cxn ang="0">
                <a:pos x="csX170" y="csY170"/>
              </a:cxn>
              <a:cxn ang="0">
                <a:pos x="csX171" y="csY171"/>
              </a:cxn>
              <a:cxn ang="0">
                <a:pos x="csX172" y="csY172"/>
              </a:cxn>
              <a:cxn ang="0">
                <a:pos x="csX173" y="csY173"/>
              </a:cxn>
              <a:cxn ang="0">
                <a:pos x="csX174" y="csY174"/>
              </a:cxn>
            </a:cxnLst>
            <a:rect l="l" t="t" r="r" b="b"/>
            <a:pathLst>
              <a:path w="650776" h="1711963">
                <a:moveTo>
                  <a:pt x="590040" y="1595274"/>
                </a:moveTo>
                <a:cubicBezTo>
                  <a:pt x="580267" y="1596761"/>
                  <a:pt x="570388" y="1597539"/>
                  <a:pt x="560602" y="1598948"/>
                </a:cubicBezTo>
                <a:cubicBezTo>
                  <a:pt x="494167" y="1608518"/>
                  <a:pt x="427222" y="1611648"/>
                  <a:pt x="360274" y="1614204"/>
                </a:cubicBezTo>
                <a:cubicBezTo>
                  <a:pt x="327896" y="1615440"/>
                  <a:pt x="295441" y="1614621"/>
                  <a:pt x="263020" y="1614728"/>
                </a:cubicBezTo>
                <a:cubicBezTo>
                  <a:pt x="258254" y="1614743"/>
                  <a:pt x="253487" y="1614730"/>
                  <a:pt x="249011" y="1614730"/>
                </a:cubicBezTo>
                <a:cubicBezTo>
                  <a:pt x="246381" y="1633898"/>
                  <a:pt x="247496" y="1660404"/>
                  <a:pt x="251471" y="1671054"/>
                </a:cubicBezTo>
                <a:cubicBezTo>
                  <a:pt x="288208" y="1671908"/>
                  <a:pt x="325487" y="1672773"/>
                  <a:pt x="365464" y="1673624"/>
                </a:cubicBezTo>
                <a:cubicBezTo>
                  <a:pt x="450377" y="1671573"/>
                  <a:pt x="534821" y="1665493"/>
                  <a:pt x="617663" y="1646160"/>
                </a:cubicBezTo>
                <a:cubicBezTo>
                  <a:pt x="616344" y="1629876"/>
                  <a:pt x="611149" y="1614479"/>
                  <a:pt x="604329" y="1602332"/>
                </a:cubicBezTo>
                <a:cubicBezTo>
                  <a:pt x="600956" y="1596323"/>
                  <a:pt x="596692" y="1594262"/>
                  <a:pt x="590040" y="1595274"/>
                </a:cubicBezTo>
                <a:close/>
                <a:moveTo>
                  <a:pt x="488481" y="1342065"/>
                </a:moveTo>
                <a:cubicBezTo>
                  <a:pt x="477880" y="1342065"/>
                  <a:pt x="468079" y="1341614"/>
                  <a:pt x="458330" y="1342142"/>
                </a:cubicBezTo>
                <a:cubicBezTo>
                  <a:pt x="415693" y="1344452"/>
                  <a:pt x="373082" y="1347245"/>
                  <a:pt x="330440" y="1349459"/>
                </a:cubicBezTo>
                <a:cubicBezTo>
                  <a:pt x="306195" y="1350719"/>
                  <a:pt x="281907" y="1351163"/>
                  <a:pt x="257645" y="1352096"/>
                </a:cubicBezTo>
                <a:cubicBezTo>
                  <a:pt x="255561" y="1352176"/>
                  <a:pt x="253513" y="1353166"/>
                  <a:pt x="251654" y="1353678"/>
                </a:cubicBezTo>
                <a:cubicBezTo>
                  <a:pt x="253036" y="1388444"/>
                  <a:pt x="255375" y="1422541"/>
                  <a:pt x="255467" y="1456644"/>
                </a:cubicBezTo>
                <a:cubicBezTo>
                  <a:pt x="255559" y="1490982"/>
                  <a:pt x="253416" y="1525325"/>
                  <a:pt x="252252" y="1559654"/>
                </a:cubicBezTo>
                <a:cubicBezTo>
                  <a:pt x="310705" y="1559654"/>
                  <a:pt x="368678" y="1559654"/>
                  <a:pt x="429174" y="1559444"/>
                </a:cubicBezTo>
                <a:cubicBezTo>
                  <a:pt x="431393" y="1559079"/>
                  <a:pt x="433601" y="1558578"/>
                  <a:pt x="435834" y="1558370"/>
                </a:cubicBezTo>
                <a:cubicBezTo>
                  <a:pt x="476987" y="1554542"/>
                  <a:pt x="518180" y="1551098"/>
                  <a:pt x="559275" y="1546734"/>
                </a:cubicBezTo>
                <a:cubicBezTo>
                  <a:pt x="571464" y="1545440"/>
                  <a:pt x="584233" y="1545821"/>
                  <a:pt x="595574" y="1540698"/>
                </a:cubicBezTo>
                <a:cubicBezTo>
                  <a:pt x="595917" y="1538369"/>
                  <a:pt x="596246" y="1537057"/>
                  <a:pt x="596274" y="1535739"/>
                </a:cubicBezTo>
                <a:cubicBezTo>
                  <a:pt x="596324" y="1533493"/>
                  <a:pt x="596271" y="1531235"/>
                  <a:pt x="596112" y="1528994"/>
                </a:cubicBezTo>
                <a:cubicBezTo>
                  <a:pt x="593459" y="1491733"/>
                  <a:pt x="579099" y="1460566"/>
                  <a:pt x="549380" y="1436862"/>
                </a:cubicBezTo>
                <a:cubicBezTo>
                  <a:pt x="538863" y="1428472"/>
                  <a:pt x="529531" y="1418599"/>
                  <a:pt x="519646" y="1409414"/>
                </a:cubicBezTo>
                <a:cubicBezTo>
                  <a:pt x="500386" y="1391520"/>
                  <a:pt x="488650" y="1369991"/>
                  <a:pt x="488481" y="1342065"/>
                </a:cubicBezTo>
                <a:close/>
                <a:moveTo>
                  <a:pt x="365657" y="777116"/>
                </a:moveTo>
                <a:cubicBezTo>
                  <a:pt x="332387" y="778716"/>
                  <a:pt x="300239" y="780260"/>
                  <a:pt x="267579" y="781830"/>
                </a:cubicBezTo>
                <a:cubicBezTo>
                  <a:pt x="267230" y="785895"/>
                  <a:pt x="266850" y="788515"/>
                  <a:pt x="266804" y="791141"/>
                </a:cubicBezTo>
                <a:cubicBezTo>
                  <a:pt x="266056" y="833439"/>
                  <a:pt x="265458" y="875742"/>
                  <a:pt x="264604" y="918039"/>
                </a:cubicBezTo>
                <a:cubicBezTo>
                  <a:pt x="263824" y="956738"/>
                  <a:pt x="262868" y="995435"/>
                  <a:pt x="261826" y="1034129"/>
                </a:cubicBezTo>
                <a:cubicBezTo>
                  <a:pt x="260710" y="1075524"/>
                  <a:pt x="259403" y="1116914"/>
                  <a:pt x="258174" y="1158306"/>
                </a:cubicBezTo>
                <a:cubicBezTo>
                  <a:pt x="258121" y="1160105"/>
                  <a:pt x="257993" y="1161904"/>
                  <a:pt x="257918" y="1163703"/>
                </a:cubicBezTo>
                <a:cubicBezTo>
                  <a:pt x="256287" y="1202809"/>
                  <a:pt x="254618" y="1241916"/>
                  <a:pt x="253106" y="1281027"/>
                </a:cubicBezTo>
                <a:cubicBezTo>
                  <a:pt x="252994" y="1283943"/>
                  <a:pt x="253997" y="1286902"/>
                  <a:pt x="254475" y="1289802"/>
                </a:cubicBezTo>
                <a:cubicBezTo>
                  <a:pt x="322712" y="1291058"/>
                  <a:pt x="390003" y="1292298"/>
                  <a:pt x="459084" y="1293569"/>
                </a:cubicBezTo>
                <a:cubicBezTo>
                  <a:pt x="428508" y="1203614"/>
                  <a:pt x="402019" y="1114958"/>
                  <a:pt x="385634" y="1021220"/>
                </a:cubicBezTo>
                <a:cubicBezTo>
                  <a:pt x="380256" y="980682"/>
                  <a:pt x="373287" y="940274"/>
                  <a:pt x="369949" y="899569"/>
                </a:cubicBezTo>
                <a:cubicBezTo>
                  <a:pt x="366625" y="859033"/>
                  <a:pt x="366946" y="818199"/>
                  <a:pt x="365657" y="777116"/>
                </a:cubicBezTo>
                <a:close/>
                <a:moveTo>
                  <a:pt x="417141" y="698289"/>
                </a:moveTo>
                <a:cubicBezTo>
                  <a:pt x="400072" y="698533"/>
                  <a:pt x="383000" y="698601"/>
                  <a:pt x="363336" y="698794"/>
                </a:cubicBezTo>
                <a:cubicBezTo>
                  <a:pt x="334377" y="700295"/>
                  <a:pt x="305418" y="701798"/>
                  <a:pt x="275649" y="703342"/>
                </a:cubicBezTo>
                <a:cubicBezTo>
                  <a:pt x="275649" y="716736"/>
                  <a:pt x="275649" y="728167"/>
                  <a:pt x="275649" y="740527"/>
                </a:cubicBezTo>
                <a:cubicBezTo>
                  <a:pt x="280569" y="740747"/>
                  <a:pt x="284962" y="741250"/>
                  <a:pt x="289332" y="741090"/>
                </a:cubicBezTo>
                <a:cubicBezTo>
                  <a:pt x="338674" y="739290"/>
                  <a:pt x="388017" y="737464"/>
                  <a:pt x="437347" y="735395"/>
                </a:cubicBezTo>
                <a:cubicBezTo>
                  <a:pt x="442172" y="735193"/>
                  <a:pt x="447208" y="733980"/>
                  <a:pt x="451647" y="732073"/>
                </a:cubicBezTo>
                <a:cubicBezTo>
                  <a:pt x="458264" y="729232"/>
                  <a:pt x="460012" y="724014"/>
                  <a:pt x="456284" y="717779"/>
                </a:cubicBezTo>
                <a:cubicBezTo>
                  <a:pt x="453841" y="713695"/>
                  <a:pt x="450306" y="709776"/>
                  <a:pt x="446344" y="707185"/>
                </a:cubicBezTo>
                <a:cubicBezTo>
                  <a:pt x="437598" y="701465"/>
                  <a:pt x="427863" y="698136"/>
                  <a:pt x="417141" y="698289"/>
                </a:cubicBezTo>
                <a:close/>
                <a:moveTo>
                  <a:pt x="375529" y="589918"/>
                </a:moveTo>
                <a:cubicBezTo>
                  <a:pt x="370259" y="589918"/>
                  <a:pt x="365367" y="589745"/>
                  <a:pt x="360490" y="589948"/>
                </a:cubicBezTo>
                <a:cubicBezTo>
                  <a:pt x="338052" y="590875"/>
                  <a:pt x="315621" y="591951"/>
                  <a:pt x="293183" y="592877"/>
                </a:cubicBezTo>
                <a:cubicBezTo>
                  <a:pt x="287347" y="593118"/>
                  <a:pt x="281462" y="592669"/>
                  <a:pt x="275666" y="593234"/>
                </a:cubicBezTo>
                <a:cubicBezTo>
                  <a:pt x="273514" y="593444"/>
                  <a:pt x="271557" y="595648"/>
                  <a:pt x="269580" y="599331"/>
                </a:cubicBezTo>
                <a:cubicBezTo>
                  <a:pt x="275713" y="621380"/>
                  <a:pt x="271111" y="642834"/>
                  <a:pt x="263989" y="666197"/>
                </a:cubicBezTo>
                <a:cubicBezTo>
                  <a:pt x="313774" y="664633"/>
                  <a:pt x="361519" y="663135"/>
                  <a:pt x="410016" y="661613"/>
                </a:cubicBezTo>
                <a:cubicBezTo>
                  <a:pt x="409749" y="650205"/>
                  <a:pt x="404578" y="642672"/>
                  <a:pt x="397604" y="637217"/>
                </a:cubicBezTo>
                <a:cubicBezTo>
                  <a:pt x="383685" y="626330"/>
                  <a:pt x="377657" y="612262"/>
                  <a:pt x="377206" y="595129"/>
                </a:cubicBezTo>
                <a:cubicBezTo>
                  <a:pt x="377163" y="593481"/>
                  <a:pt x="376180" y="591859"/>
                  <a:pt x="375529" y="589918"/>
                </a:cubicBezTo>
                <a:close/>
                <a:moveTo>
                  <a:pt x="269699" y="111819"/>
                </a:moveTo>
                <a:cubicBezTo>
                  <a:pt x="268766" y="128662"/>
                  <a:pt x="267750" y="143896"/>
                  <a:pt x="267123" y="159144"/>
                </a:cubicBezTo>
                <a:cubicBezTo>
                  <a:pt x="266533" y="173534"/>
                  <a:pt x="266182" y="187940"/>
                  <a:pt x="266021" y="202341"/>
                </a:cubicBezTo>
                <a:cubicBezTo>
                  <a:pt x="265551" y="244173"/>
                  <a:pt x="263733" y="286061"/>
                  <a:pt x="265241" y="327824"/>
                </a:cubicBezTo>
                <a:cubicBezTo>
                  <a:pt x="266991" y="376311"/>
                  <a:pt x="271399" y="424717"/>
                  <a:pt x="275281" y="473106"/>
                </a:cubicBezTo>
                <a:cubicBezTo>
                  <a:pt x="277112" y="495934"/>
                  <a:pt x="280255" y="518666"/>
                  <a:pt x="283226" y="541386"/>
                </a:cubicBezTo>
                <a:cubicBezTo>
                  <a:pt x="283606" y="544288"/>
                  <a:pt x="286542" y="546858"/>
                  <a:pt x="290752" y="549715"/>
                </a:cubicBezTo>
                <a:cubicBezTo>
                  <a:pt x="315906" y="548655"/>
                  <a:pt x="341061" y="547646"/>
                  <a:pt x="366211" y="546509"/>
                </a:cubicBezTo>
                <a:cubicBezTo>
                  <a:pt x="377351" y="546006"/>
                  <a:pt x="386989" y="542708"/>
                  <a:pt x="394620" y="533605"/>
                </a:cubicBezTo>
                <a:cubicBezTo>
                  <a:pt x="424136" y="498392"/>
                  <a:pt x="441955" y="458300"/>
                  <a:pt x="444847" y="412312"/>
                </a:cubicBezTo>
                <a:cubicBezTo>
                  <a:pt x="447631" y="368014"/>
                  <a:pt x="436134" y="326745"/>
                  <a:pt x="415542" y="287808"/>
                </a:cubicBezTo>
                <a:cubicBezTo>
                  <a:pt x="413346" y="283656"/>
                  <a:pt x="410349" y="279930"/>
                  <a:pt x="406917" y="274800"/>
                </a:cubicBezTo>
                <a:cubicBezTo>
                  <a:pt x="403286" y="279633"/>
                  <a:pt x="400701" y="282685"/>
                  <a:pt x="398542" y="286011"/>
                </a:cubicBezTo>
                <a:cubicBezTo>
                  <a:pt x="386540" y="304507"/>
                  <a:pt x="374759" y="323144"/>
                  <a:pt x="362665" y="341576"/>
                </a:cubicBezTo>
                <a:cubicBezTo>
                  <a:pt x="355760" y="352098"/>
                  <a:pt x="349037" y="362844"/>
                  <a:pt x="341075" y="372539"/>
                </a:cubicBezTo>
                <a:cubicBezTo>
                  <a:pt x="332529" y="382944"/>
                  <a:pt x="318422" y="384660"/>
                  <a:pt x="308114" y="378081"/>
                </a:cubicBezTo>
                <a:cubicBezTo>
                  <a:pt x="297823" y="371513"/>
                  <a:pt x="294872" y="360279"/>
                  <a:pt x="300099" y="347173"/>
                </a:cubicBezTo>
                <a:cubicBezTo>
                  <a:pt x="301097" y="344673"/>
                  <a:pt x="302484" y="342331"/>
                  <a:pt x="303659" y="339900"/>
                </a:cubicBezTo>
                <a:cubicBezTo>
                  <a:pt x="322833" y="300190"/>
                  <a:pt x="341794" y="260375"/>
                  <a:pt x="361336" y="220847"/>
                </a:cubicBezTo>
                <a:cubicBezTo>
                  <a:pt x="365530" y="212366"/>
                  <a:pt x="364870" y="205891"/>
                  <a:pt x="359159" y="198656"/>
                </a:cubicBezTo>
                <a:cubicBezTo>
                  <a:pt x="335130" y="168214"/>
                  <a:pt x="310415" y="138491"/>
                  <a:pt x="278229" y="116078"/>
                </a:cubicBezTo>
                <a:cubicBezTo>
                  <a:pt x="275961" y="114498"/>
                  <a:pt x="273244" y="113563"/>
                  <a:pt x="269699" y="111819"/>
                </a:cubicBezTo>
                <a:close/>
                <a:moveTo>
                  <a:pt x="258428" y="0"/>
                </a:moveTo>
                <a:cubicBezTo>
                  <a:pt x="268143" y="14"/>
                  <a:pt x="277868" y="1857"/>
                  <a:pt x="287424" y="6106"/>
                </a:cubicBezTo>
                <a:cubicBezTo>
                  <a:pt x="298827" y="11177"/>
                  <a:pt x="307670" y="19536"/>
                  <a:pt x="314780" y="29456"/>
                </a:cubicBezTo>
                <a:cubicBezTo>
                  <a:pt x="320714" y="37738"/>
                  <a:pt x="319153" y="45743"/>
                  <a:pt x="311758" y="50657"/>
                </a:cubicBezTo>
                <a:cubicBezTo>
                  <a:pt x="310216" y="45061"/>
                  <a:pt x="308983" y="39434"/>
                  <a:pt x="307078" y="34046"/>
                </a:cubicBezTo>
                <a:cubicBezTo>
                  <a:pt x="305624" y="29938"/>
                  <a:pt x="303351" y="31325"/>
                  <a:pt x="300771" y="33397"/>
                </a:cubicBezTo>
                <a:cubicBezTo>
                  <a:pt x="286913" y="17585"/>
                  <a:pt x="278770" y="15944"/>
                  <a:pt x="260793" y="25036"/>
                </a:cubicBezTo>
                <a:cubicBezTo>
                  <a:pt x="253107" y="25044"/>
                  <a:pt x="251532" y="29894"/>
                  <a:pt x="250865" y="34910"/>
                </a:cubicBezTo>
                <a:cubicBezTo>
                  <a:pt x="250279" y="39336"/>
                  <a:pt x="250551" y="43889"/>
                  <a:pt x="250598" y="48386"/>
                </a:cubicBezTo>
                <a:cubicBezTo>
                  <a:pt x="250842" y="71411"/>
                  <a:pt x="273657" y="85927"/>
                  <a:pt x="294094" y="75638"/>
                </a:cubicBezTo>
                <a:cubicBezTo>
                  <a:pt x="298703" y="73319"/>
                  <a:pt x="302417" y="68892"/>
                  <a:pt x="305976" y="64928"/>
                </a:cubicBezTo>
                <a:cubicBezTo>
                  <a:pt x="308479" y="62140"/>
                  <a:pt x="310257" y="58750"/>
                  <a:pt x="314610" y="61365"/>
                </a:cubicBezTo>
                <a:cubicBezTo>
                  <a:pt x="318928" y="63960"/>
                  <a:pt x="317423" y="67482"/>
                  <a:pt x="315499" y="70682"/>
                </a:cubicBezTo>
                <a:cubicBezTo>
                  <a:pt x="311589" y="77187"/>
                  <a:pt x="307598" y="83651"/>
                  <a:pt x="303428" y="89992"/>
                </a:cubicBezTo>
                <a:cubicBezTo>
                  <a:pt x="298159" y="98007"/>
                  <a:pt x="297850" y="103435"/>
                  <a:pt x="303310" y="107892"/>
                </a:cubicBezTo>
                <a:cubicBezTo>
                  <a:pt x="334898" y="133671"/>
                  <a:pt x="359934" y="165092"/>
                  <a:pt x="382781" y="198577"/>
                </a:cubicBezTo>
                <a:cubicBezTo>
                  <a:pt x="388067" y="206326"/>
                  <a:pt x="388558" y="213057"/>
                  <a:pt x="384934" y="221016"/>
                </a:cubicBezTo>
                <a:cubicBezTo>
                  <a:pt x="381218" y="229181"/>
                  <a:pt x="377830" y="237496"/>
                  <a:pt x="374074" y="245642"/>
                </a:cubicBezTo>
                <a:cubicBezTo>
                  <a:pt x="372222" y="249662"/>
                  <a:pt x="373324" y="251567"/>
                  <a:pt x="377567" y="251992"/>
                </a:cubicBezTo>
                <a:cubicBezTo>
                  <a:pt x="375908" y="256949"/>
                  <a:pt x="374249" y="261907"/>
                  <a:pt x="372590" y="266865"/>
                </a:cubicBezTo>
                <a:cubicBezTo>
                  <a:pt x="388294" y="255781"/>
                  <a:pt x="396670" y="238630"/>
                  <a:pt x="410668" y="225213"/>
                </a:cubicBezTo>
                <a:cubicBezTo>
                  <a:pt x="427123" y="248491"/>
                  <a:pt x="441317" y="272156"/>
                  <a:pt x="451824" y="298056"/>
                </a:cubicBezTo>
                <a:cubicBezTo>
                  <a:pt x="477544" y="361450"/>
                  <a:pt x="480275" y="425619"/>
                  <a:pt x="458677" y="490585"/>
                </a:cubicBezTo>
                <a:cubicBezTo>
                  <a:pt x="451646" y="511737"/>
                  <a:pt x="440925" y="530939"/>
                  <a:pt x="424729" y="546617"/>
                </a:cubicBezTo>
                <a:cubicBezTo>
                  <a:pt x="419834" y="551355"/>
                  <a:pt x="417037" y="555673"/>
                  <a:pt x="419932" y="563083"/>
                </a:cubicBezTo>
                <a:cubicBezTo>
                  <a:pt x="422640" y="570016"/>
                  <a:pt x="420578" y="576842"/>
                  <a:pt x="416210" y="583415"/>
                </a:cubicBezTo>
                <a:cubicBezTo>
                  <a:pt x="409204" y="593957"/>
                  <a:pt x="410581" y="603791"/>
                  <a:pt x="420275" y="612101"/>
                </a:cubicBezTo>
                <a:cubicBezTo>
                  <a:pt x="432452" y="622538"/>
                  <a:pt x="440093" y="635313"/>
                  <a:pt x="442756" y="650963"/>
                </a:cubicBezTo>
                <a:cubicBezTo>
                  <a:pt x="444563" y="661590"/>
                  <a:pt x="449882" y="668832"/>
                  <a:pt x="459766" y="673491"/>
                </a:cubicBezTo>
                <a:cubicBezTo>
                  <a:pt x="474695" y="680528"/>
                  <a:pt x="484519" y="692476"/>
                  <a:pt x="490559" y="707785"/>
                </a:cubicBezTo>
                <a:cubicBezTo>
                  <a:pt x="498084" y="726854"/>
                  <a:pt x="492125" y="746070"/>
                  <a:pt x="474787" y="757321"/>
                </a:cubicBezTo>
                <a:cubicBezTo>
                  <a:pt x="460764" y="766421"/>
                  <a:pt x="444969" y="769422"/>
                  <a:pt x="428635" y="770612"/>
                </a:cubicBezTo>
                <a:cubicBezTo>
                  <a:pt x="420179" y="771227"/>
                  <a:pt x="411744" y="772147"/>
                  <a:pt x="401444" y="773103"/>
                </a:cubicBezTo>
                <a:cubicBezTo>
                  <a:pt x="401444" y="779407"/>
                  <a:pt x="401548" y="784652"/>
                  <a:pt x="401428" y="789894"/>
                </a:cubicBezTo>
                <a:cubicBezTo>
                  <a:pt x="398942" y="899147"/>
                  <a:pt x="416574" y="1005751"/>
                  <a:pt x="443247" y="1111233"/>
                </a:cubicBezTo>
                <a:cubicBezTo>
                  <a:pt x="456708" y="1164473"/>
                  <a:pt x="472385" y="1216980"/>
                  <a:pt x="491014" y="1268649"/>
                </a:cubicBezTo>
                <a:cubicBezTo>
                  <a:pt x="494690" y="1278849"/>
                  <a:pt x="500136" y="1285614"/>
                  <a:pt x="510158" y="1289390"/>
                </a:cubicBezTo>
                <a:cubicBezTo>
                  <a:pt x="517285" y="1292078"/>
                  <a:pt x="524348" y="1295194"/>
                  <a:pt x="530944" y="1298980"/>
                </a:cubicBezTo>
                <a:cubicBezTo>
                  <a:pt x="542933" y="1305861"/>
                  <a:pt x="544683" y="1312224"/>
                  <a:pt x="538770" y="1324686"/>
                </a:cubicBezTo>
                <a:cubicBezTo>
                  <a:pt x="536652" y="1329147"/>
                  <a:pt x="534084" y="1333395"/>
                  <a:pt x="529915" y="1338436"/>
                </a:cubicBezTo>
                <a:cubicBezTo>
                  <a:pt x="526795" y="1340182"/>
                  <a:pt x="524469" y="1341108"/>
                  <a:pt x="524324" y="1342300"/>
                </a:cubicBezTo>
                <a:cubicBezTo>
                  <a:pt x="522436" y="1357873"/>
                  <a:pt x="523450" y="1372669"/>
                  <a:pt x="535661" y="1384625"/>
                </a:cubicBezTo>
                <a:cubicBezTo>
                  <a:pt x="558421" y="1406910"/>
                  <a:pt x="580999" y="1429382"/>
                  <a:pt x="603638" y="1451791"/>
                </a:cubicBezTo>
                <a:cubicBezTo>
                  <a:pt x="604874" y="1453014"/>
                  <a:pt x="606411" y="1454186"/>
                  <a:pt x="607073" y="1455703"/>
                </a:cubicBezTo>
                <a:cubicBezTo>
                  <a:pt x="618218" y="1481214"/>
                  <a:pt x="628282" y="1507034"/>
                  <a:pt x="626274" y="1535675"/>
                </a:cubicBezTo>
                <a:cubicBezTo>
                  <a:pt x="625807" y="1542319"/>
                  <a:pt x="624433" y="1548896"/>
                  <a:pt x="623721" y="1555529"/>
                </a:cubicBezTo>
                <a:cubicBezTo>
                  <a:pt x="623295" y="1559484"/>
                  <a:pt x="624449" y="1562691"/>
                  <a:pt x="629177" y="1563139"/>
                </a:cubicBezTo>
                <a:cubicBezTo>
                  <a:pt x="629109" y="1564371"/>
                  <a:pt x="629043" y="1565602"/>
                  <a:pt x="627818" y="1567709"/>
                </a:cubicBezTo>
                <a:cubicBezTo>
                  <a:pt x="625121" y="1569584"/>
                  <a:pt x="623583" y="1570585"/>
                  <a:pt x="622046" y="1571586"/>
                </a:cubicBezTo>
                <a:cubicBezTo>
                  <a:pt x="624241" y="1571482"/>
                  <a:pt x="626438" y="1571380"/>
                  <a:pt x="628632" y="1571276"/>
                </a:cubicBezTo>
                <a:cubicBezTo>
                  <a:pt x="629603" y="1572373"/>
                  <a:pt x="630575" y="1573470"/>
                  <a:pt x="631437" y="1576151"/>
                </a:cubicBezTo>
                <a:cubicBezTo>
                  <a:pt x="631526" y="1580576"/>
                  <a:pt x="630825" y="1583903"/>
                  <a:pt x="632057" y="1586187"/>
                </a:cubicBezTo>
                <a:cubicBezTo>
                  <a:pt x="644440" y="1609138"/>
                  <a:pt x="651408" y="1633351"/>
                  <a:pt x="650731" y="1659627"/>
                </a:cubicBezTo>
                <a:cubicBezTo>
                  <a:pt x="650379" y="1673283"/>
                  <a:pt x="648834" y="1675709"/>
                  <a:pt x="635724" y="1679177"/>
                </a:cubicBezTo>
                <a:cubicBezTo>
                  <a:pt x="592411" y="1690630"/>
                  <a:pt x="548236" y="1697567"/>
                  <a:pt x="503916" y="1703415"/>
                </a:cubicBezTo>
                <a:cubicBezTo>
                  <a:pt x="482216" y="1706278"/>
                  <a:pt x="460287" y="1707703"/>
                  <a:pt x="438414" y="1708897"/>
                </a:cubicBezTo>
                <a:cubicBezTo>
                  <a:pt x="411981" y="1710342"/>
                  <a:pt x="385499" y="1711614"/>
                  <a:pt x="359038" y="1711621"/>
                </a:cubicBezTo>
                <a:cubicBezTo>
                  <a:pt x="283926" y="1711639"/>
                  <a:pt x="208786" y="1713305"/>
                  <a:pt x="133715" y="1709124"/>
                </a:cubicBezTo>
                <a:cubicBezTo>
                  <a:pt x="125184" y="1708649"/>
                  <a:pt x="116585" y="1709254"/>
                  <a:pt x="108069" y="1708637"/>
                </a:cubicBezTo>
                <a:cubicBezTo>
                  <a:pt x="88455" y="1707217"/>
                  <a:pt x="68883" y="1705222"/>
                  <a:pt x="49275" y="1703711"/>
                </a:cubicBezTo>
                <a:cubicBezTo>
                  <a:pt x="34095" y="1702541"/>
                  <a:pt x="18867" y="1701966"/>
                  <a:pt x="3696" y="1700700"/>
                </a:cubicBezTo>
                <a:lnTo>
                  <a:pt x="0" y="1700188"/>
                </a:lnTo>
                <a:lnTo>
                  <a:pt x="0" y="1300965"/>
                </a:lnTo>
                <a:lnTo>
                  <a:pt x="12759" y="1295952"/>
                </a:lnTo>
                <a:cubicBezTo>
                  <a:pt x="25698" y="1292765"/>
                  <a:pt x="32543" y="1283601"/>
                  <a:pt x="36218" y="1272036"/>
                </a:cubicBezTo>
                <a:cubicBezTo>
                  <a:pt x="47218" y="1237411"/>
                  <a:pt x="57881" y="1202673"/>
                  <a:pt x="68241" y="1167850"/>
                </a:cubicBezTo>
                <a:cubicBezTo>
                  <a:pt x="74373" y="1147240"/>
                  <a:pt x="80256" y="1126519"/>
                  <a:pt x="85211" y="1105602"/>
                </a:cubicBezTo>
                <a:cubicBezTo>
                  <a:pt x="90564" y="1083005"/>
                  <a:pt x="95029" y="1060181"/>
                  <a:pt x="99280" y="1037344"/>
                </a:cubicBezTo>
                <a:cubicBezTo>
                  <a:pt x="103283" y="1015838"/>
                  <a:pt x="106800" y="994231"/>
                  <a:pt x="109967" y="972584"/>
                </a:cubicBezTo>
                <a:cubicBezTo>
                  <a:pt x="112359" y="956231"/>
                  <a:pt x="113944" y="939757"/>
                  <a:pt x="115739" y="923320"/>
                </a:cubicBezTo>
                <a:cubicBezTo>
                  <a:pt x="117534" y="906891"/>
                  <a:pt x="120197" y="890467"/>
                  <a:pt x="120605" y="873993"/>
                </a:cubicBezTo>
                <a:cubicBezTo>
                  <a:pt x="121386" y="842483"/>
                  <a:pt x="120878" y="810939"/>
                  <a:pt x="120784" y="779410"/>
                </a:cubicBezTo>
                <a:cubicBezTo>
                  <a:pt x="120774" y="776012"/>
                  <a:pt x="119963" y="772616"/>
                  <a:pt x="119508" y="769099"/>
                </a:cubicBezTo>
                <a:cubicBezTo>
                  <a:pt x="104317" y="766852"/>
                  <a:pt x="90036" y="765414"/>
                  <a:pt x="76082" y="762444"/>
                </a:cubicBezTo>
                <a:cubicBezTo>
                  <a:pt x="66084" y="760317"/>
                  <a:pt x="56033" y="757136"/>
                  <a:pt x="46873" y="752652"/>
                </a:cubicBezTo>
                <a:cubicBezTo>
                  <a:pt x="30422" y="744600"/>
                  <a:pt x="26001" y="731268"/>
                  <a:pt x="32863" y="714675"/>
                </a:cubicBezTo>
                <a:cubicBezTo>
                  <a:pt x="38591" y="700822"/>
                  <a:pt x="49005" y="691009"/>
                  <a:pt x="61261" y="683107"/>
                </a:cubicBezTo>
                <a:cubicBezTo>
                  <a:pt x="69232" y="677968"/>
                  <a:pt x="74478" y="672216"/>
                  <a:pt x="75429" y="661843"/>
                </a:cubicBezTo>
                <a:cubicBezTo>
                  <a:pt x="76195" y="653504"/>
                  <a:pt x="80838" y="646389"/>
                  <a:pt x="89413" y="641759"/>
                </a:cubicBezTo>
                <a:cubicBezTo>
                  <a:pt x="100390" y="635833"/>
                  <a:pt x="111137" y="628952"/>
                  <a:pt x="120564" y="620833"/>
                </a:cubicBezTo>
                <a:cubicBezTo>
                  <a:pt x="130915" y="611918"/>
                  <a:pt x="128514" y="598613"/>
                  <a:pt x="116727" y="591995"/>
                </a:cubicBezTo>
                <a:cubicBezTo>
                  <a:pt x="112804" y="589794"/>
                  <a:pt x="108761" y="587786"/>
                  <a:pt x="104677" y="585897"/>
                </a:cubicBezTo>
                <a:cubicBezTo>
                  <a:pt x="98883" y="583216"/>
                  <a:pt x="97945" y="578849"/>
                  <a:pt x="100731" y="573725"/>
                </a:cubicBezTo>
                <a:cubicBezTo>
                  <a:pt x="103263" y="569065"/>
                  <a:pt x="106475" y="564775"/>
                  <a:pt x="109734" y="559791"/>
                </a:cubicBezTo>
                <a:cubicBezTo>
                  <a:pt x="107988" y="555914"/>
                  <a:pt x="106919" y="551282"/>
                  <a:pt x="104238" y="547949"/>
                </a:cubicBezTo>
                <a:cubicBezTo>
                  <a:pt x="86632" y="526054"/>
                  <a:pt x="73881" y="501557"/>
                  <a:pt x="63613" y="475539"/>
                </a:cubicBezTo>
                <a:cubicBezTo>
                  <a:pt x="52084" y="446323"/>
                  <a:pt x="45455" y="416005"/>
                  <a:pt x="48318" y="384825"/>
                </a:cubicBezTo>
                <a:cubicBezTo>
                  <a:pt x="51404" y="351192"/>
                  <a:pt x="61158" y="318909"/>
                  <a:pt x="76866" y="288770"/>
                </a:cubicBezTo>
                <a:cubicBezTo>
                  <a:pt x="91192" y="261282"/>
                  <a:pt x="106943" y="234695"/>
                  <a:pt x="125552" y="209759"/>
                </a:cubicBezTo>
                <a:cubicBezTo>
                  <a:pt x="150492" y="176341"/>
                  <a:pt x="174891" y="142551"/>
                  <a:pt x="204434" y="112886"/>
                </a:cubicBezTo>
                <a:cubicBezTo>
                  <a:pt x="212319" y="104967"/>
                  <a:pt x="211916" y="96295"/>
                  <a:pt x="205534" y="86373"/>
                </a:cubicBezTo>
                <a:cubicBezTo>
                  <a:pt x="200969" y="79278"/>
                  <a:pt x="195894" y="71665"/>
                  <a:pt x="194323" y="63642"/>
                </a:cubicBezTo>
                <a:cubicBezTo>
                  <a:pt x="188844" y="35666"/>
                  <a:pt x="209982" y="11147"/>
                  <a:pt x="229496" y="4864"/>
                </a:cubicBezTo>
                <a:cubicBezTo>
                  <a:pt x="239009" y="1801"/>
                  <a:pt x="248714" y="-14"/>
                  <a:pt x="258428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 wrap="square">
            <a:noAutofit/>
          </a:bodyPr>
          <a:lstStyle/>
          <a:p>
            <a:endParaRPr lang="en-GB" dirty="0"/>
          </a:p>
        </p:txBody>
      </p:sp>
      <p:sp>
        <p:nvSpPr>
          <p:cNvPr id="7" name="Free-form: Shape 6">
            <a:extLst>
              <a:ext uri="{FF2B5EF4-FFF2-40B4-BE49-F238E27FC236}">
                <a16:creationId xmlns:a16="http://schemas.microsoft.com/office/drawing/2014/main" id="{0F35E11A-928F-A18E-532E-DE63BB174ECB}"/>
              </a:ext>
            </a:extLst>
          </p:cNvPr>
          <p:cNvSpPr/>
          <p:nvPr/>
        </p:nvSpPr>
        <p:spPr>
          <a:xfrm>
            <a:off x="-153750" y="4517705"/>
            <a:ext cx="805241" cy="1728763"/>
          </a:xfrm>
          <a:custGeom>
            <a:avLst/>
            <a:gdLst>
              <a:gd name="csX0" fmla="*/ 406842 w 732037"/>
              <a:gd name="csY0" fmla="*/ 38347 h 1571603"/>
              <a:gd name="csX1" fmla="*/ 411944 w 732037"/>
              <a:gd name="csY1" fmla="*/ 38343 h 1571603"/>
              <a:gd name="csX2" fmla="*/ 416198 w 732037"/>
              <a:gd name="csY2" fmla="*/ 53444 h 1571603"/>
              <a:gd name="csX3" fmla="*/ 418945 w 732037"/>
              <a:gd name="csY3" fmla="*/ 34170 h 1571603"/>
              <a:gd name="csX4" fmla="*/ 394077 w 732037"/>
              <a:gd name="csY4" fmla="*/ 12943 h 1571603"/>
              <a:gd name="csX5" fmla="*/ 341415 w 732037"/>
              <a:gd name="csY5" fmla="*/ 11814 h 1571603"/>
              <a:gd name="csX6" fmla="*/ 309440 w 732037"/>
              <a:gd name="csY6" fmla="*/ 65249 h 1571603"/>
              <a:gd name="csX7" fmla="*/ 319632 w 732037"/>
              <a:gd name="csY7" fmla="*/ 85914 h 1571603"/>
              <a:gd name="csX8" fmla="*/ 318632 w 732037"/>
              <a:gd name="csY8" fmla="*/ 110015 h 1571603"/>
              <a:gd name="csX9" fmla="*/ 246921 w 732037"/>
              <a:gd name="csY9" fmla="*/ 198083 h 1571603"/>
              <a:gd name="csX10" fmla="*/ 202660 w 732037"/>
              <a:gd name="csY10" fmla="*/ 269911 h 1571603"/>
              <a:gd name="csX11" fmla="*/ 176707 w 732037"/>
              <a:gd name="csY11" fmla="*/ 357233 h 1571603"/>
              <a:gd name="csX12" fmla="*/ 190612 w 732037"/>
              <a:gd name="csY12" fmla="*/ 439700 h 1571603"/>
              <a:gd name="csX13" fmla="*/ 227544 w 732037"/>
              <a:gd name="csY13" fmla="*/ 505527 h 1571603"/>
              <a:gd name="csX14" fmla="*/ 232541 w 732037"/>
              <a:gd name="csY14" fmla="*/ 516294 h 1571603"/>
              <a:gd name="csX15" fmla="*/ 224356 w 732037"/>
              <a:gd name="csY15" fmla="*/ 528960 h 1571603"/>
              <a:gd name="csX16" fmla="*/ 227944 w 732037"/>
              <a:gd name="csY16" fmla="*/ 540026 h 1571603"/>
              <a:gd name="csX17" fmla="*/ 238897 w 732037"/>
              <a:gd name="csY17" fmla="*/ 545570 h 1571603"/>
              <a:gd name="csX18" fmla="*/ 242386 w 732037"/>
              <a:gd name="csY18" fmla="*/ 571785 h 1571603"/>
              <a:gd name="csX19" fmla="*/ 214067 w 732037"/>
              <a:gd name="csY19" fmla="*/ 590809 h 1571603"/>
              <a:gd name="csX20" fmla="*/ 201355 w 732037"/>
              <a:gd name="csY20" fmla="*/ 609067 h 1571603"/>
              <a:gd name="csX21" fmla="*/ 188474 w 732037"/>
              <a:gd name="csY21" fmla="*/ 628398 h 1571603"/>
              <a:gd name="csX22" fmla="*/ 162658 w 732037"/>
              <a:gd name="csY22" fmla="*/ 657096 h 1571603"/>
              <a:gd name="csX23" fmla="*/ 175395 w 732037"/>
              <a:gd name="csY23" fmla="*/ 691621 h 1571603"/>
              <a:gd name="csX24" fmla="*/ 201948 w 732037"/>
              <a:gd name="csY24" fmla="*/ 700523 h 1571603"/>
              <a:gd name="csX25" fmla="*/ 241426 w 732037"/>
              <a:gd name="csY25" fmla="*/ 706574 h 1571603"/>
              <a:gd name="csX26" fmla="*/ 242586 w 732037"/>
              <a:gd name="csY26" fmla="*/ 715946 h 1571603"/>
              <a:gd name="csX27" fmla="*/ 242424 w 732037"/>
              <a:gd name="csY27" fmla="*/ 801932 h 1571603"/>
              <a:gd name="csX28" fmla="*/ 238000 w 732037"/>
              <a:gd name="csY28" fmla="*/ 846774 h 1571603"/>
              <a:gd name="csX29" fmla="*/ 232752 w 732037"/>
              <a:gd name="csY29" fmla="*/ 891559 h 1571603"/>
              <a:gd name="csX30" fmla="*/ 223037 w 732037"/>
              <a:gd name="csY30" fmla="*/ 950433 h 1571603"/>
              <a:gd name="csX31" fmla="*/ 210247 w 732037"/>
              <a:gd name="csY31" fmla="*/ 1012485 h 1571603"/>
              <a:gd name="csX32" fmla="*/ 194820 w 732037"/>
              <a:gd name="csY32" fmla="*/ 1069074 h 1571603"/>
              <a:gd name="csX33" fmla="*/ 165707 w 732037"/>
              <a:gd name="csY33" fmla="*/ 1163788 h 1571603"/>
              <a:gd name="csX34" fmla="*/ 144382 w 732037"/>
              <a:gd name="csY34" fmla="*/ 1185530 h 1571603"/>
              <a:gd name="csX35" fmla="*/ 129590 w 732037"/>
              <a:gd name="csY35" fmla="*/ 1191342 h 1571603"/>
              <a:gd name="csX36" fmla="*/ 122255 w 732037"/>
              <a:gd name="csY36" fmla="*/ 1208476 h 1571603"/>
              <a:gd name="csX37" fmla="*/ 127491 w 732037"/>
              <a:gd name="csY37" fmla="*/ 1222193 h 1571603"/>
              <a:gd name="csX38" fmla="*/ 118348 w 732037"/>
              <a:gd name="csY38" fmla="*/ 1261470 h 1571603"/>
              <a:gd name="csX39" fmla="*/ 58232 w 732037"/>
              <a:gd name="csY39" fmla="*/ 1319224 h 1571603"/>
              <a:gd name="csX40" fmla="*/ 28815 w 732037"/>
              <a:gd name="csY40" fmla="*/ 1389717 h 1571603"/>
              <a:gd name="csX41" fmla="*/ 32634 w 732037"/>
              <a:gd name="csY41" fmla="*/ 1426050 h 1571603"/>
              <a:gd name="csX42" fmla="*/ 30331 w 732037"/>
              <a:gd name="csY42" fmla="*/ 1441003 h 1571603"/>
              <a:gd name="csX43" fmla="*/ 9180 w 732037"/>
              <a:gd name="csY43" fmla="*/ 1516655 h 1571603"/>
              <a:gd name="csX44" fmla="*/ 20082 w 732037"/>
              <a:gd name="csY44" fmla="*/ 1531402 h 1571603"/>
              <a:gd name="csX45" fmla="*/ 74798 w 732037"/>
              <a:gd name="csY45" fmla="*/ 1543794 h 1571603"/>
              <a:gd name="csX46" fmla="*/ 113225 w 732037"/>
              <a:gd name="csY46" fmla="*/ 1550305 h 1571603"/>
              <a:gd name="csX47" fmla="*/ 136142 w 732037"/>
              <a:gd name="csY47" fmla="*/ 1553484 h 1571603"/>
              <a:gd name="csX48" fmla="*/ 177578 w 732037"/>
              <a:gd name="csY48" fmla="*/ 1556220 h 1571603"/>
              <a:gd name="csX49" fmla="*/ 231027 w 732037"/>
              <a:gd name="csY49" fmla="*/ 1560698 h 1571603"/>
              <a:gd name="csX50" fmla="*/ 254342 w 732037"/>
              <a:gd name="csY50" fmla="*/ 1561142 h 1571603"/>
              <a:gd name="csX51" fmla="*/ 459180 w 732037"/>
              <a:gd name="csY51" fmla="*/ 1563411 h 1571603"/>
              <a:gd name="csX52" fmla="*/ 531340 w 732037"/>
              <a:gd name="csY52" fmla="*/ 1560936 h 1571603"/>
              <a:gd name="csX53" fmla="*/ 590888 w 732037"/>
              <a:gd name="csY53" fmla="*/ 1555951 h 1571603"/>
              <a:gd name="csX54" fmla="*/ 710712 w 732037"/>
              <a:gd name="csY54" fmla="*/ 1533916 h 1571603"/>
              <a:gd name="csX55" fmla="*/ 724356 w 732037"/>
              <a:gd name="csY55" fmla="*/ 1516144 h 1571603"/>
              <a:gd name="csX56" fmla="*/ 707380 w 732037"/>
              <a:gd name="csY56" fmla="*/ 1449380 h 1571603"/>
              <a:gd name="csX57" fmla="*/ 707050 w 732037"/>
              <a:gd name="csY57" fmla="*/ 1440881 h 1571603"/>
              <a:gd name="csX58" fmla="*/ 731479 w 732037"/>
              <a:gd name="csY58" fmla="*/ 1500017 h 1571603"/>
              <a:gd name="csX59" fmla="*/ 731163 w 732037"/>
              <a:gd name="csY59" fmla="*/ 1513759 h 1571603"/>
              <a:gd name="csX60" fmla="*/ 731650 w 732037"/>
              <a:gd name="csY60" fmla="*/ 1521766 h 1571603"/>
              <a:gd name="csX61" fmla="*/ 721896 w 732037"/>
              <a:gd name="csY61" fmla="*/ 1537319 h 1571603"/>
              <a:gd name="csX62" fmla="*/ 657740 w 732037"/>
              <a:gd name="csY62" fmla="*/ 1553265 h 1571603"/>
              <a:gd name="csX63" fmla="*/ 507791 w 732037"/>
              <a:gd name="csY63" fmla="*/ 1568943 h 1571603"/>
              <a:gd name="csX64" fmla="*/ 264676 w 732037"/>
              <a:gd name="csY64" fmla="*/ 1569724 h 1571603"/>
              <a:gd name="csX65" fmla="*/ 82743 w 732037"/>
              <a:gd name="csY65" fmla="*/ 1553254 h 1571603"/>
              <a:gd name="csX66" fmla="*/ 17072 w 732037"/>
              <a:gd name="csY66" fmla="*/ 1538153 h 1571603"/>
              <a:gd name="csX67" fmla="*/ 275 w 732037"/>
              <a:gd name="csY67" fmla="*/ 1513030 h 1571603"/>
              <a:gd name="csX68" fmla="*/ 20923 w 732037"/>
              <a:gd name="csY68" fmla="*/ 1441861 h 1571603"/>
              <a:gd name="csX69" fmla="*/ 23045 w 732037"/>
              <a:gd name="csY69" fmla="*/ 1423105 h 1571603"/>
              <a:gd name="csX70" fmla="*/ 30564 w 732037"/>
              <a:gd name="csY70" fmla="*/ 1346289 h 1571603"/>
              <a:gd name="csX71" fmla="*/ 71350 w 732037"/>
              <a:gd name="csY71" fmla="*/ 1295039 h 1571603"/>
              <a:gd name="csX72" fmla="*/ 112257 w 732037"/>
              <a:gd name="csY72" fmla="*/ 1255093 h 1571603"/>
              <a:gd name="csX73" fmla="*/ 115864 w 732037"/>
              <a:gd name="csY73" fmla="*/ 1217271 h 1571603"/>
              <a:gd name="csX74" fmla="*/ 112256 w 732037"/>
              <a:gd name="csY74" fmla="*/ 1210870 h 1571603"/>
              <a:gd name="csX75" fmla="*/ 121141 w 732037"/>
              <a:gd name="csY75" fmla="*/ 1186548 h 1571603"/>
              <a:gd name="csX76" fmla="*/ 136571 w 732037"/>
              <a:gd name="csY76" fmla="*/ 1179850 h 1571603"/>
              <a:gd name="csX77" fmla="*/ 158281 w 732037"/>
              <a:gd name="csY77" fmla="*/ 1157879 h 1571603"/>
              <a:gd name="csX78" fmla="*/ 187986 w 732037"/>
              <a:gd name="csY78" fmla="*/ 1059736 h 1571603"/>
              <a:gd name="csX79" fmla="*/ 217119 w 732037"/>
              <a:gd name="csY79" fmla="*/ 938896 h 1571603"/>
              <a:gd name="csX80" fmla="*/ 225792 w 732037"/>
              <a:gd name="csY80" fmla="*/ 893236 h 1571603"/>
              <a:gd name="csX81" fmla="*/ 226150 w 732037"/>
              <a:gd name="csY81" fmla="*/ 887970 h 1571603"/>
              <a:gd name="csX82" fmla="*/ 230782 w 732037"/>
              <a:gd name="csY82" fmla="*/ 853969 h 1571603"/>
              <a:gd name="csX83" fmla="*/ 230786 w 732037"/>
              <a:gd name="csY83" fmla="*/ 848558 h 1571603"/>
              <a:gd name="csX84" fmla="*/ 233315 w 732037"/>
              <a:gd name="csY84" fmla="*/ 824438 h 1571603"/>
              <a:gd name="csX85" fmla="*/ 233199 w 732037"/>
              <a:gd name="csY85" fmla="*/ 819050 h 1571603"/>
              <a:gd name="csX86" fmla="*/ 235848 w 732037"/>
              <a:gd name="csY86" fmla="*/ 782380 h 1571603"/>
              <a:gd name="csX87" fmla="*/ 237465 w 732037"/>
              <a:gd name="csY87" fmla="*/ 719113 h 1571603"/>
              <a:gd name="csX88" fmla="*/ 233057 w 732037"/>
              <a:gd name="csY88" fmla="*/ 713160 h 1571603"/>
              <a:gd name="csX89" fmla="*/ 203056 w 732037"/>
              <a:gd name="csY89" fmla="*/ 708405 h 1571603"/>
              <a:gd name="csX90" fmla="*/ 169628 w 732037"/>
              <a:gd name="csY90" fmla="*/ 698106 h 1571603"/>
              <a:gd name="csX91" fmla="*/ 153237 w 732037"/>
              <a:gd name="csY91" fmla="*/ 659111 h 1571603"/>
              <a:gd name="csX92" fmla="*/ 178365 w 732037"/>
              <a:gd name="csY92" fmla="*/ 626008 h 1571603"/>
              <a:gd name="csX93" fmla="*/ 191885 w 732037"/>
              <a:gd name="csY93" fmla="*/ 617513 h 1571603"/>
              <a:gd name="csX94" fmla="*/ 193681 w 732037"/>
              <a:gd name="csY94" fmla="*/ 610098 h 1571603"/>
              <a:gd name="csX95" fmla="*/ 213301 w 732037"/>
              <a:gd name="csY95" fmla="*/ 579885 h 1571603"/>
              <a:gd name="csX96" fmla="*/ 229635 w 732037"/>
              <a:gd name="csY96" fmla="*/ 571429 h 1571603"/>
              <a:gd name="csX97" fmla="*/ 237351 w 732037"/>
              <a:gd name="csY97" fmla="*/ 565882 h 1571603"/>
              <a:gd name="csX98" fmla="*/ 233673 w 732037"/>
              <a:gd name="csY98" fmla="*/ 550926 h 1571603"/>
              <a:gd name="csX99" fmla="*/ 226799 w 732037"/>
              <a:gd name="csY99" fmla="*/ 548359 h 1571603"/>
              <a:gd name="csX100" fmla="*/ 218639 w 732037"/>
              <a:gd name="csY100" fmla="*/ 522664 h 1571603"/>
              <a:gd name="csX101" fmla="*/ 218264 w 732037"/>
              <a:gd name="csY101" fmla="*/ 505463 h 1571603"/>
              <a:gd name="csX102" fmla="*/ 181762 w 732037"/>
              <a:gd name="csY102" fmla="*/ 437574 h 1571603"/>
              <a:gd name="csX103" fmla="*/ 185971 w 732037"/>
              <a:gd name="csY103" fmla="*/ 289069 h 1571603"/>
              <a:gd name="csX104" fmla="*/ 253787 w 732037"/>
              <a:gd name="csY104" fmla="*/ 175580 h 1571603"/>
              <a:gd name="csX105" fmla="*/ 309639 w 732037"/>
              <a:gd name="csY105" fmla="*/ 108695 h 1571603"/>
              <a:gd name="csX106" fmla="*/ 318061 w 732037"/>
              <a:gd name="csY106" fmla="*/ 98855 h 1571603"/>
              <a:gd name="csX107" fmla="*/ 304967 w 732037"/>
              <a:gd name="csY107" fmla="*/ 70056 h 1571603"/>
              <a:gd name="csX108" fmla="*/ 317012 w 732037"/>
              <a:gd name="csY108" fmla="*/ 19436 h 1571603"/>
              <a:gd name="csX109" fmla="*/ 415542 w 732037"/>
              <a:gd name="csY109" fmla="*/ 18221 h 1571603"/>
              <a:gd name="csX110" fmla="*/ 423203 w 732037"/>
              <a:gd name="csY110" fmla="*/ 82660 h 1571603"/>
              <a:gd name="csX111" fmla="*/ 413361 w 732037"/>
              <a:gd name="csY111" fmla="*/ 97975 h 1571603"/>
              <a:gd name="csX112" fmla="*/ 421654 w 732037"/>
              <a:gd name="csY112" fmla="*/ 106676 h 1571603"/>
              <a:gd name="csX113" fmla="*/ 487032 w 732037"/>
              <a:gd name="csY113" fmla="*/ 184632 h 1571603"/>
              <a:gd name="csX114" fmla="*/ 489213 w 732037"/>
              <a:gd name="csY114" fmla="*/ 208238 h 1571603"/>
              <a:gd name="csX115" fmla="*/ 476520 w 732037"/>
              <a:gd name="csY115" fmla="*/ 235738 h 1571603"/>
              <a:gd name="csX116" fmla="*/ 472850 w 732037"/>
              <a:gd name="csY116" fmla="*/ 230703 h 1571603"/>
              <a:gd name="csX117" fmla="*/ 482723 w 732037"/>
              <a:gd name="csY117" fmla="*/ 208315 h 1571603"/>
              <a:gd name="csX118" fmla="*/ 480764 w 732037"/>
              <a:gd name="csY118" fmla="*/ 187916 h 1571603"/>
              <a:gd name="csX119" fmla="*/ 408519 w 732037"/>
              <a:gd name="csY119" fmla="*/ 105475 h 1571603"/>
              <a:gd name="csX120" fmla="*/ 408625 w 732037"/>
              <a:gd name="csY120" fmla="*/ 89203 h 1571603"/>
              <a:gd name="csX121" fmla="*/ 419600 w 732037"/>
              <a:gd name="csY121" fmla="*/ 71648 h 1571603"/>
              <a:gd name="csX122" fmla="*/ 418792 w 732037"/>
              <a:gd name="csY122" fmla="*/ 63179 h 1571603"/>
              <a:gd name="csX123" fmla="*/ 410943 w 732037"/>
              <a:gd name="csY123" fmla="*/ 66417 h 1571603"/>
              <a:gd name="csX124" fmla="*/ 400140 w 732037"/>
              <a:gd name="csY124" fmla="*/ 76155 h 1571603"/>
              <a:gd name="csX125" fmla="*/ 360599 w 732037"/>
              <a:gd name="csY125" fmla="*/ 51379 h 1571603"/>
              <a:gd name="csX126" fmla="*/ 360842 w 732037"/>
              <a:gd name="csY126" fmla="*/ 39128 h 1571603"/>
              <a:gd name="csX127" fmla="*/ 369470 w 732037"/>
              <a:gd name="csY127" fmla="*/ 30960 h 1571603"/>
              <a:gd name="csX128" fmla="*/ 365613 w 732037"/>
              <a:gd name="csY128" fmla="*/ 49108 h 1571603"/>
              <a:gd name="csX129" fmla="*/ 389468 w 732037"/>
              <a:gd name="csY129" fmla="*/ 71608 h 1571603"/>
              <a:gd name="csX130" fmla="*/ 408822 w 732037"/>
              <a:gd name="csY130" fmla="*/ 46613 h 1571603"/>
              <a:gd name="csX131" fmla="*/ 406842 w 732037"/>
              <a:gd name="csY131" fmla="*/ 38347 h 157160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</a:cxnLst>
            <a:rect l="l" t="t" r="r" b="b"/>
            <a:pathLst>
              <a:path w="732037" h="1571603">
                <a:moveTo>
                  <a:pt x="406842" y="38347"/>
                </a:moveTo>
                <a:cubicBezTo>
                  <a:pt x="408555" y="35869"/>
                  <a:pt x="410622" y="34608"/>
                  <a:pt x="411944" y="38343"/>
                </a:cubicBezTo>
                <a:cubicBezTo>
                  <a:pt x="413676" y="43242"/>
                  <a:pt x="414797" y="48356"/>
                  <a:pt x="416198" y="53444"/>
                </a:cubicBezTo>
                <a:cubicBezTo>
                  <a:pt x="422922" y="48977"/>
                  <a:pt x="424340" y="41699"/>
                  <a:pt x="418945" y="34170"/>
                </a:cubicBezTo>
                <a:cubicBezTo>
                  <a:pt x="412483" y="25152"/>
                  <a:pt x="404444" y="17554"/>
                  <a:pt x="394077" y="12943"/>
                </a:cubicBezTo>
                <a:cubicBezTo>
                  <a:pt x="376702" y="5216"/>
                  <a:pt x="358713" y="6244"/>
                  <a:pt x="341415" y="11814"/>
                </a:cubicBezTo>
                <a:cubicBezTo>
                  <a:pt x="323675" y="17525"/>
                  <a:pt x="304459" y="39816"/>
                  <a:pt x="309440" y="65249"/>
                </a:cubicBezTo>
                <a:cubicBezTo>
                  <a:pt x="310868" y="72543"/>
                  <a:pt x="315482" y="79463"/>
                  <a:pt x="319632" y="85914"/>
                </a:cubicBezTo>
                <a:cubicBezTo>
                  <a:pt x="325434" y="94933"/>
                  <a:pt x="325800" y="102817"/>
                  <a:pt x="318632" y="110015"/>
                </a:cubicBezTo>
                <a:cubicBezTo>
                  <a:pt x="291775" y="136984"/>
                  <a:pt x="269594" y="167702"/>
                  <a:pt x="246921" y="198083"/>
                </a:cubicBezTo>
                <a:cubicBezTo>
                  <a:pt x="230003" y="220751"/>
                  <a:pt x="215685" y="244921"/>
                  <a:pt x="202660" y="269911"/>
                </a:cubicBezTo>
                <a:cubicBezTo>
                  <a:pt x="188381" y="297309"/>
                  <a:pt x="179513" y="326657"/>
                  <a:pt x="176707" y="357233"/>
                </a:cubicBezTo>
                <a:cubicBezTo>
                  <a:pt x="174106" y="385578"/>
                  <a:pt x="180131" y="413140"/>
                  <a:pt x="190612" y="439700"/>
                </a:cubicBezTo>
                <a:cubicBezTo>
                  <a:pt x="199946" y="463353"/>
                  <a:pt x="211538" y="485623"/>
                  <a:pt x="227544" y="505527"/>
                </a:cubicBezTo>
                <a:cubicBezTo>
                  <a:pt x="229982" y="508558"/>
                  <a:pt x="230954" y="512768"/>
                  <a:pt x="232541" y="516294"/>
                </a:cubicBezTo>
                <a:cubicBezTo>
                  <a:pt x="229578" y="520824"/>
                  <a:pt x="226658" y="524724"/>
                  <a:pt x="224356" y="528960"/>
                </a:cubicBezTo>
                <a:cubicBezTo>
                  <a:pt x="221823" y="533618"/>
                  <a:pt x="222675" y="537588"/>
                  <a:pt x="227944" y="540026"/>
                </a:cubicBezTo>
                <a:cubicBezTo>
                  <a:pt x="231656" y="541743"/>
                  <a:pt x="235331" y="543568"/>
                  <a:pt x="238897" y="545570"/>
                </a:cubicBezTo>
                <a:cubicBezTo>
                  <a:pt x="249613" y="551585"/>
                  <a:pt x="251795" y="563681"/>
                  <a:pt x="242386" y="571785"/>
                </a:cubicBezTo>
                <a:cubicBezTo>
                  <a:pt x="233816" y="579166"/>
                  <a:pt x="224045" y="585423"/>
                  <a:pt x="214067" y="590809"/>
                </a:cubicBezTo>
                <a:cubicBezTo>
                  <a:pt x="206271" y="595018"/>
                  <a:pt x="202051" y="601487"/>
                  <a:pt x="201355" y="609067"/>
                </a:cubicBezTo>
                <a:cubicBezTo>
                  <a:pt x="200489" y="618497"/>
                  <a:pt x="195720" y="623726"/>
                  <a:pt x="188474" y="628398"/>
                </a:cubicBezTo>
                <a:cubicBezTo>
                  <a:pt x="177332" y="635582"/>
                  <a:pt x="167866" y="644503"/>
                  <a:pt x="162658" y="657096"/>
                </a:cubicBezTo>
                <a:cubicBezTo>
                  <a:pt x="156420" y="672181"/>
                  <a:pt x="160439" y="684301"/>
                  <a:pt x="175395" y="691621"/>
                </a:cubicBezTo>
                <a:cubicBezTo>
                  <a:pt x="183722" y="695697"/>
                  <a:pt x="192859" y="698589"/>
                  <a:pt x="201948" y="700523"/>
                </a:cubicBezTo>
                <a:cubicBezTo>
                  <a:pt x="214634" y="703224"/>
                  <a:pt x="227616" y="704530"/>
                  <a:pt x="241426" y="706574"/>
                </a:cubicBezTo>
                <a:cubicBezTo>
                  <a:pt x="241839" y="709770"/>
                  <a:pt x="242576" y="712857"/>
                  <a:pt x="242586" y="715946"/>
                </a:cubicBezTo>
                <a:cubicBezTo>
                  <a:pt x="242672" y="744610"/>
                  <a:pt x="243133" y="773285"/>
                  <a:pt x="242424" y="801932"/>
                </a:cubicBezTo>
                <a:cubicBezTo>
                  <a:pt x="242053" y="816907"/>
                  <a:pt x="239631" y="831838"/>
                  <a:pt x="238000" y="846774"/>
                </a:cubicBezTo>
                <a:cubicBezTo>
                  <a:pt x="236368" y="861717"/>
                  <a:pt x="234927" y="876693"/>
                  <a:pt x="232752" y="891559"/>
                </a:cubicBezTo>
                <a:cubicBezTo>
                  <a:pt x="229873" y="911238"/>
                  <a:pt x="226675" y="930882"/>
                  <a:pt x="223037" y="950433"/>
                </a:cubicBezTo>
                <a:cubicBezTo>
                  <a:pt x="219173" y="971193"/>
                  <a:pt x="215113" y="991942"/>
                  <a:pt x="210247" y="1012485"/>
                </a:cubicBezTo>
                <a:cubicBezTo>
                  <a:pt x="205743" y="1031500"/>
                  <a:pt x="200395" y="1050337"/>
                  <a:pt x="194820" y="1069074"/>
                </a:cubicBezTo>
                <a:cubicBezTo>
                  <a:pt x="185401" y="1100731"/>
                  <a:pt x="175708" y="1132311"/>
                  <a:pt x="165707" y="1163788"/>
                </a:cubicBezTo>
                <a:cubicBezTo>
                  <a:pt x="162367" y="1174302"/>
                  <a:pt x="156145" y="1182634"/>
                  <a:pt x="144382" y="1185530"/>
                </a:cubicBezTo>
                <a:cubicBezTo>
                  <a:pt x="139281" y="1186787"/>
                  <a:pt x="134434" y="1189193"/>
                  <a:pt x="129590" y="1191342"/>
                </a:cubicBezTo>
                <a:cubicBezTo>
                  <a:pt x="120028" y="1195581"/>
                  <a:pt x="118779" y="1198539"/>
                  <a:pt x="122255" y="1208476"/>
                </a:cubicBezTo>
                <a:cubicBezTo>
                  <a:pt x="123870" y="1213094"/>
                  <a:pt x="125990" y="1217542"/>
                  <a:pt x="127491" y="1222193"/>
                </a:cubicBezTo>
                <a:cubicBezTo>
                  <a:pt x="132294" y="1237066"/>
                  <a:pt x="129961" y="1250353"/>
                  <a:pt x="118348" y="1261470"/>
                </a:cubicBezTo>
                <a:cubicBezTo>
                  <a:pt x="98275" y="1280686"/>
                  <a:pt x="78038" y="1299737"/>
                  <a:pt x="58232" y="1319224"/>
                </a:cubicBezTo>
                <a:cubicBezTo>
                  <a:pt x="38634" y="1338507"/>
                  <a:pt x="29913" y="1362564"/>
                  <a:pt x="28815" y="1389717"/>
                </a:cubicBezTo>
                <a:cubicBezTo>
                  <a:pt x="28318" y="1402031"/>
                  <a:pt x="29110" y="1414206"/>
                  <a:pt x="32634" y="1426050"/>
                </a:cubicBezTo>
                <a:cubicBezTo>
                  <a:pt x="34273" y="1431554"/>
                  <a:pt x="33300" y="1435929"/>
                  <a:pt x="30331" y="1441003"/>
                </a:cubicBezTo>
                <a:cubicBezTo>
                  <a:pt x="16698" y="1464298"/>
                  <a:pt x="8890" y="1489397"/>
                  <a:pt x="9180" y="1516655"/>
                </a:cubicBezTo>
                <a:cubicBezTo>
                  <a:pt x="9291" y="1527012"/>
                  <a:pt x="9917" y="1528771"/>
                  <a:pt x="20082" y="1531402"/>
                </a:cubicBezTo>
                <a:cubicBezTo>
                  <a:pt x="38179" y="1536086"/>
                  <a:pt x="56480" y="1540035"/>
                  <a:pt x="74798" y="1543794"/>
                </a:cubicBezTo>
                <a:cubicBezTo>
                  <a:pt x="87517" y="1546403"/>
                  <a:pt x="100396" y="1548250"/>
                  <a:pt x="113225" y="1550305"/>
                </a:cubicBezTo>
                <a:cubicBezTo>
                  <a:pt x="120841" y="1551524"/>
                  <a:pt x="128467" y="1552843"/>
                  <a:pt x="136142" y="1553484"/>
                </a:cubicBezTo>
                <a:cubicBezTo>
                  <a:pt x="149934" y="1554635"/>
                  <a:pt x="163778" y="1555156"/>
                  <a:pt x="177578" y="1556220"/>
                </a:cubicBezTo>
                <a:cubicBezTo>
                  <a:pt x="195403" y="1557595"/>
                  <a:pt x="213196" y="1559407"/>
                  <a:pt x="231027" y="1560698"/>
                </a:cubicBezTo>
                <a:cubicBezTo>
                  <a:pt x="238768" y="1561259"/>
                  <a:pt x="246585" y="1560709"/>
                  <a:pt x="254342" y="1561142"/>
                </a:cubicBezTo>
                <a:cubicBezTo>
                  <a:pt x="322588" y="1564942"/>
                  <a:pt x="390896" y="1563427"/>
                  <a:pt x="459180" y="1563411"/>
                </a:cubicBezTo>
                <a:cubicBezTo>
                  <a:pt x="483236" y="1563406"/>
                  <a:pt x="507311" y="1562248"/>
                  <a:pt x="531340" y="1560936"/>
                </a:cubicBezTo>
                <a:cubicBezTo>
                  <a:pt x="551225" y="1559849"/>
                  <a:pt x="571160" y="1558554"/>
                  <a:pt x="590888" y="1555951"/>
                </a:cubicBezTo>
                <a:cubicBezTo>
                  <a:pt x="631179" y="1550635"/>
                  <a:pt x="671338" y="1544328"/>
                  <a:pt x="710712" y="1533916"/>
                </a:cubicBezTo>
                <a:cubicBezTo>
                  <a:pt x="722630" y="1530764"/>
                  <a:pt x="724036" y="1528558"/>
                  <a:pt x="724356" y="1516144"/>
                </a:cubicBezTo>
                <a:cubicBezTo>
                  <a:pt x="724970" y="1492256"/>
                  <a:pt x="718637" y="1470245"/>
                  <a:pt x="707380" y="1449380"/>
                </a:cubicBezTo>
                <a:cubicBezTo>
                  <a:pt x="706259" y="1447304"/>
                  <a:pt x="706896" y="1444279"/>
                  <a:pt x="707050" y="1440881"/>
                </a:cubicBezTo>
                <a:cubicBezTo>
                  <a:pt x="722747" y="1457101"/>
                  <a:pt x="728653" y="1477963"/>
                  <a:pt x="731479" y="1500017"/>
                </a:cubicBezTo>
                <a:cubicBezTo>
                  <a:pt x="731992" y="1504029"/>
                  <a:pt x="731781" y="1508135"/>
                  <a:pt x="731163" y="1513759"/>
                </a:cubicBezTo>
                <a:cubicBezTo>
                  <a:pt x="730831" y="1517468"/>
                  <a:pt x="731241" y="1519618"/>
                  <a:pt x="731650" y="1521766"/>
                </a:cubicBezTo>
                <a:cubicBezTo>
                  <a:pt x="733191" y="1529956"/>
                  <a:pt x="730165" y="1535242"/>
                  <a:pt x="721896" y="1537319"/>
                </a:cubicBezTo>
                <a:cubicBezTo>
                  <a:pt x="700520" y="1542690"/>
                  <a:pt x="679367" y="1549248"/>
                  <a:pt x="657740" y="1553265"/>
                </a:cubicBezTo>
                <a:cubicBezTo>
                  <a:pt x="608220" y="1562464"/>
                  <a:pt x="558146" y="1566701"/>
                  <a:pt x="507791" y="1568943"/>
                </a:cubicBezTo>
                <a:cubicBezTo>
                  <a:pt x="426738" y="1572552"/>
                  <a:pt x="345677" y="1572161"/>
                  <a:pt x="264676" y="1569724"/>
                </a:cubicBezTo>
                <a:cubicBezTo>
                  <a:pt x="203800" y="1567891"/>
                  <a:pt x="142882" y="1563907"/>
                  <a:pt x="82743" y="1553254"/>
                </a:cubicBezTo>
                <a:cubicBezTo>
                  <a:pt x="60647" y="1549341"/>
                  <a:pt x="38739" y="1544032"/>
                  <a:pt x="17072" y="1538153"/>
                </a:cubicBezTo>
                <a:cubicBezTo>
                  <a:pt x="1381" y="1533894"/>
                  <a:pt x="-938" y="1529341"/>
                  <a:pt x="275" y="1513030"/>
                </a:cubicBezTo>
                <a:cubicBezTo>
                  <a:pt x="2146" y="1487871"/>
                  <a:pt x="7321" y="1463566"/>
                  <a:pt x="20923" y="1441861"/>
                </a:cubicBezTo>
                <a:cubicBezTo>
                  <a:pt x="24812" y="1435656"/>
                  <a:pt x="24566" y="1429699"/>
                  <a:pt x="23045" y="1423105"/>
                </a:cubicBezTo>
                <a:cubicBezTo>
                  <a:pt x="16952" y="1396684"/>
                  <a:pt x="19689" y="1370924"/>
                  <a:pt x="30564" y="1346289"/>
                </a:cubicBezTo>
                <a:cubicBezTo>
                  <a:pt x="39621" y="1325774"/>
                  <a:pt x="54481" y="1309709"/>
                  <a:pt x="71350" y="1295039"/>
                </a:cubicBezTo>
                <a:cubicBezTo>
                  <a:pt x="85712" y="1282550"/>
                  <a:pt x="99164" y="1268932"/>
                  <a:pt x="112257" y="1255093"/>
                </a:cubicBezTo>
                <a:cubicBezTo>
                  <a:pt x="122891" y="1243852"/>
                  <a:pt x="124955" y="1230879"/>
                  <a:pt x="115864" y="1217271"/>
                </a:cubicBezTo>
                <a:cubicBezTo>
                  <a:pt x="114506" y="1215239"/>
                  <a:pt x="113304" y="1213078"/>
                  <a:pt x="112256" y="1210870"/>
                </a:cubicBezTo>
                <a:cubicBezTo>
                  <a:pt x="106526" y="1198808"/>
                  <a:pt x="109052" y="1191969"/>
                  <a:pt x="121141" y="1186548"/>
                </a:cubicBezTo>
                <a:cubicBezTo>
                  <a:pt x="126274" y="1184246"/>
                  <a:pt x="131201" y="1180803"/>
                  <a:pt x="136571" y="1179850"/>
                </a:cubicBezTo>
                <a:cubicBezTo>
                  <a:pt x="149372" y="1177579"/>
                  <a:pt x="154892" y="1168948"/>
                  <a:pt x="158281" y="1157879"/>
                </a:cubicBezTo>
                <a:cubicBezTo>
                  <a:pt x="168288" y="1125194"/>
                  <a:pt x="179178" y="1092742"/>
                  <a:pt x="187986" y="1059736"/>
                </a:cubicBezTo>
                <a:cubicBezTo>
                  <a:pt x="198666" y="1019713"/>
                  <a:pt x="207813" y="979272"/>
                  <a:pt x="217119" y="938896"/>
                </a:cubicBezTo>
                <a:cubicBezTo>
                  <a:pt x="220491" y="924267"/>
                  <a:pt x="222410" y="909302"/>
                  <a:pt x="225792" y="893236"/>
                </a:cubicBezTo>
                <a:cubicBezTo>
                  <a:pt x="226444" y="890644"/>
                  <a:pt x="226297" y="889307"/>
                  <a:pt x="226150" y="887970"/>
                </a:cubicBezTo>
                <a:cubicBezTo>
                  <a:pt x="227450" y="877085"/>
                  <a:pt x="228750" y="866198"/>
                  <a:pt x="230782" y="853969"/>
                </a:cubicBezTo>
                <a:cubicBezTo>
                  <a:pt x="231271" y="851270"/>
                  <a:pt x="231029" y="849914"/>
                  <a:pt x="230786" y="848558"/>
                </a:cubicBezTo>
                <a:cubicBezTo>
                  <a:pt x="231390" y="840967"/>
                  <a:pt x="231993" y="833375"/>
                  <a:pt x="233315" y="824438"/>
                </a:cubicBezTo>
                <a:cubicBezTo>
                  <a:pt x="233755" y="821744"/>
                  <a:pt x="233477" y="820397"/>
                  <a:pt x="233199" y="819050"/>
                </a:cubicBezTo>
                <a:cubicBezTo>
                  <a:pt x="233786" y="807422"/>
                  <a:pt x="234374" y="795794"/>
                  <a:pt x="235848" y="782380"/>
                </a:cubicBezTo>
                <a:cubicBezTo>
                  <a:pt x="237047" y="760099"/>
                  <a:pt x="237488" y="739606"/>
                  <a:pt x="237465" y="719113"/>
                </a:cubicBezTo>
                <a:cubicBezTo>
                  <a:pt x="237463" y="717127"/>
                  <a:pt x="234595" y="715144"/>
                  <a:pt x="233057" y="713160"/>
                </a:cubicBezTo>
                <a:cubicBezTo>
                  <a:pt x="223043" y="711630"/>
                  <a:pt x="212881" y="710731"/>
                  <a:pt x="203056" y="708405"/>
                </a:cubicBezTo>
                <a:cubicBezTo>
                  <a:pt x="191716" y="705720"/>
                  <a:pt x="180144" y="702931"/>
                  <a:pt x="169628" y="698106"/>
                </a:cubicBezTo>
                <a:cubicBezTo>
                  <a:pt x="154505" y="691164"/>
                  <a:pt x="148867" y="675179"/>
                  <a:pt x="153237" y="659111"/>
                </a:cubicBezTo>
                <a:cubicBezTo>
                  <a:pt x="157196" y="644561"/>
                  <a:pt x="166649" y="634454"/>
                  <a:pt x="178365" y="626008"/>
                </a:cubicBezTo>
                <a:cubicBezTo>
                  <a:pt x="182258" y="623202"/>
                  <a:pt x="186579" y="620992"/>
                  <a:pt x="191885" y="617513"/>
                </a:cubicBezTo>
                <a:cubicBezTo>
                  <a:pt x="194882" y="614532"/>
                  <a:pt x="197062" y="612583"/>
                  <a:pt x="193681" y="610098"/>
                </a:cubicBezTo>
                <a:cubicBezTo>
                  <a:pt x="193381" y="595591"/>
                  <a:pt x="202034" y="586776"/>
                  <a:pt x="213301" y="579885"/>
                </a:cubicBezTo>
                <a:cubicBezTo>
                  <a:pt x="218517" y="576695"/>
                  <a:pt x="224270" y="574393"/>
                  <a:pt x="229635" y="571429"/>
                </a:cubicBezTo>
                <a:cubicBezTo>
                  <a:pt x="232401" y="569901"/>
                  <a:pt x="235344" y="568225"/>
                  <a:pt x="237351" y="565882"/>
                </a:cubicBezTo>
                <a:cubicBezTo>
                  <a:pt x="243193" y="559063"/>
                  <a:pt x="242021" y="554779"/>
                  <a:pt x="233673" y="550926"/>
                </a:cubicBezTo>
                <a:cubicBezTo>
                  <a:pt x="231458" y="549904"/>
                  <a:pt x="229049" y="549314"/>
                  <a:pt x="226799" y="548359"/>
                </a:cubicBezTo>
                <a:cubicBezTo>
                  <a:pt x="215108" y="543398"/>
                  <a:pt x="211118" y="532802"/>
                  <a:pt x="218639" y="522664"/>
                </a:cubicBezTo>
                <a:cubicBezTo>
                  <a:pt x="223647" y="515913"/>
                  <a:pt x="222661" y="511633"/>
                  <a:pt x="218264" y="505463"/>
                </a:cubicBezTo>
                <a:cubicBezTo>
                  <a:pt x="203255" y="484407"/>
                  <a:pt x="190650" y="461993"/>
                  <a:pt x="181762" y="437574"/>
                </a:cubicBezTo>
                <a:cubicBezTo>
                  <a:pt x="163530" y="387483"/>
                  <a:pt x="165826" y="338057"/>
                  <a:pt x="185971" y="289069"/>
                </a:cubicBezTo>
                <a:cubicBezTo>
                  <a:pt x="202921" y="247851"/>
                  <a:pt x="226229" y="210377"/>
                  <a:pt x="253787" y="175580"/>
                </a:cubicBezTo>
                <a:cubicBezTo>
                  <a:pt x="271814" y="152817"/>
                  <a:pt x="290973" y="130951"/>
                  <a:pt x="309639" y="108695"/>
                </a:cubicBezTo>
                <a:cubicBezTo>
                  <a:pt x="312744" y="104993"/>
                  <a:pt x="315922" y="101352"/>
                  <a:pt x="318061" y="98855"/>
                </a:cubicBezTo>
                <a:cubicBezTo>
                  <a:pt x="313257" y="88362"/>
                  <a:pt x="308695" y="79376"/>
                  <a:pt x="304967" y="70056"/>
                </a:cubicBezTo>
                <a:cubicBezTo>
                  <a:pt x="297146" y="50504"/>
                  <a:pt x="303366" y="33481"/>
                  <a:pt x="317012" y="19436"/>
                </a:cubicBezTo>
                <a:cubicBezTo>
                  <a:pt x="344741" y="-9105"/>
                  <a:pt x="393463" y="-3345"/>
                  <a:pt x="415542" y="18221"/>
                </a:cubicBezTo>
                <a:cubicBezTo>
                  <a:pt x="429559" y="31914"/>
                  <a:pt x="438373" y="56968"/>
                  <a:pt x="423203" y="82660"/>
                </a:cubicBezTo>
                <a:cubicBezTo>
                  <a:pt x="420306" y="87568"/>
                  <a:pt x="417047" y="92262"/>
                  <a:pt x="413361" y="97975"/>
                </a:cubicBezTo>
                <a:cubicBezTo>
                  <a:pt x="416167" y="100932"/>
                  <a:pt x="418781" y="103940"/>
                  <a:pt x="421654" y="106676"/>
                </a:cubicBezTo>
                <a:cubicBezTo>
                  <a:pt x="446372" y="130213"/>
                  <a:pt x="467902" y="156374"/>
                  <a:pt x="487032" y="184632"/>
                </a:cubicBezTo>
                <a:cubicBezTo>
                  <a:pt x="492374" y="192525"/>
                  <a:pt x="493990" y="199495"/>
                  <a:pt x="489213" y="208238"/>
                </a:cubicBezTo>
                <a:cubicBezTo>
                  <a:pt x="484525" y="216819"/>
                  <a:pt x="481033" y="226053"/>
                  <a:pt x="476520" y="235738"/>
                </a:cubicBezTo>
                <a:cubicBezTo>
                  <a:pt x="472168" y="236089"/>
                  <a:pt x="471165" y="234358"/>
                  <a:pt x="472850" y="230703"/>
                </a:cubicBezTo>
                <a:cubicBezTo>
                  <a:pt x="476263" y="223297"/>
                  <a:pt x="479344" y="215738"/>
                  <a:pt x="482723" y="208315"/>
                </a:cubicBezTo>
                <a:cubicBezTo>
                  <a:pt x="486016" y="201080"/>
                  <a:pt x="485571" y="194961"/>
                  <a:pt x="480764" y="187916"/>
                </a:cubicBezTo>
                <a:cubicBezTo>
                  <a:pt x="459995" y="157475"/>
                  <a:pt x="437234" y="128912"/>
                  <a:pt x="408519" y="105475"/>
                </a:cubicBezTo>
                <a:cubicBezTo>
                  <a:pt x="403555" y="101425"/>
                  <a:pt x="403835" y="96489"/>
                  <a:pt x="408625" y="89203"/>
                </a:cubicBezTo>
                <a:cubicBezTo>
                  <a:pt x="412416" y="83438"/>
                  <a:pt x="416045" y="77562"/>
                  <a:pt x="419600" y="71648"/>
                </a:cubicBezTo>
                <a:cubicBezTo>
                  <a:pt x="421349" y="68739"/>
                  <a:pt x="422717" y="65537"/>
                  <a:pt x="418792" y="63179"/>
                </a:cubicBezTo>
                <a:cubicBezTo>
                  <a:pt x="414834" y="60801"/>
                  <a:pt x="413218" y="63883"/>
                  <a:pt x="410943" y="66417"/>
                </a:cubicBezTo>
                <a:cubicBezTo>
                  <a:pt x="407706" y="70022"/>
                  <a:pt x="404330" y="74045"/>
                  <a:pt x="400140" y="76155"/>
                </a:cubicBezTo>
                <a:cubicBezTo>
                  <a:pt x="381561" y="85507"/>
                  <a:pt x="360821" y="72312"/>
                  <a:pt x="360599" y="51379"/>
                </a:cubicBezTo>
                <a:cubicBezTo>
                  <a:pt x="360556" y="47292"/>
                  <a:pt x="360308" y="43152"/>
                  <a:pt x="360842" y="39128"/>
                </a:cubicBezTo>
                <a:cubicBezTo>
                  <a:pt x="361447" y="34568"/>
                  <a:pt x="362880" y="30159"/>
                  <a:pt x="369470" y="30960"/>
                </a:cubicBezTo>
                <a:cubicBezTo>
                  <a:pt x="368501" y="37551"/>
                  <a:pt x="365745" y="43300"/>
                  <a:pt x="365613" y="49108"/>
                </a:cubicBezTo>
                <a:cubicBezTo>
                  <a:pt x="365328" y="61659"/>
                  <a:pt x="377498" y="72522"/>
                  <a:pt x="389468" y="71608"/>
                </a:cubicBezTo>
                <a:cubicBezTo>
                  <a:pt x="401478" y="70690"/>
                  <a:pt x="410127" y="59637"/>
                  <a:pt x="408822" y="46613"/>
                </a:cubicBezTo>
                <a:cubicBezTo>
                  <a:pt x="408542" y="43819"/>
                  <a:pt x="407521" y="41100"/>
                  <a:pt x="406842" y="38347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8" name="Free-form: Shape 7">
            <a:extLst>
              <a:ext uri="{FF2B5EF4-FFF2-40B4-BE49-F238E27FC236}">
                <a16:creationId xmlns:a16="http://schemas.microsoft.com/office/drawing/2014/main" id="{B838CB39-FFEF-DBBA-6725-244760BA2EAA}"/>
              </a:ext>
            </a:extLst>
          </p:cNvPr>
          <p:cNvSpPr/>
          <p:nvPr/>
        </p:nvSpPr>
        <p:spPr>
          <a:xfrm>
            <a:off x="515891" y="5864907"/>
            <a:ext cx="110769" cy="223239"/>
          </a:xfrm>
          <a:custGeom>
            <a:avLst/>
            <a:gdLst>
              <a:gd name="csX0" fmla="*/ 96534 w 100699"/>
              <a:gd name="csY0" fmla="*/ 202912 h 202945"/>
              <a:gd name="csX1" fmla="*/ 91036 w 100699"/>
              <a:gd name="csY1" fmla="*/ 196780 h 202945"/>
              <a:gd name="csX2" fmla="*/ 93357 w 100699"/>
              <a:gd name="csY2" fmla="*/ 178731 h 202945"/>
              <a:gd name="csX3" fmla="*/ 75903 w 100699"/>
              <a:gd name="csY3" fmla="*/ 106029 h 202945"/>
              <a:gd name="csX4" fmla="*/ 72780 w 100699"/>
              <a:gd name="csY4" fmla="*/ 102473 h 202945"/>
              <a:gd name="csX5" fmla="*/ 10982 w 100699"/>
              <a:gd name="csY5" fmla="*/ 41414 h 202945"/>
              <a:gd name="csX6" fmla="*/ 676 w 100699"/>
              <a:gd name="csY6" fmla="*/ 2936 h 202945"/>
              <a:gd name="csX7" fmla="*/ 5198 w 100699"/>
              <a:gd name="csY7" fmla="*/ 0 h 202945"/>
              <a:gd name="csX8" fmla="*/ 15435 w 100699"/>
              <a:gd name="csY8" fmla="*/ 35855 h 202945"/>
              <a:gd name="csX9" fmla="*/ 44498 w 100699"/>
              <a:gd name="csY9" fmla="*/ 63833 h 202945"/>
              <a:gd name="csX10" fmla="*/ 81385 w 100699"/>
              <a:gd name="csY10" fmla="*/ 106005 h 202945"/>
              <a:gd name="csX11" fmla="*/ 98950 w 100699"/>
              <a:gd name="csY11" fmla="*/ 190063 h 202945"/>
              <a:gd name="csX12" fmla="*/ 96534 w 100699"/>
              <a:gd name="csY12" fmla="*/ 202912 h 20294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</a:cxnLst>
            <a:rect l="l" t="t" r="r" b="b"/>
            <a:pathLst>
              <a:path w="100699" h="202945">
                <a:moveTo>
                  <a:pt x="96534" y="202912"/>
                </a:moveTo>
                <a:cubicBezTo>
                  <a:pt x="91699" y="203291"/>
                  <a:pt x="90650" y="200377"/>
                  <a:pt x="91036" y="196780"/>
                </a:cubicBezTo>
                <a:cubicBezTo>
                  <a:pt x="91685" y="190750"/>
                  <a:pt x="92933" y="184771"/>
                  <a:pt x="93357" y="178731"/>
                </a:cubicBezTo>
                <a:cubicBezTo>
                  <a:pt x="95183" y="152694"/>
                  <a:pt x="86034" y="129222"/>
                  <a:pt x="75903" y="106029"/>
                </a:cubicBezTo>
                <a:cubicBezTo>
                  <a:pt x="75300" y="104650"/>
                  <a:pt x="73904" y="103585"/>
                  <a:pt x="72780" y="102473"/>
                </a:cubicBezTo>
                <a:cubicBezTo>
                  <a:pt x="52199" y="82101"/>
                  <a:pt x="31673" y="61673"/>
                  <a:pt x="10982" y="41414"/>
                </a:cubicBezTo>
                <a:cubicBezTo>
                  <a:pt x="-119" y="30544"/>
                  <a:pt x="-1041" y="17093"/>
                  <a:pt x="676" y="2936"/>
                </a:cubicBezTo>
                <a:cubicBezTo>
                  <a:pt x="808" y="1852"/>
                  <a:pt x="2922" y="1010"/>
                  <a:pt x="5198" y="0"/>
                </a:cubicBezTo>
                <a:cubicBezTo>
                  <a:pt x="2043" y="13772"/>
                  <a:pt x="5665" y="25821"/>
                  <a:pt x="15435" y="35855"/>
                </a:cubicBezTo>
                <a:cubicBezTo>
                  <a:pt x="24811" y="45486"/>
                  <a:pt x="35301" y="54047"/>
                  <a:pt x="44498" y="63833"/>
                </a:cubicBezTo>
                <a:cubicBezTo>
                  <a:pt x="57293" y="77447"/>
                  <a:pt x="70760" y="90773"/>
                  <a:pt x="81385" y="106005"/>
                </a:cubicBezTo>
                <a:cubicBezTo>
                  <a:pt x="98896" y="131109"/>
                  <a:pt x="103759" y="159808"/>
                  <a:pt x="98950" y="190063"/>
                </a:cubicBezTo>
                <a:cubicBezTo>
                  <a:pt x="98311" y="194082"/>
                  <a:pt x="97697" y="198105"/>
                  <a:pt x="96534" y="202912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10" name="Free-form: Shape 9">
            <a:extLst>
              <a:ext uri="{FF2B5EF4-FFF2-40B4-BE49-F238E27FC236}">
                <a16:creationId xmlns:a16="http://schemas.microsoft.com/office/drawing/2014/main" id="{18DA1218-4F2C-DE74-66C8-1922698F9969}"/>
              </a:ext>
            </a:extLst>
          </p:cNvPr>
          <p:cNvSpPr/>
          <p:nvPr/>
        </p:nvSpPr>
        <p:spPr>
          <a:xfrm>
            <a:off x="102937" y="5303424"/>
            <a:ext cx="4524" cy="73732"/>
          </a:xfrm>
          <a:custGeom>
            <a:avLst/>
            <a:gdLst>
              <a:gd name="csX0" fmla="*/ 0 w 4113"/>
              <a:gd name="csY0" fmla="*/ 0 h 67029"/>
              <a:gd name="csX1" fmla="*/ 4113 w 4113"/>
              <a:gd name="csY1" fmla="*/ 4824 h 67029"/>
              <a:gd name="csX2" fmla="*/ 2662 w 4113"/>
              <a:gd name="csY2" fmla="*/ 67030 h 67029"/>
              <a:gd name="csX3" fmla="*/ 631 w 4113"/>
              <a:gd name="csY3" fmla="*/ 55883 h 67029"/>
              <a:gd name="csX4" fmla="*/ 0 w 4113"/>
              <a:gd name="csY4" fmla="*/ 0 h 6702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4113" h="67029">
                <a:moveTo>
                  <a:pt x="0" y="0"/>
                </a:moveTo>
                <a:cubicBezTo>
                  <a:pt x="1242" y="855"/>
                  <a:pt x="4111" y="2838"/>
                  <a:pt x="4113" y="4824"/>
                </a:cubicBezTo>
                <a:cubicBezTo>
                  <a:pt x="4135" y="25317"/>
                  <a:pt x="3695" y="45810"/>
                  <a:pt x="2662" y="67030"/>
                </a:cubicBezTo>
                <a:cubicBezTo>
                  <a:pt x="1483" y="63799"/>
                  <a:pt x="680" y="59846"/>
                  <a:pt x="631" y="55883"/>
                </a:cubicBezTo>
                <a:cubicBezTo>
                  <a:pt x="404" y="37633"/>
                  <a:pt x="388" y="19381"/>
                  <a:pt x="0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11" name="Free-form: Shape 10">
            <a:extLst>
              <a:ext uri="{FF2B5EF4-FFF2-40B4-BE49-F238E27FC236}">
                <a16:creationId xmlns:a16="http://schemas.microsoft.com/office/drawing/2014/main" id="{C694A643-4484-7D66-6435-6FA941512711}"/>
              </a:ext>
            </a:extLst>
          </p:cNvPr>
          <p:cNvSpPr/>
          <p:nvPr/>
        </p:nvSpPr>
        <p:spPr>
          <a:xfrm>
            <a:off x="650328" y="6184062"/>
            <a:ext cx="1282" cy="7022"/>
          </a:xfrm>
          <a:custGeom>
            <a:avLst/>
            <a:gdLst>
              <a:gd name="csX0" fmla="*/ 1130 w 1165"/>
              <a:gd name="csY0" fmla="*/ 6385 h 6384"/>
              <a:gd name="csX1" fmla="*/ 49 w 1165"/>
              <a:gd name="csY1" fmla="*/ 0 h 6384"/>
              <a:gd name="csX2" fmla="*/ 1130 w 1165"/>
              <a:gd name="csY2" fmla="*/ 6385 h 638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165" h="6384">
                <a:moveTo>
                  <a:pt x="1130" y="6385"/>
                </a:moveTo>
                <a:cubicBezTo>
                  <a:pt x="260" y="4748"/>
                  <a:pt x="-149" y="2599"/>
                  <a:pt x="49" y="0"/>
                </a:cubicBezTo>
                <a:cubicBezTo>
                  <a:pt x="969" y="1658"/>
                  <a:pt x="1279" y="3765"/>
                  <a:pt x="1130" y="6385"/>
                </a:cubicBezTo>
                <a:close/>
              </a:path>
            </a:pathLst>
          </a:custGeom>
          <a:solidFill>
            <a:srgbClr val="939B9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12" name="Free-form: Shape 11">
            <a:extLst>
              <a:ext uri="{FF2B5EF4-FFF2-40B4-BE49-F238E27FC236}">
                <a16:creationId xmlns:a16="http://schemas.microsoft.com/office/drawing/2014/main" id="{726AAD47-8130-59EC-B2A6-EC1F41B49CDB}"/>
              </a:ext>
            </a:extLst>
          </p:cNvPr>
          <p:cNvSpPr/>
          <p:nvPr/>
        </p:nvSpPr>
        <p:spPr>
          <a:xfrm>
            <a:off x="614356" y="6094407"/>
            <a:ext cx="6582" cy="3014"/>
          </a:xfrm>
          <a:custGeom>
            <a:avLst/>
            <a:gdLst>
              <a:gd name="csX0" fmla="*/ 5985 w 5984"/>
              <a:gd name="csY0" fmla="*/ 1832 h 2740"/>
              <a:gd name="csX1" fmla="*/ 0 w 5984"/>
              <a:gd name="csY1" fmla="*/ 2740 h 2740"/>
              <a:gd name="csX2" fmla="*/ 4930 w 5984"/>
              <a:gd name="csY2" fmla="*/ 0 h 2740"/>
              <a:gd name="csX3" fmla="*/ 5985 w 5984"/>
              <a:gd name="csY3" fmla="*/ 1832 h 274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</a:cxnLst>
            <a:rect l="l" t="t" r="r" b="b"/>
            <a:pathLst>
              <a:path w="5984" h="2740">
                <a:moveTo>
                  <a:pt x="5985" y="1832"/>
                </a:moveTo>
                <a:cubicBezTo>
                  <a:pt x="3992" y="2553"/>
                  <a:pt x="1996" y="2646"/>
                  <a:pt x="0" y="2740"/>
                </a:cubicBezTo>
                <a:cubicBezTo>
                  <a:pt x="1398" y="1830"/>
                  <a:pt x="2796" y="920"/>
                  <a:pt x="4930" y="0"/>
                </a:cubicBezTo>
                <a:cubicBezTo>
                  <a:pt x="5772" y="394"/>
                  <a:pt x="5877" y="799"/>
                  <a:pt x="5985" y="1832"/>
                </a:cubicBezTo>
                <a:close/>
              </a:path>
            </a:pathLst>
          </a:custGeom>
          <a:solidFill>
            <a:srgbClr val="8E9395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13" name="Free-form: Shape 12">
            <a:extLst>
              <a:ext uri="{FF2B5EF4-FFF2-40B4-BE49-F238E27FC236}">
                <a16:creationId xmlns:a16="http://schemas.microsoft.com/office/drawing/2014/main" id="{E48C30E1-24FD-78A3-BAC6-6A3E2BA68CC4}"/>
              </a:ext>
            </a:extLst>
          </p:cNvPr>
          <p:cNvSpPr/>
          <p:nvPr/>
        </p:nvSpPr>
        <p:spPr>
          <a:xfrm>
            <a:off x="57892" y="5189466"/>
            <a:ext cx="3201" cy="6806"/>
          </a:xfrm>
          <a:custGeom>
            <a:avLst/>
            <a:gdLst>
              <a:gd name="csX0" fmla="*/ 815 w 2910"/>
              <a:gd name="csY0" fmla="*/ 0 h 6187"/>
              <a:gd name="csX1" fmla="*/ 113 w 2910"/>
              <a:gd name="csY1" fmla="*/ 6187 h 6187"/>
              <a:gd name="csX2" fmla="*/ 815 w 2910"/>
              <a:gd name="csY2" fmla="*/ 0 h 618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2910" h="6187">
                <a:moveTo>
                  <a:pt x="815" y="0"/>
                </a:moveTo>
                <a:cubicBezTo>
                  <a:pt x="4660" y="1891"/>
                  <a:pt x="2480" y="3840"/>
                  <a:pt x="113" y="6187"/>
                </a:cubicBezTo>
                <a:cubicBezTo>
                  <a:pt x="-172" y="4565"/>
                  <a:pt x="89" y="2579"/>
                  <a:pt x="815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14" name="Free-form: Shape 13">
            <a:extLst>
              <a:ext uri="{FF2B5EF4-FFF2-40B4-BE49-F238E27FC236}">
                <a16:creationId xmlns:a16="http://schemas.microsoft.com/office/drawing/2014/main" id="{834D1A00-C95B-0321-7E49-D688D5011A40}"/>
              </a:ext>
            </a:extLst>
          </p:cNvPr>
          <p:cNvSpPr/>
          <p:nvPr/>
        </p:nvSpPr>
        <p:spPr>
          <a:xfrm>
            <a:off x="99534" y="5451521"/>
            <a:ext cx="932" cy="4433"/>
          </a:xfrm>
          <a:custGeom>
            <a:avLst/>
            <a:gdLst>
              <a:gd name="csX0" fmla="*/ 106 w 847"/>
              <a:gd name="csY0" fmla="*/ 0 h 4030"/>
              <a:gd name="csX1" fmla="*/ 732 w 847"/>
              <a:gd name="csY1" fmla="*/ 4031 h 4030"/>
              <a:gd name="csX2" fmla="*/ 106 w 847"/>
              <a:gd name="csY2" fmla="*/ 0 h 403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7" h="4030">
                <a:moveTo>
                  <a:pt x="106" y="0"/>
                </a:moveTo>
                <a:cubicBezTo>
                  <a:pt x="770" y="990"/>
                  <a:pt x="1013" y="2346"/>
                  <a:pt x="732" y="4031"/>
                </a:cubicBezTo>
                <a:cubicBezTo>
                  <a:pt x="34" y="3029"/>
                  <a:pt x="-141" y="1697"/>
                  <a:pt x="106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15" name="Free-form: Shape 14">
            <a:extLst>
              <a:ext uri="{FF2B5EF4-FFF2-40B4-BE49-F238E27FC236}">
                <a16:creationId xmlns:a16="http://schemas.microsoft.com/office/drawing/2014/main" id="{A3C9C6F5-F5F3-86F9-E460-332AD1C4218D}"/>
              </a:ext>
            </a:extLst>
          </p:cNvPr>
          <p:cNvSpPr/>
          <p:nvPr/>
        </p:nvSpPr>
        <p:spPr>
          <a:xfrm>
            <a:off x="94302" y="5494832"/>
            <a:ext cx="851" cy="4393"/>
          </a:xfrm>
          <a:custGeom>
            <a:avLst/>
            <a:gdLst>
              <a:gd name="csX0" fmla="*/ 195 w 774"/>
              <a:gd name="csY0" fmla="*/ 0 h 3994"/>
              <a:gd name="csX1" fmla="*/ 575 w 774"/>
              <a:gd name="csY1" fmla="*/ 3994 h 3994"/>
              <a:gd name="csX2" fmla="*/ 195 w 774"/>
              <a:gd name="csY2" fmla="*/ 0 h 399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774" h="3994">
                <a:moveTo>
                  <a:pt x="195" y="0"/>
                </a:moveTo>
                <a:cubicBezTo>
                  <a:pt x="794" y="1011"/>
                  <a:pt x="941" y="2348"/>
                  <a:pt x="575" y="3994"/>
                </a:cubicBezTo>
                <a:cubicBezTo>
                  <a:pt x="-44" y="2978"/>
                  <a:pt x="-151" y="1652"/>
                  <a:pt x="195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16" name="Free-form: Shape 15">
            <a:extLst>
              <a:ext uri="{FF2B5EF4-FFF2-40B4-BE49-F238E27FC236}">
                <a16:creationId xmlns:a16="http://schemas.microsoft.com/office/drawing/2014/main" id="{5BD72706-AEAD-53EF-30D5-0E2886451693}"/>
              </a:ext>
            </a:extLst>
          </p:cNvPr>
          <p:cNvSpPr/>
          <p:nvPr/>
        </p:nvSpPr>
        <p:spPr>
          <a:xfrm>
            <a:off x="102261" y="5419081"/>
            <a:ext cx="952" cy="4394"/>
          </a:xfrm>
          <a:custGeom>
            <a:avLst/>
            <a:gdLst>
              <a:gd name="csX0" fmla="*/ 71 w 865"/>
              <a:gd name="csY0" fmla="*/ 0 h 3995"/>
              <a:gd name="csX1" fmla="*/ 783 w 865"/>
              <a:gd name="csY1" fmla="*/ 3996 h 3995"/>
              <a:gd name="csX2" fmla="*/ 71 w 865"/>
              <a:gd name="csY2" fmla="*/ 0 h 399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65" h="3995">
                <a:moveTo>
                  <a:pt x="71" y="0"/>
                </a:moveTo>
                <a:cubicBezTo>
                  <a:pt x="740" y="963"/>
                  <a:pt x="1018" y="2311"/>
                  <a:pt x="783" y="3996"/>
                </a:cubicBezTo>
                <a:cubicBezTo>
                  <a:pt x="73" y="3017"/>
                  <a:pt x="-124" y="1701"/>
                  <a:pt x="71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17" name="Free-form: Shape 16">
            <a:extLst>
              <a:ext uri="{FF2B5EF4-FFF2-40B4-BE49-F238E27FC236}">
                <a16:creationId xmlns:a16="http://schemas.microsoft.com/office/drawing/2014/main" id="{41E8B779-B7F3-DB6A-CF93-67B51E1515E0}"/>
              </a:ext>
            </a:extLst>
          </p:cNvPr>
          <p:cNvSpPr/>
          <p:nvPr/>
        </p:nvSpPr>
        <p:spPr>
          <a:xfrm>
            <a:off x="245408" y="5302952"/>
            <a:ext cx="205986" cy="516453"/>
          </a:xfrm>
          <a:custGeom>
            <a:avLst/>
            <a:gdLst>
              <a:gd name="csX0" fmla="*/ 120604 w 187260"/>
              <a:gd name="csY0" fmla="*/ 222968 h 469503"/>
              <a:gd name="csX1" fmla="*/ 187261 w 187260"/>
              <a:gd name="csY1" fmla="*/ 469503 h 469503"/>
              <a:gd name="csX2" fmla="*/ 1253 w 187260"/>
              <a:gd name="csY2" fmla="*/ 466078 h 469503"/>
              <a:gd name="csX3" fmla="*/ 8 w 187260"/>
              <a:gd name="csY3" fmla="*/ 458101 h 469503"/>
              <a:gd name="csX4" fmla="*/ 4383 w 187260"/>
              <a:gd name="csY4" fmla="*/ 351443 h 469503"/>
              <a:gd name="csX5" fmla="*/ 4615 w 187260"/>
              <a:gd name="csY5" fmla="*/ 346536 h 469503"/>
              <a:gd name="csX6" fmla="*/ 7935 w 187260"/>
              <a:gd name="csY6" fmla="*/ 233648 h 469503"/>
              <a:gd name="csX7" fmla="*/ 10461 w 187260"/>
              <a:gd name="csY7" fmla="*/ 128112 h 469503"/>
              <a:gd name="csX8" fmla="*/ 12461 w 187260"/>
              <a:gd name="csY8" fmla="*/ 12750 h 469503"/>
              <a:gd name="csX9" fmla="*/ 13165 w 187260"/>
              <a:gd name="csY9" fmla="*/ 4285 h 469503"/>
              <a:gd name="csX10" fmla="*/ 102327 w 187260"/>
              <a:gd name="csY10" fmla="*/ 0 h 469503"/>
              <a:gd name="csX11" fmla="*/ 106229 w 187260"/>
              <a:gd name="csY11" fmla="*/ 111321 h 469503"/>
              <a:gd name="csX12" fmla="*/ 120604 w 187260"/>
              <a:gd name="csY12" fmla="*/ 222968 h 46950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</a:cxnLst>
            <a:rect l="l" t="t" r="r" b="b"/>
            <a:pathLst>
              <a:path w="187260" h="469503">
                <a:moveTo>
                  <a:pt x="120604" y="222968"/>
                </a:moveTo>
                <a:cubicBezTo>
                  <a:pt x="135383" y="307129"/>
                  <a:pt x="159464" y="387725"/>
                  <a:pt x="187261" y="469503"/>
                </a:cubicBezTo>
                <a:cubicBezTo>
                  <a:pt x="124460" y="468347"/>
                  <a:pt x="63286" y="467220"/>
                  <a:pt x="1253" y="466078"/>
                </a:cubicBezTo>
                <a:cubicBezTo>
                  <a:pt x="818" y="463442"/>
                  <a:pt x="-95" y="460752"/>
                  <a:pt x="8" y="458101"/>
                </a:cubicBezTo>
                <a:cubicBezTo>
                  <a:pt x="1383" y="422545"/>
                  <a:pt x="2900" y="386994"/>
                  <a:pt x="4383" y="351443"/>
                </a:cubicBezTo>
                <a:cubicBezTo>
                  <a:pt x="4451" y="349807"/>
                  <a:pt x="4566" y="348172"/>
                  <a:pt x="4615" y="346536"/>
                </a:cubicBezTo>
                <a:cubicBezTo>
                  <a:pt x="5732" y="308907"/>
                  <a:pt x="6921" y="271280"/>
                  <a:pt x="7935" y="233648"/>
                </a:cubicBezTo>
                <a:cubicBezTo>
                  <a:pt x="8883" y="198472"/>
                  <a:pt x="9752" y="163293"/>
                  <a:pt x="10461" y="128112"/>
                </a:cubicBezTo>
                <a:cubicBezTo>
                  <a:pt x="11237" y="89660"/>
                  <a:pt x="11781" y="51204"/>
                  <a:pt x="12461" y="12750"/>
                </a:cubicBezTo>
                <a:cubicBezTo>
                  <a:pt x="12503" y="10363"/>
                  <a:pt x="12848" y="7981"/>
                  <a:pt x="13165" y="4285"/>
                </a:cubicBezTo>
                <a:cubicBezTo>
                  <a:pt x="42856" y="2858"/>
                  <a:pt x="72082" y="1454"/>
                  <a:pt x="102327" y="0"/>
                </a:cubicBezTo>
                <a:cubicBezTo>
                  <a:pt x="103499" y="37348"/>
                  <a:pt x="103207" y="74470"/>
                  <a:pt x="106229" y="111321"/>
                </a:cubicBezTo>
                <a:cubicBezTo>
                  <a:pt x="109263" y="148326"/>
                  <a:pt x="115599" y="185060"/>
                  <a:pt x="120604" y="222968"/>
                </a:cubicBezTo>
                <a:close/>
              </a:path>
            </a:pathLst>
          </a:custGeom>
          <a:solidFill>
            <a:srgbClr val="FDFDFD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18" name="Free-form: Shape 17">
            <a:extLst>
              <a:ext uri="{FF2B5EF4-FFF2-40B4-BE49-F238E27FC236}">
                <a16:creationId xmlns:a16="http://schemas.microsoft.com/office/drawing/2014/main" id="{50FA5B9B-709D-00F7-D5A8-0D94746719BA}"/>
              </a:ext>
            </a:extLst>
          </p:cNvPr>
          <p:cNvSpPr/>
          <p:nvPr/>
        </p:nvSpPr>
        <p:spPr>
          <a:xfrm>
            <a:off x="243965" y="5867722"/>
            <a:ext cx="344637" cy="217768"/>
          </a:xfrm>
          <a:custGeom>
            <a:avLst/>
            <a:gdLst>
              <a:gd name="csX0" fmla="*/ 160234 w 313306"/>
              <a:gd name="csY0" fmla="*/ 197876 h 197971"/>
              <a:gd name="csX1" fmla="*/ 544 w 313306"/>
              <a:gd name="csY1" fmla="*/ 197972 h 197971"/>
              <a:gd name="csX2" fmla="*/ 3466 w 313306"/>
              <a:gd name="csY2" fmla="*/ 104326 h 197971"/>
              <a:gd name="csX3" fmla="*/ 0 w 313306"/>
              <a:gd name="csY3" fmla="*/ 10720 h 197971"/>
              <a:gd name="csX4" fmla="*/ 5445 w 313306"/>
              <a:gd name="csY4" fmla="*/ 9282 h 197971"/>
              <a:gd name="csX5" fmla="*/ 71623 w 313306"/>
              <a:gd name="csY5" fmla="*/ 6885 h 197971"/>
              <a:gd name="csX6" fmla="*/ 187887 w 313306"/>
              <a:gd name="csY6" fmla="*/ 233 h 197971"/>
              <a:gd name="csX7" fmla="*/ 215297 w 313306"/>
              <a:gd name="csY7" fmla="*/ 163 h 197971"/>
              <a:gd name="csX8" fmla="*/ 243629 w 313306"/>
              <a:gd name="csY8" fmla="*/ 61389 h 197971"/>
              <a:gd name="csX9" fmla="*/ 270660 w 313306"/>
              <a:gd name="csY9" fmla="*/ 86342 h 197971"/>
              <a:gd name="csX10" fmla="*/ 313142 w 313306"/>
              <a:gd name="csY10" fmla="*/ 170098 h 197971"/>
              <a:gd name="csX11" fmla="*/ 313291 w 313306"/>
              <a:gd name="csY11" fmla="*/ 176231 h 197971"/>
              <a:gd name="csX12" fmla="*/ 312654 w 313306"/>
              <a:gd name="csY12" fmla="*/ 180738 h 197971"/>
              <a:gd name="csX13" fmla="*/ 279655 w 313306"/>
              <a:gd name="csY13" fmla="*/ 186226 h 197971"/>
              <a:gd name="csX14" fmla="*/ 167436 w 313306"/>
              <a:gd name="csY14" fmla="*/ 196805 h 197971"/>
              <a:gd name="csX15" fmla="*/ 160234 w 313306"/>
              <a:gd name="csY15" fmla="*/ 197876 h 19797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</a:cxnLst>
            <a:rect l="l" t="t" r="r" b="b"/>
            <a:pathLst>
              <a:path w="313306" h="197971">
                <a:moveTo>
                  <a:pt x="160234" y="197876"/>
                </a:moveTo>
                <a:cubicBezTo>
                  <a:pt x="106384" y="197972"/>
                  <a:pt x="53682" y="197972"/>
                  <a:pt x="544" y="197972"/>
                </a:cubicBezTo>
                <a:cubicBezTo>
                  <a:pt x="1602" y="166763"/>
                  <a:pt x="3550" y="135542"/>
                  <a:pt x="3466" y="104326"/>
                </a:cubicBezTo>
                <a:cubicBezTo>
                  <a:pt x="3383" y="73323"/>
                  <a:pt x="1255" y="42326"/>
                  <a:pt x="0" y="10720"/>
                </a:cubicBezTo>
                <a:cubicBezTo>
                  <a:pt x="1689" y="10255"/>
                  <a:pt x="3551" y="9355"/>
                  <a:pt x="5445" y="9282"/>
                </a:cubicBezTo>
                <a:cubicBezTo>
                  <a:pt x="27503" y="8435"/>
                  <a:pt x="49582" y="8030"/>
                  <a:pt x="71623" y="6885"/>
                </a:cubicBezTo>
                <a:cubicBezTo>
                  <a:pt x="110388" y="4872"/>
                  <a:pt x="149126" y="2333"/>
                  <a:pt x="187887" y="233"/>
                </a:cubicBezTo>
                <a:cubicBezTo>
                  <a:pt x="196749" y="-247"/>
                  <a:pt x="205660" y="163"/>
                  <a:pt x="215297" y="163"/>
                </a:cubicBezTo>
                <a:cubicBezTo>
                  <a:pt x="215450" y="25550"/>
                  <a:pt x="226120" y="45122"/>
                  <a:pt x="243629" y="61389"/>
                </a:cubicBezTo>
                <a:cubicBezTo>
                  <a:pt x="252615" y="69739"/>
                  <a:pt x="261099" y="78715"/>
                  <a:pt x="270660" y="86342"/>
                </a:cubicBezTo>
                <a:cubicBezTo>
                  <a:pt x="297676" y="107892"/>
                  <a:pt x="310731" y="136225"/>
                  <a:pt x="313142" y="170098"/>
                </a:cubicBezTo>
                <a:cubicBezTo>
                  <a:pt x="313287" y="172136"/>
                  <a:pt x="313335" y="174188"/>
                  <a:pt x="313291" y="176231"/>
                </a:cubicBezTo>
                <a:cubicBezTo>
                  <a:pt x="313265" y="177429"/>
                  <a:pt x="312966" y="178621"/>
                  <a:pt x="312654" y="180738"/>
                </a:cubicBezTo>
                <a:cubicBezTo>
                  <a:pt x="302343" y="185396"/>
                  <a:pt x="290736" y="185049"/>
                  <a:pt x="279655" y="186226"/>
                </a:cubicBezTo>
                <a:cubicBezTo>
                  <a:pt x="242295" y="190193"/>
                  <a:pt x="204847" y="193324"/>
                  <a:pt x="167436" y="196805"/>
                </a:cubicBezTo>
                <a:cubicBezTo>
                  <a:pt x="165405" y="196994"/>
                  <a:pt x="163399" y="197449"/>
                  <a:pt x="160234" y="197876"/>
                </a:cubicBezTo>
                <a:close/>
              </a:path>
            </a:pathLst>
          </a:custGeom>
          <a:solidFill>
            <a:srgbClr val="FDFEFE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19" name="Free-form: Shape 18">
            <a:extLst>
              <a:ext uri="{FF2B5EF4-FFF2-40B4-BE49-F238E27FC236}">
                <a16:creationId xmlns:a16="http://schemas.microsoft.com/office/drawing/2014/main" id="{897AD08E-9DFD-4AB9-F9F2-FAF1C39D930C}"/>
              </a:ext>
            </a:extLst>
          </p:cNvPr>
          <p:cNvSpPr/>
          <p:nvPr/>
        </p:nvSpPr>
        <p:spPr>
          <a:xfrm>
            <a:off x="256964" y="4637656"/>
            <a:ext cx="180605" cy="437829"/>
          </a:xfrm>
          <a:custGeom>
            <a:avLst/>
            <a:gdLst>
              <a:gd name="csX0" fmla="*/ 22609 w 164186"/>
              <a:gd name="csY0" fmla="*/ 398026 h 398026"/>
              <a:gd name="csX1" fmla="*/ 16884 w 164186"/>
              <a:gd name="csY1" fmla="*/ 390515 h 398026"/>
              <a:gd name="csX2" fmla="*/ 9661 w 164186"/>
              <a:gd name="csY2" fmla="*/ 328443 h 398026"/>
              <a:gd name="csX3" fmla="*/ 534 w 164186"/>
              <a:gd name="csY3" fmla="*/ 196369 h 398026"/>
              <a:gd name="csX4" fmla="*/ 1243 w 164186"/>
              <a:gd name="csY4" fmla="*/ 82293 h 398026"/>
              <a:gd name="csX5" fmla="*/ 2245 w 164186"/>
              <a:gd name="csY5" fmla="*/ 43023 h 398026"/>
              <a:gd name="csX6" fmla="*/ 4587 w 164186"/>
              <a:gd name="csY6" fmla="*/ 0 h 398026"/>
              <a:gd name="csX7" fmla="*/ 12341 w 164186"/>
              <a:gd name="csY7" fmla="*/ 3872 h 398026"/>
              <a:gd name="csX8" fmla="*/ 85914 w 164186"/>
              <a:gd name="csY8" fmla="*/ 78943 h 398026"/>
              <a:gd name="csX9" fmla="*/ 87893 w 164186"/>
              <a:gd name="csY9" fmla="*/ 99117 h 398026"/>
              <a:gd name="csX10" fmla="*/ 35459 w 164186"/>
              <a:gd name="csY10" fmla="*/ 207346 h 398026"/>
              <a:gd name="csX11" fmla="*/ 32223 w 164186"/>
              <a:gd name="csY11" fmla="*/ 213959 h 398026"/>
              <a:gd name="csX12" fmla="*/ 39509 w 164186"/>
              <a:gd name="csY12" fmla="*/ 242056 h 398026"/>
              <a:gd name="csX13" fmla="*/ 69474 w 164186"/>
              <a:gd name="csY13" fmla="*/ 237019 h 398026"/>
              <a:gd name="csX14" fmla="*/ 89101 w 164186"/>
              <a:gd name="csY14" fmla="*/ 208870 h 398026"/>
              <a:gd name="csX15" fmla="*/ 121716 w 164186"/>
              <a:gd name="csY15" fmla="*/ 158357 h 398026"/>
              <a:gd name="csX16" fmla="*/ 129330 w 164186"/>
              <a:gd name="csY16" fmla="*/ 148165 h 398026"/>
              <a:gd name="csX17" fmla="*/ 137171 w 164186"/>
              <a:gd name="csY17" fmla="*/ 159989 h 398026"/>
              <a:gd name="csX18" fmla="*/ 163812 w 164186"/>
              <a:gd name="csY18" fmla="*/ 273175 h 398026"/>
              <a:gd name="csX19" fmla="*/ 118151 w 164186"/>
              <a:gd name="csY19" fmla="*/ 383442 h 398026"/>
              <a:gd name="csX20" fmla="*/ 92325 w 164186"/>
              <a:gd name="csY20" fmla="*/ 395173 h 398026"/>
              <a:gd name="csX21" fmla="*/ 22609 w 164186"/>
              <a:gd name="csY21" fmla="*/ 398026 h 39802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</a:cxnLst>
            <a:rect l="l" t="t" r="r" b="b"/>
            <a:pathLst>
              <a:path w="164186" h="398026">
                <a:moveTo>
                  <a:pt x="22609" y="398026"/>
                </a:moveTo>
                <a:cubicBezTo>
                  <a:pt x="19898" y="395489"/>
                  <a:pt x="17229" y="393154"/>
                  <a:pt x="16884" y="390515"/>
                </a:cubicBezTo>
                <a:cubicBezTo>
                  <a:pt x="14183" y="369861"/>
                  <a:pt x="11326" y="349196"/>
                  <a:pt x="9661" y="328443"/>
                </a:cubicBezTo>
                <a:cubicBezTo>
                  <a:pt x="6132" y="284452"/>
                  <a:pt x="2125" y="240448"/>
                  <a:pt x="534" y="196369"/>
                </a:cubicBezTo>
                <a:cubicBezTo>
                  <a:pt x="-837" y="158401"/>
                  <a:pt x="816" y="120322"/>
                  <a:pt x="1243" y="82293"/>
                </a:cubicBezTo>
                <a:cubicBezTo>
                  <a:pt x="1389" y="69201"/>
                  <a:pt x="1708" y="56105"/>
                  <a:pt x="2245" y="43023"/>
                </a:cubicBezTo>
                <a:cubicBezTo>
                  <a:pt x="2815" y="29160"/>
                  <a:pt x="3738" y="15312"/>
                  <a:pt x="4587" y="0"/>
                </a:cubicBezTo>
                <a:cubicBezTo>
                  <a:pt x="7809" y="1586"/>
                  <a:pt x="10279" y="2436"/>
                  <a:pt x="12341" y="3872"/>
                </a:cubicBezTo>
                <a:cubicBezTo>
                  <a:pt x="41601" y="24248"/>
                  <a:pt x="64069" y="51269"/>
                  <a:pt x="85914" y="78943"/>
                </a:cubicBezTo>
                <a:cubicBezTo>
                  <a:pt x="91106" y="85520"/>
                  <a:pt x="91706" y="91406"/>
                  <a:pt x="87893" y="99117"/>
                </a:cubicBezTo>
                <a:cubicBezTo>
                  <a:pt x="70127" y="135051"/>
                  <a:pt x="52890" y="171246"/>
                  <a:pt x="35459" y="207346"/>
                </a:cubicBezTo>
                <a:cubicBezTo>
                  <a:pt x="34391" y="209557"/>
                  <a:pt x="33130" y="211686"/>
                  <a:pt x="32223" y="213959"/>
                </a:cubicBezTo>
                <a:cubicBezTo>
                  <a:pt x="27471" y="225873"/>
                  <a:pt x="30154" y="236086"/>
                  <a:pt x="39509" y="242056"/>
                </a:cubicBezTo>
                <a:cubicBezTo>
                  <a:pt x="48880" y="248038"/>
                  <a:pt x="61705" y="246477"/>
                  <a:pt x="69474" y="237019"/>
                </a:cubicBezTo>
                <a:cubicBezTo>
                  <a:pt x="76712" y="228205"/>
                  <a:pt x="82824" y="218436"/>
                  <a:pt x="89101" y="208870"/>
                </a:cubicBezTo>
                <a:cubicBezTo>
                  <a:pt x="100096" y="192114"/>
                  <a:pt x="110806" y="175170"/>
                  <a:pt x="121716" y="158357"/>
                </a:cubicBezTo>
                <a:cubicBezTo>
                  <a:pt x="123679" y="155333"/>
                  <a:pt x="126029" y="152559"/>
                  <a:pt x="129330" y="148165"/>
                </a:cubicBezTo>
                <a:cubicBezTo>
                  <a:pt x="132450" y="152828"/>
                  <a:pt x="135175" y="156216"/>
                  <a:pt x="137171" y="159989"/>
                </a:cubicBezTo>
                <a:cubicBezTo>
                  <a:pt x="155891" y="195388"/>
                  <a:pt x="166343" y="232905"/>
                  <a:pt x="163812" y="273175"/>
                </a:cubicBezTo>
                <a:cubicBezTo>
                  <a:pt x="161183" y="314982"/>
                  <a:pt x="144984" y="351430"/>
                  <a:pt x="118151" y="383442"/>
                </a:cubicBezTo>
                <a:cubicBezTo>
                  <a:pt x="111214" y="391718"/>
                  <a:pt x="102452" y="394716"/>
                  <a:pt x="92325" y="395173"/>
                </a:cubicBezTo>
                <a:cubicBezTo>
                  <a:pt x="69461" y="396207"/>
                  <a:pt x="46593" y="397123"/>
                  <a:pt x="22609" y="398026"/>
                </a:cubicBezTo>
                <a:close/>
              </a:path>
            </a:pathLst>
          </a:custGeom>
          <a:solidFill>
            <a:srgbClr val="FCFDFD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20" name="Free-form: Shape 19">
            <a:extLst>
              <a:ext uri="{FF2B5EF4-FFF2-40B4-BE49-F238E27FC236}">
                <a16:creationId xmlns:a16="http://schemas.microsoft.com/office/drawing/2014/main" id="{07537B66-B10E-EDE0-C905-64F28D4F39E0}"/>
              </a:ext>
            </a:extLst>
          </p:cNvPr>
          <p:cNvSpPr/>
          <p:nvPr/>
        </p:nvSpPr>
        <p:spPr>
          <a:xfrm>
            <a:off x="239895" y="6120863"/>
            <a:ext cx="370078" cy="78603"/>
          </a:xfrm>
          <a:custGeom>
            <a:avLst/>
            <a:gdLst>
              <a:gd name="csX0" fmla="*/ 105937 w 336434"/>
              <a:gd name="csY0" fmla="*/ 71458 h 71457"/>
              <a:gd name="csX1" fmla="*/ 3534 w 336434"/>
              <a:gd name="csY1" fmla="*/ 69115 h 71457"/>
              <a:gd name="csX2" fmla="*/ 1296 w 336434"/>
              <a:gd name="csY2" fmla="*/ 17910 h 71457"/>
              <a:gd name="csX3" fmla="*/ 14032 w 336434"/>
              <a:gd name="csY3" fmla="*/ 17908 h 71457"/>
              <a:gd name="csX4" fmla="*/ 102444 w 336434"/>
              <a:gd name="csY4" fmla="*/ 17433 h 71457"/>
              <a:gd name="csX5" fmla="*/ 284561 w 336434"/>
              <a:gd name="csY5" fmla="*/ 3564 h 71457"/>
              <a:gd name="csX6" fmla="*/ 311323 w 336434"/>
              <a:gd name="csY6" fmla="*/ 224 h 71457"/>
              <a:gd name="csX7" fmla="*/ 324313 w 336434"/>
              <a:gd name="csY7" fmla="*/ 6639 h 71457"/>
              <a:gd name="csX8" fmla="*/ 336434 w 336434"/>
              <a:gd name="csY8" fmla="*/ 46484 h 71457"/>
              <a:gd name="csX9" fmla="*/ 105937 w 336434"/>
              <a:gd name="csY9" fmla="*/ 71458 h 7145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336434" h="71457">
                <a:moveTo>
                  <a:pt x="105937" y="71458"/>
                </a:moveTo>
                <a:cubicBezTo>
                  <a:pt x="70820" y="70678"/>
                  <a:pt x="36930" y="69891"/>
                  <a:pt x="3534" y="69115"/>
                </a:cubicBezTo>
                <a:cubicBezTo>
                  <a:pt x="-81" y="59433"/>
                  <a:pt x="-1094" y="35337"/>
                  <a:pt x="1296" y="17910"/>
                </a:cubicBezTo>
                <a:cubicBezTo>
                  <a:pt x="5366" y="17910"/>
                  <a:pt x="9699" y="17923"/>
                  <a:pt x="14032" y="17908"/>
                </a:cubicBezTo>
                <a:cubicBezTo>
                  <a:pt x="43505" y="17812"/>
                  <a:pt x="73011" y="18557"/>
                  <a:pt x="102444" y="17433"/>
                </a:cubicBezTo>
                <a:cubicBezTo>
                  <a:pt x="163306" y="15109"/>
                  <a:pt x="224166" y="12264"/>
                  <a:pt x="284561" y="3564"/>
                </a:cubicBezTo>
                <a:cubicBezTo>
                  <a:pt x="293458" y="2283"/>
                  <a:pt x="302438" y="1575"/>
                  <a:pt x="311323" y="224"/>
                </a:cubicBezTo>
                <a:cubicBezTo>
                  <a:pt x="317371" y="-696"/>
                  <a:pt x="321247" y="1177"/>
                  <a:pt x="324313" y="6639"/>
                </a:cubicBezTo>
                <a:cubicBezTo>
                  <a:pt x="330512" y="17683"/>
                  <a:pt x="335236" y="31679"/>
                  <a:pt x="336434" y="46484"/>
                </a:cubicBezTo>
                <a:cubicBezTo>
                  <a:pt x="261124" y="64059"/>
                  <a:pt x="184356" y="69587"/>
                  <a:pt x="105937" y="71458"/>
                </a:cubicBezTo>
                <a:close/>
              </a:path>
            </a:pathLst>
          </a:custGeom>
          <a:solidFill>
            <a:srgbClr val="FCFCFC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21" name="Free-form: Shape 20">
            <a:extLst>
              <a:ext uri="{FF2B5EF4-FFF2-40B4-BE49-F238E27FC236}">
                <a16:creationId xmlns:a16="http://schemas.microsoft.com/office/drawing/2014/main" id="{9D6AA1B1-FA11-6E52-254A-5D595E4508F2}"/>
              </a:ext>
            </a:extLst>
          </p:cNvPr>
          <p:cNvSpPr/>
          <p:nvPr/>
        </p:nvSpPr>
        <p:spPr>
          <a:xfrm>
            <a:off x="256299" y="5115686"/>
            <a:ext cx="146026" cy="76347"/>
          </a:xfrm>
          <a:custGeom>
            <a:avLst/>
            <a:gdLst>
              <a:gd name="csX0" fmla="*/ 5051 w 132751"/>
              <a:gd name="csY0" fmla="*/ 7534 h 69406"/>
              <a:gd name="csX1" fmla="*/ 10615 w 132751"/>
              <a:gd name="csY1" fmla="*/ 3077 h 69406"/>
              <a:gd name="csX2" fmla="*/ 26541 w 132751"/>
              <a:gd name="csY2" fmla="*/ 2752 h 69406"/>
              <a:gd name="csX3" fmla="*/ 87728 w 132751"/>
              <a:gd name="csY3" fmla="*/ 89 h 69406"/>
              <a:gd name="csX4" fmla="*/ 101400 w 132751"/>
              <a:gd name="csY4" fmla="*/ 62 h 69406"/>
              <a:gd name="csX5" fmla="*/ 102924 w 132751"/>
              <a:gd name="csY5" fmla="*/ 4800 h 69406"/>
              <a:gd name="csX6" fmla="*/ 121469 w 132751"/>
              <a:gd name="csY6" fmla="*/ 43062 h 69406"/>
              <a:gd name="csX7" fmla="*/ 132751 w 132751"/>
              <a:gd name="csY7" fmla="*/ 65240 h 69406"/>
              <a:gd name="csX8" fmla="*/ 0 w 132751"/>
              <a:gd name="csY8" fmla="*/ 69406 h 69406"/>
              <a:gd name="csX9" fmla="*/ 5051 w 132751"/>
              <a:gd name="csY9" fmla="*/ 7534 h 6940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132751" h="69406">
                <a:moveTo>
                  <a:pt x="5051" y="7534"/>
                </a:moveTo>
                <a:cubicBezTo>
                  <a:pt x="6880" y="5272"/>
                  <a:pt x="8659" y="3268"/>
                  <a:pt x="10615" y="3077"/>
                </a:cubicBezTo>
                <a:cubicBezTo>
                  <a:pt x="15884" y="2564"/>
                  <a:pt x="21234" y="2972"/>
                  <a:pt x="26541" y="2752"/>
                </a:cubicBezTo>
                <a:cubicBezTo>
                  <a:pt x="46938" y="1911"/>
                  <a:pt x="67330" y="933"/>
                  <a:pt x="87728" y="89"/>
                </a:cubicBezTo>
                <a:cubicBezTo>
                  <a:pt x="92161" y="-94"/>
                  <a:pt x="96609" y="62"/>
                  <a:pt x="101400" y="62"/>
                </a:cubicBezTo>
                <a:cubicBezTo>
                  <a:pt x="101991" y="1827"/>
                  <a:pt x="102885" y="3302"/>
                  <a:pt x="102924" y="4800"/>
                </a:cubicBezTo>
                <a:cubicBezTo>
                  <a:pt x="103334" y="20376"/>
                  <a:pt x="108815" y="33165"/>
                  <a:pt x="121469" y="43062"/>
                </a:cubicBezTo>
                <a:cubicBezTo>
                  <a:pt x="127809" y="48021"/>
                  <a:pt x="132509" y="54869"/>
                  <a:pt x="132751" y="65240"/>
                </a:cubicBezTo>
                <a:cubicBezTo>
                  <a:pt x="88663" y="66624"/>
                  <a:pt x="45259" y="67986"/>
                  <a:pt x="0" y="69406"/>
                </a:cubicBezTo>
                <a:cubicBezTo>
                  <a:pt x="6474" y="48167"/>
                  <a:pt x="10658" y="28665"/>
                  <a:pt x="5051" y="7534"/>
                </a:cubicBezTo>
                <a:close/>
              </a:path>
            </a:pathLst>
          </a:custGeom>
          <a:solidFill>
            <a:srgbClr val="FBFCFB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22" name="Free-form: Shape 21">
            <a:extLst>
              <a:ext uri="{FF2B5EF4-FFF2-40B4-BE49-F238E27FC236}">
                <a16:creationId xmlns:a16="http://schemas.microsoft.com/office/drawing/2014/main" id="{18CA5859-E334-8D30-E552-26F5B7E8CA09}"/>
              </a:ext>
            </a:extLst>
          </p:cNvPr>
          <p:cNvSpPr/>
          <p:nvPr/>
        </p:nvSpPr>
        <p:spPr>
          <a:xfrm>
            <a:off x="267959" y="5224120"/>
            <a:ext cx="182562" cy="42836"/>
          </a:xfrm>
          <a:custGeom>
            <a:avLst/>
            <a:gdLst>
              <a:gd name="csX0" fmla="*/ 80894 w 165965"/>
              <a:gd name="csY0" fmla="*/ 440 h 38942"/>
              <a:gd name="csX1" fmla="*/ 128629 w 165965"/>
              <a:gd name="csY1" fmla="*/ 5 h 38942"/>
              <a:gd name="csX2" fmla="*/ 155177 w 165965"/>
              <a:gd name="csY2" fmla="*/ 8091 h 38942"/>
              <a:gd name="csX3" fmla="*/ 164213 w 165965"/>
              <a:gd name="csY3" fmla="*/ 17723 h 38942"/>
              <a:gd name="csX4" fmla="*/ 159998 w 165965"/>
              <a:gd name="csY4" fmla="*/ 30717 h 38942"/>
              <a:gd name="csX5" fmla="*/ 146998 w 165965"/>
              <a:gd name="csY5" fmla="*/ 33737 h 38942"/>
              <a:gd name="csX6" fmla="*/ 12439 w 165965"/>
              <a:gd name="csY6" fmla="*/ 38914 h 38942"/>
              <a:gd name="csX7" fmla="*/ 0 w 165965"/>
              <a:gd name="csY7" fmla="*/ 38402 h 38942"/>
              <a:gd name="csX8" fmla="*/ 0 w 165965"/>
              <a:gd name="csY8" fmla="*/ 4598 h 38942"/>
              <a:gd name="csX9" fmla="*/ 80894 w 165965"/>
              <a:gd name="csY9" fmla="*/ 440 h 3894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165965" h="38942">
                <a:moveTo>
                  <a:pt x="80894" y="440"/>
                </a:moveTo>
                <a:cubicBezTo>
                  <a:pt x="97591" y="288"/>
                  <a:pt x="113111" y="227"/>
                  <a:pt x="128629" y="5"/>
                </a:cubicBezTo>
                <a:cubicBezTo>
                  <a:pt x="138376" y="-135"/>
                  <a:pt x="147226" y="2891"/>
                  <a:pt x="155177" y="8091"/>
                </a:cubicBezTo>
                <a:cubicBezTo>
                  <a:pt x="158779" y="10447"/>
                  <a:pt x="161992" y="14009"/>
                  <a:pt x="164213" y="17723"/>
                </a:cubicBezTo>
                <a:cubicBezTo>
                  <a:pt x="167602" y="23390"/>
                  <a:pt x="166013" y="28134"/>
                  <a:pt x="159998" y="30717"/>
                </a:cubicBezTo>
                <a:cubicBezTo>
                  <a:pt x="155963" y="32450"/>
                  <a:pt x="151384" y="33554"/>
                  <a:pt x="146998" y="33737"/>
                </a:cubicBezTo>
                <a:cubicBezTo>
                  <a:pt x="102152" y="35619"/>
                  <a:pt x="57295" y="37279"/>
                  <a:pt x="12439" y="38914"/>
                </a:cubicBezTo>
                <a:cubicBezTo>
                  <a:pt x="8467" y="39059"/>
                  <a:pt x="4472" y="38602"/>
                  <a:pt x="0" y="38402"/>
                </a:cubicBezTo>
                <a:cubicBezTo>
                  <a:pt x="0" y="27166"/>
                  <a:pt x="0" y="16774"/>
                  <a:pt x="0" y="4598"/>
                </a:cubicBezTo>
                <a:cubicBezTo>
                  <a:pt x="27063" y="3194"/>
                  <a:pt x="53389" y="1829"/>
                  <a:pt x="80894" y="440"/>
                </a:cubicBezTo>
                <a:close/>
              </a:path>
            </a:pathLst>
          </a:custGeom>
          <a:solidFill>
            <a:srgbClr val="FBFCFB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23" name="Free-form: Shape 22">
            <a:extLst>
              <a:ext uri="{FF2B5EF4-FFF2-40B4-BE49-F238E27FC236}">
                <a16:creationId xmlns:a16="http://schemas.microsoft.com/office/drawing/2014/main" id="{6C78E006-F4F9-82B2-2469-DEB2EE16D9A1}"/>
              </a:ext>
            </a:extLst>
          </p:cNvPr>
          <p:cNvSpPr/>
          <p:nvPr/>
        </p:nvSpPr>
        <p:spPr>
          <a:xfrm>
            <a:off x="248419" y="4545523"/>
            <a:ext cx="47677" cy="51009"/>
          </a:xfrm>
          <a:custGeom>
            <a:avLst/>
            <a:gdLst>
              <a:gd name="csX0" fmla="*/ 40602 w 43343"/>
              <a:gd name="csY0" fmla="*/ 12465 h 46372"/>
              <a:gd name="csX1" fmla="*/ 43214 w 43343"/>
              <a:gd name="csY1" fmla="*/ 21324 h 46372"/>
              <a:gd name="csX2" fmla="*/ 23859 w 43343"/>
              <a:gd name="csY2" fmla="*/ 46319 h 46372"/>
              <a:gd name="csX3" fmla="*/ 5 w 43343"/>
              <a:gd name="csY3" fmla="*/ 23820 h 46372"/>
              <a:gd name="csX4" fmla="*/ 4855 w 43343"/>
              <a:gd name="csY4" fmla="*/ 5679 h 46372"/>
              <a:gd name="csX5" fmla="*/ 40602 w 43343"/>
              <a:gd name="csY5" fmla="*/ 12465 h 4637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</a:cxnLst>
            <a:rect l="l" t="t" r="r" b="b"/>
            <a:pathLst>
              <a:path w="43343" h="46372">
                <a:moveTo>
                  <a:pt x="40602" y="12465"/>
                </a:moveTo>
                <a:cubicBezTo>
                  <a:pt x="41913" y="15811"/>
                  <a:pt x="42933" y="18530"/>
                  <a:pt x="43214" y="21324"/>
                </a:cubicBezTo>
                <a:cubicBezTo>
                  <a:pt x="44519" y="34348"/>
                  <a:pt x="35870" y="45401"/>
                  <a:pt x="23859" y="46319"/>
                </a:cubicBezTo>
                <a:cubicBezTo>
                  <a:pt x="11890" y="47233"/>
                  <a:pt x="-280" y="36371"/>
                  <a:pt x="5" y="23820"/>
                </a:cubicBezTo>
                <a:cubicBezTo>
                  <a:pt x="136" y="18011"/>
                  <a:pt x="2893" y="12263"/>
                  <a:pt x="4855" y="5679"/>
                </a:cubicBezTo>
                <a:cubicBezTo>
                  <a:pt x="20601" y="-3403"/>
                  <a:pt x="28004" y="-1910"/>
                  <a:pt x="40602" y="12465"/>
                </a:cubicBezTo>
                <a:close/>
              </a:path>
            </a:pathLst>
          </a:custGeom>
          <a:solidFill>
            <a:srgbClr val="FBFCFB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95538A26-4203-8CFF-C210-CF5EBD4C84B3}"/>
              </a:ext>
            </a:extLst>
          </p:cNvPr>
          <p:cNvSpPr/>
          <p:nvPr/>
        </p:nvSpPr>
        <p:spPr>
          <a:xfrm>
            <a:off x="756759" y="5257693"/>
            <a:ext cx="739959" cy="152189"/>
          </a:xfrm>
          <a:prstGeom prst="ellipse">
            <a:avLst/>
          </a:prstGeom>
          <a:solidFill>
            <a:schemeClr val="tx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7" name="Free-form: Shape 26">
            <a:extLst>
              <a:ext uri="{FF2B5EF4-FFF2-40B4-BE49-F238E27FC236}">
                <a16:creationId xmlns:a16="http://schemas.microsoft.com/office/drawing/2014/main" id="{CC464C3C-AC49-C47D-34FF-81DBC2CB60F5}"/>
              </a:ext>
            </a:extLst>
          </p:cNvPr>
          <p:cNvSpPr/>
          <p:nvPr/>
        </p:nvSpPr>
        <p:spPr>
          <a:xfrm>
            <a:off x="860959" y="3906258"/>
            <a:ext cx="546751" cy="1468448"/>
          </a:xfrm>
          <a:custGeom>
            <a:avLst/>
            <a:gdLst>
              <a:gd name="csX0" fmla="*/ 898754 w 1315852"/>
              <a:gd name="csY0" fmla="*/ 1637125 h 3212801"/>
              <a:gd name="csX1" fmla="*/ 900426 w 1315852"/>
              <a:gd name="csY1" fmla="*/ 1643802 h 3212801"/>
              <a:gd name="csX2" fmla="*/ 903549 w 1315852"/>
              <a:gd name="csY2" fmla="*/ 1709345 h 3212801"/>
              <a:gd name="csX3" fmla="*/ 908512 w 1315852"/>
              <a:gd name="csY3" fmla="*/ 1750739 h 3212801"/>
              <a:gd name="csX4" fmla="*/ 911839 w 1315852"/>
              <a:gd name="csY4" fmla="*/ 1783999 h 3212801"/>
              <a:gd name="csX5" fmla="*/ 919775 w 1315852"/>
              <a:gd name="csY5" fmla="*/ 1846044 h 3212801"/>
              <a:gd name="csX6" fmla="*/ 928724 w 1315852"/>
              <a:gd name="csY6" fmla="*/ 1912212 h 3212801"/>
              <a:gd name="csX7" fmla="*/ 943556 w 1315852"/>
              <a:gd name="csY7" fmla="*/ 1998602 h 3212801"/>
              <a:gd name="csX8" fmla="*/ 967918 w 1315852"/>
              <a:gd name="csY8" fmla="*/ 2121455 h 3212801"/>
              <a:gd name="csX9" fmla="*/ 988236 w 1315852"/>
              <a:gd name="csY9" fmla="*/ 2216813 h 3212801"/>
              <a:gd name="csX10" fmla="*/ 1028961 w 1315852"/>
              <a:gd name="csY10" fmla="*/ 2386212 h 3212801"/>
              <a:gd name="csX11" fmla="*/ 1055369 w 1315852"/>
              <a:gd name="csY11" fmla="*/ 2485963 h 3212801"/>
              <a:gd name="csX12" fmla="*/ 1069125 w 1315852"/>
              <a:gd name="csY12" fmla="*/ 2501571 h 3212801"/>
              <a:gd name="csX13" fmla="*/ 1104775 w 1315852"/>
              <a:gd name="csY13" fmla="*/ 2517672 h 3212801"/>
              <a:gd name="csX14" fmla="*/ 1117910 w 1315852"/>
              <a:gd name="csY14" fmla="*/ 2527831 h 3212801"/>
              <a:gd name="csX15" fmla="*/ 1122737 w 1315852"/>
              <a:gd name="csY15" fmla="*/ 2552282 h 3212801"/>
              <a:gd name="csX16" fmla="*/ 1114779 w 1315852"/>
              <a:gd name="csY16" fmla="*/ 2570125 h 3212801"/>
              <a:gd name="csX17" fmla="*/ 1114207 w 1315852"/>
              <a:gd name="csY17" fmla="*/ 2618225 h 3212801"/>
              <a:gd name="csX18" fmla="*/ 1148150 w 1315852"/>
              <a:gd name="csY18" fmla="*/ 2663984 h 3212801"/>
              <a:gd name="csX19" fmla="*/ 1206600 w 1315852"/>
              <a:gd name="csY19" fmla="*/ 2720256 h 3212801"/>
              <a:gd name="csX20" fmla="*/ 1275524 w 1315852"/>
              <a:gd name="csY20" fmla="*/ 2850317 h 3212801"/>
              <a:gd name="csX21" fmla="*/ 1277353 w 1315852"/>
              <a:gd name="csY21" fmla="*/ 2897326 h 3212801"/>
              <a:gd name="csX22" fmla="*/ 1271355 w 1315852"/>
              <a:gd name="csY22" fmla="*/ 2935725 h 3212801"/>
              <a:gd name="csX23" fmla="*/ 1274691 w 1315852"/>
              <a:gd name="csY23" fmla="*/ 2954335 h 3212801"/>
              <a:gd name="csX24" fmla="*/ 1301797 w 1315852"/>
              <a:gd name="csY24" fmla="*/ 3028744 h 3212801"/>
              <a:gd name="csX25" fmla="*/ 1311943 w 1315852"/>
              <a:gd name="csY25" fmla="*/ 3082025 h 3212801"/>
              <a:gd name="csX26" fmla="*/ 1315801 w 1315852"/>
              <a:gd name="csY26" fmla="*/ 3133440 h 3212801"/>
              <a:gd name="csX27" fmla="*/ 1307182 w 1315852"/>
              <a:gd name="csY27" fmla="*/ 3146201 h 3212801"/>
              <a:gd name="csX28" fmla="*/ 1280933 w 1315852"/>
              <a:gd name="csY28" fmla="*/ 3155733 h 3212801"/>
              <a:gd name="csX29" fmla="*/ 1169576 w 1315852"/>
              <a:gd name="csY29" fmla="*/ 3181105 h 3212801"/>
              <a:gd name="csX30" fmla="*/ 1098129 w 1315852"/>
              <a:gd name="csY30" fmla="*/ 3192005 h 3212801"/>
              <a:gd name="csX31" fmla="*/ 1025959 w 1315852"/>
              <a:gd name="csY31" fmla="*/ 3198069 h 3212801"/>
              <a:gd name="csX32" fmla="*/ 969161 w 1315852"/>
              <a:gd name="csY32" fmla="*/ 3203391 h 3212801"/>
              <a:gd name="csX33" fmla="*/ 966367 w 1315852"/>
              <a:gd name="csY33" fmla="*/ 3203587 h 3212801"/>
              <a:gd name="csX34" fmla="*/ 890991 w 1315852"/>
              <a:gd name="csY34" fmla="*/ 3206415 h 3212801"/>
              <a:gd name="csX35" fmla="*/ 786197 w 1315852"/>
              <a:gd name="csY35" fmla="*/ 3209641 h 3212801"/>
              <a:gd name="csX36" fmla="*/ 618254 w 1315852"/>
              <a:gd name="csY36" fmla="*/ 3211234 h 3212801"/>
              <a:gd name="csX37" fmla="*/ 506392 w 1315852"/>
              <a:gd name="csY37" fmla="*/ 3209195 h 3212801"/>
              <a:gd name="csX38" fmla="*/ 443638 w 1315852"/>
              <a:gd name="csY38" fmla="*/ 3206415 h 3212801"/>
              <a:gd name="csX39" fmla="*/ 389301 w 1315852"/>
              <a:gd name="csY39" fmla="*/ 3203597 h 3212801"/>
              <a:gd name="csX40" fmla="*/ 305884 w 1315852"/>
              <a:gd name="csY40" fmla="*/ 3197747 h 3212801"/>
              <a:gd name="csX41" fmla="*/ 216151 w 1315852"/>
              <a:gd name="csY41" fmla="*/ 3186940 h 3212801"/>
              <a:gd name="csX42" fmla="*/ 141593 w 1315852"/>
              <a:gd name="csY42" fmla="*/ 3177824 h 3212801"/>
              <a:gd name="csX43" fmla="*/ 44929 w 1315852"/>
              <a:gd name="csY43" fmla="*/ 3157176 h 3212801"/>
              <a:gd name="csX44" fmla="*/ 10154 w 1315852"/>
              <a:gd name="csY44" fmla="*/ 3146750 h 3212801"/>
              <a:gd name="csX45" fmla="*/ 112 w 1315852"/>
              <a:gd name="csY45" fmla="*/ 3132149 h 3212801"/>
              <a:gd name="csX46" fmla="*/ 5263 w 1315852"/>
              <a:gd name="csY46" fmla="*/ 3080960 h 3212801"/>
              <a:gd name="csX47" fmla="*/ 13758 w 1315852"/>
              <a:gd name="csY47" fmla="*/ 3031612 h 3212801"/>
              <a:gd name="csX48" fmla="*/ 40996 w 1315852"/>
              <a:gd name="csY48" fmla="*/ 2960204 h 3212801"/>
              <a:gd name="csX49" fmla="*/ 43510 w 1315852"/>
              <a:gd name="csY49" fmla="*/ 2944616 h 3212801"/>
              <a:gd name="csX50" fmla="*/ 36916 w 1315852"/>
              <a:gd name="csY50" fmla="*/ 2875457 h 3212801"/>
              <a:gd name="csX51" fmla="*/ 46646 w 1315852"/>
              <a:gd name="csY51" fmla="*/ 2827778 h 3212801"/>
              <a:gd name="csX52" fmla="*/ 108895 w 1315852"/>
              <a:gd name="csY52" fmla="*/ 2723307 h 3212801"/>
              <a:gd name="csX53" fmla="*/ 188375 w 1315852"/>
              <a:gd name="csY53" fmla="*/ 2646399 h 3212801"/>
              <a:gd name="csX54" fmla="*/ 211535 w 1315852"/>
              <a:gd name="csY54" fmla="*/ 2605867 h 3212801"/>
              <a:gd name="csX55" fmla="*/ 205182 w 1315852"/>
              <a:gd name="csY55" fmla="*/ 2571418 h 3212801"/>
              <a:gd name="csX56" fmla="*/ 196651 w 1315852"/>
              <a:gd name="csY56" fmla="*/ 2557085 h 3212801"/>
              <a:gd name="csX57" fmla="*/ 209021 w 1315852"/>
              <a:gd name="csY57" fmla="*/ 2521560 h 3212801"/>
              <a:gd name="csX58" fmla="*/ 245764 w 1315852"/>
              <a:gd name="csY58" fmla="*/ 2504395 h 3212801"/>
              <a:gd name="csX59" fmla="*/ 263769 w 1315852"/>
              <a:gd name="csY59" fmla="*/ 2485128 h 3212801"/>
              <a:gd name="csX60" fmla="*/ 300045 w 1315852"/>
              <a:gd name="csY60" fmla="*/ 2354726 h 3212801"/>
              <a:gd name="csX61" fmla="*/ 326003 w 1315852"/>
              <a:gd name="csY61" fmla="*/ 2249117 h 3212801"/>
              <a:gd name="csX62" fmla="*/ 359250 w 1315852"/>
              <a:gd name="csY62" fmla="*/ 2092493 h 3212801"/>
              <a:gd name="csX63" fmla="*/ 378011 w 1315852"/>
              <a:gd name="csY63" fmla="*/ 1995496 h 3212801"/>
              <a:gd name="csX64" fmla="*/ 390230 w 1315852"/>
              <a:gd name="csY64" fmla="*/ 1915745 h 3212801"/>
              <a:gd name="csX65" fmla="*/ 400702 w 1315852"/>
              <a:gd name="csY65" fmla="*/ 1851249 h 3212801"/>
              <a:gd name="csX66" fmla="*/ 406954 w 1315852"/>
              <a:gd name="csY66" fmla="*/ 1788916 h 3212801"/>
              <a:gd name="csX67" fmla="*/ 412016 w 1315852"/>
              <a:gd name="csY67" fmla="*/ 1747526 h 3212801"/>
              <a:gd name="csX68" fmla="*/ 415185 w 1315852"/>
              <a:gd name="csY68" fmla="*/ 1712850 h 3212801"/>
              <a:gd name="csX69" fmla="*/ 418197 w 1315852"/>
              <a:gd name="csY69" fmla="*/ 1651507 h 3212801"/>
              <a:gd name="csX70" fmla="*/ 423324 w 1315852"/>
              <a:gd name="csY70" fmla="*/ 1583479 h 3212801"/>
              <a:gd name="csX71" fmla="*/ 426059 w 1315852"/>
              <a:gd name="csY71" fmla="*/ 1477299 h 3212801"/>
              <a:gd name="csX72" fmla="*/ 424204 w 1315852"/>
              <a:gd name="csY72" fmla="*/ 1473415 h 3212801"/>
              <a:gd name="csX73" fmla="*/ 390769 w 1315852"/>
              <a:gd name="csY73" fmla="*/ 1470003 h 3212801"/>
              <a:gd name="csX74" fmla="*/ 327487 w 1315852"/>
              <a:gd name="csY74" fmla="*/ 1460760 h 3212801"/>
              <a:gd name="csX75" fmla="*/ 289037 w 1315852"/>
              <a:gd name="csY75" fmla="*/ 1410705 h 3212801"/>
              <a:gd name="csX76" fmla="*/ 292610 w 1315852"/>
              <a:gd name="csY76" fmla="*/ 1374826 h 3212801"/>
              <a:gd name="csX77" fmla="*/ 335365 w 1315852"/>
              <a:gd name="csY77" fmla="*/ 1319956 h 3212801"/>
              <a:gd name="csX78" fmla="*/ 358966 w 1315852"/>
              <a:gd name="csY78" fmla="*/ 1286091 h 3212801"/>
              <a:gd name="csX79" fmla="*/ 390267 w 1315852"/>
              <a:gd name="csY79" fmla="*/ 1239202 h 3212801"/>
              <a:gd name="csX80" fmla="*/ 435898 w 1315852"/>
              <a:gd name="csY80" fmla="*/ 1202610 h 3212801"/>
              <a:gd name="csX81" fmla="*/ 443089 w 1315852"/>
              <a:gd name="csY81" fmla="*/ 1186662 h 3212801"/>
              <a:gd name="csX82" fmla="*/ 443336 w 1315852"/>
              <a:gd name="csY82" fmla="*/ 1174100 h 3212801"/>
              <a:gd name="csX83" fmla="*/ 432713 w 1315852"/>
              <a:gd name="csY83" fmla="*/ 1161284 h 3212801"/>
              <a:gd name="csX84" fmla="*/ 406712 w 1315852"/>
              <a:gd name="csY84" fmla="*/ 1151413 h 3212801"/>
              <a:gd name="csX85" fmla="*/ 399212 w 1315852"/>
              <a:gd name="csY85" fmla="*/ 1135845 h 3212801"/>
              <a:gd name="csX86" fmla="*/ 409719 w 1315852"/>
              <a:gd name="csY86" fmla="*/ 1113213 h 3212801"/>
              <a:gd name="csX87" fmla="*/ 414650 w 1315852"/>
              <a:gd name="csY87" fmla="*/ 1091062 h 3212801"/>
              <a:gd name="csX88" fmla="*/ 402048 w 1315852"/>
              <a:gd name="csY88" fmla="*/ 1042520 h 3212801"/>
              <a:gd name="csX89" fmla="*/ 366526 w 1315852"/>
              <a:gd name="csY89" fmla="*/ 932054 h 3212801"/>
              <a:gd name="csX90" fmla="*/ 304855 w 1315852"/>
              <a:gd name="csY90" fmla="*/ 733506 h 3212801"/>
              <a:gd name="csX91" fmla="*/ 273722 w 1315852"/>
              <a:gd name="csY91" fmla="*/ 639312 h 3212801"/>
              <a:gd name="csX92" fmla="*/ 242525 w 1315852"/>
              <a:gd name="csY92" fmla="*/ 527843 h 3212801"/>
              <a:gd name="csX93" fmla="*/ 245838 w 1315852"/>
              <a:gd name="csY93" fmla="*/ 485521 h 3212801"/>
              <a:gd name="csX94" fmla="*/ 258319 w 1315852"/>
              <a:gd name="csY94" fmla="*/ 473233 h 3212801"/>
              <a:gd name="csX95" fmla="*/ 291527 w 1315852"/>
              <a:gd name="csY95" fmla="*/ 463336 h 3212801"/>
              <a:gd name="csX96" fmla="*/ 373160 w 1315852"/>
              <a:gd name="csY96" fmla="*/ 454842 h 3212801"/>
              <a:gd name="csX97" fmla="*/ 427480 w 1315852"/>
              <a:gd name="csY97" fmla="*/ 451758 h 3212801"/>
              <a:gd name="csX98" fmla="*/ 477998 w 1315852"/>
              <a:gd name="csY98" fmla="*/ 447870 h 3212801"/>
              <a:gd name="csX99" fmla="*/ 479585 w 1315852"/>
              <a:gd name="csY99" fmla="*/ 442932 h 3212801"/>
              <a:gd name="csX100" fmla="*/ 488907 w 1315852"/>
              <a:gd name="csY100" fmla="*/ 421401 h 3212801"/>
              <a:gd name="csX101" fmla="*/ 492315 w 1315852"/>
              <a:gd name="csY101" fmla="*/ 409196 h 3212801"/>
              <a:gd name="csX102" fmla="*/ 498582 w 1315852"/>
              <a:gd name="csY102" fmla="*/ 396231 h 3212801"/>
              <a:gd name="csX103" fmla="*/ 531424 w 1315852"/>
              <a:gd name="csY103" fmla="*/ 365066 h 3212801"/>
              <a:gd name="csX104" fmla="*/ 567201 w 1315852"/>
              <a:gd name="csY104" fmla="*/ 305069 h 3212801"/>
              <a:gd name="csX105" fmla="*/ 580157 w 1315852"/>
              <a:gd name="csY105" fmla="*/ 281885 h 3212801"/>
              <a:gd name="csX106" fmla="*/ 575177 w 1315852"/>
              <a:gd name="csY106" fmla="*/ 258759 h 3212801"/>
              <a:gd name="csX107" fmla="*/ 472048 w 1315852"/>
              <a:gd name="csY107" fmla="*/ 283266 h 3212801"/>
              <a:gd name="csX108" fmla="*/ 473659 w 1315852"/>
              <a:gd name="csY108" fmla="*/ 112243 h 3212801"/>
              <a:gd name="csX109" fmla="*/ 487139 w 1315852"/>
              <a:gd name="csY109" fmla="*/ 114763 h 3212801"/>
              <a:gd name="csX110" fmla="*/ 569608 w 1315852"/>
              <a:gd name="csY110" fmla="*/ 140735 h 3212801"/>
              <a:gd name="csX111" fmla="*/ 585180 w 1315852"/>
              <a:gd name="csY111" fmla="*/ 124742 h 3212801"/>
              <a:gd name="csX112" fmla="*/ 563868 w 1315852"/>
              <a:gd name="csY112" fmla="*/ 70080 h 3212801"/>
              <a:gd name="csX113" fmla="*/ 546041 w 1315852"/>
              <a:gd name="csY113" fmla="*/ 26021 h 3212801"/>
              <a:gd name="csX114" fmla="*/ 568462 w 1315852"/>
              <a:gd name="csY114" fmla="*/ 18986 h 3212801"/>
              <a:gd name="csX115" fmla="*/ 637623 w 1315852"/>
              <a:gd name="csY115" fmla="*/ 2731 h 3212801"/>
              <a:gd name="csX116" fmla="*/ 692817 w 1315852"/>
              <a:gd name="csY116" fmla="*/ 4346 h 3212801"/>
              <a:gd name="csX117" fmla="*/ 759126 w 1315852"/>
              <a:gd name="csY117" fmla="*/ 20739 h 3212801"/>
              <a:gd name="csX118" fmla="*/ 774460 w 1315852"/>
              <a:gd name="csY118" fmla="*/ 24289 h 3212801"/>
              <a:gd name="csX119" fmla="*/ 751608 w 1315852"/>
              <a:gd name="csY119" fmla="*/ 81205 h 3212801"/>
              <a:gd name="csX120" fmla="*/ 731002 w 1315852"/>
              <a:gd name="csY120" fmla="*/ 141135 h 3212801"/>
              <a:gd name="csX121" fmla="*/ 749917 w 1315852"/>
              <a:gd name="csY121" fmla="*/ 137732 h 3212801"/>
              <a:gd name="csX122" fmla="*/ 836197 w 1315852"/>
              <a:gd name="csY122" fmla="*/ 114792 h 3212801"/>
              <a:gd name="csX123" fmla="*/ 843209 w 1315852"/>
              <a:gd name="csY123" fmla="*/ 113433 h 3212801"/>
              <a:gd name="csX124" fmla="*/ 844400 w 1315852"/>
              <a:gd name="csY124" fmla="*/ 119435 h 3212801"/>
              <a:gd name="csX125" fmla="*/ 847390 w 1315852"/>
              <a:gd name="csY125" fmla="*/ 232672 h 3212801"/>
              <a:gd name="csX126" fmla="*/ 850015 w 1315852"/>
              <a:gd name="csY126" fmla="*/ 261773 h 3212801"/>
              <a:gd name="csX127" fmla="*/ 850085 w 1315852"/>
              <a:gd name="csY127" fmla="*/ 280220 h 3212801"/>
              <a:gd name="csX128" fmla="*/ 815285 w 1315852"/>
              <a:gd name="csY128" fmla="*/ 272127 h 3212801"/>
              <a:gd name="csX129" fmla="*/ 757181 w 1315852"/>
              <a:gd name="csY129" fmla="*/ 257455 h 3212801"/>
              <a:gd name="csX130" fmla="*/ 732939 w 1315852"/>
              <a:gd name="csY130" fmla="*/ 263859 h 3212801"/>
              <a:gd name="csX131" fmla="*/ 739871 w 1315852"/>
              <a:gd name="csY131" fmla="*/ 279988 h 3212801"/>
              <a:gd name="csX132" fmla="*/ 725900 w 1315852"/>
              <a:gd name="csY132" fmla="*/ 292074 h 3212801"/>
              <a:gd name="csX133" fmla="*/ 747132 w 1315852"/>
              <a:gd name="csY133" fmla="*/ 298017 h 3212801"/>
              <a:gd name="csX134" fmla="*/ 768268 w 1315852"/>
              <a:gd name="csY134" fmla="*/ 327815 h 3212801"/>
              <a:gd name="csX135" fmla="*/ 785901 w 1315852"/>
              <a:gd name="csY135" fmla="*/ 362862 h 3212801"/>
              <a:gd name="csX136" fmla="*/ 798627 w 1315852"/>
              <a:gd name="csY136" fmla="*/ 374591 h 3212801"/>
              <a:gd name="csX137" fmla="*/ 815580 w 1315852"/>
              <a:gd name="csY137" fmla="*/ 387899 h 3212801"/>
              <a:gd name="csX138" fmla="*/ 813282 w 1315852"/>
              <a:gd name="csY138" fmla="*/ 390947 h 3212801"/>
              <a:gd name="csX139" fmla="*/ 776501 w 1315852"/>
              <a:gd name="csY139" fmla="*/ 393213 h 3212801"/>
              <a:gd name="csX140" fmla="*/ 702336 w 1315852"/>
              <a:gd name="csY140" fmla="*/ 381496 h 3212801"/>
              <a:gd name="csX141" fmla="*/ 662021 w 1315852"/>
              <a:gd name="csY141" fmla="*/ 378921 h 3212801"/>
              <a:gd name="csX142" fmla="*/ 651111 w 1315852"/>
              <a:gd name="csY142" fmla="*/ 386942 h 3212801"/>
              <a:gd name="csX143" fmla="*/ 648295 w 1315852"/>
              <a:gd name="csY143" fmla="*/ 437069 h 3212801"/>
              <a:gd name="csX144" fmla="*/ 659561 w 1315852"/>
              <a:gd name="csY144" fmla="*/ 448907 h 3212801"/>
              <a:gd name="csX145" fmla="*/ 799805 w 1315852"/>
              <a:gd name="csY145" fmla="*/ 449022 h 3212801"/>
              <a:gd name="csX146" fmla="*/ 811083 w 1315852"/>
              <a:gd name="csY146" fmla="*/ 439581 h 3212801"/>
              <a:gd name="csX147" fmla="*/ 817945 w 1315852"/>
              <a:gd name="csY147" fmla="*/ 425008 h 3212801"/>
              <a:gd name="csX148" fmla="*/ 828609 w 1315852"/>
              <a:gd name="csY148" fmla="*/ 403122 h 3212801"/>
              <a:gd name="csX149" fmla="*/ 838374 w 1315852"/>
              <a:gd name="csY149" fmla="*/ 406435 h 3212801"/>
              <a:gd name="csX150" fmla="*/ 844275 w 1315852"/>
              <a:gd name="csY150" fmla="*/ 430561 h 3212801"/>
              <a:gd name="csX151" fmla="*/ 865761 w 1315852"/>
              <a:gd name="csY151" fmla="*/ 447068 h 3212801"/>
              <a:gd name="csX152" fmla="*/ 885673 w 1315852"/>
              <a:gd name="csY152" fmla="*/ 449965 h 3212801"/>
              <a:gd name="csX153" fmla="*/ 904428 w 1315852"/>
              <a:gd name="csY153" fmla="*/ 454230 h 3212801"/>
              <a:gd name="csX154" fmla="*/ 930689 w 1315852"/>
              <a:gd name="csY154" fmla="*/ 457318 h 3212801"/>
              <a:gd name="csX155" fmla="*/ 1036296 w 1315852"/>
              <a:gd name="csY155" fmla="*/ 485877 h 3212801"/>
              <a:gd name="csX156" fmla="*/ 1076027 w 1315852"/>
              <a:gd name="csY156" fmla="*/ 535212 h 3212801"/>
              <a:gd name="csX157" fmla="*/ 1075403 w 1315852"/>
              <a:gd name="csY157" fmla="*/ 578208 h 3212801"/>
              <a:gd name="csX158" fmla="*/ 1028317 w 1315852"/>
              <a:gd name="csY158" fmla="*/ 728867 h 3212801"/>
              <a:gd name="csX159" fmla="*/ 983498 w 1315852"/>
              <a:gd name="csY159" fmla="*/ 858331 h 3212801"/>
              <a:gd name="csX160" fmla="*/ 948940 w 1315852"/>
              <a:gd name="csY160" fmla="*/ 961698 h 3212801"/>
              <a:gd name="csX161" fmla="*/ 911066 w 1315852"/>
              <a:gd name="csY161" fmla="*/ 1087385 h 3212801"/>
              <a:gd name="csX162" fmla="*/ 910828 w 1315852"/>
              <a:gd name="csY162" fmla="*/ 1098086 h 3212801"/>
              <a:gd name="csX163" fmla="*/ 911498 w 1315852"/>
              <a:gd name="csY163" fmla="*/ 1130209 h 3212801"/>
              <a:gd name="csX164" fmla="*/ 905716 w 1315852"/>
              <a:gd name="csY164" fmla="*/ 1140786 h 3212801"/>
              <a:gd name="csX165" fmla="*/ 904041 w 1315852"/>
              <a:gd name="csY165" fmla="*/ 1171694 h 3212801"/>
              <a:gd name="csX166" fmla="*/ 929797 w 1315852"/>
              <a:gd name="csY166" fmla="*/ 1202854 h 3212801"/>
              <a:gd name="csX167" fmla="*/ 956714 w 1315852"/>
              <a:gd name="csY167" fmla="*/ 1270749 h 3212801"/>
              <a:gd name="csX168" fmla="*/ 960074 w 1315852"/>
              <a:gd name="csY168" fmla="*/ 1289888 h 3212801"/>
              <a:gd name="csX169" fmla="*/ 975795 w 1315852"/>
              <a:gd name="csY169" fmla="*/ 1308746 h 3212801"/>
              <a:gd name="csX170" fmla="*/ 1002397 w 1315852"/>
              <a:gd name="csY170" fmla="*/ 1326635 h 3212801"/>
              <a:gd name="csX171" fmla="*/ 1018686 w 1315852"/>
              <a:gd name="csY171" fmla="*/ 1435905 h 3212801"/>
              <a:gd name="csX172" fmla="*/ 996257 w 1315852"/>
              <a:gd name="csY172" fmla="*/ 1454107 h 3212801"/>
              <a:gd name="csX173" fmla="*/ 970849 w 1315852"/>
              <a:gd name="csY173" fmla="*/ 1461303 h 3212801"/>
              <a:gd name="csX174" fmla="*/ 917943 w 1315852"/>
              <a:gd name="csY174" fmla="*/ 1464461 h 3212801"/>
              <a:gd name="csX175" fmla="*/ 905433 w 1315852"/>
              <a:gd name="csY175" fmla="*/ 1465358 h 3212801"/>
              <a:gd name="csX176" fmla="*/ 897863 w 1315852"/>
              <a:gd name="csY176" fmla="*/ 1474014 h 3212801"/>
              <a:gd name="csX177" fmla="*/ 897812 w 1315852"/>
              <a:gd name="csY177" fmla="*/ 1475415 h 3212801"/>
              <a:gd name="csX178" fmla="*/ 895549 w 1315852"/>
              <a:gd name="csY178" fmla="*/ 1519988 h 3212801"/>
              <a:gd name="csX179" fmla="*/ 895093 w 1315852"/>
              <a:gd name="csY179" fmla="*/ 1566174 h 3212801"/>
              <a:gd name="csX180" fmla="*/ 898754 w 1315852"/>
              <a:gd name="csY180" fmla="*/ 1637125 h 3212801"/>
              <a:gd name="csX181" fmla="*/ 654604 w 1315852"/>
              <a:gd name="csY181" fmla="*/ 2329281 h 3212801"/>
              <a:gd name="csX182" fmla="*/ 650429 w 1315852"/>
              <a:gd name="csY182" fmla="*/ 2271391 h 3212801"/>
              <a:gd name="csX183" fmla="*/ 648148 w 1315852"/>
              <a:gd name="csY183" fmla="*/ 2289942 h 3212801"/>
              <a:gd name="csX184" fmla="*/ 648156 w 1315852"/>
              <a:gd name="csY184" fmla="*/ 2367948 h 3212801"/>
              <a:gd name="csX185" fmla="*/ 655577 w 1315852"/>
              <a:gd name="csY185" fmla="*/ 2381454 h 3212801"/>
              <a:gd name="csX186" fmla="*/ 655485 w 1315852"/>
              <a:gd name="csY186" fmla="*/ 2404945 h 3212801"/>
              <a:gd name="csX187" fmla="*/ 651805 w 1315852"/>
              <a:gd name="csY187" fmla="*/ 2455510 h 3212801"/>
              <a:gd name="csX188" fmla="*/ 650902 w 1315852"/>
              <a:gd name="csY188" fmla="*/ 2395333 h 3212801"/>
              <a:gd name="csX189" fmla="*/ 649248 w 1315852"/>
              <a:gd name="csY189" fmla="*/ 2386025 h 3212801"/>
              <a:gd name="csX190" fmla="*/ 645333 w 1315852"/>
              <a:gd name="csY190" fmla="*/ 2386512 h 3212801"/>
              <a:gd name="csX191" fmla="*/ 645333 w 1315852"/>
              <a:gd name="csY191" fmla="*/ 2399858 h 3212801"/>
              <a:gd name="csX192" fmla="*/ 645232 w 1315852"/>
              <a:gd name="csY192" fmla="*/ 2471367 h 3212801"/>
              <a:gd name="csX193" fmla="*/ 643489 w 1315852"/>
              <a:gd name="csY193" fmla="*/ 2486535 h 3212801"/>
              <a:gd name="csX194" fmla="*/ 662548 w 1315852"/>
              <a:gd name="csY194" fmla="*/ 2510760 h 3212801"/>
              <a:gd name="csX195" fmla="*/ 942625 w 1315852"/>
              <a:gd name="csY195" fmla="*/ 2507990 h 3212801"/>
              <a:gd name="csX196" fmla="*/ 997309 w 1315852"/>
              <a:gd name="csY196" fmla="*/ 2507928 h 3212801"/>
              <a:gd name="csX197" fmla="*/ 1012693 w 1315852"/>
              <a:gd name="csY197" fmla="*/ 2507237 h 3212801"/>
              <a:gd name="csX198" fmla="*/ 1010948 w 1315852"/>
              <a:gd name="csY198" fmla="*/ 2493054 h 3212801"/>
              <a:gd name="csX199" fmla="*/ 982017 w 1315852"/>
              <a:gd name="csY199" fmla="*/ 2386719 h 3212801"/>
              <a:gd name="csX200" fmla="*/ 955543 w 1315852"/>
              <a:gd name="csY200" fmla="*/ 2275604 h 3212801"/>
              <a:gd name="csX201" fmla="*/ 922638 w 1315852"/>
              <a:gd name="csY201" fmla="*/ 2125997 h 3212801"/>
              <a:gd name="csX202" fmla="*/ 897474 w 1315852"/>
              <a:gd name="csY202" fmla="*/ 1994858 h 3212801"/>
              <a:gd name="csX203" fmla="*/ 878061 w 1315852"/>
              <a:gd name="csY203" fmla="*/ 1878280 h 3212801"/>
              <a:gd name="csX204" fmla="*/ 866965 w 1315852"/>
              <a:gd name="csY204" fmla="*/ 1791411 h 3212801"/>
              <a:gd name="csX205" fmla="*/ 863902 w 1315852"/>
              <a:gd name="csY205" fmla="*/ 1755335 h 3212801"/>
              <a:gd name="csX206" fmla="*/ 855983 w 1315852"/>
              <a:gd name="csY206" fmla="*/ 1677866 h 3212801"/>
              <a:gd name="csX207" fmla="*/ 852873 w 1315852"/>
              <a:gd name="csY207" fmla="*/ 1578685 h 3212801"/>
              <a:gd name="csX208" fmla="*/ 851635 w 1315852"/>
              <a:gd name="csY208" fmla="*/ 1535546 h 3212801"/>
              <a:gd name="csX209" fmla="*/ 850039 w 1315852"/>
              <a:gd name="csY209" fmla="*/ 1484182 h 3212801"/>
              <a:gd name="csX210" fmla="*/ 848486 w 1315852"/>
              <a:gd name="csY210" fmla="*/ 1472876 h 3212801"/>
              <a:gd name="csX211" fmla="*/ 832070 w 1315852"/>
              <a:gd name="csY211" fmla="*/ 1472888 h 3212801"/>
              <a:gd name="csX212" fmla="*/ 676784 w 1315852"/>
              <a:gd name="csY212" fmla="*/ 1475691 h 3212801"/>
              <a:gd name="csX213" fmla="*/ 662172 w 1315852"/>
              <a:gd name="csY213" fmla="*/ 1490031 h 3212801"/>
              <a:gd name="csX214" fmla="*/ 662153 w 1315852"/>
              <a:gd name="csY214" fmla="*/ 1497041 h 3212801"/>
              <a:gd name="csX215" fmla="*/ 659832 w 1315852"/>
              <a:gd name="csY215" fmla="*/ 1642548 h 3212801"/>
              <a:gd name="csX216" fmla="*/ 656544 w 1315852"/>
              <a:gd name="csY216" fmla="*/ 1761338 h 3212801"/>
              <a:gd name="csX217" fmla="*/ 654344 w 1315852"/>
              <a:gd name="csY217" fmla="*/ 1943296 h 3212801"/>
              <a:gd name="csX218" fmla="*/ 651002 w 1315852"/>
              <a:gd name="csY218" fmla="*/ 2137811 h 3212801"/>
              <a:gd name="csX219" fmla="*/ 650933 w 1315852"/>
              <a:gd name="csY219" fmla="*/ 2240168 h 3212801"/>
              <a:gd name="csX220" fmla="*/ 651273 w 1315852"/>
              <a:gd name="csY220" fmla="*/ 2249880 h 3212801"/>
              <a:gd name="csX221" fmla="*/ 658332 w 1315852"/>
              <a:gd name="csY221" fmla="*/ 2258024 h 3212801"/>
              <a:gd name="csX222" fmla="*/ 654604 w 1315852"/>
              <a:gd name="csY222" fmla="*/ 2329281 h 3212801"/>
              <a:gd name="csX223" fmla="*/ 999154 w 1315852"/>
              <a:gd name="csY223" fmla="*/ 2930680 h 3212801"/>
              <a:gd name="csX224" fmla="*/ 1224400 w 1315852"/>
              <a:gd name="csY224" fmla="*/ 2904672 h 3212801"/>
              <a:gd name="csX225" fmla="*/ 1225778 w 1315852"/>
              <a:gd name="csY225" fmla="*/ 2893948 h 3212801"/>
              <a:gd name="csX226" fmla="*/ 1197990 w 1315852"/>
              <a:gd name="csY226" fmla="*/ 2788499 h 3212801"/>
              <a:gd name="csX227" fmla="*/ 1156721 w 1315852"/>
              <a:gd name="csY227" fmla="*/ 2737429 h 3212801"/>
              <a:gd name="csX228" fmla="*/ 1096512 w 1315852"/>
              <a:gd name="csY228" fmla="*/ 2674794 h 3212801"/>
              <a:gd name="csX229" fmla="*/ 1056842 w 1315852"/>
              <a:gd name="csY229" fmla="*/ 2584575 h 3212801"/>
              <a:gd name="csX230" fmla="*/ 1055233 w 1315852"/>
              <a:gd name="csY230" fmla="*/ 2579758 h 3212801"/>
              <a:gd name="csX231" fmla="*/ 1017950 w 1315852"/>
              <a:gd name="csY231" fmla="*/ 2581956 h 3212801"/>
              <a:gd name="csX232" fmla="*/ 785764 w 1315852"/>
              <a:gd name="csY232" fmla="*/ 2595473 h 3212801"/>
              <a:gd name="csX233" fmla="*/ 665238 w 1315852"/>
              <a:gd name="csY233" fmla="*/ 2597498 h 3212801"/>
              <a:gd name="csX234" fmla="*/ 654332 w 1315852"/>
              <a:gd name="csY234" fmla="*/ 2598673 h 3212801"/>
              <a:gd name="csX235" fmla="*/ 653026 w 1315852"/>
              <a:gd name="csY235" fmla="*/ 2935427 h 3212801"/>
              <a:gd name="csX236" fmla="*/ 999154 w 1315852"/>
              <a:gd name="csY236" fmla="*/ 2930680 h 3212801"/>
              <a:gd name="csX237" fmla="*/ 947894 w 1315852"/>
              <a:gd name="csY237" fmla="*/ 3022480 h 3212801"/>
              <a:gd name="csX238" fmla="*/ 854096 w 1315852"/>
              <a:gd name="csY238" fmla="*/ 3026952 h 3212801"/>
              <a:gd name="csX239" fmla="*/ 676076 w 1315852"/>
              <a:gd name="csY239" fmla="*/ 3027217 h 3212801"/>
              <a:gd name="csX240" fmla="*/ 657155 w 1315852"/>
              <a:gd name="csY240" fmla="*/ 3027217 h 3212801"/>
              <a:gd name="csX241" fmla="*/ 650929 w 1315852"/>
              <a:gd name="csY241" fmla="*/ 3130009 h 3212801"/>
              <a:gd name="csX242" fmla="*/ 662475 w 1315852"/>
              <a:gd name="csY242" fmla="*/ 3131016 h 3212801"/>
              <a:gd name="csX243" fmla="*/ 775955 w 1315852"/>
              <a:gd name="csY243" fmla="*/ 3134982 h 3212801"/>
              <a:gd name="csX244" fmla="*/ 1061598 w 1315852"/>
              <a:gd name="csY244" fmla="*/ 3125377 h 3212801"/>
              <a:gd name="csX245" fmla="*/ 1249397 w 1315852"/>
              <a:gd name="csY245" fmla="*/ 3093967 h 3212801"/>
              <a:gd name="csX246" fmla="*/ 1262842 w 1315852"/>
              <a:gd name="csY246" fmla="*/ 3089764 h 3212801"/>
              <a:gd name="csX247" fmla="*/ 1244253 w 1315852"/>
              <a:gd name="csY247" fmla="*/ 3014005 h 3212801"/>
              <a:gd name="csX248" fmla="*/ 1237768 w 1315852"/>
              <a:gd name="csY248" fmla="*/ 3003206 h 3212801"/>
              <a:gd name="csX249" fmla="*/ 1217957 w 1315852"/>
              <a:gd name="csY249" fmla="*/ 2993424 h 3212801"/>
              <a:gd name="csX250" fmla="*/ 1163725 w 1315852"/>
              <a:gd name="csY250" fmla="*/ 3000119 h 3212801"/>
              <a:gd name="csX251" fmla="*/ 947894 w 1315852"/>
              <a:gd name="csY251" fmla="*/ 3022480 h 3212801"/>
              <a:gd name="csX252" fmla="*/ 784197 w 1315852"/>
              <a:gd name="csY252" fmla="*/ 1352777 h 3212801"/>
              <a:gd name="csX253" fmla="*/ 730991 w 1315852"/>
              <a:gd name="csY253" fmla="*/ 1354793 h 3212801"/>
              <a:gd name="csX254" fmla="*/ 676320 w 1315852"/>
              <a:gd name="csY254" fmla="*/ 1356902 h 3212801"/>
              <a:gd name="csX255" fmla="*/ 671906 w 1315852"/>
              <a:gd name="csY255" fmla="*/ 1418933 h 3212801"/>
              <a:gd name="csX256" fmla="*/ 685797 w 1315852"/>
              <a:gd name="csY256" fmla="*/ 1418917 h 3212801"/>
              <a:gd name="csX257" fmla="*/ 953300 w 1315852"/>
              <a:gd name="csY257" fmla="*/ 1410383 h 3212801"/>
              <a:gd name="csX258" fmla="*/ 968586 w 1315852"/>
              <a:gd name="csY258" fmla="*/ 1408564 h 3212801"/>
              <a:gd name="csX259" fmla="*/ 980375 w 1315852"/>
              <a:gd name="csY259" fmla="*/ 1394590 h 3212801"/>
              <a:gd name="csX260" fmla="*/ 965591 w 1315852"/>
              <a:gd name="csY260" fmla="*/ 1364447 h 3212801"/>
              <a:gd name="csX261" fmla="*/ 910211 w 1315852"/>
              <a:gd name="csY261" fmla="*/ 1348103 h 3212801"/>
              <a:gd name="csX262" fmla="*/ 784197 w 1315852"/>
              <a:gd name="csY262" fmla="*/ 1352777 h 3212801"/>
              <a:gd name="csX263" fmla="*/ 648129 w 1315852"/>
              <a:gd name="csY263" fmla="*/ 615881 h 3212801"/>
              <a:gd name="csX264" fmla="*/ 650869 w 1315852"/>
              <a:gd name="csY264" fmla="*/ 664591 h 3212801"/>
              <a:gd name="csX265" fmla="*/ 653223 w 1315852"/>
              <a:gd name="csY265" fmla="*/ 746994 h 3212801"/>
              <a:gd name="csX266" fmla="*/ 656163 w 1315852"/>
              <a:gd name="csY266" fmla="*/ 830737 h 3212801"/>
              <a:gd name="csX267" fmla="*/ 658740 w 1315852"/>
              <a:gd name="csY267" fmla="*/ 903281 h 3212801"/>
              <a:gd name="csX268" fmla="*/ 662209 w 1315852"/>
              <a:gd name="csY268" fmla="*/ 1019226 h 3212801"/>
              <a:gd name="csX269" fmla="*/ 665088 w 1315852"/>
              <a:gd name="csY269" fmla="*/ 1081942 h 3212801"/>
              <a:gd name="csX270" fmla="*/ 674628 w 1315852"/>
              <a:gd name="csY270" fmla="*/ 1090643 h 3212801"/>
              <a:gd name="csX271" fmla="*/ 762289 w 1315852"/>
              <a:gd name="csY271" fmla="*/ 1085865 h 3212801"/>
              <a:gd name="csX272" fmla="*/ 853046 w 1315852"/>
              <a:gd name="csY272" fmla="*/ 1082948 h 3212801"/>
              <a:gd name="csX273" fmla="*/ 854448 w 1315852"/>
              <a:gd name="csY273" fmla="*/ 1082924 h 3212801"/>
              <a:gd name="csX274" fmla="*/ 866364 w 1315852"/>
              <a:gd name="csY274" fmla="*/ 1074839 h 3212801"/>
              <a:gd name="csX275" fmla="*/ 891726 w 1315852"/>
              <a:gd name="csY275" fmla="*/ 1006797 h 3212801"/>
              <a:gd name="csX276" fmla="*/ 913720 w 1315852"/>
              <a:gd name="csY276" fmla="*/ 939278 h 3212801"/>
              <a:gd name="csX277" fmla="*/ 953952 w 1315852"/>
              <a:gd name="csY277" fmla="*/ 826060 h 3212801"/>
              <a:gd name="csX278" fmla="*/ 988796 w 1315852"/>
              <a:gd name="csY278" fmla="*/ 727233 h 3212801"/>
              <a:gd name="csX279" fmla="*/ 1036110 w 1315852"/>
              <a:gd name="csY279" fmla="*/ 592920 h 3212801"/>
              <a:gd name="csX280" fmla="*/ 1043677 w 1315852"/>
              <a:gd name="csY280" fmla="*/ 542152 h 3212801"/>
              <a:gd name="csX281" fmla="*/ 1030884 w 1315852"/>
              <a:gd name="csY281" fmla="*/ 517222 h 3212801"/>
              <a:gd name="csX282" fmla="*/ 1009162 w 1315852"/>
              <a:gd name="csY282" fmla="*/ 507963 h 3212801"/>
              <a:gd name="csX283" fmla="*/ 931266 w 1315852"/>
              <a:gd name="csY283" fmla="*/ 493552 h 3212801"/>
              <a:gd name="csX284" fmla="*/ 880100 w 1315852"/>
              <a:gd name="csY284" fmla="*/ 488348 h 3212801"/>
              <a:gd name="csX285" fmla="*/ 835610 w 1315852"/>
              <a:gd name="csY285" fmla="*/ 485330 h 3212801"/>
              <a:gd name="csX286" fmla="*/ 755014 w 1315852"/>
              <a:gd name="csY286" fmla="*/ 480162 h 3212801"/>
              <a:gd name="csX287" fmla="*/ 657249 w 1315852"/>
              <a:gd name="csY287" fmla="*/ 482686 h 3212801"/>
              <a:gd name="csX288" fmla="*/ 643184 w 1315852"/>
              <a:gd name="csY288" fmla="*/ 500211 h 3212801"/>
              <a:gd name="csX289" fmla="*/ 645220 w 1315852"/>
              <a:gd name="csY289" fmla="*/ 511112 h 3212801"/>
              <a:gd name="csX290" fmla="*/ 648129 w 1315852"/>
              <a:gd name="csY290" fmla="*/ 615881 h 3212801"/>
              <a:gd name="csX291" fmla="*/ 886495 w 1315852"/>
              <a:gd name="csY291" fmla="*/ 1207714 h 3212801"/>
              <a:gd name="csX292" fmla="*/ 881380 w 1315852"/>
              <a:gd name="csY292" fmla="*/ 1202980 h 3212801"/>
              <a:gd name="csX293" fmla="*/ 866913 w 1315852"/>
              <a:gd name="csY293" fmla="*/ 1175042 h 3212801"/>
              <a:gd name="csX294" fmla="*/ 866482 w 1315852"/>
              <a:gd name="csY294" fmla="*/ 1156869 h 3212801"/>
              <a:gd name="csX295" fmla="*/ 856429 w 1315852"/>
              <a:gd name="csY295" fmla="*/ 1147458 h 3212801"/>
              <a:gd name="csX296" fmla="*/ 790615 w 1315852"/>
              <a:gd name="csY296" fmla="*/ 1147813 h 3212801"/>
              <a:gd name="csX297" fmla="*/ 718484 w 1315852"/>
              <a:gd name="csY297" fmla="*/ 1153058 h 3212801"/>
              <a:gd name="csX298" fmla="*/ 671232 w 1315852"/>
              <a:gd name="csY298" fmla="*/ 1156034 h 3212801"/>
              <a:gd name="csX299" fmla="*/ 664146 w 1315852"/>
              <a:gd name="csY299" fmla="*/ 1168443 h 3212801"/>
              <a:gd name="csX300" fmla="*/ 667611 w 1315852"/>
              <a:gd name="csY300" fmla="*/ 1187354 h 3212801"/>
              <a:gd name="csX301" fmla="*/ 667803 w 1315852"/>
              <a:gd name="csY301" fmla="*/ 1283992 h 3212801"/>
              <a:gd name="csX302" fmla="*/ 683140 w 1315852"/>
              <a:gd name="csY302" fmla="*/ 1298850 h 3212801"/>
              <a:gd name="csX303" fmla="*/ 736011 w 1315852"/>
              <a:gd name="csY303" fmla="*/ 1296220 h 3212801"/>
              <a:gd name="csX304" fmla="*/ 830893 w 1315852"/>
              <a:gd name="csY304" fmla="*/ 1293324 h 3212801"/>
              <a:gd name="csX305" fmla="*/ 833691 w 1315852"/>
              <a:gd name="csY305" fmla="*/ 1293213 h 3212801"/>
              <a:gd name="csX306" fmla="*/ 903014 w 1315852"/>
              <a:gd name="csY306" fmla="*/ 1287831 h 3212801"/>
              <a:gd name="csX307" fmla="*/ 917225 w 1315852"/>
              <a:gd name="csY307" fmla="*/ 1271856 h 3212801"/>
              <a:gd name="csX308" fmla="*/ 886495 w 1315852"/>
              <a:gd name="csY308" fmla="*/ 1207714 h 321280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  <a:cxn ang="0">
                <a:pos x="csX170" y="csY170"/>
              </a:cxn>
              <a:cxn ang="0">
                <a:pos x="csX171" y="csY171"/>
              </a:cxn>
              <a:cxn ang="0">
                <a:pos x="csX172" y="csY172"/>
              </a:cxn>
              <a:cxn ang="0">
                <a:pos x="csX173" y="csY173"/>
              </a:cxn>
              <a:cxn ang="0">
                <a:pos x="csX174" y="csY174"/>
              </a:cxn>
              <a:cxn ang="0">
                <a:pos x="csX175" y="csY175"/>
              </a:cxn>
              <a:cxn ang="0">
                <a:pos x="csX176" y="csY176"/>
              </a:cxn>
              <a:cxn ang="0">
                <a:pos x="csX177" y="csY177"/>
              </a:cxn>
              <a:cxn ang="0">
                <a:pos x="csX178" y="csY178"/>
              </a:cxn>
              <a:cxn ang="0">
                <a:pos x="csX179" y="csY179"/>
              </a:cxn>
              <a:cxn ang="0">
                <a:pos x="csX180" y="csY180"/>
              </a:cxn>
              <a:cxn ang="0">
                <a:pos x="csX181" y="csY181"/>
              </a:cxn>
              <a:cxn ang="0">
                <a:pos x="csX182" y="csY182"/>
              </a:cxn>
              <a:cxn ang="0">
                <a:pos x="csX183" y="csY183"/>
              </a:cxn>
              <a:cxn ang="0">
                <a:pos x="csX184" y="csY184"/>
              </a:cxn>
              <a:cxn ang="0">
                <a:pos x="csX185" y="csY185"/>
              </a:cxn>
              <a:cxn ang="0">
                <a:pos x="csX186" y="csY186"/>
              </a:cxn>
              <a:cxn ang="0">
                <a:pos x="csX187" y="csY187"/>
              </a:cxn>
              <a:cxn ang="0">
                <a:pos x="csX188" y="csY188"/>
              </a:cxn>
              <a:cxn ang="0">
                <a:pos x="csX189" y="csY189"/>
              </a:cxn>
              <a:cxn ang="0">
                <a:pos x="csX190" y="csY190"/>
              </a:cxn>
              <a:cxn ang="0">
                <a:pos x="csX191" y="csY191"/>
              </a:cxn>
              <a:cxn ang="0">
                <a:pos x="csX192" y="csY192"/>
              </a:cxn>
              <a:cxn ang="0">
                <a:pos x="csX193" y="csY193"/>
              </a:cxn>
              <a:cxn ang="0">
                <a:pos x="csX194" y="csY194"/>
              </a:cxn>
              <a:cxn ang="0">
                <a:pos x="csX195" y="csY195"/>
              </a:cxn>
              <a:cxn ang="0">
                <a:pos x="csX196" y="csY196"/>
              </a:cxn>
              <a:cxn ang="0">
                <a:pos x="csX197" y="csY197"/>
              </a:cxn>
              <a:cxn ang="0">
                <a:pos x="csX198" y="csY198"/>
              </a:cxn>
              <a:cxn ang="0">
                <a:pos x="csX199" y="csY199"/>
              </a:cxn>
              <a:cxn ang="0">
                <a:pos x="csX200" y="csY200"/>
              </a:cxn>
              <a:cxn ang="0">
                <a:pos x="csX201" y="csY201"/>
              </a:cxn>
              <a:cxn ang="0">
                <a:pos x="csX202" y="csY202"/>
              </a:cxn>
              <a:cxn ang="0">
                <a:pos x="csX203" y="csY203"/>
              </a:cxn>
              <a:cxn ang="0">
                <a:pos x="csX204" y="csY204"/>
              </a:cxn>
              <a:cxn ang="0">
                <a:pos x="csX205" y="csY205"/>
              </a:cxn>
              <a:cxn ang="0">
                <a:pos x="csX206" y="csY206"/>
              </a:cxn>
              <a:cxn ang="0">
                <a:pos x="csX207" y="csY207"/>
              </a:cxn>
              <a:cxn ang="0">
                <a:pos x="csX208" y="csY208"/>
              </a:cxn>
              <a:cxn ang="0">
                <a:pos x="csX209" y="csY209"/>
              </a:cxn>
              <a:cxn ang="0">
                <a:pos x="csX210" y="csY210"/>
              </a:cxn>
              <a:cxn ang="0">
                <a:pos x="csX211" y="csY211"/>
              </a:cxn>
              <a:cxn ang="0">
                <a:pos x="csX212" y="csY212"/>
              </a:cxn>
              <a:cxn ang="0">
                <a:pos x="csX213" y="csY213"/>
              </a:cxn>
              <a:cxn ang="0">
                <a:pos x="csX214" y="csY214"/>
              </a:cxn>
              <a:cxn ang="0">
                <a:pos x="csX215" y="csY215"/>
              </a:cxn>
              <a:cxn ang="0">
                <a:pos x="csX216" y="csY216"/>
              </a:cxn>
              <a:cxn ang="0">
                <a:pos x="csX217" y="csY217"/>
              </a:cxn>
              <a:cxn ang="0">
                <a:pos x="csX218" y="csY218"/>
              </a:cxn>
              <a:cxn ang="0">
                <a:pos x="csX219" y="csY219"/>
              </a:cxn>
              <a:cxn ang="0">
                <a:pos x="csX220" y="csY220"/>
              </a:cxn>
              <a:cxn ang="0">
                <a:pos x="csX221" y="csY221"/>
              </a:cxn>
              <a:cxn ang="0">
                <a:pos x="csX222" y="csY222"/>
              </a:cxn>
              <a:cxn ang="0">
                <a:pos x="csX223" y="csY223"/>
              </a:cxn>
              <a:cxn ang="0">
                <a:pos x="csX224" y="csY224"/>
              </a:cxn>
              <a:cxn ang="0">
                <a:pos x="csX225" y="csY225"/>
              </a:cxn>
              <a:cxn ang="0">
                <a:pos x="csX226" y="csY226"/>
              </a:cxn>
              <a:cxn ang="0">
                <a:pos x="csX227" y="csY227"/>
              </a:cxn>
              <a:cxn ang="0">
                <a:pos x="csX228" y="csY228"/>
              </a:cxn>
              <a:cxn ang="0">
                <a:pos x="csX229" y="csY229"/>
              </a:cxn>
              <a:cxn ang="0">
                <a:pos x="csX230" y="csY230"/>
              </a:cxn>
              <a:cxn ang="0">
                <a:pos x="csX231" y="csY231"/>
              </a:cxn>
              <a:cxn ang="0">
                <a:pos x="csX232" y="csY232"/>
              </a:cxn>
              <a:cxn ang="0">
                <a:pos x="csX233" y="csY233"/>
              </a:cxn>
              <a:cxn ang="0">
                <a:pos x="csX234" y="csY234"/>
              </a:cxn>
              <a:cxn ang="0">
                <a:pos x="csX235" y="csY235"/>
              </a:cxn>
              <a:cxn ang="0">
                <a:pos x="csX236" y="csY236"/>
              </a:cxn>
              <a:cxn ang="0">
                <a:pos x="csX237" y="csY237"/>
              </a:cxn>
              <a:cxn ang="0">
                <a:pos x="csX238" y="csY238"/>
              </a:cxn>
              <a:cxn ang="0">
                <a:pos x="csX239" y="csY239"/>
              </a:cxn>
              <a:cxn ang="0">
                <a:pos x="csX240" y="csY240"/>
              </a:cxn>
              <a:cxn ang="0">
                <a:pos x="csX241" y="csY241"/>
              </a:cxn>
              <a:cxn ang="0">
                <a:pos x="csX242" y="csY242"/>
              </a:cxn>
              <a:cxn ang="0">
                <a:pos x="csX243" y="csY243"/>
              </a:cxn>
              <a:cxn ang="0">
                <a:pos x="csX244" y="csY244"/>
              </a:cxn>
              <a:cxn ang="0">
                <a:pos x="csX245" y="csY245"/>
              </a:cxn>
              <a:cxn ang="0">
                <a:pos x="csX246" y="csY246"/>
              </a:cxn>
              <a:cxn ang="0">
                <a:pos x="csX247" y="csY247"/>
              </a:cxn>
              <a:cxn ang="0">
                <a:pos x="csX248" y="csY248"/>
              </a:cxn>
              <a:cxn ang="0">
                <a:pos x="csX249" y="csY249"/>
              </a:cxn>
              <a:cxn ang="0">
                <a:pos x="csX250" y="csY250"/>
              </a:cxn>
              <a:cxn ang="0">
                <a:pos x="csX251" y="csY251"/>
              </a:cxn>
              <a:cxn ang="0">
                <a:pos x="csX252" y="csY252"/>
              </a:cxn>
              <a:cxn ang="0">
                <a:pos x="csX253" y="csY253"/>
              </a:cxn>
              <a:cxn ang="0">
                <a:pos x="csX254" y="csY254"/>
              </a:cxn>
              <a:cxn ang="0">
                <a:pos x="csX255" y="csY255"/>
              </a:cxn>
              <a:cxn ang="0">
                <a:pos x="csX256" y="csY256"/>
              </a:cxn>
              <a:cxn ang="0">
                <a:pos x="csX257" y="csY257"/>
              </a:cxn>
              <a:cxn ang="0">
                <a:pos x="csX258" y="csY258"/>
              </a:cxn>
              <a:cxn ang="0">
                <a:pos x="csX259" y="csY259"/>
              </a:cxn>
              <a:cxn ang="0">
                <a:pos x="csX260" y="csY260"/>
              </a:cxn>
              <a:cxn ang="0">
                <a:pos x="csX261" y="csY261"/>
              </a:cxn>
              <a:cxn ang="0">
                <a:pos x="csX262" y="csY262"/>
              </a:cxn>
              <a:cxn ang="0">
                <a:pos x="csX263" y="csY263"/>
              </a:cxn>
              <a:cxn ang="0">
                <a:pos x="csX264" y="csY264"/>
              </a:cxn>
              <a:cxn ang="0">
                <a:pos x="csX265" y="csY265"/>
              </a:cxn>
              <a:cxn ang="0">
                <a:pos x="csX266" y="csY266"/>
              </a:cxn>
              <a:cxn ang="0">
                <a:pos x="csX267" y="csY267"/>
              </a:cxn>
              <a:cxn ang="0">
                <a:pos x="csX268" y="csY268"/>
              </a:cxn>
              <a:cxn ang="0">
                <a:pos x="csX269" y="csY269"/>
              </a:cxn>
              <a:cxn ang="0">
                <a:pos x="csX270" y="csY270"/>
              </a:cxn>
              <a:cxn ang="0">
                <a:pos x="csX271" y="csY271"/>
              </a:cxn>
              <a:cxn ang="0">
                <a:pos x="csX272" y="csY272"/>
              </a:cxn>
              <a:cxn ang="0">
                <a:pos x="csX273" y="csY273"/>
              </a:cxn>
              <a:cxn ang="0">
                <a:pos x="csX274" y="csY274"/>
              </a:cxn>
              <a:cxn ang="0">
                <a:pos x="csX275" y="csY275"/>
              </a:cxn>
              <a:cxn ang="0">
                <a:pos x="csX276" y="csY276"/>
              </a:cxn>
              <a:cxn ang="0">
                <a:pos x="csX277" y="csY277"/>
              </a:cxn>
              <a:cxn ang="0">
                <a:pos x="csX278" y="csY278"/>
              </a:cxn>
              <a:cxn ang="0">
                <a:pos x="csX279" y="csY279"/>
              </a:cxn>
              <a:cxn ang="0">
                <a:pos x="csX280" y="csY280"/>
              </a:cxn>
              <a:cxn ang="0">
                <a:pos x="csX281" y="csY281"/>
              </a:cxn>
              <a:cxn ang="0">
                <a:pos x="csX282" y="csY282"/>
              </a:cxn>
              <a:cxn ang="0">
                <a:pos x="csX283" y="csY283"/>
              </a:cxn>
              <a:cxn ang="0">
                <a:pos x="csX284" y="csY284"/>
              </a:cxn>
              <a:cxn ang="0">
                <a:pos x="csX285" y="csY285"/>
              </a:cxn>
              <a:cxn ang="0">
                <a:pos x="csX286" y="csY286"/>
              </a:cxn>
              <a:cxn ang="0">
                <a:pos x="csX287" y="csY287"/>
              </a:cxn>
              <a:cxn ang="0">
                <a:pos x="csX288" y="csY288"/>
              </a:cxn>
              <a:cxn ang="0">
                <a:pos x="csX289" y="csY289"/>
              </a:cxn>
              <a:cxn ang="0">
                <a:pos x="csX290" y="csY290"/>
              </a:cxn>
              <a:cxn ang="0">
                <a:pos x="csX291" y="csY291"/>
              </a:cxn>
              <a:cxn ang="0">
                <a:pos x="csX292" y="csY292"/>
              </a:cxn>
              <a:cxn ang="0">
                <a:pos x="csX293" y="csY293"/>
              </a:cxn>
              <a:cxn ang="0">
                <a:pos x="csX294" y="csY294"/>
              </a:cxn>
              <a:cxn ang="0">
                <a:pos x="csX295" y="csY295"/>
              </a:cxn>
              <a:cxn ang="0">
                <a:pos x="csX296" y="csY296"/>
              </a:cxn>
              <a:cxn ang="0">
                <a:pos x="csX297" y="csY297"/>
              </a:cxn>
              <a:cxn ang="0">
                <a:pos x="csX298" y="csY298"/>
              </a:cxn>
              <a:cxn ang="0">
                <a:pos x="csX299" y="csY299"/>
              </a:cxn>
              <a:cxn ang="0">
                <a:pos x="csX300" y="csY300"/>
              </a:cxn>
              <a:cxn ang="0">
                <a:pos x="csX301" y="csY301"/>
              </a:cxn>
              <a:cxn ang="0">
                <a:pos x="csX302" y="csY302"/>
              </a:cxn>
              <a:cxn ang="0">
                <a:pos x="csX303" y="csY303"/>
              </a:cxn>
              <a:cxn ang="0">
                <a:pos x="csX304" y="csY304"/>
              </a:cxn>
              <a:cxn ang="0">
                <a:pos x="csX305" y="csY305"/>
              </a:cxn>
              <a:cxn ang="0">
                <a:pos x="csX306" y="csY306"/>
              </a:cxn>
              <a:cxn ang="0">
                <a:pos x="csX307" y="csY307"/>
              </a:cxn>
              <a:cxn ang="0">
                <a:pos x="csX308" y="csY308"/>
              </a:cxn>
            </a:cxnLst>
            <a:rect l="l" t="t" r="r" b="b"/>
            <a:pathLst>
              <a:path w="1315852" h="3212801">
                <a:moveTo>
                  <a:pt x="898754" y="1637125"/>
                </a:moveTo>
                <a:cubicBezTo>
                  <a:pt x="899614" y="1640179"/>
                  <a:pt x="900338" y="1641975"/>
                  <a:pt x="900426" y="1643802"/>
                </a:cubicBezTo>
                <a:cubicBezTo>
                  <a:pt x="901475" y="1665651"/>
                  <a:pt x="902040" y="1687530"/>
                  <a:pt x="903549" y="1709345"/>
                </a:cubicBezTo>
                <a:cubicBezTo>
                  <a:pt x="904508" y="1723191"/>
                  <a:pt x="906945" y="1736929"/>
                  <a:pt x="908512" y="1750739"/>
                </a:cubicBezTo>
                <a:cubicBezTo>
                  <a:pt x="909768" y="1761809"/>
                  <a:pt x="910504" y="1772940"/>
                  <a:pt x="911839" y="1783999"/>
                </a:cubicBezTo>
                <a:cubicBezTo>
                  <a:pt x="914339" y="1804698"/>
                  <a:pt x="917061" y="1825371"/>
                  <a:pt x="919775" y="1846044"/>
                </a:cubicBezTo>
                <a:cubicBezTo>
                  <a:pt x="922673" y="1868112"/>
                  <a:pt x="925267" y="1890230"/>
                  <a:pt x="928724" y="1912212"/>
                </a:cubicBezTo>
                <a:cubicBezTo>
                  <a:pt x="933262" y="1941073"/>
                  <a:pt x="938122" y="1969897"/>
                  <a:pt x="943556" y="1998602"/>
                </a:cubicBezTo>
                <a:cubicBezTo>
                  <a:pt x="951321" y="2039621"/>
                  <a:pt x="959572" y="2080549"/>
                  <a:pt x="967918" y="2121455"/>
                </a:cubicBezTo>
                <a:cubicBezTo>
                  <a:pt x="974414" y="2153298"/>
                  <a:pt x="980861" y="2185166"/>
                  <a:pt x="988236" y="2216813"/>
                </a:cubicBezTo>
                <a:cubicBezTo>
                  <a:pt x="1001417" y="2273372"/>
                  <a:pt x="1015007" y="2329839"/>
                  <a:pt x="1028961" y="2386212"/>
                </a:cubicBezTo>
                <a:cubicBezTo>
                  <a:pt x="1037223" y="2419597"/>
                  <a:pt x="1046464" y="2452740"/>
                  <a:pt x="1055369" y="2485963"/>
                </a:cubicBezTo>
                <a:cubicBezTo>
                  <a:pt x="1057341" y="2493320"/>
                  <a:pt x="1060485" y="2498788"/>
                  <a:pt x="1069125" y="2501571"/>
                </a:cubicBezTo>
                <a:cubicBezTo>
                  <a:pt x="1081467" y="2505544"/>
                  <a:pt x="1093147" y="2511758"/>
                  <a:pt x="1104775" y="2517672"/>
                </a:cubicBezTo>
                <a:cubicBezTo>
                  <a:pt x="1109642" y="2520148"/>
                  <a:pt x="1114279" y="2523752"/>
                  <a:pt x="1117910" y="2527831"/>
                </a:cubicBezTo>
                <a:cubicBezTo>
                  <a:pt x="1124099" y="2534784"/>
                  <a:pt x="1126976" y="2542950"/>
                  <a:pt x="1122737" y="2552282"/>
                </a:cubicBezTo>
                <a:cubicBezTo>
                  <a:pt x="1120041" y="2558217"/>
                  <a:pt x="1118208" y="2564666"/>
                  <a:pt x="1114779" y="2570125"/>
                </a:cubicBezTo>
                <a:cubicBezTo>
                  <a:pt x="1104671" y="2586210"/>
                  <a:pt x="1107442" y="2602158"/>
                  <a:pt x="1114207" y="2618225"/>
                </a:cubicBezTo>
                <a:cubicBezTo>
                  <a:pt x="1121782" y="2636214"/>
                  <a:pt x="1134908" y="2650364"/>
                  <a:pt x="1148150" y="2663984"/>
                </a:cubicBezTo>
                <a:cubicBezTo>
                  <a:pt x="1166992" y="2683364"/>
                  <a:pt x="1187718" y="2700911"/>
                  <a:pt x="1206600" y="2720256"/>
                </a:cubicBezTo>
                <a:cubicBezTo>
                  <a:pt x="1242228" y="2756756"/>
                  <a:pt x="1266941" y="2799706"/>
                  <a:pt x="1275524" y="2850317"/>
                </a:cubicBezTo>
                <a:cubicBezTo>
                  <a:pt x="1278084" y="2865409"/>
                  <a:pt x="1281110" y="2880935"/>
                  <a:pt x="1277353" y="2897326"/>
                </a:cubicBezTo>
                <a:cubicBezTo>
                  <a:pt x="1274514" y="2909711"/>
                  <a:pt x="1274674" y="2923014"/>
                  <a:pt x="1271355" y="2935725"/>
                </a:cubicBezTo>
                <a:cubicBezTo>
                  <a:pt x="1269750" y="2941870"/>
                  <a:pt x="1270927" y="2948063"/>
                  <a:pt x="1274691" y="2954335"/>
                </a:cubicBezTo>
                <a:cubicBezTo>
                  <a:pt x="1288477" y="2977303"/>
                  <a:pt x="1297024" y="3002358"/>
                  <a:pt x="1301797" y="3028744"/>
                </a:cubicBezTo>
                <a:cubicBezTo>
                  <a:pt x="1305016" y="3046537"/>
                  <a:pt x="1309526" y="3064135"/>
                  <a:pt x="1311943" y="3082025"/>
                </a:cubicBezTo>
                <a:cubicBezTo>
                  <a:pt x="1314240" y="3099026"/>
                  <a:pt x="1314491" y="3116299"/>
                  <a:pt x="1315801" y="3133440"/>
                </a:cubicBezTo>
                <a:cubicBezTo>
                  <a:pt x="1316312" y="3140137"/>
                  <a:pt x="1313007" y="3144001"/>
                  <a:pt x="1307182" y="3146201"/>
                </a:cubicBezTo>
                <a:cubicBezTo>
                  <a:pt x="1298468" y="3149492"/>
                  <a:pt x="1289929" y="3153581"/>
                  <a:pt x="1280933" y="3155733"/>
                </a:cubicBezTo>
                <a:cubicBezTo>
                  <a:pt x="1243908" y="3164594"/>
                  <a:pt x="1206866" y="3173472"/>
                  <a:pt x="1169576" y="3181105"/>
                </a:cubicBezTo>
                <a:cubicBezTo>
                  <a:pt x="1145999" y="3185932"/>
                  <a:pt x="1122051" y="3189224"/>
                  <a:pt x="1098129" y="3192005"/>
                </a:cubicBezTo>
                <a:cubicBezTo>
                  <a:pt x="1074162" y="3194791"/>
                  <a:pt x="1050013" y="3195993"/>
                  <a:pt x="1025959" y="3198069"/>
                </a:cubicBezTo>
                <a:cubicBezTo>
                  <a:pt x="1007015" y="3199703"/>
                  <a:pt x="988093" y="3201610"/>
                  <a:pt x="969161" y="3203391"/>
                </a:cubicBezTo>
                <a:cubicBezTo>
                  <a:pt x="968232" y="3203478"/>
                  <a:pt x="967299" y="3203552"/>
                  <a:pt x="966367" y="3203587"/>
                </a:cubicBezTo>
                <a:cubicBezTo>
                  <a:pt x="941242" y="3204545"/>
                  <a:pt x="916121" y="3205640"/>
                  <a:pt x="890991" y="3206415"/>
                </a:cubicBezTo>
                <a:cubicBezTo>
                  <a:pt x="856053" y="3207494"/>
                  <a:pt x="820973" y="3206720"/>
                  <a:pt x="786197" y="3209641"/>
                </a:cubicBezTo>
                <a:cubicBezTo>
                  <a:pt x="730188" y="3214346"/>
                  <a:pt x="674133" y="3212833"/>
                  <a:pt x="618254" y="3211234"/>
                </a:cubicBezTo>
                <a:cubicBezTo>
                  <a:pt x="580962" y="3210166"/>
                  <a:pt x="543663" y="3210429"/>
                  <a:pt x="506392" y="3209195"/>
                </a:cubicBezTo>
                <a:cubicBezTo>
                  <a:pt x="485466" y="3208502"/>
                  <a:pt x="464553" y="3207412"/>
                  <a:pt x="443638" y="3206415"/>
                </a:cubicBezTo>
                <a:cubicBezTo>
                  <a:pt x="425522" y="3205552"/>
                  <a:pt x="407401" y="3204739"/>
                  <a:pt x="389301" y="3203597"/>
                </a:cubicBezTo>
                <a:cubicBezTo>
                  <a:pt x="361481" y="3201842"/>
                  <a:pt x="333617" y="3200446"/>
                  <a:pt x="305884" y="3197747"/>
                </a:cubicBezTo>
                <a:cubicBezTo>
                  <a:pt x="275907" y="3194830"/>
                  <a:pt x="246063" y="3190549"/>
                  <a:pt x="216151" y="3186940"/>
                </a:cubicBezTo>
                <a:cubicBezTo>
                  <a:pt x="191288" y="3183939"/>
                  <a:pt x="166206" y="3182205"/>
                  <a:pt x="141593" y="3177824"/>
                </a:cubicBezTo>
                <a:cubicBezTo>
                  <a:pt x="109171" y="3172054"/>
                  <a:pt x="77055" y="3164497"/>
                  <a:pt x="44929" y="3157176"/>
                </a:cubicBezTo>
                <a:cubicBezTo>
                  <a:pt x="33156" y="3154493"/>
                  <a:pt x="21711" y="3150349"/>
                  <a:pt x="10154" y="3146750"/>
                </a:cubicBezTo>
                <a:cubicBezTo>
                  <a:pt x="3067" y="3144544"/>
                  <a:pt x="-715" y="3140051"/>
                  <a:pt x="112" y="3132149"/>
                </a:cubicBezTo>
                <a:cubicBezTo>
                  <a:pt x="1898" y="3115092"/>
                  <a:pt x="2952" y="3097941"/>
                  <a:pt x="5263" y="3080960"/>
                </a:cubicBezTo>
                <a:cubicBezTo>
                  <a:pt x="7512" y="3064431"/>
                  <a:pt x="11458" y="3048135"/>
                  <a:pt x="13758" y="3031612"/>
                </a:cubicBezTo>
                <a:cubicBezTo>
                  <a:pt x="17373" y="3005647"/>
                  <a:pt x="28643" y="2982695"/>
                  <a:pt x="40996" y="2960204"/>
                </a:cubicBezTo>
                <a:cubicBezTo>
                  <a:pt x="43921" y="2954879"/>
                  <a:pt x="44978" y="2950688"/>
                  <a:pt x="43510" y="2944616"/>
                </a:cubicBezTo>
                <a:cubicBezTo>
                  <a:pt x="38022" y="2921926"/>
                  <a:pt x="34351" y="2898766"/>
                  <a:pt x="36916" y="2875457"/>
                </a:cubicBezTo>
                <a:cubicBezTo>
                  <a:pt x="38685" y="2859391"/>
                  <a:pt x="42237" y="2843358"/>
                  <a:pt x="46646" y="2827778"/>
                </a:cubicBezTo>
                <a:cubicBezTo>
                  <a:pt x="58040" y="2787514"/>
                  <a:pt x="79014" y="2752619"/>
                  <a:pt x="108895" y="2723307"/>
                </a:cubicBezTo>
                <a:cubicBezTo>
                  <a:pt x="135212" y="2697491"/>
                  <a:pt x="162086" y="2672243"/>
                  <a:pt x="188375" y="2646399"/>
                </a:cubicBezTo>
                <a:cubicBezTo>
                  <a:pt x="199778" y="2635188"/>
                  <a:pt x="207849" y="2622209"/>
                  <a:pt x="211535" y="2605867"/>
                </a:cubicBezTo>
                <a:cubicBezTo>
                  <a:pt x="214510" y="2592678"/>
                  <a:pt x="211592" y="2582100"/>
                  <a:pt x="205182" y="2571418"/>
                </a:cubicBezTo>
                <a:cubicBezTo>
                  <a:pt x="202318" y="2566645"/>
                  <a:pt x="198777" y="2562163"/>
                  <a:pt x="196651" y="2557085"/>
                </a:cubicBezTo>
                <a:cubicBezTo>
                  <a:pt x="190347" y="2542031"/>
                  <a:pt x="194717" y="2529077"/>
                  <a:pt x="209021" y="2521560"/>
                </a:cubicBezTo>
                <a:cubicBezTo>
                  <a:pt x="220978" y="2515277"/>
                  <a:pt x="233317" y="2509655"/>
                  <a:pt x="245764" y="2504395"/>
                </a:cubicBezTo>
                <a:cubicBezTo>
                  <a:pt x="254856" y="2500554"/>
                  <a:pt x="261020" y="2495272"/>
                  <a:pt x="263769" y="2485128"/>
                </a:cubicBezTo>
                <a:cubicBezTo>
                  <a:pt x="275569" y="2441581"/>
                  <a:pt x="288425" y="2398319"/>
                  <a:pt x="300045" y="2354726"/>
                </a:cubicBezTo>
                <a:cubicBezTo>
                  <a:pt x="309381" y="2319703"/>
                  <a:pt x="318110" y="2284492"/>
                  <a:pt x="326003" y="2249117"/>
                </a:cubicBezTo>
                <a:cubicBezTo>
                  <a:pt x="337625" y="2197029"/>
                  <a:pt x="348457" y="2144762"/>
                  <a:pt x="359250" y="2092493"/>
                </a:cubicBezTo>
                <a:cubicBezTo>
                  <a:pt x="365909" y="2060243"/>
                  <a:pt x="372293" y="2027924"/>
                  <a:pt x="378011" y="1995496"/>
                </a:cubicBezTo>
                <a:cubicBezTo>
                  <a:pt x="382679" y="1969018"/>
                  <a:pt x="386061" y="1942315"/>
                  <a:pt x="390230" y="1915745"/>
                </a:cubicBezTo>
                <a:cubicBezTo>
                  <a:pt x="393606" y="1894227"/>
                  <a:pt x="397846" y="1872831"/>
                  <a:pt x="400702" y="1851249"/>
                </a:cubicBezTo>
                <a:cubicBezTo>
                  <a:pt x="403440" y="1830558"/>
                  <a:pt x="404754" y="1809683"/>
                  <a:pt x="406954" y="1788916"/>
                </a:cubicBezTo>
                <a:cubicBezTo>
                  <a:pt x="408419" y="1775096"/>
                  <a:pt x="410485" y="1761340"/>
                  <a:pt x="412016" y="1747526"/>
                </a:cubicBezTo>
                <a:cubicBezTo>
                  <a:pt x="413295" y="1735991"/>
                  <a:pt x="414503" y="1724431"/>
                  <a:pt x="415185" y="1712850"/>
                </a:cubicBezTo>
                <a:cubicBezTo>
                  <a:pt x="416387" y="1692414"/>
                  <a:pt x="416884" y="1671935"/>
                  <a:pt x="418197" y="1651507"/>
                </a:cubicBezTo>
                <a:cubicBezTo>
                  <a:pt x="419655" y="1628814"/>
                  <a:pt x="422378" y="1606186"/>
                  <a:pt x="423324" y="1583479"/>
                </a:cubicBezTo>
                <a:cubicBezTo>
                  <a:pt x="424797" y="1548109"/>
                  <a:pt x="425243" y="1512695"/>
                  <a:pt x="426059" y="1477299"/>
                </a:cubicBezTo>
                <a:cubicBezTo>
                  <a:pt x="426077" y="1476493"/>
                  <a:pt x="425310" y="1475668"/>
                  <a:pt x="424204" y="1473415"/>
                </a:cubicBezTo>
                <a:cubicBezTo>
                  <a:pt x="413635" y="1472358"/>
                  <a:pt x="402157" y="1471516"/>
                  <a:pt x="390769" y="1470003"/>
                </a:cubicBezTo>
                <a:cubicBezTo>
                  <a:pt x="369635" y="1467195"/>
                  <a:pt x="348419" y="1464707"/>
                  <a:pt x="327487" y="1460760"/>
                </a:cubicBezTo>
                <a:cubicBezTo>
                  <a:pt x="305605" y="1456634"/>
                  <a:pt x="286603" y="1433026"/>
                  <a:pt x="289037" y="1410705"/>
                </a:cubicBezTo>
                <a:cubicBezTo>
                  <a:pt x="290343" y="1398733"/>
                  <a:pt x="289247" y="1386137"/>
                  <a:pt x="292610" y="1374826"/>
                </a:cubicBezTo>
                <a:cubicBezTo>
                  <a:pt x="299584" y="1351367"/>
                  <a:pt x="313866" y="1331810"/>
                  <a:pt x="335365" y="1319956"/>
                </a:cubicBezTo>
                <a:cubicBezTo>
                  <a:pt x="349736" y="1312032"/>
                  <a:pt x="355513" y="1300196"/>
                  <a:pt x="358966" y="1286091"/>
                </a:cubicBezTo>
                <a:cubicBezTo>
                  <a:pt x="363751" y="1266546"/>
                  <a:pt x="376163" y="1252003"/>
                  <a:pt x="390267" y="1239202"/>
                </a:cubicBezTo>
                <a:cubicBezTo>
                  <a:pt x="404675" y="1226125"/>
                  <a:pt x="421167" y="1215364"/>
                  <a:pt x="435898" y="1202610"/>
                </a:cubicBezTo>
                <a:cubicBezTo>
                  <a:pt x="439929" y="1199120"/>
                  <a:pt x="441515" y="1192282"/>
                  <a:pt x="443089" y="1186662"/>
                </a:cubicBezTo>
                <a:cubicBezTo>
                  <a:pt x="444184" y="1182756"/>
                  <a:pt x="443471" y="1178302"/>
                  <a:pt x="443336" y="1174100"/>
                </a:cubicBezTo>
                <a:cubicBezTo>
                  <a:pt x="443002" y="1163708"/>
                  <a:pt x="442564" y="1164032"/>
                  <a:pt x="432713" y="1161284"/>
                </a:cubicBezTo>
                <a:cubicBezTo>
                  <a:pt x="423812" y="1158801"/>
                  <a:pt x="415102" y="1155322"/>
                  <a:pt x="406712" y="1151413"/>
                </a:cubicBezTo>
                <a:cubicBezTo>
                  <a:pt x="398571" y="1147621"/>
                  <a:pt x="396617" y="1143812"/>
                  <a:pt x="399212" y="1135845"/>
                </a:cubicBezTo>
                <a:cubicBezTo>
                  <a:pt x="401786" y="1127943"/>
                  <a:pt x="404616" y="1119485"/>
                  <a:pt x="409719" y="1113213"/>
                </a:cubicBezTo>
                <a:cubicBezTo>
                  <a:pt x="415540" y="1106060"/>
                  <a:pt x="416443" y="1098866"/>
                  <a:pt x="414650" y="1091062"/>
                </a:cubicBezTo>
                <a:cubicBezTo>
                  <a:pt x="410906" y="1074773"/>
                  <a:pt x="407015" y="1058465"/>
                  <a:pt x="402048" y="1042520"/>
                </a:cubicBezTo>
                <a:cubicBezTo>
                  <a:pt x="390546" y="1005592"/>
                  <a:pt x="378091" y="968962"/>
                  <a:pt x="366526" y="932054"/>
                </a:cubicBezTo>
                <a:cubicBezTo>
                  <a:pt x="345804" y="865923"/>
                  <a:pt x="325665" y="799609"/>
                  <a:pt x="304855" y="733506"/>
                </a:cubicBezTo>
                <a:cubicBezTo>
                  <a:pt x="294926" y="701966"/>
                  <a:pt x="283362" y="670934"/>
                  <a:pt x="273722" y="639312"/>
                </a:cubicBezTo>
                <a:cubicBezTo>
                  <a:pt x="262471" y="602404"/>
                  <a:pt x="251509" y="565342"/>
                  <a:pt x="242525" y="527843"/>
                </a:cubicBezTo>
                <a:cubicBezTo>
                  <a:pt x="239293" y="514353"/>
                  <a:pt x="237774" y="498828"/>
                  <a:pt x="245838" y="485521"/>
                </a:cubicBezTo>
                <a:cubicBezTo>
                  <a:pt x="248810" y="480617"/>
                  <a:pt x="253278" y="475342"/>
                  <a:pt x="258319" y="473233"/>
                </a:cubicBezTo>
                <a:cubicBezTo>
                  <a:pt x="268936" y="468788"/>
                  <a:pt x="280185" y="464871"/>
                  <a:pt x="291527" y="463336"/>
                </a:cubicBezTo>
                <a:cubicBezTo>
                  <a:pt x="318626" y="459667"/>
                  <a:pt x="345903" y="457192"/>
                  <a:pt x="373160" y="454842"/>
                </a:cubicBezTo>
                <a:cubicBezTo>
                  <a:pt x="391221" y="453285"/>
                  <a:pt x="409382" y="452934"/>
                  <a:pt x="427480" y="451758"/>
                </a:cubicBezTo>
                <a:cubicBezTo>
                  <a:pt x="444131" y="450676"/>
                  <a:pt x="460757" y="449212"/>
                  <a:pt x="477998" y="447870"/>
                </a:cubicBezTo>
                <a:cubicBezTo>
                  <a:pt x="478532" y="446298"/>
                  <a:pt x="479654" y="444590"/>
                  <a:pt x="479585" y="442932"/>
                </a:cubicBezTo>
                <a:cubicBezTo>
                  <a:pt x="479223" y="434201"/>
                  <a:pt x="480208" y="426475"/>
                  <a:pt x="488907" y="421401"/>
                </a:cubicBezTo>
                <a:cubicBezTo>
                  <a:pt x="493200" y="418897"/>
                  <a:pt x="494755" y="414446"/>
                  <a:pt x="492315" y="409196"/>
                </a:cubicBezTo>
                <a:cubicBezTo>
                  <a:pt x="489226" y="402552"/>
                  <a:pt x="492501" y="398939"/>
                  <a:pt x="498582" y="396231"/>
                </a:cubicBezTo>
                <a:cubicBezTo>
                  <a:pt x="513139" y="389749"/>
                  <a:pt x="523218" y="378073"/>
                  <a:pt x="531424" y="365066"/>
                </a:cubicBezTo>
                <a:cubicBezTo>
                  <a:pt x="543844" y="345378"/>
                  <a:pt x="555388" y="325136"/>
                  <a:pt x="567201" y="305069"/>
                </a:cubicBezTo>
                <a:cubicBezTo>
                  <a:pt x="571692" y="297440"/>
                  <a:pt x="576215" y="289801"/>
                  <a:pt x="580157" y="281885"/>
                </a:cubicBezTo>
                <a:cubicBezTo>
                  <a:pt x="585924" y="270307"/>
                  <a:pt x="585466" y="269028"/>
                  <a:pt x="575177" y="258759"/>
                </a:cubicBezTo>
                <a:cubicBezTo>
                  <a:pt x="540669" y="263385"/>
                  <a:pt x="508449" y="279582"/>
                  <a:pt x="472048" y="283266"/>
                </a:cubicBezTo>
                <a:cubicBezTo>
                  <a:pt x="468926" y="225961"/>
                  <a:pt x="477230" y="170326"/>
                  <a:pt x="473659" y="112243"/>
                </a:cubicBezTo>
                <a:cubicBezTo>
                  <a:pt x="479647" y="113333"/>
                  <a:pt x="483524" y="113631"/>
                  <a:pt x="487139" y="114763"/>
                </a:cubicBezTo>
                <a:cubicBezTo>
                  <a:pt x="514644" y="123375"/>
                  <a:pt x="541992" y="132503"/>
                  <a:pt x="569608" y="140735"/>
                </a:cubicBezTo>
                <a:cubicBezTo>
                  <a:pt x="584612" y="145208"/>
                  <a:pt x="590199" y="139652"/>
                  <a:pt x="585180" y="124742"/>
                </a:cubicBezTo>
                <a:cubicBezTo>
                  <a:pt x="578949" y="106227"/>
                  <a:pt x="571109" y="88251"/>
                  <a:pt x="563868" y="70080"/>
                </a:cubicBezTo>
                <a:cubicBezTo>
                  <a:pt x="558214" y="55891"/>
                  <a:pt x="552416" y="41758"/>
                  <a:pt x="546041" y="26021"/>
                </a:cubicBezTo>
                <a:cubicBezTo>
                  <a:pt x="554662" y="23284"/>
                  <a:pt x="561452" y="20680"/>
                  <a:pt x="568462" y="18986"/>
                </a:cubicBezTo>
                <a:cubicBezTo>
                  <a:pt x="591481" y="13422"/>
                  <a:pt x="614656" y="8495"/>
                  <a:pt x="637623" y="2731"/>
                </a:cubicBezTo>
                <a:cubicBezTo>
                  <a:pt x="656287" y="-1953"/>
                  <a:pt x="674559" y="-81"/>
                  <a:pt x="692817" y="4346"/>
                </a:cubicBezTo>
                <a:cubicBezTo>
                  <a:pt x="714944" y="9710"/>
                  <a:pt x="737021" y="15284"/>
                  <a:pt x="759126" y="20739"/>
                </a:cubicBezTo>
                <a:cubicBezTo>
                  <a:pt x="763594" y="21842"/>
                  <a:pt x="768092" y="22819"/>
                  <a:pt x="774460" y="24289"/>
                </a:cubicBezTo>
                <a:cubicBezTo>
                  <a:pt x="766727" y="43585"/>
                  <a:pt x="759317" y="62457"/>
                  <a:pt x="751608" y="81205"/>
                </a:cubicBezTo>
                <a:cubicBezTo>
                  <a:pt x="743947" y="99838"/>
                  <a:pt x="734803" y="117984"/>
                  <a:pt x="731002" y="141135"/>
                </a:cubicBezTo>
                <a:cubicBezTo>
                  <a:pt x="739490" y="139636"/>
                  <a:pt x="744805" y="139073"/>
                  <a:pt x="749917" y="137732"/>
                </a:cubicBezTo>
                <a:cubicBezTo>
                  <a:pt x="778702" y="130182"/>
                  <a:pt x="807436" y="122435"/>
                  <a:pt x="836197" y="114792"/>
                </a:cubicBezTo>
                <a:cubicBezTo>
                  <a:pt x="838352" y="114219"/>
                  <a:pt x="840584" y="113934"/>
                  <a:pt x="843209" y="113433"/>
                </a:cubicBezTo>
                <a:cubicBezTo>
                  <a:pt x="843710" y="115876"/>
                  <a:pt x="844352" y="117648"/>
                  <a:pt x="844400" y="119435"/>
                </a:cubicBezTo>
                <a:cubicBezTo>
                  <a:pt x="845405" y="157181"/>
                  <a:pt x="846208" y="194932"/>
                  <a:pt x="847390" y="232672"/>
                </a:cubicBezTo>
                <a:cubicBezTo>
                  <a:pt x="847695" y="242389"/>
                  <a:pt x="849334" y="252058"/>
                  <a:pt x="850015" y="261773"/>
                </a:cubicBezTo>
                <a:cubicBezTo>
                  <a:pt x="850401" y="267273"/>
                  <a:pt x="850085" y="272822"/>
                  <a:pt x="850085" y="280220"/>
                </a:cubicBezTo>
                <a:cubicBezTo>
                  <a:pt x="837463" y="277293"/>
                  <a:pt x="826347" y="274822"/>
                  <a:pt x="815285" y="272127"/>
                </a:cubicBezTo>
                <a:cubicBezTo>
                  <a:pt x="795873" y="267398"/>
                  <a:pt x="776299" y="263181"/>
                  <a:pt x="757181" y="257455"/>
                </a:cubicBezTo>
                <a:cubicBezTo>
                  <a:pt x="747363" y="254515"/>
                  <a:pt x="739983" y="255620"/>
                  <a:pt x="732939" y="263859"/>
                </a:cubicBezTo>
                <a:cubicBezTo>
                  <a:pt x="735150" y="269003"/>
                  <a:pt x="737509" y="274491"/>
                  <a:pt x="739871" y="279988"/>
                </a:cubicBezTo>
                <a:cubicBezTo>
                  <a:pt x="735196" y="284033"/>
                  <a:pt x="730592" y="288016"/>
                  <a:pt x="725900" y="292074"/>
                </a:cubicBezTo>
                <a:cubicBezTo>
                  <a:pt x="731987" y="302329"/>
                  <a:pt x="739718" y="300546"/>
                  <a:pt x="747132" y="298017"/>
                </a:cubicBezTo>
                <a:cubicBezTo>
                  <a:pt x="758463" y="305429"/>
                  <a:pt x="762190" y="317570"/>
                  <a:pt x="768268" y="327815"/>
                </a:cubicBezTo>
                <a:cubicBezTo>
                  <a:pt x="774924" y="339037"/>
                  <a:pt x="780217" y="351080"/>
                  <a:pt x="785901" y="362862"/>
                </a:cubicBezTo>
                <a:cubicBezTo>
                  <a:pt x="788639" y="368539"/>
                  <a:pt x="792017" y="372441"/>
                  <a:pt x="798627" y="374591"/>
                </a:cubicBezTo>
                <a:cubicBezTo>
                  <a:pt x="809488" y="378123"/>
                  <a:pt x="810054" y="379498"/>
                  <a:pt x="815580" y="387899"/>
                </a:cubicBezTo>
                <a:cubicBezTo>
                  <a:pt x="814864" y="388896"/>
                  <a:pt x="814194" y="390825"/>
                  <a:pt x="813282" y="390947"/>
                </a:cubicBezTo>
                <a:cubicBezTo>
                  <a:pt x="801085" y="392587"/>
                  <a:pt x="788983" y="395969"/>
                  <a:pt x="776501" y="393213"/>
                </a:cubicBezTo>
                <a:cubicBezTo>
                  <a:pt x="752021" y="387807"/>
                  <a:pt x="727631" y="382034"/>
                  <a:pt x="702336" y="381496"/>
                </a:cubicBezTo>
                <a:cubicBezTo>
                  <a:pt x="688886" y="381209"/>
                  <a:pt x="675464" y="379722"/>
                  <a:pt x="662021" y="378921"/>
                </a:cubicBezTo>
                <a:cubicBezTo>
                  <a:pt x="656307" y="378581"/>
                  <a:pt x="651557" y="380270"/>
                  <a:pt x="651111" y="386942"/>
                </a:cubicBezTo>
                <a:cubicBezTo>
                  <a:pt x="649994" y="403641"/>
                  <a:pt x="648739" y="420346"/>
                  <a:pt x="648295" y="437069"/>
                </a:cubicBezTo>
                <a:cubicBezTo>
                  <a:pt x="648034" y="446937"/>
                  <a:pt x="650047" y="448870"/>
                  <a:pt x="659561" y="448907"/>
                </a:cubicBezTo>
                <a:cubicBezTo>
                  <a:pt x="706308" y="449089"/>
                  <a:pt x="753056" y="448964"/>
                  <a:pt x="799805" y="449022"/>
                </a:cubicBezTo>
                <a:cubicBezTo>
                  <a:pt x="806377" y="449030"/>
                  <a:pt x="809905" y="446744"/>
                  <a:pt x="811083" y="439581"/>
                </a:cubicBezTo>
                <a:cubicBezTo>
                  <a:pt x="811941" y="434369"/>
                  <a:pt x="814063" y="427618"/>
                  <a:pt x="817945" y="425008"/>
                </a:cubicBezTo>
                <a:cubicBezTo>
                  <a:pt x="826399" y="419324"/>
                  <a:pt x="828426" y="411596"/>
                  <a:pt x="828609" y="403122"/>
                </a:cubicBezTo>
                <a:cubicBezTo>
                  <a:pt x="833858" y="400461"/>
                  <a:pt x="837181" y="402725"/>
                  <a:pt x="838374" y="406435"/>
                </a:cubicBezTo>
                <a:cubicBezTo>
                  <a:pt x="840905" y="414312"/>
                  <a:pt x="843515" y="422394"/>
                  <a:pt x="844275" y="430561"/>
                </a:cubicBezTo>
                <a:cubicBezTo>
                  <a:pt x="845704" y="445903"/>
                  <a:pt x="850511" y="450005"/>
                  <a:pt x="865761" y="447068"/>
                </a:cubicBezTo>
                <a:cubicBezTo>
                  <a:pt x="872626" y="445746"/>
                  <a:pt x="878915" y="445539"/>
                  <a:pt x="885673" y="449965"/>
                </a:cubicBezTo>
                <a:cubicBezTo>
                  <a:pt x="890708" y="453263"/>
                  <a:pt x="898041" y="453271"/>
                  <a:pt x="904428" y="454230"/>
                </a:cubicBezTo>
                <a:cubicBezTo>
                  <a:pt x="913142" y="455538"/>
                  <a:pt x="921904" y="456741"/>
                  <a:pt x="930689" y="457318"/>
                </a:cubicBezTo>
                <a:cubicBezTo>
                  <a:pt x="967829" y="459759"/>
                  <a:pt x="1003019" y="469066"/>
                  <a:pt x="1036296" y="485877"/>
                </a:cubicBezTo>
                <a:cubicBezTo>
                  <a:pt x="1057129" y="496401"/>
                  <a:pt x="1071673" y="512633"/>
                  <a:pt x="1076027" y="535212"/>
                </a:cubicBezTo>
                <a:cubicBezTo>
                  <a:pt x="1078694" y="549043"/>
                  <a:pt x="1078298" y="564366"/>
                  <a:pt x="1075403" y="578208"/>
                </a:cubicBezTo>
                <a:cubicBezTo>
                  <a:pt x="1064597" y="629873"/>
                  <a:pt x="1044688" y="678854"/>
                  <a:pt x="1028317" y="728867"/>
                </a:cubicBezTo>
                <a:cubicBezTo>
                  <a:pt x="1014112" y="772262"/>
                  <a:pt x="998310" y="815132"/>
                  <a:pt x="983498" y="858331"/>
                </a:cubicBezTo>
                <a:cubicBezTo>
                  <a:pt x="971714" y="892697"/>
                  <a:pt x="959865" y="927055"/>
                  <a:pt x="948940" y="961698"/>
                </a:cubicBezTo>
                <a:cubicBezTo>
                  <a:pt x="935780" y="1003426"/>
                  <a:pt x="923502" y="1045433"/>
                  <a:pt x="911066" y="1087385"/>
                </a:cubicBezTo>
                <a:cubicBezTo>
                  <a:pt x="910087" y="1090688"/>
                  <a:pt x="910738" y="1094511"/>
                  <a:pt x="910828" y="1098086"/>
                </a:cubicBezTo>
                <a:cubicBezTo>
                  <a:pt x="911096" y="1108800"/>
                  <a:pt x="911984" y="1119535"/>
                  <a:pt x="911498" y="1130209"/>
                </a:cubicBezTo>
                <a:cubicBezTo>
                  <a:pt x="911333" y="1133841"/>
                  <a:pt x="908325" y="1137771"/>
                  <a:pt x="905716" y="1140786"/>
                </a:cubicBezTo>
                <a:cubicBezTo>
                  <a:pt x="896689" y="1151217"/>
                  <a:pt x="895625" y="1160669"/>
                  <a:pt x="904041" y="1171694"/>
                </a:cubicBezTo>
                <a:cubicBezTo>
                  <a:pt x="912211" y="1182398"/>
                  <a:pt x="921368" y="1192341"/>
                  <a:pt x="929797" y="1202854"/>
                </a:cubicBezTo>
                <a:cubicBezTo>
                  <a:pt x="945705" y="1222696"/>
                  <a:pt x="952969" y="1246039"/>
                  <a:pt x="956714" y="1270749"/>
                </a:cubicBezTo>
                <a:cubicBezTo>
                  <a:pt x="957687" y="1277170"/>
                  <a:pt x="957779" y="1283963"/>
                  <a:pt x="960074" y="1289888"/>
                </a:cubicBezTo>
                <a:cubicBezTo>
                  <a:pt x="963075" y="1297631"/>
                  <a:pt x="967750" y="1304358"/>
                  <a:pt x="975795" y="1308746"/>
                </a:cubicBezTo>
                <a:cubicBezTo>
                  <a:pt x="985143" y="1313846"/>
                  <a:pt x="994116" y="1319926"/>
                  <a:pt x="1002397" y="1326635"/>
                </a:cubicBezTo>
                <a:cubicBezTo>
                  <a:pt x="1030424" y="1349343"/>
                  <a:pt x="1038408" y="1401530"/>
                  <a:pt x="1018686" y="1435905"/>
                </a:cubicBezTo>
                <a:cubicBezTo>
                  <a:pt x="1013500" y="1444943"/>
                  <a:pt x="1005098" y="1450152"/>
                  <a:pt x="996257" y="1454107"/>
                </a:cubicBezTo>
                <a:cubicBezTo>
                  <a:pt x="988281" y="1457674"/>
                  <a:pt x="979503" y="1460398"/>
                  <a:pt x="970849" y="1461303"/>
                </a:cubicBezTo>
                <a:cubicBezTo>
                  <a:pt x="953296" y="1463139"/>
                  <a:pt x="935587" y="1463487"/>
                  <a:pt x="917943" y="1464461"/>
                </a:cubicBezTo>
                <a:cubicBezTo>
                  <a:pt x="913762" y="1464691"/>
                  <a:pt x="909478" y="1464482"/>
                  <a:pt x="905433" y="1465358"/>
                </a:cubicBezTo>
                <a:cubicBezTo>
                  <a:pt x="901150" y="1466287"/>
                  <a:pt x="897709" y="1468792"/>
                  <a:pt x="897863" y="1474014"/>
                </a:cubicBezTo>
                <a:cubicBezTo>
                  <a:pt x="897877" y="1474480"/>
                  <a:pt x="897822" y="1474948"/>
                  <a:pt x="897812" y="1475415"/>
                </a:cubicBezTo>
                <a:cubicBezTo>
                  <a:pt x="897511" y="1490282"/>
                  <a:pt x="898056" y="1504999"/>
                  <a:pt x="895549" y="1519988"/>
                </a:cubicBezTo>
                <a:cubicBezTo>
                  <a:pt x="893039" y="1534995"/>
                  <a:pt x="894597" y="1550763"/>
                  <a:pt x="895093" y="1566174"/>
                </a:cubicBezTo>
                <a:cubicBezTo>
                  <a:pt x="895841" y="1589420"/>
                  <a:pt x="897215" y="1612646"/>
                  <a:pt x="898754" y="1637125"/>
                </a:cubicBezTo>
                <a:moveTo>
                  <a:pt x="654604" y="2329281"/>
                </a:moveTo>
                <a:cubicBezTo>
                  <a:pt x="652015" y="2310116"/>
                  <a:pt x="655822" y="2290495"/>
                  <a:pt x="650429" y="2271391"/>
                </a:cubicBezTo>
                <a:cubicBezTo>
                  <a:pt x="648307" y="2277580"/>
                  <a:pt x="648156" y="2283761"/>
                  <a:pt x="648148" y="2289942"/>
                </a:cubicBezTo>
                <a:cubicBezTo>
                  <a:pt x="648117" y="2315944"/>
                  <a:pt x="648093" y="2341946"/>
                  <a:pt x="648156" y="2367948"/>
                </a:cubicBezTo>
                <a:cubicBezTo>
                  <a:pt x="648168" y="2372820"/>
                  <a:pt x="646633" y="2378876"/>
                  <a:pt x="655577" y="2381454"/>
                </a:cubicBezTo>
                <a:cubicBezTo>
                  <a:pt x="655560" y="2389285"/>
                  <a:pt x="655756" y="2397123"/>
                  <a:pt x="655485" y="2404945"/>
                </a:cubicBezTo>
                <a:cubicBezTo>
                  <a:pt x="654880" y="2422378"/>
                  <a:pt x="654042" y="2439804"/>
                  <a:pt x="651805" y="2455510"/>
                </a:cubicBezTo>
                <a:cubicBezTo>
                  <a:pt x="651527" y="2435450"/>
                  <a:pt x="651319" y="2415390"/>
                  <a:pt x="650902" y="2395333"/>
                </a:cubicBezTo>
                <a:cubicBezTo>
                  <a:pt x="650837" y="2392220"/>
                  <a:pt x="649823" y="2389127"/>
                  <a:pt x="649248" y="2386025"/>
                </a:cubicBezTo>
                <a:cubicBezTo>
                  <a:pt x="647943" y="2386187"/>
                  <a:pt x="646638" y="2386350"/>
                  <a:pt x="645333" y="2386512"/>
                </a:cubicBezTo>
                <a:cubicBezTo>
                  <a:pt x="645333" y="2390961"/>
                  <a:pt x="645334" y="2395409"/>
                  <a:pt x="645333" y="2399858"/>
                </a:cubicBezTo>
                <a:cubicBezTo>
                  <a:pt x="645326" y="2423694"/>
                  <a:pt x="645418" y="2447532"/>
                  <a:pt x="645232" y="2471367"/>
                </a:cubicBezTo>
                <a:cubicBezTo>
                  <a:pt x="645193" y="2476432"/>
                  <a:pt x="644504" y="2481563"/>
                  <a:pt x="643489" y="2486535"/>
                </a:cubicBezTo>
                <a:cubicBezTo>
                  <a:pt x="639304" y="2507036"/>
                  <a:pt x="642157" y="2510950"/>
                  <a:pt x="662548" y="2510760"/>
                </a:cubicBezTo>
                <a:cubicBezTo>
                  <a:pt x="755908" y="2509888"/>
                  <a:pt x="849266" y="2508878"/>
                  <a:pt x="942625" y="2507990"/>
                </a:cubicBezTo>
                <a:cubicBezTo>
                  <a:pt x="960852" y="2507816"/>
                  <a:pt x="979082" y="2508002"/>
                  <a:pt x="997309" y="2507928"/>
                </a:cubicBezTo>
                <a:cubicBezTo>
                  <a:pt x="1001871" y="2507910"/>
                  <a:pt x="1006430" y="2507531"/>
                  <a:pt x="1012693" y="2507237"/>
                </a:cubicBezTo>
                <a:cubicBezTo>
                  <a:pt x="1012056" y="2501789"/>
                  <a:pt x="1012084" y="2497264"/>
                  <a:pt x="1010948" y="2493054"/>
                </a:cubicBezTo>
                <a:cubicBezTo>
                  <a:pt x="1001379" y="2457588"/>
                  <a:pt x="991103" y="2422306"/>
                  <a:pt x="982017" y="2386719"/>
                </a:cubicBezTo>
                <a:cubicBezTo>
                  <a:pt x="972598" y="2349832"/>
                  <a:pt x="963965" y="2312735"/>
                  <a:pt x="955543" y="2275604"/>
                </a:cubicBezTo>
                <a:cubicBezTo>
                  <a:pt x="944249" y="2225808"/>
                  <a:pt x="933022" y="2175988"/>
                  <a:pt x="922638" y="2125997"/>
                </a:cubicBezTo>
                <a:cubicBezTo>
                  <a:pt x="913587" y="2082421"/>
                  <a:pt x="905382" y="2038659"/>
                  <a:pt x="897474" y="1994858"/>
                </a:cubicBezTo>
                <a:cubicBezTo>
                  <a:pt x="890476" y="1956093"/>
                  <a:pt x="883980" y="1917224"/>
                  <a:pt x="878061" y="1878280"/>
                </a:cubicBezTo>
                <a:cubicBezTo>
                  <a:pt x="873675" y="1849428"/>
                  <a:pt x="870415" y="1820399"/>
                  <a:pt x="866965" y="1791411"/>
                </a:cubicBezTo>
                <a:cubicBezTo>
                  <a:pt x="865539" y="1779434"/>
                  <a:pt x="865114" y="1767342"/>
                  <a:pt x="863902" y="1755335"/>
                </a:cubicBezTo>
                <a:cubicBezTo>
                  <a:pt x="861296" y="1729506"/>
                  <a:pt x="857509" y="1703754"/>
                  <a:pt x="855983" y="1677866"/>
                </a:cubicBezTo>
                <a:cubicBezTo>
                  <a:pt x="854037" y="1644859"/>
                  <a:pt x="853904" y="1611748"/>
                  <a:pt x="852873" y="1578685"/>
                </a:cubicBezTo>
                <a:cubicBezTo>
                  <a:pt x="852423" y="1564271"/>
                  <a:pt x="849465" y="1549523"/>
                  <a:pt x="851635" y="1535546"/>
                </a:cubicBezTo>
                <a:cubicBezTo>
                  <a:pt x="854359" y="1517991"/>
                  <a:pt x="850206" y="1501278"/>
                  <a:pt x="850039" y="1484182"/>
                </a:cubicBezTo>
                <a:cubicBezTo>
                  <a:pt x="850005" y="1480667"/>
                  <a:pt x="849101" y="1477161"/>
                  <a:pt x="848486" y="1472876"/>
                </a:cubicBezTo>
                <a:cubicBezTo>
                  <a:pt x="842279" y="1472876"/>
                  <a:pt x="837173" y="1472798"/>
                  <a:pt x="832070" y="1472888"/>
                </a:cubicBezTo>
                <a:cubicBezTo>
                  <a:pt x="780308" y="1473806"/>
                  <a:pt x="728546" y="1474749"/>
                  <a:pt x="676784" y="1475691"/>
                </a:cubicBezTo>
                <a:cubicBezTo>
                  <a:pt x="663422" y="1475935"/>
                  <a:pt x="662442" y="1476899"/>
                  <a:pt x="662172" y="1490031"/>
                </a:cubicBezTo>
                <a:cubicBezTo>
                  <a:pt x="662124" y="1492367"/>
                  <a:pt x="662222" y="1494706"/>
                  <a:pt x="662153" y="1497041"/>
                </a:cubicBezTo>
                <a:cubicBezTo>
                  <a:pt x="660720" y="1545521"/>
                  <a:pt x="663794" y="1593996"/>
                  <a:pt x="659832" y="1642548"/>
                </a:cubicBezTo>
                <a:cubicBezTo>
                  <a:pt x="656616" y="1681972"/>
                  <a:pt x="657530" y="1721730"/>
                  <a:pt x="656544" y="1761338"/>
                </a:cubicBezTo>
                <a:cubicBezTo>
                  <a:pt x="655035" y="1821971"/>
                  <a:pt x="657667" y="1882583"/>
                  <a:pt x="654344" y="1943296"/>
                </a:cubicBezTo>
                <a:cubicBezTo>
                  <a:pt x="650802" y="2008002"/>
                  <a:pt x="651715" y="2072959"/>
                  <a:pt x="651002" y="2137811"/>
                </a:cubicBezTo>
                <a:cubicBezTo>
                  <a:pt x="650627" y="2171926"/>
                  <a:pt x="650929" y="2206049"/>
                  <a:pt x="650933" y="2240168"/>
                </a:cubicBezTo>
                <a:cubicBezTo>
                  <a:pt x="650933" y="2243439"/>
                  <a:pt x="650161" y="2247032"/>
                  <a:pt x="651273" y="2249880"/>
                </a:cubicBezTo>
                <a:cubicBezTo>
                  <a:pt x="652187" y="2252220"/>
                  <a:pt x="655368" y="2253675"/>
                  <a:pt x="658332" y="2258024"/>
                </a:cubicBezTo>
                <a:cubicBezTo>
                  <a:pt x="657587" y="2282352"/>
                  <a:pt x="656842" y="2306679"/>
                  <a:pt x="654604" y="2329281"/>
                </a:cubicBezTo>
                <a:moveTo>
                  <a:pt x="999154" y="2930680"/>
                </a:moveTo>
                <a:cubicBezTo>
                  <a:pt x="1074430" y="2924379"/>
                  <a:pt x="1149252" y="2914341"/>
                  <a:pt x="1224400" y="2904672"/>
                </a:cubicBezTo>
                <a:cubicBezTo>
                  <a:pt x="1224983" y="2900287"/>
                  <a:pt x="1225723" y="2897124"/>
                  <a:pt x="1225778" y="2893948"/>
                </a:cubicBezTo>
                <a:cubicBezTo>
                  <a:pt x="1226437" y="2856188"/>
                  <a:pt x="1218943" y="2820187"/>
                  <a:pt x="1197990" y="2788499"/>
                </a:cubicBezTo>
                <a:cubicBezTo>
                  <a:pt x="1185967" y="2770315"/>
                  <a:pt x="1171427" y="2753616"/>
                  <a:pt x="1156721" y="2737429"/>
                </a:cubicBezTo>
                <a:cubicBezTo>
                  <a:pt x="1137254" y="2716002"/>
                  <a:pt x="1115793" y="2696376"/>
                  <a:pt x="1096512" y="2674794"/>
                </a:cubicBezTo>
                <a:cubicBezTo>
                  <a:pt x="1073694" y="2649251"/>
                  <a:pt x="1056484" y="2620624"/>
                  <a:pt x="1056842" y="2584575"/>
                </a:cubicBezTo>
                <a:cubicBezTo>
                  <a:pt x="1056854" y="2583302"/>
                  <a:pt x="1056015" y="2582020"/>
                  <a:pt x="1055233" y="2579758"/>
                </a:cubicBezTo>
                <a:cubicBezTo>
                  <a:pt x="1042855" y="2580471"/>
                  <a:pt x="1030372" y="2580868"/>
                  <a:pt x="1017950" y="2581956"/>
                </a:cubicBezTo>
                <a:cubicBezTo>
                  <a:pt x="940684" y="2588728"/>
                  <a:pt x="863326" y="2593894"/>
                  <a:pt x="785764" y="2595473"/>
                </a:cubicBezTo>
                <a:cubicBezTo>
                  <a:pt x="745592" y="2596290"/>
                  <a:pt x="705413" y="2596778"/>
                  <a:pt x="665238" y="2597498"/>
                </a:cubicBezTo>
                <a:cubicBezTo>
                  <a:pt x="661698" y="2597562"/>
                  <a:pt x="658168" y="2598244"/>
                  <a:pt x="654332" y="2598673"/>
                </a:cubicBezTo>
                <a:cubicBezTo>
                  <a:pt x="664449" y="2711162"/>
                  <a:pt x="659668" y="2822547"/>
                  <a:pt x="653026" y="2935427"/>
                </a:cubicBezTo>
                <a:cubicBezTo>
                  <a:pt x="768837" y="2937973"/>
                  <a:pt x="882730" y="2939028"/>
                  <a:pt x="999154" y="2930680"/>
                </a:cubicBezTo>
                <a:moveTo>
                  <a:pt x="947894" y="3022480"/>
                </a:moveTo>
                <a:cubicBezTo>
                  <a:pt x="916629" y="3024040"/>
                  <a:pt x="885376" y="3026565"/>
                  <a:pt x="854096" y="3026952"/>
                </a:cubicBezTo>
                <a:cubicBezTo>
                  <a:pt x="794764" y="3027687"/>
                  <a:pt x="735417" y="3027198"/>
                  <a:pt x="676076" y="3027217"/>
                </a:cubicBezTo>
                <a:cubicBezTo>
                  <a:pt x="670121" y="3027219"/>
                  <a:pt x="664166" y="3027217"/>
                  <a:pt x="657155" y="3027217"/>
                </a:cubicBezTo>
                <a:cubicBezTo>
                  <a:pt x="655529" y="3062293"/>
                  <a:pt x="651846" y="3095886"/>
                  <a:pt x="650929" y="3130009"/>
                </a:cubicBezTo>
                <a:cubicBezTo>
                  <a:pt x="656057" y="3130467"/>
                  <a:pt x="659260" y="3130899"/>
                  <a:pt x="662475" y="3131016"/>
                </a:cubicBezTo>
                <a:cubicBezTo>
                  <a:pt x="700300" y="3132391"/>
                  <a:pt x="738118" y="3134111"/>
                  <a:pt x="775955" y="3134982"/>
                </a:cubicBezTo>
                <a:cubicBezTo>
                  <a:pt x="871340" y="3137178"/>
                  <a:pt x="966589" y="3135038"/>
                  <a:pt x="1061598" y="3125377"/>
                </a:cubicBezTo>
                <a:cubicBezTo>
                  <a:pt x="1124889" y="3118941"/>
                  <a:pt x="1187609" y="3109276"/>
                  <a:pt x="1249397" y="3093967"/>
                </a:cubicBezTo>
                <a:cubicBezTo>
                  <a:pt x="1253752" y="3092888"/>
                  <a:pt x="1257981" y="3091298"/>
                  <a:pt x="1262842" y="3089764"/>
                </a:cubicBezTo>
                <a:cubicBezTo>
                  <a:pt x="1259040" y="3062969"/>
                  <a:pt x="1254881" y="3037707"/>
                  <a:pt x="1244253" y="3014005"/>
                </a:cubicBezTo>
                <a:cubicBezTo>
                  <a:pt x="1242547" y="3010201"/>
                  <a:pt x="1239948" y="3006798"/>
                  <a:pt x="1237768" y="3003206"/>
                </a:cubicBezTo>
                <a:cubicBezTo>
                  <a:pt x="1233239" y="2995743"/>
                  <a:pt x="1227131" y="2992138"/>
                  <a:pt x="1217957" y="2993424"/>
                </a:cubicBezTo>
                <a:cubicBezTo>
                  <a:pt x="1199921" y="2995951"/>
                  <a:pt x="1181756" y="2997558"/>
                  <a:pt x="1163725" y="3000119"/>
                </a:cubicBezTo>
                <a:cubicBezTo>
                  <a:pt x="1092925" y="3010176"/>
                  <a:pt x="1021883" y="3017834"/>
                  <a:pt x="947894" y="3022480"/>
                </a:cubicBezTo>
                <a:moveTo>
                  <a:pt x="784197" y="1352777"/>
                </a:moveTo>
                <a:cubicBezTo>
                  <a:pt x="766462" y="1353462"/>
                  <a:pt x="748731" y="1354287"/>
                  <a:pt x="730991" y="1354793"/>
                </a:cubicBezTo>
                <a:cubicBezTo>
                  <a:pt x="712981" y="1355307"/>
                  <a:pt x="694940" y="1355183"/>
                  <a:pt x="676320" y="1356902"/>
                </a:cubicBezTo>
                <a:cubicBezTo>
                  <a:pt x="674799" y="1378289"/>
                  <a:pt x="673393" y="1398039"/>
                  <a:pt x="671906" y="1418933"/>
                </a:cubicBezTo>
                <a:cubicBezTo>
                  <a:pt x="677552" y="1418933"/>
                  <a:pt x="681678" y="1419046"/>
                  <a:pt x="685797" y="1418917"/>
                </a:cubicBezTo>
                <a:cubicBezTo>
                  <a:pt x="774966" y="1416107"/>
                  <a:pt x="864134" y="1413293"/>
                  <a:pt x="953300" y="1410383"/>
                </a:cubicBezTo>
                <a:cubicBezTo>
                  <a:pt x="958412" y="1410216"/>
                  <a:pt x="963542" y="1409471"/>
                  <a:pt x="968586" y="1408564"/>
                </a:cubicBezTo>
                <a:cubicBezTo>
                  <a:pt x="978218" y="1406833"/>
                  <a:pt x="980261" y="1404383"/>
                  <a:pt x="980375" y="1394590"/>
                </a:cubicBezTo>
                <a:cubicBezTo>
                  <a:pt x="980521" y="1382101"/>
                  <a:pt x="976026" y="1371666"/>
                  <a:pt x="965591" y="1364447"/>
                </a:cubicBezTo>
                <a:cubicBezTo>
                  <a:pt x="948967" y="1352947"/>
                  <a:pt x="930599" y="1347277"/>
                  <a:pt x="910211" y="1348103"/>
                </a:cubicBezTo>
                <a:cubicBezTo>
                  <a:pt x="869142" y="1349769"/>
                  <a:pt x="828062" y="1351175"/>
                  <a:pt x="784197" y="1352777"/>
                </a:cubicBezTo>
                <a:moveTo>
                  <a:pt x="648129" y="615881"/>
                </a:moveTo>
                <a:cubicBezTo>
                  <a:pt x="649058" y="632117"/>
                  <a:pt x="650192" y="648345"/>
                  <a:pt x="650869" y="664591"/>
                </a:cubicBezTo>
                <a:cubicBezTo>
                  <a:pt x="652013" y="692034"/>
                  <a:pt x="650274" y="719448"/>
                  <a:pt x="653223" y="746994"/>
                </a:cubicBezTo>
                <a:cubicBezTo>
                  <a:pt x="656187" y="774679"/>
                  <a:pt x="652958" y="802766"/>
                  <a:pt x="656163" y="830737"/>
                </a:cubicBezTo>
                <a:cubicBezTo>
                  <a:pt x="658910" y="854709"/>
                  <a:pt x="656763" y="879007"/>
                  <a:pt x="658740" y="903281"/>
                </a:cubicBezTo>
                <a:cubicBezTo>
                  <a:pt x="661875" y="941767"/>
                  <a:pt x="661060" y="980568"/>
                  <a:pt x="662209" y="1019226"/>
                </a:cubicBezTo>
                <a:cubicBezTo>
                  <a:pt x="662831" y="1040143"/>
                  <a:pt x="663923" y="1061048"/>
                  <a:pt x="665088" y="1081942"/>
                </a:cubicBezTo>
                <a:cubicBezTo>
                  <a:pt x="665498" y="1089302"/>
                  <a:pt x="668166" y="1091025"/>
                  <a:pt x="674628" y="1090643"/>
                </a:cubicBezTo>
                <a:cubicBezTo>
                  <a:pt x="703841" y="1088916"/>
                  <a:pt x="733054" y="1087111"/>
                  <a:pt x="762289" y="1085865"/>
                </a:cubicBezTo>
                <a:cubicBezTo>
                  <a:pt x="792528" y="1084574"/>
                  <a:pt x="822793" y="1083894"/>
                  <a:pt x="853046" y="1082948"/>
                </a:cubicBezTo>
                <a:cubicBezTo>
                  <a:pt x="853513" y="1082934"/>
                  <a:pt x="853981" y="1082919"/>
                  <a:pt x="854448" y="1082924"/>
                </a:cubicBezTo>
                <a:cubicBezTo>
                  <a:pt x="860299" y="1082998"/>
                  <a:pt x="864379" y="1080055"/>
                  <a:pt x="866364" y="1074839"/>
                </a:cubicBezTo>
                <a:cubicBezTo>
                  <a:pt x="874977" y="1052218"/>
                  <a:pt x="883766" y="1029650"/>
                  <a:pt x="891726" y="1006797"/>
                </a:cubicBezTo>
                <a:cubicBezTo>
                  <a:pt x="899510" y="984448"/>
                  <a:pt x="905967" y="961638"/>
                  <a:pt x="913720" y="939278"/>
                </a:cubicBezTo>
                <a:cubicBezTo>
                  <a:pt x="926840" y="901438"/>
                  <a:pt x="940566" y="863808"/>
                  <a:pt x="953952" y="826060"/>
                </a:cubicBezTo>
                <a:cubicBezTo>
                  <a:pt x="965626" y="793139"/>
                  <a:pt x="977165" y="760170"/>
                  <a:pt x="988796" y="727233"/>
                </a:cubicBezTo>
                <a:cubicBezTo>
                  <a:pt x="1004602" y="682474"/>
                  <a:pt x="1020729" y="637825"/>
                  <a:pt x="1036110" y="592920"/>
                </a:cubicBezTo>
                <a:cubicBezTo>
                  <a:pt x="1041693" y="576621"/>
                  <a:pt x="1044731" y="559627"/>
                  <a:pt x="1043677" y="542152"/>
                </a:cubicBezTo>
                <a:cubicBezTo>
                  <a:pt x="1043059" y="531887"/>
                  <a:pt x="1040345" y="522522"/>
                  <a:pt x="1030884" y="517222"/>
                </a:cubicBezTo>
                <a:cubicBezTo>
                  <a:pt x="1024045" y="513391"/>
                  <a:pt x="1016699" y="510004"/>
                  <a:pt x="1009162" y="507963"/>
                </a:cubicBezTo>
                <a:cubicBezTo>
                  <a:pt x="983620" y="501048"/>
                  <a:pt x="957981" y="494740"/>
                  <a:pt x="931266" y="493552"/>
                </a:cubicBezTo>
                <a:cubicBezTo>
                  <a:pt x="914169" y="492791"/>
                  <a:pt x="897177" y="489870"/>
                  <a:pt x="880100" y="488348"/>
                </a:cubicBezTo>
                <a:cubicBezTo>
                  <a:pt x="865298" y="487029"/>
                  <a:pt x="850441" y="486332"/>
                  <a:pt x="835610" y="485330"/>
                </a:cubicBezTo>
                <a:cubicBezTo>
                  <a:pt x="808745" y="483516"/>
                  <a:pt x="781896" y="480471"/>
                  <a:pt x="755014" y="480162"/>
                </a:cubicBezTo>
                <a:cubicBezTo>
                  <a:pt x="722439" y="479789"/>
                  <a:pt x="689836" y="481665"/>
                  <a:pt x="657249" y="482686"/>
                </a:cubicBezTo>
                <a:cubicBezTo>
                  <a:pt x="646583" y="483021"/>
                  <a:pt x="641424" y="489596"/>
                  <a:pt x="643184" y="500211"/>
                </a:cubicBezTo>
                <a:cubicBezTo>
                  <a:pt x="643789" y="503860"/>
                  <a:pt x="645104" y="507461"/>
                  <a:pt x="645220" y="511112"/>
                </a:cubicBezTo>
                <a:cubicBezTo>
                  <a:pt x="646298" y="545100"/>
                  <a:pt x="647185" y="579094"/>
                  <a:pt x="648129" y="615881"/>
                </a:cubicBezTo>
                <a:moveTo>
                  <a:pt x="886495" y="1207714"/>
                </a:moveTo>
                <a:cubicBezTo>
                  <a:pt x="884805" y="1206106"/>
                  <a:pt x="883380" y="1203949"/>
                  <a:pt x="881380" y="1202980"/>
                </a:cubicBezTo>
                <a:cubicBezTo>
                  <a:pt x="869508" y="1197225"/>
                  <a:pt x="866866" y="1186901"/>
                  <a:pt x="866913" y="1175042"/>
                </a:cubicBezTo>
                <a:cubicBezTo>
                  <a:pt x="866937" y="1168979"/>
                  <a:pt x="867225" y="1162853"/>
                  <a:pt x="866482" y="1156869"/>
                </a:cubicBezTo>
                <a:cubicBezTo>
                  <a:pt x="865810" y="1151447"/>
                  <a:pt x="863028" y="1147406"/>
                  <a:pt x="856429" y="1147458"/>
                </a:cubicBezTo>
                <a:cubicBezTo>
                  <a:pt x="834490" y="1147630"/>
                  <a:pt x="812519" y="1146897"/>
                  <a:pt x="790615" y="1147813"/>
                </a:cubicBezTo>
                <a:cubicBezTo>
                  <a:pt x="766540" y="1148819"/>
                  <a:pt x="742532" y="1151353"/>
                  <a:pt x="718484" y="1153058"/>
                </a:cubicBezTo>
                <a:cubicBezTo>
                  <a:pt x="702742" y="1154174"/>
                  <a:pt x="686965" y="1154817"/>
                  <a:pt x="671232" y="1156034"/>
                </a:cubicBezTo>
                <a:cubicBezTo>
                  <a:pt x="662945" y="1156675"/>
                  <a:pt x="661657" y="1159923"/>
                  <a:pt x="664146" y="1168443"/>
                </a:cubicBezTo>
                <a:cubicBezTo>
                  <a:pt x="665938" y="1174575"/>
                  <a:pt x="667544" y="1181027"/>
                  <a:pt x="667611" y="1187354"/>
                </a:cubicBezTo>
                <a:cubicBezTo>
                  <a:pt x="667956" y="1219564"/>
                  <a:pt x="667704" y="1251779"/>
                  <a:pt x="667803" y="1283992"/>
                </a:cubicBezTo>
                <a:cubicBezTo>
                  <a:pt x="667847" y="1297938"/>
                  <a:pt x="668871" y="1299219"/>
                  <a:pt x="683140" y="1298850"/>
                </a:cubicBezTo>
                <a:cubicBezTo>
                  <a:pt x="700774" y="1298393"/>
                  <a:pt x="718378" y="1296854"/>
                  <a:pt x="736011" y="1296220"/>
                </a:cubicBezTo>
                <a:cubicBezTo>
                  <a:pt x="767632" y="1295083"/>
                  <a:pt x="799265" y="1294272"/>
                  <a:pt x="830893" y="1293324"/>
                </a:cubicBezTo>
                <a:cubicBezTo>
                  <a:pt x="831826" y="1293296"/>
                  <a:pt x="832761" y="1293286"/>
                  <a:pt x="833691" y="1293213"/>
                </a:cubicBezTo>
                <a:cubicBezTo>
                  <a:pt x="856797" y="1291390"/>
                  <a:pt x="879886" y="1289299"/>
                  <a:pt x="903014" y="1287831"/>
                </a:cubicBezTo>
                <a:cubicBezTo>
                  <a:pt x="916073" y="1287002"/>
                  <a:pt x="919042" y="1284797"/>
                  <a:pt x="917225" y="1271856"/>
                </a:cubicBezTo>
                <a:cubicBezTo>
                  <a:pt x="913886" y="1248076"/>
                  <a:pt x="908472" y="1225007"/>
                  <a:pt x="886495" y="1207714"/>
                </a:cubicBezTo>
                <a:close/>
              </a:path>
            </a:pathLst>
          </a:custGeom>
          <a:solidFill>
            <a:srgbClr val="CDD9DF"/>
          </a:solidFill>
          <a:ln w="1401" cap="flat">
            <a:noFill/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28" name="Free-form: Shape 27">
            <a:extLst>
              <a:ext uri="{FF2B5EF4-FFF2-40B4-BE49-F238E27FC236}">
                <a16:creationId xmlns:a16="http://schemas.microsoft.com/office/drawing/2014/main" id="{8E1074BA-2531-0CA8-855F-77199F4BB48C}"/>
              </a:ext>
            </a:extLst>
          </p:cNvPr>
          <p:cNvSpPr/>
          <p:nvPr/>
        </p:nvSpPr>
        <p:spPr>
          <a:xfrm>
            <a:off x="1133865" y="4083088"/>
            <a:ext cx="60119" cy="24090"/>
          </a:xfrm>
          <a:custGeom>
            <a:avLst/>
            <a:gdLst>
              <a:gd name="csX0" fmla="*/ 94424 w 144688"/>
              <a:gd name="csY0" fmla="*/ 9299 h 52707"/>
              <a:gd name="csX1" fmla="*/ 121261 w 144688"/>
              <a:gd name="csY1" fmla="*/ 16460 h 52707"/>
              <a:gd name="csX2" fmla="*/ 143563 w 144688"/>
              <a:gd name="csY2" fmla="*/ 43347 h 52707"/>
              <a:gd name="csX3" fmla="*/ 144689 w 144688"/>
              <a:gd name="csY3" fmla="*/ 52708 h 52707"/>
              <a:gd name="csX4" fmla="*/ 349 w 144688"/>
              <a:gd name="csY4" fmla="*/ 52708 h 52707"/>
              <a:gd name="csX5" fmla="*/ 738 w 144688"/>
              <a:gd name="csY5" fmla="*/ 572 h 52707"/>
              <a:gd name="csX6" fmla="*/ 94424 w 144688"/>
              <a:gd name="csY6" fmla="*/ 9299 h 5270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</a:cxnLst>
            <a:rect l="l" t="t" r="r" b="b"/>
            <a:pathLst>
              <a:path w="144688" h="52707">
                <a:moveTo>
                  <a:pt x="94424" y="9299"/>
                </a:moveTo>
                <a:cubicBezTo>
                  <a:pt x="104138" y="11826"/>
                  <a:pt x="112739" y="14007"/>
                  <a:pt x="121261" y="16460"/>
                </a:cubicBezTo>
                <a:cubicBezTo>
                  <a:pt x="134742" y="20340"/>
                  <a:pt x="143121" y="28544"/>
                  <a:pt x="143563" y="43347"/>
                </a:cubicBezTo>
                <a:cubicBezTo>
                  <a:pt x="143645" y="46090"/>
                  <a:pt x="144206" y="48818"/>
                  <a:pt x="144689" y="52708"/>
                </a:cubicBezTo>
                <a:cubicBezTo>
                  <a:pt x="96675" y="52708"/>
                  <a:pt x="49316" y="52708"/>
                  <a:pt x="349" y="52708"/>
                </a:cubicBezTo>
                <a:cubicBezTo>
                  <a:pt x="-379" y="35695"/>
                  <a:pt x="172" y="18742"/>
                  <a:pt x="738" y="572"/>
                </a:cubicBezTo>
                <a:cubicBezTo>
                  <a:pt x="32910" y="-1712"/>
                  <a:pt x="63133" y="3179"/>
                  <a:pt x="94424" y="9299"/>
                </a:cubicBezTo>
                <a:close/>
              </a:path>
            </a:pathLst>
          </a:custGeom>
          <a:solidFill>
            <a:srgbClr val="FBFCFB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29" name="Free-form: Shape 28">
            <a:extLst>
              <a:ext uri="{FF2B5EF4-FFF2-40B4-BE49-F238E27FC236}">
                <a16:creationId xmlns:a16="http://schemas.microsoft.com/office/drawing/2014/main" id="{B68EEAFB-553B-EEE3-5AC2-3E4FCAB3D7EA}"/>
              </a:ext>
            </a:extLst>
          </p:cNvPr>
          <p:cNvSpPr/>
          <p:nvPr/>
        </p:nvSpPr>
        <p:spPr>
          <a:xfrm>
            <a:off x="1132412" y="4583561"/>
            <a:ext cx="146173" cy="466072"/>
          </a:xfrm>
          <a:custGeom>
            <a:avLst/>
            <a:gdLst>
              <a:gd name="csX0" fmla="*/ 0 w 351791"/>
              <a:gd name="csY0" fmla="*/ 975370 h 1019713"/>
              <a:gd name="csX1" fmla="*/ 2187 w 351791"/>
              <a:gd name="csY1" fmla="*/ 923083 h 1019713"/>
              <a:gd name="csX2" fmla="*/ 2287 w 351791"/>
              <a:gd name="csY2" fmla="*/ 897079 h 1019713"/>
              <a:gd name="csX3" fmla="*/ 2799 w 351791"/>
              <a:gd name="csY3" fmla="*/ 849144 h 1019713"/>
              <a:gd name="csX4" fmla="*/ 5052 w 351791"/>
              <a:gd name="csY4" fmla="*/ 773650 h 1019713"/>
              <a:gd name="csX5" fmla="*/ 7113 w 351791"/>
              <a:gd name="csY5" fmla="*/ 630071 h 1019713"/>
              <a:gd name="csX6" fmla="*/ 9133 w 351791"/>
              <a:gd name="csY6" fmla="*/ 528600 h 1019713"/>
              <a:gd name="csX7" fmla="*/ 9163 w 351791"/>
              <a:gd name="csY7" fmla="*/ 497413 h 1019713"/>
              <a:gd name="csX8" fmla="*/ 11812 w 351791"/>
              <a:gd name="csY8" fmla="*/ 379910 h 1019713"/>
              <a:gd name="csX9" fmla="*/ 12024 w 351791"/>
              <a:gd name="csY9" fmla="*/ 348726 h 1019713"/>
              <a:gd name="csX10" fmla="*/ 14645 w 351791"/>
              <a:gd name="csY10" fmla="*/ 239691 h 1019713"/>
              <a:gd name="csX11" fmla="*/ 14784 w 351791"/>
              <a:gd name="csY11" fmla="*/ 214091 h 1019713"/>
              <a:gd name="csX12" fmla="*/ 17570 w 351791"/>
              <a:gd name="csY12" fmla="*/ 88165 h 1019713"/>
              <a:gd name="csX13" fmla="*/ 17615 w 351791"/>
              <a:gd name="csY13" fmla="*/ 37421 h 1019713"/>
              <a:gd name="csX14" fmla="*/ 18182 w 351791"/>
              <a:gd name="csY14" fmla="*/ 15484 h 1019713"/>
              <a:gd name="csX15" fmla="*/ 22091 w 351791"/>
              <a:gd name="csY15" fmla="*/ 2787 h 1019713"/>
              <a:gd name="csX16" fmla="*/ 54703 w 351791"/>
              <a:gd name="csY16" fmla="*/ 2968 h 1019713"/>
              <a:gd name="csX17" fmla="*/ 102677 w 351791"/>
              <a:gd name="csY17" fmla="*/ 2086 h 1019713"/>
              <a:gd name="csX18" fmla="*/ 175262 w 351791"/>
              <a:gd name="csY18" fmla="*/ 0 h 1019713"/>
              <a:gd name="csX19" fmla="*/ 189022 w 351791"/>
              <a:gd name="csY19" fmla="*/ 1595 h 1019713"/>
              <a:gd name="csX20" fmla="*/ 190628 w 351791"/>
              <a:gd name="csY20" fmla="*/ 112461 h 1019713"/>
              <a:gd name="csX21" fmla="*/ 191584 w 351791"/>
              <a:gd name="csY21" fmla="*/ 129605 h 1019713"/>
              <a:gd name="csX22" fmla="*/ 193429 w 351791"/>
              <a:gd name="csY22" fmla="*/ 173943 h 1019713"/>
              <a:gd name="csX23" fmla="*/ 194215 w 351791"/>
              <a:gd name="csY23" fmla="*/ 182908 h 1019713"/>
              <a:gd name="csX24" fmla="*/ 196316 w 351791"/>
              <a:gd name="csY24" fmla="*/ 215902 h 1019713"/>
              <a:gd name="csX25" fmla="*/ 196980 w 351791"/>
              <a:gd name="csY25" fmla="*/ 222182 h 1019713"/>
              <a:gd name="csX26" fmla="*/ 198972 w 351791"/>
              <a:gd name="csY26" fmla="*/ 249680 h 1019713"/>
              <a:gd name="csX27" fmla="*/ 199949 w 351791"/>
              <a:gd name="csY27" fmla="*/ 258553 h 1019713"/>
              <a:gd name="csX28" fmla="*/ 201912 w 351791"/>
              <a:gd name="csY28" fmla="*/ 280418 h 1019713"/>
              <a:gd name="csX29" fmla="*/ 202686 w 351791"/>
              <a:gd name="csY29" fmla="*/ 286632 h 1019713"/>
              <a:gd name="csX30" fmla="*/ 204600 w 351791"/>
              <a:gd name="csY30" fmla="*/ 308453 h 1019713"/>
              <a:gd name="csX31" fmla="*/ 205443 w 351791"/>
              <a:gd name="csY31" fmla="*/ 314650 h 1019713"/>
              <a:gd name="csX32" fmla="*/ 207431 w 351791"/>
              <a:gd name="csY32" fmla="*/ 333707 h 1019713"/>
              <a:gd name="csX33" fmla="*/ 208345 w 351791"/>
              <a:gd name="csY33" fmla="*/ 339842 h 1019713"/>
              <a:gd name="csX34" fmla="*/ 210218 w 351791"/>
              <a:gd name="csY34" fmla="*/ 356144 h 1019713"/>
              <a:gd name="csX35" fmla="*/ 211157 w 351791"/>
              <a:gd name="csY35" fmla="*/ 362375 h 1019713"/>
              <a:gd name="csX36" fmla="*/ 215820 w 351791"/>
              <a:gd name="csY36" fmla="*/ 398224 h 1019713"/>
              <a:gd name="csX37" fmla="*/ 216821 w 351791"/>
              <a:gd name="csY37" fmla="*/ 404425 h 1019713"/>
              <a:gd name="csX38" fmla="*/ 224187 w 351791"/>
              <a:gd name="csY38" fmla="*/ 451440 h 1019713"/>
              <a:gd name="csX39" fmla="*/ 225295 w 351791"/>
              <a:gd name="csY39" fmla="*/ 457691 h 1019713"/>
              <a:gd name="csX40" fmla="*/ 226831 w 351791"/>
              <a:gd name="csY40" fmla="*/ 468268 h 1019713"/>
              <a:gd name="csX41" fmla="*/ 228069 w 351791"/>
              <a:gd name="csY41" fmla="*/ 474360 h 1019713"/>
              <a:gd name="csX42" fmla="*/ 229778 w 351791"/>
              <a:gd name="csY42" fmla="*/ 485181 h 1019713"/>
              <a:gd name="csX43" fmla="*/ 230932 w 351791"/>
              <a:gd name="csY43" fmla="*/ 491348 h 1019713"/>
              <a:gd name="csX44" fmla="*/ 238095 w 351791"/>
              <a:gd name="csY44" fmla="*/ 532855 h 1019713"/>
              <a:gd name="csX45" fmla="*/ 239424 w 351791"/>
              <a:gd name="csY45" fmla="*/ 539021 h 1019713"/>
              <a:gd name="csX46" fmla="*/ 252120 w 351791"/>
              <a:gd name="csY46" fmla="*/ 605725 h 1019713"/>
              <a:gd name="csX47" fmla="*/ 253460 w 351791"/>
              <a:gd name="csY47" fmla="*/ 611945 h 1019713"/>
              <a:gd name="csX48" fmla="*/ 258622 w 351791"/>
              <a:gd name="csY48" fmla="*/ 639154 h 1019713"/>
              <a:gd name="csX49" fmla="*/ 285765 w 351791"/>
              <a:gd name="csY49" fmla="*/ 762817 h 1019713"/>
              <a:gd name="csX50" fmla="*/ 287284 w 351791"/>
              <a:gd name="csY50" fmla="*/ 768970 h 1019713"/>
              <a:gd name="csX51" fmla="*/ 351792 w 351791"/>
              <a:gd name="csY51" fmla="*/ 1017474 h 1019713"/>
              <a:gd name="csX52" fmla="*/ 308062 w 351791"/>
              <a:gd name="csY52" fmla="*/ 1016918 h 1019713"/>
              <a:gd name="csX53" fmla="*/ 241358 w 351791"/>
              <a:gd name="csY53" fmla="*/ 1016276 h 1019713"/>
              <a:gd name="csX54" fmla="*/ 229231 w 351791"/>
              <a:gd name="csY54" fmla="*/ 1017881 h 1019713"/>
              <a:gd name="csX55" fmla="*/ 0 w 351791"/>
              <a:gd name="csY55" fmla="*/ 1019714 h 1019713"/>
              <a:gd name="csX56" fmla="*/ 0 w 351791"/>
              <a:gd name="csY56" fmla="*/ 975370 h 101971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</a:cxnLst>
            <a:rect l="l" t="t" r="r" b="b"/>
            <a:pathLst>
              <a:path w="351791" h="1019713">
                <a:moveTo>
                  <a:pt x="0" y="975370"/>
                </a:moveTo>
                <a:cubicBezTo>
                  <a:pt x="743" y="957941"/>
                  <a:pt x="1582" y="940516"/>
                  <a:pt x="2187" y="923083"/>
                </a:cubicBezTo>
                <a:cubicBezTo>
                  <a:pt x="2458" y="915260"/>
                  <a:pt x="2262" y="907422"/>
                  <a:pt x="2287" y="897079"/>
                </a:cubicBezTo>
                <a:cubicBezTo>
                  <a:pt x="2463" y="879425"/>
                  <a:pt x="2631" y="864284"/>
                  <a:pt x="2799" y="849144"/>
                </a:cubicBezTo>
                <a:cubicBezTo>
                  <a:pt x="3544" y="824817"/>
                  <a:pt x="4289" y="800489"/>
                  <a:pt x="5052" y="773650"/>
                </a:cubicBezTo>
                <a:cubicBezTo>
                  <a:pt x="5751" y="724115"/>
                  <a:pt x="6432" y="677093"/>
                  <a:pt x="7113" y="630071"/>
                </a:cubicBezTo>
                <a:cubicBezTo>
                  <a:pt x="7598" y="596560"/>
                  <a:pt x="8084" y="563050"/>
                  <a:pt x="9133" y="528600"/>
                </a:cubicBezTo>
                <a:cubicBezTo>
                  <a:pt x="9465" y="518010"/>
                  <a:pt x="9234" y="508360"/>
                  <a:pt x="9163" y="497413"/>
                </a:cubicBezTo>
                <a:cubicBezTo>
                  <a:pt x="9957" y="457690"/>
                  <a:pt x="10592" y="419261"/>
                  <a:pt x="11812" y="379910"/>
                </a:cubicBezTo>
                <a:cubicBezTo>
                  <a:pt x="12221" y="369334"/>
                  <a:pt x="12045" y="359680"/>
                  <a:pt x="12024" y="348726"/>
                </a:cubicBezTo>
                <a:cubicBezTo>
                  <a:pt x="12813" y="311813"/>
                  <a:pt x="13446" y="276201"/>
                  <a:pt x="14645" y="239691"/>
                </a:cubicBezTo>
                <a:cubicBezTo>
                  <a:pt x="15021" y="230992"/>
                  <a:pt x="14832" y="223190"/>
                  <a:pt x="14784" y="214091"/>
                </a:cubicBezTo>
                <a:cubicBezTo>
                  <a:pt x="15615" y="171575"/>
                  <a:pt x="16305" y="130355"/>
                  <a:pt x="17570" y="88165"/>
                </a:cubicBezTo>
                <a:cubicBezTo>
                  <a:pt x="17924" y="71015"/>
                  <a:pt x="17703" y="54835"/>
                  <a:pt x="17615" y="37421"/>
                </a:cubicBezTo>
                <a:cubicBezTo>
                  <a:pt x="17715" y="29569"/>
                  <a:pt x="17682" y="22951"/>
                  <a:pt x="18182" y="15484"/>
                </a:cubicBezTo>
                <a:cubicBezTo>
                  <a:pt x="19427" y="10639"/>
                  <a:pt x="20141" y="6642"/>
                  <a:pt x="22091" y="2787"/>
                </a:cubicBezTo>
                <a:cubicBezTo>
                  <a:pt x="33455" y="2760"/>
                  <a:pt x="43581" y="2592"/>
                  <a:pt x="54703" y="2968"/>
                </a:cubicBezTo>
                <a:cubicBezTo>
                  <a:pt x="70921" y="2997"/>
                  <a:pt x="86144" y="2480"/>
                  <a:pt x="102677" y="2086"/>
                </a:cubicBezTo>
                <a:cubicBezTo>
                  <a:pt x="127444" y="1303"/>
                  <a:pt x="150901" y="399"/>
                  <a:pt x="175262" y="0"/>
                </a:cubicBezTo>
                <a:cubicBezTo>
                  <a:pt x="180415" y="388"/>
                  <a:pt x="184664" y="270"/>
                  <a:pt x="189022" y="1595"/>
                </a:cubicBezTo>
                <a:cubicBezTo>
                  <a:pt x="189796" y="39233"/>
                  <a:pt x="190459" y="75430"/>
                  <a:pt x="190628" y="112461"/>
                </a:cubicBezTo>
                <a:cubicBezTo>
                  <a:pt x="190659" y="118310"/>
                  <a:pt x="191185" y="123324"/>
                  <a:pt x="191584" y="129605"/>
                </a:cubicBezTo>
                <a:cubicBezTo>
                  <a:pt x="192268" y="145024"/>
                  <a:pt x="193079" y="159176"/>
                  <a:pt x="193429" y="173943"/>
                </a:cubicBezTo>
                <a:cubicBezTo>
                  <a:pt x="193407" y="176938"/>
                  <a:pt x="193846" y="179318"/>
                  <a:pt x="194215" y="182908"/>
                </a:cubicBezTo>
                <a:cubicBezTo>
                  <a:pt x="195008" y="194551"/>
                  <a:pt x="195871" y="204983"/>
                  <a:pt x="196316" y="215902"/>
                </a:cubicBezTo>
                <a:cubicBezTo>
                  <a:pt x="196287" y="217918"/>
                  <a:pt x="196676" y="219447"/>
                  <a:pt x="196980" y="222182"/>
                </a:cubicBezTo>
                <a:cubicBezTo>
                  <a:pt x="197737" y="231943"/>
                  <a:pt x="198578" y="240498"/>
                  <a:pt x="198972" y="249680"/>
                </a:cubicBezTo>
                <a:cubicBezTo>
                  <a:pt x="199023" y="252674"/>
                  <a:pt x="199521" y="255040"/>
                  <a:pt x="199949" y="258553"/>
                </a:cubicBezTo>
                <a:cubicBezTo>
                  <a:pt x="200695" y="266443"/>
                  <a:pt x="201512" y="273186"/>
                  <a:pt x="201912" y="280418"/>
                </a:cubicBezTo>
                <a:cubicBezTo>
                  <a:pt x="201915" y="282431"/>
                  <a:pt x="202335" y="283954"/>
                  <a:pt x="202686" y="286632"/>
                </a:cubicBezTo>
                <a:cubicBezTo>
                  <a:pt x="203420" y="294511"/>
                  <a:pt x="204221" y="301235"/>
                  <a:pt x="204600" y="308453"/>
                </a:cubicBezTo>
                <a:cubicBezTo>
                  <a:pt x="204617" y="310478"/>
                  <a:pt x="205056" y="312010"/>
                  <a:pt x="205443" y="314650"/>
                </a:cubicBezTo>
                <a:cubicBezTo>
                  <a:pt x="206209" y="321575"/>
                  <a:pt x="207026" y="327392"/>
                  <a:pt x="207431" y="333707"/>
                </a:cubicBezTo>
                <a:cubicBezTo>
                  <a:pt x="207477" y="335726"/>
                  <a:pt x="207935" y="337248"/>
                  <a:pt x="208345" y="339842"/>
                </a:cubicBezTo>
                <a:cubicBezTo>
                  <a:pt x="209075" y="345825"/>
                  <a:pt x="209853" y="350735"/>
                  <a:pt x="210218" y="356144"/>
                </a:cubicBezTo>
                <a:cubicBezTo>
                  <a:pt x="210268" y="358165"/>
                  <a:pt x="210732" y="359689"/>
                  <a:pt x="211157" y="362375"/>
                </a:cubicBezTo>
                <a:cubicBezTo>
                  <a:pt x="212820" y="374932"/>
                  <a:pt x="214522" y="386326"/>
                  <a:pt x="215820" y="398224"/>
                </a:cubicBezTo>
                <a:cubicBezTo>
                  <a:pt x="215896" y="400245"/>
                  <a:pt x="216376" y="401761"/>
                  <a:pt x="216821" y="404425"/>
                </a:cubicBezTo>
                <a:cubicBezTo>
                  <a:pt x="219381" y="420620"/>
                  <a:pt x="221974" y="435667"/>
                  <a:pt x="224187" y="451440"/>
                </a:cubicBezTo>
                <a:cubicBezTo>
                  <a:pt x="224310" y="453633"/>
                  <a:pt x="224814" y="455099"/>
                  <a:pt x="225295" y="457691"/>
                </a:cubicBezTo>
                <a:cubicBezTo>
                  <a:pt x="225916" y="461722"/>
                  <a:pt x="226560" y="464628"/>
                  <a:pt x="226831" y="468268"/>
                </a:cubicBezTo>
                <a:cubicBezTo>
                  <a:pt x="227002" y="470469"/>
                  <a:pt x="227545" y="471935"/>
                  <a:pt x="228069" y="474360"/>
                </a:cubicBezTo>
                <a:cubicBezTo>
                  <a:pt x="228757" y="478435"/>
                  <a:pt x="229465" y="481551"/>
                  <a:pt x="229778" y="485181"/>
                </a:cubicBezTo>
                <a:cubicBezTo>
                  <a:pt x="229895" y="487205"/>
                  <a:pt x="230405" y="488717"/>
                  <a:pt x="230932" y="491348"/>
                </a:cubicBezTo>
                <a:cubicBezTo>
                  <a:pt x="233462" y="505758"/>
                  <a:pt x="235976" y="519047"/>
                  <a:pt x="238095" y="532855"/>
                </a:cubicBezTo>
                <a:cubicBezTo>
                  <a:pt x="238266" y="534884"/>
                  <a:pt x="238832" y="536393"/>
                  <a:pt x="239424" y="539021"/>
                </a:cubicBezTo>
                <a:cubicBezTo>
                  <a:pt x="243794" y="561754"/>
                  <a:pt x="248139" y="583369"/>
                  <a:pt x="252120" y="605725"/>
                </a:cubicBezTo>
                <a:cubicBezTo>
                  <a:pt x="252314" y="607922"/>
                  <a:pt x="252872" y="609379"/>
                  <a:pt x="253460" y="611945"/>
                </a:cubicBezTo>
                <a:cubicBezTo>
                  <a:pt x="255190" y="621757"/>
                  <a:pt x="256700" y="630501"/>
                  <a:pt x="258622" y="639154"/>
                </a:cubicBezTo>
                <a:cubicBezTo>
                  <a:pt x="267724" y="680139"/>
                  <a:pt x="276939" y="721098"/>
                  <a:pt x="285765" y="762817"/>
                </a:cubicBezTo>
                <a:cubicBezTo>
                  <a:pt x="286023" y="765009"/>
                  <a:pt x="286629" y="766448"/>
                  <a:pt x="287284" y="768970"/>
                </a:cubicBezTo>
                <a:cubicBezTo>
                  <a:pt x="306160" y="852474"/>
                  <a:pt x="325237" y="934833"/>
                  <a:pt x="351792" y="1017474"/>
                </a:cubicBezTo>
                <a:cubicBezTo>
                  <a:pt x="335905" y="1017474"/>
                  <a:pt x="322480" y="1017474"/>
                  <a:pt x="308062" y="1016918"/>
                </a:cubicBezTo>
                <a:cubicBezTo>
                  <a:pt x="285165" y="1016306"/>
                  <a:pt x="263261" y="1016166"/>
                  <a:pt x="241358" y="1016276"/>
                </a:cubicBezTo>
                <a:cubicBezTo>
                  <a:pt x="237751" y="1016294"/>
                  <a:pt x="234149" y="1017408"/>
                  <a:pt x="229231" y="1017881"/>
                </a:cubicBezTo>
                <a:cubicBezTo>
                  <a:pt x="152375" y="1018399"/>
                  <a:pt x="76832" y="1019051"/>
                  <a:pt x="0" y="1019714"/>
                </a:cubicBezTo>
                <a:cubicBezTo>
                  <a:pt x="0" y="1004040"/>
                  <a:pt x="0" y="989705"/>
                  <a:pt x="0" y="975370"/>
                </a:cubicBezTo>
                <a:close/>
              </a:path>
            </a:pathLst>
          </a:custGeom>
          <a:solidFill>
            <a:srgbClr val="FEFEFD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30" name="Free-form: Shape 29">
            <a:extLst>
              <a:ext uri="{FF2B5EF4-FFF2-40B4-BE49-F238E27FC236}">
                <a16:creationId xmlns:a16="http://schemas.microsoft.com/office/drawing/2014/main" id="{87F6CCC1-E064-1B7A-7904-EC4A250CE296}"/>
              </a:ext>
            </a:extLst>
          </p:cNvPr>
          <p:cNvSpPr/>
          <p:nvPr/>
        </p:nvSpPr>
        <p:spPr>
          <a:xfrm>
            <a:off x="1132298" y="5085366"/>
            <a:ext cx="238001" cy="163404"/>
          </a:xfrm>
          <a:custGeom>
            <a:avLst/>
            <a:gdLst>
              <a:gd name="csX0" fmla="*/ 344821 w 572791"/>
              <a:gd name="csY0" fmla="*/ 351014 h 357509"/>
              <a:gd name="csX1" fmla="*/ 0 w 572791"/>
              <a:gd name="csY1" fmla="*/ 355669 h 357509"/>
              <a:gd name="csX2" fmla="*/ 1306 w 572791"/>
              <a:gd name="csY2" fmla="*/ 18915 h 357509"/>
              <a:gd name="csX3" fmla="*/ 12212 w 572791"/>
              <a:gd name="csY3" fmla="*/ 17740 h 357509"/>
              <a:gd name="csX4" fmla="*/ 132738 w 572791"/>
              <a:gd name="csY4" fmla="*/ 15715 h 357509"/>
              <a:gd name="csX5" fmla="*/ 364924 w 572791"/>
              <a:gd name="csY5" fmla="*/ 2198 h 357509"/>
              <a:gd name="csX6" fmla="*/ 402207 w 572791"/>
              <a:gd name="csY6" fmla="*/ 0 h 357509"/>
              <a:gd name="csX7" fmla="*/ 403816 w 572791"/>
              <a:gd name="csY7" fmla="*/ 4817 h 357509"/>
              <a:gd name="csX8" fmla="*/ 443486 w 572791"/>
              <a:gd name="csY8" fmla="*/ 95035 h 357509"/>
              <a:gd name="csX9" fmla="*/ 503695 w 572791"/>
              <a:gd name="csY9" fmla="*/ 157671 h 357509"/>
              <a:gd name="csX10" fmla="*/ 544964 w 572791"/>
              <a:gd name="csY10" fmla="*/ 208741 h 357509"/>
              <a:gd name="csX11" fmla="*/ 572752 w 572791"/>
              <a:gd name="csY11" fmla="*/ 314190 h 357509"/>
              <a:gd name="csX12" fmla="*/ 571373 w 572791"/>
              <a:gd name="csY12" fmla="*/ 324914 h 357509"/>
              <a:gd name="csX13" fmla="*/ 344821 w 572791"/>
              <a:gd name="csY13" fmla="*/ 351014 h 35750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</a:cxnLst>
            <a:rect l="l" t="t" r="r" b="b"/>
            <a:pathLst>
              <a:path w="572791" h="357509">
                <a:moveTo>
                  <a:pt x="344821" y="351014"/>
                </a:moveTo>
                <a:cubicBezTo>
                  <a:pt x="229704" y="359270"/>
                  <a:pt x="115810" y="358215"/>
                  <a:pt x="0" y="355669"/>
                </a:cubicBezTo>
                <a:cubicBezTo>
                  <a:pt x="6641" y="242789"/>
                  <a:pt x="11423" y="131403"/>
                  <a:pt x="1306" y="18915"/>
                </a:cubicBezTo>
                <a:cubicBezTo>
                  <a:pt x="5142" y="18486"/>
                  <a:pt x="8671" y="17803"/>
                  <a:pt x="12212" y="17740"/>
                </a:cubicBezTo>
                <a:cubicBezTo>
                  <a:pt x="52386" y="17019"/>
                  <a:pt x="92565" y="16532"/>
                  <a:pt x="132738" y="15715"/>
                </a:cubicBezTo>
                <a:cubicBezTo>
                  <a:pt x="210300" y="14136"/>
                  <a:pt x="287658" y="8969"/>
                  <a:pt x="364924" y="2198"/>
                </a:cubicBezTo>
                <a:cubicBezTo>
                  <a:pt x="377346" y="1110"/>
                  <a:pt x="389829" y="713"/>
                  <a:pt x="402207" y="0"/>
                </a:cubicBezTo>
                <a:cubicBezTo>
                  <a:pt x="402989" y="2261"/>
                  <a:pt x="403828" y="3543"/>
                  <a:pt x="403816" y="4817"/>
                </a:cubicBezTo>
                <a:cubicBezTo>
                  <a:pt x="403458" y="40866"/>
                  <a:pt x="420668" y="69493"/>
                  <a:pt x="443486" y="95035"/>
                </a:cubicBezTo>
                <a:cubicBezTo>
                  <a:pt x="462767" y="116618"/>
                  <a:pt x="484228" y="136244"/>
                  <a:pt x="503695" y="157671"/>
                </a:cubicBezTo>
                <a:cubicBezTo>
                  <a:pt x="518401" y="173858"/>
                  <a:pt x="532941" y="190557"/>
                  <a:pt x="544964" y="208741"/>
                </a:cubicBezTo>
                <a:cubicBezTo>
                  <a:pt x="565917" y="240429"/>
                  <a:pt x="573411" y="276430"/>
                  <a:pt x="572752" y="314190"/>
                </a:cubicBezTo>
                <a:cubicBezTo>
                  <a:pt x="572696" y="317365"/>
                  <a:pt x="571957" y="320529"/>
                  <a:pt x="571373" y="324914"/>
                </a:cubicBezTo>
                <a:cubicBezTo>
                  <a:pt x="496226" y="334583"/>
                  <a:pt x="421404" y="344621"/>
                  <a:pt x="344821" y="351014"/>
                </a:cubicBezTo>
                <a:close/>
              </a:path>
            </a:pathLst>
          </a:custGeom>
          <a:solidFill>
            <a:srgbClr val="FEFEFD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31" name="Free-form: Shape 30">
            <a:extLst>
              <a:ext uri="{FF2B5EF4-FFF2-40B4-BE49-F238E27FC236}">
                <a16:creationId xmlns:a16="http://schemas.microsoft.com/office/drawing/2014/main" id="{992AF66B-FFD2-F0E6-5D13-A9E4685C69E2}"/>
              </a:ext>
            </a:extLst>
          </p:cNvPr>
          <p:cNvSpPr/>
          <p:nvPr/>
        </p:nvSpPr>
        <p:spPr>
          <a:xfrm>
            <a:off x="1131427" y="5274320"/>
            <a:ext cx="254257" cy="65178"/>
          </a:xfrm>
          <a:custGeom>
            <a:avLst/>
            <a:gdLst>
              <a:gd name="csX0" fmla="*/ 298270 w 611913"/>
              <a:gd name="csY0" fmla="*/ 29215 h 142602"/>
              <a:gd name="csX1" fmla="*/ 512796 w 611913"/>
              <a:gd name="csY1" fmla="*/ 6951 h 142602"/>
              <a:gd name="csX2" fmla="*/ 567029 w 611913"/>
              <a:gd name="csY2" fmla="*/ 256 h 142602"/>
              <a:gd name="csX3" fmla="*/ 586840 w 611913"/>
              <a:gd name="csY3" fmla="*/ 10038 h 142602"/>
              <a:gd name="csX4" fmla="*/ 593324 w 611913"/>
              <a:gd name="csY4" fmla="*/ 20837 h 142602"/>
              <a:gd name="csX5" fmla="*/ 611914 w 611913"/>
              <a:gd name="csY5" fmla="*/ 96596 h 142602"/>
              <a:gd name="csX6" fmla="*/ 598468 w 611913"/>
              <a:gd name="csY6" fmla="*/ 100799 h 142602"/>
              <a:gd name="csX7" fmla="*/ 410669 w 611913"/>
              <a:gd name="csY7" fmla="*/ 132209 h 142602"/>
              <a:gd name="csX8" fmla="*/ 125026 w 611913"/>
              <a:gd name="csY8" fmla="*/ 141814 h 142602"/>
              <a:gd name="csX9" fmla="*/ 11546 w 611913"/>
              <a:gd name="csY9" fmla="*/ 137848 h 142602"/>
              <a:gd name="csX10" fmla="*/ 0 w 611913"/>
              <a:gd name="csY10" fmla="*/ 136841 h 142602"/>
              <a:gd name="csX11" fmla="*/ 6226 w 611913"/>
              <a:gd name="csY11" fmla="*/ 34049 h 142602"/>
              <a:gd name="csX12" fmla="*/ 25148 w 611913"/>
              <a:gd name="csY12" fmla="*/ 34049 h 142602"/>
              <a:gd name="csX13" fmla="*/ 203168 w 611913"/>
              <a:gd name="csY13" fmla="*/ 33784 h 142602"/>
              <a:gd name="csX14" fmla="*/ 298270 w 611913"/>
              <a:gd name="csY14" fmla="*/ 29215 h 14260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</a:cxnLst>
            <a:rect l="l" t="t" r="r" b="b"/>
            <a:pathLst>
              <a:path w="611913" h="142602">
                <a:moveTo>
                  <a:pt x="298270" y="29215"/>
                </a:moveTo>
                <a:cubicBezTo>
                  <a:pt x="370954" y="24666"/>
                  <a:pt x="441996" y="17008"/>
                  <a:pt x="512796" y="6951"/>
                </a:cubicBezTo>
                <a:cubicBezTo>
                  <a:pt x="530827" y="4390"/>
                  <a:pt x="548992" y="2783"/>
                  <a:pt x="567029" y="256"/>
                </a:cubicBezTo>
                <a:cubicBezTo>
                  <a:pt x="576202" y="-1030"/>
                  <a:pt x="582311" y="2575"/>
                  <a:pt x="586840" y="10038"/>
                </a:cubicBezTo>
                <a:cubicBezTo>
                  <a:pt x="589020" y="13630"/>
                  <a:pt x="591618" y="17033"/>
                  <a:pt x="593324" y="20837"/>
                </a:cubicBezTo>
                <a:cubicBezTo>
                  <a:pt x="603952" y="44539"/>
                  <a:pt x="608111" y="69801"/>
                  <a:pt x="611914" y="96596"/>
                </a:cubicBezTo>
                <a:cubicBezTo>
                  <a:pt x="607052" y="98130"/>
                  <a:pt x="602824" y="99720"/>
                  <a:pt x="598468" y="100799"/>
                </a:cubicBezTo>
                <a:cubicBezTo>
                  <a:pt x="536680" y="116108"/>
                  <a:pt x="473961" y="125773"/>
                  <a:pt x="410669" y="132209"/>
                </a:cubicBezTo>
                <a:cubicBezTo>
                  <a:pt x="315660" y="141870"/>
                  <a:pt x="220411" y="144010"/>
                  <a:pt x="125026" y="141814"/>
                </a:cubicBezTo>
                <a:cubicBezTo>
                  <a:pt x="87189" y="140943"/>
                  <a:pt x="49371" y="139223"/>
                  <a:pt x="11546" y="137848"/>
                </a:cubicBezTo>
                <a:cubicBezTo>
                  <a:pt x="8331" y="137731"/>
                  <a:pt x="5128" y="137299"/>
                  <a:pt x="0" y="136841"/>
                </a:cubicBezTo>
                <a:cubicBezTo>
                  <a:pt x="917" y="102718"/>
                  <a:pt x="4600" y="69125"/>
                  <a:pt x="6226" y="34049"/>
                </a:cubicBezTo>
                <a:cubicBezTo>
                  <a:pt x="13237" y="34049"/>
                  <a:pt x="19192" y="34051"/>
                  <a:pt x="25148" y="34049"/>
                </a:cubicBezTo>
                <a:cubicBezTo>
                  <a:pt x="84488" y="34030"/>
                  <a:pt x="143836" y="34519"/>
                  <a:pt x="203168" y="33784"/>
                </a:cubicBezTo>
                <a:cubicBezTo>
                  <a:pt x="234447" y="33397"/>
                  <a:pt x="265701" y="30872"/>
                  <a:pt x="298270" y="29215"/>
                </a:cubicBezTo>
                <a:close/>
              </a:path>
            </a:pathLst>
          </a:custGeom>
          <a:solidFill>
            <a:srgbClr val="FEFDFB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32" name="Free-form: Shape 31">
            <a:extLst>
              <a:ext uri="{FF2B5EF4-FFF2-40B4-BE49-F238E27FC236}">
                <a16:creationId xmlns:a16="http://schemas.microsoft.com/office/drawing/2014/main" id="{B6F8BB31-7C37-5D9A-1B64-B1D3EBA5F961}"/>
              </a:ext>
            </a:extLst>
          </p:cNvPr>
          <p:cNvSpPr/>
          <p:nvPr/>
        </p:nvSpPr>
        <p:spPr>
          <a:xfrm>
            <a:off x="1140144" y="4522388"/>
            <a:ext cx="128174" cy="32430"/>
          </a:xfrm>
          <a:custGeom>
            <a:avLst/>
            <a:gdLst>
              <a:gd name="csX0" fmla="*/ 113686 w 308472"/>
              <a:gd name="csY0" fmla="*/ 4708 h 70954"/>
              <a:gd name="csX1" fmla="*/ 238304 w 308472"/>
              <a:gd name="csY1" fmla="*/ 79 h 70954"/>
              <a:gd name="csX2" fmla="*/ 293684 w 308472"/>
              <a:gd name="csY2" fmla="*/ 16423 h 70954"/>
              <a:gd name="csX3" fmla="*/ 308469 w 308472"/>
              <a:gd name="csY3" fmla="*/ 46566 h 70954"/>
              <a:gd name="csX4" fmla="*/ 296679 w 308472"/>
              <a:gd name="csY4" fmla="*/ 60539 h 70954"/>
              <a:gd name="csX5" fmla="*/ 281393 w 308472"/>
              <a:gd name="csY5" fmla="*/ 62359 h 70954"/>
              <a:gd name="csX6" fmla="*/ 13891 w 308472"/>
              <a:gd name="csY6" fmla="*/ 70892 h 70954"/>
              <a:gd name="csX7" fmla="*/ 0 w 308472"/>
              <a:gd name="csY7" fmla="*/ 70909 h 70954"/>
              <a:gd name="csX8" fmla="*/ 4414 w 308472"/>
              <a:gd name="csY8" fmla="*/ 8877 h 70954"/>
              <a:gd name="csX9" fmla="*/ 59085 w 308472"/>
              <a:gd name="csY9" fmla="*/ 6769 h 70954"/>
              <a:gd name="csX10" fmla="*/ 113686 w 308472"/>
              <a:gd name="csY10" fmla="*/ 4708 h 7095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</a:cxnLst>
            <a:rect l="l" t="t" r="r" b="b"/>
            <a:pathLst>
              <a:path w="308472" h="70954">
                <a:moveTo>
                  <a:pt x="113686" y="4708"/>
                </a:moveTo>
                <a:cubicBezTo>
                  <a:pt x="156156" y="3151"/>
                  <a:pt x="197235" y="1744"/>
                  <a:pt x="238304" y="79"/>
                </a:cubicBezTo>
                <a:cubicBezTo>
                  <a:pt x="258693" y="-748"/>
                  <a:pt x="277061" y="4922"/>
                  <a:pt x="293684" y="16423"/>
                </a:cubicBezTo>
                <a:cubicBezTo>
                  <a:pt x="304119" y="23641"/>
                  <a:pt x="308615" y="34077"/>
                  <a:pt x="308469" y="46566"/>
                </a:cubicBezTo>
                <a:cubicBezTo>
                  <a:pt x="308355" y="56359"/>
                  <a:pt x="306312" y="58808"/>
                  <a:pt x="296679" y="60539"/>
                </a:cubicBezTo>
                <a:cubicBezTo>
                  <a:pt x="291635" y="61446"/>
                  <a:pt x="286506" y="62192"/>
                  <a:pt x="281393" y="62359"/>
                </a:cubicBezTo>
                <a:cubicBezTo>
                  <a:pt x="192228" y="65269"/>
                  <a:pt x="103059" y="68083"/>
                  <a:pt x="13891" y="70892"/>
                </a:cubicBezTo>
                <a:cubicBezTo>
                  <a:pt x="9772" y="71022"/>
                  <a:pt x="5645" y="70909"/>
                  <a:pt x="0" y="70909"/>
                </a:cubicBezTo>
                <a:cubicBezTo>
                  <a:pt x="1487" y="50015"/>
                  <a:pt x="2892" y="30265"/>
                  <a:pt x="4414" y="8877"/>
                </a:cubicBezTo>
                <a:cubicBezTo>
                  <a:pt x="23034" y="7159"/>
                  <a:pt x="41075" y="7283"/>
                  <a:pt x="59085" y="6769"/>
                </a:cubicBezTo>
                <a:cubicBezTo>
                  <a:pt x="76825" y="6262"/>
                  <a:pt x="94556" y="5438"/>
                  <a:pt x="113686" y="4708"/>
                </a:cubicBezTo>
                <a:close/>
              </a:path>
            </a:pathLst>
          </a:custGeom>
          <a:solidFill>
            <a:srgbClr val="FEFDFB"/>
          </a:solidFill>
          <a:ln w="1401" cap="flat">
            <a:noFill/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33" name="Free-form: Shape 32">
            <a:extLst>
              <a:ext uri="{FF2B5EF4-FFF2-40B4-BE49-F238E27FC236}">
                <a16:creationId xmlns:a16="http://schemas.microsoft.com/office/drawing/2014/main" id="{D6DB3B85-82C5-C11A-0DD2-BD3C7E62D9BF}"/>
              </a:ext>
            </a:extLst>
          </p:cNvPr>
          <p:cNvSpPr/>
          <p:nvPr/>
        </p:nvSpPr>
        <p:spPr>
          <a:xfrm>
            <a:off x="1132453" y="4129845"/>
            <a:ext cx="158898" cy="270313"/>
          </a:xfrm>
          <a:custGeom>
            <a:avLst/>
            <a:gdLst>
              <a:gd name="csX0" fmla="*/ 14188 w 382415"/>
              <a:gd name="csY0" fmla="*/ 447946 h 591415"/>
              <a:gd name="csX1" fmla="*/ 12298 w 382415"/>
              <a:gd name="csY1" fmla="*/ 381038 h 591415"/>
              <a:gd name="csX2" fmla="*/ 11200 w 382415"/>
              <a:gd name="csY2" fmla="*/ 363835 h 591415"/>
              <a:gd name="csX3" fmla="*/ 9378 w 382415"/>
              <a:gd name="csY3" fmla="*/ 305508 h 591415"/>
              <a:gd name="csX4" fmla="*/ 8516 w 382415"/>
              <a:gd name="csY4" fmla="*/ 296482 h 591415"/>
              <a:gd name="csX5" fmla="*/ 6728 w 382415"/>
              <a:gd name="csY5" fmla="*/ 223958 h 591415"/>
              <a:gd name="csX6" fmla="*/ 5645 w 382415"/>
              <a:gd name="csY6" fmla="*/ 206735 h 591415"/>
              <a:gd name="csX7" fmla="*/ 3964 w 382415"/>
              <a:gd name="csY7" fmla="*/ 137053 h 591415"/>
              <a:gd name="csX8" fmla="*/ 2902 w 382415"/>
              <a:gd name="csY8" fmla="*/ 122565 h 591415"/>
              <a:gd name="csX9" fmla="*/ 1011 w 382415"/>
              <a:gd name="csY9" fmla="*/ 47301 h 591415"/>
              <a:gd name="csX10" fmla="*/ 20 w 382415"/>
              <a:gd name="csY10" fmla="*/ 32821 h 591415"/>
              <a:gd name="csX11" fmla="*/ 512 w 382415"/>
              <a:gd name="csY11" fmla="*/ 4394 h 591415"/>
              <a:gd name="csX12" fmla="*/ 2417 w 382415"/>
              <a:gd name="csY12" fmla="*/ 1592 h 591415"/>
              <a:gd name="csX13" fmla="*/ 115794 w 382415"/>
              <a:gd name="csY13" fmla="*/ 4 h 591415"/>
              <a:gd name="csX14" fmla="*/ 162265 w 382415"/>
              <a:gd name="csY14" fmla="*/ 2117 h 591415"/>
              <a:gd name="csX15" fmla="*/ 168630 w 382415"/>
              <a:gd name="csY15" fmla="*/ 1773 h 591415"/>
              <a:gd name="csX16" fmla="*/ 314663 w 382415"/>
              <a:gd name="csY16" fmla="*/ 18731 h 591415"/>
              <a:gd name="csX17" fmla="*/ 367127 w 382415"/>
              <a:gd name="csY17" fmla="*/ 32924 h 591415"/>
              <a:gd name="csX18" fmla="*/ 382384 w 382415"/>
              <a:gd name="csY18" fmla="*/ 56466 h 591415"/>
              <a:gd name="csX19" fmla="*/ 368394 w 382415"/>
              <a:gd name="csY19" fmla="*/ 120544 h 591415"/>
              <a:gd name="csX20" fmla="*/ 314675 w 382415"/>
              <a:gd name="csY20" fmla="*/ 270961 h 591415"/>
              <a:gd name="csX21" fmla="*/ 213644 w 382415"/>
              <a:gd name="csY21" fmla="*/ 563667 h 591415"/>
              <a:gd name="csX22" fmla="*/ 205897 w 382415"/>
              <a:gd name="csY22" fmla="*/ 585758 h 591415"/>
              <a:gd name="csX23" fmla="*/ 138249 w 382415"/>
              <a:gd name="csY23" fmla="*/ 587362 h 591415"/>
              <a:gd name="csX24" fmla="*/ 118197 w 382415"/>
              <a:gd name="csY24" fmla="*/ 588344 h 591415"/>
              <a:gd name="csX25" fmla="*/ 59707 w 382415"/>
              <a:gd name="csY25" fmla="*/ 590000 h 591415"/>
              <a:gd name="csX26" fmla="*/ 42516 w 382415"/>
              <a:gd name="csY26" fmla="*/ 591416 h 591415"/>
              <a:gd name="csX27" fmla="*/ 20811 w 382415"/>
              <a:gd name="csY27" fmla="*/ 591416 h 591415"/>
              <a:gd name="csX28" fmla="*/ 17902 w 382415"/>
              <a:gd name="csY28" fmla="*/ 546518 h 591415"/>
              <a:gd name="csX29" fmla="*/ 16779 w 382415"/>
              <a:gd name="csY29" fmla="*/ 526538 h 591415"/>
              <a:gd name="csX30" fmla="*/ 15163 w 382415"/>
              <a:gd name="csY30" fmla="*/ 459741 h 591415"/>
              <a:gd name="csX31" fmla="*/ 14188 w 382415"/>
              <a:gd name="csY31" fmla="*/ 447946 h 59141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</a:cxnLst>
            <a:rect l="l" t="t" r="r" b="b"/>
            <a:pathLst>
              <a:path w="382415" h="591415">
                <a:moveTo>
                  <a:pt x="14188" y="447946"/>
                </a:moveTo>
                <a:cubicBezTo>
                  <a:pt x="13448" y="426344"/>
                  <a:pt x="12708" y="404741"/>
                  <a:pt x="12298" y="381038"/>
                </a:cubicBezTo>
                <a:cubicBezTo>
                  <a:pt x="12152" y="373904"/>
                  <a:pt x="11676" y="368869"/>
                  <a:pt x="11200" y="363835"/>
                </a:cubicBezTo>
                <a:cubicBezTo>
                  <a:pt x="10498" y="345020"/>
                  <a:pt x="9796" y="326206"/>
                  <a:pt x="9378" y="305508"/>
                </a:cubicBezTo>
                <a:cubicBezTo>
                  <a:pt x="9280" y="301244"/>
                  <a:pt x="8898" y="298863"/>
                  <a:pt x="8516" y="296482"/>
                </a:cubicBezTo>
                <a:cubicBezTo>
                  <a:pt x="7809" y="273008"/>
                  <a:pt x="7102" y="249535"/>
                  <a:pt x="6728" y="223958"/>
                </a:cubicBezTo>
                <a:cubicBezTo>
                  <a:pt x="6589" y="216815"/>
                  <a:pt x="6117" y="211775"/>
                  <a:pt x="5645" y="206735"/>
                </a:cubicBezTo>
                <a:cubicBezTo>
                  <a:pt x="4976" y="184187"/>
                  <a:pt x="4307" y="161639"/>
                  <a:pt x="3964" y="137053"/>
                </a:cubicBezTo>
                <a:cubicBezTo>
                  <a:pt x="3828" y="130865"/>
                  <a:pt x="3365" y="126715"/>
                  <a:pt x="2902" y="122565"/>
                </a:cubicBezTo>
                <a:cubicBezTo>
                  <a:pt x="2158" y="98167"/>
                  <a:pt x="1414" y="73768"/>
                  <a:pt x="1011" y="47301"/>
                </a:cubicBezTo>
                <a:cubicBezTo>
                  <a:pt x="908" y="41095"/>
                  <a:pt x="464" y="36958"/>
                  <a:pt x="20" y="32821"/>
                </a:cubicBezTo>
                <a:cubicBezTo>
                  <a:pt x="-19" y="23766"/>
                  <a:pt x="-59" y="14711"/>
                  <a:pt x="512" y="4394"/>
                </a:cubicBezTo>
                <a:cubicBezTo>
                  <a:pt x="1883" y="2894"/>
                  <a:pt x="2314" y="2381"/>
                  <a:pt x="2417" y="1592"/>
                </a:cubicBezTo>
                <a:cubicBezTo>
                  <a:pt x="40209" y="1024"/>
                  <a:pt x="78000" y="223"/>
                  <a:pt x="115794" y="4"/>
                </a:cubicBezTo>
                <a:cubicBezTo>
                  <a:pt x="130708" y="-82"/>
                  <a:pt x="145630" y="1128"/>
                  <a:pt x="162265" y="2117"/>
                </a:cubicBezTo>
                <a:cubicBezTo>
                  <a:pt x="165531" y="2247"/>
                  <a:pt x="167081" y="2010"/>
                  <a:pt x="168630" y="1773"/>
                </a:cubicBezTo>
                <a:cubicBezTo>
                  <a:pt x="217325" y="7297"/>
                  <a:pt x="266121" y="12088"/>
                  <a:pt x="314663" y="18731"/>
                </a:cubicBezTo>
                <a:cubicBezTo>
                  <a:pt x="332471" y="21168"/>
                  <a:pt x="349777" y="27666"/>
                  <a:pt x="367127" y="32924"/>
                </a:cubicBezTo>
                <a:cubicBezTo>
                  <a:pt x="378391" y="36339"/>
                  <a:pt x="382842" y="44413"/>
                  <a:pt x="382384" y="56466"/>
                </a:cubicBezTo>
                <a:cubicBezTo>
                  <a:pt x="381538" y="78749"/>
                  <a:pt x="375716" y="99822"/>
                  <a:pt x="368394" y="120544"/>
                </a:cubicBezTo>
                <a:cubicBezTo>
                  <a:pt x="350655" y="170742"/>
                  <a:pt x="332173" y="220680"/>
                  <a:pt x="314675" y="270961"/>
                </a:cubicBezTo>
                <a:cubicBezTo>
                  <a:pt x="280751" y="368444"/>
                  <a:pt x="247300" y="466091"/>
                  <a:pt x="213644" y="563667"/>
                </a:cubicBezTo>
                <a:cubicBezTo>
                  <a:pt x="211232" y="570661"/>
                  <a:pt x="208750" y="577629"/>
                  <a:pt x="205897" y="585758"/>
                </a:cubicBezTo>
                <a:cubicBezTo>
                  <a:pt x="184079" y="586417"/>
                  <a:pt x="162247" y="587077"/>
                  <a:pt x="138249" y="587362"/>
                </a:cubicBezTo>
                <a:cubicBezTo>
                  <a:pt x="130120" y="587439"/>
                  <a:pt x="124159" y="587891"/>
                  <a:pt x="118197" y="588344"/>
                </a:cubicBezTo>
                <a:cubicBezTo>
                  <a:pt x="99397" y="589004"/>
                  <a:pt x="80596" y="589663"/>
                  <a:pt x="59707" y="590000"/>
                </a:cubicBezTo>
                <a:cubicBezTo>
                  <a:pt x="52584" y="590258"/>
                  <a:pt x="47550" y="590837"/>
                  <a:pt x="42516" y="591416"/>
                </a:cubicBezTo>
                <a:cubicBezTo>
                  <a:pt x="35565" y="591416"/>
                  <a:pt x="28614" y="591416"/>
                  <a:pt x="20811" y="591416"/>
                </a:cubicBezTo>
                <a:cubicBezTo>
                  <a:pt x="16891" y="577297"/>
                  <a:pt x="18678" y="562841"/>
                  <a:pt x="17902" y="546518"/>
                </a:cubicBezTo>
                <a:cubicBezTo>
                  <a:pt x="17764" y="538425"/>
                  <a:pt x="17271" y="532482"/>
                  <a:pt x="16779" y="526538"/>
                </a:cubicBezTo>
                <a:cubicBezTo>
                  <a:pt x="16131" y="504937"/>
                  <a:pt x="15482" y="483336"/>
                  <a:pt x="15163" y="459741"/>
                </a:cubicBezTo>
                <a:cubicBezTo>
                  <a:pt x="15057" y="454480"/>
                  <a:pt x="14622" y="451213"/>
                  <a:pt x="14188" y="447946"/>
                </a:cubicBezTo>
                <a:close/>
              </a:path>
            </a:pathLst>
          </a:custGeom>
          <a:solidFill>
            <a:srgbClr val="FEFEFD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34" name="Free-form: Shape 33">
            <a:extLst>
              <a:ext uri="{FF2B5EF4-FFF2-40B4-BE49-F238E27FC236}">
                <a16:creationId xmlns:a16="http://schemas.microsoft.com/office/drawing/2014/main" id="{AC1EF4CB-D977-B4A0-A478-A9619B7B9BB5}"/>
              </a:ext>
            </a:extLst>
          </p:cNvPr>
          <p:cNvSpPr/>
          <p:nvPr/>
        </p:nvSpPr>
        <p:spPr>
          <a:xfrm>
            <a:off x="1140482" y="4434485"/>
            <a:ext cx="98348" cy="61517"/>
          </a:xfrm>
          <a:custGeom>
            <a:avLst/>
            <a:gdLst>
              <a:gd name="csX0" fmla="*/ 105130 w 236692"/>
              <a:gd name="csY0" fmla="*/ 130054 h 134592"/>
              <a:gd name="csX1" fmla="*/ 4609 w 236692"/>
              <a:gd name="csY1" fmla="*/ 134592 h 134592"/>
              <a:gd name="csX2" fmla="*/ 3775 w 236692"/>
              <a:gd name="csY2" fmla="*/ 121667 h 134592"/>
              <a:gd name="csX3" fmla="*/ 3868 w 236692"/>
              <a:gd name="csY3" fmla="*/ 51573 h 134592"/>
              <a:gd name="csX4" fmla="*/ 0 w 236692"/>
              <a:gd name="csY4" fmla="*/ 9673 h 134592"/>
              <a:gd name="csX5" fmla="*/ 184850 w 236692"/>
              <a:gd name="csY5" fmla="*/ 471 h 134592"/>
              <a:gd name="csX6" fmla="*/ 185564 w 236692"/>
              <a:gd name="csY6" fmla="*/ 15071 h 134592"/>
              <a:gd name="csX7" fmla="*/ 204819 w 236692"/>
              <a:gd name="csY7" fmla="*/ 54944 h 134592"/>
              <a:gd name="csX8" fmla="*/ 236693 w 236692"/>
              <a:gd name="csY8" fmla="*/ 123534 h 134592"/>
              <a:gd name="csX9" fmla="*/ 170865 w 236692"/>
              <a:gd name="csY9" fmla="*/ 126995 h 134592"/>
              <a:gd name="csX10" fmla="*/ 105130 w 236692"/>
              <a:gd name="csY10" fmla="*/ 130054 h 13459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</a:cxnLst>
            <a:rect l="l" t="t" r="r" b="b"/>
            <a:pathLst>
              <a:path w="236692" h="134592">
                <a:moveTo>
                  <a:pt x="105130" y="130054"/>
                </a:moveTo>
                <a:cubicBezTo>
                  <a:pt x="71180" y="131586"/>
                  <a:pt x="38558" y="133059"/>
                  <a:pt x="4609" y="134592"/>
                </a:cubicBezTo>
                <a:cubicBezTo>
                  <a:pt x="4277" y="129680"/>
                  <a:pt x="3770" y="125673"/>
                  <a:pt x="3775" y="121667"/>
                </a:cubicBezTo>
                <a:cubicBezTo>
                  <a:pt x="3800" y="98301"/>
                  <a:pt x="4430" y="74923"/>
                  <a:pt x="3868" y="51573"/>
                </a:cubicBezTo>
                <a:cubicBezTo>
                  <a:pt x="3536" y="37759"/>
                  <a:pt x="1384" y="23989"/>
                  <a:pt x="0" y="9673"/>
                </a:cubicBezTo>
                <a:cubicBezTo>
                  <a:pt x="9728" y="5925"/>
                  <a:pt x="156314" y="-2008"/>
                  <a:pt x="184850" y="471"/>
                </a:cubicBezTo>
                <a:cubicBezTo>
                  <a:pt x="185096" y="5177"/>
                  <a:pt x="185626" y="10128"/>
                  <a:pt x="185564" y="15071"/>
                </a:cubicBezTo>
                <a:cubicBezTo>
                  <a:pt x="185359" y="31609"/>
                  <a:pt x="191283" y="44787"/>
                  <a:pt x="204819" y="54944"/>
                </a:cubicBezTo>
                <a:cubicBezTo>
                  <a:pt x="227073" y="71641"/>
                  <a:pt x="235149" y="95272"/>
                  <a:pt x="236693" y="123534"/>
                </a:cubicBezTo>
                <a:cubicBezTo>
                  <a:pt x="214423" y="127191"/>
                  <a:pt x="192555" y="125928"/>
                  <a:pt x="170865" y="126995"/>
                </a:cubicBezTo>
                <a:cubicBezTo>
                  <a:pt x="149400" y="128051"/>
                  <a:pt x="127929" y="128999"/>
                  <a:pt x="105130" y="130054"/>
                </a:cubicBezTo>
                <a:close/>
              </a:path>
            </a:pathLst>
          </a:custGeom>
          <a:solidFill>
            <a:srgbClr val="FEFDFB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9" name="Free-form: Shape 8">
            <a:extLst>
              <a:ext uri="{FF2B5EF4-FFF2-40B4-BE49-F238E27FC236}">
                <a16:creationId xmlns:a16="http://schemas.microsoft.com/office/drawing/2014/main" id="{D6217C14-C0BC-C51A-E57B-8A2F0BC126F3}"/>
              </a:ext>
            </a:extLst>
          </p:cNvPr>
          <p:cNvSpPr/>
          <p:nvPr/>
        </p:nvSpPr>
        <p:spPr>
          <a:xfrm>
            <a:off x="-20234" y="2423040"/>
            <a:ext cx="1429088" cy="1583682"/>
          </a:xfrm>
          <a:custGeom>
            <a:avLst/>
            <a:gdLst>
              <a:gd name="csX0" fmla="*/ 703473 w 937252"/>
              <a:gd name="csY0" fmla="*/ 1681077 h 1984002"/>
              <a:gd name="csX1" fmla="*/ 657078 w 937252"/>
              <a:gd name="csY1" fmla="*/ 1946015 h 1984002"/>
              <a:gd name="csX2" fmla="*/ 614294 w 937252"/>
              <a:gd name="csY2" fmla="*/ 1983096 h 1984002"/>
              <a:gd name="csX3" fmla="*/ 3786 w 937252"/>
              <a:gd name="csY3" fmla="*/ 1879180 h 1984002"/>
              <a:gd name="csX4" fmla="*/ 0 w 937252"/>
              <a:gd name="csY4" fmla="*/ 16166 h 1984002"/>
              <a:gd name="csX5" fmla="*/ 58579 w 937252"/>
              <a:gd name="csY5" fmla="*/ 2278 h 1984002"/>
              <a:gd name="csX6" fmla="*/ 877273 w 937252"/>
              <a:gd name="csY6" fmla="*/ 137484 h 1984002"/>
              <a:gd name="csX7" fmla="*/ 936059 w 937252"/>
              <a:gd name="csY7" fmla="*/ 213675 h 1984002"/>
              <a:gd name="csX8" fmla="*/ 927768 w 937252"/>
              <a:gd name="csY8" fmla="*/ 274193 h 1984002"/>
              <a:gd name="csX9" fmla="*/ 720511 w 937252"/>
              <a:gd name="csY9" fmla="*/ 1622918 h 1984002"/>
              <a:gd name="csX10" fmla="*/ 703473 w 937252"/>
              <a:gd name="csY10" fmla="*/ 1681077 h 1984002"/>
              <a:gd name="csX0" fmla="*/ 1656637 w 1890416"/>
              <a:gd name="csY0" fmla="*/ 1797035 h 2099961"/>
              <a:gd name="csX1" fmla="*/ 1610242 w 1890416"/>
              <a:gd name="csY1" fmla="*/ 2061973 h 2099961"/>
              <a:gd name="csX2" fmla="*/ 1567458 w 1890416"/>
              <a:gd name="csY2" fmla="*/ 2099054 h 2099961"/>
              <a:gd name="csX3" fmla="*/ 956950 w 1890416"/>
              <a:gd name="csY3" fmla="*/ 1995138 h 2099961"/>
              <a:gd name="csX4" fmla="*/ 0 w 1890416"/>
              <a:gd name="csY4" fmla="*/ 2722 h 2099961"/>
              <a:gd name="csX5" fmla="*/ 1011743 w 1890416"/>
              <a:gd name="csY5" fmla="*/ 118236 h 2099961"/>
              <a:gd name="csX6" fmla="*/ 1830437 w 1890416"/>
              <a:gd name="csY6" fmla="*/ 253442 h 2099961"/>
              <a:gd name="csX7" fmla="*/ 1889223 w 1890416"/>
              <a:gd name="csY7" fmla="*/ 329633 h 2099961"/>
              <a:gd name="csX8" fmla="*/ 1880932 w 1890416"/>
              <a:gd name="csY8" fmla="*/ 390151 h 2099961"/>
              <a:gd name="csX9" fmla="*/ 1673675 w 1890416"/>
              <a:gd name="csY9" fmla="*/ 1738876 h 2099961"/>
              <a:gd name="csX10" fmla="*/ 1656637 w 1890416"/>
              <a:gd name="csY10" fmla="*/ 1797035 h 2099961"/>
              <a:gd name="csX0" fmla="*/ 1660371 w 1894150"/>
              <a:gd name="csY0" fmla="*/ 1797035 h 2106391"/>
              <a:gd name="csX1" fmla="*/ 1613976 w 1894150"/>
              <a:gd name="csY1" fmla="*/ 2061973 h 2106391"/>
              <a:gd name="csX2" fmla="*/ 1571192 w 1894150"/>
              <a:gd name="csY2" fmla="*/ 2099054 h 2106391"/>
              <a:gd name="csX3" fmla="*/ 1209 w 1894150"/>
              <a:gd name="csY3" fmla="*/ 1925703 h 2106391"/>
              <a:gd name="csX4" fmla="*/ 3734 w 1894150"/>
              <a:gd name="csY4" fmla="*/ 2722 h 2106391"/>
              <a:gd name="csX5" fmla="*/ 1015477 w 1894150"/>
              <a:gd name="csY5" fmla="*/ 118236 h 2106391"/>
              <a:gd name="csX6" fmla="*/ 1834171 w 1894150"/>
              <a:gd name="csY6" fmla="*/ 253442 h 2106391"/>
              <a:gd name="csX7" fmla="*/ 1892957 w 1894150"/>
              <a:gd name="csY7" fmla="*/ 329633 h 2106391"/>
              <a:gd name="csX8" fmla="*/ 1884666 w 1894150"/>
              <a:gd name="csY8" fmla="*/ 390151 h 2106391"/>
              <a:gd name="csX9" fmla="*/ 1677409 w 1894150"/>
              <a:gd name="csY9" fmla="*/ 1738876 h 2106391"/>
              <a:gd name="csX10" fmla="*/ 1660371 w 1894150"/>
              <a:gd name="csY10" fmla="*/ 1797035 h 2106391"/>
              <a:gd name="csX0" fmla="*/ 1660371 w 1894150"/>
              <a:gd name="csY0" fmla="*/ 1797035 h 2099053"/>
              <a:gd name="csX1" fmla="*/ 1613976 w 1894150"/>
              <a:gd name="csY1" fmla="*/ 2061973 h 2099053"/>
              <a:gd name="csX2" fmla="*/ 1571192 w 1894150"/>
              <a:gd name="csY2" fmla="*/ 2099054 h 2099053"/>
              <a:gd name="csX3" fmla="*/ 1209 w 1894150"/>
              <a:gd name="csY3" fmla="*/ 1925703 h 2099053"/>
              <a:gd name="csX4" fmla="*/ 3734 w 1894150"/>
              <a:gd name="csY4" fmla="*/ 2722 h 2099053"/>
              <a:gd name="csX5" fmla="*/ 1015477 w 1894150"/>
              <a:gd name="csY5" fmla="*/ 118236 h 2099053"/>
              <a:gd name="csX6" fmla="*/ 1834171 w 1894150"/>
              <a:gd name="csY6" fmla="*/ 253442 h 2099053"/>
              <a:gd name="csX7" fmla="*/ 1892957 w 1894150"/>
              <a:gd name="csY7" fmla="*/ 329633 h 2099053"/>
              <a:gd name="csX8" fmla="*/ 1884666 w 1894150"/>
              <a:gd name="csY8" fmla="*/ 390151 h 2099053"/>
              <a:gd name="csX9" fmla="*/ 1677409 w 1894150"/>
              <a:gd name="csY9" fmla="*/ 1738876 h 2099053"/>
              <a:gd name="csX10" fmla="*/ 1660371 w 1894150"/>
              <a:gd name="csY10" fmla="*/ 1797035 h 209905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</a:cxnLst>
            <a:rect l="l" t="t" r="r" b="b"/>
            <a:pathLst>
              <a:path w="1894150" h="2099053">
                <a:moveTo>
                  <a:pt x="1660371" y="1797035"/>
                </a:moveTo>
                <a:cubicBezTo>
                  <a:pt x="1635098" y="1886222"/>
                  <a:pt x="1629747" y="1974973"/>
                  <a:pt x="1613976" y="2061973"/>
                </a:cubicBezTo>
                <a:cubicBezTo>
                  <a:pt x="1609486" y="2086741"/>
                  <a:pt x="1619054" y="2064954"/>
                  <a:pt x="1571192" y="2099054"/>
                </a:cubicBezTo>
                <a:cubicBezTo>
                  <a:pt x="1302398" y="2076342"/>
                  <a:pt x="524537" y="1983487"/>
                  <a:pt x="1209" y="1925703"/>
                </a:cubicBezTo>
                <a:cubicBezTo>
                  <a:pt x="-2577" y="1305801"/>
                  <a:pt x="3734" y="626510"/>
                  <a:pt x="3734" y="2722"/>
                </a:cubicBezTo>
                <a:cubicBezTo>
                  <a:pt x="21292" y="-17105"/>
                  <a:pt x="710404" y="76449"/>
                  <a:pt x="1015477" y="118236"/>
                </a:cubicBezTo>
                <a:cubicBezTo>
                  <a:pt x="1320550" y="160023"/>
                  <a:pt x="1560949" y="210319"/>
                  <a:pt x="1834171" y="253442"/>
                </a:cubicBezTo>
                <a:cubicBezTo>
                  <a:pt x="1888587" y="262030"/>
                  <a:pt x="1898009" y="275897"/>
                  <a:pt x="1892957" y="329633"/>
                </a:cubicBezTo>
                <a:cubicBezTo>
                  <a:pt x="1891182" y="348512"/>
                  <a:pt x="1886970" y="367095"/>
                  <a:pt x="1884666" y="390151"/>
                </a:cubicBezTo>
                <a:cubicBezTo>
                  <a:pt x="1816729" y="842724"/>
                  <a:pt x="1749168" y="1291123"/>
                  <a:pt x="1677409" y="1738876"/>
                </a:cubicBezTo>
                <a:cubicBezTo>
                  <a:pt x="1674410" y="1757593"/>
                  <a:pt x="1672930" y="1776800"/>
                  <a:pt x="1660371" y="1797035"/>
                </a:cubicBezTo>
                <a:close/>
              </a:path>
            </a:pathLst>
          </a:custGeom>
          <a:solidFill>
            <a:schemeClr val="accent3"/>
          </a:solidFill>
          <a:ln w="9525" cap="flat">
            <a:noFill/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24" name="Free-form: Shape 23">
            <a:extLst>
              <a:ext uri="{FF2B5EF4-FFF2-40B4-BE49-F238E27FC236}">
                <a16:creationId xmlns:a16="http://schemas.microsoft.com/office/drawing/2014/main" id="{CE795B38-C5E8-52D7-B44A-DAADB6281F39}"/>
              </a:ext>
            </a:extLst>
          </p:cNvPr>
          <p:cNvSpPr/>
          <p:nvPr/>
        </p:nvSpPr>
        <p:spPr>
          <a:xfrm>
            <a:off x="1233225" y="2719812"/>
            <a:ext cx="3047196" cy="3105687"/>
          </a:xfrm>
          <a:custGeom>
            <a:avLst/>
            <a:gdLst>
              <a:gd name="csX0" fmla="*/ 210790 w 4038833"/>
              <a:gd name="csY0" fmla="*/ 8067 h 4116358"/>
              <a:gd name="csX1" fmla="*/ 427695 w 4038833"/>
              <a:gd name="csY1" fmla="*/ 38991 h 4116358"/>
              <a:gd name="csX2" fmla="*/ 470037 w 4038833"/>
              <a:gd name="csY2" fmla="*/ 94473 h 4116358"/>
              <a:gd name="csX3" fmla="*/ 537708 w 4038833"/>
              <a:gd name="csY3" fmla="*/ 186726 h 4116358"/>
              <a:gd name="csX4" fmla="*/ 822986 w 4038833"/>
              <a:gd name="csY4" fmla="*/ 237761 h 4116358"/>
              <a:gd name="csX5" fmla="*/ 1053871 w 4038833"/>
              <a:gd name="csY5" fmla="*/ 217558 h 4116358"/>
              <a:gd name="csX6" fmla="*/ 1104820 w 4038833"/>
              <a:gd name="csY6" fmla="*/ 207594 h 4116358"/>
              <a:gd name="csX7" fmla="*/ 2189264 w 4038833"/>
              <a:gd name="csY7" fmla="*/ 11559 h 4116358"/>
              <a:gd name="csX8" fmla="*/ 2456441 w 4038833"/>
              <a:gd name="csY8" fmla="*/ 66880 h 4116358"/>
              <a:gd name="csX9" fmla="*/ 2723656 w 4038833"/>
              <a:gd name="csY9" fmla="*/ 167155 h 4116358"/>
              <a:gd name="csX10" fmla="*/ 3512530 w 4038833"/>
              <a:gd name="csY10" fmla="*/ 281823 h 4116358"/>
              <a:gd name="csX11" fmla="*/ 3531207 w 4038833"/>
              <a:gd name="csY11" fmla="*/ 285407 h 4116358"/>
              <a:gd name="csX12" fmla="*/ 3608706 w 4038833"/>
              <a:gd name="csY12" fmla="*/ 307081 h 4116358"/>
              <a:gd name="csX13" fmla="*/ 3593351 w 4038833"/>
              <a:gd name="csY13" fmla="*/ 431171 h 4116358"/>
              <a:gd name="csX14" fmla="*/ 3551133 w 4038833"/>
              <a:gd name="csY14" fmla="*/ 500897 h 4116358"/>
              <a:gd name="csX15" fmla="*/ 3627940 w 4038833"/>
              <a:gd name="csY15" fmla="*/ 544622 h 4116358"/>
              <a:gd name="csX16" fmla="*/ 4014317 w 4038833"/>
              <a:gd name="csY16" fmla="*/ 759258 h 4116358"/>
              <a:gd name="csX17" fmla="*/ 4038833 w 4038833"/>
              <a:gd name="csY17" fmla="*/ 806296 h 4116358"/>
              <a:gd name="csX18" fmla="*/ 3888490 w 4038833"/>
              <a:gd name="csY18" fmla="*/ 971744 h 4116358"/>
              <a:gd name="csX19" fmla="*/ 3729903 w 4038833"/>
              <a:gd name="csY19" fmla="*/ 948141 h 4116358"/>
              <a:gd name="csX20" fmla="*/ 3523203 w 4038833"/>
              <a:gd name="csY20" fmla="*/ 852290 h 4116358"/>
              <a:gd name="csX21" fmla="*/ 3390668 w 4038833"/>
              <a:gd name="csY21" fmla="*/ 820687 h 4116358"/>
              <a:gd name="csX22" fmla="*/ 3375325 w 4038833"/>
              <a:gd name="csY22" fmla="*/ 851577 h 4116358"/>
              <a:gd name="csX23" fmla="*/ 3437054 w 4038833"/>
              <a:gd name="csY23" fmla="*/ 908356 h 4116358"/>
              <a:gd name="csX24" fmla="*/ 3454792 w 4038833"/>
              <a:gd name="csY24" fmla="*/ 942561 h 4116358"/>
              <a:gd name="csX25" fmla="*/ 3784169 w 4038833"/>
              <a:gd name="csY25" fmla="*/ 1403500 h 4116358"/>
              <a:gd name="csX26" fmla="*/ 3864848 w 4038833"/>
              <a:gd name="csY26" fmla="*/ 1520365 h 4116358"/>
              <a:gd name="csX27" fmla="*/ 3854717 w 4038833"/>
              <a:gd name="csY27" fmla="*/ 1602620 h 4116358"/>
              <a:gd name="csX28" fmla="*/ 3677187 w 4038833"/>
              <a:gd name="csY28" fmla="*/ 1647840 h 4116358"/>
              <a:gd name="csX29" fmla="*/ 3519439 w 4038833"/>
              <a:gd name="csY29" fmla="*/ 1567683 h 4116358"/>
              <a:gd name="csX30" fmla="*/ 3507390 w 4038833"/>
              <a:gd name="csY30" fmla="*/ 1555232 h 4116358"/>
              <a:gd name="csX31" fmla="*/ 3505696 w 4038833"/>
              <a:gd name="csY31" fmla="*/ 1553730 h 4116358"/>
              <a:gd name="csX32" fmla="*/ 3377037 w 4038833"/>
              <a:gd name="csY32" fmla="*/ 1402847 h 4116358"/>
              <a:gd name="csX33" fmla="*/ 3191674 w 4038833"/>
              <a:gd name="csY33" fmla="*/ 1247342 h 4116358"/>
              <a:gd name="csX34" fmla="*/ 3227325 w 4038833"/>
              <a:gd name="csY34" fmla="*/ 1409011 h 4116358"/>
              <a:gd name="csX35" fmla="*/ 3305697 w 4038833"/>
              <a:gd name="csY35" fmla="*/ 2008178 h 4116358"/>
              <a:gd name="csX36" fmla="*/ 3244622 w 4038833"/>
              <a:gd name="csY36" fmla="*/ 2068219 h 4116358"/>
              <a:gd name="csX37" fmla="*/ 3199960 w 4038833"/>
              <a:gd name="csY37" fmla="*/ 2120561 h 4116358"/>
              <a:gd name="csX38" fmla="*/ 3246521 w 4038833"/>
              <a:gd name="csY38" fmla="*/ 2232982 h 4116358"/>
              <a:gd name="csX39" fmla="*/ 3415442 w 4038833"/>
              <a:gd name="csY39" fmla="*/ 2455106 h 4116358"/>
              <a:gd name="csX40" fmla="*/ 3420790 w 4038833"/>
              <a:gd name="csY40" fmla="*/ 2462904 h 4116358"/>
              <a:gd name="csX41" fmla="*/ 3356848 w 4038833"/>
              <a:gd name="csY41" fmla="*/ 2677824 h 4116358"/>
              <a:gd name="csX42" fmla="*/ 3214345 w 4038833"/>
              <a:gd name="csY42" fmla="*/ 2707434 h 4116358"/>
              <a:gd name="csX43" fmla="*/ 3102202 w 4038833"/>
              <a:gd name="csY43" fmla="*/ 2624192 h 4116358"/>
              <a:gd name="csX44" fmla="*/ 2981386 w 4038833"/>
              <a:gd name="csY44" fmla="*/ 2533449 h 4116358"/>
              <a:gd name="csX45" fmla="*/ 2854479 w 4038833"/>
              <a:gd name="csY45" fmla="*/ 2522621 h 4116358"/>
              <a:gd name="csX46" fmla="*/ 2845918 w 4038833"/>
              <a:gd name="csY46" fmla="*/ 2524007 h 4116358"/>
              <a:gd name="csX47" fmla="*/ 2989559 w 4038833"/>
              <a:gd name="csY47" fmla="*/ 2805499 h 4116358"/>
              <a:gd name="csX48" fmla="*/ 3105409 w 4038833"/>
              <a:gd name="csY48" fmla="*/ 3148777 h 4116358"/>
              <a:gd name="csX49" fmla="*/ 3061991 w 4038833"/>
              <a:gd name="csY49" fmla="*/ 3336276 h 4116358"/>
              <a:gd name="csX50" fmla="*/ 2996713 w 4038833"/>
              <a:gd name="csY50" fmla="*/ 3504427 h 4116358"/>
              <a:gd name="csX51" fmla="*/ 3006710 w 4038833"/>
              <a:gd name="csY51" fmla="*/ 3664980 h 4116358"/>
              <a:gd name="csX52" fmla="*/ 3042113 w 4038833"/>
              <a:gd name="csY52" fmla="*/ 3732348 h 4116358"/>
              <a:gd name="csX53" fmla="*/ 3065522 w 4038833"/>
              <a:gd name="csY53" fmla="*/ 3900165 h 4116358"/>
              <a:gd name="csX54" fmla="*/ 3059441 w 4038833"/>
              <a:gd name="csY54" fmla="*/ 4050584 h 4116358"/>
              <a:gd name="csX55" fmla="*/ 2975814 w 4038833"/>
              <a:gd name="csY55" fmla="*/ 4110542 h 4116358"/>
              <a:gd name="csX56" fmla="*/ 2107425 w 4038833"/>
              <a:gd name="csY56" fmla="*/ 3920164 h 4116358"/>
              <a:gd name="csX57" fmla="*/ 2023265 w 4038833"/>
              <a:gd name="csY57" fmla="*/ 3905797 h 4116358"/>
              <a:gd name="csX58" fmla="*/ 1973874 w 4038833"/>
              <a:gd name="csY58" fmla="*/ 3851028 h 4116358"/>
              <a:gd name="csX59" fmla="*/ 2013832 w 4038833"/>
              <a:gd name="csY59" fmla="*/ 3751609 h 4116358"/>
              <a:gd name="csX60" fmla="*/ 2046485 w 4038833"/>
              <a:gd name="csY60" fmla="*/ 3669538 h 4116358"/>
              <a:gd name="csX61" fmla="*/ 2098658 w 4038833"/>
              <a:gd name="csY61" fmla="*/ 3568336 h 4116358"/>
              <a:gd name="csX62" fmla="*/ 2187699 w 4038833"/>
              <a:gd name="csY62" fmla="*/ 3496903 h 4116358"/>
              <a:gd name="csX63" fmla="*/ 2249197 w 4038833"/>
              <a:gd name="csY63" fmla="*/ 3342556 h 4116358"/>
              <a:gd name="csX64" fmla="*/ 2188127 w 4038833"/>
              <a:gd name="csY64" fmla="*/ 3254991 h 4116358"/>
              <a:gd name="csX65" fmla="*/ 2167646 w 4038833"/>
              <a:gd name="csY65" fmla="*/ 3177785 h 4116358"/>
              <a:gd name="csX66" fmla="*/ 2273061 w 4038833"/>
              <a:gd name="csY66" fmla="*/ 2753416 h 4116358"/>
              <a:gd name="csX67" fmla="*/ 2242070 w 4038833"/>
              <a:gd name="csY67" fmla="*/ 2493806 h 4116358"/>
              <a:gd name="csX68" fmla="*/ 2262026 w 4038833"/>
              <a:gd name="csY68" fmla="*/ 2229293 h 4116358"/>
              <a:gd name="csX69" fmla="*/ 2249692 w 4038833"/>
              <a:gd name="csY69" fmla="*/ 2184356 h 4116358"/>
              <a:gd name="csX70" fmla="*/ 1803477 w 4038833"/>
              <a:gd name="csY70" fmla="*/ 1868225 h 4116358"/>
              <a:gd name="csX71" fmla="*/ 1145402 w 4038833"/>
              <a:gd name="csY71" fmla="*/ 1603294 h 4116358"/>
              <a:gd name="csX72" fmla="*/ 639106 w 4038833"/>
              <a:gd name="csY72" fmla="*/ 1328476 h 4116358"/>
              <a:gd name="csX73" fmla="*/ 371499 w 4038833"/>
              <a:gd name="csY73" fmla="*/ 1209806 h 4116358"/>
              <a:gd name="csX74" fmla="*/ 312374 w 4038833"/>
              <a:gd name="csY74" fmla="*/ 1254720 h 4116358"/>
              <a:gd name="csX75" fmla="*/ 290014 w 4038833"/>
              <a:gd name="csY75" fmla="*/ 1405062 h 4116358"/>
              <a:gd name="csX76" fmla="*/ 233027 w 4038833"/>
              <a:gd name="csY76" fmla="*/ 1447531 h 4116358"/>
              <a:gd name="csX77" fmla="*/ 0 w 4038833"/>
              <a:gd name="csY77" fmla="*/ 1407874 h 4116358"/>
              <a:gd name="csX78" fmla="*/ 60890 w 4038833"/>
              <a:gd name="csY78" fmla="*/ 974759 h 4116358"/>
              <a:gd name="csX79" fmla="*/ 203835 w 4038833"/>
              <a:gd name="csY79" fmla="*/ 34517 h 4116358"/>
              <a:gd name="csX80" fmla="*/ 210790 w 4038833"/>
              <a:gd name="csY80" fmla="*/ 8067 h 4116358"/>
              <a:gd name="csX0" fmla="*/ 210790 w 4038833"/>
              <a:gd name="csY0" fmla="*/ 8067 h 4116358"/>
              <a:gd name="csX1" fmla="*/ 427695 w 4038833"/>
              <a:gd name="csY1" fmla="*/ 38991 h 4116358"/>
              <a:gd name="csX2" fmla="*/ 470037 w 4038833"/>
              <a:gd name="csY2" fmla="*/ 94473 h 4116358"/>
              <a:gd name="csX3" fmla="*/ 537708 w 4038833"/>
              <a:gd name="csY3" fmla="*/ 186726 h 4116358"/>
              <a:gd name="csX4" fmla="*/ 822986 w 4038833"/>
              <a:gd name="csY4" fmla="*/ 237761 h 4116358"/>
              <a:gd name="csX5" fmla="*/ 1053871 w 4038833"/>
              <a:gd name="csY5" fmla="*/ 217558 h 4116358"/>
              <a:gd name="csX6" fmla="*/ 1104820 w 4038833"/>
              <a:gd name="csY6" fmla="*/ 207594 h 4116358"/>
              <a:gd name="csX7" fmla="*/ 2189264 w 4038833"/>
              <a:gd name="csY7" fmla="*/ 11559 h 4116358"/>
              <a:gd name="csX8" fmla="*/ 2456441 w 4038833"/>
              <a:gd name="csY8" fmla="*/ 66880 h 4116358"/>
              <a:gd name="csX9" fmla="*/ 2723656 w 4038833"/>
              <a:gd name="csY9" fmla="*/ 167155 h 4116358"/>
              <a:gd name="csX10" fmla="*/ 3512530 w 4038833"/>
              <a:gd name="csY10" fmla="*/ 281823 h 4116358"/>
              <a:gd name="csX11" fmla="*/ 3531207 w 4038833"/>
              <a:gd name="csY11" fmla="*/ 285407 h 4116358"/>
              <a:gd name="csX12" fmla="*/ 3608706 w 4038833"/>
              <a:gd name="csY12" fmla="*/ 307081 h 4116358"/>
              <a:gd name="csX13" fmla="*/ 3593351 w 4038833"/>
              <a:gd name="csY13" fmla="*/ 431171 h 4116358"/>
              <a:gd name="csX14" fmla="*/ 3551133 w 4038833"/>
              <a:gd name="csY14" fmla="*/ 500897 h 4116358"/>
              <a:gd name="csX15" fmla="*/ 3627940 w 4038833"/>
              <a:gd name="csY15" fmla="*/ 544622 h 4116358"/>
              <a:gd name="csX16" fmla="*/ 4014317 w 4038833"/>
              <a:gd name="csY16" fmla="*/ 759258 h 4116358"/>
              <a:gd name="csX17" fmla="*/ 4038833 w 4038833"/>
              <a:gd name="csY17" fmla="*/ 806296 h 4116358"/>
              <a:gd name="csX18" fmla="*/ 3888490 w 4038833"/>
              <a:gd name="csY18" fmla="*/ 971744 h 4116358"/>
              <a:gd name="csX19" fmla="*/ 3729903 w 4038833"/>
              <a:gd name="csY19" fmla="*/ 948141 h 4116358"/>
              <a:gd name="csX20" fmla="*/ 3523203 w 4038833"/>
              <a:gd name="csY20" fmla="*/ 852290 h 4116358"/>
              <a:gd name="csX21" fmla="*/ 3390668 w 4038833"/>
              <a:gd name="csY21" fmla="*/ 820687 h 4116358"/>
              <a:gd name="csX22" fmla="*/ 3375325 w 4038833"/>
              <a:gd name="csY22" fmla="*/ 851577 h 4116358"/>
              <a:gd name="csX23" fmla="*/ 3454792 w 4038833"/>
              <a:gd name="csY23" fmla="*/ 942561 h 4116358"/>
              <a:gd name="csX24" fmla="*/ 3784169 w 4038833"/>
              <a:gd name="csY24" fmla="*/ 1403500 h 4116358"/>
              <a:gd name="csX25" fmla="*/ 3864848 w 4038833"/>
              <a:gd name="csY25" fmla="*/ 1520365 h 4116358"/>
              <a:gd name="csX26" fmla="*/ 3854717 w 4038833"/>
              <a:gd name="csY26" fmla="*/ 1602620 h 4116358"/>
              <a:gd name="csX27" fmla="*/ 3677187 w 4038833"/>
              <a:gd name="csY27" fmla="*/ 1647840 h 4116358"/>
              <a:gd name="csX28" fmla="*/ 3519439 w 4038833"/>
              <a:gd name="csY28" fmla="*/ 1567683 h 4116358"/>
              <a:gd name="csX29" fmla="*/ 3507390 w 4038833"/>
              <a:gd name="csY29" fmla="*/ 1555232 h 4116358"/>
              <a:gd name="csX30" fmla="*/ 3505696 w 4038833"/>
              <a:gd name="csY30" fmla="*/ 1553730 h 4116358"/>
              <a:gd name="csX31" fmla="*/ 3377037 w 4038833"/>
              <a:gd name="csY31" fmla="*/ 1402847 h 4116358"/>
              <a:gd name="csX32" fmla="*/ 3191674 w 4038833"/>
              <a:gd name="csY32" fmla="*/ 1247342 h 4116358"/>
              <a:gd name="csX33" fmla="*/ 3227325 w 4038833"/>
              <a:gd name="csY33" fmla="*/ 1409011 h 4116358"/>
              <a:gd name="csX34" fmla="*/ 3305697 w 4038833"/>
              <a:gd name="csY34" fmla="*/ 2008178 h 4116358"/>
              <a:gd name="csX35" fmla="*/ 3244622 w 4038833"/>
              <a:gd name="csY35" fmla="*/ 2068219 h 4116358"/>
              <a:gd name="csX36" fmla="*/ 3199960 w 4038833"/>
              <a:gd name="csY36" fmla="*/ 2120561 h 4116358"/>
              <a:gd name="csX37" fmla="*/ 3246521 w 4038833"/>
              <a:gd name="csY37" fmla="*/ 2232982 h 4116358"/>
              <a:gd name="csX38" fmla="*/ 3415442 w 4038833"/>
              <a:gd name="csY38" fmla="*/ 2455106 h 4116358"/>
              <a:gd name="csX39" fmla="*/ 3420790 w 4038833"/>
              <a:gd name="csY39" fmla="*/ 2462904 h 4116358"/>
              <a:gd name="csX40" fmla="*/ 3356848 w 4038833"/>
              <a:gd name="csY40" fmla="*/ 2677824 h 4116358"/>
              <a:gd name="csX41" fmla="*/ 3214345 w 4038833"/>
              <a:gd name="csY41" fmla="*/ 2707434 h 4116358"/>
              <a:gd name="csX42" fmla="*/ 3102202 w 4038833"/>
              <a:gd name="csY42" fmla="*/ 2624192 h 4116358"/>
              <a:gd name="csX43" fmla="*/ 2981386 w 4038833"/>
              <a:gd name="csY43" fmla="*/ 2533449 h 4116358"/>
              <a:gd name="csX44" fmla="*/ 2854479 w 4038833"/>
              <a:gd name="csY44" fmla="*/ 2522621 h 4116358"/>
              <a:gd name="csX45" fmla="*/ 2845918 w 4038833"/>
              <a:gd name="csY45" fmla="*/ 2524007 h 4116358"/>
              <a:gd name="csX46" fmla="*/ 2989559 w 4038833"/>
              <a:gd name="csY46" fmla="*/ 2805499 h 4116358"/>
              <a:gd name="csX47" fmla="*/ 3105409 w 4038833"/>
              <a:gd name="csY47" fmla="*/ 3148777 h 4116358"/>
              <a:gd name="csX48" fmla="*/ 3061991 w 4038833"/>
              <a:gd name="csY48" fmla="*/ 3336276 h 4116358"/>
              <a:gd name="csX49" fmla="*/ 2996713 w 4038833"/>
              <a:gd name="csY49" fmla="*/ 3504427 h 4116358"/>
              <a:gd name="csX50" fmla="*/ 3006710 w 4038833"/>
              <a:gd name="csY50" fmla="*/ 3664980 h 4116358"/>
              <a:gd name="csX51" fmla="*/ 3042113 w 4038833"/>
              <a:gd name="csY51" fmla="*/ 3732348 h 4116358"/>
              <a:gd name="csX52" fmla="*/ 3065522 w 4038833"/>
              <a:gd name="csY52" fmla="*/ 3900165 h 4116358"/>
              <a:gd name="csX53" fmla="*/ 3059441 w 4038833"/>
              <a:gd name="csY53" fmla="*/ 4050584 h 4116358"/>
              <a:gd name="csX54" fmla="*/ 2975814 w 4038833"/>
              <a:gd name="csY54" fmla="*/ 4110542 h 4116358"/>
              <a:gd name="csX55" fmla="*/ 2107425 w 4038833"/>
              <a:gd name="csY55" fmla="*/ 3920164 h 4116358"/>
              <a:gd name="csX56" fmla="*/ 2023265 w 4038833"/>
              <a:gd name="csY56" fmla="*/ 3905797 h 4116358"/>
              <a:gd name="csX57" fmla="*/ 1973874 w 4038833"/>
              <a:gd name="csY57" fmla="*/ 3851028 h 4116358"/>
              <a:gd name="csX58" fmla="*/ 2013832 w 4038833"/>
              <a:gd name="csY58" fmla="*/ 3751609 h 4116358"/>
              <a:gd name="csX59" fmla="*/ 2046485 w 4038833"/>
              <a:gd name="csY59" fmla="*/ 3669538 h 4116358"/>
              <a:gd name="csX60" fmla="*/ 2098658 w 4038833"/>
              <a:gd name="csY60" fmla="*/ 3568336 h 4116358"/>
              <a:gd name="csX61" fmla="*/ 2187699 w 4038833"/>
              <a:gd name="csY61" fmla="*/ 3496903 h 4116358"/>
              <a:gd name="csX62" fmla="*/ 2249197 w 4038833"/>
              <a:gd name="csY62" fmla="*/ 3342556 h 4116358"/>
              <a:gd name="csX63" fmla="*/ 2188127 w 4038833"/>
              <a:gd name="csY63" fmla="*/ 3254991 h 4116358"/>
              <a:gd name="csX64" fmla="*/ 2167646 w 4038833"/>
              <a:gd name="csY64" fmla="*/ 3177785 h 4116358"/>
              <a:gd name="csX65" fmla="*/ 2273061 w 4038833"/>
              <a:gd name="csY65" fmla="*/ 2753416 h 4116358"/>
              <a:gd name="csX66" fmla="*/ 2242070 w 4038833"/>
              <a:gd name="csY66" fmla="*/ 2493806 h 4116358"/>
              <a:gd name="csX67" fmla="*/ 2262026 w 4038833"/>
              <a:gd name="csY67" fmla="*/ 2229293 h 4116358"/>
              <a:gd name="csX68" fmla="*/ 2249692 w 4038833"/>
              <a:gd name="csY68" fmla="*/ 2184356 h 4116358"/>
              <a:gd name="csX69" fmla="*/ 1803477 w 4038833"/>
              <a:gd name="csY69" fmla="*/ 1868225 h 4116358"/>
              <a:gd name="csX70" fmla="*/ 1145402 w 4038833"/>
              <a:gd name="csY70" fmla="*/ 1603294 h 4116358"/>
              <a:gd name="csX71" fmla="*/ 639106 w 4038833"/>
              <a:gd name="csY71" fmla="*/ 1328476 h 4116358"/>
              <a:gd name="csX72" fmla="*/ 371499 w 4038833"/>
              <a:gd name="csY72" fmla="*/ 1209806 h 4116358"/>
              <a:gd name="csX73" fmla="*/ 312374 w 4038833"/>
              <a:gd name="csY73" fmla="*/ 1254720 h 4116358"/>
              <a:gd name="csX74" fmla="*/ 290014 w 4038833"/>
              <a:gd name="csY74" fmla="*/ 1405062 h 4116358"/>
              <a:gd name="csX75" fmla="*/ 233027 w 4038833"/>
              <a:gd name="csY75" fmla="*/ 1447531 h 4116358"/>
              <a:gd name="csX76" fmla="*/ 0 w 4038833"/>
              <a:gd name="csY76" fmla="*/ 1407874 h 4116358"/>
              <a:gd name="csX77" fmla="*/ 60890 w 4038833"/>
              <a:gd name="csY77" fmla="*/ 974759 h 4116358"/>
              <a:gd name="csX78" fmla="*/ 203835 w 4038833"/>
              <a:gd name="csY78" fmla="*/ 34517 h 4116358"/>
              <a:gd name="csX79" fmla="*/ 210790 w 4038833"/>
              <a:gd name="csY79" fmla="*/ 8067 h 411635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</a:cxnLst>
            <a:rect l="l" t="t" r="r" b="b"/>
            <a:pathLst>
              <a:path w="4038833" h="4116358">
                <a:moveTo>
                  <a:pt x="210790" y="8067"/>
                </a:moveTo>
                <a:cubicBezTo>
                  <a:pt x="283815" y="16317"/>
                  <a:pt x="355506" y="29555"/>
                  <a:pt x="427695" y="38991"/>
                </a:cubicBezTo>
                <a:cubicBezTo>
                  <a:pt x="463811" y="43712"/>
                  <a:pt x="476855" y="55896"/>
                  <a:pt x="470037" y="94473"/>
                </a:cubicBezTo>
                <a:cubicBezTo>
                  <a:pt x="458225" y="161292"/>
                  <a:pt x="469274" y="174076"/>
                  <a:pt x="537708" y="186726"/>
                </a:cubicBezTo>
                <a:lnTo>
                  <a:pt x="822986" y="237761"/>
                </a:lnTo>
                <a:cubicBezTo>
                  <a:pt x="901333" y="250719"/>
                  <a:pt x="977461" y="230767"/>
                  <a:pt x="1053871" y="217558"/>
                </a:cubicBezTo>
                <a:cubicBezTo>
                  <a:pt x="1069477" y="214860"/>
                  <a:pt x="1085032" y="211873"/>
                  <a:pt x="1104820" y="207594"/>
                </a:cubicBezTo>
                <a:cubicBezTo>
                  <a:pt x="1471989" y="157249"/>
                  <a:pt x="1833101" y="97202"/>
                  <a:pt x="2189264" y="11559"/>
                </a:cubicBezTo>
                <a:cubicBezTo>
                  <a:pt x="2290991" y="-12902"/>
                  <a:pt x="2382432" y="-384"/>
                  <a:pt x="2456441" y="66880"/>
                </a:cubicBezTo>
                <a:cubicBezTo>
                  <a:pt x="2534836" y="138132"/>
                  <a:pt x="2622799" y="159288"/>
                  <a:pt x="2723656" y="167155"/>
                </a:cubicBezTo>
                <a:cubicBezTo>
                  <a:pt x="2988942" y="187847"/>
                  <a:pt x="3253330" y="217827"/>
                  <a:pt x="3512530" y="281823"/>
                </a:cubicBezTo>
                <a:cubicBezTo>
                  <a:pt x="3518676" y="283340"/>
                  <a:pt x="3525038" y="283969"/>
                  <a:pt x="3531207" y="285407"/>
                </a:cubicBezTo>
                <a:cubicBezTo>
                  <a:pt x="3557922" y="291634"/>
                  <a:pt x="3597788" y="276648"/>
                  <a:pt x="3608706" y="307081"/>
                </a:cubicBezTo>
                <a:cubicBezTo>
                  <a:pt x="3623149" y="347339"/>
                  <a:pt x="3613570" y="391072"/>
                  <a:pt x="3593351" y="431171"/>
                </a:cubicBezTo>
                <a:cubicBezTo>
                  <a:pt x="3580523" y="456610"/>
                  <a:pt x="3535868" y="472207"/>
                  <a:pt x="3551133" y="500897"/>
                </a:cubicBezTo>
                <a:cubicBezTo>
                  <a:pt x="3562818" y="522858"/>
                  <a:pt x="3601648" y="530034"/>
                  <a:pt x="3627940" y="544622"/>
                </a:cubicBezTo>
                <a:lnTo>
                  <a:pt x="4014317" y="759258"/>
                </a:lnTo>
                <a:cubicBezTo>
                  <a:pt x="4034056" y="770143"/>
                  <a:pt x="4038901" y="785658"/>
                  <a:pt x="4038833" y="806296"/>
                </a:cubicBezTo>
                <a:cubicBezTo>
                  <a:pt x="4038529" y="897836"/>
                  <a:pt x="3979725" y="963578"/>
                  <a:pt x="3888490" y="971744"/>
                </a:cubicBezTo>
                <a:cubicBezTo>
                  <a:pt x="3833945" y="976627"/>
                  <a:pt x="3780618" y="968313"/>
                  <a:pt x="3729903" y="948141"/>
                </a:cubicBezTo>
                <a:cubicBezTo>
                  <a:pt x="3659281" y="920050"/>
                  <a:pt x="3587040" y="895255"/>
                  <a:pt x="3523203" y="852290"/>
                </a:cubicBezTo>
                <a:cubicBezTo>
                  <a:pt x="3483129" y="825317"/>
                  <a:pt x="3436579" y="823957"/>
                  <a:pt x="3390668" y="820687"/>
                </a:cubicBezTo>
                <a:cubicBezTo>
                  <a:pt x="3360686" y="818551"/>
                  <a:pt x="3364638" y="831265"/>
                  <a:pt x="3375325" y="851577"/>
                </a:cubicBezTo>
                <a:cubicBezTo>
                  <a:pt x="3386012" y="871889"/>
                  <a:pt x="3386651" y="850574"/>
                  <a:pt x="3454792" y="942561"/>
                </a:cubicBezTo>
                <a:cubicBezTo>
                  <a:pt x="3522933" y="1034548"/>
                  <a:pt x="3698143" y="1232541"/>
                  <a:pt x="3784169" y="1403500"/>
                </a:cubicBezTo>
                <a:cubicBezTo>
                  <a:pt x="3805251" y="1445398"/>
                  <a:pt x="3836727" y="1482246"/>
                  <a:pt x="3864848" y="1520365"/>
                </a:cubicBezTo>
                <a:cubicBezTo>
                  <a:pt x="3888148" y="1551949"/>
                  <a:pt x="3883414" y="1576855"/>
                  <a:pt x="3854717" y="1602620"/>
                </a:cubicBezTo>
                <a:cubicBezTo>
                  <a:pt x="3804415" y="1647782"/>
                  <a:pt x="3745689" y="1656139"/>
                  <a:pt x="3677187" y="1647840"/>
                </a:cubicBezTo>
                <a:cubicBezTo>
                  <a:pt x="3621136" y="1623658"/>
                  <a:pt x="3568623" y="1602091"/>
                  <a:pt x="3519439" y="1567683"/>
                </a:cubicBezTo>
                <a:cubicBezTo>
                  <a:pt x="3514393" y="1563246"/>
                  <a:pt x="3511952" y="1560239"/>
                  <a:pt x="3507390" y="1555232"/>
                </a:cubicBezTo>
                <a:cubicBezTo>
                  <a:pt x="3505339" y="1553173"/>
                  <a:pt x="3505408" y="1553746"/>
                  <a:pt x="3505696" y="1553730"/>
                </a:cubicBezTo>
                <a:cubicBezTo>
                  <a:pt x="3454097" y="1511054"/>
                  <a:pt x="3412731" y="1458400"/>
                  <a:pt x="3377037" y="1402847"/>
                </a:cubicBezTo>
                <a:cubicBezTo>
                  <a:pt x="3331502" y="1331975"/>
                  <a:pt x="3266879" y="1287591"/>
                  <a:pt x="3191674" y="1247342"/>
                </a:cubicBezTo>
                <a:cubicBezTo>
                  <a:pt x="3197844" y="1303804"/>
                  <a:pt x="3219451" y="1353406"/>
                  <a:pt x="3227325" y="1409011"/>
                </a:cubicBezTo>
                <a:cubicBezTo>
                  <a:pt x="3291940" y="1605730"/>
                  <a:pt x="3287081" y="1808480"/>
                  <a:pt x="3305697" y="2008178"/>
                </a:cubicBezTo>
                <a:cubicBezTo>
                  <a:pt x="3310139" y="2055827"/>
                  <a:pt x="3287412" y="2072785"/>
                  <a:pt x="3244622" y="2068219"/>
                </a:cubicBezTo>
                <a:cubicBezTo>
                  <a:pt x="3201850" y="2063654"/>
                  <a:pt x="3193625" y="2082257"/>
                  <a:pt x="3199960" y="2120561"/>
                </a:cubicBezTo>
                <a:cubicBezTo>
                  <a:pt x="3206851" y="2162223"/>
                  <a:pt x="3219849" y="2199788"/>
                  <a:pt x="3246521" y="2232982"/>
                </a:cubicBezTo>
                <a:cubicBezTo>
                  <a:pt x="3304790" y="2305500"/>
                  <a:pt x="3340470" y="2395215"/>
                  <a:pt x="3415442" y="2455106"/>
                </a:cubicBezTo>
                <a:cubicBezTo>
                  <a:pt x="3417800" y="2456990"/>
                  <a:pt x="3419213" y="2460169"/>
                  <a:pt x="3420790" y="2462904"/>
                </a:cubicBezTo>
                <a:cubicBezTo>
                  <a:pt x="3443815" y="2502835"/>
                  <a:pt x="3398594" y="2658760"/>
                  <a:pt x="3356848" y="2677824"/>
                </a:cubicBezTo>
                <a:cubicBezTo>
                  <a:pt x="3311917" y="2698342"/>
                  <a:pt x="3265345" y="2711619"/>
                  <a:pt x="3214345" y="2707434"/>
                </a:cubicBezTo>
                <a:cubicBezTo>
                  <a:pt x="3158545" y="2702855"/>
                  <a:pt x="3118949" y="2683470"/>
                  <a:pt x="3102202" y="2624192"/>
                </a:cubicBezTo>
                <a:cubicBezTo>
                  <a:pt x="3085757" y="2565983"/>
                  <a:pt x="3040799" y="2538433"/>
                  <a:pt x="2981386" y="2533449"/>
                </a:cubicBezTo>
                <a:lnTo>
                  <a:pt x="2854479" y="2522621"/>
                </a:lnTo>
                <a:cubicBezTo>
                  <a:pt x="2848666" y="2522419"/>
                  <a:pt x="2846898" y="2521885"/>
                  <a:pt x="2845918" y="2524007"/>
                </a:cubicBezTo>
                <a:cubicBezTo>
                  <a:pt x="2884027" y="2624895"/>
                  <a:pt x="2944338" y="2711355"/>
                  <a:pt x="2989559" y="2805499"/>
                </a:cubicBezTo>
                <a:cubicBezTo>
                  <a:pt x="3042181" y="2915051"/>
                  <a:pt x="3107252" y="3020224"/>
                  <a:pt x="3105409" y="3148777"/>
                </a:cubicBezTo>
                <a:cubicBezTo>
                  <a:pt x="3104461" y="3214966"/>
                  <a:pt x="3092888" y="3276190"/>
                  <a:pt x="3061991" y="3336276"/>
                </a:cubicBezTo>
                <a:cubicBezTo>
                  <a:pt x="3034645" y="3389457"/>
                  <a:pt x="3024354" y="3451449"/>
                  <a:pt x="2996713" y="3504427"/>
                </a:cubicBezTo>
                <a:cubicBezTo>
                  <a:pt x="2966088" y="3563126"/>
                  <a:pt x="2975065" y="3612910"/>
                  <a:pt x="3006710" y="3664980"/>
                </a:cubicBezTo>
                <a:cubicBezTo>
                  <a:pt x="3019862" y="3686619"/>
                  <a:pt x="3028384" y="3711144"/>
                  <a:pt x="3042113" y="3732348"/>
                </a:cubicBezTo>
                <a:cubicBezTo>
                  <a:pt x="3076245" y="3785060"/>
                  <a:pt x="3087941" y="3842015"/>
                  <a:pt x="3065522" y="3900165"/>
                </a:cubicBezTo>
                <a:cubicBezTo>
                  <a:pt x="3045981" y="3950852"/>
                  <a:pt x="3068929" y="4000367"/>
                  <a:pt x="3059441" y="4050584"/>
                </a:cubicBezTo>
                <a:cubicBezTo>
                  <a:pt x="3047195" y="4115401"/>
                  <a:pt x="3039604" y="4124917"/>
                  <a:pt x="2975814" y="4110542"/>
                </a:cubicBezTo>
                <a:cubicBezTo>
                  <a:pt x="2686722" y="4045394"/>
                  <a:pt x="2395248" y="3991119"/>
                  <a:pt x="2107425" y="3920164"/>
                </a:cubicBezTo>
                <a:cubicBezTo>
                  <a:pt x="2079807" y="3913356"/>
                  <a:pt x="2051437" y="3906492"/>
                  <a:pt x="2023265" y="3905797"/>
                </a:cubicBezTo>
                <a:cubicBezTo>
                  <a:pt x="1984631" y="3904845"/>
                  <a:pt x="1974216" y="3883822"/>
                  <a:pt x="1973874" y="3851028"/>
                </a:cubicBezTo>
                <a:cubicBezTo>
                  <a:pt x="1973470" y="3812368"/>
                  <a:pt x="1990042" y="3780093"/>
                  <a:pt x="2013832" y="3751609"/>
                </a:cubicBezTo>
                <a:cubicBezTo>
                  <a:pt x="2034026" y="3727430"/>
                  <a:pt x="2047840" y="3700440"/>
                  <a:pt x="2046485" y="3669538"/>
                </a:cubicBezTo>
                <a:cubicBezTo>
                  <a:pt x="2044517" y="3624666"/>
                  <a:pt x="2066513" y="3594416"/>
                  <a:pt x="2098658" y="3568336"/>
                </a:cubicBezTo>
                <a:cubicBezTo>
                  <a:pt x="2128215" y="3544356"/>
                  <a:pt x="2156623" y="3518727"/>
                  <a:pt x="2187699" y="3496903"/>
                </a:cubicBezTo>
                <a:cubicBezTo>
                  <a:pt x="2242595" y="3458353"/>
                  <a:pt x="2256287" y="3405442"/>
                  <a:pt x="2249197" y="3342556"/>
                </a:cubicBezTo>
                <a:cubicBezTo>
                  <a:pt x="2244583" y="3301632"/>
                  <a:pt x="2229709" y="3271776"/>
                  <a:pt x="2188127" y="3254991"/>
                </a:cubicBezTo>
                <a:cubicBezTo>
                  <a:pt x="2138532" y="3234971"/>
                  <a:pt x="2133454" y="3215928"/>
                  <a:pt x="2167646" y="3177785"/>
                </a:cubicBezTo>
                <a:cubicBezTo>
                  <a:pt x="2278165" y="3054496"/>
                  <a:pt x="2290597" y="2907787"/>
                  <a:pt x="2273061" y="2753416"/>
                </a:cubicBezTo>
                <a:cubicBezTo>
                  <a:pt x="2263224" y="2666818"/>
                  <a:pt x="2249715" y="2580578"/>
                  <a:pt x="2242070" y="2493806"/>
                </a:cubicBezTo>
                <a:cubicBezTo>
                  <a:pt x="2234242" y="2404948"/>
                  <a:pt x="2239329" y="2316170"/>
                  <a:pt x="2262026" y="2229293"/>
                </a:cubicBezTo>
                <a:cubicBezTo>
                  <a:pt x="2266812" y="2210976"/>
                  <a:pt x="2268715" y="2197083"/>
                  <a:pt x="2249692" y="2184356"/>
                </a:cubicBezTo>
                <a:cubicBezTo>
                  <a:pt x="2098163" y="2082982"/>
                  <a:pt x="1957852" y="1966041"/>
                  <a:pt x="1803477" y="1868225"/>
                </a:cubicBezTo>
                <a:cubicBezTo>
                  <a:pt x="1599856" y="1739205"/>
                  <a:pt x="1380723" y="1652087"/>
                  <a:pt x="1145402" y="1603294"/>
                </a:cubicBezTo>
                <a:cubicBezTo>
                  <a:pt x="949102" y="1562592"/>
                  <a:pt x="777027" y="1474610"/>
                  <a:pt x="639106" y="1328476"/>
                </a:cubicBezTo>
                <a:cubicBezTo>
                  <a:pt x="564742" y="1249684"/>
                  <a:pt x="471459" y="1225040"/>
                  <a:pt x="371499" y="1209806"/>
                </a:cubicBezTo>
                <a:cubicBezTo>
                  <a:pt x="336093" y="1204410"/>
                  <a:pt x="315355" y="1212284"/>
                  <a:pt x="312374" y="1254720"/>
                </a:cubicBezTo>
                <a:cubicBezTo>
                  <a:pt x="308835" y="1305102"/>
                  <a:pt x="295030" y="1354695"/>
                  <a:pt x="290014" y="1405062"/>
                </a:cubicBezTo>
                <a:cubicBezTo>
                  <a:pt x="286180" y="1443566"/>
                  <a:pt x="267640" y="1452817"/>
                  <a:pt x="233027" y="1447531"/>
                </a:cubicBezTo>
                <a:cubicBezTo>
                  <a:pt x="156267" y="1435809"/>
                  <a:pt x="79049" y="1426927"/>
                  <a:pt x="0" y="1407874"/>
                </a:cubicBezTo>
                <a:cubicBezTo>
                  <a:pt x="18008" y="1262968"/>
                  <a:pt x="39095" y="1118810"/>
                  <a:pt x="60890" y="974759"/>
                </a:cubicBezTo>
                <a:cubicBezTo>
                  <a:pt x="108314" y="661311"/>
                  <a:pt x="156082" y="347915"/>
                  <a:pt x="203835" y="34517"/>
                </a:cubicBezTo>
                <a:cubicBezTo>
                  <a:pt x="205023" y="26725"/>
                  <a:pt x="207687" y="19157"/>
                  <a:pt x="210790" y="8067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3525" name="Free-form: Shape 3524">
            <a:extLst>
              <a:ext uri="{FF2B5EF4-FFF2-40B4-BE49-F238E27FC236}">
                <a16:creationId xmlns:a16="http://schemas.microsoft.com/office/drawing/2014/main" id="{94A22AE7-D712-C2D6-DD73-90EF49128CCB}"/>
              </a:ext>
            </a:extLst>
          </p:cNvPr>
          <p:cNvSpPr/>
          <p:nvPr/>
        </p:nvSpPr>
        <p:spPr>
          <a:xfrm>
            <a:off x="1503032" y="2775599"/>
            <a:ext cx="2593880" cy="1522583"/>
          </a:xfrm>
          <a:custGeom>
            <a:avLst/>
            <a:gdLst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21387 w 3437996"/>
              <a:gd name="csY47" fmla="*/ 708333 h 2018071"/>
              <a:gd name="csX48" fmla="*/ 22313 w 3437996"/>
              <a:gd name="csY48" fmla="*/ 700409 h 2018071"/>
              <a:gd name="csX49" fmla="*/ 30962 w 3437996"/>
              <a:gd name="csY49" fmla="*/ 642260 h 2018071"/>
              <a:gd name="csX50" fmla="*/ 32315 w 3437996"/>
              <a:gd name="csY50" fmla="*/ 633805 h 2018071"/>
              <a:gd name="csX51" fmla="*/ 40506 w 3437996"/>
              <a:gd name="csY51" fmla="*/ 584580 h 2018071"/>
              <a:gd name="csX52" fmla="*/ 42550 w 3437996"/>
              <a:gd name="csY52" fmla="*/ 567648 h 2018071"/>
              <a:gd name="csX53" fmla="*/ 49883 w 3437996"/>
              <a:gd name="csY53" fmla="*/ 529082 h 2018071"/>
              <a:gd name="csX54" fmla="*/ 51048 w 3437996"/>
              <a:gd name="csY54" fmla="*/ 526838 h 2018071"/>
              <a:gd name="csX55" fmla="*/ 59483 w 3437996"/>
              <a:gd name="csY55" fmla="*/ 460900 h 2018071"/>
              <a:gd name="csX56" fmla="*/ 60600 w 3437996"/>
              <a:gd name="csY56" fmla="*/ 452775 h 2018071"/>
              <a:gd name="csX57" fmla="*/ 69198 w 3437996"/>
              <a:gd name="csY57" fmla="*/ 402712 h 2018071"/>
              <a:gd name="csX58" fmla="*/ 70360 w 3437996"/>
              <a:gd name="csY58" fmla="*/ 386909 h 2018071"/>
              <a:gd name="csX59" fmla="*/ 78687 w 3437996"/>
              <a:gd name="csY59" fmla="*/ 336299 h 2018071"/>
              <a:gd name="csX60" fmla="*/ 80332 w 3437996"/>
              <a:gd name="csY60" fmla="*/ 320109 h 2018071"/>
              <a:gd name="csX61" fmla="*/ 88193 w 3437996"/>
              <a:gd name="csY61" fmla="*/ 269877 h 2018071"/>
              <a:gd name="csX62" fmla="*/ 89741 w 3437996"/>
              <a:gd name="csY62" fmla="*/ 253550 h 2018071"/>
              <a:gd name="csX63" fmla="*/ 98008 w 3437996"/>
              <a:gd name="csY63" fmla="*/ 233543 h 2018071"/>
              <a:gd name="csX64" fmla="*/ 99628 w 3437996"/>
              <a:gd name="csY64" fmla="*/ 231506 h 2018071"/>
              <a:gd name="csX65" fmla="*/ 182353 w 3437996"/>
              <a:gd name="csY65" fmla="*/ 229554 h 2018071"/>
              <a:gd name="csX66" fmla="*/ 185812 w 3437996"/>
              <a:gd name="csY66" fmla="*/ 231380 h 2018071"/>
              <a:gd name="csX67" fmla="*/ 213726 w 3437996"/>
              <a:gd name="csY67" fmla="*/ 239233 h 2018071"/>
              <a:gd name="csX68" fmla="*/ 416961 w 3437996"/>
              <a:gd name="csY68" fmla="*/ 299911 h 2018071"/>
              <a:gd name="csX69" fmla="*/ 622809 w 3437996"/>
              <a:gd name="csY69" fmla="*/ 305227 h 2018071"/>
              <a:gd name="csX70" fmla="*/ 1851374 w 3437996"/>
              <a:gd name="csY70" fmla="*/ 7502 h 2018071"/>
              <a:gd name="csX71" fmla="*/ 2119617 w 3437996"/>
              <a:gd name="csY71" fmla="*/ 86919 h 2018071"/>
              <a:gd name="csX72" fmla="*/ 2805452 w 3437996"/>
              <a:gd name="csY72" fmla="*/ 622669 h 2018071"/>
              <a:gd name="csX73" fmla="*/ 3047873 w 3437996"/>
              <a:gd name="csY73" fmla="*/ 889895 h 2018071"/>
              <a:gd name="csX74" fmla="*/ 3201337 w 3437996"/>
              <a:gd name="csY74" fmla="*/ 1065192 h 2018071"/>
              <a:gd name="csX75" fmla="*/ 3322212 w 3437996"/>
              <a:gd name="csY75" fmla="*/ 1262254 h 2018071"/>
              <a:gd name="csX76" fmla="*/ 3434603 w 3437996"/>
              <a:gd name="csY76" fmla="*/ 1463610 h 2018071"/>
              <a:gd name="csX77" fmla="*/ 3437317 w 3437996"/>
              <a:gd name="csY77" fmla="*/ 1496424 h 2018071"/>
              <a:gd name="csX78" fmla="*/ 3437173 w 3437996"/>
              <a:gd name="csY78" fmla="*/ 1502015 h 2018071"/>
              <a:gd name="csX79" fmla="*/ 3265778 w 3437996"/>
              <a:gd name="csY79" fmla="*/ 1437268 h 2018071"/>
              <a:gd name="csX80" fmla="*/ 3131933 w 3437996"/>
              <a:gd name="csY80" fmla="*/ 1283723 h 2018071"/>
              <a:gd name="csX81" fmla="*/ 2856351 w 3437996"/>
              <a:gd name="csY81" fmla="*/ 1004478 h 2018071"/>
              <a:gd name="csX82" fmla="*/ 2818150 w 3437996"/>
              <a:gd name="csY82" fmla="*/ 969213 h 2018071"/>
              <a:gd name="csX83" fmla="*/ 2654127 w 3437996"/>
              <a:gd name="csY83" fmla="*/ 825572 h 2018071"/>
              <a:gd name="csX84" fmla="*/ 2651783 w 3437996"/>
              <a:gd name="csY84" fmla="*/ 823279 h 2018071"/>
              <a:gd name="csX85" fmla="*/ 2644017 w 3437996"/>
              <a:gd name="csY85" fmla="*/ 814773 h 2018071"/>
              <a:gd name="csX86" fmla="*/ 2642551 w 3437996"/>
              <a:gd name="csY86" fmla="*/ 813746 h 2018071"/>
              <a:gd name="csX87" fmla="*/ 2634494 w 3437996"/>
              <a:gd name="csY87" fmla="*/ 805208 h 2018071"/>
              <a:gd name="csX88" fmla="*/ 2633053 w 3437996"/>
              <a:gd name="csY88" fmla="*/ 804210 h 2018071"/>
              <a:gd name="csX89" fmla="*/ 2624994 w 3437996"/>
              <a:gd name="csY89" fmla="*/ 795655 h 2018071"/>
              <a:gd name="csX90" fmla="*/ 2623570 w 3437996"/>
              <a:gd name="csY90" fmla="*/ 794675 h 2018071"/>
              <a:gd name="csX91" fmla="*/ 2615495 w 3437996"/>
              <a:gd name="csY91" fmla="*/ 786111 h 2018071"/>
              <a:gd name="csX92" fmla="*/ 2614082 w 3437996"/>
              <a:gd name="csY92" fmla="*/ 785113 h 2018071"/>
              <a:gd name="csX93" fmla="*/ 2606007 w 3437996"/>
              <a:gd name="csY93" fmla="*/ 776562 h 2018071"/>
              <a:gd name="csX94" fmla="*/ 2604609 w 3437996"/>
              <a:gd name="csY94" fmla="*/ 775538 h 2018071"/>
              <a:gd name="csX95" fmla="*/ 2596489 w 3437996"/>
              <a:gd name="csY95" fmla="*/ 767032 h 2018071"/>
              <a:gd name="csX96" fmla="*/ 2595095 w 3437996"/>
              <a:gd name="csY96" fmla="*/ 766006 h 2018071"/>
              <a:gd name="csX97" fmla="*/ 2586954 w 3437996"/>
              <a:gd name="csY97" fmla="*/ 757512 h 2018071"/>
              <a:gd name="csX98" fmla="*/ 2585558 w 3437996"/>
              <a:gd name="csY98" fmla="*/ 756496 h 2018071"/>
              <a:gd name="csX99" fmla="*/ 2577410 w 3437996"/>
              <a:gd name="csY99" fmla="*/ 748000 h 2018071"/>
              <a:gd name="csX100" fmla="*/ 2576006 w 3437996"/>
              <a:gd name="csY100" fmla="*/ 747002 h 2018071"/>
              <a:gd name="csX101" fmla="*/ 2567871 w 3437996"/>
              <a:gd name="csY101" fmla="*/ 738486 h 2018071"/>
              <a:gd name="csX102" fmla="*/ 2566459 w 3437996"/>
              <a:gd name="csY102" fmla="*/ 737499 h 2018071"/>
              <a:gd name="csX103" fmla="*/ 2558352 w 3437996"/>
              <a:gd name="csY103" fmla="*/ 728962 h 2018071"/>
              <a:gd name="csX104" fmla="*/ 2556937 w 3437996"/>
              <a:gd name="csY104" fmla="*/ 727967 h 2018071"/>
              <a:gd name="csX105" fmla="*/ 2548845 w 3437996"/>
              <a:gd name="csY105" fmla="*/ 719430 h 2018071"/>
              <a:gd name="csX106" fmla="*/ 2547432 w 3437996"/>
              <a:gd name="csY106" fmla="*/ 718414 h 2018071"/>
              <a:gd name="csX107" fmla="*/ 2539350 w 3437996"/>
              <a:gd name="csY107" fmla="*/ 709894 h 2018071"/>
              <a:gd name="csX108" fmla="*/ 2537942 w 3437996"/>
              <a:gd name="csY108" fmla="*/ 708842 h 2018071"/>
              <a:gd name="csX109" fmla="*/ 2529865 w 3437996"/>
              <a:gd name="csY109" fmla="*/ 700356 h 2018071"/>
              <a:gd name="csX110" fmla="*/ 2528460 w 3437996"/>
              <a:gd name="csY110" fmla="*/ 699259 h 2018071"/>
              <a:gd name="csX111" fmla="*/ 2520386 w 3437996"/>
              <a:gd name="csY111" fmla="*/ 690820 h 2018071"/>
              <a:gd name="csX112" fmla="*/ 2518981 w 3437996"/>
              <a:gd name="csY112" fmla="*/ 689668 h 2018071"/>
              <a:gd name="csX113" fmla="*/ 2510900 w 3437996"/>
              <a:gd name="csY113" fmla="*/ 681286 h 2018071"/>
              <a:gd name="csX114" fmla="*/ 2509493 w 3437996"/>
              <a:gd name="csY114" fmla="*/ 680082 h 2018071"/>
              <a:gd name="csX115" fmla="*/ 2501400 w 3437996"/>
              <a:gd name="csY115" fmla="*/ 671754 h 2018071"/>
              <a:gd name="csX116" fmla="*/ 2499991 w 3437996"/>
              <a:gd name="csY116" fmla="*/ 670520 h 2018071"/>
              <a:gd name="csX117" fmla="*/ 2491892 w 3437996"/>
              <a:gd name="csY117" fmla="*/ 662222 h 2018071"/>
              <a:gd name="csX118" fmla="*/ 2490482 w 3437996"/>
              <a:gd name="csY118" fmla="*/ 660967 h 2018071"/>
              <a:gd name="csX119" fmla="*/ 2482391 w 3437996"/>
              <a:gd name="csY119" fmla="*/ 652682 h 2018071"/>
              <a:gd name="csX120" fmla="*/ 2480984 w 3437996"/>
              <a:gd name="csY120" fmla="*/ 651408 h 2018071"/>
              <a:gd name="csX121" fmla="*/ 2472919 w 3437996"/>
              <a:gd name="csY121" fmla="*/ 643127 h 2018071"/>
              <a:gd name="csX122" fmla="*/ 2471515 w 3437996"/>
              <a:gd name="csY122" fmla="*/ 641819 h 2018071"/>
              <a:gd name="csX123" fmla="*/ 2463424 w 3437996"/>
              <a:gd name="csY123" fmla="*/ 633584 h 2018071"/>
              <a:gd name="csX124" fmla="*/ 2462020 w 3437996"/>
              <a:gd name="csY124" fmla="*/ 632257 h 2018071"/>
              <a:gd name="csX125" fmla="*/ 2453925 w 3437996"/>
              <a:gd name="csY125" fmla="*/ 624049 h 2018071"/>
              <a:gd name="csX126" fmla="*/ 2452516 w 3437996"/>
              <a:gd name="csY126" fmla="*/ 622702 h 2018071"/>
              <a:gd name="csX127" fmla="*/ 2444450 w 3437996"/>
              <a:gd name="csY127" fmla="*/ 614506 h 2018071"/>
              <a:gd name="csX128" fmla="*/ 2443026 w 3437996"/>
              <a:gd name="csY128" fmla="*/ 613123 h 2018071"/>
              <a:gd name="csX129" fmla="*/ 2434957 w 3437996"/>
              <a:gd name="csY129" fmla="*/ 604969 h 2018071"/>
              <a:gd name="csX130" fmla="*/ 2433519 w 3437996"/>
              <a:gd name="csY130" fmla="*/ 603563 h 2018071"/>
              <a:gd name="csX131" fmla="*/ 2425486 w 3437996"/>
              <a:gd name="csY131" fmla="*/ 595418 h 2018071"/>
              <a:gd name="csX132" fmla="*/ 2424029 w 3437996"/>
              <a:gd name="csY132" fmla="*/ 593985 h 2018071"/>
              <a:gd name="csX133" fmla="*/ 2416081 w 3437996"/>
              <a:gd name="csY133" fmla="*/ 585841 h 2018071"/>
              <a:gd name="csX134" fmla="*/ 2414563 w 3437996"/>
              <a:gd name="csY134" fmla="*/ 584358 h 2018071"/>
              <a:gd name="csX135" fmla="*/ 2406640 w 3437996"/>
              <a:gd name="csY135" fmla="*/ 576281 h 2018071"/>
              <a:gd name="csX136" fmla="*/ 2405068 w 3437996"/>
              <a:gd name="csY136" fmla="*/ 574761 h 2018071"/>
              <a:gd name="csX137" fmla="*/ 2397176 w 3437996"/>
              <a:gd name="csY137" fmla="*/ 566733 h 2018071"/>
              <a:gd name="csX138" fmla="*/ 2395561 w 3437996"/>
              <a:gd name="csY138" fmla="*/ 565186 h 2018071"/>
              <a:gd name="csX139" fmla="*/ 2387690 w 3437996"/>
              <a:gd name="csY139" fmla="*/ 557193 h 2018071"/>
              <a:gd name="csX140" fmla="*/ 2386050 w 3437996"/>
              <a:gd name="csY140" fmla="*/ 555624 h 2018071"/>
              <a:gd name="csX141" fmla="*/ 2378191 w 3437996"/>
              <a:gd name="csY141" fmla="*/ 547659 h 2018071"/>
              <a:gd name="csX142" fmla="*/ 2376534 w 3437996"/>
              <a:gd name="csY142" fmla="*/ 546075 h 2018071"/>
              <a:gd name="csX143" fmla="*/ 2368704 w 3437996"/>
              <a:gd name="csY143" fmla="*/ 538124 h 2018071"/>
              <a:gd name="csX144" fmla="*/ 2367021 w 3437996"/>
              <a:gd name="csY144" fmla="*/ 536517 h 2018071"/>
              <a:gd name="csX145" fmla="*/ 2360018 w 3437996"/>
              <a:gd name="csY145" fmla="*/ 529380 h 2018071"/>
              <a:gd name="csX146" fmla="*/ 2357514 w 3437996"/>
              <a:gd name="csY146" fmla="*/ 526933 h 2018071"/>
              <a:gd name="csX147" fmla="*/ 2350552 w 3437996"/>
              <a:gd name="csY147" fmla="*/ 519835 h 2018071"/>
              <a:gd name="csX148" fmla="*/ 2348016 w 3437996"/>
              <a:gd name="csY148" fmla="*/ 517342 h 2018071"/>
              <a:gd name="csX149" fmla="*/ 2341054 w 3437996"/>
              <a:gd name="csY149" fmla="*/ 510297 h 2018071"/>
              <a:gd name="csX150" fmla="*/ 2338508 w 3437996"/>
              <a:gd name="csY150" fmla="*/ 507777 h 2018071"/>
              <a:gd name="csX151" fmla="*/ 2331539 w 3437996"/>
              <a:gd name="csY151" fmla="*/ 500765 h 2018071"/>
              <a:gd name="csX152" fmla="*/ 2328991 w 3437996"/>
              <a:gd name="csY152" fmla="*/ 498236 h 2018071"/>
              <a:gd name="csX153" fmla="*/ 2322020 w 3437996"/>
              <a:gd name="csY153" fmla="*/ 491243 h 2018071"/>
              <a:gd name="csX154" fmla="*/ 2319465 w 3437996"/>
              <a:gd name="csY154" fmla="*/ 488702 h 2018071"/>
              <a:gd name="csX155" fmla="*/ 2312510 w 3437996"/>
              <a:gd name="csY155" fmla="*/ 481725 h 2018071"/>
              <a:gd name="csX156" fmla="*/ 2309941 w 3437996"/>
              <a:gd name="csY156" fmla="*/ 479158 h 2018071"/>
              <a:gd name="csX157" fmla="*/ 2303024 w 3437996"/>
              <a:gd name="csY157" fmla="*/ 472210 h 2018071"/>
              <a:gd name="csX158" fmla="*/ 2300428 w 3437996"/>
              <a:gd name="csY158" fmla="*/ 469578 h 2018071"/>
              <a:gd name="csX159" fmla="*/ 2293545 w 3437996"/>
              <a:gd name="csY159" fmla="*/ 462697 h 2018071"/>
              <a:gd name="csX160" fmla="*/ 2290922 w 3437996"/>
              <a:gd name="csY160" fmla="*/ 459984 h 2018071"/>
              <a:gd name="csX161" fmla="*/ 2284051 w 3437996"/>
              <a:gd name="csY161" fmla="*/ 453172 h 2018071"/>
              <a:gd name="csX162" fmla="*/ 2281414 w 3437996"/>
              <a:gd name="csY162" fmla="*/ 450403 h 2018071"/>
              <a:gd name="csX163" fmla="*/ 2274560 w 3437996"/>
              <a:gd name="csY163" fmla="*/ 443646 h 2018071"/>
              <a:gd name="csX164" fmla="*/ 2271906 w 3437996"/>
              <a:gd name="csY164" fmla="*/ 440826 h 2018071"/>
              <a:gd name="csX165" fmla="*/ 2265120 w 3437996"/>
              <a:gd name="csY165" fmla="*/ 434112 h 2018071"/>
              <a:gd name="csX166" fmla="*/ 2262409 w 3437996"/>
              <a:gd name="csY166" fmla="*/ 431189 h 2018071"/>
              <a:gd name="csX167" fmla="*/ 2255765 w 3437996"/>
              <a:gd name="csY167" fmla="*/ 424557 h 2018071"/>
              <a:gd name="csX168" fmla="*/ 2252962 w 3437996"/>
              <a:gd name="csY168" fmla="*/ 421458 h 2018071"/>
              <a:gd name="csX169" fmla="*/ 2246361 w 3437996"/>
              <a:gd name="csY169" fmla="*/ 414989 h 2018071"/>
              <a:gd name="csX170" fmla="*/ 2226101 w 3437996"/>
              <a:gd name="csY170" fmla="*/ 394472 h 2018071"/>
              <a:gd name="csX171" fmla="*/ 2204126 w 3437996"/>
              <a:gd name="csY171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21387 w 3437996"/>
              <a:gd name="csY47" fmla="*/ 708333 h 2018071"/>
              <a:gd name="csX48" fmla="*/ 22313 w 3437996"/>
              <a:gd name="csY48" fmla="*/ 700409 h 2018071"/>
              <a:gd name="csX49" fmla="*/ 30962 w 3437996"/>
              <a:gd name="csY49" fmla="*/ 642260 h 2018071"/>
              <a:gd name="csX50" fmla="*/ 32315 w 3437996"/>
              <a:gd name="csY50" fmla="*/ 633805 h 2018071"/>
              <a:gd name="csX51" fmla="*/ 40506 w 3437996"/>
              <a:gd name="csY51" fmla="*/ 584580 h 2018071"/>
              <a:gd name="csX52" fmla="*/ 42550 w 3437996"/>
              <a:gd name="csY52" fmla="*/ 567648 h 2018071"/>
              <a:gd name="csX53" fmla="*/ 49883 w 3437996"/>
              <a:gd name="csY53" fmla="*/ 529082 h 2018071"/>
              <a:gd name="csX54" fmla="*/ 51048 w 3437996"/>
              <a:gd name="csY54" fmla="*/ 526838 h 2018071"/>
              <a:gd name="csX55" fmla="*/ 59483 w 3437996"/>
              <a:gd name="csY55" fmla="*/ 460900 h 2018071"/>
              <a:gd name="csX56" fmla="*/ 60600 w 3437996"/>
              <a:gd name="csY56" fmla="*/ 452775 h 2018071"/>
              <a:gd name="csX57" fmla="*/ 70360 w 3437996"/>
              <a:gd name="csY57" fmla="*/ 386909 h 2018071"/>
              <a:gd name="csX58" fmla="*/ 78687 w 3437996"/>
              <a:gd name="csY58" fmla="*/ 336299 h 2018071"/>
              <a:gd name="csX59" fmla="*/ 80332 w 3437996"/>
              <a:gd name="csY59" fmla="*/ 320109 h 2018071"/>
              <a:gd name="csX60" fmla="*/ 88193 w 3437996"/>
              <a:gd name="csY60" fmla="*/ 269877 h 2018071"/>
              <a:gd name="csX61" fmla="*/ 89741 w 3437996"/>
              <a:gd name="csY61" fmla="*/ 253550 h 2018071"/>
              <a:gd name="csX62" fmla="*/ 98008 w 3437996"/>
              <a:gd name="csY62" fmla="*/ 233543 h 2018071"/>
              <a:gd name="csX63" fmla="*/ 99628 w 3437996"/>
              <a:gd name="csY63" fmla="*/ 231506 h 2018071"/>
              <a:gd name="csX64" fmla="*/ 182353 w 3437996"/>
              <a:gd name="csY64" fmla="*/ 229554 h 2018071"/>
              <a:gd name="csX65" fmla="*/ 185812 w 3437996"/>
              <a:gd name="csY65" fmla="*/ 231380 h 2018071"/>
              <a:gd name="csX66" fmla="*/ 213726 w 3437996"/>
              <a:gd name="csY66" fmla="*/ 239233 h 2018071"/>
              <a:gd name="csX67" fmla="*/ 416961 w 3437996"/>
              <a:gd name="csY67" fmla="*/ 299911 h 2018071"/>
              <a:gd name="csX68" fmla="*/ 622809 w 3437996"/>
              <a:gd name="csY68" fmla="*/ 305227 h 2018071"/>
              <a:gd name="csX69" fmla="*/ 1851374 w 3437996"/>
              <a:gd name="csY69" fmla="*/ 7502 h 2018071"/>
              <a:gd name="csX70" fmla="*/ 2119617 w 3437996"/>
              <a:gd name="csY70" fmla="*/ 86919 h 2018071"/>
              <a:gd name="csX71" fmla="*/ 2805452 w 3437996"/>
              <a:gd name="csY71" fmla="*/ 622669 h 2018071"/>
              <a:gd name="csX72" fmla="*/ 3047873 w 3437996"/>
              <a:gd name="csY72" fmla="*/ 889895 h 2018071"/>
              <a:gd name="csX73" fmla="*/ 3201337 w 3437996"/>
              <a:gd name="csY73" fmla="*/ 1065192 h 2018071"/>
              <a:gd name="csX74" fmla="*/ 3322212 w 3437996"/>
              <a:gd name="csY74" fmla="*/ 1262254 h 2018071"/>
              <a:gd name="csX75" fmla="*/ 3434603 w 3437996"/>
              <a:gd name="csY75" fmla="*/ 1463610 h 2018071"/>
              <a:gd name="csX76" fmla="*/ 3437317 w 3437996"/>
              <a:gd name="csY76" fmla="*/ 1496424 h 2018071"/>
              <a:gd name="csX77" fmla="*/ 3437173 w 3437996"/>
              <a:gd name="csY77" fmla="*/ 1502015 h 2018071"/>
              <a:gd name="csX78" fmla="*/ 3265778 w 3437996"/>
              <a:gd name="csY78" fmla="*/ 1437268 h 2018071"/>
              <a:gd name="csX79" fmla="*/ 3131933 w 3437996"/>
              <a:gd name="csY79" fmla="*/ 1283723 h 2018071"/>
              <a:gd name="csX80" fmla="*/ 2856351 w 3437996"/>
              <a:gd name="csY80" fmla="*/ 1004478 h 2018071"/>
              <a:gd name="csX81" fmla="*/ 2818150 w 3437996"/>
              <a:gd name="csY81" fmla="*/ 969213 h 2018071"/>
              <a:gd name="csX82" fmla="*/ 2654127 w 3437996"/>
              <a:gd name="csY82" fmla="*/ 825572 h 2018071"/>
              <a:gd name="csX83" fmla="*/ 2651783 w 3437996"/>
              <a:gd name="csY83" fmla="*/ 823279 h 2018071"/>
              <a:gd name="csX84" fmla="*/ 2644017 w 3437996"/>
              <a:gd name="csY84" fmla="*/ 814773 h 2018071"/>
              <a:gd name="csX85" fmla="*/ 2642551 w 3437996"/>
              <a:gd name="csY85" fmla="*/ 813746 h 2018071"/>
              <a:gd name="csX86" fmla="*/ 2634494 w 3437996"/>
              <a:gd name="csY86" fmla="*/ 805208 h 2018071"/>
              <a:gd name="csX87" fmla="*/ 2633053 w 3437996"/>
              <a:gd name="csY87" fmla="*/ 804210 h 2018071"/>
              <a:gd name="csX88" fmla="*/ 2624994 w 3437996"/>
              <a:gd name="csY88" fmla="*/ 795655 h 2018071"/>
              <a:gd name="csX89" fmla="*/ 2623570 w 3437996"/>
              <a:gd name="csY89" fmla="*/ 794675 h 2018071"/>
              <a:gd name="csX90" fmla="*/ 2615495 w 3437996"/>
              <a:gd name="csY90" fmla="*/ 786111 h 2018071"/>
              <a:gd name="csX91" fmla="*/ 2614082 w 3437996"/>
              <a:gd name="csY91" fmla="*/ 785113 h 2018071"/>
              <a:gd name="csX92" fmla="*/ 2606007 w 3437996"/>
              <a:gd name="csY92" fmla="*/ 776562 h 2018071"/>
              <a:gd name="csX93" fmla="*/ 2604609 w 3437996"/>
              <a:gd name="csY93" fmla="*/ 775538 h 2018071"/>
              <a:gd name="csX94" fmla="*/ 2596489 w 3437996"/>
              <a:gd name="csY94" fmla="*/ 767032 h 2018071"/>
              <a:gd name="csX95" fmla="*/ 2595095 w 3437996"/>
              <a:gd name="csY95" fmla="*/ 766006 h 2018071"/>
              <a:gd name="csX96" fmla="*/ 2586954 w 3437996"/>
              <a:gd name="csY96" fmla="*/ 757512 h 2018071"/>
              <a:gd name="csX97" fmla="*/ 2585558 w 3437996"/>
              <a:gd name="csY97" fmla="*/ 756496 h 2018071"/>
              <a:gd name="csX98" fmla="*/ 2577410 w 3437996"/>
              <a:gd name="csY98" fmla="*/ 748000 h 2018071"/>
              <a:gd name="csX99" fmla="*/ 2576006 w 3437996"/>
              <a:gd name="csY99" fmla="*/ 747002 h 2018071"/>
              <a:gd name="csX100" fmla="*/ 2567871 w 3437996"/>
              <a:gd name="csY100" fmla="*/ 738486 h 2018071"/>
              <a:gd name="csX101" fmla="*/ 2566459 w 3437996"/>
              <a:gd name="csY101" fmla="*/ 737499 h 2018071"/>
              <a:gd name="csX102" fmla="*/ 2558352 w 3437996"/>
              <a:gd name="csY102" fmla="*/ 728962 h 2018071"/>
              <a:gd name="csX103" fmla="*/ 2556937 w 3437996"/>
              <a:gd name="csY103" fmla="*/ 727967 h 2018071"/>
              <a:gd name="csX104" fmla="*/ 2548845 w 3437996"/>
              <a:gd name="csY104" fmla="*/ 719430 h 2018071"/>
              <a:gd name="csX105" fmla="*/ 2547432 w 3437996"/>
              <a:gd name="csY105" fmla="*/ 718414 h 2018071"/>
              <a:gd name="csX106" fmla="*/ 2539350 w 3437996"/>
              <a:gd name="csY106" fmla="*/ 709894 h 2018071"/>
              <a:gd name="csX107" fmla="*/ 2537942 w 3437996"/>
              <a:gd name="csY107" fmla="*/ 708842 h 2018071"/>
              <a:gd name="csX108" fmla="*/ 2529865 w 3437996"/>
              <a:gd name="csY108" fmla="*/ 700356 h 2018071"/>
              <a:gd name="csX109" fmla="*/ 2528460 w 3437996"/>
              <a:gd name="csY109" fmla="*/ 699259 h 2018071"/>
              <a:gd name="csX110" fmla="*/ 2520386 w 3437996"/>
              <a:gd name="csY110" fmla="*/ 690820 h 2018071"/>
              <a:gd name="csX111" fmla="*/ 2518981 w 3437996"/>
              <a:gd name="csY111" fmla="*/ 689668 h 2018071"/>
              <a:gd name="csX112" fmla="*/ 2510900 w 3437996"/>
              <a:gd name="csY112" fmla="*/ 681286 h 2018071"/>
              <a:gd name="csX113" fmla="*/ 2509493 w 3437996"/>
              <a:gd name="csY113" fmla="*/ 680082 h 2018071"/>
              <a:gd name="csX114" fmla="*/ 2501400 w 3437996"/>
              <a:gd name="csY114" fmla="*/ 671754 h 2018071"/>
              <a:gd name="csX115" fmla="*/ 2499991 w 3437996"/>
              <a:gd name="csY115" fmla="*/ 670520 h 2018071"/>
              <a:gd name="csX116" fmla="*/ 2491892 w 3437996"/>
              <a:gd name="csY116" fmla="*/ 662222 h 2018071"/>
              <a:gd name="csX117" fmla="*/ 2490482 w 3437996"/>
              <a:gd name="csY117" fmla="*/ 660967 h 2018071"/>
              <a:gd name="csX118" fmla="*/ 2482391 w 3437996"/>
              <a:gd name="csY118" fmla="*/ 652682 h 2018071"/>
              <a:gd name="csX119" fmla="*/ 2480984 w 3437996"/>
              <a:gd name="csY119" fmla="*/ 651408 h 2018071"/>
              <a:gd name="csX120" fmla="*/ 2472919 w 3437996"/>
              <a:gd name="csY120" fmla="*/ 643127 h 2018071"/>
              <a:gd name="csX121" fmla="*/ 2471515 w 3437996"/>
              <a:gd name="csY121" fmla="*/ 641819 h 2018071"/>
              <a:gd name="csX122" fmla="*/ 2463424 w 3437996"/>
              <a:gd name="csY122" fmla="*/ 633584 h 2018071"/>
              <a:gd name="csX123" fmla="*/ 2462020 w 3437996"/>
              <a:gd name="csY123" fmla="*/ 632257 h 2018071"/>
              <a:gd name="csX124" fmla="*/ 2453925 w 3437996"/>
              <a:gd name="csY124" fmla="*/ 624049 h 2018071"/>
              <a:gd name="csX125" fmla="*/ 2452516 w 3437996"/>
              <a:gd name="csY125" fmla="*/ 622702 h 2018071"/>
              <a:gd name="csX126" fmla="*/ 2444450 w 3437996"/>
              <a:gd name="csY126" fmla="*/ 614506 h 2018071"/>
              <a:gd name="csX127" fmla="*/ 2443026 w 3437996"/>
              <a:gd name="csY127" fmla="*/ 613123 h 2018071"/>
              <a:gd name="csX128" fmla="*/ 2434957 w 3437996"/>
              <a:gd name="csY128" fmla="*/ 604969 h 2018071"/>
              <a:gd name="csX129" fmla="*/ 2433519 w 3437996"/>
              <a:gd name="csY129" fmla="*/ 603563 h 2018071"/>
              <a:gd name="csX130" fmla="*/ 2425486 w 3437996"/>
              <a:gd name="csY130" fmla="*/ 595418 h 2018071"/>
              <a:gd name="csX131" fmla="*/ 2424029 w 3437996"/>
              <a:gd name="csY131" fmla="*/ 593985 h 2018071"/>
              <a:gd name="csX132" fmla="*/ 2416081 w 3437996"/>
              <a:gd name="csY132" fmla="*/ 585841 h 2018071"/>
              <a:gd name="csX133" fmla="*/ 2414563 w 3437996"/>
              <a:gd name="csY133" fmla="*/ 584358 h 2018071"/>
              <a:gd name="csX134" fmla="*/ 2406640 w 3437996"/>
              <a:gd name="csY134" fmla="*/ 576281 h 2018071"/>
              <a:gd name="csX135" fmla="*/ 2405068 w 3437996"/>
              <a:gd name="csY135" fmla="*/ 574761 h 2018071"/>
              <a:gd name="csX136" fmla="*/ 2397176 w 3437996"/>
              <a:gd name="csY136" fmla="*/ 566733 h 2018071"/>
              <a:gd name="csX137" fmla="*/ 2395561 w 3437996"/>
              <a:gd name="csY137" fmla="*/ 565186 h 2018071"/>
              <a:gd name="csX138" fmla="*/ 2387690 w 3437996"/>
              <a:gd name="csY138" fmla="*/ 557193 h 2018071"/>
              <a:gd name="csX139" fmla="*/ 2386050 w 3437996"/>
              <a:gd name="csY139" fmla="*/ 555624 h 2018071"/>
              <a:gd name="csX140" fmla="*/ 2378191 w 3437996"/>
              <a:gd name="csY140" fmla="*/ 547659 h 2018071"/>
              <a:gd name="csX141" fmla="*/ 2376534 w 3437996"/>
              <a:gd name="csY141" fmla="*/ 546075 h 2018071"/>
              <a:gd name="csX142" fmla="*/ 2368704 w 3437996"/>
              <a:gd name="csY142" fmla="*/ 538124 h 2018071"/>
              <a:gd name="csX143" fmla="*/ 2367021 w 3437996"/>
              <a:gd name="csY143" fmla="*/ 536517 h 2018071"/>
              <a:gd name="csX144" fmla="*/ 2360018 w 3437996"/>
              <a:gd name="csY144" fmla="*/ 529380 h 2018071"/>
              <a:gd name="csX145" fmla="*/ 2357514 w 3437996"/>
              <a:gd name="csY145" fmla="*/ 526933 h 2018071"/>
              <a:gd name="csX146" fmla="*/ 2350552 w 3437996"/>
              <a:gd name="csY146" fmla="*/ 519835 h 2018071"/>
              <a:gd name="csX147" fmla="*/ 2348016 w 3437996"/>
              <a:gd name="csY147" fmla="*/ 517342 h 2018071"/>
              <a:gd name="csX148" fmla="*/ 2341054 w 3437996"/>
              <a:gd name="csY148" fmla="*/ 510297 h 2018071"/>
              <a:gd name="csX149" fmla="*/ 2338508 w 3437996"/>
              <a:gd name="csY149" fmla="*/ 507777 h 2018071"/>
              <a:gd name="csX150" fmla="*/ 2331539 w 3437996"/>
              <a:gd name="csY150" fmla="*/ 500765 h 2018071"/>
              <a:gd name="csX151" fmla="*/ 2328991 w 3437996"/>
              <a:gd name="csY151" fmla="*/ 498236 h 2018071"/>
              <a:gd name="csX152" fmla="*/ 2322020 w 3437996"/>
              <a:gd name="csY152" fmla="*/ 491243 h 2018071"/>
              <a:gd name="csX153" fmla="*/ 2319465 w 3437996"/>
              <a:gd name="csY153" fmla="*/ 488702 h 2018071"/>
              <a:gd name="csX154" fmla="*/ 2312510 w 3437996"/>
              <a:gd name="csY154" fmla="*/ 481725 h 2018071"/>
              <a:gd name="csX155" fmla="*/ 2309941 w 3437996"/>
              <a:gd name="csY155" fmla="*/ 479158 h 2018071"/>
              <a:gd name="csX156" fmla="*/ 2303024 w 3437996"/>
              <a:gd name="csY156" fmla="*/ 472210 h 2018071"/>
              <a:gd name="csX157" fmla="*/ 2300428 w 3437996"/>
              <a:gd name="csY157" fmla="*/ 469578 h 2018071"/>
              <a:gd name="csX158" fmla="*/ 2293545 w 3437996"/>
              <a:gd name="csY158" fmla="*/ 462697 h 2018071"/>
              <a:gd name="csX159" fmla="*/ 2290922 w 3437996"/>
              <a:gd name="csY159" fmla="*/ 459984 h 2018071"/>
              <a:gd name="csX160" fmla="*/ 2284051 w 3437996"/>
              <a:gd name="csY160" fmla="*/ 453172 h 2018071"/>
              <a:gd name="csX161" fmla="*/ 2281414 w 3437996"/>
              <a:gd name="csY161" fmla="*/ 450403 h 2018071"/>
              <a:gd name="csX162" fmla="*/ 2274560 w 3437996"/>
              <a:gd name="csY162" fmla="*/ 443646 h 2018071"/>
              <a:gd name="csX163" fmla="*/ 2271906 w 3437996"/>
              <a:gd name="csY163" fmla="*/ 440826 h 2018071"/>
              <a:gd name="csX164" fmla="*/ 2265120 w 3437996"/>
              <a:gd name="csY164" fmla="*/ 434112 h 2018071"/>
              <a:gd name="csX165" fmla="*/ 2262409 w 3437996"/>
              <a:gd name="csY165" fmla="*/ 431189 h 2018071"/>
              <a:gd name="csX166" fmla="*/ 2255765 w 3437996"/>
              <a:gd name="csY166" fmla="*/ 424557 h 2018071"/>
              <a:gd name="csX167" fmla="*/ 2252962 w 3437996"/>
              <a:gd name="csY167" fmla="*/ 421458 h 2018071"/>
              <a:gd name="csX168" fmla="*/ 2246361 w 3437996"/>
              <a:gd name="csY168" fmla="*/ 414989 h 2018071"/>
              <a:gd name="csX169" fmla="*/ 2226101 w 3437996"/>
              <a:gd name="csY169" fmla="*/ 394472 h 2018071"/>
              <a:gd name="csX170" fmla="*/ 2204126 w 3437996"/>
              <a:gd name="csY170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21387 w 3437996"/>
              <a:gd name="csY47" fmla="*/ 708333 h 2018071"/>
              <a:gd name="csX48" fmla="*/ 22313 w 3437996"/>
              <a:gd name="csY48" fmla="*/ 700409 h 2018071"/>
              <a:gd name="csX49" fmla="*/ 30962 w 3437996"/>
              <a:gd name="csY49" fmla="*/ 642260 h 2018071"/>
              <a:gd name="csX50" fmla="*/ 32315 w 3437996"/>
              <a:gd name="csY50" fmla="*/ 633805 h 2018071"/>
              <a:gd name="csX51" fmla="*/ 40506 w 3437996"/>
              <a:gd name="csY51" fmla="*/ 584580 h 2018071"/>
              <a:gd name="csX52" fmla="*/ 42550 w 3437996"/>
              <a:gd name="csY52" fmla="*/ 567648 h 2018071"/>
              <a:gd name="csX53" fmla="*/ 49883 w 3437996"/>
              <a:gd name="csY53" fmla="*/ 529082 h 2018071"/>
              <a:gd name="csX54" fmla="*/ 51048 w 3437996"/>
              <a:gd name="csY54" fmla="*/ 526838 h 2018071"/>
              <a:gd name="csX55" fmla="*/ 59483 w 3437996"/>
              <a:gd name="csY55" fmla="*/ 460900 h 2018071"/>
              <a:gd name="csX56" fmla="*/ 60600 w 3437996"/>
              <a:gd name="csY56" fmla="*/ 452775 h 2018071"/>
              <a:gd name="csX57" fmla="*/ 78687 w 3437996"/>
              <a:gd name="csY57" fmla="*/ 336299 h 2018071"/>
              <a:gd name="csX58" fmla="*/ 80332 w 3437996"/>
              <a:gd name="csY58" fmla="*/ 320109 h 2018071"/>
              <a:gd name="csX59" fmla="*/ 88193 w 3437996"/>
              <a:gd name="csY59" fmla="*/ 269877 h 2018071"/>
              <a:gd name="csX60" fmla="*/ 89741 w 3437996"/>
              <a:gd name="csY60" fmla="*/ 253550 h 2018071"/>
              <a:gd name="csX61" fmla="*/ 98008 w 3437996"/>
              <a:gd name="csY61" fmla="*/ 233543 h 2018071"/>
              <a:gd name="csX62" fmla="*/ 99628 w 3437996"/>
              <a:gd name="csY62" fmla="*/ 231506 h 2018071"/>
              <a:gd name="csX63" fmla="*/ 182353 w 3437996"/>
              <a:gd name="csY63" fmla="*/ 229554 h 2018071"/>
              <a:gd name="csX64" fmla="*/ 185812 w 3437996"/>
              <a:gd name="csY64" fmla="*/ 231380 h 2018071"/>
              <a:gd name="csX65" fmla="*/ 213726 w 3437996"/>
              <a:gd name="csY65" fmla="*/ 239233 h 2018071"/>
              <a:gd name="csX66" fmla="*/ 416961 w 3437996"/>
              <a:gd name="csY66" fmla="*/ 299911 h 2018071"/>
              <a:gd name="csX67" fmla="*/ 622809 w 3437996"/>
              <a:gd name="csY67" fmla="*/ 305227 h 2018071"/>
              <a:gd name="csX68" fmla="*/ 1851374 w 3437996"/>
              <a:gd name="csY68" fmla="*/ 7502 h 2018071"/>
              <a:gd name="csX69" fmla="*/ 2119617 w 3437996"/>
              <a:gd name="csY69" fmla="*/ 86919 h 2018071"/>
              <a:gd name="csX70" fmla="*/ 2805452 w 3437996"/>
              <a:gd name="csY70" fmla="*/ 622669 h 2018071"/>
              <a:gd name="csX71" fmla="*/ 3047873 w 3437996"/>
              <a:gd name="csY71" fmla="*/ 889895 h 2018071"/>
              <a:gd name="csX72" fmla="*/ 3201337 w 3437996"/>
              <a:gd name="csY72" fmla="*/ 1065192 h 2018071"/>
              <a:gd name="csX73" fmla="*/ 3322212 w 3437996"/>
              <a:gd name="csY73" fmla="*/ 1262254 h 2018071"/>
              <a:gd name="csX74" fmla="*/ 3434603 w 3437996"/>
              <a:gd name="csY74" fmla="*/ 1463610 h 2018071"/>
              <a:gd name="csX75" fmla="*/ 3437317 w 3437996"/>
              <a:gd name="csY75" fmla="*/ 1496424 h 2018071"/>
              <a:gd name="csX76" fmla="*/ 3437173 w 3437996"/>
              <a:gd name="csY76" fmla="*/ 1502015 h 2018071"/>
              <a:gd name="csX77" fmla="*/ 3265778 w 3437996"/>
              <a:gd name="csY77" fmla="*/ 1437268 h 2018071"/>
              <a:gd name="csX78" fmla="*/ 3131933 w 3437996"/>
              <a:gd name="csY78" fmla="*/ 1283723 h 2018071"/>
              <a:gd name="csX79" fmla="*/ 2856351 w 3437996"/>
              <a:gd name="csY79" fmla="*/ 1004478 h 2018071"/>
              <a:gd name="csX80" fmla="*/ 2818150 w 3437996"/>
              <a:gd name="csY80" fmla="*/ 969213 h 2018071"/>
              <a:gd name="csX81" fmla="*/ 2654127 w 3437996"/>
              <a:gd name="csY81" fmla="*/ 825572 h 2018071"/>
              <a:gd name="csX82" fmla="*/ 2651783 w 3437996"/>
              <a:gd name="csY82" fmla="*/ 823279 h 2018071"/>
              <a:gd name="csX83" fmla="*/ 2644017 w 3437996"/>
              <a:gd name="csY83" fmla="*/ 814773 h 2018071"/>
              <a:gd name="csX84" fmla="*/ 2642551 w 3437996"/>
              <a:gd name="csY84" fmla="*/ 813746 h 2018071"/>
              <a:gd name="csX85" fmla="*/ 2634494 w 3437996"/>
              <a:gd name="csY85" fmla="*/ 805208 h 2018071"/>
              <a:gd name="csX86" fmla="*/ 2633053 w 3437996"/>
              <a:gd name="csY86" fmla="*/ 804210 h 2018071"/>
              <a:gd name="csX87" fmla="*/ 2624994 w 3437996"/>
              <a:gd name="csY87" fmla="*/ 795655 h 2018071"/>
              <a:gd name="csX88" fmla="*/ 2623570 w 3437996"/>
              <a:gd name="csY88" fmla="*/ 794675 h 2018071"/>
              <a:gd name="csX89" fmla="*/ 2615495 w 3437996"/>
              <a:gd name="csY89" fmla="*/ 786111 h 2018071"/>
              <a:gd name="csX90" fmla="*/ 2614082 w 3437996"/>
              <a:gd name="csY90" fmla="*/ 785113 h 2018071"/>
              <a:gd name="csX91" fmla="*/ 2606007 w 3437996"/>
              <a:gd name="csY91" fmla="*/ 776562 h 2018071"/>
              <a:gd name="csX92" fmla="*/ 2604609 w 3437996"/>
              <a:gd name="csY92" fmla="*/ 775538 h 2018071"/>
              <a:gd name="csX93" fmla="*/ 2596489 w 3437996"/>
              <a:gd name="csY93" fmla="*/ 767032 h 2018071"/>
              <a:gd name="csX94" fmla="*/ 2595095 w 3437996"/>
              <a:gd name="csY94" fmla="*/ 766006 h 2018071"/>
              <a:gd name="csX95" fmla="*/ 2586954 w 3437996"/>
              <a:gd name="csY95" fmla="*/ 757512 h 2018071"/>
              <a:gd name="csX96" fmla="*/ 2585558 w 3437996"/>
              <a:gd name="csY96" fmla="*/ 756496 h 2018071"/>
              <a:gd name="csX97" fmla="*/ 2577410 w 3437996"/>
              <a:gd name="csY97" fmla="*/ 748000 h 2018071"/>
              <a:gd name="csX98" fmla="*/ 2576006 w 3437996"/>
              <a:gd name="csY98" fmla="*/ 747002 h 2018071"/>
              <a:gd name="csX99" fmla="*/ 2567871 w 3437996"/>
              <a:gd name="csY99" fmla="*/ 738486 h 2018071"/>
              <a:gd name="csX100" fmla="*/ 2566459 w 3437996"/>
              <a:gd name="csY100" fmla="*/ 737499 h 2018071"/>
              <a:gd name="csX101" fmla="*/ 2558352 w 3437996"/>
              <a:gd name="csY101" fmla="*/ 728962 h 2018071"/>
              <a:gd name="csX102" fmla="*/ 2556937 w 3437996"/>
              <a:gd name="csY102" fmla="*/ 727967 h 2018071"/>
              <a:gd name="csX103" fmla="*/ 2548845 w 3437996"/>
              <a:gd name="csY103" fmla="*/ 719430 h 2018071"/>
              <a:gd name="csX104" fmla="*/ 2547432 w 3437996"/>
              <a:gd name="csY104" fmla="*/ 718414 h 2018071"/>
              <a:gd name="csX105" fmla="*/ 2539350 w 3437996"/>
              <a:gd name="csY105" fmla="*/ 709894 h 2018071"/>
              <a:gd name="csX106" fmla="*/ 2537942 w 3437996"/>
              <a:gd name="csY106" fmla="*/ 708842 h 2018071"/>
              <a:gd name="csX107" fmla="*/ 2529865 w 3437996"/>
              <a:gd name="csY107" fmla="*/ 700356 h 2018071"/>
              <a:gd name="csX108" fmla="*/ 2528460 w 3437996"/>
              <a:gd name="csY108" fmla="*/ 699259 h 2018071"/>
              <a:gd name="csX109" fmla="*/ 2520386 w 3437996"/>
              <a:gd name="csY109" fmla="*/ 690820 h 2018071"/>
              <a:gd name="csX110" fmla="*/ 2518981 w 3437996"/>
              <a:gd name="csY110" fmla="*/ 689668 h 2018071"/>
              <a:gd name="csX111" fmla="*/ 2510900 w 3437996"/>
              <a:gd name="csY111" fmla="*/ 681286 h 2018071"/>
              <a:gd name="csX112" fmla="*/ 2509493 w 3437996"/>
              <a:gd name="csY112" fmla="*/ 680082 h 2018071"/>
              <a:gd name="csX113" fmla="*/ 2501400 w 3437996"/>
              <a:gd name="csY113" fmla="*/ 671754 h 2018071"/>
              <a:gd name="csX114" fmla="*/ 2499991 w 3437996"/>
              <a:gd name="csY114" fmla="*/ 670520 h 2018071"/>
              <a:gd name="csX115" fmla="*/ 2491892 w 3437996"/>
              <a:gd name="csY115" fmla="*/ 662222 h 2018071"/>
              <a:gd name="csX116" fmla="*/ 2490482 w 3437996"/>
              <a:gd name="csY116" fmla="*/ 660967 h 2018071"/>
              <a:gd name="csX117" fmla="*/ 2482391 w 3437996"/>
              <a:gd name="csY117" fmla="*/ 652682 h 2018071"/>
              <a:gd name="csX118" fmla="*/ 2480984 w 3437996"/>
              <a:gd name="csY118" fmla="*/ 651408 h 2018071"/>
              <a:gd name="csX119" fmla="*/ 2472919 w 3437996"/>
              <a:gd name="csY119" fmla="*/ 643127 h 2018071"/>
              <a:gd name="csX120" fmla="*/ 2471515 w 3437996"/>
              <a:gd name="csY120" fmla="*/ 641819 h 2018071"/>
              <a:gd name="csX121" fmla="*/ 2463424 w 3437996"/>
              <a:gd name="csY121" fmla="*/ 633584 h 2018071"/>
              <a:gd name="csX122" fmla="*/ 2462020 w 3437996"/>
              <a:gd name="csY122" fmla="*/ 632257 h 2018071"/>
              <a:gd name="csX123" fmla="*/ 2453925 w 3437996"/>
              <a:gd name="csY123" fmla="*/ 624049 h 2018071"/>
              <a:gd name="csX124" fmla="*/ 2452516 w 3437996"/>
              <a:gd name="csY124" fmla="*/ 622702 h 2018071"/>
              <a:gd name="csX125" fmla="*/ 2444450 w 3437996"/>
              <a:gd name="csY125" fmla="*/ 614506 h 2018071"/>
              <a:gd name="csX126" fmla="*/ 2443026 w 3437996"/>
              <a:gd name="csY126" fmla="*/ 613123 h 2018071"/>
              <a:gd name="csX127" fmla="*/ 2434957 w 3437996"/>
              <a:gd name="csY127" fmla="*/ 604969 h 2018071"/>
              <a:gd name="csX128" fmla="*/ 2433519 w 3437996"/>
              <a:gd name="csY128" fmla="*/ 603563 h 2018071"/>
              <a:gd name="csX129" fmla="*/ 2425486 w 3437996"/>
              <a:gd name="csY129" fmla="*/ 595418 h 2018071"/>
              <a:gd name="csX130" fmla="*/ 2424029 w 3437996"/>
              <a:gd name="csY130" fmla="*/ 593985 h 2018071"/>
              <a:gd name="csX131" fmla="*/ 2416081 w 3437996"/>
              <a:gd name="csY131" fmla="*/ 585841 h 2018071"/>
              <a:gd name="csX132" fmla="*/ 2414563 w 3437996"/>
              <a:gd name="csY132" fmla="*/ 584358 h 2018071"/>
              <a:gd name="csX133" fmla="*/ 2406640 w 3437996"/>
              <a:gd name="csY133" fmla="*/ 576281 h 2018071"/>
              <a:gd name="csX134" fmla="*/ 2405068 w 3437996"/>
              <a:gd name="csY134" fmla="*/ 574761 h 2018071"/>
              <a:gd name="csX135" fmla="*/ 2397176 w 3437996"/>
              <a:gd name="csY135" fmla="*/ 566733 h 2018071"/>
              <a:gd name="csX136" fmla="*/ 2395561 w 3437996"/>
              <a:gd name="csY136" fmla="*/ 565186 h 2018071"/>
              <a:gd name="csX137" fmla="*/ 2387690 w 3437996"/>
              <a:gd name="csY137" fmla="*/ 557193 h 2018071"/>
              <a:gd name="csX138" fmla="*/ 2386050 w 3437996"/>
              <a:gd name="csY138" fmla="*/ 555624 h 2018071"/>
              <a:gd name="csX139" fmla="*/ 2378191 w 3437996"/>
              <a:gd name="csY139" fmla="*/ 547659 h 2018071"/>
              <a:gd name="csX140" fmla="*/ 2376534 w 3437996"/>
              <a:gd name="csY140" fmla="*/ 546075 h 2018071"/>
              <a:gd name="csX141" fmla="*/ 2368704 w 3437996"/>
              <a:gd name="csY141" fmla="*/ 538124 h 2018071"/>
              <a:gd name="csX142" fmla="*/ 2367021 w 3437996"/>
              <a:gd name="csY142" fmla="*/ 536517 h 2018071"/>
              <a:gd name="csX143" fmla="*/ 2360018 w 3437996"/>
              <a:gd name="csY143" fmla="*/ 529380 h 2018071"/>
              <a:gd name="csX144" fmla="*/ 2357514 w 3437996"/>
              <a:gd name="csY144" fmla="*/ 526933 h 2018071"/>
              <a:gd name="csX145" fmla="*/ 2350552 w 3437996"/>
              <a:gd name="csY145" fmla="*/ 519835 h 2018071"/>
              <a:gd name="csX146" fmla="*/ 2348016 w 3437996"/>
              <a:gd name="csY146" fmla="*/ 517342 h 2018071"/>
              <a:gd name="csX147" fmla="*/ 2341054 w 3437996"/>
              <a:gd name="csY147" fmla="*/ 510297 h 2018071"/>
              <a:gd name="csX148" fmla="*/ 2338508 w 3437996"/>
              <a:gd name="csY148" fmla="*/ 507777 h 2018071"/>
              <a:gd name="csX149" fmla="*/ 2331539 w 3437996"/>
              <a:gd name="csY149" fmla="*/ 500765 h 2018071"/>
              <a:gd name="csX150" fmla="*/ 2328991 w 3437996"/>
              <a:gd name="csY150" fmla="*/ 498236 h 2018071"/>
              <a:gd name="csX151" fmla="*/ 2322020 w 3437996"/>
              <a:gd name="csY151" fmla="*/ 491243 h 2018071"/>
              <a:gd name="csX152" fmla="*/ 2319465 w 3437996"/>
              <a:gd name="csY152" fmla="*/ 488702 h 2018071"/>
              <a:gd name="csX153" fmla="*/ 2312510 w 3437996"/>
              <a:gd name="csY153" fmla="*/ 481725 h 2018071"/>
              <a:gd name="csX154" fmla="*/ 2309941 w 3437996"/>
              <a:gd name="csY154" fmla="*/ 479158 h 2018071"/>
              <a:gd name="csX155" fmla="*/ 2303024 w 3437996"/>
              <a:gd name="csY155" fmla="*/ 472210 h 2018071"/>
              <a:gd name="csX156" fmla="*/ 2300428 w 3437996"/>
              <a:gd name="csY156" fmla="*/ 469578 h 2018071"/>
              <a:gd name="csX157" fmla="*/ 2293545 w 3437996"/>
              <a:gd name="csY157" fmla="*/ 462697 h 2018071"/>
              <a:gd name="csX158" fmla="*/ 2290922 w 3437996"/>
              <a:gd name="csY158" fmla="*/ 459984 h 2018071"/>
              <a:gd name="csX159" fmla="*/ 2284051 w 3437996"/>
              <a:gd name="csY159" fmla="*/ 453172 h 2018071"/>
              <a:gd name="csX160" fmla="*/ 2281414 w 3437996"/>
              <a:gd name="csY160" fmla="*/ 450403 h 2018071"/>
              <a:gd name="csX161" fmla="*/ 2274560 w 3437996"/>
              <a:gd name="csY161" fmla="*/ 443646 h 2018071"/>
              <a:gd name="csX162" fmla="*/ 2271906 w 3437996"/>
              <a:gd name="csY162" fmla="*/ 440826 h 2018071"/>
              <a:gd name="csX163" fmla="*/ 2265120 w 3437996"/>
              <a:gd name="csY163" fmla="*/ 434112 h 2018071"/>
              <a:gd name="csX164" fmla="*/ 2262409 w 3437996"/>
              <a:gd name="csY164" fmla="*/ 431189 h 2018071"/>
              <a:gd name="csX165" fmla="*/ 2255765 w 3437996"/>
              <a:gd name="csY165" fmla="*/ 424557 h 2018071"/>
              <a:gd name="csX166" fmla="*/ 2252962 w 3437996"/>
              <a:gd name="csY166" fmla="*/ 421458 h 2018071"/>
              <a:gd name="csX167" fmla="*/ 2246361 w 3437996"/>
              <a:gd name="csY167" fmla="*/ 414989 h 2018071"/>
              <a:gd name="csX168" fmla="*/ 2226101 w 3437996"/>
              <a:gd name="csY168" fmla="*/ 394472 h 2018071"/>
              <a:gd name="csX169" fmla="*/ 2204126 w 3437996"/>
              <a:gd name="csY169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21387 w 3437996"/>
              <a:gd name="csY47" fmla="*/ 708333 h 2018071"/>
              <a:gd name="csX48" fmla="*/ 22313 w 3437996"/>
              <a:gd name="csY48" fmla="*/ 700409 h 2018071"/>
              <a:gd name="csX49" fmla="*/ 30962 w 3437996"/>
              <a:gd name="csY49" fmla="*/ 642260 h 2018071"/>
              <a:gd name="csX50" fmla="*/ 32315 w 3437996"/>
              <a:gd name="csY50" fmla="*/ 633805 h 2018071"/>
              <a:gd name="csX51" fmla="*/ 40506 w 3437996"/>
              <a:gd name="csY51" fmla="*/ 584580 h 2018071"/>
              <a:gd name="csX52" fmla="*/ 42550 w 3437996"/>
              <a:gd name="csY52" fmla="*/ 567648 h 2018071"/>
              <a:gd name="csX53" fmla="*/ 49883 w 3437996"/>
              <a:gd name="csY53" fmla="*/ 529082 h 2018071"/>
              <a:gd name="csX54" fmla="*/ 51048 w 3437996"/>
              <a:gd name="csY54" fmla="*/ 526838 h 2018071"/>
              <a:gd name="csX55" fmla="*/ 59483 w 3437996"/>
              <a:gd name="csY55" fmla="*/ 460900 h 2018071"/>
              <a:gd name="csX56" fmla="*/ 60600 w 3437996"/>
              <a:gd name="csY56" fmla="*/ 452775 h 2018071"/>
              <a:gd name="csX57" fmla="*/ 80332 w 3437996"/>
              <a:gd name="csY57" fmla="*/ 320109 h 2018071"/>
              <a:gd name="csX58" fmla="*/ 88193 w 3437996"/>
              <a:gd name="csY58" fmla="*/ 269877 h 2018071"/>
              <a:gd name="csX59" fmla="*/ 89741 w 3437996"/>
              <a:gd name="csY59" fmla="*/ 253550 h 2018071"/>
              <a:gd name="csX60" fmla="*/ 98008 w 3437996"/>
              <a:gd name="csY60" fmla="*/ 233543 h 2018071"/>
              <a:gd name="csX61" fmla="*/ 99628 w 3437996"/>
              <a:gd name="csY61" fmla="*/ 231506 h 2018071"/>
              <a:gd name="csX62" fmla="*/ 182353 w 3437996"/>
              <a:gd name="csY62" fmla="*/ 229554 h 2018071"/>
              <a:gd name="csX63" fmla="*/ 185812 w 3437996"/>
              <a:gd name="csY63" fmla="*/ 231380 h 2018071"/>
              <a:gd name="csX64" fmla="*/ 213726 w 3437996"/>
              <a:gd name="csY64" fmla="*/ 239233 h 2018071"/>
              <a:gd name="csX65" fmla="*/ 416961 w 3437996"/>
              <a:gd name="csY65" fmla="*/ 299911 h 2018071"/>
              <a:gd name="csX66" fmla="*/ 622809 w 3437996"/>
              <a:gd name="csY66" fmla="*/ 305227 h 2018071"/>
              <a:gd name="csX67" fmla="*/ 1851374 w 3437996"/>
              <a:gd name="csY67" fmla="*/ 7502 h 2018071"/>
              <a:gd name="csX68" fmla="*/ 2119617 w 3437996"/>
              <a:gd name="csY68" fmla="*/ 86919 h 2018071"/>
              <a:gd name="csX69" fmla="*/ 2805452 w 3437996"/>
              <a:gd name="csY69" fmla="*/ 622669 h 2018071"/>
              <a:gd name="csX70" fmla="*/ 3047873 w 3437996"/>
              <a:gd name="csY70" fmla="*/ 889895 h 2018071"/>
              <a:gd name="csX71" fmla="*/ 3201337 w 3437996"/>
              <a:gd name="csY71" fmla="*/ 1065192 h 2018071"/>
              <a:gd name="csX72" fmla="*/ 3322212 w 3437996"/>
              <a:gd name="csY72" fmla="*/ 1262254 h 2018071"/>
              <a:gd name="csX73" fmla="*/ 3434603 w 3437996"/>
              <a:gd name="csY73" fmla="*/ 1463610 h 2018071"/>
              <a:gd name="csX74" fmla="*/ 3437317 w 3437996"/>
              <a:gd name="csY74" fmla="*/ 1496424 h 2018071"/>
              <a:gd name="csX75" fmla="*/ 3437173 w 3437996"/>
              <a:gd name="csY75" fmla="*/ 1502015 h 2018071"/>
              <a:gd name="csX76" fmla="*/ 3265778 w 3437996"/>
              <a:gd name="csY76" fmla="*/ 1437268 h 2018071"/>
              <a:gd name="csX77" fmla="*/ 3131933 w 3437996"/>
              <a:gd name="csY77" fmla="*/ 1283723 h 2018071"/>
              <a:gd name="csX78" fmla="*/ 2856351 w 3437996"/>
              <a:gd name="csY78" fmla="*/ 1004478 h 2018071"/>
              <a:gd name="csX79" fmla="*/ 2818150 w 3437996"/>
              <a:gd name="csY79" fmla="*/ 969213 h 2018071"/>
              <a:gd name="csX80" fmla="*/ 2654127 w 3437996"/>
              <a:gd name="csY80" fmla="*/ 825572 h 2018071"/>
              <a:gd name="csX81" fmla="*/ 2651783 w 3437996"/>
              <a:gd name="csY81" fmla="*/ 823279 h 2018071"/>
              <a:gd name="csX82" fmla="*/ 2644017 w 3437996"/>
              <a:gd name="csY82" fmla="*/ 814773 h 2018071"/>
              <a:gd name="csX83" fmla="*/ 2642551 w 3437996"/>
              <a:gd name="csY83" fmla="*/ 813746 h 2018071"/>
              <a:gd name="csX84" fmla="*/ 2634494 w 3437996"/>
              <a:gd name="csY84" fmla="*/ 805208 h 2018071"/>
              <a:gd name="csX85" fmla="*/ 2633053 w 3437996"/>
              <a:gd name="csY85" fmla="*/ 804210 h 2018071"/>
              <a:gd name="csX86" fmla="*/ 2624994 w 3437996"/>
              <a:gd name="csY86" fmla="*/ 795655 h 2018071"/>
              <a:gd name="csX87" fmla="*/ 2623570 w 3437996"/>
              <a:gd name="csY87" fmla="*/ 794675 h 2018071"/>
              <a:gd name="csX88" fmla="*/ 2615495 w 3437996"/>
              <a:gd name="csY88" fmla="*/ 786111 h 2018071"/>
              <a:gd name="csX89" fmla="*/ 2614082 w 3437996"/>
              <a:gd name="csY89" fmla="*/ 785113 h 2018071"/>
              <a:gd name="csX90" fmla="*/ 2606007 w 3437996"/>
              <a:gd name="csY90" fmla="*/ 776562 h 2018071"/>
              <a:gd name="csX91" fmla="*/ 2604609 w 3437996"/>
              <a:gd name="csY91" fmla="*/ 775538 h 2018071"/>
              <a:gd name="csX92" fmla="*/ 2596489 w 3437996"/>
              <a:gd name="csY92" fmla="*/ 767032 h 2018071"/>
              <a:gd name="csX93" fmla="*/ 2595095 w 3437996"/>
              <a:gd name="csY93" fmla="*/ 766006 h 2018071"/>
              <a:gd name="csX94" fmla="*/ 2586954 w 3437996"/>
              <a:gd name="csY94" fmla="*/ 757512 h 2018071"/>
              <a:gd name="csX95" fmla="*/ 2585558 w 3437996"/>
              <a:gd name="csY95" fmla="*/ 756496 h 2018071"/>
              <a:gd name="csX96" fmla="*/ 2577410 w 3437996"/>
              <a:gd name="csY96" fmla="*/ 748000 h 2018071"/>
              <a:gd name="csX97" fmla="*/ 2576006 w 3437996"/>
              <a:gd name="csY97" fmla="*/ 747002 h 2018071"/>
              <a:gd name="csX98" fmla="*/ 2567871 w 3437996"/>
              <a:gd name="csY98" fmla="*/ 738486 h 2018071"/>
              <a:gd name="csX99" fmla="*/ 2566459 w 3437996"/>
              <a:gd name="csY99" fmla="*/ 737499 h 2018071"/>
              <a:gd name="csX100" fmla="*/ 2558352 w 3437996"/>
              <a:gd name="csY100" fmla="*/ 728962 h 2018071"/>
              <a:gd name="csX101" fmla="*/ 2556937 w 3437996"/>
              <a:gd name="csY101" fmla="*/ 727967 h 2018071"/>
              <a:gd name="csX102" fmla="*/ 2548845 w 3437996"/>
              <a:gd name="csY102" fmla="*/ 719430 h 2018071"/>
              <a:gd name="csX103" fmla="*/ 2547432 w 3437996"/>
              <a:gd name="csY103" fmla="*/ 718414 h 2018071"/>
              <a:gd name="csX104" fmla="*/ 2539350 w 3437996"/>
              <a:gd name="csY104" fmla="*/ 709894 h 2018071"/>
              <a:gd name="csX105" fmla="*/ 2537942 w 3437996"/>
              <a:gd name="csY105" fmla="*/ 708842 h 2018071"/>
              <a:gd name="csX106" fmla="*/ 2529865 w 3437996"/>
              <a:gd name="csY106" fmla="*/ 700356 h 2018071"/>
              <a:gd name="csX107" fmla="*/ 2528460 w 3437996"/>
              <a:gd name="csY107" fmla="*/ 699259 h 2018071"/>
              <a:gd name="csX108" fmla="*/ 2520386 w 3437996"/>
              <a:gd name="csY108" fmla="*/ 690820 h 2018071"/>
              <a:gd name="csX109" fmla="*/ 2518981 w 3437996"/>
              <a:gd name="csY109" fmla="*/ 689668 h 2018071"/>
              <a:gd name="csX110" fmla="*/ 2510900 w 3437996"/>
              <a:gd name="csY110" fmla="*/ 681286 h 2018071"/>
              <a:gd name="csX111" fmla="*/ 2509493 w 3437996"/>
              <a:gd name="csY111" fmla="*/ 680082 h 2018071"/>
              <a:gd name="csX112" fmla="*/ 2501400 w 3437996"/>
              <a:gd name="csY112" fmla="*/ 671754 h 2018071"/>
              <a:gd name="csX113" fmla="*/ 2499991 w 3437996"/>
              <a:gd name="csY113" fmla="*/ 670520 h 2018071"/>
              <a:gd name="csX114" fmla="*/ 2491892 w 3437996"/>
              <a:gd name="csY114" fmla="*/ 662222 h 2018071"/>
              <a:gd name="csX115" fmla="*/ 2490482 w 3437996"/>
              <a:gd name="csY115" fmla="*/ 660967 h 2018071"/>
              <a:gd name="csX116" fmla="*/ 2482391 w 3437996"/>
              <a:gd name="csY116" fmla="*/ 652682 h 2018071"/>
              <a:gd name="csX117" fmla="*/ 2480984 w 3437996"/>
              <a:gd name="csY117" fmla="*/ 651408 h 2018071"/>
              <a:gd name="csX118" fmla="*/ 2472919 w 3437996"/>
              <a:gd name="csY118" fmla="*/ 643127 h 2018071"/>
              <a:gd name="csX119" fmla="*/ 2471515 w 3437996"/>
              <a:gd name="csY119" fmla="*/ 641819 h 2018071"/>
              <a:gd name="csX120" fmla="*/ 2463424 w 3437996"/>
              <a:gd name="csY120" fmla="*/ 633584 h 2018071"/>
              <a:gd name="csX121" fmla="*/ 2462020 w 3437996"/>
              <a:gd name="csY121" fmla="*/ 632257 h 2018071"/>
              <a:gd name="csX122" fmla="*/ 2453925 w 3437996"/>
              <a:gd name="csY122" fmla="*/ 624049 h 2018071"/>
              <a:gd name="csX123" fmla="*/ 2452516 w 3437996"/>
              <a:gd name="csY123" fmla="*/ 622702 h 2018071"/>
              <a:gd name="csX124" fmla="*/ 2444450 w 3437996"/>
              <a:gd name="csY124" fmla="*/ 614506 h 2018071"/>
              <a:gd name="csX125" fmla="*/ 2443026 w 3437996"/>
              <a:gd name="csY125" fmla="*/ 613123 h 2018071"/>
              <a:gd name="csX126" fmla="*/ 2434957 w 3437996"/>
              <a:gd name="csY126" fmla="*/ 604969 h 2018071"/>
              <a:gd name="csX127" fmla="*/ 2433519 w 3437996"/>
              <a:gd name="csY127" fmla="*/ 603563 h 2018071"/>
              <a:gd name="csX128" fmla="*/ 2425486 w 3437996"/>
              <a:gd name="csY128" fmla="*/ 595418 h 2018071"/>
              <a:gd name="csX129" fmla="*/ 2424029 w 3437996"/>
              <a:gd name="csY129" fmla="*/ 593985 h 2018071"/>
              <a:gd name="csX130" fmla="*/ 2416081 w 3437996"/>
              <a:gd name="csY130" fmla="*/ 585841 h 2018071"/>
              <a:gd name="csX131" fmla="*/ 2414563 w 3437996"/>
              <a:gd name="csY131" fmla="*/ 584358 h 2018071"/>
              <a:gd name="csX132" fmla="*/ 2406640 w 3437996"/>
              <a:gd name="csY132" fmla="*/ 576281 h 2018071"/>
              <a:gd name="csX133" fmla="*/ 2405068 w 3437996"/>
              <a:gd name="csY133" fmla="*/ 574761 h 2018071"/>
              <a:gd name="csX134" fmla="*/ 2397176 w 3437996"/>
              <a:gd name="csY134" fmla="*/ 566733 h 2018071"/>
              <a:gd name="csX135" fmla="*/ 2395561 w 3437996"/>
              <a:gd name="csY135" fmla="*/ 565186 h 2018071"/>
              <a:gd name="csX136" fmla="*/ 2387690 w 3437996"/>
              <a:gd name="csY136" fmla="*/ 557193 h 2018071"/>
              <a:gd name="csX137" fmla="*/ 2386050 w 3437996"/>
              <a:gd name="csY137" fmla="*/ 555624 h 2018071"/>
              <a:gd name="csX138" fmla="*/ 2378191 w 3437996"/>
              <a:gd name="csY138" fmla="*/ 547659 h 2018071"/>
              <a:gd name="csX139" fmla="*/ 2376534 w 3437996"/>
              <a:gd name="csY139" fmla="*/ 546075 h 2018071"/>
              <a:gd name="csX140" fmla="*/ 2368704 w 3437996"/>
              <a:gd name="csY140" fmla="*/ 538124 h 2018071"/>
              <a:gd name="csX141" fmla="*/ 2367021 w 3437996"/>
              <a:gd name="csY141" fmla="*/ 536517 h 2018071"/>
              <a:gd name="csX142" fmla="*/ 2360018 w 3437996"/>
              <a:gd name="csY142" fmla="*/ 529380 h 2018071"/>
              <a:gd name="csX143" fmla="*/ 2357514 w 3437996"/>
              <a:gd name="csY143" fmla="*/ 526933 h 2018071"/>
              <a:gd name="csX144" fmla="*/ 2350552 w 3437996"/>
              <a:gd name="csY144" fmla="*/ 519835 h 2018071"/>
              <a:gd name="csX145" fmla="*/ 2348016 w 3437996"/>
              <a:gd name="csY145" fmla="*/ 517342 h 2018071"/>
              <a:gd name="csX146" fmla="*/ 2341054 w 3437996"/>
              <a:gd name="csY146" fmla="*/ 510297 h 2018071"/>
              <a:gd name="csX147" fmla="*/ 2338508 w 3437996"/>
              <a:gd name="csY147" fmla="*/ 507777 h 2018071"/>
              <a:gd name="csX148" fmla="*/ 2331539 w 3437996"/>
              <a:gd name="csY148" fmla="*/ 500765 h 2018071"/>
              <a:gd name="csX149" fmla="*/ 2328991 w 3437996"/>
              <a:gd name="csY149" fmla="*/ 498236 h 2018071"/>
              <a:gd name="csX150" fmla="*/ 2322020 w 3437996"/>
              <a:gd name="csY150" fmla="*/ 491243 h 2018071"/>
              <a:gd name="csX151" fmla="*/ 2319465 w 3437996"/>
              <a:gd name="csY151" fmla="*/ 488702 h 2018071"/>
              <a:gd name="csX152" fmla="*/ 2312510 w 3437996"/>
              <a:gd name="csY152" fmla="*/ 481725 h 2018071"/>
              <a:gd name="csX153" fmla="*/ 2309941 w 3437996"/>
              <a:gd name="csY153" fmla="*/ 479158 h 2018071"/>
              <a:gd name="csX154" fmla="*/ 2303024 w 3437996"/>
              <a:gd name="csY154" fmla="*/ 472210 h 2018071"/>
              <a:gd name="csX155" fmla="*/ 2300428 w 3437996"/>
              <a:gd name="csY155" fmla="*/ 469578 h 2018071"/>
              <a:gd name="csX156" fmla="*/ 2293545 w 3437996"/>
              <a:gd name="csY156" fmla="*/ 462697 h 2018071"/>
              <a:gd name="csX157" fmla="*/ 2290922 w 3437996"/>
              <a:gd name="csY157" fmla="*/ 459984 h 2018071"/>
              <a:gd name="csX158" fmla="*/ 2284051 w 3437996"/>
              <a:gd name="csY158" fmla="*/ 453172 h 2018071"/>
              <a:gd name="csX159" fmla="*/ 2281414 w 3437996"/>
              <a:gd name="csY159" fmla="*/ 450403 h 2018071"/>
              <a:gd name="csX160" fmla="*/ 2274560 w 3437996"/>
              <a:gd name="csY160" fmla="*/ 443646 h 2018071"/>
              <a:gd name="csX161" fmla="*/ 2271906 w 3437996"/>
              <a:gd name="csY161" fmla="*/ 440826 h 2018071"/>
              <a:gd name="csX162" fmla="*/ 2265120 w 3437996"/>
              <a:gd name="csY162" fmla="*/ 434112 h 2018071"/>
              <a:gd name="csX163" fmla="*/ 2262409 w 3437996"/>
              <a:gd name="csY163" fmla="*/ 431189 h 2018071"/>
              <a:gd name="csX164" fmla="*/ 2255765 w 3437996"/>
              <a:gd name="csY164" fmla="*/ 424557 h 2018071"/>
              <a:gd name="csX165" fmla="*/ 2252962 w 3437996"/>
              <a:gd name="csY165" fmla="*/ 421458 h 2018071"/>
              <a:gd name="csX166" fmla="*/ 2246361 w 3437996"/>
              <a:gd name="csY166" fmla="*/ 414989 h 2018071"/>
              <a:gd name="csX167" fmla="*/ 2226101 w 3437996"/>
              <a:gd name="csY167" fmla="*/ 394472 h 2018071"/>
              <a:gd name="csX168" fmla="*/ 2204126 w 3437996"/>
              <a:gd name="csY168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21387 w 3437996"/>
              <a:gd name="csY47" fmla="*/ 708333 h 2018071"/>
              <a:gd name="csX48" fmla="*/ 22313 w 3437996"/>
              <a:gd name="csY48" fmla="*/ 700409 h 2018071"/>
              <a:gd name="csX49" fmla="*/ 30962 w 3437996"/>
              <a:gd name="csY49" fmla="*/ 642260 h 2018071"/>
              <a:gd name="csX50" fmla="*/ 32315 w 3437996"/>
              <a:gd name="csY50" fmla="*/ 633805 h 2018071"/>
              <a:gd name="csX51" fmla="*/ 40506 w 3437996"/>
              <a:gd name="csY51" fmla="*/ 584580 h 2018071"/>
              <a:gd name="csX52" fmla="*/ 42550 w 3437996"/>
              <a:gd name="csY52" fmla="*/ 567648 h 2018071"/>
              <a:gd name="csX53" fmla="*/ 49883 w 3437996"/>
              <a:gd name="csY53" fmla="*/ 529082 h 2018071"/>
              <a:gd name="csX54" fmla="*/ 51048 w 3437996"/>
              <a:gd name="csY54" fmla="*/ 526838 h 2018071"/>
              <a:gd name="csX55" fmla="*/ 59483 w 3437996"/>
              <a:gd name="csY55" fmla="*/ 460900 h 2018071"/>
              <a:gd name="csX56" fmla="*/ 60600 w 3437996"/>
              <a:gd name="csY56" fmla="*/ 452775 h 2018071"/>
              <a:gd name="csX57" fmla="*/ 88193 w 3437996"/>
              <a:gd name="csY57" fmla="*/ 269877 h 2018071"/>
              <a:gd name="csX58" fmla="*/ 89741 w 3437996"/>
              <a:gd name="csY58" fmla="*/ 253550 h 2018071"/>
              <a:gd name="csX59" fmla="*/ 98008 w 3437996"/>
              <a:gd name="csY59" fmla="*/ 233543 h 2018071"/>
              <a:gd name="csX60" fmla="*/ 99628 w 3437996"/>
              <a:gd name="csY60" fmla="*/ 231506 h 2018071"/>
              <a:gd name="csX61" fmla="*/ 182353 w 3437996"/>
              <a:gd name="csY61" fmla="*/ 229554 h 2018071"/>
              <a:gd name="csX62" fmla="*/ 185812 w 3437996"/>
              <a:gd name="csY62" fmla="*/ 231380 h 2018071"/>
              <a:gd name="csX63" fmla="*/ 213726 w 3437996"/>
              <a:gd name="csY63" fmla="*/ 239233 h 2018071"/>
              <a:gd name="csX64" fmla="*/ 416961 w 3437996"/>
              <a:gd name="csY64" fmla="*/ 299911 h 2018071"/>
              <a:gd name="csX65" fmla="*/ 622809 w 3437996"/>
              <a:gd name="csY65" fmla="*/ 305227 h 2018071"/>
              <a:gd name="csX66" fmla="*/ 1851374 w 3437996"/>
              <a:gd name="csY66" fmla="*/ 7502 h 2018071"/>
              <a:gd name="csX67" fmla="*/ 2119617 w 3437996"/>
              <a:gd name="csY67" fmla="*/ 86919 h 2018071"/>
              <a:gd name="csX68" fmla="*/ 2805452 w 3437996"/>
              <a:gd name="csY68" fmla="*/ 622669 h 2018071"/>
              <a:gd name="csX69" fmla="*/ 3047873 w 3437996"/>
              <a:gd name="csY69" fmla="*/ 889895 h 2018071"/>
              <a:gd name="csX70" fmla="*/ 3201337 w 3437996"/>
              <a:gd name="csY70" fmla="*/ 1065192 h 2018071"/>
              <a:gd name="csX71" fmla="*/ 3322212 w 3437996"/>
              <a:gd name="csY71" fmla="*/ 1262254 h 2018071"/>
              <a:gd name="csX72" fmla="*/ 3434603 w 3437996"/>
              <a:gd name="csY72" fmla="*/ 1463610 h 2018071"/>
              <a:gd name="csX73" fmla="*/ 3437317 w 3437996"/>
              <a:gd name="csY73" fmla="*/ 1496424 h 2018071"/>
              <a:gd name="csX74" fmla="*/ 3437173 w 3437996"/>
              <a:gd name="csY74" fmla="*/ 1502015 h 2018071"/>
              <a:gd name="csX75" fmla="*/ 3265778 w 3437996"/>
              <a:gd name="csY75" fmla="*/ 1437268 h 2018071"/>
              <a:gd name="csX76" fmla="*/ 3131933 w 3437996"/>
              <a:gd name="csY76" fmla="*/ 1283723 h 2018071"/>
              <a:gd name="csX77" fmla="*/ 2856351 w 3437996"/>
              <a:gd name="csY77" fmla="*/ 1004478 h 2018071"/>
              <a:gd name="csX78" fmla="*/ 2818150 w 3437996"/>
              <a:gd name="csY78" fmla="*/ 969213 h 2018071"/>
              <a:gd name="csX79" fmla="*/ 2654127 w 3437996"/>
              <a:gd name="csY79" fmla="*/ 825572 h 2018071"/>
              <a:gd name="csX80" fmla="*/ 2651783 w 3437996"/>
              <a:gd name="csY80" fmla="*/ 823279 h 2018071"/>
              <a:gd name="csX81" fmla="*/ 2644017 w 3437996"/>
              <a:gd name="csY81" fmla="*/ 814773 h 2018071"/>
              <a:gd name="csX82" fmla="*/ 2642551 w 3437996"/>
              <a:gd name="csY82" fmla="*/ 813746 h 2018071"/>
              <a:gd name="csX83" fmla="*/ 2634494 w 3437996"/>
              <a:gd name="csY83" fmla="*/ 805208 h 2018071"/>
              <a:gd name="csX84" fmla="*/ 2633053 w 3437996"/>
              <a:gd name="csY84" fmla="*/ 804210 h 2018071"/>
              <a:gd name="csX85" fmla="*/ 2624994 w 3437996"/>
              <a:gd name="csY85" fmla="*/ 795655 h 2018071"/>
              <a:gd name="csX86" fmla="*/ 2623570 w 3437996"/>
              <a:gd name="csY86" fmla="*/ 794675 h 2018071"/>
              <a:gd name="csX87" fmla="*/ 2615495 w 3437996"/>
              <a:gd name="csY87" fmla="*/ 786111 h 2018071"/>
              <a:gd name="csX88" fmla="*/ 2614082 w 3437996"/>
              <a:gd name="csY88" fmla="*/ 785113 h 2018071"/>
              <a:gd name="csX89" fmla="*/ 2606007 w 3437996"/>
              <a:gd name="csY89" fmla="*/ 776562 h 2018071"/>
              <a:gd name="csX90" fmla="*/ 2604609 w 3437996"/>
              <a:gd name="csY90" fmla="*/ 775538 h 2018071"/>
              <a:gd name="csX91" fmla="*/ 2596489 w 3437996"/>
              <a:gd name="csY91" fmla="*/ 767032 h 2018071"/>
              <a:gd name="csX92" fmla="*/ 2595095 w 3437996"/>
              <a:gd name="csY92" fmla="*/ 766006 h 2018071"/>
              <a:gd name="csX93" fmla="*/ 2586954 w 3437996"/>
              <a:gd name="csY93" fmla="*/ 757512 h 2018071"/>
              <a:gd name="csX94" fmla="*/ 2585558 w 3437996"/>
              <a:gd name="csY94" fmla="*/ 756496 h 2018071"/>
              <a:gd name="csX95" fmla="*/ 2577410 w 3437996"/>
              <a:gd name="csY95" fmla="*/ 748000 h 2018071"/>
              <a:gd name="csX96" fmla="*/ 2576006 w 3437996"/>
              <a:gd name="csY96" fmla="*/ 747002 h 2018071"/>
              <a:gd name="csX97" fmla="*/ 2567871 w 3437996"/>
              <a:gd name="csY97" fmla="*/ 738486 h 2018071"/>
              <a:gd name="csX98" fmla="*/ 2566459 w 3437996"/>
              <a:gd name="csY98" fmla="*/ 737499 h 2018071"/>
              <a:gd name="csX99" fmla="*/ 2558352 w 3437996"/>
              <a:gd name="csY99" fmla="*/ 728962 h 2018071"/>
              <a:gd name="csX100" fmla="*/ 2556937 w 3437996"/>
              <a:gd name="csY100" fmla="*/ 727967 h 2018071"/>
              <a:gd name="csX101" fmla="*/ 2548845 w 3437996"/>
              <a:gd name="csY101" fmla="*/ 719430 h 2018071"/>
              <a:gd name="csX102" fmla="*/ 2547432 w 3437996"/>
              <a:gd name="csY102" fmla="*/ 718414 h 2018071"/>
              <a:gd name="csX103" fmla="*/ 2539350 w 3437996"/>
              <a:gd name="csY103" fmla="*/ 709894 h 2018071"/>
              <a:gd name="csX104" fmla="*/ 2537942 w 3437996"/>
              <a:gd name="csY104" fmla="*/ 708842 h 2018071"/>
              <a:gd name="csX105" fmla="*/ 2529865 w 3437996"/>
              <a:gd name="csY105" fmla="*/ 700356 h 2018071"/>
              <a:gd name="csX106" fmla="*/ 2528460 w 3437996"/>
              <a:gd name="csY106" fmla="*/ 699259 h 2018071"/>
              <a:gd name="csX107" fmla="*/ 2520386 w 3437996"/>
              <a:gd name="csY107" fmla="*/ 690820 h 2018071"/>
              <a:gd name="csX108" fmla="*/ 2518981 w 3437996"/>
              <a:gd name="csY108" fmla="*/ 689668 h 2018071"/>
              <a:gd name="csX109" fmla="*/ 2510900 w 3437996"/>
              <a:gd name="csY109" fmla="*/ 681286 h 2018071"/>
              <a:gd name="csX110" fmla="*/ 2509493 w 3437996"/>
              <a:gd name="csY110" fmla="*/ 680082 h 2018071"/>
              <a:gd name="csX111" fmla="*/ 2501400 w 3437996"/>
              <a:gd name="csY111" fmla="*/ 671754 h 2018071"/>
              <a:gd name="csX112" fmla="*/ 2499991 w 3437996"/>
              <a:gd name="csY112" fmla="*/ 670520 h 2018071"/>
              <a:gd name="csX113" fmla="*/ 2491892 w 3437996"/>
              <a:gd name="csY113" fmla="*/ 662222 h 2018071"/>
              <a:gd name="csX114" fmla="*/ 2490482 w 3437996"/>
              <a:gd name="csY114" fmla="*/ 660967 h 2018071"/>
              <a:gd name="csX115" fmla="*/ 2482391 w 3437996"/>
              <a:gd name="csY115" fmla="*/ 652682 h 2018071"/>
              <a:gd name="csX116" fmla="*/ 2480984 w 3437996"/>
              <a:gd name="csY116" fmla="*/ 651408 h 2018071"/>
              <a:gd name="csX117" fmla="*/ 2472919 w 3437996"/>
              <a:gd name="csY117" fmla="*/ 643127 h 2018071"/>
              <a:gd name="csX118" fmla="*/ 2471515 w 3437996"/>
              <a:gd name="csY118" fmla="*/ 641819 h 2018071"/>
              <a:gd name="csX119" fmla="*/ 2463424 w 3437996"/>
              <a:gd name="csY119" fmla="*/ 633584 h 2018071"/>
              <a:gd name="csX120" fmla="*/ 2462020 w 3437996"/>
              <a:gd name="csY120" fmla="*/ 632257 h 2018071"/>
              <a:gd name="csX121" fmla="*/ 2453925 w 3437996"/>
              <a:gd name="csY121" fmla="*/ 624049 h 2018071"/>
              <a:gd name="csX122" fmla="*/ 2452516 w 3437996"/>
              <a:gd name="csY122" fmla="*/ 622702 h 2018071"/>
              <a:gd name="csX123" fmla="*/ 2444450 w 3437996"/>
              <a:gd name="csY123" fmla="*/ 614506 h 2018071"/>
              <a:gd name="csX124" fmla="*/ 2443026 w 3437996"/>
              <a:gd name="csY124" fmla="*/ 613123 h 2018071"/>
              <a:gd name="csX125" fmla="*/ 2434957 w 3437996"/>
              <a:gd name="csY125" fmla="*/ 604969 h 2018071"/>
              <a:gd name="csX126" fmla="*/ 2433519 w 3437996"/>
              <a:gd name="csY126" fmla="*/ 603563 h 2018071"/>
              <a:gd name="csX127" fmla="*/ 2425486 w 3437996"/>
              <a:gd name="csY127" fmla="*/ 595418 h 2018071"/>
              <a:gd name="csX128" fmla="*/ 2424029 w 3437996"/>
              <a:gd name="csY128" fmla="*/ 593985 h 2018071"/>
              <a:gd name="csX129" fmla="*/ 2416081 w 3437996"/>
              <a:gd name="csY129" fmla="*/ 585841 h 2018071"/>
              <a:gd name="csX130" fmla="*/ 2414563 w 3437996"/>
              <a:gd name="csY130" fmla="*/ 584358 h 2018071"/>
              <a:gd name="csX131" fmla="*/ 2406640 w 3437996"/>
              <a:gd name="csY131" fmla="*/ 576281 h 2018071"/>
              <a:gd name="csX132" fmla="*/ 2405068 w 3437996"/>
              <a:gd name="csY132" fmla="*/ 574761 h 2018071"/>
              <a:gd name="csX133" fmla="*/ 2397176 w 3437996"/>
              <a:gd name="csY133" fmla="*/ 566733 h 2018071"/>
              <a:gd name="csX134" fmla="*/ 2395561 w 3437996"/>
              <a:gd name="csY134" fmla="*/ 565186 h 2018071"/>
              <a:gd name="csX135" fmla="*/ 2387690 w 3437996"/>
              <a:gd name="csY135" fmla="*/ 557193 h 2018071"/>
              <a:gd name="csX136" fmla="*/ 2386050 w 3437996"/>
              <a:gd name="csY136" fmla="*/ 555624 h 2018071"/>
              <a:gd name="csX137" fmla="*/ 2378191 w 3437996"/>
              <a:gd name="csY137" fmla="*/ 547659 h 2018071"/>
              <a:gd name="csX138" fmla="*/ 2376534 w 3437996"/>
              <a:gd name="csY138" fmla="*/ 546075 h 2018071"/>
              <a:gd name="csX139" fmla="*/ 2368704 w 3437996"/>
              <a:gd name="csY139" fmla="*/ 538124 h 2018071"/>
              <a:gd name="csX140" fmla="*/ 2367021 w 3437996"/>
              <a:gd name="csY140" fmla="*/ 536517 h 2018071"/>
              <a:gd name="csX141" fmla="*/ 2360018 w 3437996"/>
              <a:gd name="csY141" fmla="*/ 529380 h 2018071"/>
              <a:gd name="csX142" fmla="*/ 2357514 w 3437996"/>
              <a:gd name="csY142" fmla="*/ 526933 h 2018071"/>
              <a:gd name="csX143" fmla="*/ 2350552 w 3437996"/>
              <a:gd name="csY143" fmla="*/ 519835 h 2018071"/>
              <a:gd name="csX144" fmla="*/ 2348016 w 3437996"/>
              <a:gd name="csY144" fmla="*/ 517342 h 2018071"/>
              <a:gd name="csX145" fmla="*/ 2341054 w 3437996"/>
              <a:gd name="csY145" fmla="*/ 510297 h 2018071"/>
              <a:gd name="csX146" fmla="*/ 2338508 w 3437996"/>
              <a:gd name="csY146" fmla="*/ 507777 h 2018071"/>
              <a:gd name="csX147" fmla="*/ 2331539 w 3437996"/>
              <a:gd name="csY147" fmla="*/ 500765 h 2018071"/>
              <a:gd name="csX148" fmla="*/ 2328991 w 3437996"/>
              <a:gd name="csY148" fmla="*/ 498236 h 2018071"/>
              <a:gd name="csX149" fmla="*/ 2322020 w 3437996"/>
              <a:gd name="csY149" fmla="*/ 491243 h 2018071"/>
              <a:gd name="csX150" fmla="*/ 2319465 w 3437996"/>
              <a:gd name="csY150" fmla="*/ 488702 h 2018071"/>
              <a:gd name="csX151" fmla="*/ 2312510 w 3437996"/>
              <a:gd name="csY151" fmla="*/ 481725 h 2018071"/>
              <a:gd name="csX152" fmla="*/ 2309941 w 3437996"/>
              <a:gd name="csY152" fmla="*/ 479158 h 2018071"/>
              <a:gd name="csX153" fmla="*/ 2303024 w 3437996"/>
              <a:gd name="csY153" fmla="*/ 472210 h 2018071"/>
              <a:gd name="csX154" fmla="*/ 2300428 w 3437996"/>
              <a:gd name="csY154" fmla="*/ 469578 h 2018071"/>
              <a:gd name="csX155" fmla="*/ 2293545 w 3437996"/>
              <a:gd name="csY155" fmla="*/ 462697 h 2018071"/>
              <a:gd name="csX156" fmla="*/ 2290922 w 3437996"/>
              <a:gd name="csY156" fmla="*/ 459984 h 2018071"/>
              <a:gd name="csX157" fmla="*/ 2284051 w 3437996"/>
              <a:gd name="csY157" fmla="*/ 453172 h 2018071"/>
              <a:gd name="csX158" fmla="*/ 2281414 w 3437996"/>
              <a:gd name="csY158" fmla="*/ 450403 h 2018071"/>
              <a:gd name="csX159" fmla="*/ 2274560 w 3437996"/>
              <a:gd name="csY159" fmla="*/ 443646 h 2018071"/>
              <a:gd name="csX160" fmla="*/ 2271906 w 3437996"/>
              <a:gd name="csY160" fmla="*/ 440826 h 2018071"/>
              <a:gd name="csX161" fmla="*/ 2265120 w 3437996"/>
              <a:gd name="csY161" fmla="*/ 434112 h 2018071"/>
              <a:gd name="csX162" fmla="*/ 2262409 w 3437996"/>
              <a:gd name="csY162" fmla="*/ 431189 h 2018071"/>
              <a:gd name="csX163" fmla="*/ 2255765 w 3437996"/>
              <a:gd name="csY163" fmla="*/ 424557 h 2018071"/>
              <a:gd name="csX164" fmla="*/ 2252962 w 3437996"/>
              <a:gd name="csY164" fmla="*/ 421458 h 2018071"/>
              <a:gd name="csX165" fmla="*/ 2246361 w 3437996"/>
              <a:gd name="csY165" fmla="*/ 414989 h 2018071"/>
              <a:gd name="csX166" fmla="*/ 2226101 w 3437996"/>
              <a:gd name="csY166" fmla="*/ 394472 h 2018071"/>
              <a:gd name="csX167" fmla="*/ 2204126 w 3437996"/>
              <a:gd name="csY167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21387 w 3437996"/>
              <a:gd name="csY47" fmla="*/ 708333 h 2018071"/>
              <a:gd name="csX48" fmla="*/ 22313 w 3437996"/>
              <a:gd name="csY48" fmla="*/ 700409 h 2018071"/>
              <a:gd name="csX49" fmla="*/ 30962 w 3437996"/>
              <a:gd name="csY49" fmla="*/ 642260 h 2018071"/>
              <a:gd name="csX50" fmla="*/ 32315 w 3437996"/>
              <a:gd name="csY50" fmla="*/ 633805 h 2018071"/>
              <a:gd name="csX51" fmla="*/ 40506 w 3437996"/>
              <a:gd name="csY51" fmla="*/ 584580 h 2018071"/>
              <a:gd name="csX52" fmla="*/ 42550 w 3437996"/>
              <a:gd name="csY52" fmla="*/ 567648 h 2018071"/>
              <a:gd name="csX53" fmla="*/ 49883 w 3437996"/>
              <a:gd name="csY53" fmla="*/ 529082 h 2018071"/>
              <a:gd name="csX54" fmla="*/ 51048 w 3437996"/>
              <a:gd name="csY54" fmla="*/ 526838 h 2018071"/>
              <a:gd name="csX55" fmla="*/ 59483 w 3437996"/>
              <a:gd name="csY55" fmla="*/ 460900 h 2018071"/>
              <a:gd name="csX56" fmla="*/ 88193 w 3437996"/>
              <a:gd name="csY56" fmla="*/ 269877 h 2018071"/>
              <a:gd name="csX57" fmla="*/ 89741 w 3437996"/>
              <a:gd name="csY57" fmla="*/ 253550 h 2018071"/>
              <a:gd name="csX58" fmla="*/ 98008 w 3437996"/>
              <a:gd name="csY58" fmla="*/ 233543 h 2018071"/>
              <a:gd name="csX59" fmla="*/ 99628 w 3437996"/>
              <a:gd name="csY59" fmla="*/ 231506 h 2018071"/>
              <a:gd name="csX60" fmla="*/ 182353 w 3437996"/>
              <a:gd name="csY60" fmla="*/ 229554 h 2018071"/>
              <a:gd name="csX61" fmla="*/ 185812 w 3437996"/>
              <a:gd name="csY61" fmla="*/ 231380 h 2018071"/>
              <a:gd name="csX62" fmla="*/ 213726 w 3437996"/>
              <a:gd name="csY62" fmla="*/ 239233 h 2018071"/>
              <a:gd name="csX63" fmla="*/ 416961 w 3437996"/>
              <a:gd name="csY63" fmla="*/ 299911 h 2018071"/>
              <a:gd name="csX64" fmla="*/ 622809 w 3437996"/>
              <a:gd name="csY64" fmla="*/ 305227 h 2018071"/>
              <a:gd name="csX65" fmla="*/ 1851374 w 3437996"/>
              <a:gd name="csY65" fmla="*/ 7502 h 2018071"/>
              <a:gd name="csX66" fmla="*/ 2119617 w 3437996"/>
              <a:gd name="csY66" fmla="*/ 86919 h 2018071"/>
              <a:gd name="csX67" fmla="*/ 2805452 w 3437996"/>
              <a:gd name="csY67" fmla="*/ 622669 h 2018071"/>
              <a:gd name="csX68" fmla="*/ 3047873 w 3437996"/>
              <a:gd name="csY68" fmla="*/ 889895 h 2018071"/>
              <a:gd name="csX69" fmla="*/ 3201337 w 3437996"/>
              <a:gd name="csY69" fmla="*/ 1065192 h 2018071"/>
              <a:gd name="csX70" fmla="*/ 3322212 w 3437996"/>
              <a:gd name="csY70" fmla="*/ 1262254 h 2018071"/>
              <a:gd name="csX71" fmla="*/ 3434603 w 3437996"/>
              <a:gd name="csY71" fmla="*/ 1463610 h 2018071"/>
              <a:gd name="csX72" fmla="*/ 3437317 w 3437996"/>
              <a:gd name="csY72" fmla="*/ 1496424 h 2018071"/>
              <a:gd name="csX73" fmla="*/ 3437173 w 3437996"/>
              <a:gd name="csY73" fmla="*/ 1502015 h 2018071"/>
              <a:gd name="csX74" fmla="*/ 3265778 w 3437996"/>
              <a:gd name="csY74" fmla="*/ 1437268 h 2018071"/>
              <a:gd name="csX75" fmla="*/ 3131933 w 3437996"/>
              <a:gd name="csY75" fmla="*/ 1283723 h 2018071"/>
              <a:gd name="csX76" fmla="*/ 2856351 w 3437996"/>
              <a:gd name="csY76" fmla="*/ 1004478 h 2018071"/>
              <a:gd name="csX77" fmla="*/ 2818150 w 3437996"/>
              <a:gd name="csY77" fmla="*/ 969213 h 2018071"/>
              <a:gd name="csX78" fmla="*/ 2654127 w 3437996"/>
              <a:gd name="csY78" fmla="*/ 825572 h 2018071"/>
              <a:gd name="csX79" fmla="*/ 2651783 w 3437996"/>
              <a:gd name="csY79" fmla="*/ 823279 h 2018071"/>
              <a:gd name="csX80" fmla="*/ 2644017 w 3437996"/>
              <a:gd name="csY80" fmla="*/ 814773 h 2018071"/>
              <a:gd name="csX81" fmla="*/ 2642551 w 3437996"/>
              <a:gd name="csY81" fmla="*/ 813746 h 2018071"/>
              <a:gd name="csX82" fmla="*/ 2634494 w 3437996"/>
              <a:gd name="csY82" fmla="*/ 805208 h 2018071"/>
              <a:gd name="csX83" fmla="*/ 2633053 w 3437996"/>
              <a:gd name="csY83" fmla="*/ 804210 h 2018071"/>
              <a:gd name="csX84" fmla="*/ 2624994 w 3437996"/>
              <a:gd name="csY84" fmla="*/ 795655 h 2018071"/>
              <a:gd name="csX85" fmla="*/ 2623570 w 3437996"/>
              <a:gd name="csY85" fmla="*/ 794675 h 2018071"/>
              <a:gd name="csX86" fmla="*/ 2615495 w 3437996"/>
              <a:gd name="csY86" fmla="*/ 786111 h 2018071"/>
              <a:gd name="csX87" fmla="*/ 2614082 w 3437996"/>
              <a:gd name="csY87" fmla="*/ 785113 h 2018071"/>
              <a:gd name="csX88" fmla="*/ 2606007 w 3437996"/>
              <a:gd name="csY88" fmla="*/ 776562 h 2018071"/>
              <a:gd name="csX89" fmla="*/ 2604609 w 3437996"/>
              <a:gd name="csY89" fmla="*/ 775538 h 2018071"/>
              <a:gd name="csX90" fmla="*/ 2596489 w 3437996"/>
              <a:gd name="csY90" fmla="*/ 767032 h 2018071"/>
              <a:gd name="csX91" fmla="*/ 2595095 w 3437996"/>
              <a:gd name="csY91" fmla="*/ 766006 h 2018071"/>
              <a:gd name="csX92" fmla="*/ 2586954 w 3437996"/>
              <a:gd name="csY92" fmla="*/ 757512 h 2018071"/>
              <a:gd name="csX93" fmla="*/ 2585558 w 3437996"/>
              <a:gd name="csY93" fmla="*/ 756496 h 2018071"/>
              <a:gd name="csX94" fmla="*/ 2577410 w 3437996"/>
              <a:gd name="csY94" fmla="*/ 748000 h 2018071"/>
              <a:gd name="csX95" fmla="*/ 2576006 w 3437996"/>
              <a:gd name="csY95" fmla="*/ 747002 h 2018071"/>
              <a:gd name="csX96" fmla="*/ 2567871 w 3437996"/>
              <a:gd name="csY96" fmla="*/ 738486 h 2018071"/>
              <a:gd name="csX97" fmla="*/ 2566459 w 3437996"/>
              <a:gd name="csY97" fmla="*/ 737499 h 2018071"/>
              <a:gd name="csX98" fmla="*/ 2558352 w 3437996"/>
              <a:gd name="csY98" fmla="*/ 728962 h 2018071"/>
              <a:gd name="csX99" fmla="*/ 2556937 w 3437996"/>
              <a:gd name="csY99" fmla="*/ 727967 h 2018071"/>
              <a:gd name="csX100" fmla="*/ 2548845 w 3437996"/>
              <a:gd name="csY100" fmla="*/ 719430 h 2018071"/>
              <a:gd name="csX101" fmla="*/ 2547432 w 3437996"/>
              <a:gd name="csY101" fmla="*/ 718414 h 2018071"/>
              <a:gd name="csX102" fmla="*/ 2539350 w 3437996"/>
              <a:gd name="csY102" fmla="*/ 709894 h 2018071"/>
              <a:gd name="csX103" fmla="*/ 2537942 w 3437996"/>
              <a:gd name="csY103" fmla="*/ 708842 h 2018071"/>
              <a:gd name="csX104" fmla="*/ 2529865 w 3437996"/>
              <a:gd name="csY104" fmla="*/ 700356 h 2018071"/>
              <a:gd name="csX105" fmla="*/ 2528460 w 3437996"/>
              <a:gd name="csY105" fmla="*/ 699259 h 2018071"/>
              <a:gd name="csX106" fmla="*/ 2520386 w 3437996"/>
              <a:gd name="csY106" fmla="*/ 690820 h 2018071"/>
              <a:gd name="csX107" fmla="*/ 2518981 w 3437996"/>
              <a:gd name="csY107" fmla="*/ 689668 h 2018071"/>
              <a:gd name="csX108" fmla="*/ 2510900 w 3437996"/>
              <a:gd name="csY108" fmla="*/ 681286 h 2018071"/>
              <a:gd name="csX109" fmla="*/ 2509493 w 3437996"/>
              <a:gd name="csY109" fmla="*/ 680082 h 2018071"/>
              <a:gd name="csX110" fmla="*/ 2501400 w 3437996"/>
              <a:gd name="csY110" fmla="*/ 671754 h 2018071"/>
              <a:gd name="csX111" fmla="*/ 2499991 w 3437996"/>
              <a:gd name="csY111" fmla="*/ 670520 h 2018071"/>
              <a:gd name="csX112" fmla="*/ 2491892 w 3437996"/>
              <a:gd name="csY112" fmla="*/ 662222 h 2018071"/>
              <a:gd name="csX113" fmla="*/ 2490482 w 3437996"/>
              <a:gd name="csY113" fmla="*/ 660967 h 2018071"/>
              <a:gd name="csX114" fmla="*/ 2482391 w 3437996"/>
              <a:gd name="csY114" fmla="*/ 652682 h 2018071"/>
              <a:gd name="csX115" fmla="*/ 2480984 w 3437996"/>
              <a:gd name="csY115" fmla="*/ 651408 h 2018071"/>
              <a:gd name="csX116" fmla="*/ 2472919 w 3437996"/>
              <a:gd name="csY116" fmla="*/ 643127 h 2018071"/>
              <a:gd name="csX117" fmla="*/ 2471515 w 3437996"/>
              <a:gd name="csY117" fmla="*/ 641819 h 2018071"/>
              <a:gd name="csX118" fmla="*/ 2463424 w 3437996"/>
              <a:gd name="csY118" fmla="*/ 633584 h 2018071"/>
              <a:gd name="csX119" fmla="*/ 2462020 w 3437996"/>
              <a:gd name="csY119" fmla="*/ 632257 h 2018071"/>
              <a:gd name="csX120" fmla="*/ 2453925 w 3437996"/>
              <a:gd name="csY120" fmla="*/ 624049 h 2018071"/>
              <a:gd name="csX121" fmla="*/ 2452516 w 3437996"/>
              <a:gd name="csY121" fmla="*/ 622702 h 2018071"/>
              <a:gd name="csX122" fmla="*/ 2444450 w 3437996"/>
              <a:gd name="csY122" fmla="*/ 614506 h 2018071"/>
              <a:gd name="csX123" fmla="*/ 2443026 w 3437996"/>
              <a:gd name="csY123" fmla="*/ 613123 h 2018071"/>
              <a:gd name="csX124" fmla="*/ 2434957 w 3437996"/>
              <a:gd name="csY124" fmla="*/ 604969 h 2018071"/>
              <a:gd name="csX125" fmla="*/ 2433519 w 3437996"/>
              <a:gd name="csY125" fmla="*/ 603563 h 2018071"/>
              <a:gd name="csX126" fmla="*/ 2425486 w 3437996"/>
              <a:gd name="csY126" fmla="*/ 595418 h 2018071"/>
              <a:gd name="csX127" fmla="*/ 2424029 w 3437996"/>
              <a:gd name="csY127" fmla="*/ 593985 h 2018071"/>
              <a:gd name="csX128" fmla="*/ 2416081 w 3437996"/>
              <a:gd name="csY128" fmla="*/ 585841 h 2018071"/>
              <a:gd name="csX129" fmla="*/ 2414563 w 3437996"/>
              <a:gd name="csY129" fmla="*/ 584358 h 2018071"/>
              <a:gd name="csX130" fmla="*/ 2406640 w 3437996"/>
              <a:gd name="csY130" fmla="*/ 576281 h 2018071"/>
              <a:gd name="csX131" fmla="*/ 2405068 w 3437996"/>
              <a:gd name="csY131" fmla="*/ 574761 h 2018071"/>
              <a:gd name="csX132" fmla="*/ 2397176 w 3437996"/>
              <a:gd name="csY132" fmla="*/ 566733 h 2018071"/>
              <a:gd name="csX133" fmla="*/ 2395561 w 3437996"/>
              <a:gd name="csY133" fmla="*/ 565186 h 2018071"/>
              <a:gd name="csX134" fmla="*/ 2387690 w 3437996"/>
              <a:gd name="csY134" fmla="*/ 557193 h 2018071"/>
              <a:gd name="csX135" fmla="*/ 2386050 w 3437996"/>
              <a:gd name="csY135" fmla="*/ 555624 h 2018071"/>
              <a:gd name="csX136" fmla="*/ 2378191 w 3437996"/>
              <a:gd name="csY136" fmla="*/ 547659 h 2018071"/>
              <a:gd name="csX137" fmla="*/ 2376534 w 3437996"/>
              <a:gd name="csY137" fmla="*/ 546075 h 2018071"/>
              <a:gd name="csX138" fmla="*/ 2368704 w 3437996"/>
              <a:gd name="csY138" fmla="*/ 538124 h 2018071"/>
              <a:gd name="csX139" fmla="*/ 2367021 w 3437996"/>
              <a:gd name="csY139" fmla="*/ 536517 h 2018071"/>
              <a:gd name="csX140" fmla="*/ 2360018 w 3437996"/>
              <a:gd name="csY140" fmla="*/ 529380 h 2018071"/>
              <a:gd name="csX141" fmla="*/ 2357514 w 3437996"/>
              <a:gd name="csY141" fmla="*/ 526933 h 2018071"/>
              <a:gd name="csX142" fmla="*/ 2350552 w 3437996"/>
              <a:gd name="csY142" fmla="*/ 519835 h 2018071"/>
              <a:gd name="csX143" fmla="*/ 2348016 w 3437996"/>
              <a:gd name="csY143" fmla="*/ 517342 h 2018071"/>
              <a:gd name="csX144" fmla="*/ 2341054 w 3437996"/>
              <a:gd name="csY144" fmla="*/ 510297 h 2018071"/>
              <a:gd name="csX145" fmla="*/ 2338508 w 3437996"/>
              <a:gd name="csY145" fmla="*/ 507777 h 2018071"/>
              <a:gd name="csX146" fmla="*/ 2331539 w 3437996"/>
              <a:gd name="csY146" fmla="*/ 500765 h 2018071"/>
              <a:gd name="csX147" fmla="*/ 2328991 w 3437996"/>
              <a:gd name="csY147" fmla="*/ 498236 h 2018071"/>
              <a:gd name="csX148" fmla="*/ 2322020 w 3437996"/>
              <a:gd name="csY148" fmla="*/ 491243 h 2018071"/>
              <a:gd name="csX149" fmla="*/ 2319465 w 3437996"/>
              <a:gd name="csY149" fmla="*/ 488702 h 2018071"/>
              <a:gd name="csX150" fmla="*/ 2312510 w 3437996"/>
              <a:gd name="csY150" fmla="*/ 481725 h 2018071"/>
              <a:gd name="csX151" fmla="*/ 2309941 w 3437996"/>
              <a:gd name="csY151" fmla="*/ 479158 h 2018071"/>
              <a:gd name="csX152" fmla="*/ 2303024 w 3437996"/>
              <a:gd name="csY152" fmla="*/ 472210 h 2018071"/>
              <a:gd name="csX153" fmla="*/ 2300428 w 3437996"/>
              <a:gd name="csY153" fmla="*/ 469578 h 2018071"/>
              <a:gd name="csX154" fmla="*/ 2293545 w 3437996"/>
              <a:gd name="csY154" fmla="*/ 462697 h 2018071"/>
              <a:gd name="csX155" fmla="*/ 2290922 w 3437996"/>
              <a:gd name="csY155" fmla="*/ 459984 h 2018071"/>
              <a:gd name="csX156" fmla="*/ 2284051 w 3437996"/>
              <a:gd name="csY156" fmla="*/ 453172 h 2018071"/>
              <a:gd name="csX157" fmla="*/ 2281414 w 3437996"/>
              <a:gd name="csY157" fmla="*/ 450403 h 2018071"/>
              <a:gd name="csX158" fmla="*/ 2274560 w 3437996"/>
              <a:gd name="csY158" fmla="*/ 443646 h 2018071"/>
              <a:gd name="csX159" fmla="*/ 2271906 w 3437996"/>
              <a:gd name="csY159" fmla="*/ 440826 h 2018071"/>
              <a:gd name="csX160" fmla="*/ 2265120 w 3437996"/>
              <a:gd name="csY160" fmla="*/ 434112 h 2018071"/>
              <a:gd name="csX161" fmla="*/ 2262409 w 3437996"/>
              <a:gd name="csY161" fmla="*/ 431189 h 2018071"/>
              <a:gd name="csX162" fmla="*/ 2255765 w 3437996"/>
              <a:gd name="csY162" fmla="*/ 424557 h 2018071"/>
              <a:gd name="csX163" fmla="*/ 2252962 w 3437996"/>
              <a:gd name="csY163" fmla="*/ 421458 h 2018071"/>
              <a:gd name="csX164" fmla="*/ 2246361 w 3437996"/>
              <a:gd name="csY164" fmla="*/ 414989 h 2018071"/>
              <a:gd name="csX165" fmla="*/ 2226101 w 3437996"/>
              <a:gd name="csY165" fmla="*/ 394472 h 2018071"/>
              <a:gd name="csX166" fmla="*/ 2204126 w 3437996"/>
              <a:gd name="csY166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21387 w 3437996"/>
              <a:gd name="csY47" fmla="*/ 708333 h 2018071"/>
              <a:gd name="csX48" fmla="*/ 22313 w 3437996"/>
              <a:gd name="csY48" fmla="*/ 700409 h 2018071"/>
              <a:gd name="csX49" fmla="*/ 30962 w 3437996"/>
              <a:gd name="csY49" fmla="*/ 642260 h 2018071"/>
              <a:gd name="csX50" fmla="*/ 32315 w 3437996"/>
              <a:gd name="csY50" fmla="*/ 633805 h 2018071"/>
              <a:gd name="csX51" fmla="*/ 40506 w 3437996"/>
              <a:gd name="csY51" fmla="*/ 584580 h 2018071"/>
              <a:gd name="csX52" fmla="*/ 42550 w 3437996"/>
              <a:gd name="csY52" fmla="*/ 567648 h 2018071"/>
              <a:gd name="csX53" fmla="*/ 49883 w 3437996"/>
              <a:gd name="csY53" fmla="*/ 529082 h 2018071"/>
              <a:gd name="csX54" fmla="*/ 51048 w 3437996"/>
              <a:gd name="csY54" fmla="*/ 526838 h 2018071"/>
              <a:gd name="csX55" fmla="*/ 88193 w 3437996"/>
              <a:gd name="csY55" fmla="*/ 269877 h 2018071"/>
              <a:gd name="csX56" fmla="*/ 89741 w 3437996"/>
              <a:gd name="csY56" fmla="*/ 253550 h 2018071"/>
              <a:gd name="csX57" fmla="*/ 98008 w 3437996"/>
              <a:gd name="csY57" fmla="*/ 233543 h 2018071"/>
              <a:gd name="csX58" fmla="*/ 99628 w 3437996"/>
              <a:gd name="csY58" fmla="*/ 231506 h 2018071"/>
              <a:gd name="csX59" fmla="*/ 182353 w 3437996"/>
              <a:gd name="csY59" fmla="*/ 229554 h 2018071"/>
              <a:gd name="csX60" fmla="*/ 185812 w 3437996"/>
              <a:gd name="csY60" fmla="*/ 231380 h 2018071"/>
              <a:gd name="csX61" fmla="*/ 213726 w 3437996"/>
              <a:gd name="csY61" fmla="*/ 239233 h 2018071"/>
              <a:gd name="csX62" fmla="*/ 416961 w 3437996"/>
              <a:gd name="csY62" fmla="*/ 299911 h 2018071"/>
              <a:gd name="csX63" fmla="*/ 622809 w 3437996"/>
              <a:gd name="csY63" fmla="*/ 305227 h 2018071"/>
              <a:gd name="csX64" fmla="*/ 1851374 w 3437996"/>
              <a:gd name="csY64" fmla="*/ 7502 h 2018071"/>
              <a:gd name="csX65" fmla="*/ 2119617 w 3437996"/>
              <a:gd name="csY65" fmla="*/ 86919 h 2018071"/>
              <a:gd name="csX66" fmla="*/ 2805452 w 3437996"/>
              <a:gd name="csY66" fmla="*/ 622669 h 2018071"/>
              <a:gd name="csX67" fmla="*/ 3047873 w 3437996"/>
              <a:gd name="csY67" fmla="*/ 889895 h 2018071"/>
              <a:gd name="csX68" fmla="*/ 3201337 w 3437996"/>
              <a:gd name="csY68" fmla="*/ 1065192 h 2018071"/>
              <a:gd name="csX69" fmla="*/ 3322212 w 3437996"/>
              <a:gd name="csY69" fmla="*/ 1262254 h 2018071"/>
              <a:gd name="csX70" fmla="*/ 3434603 w 3437996"/>
              <a:gd name="csY70" fmla="*/ 1463610 h 2018071"/>
              <a:gd name="csX71" fmla="*/ 3437317 w 3437996"/>
              <a:gd name="csY71" fmla="*/ 1496424 h 2018071"/>
              <a:gd name="csX72" fmla="*/ 3437173 w 3437996"/>
              <a:gd name="csY72" fmla="*/ 1502015 h 2018071"/>
              <a:gd name="csX73" fmla="*/ 3265778 w 3437996"/>
              <a:gd name="csY73" fmla="*/ 1437268 h 2018071"/>
              <a:gd name="csX74" fmla="*/ 3131933 w 3437996"/>
              <a:gd name="csY74" fmla="*/ 1283723 h 2018071"/>
              <a:gd name="csX75" fmla="*/ 2856351 w 3437996"/>
              <a:gd name="csY75" fmla="*/ 1004478 h 2018071"/>
              <a:gd name="csX76" fmla="*/ 2818150 w 3437996"/>
              <a:gd name="csY76" fmla="*/ 969213 h 2018071"/>
              <a:gd name="csX77" fmla="*/ 2654127 w 3437996"/>
              <a:gd name="csY77" fmla="*/ 825572 h 2018071"/>
              <a:gd name="csX78" fmla="*/ 2651783 w 3437996"/>
              <a:gd name="csY78" fmla="*/ 823279 h 2018071"/>
              <a:gd name="csX79" fmla="*/ 2644017 w 3437996"/>
              <a:gd name="csY79" fmla="*/ 814773 h 2018071"/>
              <a:gd name="csX80" fmla="*/ 2642551 w 3437996"/>
              <a:gd name="csY80" fmla="*/ 813746 h 2018071"/>
              <a:gd name="csX81" fmla="*/ 2634494 w 3437996"/>
              <a:gd name="csY81" fmla="*/ 805208 h 2018071"/>
              <a:gd name="csX82" fmla="*/ 2633053 w 3437996"/>
              <a:gd name="csY82" fmla="*/ 804210 h 2018071"/>
              <a:gd name="csX83" fmla="*/ 2624994 w 3437996"/>
              <a:gd name="csY83" fmla="*/ 795655 h 2018071"/>
              <a:gd name="csX84" fmla="*/ 2623570 w 3437996"/>
              <a:gd name="csY84" fmla="*/ 794675 h 2018071"/>
              <a:gd name="csX85" fmla="*/ 2615495 w 3437996"/>
              <a:gd name="csY85" fmla="*/ 786111 h 2018071"/>
              <a:gd name="csX86" fmla="*/ 2614082 w 3437996"/>
              <a:gd name="csY86" fmla="*/ 785113 h 2018071"/>
              <a:gd name="csX87" fmla="*/ 2606007 w 3437996"/>
              <a:gd name="csY87" fmla="*/ 776562 h 2018071"/>
              <a:gd name="csX88" fmla="*/ 2604609 w 3437996"/>
              <a:gd name="csY88" fmla="*/ 775538 h 2018071"/>
              <a:gd name="csX89" fmla="*/ 2596489 w 3437996"/>
              <a:gd name="csY89" fmla="*/ 767032 h 2018071"/>
              <a:gd name="csX90" fmla="*/ 2595095 w 3437996"/>
              <a:gd name="csY90" fmla="*/ 766006 h 2018071"/>
              <a:gd name="csX91" fmla="*/ 2586954 w 3437996"/>
              <a:gd name="csY91" fmla="*/ 757512 h 2018071"/>
              <a:gd name="csX92" fmla="*/ 2585558 w 3437996"/>
              <a:gd name="csY92" fmla="*/ 756496 h 2018071"/>
              <a:gd name="csX93" fmla="*/ 2577410 w 3437996"/>
              <a:gd name="csY93" fmla="*/ 748000 h 2018071"/>
              <a:gd name="csX94" fmla="*/ 2576006 w 3437996"/>
              <a:gd name="csY94" fmla="*/ 747002 h 2018071"/>
              <a:gd name="csX95" fmla="*/ 2567871 w 3437996"/>
              <a:gd name="csY95" fmla="*/ 738486 h 2018071"/>
              <a:gd name="csX96" fmla="*/ 2566459 w 3437996"/>
              <a:gd name="csY96" fmla="*/ 737499 h 2018071"/>
              <a:gd name="csX97" fmla="*/ 2558352 w 3437996"/>
              <a:gd name="csY97" fmla="*/ 728962 h 2018071"/>
              <a:gd name="csX98" fmla="*/ 2556937 w 3437996"/>
              <a:gd name="csY98" fmla="*/ 727967 h 2018071"/>
              <a:gd name="csX99" fmla="*/ 2548845 w 3437996"/>
              <a:gd name="csY99" fmla="*/ 719430 h 2018071"/>
              <a:gd name="csX100" fmla="*/ 2547432 w 3437996"/>
              <a:gd name="csY100" fmla="*/ 718414 h 2018071"/>
              <a:gd name="csX101" fmla="*/ 2539350 w 3437996"/>
              <a:gd name="csY101" fmla="*/ 709894 h 2018071"/>
              <a:gd name="csX102" fmla="*/ 2537942 w 3437996"/>
              <a:gd name="csY102" fmla="*/ 708842 h 2018071"/>
              <a:gd name="csX103" fmla="*/ 2529865 w 3437996"/>
              <a:gd name="csY103" fmla="*/ 700356 h 2018071"/>
              <a:gd name="csX104" fmla="*/ 2528460 w 3437996"/>
              <a:gd name="csY104" fmla="*/ 699259 h 2018071"/>
              <a:gd name="csX105" fmla="*/ 2520386 w 3437996"/>
              <a:gd name="csY105" fmla="*/ 690820 h 2018071"/>
              <a:gd name="csX106" fmla="*/ 2518981 w 3437996"/>
              <a:gd name="csY106" fmla="*/ 689668 h 2018071"/>
              <a:gd name="csX107" fmla="*/ 2510900 w 3437996"/>
              <a:gd name="csY107" fmla="*/ 681286 h 2018071"/>
              <a:gd name="csX108" fmla="*/ 2509493 w 3437996"/>
              <a:gd name="csY108" fmla="*/ 680082 h 2018071"/>
              <a:gd name="csX109" fmla="*/ 2501400 w 3437996"/>
              <a:gd name="csY109" fmla="*/ 671754 h 2018071"/>
              <a:gd name="csX110" fmla="*/ 2499991 w 3437996"/>
              <a:gd name="csY110" fmla="*/ 670520 h 2018071"/>
              <a:gd name="csX111" fmla="*/ 2491892 w 3437996"/>
              <a:gd name="csY111" fmla="*/ 662222 h 2018071"/>
              <a:gd name="csX112" fmla="*/ 2490482 w 3437996"/>
              <a:gd name="csY112" fmla="*/ 660967 h 2018071"/>
              <a:gd name="csX113" fmla="*/ 2482391 w 3437996"/>
              <a:gd name="csY113" fmla="*/ 652682 h 2018071"/>
              <a:gd name="csX114" fmla="*/ 2480984 w 3437996"/>
              <a:gd name="csY114" fmla="*/ 651408 h 2018071"/>
              <a:gd name="csX115" fmla="*/ 2472919 w 3437996"/>
              <a:gd name="csY115" fmla="*/ 643127 h 2018071"/>
              <a:gd name="csX116" fmla="*/ 2471515 w 3437996"/>
              <a:gd name="csY116" fmla="*/ 641819 h 2018071"/>
              <a:gd name="csX117" fmla="*/ 2463424 w 3437996"/>
              <a:gd name="csY117" fmla="*/ 633584 h 2018071"/>
              <a:gd name="csX118" fmla="*/ 2462020 w 3437996"/>
              <a:gd name="csY118" fmla="*/ 632257 h 2018071"/>
              <a:gd name="csX119" fmla="*/ 2453925 w 3437996"/>
              <a:gd name="csY119" fmla="*/ 624049 h 2018071"/>
              <a:gd name="csX120" fmla="*/ 2452516 w 3437996"/>
              <a:gd name="csY120" fmla="*/ 622702 h 2018071"/>
              <a:gd name="csX121" fmla="*/ 2444450 w 3437996"/>
              <a:gd name="csY121" fmla="*/ 614506 h 2018071"/>
              <a:gd name="csX122" fmla="*/ 2443026 w 3437996"/>
              <a:gd name="csY122" fmla="*/ 613123 h 2018071"/>
              <a:gd name="csX123" fmla="*/ 2434957 w 3437996"/>
              <a:gd name="csY123" fmla="*/ 604969 h 2018071"/>
              <a:gd name="csX124" fmla="*/ 2433519 w 3437996"/>
              <a:gd name="csY124" fmla="*/ 603563 h 2018071"/>
              <a:gd name="csX125" fmla="*/ 2425486 w 3437996"/>
              <a:gd name="csY125" fmla="*/ 595418 h 2018071"/>
              <a:gd name="csX126" fmla="*/ 2424029 w 3437996"/>
              <a:gd name="csY126" fmla="*/ 593985 h 2018071"/>
              <a:gd name="csX127" fmla="*/ 2416081 w 3437996"/>
              <a:gd name="csY127" fmla="*/ 585841 h 2018071"/>
              <a:gd name="csX128" fmla="*/ 2414563 w 3437996"/>
              <a:gd name="csY128" fmla="*/ 584358 h 2018071"/>
              <a:gd name="csX129" fmla="*/ 2406640 w 3437996"/>
              <a:gd name="csY129" fmla="*/ 576281 h 2018071"/>
              <a:gd name="csX130" fmla="*/ 2405068 w 3437996"/>
              <a:gd name="csY130" fmla="*/ 574761 h 2018071"/>
              <a:gd name="csX131" fmla="*/ 2397176 w 3437996"/>
              <a:gd name="csY131" fmla="*/ 566733 h 2018071"/>
              <a:gd name="csX132" fmla="*/ 2395561 w 3437996"/>
              <a:gd name="csY132" fmla="*/ 565186 h 2018071"/>
              <a:gd name="csX133" fmla="*/ 2387690 w 3437996"/>
              <a:gd name="csY133" fmla="*/ 557193 h 2018071"/>
              <a:gd name="csX134" fmla="*/ 2386050 w 3437996"/>
              <a:gd name="csY134" fmla="*/ 555624 h 2018071"/>
              <a:gd name="csX135" fmla="*/ 2378191 w 3437996"/>
              <a:gd name="csY135" fmla="*/ 547659 h 2018071"/>
              <a:gd name="csX136" fmla="*/ 2376534 w 3437996"/>
              <a:gd name="csY136" fmla="*/ 546075 h 2018071"/>
              <a:gd name="csX137" fmla="*/ 2368704 w 3437996"/>
              <a:gd name="csY137" fmla="*/ 538124 h 2018071"/>
              <a:gd name="csX138" fmla="*/ 2367021 w 3437996"/>
              <a:gd name="csY138" fmla="*/ 536517 h 2018071"/>
              <a:gd name="csX139" fmla="*/ 2360018 w 3437996"/>
              <a:gd name="csY139" fmla="*/ 529380 h 2018071"/>
              <a:gd name="csX140" fmla="*/ 2357514 w 3437996"/>
              <a:gd name="csY140" fmla="*/ 526933 h 2018071"/>
              <a:gd name="csX141" fmla="*/ 2350552 w 3437996"/>
              <a:gd name="csY141" fmla="*/ 519835 h 2018071"/>
              <a:gd name="csX142" fmla="*/ 2348016 w 3437996"/>
              <a:gd name="csY142" fmla="*/ 517342 h 2018071"/>
              <a:gd name="csX143" fmla="*/ 2341054 w 3437996"/>
              <a:gd name="csY143" fmla="*/ 510297 h 2018071"/>
              <a:gd name="csX144" fmla="*/ 2338508 w 3437996"/>
              <a:gd name="csY144" fmla="*/ 507777 h 2018071"/>
              <a:gd name="csX145" fmla="*/ 2331539 w 3437996"/>
              <a:gd name="csY145" fmla="*/ 500765 h 2018071"/>
              <a:gd name="csX146" fmla="*/ 2328991 w 3437996"/>
              <a:gd name="csY146" fmla="*/ 498236 h 2018071"/>
              <a:gd name="csX147" fmla="*/ 2322020 w 3437996"/>
              <a:gd name="csY147" fmla="*/ 491243 h 2018071"/>
              <a:gd name="csX148" fmla="*/ 2319465 w 3437996"/>
              <a:gd name="csY148" fmla="*/ 488702 h 2018071"/>
              <a:gd name="csX149" fmla="*/ 2312510 w 3437996"/>
              <a:gd name="csY149" fmla="*/ 481725 h 2018071"/>
              <a:gd name="csX150" fmla="*/ 2309941 w 3437996"/>
              <a:gd name="csY150" fmla="*/ 479158 h 2018071"/>
              <a:gd name="csX151" fmla="*/ 2303024 w 3437996"/>
              <a:gd name="csY151" fmla="*/ 472210 h 2018071"/>
              <a:gd name="csX152" fmla="*/ 2300428 w 3437996"/>
              <a:gd name="csY152" fmla="*/ 469578 h 2018071"/>
              <a:gd name="csX153" fmla="*/ 2293545 w 3437996"/>
              <a:gd name="csY153" fmla="*/ 462697 h 2018071"/>
              <a:gd name="csX154" fmla="*/ 2290922 w 3437996"/>
              <a:gd name="csY154" fmla="*/ 459984 h 2018071"/>
              <a:gd name="csX155" fmla="*/ 2284051 w 3437996"/>
              <a:gd name="csY155" fmla="*/ 453172 h 2018071"/>
              <a:gd name="csX156" fmla="*/ 2281414 w 3437996"/>
              <a:gd name="csY156" fmla="*/ 450403 h 2018071"/>
              <a:gd name="csX157" fmla="*/ 2274560 w 3437996"/>
              <a:gd name="csY157" fmla="*/ 443646 h 2018071"/>
              <a:gd name="csX158" fmla="*/ 2271906 w 3437996"/>
              <a:gd name="csY158" fmla="*/ 440826 h 2018071"/>
              <a:gd name="csX159" fmla="*/ 2265120 w 3437996"/>
              <a:gd name="csY159" fmla="*/ 434112 h 2018071"/>
              <a:gd name="csX160" fmla="*/ 2262409 w 3437996"/>
              <a:gd name="csY160" fmla="*/ 431189 h 2018071"/>
              <a:gd name="csX161" fmla="*/ 2255765 w 3437996"/>
              <a:gd name="csY161" fmla="*/ 424557 h 2018071"/>
              <a:gd name="csX162" fmla="*/ 2252962 w 3437996"/>
              <a:gd name="csY162" fmla="*/ 421458 h 2018071"/>
              <a:gd name="csX163" fmla="*/ 2246361 w 3437996"/>
              <a:gd name="csY163" fmla="*/ 414989 h 2018071"/>
              <a:gd name="csX164" fmla="*/ 2226101 w 3437996"/>
              <a:gd name="csY164" fmla="*/ 394472 h 2018071"/>
              <a:gd name="csX165" fmla="*/ 2204126 w 3437996"/>
              <a:gd name="csY165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21387 w 3437996"/>
              <a:gd name="csY47" fmla="*/ 708333 h 2018071"/>
              <a:gd name="csX48" fmla="*/ 22313 w 3437996"/>
              <a:gd name="csY48" fmla="*/ 700409 h 2018071"/>
              <a:gd name="csX49" fmla="*/ 30962 w 3437996"/>
              <a:gd name="csY49" fmla="*/ 642260 h 2018071"/>
              <a:gd name="csX50" fmla="*/ 32315 w 3437996"/>
              <a:gd name="csY50" fmla="*/ 633805 h 2018071"/>
              <a:gd name="csX51" fmla="*/ 40506 w 3437996"/>
              <a:gd name="csY51" fmla="*/ 584580 h 2018071"/>
              <a:gd name="csX52" fmla="*/ 42550 w 3437996"/>
              <a:gd name="csY52" fmla="*/ 567648 h 2018071"/>
              <a:gd name="csX53" fmla="*/ 49883 w 3437996"/>
              <a:gd name="csY53" fmla="*/ 529082 h 2018071"/>
              <a:gd name="csX54" fmla="*/ 88193 w 3437996"/>
              <a:gd name="csY54" fmla="*/ 269877 h 2018071"/>
              <a:gd name="csX55" fmla="*/ 89741 w 3437996"/>
              <a:gd name="csY55" fmla="*/ 253550 h 2018071"/>
              <a:gd name="csX56" fmla="*/ 98008 w 3437996"/>
              <a:gd name="csY56" fmla="*/ 233543 h 2018071"/>
              <a:gd name="csX57" fmla="*/ 99628 w 3437996"/>
              <a:gd name="csY57" fmla="*/ 231506 h 2018071"/>
              <a:gd name="csX58" fmla="*/ 182353 w 3437996"/>
              <a:gd name="csY58" fmla="*/ 229554 h 2018071"/>
              <a:gd name="csX59" fmla="*/ 185812 w 3437996"/>
              <a:gd name="csY59" fmla="*/ 231380 h 2018071"/>
              <a:gd name="csX60" fmla="*/ 213726 w 3437996"/>
              <a:gd name="csY60" fmla="*/ 239233 h 2018071"/>
              <a:gd name="csX61" fmla="*/ 416961 w 3437996"/>
              <a:gd name="csY61" fmla="*/ 299911 h 2018071"/>
              <a:gd name="csX62" fmla="*/ 622809 w 3437996"/>
              <a:gd name="csY62" fmla="*/ 305227 h 2018071"/>
              <a:gd name="csX63" fmla="*/ 1851374 w 3437996"/>
              <a:gd name="csY63" fmla="*/ 7502 h 2018071"/>
              <a:gd name="csX64" fmla="*/ 2119617 w 3437996"/>
              <a:gd name="csY64" fmla="*/ 86919 h 2018071"/>
              <a:gd name="csX65" fmla="*/ 2805452 w 3437996"/>
              <a:gd name="csY65" fmla="*/ 622669 h 2018071"/>
              <a:gd name="csX66" fmla="*/ 3047873 w 3437996"/>
              <a:gd name="csY66" fmla="*/ 889895 h 2018071"/>
              <a:gd name="csX67" fmla="*/ 3201337 w 3437996"/>
              <a:gd name="csY67" fmla="*/ 1065192 h 2018071"/>
              <a:gd name="csX68" fmla="*/ 3322212 w 3437996"/>
              <a:gd name="csY68" fmla="*/ 1262254 h 2018071"/>
              <a:gd name="csX69" fmla="*/ 3434603 w 3437996"/>
              <a:gd name="csY69" fmla="*/ 1463610 h 2018071"/>
              <a:gd name="csX70" fmla="*/ 3437317 w 3437996"/>
              <a:gd name="csY70" fmla="*/ 1496424 h 2018071"/>
              <a:gd name="csX71" fmla="*/ 3437173 w 3437996"/>
              <a:gd name="csY71" fmla="*/ 1502015 h 2018071"/>
              <a:gd name="csX72" fmla="*/ 3265778 w 3437996"/>
              <a:gd name="csY72" fmla="*/ 1437268 h 2018071"/>
              <a:gd name="csX73" fmla="*/ 3131933 w 3437996"/>
              <a:gd name="csY73" fmla="*/ 1283723 h 2018071"/>
              <a:gd name="csX74" fmla="*/ 2856351 w 3437996"/>
              <a:gd name="csY74" fmla="*/ 1004478 h 2018071"/>
              <a:gd name="csX75" fmla="*/ 2818150 w 3437996"/>
              <a:gd name="csY75" fmla="*/ 969213 h 2018071"/>
              <a:gd name="csX76" fmla="*/ 2654127 w 3437996"/>
              <a:gd name="csY76" fmla="*/ 825572 h 2018071"/>
              <a:gd name="csX77" fmla="*/ 2651783 w 3437996"/>
              <a:gd name="csY77" fmla="*/ 823279 h 2018071"/>
              <a:gd name="csX78" fmla="*/ 2644017 w 3437996"/>
              <a:gd name="csY78" fmla="*/ 814773 h 2018071"/>
              <a:gd name="csX79" fmla="*/ 2642551 w 3437996"/>
              <a:gd name="csY79" fmla="*/ 813746 h 2018071"/>
              <a:gd name="csX80" fmla="*/ 2634494 w 3437996"/>
              <a:gd name="csY80" fmla="*/ 805208 h 2018071"/>
              <a:gd name="csX81" fmla="*/ 2633053 w 3437996"/>
              <a:gd name="csY81" fmla="*/ 804210 h 2018071"/>
              <a:gd name="csX82" fmla="*/ 2624994 w 3437996"/>
              <a:gd name="csY82" fmla="*/ 795655 h 2018071"/>
              <a:gd name="csX83" fmla="*/ 2623570 w 3437996"/>
              <a:gd name="csY83" fmla="*/ 794675 h 2018071"/>
              <a:gd name="csX84" fmla="*/ 2615495 w 3437996"/>
              <a:gd name="csY84" fmla="*/ 786111 h 2018071"/>
              <a:gd name="csX85" fmla="*/ 2614082 w 3437996"/>
              <a:gd name="csY85" fmla="*/ 785113 h 2018071"/>
              <a:gd name="csX86" fmla="*/ 2606007 w 3437996"/>
              <a:gd name="csY86" fmla="*/ 776562 h 2018071"/>
              <a:gd name="csX87" fmla="*/ 2604609 w 3437996"/>
              <a:gd name="csY87" fmla="*/ 775538 h 2018071"/>
              <a:gd name="csX88" fmla="*/ 2596489 w 3437996"/>
              <a:gd name="csY88" fmla="*/ 767032 h 2018071"/>
              <a:gd name="csX89" fmla="*/ 2595095 w 3437996"/>
              <a:gd name="csY89" fmla="*/ 766006 h 2018071"/>
              <a:gd name="csX90" fmla="*/ 2586954 w 3437996"/>
              <a:gd name="csY90" fmla="*/ 757512 h 2018071"/>
              <a:gd name="csX91" fmla="*/ 2585558 w 3437996"/>
              <a:gd name="csY91" fmla="*/ 756496 h 2018071"/>
              <a:gd name="csX92" fmla="*/ 2577410 w 3437996"/>
              <a:gd name="csY92" fmla="*/ 748000 h 2018071"/>
              <a:gd name="csX93" fmla="*/ 2576006 w 3437996"/>
              <a:gd name="csY93" fmla="*/ 747002 h 2018071"/>
              <a:gd name="csX94" fmla="*/ 2567871 w 3437996"/>
              <a:gd name="csY94" fmla="*/ 738486 h 2018071"/>
              <a:gd name="csX95" fmla="*/ 2566459 w 3437996"/>
              <a:gd name="csY95" fmla="*/ 737499 h 2018071"/>
              <a:gd name="csX96" fmla="*/ 2558352 w 3437996"/>
              <a:gd name="csY96" fmla="*/ 728962 h 2018071"/>
              <a:gd name="csX97" fmla="*/ 2556937 w 3437996"/>
              <a:gd name="csY97" fmla="*/ 727967 h 2018071"/>
              <a:gd name="csX98" fmla="*/ 2548845 w 3437996"/>
              <a:gd name="csY98" fmla="*/ 719430 h 2018071"/>
              <a:gd name="csX99" fmla="*/ 2547432 w 3437996"/>
              <a:gd name="csY99" fmla="*/ 718414 h 2018071"/>
              <a:gd name="csX100" fmla="*/ 2539350 w 3437996"/>
              <a:gd name="csY100" fmla="*/ 709894 h 2018071"/>
              <a:gd name="csX101" fmla="*/ 2537942 w 3437996"/>
              <a:gd name="csY101" fmla="*/ 708842 h 2018071"/>
              <a:gd name="csX102" fmla="*/ 2529865 w 3437996"/>
              <a:gd name="csY102" fmla="*/ 700356 h 2018071"/>
              <a:gd name="csX103" fmla="*/ 2528460 w 3437996"/>
              <a:gd name="csY103" fmla="*/ 699259 h 2018071"/>
              <a:gd name="csX104" fmla="*/ 2520386 w 3437996"/>
              <a:gd name="csY104" fmla="*/ 690820 h 2018071"/>
              <a:gd name="csX105" fmla="*/ 2518981 w 3437996"/>
              <a:gd name="csY105" fmla="*/ 689668 h 2018071"/>
              <a:gd name="csX106" fmla="*/ 2510900 w 3437996"/>
              <a:gd name="csY106" fmla="*/ 681286 h 2018071"/>
              <a:gd name="csX107" fmla="*/ 2509493 w 3437996"/>
              <a:gd name="csY107" fmla="*/ 680082 h 2018071"/>
              <a:gd name="csX108" fmla="*/ 2501400 w 3437996"/>
              <a:gd name="csY108" fmla="*/ 671754 h 2018071"/>
              <a:gd name="csX109" fmla="*/ 2499991 w 3437996"/>
              <a:gd name="csY109" fmla="*/ 670520 h 2018071"/>
              <a:gd name="csX110" fmla="*/ 2491892 w 3437996"/>
              <a:gd name="csY110" fmla="*/ 662222 h 2018071"/>
              <a:gd name="csX111" fmla="*/ 2490482 w 3437996"/>
              <a:gd name="csY111" fmla="*/ 660967 h 2018071"/>
              <a:gd name="csX112" fmla="*/ 2482391 w 3437996"/>
              <a:gd name="csY112" fmla="*/ 652682 h 2018071"/>
              <a:gd name="csX113" fmla="*/ 2480984 w 3437996"/>
              <a:gd name="csY113" fmla="*/ 651408 h 2018071"/>
              <a:gd name="csX114" fmla="*/ 2472919 w 3437996"/>
              <a:gd name="csY114" fmla="*/ 643127 h 2018071"/>
              <a:gd name="csX115" fmla="*/ 2471515 w 3437996"/>
              <a:gd name="csY115" fmla="*/ 641819 h 2018071"/>
              <a:gd name="csX116" fmla="*/ 2463424 w 3437996"/>
              <a:gd name="csY116" fmla="*/ 633584 h 2018071"/>
              <a:gd name="csX117" fmla="*/ 2462020 w 3437996"/>
              <a:gd name="csY117" fmla="*/ 632257 h 2018071"/>
              <a:gd name="csX118" fmla="*/ 2453925 w 3437996"/>
              <a:gd name="csY118" fmla="*/ 624049 h 2018071"/>
              <a:gd name="csX119" fmla="*/ 2452516 w 3437996"/>
              <a:gd name="csY119" fmla="*/ 622702 h 2018071"/>
              <a:gd name="csX120" fmla="*/ 2444450 w 3437996"/>
              <a:gd name="csY120" fmla="*/ 614506 h 2018071"/>
              <a:gd name="csX121" fmla="*/ 2443026 w 3437996"/>
              <a:gd name="csY121" fmla="*/ 613123 h 2018071"/>
              <a:gd name="csX122" fmla="*/ 2434957 w 3437996"/>
              <a:gd name="csY122" fmla="*/ 604969 h 2018071"/>
              <a:gd name="csX123" fmla="*/ 2433519 w 3437996"/>
              <a:gd name="csY123" fmla="*/ 603563 h 2018071"/>
              <a:gd name="csX124" fmla="*/ 2425486 w 3437996"/>
              <a:gd name="csY124" fmla="*/ 595418 h 2018071"/>
              <a:gd name="csX125" fmla="*/ 2424029 w 3437996"/>
              <a:gd name="csY125" fmla="*/ 593985 h 2018071"/>
              <a:gd name="csX126" fmla="*/ 2416081 w 3437996"/>
              <a:gd name="csY126" fmla="*/ 585841 h 2018071"/>
              <a:gd name="csX127" fmla="*/ 2414563 w 3437996"/>
              <a:gd name="csY127" fmla="*/ 584358 h 2018071"/>
              <a:gd name="csX128" fmla="*/ 2406640 w 3437996"/>
              <a:gd name="csY128" fmla="*/ 576281 h 2018071"/>
              <a:gd name="csX129" fmla="*/ 2405068 w 3437996"/>
              <a:gd name="csY129" fmla="*/ 574761 h 2018071"/>
              <a:gd name="csX130" fmla="*/ 2397176 w 3437996"/>
              <a:gd name="csY130" fmla="*/ 566733 h 2018071"/>
              <a:gd name="csX131" fmla="*/ 2395561 w 3437996"/>
              <a:gd name="csY131" fmla="*/ 565186 h 2018071"/>
              <a:gd name="csX132" fmla="*/ 2387690 w 3437996"/>
              <a:gd name="csY132" fmla="*/ 557193 h 2018071"/>
              <a:gd name="csX133" fmla="*/ 2386050 w 3437996"/>
              <a:gd name="csY133" fmla="*/ 555624 h 2018071"/>
              <a:gd name="csX134" fmla="*/ 2378191 w 3437996"/>
              <a:gd name="csY134" fmla="*/ 547659 h 2018071"/>
              <a:gd name="csX135" fmla="*/ 2376534 w 3437996"/>
              <a:gd name="csY135" fmla="*/ 546075 h 2018071"/>
              <a:gd name="csX136" fmla="*/ 2368704 w 3437996"/>
              <a:gd name="csY136" fmla="*/ 538124 h 2018071"/>
              <a:gd name="csX137" fmla="*/ 2367021 w 3437996"/>
              <a:gd name="csY137" fmla="*/ 536517 h 2018071"/>
              <a:gd name="csX138" fmla="*/ 2360018 w 3437996"/>
              <a:gd name="csY138" fmla="*/ 529380 h 2018071"/>
              <a:gd name="csX139" fmla="*/ 2357514 w 3437996"/>
              <a:gd name="csY139" fmla="*/ 526933 h 2018071"/>
              <a:gd name="csX140" fmla="*/ 2350552 w 3437996"/>
              <a:gd name="csY140" fmla="*/ 519835 h 2018071"/>
              <a:gd name="csX141" fmla="*/ 2348016 w 3437996"/>
              <a:gd name="csY141" fmla="*/ 517342 h 2018071"/>
              <a:gd name="csX142" fmla="*/ 2341054 w 3437996"/>
              <a:gd name="csY142" fmla="*/ 510297 h 2018071"/>
              <a:gd name="csX143" fmla="*/ 2338508 w 3437996"/>
              <a:gd name="csY143" fmla="*/ 507777 h 2018071"/>
              <a:gd name="csX144" fmla="*/ 2331539 w 3437996"/>
              <a:gd name="csY144" fmla="*/ 500765 h 2018071"/>
              <a:gd name="csX145" fmla="*/ 2328991 w 3437996"/>
              <a:gd name="csY145" fmla="*/ 498236 h 2018071"/>
              <a:gd name="csX146" fmla="*/ 2322020 w 3437996"/>
              <a:gd name="csY146" fmla="*/ 491243 h 2018071"/>
              <a:gd name="csX147" fmla="*/ 2319465 w 3437996"/>
              <a:gd name="csY147" fmla="*/ 488702 h 2018071"/>
              <a:gd name="csX148" fmla="*/ 2312510 w 3437996"/>
              <a:gd name="csY148" fmla="*/ 481725 h 2018071"/>
              <a:gd name="csX149" fmla="*/ 2309941 w 3437996"/>
              <a:gd name="csY149" fmla="*/ 479158 h 2018071"/>
              <a:gd name="csX150" fmla="*/ 2303024 w 3437996"/>
              <a:gd name="csY150" fmla="*/ 472210 h 2018071"/>
              <a:gd name="csX151" fmla="*/ 2300428 w 3437996"/>
              <a:gd name="csY151" fmla="*/ 469578 h 2018071"/>
              <a:gd name="csX152" fmla="*/ 2293545 w 3437996"/>
              <a:gd name="csY152" fmla="*/ 462697 h 2018071"/>
              <a:gd name="csX153" fmla="*/ 2290922 w 3437996"/>
              <a:gd name="csY153" fmla="*/ 459984 h 2018071"/>
              <a:gd name="csX154" fmla="*/ 2284051 w 3437996"/>
              <a:gd name="csY154" fmla="*/ 453172 h 2018071"/>
              <a:gd name="csX155" fmla="*/ 2281414 w 3437996"/>
              <a:gd name="csY155" fmla="*/ 450403 h 2018071"/>
              <a:gd name="csX156" fmla="*/ 2274560 w 3437996"/>
              <a:gd name="csY156" fmla="*/ 443646 h 2018071"/>
              <a:gd name="csX157" fmla="*/ 2271906 w 3437996"/>
              <a:gd name="csY157" fmla="*/ 440826 h 2018071"/>
              <a:gd name="csX158" fmla="*/ 2265120 w 3437996"/>
              <a:gd name="csY158" fmla="*/ 434112 h 2018071"/>
              <a:gd name="csX159" fmla="*/ 2262409 w 3437996"/>
              <a:gd name="csY159" fmla="*/ 431189 h 2018071"/>
              <a:gd name="csX160" fmla="*/ 2255765 w 3437996"/>
              <a:gd name="csY160" fmla="*/ 424557 h 2018071"/>
              <a:gd name="csX161" fmla="*/ 2252962 w 3437996"/>
              <a:gd name="csY161" fmla="*/ 421458 h 2018071"/>
              <a:gd name="csX162" fmla="*/ 2246361 w 3437996"/>
              <a:gd name="csY162" fmla="*/ 414989 h 2018071"/>
              <a:gd name="csX163" fmla="*/ 2226101 w 3437996"/>
              <a:gd name="csY163" fmla="*/ 394472 h 2018071"/>
              <a:gd name="csX164" fmla="*/ 2204126 w 3437996"/>
              <a:gd name="csY164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21387 w 3437996"/>
              <a:gd name="csY47" fmla="*/ 708333 h 2018071"/>
              <a:gd name="csX48" fmla="*/ 22313 w 3437996"/>
              <a:gd name="csY48" fmla="*/ 700409 h 2018071"/>
              <a:gd name="csX49" fmla="*/ 30962 w 3437996"/>
              <a:gd name="csY49" fmla="*/ 642260 h 2018071"/>
              <a:gd name="csX50" fmla="*/ 32315 w 3437996"/>
              <a:gd name="csY50" fmla="*/ 633805 h 2018071"/>
              <a:gd name="csX51" fmla="*/ 40506 w 3437996"/>
              <a:gd name="csY51" fmla="*/ 584580 h 2018071"/>
              <a:gd name="csX52" fmla="*/ 49883 w 3437996"/>
              <a:gd name="csY52" fmla="*/ 529082 h 2018071"/>
              <a:gd name="csX53" fmla="*/ 88193 w 3437996"/>
              <a:gd name="csY53" fmla="*/ 269877 h 2018071"/>
              <a:gd name="csX54" fmla="*/ 89741 w 3437996"/>
              <a:gd name="csY54" fmla="*/ 253550 h 2018071"/>
              <a:gd name="csX55" fmla="*/ 98008 w 3437996"/>
              <a:gd name="csY55" fmla="*/ 233543 h 2018071"/>
              <a:gd name="csX56" fmla="*/ 99628 w 3437996"/>
              <a:gd name="csY56" fmla="*/ 231506 h 2018071"/>
              <a:gd name="csX57" fmla="*/ 182353 w 3437996"/>
              <a:gd name="csY57" fmla="*/ 229554 h 2018071"/>
              <a:gd name="csX58" fmla="*/ 185812 w 3437996"/>
              <a:gd name="csY58" fmla="*/ 231380 h 2018071"/>
              <a:gd name="csX59" fmla="*/ 213726 w 3437996"/>
              <a:gd name="csY59" fmla="*/ 239233 h 2018071"/>
              <a:gd name="csX60" fmla="*/ 416961 w 3437996"/>
              <a:gd name="csY60" fmla="*/ 299911 h 2018071"/>
              <a:gd name="csX61" fmla="*/ 622809 w 3437996"/>
              <a:gd name="csY61" fmla="*/ 305227 h 2018071"/>
              <a:gd name="csX62" fmla="*/ 1851374 w 3437996"/>
              <a:gd name="csY62" fmla="*/ 7502 h 2018071"/>
              <a:gd name="csX63" fmla="*/ 2119617 w 3437996"/>
              <a:gd name="csY63" fmla="*/ 86919 h 2018071"/>
              <a:gd name="csX64" fmla="*/ 2805452 w 3437996"/>
              <a:gd name="csY64" fmla="*/ 622669 h 2018071"/>
              <a:gd name="csX65" fmla="*/ 3047873 w 3437996"/>
              <a:gd name="csY65" fmla="*/ 889895 h 2018071"/>
              <a:gd name="csX66" fmla="*/ 3201337 w 3437996"/>
              <a:gd name="csY66" fmla="*/ 1065192 h 2018071"/>
              <a:gd name="csX67" fmla="*/ 3322212 w 3437996"/>
              <a:gd name="csY67" fmla="*/ 1262254 h 2018071"/>
              <a:gd name="csX68" fmla="*/ 3434603 w 3437996"/>
              <a:gd name="csY68" fmla="*/ 1463610 h 2018071"/>
              <a:gd name="csX69" fmla="*/ 3437317 w 3437996"/>
              <a:gd name="csY69" fmla="*/ 1496424 h 2018071"/>
              <a:gd name="csX70" fmla="*/ 3437173 w 3437996"/>
              <a:gd name="csY70" fmla="*/ 1502015 h 2018071"/>
              <a:gd name="csX71" fmla="*/ 3265778 w 3437996"/>
              <a:gd name="csY71" fmla="*/ 1437268 h 2018071"/>
              <a:gd name="csX72" fmla="*/ 3131933 w 3437996"/>
              <a:gd name="csY72" fmla="*/ 1283723 h 2018071"/>
              <a:gd name="csX73" fmla="*/ 2856351 w 3437996"/>
              <a:gd name="csY73" fmla="*/ 1004478 h 2018071"/>
              <a:gd name="csX74" fmla="*/ 2818150 w 3437996"/>
              <a:gd name="csY74" fmla="*/ 969213 h 2018071"/>
              <a:gd name="csX75" fmla="*/ 2654127 w 3437996"/>
              <a:gd name="csY75" fmla="*/ 825572 h 2018071"/>
              <a:gd name="csX76" fmla="*/ 2651783 w 3437996"/>
              <a:gd name="csY76" fmla="*/ 823279 h 2018071"/>
              <a:gd name="csX77" fmla="*/ 2644017 w 3437996"/>
              <a:gd name="csY77" fmla="*/ 814773 h 2018071"/>
              <a:gd name="csX78" fmla="*/ 2642551 w 3437996"/>
              <a:gd name="csY78" fmla="*/ 813746 h 2018071"/>
              <a:gd name="csX79" fmla="*/ 2634494 w 3437996"/>
              <a:gd name="csY79" fmla="*/ 805208 h 2018071"/>
              <a:gd name="csX80" fmla="*/ 2633053 w 3437996"/>
              <a:gd name="csY80" fmla="*/ 804210 h 2018071"/>
              <a:gd name="csX81" fmla="*/ 2624994 w 3437996"/>
              <a:gd name="csY81" fmla="*/ 795655 h 2018071"/>
              <a:gd name="csX82" fmla="*/ 2623570 w 3437996"/>
              <a:gd name="csY82" fmla="*/ 794675 h 2018071"/>
              <a:gd name="csX83" fmla="*/ 2615495 w 3437996"/>
              <a:gd name="csY83" fmla="*/ 786111 h 2018071"/>
              <a:gd name="csX84" fmla="*/ 2614082 w 3437996"/>
              <a:gd name="csY84" fmla="*/ 785113 h 2018071"/>
              <a:gd name="csX85" fmla="*/ 2606007 w 3437996"/>
              <a:gd name="csY85" fmla="*/ 776562 h 2018071"/>
              <a:gd name="csX86" fmla="*/ 2604609 w 3437996"/>
              <a:gd name="csY86" fmla="*/ 775538 h 2018071"/>
              <a:gd name="csX87" fmla="*/ 2596489 w 3437996"/>
              <a:gd name="csY87" fmla="*/ 767032 h 2018071"/>
              <a:gd name="csX88" fmla="*/ 2595095 w 3437996"/>
              <a:gd name="csY88" fmla="*/ 766006 h 2018071"/>
              <a:gd name="csX89" fmla="*/ 2586954 w 3437996"/>
              <a:gd name="csY89" fmla="*/ 757512 h 2018071"/>
              <a:gd name="csX90" fmla="*/ 2585558 w 3437996"/>
              <a:gd name="csY90" fmla="*/ 756496 h 2018071"/>
              <a:gd name="csX91" fmla="*/ 2577410 w 3437996"/>
              <a:gd name="csY91" fmla="*/ 748000 h 2018071"/>
              <a:gd name="csX92" fmla="*/ 2576006 w 3437996"/>
              <a:gd name="csY92" fmla="*/ 747002 h 2018071"/>
              <a:gd name="csX93" fmla="*/ 2567871 w 3437996"/>
              <a:gd name="csY93" fmla="*/ 738486 h 2018071"/>
              <a:gd name="csX94" fmla="*/ 2566459 w 3437996"/>
              <a:gd name="csY94" fmla="*/ 737499 h 2018071"/>
              <a:gd name="csX95" fmla="*/ 2558352 w 3437996"/>
              <a:gd name="csY95" fmla="*/ 728962 h 2018071"/>
              <a:gd name="csX96" fmla="*/ 2556937 w 3437996"/>
              <a:gd name="csY96" fmla="*/ 727967 h 2018071"/>
              <a:gd name="csX97" fmla="*/ 2548845 w 3437996"/>
              <a:gd name="csY97" fmla="*/ 719430 h 2018071"/>
              <a:gd name="csX98" fmla="*/ 2547432 w 3437996"/>
              <a:gd name="csY98" fmla="*/ 718414 h 2018071"/>
              <a:gd name="csX99" fmla="*/ 2539350 w 3437996"/>
              <a:gd name="csY99" fmla="*/ 709894 h 2018071"/>
              <a:gd name="csX100" fmla="*/ 2537942 w 3437996"/>
              <a:gd name="csY100" fmla="*/ 708842 h 2018071"/>
              <a:gd name="csX101" fmla="*/ 2529865 w 3437996"/>
              <a:gd name="csY101" fmla="*/ 700356 h 2018071"/>
              <a:gd name="csX102" fmla="*/ 2528460 w 3437996"/>
              <a:gd name="csY102" fmla="*/ 699259 h 2018071"/>
              <a:gd name="csX103" fmla="*/ 2520386 w 3437996"/>
              <a:gd name="csY103" fmla="*/ 690820 h 2018071"/>
              <a:gd name="csX104" fmla="*/ 2518981 w 3437996"/>
              <a:gd name="csY104" fmla="*/ 689668 h 2018071"/>
              <a:gd name="csX105" fmla="*/ 2510900 w 3437996"/>
              <a:gd name="csY105" fmla="*/ 681286 h 2018071"/>
              <a:gd name="csX106" fmla="*/ 2509493 w 3437996"/>
              <a:gd name="csY106" fmla="*/ 680082 h 2018071"/>
              <a:gd name="csX107" fmla="*/ 2501400 w 3437996"/>
              <a:gd name="csY107" fmla="*/ 671754 h 2018071"/>
              <a:gd name="csX108" fmla="*/ 2499991 w 3437996"/>
              <a:gd name="csY108" fmla="*/ 670520 h 2018071"/>
              <a:gd name="csX109" fmla="*/ 2491892 w 3437996"/>
              <a:gd name="csY109" fmla="*/ 662222 h 2018071"/>
              <a:gd name="csX110" fmla="*/ 2490482 w 3437996"/>
              <a:gd name="csY110" fmla="*/ 660967 h 2018071"/>
              <a:gd name="csX111" fmla="*/ 2482391 w 3437996"/>
              <a:gd name="csY111" fmla="*/ 652682 h 2018071"/>
              <a:gd name="csX112" fmla="*/ 2480984 w 3437996"/>
              <a:gd name="csY112" fmla="*/ 651408 h 2018071"/>
              <a:gd name="csX113" fmla="*/ 2472919 w 3437996"/>
              <a:gd name="csY113" fmla="*/ 643127 h 2018071"/>
              <a:gd name="csX114" fmla="*/ 2471515 w 3437996"/>
              <a:gd name="csY114" fmla="*/ 641819 h 2018071"/>
              <a:gd name="csX115" fmla="*/ 2463424 w 3437996"/>
              <a:gd name="csY115" fmla="*/ 633584 h 2018071"/>
              <a:gd name="csX116" fmla="*/ 2462020 w 3437996"/>
              <a:gd name="csY116" fmla="*/ 632257 h 2018071"/>
              <a:gd name="csX117" fmla="*/ 2453925 w 3437996"/>
              <a:gd name="csY117" fmla="*/ 624049 h 2018071"/>
              <a:gd name="csX118" fmla="*/ 2452516 w 3437996"/>
              <a:gd name="csY118" fmla="*/ 622702 h 2018071"/>
              <a:gd name="csX119" fmla="*/ 2444450 w 3437996"/>
              <a:gd name="csY119" fmla="*/ 614506 h 2018071"/>
              <a:gd name="csX120" fmla="*/ 2443026 w 3437996"/>
              <a:gd name="csY120" fmla="*/ 613123 h 2018071"/>
              <a:gd name="csX121" fmla="*/ 2434957 w 3437996"/>
              <a:gd name="csY121" fmla="*/ 604969 h 2018071"/>
              <a:gd name="csX122" fmla="*/ 2433519 w 3437996"/>
              <a:gd name="csY122" fmla="*/ 603563 h 2018071"/>
              <a:gd name="csX123" fmla="*/ 2425486 w 3437996"/>
              <a:gd name="csY123" fmla="*/ 595418 h 2018071"/>
              <a:gd name="csX124" fmla="*/ 2424029 w 3437996"/>
              <a:gd name="csY124" fmla="*/ 593985 h 2018071"/>
              <a:gd name="csX125" fmla="*/ 2416081 w 3437996"/>
              <a:gd name="csY125" fmla="*/ 585841 h 2018071"/>
              <a:gd name="csX126" fmla="*/ 2414563 w 3437996"/>
              <a:gd name="csY126" fmla="*/ 584358 h 2018071"/>
              <a:gd name="csX127" fmla="*/ 2406640 w 3437996"/>
              <a:gd name="csY127" fmla="*/ 576281 h 2018071"/>
              <a:gd name="csX128" fmla="*/ 2405068 w 3437996"/>
              <a:gd name="csY128" fmla="*/ 574761 h 2018071"/>
              <a:gd name="csX129" fmla="*/ 2397176 w 3437996"/>
              <a:gd name="csY129" fmla="*/ 566733 h 2018071"/>
              <a:gd name="csX130" fmla="*/ 2395561 w 3437996"/>
              <a:gd name="csY130" fmla="*/ 565186 h 2018071"/>
              <a:gd name="csX131" fmla="*/ 2387690 w 3437996"/>
              <a:gd name="csY131" fmla="*/ 557193 h 2018071"/>
              <a:gd name="csX132" fmla="*/ 2386050 w 3437996"/>
              <a:gd name="csY132" fmla="*/ 555624 h 2018071"/>
              <a:gd name="csX133" fmla="*/ 2378191 w 3437996"/>
              <a:gd name="csY133" fmla="*/ 547659 h 2018071"/>
              <a:gd name="csX134" fmla="*/ 2376534 w 3437996"/>
              <a:gd name="csY134" fmla="*/ 546075 h 2018071"/>
              <a:gd name="csX135" fmla="*/ 2368704 w 3437996"/>
              <a:gd name="csY135" fmla="*/ 538124 h 2018071"/>
              <a:gd name="csX136" fmla="*/ 2367021 w 3437996"/>
              <a:gd name="csY136" fmla="*/ 536517 h 2018071"/>
              <a:gd name="csX137" fmla="*/ 2360018 w 3437996"/>
              <a:gd name="csY137" fmla="*/ 529380 h 2018071"/>
              <a:gd name="csX138" fmla="*/ 2357514 w 3437996"/>
              <a:gd name="csY138" fmla="*/ 526933 h 2018071"/>
              <a:gd name="csX139" fmla="*/ 2350552 w 3437996"/>
              <a:gd name="csY139" fmla="*/ 519835 h 2018071"/>
              <a:gd name="csX140" fmla="*/ 2348016 w 3437996"/>
              <a:gd name="csY140" fmla="*/ 517342 h 2018071"/>
              <a:gd name="csX141" fmla="*/ 2341054 w 3437996"/>
              <a:gd name="csY141" fmla="*/ 510297 h 2018071"/>
              <a:gd name="csX142" fmla="*/ 2338508 w 3437996"/>
              <a:gd name="csY142" fmla="*/ 507777 h 2018071"/>
              <a:gd name="csX143" fmla="*/ 2331539 w 3437996"/>
              <a:gd name="csY143" fmla="*/ 500765 h 2018071"/>
              <a:gd name="csX144" fmla="*/ 2328991 w 3437996"/>
              <a:gd name="csY144" fmla="*/ 498236 h 2018071"/>
              <a:gd name="csX145" fmla="*/ 2322020 w 3437996"/>
              <a:gd name="csY145" fmla="*/ 491243 h 2018071"/>
              <a:gd name="csX146" fmla="*/ 2319465 w 3437996"/>
              <a:gd name="csY146" fmla="*/ 488702 h 2018071"/>
              <a:gd name="csX147" fmla="*/ 2312510 w 3437996"/>
              <a:gd name="csY147" fmla="*/ 481725 h 2018071"/>
              <a:gd name="csX148" fmla="*/ 2309941 w 3437996"/>
              <a:gd name="csY148" fmla="*/ 479158 h 2018071"/>
              <a:gd name="csX149" fmla="*/ 2303024 w 3437996"/>
              <a:gd name="csY149" fmla="*/ 472210 h 2018071"/>
              <a:gd name="csX150" fmla="*/ 2300428 w 3437996"/>
              <a:gd name="csY150" fmla="*/ 469578 h 2018071"/>
              <a:gd name="csX151" fmla="*/ 2293545 w 3437996"/>
              <a:gd name="csY151" fmla="*/ 462697 h 2018071"/>
              <a:gd name="csX152" fmla="*/ 2290922 w 3437996"/>
              <a:gd name="csY152" fmla="*/ 459984 h 2018071"/>
              <a:gd name="csX153" fmla="*/ 2284051 w 3437996"/>
              <a:gd name="csY153" fmla="*/ 453172 h 2018071"/>
              <a:gd name="csX154" fmla="*/ 2281414 w 3437996"/>
              <a:gd name="csY154" fmla="*/ 450403 h 2018071"/>
              <a:gd name="csX155" fmla="*/ 2274560 w 3437996"/>
              <a:gd name="csY155" fmla="*/ 443646 h 2018071"/>
              <a:gd name="csX156" fmla="*/ 2271906 w 3437996"/>
              <a:gd name="csY156" fmla="*/ 440826 h 2018071"/>
              <a:gd name="csX157" fmla="*/ 2265120 w 3437996"/>
              <a:gd name="csY157" fmla="*/ 434112 h 2018071"/>
              <a:gd name="csX158" fmla="*/ 2262409 w 3437996"/>
              <a:gd name="csY158" fmla="*/ 431189 h 2018071"/>
              <a:gd name="csX159" fmla="*/ 2255765 w 3437996"/>
              <a:gd name="csY159" fmla="*/ 424557 h 2018071"/>
              <a:gd name="csX160" fmla="*/ 2252962 w 3437996"/>
              <a:gd name="csY160" fmla="*/ 421458 h 2018071"/>
              <a:gd name="csX161" fmla="*/ 2246361 w 3437996"/>
              <a:gd name="csY161" fmla="*/ 414989 h 2018071"/>
              <a:gd name="csX162" fmla="*/ 2226101 w 3437996"/>
              <a:gd name="csY162" fmla="*/ 394472 h 2018071"/>
              <a:gd name="csX163" fmla="*/ 2204126 w 3437996"/>
              <a:gd name="csY163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21387 w 3437996"/>
              <a:gd name="csY47" fmla="*/ 708333 h 2018071"/>
              <a:gd name="csX48" fmla="*/ 22313 w 3437996"/>
              <a:gd name="csY48" fmla="*/ 700409 h 2018071"/>
              <a:gd name="csX49" fmla="*/ 30962 w 3437996"/>
              <a:gd name="csY49" fmla="*/ 642260 h 2018071"/>
              <a:gd name="csX50" fmla="*/ 40506 w 3437996"/>
              <a:gd name="csY50" fmla="*/ 584580 h 2018071"/>
              <a:gd name="csX51" fmla="*/ 49883 w 3437996"/>
              <a:gd name="csY51" fmla="*/ 529082 h 2018071"/>
              <a:gd name="csX52" fmla="*/ 88193 w 3437996"/>
              <a:gd name="csY52" fmla="*/ 269877 h 2018071"/>
              <a:gd name="csX53" fmla="*/ 89741 w 3437996"/>
              <a:gd name="csY53" fmla="*/ 253550 h 2018071"/>
              <a:gd name="csX54" fmla="*/ 98008 w 3437996"/>
              <a:gd name="csY54" fmla="*/ 233543 h 2018071"/>
              <a:gd name="csX55" fmla="*/ 99628 w 3437996"/>
              <a:gd name="csY55" fmla="*/ 231506 h 2018071"/>
              <a:gd name="csX56" fmla="*/ 182353 w 3437996"/>
              <a:gd name="csY56" fmla="*/ 229554 h 2018071"/>
              <a:gd name="csX57" fmla="*/ 185812 w 3437996"/>
              <a:gd name="csY57" fmla="*/ 231380 h 2018071"/>
              <a:gd name="csX58" fmla="*/ 213726 w 3437996"/>
              <a:gd name="csY58" fmla="*/ 239233 h 2018071"/>
              <a:gd name="csX59" fmla="*/ 416961 w 3437996"/>
              <a:gd name="csY59" fmla="*/ 299911 h 2018071"/>
              <a:gd name="csX60" fmla="*/ 622809 w 3437996"/>
              <a:gd name="csY60" fmla="*/ 305227 h 2018071"/>
              <a:gd name="csX61" fmla="*/ 1851374 w 3437996"/>
              <a:gd name="csY61" fmla="*/ 7502 h 2018071"/>
              <a:gd name="csX62" fmla="*/ 2119617 w 3437996"/>
              <a:gd name="csY62" fmla="*/ 86919 h 2018071"/>
              <a:gd name="csX63" fmla="*/ 2805452 w 3437996"/>
              <a:gd name="csY63" fmla="*/ 622669 h 2018071"/>
              <a:gd name="csX64" fmla="*/ 3047873 w 3437996"/>
              <a:gd name="csY64" fmla="*/ 889895 h 2018071"/>
              <a:gd name="csX65" fmla="*/ 3201337 w 3437996"/>
              <a:gd name="csY65" fmla="*/ 1065192 h 2018071"/>
              <a:gd name="csX66" fmla="*/ 3322212 w 3437996"/>
              <a:gd name="csY66" fmla="*/ 1262254 h 2018071"/>
              <a:gd name="csX67" fmla="*/ 3434603 w 3437996"/>
              <a:gd name="csY67" fmla="*/ 1463610 h 2018071"/>
              <a:gd name="csX68" fmla="*/ 3437317 w 3437996"/>
              <a:gd name="csY68" fmla="*/ 1496424 h 2018071"/>
              <a:gd name="csX69" fmla="*/ 3437173 w 3437996"/>
              <a:gd name="csY69" fmla="*/ 1502015 h 2018071"/>
              <a:gd name="csX70" fmla="*/ 3265778 w 3437996"/>
              <a:gd name="csY70" fmla="*/ 1437268 h 2018071"/>
              <a:gd name="csX71" fmla="*/ 3131933 w 3437996"/>
              <a:gd name="csY71" fmla="*/ 1283723 h 2018071"/>
              <a:gd name="csX72" fmla="*/ 2856351 w 3437996"/>
              <a:gd name="csY72" fmla="*/ 1004478 h 2018071"/>
              <a:gd name="csX73" fmla="*/ 2818150 w 3437996"/>
              <a:gd name="csY73" fmla="*/ 969213 h 2018071"/>
              <a:gd name="csX74" fmla="*/ 2654127 w 3437996"/>
              <a:gd name="csY74" fmla="*/ 825572 h 2018071"/>
              <a:gd name="csX75" fmla="*/ 2651783 w 3437996"/>
              <a:gd name="csY75" fmla="*/ 823279 h 2018071"/>
              <a:gd name="csX76" fmla="*/ 2644017 w 3437996"/>
              <a:gd name="csY76" fmla="*/ 814773 h 2018071"/>
              <a:gd name="csX77" fmla="*/ 2642551 w 3437996"/>
              <a:gd name="csY77" fmla="*/ 813746 h 2018071"/>
              <a:gd name="csX78" fmla="*/ 2634494 w 3437996"/>
              <a:gd name="csY78" fmla="*/ 805208 h 2018071"/>
              <a:gd name="csX79" fmla="*/ 2633053 w 3437996"/>
              <a:gd name="csY79" fmla="*/ 804210 h 2018071"/>
              <a:gd name="csX80" fmla="*/ 2624994 w 3437996"/>
              <a:gd name="csY80" fmla="*/ 795655 h 2018071"/>
              <a:gd name="csX81" fmla="*/ 2623570 w 3437996"/>
              <a:gd name="csY81" fmla="*/ 794675 h 2018071"/>
              <a:gd name="csX82" fmla="*/ 2615495 w 3437996"/>
              <a:gd name="csY82" fmla="*/ 786111 h 2018071"/>
              <a:gd name="csX83" fmla="*/ 2614082 w 3437996"/>
              <a:gd name="csY83" fmla="*/ 785113 h 2018071"/>
              <a:gd name="csX84" fmla="*/ 2606007 w 3437996"/>
              <a:gd name="csY84" fmla="*/ 776562 h 2018071"/>
              <a:gd name="csX85" fmla="*/ 2604609 w 3437996"/>
              <a:gd name="csY85" fmla="*/ 775538 h 2018071"/>
              <a:gd name="csX86" fmla="*/ 2596489 w 3437996"/>
              <a:gd name="csY86" fmla="*/ 767032 h 2018071"/>
              <a:gd name="csX87" fmla="*/ 2595095 w 3437996"/>
              <a:gd name="csY87" fmla="*/ 766006 h 2018071"/>
              <a:gd name="csX88" fmla="*/ 2586954 w 3437996"/>
              <a:gd name="csY88" fmla="*/ 757512 h 2018071"/>
              <a:gd name="csX89" fmla="*/ 2585558 w 3437996"/>
              <a:gd name="csY89" fmla="*/ 756496 h 2018071"/>
              <a:gd name="csX90" fmla="*/ 2577410 w 3437996"/>
              <a:gd name="csY90" fmla="*/ 748000 h 2018071"/>
              <a:gd name="csX91" fmla="*/ 2576006 w 3437996"/>
              <a:gd name="csY91" fmla="*/ 747002 h 2018071"/>
              <a:gd name="csX92" fmla="*/ 2567871 w 3437996"/>
              <a:gd name="csY92" fmla="*/ 738486 h 2018071"/>
              <a:gd name="csX93" fmla="*/ 2566459 w 3437996"/>
              <a:gd name="csY93" fmla="*/ 737499 h 2018071"/>
              <a:gd name="csX94" fmla="*/ 2558352 w 3437996"/>
              <a:gd name="csY94" fmla="*/ 728962 h 2018071"/>
              <a:gd name="csX95" fmla="*/ 2556937 w 3437996"/>
              <a:gd name="csY95" fmla="*/ 727967 h 2018071"/>
              <a:gd name="csX96" fmla="*/ 2548845 w 3437996"/>
              <a:gd name="csY96" fmla="*/ 719430 h 2018071"/>
              <a:gd name="csX97" fmla="*/ 2547432 w 3437996"/>
              <a:gd name="csY97" fmla="*/ 718414 h 2018071"/>
              <a:gd name="csX98" fmla="*/ 2539350 w 3437996"/>
              <a:gd name="csY98" fmla="*/ 709894 h 2018071"/>
              <a:gd name="csX99" fmla="*/ 2537942 w 3437996"/>
              <a:gd name="csY99" fmla="*/ 708842 h 2018071"/>
              <a:gd name="csX100" fmla="*/ 2529865 w 3437996"/>
              <a:gd name="csY100" fmla="*/ 700356 h 2018071"/>
              <a:gd name="csX101" fmla="*/ 2528460 w 3437996"/>
              <a:gd name="csY101" fmla="*/ 699259 h 2018071"/>
              <a:gd name="csX102" fmla="*/ 2520386 w 3437996"/>
              <a:gd name="csY102" fmla="*/ 690820 h 2018071"/>
              <a:gd name="csX103" fmla="*/ 2518981 w 3437996"/>
              <a:gd name="csY103" fmla="*/ 689668 h 2018071"/>
              <a:gd name="csX104" fmla="*/ 2510900 w 3437996"/>
              <a:gd name="csY104" fmla="*/ 681286 h 2018071"/>
              <a:gd name="csX105" fmla="*/ 2509493 w 3437996"/>
              <a:gd name="csY105" fmla="*/ 680082 h 2018071"/>
              <a:gd name="csX106" fmla="*/ 2501400 w 3437996"/>
              <a:gd name="csY106" fmla="*/ 671754 h 2018071"/>
              <a:gd name="csX107" fmla="*/ 2499991 w 3437996"/>
              <a:gd name="csY107" fmla="*/ 670520 h 2018071"/>
              <a:gd name="csX108" fmla="*/ 2491892 w 3437996"/>
              <a:gd name="csY108" fmla="*/ 662222 h 2018071"/>
              <a:gd name="csX109" fmla="*/ 2490482 w 3437996"/>
              <a:gd name="csY109" fmla="*/ 660967 h 2018071"/>
              <a:gd name="csX110" fmla="*/ 2482391 w 3437996"/>
              <a:gd name="csY110" fmla="*/ 652682 h 2018071"/>
              <a:gd name="csX111" fmla="*/ 2480984 w 3437996"/>
              <a:gd name="csY111" fmla="*/ 651408 h 2018071"/>
              <a:gd name="csX112" fmla="*/ 2472919 w 3437996"/>
              <a:gd name="csY112" fmla="*/ 643127 h 2018071"/>
              <a:gd name="csX113" fmla="*/ 2471515 w 3437996"/>
              <a:gd name="csY113" fmla="*/ 641819 h 2018071"/>
              <a:gd name="csX114" fmla="*/ 2463424 w 3437996"/>
              <a:gd name="csY114" fmla="*/ 633584 h 2018071"/>
              <a:gd name="csX115" fmla="*/ 2462020 w 3437996"/>
              <a:gd name="csY115" fmla="*/ 632257 h 2018071"/>
              <a:gd name="csX116" fmla="*/ 2453925 w 3437996"/>
              <a:gd name="csY116" fmla="*/ 624049 h 2018071"/>
              <a:gd name="csX117" fmla="*/ 2452516 w 3437996"/>
              <a:gd name="csY117" fmla="*/ 622702 h 2018071"/>
              <a:gd name="csX118" fmla="*/ 2444450 w 3437996"/>
              <a:gd name="csY118" fmla="*/ 614506 h 2018071"/>
              <a:gd name="csX119" fmla="*/ 2443026 w 3437996"/>
              <a:gd name="csY119" fmla="*/ 613123 h 2018071"/>
              <a:gd name="csX120" fmla="*/ 2434957 w 3437996"/>
              <a:gd name="csY120" fmla="*/ 604969 h 2018071"/>
              <a:gd name="csX121" fmla="*/ 2433519 w 3437996"/>
              <a:gd name="csY121" fmla="*/ 603563 h 2018071"/>
              <a:gd name="csX122" fmla="*/ 2425486 w 3437996"/>
              <a:gd name="csY122" fmla="*/ 595418 h 2018071"/>
              <a:gd name="csX123" fmla="*/ 2424029 w 3437996"/>
              <a:gd name="csY123" fmla="*/ 593985 h 2018071"/>
              <a:gd name="csX124" fmla="*/ 2416081 w 3437996"/>
              <a:gd name="csY124" fmla="*/ 585841 h 2018071"/>
              <a:gd name="csX125" fmla="*/ 2414563 w 3437996"/>
              <a:gd name="csY125" fmla="*/ 584358 h 2018071"/>
              <a:gd name="csX126" fmla="*/ 2406640 w 3437996"/>
              <a:gd name="csY126" fmla="*/ 576281 h 2018071"/>
              <a:gd name="csX127" fmla="*/ 2405068 w 3437996"/>
              <a:gd name="csY127" fmla="*/ 574761 h 2018071"/>
              <a:gd name="csX128" fmla="*/ 2397176 w 3437996"/>
              <a:gd name="csY128" fmla="*/ 566733 h 2018071"/>
              <a:gd name="csX129" fmla="*/ 2395561 w 3437996"/>
              <a:gd name="csY129" fmla="*/ 565186 h 2018071"/>
              <a:gd name="csX130" fmla="*/ 2387690 w 3437996"/>
              <a:gd name="csY130" fmla="*/ 557193 h 2018071"/>
              <a:gd name="csX131" fmla="*/ 2386050 w 3437996"/>
              <a:gd name="csY131" fmla="*/ 555624 h 2018071"/>
              <a:gd name="csX132" fmla="*/ 2378191 w 3437996"/>
              <a:gd name="csY132" fmla="*/ 547659 h 2018071"/>
              <a:gd name="csX133" fmla="*/ 2376534 w 3437996"/>
              <a:gd name="csY133" fmla="*/ 546075 h 2018071"/>
              <a:gd name="csX134" fmla="*/ 2368704 w 3437996"/>
              <a:gd name="csY134" fmla="*/ 538124 h 2018071"/>
              <a:gd name="csX135" fmla="*/ 2367021 w 3437996"/>
              <a:gd name="csY135" fmla="*/ 536517 h 2018071"/>
              <a:gd name="csX136" fmla="*/ 2360018 w 3437996"/>
              <a:gd name="csY136" fmla="*/ 529380 h 2018071"/>
              <a:gd name="csX137" fmla="*/ 2357514 w 3437996"/>
              <a:gd name="csY137" fmla="*/ 526933 h 2018071"/>
              <a:gd name="csX138" fmla="*/ 2350552 w 3437996"/>
              <a:gd name="csY138" fmla="*/ 519835 h 2018071"/>
              <a:gd name="csX139" fmla="*/ 2348016 w 3437996"/>
              <a:gd name="csY139" fmla="*/ 517342 h 2018071"/>
              <a:gd name="csX140" fmla="*/ 2341054 w 3437996"/>
              <a:gd name="csY140" fmla="*/ 510297 h 2018071"/>
              <a:gd name="csX141" fmla="*/ 2338508 w 3437996"/>
              <a:gd name="csY141" fmla="*/ 507777 h 2018071"/>
              <a:gd name="csX142" fmla="*/ 2331539 w 3437996"/>
              <a:gd name="csY142" fmla="*/ 500765 h 2018071"/>
              <a:gd name="csX143" fmla="*/ 2328991 w 3437996"/>
              <a:gd name="csY143" fmla="*/ 498236 h 2018071"/>
              <a:gd name="csX144" fmla="*/ 2322020 w 3437996"/>
              <a:gd name="csY144" fmla="*/ 491243 h 2018071"/>
              <a:gd name="csX145" fmla="*/ 2319465 w 3437996"/>
              <a:gd name="csY145" fmla="*/ 488702 h 2018071"/>
              <a:gd name="csX146" fmla="*/ 2312510 w 3437996"/>
              <a:gd name="csY146" fmla="*/ 481725 h 2018071"/>
              <a:gd name="csX147" fmla="*/ 2309941 w 3437996"/>
              <a:gd name="csY147" fmla="*/ 479158 h 2018071"/>
              <a:gd name="csX148" fmla="*/ 2303024 w 3437996"/>
              <a:gd name="csY148" fmla="*/ 472210 h 2018071"/>
              <a:gd name="csX149" fmla="*/ 2300428 w 3437996"/>
              <a:gd name="csY149" fmla="*/ 469578 h 2018071"/>
              <a:gd name="csX150" fmla="*/ 2293545 w 3437996"/>
              <a:gd name="csY150" fmla="*/ 462697 h 2018071"/>
              <a:gd name="csX151" fmla="*/ 2290922 w 3437996"/>
              <a:gd name="csY151" fmla="*/ 459984 h 2018071"/>
              <a:gd name="csX152" fmla="*/ 2284051 w 3437996"/>
              <a:gd name="csY152" fmla="*/ 453172 h 2018071"/>
              <a:gd name="csX153" fmla="*/ 2281414 w 3437996"/>
              <a:gd name="csY153" fmla="*/ 450403 h 2018071"/>
              <a:gd name="csX154" fmla="*/ 2274560 w 3437996"/>
              <a:gd name="csY154" fmla="*/ 443646 h 2018071"/>
              <a:gd name="csX155" fmla="*/ 2271906 w 3437996"/>
              <a:gd name="csY155" fmla="*/ 440826 h 2018071"/>
              <a:gd name="csX156" fmla="*/ 2265120 w 3437996"/>
              <a:gd name="csY156" fmla="*/ 434112 h 2018071"/>
              <a:gd name="csX157" fmla="*/ 2262409 w 3437996"/>
              <a:gd name="csY157" fmla="*/ 431189 h 2018071"/>
              <a:gd name="csX158" fmla="*/ 2255765 w 3437996"/>
              <a:gd name="csY158" fmla="*/ 424557 h 2018071"/>
              <a:gd name="csX159" fmla="*/ 2252962 w 3437996"/>
              <a:gd name="csY159" fmla="*/ 421458 h 2018071"/>
              <a:gd name="csX160" fmla="*/ 2246361 w 3437996"/>
              <a:gd name="csY160" fmla="*/ 414989 h 2018071"/>
              <a:gd name="csX161" fmla="*/ 2226101 w 3437996"/>
              <a:gd name="csY161" fmla="*/ 394472 h 2018071"/>
              <a:gd name="csX162" fmla="*/ 2204126 w 3437996"/>
              <a:gd name="csY162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21387 w 3437996"/>
              <a:gd name="csY47" fmla="*/ 708333 h 2018071"/>
              <a:gd name="csX48" fmla="*/ 30962 w 3437996"/>
              <a:gd name="csY48" fmla="*/ 642260 h 2018071"/>
              <a:gd name="csX49" fmla="*/ 40506 w 3437996"/>
              <a:gd name="csY49" fmla="*/ 584580 h 2018071"/>
              <a:gd name="csX50" fmla="*/ 49883 w 3437996"/>
              <a:gd name="csY50" fmla="*/ 529082 h 2018071"/>
              <a:gd name="csX51" fmla="*/ 88193 w 3437996"/>
              <a:gd name="csY51" fmla="*/ 269877 h 2018071"/>
              <a:gd name="csX52" fmla="*/ 89741 w 3437996"/>
              <a:gd name="csY52" fmla="*/ 253550 h 2018071"/>
              <a:gd name="csX53" fmla="*/ 98008 w 3437996"/>
              <a:gd name="csY53" fmla="*/ 233543 h 2018071"/>
              <a:gd name="csX54" fmla="*/ 99628 w 3437996"/>
              <a:gd name="csY54" fmla="*/ 231506 h 2018071"/>
              <a:gd name="csX55" fmla="*/ 182353 w 3437996"/>
              <a:gd name="csY55" fmla="*/ 229554 h 2018071"/>
              <a:gd name="csX56" fmla="*/ 185812 w 3437996"/>
              <a:gd name="csY56" fmla="*/ 231380 h 2018071"/>
              <a:gd name="csX57" fmla="*/ 213726 w 3437996"/>
              <a:gd name="csY57" fmla="*/ 239233 h 2018071"/>
              <a:gd name="csX58" fmla="*/ 416961 w 3437996"/>
              <a:gd name="csY58" fmla="*/ 299911 h 2018071"/>
              <a:gd name="csX59" fmla="*/ 622809 w 3437996"/>
              <a:gd name="csY59" fmla="*/ 305227 h 2018071"/>
              <a:gd name="csX60" fmla="*/ 1851374 w 3437996"/>
              <a:gd name="csY60" fmla="*/ 7502 h 2018071"/>
              <a:gd name="csX61" fmla="*/ 2119617 w 3437996"/>
              <a:gd name="csY61" fmla="*/ 86919 h 2018071"/>
              <a:gd name="csX62" fmla="*/ 2805452 w 3437996"/>
              <a:gd name="csY62" fmla="*/ 622669 h 2018071"/>
              <a:gd name="csX63" fmla="*/ 3047873 w 3437996"/>
              <a:gd name="csY63" fmla="*/ 889895 h 2018071"/>
              <a:gd name="csX64" fmla="*/ 3201337 w 3437996"/>
              <a:gd name="csY64" fmla="*/ 1065192 h 2018071"/>
              <a:gd name="csX65" fmla="*/ 3322212 w 3437996"/>
              <a:gd name="csY65" fmla="*/ 1262254 h 2018071"/>
              <a:gd name="csX66" fmla="*/ 3434603 w 3437996"/>
              <a:gd name="csY66" fmla="*/ 1463610 h 2018071"/>
              <a:gd name="csX67" fmla="*/ 3437317 w 3437996"/>
              <a:gd name="csY67" fmla="*/ 1496424 h 2018071"/>
              <a:gd name="csX68" fmla="*/ 3437173 w 3437996"/>
              <a:gd name="csY68" fmla="*/ 1502015 h 2018071"/>
              <a:gd name="csX69" fmla="*/ 3265778 w 3437996"/>
              <a:gd name="csY69" fmla="*/ 1437268 h 2018071"/>
              <a:gd name="csX70" fmla="*/ 3131933 w 3437996"/>
              <a:gd name="csY70" fmla="*/ 1283723 h 2018071"/>
              <a:gd name="csX71" fmla="*/ 2856351 w 3437996"/>
              <a:gd name="csY71" fmla="*/ 1004478 h 2018071"/>
              <a:gd name="csX72" fmla="*/ 2818150 w 3437996"/>
              <a:gd name="csY72" fmla="*/ 969213 h 2018071"/>
              <a:gd name="csX73" fmla="*/ 2654127 w 3437996"/>
              <a:gd name="csY73" fmla="*/ 825572 h 2018071"/>
              <a:gd name="csX74" fmla="*/ 2651783 w 3437996"/>
              <a:gd name="csY74" fmla="*/ 823279 h 2018071"/>
              <a:gd name="csX75" fmla="*/ 2644017 w 3437996"/>
              <a:gd name="csY75" fmla="*/ 814773 h 2018071"/>
              <a:gd name="csX76" fmla="*/ 2642551 w 3437996"/>
              <a:gd name="csY76" fmla="*/ 813746 h 2018071"/>
              <a:gd name="csX77" fmla="*/ 2634494 w 3437996"/>
              <a:gd name="csY77" fmla="*/ 805208 h 2018071"/>
              <a:gd name="csX78" fmla="*/ 2633053 w 3437996"/>
              <a:gd name="csY78" fmla="*/ 804210 h 2018071"/>
              <a:gd name="csX79" fmla="*/ 2624994 w 3437996"/>
              <a:gd name="csY79" fmla="*/ 795655 h 2018071"/>
              <a:gd name="csX80" fmla="*/ 2623570 w 3437996"/>
              <a:gd name="csY80" fmla="*/ 794675 h 2018071"/>
              <a:gd name="csX81" fmla="*/ 2615495 w 3437996"/>
              <a:gd name="csY81" fmla="*/ 786111 h 2018071"/>
              <a:gd name="csX82" fmla="*/ 2614082 w 3437996"/>
              <a:gd name="csY82" fmla="*/ 785113 h 2018071"/>
              <a:gd name="csX83" fmla="*/ 2606007 w 3437996"/>
              <a:gd name="csY83" fmla="*/ 776562 h 2018071"/>
              <a:gd name="csX84" fmla="*/ 2604609 w 3437996"/>
              <a:gd name="csY84" fmla="*/ 775538 h 2018071"/>
              <a:gd name="csX85" fmla="*/ 2596489 w 3437996"/>
              <a:gd name="csY85" fmla="*/ 767032 h 2018071"/>
              <a:gd name="csX86" fmla="*/ 2595095 w 3437996"/>
              <a:gd name="csY86" fmla="*/ 766006 h 2018071"/>
              <a:gd name="csX87" fmla="*/ 2586954 w 3437996"/>
              <a:gd name="csY87" fmla="*/ 757512 h 2018071"/>
              <a:gd name="csX88" fmla="*/ 2585558 w 3437996"/>
              <a:gd name="csY88" fmla="*/ 756496 h 2018071"/>
              <a:gd name="csX89" fmla="*/ 2577410 w 3437996"/>
              <a:gd name="csY89" fmla="*/ 748000 h 2018071"/>
              <a:gd name="csX90" fmla="*/ 2576006 w 3437996"/>
              <a:gd name="csY90" fmla="*/ 747002 h 2018071"/>
              <a:gd name="csX91" fmla="*/ 2567871 w 3437996"/>
              <a:gd name="csY91" fmla="*/ 738486 h 2018071"/>
              <a:gd name="csX92" fmla="*/ 2566459 w 3437996"/>
              <a:gd name="csY92" fmla="*/ 737499 h 2018071"/>
              <a:gd name="csX93" fmla="*/ 2558352 w 3437996"/>
              <a:gd name="csY93" fmla="*/ 728962 h 2018071"/>
              <a:gd name="csX94" fmla="*/ 2556937 w 3437996"/>
              <a:gd name="csY94" fmla="*/ 727967 h 2018071"/>
              <a:gd name="csX95" fmla="*/ 2548845 w 3437996"/>
              <a:gd name="csY95" fmla="*/ 719430 h 2018071"/>
              <a:gd name="csX96" fmla="*/ 2547432 w 3437996"/>
              <a:gd name="csY96" fmla="*/ 718414 h 2018071"/>
              <a:gd name="csX97" fmla="*/ 2539350 w 3437996"/>
              <a:gd name="csY97" fmla="*/ 709894 h 2018071"/>
              <a:gd name="csX98" fmla="*/ 2537942 w 3437996"/>
              <a:gd name="csY98" fmla="*/ 708842 h 2018071"/>
              <a:gd name="csX99" fmla="*/ 2529865 w 3437996"/>
              <a:gd name="csY99" fmla="*/ 700356 h 2018071"/>
              <a:gd name="csX100" fmla="*/ 2528460 w 3437996"/>
              <a:gd name="csY100" fmla="*/ 699259 h 2018071"/>
              <a:gd name="csX101" fmla="*/ 2520386 w 3437996"/>
              <a:gd name="csY101" fmla="*/ 690820 h 2018071"/>
              <a:gd name="csX102" fmla="*/ 2518981 w 3437996"/>
              <a:gd name="csY102" fmla="*/ 689668 h 2018071"/>
              <a:gd name="csX103" fmla="*/ 2510900 w 3437996"/>
              <a:gd name="csY103" fmla="*/ 681286 h 2018071"/>
              <a:gd name="csX104" fmla="*/ 2509493 w 3437996"/>
              <a:gd name="csY104" fmla="*/ 680082 h 2018071"/>
              <a:gd name="csX105" fmla="*/ 2501400 w 3437996"/>
              <a:gd name="csY105" fmla="*/ 671754 h 2018071"/>
              <a:gd name="csX106" fmla="*/ 2499991 w 3437996"/>
              <a:gd name="csY106" fmla="*/ 670520 h 2018071"/>
              <a:gd name="csX107" fmla="*/ 2491892 w 3437996"/>
              <a:gd name="csY107" fmla="*/ 662222 h 2018071"/>
              <a:gd name="csX108" fmla="*/ 2490482 w 3437996"/>
              <a:gd name="csY108" fmla="*/ 660967 h 2018071"/>
              <a:gd name="csX109" fmla="*/ 2482391 w 3437996"/>
              <a:gd name="csY109" fmla="*/ 652682 h 2018071"/>
              <a:gd name="csX110" fmla="*/ 2480984 w 3437996"/>
              <a:gd name="csY110" fmla="*/ 651408 h 2018071"/>
              <a:gd name="csX111" fmla="*/ 2472919 w 3437996"/>
              <a:gd name="csY111" fmla="*/ 643127 h 2018071"/>
              <a:gd name="csX112" fmla="*/ 2471515 w 3437996"/>
              <a:gd name="csY112" fmla="*/ 641819 h 2018071"/>
              <a:gd name="csX113" fmla="*/ 2463424 w 3437996"/>
              <a:gd name="csY113" fmla="*/ 633584 h 2018071"/>
              <a:gd name="csX114" fmla="*/ 2462020 w 3437996"/>
              <a:gd name="csY114" fmla="*/ 632257 h 2018071"/>
              <a:gd name="csX115" fmla="*/ 2453925 w 3437996"/>
              <a:gd name="csY115" fmla="*/ 624049 h 2018071"/>
              <a:gd name="csX116" fmla="*/ 2452516 w 3437996"/>
              <a:gd name="csY116" fmla="*/ 622702 h 2018071"/>
              <a:gd name="csX117" fmla="*/ 2444450 w 3437996"/>
              <a:gd name="csY117" fmla="*/ 614506 h 2018071"/>
              <a:gd name="csX118" fmla="*/ 2443026 w 3437996"/>
              <a:gd name="csY118" fmla="*/ 613123 h 2018071"/>
              <a:gd name="csX119" fmla="*/ 2434957 w 3437996"/>
              <a:gd name="csY119" fmla="*/ 604969 h 2018071"/>
              <a:gd name="csX120" fmla="*/ 2433519 w 3437996"/>
              <a:gd name="csY120" fmla="*/ 603563 h 2018071"/>
              <a:gd name="csX121" fmla="*/ 2425486 w 3437996"/>
              <a:gd name="csY121" fmla="*/ 595418 h 2018071"/>
              <a:gd name="csX122" fmla="*/ 2424029 w 3437996"/>
              <a:gd name="csY122" fmla="*/ 593985 h 2018071"/>
              <a:gd name="csX123" fmla="*/ 2416081 w 3437996"/>
              <a:gd name="csY123" fmla="*/ 585841 h 2018071"/>
              <a:gd name="csX124" fmla="*/ 2414563 w 3437996"/>
              <a:gd name="csY124" fmla="*/ 584358 h 2018071"/>
              <a:gd name="csX125" fmla="*/ 2406640 w 3437996"/>
              <a:gd name="csY125" fmla="*/ 576281 h 2018071"/>
              <a:gd name="csX126" fmla="*/ 2405068 w 3437996"/>
              <a:gd name="csY126" fmla="*/ 574761 h 2018071"/>
              <a:gd name="csX127" fmla="*/ 2397176 w 3437996"/>
              <a:gd name="csY127" fmla="*/ 566733 h 2018071"/>
              <a:gd name="csX128" fmla="*/ 2395561 w 3437996"/>
              <a:gd name="csY128" fmla="*/ 565186 h 2018071"/>
              <a:gd name="csX129" fmla="*/ 2387690 w 3437996"/>
              <a:gd name="csY129" fmla="*/ 557193 h 2018071"/>
              <a:gd name="csX130" fmla="*/ 2386050 w 3437996"/>
              <a:gd name="csY130" fmla="*/ 555624 h 2018071"/>
              <a:gd name="csX131" fmla="*/ 2378191 w 3437996"/>
              <a:gd name="csY131" fmla="*/ 547659 h 2018071"/>
              <a:gd name="csX132" fmla="*/ 2376534 w 3437996"/>
              <a:gd name="csY132" fmla="*/ 546075 h 2018071"/>
              <a:gd name="csX133" fmla="*/ 2368704 w 3437996"/>
              <a:gd name="csY133" fmla="*/ 538124 h 2018071"/>
              <a:gd name="csX134" fmla="*/ 2367021 w 3437996"/>
              <a:gd name="csY134" fmla="*/ 536517 h 2018071"/>
              <a:gd name="csX135" fmla="*/ 2360018 w 3437996"/>
              <a:gd name="csY135" fmla="*/ 529380 h 2018071"/>
              <a:gd name="csX136" fmla="*/ 2357514 w 3437996"/>
              <a:gd name="csY136" fmla="*/ 526933 h 2018071"/>
              <a:gd name="csX137" fmla="*/ 2350552 w 3437996"/>
              <a:gd name="csY137" fmla="*/ 519835 h 2018071"/>
              <a:gd name="csX138" fmla="*/ 2348016 w 3437996"/>
              <a:gd name="csY138" fmla="*/ 517342 h 2018071"/>
              <a:gd name="csX139" fmla="*/ 2341054 w 3437996"/>
              <a:gd name="csY139" fmla="*/ 510297 h 2018071"/>
              <a:gd name="csX140" fmla="*/ 2338508 w 3437996"/>
              <a:gd name="csY140" fmla="*/ 507777 h 2018071"/>
              <a:gd name="csX141" fmla="*/ 2331539 w 3437996"/>
              <a:gd name="csY141" fmla="*/ 500765 h 2018071"/>
              <a:gd name="csX142" fmla="*/ 2328991 w 3437996"/>
              <a:gd name="csY142" fmla="*/ 498236 h 2018071"/>
              <a:gd name="csX143" fmla="*/ 2322020 w 3437996"/>
              <a:gd name="csY143" fmla="*/ 491243 h 2018071"/>
              <a:gd name="csX144" fmla="*/ 2319465 w 3437996"/>
              <a:gd name="csY144" fmla="*/ 488702 h 2018071"/>
              <a:gd name="csX145" fmla="*/ 2312510 w 3437996"/>
              <a:gd name="csY145" fmla="*/ 481725 h 2018071"/>
              <a:gd name="csX146" fmla="*/ 2309941 w 3437996"/>
              <a:gd name="csY146" fmla="*/ 479158 h 2018071"/>
              <a:gd name="csX147" fmla="*/ 2303024 w 3437996"/>
              <a:gd name="csY147" fmla="*/ 472210 h 2018071"/>
              <a:gd name="csX148" fmla="*/ 2300428 w 3437996"/>
              <a:gd name="csY148" fmla="*/ 469578 h 2018071"/>
              <a:gd name="csX149" fmla="*/ 2293545 w 3437996"/>
              <a:gd name="csY149" fmla="*/ 462697 h 2018071"/>
              <a:gd name="csX150" fmla="*/ 2290922 w 3437996"/>
              <a:gd name="csY150" fmla="*/ 459984 h 2018071"/>
              <a:gd name="csX151" fmla="*/ 2284051 w 3437996"/>
              <a:gd name="csY151" fmla="*/ 453172 h 2018071"/>
              <a:gd name="csX152" fmla="*/ 2281414 w 3437996"/>
              <a:gd name="csY152" fmla="*/ 450403 h 2018071"/>
              <a:gd name="csX153" fmla="*/ 2274560 w 3437996"/>
              <a:gd name="csY153" fmla="*/ 443646 h 2018071"/>
              <a:gd name="csX154" fmla="*/ 2271906 w 3437996"/>
              <a:gd name="csY154" fmla="*/ 440826 h 2018071"/>
              <a:gd name="csX155" fmla="*/ 2265120 w 3437996"/>
              <a:gd name="csY155" fmla="*/ 434112 h 2018071"/>
              <a:gd name="csX156" fmla="*/ 2262409 w 3437996"/>
              <a:gd name="csY156" fmla="*/ 431189 h 2018071"/>
              <a:gd name="csX157" fmla="*/ 2255765 w 3437996"/>
              <a:gd name="csY157" fmla="*/ 424557 h 2018071"/>
              <a:gd name="csX158" fmla="*/ 2252962 w 3437996"/>
              <a:gd name="csY158" fmla="*/ 421458 h 2018071"/>
              <a:gd name="csX159" fmla="*/ 2246361 w 3437996"/>
              <a:gd name="csY159" fmla="*/ 414989 h 2018071"/>
              <a:gd name="csX160" fmla="*/ 2226101 w 3437996"/>
              <a:gd name="csY160" fmla="*/ 394472 h 2018071"/>
              <a:gd name="csX161" fmla="*/ 2204126 w 3437996"/>
              <a:gd name="csY161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30962 w 3437996"/>
              <a:gd name="csY47" fmla="*/ 642260 h 2018071"/>
              <a:gd name="csX48" fmla="*/ 40506 w 3437996"/>
              <a:gd name="csY48" fmla="*/ 584580 h 2018071"/>
              <a:gd name="csX49" fmla="*/ 49883 w 3437996"/>
              <a:gd name="csY49" fmla="*/ 529082 h 2018071"/>
              <a:gd name="csX50" fmla="*/ 88193 w 3437996"/>
              <a:gd name="csY50" fmla="*/ 269877 h 2018071"/>
              <a:gd name="csX51" fmla="*/ 89741 w 3437996"/>
              <a:gd name="csY51" fmla="*/ 253550 h 2018071"/>
              <a:gd name="csX52" fmla="*/ 98008 w 3437996"/>
              <a:gd name="csY52" fmla="*/ 233543 h 2018071"/>
              <a:gd name="csX53" fmla="*/ 99628 w 3437996"/>
              <a:gd name="csY53" fmla="*/ 231506 h 2018071"/>
              <a:gd name="csX54" fmla="*/ 182353 w 3437996"/>
              <a:gd name="csY54" fmla="*/ 229554 h 2018071"/>
              <a:gd name="csX55" fmla="*/ 185812 w 3437996"/>
              <a:gd name="csY55" fmla="*/ 231380 h 2018071"/>
              <a:gd name="csX56" fmla="*/ 213726 w 3437996"/>
              <a:gd name="csY56" fmla="*/ 239233 h 2018071"/>
              <a:gd name="csX57" fmla="*/ 416961 w 3437996"/>
              <a:gd name="csY57" fmla="*/ 299911 h 2018071"/>
              <a:gd name="csX58" fmla="*/ 622809 w 3437996"/>
              <a:gd name="csY58" fmla="*/ 305227 h 2018071"/>
              <a:gd name="csX59" fmla="*/ 1851374 w 3437996"/>
              <a:gd name="csY59" fmla="*/ 7502 h 2018071"/>
              <a:gd name="csX60" fmla="*/ 2119617 w 3437996"/>
              <a:gd name="csY60" fmla="*/ 86919 h 2018071"/>
              <a:gd name="csX61" fmla="*/ 2805452 w 3437996"/>
              <a:gd name="csY61" fmla="*/ 622669 h 2018071"/>
              <a:gd name="csX62" fmla="*/ 3047873 w 3437996"/>
              <a:gd name="csY62" fmla="*/ 889895 h 2018071"/>
              <a:gd name="csX63" fmla="*/ 3201337 w 3437996"/>
              <a:gd name="csY63" fmla="*/ 1065192 h 2018071"/>
              <a:gd name="csX64" fmla="*/ 3322212 w 3437996"/>
              <a:gd name="csY64" fmla="*/ 1262254 h 2018071"/>
              <a:gd name="csX65" fmla="*/ 3434603 w 3437996"/>
              <a:gd name="csY65" fmla="*/ 1463610 h 2018071"/>
              <a:gd name="csX66" fmla="*/ 3437317 w 3437996"/>
              <a:gd name="csY66" fmla="*/ 1496424 h 2018071"/>
              <a:gd name="csX67" fmla="*/ 3437173 w 3437996"/>
              <a:gd name="csY67" fmla="*/ 1502015 h 2018071"/>
              <a:gd name="csX68" fmla="*/ 3265778 w 3437996"/>
              <a:gd name="csY68" fmla="*/ 1437268 h 2018071"/>
              <a:gd name="csX69" fmla="*/ 3131933 w 3437996"/>
              <a:gd name="csY69" fmla="*/ 1283723 h 2018071"/>
              <a:gd name="csX70" fmla="*/ 2856351 w 3437996"/>
              <a:gd name="csY70" fmla="*/ 1004478 h 2018071"/>
              <a:gd name="csX71" fmla="*/ 2818150 w 3437996"/>
              <a:gd name="csY71" fmla="*/ 969213 h 2018071"/>
              <a:gd name="csX72" fmla="*/ 2654127 w 3437996"/>
              <a:gd name="csY72" fmla="*/ 825572 h 2018071"/>
              <a:gd name="csX73" fmla="*/ 2651783 w 3437996"/>
              <a:gd name="csY73" fmla="*/ 823279 h 2018071"/>
              <a:gd name="csX74" fmla="*/ 2644017 w 3437996"/>
              <a:gd name="csY74" fmla="*/ 814773 h 2018071"/>
              <a:gd name="csX75" fmla="*/ 2642551 w 3437996"/>
              <a:gd name="csY75" fmla="*/ 813746 h 2018071"/>
              <a:gd name="csX76" fmla="*/ 2634494 w 3437996"/>
              <a:gd name="csY76" fmla="*/ 805208 h 2018071"/>
              <a:gd name="csX77" fmla="*/ 2633053 w 3437996"/>
              <a:gd name="csY77" fmla="*/ 804210 h 2018071"/>
              <a:gd name="csX78" fmla="*/ 2624994 w 3437996"/>
              <a:gd name="csY78" fmla="*/ 795655 h 2018071"/>
              <a:gd name="csX79" fmla="*/ 2623570 w 3437996"/>
              <a:gd name="csY79" fmla="*/ 794675 h 2018071"/>
              <a:gd name="csX80" fmla="*/ 2615495 w 3437996"/>
              <a:gd name="csY80" fmla="*/ 786111 h 2018071"/>
              <a:gd name="csX81" fmla="*/ 2614082 w 3437996"/>
              <a:gd name="csY81" fmla="*/ 785113 h 2018071"/>
              <a:gd name="csX82" fmla="*/ 2606007 w 3437996"/>
              <a:gd name="csY82" fmla="*/ 776562 h 2018071"/>
              <a:gd name="csX83" fmla="*/ 2604609 w 3437996"/>
              <a:gd name="csY83" fmla="*/ 775538 h 2018071"/>
              <a:gd name="csX84" fmla="*/ 2596489 w 3437996"/>
              <a:gd name="csY84" fmla="*/ 767032 h 2018071"/>
              <a:gd name="csX85" fmla="*/ 2595095 w 3437996"/>
              <a:gd name="csY85" fmla="*/ 766006 h 2018071"/>
              <a:gd name="csX86" fmla="*/ 2586954 w 3437996"/>
              <a:gd name="csY86" fmla="*/ 757512 h 2018071"/>
              <a:gd name="csX87" fmla="*/ 2585558 w 3437996"/>
              <a:gd name="csY87" fmla="*/ 756496 h 2018071"/>
              <a:gd name="csX88" fmla="*/ 2577410 w 3437996"/>
              <a:gd name="csY88" fmla="*/ 748000 h 2018071"/>
              <a:gd name="csX89" fmla="*/ 2576006 w 3437996"/>
              <a:gd name="csY89" fmla="*/ 747002 h 2018071"/>
              <a:gd name="csX90" fmla="*/ 2567871 w 3437996"/>
              <a:gd name="csY90" fmla="*/ 738486 h 2018071"/>
              <a:gd name="csX91" fmla="*/ 2566459 w 3437996"/>
              <a:gd name="csY91" fmla="*/ 737499 h 2018071"/>
              <a:gd name="csX92" fmla="*/ 2558352 w 3437996"/>
              <a:gd name="csY92" fmla="*/ 728962 h 2018071"/>
              <a:gd name="csX93" fmla="*/ 2556937 w 3437996"/>
              <a:gd name="csY93" fmla="*/ 727967 h 2018071"/>
              <a:gd name="csX94" fmla="*/ 2548845 w 3437996"/>
              <a:gd name="csY94" fmla="*/ 719430 h 2018071"/>
              <a:gd name="csX95" fmla="*/ 2547432 w 3437996"/>
              <a:gd name="csY95" fmla="*/ 718414 h 2018071"/>
              <a:gd name="csX96" fmla="*/ 2539350 w 3437996"/>
              <a:gd name="csY96" fmla="*/ 709894 h 2018071"/>
              <a:gd name="csX97" fmla="*/ 2537942 w 3437996"/>
              <a:gd name="csY97" fmla="*/ 708842 h 2018071"/>
              <a:gd name="csX98" fmla="*/ 2529865 w 3437996"/>
              <a:gd name="csY98" fmla="*/ 700356 h 2018071"/>
              <a:gd name="csX99" fmla="*/ 2528460 w 3437996"/>
              <a:gd name="csY99" fmla="*/ 699259 h 2018071"/>
              <a:gd name="csX100" fmla="*/ 2520386 w 3437996"/>
              <a:gd name="csY100" fmla="*/ 690820 h 2018071"/>
              <a:gd name="csX101" fmla="*/ 2518981 w 3437996"/>
              <a:gd name="csY101" fmla="*/ 689668 h 2018071"/>
              <a:gd name="csX102" fmla="*/ 2510900 w 3437996"/>
              <a:gd name="csY102" fmla="*/ 681286 h 2018071"/>
              <a:gd name="csX103" fmla="*/ 2509493 w 3437996"/>
              <a:gd name="csY103" fmla="*/ 680082 h 2018071"/>
              <a:gd name="csX104" fmla="*/ 2501400 w 3437996"/>
              <a:gd name="csY104" fmla="*/ 671754 h 2018071"/>
              <a:gd name="csX105" fmla="*/ 2499991 w 3437996"/>
              <a:gd name="csY105" fmla="*/ 670520 h 2018071"/>
              <a:gd name="csX106" fmla="*/ 2491892 w 3437996"/>
              <a:gd name="csY106" fmla="*/ 662222 h 2018071"/>
              <a:gd name="csX107" fmla="*/ 2490482 w 3437996"/>
              <a:gd name="csY107" fmla="*/ 660967 h 2018071"/>
              <a:gd name="csX108" fmla="*/ 2482391 w 3437996"/>
              <a:gd name="csY108" fmla="*/ 652682 h 2018071"/>
              <a:gd name="csX109" fmla="*/ 2480984 w 3437996"/>
              <a:gd name="csY109" fmla="*/ 651408 h 2018071"/>
              <a:gd name="csX110" fmla="*/ 2472919 w 3437996"/>
              <a:gd name="csY110" fmla="*/ 643127 h 2018071"/>
              <a:gd name="csX111" fmla="*/ 2471515 w 3437996"/>
              <a:gd name="csY111" fmla="*/ 641819 h 2018071"/>
              <a:gd name="csX112" fmla="*/ 2463424 w 3437996"/>
              <a:gd name="csY112" fmla="*/ 633584 h 2018071"/>
              <a:gd name="csX113" fmla="*/ 2462020 w 3437996"/>
              <a:gd name="csY113" fmla="*/ 632257 h 2018071"/>
              <a:gd name="csX114" fmla="*/ 2453925 w 3437996"/>
              <a:gd name="csY114" fmla="*/ 624049 h 2018071"/>
              <a:gd name="csX115" fmla="*/ 2452516 w 3437996"/>
              <a:gd name="csY115" fmla="*/ 622702 h 2018071"/>
              <a:gd name="csX116" fmla="*/ 2444450 w 3437996"/>
              <a:gd name="csY116" fmla="*/ 614506 h 2018071"/>
              <a:gd name="csX117" fmla="*/ 2443026 w 3437996"/>
              <a:gd name="csY117" fmla="*/ 613123 h 2018071"/>
              <a:gd name="csX118" fmla="*/ 2434957 w 3437996"/>
              <a:gd name="csY118" fmla="*/ 604969 h 2018071"/>
              <a:gd name="csX119" fmla="*/ 2433519 w 3437996"/>
              <a:gd name="csY119" fmla="*/ 603563 h 2018071"/>
              <a:gd name="csX120" fmla="*/ 2425486 w 3437996"/>
              <a:gd name="csY120" fmla="*/ 595418 h 2018071"/>
              <a:gd name="csX121" fmla="*/ 2424029 w 3437996"/>
              <a:gd name="csY121" fmla="*/ 593985 h 2018071"/>
              <a:gd name="csX122" fmla="*/ 2416081 w 3437996"/>
              <a:gd name="csY122" fmla="*/ 585841 h 2018071"/>
              <a:gd name="csX123" fmla="*/ 2414563 w 3437996"/>
              <a:gd name="csY123" fmla="*/ 584358 h 2018071"/>
              <a:gd name="csX124" fmla="*/ 2406640 w 3437996"/>
              <a:gd name="csY124" fmla="*/ 576281 h 2018071"/>
              <a:gd name="csX125" fmla="*/ 2405068 w 3437996"/>
              <a:gd name="csY125" fmla="*/ 574761 h 2018071"/>
              <a:gd name="csX126" fmla="*/ 2397176 w 3437996"/>
              <a:gd name="csY126" fmla="*/ 566733 h 2018071"/>
              <a:gd name="csX127" fmla="*/ 2395561 w 3437996"/>
              <a:gd name="csY127" fmla="*/ 565186 h 2018071"/>
              <a:gd name="csX128" fmla="*/ 2387690 w 3437996"/>
              <a:gd name="csY128" fmla="*/ 557193 h 2018071"/>
              <a:gd name="csX129" fmla="*/ 2386050 w 3437996"/>
              <a:gd name="csY129" fmla="*/ 555624 h 2018071"/>
              <a:gd name="csX130" fmla="*/ 2378191 w 3437996"/>
              <a:gd name="csY130" fmla="*/ 547659 h 2018071"/>
              <a:gd name="csX131" fmla="*/ 2376534 w 3437996"/>
              <a:gd name="csY131" fmla="*/ 546075 h 2018071"/>
              <a:gd name="csX132" fmla="*/ 2368704 w 3437996"/>
              <a:gd name="csY132" fmla="*/ 538124 h 2018071"/>
              <a:gd name="csX133" fmla="*/ 2367021 w 3437996"/>
              <a:gd name="csY133" fmla="*/ 536517 h 2018071"/>
              <a:gd name="csX134" fmla="*/ 2360018 w 3437996"/>
              <a:gd name="csY134" fmla="*/ 529380 h 2018071"/>
              <a:gd name="csX135" fmla="*/ 2357514 w 3437996"/>
              <a:gd name="csY135" fmla="*/ 526933 h 2018071"/>
              <a:gd name="csX136" fmla="*/ 2350552 w 3437996"/>
              <a:gd name="csY136" fmla="*/ 519835 h 2018071"/>
              <a:gd name="csX137" fmla="*/ 2348016 w 3437996"/>
              <a:gd name="csY137" fmla="*/ 517342 h 2018071"/>
              <a:gd name="csX138" fmla="*/ 2341054 w 3437996"/>
              <a:gd name="csY138" fmla="*/ 510297 h 2018071"/>
              <a:gd name="csX139" fmla="*/ 2338508 w 3437996"/>
              <a:gd name="csY139" fmla="*/ 507777 h 2018071"/>
              <a:gd name="csX140" fmla="*/ 2331539 w 3437996"/>
              <a:gd name="csY140" fmla="*/ 500765 h 2018071"/>
              <a:gd name="csX141" fmla="*/ 2328991 w 3437996"/>
              <a:gd name="csY141" fmla="*/ 498236 h 2018071"/>
              <a:gd name="csX142" fmla="*/ 2322020 w 3437996"/>
              <a:gd name="csY142" fmla="*/ 491243 h 2018071"/>
              <a:gd name="csX143" fmla="*/ 2319465 w 3437996"/>
              <a:gd name="csY143" fmla="*/ 488702 h 2018071"/>
              <a:gd name="csX144" fmla="*/ 2312510 w 3437996"/>
              <a:gd name="csY144" fmla="*/ 481725 h 2018071"/>
              <a:gd name="csX145" fmla="*/ 2309941 w 3437996"/>
              <a:gd name="csY145" fmla="*/ 479158 h 2018071"/>
              <a:gd name="csX146" fmla="*/ 2303024 w 3437996"/>
              <a:gd name="csY146" fmla="*/ 472210 h 2018071"/>
              <a:gd name="csX147" fmla="*/ 2300428 w 3437996"/>
              <a:gd name="csY147" fmla="*/ 469578 h 2018071"/>
              <a:gd name="csX148" fmla="*/ 2293545 w 3437996"/>
              <a:gd name="csY148" fmla="*/ 462697 h 2018071"/>
              <a:gd name="csX149" fmla="*/ 2290922 w 3437996"/>
              <a:gd name="csY149" fmla="*/ 459984 h 2018071"/>
              <a:gd name="csX150" fmla="*/ 2284051 w 3437996"/>
              <a:gd name="csY150" fmla="*/ 453172 h 2018071"/>
              <a:gd name="csX151" fmla="*/ 2281414 w 3437996"/>
              <a:gd name="csY151" fmla="*/ 450403 h 2018071"/>
              <a:gd name="csX152" fmla="*/ 2274560 w 3437996"/>
              <a:gd name="csY152" fmla="*/ 443646 h 2018071"/>
              <a:gd name="csX153" fmla="*/ 2271906 w 3437996"/>
              <a:gd name="csY153" fmla="*/ 440826 h 2018071"/>
              <a:gd name="csX154" fmla="*/ 2265120 w 3437996"/>
              <a:gd name="csY154" fmla="*/ 434112 h 2018071"/>
              <a:gd name="csX155" fmla="*/ 2262409 w 3437996"/>
              <a:gd name="csY155" fmla="*/ 431189 h 2018071"/>
              <a:gd name="csX156" fmla="*/ 2255765 w 3437996"/>
              <a:gd name="csY156" fmla="*/ 424557 h 2018071"/>
              <a:gd name="csX157" fmla="*/ 2252962 w 3437996"/>
              <a:gd name="csY157" fmla="*/ 421458 h 2018071"/>
              <a:gd name="csX158" fmla="*/ 2246361 w 3437996"/>
              <a:gd name="csY158" fmla="*/ 414989 h 2018071"/>
              <a:gd name="csX159" fmla="*/ 2226101 w 3437996"/>
              <a:gd name="csY159" fmla="*/ 394472 h 2018071"/>
              <a:gd name="csX160" fmla="*/ 2204126 w 3437996"/>
              <a:gd name="csY160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40506 w 3437996"/>
              <a:gd name="csY47" fmla="*/ 584580 h 2018071"/>
              <a:gd name="csX48" fmla="*/ 49883 w 3437996"/>
              <a:gd name="csY48" fmla="*/ 529082 h 2018071"/>
              <a:gd name="csX49" fmla="*/ 88193 w 3437996"/>
              <a:gd name="csY49" fmla="*/ 269877 h 2018071"/>
              <a:gd name="csX50" fmla="*/ 89741 w 3437996"/>
              <a:gd name="csY50" fmla="*/ 253550 h 2018071"/>
              <a:gd name="csX51" fmla="*/ 98008 w 3437996"/>
              <a:gd name="csY51" fmla="*/ 233543 h 2018071"/>
              <a:gd name="csX52" fmla="*/ 99628 w 3437996"/>
              <a:gd name="csY52" fmla="*/ 231506 h 2018071"/>
              <a:gd name="csX53" fmla="*/ 182353 w 3437996"/>
              <a:gd name="csY53" fmla="*/ 229554 h 2018071"/>
              <a:gd name="csX54" fmla="*/ 185812 w 3437996"/>
              <a:gd name="csY54" fmla="*/ 231380 h 2018071"/>
              <a:gd name="csX55" fmla="*/ 213726 w 3437996"/>
              <a:gd name="csY55" fmla="*/ 239233 h 2018071"/>
              <a:gd name="csX56" fmla="*/ 416961 w 3437996"/>
              <a:gd name="csY56" fmla="*/ 299911 h 2018071"/>
              <a:gd name="csX57" fmla="*/ 622809 w 3437996"/>
              <a:gd name="csY57" fmla="*/ 305227 h 2018071"/>
              <a:gd name="csX58" fmla="*/ 1851374 w 3437996"/>
              <a:gd name="csY58" fmla="*/ 7502 h 2018071"/>
              <a:gd name="csX59" fmla="*/ 2119617 w 3437996"/>
              <a:gd name="csY59" fmla="*/ 86919 h 2018071"/>
              <a:gd name="csX60" fmla="*/ 2805452 w 3437996"/>
              <a:gd name="csY60" fmla="*/ 622669 h 2018071"/>
              <a:gd name="csX61" fmla="*/ 3047873 w 3437996"/>
              <a:gd name="csY61" fmla="*/ 889895 h 2018071"/>
              <a:gd name="csX62" fmla="*/ 3201337 w 3437996"/>
              <a:gd name="csY62" fmla="*/ 1065192 h 2018071"/>
              <a:gd name="csX63" fmla="*/ 3322212 w 3437996"/>
              <a:gd name="csY63" fmla="*/ 1262254 h 2018071"/>
              <a:gd name="csX64" fmla="*/ 3434603 w 3437996"/>
              <a:gd name="csY64" fmla="*/ 1463610 h 2018071"/>
              <a:gd name="csX65" fmla="*/ 3437317 w 3437996"/>
              <a:gd name="csY65" fmla="*/ 1496424 h 2018071"/>
              <a:gd name="csX66" fmla="*/ 3437173 w 3437996"/>
              <a:gd name="csY66" fmla="*/ 1502015 h 2018071"/>
              <a:gd name="csX67" fmla="*/ 3265778 w 3437996"/>
              <a:gd name="csY67" fmla="*/ 1437268 h 2018071"/>
              <a:gd name="csX68" fmla="*/ 3131933 w 3437996"/>
              <a:gd name="csY68" fmla="*/ 1283723 h 2018071"/>
              <a:gd name="csX69" fmla="*/ 2856351 w 3437996"/>
              <a:gd name="csY69" fmla="*/ 1004478 h 2018071"/>
              <a:gd name="csX70" fmla="*/ 2818150 w 3437996"/>
              <a:gd name="csY70" fmla="*/ 969213 h 2018071"/>
              <a:gd name="csX71" fmla="*/ 2654127 w 3437996"/>
              <a:gd name="csY71" fmla="*/ 825572 h 2018071"/>
              <a:gd name="csX72" fmla="*/ 2651783 w 3437996"/>
              <a:gd name="csY72" fmla="*/ 823279 h 2018071"/>
              <a:gd name="csX73" fmla="*/ 2644017 w 3437996"/>
              <a:gd name="csY73" fmla="*/ 814773 h 2018071"/>
              <a:gd name="csX74" fmla="*/ 2642551 w 3437996"/>
              <a:gd name="csY74" fmla="*/ 813746 h 2018071"/>
              <a:gd name="csX75" fmla="*/ 2634494 w 3437996"/>
              <a:gd name="csY75" fmla="*/ 805208 h 2018071"/>
              <a:gd name="csX76" fmla="*/ 2633053 w 3437996"/>
              <a:gd name="csY76" fmla="*/ 804210 h 2018071"/>
              <a:gd name="csX77" fmla="*/ 2624994 w 3437996"/>
              <a:gd name="csY77" fmla="*/ 795655 h 2018071"/>
              <a:gd name="csX78" fmla="*/ 2623570 w 3437996"/>
              <a:gd name="csY78" fmla="*/ 794675 h 2018071"/>
              <a:gd name="csX79" fmla="*/ 2615495 w 3437996"/>
              <a:gd name="csY79" fmla="*/ 786111 h 2018071"/>
              <a:gd name="csX80" fmla="*/ 2614082 w 3437996"/>
              <a:gd name="csY80" fmla="*/ 785113 h 2018071"/>
              <a:gd name="csX81" fmla="*/ 2606007 w 3437996"/>
              <a:gd name="csY81" fmla="*/ 776562 h 2018071"/>
              <a:gd name="csX82" fmla="*/ 2604609 w 3437996"/>
              <a:gd name="csY82" fmla="*/ 775538 h 2018071"/>
              <a:gd name="csX83" fmla="*/ 2596489 w 3437996"/>
              <a:gd name="csY83" fmla="*/ 767032 h 2018071"/>
              <a:gd name="csX84" fmla="*/ 2595095 w 3437996"/>
              <a:gd name="csY84" fmla="*/ 766006 h 2018071"/>
              <a:gd name="csX85" fmla="*/ 2586954 w 3437996"/>
              <a:gd name="csY85" fmla="*/ 757512 h 2018071"/>
              <a:gd name="csX86" fmla="*/ 2585558 w 3437996"/>
              <a:gd name="csY86" fmla="*/ 756496 h 2018071"/>
              <a:gd name="csX87" fmla="*/ 2577410 w 3437996"/>
              <a:gd name="csY87" fmla="*/ 748000 h 2018071"/>
              <a:gd name="csX88" fmla="*/ 2576006 w 3437996"/>
              <a:gd name="csY88" fmla="*/ 747002 h 2018071"/>
              <a:gd name="csX89" fmla="*/ 2567871 w 3437996"/>
              <a:gd name="csY89" fmla="*/ 738486 h 2018071"/>
              <a:gd name="csX90" fmla="*/ 2566459 w 3437996"/>
              <a:gd name="csY90" fmla="*/ 737499 h 2018071"/>
              <a:gd name="csX91" fmla="*/ 2558352 w 3437996"/>
              <a:gd name="csY91" fmla="*/ 728962 h 2018071"/>
              <a:gd name="csX92" fmla="*/ 2556937 w 3437996"/>
              <a:gd name="csY92" fmla="*/ 727967 h 2018071"/>
              <a:gd name="csX93" fmla="*/ 2548845 w 3437996"/>
              <a:gd name="csY93" fmla="*/ 719430 h 2018071"/>
              <a:gd name="csX94" fmla="*/ 2547432 w 3437996"/>
              <a:gd name="csY94" fmla="*/ 718414 h 2018071"/>
              <a:gd name="csX95" fmla="*/ 2539350 w 3437996"/>
              <a:gd name="csY95" fmla="*/ 709894 h 2018071"/>
              <a:gd name="csX96" fmla="*/ 2537942 w 3437996"/>
              <a:gd name="csY96" fmla="*/ 708842 h 2018071"/>
              <a:gd name="csX97" fmla="*/ 2529865 w 3437996"/>
              <a:gd name="csY97" fmla="*/ 700356 h 2018071"/>
              <a:gd name="csX98" fmla="*/ 2528460 w 3437996"/>
              <a:gd name="csY98" fmla="*/ 699259 h 2018071"/>
              <a:gd name="csX99" fmla="*/ 2520386 w 3437996"/>
              <a:gd name="csY99" fmla="*/ 690820 h 2018071"/>
              <a:gd name="csX100" fmla="*/ 2518981 w 3437996"/>
              <a:gd name="csY100" fmla="*/ 689668 h 2018071"/>
              <a:gd name="csX101" fmla="*/ 2510900 w 3437996"/>
              <a:gd name="csY101" fmla="*/ 681286 h 2018071"/>
              <a:gd name="csX102" fmla="*/ 2509493 w 3437996"/>
              <a:gd name="csY102" fmla="*/ 680082 h 2018071"/>
              <a:gd name="csX103" fmla="*/ 2501400 w 3437996"/>
              <a:gd name="csY103" fmla="*/ 671754 h 2018071"/>
              <a:gd name="csX104" fmla="*/ 2499991 w 3437996"/>
              <a:gd name="csY104" fmla="*/ 670520 h 2018071"/>
              <a:gd name="csX105" fmla="*/ 2491892 w 3437996"/>
              <a:gd name="csY105" fmla="*/ 662222 h 2018071"/>
              <a:gd name="csX106" fmla="*/ 2490482 w 3437996"/>
              <a:gd name="csY106" fmla="*/ 660967 h 2018071"/>
              <a:gd name="csX107" fmla="*/ 2482391 w 3437996"/>
              <a:gd name="csY107" fmla="*/ 652682 h 2018071"/>
              <a:gd name="csX108" fmla="*/ 2480984 w 3437996"/>
              <a:gd name="csY108" fmla="*/ 651408 h 2018071"/>
              <a:gd name="csX109" fmla="*/ 2472919 w 3437996"/>
              <a:gd name="csY109" fmla="*/ 643127 h 2018071"/>
              <a:gd name="csX110" fmla="*/ 2471515 w 3437996"/>
              <a:gd name="csY110" fmla="*/ 641819 h 2018071"/>
              <a:gd name="csX111" fmla="*/ 2463424 w 3437996"/>
              <a:gd name="csY111" fmla="*/ 633584 h 2018071"/>
              <a:gd name="csX112" fmla="*/ 2462020 w 3437996"/>
              <a:gd name="csY112" fmla="*/ 632257 h 2018071"/>
              <a:gd name="csX113" fmla="*/ 2453925 w 3437996"/>
              <a:gd name="csY113" fmla="*/ 624049 h 2018071"/>
              <a:gd name="csX114" fmla="*/ 2452516 w 3437996"/>
              <a:gd name="csY114" fmla="*/ 622702 h 2018071"/>
              <a:gd name="csX115" fmla="*/ 2444450 w 3437996"/>
              <a:gd name="csY115" fmla="*/ 614506 h 2018071"/>
              <a:gd name="csX116" fmla="*/ 2443026 w 3437996"/>
              <a:gd name="csY116" fmla="*/ 613123 h 2018071"/>
              <a:gd name="csX117" fmla="*/ 2434957 w 3437996"/>
              <a:gd name="csY117" fmla="*/ 604969 h 2018071"/>
              <a:gd name="csX118" fmla="*/ 2433519 w 3437996"/>
              <a:gd name="csY118" fmla="*/ 603563 h 2018071"/>
              <a:gd name="csX119" fmla="*/ 2425486 w 3437996"/>
              <a:gd name="csY119" fmla="*/ 595418 h 2018071"/>
              <a:gd name="csX120" fmla="*/ 2424029 w 3437996"/>
              <a:gd name="csY120" fmla="*/ 593985 h 2018071"/>
              <a:gd name="csX121" fmla="*/ 2416081 w 3437996"/>
              <a:gd name="csY121" fmla="*/ 585841 h 2018071"/>
              <a:gd name="csX122" fmla="*/ 2414563 w 3437996"/>
              <a:gd name="csY122" fmla="*/ 584358 h 2018071"/>
              <a:gd name="csX123" fmla="*/ 2406640 w 3437996"/>
              <a:gd name="csY123" fmla="*/ 576281 h 2018071"/>
              <a:gd name="csX124" fmla="*/ 2405068 w 3437996"/>
              <a:gd name="csY124" fmla="*/ 574761 h 2018071"/>
              <a:gd name="csX125" fmla="*/ 2397176 w 3437996"/>
              <a:gd name="csY125" fmla="*/ 566733 h 2018071"/>
              <a:gd name="csX126" fmla="*/ 2395561 w 3437996"/>
              <a:gd name="csY126" fmla="*/ 565186 h 2018071"/>
              <a:gd name="csX127" fmla="*/ 2387690 w 3437996"/>
              <a:gd name="csY127" fmla="*/ 557193 h 2018071"/>
              <a:gd name="csX128" fmla="*/ 2386050 w 3437996"/>
              <a:gd name="csY128" fmla="*/ 555624 h 2018071"/>
              <a:gd name="csX129" fmla="*/ 2378191 w 3437996"/>
              <a:gd name="csY129" fmla="*/ 547659 h 2018071"/>
              <a:gd name="csX130" fmla="*/ 2376534 w 3437996"/>
              <a:gd name="csY130" fmla="*/ 546075 h 2018071"/>
              <a:gd name="csX131" fmla="*/ 2368704 w 3437996"/>
              <a:gd name="csY131" fmla="*/ 538124 h 2018071"/>
              <a:gd name="csX132" fmla="*/ 2367021 w 3437996"/>
              <a:gd name="csY132" fmla="*/ 536517 h 2018071"/>
              <a:gd name="csX133" fmla="*/ 2360018 w 3437996"/>
              <a:gd name="csY133" fmla="*/ 529380 h 2018071"/>
              <a:gd name="csX134" fmla="*/ 2357514 w 3437996"/>
              <a:gd name="csY134" fmla="*/ 526933 h 2018071"/>
              <a:gd name="csX135" fmla="*/ 2350552 w 3437996"/>
              <a:gd name="csY135" fmla="*/ 519835 h 2018071"/>
              <a:gd name="csX136" fmla="*/ 2348016 w 3437996"/>
              <a:gd name="csY136" fmla="*/ 517342 h 2018071"/>
              <a:gd name="csX137" fmla="*/ 2341054 w 3437996"/>
              <a:gd name="csY137" fmla="*/ 510297 h 2018071"/>
              <a:gd name="csX138" fmla="*/ 2338508 w 3437996"/>
              <a:gd name="csY138" fmla="*/ 507777 h 2018071"/>
              <a:gd name="csX139" fmla="*/ 2331539 w 3437996"/>
              <a:gd name="csY139" fmla="*/ 500765 h 2018071"/>
              <a:gd name="csX140" fmla="*/ 2328991 w 3437996"/>
              <a:gd name="csY140" fmla="*/ 498236 h 2018071"/>
              <a:gd name="csX141" fmla="*/ 2322020 w 3437996"/>
              <a:gd name="csY141" fmla="*/ 491243 h 2018071"/>
              <a:gd name="csX142" fmla="*/ 2319465 w 3437996"/>
              <a:gd name="csY142" fmla="*/ 488702 h 2018071"/>
              <a:gd name="csX143" fmla="*/ 2312510 w 3437996"/>
              <a:gd name="csY143" fmla="*/ 481725 h 2018071"/>
              <a:gd name="csX144" fmla="*/ 2309941 w 3437996"/>
              <a:gd name="csY144" fmla="*/ 479158 h 2018071"/>
              <a:gd name="csX145" fmla="*/ 2303024 w 3437996"/>
              <a:gd name="csY145" fmla="*/ 472210 h 2018071"/>
              <a:gd name="csX146" fmla="*/ 2300428 w 3437996"/>
              <a:gd name="csY146" fmla="*/ 469578 h 2018071"/>
              <a:gd name="csX147" fmla="*/ 2293545 w 3437996"/>
              <a:gd name="csY147" fmla="*/ 462697 h 2018071"/>
              <a:gd name="csX148" fmla="*/ 2290922 w 3437996"/>
              <a:gd name="csY148" fmla="*/ 459984 h 2018071"/>
              <a:gd name="csX149" fmla="*/ 2284051 w 3437996"/>
              <a:gd name="csY149" fmla="*/ 453172 h 2018071"/>
              <a:gd name="csX150" fmla="*/ 2281414 w 3437996"/>
              <a:gd name="csY150" fmla="*/ 450403 h 2018071"/>
              <a:gd name="csX151" fmla="*/ 2274560 w 3437996"/>
              <a:gd name="csY151" fmla="*/ 443646 h 2018071"/>
              <a:gd name="csX152" fmla="*/ 2271906 w 3437996"/>
              <a:gd name="csY152" fmla="*/ 440826 h 2018071"/>
              <a:gd name="csX153" fmla="*/ 2265120 w 3437996"/>
              <a:gd name="csY153" fmla="*/ 434112 h 2018071"/>
              <a:gd name="csX154" fmla="*/ 2262409 w 3437996"/>
              <a:gd name="csY154" fmla="*/ 431189 h 2018071"/>
              <a:gd name="csX155" fmla="*/ 2255765 w 3437996"/>
              <a:gd name="csY155" fmla="*/ 424557 h 2018071"/>
              <a:gd name="csX156" fmla="*/ 2252962 w 3437996"/>
              <a:gd name="csY156" fmla="*/ 421458 h 2018071"/>
              <a:gd name="csX157" fmla="*/ 2246361 w 3437996"/>
              <a:gd name="csY157" fmla="*/ 414989 h 2018071"/>
              <a:gd name="csX158" fmla="*/ 2226101 w 3437996"/>
              <a:gd name="csY158" fmla="*/ 394472 h 2018071"/>
              <a:gd name="csX159" fmla="*/ 2204126 w 3437996"/>
              <a:gd name="csY159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49883 w 3437996"/>
              <a:gd name="csY47" fmla="*/ 529082 h 2018071"/>
              <a:gd name="csX48" fmla="*/ 88193 w 3437996"/>
              <a:gd name="csY48" fmla="*/ 269877 h 2018071"/>
              <a:gd name="csX49" fmla="*/ 89741 w 3437996"/>
              <a:gd name="csY49" fmla="*/ 253550 h 2018071"/>
              <a:gd name="csX50" fmla="*/ 98008 w 3437996"/>
              <a:gd name="csY50" fmla="*/ 233543 h 2018071"/>
              <a:gd name="csX51" fmla="*/ 99628 w 3437996"/>
              <a:gd name="csY51" fmla="*/ 231506 h 2018071"/>
              <a:gd name="csX52" fmla="*/ 182353 w 3437996"/>
              <a:gd name="csY52" fmla="*/ 229554 h 2018071"/>
              <a:gd name="csX53" fmla="*/ 185812 w 3437996"/>
              <a:gd name="csY53" fmla="*/ 231380 h 2018071"/>
              <a:gd name="csX54" fmla="*/ 213726 w 3437996"/>
              <a:gd name="csY54" fmla="*/ 239233 h 2018071"/>
              <a:gd name="csX55" fmla="*/ 416961 w 3437996"/>
              <a:gd name="csY55" fmla="*/ 299911 h 2018071"/>
              <a:gd name="csX56" fmla="*/ 622809 w 3437996"/>
              <a:gd name="csY56" fmla="*/ 305227 h 2018071"/>
              <a:gd name="csX57" fmla="*/ 1851374 w 3437996"/>
              <a:gd name="csY57" fmla="*/ 7502 h 2018071"/>
              <a:gd name="csX58" fmla="*/ 2119617 w 3437996"/>
              <a:gd name="csY58" fmla="*/ 86919 h 2018071"/>
              <a:gd name="csX59" fmla="*/ 2805452 w 3437996"/>
              <a:gd name="csY59" fmla="*/ 622669 h 2018071"/>
              <a:gd name="csX60" fmla="*/ 3047873 w 3437996"/>
              <a:gd name="csY60" fmla="*/ 889895 h 2018071"/>
              <a:gd name="csX61" fmla="*/ 3201337 w 3437996"/>
              <a:gd name="csY61" fmla="*/ 1065192 h 2018071"/>
              <a:gd name="csX62" fmla="*/ 3322212 w 3437996"/>
              <a:gd name="csY62" fmla="*/ 1262254 h 2018071"/>
              <a:gd name="csX63" fmla="*/ 3434603 w 3437996"/>
              <a:gd name="csY63" fmla="*/ 1463610 h 2018071"/>
              <a:gd name="csX64" fmla="*/ 3437317 w 3437996"/>
              <a:gd name="csY64" fmla="*/ 1496424 h 2018071"/>
              <a:gd name="csX65" fmla="*/ 3437173 w 3437996"/>
              <a:gd name="csY65" fmla="*/ 1502015 h 2018071"/>
              <a:gd name="csX66" fmla="*/ 3265778 w 3437996"/>
              <a:gd name="csY66" fmla="*/ 1437268 h 2018071"/>
              <a:gd name="csX67" fmla="*/ 3131933 w 3437996"/>
              <a:gd name="csY67" fmla="*/ 1283723 h 2018071"/>
              <a:gd name="csX68" fmla="*/ 2856351 w 3437996"/>
              <a:gd name="csY68" fmla="*/ 1004478 h 2018071"/>
              <a:gd name="csX69" fmla="*/ 2818150 w 3437996"/>
              <a:gd name="csY69" fmla="*/ 969213 h 2018071"/>
              <a:gd name="csX70" fmla="*/ 2654127 w 3437996"/>
              <a:gd name="csY70" fmla="*/ 825572 h 2018071"/>
              <a:gd name="csX71" fmla="*/ 2651783 w 3437996"/>
              <a:gd name="csY71" fmla="*/ 823279 h 2018071"/>
              <a:gd name="csX72" fmla="*/ 2644017 w 3437996"/>
              <a:gd name="csY72" fmla="*/ 814773 h 2018071"/>
              <a:gd name="csX73" fmla="*/ 2642551 w 3437996"/>
              <a:gd name="csY73" fmla="*/ 813746 h 2018071"/>
              <a:gd name="csX74" fmla="*/ 2634494 w 3437996"/>
              <a:gd name="csY74" fmla="*/ 805208 h 2018071"/>
              <a:gd name="csX75" fmla="*/ 2633053 w 3437996"/>
              <a:gd name="csY75" fmla="*/ 804210 h 2018071"/>
              <a:gd name="csX76" fmla="*/ 2624994 w 3437996"/>
              <a:gd name="csY76" fmla="*/ 795655 h 2018071"/>
              <a:gd name="csX77" fmla="*/ 2623570 w 3437996"/>
              <a:gd name="csY77" fmla="*/ 794675 h 2018071"/>
              <a:gd name="csX78" fmla="*/ 2615495 w 3437996"/>
              <a:gd name="csY78" fmla="*/ 786111 h 2018071"/>
              <a:gd name="csX79" fmla="*/ 2614082 w 3437996"/>
              <a:gd name="csY79" fmla="*/ 785113 h 2018071"/>
              <a:gd name="csX80" fmla="*/ 2606007 w 3437996"/>
              <a:gd name="csY80" fmla="*/ 776562 h 2018071"/>
              <a:gd name="csX81" fmla="*/ 2604609 w 3437996"/>
              <a:gd name="csY81" fmla="*/ 775538 h 2018071"/>
              <a:gd name="csX82" fmla="*/ 2596489 w 3437996"/>
              <a:gd name="csY82" fmla="*/ 767032 h 2018071"/>
              <a:gd name="csX83" fmla="*/ 2595095 w 3437996"/>
              <a:gd name="csY83" fmla="*/ 766006 h 2018071"/>
              <a:gd name="csX84" fmla="*/ 2586954 w 3437996"/>
              <a:gd name="csY84" fmla="*/ 757512 h 2018071"/>
              <a:gd name="csX85" fmla="*/ 2585558 w 3437996"/>
              <a:gd name="csY85" fmla="*/ 756496 h 2018071"/>
              <a:gd name="csX86" fmla="*/ 2577410 w 3437996"/>
              <a:gd name="csY86" fmla="*/ 748000 h 2018071"/>
              <a:gd name="csX87" fmla="*/ 2576006 w 3437996"/>
              <a:gd name="csY87" fmla="*/ 747002 h 2018071"/>
              <a:gd name="csX88" fmla="*/ 2567871 w 3437996"/>
              <a:gd name="csY88" fmla="*/ 738486 h 2018071"/>
              <a:gd name="csX89" fmla="*/ 2566459 w 3437996"/>
              <a:gd name="csY89" fmla="*/ 737499 h 2018071"/>
              <a:gd name="csX90" fmla="*/ 2558352 w 3437996"/>
              <a:gd name="csY90" fmla="*/ 728962 h 2018071"/>
              <a:gd name="csX91" fmla="*/ 2556937 w 3437996"/>
              <a:gd name="csY91" fmla="*/ 727967 h 2018071"/>
              <a:gd name="csX92" fmla="*/ 2548845 w 3437996"/>
              <a:gd name="csY92" fmla="*/ 719430 h 2018071"/>
              <a:gd name="csX93" fmla="*/ 2547432 w 3437996"/>
              <a:gd name="csY93" fmla="*/ 718414 h 2018071"/>
              <a:gd name="csX94" fmla="*/ 2539350 w 3437996"/>
              <a:gd name="csY94" fmla="*/ 709894 h 2018071"/>
              <a:gd name="csX95" fmla="*/ 2537942 w 3437996"/>
              <a:gd name="csY95" fmla="*/ 708842 h 2018071"/>
              <a:gd name="csX96" fmla="*/ 2529865 w 3437996"/>
              <a:gd name="csY96" fmla="*/ 700356 h 2018071"/>
              <a:gd name="csX97" fmla="*/ 2528460 w 3437996"/>
              <a:gd name="csY97" fmla="*/ 699259 h 2018071"/>
              <a:gd name="csX98" fmla="*/ 2520386 w 3437996"/>
              <a:gd name="csY98" fmla="*/ 690820 h 2018071"/>
              <a:gd name="csX99" fmla="*/ 2518981 w 3437996"/>
              <a:gd name="csY99" fmla="*/ 689668 h 2018071"/>
              <a:gd name="csX100" fmla="*/ 2510900 w 3437996"/>
              <a:gd name="csY100" fmla="*/ 681286 h 2018071"/>
              <a:gd name="csX101" fmla="*/ 2509493 w 3437996"/>
              <a:gd name="csY101" fmla="*/ 680082 h 2018071"/>
              <a:gd name="csX102" fmla="*/ 2501400 w 3437996"/>
              <a:gd name="csY102" fmla="*/ 671754 h 2018071"/>
              <a:gd name="csX103" fmla="*/ 2499991 w 3437996"/>
              <a:gd name="csY103" fmla="*/ 670520 h 2018071"/>
              <a:gd name="csX104" fmla="*/ 2491892 w 3437996"/>
              <a:gd name="csY104" fmla="*/ 662222 h 2018071"/>
              <a:gd name="csX105" fmla="*/ 2490482 w 3437996"/>
              <a:gd name="csY105" fmla="*/ 660967 h 2018071"/>
              <a:gd name="csX106" fmla="*/ 2482391 w 3437996"/>
              <a:gd name="csY106" fmla="*/ 652682 h 2018071"/>
              <a:gd name="csX107" fmla="*/ 2480984 w 3437996"/>
              <a:gd name="csY107" fmla="*/ 651408 h 2018071"/>
              <a:gd name="csX108" fmla="*/ 2472919 w 3437996"/>
              <a:gd name="csY108" fmla="*/ 643127 h 2018071"/>
              <a:gd name="csX109" fmla="*/ 2471515 w 3437996"/>
              <a:gd name="csY109" fmla="*/ 641819 h 2018071"/>
              <a:gd name="csX110" fmla="*/ 2463424 w 3437996"/>
              <a:gd name="csY110" fmla="*/ 633584 h 2018071"/>
              <a:gd name="csX111" fmla="*/ 2462020 w 3437996"/>
              <a:gd name="csY111" fmla="*/ 632257 h 2018071"/>
              <a:gd name="csX112" fmla="*/ 2453925 w 3437996"/>
              <a:gd name="csY112" fmla="*/ 624049 h 2018071"/>
              <a:gd name="csX113" fmla="*/ 2452516 w 3437996"/>
              <a:gd name="csY113" fmla="*/ 622702 h 2018071"/>
              <a:gd name="csX114" fmla="*/ 2444450 w 3437996"/>
              <a:gd name="csY114" fmla="*/ 614506 h 2018071"/>
              <a:gd name="csX115" fmla="*/ 2443026 w 3437996"/>
              <a:gd name="csY115" fmla="*/ 613123 h 2018071"/>
              <a:gd name="csX116" fmla="*/ 2434957 w 3437996"/>
              <a:gd name="csY116" fmla="*/ 604969 h 2018071"/>
              <a:gd name="csX117" fmla="*/ 2433519 w 3437996"/>
              <a:gd name="csY117" fmla="*/ 603563 h 2018071"/>
              <a:gd name="csX118" fmla="*/ 2425486 w 3437996"/>
              <a:gd name="csY118" fmla="*/ 595418 h 2018071"/>
              <a:gd name="csX119" fmla="*/ 2424029 w 3437996"/>
              <a:gd name="csY119" fmla="*/ 593985 h 2018071"/>
              <a:gd name="csX120" fmla="*/ 2416081 w 3437996"/>
              <a:gd name="csY120" fmla="*/ 585841 h 2018071"/>
              <a:gd name="csX121" fmla="*/ 2414563 w 3437996"/>
              <a:gd name="csY121" fmla="*/ 584358 h 2018071"/>
              <a:gd name="csX122" fmla="*/ 2406640 w 3437996"/>
              <a:gd name="csY122" fmla="*/ 576281 h 2018071"/>
              <a:gd name="csX123" fmla="*/ 2405068 w 3437996"/>
              <a:gd name="csY123" fmla="*/ 574761 h 2018071"/>
              <a:gd name="csX124" fmla="*/ 2397176 w 3437996"/>
              <a:gd name="csY124" fmla="*/ 566733 h 2018071"/>
              <a:gd name="csX125" fmla="*/ 2395561 w 3437996"/>
              <a:gd name="csY125" fmla="*/ 565186 h 2018071"/>
              <a:gd name="csX126" fmla="*/ 2387690 w 3437996"/>
              <a:gd name="csY126" fmla="*/ 557193 h 2018071"/>
              <a:gd name="csX127" fmla="*/ 2386050 w 3437996"/>
              <a:gd name="csY127" fmla="*/ 555624 h 2018071"/>
              <a:gd name="csX128" fmla="*/ 2378191 w 3437996"/>
              <a:gd name="csY128" fmla="*/ 547659 h 2018071"/>
              <a:gd name="csX129" fmla="*/ 2376534 w 3437996"/>
              <a:gd name="csY129" fmla="*/ 546075 h 2018071"/>
              <a:gd name="csX130" fmla="*/ 2368704 w 3437996"/>
              <a:gd name="csY130" fmla="*/ 538124 h 2018071"/>
              <a:gd name="csX131" fmla="*/ 2367021 w 3437996"/>
              <a:gd name="csY131" fmla="*/ 536517 h 2018071"/>
              <a:gd name="csX132" fmla="*/ 2360018 w 3437996"/>
              <a:gd name="csY132" fmla="*/ 529380 h 2018071"/>
              <a:gd name="csX133" fmla="*/ 2357514 w 3437996"/>
              <a:gd name="csY133" fmla="*/ 526933 h 2018071"/>
              <a:gd name="csX134" fmla="*/ 2350552 w 3437996"/>
              <a:gd name="csY134" fmla="*/ 519835 h 2018071"/>
              <a:gd name="csX135" fmla="*/ 2348016 w 3437996"/>
              <a:gd name="csY135" fmla="*/ 517342 h 2018071"/>
              <a:gd name="csX136" fmla="*/ 2341054 w 3437996"/>
              <a:gd name="csY136" fmla="*/ 510297 h 2018071"/>
              <a:gd name="csX137" fmla="*/ 2338508 w 3437996"/>
              <a:gd name="csY137" fmla="*/ 507777 h 2018071"/>
              <a:gd name="csX138" fmla="*/ 2331539 w 3437996"/>
              <a:gd name="csY138" fmla="*/ 500765 h 2018071"/>
              <a:gd name="csX139" fmla="*/ 2328991 w 3437996"/>
              <a:gd name="csY139" fmla="*/ 498236 h 2018071"/>
              <a:gd name="csX140" fmla="*/ 2322020 w 3437996"/>
              <a:gd name="csY140" fmla="*/ 491243 h 2018071"/>
              <a:gd name="csX141" fmla="*/ 2319465 w 3437996"/>
              <a:gd name="csY141" fmla="*/ 488702 h 2018071"/>
              <a:gd name="csX142" fmla="*/ 2312510 w 3437996"/>
              <a:gd name="csY142" fmla="*/ 481725 h 2018071"/>
              <a:gd name="csX143" fmla="*/ 2309941 w 3437996"/>
              <a:gd name="csY143" fmla="*/ 479158 h 2018071"/>
              <a:gd name="csX144" fmla="*/ 2303024 w 3437996"/>
              <a:gd name="csY144" fmla="*/ 472210 h 2018071"/>
              <a:gd name="csX145" fmla="*/ 2300428 w 3437996"/>
              <a:gd name="csY145" fmla="*/ 469578 h 2018071"/>
              <a:gd name="csX146" fmla="*/ 2293545 w 3437996"/>
              <a:gd name="csY146" fmla="*/ 462697 h 2018071"/>
              <a:gd name="csX147" fmla="*/ 2290922 w 3437996"/>
              <a:gd name="csY147" fmla="*/ 459984 h 2018071"/>
              <a:gd name="csX148" fmla="*/ 2284051 w 3437996"/>
              <a:gd name="csY148" fmla="*/ 453172 h 2018071"/>
              <a:gd name="csX149" fmla="*/ 2281414 w 3437996"/>
              <a:gd name="csY149" fmla="*/ 450403 h 2018071"/>
              <a:gd name="csX150" fmla="*/ 2274560 w 3437996"/>
              <a:gd name="csY150" fmla="*/ 443646 h 2018071"/>
              <a:gd name="csX151" fmla="*/ 2271906 w 3437996"/>
              <a:gd name="csY151" fmla="*/ 440826 h 2018071"/>
              <a:gd name="csX152" fmla="*/ 2265120 w 3437996"/>
              <a:gd name="csY152" fmla="*/ 434112 h 2018071"/>
              <a:gd name="csX153" fmla="*/ 2262409 w 3437996"/>
              <a:gd name="csY153" fmla="*/ 431189 h 2018071"/>
              <a:gd name="csX154" fmla="*/ 2255765 w 3437996"/>
              <a:gd name="csY154" fmla="*/ 424557 h 2018071"/>
              <a:gd name="csX155" fmla="*/ 2252962 w 3437996"/>
              <a:gd name="csY155" fmla="*/ 421458 h 2018071"/>
              <a:gd name="csX156" fmla="*/ 2246361 w 3437996"/>
              <a:gd name="csY156" fmla="*/ 414989 h 2018071"/>
              <a:gd name="csX157" fmla="*/ 2226101 w 3437996"/>
              <a:gd name="csY157" fmla="*/ 394472 h 2018071"/>
              <a:gd name="csX158" fmla="*/ 2204126 w 3437996"/>
              <a:gd name="csY158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89741 w 3437996"/>
              <a:gd name="csY48" fmla="*/ 253550 h 2018071"/>
              <a:gd name="csX49" fmla="*/ 98008 w 3437996"/>
              <a:gd name="csY49" fmla="*/ 233543 h 2018071"/>
              <a:gd name="csX50" fmla="*/ 99628 w 3437996"/>
              <a:gd name="csY50" fmla="*/ 231506 h 2018071"/>
              <a:gd name="csX51" fmla="*/ 182353 w 3437996"/>
              <a:gd name="csY51" fmla="*/ 229554 h 2018071"/>
              <a:gd name="csX52" fmla="*/ 185812 w 3437996"/>
              <a:gd name="csY52" fmla="*/ 231380 h 2018071"/>
              <a:gd name="csX53" fmla="*/ 213726 w 3437996"/>
              <a:gd name="csY53" fmla="*/ 239233 h 2018071"/>
              <a:gd name="csX54" fmla="*/ 416961 w 3437996"/>
              <a:gd name="csY54" fmla="*/ 299911 h 2018071"/>
              <a:gd name="csX55" fmla="*/ 622809 w 3437996"/>
              <a:gd name="csY55" fmla="*/ 305227 h 2018071"/>
              <a:gd name="csX56" fmla="*/ 1851374 w 3437996"/>
              <a:gd name="csY56" fmla="*/ 7502 h 2018071"/>
              <a:gd name="csX57" fmla="*/ 2119617 w 3437996"/>
              <a:gd name="csY57" fmla="*/ 86919 h 2018071"/>
              <a:gd name="csX58" fmla="*/ 2805452 w 3437996"/>
              <a:gd name="csY58" fmla="*/ 622669 h 2018071"/>
              <a:gd name="csX59" fmla="*/ 3047873 w 3437996"/>
              <a:gd name="csY59" fmla="*/ 889895 h 2018071"/>
              <a:gd name="csX60" fmla="*/ 3201337 w 3437996"/>
              <a:gd name="csY60" fmla="*/ 1065192 h 2018071"/>
              <a:gd name="csX61" fmla="*/ 3322212 w 3437996"/>
              <a:gd name="csY61" fmla="*/ 1262254 h 2018071"/>
              <a:gd name="csX62" fmla="*/ 3434603 w 3437996"/>
              <a:gd name="csY62" fmla="*/ 1463610 h 2018071"/>
              <a:gd name="csX63" fmla="*/ 3437317 w 3437996"/>
              <a:gd name="csY63" fmla="*/ 1496424 h 2018071"/>
              <a:gd name="csX64" fmla="*/ 3437173 w 3437996"/>
              <a:gd name="csY64" fmla="*/ 1502015 h 2018071"/>
              <a:gd name="csX65" fmla="*/ 3265778 w 3437996"/>
              <a:gd name="csY65" fmla="*/ 1437268 h 2018071"/>
              <a:gd name="csX66" fmla="*/ 3131933 w 3437996"/>
              <a:gd name="csY66" fmla="*/ 1283723 h 2018071"/>
              <a:gd name="csX67" fmla="*/ 2856351 w 3437996"/>
              <a:gd name="csY67" fmla="*/ 1004478 h 2018071"/>
              <a:gd name="csX68" fmla="*/ 2818150 w 3437996"/>
              <a:gd name="csY68" fmla="*/ 969213 h 2018071"/>
              <a:gd name="csX69" fmla="*/ 2654127 w 3437996"/>
              <a:gd name="csY69" fmla="*/ 825572 h 2018071"/>
              <a:gd name="csX70" fmla="*/ 2651783 w 3437996"/>
              <a:gd name="csY70" fmla="*/ 823279 h 2018071"/>
              <a:gd name="csX71" fmla="*/ 2644017 w 3437996"/>
              <a:gd name="csY71" fmla="*/ 814773 h 2018071"/>
              <a:gd name="csX72" fmla="*/ 2642551 w 3437996"/>
              <a:gd name="csY72" fmla="*/ 813746 h 2018071"/>
              <a:gd name="csX73" fmla="*/ 2634494 w 3437996"/>
              <a:gd name="csY73" fmla="*/ 805208 h 2018071"/>
              <a:gd name="csX74" fmla="*/ 2633053 w 3437996"/>
              <a:gd name="csY74" fmla="*/ 804210 h 2018071"/>
              <a:gd name="csX75" fmla="*/ 2624994 w 3437996"/>
              <a:gd name="csY75" fmla="*/ 795655 h 2018071"/>
              <a:gd name="csX76" fmla="*/ 2623570 w 3437996"/>
              <a:gd name="csY76" fmla="*/ 794675 h 2018071"/>
              <a:gd name="csX77" fmla="*/ 2615495 w 3437996"/>
              <a:gd name="csY77" fmla="*/ 786111 h 2018071"/>
              <a:gd name="csX78" fmla="*/ 2614082 w 3437996"/>
              <a:gd name="csY78" fmla="*/ 785113 h 2018071"/>
              <a:gd name="csX79" fmla="*/ 2606007 w 3437996"/>
              <a:gd name="csY79" fmla="*/ 776562 h 2018071"/>
              <a:gd name="csX80" fmla="*/ 2604609 w 3437996"/>
              <a:gd name="csY80" fmla="*/ 775538 h 2018071"/>
              <a:gd name="csX81" fmla="*/ 2596489 w 3437996"/>
              <a:gd name="csY81" fmla="*/ 767032 h 2018071"/>
              <a:gd name="csX82" fmla="*/ 2595095 w 3437996"/>
              <a:gd name="csY82" fmla="*/ 766006 h 2018071"/>
              <a:gd name="csX83" fmla="*/ 2586954 w 3437996"/>
              <a:gd name="csY83" fmla="*/ 757512 h 2018071"/>
              <a:gd name="csX84" fmla="*/ 2585558 w 3437996"/>
              <a:gd name="csY84" fmla="*/ 756496 h 2018071"/>
              <a:gd name="csX85" fmla="*/ 2577410 w 3437996"/>
              <a:gd name="csY85" fmla="*/ 748000 h 2018071"/>
              <a:gd name="csX86" fmla="*/ 2576006 w 3437996"/>
              <a:gd name="csY86" fmla="*/ 747002 h 2018071"/>
              <a:gd name="csX87" fmla="*/ 2567871 w 3437996"/>
              <a:gd name="csY87" fmla="*/ 738486 h 2018071"/>
              <a:gd name="csX88" fmla="*/ 2566459 w 3437996"/>
              <a:gd name="csY88" fmla="*/ 737499 h 2018071"/>
              <a:gd name="csX89" fmla="*/ 2558352 w 3437996"/>
              <a:gd name="csY89" fmla="*/ 728962 h 2018071"/>
              <a:gd name="csX90" fmla="*/ 2556937 w 3437996"/>
              <a:gd name="csY90" fmla="*/ 727967 h 2018071"/>
              <a:gd name="csX91" fmla="*/ 2548845 w 3437996"/>
              <a:gd name="csY91" fmla="*/ 719430 h 2018071"/>
              <a:gd name="csX92" fmla="*/ 2547432 w 3437996"/>
              <a:gd name="csY92" fmla="*/ 718414 h 2018071"/>
              <a:gd name="csX93" fmla="*/ 2539350 w 3437996"/>
              <a:gd name="csY93" fmla="*/ 709894 h 2018071"/>
              <a:gd name="csX94" fmla="*/ 2537942 w 3437996"/>
              <a:gd name="csY94" fmla="*/ 708842 h 2018071"/>
              <a:gd name="csX95" fmla="*/ 2529865 w 3437996"/>
              <a:gd name="csY95" fmla="*/ 700356 h 2018071"/>
              <a:gd name="csX96" fmla="*/ 2528460 w 3437996"/>
              <a:gd name="csY96" fmla="*/ 699259 h 2018071"/>
              <a:gd name="csX97" fmla="*/ 2520386 w 3437996"/>
              <a:gd name="csY97" fmla="*/ 690820 h 2018071"/>
              <a:gd name="csX98" fmla="*/ 2518981 w 3437996"/>
              <a:gd name="csY98" fmla="*/ 689668 h 2018071"/>
              <a:gd name="csX99" fmla="*/ 2510900 w 3437996"/>
              <a:gd name="csY99" fmla="*/ 681286 h 2018071"/>
              <a:gd name="csX100" fmla="*/ 2509493 w 3437996"/>
              <a:gd name="csY100" fmla="*/ 680082 h 2018071"/>
              <a:gd name="csX101" fmla="*/ 2501400 w 3437996"/>
              <a:gd name="csY101" fmla="*/ 671754 h 2018071"/>
              <a:gd name="csX102" fmla="*/ 2499991 w 3437996"/>
              <a:gd name="csY102" fmla="*/ 670520 h 2018071"/>
              <a:gd name="csX103" fmla="*/ 2491892 w 3437996"/>
              <a:gd name="csY103" fmla="*/ 662222 h 2018071"/>
              <a:gd name="csX104" fmla="*/ 2490482 w 3437996"/>
              <a:gd name="csY104" fmla="*/ 660967 h 2018071"/>
              <a:gd name="csX105" fmla="*/ 2482391 w 3437996"/>
              <a:gd name="csY105" fmla="*/ 652682 h 2018071"/>
              <a:gd name="csX106" fmla="*/ 2480984 w 3437996"/>
              <a:gd name="csY106" fmla="*/ 651408 h 2018071"/>
              <a:gd name="csX107" fmla="*/ 2472919 w 3437996"/>
              <a:gd name="csY107" fmla="*/ 643127 h 2018071"/>
              <a:gd name="csX108" fmla="*/ 2471515 w 3437996"/>
              <a:gd name="csY108" fmla="*/ 641819 h 2018071"/>
              <a:gd name="csX109" fmla="*/ 2463424 w 3437996"/>
              <a:gd name="csY109" fmla="*/ 633584 h 2018071"/>
              <a:gd name="csX110" fmla="*/ 2462020 w 3437996"/>
              <a:gd name="csY110" fmla="*/ 632257 h 2018071"/>
              <a:gd name="csX111" fmla="*/ 2453925 w 3437996"/>
              <a:gd name="csY111" fmla="*/ 624049 h 2018071"/>
              <a:gd name="csX112" fmla="*/ 2452516 w 3437996"/>
              <a:gd name="csY112" fmla="*/ 622702 h 2018071"/>
              <a:gd name="csX113" fmla="*/ 2444450 w 3437996"/>
              <a:gd name="csY113" fmla="*/ 614506 h 2018071"/>
              <a:gd name="csX114" fmla="*/ 2443026 w 3437996"/>
              <a:gd name="csY114" fmla="*/ 613123 h 2018071"/>
              <a:gd name="csX115" fmla="*/ 2434957 w 3437996"/>
              <a:gd name="csY115" fmla="*/ 604969 h 2018071"/>
              <a:gd name="csX116" fmla="*/ 2433519 w 3437996"/>
              <a:gd name="csY116" fmla="*/ 603563 h 2018071"/>
              <a:gd name="csX117" fmla="*/ 2425486 w 3437996"/>
              <a:gd name="csY117" fmla="*/ 595418 h 2018071"/>
              <a:gd name="csX118" fmla="*/ 2424029 w 3437996"/>
              <a:gd name="csY118" fmla="*/ 593985 h 2018071"/>
              <a:gd name="csX119" fmla="*/ 2416081 w 3437996"/>
              <a:gd name="csY119" fmla="*/ 585841 h 2018071"/>
              <a:gd name="csX120" fmla="*/ 2414563 w 3437996"/>
              <a:gd name="csY120" fmla="*/ 584358 h 2018071"/>
              <a:gd name="csX121" fmla="*/ 2406640 w 3437996"/>
              <a:gd name="csY121" fmla="*/ 576281 h 2018071"/>
              <a:gd name="csX122" fmla="*/ 2405068 w 3437996"/>
              <a:gd name="csY122" fmla="*/ 574761 h 2018071"/>
              <a:gd name="csX123" fmla="*/ 2397176 w 3437996"/>
              <a:gd name="csY123" fmla="*/ 566733 h 2018071"/>
              <a:gd name="csX124" fmla="*/ 2395561 w 3437996"/>
              <a:gd name="csY124" fmla="*/ 565186 h 2018071"/>
              <a:gd name="csX125" fmla="*/ 2387690 w 3437996"/>
              <a:gd name="csY125" fmla="*/ 557193 h 2018071"/>
              <a:gd name="csX126" fmla="*/ 2386050 w 3437996"/>
              <a:gd name="csY126" fmla="*/ 555624 h 2018071"/>
              <a:gd name="csX127" fmla="*/ 2378191 w 3437996"/>
              <a:gd name="csY127" fmla="*/ 547659 h 2018071"/>
              <a:gd name="csX128" fmla="*/ 2376534 w 3437996"/>
              <a:gd name="csY128" fmla="*/ 546075 h 2018071"/>
              <a:gd name="csX129" fmla="*/ 2368704 w 3437996"/>
              <a:gd name="csY129" fmla="*/ 538124 h 2018071"/>
              <a:gd name="csX130" fmla="*/ 2367021 w 3437996"/>
              <a:gd name="csY130" fmla="*/ 536517 h 2018071"/>
              <a:gd name="csX131" fmla="*/ 2360018 w 3437996"/>
              <a:gd name="csY131" fmla="*/ 529380 h 2018071"/>
              <a:gd name="csX132" fmla="*/ 2357514 w 3437996"/>
              <a:gd name="csY132" fmla="*/ 526933 h 2018071"/>
              <a:gd name="csX133" fmla="*/ 2350552 w 3437996"/>
              <a:gd name="csY133" fmla="*/ 519835 h 2018071"/>
              <a:gd name="csX134" fmla="*/ 2348016 w 3437996"/>
              <a:gd name="csY134" fmla="*/ 517342 h 2018071"/>
              <a:gd name="csX135" fmla="*/ 2341054 w 3437996"/>
              <a:gd name="csY135" fmla="*/ 510297 h 2018071"/>
              <a:gd name="csX136" fmla="*/ 2338508 w 3437996"/>
              <a:gd name="csY136" fmla="*/ 507777 h 2018071"/>
              <a:gd name="csX137" fmla="*/ 2331539 w 3437996"/>
              <a:gd name="csY137" fmla="*/ 500765 h 2018071"/>
              <a:gd name="csX138" fmla="*/ 2328991 w 3437996"/>
              <a:gd name="csY138" fmla="*/ 498236 h 2018071"/>
              <a:gd name="csX139" fmla="*/ 2322020 w 3437996"/>
              <a:gd name="csY139" fmla="*/ 491243 h 2018071"/>
              <a:gd name="csX140" fmla="*/ 2319465 w 3437996"/>
              <a:gd name="csY140" fmla="*/ 488702 h 2018071"/>
              <a:gd name="csX141" fmla="*/ 2312510 w 3437996"/>
              <a:gd name="csY141" fmla="*/ 481725 h 2018071"/>
              <a:gd name="csX142" fmla="*/ 2309941 w 3437996"/>
              <a:gd name="csY142" fmla="*/ 479158 h 2018071"/>
              <a:gd name="csX143" fmla="*/ 2303024 w 3437996"/>
              <a:gd name="csY143" fmla="*/ 472210 h 2018071"/>
              <a:gd name="csX144" fmla="*/ 2300428 w 3437996"/>
              <a:gd name="csY144" fmla="*/ 469578 h 2018071"/>
              <a:gd name="csX145" fmla="*/ 2293545 w 3437996"/>
              <a:gd name="csY145" fmla="*/ 462697 h 2018071"/>
              <a:gd name="csX146" fmla="*/ 2290922 w 3437996"/>
              <a:gd name="csY146" fmla="*/ 459984 h 2018071"/>
              <a:gd name="csX147" fmla="*/ 2284051 w 3437996"/>
              <a:gd name="csY147" fmla="*/ 453172 h 2018071"/>
              <a:gd name="csX148" fmla="*/ 2281414 w 3437996"/>
              <a:gd name="csY148" fmla="*/ 450403 h 2018071"/>
              <a:gd name="csX149" fmla="*/ 2274560 w 3437996"/>
              <a:gd name="csY149" fmla="*/ 443646 h 2018071"/>
              <a:gd name="csX150" fmla="*/ 2271906 w 3437996"/>
              <a:gd name="csY150" fmla="*/ 440826 h 2018071"/>
              <a:gd name="csX151" fmla="*/ 2265120 w 3437996"/>
              <a:gd name="csY151" fmla="*/ 434112 h 2018071"/>
              <a:gd name="csX152" fmla="*/ 2262409 w 3437996"/>
              <a:gd name="csY152" fmla="*/ 431189 h 2018071"/>
              <a:gd name="csX153" fmla="*/ 2255765 w 3437996"/>
              <a:gd name="csY153" fmla="*/ 424557 h 2018071"/>
              <a:gd name="csX154" fmla="*/ 2252962 w 3437996"/>
              <a:gd name="csY154" fmla="*/ 421458 h 2018071"/>
              <a:gd name="csX155" fmla="*/ 2246361 w 3437996"/>
              <a:gd name="csY155" fmla="*/ 414989 h 2018071"/>
              <a:gd name="csX156" fmla="*/ 2226101 w 3437996"/>
              <a:gd name="csY156" fmla="*/ 394472 h 2018071"/>
              <a:gd name="csX157" fmla="*/ 2204126 w 3437996"/>
              <a:gd name="csY157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98008 w 3437996"/>
              <a:gd name="csY48" fmla="*/ 233543 h 2018071"/>
              <a:gd name="csX49" fmla="*/ 99628 w 3437996"/>
              <a:gd name="csY49" fmla="*/ 231506 h 2018071"/>
              <a:gd name="csX50" fmla="*/ 182353 w 3437996"/>
              <a:gd name="csY50" fmla="*/ 229554 h 2018071"/>
              <a:gd name="csX51" fmla="*/ 185812 w 3437996"/>
              <a:gd name="csY51" fmla="*/ 231380 h 2018071"/>
              <a:gd name="csX52" fmla="*/ 213726 w 3437996"/>
              <a:gd name="csY52" fmla="*/ 239233 h 2018071"/>
              <a:gd name="csX53" fmla="*/ 416961 w 3437996"/>
              <a:gd name="csY53" fmla="*/ 299911 h 2018071"/>
              <a:gd name="csX54" fmla="*/ 622809 w 3437996"/>
              <a:gd name="csY54" fmla="*/ 305227 h 2018071"/>
              <a:gd name="csX55" fmla="*/ 1851374 w 3437996"/>
              <a:gd name="csY55" fmla="*/ 7502 h 2018071"/>
              <a:gd name="csX56" fmla="*/ 2119617 w 3437996"/>
              <a:gd name="csY56" fmla="*/ 86919 h 2018071"/>
              <a:gd name="csX57" fmla="*/ 2805452 w 3437996"/>
              <a:gd name="csY57" fmla="*/ 622669 h 2018071"/>
              <a:gd name="csX58" fmla="*/ 3047873 w 3437996"/>
              <a:gd name="csY58" fmla="*/ 889895 h 2018071"/>
              <a:gd name="csX59" fmla="*/ 3201337 w 3437996"/>
              <a:gd name="csY59" fmla="*/ 1065192 h 2018071"/>
              <a:gd name="csX60" fmla="*/ 3322212 w 3437996"/>
              <a:gd name="csY60" fmla="*/ 1262254 h 2018071"/>
              <a:gd name="csX61" fmla="*/ 3434603 w 3437996"/>
              <a:gd name="csY61" fmla="*/ 1463610 h 2018071"/>
              <a:gd name="csX62" fmla="*/ 3437317 w 3437996"/>
              <a:gd name="csY62" fmla="*/ 1496424 h 2018071"/>
              <a:gd name="csX63" fmla="*/ 3437173 w 3437996"/>
              <a:gd name="csY63" fmla="*/ 1502015 h 2018071"/>
              <a:gd name="csX64" fmla="*/ 3265778 w 3437996"/>
              <a:gd name="csY64" fmla="*/ 1437268 h 2018071"/>
              <a:gd name="csX65" fmla="*/ 3131933 w 3437996"/>
              <a:gd name="csY65" fmla="*/ 1283723 h 2018071"/>
              <a:gd name="csX66" fmla="*/ 2856351 w 3437996"/>
              <a:gd name="csY66" fmla="*/ 1004478 h 2018071"/>
              <a:gd name="csX67" fmla="*/ 2818150 w 3437996"/>
              <a:gd name="csY67" fmla="*/ 969213 h 2018071"/>
              <a:gd name="csX68" fmla="*/ 2654127 w 3437996"/>
              <a:gd name="csY68" fmla="*/ 825572 h 2018071"/>
              <a:gd name="csX69" fmla="*/ 2651783 w 3437996"/>
              <a:gd name="csY69" fmla="*/ 823279 h 2018071"/>
              <a:gd name="csX70" fmla="*/ 2644017 w 3437996"/>
              <a:gd name="csY70" fmla="*/ 814773 h 2018071"/>
              <a:gd name="csX71" fmla="*/ 2642551 w 3437996"/>
              <a:gd name="csY71" fmla="*/ 813746 h 2018071"/>
              <a:gd name="csX72" fmla="*/ 2634494 w 3437996"/>
              <a:gd name="csY72" fmla="*/ 805208 h 2018071"/>
              <a:gd name="csX73" fmla="*/ 2633053 w 3437996"/>
              <a:gd name="csY73" fmla="*/ 804210 h 2018071"/>
              <a:gd name="csX74" fmla="*/ 2624994 w 3437996"/>
              <a:gd name="csY74" fmla="*/ 795655 h 2018071"/>
              <a:gd name="csX75" fmla="*/ 2623570 w 3437996"/>
              <a:gd name="csY75" fmla="*/ 794675 h 2018071"/>
              <a:gd name="csX76" fmla="*/ 2615495 w 3437996"/>
              <a:gd name="csY76" fmla="*/ 786111 h 2018071"/>
              <a:gd name="csX77" fmla="*/ 2614082 w 3437996"/>
              <a:gd name="csY77" fmla="*/ 785113 h 2018071"/>
              <a:gd name="csX78" fmla="*/ 2606007 w 3437996"/>
              <a:gd name="csY78" fmla="*/ 776562 h 2018071"/>
              <a:gd name="csX79" fmla="*/ 2604609 w 3437996"/>
              <a:gd name="csY79" fmla="*/ 775538 h 2018071"/>
              <a:gd name="csX80" fmla="*/ 2596489 w 3437996"/>
              <a:gd name="csY80" fmla="*/ 767032 h 2018071"/>
              <a:gd name="csX81" fmla="*/ 2595095 w 3437996"/>
              <a:gd name="csY81" fmla="*/ 766006 h 2018071"/>
              <a:gd name="csX82" fmla="*/ 2586954 w 3437996"/>
              <a:gd name="csY82" fmla="*/ 757512 h 2018071"/>
              <a:gd name="csX83" fmla="*/ 2585558 w 3437996"/>
              <a:gd name="csY83" fmla="*/ 756496 h 2018071"/>
              <a:gd name="csX84" fmla="*/ 2577410 w 3437996"/>
              <a:gd name="csY84" fmla="*/ 748000 h 2018071"/>
              <a:gd name="csX85" fmla="*/ 2576006 w 3437996"/>
              <a:gd name="csY85" fmla="*/ 747002 h 2018071"/>
              <a:gd name="csX86" fmla="*/ 2567871 w 3437996"/>
              <a:gd name="csY86" fmla="*/ 738486 h 2018071"/>
              <a:gd name="csX87" fmla="*/ 2566459 w 3437996"/>
              <a:gd name="csY87" fmla="*/ 737499 h 2018071"/>
              <a:gd name="csX88" fmla="*/ 2558352 w 3437996"/>
              <a:gd name="csY88" fmla="*/ 728962 h 2018071"/>
              <a:gd name="csX89" fmla="*/ 2556937 w 3437996"/>
              <a:gd name="csY89" fmla="*/ 727967 h 2018071"/>
              <a:gd name="csX90" fmla="*/ 2548845 w 3437996"/>
              <a:gd name="csY90" fmla="*/ 719430 h 2018071"/>
              <a:gd name="csX91" fmla="*/ 2547432 w 3437996"/>
              <a:gd name="csY91" fmla="*/ 718414 h 2018071"/>
              <a:gd name="csX92" fmla="*/ 2539350 w 3437996"/>
              <a:gd name="csY92" fmla="*/ 709894 h 2018071"/>
              <a:gd name="csX93" fmla="*/ 2537942 w 3437996"/>
              <a:gd name="csY93" fmla="*/ 708842 h 2018071"/>
              <a:gd name="csX94" fmla="*/ 2529865 w 3437996"/>
              <a:gd name="csY94" fmla="*/ 700356 h 2018071"/>
              <a:gd name="csX95" fmla="*/ 2528460 w 3437996"/>
              <a:gd name="csY95" fmla="*/ 699259 h 2018071"/>
              <a:gd name="csX96" fmla="*/ 2520386 w 3437996"/>
              <a:gd name="csY96" fmla="*/ 690820 h 2018071"/>
              <a:gd name="csX97" fmla="*/ 2518981 w 3437996"/>
              <a:gd name="csY97" fmla="*/ 689668 h 2018071"/>
              <a:gd name="csX98" fmla="*/ 2510900 w 3437996"/>
              <a:gd name="csY98" fmla="*/ 681286 h 2018071"/>
              <a:gd name="csX99" fmla="*/ 2509493 w 3437996"/>
              <a:gd name="csY99" fmla="*/ 680082 h 2018071"/>
              <a:gd name="csX100" fmla="*/ 2501400 w 3437996"/>
              <a:gd name="csY100" fmla="*/ 671754 h 2018071"/>
              <a:gd name="csX101" fmla="*/ 2499991 w 3437996"/>
              <a:gd name="csY101" fmla="*/ 670520 h 2018071"/>
              <a:gd name="csX102" fmla="*/ 2491892 w 3437996"/>
              <a:gd name="csY102" fmla="*/ 662222 h 2018071"/>
              <a:gd name="csX103" fmla="*/ 2490482 w 3437996"/>
              <a:gd name="csY103" fmla="*/ 660967 h 2018071"/>
              <a:gd name="csX104" fmla="*/ 2482391 w 3437996"/>
              <a:gd name="csY104" fmla="*/ 652682 h 2018071"/>
              <a:gd name="csX105" fmla="*/ 2480984 w 3437996"/>
              <a:gd name="csY105" fmla="*/ 651408 h 2018071"/>
              <a:gd name="csX106" fmla="*/ 2472919 w 3437996"/>
              <a:gd name="csY106" fmla="*/ 643127 h 2018071"/>
              <a:gd name="csX107" fmla="*/ 2471515 w 3437996"/>
              <a:gd name="csY107" fmla="*/ 641819 h 2018071"/>
              <a:gd name="csX108" fmla="*/ 2463424 w 3437996"/>
              <a:gd name="csY108" fmla="*/ 633584 h 2018071"/>
              <a:gd name="csX109" fmla="*/ 2462020 w 3437996"/>
              <a:gd name="csY109" fmla="*/ 632257 h 2018071"/>
              <a:gd name="csX110" fmla="*/ 2453925 w 3437996"/>
              <a:gd name="csY110" fmla="*/ 624049 h 2018071"/>
              <a:gd name="csX111" fmla="*/ 2452516 w 3437996"/>
              <a:gd name="csY111" fmla="*/ 622702 h 2018071"/>
              <a:gd name="csX112" fmla="*/ 2444450 w 3437996"/>
              <a:gd name="csY112" fmla="*/ 614506 h 2018071"/>
              <a:gd name="csX113" fmla="*/ 2443026 w 3437996"/>
              <a:gd name="csY113" fmla="*/ 613123 h 2018071"/>
              <a:gd name="csX114" fmla="*/ 2434957 w 3437996"/>
              <a:gd name="csY114" fmla="*/ 604969 h 2018071"/>
              <a:gd name="csX115" fmla="*/ 2433519 w 3437996"/>
              <a:gd name="csY115" fmla="*/ 603563 h 2018071"/>
              <a:gd name="csX116" fmla="*/ 2425486 w 3437996"/>
              <a:gd name="csY116" fmla="*/ 595418 h 2018071"/>
              <a:gd name="csX117" fmla="*/ 2424029 w 3437996"/>
              <a:gd name="csY117" fmla="*/ 593985 h 2018071"/>
              <a:gd name="csX118" fmla="*/ 2416081 w 3437996"/>
              <a:gd name="csY118" fmla="*/ 585841 h 2018071"/>
              <a:gd name="csX119" fmla="*/ 2414563 w 3437996"/>
              <a:gd name="csY119" fmla="*/ 584358 h 2018071"/>
              <a:gd name="csX120" fmla="*/ 2406640 w 3437996"/>
              <a:gd name="csY120" fmla="*/ 576281 h 2018071"/>
              <a:gd name="csX121" fmla="*/ 2405068 w 3437996"/>
              <a:gd name="csY121" fmla="*/ 574761 h 2018071"/>
              <a:gd name="csX122" fmla="*/ 2397176 w 3437996"/>
              <a:gd name="csY122" fmla="*/ 566733 h 2018071"/>
              <a:gd name="csX123" fmla="*/ 2395561 w 3437996"/>
              <a:gd name="csY123" fmla="*/ 565186 h 2018071"/>
              <a:gd name="csX124" fmla="*/ 2387690 w 3437996"/>
              <a:gd name="csY124" fmla="*/ 557193 h 2018071"/>
              <a:gd name="csX125" fmla="*/ 2386050 w 3437996"/>
              <a:gd name="csY125" fmla="*/ 555624 h 2018071"/>
              <a:gd name="csX126" fmla="*/ 2378191 w 3437996"/>
              <a:gd name="csY126" fmla="*/ 547659 h 2018071"/>
              <a:gd name="csX127" fmla="*/ 2376534 w 3437996"/>
              <a:gd name="csY127" fmla="*/ 546075 h 2018071"/>
              <a:gd name="csX128" fmla="*/ 2368704 w 3437996"/>
              <a:gd name="csY128" fmla="*/ 538124 h 2018071"/>
              <a:gd name="csX129" fmla="*/ 2367021 w 3437996"/>
              <a:gd name="csY129" fmla="*/ 536517 h 2018071"/>
              <a:gd name="csX130" fmla="*/ 2360018 w 3437996"/>
              <a:gd name="csY130" fmla="*/ 529380 h 2018071"/>
              <a:gd name="csX131" fmla="*/ 2357514 w 3437996"/>
              <a:gd name="csY131" fmla="*/ 526933 h 2018071"/>
              <a:gd name="csX132" fmla="*/ 2350552 w 3437996"/>
              <a:gd name="csY132" fmla="*/ 519835 h 2018071"/>
              <a:gd name="csX133" fmla="*/ 2348016 w 3437996"/>
              <a:gd name="csY133" fmla="*/ 517342 h 2018071"/>
              <a:gd name="csX134" fmla="*/ 2341054 w 3437996"/>
              <a:gd name="csY134" fmla="*/ 510297 h 2018071"/>
              <a:gd name="csX135" fmla="*/ 2338508 w 3437996"/>
              <a:gd name="csY135" fmla="*/ 507777 h 2018071"/>
              <a:gd name="csX136" fmla="*/ 2331539 w 3437996"/>
              <a:gd name="csY136" fmla="*/ 500765 h 2018071"/>
              <a:gd name="csX137" fmla="*/ 2328991 w 3437996"/>
              <a:gd name="csY137" fmla="*/ 498236 h 2018071"/>
              <a:gd name="csX138" fmla="*/ 2322020 w 3437996"/>
              <a:gd name="csY138" fmla="*/ 491243 h 2018071"/>
              <a:gd name="csX139" fmla="*/ 2319465 w 3437996"/>
              <a:gd name="csY139" fmla="*/ 488702 h 2018071"/>
              <a:gd name="csX140" fmla="*/ 2312510 w 3437996"/>
              <a:gd name="csY140" fmla="*/ 481725 h 2018071"/>
              <a:gd name="csX141" fmla="*/ 2309941 w 3437996"/>
              <a:gd name="csY141" fmla="*/ 479158 h 2018071"/>
              <a:gd name="csX142" fmla="*/ 2303024 w 3437996"/>
              <a:gd name="csY142" fmla="*/ 472210 h 2018071"/>
              <a:gd name="csX143" fmla="*/ 2300428 w 3437996"/>
              <a:gd name="csY143" fmla="*/ 469578 h 2018071"/>
              <a:gd name="csX144" fmla="*/ 2293545 w 3437996"/>
              <a:gd name="csY144" fmla="*/ 462697 h 2018071"/>
              <a:gd name="csX145" fmla="*/ 2290922 w 3437996"/>
              <a:gd name="csY145" fmla="*/ 459984 h 2018071"/>
              <a:gd name="csX146" fmla="*/ 2284051 w 3437996"/>
              <a:gd name="csY146" fmla="*/ 453172 h 2018071"/>
              <a:gd name="csX147" fmla="*/ 2281414 w 3437996"/>
              <a:gd name="csY147" fmla="*/ 450403 h 2018071"/>
              <a:gd name="csX148" fmla="*/ 2274560 w 3437996"/>
              <a:gd name="csY148" fmla="*/ 443646 h 2018071"/>
              <a:gd name="csX149" fmla="*/ 2271906 w 3437996"/>
              <a:gd name="csY149" fmla="*/ 440826 h 2018071"/>
              <a:gd name="csX150" fmla="*/ 2265120 w 3437996"/>
              <a:gd name="csY150" fmla="*/ 434112 h 2018071"/>
              <a:gd name="csX151" fmla="*/ 2262409 w 3437996"/>
              <a:gd name="csY151" fmla="*/ 431189 h 2018071"/>
              <a:gd name="csX152" fmla="*/ 2255765 w 3437996"/>
              <a:gd name="csY152" fmla="*/ 424557 h 2018071"/>
              <a:gd name="csX153" fmla="*/ 2252962 w 3437996"/>
              <a:gd name="csY153" fmla="*/ 421458 h 2018071"/>
              <a:gd name="csX154" fmla="*/ 2246361 w 3437996"/>
              <a:gd name="csY154" fmla="*/ 414989 h 2018071"/>
              <a:gd name="csX155" fmla="*/ 2226101 w 3437996"/>
              <a:gd name="csY155" fmla="*/ 394472 h 2018071"/>
              <a:gd name="csX156" fmla="*/ 2204126 w 3437996"/>
              <a:gd name="csY156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98008 w 3437996"/>
              <a:gd name="csY48" fmla="*/ 233543 h 2018071"/>
              <a:gd name="csX49" fmla="*/ 99628 w 3437996"/>
              <a:gd name="csY49" fmla="*/ 231506 h 2018071"/>
              <a:gd name="csX50" fmla="*/ 182353 w 3437996"/>
              <a:gd name="csY50" fmla="*/ 229554 h 2018071"/>
              <a:gd name="csX51" fmla="*/ 213726 w 3437996"/>
              <a:gd name="csY51" fmla="*/ 239233 h 2018071"/>
              <a:gd name="csX52" fmla="*/ 416961 w 3437996"/>
              <a:gd name="csY52" fmla="*/ 299911 h 2018071"/>
              <a:gd name="csX53" fmla="*/ 622809 w 3437996"/>
              <a:gd name="csY53" fmla="*/ 305227 h 2018071"/>
              <a:gd name="csX54" fmla="*/ 1851374 w 3437996"/>
              <a:gd name="csY54" fmla="*/ 7502 h 2018071"/>
              <a:gd name="csX55" fmla="*/ 2119617 w 3437996"/>
              <a:gd name="csY55" fmla="*/ 86919 h 2018071"/>
              <a:gd name="csX56" fmla="*/ 2805452 w 3437996"/>
              <a:gd name="csY56" fmla="*/ 622669 h 2018071"/>
              <a:gd name="csX57" fmla="*/ 3047873 w 3437996"/>
              <a:gd name="csY57" fmla="*/ 889895 h 2018071"/>
              <a:gd name="csX58" fmla="*/ 3201337 w 3437996"/>
              <a:gd name="csY58" fmla="*/ 1065192 h 2018071"/>
              <a:gd name="csX59" fmla="*/ 3322212 w 3437996"/>
              <a:gd name="csY59" fmla="*/ 1262254 h 2018071"/>
              <a:gd name="csX60" fmla="*/ 3434603 w 3437996"/>
              <a:gd name="csY60" fmla="*/ 1463610 h 2018071"/>
              <a:gd name="csX61" fmla="*/ 3437317 w 3437996"/>
              <a:gd name="csY61" fmla="*/ 1496424 h 2018071"/>
              <a:gd name="csX62" fmla="*/ 3437173 w 3437996"/>
              <a:gd name="csY62" fmla="*/ 1502015 h 2018071"/>
              <a:gd name="csX63" fmla="*/ 3265778 w 3437996"/>
              <a:gd name="csY63" fmla="*/ 1437268 h 2018071"/>
              <a:gd name="csX64" fmla="*/ 3131933 w 3437996"/>
              <a:gd name="csY64" fmla="*/ 1283723 h 2018071"/>
              <a:gd name="csX65" fmla="*/ 2856351 w 3437996"/>
              <a:gd name="csY65" fmla="*/ 1004478 h 2018071"/>
              <a:gd name="csX66" fmla="*/ 2818150 w 3437996"/>
              <a:gd name="csY66" fmla="*/ 969213 h 2018071"/>
              <a:gd name="csX67" fmla="*/ 2654127 w 3437996"/>
              <a:gd name="csY67" fmla="*/ 825572 h 2018071"/>
              <a:gd name="csX68" fmla="*/ 2651783 w 3437996"/>
              <a:gd name="csY68" fmla="*/ 823279 h 2018071"/>
              <a:gd name="csX69" fmla="*/ 2644017 w 3437996"/>
              <a:gd name="csY69" fmla="*/ 814773 h 2018071"/>
              <a:gd name="csX70" fmla="*/ 2642551 w 3437996"/>
              <a:gd name="csY70" fmla="*/ 813746 h 2018071"/>
              <a:gd name="csX71" fmla="*/ 2634494 w 3437996"/>
              <a:gd name="csY71" fmla="*/ 805208 h 2018071"/>
              <a:gd name="csX72" fmla="*/ 2633053 w 3437996"/>
              <a:gd name="csY72" fmla="*/ 804210 h 2018071"/>
              <a:gd name="csX73" fmla="*/ 2624994 w 3437996"/>
              <a:gd name="csY73" fmla="*/ 795655 h 2018071"/>
              <a:gd name="csX74" fmla="*/ 2623570 w 3437996"/>
              <a:gd name="csY74" fmla="*/ 794675 h 2018071"/>
              <a:gd name="csX75" fmla="*/ 2615495 w 3437996"/>
              <a:gd name="csY75" fmla="*/ 786111 h 2018071"/>
              <a:gd name="csX76" fmla="*/ 2614082 w 3437996"/>
              <a:gd name="csY76" fmla="*/ 785113 h 2018071"/>
              <a:gd name="csX77" fmla="*/ 2606007 w 3437996"/>
              <a:gd name="csY77" fmla="*/ 776562 h 2018071"/>
              <a:gd name="csX78" fmla="*/ 2604609 w 3437996"/>
              <a:gd name="csY78" fmla="*/ 775538 h 2018071"/>
              <a:gd name="csX79" fmla="*/ 2596489 w 3437996"/>
              <a:gd name="csY79" fmla="*/ 767032 h 2018071"/>
              <a:gd name="csX80" fmla="*/ 2595095 w 3437996"/>
              <a:gd name="csY80" fmla="*/ 766006 h 2018071"/>
              <a:gd name="csX81" fmla="*/ 2586954 w 3437996"/>
              <a:gd name="csY81" fmla="*/ 757512 h 2018071"/>
              <a:gd name="csX82" fmla="*/ 2585558 w 3437996"/>
              <a:gd name="csY82" fmla="*/ 756496 h 2018071"/>
              <a:gd name="csX83" fmla="*/ 2577410 w 3437996"/>
              <a:gd name="csY83" fmla="*/ 748000 h 2018071"/>
              <a:gd name="csX84" fmla="*/ 2576006 w 3437996"/>
              <a:gd name="csY84" fmla="*/ 747002 h 2018071"/>
              <a:gd name="csX85" fmla="*/ 2567871 w 3437996"/>
              <a:gd name="csY85" fmla="*/ 738486 h 2018071"/>
              <a:gd name="csX86" fmla="*/ 2566459 w 3437996"/>
              <a:gd name="csY86" fmla="*/ 737499 h 2018071"/>
              <a:gd name="csX87" fmla="*/ 2558352 w 3437996"/>
              <a:gd name="csY87" fmla="*/ 728962 h 2018071"/>
              <a:gd name="csX88" fmla="*/ 2556937 w 3437996"/>
              <a:gd name="csY88" fmla="*/ 727967 h 2018071"/>
              <a:gd name="csX89" fmla="*/ 2548845 w 3437996"/>
              <a:gd name="csY89" fmla="*/ 719430 h 2018071"/>
              <a:gd name="csX90" fmla="*/ 2547432 w 3437996"/>
              <a:gd name="csY90" fmla="*/ 718414 h 2018071"/>
              <a:gd name="csX91" fmla="*/ 2539350 w 3437996"/>
              <a:gd name="csY91" fmla="*/ 709894 h 2018071"/>
              <a:gd name="csX92" fmla="*/ 2537942 w 3437996"/>
              <a:gd name="csY92" fmla="*/ 708842 h 2018071"/>
              <a:gd name="csX93" fmla="*/ 2529865 w 3437996"/>
              <a:gd name="csY93" fmla="*/ 700356 h 2018071"/>
              <a:gd name="csX94" fmla="*/ 2528460 w 3437996"/>
              <a:gd name="csY94" fmla="*/ 699259 h 2018071"/>
              <a:gd name="csX95" fmla="*/ 2520386 w 3437996"/>
              <a:gd name="csY95" fmla="*/ 690820 h 2018071"/>
              <a:gd name="csX96" fmla="*/ 2518981 w 3437996"/>
              <a:gd name="csY96" fmla="*/ 689668 h 2018071"/>
              <a:gd name="csX97" fmla="*/ 2510900 w 3437996"/>
              <a:gd name="csY97" fmla="*/ 681286 h 2018071"/>
              <a:gd name="csX98" fmla="*/ 2509493 w 3437996"/>
              <a:gd name="csY98" fmla="*/ 680082 h 2018071"/>
              <a:gd name="csX99" fmla="*/ 2501400 w 3437996"/>
              <a:gd name="csY99" fmla="*/ 671754 h 2018071"/>
              <a:gd name="csX100" fmla="*/ 2499991 w 3437996"/>
              <a:gd name="csY100" fmla="*/ 670520 h 2018071"/>
              <a:gd name="csX101" fmla="*/ 2491892 w 3437996"/>
              <a:gd name="csY101" fmla="*/ 662222 h 2018071"/>
              <a:gd name="csX102" fmla="*/ 2490482 w 3437996"/>
              <a:gd name="csY102" fmla="*/ 660967 h 2018071"/>
              <a:gd name="csX103" fmla="*/ 2482391 w 3437996"/>
              <a:gd name="csY103" fmla="*/ 652682 h 2018071"/>
              <a:gd name="csX104" fmla="*/ 2480984 w 3437996"/>
              <a:gd name="csY104" fmla="*/ 651408 h 2018071"/>
              <a:gd name="csX105" fmla="*/ 2472919 w 3437996"/>
              <a:gd name="csY105" fmla="*/ 643127 h 2018071"/>
              <a:gd name="csX106" fmla="*/ 2471515 w 3437996"/>
              <a:gd name="csY106" fmla="*/ 641819 h 2018071"/>
              <a:gd name="csX107" fmla="*/ 2463424 w 3437996"/>
              <a:gd name="csY107" fmla="*/ 633584 h 2018071"/>
              <a:gd name="csX108" fmla="*/ 2462020 w 3437996"/>
              <a:gd name="csY108" fmla="*/ 632257 h 2018071"/>
              <a:gd name="csX109" fmla="*/ 2453925 w 3437996"/>
              <a:gd name="csY109" fmla="*/ 624049 h 2018071"/>
              <a:gd name="csX110" fmla="*/ 2452516 w 3437996"/>
              <a:gd name="csY110" fmla="*/ 622702 h 2018071"/>
              <a:gd name="csX111" fmla="*/ 2444450 w 3437996"/>
              <a:gd name="csY111" fmla="*/ 614506 h 2018071"/>
              <a:gd name="csX112" fmla="*/ 2443026 w 3437996"/>
              <a:gd name="csY112" fmla="*/ 613123 h 2018071"/>
              <a:gd name="csX113" fmla="*/ 2434957 w 3437996"/>
              <a:gd name="csY113" fmla="*/ 604969 h 2018071"/>
              <a:gd name="csX114" fmla="*/ 2433519 w 3437996"/>
              <a:gd name="csY114" fmla="*/ 603563 h 2018071"/>
              <a:gd name="csX115" fmla="*/ 2425486 w 3437996"/>
              <a:gd name="csY115" fmla="*/ 595418 h 2018071"/>
              <a:gd name="csX116" fmla="*/ 2424029 w 3437996"/>
              <a:gd name="csY116" fmla="*/ 593985 h 2018071"/>
              <a:gd name="csX117" fmla="*/ 2416081 w 3437996"/>
              <a:gd name="csY117" fmla="*/ 585841 h 2018071"/>
              <a:gd name="csX118" fmla="*/ 2414563 w 3437996"/>
              <a:gd name="csY118" fmla="*/ 584358 h 2018071"/>
              <a:gd name="csX119" fmla="*/ 2406640 w 3437996"/>
              <a:gd name="csY119" fmla="*/ 576281 h 2018071"/>
              <a:gd name="csX120" fmla="*/ 2405068 w 3437996"/>
              <a:gd name="csY120" fmla="*/ 574761 h 2018071"/>
              <a:gd name="csX121" fmla="*/ 2397176 w 3437996"/>
              <a:gd name="csY121" fmla="*/ 566733 h 2018071"/>
              <a:gd name="csX122" fmla="*/ 2395561 w 3437996"/>
              <a:gd name="csY122" fmla="*/ 565186 h 2018071"/>
              <a:gd name="csX123" fmla="*/ 2387690 w 3437996"/>
              <a:gd name="csY123" fmla="*/ 557193 h 2018071"/>
              <a:gd name="csX124" fmla="*/ 2386050 w 3437996"/>
              <a:gd name="csY124" fmla="*/ 555624 h 2018071"/>
              <a:gd name="csX125" fmla="*/ 2378191 w 3437996"/>
              <a:gd name="csY125" fmla="*/ 547659 h 2018071"/>
              <a:gd name="csX126" fmla="*/ 2376534 w 3437996"/>
              <a:gd name="csY126" fmla="*/ 546075 h 2018071"/>
              <a:gd name="csX127" fmla="*/ 2368704 w 3437996"/>
              <a:gd name="csY127" fmla="*/ 538124 h 2018071"/>
              <a:gd name="csX128" fmla="*/ 2367021 w 3437996"/>
              <a:gd name="csY128" fmla="*/ 536517 h 2018071"/>
              <a:gd name="csX129" fmla="*/ 2360018 w 3437996"/>
              <a:gd name="csY129" fmla="*/ 529380 h 2018071"/>
              <a:gd name="csX130" fmla="*/ 2357514 w 3437996"/>
              <a:gd name="csY130" fmla="*/ 526933 h 2018071"/>
              <a:gd name="csX131" fmla="*/ 2350552 w 3437996"/>
              <a:gd name="csY131" fmla="*/ 519835 h 2018071"/>
              <a:gd name="csX132" fmla="*/ 2348016 w 3437996"/>
              <a:gd name="csY132" fmla="*/ 517342 h 2018071"/>
              <a:gd name="csX133" fmla="*/ 2341054 w 3437996"/>
              <a:gd name="csY133" fmla="*/ 510297 h 2018071"/>
              <a:gd name="csX134" fmla="*/ 2338508 w 3437996"/>
              <a:gd name="csY134" fmla="*/ 507777 h 2018071"/>
              <a:gd name="csX135" fmla="*/ 2331539 w 3437996"/>
              <a:gd name="csY135" fmla="*/ 500765 h 2018071"/>
              <a:gd name="csX136" fmla="*/ 2328991 w 3437996"/>
              <a:gd name="csY136" fmla="*/ 498236 h 2018071"/>
              <a:gd name="csX137" fmla="*/ 2322020 w 3437996"/>
              <a:gd name="csY137" fmla="*/ 491243 h 2018071"/>
              <a:gd name="csX138" fmla="*/ 2319465 w 3437996"/>
              <a:gd name="csY138" fmla="*/ 488702 h 2018071"/>
              <a:gd name="csX139" fmla="*/ 2312510 w 3437996"/>
              <a:gd name="csY139" fmla="*/ 481725 h 2018071"/>
              <a:gd name="csX140" fmla="*/ 2309941 w 3437996"/>
              <a:gd name="csY140" fmla="*/ 479158 h 2018071"/>
              <a:gd name="csX141" fmla="*/ 2303024 w 3437996"/>
              <a:gd name="csY141" fmla="*/ 472210 h 2018071"/>
              <a:gd name="csX142" fmla="*/ 2300428 w 3437996"/>
              <a:gd name="csY142" fmla="*/ 469578 h 2018071"/>
              <a:gd name="csX143" fmla="*/ 2293545 w 3437996"/>
              <a:gd name="csY143" fmla="*/ 462697 h 2018071"/>
              <a:gd name="csX144" fmla="*/ 2290922 w 3437996"/>
              <a:gd name="csY144" fmla="*/ 459984 h 2018071"/>
              <a:gd name="csX145" fmla="*/ 2284051 w 3437996"/>
              <a:gd name="csY145" fmla="*/ 453172 h 2018071"/>
              <a:gd name="csX146" fmla="*/ 2281414 w 3437996"/>
              <a:gd name="csY146" fmla="*/ 450403 h 2018071"/>
              <a:gd name="csX147" fmla="*/ 2274560 w 3437996"/>
              <a:gd name="csY147" fmla="*/ 443646 h 2018071"/>
              <a:gd name="csX148" fmla="*/ 2271906 w 3437996"/>
              <a:gd name="csY148" fmla="*/ 440826 h 2018071"/>
              <a:gd name="csX149" fmla="*/ 2265120 w 3437996"/>
              <a:gd name="csY149" fmla="*/ 434112 h 2018071"/>
              <a:gd name="csX150" fmla="*/ 2262409 w 3437996"/>
              <a:gd name="csY150" fmla="*/ 431189 h 2018071"/>
              <a:gd name="csX151" fmla="*/ 2255765 w 3437996"/>
              <a:gd name="csY151" fmla="*/ 424557 h 2018071"/>
              <a:gd name="csX152" fmla="*/ 2252962 w 3437996"/>
              <a:gd name="csY152" fmla="*/ 421458 h 2018071"/>
              <a:gd name="csX153" fmla="*/ 2246361 w 3437996"/>
              <a:gd name="csY153" fmla="*/ 414989 h 2018071"/>
              <a:gd name="csX154" fmla="*/ 2226101 w 3437996"/>
              <a:gd name="csY154" fmla="*/ 394472 h 2018071"/>
              <a:gd name="csX155" fmla="*/ 2204126 w 3437996"/>
              <a:gd name="csY155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98008 w 3437996"/>
              <a:gd name="csY48" fmla="*/ 233543 h 2018071"/>
              <a:gd name="csX49" fmla="*/ 182353 w 3437996"/>
              <a:gd name="csY49" fmla="*/ 229554 h 2018071"/>
              <a:gd name="csX50" fmla="*/ 213726 w 3437996"/>
              <a:gd name="csY50" fmla="*/ 239233 h 2018071"/>
              <a:gd name="csX51" fmla="*/ 416961 w 3437996"/>
              <a:gd name="csY51" fmla="*/ 299911 h 2018071"/>
              <a:gd name="csX52" fmla="*/ 622809 w 3437996"/>
              <a:gd name="csY52" fmla="*/ 305227 h 2018071"/>
              <a:gd name="csX53" fmla="*/ 1851374 w 3437996"/>
              <a:gd name="csY53" fmla="*/ 7502 h 2018071"/>
              <a:gd name="csX54" fmla="*/ 2119617 w 3437996"/>
              <a:gd name="csY54" fmla="*/ 86919 h 2018071"/>
              <a:gd name="csX55" fmla="*/ 2805452 w 3437996"/>
              <a:gd name="csY55" fmla="*/ 622669 h 2018071"/>
              <a:gd name="csX56" fmla="*/ 3047873 w 3437996"/>
              <a:gd name="csY56" fmla="*/ 889895 h 2018071"/>
              <a:gd name="csX57" fmla="*/ 3201337 w 3437996"/>
              <a:gd name="csY57" fmla="*/ 1065192 h 2018071"/>
              <a:gd name="csX58" fmla="*/ 3322212 w 3437996"/>
              <a:gd name="csY58" fmla="*/ 1262254 h 2018071"/>
              <a:gd name="csX59" fmla="*/ 3434603 w 3437996"/>
              <a:gd name="csY59" fmla="*/ 1463610 h 2018071"/>
              <a:gd name="csX60" fmla="*/ 3437317 w 3437996"/>
              <a:gd name="csY60" fmla="*/ 1496424 h 2018071"/>
              <a:gd name="csX61" fmla="*/ 3437173 w 3437996"/>
              <a:gd name="csY61" fmla="*/ 1502015 h 2018071"/>
              <a:gd name="csX62" fmla="*/ 3265778 w 3437996"/>
              <a:gd name="csY62" fmla="*/ 1437268 h 2018071"/>
              <a:gd name="csX63" fmla="*/ 3131933 w 3437996"/>
              <a:gd name="csY63" fmla="*/ 1283723 h 2018071"/>
              <a:gd name="csX64" fmla="*/ 2856351 w 3437996"/>
              <a:gd name="csY64" fmla="*/ 1004478 h 2018071"/>
              <a:gd name="csX65" fmla="*/ 2818150 w 3437996"/>
              <a:gd name="csY65" fmla="*/ 969213 h 2018071"/>
              <a:gd name="csX66" fmla="*/ 2654127 w 3437996"/>
              <a:gd name="csY66" fmla="*/ 825572 h 2018071"/>
              <a:gd name="csX67" fmla="*/ 2651783 w 3437996"/>
              <a:gd name="csY67" fmla="*/ 823279 h 2018071"/>
              <a:gd name="csX68" fmla="*/ 2644017 w 3437996"/>
              <a:gd name="csY68" fmla="*/ 814773 h 2018071"/>
              <a:gd name="csX69" fmla="*/ 2642551 w 3437996"/>
              <a:gd name="csY69" fmla="*/ 813746 h 2018071"/>
              <a:gd name="csX70" fmla="*/ 2634494 w 3437996"/>
              <a:gd name="csY70" fmla="*/ 805208 h 2018071"/>
              <a:gd name="csX71" fmla="*/ 2633053 w 3437996"/>
              <a:gd name="csY71" fmla="*/ 804210 h 2018071"/>
              <a:gd name="csX72" fmla="*/ 2624994 w 3437996"/>
              <a:gd name="csY72" fmla="*/ 795655 h 2018071"/>
              <a:gd name="csX73" fmla="*/ 2623570 w 3437996"/>
              <a:gd name="csY73" fmla="*/ 794675 h 2018071"/>
              <a:gd name="csX74" fmla="*/ 2615495 w 3437996"/>
              <a:gd name="csY74" fmla="*/ 786111 h 2018071"/>
              <a:gd name="csX75" fmla="*/ 2614082 w 3437996"/>
              <a:gd name="csY75" fmla="*/ 785113 h 2018071"/>
              <a:gd name="csX76" fmla="*/ 2606007 w 3437996"/>
              <a:gd name="csY76" fmla="*/ 776562 h 2018071"/>
              <a:gd name="csX77" fmla="*/ 2604609 w 3437996"/>
              <a:gd name="csY77" fmla="*/ 775538 h 2018071"/>
              <a:gd name="csX78" fmla="*/ 2596489 w 3437996"/>
              <a:gd name="csY78" fmla="*/ 767032 h 2018071"/>
              <a:gd name="csX79" fmla="*/ 2595095 w 3437996"/>
              <a:gd name="csY79" fmla="*/ 766006 h 2018071"/>
              <a:gd name="csX80" fmla="*/ 2586954 w 3437996"/>
              <a:gd name="csY80" fmla="*/ 757512 h 2018071"/>
              <a:gd name="csX81" fmla="*/ 2585558 w 3437996"/>
              <a:gd name="csY81" fmla="*/ 756496 h 2018071"/>
              <a:gd name="csX82" fmla="*/ 2577410 w 3437996"/>
              <a:gd name="csY82" fmla="*/ 748000 h 2018071"/>
              <a:gd name="csX83" fmla="*/ 2576006 w 3437996"/>
              <a:gd name="csY83" fmla="*/ 747002 h 2018071"/>
              <a:gd name="csX84" fmla="*/ 2567871 w 3437996"/>
              <a:gd name="csY84" fmla="*/ 738486 h 2018071"/>
              <a:gd name="csX85" fmla="*/ 2566459 w 3437996"/>
              <a:gd name="csY85" fmla="*/ 737499 h 2018071"/>
              <a:gd name="csX86" fmla="*/ 2558352 w 3437996"/>
              <a:gd name="csY86" fmla="*/ 728962 h 2018071"/>
              <a:gd name="csX87" fmla="*/ 2556937 w 3437996"/>
              <a:gd name="csY87" fmla="*/ 727967 h 2018071"/>
              <a:gd name="csX88" fmla="*/ 2548845 w 3437996"/>
              <a:gd name="csY88" fmla="*/ 719430 h 2018071"/>
              <a:gd name="csX89" fmla="*/ 2547432 w 3437996"/>
              <a:gd name="csY89" fmla="*/ 718414 h 2018071"/>
              <a:gd name="csX90" fmla="*/ 2539350 w 3437996"/>
              <a:gd name="csY90" fmla="*/ 709894 h 2018071"/>
              <a:gd name="csX91" fmla="*/ 2537942 w 3437996"/>
              <a:gd name="csY91" fmla="*/ 708842 h 2018071"/>
              <a:gd name="csX92" fmla="*/ 2529865 w 3437996"/>
              <a:gd name="csY92" fmla="*/ 700356 h 2018071"/>
              <a:gd name="csX93" fmla="*/ 2528460 w 3437996"/>
              <a:gd name="csY93" fmla="*/ 699259 h 2018071"/>
              <a:gd name="csX94" fmla="*/ 2520386 w 3437996"/>
              <a:gd name="csY94" fmla="*/ 690820 h 2018071"/>
              <a:gd name="csX95" fmla="*/ 2518981 w 3437996"/>
              <a:gd name="csY95" fmla="*/ 689668 h 2018071"/>
              <a:gd name="csX96" fmla="*/ 2510900 w 3437996"/>
              <a:gd name="csY96" fmla="*/ 681286 h 2018071"/>
              <a:gd name="csX97" fmla="*/ 2509493 w 3437996"/>
              <a:gd name="csY97" fmla="*/ 680082 h 2018071"/>
              <a:gd name="csX98" fmla="*/ 2501400 w 3437996"/>
              <a:gd name="csY98" fmla="*/ 671754 h 2018071"/>
              <a:gd name="csX99" fmla="*/ 2499991 w 3437996"/>
              <a:gd name="csY99" fmla="*/ 670520 h 2018071"/>
              <a:gd name="csX100" fmla="*/ 2491892 w 3437996"/>
              <a:gd name="csY100" fmla="*/ 662222 h 2018071"/>
              <a:gd name="csX101" fmla="*/ 2490482 w 3437996"/>
              <a:gd name="csY101" fmla="*/ 660967 h 2018071"/>
              <a:gd name="csX102" fmla="*/ 2482391 w 3437996"/>
              <a:gd name="csY102" fmla="*/ 652682 h 2018071"/>
              <a:gd name="csX103" fmla="*/ 2480984 w 3437996"/>
              <a:gd name="csY103" fmla="*/ 651408 h 2018071"/>
              <a:gd name="csX104" fmla="*/ 2472919 w 3437996"/>
              <a:gd name="csY104" fmla="*/ 643127 h 2018071"/>
              <a:gd name="csX105" fmla="*/ 2471515 w 3437996"/>
              <a:gd name="csY105" fmla="*/ 641819 h 2018071"/>
              <a:gd name="csX106" fmla="*/ 2463424 w 3437996"/>
              <a:gd name="csY106" fmla="*/ 633584 h 2018071"/>
              <a:gd name="csX107" fmla="*/ 2462020 w 3437996"/>
              <a:gd name="csY107" fmla="*/ 632257 h 2018071"/>
              <a:gd name="csX108" fmla="*/ 2453925 w 3437996"/>
              <a:gd name="csY108" fmla="*/ 624049 h 2018071"/>
              <a:gd name="csX109" fmla="*/ 2452516 w 3437996"/>
              <a:gd name="csY109" fmla="*/ 622702 h 2018071"/>
              <a:gd name="csX110" fmla="*/ 2444450 w 3437996"/>
              <a:gd name="csY110" fmla="*/ 614506 h 2018071"/>
              <a:gd name="csX111" fmla="*/ 2443026 w 3437996"/>
              <a:gd name="csY111" fmla="*/ 613123 h 2018071"/>
              <a:gd name="csX112" fmla="*/ 2434957 w 3437996"/>
              <a:gd name="csY112" fmla="*/ 604969 h 2018071"/>
              <a:gd name="csX113" fmla="*/ 2433519 w 3437996"/>
              <a:gd name="csY113" fmla="*/ 603563 h 2018071"/>
              <a:gd name="csX114" fmla="*/ 2425486 w 3437996"/>
              <a:gd name="csY114" fmla="*/ 595418 h 2018071"/>
              <a:gd name="csX115" fmla="*/ 2424029 w 3437996"/>
              <a:gd name="csY115" fmla="*/ 593985 h 2018071"/>
              <a:gd name="csX116" fmla="*/ 2416081 w 3437996"/>
              <a:gd name="csY116" fmla="*/ 585841 h 2018071"/>
              <a:gd name="csX117" fmla="*/ 2414563 w 3437996"/>
              <a:gd name="csY117" fmla="*/ 584358 h 2018071"/>
              <a:gd name="csX118" fmla="*/ 2406640 w 3437996"/>
              <a:gd name="csY118" fmla="*/ 576281 h 2018071"/>
              <a:gd name="csX119" fmla="*/ 2405068 w 3437996"/>
              <a:gd name="csY119" fmla="*/ 574761 h 2018071"/>
              <a:gd name="csX120" fmla="*/ 2397176 w 3437996"/>
              <a:gd name="csY120" fmla="*/ 566733 h 2018071"/>
              <a:gd name="csX121" fmla="*/ 2395561 w 3437996"/>
              <a:gd name="csY121" fmla="*/ 565186 h 2018071"/>
              <a:gd name="csX122" fmla="*/ 2387690 w 3437996"/>
              <a:gd name="csY122" fmla="*/ 557193 h 2018071"/>
              <a:gd name="csX123" fmla="*/ 2386050 w 3437996"/>
              <a:gd name="csY123" fmla="*/ 555624 h 2018071"/>
              <a:gd name="csX124" fmla="*/ 2378191 w 3437996"/>
              <a:gd name="csY124" fmla="*/ 547659 h 2018071"/>
              <a:gd name="csX125" fmla="*/ 2376534 w 3437996"/>
              <a:gd name="csY125" fmla="*/ 546075 h 2018071"/>
              <a:gd name="csX126" fmla="*/ 2368704 w 3437996"/>
              <a:gd name="csY126" fmla="*/ 538124 h 2018071"/>
              <a:gd name="csX127" fmla="*/ 2367021 w 3437996"/>
              <a:gd name="csY127" fmla="*/ 536517 h 2018071"/>
              <a:gd name="csX128" fmla="*/ 2360018 w 3437996"/>
              <a:gd name="csY128" fmla="*/ 529380 h 2018071"/>
              <a:gd name="csX129" fmla="*/ 2357514 w 3437996"/>
              <a:gd name="csY129" fmla="*/ 526933 h 2018071"/>
              <a:gd name="csX130" fmla="*/ 2350552 w 3437996"/>
              <a:gd name="csY130" fmla="*/ 519835 h 2018071"/>
              <a:gd name="csX131" fmla="*/ 2348016 w 3437996"/>
              <a:gd name="csY131" fmla="*/ 517342 h 2018071"/>
              <a:gd name="csX132" fmla="*/ 2341054 w 3437996"/>
              <a:gd name="csY132" fmla="*/ 510297 h 2018071"/>
              <a:gd name="csX133" fmla="*/ 2338508 w 3437996"/>
              <a:gd name="csY133" fmla="*/ 507777 h 2018071"/>
              <a:gd name="csX134" fmla="*/ 2331539 w 3437996"/>
              <a:gd name="csY134" fmla="*/ 500765 h 2018071"/>
              <a:gd name="csX135" fmla="*/ 2328991 w 3437996"/>
              <a:gd name="csY135" fmla="*/ 498236 h 2018071"/>
              <a:gd name="csX136" fmla="*/ 2322020 w 3437996"/>
              <a:gd name="csY136" fmla="*/ 491243 h 2018071"/>
              <a:gd name="csX137" fmla="*/ 2319465 w 3437996"/>
              <a:gd name="csY137" fmla="*/ 488702 h 2018071"/>
              <a:gd name="csX138" fmla="*/ 2312510 w 3437996"/>
              <a:gd name="csY138" fmla="*/ 481725 h 2018071"/>
              <a:gd name="csX139" fmla="*/ 2309941 w 3437996"/>
              <a:gd name="csY139" fmla="*/ 479158 h 2018071"/>
              <a:gd name="csX140" fmla="*/ 2303024 w 3437996"/>
              <a:gd name="csY140" fmla="*/ 472210 h 2018071"/>
              <a:gd name="csX141" fmla="*/ 2300428 w 3437996"/>
              <a:gd name="csY141" fmla="*/ 469578 h 2018071"/>
              <a:gd name="csX142" fmla="*/ 2293545 w 3437996"/>
              <a:gd name="csY142" fmla="*/ 462697 h 2018071"/>
              <a:gd name="csX143" fmla="*/ 2290922 w 3437996"/>
              <a:gd name="csY143" fmla="*/ 459984 h 2018071"/>
              <a:gd name="csX144" fmla="*/ 2284051 w 3437996"/>
              <a:gd name="csY144" fmla="*/ 453172 h 2018071"/>
              <a:gd name="csX145" fmla="*/ 2281414 w 3437996"/>
              <a:gd name="csY145" fmla="*/ 450403 h 2018071"/>
              <a:gd name="csX146" fmla="*/ 2274560 w 3437996"/>
              <a:gd name="csY146" fmla="*/ 443646 h 2018071"/>
              <a:gd name="csX147" fmla="*/ 2271906 w 3437996"/>
              <a:gd name="csY147" fmla="*/ 440826 h 2018071"/>
              <a:gd name="csX148" fmla="*/ 2265120 w 3437996"/>
              <a:gd name="csY148" fmla="*/ 434112 h 2018071"/>
              <a:gd name="csX149" fmla="*/ 2262409 w 3437996"/>
              <a:gd name="csY149" fmla="*/ 431189 h 2018071"/>
              <a:gd name="csX150" fmla="*/ 2255765 w 3437996"/>
              <a:gd name="csY150" fmla="*/ 424557 h 2018071"/>
              <a:gd name="csX151" fmla="*/ 2252962 w 3437996"/>
              <a:gd name="csY151" fmla="*/ 421458 h 2018071"/>
              <a:gd name="csX152" fmla="*/ 2246361 w 3437996"/>
              <a:gd name="csY152" fmla="*/ 414989 h 2018071"/>
              <a:gd name="csX153" fmla="*/ 2226101 w 3437996"/>
              <a:gd name="csY153" fmla="*/ 394472 h 2018071"/>
              <a:gd name="csX154" fmla="*/ 2204126 w 3437996"/>
              <a:gd name="csY154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44017 w 3437996"/>
              <a:gd name="csY67" fmla="*/ 814773 h 2018071"/>
              <a:gd name="csX68" fmla="*/ 2642551 w 3437996"/>
              <a:gd name="csY68" fmla="*/ 813746 h 2018071"/>
              <a:gd name="csX69" fmla="*/ 2634494 w 3437996"/>
              <a:gd name="csY69" fmla="*/ 805208 h 2018071"/>
              <a:gd name="csX70" fmla="*/ 2633053 w 3437996"/>
              <a:gd name="csY70" fmla="*/ 804210 h 2018071"/>
              <a:gd name="csX71" fmla="*/ 2624994 w 3437996"/>
              <a:gd name="csY71" fmla="*/ 795655 h 2018071"/>
              <a:gd name="csX72" fmla="*/ 2623570 w 3437996"/>
              <a:gd name="csY72" fmla="*/ 794675 h 2018071"/>
              <a:gd name="csX73" fmla="*/ 2615495 w 3437996"/>
              <a:gd name="csY73" fmla="*/ 786111 h 2018071"/>
              <a:gd name="csX74" fmla="*/ 2614082 w 3437996"/>
              <a:gd name="csY74" fmla="*/ 785113 h 2018071"/>
              <a:gd name="csX75" fmla="*/ 2606007 w 3437996"/>
              <a:gd name="csY75" fmla="*/ 776562 h 2018071"/>
              <a:gd name="csX76" fmla="*/ 2604609 w 3437996"/>
              <a:gd name="csY76" fmla="*/ 775538 h 2018071"/>
              <a:gd name="csX77" fmla="*/ 2596489 w 3437996"/>
              <a:gd name="csY77" fmla="*/ 767032 h 2018071"/>
              <a:gd name="csX78" fmla="*/ 2595095 w 3437996"/>
              <a:gd name="csY78" fmla="*/ 766006 h 2018071"/>
              <a:gd name="csX79" fmla="*/ 2586954 w 3437996"/>
              <a:gd name="csY79" fmla="*/ 757512 h 2018071"/>
              <a:gd name="csX80" fmla="*/ 2585558 w 3437996"/>
              <a:gd name="csY80" fmla="*/ 756496 h 2018071"/>
              <a:gd name="csX81" fmla="*/ 2577410 w 3437996"/>
              <a:gd name="csY81" fmla="*/ 748000 h 2018071"/>
              <a:gd name="csX82" fmla="*/ 2576006 w 3437996"/>
              <a:gd name="csY82" fmla="*/ 747002 h 2018071"/>
              <a:gd name="csX83" fmla="*/ 2567871 w 3437996"/>
              <a:gd name="csY83" fmla="*/ 738486 h 2018071"/>
              <a:gd name="csX84" fmla="*/ 2566459 w 3437996"/>
              <a:gd name="csY84" fmla="*/ 737499 h 2018071"/>
              <a:gd name="csX85" fmla="*/ 2558352 w 3437996"/>
              <a:gd name="csY85" fmla="*/ 728962 h 2018071"/>
              <a:gd name="csX86" fmla="*/ 2556937 w 3437996"/>
              <a:gd name="csY86" fmla="*/ 727967 h 2018071"/>
              <a:gd name="csX87" fmla="*/ 2548845 w 3437996"/>
              <a:gd name="csY87" fmla="*/ 719430 h 2018071"/>
              <a:gd name="csX88" fmla="*/ 2547432 w 3437996"/>
              <a:gd name="csY88" fmla="*/ 718414 h 2018071"/>
              <a:gd name="csX89" fmla="*/ 2539350 w 3437996"/>
              <a:gd name="csY89" fmla="*/ 709894 h 2018071"/>
              <a:gd name="csX90" fmla="*/ 2537942 w 3437996"/>
              <a:gd name="csY90" fmla="*/ 708842 h 2018071"/>
              <a:gd name="csX91" fmla="*/ 2529865 w 3437996"/>
              <a:gd name="csY91" fmla="*/ 700356 h 2018071"/>
              <a:gd name="csX92" fmla="*/ 2528460 w 3437996"/>
              <a:gd name="csY92" fmla="*/ 699259 h 2018071"/>
              <a:gd name="csX93" fmla="*/ 2520386 w 3437996"/>
              <a:gd name="csY93" fmla="*/ 690820 h 2018071"/>
              <a:gd name="csX94" fmla="*/ 2518981 w 3437996"/>
              <a:gd name="csY94" fmla="*/ 689668 h 2018071"/>
              <a:gd name="csX95" fmla="*/ 2510900 w 3437996"/>
              <a:gd name="csY95" fmla="*/ 681286 h 2018071"/>
              <a:gd name="csX96" fmla="*/ 2509493 w 3437996"/>
              <a:gd name="csY96" fmla="*/ 680082 h 2018071"/>
              <a:gd name="csX97" fmla="*/ 2501400 w 3437996"/>
              <a:gd name="csY97" fmla="*/ 671754 h 2018071"/>
              <a:gd name="csX98" fmla="*/ 2499991 w 3437996"/>
              <a:gd name="csY98" fmla="*/ 670520 h 2018071"/>
              <a:gd name="csX99" fmla="*/ 2491892 w 3437996"/>
              <a:gd name="csY99" fmla="*/ 662222 h 2018071"/>
              <a:gd name="csX100" fmla="*/ 2490482 w 3437996"/>
              <a:gd name="csY100" fmla="*/ 660967 h 2018071"/>
              <a:gd name="csX101" fmla="*/ 2482391 w 3437996"/>
              <a:gd name="csY101" fmla="*/ 652682 h 2018071"/>
              <a:gd name="csX102" fmla="*/ 2480984 w 3437996"/>
              <a:gd name="csY102" fmla="*/ 651408 h 2018071"/>
              <a:gd name="csX103" fmla="*/ 2472919 w 3437996"/>
              <a:gd name="csY103" fmla="*/ 643127 h 2018071"/>
              <a:gd name="csX104" fmla="*/ 2471515 w 3437996"/>
              <a:gd name="csY104" fmla="*/ 641819 h 2018071"/>
              <a:gd name="csX105" fmla="*/ 2463424 w 3437996"/>
              <a:gd name="csY105" fmla="*/ 633584 h 2018071"/>
              <a:gd name="csX106" fmla="*/ 2462020 w 3437996"/>
              <a:gd name="csY106" fmla="*/ 632257 h 2018071"/>
              <a:gd name="csX107" fmla="*/ 2453925 w 3437996"/>
              <a:gd name="csY107" fmla="*/ 624049 h 2018071"/>
              <a:gd name="csX108" fmla="*/ 2452516 w 3437996"/>
              <a:gd name="csY108" fmla="*/ 622702 h 2018071"/>
              <a:gd name="csX109" fmla="*/ 2444450 w 3437996"/>
              <a:gd name="csY109" fmla="*/ 614506 h 2018071"/>
              <a:gd name="csX110" fmla="*/ 2443026 w 3437996"/>
              <a:gd name="csY110" fmla="*/ 613123 h 2018071"/>
              <a:gd name="csX111" fmla="*/ 2434957 w 3437996"/>
              <a:gd name="csY111" fmla="*/ 604969 h 2018071"/>
              <a:gd name="csX112" fmla="*/ 2433519 w 3437996"/>
              <a:gd name="csY112" fmla="*/ 603563 h 2018071"/>
              <a:gd name="csX113" fmla="*/ 2425486 w 3437996"/>
              <a:gd name="csY113" fmla="*/ 595418 h 2018071"/>
              <a:gd name="csX114" fmla="*/ 2424029 w 3437996"/>
              <a:gd name="csY114" fmla="*/ 593985 h 2018071"/>
              <a:gd name="csX115" fmla="*/ 2416081 w 3437996"/>
              <a:gd name="csY115" fmla="*/ 585841 h 2018071"/>
              <a:gd name="csX116" fmla="*/ 2414563 w 3437996"/>
              <a:gd name="csY116" fmla="*/ 584358 h 2018071"/>
              <a:gd name="csX117" fmla="*/ 2406640 w 3437996"/>
              <a:gd name="csY117" fmla="*/ 576281 h 2018071"/>
              <a:gd name="csX118" fmla="*/ 2405068 w 3437996"/>
              <a:gd name="csY118" fmla="*/ 574761 h 2018071"/>
              <a:gd name="csX119" fmla="*/ 2397176 w 3437996"/>
              <a:gd name="csY119" fmla="*/ 566733 h 2018071"/>
              <a:gd name="csX120" fmla="*/ 2395561 w 3437996"/>
              <a:gd name="csY120" fmla="*/ 565186 h 2018071"/>
              <a:gd name="csX121" fmla="*/ 2387690 w 3437996"/>
              <a:gd name="csY121" fmla="*/ 557193 h 2018071"/>
              <a:gd name="csX122" fmla="*/ 2386050 w 3437996"/>
              <a:gd name="csY122" fmla="*/ 555624 h 2018071"/>
              <a:gd name="csX123" fmla="*/ 2378191 w 3437996"/>
              <a:gd name="csY123" fmla="*/ 547659 h 2018071"/>
              <a:gd name="csX124" fmla="*/ 2376534 w 3437996"/>
              <a:gd name="csY124" fmla="*/ 546075 h 2018071"/>
              <a:gd name="csX125" fmla="*/ 2368704 w 3437996"/>
              <a:gd name="csY125" fmla="*/ 538124 h 2018071"/>
              <a:gd name="csX126" fmla="*/ 2367021 w 3437996"/>
              <a:gd name="csY126" fmla="*/ 536517 h 2018071"/>
              <a:gd name="csX127" fmla="*/ 2360018 w 3437996"/>
              <a:gd name="csY127" fmla="*/ 529380 h 2018071"/>
              <a:gd name="csX128" fmla="*/ 2357514 w 3437996"/>
              <a:gd name="csY128" fmla="*/ 526933 h 2018071"/>
              <a:gd name="csX129" fmla="*/ 2350552 w 3437996"/>
              <a:gd name="csY129" fmla="*/ 519835 h 2018071"/>
              <a:gd name="csX130" fmla="*/ 2348016 w 3437996"/>
              <a:gd name="csY130" fmla="*/ 517342 h 2018071"/>
              <a:gd name="csX131" fmla="*/ 2341054 w 3437996"/>
              <a:gd name="csY131" fmla="*/ 510297 h 2018071"/>
              <a:gd name="csX132" fmla="*/ 2338508 w 3437996"/>
              <a:gd name="csY132" fmla="*/ 507777 h 2018071"/>
              <a:gd name="csX133" fmla="*/ 2331539 w 3437996"/>
              <a:gd name="csY133" fmla="*/ 500765 h 2018071"/>
              <a:gd name="csX134" fmla="*/ 2328991 w 3437996"/>
              <a:gd name="csY134" fmla="*/ 498236 h 2018071"/>
              <a:gd name="csX135" fmla="*/ 2322020 w 3437996"/>
              <a:gd name="csY135" fmla="*/ 491243 h 2018071"/>
              <a:gd name="csX136" fmla="*/ 2319465 w 3437996"/>
              <a:gd name="csY136" fmla="*/ 488702 h 2018071"/>
              <a:gd name="csX137" fmla="*/ 2312510 w 3437996"/>
              <a:gd name="csY137" fmla="*/ 481725 h 2018071"/>
              <a:gd name="csX138" fmla="*/ 2309941 w 3437996"/>
              <a:gd name="csY138" fmla="*/ 479158 h 2018071"/>
              <a:gd name="csX139" fmla="*/ 2303024 w 3437996"/>
              <a:gd name="csY139" fmla="*/ 472210 h 2018071"/>
              <a:gd name="csX140" fmla="*/ 2300428 w 3437996"/>
              <a:gd name="csY140" fmla="*/ 469578 h 2018071"/>
              <a:gd name="csX141" fmla="*/ 2293545 w 3437996"/>
              <a:gd name="csY141" fmla="*/ 462697 h 2018071"/>
              <a:gd name="csX142" fmla="*/ 2290922 w 3437996"/>
              <a:gd name="csY142" fmla="*/ 459984 h 2018071"/>
              <a:gd name="csX143" fmla="*/ 2284051 w 3437996"/>
              <a:gd name="csY143" fmla="*/ 453172 h 2018071"/>
              <a:gd name="csX144" fmla="*/ 2281414 w 3437996"/>
              <a:gd name="csY144" fmla="*/ 450403 h 2018071"/>
              <a:gd name="csX145" fmla="*/ 2274560 w 3437996"/>
              <a:gd name="csY145" fmla="*/ 443646 h 2018071"/>
              <a:gd name="csX146" fmla="*/ 2271906 w 3437996"/>
              <a:gd name="csY146" fmla="*/ 440826 h 2018071"/>
              <a:gd name="csX147" fmla="*/ 2265120 w 3437996"/>
              <a:gd name="csY147" fmla="*/ 434112 h 2018071"/>
              <a:gd name="csX148" fmla="*/ 2262409 w 3437996"/>
              <a:gd name="csY148" fmla="*/ 431189 h 2018071"/>
              <a:gd name="csX149" fmla="*/ 2255765 w 3437996"/>
              <a:gd name="csY149" fmla="*/ 424557 h 2018071"/>
              <a:gd name="csX150" fmla="*/ 2252962 w 3437996"/>
              <a:gd name="csY150" fmla="*/ 421458 h 2018071"/>
              <a:gd name="csX151" fmla="*/ 2246361 w 3437996"/>
              <a:gd name="csY151" fmla="*/ 414989 h 2018071"/>
              <a:gd name="csX152" fmla="*/ 2226101 w 3437996"/>
              <a:gd name="csY152" fmla="*/ 394472 h 2018071"/>
              <a:gd name="csX153" fmla="*/ 2204126 w 3437996"/>
              <a:gd name="csY153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44017 w 3437996"/>
              <a:gd name="csY67" fmla="*/ 814773 h 2018071"/>
              <a:gd name="csX68" fmla="*/ 2642551 w 3437996"/>
              <a:gd name="csY68" fmla="*/ 813746 h 2018071"/>
              <a:gd name="csX69" fmla="*/ 2634494 w 3437996"/>
              <a:gd name="csY69" fmla="*/ 805208 h 2018071"/>
              <a:gd name="csX70" fmla="*/ 2633053 w 3437996"/>
              <a:gd name="csY70" fmla="*/ 804210 h 2018071"/>
              <a:gd name="csX71" fmla="*/ 2624994 w 3437996"/>
              <a:gd name="csY71" fmla="*/ 795655 h 2018071"/>
              <a:gd name="csX72" fmla="*/ 2623570 w 3437996"/>
              <a:gd name="csY72" fmla="*/ 794675 h 2018071"/>
              <a:gd name="csX73" fmla="*/ 2615495 w 3437996"/>
              <a:gd name="csY73" fmla="*/ 786111 h 2018071"/>
              <a:gd name="csX74" fmla="*/ 2614082 w 3437996"/>
              <a:gd name="csY74" fmla="*/ 785113 h 2018071"/>
              <a:gd name="csX75" fmla="*/ 2606007 w 3437996"/>
              <a:gd name="csY75" fmla="*/ 776562 h 2018071"/>
              <a:gd name="csX76" fmla="*/ 2604609 w 3437996"/>
              <a:gd name="csY76" fmla="*/ 775538 h 2018071"/>
              <a:gd name="csX77" fmla="*/ 2596489 w 3437996"/>
              <a:gd name="csY77" fmla="*/ 767032 h 2018071"/>
              <a:gd name="csX78" fmla="*/ 2595095 w 3437996"/>
              <a:gd name="csY78" fmla="*/ 766006 h 2018071"/>
              <a:gd name="csX79" fmla="*/ 2586954 w 3437996"/>
              <a:gd name="csY79" fmla="*/ 757512 h 2018071"/>
              <a:gd name="csX80" fmla="*/ 2585558 w 3437996"/>
              <a:gd name="csY80" fmla="*/ 756496 h 2018071"/>
              <a:gd name="csX81" fmla="*/ 2577410 w 3437996"/>
              <a:gd name="csY81" fmla="*/ 748000 h 2018071"/>
              <a:gd name="csX82" fmla="*/ 2576006 w 3437996"/>
              <a:gd name="csY82" fmla="*/ 747002 h 2018071"/>
              <a:gd name="csX83" fmla="*/ 2567871 w 3437996"/>
              <a:gd name="csY83" fmla="*/ 738486 h 2018071"/>
              <a:gd name="csX84" fmla="*/ 2566459 w 3437996"/>
              <a:gd name="csY84" fmla="*/ 737499 h 2018071"/>
              <a:gd name="csX85" fmla="*/ 2558352 w 3437996"/>
              <a:gd name="csY85" fmla="*/ 728962 h 2018071"/>
              <a:gd name="csX86" fmla="*/ 2556937 w 3437996"/>
              <a:gd name="csY86" fmla="*/ 727967 h 2018071"/>
              <a:gd name="csX87" fmla="*/ 2548845 w 3437996"/>
              <a:gd name="csY87" fmla="*/ 719430 h 2018071"/>
              <a:gd name="csX88" fmla="*/ 2547432 w 3437996"/>
              <a:gd name="csY88" fmla="*/ 718414 h 2018071"/>
              <a:gd name="csX89" fmla="*/ 2539350 w 3437996"/>
              <a:gd name="csY89" fmla="*/ 709894 h 2018071"/>
              <a:gd name="csX90" fmla="*/ 2537942 w 3437996"/>
              <a:gd name="csY90" fmla="*/ 708842 h 2018071"/>
              <a:gd name="csX91" fmla="*/ 2529865 w 3437996"/>
              <a:gd name="csY91" fmla="*/ 700356 h 2018071"/>
              <a:gd name="csX92" fmla="*/ 2528460 w 3437996"/>
              <a:gd name="csY92" fmla="*/ 699259 h 2018071"/>
              <a:gd name="csX93" fmla="*/ 2520386 w 3437996"/>
              <a:gd name="csY93" fmla="*/ 690820 h 2018071"/>
              <a:gd name="csX94" fmla="*/ 2518981 w 3437996"/>
              <a:gd name="csY94" fmla="*/ 689668 h 2018071"/>
              <a:gd name="csX95" fmla="*/ 2510900 w 3437996"/>
              <a:gd name="csY95" fmla="*/ 681286 h 2018071"/>
              <a:gd name="csX96" fmla="*/ 2509493 w 3437996"/>
              <a:gd name="csY96" fmla="*/ 680082 h 2018071"/>
              <a:gd name="csX97" fmla="*/ 2501400 w 3437996"/>
              <a:gd name="csY97" fmla="*/ 671754 h 2018071"/>
              <a:gd name="csX98" fmla="*/ 2499991 w 3437996"/>
              <a:gd name="csY98" fmla="*/ 670520 h 2018071"/>
              <a:gd name="csX99" fmla="*/ 2491892 w 3437996"/>
              <a:gd name="csY99" fmla="*/ 662222 h 2018071"/>
              <a:gd name="csX100" fmla="*/ 2490482 w 3437996"/>
              <a:gd name="csY100" fmla="*/ 660967 h 2018071"/>
              <a:gd name="csX101" fmla="*/ 2482391 w 3437996"/>
              <a:gd name="csY101" fmla="*/ 652682 h 2018071"/>
              <a:gd name="csX102" fmla="*/ 2480984 w 3437996"/>
              <a:gd name="csY102" fmla="*/ 651408 h 2018071"/>
              <a:gd name="csX103" fmla="*/ 2472919 w 3437996"/>
              <a:gd name="csY103" fmla="*/ 643127 h 2018071"/>
              <a:gd name="csX104" fmla="*/ 2471515 w 3437996"/>
              <a:gd name="csY104" fmla="*/ 641819 h 2018071"/>
              <a:gd name="csX105" fmla="*/ 2463424 w 3437996"/>
              <a:gd name="csY105" fmla="*/ 633584 h 2018071"/>
              <a:gd name="csX106" fmla="*/ 2462020 w 3437996"/>
              <a:gd name="csY106" fmla="*/ 632257 h 2018071"/>
              <a:gd name="csX107" fmla="*/ 2453925 w 3437996"/>
              <a:gd name="csY107" fmla="*/ 624049 h 2018071"/>
              <a:gd name="csX108" fmla="*/ 2452516 w 3437996"/>
              <a:gd name="csY108" fmla="*/ 622702 h 2018071"/>
              <a:gd name="csX109" fmla="*/ 2444450 w 3437996"/>
              <a:gd name="csY109" fmla="*/ 614506 h 2018071"/>
              <a:gd name="csX110" fmla="*/ 2443026 w 3437996"/>
              <a:gd name="csY110" fmla="*/ 613123 h 2018071"/>
              <a:gd name="csX111" fmla="*/ 2434957 w 3437996"/>
              <a:gd name="csY111" fmla="*/ 604969 h 2018071"/>
              <a:gd name="csX112" fmla="*/ 2433519 w 3437996"/>
              <a:gd name="csY112" fmla="*/ 603563 h 2018071"/>
              <a:gd name="csX113" fmla="*/ 2425486 w 3437996"/>
              <a:gd name="csY113" fmla="*/ 595418 h 2018071"/>
              <a:gd name="csX114" fmla="*/ 2424029 w 3437996"/>
              <a:gd name="csY114" fmla="*/ 593985 h 2018071"/>
              <a:gd name="csX115" fmla="*/ 2416081 w 3437996"/>
              <a:gd name="csY115" fmla="*/ 585841 h 2018071"/>
              <a:gd name="csX116" fmla="*/ 2414563 w 3437996"/>
              <a:gd name="csY116" fmla="*/ 584358 h 2018071"/>
              <a:gd name="csX117" fmla="*/ 2406640 w 3437996"/>
              <a:gd name="csY117" fmla="*/ 576281 h 2018071"/>
              <a:gd name="csX118" fmla="*/ 2405068 w 3437996"/>
              <a:gd name="csY118" fmla="*/ 574761 h 2018071"/>
              <a:gd name="csX119" fmla="*/ 2397176 w 3437996"/>
              <a:gd name="csY119" fmla="*/ 566733 h 2018071"/>
              <a:gd name="csX120" fmla="*/ 2395561 w 3437996"/>
              <a:gd name="csY120" fmla="*/ 565186 h 2018071"/>
              <a:gd name="csX121" fmla="*/ 2387690 w 3437996"/>
              <a:gd name="csY121" fmla="*/ 557193 h 2018071"/>
              <a:gd name="csX122" fmla="*/ 2386050 w 3437996"/>
              <a:gd name="csY122" fmla="*/ 555624 h 2018071"/>
              <a:gd name="csX123" fmla="*/ 2378191 w 3437996"/>
              <a:gd name="csY123" fmla="*/ 547659 h 2018071"/>
              <a:gd name="csX124" fmla="*/ 2376534 w 3437996"/>
              <a:gd name="csY124" fmla="*/ 546075 h 2018071"/>
              <a:gd name="csX125" fmla="*/ 2368704 w 3437996"/>
              <a:gd name="csY125" fmla="*/ 538124 h 2018071"/>
              <a:gd name="csX126" fmla="*/ 2367021 w 3437996"/>
              <a:gd name="csY126" fmla="*/ 536517 h 2018071"/>
              <a:gd name="csX127" fmla="*/ 2360018 w 3437996"/>
              <a:gd name="csY127" fmla="*/ 529380 h 2018071"/>
              <a:gd name="csX128" fmla="*/ 2357514 w 3437996"/>
              <a:gd name="csY128" fmla="*/ 526933 h 2018071"/>
              <a:gd name="csX129" fmla="*/ 2350552 w 3437996"/>
              <a:gd name="csY129" fmla="*/ 519835 h 2018071"/>
              <a:gd name="csX130" fmla="*/ 2348016 w 3437996"/>
              <a:gd name="csY130" fmla="*/ 517342 h 2018071"/>
              <a:gd name="csX131" fmla="*/ 2341054 w 3437996"/>
              <a:gd name="csY131" fmla="*/ 510297 h 2018071"/>
              <a:gd name="csX132" fmla="*/ 2338508 w 3437996"/>
              <a:gd name="csY132" fmla="*/ 507777 h 2018071"/>
              <a:gd name="csX133" fmla="*/ 2331539 w 3437996"/>
              <a:gd name="csY133" fmla="*/ 500765 h 2018071"/>
              <a:gd name="csX134" fmla="*/ 2322020 w 3437996"/>
              <a:gd name="csY134" fmla="*/ 491243 h 2018071"/>
              <a:gd name="csX135" fmla="*/ 2319465 w 3437996"/>
              <a:gd name="csY135" fmla="*/ 488702 h 2018071"/>
              <a:gd name="csX136" fmla="*/ 2312510 w 3437996"/>
              <a:gd name="csY136" fmla="*/ 481725 h 2018071"/>
              <a:gd name="csX137" fmla="*/ 2309941 w 3437996"/>
              <a:gd name="csY137" fmla="*/ 479158 h 2018071"/>
              <a:gd name="csX138" fmla="*/ 2303024 w 3437996"/>
              <a:gd name="csY138" fmla="*/ 472210 h 2018071"/>
              <a:gd name="csX139" fmla="*/ 2300428 w 3437996"/>
              <a:gd name="csY139" fmla="*/ 469578 h 2018071"/>
              <a:gd name="csX140" fmla="*/ 2293545 w 3437996"/>
              <a:gd name="csY140" fmla="*/ 462697 h 2018071"/>
              <a:gd name="csX141" fmla="*/ 2290922 w 3437996"/>
              <a:gd name="csY141" fmla="*/ 459984 h 2018071"/>
              <a:gd name="csX142" fmla="*/ 2284051 w 3437996"/>
              <a:gd name="csY142" fmla="*/ 453172 h 2018071"/>
              <a:gd name="csX143" fmla="*/ 2281414 w 3437996"/>
              <a:gd name="csY143" fmla="*/ 450403 h 2018071"/>
              <a:gd name="csX144" fmla="*/ 2274560 w 3437996"/>
              <a:gd name="csY144" fmla="*/ 443646 h 2018071"/>
              <a:gd name="csX145" fmla="*/ 2271906 w 3437996"/>
              <a:gd name="csY145" fmla="*/ 440826 h 2018071"/>
              <a:gd name="csX146" fmla="*/ 2265120 w 3437996"/>
              <a:gd name="csY146" fmla="*/ 434112 h 2018071"/>
              <a:gd name="csX147" fmla="*/ 2262409 w 3437996"/>
              <a:gd name="csY147" fmla="*/ 431189 h 2018071"/>
              <a:gd name="csX148" fmla="*/ 2255765 w 3437996"/>
              <a:gd name="csY148" fmla="*/ 424557 h 2018071"/>
              <a:gd name="csX149" fmla="*/ 2252962 w 3437996"/>
              <a:gd name="csY149" fmla="*/ 421458 h 2018071"/>
              <a:gd name="csX150" fmla="*/ 2246361 w 3437996"/>
              <a:gd name="csY150" fmla="*/ 414989 h 2018071"/>
              <a:gd name="csX151" fmla="*/ 2226101 w 3437996"/>
              <a:gd name="csY151" fmla="*/ 394472 h 2018071"/>
              <a:gd name="csX152" fmla="*/ 2204126 w 3437996"/>
              <a:gd name="csY152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44017 w 3437996"/>
              <a:gd name="csY67" fmla="*/ 814773 h 2018071"/>
              <a:gd name="csX68" fmla="*/ 2642551 w 3437996"/>
              <a:gd name="csY68" fmla="*/ 813746 h 2018071"/>
              <a:gd name="csX69" fmla="*/ 2634494 w 3437996"/>
              <a:gd name="csY69" fmla="*/ 805208 h 2018071"/>
              <a:gd name="csX70" fmla="*/ 2633053 w 3437996"/>
              <a:gd name="csY70" fmla="*/ 804210 h 2018071"/>
              <a:gd name="csX71" fmla="*/ 2624994 w 3437996"/>
              <a:gd name="csY71" fmla="*/ 795655 h 2018071"/>
              <a:gd name="csX72" fmla="*/ 2623570 w 3437996"/>
              <a:gd name="csY72" fmla="*/ 794675 h 2018071"/>
              <a:gd name="csX73" fmla="*/ 2615495 w 3437996"/>
              <a:gd name="csY73" fmla="*/ 786111 h 2018071"/>
              <a:gd name="csX74" fmla="*/ 2614082 w 3437996"/>
              <a:gd name="csY74" fmla="*/ 785113 h 2018071"/>
              <a:gd name="csX75" fmla="*/ 2606007 w 3437996"/>
              <a:gd name="csY75" fmla="*/ 776562 h 2018071"/>
              <a:gd name="csX76" fmla="*/ 2604609 w 3437996"/>
              <a:gd name="csY76" fmla="*/ 775538 h 2018071"/>
              <a:gd name="csX77" fmla="*/ 2596489 w 3437996"/>
              <a:gd name="csY77" fmla="*/ 767032 h 2018071"/>
              <a:gd name="csX78" fmla="*/ 2595095 w 3437996"/>
              <a:gd name="csY78" fmla="*/ 766006 h 2018071"/>
              <a:gd name="csX79" fmla="*/ 2586954 w 3437996"/>
              <a:gd name="csY79" fmla="*/ 757512 h 2018071"/>
              <a:gd name="csX80" fmla="*/ 2585558 w 3437996"/>
              <a:gd name="csY80" fmla="*/ 756496 h 2018071"/>
              <a:gd name="csX81" fmla="*/ 2577410 w 3437996"/>
              <a:gd name="csY81" fmla="*/ 748000 h 2018071"/>
              <a:gd name="csX82" fmla="*/ 2576006 w 3437996"/>
              <a:gd name="csY82" fmla="*/ 747002 h 2018071"/>
              <a:gd name="csX83" fmla="*/ 2567871 w 3437996"/>
              <a:gd name="csY83" fmla="*/ 738486 h 2018071"/>
              <a:gd name="csX84" fmla="*/ 2566459 w 3437996"/>
              <a:gd name="csY84" fmla="*/ 737499 h 2018071"/>
              <a:gd name="csX85" fmla="*/ 2558352 w 3437996"/>
              <a:gd name="csY85" fmla="*/ 728962 h 2018071"/>
              <a:gd name="csX86" fmla="*/ 2556937 w 3437996"/>
              <a:gd name="csY86" fmla="*/ 727967 h 2018071"/>
              <a:gd name="csX87" fmla="*/ 2548845 w 3437996"/>
              <a:gd name="csY87" fmla="*/ 719430 h 2018071"/>
              <a:gd name="csX88" fmla="*/ 2547432 w 3437996"/>
              <a:gd name="csY88" fmla="*/ 718414 h 2018071"/>
              <a:gd name="csX89" fmla="*/ 2539350 w 3437996"/>
              <a:gd name="csY89" fmla="*/ 709894 h 2018071"/>
              <a:gd name="csX90" fmla="*/ 2537942 w 3437996"/>
              <a:gd name="csY90" fmla="*/ 708842 h 2018071"/>
              <a:gd name="csX91" fmla="*/ 2529865 w 3437996"/>
              <a:gd name="csY91" fmla="*/ 700356 h 2018071"/>
              <a:gd name="csX92" fmla="*/ 2528460 w 3437996"/>
              <a:gd name="csY92" fmla="*/ 699259 h 2018071"/>
              <a:gd name="csX93" fmla="*/ 2520386 w 3437996"/>
              <a:gd name="csY93" fmla="*/ 690820 h 2018071"/>
              <a:gd name="csX94" fmla="*/ 2518981 w 3437996"/>
              <a:gd name="csY94" fmla="*/ 689668 h 2018071"/>
              <a:gd name="csX95" fmla="*/ 2510900 w 3437996"/>
              <a:gd name="csY95" fmla="*/ 681286 h 2018071"/>
              <a:gd name="csX96" fmla="*/ 2509493 w 3437996"/>
              <a:gd name="csY96" fmla="*/ 680082 h 2018071"/>
              <a:gd name="csX97" fmla="*/ 2501400 w 3437996"/>
              <a:gd name="csY97" fmla="*/ 671754 h 2018071"/>
              <a:gd name="csX98" fmla="*/ 2499991 w 3437996"/>
              <a:gd name="csY98" fmla="*/ 670520 h 2018071"/>
              <a:gd name="csX99" fmla="*/ 2491892 w 3437996"/>
              <a:gd name="csY99" fmla="*/ 662222 h 2018071"/>
              <a:gd name="csX100" fmla="*/ 2490482 w 3437996"/>
              <a:gd name="csY100" fmla="*/ 660967 h 2018071"/>
              <a:gd name="csX101" fmla="*/ 2482391 w 3437996"/>
              <a:gd name="csY101" fmla="*/ 652682 h 2018071"/>
              <a:gd name="csX102" fmla="*/ 2480984 w 3437996"/>
              <a:gd name="csY102" fmla="*/ 651408 h 2018071"/>
              <a:gd name="csX103" fmla="*/ 2472919 w 3437996"/>
              <a:gd name="csY103" fmla="*/ 643127 h 2018071"/>
              <a:gd name="csX104" fmla="*/ 2471515 w 3437996"/>
              <a:gd name="csY104" fmla="*/ 641819 h 2018071"/>
              <a:gd name="csX105" fmla="*/ 2463424 w 3437996"/>
              <a:gd name="csY105" fmla="*/ 633584 h 2018071"/>
              <a:gd name="csX106" fmla="*/ 2462020 w 3437996"/>
              <a:gd name="csY106" fmla="*/ 632257 h 2018071"/>
              <a:gd name="csX107" fmla="*/ 2453925 w 3437996"/>
              <a:gd name="csY107" fmla="*/ 624049 h 2018071"/>
              <a:gd name="csX108" fmla="*/ 2452516 w 3437996"/>
              <a:gd name="csY108" fmla="*/ 622702 h 2018071"/>
              <a:gd name="csX109" fmla="*/ 2444450 w 3437996"/>
              <a:gd name="csY109" fmla="*/ 614506 h 2018071"/>
              <a:gd name="csX110" fmla="*/ 2443026 w 3437996"/>
              <a:gd name="csY110" fmla="*/ 613123 h 2018071"/>
              <a:gd name="csX111" fmla="*/ 2434957 w 3437996"/>
              <a:gd name="csY111" fmla="*/ 604969 h 2018071"/>
              <a:gd name="csX112" fmla="*/ 2433519 w 3437996"/>
              <a:gd name="csY112" fmla="*/ 603563 h 2018071"/>
              <a:gd name="csX113" fmla="*/ 2425486 w 3437996"/>
              <a:gd name="csY113" fmla="*/ 595418 h 2018071"/>
              <a:gd name="csX114" fmla="*/ 2424029 w 3437996"/>
              <a:gd name="csY114" fmla="*/ 593985 h 2018071"/>
              <a:gd name="csX115" fmla="*/ 2416081 w 3437996"/>
              <a:gd name="csY115" fmla="*/ 585841 h 2018071"/>
              <a:gd name="csX116" fmla="*/ 2414563 w 3437996"/>
              <a:gd name="csY116" fmla="*/ 584358 h 2018071"/>
              <a:gd name="csX117" fmla="*/ 2406640 w 3437996"/>
              <a:gd name="csY117" fmla="*/ 576281 h 2018071"/>
              <a:gd name="csX118" fmla="*/ 2405068 w 3437996"/>
              <a:gd name="csY118" fmla="*/ 574761 h 2018071"/>
              <a:gd name="csX119" fmla="*/ 2397176 w 3437996"/>
              <a:gd name="csY119" fmla="*/ 566733 h 2018071"/>
              <a:gd name="csX120" fmla="*/ 2395561 w 3437996"/>
              <a:gd name="csY120" fmla="*/ 565186 h 2018071"/>
              <a:gd name="csX121" fmla="*/ 2387690 w 3437996"/>
              <a:gd name="csY121" fmla="*/ 557193 h 2018071"/>
              <a:gd name="csX122" fmla="*/ 2386050 w 3437996"/>
              <a:gd name="csY122" fmla="*/ 555624 h 2018071"/>
              <a:gd name="csX123" fmla="*/ 2378191 w 3437996"/>
              <a:gd name="csY123" fmla="*/ 547659 h 2018071"/>
              <a:gd name="csX124" fmla="*/ 2376534 w 3437996"/>
              <a:gd name="csY124" fmla="*/ 546075 h 2018071"/>
              <a:gd name="csX125" fmla="*/ 2368704 w 3437996"/>
              <a:gd name="csY125" fmla="*/ 538124 h 2018071"/>
              <a:gd name="csX126" fmla="*/ 2367021 w 3437996"/>
              <a:gd name="csY126" fmla="*/ 536517 h 2018071"/>
              <a:gd name="csX127" fmla="*/ 2360018 w 3437996"/>
              <a:gd name="csY127" fmla="*/ 529380 h 2018071"/>
              <a:gd name="csX128" fmla="*/ 2357514 w 3437996"/>
              <a:gd name="csY128" fmla="*/ 526933 h 2018071"/>
              <a:gd name="csX129" fmla="*/ 2350552 w 3437996"/>
              <a:gd name="csY129" fmla="*/ 519835 h 2018071"/>
              <a:gd name="csX130" fmla="*/ 2348016 w 3437996"/>
              <a:gd name="csY130" fmla="*/ 517342 h 2018071"/>
              <a:gd name="csX131" fmla="*/ 2341054 w 3437996"/>
              <a:gd name="csY131" fmla="*/ 510297 h 2018071"/>
              <a:gd name="csX132" fmla="*/ 2338508 w 3437996"/>
              <a:gd name="csY132" fmla="*/ 507777 h 2018071"/>
              <a:gd name="csX133" fmla="*/ 2322020 w 3437996"/>
              <a:gd name="csY133" fmla="*/ 491243 h 2018071"/>
              <a:gd name="csX134" fmla="*/ 2319465 w 3437996"/>
              <a:gd name="csY134" fmla="*/ 488702 h 2018071"/>
              <a:gd name="csX135" fmla="*/ 2312510 w 3437996"/>
              <a:gd name="csY135" fmla="*/ 481725 h 2018071"/>
              <a:gd name="csX136" fmla="*/ 2309941 w 3437996"/>
              <a:gd name="csY136" fmla="*/ 479158 h 2018071"/>
              <a:gd name="csX137" fmla="*/ 2303024 w 3437996"/>
              <a:gd name="csY137" fmla="*/ 472210 h 2018071"/>
              <a:gd name="csX138" fmla="*/ 2300428 w 3437996"/>
              <a:gd name="csY138" fmla="*/ 469578 h 2018071"/>
              <a:gd name="csX139" fmla="*/ 2293545 w 3437996"/>
              <a:gd name="csY139" fmla="*/ 462697 h 2018071"/>
              <a:gd name="csX140" fmla="*/ 2290922 w 3437996"/>
              <a:gd name="csY140" fmla="*/ 459984 h 2018071"/>
              <a:gd name="csX141" fmla="*/ 2284051 w 3437996"/>
              <a:gd name="csY141" fmla="*/ 453172 h 2018071"/>
              <a:gd name="csX142" fmla="*/ 2281414 w 3437996"/>
              <a:gd name="csY142" fmla="*/ 450403 h 2018071"/>
              <a:gd name="csX143" fmla="*/ 2274560 w 3437996"/>
              <a:gd name="csY143" fmla="*/ 443646 h 2018071"/>
              <a:gd name="csX144" fmla="*/ 2271906 w 3437996"/>
              <a:gd name="csY144" fmla="*/ 440826 h 2018071"/>
              <a:gd name="csX145" fmla="*/ 2265120 w 3437996"/>
              <a:gd name="csY145" fmla="*/ 434112 h 2018071"/>
              <a:gd name="csX146" fmla="*/ 2262409 w 3437996"/>
              <a:gd name="csY146" fmla="*/ 431189 h 2018071"/>
              <a:gd name="csX147" fmla="*/ 2255765 w 3437996"/>
              <a:gd name="csY147" fmla="*/ 424557 h 2018071"/>
              <a:gd name="csX148" fmla="*/ 2252962 w 3437996"/>
              <a:gd name="csY148" fmla="*/ 421458 h 2018071"/>
              <a:gd name="csX149" fmla="*/ 2246361 w 3437996"/>
              <a:gd name="csY149" fmla="*/ 414989 h 2018071"/>
              <a:gd name="csX150" fmla="*/ 2226101 w 3437996"/>
              <a:gd name="csY150" fmla="*/ 394472 h 2018071"/>
              <a:gd name="csX151" fmla="*/ 2204126 w 3437996"/>
              <a:gd name="csY151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44017 w 3437996"/>
              <a:gd name="csY67" fmla="*/ 814773 h 2018071"/>
              <a:gd name="csX68" fmla="*/ 2642551 w 3437996"/>
              <a:gd name="csY68" fmla="*/ 813746 h 2018071"/>
              <a:gd name="csX69" fmla="*/ 2634494 w 3437996"/>
              <a:gd name="csY69" fmla="*/ 805208 h 2018071"/>
              <a:gd name="csX70" fmla="*/ 2633053 w 3437996"/>
              <a:gd name="csY70" fmla="*/ 804210 h 2018071"/>
              <a:gd name="csX71" fmla="*/ 2624994 w 3437996"/>
              <a:gd name="csY71" fmla="*/ 795655 h 2018071"/>
              <a:gd name="csX72" fmla="*/ 2623570 w 3437996"/>
              <a:gd name="csY72" fmla="*/ 794675 h 2018071"/>
              <a:gd name="csX73" fmla="*/ 2615495 w 3437996"/>
              <a:gd name="csY73" fmla="*/ 786111 h 2018071"/>
              <a:gd name="csX74" fmla="*/ 2614082 w 3437996"/>
              <a:gd name="csY74" fmla="*/ 785113 h 2018071"/>
              <a:gd name="csX75" fmla="*/ 2606007 w 3437996"/>
              <a:gd name="csY75" fmla="*/ 776562 h 2018071"/>
              <a:gd name="csX76" fmla="*/ 2604609 w 3437996"/>
              <a:gd name="csY76" fmla="*/ 775538 h 2018071"/>
              <a:gd name="csX77" fmla="*/ 2596489 w 3437996"/>
              <a:gd name="csY77" fmla="*/ 767032 h 2018071"/>
              <a:gd name="csX78" fmla="*/ 2595095 w 3437996"/>
              <a:gd name="csY78" fmla="*/ 766006 h 2018071"/>
              <a:gd name="csX79" fmla="*/ 2586954 w 3437996"/>
              <a:gd name="csY79" fmla="*/ 757512 h 2018071"/>
              <a:gd name="csX80" fmla="*/ 2585558 w 3437996"/>
              <a:gd name="csY80" fmla="*/ 756496 h 2018071"/>
              <a:gd name="csX81" fmla="*/ 2577410 w 3437996"/>
              <a:gd name="csY81" fmla="*/ 748000 h 2018071"/>
              <a:gd name="csX82" fmla="*/ 2576006 w 3437996"/>
              <a:gd name="csY82" fmla="*/ 747002 h 2018071"/>
              <a:gd name="csX83" fmla="*/ 2567871 w 3437996"/>
              <a:gd name="csY83" fmla="*/ 738486 h 2018071"/>
              <a:gd name="csX84" fmla="*/ 2566459 w 3437996"/>
              <a:gd name="csY84" fmla="*/ 737499 h 2018071"/>
              <a:gd name="csX85" fmla="*/ 2558352 w 3437996"/>
              <a:gd name="csY85" fmla="*/ 728962 h 2018071"/>
              <a:gd name="csX86" fmla="*/ 2556937 w 3437996"/>
              <a:gd name="csY86" fmla="*/ 727967 h 2018071"/>
              <a:gd name="csX87" fmla="*/ 2548845 w 3437996"/>
              <a:gd name="csY87" fmla="*/ 719430 h 2018071"/>
              <a:gd name="csX88" fmla="*/ 2547432 w 3437996"/>
              <a:gd name="csY88" fmla="*/ 718414 h 2018071"/>
              <a:gd name="csX89" fmla="*/ 2539350 w 3437996"/>
              <a:gd name="csY89" fmla="*/ 709894 h 2018071"/>
              <a:gd name="csX90" fmla="*/ 2537942 w 3437996"/>
              <a:gd name="csY90" fmla="*/ 708842 h 2018071"/>
              <a:gd name="csX91" fmla="*/ 2529865 w 3437996"/>
              <a:gd name="csY91" fmla="*/ 700356 h 2018071"/>
              <a:gd name="csX92" fmla="*/ 2528460 w 3437996"/>
              <a:gd name="csY92" fmla="*/ 699259 h 2018071"/>
              <a:gd name="csX93" fmla="*/ 2520386 w 3437996"/>
              <a:gd name="csY93" fmla="*/ 690820 h 2018071"/>
              <a:gd name="csX94" fmla="*/ 2518981 w 3437996"/>
              <a:gd name="csY94" fmla="*/ 689668 h 2018071"/>
              <a:gd name="csX95" fmla="*/ 2510900 w 3437996"/>
              <a:gd name="csY95" fmla="*/ 681286 h 2018071"/>
              <a:gd name="csX96" fmla="*/ 2509493 w 3437996"/>
              <a:gd name="csY96" fmla="*/ 680082 h 2018071"/>
              <a:gd name="csX97" fmla="*/ 2501400 w 3437996"/>
              <a:gd name="csY97" fmla="*/ 671754 h 2018071"/>
              <a:gd name="csX98" fmla="*/ 2499991 w 3437996"/>
              <a:gd name="csY98" fmla="*/ 670520 h 2018071"/>
              <a:gd name="csX99" fmla="*/ 2491892 w 3437996"/>
              <a:gd name="csY99" fmla="*/ 662222 h 2018071"/>
              <a:gd name="csX100" fmla="*/ 2490482 w 3437996"/>
              <a:gd name="csY100" fmla="*/ 660967 h 2018071"/>
              <a:gd name="csX101" fmla="*/ 2482391 w 3437996"/>
              <a:gd name="csY101" fmla="*/ 652682 h 2018071"/>
              <a:gd name="csX102" fmla="*/ 2480984 w 3437996"/>
              <a:gd name="csY102" fmla="*/ 651408 h 2018071"/>
              <a:gd name="csX103" fmla="*/ 2472919 w 3437996"/>
              <a:gd name="csY103" fmla="*/ 643127 h 2018071"/>
              <a:gd name="csX104" fmla="*/ 2471515 w 3437996"/>
              <a:gd name="csY104" fmla="*/ 641819 h 2018071"/>
              <a:gd name="csX105" fmla="*/ 2463424 w 3437996"/>
              <a:gd name="csY105" fmla="*/ 633584 h 2018071"/>
              <a:gd name="csX106" fmla="*/ 2462020 w 3437996"/>
              <a:gd name="csY106" fmla="*/ 632257 h 2018071"/>
              <a:gd name="csX107" fmla="*/ 2453925 w 3437996"/>
              <a:gd name="csY107" fmla="*/ 624049 h 2018071"/>
              <a:gd name="csX108" fmla="*/ 2452516 w 3437996"/>
              <a:gd name="csY108" fmla="*/ 622702 h 2018071"/>
              <a:gd name="csX109" fmla="*/ 2444450 w 3437996"/>
              <a:gd name="csY109" fmla="*/ 614506 h 2018071"/>
              <a:gd name="csX110" fmla="*/ 2443026 w 3437996"/>
              <a:gd name="csY110" fmla="*/ 613123 h 2018071"/>
              <a:gd name="csX111" fmla="*/ 2434957 w 3437996"/>
              <a:gd name="csY111" fmla="*/ 604969 h 2018071"/>
              <a:gd name="csX112" fmla="*/ 2433519 w 3437996"/>
              <a:gd name="csY112" fmla="*/ 603563 h 2018071"/>
              <a:gd name="csX113" fmla="*/ 2425486 w 3437996"/>
              <a:gd name="csY113" fmla="*/ 595418 h 2018071"/>
              <a:gd name="csX114" fmla="*/ 2424029 w 3437996"/>
              <a:gd name="csY114" fmla="*/ 593985 h 2018071"/>
              <a:gd name="csX115" fmla="*/ 2416081 w 3437996"/>
              <a:gd name="csY115" fmla="*/ 585841 h 2018071"/>
              <a:gd name="csX116" fmla="*/ 2414563 w 3437996"/>
              <a:gd name="csY116" fmla="*/ 584358 h 2018071"/>
              <a:gd name="csX117" fmla="*/ 2406640 w 3437996"/>
              <a:gd name="csY117" fmla="*/ 576281 h 2018071"/>
              <a:gd name="csX118" fmla="*/ 2405068 w 3437996"/>
              <a:gd name="csY118" fmla="*/ 574761 h 2018071"/>
              <a:gd name="csX119" fmla="*/ 2397176 w 3437996"/>
              <a:gd name="csY119" fmla="*/ 566733 h 2018071"/>
              <a:gd name="csX120" fmla="*/ 2395561 w 3437996"/>
              <a:gd name="csY120" fmla="*/ 565186 h 2018071"/>
              <a:gd name="csX121" fmla="*/ 2387690 w 3437996"/>
              <a:gd name="csY121" fmla="*/ 557193 h 2018071"/>
              <a:gd name="csX122" fmla="*/ 2386050 w 3437996"/>
              <a:gd name="csY122" fmla="*/ 555624 h 2018071"/>
              <a:gd name="csX123" fmla="*/ 2378191 w 3437996"/>
              <a:gd name="csY123" fmla="*/ 547659 h 2018071"/>
              <a:gd name="csX124" fmla="*/ 2376534 w 3437996"/>
              <a:gd name="csY124" fmla="*/ 546075 h 2018071"/>
              <a:gd name="csX125" fmla="*/ 2368704 w 3437996"/>
              <a:gd name="csY125" fmla="*/ 538124 h 2018071"/>
              <a:gd name="csX126" fmla="*/ 2367021 w 3437996"/>
              <a:gd name="csY126" fmla="*/ 536517 h 2018071"/>
              <a:gd name="csX127" fmla="*/ 2360018 w 3437996"/>
              <a:gd name="csY127" fmla="*/ 529380 h 2018071"/>
              <a:gd name="csX128" fmla="*/ 2350552 w 3437996"/>
              <a:gd name="csY128" fmla="*/ 519835 h 2018071"/>
              <a:gd name="csX129" fmla="*/ 2348016 w 3437996"/>
              <a:gd name="csY129" fmla="*/ 517342 h 2018071"/>
              <a:gd name="csX130" fmla="*/ 2341054 w 3437996"/>
              <a:gd name="csY130" fmla="*/ 510297 h 2018071"/>
              <a:gd name="csX131" fmla="*/ 2338508 w 3437996"/>
              <a:gd name="csY131" fmla="*/ 507777 h 2018071"/>
              <a:gd name="csX132" fmla="*/ 2322020 w 3437996"/>
              <a:gd name="csY132" fmla="*/ 491243 h 2018071"/>
              <a:gd name="csX133" fmla="*/ 2319465 w 3437996"/>
              <a:gd name="csY133" fmla="*/ 488702 h 2018071"/>
              <a:gd name="csX134" fmla="*/ 2312510 w 3437996"/>
              <a:gd name="csY134" fmla="*/ 481725 h 2018071"/>
              <a:gd name="csX135" fmla="*/ 2309941 w 3437996"/>
              <a:gd name="csY135" fmla="*/ 479158 h 2018071"/>
              <a:gd name="csX136" fmla="*/ 2303024 w 3437996"/>
              <a:gd name="csY136" fmla="*/ 472210 h 2018071"/>
              <a:gd name="csX137" fmla="*/ 2300428 w 3437996"/>
              <a:gd name="csY137" fmla="*/ 469578 h 2018071"/>
              <a:gd name="csX138" fmla="*/ 2293545 w 3437996"/>
              <a:gd name="csY138" fmla="*/ 462697 h 2018071"/>
              <a:gd name="csX139" fmla="*/ 2290922 w 3437996"/>
              <a:gd name="csY139" fmla="*/ 459984 h 2018071"/>
              <a:gd name="csX140" fmla="*/ 2284051 w 3437996"/>
              <a:gd name="csY140" fmla="*/ 453172 h 2018071"/>
              <a:gd name="csX141" fmla="*/ 2281414 w 3437996"/>
              <a:gd name="csY141" fmla="*/ 450403 h 2018071"/>
              <a:gd name="csX142" fmla="*/ 2274560 w 3437996"/>
              <a:gd name="csY142" fmla="*/ 443646 h 2018071"/>
              <a:gd name="csX143" fmla="*/ 2271906 w 3437996"/>
              <a:gd name="csY143" fmla="*/ 440826 h 2018071"/>
              <a:gd name="csX144" fmla="*/ 2265120 w 3437996"/>
              <a:gd name="csY144" fmla="*/ 434112 h 2018071"/>
              <a:gd name="csX145" fmla="*/ 2262409 w 3437996"/>
              <a:gd name="csY145" fmla="*/ 431189 h 2018071"/>
              <a:gd name="csX146" fmla="*/ 2255765 w 3437996"/>
              <a:gd name="csY146" fmla="*/ 424557 h 2018071"/>
              <a:gd name="csX147" fmla="*/ 2252962 w 3437996"/>
              <a:gd name="csY147" fmla="*/ 421458 h 2018071"/>
              <a:gd name="csX148" fmla="*/ 2246361 w 3437996"/>
              <a:gd name="csY148" fmla="*/ 414989 h 2018071"/>
              <a:gd name="csX149" fmla="*/ 2226101 w 3437996"/>
              <a:gd name="csY149" fmla="*/ 394472 h 2018071"/>
              <a:gd name="csX150" fmla="*/ 2204126 w 3437996"/>
              <a:gd name="csY150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44017 w 3437996"/>
              <a:gd name="csY67" fmla="*/ 814773 h 2018071"/>
              <a:gd name="csX68" fmla="*/ 2642551 w 3437996"/>
              <a:gd name="csY68" fmla="*/ 813746 h 2018071"/>
              <a:gd name="csX69" fmla="*/ 2634494 w 3437996"/>
              <a:gd name="csY69" fmla="*/ 805208 h 2018071"/>
              <a:gd name="csX70" fmla="*/ 2633053 w 3437996"/>
              <a:gd name="csY70" fmla="*/ 804210 h 2018071"/>
              <a:gd name="csX71" fmla="*/ 2624994 w 3437996"/>
              <a:gd name="csY71" fmla="*/ 795655 h 2018071"/>
              <a:gd name="csX72" fmla="*/ 2623570 w 3437996"/>
              <a:gd name="csY72" fmla="*/ 794675 h 2018071"/>
              <a:gd name="csX73" fmla="*/ 2615495 w 3437996"/>
              <a:gd name="csY73" fmla="*/ 786111 h 2018071"/>
              <a:gd name="csX74" fmla="*/ 2614082 w 3437996"/>
              <a:gd name="csY74" fmla="*/ 785113 h 2018071"/>
              <a:gd name="csX75" fmla="*/ 2606007 w 3437996"/>
              <a:gd name="csY75" fmla="*/ 776562 h 2018071"/>
              <a:gd name="csX76" fmla="*/ 2604609 w 3437996"/>
              <a:gd name="csY76" fmla="*/ 775538 h 2018071"/>
              <a:gd name="csX77" fmla="*/ 2596489 w 3437996"/>
              <a:gd name="csY77" fmla="*/ 767032 h 2018071"/>
              <a:gd name="csX78" fmla="*/ 2595095 w 3437996"/>
              <a:gd name="csY78" fmla="*/ 766006 h 2018071"/>
              <a:gd name="csX79" fmla="*/ 2586954 w 3437996"/>
              <a:gd name="csY79" fmla="*/ 757512 h 2018071"/>
              <a:gd name="csX80" fmla="*/ 2585558 w 3437996"/>
              <a:gd name="csY80" fmla="*/ 756496 h 2018071"/>
              <a:gd name="csX81" fmla="*/ 2577410 w 3437996"/>
              <a:gd name="csY81" fmla="*/ 748000 h 2018071"/>
              <a:gd name="csX82" fmla="*/ 2576006 w 3437996"/>
              <a:gd name="csY82" fmla="*/ 747002 h 2018071"/>
              <a:gd name="csX83" fmla="*/ 2567871 w 3437996"/>
              <a:gd name="csY83" fmla="*/ 738486 h 2018071"/>
              <a:gd name="csX84" fmla="*/ 2566459 w 3437996"/>
              <a:gd name="csY84" fmla="*/ 737499 h 2018071"/>
              <a:gd name="csX85" fmla="*/ 2558352 w 3437996"/>
              <a:gd name="csY85" fmla="*/ 728962 h 2018071"/>
              <a:gd name="csX86" fmla="*/ 2556937 w 3437996"/>
              <a:gd name="csY86" fmla="*/ 727967 h 2018071"/>
              <a:gd name="csX87" fmla="*/ 2548845 w 3437996"/>
              <a:gd name="csY87" fmla="*/ 719430 h 2018071"/>
              <a:gd name="csX88" fmla="*/ 2547432 w 3437996"/>
              <a:gd name="csY88" fmla="*/ 718414 h 2018071"/>
              <a:gd name="csX89" fmla="*/ 2539350 w 3437996"/>
              <a:gd name="csY89" fmla="*/ 709894 h 2018071"/>
              <a:gd name="csX90" fmla="*/ 2537942 w 3437996"/>
              <a:gd name="csY90" fmla="*/ 708842 h 2018071"/>
              <a:gd name="csX91" fmla="*/ 2529865 w 3437996"/>
              <a:gd name="csY91" fmla="*/ 700356 h 2018071"/>
              <a:gd name="csX92" fmla="*/ 2528460 w 3437996"/>
              <a:gd name="csY92" fmla="*/ 699259 h 2018071"/>
              <a:gd name="csX93" fmla="*/ 2520386 w 3437996"/>
              <a:gd name="csY93" fmla="*/ 690820 h 2018071"/>
              <a:gd name="csX94" fmla="*/ 2518981 w 3437996"/>
              <a:gd name="csY94" fmla="*/ 689668 h 2018071"/>
              <a:gd name="csX95" fmla="*/ 2510900 w 3437996"/>
              <a:gd name="csY95" fmla="*/ 681286 h 2018071"/>
              <a:gd name="csX96" fmla="*/ 2509493 w 3437996"/>
              <a:gd name="csY96" fmla="*/ 680082 h 2018071"/>
              <a:gd name="csX97" fmla="*/ 2501400 w 3437996"/>
              <a:gd name="csY97" fmla="*/ 671754 h 2018071"/>
              <a:gd name="csX98" fmla="*/ 2499991 w 3437996"/>
              <a:gd name="csY98" fmla="*/ 670520 h 2018071"/>
              <a:gd name="csX99" fmla="*/ 2491892 w 3437996"/>
              <a:gd name="csY99" fmla="*/ 662222 h 2018071"/>
              <a:gd name="csX100" fmla="*/ 2490482 w 3437996"/>
              <a:gd name="csY100" fmla="*/ 660967 h 2018071"/>
              <a:gd name="csX101" fmla="*/ 2482391 w 3437996"/>
              <a:gd name="csY101" fmla="*/ 652682 h 2018071"/>
              <a:gd name="csX102" fmla="*/ 2480984 w 3437996"/>
              <a:gd name="csY102" fmla="*/ 651408 h 2018071"/>
              <a:gd name="csX103" fmla="*/ 2472919 w 3437996"/>
              <a:gd name="csY103" fmla="*/ 643127 h 2018071"/>
              <a:gd name="csX104" fmla="*/ 2471515 w 3437996"/>
              <a:gd name="csY104" fmla="*/ 641819 h 2018071"/>
              <a:gd name="csX105" fmla="*/ 2463424 w 3437996"/>
              <a:gd name="csY105" fmla="*/ 633584 h 2018071"/>
              <a:gd name="csX106" fmla="*/ 2462020 w 3437996"/>
              <a:gd name="csY106" fmla="*/ 632257 h 2018071"/>
              <a:gd name="csX107" fmla="*/ 2453925 w 3437996"/>
              <a:gd name="csY107" fmla="*/ 624049 h 2018071"/>
              <a:gd name="csX108" fmla="*/ 2452516 w 3437996"/>
              <a:gd name="csY108" fmla="*/ 622702 h 2018071"/>
              <a:gd name="csX109" fmla="*/ 2444450 w 3437996"/>
              <a:gd name="csY109" fmla="*/ 614506 h 2018071"/>
              <a:gd name="csX110" fmla="*/ 2443026 w 3437996"/>
              <a:gd name="csY110" fmla="*/ 613123 h 2018071"/>
              <a:gd name="csX111" fmla="*/ 2434957 w 3437996"/>
              <a:gd name="csY111" fmla="*/ 604969 h 2018071"/>
              <a:gd name="csX112" fmla="*/ 2433519 w 3437996"/>
              <a:gd name="csY112" fmla="*/ 603563 h 2018071"/>
              <a:gd name="csX113" fmla="*/ 2425486 w 3437996"/>
              <a:gd name="csY113" fmla="*/ 595418 h 2018071"/>
              <a:gd name="csX114" fmla="*/ 2424029 w 3437996"/>
              <a:gd name="csY114" fmla="*/ 593985 h 2018071"/>
              <a:gd name="csX115" fmla="*/ 2416081 w 3437996"/>
              <a:gd name="csY115" fmla="*/ 585841 h 2018071"/>
              <a:gd name="csX116" fmla="*/ 2414563 w 3437996"/>
              <a:gd name="csY116" fmla="*/ 584358 h 2018071"/>
              <a:gd name="csX117" fmla="*/ 2406640 w 3437996"/>
              <a:gd name="csY117" fmla="*/ 576281 h 2018071"/>
              <a:gd name="csX118" fmla="*/ 2397176 w 3437996"/>
              <a:gd name="csY118" fmla="*/ 566733 h 2018071"/>
              <a:gd name="csX119" fmla="*/ 2395561 w 3437996"/>
              <a:gd name="csY119" fmla="*/ 565186 h 2018071"/>
              <a:gd name="csX120" fmla="*/ 2387690 w 3437996"/>
              <a:gd name="csY120" fmla="*/ 557193 h 2018071"/>
              <a:gd name="csX121" fmla="*/ 2386050 w 3437996"/>
              <a:gd name="csY121" fmla="*/ 555624 h 2018071"/>
              <a:gd name="csX122" fmla="*/ 2378191 w 3437996"/>
              <a:gd name="csY122" fmla="*/ 547659 h 2018071"/>
              <a:gd name="csX123" fmla="*/ 2376534 w 3437996"/>
              <a:gd name="csY123" fmla="*/ 546075 h 2018071"/>
              <a:gd name="csX124" fmla="*/ 2368704 w 3437996"/>
              <a:gd name="csY124" fmla="*/ 538124 h 2018071"/>
              <a:gd name="csX125" fmla="*/ 2367021 w 3437996"/>
              <a:gd name="csY125" fmla="*/ 536517 h 2018071"/>
              <a:gd name="csX126" fmla="*/ 2360018 w 3437996"/>
              <a:gd name="csY126" fmla="*/ 529380 h 2018071"/>
              <a:gd name="csX127" fmla="*/ 2350552 w 3437996"/>
              <a:gd name="csY127" fmla="*/ 519835 h 2018071"/>
              <a:gd name="csX128" fmla="*/ 2348016 w 3437996"/>
              <a:gd name="csY128" fmla="*/ 517342 h 2018071"/>
              <a:gd name="csX129" fmla="*/ 2341054 w 3437996"/>
              <a:gd name="csY129" fmla="*/ 510297 h 2018071"/>
              <a:gd name="csX130" fmla="*/ 2338508 w 3437996"/>
              <a:gd name="csY130" fmla="*/ 507777 h 2018071"/>
              <a:gd name="csX131" fmla="*/ 2322020 w 3437996"/>
              <a:gd name="csY131" fmla="*/ 491243 h 2018071"/>
              <a:gd name="csX132" fmla="*/ 2319465 w 3437996"/>
              <a:gd name="csY132" fmla="*/ 488702 h 2018071"/>
              <a:gd name="csX133" fmla="*/ 2312510 w 3437996"/>
              <a:gd name="csY133" fmla="*/ 481725 h 2018071"/>
              <a:gd name="csX134" fmla="*/ 2309941 w 3437996"/>
              <a:gd name="csY134" fmla="*/ 479158 h 2018071"/>
              <a:gd name="csX135" fmla="*/ 2303024 w 3437996"/>
              <a:gd name="csY135" fmla="*/ 472210 h 2018071"/>
              <a:gd name="csX136" fmla="*/ 2300428 w 3437996"/>
              <a:gd name="csY136" fmla="*/ 469578 h 2018071"/>
              <a:gd name="csX137" fmla="*/ 2293545 w 3437996"/>
              <a:gd name="csY137" fmla="*/ 462697 h 2018071"/>
              <a:gd name="csX138" fmla="*/ 2290922 w 3437996"/>
              <a:gd name="csY138" fmla="*/ 459984 h 2018071"/>
              <a:gd name="csX139" fmla="*/ 2284051 w 3437996"/>
              <a:gd name="csY139" fmla="*/ 453172 h 2018071"/>
              <a:gd name="csX140" fmla="*/ 2281414 w 3437996"/>
              <a:gd name="csY140" fmla="*/ 450403 h 2018071"/>
              <a:gd name="csX141" fmla="*/ 2274560 w 3437996"/>
              <a:gd name="csY141" fmla="*/ 443646 h 2018071"/>
              <a:gd name="csX142" fmla="*/ 2271906 w 3437996"/>
              <a:gd name="csY142" fmla="*/ 440826 h 2018071"/>
              <a:gd name="csX143" fmla="*/ 2265120 w 3437996"/>
              <a:gd name="csY143" fmla="*/ 434112 h 2018071"/>
              <a:gd name="csX144" fmla="*/ 2262409 w 3437996"/>
              <a:gd name="csY144" fmla="*/ 431189 h 2018071"/>
              <a:gd name="csX145" fmla="*/ 2255765 w 3437996"/>
              <a:gd name="csY145" fmla="*/ 424557 h 2018071"/>
              <a:gd name="csX146" fmla="*/ 2252962 w 3437996"/>
              <a:gd name="csY146" fmla="*/ 421458 h 2018071"/>
              <a:gd name="csX147" fmla="*/ 2246361 w 3437996"/>
              <a:gd name="csY147" fmla="*/ 414989 h 2018071"/>
              <a:gd name="csX148" fmla="*/ 2226101 w 3437996"/>
              <a:gd name="csY148" fmla="*/ 394472 h 2018071"/>
              <a:gd name="csX149" fmla="*/ 2204126 w 3437996"/>
              <a:gd name="csY149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44017 w 3437996"/>
              <a:gd name="csY67" fmla="*/ 814773 h 2018071"/>
              <a:gd name="csX68" fmla="*/ 2642551 w 3437996"/>
              <a:gd name="csY68" fmla="*/ 813746 h 2018071"/>
              <a:gd name="csX69" fmla="*/ 2634494 w 3437996"/>
              <a:gd name="csY69" fmla="*/ 805208 h 2018071"/>
              <a:gd name="csX70" fmla="*/ 2633053 w 3437996"/>
              <a:gd name="csY70" fmla="*/ 804210 h 2018071"/>
              <a:gd name="csX71" fmla="*/ 2624994 w 3437996"/>
              <a:gd name="csY71" fmla="*/ 795655 h 2018071"/>
              <a:gd name="csX72" fmla="*/ 2623570 w 3437996"/>
              <a:gd name="csY72" fmla="*/ 794675 h 2018071"/>
              <a:gd name="csX73" fmla="*/ 2615495 w 3437996"/>
              <a:gd name="csY73" fmla="*/ 786111 h 2018071"/>
              <a:gd name="csX74" fmla="*/ 2614082 w 3437996"/>
              <a:gd name="csY74" fmla="*/ 785113 h 2018071"/>
              <a:gd name="csX75" fmla="*/ 2606007 w 3437996"/>
              <a:gd name="csY75" fmla="*/ 776562 h 2018071"/>
              <a:gd name="csX76" fmla="*/ 2604609 w 3437996"/>
              <a:gd name="csY76" fmla="*/ 775538 h 2018071"/>
              <a:gd name="csX77" fmla="*/ 2596489 w 3437996"/>
              <a:gd name="csY77" fmla="*/ 767032 h 2018071"/>
              <a:gd name="csX78" fmla="*/ 2595095 w 3437996"/>
              <a:gd name="csY78" fmla="*/ 766006 h 2018071"/>
              <a:gd name="csX79" fmla="*/ 2586954 w 3437996"/>
              <a:gd name="csY79" fmla="*/ 757512 h 2018071"/>
              <a:gd name="csX80" fmla="*/ 2585558 w 3437996"/>
              <a:gd name="csY80" fmla="*/ 756496 h 2018071"/>
              <a:gd name="csX81" fmla="*/ 2577410 w 3437996"/>
              <a:gd name="csY81" fmla="*/ 748000 h 2018071"/>
              <a:gd name="csX82" fmla="*/ 2576006 w 3437996"/>
              <a:gd name="csY82" fmla="*/ 747002 h 2018071"/>
              <a:gd name="csX83" fmla="*/ 2567871 w 3437996"/>
              <a:gd name="csY83" fmla="*/ 738486 h 2018071"/>
              <a:gd name="csX84" fmla="*/ 2566459 w 3437996"/>
              <a:gd name="csY84" fmla="*/ 737499 h 2018071"/>
              <a:gd name="csX85" fmla="*/ 2558352 w 3437996"/>
              <a:gd name="csY85" fmla="*/ 728962 h 2018071"/>
              <a:gd name="csX86" fmla="*/ 2556937 w 3437996"/>
              <a:gd name="csY86" fmla="*/ 727967 h 2018071"/>
              <a:gd name="csX87" fmla="*/ 2548845 w 3437996"/>
              <a:gd name="csY87" fmla="*/ 719430 h 2018071"/>
              <a:gd name="csX88" fmla="*/ 2547432 w 3437996"/>
              <a:gd name="csY88" fmla="*/ 718414 h 2018071"/>
              <a:gd name="csX89" fmla="*/ 2539350 w 3437996"/>
              <a:gd name="csY89" fmla="*/ 709894 h 2018071"/>
              <a:gd name="csX90" fmla="*/ 2537942 w 3437996"/>
              <a:gd name="csY90" fmla="*/ 708842 h 2018071"/>
              <a:gd name="csX91" fmla="*/ 2529865 w 3437996"/>
              <a:gd name="csY91" fmla="*/ 700356 h 2018071"/>
              <a:gd name="csX92" fmla="*/ 2528460 w 3437996"/>
              <a:gd name="csY92" fmla="*/ 699259 h 2018071"/>
              <a:gd name="csX93" fmla="*/ 2520386 w 3437996"/>
              <a:gd name="csY93" fmla="*/ 690820 h 2018071"/>
              <a:gd name="csX94" fmla="*/ 2518981 w 3437996"/>
              <a:gd name="csY94" fmla="*/ 689668 h 2018071"/>
              <a:gd name="csX95" fmla="*/ 2510900 w 3437996"/>
              <a:gd name="csY95" fmla="*/ 681286 h 2018071"/>
              <a:gd name="csX96" fmla="*/ 2509493 w 3437996"/>
              <a:gd name="csY96" fmla="*/ 680082 h 2018071"/>
              <a:gd name="csX97" fmla="*/ 2501400 w 3437996"/>
              <a:gd name="csY97" fmla="*/ 671754 h 2018071"/>
              <a:gd name="csX98" fmla="*/ 2499991 w 3437996"/>
              <a:gd name="csY98" fmla="*/ 670520 h 2018071"/>
              <a:gd name="csX99" fmla="*/ 2491892 w 3437996"/>
              <a:gd name="csY99" fmla="*/ 662222 h 2018071"/>
              <a:gd name="csX100" fmla="*/ 2490482 w 3437996"/>
              <a:gd name="csY100" fmla="*/ 660967 h 2018071"/>
              <a:gd name="csX101" fmla="*/ 2482391 w 3437996"/>
              <a:gd name="csY101" fmla="*/ 652682 h 2018071"/>
              <a:gd name="csX102" fmla="*/ 2480984 w 3437996"/>
              <a:gd name="csY102" fmla="*/ 651408 h 2018071"/>
              <a:gd name="csX103" fmla="*/ 2472919 w 3437996"/>
              <a:gd name="csY103" fmla="*/ 643127 h 2018071"/>
              <a:gd name="csX104" fmla="*/ 2471515 w 3437996"/>
              <a:gd name="csY104" fmla="*/ 641819 h 2018071"/>
              <a:gd name="csX105" fmla="*/ 2463424 w 3437996"/>
              <a:gd name="csY105" fmla="*/ 633584 h 2018071"/>
              <a:gd name="csX106" fmla="*/ 2462020 w 3437996"/>
              <a:gd name="csY106" fmla="*/ 632257 h 2018071"/>
              <a:gd name="csX107" fmla="*/ 2453925 w 3437996"/>
              <a:gd name="csY107" fmla="*/ 624049 h 2018071"/>
              <a:gd name="csX108" fmla="*/ 2452516 w 3437996"/>
              <a:gd name="csY108" fmla="*/ 622702 h 2018071"/>
              <a:gd name="csX109" fmla="*/ 2444450 w 3437996"/>
              <a:gd name="csY109" fmla="*/ 614506 h 2018071"/>
              <a:gd name="csX110" fmla="*/ 2434957 w 3437996"/>
              <a:gd name="csY110" fmla="*/ 604969 h 2018071"/>
              <a:gd name="csX111" fmla="*/ 2433519 w 3437996"/>
              <a:gd name="csY111" fmla="*/ 603563 h 2018071"/>
              <a:gd name="csX112" fmla="*/ 2425486 w 3437996"/>
              <a:gd name="csY112" fmla="*/ 595418 h 2018071"/>
              <a:gd name="csX113" fmla="*/ 2424029 w 3437996"/>
              <a:gd name="csY113" fmla="*/ 593985 h 2018071"/>
              <a:gd name="csX114" fmla="*/ 2416081 w 3437996"/>
              <a:gd name="csY114" fmla="*/ 585841 h 2018071"/>
              <a:gd name="csX115" fmla="*/ 2414563 w 3437996"/>
              <a:gd name="csY115" fmla="*/ 584358 h 2018071"/>
              <a:gd name="csX116" fmla="*/ 2406640 w 3437996"/>
              <a:gd name="csY116" fmla="*/ 576281 h 2018071"/>
              <a:gd name="csX117" fmla="*/ 2397176 w 3437996"/>
              <a:gd name="csY117" fmla="*/ 566733 h 2018071"/>
              <a:gd name="csX118" fmla="*/ 2395561 w 3437996"/>
              <a:gd name="csY118" fmla="*/ 565186 h 2018071"/>
              <a:gd name="csX119" fmla="*/ 2387690 w 3437996"/>
              <a:gd name="csY119" fmla="*/ 557193 h 2018071"/>
              <a:gd name="csX120" fmla="*/ 2386050 w 3437996"/>
              <a:gd name="csY120" fmla="*/ 555624 h 2018071"/>
              <a:gd name="csX121" fmla="*/ 2378191 w 3437996"/>
              <a:gd name="csY121" fmla="*/ 547659 h 2018071"/>
              <a:gd name="csX122" fmla="*/ 2376534 w 3437996"/>
              <a:gd name="csY122" fmla="*/ 546075 h 2018071"/>
              <a:gd name="csX123" fmla="*/ 2368704 w 3437996"/>
              <a:gd name="csY123" fmla="*/ 538124 h 2018071"/>
              <a:gd name="csX124" fmla="*/ 2367021 w 3437996"/>
              <a:gd name="csY124" fmla="*/ 536517 h 2018071"/>
              <a:gd name="csX125" fmla="*/ 2360018 w 3437996"/>
              <a:gd name="csY125" fmla="*/ 529380 h 2018071"/>
              <a:gd name="csX126" fmla="*/ 2350552 w 3437996"/>
              <a:gd name="csY126" fmla="*/ 519835 h 2018071"/>
              <a:gd name="csX127" fmla="*/ 2348016 w 3437996"/>
              <a:gd name="csY127" fmla="*/ 517342 h 2018071"/>
              <a:gd name="csX128" fmla="*/ 2341054 w 3437996"/>
              <a:gd name="csY128" fmla="*/ 510297 h 2018071"/>
              <a:gd name="csX129" fmla="*/ 2338508 w 3437996"/>
              <a:gd name="csY129" fmla="*/ 507777 h 2018071"/>
              <a:gd name="csX130" fmla="*/ 2322020 w 3437996"/>
              <a:gd name="csY130" fmla="*/ 491243 h 2018071"/>
              <a:gd name="csX131" fmla="*/ 2319465 w 3437996"/>
              <a:gd name="csY131" fmla="*/ 488702 h 2018071"/>
              <a:gd name="csX132" fmla="*/ 2312510 w 3437996"/>
              <a:gd name="csY132" fmla="*/ 481725 h 2018071"/>
              <a:gd name="csX133" fmla="*/ 2309941 w 3437996"/>
              <a:gd name="csY133" fmla="*/ 479158 h 2018071"/>
              <a:gd name="csX134" fmla="*/ 2303024 w 3437996"/>
              <a:gd name="csY134" fmla="*/ 472210 h 2018071"/>
              <a:gd name="csX135" fmla="*/ 2300428 w 3437996"/>
              <a:gd name="csY135" fmla="*/ 469578 h 2018071"/>
              <a:gd name="csX136" fmla="*/ 2293545 w 3437996"/>
              <a:gd name="csY136" fmla="*/ 462697 h 2018071"/>
              <a:gd name="csX137" fmla="*/ 2290922 w 3437996"/>
              <a:gd name="csY137" fmla="*/ 459984 h 2018071"/>
              <a:gd name="csX138" fmla="*/ 2284051 w 3437996"/>
              <a:gd name="csY138" fmla="*/ 453172 h 2018071"/>
              <a:gd name="csX139" fmla="*/ 2281414 w 3437996"/>
              <a:gd name="csY139" fmla="*/ 450403 h 2018071"/>
              <a:gd name="csX140" fmla="*/ 2274560 w 3437996"/>
              <a:gd name="csY140" fmla="*/ 443646 h 2018071"/>
              <a:gd name="csX141" fmla="*/ 2271906 w 3437996"/>
              <a:gd name="csY141" fmla="*/ 440826 h 2018071"/>
              <a:gd name="csX142" fmla="*/ 2265120 w 3437996"/>
              <a:gd name="csY142" fmla="*/ 434112 h 2018071"/>
              <a:gd name="csX143" fmla="*/ 2262409 w 3437996"/>
              <a:gd name="csY143" fmla="*/ 431189 h 2018071"/>
              <a:gd name="csX144" fmla="*/ 2255765 w 3437996"/>
              <a:gd name="csY144" fmla="*/ 424557 h 2018071"/>
              <a:gd name="csX145" fmla="*/ 2252962 w 3437996"/>
              <a:gd name="csY145" fmla="*/ 421458 h 2018071"/>
              <a:gd name="csX146" fmla="*/ 2246361 w 3437996"/>
              <a:gd name="csY146" fmla="*/ 414989 h 2018071"/>
              <a:gd name="csX147" fmla="*/ 2226101 w 3437996"/>
              <a:gd name="csY147" fmla="*/ 394472 h 2018071"/>
              <a:gd name="csX148" fmla="*/ 2204126 w 3437996"/>
              <a:gd name="csY148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44017 w 3437996"/>
              <a:gd name="csY67" fmla="*/ 814773 h 2018071"/>
              <a:gd name="csX68" fmla="*/ 2642551 w 3437996"/>
              <a:gd name="csY68" fmla="*/ 813746 h 2018071"/>
              <a:gd name="csX69" fmla="*/ 2634494 w 3437996"/>
              <a:gd name="csY69" fmla="*/ 805208 h 2018071"/>
              <a:gd name="csX70" fmla="*/ 2633053 w 3437996"/>
              <a:gd name="csY70" fmla="*/ 804210 h 2018071"/>
              <a:gd name="csX71" fmla="*/ 2624994 w 3437996"/>
              <a:gd name="csY71" fmla="*/ 795655 h 2018071"/>
              <a:gd name="csX72" fmla="*/ 2623570 w 3437996"/>
              <a:gd name="csY72" fmla="*/ 794675 h 2018071"/>
              <a:gd name="csX73" fmla="*/ 2615495 w 3437996"/>
              <a:gd name="csY73" fmla="*/ 786111 h 2018071"/>
              <a:gd name="csX74" fmla="*/ 2614082 w 3437996"/>
              <a:gd name="csY74" fmla="*/ 785113 h 2018071"/>
              <a:gd name="csX75" fmla="*/ 2606007 w 3437996"/>
              <a:gd name="csY75" fmla="*/ 776562 h 2018071"/>
              <a:gd name="csX76" fmla="*/ 2604609 w 3437996"/>
              <a:gd name="csY76" fmla="*/ 775538 h 2018071"/>
              <a:gd name="csX77" fmla="*/ 2596489 w 3437996"/>
              <a:gd name="csY77" fmla="*/ 767032 h 2018071"/>
              <a:gd name="csX78" fmla="*/ 2595095 w 3437996"/>
              <a:gd name="csY78" fmla="*/ 766006 h 2018071"/>
              <a:gd name="csX79" fmla="*/ 2586954 w 3437996"/>
              <a:gd name="csY79" fmla="*/ 757512 h 2018071"/>
              <a:gd name="csX80" fmla="*/ 2585558 w 3437996"/>
              <a:gd name="csY80" fmla="*/ 756496 h 2018071"/>
              <a:gd name="csX81" fmla="*/ 2577410 w 3437996"/>
              <a:gd name="csY81" fmla="*/ 748000 h 2018071"/>
              <a:gd name="csX82" fmla="*/ 2576006 w 3437996"/>
              <a:gd name="csY82" fmla="*/ 747002 h 2018071"/>
              <a:gd name="csX83" fmla="*/ 2567871 w 3437996"/>
              <a:gd name="csY83" fmla="*/ 738486 h 2018071"/>
              <a:gd name="csX84" fmla="*/ 2566459 w 3437996"/>
              <a:gd name="csY84" fmla="*/ 737499 h 2018071"/>
              <a:gd name="csX85" fmla="*/ 2558352 w 3437996"/>
              <a:gd name="csY85" fmla="*/ 728962 h 2018071"/>
              <a:gd name="csX86" fmla="*/ 2556937 w 3437996"/>
              <a:gd name="csY86" fmla="*/ 727967 h 2018071"/>
              <a:gd name="csX87" fmla="*/ 2548845 w 3437996"/>
              <a:gd name="csY87" fmla="*/ 719430 h 2018071"/>
              <a:gd name="csX88" fmla="*/ 2547432 w 3437996"/>
              <a:gd name="csY88" fmla="*/ 718414 h 2018071"/>
              <a:gd name="csX89" fmla="*/ 2539350 w 3437996"/>
              <a:gd name="csY89" fmla="*/ 709894 h 2018071"/>
              <a:gd name="csX90" fmla="*/ 2537942 w 3437996"/>
              <a:gd name="csY90" fmla="*/ 708842 h 2018071"/>
              <a:gd name="csX91" fmla="*/ 2529865 w 3437996"/>
              <a:gd name="csY91" fmla="*/ 700356 h 2018071"/>
              <a:gd name="csX92" fmla="*/ 2528460 w 3437996"/>
              <a:gd name="csY92" fmla="*/ 699259 h 2018071"/>
              <a:gd name="csX93" fmla="*/ 2520386 w 3437996"/>
              <a:gd name="csY93" fmla="*/ 690820 h 2018071"/>
              <a:gd name="csX94" fmla="*/ 2518981 w 3437996"/>
              <a:gd name="csY94" fmla="*/ 689668 h 2018071"/>
              <a:gd name="csX95" fmla="*/ 2510900 w 3437996"/>
              <a:gd name="csY95" fmla="*/ 681286 h 2018071"/>
              <a:gd name="csX96" fmla="*/ 2509493 w 3437996"/>
              <a:gd name="csY96" fmla="*/ 680082 h 2018071"/>
              <a:gd name="csX97" fmla="*/ 2501400 w 3437996"/>
              <a:gd name="csY97" fmla="*/ 671754 h 2018071"/>
              <a:gd name="csX98" fmla="*/ 2499991 w 3437996"/>
              <a:gd name="csY98" fmla="*/ 670520 h 2018071"/>
              <a:gd name="csX99" fmla="*/ 2491892 w 3437996"/>
              <a:gd name="csY99" fmla="*/ 662222 h 2018071"/>
              <a:gd name="csX100" fmla="*/ 2490482 w 3437996"/>
              <a:gd name="csY100" fmla="*/ 660967 h 2018071"/>
              <a:gd name="csX101" fmla="*/ 2480984 w 3437996"/>
              <a:gd name="csY101" fmla="*/ 651408 h 2018071"/>
              <a:gd name="csX102" fmla="*/ 2472919 w 3437996"/>
              <a:gd name="csY102" fmla="*/ 643127 h 2018071"/>
              <a:gd name="csX103" fmla="*/ 2471515 w 3437996"/>
              <a:gd name="csY103" fmla="*/ 641819 h 2018071"/>
              <a:gd name="csX104" fmla="*/ 2463424 w 3437996"/>
              <a:gd name="csY104" fmla="*/ 633584 h 2018071"/>
              <a:gd name="csX105" fmla="*/ 2462020 w 3437996"/>
              <a:gd name="csY105" fmla="*/ 632257 h 2018071"/>
              <a:gd name="csX106" fmla="*/ 2453925 w 3437996"/>
              <a:gd name="csY106" fmla="*/ 624049 h 2018071"/>
              <a:gd name="csX107" fmla="*/ 2452516 w 3437996"/>
              <a:gd name="csY107" fmla="*/ 622702 h 2018071"/>
              <a:gd name="csX108" fmla="*/ 2444450 w 3437996"/>
              <a:gd name="csY108" fmla="*/ 614506 h 2018071"/>
              <a:gd name="csX109" fmla="*/ 2434957 w 3437996"/>
              <a:gd name="csY109" fmla="*/ 604969 h 2018071"/>
              <a:gd name="csX110" fmla="*/ 2433519 w 3437996"/>
              <a:gd name="csY110" fmla="*/ 603563 h 2018071"/>
              <a:gd name="csX111" fmla="*/ 2425486 w 3437996"/>
              <a:gd name="csY111" fmla="*/ 595418 h 2018071"/>
              <a:gd name="csX112" fmla="*/ 2424029 w 3437996"/>
              <a:gd name="csY112" fmla="*/ 593985 h 2018071"/>
              <a:gd name="csX113" fmla="*/ 2416081 w 3437996"/>
              <a:gd name="csY113" fmla="*/ 585841 h 2018071"/>
              <a:gd name="csX114" fmla="*/ 2414563 w 3437996"/>
              <a:gd name="csY114" fmla="*/ 584358 h 2018071"/>
              <a:gd name="csX115" fmla="*/ 2406640 w 3437996"/>
              <a:gd name="csY115" fmla="*/ 576281 h 2018071"/>
              <a:gd name="csX116" fmla="*/ 2397176 w 3437996"/>
              <a:gd name="csY116" fmla="*/ 566733 h 2018071"/>
              <a:gd name="csX117" fmla="*/ 2395561 w 3437996"/>
              <a:gd name="csY117" fmla="*/ 565186 h 2018071"/>
              <a:gd name="csX118" fmla="*/ 2387690 w 3437996"/>
              <a:gd name="csY118" fmla="*/ 557193 h 2018071"/>
              <a:gd name="csX119" fmla="*/ 2386050 w 3437996"/>
              <a:gd name="csY119" fmla="*/ 555624 h 2018071"/>
              <a:gd name="csX120" fmla="*/ 2378191 w 3437996"/>
              <a:gd name="csY120" fmla="*/ 547659 h 2018071"/>
              <a:gd name="csX121" fmla="*/ 2376534 w 3437996"/>
              <a:gd name="csY121" fmla="*/ 546075 h 2018071"/>
              <a:gd name="csX122" fmla="*/ 2368704 w 3437996"/>
              <a:gd name="csY122" fmla="*/ 538124 h 2018071"/>
              <a:gd name="csX123" fmla="*/ 2367021 w 3437996"/>
              <a:gd name="csY123" fmla="*/ 536517 h 2018071"/>
              <a:gd name="csX124" fmla="*/ 2360018 w 3437996"/>
              <a:gd name="csY124" fmla="*/ 529380 h 2018071"/>
              <a:gd name="csX125" fmla="*/ 2350552 w 3437996"/>
              <a:gd name="csY125" fmla="*/ 519835 h 2018071"/>
              <a:gd name="csX126" fmla="*/ 2348016 w 3437996"/>
              <a:gd name="csY126" fmla="*/ 517342 h 2018071"/>
              <a:gd name="csX127" fmla="*/ 2341054 w 3437996"/>
              <a:gd name="csY127" fmla="*/ 510297 h 2018071"/>
              <a:gd name="csX128" fmla="*/ 2338508 w 3437996"/>
              <a:gd name="csY128" fmla="*/ 507777 h 2018071"/>
              <a:gd name="csX129" fmla="*/ 2322020 w 3437996"/>
              <a:gd name="csY129" fmla="*/ 491243 h 2018071"/>
              <a:gd name="csX130" fmla="*/ 2319465 w 3437996"/>
              <a:gd name="csY130" fmla="*/ 488702 h 2018071"/>
              <a:gd name="csX131" fmla="*/ 2312510 w 3437996"/>
              <a:gd name="csY131" fmla="*/ 481725 h 2018071"/>
              <a:gd name="csX132" fmla="*/ 2309941 w 3437996"/>
              <a:gd name="csY132" fmla="*/ 479158 h 2018071"/>
              <a:gd name="csX133" fmla="*/ 2303024 w 3437996"/>
              <a:gd name="csY133" fmla="*/ 472210 h 2018071"/>
              <a:gd name="csX134" fmla="*/ 2300428 w 3437996"/>
              <a:gd name="csY134" fmla="*/ 469578 h 2018071"/>
              <a:gd name="csX135" fmla="*/ 2293545 w 3437996"/>
              <a:gd name="csY135" fmla="*/ 462697 h 2018071"/>
              <a:gd name="csX136" fmla="*/ 2290922 w 3437996"/>
              <a:gd name="csY136" fmla="*/ 459984 h 2018071"/>
              <a:gd name="csX137" fmla="*/ 2284051 w 3437996"/>
              <a:gd name="csY137" fmla="*/ 453172 h 2018071"/>
              <a:gd name="csX138" fmla="*/ 2281414 w 3437996"/>
              <a:gd name="csY138" fmla="*/ 450403 h 2018071"/>
              <a:gd name="csX139" fmla="*/ 2274560 w 3437996"/>
              <a:gd name="csY139" fmla="*/ 443646 h 2018071"/>
              <a:gd name="csX140" fmla="*/ 2271906 w 3437996"/>
              <a:gd name="csY140" fmla="*/ 440826 h 2018071"/>
              <a:gd name="csX141" fmla="*/ 2265120 w 3437996"/>
              <a:gd name="csY141" fmla="*/ 434112 h 2018071"/>
              <a:gd name="csX142" fmla="*/ 2262409 w 3437996"/>
              <a:gd name="csY142" fmla="*/ 431189 h 2018071"/>
              <a:gd name="csX143" fmla="*/ 2255765 w 3437996"/>
              <a:gd name="csY143" fmla="*/ 424557 h 2018071"/>
              <a:gd name="csX144" fmla="*/ 2252962 w 3437996"/>
              <a:gd name="csY144" fmla="*/ 421458 h 2018071"/>
              <a:gd name="csX145" fmla="*/ 2246361 w 3437996"/>
              <a:gd name="csY145" fmla="*/ 414989 h 2018071"/>
              <a:gd name="csX146" fmla="*/ 2226101 w 3437996"/>
              <a:gd name="csY146" fmla="*/ 394472 h 2018071"/>
              <a:gd name="csX147" fmla="*/ 2204126 w 3437996"/>
              <a:gd name="csY147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44017 w 3437996"/>
              <a:gd name="csY67" fmla="*/ 814773 h 2018071"/>
              <a:gd name="csX68" fmla="*/ 2642551 w 3437996"/>
              <a:gd name="csY68" fmla="*/ 813746 h 2018071"/>
              <a:gd name="csX69" fmla="*/ 2634494 w 3437996"/>
              <a:gd name="csY69" fmla="*/ 805208 h 2018071"/>
              <a:gd name="csX70" fmla="*/ 2633053 w 3437996"/>
              <a:gd name="csY70" fmla="*/ 804210 h 2018071"/>
              <a:gd name="csX71" fmla="*/ 2624994 w 3437996"/>
              <a:gd name="csY71" fmla="*/ 795655 h 2018071"/>
              <a:gd name="csX72" fmla="*/ 2623570 w 3437996"/>
              <a:gd name="csY72" fmla="*/ 794675 h 2018071"/>
              <a:gd name="csX73" fmla="*/ 2615495 w 3437996"/>
              <a:gd name="csY73" fmla="*/ 786111 h 2018071"/>
              <a:gd name="csX74" fmla="*/ 2614082 w 3437996"/>
              <a:gd name="csY74" fmla="*/ 785113 h 2018071"/>
              <a:gd name="csX75" fmla="*/ 2606007 w 3437996"/>
              <a:gd name="csY75" fmla="*/ 776562 h 2018071"/>
              <a:gd name="csX76" fmla="*/ 2604609 w 3437996"/>
              <a:gd name="csY76" fmla="*/ 775538 h 2018071"/>
              <a:gd name="csX77" fmla="*/ 2596489 w 3437996"/>
              <a:gd name="csY77" fmla="*/ 767032 h 2018071"/>
              <a:gd name="csX78" fmla="*/ 2595095 w 3437996"/>
              <a:gd name="csY78" fmla="*/ 766006 h 2018071"/>
              <a:gd name="csX79" fmla="*/ 2586954 w 3437996"/>
              <a:gd name="csY79" fmla="*/ 757512 h 2018071"/>
              <a:gd name="csX80" fmla="*/ 2585558 w 3437996"/>
              <a:gd name="csY80" fmla="*/ 756496 h 2018071"/>
              <a:gd name="csX81" fmla="*/ 2577410 w 3437996"/>
              <a:gd name="csY81" fmla="*/ 748000 h 2018071"/>
              <a:gd name="csX82" fmla="*/ 2576006 w 3437996"/>
              <a:gd name="csY82" fmla="*/ 747002 h 2018071"/>
              <a:gd name="csX83" fmla="*/ 2567871 w 3437996"/>
              <a:gd name="csY83" fmla="*/ 738486 h 2018071"/>
              <a:gd name="csX84" fmla="*/ 2566459 w 3437996"/>
              <a:gd name="csY84" fmla="*/ 737499 h 2018071"/>
              <a:gd name="csX85" fmla="*/ 2558352 w 3437996"/>
              <a:gd name="csY85" fmla="*/ 728962 h 2018071"/>
              <a:gd name="csX86" fmla="*/ 2556937 w 3437996"/>
              <a:gd name="csY86" fmla="*/ 727967 h 2018071"/>
              <a:gd name="csX87" fmla="*/ 2548845 w 3437996"/>
              <a:gd name="csY87" fmla="*/ 719430 h 2018071"/>
              <a:gd name="csX88" fmla="*/ 2547432 w 3437996"/>
              <a:gd name="csY88" fmla="*/ 718414 h 2018071"/>
              <a:gd name="csX89" fmla="*/ 2539350 w 3437996"/>
              <a:gd name="csY89" fmla="*/ 709894 h 2018071"/>
              <a:gd name="csX90" fmla="*/ 2537942 w 3437996"/>
              <a:gd name="csY90" fmla="*/ 708842 h 2018071"/>
              <a:gd name="csX91" fmla="*/ 2529865 w 3437996"/>
              <a:gd name="csY91" fmla="*/ 700356 h 2018071"/>
              <a:gd name="csX92" fmla="*/ 2528460 w 3437996"/>
              <a:gd name="csY92" fmla="*/ 699259 h 2018071"/>
              <a:gd name="csX93" fmla="*/ 2520386 w 3437996"/>
              <a:gd name="csY93" fmla="*/ 690820 h 2018071"/>
              <a:gd name="csX94" fmla="*/ 2510900 w 3437996"/>
              <a:gd name="csY94" fmla="*/ 681286 h 2018071"/>
              <a:gd name="csX95" fmla="*/ 2509493 w 3437996"/>
              <a:gd name="csY95" fmla="*/ 680082 h 2018071"/>
              <a:gd name="csX96" fmla="*/ 2501400 w 3437996"/>
              <a:gd name="csY96" fmla="*/ 671754 h 2018071"/>
              <a:gd name="csX97" fmla="*/ 2499991 w 3437996"/>
              <a:gd name="csY97" fmla="*/ 670520 h 2018071"/>
              <a:gd name="csX98" fmla="*/ 2491892 w 3437996"/>
              <a:gd name="csY98" fmla="*/ 662222 h 2018071"/>
              <a:gd name="csX99" fmla="*/ 2490482 w 3437996"/>
              <a:gd name="csY99" fmla="*/ 660967 h 2018071"/>
              <a:gd name="csX100" fmla="*/ 2480984 w 3437996"/>
              <a:gd name="csY100" fmla="*/ 651408 h 2018071"/>
              <a:gd name="csX101" fmla="*/ 2472919 w 3437996"/>
              <a:gd name="csY101" fmla="*/ 643127 h 2018071"/>
              <a:gd name="csX102" fmla="*/ 2471515 w 3437996"/>
              <a:gd name="csY102" fmla="*/ 641819 h 2018071"/>
              <a:gd name="csX103" fmla="*/ 2463424 w 3437996"/>
              <a:gd name="csY103" fmla="*/ 633584 h 2018071"/>
              <a:gd name="csX104" fmla="*/ 2462020 w 3437996"/>
              <a:gd name="csY104" fmla="*/ 632257 h 2018071"/>
              <a:gd name="csX105" fmla="*/ 2453925 w 3437996"/>
              <a:gd name="csY105" fmla="*/ 624049 h 2018071"/>
              <a:gd name="csX106" fmla="*/ 2452516 w 3437996"/>
              <a:gd name="csY106" fmla="*/ 622702 h 2018071"/>
              <a:gd name="csX107" fmla="*/ 2444450 w 3437996"/>
              <a:gd name="csY107" fmla="*/ 614506 h 2018071"/>
              <a:gd name="csX108" fmla="*/ 2434957 w 3437996"/>
              <a:gd name="csY108" fmla="*/ 604969 h 2018071"/>
              <a:gd name="csX109" fmla="*/ 2433519 w 3437996"/>
              <a:gd name="csY109" fmla="*/ 603563 h 2018071"/>
              <a:gd name="csX110" fmla="*/ 2425486 w 3437996"/>
              <a:gd name="csY110" fmla="*/ 595418 h 2018071"/>
              <a:gd name="csX111" fmla="*/ 2424029 w 3437996"/>
              <a:gd name="csY111" fmla="*/ 593985 h 2018071"/>
              <a:gd name="csX112" fmla="*/ 2416081 w 3437996"/>
              <a:gd name="csY112" fmla="*/ 585841 h 2018071"/>
              <a:gd name="csX113" fmla="*/ 2414563 w 3437996"/>
              <a:gd name="csY113" fmla="*/ 584358 h 2018071"/>
              <a:gd name="csX114" fmla="*/ 2406640 w 3437996"/>
              <a:gd name="csY114" fmla="*/ 576281 h 2018071"/>
              <a:gd name="csX115" fmla="*/ 2397176 w 3437996"/>
              <a:gd name="csY115" fmla="*/ 566733 h 2018071"/>
              <a:gd name="csX116" fmla="*/ 2395561 w 3437996"/>
              <a:gd name="csY116" fmla="*/ 565186 h 2018071"/>
              <a:gd name="csX117" fmla="*/ 2387690 w 3437996"/>
              <a:gd name="csY117" fmla="*/ 557193 h 2018071"/>
              <a:gd name="csX118" fmla="*/ 2386050 w 3437996"/>
              <a:gd name="csY118" fmla="*/ 555624 h 2018071"/>
              <a:gd name="csX119" fmla="*/ 2378191 w 3437996"/>
              <a:gd name="csY119" fmla="*/ 547659 h 2018071"/>
              <a:gd name="csX120" fmla="*/ 2376534 w 3437996"/>
              <a:gd name="csY120" fmla="*/ 546075 h 2018071"/>
              <a:gd name="csX121" fmla="*/ 2368704 w 3437996"/>
              <a:gd name="csY121" fmla="*/ 538124 h 2018071"/>
              <a:gd name="csX122" fmla="*/ 2367021 w 3437996"/>
              <a:gd name="csY122" fmla="*/ 536517 h 2018071"/>
              <a:gd name="csX123" fmla="*/ 2360018 w 3437996"/>
              <a:gd name="csY123" fmla="*/ 529380 h 2018071"/>
              <a:gd name="csX124" fmla="*/ 2350552 w 3437996"/>
              <a:gd name="csY124" fmla="*/ 519835 h 2018071"/>
              <a:gd name="csX125" fmla="*/ 2348016 w 3437996"/>
              <a:gd name="csY125" fmla="*/ 517342 h 2018071"/>
              <a:gd name="csX126" fmla="*/ 2341054 w 3437996"/>
              <a:gd name="csY126" fmla="*/ 510297 h 2018071"/>
              <a:gd name="csX127" fmla="*/ 2338508 w 3437996"/>
              <a:gd name="csY127" fmla="*/ 507777 h 2018071"/>
              <a:gd name="csX128" fmla="*/ 2322020 w 3437996"/>
              <a:gd name="csY128" fmla="*/ 491243 h 2018071"/>
              <a:gd name="csX129" fmla="*/ 2319465 w 3437996"/>
              <a:gd name="csY129" fmla="*/ 488702 h 2018071"/>
              <a:gd name="csX130" fmla="*/ 2312510 w 3437996"/>
              <a:gd name="csY130" fmla="*/ 481725 h 2018071"/>
              <a:gd name="csX131" fmla="*/ 2309941 w 3437996"/>
              <a:gd name="csY131" fmla="*/ 479158 h 2018071"/>
              <a:gd name="csX132" fmla="*/ 2303024 w 3437996"/>
              <a:gd name="csY132" fmla="*/ 472210 h 2018071"/>
              <a:gd name="csX133" fmla="*/ 2300428 w 3437996"/>
              <a:gd name="csY133" fmla="*/ 469578 h 2018071"/>
              <a:gd name="csX134" fmla="*/ 2293545 w 3437996"/>
              <a:gd name="csY134" fmla="*/ 462697 h 2018071"/>
              <a:gd name="csX135" fmla="*/ 2290922 w 3437996"/>
              <a:gd name="csY135" fmla="*/ 459984 h 2018071"/>
              <a:gd name="csX136" fmla="*/ 2284051 w 3437996"/>
              <a:gd name="csY136" fmla="*/ 453172 h 2018071"/>
              <a:gd name="csX137" fmla="*/ 2281414 w 3437996"/>
              <a:gd name="csY137" fmla="*/ 450403 h 2018071"/>
              <a:gd name="csX138" fmla="*/ 2274560 w 3437996"/>
              <a:gd name="csY138" fmla="*/ 443646 h 2018071"/>
              <a:gd name="csX139" fmla="*/ 2271906 w 3437996"/>
              <a:gd name="csY139" fmla="*/ 440826 h 2018071"/>
              <a:gd name="csX140" fmla="*/ 2265120 w 3437996"/>
              <a:gd name="csY140" fmla="*/ 434112 h 2018071"/>
              <a:gd name="csX141" fmla="*/ 2262409 w 3437996"/>
              <a:gd name="csY141" fmla="*/ 431189 h 2018071"/>
              <a:gd name="csX142" fmla="*/ 2255765 w 3437996"/>
              <a:gd name="csY142" fmla="*/ 424557 h 2018071"/>
              <a:gd name="csX143" fmla="*/ 2252962 w 3437996"/>
              <a:gd name="csY143" fmla="*/ 421458 h 2018071"/>
              <a:gd name="csX144" fmla="*/ 2246361 w 3437996"/>
              <a:gd name="csY144" fmla="*/ 414989 h 2018071"/>
              <a:gd name="csX145" fmla="*/ 2226101 w 3437996"/>
              <a:gd name="csY145" fmla="*/ 394472 h 2018071"/>
              <a:gd name="csX146" fmla="*/ 2204126 w 3437996"/>
              <a:gd name="csY146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44017 w 3437996"/>
              <a:gd name="csY67" fmla="*/ 814773 h 2018071"/>
              <a:gd name="csX68" fmla="*/ 2642551 w 3437996"/>
              <a:gd name="csY68" fmla="*/ 813746 h 2018071"/>
              <a:gd name="csX69" fmla="*/ 2634494 w 3437996"/>
              <a:gd name="csY69" fmla="*/ 805208 h 2018071"/>
              <a:gd name="csX70" fmla="*/ 2633053 w 3437996"/>
              <a:gd name="csY70" fmla="*/ 804210 h 2018071"/>
              <a:gd name="csX71" fmla="*/ 2624994 w 3437996"/>
              <a:gd name="csY71" fmla="*/ 795655 h 2018071"/>
              <a:gd name="csX72" fmla="*/ 2623570 w 3437996"/>
              <a:gd name="csY72" fmla="*/ 794675 h 2018071"/>
              <a:gd name="csX73" fmla="*/ 2615495 w 3437996"/>
              <a:gd name="csY73" fmla="*/ 786111 h 2018071"/>
              <a:gd name="csX74" fmla="*/ 2614082 w 3437996"/>
              <a:gd name="csY74" fmla="*/ 785113 h 2018071"/>
              <a:gd name="csX75" fmla="*/ 2606007 w 3437996"/>
              <a:gd name="csY75" fmla="*/ 776562 h 2018071"/>
              <a:gd name="csX76" fmla="*/ 2604609 w 3437996"/>
              <a:gd name="csY76" fmla="*/ 775538 h 2018071"/>
              <a:gd name="csX77" fmla="*/ 2596489 w 3437996"/>
              <a:gd name="csY77" fmla="*/ 767032 h 2018071"/>
              <a:gd name="csX78" fmla="*/ 2595095 w 3437996"/>
              <a:gd name="csY78" fmla="*/ 766006 h 2018071"/>
              <a:gd name="csX79" fmla="*/ 2586954 w 3437996"/>
              <a:gd name="csY79" fmla="*/ 757512 h 2018071"/>
              <a:gd name="csX80" fmla="*/ 2585558 w 3437996"/>
              <a:gd name="csY80" fmla="*/ 756496 h 2018071"/>
              <a:gd name="csX81" fmla="*/ 2577410 w 3437996"/>
              <a:gd name="csY81" fmla="*/ 748000 h 2018071"/>
              <a:gd name="csX82" fmla="*/ 2576006 w 3437996"/>
              <a:gd name="csY82" fmla="*/ 747002 h 2018071"/>
              <a:gd name="csX83" fmla="*/ 2567871 w 3437996"/>
              <a:gd name="csY83" fmla="*/ 738486 h 2018071"/>
              <a:gd name="csX84" fmla="*/ 2566459 w 3437996"/>
              <a:gd name="csY84" fmla="*/ 737499 h 2018071"/>
              <a:gd name="csX85" fmla="*/ 2558352 w 3437996"/>
              <a:gd name="csY85" fmla="*/ 728962 h 2018071"/>
              <a:gd name="csX86" fmla="*/ 2556937 w 3437996"/>
              <a:gd name="csY86" fmla="*/ 727967 h 2018071"/>
              <a:gd name="csX87" fmla="*/ 2547432 w 3437996"/>
              <a:gd name="csY87" fmla="*/ 718414 h 2018071"/>
              <a:gd name="csX88" fmla="*/ 2539350 w 3437996"/>
              <a:gd name="csY88" fmla="*/ 709894 h 2018071"/>
              <a:gd name="csX89" fmla="*/ 2537942 w 3437996"/>
              <a:gd name="csY89" fmla="*/ 708842 h 2018071"/>
              <a:gd name="csX90" fmla="*/ 2529865 w 3437996"/>
              <a:gd name="csY90" fmla="*/ 700356 h 2018071"/>
              <a:gd name="csX91" fmla="*/ 2528460 w 3437996"/>
              <a:gd name="csY91" fmla="*/ 699259 h 2018071"/>
              <a:gd name="csX92" fmla="*/ 2520386 w 3437996"/>
              <a:gd name="csY92" fmla="*/ 690820 h 2018071"/>
              <a:gd name="csX93" fmla="*/ 2510900 w 3437996"/>
              <a:gd name="csY93" fmla="*/ 681286 h 2018071"/>
              <a:gd name="csX94" fmla="*/ 2509493 w 3437996"/>
              <a:gd name="csY94" fmla="*/ 680082 h 2018071"/>
              <a:gd name="csX95" fmla="*/ 2501400 w 3437996"/>
              <a:gd name="csY95" fmla="*/ 671754 h 2018071"/>
              <a:gd name="csX96" fmla="*/ 2499991 w 3437996"/>
              <a:gd name="csY96" fmla="*/ 670520 h 2018071"/>
              <a:gd name="csX97" fmla="*/ 2491892 w 3437996"/>
              <a:gd name="csY97" fmla="*/ 662222 h 2018071"/>
              <a:gd name="csX98" fmla="*/ 2490482 w 3437996"/>
              <a:gd name="csY98" fmla="*/ 660967 h 2018071"/>
              <a:gd name="csX99" fmla="*/ 2480984 w 3437996"/>
              <a:gd name="csY99" fmla="*/ 651408 h 2018071"/>
              <a:gd name="csX100" fmla="*/ 2472919 w 3437996"/>
              <a:gd name="csY100" fmla="*/ 643127 h 2018071"/>
              <a:gd name="csX101" fmla="*/ 2471515 w 3437996"/>
              <a:gd name="csY101" fmla="*/ 641819 h 2018071"/>
              <a:gd name="csX102" fmla="*/ 2463424 w 3437996"/>
              <a:gd name="csY102" fmla="*/ 633584 h 2018071"/>
              <a:gd name="csX103" fmla="*/ 2462020 w 3437996"/>
              <a:gd name="csY103" fmla="*/ 632257 h 2018071"/>
              <a:gd name="csX104" fmla="*/ 2453925 w 3437996"/>
              <a:gd name="csY104" fmla="*/ 624049 h 2018071"/>
              <a:gd name="csX105" fmla="*/ 2452516 w 3437996"/>
              <a:gd name="csY105" fmla="*/ 622702 h 2018071"/>
              <a:gd name="csX106" fmla="*/ 2444450 w 3437996"/>
              <a:gd name="csY106" fmla="*/ 614506 h 2018071"/>
              <a:gd name="csX107" fmla="*/ 2434957 w 3437996"/>
              <a:gd name="csY107" fmla="*/ 604969 h 2018071"/>
              <a:gd name="csX108" fmla="*/ 2433519 w 3437996"/>
              <a:gd name="csY108" fmla="*/ 603563 h 2018071"/>
              <a:gd name="csX109" fmla="*/ 2425486 w 3437996"/>
              <a:gd name="csY109" fmla="*/ 595418 h 2018071"/>
              <a:gd name="csX110" fmla="*/ 2424029 w 3437996"/>
              <a:gd name="csY110" fmla="*/ 593985 h 2018071"/>
              <a:gd name="csX111" fmla="*/ 2416081 w 3437996"/>
              <a:gd name="csY111" fmla="*/ 585841 h 2018071"/>
              <a:gd name="csX112" fmla="*/ 2414563 w 3437996"/>
              <a:gd name="csY112" fmla="*/ 584358 h 2018071"/>
              <a:gd name="csX113" fmla="*/ 2406640 w 3437996"/>
              <a:gd name="csY113" fmla="*/ 576281 h 2018071"/>
              <a:gd name="csX114" fmla="*/ 2397176 w 3437996"/>
              <a:gd name="csY114" fmla="*/ 566733 h 2018071"/>
              <a:gd name="csX115" fmla="*/ 2395561 w 3437996"/>
              <a:gd name="csY115" fmla="*/ 565186 h 2018071"/>
              <a:gd name="csX116" fmla="*/ 2387690 w 3437996"/>
              <a:gd name="csY116" fmla="*/ 557193 h 2018071"/>
              <a:gd name="csX117" fmla="*/ 2386050 w 3437996"/>
              <a:gd name="csY117" fmla="*/ 555624 h 2018071"/>
              <a:gd name="csX118" fmla="*/ 2378191 w 3437996"/>
              <a:gd name="csY118" fmla="*/ 547659 h 2018071"/>
              <a:gd name="csX119" fmla="*/ 2376534 w 3437996"/>
              <a:gd name="csY119" fmla="*/ 546075 h 2018071"/>
              <a:gd name="csX120" fmla="*/ 2368704 w 3437996"/>
              <a:gd name="csY120" fmla="*/ 538124 h 2018071"/>
              <a:gd name="csX121" fmla="*/ 2367021 w 3437996"/>
              <a:gd name="csY121" fmla="*/ 536517 h 2018071"/>
              <a:gd name="csX122" fmla="*/ 2360018 w 3437996"/>
              <a:gd name="csY122" fmla="*/ 529380 h 2018071"/>
              <a:gd name="csX123" fmla="*/ 2350552 w 3437996"/>
              <a:gd name="csY123" fmla="*/ 519835 h 2018071"/>
              <a:gd name="csX124" fmla="*/ 2348016 w 3437996"/>
              <a:gd name="csY124" fmla="*/ 517342 h 2018071"/>
              <a:gd name="csX125" fmla="*/ 2341054 w 3437996"/>
              <a:gd name="csY125" fmla="*/ 510297 h 2018071"/>
              <a:gd name="csX126" fmla="*/ 2338508 w 3437996"/>
              <a:gd name="csY126" fmla="*/ 507777 h 2018071"/>
              <a:gd name="csX127" fmla="*/ 2322020 w 3437996"/>
              <a:gd name="csY127" fmla="*/ 491243 h 2018071"/>
              <a:gd name="csX128" fmla="*/ 2319465 w 3437996"/>
              <a:gd name="csY128" fmla="*/ 488702 h 2018071"/>
              <a:gd name="csX129" fmla="*/ 2312510 w 3437996"/>
              <a:gd name="csY129" fmla="*/ 481725 h 2018071"/>
              <a:gd name="csX130" fmla="*/ 2309941 w 3437996"/>
              <a:gd name="csY130" fmla="*/ 479158 h 2018071"/>
              <a:gd name="csX131" fmla="*/ 2303024 w 3437996"/>
              <a:gd name="csY131" fmla="*/ 472210 h 2018071"/>
              <a:gd name="csX132" fmla="*/ 2300428 w 3437996"/>
              <a:gd name="csY132" fmla="*/ 469578 h 2018071"/>
              <a:gd name="csX133" fmla="*/ 2293545 w 3437996"/>
              <a:gd name="csY133" fmla="*/ 462697 h 2018071"/>
              <a:gd name="csX134" fmla="*/ 2290922 w 3437996"/>
              <a:gd name="csY134" fmla="*/ 459984 h 2018071"/>
              <a:gd name="csX135" fmla="*/ 2284051 w 3437996"/>
              <a:gd name="csY135" fmla="*/ 453172 h 2018071"/>
              <a:gd name="csX136" fmla="*/ 2281414 w 3437996"/>
              <a:gd name="csY136" fmla="*/ 450403 h 2018071"/>
              <a:gd name="csX137" fmla="*/ 2274560 w 3437996"/>
              <a:gd name="csY137" fmla="*/ 443646 h 2018071"/>
              <a:gd name="csX138" fmla="*/ 2271906 w 3437996"/>
              <a:gd name="csY138" fmla="*/ 440826 h 2018071"/>
              <a:gd name="csX139" fmla="*/ 2265120 w 3437996"/>
              <a:gd name="csY139" fmla="*/ 434112 h 2018071"/>
              <a:gd name="csX140" fmla="*/ 2262409 w 3437996"/>
              <a:gd name="csY140" fmla="*/ 431189 h 2018071"/>
              <a:gd name="csX141" fmla="*/ 2255765 w 3437996"/>
              <a:gd name="csY141" fmla="*/ 424557 h 2018071"/>
              <a:gd name="csX142" fmla="*/ 2252962 w 3437996"/>
              <a:gd name="csY142" fmla="*/ 421458 h 2018071"/>
              <a:gd name="csX143" fmla="*/ 2246361 w 3437996"/>
              <a:gd name="csY143" fmla="*/ 414989 h 2018071"/>
              <a:gd name="csX144" fmla="*/ 2226101 w 3437996"/>
              <a:gd name="csY144" fmla="*/ 394472 h 2018071"/>
              <a:gd name="csX145" fmla="*/ 2204126 w 3437996"/>
              <a:gd name="csY145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44017 w 3437996"/>
              <a:gd name="csY67" fmla="*/ 814773 h 2018071"/>
              <a:gd name="csX68" fmla="*/ 2642551 w 3437996"/>
              <a:gd name="csY68" fmla="*/ 813746 h 2018071"/>
              <a:gd name="csX69" fmla="*/ 2634494 w 3437996"/>
              <a:gd name="csY69" fmla="*/ 805208 h 2018071"/>
              <a:gd name="csX70" fmla="*/ 2633053 w 3437996"/>
              <a:gd name="csY70" fmla="*/ 804210 h 2018071"/>
              <a:gd name="csX71" fmla="*/ 2624994 w 3437996"/>
              <a:gd name="csY71" fmla="*/ 795655 h 2018071"/>
              <a:gd name="csX72" fmla="*/ 2623570 w 3437996"/>
              <a:gd name="csY72" fmla="*/ 794675 h 2018071"/>
              <a:gd name="csX73" fmla="*/ 2615495 w 3437996"/>
              <a:gd name="csY73" fmla="*/ 786111 h 2018071"/>
              <a:gd name="csX74" fmla="*/ 2614082 w 3437996"/>
              <a:gd name="csY74" fmla="*/ 785113 h 2018071"/>
              <a:gd name="csX75" fmla="*/ 2606007 w 3437996"/>
              <a:gd name="csY75" fmla="*/ 776562 h 2018071"/>
              <a:gd name="csX76" fmla="*/ 2604609 w 3437996"/>
              <a:gd name="csY76" fmla="*/ 775538 h 2018071"/>
              <a:gd name="csX77" fmla="*/ 2596489 w 3437996"/>
              <a:gd name="csY77" fmla="*/ 767032 h 2018071"/>
              <a:gd name="csX78" fmla="*/ 2595095 w 3437996"/>
              <a:gd name="csY78" fmla="*/ 766006 h 2018071"/>
              <a:gd name="csX79" fmla="*/ 2586954 w 3437996"/>
              <a:gd name="csY79" fmla="*/ 757512 h 2018071"/>
              <a:gd name="csX80" fmla="*/ 2585558 w 3437996"/>
              <a:gd name="csY80" fmla="*/ 756496 h 2018071"/>
              <a:gd name="csX81" fmla="*/ 2576006 w 3437996"/>
              <a:gd name="csY81" fmla="*/ 747002 h 2018071"/>
              <a:gd name="csX82" fmla="*/ 2567871 w 3437996"/>
              <a:gd name="csY82" fmla="*/ 738486 h 2018071"/>
              <a:gd name="csX83" fmla="*/ 2566459 w 3437996"/>
              <a:gd name="csY83" fmla="*/ 737499 h 2018071"/>
              <a:gd name="csX84" fmla="*/ 2558352 w 3437996"/>
              <a:gd name="csY84" fmla="*/ 728962 h 2018071"/>
              <a:gd name="csX85" fmla="*/ 2556937 w 3437996"/>
              <a:gd name="csY85" fmla="*/ 727967 h 2018071"/>
              <a:gd name="csX86" fmla="*/ 2547432 w 3437996"/>
              <a:gd name="csY86" fmla="*/ 718414 h 2018071"/>
              <a:gd name="csX87" fmla="*/ 2539350 w 3437996"/>
              <a:gd name="csY87" fmla="*/ 709894 h 2018071"/>
              <a:gd name="csX88" fmla="*/ 2537942 w 3437996"/>
              <a:gd name="csY88" fmla="*/ 708842 h 2018071"/>
              <a:gd name="csX89" fmla="*/ 2529865 w 3437996"/>
              <a:gd name="csY89" fmla="*/ 700356 h 2018071"/>
              <a:gd name="csX90" fmla="*/ 2528460 w 3437996"/>
              <a:gd name="csY90" fmla="*/ 699259 h 2018071"/>
              <a:gd name="csX91" fmla="*/ 2520386 w 3437996"/>
              <a:gd name="csY91" fmla="*/ 690820 h 2018071"/>
              <a:gd name="csX92" fmla="*/ 2510900 w 3437996"/>
              <a:gd name="csY92" fmla="*/ 681286 h 2018071"/>
              <a:gd name="csX93" fmla="*/ 2509493 w 3437996"/>
              <a:gd name="csY93" fmla="*/ 680082 h 2018071"/>
              <a:gd name="csX94" fmla="*/ 2501400 w 3437996"/>
              <a:gd name="csY94" fmla="*/ 671754 h 2018071"/>
              <a:gd name="csX95" fmla="*/ 2499991 w 3437996"/>
              <a:gd name="csY95" fmla="*/ 670520 h 2018071"/>
              <a:gd name="csX96" fmla="*/ 2491892 w 3437996"/>
              <a:gd name="csY96" fmla="*/ 662222 h 2018071"/>
              <a:gd name="csX97" fmla="*/ 2490482 w 3437996"/>
              <a:gd name="csY97" fmla="*/ 660967 h 2018071"/>
              <a:gd name="csX98" fmla="*/ 2480984 w 3437996"/>
              <a:gd name="csY98" fmla="*/ 651408 h 2018071"/>
              <a:gd name="csX99" fmla="*/ 2472919 w 3437996"/>
              <a:gd name="csY99" fmla="*/ 643127 h 2018071"/>
              <a:gd name="csX100" fmla="*/ 2471515 w 3437996"/>
              <a:gd name="csY100" fmla="*/ 641819 h 2018071"/>
              <a:gd name="csX101" fmla="*/ 2463424 w 3437996"/>
              <a:gd name="csY101" fmla="*/ 633584 h 2018071"/>
              <a:gd name="csX102" fmla="*/ 2462020 w 3437996"/>
              <a:gd name="csY102" fmla="*/ 632257 h 2018071"/>
              <a:gd name="csX103" fmla="*/ 2453925 w 3437996"/>
              <a:gd name="csY103" fmla="*/ 624049 h 2018071"/>
              <a:gd name="csX104" fmla="*/ 2452516 w 3437996"/>
              <a:gd name="csY104" fmla="*/ 622702 h 2018071"/>
              <a:gd name="csX105" fmla="*/ 2444450 w 3437996"/>
              <a:gd name="csY105" fmla="*/ 614506 h 2018071"/>
              <a:gd name="csX106" fmla="*/ 2434957 w 3437996"/>
              <a:gd name="csY106" fmla="*/ 604969 h 2018071"/>
              <a:gd name="csX107" fmla="*/ 2433519 w 3437996"/>
              <a:gd name="csY107" fmla="*/ 603563 h 2018071"/>
              <a:gd name="csX108" fmla="*/ 2425486 w 3437996"/>
              <a:gd name="csY108" fmla="*/ 595418 h 2018071"/>
              <a:gd name="csX109" fmla="*/ 2424029 w 3437996"/>
              <a:gd name="csY109" fmla="*/ 593985 h 2018071"/>
              <a:gd name="csX110" fmla="*/ 2416081 w 3437996"/>
              <a:gd name="csY110" fmla="*/ 585841 h 2018071"/>
              <a:gd name="csX111" fmla="*/ 2414563 w 3437996"/>
              <a:gd name="csY111" fmla="*/ 584358 h 2018071"/>
              <a:gd name="csX112" fmla="*/ 2406640 w 3437996"/>
              <a:gd name="csY112" fmla="*/ 576281 h 2018071"/>
              <a:gd name="csX113" fmla="*/ 2397176 w 3437996"/>
              <a:gd name="csY113" fmla="*/ 566733 h 2018071"/>
              <a:gd name="csX114" fmla="*/ 2395561 w 3437996"/>
              <a:gd name="csY114" fmla="*/ 565186 h 2018071"/>
              <a:gd name="csX115" fmla="*/ 2387690 w 3437996"/>
              <a:gd name="csY115" fmla="*/ 557193 h 2018071"/>
              <a:gd name="csX116" fmla="*/ 2386050 w 3437996"/>
              <a:gd name="csY116" fmla="*/ 555624 h 2018071"/>
              <a:gd name="csX117" fmla="*/ 2378191 w 3437996"/>
              <a:gd name="csY117" fmla="*/ 547659 h 2018071"/>
              <a:gd name="csX118" fmla="*/ 2376534 w 3437996"/>
              <a:gd name="csY118" fmla="*/ 546075 h 2018071"/>
              <a:gd name="csX119" fmla="*/ 2368704 w 3437996"/>
              <a:gd name="csY119" fmla="*/ 538124 h 2018071"/>
              <a:gd name="csX120" fmla="*/ 2367021 w 3437996"/>
              <a:gd name="csY120" fmla="*/ 536517 h 2018071"/>
              <a:gd name="csX121" fmla="*/ 2360018 w 3437996"/>
              <a:gd name="csY121" fmla="*/ 529380 h 2018071"/>
              <a:gd name="csX122" fmla="*/ 2350552 w 3437996"/>
              <a:gd name="csY122" fmla="*/ 519835 h 2018071"/>
              <a:gd name="csX123" fmla="*/ 2348016 w 3437996"/>
              <a:gd name="csY123" fmla="*/ 517342 h 2018071"/>
              <a:gd name="csX124" fmla="*/ 2341054 w 3437996"/>
              <a:gd name="csY124" fmla="*/ 510297 h 2018071"/>
              <a:gd name="csX125" fmla="*/ 2338508 w 3437996"/>
              <a:gd name="csY125" fmla="*/ 507777 h 2018071"/>
              <a:gd name="csX126" fmla="*/ 2322020 w 3437996"/>
              <a:gd name="csY126" fmla="*/ 491243 h 2018071"/>
              <a:gd name="csX127" fmla="*/ 2319465 w 3437996"/>
              <a:gd name="csY127" fmla="*/ 488702 h 2018071"/>
              <a:gd name="csX128" fmla="*/ 2312510 w 3437996"/>
              <a:gd name="csY128" fmla="*/ 481725 h 2018071"/>
              <a:gd name="csX129" fmla="*/ 2309941 w 3437996"/>
              <a:gd name="csY129" fmla="*/ 479158 h 2018071"/>
              <a:gd name="csX130" fmla="*/ 2303024 w 3437996"/>
              <a:gd name="csY130" fmla="*/ 472210 h 2018071"/>
              <a:gd name="csX131" fmla="*/ 2300428 w 3437996"/>
              <a:gd name="csY131" fmla="*/ 469578 h 2018071"/>
              <a:gd name="csX132" fmla="*/ 2293545 w 3437996"/>
              <a:gd name="csY132" fmla="*/ 462697 h 2018071"/>
              <a:gd name="csX133" fmla="*/ 2290922 w 3437996"/>
              <a:gd name="csY133" fmla="*/ 459984 h 2018071"/>
              <a:gd name="csX134" fmla="*/ 2284051 w 3437996"/>
              <a:gd name="csY134" fmla="*/ 453172 h 2018071"/>
              <a:gd name="csX135" fmla="*/ 2281414 w 3437996"/>
              <a:gd name="csY135" fmla="*/ 450403 h 2018071"/>
              <a:gd name="csX136" fmla="*/ 2274560 w 3437996"/>
              <a:gd name="csY136" fmla="*/ 443646 h 2018071"/>
              <a:gd name="csX137" fmla="*/ 2271906 w 3437996"/>
              <a:gd name="csY137" fmla="*/ 440826 h 2018071"/>
              <a:gd name="csX138" fmla="*/ 2265120 w 3437996"/>
              <a:gd name="csY138" fmla="*/ 434112 h 2018071"/>
              <a:gd name="csX139" fmla="*/ 2262409 w 3437996"/>
              <a:gd name="csY139" fmla="*/ 431189 h 2018071"/>
              <a:gd name="csX140" fmla="*/ 2255765 w 3437996"/>
              <a:gd name="csY140" fmla="*/ 424557 h 2018071"/>
              <a:gd name="csX141" fmla="*/ 2252962 w 3437996"/>
              <a:gd name="csY141" fmla="*/ 421458 h 2018071"/>
              <a:gd name="csX142" fmla="*/ 2246361 w 3437996"/>
              <a:gd name="csY142" fmla="*/ 414989 h 2018071"/>
              <a:gd name="csX143" fmla="*/ 2226101 w 3437996"/>
              <a:gd name="csY143" fmla="*/ 394472 h 2018071"/>
              <a:gd name="csX144" fmla="*/ 2204126 w 3437996"/>
              <a:gd name="csY144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44017 w 3437996"/>
              <a:gd name="csY67" fmla="*/ 814773 h 2018071"/>
              <a:gd name="csX68" fmla="*/ 2642551 w 3437996"/>
              <a:gd name="csY68" fmla="*/ 813746 h 2018071"/>
              <a:gd name="csX69" fmla="*/ 2634494 w 3437996"/>
              <a:gd name="csY69" fmla="*/ 805208 h 2018071"/>
              <a:gd name="csX70" fmla="*/ 2633053 w 3437996"/>
              <a:gd name="csY70" fmla="*/ 804210 h 2018071"/>
              <a:gd name="csX71" fmla="*/ 2624994 w 3437996"/>
              <a:gd name="csY71" fmla="*/ 795655 h 2018071"/>
              <a:gd name="csX72" fmla="*/ 2623570 w 3437996"/>
              <a:gd name="csY72" fmla="*/ 794675 h 2018071"/>
              <a:gd name="csX73" fmla="*/ 2615495 w 3437996"/>
              <a:gd name="csY73" fmla="*/ 786111 h 2018071"/>
              <a:gd name="csX74" fmla="*/ 2614082 w 3437996"/>
              <a:gd name="csY74" fmla="*/ 785113 h 2018071"/>
              <a:gd name="csX75" fmla="*/ 2606007 w 3437996"/>
              <a:gd name="csY75" fmla="*/ 776562 h 2018071"/>
              <a:gd name="csX76" fmla="*/ 2604609 w 3437996"/>
              <a:gd name="csY76" fmla="*/ 775538 h 2018071"/>
              <a:gd name="csX77" fmla="*/ 2596489 w 3437996"/>
              <a:gd name="csY77" fmla="*/ 767032 h 2018071"/>
              <a:gd name="csX78" fmla="*/ 2595095 w 3437996"/>
              <a:gd name="csY78" fmla="*/ 766006 h 2018071"/>
              <a:gd name="csX79" fmla="*/ 2586954 w 3437996"/>
              <a:gd name="csY79" fmla="*/ 757512 h 2018071"/>
              <a:gd name="csX80" fmla="*/ 2585558 w 3437996"/>
              <a:gd name="csY80" fmla="*/ 756496 h 2018071"/>
              <a:gd name="csX81" fmla="*/ 2576006 w 3437996"/>
              <a:gd name="csY81" fmla="*/ 747002 h 2018071"/>
              <a:gd name="csX82" fmla="*/ 2567871 w 3437996"/>
              <a:gd name="csY82" fmla="*/ 738486 h 2018071"/>
              <a:gd name="csX83" fmla="*/ 2566459 w 3437996"/>
              <a:gd name="csY83" fmla="*/ 737499 h 2018071"/>
              <a:gd name="csX84" fmla="*/ 2558352 w 3437996"/>
              <a:gd name="csY84" fmla="*/ 728962 h 2018071"/>
              <a:gd name="csX85" fmla="*/ 2556937 w 3437996"/>
              <a:gd name="csY85" fmla="*/ 727967 h 2018071"/>
              <a:gd name="csX86" fmla="*/ 2547432 w 3437996"/>
              <a:gd name="csY86" fmla="*/ 718414 h 2018071"/>
              <a:gd name="csX87" fmla="*/ 2539350 w 3437996"/>
              <a:gd name="csY87" fmla="*/ 709894 h 2018071"/>
              <a:gd name="csX88" fmla="*/ 2537942 w 3437996"/>
              <a:gd name="csY88" fmla="*/ 708842 h 2018071"/>
              <a:gd name="csX89" fmla="*/ 2529865 w 3437996"/>
              <a:gd name="csY89" fmla="*/ 700356 h 2018071"/>
              <a:gd name="csX90" fmla="*/ 2528460 w 3437996"/>
              <a:gd name="csY90" fmla="*/ 699259 h 2018071"/>
              <a:gd name="csX91" fmla="*/ 2520386 w 3437996"/>
              <a:gd name="csY91" fmla="*/ 690820 h 2018071"/>
              <a:gd name="csX92" fmla="*/ 2510900 w 3437996"/>
              <a:gd name="csY92" fmla="*/ 681286 h 2018071"/>
              <a:gd name="csX93" fmla="*/ 2509493 w 3437996"/>
              <a:gd name="csY93" fmla="*/ 680082 h 2018071"/>
              <a:gd name="csX94" fmla="*/ 2501400 w 3437996"/>
              <a:gd name="csY94" fmla="*/ 671754 h 2018071"/>
              <a:gd name="csX95" fmla="*/ 2491892 w 3437996"/>
              <a:gd name="csY95" fmla="*/ 662222 h 2018071"/>
              <a:gd name="csX96" fmla="*/ 2490482 w 3437996"/>
              <a:gd name="csY96" fmla="*/ 660967 h 2018071"/>
              <a:gd name="csX97" fmla="*/ 2480984 w 3437996"/>
              <a:gd name="csY97" fmla="*/ 651408 h 2018071"/>
              <a:gd name="csX98" fmla="*/ 2472919 w 3437996"/>
              <a:gd name="csY98" fmla="*/ 643127 h 2018071"/>
              <a:gd name="csX99" fmla="*/ 2471515 w 3437996"/>
              <a:gd name="csY99" fmla="*/ 641819 h 2018071"/>
              <a:gd name="csX100" fmla="*/ 2463424 w 3437996"/>
              <a:gd name="csY100" fmla="*/ 633584 h 2018071"/>
              <a:gd name="csX101" fmla="*/ 2462020 w 3437996"/>
              <a:gd name="csY101" fmla="*/ 632257 h 2018071"/>
              <a:gd name="csX102" fmla="*/ 2453925 w 3437996"/>
              <a:gd name="csY102" fmla="*/ 624049 h 2018071"/>
              <a:gd name="csX103" fmla="*/ 2452516 w 3437996"/>
              <a:gd name="csY103" fmla="*/ 622702 h 2018071"/>
              <a:gd name="csX104" fmla="*/ 2444450 w 3437996"/>
              <a:gd name="csY104" fmla="*/ 614506 h 2018071"/>
              <a:gd name="csX105" fmla="*/ 2434957 w 3437996"/>
              <a:gd name="csY105" fmla="*/ 604969 h 2018071"/>
              <a:gd name="csX106" fmla="*/ 2433519 w 3437996"/>
              <a:gd name="csY106" fmla="*/ 603563 h 2018071"/>
              <a:gd name="csX107" fmla="*/ 2425486 w 3437996"/>
              <a:gd name="csY107" fmla="*/ 595418 h 2018071"/>
              <a:gd name="csX108" fmla="*/ 2424029 w 3437996"/>
              <a:gd name="csY108" fmla="*/ 593985 h 2018071"/>
              <a:gd name="csX109" fmla="*/ 2416081 w 3437996"/>
              <a:gd name="csY109" fmla="*/ 585841 h 2018071"/>
              <a:gd name="csX110" fmla="*/ 2414563 w 3437996"/>
              <a:gd name="csY110" fmla="*/ 584358 h 2018071"/>
              <a:gd name="csX111" fmla="*/ 2406640 w 3437996"/>
              <a:gd name="csY111" fmla="*/ 576281 h 2018071"/>
              <a:gd name="csX112" fmla="*/ 2397176 w 3437996"/>
              <a:gd name="csY112" fmla="*/ 566733 h 2018071"/>
              <a:gd name="csX113" fmla="*/ 2395561 w 3437996"/>
              <a:gd name="csY113" fmla="*/ 565186 h 2018071"/>
              <a:gd name="csX114" fmla="*/ 2387690 w 3437996"/>
              <a:gd name="csY114" fmla="*/ 557193 h 2018071"/>
              <a:gd name="csX115" fmla="*/ 2386050 w 3437996"/>
              <a:gd name="csY115" fmla="*/ 555624 h 2018071"/>
              <a:gd name="csX116" fmla="*/ 2378191 w 3437996"/>
              <a:gd name="csY116" fmla="*/ 547659 h 2018071"/>
              <a:gd name="csX117" fmla="*/ 2376534 w 3437996"/>
              <a:gd name="csY117" fmla="*/ 546075 h 2018071"/>
              <a:gd name="csX118" fmla="*/ 2368704 w 3437996"/>
              <a:gd name="csY118" fmla="*/ 538124 h 2018071"/>
              <a:gd name="csX119" fmla="*/ 2367021 w 3437996"/>
              <a:gd name="csY119" fmla="*/ 536517 h 2018071"/>
              <a:gd name="csX120" fmla="*/ 2360018 w 3437996"/>
              <a:gd name="csY120" fmla="*/ 529380 h 2018071"/>
              <a:gd name="csX121" fmla="*/ 2350552 w 3437996"/>
              <a:gd name="csY121" fmla="*/ 519835 h 2018071"/>
              <a:gd name="csX122" fmla="*/ 2348016 w 3437996"/>
              <a:gd name="csY122" fmla="*/ 517342 h 2018071"/>
              <a:gd name="csX123" fmla="*/ 2341054 w 3437996"/>
              <a:gd name="csY123" fmla="*/ 510297 h 2018071"/>
              <a:gd name="csX124" fmla="*/ 2338508 w 3437996"/>
              <a:gd name="csY124" fmla="*/ 507777 h 2018071"/>
              <a:gd name="csX125" fmla="*/ 2322020 w 3437996"/>
              <a:gd name="csY125" fmla="*/ 491243 h 2018071"/>
              <a:gd name="csX126" fmla="*/ 2319465 w 3437996"/>
              <a:gd name="csY126" fmla="*/ 488702 h 2018071"/>
              <a:gd name="csX127" fmla="*/ 2312510 w 3437996"/>
              <a:gd name="csY127" fmla="*/ 481725 h 2018071"/>
              <a:gd name="csX128" fmla="*/ 2309941 w 3437996"/>
              <a:gd name="csY128" fmla="*/ 479158 h 2018071"/>
              <a:gd name="csX129" fmla="*/ 2303024 w 3437996"/>
              <a:gd name="csY129" fmla="*/ 472210 h 2018071"/>
              <a:gd name="csX130" fmla="*/ 2300428 w 3437996"/>
              <a:gd name="csY130" fmla="*/ 469578 h 2018071"/>
              <a:gd name="csX131" fmla="*/ 2293545 w 3437996"/>
              <a:gd name="csY131" fmla="*/ 462697 h 2018071"/>
              <a:gd name="csX132" fmla="*/ 2290922 w 3437996"/>
              <a:gd name="csY132" fmla="*/ 459984 h 2018071"/>
              <a:gd name="csX133" fmla="*/ 2284051 w 3437996"/>
              <a:gd name="csY133" fmla="*/ 453172 h 2018071"/>
              <a:gd name="csX134" fmla="*/ 2281414 w 3437996"/>
              <a:gd name="csY134" fmla="*/ 450403 h 2018071"/>
              <a:gd name="csX135" fmla="*/ 2274560 w 3437996"/>
              <a:gd name="csY135" fmla="*/ 443646 h 2018071"/>
              <a:gd name="csX136" fmla="*/ 2271906 w 3437996"/>
              <a:gd name="csY136" fmla="*/ 440826 h 2018071"/>
              <a:gd name="csX137" fmla="*/ 2265120 w 3437996"/>
              <a:gd name="csY137" fmla="*/ 434112 h 2018071"/>
              <a:gd name="csX138" fmla="*/ 2262409 w 3437996"/>
              <a:gd name="csY138" fmla="*/ 431189 h 2018071"/>
              <a:gd name="csX139" fmla="*/ 2255765 w 3437996"/>
              <a:gd name="csY139" fmla="*/ 424557 h 2018071"/>
              <a:gd name="csX140" fmla="*/ 2252962 w 3437996"/>
              <a:gd name="csY140" fmla="*/ 421458 h 2018071"/>
              <a:gd name="csX141" fmla="*/ 2246361 w 3437996"/>
              <a:gd name="csY141" fmla="*/ 414989 h 2018071"/>
              <a:gd name="csX142" fmla="*/ 2226101 w 3437996"/>
              <a:gd name="csY142" fmla="*/ 394472 h 2018071"/>
              <a:gd name="csX143" fmla="*/ 2204126 w 3437996"/>
              <a:gd name="csY143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44017 w 3437996"/>
              <a:gd name="csY67" fmla="*/ 814773 h 2018071"/>
              <a:gd name="csX68" fmla="*/ 2642551 w 3437996"/>
              <a:gd name="csY68" fmla="*/ 813746 h 2018071"/>
              <a:gd name="csX69" fmla="*/ 2634494 w 3437996"/>
              <a:gd name="csY69" fmla="*/ 805208 h 2018071"/>
              <a:gd name="csX70" fmla="*/ 2633053 w 3437996"/>
              <a:gd name="csY70" fmla="*/ 804210 h 2018071"/>
              <a:gd name="csX71" fmla="*/ 2624994 w 3437996"/>
              <a:gd name="csY71" fmla="*/ 795655 h 2018071"/>
              <a:gd name="csX72" fmla="*/ 2623570 w 3437996"/>
              <a:gd name="csY72" fmla="*/ 794675 h 2018071"/>
              <a:gd name="csX73" fmla="*/ 2615495 w 3437996"/>
              <a:gd name="csY73" fmla="*/ 786111 h 2018071"/>
              <a:gd name="csX74" fmla="*/ 2614082 w 3437996"/>
              <a:gd name="csY74" fmla="*/ 785113 h 2018071"/>
              <a:gd name="csX75" fmla="*/ 2606007 w 3437996"/>
              <a:gd name="csY75" fmla="*/ 776562 h 2018071"/>
              <a:gd name="csX76" fmla="*/ 2604609 w 3437996"/>
              <a:gd name="csY76" fmla="*/ 775538 h 2018071"/>
              <a:gd name="csX77" fmla="*/ 2596489 w 3437996"/>
              <a:gd name="csY77" fmla="*/ 767032 h 2018071"/>
              <a:gd name="csX78" fmla="*/ 2595095 w 3437996"/>
              <a:gd name="csY78" fmla="*/ 766006 h 2018071"/>
              <a:gd name="csX79" fmla="*/ 2586954 w 3437996"/>
              <a:gd name="csY79" fmla="*/ 757512 h 2018071"/>
              <a:gd name="csX80" fmla="*/ 2585558 w 3437996"/>
              <a:gd name="csY80" fmla="*/ 756496 h 2018071"/>
              <a:gd name="csX81" fmla="*/ 2576006 w 3437996"/>
              <a:gd name="csY81" fmla="*/ 747002 h 2018071"/>
              <a:gd name="csX82" fmla="*/ 2567871 w 3437996"/>
              <a:gd name="csY82" fmla="*/ 738486 h 2018071"/>
              <a:gd name="csX83" fmla="*/ 2566459 w 3437996"/>
              <a:gd name="csY83" fmla="*/ 737499 h 2018071"/>
              <a:gd name="csX84" fmla="*/ 2558352 w 3437996"/>
              <a:gd name="csY84" fmla="*/ 728962 h 2018071"/>
              <a:gd name="csX85" fmla="*/ 2556937 w 3437996"/>
              <a:gd name="csY85" fmla="*/ 727967 h 2018071"/>
              <a:gd name="csX86" fmla="*/ 2547432 w 3437996"/>
              <a:gd name="csY86" fmla="*/ 718414 h 2018071"/>
              <a:gd name="csX87" fmla="*/ 2539350 w 3437996"/>
              <a:gd name="csY87" fmla="*/ 709894 h 2018071"/>
              <a:gd name="csX88" fmla="*/ 2537942 w 3437996"/>
              <a:gd name="csY88" fmla="*/ 708842 h 2018071"/>
              <a:gd name="csX89" fmla="*/ 2529865 w 3437996"/>
              <a:gd name="csY89" fmla="*/ 700356 h 2018071"/>
              <a:gd name="csX90" fmla="*/ 2528460 w 3437996"/>
              <a:gd name="csY90" fmla="*/ 699259 h 2018071"/>
              <a:gd name="csX91" fmla="*/ 2520386 w 3437996"/>
              <a:gd name="csY91" fmla="*/ 690820 h 2018071"/>
              <a:gd name="csX92" fmla="*/ 2510900 w 3437996"/>
              <a:gd name="csY92" fmla="*/ 681286 h 2018071"/>
              <a:gd name="csX93" fmla="*/ 2509493 w 3437996"/>
              <a:gd name="csY93" fmla="*/ 680082 h 2018071"/>
              <a:gd name="csX94" fmla="*/ 2501400 w 3437996"/>
              <a:gd name="csY94" fmla="*/ 671754 h 2018071"/>
              <a:gd name="csX95" fmla="*/ 2491892 w 3437996"/>
              <a:gd name="csY95" fmla="*/ 662222 h 2018071"/>
              <a:gd name="csX96" fmla="*/ 2490482 w 3437996"/>
              <a:gd name="csY96" fmla="*/ 660967 h 2018071"/>
              <a:gd name="csX97" fmla="*/ 2480984 w 3437996"/>
              <a:gd name="csY97" fmla="*/ 651408 h 2018071"/>
              <a:gd name="csX98" fmla="*/ 2472919 w 3437996"/>
              <a:gd name="csY98" fmla="*/ 643127 h 2018071"/>
              <a:gd name="csX99" fmla="*/ 2471515 w 3437996"/>
              <a:gd name="csY99" fmla="*/ 641819 h 2018071"/>
              <a:gd name="csX100" fmla="*/ 2463424 w 3437996"/>
              <a:gd name="csY100" fmla="*/ 633584 h 2018071"/>
              <a:gd name="csX101" fmla="*/ 2462020 w 3437996"/>
              <a:gd name="csY101" fmla="*/ 632257 h 2018071"/>
              <a:gd name="csX102" fmla="*/ 2453925 w 3437996"/>
              <a:gd name="csY102" fmla="*/ 624049 h 2018071"/>
              <a:gd name="csX103" fmla="*/ 2452516 w 3437996"/>
              <a:gd name="csY103" fmla="*/ 622702 h 2018071"/>
              <a:gd name="csX104" fmla="*/ 2444450 w 3437996"/>
              <a:gd name="csY104" fmla="*/ 614506 h 2018071"/>
              <a:gd name="csX105" fmla="*/ 2434957 w 3437996"/>
              <a:gd name="csY105" fmla="*/ 604969 h 2018071"/>
              <a:gd name="csX106" fmla="*/ 2433519 w 3437996"/>
              <a:gd name="csY106" fmla="*/ 603563 h 2018071"/>
              <a:gd name="csX107" fmla="*/ 2425486 w 3437996"/>
              <a:gd name="csY107" fmla="*/ 595418 h 2018071"/>
              <a:gd name="csX108" fmla="*/ 2424029 w 3437996"/>
              <a:gd name="csY108" fmla="*/ 593985 h 2018071"/>
              <a:gd name="csX109" fmla="*/ 2416081 w 3437996"/>
              <a:gd name="csY109" fmla="*/ 585841 h 2018071"/>
              <a:gd name="csX110" fmla="*/ 2406640 w 3437996"/>
              <a:gd name="csY110" fmla="*/ 576281 h 2018071"/>
              <a:gd name="csX111" fmla="*/ 2397176 w 3437996"/>
              <a:gd name="csY111" fmla="*/ 566733 h 2018071"/>
              <a:gd name="csX112" fmla="*/ 2395561 w 3437996"/>
              <a:gd name="csY112" fmla="*/ 565186 h 2018071"/>
              <a:gd name="csX113" fmla="*/ 2387690 w 3437996"/>
              <a:gd name="csY113" fmla="*/ 557193 h 2018071"/>
              <a:gd name="csX114" fmla="*/ 2386050 w 3437996"/>
              <a:gd name="csY114" fmla="*/ 555624 h 2018071"/>
              <a:gd name="csX115" fmla="*/ 2378191 w 3437996"/>
              <a:gd name="csY115" fmla="*/ 547659 h 2018071"/>
              <a:gd name="csX116" fmla="*/ 2376534 w 3437996"/>
              <a:gd name="csY116" fmla="*/ 546075 h 2018071"/>
              <a:gd name="csX117" fmla="*/ 2368704 w 3437996"/>
              <a:gd name="csY117" fmla="*/ 538124 h 2018071"/>
              <a:gd name="csX118" fmla="*/ 2367021 w 3437996"/>
              <a:gd name="csY118" fmla="*/ 536517 h 2018071"/>
              <a:gd name="csX119" fmla="*/ 2360018 w 3437996"/>
              <a:gd name="csY119" fmla="*/ 529380 h 2018071"/>
              <a:gd name="csX120" fmla="*/ 2350552 w 3437996"/>
              <a:gd name="csY120" fmla="*/ 519835 h 2018071"/>
              <a:gd name="csX121" fmla="*/ 2348016 w 3437996"/>
              <a:gd name="csY121" fmla="*/ 517342 h 2018071"/>
              <a:gd name="csX122" fmla="*/ 2341054 w 3437996"/>
              <a:gd name="csY122" fmla="*/ 510297 h 2018071"/>
              <a:gd name="csX123" fmla="*/ 2338508 w 3437996"/>
              <a:gd name="csY123" fmla="*/ 507777 h 2018071"/>
              <a:gd name="csX124" fmla="*/ 2322020 w 3437996"/>
              <a:gd name="csY124" fmla="*/ 491243 h 2018071"/>
              <a:gd name="csX125" fmla="*/ 2319465 w 3437996"/>
              <a:gd name="csY125" fmla="*/ 488702 h 2018071"/>
              <a:gd name="csX126" fmla="*/ 2312510 w 3437996"/>
              <a:gd name="csY126" fmla="*/ 481725 h 2018071"/>
              <a:gd name="csX127" fmla="*/ 2309941 w 3437996"/>
              <a:gd name="csY127" fmla="*/ 479158 h 2018071"/>
              <a:gd name="csX128" fmla="*/ 2303024 w 3437996"/>
              <a:gd name="csY128" fmla="*/ 472210 h 2018071"/>
              <a:gd name="csX129" fmla="*/ 2300428 w 3437996"/>
              <a:gd name="csY129" fmla="*/ 469578 h 2018071"/>
              <a:gd name="csX130" fmla="*/ 2293545 w 3437996"/>
              <a:gd name="csY130" fmla="*/ 462697 h 2018071"/>
              <a:gd name="csX131" fmla="*/ 2290922 w 3437996"/>
              <a:gd name="csY131" fmla="*/ 459984 h 2018071"/>
              <a:gd name="csX132" fmla="*/ 2284051 w 3437996"/>
              <a:gd name="csY132" fmla="*/ 453172 h 2018071"/>
              <a:gd name="csX133" fmla="*/ 2281414 w 3437996"/>
              <a:gd name="csY133" fmla="*/ 450403 h 2018071"/>
              <a:gd name="csX134" fmla="*/ 2274560 w 3437996"/>
              <a:gd name="csY134" fmla="*/ 443646 h 2018071"/>
              <a:gd name="csX135" fmla="*/ 2271906 w 3437996"/>
              <a:gd name="csY135" fmla="*/ 440826 h 2018071"/>
              <a:gd name="csX136" fmla="*/ 2265120 w 3437996"/>
              <a:gd name="csY136" fmla="*/ 434112 h 2018071"/>
              <a:gd name="csX137" fmla="*/ 2262409 w 3437996"/>
              <a:gd name="csY137" fmla="*/ 431189 h 2018071"/>
              <a:gd name="csX138" fmla="*/ 2255765 w 3437996"/>
              <a:gd name="csY138" fmla="*/ 424557 h 2018071"/>
              <a:gd name="csX139" fmla="*/ 2252962 w 3437996"/>
              <a:gd name="csY139" fmla="*/ 421458 h 2018071"/>
              <a:gd name="csX140" fmla="*/ 2246361 w 3437996"/>
              <a:gd name="csY140" fmla="*/ 414989 h 2018071"/>
              <a:gd name="csX141" fmla="*/ 2226101 w 3437996"/>
              <a:gd name="csY141" fmla="*/ 394472 h 2018071"/>
              <a:gd name="csX142" fmla="*/ 2204126 w 3437996"/>
              <a:gd name="csY142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44017 w 3437996"/>
              <a:gd name="csY67" fmla="*/ 814773 h 2018071"/>
              <a:gd name="csX68" fmla="*/ 2642551 w 3437996"/>
              <a:gd name="csY68" fmla="*/ 813746 h 2018071"/>
              <a:gd name="csX69" fmla="*/ 2634494 w 3437996"/>
              <a:gd name="csY69" fmla="*/ 805208 h 2018071"/>
              <a:gd name="csX70" fmla="*/ 2633053 w 3437996"/>
              <a:gd name="csY70" fmla="*/ 804210 h 2018071"/>
              <a:gd name="csX71" fmla="*/ 2624994 w 3437996"/>
              <a:gd name="csY71" fmla="*/ 795655 h 2018071"/>
              <a:gd name="csX72" fmla="*/ 2623570 w 3437996"/>
              <a:gd name="csY72" fmla="*/ 794675 h 2018071"/>
              <a:gd name="csX73" fmla="*/ 2615495 w 3437996"/>
              <a:gd name="csY73" fmla="*/ 786111 h 2018071"/>
              <a:gd name="csX74" fmla="*/ 2614082 w 3437996"/>
              <a:gd name="csY74" fmla="*/ 785113 h 2018071"/>
              <a:gd name="csX75" fmla="*/ 2606007 w 3437996"/>
              <a:gd name="csY75" fmla="*/ 776562 h 2018071"/>
              <a:gd name="csX76" fmla="*/ 2604609 w 3437996"/>
              <a:gd name="csY76" fmla="*/ 775538 h 2018071"/>
              <a:gd name="csX77" fmla="*/ 2596489 w 3437996"/>
              <a:gd name="csY77" fmla="*/ 767032 h 2018071"/>
              <a:gd name="csX78" fmla="*/ 2595095 w 3437996"/>
              <a:gd name="csY78" fmla="*/ 766006 h 2018071"/>
              <a:gd name="csX79" fmla="*/ 2586954 w 3437996"/>
              <a:gd name="csY79" fmla="*/ 757512 h 2018071"/>
              <a:gd name="csX80" fmla="*/ 2585558 w 3437996"/>
              <a:gd name="csY80" fmla="*/ 756496 h 2018071"/>
              <a:gd name="csX81" fmla="*/ 2576006 w 3437996"/>
              <a:gd name="csY81" fmla="*/ 747002 h 2018071"/>
              <a:gd name="csX82" fmla="*/ 2567871 w 3437996"/>
              <a:gd name="csY82" fmla="*/ 738486 h 2018071"/>
              <a:gd name="csX83" fmla="*/ 2566459 w 3437996"/>
              <a:gd name="csY83" fmla="*/ 737499 h 2018071"/>
              <a:gd name="csX84" fmla="*/ 2558352 w 3437996"/>
              <a:gd name="csY84" fmla="*/ 728962 h 2018071"/>
              <a:gd name="csX85" fmla="*/ 2556937 w 3437996"/>
              <a:gd name="csY85" fmla="*/ 727967 h 2018071"/>
              <a:gd name="csX86" fmla="*/ 2547432 w 3437996"/>
              <a:gd name="csY86" fmla="*/ 718414 h 2018071"/>
              <a:gd name="csX87" fmla="*/ 2539350 w 3437996"/>
              <a:gd name="csY87" fmla="*/ 709894 h 2018071"/>
              <a:gd name="csX88" fmla="*/ 2537942 w 3437996"/>
              <a:gd name="csY88" fmla="*/ 708842 h 2018071"/>
              <a:gd name="csX89" fmla="*/ 2529865 w 3437996"/>
              <a:gd name="csY89" fmla="*/ 700356 h 2018071"/>
              <a:gd name="csX90" fmla="*/ 2528460 w 3437996"/>
              <a:gd name="csY90" fmla="*/ 699259 h 2018071"/>
              <a:gd name="csX91" fmla="*/ 2520386 w 3437996"/>
              <a:gd name="csY91" fmla="*/ 690820 h 2018071"/>
              <a:gd name="csX92" fmla="*/ 2510900 w 3437996"/>
              <a:gd name="csY92" fmla="*/ 681286 h 2018071"/>
              <a:gd name="csX93" fmla="*/ 2509493 w 3437996"/>
              <a:gd name="csY93" fmla="*/ 680082 h 2018071"/>
              <a:gd name="csX94" fmla="*/ 2501400 w 3437996"/>
              <a:gd name="csY94" fmla="*/ 671754 h 2018071"/>
              <a:gd name="csX95" fmla="*/ 2491892 w 3437996"/>
              <a:gd name="csY95" fmla="*/ 662222 h 2018071"/>
              <a:gd name="csX96" fmla="*/ 2490482 w 3437996"/>
              <a:gd name="csY96" fmla="*/ 660967 h 2018071"/>
              <a:gd name="csX97" fmla="*/ 2480984 w 3437996"/>
              <a:gd name="csY97" fmla="*/ 651408 h 2018071"/>
              <a:gd name="csX98" fmla="*/ 2472919 w 3437996"/>
              <a:gd name="csY98" fmla="*/ 643127 h 2018071"/>
              <a:gd name="csX99" fmla="*/ 2471515 w 3437996"/>
              <a:gd name="csY99" fmla="*/ 641819 h 2018071"/>
              <a:gd name="csX100" fmla="*/ 2463424 w 3437996"/>
              <a:gd name="csY100" fmla="*/ 633584 h 2018071"/>
              <a:gd name="csX101" fmla="*/ 2462020 w 3437996"/>
              <a:gd name="csY101" fmla="*/ 632257 h 2018071"/>
              <a:gd name="csX102" fmla="*/ 2453925 w 3437996"/>
              <a:gd name="csY102" fmla="*/ 624049 h 2018071"/>
              <a:gd name="csX103" fmla="*/ 2452516 w 3437996"/>
              <a:gd name="csY103" fmla="*/ 622702 h 2018071"/>
              <a:gd name="csX104" fmla="*/ 2444450 w 3437996"/>
              <a:gd name="csY104" fmla="*/ 614506 h 2018071"/>
              <a:gd name="csX105" fmla="*/ 2434957 w 3437996"/>
              <a:gd name="csY105" fmla="*/ 604969 h 2018071"/>
              <a:gd name="csX106" fmla="*/ 2433519 w 3437996"/>
              <a:gd name="csY106" fmla="*/ 603563 h 2018071"/>
              <a:gd name="csX107" fmla="*/ 2425486 w 3437996"/>
              <a:gd name="csY107" fmla="*/ 595418 h 2018071"/>
              <a:gd name="csX108" fmla="*/ 2424029 w 3437996"/>
              <a:gd name="csY108" fmla="*/ 593985 h 2018071"/>
              <a:gd name="csX109" fmla="*/ 2416081 w 3437996"/>
              <a:gd name="csY109" fmla="*/ 585841 h 2018071"/>
              <a:gd name="csX110" fmla="*/ 2406640 w 3437996"/>
              <a:gd name="csY110" fmla="*/ 576281 h 2018071"/>
              <a:gd name="csX111" fmla="*/ 2397176 w 3437996"/>
              <a:gd name="csY111" fmla="*/ 566733 h 2018071"/>
              <a:gd name="csX112" fmla="*/ 2395561 w 3437996"/>
              <a:gd name="csY112" fmla="*/ 565186 h 2018071"/>
              <a:gd name="csX113" fmla="*/ 2387690 w 3437996"/>
              <a:gd name="csY113" fmla="*/ 557193 h 2018071"/>
              <a:gd name="csX114" fmla="*/ 2386050 w 3437996"/>
              <a:gd name="csY114" fmla="*/ 555624 h 2018071"/>
              <a:gd name="csX115" fmla="*/ 2378191 w 3437996"/>
              <a:gd name="csY115" fmla="*/ 547659 h 2018071"/>
              <a:gd name="csX116" fmla="*/ 2368704 w 3437996"/>
              <a:gd name="csY116" fmla="*/ 538124 h 2018071"/>
              <a:gd name="csX117" fmla="*/ 2367021 w 3437996"/>
              <a:gd name="csY117" fmla="*/ 536517 h 2018071"/>
              <a:gd name="csX118" fmla="*/ 2360018 w 3437996"/>
              <a:gd name="csY118" fmla="*/ 529380 h 2018071"/>
              <a:gd name="csX119" fmla="*/ 2350552 w 3437996"/>
              <a:gd name="csY119" fmla="*/ 519835 h 2018071"/>
              <a:gd name="csX120" fmla="*/ 2348016 w 3437996"/>
              <a:gd name="csY120" fmla="*/ 517342 h 2018071"/>
              <a:gd name="csX121" fmla="*/ 2341054 w 3437996"/>
              <a:gd name="csY121" fmla="*/ 510297 h 2018071"/>
              <a:gd name="csX122" fmla="*/ 2338508 w 3437996"/>
              <a:gd name="csY122" fmla="*/ 507777 h 2018071"/>
              <a:gd name="csX123" fmla="*/ 2322020 w 3437996"/>
              <a:gd name="csY123" fmla="*/ 491243 h 2018071"/>
              <a:gd name="csX124" fmla="*/ 2319465 w 3437996"/>
              <a:gd name="csY124" fmla="*/ 488702 h 2018071"/>
              <a:gd name="csX125" fmla="*/ 2312510 w 3437996"/>
              <a:gd name="csY125" fmla="*/ 481725 h 2018071"/>
              <a:gd name="csX126" fmla="*/ 2309941 w 3437996"/>
              <a:gd name="csY126" fmla="*/ 479158 h 2018071"/>
              <a:gd name="csX127" fmla="*/ 2303024 w 3437996"/>
              <a:gd name="csY127" fmla="*/ 472210 h 2018071"/>
              <a:gd name="csX128" fmla="*/ 2300428 w 3437996"/>
              <a:gd name="csY128" fmla="*/ 469578 h 2018071"/>
              <a:gd name="csX129" fmla="*/ 2293545 w 3437996"/>
              <a:gd name="csY129" fmla="*/ 462697 h 2018071"/>
              <a:gd name="csX130" fmla="*/ 2290922 w 3437996"/>
              <a:gd name="csY130" fmla="*/ 459984 h 2018071"/>
              <a:gd name="csX131" fmla="*/ 2284051 w 3437996"/>
              <a:gd name="csY131" fmla="*/ 453172 h 2018071"/>
              <a:gd name="csX132" fmla="*/ 2281414 w 3437996"/>
              <a:gd name="csY132" fmla="*/ 450403 h 2018071"/>
              <a:gd name="csX133" fmla="*/ 2274560 w 3437996"/>
              <a:gd name="csY133" fmla="*/ 443646 h 2018071"/>
              <a:gd name="csX134" fmla="*/ 2271906 w 3437996"/>
              <a:gd name="csY134" fmla="*/ 440826 h 2018071"/>
              <a:gd name="csX135" fmla="*/ 2265120 w 3437996"/>
              <a:gd name="csY135" fmla="*/ 434112 h 2018071"/>
              <a:gd name="csX136" fmla="*/ 2262409 w 3437996"/>
              <a:gd name="csY136" fmla="*/ 431189 h 2018071"/>
              <a:gd name="csX137" fmla="*/ 2255765 w 3437996"/>
              <a:gd name="csY137" fmla="*/ 424557 h 2018071"/>
              <a:gd name="csX138" fmla="*/ 2252962 w 3437996"/>
              <a:gd name="csY138" fmla="*/ 421458 h 2018071"/>
              <a:gd name="csX139" fmla="*/ 2246361 w 3437996"/>
              <a:gd name="csY139" fmla="*/ 414989 h 2018071"/>
              <a:gd name="csX140" fmla="*/ 2226101 w 3437996"/>
              <a:gd name="csY140" fmla="*/ 394472 h 2018071"/>
              <a:gd name="csX141" fmla="*/ 2204126 w 3437996"/>
              <a:gd name="csY141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44017 w 3437996"/>
              <a:gd name="csY67" fmla="*/ 814773 h 2018071"/>
              <a:gd name="csX68" fmla="*/ 2642551 w 3437996"/>
              <a:gd name="csY68" fmla="*/ 813746 h 2018071"/>
              <a:gd name="csX69" fmla="*/ 2634494 w 3437996"/>
              <a:gd name="csY69" fmla="*/ 805208 h 2018071"/>
              <a:gd name="csX70" fmla="*/ 2633053 w 3437996"/>
              <a:gd name="csY70" fmla="*/ 804210 h 2018071"/>
              <a:gd name="csX71" fmla="*/ 2624994 w 3437996"/>
              <a:gd name="csY71" fmla="*/ 795655 h 2018071"/>
              <a:gd name="csX72" fmla="*/ 2623570 w 3437996"/>
              <a:gd name="csY72" fmla="*/ 794675 h 2018071"/>
              <a:gd name="csX73" fmla="*/ 2615495 w 3437996"/>
              <a:gd name="csY73" fmla="*/ 786111 h 2018071"/>
              <a:gd name="csX74" fmla="*/ 2614082 w 3437996"/>
              <a:gd name="csY74" fmla="*/ 785113 h 2018071"/>
              <a:gd name="csX75" fmla="*/ 2606007 w 3437996"/>
              <a:gd name="csY75" fmla="*/ 776562 h 2018071"/>
              <a:gd name="csX76" fmla="*/ 2604609 w 3437996"/>
              <a:gd name="csY76" fmla="*/ 775538 h 2018071"/>
              <a:gd name="csX77" fmla="*/ 2596489 w 3437996"/>
              <a:gd name="csY77" fmla="*/ 767032 h 2018071"/>
              <a:gd name="csX78" fmla="*/ 2595095 w 3437996"/>
              <a:gd name="csY78" fmla="*/ 766006 h 2018071"/>
              <a:gd name="csX79" fmla="*/ 2586954 w 3437996"/>
              <a:gd name="csY79" fmla="*/ 757512 h 2018071"/>
              <a:gd name="csX80" fmla="*/ 2585558 w 3437996"/>
              <a:gd name="csY80" fmla="*/ 756496 h 2018071"/>
              <a:gd name="csX81" fmla="*/ 2576006 w 3437996"/>
              <a:gd name="csY81" fmla="*/ 747002 h 2018071"/>
              <a:gd name="csX82" fmla="*/ 2567871 w 3437996"/>
              <a:gd name="csY82" fmla="*/ 738486 h 2018071"/>
              <a:gd name="csX83" fmla="*/ 2566459 w 3437996"/>
              <a:gd name="csY83" fmla="*/ 737499 h 2018071"/>
              <a:gd name="csX84" fmla="*/ 2558352 w 3437996"/>
              <a:gd name="csY84" fmla="*/ 728962 h 2018071"/>
              <a:gd name="csX85" fmla="*/ 2556937 w 3437996"/>
              <a:gd name="csY85" fmla="*/ 727967 h 2018071"/>
              <a:gd name="csX86" fmla="*/ 2547432 w 3437996"/>
              <a:gd name="csY86" fmla="*/ 718414 h 2018071"/>
              <a:gd name="csX87" fmla="*/ 2539350 w 3437996"/>
              <a:gd name="csY87" fmla="*/ 709894 h 2018071"/>
              <a:gd name="csX88" fmla="*/ 2537942 w 3437996"/>
              <a:gd name="csY88" fmla="*/ 708842 h 2018071"/>
              <a:gd name="csX89" fmla="*/ 2529865 w 3437996"/>
              <a:gd name="csY89" fmla="*/ 700356 h 2018071"/>
              <a:gd name="csX90" fmla="*/ 2528460 w 3437996"/>
              <a:gd name="csY90" fmla="*/ 699259 h 2018071"/>
              <a:gd name="csX91" fmla="*/ 2520386 w 3437996"/>
              <a:gd name="csY91" fmla="*/ 690820 h 2018071"/>
              <a:gd name="csX92" fmla="*/ 2510900 w 3437996"/>
              <a:gd name="csY92" fmla="*/ 681286 h 2018071"/>
              <a:gd name="csX93" fmla="*/ 2509493 w 3437996"/>
              <a:gd name="csY93" fmla="*/ 680082 h 2018071"/>
              <a:gd name="csX94" fmla="*/ 2501400 w 3437996"/>
              <a:gd name="csY94" fmla="*/ 671754 h 2018071"/>
              <a:gd name="csX95" fmla="*/ 2491892 w 3437996"/>
              <a:gd name="csY95" fmla="*/ 662222 h 2018071"/>
              <a:gd name="csX96" fmla="*/ 2490482 w 3437996"/>
              <a:gd name="csY96" fmla="*/ 660967 h 2018071"/>
              <a:gd name="csX97" fmla="*/ 2480984 w 3437996"/>
              <a:gd name="csY97" fmla="*/ 651408 h 2018071"/>
              <a:gd name="csX98" fmla="*/ 2472919 w 3437996"/>
              <a:gd name="csY98" fmla="*/ 643127 h 2018071"/>
              <a:gd name="csX99" fmla="*/ 2471515 w 3437996"/>
              <a:gd name="csY99" fmla="*/ 641819 h 2018071"/>
              <a:gd name="csX100" fmla="*/ 2463424 w 3437996"/>
              <a:gd name="csY100" fmla="*/ 633584 h 2018071"/>
              <a:gd name="csX101" fmla="*/ 2462020 w 3437996"/>
              <a:gd name="csY101" fmla="*/ 632257 h 2018071"/>
              <a:gd name="csX102" fmla="*/ 2453925 w 3437996"/>
              <a:gd name="csY102" fmla="*/ 624049 h 2018071"/>
              <a:gd name="csX103" fmla="*/ 2452516 w 3437996"/>
              <a:gd name="csY103" fmla="*/ 622702 h 2018071"/>
              <a:gd name="csX104" fmla="*/ 2444450 w 3437996"/>
              <a:gd name="csY104" fmla="*/ 614506 h 2018071"/>
              <a:gd name="csX105" fmla="*/ 2434957 w 3437996"/>
              <a:gd name="csY105" fmla="*/ 604969 h 2018071"/>
              <a:gd name="csX106" fmla="*/ 2433519 w 3437996"/>
              <a:gd name="csY106" fmla="*/ 603563 h 2018071"/>
              <a:gd name="csX107" fmla="*/ 2425486 w 3437996"/>
              <a:gd name="csY107" fmla="*/ 595418 h 2018071"/>
              <a:gd name="csX108" fmla="*/ 2424029 w 3437996"/>
              <a:gd name="csY108" fmla="*/ 593985 h 2018071"/>
              <a:gd name="csX109" fmla="*/ 2416081 w 3437996"/>
              <a:gd name="csY109" fmla="*/ 585841 h 2018071"/>
              <a:gd name="csX110" fmla="*/ 2406640 w 3437996"/>
              <a:gd name="csY110" fmla="*/ 576281 h 2018071"/>
              <a:gd name="csX111" fmla="*/ 2397176 w 3437996"/>
              <a:gd name="csY111" fmla="*/ 566733 h 2018071"/>
              <a:gd name="csX112" fmla="*/ 2395561 w 3437996"/>
              <a:gd name="csY112" fmla="*/ 565186 h 2018071"/>
              <a:gd name="csX113" fmla="*/ 2387690 w 3437996"/>
              <a:gd name="csY113" fmla="*/ 557193 h 2018071"/>
              <a:gd name="csX114" fmla="*/ 2386050 w 3437996"/>
              <a:gd name="csY114" fmla="*/ 555624 h 2018071"/>
              <a:gd name="csX115" fmla="*/ 2378191 w 3437996"/>
              <a:gd name="csY115" fmla="*/ 547659 h 2018071"/>
              <a:gd name="csX116" fmla="*/ 2368704 w 3437996"/>
              <a:gd name="csY116" fmla="*/ 538124 h 2018071"/>
              <a:gd name="csX117" fmla="*/ 2367021 w 3437996"/>
              <a:gd name="csY117" fmla="*/ 536517 h 2018071"/>
              <a:gd name="csX118" fmla="*/ 2360018 w 3437996"/>
              <a:gd name="csY118" fmla="*/ 529380 h 2018071"/>
              <a:gd name="csX119" fmla="*/ 2350552 w 3437996"/>
              <a:gd name="csY119" fmla="*/ 519835 h 2018071"/>
              <a:gd name="csX120" fmla="*/ 2348016 w 3437996"/>
              <a:gd name="csY120" fmla="*/ 517342 h 2018071"/>
              <a:gd name="csX121" fmla="*/ 2341054 w 3437996"/>
              <a:gd name="csY121" fmla="*/ 510297 h 2018071"/>
              <a:gd name="csX122" fmla="*/ 2322020 w 3437996"/>
              <a:gd name="csY122" fmla="*/ 491243 h 2018071"/>
              <a:gd name="csX123" fmla="*/ 2319465 w 3437996"/>
              <a:gd name="csY123" fmla="*/ 488702 h 2018071"/>
              <a:gd name="csX124" fmla="*/ 2312510 w 3437996"/>
              <a:gd name="csY124" fmla="*/ 481725 h 2018071"/>
              <a:gd name="csX125" fmla="*/ 2309941 w 3437996"/>
              <a:gd name="csY125" fmla="*/ 479158 h 2018071"/>
              <a:gd name="csX126" fmla="*/ 2303024 w 3437996"/>
              <a:gd name="csY126" fmla="*/ 472210 h 2018071"/>
              <a:gd name="csX127" fmla="*/ 2300428 w 3437996"/>
              <a:gd name="csY127" fmla="*/ 469578 h 2018071"/>
              <a:gd name="csX128" fmla="*/ 2293545 w 3437996"/>
              <a:gd name="csY128" fmla="*/ 462697 h 2018071"/>
              <a:gd name="csX129" fmla="*/ 2290922 w 3437996"/>
              <a:gd name="csY129" fmla="*/ 459984 h 2018071"/>
              <a:gd name="csX130" fmla="*/ 2284051 w 3437996"/>
              <a:gd name="csY130" fmla="*/ 453172 h 2018071"/>
              <a:gd name="csX131" fmla="*/ 2281414 w 3437996"/>
              <a:gd name="csY131" fmla="*/ 450403 h 2018071"/>
              <a:gd name="csX132" fmla="*/ 2274560 w 3437996"/>
              <a:gd name="csY132" fmla="*/ 443646 h 2018071"/>
              <a:gd name="csX133" fmla="*/ 2271906 w 3437996"/>
              <a:gd name="csY133" fmla="*/ 440826 h 2018071"/>
              <a:gd name="csX134" fmla="*/ 2265120 w 3437996"/>
              <a:gd name="csY134" fmla="*/ 434112 h 2018071"/>
              <a:gd name="csX135" fmla="*/ 2262409 w 3437996"/>
              <a:gd name="csY135" fmla="*/ 431189 h 2018071"/>
              <a:gd name="csX136" fmla="*/ 2255765 w 3437996"/>
              <a:gd name="csY136" fmla="*/ 424557 h 2018071"/>
              <a:gd name="csX137" fmla="*/ 2252962 w 3437996"/>
              <a:gd name="csY137" fmla="*/ 421458 h 2018071"/>
              <a:gd name="csX138" fmla="*/ 2246361 w 3437996"/>
              <a:gd name="csY138" fmla="*/ 414989 h 2018071"/>
              <a:gd name="csX139" fmla="*/ 2226101 w 3437996"/>
              <a:gd name="csY139" fmla="*/ 394472 h 2018071"/>
              <a:gd name="csX140" fmla="*/ 2204126 w 3437996"/>
              <a:gd name="csY140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44017 w 3437996"/>
              <a:gd name="csY67" fmla="*/ 814773 h 2018071"/>
              <a:gd name="csX68" fmla="*/ 2642551 w 3437996"/>
              <a:gd name="csY68" fmla="*/ 813746 h 2018071"/>
              <a:gd name="csX69" fmla="*/ 2634494 w 3437996"/>
              <a:gd name="csY69" fmla="*/ 805208 h 2018071"/>
              <a:gd name="csX70" fmla="*/ 2633053 w 3437996"/>
              <a:gd name="csY70" fmla="*/ 804210 h 2018071"/>
              <a:gd name="csX71" fmla="*/ 2624994 w 3437996"/>
              <a:gd name="csY71" fmla="*/ 795655 h 2018071"/>
              <a:gd name="csX72" fmla="*/ 2623570 w 3437996"/>
              <a:gd name="csY72" fmla="*/ 794675 h 2018071"/>
              <a:gd name="csX73" fmla="*/ 2615495 w 3437996"/>
              <a:gd name="csY73" fmla="*/ 786111 h 2018071"/>
              <a:gd name="csX74" fmla="*/ 2614082 w 3437996"/>
              <a:gd name="csY74" fmla="*/ 785113 h 2018071"/>
              <a:gd name="csX75" fmla="*/ 2606007 w 3437996"/>
              <a:gd name="csY75" fmla="*/ 776562 h 2018071"/>
              <a:gd name="csX76" fmla="*/ 2604609 w 3437996"/>
              <a:gd name="csY76" fmla="*/ 775538 h 2018071"/>
              <a:gd name="csX77" fmla="*/ 2596489 w 3437996"/>
              <a:gd name="csY77" fmla="*/ 767032 h 2018071"/>
              <a:gd name="csX78" fmla="*/ 2595095 w 3437996"/>
              <a:gd name="csY78" fmla="*/ 766006 h 2018071"/>
              <a:gd name="csX79" fmla="*/ 2586954 w 3437996"/>
              <a:gd name="csY79" fmla="*/ 757512 h 2018071"/>
              <a:gd name="csX80" fmla="*/ 2585558 w 3437996"/>
              <a:gd name="csY80" fmla="*/ 756496 h 2018071"/>
              <a:gd name="csX81" fmla="*/ 2576006 w 3437996"/>
              <a:gd name="csY81" fmla="*/ 747002 h 2018071"/>
              <a:gd name="csX82" fmla="*/ 2567871 w 3437996"/>
              <a:gd name="csY82" fmla="*/ 738486 h 2018071"/>
              <a:gd name="csX83" fmla="*/ 2566459 w 3437996"/>
              <a:gd name="csY83" fmla="*/ 737499 h 2018071"/>
              <a:gd name="csX84" fmla="*/ 2558352 w 3437996"/>
              <a:gd name="csY84" fmla="*/ 728962 h 2018071"/>
              <a:gd name="csX85" fmla="*/ 2556937 w 3437996"/>
              <a:gd name="csY85" fmla="*/ 727967 h 2018071"/>
              <a:gd name="csX86" fmla="*/ 2547432 w 3437996"/>
              <a:gd name="csY86" fmla="*/ 718414 h 2018071"/>
              <a:gd name="csX87" fmla="*/ 2539350 w 3437996"/>
              <a:gd name="csY87" fmla="*/ 709894 h 2018071"/>
              <a:gd name="csX88" fmla="*/ 2537942 w 3437996"/>
              <a:gd name="csY88" fmla="*/ 708842 h 2018071"/>
              <a:gd name="csX89" fmla="*/ 2529865 w 3437996"/>
              <a:gd name="csY89" fmla="*/ 700356 h 2018071"/>
              <a:gd name="csX90" fmla="*/ 2528460 w 3437996"/>
              <a:gd name="csY90" fmla="*/ 699259 h 2018071"/>
              <a:gd name="csX91" fmla="*/ 2520386 w 3437996"/>
              <a:gd name="csY91" fmla="*/ 690820 h 2018071"/>
              <a:gd name="csX92" fmla="*/ 2510900 w 3437996"/>
              <a:gd name="csY92" fmla="*/ 681286 h 2018071"/>
              <a:gd name="csX93" fmla="*/ 2509493 w 3437996"/>
              <a:gd name="csY93" fmla="*/ 680082 h 2018071"/>
              <a:gd name="csX94" fmla="*/ 2501400 w 3437996"/>
              <a:gd name="csY94" fmla="*/ 671754 h 2018071"/>
              <a:gd name="csX95" fmla="*/ 2491892 w 3437996"/>
              <a:gd name="csY95" fmla="*/ 662222 h 2018071"/>
              <a:gd name="csX96" fmla="*/ 2490482 w 3437996"/>
              <a:gd name="csY96" fmla="*/ 660967 h 2018071"/>
              <a:gd name="csX97" fmla="*/ 2480984 w 3437996"/>
              <a:gd name="csY97" fmla="*/ 651408 h 2018071"/>
              <a:gd name="csX98" fmla="*/ 2472919 w 3437996"/>
              <a:gd name="csY98" fmla="*/ 643127 h 2018071"/>
              <a:gd name="csX99" fmla="*/ 2471515 w 3437996"/>
              <a:gd name="csY99" fmla="*/ 641819 h 2018071"/>
              <a:gd name="csX100" fmla="*/ 2463424 w 3437996"/>
              <a:gd name="csY100" fmla="*/ 633584 h 2018071"/>
              <a:gd name="csX101" fmla="*/ 2462020 w 3437996"/>
              <a:gd name="csY101" fmla="*/ 632257 h 2018071"/>
              <a:gd name="csX102" fmla="*/ 2453925 w 3437996"/>
              <a:gd name="csY102" fmla="*/ 624049 h 2018071"/>
              <a:gd name="csX103" fmla="*/ 2452516 w 3437996"/>
              <a:gd name="csY103" fmla="*/ 622702 h 2018071"/>
              <a:gd name="csX104" fmla="*/ 2444450 w 3437996"/>
              <a:gd name="csY104" fmla="*/ 614506 h 2018071"/>
              <a:gd name="csX105" fmla="*/ 2434957 w 3437996"/>
              <a:gd name="csY105" fmla="*/ 604969 h 2018071"/>
              <a:gd name="csX106" fmla="*/ 2433519 w 3437996"/>
              <a:gd name="csY106" fmla="*/ 603563 h 2018071"/>
              <a:gd name="csX107" fmla="*/ 2425486 w 3437996"/>
              <a:gd name="csY107" fmla="*/ 595418 h 2018071"/>
              <a:gd name="csX108" fmla="*/ 2424029 w 3437996"/>
              <a:gd name="csY108" fmla="*/ 593985 h 2018071"/>
              <a:gd name="csX109" fmla="*/ 2416081 w 3437996"/>
              <a:gd name="csY109" fmla="*/ 585841 h 2018071"/>
              <a:gd name="csX110" fmla="*/ 2406640 w 3437996"/>
              <a:gd name="csY110" fmla="*/ 576281 h 2018071"/>
              <a:gd name="csX111" fmla="*/ 2397176 w 3437996"/>
              <a:gd name="csY111" fmla="*/ 566733 h 2018071"/>
              <a:gd name="csX112" fmla="*/ 2395561 w 3437996"/>
              <a:gd name="csY112" fmla="*/ 565186 h 2018071"/>
              <a:gd name="csX113" fmla="*/ 2387690 w 3437996"/>
              <a:gd name="csY113" fmla="*/ 557193 h 2018071"/>
              <a:gd name="csX114" fmla="*/ 2386050 w 3437996"/>
              <a:gd name="csY114" fmla="*/ 555624 h 2018071"/>
              <a:gd name="csX115" fmla="*/ 2378191 w 3437996"/>
              <a:gd name="csY115" fmla="*/ 547659 h 2018071"/>
              <a:gd name="csX116" fmla="*/ 2368704 w 3437996"/>
              <a:gd name="csY116" fmla="*/ 538124 h 2018071"/>
              <a:gd name="csX117" fmla="*/ 2367021 w 3437996"/>
              <a:gd name="csY117" fmla="*/ 536517 h 2018071"/>
              <a:gd name="csX118" fmla="*/ 2360018 w 3437996"/>
              <a:gd name="csY118" fmla="*/ 529380 h 2018071"/>
              <a:gd name="csX119" fmla="*/ 2350552 w 3437996"/>
              <a:gd name="csY119" fmla="*/ 519835 h 2018071"/>
              <a:gd name="csX120" fmla="*/ 2348016 w 3437996"/>
              <a:gd name="csY120" fmla="*/ 517342 h 2018071"/>
              <a:gd name="csX121" fmla="*/ 2341054 w 3437996"/>
              <a:gd name="csY121" fmla="*/ 510297 h 2018071"/>
              <a:gd name="csX122" fmla="*/ 2322020 w 3437996"/>
              <a:gd name="csY122" fmla="*/ 491243 h 2018071"/>
              <a:gd name="csX123" fmla="*/ 2319465 w 3437996"/>
              <a:gd name="csY123" fmla="*/ 488702 h 2018071"/>
              <a:gd name="csX124" fmla="*/ 2312510 w 3437996"/>
              <a:gd name="csY124" fmla="*/ 481725 h 2018071"/>
              <a:gd name="csX125" fmla="*/ 2309941 w 3437996"/>
              <a:gd name="csY125" fmla="*/ 479158 h 2018071"/>
              <a:gd name="csX126" fmla="*/ 2303024 w 3437996"/>
              <a:gd name="csY126" fmla="*/ 472210 h 2018071"/>
              <a:gd name="csX127" fmla="*/ 2300428 w 3437996"/>
              <a:gd name="csY127" fmla="*/ 469578 h 2018071"/>
              <a:gd name="csX128" fmla="*/ 2293545 w 3437996"/>
              <a:gd name="csY128" fmla="*/ 462697 h 2018071"/>
              <a:gd name="csX129" fmla="*/ 2284051 w 3437996"/>
              <a:gd name="csY129" fmla="*/ 453172 h 2018071"/>
              <a:gd name="csX130" fmla="*/ 2281414 w 3437996"/>
              <a:gd name="csY130" fmla="*/ 450403 h 2018071"/>
              <a:gd name="csX131" fmla="*/ 2274560 w 3437996"/>
              <a:gd name="csY131" fmla="*/ 443646 h 2018071"/>
              <a:gd name="csX132" fmla="*/ 2271906 w 3437996"/>
              <a:gd name="csY132" fmla="*/ 440826 h 2018071"/>
              <a:gd name="csX133" fmla="*/ 2265120 w 3437996"/>
              <a:gd name="csY133" fmla="*/ 434112 h 2018071"/>
              <a:gd name="csX134" fmla="*/ 2262409 w 3437996"/>
              <a:gd name="csY134" fmla="*/ 431189 h 2018071"/>
              <a:gd name="csX135" fmla="*/ 2255765 w 3437996"/>
              <a:gd name="csY135" fmla="*/ 424557 h 2018071"/>
              <a:gd name="csX136" fmla="*/ 2252962 w 3437996"/>
              <a:gd name="csY136" fmla="*/ 421458 h 2018071"/>
              <a:gd name="csX137" fmla="*/ 2246361 w 3437996"/>
              <a:gd name="csY137" fmla="*/ 414989 h 2018071"/>
              <a:gd name="csX138" fmla="*/ 2226101 w 3437996"/>
              <a:gd name="csY138" fmla="*/ 394472 h 2018071"/>
              <a:gd name="csX139" fmla="*/ 2204126 w 3437996"/>
              <a:gd name="csY139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44017 w 3437996"/>
              <a:gd name="csY67" fmla="*/ 814773 h 2018071"/>
              <a:gd name="csX68" fmla="*/ 2642551 w 3437996"/>
              <a:gd name="csY68" fmla="*/ 813746 h 2018071"/>
              <a:gd name="csX69" fmla="*/ 2634494 w 3437996"/>
              <a:gd name="csY69" fmla="*/ 805208 h 2018071"/>
              <a:gd name="csX70" fmla="*/ 2633053 w 3437996"/>
              <a:gd name="csY70" fmla="*/ 804210 h 2018071"/>
              <a:gd name="csX71" fmla="*/ 2624994 w 3437996"/>
              <a:gd name="csY71" fmla="*/ 795655 h 2018071"/>
              <a:gd name="csX72" fmla="*/ 2623570 w 3437996"/>
              <a:gd name="csY72" fmla="*/ 794675 h 2018071"/>
              <a:gd name="csX73" fmla="*/ 2615495 w 3437996"/>
              <a:gd name="csY73" fmla="*/ 786111 h 2018071"/>
              <a:gd name="csX74" fmla="*/ 2614082 w 3437996"/>
              <a:gd name="csY74" fmla="*/ 785113 h 2018071"/>
              <a:gd name="csX75" fmla="*/ 2606007 w 3437996"/>
              <a:gd name="csY75" fmla="*/ 776562 h 2018071"/>
              <a:gd name="csX76" fmla="*/ 2604609 w 3437996"/>
              <a:gd name="csY76" fmla="*/ 775538 h 2018071"/>
              <a:gd name="csX77" fmla="*/ 2596489 w 3437996"/>
              <a:gd name="csY77" fmla="*/ 767032 h 2018071"/>
              <a:gd name="csX78" fmla="*/ 2595095 w 3437996"/>
              <a:gd name="csY78" fmla="*/ 766006 h 2018071"/>
              <a:gd name="csX79" fmla="*/ 2586954 w 3437996"/>
              <a:gd name="csY79" fmla="*/ 757512 h 2018071"/>
              <a:gd name="csX80" fmla="*/ 2585558 w 3437996"/>
              <a:gd name="csY80" fmla="*/ 756496 h 2018071"/>
              <a:gd name="csX81" fmla="*/ 2576006 w 3437996"/>
              <a:gd name="csY81" fmla="*/ 747002 h 2018071"/>
              <a:gd name="csX82" fmla="*/ 2567871 w 3437996"/>
              <a:gd name="csY82" fmla="*/ 738486 h 2018071"/>
              <a:gd name="csX83" fmla="*/ 2566459 w 3437996"/>
              <a:gd name="csY83" fmla="*/ 737499 h 2018071"/>
              <a:gd name="csX84" fmla="*/ 2558352 w 3437996"/>
              <a:gd name="csY84" fmla="*/ 728962 h 2018071"/>
              <a:gd name="csX85" fmla="*/ 2556937 w 3437996"/>
              <a:gd name="csY85" fmla="*/ 727967 h 2018071"/>
              <a:gd name="csX86" fmla="*/ 2547432 w 3437996"/>
              <a:gd name="csY86" fmla="*/ 718414 h 2018071"/>
              <a:gd name="csX87" fmla="*/ 2539350 w 3437996"/>
              <a:gd name="csY87" fmla="*/ 709894 h 2018071"/>
              <a:gd name="csX88" fmla="*/ 2537942 w 3437996"/>
              <a:gd name="csY88" fmla="*/ 708842 h 2018071"/>
              <a:gd name="csX89" fmla="*/ 2529865 w 3437996"/>
              <a:gd name="csY89" fmla="*/ 700356 h 2018071"/>
              <a:gd name="csX90" fmla="*/ 2528460 w 3437996"/>
              <a:gd name="csY90" fmla="*/ 699259 h 2018071"/>
              <a:gd name="csX91" fmla="*/ 2520386 w 3437996"/>
              <a:gd name="csY91" fmla="*/ 690820 h 2018071"/>
              <a:gd name="csX92" fmla="*/ 2510900 w 3437996"/>
              <a:gd name="csY92" fmla="*/ 681286 h 2018071"/>
              <a:gd name="csX93" fmla="*/ 2509493 w 3437996"/>
              <a:gd name="csY93" fmla="*/ 680082 h 2018071"/>
              <a:gd name="csX94" fmla="*/ 2501400 w 3437996"/>
              <a:gd name="csY94" fmla="*/ 671754 h 2018071"/>
              <a:gd name="csX95" fmla="*/ 2491892 w 3437996"/>
              <a:gd name="csY95" fmla="*/ 662222 h 2018071"/>
              <a:gd name="csX96" fmla="*/ 2490482 w 3437996"/>
              <a:gd name="csY96" fmla="*/ 660967 h 2018071"/>
              <a:gd name="csX97" fmla="*/ 2480984 w 3437996"/>
              <a:gd name="csY97" fmla="*/ 651408 h 2018071"/>
              <a:gd name="csX98" fmla="*/ 2472919 w 3437996"/>
              <a:gd name="csY98" fmla="*/ 643127 h 2018071"/>
              <a:gd name="csX99" fmla="*/ 2471515 w 3437996"/>
              <a:gd name="csY99" fmla="*/ 641819 h 2018071"/>
              <a:gd name="csX100" fmla="*/ 2463424 w 3437996"/>
              <a:gd name="csY100" fmla="*/ 633584 h 2018071"/>
              <a:gd name="csX101" fmla="*/ 2462020 w 3437996"/>
              <a:gd name="csY101" fmla="*/ 632257 h 2018071"/>
              <a:gd name="csX102" fmla="*/ 2453925 w 3437996"/>
              <a:gd name="csY102" fmla="*/ 624049 h 2018071"/>
              <a:gd name="csX103" fmla="*/ 2452516 w 3437996"/>
              <a:gd name="csY103" fmla="*/ 622702 h 2018071"/>
              <a:gd name="csX104" fmla="*/ 2444450 w 3437996"/>
              <a:gd name="csY104" fmla="*/ 614506 h 2018071"/>
              <a:gd name="csX105" fmla="*/ 2434957 w 3437996"/>
              <a:gd name="csY105" fmla="*/ 604969 h 2018071"/>
              <a:gd name="csX106" fmla="*/ 2433519 w 3437996"/>
              <a:gd name="csY106" fmla="*/ 603563 h 2018071"/>
              <a:gd name="csX107" fmla="*/ 2425486 w 3437996"/>
              <a:gd name="csY107" fmla="*/ 595418 h 2018071"/>
              <a:gd name="csX108" fmla="*/ 2424029 w 3437996"/>
              <a:gd name="csY108" fmla="*/ 593985 h 2018071"/>
              <a:gd name="csX109" fmla="*/ 2416081 w 3437996"/>
              <a:gd name="csY109" fmla="*/ 585841 h 2018071"/>
              <a:gd name="csX110" fmla="*/ 2406640 w 3437996"/>
              <a:gd name="csY110" fmla="*/ 576281 h 2018071"/>
              <a:gd name="csX111" fmla="*/ 2397176 w 3437996"/>
              <a:gd name="csY111" fmla="*/ 566733 h 2018071"/>
              <a:gd name="csX112" fmla="*/ 2395561 w 3437996"/>
              <a:gd name="csY112" fmla="*/ 565186 h 2018071"/>
              <a:gd name="csX113" fmla="*/ 2387690 w 3437996"/>
              <a:gd name="csY113" fmla="*/ 557193 h 2018071"/>
              <a:gd name="csX114" fmla="*/ 2386050 w 3437996"/>
              <a:gd name="csY114" fmla="*/ 555624 h 2018071"/>
              <a:gd name="csX115" fmla="*/ 2378191 w 3437996"/>
              <a:gd name="csY115" fmla="*/ 547659 h 2018071"/>
              <a:gd name="csX116" fmla="*/ 2368704 w 3437996"/>
              <a:gd name="csY116" fmla="*/ 538124 h 2018071"/>
              <a:gd name="csX117" fmla="*/ 2367021 w 3437996"/>
              <a:gd name="csY117" fmla="*/ 536517 h 2018071"/>
              <a:gd name="csX118" fmla="*/ 2360018 w 3437996"/>
              <a:gd name="csY118" fmla="*/ 529380 h 2018071"/>
              <a:gd name="csX119" fmla="*/ 2350552 w 3437996"/>
              <a:gd name="csY119" fmla="*/ 519835 h 2018071"/>
              <a:gd name="csX120" fmla="*/ 2348016 w 3437996"/>
              <a:gd name="csY120" fmla="*/ 517342 h 2018071"/>
              <a:gd name="csX121" fmla="*/ 2341054 w 3437996"/>
              <a:gd name="csY121" fmla="*/ 510297 h 2018071"/>
              <a:gd name="csX122" fmla="*/ 2322020 w 3437996"/>
              <a:gd name="csY122" fmla="*/ 491243 h 2018071"/>
              <a:gd name="csX123" fmla="*/ 2319465 w 3437996"/>
              <a:gd name="csY123" fmla="*/ 488702 h 2018071"/>
              <a:gd name="csX124" fmla="*/ 2312510 w 3437996"/>
              <a:gd name="csY124" fmla="*/ 481725 h 2018071"/>
              <a:gd name="csX125" fmla="*/ 2309941 w 3437996"/>
              <a:gd name="csY125" fmla="*/ 479158 h 2018071"/>
              <a:gd name="csX126" fmla="*/ 2303024 w 3437996"/>
              <a:gd name="csY126" fmla="*/ 472210 h 2018071"/>
              <a:gd name="csX127" fmla="*/ 2300428 w 3437996"/>
              <a:gd name="csY127" fmla="*/ 469578 h 2018071"/>
              <a:gd name="csX128" fmla="*/ 2293545 w 3437996"/>
              <a:gd name="csY128" fmla="*/ 462697 h 2018071"/>
              <a:gd name="csX129" fmla="*/ 2284051 w 3437996"/>
              <a:gd name="csY129" fmla="*/ 453172 h 2018071"/>
              <a:gd name="csX130" fmla="*/ 2281414 w 3437996"/>
              <a:gd name="csY130" fmla="*/ 450403 h 2018071"/>
              <a:gd name="csX131" fmla="*/ 2274560 w 3437996"/>
              <a:gd name="csY131" fmla="*/ 443646 h 2018071"/>
              <a:gd name="csX132" fmla="*/ 2265120 w 3437996"/>
              <a:gd name="csY132" fmla="*/ 434112 h 2018071"/>
              <a:gd name="csX133" fmla="*/ 2262409 w 3437996"/>
              <a:gd name="csY133" fmla="*/ 431189 h 2018071"/>
              <a:gd name="csX134" fmla="*/ 2255765 w 3437996"/>
              <a:gd name="csY134" fmla="*/ 424557 h 2018071"/>
              <a:gd name="csX135" fmla="*/ 2252962 w 3437996"/>
              <a:gd name="csY135" fmla="*/ 421458 h 2018071"/>
              <a:gd name="csX136" fmla="*/ 2246361 w 3437996"/>
              <a:gd name="csY136" fmla="*/ 414989 h 2018071"/>
              <a:gd name="csX137" fmla="*/ 2226101 w 3437996"/>
              <a:gd name="csY137" fmla="*/ 394472 h 2018071"/>
              <a:gd name="csX138" fmla="*/ 2204126 w 3437996"/>
              <a:gd name="csY138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44017 w 3437996"/>
              <a:gd name="csY67" fmla="*/ 814773 h 2018071"/>
              <a:gd name="csX68" fmla="*/ 2642551 w 3437996"/>
              <a:gd name="csY68" fmla="*/ 813746 h 2018071"/>
              <a:gd name="csX69" fmla="*/ 2634494 w 3437996"/>
              <a:gd name="csY69" fmla="*/ 805208 h 2018071"/>
              <a:gd name="csX70" fmla="*/ 2633053 w 3437996"/>
              <a:gd name="csY70" fmla="*/ 804210 h 2018071"/>
              <a:gd name="csX71" fmla="*/ 2624994 w 3437996"/>
              <a:gd name="csY71" fmla="*/ 795655 h 2018071"/>
              <a:gd name="csX72" fmla="*/ 2623570 w 3437996"/>
              <a:gd name="csY72" fmla="*/ 794675 h 2018071"/>
              <a:gd name="csX73" fmla="*/ 2615495 w 3437996"/>
              <a:gd name="csY73" fmla="*/ 786111 h 2018071"/>
              <a:gd name="csX74" fmla="*/ 2614082 w 3437996"/>
              <a:gd name="csY74" fmla="*/ 785113 h 2018071"/>
              <a:gd name="csX75" fmla="*/ 2606007 w 3437996"/>
              <a:gd name="csY75" fmla="*/ 776562 h 2018071"/>
              <a:gd name="csX76" fmla="*/ 2604609 w 3437996"/>
              <a:gd name="csY76" fmla="*/ 775538 h 2018071"/>
              <a:gd name="csX77" fmla="*/ 2596489 w 3437996"/>
              <a:gd name="csY77" fmla="*/ 767032 h 2018071"/>
              <a:gd name="csX78" fmla="*/ 2595095 w 3437996"/>
              <a:gd name="csY78" fmla="*/ 766006 h 2018071"/>
              <a:gd name="csX79" fmla="*/ 2586954 w 3437996"/>
              <a:gd name="csY79" fmla="*/ 757512 h 2018071"/>
              <a:gd name="csX80" fmla="*/ 2585558 w 3437996"/>
              <a:gd name="csY80" fmla="*/ 756496 h 2018071"/>
              <a:gd name="csX81" fmla="*/ 2576006 w 3437996"/>
              <a:gd name="csY81" fmla="*/ 747002 h 2018071"/>
              <a:gd name="csX82" fmla="*/ 2567871 w 3437996"/>
              <a:gd name="csY82" fmla="*/ 738486 h 2018071"/>
              <a:gd name="csX83" fmla="*/ 2566459 w 3437996"/>
              <a:gd name="csY83" fmla="*/ 737499 h 2018071"/>
              <a:gd name="csX84" fmla="*/ 2558352 w 3437996"/>
              <a:gd name="csY84" fmla="*/ 728962 h 2018071"/>
              <a:gd name="csX85" fmla="*/ 2556937 w 3437996"/>
              <a:gd name="csY85" fmla="*/ 727967 h 2018071"/>
              <a:gd name="csX86" fmla="*/ 2547432 w 3437996"/>
              <a:gd name="csY86" fmla="*/ 718414 h 2018071"/>
              <a:gd name="csX87" fmla="*/ 2539350 w 3437996"/>
              <a:gd name="csY87" fmla="*/ 709894 h 2018071"/>
              <a:gd name="csX88" fmla="*/ 2537942 w 3437996"/>
              <a:gd name="csY88" fmla="*/ 708842 h 2018071"/>
              <a:gd name="csX89" fmla="*/ 2529865 w 3437996"/>
              <a:gd name="csY89" fmla="*/ 700356 h 2018071"/>
              <a:gd name="csX90" fmla="*/ 2528460 w 3437996"/>
              <a:gd name="csY90" fmla="*/ 699259 h 2018071"/>
              <a:gd name="csX91" fmla="*/ 2520386 w 3437996"/>
              <a:gd name="csY91" fmla="*/ 690820 h 2018071"/>
              <a:gd name="csX92" fmla="*/ 2510900 w 3437996"/>
              <a:gd name="csY92" fmla="*/ 681286 h 2018071"/>
              <a:gd name="csX93" fmla="*/ 2509493 w 3437996"/>
              <a:gd name="csY93" fmla="*/ 680082 h 2018071"/>
              <a:gd name="csX94" fmla="*/ 2501400 w 3437996"/>
              <a:gd name="csY94" fmla="*/ 671754 h 2018071"/>
              <a:gd name="csX95" fmla="*/ 2491892 w 3437996"/>
              <a:gd name="csY95" fmla="*/ 662222 h 2018071"/>
              <a:gd name="csX96" fmla="*/ 2490482 w 3437996"/>
              <a:gd name="csY96" fmla="*/ 660967 h 2018071"/>
              <a:gd name="csX97" fmla="*/ 2480984 w 3437996"/>
              <a:gd name="csY97" fmla="*/ 651408 h 2018071"/>
              <a:gd name="csX98" fmla="*/ 2472919 w 3437996"/>
              <a:gd name="csY98" fmla="*/ 643127 h 2018071"/>
              <a:gd name="csX99" fmla="*/ 2471515 w 3437996"/>
              <a:gd name="csY99" fmla="*/ 641819 h 2018071"/>
              <a:gd name="csX100" fmla="*/ 2463424 w 3437996"/>
              <a:gd name="csY100" fmla="*/ 633584 h 2018071"/>
              <a:gd name="csX101" fmla="*/ 2462020 w 3437996"/>
              <a:gd name="csY101" fmla="*/ 632257 h 2018071"/>
              <a:gd name="csX102" fmla="*/ 2453925 w 3437996"/>
              <a:gd name="csY102" fmla="*/ 624049 h 2018071"/>
              <a:gd name="csX103" fmla="*/ 2452516 w 3437996"/>
              <a:gd name="csY103" fmla="*/ 622702 h 2018071"/>
              <a:gd name="csX104" fmla="*/ 2444450 w 3437996"/>
              <a:gd name="csY104" fmla="*/ 614506 h 2018071"/>
              <a:gd name="csX105" fmla="*/ 2434957 w 3437996"/>
              <a:gd name="csY105" fmla="*/ 604969 h 2018071"/>
              <a:gd name="csX106" fmla="*/ 2433519 w 3437996"/>
              <a:gd name="csY106" fmla="*/ 603563 h 2018071"/>
              <a:gd name="csX107" fmla="*/ 2425486 w 3437996"/>
              <a:gd name="csY107" fmla="*/ 595418 h 2018071"/>
              <a:gd name="csX108" fmla="*/ 2424029 w 3437996"/>
              <a:gd name="csY108" fmla="*/ 593985 h 2018071"/>
              <a:gd name="csX109" fmla="*/ 2416081 w 3437996"/>
              <a:gd name="csY109" fmla="*/ 585841 h 2018071"/>
              <a:gd name="csX110" fmla="*/ 2406640 w 3437996"/>
              <a:gd name="csY110" fmla="*/ 576281 h 2018071"/>
              <a:gd name="csX111" fmla="*/ 2397176 w 3437996"/>
              <a:gd name="csY111" fmla="*/ 566733 h 2018071"/>
              <a:gd name="csX112" fmla="*/ 2395561 w 3437996"/>
              <a:gd name="csY112" fmla="*/ 565186 h 2018071"/>
              <a:gd name="csX113" fmla="*/ 2387690 w 3437996"/>
              <a:gd name="csY113" fmla="*/ 557193 h 2018071"/>
              <a:gd name="csX114" fmla="*/ 2386050 w 3437996"/>
              <a:gd name="csY114" fmla="*/ 555624 h 2018071"/>
              <a:gd name="csX115" fmla="*/ 2378191 w 3437996"/>
              <a:gd name="csY115" fmla="*/ 547659 h 2018071"/>
              <a:gd name="csX116" fmla="*/ 2368704 w 3437996"/>
              <a:gd name="csY116" fmla="*/ 538124 h 2018071"/>
              <a:gd name="csX117" fmla="*/ 2367021 w 3437996"/>
              <a:gd name="csY117" fmla="*/ 536517 h 2018071"/>
              <a:gd name="csX118" fmla="*/ 2360018 w 3437996"/>
              <a:gd name="csY118" fmla="*/ 529380 h 2018071"/>
              <a:gd name="csX119" fmla="*/ 2350552 w 3437996"/>
              <a:gd name="csY119" fmla="*/ 519835 h 2018071"/>
              <a:gd name="csX120" fmla="*/ 2348016 w 3437996"/>
              <a:gd name="csY120" fmla="*/ 517342 h 2018071"/>
              <a:gd name="csX121" fmla="*/ 2341054 w 3437996"/>
              <a:gd name="csY121" fmla="*/ 510297 h 2018071"/>
              <a:gd name="csX122" fmla="*/ 2322020 w 3437996"/>
              <a:gd name="csY122" fmla="*/ 491243 h 2018071"/>
              <a:gd name="csX123" fmla="*/ 2319465 w 3437996"/>
              <a:gd name="csY123" fmla="*/ 488702 h 2018071"/>
              <a:gd name="csX124" fmla="*/ 2312510 w 3437996"/>
              <a:gd name="csY124" fmla="*/ 481725 h 2018071"/>
              <a:gd name="csX125" fmla="*/ 2309941 w 3437996"/>
              <a:gd name="csY125" fmla="*/ 479158 h 2018071"/>
              <a:gd name="csX126" fmla="*/ 2303024 w 3437996"/>
              <a:gd name="csY126" fmla="*/ 472210 h 2018071"/>
              <a:gd name="csX127" fmla="*/ 2300428 w 3437996"/>
              <a:gd name="csY127" fmla="*/ 469578 h 2018071"/>
              <a:gd name="csX128" fmla="*/ 2293545 w 3437996"/>
              <a:gd name="csY128" fmla="*/ 462697 h 2018071"/>
              <a:gd name="csX129" fmla="*/ 2284051 w 3437996"/>
              <a:gd name="csY129" fmla="*/ 453172 h 2018071"/>
              <a:gd name="csX130" fmla="*/ 2281414 w 3437996"/>
              <a:gd name="csY130" fmla="*/ 450403 h 2018071"/>
              <a:gd name="csX131" fmla="*/ 2274560 w 3437996"/>
              <a:gd name="csY131" fmla="*/ 443646 h 2018071"/>
              <a:gd name="csX132" fmla="*/ 2265120 w 3437996"/>
              <a:gd name="csY132" fmla="*/ 434112 h 2018071"/>
              <a:gd name="csX133" fmla="*/ 2262409 w 3437996"/>
              <a:gd name="csY133" fmla="*/ 431189 h 2018071"/>
              <a:gd name="csX134" fmla="*/ 2252962 w 3437996"/>
              <a:gd name="csY134" fmla="*/ 421458 h 2018071"/>
              <a:gd name="csX135" fmla="*/ 2246361 w 3437996"/>
              <a:gd name="csY135" fmla="*/ 414989 h 2018071"/>
              <a:gd name="csX136" fmla="*/ 2226101 w 3437996"/>
              <a:gd name="csY136" fmla="*/ 394472 h 2018071"/>
              <a:gd name="csX137" fmla="*/ 2204126 w 3437996"/>
              <a:gd name="csY137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44017 w 3437996"/>
              <a:gd name="csY67" fmla="*/ 814773 h 2018071"/>
              <a:gd name="csX68" fmla="*/ 2642551 w 3437996"/>
              <a:gd name="csY68" fmla="*/ 813746 h 2018071"/>
              <a:gd name="csX69" fmla="*/ 2634494 w 3437996"/>
              <a:gd name="csY69" fmla="*/ 805208 h 2018071"/>
              <a:gd name="csX70" fmla="*/ 2633053 w 3437996"/>
              <a:gd name="csY70" fmla="*/ 804210 h 2018071"/>
              <a:gd name="csX71" fmla="*/ 2624994 w 3437996"/>
              <a:gd name="csY71" fmla="*/ 795655 h 2018071"/>
              <a:gd name="csX72" fmla="*/ 2623570 w 3437996"/>
              <a:gd name="csY72" fmla="*/ 794675 h 2018071"/>
              <a:gd name="csX73" fmla="*/ 2615495 w 3437996"/>
              <a:gd name="csY73" fmla="*/ 786111 h 2018071"/>
              <a:gd name="csX74" fmla="*/ 2614082 w 3437996"/>
              <a:gd name="csY74" fmla="*/ 785113 h 2018071"/>
              <a:gd name="csX75" fmla="*/ 2606007 w 3437996"/>
              <a:gd name="csY75" fmla="*/ 776562 h 2018071"/>
              <a:gd name="csX76" fmla="*/ 2604609 w 3437996"/>
              <a:gd name="csY76" fmla="*/ 775538 h 2018071"/>
              <a:gd name="csX77" fmla="*/ 2596489 w 3437996"/>
              <a:gd name="csY77" fmla="*/ 767032 h 2018071"/>
              <a:gd name="csX78" fmla="*/ 2595095 w 3437996"/>
              <a:gd name="csY78" fmla="*/ 766006 h 2018071"/>
              <a:gd name="csX79" fmla="*/ 2586954 w 3437996"/>
              <a:gd name="csY79" fmla="*/ 757512 h 2018071"/>
              <a:gd name="csX80" fmla="*/ 2585558 w 3437996"/>
              <a:gd name="csY80" fmla="*/ 756496 h 2018071"/>
              <a:gd name="csX81" fmla="*/ 2576006 w 3437996"/>
              <a:gd name="csY81" fmla="*/ 747002 h 2018071"/>
              <a:gd name="csX82" fmla="*/ 2567871 w 3437996"/>
              <a:gd name="csY82" fmla="*/ 738486 h 2018071"/>
              <a:gd name="csX83" fmla="*/ 2566459 w 3437996"/>
              <a:gd name="csY83" fmla="*/ 737499 h 2018071"/>
              <a:gd name="csX84" fmla="*/ 2558352 w 3437996"/>
              <a:gd name="csY84" fmla="*/ 728962 h 2018071"/>
              <a:gd name="csX85" fmla="*/ 2556937 w 3437996"/>
              <a:gd name="csY85" fmla="*/ 727967 h 2018071"/>
              <a:gd name="csX86" fmla="*/ 2547432 w 3437996"/>
              <a:gd name="csY86" fmla="*/ 718414 h 2018071"/>
              <a:gd name="csX87" fmla="*/ 2539350 w 3437996"/>
              <a:gd name="csY87" fmla="*/ 709894 h 2018071"/>
              <a:gd name="csX88" fmla="*/ 2537942 w 3437996"/>
              <a:gd name="csY88" fmla="*/ 708842 h 2018071"/>
              <a:gd name="csX89" fmla="*/ 2529865 w 3437996"/>
              <a:gd name="csY89" fmla="*/ 700356 h 2018071"/>
              <a:gd name="csX90" fmla="*/ 2528460 w 3437996"/>
              <a:gd name="csY90" fmla="*/ 699259 h 2018071"/>
              <a:gd name="csX91" fmla="*/ 2520386 w 3437996"/>
              <a:gd name="csY91" fmla="*/ 690820 h 2018071"/>
              <a:gd name="csX92" fmla="*/ 2510900 w 3437996"/>
              <a:gd name="csY92" fmla="*/ 681286 h 2018071"/>
              <a:gd name="csX93" fmla="*/ 2509493 w 3437996"/>
              <a:gd name="csY93" fmla="*/ 680082 h 2018071"/>
              <a:gd name="csX94" fmla="*/ 2501400 w 3437996"/>
              <a:gd name="csY94" fmla="*/ 671754 h 2018071"/>
              <a:gd name="csX95" fmla="*/ 2491892 w 3437996"/>
              <a:gd name="csY95" fmla="*/ 662222 h 2018071"/>
              <a:gd name="csX96" fmla="*/ 2490482 w 3437996"/>
              <a:gd name="csY96" fmla="*/ 660967 h 2018071"/>
              <a:gd name="csX97" fmla="*/ 2480984 w 3437996"/>
              <a:gd name="csY97" fmla="*/ 651408 h 2018071"/>
              <a:gd name="csX98" fmla="*/ 2472919 w 3437996"/>
              <a:gd name="csY98" fmla="*/ 643127 h 2018071"/>
              <a:gd name="csX99" fmla="*/ 2471515 w 3437996"/>
              <a:gd name="csY99" fmla="*/ 641819 h 2018071"/>
              <a:gd name="csX100" fmla="*/ 2463424 w 3437996"/>
              <a:gd name="csY100" fmla="*/ 633584 h 2018071"/>
              <a:gd name="csX101" fmla="*/ 2462020 w 3437996"/>
              <a:gd name="csY101" fmla="*/ 632257 h 2018071"/>
              <a:gd name="csX102" fmla="*/ 2453925 w 3437996"/>
              <a:gd name="csY102" fmla="*/ 624049 h 2018071"/>
              <a:gd name="csX103" fmla="*/ 2452516 w 3437996"/>
              <a:gd name="csY103" fmla="*/ 622702 h 2018071"/>
              <a:gd name="csX104" fmla="*/ 2444450 w 3437996"/>
              <a:gd name="csY104" fmla="*/ 614506 h 2018071"/>
              <a:gd name="csX105" fmla="*/ 2434957 w 3437996"/>
              <a:gd name="csY105" fmla="*/ 604969 h 2018071"/>
              <a:gd name="csX106" fmla="*/ 2433519 w 3437996"/>
              <a:gd name="csY106" fmla="*/ 603563 h 2018071"/>
              <a:gd name="csX107" fmla="*/ 2425486 w 3437996"/>
              <a:gd name="csY107" fmla="*/ 595418 h 2018071"/>
              <a:gd name="csX108" fmla="*/ 2424029 w 3437996"/>
              <a:gd name="csY108" fmla="*/ 593985 h 2018071"/>
              <a:gd name="csX109" fmla="*/ 2416081 w 3437996"/>
              <a:gd name="csY109" fmla="*/ 585841 h 2018071"/>
              <a:gd name="csX110" fmla="*/ 2406640 w 3437996"/>
              <a:gd name="csY110" fmla="*/ 576281 h 2018071"/>
              <a:gd name="csX111" fmla="*/ 2397176 w 3437996"/>
              <a:gd name="csY111" fmla="*/ 566733 h 2018071"/>
              <a:gd name="csX112" fmla="*/ 2395561 w 3437996"/>
              <a:gd name="csY112" fmla="*/ 565186 h 2018071"/>
              <a:gd name="csX113" fmla="*/ 2387690 w 3437996"/>
              <a:gd name="csY113" fmla="*/ 557193 h 2018071"/>
              <a:gd name="csX114" fmla="*/ 2386050 w 3437996"/>
              <a:gd name="csY114" fmla="*/ 555624 h 2018071"/>
              <a:gd name="csX115" fmla="*/ 2378191 w 3437996"/>
              <a:gd name="csY115" fmla="*/ 547659 h 2018071"/>
              <a:gd name="csX116" fmla="*/ 2368704 w 3437996"/>
              <a:gd name="csY116" fmla="*/ 538124 h 2018071"/>
              <a:gd name="csX117" fmla="*/ 2367021 w 3437996"/>
              <a:gd name="csY117" fmla="*/ 536517 h 2018071"/>
              <a:gd name="csX118" fmla="*/ 2360018 w 3437996"/>
              <a:gd name="csY118" fmla="*/ 529380 h 2018071"/>
              <a:gd name="csX119" fmla="*/ 2350552 w 3437996"/>
              <a:gd name="csY119" fmla="*/ 519835 h 2018071"/>
              <a:gd name="csX120" fmla="*/ 2348016 w 3437996"/>
              <a:gd name="csY120" fmla="*/ 517342 h 2018071"/>
              <a:gd name="csX121" fmla="*/ 2341054 w 3437996"/>
              <a:gd name="csY121" fmla="*/ 510297 h 2018071"/>
              <a:gd name="csX122" fmla="*/ 2322020 w 3437996"/>
              <a:gd name="csY122" fmla="*/ 491243 h 2018071"/>
              <a:gd name="csX123" fmla="*/ 2319465 w 3437996"/>
              <a:gd name="csY123" fmla="*/ 488702 h 2018071"/>
              <a:gd name="csX124" fmla="*/ 2312510 w 3437996"/>
              <a:gd name="csY124" fmla="*/ 481725 h 2018071"/>
              <a:gd name="csX125" fmla="*/ 2309941 w 3437996"/>
              <a:gd name="csY125" fmla="*/ 479158 h 2018071"/>
              <a:gd name="csX126" fmla="*/ 2303024 w 3437996"/>
              <a:gd name="csY126" fmla="*/ 472210 h 2018071"/>
              <a:gd name="csX127" fmla="*/ 2300428 w 3437996"/>
              <a:gd name="csY127" fmla="*/ 469578 h 2018071"/>
              <a:gd name="csX128" fmla="*/ 2293545 w 3437996"/>
              <a:gd name="csY128" fmla="*/ 462697 h 2018071"/>
              <a:gd name="csX129" fmla="*/ 2284051 w 3437996"/>
              <a:gd name="csY129" fmla="*/ 453172 h 2018071"/>
              <a:gd name="csX130" fmla="*/ 2274560 w 3437996"/>
              <a:gd name="csY130" fmla="*/ 443646 h 2018071"/>
              <a:gd name="csX131" fmla="*/ 2265120 w 3437996"/>
              <a:gd name="csY131" fmla="*/ 434112 h 2018071"/>
              <a:gd name="csX132" fmla="*/ 2262409 w 3437996"/>
              <a:gd name="csY132" fmla="*/ 431189 h 2018071"/>
              <a:gd name="csX133" fmla="*/ 2252962 w 3437996"/>
              <a:gd name="csY133" fmla="*/ 421458 h 2018071"/>
              <a:gd name="csX134" fmla="*/ 2246361 w 3437996"/>
              <a:gd name="csY134" fmla="*/ 414989 h 2018071"/>
              <a:gd name="csX135" fmla="*/ 2226101 w 3437996"/>
              <a:gd name="csY135" fmla="*/ 394472 h 2018071"/>
              <a:gd name="csX136" fmla="*/ 2204126 w 3437996"/>
              <a:gd name="csY136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44017 w 3437996"/>
              <a:gd name="csY67" fmla="*/ 814773 h 2018071"/>
              <a:gd name="csX68" fmla="*/ 2642551 w 3437996"/>
              <a:gd name="csY68" fmla="*/ 813746 h 2018071"/>
              <a:gd name="csX69" fmla="*/ 2634494 w 3437996"/>
              <a:gd name="csY69" fmla="*/ 805208 h 2018071"/>
              <a:gd name="csX70" fmla="*/ 2633053 w 3437996"/>
              <a:gd name="csY70" fmla="*/ 804210 h 2018071"/>
              <a:gd name="csX71" fmla="*/ 2624994 w 3437996"/>
              <a:gd name="csY71" fmla="*/ 795655 h 2018071"/>
              <a:gd name="csX72" fmla="*/ 2623570 w 3437996"/>
              <a:gd name="csY72" fmla="*/ 794675 h 2018071"/>
              <a:gd name="csX73" fmla="*/ 2615495 w 3437996"/>
              <a:gd name="csY73" fmla="*/ 786111 h 2018071"/>
              <a:gd name="csX74" fmla="*/ 2614082 w 3437996"/>
              <a:gd name="csY74" fmla="*/ 785113 h 2018071"/>
              <a:gd name="csX75" fmla="*/ 2606007 w 3437996"/>
              <a:gd name="csY75" fmla="*/ 776562 h 2018071"/>
              <a:gd name="csX76" fmla="*/ 2604609 w 3437996"/>
              <a:gd name="csY76" fmla="*/ 775538 h 2018071"/>
              <a:gd name="csX77" fmla="*/ 2596489 w 3437996"/>
              <a:gd name="csY77" fmla="*/ 767032 h 2018071"/>
              <a:gd name="csX78" fmla="*/ 2595095 w 3437996"/>
              <a:gd name="csY78" fmla="*/ 766006 h 2018071"/>
              <a:gd name="csX79" fmla="*/ 2586954 w 3437996"/>
              <a:gd name="csY79" fmla="*/ 757512 h 2018071"/>
              <a:gd name="csX80" fmla="*/ 2585558 w 3437996"/>
              <a:gd name="csY80" fmla="*/ 756496 h 2018071"/>
              <a:gd name="csX81" fmla="*/ 2576006 w 3437996"/>
              <a:gd name="csY81" fmla="*/ 747002 h 2018071"/>
              <a:gd name="csX82" fmla="*/ 2567871 w 3437996"/>
              <a:gd name="csY82" fmla="*/ 738486 h 2018071"/>
              <a:gd name="csX83" fmla="*/ 2566459 w 3437996"/>
              <a:gd name="csY83" fmla="*/ 737499 h 2018071"/>
              <a:gd name="csX84" fmla="*/ 2558352 w 3437996"/>
              <a:gd name="csY84" fmla="*/ 728962 h 2018071"/>
              <a:gd name="csX85" fmla="*/ 2556937 w 3437996"/>
              <a:gd name="csY85" fmla="*/ 727967 h 2018071"/>
              <a:gd name="csX86" fmla="*/ 2547432 w 3437996"/>
              <a:gd name="csY86" fmla="*/ 718414 h 2018071"/>
              <a:gd name="csX87" fmla="*/ 2539350 w 3437996"/>
              <a:gd name="csY87" fmla="*/ 709894 h 2018071"/>
              <a:gd name="csX88" fmla="*/ 2537942 w 3437996"/>
              <a:gd name="csY88" fmla="*/ 708842 h 2018071"/>
              <a:gd name="csX89" fmla="*/ 2529865 w 3437996"/>
              <a:gd name="csY89" fmla="*/ 700356 h 2018071"/>
              <a:gd name="csX90" fmla="*/ 2528460 w 3437996"/>
              <a:gd name="csY90" fmla="*/ 699259 h 2018071"/>
              <a:gd name="csX91" fmla="*/ 2520386 w 3437996"/>
              <a:gd name="csY91" fmla="*/ 690820 h 2018071"/>
              <a:gd name="csX92" fmla="*/ 2510900 w 3437996"/>
              <a:gd name="csY92" fmla="*/ 681286 h 2018071"/>
              <a:gd name="csX93" fmla="*/ 2509493 w 3437996"/>
              <a:gd name="csY93" fmla="*/ 680082 h 2018071"/>
              <a:gd name="csX94" fmla="*/ 2501400 w 3437996"/>
              <a:gd name="csY94" fmla="*/ 671754 h 2018071"/>
              <a:gd name="csX95" fmla="*/ 2491892 w 3437996"/>
              <a:gd name="csY95" fmla="*/ 662222 h 2018071"/>
              <a:gd name="csX96" fmla="*/ 2490482 w 3437996"/>
              <a:gd name="csY96" fmla="*/ 660967 h 2018071"/>
              <a:gd name="csX97" fmla="*/ 2480984 w 3437996"/>
              <a:gd name="csY97" fmla="*/ 651408 h 2018071"/>
              <a:gd name="csX98" fmla="*/ 2472919 w 3437996"/>
              <a:gd name="csY98" fmla="*/ 643127 h 2018071"/>
              <a:gd name="csX99" fmla="*/ 2471515 w 3437996"/>
              <a:gd name="csY99" fmla="*/ 641819 h 2018071"/>
              <a:gd name="csX100" fmla="*/ 2463424 w 3437996"/>
              <a:gd name="csY100" fmla="*/ 633584 h 2018071"/>
              <a:gd name="csX101" fmla="*/ 2462020 w 3437996"/>
              <a:gd name="csY101" fmla="*/ 632257 h 2018071"/>
              <a:gd name="csX102" fmla="*/ 2453925 w 3437996"/>
              <a:gd name="csY102" fmla="*/ 624049 h 2018071"/>
              <a:gd name="csX103" fmla="*/ 2452516 w 3437996"/>
              <a:gd name="csY103" fmla="*/ 622702 h 2018071"/>
              <a:gd name="csX104" fmla="*/ 2444450 w 3437996"/>
              <a:gd name="csY104" fmla="*/ 614506 h 2018071"/>
              <a:gd name="csX105" fmla="*/ 2434957 w 3437996"/>
              <a:gd name="csY105" fmla="*/ 604969 h 2018071"/>
              <a:gd name="csX106" fmla="*/ 2433519 w 3437996"/>
              <a:gd name="csY106" fmla="*/ 603563 h 2018071"/>
              <a:gd name="csX107" fmla="*/ 2425486 w 3437996"/>
              <a:gd name="csY107" fmla="*/ 595418 h 2018071"/>
              <a:gd name="csX108" fmla="*/ 2424029 w 3437996"/>
              <a:gd name="csY108" fmla="*/ 593985 h 2018071"/>
              <a:gd name="csX109" fmla="*/ 2416081 w 3437996"/>
              <a:gd name="csY109" fmla="*/ 585841 h 2018071"/>
              <a:gd name="csX110" fmla="*/ 2406640 w 3437996"/>
              <a:gd name="csY110" fmla="*/ 576281 h 2018071"/>
              <a:gd name="csX111" fmla="*/ 2397176 w 3437996"/>
              <a:gd name="csY111" fmla="*/ 566733 h 2018071"/>
              <a:gd name="csX112" fmla="*/ 2395561 w 3437996"/>
              <a:gd name="csY112" fmla="*/ 565186 h 2018071"/>
              <a:gd name="csX113" fmla="*/ 2387690 w 3437996"/>
              <a:gd name="csY113" fmla="*/ 557193 h 2018071"/>
              <a:gd name="csX114" fmla="*/ 2386050 w 3437996"/>
              <a:gd name="csY114" fmla="*/ 555624 h 2018071"/>
              <a:gd name="csX115" fmla="*/ 2378191 w 3437996"/>
              <a:gd name="csY115" fmla="*/ 547659 h 2018071"/>
              <a:gd name="csX116" fmla="*/ 2368704 w 3437996"/>
              <a:gd name="csY116" fmla="*/ 538124 h 2018071"/>
              <a:gd name="csX117" fmla="*/ 2367021 w 3437996"/>
              <a:gd name="csY117" fmla="*/ 536517 h 2018071"/>
              <a:gd name="csX118" fmla="*/ 2360018 w 3437996"/>
              <a:gd name="csY118" fmla="*/ 529380 h 2018071"/>
              <a:gd name="csX119" fmla="*/ 2350552 w 3437996"/>
              <a:gd name="csY119" fmla="*/ 519835 h 2018071"/>
              <a:gd name="csX120" fmla="*/ 2348016 w 3437996"/>
              <a:gd name="csY120" fmla="*/ 517342 h 2018071"/>
              <a:gd name="csX121" fmla="*/ 2341054 w 3437996"/>
              <a:gd name="csY121" fmla="*/ 510297 h 2018071"/>
              <a:gd name="csX122" fmla="*/ 2322020 w 3437996"/>
              <a:gd name="csY122" fmla="*/ 491243 h 2018071"/>
              <a:gd name="csX123" fmla="*/ 2312510 w 3437996"/>
              <a:gd name="csY123" fmla="*/ 481725 h 2018071"/>
              <a:gd name="csX124" fmla="*/ 2309941 w 3437996"/>
              <a:gd name="csY124" fmla="*/ 479158 h 2018071"/>
              <a:gd name="csX125" fmla="*/ 2303024 w 3437996"/>
              <a:gd name="csY125" fmla="*/ 472210 h 2018071"/>
              <a:gd name="csX126" fmla="*/ 2300428 w 3437996"/>
              <a:gd name="csY126" fmla="*/ 469578 h 2018071"/>
              <a:gd name="csX127" fmla="*/ 2293545 w 3437996"/>
              <a:gd name="csY127" fmla="*/ 462697 h 2018071"/>
              <a:gd name="csX128" fmla="*/ 2284051 w 3437996"/>
              <a:gd name="csY128" fmla="*/ 453172 h 2018071"/>
              <a:gd name="csX129" fmla="*/ 2274560 w 3437996"/>
              <a:gd name="csY129" fmla="*/ 443646 h 2018071"/>
              <a:gd name="csX130" fmla="*/ 2265120 w 3437996"/>
              <a:gd name="csY130" fmla="*/ 434112 h 2018071"/>
              <a:gd name="csX131" fmla="*/ 2262409 w 3437996"/>
              <a:gd name="csY131" fmla="*/ 431189 h 2018071"/>
              <a:gd name="csX132" fmla="*/ 2252962 w 3437996"/>
              <a:gd name="csY132" fmla="*/ 421458 h 2018071"/>
              <a:gd name="csX133" fmla="*/ 2246361 w 3437996"/>
              <a:gd name="csY133" fmla="*/ 414989 h 2018071"/>
              <a:gd name="csX134" fmla="*/ 2226101 w 3437996"/>
              <a:gd name="csY134" fmla="*/ 394472 h 2018071"/>
              <a:gd name="csX135" fmla="*/ 2204126 w 3437996"/>
              <a:gd name="csY135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44017 w 3437996"/>
              <a:gd name="csY67" fmla="*/ 814773 h 2018071"/>
              <a:gd name="csX68" fmla="*/ 2642551 w 3437996"/>
              <a:gd name="csY68" fmla="*/ 813746 h 2018071"/>
              <a:gd name="csX69" fmla="*/ 2634494 w 3437996"/>
              <a:gd name="csY69" fmla="*/ 805208 h 2018071"/>
              <a:gd name="csX70" fmla="*/ 2633053 w 3437996"/>
              <a:gd name="csY70" fmla="*/ 804210 h 2018071"/>
              <a:gd name="csX71" fmla="*/ 2624994 w 3437996"/>
              <a:gd name="csY71" fmla="*/ 795655 h 2018071"/>
              <a:gd name="csX72" fmla="*/ 2623570 w 3437996"/>
              <a:gd name="csY72" fmla="*/ 794675 h 2018071"/>
              <a:gd name="csX73" fmla="*/ 2615495 w 3437996"/>
              <a:gd name="csY73" fmla="*/ 786111 h 2018071"/>
              <a:gd name="csX74" fmla="*/ 2614082 w 3437996"/>
              <a:gd name="csY74" fmla="*/ 785113 h 2018071"/>
              <a:gd name="csX75" fmla="*/ 2606007 w 3437996"/>
              <a:gd name="csY75" fmla="*/ 776562 h 2018071"/>
              <a:gd name="csX76" fmla="*/ 2604609 w 3437996"/>
              <a:gd name="csY76" fmla="*/ 775538 h 2018071"/>
              <a:gd name="csX77" fmla="*/ 2596489 w 3437996"/>
              <a:gd name="csY77" fmla="*/ 767032 h 2018071"/>
              <a:gd name="csX78" fmla="*/ 2595095 w 3437996"/>
              <a:gd name="csY78" fmla="*/ 766006 h 2018071"/>
              <a:gd name="csX79" fmla="*/ 2586954 w 3437996"/>
              <a:gd name="csY79" fmla="*/ 757512 h 2018071"/>
              <a:gd name="csX80" fmla="*/ 2585558 w 3437996"/>
              <a:gd name="csY80" fmla="*/ 756496 h 2018071"/>
              <a:gd name="csX81" fmla="*/ 2576006 w 3437996"/>
              <a:gd name="csY81" fmla="*/ 747002 h 2018071"/>
              <a:gd name="csX82" fmla="*/ 2567871 w 3437996"/>
              <a:gd name="csY82" fmla="*/ 738486 h 2018071"/>
              <a:gd name="csX83" fmla="*/ 2566459 w 3437996"/>
              <a:gd name="csY83" fmla="*/ 737499 h 2018071"/>
              <a:gd name="csX84" fmla="*/ 2558352 w 3437996"/>
              <a:gd name="csY84" fmla="*/ 728962 h 2018071"/>
              <a:gd name="csX85" fmla="*/ 2556937 w 3437996"/>
              <a:gd name="csY85" fmla="*/ 727967 h 2018071"/>
              <a:gd name="csX86" fmla="*/ 2547432 w 3437996"/>
              <a:gd name="csY86" fmla="*/ 718414 h 2018071"/>
              <a:gd name="csX87" fmla="*/ 2539350 w 3437996"/>
              <a:gd name="csY87" fmla="*/ 709894 h 2018071"/>
              <a:gd name="csX88" fmla="*/ 2537942 w 3437996"/>
              <a:gd name="csY88" fmla="*/ 708842 h 2018071"/>
              <a:gd name="csX89" fmla="*/ 2529865 w 3437996"/>
              <a:gd name="csY89" fmla="*/ 700356 h 2018071"/>
              <a:gd name="csX90" fmla="*/ 2528460 w 3437996"/>
              <a:gd name="csY90" fmla="*/ 699259 h 2018071"/>
              <a:gd name="csX91" fmla="*/ 2520386 w 3437996"/>
              <a:gd name="csY91" fmla="*/ 690820 h 2018071"/>
              <a:gd name="csX92" fmla="*/ 2510900 w 3437996"/>
              <a:gd name="csY92" fmla="*/ 681286 h 2018071"/>
              <a:gd name="csX93" fmla="*/ 2509493 w 3437996"/>
              <a:gd name="csY93" fmla="*/ 680082 h 2018071"/>
              <a:gd name="csX94" fmla="*/ 2501400 w 3437996"/>
              <a:gd name="csY94" fmla="*/ 671754 h 2018071"/>
              <a:gd name="csX95" fmla="*/ 2491892 w 3437996"/>
              <a:gd name="csY95" fmla="*/ 662222 h 2018071"/>
              <a:gd name="csX96" fmla="*/ 2490482 w 3437996"/>
              <a:gd name="csY96" fmla="*/ 660967 h 2018071"/>
              <a:gd name="csX97" fmla="*/ 2480984 w 3437996"/>
              <a:gd name="csY97" fmla="*/ 651408 h 2018071"/>
              <a:gd name="csX98" fmla="*/ 2472919 w 3437996"/>
              <a:gd name="csY98" fmla="*/ 643127 h 2018071"/>
              <a:gd name="csX99" fmla="*/ 2471515 w 3437996"/>
              <a:gd name="csY99" fmla="*/ 641819 h 2018071"/>
              <a:gd name="csX100" fmla="*/ 2463424 w 3437996"/>
              <a:gd name="csY100" fmla="*/ 633584 h 2018071"/>
              <a:gd name="csX101" fmla="*/ 2462020 w 3437996"/>
              <a:gd name="csY101" fmla="*/ 632257 h 2018071"/>
              <a:gd name="csX102" fmla="*/ 2453925 w 3437996"/>
              <a:gd name="csY102" fmla="*/ 624049 h 2018071"/>
              <a:gd name="csX103" fmla="*/ 2452516 w 3437996"/>
              <a:gd name="csY103" fmla="*/ 622702 h 2018071"/>
              <a:gd name="csX104" fmla="*/ 2444450 w 3437996"/>
              <a:gd name="csY104" fmla="*/ 614506 h 2018071"/>
              <a:gd name="csX105" fmla="*/ 2434957 w 3437996"/>
              <a:gd name="csY105" fmla="*/ 604969 h 2018071"/>
              <a:gd name="csX106" fmla="*/ 2433519 w 3437996"/>
              <a:gd name="csY106" fmla="*/ 603563 h 2018071"/>
              <a:gd name="csX107" fmla="*/ 2425486 w 3437996"/>
              <a:gd name="csY107" fmla="*/ 595418 h 2018071"/>
              <a:gd name="csX108" fmla="*/ 2424029 w 3437996"/>
              <a:gd name="csY108" fmla="*/ 593985 h 2018071"/>
              <a:gd name="csX109" fmla="*/ 2416081 w 3437996"/>
              <a:gd name="csY109" fmla="*/ 585841 h 2018071"/>
              <a:gd name="csX110" fmla="*/ 2406640 w 3437996"/>
              <a:gd name="csY110" fmla="*/ 576281 h 2018071"/>
              <a:gd name="csX111" fmla="*/ 2397176 w 3437996"/>
              <a:gd name="csY111" fmla="*/ 566733 h 2018071"/>
              <a:gd name="csX112" fmla="*/ 2395561 w 3437996"/>
              <a:gd name="csY112" fmla="*/ 565186 h 2018071"/>
              <a:gd name="csX113" fmla="*/ 2387690 w 3437996"/>
              <a:gd name="csY113" fmla="*/ 557193 h 2018071"/>
              <a:gd name="csX114" fmla="*/ 2386050 w 3437996"/>
              <a:gd name="csY114" fmla="*/ 555624 h 2018071"/>
              <a:gd name="csX115" fmla="*/ 2378191 w 3437996"/>
              <a:gd name="csY115" fmla="*/ 547659 h 2018071"/>
              <a:gd name="csX116" fmla="*/ 2368704 w 3437996"/>
              <a:gd name="csY116" fmla="*/ 538124 h 2018071"/>
              <a:gd name="csX117" fmla="*/ 2367021 w 3437996"/>
              <a:gd name="csY117" fmla="*/ 536517 h 2018071"/>
              <a:gd name="csX118" fmla="*/ 2350552 w 3437996"/>
              <a:gd name="csY118" fmla="*/ 519835 h 2018071"/>
              <a:gd name="csX119" fmla="*/ 2348016 w 3437996"/>
              <a:gd name="csY119" fmla="*/ 517342 h 2018071"/>
              <a:gd name="csX120" fmla="*/ 2341054 w 3437996"/>
              <a:gd name="csY120" fmla="*/ 510297 h 2018071"/>
              <a:gd name="csX121" fmla="*/ 2322020 w 3437996"/>
              <a:gd name="csY121" fmla="*/ 491243 h 2018071"/>
              <a:gd name="csX122" fmla="*/ 2312510 w 3437996"/>
              <a:gd name="csY122" fmla="*/ 481725 h 2018071"/>
              <a:gd name="csX123" fmla="*/ 2309941 w 3437996"/>
              <a:gd name="csY123" fmla="*/ 479158 h 2018071"/>
              <a:gd name="csX124" fmla="*/ 2303024 w 3437996"/>
              <a:gd name="csY124" fmla="*/ 472210 h 2018071"/>
              <a:gd name="csX125" fmla="*/ 2300428 w 3437996"/>
              <a:gd name="csY125" fmla="*/ 469578 h 2018071"/>
              <a:gd name="csX126" fmla="*/ 2293545 w 3437996"/>
              <a:gd name="csY126" fmla="*/ 462697 h 2018071"/>
              <a:gd name="csX127" fmla="*/ 2284051 w 3437996"/>
              <a:gd name="csY127" fmla="*/ 453172 h 2018071"/>
              <a:gd name="csX128" fmla="*/ 2274560 w 3437996"/>
              <a:gd name="csY128" fmla="*/ 443646 h 2018071"/>
              <a:gd name="csX129" fmla="*/ 2265120 w 3437996"/>
              <a:gd name="csY129" fmla="*/ 434112 h 2018071"/>
              <a:gd name="csX130" fmla="*/ 2262409 w 3437996"/>
              <a:gd name="csY130" fmla="*/ 431189 h 2018071"/>
              <a:gd name="csX131" fmla="*/ 2252962 w 3437996"/>
              <a:gd name="csY131" fmla="*/ 421458 h 2018071"/>
              <a:gd name="csX132" fmla="*/ 2246361 w 3437996"/>
              <a:gd name="csY132" fmla="*/ 414989 h 2018071"/>
              <a:gd name="csX133" fmla="*/ 2226101 w 3437996"/>
              <a:gd name="csY133" fmla="*/ 394472 h 2018071"/>
              <a:gd name="csX134" fmla="*/ 2204126 w 3437996"/>
              <a:gd name="csY134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44017 w 3437996"/>
              <a:gd name="csY67" fmla="*/ 814773 h 2018071"/>
              <a:gd name="csX68" fmla="*/ 2642551 w 3437996"/>
              <a:gd name="csY68" fmla="*/ 813746 h 2018071"/>
              <a:gd name="csX69" fmla="*/ 2634494 w 3437996"/>
              <a:gd name="csY69" fmla="*/ 805208 h 2018071"/>
              <a:gd name="csX70" fmla="*/ 2633053 w 3437996"/>
              <a:gd name="csY70" fmla="*/ 804210 h 2018071"/>
              <a:gd name="csX71" fmla="*/ 2624994 w 3437996"/>
              <a:gd name="csY71" fmla="*/ 795655 h 2018071"/>
              <a:gd name="csX72" fmla="*/ 2623570 w 3437996"/>
              <a:gd name="csY72" fmla="*/ 794675 h 2018071"/>
              <a:gd name="csX73" fmla="*/ 2615495 w 3437996"/>
              <a:gd name="csY73" fmla="*/ 786111 h 2018071"/>
              <a:gd name="csX74" fmla="*/ 2614082 w 3437996"/>
              <a:gd name="csY74" fmla="*/ 785113 h 2018071"/>
              <a:gd name="csX75" fmla="*/ 2606007 w 3437996"/>
              <a:gd name="csY75" fmla="*/ 776562 h 2018071"/>
              <a:gd name="csX76" fmla="*/ 2604609 w 3437996"/>
              <a:gd name="csY76" fmla="*/ 775538 h 2018071"/>
              <a:gd name="csX77" fmla="*/ 2596489 w 3437996"/>
              <a:gd name="csY77" fmla="*/ 767032 h 2018071"/>
              <a:gd name="csX78" fmla="*/ 2595095 w 3437996"/>
              <a:gd name="csY78" fmla="*/ 766006 h 2018071"/>
              <a:gd name="csX79" fmla="*/ 2586954 w 3437996"/>
              <a:gd name="csY79" fmla="*/ 757512 h 2018071"/>
              <a:gd name="csX80" fmla="*/ 2585558 w 3437996"/>
              <a:gd name="csY80" fmla="*/ 756496 h 2018071"/>
              <a:gd name="csX81" fmla="*/ 2576006 w 3437996"/>
              <a:gd name="csY81" fmla="*/ 747002 h 2018071"/>
              <a:gd name="csX82" fmla="*/ 2567871 w 3437996"/>
              <a:gd name="csY82" fmla="*/ 738486 h 2018071"/>
              <a:gd name="csX83" fmla="*/ 2566459 w 3437996"/>
              <a:gd name="csY83" fmla="*/ 737499 h 2018071"/>
              <a:gd name="csX84" fmla="*/ 2558352 w 3437996"/>
              <a:gd name="csY84" fmla="*/ 728962 h 2018071"/>
              <a:gd name="csX85" fmla="*/ 2556937 w 3437996"/>
              <a:gd name="csY85" fmla="*/ 727967 h 2018071"/>
              <a:gd name="csX86" fmla="*/ 2547432 w 3437996"/>
              <a:gd name="csY86" fmla="*/ 718414 h 2018071"/>
              <a:gd name="csX87" fmla="*/ 2539350 w 3437996"/>
              <a:gd name="csY87" fmla="*/ 709894 h 2018071"/>
              <a:gd name="csX88" fmla="*/ 2537942 w 3437996"/>
              <a:gd name="csY88" fmla="*/ 708842 h 2018071"/>
              <a:gd name="csX89" fmla="*/ 2529865 w 3437996"/>
              <a:gd name="csY89" fmla="*/ 700356 h 2018071"/>
              <a:gd name="csX90" fmla="*/ 2528460 w 3437996"/>
              <a:gd name="csY90" fmla="*/ 699259 h 2018071"/>
              <a:gd name="csX91" fmla="*/ 2520386 w 3437996"/>
              <a:gd name="csY91" fmla="*/ 690820 h 2018071"/>
              <a:gd name="csX92" fmla="*/ 2510900 w 3437996"/>
              <a:gd name="csY92" fmla="*/ 681286 h 2018071"/>
              <a:gd name="csX93" fmla="*/ 2509493 w 3437996"/>
              <a:gd name="csY93" fmla="*/ 680082 h 2018071"/>
              <a:gd name="csX94" fmla="*/ 2501400 w 3437996"/>
              <a:gd name="csY94" fmla="*/ 671754 h 2018071"/>
              <a:gd name="csX95" fmla="*/ 2491892 w 3437996"/>
              <a:gd name="csY95" fmla="*/ 662222 h 2018071"/>
              <a:gd name="csX96" fmla="*/ 2490482 w 3437996"/>
              <a:gd name="csY96" fmla="*/ 660967 h 2018071"/>
              <a:gd name="csX97" fmla="*/ 2480984 w 3437996"/>
              <a:gd name="csY97" fmla="*/ 651408 h 2018071"/>
              <a:gd name="csX98" fmla="*/ 2472919 w 3437996"/>
              <a:gd name="csY98" fmla="*/ 643127 h 2018071"/>
              <a:gd name="csX99" fmla="*/ 2471515 w 3437996"/>
              <a:gd name="csY99" fmla="*/ 641819 h 2018071"/>
              <a:gd name="csX100" fmla="*/ 2463424 w 3437996"/>
              <a:gd name="csY100" fmla="*/ 633584 h 2018071"/>
              <a:gd name="csX101" fmla="*/ 2462020 w 3437996"/>
              <a:gd name="csY101" fmla="*/ 632257 h 2018071"/>
              <a:gd name="csX102" fmla="*/ 2453925 w 3437996"/>
              <a:gd name="csY102" fmla="*/ 624049 h 2018071"/>
              <a:gd name="csX103" fmla="*/ 2452516 w 3437996"/>
              <a:gd name="csY103" fmla="*/ 622702 h 2018071"/>
              <a:gd name="csX104" fmla="*/ 2444450 w 3437996"/>
              <a:gd name="csY104" fmla="*/ 614506 h 2018071"/>
              <a:gd name="csX105" fmla="*/ 2434957 w 3437996"/>
              <a:gd name="csY105" fmla="*/ 604969 h 2018071"/>
              <a:gd name="csX106" fmla="*/ 2433519 w 3437996"/>
              <a:gd name="csY106" fmla="*/ 603563 h 2018071"/>
              <a:gd name="csX107" fmla="*/ 2425486 w 3437996"/>
              <a:gd name="csY107" fmla="*/ 595418 h 2018071"/>
              <a:gd name="csX108" fmla="*/ 2424029 w 3437996"/>
              <a:gd name="csY108" fmla="*/ 593985 h 2018071"/>
              <a:gd name="csX109" fmla="*/ 2416081 w 3437996"/>
              <a:gd name="csY109" fmla="*/ 585841 h 2018071"/>
              <a:gd name="csX110" fmla="*/ 2406640 w 3437996"/>
              <a:gd name="csY110" fmla="*/ 576281 h 2018071"/>
              <a:gd name="csX111" fmla="*/ 2397176 w 3437996"/>
              <a:gd name="csY111" fmla="*/ 566733 h 2018071"/>
              <a:gd name="csX112" fmla="*/ 2387690 w 3437996"/>
              <a:gd name="csY112" fmla="*/ 557193 h 2018071"/>
              <a:gd name="csX113" fmla="*/ 2386050 w 3437996"/>
              <a:gd name="csY113" fmla="*/ 555624 h 2018071"/>
              <a:gd name="csX114" fmla="*/ 2378191 w 3437996"/>
              <a:gd name="csY114" fmla="*/ 547659 h 2018071"/>
              <a:gd name="csX115" fmla="*/ 2368704 w 3437996"/>
              <a:gd name="csY115" fmla="*/ 538124 h 2018071"/>
              <a:gd name="csX116" fmla="*/ 2367021 w 3437996"/>
              <a:gd name="csY116" fmla="*/ 536517 h 2018071"/>
              <a:gd name="csX117" fmla="*/ 2350552 w 3437996"/>
              <a:gd name="csY117" fmla="*/ 519835 h 2018071"/>
              <a:gd name="csX118" fmla="*/ 2348016 w 3437996"/>
              <a:gd name="csY118" fmla="*/ 517342 h 2018071"/>
              <a:gd name="csX119" fmla="*/ 2341054 w 3437996"/>
              <a:gd name="csY119" fmla="*/ 510297 h 2018071"/>
              <a:gd name="csX120" fmla="*/ 2322020 w 3437996"/>
              <a:gd name="csY120" fmla="*/ 491243 h 2018071"/>
              <a:gd name="csX121" fmla="*/ 2312510 w 3437996"/>
              <a:gd name="csY121" fmla="*/ 481725 h 2018071"/>
              <a:gd name="csX122" fmla="*/ 2309941 w 3437996"/>
              <a:gd name="csY122" fmla="*/ 479158 h 2018071"/>
              <a:gd name="csX123" fmla="*/ 2303024 w 3437996"/>
              <a:gd name="csY123" fmla="*/ 472210 h 2018071"/>
              <a:gd name="csX124" fmla="*/ 2300428 w 3437996"/>
              <a:gd name="csY124" fmla="*/ 469578 h 2018071"/>
              <a:gd name="csX125" fmla="*/ 2293545 w 3437996"/>
              <a:gd name="csY125" fmla="*/ 462697 h 2018071"/>
              <a:gd name="csX126" fmla="*/ 2284051 w 3437996"/>
              <a:gd name="csY126" fmla="*/ 453172 h 2018071"/>
              <a:gd name="csX127" fmla="*/ 2274560 w 3437996"/>
              <a:gd name="csY127" fmla="*/ 443646 h 2018071"/>
              <a:gd name="csX128" fmla="*/ 2265120 w 3437996"/>
              <a:gd name="csY128" fmla="*/ 434112 h 2018071"/>
              <a:gd name="csX129" fmla="*/ 2262409 w 3437996"/>
              <a:gd name="csY129" fmla="*/ 431189 h 2018071"/>
              <a:gd name="csX130" fmla="*/ 2252962 w 3437996"/>
              <a:gd name="csY130" fmla="*/ 421458 h 2018071"/>
              <a:gd name="csX131" fmla="*/ 2246361 w 3437996"/>
              <a:gd name="csY131" fmla="*/ 414989 h 2018071"/>
              <a:gd name="csX132" fmla="*/ 2226101 w 3437996"/>
              <a:gd name="csY132" fmla="*/ 394472 h 2018071"/>
              <a:gd name="csX133" fmla="*/ 2204126 w 3437996"/>
              <a:gd name="csY133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44017 w 3437996"/>
              <a:gd name="csY67" fmla="*/ 814773 h 2018071"/>
              <a:gd name="csX68" fmla="*/ 2642551 w 3437996"/>
              <a:gd name="csY68" fmla="*/ 813746 h 2018071"/>
              <a:gd name="csX69" fmla="*/ 2634494 w 3437996"/>
              <a:gd name="csY69" fmla="*/ 805208 h 2018071"/>
              <a:gd name="csX70" fmla="*/ 2633053 w 3437996"/>
              <a:gd name="csY70" fmla="*/ 804210 h 2018071"/>
              <a:gd name="csX71" fmla="*/ 2624994 w 3437996"/>
              <a:gd name="csY71" fmla="*/ 795655 h 2018071"/>
              <a:gd name="csX72" fmla="*/ 2623570 w 3437996"/>
              <a:gd name="csY72" fmla="*/ 794675 h 2018071"/>
              <a:gd name="csX73" fmla="*/ 2615495 w 3437996"/>
              <a:gd name="csY73" fmla="*/ 786111 h 2018071"/>
              <a:gd name="csX74" fmla="*/ 2614082 w 3437996"/>
              <a:gd name="csY74" fmla="*/ 785113 h 2018071"/>
              <a:gd name="csX75" fmla="*/ 2606007 w 3437996"/>
              <a:gd name="csY75" fmla="*/ 776562 h 2018071"/>
              <a:gd name="csX76" fmla="*/ 2604609 w 3437996"/>
              <a:gd name="csY76" fmla="*/ 775538 h 2018071"/>
              <a:gd name="csX77" fmla="*/ 2596489 w 3437996"/>
              <a:gd name="csY77" fmla="*/ 767032 h 2018071"/>
              <a:gd name="csX78" fmla="*/ 2595095 w 3437996"/>
              <a:gd name="csY78" fmla="*/ 766006 h 2018071"/>
              <a:gd name="csX79" fmla="*/ 2586954 w 3437996"/>
              <a:gd name="csY79" fmla="*/ 757512 h 2018071"/>
              <a:gd name="csX80" fmla="*/ 2585558 w 3437996"/>
              <a:gd name="csY80" fmla="*/ 756496 h 2018071"/>
              <a:gd name="csX81" fmla="*/ 2576006 w 3437996"/>
              <a:gd name="csY81" fmla="*/ 747002 h 2018071"/>
              <a:gd name="csX82" fmla="*/ 2567871 w 3437996"/>
              <a:gd name="csY82" fmla="*/ 738486 h 2018071"/>
              <a:gd name="csX83" fmla="*/ 2566459 w 3437996"/>
              <a:gd name="csY83" fmla="*/ 737499 h 2018071"/>
              <a:gd name="csX84" fmla="*/ 2558352 w 3437996"/>
              <a:gd name="csY84" fmla="*/ 728962 h 2018071"/>
              <a:gd name="csX85" fmla="*/ 2556937 w 3437996"/>
              <a:gd name="csY85" fmla="*/ 727967 h 2018071"/>
              <a:gd name="csX86" fmla="*/ 2547432 w 3437996"/>
              <a:gd name="csY86" fmla="*/ 718414 h 2018071"/>
              <a:gd name="csX87" fmla="*/ 2539350 w 3437996"/>
              <a:gd name="csY87" fmla="*/ 709894 h 2018071"/>
              <a:gd name="csX88" fmla="*/ 2537942 w 3437996"/>
              <a:gd name="csY88" fmla="*/ 708842 h 2018071"/>
              <a:gd name="csX89" fmla="*/ 2529865 w 3437996"/>
              <a:gd name="csY89" fmla="*/ 700356 h 2018071"/>
              <a:gd name="csX90" fmla="*/ 2528460 w 3437996"/>
              <a:gd name="csY90" fmla="*/ 699259 h 2018071"/>
              <a:gd name="csX91" fmla="*/ 2520386 w 3437996"/>
              <a:gd name="csY91" fmla="*/ 690820 h 2018071"/>
              <a:gd name="csX92" fmla="*/ 2510900 w 3437996"/>
              <a:gd name="csY92" fmla="*/ 681286 h 2018071"/>
              <a:gd name="csX93" fmla="*/ 2509493 w 3437996"/>
              <a:gd name="csY93" fmla="*/ 680082 h 2018071"/>
              <a:gd name="csX94" fmla="*/ 2501400 w 3437996"/>
              <a:gd name="csY94" fmla="*/ 671754 h 2018071"/>
              <a:gd name="csX95" fmla="*/ 2491892 w 3437996"/>
              <a:gd name="csY95" fmla="*/ 662222 h 2018071"/>
              <a:gd name="csX96" fmla="*/ 2490482 w 3437996"/>
              <a:gd name="csY96" fmla="*/ 660967 h 2018071"/>
              <a:gd name="csX97" fmla="*/ 2480984 w 3437996"/>
              <a:gd name="csY97" fmla="*/ 651408 h 2018071"/>
              <a:gd name="csX98" fmla="*/ 2472919 w 3437996"/>
              <a:gd name="csY98" fmla="*/ 643127 h 2018071"/>
              <a:gd name="csX99" fmla="*/ 2471515 w 3437996"/>
              <a:gd name="csY99" fmla="*/ 641819 h 2018071"/>
              <a:gd name="csX100" fmla="*/ 2463424 w 3437996"/>
              <a:gd name="csY100" fmla="*/ 633584 h 2018071"/>
              <a:gd name="csX101" fmla="*/ 2462020 w 3437996"/>
              <a:gd name="csY101" fmla="*/ 632257 h 2018071"/>
              <a:gd name="csX102" fmla="*/ 2453925 w 3437996"/>
              <a:gd name="csY102" fmla="*/ 624049 h 2018071"/>
              <a:gd name="csX103" fmla="*/ 2452516 w 3437996"/>
              <a:gd name="csY103" fmla="*/ 622702 h 2018071"/>
              <a:gd name="csX104" fmla="*/ 2444450 w 3437996"/>
              <a:gd name="csY104" fmla="*/ 614506 h 2018071"/>
              <a:gd name="csX105" fmla="*/ 2434957 w 3437996"/>
              <a:gd name="csY105" fmla="*/ 604969 h 2018071"/>
              <a:gd name="csX106" fmla="*/ 2425486 w 3437996"/>
              <a:gd name="csY106" fmla="*/ 595418 h 2018071"/>
              <a:gd name="csX107" fmla="*/ 2424029 w 3437996"/>
              <a:gd name="csY107" fmla="*/ 593985 h 2018071"/>
              <a:gd name="csX108" fmla="*/ 2416081 w 3437996"/>
              <a:gd name="csY108" fmla="*/ 585841 h 2018071"/>
              <a:gd name="csX109" fmla="*/ 2406640 w 3437996"/>
              <a:gd name="csY109" fmla="*/ 576281 h 2018071"/>
              <a:gd name="csX110" fmla="*/ 2397176 w 3437996"/>
              <a:gd name="csY110" fmla="*/ 566733 h 2018071"/>
              <a:gd name="csX111" fmla="*/ 2387690 w 3437996"/>
              <a:gd name="csY111" fmla="*/ 557193 h 2018071"/>
              <a:gd name="csX112" fmla="*/ 2386050 w 3437996"/>
              <a:gd name="csY112" fmla="*/ 555624 h 2018071"/>
              <a:gd name="csX113" fmla="*/ 2378191 w 3437996"/>
              <a:gd name="csY113" fmla="*/ 547659 h 2018071"/>
              <a:gd name="csX114" fmla="*/ 2368704 w 3437996"/>
              <a:gd name="csY114" fmla="*/ 538124 h 2018071"/>
              <a:gd name="csX115" fmla="*/ 2367021 w 3437996"/>
              <a:gd name="csY115" fmla="*/ 536517 h 2018071"/>
              <a:gd name="csX116" fmla="*/ 2350552 w 3437996"/>
              <a:gd name="csY116" fmla="*/ 519835 h 2018071"/>
              <a:gd name="csX117" fmla="*/ 2348016 w 3437996"/>
              <a:gd name="csY117" fmla="*/ 517342 h 2018071"/>
              <a:gd name="csX118" fmla="*/ 2341054 w 3437996"/>
              <a:gd name="csY118" fmla="*/ 510297 h 2018071"/>
              <a:gd name="csX119" fmla="*/ 2322020 w 3437996"/>
              <a:gd name="csY119" fmla="*/ 491243 h 2018071"/>
              <a:gd name="csX120" fmla="*/ 2312510 w 3437996"/>
              <a:gd name="csY120" fmla="*/ 481725 h 2018071"/>
              <a:gd name="csX121" fmla="*/ 2309941 w 3437996"/>
              <a:gd name="csY121" fmla="*/ 479158 h 2018071"/>
              <a:gd name="csX122" fmla="*/ 2303024 w 3437996"/>
              <a:gd name="csY122" fmla="*/ 472210 h 2018071"/>
              <a:gd name="csX123" fmla="*/ 2300428 w 3437996"/>
              <a:gd name="csY123" fmla="*/ 469578 h 2018071"/>
              <a:gd name="csX124" fmla="*/ 2293545 w 3437996"/>
              <a:gd name="csY124" fmla="*/ 462697 h 2018071"/>
              <a:gd name="csX125" fmla="*/ 2284051 w 3437996"/>
              <a:gd name="csY125" fmla="*/ 453172 h 2018071"/>
              <a:gd name="csX126" fmla="*/ 2274560 w 3437996"/>
              <a:gd name="csY126" fmla="*/ 443646 h 2018071"/>
              <a:gd name="csX127" fmla="*/ 2265120 w 3437996"/>
              <a:gd name="csY127" fmla="*/ 434112 h 2018071"/>
              <a:gd name="csX128" fmla="*/ 2262409 w 3437996"/>
              <a:gd name="csY128" fmla="*/ 431189 h 2018071"/>
              <a:gd name="csX129" fmla="*/ 2252962 w 3437996"/>
              <a:gd name="csY129" fmla="*/ 421458 h 2018071"/>
              <a:gd name="csX130" fmla="*/ 2246361 w 3437996"/>
              <a:gd name="csY130" fmla="*/ 414989 h 2018071"/>
              <a:gd name="csX131" fmla="*/ 2226101 w 3437996"/>
              <a:gd name="csY131" fmla="*/ 394472 h 2018071"/>
              <a:gd name="csX132" fmla="*/ 2204126 w 3437996"/>
              <a:gd name="csY132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44017 w 3437996"/>
              <a:gd name="csY67" fmla="*/ 814773 h 2018071"/>
              <a:gd name="csX68" fmla="*/ 2642551 w 3437996"/>
              <a:gd name="csY68" fmla="*/ 813746 h 2018071"/>
              <a:gd name="csX69" fmla="*/ 2634494 w 3437996"/>
              <a:gd name="csY69" fmla="*/ 805208 h 2018071"/>
              <a:gd name="csX70" fmla="*/ 2633053 w 3437996"/>
              <a:gd name="csY70" fmla="*/ 804210 h 2018071"/>
              <a:gd name="csX71" fmla="*/ 2624994 w 3437996"/>
              <a:gd name="csY71" fmla="*/ 795655 h 2018071"/>
              <a:gd name="csX72" fmla="*/ 2623570 w 3437996"/>
              <a:gd name="csY72" fmla="*/ 794675 h 2018071"/>
              <a:gd name="csX73" fmla="*/ 2615495 w 3437996"/>
              <a:gd name="csY73" fmla="*/ 786111 h 2018071"/>
              <a:gd name="csX74" fmla="*/ 2614082 w 3437996"/>
              <a:gd name="csY74" fmla="*/ 785113 h 2018071"/>
              <a:gd name="csX75" fmla="*/ 2606007 w 3437996"/>
              <a:gd name="csY75" fmla="*/ 776562 h 2018071"/>
              <a:gd name="csX76" fmla="*/ 2604609 w 3437996"/>
              <a:gd name="csY76" fmla="*/ 775538 h 2018071"/>
              <a:gd name="csX77" fmla="*/ 2596489 w 3437996"/>
              <a:gd name="csY77" fmla="*/ 767032 h 2018071"/>
              <a:gd name="csX78" fmla="*/ 2595095 w 3437996"/>
              <a:gd name="csY78" fmla="*/ 766006 h 2018071"/>
              <a:gd name="csX79" fmla="*/ 2586954 w 3437996"/>
              <a:gd name="csY79" fmla="*/ 757512 h 2018071"/>
              <a:gd name="csX80" fmla="*/ 2585558 w 3437996"/>
              <a:gd name="csY80" fmla="*/ 756496 h 2018071"/>
              <a:gd name="csX81" fmla="*/ 2576006 w 3437996"/>
              <a:gd name="csY81" fmla="*/ 747002 h 2018071"/>
              <a:gd name="csX82" fmla="*/ 2567871 w 3437996"/>
              <a:gd name="csY82" fmla="*/ 738486 h 2018071"/>
              <a:gd name="csX83" fmla="*/ 2566459 w 3437996"/>
              <a:gd name="csY83" fmla="*/ 737499 h 2018071"/>
              <a:gd name="csX84" fmla="*/ 2558352 w 3437996"/>
              <a:gd name="csY84" fmla="*/ 728962 h 2018071"/>
              <a:gd name="csX85" fmla="*/ 2556937 w 3437996"/>
              <a:gd name="csY85" fmla="*/ 727967 h 2018071"/>
              <a:gd name="csX86" fmla="*/ 2547432 w 3437996"/>
              <a:gd name="csY86" fmla="*/ 718414 h 2018071"/>
              <a:gd name="csX87" fmla="*/ 2539350 w 3437996"/>
              <a:gd name="csY87" fmla="*/ 709894 h 2018071"/>
              <a:gd name="csX88" fmla="*/ 2537942 w 3437996"/>
              <a:gd name="csY88" fmla="*/ 708842 h 2018071"/>
              <a:gd name="csX89" fmla="*/ 2529865 w 3437996"/>
              <a:gd name="csY89" fmla="*/ 700356 h 2018071"/>
              <a:gd name="csX90" fmla="*/ 2528460 w 3437996"/>
              <a:gd name="csY90" fmla="*/ 699259 h 2018071"/>
              <a:gd name="csX91" fmla="*/ 2520386 w 3437996"/>
              <a:gd name="csY91" fmla="*/ 690820 h 2018071"/>
              <a:gd name="csX92" fmla="*/ 2510900 w 3437996"/>
              <a:gd name="csY92" fmla="*/ 681286 h 2018071"/>
              <a:gd name="csX93" fmla="*/ 2509493 w 3437996"/>
              <a:gd name="csY93" fmla="*/ 680082 h 2018071"/>
              <a:gd name="csX94" fmla="*/ 2501400 w 3437996"/>
              <a:gd name="csY94" fmla="*/ 671754 h 2018071"/>
              <a:gd name="csX95" fmla="*/ 2491892 w 3437996"/>
              <a:gd name="csY95" fmla="*/ 662222 h 2018071"/>
              <a:gd name="csX96" fmla="*/ 2480984 w 3437996"/>
              <a:gd name="csY96" fmla="*/ 651408 h 2018071"/>
              <a:gd name="csX97" fmla="*/ 2472919 w 3437996"/>
              <a:gd name="csY97" fmla="*/ 643127 h 2018071"/>
              <a:gd name="csX98" fmla="*/ 2471515 w 3437996"/>
              <a:gd name="csY98" fmla="*/ 641819 h 2018071"/>
              <a:gd name="csX99" fmla="*/ 2463424 w 3437996"/>
              <a:gd name="csY99" fmla="*/ 633584 h 2018071"/>
              <a:gd name="csX100" fmla="*/ 2462020 w 3437996"/>
              <a:gd name="csY100" fmla="*/ 632257 h 2018071"/>
              <a:gd name="csX101" fmla="*/ 2453925 w 3437996"/>
              <a:gd name="csY101" fmla="*/ 624049 h 2018071"/>
              <a:gd name="csX102" fmla="*/ 2452516 w 3437996"/>
              <a:gd name="csY102" fmla="*/ 622702 h 2018071"/>
              <a:gd name="csX103" fmla="*/ 2444450 w 3437996"/>
              <a:gd name="csY103" fmla="*/ 614506 h 2018071"/>
              <a:gd name="csX104" fmla="*/ 2434957 w 3437996"/>
              <a:gd name="csY104" fmla="*/ 604969 h 2018071"/>
              <a:gd name="csX105" fmla="*/ 2425486 w 3437996"/>
              <a:gd name="csY105" fmla="*/ 595418 h 2018071"/>
              <a:gd name="csX106" fmla="*/ 2424029 w 3437996"/>
              <a:gd name="csY106" fmla="*/ 593985 h 2018071"/>
              <a:gd name="csX107" fmla="*/ 2416081 w 3437996"/>
              <a:gd name="csY107" fmla="*/ 585841 h 2018071"/>
              <a:gd name="csX108" fmla="*/ 2406640 w 3437996"/>
              <a:gd name="csY108" fmla="*/ 576281 h 2018071"/>
              <a:gd name="csX109" fmla="*/ 2397176 w 3437996"/>
              <a:gd name="csY109" fmla="*/ 566733 h 2018071"/>
              <a:gd name="csX110" fmla="*/ 2387690 w 3437996"/>
              <a:gd name="csY110" fmla="*/ 557193 h 2018071"/>
              <a:gd name="csX111" fmla="*/ 2386050 w 3437996"/>
              <a:gd name="csY111" fmla="*/ 555624 h 2018071"/>
              <a:gd name="csX112" fmla="*/ 2378191 w 3437996"/>
              <a:gd name="csY112" fmla="*/ 547659 h 2018071"/>
              <a:gd name="csX113" fmla="*/ 2368704 w 3437996"/>
              <a:gd name="csY113" fmla="*/ 538124 h 2018071"/>
              <a:gd name="csX114" fmla="*/ 2367021 w 3437996"/>
              <a:gd name="csY114" fmla="*/ 536517 h 2018071"/>
              <a:gd name="csX115" fmla="*/ 2350552 w 3437996"/>
              <a:gd name="csY115" fmla="*/ 519835 h 2018071"/>
              <a:gd name="csX116" fmla="*/ 2348016 w 3437996"/>
              <a:gd name="csY116" fmla="*/ 517342 h 2018071"/>
              <a:gd name="csX117" fmla="*/ 2341054 w 3437996"/>
              <a:gd name="csY117" fmla="*/ 510297 h 2018071"/>
              <a:gd name="csX118" fmla="*/ 2322020 w 3437996"/>
              <a:gd name="csY118" fmla="*/ 491243 h 2018071"/>
              <a:gd name="csX119" fmla="*/ 2312510 w 3437996"/>
              <a:gd name="csY119" fmla="*/ 481725 h 2018071"/>
              <a:gd name="csX120" fmla="*/ 2309941 w 3437996"/>
              <a:gd name="csY120" fmla="*/ 479158 h 2018071"/>
              <a:gd name="csX121" fmla="*/ 2303024 w 3437996"/>
              <a:gd name="csY121" fmla="*/ 472210 h 2018071"/>
              <a:gd name="csX122" fmla="*/ 2300428 w 3437996"/>
              <a:gd name="csY122" fmla="*/ 469578 h 2018071"/>
              <a:gd name="csX123" fmla="*/ 2293545 w 3437996"/>
              <a:gd name="csY123" fmla="*/ 462697 h 2018071"/>
              <a:gd name="csX124" fmla="*/ 2284051 w 3437996"/>
              <a:gd name="csY124" fmla="*/ 453172 h 2018071"/>
              <a:gd name="csX125" fmla="*/ 2274560 w 3437996"/>
              <a:gd name="csY125" fmla="*/ 443646 h 2018071"/>
              <a:gd name="csX126" fmla="*/ 2265120 w 3437996"/>
              <a:gd name="csY126" fmla="*/ 434112 h 2018071"/>
              <a:gd name="csX127" fmla="*/ 2262409 w 3437996"/>
              <a:gd name="csY127" fmla="*/ 431189 h 2018071"/>
              <a:gd name="csX128" fmla="*/ 2252962 w 3437996"/>
              <a:gd name="csY128" fmla="*/ 421458 h 2018071"/>
              <a:gd name="csX129" fmla="*/ 2246361 w 3437996"/>
              <a:gd name="csY129" fmla="*/ 414989 h 2018071"/>
              <a:gd name="csX130" fmla="*/ 2226101 w 3437996"/>
              <a:gd name="csY130" fmla="*/ 394472 h 2018071"/>
              <a:gd name="csX131" fmla="*/ 2204126 w 3437996"/>
              <a:gd name="csY131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44017 w 3437996"/>
              <a:gd name="csY67" fmla="*/ 814773 h 2018071"/>
              <a:gd name="csX68" fmla="*/ 2642551 w 3437996"/>
              <a:gd name="csY68" fmla="*/ 813746 h 2018071"/>
              <a:gd name="csX69" fmla="*/ 2634494 w 3437996"/>
              <a:gd name="csY69" fmla="*/ 805208 h 2018071"/>
              <a:gd name="csX70" fmla="*/ 2633053 w 3437996"/>
              <a:gd name="csY70" fmla="*/ 804210 h 2018071"/>
              <a:gd name="csX71" fmla="*/ 2624994 w 3437996"/>
              <a:gd name="csY71" fmla="*/ 795655 h 2018071"/>
              <a:gd name="csX72" fmla="*/ 2623570 w 3437996"/>
              <a:gd name="csY72" fmla="*/ 794675 h 2018071"/>
              <a:gd name="csX73" fmla="*/ 2615495 w 3437996"/>
              <a:gd name="csY73" fmla="*/ 786111 h 2018071"/>
              <a:gd name="csX74" fmla="*/ 2614082 w 3437996"/>
              <a:gd name="csY74" fmla="*/ 785113 h 2018071"/>
              <a:gd name="csX75" fmla="*/ 2606007 w 3437996"/>
              <a:gd name="csY75" fmla="*/ 776562 h 2018071"/>
              <a:gd name="csX76" fmla="*/ 2604609 w 3437996"/>
              <a:gd name="csY76" fmla="*/ 775538 h 2018071"/>
              <a:gd name="csX77" fmla="*/ 2596489 w 3437996"/>
              <a:gd name="csY77" fmla="*/ 767032 h 2018071"/>
              <a:gd name="csX78" fmla="*/ 2595095 w 3437996"/>
              <a:gd name="csY78" fmla="*/ 766006 h 2018071"/>
              <a:gd name="csX79" fmla="*/ 2586954 w 3437996"/>
              <a:gd name="csY79" fmla="*/ 757512 h 2018071"/>
              <a:gd name="csX80" fmla="*/ 2585558 w 3437996"/>
              <a:gd name="csY80" fmla="*/ 756496 h 2018071"/>
              <a:gd name="csX81" fmla="*/ 2576006 w 3437996"/>
              <a:gd name="csY81" fmla="*/ 747002 h 2018071"/>
              <a:gd name="csX82" fmla="*/ 2567871 w 3437996"/>
              <a:gd name="csY82" fmla="*/ 738486 h 2018071"/>
              <a:gd name="csX83" fmla="*/ 2566459 w 3437996"/>
              <a:gd name="csY83" fmla="*/ 737499 h 2018071"/>
              <a:gd name="csX84" fmla="*/ 2558352 w 3437996"/>
              <a:gd name="csY84" fmla="*/ 728962 h 2018071"/>
              <a:gd name="csX85" fmla="*/ 2556937 w 3437996"/>
              <a:gd name="csY85" fmla="*/ 727967 h 2018071"/>
              <a:gd name="csX86" fmla="*/ 2547432 w 3437996"/>
              <a:gd name="csY86" fmla="*/ 718414 h 2018071"/>
              <a:gd name="csX87" fmla="*/ 2539350 w 3437996"/>
              <a:gd name="csY87" fmla="*/ 709894 h 2018071"/>
              <a:gd name="csX88" fmla="*/ 2529865 w 3437996"/>
              <a:gd name="csY88" fmla="*/ 700356 h 2018071"/>
              <a:gd name="csX89" fmla="*/ 2528460 w 3437996"/>
              <a:gd name="csY89" fmla="*/ 699259 h 2018071"/>
              <a:gd name="csX90" fmla="*/ 2520386 w 3437996"/>
              <a:gd name="csY90" fmla="*/ 690820 h 2018071"/>
              <a:gd name="csX91" fmla="*/ 2510900 w 3437996"/>
              <a:gd name="csY91" fmla="*/ 681286 h 2018071"/>
              <a:gd name="csX92" fmla="*/ 2509493 w 3437996"/>
              <a:gd name="csY92" fmla="*/ 680082 h 2018071"/>
              <a:gd name="csX93" fmla="*/ 2501400 w 3437996"/>
              <a:gd name="csY93" fmla="*/ 671754 h 2018071"/>
              <a:gd name="csX94" fmla="*/ 2491892 w 3437996"/>
              <a:gd name="csY94" fmla="*/ 662222 h 2018071"/>
              <a:gd name="csX95" fmla="*/ 2480984 w 3437996"/>
              <a:gd name="csY95" fmla="*/ 651408 h 2018071"/>
              <a:gd name="csX96" fmla="*/ 2472919 w 3437996"/>
              <a:gd name="csY96" fmla="*/ 643127 h 2018071"/>
              <a:gd name="csX97" fmla="*/ 2471515 w 3437996"/>
              <a:gd name="csY97" fmla="*/ 641819 h 2018071"/>
              <a:gd name="csX98" fmla="*/ 2463424 w 3437996"/>
              <a:gd name="csY98" fmla="*/ 633584 h 2018071"/>
              <a:gd name="csX99" fmla="*/ 2462020 w 3437996"/>
              <a:gd name="csY99" fmla="*/ 632257 h 2018071"/>
              <a:gd name="csX100" fmla="*/ 2453925 w 3437996"/>
              <a:gd name="csY100" fmla="*/ 624049 h 2018071"/>
              <a:gd name="csX101" fmla="*/ 2452516 w 3437996"/>
              <a:gd name="csY101" fmla="*/ 622702 h 2018071"/>
              <a:gd name="csX102" fmla="*/ 2444450 w 3437996"/>
              <a:gd name="csY102" fmla="*/ 614506 h 2018071"/>
              <a:gd name="csX103" fmla="*/ 2434957 w 3437996"/>
              <a:gd name="csY103" fmla="*/ 604969 h 2018071"/>
              <a:gd name="csX104" fmla="*/ 2425486 w 3437996"/>
              <a:gd name="csY104" fmla="*/ 595418 h 2018071"/>
              <a:gd name="csX105" fmla="*/ 2424029 w 3437996"/>
              <a:gd name="csY105" fmla="*/ 593985 h 2018071"/>
              <a:gd name="csX106" fmla="*/ 2416081 w 3437996"/>
              <a:gd name="csY106" fmla="*/ 585841 h 2018071"/>
              <a:gd name="csX107" fmla="*/ 2406640 w 3437996"/>
              <a:gd name="csY107" fmla="*/ 576281 h 2018071"/>
              <a:gd name="csX108" fmla="*/ 2397176 w 3437996"/>
              <a:gd name="csY108" fmla="*/ 566733 h 2018071"/>
              <a:gd name="csX109" fmla="*/ 2387690 w 3437996"/>
              <a:gd name="csY109" fmla="*/ 557193 h 2018071"/>
              <a:gd name="csX110" fmla="*/ 2386050 w 3437996"/>
              <a:gd name="csY110" fmla="*/ 555624 h 2018071"/>
              <a:gd name="csX111" fmla="*/ 2378191 w 3437996"/>
              <a:gd name="csY111" fmla="*/ 547659 h 2018071"/>
              <a:gd name="csX112" fmla="*/ 2368704 w 3437996"/>
              <a:gd name="csY112" fmla="*/ 538124 h 2018071"/>
              <a:gd name="csX113" fmla="*/ 2367021 w 3437996"/>
              <a:gd name="csY113" fmla="*/ 536517 h 2018071"/>
              <a:gd name="csX114" fmla="*/ 2350552 w 3437996"/>
              <a:gd name="csY114" fmla="*/ 519835 h 2018071"/>
              <a:gd name="csX115" fmla="*/ 2348016 w 3437996"/>
              <a:gd name="csY115" fmla="*/ 517342 h 2018071"/>
              <a:gd name="csX116" fmla="*/ 2341054 w 3437996"/>
              <a:gd name="csY116" fmla="*/ 510297 h 2018071"/>
              <a:gd name="csX117" fmla="*/ 2322020 w 3437996"/>
              <a:gd name="csY117" fmla="*/ 491243 h 2018071"/>
              <a:gd name="csX118" fmla="*/ 2312510 w 3437996"/>
              <a:gd name="csY118" fmla="*/ 481725 h 2018071"/>
              <a:gd name="csX119" fmla="*/ 2309941 w 3437996"/>
              <a:gd name="csY119" fmla="*/ 479158 h 2018071"/>
              <a:gd name="csX120" fmla="*/ 2303024 w 3437996"/>
              <a:gd name="csY120" fmla="*/ 472210 h 2018071"/>
              <a:gd name="csX121" fmla="*/ 2300428 w 3437996"/>
              <a:gd name="csY121" fmla="*/ 469578 h 2018071"/>
              <a:gd name="csX122" fmla="*/ 2293545 w 3437996"/>
              <a:gd name="csY122" fmla="*/ 462697 h 2018071"/>
              <a:gd name="csX123" fmla="*/ 2284051 w 3437996"/>
              <a:gd name="csY123" fmla="*/ 453172 h 2018071"/>
              <a:gd name="csX124" fmla="*/ 2274560 w 3437996"/>
              <a:gd name="csY124" fmla="*/ 443646 h 2018071"/>
              <a:gd name="csX125" fmla="*/ 2265120 w 3437996"/>
              <a:gd name="csY125" fmla="*/ 434112 h 2018071"/>
              <a:gd name="csX126" fmla="*/ 2262409 w 3437996"/>
              <a:gd name="csY126" fmla="*/ 431189 h 2018071"/>
              <a:gd name="csX127" fmla="*/ 2252962 w 3437996"/>
              <a:gd name="csY127" fmla="*/ 421458 h 2018071"/>
              <a:gd name="csX128" fmla="*/ 2246361 w 3437996"/>
              <a:gd name="csY128" fmla="*/ 414989 h 2018071"/>
              <a:gd name="csX129" fmla="*/ 2226101 w 3437996"/>
              <a:gd name="csY129" fmla="*/ 394472 h 2018071"/>
              <a:gd name="csX130" fmla="*/ 2204126 w 3437996"/>
              <a:gd name="csY130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44017 w 3437996"/>
              <a:gd name="csY67" fmla="*/ 814773 h 2018071"/>
              <a:gd name="csX68" fmla="*/ 2642551 w 3437996"/>
              <a:gd name="csY68" fmla="*/ 813746 h 2018071"/>
              <a:gd name="csX69" fmla="*/ 2634494 w 3437996"/>
              <a:gd name="csY69" fmla="*/ 805208 h 2018071"/>
              <a:gd name="csX70" fmla="*/ 2633053 w 3437996"/>
              <a:gd name="csY70" fmla="*/ 804210 h 2018071"/>
              <a:gd name="csX71" fmla="*/ 2624994 w 3437996"/>
              <a:gd name="csY71" fmla="*/ 795655 h 2018071"/>
              <a:gd name="csX72" fmla="*/ 2623570 w 3437996"/>
              <a:gd name="csY72" fmla="*/ 794675 h 2018071"/>
              <a:gd name="csX73" fmla="*/ 2615495 w 3437996"/>
              <a:gd name="csY73" fmla="*/ 786111 h 2018071"/>
              <a:gd name="csX74" fmla="*/ 2614082 w 3437996"/>
              <a:gd name="csY74" fmla="*/ 785113 h 2018071"/>
              <a:gd name="csX75" fmla="*/ 2606007 w 3437996"/>
              <a:gd name="csY75" fmla="*/ 776562 h 2018071"/>
              <a:gd name="csX76" fmla="*/ 2604609 w 3437996"/>
              <a:gd name="csY76" fmla="*/ 775538 h 2018071"/>
              <a:gd name="csX77" fmla="*/ 2596489 w 3437996"/>
              <a:gd name="csY77" fmla="*/ 767032 h 2018071"/>
              <a:gd name="csX78" fmla="*/ 2595095 w 3437996"/>
              <a:gd name="csY78" fmla="*/ 766006 h 2018071"/>
              <a:gd name="csX79" fmla="*/ 2586954 w 3437996"/>
              <a:gd name="csY79" fmla="*/ 757512 h 2018071"/>
              <a:gd name="csX80" fmla="*/ 2585558 w 3437996"/>
              <a:gd name="csY80" fmla="*/ 756496 h 2018071"/>
              <a:gd name="csX81" fmla="*/ 2567871 w 3437996"/>
              <a:gd name="csY81" fmla="*/ 738486 h 2018071"/>
              <a:gd name="csX82" fmla="*/ 2566459 w 3437996"/>
              <a:gd name="csY82" fmla="*/ 737499 h 2018071"/>
              <a:gd name="csX83" fmla="*/ 2558352 w 3437996"/>
              <a:gd name="csY83" fmla="*/ 728962 h 2018071"/>
              <a:gd name="csX84" fmla="*/ 2556937 w 3437996"/>
              <a:gd name="csY84" fmla="*/ 727967 h 2018071"/>
              <a:gd name="csX85" fmla="*/ 2547432 w 3437996"/>
              <a:gd name="csY85" fmla="*/ 718414 h 2018071"/>
              <a:gd name="csX86" fmla="*/ 2539350 w 3437996"/>
              <a:gd name="csY86" fmla="*/ 709894 h 2018071"/>
              <a:gd name="csX87" fmla="*/ 2529865 w 3437996"/>
              <a:gd name="csY87" fmla="*/ 700356 h 2018071"/>
              <a:gd name="csX88" fmla="*/ 2528460 w 3437996"/>
              <a:gd name="csY88" fmla="*/ 699259 h 2018071"/>
              <a:gd name="csX89" fmla="*/ 2520386 w 3437996"/>
              <a:gd name="csY89" fmla="*/ 690820 h 2018071"/>
              <a:gd name="csX90" fmla="*/ 2510900 w 3437996"/>
              <a:gd name="csY90" fmla="*/ 681286 h 2018071"/>
              <a:gd name="csX91" fmla="*/ 2509493 w 3437996"/>
              <a:gd name="csY91" fmla="*/ 680082 h 2018071"/>
              <a:gd name="csX92" fmla="*/ 2501400 w 3437996"/>
              <a:gd name="csY92" fmla="*/ 671754 h 2018071"/>
              <a:gd name="csX93" fmla="*/ 2491892 w 3437996"/>
              <a:gd name="csY93" fmla="*/ 662222 h 2018071"/>
              <a:gd name="csX94" fmla="*/ 2480984 w 3437996"/>
              <a:gd name="csY94" fmla="*/ 651408 h 2018071"/>
              <a:gd name="csX95" fmla="*/ 2472919 w 3437996"/>
              <a:gd name="csY95" fmla="*/ 643127 h 2018071"/>
              <a:gd name="csX96" fmla="*/ 2471515 w 3437996"/>
              <a:gd name="csY96" fmla="*/ 641819 h 2018071"/>
              <a:gd name="csX97" fmla="*/ 2463424 w 3437996"/>
              <a:gd name="csY97" fmla="*/ 633584 h 2018071"/>
              <a:gd name="csX98" fmla="*/ 2462020 w 3437996"/>
              <a:gd name="csY98" fmla="*/ 632257 h 2018071"/>
              <a:gd name="csX99" fmla="*/ 2453925 w 3437996"/>
              <a:gd name="csY99" fmla="*/ 624049 h 2018071"/>
              <a:gd name="csX100" fmla="*/ 2452516 w 3437996"/>
              <a:gd name="csY100" fmla="*/ 622702 h 2018071"/>
              <a:gd name="csX101" fmla="*/ 2444450 w 3437996"/>
              <a:gd name="csY101" fmla="*/ 614506 h 2018071"/>
              <a:gd name="csX102" fmla="*/ 2434957 w 3437996"/>
              <a:gd name="csY102" fmla="*/ 604969 h 2018071"/>
              <a:gd name="csX103" fmla="*/ 2425486 w 3437996"/>
              <a:gd name="csY103" fmla="*/ 595418 h 2018071"/>
              <a:gd name="csX104" fmla="*/ 2424029 w 3437996"/>
              <a:gd name="csY104" fmla="*/ 593985 h 2018071"/>
              <a:gd name="csX105" fmla="*/ 2416081 w 3437996"/>
              <a:gd name="csY105" fmla="*/ 585841 h 2018071"/>
              <a:gd name="csX106" fmla="*/ 2406640 w 3437996"/>
              <a:gd name="csY106" fmla="*/ 576281 h 2018071"/>
              <a:gd name="csX107" fmla="*/ 2397176 w 3437996"/>
              <a:gd name="csY107" fmla="*/ 566733 h 2018071"/>
              <a:gd name="csX108" fmla="*/ 2387690 w 3437996"/>
              <a:gd name="csY108" fmla="*/ 557193 h 2018071"/>
              <a:gd name="csX109" fmla="*/ 2386050 w 3437996"/>
              <a:gd name="csY109" fmla="*/ 555624 h 2018071"/>
              <a:gd name="csX110" fmla="*/ 2378191 w 3437996"/>
              <a:gd name="csY110" fmla="*/ 547659 h 2018071"/>
              <a:gd name="csX111" fmla="*/ 2368704 w 3437996"/>
              <a:gd name="csY111" fmla="*/ 538124 h 2018071"/>
              <a:gd name="csX112" fmla="*/ 2367021 w 3437996"/>
              <a:gd name="csY112" fmla="*/ 536517 h 2018071"/>
              <a:gd name="csX113" fmla="*/ 2350552 w 3437996"/>
              <a:gd name="csY113" fmla="*/ 519835 h 2018071"/>
              <a:gd name="csX114" fmla="*/ 2348016 w 3437996"/>
              <a:gd name="csY114" fmla="*/ 517342 h 2018071"/>
              <a:gd name="csX115" fmla="*/ 2341054 w 3437996"/>
              <a:gd name="csY115" fmla="*/ 510297 h 2018071"/>
              <a:gd name="csX116" fmla="*/ 2322020 w 3437996"/>
              <a:gd name="csY116" fmla="*/ 491243 h 2018071"/>
              <a:gd name="csX117" fmla="*/ 2312510 w 3437996"/>
              <a:gd name="csY117" fmla="*/ 481725 h 2018071"/>
              <a:gd name="csX118" fmla="*/ 2309941 w 3437996"/>
              <a:gd name="csY118" fmla="*/ 479158 h 2018071"/>
              <a:gd name="csX119" fmla="*/ 2303024 w 3437996"/>
              <a:gd name="csY119" fmla="*/ 472210 h 2018071"/>
              <a:gd name="csX120" fmla="*/ 2300428 w 3437996"/>
              <a:gd name="csY120" fmla="*/ 469578 h 2018071"/>
              <a:gd name="csX121" fmla="*/ 2293545 w 3437996"/>
              <a:gd name="csY121" fmla="*/ 462697 h 2018071"/>
              <a:gd name="csX122" fmla="*/ 2284051 w 3437996"/>
              <a:gd name="csY122" fmla="*/ 453172 h 2018071"/>
              <a:gd name="csX123" fmla="*/ 2274560 w 3437996"/>
              <a:gd name="csY123" fmla="*/ 443646 h 2018071"/>
              <a:gd name="csX124" fmla="*/ 2265120 w 3437996"/>
              <a:gd name="csY124" fmla="*/ 434112 h 2018071"/>
              <a:gd name="csX125" fmla="*/ 2262409 w 3437996"/>
              <a:gd name="csY125" fmla="*/ 431189 h 2018071"/>
              <a:gd name="csX126" fmla="*/ 2252962 w 3437996"/>
              <a:gd name="csY126" fmla="*/ 421458 h 2018071"/>
              <a:gd name="csX127" fmla="*/ 2246361 w 3437996"/>
              <a:gd name="csY127" fmla="*/ 414989 h 2018071"/>
              <a:gd name="csX128" fmla="*/ 2226101 w 3437996"/>
              <a:gd name="csY128" fmla="*/ 394472 h 2018071"/>
              <a:gd name="csX129" fmla="*/ 2204126 w 3437996"/>
              <a:gd name="csY129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44017 w 3437996"/>
              <a:gd name="csY67" fmla="*/ 814773 h 2018071"/>
              <a:gd name="csX68" fmla="*/ 2642551 w 3437996"/>
              <a:gd name="csY68" fmla="*/ 813746 h 2018071"/>
              <a:gd name="csX69" fmla="*/ 2634494 w 3437996"/>
              <a:gd name="csY69" fmla="*/ 805208 h 2018071"/>
              <a:gd name="csX70" fmla="*/ 2633053 w 3437996"/>
              <a:gd name="csY70" fmla="*/ 804210 h 2018071"/>
              <a:gd name="csX71" fmla="*/ 2624994 w 3437996"/>
              <a:gd name="csY71" fmla="*/ 795655 h 2018071"/>
              <a:gd name="csX72" fmla="*/ 2623570 w 3437996"/>
              <a:gd name="csY72" fmla="*/ 794675 h 2018071"/>
              <a:gd name="csX73" fmla="*/ 2615495 w 3437996"/>
              <a:gd name="csY73" fmla="*/ 786111 h 2018071"/>
              <a:gd name="csX74" fmla="*/ 2606007 w 3437996"/>
              <a:gd name="csY74" fmla="*/ 776562 h 2018071"/>
              <a:gd name="csX75" fmla="*/ 2604609 w 3437996"/>
              <a:gd name="csY75" fmla="*/ 775538 h 2018071"/>
              <a:gd name="csX76" fmla="*/ 2596489 w 3437996"/>
              <a:gd name="csY76" fmla="*/ 767032 h 2018071"/>
              <a:gd name="csX77" fmla="*/ 2595095 w 3437996"/>
              <a:gd name="csY77" fmla="*/ 766006 h 2018071"/>
              <a:gd name="csX78" fmla="*/ 2586954 w 3437996"/>
              <a:gd name="csY78" fmla="*/ 757512 h 2018071"/>
              <a:gd name="csX79" fmla="*/ 2585558 w 3437996"/>
              <a:gd name="csY79" fmla="*/ 756496 h 2018071"/>
              <a:gd name="csX80" fmla="*/ 2567871 w 3437996"/>
              <a:gd name="csY80" fmla="*/ 738486 h 2018071"/>
              <a:gd name="csX81" fmla="*/ 2566459 w 3437996"/>
              <a:gd name="csY81" fmla="*/ 737499 h 2018071"/>
              <a:gd name="csX82" fmla="*/ 2558352 w 3437996"/>
              <a:gd name="csY82" fmla="*/ 728962 h 2018071"/>
              <a:gd name="csX83" fmla="*/ 2556937 w 3437996"/>
              <a:gd name="csY83" fmla="*/ 727967 h 2018071"/>
              <a:gd name="csX84" fmla="*/ 2547432 w 3437996"/>
              <a:gd name="csY84" fmla="*/ 718414 h 2018071"/>
              <a:gd name="csX85" fmla="*/ 2539350 w 3437996"/>
              <a:gd name="csY85" fmla="*/ 709894 h 2018071"/>
              <a:gd name="csX86" fmla="*/ 2529865 w 3437996"/>
              <a:gd name="csY86" fmla="*/ 700356 h 2018071"/>
              <a:gd name="csX87" fmla="*/ 2528460 w 3437996"/>
              <a:gd name="csY87" fmla="*/ 699259 h 2018071"/>
              <a:gd name="csX88" fmla="*/ 2520386 w 3437996"/>
              <a:gd name="csY88" fmla="*/ 690820 h 2018071"/>
              <a:gd name="csX89" fmla="*/ 2510900 w 3437996"/>
              <a:gd name="csY89" fmla="*/ 681286 h 2018071"/>
              <a:gd name="csX90" fmla="*/ 2509493 w 3437996"/>
              <a:gd name="csY90" fmla="*/ 680082 h 2018071"/>
              <a:gd name="csX91" fmla="*/ 2501400 w 3437996"/>
              <a:gd name="csY91" fmla="*/ 671754 h 2018071"/>
              <a:gd name="csX92" fmla="*/ 2491892 w 3437996"/>
              <a:gd name="csY92" fmla="*/ 662222 h 2018071"/>
              <a:gd name="csX93" fmla="*/ 2480984 w 3437996"/>
              <a:gd name="csY93" fmla="*/ 651408 h 2018071"/>
              <a:gd name="csX94" fmla="*/ 2472919 w 3437996"/>
              <a:gd name="csY94" fmla="*/ 643127 h 2018071"/>
              <a:gd name="csX95" fmla="*/ 2471515 w 3437996"/>
              <a:gd name="csY95" fmla="*/ 641819 h 2018071"/>
              <a:gd name="csX96" fmla="*/ 2463424 w 3437996"/>
              <a:gd name="csY96" fmla="*/ 633584 h 2018071"/>
              <a:gd name="csX97" fmla="*/ 2462020 w 3437996"/>
              <a:gd name="csY97" fmla="*/ 632257 h 2018071"/>
              <a:gd name="csX98" fmla="*/ 2453925 w 3437996"/>
              <a:gd name="csY98" fmla="*/ 624049 h 2018071"/>
              <a:gd name="csX99" fmla="*/ 2452516 w 3437996"/>
              <a:gd name="csY99" fmla="*/ 622702 h 2018071"/>
              <a:gd name="csX100" fmla="*/ 2444450 w 3437996"/>
              <a:gd name="csY100" fmla="*/ 614506 h 2018071"/>
              <a:gd name="csX101" fmla="*/ 2434957 w 3437996"/>
              <a:gd name="csY101" fmla="*/ 604969 h 2018071"/>
              <a:gd name="csX102" fmla="*/ 2425486 w 3437996"/>
              <a:gd name="csY102" fmla="*/ 595418 h 2018071"/>
              <a:gd name="csX103" fmla="*/ 2424029 w 3437996"/>
              <a:gd name="csY103" fmla="*/ 593985 h 2018071"/>
              <a:gd name="csX104" fmla="*/ 2416081 w 3437996"/>
              <a:gd name="csY104" fmla="*/ 585841 h 2018071"/>
              <a:gd name="csX105" fmla="*/ 2406640 w 3437996"/>
              <a:gd name="csY105" fmla="*/ 576281 h 2018071"/>
              <a:gd name="csX106" fmla="*/ 2397176 w 3437996"/>
              <a:gd name="csY106" fmla="*/ 566733 h 2018071"/>
              <a:gd name="csX107" fmla="*/ 2387690 w 3437996"/>
              <a:gd name="csY107" fmla="*/ 557193 h 2018071"/>
              <a:gd name="csX108" fmla="*/ 2386050 w 3437996"/>
              <a:gd name="csY108" fmla="*/ 555624 h 2018071"/>
              <a:gd name="csX109" fmla="*/ 2378191 w 3437996"/>
              <a:gd name="csY109" fmla="*/ 547659 h 2018071"/>
              <a:gd name="csX110" fmla="*/ 2368704 w 3437996"/>
              <a:gd name="csY110" fmla="*/ 538124 h 2018071"/>
              <a:gd name="csX111" fmla="*/ 2367021 w 3437996"/>
              <a:gd name="csY111" fmla="*/ 536517 h 2018071"/>
              <a:gd name="csX112" fmla="*/ 2350552 w 3437996"/>
              <a:gd name="csY112" fmla="*/ 519835 h 2018071"/>
              <a:gd name="csX113" fmla="*/ 2348016 w 3437996"/>
              <a:gd name="csY113" fmla="*/ 517342 h 2018071"/>
              <a:gd name="csX114" fmla="*/ 2341054 w 3437996"/>
              <a:gd name="csY114" fmla="*/ 510297 h 2018071"/>
              <a:gd name="csX115" fmla="*/ 2322020 w 3437996"/>
              <a:gd name="csY115" fmla="*/ 491243 h 2018071"/>
              <a:gd name="csX116" fmla="*/ 2312510 w 3437996"/>
              <a:gd name="csY116" fmla="*/ 481725 h 2018071"/>
              <a:gd name="csX117" fmla="*/ 2309941 w 3437996"/>
              <a:gd name="csY117" fmla="*/ 479158 h 2018071"/>
              <a:gd name="csX118" fmla="*/ 2303024 w 3437996"/>
              <a:gd name="csY118" fmla="*/ 472210 h 2018071"/>
              <a:gd name="csX119" fmla="*/ 2300428 w 3437996"/>
              <a:gd name="csY119" fmla="*/ 469578 h 2018071"/>
              <a:gd name="csX120" fmla="*/ 2293545 w 3437996"/>
              <a:gd name="csY120" fmla="*/ 462697 h 2018071"/>
              <a:gd name="csX121" fmla="*/ 2284051 w 3437996"/>
              <a:gd name="csY121" fmla="*/ 453172 h 2018071"/>
              <a:gd name="csX122" fmla="*/ 2274560 w 3437996"/>
              <a:gd name="csY122" fmla="*/ 443646 h 2018071"/>
              <a:gd name="csX123" fmla="*/ 2265120 w 3437996"/>
              <a:gd name="csY123" fmla="*/ 434112 h 2018071"/>
              <a:gd name="csX124" fmla="*/ 2262409 w 3437996"/>
              <a:gd name="csY124" fmla="*/ 431189 h 2018071"/>
              <a:gd name="csX125" fmla="*/ 2252962 w 3437996"/>
              <a:gd name="csY125" fmla="*/ 421458 h 2018071"/>
              <a:gd name="csX126" fmla="*/ 2246361 w 3437996"/>
              <a:gd name="csY126" fmla="*/ 414989 h 2018071"/>
              <a:gd name="csX127" fmla="*/ 2226101 w 3437996"/>
              <a:gd name="csY127" fmla="*/ 394472 h 2018071"/>
              <a:gd name="csX128" fmla="*/ 2204126 w 3437996"/>
              <a:gd name="csY128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44017 w 3437996"/>
              <a:gd name="csY67" fmla="*/ 814773 h 2018071"/>
              <a:gd name="csX68" fmla="*/ 2642551 w 3437996"/>
              <a:gd name="csY68" fmla="*/ 813746 h 2018071"/>
              <a:gd name="csX69" fmla="*/ 2634494 w 3437996"/>
              <a:gd name="csY69" fmla="*/ 805208 h 2018071"/>
              <a:gd name="csX70" fmla="*/ 2633053 w 3437996"/>
              <a:gd name="csY70" fmla="*/ 804210 h 2018071"/>
              <a:gd name="csX71" fmla="*/ 2624994 w 3437996"/>
              <a:gd name="csY71" fmla="*/ 795655 h 2018071"/>
              <a:gd name="csX72" fmla="*/ 2623570 w 3437996"/>
              <a:gd name="csY72" fmla="*/ 794675 h 2018071"/>
              <a:gd name="csX73" fmla="*/ 2615495 w 3437996"/>
              <a:gd name="csY73" fmla="*/ 786111 h 2018071"/>
              <a:gd name="csX74" fmla="*/ 2606007 w 3437996"/>
              <a:gd name="csY74" fmla="*/ 776562 h 2018071"/>
              <a:gd name="csX75" fmla="*/ 2604609 w 3437996"/>
              <a:gd name="csY75" fmla="*/ 775538 h 2018071"/>
              <a:gd name="csX76" fmla="*/ 2596489 w 3437996"/>
              <a:gd name="csY76" fmla="*/ 767032 h 2018071"/>
              <a:gd name="csX77" fmla="*/ 2595095 w 3437996"/>
              <a:gd name="csY77" fmla="*/ 766006 h 2018071"/>
              <a:gd name="csX78" fmla="*/ 2586954 w 3437996"/>
              <a:gd name="csY78" fmla="*/ 757512 h 2018071"/>
              <a:gd name="csX79" fmla="*/ 2585558 w 3437996"/>
              <a:gd name="csY79" fmla="*/ 756496 h 2018071"/>
              <a:gd name="csX80" fmla="*/ 2566459 w 3437996"/>
              <a:gd name="csY80" fmla="*/ 737499 h 2018071"/>
              <a:gd name="csX81" fmla="*/ 2558352 w 3437996"/>
              <a:gd name="csY81" fmla="*/ 728962 h 2018071"/>
              <a:gd name="csX82" fmla="*/ 2556937 w 3437996"/>
              <a:gd name="csY82" fmla="*/ 727967 h 2018071"/>
              <a:gd name="csX83" fmla="*/ 2547432 w 3437996"/>
              <a:gd name="csY83" fmla="*/ 718414 h 2018071"/>
              <a:gd name="csX84" fmla="*/ 2539350 w 3437996"/>
              <a:gd name="csY84" fmla="*/ 709894 h 2018071"/>
              <a:gd name="csX85" fmla="*/ 2529865 w 3437996"/>
              <a:gd name="csY85" fmla="*/ 700356 h 2018071"/>
              <a:gd name="csX86" fmla="*/ 2528460 w 3437996"/>
              <a:gd name="csY86" fmla="*/ 699259 h 2018071"/>
              <a:gd name="csX87" fmla="*/ 2520386 w 3437996"/>
              <a:gd name="csY87" fmla="*/ 690820 h 2018071"/>
              <a:gd name="csX88" fmla="*/ 2510900 w 3437996"/>
              <a:gd name="csY88" fmla="*/ 681286 h 2018071"/>
              <a:gd name="csX89" fmla="*/ 2509493 w 3437996"/>
              <a:gd name="csY89" fmla="*/ 680082 h 2018071"/>
              <a:gd name="csX90" fmla="*/ 2501400 w 3437996"/>
              <a:gd name="csY90" fmla="*/ 671754 h 2018071"/>
              <a:gd name="csX91" fmla="*/ 2491892 w 3437996"/>
              <a:gd name="csY91" fmla="*/ 662222 h 2018071"/>
              <a:gd name="csX92" fmla="*/ 2480984 w 3437996"/>
              <a:gd name="csY92" fmla="*/ 651408 h 2018071"/>
              <a:gd name="csX93" fmla="*/ 2472919 w 3437996"/>
              <a:gd name="csY93" fmla="*/ 643127 h 2018071"/>
              <a:gd name="csX94" fmla="*/ 2471515 w 3437996"/>
              <a:gd name="csY94" fmla="*/ 641819 h 2018071"/>
              <a:gd name="csX95" fmla="*/ 2463424 w 3437996"/>
              <a:gd name="csY95" fmla="*/ 633584 h 2018071"/>
              <a:gd name="csX96" fmla="*/ 2462020 w 3437996"/>
              <a:gd name="csY96" fmla="*/ 632257 h 2018071"/>
              <a:gd name="csX97" fmla="*/ 2453925 w 3437996"/>
              <a:gd name="csY97" fmla="*/ 624049 h 2018071"/>
              <a:gd name="csX98" fmla="*/ 2452516 w 3437996"/>
              <a:gd name="csY98" fmla="*/ 622702 h 2018071"/>
              <a:gd name="csX99" fmla="*/ 2444450 w 3437996"/>
              <a:gd name="csY99" fmla="*/ 614506 h 2018071"/>
              <a:gd name="csX100" fmla="*/ 2434957 w 3437996"/>
              <a:gd name="csY100" fmla="*/ 604969 h 2018071"/>
              <a:gd name="csX101" fmla="*/ 2425486 w 3437996"/>
              <a:gd name="csY101" fmla="*/ 595418 h 2018071"/>
              <a:gd name="csX102" fmla="*/ 2424029 w 3437996"/>
              <a:gd name="csY102" fmla="*/ 593985 h 2018071"/>
              <a:gd name="csX103" fmla="*/ 2416081 w 3437996"/>
              <a:gd name="csY103" fmla="*/ 585841 h 2018071"/>
              <a:gd name="csX104" fmla="*/ 2406640 w 3437996"/>
              <a:gd name="csY104" fmla="*/ 576281 h 2018071"/>
              <a:gd name="csX105" fmla="*/ 2397176 w 3437996"/>
              <a:gd name="csY105" fmla="*/ 566733 h 2018071"/>
              <a:gd name="csX106" fmla="*/ 2387690 w 3437996"/>
              <a:gd name="csY106" fmla="*/ 557193 h 2018071"/>
              <a:gd name="csX107" fmla="*/ 2386050 w 3437996"/>
              <a:gd name="csY107" fmla="*/ 555624 h 2018071"/>
              <a:gd name="csX108" fmla="*/ 2378191 w 3437996"/>
              <a:gd name="csY108" fmla="*/ 547659 h 2018071"/>
              <a:gd name="csX109" fmla="*/ 2368704 w 3437996"/>
              <a:gd name="csY109" fmla="*/ 538124 h 2018071"/>
              <a:gd name="csX110" fmla="*/ 2367021 w 3437996"/>
              <a:gd name="csY110" fmla="*/ 536517 h 2018071"/>
              <a:gd name="csX111" fmla="*/ 2350552 w 3437996"/>
              <a:gd name="csY111" fmla="*/ 519835 h 2018071"/>
              <a:gd name="csX112" fmla="*/ 2348016 w 3437996"/>
              <a:gd name="csY112" fmla="*/ 517342 h 2018071"/>
              <a:gd name="csX113" fmla="*/ 2341054 w 3437996"/>
              <a:gd name="csY113" fmla="*/ 510297 h 2018071"/>
              <a:gd name="csX114" fmla="*/ 2322020 w 3437996"/>
              <a:gd name="csY114" fmla="*/ 491243 h 2018071"/>
              <a:gd name="csX115" fmla="*/ 2312510 w 3437996"/>
              <a:gd name="csY115" fmla="*/ 481725 h 2018071"/>
              <a:gd name="csX116" fmla="*/ 2309941 w 3437996"/>
              <a:gd name="csY116" fmla="*/ 479158 h 2018071"/>
              <a:gd name="csX117" fmla="*/ 2303024 w 3437996"/>
              <a:gd name="csY117" fmla="*/ 472210 h 2018071"/>
              <a:gd name="csX118" fmla="*/ 2300428 w 3437996"/>
              <a:gd name="csY118" fmla="*/ 469578 h 2018071"/>
              <a:gd name="csX119" fmla="*/ 2293545 w 3437996"/>
              <a:gd name="csY119" fmla="*/ 462697 h 2018071"/>
              <a:gd name="csX120" fmla="*/ 2284051 w 3437996"/>
              <a:gd name="csY120" fmla="*/ 453172 h 2018071"/>
              <a:gd name="csX121" fmla="*/ 2274560 w 3437996"/>
              <a:gd name="csY121" fmla="*/ 443646 h 2018071"/>
              <a:gd name="csX122" fmla="*/ 2265120 w 3437996"/>
              <a:gd name="csY122" fmla="*/ 434112 h 2018071"/>
              <a:gd name="csX123" fmla="*/ 2262409 w 3437996"/>
              <a:gd name="csY123" fmla="*/ 431189 h 2018071"/>
              <a:gd name="csX124" fmla="*/ 2252962 w 3437996"/>
              <a:gd name="csY124" fmla="*/ 421458 h 2018071"/>
              <a:gd name="csX125" fmla="*/ 2246361 w 3437996"/>
              <a:gd name="csY125" fmla="*/ 414989 h 2018071"/>
              <a:gd name="csX126" fmla="*/ 2226101 w 3437996"/>
              <a:gd name="csY126" fmla="*/ 394472 h 2018071"/>
              <a:gd name="csX127" fmla="*/ 2204126 w 3437996"/>
              <a:gd name="csY127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44017 w 3437996"/>
              <a:gd name="csY67" fmla="*/ 814773 h 2018071"/>
              <a:gd name="csX68" fmla="*/ 2642551 w 3437996"/>
              <a:gd name="csY68" fmla="*/ 813746 h 2018071"/>
              <a:gd name="csX69" fmla="*/ 2634494 w 3437996"/>
              <a:gd name="csY69" fmla="*/ 805208 h 2018071"/>
              <a:gd name="csX70" fmla="*/ 2633053 w 3437996"/>
              <a:gd name="csY70" fmla="*/ 804210 h 2018071"/>
              <a:gd name="csX71" fmla="*/ 2624994 w 3437996"/>
              <a:gd name="csY71" fmla="*/ 795655 h 2018071"/>
              <a:gd name="csX72" fmla="*/ 2623570 w 3437996"/>
              <a:gd name="csY72" fmla="*/ 794675 h 2018071"/>
              <a:gd name="csX73" fmla="*/ 2615495 w 3437996"/>
              <a:gd name="csY73" fmla="*/ 786111 h 2018071"/>
              <a:gd name="csX74" fmla="*/ 2606007 w 3437996"/>
              <a:gd name="csY74" fmla="*/ 776562 h 2018071"/>
              <a:gd name="csX75" fmla="*/ 2604609 w 3437996"/>
              <a:gd name="csY75" fmla="*/ 775538 h 2018071"/>
              <a:gd name="csX76" fmla="*/ 2596489 w 3437996"/>
              <a:gd name="csY76" fmla="*/ 767032 h 2018071"/>
              <a:gd name="csX77" fmla="*/ 2595095 w 3437996"/>
              <a:gd name="csY77" fmla="*/ 766006 h 2018071"/>
              <a:gd name="csX78" fmla="*/ 2586954 w 3437996"/>
              <a:gd name="csY78" fmla="*/ 757512 h 2018071"/>
              <a:gd name="csX79" fmla="*/ 2585558 w 3437996"/>
              <a:gd name="csY79" fmla="*/ 756496 h 2018071"/>
              <a:gd name="csX80" fmla="*/ 2566459 w 3437996"/>
              <a:gd name="csY80" fmla="*/ 737499 h 2018071"/>
              <a:gd name="csX81" fmla="*/ 2558352 w 3437996"/>
              <a:gd name="csY81" fmla="*/ 728962 h 2018071"/>
              <a:gd name="csX82" fmla="*/ 2547432 w 3437996"/>
              <a:gd name="csY82" fmla="*/ 718414 h 2018071"/>
              <a:gd name="csX83" fmla="*/ 2539350 w 3437996"/>
              <a:gd name="csY83" fmla="*/ 709894 h 2018071"/>
              <a:gd name="csX84" fmla="*/ 2529865 w 3437996"/>
              <a:gd name="csY84" fmla="*/ 700356 h 2018071"/>
              <a:gd name="csX85" fmla="*/ 2528460 w 3437996"/>
              <a:gd name="csY85" fmla="*/ 699259 h 2018071"/>
              <a:gd name="csX86" fmla="*/ 2520386 w 3437996"/>
              <a:gd name="csY86" fmla="*/ 690820 h 2018071"/>
              <a:gd name="csX87" fmla="*/ 2510900 w 3437996"/>
              <a:gd name="csY87" fmla="*/ 681286 h 2018071"/>
              <a:gd name="csX88" fmla="*/ 2509493 w 3437996"/>
              <a:gd name="csY88" fmla="*/ 680082 h 2018071"/>
              <a:gd name="csX89" fmla="*/ 2501400 w 3437996"/>
              <a:gd name="csY89" fmla="*/ 671754 h 2018071"/>
              <a:gd name="csX90" fmla="*/ 2491892 w 3437996"/>
              <a:gd name="csY90" fmla="*/ 662222 h 2018071"/>
              <a:gd name="csX91" fmla="*/ 2480984 w 3437996"/>
              <a:gd name="csY91" fmla="*/ 651408 h 2018071"/>
              <a:gd name="csX92" fmla="*/ 2472919 w 3437996"/>
              <a:gd name="csY92" fmla="*/ 643127 h 2018071"/>
              <a:gd name="csX93" fmla="*/ 2471515 w 3437996"/>
              <a:gd name="csY93" fmla="*/ 641819 h 2018071"/>
              <a:gd name="csX94" fmla="*/ 2463424 w 3437996"/>
              <a:gd name="csY94" fmla="*/ 633584 h 2018071"/>
              <a:gd name="csX95" fmla="*/ 2462020 w 3437996"/>
              <a:gd name="csY95" fmla="*/ 632257 h 2018071"/>
              <a:gd name="csX96" fmla="*/ 2453925 w 3437996"/>
              <a:gd name="csY96" fmla="*/ 624049 h 2018071"/>
              <a:gd name="csX97" fmla="*/ 2452516 w 3437996"/>
              <a:gd name="csY97" fmla="*/ 622702 h 2018071"/>
              <a:gd name="csX98" fmla="*/ 2444450 w 3437996"/>
              <a:gd name="csY98" fmla="*/ 614506 h 2018071"/>
              <a:gd name="csX99" fmla="*/ 2434957 w 3437996"/>
              <a:gd name="csY99" fmla="*/ 604969 h 2018071"/>
              <a:gd name="csX100" fmla="*/ 2425486 w 3437996"/>
              <a:gd name="csY100" fmla="*/ 595418 h 2018071"/>
              <a:gd name="csX101" fmla="*/ 2424029 w 3437996"/>
              <a:gd name="csY101" fmla="*/ 593985 h 2018071"/>
              <a:gd name="csX102" fmla="*/ 2416081 w 3437996"/>
              <a:gd name="csY102" fmla="*/ 585841 h 2018071"/>
              <a:gd name="csX103" fmla="*/ 2406640 w 3437996"/>
              <a:gd name="csY103" fmla="*/ 576281 h 2018071"/>
              <a:gd name="csX104" fmla="*/ 2397176 w 3437996"/>
              <a:gd name="csY104" fmla="*/ 566733 h 2018071"/>
              <a:gd name="csX105" fmla="*/ 2387690 w 3437996"/>
              <a:gd name="csY105" fmla="*/ 557193 h 2018071"/>
              <a:gd name="csX106" fmla="*/ 2386050 w 3437996"/>
              <a:gd name="csY106" fmla="*/ 555624 h 2018071"/>
              <a:gd name="csX107" fmla="*/ 2378191 w 3437996"/>
              <a:gd name="csY107" fmla="*/ 547659 h 2018071"/>
              <a:gd name="csX108" fmla="*/ 2368704 w 3437996"/>
              <a:gd name="csY108" fmla="*/ 538124 h 2018071"/>
              <a:gd name="csX109" fmla="*/ 2367021 w 3437996"/>
              <a:gd name="csY109" fmla="*/ 536517 h 2018071"/>
              <a:gd name="csX110" fmla="*/ 2350552 w 3437996"/>
              <a:gd name="csY110" fmla="*/ 519835 h 2018071"/>
              <a:gd name="csX111" fmla="*/ 2348016 w 3437996"/>
              <a:gd name="csY111" fmla="*/ 517342 h 2018071"/>
              <a:gd name="csX112" fmla="*/ 2341054 w 3437996"/>
              <a:gd name="csY112" fmla="*/ 510297 h 2018071"/>
              <a:gd name="csX113" fmla="*/ 2322020 w 3437996"/>
              <a:gd name="csY113" fmla="*/ 491243 h 2018071"/>
              <a:gd name="csX114" fmla="*/ 2312510 w 3437996"/>
              <a:gd name="csY114" fmla="*/ 481725 h 2018071"/>
              <a:gd name="csX115" fmla="*/ 2309941 w 3437996"/>
              <a:gd name="csY115" fmla="*/ 479158 h 2018071"/>
              <a:gd name="csX116" fmla="*/ 2303024 w 3437996"/>
              <a:gd name="csY116" fmla="*/ 472210 h 2018071"/>
              <a:gd name="csX117" fmla="*/ 2300428 w 3437996"/>
              <a:gd name="csY117" fmla="*/ 469578 h 2018071"/>
              <a:gd name="csX118" fmla="*/ 2293545 w 3437996"/>
              <a:gd name="csY118" fmla="*/ 462697 h 2018071"/>
              <a:gd name="csX119" fmla="*/ 2284051 w 3437996"/>
              <a:gd name="csY119" fmla="*/ 453172 h 2018071"/>
              <a:gd name="csX120" fmla="*/ 2274560 w 3437996"/>
              <a:gd name="csY120" fmla="*/ 443646 h 2018071"/>
              <a:gd name="csX121" fmla="*/ 2265120 w 3437996"/>
              <a:gd name="csY121" fmla="*/ 434112 h 2018071"/>
              <a:gd name="csX122" fmla="*/ 2262409 w 3437996"/>
              <a:gd name="csY122" fmla="*/ 431189 h 2018071"/>
              <a:gd name="csX123" fmla="*/ 2252962 w 3437996"/>
              <a:gd name="csY123" fmla="*/ 421458 h 2018071"/>
              <a:gd name="csX124" fmla="*/ 2246361 w 3437996"/>
              <a:gd name="csY124" fmla="*/ 414989 h 2018071"/>
              <a:gd name="csX125" fmla="*/ 2226101 w 3437996"/>
              <a:gd name="csY125" fmla="*/ 394472 h 2018071"/>
              <a:gd name="csX126" fmla="*/ 2204126 w 3437996"/>
              <a:gd name="csY126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44017 w 3437996"/>
              <a:gd name="csY67" fmla="*/ 814773 h 2018071"/>
              <a:gd name="csX68" fmla="*/ 2642551 w 3437996"/>
              <a:gd name="csY68" fmla="*/ 813746 h 2018071"/>
              <a:gd name="csX69" fmla="*/ 2634494 w 3437996"/>
              <a:gd name="csY69" fmla="*/ 805208 h 2018071"/>
              <a:gd name="csX70" fmla="*/ 2633053 w 3437996"/>
              <a:gd name="csY70" fmla="*/ 804210 h 2018071"/>
              <a:gd name="csX71" fmla="*/ 2624994 w 3437996"/>
              <a:gd name="csY71" fmla="*/ 795655 h 2018071"/>
              <a:gd name="csX72" fmla="*/ 2623570 w 3437996"/>
              <a:gd name="csY72" fmla="*/ 794675 h 2018071"/>
              <a:gd name="csX73" fmla="*/ 2615495 w 3437996"/>
              <a:gd name="csY73" fmla="*/ 786111 h 2018071"/>
              <a:gd name="csX74" fmla="*/ 2606007 w 3437996"/>
              <a:gd name="csY74" fmla="*/ 776562 h 2018071"/>
              <a:gd name="csX75" fmla="*/ 2604609 w 3437996"/>
              <a:gd name="csY75" fmla="*/ 775538 h 2018071"/>
              <a:gd name="csX76" fmla="*/ 2596489 w 3437996"/>
              <a:gd name="csY76" fmla="*/ 767032 h 2018071"/>
              <a:gd name="csX77" fmla="*/ 2595095 w 3437996"/>
              <a:gd name="csY77" fmla="*/ 766006 h 2018071"/>
              <a:gd name="csX78" fmla="*/ 2586954 w 3437996"/>
              <a:gd name="csY78" fmla="*/ 757512 h 2018071"/>
              <a:gd name="csX79" fmla="*/ 2585558 w 3437996"/>
              <a:gd name="csY79" fmla="*/ 756496 h 2018071"/>
              <a:gd name="csX80" fmla="*/ 2566459 w 3437996"/>
              <a:gd name="csY80" fmla="*/ 737499 h 2018071"/>
              <a:gd name="csX81" fmla="*/ 2558352 w 3437996"/>
              <a:gd name="csY81" fmla="*/ 728962 h 2018071"/>
              <a:gd name="csX82" fmla="*/ 2547432 w 3437996"/>
              <a:gd name="csY82" fmla="*/ 718414 h 2018071"/>
              <a:gd name="csX83" fmla="*/ 2539350 w 3437996"/>
              <a:gd name="csY83" fmla="*/ 709894 h 2018071"/>
              <a:gd name="csX84" fmla="*/ 2529865 w 3437996"/>
              <a:gd name="csY84" fmla="*/ 700356 h 2018071"/>
              <a:gd name="csX85" fmla="*/ 2528460 w 3437996"/>
              <a:gd name="csY85" fmla="*/ 699259 h 2018071"/>
              <a:gd name="csX86" fmla="*/ 2510900 w 3437996"/>
              <a:gd name="csY86" fmla="*/ 681286 h 2018071"/>
              <a:gd name="csX87" fmla="*/ 2509493 w 3437996"/>
              <a:gd name="csY87" fmla="*/ 680082 h 2018071"/>
              <a:gd name="csX88" fmla="*/ 2501400 w 3437996"/>
              <a:gd name="csY88" fmla="*/ 671754 h 2018071"/>
              <a:gd name="csX89" fmla="*/ 2491892 w 3437996"/>
              <a:gd name="csY89" fmla="*/ 662222 h 2018071"/>
              <a:gd name="csX90" fmla="*/ 2480984 w 3437996"/>
              <a:gd name="csY90" fmla="*/ 651408 h 2018071"/>
              <a:gd name="csX91" fmla="*/ 2472919 w 3437996"/>
              <a:gd name="csY91" fmla="*/ 643127 h 2018071"/>
              <a:gd name="csX92" fmla="*/ 2471515 w 3437996"/>
              <a:gd name="csY92" fmla="*/ 641819 h 2018071"/>
              <a:gd name="csX93" fmla="*/ 2463424 w 3437996"/>
              <a:gd name="csY93" fmla="*/ 633584 h 2018071"/>
              <a:gd name="csX94" fmla="*/ 2462020 w 3437996"/>
              <a:gd name="csY94" fmla="*/ 632257 h 2018071"/>
              <a:gd name="csX95" fmla="*/ 2453925 w 3437996"/>
              <a:gd name="csY95" fmla="*/ 624049 h 2018071"/>
              <a:gd name="csX96" fmla="*/ 2452516 w 3437996"/>
              <a:gd name="csY96" fmla="*/ 622702 h 2018071"/>
              <a:gd name="csX97" fmla="*/ 2444450 w 3437996"/>
              <a:gd name="csY97" fmla="*/ 614506 h 2018071"/>
              <a:gd name="csX98" fmla="*/ 2434957 w 3437996"/>
              <a:gd name="csY98" fmla="*/ 604969 h 2018071"/>
              <a:gd name="csX99" fmla="*/ 2425486 w 3437996"/>
              <a:gd name="csY99" fmla="*/ 595418 h 2018071"/>
              <a:gd name="csX100" fmla="*/ 2424029 w 3437996"/>
              <a:gd name="csY100" fmla="*/ 593985 h 2018071"/>
              <a:gd name="csX101" fmla="*/ 2416081 w 3437996"/>
              <a:gd name="csY101" fmla="*/ 585841 h 2018071"/>
              <a:gd name="csX102" fmla="*/ 2406640 w 3437996"/>
              <a:gd name="csY102" fmla="*/ 576281 h 2018071"/>
              <a:gd name="csX103" fmla="*/ 2397176 w 3437996"/>
              <a:gd name="csY103" fmla="*/ 566733 h 2018071"/>
              <a:gd name="csX104" fmla="*/ 2387690 w 3437996"/>
              <a:gd name="csY104" fmla="*/ 557193 h 2018071"/>
              <a:gd name="csX105" fmla="*/ 2386050 w 3437996"/>
              <a:gd name="csY105" fmla="*/ 555624 h 2018071"/>
              <a:gd name="csX106" fmla="*/ 2378191 w 3437996"/>
              <a:gd name="csY106" fmla="*/ 547659 h 2018071"/>
              <a:gd name="csX107" fmla="*/ 2368704 w 3437996"/>
              <a:gd name="csY107" fmla="*/ 538124 h 2018071"/>
              <a:gd name="csX108" fmla="*/ 2367021 w 3437996"/>
              <a:gd name="csY108" fmla="*/ 536517 h 2018071"/>
              <a:gd name="csX109" fmla="*/ 2350552 w 3437996"/>
              <a:gd name="csY109" fmla="*/ 519835 h 2018071"/>
              <a:gd name="csX110" fmla="*/ 2348016 w 3437996"/>
              <a:gd name="csY110" fmla="*/ 517342 h 2018071"/>
              <a:gd name="csX111" fmla="*/ 2341054 w 3437996"/>
              <a:gd name="csY111" fmla="*/ 510297 h 2018071"/>
              <a:gd name="csX112" fmla="*/ 2322020 w 3437996"/>
              <a:gd name="csY112" fmla="*/ 491243 h 2018071"/>
              <a:gd name="csX113" fmla="*/ 2312510 w 3437996"/>
              <a:gd name="csY113" fmla="*/ 481725 h 2018071"/>
              <a:gd name="csX114" fmla="*/ 2309941 w 3437996"/>
              <a:gd name="csY114" fmla="*/ 479158 h 2018071"/>
              <a:gd name="csX115" fmla="*/ 2303024 w 3437996"/>
              <a:gd name="csY115" fmla="*/ 472210 h 2018071"/>
              <a:gd name="csX116" fmla="*/ 2300428 w 3437996"/>
              <a:gd name="csY116" fmla="*/ 469578 h 2018071"/>
              <a:gd name="csX117" fmla="*/ 2293545 w 3437996"/>
              <a:gd name="csY117" fmla="*/ 462697 h 2018071"/>
              <a:gd name="csX118" fmla="*/ 2284051 w 3437996"/>
              <a:gd name="csY118" fmla="*/ 453172 h 2018071"/>
              <a:gd name="csX119" fmla="*/ 2274560 w 3437996"/>
              <a:gd name="csY119" fmla="*/ 443646 h 2018071"/>
              <a:gd name="csX120" fmla="*/ 2265120 w 3437996"/>
              <a:gd name="csY120" fmla="*/ 434112 h 2018071"/>
              <a:gd name="csX121" fmla="*/ 2262409 w 3437996"/>
              <a:gd name="csY121" fmla="*/ 431189 h 2018071"/>
              <a:gd name="csX122" fmla="*/ 2252962 w 3437996"/>
              <a:gd name="csY122" fmla="*/ 421458 h 2018071"/>
              <a:gd name="csX123" fmla="*/ 2246361 w 3437996"/>
              <a:gd name="csY123" fmla="*/ 414989 h 2018071"/>
              <a:gd name="csX124" fmla="*/ 2226101 w 3437996"/>
              <a:gd name="csY124" fmla="*/ 394472 h 2018071"/>
              <a:gd name="csX125" fmla="*/ 2204126 w 3437996"/>
              <a:gd name="csY125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44017 w 3437996"/>
              <a:gd name="csY67" fmla="*/ 814773 h 2018071"/>
              <a:gd name="csX68" fmla="*/ 2642551 w 3437996"/>
              <a:gd name="csY68" fmla="*/ 813746 h 2018071"/>
              <a:gd name="csX69" fmla="*/ 2634494 w 3437996"/>
              <a:gd name="csY69" fmla="*/ 805208 h 2018071"/>
              <a:gd name="csX70" fmla="*/ 2633053 w 3437996"/>
              <a:gd name="csY70" fmla="*/ 804210 h 2018071"/>
              <a:gd name="csX71" fmla="*/ 2624994 w 3437996"/>
              <a:gd name="csY71" fmla="*/ 795655 h 2018071"/>
              <a:gd name="csX72" fmla="*/ 2623570 w 3437996"/>
              <a:gd name="csY72" fmla="*/ 794675 h 2018071"/>
              <a:gd name="csX73" fmla="*/ 2615495 w 3437996"/>
              <a:gd name="csY73" fmla="*/ 786111 h 2018071"/>
              <a:gd name="csX74" fmla="*/ 2606007 w 3437996"/>
              <a:gd name="csY74" fmla="*/ 776562 h 2018071"/>
              <a:gd name="csX75" fmla="*/ 2604609 w 3437996"/>
              <a:gd name="csY75" fmla="*/ 775538 h 2018071"/>
              <a:gd name="csX76" fmla="*/ 2596489 w 3437996"/>
              <a:gd name="csY76" fmla="*/ 767032 h 2018071"/>
              <a:gd name="csX77" fmla="*/ 2595095 w 3437996"/>
              <a:gd name="csY77" fmla="*/ 766006 h 2018071"/>
              <a:gd name="csX78" fmla="*/ 2586954 w 3437996"/>
              <a:gd name="csY78" fmla="*/ 757512 h 2018071"/>
              <a:gd name="csX79" fmla="*/ 2585558 w 3437996"/>
              <a:gd name="csY79" fmla="*/ 756496 h 2018071"/>
              <a:gd name="csX80" fmla="*/ 2566459 w 3437996"/>
              <a:gd name="csY80" fmla="*/ 737499 h 2018071"/>
              <a:gd name="csX81" fmla="*/ 2558352 w 3437996"/>
              <a:gd name="csY81" fmla="*/ 728962 h 2018071"/>
              <a:gd name="csX82" fmla="*/ 2547432 w 3437996"/>
              <a:gd name="csY82" fmla="*/ 718414 h 2018071"/>
              <a:gd name="csX83" fmla="*/ 2539350 w 3437996"/>
              <a:gd name="csY83" fmla="*/ 709894 h 2018071"/>
              <a:gd name="csX84" fmla="*/ 2529865 w 3437996"/>
              <a:gd name="csY84" fmla="*/ 700356 h 2018071"/>
              <a:gd name="csX85" fmla="*/ 2528460 w 3437996"/>
              <a:gd name="csY85" fmla="*/ 699259 h 2018071"/>
              <a:gd name="csX86" fmla="*/ 2510900 w 3437996"/>
              <a:gd name="csY86" fmla="*/ 681286 h 2018071"/>
              <a:gd name="csX87" fmla="*/ 2509493 w 3437996"/>
              <a:gd name="csY87" fmla="*/ 680082 h 2018071"/>
              <a:gd name="csX88" fmla="*/ 2501400 w 3437996"/>
              <a:gd name="csY88" fmla="*/ 671754 h 2018071"/>
              <a:gd name="csX89" fmla="*/ 2480984 w 3437996"/>
              <a:gd name="csY89" fmla="*/ 651408 h 2018071"/>
              <a:gd name="csX90" fmla="*/ 2472919 w 3437996"/>
              <a:gd name="csY90" fmla="*/ 643127 h 2018071"/>
              <a:gd name="csX91" fmla="*/ 2471515 w 3437996"/>
              <a:gd name="csY91" fmla="*/ 641819 h 2018071"/>
              <a:gd name="csX92" fmla="*/ 2463424 w 3437996"/>
              <a:gd name="csY92" fmla="*/ 633584 h 2018071"/>
              <a:gd name="csX93" fmla="*/ 2462020 w 3437996"/>
              <a:gd name="csY93" fmla="*/ 632257 h 2018071"/>
              <a:gd name="csX94" fmla="*/ 2453925 w 3437996"/>
              <a:gd name="csY94" fmla="*/ 624049 h 2018071"/>
              <a:gd name="csX95" fmla="*/ 2452516 w 3437996"/>
              <a:gd name="csY95" fmla="*/ 622702 h 2018071"/>
              <a:gd name="csX96" fmla="*/ 2444450 w 3437996"/>
              <a:gd name="csY96" fmla="*/ 614506 h 2018071"/>
              <a:gd name="csX97" fmla="*/ 2434957 w 3437996"/>
              <a:gd name="csY97" fmla="*/ 604969 h 2018071"/>
              <a:gd name="csX98" fmla="*/ 2425486 w 3437996"/>
              <a:gd name="csY98" fmla="*/ 595418 h 2018071"/>
              <a:gd name="csX99" fmla="*/ 2424029 w 3437996"/>
              <a:gd name="csY99" fmla="*/ 593985 h 2018071"/>
              <a:gd name="csX100" fmla="*/ 2416081 w 3437996"/>
              <a:gd name="csY100" fmla="*/ 585841 h 2018071"/>
              <a:gd name="csX101" fmla="*/ 2406640 w 3437996"/>
              <a:gd name="csY101" fmla="*/ 576281 h 2018071"/>
              <a:gd name="csX102" fmla="*/ 2397176 w 3437996"/>
              <a:gd name="csY102" fmla="*/ 566733 h 2018071"/>
              <a:gd name="csX103" fmla="*/ 2387690 w 3437996"/>
              <a:gd name="csY103" fmla="*/ 557193 h 2018071"/>
              <a:gd name="csX104" fmla="*/ 2386050 w 3437996"/>
              <a:gd name="csY104" fmla="*/ 555624 h 2018071"/>
              <a:gd name="csX105" fmla="*/ 2378191 w 3437996"/>
              <a:gd name="csY105" fmla="*/ 547659 h 2018071"/>
              <a:gd name="csX106" fmla="*/ 2368704 w 3437996"/>
              <a:gd name="csY106" fmla="*/ 538124 h 2018071"/>
              <a:gd name="csX107" fmla="*/ 2367021 w 3437996"/>
              <a:gd name="csY107" fmla="*/ 536517 h 2018071"/>
              <a:gd name="csX108" fmla="*/ 2350552 w 3437996"/>
              <a:gd name="csY108" fmla="*/ 519835 h 2018071"/>
              <a:gd name="csX109" fmla="*/ 2348016 w 3437996"/>
              <a:gd name="csY109" fmla="*/ 517342 h 2018071"/>
              <a:gd name="csX110" fmla="*/ 2341054 w 3437996"/>
              <a:gd name="csY110" fmla="*/ 510297 h 2018071"/>
              <a:gd name="csX111" fmla="*/ 2322020 w 3437996"/>
              <a:gd name="csY111" fmla="*/ 491243 h 2018071"/>
              <a:gd name="csX112" fmla="*/ 2312510 w 3437996"/>
              <a:gd name="csY112" fmla="*/ 481725 h 2018071"/>
              <a:gd name="csX113" fmla="*/ 2309941 w 3437996"/>
              <a:gd name="csY113" fmla="*/ 479158 h 2018071"/>
              <a:gd name="csX114" fmla="*/ 2303024 w 3437996"/>
              <a:gd name="csY114" fmla="*/ 472210 h 2018071"/>
              <a:gd name="csX115" fmla="*/ 2300428 w 3437996"/>
              <a:gd name="csY115" fmla="*/ 469578 h 2018071"/>
              <a:gd name="csX116" fmla="*/ 2293545 w 3437996"/>
              <a:gd name="csY116" fmla="*/ 462697 h 2018071"/>
              <a:gd name="csX117" fmla="*/ 2284051 w 3437996"/>
              <a:gd name="csY117" fmla="*/ 453172 h 2018071"/>
              <a:gd name="csX118" fmla="*/ 2274560 w 3437996"/>
              <a:gd name="csY118" fmla="*/ 443646 h 2018071"/>
              <a:gd name="csX119" fmla="*/ 2265120 w 3437996"/>
              <a:gd name="csY119" fmla="*/ 434112 h 2018071"/>
              <a:gd name="csX120" fmla="*/ 2262409 w 3437996"/>
              <a:gd name="csY120" fmla="*/ 431189 h 2018071"/>
              <a:gd name="csX121" fmla="*/ 2252962 w 3437996"/>
              <a:gd name="csY121" fmla="*/ 421458 h 2018071"/>
              <a:gd name="csX122" fmla="*/ 2246361 w 3437996"/>
              <a:gd name="csY122" fmla="*/ 414989 h 2018071"/>
              <a:gd name="csX123" fmla="*/ 2226101 w 3437996"/>
              <a:gd name="csY123" fmla="*/ 394472 h 2018071"/>
              <a:gd name="csX124" fmla="*/ 2204126 w 3437996"/>
              <a:gd name="csY124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44017 w 3437996"/>
              <a:gd name="csY67" fmla="*/ 814773 h 2018071"/>
              <a:gd name="csX68" fmla="*/ 2642551 w 3437996"/>
              <a:gd name="csY68" fmla="*/ 813746 h 2018071"/>
              <a:gd name="csX69" fmla="*/ 2634494 w 3437996"/>
              <a:gd name="csY69" fmla="*/ 805208 h 2018071"/>
              <a:gd name="csX70" fmla="*/ 2633053 w 3437996"/>
              <a:gd name="csY70" fmla="*/ 804210 h 2018071"/>
              <a:gd name="csX71" fmla="*/ 2624994 w 3437996"/>
              <a:gd name="csY71" fmla="*/ 795655 h 2018071"/>
              <a:gd name="csX72" fmla="*/ 2623570 w 3437996"/>
              <a:gd name="csY72" fmla="*/ 794675 h 2018071"/>
              <a:gd name="csX73" fmla="*/ 2615495 w 3437996"/>
              <a:gd name="csY73" fmla="*/ 786111 h 2018071"/>
              <a:gd name="csX74" fmla="*/ 2606007 w 3437996"/>
              <a:gd name="csY74" fmla="*/ 776562 h 2018071"/>
              <a:gd name="csX75" fmla="*/ 2604609 w 3437996"/>
              <a:gd name="csY75" fmla="*/ 775538 h 2018071"/>
              <a:gd name="csX76" fmla="*/ 2596489 w 3437996"/>
              <a:gd name="csY76" fmla="*/ 767032 h 2018071"/>
              <a:gd name="csX77" fmla="*/ 2595095 w 3437996"/>
              <a:gd name="csY77" fmla="*/ 766006 h 2018071"/>
              <a:gd name="csX78" fmla="*/ 2586954 w 3437996"/>
              <a:gd name="csY78" fmla="*/ 757512 h 2018071"/>
              <a:gd name="csX79" fmla="*/ 2585558 w 3437996"/>
              <a:gd name="csY79" fmla="*/ 756496 h 2018071"/>
              <a:gd name="csX80" fmla="*/ 2566459 w 3437996"/>
              <a:gd name="csY80" fmla="*/ 737499 h 2018071"/>
              <a:gd name="csX81" fmla="*/ 2558352 w 3437996"/>
              <a:gd name="csY81" fmla="*/ 728962 h 2018071"/>
              <a:gd name="csX82" fmla="*/ 2547432 w 3437996"/>
              <a:gd name="csY82" fmla="*/ 718414 h 2018071"/>
              <a:gd name="csX83" fmla="*/ 2539350 w 3437996"/>
              <a:gd name="csY83" fmla="*/ 709894 h 2018071"/>
              <a:gd name="csX84" fmla="*/ 2529865 w 3437996"/>
              <a:gd name="csY84" fmla="*/ 700356 h 2018071"/>
              <a:gd name="csX85" fmla="*/ 2528460 w 3437996"/>
              <a:gd name="csY85" fmla="*/ 699259 h 2018071"/>
              <a:gd name="csX86" fmla="*/ 2510900 w 3437996"/>
              <a:gd name="csY86" fmla="*/ 681286 h 2018071"/>
              <a:gd name="csX87" fmla="*/ 2509493 w 3437996"/>
              <a:gd name="csY87" fmla="*/ 680082 h 2018071"/>
              <a:gd name="csX88" fmla="*/ 2501400 w 3437996"/>
              <a:gd name="csY88" fmla="*/ 671754 h 2018071"/>
              <a:gd name="csX89" fmla="*/ 2480984 w 3437996"/>
              <a:gd name="csY89" fmla="*/ 651408 h 2018071"/>
              <a:gd name="csX90" fmla="*/ 2472919 w 3437996"/>
              <a:gd name="csY90" fmla="*/ 643127 h 2018071"/>
              <a:gd name="csX91" fmla="*/ 2471515 w 3437996"/>
              <a:gd name="csY91" fmla="*/ 641819 h 2018071"/>
              <a:gd name="csX92" fmla="*/ 2462020 w 3437996"/>
              <a:gd name="csY92" fmla="*/ 632257 h 2018071"/>
              <a:gd name="csX93" fmla="*/ 2453925 w 3437996"/>
              <a:gd name="csY93" fmla="*/ 624049 h 2018071"/>
              <a:gd name="csX94" fmla="*/ 2452516 w 3437996"/>
              <a:gd name="csY94" fmla="*/ 622702 h 2018071"/>
              <a:gd name="csX95" fmla="*/ 2444450 w 3437996"/>
              <a:gd name="csY95" fmla="*/ 614506 h 2018071"/>
              <a:gd name="csX96" fmla="*/ 2434957 w 3437996"/>
              <a:gd name="csY96" fmla="*/ 604969 h 2018071"/>
              <a:gd name="csX97" fmla="*/ 2425486 w 3437996"/>
              <a:gd name="csY97" fmla="*/ 595418 h 2018071"/>
              <a:gd name="csX98" fmla="*/ 2424029 w 3437996"/>
              <a:gd name="csY98" fmla="*/ 593985 h 2018071"/>
              <a:gd name="csX99" fmla="*/ 2416081 w 3437996"/>
              <a:gd name="csY99" fmla="*/ 585841 h 2018071"/>
              <a:gd name="csX100" fmla="*/ 2406640 w 3437996"/>
              <a:gd name="csY100" fmla="*/ 576281 h 2018071"/>
              <a:gd name="csX101" fmla="*/ 2397176 w 3437996"/>
              <a:gd name="csY101" fmla="*/ 566733 h 2018071"/>
              <a:gd name="csX102" fmla="*/ 2387690 w 3437996"/>
              <a:gd name="csY102" fmla="*/ 557193 h 2018071"/>
              <a:gd name="csX103" fmla="*/ 2386050 w 3437996"/>
              <a:gd name="csY103" fmla="*/ 555624 h 2018071"/>
              <a:gd name="csX104" fmla="*/ 2378191 w 3437996"/>
              <a:gd name="csY104" fmla="*/ 547659 h 2018071"/>
              <a:gd name="csX105" fmla="*/ 2368704 w 3437996"/>
              <a:gd name="csY105" fmla="*/ 538124 h 2018071"/>
              <a:gd name="csX106" fmla="*/ 2367021 w 3437996"/>
              <a:gd name="csY106" fmla="*/ 536517 h 2018071"/>
              <a:gd name="csX107" fmla="*/ 2350552 w 3437996"/>
              <a:gd name="csY107" fmla="*/ 519835 h 2018071"/>
              <a:gd name="csX108" fmla="*/ 2348016 w 3437996"/>
              <a:gd name="csY108" fmla="*/ 517342 h 2018071"/>
              <a:gd name="csX109" fmla="*/ 2341054 w 3437996"/>
              <a:gd name="csY109" fmla="*/ 510297 h 2018071"/>
              <a:gd name="csX110" fmla="*/ 2322020 w 3437996"/>
              <a:gd name="csY110" fmla="*/ 491243 h 2018071"/>
              <a:gd name="csX111" fmla="*/ 2312510 w 3437996"/>
              <a:gd name="csY111" fmla="*/ 481725 h 2018071"/>
              <a:gd name="csX112" fmla="*/ 2309941 w 3437996"/>
              <a:gd name="csY112" fmla="*/ 479158 h 2018071"/>
              <a:gd name="csX113" fmla="*/ 2303024 w 3437996"/>
              <a:gd name="csY113" fmla="*/ 472210 h 2018071"/>
              <a:gd name="csX114" fmla="*/ 2300428 w 3437996"/>
              <a:gd name="csY114" fmla="*/ 469578 h 2018071"/>
              <a:gd name="csX115" fmla="*/ 2293545 w 3437996"/>
              <a:gd name="csY115" fmla="*/ 462697 h 2018071"/>
              <a:gd name="csX116" fmla="*/ 2284051 w 3437996"/>
              <a:gd name="csY116" fmla="*/ 453172 h 2018071"/>
              <a:gd name="csX117" fmla="*/ 2274560 w 3437996"/>
              <a:gd name="csY117" fmla="*/ 443646 h 2018071"/>
              <a:gd name="csX118" fmla="*/ 2265120 w 3437996"/>
              <a:gd name="csY118" fmla="*/ 434112 h 2018071"/>
              <a:gd name="csX119" fmla="*/ 2262409 w 3437996"/>
              <a:gd name="csY119" fmla="*/ 431189 h 2018071"/>
              <a:gd name="csX120" fmla="*/ 2252962 w 3437996"/>
              <a:gd name="csY120" fmla="*/ 421458 h 2018071"/>
              <a:gd name="csX121" fmla="*/ 2246361 w 3437996"/>
              <a:gd name="csY121" fmla="*/ 414989 h 2018071"/>
              <a:gd name="csX122" fmla="*/ 2226101 w 3437996"/>
              <a:gd name="csY122" fmla="*/ 394472 h 2018071"/>
              <a:gd name="csX123" fmla="*/ 2204126 w 3437996"/>
              <a:gd name="csY123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44017 w 3437996"/>
              <a:gd name="csY67" fmla="*/ 814773 h 2018071"/>
              <a:gd name="csX68" fmla="*/ 2642551 w 3437996"/>
              <a:gd name="csY68" fmla="*/ 813746 h 2018071"/>
              <a:gd name="csX69" fmla="*/ 2634494 w 3437996"/>
              <a:gd name="csY69" fmla="*/ 805208 h 2018071"/>
              <a:gd name="csX70" fmla="*/ 2633053 w 3437996"/>
              <a:gd name="csY70" fmla="*/ 804210 h 2018071"/>
              <a:gd name="csX71" fmla="*/ 2624994 w 3437996"/>
              <a:gd name="csY71" fmla="*/ 795655 h 2018071"/>
              <a:gd name="csX72" fmla="*/ 2623570 w 3437996"/>
              <a:gd name="csY72" fmla="*/ 794675 h 2018071"/>
              <a:gd name="csX73" fmla="*/ 2615495 w 3437996"/>
              <a:gd name="csY73" fmla="*/ 786111 h 2018071"/>
              <a:gd name="csX74" fmla="*/ 2606007 w 3437996"/>
              <a:gd name="csY74" fmla="*/ 776562 h 2018071"/>
              <a:gd name="csX75" fmla="*/ 2604609 w 3437996"/>
              <a:gd name="csY75" fmla="*/ 775538 h 2018071"/>
              <a:gd name="csX76" fmla="*/ 2596489 w 3437996"/>
              <a:gd name="csY76" fmla="*/ 767032 h 2018071"/>
              <a:gd name="csX77" fmla="*/ 2595095 w 3437996"/>
              <a:gd name="csY77" fmla="*/ 766006 h 2018071"/>
              <a:gd name="csX78" fmla="*/ 2586954 w 3437996"/>
              <a:gd name="csY78" fmla="*/ 757512 h 2018071"/>
              <a:gd name="csX79" fmla="*/ 2585558 w 3437996"/>
              <a:gd name="csY79" fmla="*/ 756496 h 2018071"/>
              <a:gd name="csX80" fmla="*/ 2566459 w 3437996"/>
              <a:gd name="csY80" fmla="*/ 737499 h 2018071"/>
              <a:gd name="csX81" fmla="*/ 2558352 w 3437996"/>
              <a:gd name="csY81" fmla="*/ 728962 h 2018071"/>
              <a:gd name="csX82" fmla="*/ 2547432 w 3437996"/>
              <a:gd name="csY82" fmla="*/ 718414 h 2018071"/>
              <a:gd name="csX83" fmla="*/ 2539350 w 3437996"/>
              <a:gd name="csY83" fmla="*/ 709894 h 2018071"/>
              <a:gd name="csX84" fmla="*/ 2529865 w 3437996"/>
              <a:gd name="csY84" fmla="*/ 700356 h 2018071"/>
              <a:gd name="csX85" fmla="*/ 2528460 w 3437996"/>
              <a:gd name="csY85" fmla="*/ 699259 h 2018071"/>
              <a:gd name="csX86" fmla="*/ 2510900 w 3437996"/>
              <a:gd name="csY86" fmla="*/ 681286 h 2018071"/>
              <a:gd name="csX87" fmla="*/ 2509493 w 3437996"/>
              <a:gd name="csY87" fmla="*/ 680082 h 2018071"/>
              <a:gd name="csX88" fmla="*/ 2501400 w 3437996"/>
              <a:gd name="csY88" fmla="*/ 671754 h 2018071"/>
              <a:gd name="csX89" fmla="*/ 2480984 w 3437996"/>
              <a:gd name="csY89" fmla="*/ 651408 h 2018071"/>
              <a:gd name="csX90" fmla="*/ 2472919 w 3437996"/>
              <a:gd name="csY90" fmla="*/ 643127 h 2018071"/>
              <a:gd name="csX91" fmla="*/ 2471515 w 3437996"/>
              <a:gd name="csY91" fmla="*/ 641819 h 2018071"/>
              <a:gd name="csX92" fmla="*/ 2462020 w 3437996"/>
              <a:gd name="csY92" fmla="*/ 632257 h 2018071"/>
              <a:gd name="csX93" fmla="*/ 2453925 w 3437996"/>
              <a:gd name="csY93" fmla="*/ 624049 h 2018071"/>
              <a:gd name="csX94" fmla="*/ 2452516 w 3437996"/>
              <a:gd name="csY94" fmla="*/ 622702 h 2018071"/>
              <a:gd name="csX95" fmla="*/ 2434957 w 3437996"/>
              <a:gd name="csY95" fmla="*/ 604969 h 2018071"/>
              <a:gd name="csX96" fmla="*/ 2425486 w 3437996"/>
              <a:gd name="csY96" fmla="*/ 595418 h 2018071"/>
              <a:gd name="csX97" fmla="*/ 2424029 w 3437996"/>
              <a:gd name="csY97" fmla="*/ 593985 h 2018071"/>
              <a:gd name="csX98" fmla="*/ 2416081 w 3437996"/>
              <a:gd name="csY98" fmla="*/ 585841 h 2018071"/>
              <a:gd name="csX99" fmla="*/ 2406640 w 3437996"/>
              <a:gd name="csY99" fmla="*/ 576281 h 2018071"/>
              <a:gd name="csX100" fmla="*/ 2397176 w 3437996"/>
              <a:gd name="csY100" fmla="*/ 566733 h 2018071"/>
              <a:gd name="csX101" fmla="*/ 2387690 w 3437996"/>
              <a:gd name="csY101" fmla="*/ 557193 h 2018071"/>
              <a:gd name="csX102" fmla="*/ 2386050 w 3437996"/>
              <a:gd name="csY102" fmla="*/ 555624 h 2018071"/>
              <a:gd name="csX103" fmla="*/ 2378191 w 3437996"/>
              <a:gd name="csY103" fmla="*/ 547659 h 2018071"/>
              <a:gd name="csX104" fmla="*/ 2368704 w 3437996"/>
              <a:gd name="csY104" fmla="*/ 538124 h 2018071"/>
              <a:gd name="csX105" fmla="*/ 2367021 w 3437996"/>
              <a:gd name="csY105" fmla="*/ 536517 h 2018071"/>
              <a:gd name="csX106" fmla="*/ 2350552 w 3437996"/>
              <a:gd name="csY106" fmla="*/ 519835 h 2018071"/>
              <a:gd name="csX107" fmla="*/ 2348016 w 3437996"/>
              <a:gd name="csY107" fmla="*/ 517342 h 2018071"/>
              <a:gd name="csX108" fmla="*/ 2341054 w 3437996"/>
              <a:gd name="csY108" fmla="*/ 510297 h 2018071"/>
              <a:gd name="csX109" fmla="*/ 2322020 w 3437996"/>
              <a:gd name="csY109" fmla="*/ 491243 h 2018071"/>
              <a:gd name="csX110" fmla="*/ 2312510 w 3437996"/>
              <a:gd name="csY110" fmla="*/ 481725 h 2018071"/>
              <a:gd name="csX111" fmla="*/ 2309941 w 3437996"/>
              <a:gd name="csY111" fmla="*/ 479158 h 2018071"/>
              <a:gd name="csX112" fmla="*/ 2303024 w 3437996"/>
              <a:gd name="csY112" fmla="*/ 472210 h 2018071"/>
              <a:gd name="csX113" fmla="*/ 2300428 w 3437996"/>
              <a:gd name="csY113" fmla="*/ 469578 h 2018071"/>
              <a:gd name="csX114" fmla="*/ 2293545 w 3437996"/>
              <a:gd name="csY114" fmla="*/ 462697 h 2018071"/>
              <a:gd name="csX115" fmla="*/ 2284051 w 3437996"/>
              <a:gd name="csY115" fmla="*/ 453172 h 2018071"/>
              <a:gd name="csX116" fmla="*/ 2274560 w 3437996"/>
              <a:gd name="csY116" fmla="*/ 443646 h 2018071"/>
              <a:gd name="csX117" fmla="*/ 2265120 w 3437996"/>
              <a:gd name="csY117" fmla="*/ 434112 h 2018071"/>
              <a:gd name="csX118" fmla="*/ 2262409 w 3437996"/>
              <a:gd name="csY118" fmla="*/ 431189 h 2018071"/>
              <a:gd name="csX119" fmla="*/ 2252962 w 3437996"/>
              <a:gd name="csY119" fmla="*/ 421458 h 2018071"/>
              <a:gd name="csX120" fmla="*/ 2246361 w 3437996"/>
              <a:gd name="csY120" fmla="*/ 414989 h 2018071"/>
              <a:gd name="csX121" fmla="*/ 2226101 w 3437996"/>
              <a:gd name="csY121" fmla="*/ 394472 h 2018071"/>
              <a:gd name="csX122" fmla="*/ 2204126 w 3437996"/>
              <a:gd name="csY122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44017 w 3437996"/>
              <a:gd name="csY67" fmla="*/ 814773 h 2018071"/>
              <a:gd name="csX68" fmla="*/ 2642551 w 3437996"/>
              <a:gd name="csY68" fmla="*/ 813746 h 2018071"/>
              <a:gd name="csX69" fmla="*/ 2634494 w 3437996"/>
              <a:gd name="csY69" fmla="*/ 805208 h 2018071"/>
              <a:gd name="csX70" fmla="*/ 2633053 w 3437996"/>
              <a:gd name="csY70" fmla="*/ 804210 h 2018071"/>
              <a:gd name="csX71" fmla="*/ 2624994 w 3437996"/>
              <a:gd name="csY71" fmla="*/ 795655 h 2018071"/>
              <a:gd name="csX72" fmla="*/ 2623570 w 3437996"/>
              <a:gd name="csY72" fmla="*/ 794675 h 2018071"/>
              <a:gd name="csX73" fmla="*/ 2615495 w 3437996"/>
              <a:gd name="csY73" fmla="*/ 786111 h 2018071"/>
              <a:gd name="csX74" fmla="*/ 2606007 w 3437996"/>
              <a:gd name="csY74" fmla="*/ 776562 h 2018071"/>
              <a:gd name="csX75" fmla="*/ 2604609 w 3437996"/>
              <a:gd name="csY75" fmla="*/ 775538 h 2018071"/>
              <a:gd name="csX76" fmla="*/ 2596489 w 3437996"/>
              <a:gd name="csY76" fmla="*/ 767032 h 2018071"/>
              <a:gd name="csX77" fmla="*/ 2595095 w 3437996"/>
              <a:gd name="csY77" fmla="*/ 766006 h 2018071"/>
              <a:gd name="csX78" fmla="*/ 2586954 w 3437996"/>
              <a:gd name="csY78" fmla="*/ 757512 h 2018071"/>
              <a:gd name="csX79" fmla="*/ 2585558 w 3437996"/>
              <a:gd name="csY79" fmla="*/ 756496 h 2018071"/>
              <a:gd name="csX80" fmla="*/ 2566459 w 3437996"/>
              <a:gd name="csY80" fmla="*/ 737499 h 2018071"/>
              <a:gd name="csX81" fmla="*/ 2558352 w 3437996"/>
              <a:gd name="csY81" fmla="*/ 728962 h 2018071"/>
              <a:gd name="csX82" fmla="*/ 2547432 w 3437996"/>
              <a:gd name="csY82" fmla="*/ 718414 h 2018071"/>
              <a:gd name="csX83" fmla="*/ 2539350 w 3437996"/>
              <a:gd name="csY83" fmla="*/ 709894 h 2018071"/>
              <a:gd name="csX84" fmla="*/ 2529865 w 3437996"/>
              <a:gd name="csY84" fmla="*/ 700356 h 2018071"/>
              <a:gd name="csX85" fmla="*/ 2528460 w 3437996"/>
              <a:gd name="csY85" fmla="*/ 699259 h 2018071"/>
              <a:gd name="csX86" fmla="*/ 2510900 w 3437996"/>
              <a:gd name="csY86" fmla="*/ 681286 h 2018071"/>
              <a:gd name="csX87" fmla="*/ 2509493 w 3437996"/>
              <a:gd name="csY87" fmla="*/ 680082 h 2018071"/>
              <a:gd name="csX88" fmla="*/ 2501400 w 3437996"/>
              <a:gd name="csY88" fmla="*/ 671754 h 2018071"/>
              <a:gd name="csX89" fmla="*/ 2480984 w 3437996"/>
              <a:gd name="csY89" fmla="*/ 651408 h 2018071"/>
              <a:gd name="csX90" fmla="*/ 2472919 w 3437996"/>
              <a:gd name="csY90" fmla="*/ 643127 h 2018071"/>
              <a:gd name="csX91" fmla="*/ 2471515 w 3437996"/>
              <a:gd name="csY91" fmla="*/ 641819 h 2018071"/>
              <a:gd name="csX92" fmla="*/ 2462020 w 3437996"/>
              <a:gd name="csY92" fmla="*/ 632257 h 2018071"/>
              <a:gd name="csX93" fmla="*/ 2453925 w 3437996"/>
              <a:gd name="csY93" fmla="*/ 624049 h 2018071"/>
              <a:gd name="csX94" fmla="*/ 2452516 w 3437996"/>
              <a:gd name="csY94" fmla="*/ 622702 h 2018071"/>
              <a:gd name="csX95" fmla="*/ 2425486 w 3437996"/>
              <a:gd name="csY95" fmla="*/ 595418 h 2018071"/>
              <a:gd name="csX96" fmla="*/ 2424029 w 3437996"/>
              <a:gd name="csY96" fmla="*/ 593985 h 2018071"/>
              <a:gd name="csX97" fmla="*/ 2416081 w 3437996"/>
              <a:gd name="csY97" fmla="*/ 585841 h 2018071"/>
              <a:gd name="csX98" fmla="*/ 2406640 w 3437996"/>
              <a:gd name="csY98" fmla="*/ 576281 h 2018071"/>
              <a:gd name="csX99" fmla="*/ 2397176 w 3437996"/>
              <a:gd name="csY99" fmla="*/ 566733 h 2018071"/>
              <a:gd name="csX100" fmla="*/ 2387690 w 3437996"/>
              <a:gd name="csY100" fmla="*/ 557193 h 2018071"/>
              <a:gd name="csX101" fmla="*/ 2386050 w 3437996"/>
              <a:gd name="csY101" fmla="*/ 555624 h 2018071"/>
              <a:gd name="csX102" fmla="*/ 2378191 w 3437996"/>
              <a:gd name="csY102" fmla="*/ 547659 h 2018071"/>
              <a:gd name="csX103" fmla="*/ 2368704 w 3437996"/>
              <a:gd name="csY103" fmla="*/ 538124 h 2018071"/>
              <a:gd name="csX104" fmla="*/ 2367021 w 3437996"/>
              <a:gd name="csY104" fmla="*/ 536517 h 2018071"/>
              <a:gd name="csX105" fmla="*/ 2350552 w 3437996"/>
              <a:gd name="csY105" fmla="*/ 519835 h 2018071"/>
              <a:gd name="csX106" fmla="*/ 2348016 w 3437996"/>
              <a:gd name="csY106" fmla="*/ 517342 h 2018071"/>
              <a:gd name="csX107" fmla="*/ 2341054 w 3437996"/>
              <a:gd name="csY107" fmla="*/ 510297 h 2018071"/>
              <a:gd name="csX108" fmla="*/ 2322020 w 3437996"/>
              <a:gd name="csY108" fmla="*/ 491243 h 2018071"/>
              <a:gd name="csX109" fmla="*/ 2312510 w 3437996"/>
              <a:gd name="csY109" fmla="*/ 481725 h 2018071"/>
              <a:gd name="csX110" fmla="*/ 2309941 w 3437996"/>
              <a:gd name="csY110" fmla="*/ 479158 h 2018071"/>
              <a:gd name="csX111" fmla="*/ 2303024 w 3437996"/>
              <a:gd name="csY111" fmla="*/ 472210 h 2018071"/>
              <a:gd name="csX112" fmla="*/ 2300428 w 3437996"/>
              <a:gd name="csY112" fmla="*/ 469578 h 2018071"/>
              <a:gd name="csX113" fmla="*/ 2293545 w 3437996"/>
              <a:gd name="csY113" fmla="*/ 462697 h 2018071"/>
              <a:gd name="csX114" fmla="*/ 2284051 w 3437996"/>
              <a:gd name="csY114" fmla="*/ 453172 h 2018071"/>
              <a:gd name="csX115" fmla="*/ 2274560 w 3437996"/>
              <a:gd name="csY115" fmla="*/ 443646 h 2018071"/>
              <a:gd name="csX116" fmla="*/ 2265120 w 3437996"/>
              <a:gd name="csY116" fmla="*/ 434112 h 2018071"/>
              <a:gd name="csX117" fmla="*/ 2262409 w 3437996"/>
              <a:gd name="csY117" fmla="*/ 431189 h 2018071"/>
              <a:gd name="csX118" fmla="*/ 2252962 w 3437996"/>
              <a:gd name="csY118" fmla="*/ 421458 h 2018071"/>
              <a:gd name="csX119" fmla="*/ 2246361 w 3437996"/>
              <a:gd name="csY119" fmla="*/ 414989 h 2018071"/>
              <a:gd name="csX120" fmla="*/ 2226101 w 3437996"/>
              <a:gd name="csY120" fmla="*/ 394472 h 2018071"/>
              <a:gd name="csX121" fmla="*/ 2204126 w 3437996"/>
              <a:gd name="csY121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44017 w 3437996"/>
              <a:gd name="csY67" fmla="*/ 814773 h 2018071"/>
              <a:gd name="csX68" fmla="*/ 2642551 w 3437996"/>
              <a:gd name="csY68" fmla="*/ 813746 h 2018071"/>
              <a:gd name="csX69" fmla="*/ 2634494 w 3437996"/>
              <a:gd name="csY69" fmla="*/ 805208 h 2018071"/>
              <a:gd name="csX70" fmla="*/ 2633053 w 3437996"/>
              <a:gd name="csY70" fmla="*/ 804210 h 2018071"/>
              <a:gd name="csX71" fmla="*/ 2624994 w 3437996"/>
              <a:gd name="csY71" fmla="*/ 795655 h 2018071"/>
              <a:gd name="csX72" fmla="*/ 2623570 w 3437996"/>
              <a:gd name="csY72" fmla="*/ 794675 h 2018071"/>
              <a:gd name="csX73" fmla="*/ 2615495 w 3437996"/>
              <a:gd name="csY73" fmla="*/ 786111 h 2018071"/>
              <a:gd name="csX74" fmla="*/ 2606007 w 3437996"/>
              <a:gd name="csY74" fmla="*/ 776562 h 2018071"/>
              <a:gd name="csX75" fmla="*/ 2604609 w 3437996"/>
              <a:gd name="csY75" fmla="*/ 775538 h 2018071"/>
              <a:gd name="csX76" fmla="*/ 2596489 w 3437996"/>
              <a:gd name="csY76" fmla="*/ 767032 h 2018071"/>
              <a:gd name="csX77" fmla="*/ 2595095 w 3437996"/>
              <a:gd name="csY77" fmla="*/ 766006 h 2018071"/>
              <a:gd name="csX78" fmla="*/ 2586954 w 3437996"/>
              <a:gd name="csY78" fmla="*/ 757512 h 2018071"/>
              <a:gd name="csX79" fmla="*/ 2585558 w 3437996"/>
              <a:gd name="csY79" fmla="*/ 756496 h 2018071"/>
              <a:gd name="csX80" fmla="*/ 2566459 w 3437996"/>
              <a:gd name="csY80" fmla="*/ 737499 h 2018071"/>
              <a:gd name="csX81" fmla="*/ 2558352 w 3437996"/>
              <a:gd name="csY81" fmla="*/ 728962 h 2018071"/>
              <a:gd name="csX82" fmla="*/ 2547432 w 3437996"/>
              <a:gd name="csY82" fmla="*/ 718414 h 2018071"/>
              <a:gd name="csX83" fmla="*/ 2539350 w 3437996"/>
              <a:gd name="csY83" fmla="*/ 709894 h 2018071"/>
              <a:gd name="csX84" fmla="*/ 2529865 w 3437996"/>
              <a:gd name="csY84" fmla="*/ 700356 h 2018071"/>
              <a:gd name="csX85" fmla="*/ 2528460 w 3437996"/>
              <a:gd name="csY85" fmla="*/ 699259 h 2018071"/>
              <a:gd name="csX86" fmla="*/ 2510900 w 3437996"/>
              <a:gd name="csY86" fmla="*/ 681286 h 2018071"/>
              <a:gd name="csX87" fmla="*/ 2509493 w 3437996"/>
              <a:gd name="csY87" fmla="*/ 680082 h 2018071"/>
              <a:gd name="csX88" fmla="*/ 2501400 w 3437996"/>
              <a:gd name="csY88" fmla="*/ 671754 h 2018071"/>
              <a:gd name="csX89" fmla="*/ 2480984 w 3437996"/>
              <a:gd name="csY89" fmla="*/ 651408 h 2018071"/>
              <a:gd name="csX90" fmla="*/ 2472919 w 3437996"/>
              <a:gd name="csY90" fmla="*/ 643127 h 2018071"/>
              <a:gd name="csX91" fmla="*/ 2471515 w 3437996"/>
              <a:gd name="csY91" fmla="*/ 641819 h 2018071"/>
              <a:gd name="csX92" fmla="*/ 2462020 w 3437996"/>
              <a:gd name="csY92" fmla="*/ 632257 h 2018071"/>
              <a:gd name="csX93" fmla="*/ 2453925 w 3437996"/>
              <a:gd name="csY93" fmla="*/ 624049 h 2018071"/>
              <a:gd name="csX94" fmla="*/ 2452516 w 3437996"/>
              <a:gd name="csY94" fmla="*/ 622702 h 2018071"/>
              <a:gd name="csX95" fmla="*/ 2425486 w 3437996"/>
              <a:gd name="csY95" fmla="*/ 595418 h 2018071"/>
              <a:gd name="csX96" fmla="*/ 2424029 w 3437996"/>
              <a:gd name="csY96" fmla="*/ 593985 h 2018071"/>
              <a:gd name="csX97" fmla="*/ 2406640 w 3437996"/>
              <a:gd name="csY97" fmla="*/ 576281 h 2018071"/>
              <a:gd name="csX98" fmla="*/ 2397176 w 3437996"/>
              <a:gd name="csY98" fmla="*/ 566733 h 2018071"/>
              <a:gd name="csX99" fmla="*/ 2387690 w 3437996"/>
              <a:gd name="csY99" fmla="*/ 557193 h 2018071"/>
              <a:gd name="csX100" fmla="*/ 2386050 w 3437996"/>
              <a:gd name="csY100" fmla="*/ 555624 h 2018071"/>
              <a:gd name="csX101" fmla="*/ 2378191 w 3437996"/>
              <a:gd name="csY101" fmla="*/ 547659 h 2018071"/>
              <a:gd name="csX102" fmla="*/ 2368704 w 3437996"/>
              <a:gd name="csY102" fmla="*/ 538124 h 2018071"/>
              <a:gd name="csX103" fmla="*/ 2367021 w 3437996"/>
              <a:gd name="csY103" fmla="*/ 536517 h 2018071"/>
              <a:gd name="csX104" fmla="*/ 2350552 w 3437996"/>
              <a:gd name="csY104" fmla="*/ 519835 h 2018071"/>
              <a:gd name="csX105" fmla="*/ 2348016 w 3437996"/>
              <a:gd name="csY105" fmla="*/ 517342 h 2018071"/>
              <a:gd name="csX106" fmla="*/ 2341054 w 3437996"/>
              <a:gd name="csY106" fmla="*/ 510297 h 2018071"/>
              <a:gd name="csX107" fmla="*/ 2322020 w 3437996"/>
              <a:gd name="csY107" fmla="*/ 491243 h 2018071"/>
              <a:gd name="csX108" fmla="*/ 2312510 w 3437996"/>
              <a:gd name="csY108" fmla="*/ 481725 h 2018071"/>
              <a:gd name="csX109" fmla="*/ 2309941 w 3437996"/>
              <a:gd name="csY109" fmla="*/ 479158 h 2018071"/>
              <a:gd name="csX110" fmla="*/ 2303024 w 3437996"/>
              <a:gd name="csY110" fmla="*/ 472210 h 2018071"/>
              <a:gd name="csX111" fmla="*/ 2300428 w 3437996"/>
              <a:gd name="csY111" fmla="*/ 469578 h 2018071"/>
              <a:gd name="csX112" fmla="*/ 2293545 w 3437996"/>
              <a:gd name="csY112" fmla="*/ 462697 h 2018071"/>
              <a:gd name="csX113" fmla="*/ 2284051 w 3437996"/>
              <a:gd name="csY113" fmla="*/ 453172 h 2018071"/>
              <a:gd name="csX114" fmla="*/ 2274560 w 3437996"/>
              <a:gd name="csY114" fmla="*/ 443646 h 2018071"/>
              <a:gd name="csX115" fmla="*/ 2265120 w 3437996"/>
              <a:gd name="csY115" fmla="*/ 434112 h 2018071"/>
              <a:gd name="csX116" fmla="*/ 2262409 w 3437996"/>
              <a:gd name="csY116" fmla="*/ 431189 h 2018071"/>
              <a:gd name="csX117" fmla="*/ 2252962 w 3437996"/>
              <a:gd name="csY117" fmla="*/ 421458 h 2018071"/>
              <a:gd name="csX118" fmla="*/ 2246361 w 3437996"/>
              <a:gd name="csY118" fmla="*/ 414989 h 2018071"/>
              <a:gd name="csX119" fmla="*/ 2226101 w 3437996"/>
              <a:gd name="csY119" fmla="*/ 394472 h 2018071"/>
              <a:gd name="csX120" fmla="*/ 2204126 w 3437996"/>
              <a:gd name="csY120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44017 w 3437996"/>
              <a:gd name="csY67" fmla="*/ 814773 h 2018071"/>
              <a:gd name="csX68" fmla="*/ 2642551 w 3437996"/>
              <a:gd name="csY68" fmla="*/ 813746 h 2018071"/>
              <a:gd name="csX69" fmla="*/ 2634494 w 3437996"/>
              <a:gd name="csY69" fmla="*/ 805208 h 2018071"/>
              <a:gd name="csX70" fmla="*/ 2633053 w 3437996"/>
              <a:gd name="csY70" fmla="*/ 804210 h 2018071"/>
              <a:gd name="csX71" fmla="*/ 2624994 w 3437996"/>
              <a:gd name="csY71" fmla="*/ 795655 h 2018071"/>
              <a:gd name="csX72" fmla="*/ 2623570 w 3437996"/>
              <a:gd name="csY72" fmla="*/ 794675 h 2018071"/>
              <a:gd name="csX73" fmla="*/ 2615495 w 3437996"/>
              <a:gd name="csY73" fmla="*/ 786111 h 2018071"/>
              <a:gd name="csX74" fmla="*/ 2606007 w 3437996"/>
              <a:gd name="csY74" fmla="*/ 776562 h 2018071"/>
              <a:gd name="csX75" fmla="*/ 2604609 w 3437996"/>
              <a:gd name="csY75" fmla="*/ 775538 h 2018071"/>
              <a:gd name="csX76" fmla="*/ 2596489 w 3437996"/>
              <a:gd name="csY76" fmla="*/ 767032 h 2018071"/>
              <a:gd name="csX77" fmla="*/ 2595095 w 3437996"/>
              <a:gd name="csY77" fmla="*/ 766006 h 2018071"/>
              <a:gd name="csX78" fmla="*/ 2586954 w 3437996"/>
              <a:gd name="csY78" fmla="*/ 757512 h 2018071"/>
              <a:gd name="csX79" fmla="*/ 2585558 w 3437996"/>
              <a:gd name="csY79" fmla="*/ 756496 h 2018071"/>
              <a:gd name="csX80" fmla="*/ 2566459 w 3437996"/>
              <a:gd name="csY80" fmla="*/ 737499 h 2018071"/>
              <a:gd name="csX81" fmla="*/ 2558352 w 3437996"/>
              <a:gd name="csY81" fmla="*/ 728962 h 2018071"/>
              <a:gd name="csX82" fmla="*/ 2547432 w 3437996"/>
              <a:gd name="csY82" fmla="*/ 718414 h 2018071"/>
              <a:gd name="csX83" fmla="*/ 2539350 w 3437996"/>
              <a:gd name="csY83" fmla="*/ 709894 h 2018071"/>
              <a:gd name="csX84" fmla="*/ 2529865 w 3437996"/>
              <a:gd name="csY84" fmla="*/ 700356 h 2018071"/>
              <a:gd name="csX85" fmla="*/ 2528460 w 3437996"/>
              <a:gd name="csY85" fmla="*/ 699259 h 2018071"/>
              <a:gd name="csX86" fmla="*/ 2510900 w 3437996"/>
              <a:gd name="csY86" fmla="*/ 681286 h 2018071"/>
              <a:gd name="csX87" fmla="*/ 2509493 w 3437996"/>
              <a:gd name="csY87" fmla="*/ 680082 h 2018071"/>
              <a:gd name="csX88" fmla="*/ 2501400 w 3437996"/>
              <a:gd name="csY88" fmla="*/ 671754 h 2018071"/>
              <a:gd name="csX89" fmla="*/ 2480984 w 3437996"/>
              <a:gd name="csY89" fmla="*/ 651408 h 2018071"/>
              <a:gd name="csX90" fmla="*/ 2472919 w 3437996"/>
              <a:gd name="csY90" fmla="*/ 643127 h 2018071"/>
              <a:gd name="csX91" fmla="*/ 2471515 w 3437996"/>
              <a:gd name="csY91" fmla="*/ 641819 h 2018071"/>
              <a:gd name="csX92" fmla="*/ 2462020 w 3437996"/>
              <a:gd name="csY92" fmla="*/ 632257 h 2018071"/>
              <a:gd name="csX93" fmla="*/ 2453925 w 3437996"/>
              <a:gd name="csY93" fmla="*/ 624049 h 2018071"/>
              <a:gd name="csX94" fmla="*/ 2452516 w 3437996"/>
              <a:gd name="csY94" fmla="*/ 622702 h 2018071"/>
              <a:gd name="csX95" fmla="*/ 2425486 w 3437996"/>
              <a:gd name="csY95" fmla="*/ 595418 h 2018071"/>
              <a:gd name="csX96" fmla="*/ 2424029 w 3437996"/>
              <a:gd name="csY96" fmla="*/ 593985 h 2018071"/>
              <a:gd name="csX97" fmla="*/ 2406640 w 3437996"/>
              <a:gd name="csY97" fmla="*/ 576281 h 2018071"/>
              <a:gd name="csX98" fmla="*/ 2397176 w 3437996"/>
              <a:gd name="csY98" fmla="*/ 566733 h 2018071"/>
              <a:gd name="csX99" fmla="*/ 2387690 w 3437996"/>
              <a:gd name="csY99" fmla="*/ 557193 h 2018071"/>
              <a:gd name="csX100" fmla="*/ 2378191 w 3437996"/>
              <a:gd name="csY100" fmla="*/ 547659 h 2018071"/>
              <a:gd name="csX101" fmla="*/ 2368704 w 3437996"/>
              <a:gd name="csY101" fmla="*/ 538124 h 2018071"/>
              <a:gd name="csX102" fmla="*/ 2367021 w 3437996"/>
              <a:gd name="csY102" fmla="*/ 536517 h 2018071"/>
              <a:gd name="csX103" fmla="*/ 2350552 w 3437996"/>
              <a:gd name="csY103" fmla="*/ 519835 h 2018071"/>
              <a:gd name="csX104" fmla="*/ 2348016 w 3437996"/>
              <a:gd name="csY104" fmla="*/ 517342 h 2018071"/>
              <a:gd name="csX105" fmla="*/ 2341054 w 3437996"/>
              <a:gd name="csY105" fmla="*/ 510297 h 2018071"/>
              <a:gd name="csX106" fmla="*/ 2322020 w 3437996"/>
              <a:gd name="csY106" fmla="*/ 491243 h 2018071"/>
              <a:gd name="csX107" fmla="*/ 2312510 w 3437996"/>
              <a:gd name="csY107" fmla="*/ 481725 h 2018071"/>
              <a:gd name="csX108" fmla="*/ 2309941 w 3437996"/>
              <a:gd name="csY108" fmla="*/ 479158 h 2018071"/>
              <a:gd name="csX109" fmla="*/ 2303024 w 3437996"/>
              <a:gd name="csY109" fmla="*/ 472210 h 2018071"/>
              <a:gd name="csX110" fmla="*/ 2300428 w 3437996"/>
              <a:gd name="csY110" fmla="*/ 469578 h 2018071"/>
              <a:gd name="csX111" fmla="*/ 2293545 w 3437996"/>
              <a:gd name="csY111" fmla="*/ 462697 h 2018071"/>
              <a:gd name="csX112" fmla="*/ 2284051 w 3437996"/>
              <a:gd name="csY112" fmla="*/ 453172 h 2018071"/>
              <a:gd name="csX113" fmla="*/ 2274560 w 3437996"/>
              <a:gd name="csY113" fmla="*/ 443646 h 2018071"/>
              <a:gd name="csX114" fmla="*/ 2265120 w 3437996"/>
              <a:gd name="csY114" fmla="*/ 434112 h 2018071"/>
              <a:gd name="csX115" fmla="*/ 2262409 w 3437996"/>
              <a:gd name="csY115" fmla="*/ 431189 h 2018071"/>
              <a:gd name="csX116" fmla="*/ 2252962 w 3437996"/>
              <a:gd name="csY116" fmla="*/ 421458 h 2018071"/>
              <a:gd name="csX117" fmla="*/ 2246361 w 3437996"/>
              <a:gd name="csY117" fmla="*/ 414989 h 2018071"/>
              <a:gd name="csX118" fmla="*/ 2226101 w 3437996"/>
              <a:gd name="csY118" fmla="*/ 394472 h 2018071"/>
              <a:gd name="csX119" fmla="*/ 2204126 w 3437996"/>
              <a:gd name="csY119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44017 w 3437996"/>
              <a:gd name="csY67" fmla="*/ 814773 h 2018071"/>
              <a:gd name="csX68" fmla="*/ 2642551 w 3437996"/>
              <a:gd name="csY68" fmla="*/ 813746 h 2018071"/>
              <a:gd name="csX69" fmla="*/ 2634494 w 3437996"/>
              <a:gd name="csY69" fmla="*/ 805208 h 2018071"/>
              <a:gd name="csX70" fmla="*/ 2633053 w 3437996"/>
              <a:gd name="csY70" fmla="*/ 804210 h 2018071"/>
              <a:gd name="csX71" fmla="*/ 2624994 w 3437996"/>
              <a:gd name="csY71" fmla="*/ 795655 h 2018071"/>
              <a:gd name="csX72" fmla="*/ 2623570 w 3437996"/>
              <a:gd name="csY72" fmla="*/ 794675 h 2018071"/>
              <a:gd name="csX73" fmla="*/ 2615495 w 3437996"/>
              <a:gd name="csY73" fmla="*/ 786111 h 2018071"/>
              <a:gd name="csX74" fmla="*/ 2606007 w 3437996"/>
              <a:gd name="csY74" fmla="*/ 776562 h 2018071"/>
              <a:gd name="csX75" fmla="*/ 2604609 w 3437996"/>
              <a:gd name="csY75" fmla="*/ 775538 h 2018071"/>
              <a:gd name="csX76" fmla="*/ 2596489 w 3437996"/>
              <a:gd name="csY76" fmla="*/ 767032 h 2018071"/>
              <a:gd name="csX77" fmla="*/ 2595095 w 3437996"/>
              <a:gd name="csY77" fmla="*/ 766006 h 2018071"/>
              <a:gd name="csX78" fmla="*/ 2586954 w 3437996"/>
              <a:gd name="csY78" fmla="*/ 757512 h 2018071"/>
              <a:gd name="csX79" fmla="*/ 2585558 w 3437996"/>
              <a:gd name="csY79" fmla="*/ 756496 h 2018071"/>
              <a:gd name="csX80" fmla="*/ 2566459 w 3437996"/>
              <a:gd name="csY80" fmla="*/ 737499 h 2018071"/>
              <a:gd name="csX81" fmla="*/ 2558352 w 3437996"/>
              <a:gd name="csY81" fmla="*/ 728962 h 2018071"/>
              <a:gd name="csX82" fmla="*/ 2547432 w 3437996"/>
              <a:gd name="csY82" fmla="*/ 718414 h 2018071"/>
              <a:gd name="csX83" fmla="*/ 2539350 w 3437996"/>
              <a:gd name="csY83" fmla="*/ 709894 h 2018071"/>
              <a:gd name="csX84" fmla="*/ 2529865 w 3437996"/>
              <a:gd name="csY84" fmla="*/ 700356 h 2018071"/>
              <a:gd name="csX85" fmla="*/ 2528460 w 3437996"/>
              <a:gd name="csY85" fmla="*/ 699259 h 2018071"/>
              <a:gd name="csX86" fmla="*/ 2510900 w 3437996"/>
              <a:gd name="csY86" fmla="*/ 681286 h 2018071"/>
              <a:gd name="csX87" fmla="*/ 2509493 w 3437996"/>
              <a:gd name="csY87" fmla="*/ 680082 h 2018071"/>
              <a:gd name="csX88" fmla="*/ 2501400 w 3437996"/>
              <a:gd name="csY88" fmla="*/ 671754 h 2018071"/>
              <a:gd name="csX89" fmla="*/ 2480984 w 3437996"/>
              <a:gd name="csY89" fmla="*/ 651408 h 2018071"/>
              <a:gd name="csX90" fmla="*/ 2472919 w 3437996"/>
              <a:gd name="csY90" fmla="*/ 643127 h 2018071"/>
              <a:gd name="csX91" fmla="*/ 2471515 w 3437996"/>
              <a:gd name="csY91" fmla="*/ 641819 h 2018071"/>
              <a:gd name="csX92" fmla="*/ 2462020 w 3437996"/>
              <a:gd name="csY92" fmla="*/ 632257 h 2018071"/>
              <a:gd name="csX93" fmla="*/ 2453925 w 3437996"/>
              <a:gd name="csY93" fmla="*/ 624049 h 2018071"/>
              <a:gd name="csX94" fmla="*/ 2452516 w 3437996"/>
              <a:gd name="csY94" fmla="*/ 622702 h 2018071"/>
              <a:gd name="csX95" fmla="*/ 2425486 w 3437996"/>
              <a:gd name="csY95" fmla="*/ 595418 h 2018071"/>
              <a:gd name="csX96" fmla="*/ 2424029 w 3437996"/>
              <a:gd name="csY96" fmla="*/ 593985 h 2018071"/>
              <a:gd name="csX97" fmla="*/ 2406640 w 3437996"/>
              <a:gd name="csY97" fmla="*/ 576281 h 2018071"/>
              <a:gd name="csX98" fmla="*/ 2397176 w 3437996"/>
              <a:gd name="csY98" fmla="*/ 566733 h 2018071"/>
              <a:gd name="csX99" fmla="*/ 2387690 w 3437996"/>
              <a:gd name="csY99" fmla="*/ 557193 h 2018071"/>
              <a:gd name="csX100" fmla="*/ 2378191 w 3437996"/>
              <a:gd name="csY100" fmla="*/ 547659 h 2018071"/>
              <a:gd name="csX101" fmla="*/ 2368704 w 3437996"/>
              <a:gd name="csY101" fmla="*/ 538124 h 2018071"/>
              <a:gd name="csX102" fmla="*/ 2350552 w 3437996"/>
              <a:gd name="csY102" fmla="*/ 519835 h 2018071"/>
              <a:gd name="csX103" fmla="*/ 2348016 w 3437996"/>
              <a:gd name="csY103" fmla="*/ 517342 h 2018071"/>
              <a:gd name="csX104" fmla="*/ 2341054 w 3437996"/>
              <a:gd name="csY104" fmla="*/ 510297 h 2018071"/>
              <a:gd name="csX105" fmla="*/ 2322020 w 3437996"/>
              <a:gd name="csY105" fmla="*/ 491243 h 2018071"/>
              <a:gd name="csX106" fmla="*/ 2312510 w 3437996"/>
              <a:gd name="csY106" fmla="*/ 481725 h 2018071"/>
              <a:gd name="csX107" fmla="*/ 2309941 w 3437996"/>
              <a:gd name="csY107" fmla="*/ 479158 h 2018071"/>
              <a:gd name="csX108" fmla="*/ 2303024 w 3437996"/>
              <a:gd name="csY108" fmla="*/ 472210 h 2018071"/>
              <a:gd name="csX109" fmla="*/ 2300428 w 3437996"/>
              <a:gd name="csY109" fmla="*/ 469578 h 2018071"/>
              <a:gd name="csX110" fmla="*/ 2293545 w 3437996"/>
              <a:gd name="csY110" fmla="*/ 462697 h 2018071"/>
              <a:gd name="csX111" fmla="*/ 2284051 w 3437996"/>
              <a:gd name="csY111" fmla="*/ 453172 h 2018071"/>
              <a:gd name="csX112" fmla="*/ 2274560 w 3437996"/>
              <a:gd name="csY112" fmla="*/ 443646 h 2018071"/>
              <a:gd name="csX113" fmla="*/ 2265120 w 3437996"/>
              <a:gd name="csY113" fmla="*/ 434112 h 2018071"/>
              <a:gd name="csX114" fmla="*/ 2262409 w 3437996"/>
              <a:gd name="csY114" fmla="*/ 431189 h 2018071"/>
              <a:gd name="csX115" fmla="*/ 2252962 w 3437996"/>
              <a:gd name="csY115" fmla="*/ 421458 h 2018071"/>
              <a:gd name="csX116" fmla="*/ 2246361 w 3437996"/>
              <a:gd name="csY116" fmla="*/ 414989 h 2018071"/>
              <a:gd name="csX117" fmla="*/ 2226101 w 3437996"/>
              <a:gd name="csY117" fmla="*/ 394472 h 2018071"/>
              <a:gd name="csX118" fmla="*/ 2204126 w 3437996"/>
              <a:gd name="csY118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44017 w 3437996"/>
              <a:gd name="csY67" fmla="*/ 814773 h 2018071"/>
              <a:gd name="csX68" fmla="*/ 2642551 w 3437996"/>
              <a:gd name="csY68" fmla="*/ 813746 h 2018071"/>
              <a:gd name="csX69" fmla="*/ 2634494 w 3437996"/>
              <a:gd name="csY69" fmla="*/ 805208 h 2018071"/>
              <a:gd name="csX70" fmla="*/ 2633053 w 3437996"/>
              <a:gd name="csY70" fmla="*/ 804210 h 2018071"/>
              <a:gd name="csX71" fmla="*/ 2624994 w 3437996"/>
              <a:gd name="csY71" fmla="*/ 795655 h 2018071"/>
              <a:gd name="csX72" fmla="*/ 2623570 w 3437996"/>
              <a:gd name="csY72" fmla="*/ 794675 h 2018071"/>
              <a:gd name="csX73" fmla="*/ 2615495 w 3437996"/>
              <a:gd name="csY73" fmla="*/ 786111 h 2018071"/>
              <a:gd name="csX74" fmla="*/ 2606007 w 3437996"/>
              <a:gd name="csY74" fmla="*/ 776562 h 2018071"/>
              <a:gd name="csX75" fmla="*/ 2604609 w 3437996"/>
              <a:gd name="csY75" fmla="*/ 775538 h 2018071"/>
              <a:gd name="csX76" fmla="*/ 2596489 w 3437996"/>
              <a:gd name="csY76" fmla="*/ 767032 h 2018071"/>
              <a:gd name="csX77" fmla="*/ 2595095 w 3437996"/>
              <a:gd name="csY77" fmla="*/ 766006 h 2018071"/>
              <a:gd name="csX78" fmla="*/ 2586954 w 3437996"/>
              <a:gd name="csY78" fmla="*/ 757512 h 2018071"/>
              <a:gd name="csX79" fmla="*/ 2585558 w 3437996"/>
              <a:gd name="csY79" fmla="*/ 756496 h 2018071"/>
              <a:gd name="csX80" fmla="*/ 2566459 w 3437996"/>
              <a:gd name="csY80" fmla="*/ 737499 h 2018071"/>
              <a:gd name="csX81" fmla="*/ 2558352 w 3437996"/>
              <a:gd name="csY81" fmla="*/ 728962 h 2018071"/>
              <a:gd name="csX82" fmla="*/ 2547432 w 3437996"/>
              <a:gd name="csY82" fmla="*/ 718414 h 2018071"/>
              <a:gd name="csX83" fmla="*/ 2539350 w 3437996"/>
              <a:gd name="csY83" fmla="*/ 709894 h 2018071"/>
              <a:gd name="csX84" fmla="*/ 2529865 w 3437996"/>
              <a:gd name="csY84" fmla="*/ 700356 h 2018071"/>
              <a:gd name="csX85" fmla="*/ 2528460 w 3437996"/>
              <a:gd name="csY85" fmla="*/ 699259 h 2018071"/>
              <a:gd name="csX86" fmla="*/ 2510900 w 3437996"/>
              <a:gd name="csY86" fmla="*/ 681286 h 2018071"/>
              <a:gd name="csX87" fmla="*/ 2509493 w 3437996"/>
              <a:gd name="csY87" fmla="*/ 680082 h 2018071"/>
              <a:gd name="csX88" fmla="*/ 2501400 w 3437996"/>
              <a:gd name="csY88" fmla="*/ 671754 h 2018071"/>
              <a:gd name="csX89" fmla="*/ 2480984 w 3437996"/>
              <a:gd name="csY89" fmla="*/ 651408 h 2018071"/>
              <a:gd name="csX90" fmla="*/ 2472919 w 3437996"/>
              <a:gd name="csY90" fmla="*/ 643127 h 2018071"/>
              <a:gd name="csX91" fmla="*/ 2471515 w 3437996"/>
              <a:gd name="csY91" fmla="*/ 641819 h 2018071"/>
              <a:gd name="csX92" fmla="*/ 2462020 w 3437996"/>
              <a:gd name="csY92" fmla="*/ 632257 h 2018071"/>
              <a:gd name="csX93" fmla="*/ 2453925 w 3437996"/>
              <a:gd name="csY93" fmla="*/ 624049 h 2018071"/>
              <a:gd name="csX94" fmla="*/ 2452516 w 3437996"/>
              <a:gd name="csY94" fmla="*/ 622702 h 2018071"/>
              <a:gd name="csX95" fmla="*/ 2425486 w 3437996"/>
              <a:gd name="csY95" fmla="*/ 595418 h 2018071"/>
              <a:gd name="csX96" fmla="*/ 2424029 w 3437996"/>
              <a:gd name="csY96" fmla="*/ 593985 h 2018071"/>
              <a:gd name="csX97" fmla="*/ 2406640 w 3437996"/>
              <a:gd name="csY97" fmla="*/ 576281 h 2018071"/>
              <a:gd name="csX98" fmla="*/ 2397176 w 3437996"/>
              <a:gd name="csY98" fmla="*/ 566733 h 2018071"/>
              <a:gd name="csX99" fmla="*/ 2387690 w 3437996"/>
              <a:gd name="csY99" fmla="*/ 557193 h 2018071"/>
              <a:gd name="csX100" fmla="*/ 2378191 w 3437996"/>
              <a:gd name="csY100" fmla="*/ 547659 h 2018071"/>
              <a:gd name="csX101" fmla="*/ 2368704 w 3437996"/>
              <a:gd name="csY101" fmla="*/ 538124 h 2018071"/>
              <a:gd name="csX102" fmla="*/ 2350552 w 3437996"/>
              <a:gd name="csY102" fmla="*/ 519835 h 2018071"/>
              <a:gd name="csX103" fmla="*/ 2348016 w 3437996"/>
              <a:gd name="csY103" fmla="*/ 517342 h 2018071"/>
              <a:gd name="csX104" fmla="*/ 2322020 w 3437996"/>
              <a:gd name="csY104" fmla="*/ 491243 h 2018071"/>
              <a:gd name="csX105" fmla="*/ 2312510 w 3437996"/>
              <a:gd name="csY105" fmla="*/ 481725 h 2018071"/>
              <a:gd name="csX106" fmla="*/ 2309941 w 3437996"/>
              <a:gd name="csY106" fmla="*/ 479158 h 2018071"/>
              <a:gd name="csX107" fmla="*/ 2303024 w 3437996"/>
              <a:gd name="csY107" fmla="*/ 472210 h 2018071"/>
              <a:gd name="csX108" fmla="*/ 2300428 w 3437996"/>
              <a:gd name="csY108" fmla="*/ 469578 h 2018071"/>
              <a:gd name="csX109" fmla="*/ 2293545 w 3437996"/>
              <a:gd name="csY109" fmla="*/ 462697 h 2018071"/>
              <a:gd name="csX110" fmla="*/ 2284051 w 3437996"/>
              <a:gd name="csY110" fmla="*/ 453172 h 2018071"/>
              <a:gd name="csX111" fmla="*/ 2274560 w 3437996"/>
              <a:gd name="csY111" fmla="*/ 443646 h 2018071"/>
              <a:gd name="csX112" fmla="*/ 2265120 w 3437996"/>
              <a:gd name="csY112" fmla="*/ 434112 h 2018071"/>
              <a:gd name="csX113" fmla="*/ 2262409 w 3437996"/>
              <a:gd name="csY113" fmla="*/ 431189 h 2018071"/>
              <a:gd name="csX114" fmla="*/ 2252962 w 3437996"/>
              <a:gd name="csY114" fmla="*/ 421458 h 2018071"/>
              <a:gd name="csX115" fmla="*/ 2246361 w 3437996"/>
              <a:gd name="csY115" fmla="*/ 414989 h 2018071"/>
              <a:gd name="csX116" fmla="*/ 2226101 w 3437996"/>
              <a:gd name="csY116" fmla="*/ 394472 h 2018071"/>
              <a:gd name="csX117" fmla="*/ 2204126 w 3437996"/>
              <a:gd name="csY117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44017 w 3437996"/>
              <a:gd name="csY67" fmla="*/ 814773 h 2018071"/>
              <a:gd name="csX68" fmla="*/ 2642551 w 3437996"/>
              <a:gd name="csY68" fmla="*/ 813746 h 2018071"/>
              <a:gd name="csX69" fmla="*/ 2634494 w 3437996"/>
              <a:gd name="csY69" fmla="*/ 805208 h 2018071"/>
              <a:gd name="csX70" fmla="*/ 2633053 w 3437996"/>
              <a:gd name="csY70" fmla="*/ 804210 h 2018071"/>
              <a:gd name="csX71" fmla="*/ 2624994 w 3437996"/>
              <a:gd name="csY71" fmla="*/ 795655 h 2018071"/>
              <a:gd name="csX72" fmla="*/ 2623570 w 3437996"/>
              <a:gd name="csY72" fmla="*/ 794675 h 2018071"/>
              <a:gd name="csX73" fmla="*/ 2615495 w 3437996"/>
              <a:gd name="csY73" fmla="*/ 786111 h 2018071"/>
              <a:gd name="csX74" fmla="*/ 2606007 w 3437996"/>
              <a:gd name="csY74" fmla="*/ 776562 h 2018071"/>
              <a:gd name="csX75" fmla="*/ 2604609 w 3437996"/>
              <a:gd name="csY75" fmla="*/ 775538 h 2018071"/>
              <a:gd name="csX76" fmla="*/ 2596489 w 3437996"/>
              <a:gd name="csY76" fmla="*/ 767032 h 2018071"/>
              <a:gd name="csX77" fmla="*/ 2595095 w 3437996"/>
              <a:gd name="csY77" fmla="*/ 766006 h 2018071"/>
              <a:gd name="csX78" fmla="*/ 2586954 w 3437996"/>
              <a:gd name="csY78" fmla="*/ 757512 h 2018071"/>
              <a:gd name="csX79" fmla="*/ 2585558 w 3437996"/>
              <a:gd name="csY79" fmla="*/ 756496 h 2018071"/>
              <a:gd name="csX80" fmla="*/ 2566459 w 3437996"/>
              <a:gd name="csY80" fmla="*/ 737499 h 2018071"/>
              <a:gd name="csX81" fmla="*/ 2558352 w 3437996"/>
              <a:gd name="csY81" fmla="*/ 728962 h 2018071"/>
              <a:gd name="csX82" fmla="*/ 2547432 w 3437996"/>
              <a:gd name="csY82" fmla="*/ 718414 h 2018071"/>
              <a:gd name="csX83" fmla="*/ 2539350 w 3437996"/>
              <a:gd name="csY83" fmla="*/ 709894 h 2018071"/>
              <a:gd name="csX84" fmla="*/ 2529865 w 3437996"/>
              <a:gd name="csY84" fmla="*/ 700356 h 2018071"/>
              <a:gd name="csX85" fmla="*/ 2528460 w 3437996"/>
              <a:gd name="csY85" fmla="*/ 699259 h 2018071"/>
              <a:gd name="csX86" fmla="*/ 2510900 w 3437996"/>
              <a:gd name="csY86" fmla="*/ 681286 h 2018071"/>
              <a:gd name="csX87" fmla="*/ 2509493 w 3437996"/>
              <a:gd name="csY87" fmla="*/ 680082 h 2018071"/>
              <a:gd name="csX88" fmla="*/ 2501400 w 3437996"/>
              <a:gd name="csY88" fmla="*/ 671754 h 2018071"/>
              <a:gd name="csX89" fmla="*/ 2480984 w 3437996"/>
              <a:gd name="csY89" fmla="*/ 651408 h 2018071"/>
              <a:gd name="csX90" fmla="*/ 2472919 w 3437996"/>
              <a:gd name="csY90" fmla="*/ 643127 h 2018071"/>
              <a:gd name="csX91" fmla="*/ 2471515 w 3437996"/>
              <a:gd name="csY91" fmla="*/ 641819 h 2018071"/>
              <a:gd name="csX92" fmla="*/ 2462020 w 3437996"/>
              <a:gd name="csY92" fmla="*/ 632257 h 2018071"/>
              <a:gd name="csX93" fmla="*/ 2453925 w 3437996"/>
              <a:gd name="csY93" fmla="*/ 624049 h 2018071"/>
              <a:gd name="csX94" fmla="*/ 2452516 w 3437996"/>
              <a:gd name="csY94" fmla="*/ 622702 h 2018071"/>
              <a:gd name="csX95" fmla="*/ 2425486 w 3437996"/>
              <a:gd name="csY95" fmla="*/ 595418 h 2018071"/>
              <a:gd name="csX96" fmla="*/ 2424029 w 3437996"/>
              <a:gd name="csY96" fmla="*/ 593985 h 2018071"/>
              <a:gd name="csX97" fmla="*/ 2406640 w 3437996"/>
              <a:gd name="csY97" fmla="*/ 576281 h 2018071"/>
              <a:gd name="csX98" fmla="*/ 2397176 w 3437996"/>
              <a:gd name="csY98" fmla="*/ 566733 h 2018071"/>
              <a:gd name="csX99" fmla="*/ 2387690 w 3437996"/>
              <a:gd name="csY99" fmla="*/ 557193 h 2018071"/>
              <a:gd name="csX100" fmla="*/ 2378191 w 3437996"/>
              <a:gd name="csY100" fmla="*/ 547659 h 2018071"/>
              <a:gd name="csX101" fmla="*/ 2368704 w 3437996"/>
              <a:gd name="csY101" fmla="*/ 538124 h 2018071"/>
              <a:gd name="csX102" fmla="*/ 2350552 w 3437996"/>
              <a:gd name="csY102" fmla="*/ 519835 h 2018071"/>
              <a:gd name="csX103" fmla="*/ 2348016 w 3437996"/>
              <a:gd name="csY103" fmla="*/ 517342 h 2018071"/>
              <a:gd name="csX104" fmla="*/ 2322020 w 3437996"/>
              <a:gd name="csY104" fmla="*/ 491243 h 2018071"/>
              <a:gd name="csX105" fmla="*/ 2312510 w 3437996"/>
              <a:gd name="csY105" fmla="*/ 481725 h 2018071"/>
              <a:gd name="csX106" fmla="*/ 2309941 w 3437996"/>
              <a:gd name="csY106" fmla="*/ 479158 h 2018071"/>
              <a:gd name="csX107" fmla="*/ 2303024 w 3437996"/>
              <a:gd name="csY107" fmla="*/ 472210 h 2018071"/>
              <a:gd name="csX108" fmla="*/ 2293545 w 3437996"/>
              <a:gd name="csY108" fmla="*/ 462697 h 2018071"/>
              <a:gd name="csX109" fmla="*/ 2284051 w 3437996"/>
              <a:gd name="csY109" fmla="*/ 453172 h 2018071"/>
              <a:gd name="csX110" fmla="*/ 2274560 w 3437996"/>
              <a:gd name="csY110" fmla="*/ 443646 h 2018071"/>
              <a:gd name="csX111" fmla="*/ 2265120 w 3437996"/>
              <a:gd name="csY111" fmla="*/ 434112 h 2018071"/>
              <a:gd name="csX112" fmla="*/ 2262409 w 3437996"/>
              <a:gd name="csY112" fmla="*/ 431189 h 2018071"/>
              <a:gd name="csX113" fmla="*/ 2252962 w 3437996"/>
              <a:gd name="csY113" fmla="*/ 421458 h 2018071"/>
              <a:gd name="csX114" fmla="*/ 2246361 w 3437996"/>
              <a:gd name="csY114" fmla="*/ 414989 h 2018071"/>
              <a:gd name="csX115" fmla="*/ 2226101 w 3437996"/>
              <a:gd name="csY115" fmla="*/ 394472 h 2018071"/>
              <a:gd name="csX116" fmla="*/ 2204126 w 3437996"/>
              <a:gd name="csY116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44017 w 3437996"/>
              <a:gd name="csY67" fmla="*/ 814773 h 2018071"/>
              <a:gd name="csX68" fmla="*/ 2642551 w 3437996"/>
              <a:gd name="csY68" fmla="*/ 813746 h 2018071"/>
              <a:gd name="csX69" fmla="*/ 2634494 w 3437996"/>
              <a:gd name="csY69" fmla="*/ 805208 h 2018071"/>
              <a:gd name="csX70" fmla="*/ 2633053 w 3437996"/>
              <a:gd name="csY70" fmla="*/ 804210 h 2018071"/>
              <a:gd name="csX71" fmla="*/ 2624994 w 3437996"/>
              <a:gd name="csY71" fmla="*/ 795655 h 2018071"/>
              <a:gd name="csX72" fmla="*/ 2623570 w 3437996"/>
              <a:gd name="csY72" fmla="*/ 794675 h 2018071"/>
              <a:gd name="csX73" fmla="*/ 2615495 w 3437996"/>
              <a:gd name="csY73" fmla="*/ 786111 h 2018071"/>
              <a:gd name="csX74" fmla="*/ 2606007 w 3437996"/>
              <a:gd name="csY74" fmla="*/ 776562 h 2018071"/>
              <a:gd name="csX75" fmla="*/ 2604609 w 3437996"/>
              <a:gd name="csY75" fmla="*/ 775538 h 2018071"/>
              <a:gd name="csX76" fmla="*/ 2596489 w 3437996"/>
              <a:gd name="csY76" fmla="*/ 767032 h 2018071"/>
              <a:gd name="csX77" fmla="*/ 2595095 w 3437996"/>
              <a:gd name="csY77" fmla="*/ 766006 h 2018071"/>
              <a:gd name="csX78" fmla="*/ 2586954 w 3437996"/>
              <a:gd name="csY78" fmla="*/ 757512 h 2018071"/>
              <a:gd name="csX79" fmla="*/ 2585558 w 3437996"/>
              <a:gd name="csY79" fmla="*/ 756496 h 2018071"/>
              <a:gd name="csX80" fmla="*/ 2566459 w 3437996"/>
              <a:gd name="csY80" fmla="*/ 737499 h 2018071"/>
              <a:gd name="csX81" fmla="*/ 2558352 w 3437996"/>
              <a:gd name="csY81" fmla="*/ 728962 h 2018071"/>
              <a:gd name="csX82" fmla="*/ 2547432 w 3437996"/>
              <a:gd name="csY82" fmla="*/ 718414 h 2018071"/>
              <a:gd name="csX83" fmla="*/ 2539350 w 3437996"/>
              <a:gd name="csY83" fmla="*/ 709894 h 2018071"/>
              <a:gd name="csX84" fmla="*/ 2529865 w 3437996"/>
              <a:gd name="csY84" fmla="*/ 700356 h 2018071"/>
              <a:gd name="csX85" fmla="*/ 2528460 w 3437996"/>
              <a:gd name="csY85" fmla="*/ 699259 h 2018071"/>
              <a:gd name="csX86" fmla="*/ 2510900 w 3437996"/>
              <a:gd name="csY86" fmla="*/ 681286 h 2018071"/>
              <a:gd name="csX87" fmla="*/ 2509493 w 3437996"/>
              <a:gd name="csY87" fmla="*/ 680082 h 2018071"/>
              <a:gd name="csX88" fmla="*/ 2501400 w 3437996"/>
              <a:gd name="csY88" fmla="*/ 671754 h 2018071"/>
              <a:gd name="csX89" fmla="*/ 2480984 w 3437996"/>
              <a:gd name="csY89" fmla="*/ 651408 h 2018071"/>
              <a:gd name="csX90" fmla="*/ 2472919 w 3437996"/>
              <a:gd name="csY90" fmla="*/ 643127 h 2018071"/>
              <a:gd name="csX91" fmla="*/ 2471515 w 3437996"/>
              <a:gd name="csY91" fmla="*/ 641819 h 2018071"/>
              <a:gd name="csX92" fmla="*/ 2462020 w 3437996"/>
              <a:gd name="csY92" fmla="*/ 632257 h 2018071"/>
              <a:gd name="csX93" fmla="*/ 2453925 w 3437996"/>
              <a:gd name="csY93" fmla="*/ 624049 h 2018071"/>
              <a:gd name="csX94" fmla="*/ 2452516 w 3437996"/>
              <a:gd name="csY94" fmla="*/ 622702 h 2018071"/>
              <a:gd name="csX95" fmla="*/ 2425486 w 3437996"/>
              <a:gd name="csY95" fmla="*/ 595418 h 2018071"/>
              <a:gd name="csX96" fmla="*/ 2424029 w 3437996"/>
              <a:gd name="csY96" fmla="*/ 593985 h 2018071"/>
              <a:gd name="csX97" fmla="*/ 2406640 w 3437996"/>
              <a:gd name="csY97" fmla="*/ 576281 h 2018071"/>
              <a:gd name="csX98" fmla="*/ 2397176 w 3437996"/>
              <a:gd name="csY98" fmla="*/ 566733 h 2018071"/>
              <a:gd name="csX99" fmla="*/ 2387690 w 3437996"/>
              <a:gd name="csY99" fmla="*/ 557193 h 2018071"/>
              <a:gd name="csX100" fmla="*/ 2378191 w 3437996"/>
              <a:gd name="csY100" fmla="*/ 547659 h 2018071"/>
              <a:gd name="csX101" fmla="*/ 2368704 w 3437996"/>
              <a:gd name="csY101" fmla="*/ 538124 h 2018071"/>
              <a:gd name="csX102" fmla="*/ 2350552 w 3437996"/>
              <a:gd name="csY102" fmla="*/ 519835 h 2018071"/>
              <a:gd name="csX103" fmla="*/ 2348016 w 3437996"/>
              <a:gd name="csY103" fmla="*/ 517342 h 2018071"/>
              <a:gd name="csX104" fmla="*/ 2322020 w 3437996"/>
              <a:gd name="csY104" fmla="*/ 491243 h 2018071"/>
              <a:gd name="csX105" fmla="*/ 2312510 w 3437996"/>
              <a:gd name="csY105" fmla="*/ 481725 h 2018071"/>
              <a:gd name="csX106" fmla="*/ 2309941 w 3437996"/>
              <a:gd name="csY106" fmla="*/ 479158 h 2018071"/>
              <a:gd name="csX107" fmla="*/ 2303024 w 3437996"/>
              <a:gd name="csY107" fmla="*/ 472210 h 2018071"/>
              <a:gd name="csX108" fmla="*/ 2293545 w 3437996"/>
              <a:gd name="csY108" fmla="*/ 462697 h 2018071"/>
              <a:gd name="csX109" fmla="*/ 2274560 w 3437996"/>
              <a:gd name="csY109" fmla="*/ 443646 h 2018071"/>
              <a:gd name="csX110" fmla="*/ 2265120 w 3437996"/>
              <a:gd name="csY110" fmla="*/ 434112 h 2018071"/>
              <a:gd name="csX111" fmla="*/ 2262409 w 3437996"/>
              <a:gd name="csY111" fmla="*/ 431189 h 2018071"/>
              <a:gd name="csX112" fmla="*/ 2252962 w 3437996"/>
              <a:gd name="csY112" fmla="*/ 421458 h 2018071"/>
              <a:gd name="csX113" fmla="*/ 2246361 w 3437996"/>
              <a:gd name="csY113" fmla="*/ 414989 h 2018071"/>
              <a:gd name="csX114" fmla="*/ 2226101 w 3437996"/>
              <a:gd name="csY114" fmla="*/ 394472 h 2018071"/>
              <a:gd name="csX115" fmla="*/ 2204126 w 3437996"/>
              <a:gd name="csY115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44017 w 3437996"/>
              <a:gd name="csY67" fmla="*/ 814773 h 2018071"/>
              <a:gd name="csX68" fmla="*/ 2642551 w 3437996"/>
              <a:gd name="csY68" fmla="*/ 813746 h 2018071"/>
              <a:gd name="csX69" fmla="*/ 2634494 w 3437996"/>
              <a:gd name="csY69" fmla="*/ 805208 h 2018071"/>
              <a:gd name="csX70" fmla="*/ 2633053 w 3437996"/>
              <a:gd name="csY70" fmla="*/ 804210 h 2018071"/>
              <a:gd name="csX71" fmla="*/ 2624994 w 3437996"/>
              <a:gd name="csY71" fmla="*/ 795655 h 2018071"/>
              <a:gd name="csX72" fmla="*/ 2623570 w 3437996"/>
              <a:gd name="csY72" fmla="*/ 794675 h 2018071"/>
              <a:gd name="csX73" fmla="*/ 2615495 w 3437996"/>
              <a:gd name="csY73" fmla="*/ 786111 h 2018071"/>
              <a:gd name="csX74" fmla="*/ 2606007 w 3437996"/>
              <a:gd name="csY74" fmla="*/ 776562 h 2018071"/>
              <a:gd name="csX75" fmla="*/ 2604609 w 3437996"/>
              <a:gd name="csY75" fmla="*/ 775538 h 2018071"/>
              <a:gd name="csX76" fmla="*/ 2596489 w 3437996"/>
              <a:gd name="csY76" fmla="*/ 767032 h 2018071"/>
              <a:gd name="csX77" fmla="*/ 2595095 w 3437996"/>
              <a:gd name="csY77" fmla="*/ 766006 h 2018071"/>
              <a:gd name="csX78" fmla="*/ 2586954 w 3437996"/>
              <a:gd name="csY78" fmla="*/ 757512 h 2018071"/>
              <a:gd name="csX79" fmla="*/ 2585558 w 3437996"/>
              <a:gd name="csY79" fmla="*/ 756496 h 2018071"/>
              <a:gd name="csX80" fmla="*/ 2566459 w 3437996"/>
              <a:gd name="csY80" fmla="*/ 737499 h 2018071"/>
              <a:gd name="csX81" fmla="*/ 2558352 w 3437996"/>
              <a:gd name="csY81" fmla="*/ 728962 h 2018071"/>
              <a:gd name="csX82" fmla="*/ 2547432 w 3437996"/>
              <a:gd name="csY82" fmla="*/ 718414 h 2018071"/>
              <a:gd name="csX83" fmla="*/ 2539350 w 3437996"/>
              <a:gd name="csY83" fmla="*/ 709894 h 2018071"/>
              <a:gd name="csX84" fmla="*/ 2529865 w 3437996"/>
              <a:gd name="csY84" fmla="*/ 700356 h 2018071"/>
              <a:gd name="csX85" fmla="*/ 2528460 w 3437996"/>
              <a:gd name="csY85" fmla="*/ 699259 h 2018071"/>
              <a:gd name="csX86" fmla="*/ 2510900 w 3437996"/>
              <a:gd name="csY86" fmla="*/ 681286 h 2018071"/>
              <a:gd name="csX87" fmla="*/ 2509493 w 3437996"/>
              <a:gd name="csY87" fmla="*/ 680082 h 2018071"/>
              <a:gd name="csX88" fmla="*/ 2501400 w 3437996"/>
              <a:gd name="csY88" fmla="*/ 671754 h 2018071"/>
              <a:gd name="csX89" fmla="*/ 2480984 w 3437996"/>
              <a:gd name="csY89" fmla="*/ 651408 h 2018071"/>
              <a:gd name="csX90" fmla="*/ 2472919 w 3437996"/>
              <a:gd name="csY90" fmla="*/ 643127 h 2018071"/>
              <a:gd name="csX91" fmla="*/ 2471515 w 3437996"/>
              <a:gd name="csY91" fmla="*/ 641819 h 2018071"/>
              <a:gd name="csX92" fmla="*/ 2462020 w 3437996"/>
              <a:gd name="csY92" fmla="*/ 632257 h 2018071"/>
              <a:gd name="csX93" fmla="*/ 2453925 w 3437996"/>
              <a:gd name="csY93" fmla="*/ 624049 h 2018071"/>
              <a:gd name="csX94" fmla="*/ 2452516 w 3437996"/>
              <a:gd name="csY94" fmla="*/ 622702 h 2018071"/>
              <a:gd name="csX95" fmla="*/ 2425486 w 3437996"/>
              <a:gd name="csY95" fmla="*/ 595418 h 2018071"/>
              <a:gd name="csX96" fmla="*/ 2424029 w 3437996"/>
              <a:gd name="csY96" fmla="*/ 593985 h 2018071"/>
              <a:gd name="csX97" fmla="*/ 2406640 w 3437996"/>
              <a:gd name="csY97" fmla="*/ 576281 h 2018071"/>
              <a:gd name="csX98" fmla="*/ 2397176 w 3437996"/>
              <a:gd name="csY98" fmla="*/ 566733 h 2018071"/>
              <a:gd name="csX99" fmla="*/ 2387690 w 3437996"/>
              <a:gd name="csY99" fmla="*/ 557193 h 2018071"/>
              <a:gd name="csX100" fmla="*/ 2378191 w 3437996"/>
              <a:gd name="csY100" fmla="*/ 547659 h 2018071"/>
              <a:gd name="csX101" fmla="*/ 2368704 w 3437996"/>
              <a:gd name="csY101" fmla="*/ 538124 h 2018071"/>
              <a:gd name="csX102" fmla="*/ 2350552 w 3437996"/>
              <a:gd name="csY102" fmla="*/ 519835 h 2018071"/>
              <a:gd name="csX103" fmla="*/ 2348016 w 3437996"/>
              <a:gd name="csY103" fmla="*/ 517342 h 2018071"/>
              <a:gd name="csX104" fmla="*/ 2322020 w 3437996"/>
              <a:gd name="csY104" fmla="*/ 491243 h 2018071"/>
              <a:gd name="csX105" fmla="*/ 2312510 w 3437996"/>
              <a:gd name="csY105" fmla="*/ 481725 h 2018071"/>
              <a:gd name="csX106" fmla="*/ 2309941 w 3437996"/>
              <a:gd name="csY106" fmla="*/ 479158 h 2018071"/>
              <a:gd name="csX107" fmla="*/ 2303024 w 3437996"/>
              <a:gd name="csY107" fmla="*/ 472210 h 2018071"/>
              <a:gd name="csX108" fmla="*/ 2293545 w 3437996"/>
              <a:gd name="csY108" fmla="*/ 462697 h 2018071"/>
              <a:gd name="csX109" fmla="*/ 2274560 w 3437996"/>
              <a:gd name="csY109" fmla="*/ 443646 h 2018071"/>
              <a:gd name="csX110" fmla="*/ 2265120 w 3437996"/>
              <a:gd name="csY110" fmla="*/ 434112 h 2018071"/>
              <a:gd name="csX111" fmla="*/ 2252962 w 3437996"/>
              <a:gd name="csY111" fmla="*/ 421458 h 2018071"/>
              <a:gd name="csX112" fmla="*/ 2246361 w 3437996"/>
              <a:gd name="csY112" fmla="*/ 414989 h 2018071"/>
              <a:gd name="csX113" fmla="*/ 2226101 w 3437996"/>
              <a:gd name="csY113" fmla="*/ 394472 h 2018071"/>
              <a:gd name="csX114" fmla="*/ 2204126 w 3437996"/>
              <a:gd name="csY114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44017 w 3437996"/>
              <a:gd name="csY67" fmla="*/ 814773 h 2018071"/>
              <a:gd name="csX68" fmla="*/ 2642551 w 3437996"/>
              <a:gd name="csY68" fmla="*/ 813746 h 2018071"/>
              <a:gd name="csX69" fmla="*/ 2634494 w 3437996"/>
              <a:gd name="csY69" fmla="*/ 805208 h 2018071"/>
              <a:gd name="csX70" fmla="*/ 2633053 w 3437996"/>
              <a:gd name="csY70" fmla="*/ 804210 h 2018071"/>
              <a:gd name="csX71" fmla="*/ 2624994 w 3437996"/>
              <a:gd name="csY71" fmla="*/ 795655 h 2018071"/>
              <a:gd name="csX72" fmla="*/ 2623570 w 3437996"/>
              <a:gd name="csY72" fmla="*/ 794675 h 2018071"/>
              <a:gd name="csX73" fmla="*/ 2615495 w 3437996"/>
              <a:gd name="csY73" fmla="*/ 786111 h 2018071"/>
              <a:gd name="csX74" fmla="*/ 2606007 w 3437996"/>
              <a:gd name="csY74" fmla="*/ 776562 h 2018071"/>
              <a:gd name="csX75" fmla="*/ 2604609 w 3437996"/>
              <a:gd name="csY75" fmla="*/ 775538 h 2018071"/>
              <a:gd name="csX76" fmla="*/ 2596489 w 3437996"/>
              <a:gd name="csY76" fmla="*/ 767032 h 2018071"/>
              <a:gd name="csX77" fmla="*/ 2595095 w 3437996"/>
              <a:gd name="csY77" fmla="*/ 766006 h 2018071"/>
              <a:gd name="csX78" fmla="*/ 2586954 w 3437996"/>
              <a:gd name="csY78" fmla="*/ 757512 h 2018071"/>
              <a:gd name="csX79" fmla="*/ 2585558 w 3437996"/>
              <a:gd name="csY79" fmla="*/ 756496 h 2018071"/>
              <a:gd name="csX80" fmla="*/ 2566459 w 3437996"/>
              <a:gd name="csY80" fmla="*/ 737499 h 2018071"/>
              <a:gd name="csX81" fmla="*/ 2558352 w 3437996"/>
              <a:gd name="csY81" fmla="*/ 728962 h 2018071"/>
              <a:gd name="csX82" fmla="*/ 2547432 w 3437996"/>
              <a:gd name="csY82" fmla="*/ 718414 h 2018071"/>
              <a:gd name="csX83" fmla="*/ 2539350 w 3437996"/>
              <a:gd name="csY83" fmla="*/ 709894 h 2018071"/>
              <a:gd name="csX84" fmla="*/ 2529865 w 3437996"/>
              <a:gd name="csY84" fmla="*/ 700356 h 2018071"/>
              <a:gd name="csX85" fmla="*/ 2528460 w 3437996"/>
              <a:gd name="csY85" fmla="*/ 699259 h 2018071"/>
              <a:gd name="csX86" fmla="*/ 2510900 w 3437996"/>
              <a:gd name="csY86" fmla="*/ 681286 h 2018071"/>
              <a:gd name="csX87" fmla="*/ 2509493 w 3437996"/>
              <a:gd name="csY87" fmla="*/ 680082 h 2018071"/>
              <a:gd name="csX88" fmla="*/ 2501400 w 3437996"/>
              <a:gd name="csY88" fmla="*/ 671754 h 2018071"/>
              <a:gd name="csX89" fmla="*/ 2480984 w 3437996"/>
              <a:gd name="csY89" fmla="*/ 651408 h 2018071"/>
              <a:gd name="csX90" fmla="*/ 2472919 w 3437996"/>
              <a:gd name="csY90" fmla="*/ 643127 h 2018071"/>
              <a:gd name="csX91" fmla="*/ 2471515 w 3437996"/>
              <a:gd name="csY91" fmla="*/ 641819 h 2018071"/>
              <a:gd name="csX92" fmla="*/ 2462020 w 3437996"/>
              <a:gd name="csY92" fmla="*/ 632257 h 2018071"/>
              <a:gd name="csX93" fmla="*/ 2453925 w 3437996"/>
              <a:gd name="csY93" fmla="*/ 624049 h 2018071"/>
              <a:gd name="csX94" fmla="*/ 2452516 w 3437996"/>
              <a:gd name="csY94" fmla="*/ 622702 h 2018071"/>
              <a:gd name="csX95" fmla="*/ 2425486 w 3437996"/>
              <a:gd name="csY95" fmla="*/ 595418 h 2018071"/>
              <a:gd name="csX96" fmla="*/ 2424029 w 3437996"/>
              <a:gd name="csY96" fmla="*/ 593985 h 2018071"/>
              <a:gd name="csX97" fmla="*/ 2406640 w 3437996"/>
              <a:gd name="csY97" fmla="*/ 576281 h 2018071"/>
              <a:gd name="csX98" fmla="*/ 2397176 w 3437996"/>
              <a:gd name="csY98" fmla="*/ 566733 h 2018071"/>
              <a:gd name="csX99" fmla="*/ 2387690 w 3437996"/>
              <a:gd name="csY99" fmla="*/ 557193 h 2018071"/>
              <a:gd name="csX100" fmla="*/ 2378191 w 3437996"/>
              <a:gd name="csY100" fmla="*/ 547659 h 2018071"/>
              <a:gd name="csX101" fmla="*/ 2368704 w 3437996"/>
              <a:gd name="csY101" fmla="*/ 538124 h 2018071"/>
              <a:gd name="csX102" fmla="*/ 2350552 w 3437996"/>
              <a:gd name="csY102" fmla="*/ 519835 h 2018071"/>
              <a:gd name="csX103" fmla="*/ 2348016 w 3437996"/>
              <a:gd name="csY103" fmla="*/ 517342 h 2018071"/>
              <a:gd name="csX104" fmla="*/ 2322020 w 3437996"/>
              <a:gd name="csY104" fmla="*/ 491243 h 2018071"/>
              <a:gd name="csX105" fmla="*/ 2312510 w 3437996"/>
              <a:gd name="csY105" fmla="*/ 481725 h 2018071"/>
              <a:gd name="csX106" fmla="*/ 2309941 w 3437996"/>
              <a:gd name="csY106" fmla="*/ 479158 h 2018071"/>
              <a:gd name="csX107" fmla="*/ 2293545 w 3437996"/>
              <a:gd name="csY107" fmla="*/ 462697 h 2018071"/>
              <a:gd name="csX108" fmla="*/ 2274560 w 3437996"/>
              <a:gd name="csY108" fmla="*/ 443646 h 2018071"/>
              <a:gd name="csX109" fmla="*/ 2265120 w 3437996"/>
              <a:gd name="csY109" fmla="*/ 434112 h 2018071"/>
              <a:gd name="csX110" fmla="*/ 2252962 w 3437996"/>
              <a:gd name="csY110" fmla="*/ 421458 h 2018071"/>
              <a:gd name="csX111" fmla="*/ 2246361 w 3437996"/>
              <a:gd name="csY111" fmla="*/ 414989 h 2018071"/>
              <a:gd name="csX112" fmla="*/ 2226101 w 3437996"/>
              <a:gd name="csY112" fmla="*/ 394472 h 2018071"/>
              <a:gd name="csX113" fmla="*/ 2204126 w 3437996"/>
              <a:gd name="csY113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44017 w 3437996"/>
              <a:gd name="csY67" fmla="*/ 814773 h 2018071"/>
              <a:gd name="csX68" fmla="*/ 2642551 w 3437996"/>
              <a:gd name="csY68" fmla="*/ 813746 h 2018071"/>
              <a:gd name="csX69" fmla="*/ 2634494 w 3437996"/>
              <a:gd name="csY69" fmla="*/ 805208 h 2018071"/>
              <a:gd name="csX70" fmla="*/ 2633053 w 3437996"/>
              <a:gd name="csY70" fmla="*/ 804210 h 2018071"/>
              <a:gd name="csX71" fmla="*/ 2624994 w 3437996"/>
              <a:gd name="csY71" fmla="*/ 795655 h 2018071"/>
              <a:gd name="csX72" fmla="*/ 2623570 w 3437996"/>
              <a:gd name="csY72" fmla="*/ 794675 h 2018071"/>
              <a:gd name="csX73" fmla="*/ 2615495 w 3437996"/>
              <a:gd name="csY73" fmla="*/ 786111 h 2018071"/>
              <a:gd name="csX74" fmla="*/ 2606007 w 3437996"/>
              <a:gd name="csY74" fmla="*/ 776562 h 2018071"/>
              <a:gd name="csX75" fmla="*/ 2604609 w 3437996"/>
              <a:gd name="csY75" fmla="*/ 775538 h 2018071"/>
              <a:gd name="csX76" fmla="*/ 2596489 w 3437996"/>
              <a:gd name="csY76" fmla="*/ 767032 h 2018071"/>
              <a:gd name="csX77" fmla="*/ 2595095 w 3437996"/>
              <a:gd name="csY77" fmla="*/ 766006 h 2018071"/>
              <a:gd name="csX78" fmla="*/ 2586954 w 3437996"/>
              <a:gd name="csY78" fmla="*/ 757512 h 2018071"/>
              <a:gd name="csX79" fmla="*/ 2585558 w 3437996"/>
              <a:gd name="csY79" fmla="*/ 756496 h 2018071"/>
              <a:gd name="csX80" fmla="*/ 2566459 w 3437996"/>
              <a:gd name="csY80" fmla="*/ 737499 h 2018071"/>
              <a:gd name="csX81" fmla="*/ 2558352 w 3437996"/>
              <a:gd name="csY81" fmla="*/ 728962 h 2018071"/>
              <a:gd name="csX82" fmla="*/ 2547432 w 3437996"/>
              <a:gd name="csY82" fmla="*/ 718414 h 2018071"/>
              <a:gd name="csX83" fmla="*/ 2539350 w 3437996"/>
              <a:gd name="csY83" fmla="*/ 709894 h 2018071"/>
              <a:gd name="csX84" fmla="*/ 2529865 w 3437996"/>
              <a:gd name="csY84" fmla="*/ 700356 h 2018071"/>
              <a:gd name="csX85" fmla="*/ 2528460 w 3437996"/>
              <a:gd name="csY85" fmla="*/ 699259 h 2018071"/>
              <a:gd name="csX86" fmla="*/ 2510900 w 3437996"/>
              <a:gd name="csY86" fmla="*/ 681286 h 2018071"/>
              <a:gd name="csX87" fmla="*/ 2509493 w 3437996"/>
              <a:gd name="csY87" fmla="*/ 680082 h 2018071"/>
              <a:gd name="csX88" fmla="*/ 2501400 w 3437996"/>
              <a:gd name="csY88" fmla="*/ 671754 h 2018071"/>
              <a:gd name="csX89" fmla="*/ 2480984 w 3437996"/>
              <a:gd name="csY89" fmla="*/ 651408 h 2018071"/>
              <a:gd name="csX90" fmla="*/ 2472919 w 3437996"/>
              <a:gd name="csY90" fmla="*/ 643127 h 2018071"/>
              <a:gd name="csX91" fmla="*/ 2471515 w 3437996"/>
              <a:gd name="csY91" fmla="*/ 641819 h 2018071"/>
              <a:gd name="csX92" fmla="*/ 2462020 w 3437996"/>
              <a:gd name="csY92" fmla="*/ 632257 h 2018071"/>
              <a:gd name="csX93" fmla="*/ 2453925 w 3437996"/>
              <a:gd name="csY93" fmla="*/ 624049 h 2018071"/>
              <a:gd name="csX94" fmla="*/ 2452516 w 3437996"/>
              <a:gd name="csY94" fmla="*/ 622702 h 2018071"/>
              <a:gd name="csX95" fmla="*/ 2425486 w 3437996"/>
              <a:gd name="csY95" fmla="*/ 595418 h 2018071"/>
              <a:gd name="csX96" fmla="*/ 2424029 w 3437996"/>
              <a:gd name="csY96" fmla="*/ 593985 h 2018071"/>
              <a:gd name="csX97" fmla="*/ 2406640 w 3437996"/>
              <a:gd name="csY97" fmla="*/ 576281 h 2018071"/>
              <a:gd name="csX98" fmla="*/ 2397176 w 3437996"/>
              <a:gd name="csY98" fmla="*/ 566733 h 2018071"/>
              <a:gd name="csX99" fmla="*/ 2387690 w 3437996"/>
              <a:gd name="csY99" fmla="*/ 557193 h 2018071"/>
              <a:gd name="csX100" fmla="*/ 2378191 w 3437996"/>
              <a:gd name="csY100" fmla="*/ 547659 h 2018071"/>
              <a:gd name="csX101" fmla="*/ 2368704 w 3437996"/>
              <a:gd name="csY101" fmla="*/ 538124 h 2018071"/>
              <a:gd name="csX102" fmla="*/ 2350552 w 3437996"/>
              <a:gd name="csY102" fmla="*/ 519835 h 2018071"/>
              <a:gd name="csX103" fmla="*/ 2348016 w 3437996"/>
              <a:gd name="csY103" fmla="*/ 517342 h 2018071"/>
              <a:gd name="csX104" fmla="*/ 2322020 w 3437996"/>
              <a:gd name="csY104" fmla="*/ 491243 h 2018071"/>
              <a:gd name="csX105" fmla="*/ 2312510 w 3437996"/>
              <a:gd name="csY105" fmla="*/ 481725 h 2018071"/>
              <a:gd name="csX106" fmla="*/ 2293545 w 3437996"/>
              <a:gd name="csY106" fmla="*/ 462697 h 2018071"/>
              <a:gd name="csX107" fmla="*/ 2274560 w 3437996"/>
              <a:gd name="csY107" fmla="*/ 443646 h 2018071"/>
              <a:gd name="csX108" fmla="*/ 2265120 w 3437996"/>
              <a:gd name="csY108" fmla="*/ 434112 h 2018071"/>
              <a:gd name="csX109" fmla="*/ 2252962 w 3437996"/>
              <a:gd name="csY109" fmla="*/ 421458 h 2018071"/>
              <a:gd name="csX110" fmla="*/ 2246361 w 3437996"/>
              <a:gd name="csY110" fmla="*/ 414989 h 2018071"/>
              <a:gd name="csX111" fmla="*/ 2226101 w 3437996"/>
              <a:gd name="csY111" fmla="*/ 394472 h 2018071"/>
              <a:gd name="csX112" fmla="*/ 2204126 w 3437996"/>
              <a:gd name="csY112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44017 w 3437996"/>
              <a:gd name="csY67" fmla="*/ 814773 h 2018071"/>
              <a:gd name="csX68" fmla="*/ 2642551 w 3437996"/>
              <a:gd name="csY68" fmla="*/ 813746 h 2018071"/>
              <a:gd name="csX69" fmla="*/ 2634494 w 3437996"/>
              <a:gd name="csY69" fmla="*/ 805208 h 2018071"/>
              <a:gd name="csX70" fmla="*/ 2633053 w 3437996"/>
              <a:gd name="csY70" fmla="*/ 804210 h 2018071"/>
              <a:gd name="csX71" fmla="*/ 2624994 w 3437996"/>
              <a:gd name="csY71" fmla="*/ 795655 h 2018071"/>
              <a:gd name="csX72" fmla="*/ 2623570 w 3437996"/>
              <a:gd name="csY72" fmla="*/ 794675 h 2018071"/>
              <a:gd name="csX73" fmla="*/ 2615495 w 3437996"/>
              <a:gd name="csY73" fmla="*/ 786111 h 2018071"/>
              <a:gd name="csX74" fmla="*/ 2606007 w 3437996"/>
              <a:gd name="csY74" fmla="*/ 776562 h 2018071"/>
              <a:gd name="csX75" fmla="*/ 2604609 w 3437996"/>
              <a:gd name="csY75" fmla="*/ 775538 h 2018071"/>
              <a:gd name="csX76" fmla="*/ 2596489 w 3437996"/>
              <a:gd name="csY76" fmla="*/ 767032 h 2018071"/>
              <a:gd name="csX77" fmla="*/ 2595095 w 3437996"/>
              <a:gd name="csY77" fmla="*/ 766006 h 2018071"/>
              <a:gd name="csX78" fmla="*/ 2586954 w 3437996"/>
              <a:gd name="csY78" fmla="*/ 757512 h 2018071"/>
              <a:gd name="csX79" fmla="*/ 2585558 w 3437996"/>
              <a:gd name="csY79" fmla="*/ 756496 h 2018071"/>
              <a:gd name="csX80" fmla="*/ 2566459 w 3437996"/>
              <a:gd name="csY80" fmla="*/ 737499 h 2018071"/>
              <a:gd name="csX81" fmla="*/ 2558352 w 3437996"/>
              <a:gd name="csY81" fmla="*/ 728962 h 2018071"/>
              <a:gd name="csX82" fmla="*/ 2547432 w 3437996"/>
              <a:gd name="csY82" fmla="*/ 718414 h 2018071"/>
              <a:gd name="csX83" fmla="*/ 2539350 w 3437996"/>
              <a:gd name="csY83" fmla="*/ 709894 h 2018071"/>
              <a:gd name="csX84" fmla="*/ 2529865 w 3437996"/>
              <a:gd name="csY84" fmla="*/ 700356 h 2018071"/>
              <a:gd name="csX85" fmla="*/ 2528460 w 3437996"/>
              <a:gd name="csY85" fmla="*/ 699259 h 2018071"/>
              <a:gd name="csX86" fmla="*/ 2510900 w 3437996"/>
              <a:gd name="csY86" fmla="*/ 681286 h 2018071"/>
              <a:gd name="csX87" fmla="*/ 2509493 w 3437996"/>
              <a:gd name="csY87" fmla="*/ 680082 h 2018071"/>
              <a:gd name="csX88" fmla="*/ 2501400 w 3437996"/>
              <a:gd name="csY88" fmla="*/ 671754 h 2018071"/>
              <a:gd name="csX89" fmla="*/ 2480984 w 3437996"/>
              <a:gd name="csY89" fmla="*/ 651408 h 2018071"/>
              <a:gd name="csX90" fmla="*/ 2472919 w 3437996"/>
              <a:gd name="csY90" fmla="*/ 643127 h 2018071"/>
              <a:gd name="csX91" fmla="*/ 2471515 w 3437996"/>
              <a:gd name="csY91" fmla="*/ 641819 h 2018071"/>
              <a:gd name="csX92" fmla="*/ 2462020 w 3437996"/>
              <a:gd name="csY92" fmla="*/ 632257 h 2018071"/>
              <a:gd name="csX93" fmla="*/ 2453925 w 3437996"/>
              <a:gd name="csY93" fmla="*/ 624049 h 2018071"/>
              <a:gd name="csX94" fmla="*/ 2452516 w 3437996"/>
              <a:gd name="csY94" fmla="*/ 622702 h 2018071"/>
              <a:gd name="csX95" fmla="*/ 2425486 w 3437996"/>
              <a:gd name="csY95" fmla="*/ 595418 h 2018071"/>
              <a:gd name="csX96" fmla="*/ 2424029 w 3437996"/>
              <a:gd name="csY96" fmla="*/ 593985 h 2018071"/>
              <a:gd name="csX97" fmla="*/ 2406640 w 3437996"/>
              <a:gd name="csY97" fmla="*/ 576281 h 2018071"/>
              <a:gd name="csX98" fmla="*/ 2397176 w 3437996"/>
              <a:gd name="csY98" fmla="*/ 566733 h 2018071"/>
              <a:gd name="csX99" fmla="*/ 2387690 w 3437996"/>
              <a:gd name="csY99" fmla="*/ 557193 h 2018071"/>
              <a:gd name="csX100" fmla="*/ 2378191 w 3437996"/>
              <a:gd name="csY100" fmla="*/ 547659 h 2018071"/>
              <a:gd name="csX101" fmla="*/ 2368704 w 3437996"/>
              <a:gd name="csY101" fmla="*/ 538124 h 2018071"/>
              <a:gd name="csX102" fmla="*/ 2350552 w 3437996"/>
              <a:gd name="csY102" fmla="*/ 519835 h 2018071"/>
              <a:gd name="csX103" fmla="*/ 2348016 w 3437996"/>
              <a:gd name="csY103" fmla="*/ 517342 h 2018071"/>
              <a:gd name="csX104" fmla="*/ 2322020 w 3437996"/>
              <a:gd name="csY104" fmla="*/ 491243 h 2018071"/>
              <a:gd name="csX105" fmla="*/ 2312510 w 3437996"/>
              <a:gd name="csY105" fmla="*/ 481725 h 2018071"/>
              <a:gd name="csX106" fmla="*/ 2274560 w 3437996"/>
              <a:gd name="csY106" fmla="*/ 443646 h 2018071"/>
              <a:gd name="csX107" fmla="*/ 2265120 w 3437996"/>
              <a:gd name="csY107" fmla="*/ 434112 h 2018071"/>
              <a:gd name="csX108" fmla="*/ 2252962 w 3437996"/>
              <a:gd name="csY108" fmla="*/ 421458 h 2018071"/>
              <a:gd name="csX109" fmla="*/ 2246361 w 3437996"/>
              <a:gd name="csY109" fmla="*/ 414989 h 2018071"/>
              <a:gd name="csX110" fmla="*/ 2226101 w 3437996"/>
              <a:gd name="csY110" fmla="*/ 394472 h 2018071"/>
              <a:gd name="csX111" fmla="*/ 2204126 w 3437996"/>
              <a:gd name="csY111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44017 w 3437996"/>
              <a:gd name="csY67" fmla="*/ 814773 h 2018071"/>
              <a:gd name="csX68" fmla="*/ 2642551 w 3437996"/>
              <a:gd name="csY68" fmla="*/ 813746 h 2018071"/>
              <a:gd name="csX69" fmla="*/ 2634494 w 3437996"/>
              <a:gd name="csY69" fmla="*/ 805208 h 2018071"/>
              <a:gd name="csX70" fmla="*/ 2633053 w 3437996"/>
              <a:gd name="csY70" fmla="*/ 804210 h 2018071"/>
              <a:gd name="csX71" fmla="*/ 2624994 w 3437996"/>
              <a:gd name="csY71" fmla="*/ 795655 h 2018071"/>
              <a:gd name="csX72" fmla="*/ 2623570 w 3437996"/>
              <a:gd name="csY72" fmla="*/ 794675 h 2018071"/>
              <a:gd name="csX73" fmla="*/ 2615495 w 3437996"/>
              <a:gd name="csY73" fmla="*/ 786111 h 2018071"/>
              <a:gd name="csX74" fmla="*/ 2606007 w 3437996"/>
              <a:gd name="csY74" fmla="*/ 776562 h 2018071"/>
              <a:gd name="csX75" fmla="*/ 2604609 w 3437996"/>
              <a:gd name="csY75" fmla="*/ 775538 h 2018071"/>
              <a:gd name="csX76" fmla="*/ 2596489 w 3437996"/>
              <a:gd name="csY76" fmla="*/ 767032 h 2018071"/>
              <a:gd name="csX77" fmla="*/ 2595095 w 3437996"/>
              <a:gd name="csY77" fmla="*/ 766006 h 2018071"/>
              <a:gd name="csX78" fmla="*/ 2586954 w 3437996"/>
              <a:gd name="csY78" fmla="*/ 757512 h 2018071"/>
              <a:gd name="csX79" fmla="*/ 2585558 w 3437996"/>
              <a:gd name="csY79" fmla="*/ 756496 h 2018071"/>
              <a:gd name="csX80" fmla="*/ 2566459 w 3437996"/>
              <a:gd name="csY80" fmla="*/ 737499 h 2018071"/>
              <a:gd name="csX81" fmla="*/ 2558352 w 3437996"/>
              <a:gd name="csY81" fmla="*/ 728962 h 2018071"/>
              <a:gd name="csX82" fmla="*/ 2547432 w 3437996"/>
              <a:gd name="csY82" fmla="*/ 718414 h 2018071"/>
              <a:gd name="csX83" fmla="*/ 2539350 w 3437996"/>
              <a:gd name="csY83" fmla="*/ 709894 h 2018071"/>
              <a:gd name="csX84" fmla="*/ 2529865 w 3437996"/>
              <a:gd name="csY84" fmla="*/ 700356 h 2018071"/>
              <a:gd name="csX85" fmla="*/ 2528460 w 3437996"/>
              <a:gd name="csY85" fmla="*/ 699259 h 2018071"/>
              <a:gd name="csX86" fmla="*/ 2510900 w 3437996"/>
              <a:gd name="csY86" fmla="*/ 681286 h 2018071"/>
              <a:gd name="csX87" fmla="*/ 2509493 w 3437996"/>
              <a:gd name="csY87" fmla="*/ 680082 h 2018071"/>
              <a:gd name="csX88" fmla="*/ 2501400 w 3437996"/>
              <a:gd name="csY88" fmla="*/ 671754 h 2018071"/>
              <a:gd name="csX89" fmla="*/ 2480984 w 3437996"/>
              <a:gd name="csY89" fmla="*/ 651408 h 2018071"/>
              <a:gd name="csX90" fmla="*/ 2472919 w 3437996"/>
              <a:gd name="csY90" fmla="*/ 643127 h 2018071"/>
              <a:gd name="csX91" fmla="*/ 2471515 w 3437996"/>
              <a:gd name="csY91" fmla="*/ 641819 h 2018071"/>
              <a:gd name="csX92" fmla="*/ 2462020 w 3437996"/>
              <a:gd name="csY92" fmla="*/ 632257 h 2018071"/>
              <a:gd name="csX93" fmla="*/ 2453925 w 3437996"/>
              <a:gd name="csY93" fmla="*/ 624049 h 2018071"/>
              <a:gd name="csX94" fmla="*/ 2452516 w 3437996"/>
              <a:gd name="csY94" fmla="*/ 622702 h 2018071"/>
              <a:gd name="csX95" fmla="*/ 2425486 w 3437996"/>
              <a:gd name="csY95" fmla="*/ 595418 h 2018071"/>
              <a:gd name="csX96" fmla="*/ 2424029 w 3437996"/>
              <a:gd name="csY96" fmla="*/ 593985 h 2018071"/>
              <a:gd name="csX97" fmla="*/ 2406640 w 3437996"/>
              <a:gd name="csY97" fmla="*/ 576281 h 2018071"/>
              <a:gd name="csX98" fmla="*/ 2397176 w 3437996"/>
              <a:gd name="csY98" fmla="*/ 566733 h 2018071"/>
              <a:gd name="csX99" fmla="*/ 2387690 w 3437996"/>
              <a:gd name="csY99" fmla="*/ 557193 h 2018071"/>
              <a:gd name="csX100" fmla="*/ 2378191 w 3437996"/>
              <a:gd name="csY100" fmla="*/ 547659 h 2018071"/>
              <a:gd name="csX101" fmla="*/ 2368704 w 3437996"/>
              <a:gd name="csY101" fmla="*/ 538124 h 2018071"/>
              <a:gd name="csX102" fmla="*/ 2350552 w 3437996"/>
              <a:gd name="csY102" fmla="*/ 519835 h 2018071"/>
              <a:gd name="csX103" fmla="*/ 2322020 w 3437996"/>
              <a:gd name="csY103" fmla="*/ 491243 h 2018071"/>
              <a:gd name="csX104" fmla="*/ 2312510 w 3437996"/>
              <a:gd name="csY104" fmla="*/ 481725 h 2018071"/>
              <a:gd name="csX105" fmla="*/ 2274560 w 3437996"/>
              <a:gd name="csY105" fmla="*/ 443646 h 2018071"/>
              <a:gd name="csX106" fmla="*/ 2265120 w 3437996"/>
              <a:gd name="csY106" fmla="*/ 434112 h 2018071"/>
              <a:gd name="csX107" fmla="*/ 2252962 w 3437996"/>
              <a:gd name="csY107" fmla="*/ 421458 h 2018071"/>
              <a:gd name="csX108" fmla="*/ 2246361 w 3437996"/>
              <a:gd name="csY108" fmla="*/ 414989 h 2018071"/>
              <a:gd name="csX109" fmla="*/ 2226101 w 3437996"/>
              <a:gd name="csY109" fmla="*/ 394472 h 2018071"/>
              <a:gd name="csX110" fmla="*/ 2204126 w 3437996"/>
              <a:gd name="csY110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44017 w 3437996"/>
              <a:gd name="csY67" fmla="*/ 814773 h 2018071"/>
              <a:gd name="csX68" fmla="*/ 2642551 w 3437996"/>
              <a:gd name="csY68" fmla="*/ 813746 h 2018071"/>
              <a:gd name="csX69" fmla="*/ 2634494 w 3437996"/>
              <a:gd name="csY69" fmla="*/ 805208 h 2018071"/>
              <a:gd name="csX70" fmla="*/ 2633053 w 3437996"/>
              <a:gd name="csY70" fmla="*/ 804210 h 2018071"/>
              <a:gd name="csX71" fmla="*/ 2624994 w 3437996"/>
              <a:gd name="csY71" fmla="*/ 795655 h 2018071"/>
              <a:gd name="csX72" fmla="*/ 2623570 w 3437996"/>
              <a:gd name="csY72" fmla="*/ 794675 h 2018071"/>
              <a:gd name="csX73" fmla="*/ 2615495 w 3437996"/>
              <a:gd name="csY73" fmla="*/ 786111 h 2018071"/>
              <a:gd name="csX74" fmla="*/ 2606007 w 3437996"/>
              <a:gd name="csY74" fmla="*/ 776562 h 2018071"/>
              <a:gd name="csX75" fmla="*/ 2604609 w 3437996"/>
              <a:gd name="csY75" fmla="*/ 775538 h 2018071"/>
              <a:gd name="csX76" fmla="*/ 2596489 w 3437996"/>
              <a:gd name="csY76" fmla="*/ 767032 h 2018071"/>
              <a:gd name="csX77" fmla="*/ 2595095 w 3437996"/>
              <a:gd name="csY77" fmla="*/ 766006 h 2018071"/>
              <a:gd name="csX78" fmla="*/ 2586954 w 3437996"/>
              <a:gd name="csY78" fmla="*/ 757512 h 2018071"/>
              <a:gd name="csX79" fmla="*/ 2585558 w 3437996"/>
              <a:gd name="csY79" fmla="*/ 756496 h 2018071"/>
              <a:gd name="csX80" fmla="*/ 2566459 w 3437996"/>
              <a:gd name="csY80" fmla="*/ 737499 h 2018071"/>
              <a:gd name="csX81" fmla="*/ 2558352 w 3437996"/>
              <a:gd name="csY81" fmla="*/ 728962 h 2018071"/>
              <a:gd name="csX82" fmla="*/ 2547432 w 3437996"/>
              <a:gd name="csY82" fmla="*/ 718414 h 2018071"/>
              <a:gd name="csX83" fmla="*/ 2539350 w 3437996"/>
              <a:gd name="csY83" fmla="*/ 709894 h 2018071"/>
              <a:gd name="csX84" fmla="*/ 2529865 w 3437996"/>
              <a:gd name="csY84" fmla="*/ 700356 h 2018071"/>
              <a:gd name="csX85" fmla="*/ 2528460 w 3437996"/>
              <a:gd name="csY85" fmla="*/ 699259 h 2018071"/>
              <a:gd name="csX86" fmla="*/ 2510900 w 3437996"/>
              <a:gd name="csY86" fmla="*/ 681286 h 2018071"/>
              <a:gd name="csX87" fmla="*/ 2509493 w 3437996"/>
              <a:gd name="csY87" fmla="*/ 680082 h 2018071"/>
              <a:gd name="csX88" fmla="*/ 2501400 w 3437996"/>
              <a:gd name="csY88" fmla="*/ 671754 h 2018071"/>
              <a:gd name="csX89" fmla="*/ 2480984 w 3437996"/>
              <a:gd name="csY89" fmla="*/ 651408 h 2018071"/>
              <a:gd name="csX90" fmla="*/ 2472919 w 3437996"/>
              <a:gd name="csY90" fmla="*/ 643127 h 2018071"/>
              <a:gd name="csX91" fmla="*/ 2471515 w 3437996"/>
              <a:gd name="csY91" fmla="*/ 641819 h 2018071"/>
              <a:gd name="csX92" fmla="*/ 2462020 w 3437996"/>
              <a:gd name="csY92" fmla="*/ 632257 h 2018071"/>
              <a:gd name="csX93" fmla="*/ 2453925 w 3437996"/>
              <a:gd name="csY93" fmla="*/ 624049 h 2018071"/>
              <a:gd name="csX94" fmla="*/ 2452516 w 3437996"/>
              <a:gd name="csY94" fmla="*/ 622702 h 2018071"/>
              <a:gd name="csX95" fmla="*/ 2425486 w 3437996"/>
              <a:gd name="csY95" fmla="*/ 595418 h 2018071"/>
              <a:gd name="csX96" fmla="*/ 2424029 w 3437996"/>
              <a:gd name="csY96" fmla="*/ 593985 h 2018071"/>
              <a:gd name="csX97" fmla="*/ 2406640 w 3437996"/>
              <a:gd name="csY97" fmla="*/ 576281 h 2018071"/>
              <a:gd name="csX98" fmla="*/ 2397176 w 3437996"/>
              <a:gd name="csY98" fmla="*/ 566733 h 2018071"/>
              <a:gd name="csX99" fmla="*/ 2387690 w 3437996"/>
              <a:gd name="csY99" fmla="*/ 557193 h 2018071"/>
              <a:gd name="csX100" fmla="*/ 2368704 w 3437996"/>
              <a:gd name="csY100" fmla="*/ 538124 h 2018071"/>
              <a:gd name="csX101" fmla="*/ 2350552 w 3437996"/>
              <a:gd name="csY101" fmla="*/ 519835 h 2018071"/>
              <a:gd name="csX102" fmla="*/ 2322020 w 3437996"/>
              <a:gd name="csY102" fmla="*/ 491243 h 2018071"/>
              <a:gd name="csX103" fmla="*/ 2312510 w 3437996"/>
              <a:gd name="csY103" fmla="*/ 481725 h 2018071"/>
              <a:gd name="csX104" fmla="*/ 2274560 w 3437996"/>
              <a:gd name="csY104" fmla="*/ 443646 h 2018071"/>
              <a:gd name="csX105" fmla="*/ 2265120 w 3437996"/>
              <a:gd name="csY105" fmla="*/ 434112 h 2018071"/>
              <a:gd name="csX106" fmla="*/ 2252962 w 3437996"/>
              <a:gd name="csY106" fmla="*/ 421458 h 2018071"/>
              <a:gd name="csX107" fmla="*/ 2246361 w 3437996"/>
              <a:gd name="csY107" fmla="*/ 414989 h 2018071"/>
              <a:gd name="csX108" fmla="*/ 2226101 w 3437996"/>
              <a:gd name="csY108" fmla="*/ 394472 h 2018071"/>
              <a:gd name="csX109" fmla="*/ 2204126 w 3437996"/>
              <a:gd name="csY109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44017 w 3437996"/>
              <a:gd name="csY67" fmla="*/ 814773 h 2018071"/>
              <a:gd name="csX68" fmla="*/ 2642551 w 3437996"/>
              <a:gd name="csY68" fmla="*/ 813746 h 2018071"/>
              <a:gd name="csX69" fmla="*/ 2634494 w 3437996"/>
              <a:gd name="csY69" fmla="*/ 805208 h 2018071"/>
              <a:gd name="csX70" fmla="*/ 2633053 w 3437996"/>
              <a:gd name="csY70" fmla="*/ 804210 h 2018071"/>
              <a:gd name="csX71" fmla="*/ 2624994 w 3437996"/>
              <a:gd name="csY71" fmla="*/ 795655 h 2018071"/>
              <a:gd name="csX72" fmla="*/ 2623570 w 3437996"/>
              <a:gd name="csY72" fmla="*/ 794675 h 2018071"/>
              <a:gd name="csX73" fmla="*/ 2615495 w 3437996"/>
              <a:gd name="csY73" fmla="*/ 786111 h 2018071"/>
              <a:gd name="csX74" fmla="*/ 2606007 w 3437996"/>
              <a:gd name="csY74" fmla="*/ 776562 h 2018071"/>
              <a:gd name="csX75" fmla="*/ 2604609 w 3437996"/>
              <a:gd name="csY75" fmla="*/ 775538 h 2018071"/>
              <a:gd name="csX76" fmla="*/ 2596489 w 3437996"/>
              <a:gd name="csY76" fmla="*/ 767032 h 2018071"/>
              <a:gd name="csX77" fmla="*/ 2595095 w 3437996"/>
              <a:gd name="csY77" fmla="*/ 766006 h 2018071"/>
              <a:gd name="csX78" fmla="*/ 2586954 w 3437996"/>
              <a:gd name="csY78" fmla="*/ 757512 h 2018071"/>
              <a:gd name="csX79" fmla="*/ 2585558 w 3437996"/>
              <a:gd name="csY79" fmla="*/ 756496 h 2018071"/>
              <a:gd name="csX80" fmla="*/ 2566459 w 3437996"/>
              <a:gd name="csY80" fmla="*/ 737499 h 2018071"/>
              <a:gd name="csX81" fmla="*/ 2558352 w 3437996"/>
              <a:gd name="csY81" fmla="*/ 728962 h 2018071"/>
              <a:gd name="csX82" fmla="*/ 2547432 w 3437996"/>
              <a:gd name="csY82" fmla="*/ 718414 h 2018071"/>
              <a:gd name="csX83" fmla="*/ 2539350 w 3437996"/>
              <a:gd name="csY83" fmla="*/ 709894 h 2018071"/>
              <a:gd name="csX84" fmla="*/ 2529865 w 3437996"/>
              <a:gd name="csY84" fmla="*/ 700356 h 2018071"/>
              <a:gd name="csX85" fmla="*/ 2528460 w 3437996"/>
              <a:gd name="csY85" fmla="*/ 699259 h 2018071"/>
              <a:gd name="csX86" fmla="*/ 2510900 w 3437996"/>
              <a:gd name="csY86" fmla="*/ 681286 h 2018071"/>
              <a:gd name="csX87" fmla="*/ 2509493 w 3437996"/>
              <a:gd name="csY87" fmla="*/ 680082 h 2018071"/>
              <a:gd name="csX88" fmla="*/ 2501400 w 3437996"/>
              <a:gd name="csY88" fmla="*/ 671754 h 2018071"/>
              <a:gd name="csX89" fmla="*/ 2480984 w 3437996"/>
              <a:gd name="csY89" fmla="*/ 651408 h 2018071"/>
              <a:gd name="csX90" fmla="*/ 2472919 w 3437996"/>
              <a:gd name="csY90" fmla="*/ 643127 h 2018071"/>
              <a:gd name="csX91" fmla="*/ 2471515 w 3437996"/>
              <a:gd name="csY91" fmla="*/ 641819 h 2018071"/>
              <a:gd name="csX92" fmla="*/ 2462020 w 3437996"/>
              <a:gd name="csY92" fmla="*/ 632257 h 2018071"/>
              <a:gd name="csX93" fmla="*/ 2453925 w 3437996"/>
              <a:gd name="csY93" fmla="*/ 624049 h 2018071"/>
              <a:gd name="csX94" fmla="*/ 2452516 w 3437996"/>
              <a:gd name="csY94" fmla="*/ 622702 h 2018071"/>
              <a:gd name="csX95" fmla="*/ 2425486 w 3437996"/>
              <a:gd name="csY95" fmla="*/ 595418 h 2018071"/>
              <a:gd name="csX96" fmla="*/ 2424029 w 3437996"/>
              <a:gd name="csY96" fmla="*/ 593985 h 2018071"/>
              <a:gd name="csX97" fmla="*/ 2406640 w 3437996"/>
              <a:gd name="csY97" fmla="*/ 576281 h 2018071"/>
              <a:gd name="csX98" fmla="*/ 2397176 w 3437996"/>
              <a:gd name="csY98" fmla="*/ 566733 h 2018071"/>
              <a:gd name="csX99" fmla="*/ 2368704 w 3437996"/>
              <a:gd name="csY99" fmla="*/ 538124 h 2018071"/>
              <a:gd name="csX100" fmla="*/ 2350552 w 3437996"/>
              <a:gd name="csY100" fmla="*/ 519835 h 2018071"/>
              <a:gd name="csX101" fmla="*/ 2322020 w 3437996"/>
              <a:gd name="csY101" fmla="*/ 491243 h 2018071"/>
              <a:gd name="csX102" fmla="*/ 2312510 w 3437996"/>
              <a:gd name="csY102" fmla="*/ 481725 h 2018071"/>
              <a:gd name="csX103" fmla="*/ 2274560 w 3437996"/>
              <a:gd name="csY103" fmla="*/ 443646 h 2018071"/>
              <a:gd name="csX104" fmla="*/ 2265120 w 3437996"/>
              <a:gd name="csY104" fmla="*/ 434112 h 2018071"/>
              <a:gd name="csX105" fmla="*/ 2252962 w 3437996"/>
              <a:gd name="csY105" fmla="*/ 421458 h 2018071"/>
              <a:gd name="csX106" fmla="*/ 2246361 w 3437996"/>
              <a:gd name="csY106" fmla="*/ 414989 h 2018071"/>
              <a:gd name="csX107" fmla="*/ 2226101 w 3437996"/>
              <a:gd name="csY107" fmla="*/ 394472 h 2018071"/>
              <a:gd name="csX108" fmla="*/ 2204126 w 3437996"/>
              <a:gd name="csY108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44017 w 3437996"/>
              <a:gd name="csY67" fmla="*/ 814773 h 2018071"/>
              <a:gd name="csX68" fmla="*/ 2642551 w 3437996"/>
              <a:gd name="csY68" fmla="*/ 813746 h 2018071"/>
              <a:gd name="csX69" fmla="*/ 2634494 w 3437996"/>
              <a:gd name="csY69" fmla="*/ 805208 h 2018071"/>
              <a:gd name="csX70" fmla="*/ 2633053 w 3437996"/>
              <a:gd name="csY70" fmla="*/ 804210 h 2018071"/>
              <a:gd name="csX71" fmla="*/ 2624994 w 3437996"/>
              <a:gd name="csY71" fmla="*/ 795655 h 2018071"/>
              <a:gd name="csX72" fmla="*/ 2623570 w 3437996"/>
              <a:gd name="csY72" fmla="*/ 794675 h 2018071"/>
              <a:gd name="csX73" fmla="*/ 2615495 w 3437996"/>
              <a:gd name="csY73" fmla="*/ 786111 h 2018071"/>
              <a:gd name="csX74" fmla="*/ 2606007 w 3437996"/>
              <a:gd name="csY74" fmla="*/ 776562 h 2018071"/>
              <a:gd name="csX75" fmla="*/ 2604609 w 3437996"/>
              <a:gd name="csY75" fmla="*/ 775538 h 2018071"/>
              <a:gd name="csX76" fmla="*/ 2596489 w 3437996"/>
              <a:gd name="csY76" fmla="*/ 767032 h 2018071"/>
              <a:gd name="csX77" fmla="*/ 2595095 w 3437996"/>
              <a:gd name="csY77" fmla="*/ 766006 h 2018071"/>
              <a:gd name="csX78" fmla="*/ 2586954 w 3437996"/>
              <a:gd name="csY78" fmla="*/ 757512 h 2018071"/>
              <a:gd name="csX79" fmla="*/ 2585558 w 3437996"/>
              <a:gd name="csY79" fmla="*/ 756496 h 2018071"/>
              <a:gd name="csX80" fmla="*/ 2566459 w 3437996"/>
              <a:gd name="csY80" fmla="*/ 737499 h 2018071"/>
              <a:gd name="csX81" fmla="*/ 2558352 w 3437996"/>
              <a:gd name="csY81" fmla="*/ 728962 h 2018071"/>
              <a:gd name="csX82" fmla="*/ 2547432 w 3437996"/>
              <a:gd name="csY82" fmla="*/ 718414 h 2018071"/>
              <a:gd name="csX83" fmla="*/ 2539350 w 3437996"/>
              <a:gd name="csY83" fmla="*/ 709894 h 2018071"/>
              <a:gd name="csX84" fmla="*/ 2529865 w 3437996"/>
              <a:gd name="csY84" fmla="*/ 700356 h 2018071"/>
              <a:gd name="csX85" fmla="*/ 2528460 w 3437996"/>
              <a:gd name="csY85" fmla="*/ 699259 h 2018071"/>
              <a:gd name="csX86" fmla="*/ 2510900 w 3437996"/>
              <a:gd name="csY86" fmla="*/ 681286 h 2018071"/>
              <a:gd name="csX87" fmla="*/ 2509493 w 3437996"/>
              <a:gd name="csY87" fmla="*/ 680082 h 2018071"/>
              <a:gd name="csX88" fmla="*/ 2501400 w 3437996"/>
              <a:gd name="csY88" fmla="*/ 671754 h 2018071"/>
              <a:gd name="csX89" fmla="*/ 2480984 w 3437996"/>
              <a:gd name="csY89" fmla="*/ 651408 h 2018071"/>
              <a:gd name="csX90" fmla="*/ 2472919 w 3437996"/>
              <a:gd name="csY90" fmla="*/ 643127 h 2018071"/>
              <a:gd name="csX91" fmla="*/ 2471515 w 3437996"/>
              <a:gd name="csY91" fmla="*/ 641819 h 2018071"/>
              <a:gd name="csX92" fmla="*/ 2462020 w 3437996"/>
              <a:gd name="csY92" fmla="*/ 632257 h 2018071"/>
              <a:gd name="csX93" fmla="*/ 2453925 w 3437996"/>
              <a:gd name="csY93" fmla="*/ 624049 h 2018071"/>
              <a:gd name="csX94" fmla="*/ 2452516 w 3437996"/>
              <a:gd name="csY94" fmla="*/ 622702 h 2018071"/>
              <a:gd name="csX95" fmla="*/ 2425486 w 3437996"/>
              <a:gd name="csY95" fmla="*/ 595418 h 2018071"/>
              <a:gd name="csX96" fmla="*/ 2424029 w 3437996"/>
              <a:gd name="csY96" fmla="*/ 593985 h 2018071"/>
              <a:gd name="csX97" fmla="*/ 2406640 w 3437996"/>
              <a:gd name="csY97" fmla="*/ 576281 h 2018071"/>
              <a:gd name="csX98" fmla="*/ 2368704 w 3437996"/>
              <a:gd name="csY98" fmla="*/ 538124 h 2018071"/>
              <a:gd name="csX99" fmla="*/ 2350552 w 3437996"/>
              <a:gd name="csY99" fmla="*/ 519835 h 2018071"/>
              <a:gd name="csX100" fmla="*/ 2322020 w 3437996"/>
              <a:gd name="csY100" fmla="*/ 491243 h 2018071"/>
              <a:gd name="csX101" fmla="*/ 2312510 w 3437996"/>
              <a:gd name="csY101" fmla="*/ 481725 h 2018071"/>
              <a:gd name="csX102" fmla="*/ 2274560 w 3437996"/>
              <a:gd name="csY102" fmla="*/ 443646 h 2018071"/>
              <a:gd name="csX103" fmla="*/ 2265120 w 3437996"/>
              <a:gd name="csY103" fmla="*/ 434112 h 2018071"/>
              <a:gd name="csX104" fmla="*/ 2252962 w 3437996"/>
              <a:gd name="csY104" fmla="*/ 421458 h 2018071"/>
              <a:gd name="csX105" fmla="*/ 2246361 w 3437996"/>
              <a:gd name="csY105" fmla="*/ 414989 h 2018071"/>
              <a:gd name="csX106" fmla="*/ 2226101 w 3437996"/>
              <a:gd name="csY106" fmla="*/ 394472 h 2018071"/>
              <a:gd name="csX107" fmla="*/ 2204126 w 3437996"/>
              <a:gd name="csY107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44017 w 3437996"/>
              <a:gd name="csY67" fmla="*/ 814773 h 2018071"/>
              <a:gd name="csX68" fmla="*/ 2642551 w 3437996"/>
              <a:gd name="csY68" fmla="*/ 813746 h 2018071"/>
              <a:gd name="csX69" fmla="*/ 2634494 w 3437996"/>
              <a:gd name="csY69" fmla="*/ 805208 h 2018071"/>
              <a:gd name="csX70" fmla="*/ 2633053 w 3437996"/>
              <a:gd name="csY70" fmla="*/ 804210 h 2018071"/>
              <a:gd name="csX71" fmla="*/ 2624994 w 3437996"/>
              <a:gd name="csY71" fmla="*/ 795655 h 2018071"/>
              <a:gd name="csX72" fmla="*/ 2623570 w 3437996"/>
              <a:gd name="csY72" fmla="*/ 794675 h 2018071"/>
              <a:gd name="csX73" fmla="*/ 2615495 w 3437996"/>
              <a:gd name="csY73" fmla="*/ 786111 h 2018071"/>
              <a:gd name="csX74" fmla="*/ 2606007 w 3437996"/>
              <a:gd name="csY74" fmla="*/ 776562 h 2018071"/>
              <a:gd name="csX75" fmla="*/ 2604609 w 3437996"/>
              <a:gd name="csY75" fmla="*/ 775538 h 2018071"/>
              <a:gd name="csX76" fmla="*/ 2596489 w 3437996"/>
              <a:gd name="csY76" fmla="*/ 767032 h 2018071"/>
              <a:gd name="csX77" fmla="*/ 2595095 w 3437996"/>
              <a:gd name="csY77" fmla="*/ 766006 h 2018071"/>
              <a:gd name="csX78" fmla="*/ 2586954 w 3437996"/>
              <a:gd name="csY78" fmla="*/ 757512 h 2018071"/>
              <a:gd name="csX79" fmla="*/ 2585558 w 3437996"/>
              <a:gd name="csY79" fmla="*/ 756496 h 2018071"/>
              <a:gd name="csX80" fmla="*/ 2566459 w 3437996"/>
              <a:gd name="csY80" fmla="*/ 737499 h 2018071"/>
              <a:gd name="csX81" fmla="*/ 2558352 w 3437996"/>
              <a:gd name="csY81" fmla="*/ 728962 h 2018071"/>
              <a:gd name="csX82" fmla="*/ 2547432 w 3437996"/>
              <a:gd name="csY82" fmla="*/ 718414 h 2018071"/>
              <a:gd name="csX83" fmla="*/ 2539350 w 3437996"/>
              <a:gd name="csY83" fmla="*/ 709894 h 2018071"/>
              <a:gd name="csX84" fmla="*/ 2529865 w 3437996"/>
              <a:gd name="csY84" fmla="*/ 700356 h 2018071"/>
              <a:gd name="csX85" fmla="*/ 2528460 w 3437996"/>
              <a:gd name="csY85" fmla="*/ 699259 h 2018071"/>
              <a:gd name="csX86" fmla="*/ 2510900 w 3437996"/>
              <a:gd name="csY86" fmla="*/ 681286 h 2018071"/>
              <a:gd name="csX87" fmla="*/ 2509493 w 3437996"/>
              <a:gd name="csY87" fmla="*/ 680082 h 2018071"/>
              <a:gd name="csX88" fmla="*/ 2501400 w 3437996"/>
              <a:gd name="csY88" fmla="*/ 671754 h 2018071"/>
              <a:gd name="csX89" fmla="*/ 2480984 w 3437996"/>
              <a:gd name="csY89" fmla="*/ 651408 h 2018071"/>
              <a:gd name="csX90" fmla="*/ 2472919 w 3437996"/>
              <a:gd name="csY90" fmla="*/ 643127 h 2018071"/>
              <a:gd name="csX91" fmla="*/ 2471515 w 3437996"/>
              <a:gd name="csY91" fmla="*/ 641819 h 2018071"/>
              <a:gd name="csX92" fmla="*/ 2453925 w 3437996"/>
              <a:gd name="csY92" fmla="*/ 624049 h 2018071"/>
              <a:gd name="csX93" fmla="*/ 2452516 w 3437996"/>
              <a:gd name="csY93" fmla="*/ 622702 h 2018071"/>
              <a:gd name="csX94" fmla="*/ 2425486 w 3437996"/>
              <a:gd name="csY94" fmla="*/ 595418 h 2018071"/>
              <a:gd name="csX95" fmla="*/ 2424029 w 3437996"/>
              <a:gd name="csY95" fmla="*/ 593985 h 2018071"/>
              <a:gd name="csX96" fmla="*/ 2406640 w 3437996"/>
              <a:gd name="csY96" fmla="*/ 576281 h 2018071"/>
              <a:gd name="csX97" fmla="*/ 2368704 w 3437996"/>
              <a:gd name="csY97" fmla="*/ 538124 h 2018071"/>
              <a:gd name="csX98" fmla="*/ 2350552 w 3437996"/>
              <a:gd name="csY98" fmla="*/ 519835 h 2018071"/>
              <a:gd name="csX99" fmla="*/ 2322020 w 3437996"/>
              <a:gd name="csY99" fmla="*/ 491243 h 2018071"/>
              <a:gd name="csX100" fmla="*/ 2312510 w 3437996"/>
              <a:gd name="csY100" fmla="*/ 481725 h 2018071"/>
              <a:gd name="csX101" fmla="*/ 2274560 w 3437996"/>
              <a:gd name="csY101" fmla="*/ 443646 h 2018071"/>
              <a:gd name="csX102" fmla="*/ 2265120 w 3437996"/>
              <a:gd name="csY102" fmla="*/ 434112 h 2018071"/>
              <a:gd name="csX103" fmla="*/ 2252962 w 3437996"/>
              <a:gd name="csY103" fmla="*/ 421458 h 2018071"/>
              <a:gd name="csX104" fmla="*/ 2246361 w 3437996"/>
              <a:gd name="csY104" fmla="*/ 414989 h 2018071"/>
              <a:gd name="csX105" fmla="*/ 2226101 w 3437996"/>
              <a:gd name="csY105" fmla="*/ 394472 h 2018071"/>
              <a:gd name="csX106" fmla="*/ 2204126 w 3437996"/>
              <a:gd name="csY106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44017 w 3437996"/>
              <a:gd name="csY67" fmla="*/ 814773 h 2018071"/>
              <a:gd name="csX68" fmla="*/ 2642551 w 3437996"/>
              <a:gd name="csY68" fmla="*/ 813746 h 2018071"/>
              <a:gd name="csX69" fmla="*/ 2634494 w 3437996"/>
              <a:gd name="csY69" fmla="*/ 805208 h 2018071"/>
              <a:gd name="csX70" fmla="*/ 2633053 w 3437996"/>
              <a:gd name="csY70" fmla="*/ 804210 h 2018071"/>
              <a:gd name="csX71" fmla="*/ 2624994 w 3437996"/>
              <a:gd name="csY71" fmla="*/ 795655 h 2018071"/>
              <a:gd name="csX72" fmla="*/ 2623570 w 3437996"/>
              <a:gd name="csY72" fmla="*/ 794675 h 2018071"/>
              <a:gd name="csX73" fmla="*/ 2615495 w 3437996"/>
              <a:gd name="csY73" fmla="*/ 786111 h 2018071"/>
              <a:gd name="csX74" fmla="*/ 2606007 w 3437996"/>
              <a:gd name="csY74" fmla="*/ 776562 h 2018071"/>
              <a:gd name="csX75" fmla="*/ 2604609 w 3437996"/>
              <a:gd name="csY75" fmla="*/ 775538 h 2018071"/>
              <a:gd name="csX76" fmla="*/ 2596489 w 3437996"/>
              <a:gd name="csY76" fmla="*/ 767032 h 2018071"/>
              <a:gd name="csX77" fmla="*/ 2595095 w 3437996"/>
              <a:gd name="csY77" fmla="*/ 766006 h 2018071"/>
              <a:gd name="csX78" fmla="*/ 2586954 w 3437996"/>
              <a:gd name="csY78" fmla="*/ 757512 h 2018071"/>
              <a:gd name="csX79" fmla="*/ 2585558 w 3437996"/>
              <a:gd name="csY79" fmla="*/ 756496 h 2018071"/>
              <a:gd name="csX80" fmla="*/ 2566459 w 3437996"/>
              <a:gd name="csY80" fmla="*/ 737499 h 2018071"/>
              <a:gd name="csX81" fmla="*/ 2558352 w 3437996"/>
              <a:gd name="csY81" fmla="*/ 728962 h 2018071"/>
              <a:gd name="csX82" fmla="*/ 2547432 w 3437996"/>
              <a:gd name="csY82" fmla="*/ 718414 h 2018071"/>
              <a:gd name="csX83" fmla="*/ 2539350 w 3437996"/>
              <a:gd name="csY83" fmla="*/ 709894 h 2018071"/>
              <a:gd name="csX84" fmla="*/ 2529865 w 3437996"/>
              <a:gd name="csY84" fmla="*/ 700356 h 2018071"/>
              <a:gd name="csX85" fmla="*/ 2528460 w 3437996"/>
              <a:gd name="csY85" fmla="*/ 699259 h 2018071"/>
              <a:gd name="csX86" fmla="*/ 2510900 w 3437996"/>
              <a:gd name="csY86" fmla="*/ 681286 h 2018071"/>
              <a:gd name="csX87" fmla="*/ 2509493 w 3437996"/>
              <a:gd name="csY87" fmla="*/ 680082 h 2018071"/>
              <a:gd name="csX88" fmla="*/ 2501400 w 3437996"/>
              <a:gd name="csY88" fmla="*/ 671754 h 2018071"/>
              <a:gd name="csX89" fmla="*/ 2480984 w 3437996"/>
              <a:gd name="csY89" fmla="*/ 651408 h 2018071"/>
              <a:gd name="csX90" fmla="*/ 2472919 w 3437996"/>
              <a:gd name="csY90" fmla="*/ 643127 h 2018071"/>
              <a:gd name="csX91" fmla="*/ 2453925 w 3437996"/>
              <a:gd name="csY91" fmla="*/ 624049 h 2018071"/>
              <a:gd name="csX92" fmla="*/ 2452516 w 3437996"/>
              <a:gd name="csY92" fmla="*/ 622702 h 2018071"/>
              <a:gd name="csX93" fmla="*/ 2425486 w 3437996"/>
              <a:gd name="csY93" fmla="*/ 595418 h 2018071"/>
              <a:gd name="csX94" fmla="*/ 2424029 w 3437996"/>
              <a:gd name="csY94" fmla="*/ 593985 h 2018071"/>
              <a:gd name="csX95" fmla="*/ 2406640 w 3437996"/>
              <a:gd name="csY95" fmla="*/ 576281 h 2018071"/>
              <a:gd name="csX96" fmla="*/ 2368704 w 3437996"/>
              <a:gd name="csY96" fmla="*/ 538124 h 2018071"/>
              <a:gd name="csX97" fmla="*/ 2350552 w 3437996"/>
              <a:gd name="csY97" fmla="*/ 519835 h 2018071"/>
              <a:gd name="csX98" fmla="*/ 2322020 w 3437996"/>
              <a:gd name="csY98" fmla="*/ 491243 h 2018071"/>
              <a:gd name="csX99" fmla="*/ 2312510 w 3437996"/>
              <a:gd name="csY99" fmla="*/ 481725 h 2018071"/>
              <a:gd name="csX100" fmla="*/ 2274560 w 3437996"/>
              <a:gd name="csY100" fmla="*/ 443646 h 2018071"/>
              <a:gd name="csX101" fmla="*/ 2265120 w 3437996"/>
              <a:gd name="csY101" fmla="*/ 434112 h 2018071"/>
              <a:gd name="csX102" fmla="*/ 2252962 w 3437996"/>
              <a:gd name="csY102" fmla="*/ 421458 h 2018071"/>
              <a:gd name="csX103" fmla="*/ 2246361 w 3437996"/>
              <a:gd name="csY103" fmla="*/ 414989 h 2018071"/>
              <a:gd name="csX104" fmla="*/ 2226101 w 3437996"/>
              <a:gd name="csY104" fmla="*/ 394472 h 2018071"/>
              <a:gd name="csX105" fmla="*/ 2204126 w 3437996"/>
              <a:gd name="csY105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44017 w 3437996"/>
              <a:gd name="csY67" fmla="*/ 814773 h 2018071"/>
              <a:gd name="csX68" fmla="*/ 2642551 w 3437996"/>
              <a:gd name="csY68" fmla="*/ 813746 h 2018071"/>
              <a:gd name="csX69" fmla="*/ 2634494 w 3437996"/>
              <a:gd name="csY69" fmla="*/ 805208 h 2018071"/>
              <a:gd name="csX70" fmla="*/ 2633053 w 3437996"/>
              <a:gd name="csY70" fmla="*/ 804210 h 2018071"/>
              <a:gd name="csX71" fmla="*/ 2624994 w 3437996"/>
              <a:gd name="csY71" fmla="*/ 795655 h 2018071"/>
              <a:gd name="csX72" fmla="*/ 2623570 w 3437996"/>
              <a:gd name="csY72" fmla="*/ 794675 h 2018071"/>
              <a:gd name="csX73" fmla="*/ 2615495 w 3437996"/>
              <a:gd name="csY73" fmla="*/ 786111 h 2018071"/>
              <a:gd name="csX74" fmla="*/ 2606007 w 3437996"/>
              <a:gd name="csY74" fmla="*/ 776562 h 2018071"/>
              <a:gd name="csX75" fmla="*/ 2604609 w 3437996"/>
              <a:gd name="csY75" fmla="*/ 775538 h 2018071"/>
              <a:gd name="csX76" fmla="*/ 2596489 w 3437996"/>
              <a:gd name="csY76" fmla="*/ 767032 h 2018071"/>
              <a:gd name="csX77" fmla="*/ 2595095 w 3437996"/>
              <a:gd name="csY77" fmla="*/ 766006 h 2018071"/>
              <a:gd name="csX78" fmla="*/ 2586954 w 3437996"/>
              <a:gd name="csY78" fmla="*/ 757512 h 2018071"/>
              <a:gd name="csX79" fmla="*/ 2585558 w 3437996"/>
              <a:gd name="csY79" fmla="*/ 756496 h 2018071"/>
              <a:gd name="csX80" fmla="*/ 2566459 w 3437996"/>
              <a:gd name="csY80" fmla="*/ 737499 h 2018071"/>
              <a:gd name="csX81" fmla="*/ 2558352 w 3437996"/>
              <a:gd name="csY81" fmla="*/ 728962 h 2018071"/>
              <a:gd name="csX82" fmla="*/ 2547432 w 3437996"/>
              <a:gd name="csY82" fmla="*/ 718414 h 2018071"/>
              <a:gd name="csX83" fmla="*/ 2539350 w 3437996"/>
              <a:gd name="csY83" fmla="*/ 709894 h 2018071"/>
              <a:gd name="csX84" fmla="*/ 2529865 w 3437996"/>
              <a:gd name="csY84" fmla="*/ 700356 h 2018071"/>
              <a:gd name="csX85" fmla="*/ 2510900 w 3437996"/>
              <a:gd name="csY85" fmla="*/ 681286 h 2018071"/>
              <a:gd name="csX86" fmla="*/ 2509493 w 3437996"/>
              <a:gd name="csY86" fmla="*/ 680082 h 2018071"/>
              <a:gd name="csX87" fmla="*/ 2501400 w 3437996"/>
              <a:gd name="csY87" fmla="*/ 671754 h 2018071"/>
              <a:gd name="csX88" fmla="*/ 2480984 w 3437996"/>
              <a:gd name="csY88" fmla="*/ 651408 h 2018071"/>
              <a:gd name="csX89" fmla="*/ 2472919 w 3437996"/>
              <a:gd name="csY89" fmla="*/ 643127 h 2018071"/>
              <a:gd name="csX90" fmla="*/ 2453925 w 3437996"/>
              <a:gd name="csY90" fmla="*/ 624049 h 2018071"/>
              <a:gd name="csX91" fmla="*/ 2452516 w 3437996"/>
              <a:gd name="csY91" fmla="*/ 622702 h 2018071"/>
              <a:gd name="csX92" fmla="*/ 2425486 w 3437996"/>
              <a:gd name="csY92" fmla="*/ 595418 h 2018071"/>
              <a:gd name="csX93" fmla="*/ 2424029 w 3437996"/>
              <a:gd name="csY93" fmla="*/ 593985 h 2018071"/>
              <a:gd name="csX94" fmla="*/ 2406640 w 3437996"/>
              <a:gd name="csY94" fmla="*/ 576281 h 2018071"/>
              <a:gd name="csX95" fmla="*/ 2368704 w 3437996"/>
              <a:gd name="csY95" fmla="*/ 538124 h 2018071"/>
              <a:gd name="csX96" fmla="*/ 2350552 w 3437996"/>
              <a:gd name="csY96" fmla="*/ 519835 h 2018071"/>
              <a:gd name="csX97" fmla="*/ 2322020 w 3437996"/>
              <a:gd name="csY97" fmla="*/ 491243 h 2018071"/>
              <a:gd name="csX98" fmla="*/ 2312510 w 3437996"/>
              <a:gd name="csY98" fmla="*/ 481725 h 2018071"/>
              <a:gd name="csX99" fmla="*/ 2274560 w 3437996"/>
              <a:gd name="csY99" fmla="*/ 443646 h 2018071"/>
              <a:gd name="csX100" fmla="*/ 2265120 w 3437996"/>
              <a:gd name="csY100" fmla="*/ 434112 h 2018071"/>
              <a:gd name="csX101" fmla="*/ 2252962 w 3437996"/>
              <a:gd name="csY101" fmla="*/ 421458 h 2018071"/>
              <a:gd name="csX102" fmla="*/ 2246361 w 3437996"/>
              <a:gd name="csY102" fmla="*/ 414989 h 2018071"/>
              <a:gd name="csX103" fmla="*/ 2226101 w 3437996"/>
              <a:gd name="csY103" fmla="*/ 394472 h 2018071"/>
              <a:gd name="csX104" fmla="*/ 2204126 w 3437996"/>
              <a:gd name="csY104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44017 w 3437996"/>
              <a:gd name="csY67" fmla="*/ 814773 h 2018071"/>
              <a:gd name="csX68" fmla="*/ 2642551 w 3437996"/>
              <a:gd name="csY68" fmla="*/ 813746 h 2018071"/>
              <a:gd name="csX69" fmla="*/ 2634494 w 3437996"/>
              <a:gd name="csY69" fmla="*/ 805208 h 2018071"/>
              <a:gd name="csX70" fmla="*/ 2633053 w 3437996"/>
              <a:gd name="csY70" fmla="*/ 804210 h 2018071"/>
              <a:gd name="csX71" fmla="*/ 2624994 w 3437996"/>
              <a:gd name="csY71" fmla="*/ 795655 h 2018071"/>
              <a:gd name="csX72" fmla="*/ 2623570 w 3437996"/>
              <a:gd name="csY72" fmla="*/ 794675 h 2018071"/>
              <a:gd name="csX73" fmla="*/ 2615495 w 3437996"/>
              <a:gd name="csY73" fmla="*/ 786111 h 2018071"/>
              <a:gd name="csX74" fmla="*/ 2606007 w 3437996"/>
              <a:gd name="csY74" fmla="*/ 776562 h 2018071"/>
              <a:gd name="csX75" fmla="*/ 2604609 w 3437996"/>
              <a:gd name="csY75" fmla="*/ 775538 h 2018071"/>
              <a:gd name="csX76" fmla="*/ 2596489 w 3437996"/>
              <a:gd name="csY76" fmla="*/ 767032 h 2018071"/>
              <a:gd name="csX77" fmla="*/ 2595095 w 3437996"/>
              <a:gd name="csY77" fmla="*/ 766006 h 2018071"/>
              <a:gd name="csX78" fmla="*/ 2586954 w 3437996"/>
              <a:gd name="csY78" fmla="*/ 757512 h 2018071"/>
              <a:gd name="csX79" fmla="*/ 2585558 w 3437996"/>
              <a:gd name="csY79" fmla="*/ 756496 h 2018071"/>
              <a:gd name="csX80" fmla="*/ 2566459 w 3437996"/>
              <a:gd name="csY80" fmla="*/ 737499 h 2018071"/>
              <a:gd name="csX81" fmla="*/ 2558352 w 3437996"/>
              <a:gd name="csY81" fmla="*/ 728962 h 2018071"/>
              <a:gd name="csX82" fmla="*/ 2547432 w 3437996"/>
              <a:gd name="csY82" fmla="*/ 718414 h 2018071"/>
              <a:gd name="csX83" fmla="*/ 2539350 w 3437996"/>
              <a:gd name="csY83" fmla="*/ 709894 h 2018071"/>
              <a:gd name="csX84" fmla="*/ 2529865 w 3437996"/>
              <a:gd name="csY84" fmla="*/ 700356 h 2018071"/>
              <a:gd name="csX85" fmla="*/ 2510900 w 3437996"/>
              <a:gd name="csY85" fmla="*/ 681286 h 2018071"/>
              <a:gd name="csX86" fmla="*/ 2509493 w 3437996"/>
              <a:gd name="csY86" fmla="*/ 680082 h 2018071"/>
              <a:gd name="csX87" fmla="*/ 2480984 w 3437996"/>
              <a:gd name="csY87" fmla="*/ 651408 h 2018071"/>
              <a:gd name="csX88" fmla="*/ 2472919 w 3437996"/>
              <a:gd name="csY88" fmla="*/ 643127 h 2018071"/>
              <a:gd name="csX89" fmla="*/ 2453925 w 3437996"/>
              <a:gd name="csY89" fmla="*/ 624049 h 2018071"/>
              <a:gd name="csX90" fmla="*/ 2452516 w 3437996"/>
              <a:gd name="csY90" fmla="*/ 622702 h 2018071"/>
              <a:gd name="csX91" fmla="*/ 2425486 w 3437996"/>
              <a:gd name="csY91" fmla="*/ 595418 h 2018071"/>
              <a:gd name="csX92" fmla="*/ 2424029 w 3437996"/>
              <a:gd name="csY92" fmla="*/ 593985 h 2018071"/>
              <a:gd name="csX93" fmla="*/ 2406640 w 3437996"/>
              <a:gd name="csY93" fmla="*/ 576281 h 2018071"/>
              <a:gd name="csX94" fmla="*/ 2368704 w 3437996"/>
              <a:gd name="csY94" fmla="*/ 538124 h 2018071"/>
              <a:gd name="csX95" fmla="*/ 2350552 w 3437996"/>
              <a:gd name="csY95" fmla="*/ 519835 h 2018071"/>
              <a:gd name="csX96" fmla="*/ 2322020 w 3437996"/>
              <a:gd name="csY96" fmla="*/ 491243 h 2018071"/>
              <a:gd name="csX97" fmla="*/ 2312510 w 3437996"/>
              <a:gd name="csY97" fmla="*/ 481725 h 2018071"/>
              <a:gd name="csX98" fmla="*/ 2274560 w 3437996"/>
              <a:gd name="csY98" fmla="*/ 443646 h 2018071"/>
              <a:gd name="csX99" fmla="*/ 2265120 w 3437996"/>
              <a:gd name="csY99" fmla="*/ 434112 h 2018071"/>
              <a:gd name="csX100" fmla="*/ 2252962 w 3437996"/>
              <a:gd name="csY100" fmla="*/ 421458 h 2018071"/>
              <a:gd name="csX101" fmla="*/ 2246361 w 3437996"/>
              <a:gd name="csY101" fmla="*/ 414989 h 2018071"/>
              <a:gd name="csX102" fmla="*/ 2226101 w 3437996"/>
              <a:gd name="csY102" fmla="*/ 394472 h 2018071"/>
              <a:gd name="csX103" fmla="*/ 2204126 w 3437996"/>
              <a:gd name="csY103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44017 w 3437996"/>
              <a:gd name="csY67" fmla="*/ 814773 h 2018071"/>
              <a:gd name="csX68" fmla="*/ 2642551 w 3437996"/>
              <a:gd name="csY68" fmla="*/ 813746 h 2018071"/>
              <a:gd name="csX69" fmla="*/ 2634494 w 3437996"/>
              <a:gd name="csY69" fmla="*/ 805208 h 2018071"/>
              <a:gd name="csX70" fmla="*/ 2633053 w 3437996"/>
              <a:gd name="csY70" fmla="*/ 804210 h 2018071"/>
              <a:gd name="csX71" fmla="*/ 2624994 w 3437996"/>
              <a:gd name="csY71" fmla="*/ 795655 h 2018071"/>
              <a:gd name="csX72" fmla="*/ 2623570 w 3437996"/>
              <a:gd name="csY72" fmla="*/ 794675 h 2018071"/>
              <a:gd name="csX73" fmla="*/ 2615495 w 3437996"/>
              <a:gd name="csY73" fmla="*/ 786111 h 2018071"/>
              <a:gd name="csX74" fmla="*/ 2606007 w 3437996"/>
              <a:gd name="csY74" fmla="*/ 776562 h 2018071"/>
              <a:gd name="csX75" fmla="*/ 2604609 w 3437996"/>
              <a:gd name="csY75" fmla="*/ 775538 h 2018071"/>
              <a:gd name="csX76" fmla="*/ 2596489 w 3437996"/>
              <a:gd name="csY76" fmla="*/ 767032 h 2018071"/>
              <a:gd name="csX77" fmla="*/ 2595095 w 3437996"/>
              <a:gd name="csY77" fmla="*/ 766006 h 2018071"/>
              <a:gd name="csX78" fmla="*/ 2586954 w 3437996"/>
              <a:gd name="csY78" fmla="*/ 757512 h 2018071"/>
              <a:gd name="csX79" fmla="*/ 2585558 w 3437996"/>
              <a:gd name="csY79" fmla="*/ 756496 h 2018071"/>
              <a:gd name="csX80" fmla="*/ 2566459 w 3437996"/>
              <a:gd name="csY80" fmla="*/ 737499 h 2018071"/>
              <a:gd name="csX81" fmla="*/ 2558352 w 3437996"/>
              <a:gd name="csY81" fmla="*/ 728962 h 2018071"/>
              <a:gd name="csX82" fmla="*/ 2547432 w 3437996"/>
              <a:gd name="csY82" fmla="*/ 718414 h 2018071"/>
              <a:gd name="csX83" fmla="*/ 2539350 w 3437996"/>
              <a:gd name="csY83" fmla="*/ 709894 h 2018071"/>
              <a:gd name="csX84" fmla="*/ 2529865 w 3437996"/>
              <a:gd name="csY84" fmla="*/ 700356 h 2018071"/>
              <a:gd name="csX85" fmla="*/ 2510900 w 3437996"/>
              <a:gd name="csY85" fmla="*/ 681286 h 2018071"/>
              <a:gd name="csX86" fmla="*/ 2509493 w 3437996"/>
              <a:gd name="csY86" fmla="*/ 680082 h 2018071"/>
              <a:gd name="csX87" fmla="*/ 2480984 w 3437996"/>
              <a:gd name="csY87" fmla="*/ 651408 h 2018071"/>
              <a:gd name="csX88" fmla="*/ 2453925 w 3437996"/>
              <a:gd name="csY88" fmla="*/ 624049 h 2018071"/>
              <a:gd name="csX89" fmla="*/ 2452516 w 3437996"/>
              <a:gd name="csY89" fmla="*/ 622702 h 2018071"/>
              <a:gd name="csX90" fmla="*/ 2425486 w 3437996"/>
              <a:gd name="csY90" fmla="*/ 595418 h 2018071"/>
              <a:gd name="csX91" fmla="*/ 2424029 w 3437996"/>
              <a:gd name="csY91" fmla="*/ 593985 h 2018071"/>
              <a:gd name="csX92" fmla="*/ 2406640 w 3437996"/>
              <a:gd name="csY92" fmla="*/ 576281 h 2018071"/>
              <a:gd name="csX93" fmla="*/ 2368704 w 3437996"/>
              <a:gd name="csY93" fmla="*/ 538124 h 2018071"/>
              <a:gd name="csX94" fmla="*/ 2350552 w 3437996"/>
              <a:gd name="csY94" fmla="*/ 519835 h 2018071"/>
              <a:gd name="csX95" fmla="*/ 2322020 w 3437996"/>
              <a:gd name="csY95" fmla="*/ 491243 h 2018071"/>
              <a:gd name="csX96" fmla="*/ 2312510 w 3437996"/>
              <a:gd name="csY96" fmla="*/ 481725 h 2018071"/>
              <a:gd name="csX97" fmla="*/ 2274560 w 3437996"/>
              <a:gd name="csY97" fmla="*/ 443646 h 2018071"/>
              <a:gd name="csX98" fmla="*/ 2265120 w 3437996"/>
              <a:gd name="csY98" fmla="*/ 434112 h 2018071"/>
              <a:gd name="csX99" fmla="*/ 2252962 w 3437996"/>
              <a:gd name="csY99" fmla="*/ 421458 h 2018071"/>
              <a:gd name="csX100" fmla="*/ 2246361 w 3437996"/>
              <a:gd name="csY100" fmla="*/ 414989 h 2018071"/>
              <a:gd name="csX101" fmla="*/ 2226101 w 3437996"/>
              <a:gd name="csY101" fmla="*/ 394472 h 2018071"/>
              <a:gd name="csX102" fmla="*/ 2204126 w 3437996"/>
              <a:gd name="csY102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44017 w 3437996"/>
              <a:gd name="csY67" fmla="*/ 814773 h 2018071"/>
              <a:gd name="csX68" fmla="*/ 2642551 w 3437996"/>
              <a:gd name="csY68" fmla="*/ 813746 h 2018071"/>
              <a:gd name="csX69" fmla="*/ 2634494 w 3437996"/>
              <a:gd name="csY69" fmla="*/ 805208 h 2018071"/>
              <a:gd name="csX70" fmla="*/ 2624994 w 3437996"/>
              <a:gd name="csY70" fmla="*/ 795655 h 2018071"/>
              <a:gd name="csX71" fmla="*/ 2623570 w 3437996"/>
              <a:gd name="csY71" fmla="*/ 794675 h 2018071"/>
              <a:gd name="csX72" fmla="*/ 2615495 w 3437996"/>
              <a:gd name="csY72" fmla="*/ 786111 h 2018071"/>
              <a:gd name="csX73" fmla="*/ 2606007 w 3437996"/>
              <a:gd name="csY73" fmla="*/ 776562 h 2018071"/>
              <a:gd name="csX74" fmla="*/ 2604609 w 3437996"/>
              <a:gd name="csY74" fmla="*/ 775538 h 2018071"/>
              <a:gd name="csX75" fmla="*/ 2596489 w 3437996"/>
              <a:gd name="csY75" fmla="*/ 767032 h 2018071"/>
              <a:gd name="csX76" fmla="*/ 2595095 w 3437996"/>
              <a:gd name="csY76" fmla="*/ 766006 h 2018071"/>
              <a:gd name="csX77" fmla="*/ 2586954 w 3437996"/>
              <a:gd name="csY77" fmla="*/ 757512 h 2018071"/>
              <a:gd name="csX78" fmla="*/ 2585558 w 3437996"/>
              <a:gd name="csY78" fmla="*/ 756496 h 2018071"/>
              <a:gd name="csX79" fmla="*/ 2566459 w 3437996"/>
              <a:gd name="csY79" fmla="*/ 737499 h 2018071"/>
              <a:gd name="csX80" fmla="*/ 2558352 w 3437996"/>
              <a:gd name="csY80" fmla="*/ 728962 h 2018071"/>
              <a:gd name="csX81" fmla="*/ 2547432 w 3437996"/>
              <a:gd name="csY81" fmla="*/ 718414 h 2018071"/>
              <a:gd name="csX82" fmla="*/ 2539350 w 3437996"/>
              <a:gd name="csY82" fmla="*/ 709894 h 2018071"/>
              <a:gd name="csX83" fmla="*/ 2529865 w 3437996"/>
              <a:gd name="csY83" fmla="*/ 700356 h 2018071"/>
              <a:gd name="csX84" fmla="*/ 2510900 w 3437996"/>
              <a:gd name="csY84" fmla="*/ 681286 h 2018071"/>
              <a:gd name="csX85" fmla="*/ 2509493 w 3437996"/>
              <a:gd name="csY85" fmla="*/ 680082 h 2018071"/>
              <a:gd name="csX86" fmla="*/ 2480984 w 3437996"/>
              <a:gd name="csY86" fmla="*/ 651408 h 2018071"/>
              <a:gd name="csX87" fmla="*/ 2453925 w 3437996"/>
              <a:gd name="csY87" fmla="*/ 624049 h 2018071"/>
              <a:gd name="csX88" fmla="*/ 2452516 w 3437996"/>
              <a:gd name="csY88" fmla="*/ 622702 h 2018071"/>
              <a:gd name="csX89" fmla="*/ 2425486 w 3437996"/>
              <a:gd name="csY89" fmla="*/ 595418 h 2018071"/>
              <a:gd name="csX90" fmla="*/ 2424029 w 3437996"/>
              <a:gd name="csY90" fmla="*/ 593985 h 2018071"/>
              <a:gd name="csX91" fmla="*/ 2406640 w 3437996"/>
              <a:gd name="csY91" fmla="*/ 576281 h 2018071"/>
              <a:gd name="csX92" fmla="*/ 2368704 w 3437996"/>
              <a:gd name="csY92" fmla="*/ 538124 h 2018071"/>
              <a:gd name="csX93" fmla="*/ 2350552 w 3437996"/>
              <a:gd name="csY93" fmla="*/ 519835 h 2018071"/>
              <a:gd name="csX94" fmla="*/ 2322020 w 3437996"/>
              <a:gd name="csY94" fmla="*/ 491243 h 2018071"/>
              <a:gd name="csX95" fmla="*/ 2312510 w 3437996"/>
              <a:gd name="csY95" fmla="*/ 481725 h 2018071"/>
              <a:gd name="csX96" fmla="*/ 2274560 w 3437996"/>
              <a:gd name="csY96" fmla="*/ 443646 h 2018071"/>
              <a:gd name="csX97" fmla="*/ 2265120 w 3437996"/>
              <a:gd name="csY97" fmla="*/ 434112 h 2018071"/>
              <a:gd name="csX98" fmla="*/ 2252962 w 3437996"/>
              <a:gd name="csY98" fmla="*/ 421458 h 2018071"/>
              <a:gd name="csX99" fmla="*/ 2246361 w 3437996"/>
              <a:gd name="csY99" fmla="*/ 414989 h 2018071"/>
              <a:gd name="csX100" fmla="*/ 2226101 w 3437996"/>
              <a:gd name="csY100" fmla="*/ 394472 h 2018071"/>
              <a:gd name="csX101" fmla="*/ 2204126 w 3437996"/>
              <a:gd name="csY101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44017 w 3437996"/>
              <a:gd name="csY67" fmla="*/ 814773 h 2018071"/>
              <a:gd name="csX68" fmla="*/ 2634494 w 3437996"/>
              <a:gd name="csY68" fmla="*/ 805208 h 2018071"/>
              <a:gd name="csX69" fmla="*/ 2624994 w 3437996"/>
              <a:gd name="csY69" fmla="*/ 795655 h 2018071"/>
              <a:gd name="csX70" fmla="*/ 2623570 w 3437996"/>
              <a:gd name="csY70" fmla="*/ 794675 h 2018071"/>
              <a:gd name="csX71" fmla="*/ 2615495 w 3437996"/>
              <a:gd name="csY71" fmla="*/ 786111 h 2018071"/>
              <a:gd name="csX72" fmla="*/ 2606007 w 3437996"/>
              <a:gd name="csY72" fmla="*/ 776562 h 2018071"/>
              <a:gd name="csX73" fmla="*/ 2604609 w 3437996"/>
              <a:gd name="csY73" fmla="*/ 775538 h 2018071"/>
              <a:gd name="csX74" fmla="*/ 2596489 w 3437996"/>
              <a:gd name="csY74" fmla="*/ 767032 h 2018071"/>
              <a:gd name="csX75" fmla="*/ 2595095 w 3437996"/>
              <a:gd name="csY75" fmla="*/ 766006 h 2018071"/>
              <a:gd name="csX76" fmla="*/ 2586954 w 3437996"/>
              <a:gd name="csY76" fmla="*/ 757512 h 2018071"/>
              <a:gd name="csX77" fmla="*/ 2585558 w 3437996"/>
              <a:gd name="csY77" fmla="*/ 756496 h 2018071"/>
              <a:gd name="csX78" fmla="*/ 2566459 w 3437996"/>
              <a:gd name="csY78" fmla="*/ 737499 h 2018071"/>
              <a:gd name="csX79" fmla="*/ 2558352 w 3437996"/>
              <a:gd name="csY79" fmla="*/ 728962 h 2018071"/>
              <a:gd name="csX80" fmla="*/ 2547432 w 3437996"/>
              <a:gd name="csY80" fmla="*/ 718414 h 2018071"/>
              <a:gd name="csX81" fmla="*/ 2539350 w 3437996"/>
              <a:gd name="csY81" fmla="*/ 709894 h 2018071"/>
              <a:gd name="csX82" fmla="*/ 2529865 w 3437996"/>
              <a:gd name="csY82" fmla="*/ 700356 h 2018071"/>
              <a:gd name="csX83" fmla="*/ 2510900 w 3437996"/>
              <a:gd name="csY83" fmla="*/ 681286 h 2018071"/>
              <a:gd name="csX84" fmla="*/ 2509493 w 3437996"/>
              <a:gd name="csY84" fmla="*/ 680082 h 2018071"/>
              <a:gd name="csX85" fmla="*/ 2480984 w 3437996"/>
              <a:gd name="csY85" fmla="*/ 651408 h 2018071"/>
              <a:gd name="csX86" fmla="*/ 2453925 w 3437996"/>
              <a:gd name="csY86" fmla="*/ 624049 h 2018071"/>
              <a:gd name="csX87" fmla="*/ 2452516 w 3437996"/>
              <a:gd name="csY87" fmla="*/ 622702 h 2018071"/>
              <a:gd name="csX88" fmla="*/ 2425486 w 3437996"/>
              <a:gd name="csY88" fmla="*/ 595418 h 2018071"/>
              <a:gd name="csX89" fmla="*/ 2424029 w 3437996"/>
              <a:gd name="csY89" fmla="*/ 593985 h 2018071"/>
              <a:gd name="csX90" fmla="*/ 2406640 w 3437996"/>
              <a:gd name="csY90" fmla="*/ 576281 h 2018071"/>
              <a:gd name="csX91" fmla="*/ 2368704 w 3437996"/>
              <a:gd name="csY91" fmla="*/ 538124 h 2018071"/>
              <a:gd name="csX92" fmla="*/ 2350552 w 3437996"/>
              <a:gd name="csY92" fmla="*/ 519835 h 2018071"/>
              <a:gd name="csX93" fmla="*/ 2322020 w 3437996"/>
              <a:gd name="csY93" fmla="*/ 491243 h 2018071"/>
              <a:gd name="csX94" fmla="*/ 2312510 w 3437996"/>
              <a:gd name="csY94" fmla="*/ 481725 h 2018071"/>
              <a:gd name="csX95" fmla="*/ 2274560 w 3437996"/>
              <a:gd name="csY95" fmla="*/ 443646 h 2018071"/>
              <a:gd name="csX96" fmla="*/ 2265120 w 3437996"/>
              <a:gd name="csY96" fmla="*/ 434112 h 2018071"/>
              <a:gd name="csX97" fmla="*/ 2252962 w 3437996"/>
              <a:gd name="csY97" fmla="*/ 421458 h 2018071"/>
              <a:gd name="csX98" fmla="*/ 2246361 w 3437996"/>
              <a:gd name="csY98" fmla="*/ 414989 h 2018071"/>
              <a:gd name="csX99" fmla="*/ 2226101 w 3437996"/>
              <a:gd name="csY99" fmla="*/ 394472 h 2018071"/>
              <a:gd name="csX100" fmla="*/ 2204126 w 3437996"/>
              <a:gd name="csY100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44017 w 3437996"/>
              <a:gd name="csY67" fmla="*/ 814773 h 2018071"/>
              <a:gd name="csX68" fmla="*/ 2634494 w 3437996"/>
              <a:gd name="csY68" fmla="*/ 805208 h 2018071"/>
              <a:gd name="csX69" fmla="*/ 2624994 w 3437996"/>
              <a:gd name="csY69" fmla="*/ 795655 h 2018071"/>
              <a:gd name="csX70" fmla="*/ 2623570 w 3437996"/>
              <a:gd name="csY70" fmla="*/ 794675 h 2018071"/>
              <a:gd name="csX71" fmla="*/ 2606007 w 3437996"/>
              <a:gd name="csY71" fmla="*/ 776562 h 2018071"/>
              <a:gd name="csX72" fmla="*/ 2604609 w 3437996"/>
              <a:gd name="csY72" fmla="*/ 775538 h 2018071"/>
              <a:gd name="csX73" fmla="*/ 2596489 w 3437996"/>
              <a:gd name="csY73" fmla="*/ 767032 h 2018071"/>
              <a:gd name="csX74" fmla="*/ 2595095 w 3437996"/>
              <a:gd name="csY74" fmla="*/ 766006 h 2018071"/>
              <a:gd name="csX75" fmla="*/ 2586954 w 3437996"/>
              <a:gd name="csY75" fmla="*/ 757512 h 2018071"/>
              <a:gd name="csX76" fmla="*/ 2585558 w 3437996"/>
              <a:gd name="csY76" fmla="*/ 756496 h 2018071"/>
              <a:gd name="csX77" fmla="*/ 2566459 w 3437996"/>
              <a:gd name="csY77" fmla="*/ 737499 h 2018071"/>
              <a:gd name="csX78" fmla="*/ 2558352 w 3437996"/>
              <a:gd name="csY78" fmla="*/ 728962 h 2018071"/>
              <a:gd name="csX79" fmla="*/ 2547432 w 3437996"/>
              <a:gd name="csY79" fmla="*/ 718414 h 2018071"/>
              <a:gd name="csX80" fmla="*/ 2539350 w 3437996"/>
              <a:gd name="csY80" fmla="*/ 709894 h 2018071"/>
              <a:gd name="csX81" fmla="*/ 2529865 w 3437996"/>
              <a:gd name="csY81" fmla="*/ 700356 h 2018071"/>
              <a:gd name="csX82" fmla="*/ 2510900 w 3437996"/>
              <a:gd name="csY82" fmla="*/ 681286 h 2018071"/>
              <a:gd name="csX83" fmla="*/ 2509493 w 3437996"/>
              <a:gd name="csY83" fmla="*/ 680082 h 2018071"/>
              <a:gd name="csX84" fmla="*/ 2480984 w 3437996"/>
              <a:gd name="csY84" fmla="*/ 651408 h 2018071"/>
              <a:gd name="csX85" fmla="*/ 2453925 w 3437996"/>
              <a:gd name="csY85" fmla="*/ 624049 h 2018071"/>
              <a:gd name="csX86" fmla="*/ 2452516 w 3437996"/>
              <a:gd name="csY86" fmla="*/ 622702 h 2018071"/>
              <a:gd name="csX87" fmla="*/ 2425486 w 3437996"/>
              <a:gd name="csY87" fmla="*/ 595418 h 2018071"/>
              <a:gd name="csX88" fmla="*/ 2424029 w 3437996"/>
              <a:gd name="csY88" fmla="*/ 593985 h 2018071"/>
              <a:gd name="csX89" fmla="*/ 2406640 w 3437996"/>
              <a:gd name="csY89" fmla="*/ 576281 h 2018071"/>
              <a:gd name="csX90" fmla="*/ 2368704 w 3437996"/>
              <a:gd name="csY90" fmla="*/ 538124 h 2018071"/>
              <a:gd name="csX91" fmla="*/ 2350552 w 3437996"/>
              <a:gd name="csY91" fmla="*/ 519835 h 2018071"/>
              <a:gd name="csX92" fmla="*/ 2322020 w 3437996"/>
              <a:gd name="csY92" fmla="*/ 491243 h 2018071"/>
              <a:gd name="csX93" fmla="*/ 2312510 w 3437996"/>
              <a:gd name="csY93" fmla="*/ 481725 h 2018071"/>
              <a:gd name="csX94" fmla="*/ 2274560 w 3437996"/>
              <a:gd name="csY94" fmla="*/ 443646 h 2018071"/>
              <a:gd name="csX95" fmla="*/ 2265120 w 3437996"/>
              <a:gd name="csY95" fmla="*/ 434112 h 2018071"/>
              <a:gd name="csX96" fmla="*/ 2252962 w 3437996"/>
              <a:gd name="csY96" fmla="*/ 421458 h 2018071"/>
              <a:gd name="csX97" fmla="*/ 2246361 w 3437996"/>
              <a:gd name="csY97" fmla="*/ 414989 h 2018071"/>
              <a:gd name="csX98" fmla="*/ 2226101 w 3437996"/>
              <a:gd name="csY98" fmla="*/ 394472 h 2018071"/>
              <a:gd name="csX99" fmla="*/ 2204126 w 3437996"/>
              <a:gd name="csY99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44017 w 3437996"/>
              <a:gd name="csY67" fmla="*/ 814773 h 2018071"/>
              <a:gd name="csX68" fmla="*/ 2634494 w 3437996"/>
              <a:gd name="csY68" fmla="*/ 805208 h 2018071"/>
              <a:gd name="csX69" fmla="*/ 2624994 w 3437996"/>
              <a:gd name="csY69" fmla="*/ 795655 h 2018071"/>
              <a:gd name="csX70" fmla="*/ 2623570 w 3437996"/>
              <a:gd name="csY70" fmla="*/ 794675 h 2018071"/>
              <a:gd name="csX71" fmla="*/ 2606007 w 3437996"/>
              <a:gd name="csY71" fmla="*/ 776562 h 2018071"/>
              <a:gd name="csX72" fmla="*/ 2604609 w 3437996"/>
              <a:gd name="csY72" fmla="*/ 775538 h 2018071"/>
              <a:gd name="csX73" fmla="*/ 2596489 w 3437996"/>
              <a:gd name="csY73" fmla="*/ 767032 h 2018071"/>
              <a:gd name="csX74" fmla="*/ 2595095 w 3437996"/>
              <a:gd name="csY74" fmla="*/ 766006 h 2018071"/>
              <a:gd name="csX75" fmla="*/ 2586954 w 3437996"/>
              <a:gd name="csY75" fmla="*/ 757512 h 2018071"/>
              <a:gd name="csX76" fmla="*/ 2566459 w 3437996"/>
              <a:gd name="csY76" fmla="*/ 737499 h 2018071"/>
              <a:gd name="csX77" fmla="*/ 2558352 w 3437996"/>
              <a:gd name="csY77" fmla="*/ 728962 h 2018071"/>
              <a:gd name="csX78" fmla="*/ 2547432 w 3437996"/>
              <a:gd name="csY78" fmla="*/ 718414 h 2018071"/>
              <a:gd name="csX79" fmla="*/ 2539350 w 3437996"/>
              <a:gd name="csY79" fmla="*/ 709894 h 2018071"/>
              <a:gd name="csX80" fmla="*/ 2529865 w 3437996"/>
              <a:gd name="csY80" fmla="*/ 700356 h 2018071"/>
              <a:gd name="csX81" fmla="*/ 2510900 w 3437996"/>
              <a:gd name="csY81" fmla="*/ 681286 h 2018071"/>
              <a:gd name="csX82" fmla="*/ 2509493 w 3437996"/>
              <a:gd name="csY82" fmla="*/ 680082 h 2018071"/>
              <a:gd name="csX83" fmla="*/ 2480984 w 3437996"/>
              <a:gd name="csY83" fmla="*/ 651408 h 2018071"/>
              <a:gd name="csX84" fmla="*/ 2453925 w 3437996"/>
              <a:gd name="csY84" fmla="*/ 624049 h 2018071"/>
              <a:gd name="csX85" fmla="*/ 2452516 w 3437996"/>
              <a:gd name="csY85" fmla="*/ 622702 h 2018071"/>
              <a:gd name="csX86" fmla="*/ 2425486 w 3437996"/>
              <a:gd name="csY86" fmla="*/ 595418 h 2018071"/>
              <a:gd name="csX87" fmla="*/ 2424029 w 3437996"/>
              <a:gd name="csY87" fmla="*/ 593985 h 2018071"/>
              <a:gd name="csX88" fmla="*/ 2406640 w 3437996"/>
              <a:gd name="csY88" fmla="*/ 576281 h 2018071"/>
              <a:gd name="csX89" fmla="*/ 2368704 w 3437996"/>
              <a:gd name="csY89" fmla="*/ 538124 h 2018071"/>
              <a:gd name="csX90" fmla="*/ 2350552 w 3437996"/>
              <a:gd name="csY90" fmla="*/ 519835 h 2018071"/>
              <a:gd name="csX91" fmla="*/ 2322020 w 3437996"/>
              <a:gd name="csY91" fmla="*/ 491243 h 2018071"/>
              <a:gd name="csX92" fmla="*/ 2312510 w 3437996"/>
              <a:gd name="csY92" fmla="*/ 481725 h 2018071"/>
              <a:gd name="csX93" fmla="*/ 2274560 w 3437996"/>
              <a:gd name="csY93" fmla="*/ 443646 h 2018071"/>
              <a:gd name="csX94" fmla="*/ 2265120 w 3437996"/>
              <a:gd name="csY94" fmla="*/ 434112 h 2018071"/>
              <a:gd name="csX95" fmla="*/ 2252962 w 3437996"/>
              <a:gd name="csY95" fmla="*/ 421458 h 2018071"/>
              <a:gd name="csX96" fmla="*/ 2246361 w 3437996"/>
              <a:gd name="csY96" fmla="*/ 414989 h 2018071"/>
              <a:gd name="csX97" fmla="*/ 2226101 w 3437996"/>
              <a:gd name="csY97" fmla="*/ 394472 h 2018071"/>
              <a:gd name="csX98" fmla="*/ 2204126 w 3437996"/>
              <a:gd name="csY98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44017 w 3437996"/>
              <a:gd name="csY67" fmla="*/ 814773 h 2018071"/>
              <a:gd name="csX68" fmla="*/ 2634494 w 3437996"/>
              <a:gd name="csY68" fmla="*/ 805208 h 2018071"/>
              <a:gd name="csX69" fmla="*/ 2623570 w 3437996"/>
              <a:gd name="csY69" fmla="*/ 794675 h 2018071"/>
              <a:gd name="csX70" fmla="*/ 2606007 w 3437996"/>
              <a:gd name="csY70" fmla="*/ 776562 h 2018071"/>
              <a:gd name="csX71" fmla="*/ 2604609 w 3437996"/>
              <a:gd name="csY71" fmla="*/ 775538 h 2018071"/>
              <a:gd name="csX72" fmla="*/ 2596489 w 3437996"/>
              <a:gd name="csY72" fmla="*/ 767032 h 2018071"/>
              <a:gd name="csX73" fmla="*/ 2595095 w 3437996"/>
              <a:gd name="csY73" fmla="*/ 766006 h 2018071"/>
              <a:gd name="csX74" fmla="*/ 2586954 w 3437996"/>
              <a:gd name="csY74" fmla="*/ 757512 h 2018071"/>
              <a:gd name="csX75" fmla="*/ 2566459 w 3437996"/>
              <a:gd name="csY75" fmla="*/ 737499 h 2018071"/>
              <a:gd name="csX76" fmla="*/ 2558352 w 3437996"/>
              <a:gd name="csY76" fmla="*/ 728962 h 2018071"/>
              <a:gd name="csX77" fmla="*/ 2547432 w 3437996"/>
              <a:gd name="csY77" fmla="*/ 718414 h 2018071"/>
              <a:gd name="csX78" fmla="*/ 2539350 w 3437996"/>
              <a:gd name="csY78" fmla="*/ 709894 h 2018071"/>
              <a:gd name="csX79" fmla="*/ 2529865 w 3437996"/>
              <a:gd name="csY79" fmla="*/ 700356 h 2018071"/>
              <a:gd name="csX80" fmla="*/ 2510900 w 3437996"/>
              <a:gd name="csY80" fmla="*/ 681286 h 2018071"/>
              <a:gd name="csX81" fmla="*/ 2509493 w 3437996"/>
              <a:gd name="csY81" fmla="*/ 680082 h 2018071"/>
              <a:gd name="csX82" fmla="*/ 2480984 w 3437996"/>
              <a:gd name="csY82" fmla="*/ 651408 h 2018071"/>
              <a:gd name="csX83" fmla="*/ 2453925 w 3437996"/>
              <a:gd name="csY83" fmla="*/ 624049 h 2018071"/>
              <a:gd name="csX84" fmla="*/ 2452516 w 3437996"/>
              <a:gd name="csY84" fmla="*/ 622702 h 2018071"/>
              <a:gd name="csX85" fmla="*/ 2425486 w 3437996"/>
              <a:gd name="csY85" fmla="*/ 595418 h 2018071"/>
              <a:gd name="csX86" fmla="*/ 2424029 w 3437996"/>
              <a:gd name="csY86" fmla="*/ 593985 h 2018071"/>
              <a:gd name="csX87" fmla="*/ 2406640 w 3437996"/>
              <a:gd name="csY87" fmla="*/ 576281 h 2018071"/>
              <a:gd name="csX88" fmla="*/ 2368704 w 3437996"/>
              <a:gd name="csY88" fmla="*/ 538124 h 2018071"/>
              <a:gd name="csX89" fmla="*/ 2350552 w 3437996"/>
              <a:gd name="csY89" fmla="*/ 519835 h 2018071"/>
              <a:gd name="csX90" fmla="*/ 2322020 w 3437996"/>
              <a:gd name="csY90" fmla="*/ 491243 h 2018071"/>
              <a:gd name="csX91" fmla="*/ 2312510 w 3437996"/>
              <a:gd name="csY91" fmla="*/ 481725 h 2018071"/>
              <a:gd name="csX92" fmla="*/ 2274560 w 3437996"/>
              <a:gd name="csY92" fmla="*/ 443646 h 2018071"/>
              <a:gd name="csX93" fmla="*/ 2265120 w 3437996"/>
              <a:gd name="csY93" fmla="*/ 434112 h 2018071"/>
              <a:gd name="csX94" fmla="*/ 2252962 w 3437996"/>
              <a:gd name="csY94" fmla="*/ 421458 h 2018071"/>
              <a:gd name="csX95" fmla="*/ 2246361 w 3437996"/>
              <a:gd name="csY95" fmla="*/ 414989 h 2018071"/>
              <a:gd name="csX96" fmla="*/ 2226101 w 3437996"/>
              <a:gd name="csY96" fmla="*/ 394472 h 2018071"/>
              <a:gd name="csX97" fmla="*/ 2204126 w 3437996"/>
              <a:gd name="csY97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44017 w 3437996"/>
              <a:gd name="csY67" fmla="*/ 814773 h 2018071"/>
              <a:gd name="csX68" fmla="*/ 2634494 w 3437996"/>
              <a:gd name="csY68" fmla="*/ 805208 h 2018071"/>
              <a:gd name="csX69" fmla="*/ 2623570 w 3437996"/>
              <a:gd name="csY69" fmla="*/ 794675 h 2018071"/>
              <a:gd name="csX70" fmla="*/ 2606007 w 3437996"/>
              <a:gd name="csY70" fmla="*/ 776562 h 2018071"/>
              <a:gd name="csX71" fmla="*/ 2604609 w 3437996"/>
              <a:gd name="csY71" fmla="*/ 775538 h 2018071"/>
              <a:gd name="csX72" fmla="*/ 2596489 w 3437996"/>
              <a:gd name="csY72" fmla="*/ 767032 h 2018071"/>
              <a:gd name="csX73" fmla="*/ 2586954 w 3437996"/>
              <a:gd name="csY73" fmla="*/ 757512 h 2018071"/>
              <a:gd name="csX74" fmla="*/ 2566459 w 3437996"/>
              <a:gd name="csY74" fmla="*/ 737499 h 2018071"/>
              <a:gd name="csX75" fmla="*/ 2558352 w 3437996"/>
              <a:gd name="csY75" fmla="*/ 728962 h 2018071"/>
              <a:gd name="csX76" fmla="*/ 2547432 w 3437996"/>
              <a:gd name="csY76" fmla="*/ 718414 h 2018071"/>
              <a:gd name="csX77" fmla="*/ 2539350 w 3437996"/>
              <a:gd name="csY77" fmla="*/ 709894 h 2018071"/>
              <a:gd name="csX78" fmla="*/ 2529865 w 3437996"/>
              <a:gd name="csY78" fmla="*/ 700356 h 2018071"/>
              <a:gd name="csX79" fmla="*/ 2510900 w 3437996"/>
              <a:gd name="csY79" fmla="*/ 681286 h 2018071"/>
              <a:gd name="csX80" fmla="*/ 2509493 w 3437996"/>
              <a:gd name="csY80" fmla="*/ 680082 h 2018071"/>
              <a:gd name="csX81" fmla="*/ 2480984 w 3437996"/>
              <a:gd name="csY81" fmla="*/ 651408 h 2018071"/>
              <a:gd name="csX82" fmla="*/ 2453925 w 3437996"/>
              <a:gd name="csY82" fmla="*/ 624049 h 2018071"/>
              <a:gd name="csX83" fmla="*/ 2452516 w 3437996"/>
              <a:gd name="csY83" fmla="*/ 622702 h 2018071"/>
              <a:gd name="csX84" fmla="*/ 2425486 w 3437996"/>
              <a:gd name="csY84" fmla="*/ 595418 h 2018071"/>
              <a:gd name="csX85" fmla="*/ 2424029 w 3437996"/>
              <a:gd name="csY85" fmla="*/ 593985 h 2018071"/>
              <a:gd name="csX86" fmla="*/ 2406640 w 3437996"/>
              <a:gd name="csY86" fmla="*/ 576281 h 2018071"/>
              <a:gd name="csX87" fmla="*/ 2368704 w 3437996"/>
              <a:gd name="csY87" fmla="*/ 538124 h 2018071"/>
              <a:gd name="csX88" fmla="*/ 2350552 w 3437996"/>
              <a:gd name="csY88" fmla="*/ 519835 h 2018071"/>
              <a:gd name="csX89" fmla="*/ 2322020 w 3437996"/>
              <a:gd name="csY89" fmla="*/ 491243 h 2018071"/>
              <a:gd name="csX90" fmla="*/ 2312510 w 3437996"/>
              <a:gd name="csY90" fmla="*/ 481725 h 2018071"/>
              <a:gd name="csX91" fmla="*/ 2274560 w 3437996"/>
              <a:gd name="csY91" fmla="*/ 443646 h 2018071"/>
              <a:gd name="csX92" fmla="*/ 2265120 w 3437996"/>
              <a:gd name="csY92" fmla="*/ 434112 h 2018071"/>
              <a:gd name="csX93" fmla="*/ 2252962 w 3437996"/>
              <a:gd name="csY93" fmla="*/ 421458 h 2018071"/>
              <a:gd name="csX94" fmla="*/ 2246361 w 3437996"/>
              <a:gd name="csY94" fmla="*/ 414989 h 2018071"/>
              <a:gd name="csX95" fmla="*/ 2226101 w 3437996"/>
              <a:gd name="csY95" fmla="*/ 394472 h 2018071"/>
              <a:gd name="csX96" fmla="*/ 2204126 w 3437996"/>
              <a:gd name="csY96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44017 w 3437996"/>
              <a:gd name="csY67" fmla="*/ 814773 h 2018071"/>
              <a:gd name="csX68" fmla="*/ 2623570 w 3437996"/>
              <a:gd name="csY68" fmla="*/ 794675 h 2018071"/>
              <a:gd name="csX69" fmla="*/ 2606007 w 3437996"/>
              <a:gd name="csY69" fmla="*/ 776562 h 2018071"/>
              <a:gd name="csX70" fmla="*/ 2604609 w 3437996"/>
              <a:gd name="csY70" fmla="*/ 775538 h 2018071"/>
              <a:gd name="csX71" fmla="*/ 2596489 w 3437996"/>
              <a:gd name="csY71" fmla="*/ 767032 h 2018071"/>
              <a:gd name="csX72" fmla="*/ 2586954 w 3437996"/>
              <a:gd name="csY72" fmla="*/ 757512 h 2018071"/>
              <a:gd name="csX73" fmla="*/ 2566459 w 3437996"/>
              <a:gd name="csY73" fmla="*/ 737499 h 2018071"/>
              <a:gd name="csX74" fmla="*/ 2558352 w 3437996"/>
              <a:gd name="csY74" fmla="*/ 728962 h 2018071"/>
              <a:gd name="csX75" fmla="*/ 2547432 w 3437996"/>
              <a:gd name="csY75" fmla="*/ 718414 h 2018071"/>
              <a:gd name="csX76" fmla="*/ 2539350 w 3437996"/>
              <a:gd name="csY76" fmla="*/ 709894 h 2018071"/>
              <a:gd name="csX77" fmla="*/ 2529865 w 3437996"/>
              <a:gd name="csY77" fmla="*/ 700356 h 2018071"/>
              <a:gd name="csX78" fmla="*/ 2510900 w 3437996"/>
              <a:gd name="csY78" fmla="*/ 681286 h 2018071"/>
              <a:gd name="csX79" fmla="*/ 2509493 w 3437996"/>
              <a:gd name="csY79" fmla="*/ 680082 h 2018071"/>
              <a:gd name="csX80" fmla="*/ 2480984 w 3437996"/>
              <a:gd name="csY80" fmla="*/ 651408 h 2018071"/>
              <a:gd name="csX81" fmla="*/ 2453925 w 3437996"/>
              <a:gd name="csY81" fmla="*/ 624049 h 2018071"/>
              <a:gd name="csX82" fmla="*/ 2452516 w 3437996"/>
              <a:gd name="csY82" fmla="*/ 622702 h 2018071"/>
              <a:gd name="csX83" fmla="*/ 2425486 w 3437996"/>
              <a:gd name="csY83" fmla="*/ 595418 h 2018071"/>
              <a:gd name="csX84" fmla="*/ 2424029 w 3437996"/>
              <a:gd name="csY84" fmla="*/ 593985 h 2018071"/>
              <a:gd name="csX85" fmla="*/ 2406640 w 3437996"/>
              <a:gd name="csY85" fmla="*/ 576281 h 2018071"/>
              <a:gd name="csX86" fmla="*/ 2368704 w 3437996"/>
              <a:gd name="csY86" fmla="*/ 538124 h 2018071"/>
              <a:gd name="csX87" fmla="*/ 2350552 w 3437996"/>
              <a:gd name="csY87" fmla="*/ 519835 h 2018071"/>
              <a:gd name="csX88" fmla="*/ 2322020 w 3437996"/>
              <a:gd name="csY88" fmla="*/ 491243 h 2018071"/>
              <a:gd name="csX89" fmla="*/ 2312510 w 3437996"/>
              <a:gd name="csY89" fmla="*/ 481725 h 2018071"/>
              <a:gd name="csX90" fmla="*/ 2274560 w 3437996"/>
              <a:gd name="csY90" fmla="*/ 443646 h 2018071"/>
              <a:gd name="csX91" fmla="*/ 2265120 w 3437996"/>
              <a:gd name="csY91" fmla="*/ 434112 h 2018071"/>
              <a:gd name="csX92" fmla="*/ 2252962 w 3437996"/>
              <a:gd name="csY92" fmla="*/ 421458 h 2018071"/>
              <a:gd name="csX93" fmla="*/ 2246361 w 3437996"/>
              <a:gd name="csY93" fmla="*/ 414989 h 2018071"/>
              <a:gd name="csX94" fmla="*/ 2226101 w 3437996"/>
              <a:gd name="csY94" fmla="*/ 394472 h 2018071"/>
              <a:gd name="csX95" fmla="*/ 2204126 w 3437996"/>
              <a:gd name="csY95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44017 w 3437996"/>
              <a:gd name="csY67" fmla="*/ 814773 h 2018071"/>
              <a:gd name="csX68" fmla="*/ 2623570 w 3437996"/>
              <a:gd name="csY68" fmla="*/ 794675 h 2018071"/>
              <a:gd name="csX69" fmla="*/ 2606007 w 3437996"/>
              <a:gd name="csY69" fmla="*/ 776562 h 2018071"/>
              <a:gd name="csX70" fmla="*/ 2604609 w 3437996"/>
              <a:gd name="csY70" fmla="*/ 775538 h 2018071"/>
              <a:gd name="csX71" fmla="*/ 2596489 w 3437996"/>
              <a:gd name="csY71" fmla="*/ 767032 h 2018071"/>
              <a:gd name="csX72" fmla="*/ 2566459 w 3437996"/>
              <a:gd name="csY72" fmla="*/ 737499 h 2018071"/>
              <a:gd name="csX73" fmla="*/ 2558352 w 3437996"/>
              <a:gd name="csY73" fmla="*/ 728962 h 2018071"/>
              <a:gd name="csX74" fmla="*/ 2547432 w 3437996"/>
              <a:gd name="csY74" fmla="*/ 718414 h 2018071"/>
              <a:gd name="csX75" fmla="*/ 2539350 w 3437996"/>
              <a:gd name="csY75" fmla="*/ 709894 h 2018071"/>
              <a:gd name="csX76" fmla="*/ 2529865 w 3437996"/>
              <a:gd name="csY76" fmla="*/ 700356 h 2018071"/>
              <a:gd name="csX77" fmla="*/ 2510900 w 3437996"/>
              <a:gd name="csY77" fmla="*/ 681286 h 2018071"/>
              <a:gd name="csX78" fmla="*/ 2509493 w 3437996"/>
              <a:gd name="csY78" fmla="*/ 680082 h 2018071"/>
              <a:gd name="csX79" fmla="*/ 2480984 w 3437996"/>
              <a:gd name="csY79" fmla="*/ 651408 h 2018071"/>
              <a:gd name="csX80" fmla="*/ 2453925 w 3437996"/>
              <a:gd name="csY80" fmla="*/ 624049 h 2018071"/>
              <a:gd name="csX81" fmla="*/ 2452516 w 3437996"/>
              <a:gd name="csY81" fmla="*/ 622702 h 2018071"/>
              <a:gd name="csX82" fmla="*/ 2425486 w 3437996"/>
              <a:gd name="csY82" fmla="*/ 595418 h 2018071"/>
              <a:gd name="csX83" fmla="*/ 2424029 w 3437996"/>
              <a:gd name="csY83" fmla="*/ 593985 h 2018071"/>
              <a:gd name="csX84" fmla="*/ 2406640 w 3437996"/>
              <a:gd name="csY84" fmla="*/ 576281 h 2018071"/>
              <a:gd name="csX85" fmla="*/ 2368704 w 3437996"/>
              <a:gd name="csY85" fmla="*/ 538124 h 2018071"/>
              <a:gd name="csX86" fmla="*/ 2350552 w 3437996"/>
              <a:gd name="csY86" fmla="*/ 519835 h 2018071"/>
              <a:gd name="csX87" fmla="*/ 2322020 w 3437996"/>
              <a:gd name="csY87" fmla="*/ 491243 h 2018071"/>
              <a:gd name="csX88" fmla="*/ 2312510 w 3437996"/>
              <a:gd name="csY88" fmla="*/ 481725 h 2018071"/>
              <a:gd name="csX89" fmla="*/ 2274560 w 3437996"/>
              <a:gd name="csY89" fmla="*/ 443646 h 2018071"/>
              <a:gd name="csX90" fmla="*/ 2265120 w 3437996"/>
              <a:gd name="csY90" fmla="*/ 434112 h 2018071"/>
              <a:gd name="csX91" fmla="*/ 2252962 w 3437996"/>
              <a:gd name="csY91" fmla="*/ 421458 h 2018071"/>
              <a:gd name="csX92" fmla="*/ 2246361 w 3437996"/>
              <a:gd name="csY92" fmla="*/ 414989 h 2018071"/>
              <a:gd name="csX93" fmla="*/ 2226101 w 3437996"/>
              <a:gd name="csY93" fmla="*/ 394472 h 2018071"/>
              <a:gd name="csX94" fmla="*/ 2204126 w 3437996"/>
              <a:gd name="csY94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44017 w 3437996"/>
              <a:gd name="csY67" fmla="*/ 814773 h 2018071"/>
              <a:gd name="csX68" fmla="*/ 2606007 w 3437996"/>
              <a:gd name="csY68" fmla="*/ 776562 h 2018071"/>
              <a:gd name="csX69" fmla="*/ 2604609 w 3437996"/>
              <a:gd name="csY69" fmla="*/ 775538 h 2018071"/>
              <a:gd name="csX70" fmla="*/ 2596489 w 3437996"/>
              <a:gd name="csY70" fmla="*/ 767032 h 2018071"/>
              <a:gd name="csX71" fmla="*/ 2566459 w 3437996"/>
              <a:gd name="csY71" fmla="*/ 737499 h 2018071"/>
              <a:gd name="csX72" fmla="*/ 2558352 w 3437996"/>
              <a:gd name="csY72" fmla="*/ 728962 h 2018071"/>
              <a:gd name="csX73" fmla="*/ 2547432 w 3437996"/>
              <a:gd name="csY73" fmla="*/ 718414 h 2018071"/>
              <a:gd name="csX74" fmla="*/ 2539350 w 3437996"/>
              <a:gd name="csY74" fmla="*/ 709894 h 2018071"/>
              <a:gd name="csX75" fmla="*/ 2529865 w 3437996"/>
              <a:gd name="csY75" fmla="*/ 700356 h 2018071"/>
              <a:gd name="csX76" fmla="*/ 2510900 w 3437996"/>
              <a:gd name="csY76" fmla="*/ 681286 h 2018071"/>
              <a:gd name="csX77" fmla="*/ 2509493 w 3437996"/>
              <a:gd name="csY77" fmla="*/ 680082 h 2018071"/>
              <a:gd name="csX78" fmla="*/ 2480984 w 3437996"/>
              <a:gd name="csY78" fmla="*/ 651408 h 2018071"/>
              <a:gd name="csX79" fmla="*/ 2453925 w 3437996"/>
              <a:gd name="csY79" fmla="*/ 624049 h 2018071"/>
              <a:gd name="csX80" fmla="*/ 2452516 w 3437996"/>
              <a:gd name="csY80" fmla="*/ 622702 h 2018071"/>
              <a:gd name="csX81" fmla="*/ 2425486 w 3437996"/>
              <a:gd name="csY81" fmla="*/ 595418 h 2018071"/>
              <a:gd name="csX82" fmla="*/ 2424029 w 3437996"/>
              <a:gd name="csY82" fmla="*/ 593985 h 2018071"/>
              <a:gd name="csX83" fmla="*/ 2406640 w 3437996"/>
              <a:gd name="csY83" fmla="*/ 576281 h 2018071"/>
              <a:gd name="csX84" fmla="*/ 2368704 w 3437996"/>
              <a:gd name="csY84" fmla="*/ 538124 h 2018071"/>
              <a:gd name="csX85" fmla="*/ 2350552 w 3437996"/>
              <a:gd name="csY85" fmla="*/ 519835 h 2018071"/>
              <a:gd name="csX86" fmla="*/ 2322020 w 3437996"/>
              <a:gd name="csY86" fmla="*/ 491243 h 2018071"/>
              <a:gd name="csX87" fmla="*/ 2312510 w 3437996"/>
              <a:gd name="csY87" fmla="*/ 481725 h 2018071"/>
              <a:gd name="csX88" fmla="*/ 2274560 w 3437996"/>
              <a:gd name="csY88" fmla="*/ 443646 h 2018071"/>
              <a:gd name="csX89" fmla="*/ 2265120 w 3437996"/>
              <a:gd name="csY89" fmla="*/ 434112 h 2018071"/>
              <a:gd name="csX90" fmla="*/ 2252962 w 3437996"/>
              <a:gd name="csY90" fmla="*/ 421458 h 2018071"/>
              <a:gd name="csX91" fmla="*/ 2246361 w 3437996"/>
              <a:gd name="csY91" fmla="*/ 414989 h 2018071"/>
              <a:gd name="csX92" fmla="*/ 2226101 w 3437996"/>
              <a:gd name="csY92" fmla="*/ 394472 h 2018071"/>
              <a:gd name="csX93" fmla="*/ 2204126 w 3437996"/>
              <a:gd name="csY93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44017 w 3437996"/>
              <a:gd name="csY67" fmla="*/ 814773 h 2018071"/>
              <a:gd name="csX68" fmla="*/ 2606007 w 3437996"/>
              <a:gd name="csY68" fmla="*/ 776562 h 2018071"/>
              <a:gd name="csX69" fmla="*/ 2604609 w 3437996"/>
              <a:gd name="csY69" fmla="*/ 775538 h 2018071"/>
              <a:gd name="csX70" fmla="*/ 2566459 w 3437996"/>
              <a:gd name="csY70" fmla="*/ 737499 h 2018071"/>
              <a:gd name="csX71" fmla="*/ 2558352 w 3437996"/>
              <a:gd name="csY71" fmla="*/ 728962 h 2018071"/>
              <a:gd name="csX72" fmla="*/ 2547432 w 3437996"/>
              <a:gd name="csY72" fmla="*/ 718414 h 2018071"/>
              <a:gd name="csX73" fmla="*/ 2539350 w 3437996"/>
              <a:gd name="csY73" fmla="*/ 709894 h 2018071"/>
              <a:gd name="csX74" fmla="*/ 2529865 w 3437996"/>
              <a:gd name="csY74" fmla="*/ 700356 h 2018071"/>
              <a:gd name="csX75" fmla="*/ 2510900 w 3437996"/>
              <a:gd name="csY75" fmla="*/ 681286 h 2018071"/>
              <a:gd name="csX76" fmla="*/ 2509493 w 3437996"/>
              <a:gd name="csY76" fmla="*/ 680082 h 2018071"/>
              <a:gd name="csX77" fmla="*/ 2480984 w 3437996"/>
              <a:gd name="csY77" fmla="*/ 651408 h 2018071"/>
              <a:gd name="csX78" fmla="*/ 2453925 w 3437996"/>
              <a:gd name="csY78" fmla="*/ 624049 h 2018071"/>
              <a:gd name="csX79" fmla="*/ 2452516 w 3437996"/>
              <a:gd name="csY79" fmla="*/ 622702 h 2018071"/>
              <a:gd name="csX80" fmla="*/ 2425486 w 3437996"/>
              <a:gd name="csY80" fmla="*/ 595418 h 2018071"/>
              <a:gd name="csX81" fmla="*/ 2424029 w 3437996"/>
              <a:gd name="csY81" fmla="*/ 593985 h 2018071"/>
              <a:gd name="csX82" fmla="*/ 2406640 w 3437996"/>
              <a:gd name="csY82" fmla="*/ 576281 h 2018071"/>
              <a:gd name="csX83" fmla="*/ 2368704 w 3437996"/>
              <a:gd name="csY83" fmla="*/ 538124 h 2018071"/>
              <a:gd name="csX84" fmla="*/ 2350552 w 3437996"/>
              <a:gd name="csY84" fmla="*/ 519835 h 2018071"/>
              <a:gd name="csX85" fmla="*/ 2322020 w 3437996"/>
              <a:gd name="csY85" fmla="*/ 491243 h 2018071"/>
              <a:gd name="csX86" fmla="*/ 2312510 w 3437996"/>
              <a:gd name="csY86" fmla="*/ 481725 h 2018071"/>
              <a:gd name="csX87" fmla="*/ 2274560 w 3437996"/>
              <a:gd name="csY87" fmla="*/ 443646 h 2018071"/>
              <a:gd name="csX88" fmla="*/ 2265120 w 3437996"/>
              <a:gd name="csY88" fmla="*/ 434112 h 2018071"/>
              <a:gd name="csX89" fmla="*/ 2252962 w 3437996"/>
              <a:gd name="csY89" fmla="*/ 421458 h 2018071"/>
              <a:gd name="csX90" fmla="*/ 2246361 w 3437996"/>
              <a:gd name="csY90" fmla="*/ 414989 h 2018071"/>
              <a:gd name="csX91" fmla="*/ 2226101 w 3437996"/>
              <a:gd name="csY91" fmla="*/ 394472 h 2018071"/>
              <a:gd name="csX92" fmla="*/ 2204126 w 3437996"/>
              <a:gd name="csY92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44017 w 3437996"/>
              <a:gd name="csY67" fmla="*/ 814773 h 2018071"/>
              <a:gd name="csX68" fmla="*/ 2606007 w 3437996"/>
              <a:gd name="csY68" fmla="*/ 776562 h 2018071"/>
              <a:gd name="csX69" fmla="*/ 2566459 w 3437996"/>
              <a:gd name="csY69" fmla="*/ 737499 h 2018071"/>
              <a:gd name="csX70" fmla="*/ 2558352 w 3437996"/>
              <a:gd name="csY70" fmla="*/ 728962 h 2018071"/>
              <a:gd name="csX71" fmla="*/ 2547432 w 3437996"/>
              <a:gd name="csY71" fmla="*/ 718414 h 2018071"/>
              <a:gd name="csX72" fmla="*/ 2539350 w 3437996"/>
              <a:gd name="csY72" fmla="*/ 709894 h 2018071"/>
              <a:gd name="csX73" fmla="*/ 2529865 w 3437996"/>
              <a:gd name="csY73" fmla="*/ 700356 h 2018071"/>
              <a:gd name="csX74" fmla="*/ 2510900 w 3437996"/>
              <a:gd name="csY74" fmla="*/ 681286 h 2018071"/>
              <a:gd name="csX75" fmla="*/ 2509493 w 3437996"/>
              <a:gd name="csY75" fmla="*/ 680082 h 2018071"/>
              <a:gd name="csX76" fmla="*/ 2480984 w 3437996"/>
              <a:gd name="csY76" fmla="*/ 651408 h 2018071"/>
              <a:gd name="csX77" fmla="*/ 2453925 w 3437996"/>
              <a:gd name="csY77" fmla="*/ 624049 h 2018071"/>
              <a:gd name="csX78" fmla="*/ 2452516 w 3437996"/>
              <a:gd name="csY78" fmla="*/ 622702 h 2018071"/>
              <a:gd name="csX79" fmla="*/ 2425486 w 3437996"/>
              <a:gd name="csY79" fmla="*/ 595418 h 2018071"/>
              <a:gd name="csX80" fmla="*/ 2424029 w 3437996"/>
              <a:gd name="csY80" fmla="*/ 593985 h 2018071"/>
              <a:gd name="csX81" fmla="*/ 2406640 w 3437996"/>
              <a:gd name="csY81" fmla="*/ 576281 h 2018071"/>
              <a:gd name="csX82" fmla="*/ 2368704 w 3437996"/>
              <a:gd name="csY82" fmla="*/ 538124 h 2018071"/>
              <a:gd name="csX83" fmla="*/ 2350552 w 3437996"/>
              <a:gd name="csY83" fmla="*/ 519835 h 2018071"/>
              <a:gd name="csX84" fmla="*/ 2322020 w 3437996"/>
              <a:gd name="csY84" fmla="*/ 491243 h 2018071"/>
              <a:gd name="csX85" fmla="*/ 2312510 w 3437996"/>
              <a:gd name="csY85" fmla="*/ 481725 h 2018071"/>
              <a:gd name="csX86" fmla="*/ 2274560 w 3437996"/>
              <a:gd name="csY86" fmla="*/ 443646 h 2018071"/>
              <a:gd name="csX87" fmla="*/ 2265120 w 3437996"/>
              <a:gd name="csY87" fmla="*/ 434112 h 2018071"/>
              <a:gd name="csX88" fmla="*/ 2252962 w 3437996"/>
              <a:gd name="csY88" fmla="*/ 421458 h 2018071"/>
              <a:gd name="csX89" fmla="*/ 2246361 w 3437996"/>
              <a:gd name="csY89" fmla="*/ 414989 h 2018071"/>
              <a:gd name="csX90" fmla="*/ 2226101 w 3437996"/>
              <a:gd name="csY90" fmla="*/ 394472 h 2018071"/>
              <a:gd name="csX91" fmla="*/ 2204126 w 3437996"/>
              <a:gd name="csY91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06007 w 3437996"/>
              <a:gd name="csY67" fmla="*/ 776562 h 2018071"/>
              <a:gd name="csX68" fmla="*/ 2566459 w 3437996"/>
              <a:gd name="csY68" fmla="*/ 737499 h 2018071"/>
              <a:gd name="csX69" fmla="*/ 2558352 w 3437996"/>
              <a:gd name="csY69" fmla="*/ 728962 h 2018071"/>
              <a:gd name="csX70" fmla="*/ 2547432 w 3437996"/>
              <a:gd name="csY70" fmla="*/ 718414 h 2018071"/>
              <a:gd name="csX71" fmla="*/ 2539350 w 3437996"/>
              <a:gd name="csY71" fmla="*/ 709894 h 2018071"/>
              <a:gd name="csX72" fmla="*/ 2529865 w 3437996"/>
              <a:gd name="csY72" fmla="*/ 700356 h 2018071"/>
              <a:gd name="csX73" fmla="*/ 2510900 w 3437996"/>
              <a:gd name="csY73" fmla="*/ 681286 h 2018071"/>
              <a:gd name="csX74" fmla="*/ 2509493 w 3437996"/>
              <a:gd name="csY74" fmla="*/ 680082 h 2018071"/>
              <a:gd name="csX75" fmla="*/ 2480984 w 3437996"/>
              <a:gd name="csY75" fmla="*/ 651408 h 2018071"/>
              <a:gd name="csX76" fmla="*/ 2453925 w 3437996"/>
              <a:gd name="csY76" fmla="*/ 624049 h 2018071"/>
              <a:gd name="csX77" fmla="*/ 2452516 w 3437996"/>
              <a:gd name="csY77" fmla="*/ 622702 h 2018071"/>
              <a:gd name="csX78" fmla="*/ 2425486 w 3437996"/>
              <a:gd name="csY78" fmla="*/ 595418 h 2018071"/>
              <a:gd name="csX79" fmla="*/ 2424029 w 3437996"/>
              <a:gd name="csY79" fmla="*/ 593985 h 2018071"/>
              <a:gd name="csX80" fmla="*/ 2406640 w 3437996"/>
              <a:gd name="csY80" fmla="*/ 576281 h 2018071"/>
              <a:gd name="csX81" fmla="*/ 2368704 w 3437996"/>
              <a:gd name="csY81" fmla="*/ 538124 h 2018071"/>
              <a:gd name="csX82" fmla="*/ 2350552 w 3437996"/>
              <a:gd name="csY82" fmla="*/ 519835 h 2018071"/>
              <a:gd name="csX83" fmla="*/ 2322020 w 3437996"/>
              <a:gd name="csY83" fmla="*/ 491243 h 2018071"/>
              <a:gd name="csX84" fmla="*/ 2312510 w 3437996"/>
              <a:gd name="csY84" fmla="*/ 481725 h 2018071"/>
              <a:gd name="csX85" fmla="*/ 2274560 w 3437996"/>
              <a:gd name="csY85" fmla="*/ 443646 h 2018071"/>
              <a:gd name="csX86" fmla="*/ 2265120 w 3437996"/>
              <a:gd name="csY86" fmla="*/ 434112 h 2018071"/>
              <a:gd name="csX87" fmla="*/ 2252962 w 3437996"/>
              <a:gd name="csY87" fmla="*/ 421458 h 2018071"/>
              <a:gd name="csX88" fmla="*/ 2246361 w 3437996"/>
              <a:gd name="csY88" fmla="*/ 414989 h 2018071"/>
              <a:gd name="csX89" fmla="*/ 2226101 w 3437996"/>
              <a:gd name="csY89" fmla="*/ 394472 h 2018071"/>
              <a:gd name="csX90" fmla="*/ 2204126 w 3437996"/>
              <a:gd name="csY90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06007 w 3437996"/>
              <a:gd name="csY67" fmla="*/ 776562 h 2018071"/>
              <a:gd name="csX68" fmla="*/ 2566459 w 3437996"/>
              <a:gd name="csY68" fmla="*/ 737499 h 2018071"/>
              <a:gd name="csX69" fmla="*/ 2547432 w 3437996"/>
              <a:gd name="csY69" fmla="*/ 718414 h 2018071"/>
              <a:gd name="csX70" fmla="*/ 2539350 w 3437996"/>
              <a:gd name="csY70" fmla="*/ 709894 h 2018071"/>
              <a:gd name="csX71" fmla="*/ 2529865 w 3437996"/>
              <a:gd name="csY71" fmla="*/ 700356 h 2018071"/>
              <a:gd name="csX72" fmla="*/ 2510900 w 3437996"/>
              <a:gd name="csY72" fmla="*/ 681286 h 2018071"/>
              <a:gd name="csX73" fmla="*/ 2509493 w 3437996"/>
              <a:gd name="csY73" fmla="*/ 680082 h 2018071"/>
              <a:gd name="csX74" fmla="*/ 2480984 w 3437996"/>
              <a:gd name="csY74" fmla="*/ 651408 h 2018071"/>
              <a:gd name="csX75" fmla="*/ 2453925 w 3437996"/>
              <a:gd name="csY75" fmla="*/ 624049 h 2018071"/>
              <a:gd name="csX76" fmla="*/ 2452516 w 3437996"/>
              <a:gd name="csY76" fmla="*/ 622702 h 2018071"/>
              <a:gd name="csX77" fmla="*/ 2425486 w 3437996"/>
              <a:gd name="csY77" fmla="*/ 595418 h 2018071"/>
              <a:gd name="csX78" fmla="*/ 2424029 w 3437996"/>
              <a:gd name="csY78" fmla="*/ 593985 h 2018071"/>
              <a:gd name="csX79" fmla="*/ 2406640 w 3437996"/>
              <a:gd name="csY79" fmla="*/ 576281 h 2018071"/>
              <a:gd name="csX80" fmla="*/ 2368704 w 3437996"/>
              <a:gd name="csY80" fmla="*/ 538124 h 2018071"/>
              <a:gd name="csX81" fmla="*/ 2350552 w 3437996"/>
              <a:gd name="csY81" fmla="*/ 519835 h 2018071"/>
              <a:gd name="csX82" fmla="*/ 2322020 w 3437996"/>
              <a:gd name="csY82" fmla="*/ 491243 h 2018071"/>
              <a:gd name="csX83" fmla="*/ 2312510 w 3437996"/>
              <a:gd name="csY83" fmla="*/ 481725 h 2018071"/>
              <a:gd name="csX84" fmla="*/ 2274560 w 3437996"/>
              <a:gd name="csY84" fmla="*/ 443646 h 2018071"/>
              <a:gd name="csX85" fmla="*/ 2265120 w 3437996"/>
              <a:gd name="csY85" fmla="*/ 434112 h 2018071"/>
              <a:gd name="csX86" fmla="*/ 2252962 w 3437996"/>
              <a:gd name="csY86" fmla="*/ 421458 h 2018071"/>
              <a:gd name="csX87" fmla="*/ 2246361 w 3437996"/>
              <a:gd name="csY87" fmla="*/ 414989 h 2018071"/>
              <a:gd name="csX88" fmla="*/ 2226101 w 3437996"/>
              <a:gd name="csY88" fmla="*/ 394472 h 2018071"/>
              <a:gd name="csX89" fmla="*/ 2204126 w 3437996"/>
              <a:gd name="csY89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06007 w 3437996"/>
              <a:gd name="csY67" fmla="*/ 776562 h 2018071"/>
              <a:gd name="csX68" fmla="*/ 2566459 w 3437996"/>
              <a:gd name="csY68" fmla="*/ 737499 h 2018071"/>
              <a:gd name="csX69" fmla="*/ 2547432 w 3437996"/>
              <a:gd name="csY69" fmla="*/ 718414 h 2018071"/>
              <a:gd name="csX70" fmla="*/ 2539350 w 3437996"/>
              <a:gd name="csY70" fmla="*/ 709894 h 2018071"/>
              <a:gd name="csX71" fmla="*/ 2510900 w 3437996"/>
              <a:gd name="csY71" fmla="*/ 681286 h 2018071"/>
              <a:gd name="csX72" fmla="*/ 2509493 w 3437996"/>
              <a:gd name="csY72" fmla="*/ 680082 h 2018071"/>
              <a:gd name="csX73" fmla="*/ 2480984 w 3437996"/>
              <a:gd name="csY73" fmla="*/ 651408 h 2018071"/>
              <a:gd name="csX74" fmla="*/ 2453925 w 3437996"/>
              <a:gd name="csY74" fmla="*/ 624049 h 2018071"/>
              <a:gd name="csX75" fmla="*/ 2452516 w 3437996"/>
              <a:gd name="csY75" fmla="*/ 622702 h 2018071"/>
              <a:gd name="csX76" fmla="*/ 2425486 w 3437996"/>
              <a:gd name="csY76" fmla="*/ 595418 h 2018071"/>
              <a:gd name="csX77" fmla="*/ 2424029 w 3437996"/>
              <a:gd name="csY77" fmla="*/ 593985 h 2018071"/>
              <a:gd name="csX78" fmla="*/ 2406640 w 3437996"/>
              <a:gd name="csY78" fmla="*/ 576281 h 2018071"/>
              <a:gd name="csX79" fmla="*/ 2368704 w 3437996"/>
              <a:gd name="csY79" fmla="*/ 538124 h 2018071"/>
              <a:gd name="csX80" fmla="*/ 2350552 w 3437996"/>
              <a:gd name="csY80" fmla="*/ 519835 h 2018071"/>
              <a:gd name="csX81" fmla="*/ 2322020 w 3437996"/>
              <a:gd name="csY81" fmla="*/ 491243 h 2018071"/>
              <a:gd name="csX82" fmla="*/ 2312510 w 3437996"/>
              <a:gd name="csY82" fmla="*/ 481725 h 2018071"/>
              <a:gd name="csX83" fmla="*/ 2274560 w 3437996"/>
              <a:gd name="csY83" fmla="*/ 443646 h 2018071"/>
              <a:gd name="csX84" fmla="*/ 2265120 w 3437996"/>
              <a:gd name="csY84" fmla="*/ 434112 h 2018071"/>
              <a:gd name="csX85" fmla="*/ 2252962 w 3437996"/>
              <a:gd name="csY85" fmla="*/ 421458 h 2018071"/>
              <a:gd name="csX86" fmla="*/ 2246361 w 3437996"/>
              <a:gd name="csY86" fmla="*/ 414989 h 2018071"/>
              <a:gd name="csX87" fmla="*/ 2226101 w 3437996"/>
              <a:gd name="csY87" fmla="*/ 394472 h 2018071"/>
              <a:gd name="csX88" fmla="*/ 2204126 w 3437996"/>
              <a:gd name="csY88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06007 w 3437996"/>
              <a:gd name="csY67" fmla="*/ 776562 h 2018071"/>
              <a:gd name="csX68" fmla="*/ 2566459 w 3437996"/>
              <a:gd name="csY68" fmla="*/ 737499 h 2018071"/>
              <a:gd name="csX69" fmla="*/ 2539350 w 3437996"/>
              <a:gd name="csY69" fmla="*/ 709894 h 2018071"/>
              <a:gd name="csX70" fmla="*/ 2510900 w 3437996"/>
              <a:gd name="csY70" fmla="*/ 681286 h 2018071"/>
              <a:gd name="csX71" fmla="*/ 2509493 w 3437996"/>
              <a:gd name="csY71" fmla="*/ 680082 h 2018071"/>
              <a:gd name="csX72" fmla="*/ 2480984 w 3437996"/>
              <a:gd name="csY72" fmla="*/ 651408 h 2018071"/>
              <a:gd name="csX73" fmla="*/ 2453925 w 3437996"/>
              <a:gd name="csY73" fmla="*/ 624049 h 2018071"/>
              <a:gd name="csX74" fmla="*/ 2452516 w 3437996"/>
              <a:gd name="csY74" fmla="*/ 622702 h 2018071"/>
              <a:gd name="csX75" fmla="*/ 2425486 w 3437996"/>
              <a:gd name="csY75" fmla="*/ 595418 h 2018071"/>
              <a:gd name="csX76" fmla="*/ 2424029 w 3437996"/>
              <a:gd name="csY76" fmla="*/ 593985 h 2018071"/>
              <a:gd name="csX77" fmla="*/ 2406640 w 3437996"/>
              <a:gd name="csY77" fmla="*/ 576281 h 2018071"/>
              <a:gd name="csX78" fmla="*/ 2368704 w 3437996"/>
              <a:gd name="csY78" fmla="*/ 538124 h 2018071"/>
              <a:gd name="csX79" fmla="*/ 2350552 w 3437996"/>
              <a:gd name="csY79" fmla="*/ 519835 h 2018071"/>
              <a:gd name="csX80" fmla="*/ 2322020 w 3437996"/>
              <a:gd name="csY80" fmla="*/ 491243 h 2018071"/>
              <a:gd name="csX81" fmla="*/ 2312510 w 3437996"/>
              <a:gd name="csY81" fmla="*/ 481725 h 2018071"/>
              <a:gd name="csX82" fmla="*/ 2274560 w 3437996"/>
              <a:gd name="csY82" fmla="*/ 443646 h 2018071"/>
              <a:gd name="csX83" fmla="*/ 2265120 w 3437996"/>
              <a:gd name="csY83" fmla="*/ 434112 h 2018071"/>
              <a:gd name="csX84" fmla="*/ 2252962 w 3437996"/>
              <a:gd name="csY84" fmla="*/ 421458 h 2018071"/>
              <a:gd name="csX85" fmla="*/ 2246361 w 3437996"/>
              <a:gd name="csY85" fmla="*/ 414989 h 2018071"/>
              <a:gd name="csX86" fmla="*/ 2226101 w 3437996"/>
              <a:gd name="csY86" fmla="*/ 394472 h 2018071"/>
              <a:gd name="csX87" fmla="*/ 2204126 w 3437996"/>
              <a:gd name="csY87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06007 w 3437996"/>
              <a:gd name="csY67" fmla="*/ 776562 h 2018071"/>
              <a:gd name="csX68" fmla="*/ 2566459 w 3437996"/>
              <a:gd name="csY68" fmla="*/ 737499 h 2018071"/>
              <a:gd name="csX69" fmla="*/ 2510900 w 3437996"/>
              <a:gd name="csY69" fmla="*/ 681286 h 2018071"/>
              <a:gd name="csX70" fmla="*/ 2509493 w 3437996"/>
              <a:gd name="csY70" fmla="*/ 680082 h 2018071"/>
              <a:gd name="csX71" fmla="*/ 2480984 w 3437996"/>
              <a:gd name="csY71" fmla="*/ 651408 h 2018071"/>
              <a:gd name="csX72" fmla="*/ 2453925 w 3437996"/>
              <a:gd name="csY72" fmla="*/ 624049 h 2018071"/>
              <a:gd name="csX73" fmla="*/ 2452516 w 3437996"/>
              <a:gd name="csY73" fmla="*/ 622702 h 2018071"/>
              <a:gd name="csX74" fmla="*/ 2425486 w 3437996"/>
              <a:gd name="csY74" fmla="*/ 595418 h 2018071"/>
              <a:gd name="csX75" fmla="*/ 2424029 w 3437996"/>
              <a:gd name="csY75" fmla="*/ 593985 h 2018071"/>
              <a:gd name="csX76" fmla="*/ 2406640 w 3437996"/>
              <a:gd name="csY76" fmla="*/ 576281 h 2018071"/>
              <a:gd name="csX77" fmla="*/ 2368704 w 3437996"/>
              <a:gd name="csY77" fmla="*/ 538124 h 2018071"/>
              <a:gd name="csX78" fmla="*/ 2350552 w 3437996"/>
              <a:gd name="csY78" fmla="*/ 519835 h 2018071"/>
              <a:gd name="csX79" fmla="*/ 2322020 w 3437996"/>
              <a:gd name="csY79" fmla="*/ 491243 h 2018071"/>
              <a:gd name="csX80" fmla="*/ 2312510 w 3437996"/>
              <a:gd name="csY80" fmla="*/ 481725 h 2018071"/>
              <a:gd name="csX81" fmla="*/ 2274560 w 3437996"/>
              <a:gd name="csY81" fmla="*/ 443646 h 2018071"/>
              <a:gd name="csX82" fmla="*/ 2265120 w 3437996"/>
              <a:gd name="csY82" fmla="*/ 434112 h 2018071"/>
              <a:gd name="csX83" fmla="*/ 2252962 w 3437996"/>
              <a:gd name="csY83" fmla="*/ 421458 h 2018071"/>
              <a:gd name="csX84" fmla="*/ 2246361 w 3437996"/>
              <a:gd name="csY84" fmla="*/ 414989 h 2018071"/>
              <a:gd name="csX85" fmla="*/ 2226101 w 3437996"/>
              <a:gd name="csY85" fmla="*/ 394472 h 2018071"/>
              <a:gd name="csX86" fmla="*/ 2204126 w 3437996"/>
              <a:gd name="csY86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06007 w 3437996"/>
              <a:gd name="csY67" fmla="*/ 776562 h 2018071"/>
              <a:gd name="csX68" fmla="*/ 2566459 w 3437996"/>
              <a:gd name="csY68" fmla="*/ 737499 h 2018071"/>
              <a:gd name="csX69" fmla="*/ 2510900 w 3437996"/>
              <a:gd name="csY69" fmla="*/ 681286 h 2018071"/>
              <a:gd name="csX70" fmla="*/ 2509493 w 3437996"/>
              <a:gd name="csY70" fmla="*/ 680082 h 2018071"/>
              <a:gd name="csX71" fmla="*/ 2453925 w 3437996"/>
              <a:gd name="csY71" fmla="*/ 624049 h 2018071"/>
              <a:gd name="csX72" fmla="*/ 2452516 w 3437996"/>
              <a:gd name="csY72" fmla="*/ 622702 h 2018071"/>
              <a:gd name="csX73" fmla="*/ 2425486 w 3437996"/>
              <a:gd name="csY73" fmla="*/ 595418 h 2018071"/>
              <a:gd name="csX74" fmla="*/ 2424029 w 3437996"/>
              <a:gd name="csY74" fmla="*/ 593985 h 2018071"/>
              <a:gd name="csX75" fmla="*/ 2406640 w 3437996"/>
              <a:gd name="csY75" fmla="*/ 576281 h 2018071"/>
              <a:gd name="csX76" fmla="*/ 2368704 w 3437996"/>
              <a:gd name="csY76" fmla="*/ 538124 h 2018071"/>
              <a:gd name="csX77" fmla="*/ 2350552 w 3437996"/>
              <a:gd name="csY77" fmla="*/ 519835 h 2018071"/>
              <a:gd name="csX78" fmla="*/ 2322020 w 3437996"/>
              <a:gd name="csY78" fmla="*/ 491243 h 2018071"/>
              <a:gd name="csX79" fmla="*/ 2312510 w 3437996"/>
              <a:gd name="csY79" fmla="*/ 481725 h 2018071"/>
              <a:gd name="csX80" fmla="*/ 2274560 w 3437996"/>
              <a:gd name="csY80" fmla="*/ 443646 h 2018071"/>
              <a:gd name="csX81" fmla="*/ 2265120 w 3437996"/>
              <a:gd name="csY81" fmla="*/ 434112 h 2018071"/>
              <a:gd name="csX82" fmla="*/ 2252962 w 3437996"/>
              <a:gd name="csY82" fmla="*/ 421458 h 2018071"/>
              <a:gd name="csX83" fmla="*/ 2246361 w 3437996"/>
              <a:gd name="csY83" fmla="*/ 414989 h 2018071"/>
              <a:gd name="csX84" fmla="*/ 2226101 w 3437996"/>
              <a:gd name="csY84" fmla="*/ 394472 h 2018071"/>
              <a:gd name="csX85" fmla="*/ 2204126 w 3437996"/>
              <a:gd name="csY85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06007 w 3437996"/>
              <a:gd name="csY67" fmla="*/ 776562 h 2018071"/>
              <a:gd name="csX68" fmla="*/ 2566459 w 3437996"/>
              <a:gd name="csY68" fmla="*/ 737499 h 2018071"/>
              <a:gd name="csX69" fmla="*/ 2510900 w 3437996"/>
              <a:gd name="csY69" fmla="*/ 681286 h 2018071"/>
              <a:gd name="csX70" fmla="*/ 2509493 w 3437996"/>
              <a:gd name="csY70" fmla="*/ 680082 h 2018071"/>
              <a:gd name="csX71" fmla="*/ 2453925 w 3437996"/>
              <a:gd name="csY71" fmla="*/ 624049 h 2018071"/>
              <a:gd name="csX72" fmla="*/ 2425486 w 3437996"/>
              <a:gd name="csY72" fmla="*/ 595418 h 2018071"/>
              <a:gd name="csX73" fmla="*/ 2424029 w 3437996"/>
              <a:gd name="csY73" fmla="*/ 593985 h 2018071"/>
              <a:gd name="csX74" fmla="*/ 2406640 w 3437996"/>
              <a:gd name="csY74" fmla="*/ 576281 h 2018071"/>
              <a:gd name="csX75" fmla="*/ 2368704 w 3437996"/>
              <a:gd name="csY75" fmla="*/ 538124 h 2018071"/>
              <a:gd name="csX76" fmla="*/ 2350552 w 3437996"/>
              <a:gd name="csY76" fmla="*/ 519835 h 2018071"/>
              <a:gd name="csX77" fmla="*/ 2322020 w 3437996"/>
              <a:gd name="csY77" fmla="*/ 491243 h 2018071"/>
              <a:gd name="csX78" fmla="*/ 2312510 w 3437996"/>
              <a:gd name="csY78" fmla="*/ 481725 h 2018071"/>
              <a:gd name="csX79" fmla="*/ 2274560 w 3437996"/>
              <a:gd name="csY79" fmla="*/ 443646 h 2018071"/>
              <a:gd name="csX80" fmla="*/ 2265120 w 3437996"/>
              <a:gd name="csY80" fmla="*/ 434112 h 2018071"/>
              <a:gd name="csX81" fmla="*/ 2252962 w 3437996"/>
              <a:gd name="csY81" fmla="*/ 421458 h 2018071"/>
              <a:gd name="csX82" fmla="*/ 2246361 w 3437996"/>
              <a:gd name="csY82" fmla="*/ 414989 h 2018071"/>
              <a:gd name="csX83" fmla="*/ 2226101 w 3437996"/>
              <a:gd name="csY83" fmla="*/ 394472 h 2018071"/>
              <a:gd name="csX84" fmla="*/ 2204126 w 3437996"/>
              <a:gd name="csY84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06007 w 3437996"/>
              <a:gd name="csY67" fmla="*/ 776562 h 2018071"/>
              <a:gd name="csX68" fmla="*/ 2566459 w 3437996"/>
              <a:gd name="csY68" fmla="*/ 737499 h 2018071"/>
              <a:gd name="csX69" fmla="*/ 2510900 w 3437996"/>
              <a:gd name="csY69" fmla="*/ 681286 h 2018071"/>
              <a:gd name="csX70" fmla="*/ 2509493 w 3437996"/>
              <a:gd name="csY70" fmla="*/ 680082 h 2018071"/>
              <a:gd name="csX71" fmla="*/ 2453925 w 3437996"/>
              <a:gd name="csY71" fmla="*/ 624049 h 2018071"/>
              <a:gd name="csX72" fmla="*/ 2425486 w 3437996"/>
              <a:gd name="csY72" fmla="*/ 595418 h 2018071"/>
              <a:gd name="csX73" fmla="*/ 2406640 w 3437996"/>
              <a:gd name="csY73" fmla="*/ 576281 h 2018071"/>
              <a:gd name="csX74" fmla="*/ 2368704 w 3437996"/>
              <a:gd name="csY74" fmla="*/ 538124 h 2018071"/>
              <a:gd name="csX75" fmla="*/ 2350552 w 3437996"/>
              <a:gd name="csY75" fmla="*/ 519835 h 2018071"/>
              <a:gd name="csX76" fmla="*/ 2322020 w 3437996"/>
              <a:gd name="csY76" fmla="*/ 491243 h 2018071"/>
              <a:gd name="csX77" fmla="*/ 2312510 w 3437996"/>
              <a:gd name="csY77" fmla="*/ 481725 h 2018071"/>
              <a:gd name="csX78" fmla="*/ 2274560 w 3437996"/>
              <a:gd name="csY78" fmla="*/ 443646 h 2018071"/>
              <a:gd name="csX79" fmla="*/ 2265120 w 3437996"/>
              <a:gd name="csY79" fmla="*/ 434112 h 2018071"/>
              <a:gd name="csX80" fmla="*/ 2252962 w 3437996"/>
              <a:gd name="csY80" fmla="*/ 421458 h 2018071"/>
              <a:gd name="csX81" fmla="*/ 2246361 w 3437996"/>
              <a:gd name="csY81" fmla="*/ 414989 h 2018071"/>
              <a:gd name="csX82" fmla="*/ 2226101 w 3437996"/>
              <a:gd name="csY82" fmla="*/ 394472 h 2018071"/>
              <a:gd name="csX83" fmla="*/ 2204126 w 3437996"/>
              <a:gd name="csY83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06007 w 3437996"/>
              <a:gd name="csY67" fmla="*/ 776562 h 2018071"/>
              <a:gd name="csX68" fmla="*/ 2566459 w 3437996"/>
              <a:gd name="csY68" fmla="*/ 737499 h 2018071"/>
              <a:gd name="csX69" fmla="*/ 2510900 w 3437996"/>
              <a:gd name="csY69" fmla="*/ 681286 h 2018071"/>
              <a:gd name="csX70" fmla="*/ 2509493 w 3437996"/>
              <a:gd name="csY70" fmla="*/ 680082 h 2018071"/>
              <a:gd name="csX71" fmla="*/ 2453925 w 3437996"/>
              <a:gd name="csY71" fmla="*/ 624049 h 2018071"/>
              <a:gd name="csX72" fmla="*/ 2425486 w 3437996"/>
              <a:gd name="csY72" fmla="*/ 595418 h 2018071"/>
              <a:gd name="csX73" fmla="*/ 2368704 w 3437996"/>
              <a:gd name="csY73" fmla="*/ 538124 h 2018071"/>
              <a:gd name="csX74" fmla="*/ 2350552 w 3437996"/>
              <a:gd name="csY74" fmla="*/ 519835 h 2018071"/>
              <a:gd name="csX75" fmla="*/ 2322020 w 3437996"/>
              <a:gd name="csY75" fmla="*/ 491243 h 2018071"/>
              <a:gd name="csX76" fmla="*/ 2312510 w 3437996"/>
              <a:gd name="csY76" fmla="*/ 481725 h 2018071"/>
              <a:gd name="csX77" fmla="*/ 2274560 w 3437996"/>
              <a:gd name="csY77" fmla="*/ 443646 h 2018071"/>
              <a:gd name="csX78" fmla="*/ 2265120 w 3437996"/>
              <a:gd name="csY78" fmla="*/ 434112 h 2018071"/>
              <a:gd name="csX79" fmla="*/ 2252962 w 3437996"/>
              <a:gd name="csY79" fmla="*/ 421458 h 2018071"/>
              <a:gd name="csX80" fmla="*/ 2246361 w 3437996"/>
              <a:gd name="csY80" fmla="*/ 414989 h 2018071"/>
              <a:gd name="csX81" fmla="*/ 2226101 w 3437996"/>
              <a:gd name="csY81" fmla="*/ 394472 h 2018071"/>
              <a:gd name="csX82" fmla="*/ 2204126 w 3437996"/>
              <a:gd name="csY82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06007 w 3437996"/>
              <a:gd name="csY67" fmla="*/ 776562 h 2018071"/>
              <a:gd name="csX68" fmla="*/ 2566459 w 3437996"/>
              <a:gd name="csY68" fmla="*/ 737499 h 2018071"/>
              <a:gd name="csX69" fmla="*/ 2510900 w 3437996"/>
              <a:gd name="csY69" fmla="*/ 681286 h 2018071"/>
              <a:gd name="csX70" fmla="*/ 2509493 w 3437996"/>
              <a:gd name="csY70" fmla="*/ 680082 h 2018071"/>
              <a:gd name="csX71" fmla="*/ 2453925 w 3437996"/>
              <a:gd name="csY71" fmla="*/ 624049 h 2018071"/>
              <a:gd name="csX72" fmla="*/ 2425486 w 3437996"/>
              <a:gd name="csY72" fmla="*/ 595418 h 2018071"/>
              <a:gd name="csX73" fmla="*/ 2350552 w 3437996"/>
              <a:gd name="csY73" fmla="*/ 519835 h 2018071"/>
              <a:gd name="csX74" fmla="*/ 2322020 w 3437996"/>
              <a:gd name="csY74" fmla="*/ 491243 h 2018071"/>
              <a:gd name="csX75" fmla="*/ 2312510 w 3437996"/>
              <a:gd name="csY75" fmla="*/ 481725 h 2018071"/>
              <a:gd name="csX76" fmla="*/ 2274560 w 3437996"/>
              <a:gd name="csY76" fmla="*/ 443646 h 2018071"/>
              <a:gd name="csX77" fmla="*/ 2265120 w 3437996"/>
              <a:gd name="csY77" fmla="*/ 434112 h 2018071"/>
              <a:gd name="csX78" fmla="*/ 2252962 w 3437996"/>
              <a:gd name="csY78" fmla="*/ 421458 h 2018071"/>
              <a:gd name="csX79" fmla="*/ 2246361 w 3437996"/>
              <a:gd name="csY79" fmla="*/ 414989 h 2018071"/>
              <a:gd name="csX80" fmla="*/ 2226101 w 3437996"/>
              <a:gd name="csY80" fmla="*/ 394472 h 2018071"/>
              <a:gd name="csX81" fmla="*/ 2204126 w 3437996"/>
              <a:gd name="csY81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06007 w 3437996"/>
              <a:gd name="csY67" fmla="*/ 776562 h 2018071"/>
              <a:gd name="csX68" fmla="*/ 2566459 w 3437996"/>
              <a:gd name="csY68" fmla="*/ 737499 h 2018071"/>
              <a:gd name="csX69" fmla="*/ 2510900 w 3437996"/>
              <a:gd name="csY69" fmla="*/ 681286 h 2018071"/>
              <a:gd name="csX70" fmla="*/ 2509493 w 3437996"/>
              <a:gd name="csY70" fmla="*/ 680082 h 2018071"/>
              <a:gd name="csX71" fmla="*/ 2453925 w 3437996"/>
              <a:gd name="csY71" fmla="*/ 624049 h 2018071"/>
              <a:gd name="csX72" fmla="*/ 2425486 w 3437996"/>
              <a:gd name="csY72" fmla="*/ 595418 h 2018071"/>
              <a:gd name="csX73" fmla="*/ 2350552 w 3437996"/>
              <a:gd name="csY73" fmla="*/ 519835 h 2018071"/>
              <a:gd name="csX74" fmla="*/ 2322020 w 3437996"/>
              <a:gd name="csY74" fmla="*/ 491243 h 2018071"/>
              <a:gd name="csX75" fmla="*/ 2274560 w 3437996"/>
              <a:gd name="csY75" fmla="*/ 443646 h 2018071"/>
              <a:gd name="csX76" fmla="*/ 2265120 w 3437996"/>
              <a:gd name="csY76" fmla="*/ 434112 h 2018071"/>
              <a:gd name="csX77" fmla="*/ 2252962 w 3437996"/>
              <a:gd name="csY77" fmla="*/ 421458 h 2018071"/>
              <a:gd name="csX78" fmla="*/ 2246361 w 3437996"/>
              <a:gd name="csY78" fmla="*/ 414989 h 2018071"/>
              <a:gd name="csX79" fmla="*/ 2226101 w 3437996"/>
              <a:gd name="csY79" fmla="*/ 394472 h 2018071"/>
              <a:gd name="csX80" fmla="*/ 2204126 w 3437996"/>
              <a:gd name="csY80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06007 w 3437996"/>
              <a:gd name="csY67" fmla="*/ 776562 h 2018071"/>
              <a:gd name="csX68" fmla="*/ 2566459 w 3437996"/>
              <a:gd name="csY68" fmla="*/ 737499 h 2018071"/>
              <a:gd name="csX69" fmla="*/ 2510900 w 3437996"/>
              <a:gd name="csY69" fmla="*/ 681286 h 2018071"/>
              <a:gd name="csX70" fmla="*/ 2509493 w 3437996"/>
              <a:gd name="csY70" fmla="*/ 680082 h 2018071"/>
              <a:gd name="csX71" fmla="*/ 2453925 w 3437996"/>
              <a:gd name="csY71" fmla="*/ 624049 h 2018071"/>
              <a:gd name="csX72" fmla="*/ 2425486 w 3437996"/>
              <a:gd name="csY72" fmla="*/ 595418 h 2018071"/>
              <a:gd name="csX73" fmla="*/ 2350552 w 3437996"/>
              <a:gd name="csY73" fmla="*/ 519835 h 2018071"/>
              <a:gd name="csX74" fmla="*/ 2322020 w 3437996"/>
              <a:gd name="csY74" fmla="*/ 491243 h 2018071"/>
              <a:gd name="csX75" fmla="*/ 2274560 w 3437996"/>
              <a:gd name="csY75" fmla="*/ 443646 h 2018071"/>
              <a:gd name="csX76" fmla="*/ 2252962 w 3437996"/>
              <a:gd name="csY76" fmla="*/ 421458 h 2018071"/>
              <a:gd name="csX77" fmla="*/ 2246361 w 3437996"/>
              <a:gd name="csY77" fmla="*/ 414989 h 2018071"/>
              <a:gd name="csX78" fmla="*/ 2226101 w 3437996"/>
              <a:gd name="csY78" fmla="*/ 394472 h 2018071"/>
              <a:gd name="csX79" fmla="*/ 2204126 w 3437996"/>
              <a:gd name="csY79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06007 w 3437996"/>
              <a:gd name="csY67" fmla="*/ 776562 h 2018071"/>
              <a:gd name="csX68" fmla="*/ 2566459 w 3437996"/>
              <a:gd name="csY68" fmla="*/ 737499 h 2018071"/>
              <a:gd name="csX69" fmla="*/ 2510900 w 3437996"/>
              <a:gd name="csY69" fmla="*/ 681286 h 2018071"/>
              <a:gd name="csX70" fmla="*/ 2509493 w 3437996"/>
              <a:gd name="csY70" fmla="*/ 680082 h 2018071"/>
              <a:gd name="csX71" fmla="*/ 2453925 w 3437996"/>
              <a:gd name="csY71" fmla="*/ 624049 h 2018071"/>
              <a:gd name="csX72" fmla="*/ 2425486 w 3437996"/>
              <a:gd name="csY72" fmla="*/ 595418 h 2018071"/>
              <a:gd name="csX73" fmla="*/ 2350552 w 3437996"/>
              <a:gd name="csY73" fmla="*/ 519835 h 2018071"/>
              <a:gd name="csX74" fmla="*/ 2322020 w 3437996"/>
              <a:gd name="csY74" fmla="*/ 491243 h 2018071"/>
              <a:gd name="csX75" fmla="*/ 2274560 w 3437996"/>
              <a:gd name="csY75" fmla="*/ 443646 h 2018071"/>
              <a:gd name="csX76" fmla="*/ 2252962 w 3437996"/>
              <a:gd name="csY76" fmla="*/ 421458 h 2018071"/>
              <a:gd name="csX77" fmla="*/ 2226101 w 3437996"/>
              <a:gd name="csY77" fmla="*/ 394472 h 2018071"/>
              <a:gd name="csX78" fmla="*/ 2204126 w 3437996"/>
              <a:gd name="csY78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06007 w 3437996"/>
              <a:gd name="csY67" fmla="*/ 776562 h 2018071"/>
              <a:gd name="csX68" fmla="*/ 2566459 w 3437996"/>
              <a:gd name="csY68" fmla="*/ 737499 h 2018071"/>
              <a:gd name="csX69" fmla="*/ 2510900 w 3437996"/>
              <a:gd name="csY69" fmla="*/ 681286 h 2018071"/>
              <a:gd name="csX70" fmla="*/ 2509493 w 3437996"/>
              <a:gd name="csY70" fmla="*/ 680082 h 2018071"/>
              <a:gd name="csX71" fmla="*/ 2453925 w 3437996"/>
              <a:gd name="csY71" fmla="*/ 624049 h 2018071"/>
              <a:gd name="csX72" fmla="*/ 2425486 w 3437996"/>
              <a:gd name="csY72" fmla="*/ 595418 h 2018071"/>
              <a:gd name="csX73" fmla="*/ 2350552 w 3437996"/>
              <a:gd name="csY73" fmla="*/ 519835 h 2018071"/>
              <a:gd name="csX74" fmla="*/ 2322020 w 3437996"/>
              <a:gd name="csY74" fmla="*/ 491243 h 2018071"/>
              <a:gd name="csX75" fmla="*/ 2274560 w 3437996"/>
              <a:gd name="csY75" fmla="*/ 443646 h 2018071"/>
              <a:gd name="csX76" fmla="*/ 2226101 w 3437996"/>
              <a:gd name="csY76" fmla="*/ 394472 h 2018071"/>
              <a:gd name="csX77" fmla="*/ 2204126 w 3437996"/>
              <a:gd name="csY77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06007 w 3437996"/>
              <a:gd name="csY67" fmla="*/ 776562 h 2018071"/>
              <a:gd name="csX68" fmla="*/ 2566459 w 3437996"/>
              <a:gd name="csY68" fmla="*/ 737499 h 2018071"/>
              <a:gd name="csX69" fmla="*/ 2510900 w 3437996"/>
              <a:gd name="csY69" fmla="*/ 681286 h 2018071"/>
              <a:gd name="csX70" fmla="*/ 2509493 w 3437996"/>
              <a:gd name="csY70" fmla="*/ 680082 h 2018071"/>
              <a:gd name="csX71" fmla="*/ 2453925 w 3437996"/>
              <a:gd name="csY71" fmla="*/ 624049 h 2018071"/>
              <a:gd name="csX72" fmla="*/ 2425486 w 3437996"/>
              <a:gd name="csY72" fmla="*/ 595418 h 2018071"/>
              <a:gd name="csX73" fmla="*/ 2350552 w 3437996"/>
              <a:gd name="csY73" fmla="*/ 519835 h 2018071"/>
              <a:gd name="csX74" fmla="*/ 2322020 w 3437996"/>
              <a:gd name="csY74" fmla="*/ 491243 h 2018071"/>
              <a:gd name="csX75" fmla="*/ 2226101 w 3437996"/>
              <a:gd name="csY75" fmla="*/ 394472 h 2018071"/>
              <a:gd name="csX76" fmla="*/ 2204126 w 3437996"/>
              <a:gd name="csY76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06007 w 3437996"/>
              <a:gd name="csY67" fmla="*/ 776562 h 2018071"/>
              <a:gd name="csX68" fmla="*/ 2566459 w 3437996"/>
              <a:gd name="csY68" fmla="*/ 737499 h 2018071"/>
              <a:gd name="csX69" fmla="*/ 2510900 w 3437996"/>
              <a:gd name="csY69" fmla="*/ 681286 h 2018071"/>
              <a:gd name="csX70" fmla="*/ 2509493 w 3437996"/>
              <a:gd name="csY70" fmla="*/ 680082 h 2018071"/>
              <a:gd name="csX71" fmla="*/ 2453925 w 3437996"/>
              <a:gd name="csY71" fmla="*/ 624049 h 2018071"/>
              <a:gd name="csX72" fmla="*/ 2425486 w 3437996"/>
              <a:gd name="csY72" fmla="*/ 595418 h 2018071"/>
              <a:gd name="csX73" fmla="*/ 2350552 w 3437996"/>
              <a:gd name="csY73" fmla="*/ 519835 h 2018071"/>
              <a:gd name="csX74" fmla="*/ 2322020 w 3437996"/>
              <a:gd name="csY74" fmla="*/ 491243 h 2018071"/>
              <a:gd name="csX75" fmla="*/ 2204126 w 3437996"/>
              <a:gd name="csY75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06007 w 3437996"/>
              <a:gd name="csY67" fmla="*/ 776562 h 2018071"/>
              <a:gd name="csX68" fmla="*/ 2566459 w 3437996"/>
              <a:gd name="csY68" fmla="*/ 737499 h 2018071"/>
              <a:gd name="csX69" fmla="*/ 2510900 w 3437996"/>
              <a:gd name="csY69" fmla="*/ 681286 h 2018071"/>
              <a:gd name="csX70" fmla="*/ 2509493 w 3437996"/>
              <a:gd name="csY70" fmla="*/ 680082 h 2018071"/>
              <a:gd name="csX71" fmla="*/ 2453925 w 3437996"/>
              <a:gd name="csY71" fmla="*/ 624049 h 2018071"/>
              <a:gd name="csX72" fmla="*/ 2425486 w 3437996"/>
              <a:gd name="csY72" fmla="*/ 595418 h 2018071"/>
              <a:gd name="csX73" fmla="*/ 2350552 w 3437996"/>
              <a:gd name="csY73" fmla="*/ 519835 h 2018071"/>
              <a:gd name="csX74" fmla="*/ 2204126 w 3437996"/>
              <a:gd name="csY74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06007 w 3437996"/>
              <a:gd name="csY67" fmla="*/ 776562 h 2018071"/>
              <a:gd name="csX68" fmla="*/ 2566459 w 3437996"/>
              <a:gd name="csY68" fmla="*/ 737499 h 2018071"/>
              <a:gd name="csX69" fmla="*/ 2510900 w 3437996"/>
              <a:gd name="csY69" fmla="*/ 681286 h 2018071"/>
              <a:gd name="csX70" fmla="*/ 2509493 w 3437996"/>
              <a:gd name="csY70" fmla="*/ 680082 h 2018071"/>
              <a:gd name="csX71" fmla="*/ 2453925 w 3437996"/>
              <a:gd name="csY71" fmla="*/ 624049 h 2018071"/>
              <a:gd name="csX72" fmla="*/ 2425486 w 3437996"/>
              <a:gd name="csY72" fmla="*/ 595418 h 2018071"/>
              <a:gd name="csX73" fmla="*/ 2204126 w 3437996"/>
              <a:gd name="csY73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06007 w 3437996"/>
              <a:gd name="csY67" fmla="*/ 776562 h 2018071"/>
              <a:gd name="csX68" fmla="*/ 2566459 w 3437996"/>
              <a:gd name="csY68" fmla="*/ 737499 h 2018071"/>
              <a:gd name="csX69" fmla="*/ 2510900 w 3437996"/>
              <a:gd name="csY69" fmla="*/ 681286 h 2018071"/>
              <a:gd name="csX70" fmla="*/ 2509493 w 3437996"/>
              <a:gd name="csY70" fmla="*/ 680082 h 2018071"/>
              <a:gd name="csX71" fmla="*/ 2425486 w 3437996"/>
              <a:gd name="csY71" fmla="*/ 595418 h 2018071"/>
              <a:gd name="csX72" fmla="*/ 2204126 w 3437996"/>
              <a:gd name="csY72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06007 w 3437996"/>
              <a:gd name="csY67" fmla="*/ 776562 h 2018071"/>
              <a:gd name="csX68" fmla="*/ 2566459 w 3437996"/>
              <a:gd name="csY68" fmla="*/ 737499 h 2018071"/>
              <a:gd name="csX69" fmla="*/ 2510900 w 3437996"/>
              <a:gd name="csY69" fmla="*/ 681286 h 2018071"/>
              <a:gd name="csX70" fmla="*/ 2425486 w 3437996"/>
              <a:gd name="csY70" fmla="*/ 595418 h 2018071"/>
              <a:gd name="csX71" fmla="*/ 2204126 w 3437996"/>
              <a:gd name="csY71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566459 w 3437996"/>
              <a:gd name="csY67" fmla="*/ 737499 h 2018071"/>
              <a:gd name="csX68" fmla="*/ 2510900 w 3437996"/>
              <a:gd name="csY68" fmla="*/ 681286 h 2018071"/>
              <a:gd name="csX69" fmla="*/ 2425486 w 3437996"/>
              <a:gd name="csY69" fmla="*/ 595418 h 2018071"/>
              <a:gd name="csX70" fmla="*/ 2204126 w 3437996"/>
              <a:gd name="csY70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510900 w 3437996"/>
              <a:gd name="csY67" fmla="*/ 681286 h 2018071"/>
              <a:gd name="csX68" fmla="*/ 2425486 w 3437996"/>
              <a:gd name="csY68" fmla="*/ 595418 h 2018071"/>
              <a:gd name="csX69" fmla="*/ 2204126 w 3437996"/>
              <a:gd name="csY69" fmla="*/ 367340 h 201807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</a:cxnLst>
            <a:rect l="l" t="t" r="r" b="b"/>
            <a:pathLst>
              <a:path w="3437996" h="2018071">
                <a:moveTo>
                  <a:pt x="2204126" y="367340"/>
                </a:moveTo>
                <a:cubicBezTo>
                  <a:pt x="2164898" y="328716"/>
                  <a:pt x="2125602" y="293701"/>
                  <a:pt x="2092189" y="253764"/>
                </a:cubicBezTo>
                <a:cubicBezTo>
                  <a:pt x="1998953" y="142320"/>
                  <a:pt x="1890018" y="93439"/>
                  <a:pt x="1748351" y="157374"/>
                </a:cubicBezTo>
                <a:cubicBezTo>
                  <a:pt x="1737148" y="162430"/>
                  <a:pt x="1724984" y="165359"/>
                  <a:pt x="1713484" y="175406"/>
                </a:cubicBezTo>
                <a:lnTo>
                  <a:pt x="1861094" y="175152"/>
                </a:lnTo>
                <a:cubicBezTo>
                  <a:pt x="1921710" y="173611"/>
                  <a:pt x="1971536" y="194108"/>
                  <a:pt x="2014297" y="237763"/>
                </a:cubicBezTo>
                <a:lnTo>
                  <a:pt x="2644946" y="878435"/>
                </a:lnTo>
                <a:cubicBezTo>
                  <a:pt x="2674436" y="908340"/>
                  <a:pt x="2695943" y="941968"/>
                  <a:pt x="2707143" y="983233"/>
                </a:cubicBezTo>
                <a:cubicBezTo>
                  <a:pt x="2732448" y="1076472"/>
                  <a:pt x="2763734" y="1168256"/>
                  <a:pt x="2785162" y="1262323"/>
                </a:cubicBezTo>
                <a:cubicBezTo>
                  <a:pt x="2799779" y="1326492"/>
                  <a:pt x="2844600" y="1376783"/>
                  <a:pt x="2854807" y="1442604"/>
                </a:cubicBezTo>
                <a:cubicBezTo>
                  <a:pt x="2866750" y="1519622"/>
                  <a:pt x="2877771" y="1596210"/>
                  <a:pt x="2872452" y="1674268"/>
                </a:cubicBezTo>
                <a:cubicBezTo>
                  <a:pt x="2867684" y="1744236"/>
                  <a:pt x="2873829" y="1813560"/>
                  <a:pt x="2882558" y="1882875"/>
                </a:cubicBezTo>
                <a:cubicBezTo>
                  <a:pt x="2885273" y="1904429"/>
                  <a:pt x="2890183" y="1928438"/>
                  <a:pt x="2856954" y="1937838"/>
                </a:cubicBezTo>
                <a:cubicBezTo>
                  <a:pt x="2809843" y="1927788"/>
                  <a:pt x="2783071" y="1900099"/>
                  <a:pt x="2761603" y="1862341"/>
                </a:cubicBezTo>
                <a:cubicBezTo>
                  <a:pt x="2721315" y="1791478"/>
                  <a:pt x="2685159" y="1720980"/>
                  <a:pt x="2685405" y="1635685"/>
                </a:cubicBezTo>
                <a:cubicBezTo>
                  <a:pt x="2685532" y="1591656"/>
                  <a:pt x="2672033" y="1547527"/>
                  <a:pt x="2652160" y="1507540"/>
                </a:cubicBezTo>
                <a:cubicBezTo>
                  <a:pt x="2597017" y="1396589"/>
                  <a:pt x="2556974" y="1279383"/>
                  <a:pt x="2509087" y="1165452"/>
                </a:cubicBezTo>
                <a:cubicBezTo>
                  <a:pt x="2483424" y="1104397"/>
                  <a:pt x="2444117" y="1057279"/>
                  <a:pt x="2391927" y="1019350"/>
                </a:cubicBezTo>
                <a:cubicBezTo>
                  <a:pt x="2270183" y="930871"/>
                  <a:pt x="2145737" y="845886"/>
                  <a:pt x="2035704" y="742390"/>
                </a:cubicBezTo>
                <a:cubicBezTo>
                  <a:pt x="2017929" y="725671"/>
                  <a:pt x="1998394" y="722118"/>
                  <a:pt x="1974551" y="725535"/>
                </a:cubicBezTo>
                <a:cubicBezTo>
                  <a:pt x="1887562" y="737998"/>
                  <a:pt x="1803403" y="734813"/>
                  <a:pt x="1731788" y="673777"/>
                </a:cubicBezTo>
                <a:cubicBezTo>
                  <a:pt x="1707819" y="653347"/>
                  <a:pt x="1693567" y="665145"/>
                  <a:pt x="1679705" y="687877"/>
                </a:cubicBezTo>
                <a:cubicBezTo>
                  <a:pt x="1631010" y="767727"/>
                  <a:pt x="1579938" y="846092"/>
                  <a:pt x="1526835" y="923084"/>
                </a:cubicBezTo>
                <a:cubicBezTo>
                  <a:pt x="1510879" y="946218"/>
                  <a:pt x="1496770" y="972363"/>
                  <a:pt x="1462074" y="978021"/>
                </a:cubicBezTo>
                <a:cubicBezTo>
                  <a:pt x="1451761" y="954831"/>
                  <a:pt x="1444842" y="932747"/>
                  <a:pt x="1434944" y="901156"/>
                </a:cubicBezTo>
                <a:cubicBezTo>
                  <a:pt x="1433074" y="1057705"/>
                  <a:pt x="1488517" y="1182183"/>
                  <a:pt x="1577323" y="1295803"/>
                </a:cubicBezTo>
                <a:cubicBezTo>
                  <a:pt x="1666027" y="1409292"/>
                  <a:pt x="1785857" y="1484965"/>
                  <a:pt x="1900783" y="1565972"/>
                </a:cubicBezTo>
                <a:cubicBezTo>
                  <a:pt x="1987439" y="1627053"/>
                  <a:pt x="2058867" y="1702616"/>
                  <a:pt x="2127709" y="1781152"/>
                </a:cubicBezTo>
                <a:cubicBezTo>
                  <a:pt x="2176033" y="1836280"/>
                  <a:pt x="2186401" y="1908896"/>
                  <a:pt x="2206521" y="1980536"/>
                </a:cubicBezTo>
                <a:cubicBezTo>
                  <a:pt x="2210411" y="1995439"/>
                  <a:pt x="2212310" y="2006369"/>
                  <a:pt x="2199792" y="2017096"/>
                </a:cubicBezTo>
                <a:cubicBezTo>
                  <a:pt x="2194301" y="2018343"/>
                  <a:pt x="2192011" y="2018363"/>
                  <a:pt x="2186442" y="2017335"/>
                </a:cubicBezTo>
                <a:cubicBezTo>
                  <a:pt x="2179253" y="2013889"/>
                  <a:pt x="2175688" y="2011058"/>
                  <a:pt x="2170299" y="2005190"/>
                </a:cubicBezTo>
                <a:cubicBezTo>
                  <a:pt x="2154959" y="1983220"/>
                  <a:pt x="2142674" y="1963289"/>
                  <a:pt x="2126464" y="1946051"/>
                </a:cubicBezTo>
                <a:cubicBezTo>
                  <a:pt x="2073358" y="1889574"/>
                  <a:pt x="2043536" y="1884645"/>
                  <a:pt x="1971123" y="1923401"/>
                </a:cubicBezTo>
                <a:cubicBezTo>
                  <a:pt x="1966348" y="1926156"/>
                  <a:pt x="1964439" y="1927270"/>
                  <a:pt x="1956849" y="1931980"/>
                </a:cubicBezTo>
                <a:cubicBezTo>
                  <a:pt x="1949216" y="1936773"/>
                  <a:pt x="1947265" y="1937971"/>
                  <a:pt x="1942194" y="1940716"/>
                </a:cubicBezTo>
                <a:cubicBezTo>
                  <a:pt x="1936824" y="1942935"/>
                  <a:pt x="1934574" y="1943607"/>
                  <a:pt x="1928792" y="1944639"/>
                </a:cubicBezTo>
                <a:cubicBezTo>
                  <a:pt x="1908045" y="1944507"/>
                  <a:pt x="1894304" y="1935503"/>
                  <a:pt x="1884480" y="1923176"/>
                </a:cubicBezTo>
                <a:cubicBezTo>
                  <a:pt x="1817624" y="1839285"/>
                  <a:pt x="1720986" y="1793984"/>
                  <a:pt x="1636876" y="1732838"/>
                </a:cubicBezTo>
                <a:cubicBezTo>
                  <a:pt x="1549808" y="1669543"/>
                  <a:pt x="1455940" y="1615455"/>
                  <a:pt x="1370555" y="1549842"/>
                </a:cubicBezTo>
                <a:cubicBezTo>
                  <a:pt x="1258782" y="1463951"/>
                  <a:pt x="1133301" y="1413117"/>
                  <a:pt x="996942" y="1382330"/>
                </a:cubicBezTo>
                <a:cubicBezTo>
                  <a:pt x="907442" y="1362124"/>
                  <a:pt x="819799" y="1333997"/>
                  <a:pt x="732621" y="1304553"/>
                </a:cubicBezTo>
                <a:cubicBezTo>
                  <a:pt x="571539" y="1250148"/>
                  <a:pt x="431770" y="1161260"/>
                  <a:pt x="316929" y="1038062"/>
                </a:cubicBezTo>
                <a:cubicBezTo>
                  <a:pt x="250795" y="967116"/>
                  <a:pt x="168511" y="939453"/>
                  <a:pt x="81792" y="914189"/>
                </a:cubicBezTo>
                <a:cubicBezTo>
                  <a:pt x="66585" y="909759"/>
                  <a:pt x="51261" y="905779"/>
                  <a:pt x="36108" y="901107"/>
                </a:cubicBezTo>
                <a:cubicBezTo>
                  <a:pt x="7275" y="892215"/>
                  <a:pt x="-6134" y="874705"/>
                  <a:pt x="2675" y="840617"/>
                </a:cubicBezTo>
                <a:cubicBezTo>
                  <a:pt x="3677" y="837195"/>
                  <a:pt x="2160" y="834996"/>
                  <a:pt x="2863" y="833860"/>
                </a:cubicBezTo>
                <a:cubicBezTo>
                  <a:pt x="17116" y="738737"/>
                  <a:pt x="73713" y="366595"/>
                  <a:pt x="88193" y="269877"/>
                </a:cubicBezTo>
                <a:cubicBezTo>
                  <a:pt x="118108" y="169159"/>
                  <a:pt x="161431" y="234661"/>
                  <a:pt x="182353" y="229554"/>
                </a:cubicBezTo>
                <a:cubicBezTo>
                  <a:pt x="203275" y="224447"/>
                  <a:pt x="174625" y="227507"/>
                  <a:pt x="213726" y="239233"/>
                </a:cubicBezTo>
                <a:cubicBezTo>
                  <a:pt x="252827" y="250959"/>
                  <a:pt x="350859" y="278265"/>
                  <a:pt x="416961" y="299911"/>
                </a:cubicBezTo>
                <a:cubicBezTo>
                  <a:pt x="485546" y="322369"/>
                  <a:pt x="553112" y="322198"/>
                  <a:pt x="622809" y="305227"/>
                </a:cubicBezTo>
                <a:lnTo>
                  <a:pt x="1851374" y="7502"/>
                </a:lnTo>
                <a:cubicBezTo>
                  <a:pt x="1957600" y="-18463"/>
                  <a:pt x="2044157" y="26609"/>
                  <a:pt x="2119617" y="86919"/>
                </a:cubicBezTo>
                <a:cubicBezTo>
                  <a:pt x="2346255" y="268054"/>
                  <a:pt x="2582891" y="436272"/>
                  <a:pt x="2805452" y="622669"/>
                </a:cubicBezTo>
                <a:cubicBezTo>
                  <a:pt x="2899009" y="701024"/>
                  <a:pt x="2968276" y="799778"/>
                  <a:pt x="3047873" y="889895"/>
                </a:cubicBezTo>
                <a:cubicBezTo>
                  <a:pt x="3099291" y="948109"/>
                  <a:pt x="3147658" y="1009181"/>
                  <a:pt x="3201337" y="1065192"/>
                </a:cubicBezTo>
                <a:cubicBezTo>
                  <a:pt x="3256365" y="1122610"/>
                  <a:pt x="3296570" y="1188343"/>
                  <a:pt x="3322212" y="1262254"/>
                </a:cubicBezTo>
                <a:cubicBezTo>
                  <a:pt x="3347657" y="1335602"/>
                  <a:pt x="3397449" y="1394057"/>
                  <a:pt x="3434603" y="1463610"/>
                </a:cubicBezTo>
                <a:cubicBezTo>
                  <a:pt x="3438853" y="1474948"/>
                  <a:pt x="3438266" y="1483581"/>
                  <a:pt x="3437317" y="1496424"/>
                </a:cubicBezTo>
                <a:cubicBezTo>
                  <a:pt x="3436642" y="1500671"/>
                  <a:pt x="3437238" y="1501506"/>
                  <a:pt x="3437173" y="1502015"/>
                </a:cubicBezTo>
                <a:cubicBezTo>
                  <a:pt x="3369245" y="1509023"/>
                  <a:pt x="3313560" y="1482365"/>
                  <a:pt x="3265778" y="1437268"/>
                </a:cubicBezTo>
                <a:cubicBezTo>
                  <a:pt x="3216239" y="1390513"/>
                  <a:pt x="3172313" y="1338372"/>
                  <a:pt x="3131933" y="1283723"/>
                </a:cubicBezTo>
                <a:cubicBezTo>
                  <a:pt x="3053326" y="1177337"/>
                  <a:pt x="2959073" y="1086814"/>
                  <a:pt x="2856351" y="1004478"/>
                </a:cubicBezTo>
                <a:cubicBezTo>
                  <a:pt x="2842741" y="993568"/>
                  <a:pt x="2827385" y="983872"/>
                  <a:pt x="2818150" y="969213"/>
                </a:cubicBezTo>
                <a:cubicBezTo>
                  <a:pt x="2778296" y="905949"/>
                  <a:pt x="2724612" y="858935"/>
                  <a:pt x="2654127" y="825572"/>
                </a:cubicBezTo>
                <a:cubicBezTo>
                  <a:pt x="2651245" y="823660"/>
                  <a:pt x="2651612" y="822886"/>
                  <a:pt x="2651783" y="823279"/>
                </a:cubicBezTo>
                <a:lnTo>
                  <a:pt x="2510900" y="681286"/>
                </a:lnTo>
                <a:cubicBezTo>
                  <a:pt x="2487405" y="657606"/>
                  <a:pt x="2476615" y="647742"/>
                  <a:pt x="2425486" y="595418"/>
                </a:cubicBezTo>
                <a:lnTo>
                  <a:pt x="2204126" y="367340"/>
                </a:lnTo>
                <a:close/>
              </a:path>
            </a:pathLst>
          </a:custGeom>
          <a:solidFill>
            <a:schemeClr val="accent3"/>
          </a:solidFill>
          <a:ln w="9525" cap="flat">
            <a:noFill/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3526" name="Free-form: Shape 3525">
            <a:extLst>
              <a:ext uri="{FF2B5EF4-FFF2-40B4-BE49-F238E27FC236}">
                <a16:creationId xmlns:a16="http://schemas.microsoft.com/office/drawing/2014/main" id="{06C0B11A-B95C-609D-098E-3C7CD2BC7935}"/>
              </a:ext>
            </a:extLst>
          </p:cNvPr>
          <p:cNvSpPr/>
          <p:nvPr/>
        </p:nvSpPr>
        <p:spPr>
          <a:xfrm>
            <a:off x="3004329" y="4057827"/>
            <a:ext cx="771445" cy="1246516"/>
          </a:xfrm>
          <a:custGeom>
            <a:avLst/>
            <a:gdLst>
              <a:gd name="csX0" fmla="*/ 216582 w 1022493"/>
              <a:gd name="csY0" fmla="*/ 486949 h 1652165"/>
              <a:gd name="csX1" fmla="*/ 273854 w 1022493"/>
              <a:gd name="csY1" fmla="*/ 369372 h 1652165"/>
              <a:gd name="csX2" fmla="*/ 268878 w 1022493"/>
              <a:gd name="csY2" fmla="*/ 260366 h 1652165"/>
              <a:gd name="csX3" fmla="*/ 308916 w 1022493"/>
              <a:gd name="csY3" fmla="*/ 184989 h 1652165"/>
              <a:gd name="csX4" fmla="*/ 596295 w 1022493"/>
              <a:gd name="csY4" fmla="*/ 0 h 1652165"/>
              <a:gd name="csX5" fmla="*/ 587704 w 1022493"/>
              <a:gd name="csY5" fmla="*/ 127504 h 1652165"/>
              <a:gd name="csX6" fmla="*/ 615025 w 1022493"/>
              <a:gd name="csY6" fmla="*/ 178141 h 1652165"/>
              <a:gd name="csX7" fmla="*/ 789571 w 1022493"/>
              <a:gd name="csY7" fmla="*/ 314355 h 1652165"/>
              <a:gd name="csX8" fmla="*/ 800723 w 1022493"/>
              <a:gd name="csY8" fmla="*/ 334872 h 1652165"/>
              <a:gd name="csX9" fmla="*/ 1003096 w 1022493"/>
              <a:gd name="csY9" fmla="*/ 678057 h 1652165"/>
              <a:gd name="csX10" fmla="*/ 988840 w 1022493"/>
              <a:gd name="csY10" fmla="*/ 854515 h 1652165"/>
              <a:gd name="csX11" fmla="*/ 898193 w 1022493"/>
              <a:gd name="csY11" fmla="*/ 840769 h 1652165"/>
              <a:gd name="csX12" fmla="*/ 873551 w 1022493"/>
              <a:gd name="csY12" fmla="*/ 830353 h 1652165"/>
              <a:gd name="csX13" fmla="*/ 884716 w 1022493"/>
              <a:gd name="csY13" fmla="*/ 893252 h 1652165"/>
              <a:gd name="csX14" fmla="*/ 811064 w 1022493"/>
              <a:gd name="csY14" fmla="*/ 842752 h 1652165"/>
              <a:gd name="csX15" fmla="*/ 576315 w 1022493"/>
              <a:gd name="csY15" fmla="*/ 701540 h 1652165"/>
              <a:gd name="csX16" fmla="*/ 415196 w 1022493"/>
              <a:gd name="csY16" fmla="*/ 536274 h 1652165"/>
              <a:gd name="csX17" fmla="*/ 406764 w 1022493"/>
              <a:gd name="csY17" fmla="*/ 497863 h 1652165"/>
              <a:gd name="csX18" fmla="*/ 390315 w 1022493"/>
              <a:gd name="csY18" fmla="*/ 665779 h 1652165"/>
              <a:gd name="csX19" fmla="*/ 480128 w 1022493"/>
              <a:gd name="csY19" fmla="*/ 838772 h 1652165"/>
              <a:gd name="csX20" fmla="*/ 656185 w 1022493"/>
              <a:gd name="csY20" fmla="*/ 1165287 h 1652165"/>
              <a:gd name="csX21" fmla="*/ 638678 w 1022493"/>
              <a:gd name="csY21" fmla="*/ 1607879 h 1652165"/>
              <a:gd name="csX22" fmla="*/ 548059 w 1022493"/>
              <a:gd name="csY22" fmla="*/ 1649950 h 1652165"/>
              <a:gd name="csX23" fmla="*/ 31726 w 1022493"/>
              <a:gd name="csY23" fmla="*/ 1539556 h 1652165"/>
              <a:gd name="csX24" fmla="*/ 8296 w 1022493"/>
              <a:gd name="csY24" fmla="*/ 1501440 h 1652165"/>
              <a:gd name="csX25" fmla="*/ 96664 w 1022493"/>
              <a:gd name="csY25" fmla="*/ 1006813 h 1652165"/>
              <a:gd name="csX26" fmla="*/ 72468 w 1022493"/>
              <a:gd name="csY26" fmla="*/ 585504 h 1652165"/>
              <a:gd name="csX27" fmla="*/ 124014 w 1022493"/>
              <a:gd name="csY27" fmla="*/ 528765 h 1652165"/>
              <a:gd name="csX28" fmla="*/ 216582 w 1022493"/>
              <a:gd name="csY28" fmla="*/ 486949 h 165216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</a:cxnLst>
            <a:rect l="l" t="t" r="r" b="b"/>
            <a:pathLst>
              <a:path w="1022493" h="1652165">
                <a:moveTo>
                  <a:pt x="216582" y="486949"/>
                </a:moveTo>
                <a:cubicBezTo>
                  <a:pt x="258238" y="456111"/>
                  <a:pt x="275076" y="416912"/>
                  <a:pt x="273854" y="369372"/>
                </a:cubicBezTo>
                <a:cubicBezTo>
                  <a:pt x="272917" y="332920"/>
                  <a:pt x="276973" y="295210"/>
                  <a:pt x="268878" y="260366"/>
                </a:cubicBezTo>
                <a:cubicBezTo>
                  <a:pt x="259334" y="219289"/>
                  <a:pt x="269981" y="196369"/>
                  <a:pt x="308916" y="184989"/>
                </a:cubicBezTo>
                <a:cubicBezTo>
                  <a:pt x="421802" y="151996"/>
                  <a:pt x="528572" y="109064"/>
                  <a:pt x="596295" y="0"/>
                </a:cubicBezTo>
                <a:cubicBezTo>
                  <a:pt x="606080" y="48776"/>
                  <a:pt x="596174" y="88192"/>
                  <a:pt x="587704" y="127504"/>
                </a:cubicBezTo>
                <a:cubicBezTo>
                  <a:pt x="582122" y="153413"/>
                  <a:pt x="588056" y="169915"/>
                  <a:pt x="615025" y="178141"/>
                </a:cubicBezTo>
                <a:cubicBezTo>
                  <a:pt x="690411" y="201134"/>
                  <a:pt x="731318" y="268999"/>
                  <a:pt x="789571" y="314355"/>
                </a:cubicBezTo>
                <a:cubicBezTo>
                  <a:pt x="795263" y="318787"/>
                  <a:pt x="799635" y="327544"/>
                  <a:pt x="800723" y="334872"/>
                </a:cubicBezTo>
                <a:cubicBezTo>
                  <a:pt x="821784" y="476634"/>
                  <a:pt x="924972" y="570193"/>
                  <a:pt x="1003096" y="678057"/>
                </a:cubicBezTo>
                <a:cubicBezTo>
                  <a:pt x="1032633" y="718839"/>
                  <a:pt x="1028869" y="824004"/>
                  <a:pt x="988840" y="854515"/>
                </a:cubicBezTo>
                <a:cubicBezTo>
                  <a:pt x="955578" y="879868"/>
                  <a:pt x="926223" y="861216"/>
                  <a:pt x="898193" y="840769"/>
                </a:cubicBezTo>
                <a:cubicBezTo>
                  <a:pt x="891230" y="835690"/>
                  <a:pt x="885731" y="825863"/>
                  <a:pt x="873551" y="830353"/>
                </a:cubicBezTo>
                <a:cubicBezTo>
                  <a:pt x="866073" y="851802"/>
                  <a:pt x="887168" y="867958"/>
                  <a:pt x="884716" y="893252"/>
                </a:cubicBezTo>
                <a:cubicBezTo>
                  <a:pt x="849680" y="890607"/>
                  <a:pt x="826803" y="869982"/>
                  <a:pt x="811064" y="842752"/>
                </a:cubicBezTo>
                <a:cubicBezTo>
                  <a:pt x="758599" y="751984"/>
                  <a:pt x="686688" y="702023"/>
                  <a:pt x="576315" y="701540"/>
                </a:cubicBezTo>
                <a:cubicBezTo>
                  <a:pt x="478959" y="701114"/>
                  <a:pt x="420192" y="632676"/>
                  <a:pt x="415196" y="536274"/>
                </a:cubicBezTo>
                <a:cubicBezTo>
                  <a:pt x="414597" y="524732"/>
                  <a:pt x="419842" y="511739"/>
                  <a:pt x="406764" y="497863"/>
                </a:cubicBezTo>
                <a:cubicBezTo>
                  <a:pt x="376115" y="553337"/>
                  <a:pt x="363605" y="608618"/>
                  <a:pt x="390315" y="665779"/>
                </a:cubicBezTo>
                <a:cubicBezTo>
                  <a:pt x="417798" y="724593"/>
                  <a:pt x="449387" y="781526"/>
                  <a:pt x="480128" y="838772"/>
                </a:cubicBezTo>
                <a:cubicBezTo>
                  <a:pt x="538630" y="947713"/>
                  <a:pt x="599946" y="1055199"/>
                  <a:pt x="656185" y="1165287"/>
                </a:cubicBezTo>
                <a:cubicBezTo>
                  <a:pt x="732720" y="1315105"/>
                  <a:pt x="731394" y="1463187"/>
                  <a:pt x="638678" y="1607879"/>
                </a:cubicBezTo>
                <a:cubicBezTo>
                  <a:pt x="615970" y="1643316"/>
                  <a:pt x="590184" y="1658184"/>
                  <a:pt x="548059" y="1649950"/>
                </a:cubicBezTo>
                <a:cubicBezTo>
                  <a:pt x="375288" y="1616179"/>
                  <a:pt x="202813" y="1581099"/>
                  <a:pt x="31726" y="1539556"/>
                </a:cubicBezTo>
                <a:cubicBezTo>
                  <a:pt x="14007" y="1535253"/>
                  <a:pt x="-14094" y="1534965"/>
                  <a:pt x="8296" y="1501440"/>
                </a:cubicBezTo>
                <a:cubicBezTo>
                  <a:pt x="109663" y="1349658"/>
                  <a:pt x="116609" y="1180511"/>
                  <a:pt x="96664" y="1006813"/>
                </a:cubicBezTo>
                <a:cubicBezTo>
                  <a:pt x="80593" y="866853"/>
                  <a:pt x="53259" y="727656"/>
                  <a:pt x="72468" y="585504"/>
                </a:cubicBezTo>
                <a:cubicBezTo>
                  <a:pt x="76875" y="552891"/>
                  <a:pt x="81260" y="528206"/>
                  <a:pt x="124014" y="528765"/>
                </a:cubicBezTo>
                <a:cubicBezTo>
                  <a:pt x="157856" y="529208"/>
                  <a:pt x="187437" y="510542"/>
                  <a:pt x="216582" y="486949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3527" name="Free-form: Shape 3526">
            <a:extLst>
              <a:ext uri="{FF2B5EF4-FFF2-40B4-BE49-F238E27FC236}">
                <a16:creationId xmlns:a16="http://schemas.microsoft.com/office/drawing/2014/main" id="{2F332651-1DFC-F2C2-69E5-5ED88B6A5584}"/>
              </a:ext>
            </a:extLst>
          </p:cNvPr>
          <p:cNvSpPr/>
          <p:nvPr/>
        </p:nvSpPr>
        <p:spPr>
          <a:xfrm>
            <a:off x="2697743" y="3440300"/>
            <a:ext cx="741124" cy="664157"/>
          </a:xfrm>
          <a:custGeom>
            <a:avLst/>
            <a:gdLst>
              <a:gd name="csX0" fmla="*/ 563448 w 982305"/>
              <a:gd name="csY0" fmla="*/ 142548 h 880291"/>
              <a:gd name="csX1" fmla="*/ 771100 w 982305"/>
              <a:gd name="csY1" fmla="*/ 290979 h 880291"/>
              <a:gd name="csX2" fmla="*/ 801526 w 982305"/>
              <a:gd name="csY2" fmla="*/ 326669 h 880291"/>
              <a:gd name="csX3" fmla="*/ 972881 w 982305"/>
              <a:gd name="csY3" fmla="*/ 723428 h 880291"/>
              <a:gd name="csX4" fmla="*/ 908066 w 982305"/>
              <a:gd name="csY4" fmla="*/ 817612 h 880291"/>
              <a:gd name="csX5" fmla="*/ 611913 w 982305"/>
              <a:gd name="csY5" fmla="*/ 875364 h 880291"/>
              <a:gd name="csX6" fmla="*/ 570312 w 982305"/>
              <a:gd name="csY6" fmla="*/ 867183 h 880291"/>
              <a:gd name="csX7" fmla="*/ 108894 w 982305"/>
              <a:gd name="csY7" fmla="*/ 467283 h 880291"/>
              <a:gd name="csX8" fmla="*/ 94286 w 982305"/>
              <a:gd name="csY8" fmla="*/ 455125 h 880291"/>
              <a:gd name="csX9" fmla="*/ 37591 w 982305"/>
              <a:gd name="csY9" fmla="*/ 200019 h 880291"/>
              <a:gd name="csX10" fmla="*/ 107124 w 982305"/>
              <a:gd name="csY10" fmla="*/ 33361 h 880291"/>
              <a:gd name="csX11" fmla="*/ 156031 w 982305"/>
              <a:gd name="csY11" fmla="*/ 499 h 880291"/>
              <a:gd name="csX12" fmla="*/ 411280 w 982305"/>
              <a:gd name="csY12" fmla="*/ 24551 h 880291"/>
              <a:gd name="csX13" fmla="*/ 470996 w 982305"/>
              <a:gd name="csY13" fmla="*/ 55959 h 880291"/>
              <a:gd name="csX14" fmla="*/ 563448 w 982305"/>
              <a:gd name="csY14" fmla="*/ 142548 h 88029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</a:cxnLst>
            <a:rect l="l" t="t" r="r" b="b"/>
            <a:pathLst>
              <a:path w="982305" h="880291">
                <a:moveTo>
                  <a:pt x="563448" y="142548"/>
                </a:moveTo>
                <a:cubicBezTo>
                  <a:pt x="634418" y="193445"/>
                  <a:pt x="702558" y="242496"/>
                  <a:pt x="771100" y="290979"/>
                </a:cubicBezTo>
                <a:cubicBezTo>
                  <a:pt x="784535" y="300483"/>
                  <a:pt x="794864" y="312045"/>
                  <a:pt x="801526" y="326669"/>
                </a:cubicBezTo>
                <a:cubicBezTo>
                  <a:pt x="861268" y="457796"/>
                  <a:pt x="926139" y="586803"/>
                  <a:pt x="972881" y="723428"/>
                </a:cubicBezTo>
                <a:cubicBezTo>
                  <a:pt x="995889" y="790681"/>
                  <a:pt x="977694" y="816944"/>
                  <a:pt x="908066" y="817612"/>
                </a:cubicBezTo>
                <a:cubicBezTo>
                  <a:pt x="805487" y="818597"/>
                  <a:pt x="705921" y="832459"/>
                  <a:pt x="611913" y="875364"/>
                </a:cubicBezTo>
                <a:cubicBezTo>
                  <a:pt x="594823" y="883163"/>
                  <a:pt x="581163" y="882591"/>
                  <a:pt x="570312" y="867183"/>
                </a:cubicBezTo>
                <a:cubicBezTo>
                  <a:pt x="449556" y="695714"/>
                  <a:pt x="262539" y="600755"/>
                  <a:pt x="108894" y="467283"/>
                </a:cubicBezTo>
                <a:cubicBezTo>
                  <a:pt x="104113" y="463129"/>
                  <a:pt x="98964" y="459387"/>
                  <a:pt x="94286" y="455125"/>
                </a:cubicBezTo>
                <a:cubicBezTo>
                  <a:pt x="-17648" y="353146"/>
                  <a:pt x="-20945" y="337860"/>
                  <a:pt x="37591" y="200019"/>
                </a:cubicBezTo>
                <a:cubicBezTo>
                  <a:pt x="61119" y="144613"/>
                  <a:pt x="84628" y="89189"/>
                  <a:pt x="107124" y="33361"/>
                </a:cubicBezTo>
                <a:cubicBezTo>
                  <a:pt x="116345" y="10480"/>
                  <a:pt x="127392" y="-2799"/>
                  <a:pt x="156031" y="499"/>
                </a:cubicBezTo>
                <a:cubicBezTo>
                  <a:pt x="240921" y="10274"/>
                  <a:pt x="326059" y="18311"/>
                  <a:pt x="411280" y="24551"/>
                </a:cubicBezTo>
                <a:cubicBezTo>
                  <a:pt x="437423" y="26465"/>
                  <a:pt x="455417" y="34998"/>
                  <a:pt x="470996" y="55959"/>
                </a:cubicBezTo>
                <a:cubicBezTo>
                  <a:pt x="495729" y="89234"/>
                  <a:pt x="528863" y="114389"/>
                  <a:pt x="563448" y="142548"/>
                </a:cubicBezTo>
                <a:close/>
              </a:path>
            </a:pathLst>
          </a:custGeom>
          <a:solidFill>
            <a:srgbClr val="4CA1A6"/>
          </a:solidFill>
          <a:ln w="9525" cap="flat">
            <a:noFill/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5636" name="Free-form: Shape 5635">
            <a:extLst>
              <a:ext uri="{FF2B5EF4-FFF2-40B4-BE49-F238E27FC236}">
                <a16:creationId xmlns:a16="http://schemas.microsoft.com/office/drawing/2014/main" id="{83B89267-1A76-DFAB-7A0E-389263AE6AEF}"/>
              </a:ext>
            </a:extLst>
          </p:cNvPr>
          <p:cNvSpPr/>
          <p:nvPr/>
        </p:nvSpPr>
        <p:spPr>
          <a:xfrm>
            <a:off x="1479357" y="3409768"/>
            <a:ext cx="1666165" cy="1015286"/>
          </a:xfrm>
          <a:custGeom>
            <a:avLst/>
            <a:gdLst>
              <a:gd name="csX0" fmla="*/ 2071816 w 2208379"/>
              <a:gd name="csY0" fmla="*/ 1316259 h 1345687"/>
              <a:gd name="csX1" fmla="*/ 2073354 w 2208379"/>
              <a:gd name="csY1" fmla="*/ 1317416 h 1345687"/>
              <a:gd name="csX2" fmla="*/ 2075168 w 2208379"/>
              <a:gd name="csY2" fmla="*/ 1318662 h 1345687"/>
              <a:gd name="csX3" fmla="*/ 32755 w 2208379"/>
              <a:gd name="csY3" fmla="*/ 0 h 1345687"/>
              <a:gd name="csX4" fmla="*/ 79342 w 2208379"/>
              <a:gd name="csY4" fmla="*/ 52030 h 1345687"/>
              <a:gd name="csX5" fmla="*/ 233797 w 2208379"/>
              <a:gd name="csY5" fmla="*/ 97336 h 1345687"/>
              <a:gd name="csX6" fmla="*/ 309291 w 2208379"/>
              <a:gd name="csY6" fmla="*/ 144729 h 1345687"/>
              <a:gd name="csX7" fmla="*/ 538411 w 2208379"/>
              <a:gd name="csY7" fmla="*/ 342356 h 1345687"/>
              <a:gd name="csX8" fmla="*/ 941050 w 2208379"/>
              <a:gd name="csY8" fmla="*/ 505801 h 1345687"/>
              <a:gd name="csX9" fmla="*/ 1169504 w 2208379"/>
              <a:gd name="csY9" fmla="*/ 567374 h 1345687"/>
              <a:gd name="csX10" fmla="*/ 1447417 w 2208379"/>
              <a:gd name="csY10" fmla="*/ 726715 h 1345687"/>
              <a:gd name="csX11" fmla="*/ 1764384 w 2208379"/>
              <a:gd name="csY11" fmla="*/ 943142 h 1345687"/>
              <a:gd name="csX12" fmla="*/ 1921012 w 2208379"/>
              <a:gd name="csY12" fmla="*/ 1070920 h 1345687"/>
              <a:gd name="csX13" fmla="*/ 1967649 w 2208379"/>
              <a:gd name="csY13" fmla="*/ 1097423 h 1345687"/>
              <a:gd name="csX14" fmla="*/ 1972059 w 2208379"/>
              <a:gd name="csY14" fmla="*/ 1107216 h 1345687"/>
              <a:gd name="csX15" fmla="*/ 1975169 w 2208379"/>
              <a:gd name="csY15" fmla="*/ 1233134 h 1345687"/>
              <a:gd name="csX16" fmla="*/ 1974420 w 2208379"/>
              <a:gd name="csY16" fmla="*/ 1234067 h 1345687"/>
              <a:gd name="csX17" fmla="*/ 1986957 w 2208379"/>
              <a:gd name="csY17" fmla="*/ 1236530 h 1345687"/>
              <a:gd name="csX18" fmla="*/ 2056278 w 2208379"/>
              <a:gd name="csY18" fmla="*/ 1302771 h 1345687"/>
              <a:gd name="csX19" fmla="*/ 2060252 w 2208379"/>
              <a:gd name="csY19" fmla="*/ 1307187 h 1345687"/>
              <a:gd name="csX20" fmla="*/ 2130863 w 2208379"/>
              <a:gd name="csY20" fmla="*/ 1316897 h 1345687"/>
              <a:gd name="csX21" fmla="*/ 2204391 w 2208379"/>
              <a:gd name="csY21" fmla="*/ 1312877 h 1345687"/>
              <a:gd name="csX22" fmla="*/ 2208379 w 2208379"/>
              <a:gd name="csY22" fmla="*/ 1315952 h 1345687"/>
              <a:gd name="csX23" fmla="*/ 2097964 w 2208379"/>
              <a:gd name="csY23" fmla="*/ 1335003 h 1345687"/>
              <a:gd name="csX24" fmla="*/ 2089750 w 2208379"/>
              <a:gd name="csY24" fmla="*/ 1329115 h 1345687"/>
              <a:gd name="csX25" fmla="*/ 2058174 w 2208379"/>
              <a:gd name="csY25" fmla="*/ 1320987 h 1345687"/>
              <a:gd name="csX26" fmla="*/ 1961606 w 2208379"/>
              <a:gd name="csY26" fmla="*/ 1251772 h 1345687"/>
              <a:gd name="csX27" fmla="*/ 1958312 w 2208379"/>
              <a:gd name="csY27" fmla="*/ 1244343 h 1345687"/>
              <a:gd name="csX28" fmla="*/ 1715456 w 2208379"/>
              <a:gd name="csY28" fmla="*/ 1061882 h 1345687"/>
              <a:gd name="csX29" fmla="*/ 1461432 w 2208379"/>
              <a:gd name="csY29" fmla="*/ 886569 h 1345687"/>
              <a:gd name="csX30" fmla="*/ 795966 w 2208379"/>
              <a:gd name="csY30" fmla="*/ 629887 h 1345687"/>
              <a:gd name="csX31" fmla="*/ 388848 w 2208379"/>
              <a:gd name="csY31" fmla="*/ 416829 h 1345687"/>
              <a:gd name="csX32" fmla="*/ 317865 w 2208379"/>
              <a:gd name="csY32" fmla="*/ 353696 h 1345687"/>
              <a:gd name="csX33" fmla="*/ 115992 w 2208379"/>
              <a:gd name="csY33" fmla="*/ 258562 h 1345687"/>
              <a:gd name="csX34" fmla="*/ 32055 w 2208379"/>
              <a:gd name="csY34" fmla="*/ 242812 h 1345687"/>
              <a:gd name="csX35" fmla="*/ 1305 w 2208379"/>
              <a:gd name="csY35" fmla="*/ 195763 h 1345687"/>
              <a:gd name="csX36" fmla="*/ 32755 w 2208379"/>
              <a:gd name="csY36" fmla="*/ 0 h 1345687"/>
              <a:gd name="csX0" fmla="*/ 2071816 w 2208379"/>
              <a:gd name="csY0" fmla="*/ 1316259 h 1345687"/>
              <a:gd name="csX1" fmla="*/ 2073354 w 2208379"/>
              <a:gd name="csY1" fmla="*/ 1317416 h 1345687"/>
              <a:gd name="csX2" fmla="*/ 2075168 w 2208379"/>
              <a:gd name="csY2" fmla="*/ 1318662 h 1345687"/>
              <a:gd name="csX3" fmla="*/ 2071816 w 2208379"/>
              <a:gd name="csY3" fmla="*/ 1316259 h 1345687"/>
              <a:gd name="csX4" fmla="*/ 32755 w 2208379"/>
              <a:gd name="csY4" fmla="*/ 0 h 1345687"/>
              <a:gd name="csX5" fmla="*/ 79342 w 2208379"/>
              <a:gd name="csY5" fmla="*/ 52030 h 1345687"/>
              <a:gd name="csX6" fmla="*/ 233797 w 2208379"/>
              <a:gd name="csY6" fmla="*/ 97336 h 1345687"/>
              <a:gd name="csX7" fmla="*/ 309291 w 2208379"/>
              <a:gd name="csY7" fmla="*/ 144729 h 1345687"/>
              <a:gd name="csX8" fmla="*/ 538411 w 2208379"/>
              <a:gd name="csY8" fmla="*/ 342356 h 1345687"/>
              <a:gd name="csX9" fmla="*/ 941050 w 2208379"/>
              <a:gd name="csY9" fmla="*/ 505801 h 1345687"/>
              <a:gd name="csX10" fmla="*/ 1169504 w 2208379"/>
              <a:gd name="csY10" fmla="*/ 567374 h 1345687"/>
              <a:gd name="csX11" fmla="*/ 1447417 w 2208379"/>
              <a:gd name="csY11" fmla="*/ 726715 h 1345687"/>
              <a:gd name="csX12" fmla="*/ 1764384 w 2208379"/>
              <a:gd name="csY12" fmla="*/ 943142 h 1345687"/>
              <a:gd name="csX13" fmla="*/ 1921012 w 2208379"/>
              <a:gd name="csY13" fmla="*/ 1070920 h 1345687"/>
              <a:gd name="csX14" fmla="*/ 1967649 w 2208379"/>
              <a:gd name="csY14" fmla="*/ 1097423 h 1345687"/>
              <a:gd name="csX15" fmla="*/ 1972059 w 2208379"/>
              <a:gd name="csY15" fmla="*/ 1107216 h 1345687"/>
              <a:gd name="csX16" fmla="*/ 1975169 w 2208379"/>
              <a:gd name="csY16" fmla="*/ 1233134 h 1345687"/>
              <a:gd name="csX17" fmla="*/ 1974420 w 2208379"/>
              <a:gd name="csY17" fmla="*/ 1234067 h 1345687"/>
              <a:gd name="csX18" fmla="*/ 1986957 w 2208379"/>
              <a:gd name="csY18" fmla="*/ 1236530 h 1345687"/>
              <a:gd name="csX19" fmla="*/ 2056278 w 2208379"/>
              <a:gd name="csY19" fmla="*/ 1302771 h 1345687"/>
              <a:gd name="csX20" fmla="*/ 2060252 w 2208379"/>
              <a:gd name="csY20" fmla="*/ 1307187 h 1345687"/>
              <a:gd name="csX21" fmla="*/ 2130863 w 2208379"/>
              <a:gd name="csY21" fmla="*/ 1316897 h 1345687"/>
              <a:gd name="csX22" fmla="*/ 2204391 w 2208379"/>
              <a:gd name="csY22" fmla="*/ 1312877 h 1345687"/>
              <a:gd name="csX23" fmla="*/ 2208379 w 2208379"/>
              <a:gd name="csY23" fmla="*/ 1315952 h 1345687"/>
              <a:gd name="csX24" fmla="*/ 2097964 w 2208379"/>
              <a:gd name="csY24" fmla="*/ 1335003 h 1345687"/>
              <a:gd name="csX25" fmla="*/ 2089750 w 2208379"/>
              <a:gd name="csY25" fmla="*/ 1329115 h 1345687"/>
              <a:gd name="csX26" fmla="*/ 2058174 w 2208379"/>
              <a:gd name="csY26" fmla="*/ 1320987 h 1345687"/>
              <a:gd name="csX27" fmla="*/ 1961606 w 2208379"/>
              <a:gd name="csY27" fmla="*/ 1251772 h 1345687"/>
              <a:gd name="csX28" fmla="*/ 1715456 w 2208379"/>
              <a:gd name="csY28" fmla="*/ 1061882 h 1345687"/>
              <a:gd name="csX29" fmla="*/ 1461432 w 2208379"/>
              <a:gd name="csY29" fmla="*/ 886569 h 1345687"/>
              <a:gd name="csX30" fmla="*/ 795966 w 2208379"/>
              <a:gd name="csY30" fmla="*/ 629887 h 1345687"/>
              <a:gd name="csX31" fmla="*/ 388848 w 2208379"/>
              <a:gd name="csY31" fmla="*/ 416829 h 1345687"/>
              <a:gd name="csX32" fmla="*/ 317865 w 2208379"/>
              <a:gd name="csY32" fmla="*/ 353696 h 1345687"/>
              <a:gd name="csX33" fmla="*/ 115992 w 2208379"/>
              <a:gd name="csY33" fmla="*/ 258562 h 1345687"/>
              <a:gd name="csX34" fmla="*/ 32055 w 2208379"/>
              <a:gd name="csY34" fmla="*/ 242812 h 1345687"/>
              <a:gd name="csX35" fmla="*/ 1305 w 2208379"/>
              <a:gd name="csY35" fmla="*/ 195763 h 1345687"/>
              <a:gd name="csX36" fmla="*/ 32755 w 2208379"/>
              <a:gd name="csY36" fmla="*/ 0 h 1345687"/>
              <a:gd name="csX0" fmla="*/ 2071816 w 2208379"/>
              <a:gd name="csY0" fmla="*/ 1316259 h 1345687"/>
              <a:gd name="csX1" fmla="*/ 2073354 w 2208379"/>
              <a:gd name="csY1" fmla="*/ 1317416 h 1345687"/>
              <a:gd name="csX2" fmla="*/ 2075168 w 2208379"/>
              <a:gd name="csY2" fmla="*/ 1318662 h 1345687"/>
              <a:gd name="csX3" fmla="*/ 2071816 w 2208379"/>
              <a:gd name="csY3" fmla="*/ 1316259 h 1345687"/>
              <a:gd name="csX4" fmla="*/ 32755 w 2208379"/>
              <a:gd name="csY4" fmla="*/ 0 h 1345687"/>
              <a:gd name="csX5" fmla="*/ 79342 w 2208379"/>
              <a:gd name="csY5" fmla="*/ 52030 h 1345687"/>
              <a:gd name="csX6" fmla="*/ 233797 w 2208379"/>
              <a:gd name="csY6" fmla="*/ 97336 h 1345687"/>
              <a:gd name="csX7" fmla="*/ 309291 w 2208379"/>
              <a:gd name="csY7" fmla="*/ 144729 h 1345687"/>
              <a:gd name="csX8" fmla="*/ 538411 w 2208379"/>
              <a:gd name="csY8" fmla="*/ 342356 h 1345687"/>
              <a:gd name="csX9" fmla="*/ 941050 w 2208379"/>
              <a:gd name="csY9" fmla="*/ 505801 h 1345687"/>
              <a:gd name="csX10" fmla="*/ 1169504 w 2208379"/>
              <a:gd name="csY10" fmla="*/ 567374 h 1345687"/>
              <a:gd name="csX11" fmla="*/ 1447417 w 2208379"/>
              <a:gd name="csY11" fmla="*/ 726715 h 1345687"/>
              <a:gd name="csX12" fmla="*/ 1764384 w 2208379"/>
              <a:gd name="csY12" fmla="*/ 943142 h 1345687"/>
              <a:gd name="csX13" fmla="*/ 1921012 w 2208379"/>
              <a:gd name="csY13" fmla="*/ 1070920 h 1345687"/>
              <a:gd name="csX14" fmla="*/ 1967649 w 2208379"/>
              <a:gd name="csY14" fmla="*/ 1097423 h 1345687"/>
              <a:gd name="csX15" fmla="*/ 1972059 w 2208379"/>
              <a:gd name="csY15" fmla="*/ 1107216 h 1345687"/>
              <a:gd name="csX16" fmla="*/ 1975169 w 2208379"/>
              <a:gd name="csY16" fmla="*/ 1233134 h 1345687"/>
              <a:gd name="csX17" fmla="*/ 1974420 w 2208379"/>
              <a:gd name="csY17" fmla="*/ 1234067 h 1345687"/>
              <a:gd name="csX18" fmla="*/ 2056278 w 2208379"/>
              <a:gd name="csY18" fmla="*/ 1302771 h 1345687"/>
              <a:gd name="csX19" fmla="*/ 2060252 w 2208379"/>
              <a:gd name="csY19" fmla="*/ 1307187 h 1345687"/>
              <a:gd name="csX20" fmla="*/ 2130863 w 2208379"/>
              <a:gd name="csY20" fmla="*/ 1316897 h 1345687"/>
              <a:gd name="csX21" fmla="*/ 2204391 w 2208379"/>
              <a:gd name="csY21" fmla="*/ 1312877 h 1345687"/>
              <a:gd name="csX22" fmla="*/ 2208379 w 2208379"/>
              <a:gd name="csY22" fmla="*/ 1315952 h 1345687"/>
              <a:gd name="csX23" fmla="*/ 2097964 w 2208379"/>
              <a:gd name="csY23" fmla="*/ 1335003 h 1345687"/>
              <a:gd name="csX24" fmla="*/ 2089750 w 2208379"/>
              <a:gd name="csY24" fmla="*/ 1329115 h 1345687"/>
              <a:gd name="csX25" fmla="*/ 2058174 w 2208379"/>
              <a:gd name="csY25" fmla="*/ 1320987 h 1345687"/>
              <a:gd name="csX26" fmla="*/ 1961606 w 2208379"/>
              <a:gd name="csY26" fmla="*/ 1251772 h 1345687"/>
              <a:gd name="csX27" fmla="*/ 1715456 w 2208379"/>
              <a:gd name="csY27" fmla="*/ 1061882 h 1345687"/>
              <a:gd name="csX28" fmla="*/ 1461432 w 2208379"/>
              <a:gd name="csY28" fmla="*/ 886569 h 1345687"/>
              <a:gd name="csX29" fmla="*/ 795966 w 2208379"/>
              <a:gd name="csY29" fmla="*/ 629887 h 1345687"/>
              <a:gd name="csX30" fmla="*/ 388848 w 2208379"/>
              <a:gd name="csY30" fmla="*/ 416829 h 1345687"/>
              <a:gd name="csX31" fmla="*/ 317865 w 2208379"/>
              <a:gd name="csY31" fmla="*/ 353696 h 1345687"/>
              <a:gd name="csX32" fmla="*/ 115992 w 2208379"/>
              <a:gd name="csY32" fmla="*/ 258562 h 1345687"/>
              <a:gd name="csX33" fmla="*/ 32055 w 2208379"/>
              <a:gd name="csY33" fmla="*/ 242812 h 1345687"/>
              <a:gd name="csX34" fmla="*/ 1305 w 2208379"/>
              <a:gd name="csY34" fmla="*/ 195763 h 1345687"/>
              <a:gd name="csX35" fmla="*/ 32755 w 2208379"/>
              <a:gd name="csY35" fmla="*/ 0 h 1345687"/>
              <a:gd name="csX0" fmla="*/ 2071816 w 2208379"/>
              <a:gd name="csY0" fmla="*/ 1316259 h 1345687"/>
              <a:gd name="csX1" fmla="*/ 2073354 w 2208379"/>
              <a:gd name="csY1" fmla="*/ 1317416 h 1345687"/>
              <a:gd name="csX2" fmla="*/ 2075168 w 2208379"/>
              <a:gd name="csY2" fmla="*/ 1318662 h 1345687"/>
              <a:gd name="csX3" fmla="*/ 2071816 w 2208379"/>
              <a:gd name="csY3" fmla="*/ 1316259 h 1345687"/>
              <a:gd name="csX4" fmla="*/ 32755 w 2208379"/>
              <a:gd name="csY4" fmla="*/ 0 h 1345687"/>
              <a:gd name="csX5" fmla="*/ 79342 w 2208379"/>
              <a:gd name="csY5" fmla="*/ 52030 h 1345687"/>
              <a:gd name="csX6" fmla="*/ 233797 w 2208379"/>
              <a:gd name="csY6" fmla="*/ 97336 h 1345687"/>
              <a:gd name="csX7" fmla="*/ 309291 w 2208379"/>
              <a:gd name="csY7" fmla="*/ 144729 h 1345687"/>
              <a:gd name="csX8" fmla="*/ 538411 w 2208379"/>
              <a:gd name="csY8" fmla="*/ 342356 h 1345687"/>
              <a:gd name="csX9" fmla="*/ 941050 w 2208379"/>
              <a:gd name="csY9" fmla="*/ 505801 h 1345687"/>
              <a:gd name="csX10" fmla="*/ 1169504 w 2208379"/>
              <a:gd name="csY10" fmla="*/ 567374 h 1345687"/>
              <a:gd name="csX11" fmla="*/ 1447417 w 2208379"/>
              <a:gd name="csY11" fmla="*/ 726715 h 1345687"/>
              <a:gd name="csX12" fmla="*/ 1764384 w 2208379"/>
              <a:gd name="csY12" fmla="*/ 943142 h 1345687"/>
              <a:gd name="csX13" fmla="*/ 1921012 w 2208379"/>
              <a:gd name="csY13" fmla="*/ 1070920 h 1345687"/>
              <a:gd name="csX14" fmla="*/ 1967649 w 2208379"/>
              <a:gd name="csY14" fmla="*/ 1097423 h 1345687"/>
              <a:gd name="csX15" fmla="*/ 1972059 w 2208379"/>
              <a:gd name="csY15" fmla="*/ 1107216 h 1345687"/>
              <a:gd name="csX16" fmla="*/ 1975169 w 2208379"/>
              <a:gd name="csY16" fmla="*/ 1233134 h 1345687"/>
              <a:gd name="csX17" fmla="*/ 1974420 w 2208379"/>
              <a:gd name="csY17" fmla="*/ 1234067 h 1345687"/>
              <a:gd name="csX18" fmla="*/ 2056278 w 2208379"/>
              <a:gd name="csY18" fmla="*/ 1302771 h 1345687"/>
              <a:gd name="csX19" fmla="*/ 2130863 w 2208379"/>
              <a:gd name="csY19" fmla="*/ 1316897 h 1345687"/>
              <a:gd name="csX20" fmla="*/ 2204391 w 2208379"/>
              <a:gd name="csY20" fmla="*/ 1312877 h 1345687"/>
              <a:gd name="csX21" fmla="*/ 2208379 w 2208379"/>
              <a:gd name="csY21" fmla="*/ 1315952 h 1345687"/>
              <a:gd name="csX22" fmla="*/ 2097964 w 2208379"/>
              <a:gd name="csY22" fmla="*/ 1335003 h 1345687"/>
              <a:gd name="csX23" fmla="*/ 2089750 w 2208379"/>
              <a:gd name="csY23" fmla="*/ 1329115 h 1345687"/>
              <a:gd name="csX24" fmla="*/ 2058174 w 2208379"/>
              <a:gd name="csY24" fmla="*/ 1320987 h 1345687"/>
              <a:gd name="csX25" fmla="*/ 1961606 w 2208379"/>
              <a:gd name="csY25" fmla="*/ 1251772 h 1345687"/>
              <a:gd name="csX26" fmla="*/ 1715456 w 2208379"/>
              <a:gd name="csY26" fmla="*/ 1061882 h 1345687"/>
              <a:gd name="csX27" fmla="*/ 1461432 w 2208379"/>
              <a:gd name="csY27" fmla="*/ 886569 h 1345687"/>
              <a:gd name="csX28" fmla="*/ 795966 w 2208379"/>
              <a:gd name="csY28" fmla="*/ 629887 h 1345687"/>
              <a:gd name="csX29" fmla="*/ 388848 w 2208379"/>
              <a:gd name="csY29" fmla="*/ 416829 h 1345687"/>
              <a:gd name="csX30" fmla="*/ 317865 w 2208379"/>
              <a:gd name="csY30" fmla="*/ 353696 h 1345687"/>
              <a:gd name="csX31" fmla="*/ 115992 w 2208379"/>
              <a:gd name="csY31" fmla="*/ 258562 h 1345687"/>
              <a:gd name="csX32" fmla="*/ 32055 w 2208379"/>
              <a:gd name="csY32" fmla="*/ 242812 h 1345687"/>
              <a:gd name="csX33" fmla="*/ 1305 w 2208379"/>
              <a:gd name="csY33" fmla="*/ 195763 h 1345687"/>
              <a:gd name="csX34" fmla="*/ 32755 w 2208379"/>
              <a:gd name="csY34" fmla="*/ 0 h 1345687"/>
              <a:gd name="csX0" fmla="*/ 2071816 w 2208379"/>
              <a:gd name="csY0" fmla="*/ 1316259 h 1345687"/>
              <a:gd name="csX1" fmla="*/ 2073354 w 2208379"/>
              <a:gd name="csY1" fmla="*/ 1317416 h 1345687"/>
              <a:gd name="csX2" fmla="*/ 2075168 w 2208379"/>
              <a:gd name="csY2" fmla="*/ 1318662 h 1345687"/>
              <a:gd name="csX3" fmla="*/ 2071816 w 2208379"/>
              <a:gd name="csY3" fmla="*/ 1316259 h 1345687"/>
              <a:gd name="csX4" fmla="*/ 32755 w 2208379"/>
              <a:gd name="csY4" fmla="*/ 0 h 1345687"/>
              <a:gd name="csX5" fmla="*/ 79342 w 2208379"/>
              <a:gd name="csY5" fmla="*/ 52030 h 1345687"/>
              <a:gd name="csX6" fmla="*/ 233797 w 2208379"/>
              <a:gd name="csY6" fmla="*/ 97336 h 1345687"/>
              <a:gd name="csX7" fmla="*/ 309291 w 2208379"/>
              <a:gd name="csY7" fmla="*/ 144729 h 1345687"/>
              <a:gd name="csX8" fmla="*/ 538411 w 2208379"/>
              <a:gd name="csY8" fmla="*/ 342356 h 1345687"/>
              <a:gd name="csX9" fmla="*/ 941050 w 2208379"/>
              <a:gd name="csY9" fmla="*/ 505801 h 1345687"/>
              <a:gd name="csX10" fmla="*/ 1169504 w 2208379"/>
              <a:gd name="csY10" fmla="*/ 567374 h 1345687"/>
              <a:gd name="csX11" fmla="*/ 1447417 w 2208379"/>
              <a:gd name="csY11" fmla="*/ 726715 h 1345687"/>
              <a:gd name="csX12" fmla="*/ 1764384 w 2208379"/>
              <a:gd name="csY12" fmla="*/ 943142 h 1345687"/>
              <a:gd name="csX13" fmla="*/ 1921012 w 2208379"/>
              <a:gd name="csY13" fmla="*/ 1070920 h 1345687"/>
              <a:gd name="csX14" fmla="*/ 1967649 w 2208379"/>
              <a:gd name="csY14" fmla="*/ 1097423 h 1345687"/>
              <a:gd name="csX15" fmla="*/ 1972059 w 2208379"/>
              <a:gd name="csY15" fmla="*/ 1107216 h 1345687"/>
              <a:gd name="csX16" fmla="*/ 1975169 w 2208379"/>
              <a:gd name="csY16" fmla="*/ 1233134 h 1345687"/>
              <a:gd name="csX17" fmla="*/ 1974420 w 2208379"/>
              <a:gd name="csY17" fmla="*/ 1234067 h 1345687"/>
              <a:gd name="csX18" fmla="*/ 2056278 w 2208379"/>
              <a:gd name="csY18" fmla="*/ 1302771 h 1345687"/>
              <a:gd name="csX19" fmla="*/ 2130863 w 2208379"/>
              <a:gd name="csY19" fmla="*/ 1316897 h 1345687"/>
              <a:gd name="csX20" fmla="*/ 2204391 w 2208379"/>
              <a:gd name="csY20" fmla="*/ 1312877 h 1345687"/>
              <a:gd name="csX21" fmla="*/ 2208379 w 2208379"/>
              <a:gd name="csY21" fmla="*/ 1315952 h 1345687"/>
              <a:gd name="csX22" fmla="*/ 2097964 w 2208379"/>
              <a:gd name="csY22" fmla="*/ 1335003 h 1345687"/>
              <a:gd name="csX23" fmla="*/ 2058174 w 2208379"/>
              <a:gd name="csY23" fmla="*/ 1320987 h 1345687"/>
              <a:gd name="csX24" fmla="*/ 1961606 w 2208379"/>
              <a:gd name="csY24" fmla="*/ 1251772 h 1345687"/>
              <a:gd name="csX25" fmla="*/ 1715456 w 2208379"/>
              <a:gd name="csY25" fmla="*/ 1061882 h 1345687"/>
              <a:gd name="csX26" fmla="*/ 1461432 w 2208379"/>
              <a:gd name="csY26" fmla="*/ 886569 h 1345687"/>
              <a:gd name="csX27" fmla="*/ 795966 w 2208379"/>
              <a:gd name="csY27" fmla="*/ 629887 h 1345687"/>
              <a:gd name="csX28" fmla="*/ 388848 w 2208379"/>
              <a:gd name="csY28" fmla="*/ 416829 h 1345687"/>
              <a:gd name="csX29" fmla="*/ 317865 w 2208379"/>
              <a:gd name="csY29" fmla="*/ 353696 h 1345687"/>
              <a:gd name="csX30" fmla="*/ 115992 w 2208379"/>
              <a:gd name="csY30" fmla="*/ 258562 h 1345687"/>
              <a:gd name="csX31" fmla="*/ 32055 w 2208379"/>
              <a:gd name="csY31" fmla="*/ 242812 h 1345687"/>
              <a:gd name="csX32" fmla="*/ 1305 w 2208379"/>
              <a:gd name="csY32" fmla="*/ 195763 h 1345687"/>
              <a:gd name="csX33" fmla="*/ 32755 w 2208379"/>
              <a:gd name="csY33" fmla="*/ 0 h 1345687"/>
              <a:gd name="csX0" fmla="*/ 2075168 w 2208379"/>
              <a:gd name="csY0" fmla="*/ 1318662 h 1345687"/>
              <a:gd name="csX1" fmla="*/ 2073354 w 2208379"/>
              <a:gd name="csY1" fmla="*/ 1317416 h 1345687"/>
              <a:gd name="csX2" fmla="*/ 2075168 w 2208379"/>
              <a:gd name="csY2" fmla="*/ 1318662 h 1345687"/>
              <a:gd name="csX3" fmla="*/ 32755 w 2208379"/>
              <a:gd name="csY3" fmla="*/ 0 h 1345687"/>
              <a:gd name="csX4" fmla="*/ 79342 w 2208379"/>
              <a:gd name="csY4" fmla="*/ 52030 h 1345687"/>
              <a:gd name="csX5" fmla="*/ 233797 w 2208379"/>
              <a:gd name="csY5" fmla="*/ 97336 h 1345687"/>
              <a:gd name="csX6" fmla="*/ 309291 w 2208379"/>
              <a:gd name="csY6" fmla="*/ 144729 h 1345687"/>
              <a:gd name="csX7" fmla="*/ 538411 w 2208379"/>
              <a:gd name="csY7" fmla="*/ 342356 h 1345687"/>
              <a:gd name="csX8" fmla="*/ 941050 w 2208379"/>
              <a:gd name="csY8" fmla="*/ 505801 h 1345687"/>
              <a:gd name="csX9" fmla="*/ 1169504 w 2208379"/>
              <a:gd name="csY9" fmla="*/ 567374 h 1345687"/>
              <a:gd name="csX10" fmla="*/ 1447417 w 2208379"/>
              <a:gd name="csY10" fmla="*/ 726715 h 1345687"/>
              <a:gd name="csX11" fmla="*/ 1764384 w 2208379"/>
              <a:gd name="csY11" fmla="*/ 943142 h 1345687"/>
              <a:gd name="csX12" fmla="*/ 1921012 w 2208379"/>
              <a:gd name="csY12" fmla="*/ 1070920 h 1345687"/>
              <a:gd name="csX13" fmla="*/ 1967649 w 2208379"/>
              <a:gd name="csY13" fmla="*/ 1097423 h 1345687"/>
              <a:gd name="csX14" fmla="*/ 1972059 w 2208379"/>
              <a:gd name="csY14" fmla="*/ 1107216 h 1345687"/>
              <a:gd name="csX15" fmla="*/ 1975169 w 2208379"/>
              <a:gd name="csY15" fmla="*/ 1233134 h 1345687"/>
              <a:gd name="csX16" fmla="*/ 1974420 w 2208379"/>
              <a:gd name="csY16" fmla="*/ 1234067 h 1345687"/>
              <a:gd name="csX17" fmla="*/ 2056278 w 2208379"/>
              <a:gd name="csY17" fmla="*/ 1302771 h 1345687"/>
              <a:gd name="csX18" fmla="*/ 2130863 w 2208379"/>
              <a:gd name="csY18" fmla="*/ 1316897 h 1345687"/>
              <a:gd name="csX19" fmla="*/ 2204391 w 2208379"/>
              <a:gd name="csY19" fmla="*/ 1312877 h 1345687"/>
              <a:gd name="csX20" fmla="*/ 2208379 w 2208379"/>
              <a:gd name="csY20" fmla="*/ 1315952 h 1345687"/>
              <a:gd name="csX21" fmla="*/ 2097964 w 2208379"/>
              <a:gd name="csY21" fmla="*/ 1335003 h 1345687"/>
              <a:gd name="csX22" fmla="*/ 2058174 w 2208379"/>
              <a:gd name="csY22" fmla="*/ 1320987 h 1345687"/>
              <a:gd name="csX23" fmla="*/ 1961606 w 2208379"/>
              <a:gd name="csY23" fmla="*/ 1251772 h 1345687"/>
              <a:gd name="csX24" fmla="*/ 1715456 w 2208379"/>
              <a:gd name="csY24" fmla="*/ 1061882 h 1345687"/>
              <a:gd name="csX25" fmla="*/ 1461432 w 2208379"/>
              <a:gd name="csY25" fmla="*/ 886569 h 1345687"/>
              <a:gd name="csX26" fmla="*/ 795966 w 2208379"/>
              <a:gd name="csY26" fmla="*/ 629887 h 1345687"/>
              <a:gd name="csX27" fmla="*/ 388848 w 2208379"/>
              <a:gd name="csY27" fmla="*/ 416829 h 1345687"/>
              <a:gd name="csX28" fmla="*/ 317865 w 2208379"/>
              <a:gd name="csY28" fmla="*/ 353696 h 1345687"/>
              <a:gd name="csX29" fmla="*/ 115992 w 2208379"/>
              <a:gd name="csY29" fmla="*/ 258562 h 1345687"/>
              <a:gd name="csX30" fmla="*/ 32055 w 2208379"/>
              <a:gd name="csY30" fmla="*/ 242812 h 1345687"/>
              <a:gd name="csX31" fmla="*/ 1305 w 2208379"/>
              <a:gd name="csY31" fmla="*/ 195763 h 1345687"/>
              <a:gd name="csX32" fmla="*/ 32755 w 2208379"/>
              <a:gd name="csY32" fmla="*/ 0 h 1345687"/>
              <a:gd name="csX0" fmla="*/ 32755 w 2208379"/>
              <a:gd name="csY0" fmla="*/ 0 h 1345687"/>
              <a:gd name="csX1" fmla="*/ 79342 w 2208379"/>
              <a:gd name="csY1" fmla="*/ 52030 h 1345687"/>
              <a:gd name="csX2" fmla="*/ 233797 w 2208379"/>
              <a:gd name="csY2" fmla="*/ 97336 h 1345687"/>
              <a:gd name="csX3" fmla="*/ 309291 w 2208379"/>
              <a:gd name="csY3" fmla="*/ 144729 h 1345687"/>
              <a:gd name="csX4" fmla="*/ 538411 w 2208379"/>
              <a:gd name="csY4" fmla="*/ 342356 h 1345687"/>
              <a:gd name="csX5" fmla="*/ 941050 w 2208379"/>
              <a:gd name="csY5" fmla="*/ 505801 h 1345687"/>
              <a:gd name="csX6" fmla="*/ 1169504 w 2208379"/>
              <a:gd name="csY6" fmla="*/ 567374 h 1345687"/>
              <a:gd name="csX7" fmla="*/ 1447417 w 2208379"/>
              <a:gd name="csY7" fmla="*/ 726715 h 1345687"/>
              <a:gd name="csX8" fmla="*/ 1764384 w 2208379"/>
              <a:gd name="csY8" fmla="*/ 943142 h 1345687"/>
              <a:gd name="csX9" fmla="*/ 1921012 w 2208379"/>
              <a:gd name="csY9" fmla="*/ 1070920 h 1345687"/>
              <a:gd name="csX10" fmla="*/ 1967649 w 2208379"/>
              <a:gd name="csY10" fmla="*/ 1097423 h 1345687"/>
              <a:gd name="csX11" fmla="*/ 1972059 w 2208379"/>
              <a:gd name="csY11" fmla="*/ 1107216 h 1345687"/>
              <a:gd name="csX12" fmla="*/ 1975169 w 2208379"/>
              <a:gd name="csY12" fmla="*/ 1233134 h 1345687"/>
              <a:gd name="csX13" fmla="*/ 1974420 w 2208379"/>
              <a:gd name="csY13" fmla="*/ 1234067 h 1345687"/>
              <a:gd name="csX14" fmla="*/ 2056278 w 2208379"/>
              <a:gd name="csY14" fmla="*/ 1302771 h 1345687"/>
              <a:gd name="csX15" fmla="*/ 2130863 w 2208379"/>
              <a:gd name="csY15" fmla="*/ 1316897 h 1345687"/>
              <a:gd name="csX16" fmla="*/ 2204391 w 2208379"/>
              <a:gd name="csY16" fmla="*/ 1312877 h 1345687"/>
              <a:gd name="csX17" fmla="*/ 2208379 w 2208379"/>
              <a:gd name="csY17" fmla="*/ 1315952 h 1345687"/>
              <a:gd name="csX18" fmla="*/ 2097964 w 2208379"/>
              <a:gd name="csY18" fmla="*/ 1335003 h 1345687"/>
              <a:gd name="csX19" fmla="*/ 2058174 w 2208379"/>
              <a:gd name="csY19" fmla="*/ 1320987 h 1345687"/>
              <a:gd name="csX20" fmla="*/ 1961606 w 2208379"/>
              <a:gd name="csY20" fmla="*/ 1251772 h 1345687"/>
              <a:gd name="csX21" fmla="*/ 1715456 w 2208379"/>
              <a:gd name="csY21" fmla="*/ 1061882 h 1345687"/>
              <a:gd name="csX22" fmla="*/ 1461432 w 2208379"/>
              <a:gd name="csY22" fmla="*/ 886569 h 1345687"/>
              <a:gd name="csX23" fmla="*/ 795966 w 2208379"/>
              <a:gd name="csY23" fmla="*/ 629887 h 1345687"/>
              <a:gd name="csX24" fmla="*/ 388848 w 2208379"/>
              <a:gd name="csY24" fmla="*/ 416829 h 1345687"/>
              <a:gd name="csX25" fmla="*/ 317865 w 2208379"/>
              <a:gd name="csY25" fmla="*/ 353696 h 1345687"/>
              <a:gd name="csX26" fmla="*/ 115992 w 2208379"/>
              <a:gd name="csY26" fmla="*/ 258562 h 1345687"/>
              <a:gd name="csX27" fmla="*/ 32055 w 2208379"/>
              <a:gd name="csY27" fmla="*/ 242812 h 1345687"/>
              <a:gd name="csX28" fmla="*/ 1305 w 2208379"/>
              <a:gd name="csY28" fmla="*/ 195763 h 1345687"/>
              <a:gd name="csX29" fmla="*/ 32755 w 2208379"/>
              <a:gd name="csY29" fmla="*/ 0 h 134568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</a:cxnLst>
            <a:rect l="l" t="t" r="r" b="b"/>
            <a:pathLst>
              <a:path w="2208379" h="1345687">
                <a:moveTo>
                  <a:pt x="32755" y="0"/>
                </a:moveTo>
                <a:cubicBezTo>
                  <a:pt x="31606" y="29723"/>
                  <a:pt x="48740" y="44205"/>
                  <a:pt x="79342" y="52030"/>
                </a:cubicBezTo>
                <a:cubicBezTo>
                  <a:pt x="131293" y="65315"/>
                  <a:pt x="182467" y="81694"/>
                  <a:pt x="233797" y="97336"/>
                </a:cubicBezTo>
                <a:cubicBezTo>
                  <a:pt x="263114" y="106271"/>
                  <a:pt x="286473" y="124051"/>
                  <a:pt x="309291" y="144729"/>
                </a:cubicBezTo>
                <a:cubicBezTo>
                  <a:pt x="384038" y="212466"/>
                  <a:pt x="452520" y="287953"/>
                  <a:pt x="538411" y="342356"/>
                </a:cubicBezTo>
                <a:cubicBezTo>
                  <a:pt x="662570" y="420997"/>
                  <a:pt x="800177" y="467699"/>
                  <a:pt x="941050" y="505801"/>
                </a:cubicBezTo>
                <a:cubicBezTo>
                  <a:pt x="1017185" y="526394"/>
                  <a:pt x="1092956" y="548455"/>
                  <a:pt x="1169504" y="567374"/>
                </a:cubicBezTo>
                <a:cubicBezTo>
                  <a:pt x="1277553" y="594079"/>
                  <a:pt x="1357700" y="668987"/>
                  <a:pt x="1447417" y="726715"/>
                </a:cubicBezTo>
                <a:cubicBezTo>
                  <a:pt x="1554963" y="795916"/>
                  <a:pt x="1658481" y="871352"/>
                  <a:pt x="1764384" y="943142"/>
                </a:cubicBezTo>
                <a:cubicBezTo>
                  <a:pt x="1820448" y="981147"/>
                  <a:pt x="1879062" y="1015501"/>
                  <a:pt x="1921012" y="1070920"/>
                </a:cubicBezTo>
                <a:cubicBezTo>
                  <a:pt x="1931383" y="1084620"/>
                  <a:pt x="1944028" y="1097752"/>
                  <a:pt x="1967649" y="1097423"/>
                </a:cubicBezTo>
                <a:cubicBezTo>
                  <a:pt x="1972180" y="1101085"/>
                  <a:pt x="1973682" y="1105077"/>
                  <a:pt x="1972059" y="1107216"/>
                </a:cubicBezTo>
                <a:cubicBezTo>
                  <a:pt x="1940275" y="1149120"/>
                  <a:pt x="1954047" y="1189537"/>
                  <a:pt x="1975169" y="1233134"/>
                </a:cubicBezTo>
                <a:lnTo>
                  <a:pt x="1974420" y="1234067"/>
                </a:lnTo>
                <a:lnTo>
                  <a:pt x="2056278" y="1302771"/>
                </a:lnTo>
                <a:lnTo>
                  <a:pt x="2130863" y="1316897"/>
                </a:lnTo>
                <a:cubicBezTo>
                  <a:pt x="2154758" y="1319964"/>
                  <a:pt x="2178914" y="1320711"/>
                  <a:pt x="2204391" y="1312877"/>
                </a:cubicBezTo>
                <a:cubicBezTo>
                  <a:pt x="2207250" y="1314831"/>
                  <a:pt x="2208003" y="1315577"/>
                  <a:pt x="2208379" y="1315952"/>
                </a:cubicBezTo>
                <a:cubicBezTo>
                  <a:pt x="2180837" y="1347297"/>
                  <a:pt x="2138355" y="1354225"/>
                  <a:pt x="2097964" y="1335003"/>
                </a:cubicBezTo>
                <a:lnTo>
                  <a:pt x="2058174" y="1320987"/>
                </a:lnTo>
                <a:cubicBezTo>
                  <a:pt x="2023306" y="1304402"/>
                  <a:pt x="1985147" y="1268053"/>
                  <a:pt x="1961606" y="1251772"/>
                </a:cubicBezTo>
                <a:lnTo>
                  <a:pt x="1715456" y="1061882"/>
                </a:lnTo>
                <a:cubicBezTo>
                  <a:pt x="1632383" y="1001083"/>
                  <a:pt x="1548264" y="942088"/>
                  <a:pt x="1461432" y="886569"/>
                </a:cubicBezTo>
                <a:cubicBezTo>
                  <a:pt x="1256227" y="755363"/>
                  <a:pt x="1030367" y="683710"/>
                  <a:pt x="795966" y="629887"/>
                </a:cubicBezTo>
                <a:cubicBezTo>
                  <a:pt x="642546" y="594659"/>
                  <a:pt x="502424" y="530398"/>
                  <a:pt x="388848" y="416829"/>
                </a:cubicBezTo>
                <a:cubicBezTo>
                  <a:pt x="366493" y="394475"/>
                  <a:pt x="339826" y="376384"/>
                  <a:pt x="317865" y="353696"/>
                </a:cubicBezTo>
                <a:cubicBezTo>
                  <a:pt x="262289" y="296282"/>
                  <a:pt x="194106" y="267847"/>
                  <a:pt x="115992" y="258562"/>
                </a:cubicBezTo>
                <a:cubicBezTo>
                  <a:pt x="87790" y="255210"/>
                  <a:pt x="60159" y="247310"/>
                  <a:pt x="32055" y="242812"/>
                </a:cubicBezTo>
                <a:cubicBezTo>
                  <a:pt x="3645" y="238266"/>
                  <a:pt x="-3295" y="222900"/>
                  <a:pt x="1305" y="195763"/>
                </a:cubicBezTo>
                <a:cubicBezTo>
                  <a:pt x="12145" y="131815"/>
                  <a:pt x="20871" y="67509"/>
                  <a:pt x="32755" y="0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 w="9525" cap="flat">
            <a:noFill/>
            <a:prstDash val="solid"/>
            <a:miter/>
          </a:ln>
        </p:spPr>
        <p:txBody>
          <a:bodyPr wrap="square">
            <a:noAutofit/>
          </a:bodyPr>
          <a:lstStyle/>
          <a:p>
            <a:endParaRPr lang="en-GB" dirty="0"/>
          </a:p>
        </p:txBody>
      </p:sp>
      <p:sp>
        <p:nvSpPr>
          <p:cNvPr id="3529" name="Free-form: Shape 3528">
            <a:extLst>
              <a:ext uri="{FF2B5EF4-FFF2-40B4-BE49-F238E27FC236}">
                <a16:creationId xmlns:a16="http://schemas.microsoft.com/office/drawing/2014/main" id="{3C9FBA3F-5F5B-F7D4-131C-7872B8073623}"/>
              </a:ext>
            </a:extLst>
          </p:cNvPr>
          <p:cNvSpPr/>
          <p:nvPr/>
        </p:nvSpPr>
        <p:spPr>
          <a:xfrm>
            <a:off x="2604091" y="3261046"/>
            <a:ext cx="1050052" cy="974518"/>
          </a:xfrm>
          <a:custGeom>
            <a:avLst/>
            <a:gdLst>
              <a:gd name="csX0" fmla="*/ 0 w 1391766"/>
              <a:gd name="csY0" fmla="*/ 337094 h 1291652"/>
              <a:gd name="csX1" fmla="*/ 52227 w 1391766"/>
              <a:gd name="csY1" fmla="*/ 280345 h 1291652"/>
              <a:gd name="csX2" fmla="*/ 219126 w 1391766"/>
              <a:gd name="csY2" fmla="*/ 21496 h 1291652"/>
              <a:gd name="csX3" fmla="*/ 270952 w 1391766"/>
              <a:gd name="csY3" fmla="*/ 13541 h 1291652"/>
              <a:gd name="csX4" fmla="*/ 519686 w 1391766"/>
              <a:gd name="csY4" fmla="*/ 68052 h 1291652"/>
              <a:gd name="csX5" fmla="*/ 572659 w 1391766"/>
              <a:gd name="csY5" fmla="*/ 77641 h 1291652"/>
              <a:gd name="csX6" fmla="*/ 895993 w 1391766"/>
              <a:gd name="csY6" fmla="*/ 331504 h 1291652"/>
              <a:gd name="csX7" fmla="*/ 1107673 w 1391766"/>
              <a:gd name="csY7" fmla="*/ 629674 h 1291652"/>
              <a:gd name="csX8" fmla="*/ 1200861 w 1391766"/>
              <a:gd name="csY8" fmla="*/ 852623 h 1291652"/>
              <a:gd name="csX9" fmla="*/ 1242364 w 1391766"/>
              <a:gd name="csY9" fmla="*/ 1026229 h 1291652"/>
              <a:gd name="csX10" fmla="*/ 1391766 w 1391766"/>
              <a:gd name="csY10" fmla="*/ 1291338 h 1291652"/>
              <a:gd name="csX11" fmla="*/ 1210703 w 1391766"/>
              <a:gd name="csY11" fmla="*/ 1117708 h 1291652"/>
              <a:gd name="csX12" fmla="*/ 1209905 w 1391766"/>
              <a:gd name="csY12" fmla="*/ 1055882 h 1291652"/>
              <a:gd name="csX13" fmla="*/ 1198736 w 1391766"/>
              <a:gd name="csY13" fmla="*/ 1027841 h 1291652"/>
              <a:gd name="csX14" fmla="*/ 1146206 w 1391766"/>
              <a:gd name="csY14" fmla="*/ 959585 h 1291652"/>
              <a:gd name="csX15" fmla="*/ 1045232 w 1391766"/>
              <a:gd name="csY15" fmla="*/ 723972 h 1291652"/>
              <a:gd name="csX16" fmla="*/ 773992 w 1391766"/>
              <a:gd name="csY16" fmla="*/ 389589 h 1291652"/>
              <a:gd name="csX17" fmla="*/ 670144 w 1391766"/>
              <a:gd name="csY17" fmla="*/ 306662 h 1291652"/>
              <a:gd name="csX18" fmla="*/ 569045 w 1391766"/>
              <a:gd name="csY18" fmla="*/ 120843 h 1291652"/>
              <a:gd name="csX19" fmla="*/ 557243 w 1391766"/>
              <a:gd name="csY19" fmla="*/ 126377 h 1291652"/>
              <a:gd name="csX20" fmla="*/ 465336 w 1391766"/>
              <a:gd name="csY20" fmla="*/ 205042 h 1291652"/>
              <a:gd name="csX21" fmla="*/ 294795 w 1391766"/>
              <a:gd name="csY21" fmla="*/ 190441 h 1291652"/>
              <a:gd name="csX22" fmla="*/ 257114 w 1391766"/>
              <a:gd name="csY22" fmla="*/ 153393 h 1291652"/>
              <a:gd name="csX23" fmla="*/ 239664 w 1391766"/>
              <a:gd name="csY23" fmla="*/ 43811 h 1291652"/>
              <a:gd name="csX24" fmla="*/ 74870 w 1391766"/>
              <a:gd name="csY24" fmla="*/ 516776 h 1291652"/>
              <a:gd name="csX25" fmla="*/ 0 w 1391766"/>
              <a:gd name="csY25" fmla="*/ 337094 h 129165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</a:cxnLst>
            <a:rect l="l" t="t" r="r" b="b"/>
            <a:pathLst>
              <a:path w="1391766" h="1291652">
                <a:moveTo>
                  <a:pt x="0" y="337094"/>
                </a:moveTo>
                <a:cubicBezTo>
                  <a:pt x="21861" y="320662"/>
                  <a:pt x="38285" y="302042"/>
                  <a:pt x="52227" y="280345"/>
                </a:cubicBezTo>
                <a:cubicBezTo>
                  <a:pt x="107730" y="193976"/>
                  <a:pt x="164618" y="108483"/>
                  <a:pt x="219126" y="21496"/>
                </a:cubicBezTo>
                <a:cubicBezTo>
                  <a:pt x="235448" y="-4551"/>
                  <a:pt x="248970" y="-6587"/>
                  <a:pt x="270952" y="13541"/>
                </a:cubicBezTo>
                <a:cubicBezTo>
                  <a:pt x="343090" y="79595"/>
                  <a:pt x="429199" y="85152"/>
                  <a:pt x="519686" y="68052"/>
                </a:cubicBezTo>
                <a:cubicBezTo>
                  <a:pt x="539159" y="64372"/>
                  <a:pt x="556987" y="61896"/>
                  <a:pt x="572659" y="77641"/>
                </a:cubicBezTo>
                <a:cubicBezTo>
                  <a:pt x="670036" y="175476"/>
                  <a:pt x="780278" y="258427"/>
                  <a:pt x="895993" y="331504"/>
                </a:cubicBezTo>
                <a:cubicBezTo>
                  <a:pt x="1010309" y="403697"/>
                  <a:pt x="1063414" y="511205"/>
                  <a:pt x="1107673" y="629674"/>
                </a:cubicBezTo>
                <a:cubicBezTo>
                  <a:pt x="1135843" y="705078"/>
                  <a:pt x="1165171" y="780094"/>
                  <a:pt x="1200861" y="852623"/>
                </a:cubicBezTo>
                <a:cubicBezTo>
                  <a:pt x="1227481" y="906719"/>
                  <a:pt x="1234916" y="966063"/>
                  <a:pt x="1242364" y="1026229"/>
                </a:cubicBezTo>
                <a:cubicBezTo>
                  <a:pt x="1255466" y="1132057"/>
                  <a:pt x="1295792" y="1226506"/>
                  <a:pt x="1391766" y="1291338"/>
                </a:cubicBezTo>
                <a:cubicBezTo>
                  <a:pt x="1307857" y="1297552"/>
                  <a:pt x="1217320" y="1210615"/>
                  <a:pt x="1210703" y="1117708"/>
                </a:cubicBezTo>
                <a:cubicBezTo>
                  <a:pt x="1209241" y="1097185"/>
                  <a:pt x="1210224" y="1076493"/>
                  <a:pt x="1209905" y="1055882"/>
                </a:cubicBezTo>
                <a:cubicBezTo>
                  <a:pt x="1209736" y="1044976"/>
                  <a:pt x="1211832" y="1028793"/>
                  <a:pt x="1198736" y="1027841"/>
                </a:cubicBezTo>
                <a:cubicBezTo>
                  <a:pt x="1154124" y="1024599"/>
                  <a:pt x="1153792" y="988888"/>
                  <a:pt x="1146206" y="959585"/>
                </a:cubicBezTo>
                <a:cubicBezTo>
                  <a:pt x="1124525" y="875824"/>
                  <a:pt x="1082073" y="800963"/>
                  <a:pt x="1045232" y="723972"/>
                </a:cubicBezTo>
                <a:cubicBezTo>
                  <a:pt x="932463" y="488304"/>
                  <a:pt x="990469" y="505661"/>
                  <a:pt x="773992" y="389589"/>
                </a:cubicBezTo>
                <a:cubicBezTo>
                  <a:pt x="735615" y="369012"/>
                  <a:pt x="706478" y="331914"/>
                  <a:pt x="670144" y="306662"/>
                </a:cubicBezTo>
                <a:cubicBezTo>
                  <a:pt x="605364" y="261641"/>
                  <a:pt x="581806" y="194463"/>
                  <a:pt x="569045" y="120843"/>
                </a:cubicBezTo>
                <a:cubicBezTo>
                  <a:pt x="561485" y="124295"/>
                  <a:pt x="557341" y="125173"/>
                  <a:pt x="557243" y="126377"/>
                </a:cubicBezTo>
                <a:cubicBezTo>
                  <a:pt x="550422" y="210951"/>
                  <a:pt x="550413" y="211422"/>
                  <a:pt x="465336" y="205042"/>
                </a:cubicBezTo>
                <a:cubicBezTo>
                  <a:pt x="408440" y="200776"/>
                  <a:pt x="351737" y="193540"/>
                  <a:pt x="294795" y="190441"/>
                </a:cubicBezTo>
                <a:cubicBezTo>
                  <a:pt x="268500" y="189009"/>
                  <a:pt x="258831" y="178574"/>
                  <a:pt x="257114" y="153393"/>
                </a:cubicBezTo>
                <a:cubicBezTo>
                  <a:pt x="254662" y="117410"/>
                  <a:pt x="249349" y="81621"/>
                  <a:pt x="239664" y="43811"/>
                </a:cubicBezTo>
                <a:cubicBezTo>
                  <a:pt x="227124" y="214929"/>
                  <a:pt x="145926" y="360485"/>
                  <a:pt x="74870" y="516776"/>
                </a:cubicBezTo>
                <a:cubicBezTo>
                  <a:pt x="36707" y="458256"/>
                  <a:pt x="16691" y="400340"/>
                  <a:pt x="0" y="337094"/>
                </a:cubicBezTo>
                <a:close/>
              </a:path>
            </a:pathLst>
          </a:custGeom>
          <a:solidFill>
            <a:srgbClr val="255264"/>
          </a:solidFill>
          <a:ln w="9525" cap="flat">
            <a:noFill/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3530" name="Free-form: Shape 3529">
            <a:extLst>
              <a:ext uri="{FF2B5EF4-FFF2-40B4-BE49-F238E27FC236}">
                <a16:creationId xmlns:a16="http://schemas.microsoft.com/office/drawing/2014/main" id="{771B8499-8C9C-A2C8-CC38-1FD97FEA4FF2}"/>
              </a:ext>
            </a:extLst>
          </p:cNvPr>
          <p:cNvSpPr/>
          <p:nvPr/>
        </p:nvSpPr>
        <p:spPr>
          <a:xfrm>
            <a:off x="3262953" y="2902010"/>
            <a:ext cx="974707" cy="504677"/>
          </a:xfrm>
          <a:custGeom>
            <a:avLst/>
            <a:gdLst>
              <a:gd name="csX0" fmla="*/ 340101 w 1291902"/>
              <a:gd name="csY0" fmla="*/ 285686 h 668912"/>
              <a:gd name="csX1" fmla="*/ 0 w 1291902"/>
              <a:gd name="csY1" fmla="*/ 5272 h 668912"/>
              <a:gd name="csX2" fmla="*/ 36115 w 1291902"/>
              <a:gd name="csY2" fmla="*/ 7841 h 668912"/>
              <a:gd name="csX3" fmla="*/ 542727 w 1291902"/>
              <a:gd name="csY3" fmla="*/ 169068 h 668912"/>
              <a:gd name="csX4" fmla="*/ 617611 w 1291902"/>
              <a:gd name="csY4" fmla="*/ 198649 h 668912"/>
              <a:gd name="csX5" fmla="*/ 1070271 w 1291902"/>
              <a:gd name="csY5" fmla="*/ 438972 h 668912"/>
              <a:gd name="csX6" fmla="*/ 1276729 w 1291902"/>
              <a:gd name="csY6" fmla="*/ 564310 h 668912"/>
              <a:gd name="csX7" fmla="*/ 1254766 w 1291902"/>
              <a:gd name="csY7" fmla="*/ 652119 h 668912"/>
              <a:gd name="csX8" fmla="*/ 1159314 w 1291902"/>
              <a:gd name="csY8" fmla="*/ 647116 h 668912"/>
              <a:gd name="csX9" fmla="*/ 975400 w 1291902"/>
              <a:gd name="csY9" fmla="*/ 552752 h 668912"/>
              <a:gd name="csX10" fmla="*/ 923713 w 1291902"/>
              <a:gd name="csY10" fmla="*/ 529714 h 668912"/>
              <a:gd name="csX11" fmla="*/ 727443 w 1291902"/>
              <a:gd name="csY11" fmla="*/ 448159 h 668912"/>
              <a:gd name="csX12" fmla="*/ 628814 w 1291902"/>
              <a:gd name="csY12" fmla="*/ 414506 h 668912"/>
              <a:gd name="csX13" fmla="*/ 340101 w 1291902"/>
              <a:gd name="csY13" fmla="*/ 285686 h 66891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</a:cxnLst>
            <a:rect l="l" t="t" r="r" b="b"/>
            <a:pathLst>
              <a:path w="1291902" h="668912">
                <a:moveTo>
                  <a:pt x="340101" y="285686"/>
                </a:moveTo>
                <a:cubicBezTo>
                  <a:pt x="218826" y="198772"/>
                  <a:pt x="108284" y="104553"/>
                  <a:pt x="0" y="5272"/>
                </a:cubicBezTo>
                <a:cubicBezTo>
                  <a:pt x="15322" y="-6463"/>
                  <a:pt x="25815" y="4591"/>
                  <a:pt x="36115" y="7841"/>
                </a:cubicBezTo>
                <a:cubicBezTo>
                  <a:pt x="205122" y="61154"/>
                  <a:pt x="374000" y="114876"/>
                  <a:pt x="542727" y="169068"/>
                </a:cubicBezTo>
                <a:cubicBezTo>
                  <a:pt x="568285" y="177276"/>
                  <a:pt x="595402" y="184449"/>
                  <a:pt x="617611" y="198649"/>
                </a:cubicBezTo>
                <a:cubicBezTo>
                  <a:pt x="762068" y="291008"/>
                  <a:pt x="925208" y="347910"/>
                  <a:pt x="1070271" y="438972"/>
                </a:cubicBezTo>
                <a:cubicBezTo>
                  <a:pt x="1138394" y="481736"/>
                  <a:pt x="1198683" y="536852"/>
                  <a:pt x="1276729" y="564310"/>
                </a:cubicBezTo>
                <a:cubicBezTo>
                  <a:pt x="1303642" y="573779"/>
                  <a:pt x="1293800" y="613113"/>
                  <a:pt x="1254766" y="652119"/>
                </a:cubicBezTo>
                <a:cubicBezTo>
                  <a:pt x="1219178" y="679298"/>
                  <a:pt x="1192446" y="670461"/>
                  <a:pt x="1159314" y="647116"/>
                </a:cubicBezTo>
                <a:cubicBezTo>
                  <a:pt x="1103017" y="607450"/>
                  <a:pt x="1046951" y="564284"/>
                  <a:pt x="975400" y="552752"/>
                </a:cubicBezTo>
                <a:cubicBezTo>
                  <a:pt x="956455" y="549699"/>
                  <a:pt x="940190" y="539304"/>
                  <a:pt x="923713" y="529714"/>
                </a:cubicBezTo>
                <a:cubicBezTo>
                  <a:pt x="861965" y="493775"/>
                  <a:pt x="797666" y="463971"/>
                  <a:pt x="727443" y="448159"/>
                </a:cubicBezTo>
                <a:cubicBezTo>
                  <a:pt x="693442" y="440504"/>
                  <a:pt x="660630" y="428666"/>
                  <a:pt x="628814" y="414506"/>
                </a:cubicBezTo>
                <a:cubicBezTo>
                  <a:pt x="533649" y="372150"/>
                  <a:pt x="440852" y="324486"/>
                  <a:pt x="340101" y="285686"/>
                </a:cubicBezTo>
                <a:close/>
              </a:path>
            </a:pathLst>
          </a:custGeom>
          <a:solidFill>
            <a:srgbClr val="23637C"/>
          </a:solidFill>
          <a:ln w="9525" cap="flat">
            <a:noFill/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3531" name="Free-form: Shape 3530">
            <a:extLst>
              <a:ext uri="{FF2B5EF4-FFF2-40B4-BE49-F238E27FC236}">
                <a16:creationId xmlns:a16="http://schemas.microsoft.com/office/drawing/2014/main" id="{81E95126-3953-BD74-6E47-4F9BF66F49FF}"/>
              </a:ext>
            </a:extLst>
          </p:cNvPr>
          <p:cNvSpPr/>
          <p:nvPr/>
        </p:nvSpPr>
        <p:spPr>
          <a:xfrm>
            <a:off x="3165029" y="5316650"/>
            <a:ext cx="355825" cy="340205"/>
          </a:xfrm>
          <a:custGeom>
            <a:avLst/>
            <a:gdLst>
              <a:gd name="csX0" fmla="*/ 81449 w 471620"/>
              <a:gd name="csY0" fmla="*/ 0 h 450917"/>
              <a:gd name="csX1" fmla="*/ 356315 w 471620"/>
              <a:gd name="csY1" fmla="*/ 45624 h 450917"/>
              <a:gd name="csX2" fmla="*/ 374385 w 471620"/>
              <a:gd name="csY2" fmla="*/ 81848 h 450917"/>
              <a:gd name="csX3" fmla="*/ 381021 w 471620"/>
              <a:gd name="csY3" fmla="*/ 190074 h 450917"/>
              <a:gd name="csX4" fmla="*/ 454179 w 471620"/>
              <a:gd name="csY4" fmla="*/ 323397 h 450917"/>
              <a:gd name="csX5" fmla="*/ 471292 w 471620"/>
              <a:gd name="csY5" fmla="*/ 396190 h 450917"/>
              <a:gd name="csX6" fmla="*/ 400102 w 471620"/>
              <a:gd name="csY6" fmla="*/ 448760 h 450917"/>
              <a:gd name="csX7" fmla="*/ 34019 w 471620"/>
              <a:gd name="csY7" fmla="*/ 366878 h 450917"/>
              <a:gd name="csX8" fmla="*/ 721 w 471620"/>
              <a:gd name="csY8" fmla="*/ 337200 h 450917"/>
              <a:gd name="csX9" fmla="*/ 81449 w 471620"/>
              <a:gd name="csY9" fmla="*/ 0 h 45091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471620" h="450917">
                <a:moveTo>
                  <a:pt x="81449" y="0"/>
                </a:moveTo>
                <a:cubicBezTo>
                  <a:pt x="175549" y="14941"/>
                  <a:pt x="264057" y="41868"/>
                  <a:pt x="356315" y="45624"/>
                </a:cubicBezTo>
                <a:cubicBezTo>
                  <a:pt x="388416" y="46931"/>
                  <a:pt x="387932" y="64869"/>
                  <a:pt x="374385" y="81848"/>
                </a:cubicBezTo>
                <a:cubicBezTo>
                  <a:pt x="342783" y="121453"/>
                  <a:pt x="361090" y="154810"/>
                  <a:pt x="381021" y="190074"/>
                </a:cubicBezTo>
                <a:cubicBezTo>
                  <a:pt x="405962" y="234202"/>
                  <a:pt x="429076" y="279365"/>
                  <a:pt x="454179" y="323397"/>
                </a:cubicBezTo>
                <a:cubicBezTo>
                  <a:pt x="467258" y="346338"/>
                  <a:pt x="473128" y="370254"/>
                  <a:pt x="471292" y="396190"/>
                </a:cubicBezTo>
                <a:cubicBezTo>
                  <a:pt x="468488" y="435794"/>
                  <a:pt x="438553" y="458224"/>
                  <a:pt x="400102" y="448760"/>
                </a:cubicBezTo>
                <a:cubicBezTo>
                  <a:pt x="278652" y="418867"/>
                  <a:pt x="157057" y="389715"/>
                  <a:pt x="34019" y="366878"/>
                </a:cubicBezTo>
                <a:cubicBezTo>
                  <a:pt x="18186" y="363939"/>
                  <a:pt x="-4320" y="363954"/>
                  <a:pt x="721" y="337200"/>
                </a:cubicBezTo>
                <a:cubicBezTo>
                  <a:pt x="22033" y="224078"/>
                  <a:pt x="42535" y="110748"/>
                  <a:pt x="81449" y="0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3532" name="Free-form: Shape 3531">
            <a:extLst>
              <a:ext uri="{FF2B5EF4-FFF2-40B4-BE49-F238E27FC236}">
                <a16:creationId xmlns:a16="http://schemas.microsoft.com/office/drawing/2014/main" id="{36B11EA3-38BA-5B1F-EB3D-2600643656C1}"/>
              </a:ext>
            </a:extLst>
          </p:cNvPr>
          <p:cNvSpPr/>
          <p:nvPr/>
        </p:nvSpPr>
        <p:spPr>
          <a:xfrm>
            <a:off x="3518321" y="3118405"/>
            <a:ext cx="687006" cy="299543"/>
          </a:xfrm>
          <a:custGeom>
            <a:avLst/>
            <a:gdLst>
              <a:gd name="csX0" fmla="*/ 0 w 910576"/>
              <a:gd name="csY0" fmla="*/ 141 h 397022"/>
              <a:gd name="csX1" fmla="*/ 115251 w 910576"/>
              <a:gd name="csY1" fmla="*/ 31823 h 397022"/>
              <a:gd name="csX2" fmla="*/ 482060 w 910576"/>
              <a:gd name="csY2" fmla="*/ 181252 h 397022"/>
              <a:gd name="csX3" fmla="*/ 817169 w 910576"/>
              <a:gd name="csY3" fmla="*/ 339705 h 397022"/>
              <a:gd name="csX4" fmla="*/ 910576 w 910576"/>
              <a:gd name="csY4" fmla="*/ 368002 h 397022"/>
              <a:gd name="csX5" fmla="*/ 839487 w 910576"/>
              <a:gd name="csY5" fmla="*/ 397021 h 397022"/>
              <a:gd name="csX6" fmla="*/ 508671 w 910576"/>
              <a:gd name="csY6" fmla="*/ 290884 h 397022"/>
              <a:gd name="csX7" fmla="*/ 361999 w 910576"/>
              <a:gd name="csY7" fmla="*/ 243107 h 397022"/>
              <a:gd name="csX8" fmla="*/ 213955 w 910576"/>
              <a:gd name="csY8" fmla="*/ 178213 h 397022"/>
              <a:gd name="csX9" fmla="*/ 0 w 910576"/>
              <a:gd name="csY9" fmla="*/ 141 h 39702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910576" h="397022">
                <a:moveTo>
                  <a:pt x="0" y="141"/>
                </a:moveTo>
                <a:cubicBezTo>
                  <a:pt x="40350" y="-1620"/>
                  <a:pt x="79961" y="13380"/>
                  <a:pt x="115251" y="31823"/>
                </a:cubicBezTo>
                <a:cubicBezTo>
                  <a:pt x="233125" y="93429"/>
                  <a:pt x="359736" y="131811"/>
                  <a:pt x="482060" y="181252"/>
                </a:cubicBezTo>
                <a:cubicBezTo>
                  <a:pt x="595983" y="227297"/>
                  <a:pt x="715284" y="267202"/>
                  <a:pt x="817169" y="339705"/>
                </a:cubicBezTo>
                <a:cubicBezTo>
                  <a:pt x="845595" y="359933"/>
                  <a:pt x="867655" y="387645"/>
                  <a:pt x="910576" y="368002"/>
                </a:cubicBezTo>
                <a:cubicBezTo>
                  <a:pt x="897494" y="398541"/>
                  <a:pt x="867126" y="396955"/>
                  <a:pt x="839487" y="397021"/>
                </a:cubicBezTo>
                <a:cubicBezTo>
                  <a:pt x="718067" y="397311"/>
                  <a:pt x="610842" y="348251"/>
                  <a:pt x="508671" y="290884"/>
                </a:cubicBezTo>
                <a:cubicBezTo>
                  <a:pt x="461354" y="264317"/>
                  <a:pt x="414496" y="247286"/>
                  <a:pt x="361999" y="243107"/>
                </a:cubicBezTo>
                <a:cubicBezTo>
                  <a:pt x="304826" y="238555"/>
                  <a:pt x="257519" y="218414"/>
                  <a:pt x="213955" y="178213"/>
                </a:cubicBezTo>
                <a:cubicBezTo>
                  <a:pt x="146623" y="116079"/>
                  <a:pt x="72771" y="61012"/>
                  <a:pt x="0" y="141"/>
                </a:cubicBezTo>
                <a:close/>
              </a:path>
            </a:pathLst>
          </a:custGeom>
          <a:solidFill>
            <a:srgbClr val="265467"/>
          </a:solidFill>
          <a:ln w="9525" cap="flat">
            <a:noFill/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3533" name="Free-form: Shape 3532">
            <a:extLst>
              <a:ext uri="{FF2B5EF4-FFF2-40B4-BE49-F238E27FC236}">
                <a16:creationId xmlns:a16="http://schemas.microsoft.com/office/drawing/2014/main" id="{64B2B741-B921-4D4A-E270-0F5489982F0F}"/>
              </a:ext>
            </a:extLst>
          </p:cNvPr>
          <p:cNvSpPr/>
          <p:nvPr/>
        </p:nvSpPr>
        <p:spPr>
          <a:xfrm>
            <a:off x="3503848" y="3399410"/>
            <a:ext cx="589467" cy="529486"/>
          </a:xfrm>
          <a:custGeom>
            <a:avLst/>
            <a:gdLst>
              <a:gd name="csX0" fmla="*/ 0 w 781295"/>
              <a:gd name="csY0" fmla="*/ 0 h 701795"/>
              <a:gd name="csX1" fmla="*/ 131698 w 781295"/>
              <a:gd name="csY1" fmla="*/ 77660 h 701795"/>
              <a:gd name="csX2" fmla="*/ 227313 w 781295"/>
              <a:gd name="csY2" fmla="*/ 181029 h 701795"/>
              <a:gd name="csX3" fmla="*/ 505635 w 781295"/>
              <a:gd name="csY3" fmla="*/ 470161 h 701795"/>
              <a:gd name="csX4" fmla="*/ 631033 w 781295"/>
              <a:gd name="csY4" fmla="*/ 611697 h 701795"/>
              <a:gd name="csX5" fmla="*/ 781296 w 781295"/>
              <a:gd name="csY5" fmla="*/ 674180 h 701795"/>
              <a:gd name="csX6" fmla="*/ 739791 w 781295"/>
              <a:gd name="csY6" fmla="*/ 700751 h 701795"/>
              <a:gd name="csX7" fmla="*/ 572074 w 781295"/>
              <a:gd name="csY7" fmla="*/ 648671 h 701795"/>
              <a:gd name="csX8" fmla="*/ 499649 w 781295"/>
              <a:gd name="csY8" fmla="*/ 580286 h 701795"/>
              <a:gd name="csX9" fmla="*/ 137371 w 781295"/>
              <a:gd name="csY9" fmla="*/ 218091 h 701795"/>
              <a:gd name="csX10" fmla="*/ 108942 w 781295"/>
              <a:gd name="csY10" fmla="*/ 180865 h 701795"/>
              <a:gd name="csX11" fmla="*/ 0 w 781295"/>
              <a:gd name="csY11" fmla="*/ 0 h 70179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781295" h="701795">
                <a:moveTo>
                  <a:pt x="0" y="0"/>
                </a:moveTo>
                <a:cubicBezTo>
                  <a:pt x="53621" y="7117"/>
                  <a:pt x="99413" y="32155"/>
                  <a:pt x="131698" y="77660"/>
                </a:cubicBezTo>
                <a:cubicBezTo>
                  <a:pt x="159184" y="116403"/>
                  <a:pt x="189753" y="150641"/>
                  <a:pt x="227313" y="181029"/>
                </a:cubicBezTo>
                <a:cubicBezTo>
                  <a:pt x="331862" y="265611"/>
                  <a:pt x="426288" y="360435"/>
                  <a:pt x="505635" y="470161"/>
                </a:cubicBezTo>
                <a:cubicBezTo>
                  <a:pt x="542466" y="521094"/>
                  <a:pt x="585169" y="568024"/>
                  <a:pt x="631033" y="611697"/>
                </a:cubicBezTo>
                <a:cubicBezTo>
                  <a:pt x="672286" y="650980"/>
                  <a:pt x="725941" y="658815"/>
                  <a:pt x="781296" y="674180"/>
                </a:cubicBezTo>
                <a:cubicBezTo>
                  <a:pt x="779070" y="700422"/>
                  <a:pt x="758724" y="699146"/>
                  <a:pt x="739791" y="700751"/>
                </a:cubicBezTo>
                <a:cubicBezTo>
                  <a:pt x="676811" y="706089"/>
                  <a:pt x="619989" y="691292"/>
                  <a:pt x="572074" y="648671"/>
                </a:cubicBezTo>
                <a:cubicBezTo>
                  <a:pt x="547217" y="626560"/>
                  <a:pt x="518186" y="606984"/>
                  <a:pt x="499649" y="580286"/>
                </a:cubicBezTo>
                <a:cubicBezTo>
                  <a:pt x="400549" y="437551"/>
                  <a:pt x="260675" y="336192"/>
                  <a:pt x="137371" y="218091"/>
                </a:cubicBezTo>
                <a:cubicBezTo>
                  <a:pt x="125700" y="206913"/>
                  <a:pt x="114026" y="196397"/>
                  <a:pt x="108942" y="180865"/>
                </a:cubicBezTo>
                <a:cubicBezTo>
                  <a:pt x="86765" y="113112"/>
                  <a:pt x="45143" y="57288"/>
                  <a:pt x="0" y="0"/>
                </a:cubicBezTo>
                <a:close/>
              </a:path>
            </a:pathLst>
          </a:custGeom>
          <a:solidFill>
            <a:srgbClr val="275464"/>
          </a:solidFill>
          <a:ln w="9525" cap="flat">
            <a:noFill/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3534" name="Free-form: Shape 3533">
            <a:extLst>
              <a:ext uri="{FF2B5EF4-FFF2-40B4-BE49-F238E27FC236}">
                <a16:creationId xmlns:a16="http://schemas.microsoft.com/office/drawing/2014/main" id="{DB84A13C-7B34-C029-5BA9-ABDB1C7E4AE4}"/>
              </a:ext>
            </a:extLst>
          </p:cNvPr>
          <p:cNvSpPr/>
          <p:nvPr/>
        </p:nvSpPr>
        <p:spPr>
          <a:xfrm>
            <a:off x="3432406" y="2905020"/>
            <a:ext cx="489023" cy="159735"/>
          </a:xfrm>
          <a:custGeom>
            <a:avLst/>
            <a:gdLst>
              <a:gd name="csX0" fmla="*/ 513886 w 648164"/>
              <a:gd name="csY0" fmla="*/ 204096 h 211717"/>
              <a:gd name="csX1" fmla="*/ 0 w 648164"/>
              <a:gd name="csY1" fmla="*/ 0 h 211717"/>
              <a:gd name="csX2" fmla="*/ 136957 w 648164"/>
              <a:gd name="csY2" fmla="*/ 2589 h 211717"/>
              <a:gd name="csX3" fmla="*/ 277527 w 648164"/>
              <a:gd name="csY3" fmla="*/ 19184 h 211717"/>
              <a:gd name="csX4" fmla="*/ 622091 w 648164"/>
              <a:gd name="csY4" fmla="*/ 101761 h 211717"/>
              <a:gd name="csX5" fmla="*/ 647256 w 648164"/>
              <a:gd name="csY5" fmla="*/ 132656 h 211717"/>
              <a:gd name="csX6" fmla="*/ 513886 w 648164"/>
              <a:gd name="csY6" fmla="*/ 204096 h 21171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</a:cxnLst>
            <a:rect l="l" t="t" r="r" b="b"/>
            <a:pathLst>
              <a:path w="648164" h="211717">
                <a:moveTo>
                  <a:pt x="513886" y="204096"/>
                </a:moveTo>
                <a:cubicBezTo>
                  <a:pt x="353510" y="103047"/>
                  <a:pt x="171280" y="66901"/>
                  <a:pt x="0" y="0"/>
                </a:cubicBezTo>
                <a:cubicBezTo>
                  <a:pt x="46235" y="6318"/>
                  <a:pt x="91675" y="4769"/>
                  <a:pt x="136957" y="2589"/>
                </a:cubicBezTo>
                <a:cubicBezTo>
                  <a:pt x="185122" y="270"/>
                  <a:pt x="231252" y="17700"/>
                  <a:pt x="277527" y="19184"/>
                </a:cubicBezTo>
                <a:cubicBezTo>
                  <a:pt x="398895" y="23076"/>
                  <a:pt x="503903" y="88842"/>
                  <a:pt x="622091" y="101761"/>
                </a:cubicBezTo>
                <a:cubicBezTo>
                  <a:pt x="638655" y="103571"/>
                  <a:pt x="651800" y="109607"/>
                  <a:pt x="647256" y="132656"/>
                </a:cubicBezTo>
                <a:cubicBezTo>
                  <a:pt x="635352" y="193027"/>
                  <a:pt x="574057" y="228089"/>
                  <a:pt x="513886" y="204096"/>
                </a:cubicBezTo>
                <a:close/>
              </a:path>
            </a:pathLst>
          </a:custGeom>
          <a:solidFill>
            <a:srgbClr val="265D6F"/>
          </a:solidFill>
          <a:ln w="9525" cap="flat">
            <a:noFill/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3535" name="Free-form: Shape 3534">
            <a:extLst>
              <a:ext uri="{FF2B5EF4-FFF2-40B4-BE49-F238E27FC236}">
                <a16:creationId xmlns:a16="http://schemas.microsoft.com/office/drawing/2014/main" id="{C94DBD11-88B2-41D6-2509-F11AE4A94D24}"/>
              </a:ext>
            </a:extLst>
          </p:cNvPr>
          <p:cNvSpPr/>
          <p:nvPr/>
        </p:nvSpPr>
        <p:spPr>
          <a:xfrm>
            <a:off x="3141069" y="5638407"/>
            <a:ext cx="368620" cy="138396"/>
          </a:xfrm>
          <a:custGeom>
            <a:avLst/>
            <a:gdLst>
              <a:gd name="csX0" fmla="*/ 436371 w 488578"/>
              <a:gd name="csY0" fmla="*/ 179983 h 183434"/>
              <a:gd name="csX1" fmla="*/ 38202 w 488578"/>
              <a:gd name="csY1" fmla="*/ 94654 h 183434"/>
              <a:gd name="csX2" fmla="*/ 2910 w 488578"/>
              <a:gd name="csY2" fmla="*/ 31980 h 183434"/>
              <a:gd name="csX3" fmla="*/ 56877 w 488578"/>
              <a:gd name="csY3" fmla="*/ 5593 h 183434"/>
              <a:gd name="csX4" fmla="*/ 359136 w 488578"/>
              <a:gd name="csY4" fmla="*/ 66346 h 183434"/>
              <a:gd name="csX5" fmla="*/ 463196 w 488578"/>
              <a:gd name="csY5" fmla="*/ 98564 h 183434"/>
              <a:gd name="csX6" fmla="*/ 485283 w 488578"/>
              <a:gd name="csY6" fmla="*/ 156405 h 183434"/>
              <a:gd name="csX7" fmla="*/ 436371 w 488578"/>
              <a:gd name="csY7" fmla="*/ 179983 h 18343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</a:cxnLst>
            <a:rect l="l" t="t" r="r" b="b"/>
            <a:pathLst>
              <a:path w="488578" h="183434">
                <a:moveTo>
                  <a:pt x="436371" y="179983"/>
                </a:moveTo>
                <a:cubicBezTo>
                  <a:pt x="300978" y="150834"/>
                  <a:pt x="170042" y="120431"/>
                  <a:pt x="38202" y="94654"/>
                </a:cubicBezTo>
                <a:cubicBezTo>
                  <a:pt x="-5194" y="86169"/>
                  <a:pt x="-2374" y="66441"/>
                  <a:pt x="2910" y="31980"/>
                </a:cubicBezTo>
                <a:cubicBezTo>
                  <a:pt x="9271" y="-9509"/>
                  <a:pt x="31444" y="-1191"/>
                  <a:pt x="56877" y="5593"/>
                </a:cubicBezTo>
                <a:cubicBezTo>
                  <a:pt x="156380" y="32133"/>
                  <a:pt x="258569" y="45238"/>
                  <a:pt x="359136" y="66346"/>
                </a:cubicBezTo>
                <a:cubicBezTo>
                  <a:pt x="394520" y="73772"/>
                  <a:pt x="428609" y="87452"/>
                  <a:pt x="463196" y="98564"/>
                </a:cubicBezTo>
                <a:cubicBezTo>
                  <a:pt x="494537" y="108633"/>
                  <a:pt x="489856" y="131304"/>
                  <a:pt x="485283" y="156405"/>
                </a:cubicBezTo>
                <a:cubicBezTo>
                  <a:pt x="479968" y="185582"/>
                  <a:pt x="463106" y="186848"/>
                  <a:pt x="436371" y="179983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3536" name="Free-form: Shape 3535">
            <a:extLst>
              <a:ext uri="{FF2B5EF4-FFF2-40B4-BE49-F238E27FC236}">
                <a16:creationId xmlns:a16="http://schemas.microsoft.com/office/drawing/2014/main" id="{845FA1AD-505C-4B69-AE8E-9A700883CE7F}"/>
              </a:ext>
            </a:extLst>
          </p:cNvPr>
          <p:cNvSpPr/>
          <p:nvPr/>
        </p:nvSpPr>
        <p:spPr>
          <a:xfrm>
            <a:off x="3128660" y="4275400"/>
            <a:ext cx="50646" cy="139439"/>
          </a:xfrm>
          <a:custGeom>
            <a:avLst/>
            <a:gdLst>
              <a:gd name="csX0" fmla="*/ 3819 w 43314"/>
              <a:gd name="csY0" fmla="*/ 30419 h 165767"/>
              <a:gd name="csX1" fmla="*/ 27572 w 43314"/>
              <a:gd name="csY1" fmla="*/ 0 h 165767"/>
              <a:gd name="csX2" fmla="*/ 36648 w 43314"/>
              <a:gd name="csY2" fmla="*/ 129603 h 165767"/>
              <a:gd name="csX3" fmla="*/ 0 w 43314"/>
              <a:gd name="csY3" fmla="*/ 165767 h 165767"/>
              <a:gd name="csX4" fmla="*/ 3819 w 43314"/>
              <a:gd name="csY4" fmla="*/ 30419 h 165767"/>
              <a:gd name="csX0" fmla="*/ 18107 w 57602"/>
              <a:gd name="csY0" fmla="*/ 30419 h 170529"/>
              <a:gd name="csX1" fmla="*/ 41860 w 57602"/>
              <a:gd name="csY1" fmla="*/ 0 h 170529"/>
              <a:gd name="csX2" fmla="*/ 50936 w 57602"/>
              <a:gd name="csY2" fmla="*/ 129603 h 170529"/>
              <a:gd name="csX3" fmla="*/ 0 w 57602"/>
              <a:gd name="csY3" fmla="*/ 170529 h 170529"/>
              <a:gd name="csX4" fmla="*/ 18107 w 57602"/>
              <a:gd name="csY4" fmla="*/ 30419 h 170529"/>
              <a:gd name="csX0" fmla="*/ 27632 w 67127"/>
              <a:gd name="csY0" fmla="*/ 30419 h 184816"/>
              <a:gd name="csX1" fmla="*/ 51385 w 67127"/>
              <a:gd name="csY1" fmla="*/ 0 h 184816"/>
              <a:gd name="csX2" fmla="*/ 60461 w 67127"/>
              <a:gd name="csY2" fmla="*/ 129603 h 184816"/>
              <a:gd name="csX3" fmla="*/ 0 w 67127"/>
              <a:gd name="csY3" fmla="*/ 184816 h 184816"/>
              <a:gd name="csX4" fmla="*/ 27632 w 67127"/>
              <a:gd name="csY4" fmla="*/ 30419 h 18481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67127" h="184816">
                <a:moveTo>
                  <a:pt x="27632" y="30419"/>
                </a:moveTo>
                <a:cubicBezTo>
                  <a:pt x="46377" y="27957"/>
                  <a:pt x="50210" y="17341"/>
                  <a:pt x="51385" y="0"/>
                </a:cubicBezTo>
                <a:cubicBezTo>
                  <a:pt x="64193" y="40257"/>
                  <a:pt x="74346" y="83919"/>
                  <a:pt x="60461" y="129603"/>
                </a:cubicBezTo>
                <a:cubicBezTo>
                  <a:pt x="55082" y="147301"/>
                  <a:pt x="23364" y="180186"/>
                  <a:pt x="0" y="184816"/>
                </a:cubicBezTo>
                <a:cubicBezTo>
                  <a:pt x="3817" y="139488"/>
                  <a:pt x="27807" y="77035"/>
                  <a:pt x="27632" y="30419"/>
                </a:cubicBezTo>
                <a:close/>
              </a:path>
            </a:pathLst>
          </a:custGeom>
          <a:solidFill>
            <a:schemeClr val="accent3"/>
          </a:solidFill>
          <a:ln w="9525" cap="flat">
            <a:noFill/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5105" name="Free-form: Shape 5104">
            <a:extLst>
              <a:ext uri="{FF2B5EF4-FFF2-40B4-BE49-F238E27FC236}">
                <a16:creationId xmlns:a16="http://schemas.microsoft.com/office/drawing/2014/main" id="{061836AA-FA75-E47A-1EF6-0001A63FE167}"/>
              </a:ext>
            </a:extLst>
          </p:cNvPr>
          <p:cNvSpPr/>
          <p:nvPr/>
        </p:nvSpPr>
        <p:spPr>
          <a:xfrm>
            <a:off x="2941187" y="4199865"/>
            <a:ext cx="218709" cy="214749"/>
          </a:xfrm>
          <a:custGeom>
            <a:avLst/>
            <a:gdLst>
              <a:gd name="csX0" fmla="*/ 121223 w 289882"/>
              <a:gd name="csY0" fmla="*/ 259351 h 284634"/>
              <a:gd name="csX1" fmla="*/ 39765 w 289882"/>
              <a:gd name="csY1" fmla="*/ 191462 h 284634"/>
              <a:gd name="csX2" fmla="*/ 32485 w 289882"/>
              <a:gd name="csY2" fmla="*/ 53800 h 284634"/>
              <a:gd name="csX3" fmla="*/ 33051 w 289882"/>
              <a:gd name="csY3" fmla="*/ 50286 h 284634"/>
              <a:gd name="csX4" fmla="*/ 40925 w 289882"/>
              <a:gd name="csY4" fmla="*/ 41448 h 284634"/>
              <a:gd name="csX5" fmla="*/ 42207 w 289882"/>
              <a:gd name="csY5" fmla="*/ 40466 h 284634"/>
              <a:gd name="csX6" fmla="*/ 51923 w 289882"/>
              <a:gd name="csY6" fmla="*/ 31913 h 284634"/>
              <a:gd name="csX7" fmla="*/ 269882 w 289882"/>
              <a:gd name="csY7" fmla="*/ 111985 h 284634"/>
              <a:gd name="csX8" fmla="*/ 276081 w 289882"/>
              <a:gd name="csY8" fmla="*/ 123374 h 284634"/>
              <a:gd name="csX9" fmla="*/ 278046 w 289882"/>
              <a:gd name="csY9" fmla="*/ 127145 h 284634"/>
              <a:gd name="csX10" fmla="*/ 270391 w 289882"/>
              <a:gd name="csY10" fmla="*/ 264071 h 284634"/>
              <a:gd name="csX11" fmla="*/ 121223 w 289882"/>
              <a:gd name="csY11" fmla="*/ 259351 h 284634"/>
              <a:gd name="csX0" fmla="*/ 121223 w 289882"/>
              <a:gd name="csY0" fmla="*/ 259351 h 284634"/>
              <a:gd name="csX1" fmla="*/ 39765 w 289882"/>
              <a:gd name="csY1" fmla="*/ 191462 h 284634"/>
              <a:gd name="csX2" fmla="*/ 32485 w 289882"/>
              <a:gd name="csY2" fmla="*/ 53800 h 284634"/>
              <a:gd name="csX3" fmla="*/ 33051 w 289882"/>
              <a:gd name="csY3" fmla="*/ 50286 h 284634"/>
              <a:gd name="csX4" fmla="*/ 40925 w 289882"/>
              <a:gd name="csY4" fmla="*/ 41448 h 284634"/>
              <a:gd name="csX5" fmla="*/ 42207 w 289882"/>
              <a:gd name="csY5" fmla="*/ 40466 h 284634"/>
              <a:gd name="csX6" fmla="*/ 51923 w 289882"/>
              <a:gd name="csY6" fmla="*/ 31913 h 284634"/>
              <a:gd name="csX7" fmla="*/ 269882 w 289882"/>
              <a:gd name="csY7" fmla="*/ 111985 h 284634"/>
              <a:gd name="csX8" fmla="*/ 276081 w 289882"/>
              <a:gd name="csY8" fmla="*/ 123374 h 284634"/>
              <a:gd name="csX9" fmla="*/ 278046 w 289882"/>
              <a:gd name="csY9" fmla="*/ 127145 h 284634"/>
              <a:gd name="csX10" fmla="*/ 270391 w 289882"/>
              <a:gd name="csY10" fmla="*/ 264071 h 284634"/>
              <a:gd name="csX11" fmla="*/ 121223 w 289882"/>
              <a:gd name="csY11" fmla="*/ 259351 h 28463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289882" h="284634">
                <a:moveTo>
                  <a:pt x="121223" y="259351"/>
                </a:moveTo>
                <a:cubicBezTo>
                  <a:pt x="92744" y="236429"/>
                  <a:pt x="77302" y="230687"/>
                  <a:pt x="39765" y="191462"/>
                </a:cubicBezTo>
                <a:cubicBezTo>
                  <a:pt x="-11973" y="114370"/>
                  <a:pt x="-11973" y="114370"/>
                  <a:pt x="32485" y="53800"/>
                </a:cubicBezTo>
                <a:cubicBezTo>
                  <a:pt x="33647" y="50785"/>
                  <a:pt x="33361" y="50218"/>
                  <a:pt x="33051" y="50286"/>
                </a:cubicBezTo>
                <a:cubicBezTo>
                  <a:pt x="34473" y="47565"/>
                  <a:pt x="36502" y="45010"/>
                  <a:pt x="40925" y="41448"/>
                </a:cubicBezTo>
                <a:cubicBezTo>
                  <a:pt x="43063" y="40240"/>
                  <a:pt x="42208" y="40025"/>
                  <a:pt x="42207" y="40466"/>
                </a:cubicBezTo>
                <a:cubicBezTo>
                  <a:pt x="43982" y="37678"/>
                  <a:pt x="46361" y="34981"/>
                  <a:pt x="51923" y="31913"/>
                </a:cubicBezTo>
                <a:cubicBezTo>
                  <a:pt x="144799" y="-26959"/>
                  <a:pt x="200853" y="-6678"/>
                  <a:pt x="269882" y="111985"/>
                </a:cubicBezTo>
                <a:cubicBezTo>
                  <a:pt x="271876" y="116919"/>
                  <a:pt x="273328" y="118608"/>
                  <a:pt x="276081" y="123374"/>
                </a:cubicBezTo>
                <a:cubicBezTo>
                  <a:pt x="277382" y="126451"/>
                  <a:pt x="277941" y="126827"/>
                  <a:pt x="278046" y="127145"/>
                </a:cubicBezTo>
                <a:cubicBezTo>
                  <a:pt x="286830" y="172404"/>
                  <a:pt x="302962" y="217741"/>
                  <a:pt x="270391" y="264071"/>
                </a:cubicBezTo>
                <a:cubicBezTo>
                  <a:pt x="219534" y="299545"/>
                  <a:pt x="171946" y="283215"/>
                  <a:pt x="121223" y="259351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5106" name="Free-form: Shape 5105">
            <a:extLst>
              <a:ext uri="{FF2B5EF4-FFF2-40B4-BE49-F238E27FC236}">
                <a16:creationId xmlns:a16="http://schemas.microsoft.com/office/drawing/2014/main" id="{9D8F4302-67C0-B105-E592-0BC3817DFDD3}"/>
              </a:ext>
            </a:extLst>
          </p:cNvPr>
          <p:cNvSpPr/>
          <p:nvPr/>
        </p:nvSpPr>
        <p:spPr>
          <a:xfrm>
            <a:off x="3145218" y="4288578"/>
            <a:ext cx="4884" cy="5020"/>
          </a:xfrm>
          <a:custGeom>
            <a:avLst/>
            <a:gdLst>
              <a:gd name="csX0" fmla="*/ 6474 w 6474"/>
              <a:gd name="csY0" fmla="*/ 6650 h 6653"/>
              <a:gd name="csX1" fmla="*/ 0 w 6474"/>
              <a:gd name="csY1" fmla="*/ 95 h 6653"/>
              <a:gd name="csX2" fmla="*/ 6474 w 6474"/>
              <a:gd name="csY2" fmla="*/ 6650 h 665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6474" h="6653">
                <a:moveTo>
                  <a:pt x="6474" y="6650"/>
                </a:moveTo>
                <a:cubicBezTo>
                  <a:pt x="4637" y="6760"/>
                  <a:pt x="2321" y="4651"/>
                  <a:pt x="0" y="95"/>
                </a:cubicBezTo>
                <a:cubicBezTo>
                  <a:pt x="2466" y="-507"/>
                  <a:pt x="4465" y="1753"/>
                  <a:pt x="6474" y="6650"/>
                </a:cubicBezTo>
                <a:close/>
              </a:path>
            </a:pathLst>
          </a:custGeom>
          <a:solidFill>
            <a:srgbClr val="8D7630"/>
          </a:solidFill>
          <a:ln w="9525" cap="flat">
            <a:noFill/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5107" name="Free-form: Shape 5106">
            <a:extLst>
              <a:ext uri="{FF2B5EF4-FFF2-40B4-BE49-F238E27FC236}">
                <a16:creationId xmlns:a16="http://schemas.microsoft.com/office/drawing/2014/main" id="{F5E0D8DD-D741-3DFB-D9DD-3B6F8CC494B4}"/>
              </a:ext>
            </a:extLst>
          </p:cNvPr>
          <p:cNvSpPr/>
          <p:nvPr/>
        </p:nvSpPr>
        <p:spPr>
          <a:xfrm>
            <a:off x="2967719" y="4230808"/>
            <a:ext cx="4227" cy="6629"/>
          </a:xfrm>
          <a:custGeom>
            <a:avLst/>
            <a:gdLst>
              <a:gd name="csX0" fmla="*/ 5413 w 5603"/>
              <a:gd name="csY0" fmla="*/ 0 h 8786"/>
              <a:gd name="csX1" fmla="*/ 204 w 5603"/>
              <a:gd name="csY1" fmla="*/ 8787 h 8786"/>
              <a:gd name="csX2" fmla="*/ 5413 w 5603"/>
              <a:gd name="csY2" fmla="*/ 0 h 878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5603" h="8786">
                <a:moveTo>
                  <a:pt x="5413" y="0"/>
                </a:moveTo>
                <a:cubicBezTo>
                  <a:pt x="6208" y="2228"/>
                  <a:pt x="4521" y="5229"/>
                  <a:pt x="204" y="8787"/>
                </a:cubicBezTo>
                <a:cubicBezTo>
                  <a:pt x="-640" y="6486"/>
                  <a:pt x="1144" y="3630"/>
                  <a:pt x="5413" y="0"/>
                </a:cubicBezTo>
                <a:close/>
              </a:path>
            </a:pathLst>
          </a:custGeom>
          <a:solidFill>
            <a:srgbClr val="225266"/>
          </a:solidFill>
          <a:ln w="9525" cap="flat">
            <a:noFill/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5108" name="Free-form: Shape 5107">
            <a:extLst>
              <a:ext uri="{FF2B5EF4-FFF2-40B4-BE49-F238E27FC236}">
                <a16:creationId xmlns:a16="http://schemas.microsoft.com/office/drawing/2014/main" id="{624C60D5-5F5E-926A-C65A-3B7DCEDDC5AA}"/>
              </a:ext>
            </a:extLst>
          </p:cNvPr>
          <p:cNvSpPr/>
          <p:nvPr/>
        </p:nvSpPr>
        <p:spPr>
          <a:xfrm>
            <a:off x="2975047" y="4223702"/>
            <a:ext cx="5212" cy="6567"/>
          </a:xfrm>
          <a:custGeom>
            <a:avLst/>
            <a:gdLst>
              <a:gd name="csX0" fmla="*/ 6838 w 6908"/>
              <a:gd name="csY0" fmla="*/ 0 h 8704"/>
              <a:gd name="csX1" fmla="*/ 68 w 6908"/>
              <a:gd name="csY1" fmla="*/ 8705 h 8704"/>
              <a:gd name="csX2" fmla="*/ 6838 w 6908"/>
              <a:gd name="csY2" fmla="*/ 0 h 870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6908" h="8704">
                <a:moveTo>
                  <a:pt x="6838" y="0"/>
                </a:moveTo>
                <a:cubicBezTo>
                  <a:pt x="7351" y="2309"/>
                  <a:pt x="5081" y="5203"/>
                  <a:pt x="68" y="8705"/>
                </a:cubicBezTo>
                <a:cubicBezTo>
                  <a:pt x="-431" y="6403"/>
                  <a:pt x="1811" y="3494"/>
                  <a:pt x="6838" y="0"/>
                </a:cubicBezTo>
                <a:close/>
              </a:path>
            </a:pathLst>
          </a:custGeom>
          <a:solidFill>
            <a:srgbClr val="225266"/>
          </a:solidFill>
          <a:ln w="9525" cap="flat">
            <a:noFill/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5112" name="Free-form: Shape 5111">
            <a:extLst>
              <a:ext uri="{FF2B5EF4-FFF2-40B4-BE49-F238E27FC236}">
                <a16:creationId xmlns:a16="http://schemas.microsoft.com/office/drawing/2014/main" id="{D228B707-04BE-E750-D35C-613E066C4B24}"/>
              </a:ext>
            </a:extLst>
          </p:cNvPr>
          <p:cNvSpPr/>
          <p:nvPr/>
        </p:nvSpPr>
        <p:spPr>
          <a:xfrm>
            <a:off x="3476933" y="4299703"/>
            <a:ext cx="92561" cy="71264"/>
          </a:xfrm>
          <a:custGeom>
            <a:avLst/>
            <a:gdLst>
              <a:gd name="csX0" fmla="*/ 122684 w 122683"/>
              <a:gd name="csY0" fmla="*/ 89420 h 94455"/>
              <a:gd name="csX1" fmla="*/ 12494 w 122683"/>
              <a:gd name="csY1" fmla="*/ 43893 h 94455"/>
              <a:gd name="csX2" fmla="*/ 4476 w 122683"/>
              <a:gd name="csY2" fmla="*/ 5819 h 94455"/>
              <a:gd name="csX3" fmla="*/ 45123 w 122683"/>
              <a:gd name="csY3" fmla="*/ 1858 h 94455"/>
              <a:gd name="csX4" fmla="*/ 122684 w 122683"/>
              <a:gd name="csY4" fmla="*/ 89420 h 9445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22683" h="94455">
                <a:moveTo>
                  <a:pt x="122684" y="89420"/>
                </a:moveTo>
                <a:cubicBezTo>
                  <a:pt x="70413" y="103687"/>
                  <a:pt x="32794" y="87363"/>
                  <a:pt x="12494" y="43893"/>
                </a:cubicBezTo>
                <a:cubicBezTo>
                  <a:pt x="6924" y="31966"/>
                  <a:pt x="-7158" y="16399"/>
                  <a:pt x="4476" y="5819"/>
                </a:cubicBezTo>
                <a:cubicBezTo>
                  <a:pt x="12661" y="-1626"/>
                  <a:pt x="31869" y="-695"/>
                  <a:pt x="45123" y="1858"/>
                </a:cubicBezTo>
                <a:cubicBezTo>
                  <a:pt x="90781" y="10650"/>
                  <a:pt x="115059" y="41304"/>
                  <a:pt x="122684" y="89420"/>
                </a:cubicBezTo>
                <a:close/>
              </a:path>
            </a:pathLst>
          </a:custGeom>
          <a:solidFill>
            <a:srgbClr val="DF971E"/>
          </a:solidFill>
          <a:ln w="9525" cap="flat">
            <a:noFill/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4451BFEB-9B5D-3A0C-AB9D-B29FAEF409CA}"/>
              </a:ext>
            </a:extLst>
          </p:cNvPr>
          <p:cNvSpPr/>
          <p:nvPr/>
        </p:nvSpPr>
        <p:spPr>
          <a:xfrm>
            <a:off x="1789855" y="5641608"/>
            <a:ext cx="672690" cy="125776"/>
          </a:xfrm>
          <a:prstGeom prst="ellipse">
            <a:avLst/>
          </a:prstGeom>
          <a:solidFill>
            <a:schemeClr val="tx1">
              <a:alpha val="6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8" name="Free-form: Shape 37">
            <a:extLst>
              <a:ext uri="{FF2B5EF4-FFF2-40B4-BE49-F238E27FC236}">
                <a16:creationId xmlns:a16="http://schemas.microsoft.com/office/drawing/2014/main" id="{6BD78D91-5EC4-0D79-5928-50A38F82BA1A}"/>
              </a:ext>
            </a:extLst>
          </p:cNvPr>
          <p:cNvSpPr/>
          <p:nvPr/>
        </p:nvSpPr>
        <p:spPr>
          <a:xfrm>
            <a:off x="1839207" y="4695225"/>
            <a:ext cx="576505" cy="1024899"/>
          </a:xfrm>
          <a:custGeom>
            <a:avLst/>
            <a:gdLst>
              <a:gd name="csX0" fmla="*/ 581793 w 697572"/>
              <a:gd name="csY0" fmla="*/ 1234401 h 1240128"/>
              <a:gd name="csX1" fmla="*/ 577427 w 697572"/>
              <a:gd name="csY1" fmla="*/ 1234156 h 1240128"/>
              <a:gd name="csX2" fmla="*/ 559133 w 697572"/>
              <a:gd name="csY2" fmla="*/ 1230909 h 1240128"/>
              <a:gd name="csX3" fmla="*/ 516706 w 697572"/>
              <a:gd name="csY3" fmla="*/ 1235117 h 1240128"/>
              <a:gd name="csX4" fmla="*/ 475244 w 697572"/>
              <a:gd name="csY4" fmla="*/ 1237506 h 1240128"/>
              <a:gd name="csX5" fmla="*/ 371154 w 697572"/>
              <a:gd name="csY5" fmla="*/ 1239428 h 1240128"/>
              <a:gd name="csX6" fmla="*/ 276813 w 697572"/>
              <a:gd name="csY6" fmla="*/ 1237654 h 1240128"/>
              <a:gd name="csX7" fmla="*/ 268212 w 697572"/>
              <a:gd name="csY7" fmla="*/ 1237635 h 1240128"/>
              <a:gd name="csX8" fmla="*/ 262072 w 697572"/>
              <a:gd name="csY8" fmla="*/ 1237523 h 1240128"/>
              <a:gd name="csX9" fmla="*/ 195111 w 697572"/>
              <a:gd name="csY9" fmla="*/ 1232775 h 1240128"/>
              <a:gd name="csX10" fmla="*/ 145060 w 697572"/>
              <a:gd name="csY10" fmla="*/ 1230076 h 1240128"/>
              <a:gd name="csX11" fmla="*/ 114933 w 697572"/>
              <a:gd name="csY11" fmla="*/ 1225832 h 1240128"/>
              <a:gd name="csX12" fmla="*/ 72642 w 697572"/>
              <a:gd name="csY12" fmla="*/ 1220237 h 1240128"/>
              <a:gd name="csX13" fmla="*/ 10894 w 697572"/>
              <a:gd name="csY13" fmla="*/ 1205737 h 1240128"/>
              <a:gd name="csX14" fmla="*/ 5856 w 697572"/>
              <a:gd name="csY14" fmla="*/ 1202799 h 1240128"/>
              <a:gd name="csX15" fmla="*/ 40 w 697572"/>
              <a:gd name="csY15" fmla="*/ 1174450 h 1240128"/>
              <a:gd name="csX16" fmla="*/ 19831 w 697572"/>
              <a:gd name="csY16" fmla="*/ 1118410 h 1240128"/>
              <a:gd name="csX17" fmla="*/ 22004 w 697572"/>
              <a:gd name="csY17" fmla="*/ 1107240 h 1240128"/>
              <a:gd name="csX18" fmla="*/ 25947 w 697572"/>
              <a:gd name="csY18" fmla="*/ 1038650 h 1240128"/>
              <a:gd name="csX19" fmla="*/ 58234 w 697572"/>
              <a:gd name="csY19" fmla="*/ 988567 h 1240128"/>
              <a:gd name="csX20" fmla="*/ 118645 w 697572"/>
              <a:gd name="csY20" fmla="*/ 928298 h 1240128"/>
              <a:gd name="csX21" fmla="*/ 126320 w 697572"/>
              <a:gd name="csY21" fmla="*/ 892015 h 1240128"/>
              <a:gd name="csX22" fmla="*/ 120345 w 697572"/>
              <a:gd name="csY22" fmla="*/ 872258 h 1240128"/>
              <a:gd name="csX23" fmla="*/ 125668 w 697572"/>
              <a:gd name="csY23" fmla="*/ 861640 h 1240128"/>
              <a:gd name="csX24" fmla="*/ 154237 w 697572"/>
              <a:gd name="csY24" fmla="*/ 850716 h 1240128"/>
              <a:gd name="csX25" fmla="*/ 170248 w 697572"/>
              <a:gd name="csY25" fmla="*/ 836767 h 1240128"/>
              <a:gd name="csX26" fmla="*/ 187840 w 697572"/>
              <a:gd name="csY26" fmla="*/ 796341 h 1240128"/>
              <a:gd name="csX27" fmla="*/ 209346 w 697572"/>
              <a:gd name="csY27" fmla="*/ 743126 h 1240128"/>
              <a:gd name="csX28" fmla="*/ 210630 w 697572"/>
              <a:gd name="csY28" fmla="*/ 737219 h 1240128"/>
              <a:gd name="csX29" fmla="*/ 213836 w 697572"/>
              <a:gd name="csY29" fmla="*/ 720505 h 1240128"/>
              <a:gd name="csX30" fmla="*/ 227791 w 697572"/>
              <a:gd name="csY30" fmla="*/ 667353 h 1240128"/>
              <a:gd name="csX31" fmla="*/ 241013 w 697572"/>
              <a:gd name="csY31" fmla="*/ 599151 h 1240128"/>
              <a:gd name="csX32" fmla="*/ 247322 w 697572"/>
              <a:gd name="csY32" fmla="*/ 542242 h 1240128"/>
              <a:gd name="csX33" fmla="*/ 247948 w 697572"/>
              <a:gd name="csY33" fmla="*/ 499296 h 1240128"/>
              <a:gd name="csX34" fmla="*/ 247577 w 697572"/>
              <a:gd name="csY34" fmla="*/ 470384 h 1240128"/>
              <a:gd name="csX35" fmla="*/ 238877 w 697572"/>
              <a:gd name="csY35" fmla="*/ 460987 h 1240128"/>
              <a:gd name="csX36" fmla="*/ 222040 w 697572"/>
              <a:gd name="csY36" fmla="*/ 458353 h 1240128"/>
              <a:gd name="csX37" fmla="*/ 172193 w 697572"/>
              <a:gd name="csY37" fmla="*/ 433714 h 1240128"/>
              <a:gd name="csX38" fmla="*/ 168410 w 697572"/>
              <a:gd name="csY38" fmla="*/ 396591 h 1240128"/>
              <a:gd name="csX39" fmla="*/ 209826 w 697572"/>
              <a:gd name="csY39" fmla="*/ 367773 h 1240128"/>
              <a:gd name="csX40" fmla="*/ 250732 w 697572"/>
              <a:gd name="csY40" fmla="*/ 355208 h 1240128"/>
              <a:gd name="csX41" fmla="*/ 258289 w 697572"/>
              <a:gd name="csY41" fmla="*/ 350426 h 1240128"/>
              <a:gd name="csX42" fmla="*/ 233274 w 697572"/>
              <a:gd name="csY42" fmla="*/ 333513 h 1240128"/>
              <a:gd name="csX43" fmla="*/ 229677 w 697572"/>
              <a:gd name="csY43" fmla="*/ 333922 h 1240128"/>
              <a:gd name="csX44" fmla="*/ 230149 w 697572"/>
              <a:gd name="csY44" fmla="*/ 332979 h 1240128"/>
              <a:gd name="csX45" fmla="*/ 227053 w 697572"/>
              <a:gd name="csY45" fmla="*/ 327076 h 1240128"/>
              <a:gd name="csX46" fmla="*/ 196769 w 697572"/>
              <a:gd name="csY46" fmla="*/ 291380 h 1240128"/>
              <a:gd name="csX47" fmla="*/ 184389 w 697572"/>
              <a:gd name="csY47" fmla="*/ 264042 h 1240128"/>
              <a:gd name="csX48" fmla="*/ 180630 w 697572"/>
              <a:gd name="csY48" fmla="*/ 257839 h 1240128"/>
              <a:gd name="csX49" fmla="*/ 176231 w 697572"/>
              <a:gd name="csY49" fmla="*/ 250643 h 1240128"/>
              <a:gd name="csX50" fmla="*/ 170073 w 697572"/>
              <a:gd name="csY50" fmla="*/ 146723 h 1240128"/>
              <a:gd name="csX51" fmla="*/ 180929 w 697572"/>
              <a:gd name="csY51" fmla="*/ 114280 h 1240128"/>
              <a:gd name="csX52" fmla="*/ 180839 w 697572"/>
              <a:gd name="csY52" fmla="*/ 101501 h 1240128"/>
              <a:gd name="csX53" fmla="*/ 233536 w 697572"/>
              <a:gd name="csY53" fmla="*/ 39653 h 1240128"/>
              <a:gd name="csX54" fmla="*/ 347618 w 697572"/>
              <a:gd name="csY54" fmla="*/ 35 h 1240128"/>
              <a:gd name="csX55" fmla="*/ 437139 w 697572"/>
              <a:gd name="csY55" fmla="*/ 22396 h 1240128"/>
              <a:gd name="csX56" fmla="*/ 529052 w 697572"/>
              <a:gd name="csY56" fmla="*/ 131093 h 1240128"/>
              <a:gd name="csX57" fmla="*/ 518497 w 697572"/>
              <a:gd name="csY57" fmla="*/ 271517 h 1240128"/>
              <a:gd name="csX58" fmla="*/ 500808 w 697572"/>
              <a:gd name="csY58" fmla="*/ 287385 h 1240128"/>
              <a:gd name="csX59" fmla="*/ 472948 w 697572"/>
              <a:gd name="csY59" fmla="*/ 323290 h 1240128"/>
              <a:gd name="csX60" fmla="*/ 469385 w 697572"/>
              <a:gd name="csY60" fmla="*/ 331565 h 1240128"/>
              <a:gd name="csX61" fmla="*/ 468293 w 697572"/>
              <a:gd name="csY61" fmla="*/ 331320 h 1240128"/>
              <a:gd name="csX62" fmla="*/ 459542 w 697572"/>
              <a:gd name="csY62" fmla="*/ 338942 h 1240128"/>
              <a:gd name="csX63" fmla="*/ 458492 w 697572"/>
              <a:gd name="csY63" fmla="*/ 338671 h 1240128"/>
              <a:gd name="csX64" fmla="*/ 436978 w 697572"/>
              <a:gd name="csY64" fmla="*/ 352226 h 1240128"/>
              <a:gd name="csX65" fmla="*/ 472329 w 697572"/>
              <a:gd name="csY65" fmla="*/ 362890 h 1240128"/>
              <a:gd name="csX66" fmla="*/ 523779 w 697572"/>
              <a:gd name="csY66" fmla="*/ 391962 h 1240128"/>
              <a:gd name="csX67" fmla="*/ 527344 w 697572"/>
              <a:gd name="csY67" fmla="*/ 430096 h 1240128"/>
              <a:gd name="csX68" fmla="*/ 504112 w 697572"/>
              <a:gd name="csY68" fmla="*/ 449628 h 1240128"/>
              <a:gd name="csX69" fmla="*/ 459430 w 697572"/>
              <a:gd name="csY69" fmla="*/ 461116 h 1240128"/>
              <a:gd name="csX70" fmla="*/ 446666 w 697572"/>
              <a:gd name="csY70" fmla="*/ 474229 h 1240128"/>
              <a:gd name="csX71" fmla="*/ 449133 w 697572"/>
              <a:gd name="csY71" fmla="*/ 531639 h 1240128"/>
              <a:gd name="csX72" fmla="*/ 454546 w 697572"/>
              <a:gd name="csY72" fmla="*/ 588688 h 1240128"/>
              <a:gd name="csX73" fmla="*/ 466126 w 697572"/>
              <a:gd name="csY73" fmla="*/ 649736 h 1240128"/>
              <a:gd name="csX74" fmla="*/ 512154 w 697572"/>
              <a:gd name="csY74" fmla="*/ 794006 h 1240128"/>
              <a:gd name="csX75" fmla="*/ 525763 w 697572"/>
              <a:gd name="csY75" fmla="*/ 834323 h 1240128"/>
              <a:gd name="csX76" fmla="*/ 530555 w 697572"/>
              <a:gd name="csY76" fmla="*/ 845114 h 1240128"/>
              <a:gd name="csX77" fmla="*/ 554424 w 697572"/>
              <a:gd name="csY77" fmla="*/ 856618 h 1240128"/>
              <a:gd name="csX78" fmla="*/ 572880 w 697572"/>
              <a:gd name="csY78" fmla="*/ 862546 h 1240128"/>
              <a:gd name="csX79" fmla="*/ 578643 w 697572"/>
              <a:gd name="csY79" fmla="*/ 880396 h 1240128"/>
              <a:gd name="csX80" fmla="*/ 572188 w 697572"/>
              <a:gd name="csY80" fmla="*/ 899820 h 1240128"/>
              <a:gd name="csX81" fmla="*/ 582698 w 697572"/>
              <a:gd name="csY81" fmla="*/ 930382 h 1240128"/>
              <a:gd name="csX82" fmla="*/ 604747 w 697572"/>
              <a:gd name="csY82" fmla="*/ 960852 h 1240128"/>
              <a:gd name="csX83" fmla="*/ 613863 w 697572"/>
              <a:gd name="csY83" fmla="*/ 968311 h 1240128"/>
              <a:gd name="csX84" fmla="*/ 629435 w 697572"/>
              <a:gd name="csY84" fmla="*/ 981186 h 1240128"/>
              <a:gd name="csX85" fmla="*/ 633611 w 697572"/>
              <a:gd name="csY85" fmla="*/ 985609 h 1240128"/>
              <a:gd name="csX86" fmla="*/ 673790 w 697572"/>
              <a:gd name="csY86" fmla="*/ 1049348 h 1240128"/>
              <a:gd name="csX87" fmla="*/ 675873 w 697572"/>
              <a:gd name="csY87" fmla="*/ 1092839 h 1240128"/>
              <a:gd name="csX88" fmla="*/ 681668 w 697572"/>
              <a:gd name="csY88" fmla="*/ 1129292 h 1240128"/>
              <a:gd name="csX89" fmla="*/ 697338 w 697572"/>
              <a:gd name="csY89" fmla="*/ 1196079 h 1240128"/>
              <a:gd name="csX90" fmla="*/ 690637 w 697572"/>
              <a:gd name="csY90" fmla="*/ 1205035 h 1240128"/>
              <a:gd name="csX91" fmla="*/ 639777 w 697572"/>
              <a:gd name="csY91" fmla="*/ 1217994 h 1240128"/>
              <a:gd name="csX92" fmla="*/ 587072 w 697572"/>
              <a:gd name="csY92" fmla="*/ 1227761 h 1240128"/>
              <a:gd name="csX93" fmla="*/ 581793 w 697572"/>
              <a:gd name="csY93" fmla="*/ 1234401 h 1240128"/>
              <a:gd name="csX94" fmla="*/ 357446 w 697572"/>
              <a:gd name="csY94" fmla="*/ 903795 h 1240128"/>
              <a:gd name="csX95" fmla="*/ 344445 w 697572"/>
              <a:gd name="csY95" fmla="*/ 903795 h 1240128"/>
              <a:gd name="csX96" fmla="*/ 349212 w 697572"/>
              <a:gd name="csY96" fmla="*/ 950515 h 1240128"/>
              <a:gd name="csX97" fmla="*/ 349538 w 697572"/>
              <a:gd name="csY97" fmla="*/ 1069392 h 1240128"/>
              <a:gd name="csX98" fmla="*/ 349415 w 697572"/>
              <a:gd name="csY98" fmla="*/ 1108925 h 1240128"/>
              <a:gd name="csX99" fmla="*/ 647726 w 697572"/>
              <a:gd name="csY99" fmla="*/ 1089872 h 1240128"/>
              <a:gd name="csX100" fmla="*/ 647654 w 697572"/>
              <a:gd name="csY100" fmla="*/ 1076267 h 1240128"/>
              <a:gd name="csX101" fmla="*/ 610267 w 697572"/>
              <a:gd name="csY101" fmla="*/ 994126 h 1240128"/>
              <a:gd name="csX102" fmla="*/ 571459 w 697572"/>
              <a:gd name="csY102" fmla="*/ 956568 h 1240128"/>
              <a:gd name="csX103" fmla="*/ 541653 w 697572"/>
              <a:gd name="csY103" fmla="*/ 901544 h 1240128"/>
              <a:gd name="csX104" fmla="*/ 539477 w 697572"/>
              <a:gd name="csY104" fmla="*/ 895908 h 1240128"/>
              <a:gd name="csX105" fmla="*/ 357446 w 697572"/>
              <a:gd name="csY105" fmla="*/ 903795 h 1240128"/>
              <a:gd name="csX106" fmla="*/ 300108 w 697572"/>
              <a:gd name="csY106" fmla="*/ 85260 h 1240128"/>
              <a:gd name="csX107" fmla="*/ 290213 w 697572"/>
              <a:gd name="csY107" fmla="*/ 127888 h 1240128"/>
              <a:gd name="csX108" fmla="*/ 331056 w 697572"/>
              <a:gd name="csY108" fmla="*/ 214168 h 1240128"/>
              <a:gd name="csX109" fmla="*/ 424717 w 697572"/>
              <a:gd name="csY109" fmla="*/ 245160 h 1240128"/>
              <a:gd name="csX110" fmla="*/ 496752 w 697572"/>
              <a:gd name="csY110" fmla="*/ 141256 h 1240128"/>
              <a:gd name="csX111" fmla="*/ 390320 w 697572"/>
              <a:gd name="csY111" fmla="*/ 43995 h 1240128"/>
              <a:gd name="csX112" fmla="*/ 300108 w 697572"/>
              <a:gd name="csY112" fmla="*/ 85260 h 1240128"/>
              <a:gd name="csX113" fmla="*/ 343360 w 697572"/>
              <a:gd name="csY113" fmla="*/ 634332 h 1240128"/>
              <a:gd name="csX114" fmla="*/ 340877 w 697572"/>
              <a:gd name="csY114" fmla="*/ 732259 h 1240128"/>
              <a:gd name="csX115" fmla="*/ 338360 w 697572"/>
              <a:gd name="csY115" fmla="*/ 810538 h 1240128"/>
              <a:gd name="csX116" fmla="*/ 337115 w 697572"/>
              <a:gd name="csY116" fmla="*/ 817736 h 1240128"/>
              <a:gd name="csX117" fmla="*/ 336516 w 697572"/>
              <a:gd name="csY117" fmla="*/ 863022 h 1240128"/>
              <a:gd name="csX118" fmla="*/ 343436 w 697572"/>
              <a:gd name="csY118" fmla="*/ 864027 h 1240128"/>
              <a:gd name="csX119" fmla="*/ 406718 w 697572"/>
              <a:gd name="csY119" fmla="*/ 862982 h 1240128"/>
              <a:gd name="csX120" fmla="*/ 456888 w 697572"/>
              <a:gd name="csY120" fmla="*/ 861794 h 1240128"/>
              <a:gd name="csX121" fmla="*/ 495873 w 697572"/>
              <a:gd name="csY121" fmla="*/ 863963 h 1240128"/>
              <a:gd name="csX122" fmla="*/ 509286 w 697572"/>
              <a:gd name="csY122" fmla="*/ 863595 h 1240128"/>
              <a:gd name="csX123" fmla="*/ 516956 w 697572"/>
              <a:gd name="csY123" fmla="*/ 856791 h 1240128"/>
              <a:gd name="csX124" fmla="*/ 513920 w 697572"/>
              <a:gd name="csY124" fmla="*/ 848709 h 1240128"/>
              <a:gd name="csX125" fmla="*/ 506683 w 697572"/>
              <a:gd name="csY125" fmla="*/ 839054 h 1240128"/>
              <a:gd name="csX126" fmla="*/ 488629 w 697572"/>
              <a:gd name="csY126" fmla="*/ 799037 h 1240128"/>
              <a:gd name="csX127" fmla="*/ 456922 w 697572"/>
              <a:gd name="csY127" fmla="*/ 696297 h 1240128"/>
              <a:gd name="csX128" fmla="*/ 441346 w 697572"/>
              <a:gd name="csY128" fmla="*/ 619885 h 1240128"/>
              <a:gd name="csX129" fmla="*/ 435963 w 697572"/>
              <a:gd name="csY129" fmla="*/ 582529 h 1240128"/>
              <a:gd name="csX130" fmla="*/ 429497 w 697572"/>
              <a:gd name="csY130" fmla="*/ 521990 h 1240128"/>
              <a:gd name="csX131" fmla="*/ 426887 w 697572"/>
              <a:gd name="csY131" fmla="*/ 471989 h 1240128"/>
              <a:gd name="csX132" fmla="*/ 413744 w 697572"/>
              <a:gd name="csY132" fmla="*/ 461077 h 1240128"/>
              <a:gd name="csX133" fmla="*/ 353573 w 697572"/>
              <a:gd name="csY133" fmla="*/ 461120 h 1240128"/>
              <a:gd name="csX134" fmla="*/ 344160 w 697572"/>
              <a:gd name="csY134" fmla="*/ 462286 h 1240128"/>
              <a:gd name="csX135" fmla="*/ 343404 w 697572"/>
              <a:gd name="csY135" fmla="*/ 469192 h 1240128"/>
              <a:gd name="csX136" fmla="*/ 343469 w 697572"/>
              <a:gd name="csY136" fmla="*/ 574797 h 1240128"/>
              <a:gd name="csX137" fmla="*/ 345522 w 697572"/>
              <a:gd name="csY137" fmla="*/ 591669 h 1240128"/>
              <a:gd name="csX138" fmla="*/ 343360 w 697572"/>
              <a:gd name="csY138" fmla="*/ 634332 h 1240128"/>
              <a:gd name="csX139" fmla="*/ 416946 w 697572"/>
              <a:gd name="csY139" fmla="*/ 385943 h 1240128"/>
              <a:gd name="csX140" fmla="*/ 401091 w 697572"/>
              <a:gd name="csY140" fmla="*/ 387162 h 1240128"/>
              <a:gd name="csX141" fmla="*/ 369218 w 697572"/>
              <a:gd name="csY141" fmla="*/ 387708 h 1240128"/>
              <a:gd name="csX142" fmla="*/ 351833 w 697572"/>
              <a:gd name="csY142" fmla="*/ 398991 h 1240128"/>
              <a:gd name="csX143" fmla="*/ 349778 w 697572"/>
              <a:gd name="csY143" fmla="*/ 426021 h 1240128"/>
              <a:gd name="csX144" fmla="*/ 361839 w 697572"/>
              <a:gd name="csY144" fmla="*/ 426538 h 1240128"/>
              <a:gd name="csX145" fmla="*/ 455022 w 697572"/>
              <a:gd name="csY145" fmla="*/ 426922 h 1240128"/>
              <a:gd name="csX146" fmla="*/ 481958 w 697572"/>
              <a:gd name="csY146" fmla="*/ 426527 h 1240128"/>
              <a:gd name="csX147" fmla="*/ 499817 w 697572"/>
              <a:gd name="csY147" fmla="*/ 419888 h 1240128"/>
              <a:gd name="csX148" fmla="*/ 499439 w 697572"/>
              <a:gd name="csY148" fmla="*/ 400719 h 1240128"/>
              <a:gd name="csX149" fmla="*/ 468062 w 697572"/>
              <a:gd name="csY149" fmla="*/ 387775 h 1240128"/>
              <a:gd name="csX150" fmla="*/ 416946 w 697572"/>
              <a:gd name="csY150" fmla="*/ 385943 h 1240128"/>
              <a:gd name="csX151" fmla="*/ 636802 w 697572"/>
              <a:gd name="csY151" fmla="*/ 1190940 h 1240128"/>
              <a:gd name="csX152" fmla="*/ 666492 w 697572"/>
              <a:gd name="csY152" fmla="*/ 1184186 h 1240128"/>
              <a:gd name="csX153" fmla="*/ 674465 w 697572"/>
              <a:gd name="csY153" fmla="*/ 1170880 h 1240128"/>
              <a:gd name="csX154" fmla="*/ 662462 w 697572"/>
              <a:gd name="csY154" fmla="*/ 1141464 h 1240128"/>
              <a:gd name="csX155" fmla="*/ 645564 w 697572"/>
              <a:gd name="csY155" fmla="*/ 1131937 h 1240128"/>
              <a:gd name="csX156" fmla="*/ 627387 w 697572"/>
              <a:gd name="csY156" fmla="*/ 1133618 h 1240128"/>
              <a:gd name="csX157" fmla="*/ 583917 w 697572"/>
              <a:gd name="csY157" fmla="*/ 1139222 h 1240128"/>
              <a:gd name="csX158" fmla="*/ 543741 w 697572"/>
              <a:gd name="csY158" fmla="*/ 1141869 h 1240128"/>
              <a:gd name="csX159" fmla="*/ 512146 w 697572"/>
              <a:gd name="csY159" fmla="*/ 1144418 h 1240128"/>
              <a:gd name="csX160" fmla="*/ 447711 w 697572"/>
              <a:gd name="csY160" fmla="*/ 1148973 h 1240128"/>
              <a:gd name="csX161" fmla="*/ 351979 w 697572"/>
              <a:gd name="csY161" fmla="*/ 1149200 h 1240128"/>
              <a:gd name="csX162" fmla="*/ 338443 w 697572"/>
              <a:gd name="csY162" fmla="*/ 1150040 h 1240128"/>
              <a:gd name="csX163" fmla="*/ 338451 w 697572"/>
              <a:gd name="csY163" fmla="*/ 1190780 h 1240128"/>
              <a:gd name="csX164" fmla="*/ 351082 w 697572"/>
              <a:gd name="csY164" fmla="*/ 1207015 h 1240128"/>
              <a:gd name="csX165" fmla="*/ 358298 w 697572"/>
              <a:gd name="csY165" fmla="*/ 1208094 h 1240128"/>
              <a:gd name="csX166" fmla="*/ 521229 w 697572"/>
              <a:gd name="csY166" fmla="*/ 1205646 h 1240128"/>
              <a:gd name="csX167" fmla="*/ 523675 w 697572"/>
              <a:gd name="csY167" fmla="*/ 1205490 h 1240128"/>
              <a:gd name="csX168" fmla="*/ 580423 w 697572"/>
              <a:gd name="csY168" fmla="*/ 1198350 h 1240128"/>
              <a:gd name="csX169" fmla="*/ 636802 w 697572"/>
              <a:gd name="csY169" fmla="*/ 1190940 h 124012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</a:cxnLst>
            <a:rect l="l" t="t" r="r" b="b"/>
            <a:pathLst>
              <a:path w="697572" h="1240128">
                <a:moveTo>
                  <a:pt x="581793" y="1234401"/>
                </a:moveTo>
                <a:cubicBezTo>
                  <a:pt x="580693" y="1234661"/>
                  <a:pt x="579594" y="1234922"/>
                  <a:pt x="577427" y="1234156"/>
                </a:cubicBezTo>
                <a:cubicBezTo>
                  <a:pt x="571216" y="1227899"/>
                  <a:pt x="564912" y="1230441"/>
                  <a:pt x="559133" y="1230909"/>
                </a:cubicBezTo>
                <a:cubicBezTo>
                  <a:pt x="544971" y="1232056"/>
                  <a:pt x="530869" y="1233971"/>
                  <a:pt x="516706" y="1235117"/>
                </a:cubicBezTo>
                <a:cubicBezTo>
                  <a:pt x="502910" y="1236232"/>
                  <a:pt x="489077" y="1237097"/>
                  <a:pt x="475244" y="1237506"/>
                </a:cubicBezTo>
                <a:cubicBezTo>
                  <a:pt x="440539" y="1238535"/>
                  <a:pt x="405696" y="1241458"/>
                  <a:pt x="371154" y="1239428"/>
                </a:cubicBezTo>
                <a:cubicBezTo>
                  <a:pt x="339645" y="1237575"/>
                  <a:pt x="308239" y="1238753"/>
                  <a:pt x="276813" y="1237654"/>
                </a:cubicBezTo>
                <a:cubicBezTo>
                  <a:pt x="273949" y="1237553"/>
                  <a:pt x="271079" y="1237652"/>
                  <a:pt x="268212" y="1237635"/>
                </a:cubicBezTo>
                <a:cubicBezTo>
                  <a:pt x="266165" y="1237623"/>
                  <a:pt x="264111" y="1237668"/>
                  <a:pt x="262072" y="1237523"/>
                </a:cubicBezTo>
                <a:cubicBezTo>
                  <a:pt x="239751" y="1235944"/>
                  <a:pt x="217441" y="1234201"/>
                  <a:pt x="195111" y="1232775"/>
                </a:cubicBezTo>
                <a:cubicBezTo>
                  <a:pt x="178437" y="1231710"/>
                  <a:pt x="161712" y="1231378"/>
                  <a:pt x="145060" y="1230076"/>
                </a:cubicBezTo>
                <a:cubicBezTo>
                  <a:pt x="134969" y="1229287"/>
                  <a:pt x="124987" y="1227177"/>
                  <a:pt x="114933" y="1225832"/>
                </a:cubicBezTo>
                <a:cubicBezTo>
                  <a:pt x="100834" y="1223946"/>
                  <a:pt x="86554" y="1223022"/>
                  <a:pt x="72642" y="1220237"/>
                </a:cubicBezTo>
                <a:cubicBezTo>
                  <a:pt x="51920" y="1216091"/>
                  <a:pt x="31443" y="1210723"/>
                  <a:pt x="10894" y="1205737"/>
                </a:cubicBezTo>
                <a:cubicBezTo>
                  <a:pt x="9027" y="1205284"/>
                  <a:pt x="6196" y="1204140"/>
                  <a:pt x="5856" y="1202799"/>
                </a:cubicBezTo>
                <a:cubicBezTo>
                  <a:pt x="3474" y="1193418"/>
                  <a:pt x="-438" y="1183796"/>
                  <a:pt x="40" y="1174450"/>
                </a:cubicBezTo>
                <a:cubicBezTo>
                  <a:pt x="1079" y="1154149"/>
                  <a:pt x="9757" y="1135843"/>
                  <a:pt x="19831" y="1118410"/>
                </a:cubicBezTo>
                <a:cubicBezTo>
                  <a:pt x="21968" y="1114713"/>
                  <a:pt x="22970" y="1111858"/>
                  <a:pt x="22004" y="1107240"/>
                </a:cubicBezTo>
                <a:cubicBezTo>
                  <a:pt x="17168" y="1084118"/>
                  <a:pt x="17717" y="1061168"/>
                  <a:pt x="25947" y="1038650"/>
                </a:cubicBezTo>
                <a:cubicBezTo>
                  <a:pt x="32954" y="1019481"/>
                  <a:pt x="44478" y="1003118"/>
                  <a:pt x="58234" y="988567"/>
                </a:cubicBezTo>
                <a:cubicBezTo>
                  <a:pt x="77769" y="967902"/>
                  <a:pt x="97978" y="947832"/>
                  <a:pt x="118645" y="928298"/>
                </a:cubicBezTo>
                <a:cubicBezTo>
                  <a:pt x="130104" y="917467"/>
                  <a:pt x="131835" y="905961"/>
                  <a:pt x="126320" y="892015"/>
                </a:cubicBezTo>
                <a:cubicBezTo>
                  <a:pt x="123798" y="885637"/>
                  <a:pt x="122123" y="878904"/>
                  <a:pt x="120345" y="872258"/>
                </a:cubicBezTo>
                <a:cubicBezTo>
                  <a:pt x="119029" y="867341"/>
                  <a:pt x="120162" y="863613"/>
                  <a:pt x="125668" y="861640"/>
                </a:cubicBezTo>
                <a:cubicBezTo>
                  <a:pt x="135266" y="858201"/>
                  <a:pt x="144535" y="853788"/>
                  <a:pt x="154237" y="850716"/>
                </a:cubicBezTo>
                <a:cubicBezTo>
                  <a:pt x="161882" y="848296"/>
                  <a:pt x="167110" y="843897"/>
                  <a:pt x="170248" y="836767"/>
                </a:cubicBezTo>
                <a:cubicBezTo>
                  <a:pt x="176168" y="823316"/>
                  <a:pt x="182193" y="809907"/>
                  <a:pt x="187840" y="796341"/>
                </a:cubicBezTo>
                <a:cubicBezTo>
                  <a:pt x="195194" y="778679"/>
                  <a:pt x="202250" y="760894"/>
                  <a:pt x="209346" y="743126"/>
                </a:cubicBezTo>
                <a:cubicBezTo>
                  <a:pt x="210083" y="741280"/>
                  <a:pt x="210252" y="739200"/>
                  <a:pt x="210630" y="737219"/>
                </a:cubicBezTo>
                <a:cubicBezTo>
                  <a:pt x="211694" y="731645"/>
                  <a:pt x="212425" y="725987"/>
                  <a:pt x="213836" y="720505"/>
                </a:cubicBezTo>
                <a:cubicBezTo>
                  <a:pt x="218406" y="702764"/>
                  <a:pt x="223811" y="685219"/>
                  <a:pt x="227791" y="667353"/>
                </a:cubicBezTo>
                <a:cubicBezTo>
                  <a:pt x="232826" y="644755"/>
                  <a:pt x="237367" y="622009"/>
                  <a:pt x="241013" y="599151"/>
                </a:cubicBezTo>
                <a:cubicBezTo>
                  <a:pt x="244018" y="580319"/>
                  <a:pt x="246001" y="561272"/>
                  <a:pt x="247322" y="542242"/>
                </a:cubicBezTo>
                <a:cubicBezTo>
                  <a:pt x="248312" y="527975"/>
                  <a:pt x="246344" y="513451"/>
                  <a:pt x="247948" y="499296"/>
                </a:cubicBezTo>
                <a:cubicBezTo>
                  <a:pt x="249066" y="489432"/>
                  <a:pt x="247923" y="480014"/>
                  <a:pt x="247577" y="470384"/>
                </a:cubicBezTo>
                <a:cubicBezTo>
                  <a:pt x="247364" y="464453"/>
                  <a:pt x="245121" y="461397"/>
                  <a:pt x="238877" y="460987"/>
                </a:cubicBezTo>
                <a:cubicBezTo>
                  <a:pt x="233224" y="460615"/>
                  <a:pt x="227461" y="459920"/>
                  <a:pt x="222040" y="458353"/>
                </a:cubicBezTo>
                <a:cubicBezTo>
                  <a:pt x="203991" y="453134"/>
                  <a:pt x="185737" y="448229"/>
                  <a:pt x="172193" y="433714"/>
                </a:cubicBezTo>
                <a:cubicBezTo>
                  <a:pt x="162702" y="423544"/>
                  <a:pt x="160887" y="408134"/>
                  <a:pt x="168410" y="396591"/>
                </a:cubicBezTo>
                <a:cubicBezTo>
                  <a:pt x="178294" y="381428"/>
                  <a:pt x="193736" y="373793"/>
                  <a:pt x="209826" y="367773"/>
                </a:cubicBezTo>
                <a:cubicBezTo>
                  <a:pt x="223159" y="362784"/>
                  <a:pt x="237124" y="359493"/>
                  <a:pt x="250732" y="355208"/>
                </a:cubicBezTo>
                <a:cubicBezTo>
                  <a:pt x="253085" y="354467"/>
                  <a:pt x="255058" y="352518"/>
                  <a:pt x="258289" y="350426"/>
                </a:cubicBezTo>
                <a:cubicBezTo>
                  <a:pt x="250173" y="342610"/>
                  <a:pt x="241833" y="337880"/>
                  <a:pt x="233274" y="333513"/>
                </a:cubicBezTo>
                <a:cubicBezTo>
                  <a:pt x="232377" y="333055"/>
                  <a:pt x="230890" y="333758"/>
                  <a:pt x="229677" y="333922"/>
                </a:cubicBezTo>
                <a:cubicBezTo>
                  <a:pt x="229677" y="333922"/>
                  <a:pt x="230323" y="333834"/>
                  <a:pt x="230149" y="332979"/>
                </a:cubicBezTo>
                <a:cubicBezTo>
                  <a:pt x="229023" y="330409"/>
                  <a:pt x="228502" y="328059"/>
                  <a:pt x="227053" y="327076"/>
                </a:cubicBezTo>
                <a:cubicBezTo>
                  <a:pt x="213615" y="317962"/>
                  <a:pt x="204643" y="305332"/>
                  <a:pt x="196769" y="291380"/>
                </a:cubicBezTo>
                <a:cubicBezTo>
                  <a:pt x="191792" y="282564"/>
                  <a:pt x="185421" y="274665"/>
                  <a:pt x="184389" y="264042"/>
                </a:cubicBezTo>
                <a:cubicBezTo>
                  <a:pt x="184179" y="261874"/>
                  <a:pt x="181925" y="259908"/>
                  <a:pt x="180630" y="257839"/>
                </a:cubicBezTo>
                <a:cubicBezTo>
                  <a:pt x="179137" y="255454"/>
                  <a:pt x="177317" y="253204"/>
                  <a:pt x="176231" y="250643"/>
                </a:cubicBezTo>
                <a:cubicBezTo>
                  <a:pt x="161865" y="216749"/>
                  <a:pt x="159606" y="182060"/>
                  <a:pt x="170073" y="146723"/>
                </a:cubicBezTo>
                <a:cubicBezTo>
                  <a:pt x="173311" y="135795"/>
                  <a:pt x="177248" y="125074"/>
                  <a:pt x="180929" y="114280"/>
                </a:cubicBezTo>
                <a:cubicBezTo>
                  <a:pt x="182396" y="109981"/>
                  <a:pt x="183922" y="105742"/>
                  <a:pt x="180839" y="101501"/>
                </a:cubicBezTo>
                <a:cubicBezTo>
                  <a:pt x="192473" y="75833"/>
                  <a:pt x="211344" y="56271"/>
                  <a:pt x="233536" y="39653"/>
                </a:cubicBezTo>
                <a:cubicBezTo>
                  <a:pt x="267321" y="14353"/>
                  <a:pt x="305621" y="873"/>
                  <a:pt x="347618" y="35"/>
                </a:cubicBezTo>
                <a:cubicBezTo>
                  <a:pt x="379125" y="-593"/>
                  <a:pt x="409214" y="7172"/>
                  <a:pt x="437139" y="22396"/>
                </a:cubicBezTo>
                <a:cubicBezTo>
                  <a:pt x="481844" y="46766"/>
                  <a:pt x="514077" y="82116"/>
                  <a:pt x="529052" y="131093"/>
                </a:cubicBezTo>
                <a:cubicBezTo>
                  <a:pt x="543544" y="178495"/>
                  <a:pt x="541630" y="225548"/>
                  <a:pt x="518497" y="271517"/>
                </a:cubicBezTo>
                <a:cubicBezTo>
                  <a:pt x="511428" y="277096"/>
                  <a:pt x="503848" y="281136"/>
                  <a:pt x="500808" y="287385"/>
                </a:cubicBezTo>
                <a:cubicBezTo>
                  <a:pt x="493932" y="301522"/>
                  <a:pt x="483805" y="312513"/>
                  <a:pt x="472948" y="323290"/>
                </a:cubicBezTo>
                <a:cubicBezTo>
                  <a:pt x="470972" y="325253"/>
                  <a:pt x="470533" y="328767"/>
                  <a:pt x="469385" y="331565"/>
                </a:cubicBezTo>
                <a:cubicBezTo>
                  <a:pt x="469385" y="331565"/>
                  <a:pt x="469172" y="331584"/>
                  <a:pt x="468293" y="331320"/>
                </a:cubicBezTo>
                <a:cubicBezTo>
                  <a:pt x="461937" y="330836"/>
                  <a:pt x="458618" y="332772"/>
                  <a:pt x="459542" y="338942"/>
                </a:cubicBezTo>
                <a:cubicBezTo>
                  <a:pt x="459542" y="338942"/>
                  <a:pt x="459473" y="338913"/>
                  <a:pt x="458492" y="338671"/>
                </a:cubicBezTo>
                <a:cubicBezTo>
                  <a:pt x="450936" y="342653"/>
                  <a:pt x="440712" y="341355"/>
                  <a:pt x="436978" y="352226"/>
                </a:cubicBezTo>
                <a:cubicBezTo>
                  <a:pt x="449178" y="355911"/>
                  <a:pt x="460733" y="359469"/>
                  <a:pt x="472329" y="362890"/>
                </a:cubicBezTo>
                <a:cubicBezTo>
                  <a:pt x="491728" y="368613"/>
                  <a:pt x="510182" y="375784"/>
                  <a:pt x="523779" y="391962"/>
                </a:cubicBezTo>
                <a:cubicBezTo>
                  <a:pt x="535849" y="406326"/>
                  <a:pt x="534845" y="420076"/>
                  <a:pt x="527344" y="430096"/>
                </a:cubicBezTo>
                <a:cubicBezTo>
                  <a:pt x="521323" y="438139"/>
                  <a:pt x="513928" y="445333"/>
                  <a:pt x="504112" y="449628"/>
                </a:cubicBezTo>
                <a:cubicBezTo>
                  <a:pt x="489776" y="455901"/>
                  <a:pt x="475173" y="460486"/>
                  <a:pt x="459430" y="461116"/>
                </a:cubicBezTo>
                <a:cubicBezTo>
                  <a:pt x="448415" y="461557"/>
                  <a:pt x="446384" y="463369"/>
                  <a:pt x="446666" y="474229"/>
                </a:cubicBezTo>
                <a:cubicBezTo>
                  <a:pt x="447164" y="493376"/>
                  <a:pt x="447839" y="512533"/>
                  <a:pt x="449133" y="531639"/>
                </a:cubicBezTo>
                <a:cubicBezTo>
                  <a:pt x="450424" y="550696"/>
                  <a:pt x="451783" y="569809"/>
                  <a:pt x="454546" y="588688"/>
                </a:cubicBezTo>
                <a:cubicBezTo>
                  <a:pt x="457543" y="609164"/>
                  <a:pt x="462165" y="629403"/>
                  <a:pt x="466126" y="649736"/>
                </a:cubicBezTo>
                <a:cubicBezTo>
                  <a:pt x="475845" y="699621"/>
                  <a:pt x="493414" y="746980"/>
                  <a:pt x="512154" y="794006"/>
                </a:cubicBezTo>
                <a:cubicBezTo>
                  <a:pt x="517387" y="807138"/>
                  <a:pt x="525145" y="819463"/>
                  <a:pt x="525763" y="834323"/>
                </a:cubicBezTo>
                <a:cubicBezTo>
                  <a:pt x="525919" y="838081"/>
                  <a:pt x="527739" y="843335"/>
                  <a:pt x="530555" y="845114"/>
                </a:cubicBezTo>
                <a:cubicBezTo>
                  <a:pt x="537981" y="849801"/>
                  <a:pt x="546243" y="853278"/>
                  <a:pt x="554424" y="856618"/>
                </a:cubicBezTo>
                <a:cubicBezTo>
                  <a:pt x="560391" y="859054"/>
                  <a:pt x="567041" y="859887"/>
                  <a:pt x="572880" y="862546"/>
                </a:cubicBezTo>
                <a:cubicBezTo>
                  <a:pt x="581470" y="866458"/>
                  <a:pt x="582467" y="871415"/>
                  <a:pt x="578643" y="880396"/>
                </a:cubicBezTo>
                <a:cubicBezTo>
                  <a:pt x="575969" y="886677"/>
                  <a:pt x="572900" y="893182"/>
                  <a:pt x="572188" y="899820"/>
                </a:cubicBezTo>
                <a:cubicBezTo>
                  <a:pt x="570960" y="911271"/>
                  <a:pt x="576506" y="920944"/>
                  <a:pt x="582698" y="930382"/>
                </a:cubicBezTo>
                <a:cubicBezTo>
                  <a:pt x="589569" y="940856"/>
                  <a:pt x="600933" y="947930"/>
                  <a:pt x="604747" y="960852"/>
                </a:cubicBezTo>
                <a:cubicBezTo>
                  <a:pt x="605684" y="964030"/>
                  <a:pt x="610294" y="967128"/>
                  <a:pt x="613863" y="968311"/>
                </a:cubicBezTo>
                <a:cubicBezTo>
                  <a:pt x="620963" y="970665"/>
                  <a:pt x="625924" y="974774"/>
                  <a:pt x="629435" y="981186"/>
                </a:cubicBezTo>
                <a:cubicBezTo>
                  <a:pt x="630381" y="982913"/>
                  <a:pt x="631977" y="984459"/>
                  <a:pt x="633611" y="985609"/>
                </a:cubicBezTo>
                <a:cubicBezTo>
                  <a:pt x="655878" y="1001272"/>
                  <a:pt x="668032" y="1023762"/>
                  <a:pt x="673790" y="1049348"/>
                </a:cubicBezTo>
                <a:cubicBezTo>
                  <a:pt x="676936" y="1063327"/>
                  <a:pt x="679769" y="1077802"/>
                  <a:pt x="675873" y="1092839"/>
                </a:cubicBezTo>
                <a:cubicBezTo>
                  <a:pt x="672677" y="1105174"/>
                  <a:pt x="673042" y="1116963"/>
                  <a:pt x="681668" y="1129292"/>
                </a:cubicBezTo>
                <a:cubicBezTo>
                  <a:pt x="695321" y="1148802"/>
                  <a:pt x="698550" y="1172235"/>
                  <a:pt x="697338" y="1196079"/>
                </a:cubicBezTo>
                <a:cubicBezTo>
                  <a:pt x="697087" y="1201014"/>
                  <a:pt x="694979" y="1203886"/>
                  <a:pt x="690637" y="1205035"/>
                </a:cubicBezTo>
                <a:cubicBezTo>
                  <a:pt x="673723" y="1209511"/>
                  <a:pt x="656856" y="1214241"/>
                  <a:pt x="639777" y="1217994"/>
                </a:cubicBezTo>
                <a:cubicBezTo>
                  <a:pt x="622334" y="1221827"/>
                  <a:pt x="604691" y="1224790"/>
                  <a:pt x="587072" y="1227761"/>
                </a:cubicBezTo>
                <a:cubicBezTo>
                  <a:pt x="582708" y="1228497"/>
                  <a:pt x="581724" y="1230736"/>
                  <a:pt x="581793" y="1234401"/>
                </a:cubicBezTo>
                <a:moveTo>
                  <a:pt x="357446" y="903795"/>
                </a:moveTo>
                <a:cubicBezTo>
                  <a:pt x="353141" y="903795"/>
                  <a:pt x="348835" y="903795"/>
                  <a:pt x="344445" y="903795"/>
                </a:cubicBezTo>
                <a:cubicBezTo>
                  <a:pt x="346169" y="920562"/>
                  <a:pt x="347908" y="935520"/>
                  <a:pt x="349212" y="950515"/>
                </a:cubicBezTo>
                <a:cubicBezTo>
                  <a:pt x="352656" y="990125"/>
                  <a:pt x="351941" y="1029743"/>
                  <a:pt x="349538" y="1069392"/>
                </a:cubicBezTo>
                <a:cubicBezTo>
                  <a:pt x="348759" y="1082241"/>
                  <a:pt x="349415" y="1095176"/>
                  <a:pt x="349415" y="1108925"/>
                </a:cubicBezTo>
                <a:cubicBezTo>
                  <a:pt x="449467" y="1111953"/>
                  <a:pt x="548509" y="1104712"/>
                  <a:pt x="647726" y="1089872"/>
                </a:cubicBezTo>
                <a:cubicBezTo>
                  <a:pt x="647726" y="1084313"/>
                  <a:pt x="648180" y="1080225"/>
                  <a:pt x="647654" y="1076267"/>
                </a:cubicBezTo>
                <a:cubicBezTo>
                  <a:pt x="643515" y="1045124"/>
                  <a:pt x="633172" y="1016714"/>
                  <a:pt x="610267" y="994126"/>
                </a:cubicBezTo>
                <a:cubicBezTo>
                  <a:pt x="597451" y="981485"/>
                  <a:pt x="584392" y="969090"/>
                  <a:pt x="571459" y="956568"/>
                </a:cubicBezTo>
                <a:cubicBezTo>
                  <a:pt x="555751" y="941359"/>
                  <a:pt x="544836" y="923558"/>
                  <a:pt x="541653" y="901544"/>
                </a:cubicBezTo>
                <a:cubicBezTo>
                  <a:pt x="541430" y="900007"/>
                  <a:pt x="540528" y="898570"/>
                  <a:pt x="539477" y="895908"/>
                </a:cubicBezTo>
                <a:cubicBezTo>
                  <a:pt x="479736" y="901652"/>
                  <a:pt x="419815" y="904536"/>
                  <a:pt x="357446" y="903795"/>
                </a:cubicBezTo>
                <a:moveTo>
                  <a:pt x="300108" y="85260"/>
                </a:moveTo>
                <a:cubicBezTo>
                  <a:pt x="293656" y="98745"/>
                  <a:pt x="289202" y="113094"/>
                  <a:pt x="290213" y="127888"/>
                </a:cubicBezTo>
                <a:cubicBezTo>
                  <a:pt x="292527" y="161736"/>
                  <a:pt x="304185" y="191723"/>
                  <a:pt x="331056" y="214168"/>
                </a:cubicBezTo>
                <a:cubicBezTo>
                  <a:pt x="358172" y="236816"/>
                  <a:pt x="388435" y="249934"/>
                  <a:pt x="424717" y="245160"/>
                </a:cubicBezTo>
                <a:cubicBezTo>
                  <a:pt x="468593" y="239387"/>
                  <a:pt x="509574" y="203365"/>
                  <a:pt x="496752" y="141256"/>
                </a:cubicBezTo>
                <a:cubicBezTo>
                  <a:pt x="487021" y="94124"/>
                  <a:pt x="447261" y="51874"/>
                  <a:pt x="390320" y="43995"/>
                </a:cubicBezTo>
                <a:cubicBezTo>
                  <a:pt x="353241" y="38865"/>
                  <a:pt x="321136" y="48750"/>
                  <a:pt x="300108" y="85260"/>
                </a:cubicBezTo>
                <a:moveTo>
                  <a:pt x="343360" y="634332"/>
                </a:moveTo>
                <a:cubicBezTo>
                  <a:pt x="342539" y="666975"/>
                  <a:pt x="341785" y="699619"/>
                  <a:pt x="340877" y="732259"/>
                </a:cubicBezTo>
                <a:cubicBezTo>
                  <a:pt x="340151" y="758355"/>
                  <a:pt x="339265" y="784447"/>
                  <a:pt x="338360" y="810538"/>
                </a:cubicBezTo>
                <a:cubicBezTo>
                  <a:pt x="338277" y="812948"/>
                  <a:pt x="337465" y="815325"/>
                  <a:pt x="337115" y="817736"/>
                </a:cubicBezTo>
                <a:cubicBezTo>
                  <a:pt x="334935" y="832710"/>
                  <a:pt x="336026" y="847647"/>
                  <a:pt x="336516" y="863022"/>
                </a:cubicBezTo>
                <a:cubicBezTo>
                  <a:pt x="339537" y="863479"/>
                  <a:pt x="341490" y="864053"/>
                  <a:pt x="343436" y="864027"/>
                </a:cubicBezTo>
                <a:cubicBezTo>
                  <a:pt x="364531" y="863739"/>
                  <a:pt x="385626" y="863422"/>
                  <a:pt x="406718" y="862982"/>
                </a:cubicBezTo>
                <a:cubicBezTo>
                  <a:pt x="423444" y="862634"/>
                  <a:pt x="440168" y="861675"/>
                  <a:pt x="456888" y="861794"/>
                </a:cubicBezTo>
                <a:cubicBezTo>
                  <a:pt x="469887" y="861886"/>
                  <a:pt x="482872" y="863302"/>
                  <a:pt x="495873" y="863963"/>
                </a:cubicBezTo>
                <a:cubicBezTo>
                  <a:pt x="500358" y="864191"/>
                  <a:pt x="505108" y="864773"/>
                  <a:pt x="509286" y="863595"/>
                </a:cubicBezTo>
                <a:cubicBezTo>
                  <a:pt x="512346" y="862732"/>
                  <a:pt x="515714" y="859703"/>
                  <a:pt x="516956" y="856791"/>
                </a:cubicBezTo>
                <a:cubicBezTo>
                  <a:pt x="517783" y="854851"/>
                  <a:pt x="515475" y="851192"/>
                  <a:pt x="513920" y="848709"/>
                </a:cubicBezTo>
                <a:cubicBezTo>
                  <a:pt x="511791" y="845308"/>
                  <a:pt x="508393" y="842606"/>
                  <a:pt x="506683" y="839054"/>
                </a:cubicBezTo>
                <a:cubicBezTo>
                  <a:pt x="500331" y="825864"/>
                  <a:pt x="493224" y="812855"/>
                  <a:pt x="488629" y="799037"/>
                </a:cubicBezTo>
                <a:cubicBezTo>
                  <a:pt x="477322" y="765031"/>
                  <a:pt x="466537" y="730814"/>
                  <a:pt x="456922" y="696297"/>
                </a:cubicBezTo>
                <a:cubicBezTo>
                  <a:pt x="449953" y="671276"/>
                  <a:pt x="443477" y="646020"/>
                  <a:pt x="441346" y="619885"/>
                </a:cubicBezTo>
                <a:cubicBezTo>
                  <a:pt x="440327" y="607371"/>
                  <a:pt x="437466" y="595018"/>
                  <a:pt x="435963" y="582529"/>
                </a:cubicBezTo>
                <a:cubicBezTo>
                  <a:pt x="433539" y="562380"/>
                  <a:pt x="431154" y="542212"/>
                  <a:pt x="429497" y="521990"/>
                </a:cubicBezTo>
                <a:cubicBezTo>
                  <a:pt x="428135" y="505363"/>
                  <a:pt x="428437" y="488593"/>
                  <a:pt x="426887" y="471989"/>
                </a:cubicBezTo>
                <a:cubicBezTo>
                  <a:pt x="425874" y="461140"/>
                  <a:pt x="424983" y="461120"/>
                  <a:pt x="413744" y="461077"/>
                </a:cubicBezTo>
                <a:cubicBezTo>
                  <a:pt x="393687" y="461000"/>
                  <a:pt x="373630" y="461011"/>
                  <a:pt x="353573" y="461120"/>
                </a:cubicBezTo>
                <a:cubicBezTo>
                  <a:pt x="350472" y="461137"/>
                  <a:pt x="347374" y="461869"/>
                  <a:pt x="344160" y="462286"/>
                </a:cubicBezTo>
                <a:cubicBezTo>
                  <a:pt x="343828" y="465198"/>
                  <a:pt x="343406" y="467195"/>
                  <a:pt x="343404" y="469192"/>
                </a:cubicBezTo>
                <a:cubicBezTo>
                  <a:pt x="343360" y="504394"/>
                  <a:pt x="343267" y="539596"/>
                  <a:pt x="343469" y="574797"/>
                </a:cubicBezTo>
                <a:cubicBezTo>
                  <a:pt x="343501" y="580426"/>
                  <a:pt x="345652" y="586065"/>
                  <a:pt x="345522" y="591669"/>
                </a:cubicBezTo>
                <a:cubicBezTo>
                  <a:pt x="345214" y="605082"/>
                  <a:pt x="344131" y="618478"/>
                  <a:pt x="343360" y="634332"/>
                </a:cubicBezTo>
                <a:moveTo>
                  <a:pt x="416946" y="385943"/>
                </a:moveTo>
                <a:cubicBezTo>
                  <a:pt x="411661" y="386365"/>
                  <a:pt x="406384" y="387006"/>
                  <a:pt x="401091" y="387162"/>
                </a:cubicBezTo>
                <a:cubicBezTo>
                  <a:pt x="390470" y="387477"/>
                  <a:pt x="379841" y="387447"/>
                  <a:pt x="369218" y="387708"/>
                </a:cubicBezTo>
                <a:cubicBezTo>
                  <a:pt x="361167" y="387906"/>
                  <a:pt x="354429" y="391368"/>
                  <a:pt x="351833" y="398991"/>
                </a:cubicBezTo>
                <a:cubicBezTo>
                  <a:pt x="348989" y="407342"/>
                  <a:pt x="347050" y="416214"/>
                  <a:pt x="349778" y="426021"/>
                </a:cubicBezTo>
                <a:cubicBezTo>
                  <a:pt x="353876" y="426204"/>
                  <a:pt x="357857" y="426517"/>
                  <a:pt x="361839" y="426538"/>
                </a:cubicBezTo>
                <a:cubicBezTo>
                  <a:pt x="392900" y="426701"/>
                  <a:pt x="423961" y="426826"/>
                  <a:pt x="455022" y="426922"/>
                </a:cubicBezTo>
                <a:cubicBezTo>
                  <a:pt x="464013" y="426950"/>
                  <a:pt x="473106" y="427654"/>
                  <a:pt x="481958" y="426527"/>
                </a:cubicBezTo>
                <a:cubicBezTo>
                  <a:pt x="488144" y="425740"/>
                  <a:pt x="494821" y="423501"/>
                  <a:pt x="499817" y="419888"/>
                </a:cubicBezTo>
                <a:cubicBezTo>
                  <a:pt x="507869" y="414066"/>
                  <a:pt x="507286" y="406755"/>
                  <a:pt x="499439" y="400719"/>
                </a:cubicBezTo>
                <a:cubicBezTo>
                  <a:pt x="490179" y="393597"/>
                  <a:pt x="479486" y="388885"/>
                  <a:pt x="468062" y="387775"/>
                </a:cubicBezTo>
                <a:cubicBezTo>
                  <a:pt x="451873" y="386202"/>
                  <a:pt x="435520" y="386321"/>
                  <a:pt x="416946" y="385943"/>
                </a:cubicBezTo>
                <a:moveTo>
                  <a:pt x="636802" y="1190940"/>
                </a:moveTo>
                <a:cubicBezTo>
                  <a:pt x="646709" y="1188723"/>
                  <a:pt x="656705" y="1186841"/>
                  <a:pt x="666492" y="1184186"/>
                </a:cubicBezTo>
                <a:cubicBezTo>
                  <a:pt x="674710" y="1181958"/>
                  <a:pt x="676989" y="1178509"/>
                  <a:pt x="674465" y="1170880"/>
                </a:cubicBezTo>
                <a:cubicBezTo>
                  <a:pt x="671144" y="1160843"/>
                  <a:pt x="667026" y="1151009"/>
                  <a:pt x="662462" y="1141464"/>
                </a:cubicBezTo>
                <a:cubicBezTo>
                  <a:pt x="659273" y="1134795"/>
                  <a:pt x="653671" y="1130908"/>
                  <a:pt x="645564" y="1131937"/>
                </a:cubicBezTo>
                <a:cubicBezTo>
                  <a:pt x="639532" y="1132703"/>
                  <a:pt x="633423" y="1132867"/>
                  <a:pt x="627387" y="1133618"/>
                </a:cubicBezTo>
                <a:cubicBezTo>
                  <a:pt x="612888" y="1135421"/>
                  <a:pt x="598449" y="1137770"/>
                  <a:pt x="583917" y="1139222"/>
                </a:cubicBezTo>
                <a:cubicBezTo>
                  <a:pt x="570571" y="1140557"/>
                  <a:pt x="557130" y="1140930"/>
                  <a:pt x="543741" y="1141869"/>
                </a:cubicBezTo>
                <a:cubicBezTo>
                  <a:pt x="533202" y="1142610"/>
                  <a:pt x="522682" y="1143623"/>
                  <a:pt x="512146" y="1144418"/>
                </a:cubicBezTo>
                <a:cubicBezTo>
                  <a:pt x="490671" y="1146038"/>
                  <a:pt x="469214" y="1148450"/>
                  <a:pt x="447711" y="1148973"/>
                </a:cubicBezTo>
                <a:cubicBezTo>
                  <a:pt x="415817" y="1149749"/>
                  <a:pt x="383891" y="1149136"/>
                  <a:pt x="351979" y="1149200"/>
                </a:cubicBezTo>
                <a:cubicBezTo>
                  <a:pt x="347698" y="1149209"/>
                  <a:pt x="343419" y="1149717"/>
                  <a:pt x="338443" y="1150040"/>
                </a:cubicBezTo>
                <a:cubicBezTo>
                  <a:pt x="338443" y="1164651"/>
                  <a:pt x="338413" y="1177715"/>
                  <a:pt x="338451" y="1190780"/>
                </a:cubicBezTo>
                <a:cubicBezTo>
                  <a:pt x="338490" y="1204031"/>
                  <a:pt x="338512" y="1204062"/>
                  <a:pt x="351082" y="1207015"/>
                </a:cubicBezTo>
                <a:cubicBezTo>
                  <a:pt x="353445" y="1207570"/>
                  <a:pt x="355895" y="1208128"/>
                  <a:pt x="358298" y="1208094"/>
                </a:cubicBezTo>
                <a:cubicBezTo>
                  <a:pt x="412608" y="1207329"/>
                  <a:pt x="466919" y="1206484"/>
                  <a:pt x="521229" y="1205646"/>
                </a:cubicBezTo>
                <a:cubicBezTo>
                  <a:pt x="522045" y="1205634"/>
                  <a:pt x="522865" y="1205591"/>
                  <a:pt x="523675" y="1205490"/>
                </a:cubicBezTo>
                <a:cubicBezTo>
                  <a:pt x="542593" y="1203123"/>
                  <a:pt x="561519" y="1200820"/>
                  <a:pt x="580423" y="1198350"/>
                </a:cubicBezTo>
                <a:cubicBezTo>
                  <a:pt x="598523" y="1195985"/>
                  <a:pt x="616599" y="1193446"/>
                  <a:pt x="636802" y="1190940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39" name="Free-form: Shape 38">
            <a:extLst>
              <a:ext uri="{FF2B5EF4-FFF2-40B4-BE49-F238E27FC236}">
                <a16:creationId xmlns:a16="http://schemas.microsoft.com/office/drawing/2014/main" id="{B1B5CA13-C304-A4FE-78C1-8E8778C119F9}"/>
              </a:ext>
            </a:extLst>
          </p:cNvPr>
          <p:cNvSpPr/>
          <p:nvPr/>
        </p:nvSpPr>
        <p:spPr>
          <a:xfrm>
            <a:off x="2174497" y="5722009"/>
            <a:ext cx="22871" cy="2417"/>
          </a:xfrm>
          <a:custGeom>
            <a:avLst/>
            <a:gdLst>
              <a:gd name="csX0" fmla="*/ 0 w 27674"/>
              <a:gd name="csY0" fmla="*/ 2915 h 2925"/>
              <a:gd name="csX1" fmla="*/ 27675 w 27674"/>
              <a:gd name="csY1" fmla="*/ 1550 h 2925"/>
              <a:gd name="csX2" fmla="*/ 0 w 27674"/>
              <a:gd name="csY2" fmla="*/ 2915 h 292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27674" h="2925">
                <a:moveTo>
                  <a:pt x="0" y="2915"/>
                </a:moveTo>
                <a:cubicBezTo>
                  <a:pt x="8211" y="-1939"/>
                  <a:pt x="17625" y="498"/>
                  <a:pt x="27675" y="1550"/>
                </a:cubicBezTo>
                <a:cubicBezTo>
                  <a:pt x="19225" y="2593"/>
                  <a:pt x="10029" y="2999"/>
                  <a:pt x="0" y="2915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40" name="Free-form: Shape 39">
            <a:extLst>
              <a:ext uri="{FF2B5EF4-FFF2-40B4-BE49-F238E27FC236}">
                <a16:creationId xmlns:a16="http://schemas.microsoft.com/office/drawing/2014/main" id="{2509858C-95B4-649F-2517-4BE4DDBA70D5}"/>
              </a:ext>
            </a:extLst>
          </p:cNvPr>
          <p:cNvSpPr/>
          <p:nvPr/>
        </p:nvSpPr>
        <p:spPr>
          <a:xfrm>
            <a:off x="2111535" y="5723371"/>
            <a:ext cx="14879" cy="932"/>
          </a:xfrm>
          <a:custGeom>
            <a:avLst/>
            <a:gdLst>
              <a:gd name="csX0" fmla="*/ 0 w 18003"/>
              <a:gd name="csY0" fmla="*/ 1050 h 1128"/>
              <a:gd name="csX1" fmla="*/ 18004 w 18003"/>
              <a:gd name="csY1" fmla="*/ 93 h 1128"/>
              <a:gd name="csX2" fmla="*/ 0 w 18003"/>
              <a:gd name="csY2" fmla="*/ 1050 h 112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8003" h="1128">
                <a:moveTo>
                  <a:pt x="0" y="1050"/>
                </a:moveTo>
                <a:cubicBezTo>
                  <a:pt x="5276" y="182"/>
                  <a:pt x="11306" y="-189"/>
                  <a:pt x="18004" y="93"/>
                </a:cubicBezTo>
                <a:cubicBezTo>
                  <a:pt x="12699" y="1013"/>
                  <a:pt x="6726" y="1280"/>
                  <a:pt x="0" y="1050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41" name="Free-form: Shape 40">
            <a:extLst>
              <a:ext uri="{FF2B5EF4-FFF2-40B4-BE49-F238E27FC236}">
                <a16:creationId xmlns:a16="http://schemas.microsoft.com/office/drawing/2014/main" id="{ED99F9A4-CD2C-8748-6A5A-E1B7CD417A39}"/>
              </a:ext>
            </a:extLst>
          </p:cNvPr>
          <p:cNvSpPr/>
          <p:nvPr/>
        </p:nvSpPr>
        <p:spPr>
          <a:xfrm>
            <a:off x="2219303" y="4968961"/>
            <a:ext cx="6997" cy="6478"/>
          </a:xfrm>
          <a:custGeom>
            <a:avLst/>
            <a:gdLst>
              <a:gd name="csX0" fmla="*/ 473 w 8466"/>
              <a:gd name="csY0" fmla="*/ 7839 h 7838"/>
              <a:gd name="csX1" fmla="*/ 8466 w 8466"/>
              <a:gd name="csY1" fmla="*/ 61 h 7838"/>
              <a:gd name="csX2" fmla="*/ 473 w 8466"/>
              <a:gd name="csY2" fmla="*/ 7839 h 783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66" h="7838">
                <a:moveTo>
                  <a:pt x="473" y="7839"/>
                </a:moveTo>
                <a:cubicBezTo>
                  <a:pt x="-1298" y="1550"/>
                  <a:pt x="2020" y="-386"/>
                  <a:pt x="8466" y="61"/>
                </a:cubicBezTo>
                <a:cubicBezTo>
                  <a:pt x="6730" y="2845"/>
                  <a:pt x="4026" y="5401"/>
                  <a:pt x="473" y="7839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42" name="Free-form: Shape 41">
            <a:extLst>
              <a:ext uri="{FF2B5EF4-FFF2-40B4-BE49-F238E27FC236}">
                <a16:creationId xmlns:a16="http://schemas.microsoft.com/office/drawing/2014/main" id="{8C65739B-44AF-071F-4B71-2A5251F1710E}"/>
              </a:ext>
            </a:extLst>
          </p:cNvPr>
          <p:cNvSpPr/>
          <p:nvPr/>
        </p:nvSpPr>
        <p:spPr>
          <a:xfrm>
            <a:off x="2038292" y="5721356"/>
            <a:ext cx="7008" cy="823"/>
          </a:xfrm>
          <a:custGeom>
            <a:avLst/>
            <a:gdLst>
              <a:gd name="csX0" fmla="*/ 0 w 8480"/>
              <a:gd name="csY0" fmla="*/ 896 h 996"/>
              <a:gd name="csX1" fmla="*/ 8480 w 8480"/>
              <a:gd name="csY1" fmla="*/ 110 h 996"/>
              <a:gd name="csX2" fmla="*/ 0 w 8480"/>
              <a:gd name="csY2" fmla="*/ 896 h 99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80" h="996">
                <a:moveTo>
                  <a:pt x="0" y="896"/>
                </a:moveTo>
                <a:cubicBezTo>
                  <a:pt x="2285" y="115"/>
                  <a:pt x="5130" y="-182"/>
                  <a:pt x="8480" y="110"/>
                </a:cubicBezTo>
                <a:cubicBezTo>
                  <a:pt x="6177" y="927"/>
                  <a:pt x="3368" y="1153"/>
                  <a:pt x="0" y="896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43" name="Free-form: Shape 42">
            <a:extLst>
              <a:ext uri="{FF2B5EF4-FFF2-40B4-BE49-F238E27FC236}">
                <a16:creationId xmlns:a16="http://schemas.microsoft.com/office/drawing/2014/main" id="{662D6059-370A-F1AC-29D4-376D87627C96}"/>
              </a:ext>
            </a:extLst>
          </p:cNvPr>
          <p:cNvSpPr/>
          <p:nvPr/>
        </p:nvSpPr>
        <p:spPr>
          <a:xfrm>
            <a:off x="2419970" y="5686047"/>
            <a:ext cx="1016" cy="5502"/>
          </a:xfrm>
          <a:custGeom>
            <a:avLst/>
            <a:gdLst>
              <a:gd name="csX0" fmla="*/ 132 w 1229"/>
              <a:gd name="csY0" fmla="*/ 6659 h 6658"/>
              <a:gd name="csX1" fmla="*/ 1107 w 1229"/>
              <a:gd name="csY1" fmla="*/ 0 h 6658"/>
              <a:gd name="csX2" fmla="*/ 132 w 1229"/>
              <a:gd name="csY2" fmla="*/ 6659 h 665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229" h="6658">
                <a:moveTo>
                  <a:pt x="132" y="6659"/>
                </a:moveTo>
                <a:cubicBezTo>
                  <a:pt x="-219" y="4616"/>
                  <a:pt x="139" y="2560"/>
                  <a:pt x="1107" y="0"/>
                </a:cubicBezTo>
                <a:cubicBezTo>
                  <a:pt x="1425" y="1879"/>
                  <a:pt x="1133" y="4263"/>
                  <a:pt x="132" y="6659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44" name="Free-form: Shape 43">
            <a:extLst>
              <a:ext uri="{FF2B5EF4-FFF2-40B4-BE49-F238E27FC236}">
                <a16:creationId xmlns:a16="http://schemas.microsoft.com/office/drawing/2014/main" id="{BC912D80-BDF4-CA59-D2C1-1F6F06F75ADF}"/>
              </a:ext>
            </a:extLst>
          </p:cNvPr>
          <p:cNvSpPr/>
          <p:nvPr/>
        </p:nvSpPr>
        <p:spPr>
          <a:xfrm>
            <a:off x="2330532" y="5713036"/>
            <a:ext cx="3131" cy="1127"/>
          </a:xfrm>
          <a:custGeom>
            <a:avLst/>
            <a:gdLst>
              <a:gd name="csX0" fmla="*/ 0 w 3788"/>
              <a:gd name="csY0" fmla="*/ 1364 h 1364"/>
              <a:gd name="csX1" fmla="*/ 3788 w 3788"/>
              <a:gd name="csY1" fmla="*/ 0 h 1364"/>
              <a:gd name="csX2" fmla="*/ 0 w 3788"/>
              <a:gd name="csY2" fmla="*/ 1364 h 136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788" h="1364">
                <a:moveTo>
                  <a:pt x="0" y="1364"/>
                </a:moveTo>
                <a:cubicBezTo>
                  <a:pt x="856" y="517"/>
                  <a:pt x="2126" y="39"/>
                  <a:pt x="3788" y="0"/>
                </a:cubicBezTo>
                <a:cubicBezTo>
                  <a:pt x="2925" y="870"/>
                  <a:pt x="1670" y="1303"/>
                  <a:pt x="0" y="1364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45" name="Free-form: Shape 44">
            <a:extLst>
              <a:ext uri="{FF2B5EF4-FFF2-40B4-BE49-F238E27FC236}">
                <a16:creationId xmlns:a16="http://schemas.microsoft.com/office/drawing/2014/main" id="{80EF92E6-E38A-B99B-B45D-880FCEF2CAA0}"/>
              </a:ext>
            </a:extLst>
          </p:cNvPr>
          <p:cNvSpPr/>
          <p:nvPr/>
        </p:nvSpPr>
        <p:spPr>
          <a:xfrm>
            <a:off x="1969056" y="5717392"/>
            <a:ext cx="3298" cy="685"/>
          </a:xfrm>
          <a:custGeom>
            <a:avLst/>
            <a:gdLst>
              <a:gd name="csX0" fmla="*/ 0 w 3990"/>
              <a:gd name="csY0" fmla="*/ 719 h 829"/>
              <a:gd name="csX1" fmla="*/ 3990 w 3990"/>
              <a:gd name="csY1" fmla="*/ 119 h 829"/>
              <a:gd name="csX2" fmla="*/ 0 w 3990"/>
              <a:gd name="csY2" fmla="*/ 719 h 82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990" h="829">
                <a:moveTo>
                  <a:pt x="0" y="719"/>
                </a:moveTo>
                <a:cubicBezTo>
                  <a:pt x="982" y="66"/>
                  <a:pt x="2323" y="-163"/>
                  <a:pt x="3990" y="119"/>
                </a:cubicBezTo>
                <a:cubicBezTo>
                  <a:pt x="2998" y="800"/>
                  <a:pt x="1678" y="972"/>
                  <a:pt x="0" y="719"/>
                </a:cubicBezTo>
                <a:close/>
              </a:path>
            </a:pathLst>
          </a:custGeom>
          <a:solidFill>
            <a:srgbClr val="959DA0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46" name="Free-form: Shape 45">
            <a:extLst>
              <a:ext uri="{FF2B5EF4-FFF2-40B4-BE49-F238E27FC236}">
                <a16:creationId xmlns:a16="http://schemas.microsoft.com/office/drawing/2014/main" id="{EA73350E-BECE-87F5-3788-A1CF544DF014}"/>
              </a:ext>
            </a:extLst>
          </p:cNvPr>
          <p:cNvSpPr/>
          <p:nvPr/>
        </p:nvSpPr>
        <p:spPr>
          <a:xfrm>
            <a:off x="2249295" y="5721328"/>
            <a:ext cx="3217" cy="938"/>
          </a:xfrm>
          <a:custGeom>
            <a:avLst/>
            <a:gdLst>
              <a:gd name="csX0" fmla="*/ 0 w 3893"/>
              <a:gd name="csY0" fmla="*/ 1133 h 1135"/>
              <a:gd name="csX1" fmla="*/ 3893 w 3893"/>
              <a:gd name="csY1" fmla="*/ 7 h 1135"/>
              <a:gd name="csX2" fmla="*/ 0 w 3893"/>
              <a:gd name="csY2" fmla="*/ 1133 h 113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893" h="1135">
                <a:moveTo>
                  <a:pt x="0" y="1133"/>
                </a:moveTo>
                <a:cubicBezTo>
                  <a:pt x="902" y="349"/>
                  <a:pt x="2213" y="-60"/>
                  <a:pt x="3893" y="7"/>
                </a:cubicBezTo>
                <a:cubicBezTo>
                  <a:pt x="2978" y="825"/>
                  <a:pt x="1693" y="1167"/>
                  <a:pt x="0" y="1133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47" name="Free-form: Shape 46">
            <a:extLst>
              <a:ext uri="{FF2B5EF4-FFF2-40B4-BE49-F238E27FC236}">
                <a16:creationId xmlns:a16="http://schemas.microsoft.com/office/drawing/2014/main" id="{FC0800D0-96EB-ED7C-0622-FEB6EC344826}"/>
              </a:ext>
            </a:extLst>
          </p:cNvPr>
          <p:cNvSpPr/>
          <p:nvPr/>
        </p:nvSpPr>
        <p:spPr>
          <a:xfrm>
            <a:off x="2116732" y="5076239"/>
            <a:ext cx="149854" cy="333291"/>
          </a:xfrm>
          <a:custGeom>
            <a:avLst/>
            <a:gdLst>
              <a:gd name="csX0" fmla="*/ 7554 w 181323"/>
              <a:gd name="csY0" fmla="*/ 172079 h 403282"/>
              <a:gd name="csX1" fmla="*/ 9716 w 181323"/>
              <a:gd name="csY1" fmla="*/ 130641 h 403282"/>
              <a:gd name="csX2" fmla="*/ 7663 w 181323"/>
              <a:gd name="csY2" fmla="*/ 113770 h 403282"/>
              <a:gd name="csX3" fmla="*/ 7598 w 181323"/>
              <a:gd name="csY3" fmla="*/ 8165 h 403282"/>
              <a:gd name="csX4" fmla="*/ 8353 w 181323"/>
              <a:gd name="csY4" fmla="*/ 1259 h 403282"/>
              <a:gd name="csX5" fmla="*/ 17767 w 181323"/>
              <a:gd name="csY5" fmla="*/ 93 h 403282"/>
              <a:gd name="csX6" fmla="*/ 77938 w 181323"/>
              <a:gd name="csY6" fmla="*/ 50 h 403282"/>
              <a:gd name="csX7" fmla="*/ 91081 w 181323"/>
              <a:gd name="csY7" fmla="*/ 10962 h 403282"/>
              <a:gd name="csX8" fmla="*/ 93691 w 181323"/>
              <a:gd name="csY8" fmla="*/ 60963 h 403282"/>
              <a:gd name="csX9" fmla="*/ 100157 w 181323"/>
              <a:gd name="csY9" fmla="*/ 121501 h 403282"/>
              <a:gd name="csX10" fmla="*/ 105540 w 181323"/>
              <a:gd name="csY10" fmla="*/ 158857 h 403282"/>
              <a:gd name="csX11" fmla="*/ 121116 w 181323"/>
              <a:gd name="csY11" fmla="*/ 235269 h 403282"/>
              <a:gd name="csX12" fmla="*/ 152823 w 181323"/>
              <a:gd name="csY12" fmla="*/ 338010 h 403282"/>
              <a:gd name="csX13" fmla="*/ 170877 w 181323"/>
              <a:gd name="csY13" fmla="*/ 378027 h 403282"/>
              <a:gd name="csX14" fmla="*/ 178114 w 181323"/>
              <a:gd name="csY14" fmla="*/ 387682 h 403282"/>
              <a:gd name="csX15" fmla="*/ 181150 w 181323"/>
              <a:gd name="csY15" fmla="*/ 395764 h 403282"/>
              <a:gd name="csX16" fmla="*/ 173480 w 181323"/>
              <a:gd name="csY16" fmla="*/ 402568 h 403282"/>
              <a:gd name="csX17" fmla="*/ 160067 w 181323"/>
              <a:gd name="csY17" fmla="*/ 402936 h 403282"/>
              <a:gd name="csX18" fmla="*/ 121081 w 181323"/>
              <a:gd name="csY18" fmla="*/ 400766 h 403282"/>
              <a:gd name="csX19" fmla="*/ 70912 w 181323"/>
              <a:gd name="csY19" fmla="*/ 401955 h 403282"/>
              <a:gd name="csX20" fmla="*/ 7630 w 181323"/>
              <a:gd name="csY20" fmla="*/ 402999 h 403282"/>
              <a:gd name="csX21" fmla="*/ 710 w 181323"/>
              <a:gd name="csY21" fmla="*/ 401995 h 403282"/>
              <a:gd name="csX22" fmla="*/ 1308 w 181323"/>
              <a:gd name="csY22" fmla="*/ 356708 h 403282"/>
              <a:gd name="csX23" fmla="*/ 2554 w 181323"/>
              <a:gd name="csY23" fmla="*/ 349510 h 403282"/>
              <a:gd name="csX24" fmla="*/ 5071 w 181323"/>
              <a:gd name="csY24" fmla="*/ 271231 h 403282"/>
              <a:gd name="csX25" fmla="*/ 7554 w 181323"/>
              <a:gd name="csY25" fmla="*/ 172079 h 403282"/>
              <a:gd name="csX26" fmla="*/ 98286 w 181323"/>
              <a:gd name="csY26" fmla="*/ 163566 h 403282"/>
              <a:gd name="csX27" fmla="*/ 83497 w 181323"/>
              <a:gd name="csY27" fmla="*/ 8289 h 403282"/>
              <a:gd name="csX28" fmla="*/ 15161 w 181323"/>
              <a:gd name="csY28" fmla="*/ 9148 h 403282"/>
              <a:gd name="csX29" fmla="*/ 15058 w 181323"/>
              <a:gd name="csY29" fmla="*/ 137939 h 403282"/>
              <a:gd name="csX30" fmla="*/ 12252 w 181323"/>
              <a:gd name="csY30" fmla="*/ 266862 h 403282"/>
              <a:gd name="csX31" fmla="*/ 7068 w 181323"/>
              <a:gd name="csY31" fmla="*/ 395996 h 403282"/>
              <a:gd name="csX32" fmla="*/ 171647 w 181323"/>
              <a:gd name="csY32" fmla="*/ 395996 h 403282"/>
              <a:gd name="csX33" fmla="*/ 119950 w 181323"/>
              <a:gd name="csY33" fmla="*/ 259496 h 403282"/>
              <a:gd name="csX34" fmla="*/ 98286 w 181323"/>
              <a:gd name="csY34" fmla="*/ 163566 h 40328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</a:cxnLst>
            <a:rect l="l" t="t" r="r" b="b"/>
            <a:pathLst>
              <a:path w="181323" h="403282">
                <a:moveTo>
                  <a:pt x="7554" y="172079"/>
                </a:moveTo>
                <a:cubicBezTo>
                  <a:pt x="8325" y="157451"/>
                  <a:pt x="9408" y="144055"/>
                  <a:pt x="9716" y="130641"/>
                </a:cubicBezTo>
                <a:cubicBezTo>
                  <a:pt x="9846" y="125037"/>
                  <a:pt x="7695" y="119399"/>
                  <a:pt x="7663" y="113770"/>
                </a:cubicBezTo>
                <a:cubicBezTo>
                  <a:pt x="7461" y="78569"/>
                  <a:pt x="7554" y="43367"/>
                  <a:pt x="7598" y="8165"/>
                </a:cubicBezTo>
                <a:cubicBezTo>
                  <a:pt x="7600" y="6167"/>
                  <a:pt x="8022" y="4170"/>
                  <a:pt x="8353" y="1259"/>
                </a:cubicBezTo>
                <a:cubicBezTo>
                  <a:pt x="11568" y="842"/>
                  <a:pt x="14666" y="109"/>
                  <a:pt x="17767" y="93"/>
                </a:cubicBezTo>
                <a:cubicBezTo>
                  <a:pt x="37824" y="-17"/>
                  <a:pt x="57881" y="-27"/>
                  <a:pt x="77938" y="50"/>
                </a:cubicBezTo>
                <a:cubicBezTo>
                  <a:pt x="89177" y="93"/>
                  <a:pt x="90068" y="113"/>
                  <a:pt x="91081" y="10962"/>
                </a:cubicBezTo>
                <a:cubicBezTo>
                  <a:pt x="92631" y="27565"/>
                  <a:pt x="92329" y="44335"/>
                  <a:pt x="93691" y="60963"/>
                </a:cubicBezTo>
                <a:cubicBezTo>
                  <a:pt x="95348" y="81184"/>
                  <a:pt x="97732" y="101353"/>
                  <a:pt x="100157" y="121501"/>
                </a:cubicBezTo>
                <a:cubicBezTo>
                  <a:pt x="101660" y="133990"/>
                  <a:pt x="104521" y="146343"/>
                  <a:pt x="105540" y="158857"/>
                </a:cubicBezTo>
                <a:cubicBezTo>
                  <a:pt x="107671" y="184993"/>
                  <a:pt x="114147" y="210249"/>
                  <a:pt x="121116" y="235269"/>
                </a:cubicBezTo>
                <a:cubicBezTo>
                  <a:pt x="130731" y="269786"/>
                  <a:pt x="141516" y="304004"/>
                  <a:pt x="152823" y="338010"/>
                </a:cubicBezTo>
                <a:cubicBezTo>
                  <a:pt x="157418" y="351828"/>
                  <a:pt x="164524" y="364837"/>
                  <a:pt x="170877" y="378027"/>
                </a:cubicBezTo>
                <a:cubicBezTo>
                  <a:pt x="172587" y="381579"/>
                  <a:pt x="175985" y="384280"/>
                  <a:pt x="178114" y="387682"/>
                </a:cubicBezTo>
                <a:cubicBezTo>
                  <a:pt x="179669" y="390165"/>
                  <a:pt x="181977" y="393824"/>
                  <a:pt x="181150" y="395764"/>
                </a:cubicBezTo>
                <a:cubicBezTo>
                  <a:pt x="179907" y="398676"/>
                  <a:pt x="176540" y="401705"/>
                  <a:pt x="173480" y="402568"/>
                </a:cubicBezTo>
                <a:cubicBezTo>
                  <a:pt x="169302" y="403746"/>
                  <a:pt x="164551" y="403164"/>
                  <a:pt x="160067" y="402936"/>
                </a:cubicBezTo>
                <a:cubicBezTo>
                  <a:pt x="147066" y="402274"/>
                  <a:pt x="134081" y="400859"/>
                  <a:pt x="121081" y="400766"/>
                </a:cubicBezTo>
                <a:cubicBezTo>
                  <a:pt x="104362" y="400647"/>
                  <a:pt x="87638" y="401607"/>
                  <a:pt x="70912" y="401955"/>
                </a:cubicBezTo>
                <a:cubicBezTo>
                  <a:pt x="49820" y="402394"/>
                  <a:pt x="28725" y="402712"/>
                  <a:pt x="7630" y="402999"/>
                </a:cubicBezTo>
                <a:cubicBezTo>
                  <a:pt x="5684" y="403026"/>
                  <a:pt x="3731" y="402452"/>
                  <a:pt x="710" y="401995"/>
                </a:cubicBezTo>
                <a:cubicBezTo>
                  <a:pt x="219" y="386620"/>
                  <a:pt x="-871" y="371682"/>
                  <a:pt x="1308" y="356708"/>
                </a:cubicBezTo>
                <a:cubicBezTo>
                  <a:pt x="1659" y="354298"/>
                  <a:pt x="2471" y="351920"/>
                  <a:pt x="2554" y="349510"/>
                </a:cubicBezTo>
                <a:cubicBezTo>
                  <a:pt x="3459" y="323419"/>
                  <a:pt x="4345" y="297328"/>
                  <a:pt x="5071" y="271231"/>
                </a:cubicBezTo>
                <a:cubicBezTo>
                  <a:pt x="5979" y="238591"/>
                  <a:pt x="6733" y="205947"/>
                  <a:pt x="7554" y="172079"/>
                </a:cubicBezTo>
                <a:moveTo>
                  <a:pt x="98286" y="163566"/>
                </a:moveTo>
                <a:cubicBezTo>
                  <a:pt x="89288" y="112116"/>
                  <a:pt x="86355" y="60033"/>
                  <a:pt x="83497" y="8289"/>
                </a:cubicBezTo>
                <a:cubicBezTo>
                  <a:pt x="65606" y="5845"/>
                  <a:pt x="24110" y="6470"/>
                  <a:pt x="15161" y="9148"/>
                </a:cubicBezTo>
                <a:cubicBezTo>
                  <a:pt x="15161" y="52045"/>
                  <a:pt x="15527" y="94996"/>
                  <a:pt x="15058" y="137939"/>
                </a:cubicBezTo>
                <a:cubicBezTo>
                  <a:pt x="14587" y="180919"/>
                  <a:pt x="13597" y="223900"/>
                  <a:pt x="12252" y="266862"/>
                </a:cubicBezTo>
                <a:cubicBezTo>
                  <a:pt x="10912" y="309638"/>
                  <a:pt x="8849" y="352391"/>
                  <a:pt x="7068" y="395996"/>
                </a:cubicBezTo>
                <a:cubicBezTo>
                  <a:pt x="62774" y="395996"/>
                  <a:pt x="116821" y="395996"/>
                  <a:pt x="171647" y="395996"/>
                </a:cubicBezTo>
                <a:cubicBezTo>
                  <a:pt x="148550" y="352016"/>
                  <a:pt x="132566" y="306307"/>
                  <a:pt x="119950" y="259496"/>
                </a:cubicBezTo>
                <a:cubicBezTo>
                  <a:pt x="111608" y="228543"/>
                  <a:pt x="105493" y="196989"/>
                  <a:pt x="98286" y="163566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48" name="Free-form: Shape 47">
            <a:extLst>
              <a:ext uri="{FF2B5EF4-FFF2-40B4-BE49-F238E27FC236}">
                <a16:creationId xmlns:a16="http://schemas.microsoft.com/office/drawing/2014/main" id="{E19FBC65-99C4-07C9-0DE0-3C93F3868D81}"/>
              </a:ext>
            </a:extLst>
          </p:cNvPr>
          <p:cNvSpPr/>
          <p:nvPr/>
        </p:nvSpPr>
        <p:spPr>
          <a:xfrm>
            <a:off x="2118903" y="5630575"/>
            <a:ext cx="278519" cy="63075"/>
          </a:xfrm>
          <a:custGeom>
            <a:avLst/>
            <a:gdLst>
              <a:gd name="csX0" fmla="*/ 297312 w 337008"/>
              <a:gd name="csY0" fmla="*/ 59188 h 76321"/>
              <a:gd name="csX1" fmla="*/ 241991 w 337008"/>
              <a:gd name="csY1" fmla="*/ 66577 h 76321"/>
              <a:gd name="csX2" fmla="*/ 185243 w 337008"/>
              <a:gd name="csY2" fmla="*/ 73717 h 76321"/>
              <a:gd name="csX3" fmla="*/ 182797 w 337008"/>
              <a:gd name="csY3" fmla="*/ 73873 h 76321"/>
              <a:gd name="csX4" fmla="*/ 19866 w 337008"/>
              <a:gd name="csY4" fmla="*/ 76320 h 76321"/>
              <a:gd name="csX5" fmla="*/ 12650 w 337008"/>
              <a:gd name="csY5" fmla="*/ 75242 h 76321"/>
              <a:gd name="csX6" fmla="*/ 19 w 337008"/>
              <a:gd name="csY6" fmla="*/ 59006 h 76321"/>
              <a:gd name="csX7" fmla="*/ 11 w 337008"/>
              <a:gd name="csY7" fmla="*/ 18266 h 76321"/>
              <a:gd name="csX8" fmla="*/ 13547 w 337008"/>
              <a:gd name="csY8" fmla="*/ 17427 h 76321"/>
              <a:gd name="csX9" fmla="*/ 109279 w 337008"/>
              <a:gd name="csY9" fmla="*/ 17200 h 76321"/>
              <a:gd name="csX10" fmla="*/ 173714 w 337008"/>
              <a:gd name="csY10" fmla="*/ 12645 h 76321"/>
              <a:gd name="csX11" fmla="*/ 205309 w 337008"/>
              <a:gd name="csY11" fmla="*/ 10096 h 76321"/>
              <a:gd name="csX12" fmla="*/ 245485 w 337008"/>
              <a:gd name="csY12" fmla="*/ 7449 h 76321"/>
              <a:gd name="csX13" fmla="*/ 288955 w 337008"/>
              <a:gd name="csY13" fmla="*/ 1844 h 76321"/>
              <a:gd name="csX14" fmla="*/ 307132 w 337008"/>
              <a:gd name="csY14" fmla="*/ 164 h 76321"/>
              <a:gd name="csX15" fmla="*/ 324030 w 337008"/>
              <a:gd name="csY15" fmla="*/ 9691 h 76321"/>
              <a:gd name="csX16" fmla="*/ 336033 w 337008"/>
              <a:gd name="csY16" fmla="*/ 39107 h 76321"/>
              <a:gd name="csX17" fmla="*/ 328060 w 337008"/>
              <a:gd name="csY17" fmla="*/ 52413 h 76321"/>
              <a:gd name="csX18" fmla="*/ 297312 w 337008"/>
              <a:gd name="csY18" fmla="*/ 59188 h 76321"/>
              <a:gd name="csX19" fmla="*/ 207688 w 337008"/>
              <a:gd name="csY19" fmla="*/ 64284 h 76321"/>
              <a:gd name="csX20" fmla="*/ 330050 w 337008"/>
              <a:gd name="csY20" fmla="*/ 45606 h 76321"/>
              <a:gd name="csX21" fmla="*/ 317356 w 337008"/>
              <a:gd name="csY21" fmla="*/ 11297 h 76321"/>
              <a:gd name="csX22" fmla="*/ 304170 w 337008"/>
              <a:gd name="csY22" fmla="*/ 5545 h 76321"/>
              <a:gd name="csX23" fmla="*/ 273851 w 337008"/>
              <a:gd name="csY23" fmla="*/ 10014 h 76321"/>
              <a:gd name="csX24" fmla="*/ 163935 w 337008"/>
              <a:gd name="csY24" fmla="*/ 20274 h 76321"/>
              <a:gd name="csX25" fmla="*/ 17973 w 337008"/>
              <a:gd name="csY25" fmla="*/ 22950 h 76321"/>
              <a:gd name="csX26" fmla="*/ 7372 w 337008"/>
              <a:gd name="csY26" fmla="*/ 23601 h 76321"/>
              <a:gd name="csX27" fmla="*/ 7372 w 337008"/>
              <a:gd name="csY27" fmla="*/ 67898 h 76321"/>
              <a:gd name="csX28" fmla="*/ 207688 w 337008"/>
              <a:gd name="csY28" fmla="*/ 64284 h 7632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</a:cxnLst>
            <a:rect l="l" t="t" r="r" b="b"/>
            <a:pathLst>
              <a:path w="337008" h="76321">
                <a:moveTo>
                  <a:pt x="297312" y="59188"/>
                </a:moveTo>
                <a:cubicBezTo>
                  <a:pt x="278167" y="61672"/>
                  <a:pt x="260091" y="64212"/>
                  <a:pt x="241991" y="66577"/>
                </a:cubicBezTo>
                <a:cubicBezTo>
                  <a:pt x="223087" y="69047"/>
                  <a:pt x="204161" y="71350"/>
                  <a:pt x="185243" y="73717"/>
                </a:cubicBezTo>
                <a:cubicBezTo>
                  <a:pt x="184433" y="73818"/>
                  <a:pt x="183613" y="73861"/>
                  <a:pt x="182797" y="73873"/>
                </a:cubicBezTo>
                <a:cubicBezTo>
                  <a:pt x="128487" y="74710"/>
                  <a:pt x="74176" y="75556"/>
                  <a:pt x="19866" y="76320"/>
                </a:cubicBezTo>
                <a:cubicBezTo>
                  <a:pt x="17463" y="76354"/>
                  <a:pt x="15013" y="75797"/>
                  <a:pt x="12650" y="75242"/>
                </a:cubicBezTo>
                <a:cubicBezTo>
                  <a:pt x="80" y="72288"/>
                  <a:pt x="58" y="72258"/>
                  <a:pt x="19" y="59006"/>
                </a:cubicBezTo>
                <a:cubicBezTo>
                  <a:pt x="-19" y="45942"/>
                  <a:pt x="11" y="32877"/>
                  <a:pt x="11" y="18266"/>
                </a:cubicBezTo>
                <a:cubicBezTo>
                  <a:pt x="4987" y="17944"/>
                  <a:pt x="9266" y="17435"/>
                  <a:pt x="13547" y="17427"/>
                </a:cubicBezTo>
                <a:cubicBezTo>
                  <a:pt x="45459" y="17362"/>
                  <a:pt x="77385" y="17975"/>
                  <a:pt x="109279" y="17200"/>
                </a:cubicBezTo>
                <a:cubicBezTo>
                  <a:pt x="130782" y="16677"/>
                  <a:pt x="152239" y="14265"/>
                  <a:pt x="173714" y="12645"/>
                </a:cubicBezTo>
                <a:cubicBezTo>
                  <a:pt x="184250" y="11850"/>
                  <a:pt x="194770" y="10836"/>
                  <a:pt x="205309" y="10096"/>
                </a:cubicBezTo>
                <a:cubicBezTo>
                  <a:pt x="218698" y="9156"/>
                  <a:pt x="232139" y="8783"/>
                  <a:pt x="245485" y="7449"/>
                </a:cubicBezTo>
                <a:cubicBezTo>
                  <a:pt x="260017" y="5997"/>
                  <a:pt x="274456" y="3648"/>
                  <a:pt x="288955" y="1844"/>
                </a:cubicBezTo>
                <a:cubicBezTo>
                  <a:pt x="294991" y="1094"/>
                  <a:pt x="301100" y="930"/>
                  <a:pt x="307132" y="164"/>
                </a:cubicBezTo>
                <a:cubicBezTo>
                  <a:pt x="315239" y="-865"/>
                  <a:pt x="320841" y="3022"/>
                  <a:pt x="324030" y="9691"/>
                </a:cubicBezTo>
                <a:cubicBezTo>
                  <a:pt x="328594" y="19236"/>
                  <a:pt x="332712" y="29070"/>
                  <a:pt x="336033" y="39107"/>
                </a:cubicBezTo>
                <a:cubicBezTo>
                  <a:pt x="338557" y="46735"/>
                  <a:pt x="336278" y="50185"/>
                  <a:pt x="328060" y="52413"/>
                </a:cubicBezTo>
                <a:cubicBezTo>
                  <a:pt x="318273" y="55068"/>
                  <a:pt x="308277" y="56950"/>
                  <a:pt x="297312" y="59188"/>
                </a:cubicBezTo>
                <a:moveTo>
                  <a:pt x="207688" y="64284"/>
                </a:moveTo>
                <a:cubicBezTo>
                  <a:pt x="248681" y="60632"/>
                  <a:pt x="289317" y="54812"/>
                  <a:pt x="330050" y="45606"/>
                </a:cubicBezTo>
                <a:cubicBezTo>
                  <a:pt x="327603" y="32443"/>
                  <a:pt x="323777" y="21532"/>
                  <a:pt x="317356" y="11297"/>
                </a:cubicBezTo>
                <a:cubicBezTo>
                  <a:pt x="313908" y="5803"/>
                  <a:pt x="310145" y="4465"/>
                  <a:pt x="304170" y="5545"/>
                </a:cubicBezTo>
                <a:cubicBezTo>
                  <a:pt x="294121" y="7361"/>
                  <a:pt x="284007" y="9006"/>
                  <a:pt x="273851" y="10014"/>
                </a:cubicBezTo>
                <a:cubicBezTo>
                  <a:pt x="237233" y="13650"/>
                  <a:pt x="200632" y="17661"/>
                  <a:pt x="163935" y="20274"/>
                </a:cubicBezTo>
                <a:cubicBezTo>
                  <a:pt x="115360" y="23734"/>
                  <a:pt x="66701" y="25937"/>
                  <a:pt x="17973" y="22950"/>
                </a:cubicBezTo>
                <a:cubicBezTo>
                  <a:pt x="14492" y="22737"/>
                  <a:pt x="10959" y="23361"/>
                  <a:pt x="7372" y="23601"/>
                </a:cubicBezTo>
                <a:cubicBezTo>
                  <a:pt x="7372" y="38609"/>
                  <a:pt x="7372" y="52361"/>
                  <a:pt x="7372" y="67898"/>
                </a:cubicBezTo>
                <a:cubicBezTo>
                  <a:pt x="74001" y="69806"/>
                  <a:pt x="139746" y="71025"/>
                  <a:pt x="207688" y="64284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49" name="Free-form: Shape 48">
            <a:extLst>
              <a:ext uri="{FF2B5EF4-FFF2-40B4-BE49-F238E27FC236}">
                <a16:creationId xmlns:a16="http://schemas.microsoft.com/office/drawing/2014/main" id="{61FC8D08-BC74-F8AB-F1B1-8FD13F64E973}"/>
              </a:ext>
            </a:extLst>
          </p:cNvPr>
          <p:cNvSpPr/>
          <p:nvPr/>
        </p:nvSpPr>
        <p:spPr>
          <a:xfrm>
            <a:off x="2123871" y="5435645"/>
            <a:ext cx="250796" cy="176607"/>
          </a:xfrm>
          <a:custGeom>
            <a:avLst/>
            <a:gdLst>
              <a:gd name="csX0" fmla="*/ 14160 w 303463"/>
              <a:gd name="csY0" fmla="*/ 7889 h 213695"/>
              <a:gd name="csX1" fmla="*/ 195033 w 303463"/>
              <a:gd name="csY1" fmla="*/ 0 h 213695"/>
              <a:gd name="csX2" fmla="*/ 197208 w 303463"/>
              <a:gd name="csY2" fmla="*/ 5635 h 213695"/>
              <a:gd name="csX3" fmla="*/ 227014 w 303463"/>
              <a:gd name="csY3" fmla="*/ 60660 h 213695"/>
              <a:gd name="csX4" fmla="*/ 265823 w 303463"/>
              <a:gd name="csY4" fmla="*/ 98217 h 213695"/>
              <a:gd name="csX5" fmla="*/ 303210 w 303463"/>
              <a:gd name="csY5" fmla="*/ 180358 h 213695"/>
              <a:gd name="csX6" fmla="*/ 303282 w 303463"/>
              <a:gd name="csY6" fmla="*/ 193964 h 213695"/>
              <a:gd name="csX7" fmla="*/ 4971 w 303463"/>
              <a:gd name="csY7" fmla="*/ 213017 h 213695"/>
              <a:gd name="csX8" fmla="*/ 5093 w 303463"/>
              <a:gd name="csY8" fmla="*/ 173484 h 213695"/>
              <a:gd name="csX9" fmla="*/ 4767 w 303463"/>
              <a:gd name="csY9" fmla="*/ 54607 h 213695"/>
              <a:gd name="csX10" fmla="*/ 0 w 303463"/>
              <a:gd name="csY10" fmla="*/ 7887 h 213695"/>
              <a:gd name="csX11" fmla="*/ 14160 w 303463"/>
              <a:gd name="csY11" fmla="*/ 7889 h 21369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303463" h="213695">
                <a:moveTo>
                  <a:pt x="14160" y="7889"/>
                </a:moveTo>
                <a:cubicBezTo>
                  <a:pt x="75371" y="8627"/>
                  <a:pt x="135292" y="5744"/>
                  <a:pt x="195033" y="0"/>
                </a:cubicBezTo>
                <a:cubicBezTo>
                  <a:pt x="196084" y="2662"/>
                  <a:pt x="196986" y="4099"/>
                  <a:pt x="197208" y="5635"/>
                </a:cubicBezTo>
                <a:cubicBezTo>
                  <a:pt x="200391" y="27650"/>
                  <a:pt x="211307" y="45450"/>
                  <a:pt x="227014" y="60660"/>
                </a:cubicBezTo>
                <a:cubicBezTo>
                  <a:pt x="239947" y="73182"/>
                  <a:pt x="253006" y="85577"/>
                  <a:pt x="265823" y="98217"/>
                </a:cubicBezTo>
                <a:cubicBezTo>
                  <a:pt x="288727" y="120806"/>
                  <a:pt x="299071" y="149215"/>
                  <a:pt x="303210" y="180358"/>
                </a:cubicBezTo>
                <a:cubicBezTo>
                  <a:pt x="303735" y="184317"/>
                  <a:pt x="303282" y="188405"/>
                  <a:pt x="303282" y="193964"/>
                </a:cubicBezTo>
                <a:cubicBezTo>
                  <a:pt x="204065" y="208804"/>
                  <a:pt x="105022" y="216044"/>
                  <a:pt x="4971" y="213017"/>
                </a:cubicBezTo>
                <a:cubicBezTo>
                  <a:pt x="4971" y="199268"/>
                  <a:pt x="4314" y="186332"/>
                  <a:pt x="5093" y="173484"/>
                </a:cubicBezTo>
                <a:cubicBezTo>
                  <a:pt x="7497" y="133835"/>
                  <a:pt x="8211" y="94216"/>
                  <a:pt x="4767" y="54607"/>
                </a:cubicBezTo>
                <a:cubicBezTo>
                  <a:pt x="3464" y="39611"/>
                  <a:pt x="1725" y="24653"/>
                  <a:pt x="0" y="7887"/>
                </a:cubicBezTo>
                <a:cubicBezTo>
                  <a:pt x="4390" y="7887"/>
                  <a:pt x="8696" y="7887"/>
                  <a:pt x="14160" y="7889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50" name="Free-form: Shape 49">
            <a:extLst>
              <a:ext uri="{FF2B5EF4-FFF2-40B4-BE49-F238E27FC236}">
                <a16:creationId xmlns:a16="http://schemas.microsoft.com/office/drawing/2014/main" id="{CEC62BE5-05F2-5BF5-BCED-F8C3FAB8A919}"/>
              </a:ext>
            </a:extLst>
          </p:cNvPr>
          <p:cNvSpPr/>
          <p:nvPr/>
        </p:nvSpPr>
        <p:spPr>
          <a:xfrm>
            <a:off x="2078934" y="4730539"/>
            <a:ext cx="172783" cy="168104"/>
          </a:xfrm>
          <a:custGeom>
            <a:avLst/>
            <a:gdLst>
              <a:gd name="csX0" fmla="*/ 10475 w 209067"/>
              <a:gd name="csY0" fmla="*/ 41718 h 203406"/>
              <a:gd name="csX1" fmla="*/ 100250 w 209067"/>
              <a:gd name="csY1" fmla="*/ 1265 h 203406"/>
              <a:gd name="csX2" fmla="*/ 206681 w 209067"/>
              <a:gd name="csY2" fmla="*/ 98526 h 203406"/>
              <a:gd name="csX3" fmla="*/ 134647 w 209067"/>
              <a:gd name="csY3" fmla="*/ 202431 h 203406"/>
              <a:gd name="csX4" fmla="*/ 40986 w 209067"/>
              <a:gd name="csY4" fmla="*/ 171438 h 203406"/>
              <a:gd name="csX5" fmla="*/ 143 w 209067"/>
              <a:gd name="csY5" fmla="*/ 85158 h 203406"/>
              <a:gd name="csX6" fmla="*/ 10475 w 209067"/>
              <a:gd name="csY6" fmla="*/ 41718 h 20340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</a:cxnLst>
            <a:rect l="l" t="t" r="r" b="b"/>
            <a:pathLst>
              <a:path w="209067" h="203406">
                <a:moveTo>
                  <a:pt x="10475" y="41718"/>
                </a:moveTo>
                <a:cubicBezTo>
                  <a:pt x="31065" y="6021"/>
                  <a:pt x="63171" y="-3865"/>
                  <a:pt x="100250" y="1265"/>
                </a:cubicBezTo>
                <a:cubicBezTo>
                  <a:pt x="157191" y="9144"/>
                  <a:pt x="196951" y="51394"/>
                  <a:pt x="206681" y="98526"/>
                </a:cubicBezTo>
                <a:cubicBezTo>
                  <a:pt x="219504" y="160635"/>
                  <a:pt x="178523" y="196657"/>
                  <a:pt x="134647" y="202431"/>
                </a:cubicBezTo>
                <a:cubicBezTo>
                  <a:pt x="98365" y="207204"/>
                  <a:pt x="68101" y="194086"/>
                  <a:pt x="40986" y="171438"/>
                </a:cubicBezTo>
                <a:cubicBezTo>
                  <a:pt x="14115" y="148994"/>
                  <a:pt x="2457" y="119007"/>
                  <a:pt x="143" y="85158"/>
                </a:cubicBezTo>
                <a:cubicBezTo>
                  <a:pt x="-869" y="70364"/>
                  <a:pt x="3586" y="56015"/>
                  <a:pt x="10475" y="41718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51" name="Free-form: Shape 50">
            <a:extLst>
              <a:ext uri="{FF2B5EF4-FFF2-40B4-BE49-F238E27FC236}">
                <a16:creationId xmlns:a16="http://schemas.microsoft.com/office/drawing/2014/main" id="{10BFFFF7-8999-9767-A52E-9693DF2B27BB}"/>
              </a:ext>
            </a:extLst>
          </p:cNvPr>
          <p:cNvSpPr/>
          <p:nvPr/>
        </p:nvSpPr>
        <p:spPr>
          <a:xfrm>
            <a:off x="2127195" y="5014093"/>
            <a:ext cx="129859" cy="34160"/>
          </a:xfrm>
          <a:custGeom>
            <a:avLst/>
            <a:gdLst>
              <a:gd name="csX0" fmla="*/ 69625 w 157129"/>
              <a:gd name="csY0" fmla="*/ 0 h 41334"/>
              <a:gd name="csX1" fmla="*/ 119596 w 157129"/>
              <a:gd name="csY1" fmla="*/ 1945 h 41334"/>
              <a:gd name="csX2" fmla="*/ 150973 w 157129"/>
              <a:gd name="csY2" fmla="*/ 14889 h 41334"/>
              <a:gd name="csX3" fmla="*/ 151351 w 157129"/>
              <a:gd name="csY3" fmla="*/ 34058 h 41334"/>
              <a:gd name="csX4" fmla="*/ 133492 w 157129"/>
              <a:gd name="csY4" fmla="*/ 40697 h 41334"/>
              <a:gd name="csX5" fmla="*/ 106556 w 157129"/>
              <a:gd name="csY5" fmla="*/ 41092 h 41334"/>
              <a:gd name="csX6" fmla="*/ 13373 w 157129"/>
              <a:gd name="csY6" fmla="*/ 40708 h 41334"/>
              <a:gd name="csX7" fmla="*/ 1312 w 157129"/>
              <a:gd name="csY7" fmla="*/ 40191 h 41334"/>
              <a:gd name="csX8" fmla="*/ 3367 w 157129"/>
              <a:gd name="csY8" fmla="*/ 13162 h 41334"/>
              <a:gd name="csX9" fmla="*/ 20752 w 157129"/>
              <a:gd name="csY9" fmla="*/ 1879 h 41334"/>
              <a:gd name="csX10" fmla="*/ 52625 w 157129"/>
              <a:gd name="csY10" fmla="*/ 1332 h 41334"/>
              <a:gd name="csX11" fmla="*/ 69625 w 157129"/>
              <a:gd name="csY11" fmla="*/ 0 h 4133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157129" h="41334">
                <a:moveTo>
                  <a:pt x="69625" y="0"/>
                </a:moveTo>
                <a:cubicBezTo>
                  <a:pt x="87054" y="491"/>
                  <a:pt x="103407" y="373"/>
                  <a:pt x="119596" y="1945"/>
                </a:cubicBezTo>
                <a:cubicBezTo>
                  <a:pt x="131020" y="3055"/>
                  <a:pt x="141713" y="7767"/>
                  <a:pt x="150973" y="14889"/>
                </a:cubicBezTo>
                <a:cubicBezTo>
                  <a:pt x="158820" y="20925"/>
                  <a:pt x="159403" y="28236"/>
                  <a:pt x="151351" y="34058"/>
                </a:cubicBezTo>
                <a:cubicBezTo>
                  <a:pt x="146355" y="37671"/>
                  <a:pt x="139678" y="39910"/>
                  <a:pt x="133492" y="40697"/>
                </a:cubicBezTo>
                <a:cubicBezTo>
                  <a:pt x="124640" y="41824"/>
                  <a:pt x="115547" y="41120"/>
                  <a:pt x="106556" y="41092"/>
                </a:cubicBezTo>
                <a:cubicBezTo>
                  <a:pt x="75495" y="40996"/>
                  <a:pt x="44434" y="40872"/>
                  <a:pt x="13373" y="40708"/>
                </a:cubicBezTo>
                <a:cubicBezTo>
                  <a:pt x="9391" y="40687"/>
                  <a:pt x="5410" y="40374"/>
                  <a:pt x="1312" y="40191"/>
                </a:cubicBezTo>
                <a:cubicBezTo>
                  <a:pt x="-1416" y="30384"/>
                  <a:pt x="523" y="21512"/>
                  <a:pt x="3367" y="13162"/>
                </a:cubicBezTo>
                <a:cubicBezTo>
                  <a:pt x="5963" y="5538"/>
                  <a:pt x="12701" y="2077"/>
                  <a:pt x="20752" y="1879"/>
                </a:cubicBezTo>
                <a:cubicBezTo>
                  <a:pt x="31375" y="1617"/>
                  <a:pt x="42004" y="1647"/>
                  <a:pt x="52625" y="1332"/>
                </a:cubicBezTo>
                <a:cubicBezTo>
                  <a:pt x="57918" y="1176"/>
                  <a:pt x="63195" y="535"/>
                  <a:pt x="69625" y="0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52" name="Free-form: Shape 51">
            <a:extLst>
              <a:ext uri="{FF2B5EF4-FFF2-40B4-BE49-F238E27FC236}">
                <a16:creationId xmlns:a16="http://schemas.microsoft.com/office/drawing/2014/main" id="{3030C2BA-BD1B-A2AF-E8C2-B938CD711138}"/>
              </a:ext>
            </a:extLst>
          </p:cNvPr>
          <p:cNvSpPr/>
          <p:nvPr/>
        </p:nvSpPr>
        <p:spPr>
          <a:xfrm>
            <a:off x="2122574" y="5081824"/>
            <a:ext cx="136016" cy="321684"/>
          </a:xfrm>
          <a:custGeom>
            <a:avLst/>
            <a:gdLst>
              <a:gd name="csX0" fmla="*/ 91265 w 164579"/>
              <a:gd name="csY0" fmla="*/ 157878 h 389238"/>
              <a:gd name="csX1" fmla="*/ 112882 w 164579"/>
              <a:gd name="csY1" fmla="*/ 252738 h 389238"/>
              <a:gd name="csX2" fmla="*/ 164579 w 164579"/>
              <a:gd name="csY2" fmla="*/ 389238 h 389238"/>
              <a:gd name="csX3" fmla="*/ 0 w 164579"/>
              <a:gd name="csY3" fmla="*/ 389238 h 389238"/>
              <a:gd name="csX4" fmla="*/ 5184 w 164579"/>
              <a:gd name="csY4" fmla="*/ 260105 h 389238"/>
              <a:gd name="csX5" fmla="*/ 7989 w 164579"/>
              <a:gd name="csY5" fmla="*/ 131182 h 389238"/>
              <a:gd name="csX6" fmla="*/ 8093 w 164579"/>
              <a:gd name="csY6" fmla="*/ 2390 h 389238"/>
              <a:gd name="csX7" fmla="*/ 76429 w 164579"/>
              <a:gd name="csY7" fmla="*/ 1531 h 389238"/>
              <a:gd name="csX8" fmla="*/ 91265 w 164579"/>
              <a:gd name="csY8" fmla="*/ 157878 h 38923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</a:cxnLst>
            <a:rect l="l" t="t" r="r" b="b"/>
            <a:pathLst>
              <a:path w="164579" h="389238">
                <a:moveTo>
                  <a:pt x="91265" y="157878"/>
                </a:moveTo>
                <a:cubicBezTo>
                  <a:pt x="98425" y="190232"/>
                  <a:pt x="104539" y="221785"/>
                  <a:pt x="112882" y="252738"/>
                </a:cubicBezTo>
                <a:cubicBezTo>
                  <a:pt x="125498" y="299549"/>
                  <a:pt x="141482" y="345258"/>
                  <a:pt x="164579" y="389238"/>
                </a:cubicBezTo>
                <a:cubicBezTo>
                  <a:pt x="109753" y="389238"/>
                  <a:pt x="55706" y="389238"/>
                  <a:pt x="0" y="389238"/>
                </a:cubicBezTo>
                <a:cubicBezTo>
                  <a:pt x="1781" y="345633"/>
                  <a:pt x="3844" y="302880"/>
                  <a:pt x="5184" y="260105"/>
                </a:cubicBezTo>
                <a:cubicBezTo>
                  <a:pt x="6529" y="217143"/>
                  <a:pt x="7519" y="174162"/>
                  <a:pt x="7989" y="131182"/>
                </a:cubicBezTo>
                <a:cubicBezTo>
                  <a:pt x="8459" y="88239"/>
                  <a:pt x="8093" y="45287"/>
                  <a:pt x="8093" y="2390"/>
                </a:cubicBezTo>
                <a:cubicBezTo>
                  <a:pt x="17041" y="-288"/>
                  <a:pt x="58537" y="-913"/>
                  <a:pt x="76429" y="1531"/>
                </a:cubicBezTo>
                <a:cubicBezTo>
                  <a:pt x="79287" y="53276"/>
                  <a:pt x="82219" y="105359"/>
                  <a:pt x="91265" y="157878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53" name="Free-form: Shape 52">
            <a:extLst>
              <a:ext uri="{FF2B5EF4-FFF2-40B4-BE49-F238E27FC236}">
                <a16:creationId xmlns:a16="http://schemas.microsoft.com/office/drawing/2014/main" id="{23F122B6-26E6-EA49-5C03-AAFF87905C62}"/>
              </a:ext>
            </a:extLst>
          </p:cNvPr>
          <p:cNvSpPr/>
          <p:nvPr/>
        </p:nvSpPr>
        <p:spPr>
          <a:xfrm>
            <a:off x="2124994" y="5634871"/>
            <a:ext cx="266675" cy="53060"/>
          </a:xfrm>
          <a:custGeom>
            <a:avLst/>
            <a:gdLst>
              <a:gd name="csX0" fmla="*/ 199184 w 322677"/>
              <a:gd name="csY0" fmla="*/ 59136 h 64202"/>
              <a:gd name="csX1" fmla="*/ 0 w 322677"/>
              <a:gd name="csY1" fmla="*/ 62697 h 64202"/>
              <a:gd name="csX2" fmla="*/ 0 w 322677"/>
              <a:gd name="csY2" fmla="*/ 18400 h 64202"/>
              <a:gd name="csX3" fmla="*/ 10601 w 322677"/>
              <a:gd name="csY3" fmla="*/ 17750 h 64202"/>
              <a:gd name="csX4" fmla="*/ 156563 w 322677"/>
              <a:gd name="csY4" fmla="*/ 15074 h 64202"/>
              <a:gd name="csX5" fmla="*/ 266479 w 322677"/>
              <a:gd name="csY5" fmla="*/ 4814 h 64202"/>
              <a:gd name="csX6" fmla="*/ 296798 w 322677"/>
              <a:gd name="csY6" fmla="*/ 344 h 64202"/>
              <a:gd name="csX7" fmla="*/ 309983 w 322677"/>
              <a:gd name="csY7" fmla="*/ 6097 h 64202"/>
              <a:gd name="csX8" fmla="*/ 322678 w 322677"/>
              <a:gd name="csY8" fmla="*/ 40406 h 64202"/>
              <a:gd name="csX9" fmla="*/ 199184 w 322677"/>
              <a:gd name="csY9" fmla="*/ 59136 h 6420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322677" h="64202">
                <a:moveTo>
                  <a:pt x="199184" y="59136"/>
                </a:moveTo>
                <a:cubicBezTo>
                  <a:pt x="132374" y="65824"/>
                  <a:pt x="66629" y="64605"/>
                  <a:pt x="0" y="62697"/>
                </a:cubicBezTo>
                <a:cubicBezTo>
                  <a:pt x="0" y="47160"/>
                  <a:pt x="0" y="33409"/>
                  <a:pt x="0" y="18400"/>
                </a:cubicBezTo>
                <a:cubicBezTo>
                  <a:pt x="3587" y="18160"/>
                  <a:pt x="7120" y="17536"/>
                  <a:pt x="10601" y="17750"/>
                </a:cubicBezTo>
                <a:cubicBezTo>
                  <a:pt x="59329" y="20736"/>
                  <a:pt x="107987" y="18533"/>
                  <a:pt x="156563" y="15074"/>
                </a:cubicBezTo>
                <a:cubicBezTo>
                  <a:pt x="193260" y="12461"/>
                  <a:pt x="229860" y="8449"/>
                  <a:pt x="266479" y="4814"/>
                </a:cubicBezTo>
                <a:cubicBezTo>
                  <a:pt x="276635" y="3806"/>
                  <a:pt x="286748" y="2160"/>
                  <a:pt x="296798" y="344"/>
                </a:cubicBezTo>
                <a:cubicBezTo>
                  <a:pt x="302773" y="-735"/>
                  <a:pt x="306536" y="602"/>
                  <a:pt x="309983" y="6097"/>
                </a:cubicBezTo>
                <a:cubicBezTo>
                  <a:pt x="316405" y="16331"/>
                  <a:pt x="320231" y="27243"/>
                  <a:pt x="322678" y="40406"/>
                </a:cubicBezTo>
                <a:cubicBezTo>
                  <a:pt x="281944" y="49611"/>
                  <a:pt x="241309" y="55431"/>
                  <a:pt x="199184" y="59136"/>
                </a:cubicBezTo>
                <a:close/>
              </a:path>
            </a:pathLst>
          </a:custGeom>
          <a:solidFill>
            <a:schemeClr val="bg1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endParaRPr lang="en-GB" dirty="0"/>
          </a:p>
        </p:txBody>
      </p:sp>
      <p:sp>
        <p:nvSpPr>
          <p:cNvPr id="54" name="Arrow: Striped Right 53">
            <a:extLst>
              <a:ext uri="{FF2B5EF4-FFF2-40B4-BE49-F238E27FC236}">
                <a16:creationId xmlns:a16="http://schemas.microsoft.com/office/drawing/2014/main" id="{C05E1FF6-617F-9FBB-AB30-2E120F5819FE}"/>
              </a:ext>
            </a:extLst>
          </p:cNvPr>
          <p:cNvSpPr/>
          <p:nvPr/>
        </p:nvSpPr>
        <p:spPr>
          <a:xfrm rot="482918" flipH="1">
            <a:off x="4846447" y="5058596"/>
            <a:ext cx="1093848" cy="505039"/>
          </a:xfrm>
          <a:prstGeom prst="stripedRightArrow">
            <a:avLst>
              <a:gd name="adj1" fmla="val 65512"/>
              <a:gd name="adj2" fmla="val 50000"/>
            </a:avLst>
          </a:prstGeom>
          <a:solidFill>
            <a:srgbClr val="2C5E77"/>
          </a:solidFill>
          <a:ln>
            <a:noFill/>
          </a:ln>
          <a:scene3d>
            <a:camera prst="isometricOffAxis1Top"/>
            <a:lightRig rig="threePt" dir="t"/>
          </a:scene3d>
          <a:sp3d prstMaterial="matte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cene3d>
              <a:camera prst="isometricOffAxis2Top"/>
              <a:lightRig rig="threePt" dir="t"/>
            </a:scene3d>
          </a:bodyPr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4048017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9375D1A-8905-DBCF-294E-8712E282D2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024B12-4FF1-C69A-FE08-3332DE7C04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>
                <a:latin typeface="Aptos"/>
              </a:rPr>
              <a:t>DLBCL is a common and aggressive lymphoma, with a high burden of disease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5DE09BF-722A-52A2-DE04-A6F4A7E4BEC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70645" y="6012065"/>
            <a:ext cx="10440000" cy="707885"/>
          </a:xfrm>
        </p:spPr>
        <p:txBody>
          <a:bodyPr/>
          <a:lstStyle/>
          <a:p>
            <a:r>
              <a:rPr lang="en-GB"/>
              <a:t>*Voronoi chart represents the percentages for B- and T-cell derived NHL; T-cell derived types are not distinguished (shown in light grey).</a:t>
            </a:r>
            <a:r>
              <a:rPr lang="en-GB" baseline="30000"/>
              <a:t>2</a:t>
            </a:r>
            <a:br>
              <a:rPr lang="en-GB"/>
            </a:br>
            <a:r>
              <a:rPr lang="en-GB"/>
              <a:t>1L, first line; BL, Burkitt lymphoma; CLL, chronic lymphocytic leukaemia; DLBCL, diffuse large B-cell lymphoma; FL, follicular lymphoma; LPL, lymphoplasmacytic lymphoma; MALT, mucosa-associated lymphoid tissue lymphomas; MCL, mantle cell lymphoma; MZL, marginal zone lymphoma; NHL, non-Hodgkin lymphoma; NMZL, nodal marginal zone lymphoma; R-CHOP, rituximab, cyclophosphamide, doxorubicin, vincristine and prednisolone; SLL, small-cell lymphocytic lymphoma.</a:t>
            </a:r>
            <a:br>
              <a:rPr lang="en-GB"/>
            </a:br>
            <a:r>
              <a:rPr lang="en-GB" b="1"/>
              <a:t>1.</a:t>
            </a:r>
            <a:r>
              <a:rPr lang="en-GB"/>
              <a:t> Ma et al. </a:t>
            </a:r>
            <a:r>
              <a:rPr lang="en-GB" i="1" err="1"/>
              <a:t>Haematologica</a:t>
            </a:r>
            <a:r>
              <a:rPr lang="en-GB"/>
              <a:t> 2022 </a:t>
            </a:r>
            <a:r>
              <a:rPr lang="en-GB" b="1"/>
              <a:t>2. </a:t>
            </a:r>
            <a:r>
              <a:rPr lang="en-GB" err="1"/>
              <a:t>Leukemia</a:t>
            </a:r>
            <a:r>
              <a:rPr lang="en-GB"/>
              <a:t> and Lymphoma Society 2024 </a:t>
            </a:r>
            <a:r>
              <a:rPr lang="en-GB" b="1"/>
              <a:t>3.</a:t>
            </a:r>
            <a:r>
              <a:rPr lang="en-GB"/>
              <a:t> Sehn &amp; Salles </a:t>
            </a:r>
            <a:r>
              <a:rPr lang="en-GB" i="1"/>
              <a:t>N Engl J Med</a:t>
            </a:r>
            <a:r>
              <a:rPr lang="en-GB"/>
              <a:t> 2021 </a:t>
            </a:r>
            <a:r>
              <a:rPr lang="en-GB" b="1"/>
              <a:t>4. </a:t>
            </a:r>
            <a:r>
              <a:rPr lang="en-GB" err="1"/>
              <a:t>Coiffier</a:t>
            </a:r>
            <a:r>
              <a:rPr lang="en-GB"/>
              <a:t> et al. </a:t>
            </a:r>
            <a:r>
              <a:rPr lang="en-GB" i="1"/>
              <a:t>N Engl J Med </a:t>
            </a:r>
            <a:r>
              <a:rPr lang="en-GB"/>
              <a:t>2002.</a:t>
            </a:r>
            <a:endParaRPr lang="en-GB" b="1"/>
          </a:p>
        </p:txBody>
      </p:sp>
      <p:sp>
        <p:nvSpPr>
          <p:cNvPr id="235" name="Content Placeholder 6">
            <a:extLst>
              <a:ext uri="{FF2B5EF4-FFF2-40B4-BE49-F238E27FC236}">
                <a16:creationId xmlns:a16="http://schemas.microsoft.com/office/drawing/2014/main" id="{CB646F7B-9B54-31B0-7502-96D5647525EB}"/>
              </a:ext>
            </a:extLst>
          </p:cNvPr>
          <p:cNvSpPr txBox="1">
            <a:spLocks/>
          </p:cNvSpPr>
          <p:nvPr/>
        </p:nvSpPr>
        <p:spPr>
          <a:xfrm>
            <a:off x="9339691" y="3939399"/>
            <a:ext cx="2159959" cy="500889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Autofit/>
          </a:bodyPr>
          <a:lstStyle>
            <a:lvl1pPr marL="182563" indent="-182563" algn="l" defTabSz="914400" rtl="0" eaLnBrk="1" latinLnBrk="0" hangingPunct="1">
              <a:lnSpc>
                <a:spcPct val="90000"/>
              </a:lnSpc>
              <a:spcBef>
                <a:spcPts val="800"/>
              </a:spcBef>
              <a:spcAft>
                <a:spcPts val="8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5600" indent="-17303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539750" indent="-18415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722313" indent="-18256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895350" indent="-17303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elapse (20–25% )</a:t>
            </a:r>
            <a:b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efractory (10–15%) </a:t>
            </a:r>
          </a:p>
        </p:txBody>
      </p:sp>
      <p:sp>
        <p:nvSpPr>
          <p:cNvPr id="236" name="Content Placeholder 6">
            <a:extLst>
              <a:ext uri="{FF2B5EF4-FFF2-40B4-BE49-F238E27FC236}">
                <a16:creationId xmlns:a16="http://schemas.microsoft.com/office/drawing/2014/main" id="{A69D9877-4698-0A55-6317-6FD9B7B59CB0}"/>
              </a:ext>
            </a:extLst>
          </p:cNvPr>
          <p:cNvSpPr txBox="1">
            <a:spLocks/>
          </p:cNvSpPr>
          <p:nvPr/>
        </p:nvSpPr>
        <p:spPr>
          <a:xfrm>
            <a:off x="6376520" y="4030980"/>
            <a:ext cx="2873704" cy="317726"/>
          </a:xfrm>
          <a:prstGeom prst="roundRect">
            <a:avLst>
              <a:gd name="adj" fmla="val 0"/>
            </a:avLst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Autofit/>
          </a:bodyPr>
          <a:lstStyle>
            <a:lvl1pPr marL="182563" indent="-182563" algn="l" defTabSz="914400" rtl="0" eaLnBrk="1" latinLnBrk="0" hangingPunct="1">
              <a:lnSpc>
                <a:spcPct val="90000"/>
              </a:lnSpc>
              <a:spcBef>
                <a:spcPts val="800"/>
              </a:spcBef>
              <a:spcAft>
                <a:spcPts val="8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5600" indent="-17303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539750" indent="-18415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722313" indent="-18256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895350" indent="-17303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emission (&gt;60%)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A4FF0107-A937-4094-2C54-1AA09D2AB74F}"/>
              </a:ext>
            </a:extLst>
          </p:cNvPr>
          <p:cNvSpPr/>
          <p:nvPr/>
        </p:nvSpPr>
        <p:spPr>
          <a:xfrm>
            <a:off x="6286500" y="1283216"/>
            <a:ext cx="5213150" cy="707886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 substantial proportion of DLBCL patients </a:t>
            </a:r>
            <a:b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re </a:t>
            </a: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ot cured with 1L R-CHOP</a:t>
            </a:r>
            <a:r>
              <a:rPr kumimoji="0" lang="en-GB" sz="2000" b="1" i="0" u="none" strike="noStrike" kern="1200" cap="none" spc="0" normalizeH="0" baseline="3000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3,4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7D6A0D0-9649-134D-BA8C-A11EB1A5CCDD}"/>
              </a:ext>
            </a:extLst>
          </p:cNvPr>
          <p:cNvSpPr txBox="1"/>
          <p:nvPr/>
        </p:nvSpPr>
        <p:spPr>
          <a:xfrm>
            <a:off x="634946" y="1321771"/>
            <a:ext cx="5374219" cy="630776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sv-SE"/>
            </a:defPPr>
            <a:lvl1pPr algn="ctr">
              <a:defRPr sz="2000">
                <a:solidFill>
                  <a:schemeClr val="tx2"/>
                </a:solidFill>
                <a:latin typeface="Aptos" panose="02110004020202020204"/>
              </a:defRPr>
            </a:lvl1pPr>
            <a:lvl2pPr marL="355600" indent="-173038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>
                <a:solidFill>
                  <a:schemeClr val="lt1"/>
                </a:solidFill>
              </a:defRPr>
            </a:lvl2pPr>
            <a:lvl3pPr marL="539750" indent="-18415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600">
                <a:solidFill>
                  <a:schemeClr val="lt1"/>
                </a:solidFill>
              </a:defRPr>
            </a:lvl3pPr>
            <a:lvl4pPr marL="722313" indent="-182563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400">
                <a:solidFill>
                  <a:schemeClr val="lt1"/>
                </a:solidFill>
              </a:defRPr>
            </a:lvl4pPr>
            <a:lvl5pPr marL="895350" indent="-173038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400">
                <a:solidFill>
                  <a:schemeClr val="lt1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lt1"/>
                </a:solidFill>
              </a:defRPr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lt1"/>
                </a:solidFill>
              </a:defRPr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lt1"/>
                </a:solidFill>
              </a:defRPr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LBCL is the </a:t>
            </a: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most common </a:t>
            </a:r>
            <a:b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B-cell lymphoma 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ubtype</a:t>
            </a:r>
            <a:r>
              <a:rPr kumimoji="0" lang="en-GB" sz="2000" b="0" i="0" u="none" strike="noStrike" kern="1200" cap="none" spc="0" normalizeH="0" baseline="3000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,2,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*</a:t>
            </a:r>
          </a:p>
        </p:txBody>
      </p:sp>
      <p:sp>
        <p:nvSpPr>
          <p:cNvPr id="7" name="Free-form: Shape 6">
            <a:extLst>
              <a:ext uri="{FF2B5EF4-FFF2-40B4-BE49-F238E27FC236}">
                <a16:creationId xmlns:a16="http://schemas.microsoft.com/office/drawing/2014/main" id="{00C9CA38-3ED1-59E5-529E-40873347D209}"/>
              </a:ext>
            </a:extLst>
          </p:cNvPr>
          <p:cNvSpPr/>
          <p:nvPr/>
        </p:nvSpPr>
        <p:spPr>
          <a:xfrm>
            <a:off x="1978781" y="3790569"/>
            <a:ext cx="1912660" cy="1913538"/>
          </a:xfrm>
          <a:custGeom>
            <a:avLst/>
            <a:gdLst>
              <a:gd name="csX0" fmla="*/ 820105 w 1912660"/>
              <a:gd name="csY0" fmla="*/ 375 h 1913538"/>
              <a:gd name="csX1" fmla="*/ 452940 w 1912660"/>
              <a:gd name="csY1" fmla="*/ 169852 h 1913538"/>
              <a:gd name="csX2" fmla="*/ 60497 w 1912660"/>
              <a:gd name="csY2" fmla="*/ 650324 h 1913538"/>
              <a:gd name="csX3" fmla="*/ 375 w 1912660"/>
              <a:gd name="csY3" fmla="*/ 981698 h 1913538"/>
              <a:gd name="csX4" fmla="*/ 107113 w 1912660"/>
              <a:gd name="csY4" fmla="*/ 1532516 h 1913538"/>
              <a:gd name="csX5" fmla="*/ 174702 w 1912660"/>
              <a:gd name="csY5" fmla="*/ 1585799 h 1913538"/>
              <a:gd name="csX6" fmla="*/ 286867 w 1912660"/>
              <a:gd name="csY6" fmla="*/ 1660745 h 1913538"/>
              <a:gd name="csX7" fmla="*/ 404565 w 1912660"/>
              <a:gd name="csY7" fmla="*/ 1726659 h 1913538"/>
              <a:gd name="csX8" fmla="*/ 527073 w 1912660"/>
              <a:gd name="csY8" fmla="*/ 1783136 h 1913538"/>
              <a:gd name="csX9" fmla="*/ 653634 w 1912660"/>
              <a:gd name="csY9" fmla="*/ 1829827 h 1913538"/>
              <a:gd name="csX10" fmla="*/ 783468 w 1912660"/>
              <a:gd name="csY10" fmla="*/ 1866444 h 1913538"/>
              <a:gd name="csX11" fmla="*/ 915775 w 1912660"/>
              <a:gd name="csY11" fmla="*/ 1892761 h 1913538"/>
              <a:gd name="csX12" fmla="*/ 1049739 w 1912660"/>
              <a:gd name="csY12" fmla="*/ 1908617 h 1913538"/>
              <a:gd name="csX13" fmla="*/ 1184534 w 1912660"/>
              <a:gd name="csY13" fmla="*/ 1913913 h 1913538"/>
              <a:gd name="csX14" fmla="*/ 1319329 w 1912660"/>
              <a:gd name="csY14" fmla="*/ 1908617 h 1913538"/>
              <a:gd name="csX15" fmla="*/ 1453293 w 1912660"/>
              <a:gd name="csY15" fmla="*/ 1892761 h 1913538"/>
              <a:gd name="csX16" fmla="*/ 1585600 w 1912660"/>
              <a:gd name="csY16" fmla="*/ 1866444 h 1913538"/>
              <a:gd name="csX17" fmla="*/ 1660535 w 1912660"/>
              <a:gd name="csY17" fmla="*/ 1845310 h 1913538"/>
              <a:gd name="csX18" fmla="*/ 1913035 w 1912660"/>
              <a:gd name="csY18" fmla="*/ 1406734 h 1913538"/>
              <a:gd name="csX19" fmla="*/ 1495079 w 1912660"/>
              <a:gd name="csY19" fmla="*/ 123756 h 191353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</a:cxnLst>
            <a:rect l="l" t="t" r="r" b="b"/>
            <a:pathLst>
              <a:path w="1912660" h="1913538">
                <a:moveTo>
                  <a:pt x="820105" y="375"/>
                </a:moveTo>
                <a:lnTo>
                  <a:pt x="452940" y="169852"/>
                </a:lnTo>
                <a:lnTo>
                  <a:pt x="60497" y="650324"/>
                </a:lnTo>
                <a:lnTo>
                  <a:pt x="375" y="981698"/>
                </a:lnTo>
                <a:lnTo>
                  <a:pt x="107113" y="1532516"/>
                </a:lnTo>
                <a:lnTo>
                  <a:pt x="174702" y="1585799"/>
                </a:lnTo>
                <a:lnTo>
                  <a:pt x="286867" y="1660745"/>
                </a:lnTo>
                <a:lnTo>
                  <a:pt x="404565" y="1726659"/>
                </a:lnTo>
                <a:lnTo>
                  <a:pt x="527073" y="1783136"/>
                </a:lnTo>
                <a:lnTo>
                  <a:pt x="653634" y="1829827"/>
                </a:lnTo>
                <a:lnTo>
                  <a:pt x="783468" y="1866444"/>
                </a:lnTo>
                <a:lnTo>
                  <a:pt x="915775" y="1892761"/>
                </a:lnTo>
                <a:lnTo>
                  <a:pt x="1049739" y="1908617"/>
                </a:lnTo>
                <a:lnTo>
                  <a:pt x="1184534" y="1913913"/>
                </a:lnTo>
                <a:lnTo>
                  <a:pt x="1319329" y="1908617"/>
                </a:lnTo>
                <a:lnTo>
                  <a:pt x="1453293" y="1892761"/>
                </a:lnTo>
                <a:lnTo>
                  <a:pt x="1585600" y="1866444"/>
                </a:lnTo>
                <a:lnTo>
                  <a:pt x="1660535" y="1845310"/>
                </a:lnTo>
                <a:lnTo>
                  <a:pt x="1913035" y="1406734"/>
                </a:lnTo>
                <a:lnTo>
                  <a:pt x="1495079" y="123756"/>
                </a:lnTo>
                <a:close/>
              </a:path>
            </a:pathLst>
          </a:custGeom>
          <a:solidFill>
            <a:srgbClr val="192C3A"/>
          </a:solidFill>
          <a:ln w="14707" cap="flat">
            <a:solidFill>
              <a:srgbClr val="FFFFFF"/>
            </a:solidFill>
            <a:prstDash val="solid"/>
            <a:miter/>
          </a:ln>
        </p:spPr>
        <p:txBody>
          <a:bodyPr lIns="0" tIns="0" rIns="0" bIns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" name="Free-form: Shape 7">
            <a:extLst>
              <a:ext uri="{FF2B5EF4-FFF2-40B4-BE49-F238E27FC236}">
                <a16:creationId xmlns:a16="http://schemas.microsoft.com/office/drawing/2014/main" id="{2DF1A748-2509-F675-B46D-C3A6EF55DEF7}"/>
              </a:ext>
            </a:extLst>
          </p:cNvPr>
          <p:cNvSpPr/>
          <p:nvPr/>
        </p:nvSpPr>
        <p:spPr>
          <a:xfrm>
            <a:off x="2449517" y="2268049"/>
            <a:ext cx="1592007" cy="1645901"/>
          </a:xfrm>
          <a:custGeom>
            <a:avLst/>
            <a:gdLst>
              <a:gd name="csX0" fmla="*/ 349369 w 1592007"/>
              <a:gd name="csY0" fmla="*/ 1522895 h 1645901"/>
              <a:gd name="csX1" fmla="*/ 1024343 w 1592007"/>
              <a:gd name="csY1" fmla="*/ 1646276 h 1645901"/>
              <a:gd name="csX2" fmla="*/ 1399101 w 1592007"/>
              <a:gd name="csY2" fmla="*/ 1387795 h 1645901"/>
              <a:gd name="csX3" fmla="*/ 1592382 w 1592007"/>
              <a:gd name="csY3" fmla="*/ 242856 h 1645901"/>
              <a:gd name="csX4" fmla="*/ 1493767 w 1592007"/>
              <a:gd name="csY4" fmla="*/ 187629 h 1645901"/>
              <a:gd name="csX5" fmla="*/ 1371260 w 1592007"/>
              <a:gd name="csY5" fmla="*/ 131152 h 1645901"/>
              <a:gd name="csX6" fmla="*/ 1244699 w 1592007"/>
              <a:gd name="csY6" fmla="*/ 84461 h 1645901"/>
              <a:gd name="csX7" fmla="*/ 1114864 w 1592007"/>
              <a:gd name="csY7" fmla="*/ 47844 h 1645901"/>
              <a:gd name="csX8" fmla="*/ 982557 w 1592007"/>
              <a:gd name="csY8" fmla="*/ 21527 h 1645901"/>
              <a:gd name="csX9" fmla="*/ 848593 w 1592007"/>
              <a:gd name="csY9" fmla="*/ 5671 h 1645901"/>
              <a:gd name="csX10" fmla="*/ 713798 w 1592007"/>
              <a:gd name="csY10" fmla="*/ 375 h 1645901"/>
              <a:gd name="csX11" fmla="*/ 579003 w 1592007"/>
              <a:gd name="csY11" fmla="*/ 5671 h 1645901"/>
              <a:gd name="csX12" fmla="*/ 445039 w 1592007"/>
              <a:gd name="csY12" fmla="*/ 21527 h 1645901"/>
              <a:gd name="csX13" fmla="*/ 312732 w 1592007"/>
              <a:gd name="csY13" fmla="*/ 47844 h 1645901"/>
              <a:gd name="csX14" fmla="*/ 182898 w 1592007"/>
              <a:gd name="csY14" fmla="*/ 84461 h 1645901"/>
              <a:gd name="csX15" fmla="*/ 137656 w 1592007"/>
              <a:gd name="csY15" fmla="*/ 101152 h 1645901"/>
              <a:gd name="csX16" fmla="*/ 375 w 1592007"/>
              <a:gd name="csY16" fmla="*/ 682192 h 164590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</a:cxnLst>
            <a:rect l="l" t="t" r="r" b="b"/>
            <a:pathLst>
              <a:path w="1592007" h="1645901">
                <a:moveTo>
                  <a:pt x="349369" y="1522895"/>
                </a:moveTo>
                <a:lnTo>
                  <a:pt x="1024343" y="1646276"/>
                </a:lnTo>
                <a:lnTo>
                  <a:pt x="1399101" y="1387795"/>
                </a:lnTo>
                <a:lnTo>
                  <a:pt x="1592382" y="242856"/>
                </a:lnTo>
                <a:lnTo>
                  <a:pt x="1493767" y="187629"/>
                </a:lnTo>
                <a:lnTo>
                  <a:pt x="1371260" y="131152"/>
                </a:lnTo>
                <a:lnTo>
                  <a:pt x="1244699" y="84461"/>
                </a:lnTo>
                <a:lnTo>
                  <a:pt x="1114864" y="47844"/>
                </a:lnTo>
                <a:lnTo>
                  <a:pt x="982557" y="21527"/>
                </a:lnTo>
                <a:lnTo>
                  <a:pt x="848593" y="5671"/>
                </a:lnTo>
                <a:lnTo>
                  <a:pt x="713798" y="375"/>
                </a:lnTo>
                <a:lnTo>
                  <a:pt x="579003" y="5671"/>
                </a:lnTo>
                <a:lnTo>
                  <a:pt x="445039" y="21527"/>
                </a:lnTo>
                <a:lnTo>
                  <a:pt x="312732" y="47844"/>
                </a:lnTo>
                <a:lnTo>
                  <a:pt x="182898" y="84461"/>
                </a:lnTo>
                <a:lnTo>
                  <a:pt x="137656" y="101152"/>
                </a:lnTo>
                <a:lnTo>
                  <a:pt x="375" y="682192"/>
                </a:lnTo>
                <a:close/>
              </a:path>
            </a:pathLst>
          </a:custGeom>
          <a:solidFill>
            <a:srgbClr val="234255"/>
          </a:solidFill>
          <a:ln w="14707" cap="flat">
            <a:solidFill>
              <a:srgbClr val="FFFFFF"/>
            </a:solidFill>
            <a:prstDash val="solid"/>
            <a:miter/>
          </a:ln>
        </p:spPr>
        <p:txBody>
          <a:bodyPr lIns="0" tIns="0" rIns="0" bIns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" name="Free-form: Shape 8">
            <a:extLst>
              <a:ext uri="{FF2B5EF4-FFF2-40B4-BE49-F238E27FC236}">
                <a16:creationId xmlns:a16="http://schemas.microsoft.com/office/drawing/2014/main" id="{A1514122-F0D6-5069-F643-4680A54EABA2}"/>
              </a:ext>
            </a:extLst>
          </p:cNvPr>
          <p:cNvSpPr/>
          <p:nvPr/>
        </p:nvSpPr>
        <p:spPr>
          <a:xfrm>
            <a:off x="3473485" y="3655469"/>
            <a:ext cx="1404939" cy="1636466"/>
          </a:xfrm>
          <a:custGeom>
            <a:avLst/>
            <a:gdLst>
              <a:gd name="csX0" fmla="*/ 904661 w 1404939"/>
              <a:gd name="csY0" fmla="*/ 1545814 h 1636466"/>
              <a:gd name="csX1" fmla="*/ 996230 w 1404939"/>
              <a:gd name="csY1" fmla="*/ 1446755 h 1636466"/>
              <a:gd name="csX2" fmla="*/ 1079745 w 1404939"/>
              <a:gd name="csY2" fmla="*/ 1340816 h 1636466"/>
              <a:gd name="csX3" fmla="*/ 1154691 w 1404939"/>
              <a:gd name="csY3" fmla="*/ 1228652 h 1636466"/>
              <a:gd name="csX4" fmla="*/ 1220606 w 1404939"/>
              <a:gd name="csY4" fmla="*/ 1110953 h 1636466"/>
              <a:gd name="csX5" fmla="*/ 1277083 w 1404939"/>
              <a:gd name="csY5" fmla="*/ 988445 h 1636466"/>
              <a:gd name="csX6" fmla="*/ 1323773 w 1404939"/>
              <a:gd name="csY6" fmla="*/ 861884 h 1636466"/>
              <a:gd name="csX7" fmla="*/ 1360390 w 1404939"/>
              <a:gd name="csY7" fmla="*/ 732050 h 1636466"/>
              <a:gd name="csX8" fmla="*/ 1386708 w 1404939"/>
              <a:gd name="csY8" fmla="*/ 599743 h 1636466"/>
              <a:gd name="csX9" fmla="*/ 1402564 w 1404939"/>
              <a:gd name="csY9" fmla="*/ 465779 h 1636466"/>
              <a:gd name="csX10" fmla="*/ 1405314 w 1404939"/>
              <a:gd name="csY10" fmla="*/ 395772 h 1636466"/>
              <a:gd name="csX11" fmla="*/ 881881 w 1404939"/>
              <a:gd name="csY11" fmla="*/ 26913 h 1636466"/>
              <a:gd name="csX12" fmla="*/ 375133 w 1404939"/>
              <a:gd name="csY12" fmla="*/ 375 h 1636466"/>
              <a:gd name="csX13" fmla="*/ 375 w 1404939"/>
              <a:gd name="csY13" fmla="*/ 258856 h 1636466"/>
              <a:gd name="csX14" fmla="*/ 418332 w 1404939"/>
              <a:gd name="csY14" fmla="*/ 1541834 h 1636466"/>
              <a:gd name="csX15" fmla="*/ 806188 w 1404939"/>
              <a:gd name="csY15" fmla="*/ 1636841 h 163646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</a:cxnLst>
            <a:rect l="l" t="t" r="r" b="b"/>
            <a:pathLst>
              <a:path w="1404939" h="1636466">
                <a:moveTo>
                  <a:pt x="904661" y="1545814"/>
                </a:moveTo>
                <a:lnTo>
                  <a:pt x="996230" y="1446755"/>
                </a:lnTo>
                <a:lnTo>
                  <a:pt x="1079745" y="1340816"/>
                </a:lnTo>
                <a:lnTo>
                  <a:pt x="1154691" y="1228652"/>
                </a:lnTo>
                <a:lnTo>
                  <a:pt x="1220606" y="1110953"/>
                </a:lnTo>
                <a:lnTo>
                  <a:pt x="1277083" y="988445"/>
                </a:lnTo>
                <a:lnTo>
                  <a:pt x="1323773" y="861884"/>
                </a:lnTo>
                <a:lnTo>
                  <a:pt x="1360390" y="732050"/>
                </a:lnTo>
                <a:lnTo>
                  <a:pt x="1386708" y="599743"/>
                </a:lnTo>
                <a:lnTo>
                  <a:pt x="1402564" y="465779"/>
                </a:lnTo>
                <a:lnTo>
                  <a:pt x="1405314" y="395772"/>
                </a:lnTo>
                <a:lnTo>
                  <a:pt x="881881" y="26913"/>
                </a:lnTo>
                <a:lnTo>
                  <a:pt x="375133" y="375"/>
                </a:lnTo>
                <a:lnTo>
                  <a:pt x="375" y="258856"/>
                </a:lnTo>
                <a:lnTo>
                  <a:pt x="418332" y="1541834"/>
                </a:lnTo>
                <a:lnTo>
                  <a:pt x="806188" y="1636841"/>
                </a:lnTo>
                <a:close/>
              </a:path>
            </a:pathLst>
          </a:custGeom>
          <a:solidFill>
            <a:srgbClr val="ECECEC"/>
          </a:solidFill>
          <a:ln w="14707" cap="flat">
            <a:solidFill>
              <a:srgbClr val="FFFFFF"/>
            </a:solidFill>
            <a:prstDash val="solid"/>
            <a:miter/>
          </a:ln>
        </p:spPr>
        <p:txBody>
          <a:bodyPr lIns="0" tIns="0" rIns="0" bIns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" name="Free-form: Shape 9">
            <a:extLst>
              <a:ext uri="{FF2B5EF4-FFF2-40B4-BE49-F238E27FC236}">
                <a16:creationId xmlns:a16="http://schemas.microsoft.com/office/drawing/2014/main" id="{580B7461-F5E5-D888-41E6-9F0747CABBA0}"/>
              </a:ext>
            </a:extLst>
          </p:cNvPr>
          <p:cNvSpPr/>
          <p:nvPr/>
        </p:nvSpPr>
        <p:spPr>
          <a:xfrm>
            <a:off x="1444912" y="3203758"/>
            <a:ext cx="986435" cy="1236759"/>
          </a:xfrm>
          <a:custGeom>
            <a:avLst/>
            <a:gdLst>
              <a:gd name="csX0" fmla="*/ 187629 w 986435"/>
              <a:gd name="csY0" fmla="*/ 2726 h 1236759"/>
              <a:gd name="csX1" fmla="*/ 131152 w 986435"/>
              <a:gd name="csY1" fmla="*/ 125234 h 1236759"/>
              <a:gd name="csX2" fmla="*/ 84461 w 986435"/>
              <a:gd name="csY2" fmla="*/ 251795 h 1236759"/>
              <a:gd name="csX3" fmla="*/ 47844 w 986435"/>
              <a:gd name="csY3" fmla="*/ 381629 h 1236759"/>
              <a:gd name="csX4" fmla="*/ 21527 w 986435"/>
              <a:gd name="csY4" fmla="*/ 513936 h 1236759"/>
              <a:gd name="csX5" fmla="*/ 5671 w 986435"/>
              <a:gd name="csY5" fmla="*/ 647900 h 1236759"/>
              <a:gd name="csX6" fmla="*/ 375 w 986435"/>
              <a:gd name="csY6" fmla="*/ 782695 h 1236759"/>
              <a:gd name="csX7" fmla="*/ 5671 w 986435"/>
              <a:gd name="csY7" fmla="*/ 917490 h 1236759"/>
              <a:gd name="csX8" fmla="*/ 21527 w 986435"/>
              <a:gd name="csY8" fmla="*/ 1051454 h 1236759"/>
              <a:gd name="csX9" fmla="*/ 47844 w 986435"/>
              <a:gd name="csY9" fmla="*/ 1183761 h 1236759"/>
              <a:gd name="csX10" fmla="*/ 50705 w 986435"/>
              <a:gd name="csY10" fmla="*/ 1193906 h 1236759"/>
              <a:gd name="csX11" fmla="*/ 594367 w 986435"/>
              <a:gd name="csY11" fmla="*/ 1237135 h 1236759"/>
              <a:gd name="csX12" fmla="*/ 986810 w 986435"/>
              <a:gd name="csY12" fmla="*/ 756663 h 1236759"/>
              <a:gd name="csX13" fmla="*/ 188946 w 986435"/>
              <a:gd name="csY13" fmla="*/ 375 h 123675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</a:cxnLst>
            <a:rect l="l" t="t" r="r" b="b"/>
            <a:pathLst>
              <a:path w="986435" h="1236759">
                <a:moveTo>
                  <a:pt x="187629" y="2726"/>
                </a:moveTo>
                <a:lnTo>
                  <a:pt x="131152" y="125234"/>
                </a:lnTo>
                <a:lnTo>
                  <a:pt x="84461" y="251795"/>
                </a:lnTo>
                <a:lnTo>
                  <a:pt x="47844" y="381629"/>
                </a:lnTo>
                <a:lnTo>
                  <a:pt x="21527" y="513936"/>
                </a:lnTo>
                <a:lnTo>
                  <a:pt x="5671" y="647900"/>
                </a:lnTo>
                <a:lnTo>
                  <a:pt x="375" y="782695"/>
                </a:lnTo>
                <a:lnTo>
                  <a:pt x="5671" y="917490"/>
                </a:lnTo>
                <a:lnTo>
                  <a:pt x="21527" y="1051454"/>
                </a:lnTo>
                <a:lnTo>
                  <a:pt x="47844" y="1183761"/>
                </a:lnTo>
                <a:lnTo>
                  <a:pt x="50705" y="1193906"/>
                </a:lnTo>
                <a:lnTo>
                  <a:pt x="594367" y="1237135"/>
                </a:lnTo>
                <a:lnTo>
                  <a:pt x="986810" y="756663"/>
                </a:lnTo>
                <a:lnTo>
                  <a:pt x="188946" y="375"/>
                </a:lnTo>
                <a:close/>
              </a:path>
            </a:pathLst>
          </a:custGeom>
          <a:solidFill>
            <a:srgbClr val="315A72"/>
          </a:solidFill>
          <a:ln w="14707" cap="flat">
            <a:solidFill>
              <a:srgbClr val="FFFFFF"/>
            </a:solidFill>
            <a:prstDash val="solid"/>
            <a:miter/>
          </a:ln>
        </p:spPr>
        <p:txBody>
          <a:bodyPr lIns="0" tIns="0" rIns="0" bIns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" name="Free-form: Shape 10">
            <a:extLst>
              <a:ext uri="{FF2B5EF4-FFF2-40B4-BE49-F238E27FC236}">
                <a16:creationId xmlns:a16="http://schemas.microsoft.com/office/drawing/2014/main" id="{BD39DB2B-2DEA-5315-E080-66360F7222CF}"/>
              </a:ext>
            </a:extLst>
          </p:cNvPr>
          <p:cNvSpPr/>
          <p:nvPr/>
        </p:nvSpPr>
        <p:spPr>
          <a:xfrm>
            <a:off x="3848243" y="2510530"/>
            <a:ext cx="904255" cy="1171476"/>
          </a:xfrm>
          <a:custGeom>
            <a:avLst/>
            <a:gdLst>
              <a:gd name="csX0" fmla="*/ 902325 w 904255"/>
              <a:gd name="csY0" fmla="*/ 818462 h 1171476"/>
              <a:gd name="csX1" fmla="*/ 845848 w 904255"/>
              <a:gd name="csY1" fmla="*/ 695954 h 1171476"/>
              <a:gd name="csX2" fmla="*/ 779933 w 904255"/>
              <a:gd name="csY2" fmla="*/ 578255 h 1171476"/>
              <a:gd name="csX3" fmla="*/ 704987 w 904255"/>
              <a:gd name="csY3" fmla="*/ 466091 h 1171476"/>
              <a:gd name="csX4" fmla="*/ 621472 w 904255"/>
              <a:gd name="csY4" fmla="*/ 360153 h 1171476"/>
              <a:gd name="csX5" fmla="*/ 529903 w 904255"/>
              <a:gd name="csY5" fmla="*/ 261093 h 1171476"/>
              <a:gd name="csX6" fmla="*/ 430843 w 904255"/>
              <a:gd name="csY6" fmla="*/ 169524 h 1171476"/>
              <a:gd name="csX7" fmla="*/ 324905 w 904255"/>
              <a:gd name="csY7" fmla="*/ 86008 h 1171476"/>
              <a:gd name="csX8" fmla="*/ 212740 w 904255"/>
              <a:gd name="csY8" fmla="*/ 11062 h 1171476"/>
              <a:gd name="csX9" fmla="*/ 193656 w 904255"/>
              <a:gd name="csY9" fmla="*/ 375 h 1171476"/>
              <a:gd name="csX10" fmla="*/ 375 w 904255"/>
              <a:gd name="csY10" fmla="*/ 1145314 h 1171476"/>
              <a:gd name="csX11" fmla="*/ 507123 w 904255"/>
              <a:gd name="csY11" fmla="*/ 1171852 h 1171476"/>
              <a:gd name="csX12" fmla="*/ 904631 w 904255"/>
              <a:gd name="csY12" fmla="*/ 824714 h 117147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</a:cxnLst>
            <a:rect l="l" t="t" r="r" b="b"/>
            <a:pathLst>
              <a:path w="904255" h="1171476">
                <a:moveTo>
                  <a:pt x="902325" y="818462"/>
                </a:moveTo>
                <a:lnTo>
                  <a:pt x="845848" y="695954"/>
                </a:lnTo>
                <a:lnTo>
                  <a:pt x="779933" y="578255"/>
                </a:lnTo>
                <a:lnTo>
                  <a:pt x="704987" y="466091"/>
                </a:lnTo>
                <a:lnTo>
                  <a:pt x="621472" y="360153"/>
                </a:lnTo>
                <a:lnTo>
                  <a:pt x="529903" y="261093"/>
                </a:lnTo>
                <a:lnTo>
                  <a:pt x="430843" y="169524"/>
                </a:lnTo>
                <a:lnTo>
                  <a:pt x="324905" y="86008"/>
                </a:lnTo>
                <a:lnTo>
                  <a:pt x="212740" y="11062"/>
                </a:lnTo>
                <a:lnTo>
                  <a:pt x="193656" y="375"/>
                </a:lnTo>
                <a:lnTo>
                  <a:pt x="375" y="1145314"/>
                </a:lnTo>
                <a:lnTo>
                  <a:pt x="507123" y="1171852"/>
                </a:lnTo>
                <a:lnTo>
                  <a:pt x="904631" y="824714"/>
                </a:lnTo>
                <a:close/>
              </a:path>
            </a:pathLst>
          </a:custGeom>
          <a:solidFill>
            <a:srgbClr val="679CBD"/>
          </a:solidFill>
          <a:ln w="14707" cap="flat">
            <a:solidFill>
              <a:srgbClr val="FFFFFF"/>
            </a:solidFill>
            <a:prstDash val="solid"/>
            <a:miter/>
          </a:ln>
        </p:spPr>
        <p:txBody>
          <a:bodyPr lIns="0" tIns="0" rIns="0" bIns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" name="Free-form: Shape 11">
            <a:extLst>
              <a:ext uri="{FF2B5EF4-FFF2-40B4-BE49-F238E27FC236}">
                <a16:creationId xmlns:a16="http://schemas.microsoft.com/office/drawing/2014/main" id="{5DEE15FC-0161-D72A-2994-ED3C4CD04001}"/>
              </a:ext>
            </a:extLst>
          </p:cNvPr>
          <p:cNvSpPr/>
          <p:nvPr/>
        </p:nvSpPr>
        <p:spPr>
          <a:xfrm>
            <a:off x="1633482" y="2949866"/>
            <a:ext cx="1165029" cy="1010179"/>
          </a:xfrm>
          <a:custGeom>
            <a:avLst/>
            <a:gdLst>
              <a:gd name="csX0" fmla="*/ 1165404 w 1165029"/>
              <a:gd name="csY0" fmla="*/ 841078 h 1010179"/>
              <a:gd name="csX1" fmla="*/ 816410 w 1165029"/>
              <a:gd name="csY1" fmla="*/ 375 h 1010179"/>
              <a:gd name="csX2" fmla="*/ 89303 w 1165029"/>
              <a:gd name="csY2" fmla="*/ 102507 h 1010179"/>
              <a:gd name="csX3" fmla="*/ 64973 w 1165029"/>
              <a:gd name="csY3" fmla="*/ 138919 h 1010179"/>
              <a:gd name="csX4" fmla="*/ 375 w 1165029"/>
              <a:gd name="csY4" fmla="*/ 254267 h 1010179"/>
              <a:gd name="csX5" fmla="*/ 798239 w 1165029"/>
              <a:gd name="csY5" fmla="*/ 1010555 h 101017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</a:cxnLst>
            <a:rect l="l" t="t" r="r" b="b"/>
            <a:pathLst>
              <a:path w="1165029" h="1010179">
                <a:moveTo>
                  <a:pt x="1165404" y="841078"/>
                </a:moveTo>
                <a:lnTo>
                  <a:pt x="816410" y="375"/>
                </a:lnTo>
                <a:lnTo>
                  <a:pt x="89303" y="102507"/>
                </a:lnTo>
                <a:lnTo>
                  <a:pt x="64973" y="138919"/>
                </a:lnTo>
                <a:lnTo>
                  <a:pt x="375" y="254267"/>
                </a:lnTo>
                <a:lnTo>
                  <a:pt x="798239" y="1010555"/>
                </a:lnTo>
                <a:close/>
              </a:path>
            </a:pathLst>
          </a:custGeom>
          <a:solidFill>
            <a:srgbClr val="90BED4"/>
          </a:solidFill>
          <a:ln w="14707" cap="flat">
            <a:solidFill>
              <a:srgbClr val="FFFFFF"/>
            </a:solidFill>
            <a:prstDash val="solid"/>
            <a:miter/>
          </a:ln>
        </p:spPr>
        <p:txBody>
          <a:bodyPr lIns="0" tIns="0" rIns="0" bIns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3" name="Free-form: Shape 12">
            <a:extLst>
              <a:ext uri="{FF2B5EF4-FFF2-40B4-BE49-F238E27FC236}">
                <a16:creationId xmlns:a16="http://schemas.microsoft.com/office/drawing/2014/main" id="{54643777-BB6F-A894-5E06-6FDFF05F1EB8}"/>
              </a:ext>
            </a:extLst>
          </p:cNvPr>
          <p:cNvSpPr/>
          <p:nvPr/>
        </p:nvSpPr>
        <p:spPr>
          <a:xfrm>
            <a:off x="1722410" y="2368826"/>
            <a:ext cx="864388" cy="683171"/>
          </a:xfrm>
          <a:custGeom>
            <a:avLst/>
            <a:gdLst>
              <a:gd name="csX0" fmla="*/ 783444 w 864388"/>
              <a:gd name="csY0" fmla="*/ 30375 h 683171"/>
              <a:gd name="csX1" fmla="*/ 660937 w 864388"/>
              <a:gd name="csY1" fmla="*/ 86852 h 683171"/>
              <a:gd name="csX2" fmla="*/ 543238 w 864388"/>
              <a:gd name="csY2" fmla="*/ 152767 h 683171"/>
              <a:gd name="csX3" fmla="*/ 431073 w 864388"/>
              <a:gd name="csY3" fmla="*/ 227712 h 683171"/>
              <a:gd name="csX4" fmla="*/ 325135 w 864388"/>
              <a:gd name="csY4" fmla="*/ 311228 h 683171"/>
              <a:gd name="csX5" fmla="*/ 226075 w 864388"/>
              <a:gd name="csY5" fmla="*/ 402797 h 683171"/>
              <a:gd name="csX6" fmla="*/ 134506 w 864388"/>
              <a:gd name="csY6" fmla="*/ 501857 h 683171"/>
              <a:gd name="csX7" fmla="*/ 50991 w 864388"/>
              <a:gd name="csY7" fmla="*/ 607795 h 683171"/>
              <a:gd name="csX8" fmla="*/ 375 w 864388"/>
              <a:gd name="csY8" fmla="*/ 683547 h 683171"/>
              <a:gd name="csX9" fmla="*/ 727482 w 864388"/>
              <a:gd name="csY9" fmla="*/ 581415 h 683171"/>
              <a:gd name="csX10" fmla="*/ 864763 w 864388"/>
              <a:gd name="csY10" fmla="*/ 375 h 68317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</a:cxnLst>
            <a:rect l="l" t="t" r="r" b="b"/>
            <a:pathLst>
              <a:path w="864388" h="683171">
                <a:moveTo>
                  <a:pt x="783444" y="30375"/>
                </a:moveTo>
                <a:lnTo>
                  <a:pt x="660937" y="86852"/>
                </a:lnTo>
                <a:lnTo>
                  <a:pt x="543238" y="152767"/>
                </a:lnTo>
                <a:lnTo>
                  <a:pt x="431073" y="227712"/>
                </a:lnTo>
                <a:lnTo>
                  <a:pt x="325135" y="311228"/>
                </a:lnTo>
                <a:lnTo>
                  <a:pt x="226075" y="402797"/>
                </a:lnTo>
                <a:lnTo>
                  <a:pt x="134506" y="501857"/>
                </a:lnTo>
                <a:lnTo>
                  <a:pt x="50991" y="607795"/>
                </a:lnTo>
                <a:lnTo>
                  <a:pt x="375" y="683547"/>
                </a:lnTo>
                <a:lnTo>
                  <a:pt x="727482" y="581415"/>
                </a:lnTo>
                <a:lnTo>
                  <a:pt x="864763" y="375"/>
                </a:lnTo>
                <a:close/>
              </a:path>
            </a:pathLst>
          </a:custGeom>
          <a:solidFill>
            <a:srgbClr val="CDE1EB"/>
          </a:solidFill>
          <a:ln w="14707" cap="flat">
            <a:solidFill>
              <a:srgbClr val="FFFFFF"/>
            </a:solidFill>
            <a:prstDash val="solid"/>
            <a:miter/>
          </a:ln>
        </p:spPr>
        <p:txBody>
          <a:bodyPr lIns="0" tIns="0" rIns="0" bIns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5" name="Free-form: Shape 14">
            <a:extLst>
              <a:ext uri="{FF2B5EF4-FFF2-40B4-BE49-F238E27FC236}">
                <a16:creationId xmlns:a16="http://schemas.microsoft.com/office/drawing/2014/main" id="{74D87913-B5F9-DEE6-4B5C-1B28372E6DAB}"/>
              </a:ext>
            </a:extLst>
          </p:cNvPr>
          <p:cNvSpPr/>
          <p:nvPr/>
        </p:nvSpPr>
        <p:spPr>
          <a:xfrm>
            <a:off x="4354991" y="3334869"/>
            <a:ext cx="525978" cy="715996"/>
          </a:xfrm>
          <a:custGeom>
            <a:avLst/>
            <a:gdLst>
              <a:gd name="csX0" fmla="*/ 523808 w 525978"/>
              <a:gd name="csY0" fmla="*/ 716372 h 715996"/>
              <a:gd name="csX1" fmla="*/ 526354 w 525978"/>
              <a:gd name="csY1" fmla="*/ 651585 h 715996"/>
              <a:gd name="csX2" fmla="*/ 521057 w 525978"/>
              <a:gd name="csY2" fmla="*/ 516789 h 715996"/>
              <a:gd name="csX3" fmla="*/ 505202 w 525978"/>
              <a:gd name="csY3" fmla="*/ 382826 h 715996"/>
              <a:gd name="csX4" fmla="*/ 478884 w 525978"/>
              <a:gd name="csY4" fmla="*/ 250519 h 715996"/>
              <a:gd name="csX5" fmla="*/ 442267 w 525978"/>
              <a:gd name="csY5" fmla="*/ 120684 h 715996"/>
              <a:gd name="csX6" fmla="*/ 397883 w 525978"/>
              <a:gd name="csY6" fmla="*/ 375 h 715996"/>
              <a:gd name="csX7" fmla="*/ 375 w 525978"/>
              <a:gd name="csY7" fmla="*/ 347513 h 71599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</a:cxnLst>
            <a:rect l="l" t="t" r="r" b="b"/>
            <a:pathLst>
              <a:path w="525978" h="715996">
                <a:moveTo>
                  <a:pt x="523808" y="716372"/>
                </a:moveTo>
                <a:lnTo>
                  <a:pt x="526354" y="651585"/>
                </a:lnTo>
                <a:lnTo>
                  <a:pt x="521057" y="516789"/>
                </a:lnTo>
                <a:lnTo>
                  <a:pt x="505202" y="382826"/>
                </a:lnTo>
                <a:lnTo>
                  <a:pt x="478884" y="250519"/>
                </a:lnTo>
                <a:lnTo>
                  <a:pt x="442267" y="120684"/>
                </a:lnTo>
                <a:lnTo>
                  <a:pt x="397883" y="375"/>
                </a:lnTo>
                <a:lnTo>
                  <a:pt x="375" y="347513"/>
                </a:lnTo>
                <a:close/>
              </a:path>
            </a:pathLst>
          </a:custGeom>
          <a:solidFill>
            <a:schemeClr val="accent6">
              <a:lumMod val="75000"/>
            </a:schemeClr>
          </a:solidFill>
          <a:ln w="14707" cap="flat">
            <a:solidFill>
              <a:srgbClr val="FFFFFF"/>
            </a:solidFill>
            <a:prstDash val="solid"/>
            <a:miter/>
          </a:ln>
        </p:spPr>
        <p:txBody>
          <a:bodyPr lIns="0" tIns="0" rIns="0" bIns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" name="Free-form: Shape 15">
            <a:extLst>
              <a:ext uri="{FF2B5EF4-FFF2-40B4-BE49-F238E27FC236}">
                <a16:creationId xmlns:a16="http://schemas.microsoft.com/office/drawing/2014/main" id="{8638A4C3-2595-B1C7-0B38-73229D358314}"/>
              </a:ext>
            </a:extLst>
          </p:cNvPr>
          <p:cNvSpPr/>
          <p:nvPr/>
        </p:nvSpPr>
        <p:spPr>
          <a:xfrm>
            <a:off x="1495242" y="4397289"/>
            <a:ext cx="543661" cy="468346"/>
          </a:xfrm>
          <a:custGeom>
            <a:avLst/>
            <a:gdLst>
              <a:gd name="csX0" fmla="*/ 544037 w 543661"/>
              <a:gd name="csY0" fmla="*/ 43604 h 468346"/>
              <a:gd name="csX1" fmla="*/ 375 w 543661"/>
              <a:gd name="csY1" fmla="*/ 375 h 468346"/>
              <a:gd name="csX2" fmla="*/ 34131 w 543661"/>
              <a:gd name="csY2" fmla="*/ 120064 h 468346"/>
              <a:gd name="csX3" fmla="*/ 80822 w 543661"/>
              <a:gd name="csY3" fmla="*/ 246625 h 468346"/>
              <a:gd name="csX4" fmla="*/ 137298 w 543661"/>
              <a:gd name="csY4" fmla="*/ 369133 h 468346"/>
              <a:gd name="csX5" fmla="*/ 193071 w 543661"/>
              <a:gd name="csY5" fmla="*/ 468722 h 468346"/>
              <a:gd name="csX6" fmla="*/ 483914 w 543661"/>
              <a:gd name="csY6" fmla="*/ 374978 h 46834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</a:cxnLst>
            <a:rect l="l" t="t" r="r" b="b"/>
            <a:pathLst>
              <a:path w="543661" h="468346">
                <a:moveTo>
                  <a:pt x="544037" y="43604"/>
                </a:moveTo>
                <a:lnTo>
                  <a:pt x="375" y="375"/>
                </a:lnTo>
                <a:lnTo>
                  <a:pt x="34131" y="120064"/>
                </a:lnTo>
                <a:lnTo>
                  <a:pt x="80822" y="246625"/>
                </a:lnTo>
                <a:lnTo>
                  <a:pt x="137298" y="369133"/>
                </a:lnTo>
                <a:lnTo>
                  <a:pt x="193071" y="468722"/>
                </a:lnTo>
                <a:lnTo>
                  <a:pt x="483914" y="374978"/>
                </a:ln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14707" cap="flat">
            <a:solidFill>
              <a:srgbClr val="FFFFFF"/>
            </a:solidFill>
            <a:prstDash val="solid"/>
            <a:miter/>
          </a:ln>
        </p:spPr>
        <p:txBody>
          <a:bodyPr lIns="0" tIns="0" rIns="0" bIns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7" name="Free-form: Shape 16">
            <a:extLst>
              <a:ext uri="{FF2B5EF4-FFF2-40B4-BE49-F238E27FC236}">
                <a16:creationId xmlns:a16="http://schemas.microsoft.com/office/drawing/2014/main" id="{1735C7FE-1433-E3B0-664F-8CAC454C8D81}"/>
              </a:ext>
            </a:extLst>
          </p:cNvPr>
          <p:cNvSpPr/>
          <p:nvPr/>
        </p:nvSpPr>
        <p:spPr>
          <a:xfrm>
            <a:off x="1687937" y="4771892"/>
            <a:ext cx="397581" cy="550818"/>
          </a:xfrm>
          <a:custGeom>
            <a:avLst/>
            <a:gdLst>
              <a:gd name="csX0" fmla="*/ 10517 w 397581"/>
              <a:gd name="csY0" fmla="*/ 112229 h 550818"/>
              <a:gd name="csX1" fmla="*/ 85463 w 397581"/>
              <a:gd name="csY1" fmla="*/ 224393 h 550818"/>
              <a:gd name="csX2" fmla="*/ 168978 w 397581"/>
              <a:gd name="csY2" fmla="*/ 330332 h 550818"/>
              <a:gd name="csX3" fmla="*/ 260548 w 397581"/>
              <a:gd name="csY3" fmla="*/ 429391 h 550818"/>
              <a:gd name="csX4" fmla="*/ 359607 w 397581"/>
              <a:gd name="csY4" fmla="*/ 520961 h 550818"/>
              <a:gd name="csX5" fmla="*/ 397957 w 397581"/>
              <a:gd name="csY5" fmla="*/ 551193 h 550818"/>
              <a:gd name="csX6" fmla="*/ 291218 w 397581"/>
              <a:gd name="csY6" fmla="*/ 375 h 550818"/>
              <a:gd name="csX7" fmla="*/ 375 w 397581"/>
              <a:gd name="csY7" fmla="*/ 94119 h 55081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</a:cxnLst>
            <a:rect l="l" t="t" r="r" b="b"/>
            <a:pathLst>
              <a:path w="397581" h="550818">
                <a:moveTo>
                  <a:pt x="10517" y="112229"/>
                </a:moveTo>
                <a:lnTo>
                  <a:pt x="85463" y="224393"/>
                </a:lnTo>
                <a:lnTo>
                  <a:pt x="168978" y="330332"/>
                </a:lnTo>
                <a:lnTo>
                  <a:pt x="260548" y="429391"/>
                </a:lnTo>
                <a:lnTo>
                  <a:pt x="359607" y="520961"/>
                </a:lnTo>
                <a:lnTo>
                  <a:pt x="397957" y="551193"/>
                </a:lnTo>
                <a:lnTo>
                  <a:pt x="291218" y="375"/>
                </a:lnTo>
                <a:lnTo>
                  <a:pt x="375" y="94119"/>
                </a:lnTo>
                <a:close/>
              </a:path>
            </a:pathLst>
          </a:custGeom>
          <a:solidFill>
            <a:srgbClr val="D9EDF5"/>
          </a:solidFill>
          <a:ln w="14707" cap="flat">
            <a:solidFill>
              <a:srgbClr val="FFFFFF"/>
            </a:solidFill>
            <a:prstDash val="solid"/>
            <a:miter/>
          </a:ln>
        </p:spPr>
        <p:txBody>
          <a:bodyPr lIns="0" tIns="0" rIns="0" bIns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8" name="Free-form: Shape 17">
            <a:extLst>
              <a:ext uri="{FF2B5EF4-FFF2-40B4-BE49-F238E27FC236}">
                <a16:creationId xmlns:a16="http://schemas.microsoft.com/office/drawing/2014/main" id="{51F07ADA-2DDD-B41B-39EE-EB793D926C64}"/>
              </a:ext>
            </a:extLst>
          </p:cNvPr>
          <p:cNvSpPr/>
          <p:nvPr/>
        </p:nvSpPr>
        <p:spPr>
          <a:xfrm>
            <a:off x="3638940" y="5196928"/>
            <a:ext cx="640357" cy="438576"/>
          </a:xfrm>
          <a:custGeom>
            <a:avLst/>
            <a:gdLst>
              <a:gd name="csX0" fmla="*/ 55275 w 640357"/>
              <a:gd name="csY0" fmla="*/ 423468 h 438576"/>
              <a:gd name="csX1" fmla="*/ 181836 w 640357"/>
              <a:gd name="csY1" fmla="*/ 376777 h 438576"/>
              <a:gd name="csX2" fmla="*/ 304343 w 640357"/>
              <a:gd name="csY2" fmla="*/ 320300 h 438576"/>
              <a:gd name="csX3" fmla="*/ 422042 w 640357"/>
              <a:gd name="csY3" fmla="*/ 254386 h 438576"/>
              <a:gd name="csX4" fmla="*/ 534207 w 640357"/>
              <a:gd name="csY4" fmla="*/ 179440 h 438576"/>
              <a:gd name="csX5" fmla="*/ 640145 w 640357"/>
              <a:gd name="csY5" fmla="*/ 95925 h 438576"/>
              <a:gd name="csX6" fmla="*/ 640732 w 640357"/>
              <a:gd name="csY6" fmla="*/ 95382 h 438576"/>
              <a:gd name="csX7" fmla="*/ 252876 w 640357"/>
              <a:gd name="csY7" fmla="*/ 375 h 438576"/>
              <a:gd name="csX8" fmla="*/ 375 w 640357"/>
              <a:gd name="csY8" fmla="*/ 438951 h 43857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</a:cxnLst>
            <a:rect l="l" t="t" r="r" b="b"/>
            <a:pathLst>
              <a:path w="640357" h="438576">
                <a:moveTo>
                  <a:pt x="55275" y="423468"/>
                </a:moveTo>
                <a:lnTo>
                  <a:pt x="181836" y="376777"/>
                </a:lnTo>
                <a:lnTo>
                  <a:pt x="304343" y="320300"/>
                </a:lnTo>
                <a:lnTo>
                  <a:pt x="422042" y="254386"/>
                </a:lnTo>
                <a:lnTo>
                  <a:pt x="534207" y="179440"/>
                </a:lnTo>
                <a:lnTo>
                  <a:pt x="640145" y="95925"/>
                </a:lnTo>
                <a:lnTo>
                  <a:pt x="640732" y="95382"/>
                </a:lnTo>
                <a:lnTo>
                  <a:pt x="252876" y="375"/>
                </a:lnTo>
                <a:lnTo>
                  <a:pt x="375" y="438951"/>
                </a:lnTo>
                <a:close/>
              </a:path>
            </a:pathLst>
          </a:custGeom>
          <a:solidFill>
            <a:srgbClr val="E6F5FA"/>
          </a:solidFill>
          <a:ln w="14707" cap="flat">
            <a:solidFill>
              <a:srgbClr val="FFFFFF"/>
            </a:solidFill>
            <a:prstDash val="solid"/>
            <a:miter/>
          </a:ln>
        </p:spPr>
        <p:txBody>
          <a:bodyPr lIns="0" tIns="0" rIns="0" bIns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F8A0E45-8497-B8DE-DE62-016F3C06BA77}"/>
              </a:ext>
            </a:extLst>
          </p:cNvPr>
          <p:cNvSpPr txBox="1"/>
          <p:nvPr/>
        </p:nvSpPr>
        <p:spPr>
          <a:xfrm>
            <a:off x="3608442" y="3999486"/>
            <a:ext cx="1239484" cy="60016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Other rare B-cell derived and T-cell derived form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D85497F-B13C-F570-7A41-743EBCD42C60}"/>
              </a:ext>
            </a:extLst>
          </p:cNvPr>
          <p:cNvSpPr txBox="1"/>
          <p:nvPr/>
        </p:nvSpPr>
        <p:spPr>
          <a:xfrm>
            <a:off x="622864" y="4979402"/>
            <a:ext cx="923362" cy="30777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LPL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D7F74278-B7FA-8D03-A3CB-17CB13F02E3C}"/>
              </a:ext>
            </a:extLst>
          </p:cNvPr>
          <p:cNvSpPr txBox="1"/>
          <p:nvPr/>
        </p:nvSpPr>
        <p:spPr>
          <a:xfrm>
            <a:off x="4229524" y="3438138"/>
            <a:ext cx="923362" cy="46166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BL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%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58FF6F47-9CFC-7B3B-D69E-C529A3FC716F}"/>
              </a:ext>
            </a:extLst>
          </p:cNvPr>
          <p:cNvSpPr txBox="1"/>
          <p:nvPr/>
        </p:nvSpPr>
        <p:spPr>
          <a:xfrm>
            <a:off x="1767072" y="3104511"/>
            <a:ext cx="923362" cy="52322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LL/SLL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7%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FF93E6A4-0298-44F0-13E0-D49F677331AF}"/>
              </a:ext>
            </a:extLst>
          </p:cNvPr>
          <p:cNvSpPr txBox="1"/>
          <p:nvPr/>
        </p:nvSpPr>
        <p:spPr>
          <a:xfrm>
            <a:off x="2800380" y="2723886"/>
            <a:ext cx="923362" cy="64633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sv-SE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b="1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FL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2%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66A895E-A5EF-5420-3D1F-FCDCB0D3E535}"/>
              </a:ext>
            </a:extLst>
          </p:cNvPr>
          <p:cNvSpPr txBox="1"/>
          <p:nvPr/>
        </p:nvSpPr>
        <p:spPr>
          <a:xfrm>
            <a:off x="3800607" y="2977101"/>
            <a:ext cx="923362" cy="52322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MZL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7%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54FD02DE-BA6A-F84E-22EA-539A2E7668AF}"/>
              </a:ext>
            </a:extLst>
          </p:cNvPr>
          <p:cNvSpPr txBox="1"/>
          <p:nvPr/>
        </p:nvSpPr>
        <p:spPr>
          <a:xfrm>
            <a:off x="1367757" y="3599504"/>
            <a:ext cx="876750" cy="73866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Gastric MAL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8%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17DE4AD4-452B-DCD1-6CA8-27A2F915FC5B}"/>
              </a:ext>
            </a:extLst>
          </p:cNvPr>
          <p:cNvSpPr txBox="1"/>
          <p:nvPr/>
        </p:nvSpPr>
        <p:spPr>
          <a:xfrm>
            <a:off x="2376362" y="4571798"/>
            <a:ext cx="1111248" cy="64633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LBCL</a:t>
            </a:r>
            <a:b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30%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18D732F4-42D1-62D0-E1BA-59C714FA6D41}"/>
              </a:ext>
            </a:extLst>
          </p:cNvPr>
          <p:cNvSpPr txBox="1"/>
          <p:nvPr/>
        </p:nvSpPr>
        <p:spPr>
          <a:xfrm>
            <a:off x="1869873" y="2540497"/>
            <a:ext cx="923362" cy="46166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MCL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3%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586D17B3-73BF-DA86-5E8F-81F5AC2D1DF5}"/>
              </a:ext>
            </a:extLst>
          </p:cNvPr>
          <p:cNvSpPr txBox="1"/>
          <p:nvPr/>
        </p:nvSpPr>
        <p:spPr>
          <a:xfrm>
            <a:off x="-334338" y="4504807"/>
            <a:ext cx="1624170" cy="30777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Lymphoblastic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E02FCD26-CB42-578E-675C-9AE67A677618}"/>
              </a:ext>
            </a:extLst>
          </p:cNvPr>
          <p:cNvSpPr txBox="1"/>
          <p:nvPr/>
        </p:nvSpPr>
        <p:spPr>
          <a:xfrm>
            <a:off x="4236787" y="5358820"/>
            <a:ext cx="923362" cy="30777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MZL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D91E0BE1-27EF-EF98-42B1-58709FF1381D}"/>
              </a:ext>
            </a:extLst>
          </p:cNvPr>
          <p:cNvCxnSpPr>
            <a:cxnSpLocks/>
            <a:endCxn id="32" idx="1"/>
          </p:cNvCxnSpPr>
          <p:nvPr/>
        </p:nvCxnSpPr>
        <p:spPr>
          <a:xfrm flipV="1">
            <a:off x="1324695" y="4581204"/>
            <a:ext cx="221531" cy="65992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1CA206B8-97E0-F251-B7F1-A972FF396280}"/>
              </a:ext>
            </a:extLst>
          </p:cNvPr>
          <p:cNvSpPr txBox="1"/>
          <p:nvPr/>
        </p:nvSpPr>
        <p:spPr>
          <a:xfrm>
            <a:off x="3812939" y="4550918"/>
            <a:ext cx="923362" cy="3693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sv-SE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b="1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7%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FEC4975D-ACC4-D2F0-B230-02627DCA79EB}"/>
              </a:ext>
            </a:extLst>
          </p:cNvPr>
          <p:cNvSpPr txBox="1"/>
          <p:nvPr/>
        </p:nvSpPr>
        <p:spPr>
          <a:xfrm>
            <a:off x="1546226" y="4427315"/>
            <a:ext cx="379035" cy="30777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%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703DD817-14C8-E119-BC0D-2CCDDD2DAAE3}"/>
              </a:ext>
            </a:extLst>
          </p:cNvPr>
          <p:cNvSpPr txBox="1"/>
          <p:nvPr/>
        </p:nvSpPr>
        <p:spPr>
          <a:xfrm>
            <a:off x="1618303" y="4839670"/>
            <a:ext cx="379035" cy="26161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%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8FF635C6-9EC7-0CEA-92E8-D9ED565AC791}"/>
              </a:ext>
            </a:extLst>
          </p:cNvPr>
          <p:cNvCxnSpPr>
            <a:cxnSpLocks/>
            <a:stCxn id="20" idx="3"/>
          </p:cNvCxnSpPr>
          <p:nvPr/>
        </p:nvCxnSpPr>
        <p:spPr>
          <a:xfrm flipV="1">
            <a:off x="1546226" y="5040785"/>
            <a:ext cx="269081" cy="92506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34">
            <a:extLst>
              <a:ext uri="{FF2B5EF4-FFF2-40B4-BE49-F238E27FC236}">
                <a16:creationId xmlns:a16="http://schemas.microsoft.com/office/drawing/2014/main" id="{16289C17-F39F-F62A-86A3-EFC7B5145A47}"/>
              </a:ext>
            </a:extLst>
          </p:cNvPr>
          <p:cNvSpPr txBox="1"/>
          <p:nvPr/>
        </p:nvSpPr>
        <p:spPr>
          <a:xfrm>
            <a:off x="3660463" y="5213050"/>
            <a:ext cx="379035" cy="26161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%</a:t>
            </a: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1B4857C9-140C-1446-0BCA-1A23B26D2494}"/>
              </a:ext>
            </a:extLst>
          </p:cNvPr>
          <p:cNvCxnSpPr>
            <a:cxnSpLocks/>
          </p:cNvCxnSpPr>
          <p:nvPr/>
        </p:nvCxnSpPr>
        <p:spPr>
          <a:xfrm>
            <a:off x="4060826" y="5407611"/>
            <a:ext cx="95644" cy="77253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tangle 37">
            <a:extLst>
              <a:ext uri="{FF2B5EF4-FFF2-40B4-BE49-F238E27FC236}">
                <a16:creationId xmlns:a16="http://schemas.microsoft.com/office/drawing/2014/main" id="{6E16270E-4DF5-6295-97EF-E6F4CCA9BC56}"/>
              </a:ext>
            </a:extLst>
          </p:cNvPr>
          <p:cNvSpPr/>
          <p:nvPr/>
        </p:nvSpPr>
        <p:spPr>
          <a:xfrm>
            <a:off x="102742" y="1321771"/>
            <a:ext cx="5971163" cy="4469475"/>
          </a:xfrm>
          <a:prstGeom prst="rect">
            <a:avLst/>
          </a:prstGeom>
          <a:solidFill>
            <a:srgbClr val="FFFFFF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5CFF0C78-67F0-A24E-8E68-14A4965197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651" y="6356350"/>
            <a:ext cx="383694" cy="365125"/>
          </a:xfrm>
        </p:spPr>
        <p:txBody>
          <a:bodyPr vert="horz" lIns="0" tIns="0" rIns="0" bIns="0"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01CC8E-1CEF-6746-999E-CF29FF00B1DC}" type="slidenum"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82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7475" name="!!Pic1">
            <a:extLst>
              <a:ext uri="{FF2B5EF4-FFF2-40B4-BE49-F238E27FC236}">
                <a16:creationId xmlns:a16="http://schemas.microsoft.com/office/drawing/2014/main" id="{466E6C4E-130D-8E3C-C5ED-03963F072BCB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4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1289407" y="5452854"/>
            <a:ext cx="231668" cy="262151"/>
          </a:xfrm>
          <a:prstGeom prst="rect">
            <a:avLst/>
          </a:prstGeom>
          <a:effectLst>
            <a:innerShdw blurRad="279400">
              <a:schemeClr val="accent4">
                <a:lumMod val="50000"/>
              </a:schemeClr>
            </a:innerShdw>
          </a:effectLst>
        </p:spPr>
      </p:pic>
      <p:pic>
        <p:nvPicPr>
          <p:cNvPr id="7476" name="!!Pic2">
            <a:extLst>
              <a:ext uri="{FF2B5EF4-FFF2-40B4-BE49-F238E27FC236}">
                <a16:creationId xmlns:a16="http://schemas.microsoft.com/office/drawing/2014/main" id="{D56351E6-8234-1202-A5B5-584F4D415427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4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1224802" y="3561791"/>
            <a:ext cx="231668" cy="262151"/>
          </a:xfrm>
          <a:prstGeom prst="rect">
            <a:avLst/>
          </a:prstGeom>
          <a:effectLst>
            <a:innerShdw blurRad="279400">
              <a:schemeClr val="accent4">
                <a:lumMod val="50000"/>
              </a:schemeClr>
            </a:innerShdw>
          </a:effectLst>
        </p:spPr>
      </p:pic>
      <p:pic>
        <p:nvPicPr>
          <p:cNvPr id="7477" name="!!Pic3">
            <a:extLst>
              <a:ext uri="{FF2B5EF4-FFF2-40B4-BE49-F238E27FC236}">
                <a16:creationId xmlns:a16="http://schemas.microsoft.com/office/drawing/2014/main" id="{51266521-F019-9FB7-E332-AF247834F68C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4">
                <a:lumMod val="40000"/>
                <a:lumOff val="60000"/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8498473" y="2640253"/>
            <a:ext cx="231668" cy="262151"/>
          </a:xfrm>
          <a:prstGeom prst="rect">
            <a:avLst/>
          </a:prstGeom>
        </p:spPr>
      </p:pic>
      <p:pic>
        <p:nvPicPr>
          <p:cNvPr id="7478" name="!!Pic4">
            <a:extLst>
              <a:ext uri="{FF2B5EF4-FFF2-40B4-BE49-F238E27FC236}">
                <a16:creationId xmlns:a16="http://schemas.microsoft.com/office/drawing/2014/main" id="{E4F9D447-B896-1147-8A41-5BE332D67B97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4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1224802" y="4839399"/>
            <a:ext cx="231668" cy="262151"/>
          </a:xfrm>
          <a:prstGeom prst="rect">
            <a:avLst/>
          </a:prstGeom>
          <a:effectLst>
            <a:innerShdw blurRad="279400">
              <a:schemeClr val="accent4">
                <a:lumMod val="50000"/>
              </a:schemeClr>
            </a:innerShdw>
          </a:effectLst>
        </p:spPr>
      </p:pic>
      <p:pic>
        <p:nvPicPr>
          <p:cNvPr id="7479" name="!!Pic5">
            <a:extLst>
              <a:ext uri="{FF2B5EF4-FFF2-40B4-BE49-F238E27FC236}">
                <a16:creationId xmlns:a16="http://schemas.microsoft.com/office/drawing/2014/main" id="{A803C7C4-AF11-452E-45EC-B7FFE188BB7B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4">
                <a:lumMod val="40000"/>
                <a:lumOff val="60000"/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6376520" y="4028779"/>
            <a:ext cx="231668" cy="262151"/>
          </a:xfrm>
          <a:prstGeom prst="rect">
            <a:avLst/>
          </a:prstGeom>
        </p:spPr>
      </p:pic>
      <p:pic>
        <p:nvPicPr>
          <p:cNvPr id="7480" name="!!Pic6">
            <a:extLst>
              <a:ext uri="{FF2B5EF4-FFF2-40B4-BE49-F238E27FC236}">
                <a16:creationId xmlns:a16="http://schemas.microsoft.com/office/drawing/2014/main" id="{4EECEF55-F42E-2047-10CF-37CE322C8841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4">
                <a:lumMod val="40000"/>
                <a:lumOff val="60000"/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8478091" y="5388843"/>
            <a:ext cx="231668" cy="262151"/>
          </a:xfrm>
          <a:prstGeom prst="rect">
            <a:avLst/>
          </a:prstGeom>
        </p:spPr>
      </p:pic>
      <p:pic>
        <p:nvPicPr>
          <p:cNvPr id="7481" name="!!Pic7">
            <a:extLst>
              <a:ext uri="{FF2B5EF4-FFF2-40B4-BE49-F238E27FC236}">
                <a16:creationId xmlns:a16="http://schemas.microsoft.com/office/drawing/2014/main" id="{E6F8FA51-6660-58E6-13E9-F1A49104DC83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4">
                <a:lumMod val="40000"/>
                <a:lumOff val="60000"/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9089486" y="5461749"/>
            <a:ext cx="231668" cy="262151"/>
          </a:xfrm>
          <a:prstGeom prst="rect">
            <a:avLst/>
          </a:prstGeom>
        </p:spPr>
      </p:pic>
      <p:pic>
        <p:nvPicPr>
          <p:cNvPr id="7482" name="!!Pic8">
            <a:extLst>
              <a:ext uri="{FF2B5EF4-FFF2-40B4-BE49-F238E27FC236}">
                <a16:creationId xmlns:a16="http://schemas.microsoft.com/office/drawing/2014/main" id="{A89D5788-0D1C-0A9A-8A59-A1B46311A7B2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4">
                <a:lumMod val="40000"/>
                <a:lumOff val="60000"/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7471036" y="4941506"/>
            <a:ext cx="231668" cy="262151"/>
          </a:xfrm>
          <a:prstGeom prst="rect">
            <a:avLst/>
          </a:prstGeom>
        </p:spPr>
      </p:pic>
      <p:pic>
        <p:nvPicPr>
          <p:cNvPr id="7483" name="!!Pic9">
            <a:extLst>
              <a:ext uri="{FF2B5EF4-FFF2-40B4-BE49-F238E27FC236}">
                <a16:creationId xmlns:a16="http://schemas.microsoft.com/office/drawing/2014/main" id="{60403C28-72EB-F7B4-B046-CDF48091F08D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4">
                <a:lumMod val="40000"/>
                <a:lumOff val="60000"/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8984538" y="3551550"/>
            <a:ext cx="231668" cy="262151"/>
          </a:xfrm>
          <a:prstGeom prst="rect">
            <a:avLst/>
          </a:prstGeom>
        </p:spPr>
      </p:pic>
      <p:pic>
        <p:nvPicPr>
          <p:cNvPr id="7484" name="!!Pic10">
            <a:extLst>
              <a:ext uri="{FF2B5EF4-FFF2-40B4-BE49-F238E27FC236}">
                <a16:creationId xmlns:a16="http://schemas.microsoft.com/office/drawing/2014/main" id="{E71D2FF9-2441-921F-88B6-B782742DEC06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4">
                <a:lumMod val="40000"/>
                <a:lumOff val="60000"/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8158706" y="3553835"/>
            <a:ext cx="231668" cy="262151"/>
          </a:xfrm>
          <a:prstGeom prst="rect">
            <a:avLst/>
          </a:prstGeom>
        </p:spPr>
      </p:pic>
      <p:pic>
        <p:nvPicPr>
          <p:cNvPr id="7485" name="!!Pic11">
            <a:extLst>
              <a:ext uri="{FF2B5EF4-FFF2-40B4-BE49-F238E27FC236}">
                <a16:creationId xmlns:a16="http://schemas.microsoft.com/office/drawing/2014/main" id="{AC717C13-8042-B2E6-C08B-9397B49C2596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4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0230756" y="4491919"/>
            <a:ext cx="231668" cy="262151"/>
          </a:xfrm>
          <a:prstGeom prst="rect">
            <a:avLst/>
          </a:prstGeom>
          <a:effectLst>
            <a:innerShdw blurRad="279400">
              <a:schemeClr val="accent4">
                <a:lumMod val="50000"/>
              </a:schemeClr>
            </a:innerShdw>
          </a:effectLst>
        </p:spPr>
      </p:pic>
      <p:pic>
        <p:nvPicPr>
          <p:cNvPr id="7486" name="!!Pic12">
            <a:extLst>
              <a:ext uri="{FF2B5EF4-FFF2-40B4-BE49-F238E27FC236}">
                <a16:creationId xmlns:a16="http://schemas.microsoft.com/office/drawing/2014/main" id="{D808B984-8F8A-6CF4-EF35-BB9792DF11E7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4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0835473" y="4890823"/>
            <a:ext cx="231668" cy="262151"/>
          </a:xfrm>
          <a:prstGeom prst="rect">
            <a:avLst/>
          </a:prstGeom>
          <a:effectLst>
            <a:innerShdw blurRad="279400">
              <a:schemeClr val="accent4">
                <a:lumMod val="50000"/>
              </a:schemeClr>
            </a:innerShdw>
          </a:effectLst>
        </p:spPr>
      </p:pic>
      <p:pic>
        <p:nvPicPr>
          <p:cNvPr id="7487" name="!!Pic13">
            <a:extLst>
              <a:ext uri="{FF2B5EF4-FFF2-40B4-BE49-F238E27FC236}">
                <a16:creationId xmlns:a16="http://schemas.microsoft.com/office/drawing/2014/main" id="{0E439F27-4928-508E-166F-D8C4DC043C39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4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9581741" y="5026038"/>
            <a:ext cx="231668" cy="262151"/>
          </a:xfrm>
          <a:prstGeom prst="rect">
            <a:avLst/>
          </a:prstGeom>
          <a:effectLst>
            <a:innerShdw blurRad="279400">
              <a:schemeClr val="accent4">
                <a:lumMod val="50000"/>
              </a:schemeClr>
            </a:innerShdw>
          </a:effectLst>
        </p:spPr>
      </p:pic>
      <p:pic>
        <p:nvPicPr>
          <p:cNvPr id="7488" name="!!Pic14">
            <a:extLst>
              <a:ext uri="{FF2B5EF4-FFF2-40B4-BE49-F238E27FC236}">
                <a16:creationId xmlns:a16="http://schemas.microsoft.com/office/drawing/2014/main" id="{82C21BBA-A1B4-BC51-4A49-3BA699AE04C5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4">
                <a:lumMod val="40000"/>
                <a:lumOff val="60000"/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7491545" y="5423433"/>
            <a:ext cx="231668" cy="262151"/>
          </a:xfrm>
          <a:prstGeom prst="rect">
            <a:avLst/>
          </a:prstGeom>
        </p:spPr>
      </p:pic>
      <p:pic>
        <p:nvPicPr>
          <p:cNvPr id="7624" name="!!Pic15">
            <a:extLst>
              <a:ext uri="{FF2B5EF4-FFF2-40B4-BE49-F238E27FC236}">
                <a16:creationId xmlns:a16="http://schemas.microsoft.com/office/drawing/2014/main" id="{34852744-BFA3-9473-D0B3-6C4C3925A27E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4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9729641" y="3019634"/>
            <a:ext cx="231668" cy="262151"/>
          </a:xfrm>
          <a:prstGeom prst="rect">
            <a:avLst/>
          </a:prstGeom>
          <a:effectLst>
            <a:innerShdw blurRad="279400">
              <a:schemeClr val="accent4">
                <a:lumMod val="50000"/>
              </a:schemeClr>
            </a:innerShdw>
          </a:effectLst>
        </p:spPr>
      </p:pic>
      <p:pic>
        <p:nvPicPr>
          <p:cNvPr id="7625" name="!!Pic16">
            <a:extLst>
              <a:ext uri="{FF2B5EF4-FFF2-40B4-BE49-F238E27FC236}">
                <a16:creationId xmlns:a16="http://schemas.microsoft.com/office/drawing/2014/main" id="{87976D5E-1742-D251-2A87-FF929119935B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4">
                <a:lumMod val="40000"/>
                <a:lumOff val="60000"/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9006309" y="2860023"/>
            <a:ext cx="231668" cy="262151"/>
          </a:xfrm>
          <a:prstGeom prst="rect">
            <a:avLst/>
          </a:prstGeom>
        </p:spPr>
      </p:pic>
      <p:pic>
        <p:nvPicPr>
          <p:cNvPr id="7626" name="!!Pic17">
            <a:extLst>
              <a:ext uri="{FF2B5EF4-FFF2-40B4-BE49-F238E27FC236}">
                <a16:creationId xmlns:a16="http://schemas.microsoft.com/office/drawing/2014/main" id="{0ACC477D-F4C9-A6AC-3CF8-F8A3C8D16C16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4">
                <a:lumMod val="40000"/>
                <a:lumOff val="60000"/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6576702" y="3736665"/>
            <a:ext cx="231668" cy="262151"/>
          </a:xfrm>
          <a:prstGeom prst="rect">
            <a:avLst/>
          </a:prstGeom>
        </p:spPr>
      </p:pic>
      <p:pic>
        <p:nvPicPr>
          <p:cNvPr id="7627" name="!!Pic18">
            <a:extLst>
              <a:ext uri="{FF2B5EF4-FFF2-40B4-BE49-F238E27FC236}">
                <a16:creationId xmlns:a16="http://schemas.microsoft.com/office/drawing/2014/main" id="{86E1F212-1BDF-D274-23F1-BCD6D782EB9D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4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9372522" y="5423434"/>
            <a:ext cx="231668" cy="262151"/>
          </a:xfrm>
          <a:prstGeom prst="rect">
            <a:avLst/>
          </a:prstGeom>
          <a:effectLst>
            <a:innerShdw blurRad="279400">
              <a:schemeClr val="accent4">
                <a:lumMod val="50000"/>
              </a:schemeClr>
            </a:innerShdw>
          </a:effectLst>
        </p:spPr>
      </p:pic>
      <p:pic>
        <p:nvPicPr>
          <p:cNvPr id="7628" name="!!Pic19">
            <a:extLst>
              <a:ext uri="{FF2B5EF4-FFF2-40B4-BE49-F238E27FC236}">
                <a16:creationId xmlns:a16="http://schemas.microsoft.com/office/drawing/2014/main" id="{BB1DD178-1FD9-A10A-EFF2-B1CC20DABF9C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4">
                <a:lumMod val="40000"/>
                <a:lumOff val="60000"/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8266805" y="4504360"/>
            <a:ext cx="231668" cy="262151"/>
          </a:xfrm>
          <a:prstGeom prst="rect">
            <a:avLst/>
          </a:prstGeom>
        </p:spPr>
      </p:pic>
      <p:pic>
        <p:nvPicPr>
          <p:cNvPr id="7629" name="!!Pic20">
            <a:extLst>
              <a:ext uri="{FF2B5EF4-FFF2-40B4-BE49-F238E27FC236}">
                <a16:creationId xmlns:a16="http://schemas.microsoft.com/office/drawing/2014/main" id="{61A2C0AE-D215-CA8D-417C-27DF81296BCA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4">
                <a:lumMod val="40000"/>
                <a:lumOff val="60000"/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8617161" y="4434687"/>
            <a:ext cx="231668" cy="262151"/>
          </a:xfrm>
          <a:prstGeom prst="rect">
            <a:avLst/>
          </a:prstGeom>
        </p:spPr>
      </p:pic>
      <p:pic>
        <p:nvPicPr>
          <p:cNvPr id="7630" name="!!Pic21">
            <a:extLst>
              <a:ext uri="{FF2B5EF4-FFF2-40B4-BE49-F238E27FC236}">
                <a16:creationId xmlns:a16="http://schemas.microsoft.com/office/drawing/2014/main" id="{E557AA11-A693-487E-C9D7-E36D11CC4CD6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4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0682934" y="2664682"/>
            <a:ext cx="231668" cy="262151"/>
          </a:xfrm>
          <a:prstGeom prst="rect">
            <a:avLst/>
          </a:prstGeom>
          <a:effectLst>
            <a:innerShdw blurRad="279400">
              <a:schemeClr val="accent4">
                <a:lumMod val="50000"/>
              </a:schemeClr>
            </a:innerShdw>
          </a:effectLst>
        </p:spPr>
      </p:pic>
      <p:pic>
        <p:nvPicPr>
          <p:cNvPr id="7631" name="!!Pic22">
            <a:extLst>
              <a:ext uri="{FF2B5EF4-FFF2-40B4-BE49-F238E27FC236}">
                <a16:creationId xmlns:a16="http://schemas.microsoft.com/office/drawing/2014/main" id="{FA4CFE23-5E55-65D7-5D6F-529333A37579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4">
                <a:lumMod val="40000"/>
                <a:lumOff val="60000"/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8266805" y="2308281"/>
            <a:ext cx="231668" cy="262151"/>
          </a:xfrm>
          <a:prstGeom prst="rect">
            <a:avLst/>
          </a:prstGeom>
        </p:spPr>
      </p:pic>
      <p:pic>
        <p:nvPicPr>
          <p:cNvPr id="7632" name="!!Pic23">
            <a:extLst>
              <a:ext uri="{FF2B5EF4-FFF2-40B4-BE49-F238E27FC236}">
                <a16:creationId xmlns:a16="http://schemas.microsoft.com/office/drawing/2014/main" id="{3D189F8C-F1D3-81DE-F074-BD8F4E05FB3D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4">
                <a:lumMod val="40000"/>
                <a:lumOff val="60000"/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9134390" y="2274667"/>
            <a:ext cx="231668" cy="262151"/>
          </a:xfrm>
          <a:prstGeom prst="rect">
            <a:avLst/>
          </a:prstGeom>
        </p:spPr>
      </p:pic>
      <p:pic>
        <p:nvPicPr>
          <p:cNvPr id="7795" name="!!Pic24">
            <a:extLst>
              <a:ext uri="{FF2B5EF4-FFF2-40B4-BE49-F238E27FC236}">
                <a16:creationId xmlns:a16="http://schemas.microsoft.com/office/drawing/2014/main" id="{4CA23CD0-1434-BDB5-878B-7F9D07C5C0BB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4">
                <a:lumMod val="40000"/>
                <a:lumOff val="60000"/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8709759" y="3300564"/>
            <a:ext cx="231668" cy="262151"/>
          </a:xfrm>
          <a:prstGeom prst="rect">
            <a:avLst/>
          </a:prstGeom>
        </p:spPr>
      </p:pic>
      <p:pic>
        <p:nvPicPr>
          <p:cNvPr id="7796" name="!!Pic25">
            <a:extLst>
              <a:ext uri="{FF2B5EF4-FFF2-40B4-BE49-F238E27FC236}">
                <a16:creationId xmlns:a16="http://schemas.microsoft.com/office/drawing/2014/main" id="{54EBB077-53FF-1F20-2000-3AC07589963A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4">
                <a:lumMod val="40000"/>
                <a:lumOff val="60000"/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9028188" y="4313842"/>
            <a:ext cx="231668" cy="262151"/>
          </a:xfrm>
          <a:prstGeom prst="rect">
            <a:avLst/>
          </a:prstGeom>
        </p:spPr>
      </p:pic>
      <p:pic>
        <p:nvPicPr>
          <p:cNvPr id="7797" name="!!Pic26">
            <a:extLst>
              <a:ext uri="{FF2B5EF4-FFF2-40B4-BE49-F238E27FC236}">
                <a16:creationId xmlns:a16="http://schemas.microsoft.com/office/drawing/2014/main" id="{E187F061-8719-A511-141D-E7A3DE305B76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4">
                <a:lumMod val="40000"/>
                <a:lumOff val="60000"/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8142532" y="2754097"/>
            <a:ext cx="231668" cy="262151"/>
          </a:xfrm>
          <a:prstGeom prst="rect">
            <a:avLst/>
          </a:prstGeom>
        </p:spPr>
      </p:pic>
      <p:pic>
        <p:nvPicPr>
          <p:cNvPr id="7798" name="!!Pic27">
            <a:extLst>
              <a:ext uri="{FF2B5EF4-FFF2-40B4-BE49-F238E27FC236}">
                <a16:creationId xmlns:a16="http://schemas.microsoft.com/office/drawing/2014/main" id="{618F7505-BB28-A3A5-1ED1-CD95401D8BA3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4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0910645" y="2320289"/>
            <a:ext cx="231668" cy="262151"/>
          </a:xfrm>
          <a:prstGeom prst="rect">
            <a:avLst/>
          </a:prstGeom>
          <a:effectLst>
            <a:innerShdw blurRad="279400">
              <a:schemeClr val="accent4">
                <a:lumMod val="50000"/>
              </a:schemeClr>
            </a:innerShdw>
          </a:effectLst>
        </p:spPr>
      </p:pic>
      <p:pic>
        <p:nvPicPr>
          <p:cNvPr id="7799" name="!!Pic28">
            <a:extLst>
              <a:ext uri="{FF2B5EF4-FFF2-40B4-BE49-F238E27FC236}">
                <a16:creationId xmlns:a16="http://schemas.microsoft.com/office/drawing/2014/main" id="{30775656-B60F-201C-255E-9D990ACCC9A2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4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0586086" y="3135568"/>
            <a:ext cx="231668" cy="262151"/>
          </a:xfrm>
          <a:prstGeom prst="rect">
            <a:avLst/>
          </a:prstGeom>
          <a:effectLst>
            <a:innerShdw blurRad="279400">
              <a:schemeClr val="accent4">
                <a:lumMod val="50000"/>
              </a:schemeClr>
            </a:innerShdw>
          </a:effectLst>
        </p:spPr>
      </p:pic>
      <p:pic>
        <p:nvPicPr>
          <p:cNvPr id="7800" name="!!Pic29">
            <a:extLst>
              <a:ext uri="{FF2B5EF4-FFF2-40B4-BE49-F238E27FC236}">
                <a16:creationId xmlns:a16="http://schemas.microsoft.com/office/drawing/2014/main" id="{5D3A9170-C6FC-79DB-BB28-57EF3B1DDF02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4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0896826" y="3366121"/>
            <a:ext cx="231668" cy="262151"/>
          </a:xfrm>
          <a:prstGeom prst="rect">
            <a:avLst/>
          </a:prstGeom>
          <a:effectLst>
            <a:innerShdw blurRad="279400">
              <a:schemeClr val="accent4">
                <a:lumMod val="50000"/>
              </a:schemeClr>
            </a:innerShdw>
          </a:effectLst>
        </p:spPr>
      </p:pic>
      <p:pic>
        <p:nvPicPr>
          <p:cNvPr id="7801" name="!!Pic30">
            <a:extLst>
              <a:ext uri="{FF2B5EF4-FFF2-40B4-BE49-F238E27FC236}">
                <a16:creationId xmlns:a16="http://schemas.microsoft.com/office/drawing/2014/main" id="{6D13B4D3-F805-4871-72A2-8256CAA59604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4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9782583" y="3392949"/>
            <a:ext cx="231668" cy="262151"/>
          </a:xfrm>
          <a:prstGeom prst="rect">
            <a:avLst/>
          </a:prstGeom>
          <a:effectLst>
            <a:innerShdw blurRad="279400">
              <a:schemeClr val="accent4">
                <a:lumMod val="50000"/>
              </a:schemeClr>
            </a:innerShdw>
          </a:effectLst>
        </p:spPr>
      </p:pic>
      <p:pic>
        <p:nvPicPr>
          <p:cNvPr id="7802" name="!!Pic31">
            <a:extLst>
              <a:ext uri="{FF2B5EF4-FFF2-40B4-BE49-F238E27FC236}">
                <a16:creationId xmlns:a16="http://schemas.microsoft.com/office/drawing/2014/main" id="{40EFDFB8-541C-777F-B9FA-AA3B79AB7BD6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4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0117257" y="2314635"/>
            <a:ext cx="231668" cy="262151"/>
          </a:xfrm>
          <a:prstGeom prst="rect">
            <a:avLst/>
          </a:prstGeom>
          <a:effectLst>
            <a:innerShdw blurRad="279400">
              <a:schemeClr val="accent4">
                <a:lumMod val="50000"/>
              </a:schemeClr>
            </a:innerShdw>
          </a:effectLst>
        </p:spPr>
      </p:pic>
      <p:pic>
        <p:nvPicPr>
          <p:cNvPr id="7803" name="!!Pic32">
            <a:extLst>
              <a:ext uri="{FF2B5EF4-FFF2-40B4-BE49-F238E27FC236}">
                <a16:creationId xmlns:a16="http://schemas.microsoft.com/office/drawing/2014/main" id="{C93B8A7C-7C91-BCC8-BFD9-39E42BF813DE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4">
                <a:lumMod val="40000"/>
                <a:lumOff val="60000"/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8074765" y="5062321"/>
            <a:ext cx="231668" cy="262151"/>
          </a:xfrm>
          <a:prstGeom prst="rect">
            <a:avLst/>
          </a:prstGeom>
        </p:spPr>
      </p:pic>
      <p:pic>
        <p:nvPicPr>
          <p:cNvPr id="7804" name="!!Pic33">
            <a:extLst>
              <a:ext uri="{FF2B5EF4-FFF2-40B4-BE49-F238E27FC236}">
                <a16:creationId xmlns:a16="http://schemas.microsoft.com/office/drawing/2014/main" id="{AD657BE2-0EA4-6E13-4930-810C09A0AD45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4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0353567" y="4931246"/>
            <a:ext cx="231668" cy="262151"/>
          </a:xfrm>
          <a:prstGeom prst="rect">
            <a:avLst/>
          </a:prstGeom>
          <a:effectLst>
            <a:innerShdw blurRad="279400">
              <a:schemeClr val="accent4">
                <a:lumMod val="50000"/>
              </a:schemeClr>
            </a:innerShdw>
          </a:effectLst>
        </p:spPr>
      </p:pic>
      <p:pic>
        <p:nvPicPr>
          <p:cNvPr id="7805" name="!!Pic34">
            <a:extLst>
              <a:ext uri="{FF2B5EF4-FFF2-40B4-BE49-F238E27FC236}">
                <a16:creationId xmlns:a16="http://schemas.microsoft.com/office/drawing/2014/main" id="{7A7EF7E8-5BCA-1866-14C0-F113A27D6A8B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4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0289030" y="3323879"/>
            <a:ext cx="231668" cy="262151"/>
          </a:xfrm>
          <a:prstGeom prst="rect">
            <a:avLst/>
          </a:prstGeom>
          <a:effectLst>
            <a:innerShdw blurRad="279400">
              <a:schemeClr val="accent4">
                <a:lumMod val="50000"/>
              </a:schemeClr>
            </a:innerShdw>
          </a:effectLst>
        </p:spPr>
      </p:pic>
      <p:pic>
        <p:nvPicPr>
          <p:cNvPr id="7806" name="!!Pic35">
            <a:extLst>
              <a:ext uri="{FF2B5EF4-FFF2-40B4-BE49-F238E27FC236}">
                <a16:creationId xmlns:a16="http://schemas.microsoft.com/office/drawing/2014/main" id="{521183FB-1DAD-F18B-5615-15BD7938DC25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4">
                <a:lumMod val="40000"/>
                <a:lumOff val="60000"/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7095969" y="4894963"/>
            <a:ext cx="231668" cy="262151"/>
          </a:xfrm>
          <a:prstGeom prst="rect">
            <a:avLst/>
          </a:prstGeom>
        </p:spPr>
      </p:pic>
      <p:pic>
        <p:nvPicPr>
          <p:cNvPr id="7807" name="!!Pic36">
            <a:extLst>
              <a:ext uri="{FF2B5EF4-FFF2-40B4-BE49-F238E27FC236}">
                <a16:creationId xmlns:a16="http://schemas.microsoft.com/office/drawing/2014/main" id="{73911C87-C8C7-2962-05A4-72E04C689BC2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4">
                <a:lumMod val="40000"/>
                <a:lumOff val="60000"/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6382395" y="4945743"/>
            <a:ext cx="231668" cy="262151"/>
          </a:xfrm>
          <a:prstGeom prst="rect">
            <a:avLst/>
          </a:prstGeom>
        </p:spPr>
      </p:pic>
      <p:pic>
        <p:nvPicPr>
          <p:cNvPr id="7808" name="!!Pic37">
            <a:extLst>
              <a:ext uri="{FF2B5EF4-FFF2-40B4-BE49-F238E27FC236}">
                <a16:creationId xmlns:a16="http://schemas.microsoft.com/office/drawing/2014/main" id="{D16072E3-4295-0FE9-772A-273C628730FB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4">
                <a:lumMod val="40000"/>
                <a:lumOff val="60000"/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7317550" y="3166849"/>
            <a:ext cx="231668" cy="262151"/>
          </a:xfrm>
          <a:prstGeom prst="rect">
            <a:avLst/>
          </a:prstGeom>
        </p:spPr>
      </p:pic>
      <p:pic>
        <p:nvPicPr>
          <p:cNvPr id="7809" name="!!Pic38">
            <a:extLst>
              <a:ext uri="{FF2B5EF4-FFF2-40B4-BE49-F238E27FC236}">
                <a16:creationId xmlns:a16="http://schemas.microsoft.com/office/drawing/2014/main" id="{15DB9C87-2201-AB6A-5EEF-61A3590A84EE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4">
                <a:lumMod val="40000"/>
                <a:lumOff val="60000"/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7234446" y="3598914"/>
            <a:ext cx="231668" cy="262151"/>
          </a:xfrm>
          <a:prstGeom prst="rect">
            <a:avLst/>
          </a:prstGeom>
        </p:spPr>
      </p:pic>
      <p:pic>
        <p:nvPicPr>
          <p:cNvPr id="7810" name="!!Pic39">
            <a:extLst>
              <a:ext uri="{FF2B5EF4-FFF2-40B4-BE49-F238E27FC236}">
                <a16:creationId xmlns:a16="http://schemas.microsoft.com/office/drawing/2014/main" id="{107BFE18-619F-FD1E-9A16-11CCB3E20FE2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4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1509282" y="4086555"/>
            <a:ext cx="231668" cy="262151"/>
          </a:xfrm>
          <a:prstGeom prst="rect">
            <a:avLst/>
          </a:prstGeom>
          <a:effectLst>
            <a:innerShdw blurRad="279400">
              <a:schemeClr val="accent4">
                <a:lumMod val="50000"/>
              </a:schemeClr>
            </a:innerShdw>
          </a:effectLst>
        </p:spPr>
      </p:pic>
      <p:pic>
        <p:nvPicPr>
          <p:cNvPr id="7811" name="!!Pic40">
            <a:extLst>
              <a:ext uri="{FF2B5EF4-FFF2-40B4-BE49-F238E27FC236}">
                <a16:creationId xmlns:a16="http://schemas.microsoft.com/office/drawing/2014/main" id="{AB0B0A49-0BBC-AFBC-9DDE-D38BB8B57998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4">
                <a:lumMod val="40000"/>
                <a:lumOff val="60000"/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9066497" y="3216011"/>
            <a:ext cx="231668" cy="262151"/>
          </a:xfrm>
          <a:prstGeom prst="rect">
            <a:avLst/>
          </a:prstGeom>
        </p:spPr>
      </p:pic>
      <p:pic>
        <p:nvPicPr>
          <p:cNvPr id="7812" name="!!Pic41">
            <a:extLst>
              <a:ext uri="{FF2B5EF4-FFF2-40B4-BE49-F238E27FC236}">
                <a16:creationId xmlns:a16="http://schemas.microsoft.com/office/drawing/2014/main" id="{906AFFF6-F201-3922-4F69-1E8D3DDEB240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4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9179124" y="3870824"/>
            <a:ext cx="231668" cy="262151"/>
          </a:xfrm>
          <a:prstGeom prst="rect">
            <a:avLst/>
          </a:prstGeom>
          <a:effectLst>
            <a:innerShdw blurRad="279400">
              <a:schemeClr val="accent4">
                <a:lumMod val="50000"/>
              </a:schemeClr>
            </a:innerShdw>
          </a:effectLst>
        </p:spPr>
      </p:pic>
      <p:pic>
        <p:nvPicPr>
          <p:cNvPr id="7813" name="!!Pic42">
            <a:extLst>
              <a:ext uri="{FF2B5EF4-FFF2-40B4-BE49-F238E27FC236}">
                <a16:creationId xmlns:a16="http://schemas.microsoft.com/office/drawing/2014/main" id="{2F762A2A-97A5-279E-3331-C86550AB0CA3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4">
                <a:lumMod val="40000"/>
                <a:lumOff val="60000"/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7086776" y="4483124"/>
            <a:ext cx="231668" cy="262151"/>
          </a:xfrm>
          <a:prstGeom prst="rect">
            <a:avLst/>
          </a:prstGeom>
        </p:spPr>
      </p:pic>
      <p:pic>
        <p:nvPicPr>
          <p:cNvPr id="7814" name="!!Pic43">
            <a:extLst>
              <a:ext uri="{FF2B5EF4-FFF2-40B4-BE49-F238E27FC236}">
                <a16:creationId xmlns:a16="http://schemas.microsoft.com/office/drawing/2014/main" id="{1C5608A8-036F-0785-9527-056C03BE6FB4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4">
                <a:lumMod val="40000"/>
                <a:lumOff val="60000"/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6800471" y="4631462"/>
            <a:ext cx="231668" cy="262151"/>
          </a:xfrm>
          <a:prstGeom prst="rect">
            <a:avLst/>
          </a:prstGeom>
        </p:spPr>
      </p:pic>
      <p:pic>
        <p:nvPicPr>
          <p:cNvPr id="7815" name="!!Pic44">
            <a:extLst>
              <a:ext uri="{FF2B5EF4-FFF2-40B4-BE49-F238E27FC236}">
                <a16:creationId xmlns:a16="http://schemas.microsoft.com/office/drawing/2014/main" id="{D8B957EE-EBC8-D3CF-A081-7155676EE329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4">
                <a:lumMod val="40000"/>
                <a:lumOff val="60000"/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6472959" y="2920921"/>
            <a:ext cx="231668" cy="262151"/>
          </a:xfrm>
          <a:prstGeom prst="rect">
            <a:avLst/>
          </a:prstGeom>
        </p:spPr>
      </p:pic>
      <p:pic>
        <p:nvPicPr>
          <p:cNvPr id="7816" name="!!Pic45">
            <a:extLst>
              <a:ext uri="{FF2B5EF4-FFF2-40B4-BE49-F238E27FC236}">
                <a16:creationId xmlns:a16="http://schemas.microsoft.com/office/drawing/2014/main" id="{AC514A4D-8186-8588-F58E-355B95F9882D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4">
                <a:lumMod val="40000"/>
                <a:lumOff val="60000"/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7882044" y="4474060"/>
            <a:ext cx="231668" cy="262151"/>
          </a:xfrm>
          <a:prstGeom prst="rect">
            <a:avLst/>
          </a:prstGeom>
        </p:spPr>
      </p:pic>
      <p:pic>
        <p:nvPicPr>
          <p:cNvPr id="7817" name="!!Pic46">
            <a:extLst>
              <a:ext uri="{FF2B5EF4-FFF2-40B4-BE49-F238E27FC236}">
                <a16:creationId xmlns:a16="http://schemas.microsoft.com/office/drawing/2014/main" id="{ED3F1075-3E25-955C-C14F-27207537A3A4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4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1236627" y="2628524"/>
            <a:ext cx="231668" cy="262151"/>
          </a:xfrm>
          <a:prstGeom prst="rect">
            <a:avLst/>
          </a:prstGeom>
          <a:effectLst>
            <a:innerShdw blurRad="279400">
              <a:schemeClr val="accent4">
                <a:lumMod val="50000"/>
              </a:schemeClr>
            </a:innerShdw>
          </a:effectLst>
        </p:spPr>
      </p:pic>
      <p:pic>
        <p:nvPicPr>
          <p:cNvPr id="7818" name="!!Pic47">
            <a:extLst>
              <a:ext uri="{FF2B5EF4-FFF2-40B4-BE49-F238E27FC236}">
                <a16:creationId xmlns:a16="http://schemas.microsoft.com/office/drawing/2014/main" id="{E5D92EE7-1467-FEBA-C461-E59C88031F11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4">
                <a:lumMod val="40000"/>
                <a:lumOff val="60000"/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8045062" y="3152826"/>
            <a:ext cx="231668" cy="262151"/>
          </a:xfrm>
          <a:prstGeom prst="rect">
            <a:avLst/>
          </a:prstGeom>
        </p:spPr>
      </p:pic>
      <p:pic>
        <p:nvPicPr>
          <p:cNvPr id="7819" name="!!Pic48">
            <a:extLst>
              <a:ext uri="{FF2B5EF4-FFF2-40B4-BE49-F238E27FC236}">
                <a16:creationId xmlns:a16="http://schemas.microsoft.com/office/drawing/2014/main" id="{83CCBCA2-A90D-5CE7-24AA-B3C7233B6C4C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4">
                <a:lumMod val="40000"/>
                <a:lumOff val="60000"/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6653549" y="2540497"/>
            <a:ext cx="231668" cy="262151"/>
          </a:xfrm>
          <a:prstGeom prst="rect">
            <a:avLst/>
          </a:prstGeom>
        </p:spPr>
      </p:pic>
      <p:pic>
        <p:nvPicPr>
          <p:cNvPr id="7820" name="!!Pic49">
            <a:extLst>
              <a:ext uri="{FF2B5EF4-FFF2-40B4-BE49-F238E27FC236}">
                <a16:creationId xmlns:a16="http://schemas.microsoft.com/office/drawing/2014/main" id="{03333B69-7C0A-8B32-6569-2BA829DB56D6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4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9746913" y="4482962"/>
            <a:ext cx="231668" cy="262151"/>
          </a:xfrm>
          <a:prstGeom prst="rect">
            <a:avLst/>
          </a:prstGeom>
          <a:effectLst>
            <a:innerShdw blurRad="279400">
              <a:schemeClr val="accent4">
                <a:lumMod val="50000"/>
              </a:schemeClr>
            </a:innerShdw>
          </a:effectLst>
        </p:spPr>
      </p:pic>
      <p:pic>
        <p:nvPicPr>
          <p:cNvPr id="7821" name="!!Pic50">
            <a:extLst>
              <a:ext uri="{FF2B5EF4-FFF2-40B4-BE49-F238E27FC236}">
                <a16:creationId xmlns:a16="http://schemas.microsoft.com/office/drawing/2014/main" id="{FB55C083-1E6C-4301-26DB-54F9D9AA066C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4">
                <a:lumMod val="40000"/>
                <a:lumOff val="60000"/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7259877" y="2703105"/>
            <a:ext cx="231668" cy="262151"/>
          </a:xfrm>
          <a:prstGeom prst="rect">
            <a:avLst/>
          </a:prstGeom>
        </p:spPr>
      </p:pic>
      <p:pic>
        <p:nvPicPr>
          <p:cNvPr id="7849" name="!!Pic51">
            <a:extLst>
              <a:ext uri="{FF2B5EF4-FFF2-40B4-BE49-F238E27FC236}">
                <a16:creationId xmlns:a16="http://schemas.microsoft.com/office/drawing/2014/main" id="{069CF91D-6E9D-021D-C802-A19D80503434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prstClr val="black"/>
              <a:schemeClr val="accent4">
                <a:lumMod val="40000"/>
                <a:lumOff val="60000"/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7659538" y="2304330"/>
            <a:ext cx="231668" cy="304826"/>
          </a:xfrm>
          <a:prstGeom prst="rect">
            <a:avLst/>
          </a:prstGeom>
        </p:spPr>
      </p:pic>
      <p:pic>
        <p:nvPicPr>
          <p:cNvPr id="7850" name="!!Pic52">
            <a:extLst>
              <a:ext uri="{FF2B5EF4-FFF2-40B4-BE49-F238E27FC236}">
                <a16:creationId xmlns:a16="http://schemas.microsoft.com/office/drawing/2014/main" id="{B0313A80-7018-9D03-3CE3-11BE177C0867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prstClr val="black"/>
              <a:schemeClr val="accent4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9811003" y="2274149"/>
            <a:ext cx="231668" cy="304826"/>
          </a:xfrm>
          <a:prstGeom prst="rect">
            <a:avLst/>
          </a:prstGeom>
          <a:effectLst>
            <a:innerShdw blurRad="279400">
              <a:schemeClr val="accent4">
                <a:lumMod val="50000"/>
              </a:schemeClr>
            </a:innerShdw>
          </a:effectLst>
        </p:spPr>
      </p:pic>
      <p:pic>
        <p:nvPicPr>
          <p:cNvPr id="7851" name="!!Pic53">
            <a:extLst>
              <a:ext uri="{FF2B5EF4-FFF2-40B4-BE49-F238E27FC236}">
                <a16:creationId xmlns:a16="http://schemas.microsoft.com/office/drawing/2014/main" id="{4341E283-D3F6-4A2E-E9AE-2E2E90C575B5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prstClr val="black"/>
              <a:schemeClr val="accent4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9415784" y="2604653"/>
            <a:ext cx="231668" cy="304826"/>
          </a:xfrm>
          <a:prstGeom prst="rect">
            <a:avLst/>
          </a:prstGeom>
          <a:effectLst>
            <a:innerShdw blurRad="279400">
              <a:schemeClr val="accent4">
                <a:lumMod val="50000"/>
              </a:schemeClr>
            </a:innerShdw>
          </a:effectLst>
        </p:spPr>
      </p:pic>
      <p:pic>
        <p:nvPicPr>
          <p:cNvPr id="7852" name="!!Pic54">
            <a:extLst>
              <a:ext uri="{FF2B5EF4-FFF2-40B4-BE49-F238E27FC236}">
                <a16:creationId xmlns:a16="http://schemas.microsoft.com/office/drawing/2014/main" id="{D7DB72E6-5ABE-99EA-0624-D67525757033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prstClr val="black"/>
              <a:schemeClr val="accent4">
                <a:lumMod val="40000"/>
                <a:lumOff val="60000"/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9122143" y="4879560"/>
            <a:ext cx="231668" cy="304826"/>
          </a:xfrm>
          <a:prstGeom prst="rect">
            <a:avLst/>
          </a:prstGeom>
        </p:spPr>
      </p:pic>
      <p:pic>
        <p:nvPicPr>
          <p:cNvPr id="7853" name="!!Pic55">
            <a:extLst>
              <a:ext uri="{FF2B5EF4-FFF2-40B4-BE49-F238E27FC236}">
                <a16:creationId xmlns:a16="http://schemas.microsoft.com/office/drawing/2014/main" id="{D1304B75-ED18-C862-2DAC-709228D59384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prstClr val="black"/>
              <a:schemeClr val="accent4">
                <a:lumMod val="40000"/>
                <a:lumOff val="60000"/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8821893" y="5161523"/>
            <a:ext cx="231668" cy="304826"/>
          </a:xfrm>
          <a:prstGeom prst="rect">
            <a:avLst/>
          </a:prstGeom>
        </p:spPr>
      </p:pic>
      <p:pic>
        <p:nvPicPr>
          <p:cNvPr id="7854" name="!!Pic56">
            <a:extLst>
              <a:ext uri="{FF2B5EF4-FFF2-40B4-BE49-F238E27FC236}">
                <a16:creationId xmlns:a16="http://schemas.microsoft.com/office/drawing/2014/main" id="{78CF5147-1451-F2B7-31F4-F690C81DA063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prstClr val="black"/>
              <a:schemeClr val="accent4">
                <a:lumMod val="40000"/>
                <a:lumOff val="60000"/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8829386" y="4654744"/>
            <a:ext cx="231668" cy="304826"/>
          </a:xfrm>
          <a:prstGeom prst="rect">
            <a:avLst/>
          </a:prstGeom>
        </p:spPr>
      </p:pic>
      <p:pic>
        <p:nvPicPr>
          <p:cNvPr id="7855" name="!!Pic57">
            <a:extLst>
              <a:ext uri="{FF2B5EF4-FFF2-40B4-BE49-F238E27FC236}">
                <a16:creationId xmlns:a16="http://schemas.microsoft.com/office/drawing/2014/main" id="{BE2D9BA2-1BD2-34AA-2E1B-4CA6E4CCD9E6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prstClr val="black"/>
              <a:schemeClr val="accent4">
                <a:lumMod val="40000"/>
                <a:lumOff val="60000"/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7672566" y="3135898"/>
            <a:ext cx="231668" cy="304826"/>
          </a:xfrm>
          <a:prstGeom prst="rect">
            <a:avLst/>
          </a:prstGeom>
        </p:spPr>
      </p:pic>
      <p:pic>
        <p:nvPicPr>
          <p:cNvPr id="7856" name="!!Pic58">
            <a:extLst>
              <a:ext uri="{FF2B5EF4-FFF2-40B4-BE49-F238E27FC236}">
                <a16:creationId xmlns:a16="http://schemas.microsoft.com/office/drawing/2014/main" id="{14821DCF-5316-ED74-CFC6-08E134FF1E72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prstClr val="black"/>
              <a:schemeClr val="accent4">
                <a:lumMod val="40000"/>
                <a:lumOff val="60000"/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7703220" y="3503482"/>
            <a:ext cx="231668" cy="304826"/>
          </a:xfrm>
          <a:prstGeom prst="rect">
            <a:avLst/>
          </a:prstGeom>
        </p:spPr>
      </p:pic>
      <p:pic>
        <p:nvPicPr>
          <p:cNvPr id="7857" name="!!Pic59">
            <a:extLst>
              <a:ext uri="{FF2B5EF4-FFF2-40B4-BE49-F238E27FC236}">
                <a16:creationId xmlns:a16="http://schemas.microsoft.com/office/drawing/2014/main" id="{1E22E97E-FA26-52A5-0395-2CD5B74C7AF2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prstClr val="black"/>
              <a:schemeClr val="accent4">
                <a:lumMod val="40000"/>
                <a:lumOff val="60000"/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6953886" y="2352664"/>
            <a:ext cx="231668" cy="304826"/>
          </a:xfrm>
          <a:prstGeom prst="rect">
            <a:avLst/>
          </a:prstGeom>
        </p:spPr>
      </p:pic>
      <p:pic>
        <p:nvPicPr>
          <p:cNvPr id="7858" name="!!Pic60">
            <a:extLst>
              <a:ext uri="{FF2B5EF4-FFF2-40B4-BE49-F238E27FC236}">
                <a16:creationId xmlns:a16="http://schemas.microsoft.com/office/drawing/2014/main" id="{C6F07686-51D5-48E9-95F1-480DEAEB17E6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prstClr val="black"/>
              <a:schemeClr val="accent4">
                <a:lumMod val="40000"/>
                <a:lumOff val="60000"/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7785939" y="5391586"/>
            <a:ext cx="231668" cy="304826"/>
          </a:xfrm>
          <a:prstGeom prst="rect">
            <a:avLst/>
          </a:prstGeom>
        </p:spPr>
      </p:pic>
      <p:pic>
        <p:nvPicPr>
          <p:cNvPr id="7859" name="!!Pic61">
            <a:extLst>
              <a:ext uri="{FF2B5EF4-FFF2-40B4-BE49-F238E27FC236}">
                <a16:creationId xmlns:a16="http://schemas.microsoft.com/office/drawing/2014/main" id="{F79C3CE5-9A67-96C3-874C-F713EB431F6B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prstClr val="black"/>
              <a:schemeClr val="accent4">
                <a:lumMod val="40000"/>
                <a:lumOff val="60000"/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6750296" y="3077894"/>
            <a:ext cx="231668" cy="304826"/>
          </a:xfrm>
          <a:prstGeom prst="rect">
            <a:avLst/>
          </a:prstGeom>
        </p:spPr>
      </p:pic>
      <p:pic>
        <p:nvPicPr>
          <p:cNvPr id="7860" name="!!Pic62">
            <a:extLst>
              <a:ext uri="{FF2B5EF4-FFF2-40B4-BE49-F238E27FC236}">
                <a16:creationId xmlns:a16="http://schemas.microsoft.com/office/drawing/2014/main" id="{FA12341E-6DB6-F588-62AF-9583BF4CBBE7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prstClr val="black"/>
              <a:schemeClr val="accent4">
                <a:lumMod val="40000"/>
                <a:lumOff val="60000"/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8223021" y="5372157"/>
            <a:ext cx="231668" cy="304826"/>
          </a:xfrm>
          <a:prstGeom prst="rect">
            <a:avLst/>
          </a:prstGeom>
        </p:spPr>
      </p:pic>
      <p:pic>
        <p:nvPicPr>
          <p:cNvPr id="7861" name="!!Pic63">
            <a:extLst>
              <a:ext uri="{FF2B5EF4-FFF2-40B4-BE49-F238E27FC236}">
                <a16:creationId xmlns:a16="http://schemas.microsoft.com/office/drawing/2014/main" id="{38E71233-A77D-1B62-9BBE-616E75B93446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prstClr val="black"/>
              <a:schemeClr val="accent4">
                <a:lumMod val="40000"/>
                <a:lumOff val="60000"/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6938687" y="5418427"/>
            <a:ext cx="231668" cy="304826"/>
          </a:xfrm>
          <a:prstGeom prst="rect">
            <a:avLst/>
          </a:prstGeom>
        </p:spPr>
      </p:pic>
      <p:pic>
        <p:nvPicPr>
          <p:cNvPr id="7862" name="!!Pic64">
            <a:extLst>
              <a:ext uri="{FF2B5EF4-FFF2-40B4-BE49-F238E27FC236}">
                <a16:creationId xmlns:a16="http://schemas.microsoft.com/office/drawing/2014/main" id="{14314123-E56B-8DCC-40EA-033AF4261140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prstClr val="black"/>
              <a:schemeClr val="accent4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0073905" y="3054753"/>
            <a:ext cx="231668" cy="304826"/>
          </a:xfrm>
          <a:prstGeom prst="rect">
            <a:avLst/>
          </a:prstGeom>
          <a:effectLst>
            <a:innerShdw blurRad="279400">
              <a:schemeClr val="accent4">
                <a:lumMod val="50000"/>
              </a:schemeClr>
            </a:innerShdw>
          </a:effectLst>
        </p:spPr>
      </p:pic>
      <p:pic>
        <p:nvPicPr>
          <p:cNvPr id="7863" name="!!Pic65">
            <a:extLst>
              <a:ext uri="{FF2B5EF4-FFF2-40B4-BE49-F238E27FC236}">
                <a16:creationId xmlns:a16="http://schemas.microsoft.com/office/drawing/2014/main" id="{87A98577-4857-6B81-830A-E3B36B379881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prstClr val="black"/>
              <a:schemeClr val="accent4">
                <a:lumMod val="40000"/>
                <a:lumOff val="60000"/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6878591" y="5051579"/>
            <a:ext cx="231668" cy="304826"/>
          </a:xfrm>
          <a:prstGeom prst="rect">
            <a:avLst/>
          </a:prstGeom>
        </p:spPr>
      </p:pic>
      <p:pic>
        <p:nvPicPr>
          <p:cNvPr id="7864" name="!!Pic66">
            <a:extLst>
              <a:ext uri="{FF2B5EF4-FFF2-40B4-BE49-F238E27FC236}">
                <a16:creationId xmlns:a16="http://schemas.microsoft.com/office/drawing/2014/main" id="{3AF9F52F-0AF9-417B-7B3F-E9DEC430DB2B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prstClr val="black"/>
              <a:schemeClr val="accent4">
                <a:lumMod val="40000"/>
                <a:lumOff val="60000"/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7461872" y="4465045"/>
            <a:ext cx="231668" cy="304826"/>
          </a:xfrm>
          <a:prstGeom prst="rect">
            <a:avLst/>
          </a:prstGeom>
        </p:spPr>
      </p:pic>
      <p:pic>
        <p:nvPicPr>
          <p:cNvPr id="7865" name="!!Pic67">
            <a:extLst>
              <a:ext uri="{FF2B5EF4-FFF2-40B4-BE49-F238E27FC236}">
                <a16:creationId xmlns:a16="http://schemas.microsoft.com/office/drawing/2014/main" id="{CB647A52-F893-2A62-7D2C-ECB29DA4511E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prstClr val="black"/>
              <a:schemeClr val="accent4">
                <a:lumMod val="40000"/>
                <a:lumOff val="60000"/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8390374" y="3120190"/>
            <a:ext cx="231668" cy="304826"/>
          </a:xfrm>
          <a:prstGeom prst="rect">
            <a:avLst/>
          </a:prstGeom>
        </p:spPr>
      </p:pic>
      <p:pic>
        <p:nvPicPr>
          <p:cNvPr id="7866" name="!!Pic68">
            <a:extLst>
              <a:ext uri="{FF2B5EF4-FFF2-40B4-BE49-F238E27FC236}">
                <a16:creationId xmlns:a16="http://schemas.microsoft.com/office/drawing/2014/main" id="{FE059882-42FB-BABB-E8B3-0AA12C6239AB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prstClr val="black"/>
              <a:schemeClr val="accent4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9398069" y="3101648"/>
            <a:ext cx="231668" cy="304826"/>
          </a:xfrm>
          <a:prstGeom prst="rect">
            <a:avLst/>
          </a:prstGeom>
          <a:effectLst>
            <a:innerShdw blurRad="279400">
              <a:schemeClr val="accent4">
                <a:lumMod val="50000"/>
              </a:schemeClr>
            </a:innerShdw>
          </a:effectLst>
        </p:spPr>
      </p:pic>
      <p:pic>
        <p:nvPicPr>
          <p:cNvPr id="7867" name="!!Pic69">
            <a:extLst>
              <a:ext uri="{FF2B5EF4-FFF2-40B4-BE49-F238E27FC236}">
                <a16:creationId xmlns:a16="http://schemas.microsoft.com/office/drawing/2014/main" id="{923D9EAC-DDC7-D642-4178-FD7F2B3C7DA4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prstClr val="black"/>
              <a:schemeClr val="accent4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9943430" y="2642860"/>
            <a:ext cx="231668" cy="304826"/>
          </a:xfrm>
          <a:prstGeom prst="rect">
            <a:avLst/>
          </a:prstGeom>
          <a:effectLst>
            <a:innerShdw blurRad="279400">
              <a:schemeClr val="accent4">
                <a:lumMod val="50000"/>
              </a:schemeClr>
            </a:innerShdw>
          </a:effectLst>
        </p:spPr>
      </p:pic>
      <p:pic>
        <p:nvPicPr>
          <p:cNvPr id="7868" name="!!Pic70">
            <a:extLst>
              <a:ext uri="{FF2B5EF4-FFF2-40B4-BE49-F238E27FC236}">
                <a16:creationId xmlns:a16="http://schemas.microsoft.com/office/drawing/2014/main" id="{3B188E4C-AFBA-17ED-FC0B-44EB97A4D272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prstClr val="black"/>
              <a:schemeClr val="accent4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9507804" y="3527149"/>
            <a:ext cx="231668" cy="304826"/>
          </a:xfrm>
          <a:prstGeom prst="rect">
            <a:avLst/>
          </a:prstGeom>
          <a:effectLst>
            <a:innerShdw blurRad="279400">
              <a:schemeClr val="accent4">
                <a:lumMod val="50000"/>
              </a:schemeClr>
            </a:innerShdw>
          </a:effectLst>
        </p:spPr>
      </p:pic>
      <p:pic>
        <p:nvPicPr>
          <p:cNvPr id="7869" name="!!Pic71">
            <a:extLst>
              <a:ext uri="{FF2B5EF4-FFF2-40B4-BE49-F238E27FC236}">
                <a16:creationId xmlns:a16="http://schemas.microsoft.com/office/drawing/2014/main" id="{C2BAB043-8B56-33E6-EF7A-2EDA116E3363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prstClr val="black"/>
              <a:schemeClr val="accent4">
                <a:lumMod val="40000"/>
                <a:lumOff val="60000"/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7254643" y="2268049"/>
            <a:ext cx="231668" cy="304826"/>
          </a:xfrm>
          <a:prstGeom prst="rect">
            <a:avLst/>
          </a:prstGeom>
        </p:spPr>
      </p:pic>
      <p:pic>
        <p:nvPicPr>
          <p:cNvPr id="7870" name="!!Pic72">
            <a:extLst>
              <a:ext uri="{FF2B5EF4-FFF2-40B4-BE49-F238E27FC236}">
                <a16:creationId xmlns:a16="http://schemas.microsoft.com/office/drawing/2014/main" id="{6B866DB6-2EB3-62F3-A808-44DFB51DB981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prstClr val="black"/>
              <a:schemeClr val="accent4">
                <a:lumMod val="40000"/>
                <a:lumOff val="60000"/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6357125" y="2277625"/>
            <a:ext cx="231668" cy="304826"/>
          </a:xfrm>
          <a:prstGeom prst="rect">
            <a:avLst/>
          </a:prstGeom>
        </p:spPr>
      </p:pic>
      <p:pic>
        <p:nvPicPr>
          <p:cNvPr id="7871" name="!!Pic73">
            <a:extLst>
              <a:ext uri="{FF2B5EF4-FFF2-40B4-BE49-F238E27FC236}">
                <a16:creationId xmlns:a16="http://schemas.microsoft.com/office/drawing/2014/main" id="{0241FE6A-7345-1474-AFC4-3D8295B91781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prstClr val="black"/>
              <a:schemeClr val="accent4">
                <a:lumMod val="40000"/>
                <a:lumOff val="60000"/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8741541" y="2274149"/>
            <a:ext cx="231668" cy="304826"/>
          </a:xfrm>
          <a:prstGeom prst="rect">
            <a:avLst/>
          </a:prstGeom>
        </p:spPr>
      </p:pic>
      <p:pic>
        <p:nvPicPr>
          <p:cNvPr id="6037" name="!!Pic74">
            <a:extLst>
              <a:ext uri="{FF2B5EF4-FFF2-40B4-BE49-F238E27FC236}">
                <a16:creationId xmlns:a16="http://schemas.microsoft.com/office/drawing/2014/main" id="{D12434A2-D00C-6B55-219E-FB5C10F58AD8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prstClr val="black"/>
              <a:schemeClr val="accent4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0057362" y="3540453"/>
            <a:ext cx="231668" cy="304826"/>
          </a:xfrm>
          <a:prstGeom prst="rect">
            <a:avLst/>
          </a:prstGeom>
          <a:effectLst>
            <a:innerShdw blurRad="279400">
              <a:schemeClr val="accent4">
                <a:lumMod val="50000"/>
              </a:schemeClr>
            </a:innerShdw>
          </a:effectLst>
        </p:spPr>
      </p:pic>
      <p:pic>
        <p:nvPicPr>
          <p:cNvPr id="6038" name="!!Pic75">
            <a:extLst>
              <a:ext uri="{FF2B5EF4-FFF2-40B4-BE49-F238E27FC236}">
                <a16:creationId xmlns:a16="http://schemas.microsoft.com/office/drawing/2014/main" id="{025A4BAF-1E30-EF8A-3265-0A2F89CCB8E4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prstClr val="black"/>
              <a:schemeClr val="accent4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0665158" y="5221380"/>
            <a:ext cx="231668" cy="304826"/>
          </a:xfrm>
          <a:prstGeom prst="rect">
            <a:avLst/>
          </a:prstGeom>
          <a:effectLst>
            <a:innerShdw blurRad="279400">
              <a:schemeClr val="accent4">
                <a:lumMod val="50000"/>
              </a:schemeClr>
            </a:innerShdw>
          </a:effectLst>
        </p:spPr>
      </p:pic>
      <p:pic>
        <p:nvPicPr>
          <p:cNvPr id="6039" name="!!Pic76">
            <a:extLst>
              <a:ext uri="{FF2B5EF4-FFF2-40B4-BE49-F238E27FC236}">
                <a16:creationId xmlns:a16="http://schemas.microsoft.com/office/drawing/2014/main" id="{906C6DF8-8BDD-AFE0-AC58-239D1E4115FF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prstClr val="black"/>
              <a:schemeClr val="accent4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1234189" y="3135973"/>
            <a:ext cx="231668" cy="304826"/>
          </a:xfrm>
          <a:prstGeom prst="rect">
            <a:avLst/>
          </a:prstGeom>
          <a:effectLst>
            <a:innerShdw blurRad="279400">
              <a:schemeClr val="accent4">
                <a:lumMod val="50000"/>
              </a:schemeClr>
            </a:innerShdw>
          </a:effectLst>
        </p:spPr>
      </p:pic>
      <p:pic>
        <p:nvPicPr>
          <p:cNvPr id="6040" name="!!Pic77">
            <a:extLst>
              <a:ext uri="{FF2B5EF4-FFF2-40B4-BE49-F238E27FC236}">
                <a16:creationId xmlns:a16="http://schemas.microsoft.com/office/drawing/2014/main" id="{8AD9269E-269D-E0FA-9366-3B23F744BF60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prstClr val="black"/>
              <a:schemeClr val="accent4">
                <a:lumMod val="40000"/>
                <a:lumOff val="60000"/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6460868" y="5380759"/>
            <a:ext cx="231668" cy="304826"/>
          </a:xfrm>
          <a:prstGeom prst="rect">
            <a:avLst/>
          </a:prstGeom>
        </p:spPr>
      </p:pic>
      <p:pic>
        <p:nvPicPr>
          <p:cNvPr id="6041" name="!!Pic78">
            <a:extLst>
              <a:ext uri="{FF2B5EF4-FFF2-40B4-BE49-F238E27FC236}">
                <a16:creationId xmlns:a16="http://schemas.microsoft.com/office/drawing/2014/main" id="{5E575B2B-9DAA-ED5E-156E-2996101457D0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prstClr val="black"/>
              <a:schemeClr val="accent4">
                <a:lumMod val="40000"/>
                <a:lumOff val="60000"/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8890475" y="3934142"/>
            <a:ext cx="231668" cy="304826"/>
          </a:xfrm>
          <a:prstGeom prst="rect">
            <a:avLst/>
          </a:prstGeom>
        </p:spPr>
      </p:pic>
      <p:pic>
        <p:nvPicPr>
          <p:cNvPr id="6042" name="!!Pic79">
            <a:extLst>
              <a:ext uri="{FF2B5EF4-FFF2-40B4-BE49-F238E27FC236}">
                <a16:creationId xmlns:a16="http://schemas.microsoft.com/office/drawing/2014/main" id="{9AB3F313-F22D-BA7D-C781-F9DBE8789EB7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prstClr val="black"/>
              <a:schemeClr val="accent4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9947813" y="4872034"/>
            <a:ext cx="231668" cy="304826"/>
          </a:xfrm>
          <a:prstGeom prst="rect">
            <a:avLst/>
          </a:prstGeom>
          <a:effectLst>
            <a:innerShdw blurRad="279400">
              <a:schemeClr val="accent4">
                <a:lumMod val="50000"/>
              </a:schemeClr>
            </a:innerShdw>
          </a:effectLst>
        </p:spPr>
      </p:pic>
      <p:pic>
        <p:nvPicPr>
          <p:cNvPr id="6043" name="!!Pic80">
            <a:extLst>
              <a:ext uri="{FF2B5EF4-FFF2-40B4-BE49-F238E27FC236}">
                <a16:creationId xmlns:a16="http://schemas.microsoft.com/office/drawing/2014/main" id="{81E794B0-44DB-99AB-36E8-2A7B8ED51C3A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prstClr val="black"/>
              <a:schemeClr val="accent4">
                <a:lumMod val="40000"/>
                <a:lumOff val="60000"/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8715993" y="2943855"/>
            <a:ext cx="231668" cy="304826"/>
          </a:xfrm>
          <a:prstGeom prst="rect">
            <a:avLst/>
          </a:prstGeom>
        </p:spPr>
      </p:pic>
      <p:pic>
        <p:nvPicPr>
          <p:cNvPr id="6044" name="!!Pic81">
            <a:extLst>
              <a:ext uri="{FF2B5EF4-FFF2-40B4-BE49-F238E27FC236}">
                <a16:creationId xmlns:a16="http://schemas.microsoft.com/office/drawing/2014/main" id="{60B7796D-F294-2130-E516-19B6C99E0840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prstClr val="black"/>
              <a:schemeClr val="accent4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0559254" y="2293297"/>
            <a:ext cx="231668" cy="304826"/>
          </a:xfrm>
          <a:prstGeom prst="rect">
            <a:avLst/>
          </a:prstGeom>
          <a:effectLst>
            <a:innerShdw blurRad="279400">
              <a:schemeClr val="accent4">
                <a:lumMod val="50000"/>
              </a:schemeClr>
            </a:innerShdw>
          </a:effectLst>
        </p:spPr>
      </p:pic>
      <p:pic>
        <p:nvPicPr>
          <p:cNvPr id="6045" name="!!Pic82">
            <a:extLst>
              <a:ext uri="{FF2B5EF4-FFF2-40B4-BE49-F238E27FC236}">
                <a16:creationId xmlns:a16="http://schemas.microsoft.com/office/drawing/2014/main" id="{43125AE7-DD79-BD37-C5D5-3FE3B9BC8067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prstClr val="black"/>
              <a:schemeClr val="accent4">
                <a:lumMod val="40000"/>
                <a:lumOff val="60000"/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8484874" y="3521671"/>
            <a:ext cx="231668" cy="304826"/>
          </a:xfrm>
          <a:prstGeom prst="rect">
            <a:avLst/>
          </a:prstGeom>
        </p:spPr>
      </p:pic>
      <p:pic>
        <p:nvPicPr>
          <p:cNvPr id="6054" name="!!Pic83">
            <a:extLst>
              <a:ext uri="{FF2B5EF4-FFF2-40B4-BE49-F238E27FC236}">
                <a16:creationId xmlns:a16="http://schemas.microsoft.com/office/drawing/2014/main" id="{3401B16B-0EC9-2F1B-F9D3-772C596B5C9B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prstClr val="black"/>
              <a:schemeClr val="accent4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0923041" y="2894638"/>
            <a:ext cx="231668" cy="304826"/>
          </a:xfrm>
          <a:prstGeom prst="rect">
            <a:avLst/>
          </a:prstGeom>
          <a:effectLst>
            <a:innerShdw blurRad="279400">
              <a:schemeClr val="accent4">
                <a:lumMod val="50000"/>
              </a:schemeClr>
            </a:innerShdw>
          </a:effectLst>
        </p:spPr>
      </p:pic>
      <p:pic>
        <p:nvPicPr>
          <p:cNvPr id="6056" name="!!Pic84">
            <a:extLst>
              <a:ext uri="{FF2B5EF4-FFF2-40B4-BE49-F238E27FC236}">
                <a16:creationId xmlns:a16="http://schemas.microsoft.com/office/drawing/2014/main" id="{BC781641-A715-42F5-D93B-8326C7DCE4AB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prstClr val="black"/>
              <a:schemeClr val="accent4">
                <a:lumMod val="40000"/>
                <a:lumOff val="60000"/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8312244" y="4895651"/>
            <a:ext cx="231668" cy="304826"/>
          </a:xfrm>
          <a:prstGeom prst="rect">
            <a:avLst/>
          </a:prstGeom>
        </p:spPr>
      </p:pic>
      <p:pic>
        <p:nvPicPr>
          <p:cNvPr id="6057" name="!!Pic85">
            <a:extLst>
              <a:ext uri="{FF2B5EF4-FFF2-40B4-BE49-F238E27FC236}">
                <a16:creationId xmlns:a16="http://schemas.microsoft.com/office/drawing/2014/main" id="{D03FBC13-A360-8338-A266-024092615BAC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prstClr val="black"/>
              <a:schemeClr val="accent4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9868372" y="5351014"/>
            <a:ext cx="231668" cy="304826"/>
          </a:xfrm>
          <a:prstGeom prst="rect">
            <a:avLst/>
          </a:prstGeom>
          <a:effectLst>
            <a:innerShdw blurRad="279400">
              <a:schemeClr val="accent4">
                <a:lumMod val="50000"/>
              </a:schemeClr>
            </a:innerShdw>
          </a:effectLst>
        </p:spPr>
      </p:pic>
      <p:pic>
        <p:nvPicPr>
          <p:cNvPr id="6058" name="!!Pic86">
            <a:extLst>
              <a:ext uri="{FF2B5EF4-FFF2-40B4-BE49-F238E27FC236}">
                <a16:creationId xmlns:a16="http://schemas.microsoft.com/office/drawing/2014/main" id="{262B5E0A-7141-3E26-F256-FFBFF795BD17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prstClr val="black"/>
              <a:schemeClr val="accent4">
                <a:lumMod val="40000"/>
                <a:lumOff val="60000"/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7951107" y="2416270"/>
            <a:ext cx="231668" cy="304826"/>
          </a:xfrm>
          <a:prstGeom prst="rect">
            <a:avLst/>
          </a:prstGeom>
        </p:spPr>
      </p:pic>
      <p:pic>
        <p:nvPicPr>
          <p:cNvPr id="6059" name="!!Pic87">
            <a:extLst>
              <a:ext uri="{FF2B5EF4-FFF2-40B4-BE49-F238E27FC236}">
                <a16:creationId xmlns:a16="http://schemas.microsoft.com/office/drawing/2014/main" id="{015A63B6-7F29-1BFF-B362-5591BE826459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prstClr val="black"/>
              <a:schemeClr val="accent4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0410801" y="2651308"/>
            <a:ext cx="231668" cy="304826"/>
          </a:xfrm>
          <a:prstGeom prst="rect">
            <a:avLst/>
          </a:prstGeom>
          <a:effectLst>
            <a:innerShdw blurRad="279400">
              <a:schemeClr val="accent4">
                <a:lumMod val="50000"/>
              </a:schemeClr>
            </a:innerShdw>
          </a:effectLst>
        </p:spPr>
      </p:pic>
      <p:pic>
        <p:nvPicPr>
          <p:cNvPr id="6060" name="!!Pic88">
            <a:extLst>
              <a:ext uri="{FF2B5EF4-FFF2-40B4-BE49-F238E27FC236}">
                <a16:creationId xmlns:a16="http://schemas.microsoft.com/office/drawing/2014/main" id="{4B72891D-0524-6E6C-1B46-5F5CB35ED71A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prstClr val="black"/>
              <a:schemeClr val="accent4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0660843" y="3513639"/>
            <a:ext cx="231668" cy="304826"/>
          </a:xfrm>
          <a:prstGeom prst="rect">
            <a:avLst/>
          </a:prstGeom>
          <a:effectLst>
            <a:innerShdw blurRad="279400">
              <a:schemeClr val="accent4">
                <a:lumMod val="50000"/>
              </a:schemeClr>
            </a:innerShdw>
          </a:effectLst>
        </p:spPr>
      </p:pic>
      <p:pic>
        <p:nvPicPr>
          <p:cNvPr id="6061" name="!!Pic89">
            <a:extLst>
              <a:ext uri="{FF2B5EF4-FFF2-40B4-BE49-F238E27FC236}">
                <a16:creationId xmlns:a16="http://schemas.microsoft.com/office/drawing/2014/main" id="{B2C758BE-E034-24CB-F589-E2188CA2976F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prstClr val="black"/>
              <a:schemeClr val="accent4">
                <a:lumMod val="40000"/>
                <a:lumOff val="60000"/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7007803" y="2985699"/>
            <a:ext cx="231668" cy="304826"/>
          </a:xfrm>
          <a:prstGeom prst="rect">
            <a:avLst/>
          </a:prstGeom>
        </p:spPr>
      </p:pic>
      <p:pic>
        <p:nvPicPr>
          <p:cNvPr id="6062" name="!!Pic90">
            <a:extLst>
              <a:ext uri="{FF2B5EF4-FFF2-40B4-BE49-F238E27FC236}">
                <a16:creationId xmlns:a16="http://schemas.microsoft.com/office/drawing/2014/main" id="{BB1CC947-9E11-99D8-7F9E-4F572C23702D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prstClr val="black"/>
              <a:schemeClr val="accent4">
                <a:lumMod val="40000"/>
                <a:lumOff val="60000"/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7813372" y="4787483"/>
            <a:ext cx="231668" cy="304826"/>
          </a:xfrm>
          <a:prstGeom prst="rect">
            <a:avLst/>
          </a:prstGeom>
        </p:spPr>
      </p:pic>
      <p:pic>
        <p:nvPicPr>
          <p:cNvPr id="6063" name="!!Pic91">
            <a:extLst>
              <a:ext uri="{FF2B5EF4-FFF2-40B4-BE49-F238E27FC236}">
                <a16:creationId xmlns:a16="http://schemas.microsoft.com/office/drawing/2014/main" id="{999B6876-BCC5-37F9-3388-8E96F157E3A6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prstClr val="black"/>
              <a:schemeClr val="accent4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0982237" y="5304130"/>
            <a:ext cx="231668" cy="304826"/>
          </a:xfrm>
          <a:prstGeom prst="rect">
            <a:avLst/>
          </a:prstGeom>
          <a:effectLst>
            <a:innerShdw blurRad="279400">
              <a:schemeClr val="accent4">
                <a:lumMod val="50000"/>
              </a:schemeClr>
            </a:innerShdw>
          </a:effectLst>
        </p:spPr>
      </p:pic>
      <p:pic>
        <p:nvPicPr>
          <p:cNvPr id="6064" name="!!Pic92">
            <a:extLst>
              <a:ext uri="{FF2B5EF4-FFF2-40B4-BE49-F238E27FC236}">
                <a16:creationId xmlns:a16="http://schemas.microsoft.com/office/drawing/2014/main" id="{144C00B4-9168-83F0-5078-11F0DE8EA6D2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prstClr val="black"/>
              <a:schemeClr val="accent4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1228060" y="4461787"/>
            <a:ext cx="231668" cy="304826"/>
          </a:xfrm>
          <a:prstGeom prst="rect">
            <a:avLst/>
          </a:prstGeom>
          <a:effectLst>
            <a:innerShdw blurRad="279400">
              <a:schemeClr val="accent4">
                <a:lumMod val="50000"/>
              </a:schemeClr>
            </a:innerShdw>
          </a:effectLst>
        </p:spPr>
      </p:pic>
      <p:pic>
        <p:nvPicPr>
          <p:cNvPr id="6065" name="!!Pic93">
            <a:extLst>
              <a:ext uri="{FF2B5EF4-FFF2-40B4-BE49-F238E27FC236}">
                <a16:creationId xmlns:a16="http://schemas.microsoft.com/office/drawing/2014/main" id="{EBD70002-447F-BF64-5062-AE9637819EB9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prstClr val="black"/>
              <a:schemeClr val="accent4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0297139" y="5405544"/>
            <a:ext cx="231668" cy="304826"/>
          </a:xfrm>
          <a:prstGeom prst="rect">
            <a:avLst/>
          </a:prstGeom>
          <a:effectLst>
            <a:innerShdw blurRad="279400">
              <a:schemeClr val="accent4">
                <a:lumMod val="50000"/>
              </a:schemeClr>
            </a:innerShdw>
          </a:effectLst>
        </p:spPr>
      </p:pic>
      <p:pic>
        <p:nvPicPr>
          <p:cNvPr id="6066" name="!!Pic94">
            <a:extLst>
              <a:ext uri="{FF2B5EF4-FFF2-40B4-BE49-F238E27FC236}">
                <a16:creationId xmlns:a16="http://schemas.microsoft.com/office/drawing/2014/main" id="{92DD636E-BCD7-2D02-41BD-CC9977824299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prstClr val="black"/>
              <a:schemeClr val="accent4">
                <a:lumMod val="40000"/>
                <a:lumOff val="60000"/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6531432" y="4361186"/>
            <a:ext cx="231668" cy="304826"/>
          </a:xfrm>
          <a:prstGeom prst="rect">
            <a:avLst/>
          </a:prstGeom>
        </p:spPr>
      </p:pic>
      <p:pic>
        <p:nvPicPr>
          <p:cNvPr id="6067" name="!!Pic95">
            <a:extLst>
              <a:ext uri="{FF2B5EF4-FFF2-40B4-BE49-F238E27FC236}">
                <a16:creationId xmlns:a16="http://schemas.microsoft.com/office/drawing/2014/main" id="{4B94D743-1AF6-EC41-B45D-35F65F325C65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prstClr val="black"/>
              <a:schemeClr val="accent4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0573697" y="4581203"/>
            <a:ext cx="231668" cy="304826"/>
          </a:xfrm>
          <a:prstGeom prst="rect">
            <a:avLst/>
          </a:prstGeom>
          <a:effectLst>
            <a:innerShdw blurRad="279400">
              <a:schemeClr val="accent4">
                <a:lumMod val="50000"/>
              </a:schemeClr>
            </a:innerShdw>
          </a:effectLst>
        </p:spPr>
      </p:pic>
      <p:pic>
        <p:nvPicPr>
          <p:cNvPr id="6068" name="!!Pic96">
            <a:extLst>
              <a:ext uri="{FF2B5EF4-FFF2-40B4-BE49-F238E27FC236}">
                <a16:creationId xmlns:a16="http://schemas.microsoft.com/office/drawing/2014/main" id="{3FBFE501-A96A-6543-D3BD-837365CBD300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prstClr val="black"/>
              <a:schemeClr val="accent4">
                <a:lumMod val="40000"/>
                <a:lumOff val="60000"/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6877542" y="3454954"/>
            <a:ext cx="231668" cy="304826"/>
          </a:xfrm>
          <a:prstGeom prst="rect">
            <a:avLst/>
          </a:prstGeom>
        </p:spPr>
      </p:pic>
      <p:pic>
        <p:nvPicPr>
          <p:cNvPr id="6069" name="!!Pic97">
            <a:extLst>
              <a:ext uri="{FF2B5EF4-FFF2-40B4-BE49-F238E27FC236}">
                <a16:creationId xmlns:a16="http://schemas.microsoft.com/office/drawing/2014/main" id="{738697F9-3D94-519C-7A63-238C094F8591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prstClr val="black"/>
              <a:schemeClr val="accent4">
                <a:lumMod val="40000"/>
                <a:lumOff val="60000"/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7219452" y="5271021"/>
            <a:ext cx="231668" cy="304826"/>
          </a:xfrm>
          <a:prstGeom prst="rect">
            <a:avLst/>
          </a:prstGeom>
        </p:spPr>
      </p:pic>
      <p:pic>
        <p:nvPicPr>
          <p:cNvPr id="6070" name="!!Pic98">
            <a:extLst>
              <a:ext uri="{FF2B5EF4-FFF2-40B4-BE49-F238E27FC236}">
                <a16:creationId xmlns:a16="http://schemas.microsoft.com/office/drawing/2014/main" id="{F016E9B7-75EE-531B-9EC2-31A901C3C4BC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prstClr val="black"/>
              <a:schemeClr val="accent4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9488356" y="4521105"/>
            <a:ext cx="231668" cy="304826"/>
          </a:xfrm>
          <a:prstGeom prst="rect">
            <a:avLst/>
          </a:prstGeom>
          <a:effectLst>
            <a:innerShdw blurRad="279400">
              <a:schemeClr val="accent4">
                <a:lumMod val="50000"/>
              </a:schemeClr>
            </a:innerShdw>
          </a:effectLst>
        </p:spPr>
      </p:pic>
      <p:pic>
        <p:nvPicPr>
          <p:cNvPr id="6071" name="!!Pic99">
            <a:extLst>
              <a:ext uri="{FF2B5EF4-FFF2-40B4-BE49-F238E27FC236}">
                <a16:creationId xmlns:a16="http://schemas.microsoft.com/office/drawing/2014/main" id="{CAC21B43-8AF3-0ACE-F23E-0FFA70C4F3DE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prstClr val="black"/>
              <a:schemeClr val="accent4">
                <a:lumMod val="40000"/>
                <a:lumOff val="60000"/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6373288" y="3276587"/>
            <a:ext cx="231668" cy="304826"/>
          </a:xfrm>
          <a:prstGeom prst="rect">
            <a:avLst/>
          </a:prstGeom>
        </p:spPr>
      </p:pic>
      <p:pic>
        <p:nvPicPr>
          <p:cNvPr id="6072" name="!!Pic100">
            <a:extLst>
              <a:ext uri="{FF2B5EF4-FFF2-40B4-BE49-F238E27FC236}">
                <a16:creationId xmlns:a16="http://schemas.microsoft.com/office/drawing/2014/main" id="{B313FD5A-5E07-B489-72B5-79EEFC752305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prstClr val="black"/>
              <a:schemeClr val="accent4">
                <a:lumMod val="40000"/>
                <a:lumOff val="60000"/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7583383" y="2689037"/>
            <a:ext cx="231668" cy="3048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584457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500">
        <p159:morph option="byObject"/>
      </p:transition>
    </mc:Choice>
    <mc:Fallback xmlns="">
      <p:transition spd="slow">
        <p:fade/>
      </p:transition>
    </mc:Fallback>
  </mc:AlternateContent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C168711-D48B-C7C3-1500-6146E5444BB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8" name="Free-form: Shape 227">
            <a:extLst>
              <a:ext uri="{FF2B5EF4-FFF2-40B4-BE49-F238E27FC236}">
                <a16:creationId xmlns:a16="http://schemas.microsoft.com/office/drawing/2014/main" id="{A3913B7C-B517-DA4E-F18A-C48EFD9A30C7}"/>
              </a:ext>
            </a:extLst>
          </p:cNvPr>
          <p:cNvSpPr/>
          <p:nvPr/>
        </p:nvSpPr>
        <p:spPr>
          <a:xfrm>
            <a:off x="6719162" y="2461140"/>
            <a:ext cx="499809" cy="429685"/>
          </a:xfrm>
          <a:custGeom>
            <a:avLst/>
            <a:gdLst>
              <a:gd name="csX0" fmla="*/ 0 w 1408471"/>
              <a:gd name="csY0" fmla="*/ 0 h 1238865"/>
              <a:gd name="csX1" fmla="*/ 81116 w 1408471"/>
              <a:gd name="csY1" fmla="*/ 0 h 1238865"/>
              <a:gd name="csX2" fmla="*/ 81116 w 1408471"/>
              <a:gd name="csY2" fmla="*/ 29497 h 1238865"/>
              <a:gd name="csX3" fmla="*/ 213851 w 1408471"/>
              <a:gd name="csY3" fmla="*/ 29497 h 1238865"/>
              <a:gd name="csX4" fmla="*/ 213851 w 1408471"/>
              <a:gd name="csY4" fmla="*/ 44245 h 1238865"/>
              <a:gd name="csX5" fmla="*/ 287593 w 1408471"/>
              <a:gd name="csY5" fmla="*/ 44245 h 1238865"/>
              <a:gd name="csX6" fmla="*/ 287593 w 1408471"/>
              <a:gd name="csY6" fmla="*/ 117987 h 1238865"/>
              <a:gd name="csX7" fmla="*/ 479322 w 1408471"/>
              <a:gd name="csY7" fmla="*/ 117987 h 1238865"/>
              <a:gd name="csX8" fmla="*/ 479322 w 1408471"/>
              <a:gd name="csY8" fmla="*/ 191729 h 1238865"/>
              <a:gd name="csX9" fmla="*/ 523567 w 1408471"/>
              <a:gd name="csY9" fmla="*/ 191729 h 1238865"/>
              <a:gd name="csX10" fmla="*/ 523567 w 1408471"/>
              <a:gd name="csY10" fmla="*/ 361336 h 1238865"/>
              <a:gd name="csX11" fmla="*/ 678425 w 1408471"/>
              <a:gd name="csY11" fmla="*/ 361336 h 1238865"/>
              <a:gd name="csX12" fmla="*/ 678425 w 1408471"/>
              <a:gd name="csY12" fmla="*/ 442452 h 1238865"/>
              <a:gd name="csX13" fmla="*/ 707922 w 1408471"/>
              <a:gd name="csY13" fmla="*/ 442452 h 1238865"/>
              <a:gd name="csX14" fmla="*/ 707922 w 1408471"/>
              <a:gd name="csY14" fmla="*/ 486697 h 1238865"/>
              <a:gd name="csX15" fmla="*/ 774290 w 1408471"/>
              <a:gd name="csY15" fmla="*/ 486697 h 1238865"/>
              <a:gd name="csX16" fmla="*/ 774290 w 1408471"/>
              <a:gd name="csY16" fmla="*/ 523568 h 1238865"/>
              <a:gd name="csX17" fmla="*/ 825909 w 1408471"/>
              <a:gd name="csY17" fmla="*/ 523568 h 1238865"/>
              <a:gd name="csX18" fmla="*/ 825909 w 1408471"/>
              <a:gd name="csY18" fmla="*/ 567813 h 1238865"/>
              <a:gd name="csX19" fmla="*/ 899651 w 1408471"/>
              <a:gd name="csY19" fmla="*/ 567813 h 1238865"/>
              <a:gd name="csX20" fmla="*/ 899651 w 1408471"/>
              <a:gd name="csY20" fmla="*/ 604684 h 1238865"/>
              <a:gd name="csX21" fmla="*/ 929148 w 1408471"/>
              <a:gd name="csY21" fmla="*/ 604684 h 1238865"/>
              <a:gd name="csX22" fmla="*/ 929148 w 1408471"/>
              <a:gd name="csY22" fmla="*/ 744794 h 1238865"/>
              <a:gd name="csX23" fmla="*/ 951271 w 1408471"/>
              <a:gd name="csY23" fmla="*/ 744794 h 1238865"/>
              <a:gd name="csX24" fmla="*/ 951271 w 1408471"/>
              <a:gd name="csY24" fmla="*/ 818536 h 1238865"/>
              <a:gd name="csX25" fmla="*/ 980767 w 1408471"/>
              <a:gd name="csY25" fmla="*/ 818536 h 1238865"/>
              <a:gd name="csX26" fmla="*/ 980767 w 1408471"/>
              <a:gd name="csY26" fmla="*/ 1010265 h 1238865"/>
              <a:gd name="csX27" fmla="*/ 1091380 w 1408471"/>
              <a:gd name="csY27" fmla="*/ 1010265 h 1238865"/>
              <a:gd name="csX28" fmla="*/ 1091380 w 1408471"/>
              <a:gd name="csY28" fmla="*/ 1047136 h 1238865"/>
              <a:gd name="csX29" fmla="*/ 1150374 w 1408471"/>
              <a:gd name="csY29" fmla="*/ 1047136 h 1238865"/>
              <a:gd name="csX30" fmla="*/ 1150374 w 1408471"/>
              <a:gd name="csY30" fmla="*/ 1076632 h 1238865"/>
              <a:gd name="csX31" fmla="*/ 1209367 w 1408471"/>
              <a:gd name="csY31" fmla="*/ 1076632 h 1238865"/>
              <a:gd name="csX32" fmla="*/ 1209367 w 1408471"/>
              <a:gd name="csY32" fmla="*/ 1128252 h 1238865"/>
              <a:gd name="csX33" fmla="*/ 1297858 w 1408471"/>
              <a:gd name="csY33" fmla="*/ 1128252 h 1238865"/>
              <a:gd name="csX34" fmla="*/ 1319980 w 1408471"/>
              <a:gd name="csY34" fmla="*/ 1150374 h 1238865"/>
              <a:gd name="csX35" fmla="*/ 1408471 w 1408471"/>
              <a:gd name="csY35" fmla="*/ 1238865 h 1238865"/>
              <a:gd name="csX0" fmla="*/ 0 w 1319980"/>
              <a:gd name="csY0" fmla="*/ 0 h 1150374"/>
              <a:gd name="csX1" fmla="*/ 81116 w 1319980"/>
              <a:gd name="csY1" fmla="*/ 0 h 1150374"/>
              <a:gd name="csX2" fmla="*/ 81116 w 1319980"/>
              <a:gd name="csY2" fmla="*/ 29497 h 1150374"/>
              <a:gd name="csX3" fmla="*/ 213851 w 1319980"/>
              <a:gd name="csY3" fmla="*/ 29497 h 1150374"/>
              <a:gd name="csX4" fmla="*/ 213851 w 1319980"/>
              <a:gd name="csY4" fmla="*/ 44245 h 1150374"/>
              <a:gd name="csX5" fmla="*/ 287593 w 1319980"/>
              <a:gd name="csY5" fmla="*/ 44245 h 1150374"/>
              <a:gd name="csX6" fmla="*/ 287593 w 1319980"/>
              <a:gd name="csY6" fmla="*/ 117987 h 1150374"/>
              <a:gd name="csX7" fmla="*/ 479322 w 1319980"/>
              <a:gd name="csY7" fmla="*/ 117987 h 1150374"/>
              <a:gd name="csX8" fmla="*/ 479322 w 1319980"/>
              <a:gd name="csY8" fmla="*/ 191729 h 1150374"/>
              <a:gd name="csX9" fmla="*/ 523567 w 1319980"/>
              <a:gd name="csY9" fmla="*/ 191729 h 1150374"/>
              <a:gd name="csX10" fmla="*/ 523567 w 1319980"/>
              <a:gd name="csY10" fmla="*/ 361336 h 1150374"/>
              <a:gd name="csX11" fmla="*/ 678425 w 1319980"/>
              <a:gd name="csY11" fmla="*/ 361336 h 1150374"/>
              <a:gd name="csX12" fmla="*/ 678425 w 1319980"/>
              <a:gd name="csY12" fmla="*/ 442452 h 1150374"/>
              <a:gd name="csX13" fmla="*/ 707922 w 1319980"/>
              <a:gd name="csY13" fmla="*/ 442452 h 1150374"/>
              <a:gd name="csX14" fmla="*/ 707922 w 1319980"/>
              <a:gd name="csY14" fmla="*/ 486697 h 1150374"/>
              <a:gd name="csX15" fmla="*/ 774290 w 1319980"/>
              <a:gd name="csY15" fmla="*/ 486697 h 1150374"/>
              <a:gd name="csX16" fmla="*/ 774290 w 1319980"/>
              <a:gd name="csY16" fmla="*/ 523568 h 1150374"/>
              <a:gd name="csX17" fmla="*/ 825909 w 1319980"/>
              <a:gd name="csY17" fmla="*/ 523568 h 1150374"/>
              <a:gd name="csX18" fmla="*/ 825909 w 1319980"/>
              <a:gd name="csY18" fmla="*/ 567813 h 1150374"/>
              <a:gd name="csX19" fmla="*/ 899651 w 1319980"/>
              <a:gd name="csY19" fmla="*/ 567813 h 1150374"/>
              <a:gd name="csX20" fmla="*/ 899651 w 1319980"/>
              <a:gd name="csY20" fmla="*/ 604684 h 1150374"/>
              <a:gd name="csX21" fmla="*/ 929148 w 1319980"/>
              <a:gd name="csY21" fmla="*/ 604684 h 1150374"/>
              <a:gd name="csX22" fmla="*/ 929148 w 1319980"/>
              <a:gd name="csY22" fmla="*/ 744794 h 1150374"/>
              <a:gd name="csX23" fmla="*/ 951271 w 1319980"/>
              <a:gd name="csY23" fmla="*/ 744794 h 1150374"/>
              <a:gd name="csX24" fmla="*/ 951271 w 1319980"/>
              <a:gd name="csY24" fmla="*/ 818536 h 1150374"/>
              <a:gd name="csX25" fmla="*/ 980767 w 1319980"/>
              <a:gd name="csY25" fmla="*/ 818536 h 1150374"/>
              <a:gd name="csX26" fmla="*/ 980767 w 1319980"/>
              <a:gd name="csY26" fmla="*/ 1010265 h 1150374"/>
              <a:gd name="csX27" fmla="*/ 1091380 w 1319980"/>
              <a:gd name="csY27" fmla="*/ 1010265 h 1150374"/>
              <a:gd name="csX28" fmla="*/ 1091380 w 1319980"/>
              <a:gd name="csY28" fmla="*/ 1047136 h 1150374"/>
              <a:gd name="csX29" fmla="*/ 1150374 w 1319980"/>
              <a:gd name="csY29" fmla="*/ 1047136 h 1150374"/>
              <a:gd name="csX30" fmla="*/ 1150374 w 1319980"/>
              <a:gd name="csY30" fmla="*/ 1076632 h 1150374"/>
              <a:gd name="csX31" fmla="*/ 1209367 w 1319980"/>
              <a:gd name="csY31" fmla="*/ 1076632 h 1150374"/>
              <a:gd name="csX32" fmla="*/ 1209367 w 1319980"/>
              <a:gd name="csY32" fmla="*/ 1128252 h 1150374"/>
              <a:gd name="csX33" fmla="*/ 1297858 w 1319980"/>
              <a:gd name="csY33" fmla="*/ 1128252 h 1150374"/>
              <a:gd name="csX34" fmla="*/ 1319980 w 1319980"/>
              <a:gd name="csY34" fmla="*/ 1150374 h 1150374"/>
              <a:gd name="csX0" fmla="*/ 0 w 1297858"/>
              <a:gd name="csY0" fmla="*/ 0 h 1128252"/>
              <a:gd name="csX1" fmla="*/ 81116 w 1297858"/>
              <a:gd name="csY1" fmla="*/ 0 h 1128252"/>
              <a:gd name="csX2" fmla="*/ 81116 w 1297858"/>
              <a:gd name="csY2" fmla="*/ 29497 h 1128252"/>
              <a:gd name="csX3" fmla="*/ 213851 w 1297858"/>
              <a:gd name="csY3" fmla="*/ 29497 h 1128252"/>
              <a:gd name="csX4" fmla="*/ 213851 w 1297858"/>
              <a:gd name="csY4" fmla="*/ 44245 h 1128252"/>
              <a:gd name="csX5" fmla="*/ 287593 w 1297858"/>
              <a:gd name="csY5" fmla="*/ 44245 h 1128252"/>
              <a:gd name="csX6" fmla="*/ 287593 w 1297858"/>
              <a:gd name="csY6" fmla="*/ 117987 h 1128252"/>
              <a:gd name="csX7" fmla="*/ 479322 w 1297858"/>
              <a:gd name="csY7" fmla="*/ 117987 h 1128252"/>
              <a:gd name="csX8" fmla="*/ 479322 w 1297858"/>
              <a:gd name="csY8" fmla="*/ 191729 h 1128252"/>
              <a:gd name="csX9" fmla="*/ 523567 w 1297858"/>
              <a:gd name="csY9" fmla="*/ 191729 h 1128252"/>
              <a:gd name="csX10" fmla="*/ 523567 w 1297858"/>
              <a:gd name="csY10" fmla="*/ 361336 h 1128252"/>
              <a:gd name="csX11" fmla="*/ 678425 w 1297858"/>
              <a:gd name="csY11" fmla="*/ 361336 h 1128252"/>
              <a:gd name="csX12" fmla="*/ 678425 w 1297858"/>
              <a:gd name="csY12" fmla="*/ 442452 h 1128252"/>
              <a:gd name="csX13" fmla="*/ 707922 w 1297858"/>
              <a:gd name="csY13" fmla="*/ 442452 h 1128252"/>
              <a:gd name="csX14" fmla="*/ 707922 w 1297858"/>
              <a:gd name="csY14" fmla="*/ 486697 h 1128252"/>
              <a:gd name="csX15" fmla="*/ 774290 w 1297858"/>
              <a:gd name="csY15" fmla="*/ 486697 h 1128252"/>
              <a:gd name="csX16" fmla="*/ 774290 w 1297858"/>
              <a:gd name="csY16" fmla="*/ 523568 h 1128252"/>
              <a:gd name="csX17" fmla="*/ 825909 w 1297858"/>
              <a:gd name="csY17" fmla="*/ 523568 h 1128252"/>
              <a:gd name="csX18" fmla="*/ 825909 w 1297858"/>
              <a:gd name="csY18" fmla="*/ 567813 h 1128252"/>
              <a:gd name="csX19" fmla="*/ 899651 w 1297858"/>
              <a:gd name="csY19" fmla="*/ 567813 h 1128252"/>
              <a:gd name="csX20" fmla="*/ 899651 w 1297858"/>
              <a:gd name="csY20" fmla="*/ 604684 h 1128252"/>
              <a:gd name="csX21" fmla="*/ 929148 w 1297858"/>
              <a:gd name="csY21" fmla="*/ 604684 h 1128252"/>
              <a:gd name="csX22" fmla="*/ 929148 w 1297858"/>
              <a:gd name="csY22" fmla="*/ 744794 h 1128252"/>
              <a:gd name="csX23" fmla="*/ 951271 w 1297858"/>
              <a:gd name="csY23" fmla="*/ 744794 h 1128252"/>
              <a:gd name="csX24" fmla="*/ 951271 w 1297858"/>
              <a:gd name="csY24" fmla="*/ 818536 h 1128252"/>
              <a:gd name="csX25" fmla="*/ 980767 w 1297858"/>
              <a:gd name="csY25" fmla="*/ 818536 h 1128252"/>
              <a:gd name="csX26" fmla="*/ 980767 w 1297858"/>
              <a:gd name="csY26" fmla="*/ 1010265 h 1128252"/>
              <a:gd name="csX27" fmla="*/ 1091380 w 1297858"/>
              <a:gd name="csY27" fmla="*/ 1010265 h 1128252"/>
              <a:gd name="csX28" fmla="*/ 1091380 w 1297858"/>
              <a:gd name="csY28" fmla="*/ 1047136 h 1128252"/>
              <a:gd name="csX29" fmla="*/ 1150374 w 1297858"/>
              <a:gd name="csY29" fmla="*/ 1047136 h 1128252"/>
              <a:gd name="csX30" fmla="*/ 1150374 w 1297858"/>
              <a:gd name="csY30" fmla="*/ 1076632 h 1128252"/>
              <a:gd name="csX31" fmla="*/ 1209367 w 1297858"/>
              <a:gd name="csY31" fmla="*/ 1076632 h 1128252"/>
              <a:gd name="csX32" fmla="*/ 1209367 w 1297858"/>
              <a:gd name="csY32" fmla="*/ 1128252 h 1128252"/>
              <a:gd name="csX33" fmla="*/ 1297858 w 1297858"/>
              <a:gd name="csY33" fmla="*/ 1128252 h 112825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</a:cxnLst>
            <a:rect l="l" t="t" r="r" b="b"/>
            <a:pathLst>
              <a:path w="1297858" h="1128252">
                <a:moveTo>
                  <a:pt x="0" y="0"/>
                </a:moveTo>
                <a:lnTo>
                  <a:pt x="81116" y="0"/>
                </a:lnTo>
                <a:lnTo>
                  <a:pt x="81116" y="29497"/>
                </a:lnTo>
                <a:lnTo>
                  <a:pt x="213851" y="29497"/>
                </a:lnTo>
                <a:lnTo>
                  <a:pt x="213851" y="44245"/>
                </a:lnTo>
                <a:lnTo>
                  <a:pt x="287593" y="44245"/>
                </a:lnTo>
                <a:lnTo>
                  <a:pt x="287593" y="117987"/>
                </a:lnTo>
                <a:lnTo>
                  <a:pt x="479322" y="117987"/>
                </a:lnTo>
                <a:lnTo>
                  <a:pt x="479322" y="191729"/>
                </a:lnTo>
                <a:lnTo>
                  <a:pt x="523567" y="191729"/>
                </a:lnTo>
                <a:lnTo>
                  <a:pt x="523567" y="361336"/>
                </a:lnTo>
                <a:lnTo>
                  <a:pt x="678425" y="361336"/>
                </a:lnTo>
                <a:lnTo>
                  <a:pt x="678425" y="442452"/>
                </a:lnTo>
                <a:lnTo>
                  <a:pt x="707922" y="442452"/>
                </a:lnTo>
                <a:lnTo>
                  <a:pt x="707922" y="486697"/>
                </a:lnTo>
                <a:lnTo>
                  <a:pt x="774290" y="486697"/>
                </a:lnTo>
                <a:lnTo>
                  <a:pt x="774290" y="523568"/>
                </a:lnTo>
                <a:lnTo>
                  <a:pt x="825909" y="523568"/>
                </a:lnTo>
                <a:lnTo>
                  <a:pt x="825909" y="567813"/>
                </a:lnTo>
                <a:lnTo>
                  <a:pt x="899651" y="567813"/>
                </a:lnTo>
                <a:lnTo>
                  <a:pt x="899651" y="604684"/>
                </a:lnTo>
                <a:lnTo>
                  <a:pt x="929148" y="604684"/>
                </a:lnTo>
                <a:lnTo>
                  <a:pt x="929148" y="744794"/>
                </a:lnTo>
                <a:lnTo>
                  <a:pt x="951271" y="744794"/>
                </a:lnTo>
                <a:lnTo>
                  <a:pt x="951271" y="818536"/>
                </a:lnTo>
                <a:lnTo>
                  <a:pt x="980767" y="818536"/>
                </a:lnTo>
                <a:lnTo>
                  <a:pt x="980767" y="1010265"/>
                </a:lnTo>
                <a:lnTo>
                  <a:pt x="1091380" y="1010265"/>
                </a:lnTo>
                <a:lnTo>
                  <a:pt x="1091380" y="1047136"/>
                </a:lnTo>
                <a:lnTo>
                  <a:pt x="1150374" y="1047136"/>
                </a:lnTo>
                <a:lnTo>
                  <a:pt x="1150374" y="1076632"/>
                </a:lnTo>
                <a:lnTo>
                  <a:pt x="1209367" y="1076632"/>
                </a:lnTo>
                <a:lnTo>
                  <a:pt x="1209367" y="1128252"/>
                </a:lnTo>
                <a:lnTo>
                  <a:pt x="1297858" y="1128252"/>
                </a:lnTo>
              </a:path>
            </a:pathLst>
          </a:cu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29" name="Free-form: Shape 228">
            <a:extLst>
              <a:ext uri="{FF2B5EF4-FFF2-40B4-BE49-F238E27FC236}">
                <a16:creationId xmlns:a16="http://schemas.microsoft.com/office/drawing/2014/main" id="{8B1A37AD-1863-7668-2005-153881208D16}"/>
              </a:ext>
            </a:extLst>
          </p:cNvPr>
          <p:cNvSpPr/>
          <p:nvPr/>
        </p:nvSpPr>
        <p:spPr>
          <a:xfrm>
            <a:off x="7216322" y="2891255"/>
            <a:ext cx="3614276" cy="914400"/>
          </a:xfrm>
          <a:custGeom>
            <a:avLst/>
            <a:gdLst>
              <a:gd name="csX0" fmla="*/ 0 w 8622287"/>
              <a:gd name="csY0" fmla="*/ 0 h 2412221"/>
              <a:gd name="csX1" fmla="*/ 0 w 8622287"/>
              <a:gd name="csY1" fmla="*/ 56098 h 2412221"/>
              <a:gd name="csX2" fmla="*/ 78538 w 8622287"/>
              <a:gd name="csY2" fmla="*/ 56098 h 2412221"/>
              <a:gd name="csX3" fmla="*/ 78538 w 8622287"/>
              <a:gd name="csY3" fmla="*/ 151465 h 2412221"/>
              <a:gd name="csX4" fmla="*/ 140246 w 8622287"/>
              <a:gd name="csY4" fmla="*/ 151465 h 2412221"/>
              <a:gd name="csX5" fmla="*/ 140246 w 8622287"/>
              <a:gd name="csY5" fmla="*/ 196343 h 2412221"/>
              <a:gd name="csX6" fmla="*/ 168295 w 8622287"/>
              <a:gd name="csY6" fmla="*/ 196343 h 2412221"/>
              <a:gd name="csX7" fmla="*/ 168295 w 8622287"/>
              <a:gd name="csY7" fmla="*/ 235612 h 2412221"/>
              <a:gd name="csX8" fmla="*/ 230003 w 8622287"/>
              <a:gd name="csY8" fmla="*/ 235612 h 2412221"/>
              <a:gd name="csX9" fmla="*/ 230003 w 8622287"/>
              <a:gd name="csY9" fmla="*/ 269271 h 2412221"/>
              <a:gd name="csX10" fmla="*/ 392687 w 8622287"/>
              <a:gd name="csY10" fmla="*/ 269271 h 2412221"/>
              <a:gd name="csX11" fmla="*/ 392687 w 8622287"/>
              <a:gd name="csY11" fmla="*/ 302930 h 2412221"/>
              <a:gd name="csX12" fmla="*/ 488054 w 8622287"/>
              <a:gd name="csY12" fmla="*/ 302930 h 2412221"/>
              <a:gd name="csX13" fmla="*/ 488054 w 8622287"/>
              <a:gd name="csY13" fmla="*/ 347808 h 2412221"/>
              <a:gd name="csX14" fmla="*/ 516103 w 8622287"/>
              <a:gd name="csY14" fmla="*/ 347808 h 2412221"/>
              <a:gd name="csX15" fmla="*/ 516103 w 8622287"/>
              <a:gd name="csY15" fmla="*/ 409516 h 2412221"/>
              <a:gd name="csX16" fmla="*/ 695617 w 8622287"/>
              <a:gd name="csY16" fmla="*/ 409516 h 2412221"/>
              <a:gd name="csX17" fmla="*/ 695617 w 8622287"/>
              <a:gd name="csY17" fmla="*/ 460005 h 2412221"/>
              <a:gd name="csX18" fmla="*/ 718057 w 8622287"/>
              <a:gd name="csY18" fmla="*/ 460005 h 2412221"/>
              <a:gd name="csX19" fmla="*/ 718057 w 8622287"/>
              <a:gd name="csY19" fmla="*/ 488054 h 2412221"/>
              <a:gd name="csX20" fmla="*/ 757325 w 8622287"/>
              <a:gd name="csY20" fmla="*/ 488054 h 2412221"/>
              <a:gd name="csX21" fmla="*/ 757325 w 8622287"/>
              <a:gd name="csY21" fmla="*/ 577811 h 2412221"/>
              <a:gd name="csX22" fmla="*/ 813423 w 8622287"/>
              <a:gd name="csY22" fmla="*/ 577811 h 2412221"/>
              <a:gd name="csX23" fmla="*/ 813423 w 8622287"/>
              <a:gd name="csY23" fmla="*/ 645128 h 2412221"/>
              <a:gd name="csX24" fmla="*/ 863912 w 8622287"/>
              <a:gd name="csY24" fmla="*/ 645128 h 2412221"/>
              <a:gd name="csX25" fmla="*/ 863912 w 8622287"/>
              <a:gd name="csY25" fmla="*/ 701227 h 2412221"/>
              <a:gd name="csX26" fmla="*/ 886351 w 8622287"/>
              <a:gd name="csY26" fmla="*/ 701227 h 2412221"/>
              <a:gd name="csX27" fmla="*/ 886351 w 8622287"/>
              <a:gd name="csY27" fmla="*/ 830252 h 2412221"/>
              <a:gd name="csX28" fmla="*/ 931230 w 8622287"/>
              <a:gd name="csY28" fmla="*/ 830252 h 2412221"/>
              <a:gd name="csX29" fmla="*/ 931230 w 8622287"/>
              <a:gd name="csY29" fmla="*/ 880741 h 2412221"/>
              <a:gd name="csX30" fmla="*/ 959279 w 8622287"/>
              <a:gd name="csY30" fmla="*/ 880741 h 2412221"/>
              <a:gd name="csX31" fmla="*/ 959279 w 8622287"/>
              <a:gd name="csY31" fmla="*/ 948059 h 2412221"/>
              <a:gd name="csX32" fmla="*/ 981718 w 8622287"/>
              <a:gd name="csY32" fmla="*/ 948059 h 2412221"/>
              <a:gd name="csX33" fmla="*/ 981718 w 8622287"/>
              <a:gd name="csY33" fmla="*/ 987327 h 2412221"/>
              <a:gd name="csX34" fmla="*/ 1099524 w 8622287"/>
              <a:gd name="csY34" fmla="*/ 987327 h 2412221"/>
              <a:gd name="csX35" fmla="*/ 1099524 w 8622287"/>
              <a:gd name="csY35" fmla="*/ 1020986 h 2412221"/>
              <a:gd name="csX36" fmla="*/ 1121963 w 8622287"/>
              <a:gd name="csY36" fmla="*/ 1020986 h 2412221"/>
              <a:gd name="csX37" fmla="*/ 1121963 w 8622287"/>
              <a:gd name="csY37" fmla="*/ 1065865 h 2412221"/>
              <a:gd name="csX38" fmla="*/ 1150012 w 8622287"/>
              <a:gd name="csY38" fmla="*/ 1065865 h 2412221"/>
              <a:gd name="csX39" fmla="*/ 1150012 w 8622287"/>
              <a:gd name="csY39" fmla="*/ 1110743 h 2412221"/>
              <a:gd name="csX40" fmla="*/ 1329527 w 8622287"/>
              <a:gd name="csY40" fmla="*/ 1110743 h 2412221"/>
              <a:gd name="csX41" fmla="*/ 1329527 w 8622287"/>
              <a:gd name="csY41" fmla="*/ 1144402 h 2412221"/>
              <a:gd name="csX42" fmla="*/ 1469772 w 8622287"/>
              <a:gd name="csY42" fmla="*/ 1144402 h 2412221"/>
              <a:gd name="csX43" fmla="*/ 1469772 w 8622287"/>
              <a:gd name="csY43" fmla="*/ 1189281 h 2412221"/>
              <a:gd name="csX44" fmla="*/ 1604407 w 8622287"/>
              <a:gd name="csY44" fmla="*/ 1189281 h 2412221"/>
              <a:gd name="csX45" fmla="*/ 1604407 w 8622287"/>
              <a:gd name="csY45" fmla="*/ 1234159 h 2412221"/>
              <a:gd name="csX46" fmla="*/ 1772702 w 8622287"/>
              <a:gd name="csY46" fmla="*/ 1234159 h 2412221"/>
              <a:gd name="csX47" fmla="*/ 1772702 w 8622287"/>
              <a:gd name="csY47" fmla="*/ 1273428 h 2412221"/>
              <a:gd name="csX48" fmla="*/ 1840020 w 8622287"/>
              <a:gd name="csY48" fmla="*/ 1273428 h 2412221"/>
              <a:gd name="csX49" fmla="*/ 1840020 w 8622287"/>
              <a:gd name="csY49" fmla="*/ 1318306 h 2412221"/>
              <a:gd name="csX50" fmla="*/ 1918557 w 8622287"/>
              <a:gd name="csY50" fmla="*/ 1318306 h 2412221"/>
              <a:gd name="csX51" fmla="*/ 1918557 w 8622287"/>
              <a:gd name="csY51" fmla="*/ 1357575 h 2412221"/>
              <a:gd name="csX52" fmla="*/ 2058803 w 8622287"/>
              <a:gd name="csY52" fmla="*/ 1357575 h 2412221"/>
              <a:gd name="csX53" fmla="*/ 2058803 w 8622287"/>
              <a:gd name="csY53" fmla="*/ 1396844 h 2412221"/>
              <a:gd name="csX54" fmla="*/ 2692712 w 8622287"/>
              <a:gd name="csY54" fmla="*/ 1396844 h 2412221"/>
              <a:gd name="csX55" fmla="*/ 2692712 w 8622287"/>
              <a:gd name="csY55" fmla="*/ 1447332 h 2412221"/>
              <a:gd name="csX56" fmla="*/ 2743200 w 8622287"/>
              <a:gd name="csY56" fmla="*/ 1447332 h 2412221"/>
              <a:gd name="csX57" fmla="*/ 2743200 w 8622287"/>
              <a:gd name="csY57" fmla="*/ 1492211 h 2412221"/>
              <a:gd name="csX58" fmla="*/ 2832957 w 8622287"/>
              <a:gd name="csY58" fmla="*/ 1492211 h 2412221"/>
              <a:gd name="csX59" fmla="*/ 2832957 w 8622287"/>
              <a:gd name="csY59" fmla="*/ 1553919 h 2412221"/>
              <a:gd name="csX60" fmla="*/ 2866616 w 8622287"/>
              <a:gd name="csY60" fmla="*/ 1553919 h 2412221"/>
              <a:gd name="csX61" fmla="*/ 2866616 w 8622287"/>
              <a:gd name="csY61" fmla="*/ 1666115 h 2412221"/>
              <a:gd name="csX62" fmla="*/ 2911495 w 8622287"/>
              <a:gd name="csY62" fmla="*/ 1666115 h 2412221"/>
              <a:gd name="csX63" fmla="*/ 2911495 w 8622287"/>
              <a:gd name="csY63" fmla="*/ 1710994 h 2412221"/>
              <a:gd name="csX64" fmla="*/ 2939544 w 8622287"/>
              <a:gd name="csY64" fmla="*/ 1710994 h 2412221"/>
              <a:gd name="csX65" fmla="*/ 2939544 w 8622287"/>
              <a:gd name="csY65" fmla="*/ 1739043 h 2412221"/>
              <a:gd name="csX66" fmla="*/ 2961983 w 8622287"/>
              <a:gd name="csY66" fmla="*/ 1739043 h 2412221"/>
              <a:gd name="csX67" fmla="*/ 2961983 w 8622287"/>
              <a:gd name="csY67" fmla="*/ 1789531 h 2412221"/>
              <a:gd name="csX68" fmla="*/ 3881993 w 8622287"/>
              <a:gd name="csY68" fmla="*/ 1789531 h 2412221"/>
              <a:gd name="csX69" fmla="*/ 3881993 w 8622287"/>
              <a:gd name="csY69" fmla="*/ 1828800 h 2412221"/>
              <a:gd name="csX70" fmla="*/ 3926871 w 8622287"/>
              <a:gd name="csY70" fmla="*/ 1828800 h 2412221"/>
              <a:gd name="csX71" fmla="*/ 3926871 w 8622287"/>
              <a:gd name="csY71" fmla="*/ 1935386 h 2412221"/>
              <a:gd name="csX72" fmla="*/ 3977360 w 8622287"/>
              <a:gd name="csY72" fmla="*/ 1935386 h 2412221"/>
              <a:gd name="csX73" fmla="*/ 3977360 w 8622287"/>
              <a:gd name="csY73" fmla="*/ 1969045 h 2412221"/>
              <a:gd name="csX74" fmla="*/ 5003956 w 8622287"/>
              <a:gd name="csY74" fmla="*/ 1969045 h 2412221"/>
              <a:gd name="csX75" fmla="*/ 5003956 w 8622287"/>
              <a:gd name="csY75" fmla="*/ 2019533 h 2412221"/>
              <a:gd name="csX76" fmla="*/ 5065664 w 8622287"/>
              <a:gd name="csY76" fmla="*/ 2019533 h 2412221"/>
              <a:gd name="csX77" fmla="*/ 5065664 w 8622287"/>
              <a:gd name="csY77" fmla="*/ 2131730 h 2412221"/>
              <a:gd name="csX78" fmla="*/ 5239568 w 8622287"/>
              <a:gd name="csY78" fmla="*/ 2131730 h 2412221"/>
              <a:gd name="csX79" fmla="*/ 5239568 w 8622287"/>
              <a:gd name="csY79" fmla="*/ 2187828 h 2412221"/>
              <a:gd name="csX80" fmla="*/ 5637865 w 8622287"/>
              <a:gd name="csY80" fmla="*/ 2187828 h 2412221"/>
              <a:gd name="csX81" fmla="*/ 5637865 w 8622287"/>
              <a:gd name="csY81" fmla="*/ 2249536 h 2412221"/>
              <a:gd name="csX82" fmla="*/ 7562032 w 8622287"/>
              <a:gd name="csY82" fmla="*/ 2249536 h 2412221"/>
              <a:gd name="csX83" fmla="*/ 7562032 w 8622287"/>
              <a:gd name="csY83" fmla="*/ 2412221 h 2412221"/>
              <a:gd name="csX84" fmla="*/ 8622287 w 8622287"/>
              <a:gd name="csY84" fmla="*/ 2412221 h 2412221"/>
              <a:gd name="csX0" fmla="*/ 0 w 8622287"/>
              <a:gd name="csY0" fmla="*/ 0 h 2412221"/>
              <a:gd name="csX1" fmla="*/ 0 w 8622287"/>
              <a:gd name="csY1" fmla="*/ 56098 h 2412221"/>
              <a:gd name="csX2" fmla="*/ 78538 w 8622287"/>
              <a:gd name="csY2" fmla="*/ 56098 h 2412221"/>
              <a:gd name="csX3" fmla="*/ 78538 w 8622287"/>
              <a:gd name="csY3" fmla="*/ 151465 h 2412221"/>
              <a:gd name="csX4" fmla="*/ 140246 w 8622287"/>
              <a:gd name="csY4" fmla="*/ 151465 h 2412221"/>
              <a:gd name="csX5" fmla="*/ 140246 w 8622287"/>
              <a:gd name="csY5" fmla="*/ 196343 h 2412221"/>
              <a:gd name="csX6" fmla="*/ 168295 w 8622287"/>
              <a:gd name="csY6" fmla="*/ 196343 h 2412221"/>
              <a:gd name="csX7" fmla="*/ 168295 w 8622287"/>
              <a:gd name="csY7" fmla="*/ 235612 h 2412221"/>
              <a:gd name="csX8" fmla="*/ 230003 w 8622287"/>
              <a:gd name="csY8" fmla="*/ 235612 h 2412221"/>
              <a:gd name="csX9" fmla="*/ 230003 w 8622287"/>
              <a:gd name="csY9" fmla="*/ 269271 h 2412221"/>
              <a:gd name="csX10" fmla="*/ 392687 w 8622287"/>
              <a:gd name="csY10" fmla="*/ 269271 h 2412221"/>
              <a:gd name="csX11" fmla="*/ 392687 w 8622287"/>
              <a:gd name="csY11" fmla="*/ 302930 h 2412221"/>
              <a:gd name="csX12" fmla="*/ 488054 w 8622287"/>
              <a:gd name="csY12" fmla="*/ 302930 h 2412221"/>
              <a:gd name="csX13" fmla="*/ 488054 w 8622287"/>
              <a:gd name="csY13" fmla="*/ 347808 h 2412221"/>
              <a:gd name="csX14" fmla="*/ 516103 w 8622287"/>
              <a:gd name="csY14" fmla="*/ 347808 h 2412221"/>
              <a:gd name="csX15" fmla="*/ 516103 w 8622287"/>
              <a:gd name="csY15" fmla="*/ 409516 h 2412221"/>
              <a:gd name="csX16" fmla="*/ 695617 w 8622287"/>
              <a:gd name="csY16" fmla="*/ 409516 h 2412221"/>
              <a:gd name="csX17" fmla="*/ 695617 w 8622287"/>
              <a:gd name="csY17" fmla="*/ 460005 h 2412221"/>
              <a:gd name="csX18" fmla="*/ 718057 w 8622287"/>
              <a:gd name="csY18" fmla="*/ 460005 h 2412221"/>
              <a:gd name="csX19" fmla="*/ 718057 w 8622287"/>
              <a:gd name="csY19" fmla="*/ 488054 h 2412221"/>
              <a:gd name="csX20" fmla="*/ 757325 w 8622287"/>
              <a:gd name="csY20" fmla="*/ 488054 h 2412221"/>
              <a:gd name="csX21" fmla="*/ 757325 w 8622287"/>
              <a:gd name="csY21" fmla="*/ 577811 h 2412221"/>
              <a:gd name="csX22" fmla="*/ 813423 w 8622287"/>
              <a:gd name="csY22" fmla="*/ 577811 h 2412221"/>
              <a:gd name="csX23" fmla="*/ 813423 w 8622287"/>
              <a:gd name="csY23" fmla="*/ 645128 h 2412221"/>
              <a:gd name="csX24" fmla="*/ 863912 w 8622287"/>
              <a:gd name="csY24" fmla="*/ 645128 h 2412221"/>
              <a:gd name="csX25" fmla="*/ 863912 w 8622287"/>
              <a:gd name="csY25" fmla="*/ 701227 h 2412221"/>
              <a:gd name="csX26" fmla="*/ 886351 w 8622287"/>
              <a:gd name="csY26" fmla="*/ 701227 h 2412221"/>
              <a:gd name="csX27" fmla="*/ 886351 w 8622287"/>
              <a:gd name="csY27" fmla="*/ 830252 h 2412221"/>
              <a:gd name="csX28" fmla="*/ 931230 w 8622287"/>
              <a:gd name="csY28" fmla="*/ 830252 h 2412221"/>
              <a:gd name="csX29" fmla="*/ 931230 w 8622287"/>
              <a:gd name="csY29" fmla="*/ 880741 h 2412221"/>
              <a:gd name="csX30" fmla="*/ 959279 w 8622287"/>
              <a:gd name="csY30" fmla="*/ 880741 h 2412221"/>
              <a:gd name="csX31" fmla="*/ 959279 w 8622287"/>
              <a:gd name="csY31" fmla="*/ 948059 h 2412221"/>
              <a:gd name="csX32" fmla="*/ 981718 w 8622287"/>
              <a:gd name="csY32" fmla="*/ 948059 h 2412221"/>
              <a:gd name="csX33" fmla="*/ 981718 w 8622287"/>
              <a:gd name="csY33" fmla="*/ 987327 h 2412221"/>
              <a:gd name="csX34" fmla="*/ 1099524 w 8622287"/>
              <a:gd name="csY34" fmla="*/ 987327 h 2412221"/>
              <a:gd name="csX35" fmla="*/ 1099524 w 8622287"/>
              <a:gd name="csY35" fmla="*/ 1020986 h 2412221"/>
              <a:gd name="csX36" fmla="*/ 1121963 w 8622287"/>
              <a:gd name="csY36" fmla="*/ 1020986 h 2412221"/>
              <a:gd name="csX37" fmla="*/ 1121963 w 8622287"/>
              <a:gd name="csY37" fmla="*/ 1065865 h 2412221"/>
              <a:gd name="csX38" fmla="*/ 1150012 w 8622287"/>
              <a:gd name="csY38" fmla="*/ 1065865 h 2412221"/>
              <a:gd name="csX39" fmla="*/ 1150012 w 8622287"/>
              <a:gd name="csY39" fmla="*/ 1110743 h 2412221"/>
              <a:gd name="csX40" fmla="*/ 1329527 w 8622287"/>
              <a:gd name="csY40" fmla="*/ 1110743 h 2412221"/>
              <a:gd name="csX41" fmla="*/ 1329527 w 8622287"/>
              <a:gd name="csY41" fmla="*/ 1144402 h 2412221"/>
              <a:gd name="csX42" fmla="*/ 1469772 w 8622287"/>
              <a:gd name="csY42" fmla="*/ 1144402 h 2412221"/>
              <a:gd name="csX43" fmla="*/ 1469772 w 8622287"/>
              <a:gd name="csY43" fmla="*/ 1189281 h 2412221"/>
              <a:gd name="csX44" fmla="*/ 1604407 w 8622287"/>
              <a:gd name="csY44" fmla="*/ 1189281 h 2412221"/>
              <a:gd name="csX45" fmla="*/ 1604407 w 8622287"/>
              <a:gd name="csY45" fmla="*/ 1234159 h 2412221"/>
              <a:gd name="csX46" fmla="*/ 1772702 w 8622287"/>
              <a:gd name="csY46" fmla="*/ 1234159 h 2412221"/>
              <a:gd name="csX47" fmla="*/ 1772702 w 8622287"/>
              <a:gd name="csY47" fmla="*/ 1273428 h 2412221"/>
              <a:gd name="csX48" fmla="*/ 1840020 w 8622287"/>
              <a:gd name="csY48" fmla="*/ 1273428 h 2412221"/>
              <a:gd name="csX49" fmla="*/ 1840020 w 8622287"/>
              <a:gd name="csY49" fmla="*/ 1318306 h 2412221"/>
              <a:gd name="csX50" fmla="*/ 1918557 w 8622287"/>
              <a:gd name="csY50" fmla="*/ 1318306 h 2412221"/>
              <a:gd name="csX51" fmla="*/ 1918557 w 8622287"/>
              <a:gd name="csY51" fmla="*/ 1357575 h 2412221"/>
              <a:gd name="csX52" fmla="*/ 2058803 w 8622287"/>
              <a:gd name="csY52" fmla="*/ 1357575 h 2412221"/>
              <a:gd name="csX53" fmla="*/ 2058803 w 8622287"/>
              <a:gd name="csY53" fmla="*/ 1396844 h 2412221"/>
              <a:gd name="csX54" fmla="*/ 2692712 w 8622287"/>
              <a:gd name="csY54" fmla="*/ 1396844 h 2412221"/>
              <a:gd name="csX55" fmla="*/ 2692712 w 8622287"/>
              <a:gd name="csY55" fmla="*/ 1447332 h 2412221"/>
              <a:gd name="csX56" fmla="*/ 2743200 w 8622287"/>
              <a:gd name="csY56" fmla="*/ 1447332 h 2412221"/>
              <a:gd name="csX57" fmla="*/ 2743200 w 8622287"/>
              <a:gd name="csY57" fmla="*/ 1492211 h 2412221"/>
              <a:gd name="csX58" fmla="*/ 2832957 w 8622287"/>
              <a:gd name="csY58" fmla="*/ 1492211 h 2412221"/>
              <a:gd name="csX59" fmla="*/ 2832957 w 8622287"/>
              <a:gd name="csY59" fmla="*/ 1553919 h 2412221"/>
              <a:gd name="csX60" fmla="*/ 2866616 w 8622287"/>
              <a:gd name="csY60" fmla="*/ 1553919 h 2412221"/>
              <a:gd name="csX61" fmla="*/ 2866616 w 8622287"/>
              <a:gd name="csY61" fmla="*/ 1666115 h 2412221"/>
              <a:gd name="csX62" fmla="*/ 2911495 w 8622287"/>
              <a:gd name="csY62" fmla="*/ 1666115 h 2412221"/>
              <a:gd name="csX63" fmla="*/ 2911495 w 8622287"/>
              <a:gd name="csY63" fmla="*/ 1710994 h 2412221"/>
              <a:gd name="csX64" fmla="*/ 2939544 w 8622287"/>
              <a:gd name="csY64" fmla="*/ 1710994 h 2412221"/>
              <a:gd name="csX65" fmla="*/ 2939544 w 8622287"/>
              <a:gd name="csY65" fmla="*/ 1739043 h 2412221"/>
              <a:gd name="csX66" fmla="*/ 2961983 w 8622287"/>
              <a:gd name="csY66" fmla="*/ 1739043 h 2412221"/>
              <a:gd name="csX67" fmla="*/ 2961983 w 8622287"/>
              <a:gd name="csY67" fmla="*/ 1789531 h 2412221"/>
              <a:gd name="csX68" fmla="*/ 3881993 w 8622287"/>
              <a:gd name="csY68" fmla="*/ 1789531 h 2412221"/>
              <a:gd name="csX69" fmla="*/ 3881993 w 8622287"/>
              <a:gd name="csY69" fmla="*/ 1828800 h 2412221"/>
              <a:gd name="csX70" fmla="*/ 3926871 w 8622287"/>
              <a:gd name="csY70" fmla="*/ 1828800 h 2412221"/>
              <a:gd name="csX71" fmla="*/ 3926871 w 8622287"/>
              <a:gd name="csY71" fmla="*/ 1935386 h 2412221"/>
              <a:gd name="csX72" fmla="*/ 3977360 w 8622287"/>
              <a:gd name="csY72" fmla="*/ 1935386 h 2412221"/>
              <a:gd name="csX73" fmla="*/ 3977360 w 8622287"/>
              <a:gd name="csY73" fmla="*/ 1969045 h 2412221"/>
              <a:gd name="csX74" fmla="*/ 5003956 w 8622287"/>
              <a:gd name="csY74" fmla="*/ 1969045 h 2412221"/>
              <a:gd name="csX75" fmla="*/ 5003956 w 8622287"/>
              <a:gd name="csY75" fmla="*/ 2019533 h 2412221"/>
              <a:gd name="csX76" fmla="*/ 5065664 w 8622287"/>
              <a:gd name="csY76" fmla="*/ 2019533 h 2412221"/>
              <a:gd name="csX77" fmla="*/ 5065664 w 8622287"/>
              <a:gd name="csY77" fmla="*/ 2131730 h 2412221"/>
              <a:gd name="csX78" fmla="*/ 5239568 w 8622287"/>
              <a:gd name="csY78" fmla="*/ 2131730 h 2412221"/>
              <a:gd name="csX79" fmla="*/ 5239568 w 8622287"/>
              <a:gd name="csY79" fmla="*/ 2187828 h 2412221"/>
              <a:gd name="csX80" fmla="*/ 5637865 w 8622287"/>
              <a:gd name="csY80" fmla="*/ 2187828 h 2412221"/>
              <a:gd name="csX81" fmla="*/ 5637865 w 8622287"/>
              <a:gd name="csY81" fmla="*/ 2249536 h 2412221"/>
              <a:gd name="csX82" fmla="*/ 7562032 w 8622287"/>
              <a:gd name="csY82" fmla="*/ 2249536 h 2412221"/>
              <a:gd name="csX83" fmla="*/ 7562032 w 8622287"/>
              <a:gd name="csY83" fmla="*/ 2395392 h 2412221"/>
              <a:gd name="csX84" fmla="*/ 8622287 w 8622287"/>
              <a:gd name="csY84" fmla="*/ 2412221 h 2412221"/>
              <a:gd name="csX0" fmla="*/ 0 w 9368393"/>
              <a:gd name="csY0" fmla="*/ 0 h 2401002"/>
              <a:gd name="csX1" fmla="*/ 0 w 9368393"/>
              <a:gd name="csY1" fmla="*/ 56098 h 2401002"/>
              <a:gd name="csX2" fmla="*/ 78538 w 9368393"/>
              <a:gd name="csY2" fmla="*/ 56098 h 2401002"/>
              <a:gd name="csX3" fmla="*/ 78538 w 9368393"/>
              <a:gd name="csY3" fmla="*/ 151465 h 2401002"/>
              <a:gd name="csX4" fmla="*/ 140246 w 9368393"/>
              <a:gd name="csY4" fmla="*/ 151465 h 2401002"/>
              <a:gd name="csX5" fmla="*/ 140246 w 9368393"/>
              <a:gd name="csY5" fmla="*/ 196343 h 2401002"/>
              <a:gd name="csX6" fmla="*/ 168295 w 9368393"/>
              <a:gd name="csY6" fmla="*/ 196343 h 2401002"/>
              <a:gd name="csX7" fmla="*/ 168295 w 9368393"/>
              <a:gd name="csY7" fmla="*/ 235612 h 2401002"/>
              <a:gd name="csX8" fmla="*/ 230003 w 9368393"/>
              <a:gd name="csY8" fmla="*/ 235612 h 2401002"/>
              <a:gd name="csX9" fmla="*/ 230003 w 9368393"/>
              <a:gd name="csY9" fmla="*/ 269271 h 2401002"/>
              <a:gd name="csX10" fmla="*/ 392687 w 9368393"/>
              <a:gd name="csY10" fmla="*/ 269271 h 2401002"/>
              <a:gd name="csX11" fmla="*/ 392687 w 9368393"/>
              <a:gd name="csY11" fmla="*/ 302930 h 2401002"/>
              <a:gd name="csX12" fmla="*/ 488054 w 9368393"/>
              <a:gd name="csY12" fmla="*/ 302930 h 2401002"/>
              <a:gd name="csX13" fmla="*/ 488054 w 9368393"/>
              <a:gd name="csY13" fmla="*/ 347808 h 2401002"/>
              <a:gd name="csX14" fmla="*/ 516103 w 9368393"/>
              <a:gd name="csY14" fmla="*/ 347808 h 2401002"/>
              <a:gd name="csX15" fmla="*/ 516103 w 9368393"/>
              <a:gd name="csY15" fmla="*/ 409516 h 2401002"/>
              <a:gd name="csX16" fmla="*/ 695617 w 9368393"/>
              <a:gd name="csY16" fmla="*/ 409516 h 2401002"/>
              <a:gd name="csX17" fmla="*/ 695617 w 9368393"/>
              <a:gd name="csY17" fmla="*/ 460005 h 2401002"/>
              <a:gd name="csX18" fmla="*/ 718057 w 9368393"/>
              <a:gd name="csY18" fmla="*/ 460005 h 2401002"/>
              <a:gd name="csX19" fmla="*/ 718057 w 9368393"/>
              <a:gd name="csY19" fmla="*/ 488054 h 2401002"/>
              <a:gd name="csX20" fmla="*/ 757325 w 9368393"/>
              <a:gd name="csY20" fmla="*/ 488054 h 2401002"/>
              <a:gd name="csX21" fmla="*/ 757325 w 9368393"/>
              <a:gd name="csY21" fmla="*/ 577811 h 2401002"/>
              <a:gd name="csX22" fmla="*/ 813423 w 9368393"/>
              <a:gd name="csY22" fmla="*/ 577811 h 2401002"/>
              <a:gd name="csX23" fmla="*/ 813423 w 9368393"/>
              <a:gd name="csY23" fmla="*/ 645128 h 2401002"/>
              <a:gd name="csX24" fmla="*/ 863912 w 9368393"/>
              <a:gd name="csY24" fmla="*/ 645128 h 2401002"/>
              <a:gd name="csX25" fmla="*/ 863912 w 9368393"/>
              <a:gd name="csY25" fmla="*/ 701227 h 2401002"/>
              <a:gd name="csX26" fmla="*/ 886351 w 9368393"/>
              <a:gd name="csY26" fmla="*/ 701227 h 2401002"/>
              <a:gd name="csX27" fmla="*/ 886351 w 9368393"/>
              <a:gd name="csY27" fmla="*/ 830252 h 2401002"/>
              <a:gd name="csX28" fmla="*/ 931230 w 9368393"/>
              <a:gd name="csY28" fmla="*/ 830252 h 2401002"/>
              <a:gd name="csX29" fmla="*/ 931230 w 9368393"/>
              <a:gd name="csY29" fmla="*/ 880741 h 2401002"/>
              <a:gd name="csX30" fmla="*/ 959279 w 9368393"/>
              <a:gd name="csY30" fmla="*/ 880741 h 2401002"/>
              <a:gd name="csX31" fmla="*/ 959279 w 9368393"/>
              <a:gd name="csY31" fmla="*/ 948059 h 2401002"/>
              <a:gd name="csX32" fmla="*/ 981718 w 9368393"/>
              <a:gd name="csY32" fmla="*/ 948059 h 2401002"/>
              <a:gd name="csX33" fmla="*/ 981718 w 9368393"/>
              <a:gd name="csY33" fmla="*/ 987327 h 2401002"/>
              <a:gd name="csX34" fmla="*/ 1099524 w 9368393"/>
              <a:gd name="csY34" fmla="*/ 987327 h 2401002"/>
              <a:gd name="csX35" fmla="*/ 1099524 w 9368393"/>
              <a:gd name="csY35" fmla="*/ 1020986 h 2401002"/>
              <a:gd name="csX36" fmla="*/ 1121963 w 9368393"/>
              <a:gd name="csY36" fmla="*/ 1020986 h 2401002"/>
              <a:gd name="csX37" fmla="*/ 1121963 w 9368393"/>
              <a:gd name="csY37" fmla="*/ 1065865 h 2401002"/>
              <a:gd name="csX38" fmla="*/ 1150012 w 9368393"/>
              <a:gd name="csY38" fmla="*/ 1065865 h 2401002"/>
              <a:gd name="csX39" fmla="*/ 1150012 w 9368393"/>
              <a:gd name="csY39" fmla="*/ 1110743 h 2401002"/>
              <a:gd name="csX40" fmla="*/ 1329527 w 9368393"/>
              <a:gd name="csY40" fmla="*/ 1110743 h 2401002"/>
              <a:gd name="csX41" fmla="*/ 1329527 w 9368393"/>
              <a:gd name="csY41" fmla="*/ 1144402 h 2401002"/>
              <a:gd name="csX42" fmla="*/ 1469772 w 9368393"/>
              <a:gd name="csY42" fmla="*/ 1144402 h 2401002"/>
              <a:gd name="csX43" fmla="*/ 1469772 w 9368393"/>
              <a:gd name="csY43" fmla="*/ 1189281 h 2401002"/>
              <a:gd name="csX44" fmla="*/ 1604407 w 9368393"/>
              <a:gd name="csY44" fmla="*/ 1189281 h 2401002"/>
              <a:gd name="csX45" fmla="*/ 1604407 w 9368393"/>
              <a:gd name="csY45" fmla="*/ 1234159 h 2401002"/>
              <a:gd name="csX46" fmla="*/ 1772702 w 9368393"/>
              <a:gd name="csY46" fmla="*/ 1234159 h 2401002"/>
              <a:gd name="csX47" fmla="*/ 1772702 w 9368393"/>
              <a:gd name="csY47" fmla="*/ 1273428 h 2401002"/>
              <a:gd name="csX48" fmla="*/ 1840020 w 9368393"/>
              <a:gd name="csY48" fmla="*/ 1273428 h 2401002"/>
              <a:gd name="csX49" fmla="*/ 1840020 w 9368393"/>
              <a:gd name="csY49" fmla="*/ 1318306 h 2401002"/>
              <a:gd name="csX50" fmla="*/ 1918557 w 9368393"/>
              <a:gd name="csY50" fmla="*/ 1318306 h 2401002"/>
              <a:gd name="csX51" fmla="*/ 1918557 w 9368393"/>
              <a:gd name="csY51" fmla="*/ 1357575 h 2401002"/>
              <a:gd name="csX52" fmla="*/ 2058803 w 9368393"/>
              <a:gd name="csY52" fmla="*/ 1357575 h 2401002"/>
              <a:gd name="csX53" fmla="*/ 2058803 w 9368393"/>
              <a:gd name="csY53" fmla="*/ 1396844 h 2401002"/>
              <a:gd name="csX54" fmla="*/ 2692712 w 9368393"/>
              <a:gd name="csY54" fmla="*/ 1396844 h 2401002"/>
              <a:gd name="csX55" fmla="*/ 2692712 w 9368393"/>
              <a:gd name="csY55" fmla="*/ 1447332 h 2401002"/>
              <a:gd name="csX56" fmla="*/ 2743200 w 9368393"/>
              <a:gd name="csY56" fmla="*/ 1447332 h 2401002"/>
              <a:gd name="csX57" fmla="*/ 2743200 w 9368393"/>
              <a:gd name="csY57" fmla="*/ 1492211 h 2401002"/>
              <a:gd name="csX58" fmla="*/ 2832957 w 9368393"/>
              <a:gd name="csY58" fmla="*/ 1492211 h 2401002"/>
              <a:gd name="csX59" fmla="*/ 2832957 w 9368393"/>
              <a:gd name="csY59" fmla="*/ 1553919 h 2401002"/>
              <a:gd name="csX60" fmla="*/ 2866616 w 9368393"/>
              <a:gd name="csY60" fmla="*/ 1553919 h 2401002"/>
              <a:gd name="csX61" fmla="*/ 2866616 w 9368393"/>
              <a:gd name="csY61" fmla="*/ 1666115 h 2401002"/>
              <a:gd name="csX62" fmla="*/ 2911495 w 9368393"/>
              <a:gd name="csY62" fmla="*/ 1666115 h 2401002"/>
              <a:gd name="csX63" fmla="*/ 2911495 w 9368393"/>
              <a:gd name="csY63" fmla="*/ 1710994 h 2401002"/>
              <a:gd name="csX64" fmla="*/ 2939544 w 9368393"/>
              <a:gd name="csY64" fmla="*/ 1710994 h 2401002"/>
              <a:gd name="csX65" fmla="*/ 2939544 w 9368393"/>
              <a:gd name="csY65" fmla="*/ 1739043 h 2401002"/>
              <a:gd name="csX66" fmla="*/ 2961983 w 9368393"/>
              <a:gd name="csY66" fmla="*/ 1739043 h 2401002"/>
              <a:gd name="csX67" fmla="*/ 2961983 w 9368393"/>
              <a:gd name="csY67" fmla="*/ 1789531 h 2401002"/>
              <a:gd name="csX68" fmla="*/ 3881993 w 9368393"/>
              <a:gd name="csY68" fmla="*/ 1789531 h 2401002"/>
              <a:gd name="csX69" fmla="*/ 3881993 w 9368393"/>
              <a:gd name="csY69" fmla="*/ 1828800 h 2401002"/>
              <a:gd name="csX70" fmla="*/ 3926871 w 9368393"/>
              <a:gd name="csY70" fmla="*/ 1828800 h 2401002"/>
              <a:gd name="csX71" fmla="*/ 3926871 w 9368393"/>
              <a:gd name="csY71" fmla="*/ 1935386 h 2401002"/>
              <a:gd name="csX72" fmla="*/ 3977360 w 9368393"/>
              <a:gd name="csY72" fmla="*/ 1935386 h 2401002"/>
              <a:gd name="csX73" fmla="*/ 3977360 w 9368393"/>
              <a:gd name="csY73" fmla="*/ 1969045 h 2401002"/>
              <a:gd name="csX74" fmla="*/ 5003956 w 9368393"/>
              <a:gd name="csY74" fmla="*/ 1969045 h 2401002"/>
              <a:gd name="csX75" fmla="*/ 5003956 w 9368393"/>
              <a:gd name="csY75" fmla="*/ 2019533 h 2401002"/>
              <a:gd name="csX76" fmla="*/ 5065664 w 9368393"/>
              <a:gd name="csY76" fmla="*/ 2019533 h 2401002"/>
              <a:gd name="csX77" fmla="*/ 5065664 w 9368393"/>
              <a:gd name="csY77" fmla="*/ 2131730 h 2401002"/>
              <a:gd name="csX78" fmla="*/ 5239568 w 9368393"/>
              <a:gd name="csY78" fmla="*/ 2131730 h 2401002"/>
              <a:gd name="csX79" fmla="*/ 5239568 w 9368393"/>
              <a:gd name="csY79" fmla="*/ 2187828 h 2401002"/>
              <a:gd name="csX80" fmla="*/ 5637865 w 9368393"/>
              <a:gd name="csY80" fmla="*/ 2187828 h 2401002"/>
              <a:gd name="csX81" fmla="*/ 5637865 w 9368393"/>
              <a:gd name="csY81" fmla="*/ 2249536 h 2401002"/>
              <a:gd name="csX82" fmla="*/ 7562032 w 9368393"/>
              <a:gd name="csY82" fmla="*/ 2249536 h 2401002"/>
              <a:gd name="csX83" fmla="*/ 7562032 w 9368393"/>
              <a:gd name="csY83" fmla="*/ 2395392 h 2401002"/>
              <a:gd name="csX84" fmla="*/ 9368393 w 9368393"/>
              <a:gd name="csY84" fmla="*/ 2401002 h 2401002"/>
              <a:gd name="csX0" fmla="*/ 0 w 9357174"/>
              <a:gd name="csY0" fmla="*/ 0 h 2417832"/>
              <a:gd name="csX1" fmla="*/ 0 w 9357174"/>
              <a:gd name="csY1" fmla="*/ 56098 h 2417832"/>
              <a:gd name="csX2" fmla="*/ 78538 w 9357174"/>
              <a:gd name="csY2" fmla="*/ 56098 h 2417832"/>
              <a:gd name="csX3" fmla="*/ 78538 w 9357174"/>
              <a:gd name="csY3" fmla="*/ 151465 h 2417832"/>
              <a:gd name="csX4" fmla="*/ 140246 w 9357174"/>
              <a:gd name="csY4" fmla="*/ 151465 h 2417832"/>
              <a:gd name="csX5" fmla="*/ 140246 w 9357174"/>
              <a:gd name="csY5" fmla="*/ 196343 h 2417832"/>
              <a:gd name="csX6" fmla="*/ 168295 w 9357174"/>
              <a:gd name="csY6" fmla="*/ 196343 h 2417832"/>
              <a:gd name="csX7" fmla="*/ 168295 w 9357174"/>
              <a:gd name="csY7" fmla="*/ 235612 h 2417832"/>
              <a:gd name="csX8" fmla="*/ 230003 w 9357174"/>
              <a:gd name="csY8" fmla="*/ 235612 h 2417832"/>
              <a:gd name="csX9" fmla="*/ 230003 w 9357174"/>
              <a:gd name="csY9" fmla="*/ 269271 h 2417832"/>
              <a:gd name="csX10" fmla="*/ 392687 w 9357174"/>
              <a:gd name="csY10" fmla="*/ 269271 h 2417832"/>
              <a:gd name="csX11" fmla="*/ 392687 w 9357174"/>
              <a:gd name="csY11" fmla="*/ 302930 h 2417832"/>
              <a:gd name="csX12" fmla="*/ 488054 w 9357174"/>
              <a:gd name="csY12" fmla="*/ 302930 h 2417832"/>
              <a:gd name="csX13" fmla="*/ 488054 w 9357174"/>
              <a:gd name="csY13" fmla="*/ 347808 h 2417832"/>
              <a:gd name="csX14" fmla="*/ 516103 w 9357174"/>
              <a:gd name="csY14" fmla="*/ 347808 h 2417832"/>
              <a:gd name="csX15" fmla="*/ 516103 w 9357174"/>
              <a:gd name="csY15" fmla="*/ 409516 h 2417832"/>
              <a:gd name="csX16" fmla="*/ 695617 w 9357174"/>
              <a:gd name="csY16" fmla="*/ 409516 h 2417832"/>
              <a:gd name="csX17" fmla="*/ 695617 w 9357174"/>
              <a:gd name="csY17" fmla="*/ 460005 h 2417832"/>
              <a:gd name="csX18" fmla="*/ 718057 w 9357174"/>
              <a:gd name="csY18" fmla="*/ 460005 h 2417832"/>
              <a:gd name="csX19" fmla="*/ 718057 w 9357174"/>
              <a:gd name="csY19" fmla="*/ 488054 h 2417832"/>
              <a:gd name="csX20" fmla="*/ 757325 w 9357174"/>
              <a:gd name="csY20" fmla="*/ 488054 h 2417832"/>
              <a:gd name="csX21" fmla="*/ 757325 w 9357174"/>
              <a:gd name="csY21" fmla="*/ 577811 h 2417832"/>
              <a:gd name="csX22" fmla="*/ 813423 w 9357174"/>
              <a:gd name="csY22" fmla="*/ 577811 h 2417832"/>
              <a:gd name="csX23" fmla="*/ 813423 w 9357174"/>
              <a:gd name="csY23" fmla="*/ 645128 h 2417832"/>
              <a:gd name="csX24" fmla="*/ 863912 w 9357174"/>
              <a:gd name="csY24" fmla="*/ 645128 h 2417832"/>
              <a:gd name="csX25" fmla="*/ 863912 w 9357174"/>
              <a:gd name="csY25" fmla="*/ 701227 h 2417832"/>
              <a:gd name="csX26" fmla="*/ 886351 w 9357174"/>
              <a:gd name="csY26" fmla="*/ 701227 h 2417832"/>
              <a:gd name="csX27" fmla="*/ 886351 w 9357174"/>
              <a:gd name="csY27" fmla="*/ 830252 h 2417832"/>
              <a:gd name="csX28" fmla="*/ 931230 w 9357174"/>
              <a:gd name="csY28" fmla="*/ 830252 h 2417832"/>
              <a:gd name="csX29" fmla="*/ 931230 w 9357174"/>
              <a:gd name="csY29" fmla="*/ 880741 h 2417832"/>
              <a:gd name="csX30" fmla="*/ 959279 w 9357174"/>
              <a:gd name="csY30" fmla="*/ 880741 h 2417832"/>
              <a:gd name="csX31" fmla="*/ 959279 w 9357174"/>
              <a:gd name="csY31" fmla="*/ 948059 h 2417832"/>
              <a:gd name="csX32" fmla="*/ 981718 w 9357174"/>
              <a:gd name="csY32" fmla="*/ 948059 h 2417832"/>
              <a:gd name="csX33" fmla="*/ 981718 w 9357174"/>
              <a:gd name="csY33" fmla="*/ 987327 h 2417832"/>
              <a:gd name="csX34" fmla="*/ 1099524 w 9357174"/>
              <a:gd name="csY34" fmla="*/ 987327 h 2417832"/>
              <a:gd name="csX35" fmla="*/ 1099524 w 9357174"/>
              <a:gd name="csY35" fmla="*/ 1020986 h 2417832"/>
              <a:gd name="csX36" fmla="*/ 1121963 w 9357174"/>
              <a:gd name="csY36" fmla="*/ 1020986 h 2417832"/>
              <a:gd name="csX37" fmla="*/ 1121963 w 9357174"/>
              <a:gd name="csY37" fmla="*/ 1065865 h 2417832"/>
              <a:gd name="csX38" fmla="*/ 1150012 w 9357174"/>
              <a:gd name="csY38" fmla="*/ 1065865 h 2417832"/>
              <a:gd name="csX39" fmla="*/ 1150012 w 9357174"/>
              <a:gd name="csY39" fmla="*/ 1110743 h 2417832"/>
              <a:gd name="csX40" fmla="*/ 1329527 w 9357174"/>
              <a:gd name="csY40" fmla="*/ 1110743 h 2417832"/>
              <a:gd name="csX41" fmla="*/ 1329527 w 9357174"/>
              <a:gd name="csY41" fmla="*/ 1144402 h 2417832"/>
              <a:gd name="csX42" fmla="*/ 1469772 w 9357174"/>
              <a:gd name="csY42" fmla="*/ 1144402 h 2417832"/>
              <a:gd name="csX43" fmla="*/ 1469772 w 9357174"/>
              <a:gd name="csY43" fmla="*/ 1189281 h 2417832"/>
              <a:gd name="csX44" fmla="*/ 1604407 w 9357174"/>
              <a:gd name="csY44" fmla="*/ 1189281 h 2417832"/>
              <a:gd name="csX45" fmla="*/ 1604407 w 9357174"/>
              <a:gd name="csY45" fmla="*/ 1234159 h 2417832"/>
              <a:gd name="csX46" fmla="*/ 1772702 w 9357174"/>
              <a:gd name="csY46" fmla="*/ 1234159 h 2417832"/>
              <a:gd name="csX47" fmla="*/ 1772702 w 9357174"/>
              <a:gd name="csY47" fmla="*/ 1273428 h 2417832"/>
              <a:gd name="csX48" fmla="*/ 1840020 w 9357174"/>
              <a:gd name="csY48" fmla="*/ 1273428 h 2417832"/>
              <a:gd name="csX49" fmla="*/ 1840020 w 9357174"/>
              <a:gd name="csY49" fmla="*/ 1318306 h 2417832"/>
              <a:gd name="csX50" fmla="*/ 1918557 w 9357174"/>
              <a:gd name="csY50" fmla="*/ 1318306 h 2417832"/>
              <a:gd name="csX51" fmla="*/ 1918557 w 9357174"/>
              <a:gd name="csY51" fmla="*/ 1357575 h 2417832"/>
              <a:gd name="csX52" fmla="*/ 2058803 w 9357174"/>
              <a:gd name="csY52" fmla="*/ 1357575 h 2417832"/>
              <a:gd name="csX53" fmla="*/ 2058803 w 9357174"/>
              <a:gd name="csY53" fmla="*/ 1396844 h 2417832"/>
              <a:gd name="csX54" fmla="*/ 2692712 w 9357174"/>
              <a:gd name="csY54" fmla="*/ 1396844 h 2417832"/>
              <a:gd name="csX55" fmla="*/ 2692712 w 9357174"/>
              <a:gd name="csY55" fmla="*/ 1447332 h 2417832"/>
              <a:gd name="csX56" fmla="*/ 2743200 w 9357174"/>
              <a:gd name="csY56" fmla="*/ 1447332 h 2417832"/>
              <a:gd name="csX57" fmla="*/ 2743200 w 9357174"/>
              <a:gd name="csY57" fmla="*/ 1492211 h 2417832"/>
              <a:gd name="csX58" fmla="*/ 2832957 w 9357174"/>
              <a:gd name="csY58" fmla="*/ 1492211 h 2417832"/>
              <a:gd name="csX59" fmla="*/ 2832957 w 9357174"/>
              <a:gd name="csY59" fmla="*/ 1553919 h 2417832"/>
              <a:gd name="csX60" fmla="*/ 2866616 w 9357174"/>
              <a:gd name="csY60" fmla="*/ 1553919 h 2417832"/>
              <a:gd name="csX61" fmla="*/ 2866616 w 9357174"/>
              <a:gd name="csY61" fmla="*/ 1666115 h 2417832"/>
              <a:gd name="csX62" fmla="*/ 2911495 w 9357174"/>
              <a:gd name="csY62" fmla="*/ 1666115 h 2417832"/>
              <a:gd name="csX63" fmla="*/ 2911495 w 9357174"/>
              <a:gd name="csY63" fmla="*/ 1710994 h 2417832"/>
              <a:gd name="csX64" fmla="*/ 2939544 w 9357174"/>
              <a:gd name="csY64" fmla="*/ 1710994 h 2417832"/>
              <a:gd name="csX65" fmla="*/ 2939544 w 9357174"/>
              <a:gd name="csY65" fmla="*/ 1739043 h 2417832"/>
              <a:gd name="csX66" fmla="*/ 2961983 w 9357174"/>
              <a:gd name="csY66" fmla="*/ 1739043 h 2417832"/>
              <a:gd name="csX67" fmla="*/ 2961983 w 9357174"/>
              <a:gd name="csY67" fmla="*/ 1789531 h 2417832"/>
              <a:gd name="csX68" fmla="*/ 3881993 w 9357174"/>
              <a:gd name="csY68" fmla="*/ 1789531 h 2417832"/>
              <a:gd name="csX69" fmla="*/ 3881993 w 9357174"/>
              <a:gd name="csY69" fmla="*/ 1828800 h 2417832"/>
              <a:gd name="csX70" fmla="*/ 3926871 w 9357174"/>
              <a:gd name="csY70" fmla="*/ 1828800 h 2417832"/>
              <a:gd name="csX71" fmla="*/ 3926871 w 9357174"/>
              <a:gd name="csY71" fmla="*/ 1935386 h 2417832"/>
              <a:gd name="csX72" fmla="*/ 3977360 w 9357174"/>
              <a:gd name="csY72" fmla="*/ 1935386 h 2417832"/>
              <a:gd name="csX73" fmla="*/ 3977360 w 9357174"/>
              <a:gd name="csY73" fmla="*/ 1969045 h 2417832"/>
              <a:gd name="csX74" fmla="*/ 5003956 w 9357174"/>
              <a:gd name="csY74" fmla="*/ 1969045 h 2417832"/>
              <a:gd name="csX75" fmla="*/ 5003956 w 9357174"/>
              <a:gd name="csY75" fmla="*/ 2019533 h 2417832"/>
              <a:gd name="csX76" fmla="*/ 5065664 w 9357174"/>
              <a:gd name="csY76" fmla="*/ 2019533 h 2417832"/>
              <a:gd name="csX77" fmla="*/ 5065664 w 9357174"/>
              <a:gd name="csY77" fmla="*/ 2131730 h 2417832"/>
              <a:gd name="csX78" fmla="*/ 5239568 w 9357174"/>
              <a:gd name="csY78" fmla="*/ 2131730 h 2417832"/>
              <a:gd name="csX79" fmla="*/ 5239568 w 9357174"/>
              <a:gd name="csY79" fmla="*/ 2187828 h 2417832"/>
              <a:gd name="csX80" fmla="*/ 5637865 w 9357174"/>
              <a:gd name="csY80" fmla="*/ 2187828 h 2417832"/>
              <a:gd name="csX81" fmla="*/ 5637865 w 9357174"/>
              <a:gd name="csY81" fmla="*/ 2249536 h 2417832"/>
              <a:gd name="csX82" fmla="*/ 7562032 w 9357174"/>
              <a:gd name="csY82" fmla="*/ 2249536 h 2417832"/>
              <a:gd name="csX83" fmla="*/ 7562032 w 9357174"/>
              <a:gd name="csY83" fmla="*/ 2395392 h 2417832"/>
              <a:gd name="csX84" fmla="*/ 9357174 w 9357174"/>
              <a:gd name="csY84" fmla="*/ 2417832 h 2417832"/>
              <a:gd name="csX0" fmla="*/ 0 w 9385223"/>
              <a:gd name="csY0" fmla="*/ 0 h 2401002"/>
              <a:gd name="csX1" fmla="*/ 0 w 9385223"/>
              <a:gd name="csY1" fmla="*/ 56098 h 2401002"/>
              <a:gd name="csX2" fmla="*/ 78538 w 9385223"/>
              <a:gd name="csY2" fmla="*/ 56098 h 2401002"/>
              <a:gd name="csX3" fmla="*/ 78538 w 9385223"/>
              <a:gd name="csY3" fmla="*/ 151465 h 2401002"/>
              <a:gd name="csX4" fmla="*/ 140246 w 9385223"/>
              <a:gd name="csY4" fmla="*/ 151465 h 2401002"/>
              <a:gd name="csX5" fmla="*/ 140246 w 9385223"/>
              <a:gd name="csY5" fmla="*/ 196343 h 2401002"/>
              <a:gd name="csX6" fmla="*/ 168295 w 9385223"/>
              <a:gd name="csY6" fmla="*/ 196343 h 2401002"/>
              <a:gd name="csX7" fmla="*/ 168295 w 9385223"/>
              <a:gd name="csY7" fmla="*/ 235612 h 2401002"/>
              <a:gd name="csX8" fmla="*/ 230003 w 9385223"/>
              <a:gd name="csY8" fmla="*/ 235612 h 2401002"/>
              <a:gd name="csX9" fmla="*/ 230003 w 9385223"/>
              <a:gd name="csY9" fmla="*/ 269271 h 2401002"/>
              <a:gd name="csX10" fmla="*/ 392687 w 9385223"/>
              <a:gd name="csY10" fmla="*/ 269271 h 2401002"/>
              <a:gd name="csX11" fmla="*/ 392687 w 9385223"/>
              <a:gd name="csY11" fmla="*/ 302930 h 2401002"/>
              <a:gd name="csX12" fmla="*/ 488054 w 9385223"/>
              <a:gd name="csY12" fmla="*/ 302930 h 2401002"/>
              <a:gd name="csX13" fmla="*/ 488054 w 9385223"/>
              <a:gd name="csY13" fmla="*/ 347808 h 2401002"/>
              <a:gd name="csX14" fmla="*/ 516103 w 9385223"/>
              <a:gd name="csY14" fmla="*/ 347808 h 2401002"/>
              <a:gd name="csX15" fmla="*/ 516103 w 9385223"/>
              <a:gd name="csY15" fmla="*/ 409516 h 2401002"/>
              <a:gd name="csX16" fmla="*/ 695617 w 9385223"/>
              <a:gd name="csY16" fmla="*/ 409516 h 2401002"/>
              <a:gd name="csX17" fmla="*/ 695617 w 9385223"/>
              <a:gd name="csY17" fmla="*/ 460005 h 2401002"/>
              <a:gd name="csX18" fmla="*/ 718057 w 9385223"/>
              <a:gd name="csY18" fmla="*/ 460005 h 2401002"/>
              <a:gd name="csX19" fmla="*/ 718057 w 9385223"/>
              <a:gd name="csY19" fmla="*/ 488054 h 2401002"/>
              <a:gd name="csX20" fmla="*/ 757325 w 9385223"/>
              <a:gd name="csY20" fmla="*/ 488054 h 2401002"/>
              <a:gd name="csX21" fmla="*/ 757325 w 9385223"/>
              <a:gd name="csY21" fmla="*/ 577811 h 2401002"/>
              <a:gd name="csX22" fmla="*/ 813423 w 9385223"/>
              <a:gd name="csY22" fmla="*/ 577811 h 2401002"/>
              <a:gd name="csX23" fmla="*/ 813423 w 9385223"/>
              <a:gd name="csY23" fmla="*/ 645128 h 2401002"/>
              <a:gd name="csX24" fmla="*/ 863912 w 9385223"/>
              <a:gd name="csY24" fmla="*/ 645128 h 2401002"/>
              <a:gd name="csX25" fmla="*/ 863912 w 9385223"/>
              <a:gd name="csY25" fmla="*/ 701227 h 2401002"/>
              <a:gd name="csX26" fmla="*/ 886351 w 9385223"/>
              <a:gd name="csY26" fmla="*/ 701227 h 2401002"/>
              <a:gd name="csX27" fmla="*/ 886351 w 9385223"/>
              <a:gd name="csY27" fmla="*/ 830252 h 2401002"/>
              <a:gd name="csX28" fmla="*/ 931230 w 9385223"/>
              <a:gd name="csY28" fmla="*/ 830252 h 2401002"/>
              <a:gd name="csX29" fmla="*/ 931230 w 9385223"/>
              <a:gd name="csY29" fmla="*/ 880741 h 2401002"/>
              <a:gd name="csX30" fmla="*/ 959279 w 9385223"/>
              <a:gd name="csY30" fmla="*/ 880741 h 2401002"/>
              <a:gd name="csX31" fmla="*/ 959279 w 9385223"/>
              <a:gd name="csY31" fmla="*/ 948059 h 2401002"/>
              <a:gd name="csX32" fmla="*/ 981718 w 9385223"/>
              <a:gd name="csY32" fmla="*/ 948059 h 2401002"/>
              <a:gd name="csX33" fmla="*/ 981718 w 9385223"/>
              <a:gd name="csY33" fmla="*/ 987327 h 2401002"/>
              <a:gd name="csX34" fmla="*/ 1099524 w 9385223"/>
              <a:gd name="csY34" fmla="*/ 987327 h 2401002"/>
              <a:gd name="csX35" fmla="*/ 1099524 w 9385223"/>
              <a:gd name="csY35" fmla="*/ 1020986 h 2401002"/>
              <a:gd name="csX36" fmla="*/ 1121963 w 9385223"/>
              <a:gd name="csY36" fmla="*/ 1020986 h 2401002"/>
              <a:gd name="csX37" fmla="*/ 1121963 w 9385223"/>
              <a:gd name="csY37" fmla="*/ 1065865 h 2401002"/>
              <a:gd name="csX38" fmla="*/ 1150012 w 9385223"/>
              <a:gd name="csY38" fmla="*/ 1065865 h 2401002"/>
              <a:gd name="csX39" fmla="*/ 1150012 w 9385223"/>
              <a:gd name="csY39" fmla="*/ 1110743 h 2401002"/>
              <a:gd name="csX40" fmla="*/ 1329527 w 9385223"/>
              <a:gd name="csY40" fmla="*/ 1110743 h 2401002"/>
              <a:gd name="csX41" fmla="*/ 1329527 w 9385223"/>
              <a:gd name="csY41" fmla="*/ 1144402 h 2401002"/>
              <a:gd name="csX42" fmla="*/ 1469772 w 9385223"/>
              <a:gd name="csY42" fmla="*/ 1144402 h 2401002"/>
              <a:gd name="csX43" fmla="*/ 1469772 w 9385223"/>
              <a:gd name="csY43" fmla="*/ 1189281 h 2401002"/>
              <a:gd name="csX44" fmla="*/ 1604407 w 9385223"/>
              <a:gd name="csY44" fmla="*/ 1189281 h 2401002"/>
              <a:gd name="csX45" fmla="*/ 1604407 w 9385223"/>
              <a:gd name="csY45" fmla="*/ 1234159 h 2401002"/>
              <a:gd name="csX46" fmla="*/ 1772702 w 9385223"/>
              <a:gd name="csY46" fmla="*/ 1234159 h 2401002"/>
              <a:gd name="csX47" fmla="*/ 1772702 w 9385223"/>
              <a:gd name="csY47" fmla="*/ 1273428 h 2401002"/>
              <a:gd name="csX48" fmla="*/ 1840020 w 9385223"/>
              <a:gd name="csY48" fmla="*/ 1273428 h 2401002"/>
              <a:gd name="csX49" fmla="*/ 1840020 w 9385223"/>
              <a:gd name="csY49" fmla="*/ 1318306 h 2401002"/>
              <a:gd name="csX50" fmla="*/ 1918557 w 9385223"/>
              <a:gd name="csY50" fmla="*/ 1318306 h 2401002"/>
              <a:gd name="csX51" fmla="*/ 1918557 w 9385223"/>
              <a:gd name="csY51" fmla="*/ 1357575 h 2401002"/>
              <a:gd name="csX52" fmla="*/ 2058803 w 9385223"/>
              <a:gd name="csY52" fmla="*/ 1357575 h 2401002"/>
              <a:gd name="csX53" fmla="*/ 2058803 w 9385223"/>
              <a:gd name="csY53" fmla="*/ 1396844 h 2401002"/>
              <a:gd name="csX54" fmla="*/ 2692712 w 9385223"/>
              <a:gd name="csY54" fmla="*/ 1396844 h 2401002"/>
              <a:gd name="csX55" fmla="*/ 2692712 w 9385223"/>
              <a:gd name="csY55" fmla="*/ 1447332 h 2401002"/>
              <a:gd name="csX56" fmla="*/ 2743200 w 9385223"/>
              <a:gd name="csY56" fmla="*/ 1447332 h 2401002"/>
              <a:gd name="csX57" fmla="*/ 2743200 w 9385223"/>
              <a:gd name="csY57" fmla="*/ 1492211 h 2401002"/>
              <a:gd name="csX58" fmla="*/ 2832957 w 9385223"/>
              <a:gd name="csY58" fmla="*/ 1492211 h 2401002"/>
              <a:gd name="csX59" fmla="*/ 2832957 w 9385223"/>
              <a:gd name="csY59" fmla="*/ 1553919 h 2401002"/>
              <a:gd name="csX60" fmla="*/ 2866616 w 9385223"/>
              <a:gd name="csY60" fmla="*/ 1553919 h 2401002"/>
              <a:gd name="csX61" fmla="*/ 2866616 w 9385223"/>
              <a:gd name="csY61" fmla="*/ 1666115 h 2401002"/>
              <a:gd name="csX62" fmla="*/ 2911495 w 9385223"/>
              <a:gd name="csY62" fmla="*/ 1666115 h 2401002"/>
              <a:gd name="csX63" fmla="*/ 2911495 w 9385223"/>
              <a:gd name="csY63" fmla="*/ 1710994 h 2401002"/>
              <a:gd name="csX64" fmla="*/ 2939544 w 9385223"/>
              <a:gd name="csY64" fmla="*/ 1710994 h 2401002"/>
              <a:gd name="csX65" fmla="*/ 2939544 w 9385223"/>
              <a:gd name="csY65" fmla="*/ 1739043 h 2401002"/>
              <a:gd name="csX66" fmla="*/ 2961983 w 9385223"/>
              <a:gd name="csY66" fmla="*/ 1739043 h 2401002"/>
              <a:gd name="csX67" fmla="*/ 2961983 w 9385223"/>
              <a:gd name="csY67" fmla="*/ 1789531 h 2401002"/>
              <a:gd name="csX68" fmla="*/ 3881993 w 9385223"/>
              <a:gd name="csY68" fmla="*/ 1789531 h 2401002"/>
              <a:gd name="csX69" fmla="*/ 3881993 w 9385223"/>
              <a:gd name="csY69" fmla="*/ 1828800 h 2401002"/>
              <a:gd name="csX70" fmla="*/ 3926871 w 9385223"/>
              <a:gd name="csY70" fmla="*/ 1828800 h 2401002"/>
              <a:gd name="csX71" fmla="*/ 3926871 w 9385223"/>
              <a:gd name="csY71" fmla="*/ 1935386 h 2401002"/>
              <a:gd name="csX72" fmla="*/ 3977360 w 9385223"/>
              <a:gd name="csY72" fmla="*/ 1935386 h 2401002"/>
              <a:gd name="csX73" fmla="*/ 3977360 w 9385223"/>
              <a:gd name="csY73" fmla="*/ 1969045 h 2401002"/>
              <a:gd name="csX74" fmla="*/ 5003956 w 9385223"/>
              <a:gd name="csY74" fmla="*/ 1969045 h 2401002"/>
              <a:gd name="csX75" fmla="*/ 5003956 w 9385223"/>
              <a:gd name="csY75" fmla="*/ 2019533 h 2401002"/>
              <a:gd name="csX76" fmla="*/ 5065664 w 9385223"/>
              <a:gd name="csY76" fmla="*/ 2019533 h 2401002"/>
              <a:gd name="csX77" fmla="*/ 5065664 w 9385223"/>
              <a:gd name="csY77" fmla="*/ 2131730 h 2401002"/>
              <a:gd name="csX78" fmla="*/ 5239568 w 9385223"/>
              <a:gd name="csY78" fmla="*/ 2131730 h 2401002"/>
              <a:gd name="csX79" fmla="*/ 5239568 w 9385223"/>
              <a:gd name="csY79" fmla="*/ 2187828 h 2401002"/>
              <a:gd name="csX80" fmla="*/ 5637865 w 9385223"/>
              <a:gd name="csY80" fmla="*/ 2187828 h 2401002"/>
              <a:gd name="csX81" fmla="*/ 5637865 w 9385223"/>
              <a:gd name="csY81" fmla="*/ 2249536 h 2401002"/>
              <a:gd name="csX82" fmla="*/ 7562032 w 9385223"/>
              <a:gd name="csY82" fmla="*/ 2249536 h 2401002"/>
              <a:gd name="csX83" fmla="*/ 7562032 w 9385223"/>
              <a:gd name="csY83" fmla="*/ 2395392 h 2401002"/>
              <a:gd name="csX84" fmla="*/ 9385223 w 9385223"/>
              <a:gd name="csY84" fmla="*/ 2401002 h 240100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</a:cxnLst>
            <a:rect l="l" t="t" r="r" b="b"/>
            <a:pathLst>
              <a:path w="9385223" h="2401002">
                <a:moveTo>
                  <a:pt x="0" y="0"/>
                </a:moveTo>
                <a:lnTo>
                  <a:pt x="0" y="56098"/>
                </a:lnTo>
                <a:lnTo>
                  <a:pt x="78538" y="56098"/>
                </a:lnTo>
                <a:lnTo>
                  <a:pt x="78538" y="151465"/>
                </a:lnTo>
                <a:lnTo>
                  <a:pt x="140246" y="151465"/>
                </a:lnTo>
                <a:lnTo>
                  <a:pt x="140246" y="196343"/>
                </a:lnTo>
                <a:lnTo>
                  <a:pt x="168295" y="196343"/>
                </a:lnTo>
                <a:lnTo>
                  <a:pt x="168295" y="235612"/>
                </a:lnTo>
                <a:lnTo>
                  <a:pt x="230003" y="235612"/>
                </a:lnTo>
                <a:lnTo>
                  <a:pt x="230003" y="269271"/>
                </a:lnTo>
                <a:lnTo>
                  <a:pt x="392687" y="269271"/>
                </a:lnTo>
                <a:lnTo>
                  <a:pt x="392687" y="302930"/>
                </a:lnTo>
                <a:lnTo>
                  <a:pt x="488054" y="302930"/>
                </a:lnTo>
                <a:lnTo>
                  <a:pt x="488054" y="347808"/>
                </a:lnTo>
                <a:lnTo>
                  <a:pt x="516103" y="347808"/>
                </a:lnTo>
                <a:lnTo>
                  <a:pt x="516103" y="409516"/>
                </a:lnTo>
                <a:lnTo>
                  <a:pt x="695617" y="409516"/>
                </a:lnTo>
                <a:lnTo>
                  <a:pt x="695617" y="460005"/>
                </a:lnTo>
                <a:lnTo>
                  <a:pt x="718057" y="460005"/>
                </a:lnTo>
                <a:lnTo>
                  <a:pt x="718057" y="488054"/>
                </a:lnTo>
                <a:lnTo>
                  <a:pt x="757325" y="488054"/>
                </a:lnTo>
                <a:lnTo>
                  <a:pt x="757325" y="577811"/>
                </a:lnTo>
                <a:lnTo>
                  <a:pt x="813423" y="577811"/>
                </a:lnTo>
                <a:lnTo>
                  <a:pt x="813423" y="645128"/>
                </a:lnTo>
                <a:lnTo>
                  <a:pt x="863912" y="645128"/>
                </a:lnTo>
                <a:lnTo>
                  <a:pt x="863912" y="701227"/>
                </a:lnTo>
                <a:lnTo>
                  <a:pt x="886351" y="701227"/>
                </a:lnTo>
                <a:lnTo>
                  <a:pt x="886351" y="830252"/>
                </a:lnTo>
                <a:lnTo>
                  <a:pt x="931230" y="830252"/>
                </a:lnTo>
                <a:lnTo>
                  <a:pt x="931230" y="880741"/>
                </a:lnTo>
                <a:lnTo>
                  <a:pt x="959279" y="880741"/>
                </a:lnTo>
                <a:lnTo>
                  <a:pt x="959279" y="948059"/>
                </a:lnTo>
                <a:lnTo>
                  <a:pt x="981718" y="948059"/>
                </a:lnTo>
                <a:lnTo>
                  <a:pt x="981718" y="987327"/>
                </a:lnTo>
                <a:lnTo>
                  <a:pt x="1099524" y="987327"/>
                </a:lnTo>
                <a:lnTo>
                  <a:pt x="1099524" y="1020986"/>
                </a:lnTo>
                <a:lnTo>
                  <a:pt x="1121963" y="1020986"/>
                </a:lnTo>
                <a:lnTo>
                  <a:pt x="1121963" y="1065865"/>
                </a:lnTo>
                <a:lnTo>
                  <a:pt x="1150012" y="1065865"/>
                </a:lnTo>
                <a:lnTo>
                  <a:pt x="1150012" y="1110743"/>
                </a:lnTo>
                <a:lnTo>
                  <a:pt x="1329527" y="1110743"/>
                </a:lnTo>
                <a:lnTo>
                  <a:pt x="1329527" y="1144402"/>
                </a:lnTo>
                <a:lnTo>
                  <a:pt x="1469772" y="1144402"/>
                </a:lnTo>
                <a:lnTo>
                  <a:pt x="1469772" y="1189281"/>
                </a:lnTo>
                <a:lnTo>
                  <a:pt x="1604407" y="1189281"/>
                </a:lnTo>
                <a:lnTo>
                  <a:pt x="1604407" y="1234159"/>
                </a:lnTo>
                <a:lnTo>
                  <a:pt x="1772702" y="1234159"/>
                </a:lnTo>
                <a:lnTo>
                  <a:pt x="1772702" y="1273428"/>
                </a:lnTo>
                <a:lnTo>
                  <a:pt x="1840020" y="1273428"/>
                </a:lnTo>
                <a:lnTo>
                  <a:pt x="1840020" y="1318306"/>
                </a:lnTo>
                <a:lnTo>
                  <a:pt x="1918557" y="1318306"/>
                </a:lnTo>
                <a:lnTo>
                  <a:pt x="1918557" y="1357575"/>
                </a:lnTo>
                <a:lnTo>
                  <a:pt x="2058803" y="1357575"/>
                </a:lnTo>
                <a:lnTo>
                  <a:pt x="2058803" y="1396844"/>
                </a:lnTo>
                <a:lnTo>
                  <a:pt x="2692712" y="1396844"/>
                </a:lnTo>
                <a:lnTo>
                  <a:pt x="2692712" y="1447332"/>
                </a:lnTo>
                <a:lnTo>
                  <a:pt x="2743200" y="1447332"/>
                </a:lnTo>
                <a:lnTo>
                  <a:pt x="2743200" y="1492211"/>
                </a:lnTo>
                <a:lnTo>
                  <a:pt x="2832957" y="1492211"/>
                </a:lnTo>
                <a:lnTo>
                  <a:pt x="2832957" y="1553919"/>
                </a:lnTo>
                <a:lnTo>
                  <a:pt x="2866616" y="1553919"/>
                </a:lnTo>
                <a:lnTo>
                  <a:pt x="2866616" y="1666115"/>
                </a:lnTo>
                <a:lnTo>
                  <a:pt x="2911495" y="1666115"/>
                </a:lnTo>
                <a:lnTo>
                  <a:pt x="2911495" y="1710994"/>
                </a:lnTo>
                <a:lnTo>
                  <a:pt x="2939544" y="1710994"/>
                </a:lnTo>
                <a:lnTo>
                  <a:pt x="2939544" y="1739043"/>
                </a:lnTo>
                <a:lnTo>
                  <a:pt x="2961983" y="1739043"/>
                </a:lnTo>
                <a:lnTo>
                  <a:pt x="2961983" y="1789531"/>
                </a:lnTo>
                <a:lnTo>
                  <a:pt x="3881993" y="1789531"/>
                </a:lnTo>
                <a:lnTo>
                  <a:pt x="3881993" y="1828800"/>
                </a:lnTo>
                <a:lnTo>
                  <a:pt x="3926871" y="1828800"/>
                </a:lnTo>
                <a:lnTo>
                  <a:pt x="3926871" y="1935386"/>
                </a:lnTo>
                <a:lnTo>
                  <a:pt x="3977360" y="1935386"/>
                </a:lnTo>
                <a:lnTo>
                  <a:pt x="3977360" y="1969045"/>
                </a:lnTo>
                <a:lnTo>
                  <a:pt x="5003956" y="1969045"/>
                </a:lnTo>
                <a:lnTo>
                  <a:pt x="5003956" y="2019533"/>
                </a:lnTo>
                <a:lnTo>
                  <a:pt x="5065664" y="2019533"/>
                </a:lnTo>
                <a:lnTo>
                  <a:pt x="5065664" y="2131730"/>
                </a:lnTo>
                <a:lnTo>
                  <a:pt x="5239568" y="2131730"/>
                </a:lnTo>
                <a:lnTo>
                  <a:pt x="5239568" y="2187828"/>
                </a:lnTo>
                <a:lnTo>
                  <a:pt x="5637865" y="2187828"/>
                </a:lnTo>
                <a:lnTo>
                  <a:pt x="5637865" y="2249536"/>
                </a:lnTo>
                <a:lnTo>
                  <a:pt x="7562032" y="2249536"/>
                </a:lnTo>
                <a:lnTo>
                  <a:pt x="7562032" y="2395392"/>
                </a:lnTo>
                <a:lnTo>
                  <a:pt x="9385223" y="2401002"/>
                </a:lnTo>
              </a:path>
            </a:pathLst>
          </a:cu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26" name="Straight Connector 225">
            <a:extLst>
              <a:ext uri="{FF2B5EF4-FFF2-40B4-BE49-F238E27FC236}">
                <a16:creationId xmlns:a16="http://schemas.microsoft.com/office/drawing/2014/main" id="{1148CD21-7BD5-490B-F31C-DBCA7C04568E}"/>
              </a:ext>
            </a:extLst>
          </p:cNvPr>
          <p:cNvCxnSpPr>
            <a:cxnSpLocks/>
          </p:cNvCxnSpPr>
          <p:nvPr/>
        </p:nvCxnSpPr>
        <p:spPr>
          <a:xfrm>
            <a:off x="6719162" y="2433627"/>
            <a:ext cx="0" cy="54165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7" name="Straight Connector 226">
            <a:extLst>
              <a:ext uri="{FF2B5EF4-FFF2-40B4-BE49-F238E27FC236}">
                <a16:creationId xmlns:a16="http://schemas.microsoft.com/office/drawing/2014/main" id="{28966EE3-C2BA-64E3-76AC-0827C57DC9A8}"/>
              </a:ext>
            </a:extLst>
          </p:cNvPr>
          <p:cNvCxnSpPr>
            <a:cxnSpLocks/>
          </p:cNvCxnSpPr>
          <p:nvPr/>
        </p:nvCxnSpPr>
        <p:spPr>
          <a:xfrm rot="5400000">
            <a:off x="6719162" y="2433324"/>
            <a:ext cx="0" cy="54772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4" name="Straight Connector 223">
            <a:extLst>
              <a:ext uri="{FF2B5EF4-FFF2-40B4-BE49-F238E27FC236}">
                <a16:creationId xmlns:a16="http://schemas.microsoft.com/office/drawing/2014/main" id="{CA6E16DC-3033-574E-73E3-F571D639C3CA}"/>
              </a:ext>
            </a:extLst>
          </p:cNvPr>
          <p:cNvCxnSpPr>
            <a:cxnSpLocks/>
          </p:cNvCxnSpPr>
          <p:nvPr/>
        </p:nvCxnSpPr>
        <p:spPr>
          <a:xfrm>
            <a:off x="6977708" y="2575867"/>
            <a:ext cx="0" cy="54165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5" name="Straight Connector 224">
            <a:extLst>
              <a:ext uri="{FF2B5EF4-FFF2-40B4-BE49-F238E27FC236}">
                <a16:creationId xmlns:a16="http://schemas.microsoft.com/office/drawing/2014/main" id="{D2605EE9-E0C8-2508-18A8-68CE7D69C6E0}"/>
              </a:ext>
            </a:extLst>
          </p:cNvPr>
          <p:cNvCxnSpPr>
            <a:cxnSpLocks/>
          </p:cNvCxnSpPr>
          <p:nvPr/>
        </p:nvCxnSpPr>
        <p:spPr>
          <a:xfrm rot="5400000">
            <a:off x="6977708" y="2575564"/>
            <a:ext cx="0" cy="54772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2" name="Straight Connector 221">
            <a:extLst>
              <a:ext uri="{FF2B5EF4-FFF2-40B4-BE49-F238E27FC236}">
                <a16:creationId xmlns:a16="http://schemas.microsoft.com/office/drawing/2014/main" id="{A3D24F28-ED0A-B995-68FC-D64D08478159}"/>
              </a:ext>
            </a:extLst>
          </p:cNvPr>
          <p:cNvCxnSpPr>
            <a:cxnSpLocks/>
          </p:cNvCxnSpPr>
          <p:nvPr/>
        </p:nvCxnSpPr>
        <p:spPr>
          <a:xfrm>
            <a:off x="7049000" y="2648900"/>
            <a:ext cx="0" cy="54165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3" name="Straight Connector 222">
            <a:extLst>
              <a:ext uri="{FF2B5EF4-FFF2-40B4-BE49-F238E27FC236}">
                <a16:creationId xmlns:a16="http://schemas.microsoft.com/office/drawing/2014/main" id="{B691B368-9492-2EB5-360F-510C8DE608DC}"/>
              </a:ext>
            </a:extLst>
          </p:cNvPr>
          <p:cNvCxnSpPr>
            <a:cxnSpLocks/>
          </p:cNvCxnSpPr>
          <p:nvPr/>
        </p:nvCxnSpPr>
        <p:spPr>
          <a:xfrm rot="5400000">
            <a:off x="7049000" y="2648597"/>
            <a:ext cx="0" cy="54772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0" name="Straight Connector 219">
            <a:extLst>
              <a:ext uri="{FF2B5EF4-FFF2-40B4-BE49-F238E27FC236}">
                <a16:creationId xmlns:a16="http://schemas.microsoft.com/office/drawing/2014/main" id="{071AFB7C-FA5D-1E2F-18D1-698296B64930}"/>
              </a:ext>
            </a:extLst>
          </p:cNvPr>
          <p:cNvCxnSpPr>
            <a:cxnSpLocks/>
          </p:cNvCxnSpPr>
          <p:nvPr/>
        </p:nvCxnSpPr>
        <p:spPr>
          <a:xfrm>
            <a:off x="7079245" y="2689492"/>
            <a:ext cx="0" cy="54165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1" name="Straight Connector 220">
            <a:extLst>
              <a:ext uri="{FF2B5EF4-FFF2-40B4-BE49-F238E27FC236}">
                <a16:creationId xmlns:a16="http://schemas.microsoft.com/office/drawing/2014/main" id="{D425AEB4-86CD-296E-4238-9067028B3EC8}"/>
              </a:ext>
            </a:extLst>
          </p:cNvPr>
          <p:cNvCxnSpPr>
            <a:cxnSpLocks/>
          </p:cNvCxnSpPr>
          <p:nvPr/>
        </p:nvCxnSpPr>
        <p:spPr>
          <a:xfrm rot="5400000">
            <a:off x="7079245" y="2689189"/>
            <a:ext cx="0" cy="54772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8" name="Straight Connector 217">
            <a:extLst>
              <a:ext uri="{FF2B5EF4-FFF2-40B4-BE49-F238E27FC236}">
                <a16:creationId xmlns:a16="http://schemas.microsoft.com/office/drawing/2014/main" id="{1B61E255-0B93-CF5F-631B-117C3CB4FB84}"/>
              </a:ext>
            </a:extLst>
          </p:cNvPr>
          <p:cNvCxnSpPr>
            <a:cxnSpLocks/>
          </p:cNvCxnSpPr>
          <p:nvPr/>
        </p:nvCxnSpPr>
        <p:spPr>
          <a:xfrm>
            <a:off x="7385184" y="2975564"/>
            <a:ext cx="0" cy="54165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9" name="Straight Connector 218">
            <a:extLst>
              <a:ext uri="{FF2B5EF4-FFF2-40B4-BE49-F238E27FC236}">
                <a16:creationId xmlns:a16="http://schemas.microsoft.com/office/drawing/2014/main" id="{92E82014-AB69-5B33-D9A8-FB08EEE869FB}"/>
              </a:ext>
            </a:extLst>
          </p:cNvPr>
          <p:cNvCxnSpPr>
            <a:cxnSpLocks/>
          </p:cNvCxnSpPr>
          <p:nvPr/>
        </p:nvCxnSpPr>
        <p:spPr>
          <a:xfrm rot="5400000">
            <a:off x="7385184" y="2975261"/>
            <a:ext cx="0" cy="54772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6" name="Straight Connector 215">
            <a:extLst>
              <a:ext uri="{FF2B5EF4-FFF2-40B4-BE49-F238E27FC236}">
                <a16:creationId xmlns:a16="http://schemas.microsoft.com/office/drawing/2014/main" id="{D8797F3B-5C27-61ED-4E4D-4CDBE3A1FA03}"/>
              </a:ext>
            </a:extLst>
          </p:cNvPr>
          <p:cNvCxnSpPr>
            <a:cxnSpLocks/>
          </p:cNvCxnSpPr>
          <p:nvPr/>
        </p:nvCxnSpPr>
        <p:spPr>
          <a:xfrm>
            <a:off x="7518482" y="3079111"/>
            <a:ext cx="0" cy="54165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7" name="Straight Connector 216">
            <a:extLst>
              <a:ext uri="{FF2B5EF4-FFF2-40B4-BE49-F238E27FC236}">
                <a16:creationId xmlns:a16="http://schemas.microsoft.com/office/drawing/2014/main" id="{3CC5A804-C5C1-E901-208D-D882074CF7BC}"/>
              </a:ext>
            </a:extLst>
          </p:cNvPr>
          <p:cNvCxnSpPr>
            <a:cxnSpLocks/>
          </p:cNvCxnSpPr>
          <p:nvPr/>
        </p:nvCxnSpPr>
        <p:spPr>
          <a:xfrm rot="5400000">
            <a:off x="7518482" y="3078808"/>
            <a:ext cx="0" cy="54772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4" name="Straight Connector 213">
            <a:extLst>
              <a:ext uri="{FF2B5EF4-FFF2-40B4-BE49-F238E27FC236}">
                <a16:creationId xmlns:a16="http://schemas.microsoft.com/office/drawing/2014/main" id="{28B89CE3-1412-CA32-A3E5-1D43DA7315DA}"/>
              </a:ext>
            </a:extLst>
          </p:cNvPr>
          <p:cNvCxnSpPr>
            <a:cxnSpLocks/>
          </p:cNvCxnSpPr>
          <p:nvPr/>
        </p:nvCxnSpPr>
        <p:spPr>
          <a:xfrm>
            <a:off x="7530931" y="3100492"/>
            <a:ext cx="0" cy="54165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5" name="Straight Connector 214">
            <a:extLst>
              <a:ext uri="{FF2B5EF4-FFF2-40B4-BE49-F238E27FC236}">
                <a16:creationId xmlns:a16="http://schemas.microsoft.com/office/drawing/2014/main" id="{FF017F6B-D392-AACD-2472-2BE005302CA4}"/>
              </a:ext>
            </a:extLst>
          </p:cNvPr>
          <p:cNvCxnSpPr>
            <a:cxnSpLocks/>
          </p:cNvCxnSpPr>
          <p:nvPr/>
        </p:nvCxnSpPr>
        <p:spPr>
          <a:xfrm rot="5400000">
            <a:off x="7530931" y="3100189"/>
            <a:ext cx="0" cy="54772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2" name="Straight Connector 211">
            <a:extLst>
              <a:ext uri="{FF2B5EF4-FFF2-40B4-BE49-F238E27FC236}">
                <a16:creationId xmlns:a16="http://schemas.microsoft.com/office/drawing/2014/main" id="{0D2A9F08-79EF-B7EA-AE6F-08E817DB0A11}"/>
              </a:ext>
            </a:extLst>
          </p:cNvPr>
          <p:cNvCxnSpPr>
            <a:cxnSpLocks/>
          </p:cNvCxnSpPr>
          <p:nvPr/>
        </p:nvCxnSpPr>
        <p:spPr>
          <a:xfrm>
            <a:off x="7533653" y="3113430"/>
            <a:ext cx="0" cy="54165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3" name="Straight Connector 212">
            <a:extLst>
              <a:ext uri="{FF2B5EF4-FFF2-40B4-BE49-F238E27FC236}">
                <a16:creationId xmlns:a16="http://schemas.microsoft.com/office/drawing/2014/main" id="{0D2C99DC-3282-77BF-4C68-40E95420D969}"/>
              </a:ext>
            </a:extLst>
          </p:cNvPr>
          <p:cNvCxnSpPr>
            <a:cxnSpLocks/>
          </p:cNvCxnSpPr>
          <p:nvPr/>
        </p:nvCxnSpPr>
        <p:spPr>
          <a:xfrm rot="5400000">
            <a:off x="7533653" y="3113127"/>
            <a:ext cx="0" cy="54772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0" name="Straight Connector 209">
            <a:extLst>
              <a:ext uri="{FF2B5EF4-FFF2-40B4-BE49-F238E27FC236}">
                <a16:creationId xmlns:a16="http://schemas.microsoft.com/office/drawing/2014/main" id="{80B42CF0-A260-022E-B457-D6BCB6CB1121}"/>
              </a:ext>
            </a:extLst>
          </p:cNvPr>
          <p:cNvCxnSpPr>
            <a:cxnSpLocks/>
          </p:cNvCxnSpPr>
          <p:nvPr/>
        </p:nvCxnSpPr>
        <p:spPr>
          <a:xfrm>
            <a:off x="7545868" y="3122501"/>
            <a:ext cx="0" cy="54165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1" name="Straight Connector 210">
            <a:extLst>
              <a:ext uri="{FF2B5EF4-FFF2-40B4-BE49-F238E27FC236}">
                <a16:creationId xmlns:a16="http://schemas.microsoft.com/office/drawing/2014/main" id="{FF760A50-CAD0-023A-6B1B-DF02F41BA7CD}"/>
              </a:ext>
            </a:extLst>
          </p:cNvPr>
          <p:cNvCxnSpPr>
            <a:cxnSpLocks/>
          </p:cNvCxnSpPr>
          <p:nvPr/>
        </p:nvCxnSpPr>
        <p:spPr>
          <a:xfrm rot="5400000">
            <a:off x="7545868" y="3122198"/>
            <a:ext cx="0" cy="54772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8" name="Straight Connector 207">
            <a:extLst>
              <a:ext uri="{FF2B5EF4-FFF2-40B4-BE49-F238E27FC236}">
                <a16:creationId xmlns:a16="http://schemas.microsoft.com/office/drawing/2014/main" id="{DCBAAAE9-8BFF-41F9-1078-D446DFD11B19}"/>
              </a:ext>
            </a:extLst>
          </p:cNvPr>
          <p:cNvCxnSpPr>
            <a:cxnSpLocks/>
          </p:cNvCxnSpPr>
          <p:nvPr/>
        </p:nvCxnSpPr>
        <p:spPr>
          <a:xfrm>
            <a:off x="7760044" y="3298535"/>
            <a:ext cx="0" cy="54165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9" name="Straight Connector 208">
            <a:extLst>
              <a:ext uri="{FF2B5EF4-FFF2-40B4-BE49-F238E27FC236}">
                <a16:creationId xmlns:a16="http://schemas.microsoft.com/office/drawing/2014/main" id="{50053A60-FF2E-58F5-F4FB-BB79AAE1149A}"/>
              </a:ext>
            </a:extLst>
          </p:cNvPr>
          <p:cNvCxnSpPr>
            <a:cxnSpLocks/>
          </p:cNvCxnSpPr>
          <p:nvPr/>
        </p:nvCxnSpPr>
        <p:spPr>
          <a:xfrm rot="5400000">
            <a:off x="7760044" y="3298232"/>
            <a:ext cx="0" cy="54772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6" name="Straight Connector 205">
            <a:extLst>
              <a:ext uri="{FF2B5EF4-FFF2-40B4-BE49-F238E27FC236}">
                <a16:creationId xmlns:a16="http://schemas.microsoft.com/office/drawing/2014/main" id="{9A9EC269-4209-0F33-B5A5-72B9E8946791}"/>
              </a:ext>
            </a:extLst>
          </p:cNvPr>
          <p:cNvCxnSpPr>
            <a:cxnSpLocks/>
          </p:cNvCxnSpPr>
          <p:nvPr/>
        </p:nvCxnSpPr>
        <p:spPr>
          <a:xfrm>
            <a:off x="8077586" y="3395185"/>
            <a:ext cx="0" cy="54165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7" name="Straight Connector 206">
            <a:extLst>
              <a:ext uri="{FF2B5EF4-FFF2-40B4-BE49-F238E27FC236}">
                <a16:creationId xmlns:a16="http://schemas.microsoft.com/office/drawing/2014/main" id="{4AFB4E87-C6A7-1061-9F51-E4D8B6AD97AA}"/>
              </a:ext>
            </a:extLst>
          </p:cNvPr>
          <p:cNvCxnSpPr>
            <a:cxnSpLocks/>
          </p:cNvCxnSpPr>
          <p:nvPr/>
        </p:nvCxnSpPr>
        <p:spPr>
          <a:xfrm rot="5400000">
            <a:off x="8077586" y="3394882"/>
            <a:ext cx="0" cy="54772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4" name="Straight Connector 203">
            <a:extLst>
              <a:ext uri="{FF2B5EF4-FFF2-40B4-BE49-F238E27FC236}">
                <a16:creationId xmlns:a16="http://schemas.microsoft.com/office/drawing/2014/main" id="{1170A1A7-C7DF-3DE8-0A24-13A3118278EF}"/>
              </a:ext>
            </a:extLst>
          </p:cNvPr>
          <p:cNvCxnSpPr>
            <a:cxnSpLocks/>
          </p:cNvCxnSpPr>
          <p:nvPr/>
        </p:nvCxnSpPr>
        <p:spPr>
          <a:xfrm>
            <a:off x="8482886" y="3542321"/>
            <a:ext cx="0" cy="54165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5" name="Straight Connector 204">
            <a:extLst>
              <a:ext uri="{FF2B5EF4-FFF2-40B4-BE49-F238E27FC236}">
                <a16:creationId xmlns:a16="http://schemas.microsoft.com/office/drawing/2014/main" id="{C0F9C087-A183-B985-E077-6665B73AD648}"/>
              </a:ext>
            </a:extLst>
          </p:cNvPr>
          <p:cNvCxnSpPr>
            <a:cxnSpLocks/>
          </p:cNvCxnSpPr>
          <p:nvPr/>
        </p:nvCxnSpPr>
        <p:spPr>
          <a:xfrm rot="5400000">
            <a:off x="8482886" y="3542018"/>
            <a:ext cx="0" cy="54772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2" name="Straight Connector 201">
            <a:extLst>
              <a:ext uri="{FF2B5EF4-FFF2-40B4-BE49-F238E27FC236}">
                <a16:creationId xmlns:a16="http://schemas.microsoft.com/office/drawing/2014/main" id="{48567BC9-080C-195D-55D3-2045E3FCDC1C}"/>
              </a:ext>
            </a:extLst>
          </p:cNvPr>
          <p:cNvCxnSpPr>
            <a:cxnSpLocks/>
          </p:cNvCxnSpPr>
          <p:nvPr/>
        </p:nvCxnSpPr>
        <p:spPr>
          <a:xfrm>
            <a:off x="8791817" y="3613373"/>
            <a:ext cx="0" cy="54165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3" name="Straight Connector 202">
            <a:extLst>
              <a:ext uri="{FF2B5EF4-FFF2-40B4-BE49-F238E27FC236}">
                <a16:creationId xmlns:a16="http://schemas.microsoft.com/office/drawing/2014/main" id="{2A05CAFB-971D-2B00-449A-43414B2B1AB0}"/>
              </a:ext>
            </a:extLst>
          </p:cNvPr>
          <p:cNvCxnSpPr>
            <a:cxnSpLocks/>
          </p:cNvCxnSpPr>
          <p:nvPr/>
        </p:nvCxnSpPr>
        <p:spPr>
          <a:xfrm rot="5400000">
            <a:off x="8791817" y="3613070"/>
            <a:ext cx="0" cy="54772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7" name="Straight Connector 196">
            <a:extLst>
              <a:ext uri="{FF2B5EF4-FFF2-40B4-BE49-F238E27FC236}">
                <a16:creationId xmlns:a16="http://schemas.microsoft.com/office/drawing/2014/main" id="{0F5302D5-1D01-1CAD-B37B-C0050B36B8F2}"/>
              </a:ext>
            </a:extLst>
          </p:cNvPr>
          <p:cNvCxnSpPr>
            <a:cxnSpLocks/>
          </p:cNvCxnSpPr>
          <p:nvPr/>
        </p:nvCxnSpPr>
        <p:spPr>
          <a:xfrm>
            <a:off x="9130993" y="3613373"/>
            <a:ext cx="0" cy="54165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1" name="Straight Connector 200">
            <a:extLst>
              <a:ext uri="{FF2B5EF4-FFF2-40B4-BE49-F238E27FC236}">
                <a16:creationId xmlns:a16="http://schemas.microsoft.com/office/drawing/2014/main" id="{B9107F42-2681-B575-E4A8-CAEE712FE16A}"/>
              </a:ext>
            </a:extLst>
          </p:cNvPr>
          <p:cNvCxnSpPr>
            <a:cxnSpLocks/>
          </p:cNvCxnSpPr>
          <p:nvPr/>
        </p:nvCxnSpPr>
        <p:spPr>
          <a:xfrm rot="5400000">
            <a:off x="9130993" y="3613070"/>
            <a:ext cx="0" cy="54772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1" name="Straight Connector 190">
            <a:extLst>
              <a:ext uri="{FF2B5EF4-FFF2-40B4-BE49-F238E27FC236}">
                <a16:creationId xmlns:a16="http://schemas.microsoft.com/office/drawing/2014/main" id="{D731F3DA-9FBA-7E11-ACED-C77FE91A9AE6}"/>
              </a:ext>
            </a:extLst>
          </p:cNvPr>
          <p:cNvCxnSpPr>
            <a:cxnSpLocks/>
          </p:cNvCxnSpPr>
          <p:nvPr/>
        </p:nvCxnSpPr>
        <p:spPr>
          <a:xfrm>
            <a:off x="9148276" y="3635581"/>
            <a:ext cx="0" cy="54165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2" name="Straight Connector 191">
            <a:extLst>
              <a:ext uri="{FF2B5EF4-FFF2-40B4-BE49-F238E27FC236}">
                <a16:creationId xmlns:a16="http://schemas.microsoft.com/office/drawing/2014/main" id="{73313342-D90B-081D-FDB5-F5BAAC9097A9}"/>
              </a:ext>
            </a:extLst>
          </p:cNvPr>
          <p:cNvCxnSpPr>
            <a:cxnSpLocks/>
          </p:cNvCxnSpPr>
          <p:nvPr/>
        </p:nvCxnSpPr>
        <p:spPr>
          <a:xfrm rot="5400000">
            <a:off x="9148276" y="3635278"/>
            <a:ext cx="0" cy="54772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9" name="Straight Connector 188">
            <a:extLst>
              <a:ext uri="{FF2B5EF4-FFF2-40B4-BE49-F238E27FC236}">
                <a16:creationId xmlns:a16="http://schemas.microsoft.com/office/drawing/2014/main" id="{BD4FA62B-7997-91CD-1A56-2C5BD1B57419}"/>
              </a:ext>
            </a:extLst>
          </p:cNvPr>
          <p:cNvCxnSpPr>
            <a:cxnSpLocks/>
          </p:cNvCxnSpPr>
          <p:nvPr/>
        </p:nvCxnSpPr>
        <p:spPr>
          <a:xfrm>
            <a:off x="9167719" y="3673909"/>
            <a:ext cx="0" cy="54165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0" name="Straight Connector 189">
            <a:extLst>
              <a:ext uri="{FF2B5EF4-FFF2-40B4-BE49-F238E27FC236}">
                <a16:creationId xmlns:a16="http://schemas.microsoft.com/office/drawing/2014/main" id="{D9B1F335-F176-5C1F-4C88-EBD9D0DD6877}"/>
              </a:ext>
            </a:extLst>
          </p:cNvPr>
          <p:cNvCxnSpPr>
            <a:cxnSpLocks/>
          </p:cNvCxnSpPr>
          <p:nvPr/>
        </p:nvCxnSpPr>
        <p:spPr>
          <a:xfrm rot="5400000">
            <a:off x="9167719" y="3673606"/>
            <a:ext cx="0" cy="54772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7" name="Straight Connector 186">
            <a:extLst>
              <a:ext uri="{FF2B5EF4-FFF2-40B4-BE49-F238E27FC236}">
                <a16:creationId xmlns:a16="http://schemas.microsoft.com/office/drawing/2014/main" id="{E4E296FA-7129-B3E1-85D8-D66B9F691185}"/>
              </a:ext>
            </a:extLst>
          </p:cNvPr>
          <p:cNvCxnSpPr>
            <a:cxnSpLocks/>
          </p:cNvCxnSpPr>
          <p:nvPr/>
        </p:nvCxnSpPr>
        <p:spPr>
          <a:xfrm>
            <a:off x="9182841" y="3672296"/>
            <a:ext cx="0" cy="54165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8" name="Straight Connector 187">
            <a:extLst>
              <a:ext uri="{FF2B5EF4-FFF2-40B4-BE49-F238E27FC236}">
                <a16:creationId xmlns:a16="http://schemas.microsoft.com/office/drawing/2014/main" id="{A03B2BFA-63D6-8367-8C24-D0445E133038}"/>
              </a:ext>
            </a:extLst>
          </p:cNvPr>
          <p:cNvCxnSpPr>
            <a:cxnSpLocks/>
          </p:cNvCxnSpPr>
          <p:nvPr/>
        </p:nvCxnSpPr>
        <p:spPr>
          <a:xfrm rot="5400000">
            <a:off x="9182841" y="3671993"/>
            <a:ext cx="0" cy="54772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1" name="Straight Connector 180">
            <a:extLst>
              <a:ext uri="{FF2B5EF4-FFF2-40B4-BE49-F238E27FC236}">
                <a16:creationId xmlns:a16="http://schemas.microsoft.com/office/drawing/2014/main" id="{947EE02C-1BE6-4141-F2BE-74FDDE4CD2F7}"/>
              </a:ext>
            </a:extLst>
          </p:cNvPr>
          <p:cNvCxnSpPr>
            <a:cxnSpLocks/>
          </p:cNvCxnSpPr>
          <p:nvPr/>
        </p:nvCxnSpPr>
        <p:spPr>
          <a:xfrm>
            <a:off x="9254984" y="3697816"/>
            <a:ext cx="0" cy="54165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2" name="Straight Connector 181">
            <a:extLst>
              <a:ext uri="{FF2B5EF4-FFF2-40B4-BE49-F238E27FC236}">
                <a16:creationId xmlns:a16="http://schemas.microsoft.com/office/drawing/2014/main" id="{D62D7838-417D-07C2-8C39-4A9524BEBE89}"/>
              </a:ext>
            </a:extLst>
          </p:cNvPr>
          <p:cNvCxnSpPr>
            <a:cxnSpLocks/>
          </p:cNvCxnSpPr>
          <p:nvPr/>
        </p:nvCxnSpPr>
        <p:spPr>
          <a:xfrm rot="5400000">
            <a:off x="9254984" y="3697513"/>
            <a:ext cx="0" cy="54772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9" name="Straight Connector 178">
            <a:extLst>
              <a:ext uri="{FF2B5EF4-FFF2-40B4-BE49-F238E27FC236}">
                <a16:creationId xmlns:a16="http://schemas.microsoft.com/office/drawing/2014/main" id="{B30426D2-DEB3-0B4F-0095-49438CC7693F}"/>
              </a:ext>
            </a:extLst>
          </p:cNvPr>
          <p:cNvCxnSpPr>
            <a:cxnSpLocks/>
          </p:cNvCxnSpPr>
          <p:nvPr/>
        </p:nvCxnSpPr>
        <p:spPr>
          <a:xfrm>
            <a:off x="9285063" y="3696721"/>
            <a:ext cx="0" cy="54165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0" name="Straight Connector 179">
            <a:extLst>
              <a:ext uri="{FF2B5EF4-FFF2-40B4-BE49-F238E27FC236}">
                <a16:creationId xmlns:a16="http://schemas.microsoft.com/office/drawing/2014/main" id="{B95D70B1-B8DF-A762-131C-402053F297E5}"/>
              </a:ext>
            </a:extLst>
          </p:cNvPr>
          <p:cNvCxnSpPr>
            <a:cxnSpLocks/>
          </p:cNvCxnSpPr>
          <p:nvPr/>
        </p:nvCxnSpPr>
        <p:spPr>
          <a:xfrm rot="5400000">
            <a:off x="9285063" y="3696418"/>
            <a:ext cx="0" cy="54772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7" name="Straight Connector 176">
            <a:extLst>
              <a:ext uri="{FF2B5EF4-FFF2-40B4-BE49-F238E27FC236}">
                <a16:creationId xmlns:a16="http://schemas.microsoft.com/office/drawing/2014/main" id="{DF874228-2C41-C757-E5A5-E7401D9A49BC}"/>
              </a:ext>
            </a:extLst>
          </p:cNvPr>
          <p:cNvCxnSpPr>
            <a:cxnSpLocks/>
          </p:cNvCxnSpPr>
          <p:nvPr/>
        </p:nvCxnSpPr>
        <p:spPr>
          <a:xfrm>
            <a:off x="9479495" y="3721052"/>
            <a:ext cx="0" cy="54165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8" name="Straight Connector 177">
            <a:extLst>
              <a:ext uri="{FF2B5EF4-FFF2-40B4-BE49-F238E27FC236}">
                <a16:creationId xmlns:a16="http://schemas.microsoft.com/office/drawing/2014/main" id="{D1EF13B5-6F62-BF3A-719F-D453B63903E3}"/>
              </a:ext>
            </a:extLst>
          </p:cNvPr>
          <p:cNvCxnSpPr>
            <a:cxnSpLocks/>
          </p:cNvCxnSpPr>
          <p:nvPr/>
        </p:nvCxnSpPr>
        <p:spPr>
          <a:xfrm rot="5400000">
            <a:off x="9479495" y="3720749"/>
            <a:ext cx="0" cy="54772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5" name="Straight Connector 174">
            <a:extLst>
              <a:ext uri="{FF2B5EF4-FFF2-40B4-BE49-F238E27FC236}">
                <a16:creationId xmlns:a16="http://schemas.microsoft.com/office/drawing/2014/main" id="{74A85C9A-8B9A-5D8D-92DC-B11F5B8E356C}"/>
              </a:ext>
            </a:extLst>
          </p:cNvPr>
          <p:cNvCxnSpPr>
            <a:cxnSpLocks/>
          </p:cNvCxnSpPr>
          <p:nvPr/>
        </p:nvCxnSpPr>
        <p:spPr>
          <a:xfrm>
            <a:off x="9583192" y="3721052"/>
            <a:ext cx="0" cy="54165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6" name="Straight Connector 175">
            <a:extLst>
              <a:ext uri="{FF2B5EF4-FFF2-40B4-BE49-F238E27FC236}">
                <a16:creationId xmlns:a16="http://schemas.microsoft.com/office/drawing/2014/main" id="{C5D7D307-71D6-DF13-586B-D9A8DA42014D}"/>
              </a:ext>
            </a:extLst>
          </p:cNvPr>
          <p:cNvCxnSpPr>
            <a:cxnSpLocks/>
          </p:cNvCxnSpPr>
          <p:nvPr/>
        </p:nvCxnSpPr>
        <p:spPr>
          <a:xfrm rot="5400000">
            <a:off x="9583192" y="3720749"/>
            <a:ext cx="0" cy="54772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3" name="Straight Connector 172">
            <a:extLst>
              <a:ext uri="{FF2B5EF4-FFF2-40B4-BE49-F238E27FC236}">
                <a16:creationId xmlns:a16="http://schemas.microsoft.com/office/drawing/2014/main" id="{F6D0C072-B7FC-C71A-92F0-0BA9E3AA8EBC}"/>
              </a:ext>
            </a:extLst>
          </p:cNvPr>
          <p:cNvCxnSpPr>
            <a:cxnSpLocks/>
          </p:cNvCxnSpPr>
          <p:nvPr/>
        </p:nvCxnSpPr>
        <p:spPr>
          <a:xfrm>
            <a:off x="9650163" y="3722926"/>
            <a:ext cx="0" cy="54165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4" name="Straight Connector 173">
            <a:extLst>
              <a:ext uri="{FF2B5EF4-FFF2-40B4-BE49-F238E27FC236}">
                <a16:creationId xmlns:a16="http://schemas.microsoft.com/office/drawing/2014/main" id="{7C8A0538-B37F-B81A-E9C8-79BE7BB5A93E}"/>
              </a:ext>
            </a:extLst>
          </p:cNvPr>
          <p:cNvCxnSpPr>
            <a:cxnSpLocks/>
          </p:cNvCxnSpPr>
          <p:nvPr/>
        </p:nvCxnSpPr>
        <p:spPr>
          <a:xfrm rot="5400000">
            <a:off x="9650163" y="3722623"/>
            <a:ext cx="0" cy="54772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1" name="Straight Connector 170">
            <a:extLst>
              <a:ext uri="{FF2B5EF4-FFF2-40B4-BE49-F238E27FC236}">
                <a16:creationId xmlns:a16="http://schemas.microsoft.com/office/drawing/2014/main" id="{4B075B08-2ADA-EE36-A55E-C64BD1A42313}"/>
              </a:ext>
            </a:extLst>
          </p:cNvPr>
          <p:cNvCxnSpPr>
            <a:cxnSpLocks/>
          </p:cNvCxnSpPr>
          <p:nvPr/>
        </p:nvCxnSpPr>
        <p:spPr>
          <a:xfrm>
            <a:off x="9874840" y="3719866"/>
            <a:ext cx="0" cy="54165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2" name="Straight Connector 171">
            <a:extLst>
              <a:ext uri="{FF2B5EF4-FFF2-40B4-BE49-F238E27FC236}">
                <a16:creationId xmlns:a16="http://schemas.microsoft.com/office/drawing/2014/main" id="{92EC514F-0631-7F46-1E06-3834011A00FE}"/>
              </a:ext>
            </a:extLst>
          </p:cNvPr>
          <p:cNvCxnSpPr>
            <a:cxnSpLocks/>
          </p:cNvCxnSpPr>
          <p:nvPr/>
        </p:nvCxnSpPr>
        <p:spPr>
          <a:xfrm rot="5400000">
            <a:off x="9874840" y="3719563"/>
            <a:ext cx="0" cy="54772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9" name="Straight Connector 168">
            <a:extLst>
              <a:ext uri="{FF2B5EF4-FFF2-40B4-BE49-F238E27FC236}">
                <a16:creationId xmlns:a16="http://schemas.microsoft.com/office/drawing/2014/main" id="{529BE699-1F39-BD9F-F96E-9706CD6292E8}"/>
              </a:ext>
            </a:extLst>
          </p:cNvPr>
          <p:cNvCxnSpPr>
            <a:cxnSpLocks/>
          </p:cNvCxnSpPr>
          <p:nvPr/>
        </p:nvCxnSpPr>
        <p:spPr>
          <a:xfrm>
            <a:off x="9885642" y="3718915"/>
            <a:ext cx="0" cy="54165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0" name="Straight Connector 169">
            <a:extLst>
              <a:ext uri="{FF2B5EF4-FFF2-40B4-BE49-F238E27FC236}">
                <a16:creationId xmlns:a16="http://schemas.microsoft.com/office/drawing/2014/main" id="{A80C5FA3-DA2A-29D3-039D-A35A43226F4E}"/>
              </a:ext>
            </a:extLst>
          </p:cNvPr>
          <p:cNvCxnSpPr>
            <a:cxnSpLocks/>
          </p:cNvCxnSpPr>
          <p:nvPr/>
        </p:nvCxnSpPr>
        <p:spPr>
          <a:xfrm rot="5400000">
            <a:off x="9885642" y="3718612"/>
            <a:ext cx="0" cy="54772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5" name="Straight Connector 164">
            <a:extLst>
              <a:ext uri="{FF2B5EF4-FFF2-40B4-BE49-F238E27FC236}">
                <a16:creationId xmlns:a16="http://schemas.microsoft.com/office/drawing/2014/main" id="{48A50C3C-96AA-3D6A-3DF1-3206D7BC3477}"/>
              </a:ext>
            </a:extLst>
          </p:cNvPr>
          <p:cNvCxnSpPr>
            <a:cxnSpLocks/>
          </p:cNvCxnSpPr>
          <p:nvPr/>
        </p:nvCxnSpPr>
        <p:spPr>
          <a:xfrm>
            <a:off x="9896444" y="3718915"/>
            <a:ext cx="0" cy="54165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6" name="Straight Connector 165">
            <a:extLst>
              <a:ext uri="{FF2B5EF4-FFF2-40B4-BE49-F238E27FC236}">
                <a16:creationId xmlns:a16="http://schemas.microsoft.com/office/drawing/2014/main" id="{0B10F475-3D7D-A0E6-4BB0-D8884856D256}"/>
              </a:ext>
            </a:extLst>
          </p:cNvPr>
          <p:cNvCxnSpPr>
            <a:cxnSpLocks/>
          </p:cNvCxnSpPr>
          <p:nvPr/>
        </p:nvCxnSpPr>
        <p:spPr>
          <a:xfrm rot="5400000">
            <a:off x="9896444" y="3718612"/>
            <a:ext cx="0" cy="54772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7" name="Straight Connector 156">
            <a:extLst>
              <a:ext uri="{FF2B5EF4-FFF2-40B4-BE49-F238E27FC236}">
                <a16:creationId xmlns:a16="http://schemas.microsoft.com/office/drawing/2014/main" id="{D017A936-BF82-20F7-8B90-DACADE5CF87A}"/>
              </a:ext>
            </a:extLst>
          </p:cNvPr>
          <p:cNvCxnSpPr>
            <a:cxnSpLocks/>
          </p:cNvCxnSpPr>
          <p:nvPr/>
        </p:nvCxnSpPr>
        <p:spPr>
          <a:xfrm>
            <a:off x="9913727" y="3718915"/>
            <a:ext cx="0" cy="54165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4" name="Straight Connector 163">
            <a:extLst>
              <a:ext uri="{FF2B5EF4-FFF2-40B4-BE49-F238E27FC236}">
                <a16:creationId xmlns:a16="http://schemas.microsoft.com/office/drawing/2014/main" id="{D95E8A21-D1EA-73D4-8E8A-4CB2B1CF2686}"/>
              </a:ext>
            </a:extLst>
          </p:cNvPr>
          <p:cNvCxnSpPr>
            <a:cxnSpLocks/>
          </p:cNvCxnSpPr>
          <p:nvPr/>
        </p:nvCxnSpPr>
        <p:spPr>
          <a:xfrm rot="5400000">
            <a:off x="9913727" y="3718612"/>
            <a:ext cx="0" cy="54772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1" name="Straight Connector 150">
            <a:extLst>
              <a:ext uri="{FF2B5EF4-FFF2-40B4-BE49-F238E27FC236}">
                <a16:creationId xmlns:a16="http://schemas.microsoft.com/office/drawing/2014/main" id="{38EDDEDA-09A5-6F83-5427-EFA913D9A6EC}"/>
              </a:ext>
            </a:extLst>
          </p:cNvPr>
          <p:cNvCxnSpPr>
            <a:cxnSpLocks/>
          </p:cNvCxnSpPr>
          <p:nvPr/>
        </p:nvCxnSpPr>
        <p:spPr>
          <a:xfrm>
            <a:off x="9920208" y="3718915"/>
            <a:ext cx="0" cy="54165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2" name="Straight Connector 151">
            <a:extLst>
              <a:ext uri="{FF2B5EF4-FFF2-40B4-BE49-F238E27FC236}">
                <a16:creationId xmlns:a16="http://schemas.microsoft.com/office/drawing/2014/main" id="{71DC6FA4-A889-B3D6-A9B5-EF191DD321A5}"/>
              </a:ext>
            </a:extLst>
          </p:cNvPr>
          <p:cNvCxnSpPr>
            <a:cxnSpLocks/>
          </p:cNvCxnSpPr>
          <p:nvPr/>
        </p:nvCxnSpPr>
        <p:spPr>
          <a:xfrm rot="5400000">
            <a:off x="9920208" y="3718612"/>
            <a:ext cx="0" cy="54772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4" name="Straight Connector 133">
            <a:extLst>
              <a:ext uri="{FF2B5EF4-FFF2-40B4-BE49-F238E27FC236}">
                <a16:creationId xmlns:a16="http://schemas.microsoft.com/office/drawing/2014/main" id="{3BD07703-4ED8-4A0E-53C4-EB4EDA235F0E}"/>
              </a:ext>
            </a:extLst>
          </p:cNvPr>
          <p:cNvCxnSpPr>
            <a:cxnSpLocks/>
          </p:cNvCxnSpPr>
          <p:nvPr/>
        </p:nvCxnSpPr>
        <p:spPr>
          <a:xfrm>
            <a:off x="9933170" y="3719733"/>
            <a:ext cx="0" cy="54165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5" name="Straight Connector 134">
            <a:extLst>
              <a:ext uri="{FF2B5EF4-FFF2-40B4-BE49-F238E27FC236}">
                <a16:creationId xmlns:a16="http://schemas.microsoft.com/office/drawing/2014/main" id="{54D1F549-264E-0688-A1DE-2134F21E525E}"/>
              </a:ext>
            </a:extLst>
          </p:cNvPr>
          <p:cNvCxnSpPr>
            <a:cxnSpLocks/>
          </p:cNvCxnSpPr>
          <p:nvPr/>
        </p:nvCxnSpPr>
        <p:spPr>
          <a:xfrm rot="5400000">
            <a:off x="9933170" y="3719430"/>
            <a:ext cx="0" cy="54772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6" name="Straight Connector 125">
            <a:extLst>
              <a:ext uri="{FF2B5EF4-FFF2-40B4-BE49-F238E27FC236}">
                <a16:creationId xmlns:a16="http://schemas.microsoft.com/office/drawing/2014/main" id="{C3D10FC4-DEA6-0202-45EF-886EAFB4001E}"/>
              </a:ext>
            </a:extLst>
          </p:cNvPr>
          <p:cNvCxnSpPr>
            <a:cxnSpLocks/>
          </p:cNvCxnSpPr>
          <p:nvPr/>
        </p:nvCxnSpPr>
        <p:spPr>
          <a:xfrm>
            <a:off x="10019584" y="3718915"/>
            <a:ext cx="0" cy="54165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3" name="Straight Connector 132">
            <a:extLst>
              <a:ext uri="{FF2B5EF4-FFF2-40B4-BE49-F238E27FC236}">
                <a16:creationId xmlns:a16="http://schemas.microsoft.com/office/drawing/2014/main" id="{AABDC133-A33D-5230-9A79-9D0D9A155BEE}"/>
              </a:ext>
            </a:extLst>
          </p:cNvPr>
          <p:cNvCxnSpPr>
            <a:cxnSpLocks/>
          </p:cNvCxnSpPr>
          <p:nvPr/>
        </p:nvCxnSpPr>
        <p:spPr>
          <a:xfrm rot="5400000">
            <a:off x="10019584" y="3718612"/>
            <a:ext cx="0" cy="54772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4" name="Straight Connector 123">
            <a:extLst>
              <a:ext uri="{FF2B5EF4-FFF2-40B4-BE49-F238E27FC236}">
                <a16:creationId xmlns:a16="http://schemas.microsoft.com/office/drawing/2014/main" id="{4D37400A-EC1E-28F5-2A20-69A2455E38EA}"/>
              </a:ext>
            </a:extLst>
          </p:cNvPr>
          <p:cNvCxnSpPr>
            <a:cxnSpLocks/>
          </p:cNvCxnSpPr>
          <p:nvPr/>
        </p:nvCxnSpPr>
        <p:spPr>
          <a:xfrm>
            <a:off x="10179450" y="3777236"/>
            <a:ext cx="0" cy="54165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5" name="Straight Connector 124">
            <a:extLst>
              <a:ext uri="{FF2B5EF4-FFF2-40B4-BE49-F238E27FC236}">
                <a16:creationId xmlns:a16="http://schemas.microsoft.com/office/drawing/2014/main" id="{99EA5A28-84D5-E94B-67DB-3F1FF85605C2}"/>
              </a:ext>
            </a:extLst>
          </p:cNvPr>
          <p:cNvCxnSpPr>
            <a:cxnSpLocks/>
          </p:cNvCxnSpPr>
          <p:nvPr/>
        </p:nvCxnSpPr>
        <p:spPr>
          <a:xfrm rot="5400000">
            <a:off x="10179450" y="3776933"/>
            <a:ext cx="0" cy="54772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2" name="Straight Connector 121">
            <a:extLst>
              <a:ext uri="{FF2B5EF4-FFF2-40B4-BE49-F238E27FC236}">
                <a16:creationId xmlns:a16="http://schemas.microsoft.com/office/drawing/2014/main" id="{8CFFA632-92BA-1740-1149-4E50040EE2D6}"/>
              </a:ext>
            </a:extLst>
          </p:cNvPr>
          <p:cNvCxnSpPr>
            <a:cxnSpLocks/>
          </p:cNvCxnSpPr>
          <p:nvPr/>
        </p:nvCxnSpPr>
        <p:spPr>
          <a:xfrm>
            <a:off x="10224818" y="3777236"/>
            <a:ext cx="0" cy="54165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3" name="Straight Connector 122">
            <a:extLst>
              <a:ext uri="{FF2B5EF4-FFF2-40B4-BE49-F238E27FC236}">
                <a16:creationId xmlns:a16="http://schemas.microsoft.com/office/drawing/2014/main" id="{26BDF8CD-EDDB-C207-2631-F0538EFAFE8A}"/>
              </a:ext>
            </a:extLst>
          </p:cNvPr>
          <p:cNvCxnSpPr>
            <a:cxnSpLocks/>
          </p:cNvCxnSpPr>
          <p:nvPr/>
        </p:nvCxnSpPr>
        <p:spPr>
          <a:xfrm rot="5400000">
            <a:off x="10224818" y="3776933"/>
            <a:ext cx="0" cy="54772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0" name="Straight Connector 119">
            <a:extLst>
              <a:ext uri="{FF2B5EF4-FFF2-40B4-BE49-F238E27FC236}">
                <a16:creationId xmlns:a16="http://schemas.microsoft.com/office/drawing/2014/main" id="{BF6E4303-AE3F-53B5-3C67-8F2338169C10}"/>
              </a:ext>
            </a:extLst>
          </p:cNvPr>
          <p:cNvCxnSpPr>
            <a:cxnSpLocks/>
          </p:cNvCxnSpPr>
          <p:nvPr/>
        </p:nvCxnSpPr>
        <p:spPr>
          <a:xfrm>
            <a:off x="10360920" y="3777236"/>
            <a:ext cx="0" cy="54165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1" name="Straight Connector 120">
            <a:extLst>
              <a:ext uri="{FF2B5EF4-FFF2-40B4-BE49-F238E27FC236}">
                <a16:creationId xmlns:a16="http://schemas.microsoft.com/office/drawing/2014/main" id="{CAAF8539-1D6C-0FDC-B50B-411ACDB29A7F}"/>
              </a:ext>
            </a:extLst>
          </p:cNvPr>
          <p:cNvCxnSpPr>
            <a:cxnSpLocks/>
          </p:cNvCxnSpPr>
          <p:nvPr/>
        </p:nvCxnSpPr>
        <p:spPr>
          <a:xfrm rot="5400000">
            <a:off x="10360920" y="3776933"/>
            <a:ext cx="0" cy="54772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8" name="Straight Connector 117">
            <a:extLst>
              <a:ext uri="{FF2B5EF4-FFF2-40B4-BE49-F238E27FC236}">
                <a16:creationId xmlns:a16="http://schemas.microsoft.com/office/drawing/2014/main" id="{E10496C4-A72A-C265-FB89-87E726D3F210}"/>
              </a:ext>
            </a:extLst>
          </p:cNvPr>
          <p:cNvCxnSpPr>
            <a:cxnSpLocks/>
          </p:cNvCxnSpPr>
          <p:nvPr/>
        </p:nvCxnSpPr>
        <p:spPr>
          <a:xfrm>
            <a:off x="10624484" y="3777809"/>
            <a:ext cx="0" cy="54165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9" name="Straight Connector 118">
            <a:extLst>
              <a:ext uri="{FF2B5EF4-FFF2-40B4-BE49-F238E27FC236}">
                <a16:creationId xmlns:a16="http://schemas.microsoft.com/office/drawing/2014/main" id="{2C3A061B-689F-DC25-C3B6-5EF96A9A68A8}"/>
              </a:ext>
            </a:extLst>
          </p:cNvPr>
          <p:cNvCxnSpPr>
            <a:cxnSpLocks/>
          </p:cNvCxnSpPr>
          <p:nvPr/>
        </p:nvCxnSpPr>
        <p:spPr>
          <a:xfrm rot="5400000">
            <a:off x="10624484" y="3777506"/>
            <a:ext cx="0" cy="54772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6" name="Straight Connector 115">
            <a:extLst>
              <a:ext uri="{FF2B5EF4-FFF2-40B4-BE49-F238E27FC236}">
                <a16:creationId xmlns:a16="http://schemas.microsoft.com/office/drawing/2014/main" id="{C58F5641-2946-ED13-3C82-449E5602CB7D}"/>
              </a:ext>
            </a:extLst>
          </p:cNvPr>
          <p:cNvCxnSpPr>
            <a:cxnSpLocks/>
          </p:cNvCxnSpPr>
          <p:nvPr/>
        </p:nvCxnSpPr>
        <p:spPr>
          <a:xfrm>
            <a:off x="10758426" y="3777976"/>
            <a:ext cx="0" cy="54165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7" name="Straight Connector 116">
            <a:extLst>
              <a:ext uri="{FF2B5EF4-FFF2-40B4-BE49-F238E27FC236}">
                <a16:creationId xmlns:a16="http://schemas.microsoft.com/office/drawing/2014/main" id="{EEF7F1E7-CD1B-A2BA-EBA7-A11E6966CE9F}"/>
              </a:ext>
            </a:extLst>
          </p:cNvPr>
          <p:cNvCxnSpPr>
            <a:cxnSpLocks/>
          </p:cNvCxnSpPr>
          <p:nvPr/>
        </p:nvCxnSpPr>
        <p:spPr>
          <a:xfrm rot="5400000">
            <a:off x="10758426" y="3777673"/>
            <a:ext cx="0" cy="54772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4" name="Straight Connector 113">
            <a:extLst>
              <a:ext uri="{FF2B5EF4-FFF2-40B4-BE49-F238E27FC236}">
                <a16:creationId xmlns:a16="http://schemas.microsoft.com/office/drawing/2014/main" id="{4DC9DBCE-BF87-3172-D552-918E122F4F75}"/>
              </a:ext>
            </a:extLst>
          </p:cNvPr>
          <p:cNvCxnSpPr>
            <a:cxnSpLocks/>
          </p:cNvCxnSpPr>
          <p:nvPr/>
        </p:nvCxnSpPr>
        <p:spPr>
          <a:xfrm>
            <a:off x="10801633" y="3777809"/>
            <a:ext cx="0" cy="54165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59A0DE81-0B11-7C1E-1313-72831AAC1475}"/>
              </a:ext>
            </a:extLst>
          </p:cNvPr>
          <p:cNvCxnSpPr>
            <a:cxnSpLocks/>
          </p:cNvCxnSpPr>
          <p:nvPr/>
        </p:nvCxnSpPr>
        <p:spPr>
          <a:xfrm rot="5400000">
            <a:off x="10801633" y="3777506"/>
            <a:ext cx="0" cy="54772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Free-form: Shape 9">
            <a:extLst>
              <a:ext uri="{FF2B5EF4-FFF2-40B4-BE49-F238E27FC236}">
                <a16:creationId xmlns:a16="http://schemas.microsoft.com/office/drawing/2014/main" id="{35749B94-20E4-1556-E840-3AA6B0A1D2D0}"/>
              </a:ext>
            </a:extLst>
          </p:cNvPr>
          <p:cNvSpPr/>
          <p:nvPr/>
        </p:nvSpPr>
        <p:spPr>
          <a:xfrm>
            <a:off x="6719585" y="2460889"/>
            <a:ext cx="4039076" cy="1629456"/>
          </a:xfrm>
          <a:custGeom>
            <a:avLst/>
            <a:gdLst>
              <a:gd name="csX0" fmla="*/ 0 w 10488305"/>
              <a:gd name="csY0" fmla="*/ 0 h 4278573"/>
              <a:gd name="csX1" fmla="*/ 88711 w 10488305"/>
              <a:gd name="csY1" fmla="*/ 0 h 4278573"/>
              <a:gd name="csX2" fmla="*/ 88711 w 10488305"/>
              <a:gd name="csY2" fmla="*/ 61415 h 4278573"/>
              <a:gd name="csX3" fmla="*/ 177421 w 10488305"/>
              <a:gd name="csY3" fmla="*/ 61415 h 4278573"/>
              <a:gd name="csX4" fmla="*/ 177421 w 10488305"/>
              <a:gd name="csY4" fmla="*/ 116006 h 4278573"/>
              <a:gd name="csX5" fmla="*/ 177421 w 10488305"/>
              <a:gd name="csY5" fmla="*/ 313898 h 4278573"/>
              <a:gd name="csX6" fmla="*/ 245660 w 10488305"/>
              <a:gd name="csY6" fmla="*/ 313898 h 4278573"/>
              <a:gd name="csX7" fmla="*/ 245660 w 10488305"/>
              <a:gd name="csY7" fmla="*/ 348018 h 4278573"/>
              <a:gd name="csX8" fmla="*/ 272955 w 10488305"/>
              <a:gd name="csY8" fmla="*/ 348018 h 4278573"/>
              <a:gd name="csX9" fmla="*/ 272955 w 10488305"/>
              <a:gd name="csY9" fmla="*/ 566382 h 4278573"/>
              <a:gd name="csX10" fmla="*/ 320723 w 10488305"/>
              <a:gd name="csY10" fmla="*/ 566382 h 4278573"/>
              <a:gd name="csX11" fmla="*/ 320723 w 10488305"/>
              <a:gd name="csY11" fmla="*/ 607325 h 4278573"/>
              <a:gd name="csX12" fmla="*/ 361666 w 10488305"/>
              <a:gd name="csY12" fmla="*/ 607325 h 4278573"/>
              <a:gd name="csX13" fmla="*/ 361666 w 10488305"/>
              <a:gd name="csY13" fmla="*/ 723331 h 4278573"/>
              <a:gd name="csX14" fmla="*/ 436729 w 10488305"/>
              <a:gd name="csY14" fmla="*/ 723331 h 4278573"/>
              <a:gd name="csX15" fmla="*/ 436729 w 10488305"/>
              <a:gd name="csY15" fmla="*/ 777922 h 4278573"/>
              <a:gd name="csX16" fmla="*/ 470848 w 10488305"/>
              <a:gd name="csY16" fmla="*/ 777922 h 4278573"/>
              <a:gd name="csX17" fmla="*/ 470848 w 10488305"/>
              <a:gd name="csY17" fmla="*/ 900752 h 4278573"/>
              <a:gd name="csX18" fmla="*/ 498144 w 10488305"/>
              <a:gd name="csY18" fmla="*/ 900752 h 4278573"/>
              <a:gd name="csX19" fmla="*/ 498144 w 10488305"/>
              <a:gd name="csY19" fmla="*/ 1289713 h 4278573"/>
              <a:gd name="csX20" fmla="*/ 532263 w 10488305"/>
              <a:gd name="csY20" fmla="*/ 1289713 h 4278573"/>
              <a:gd name="csX21" fmla="*/ 532263 w 10488305"/>
              <a:gd name="csY21" fmla="*/ 1392071 h 4278573"/>
              <a:gd name="csX22" fmla="*/ 566382 w 10488305"/>
              <a:gd name="csY22" fmla="*/ 1392071 h 4278573"/>
              <a:gd name="csX23" fmla="*/ 566382 w 10488305"/>
              <a:gd name="csY23" fmla="*/ 1453486 h 4278573"/>
              <a:gd name="csX24" fmla="*/ 607326 w 10488305"/>
              <a:gd name="csY24" fmla="*/ 1453486 h 4278573"/>
              <a:gd name="csX25" fmla="*/ 607326 w 10488305"/>
              <a:gd name="csY25" fmla="*/ 1535373 h 4278573"/>
              <a:gd name="csX26" fmla="*/ 641445 w 10488305"/>
              <a:gd name="csY26" fmla="*/ 1535373 h 4278573"/>
              <a:gd name="csX27" fmla="*/ 641445 w 10488305"/>
              <a:gd name="csY27" fmla="*/ 1596788 h 4278573"/>
              <a:gd name="csX28" fmla="*/ 723332 w 10488305"/>
              <a:gd name="csY28" fmla="*/ 1596788 h 4278573"/>
              <a:gd name="csX29" fmla="*/ 723332 w 10488305"/>
              <a:gd name="csY29" fmla="*/ 1712794 h 4278573"/>
              <a:gd name="csX30" fmla="*/ 805218 w 10488305"/>
              <a:gd name="csY30" fmla="*/ 1712794 h 4278573"/>
              <a:gd name="csX31" fmla="*/ 805218 w 10488305"/>
              <a:gd name="csY31" fmla="*/ 1767385 h 4278573"/>
              <a:gd name="csX32" fmla="*/ 846161 w 10488305"/>
              <a:gd name="csY32" fmla="*/ 1767385 h 4278573"/>
              <a:gd name="csX33" fmla="*/ 846161 w 10488305"/>
              <a:gd name="csY33" fmla="*/ 1897038 h 4278573"/>
              <a:gd name="csX34" fmla="*/ 893929 w 10488305"/>
              <a:gd name="csY34" fmla="*/ 1897038 h 4278573"/>
              <a:gd name="csX35" fmla="*/ 893929 w 10488305"/>
              <a:gd name="csY35" fmla="*/ 2019868 h 4278573"/>
              <a:gd name="csX36" fmla="*/ 921224 w 10488305"/>
              <a:gd name="csY36" fmla="*/ 2019868 h 4278573"/>
              <a:gd name="csX37" fmla="*/ 921224 w 10488305"/>
              <a:gd name="csY37" fmla="*/ 2217761 h 4278573"/>
              <a:gd name="csX38" fmla="*/ 962167 w 10488305"/>
              <a:gd name="csY38" fmla="*/ 2217761 h 4278573"/>
              <a:gd name="csX39" fmla="*/ 962167 w 10488305"/>
              <a:gd name="csY39" fmla="*/ 2415653 h 4278573"/>
              <a:gd name="csX40" fmla="*/ 1003111 w 10488305"/>
              <a:gd name="csY40" fmla="*/ 2415653 h 4278573"/>
              <a:gd name="csX41" fmla="*/ 1003111 w 10488305"/>
              <a:gd name="csY41" fmla="*/ 2497540 h 4278573"/>
              <a:gd name="csX42" fmla="*/ 1050878 w 10488305"/>
              <a:gd name="csY42" fmla="*/ 2497540 h 4278573"/>
              <a:gd name="csX43" fmla="*/ 1050878 w 10488305"/>
              <a:gd name="csY43" fmla="*/ 2572603 h 4278573"/>
              <a:gd name="csX44" fmla="*/ 1105469 w 10488305"/>
              <a:gd name="csY44" fmla="*/ 2572603 h 4278573"/>
              <a:gd name="csX45" fmla="*/ 1105469 w 10488305"/>
              <a:gd name="csY45" fmla="*/ 2599898 h 4278573"/>
              <a:gd name="csX46" fmla="*/ 1160060 w 10488305"/>
              <a:gd name="csY46" fmla="*/ 2599898 h 4278573"/>
              <a:gd name="csX47" fmla="*/ 1160060 w 10488305"/>
              <a:gd name="csY47" fmla="*/ 2654489 h 4278573"/>
              <a:gd name="csX48" fmla="*/ 1187355 w 10488305"/>
              <a:gd name="csY48" fmla="*/ 2654489 h 4278573"/>
              <a:gd name="csX49" fmla="*/ 1187355 w 10488305"/>
              <a:gd name="csY49" fmla="*/ 2722728 h 4278573"/>
              <a:gd name="csX50" fmla="*/ 1317009 w 10488305"/>
              <a:gd name="csY50" fmla="*/ 2722728 h 4278573"/>
              <a:gd name="csX51" fmla="*/ 1317009 w 10488305"/>
              <a:gd name="csY51" fmla="*/ 2770495 h 4278573"/>
              <a:gd name="csX52" fmla="*/ 1535373 w 10488305"/>
              <a:gd name="csY52" fmla="*/ 2770495 h 4278573"/>
              <a:gd name="csX53" fmla="*/ 1535373 w 10488305"/>
              <a:gd name="csY53" fmla="*/ 2811438 h 4278573"/>
              <a:gd name="csX54" fmla="*/ 1644555 w 10488305"/>
              <a:gd name="csY54" fmla="*/ 2811438 h 4278573"/>
              <a:gd name="csX55" fmla="*/ 1644555 w 10488305"/>
              <a:gd name="csY55" fmla="*/ 2852382 h 4278573"/>
              <a:gd name="csX56" fmla="*/ 1705970 w 10488305"/>
              <a:gd name="csY56" fmla="*/ 2852382 h 4278573"/>
              <a:gd name="csX57" fmla="*/ 1705970 w 10488305"/>
              <a:gd name="csY57" fmla="*/ 2982035 h 4278573"/>
              <a:gd name="csX58" fmla="*/ 1781033 w 10488305"/>
              <a:gd name="csY58" fmla="*/ 2982035 h 4278573"/>
              <a:gd name="csX59" fmla="*/ 1781033 w 10488305"/>
              <a:gd name="csY59" fmla="*/ 3016155 h 4278573"/>
              <a:gd name="csX60" fmla="*/ 1849272 w 10488305"/>
              <a:gd name="csY60" fmla="*/ 3016155 h 4278573"/>
              <a:gd name="csX61" fmla="*/ 1849272 w 10488305"/>
              <a:gd name="csY61" fmla="*/ 3070746 h 4278573"/>
              <a:gd name="csX62" fmla="*/ 1999397 w 10488305"/>
              <a:gd name="csY62" fmla="*/ 3070746 h 4278573"/>
              <a:gd name="csX63" fmla="*/ 1999397 w 10488305"/>
              <a:gd name="csY63" fmla="*/ 3118513 h 4278573"/>
              <a:gd name="csX64" fmla="*/ 2047164 w 10488305"/>
              <a:gd name="csY64" fmla="*/ 3118513 h 4278573"/>
              <a:gd name="csX65" fmla="*/ 2047164 w 10488305"/>
              <a:gd name="csY65" fmla="*/ 3295934 h 4278573"/>
              <a:gd name="csX66" fmla="*/ 2163170 w 10488305"/>
              <a:gd name="csY66" fmla="*/ 3295934 h 4278573"/>
              <a:gd name="csX67" fmla="*/ 2163170 w 10488305"/>
              <a:gd name="csY67" fmla="*/ 3350525 h 4278573"/>
              <a:gd name="csX68" fmla="*/ 2251881 w 10488305"/>
              <a:gd name="csY68" fmla="*/ 3350525 h 4278573"/>
              <a:gd name="csX69" fmla="*/ 2251881 w 10488305"/>
              <a:gd name="csY69" fmla="*/ 3398292 h 4278573"/>
              <a:gd name="csX70" fmla="*/ 2279176 w 10488305"/>
              <a:gd name="csY70" fmla="*/ 3398292 h 4278573"/>
              <a:gd name="csX71" fmla="*/ 2279176 w 10488305"/>
              <a:gd name="csY71" fmla="*/ 3452883 h 4278573"/>
              <a:gd name="csX72" fmla="*/ 2374711 w 10488305"/>
              <a:gd name="csY72" fmla="*/ 3452883 h 4278573"/>
              <a:gd name="csX73" fmla="*/ 2374711 w 10488305"/>
              <a:gd name="csY73" fmla="*/ 3493827 h 4278573"/>
              <a:gd name="csX74" fmla="*/ 2763672 w 10488305"/>
              <a:gd name="csY74" fmla="*/ 3493827 h 4278573"/>
              <a:gd name="csX75" fmla="*/ 2763672 w 10488305"/>
              <a:gd name="csY75" fmla="*/ 3548418 h 4278573"/>
              <a:gd name="csX76" fmla="*/ 3186752 w 10488305"/>
              <a:gd name="csY76" fmla="*/ 3548418 h 4278573"/>
              <a:gd name="csX77" fmla="*/ 3186752 w 10488305"/>
              <a:gd name="csY77" fmla="*/ 3596185 h 4278573"/>
              <a:gd name="csX78" fmla="*/ 3568890 w 10488305"/>
              <a:gd name="csY78" fmla="*/ 3596185 h 4278573"/>
              <a:gd name="csX79" fmla="*/ 3568890 w 10488305"/>
              <a:gd name="csY79" fmla="*/ 3650776 h 4278573"/>
              <a:gd name="csX80" fmla="*/ 4067033 w 10488305"/>
              <a:gd name="csY80" fmla="*/ 3650776 h 4278573"/>
              <a:gd name="csX81" fmla="*/ 4067033 w 10488305"/>
              <a:gd name="csY81" fmla="*/ 3712191 h 4278573"/>
              <a:gd name="csX82" fmla="*/ 4401403 w 10488305"/>
              <a:gd name="csY82" fmla="*/ 3712191 h 4278573"/>
              <a:gd name="csX83" fmla="*/ 4401403 w 10488305"/>
              <a:gd name="csY83" fmla="*/ 3773606 h 4278573"/>
              <a:gd name="csX84" fmla="*/ 4831308 w 10488305"/>
              <a:gd name="csY84" fmla="*/ 3773606 h 4278573"/>
              <a:gd name="csX85" fmla="*/ 4831308 w 10488305"/>
              <a:gd name="csY85" fmla="*/ 3835021 h 4278573"/>
              <a:gd name="csX86" fmla="*/ 5063320 w 10488305"/>
              <a:gd name="csY86" fmla="*/ 3835021 h 4278573"/>
              <a:gd name="csX87" fmla="*/ 5063320 w 10488305"/>
              <a:gd name="csY87" fmla="*/ 3896435 h 4278573"/>
              <a:gd name="csX88" fmla="*/ 6605517 w 10488305"/>
              <a:gd name="csY88" fmla="*/ 3896435 h 4278573"/>
              <a:gd name="csX89" fmla="*/ 6605517 w 10488305"/>
              <a:gd name="csY89" fmla="*/ 4026089 h 4278573"/>
              <a:gd name="csX90" fmla="*/ 10426890 w 10488305"/>
              <a:gd name="csY90" fmla="*/ 4026089 h 4278573"/>
              <a:gd name="csX91" fmla="*/ 10426890 w 10488305"/>
              <a:gd name="csY91" fmla="*/ 4278573 h 4278573"/>
              <a:gd name="csX92" fmla="*/ 10488305 w 10488305"/>
              <a:gd name="csY92" fmla="*/ 4278573 h 427857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</a:cxnLst>
            <a:rect l="l" t="t" r="r" b="b"/>
            <a:pathLst>
              <a:path w="10488305" h="4278573">
                <a:moveTo>
                  <a:pt x="0" y="0"/>
                </a:moveTo>
                <a:lnTo>
                  <a:pt x="88711" y="0"/>
                </a:lnTo>
                <a:lnTo>
                  <a:pt x="88711" y="61415"/>
                </a:lnTo>
                <a:lnTo>
                  <a:pt x="177421" y="61415"/>
                </a:lnTo>
                <a:lnTo>
                  <a:pt x="177421" y="116006"/>
                </a:lnTo>
                <a:lnTo>
                  <a:pt x="177421" y="313898"/>
                </a:lnTo>
                <a:lnTo>
                  <a:pt x="245660" y="313898"/>
                </a:lnTo>
                <a:lnTo>
                  <a:pt x="245660" y="348018"/>
                </a:lnTo>
                <a:lnTo>
                  <a:pt x="272955" y="348018"/>
                </a:lnTo>
                <a:lnTo>
                  <a:pt x="272955" y="566382"/>
                </a:lnTo>
                <a:lnTo>
                  <a:pt x="320723" y="566382"/>
                </a:lnTo>
                <a:lnTo>
                  <a:pt x="320723" y="607325"/>
                </a:lnTo>
                <a:lnTo>
                  <a:pt x="361666" y="607325"/>
                </a:lnTo>
                <a:lnTo>
                  <a:pt x="361666" y="723331"/>
                </a:lnTo>
                <a:lnTo>
                  <a:pt x="436729" y="723331"/>
                </a:lnTo>
                <a:lnTo>
                  <a:pt x="436729" y="777922"/>
                </a:lnTo>
                <a:lnTo>
                  <a:pt x="470848" y="777922"/>
                </a:lnTo>
                <a:lnTo>
                  <a:pt x="470848" y="900752"/>
                </a:lnTo>
                <a:lnTo>
                  <a:pt x="498144" y="900752"/>
                </a:lnTo>
                <a:lnTo>
                  <a:pt x="498144" y="1289713"/>
                </a:lnTo>
                <a:lnTo>
                  <a:pt x="532263" y="1289713"/>
                </a:lnTo>
                <a:lnTo>
                  <a:pt x="532263" y="1392071"/>
                </a:lnTo>
                <a:lnTo>
                  <a:pt x="566382" y="1392071"/>
                </a:lnTo>
                <a:lnTo>
                  <a:pt x="566382" y="1453486"/>
                </a:lnTo>
                <a:lnTo>
                  <a:pt x="607326" y="1453486"/>
                </a:lnTo>
                <a:lnTo>
                  <a:pt x="607326" y="1535373"/>
                </a:lnTo>
                <a:lnTo>
                  <a:pt x="641445" y="1535373"/>
                </a:lnTo>
                <a:lnTo>
                  <a:pt x="641445" y="1596788"/>
                </a:lnTo>
                <a:lnTo>
                  <a:pt x="723332" y="1596788"/>
                </a:lnTo>
                <a:lnTo>
                  <a:pt x="723332" y="1712794"/>
                </a:lnTo>
                <a:lnTo>
                  <a:pt x="805218" y="1712794"/>
                </a:lnTo>
                <a:lnTo>
                  <a:pt x="805218" y="1767385"/>
                </a:lnTo>
                <a:lnTo>
                  <a:pt x="846161" y="1767385"/>
                </a:lnTo>
                <a:lnTo>
                  <a:pt x="846161" y="1897038"/>
                </a:lnTo>
                <a:lnTo>
                  <a:pt x="893929" y="1897038"/>
                </a:lnTo>
                <a:lnTo>
                  <a:pt x="893929" y="2019868"/>
                </a:lnTo>
                <a:lnTo>
                  <a:pt x="921224" y="2019868"/>
                </a:lnTo>
                <a:lnTo>
                  <a:pt x="921224" y="2217761"/>
                </a:lnTo>
                <a:lnTo>
                  <a:pt x="962167" y="2217761"/>
                </a:lnTo>
                <a:lnTo>
                  <a:pt x="962167" y="2415653"/>
                </a:lnTo>
                <a:lnTo>
                  <a:pt x="1003111" y="2415653"/>
                </a:lnTo>
                <a:lnTo>
                  <a:pt x="1003111" y="2497540"/>
                </a:lnTo>
                <a:lnTo>
                  <a:pt x="1050878" y="2497540"/>
                </a:lnTo>
                <a:lnTo>
                  <a:pt x="1050878" y="2572603"/>
                </a:lnTo>
                <a:lnTo>
                  <a:pt x="1105469" y="2572603"/>
                </a:lnTo>
                <a:lnTo>
                  <a:pt x="1105469" y="2599898"/>
                </a:lnTo>
                <a:lnTo>
                  <a:pt x="1160060" y="2599898"/>
                </a:lnTo>
                <a:lnTo>
                  <a:pt x="1160060" y="2654489"/>
                </a:lnTo>
                <a:lnTo>
                  <a:pt x="1187355" y="2654489"/>
                </a:lnTo>
                <a:lnTo>
                  <a:pt x="1187355" y="2722728"/>
                </a:lnTo>
                <a:lnTo>
                  <a:pt x="1317009" y="2722728"/>
                </a:lnTo>
                <a:lnTo>
                  <a:pt x="1317009" y="2770495"/>
                </a:lnTo>
                <a:lnTo>
                  <a:pt x="1535373" y="2770495"/>
                </a:lnTo>
                <a:lnTo>
                  <a:pt x="1535373" y="2811438"/>
                </a:lnTo>
                <a:lnTo>
                  <a:pt x="1644555" y="2811438"/>
                </a:lnTo>
                <a:lnTo>
                  <a:pt x="1644555" y="2852382"/>
                </a:lnTo>
                <a:lnTo>
                  <a:pt x="1705970" y="2852382"/>
                </a:lnTo>
                <a:lnTo>
                  <a:pt x="1705970" y="2982035"/>
                </a:lnTo>
                <a:lnTo>
                  <a:pt x="1781033" y="2982035"/>
                </a:lnTo>
                <a:lnTo>
                  <a:pt x="1781033" y="3016155"/>
                </a:lnTo>
                <a:lnTo>
                  <a:pt x="1849272" y="3016155"/>
                </a:lnTo>
                <a:lnTo>
                  <a:pt x="1849272" y="3070746"/>
                </a:lnTo>
                <a:lnTo>
                  <a:pt x="1999397" y="3070746"/>
                </a:lnTo>
                <a:lnTo>
                  <a:pt x="1999397" y="3118513"/>
                </a:lnTo>
                <a:lnTo>
                  <a:pt x="2047164" y="3118513"/>
                </a:lnTo>
                <a:lnTo>
                  <a:pt x="2047164" y="3295934"/>
                </a:lnTo>
                <a:lnTo>
                  <a:pt x="2163170" y="3295934"/>
                </a:lnTo>
                <a:lnTo>
                  <a:pt x="2163170" y="3350525"/>
                </a:lnTo>
                <a:lnTo>
                  <a:pt x="2251881" y="3350525"/>
                </a:lnTo>
                <a:lnTo>
                  <a:pt x="2251881" y="3398292"/>
                </a:lnTo>
                <a:lnTo>
                  <a:pt x="2279176" y="3398292"/>
                </a:lnTo>
                <a:lnTo>
                  <a:pt x="2279176" y="3452883"/>
                </a:lnTo>
                <a:lnTo>
                  <a:pt x="2374711" y="3452883"/>
                </a:lnTo>
                <a:lnTo>
                  <a:pt x="2374711" y="3493827"/>
                </a:lnTo>
                <a:lnTo>
                  <a:pt x="2763672" y="3493827"/>
                </a:lnTo>
                <a:lnTo>
                  <a:pt x="2763672" y="3548418"/>
                </a:lnTo>
                <a:lnTo>
                  <a:pt x="3186752" y="3548418"/>
                </a:lnTo>
                <a:lnTo>
                  <a:pt x="3186752" y="3596185"/>
                </a:lnTo>
                <a:lnTo>
                  <a:pt x="3568890" y="3596185"/>
                </a:lnTo>
                <a:lnTo>
                  <a:pt x="3568890" y="3650776"/>
                </a:lnTo>
                <a:lnTo>
                  <a:pt x="4067033" y="3650776"/>
                </a:lnTo>
                <a:lnTo>
                  <a:pt x="4067033" y="3712191"/>
                </a:lnTo>
                <a:lnTo>
                  <a:pt x="4401403" y="3712191"/>
                </a:lnTo>
                <a:lnTo>
                  <a:pt x="4401403" y="3773606"/>
                </a:lnTo>
                <a:lnTo>
                  <a:pt x="4831308" y="3773606"/>
                </a:lnTo>
                <a:lnTo>
                  <a:pt x="4831308" y="3835021"/>
                </a:lnTo>
                <a:lnTo>
                  <a:pt x="5063320" y="3835021"/>
                </a:lnTo>
                <a:lnTo>
                  <a:pt x="5063320" y="3896435"/>
                </a:lnTo>
                <a:lnTo>
                  <a:pt x="6605517" y="3896435"/>
                </a:lnTo>
                <a:lnTo>
                  <a:pt x="6605517" y="4026089"/>
                </a:lnTo>
                <a:lnTo>
                  <a:pt x="10426890" y="4026089"/>
                </a:lnTo>
                <a:lnTo>
                  <a:pt x="10426890" y="4278573"/>
                </a:lnTo>
                <a:lnTo>
                  <a:pt x="10488305" y="4278573"/>
                </a:lnTo>
              </a:path>
            </a:pathLst>
          </a:custGeom>
          <a:noFill/>
          <a:ln w="1905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15785B90-C3AA-B558-DF5C-E9C6650AEC0F}"/>
              </a:ext>
            </a:extLst>
          </p:cNvPr>
          <p:cNvCxnSpPr>
            <a:cxnSpLocks/>
          </p:cNvCxnSpPr>
          <p:nvPr/>
        </p:nvCxnSpPr>
        <p:spPr>
          <a:xfrm>
            <a:off x="6906058" y="2839143"/>
            <a:ext cx="0" cy="54166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AB6BF450-6E81-CBC6-131B-6D3CA2D5493A}"/>
              </a:ext>
            </a:extLst>
          </p:cNvPr>
          <p:cNvCxnSpPr>
            <a:cxnSpLocks/>
          </p:cNvCxnSpPr>
          <p:nvPr/>
        </p:nvCxnSpPr>
        <p:spPr>
          <a:xfrm rot="5400000">
            <a:off x="6906058" y="2838840"/>
            <a:ext cx="0" cy="54772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14AEBE00-270A-65F5-E5AA-BB03FCF39E3D}"/>
              </a:ext>
            </a:extLst>
          </p:cNvPr>
          <p:cNvCxnSpPr>
            <a:cxnSpLocks/>
          </p:cNvCxnSpPr>
          <p:nvPr/>
        </p:nvCxnSpPr>
        <p:spPr>
          <a:xfrm>
            <a:off x="7076940" y="3272331"/>
            <a:ext cx="0" cy="54166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5175DE13-F1E4-037F-13FE-1D765194352B}"/>
              </a:ext>
            </a:extLst>
          </p:cNvPr>
          <p:cNvCxnSpPr>
            <a:cxnSpLocks/>
          </p:cNvCxnSpPr>
          <p:nvPr/>
        </p:nvCxnSpPr>
        <p:spPr>
          <a:xfrm rot="5400000">
            <a:off x="7076940" y="3272028"/>
            <a:ext cx="0" cy="54772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FAE4E2AE-2BBC-217C-9853-B97084306961}"/>
              </a:ext>
            </a:extLst>
          </p:cNvPr>
          <p:cNvCxnSpPr>
            <a:cxnSpLocks/>
          </p:cNvCxnSpPr>
          <p:nvPr/>
        </p:nvCxnSpPr>
        <p:spPr>
          <a:xfrm>
            <a:off x="7130127" y="3411664"/>
            <a:ext cx="0" cy="54166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3D163E0D-FBE9-D533-A6F0-BB503E08370B}"/>
              </a:ext>
            </a:extLst>
          </p:cNvPr>
          <p:cNvCxnSpPr>
            <a:cxnSpLocks/>
          </p:cNvCxnSpPr>
          <p:nvPr/>
        </p:nvCxnSpPr>
        <p:spPr>
          <a:xfrm rot="5400000">
            <a:off x="7130127" y="3411361"/>
            <a:ext cx="0" cy="54772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CF62CCEB-EF4F-D949-28A2-EF83D4A62AFF}"/>
              </a:ext>
            </a:extLst>
          </p:cNvPr>
          <p:cNvCxnSpPr>
            <a:cxnSpLocks/>
          </p:cNvCxnSpPr>
          <p:nvPr/>
        </p:nvCxnSpPr>
        <p:spPr>
          <a:xfrm>
            <a:off x="7095073" y="3353580"/>
            <a:ext cx="0" cy="54166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66709E1F-BB29-C3C1-1DE6-ED26CE23B1F0}"/>
              </a:ext>
            </a:extLst>
          </p:cNvPr>
          <p:cNvCxnSpPr>
            <a:cxnSpLocks/>
          </p:cNvCxnSpPr>
          <p:nvPr/>
        </p:nvCxnSpPr>
        <p:spPr>
          <a:xfrm rot="5400000">
            <a:off x="7095073" y="3353277"/>
            <a:ext cx="0" cy="54772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98FDA6B6-BF5A-D683-966C-C18D837456DA}"/>
              </a:ext>
            </a:extLst>
          </p:cNvPr>
          <p:cNvCxnSpPr>
            <a:cxnSpLocks/>
          </p:cNvCxnSpPr>
          <p:nvPr/>
        </p:nvCxnSpPr>
        <p:spPr>
          <a:xfrm>
            <a:off x="7104326" y="3380514"/>
            <a:ext cx="0" cy="54166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5633B2A1-14CA-A09E-B439-61AF298AC6E6}"/>
              </a:ext>
            </a:extLst>
          </p:cNvPr>
          <p:cNvCxnSpPr>
            <a:cxnSpLocks/>
          </p:cNvCxnSpPr>
          <p:nvPr/>
        </p:nvCxnSpPr>
        <p:spPr>
          <a:xfrm rot="5400000">
            <a:off x="7104326" y="3380211"/>
            <a:ext cx="0" cy="54772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E0B10C64-7F46-2AFE-C8F0-A377B79D4533}"/>
              </a:ext>
            </a:extLst>
          </p:cNvPr>
          <p:cNvCxnSpPr>
            <a:cxnSpLocks/>
          </p:cNvCxnSpPr>
          <p:nvPr/>
        </p:nvCxnSpPr>
        <p:spPr>
          <a:xfrm>
            <a:off x="7224725" y="3470766"/>
            <a:ext cx="0" cy="54166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D292BD50-AB1F-4C97-96E6-2634CB484CFB}"/>
              </a:ext>
            </a:extLst>
          </p:cNvPr>
          <p:cNvCxnSpPr>
            <a:cxnSpLocks/>
          </p:cNvCxnSpPr>
          <p:nvPr/>
        </p:nvCxnSpPr>
        <p:spPr>
          <a:xfrm rot="5400000">
            <a:off x="7224725" y="3470463"/>
            <a:ext cx="0" cy="54772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4CB2237F-9599-7F86-0051-E4FE498FB11C}"/>
              </a:ext>
            </a:extLst>
          </p:cNvPr>
          <p:cNvCxnSpPr>
            <a:cxnSpLocks/>
          </p:cNvCxnSpPr>
          <p:nvPr/>
        </p:nvCxnSpPr>
        <p:spPr>
          <a:xfrm>
            <a:off x="7375179" y="3537195"/>
            <a:ext cx="0" cy="54166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C9B1F9CB-C4E0-0264-27D2-A30E90901A78}"/>
              </a:ext>
            </a:extLst>
          </p:cNvPr>
          <p:cNvCxnSpPr>
            <a:cxnSpLocks/>
          </p:cNvCxnSpPr>
          <p:nvPr/>
        </p:nvCxnSpPr>
        <p:spPr>
          <a:xfrm rot="5400000">
            <a:off x="7375179" y="3536892"/>
            <a:ext cx="0" cy="54772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73E9AEFC-0625-1C15-BA95-9C92FCBBEF27}"/>
              </a:ext>
            </a:extLst>
          </p:cNvPr>
          <p:cNvCxnSpPr>
            <a:cxnSpLocks/>
          </p:cNvCxnSpPr>
          <p:nvPr/>
        </p:nvCxnSpPr>
        <p:spPr>
          <a:xfrm>
            <a:off x="7545868" y="3696477"/>
            <a:ext cx="0" cy="54166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FB5BF536-D560-9914-8147-544A27CE94C0}"/>
              </a:ext>
            </a:extLst>
          </p:cNvPr>
          <p:cNvCxnSpPr>
            <a:cxnSpLocks/>
          </p:cNvCxnSpPr>
          <p:nvPr/>
        </p:nvCxnSpPr>
        <p:spPr>
          <a:xfrm rot="5400000">
            <a:off x="7545868" y="3696174"/>
            <a:ext cx="0" cy="54772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EBED275F-745F-3402-7109-57F1DB1E01C0}"/>
              </a:ext>
            </a:extLst>
          </p:cNvPr>
          <p:cNvCxnSpPr>
            <a:cxnSpLocks/>
          </p:cNvCxnSpPr>
          <p:nvPr/>
        </p:nvCxnSpPr>
        <p:spPr>
          <a:xfrm>
            <a:off x="7621002" y="3747265"/>
            <a:ext cx="0" cy="54166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CE611CDF-43E3-64A9-BDA6-9834ACC94B30}"/>
              </a:ext>
            </a:extLst>
          </p:cNvPr>
          <p:cNvCxnSpPr>
            <a:cxnSpLocks/>
          </p:cNvCxnSpPr>
          <p:nvPr/>
        </p:nvCxnSpPr>
        <p:spPr>
          <a:xfrm rot="5400000">
            <a:off x="7621002" y="3746962"/>
            <a:ext cx="0" cy="54772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50A67714-C64B-EBEF-EF5F-660877A6944E}"/>
              </a:ext>
            </a:extLst>
          </p:cNvPr>
          <p:cNvCxnSpPr>
            <a:cxnSpLocks/>
          </p:cNvCxnSpPr>
          <p:nvPr/>
        </p:nvCxnSpPr>
        <p:spPr>
          <a:xfrm>
            <a:off x="7822134" y="3784368"/>
            <a:ext cx="0" cy="54166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22C39245-E0CF-FB4B-FE88-21C08DB4B2A4}"/>
              </a:ext>
            </a:extLst>
          </p:cNvPr>
          <p:cNvCxnSpPr>
            <a:cxnSpLocks/>
          </p:cNvCxnSpPr>
          <p:nvPr/>
        </p:nvCxnSpPr>
        <p:spPr>
          <a:xfrm rot="5400000">
            <a:off x="7822134" y="3784065"/>
            <a:ext cx="0" cy="54772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4BB935AE-CFAD-C209-C5BD-775CDE47CF1E}"/>
              </a:ext>
            </a:extLst>
          </p:cNvPr>
          <p:cNvCxnSpPr>
            <a:cxnSpLocks/>
          </p:cNvCxnSpPr>
          <p:nvPr/>
        </p:nvCxnSpPr>
        <p:spPr>
          <a:xfrm>
            <a:off x="8074369" y="3802829"/>
            <a:ext cx="0" cy="54166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05F860BD-6033-0432-0375-08079D2C6A4B}"/>
              </a:ext>
            </a:extLst>
          </p:cNvPr>
          <p:cNvCxnSpPr>
            <a:cxnSpLocks/>
          </p:cNvCxnSpPr>
          <p:nvPr/>
        </p:nvCxnSpPr>
        <p:spPr>
          <a:xfrm rot="5400000">
            <a:off x="8074369" y="3802526"/>
            <a:ext cx="0" cy="54772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1276F326-9E26-7E62-751A-3889F4569C51}"/>
              </a:ext>
            </a:extLst>
          </p:cNvPr>
          <p:cNvCxnSpPr>
            <a:cxnSpLocks/>
          </p:cNvCxnSpPr>
          <p:nvPr/>
        </p:nvCxnSpPr>
        <p:spPr>
          <a:xfrm>
            <a:off x="8355033" y="3848546"/>
            <a:ext cx="0" cy="54166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92811E5C-D335-D539-3BBC-106AA9A0CD5B}"/>
              </a:ext>
            </a:extLst>
          </p:cNvPr>
          <p:cNvCxnSpPr>
            <a:cxnSpLocks/>
          </p:cNvCxnSpPr>
          <p:nvPr/>
        </p:nvCxnSpPr>
        <p:spPr>
          <a:xfrm rot="5400000">
            <a:off x="8355033" y="3848243"/>
            <a:ext cx="0" cy="54772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75FA0E5B-80A9-59CE-45AC-A63ACB697730}"/>
              </a:ext>
            </a:extLst>
          </p:cNvPr>
          <p:cNvCxnSpPr>
            <a:cxnSpLocks/>
          </p:cNvCxnSpPr>
          <p:nvPr/>
        </p:nvCxnSpPr>
        <p:spPr>
          <a:xfrm>
            <a:off x="10103702" y="3965914"/>
            <a:ext cx="0" cy="54166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ACF88625-6214-02E1-1CFF-A88828B870B0}"/>
              </a:ext>
            </a:extLst>
          </p:cNvPr>
          <p:cNvCxnSpPr>
            <a:cxnSpLocks/>
          </p:cNvCxnSpPr>
          <p:nvPr/>
        </p:nvCxnSpPr>
        <p:spPr>
          <a:xfrm rot="5400000">
            <a:off x="10103702" y="3965611"/>
            <a:ext cx="0" cy="54772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A3D9D702-8082-1BF0-D5E6-BEDDAE6D85E0}"/>
              </a:ext>
            </a:extLst>
          </p:cNvPr>
          <p:cNvCxnSpPr>
            <a:cxnSpLocks/>
          </p:cNvCxnSpPr>
          <p:nvPr/>
        </p:nvCxnSpPr>
        <p:spPr>
          <a:xfrm>
            <a:off x="9132141" y="3919409"/>
            <a:ext cx="0" cy="54166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7D60D31D-780B-BF9F-51E3-BB95C328C829}"/>
              </a:ext>
            </a:extLst>
          </p:cNvPr>
          <p:cNvCxnSpPr>
            <a:cxnSpLocks/>
          </p:cNvCxnSpPr>
          <p:nvPr/>
        </p:nvCxnSpPr>
        <p:spPr>
          <a:xfrm rot="5400000">
            <a:off x="9132141" y="3919106"/>
            <a:ext cx="0" cy="54772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236F0954-511D-68E6-3D85-882148E7BC07}"/>
              </a:ext>
            </a:extLst>
          </p:cNvPr>
          <p:cNvCxnSpPr>
            <a:cxnSpLocks/>
          </p:cNvCxnSpPr>
          <p:nvPr/>
        </p:nvCxnSpPr>
        <p:spPr>
          <a:xfrm>
            <a:off x="9181638" y="3919860"/>
            <a:ext cx="0" cy="54166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361294E1-7F15-2F7E-E7DE-41DFCAE65409}"/>
              </a:ext>
            </a:extLst>
          </p:cNvPr>
          <p:cNvCxnSpPr>
            <a:cxnSpLocks/>
          </p:cNvCxnSpPr>
          <p:nvPr/>
        </p:nvCxnSpPr>
        <p:spPr>
          <a:xfrm rot="5400000">
            <a:off x="9181638" y="3919557"/>
            <a:ext cx="0" cy="54772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28F49945-2F16-C464-F7F0-D13037B8EB48}"/>
              </a:ext>
            </a:extLst>
          </p:cNvPr>
          <p:cNvCxnSpPr>
            <a:cxnSpLocks/>
          </p:cNvCxnSpPr>
          <p:nvPr/>
        </p:nvCxnSpPr>
        <p:spPr>
          <a:xfrm>
            <a:off x="10264922" y="3964273"/>
            <a:ext cx="0" cy="54166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7D752902-F0A4-5DA7-A3DA-AB6E393242DE}"/>
              </a:ext>
            </a:extLst>
          </p:cNvPr>
          <p:cNvCxnSpPr>
            <a:cxnSpLocks/>
          </p:cNvCxnSpPr>
          <p:nvPr/>
        </p:nvCxnSpPr>
        <p:spPr>
          <a:xfrm rot="5400000">
            <a:off x="10264922" y="3963970"/>
            <a:ext cx="0" cy="54772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F9AC4431-1510-FA61-F329-19C99635E434}"/>
              </a:ext>
            </a:extLst>
          </p:cNvPr>
          <p:cNvCxnSpPr>
            <a:cxnSpLocks/>
          </p:cNvCxnSpPr>
          <p:nvPr/>
        </p:nvCxnSpPr>
        <p:spPr>
          <a:xfrm>
            <a:off x="10453012" y="3964273"/>
            <a:ext cx="0" cy="54166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7EFD6310-C8FF-5B4D-11CE-3B4B08229C55}"/>
              </a:ext>
            </a:extLst>
          </p:cNvPr>
          <p:cNvCxnSpPr>
            <a:cxnSpLocks/>
          </p:cNvCxnSpPr>
          <p:nvPr/>
        </p:nvCxnSpPr>
        <p:spPr>
          <a:xfrm rot="5400000">
            <a:off x="10453012" y="3963970"/>
            <a:ext cx="0" cy="54772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CA035D54-C0D7-4EAD-9008-773DE9CC4BA3}"/>
              </a:ext>
            </a:extLst>
          </p:cNvPr>
          <p:cNvCxnSpPr>
            <a:cxnSpLocks/>
          </p:cNvCxnSpPr>
          <p:nvPr/>
        </p:nvCxnSpPr>
        <p:spPr>
          <a:xfrm>
            <a:off x="10758661" y="4060180"/>
            <a:ext cx="0" cy="54166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09372970-9B8D-5F60-2927-34EF2239144F}"/>
              </a:ext>
            </a:extLst>
          </p:cNvPr>
          <p:cNvCxnSpPr>
            <a:cxnSpLocks/>
          </p:cNvCxnSpPr>
          <p:nvPr/>
        </p:nvCxnSpPr>
        <p:spPr>
          <a:xfrm rot="5400000">
            <a:off x="10758661" y="4059877"/>
            <a:ext cx="0" cy="54772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Title 2">
            <a:extLst>
              <a:ext uri="{FF2B5EF4-FFF2-40B4-BE49-F238E27FC236}">
                <a16:creationId xmlns:a16="http://schemas.microsoft.com/office/drawing/2014/main" id="{860EDF2A-C277-AE02-E79D-3120E6676A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0" y="311150"/>
            <a:ext cx="9790113" cy="633413"/>
          </a:xfrm>
        </p:spPr>
        <p:txBody>
          <a:bodyPr/>
          <a:lstStyle/>
          <a:p>
            <a:r>
              <a:rPr lang="en-GB" sz="3200"/>
              <a:t>Polatuzumab vedotin-R-GemOx </a:t>
            </a:r>
            <a:r>
              <a:rPr lang="en-GB" sz="3200" dirty="0"/>
              <a:t>(</a:t>
            </a:r>
            <a:r>
              <a:rPr lang="en-GB" sz="3200" b="1"/>
              <a:t>POLARGO</a:t>
            </a:r>
            <a:r>
              <a:rPr lang="en-GB" sz="3200"/>
              <a:t>)</a:t>
            </a:r>
            <a:r>
              <a:rPr lang="en-GB" sz="3200" baseline="30000"/>
              <a:t>1,</a:t>
            </a:r>
            <a:r>
              <a:rPr lang="en-GB" sz="3200"/>
              <a:t>*</a:t>
            </a:r>
            <a:endParaRPr lang="en-GB" sz="3200" baseline="30000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8D01A6E-7BFE-8466-EE3B-6E02C630D5D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70645" y="5989869"/>
            <a:ext cx="10440000" cy="730081"/>
          </a:xfrm>
        </p:spPr>
        <p:txBody>
          <a:bodyPr/>
          <a:lstStyle/>
          <a:p>
            <a:r>
              <a:rPr lang="en-GB" dirty="0"/>
              <a:t>*For scientific discussion only, subject to regulatory approval. </a:t>
            </a:r>
            <a:r>
              <a:rPr lang="en-GB" kern="0" dirty="0"/>
              <a:t>†</a:t>
            </a:r>
            <a:r>
              <a:rPr lang="en-GB" dirty="0"/>
              <a:t>Polatuzumab vedotin, 1.8 mg/kg; rituximab, 375 mg/m</a:t>
            </a:r>
            <a:r>
              <a:rPr lang="en-GB" baseline="30000" dirty="0"/>
              <a:t>2</a:t>
            </a:r>
            <a:r>
              <a:rPr lang="en-GB" dirty="0"/>
              <a:t>; gemcitabine 1,000 mg/m</a:t>
            </a:r>
            <a:r>
              <a:rPr lang="en-GB" baseline="30000" dirty="0"/>
              <a:t>2</a:t>
            </a:r>
            <a:r>
              <a:rPr lang="en-GB" dirty="0"/>
              <a:t>; oxaliplatin, 100 mg/m</a:t>
            </a:r>
            <a:r>
              <a:rPr lang="en-GB" baseline="30000" dirty="0"/>
              <a:t>2</a:t>
            </a:r>
            <a:r>
              <a:rPr lang="en-GB" dirty="0"/>
              <a:t>. </a:t>
            </a:r>
            <a:endParaRPr lang="en-CH" dirty="0"/>
          </a:p>
          <a:p>
            <a:r>
              <a:rPr lang="en-GB" dirty="0">
                <a:solidFill>
                  <a:prstClr val="black">
                    <a:lumMod val="75000"/>
                    <a:lumOff val="25000"/>
                  </a:prstClr>
                </a:solidFill>
              </a:rPr>
              <a:t>‡</a:t>
            </a:r>
            <a:r>
              <a:rPr lang="en-GB" dirty="0"/>
              <a:t>Stratified for age (≤70 vs &gt;70 years), prior lines of systemic therapy (1 vs ≥2), outcome of last systemic therapy (relapsed vs refractory). </a:t>
            </a:r>
            <a:br>
              <a:rPr lang="en-GB" dirty="0"/>
            </a:br>
            <a:r>
              <a:rPr lang="en-GB" dirty="0"/>
              <a:t>2L, second line; ADC, antibody-drug conjugate; ASCT, autologous stem cell transplantation; DLBCL, diffuse large B-cell lymphoma; GemOx, gemcitabine and oxaliplatin; NE, not evaluable; NOS, not otherwise specified; PFS, progression-free survival; Pola, polatuzumab vedotin; Q3W, every 3 weeks; R, rituximab; R/R, relapsed/refractory. </a:t>
            </a:r>
          </a:p>
          <a:p>
            <a:r>
              <a:rPr lang="en-GB" b="1" dirty="0"/>
              <a:t>1. </a:t>
            </a:r>
            <a:r>
              <a:rPr lang="en-GB" dirty="0" err="1"/>
              <a:t>Matasar</a:t>
            </a:r>
            <a:r>
              <a:rPr lang="en-GB" dirty="0"/>
              <a:t> et al. EHA 2025; Oral presentation #S101.</a:t>
            </a:r>
          </a:p>
        </p:txBody>
      </p:sp>
      <p:sp>
        <p:nvSpPr>
          <p:cNvPr id="15" name="object 48">
            <a:extLst>
              <a:ext uri="{FF2B5EF4-FFF2-40B4-BE49-F238E27FC236}">
                <a16:creationId xmlns:a16="http://schemas.microsoft.com/office/drawing/2014/main" id="{F0709947-DEFD-BA31-0622-E9D67CD569BD}"/>
              </a:ext>
            </a:extLst>
          </p:cNvPr>
          <p:cNvSpPr txBox="1"/>
          <p:nvPr/>
        </p:nvSpPr>
        <p:spPr>
          <a:xfrm>
            <a:off x="777218" y="4856120"/>
            <a:ext cx="3543523" cy="869212"/>
          </a:xfrm>
          <a:prstGeom prst="rect">
            <a:avLst/>
          </a:prstGeom>
          <a:ln w="12700">
            <a:solidFill>
              <a:schemeClr val="accent3"/>
            </a:solidFill>
          </a:ln>
        </p:spPr>
        <p:txBody>
          <a:bodyPr vert="horz" wrap="square" lIns="91440" tIns="45720" rIns="0" bIns="45720" rtlCol="0" anchor="t">
            <a:spAutoFit/>
          </a:bodyPr>
          <a:lstStyle>
            <a:defPPr>
              <a:defRPr lang="en-US"/>
            </a:defPPr>
            <a:lvl1pPr marL="183600" indent="-183600">
              <a:lnSpc>
                <a:spcPct val="90000"/>
              </a:lnSpc>
              <a:spcBef>
                <a:spcPts val="800"/>
              </a:spcBef>
              <a:spcAft>
                <a:spcPts val="800"/>
              </a:spcAft>
              <a:buFont typeface="Arial" panose="020B0604020202020204" pitchFamily="34" charset="0"/>
              <a:buChar char="•"/>
              <a:defRPr sz="1200" b="1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55600" indent="-173038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539750" indent="-18415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722313" indent="-182563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895350" indent="-173038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183600" marR="0" lvl="0" indent="-183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Calibri" panose="020F0502020204030204" pitchFamily="34" charset="0"/>
              </a:rPr>
              <a:t>DLBCL, NOS or history of transformation of indolent disease to DLBCL</a:t>
            </a:r>
          </a:p>
          <a:p>
            <a:pPr marL="183600" marR="0" lvl="0" indent="-183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Calibri" panose="020F0502020204030204" pitchFamily="34" charset="0"/>
              </a:rPr>
              <a:t>R/R disease after ≥1 prior line of treatment</a:t>
            </a:r>
          </a:p>
          <a:p>
            <a:pPr marL="183600" marR="0" lvl="0" indent="-183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0" cap="none" spc="0" normalizeH="0" baseline="0" noProof="0" dirty="0" err="1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Calibri" panose="020F0502020204030204" pitchFamily="34" charset="0"/>
              </a:rPr>
              <a:t>Ineligible</a:t>
            </a: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Calibri" panose="020F0502020204030204" pitchFamily="34" charset="0"/>
              </a:rPr>
              <a:t> for ASCT</a:t>
            </a:r>
          </a:p>
        </p:txBody>
      </p:sp>
      <p:sp>
        <p:nvSpPr>
          <p:cNvPr id="16" name="object 46">
            <a:extLst>
              <a:ext uri="{FF2B5EF4-FFF2-40B4-BE49-F238E27FC236}">
                <a16:creationId xmlns:a16="http://schemas.microsoft.com/office/drawing/2014/main" id="{202AD354-1B2C-6AB4-1831-E3C84C925EA8}"/>
              </a:ext>
            </a:extLst>
          </p:cNvPr>
          <p:cNvSpPr txBox="1"/>
          <p:nvPr/>
        </p:nvSpPr>
        <p:spPr>
          <a:xfrm>
            <a:off x="777218" y="4614586"/>
            <a:ext cx="3543523" cy="246888"/>
          </a:xfrm>
          <a:prstGeom prst="rect">
            <a:avLst/>
          </a:prstGeom>
          <a:solidFill>
            <a:schemeClr val="accent3"/>
          </a:solidFill>
          <a:ln w="12700" cap="flat" cmpd="sng" algn="ctr">
            <a:solidFill>
              <a:schemeClr val="accent3"/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>
            <a:defPPr>
              <a:defRPr lang="en-US"/>
            </a:defPPr>
            <a:lvl1pPr algn="ctr">
              <a:defRPr sz="14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tudy population</a:t>
            </a:r>
          </a:p>
        </p:txBody>
      </p:sp>
      <p:sp>
        <p:nvSpPr>
          <p:cNvPr id="17" name="object 44">
            <a:extLst>
              <a:ext uri="{FF2B5EF4-FFF2-40B4-BE49-F238E27FC236}">
                <a16:creationId xmlns:a16="http://schemas.microsoft.com/office/drawing/2014/main" id="{712DAF75-4BFD-0C5F-CE1C-F45D0B53D867}"/>
              </a:ext>
            </a:extLst>
          </p:cNvPr>
          <p:cNvSpPr txBox="1"/>
          <p:nvPr/>
        </p:nvSpPr>
        <p:spPr>
          <a:xfrm rot="16200000">
            <a:off x="384929" y="3607795"/>
            <a:ext cx="1208837" cy="283936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2700">
            <a:solidFill>
              <a:schemeClr val="bg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andomised 1:1</a:t>
            </a:r>
            <a:r>
              <a:rPr kumimoji="0" lang="en-GB" sz="1100" b="0" i="0" u="none" strike="noStrike" kern="1200" cap="none" spc="0" normalizeH="0" baseline="3000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‡</a:t>
            </a:r>
          </a:p>
        </p:txBody>
      </p:sp>
      <p:sp>
        <p:nvSpPr>
          <p:cNvPr id="19" name="object 7">
            <a:extLst>
              <a:ext uri="{FF2B5EF4-FFF2-40B4-BE49-F238E27FC236}">
                <a16:creationId xmlns:a16="http://schemas.microsoft.com/office/drawing/2014/main" id="{989502C2-5CFC-3CAF-C862-43A9D1380D73}"/>
              </a:ext>
            </a:extLst>
          </p:cNvPr>
          <p:cNvSpPr txBox="1"/>
          <p:nvPr/>
        </p:nvSpPr>
        <p:spPr>
          <a:xfrm>
            <a:off x="826347" y="1535934"/>
            <a:ext cx="3677274" cy="366956"/>
          </a:xfrm>
          <a:prstGeom prst="chevron">
            <a:avLst/>
          </a:prstGeom>
          <a:solidFill>
            <a:schemeClr val="bg2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sv-SE"/>
            </a:defPPr>
            <a:lvl1pPr algn="ctr">
              <a:defRPr sz="14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afety run-in</a:t>
            </a:r>
          </a:p>
        </p:txBody>
      </p:sp>
      <p:sp>
        <p:nvSpPr>
          <p:cNvPr id="32" name="object 7">
            <a:extLst>
              <a:ext uri="{FF2B5EF4-FFF2-40B4-BE49-F238E27FC236}">
                <a16:creationId xmlns:a16="http://schemas.microsoft.com/office/drawing/2014/main" id="{E7763CE7-3D31-DE21-8E54-CF406A15CD73}"/>
              </a:ext>
            </a:extLst>
          </p:cNvPr>
          <p:cNvSpPr txBox="1"/>
          <p:nvPr/>
        </p:nvSpPr>
        <p:spPr>
          <a:xfrm>
            <a:off x="846667" y="2721424"/>
            <a:ext cx="3656954" cy="366956"/>
          </a:xfrm>
          <a:prstGeom prst="chevron">
            <a:avLst/>
          </a:prstGeom>
          <a:solidFill>
            <a:schemeClr val="accent5"/>
          </a:solidFill>
          <a:ln w="127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sv-SE"/>
            </a:defPPr>
            <a:lvl1pPr algn="ctr">
              <a:defRPr sz="14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reatment period</a:t>
            </a:r>
          </a:p>
        </p:txBody>
      </p:sp>
      <p:sp>
        <p:nvSpPr>
          <p:cNvPr id="34" name="object 44">
            <a:extLst>
              <a:ext uri="{FF2B5EF4-FFF2-40B4-BE49-F238E27FC236}">
                <a16:creationId xmlns:a16="http://schemas.microsoft.com/office/drawing/2014/main" id="{4B0FCBAD-267E-71E2-F6F4-9788C085AE11}"/>
              </a:ext>
            </a:extLst>
          </p:cNvPr>
          <p:cNvSpPr txBox="1"/>
          <p:nvPr/>
        </p:nvSpPr>
        <p:spPr>
          <a:xfrm>
            <a:off x="1350771" y="3153619"/>
            <a:ext cx="2969971" cy="52080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2700">
            <a:solidFill>
              <a:schemeClr val="accent5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15922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ola-R-GemOx</a:t>
            </a:r>
            <a:r>
              <a:rPr kumimoji="0" lang="en-GB" sz="1400" b="1" i="0" u="none" strike="noStrike" kern="1200" cap="none" spc="0" normalizeH="0" baseline="30000" noProof="0" dirty="0">
                <a:ln>
                  <a:noFill/>
                </a:ln>
                <a:solidFill>
                  <a:srgbClr val="F15922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†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Q3W up to 8 cycle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=129</a:t>
            </a:r>
          </a:p>
        </p:txBody>
      </p:sp>
      <p:sp>
        <p:nvSpPr>
          <p:cNvPr id="35" name="object 44">
            <a:extLst>
              <a:ext uri="{FF2B5EF4-FFF2-40B4-BE49-F238E27FC236}">
                <a16:creationId xmlns:a16="http://schemas.microsoft.com/office/drawing/2014/main" id="{9112B240-7F3A-AE21-273D-901B7A642F3A}"/>
              </a:ext>
            </a:extLst>
          </p:cNvPr>
          <p:cNvSpPr txBox="1"/>
          <p:nvPr/>
        </p:nvSpPr>
        <p:spPr>
          <a:xfrm>
            <a:off x="1350771" y="3833377"/>
            <a:ext cx="2969971" cy="520806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ABBFC9">
                    <a:lumMod val="7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-GemOx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Q3W up to 8 cycle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=126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E21645DC-F1D3-78C0-E553-37AA31DBA325}"/>
              </a:ext>
            </a:extLst>
          </p:cNvPr>
          <p:cNvSpPr txBox="1"/>
          <p:nvPr/>
        </p:nvSpPr>
        <p:spPr>
          <a:xfrm>
            <a:off x="7280107" y="1901523"/>
            <a:ext cx="255710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gression-free survival</a:t>
            </a:r>
          </a:p>
        </p:txBody>
      </p:sp>
      <p:sp>
        <p:nvSpPr>
          <p:cNvPr id="127" name="TextBox 126">
            <a:extLst>
              <a:ext uri="{FF2B5EF4-FFF2-40B4-BE49-F238E27FC236}">
                <a16:creationId xmlns:a16="http://schemas.microsoft.com/office/drawing/2014/main" id="{AAA2688A-03EE-9CA5-BFB6-25D87B455E5F}"/>
              </a:ext>
            </a:extLst>
          </p:cNvPr>
          <p:cNvSpPr txBox="1"/>
          <p:nvPr/>
        </p:nvSpPr>
        <p:spPr>
          <a:xfrm>
            <a:off x="5474192" y="4763598"/>
            <a:ext cx="864066" cy="115198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No. at risk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F15922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Pola-R-GemOx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ABBFC9">
                    <a:lumMod val="7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R-GemOx</a:t>
            </a: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A56C7D19-F1EC-0407-0D03-94EC07B52596}"/>
              </a:ext>
            </a:extLst>
          </p:cNvPr>
          <p:cNvSpPr txBox="1"/>
          <p:nvPr/>
        </p:nvSpPr>
        <p:spPr>
          <a:xfrm>
            <a:off x="6658388" y="4763598"/>
            <a:ext cx="89895" cy="115198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F15922"/>
              </a:solidFill>
              <a:effectLst/>
              <a:uLnTx/>
              <a:uFillTx/>
              <a:latin typeface="Aptos" panose="02110004020202020204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F15922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29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ABBFC9">
                    <a:lumMod val="7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26</a:t>
            </a:r>
          </a:p>
        </p:txBody>
      </p:sp>
      <p:sp>
        <p:nvSpPr>
          <p:cNvPr id="137" name="TextBox 136">
            <a:extLst>
              <a:ext uri="{FF2B5EF4-FFF2-40B4-BE49-F238E27FC236}">
                <a16:creationId xmlns:a16="http://schemas.microsoft.com/office/drawing/2014/main" id="{C27DE8C4-A889-AE37-5E25-709ED1C1BDF0}"/>
              </a:ext>
            </a:extLst>
          </p:cNvPr>
          <p:cNvSpPr txBox="1"/>
          <p:nvPr/>
        </p:nvSpPr>
        <p:spPr>
          <a:xfrm>
            <a:off x="6370633" y="2378093"/>
            <a:ext cx="228337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00</a:t>
            </a:r>
          </a:p>
        </p:txBody>
      </p:sp>
      <p:sp>
        <p:nvSpPr>
          <p:cNvPr id="138" name="TextBox 137">
            <a:extLst>
              <a:ext uri="{FF2B5EF4-FFF2-40B4-BE49-F238E27FC236}">
                <a16:creationId xmlns:a16="http://schemas.microsoft.com/office/drawing/2014/main" id="{14534187-1034-68C0-9E3E-A41F49541EF1}"/>
              </a:ext>
            </a:extLst>
          </p:cNvPr>
          <p:cNvSpPr txBox="1"/>
          <p:nvPr/>
        </p:nvSpPr>
        <p:spPr>
          <a:xfrm>
            <a:off x="6370633" y="2728797"/>
            <a:ext cx="228337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80</a:t>
            </a:r>
          </a:p>
        </p:txBody>
      </p:sp>
      <p:sp>
        <p:nvSpPr>
          <p:cNvPr id="139" name="TextBox 138">
            <a:extLst>
              <a:ext uri="{FF2B5EF4-FFF2-40B4-BE49-F238E27FC236}">
                <a16:creationId xmlns:a16="http://schemas.microsoft.com/office/drawing/2014/main" id="{8A5E9C0E-6413-76C5-C14C-701CD04E0D9C}"/>
              </a:ext>
            </a:extLst>
          </p:cNvPr>
          <p:cNvSpPr txBox="1"/>
          <p:nvPr/>
        </p:nvSpPr>
        <p:spPr>
          <a:xfrm>
            <a:off x="6370633" y="3079501"/>
            <a:ext cx="228337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60</a:t>
            </a:r>
          </a:p>
        </p:txBody>
      </p:sp>
      <p:sp>
        <p:nvSpPr>
          <p:cNvPr id="140" name="TextBox 139">
            <a:extLst>
              <a:ext uri="{FF2B5EF4-FFF2-40B4-BE49-F238E27FC236}">
                <a16:creationId xmlns:a16="http://schemas.microsoft.com/office/drawing/2014/main" id="{16E1F962-CFEB-7F72-2851-FBD0EB1791E7}"/>
              </a:ext>
            </a:extLst>
          </p:cNvPr>
          <p:cNvSpPr txBox="1"/>
          <p:nvPr/>
        </p:nvSpPr>
        <p:spPr>
          <a:xfrm>
            <a:off x="6370633" y="3430205"/>
            <a:ext cx="228337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40</a:t>
            </a:r>
          </a:p>
        </p:txBody>
      </p:sp>
      <p:sp>
        <p:nvSpPr>
          <p:cNvPr id="141" name="TextBox 140">
            <a:extLst>
              <a:ext uri="{FF2B5EF4-FFF2-40B4-BE49-F238E27FC236}">
                <a16:creationId xmlns:a16="http://schemas.microsoft.com/office/drawing/2014/main" id="{7784A26C-007F-300E-EADE-DE7639F8273F}"/>
              </a:ext>
            </a:extLst>
          </p:cNvPr>
          <p:cNvSpPr txBox="1"/>
          <p:nvPr/>
        </p:nvSpPr>
        <p:spPr>
          <a:xfrm>
            <a:off x="6370633" y="3780909"/>
            <a:ext cx="228337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20</a:t>
            </a: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149B5F1B-6CBF-ED4D-F003-8E497B718799}"/>
              </a:ext>
            </a:extLst>
          </p:cNvPr>
          <p:cNvSpPr txBox="1"/>
          <p:nvPr/>
        </p:nvSpPr>
        <p:spPr>
          <a:xfrm>
            <a:off x="6509106" y="4131611"/>
            <a:ext cx="89864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0</a:t>
            </a:r>
          </a:p>
        </p:txBody>
      </p:sp>
      <p:sp>
        <p:nvSpPr>
          <p:cNvPr id="143" name="TextBox 142">
            <a:extLst>
              <a:ext uri="{FF2B5EF4-FFF2-40B4-BE49-F238E27FC236}">
                <a16:creationId xmlns:a16="http://schemas.microsoft.com/office/drawing/2014/main" id="{AFEC069C-3C5A-AAB8-01B5-089CE3890C9C}"/>
              </a:ext>
            </a:extLst>
          </p:cNvPr>
          <p:cNvSpPr txBox="1"/>
          <p:nvPr/>
        </p:nvSpPr>
        <p:spPr>
          <a:xfrm rot="16200000">
            <a:off x="5180197" y="3263157"/>
            <a:ext cx="1924304" cy="169007"/>
          </a:xfrm>
          <a:prstGeom prst="rect">
            <a:avLst/>
          </a:prstGeom>
          <a:noFill/>
        </p:spPr>
        <p:txBody>
          <a:bodyPr wrap="non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PFS, %</a:t>
            </a:r>
          </a:p>
        </p:txBody>
      </p:sp>
      <p:cxnSp>
        <p:nvCxnSpPr>
          <p:cNvPr id="145" name="Straight Connector 144">
            <a:extLst>
              <a:ext uri="{FF2B5EF4-FFF2-40B4-BE49-F238E27FC236}">
                <a16:creationId xmlns:a16="http://schemas.microsoft.com/office/drawing/2014/main" id="{196657C8-C6F3-BF64-ADC6-5A7E4FB36009}"/>
              </a:ext>
            </a:extLst>
          </p:cNvPr>
          <p:cNvCxnSpPr>
            <a:cxnSpLocks/>
          </p:cNvCxnSpPr>
          <p:nvPr/>
        </p:nvCxnSpPr>
        <p:spPr>
          <a:xfrm>
            <a:off x="6630409" y="2437526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Straight Connector 145">
            <a:extLst>
              <a:ext uri="{FF2B5EF4-FFF2-40B4-BE49-F238E27FC236}">
                <a16:creationId xmlns:a16="http://schemas.microsoft.com/office/drawing/2014/main" id="{672F2084-F38E-4D0A-7217-E1FA09AA2BD9}"/>
              </a:ext>
            </a:extLst>
          </p:cNvPr>
          <p:cNvCxnSpPr>
            <a:cxnSpLocks/>
          </p:cNvCxnSpPr>
          <p:nvPr/>
        </p:nvCxnSpPr>
        <p:spPr>
          <a:xfrm>
            <a:off x="6630409" y="2787942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Straight Connector 146">
            <a:extLst>
              <a:ext uri="{FF2B5EF4-FFF2-40B4-BE49-F238E27FC236}">
                <a16:creationId xmlns:a16="http://schemas.microsoft.com/office/drawing/2014/main" id="{60102A60-862A-C8EF-0229-404772D799A8}"/>
              </a:ext>
            </a:extLst>
          </p:cNvPr>
          <p:cNvCxnSpPr>
            <a:cxnSpLocks/>
          </p:cNvCxnSpPr>
          <p:nvPr/>
        </p:nvCxnSpPr>
        <p:spPr>
          <a:xfrm>
            <a:off x="6630409" y="3138358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Straight Connector 147">
            <a:extLst>
              <a:ext uri="{FF2B5EF4-FFF2-40B4-BE49-F238E27FC236}">
                <a16:creationId xmlns:a16="http://schemas.microsoft.com/office/drawing/2014/main" id="{1C11331D-AD57-9F4D-33F6-5B58FBCB4A66}"/>
              </a:ext>
            </a:extLst>
          </p:cNvPr>
          <p:cNvCxnSpPr>
            <a:cxnSpLocks/>
          </p:cNvCxnSpPr>
          <p:nvPr/>
        </p:nvCxnSpPr>
        <p:spPr>
          <a:xfrm>
            <a:off x="6630409" y="3839190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Straight Connector 148">
            <a:extLst>
              <a:ext uri="{FF2B5EF4-FFF2-40B4-BE49-F238E27FC236}">
                <a16:creationId xmlns:a16="http://schemas.microsoft.com/office/drawing/2014/main" id="{1F9303BB-C5A0-C388-C0E0-1FF4334AD253}"/>
              </a:ext>
            </a:extLst>
          </p:cNvPr>
          <p:cNvCxnSpPr>
            <a:cxnSpLocks/>
          </p:cNvCxnSpPr>
          <p:nvPr/>
        </p:nvCxnSpPr>
        <p:spPr>
          <a:xfrm>
            <a:off x="6630409" y="3488774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0" name="Straight Connector 149">
            <a:extLst>
              <a:ext uri="{FF2B5EF4-FFF2-40B4-BE49-F238E27FC236}">
                <a16:creationId xmlns:a16="http://schemas.microsoft.com/office/drawing/2014/main" id="{4034878F-3901-7A65-4CAF-674DAC1F0FAC}"/>
              </a:ext>
            </a:extLst>
          </p:cNvPr>
          <p:cNvCxnSpPr>
            <a:cxnSpLocks/>
          </p:cNvCxnSpPr>
          <p:nvPr/>
        </p:nvCxnSpPr>
        <p:spPr>
          <a:xfrm>
            <a:off x="6630409" y="4189603"/>
            <a:ext cx="4309565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Straight Connector 143">
            <a:extLst>
              <a:ext uri="{FF2B5EF4-FFF2-40B4-BE49-F238E27FC236}">
                <a16:creationId xmlns:a16="http://schemas.microsoft.com/office/drawing/2014/main" id="{E3855D7B-B250-6BD3-AF85-6DC946FBAEF3}"/>
              </a:ext>
            </a:extLst>
          </p:cNvPr>
          <p:cNvCxnSpPr>
            <a:cxnSpLocks/>
          </p:cNvCxnSpPr>
          <p:nvPr/>
        </p:nvCxnSpPr>
        <p:spPr>
          <a:xfrm>
            <a:off x="6703335" y="2432804"/>
            <a:ext cx="0" cy="182880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9" name="TextBox 158">
            <a:extLst>
              <a:ext uri="{FF2B5EF4-FFF2-40B4-BE49-F238E27FC236}">
                <a16:creationId xmlns:a16="http://schemas.microsoft.com/office/drawing/2014/main" id="{A4857744-075B-DC42-D9B0-084E426F9689}"/>
              </a:ext>
            </a:extLst>
          </p:cNvPr>
          <p:cNvSpPr txBox="1"/>
          <p:nvPr/>
        </p:nvSpPr>
        <p:spPr>
          <a:xfrm>
            <a:off x="6658403" y="4348357"/>
            <a:ext cx="89864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0</a:t>
            </a: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A1E4DBFF-6250-3930-20E7-054237AA1760}"/>
              </a:ext>
            </a:extLst>
          </p:cNvPr>
          <p:cNvSpPr txBox="1"/>
          <p:nvPr/>
        </p:nvSpPr>
        <p:spPr>
          <a:xfrm>
            <a:off x="7471086" y="4763598"/>
            <a:ext cx="89895" cy="115198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F15922"/>
              </a:solidFill>
              <a:effectLst/>
              <a:uLnTx/>
              <a:uFillTx/>
              <a:latin typeface="Aptos" panose="02110004020202020204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F15922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69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ABBFC9">
                    <a:lumMod val="7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26</a:t>
            </a: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F15922"/>
              </a:solidFill>
              <a:effectLst/>
              <a:uLnTx/>
              <a:uFillTx/>
              <a:latin typeface="Aptos" panose="02110004020202020204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55" name="Straight Connector 154">
            <a:extLst>
              <a:ext uri="{FF2B5EF4-FFF2-40B4-BE49-F238E27FC236}">
                <a16:creationId xmlns:a16="http://schemas.microsoft.com/office/drawing/2014/main" id="{15516843-F10A-AA60-1154-34CE67D53DD5}"/>
              </a:ext>
            </a:extLst>
          </p:cNvPr>
          <p:cNvCxnSpPr>
            <a:cxnSpLocks/>
          </p:cNvCxnSpPr>
          <p:nvPr/>
        </p:nvCxnSpPr>
        <p:spPr>
          <a:xfrm rot="16200000">
            <a:off x="7477225" y="4225604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0" name="TextBox 159">
            <a:extLst>
              <a:ext uri="{FF2B5EF4-FFF2-40B4-BE49-F238E27FC236}">
                <a16:creationId xmlns:a16="http://schemas.microsoft.com/office/drawing/2014/main" id="{92A19B11-AAC0-6172-769B-BCA0A5FB63B6}"/>
              </a:ext>
            </a:extLst>
          </p:cNvPr>
          <p:cNvSpPr txBox="1"/>
          <p:nvPr/>
        </p:nvSpPr>
        <p:spPr>
          <a:xfrm>
            <a:off x="7471117" y="4348357"/>
            <a:ext cx="89864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6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D02A455C-3DC5-8AEE-4BDA-43D5E274C511}"/>
              </a:ext>
            </a:extLst>
          </p:cNvPr>
          <p:cNvSpPr txBox="1"/>
          <p:nvPr/>
        </p:nvSpPr>
        <p:spPr>
          <a:xfrm>
            <a:off x="8283800" y="4763598"/>
            <a:ext cx="89895" cy="115198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F15922"/>
              </a:solidFill>
              <a:effectLst/>
              <a:uLnTx/>
              <a:uFillTx/>
              <a:latin typeface="Aptos" panose="02110004020202020204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F15922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38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ABBFC9">
                    <a:lumMod val="7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4</a:t>
            </a: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F15922"/>
              </a:solidFill>
              <a:effectLst/>
              <a:uLnTx/>
              <a:uFillTx/>
              <a:latin typeface="Aptos" panose="02110004020202020204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54" name="Straight Connector 153">
            <a:extLst>
              <a:ext uri="{FF2B5EF4-FFF2-40B4-BE49-F238E27FC236}">
                <a16:creationId xmlns:a16="http://schemas.microsoft.com/office/drawing/2014/main" id="{EBDFFAA8-C7D2-7F4E-1554-61BFDD242BD6}"/>
              </a:ext>
            </a:extLst>
          </p:cNvPr>
          <p:cNvCxnSpPr>
            <a:cxnSpLocks/>
          </p:cNvCxnSpPr>
          <p:nvPr/>
        </p:nvCxnSpPr>
        <p:spPr>
          <a:xfrm rot="16200000">
            <a:off x="8291761" y="4225603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1" name="TextBox 160">
            <a:extLst>
              <a:ext uri="{FF2B5EF4-FFF2-40B4-BE49-F238E27FC236}">
                <a16:creationId xmlns:a16="http://schemas.microsoft.com/office/drawing/2014/main" id="{3CAAAE06-345D-A83B-1521-713BCD36A884}"/>
              </a:ext>
            </a:extLst>
          </p:cNvPr>
          <p:cNvSpPr txBox="1"/>
          <p:nvPr/>
        </p:nvSpPr>
        <p:spPr>
          <a:xfrm>
            <a:off x="8283831" y="4348357"/>
            <a:ext cx="89864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2</a:t>
            </a: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5834E439-A3DB-3B75-FD0D-9805854D69E2}"/>
              </a:ext>
            </a:extLst>
          </p:cNvPr>
          <p:cNvSpPr txBox="1"/>
          <p:nvPr/>
        </p:nvSpPr>
        <p:spPr>
          <a:xfrm>
            <a:off x="9096514" y="4763598"/>
            <a:ext cx="89895" cy="115198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F15922"/>
              </a:solidFill>
              <a:effectLst/>
              <a:uLnTx/>
              <a:uFillTx/>
              <a:latin typeface="Aptos" panose="02110004020202020204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F15922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23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ABBFC9">
                    <a:lumMod val="7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8</a:t>
            </a: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F15922"/>
              </a:solidFill>
              <a:effectLst/>
              <a:uLnTx/>
              <a:uFillTx/>
              <a:latin typeface="Aptos" panose="02110004020202020204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56" name="Straight Connector 155">
            <a:extLst>
              <a:ext uri="{FF2B5EF4-FFF2-40B4-BE49-F238E27FC236}">
                <a16:creationId xmlns:a16="http://schemas.microsoft.com/office/drawing/2014/main" id="{E5C4877F-AAEE-1581-BB88-A933BE1C44F1}"/>
              </a:ext>
            </a:extLst>
          </p:cNvPr>
          <p:cNvCxnSpPr>
            <a:cxnSpLocks/>
          </p:cNvCxnSpPr>
          <p:nvPr/>
        </p:nvCxnSpPr>
        <p:spPr>
          <a:xfrm rot="16200000">
            <a:off x="9103974" y="4225603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2" name="TextBox 161">
            <a:extLst>
              <a:ext uri="{FF2B5EF4-FFF2-40B4-BE49-F238E27FC236}">
                <a16:creationId xmlns:a16="http://schemas.microsoft.com/office/drawing/2014/main" id="{C2C255C1-139A-3A12-C36C-76785EC90A89}"/>
              </a:ext>
            </a:extLst>
          </p:cNvPr>
          <p:cNvSpPr txBox="1"/>
          <p:nvPr/>
        </p:nvSpPr>
        <p:spPr>
          <a:xfrm>
            <a:off x="9096545" y="4348357"/>
            <a:ext cx="89864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8</a:t>
            </a:r>
          </a:p>
        </p:txBody>
      </p:sp>
      <p:sp>
        <p:nvSpPr>
          <p:cNvPr id="132" name="TextBox 131">
            <a:extLst>
              <a:ext uri="{FF2B5EF4-FFF2-40B4-BE49-F238E27FC236}">
                <a16:creationId xmlns:a16="http://schemas.microsoft.com/office/drawing/2014/main" id="{84927DEC-014A-D3DA-677E-40CE4D77D163}"/>
              </a:ext>
            </a:extLst>
          </p:cNvPr>
          <p:cNvSpPr txBox="1"/>
          <p:nvPr/>
        </p:nvSpPr>
        <p:spPr>
          <a:xfrm>
            <a:off x="9909228" y="4763598"/>
            <a:ext cx="89895" cy="115198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F15922"/>
              </a:solidFill>
              <a:effectLst/>
              <a:uLnTx/>
              <a:uFillTx/>
              <a:latin typeface="Aptos" panose="02110004020202020204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F15922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9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ABBFC9">
                    <a:lumMod val="7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5</a:t>
            </a: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F15922"/>
              </a:solidFill>
              <a:effectLst/>
              <a:uLnTx/>
              <a:uFillTx/>
              <a:latin typeface="Aptos" panose="02110004020202020204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53" name="Straight Connector 152">
            <a:extLst>
              <a:ext uri="{FF2B5EF4-FFF2-40B4-BE49-F238E27FC236}">
                <a16:creationId xmlns:a16="http://schemas.microsoft.com/office/drawing/2014/main" id="{5026D9D4-6334-6B20-3AB8-5EC533FA5CA3}"/>
              </a:ext>
            </a:extLst>
          </p:cNvPr>
          <p:cNvCxnSpPr>
            <a:cxnSpLocks/>
          </p:cNvCxnSpPr>
          <p:nvPr/>
        </p:nvCxnSpPr>
        <p:spPr>
          <a:xfrm rot="16200000">
            <a:off x="9916187" y="4225603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3" name="TextBox 162">
            <a:extLst>
              <a:ext uri="{FF2B5EF4-FFF2-40B4-BE49-F238E27FC236}">
                <a16:creationId xmlns:a16="http://schemas.microsoft.com/office/drawing/2014/main" id="{955A1A6D-BAF7-44E4-B2EE-3D39B2ED34FD}"/>
              </a:ext>
            </a:extLst>
          </p:cNvPr>
          <p:cNvSpPr txBox="1"/>
          <p:nvPr/>
        </p:nvSpPr>
        <p:spPr>
          <a:xfrm>
            <a:off x="9909259" y="4348357"/>
            <a:ext cx="89864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24</a:t>
            </a:r>
          </a:p>
        </p:txBody>
      </p:sp>
      <p:sp>
        <p:nvSpPr>
          <p:cNvPr id="136" name="TextBox 135">
            <a:extLst>
              <a:ext uri="{FF2B5EF4-FFF2-40B4-BE49-F238E27FC236}">
                <a16:creationId xmlns:a16="http://schemas.microsoft.com/office/drawing/2014/main" id="{6313A15B-9A11-203B-D0CB-204737A15AFB}"/>
              </a:ext>
            </a:extLst>
          </p:cNvPr>
          <p:cNvSpPr txBox="1"/>
          <p:nvPr/>
        </p:nvSpPr>
        <p:spPr>
          <a:xfrm>
            <a:off x="10721940" y="4763598"/>
            <a:ext cx="177942" cy="115198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F15922"/>
              </a:solidFill>
              <a:effectLst/>
              <a:uLnTx/>
              <a:uFillTx/>
              <a:latin typeface="Aptos" panose="02110004020202020204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F15922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2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ABBFC9">
                    <a:lumMod val="7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NE</a:t>
            </a: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F15922"/>
              </a:solidFill>
              <a:effectLst/>
              <a:uLnTx/>
              <a:uFillTx/>
              <a:latin typeface="Aptos" panose="02110004020202020204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58" name="Straight Connector 157">
            <a:extLst>
              <a:ext uri="{FF2B5EF4-FFF2-40B4-BE49-F238E27FC236}">
                <a16:creationId xmlns:a16="http://schemas.microsoft.com/office/drawing/2014/main" id="{4775B610-8C8C-5BED-794A-16093D5444B6}"/>
              </a:ext>
            </a:extLst>
          </p:cNvPr>
          <p:cNvCxnSpPr>
            <a:cxnSpLocks/>
          </p:cNvCxnSpPr>
          <p:nvPr/>
        </p:nvCxnSpPr>
        <p:spPr>
          <a:xfrm rot="16200000">
            <a:off x="10773392" y="4225603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7" name="TextBox 166">
            <a:extLst>
              <a:ext uri="{FF2B5EF4-FFF2-40B4-BE49-F238E27FC236}">
                <a16:creationId xmlns:a16="http://schemas.microsoft.com/office/drawing/2014/main" id="{CAA183F4-846F-6956-D624-631895970BBC}"/>
              </a:ext>
            </a:extLst>
          </p:cNvPr>
          <p:cNvSpPr txBox="1"/>
          <p:nvPr/>
        </p:nvSpPr>
        <p:spPr>
          <a:xfrm>
            <a:off x="10721971" y="4348357"/>
            <a:ext cx="177880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30</a:t>
            </a:r>
          </a:p>
        </p:txBody>
      </p:sp>
      <p:sp>
        <p:nvSpPr>
          <p:cNvPr id="168" name="TextBox 167">
            <a:extLst>
              <a:ext uri="{FF2B5EF4-FFF2-40B4-BE49-F238E27FC236}">
                <a16:creationId xmlns:a16="http://schemas.microsoft.com/office/drawing/2014/main" id="{5DBC33DD-CC78-1BE7-8B9E-F85E9055E908}"/>
              </a:ext>
            </a:extLst>
          </p:cNvPr>
          <p:cNvSpPr txBox="1"/>
          <p:nvPr/>
        </p:nvSpPr>
        <p:spPr>
          <a:xfrm>
            <a:off x="8362124" y="4518972"/>
            <a:ext cx="863766" cy="11530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Months</a:t>
            </a:r>
          </a:p>
        </p:txBody>
      </p:sp>
      <p:sp>
        <p:nvSpPr>
          <p:cNvPr id="193" name="Rectangle 192">
            <a:extLst>
              <a:ext uri="{FF2B5EF4-FFF2-40B4-BE49-F238E27FC236}">
                <a16:creationId xmlns:a16="http://schemas.microsoft.com/office/drawing/2014/main" id="{79422182-AA66-606E-147E-2C3FA24981D6}"/>
              </a:ext>
            </a:extLst>
          </p:cNvPr>
          <p:cNvSpPr/>
          <p:nvPr/>
        </p:nvSpPr>
        <p:spPr>
          <a:xfrm>
            <a:off x="8283800" y="2301557"/>
            <a:ext cx="2782316" cy="7216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7" name="Content Placeholder 1">
            <a:extLst>
              <a:ext uri="{FF2B5EF4-FFF2-40B4-BE49-F238E27FC236}">
                <a16:creationId xmlns:a16="http://schemas.microsoft.com/office/drawing/2014/main" id="{C246E475-7E4D-71D0-ED8A-A30965F4C7C7}"/>
              </a:ext>
            </a:extLst>
          </p:cNvPr>
          <p:cNvSpPr txBox="1">
            <a:spLocks/>
          </p:cNvSpPr>
          <p:nvPr/>
        </p:nvSpPr>
        <p:spPr>
          <a:xfrm>
            <a:off x="9615396" y="2437288"/>
            <a:ext cx="1349355" cy="99892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5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Median PFS</a:t>
            </a:r>
            <a:r>
              <a:rPr kumimoji="0" lang="en-GB" sz="1500" b="0" i="0" u="none" strike="noStrike" kern="1200" cap="none" spc="0" normalizeH="0" baseline="3000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b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85854">
                    <a:lumMod val="75000"/>
                    <a:lumOff val="2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GB" sz="1900" b="1" i="0" u="none" strike="noStrike" kern="1200" cap="none" spc="0" normalizeH="0" baseline="0" noProof="0" dirty="0">
                <a:ln>
                  <a:noFill/>
                </a:ln>
                <a:solidFill>
                  <a:srgbClr val="F15922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7.4 months </a:t>
            </a:r>
            <a:r>
              <a:rPr kumimoji="0" lang="en-GB" sz="19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vs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900" b="1" i="0" u="none" strike="noStrike" kern="1200" cap="none" spc="0" normalizeH="0" baseline="0" noProof="0" dirty="0">
                <a:ln>
                  <a:noFill/>
                </a:ln>
                <a:solidFill>
                  <a:srgbClr val="ABBFC9">
                    <a:lumMod val="7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.7 months</a:t>
            </a:r>
            <a:endParaRPr kumimoji="0" lang="en-GB" sz="1900" b="0" i="0" u="none" strike="noStrike" kern="1200" cap="none" spc="0" normalizeH="0" baseline="0" noProof="0" dirty="0">
              <a:ln>
                <a:noFill/>
              </a:ln>
              <a:solidFill>
                <a:srgbClr val="ABBFC9">
                  <a:lumMod val="75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94" name="Rectangle 193">
            <a:extLst>
              <a:ext uri="{FF2B5EF4-FFF2-40B4-BE49-F238E27FC236}">
                <a16:creationId xmlns:a16="http://schemas.microsoft.com/office/drawing/2014/main" id="{8D82029A-409A-79DE-F120-8D553C044007}"/>
              </a:ext>
            </a:extLst>
          </p:cNvPr>
          <p:cNvSpPr/>
          <p:nvPr/>
        </p:nvSpPr>
        <p:spPr>
          <a:xfrm>
            <a:off x="6733848" y="3703471"/>
            <a:ext cx="737233" cy="4647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C10F6489-A1E2-F273-7ECC-6D1ED5CC0889}"/>
              </a:ext>
            </a:extLst>
          </p:cNvPr>
          <p:cNvSpPr txBox="1"/>
          <p:nvPr/>
        </p:nvSpPr>
        <p:spPr>
          <a:xfrm>
            <a:off x="6827613" y="3975390"/>
            <a:ext cx="1140050" cy="261610"/>
          </a:xfrm>
          <a:prstGeom prst="rect">
            <a:avLst/>
          </a:prstGeom>
          <a:noFill/>
        </p:spPr>
        <p:txBody>
          <a:bodyPr wrap="square" lIns="72000" rIns="72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-GemOx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49266369-F185-23AA-8545-A869F6A90E1B}"/>
              </a:ext>
            </a:extLst>
          </p:cNvPr>
          <p:cNvSpPr txBox="1"/>
          <p:nvPr/>
        </p:nvSpPr>
        <p:spPr>
          <a:xfrm>
            <a:off x="6827613" y="3803850"/>
            <a:ext cx="1140050" cy="261610"/>
          </a:xfrm>
          <a:prstGeom prst="rect">
            <a:avLst/>
          </a:prstGeom>
          <a:noFill/>
        </p:spPr>
        <p:txBody>
          <a:bodyPr wrap="square" lIns="72000" rIns="72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ola-R-GemOx</a:t>
            </a:r>
          </a:p>
        </p:txBody>
      </p:sp>
      <p:cxnSp>
        <p:nvCxnSpPr>
          <p:cNvPr id="195" name="Straight Connector 194">
            <a:extLst>
              <a:ext uri="{FF2B5EF4-FFF2-40B4-BE49-F238E27FC236}">
                <a16:creationId xmlns:a16="http://schemas.microsoft.com/office/drawing/2014/main" id="{9C9102D3-ACCD-EDFF-A396-40E62FE145C1}"/>
              </a:ext>
            </a:extLst>
          </p:cNvPr>
          <p:cNvCxnSpPr>
            <a:cxnSpLocks/>
          </p:cNvCxnSpPr>
          <p:nvPr/>
        </p:nvCxnSpPr>
        <p:spPr>
          <a:xfrm>
            <a:off x="6757184" y="3929305"/>
            <a:ext cx="108000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6" name="Straight Connector 195">
            <a:extLst>
              <a:ext uri="{FF2B5EF4-FFF2-40B4-BE49-F238E27FC236}">
                <a16:creationId xmlns:a16="http://schemas.microsoft.com/office/drawing/2014/main" id="{1D471E3F-81A7-519A-4EE6-A2FAFCB46B40}"/>
              </a:ext>
            </a:extLst>
          </p:cNvPr>
          <p:cNvCxnSpPr>
            <a:cxnSpLocks/>
          </p:cNvCxnSpPr>
          <p:nvPr/>
        </p:nvCxnSpPr>
        <p:spPr>
          <a:xfrm>
            <a:off x="6757184" y="4095352"/>
            <a:ext cx="108000" cy="0"/>
          </a:xfrm>
          <a:prstGeom prst="line">
            <a:avLst/>
          </a:prstGeom>
          <a:ln w="1270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8" name="object 44">
            <a:extLst>
              <a:ext uri="{FF2B5EF4-FFF2-40B4-BE49-F238E27FC236}">
                <a16:creationId xmlns:a16="http://schemas.microsoft.com/office/drawing/2014/main" id="{926592DE-3098-401F-9FBC-769AED798BA1}"/>
              </a:ext>
            </a:extLst>
          </p:cNvPr>
          <p:cNvSpPr txBox="1"/>
          <p:nvPr/>
        </p:nvSpPr>
        <p:spPr>
          <a:xfrm>
            <a:off x="1350770" y="2042289"/>
            <a:ext cx="2969971" cy="520806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2700">
            <a:solidFill>
              <a:schemeClr val="bg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15922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ola-R-GemOx</a:t>
            </a:r>
            <a:r>
              <a:rPr kumimoji="0" lang="en-GB" sz="1400" b="1" i="0" u="none" strike="noStrike" kern="1200" cap="none" spc="0" normalizeH="0" baseline="30000" noProof="0" dirty="0">
                <a:ln>
                  <a:noFill/>
                </a:ln>
                <a:solidFill>
                  <a:srgbClr val="F15922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†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Q3W up to 8 cycle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=15</a:t>
            </a:r>
          </a:p>
        </p:txBody>
      </p:sp>
      <p:cxnSp>
        <p:nvCxnSpPr>
          <p:cNvPr id="199" name="Straight Arrow Connector 74">
            <a:extLst>
              <a:ext uri="{FF2B5EF4-FFF2-40B4-BE49-F238E27FC236}">
                <a16:creationId xmlns:a16="http://schemas.microsoft.com/office/drawing/2014/main" id="{41C307B4-6297-77EF-693B-E22DB2330942}"/>
              </a:ext>
            </a:extLst>
          </p:cNvPr>
          <p:cNvCxnSpPr/>
          <p:nvPr/>
        </p:nvCxnSpPr>
        <p:spPr>
          <a:xfrm flipV="1">
            <a:off x="1132668" y="3462738"/>
            <a:ext cx="217176" cy="287026"/>
          </a:xfrm>
          <a:prstGeom prst="bentConnector5">
            <a:avLst>
              <a:gd name="adj1" fmla="val 33168"/>
              <a:gd name="adj2" fmla="val -17"/>
              <a:gd name="adj3" fmla="val 38767"/>
            </a:avLst>
          </a:prstGeom>
          <a:ln w="12700">
            <a:solidFill>
              <a:schemeClr val="tx1">
                <a:lumMod val="75000"/>
                <a:lumOff val="2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0" name="Straight Arrow Connector 75">
            <a:extLst>
              <a:ext uri="{FF2B5EF4-FFF2-40B4-BE49-F238E27FC236}">
                <a16:creationId xmlns:a16="http://schemas.microsoft.com/office/drawing/2014/main" id="{93C6FD90-CAB7-7717-DDED-A4E14E736BCD}"/>
              </a:ext>
            </a:extLst>
          </p:cNvPr>
          <p:cNvCxnSpPr>
            <a:cxnSpLocks/>
          </p:cNvCxnSpPr>
          <p:nvPr/>
        </p:nvCxnSpPr>
        <p:spPr>
          <a:xfrm>
            <a:off x="1132668" y="3749764"/>
            <a:ext cx="217177" cy="287026"/>
          </a:xfrm>
          <a:prstGeom prst="bentConnector5">
            <a:avLst>
              <a:gd name="adj1" fmla="val 39546"/>
              <a:gd name="adj2" fmla="val 861"/>
              <a:gd name="adj3" fmla="val 38767"/>
            </a:avLst>
          </a:prstGeom>
          <a:ln w="12700">
            <a:solidFill>
              <a:schemeClr val="tx1">
                <a:lumMod val="75000"/>
                <a:lumOff val="2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4">
            <a:extLst>
              <a:ext uri="{FF2B5EF4-FFF2-40B4-BE49-F238E27FC236}">
                <a16:creationId xmlns:a16="http://schemas.microsoft.com/office/drawing/2014/main" id="{E06F0000-0B1E-23AC-A126-1C35D5056ABE}"/>
              </a:ext>
            </a:extLst>
          </p:cNvPr>
          <p:cNvSpPr/>
          <p:nvPr/>
        </p:nvSpPr>
        <p:spPr>
          <a:xfrm>
            <a:off x="469173" y="3145344"/>
            <a:ext cx="314632" cy="120700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hase 3</a:t>
            </a:r>
            <a:endParaRPr kumimoji="0" lang="en-GB" sz="1000" b="0" i="0" u="none" strike="noStrike" kern="1200" cap="none" spc="0" normalizeH="0" baseline="30000" noProof="0" dirty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5DA405C-ABE9-C17F-E9D3-BA20C0DEE1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651" y="6356350"/>
            <a:ext cx="383694" cy="365125"/>
          </a:xfrm>
        </p:spPr>
        <p:txBody>
          <a:bodyPr vert="horz" lIns="0" tIns="0" rIns="0" bIns="0"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306B0CF-28DA-4AF7-AD0B-CB9D5901F647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82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0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55170133"/>
      </p:ext>
    </p:extLst>
  </p:cSld>
  <p:clrMapOvr>
    <a:masterClrMapping/>
  </p:clrMapOvr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0087E6D-3E11-AAFC-B017-06CE005705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5768710B-BB73-9453-74C3-E29BF252798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6532D69A-15E0-8E3F-57DC-C2949C2897DC}"/>
              </a:ext>
            </a:extLst>
          </p:cNvPr>
          <p:cNvSpPr txBox="1">
            <a:spLocks/>
          </p:cNvSpPr>
          <p:nvPr/>
        </p:nvSpPr>
        <p:spPr>
          <a:xfrm>
            <a:off x="1592170" y="397029"/>
            <a:ext cx="8700191" cy="655776"/>
          </a:xfrm>
          <a:prstGeom prst="rect">
            <a:avLst/>
          </a:prstGeom>
        </p:spPr>
        <p:txBody>
          <a:bodyPr vert="horz" lIns="90000" tIns="46800" rIns="90000" bIns="4680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400" b="0" i="0" kern="1200">
                <a:solidFill>
                  <a:schemeClr val="tx2"/>
                </a:solidFill>
                <a:latin typeface="Aptos" panose="020B000402020202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4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0B0004020202020204" pitchFamily="34" charset="0"/>
                <a:ea typeface="+mj-ea"/>
                <a:cs typeface="+mj-cs"/>
              </a:rPr>
              <a:t>Summary</a:t>
            </a:r>
          </a:p>
        </p:txBody>
      </p:sp>
      <p:sp>
        <p:nvSpPr>
          <p:cNvPr id="30" name="Title 6">
            <a:extLst>
              <a:ext uri="{FF2B5EF4-FFF2-40B4-BE49-F238E27FC236}">
                <a16:creationId xmlns:a16="http://schemas.microsoft.com/office/drawing/2014/main" id="{933A9E16-5520-0121-A269-0A5DBF04DD15}"/>
              </a:ext>
            </a:extLst>
          </p:cNvPr>
          <p:cNvSpPr txBox="1">
            <a:spLocks/>
          </p:cNvSpPr>
          <p:nvPr/>
        </p:nvSpPr>
        <p:spPr>
          <a:xfrm>
            <a:off x="2587180" y="1428479"/>
            <a:ext cx="8700197" cy="738664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 Display" panose="02110004020202020204"/>
                <a:ea typeface="+mj-ea"/>
                <a:cs typeface="+mj-cs"/>
              </a:rPr>
              <a:t>The DLBCL landscape will </a:t>
            </a: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 Display" panose="02110004020202020204"/>
                <a:ea typeface="+mj-ea"/>
                <a:cs typeface="+mj-cs"/>
              </a:rPr>
              <a:t>continue to evolve</a:t>
            </a: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 Display" panose="02110004020202020204"/>
                <a:ea typeface="+mj-ea"/>
                <a:cs typeface="+mj-cs"/>
              </a:rPr>
              <a:t>, and the data readouts in 1L are expected to bring new changes in the moves we do next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487639AE-D1FB-99B9-82D8-586C9F5D3E4C}"/>
              </a:ext>
            </a:extLst>
          </p:cNvPr>
          <p:cNvSpPr txBox="1">
            <a:spLocks/>
          </p:cNvSpPr>
          <p:nvPr/>
        </p:nvSpPr>
        <p:spPr>
          <a:xfrm>
            <a:off x="1586699" y="1480597"/>
            <a:ext cx="634877" cy="634877"/>
          </a:xfrm>
          <a:prstGeom prst="ellipse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2"/>
              </a:gs>
            </a:gsLst>
            <a:lin ang="13500000" scaled="1"/>
            <a:tileRect/>
          </a:gradFill>
        </p:spPr>
        <p:txBody>
          <a:bodyPr anchor="ctr" anchorCtr="1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</a:p>
        </p:txBody>
      </p:sp>
      <p:sp>
        <p:nvSpPr>
          <p:cNvPr id="33" name="Free-form: Shape 32">
            <a:extLst>
              <a:ext uri="{FF2B5EF4-FFF2-40B4-BE49-F238E27FC236}">
                <a16:creationId xmlns:a16="http://schemas.microsoft.com/office/drawing/2014/main" id="{818EE153-CA05-0CFC-7F53-656C2B0732FB}"/>
              </a:ext>
            </a:extLst>
          </p:cNvPr>
          <p:cNvSpPr/>
          <p:nvPr/>
        </p:nvSpPr>
        <p:spPr>
          <a:xfrm>
            <a:off x="1771300" y="1561710"/>
            <a:ext cx="265675" cy="428896"/>
          </a:xfrm>
          <a:custGeom>
            <a:avLst/>
            <a:gdLst>
              <a:gd name="csX0" fmla="*/ 300387 w 350251"/>
              <a:gd name="csY0" fmla="*/ 521640 h 631082"/>
              <a:gd name="csX1" fmla="*/ 319437 w 350251"/>
              <a:gd name="csY1" fmla="*/ 489731 h 631082"/>
              <a:gd name="csX2" fmla="*/ 319437 w 350251"/>
              <a:gd name="csY2" fmla="*/ 486588 h 631082"/>
              <a:gd name="csX3" fmla="*/ 290862 w 350251"/>
              <a:gd name="csY3" fmla="*/ 450965 h 631082"/>
              <a:gd name="csX4" fmla="*/ 290862 w 350251"/>
              <a:gd name="csY4" fmla="*/ 412007 h 631082"/>
              <a:gd name="csX5" fmla="*/ 305625 w 350251"/>
              <a:gd name="csY5" fmla="*/ 313328 h 631082"/>
              <a:gd name="csX6" fmla="*/ 219900 w 350251"/>
              <a:gd name="csY6" fmla="*/ 238843 h 631082"/>
              <a:gd name="csX7" fmla="*/ 200850 w 350251"/>
              <a:gd name="csY7" fmla="*/ 216554 h 631082"/>
              <a:gd name="csX8" fmla="*/ 231521 w 350251"/>
              <a:gd name="csY8" fmla="*/ 222746 h 631082"/>
              <a:gd name="csX9" fmla="*/ 267430 w 350251"/>
              <a:gd name="csY9" fmla="*/ 237319 h 631082"/>
              <a:gd name="csX10" fmla="*/ 314007 w 350251"/>
              <a:gd name="csY10" fmla="*/ 235985 h 631082"/>
              <a:gd name="csX11" fmla="*/ 348583 w 350251"/>
              <a:gd name="csY11" fmla="*/ 166643 h 631082"/>
              <a:gd name="csX12" fmla="*/ 275241 w 350251"/>
              <a:gd name="csY12" fmla="*/ 103493 h 631082"/>
              <a:gd name="csX13" fmla="*/ 272669 w 350251"/>
              <a:gd name="csY13" fmla="*/ 85490 h 631082"/>
              <a:gd name="csX14" fmla="*/ 212280 w 350251"/>
              <a:gd name="csY14" fmla="*/ 41485 h 631082"/>
              <a:gd name="csX15" fmla="*/ 208375 w 350251"/>
              <a:gd name="csY15" fmla="*/ 3385 h 631082"/>
              <a:gd name="csX16" fmla="*/ 30639 w 350251"/>
              <a:gd name="csY16" fmla="*/ 96920 h 631082"/>
              <a:gd name="csX17" fmla="*/ 27972 w 350251"/>
              <a:gd name="csY17" fmla="*/ 315995 h 631082"/>
              <a:gd name="csX18" fmla="*/ 61881 w 350251"/>
              <a:gd name="csY18" fmla="*/ 401720 h 631082"/>
              <a:gd name="csX19" fmla="*/ 61881 w 350251"/>
              <a:gd name="csY19" fmla="*/ 450965 h 631082"/>
              <a:gd name="csX20" fmla="*/ 33306 w 350251"/>
              <a:gd name="csY20" fmla="*/ 486588 h 631082"/>
              <a:gd name="csX21" fmla="*/ 33306 w 350251"/>
              <a:gd name="csY21" fmla="*/ 489731 h 631082"/>
              <a:gd name="csX22" fmla="*/ 52356 w 350251"/>
              <a:gd name="csY22" fmla="*/ 521640 h 631082"/>
              <a:gd name="csX23" fmla="*/ 52356 w 350251"/>
              <a:gd name="csY23" fmla="*/ 554882 h 631082"/>
              <a:gd name="csX24" fmla="*/ 14256 w 350251"/>
              <a:gd name="csY24" fmla="*/ 554882 h 631082"/>
              <a:gd name="csX25" fmla="*/ 14256 w 350251"/>
              <a:gd name="csY25" fmla="*/ 631082 h 631082"/>
              <a:gd name="csX26" fmla="*/ 338106 w 350251"/>
              <a:gd name="csY26" fmla="*/ 631082 h 631082"/>
              <a:gd name="csX27" fmla="*/ 338106 w 350251"/>
              <a:gd name="csY27" fmla="*/ 554882 h 631082"/>
              <a:gd name="csX28" fmla="*/ 300006 w 350251"/>
              <a:gd name="csY28" fmla="*/ 554882 h 63108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</a:cxnLst>
            <a:rect l="l" t="t" r="r" b="b"/>
            <a:pathLst>
              <a:path w="350251" h="631082">
                <a:moveTo>
                  <a:pt x="300387" y="521640"/>
                </a:moveTo>
                <a:cubicBezTo>
                  <a:pt x="312040" y="515232"/>
                  <a:pt x="319325" y="503030"/>
                  <a:pt x="319437" y="489731"/>
                </a:cubicBezTo>
                <a:lnTo>
                  <a:pt x="319437" y="486588"/>
                </a:lnTo>
                <a:cubicBezTo>
                  <a:pt x="319335" y="469520"/>
                  <a:pt x="307501" y="454767"/>
                  <a:pt x="290862" y="450965"/>
                </a:cubicBezTo>
                <a:lnTo>
                  <a:pt x="290862" y="412007"/>
                </a:lnTo>
                <a:cubicBezTo>
                  <a:pt x="315184" y="385078"/>
                  <a:pt x="321001" y="346196"/>
                  <a:pt x="305625" y="313328"/>
                </a:cubicBezTo>
                <a:cubicBezTo>
                  <a:pt x="294005" y="286849"/>
                  <a:pt x="239427" y="249606"/>
                  <a:pt x="219900" y="238843"/>
                </a:cubicBezTo>
                <a:cubicBezTo>
                  <a:pt x="211091" y="233929"/>
                  <a:pt x="204332" y="226022"/>
                  <a:pt x="200850" y="216554"/>
                </a:cubicBezTo>
                <a:cubicBezTo>
                  <a:pt x="209715" y="222914"/>
                  <a:pt x="220882" y="225169"/>
                  <a:pt x="231521" y="222746"/>
                </a:cubicBezTo>
                <a:cubicBezTo>
                  <a:pt x="248571" y="216554"/>
                  <a:pt x="263334" y="232271"/>
                  <a:pt x="267430" y="237319"/>
                </a:cubicBezTo>
                <a:cubicBezTo>
                  <a:pt x="278003" y="249035"/>
                  <a:pt x="296958" y="243224"/>
                  <a:pt x="314007" y="235985"/>
                </a:cubicBezTo>
                <a:cubicBezTo>
                  <a:pt x="340825" y="224316"/>
                  <a:pt x="355401" y="195084"/>
                  <a:pt x="348583" y="166643"/>
                </a:cubicBezTo>
                <a:cubicBezTo>
                  <a:pt x="348107" y="152070"/>
                  <a:pt x="275241" y="103493"/>
                  <a:pt x="275241" y="103493"/>
                </a:cubicBezTo>
                <a:lnTo>
                  <a:pt x="272669" y="85490"/>
                </a:lnTo>
                <a:cubicBezTo>
                  <a:pt x="272669" y="82347"/>
                  <a:pt x="261429" y="49867"/>
                  <a:pt x="212280" y="41485"/>
                </a:cubicBezTo>
                <a:cubicBezTo>
                  <a:pt x="212280" y="41485"/>
                  <a:pt x="221139" y="9671"/>
                  <a:pt x="208375" y="3385"/>
                </a:cubicBezTo>
                <a:cubicBezTo>
                  <a:pt x="181705" y="-8902"/>
                  <a:pt x="84550" y="10052"/>
                  <a:pt x="30639" y="96920"/>
                </a:cubicBezTo>
                <a:cubicBezTo>
                  <a:pt x="-9271" y="161214"/>
                  <a:pt x="-10224" y="239033"/>
                  <a:pt x="27972" y="315995"/>
                </a:cubicBezTo>
                <a:cubicBezTo>
                  <a:pt x="37497" y="335045"/>
                  <a:pt x="61881" y="373145"/>
                  <a:pt x="61881" y="401720"/>
                </a:cubicBezTo>
                <a:lnTo>
                  <a:pt x="61881" y="450965"/>
                </a:lnTo>
                <a:cubicBezTo>
                  <a:pt x="45241" y="454767"/>
                  <a:pt x="33408" y="469520"/>
                  <a:pt x="33306" y="486588"/>
                </a:cubicBezTo>
                <a:lnTo>
                  <a:pt x="33306" y="489731"/>
                </a:lnTo>
                <a:cubicBezTo>
                  <a:pt x="33417" y="503030"/>
                  <a:pt x="40702" y="515232"/>
                  <a:pt x="52356" y="521640"/>
                </a:cubicBezTo>
                <a:lnTo>
                  <a:pt x="52356" y="554882"/>
                </a:lnTo>
                <a:lnTo>
                  <a:pt x="14256" y="554882"/>
                </a:lnTo>
                <a:lnTo>
                  <a:pt x="14256" y="631082"/>
                </a:lnTo>
                <a:lnTo>
                  <a:pt x="338106" y="631082"/>
                </a:lnTo>
                <a:lnTo>
                  <a:pt x="338106" y="554882"/>
                </a:lnTo>
                <a:lnTo>
                  <a:pt x="300006" y="55488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ffectLst>
            <a:innerShdw dist="50800" dir="10800000">
              <a:schemeClr val="accent1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1" name="Title 6">
            <a:extLst>
              <a:ext uri="{FF2B5EF4-FFF2-40B4-BE49-F238E27FC236}">
                <a16:creationId xmlns:a16="http://schemas.microsoft.com/office/drawing/2014/main" id="{F64E2138-821F-D1B0-E5F2-4D7888CF00BF}"/>
              </a:ext>
            </a:extLst>
          </p:cNvPr>
          <p:cNvSpPr txBox="1">
            <a:spLocks/>
          </p:cNvSpPr>
          <p:nvPr/>
        </p:nvSpPr>
        <p:spPr>
          <a:xfrm>
            <a:off x="2567558" y="2683080"/>
            <a:ext cx="9083898" cy="738664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 Display" panose="02110004020202020204"/>
                <a:ea typeface="+mj-ea"/>
                <a:cs typeface="+mj-cs"/>
              </a:rPr>
              <a:t>New needs </a:t>
            </a:r>
            <a:r>
              <a:rPr kumimoji="0" lang="en-GB" sz="2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 Display" panose="02110004020202020204"/>
                <a:ea typeface="+mj-ea"/>
                <a:cs typeface="+mj-cs"/>
              </a:rPr>
              <a:t>may emerge in R/R DLBCL, and combinations are the way of the future, with ADCs and BsAbs as promising backbones</a:t>
            </a: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 Display" panose="02110004020202020204"/>
              <a:ea typeface="+mj-ea"/>
              <a:cs typeface="+mj-cs"/>
            </a:endParaRP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CC6BFA2D-17FD-4643-3489-777FDAFD613D}"/>
              </a:ext>
            </a:extLst>
          </p:cNvPr>
          <p:cNvSpPr txBox="1">
            <a:spLocks/>
          </p:cNvSpPr>
          <p:nvPr/>
        </p:nvSpPr>
        <p:spPr>
          <a:xfrm>
            <a:off x="1586699" y="2726341"/>
            <a:ext cx="634877" cy="634877"/>
          </a:xfrm>
          <a:prstGeom prst="ellipse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2"/>
              </a:gs>
            </a:gsLst>
            <a:lin ang="13500000" scaled="1"/>
            <a:tileRect/>
          </a:gradFill>
        </p:spPr>
        <p:txBody>
          <a:bodyPr anchor="ctr" anchorCtr="1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</a:p>
        </p:txBody>
      </p:sp>
      <p:sp>
        <p:nvSpPr>
          <p:cNvPr id="37" name="Free-form: Shape 36">
            <a:extLst>
              <a:ext uri="{FF2B5EF4-FFF2-40B4-BE49-F238E27FC236}">
                <a16:creationId xmlns:a16="http://schemas.microsoft.com/office/drawing/2014/main" id="{60F64A6C-26E0-77AE-484B-64B5EC65B0FD}"/>
              </a:ext>
            </a:extLst>
          </p:cNvPr>
          <p:cNvSpPr/>
          <p:nvPr/>
        </p:nvSpPr>
        <p:spPr>
          <a:xfrm>
            <a:off x="1771300" y="2829331"/>
            <a:ext cx="265675" cy="428896"/>
          </a:xfrm>
          <a:custGeom>
            <a:avLst/>
            <a:gdLst>
              <a:gd name="csX0" fmla="*/ 300387 w 350251"/>
              <a:gd name="csY0" fmla="*/ 521640 h 631082"/>
              <a:gd name="csX1" fmla="*/ 319437 w 350251"/>
              <a:gd name="csY1" fmla="*/ 489731 h 631082"/>
              <a:gd name="csX2" fmla="*/ 319437 w 350251"/>
              <a:gd name="csY2" fmla="*/ 486588 h 631082"/>
              <a:gd name="csX3" fmla="*/ 290862 w 350251"/>
              <a:gd name="csY3" fmla="*/ 450965 h 631082"/>
              <a:gd name="csX4" fmla="*/ 290862 w 350251"/>
              <a:gd name="csY4" fmla="*/ 412007 h 631082"/>
              <a:gd name="csX5" fmla="*/ 305625 w 350251"/>
              <a:gd name="csY5" fmla="*/ 313328 h 631082"/>
              <a:gd name="csX6" fmla="*/ 219900 w 350251"/>
              <a:gd name="csY6" fmla="*/ 238843 h 631082"/>
              <a:gd name="csX7" fmla="*/ 200850 w 350251"/>
              <a:gd name="csY7" fmla="*/ 216554 h 631082"/>
              <a:gd name="csX8" fmla="*/ 231521 w 350251"/>
              <a:gd name="csY8" fmla="*/ 222746 h 631082"/>
              <a:gd name="csX9" fmla="*/ 267430 w 350251"/>
              <a:gd name="csY9" fmla="*/ 237319 h 631082"/>
              <a:gd name="csX10" fmla="*/ 314007 w 350251"/>
              <a:gd name="csY10" fmla="*/ 235985 h 631082"/>
              <a:gd name="csX11" fmla="*/ 348583 w 350251"/>
              <a:gd name="csY11" fmla="*/ 166643 h 631082"/>
              <a:gd name="csX12" fmla="*/ 275241 w 350251"/>
              <a:gd name="csY12" fmla="*/ 103493 h 631082"/>
              <a:gd name="csX13" fmla="*/ 272669 w 350251"/>
              <a:gd name="csY13" fmla="*/ 85490 h 631082"/>
              <a:gd name="csX14" fmla="*/ 212280 w 350251"/>
              <a:gd name="csY14" fmla="*/ 41485 h 631082"/>
              <a:gd name="csX15" fmla="*/ 208375 w 350251"/>
              <a:gd name="csY15" fmla="*/ 3385 h 631082"/>
              <a:gd name="csX16" fmla="*/ 30639 w 350251"/>
              <a:gd name="csY16" fmla="*/ 96920 h 631082"/>
              <a:gd name="csX17" fmla="*/ 27972 w 350251"/>
              <a:gd name="csY17" fmla="*/ 315995 h 631082"/>
              <a:gd name="csX18" fmla="*/ 61881 w 350251"/>
              <a:gd name="csY18" fmla="*/ 401720 h 631082"/>
              <a:gd name="csX19" fmla="*/ 61881 w 350251"/>
              <a:gd name="csY19" fmla="*/ 450965 h 631082"/>
              <a:gd name="csX20" fmla="*/ 33306 w 350251"/>
              <a:gd name="csY20" fmla="*/ 486588 h 631082"/>
              <a:gd name="csX21" fmla="*/ 33306 w 350251"/>
              <a:gd name="csY21" fmla="*/ 489731 h 631082"/>
              <a:gd name="csX22" fmla="*/ 52356 w 350251"/>
              <a:gd name="csY22" fmla="*/ 521640 h 631082"/>
              <a:gd name="csX23" fmla="*/ 52356 w 350251"/>
              <a:gd name="csY23" fmla="*/ 554882 h 631082"/>
              <a:gd name="csX24" fmla="*/ 14256 w 350251"/>
              <a:gd name="csY24" fmla="*/ 554882 h 631082"/>
              <a:gd name="csX25" fmla="*/ 14256 w 350251"/>
              <a:gd name="csY25" fmla="*/ 631082 h 631082"/>
              <a:gd name="csX26" fmla="*/ 338106 w 350251"/>
              <a:gd name="csY26" fmla="*/ 631082 h 631082"/>
              <a:gd name="csX27" fmla="*/ 338106 w 350251"/>
              <a:gd name="csY27" fmla="*/ 554882 h 631082"/>
              <a:gd name="csX28" fmla="*/ 300006 w 350251"/>
              <a:gd name="csY28" fmla="*/ 554882 h 63108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</a:cxnLst>
            <a:rect l="l" t="t" r="r" b="b"/>
            <a:pathLst>
              <a:path w="350251" h="631082">
                <a:moveTo>
                  <a:pt x="300387" y="521640"/>
                </a:moveTo>
                <a:cubicBezTo>
                  <a:pt x="312040" y="515232"/>
                  <a:pt x="319325" y="503030"/>
                  <a:pt x="319437" y="489731"/>
                </a:cubicBezTo>
                <a:lnTo>
                  <a:pt x="319437" y="486588"/>
                </a:lnTo>
                <a:cubicBezTo>
                  <a:pt x="319335" y="469520"/>
                  <a:pt x="307501" y="454767"/>
                  <a:pt x="290862" y="450965"/>
                </a:cubicBezTo>
                <a:lnTo>
                  <a:pt x="290862" y="412007"/>
                </a:lnTo>
                <a:cubicBezTo>
                  <a:pt x="315184" y="385078"/>
                  <a:pt x="321001" y="346196"/>
                  <a:pt x="305625" y="313328"/>
                </a:cubicBezTo>
                <a:cubicBezTo>
                  <a:pt x="294005" y="286849"/>
                  <a:pt x="239427" y="249606"/>
                  <a:pt x="219900" y="238843"/>
                </a:cubicBezTo>
                <a:cubicBezTo>
                  <a:pt x="211091" y="233929"/>
                  <a:pt x="204332" y="226022"/>
                  <a:pt x="200850" y="216554"/>
                </a:cubicBezTo>
                <a:cubicBezTo>
                  <a:pt x="209715" y="222914"/>
                  <a:pt x="220882" y="225169"/>
                  <a:pt x="231521" y="222746"/>
                </a:cubicBezTo>
                <a:cubicBezTo>
                  <a:pt x="248571" y="216554"/>
                  <a:pt x="263334" y="232271"/>
                  <a:pt x="267430" y="237319"/>
                </a:cubicBezTo>
                <a:cubicBezTo>
                  <a:pt x="278003" y="249035"/>
                  <a:pt x="296958" y="243224"/>
                  <a:pt x="314007" y="235985"/>
                </a:cubicBezTo>
                <a:cubicBezTo>
                  <a:pt x="340825" y="224316"/>
                  <a:pt x="355401" y="195084"/>
                  <a:pt x="348583" y="166643"/>
                </a:cubicBezTo>
                <a:cubicBezTo>
                  <a:pt x="348107" y="152070"/>
                  <a:pt x="275241" y="103493"/>
                  <a:pt x="275241" y="103493"/>
                </a:cubicBezTo>
                <a:lnTo>
                  <a:pt x="272669" y="85490"/>
                </a:lnTo>
                <a:cubicBezTo>
                  <a:pt x="272669" y="82347"/>
                  <a:pt x="261429" y="49867"/>
                  <a:pt x="212280" y="41485"/>
                </a:cubicBezTo>
                <a:cubicBezTo>
                  <a:pt x="212280" y="41485"/>
                  <a:pt x="221139" y="9671"/>
                  <a:pt x="208375" y="3385"/>
                </a:cubicBezTo>
                <a:cubicBezTo>
                  <a:pt x="181705" y="-8902"/>
                  <a:pt x="84550" y="10052"/>
                  <a:pt x="30639" y="96920"/>
                </a:cubicBezTo>
                <a:cubicBezTo>
                  <a:pt x="-9271" y="161214"/>
                  <a:pt x="-10224" y="239033"/>
                  <a:pt x="27972" y="315995"/>
                </a:cubicBezTo>
                <a:cubicBezTo>
                  <a:pt x="37497" y="335045"/>
                  <a:pt x="61881" y="373145"/>
                  <a:pt x="61881" y="401720"/>
                </a:cubicBezTo>
                <a:lnTo>
                  <a:pt x="61881" y="450965"/>
                </a:lnTo>
                <a:cubicBezTo>
                  <a:pt x="45241" y="454767"/>
                  <a:pt x="33408" y="469520"/>
                  <a:pt x="33306" y="486588"/>
                </a:cubicBezTo>
                <a:lnTo>
                  <a:pt x="33306" y="489731"/>
                </a:lnTo>
                <a:cubicBezTo>
                  <a:pt x="33417" y="503030"/>
                  <a:pt x="40702" y="515232"/>
                  <a:pt x="52356" y="521640"/>
                </a:cubicBezTo>
                <a:lnTo>
                  <a:pt x="52356" y="554882"/>
                </a:lnTo>
                <a:lnTo>
                  <a:pt x="14256" y="554882"/>
                </a:lnTo>
                <a:lnTo>
                  <a:pt x="14256" y="631082"/>
                </a:lnTo>
                <a:lnTo>
                  <a:pt x="338106" y="631082"/>
                </a:lnTo>
                <a:lnTo>
                  <a:pt x="338106" y="554882"/>
                </a:lnTo>
                <a:lnTo>
                  <a:pt x="300006" y="55488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ffectLst>
            <a:innerShdw dist="50800" dir="10800000">
              <a:schemeClr val="accent1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9" name="Title 6">
            <a:extLst>
              <a:ext uri="{FF2B5EF4-FFF2-40B4-BE49-F238E27FC236}">
                <a16:creationId xmlns:a16="http://schemas.microsoft.com/office/drawing/2014/main" id="{94DA9419-B744-FD3D-CC4D-4484D9CE39C7}"/>
              </a:ext>
            </a:extLst>
          </p:cNvPr>
          <p:cNvSpPr txBox="1">
            <a:spLocks/>
          </p:cNvSpPr>
          <p:nvPr/>
        </p:nvSpPr>
        <p:spPr>
          <a:xfrm>
            <a:off x="2567559" y="3937680"/>
            <a:ext cx="8993069" cy="738664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 Display" panose="02110004020202020204"/>
                <a:ea typeface="+mj-ea"/>
                <a:cs typeface="+mj-cs"/>
              </a:rPr>
              <a:t>Expanding the therapeutic options also increases </a:t>
            </a: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 Display" panose="02110004020202020204"/>
                <a:ea typeface="+mj-ea"/>
                <a:cs typeface="+mj-cs"/>
              </a:rPr>
              <a:t>decision complexity</a:t>
            </a: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 Display" panose="02110004020202020204"/>
                <a:ea typeface="+mj-ea"/>
                <a:cs typeface="+mj-cs"/>
              </a:rPr>
              <a:t>, and several </a:t>
            </a: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 Display" panose="02110004020202020204"/>
                <a:ea typeface="+mj-ea"/>
                <a:cs typeface="+mj-cs"/>
              </a:rPr>
              <a:t>open questions </a:t>
            </a:r>
            <a:r>
              <a:rPr kumimoji="0" lang="en-GB" sz="2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 Display" panose="02110004020202020204"/>
                <a:ea typeface="+mj-ea"/>
                <a:cs typeface="+mj-cs"/>
              </a:rPr>
              <a:t>remain for </a:t>
            </a: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 Display" panose="02110004020202020204"/>
                <a:ea typeface="+mj-ea"/>
                <a:cs typeface="+mj-cs"/>
              </a:rPr>
              <a:t>a fully tailored approach</a:t>
            </a:r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E52A224B-25FF-A2F0-8491-AED60DC030E2}"/>
              </a:ext>
            </a:extLst>
          </p:cNvPr>
          <p:cNvSpPr txBox="1">
            <a:spLocks/>
          </p:cNvSpPr>
          <p:nvPr/>
        </p:nvSpPr>
        <p:spPr>
          <a:xfrm>
            <a:off x="1586699" y="3989574"/>
            <a:ext cx="634877" cy="634877"/>
          </a:xfrm>
          <a:prstGeom prst="ellipse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2"/>
              </a:gs>
            </a:gsLst>
            <a:lin ang="13500000" scaled="1"/>
            <a:tileRect/>
          </a:gradFill>
        </p:spPr>
        <p:txBody>
          <a:bodyPr anchor="ctr" anchorCtr="1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</a:p>
        </p:txBody>
      </p:sp>
      <p:sp>
        <p:nvSpPr>
          <p:cNvPr id="38" name="Free-form: Shape 37">
            <a:extLst>
              <a:ext uri="{FF2B5EF4-FFF2-40B4-BE49-F238E27FC236}">
                <a16:creationId xmlns:a16="http://schemas.microsoft.com/office/drawing/2014/main" id="{3623A455-56FE-3B8E-9ABE-CE4B9D2DA620}"/>
              </a:ext>
            </a:extLst>
          </p:cNvPr>
          <p:cNvSpPr/>
          <p:nvPr/>
        </p:nvSpPr>
        <p:spPr>
          <a:xfrm>
            <a:off x="1771300" y="4092564"/>
            <a:ext cx="265675" cy="428896"/>
          </a:xfrm>
          <a:custGeom>
            <a:avLst/>
            <a:gdLst>
              <a:gd name="csX0" fmla="*/ 300387 w 350251"/>
              <a:gd name="csY0" fmla="*/ 521640 h 631082"/>
              <a:gd name="csX1" fmla="*/ 319437 w 350251"/>
              <a:gd name="csY1" fmla="*/ 489731 h 631082"/>
              <a:gd name="csX2" fmla="*/ 319437 w 350251"/>
              <a:gd name="csY2" fmla="*/ 486588 h 631082"/>
              <a:gd name="csX3" fmla="*/ 290862 w 350251"/>
              <a:gd name="csY3" fmla="*/ 450965 h 631082"/>
              <a:gd name="csX4" fmla="*/ 290862 w 350251"/>
              <a:gd name="csY4" fmla="*/ 412007 h 631082"/>
              <a:gd name="csX5" fmla="*/ 305625 w 350251"/>
              <a:gd name="csY5" fmla="*/ 313328 h 631082"/>
              <a:gd name="csX6" fmla="*/ 219900 w 350251"/>
              <a:gd name="csY6" fmla="*/ 238843 h 631082"/>
              <a:gd name="csX7" fmla="*/ 200850 w 350251"/>
              <a:gd name="csY7" fmla="*/ 216554 h 631082"/>
              <a:gd name="csX8" fmla="*/ 231521 w 350251"/>
              <a:gd name="csY8" fmla="*/ 222746 h 631082"/>
              <a:gd name="csX9" fmla="*/ 267430 w 350251"/>
              <a:gd name="csY9" fmla="*/ 237319 h 631082"/>
              <a:gd name="csX10" fmla="*/ 314007 w 350251"/>
              <a:gd name="csY10" fmla="*/ 235985 h 631082"/>
              <a:gd name="csX11" fmla="*/ 348583 w 350251"/>
              <a:gd name="csY11" fmla="*/ 166643 h 631082"/>
              <a:gd name="csX12" fmla="*/ 275241 w 350251"/>
              <a:gd name="csY12" fmla="*/ 103493 h 631082"/>
              <a:gd name="csX13" fmla="*/ 272669 w 350251"/>
              <a:gd name="csY13" fmla="*/ 85490 h 631082"/>
              <a:gd name="csX14" fmla="*/ 212280 w 350251"/>
              <a:gd name="csY14" fmla="*/ 41485 h 631082"/>
              <a:gd name="csX15" fmla="*/ 208375 w 350251"/>
              <a:gd name="csY15" fmla="*/ 3385 h 631082"/>
              <a:gd name="csX16" fmla="*/ 30639 w 350251"/>
              <a:gd name="csY16" fmla="*/ 96920 h 631082"/>
              <a:gd name="csX17" fmla="*/ 27972 w 350251"/>
              <a:gd name="csY17" fmla="*/ 315995 h 631082"/>
              <a:gd name="csX18" fmla="*/ 61881 w 350251"/>
              <a:gd name="csY18" fmla="*/ 401720 h 631082"/>
              <a:gd name="csX19" fmla="*/ 61881 w 350251"/>
              <a:gd name="csY19" fmla="*/ 450965 h 631082"/>
              <a:gd name="csX20" fmla="*/ 33306 w 350251"/>
              <a:gd name="csY20" fmla="*/ 486588 h 631082"/>
              <a:gd name="csX21" fmla="*/ 33306 w 350251"/>
              <a:gd name="csY21" fmla="*/ 489731 h 631082"/>
              <a:gd name="csX22" fmla="*/ 52356 w 350251"/>
              <a:gd name="csY22" fmla="*/ 521640 h 631082"/>
              <a:gd name="csX23" fmla="*/ 52356 w 350251"/>
              <a:gd name="csY23" fmla="*/ 554882 h 631082"/>
              <a:gd name="csX24" fmla="*/ 14256 w 350251"/>
              <a:gd name="csY24" fmla="*/ 554882 h 631082"/>
              <a:gd name="csX25" fmla="*/ 14256 w 350251"/>
              <a:gd name="csY25" fmla="*/ 631082 h 631082"/>
              <a:gd name="csX26" fmla="*/ 338106 w 350251"/>
              <a:gd name="csY26" fmla="*/ 631082 h 631082"/>
              <a:gd name="csX27" fmla="*/ 338106 w 350251"/>
              <a:gd name="csY27" fmla="*/ 554882 h 631082"/>
              <a:gd name="csX28" fmla="*/ 300006 w 350251"/>
              <a:gd name="csY28" fmla="*/ 554882 h 63108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</a:cxnLst>
            <a:rect l="l" t="t" r="r" b="b"/>
            <a:pathLst>
              <a:path w="350251" h="631082">
                <a:moveTo>
                  <a:pt x="300387" y="521640"/>
                </a:moveTo>
                <a:cubicBezTo>
                  <a:pt x="312040" y="515232"/>
                  <a:pt x="319325" y="503030"/>
                  <a:pt x="319437" y="489731"/>
                </a:cubicBezTo>
                <a:lnTo>
                  <a:pt x="319437" y="486588"/>
                </a:lnTo>
                <a:cubicBezTo>
                  <a:pt x="319335" y="469520"/>
                  <a:pt x="307501" y="454767"/>
                  <a:pt x="290862" y="450965"/>
                </a:cubicBezTo>
                <a:lnTo>
                  <a:pt x="290862" y="412007"/>
                </a:lnTo>
                <a:cubicBezTo>
                  <a:pt x="315184" y="385078"/>
                  <a:pt x="321001" y="346196"/>
                  <a:pt x="305625" y="313328"/>
                </a:cubicBezTo>
                <a:cubicBezTo>
                  <a:pt x="294005" y="286849"/>
                  <a:pt x="239427" y="249606"/>
                  <a:pt x="219900" y="238843"/>
                </a:cubicBezTo>
                <a:cubicBezTo>
                  <a:pt x="211091" y="233929"/>
                  <a:pt x="204332" y="226022"/>
                  <a:pt x="200850" y="216554"/>
                </a:cubicBezTo>
                <a:cubicBezTo>
                  <a:pt x="209715" y="222914"/>
                  <a:pt x="220882" y="225169"/>
                  <a:pt x="231521" y="222746"/>
                </a:cubicBezTo>
                <a:cubicBezTo>
                  <a:pt x="248571" y="216554"/>
                  <a:pt x="263334" y="232271"/>
                  <a:pt x="267430" y="237319"/>
                </a:cubicBezTo>
                <a:cubicBezTo>
                  <a:pt x="278003" y="249035"/>
                  <a:pt x="296958" y="243224"/>
                  <a:pt x="314007" y="235985"/>
                </a:cubicBezTo>
                <a:cubicBezTo>
                  <a:pt x="340825" y="224316"/>
                  <a:pt x="355401" y="195084"/>
                  <a:pt x="348583" y="166643"/>
                </a:cubicBezTo>
                <a:cubicBezTo>
                  <a:pt x="348107" y="152070"/>
                  <a:pt x="275241" y="103493"/>
                  <a:pt x="275241" y="103493"/>
                </a:cubicBezTo>
                <a:lnTo>
                  <a:pt x="272669" y="85490"/>
                </a:lnTo>
                <a:cubicBezTo>
                  <a:pt x="272669" y="82347"/>
                  <a:pt x="261429" y="49867"/>
                  <a:pt x="212280" y="41485"/>
                </a:cubicBezTo>
                <a:cubicBezTo>
                  <a:pt x="212280" y="41485"/>
                  <a:pt x="221139" y="9671"/>
                  <a:pt x="208375" y="3385"/>
                </a:cubicBezTo>
                <a:cubicBezTo>
                  <a:pt x="181705" y="-8902"/>
                  <a:pt x="84550" y="10052"/>
                  <a:pt x="30639" y="96920"/>
                </a:cubicBezTo>
                <a:cubicBezTo>
                  <a:pt x="-9271" y="161214"/>
                  <a:pt x="-10224" y="239033"/>
                  <a:pt x="27972" y="315995"/>
                </a:cubicBezTo>
                <a:cubicBezTo>
                  <a:pt x="37497" y="335045"/>
                  <a:pt x="61881" y="373145"/>
                  <a:pt x="61881" y="401720"/>
                </a:cubicBezTo>
                <a:lnTo>
                  <a:pt x="61881" y="450965"/>
                </a:lnTo>
                <a:cubicBezTo>
                  <a:pt x="45241" y="454767"/>
                  <a:pt x="33408" y="469520"/>
                  <a:pt x="33306" y="486588"/>
                </a:cubicBezTo>
                <a:lnTo>
                  <a:pt x="33306" y="489731"/>
                </a:lnTo>
                <a:cubicBezTo>
                  <a:pt x="33417" y="503030"/>
                  <a:pt x="40702" y="515232"/>
                  <a:pt x="52356" y="521640"/>
                </a:cubicBezTo>
                <a:lnTo>
                  <a:pt x="52356" y="554882"/>
                </a:lnTo>
                <a:lnTo>
                  <a:pt x="14256" y="554882"/>
                </a:lnTo>
                <a:lnTo>
                  <a:pt x="14256" y="631082"/>
                </a:lnTo>
                <a:lnTo>
                  <a:pt x="338106" y="631082"/>
                </a:lnTo>
                <a:lnTo>
                  <a:pt x="338106" y="554882"/>
                </a:lnTo>
                <a:lnTo>
                  <a:pt x="300006" y="55488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ffectLst>
            <a:innerShdw dist="50800" dir="10800000">
              <a:schemeClr val="accent1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" name="Title 6">
            <a:extLst>
              <a:ext uri="{FF2B5EF4-FFF2-40B4-BE49-F238E27FC236}">
                <a16:creationId xmlns:a16="http://schemas.microsoft.com/office/drawing/2014/main" id="{D82F3A69-1D78-5936-0AD2-0F450F0D903F}"/>
              </a:ext>
            </a:extLst>
          </p:cNvPr>
          <p:cNvSpPr txBox="1">
            <a:spLocks/>
          </p:cNvSpPr>
          <p:nvPr/>
        </p:nvSpPr>
        <p:spPr>
          <a:xfrm>
            <a:off x="2587180" y="5192280"/>
            <a:ext cx="8993069" cy="738664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 Display" panose="02110004020202020204"/>
                <a:ea typeface="+mj-ea"/>
                <a:cs typeface="+mj-cs"/>
              </a:rPr>
              <a:t>We will still have challenges, but novel strategies could have the potential to </a:t>
            </a: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 Display" panose="02110004020202020204"/>
                <a:ea typeface="+mj-ea"/>
                <a:cs typeface="+mj-cs"/>
              </a:rPr>
              <a:t>improve outcomes </a:t>
            </a: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 Display" panose="02110004020202020204"/>
                <a:ea typeface="+mj-ea"/>
                <a:cs typeface="+mj-cs"/>
              </a:rPr>
              <a:t>in an aggressive and deadly disease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87F40821-D101-2677-6424-491574171722}"/>
              </a:ext>
            </a:extLst>
          </p:cNvPr>
          <p:cNvSpPr txBox="1">
            <a:spLocks/>
          </p:cNvSpPr>
          <p:nvPr/>
        </p:nvSpPr>
        <p:spPr>
          <a:xfrm>
            <a:off x="1606320" y="5244174"/>
            <a:ext cx="634877" cy="634877"/>
          </a:xfrm>
          <a:prstGeom prst="ellipse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2"/>
              </a:gs>
            </a:gsLst>
            <a:lin ang="13500000" scaled="1"/>
            <a:tileRect/>
          </a:gradFill>
        </p:spPr>
        <p:txBody>
          <a:bodyPr anchor="ctr" anchorCtr="1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</a:p>
        </p:txBody>
      </p:sp>
      <p:sp>
        <p:nvSpPr>
          <p:cNvPr id="4" name="Free-form: Shape 37">
            <a:extLst>
              <a:ext uri="{FF2B5EF4-FFF2-40B4-BE49-F238E27FC236}">
                <a16:creationId xmlns:a16="http://schemas.microsoft.com/office/drawing/2014/main" id="{F600D1ED-53EA-CFF6-1A28-F2EAB20982A0}"/>
              </a:ext>
            </a:extLst>
          </p:cNvPr>
          <p:cNvSpPr/>
          <p:nvPr/>
        </p:nvSpPr>
        <p:spPr>
          <a:xfrm>
            <a:off x="1790920" y="5347164"/>
            <a:ext cx="265675" cy="428896"/>
          </a:xfrm>
          <a:custGeom>
            <a:avLst/>
            <a:gdLst>
              <a:gd name="csX0" fmla="*/ 300387 w 350251"/>
              <a:gd name="csY0" fmla="*/ 521640 h 631082"/>
              <a:gd name="csX1" fmla="*/ 319437 w 350251"/>
              <a:gd name="csY1" fmla="*/ 489731 h 631082"/>
              <a:gd name="csX2" fmla="*/ 319437 w 350251"/>
              <a:gd name="csY2" fmla="*/ 486588 h 631082"/>
              <a:gd name="csX3" fmla="*/ 290862 w 350251"/>
              <a:gd name="csY3" fmla="*/ 450965 h 631082"/>
              <a:gd name="csX4" fmla="*/ 290862 w 350251"/>
              <a:gd name="csY4" fmla="*/ 412007 h 631082"/>
              <a:gd name="csX5" fmla="*/ 305625 w 350251"/>
              <a:gd name="csY5" fmla="*/ 313328 h 631082"/>
              <a:gd name="csX6" fmla="*/ 219900 w 350251"/>
              <a:gd name="csY6" fmla="*/ 238843 h 631082"/>
              <a:gd name="csX7" fmla="*/ 200850 w 350251"/>
              <a:gd name="csY7" fmla="*/ 216554 h 631082"/>
              <a:gd name="csX8" fmla="*/ 231521 w 350251"/>
              <a:gd name="csY8" fmla="*/ 222746 h 631082"/>
              <a:gd name="csX9" fmla="*/ 267430 w 350251"/>
              <a:gd name="csY9" fmla="*/ 237319 h 631082"/>
              <a:gd name="csX10" fmla="*/ 314007 w 350251"/>
              <a:gd name="csY10" fmla="*/ 235985 h 631082"/>
              <a:gd name="csX11" fmla="*/ 348583 w 350251"/>
              <a:gd name="csY11" fmla="*/ 166643 h 631082"/>
              <a:gd name="csX12" fmla="*/ 275241 w 350251"/>
              <a:gd name="csY12" fmla="*/ 103493 h 631082"/>
              <a:gd name="csX13" fmla="*/ 272669 w 350251"/>
              <a:gd name="csY13" fmla="*/ 85490 h 631082"/>
              <a:gd name="csX14" fmla="*/ 212280 w 350251"/>
              <a:gd name="csY14" fmla="*/ 41485 h 631082"/>
              <a:gd name="csX15" fmla="*/ 208375 w 350251"/>
              <a:gd name="csY15" fmla="*/ 3385 h 631082"/>
              <a:gd name="csX16" fmla="*/ 30639 w 350251"/>
              <a:gd name="csY16" fmla="*/ 96920 h 631082"/>
              <a:gd name="csX17" fmla="*/ 27972 w 350251"/>
              <a:gd name="csY17" fmla="*/ 315995 h 631082"/>
              <a:gd name="csX18" fmla="*/ 61881 w 350251"/>
              <a:gd name="csY18" fmla="*/ 401720 h 631082"/>
              <a:gd name="csX19" fmla="*/ 61881 w 350251"/>
              <a:gd name="csY19" fmla="*/ 450965 h 631082"/>
              <a:gd name="csX20" fmla="*/ 33306 w 350251"/>
              <a:gd name="csY20" fmla="*/ 486588 h 631082"/>
              <a:gd name="csX21" fmla="*/ 33306 w 350251"/>
              <a:gd name="csY21" fmla="*/ 489731 h 631082"/>
              <a:gd name="csX22" fmla="*/ 52356 w 350251"/>
              <a:gd name="csY22" fmla="*/ 521640 h 631082"/>
              <a:gd name="csX23" fmla="*/ 52356 w 350251"/>
              <a:gd name="csY23" fmla="*/ 554882 h 631082"/>
              <a:gd name="csX24" fmla="*/ 14256 w 350251"/>
              <a:gd name="csY24" fmla="*/ 554882 h 631082"/>
              <a:gd name="csX25" fmla="*/ 14256 w 350251"/>
              <a:gd name="csY25" fmla="*/ 631082 h 631082"/>
              <a:gd name="csX26" fmla="*/ 338106 w 350251"/>
              <a:gd name="csY26" fmla="*/ 631082 h 631082"/>
              <a:gd name="csX27" fmla="*/ 338106 w 350251"/>
              <a:gd name="csY27" fmla="*/ 554882 h 631082"/>
              <a:gd name="csX28" fmla="*/ 300006 w 350251"/>
              <a:gd name="csY28" fmla="*/ 554882 h 63108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</a:cxnLst>
            <a:rect l="l" t="t" r="r" b="b"/>
            <a:pathLst>
              <a:path w="350251" h="631082">
                <a:moveTo>
                  <a:pt x="300387" y="521640"/>
                </a:moveTo>
                <a:cubicBezTo>
                  <a:pt x="312040" y="515232"/>
                  <a:pt x="319325" y="503030"/>
                  <a:pt x="319437" y="489731"/>
                </a:cubicBezTo>
                <a:lnTo>
                  <a:pt x="319437" y="486588"/>
                </a:lnTo>
                <a:cubicBezTo>
                  <a:pt x="319335" y="469520"/>
                  <a:pt x="307501" y="454767"/>
                  <a:pt x="290862" y="450965"/>
                </a:cubicBezTo>
                <a:lnTo>
                  <a:pt x="290862" y="412007"/>
                </a:lnTo>
                <a:cubicBezTo>
                  <a:pt x="315184" y="385078"/>
                  <a:pt x="321001" y="346196"/>
                  <a:pt x="305625" y="313328"/>
                </a:cubicBezTo>
                <a:cubicBezTo>
                  <a:pt x="294005" y="286849"/>
                  <a:pt x="239427" y="249606"/>
                  <a:pt x="219900" y="238843"/>
                </a:cubicBezTo>
                <a:cubicBezTo>
                  <a:pt x="211091" y="233929"/>
                  <a:pt x="204332" y="226022"/>
                  <a:pt x="200850" y="216554"/>
                </a:cubicBezTo>
                <a:cubicBezTo>
                  <a:pt x="209715" y="222914"/>
                  <a:pt x="220882" y="225169"/>
                  <a:pt x="231521" y="222746"/>
                </a:cubicBezTo>
                <a:cubicBezTo>
                  <a:pt x="248571" y="216554"/>
                  <a:pt x="263334" y="232271"/>
                  <a:pt x="267430" y="237319"/>
                </a:cubicBezTo>
                <a:cubicBezTo>
                  <a:pt x="278003" y="249035"/>
                  <a:pt x="296958" y="243224"/>
                  <a:pt x="314007" y="235985"/>
                </a:cubicBezTo>
                <a:cubicBezTo>
                  <a:pt x="340825" y="224316"/>
                  <a:pt x="355401" y="195084"/>
                  <a:pt x="348583" y="166643"/>
                </a:cubicBezTo>
                <a:cubicBezTo>
                  <a:pt x="348107" y="152070"/>
                  <a:pt x="275241" y="103493"/>
                  <a:pt x="275241" y="103493"/>
                </a:cubicBezTo>
                <a:lnTo>
                  <a:pt x="272669" y="85490"/>
                </a:lnTo>
                <a:cubicBezTo>
                  <a:pt x="272669" y="82347"/>
                  <a:pt x="261429" y="49867"/>
                  <a:pt x="212280" y="41485"/>
                </a:cubicBezTo>
                <a:cubicBezTo>
                  <a:pt x="212280" y="41485"/>
                  <a:pt x="221139" y="9671"/>
                  <a:pt x="208375" y="3385"/>
                </a:cubicBezTo>
                <a:cubicBezTo>
                  <a:pt x="181705" y="-8902"/>
                  <a:pt x="84550" y="10052"/>
                  <a:pt x="30639" y="96920"/>
                </a:cubicBezTo>
                <a:cubicBezTo>
                  <a:pt x="-9271" y="161214"/>
                  <a:pt x="-10224" y="239033"/>
                  <a:pt x="27972" y="315995"/>
                </a:cubicBezTo>
                <a:cubicBezTo>
                  <a:pt x="37497" y="335045"/>
                  <a:pt x="61881" y="373145"/>
                  <a:pt x="61881" y="401720"/>
                </a:cubicBezTo>
                <a:lnTo>
                  <a:pt x="61881" y="450965"/>
                </a:lnTo>
                <a:cubicBezTo>
                  <a:pt x="45241" y="454767"/>
                  <a:pt x="33408" y="469520"/>
                  <a:pt x="33306" y="486588"/>
                </a:cubicBezTo>
                <a:lnTo>
                  <a:pt x="33306" y="489731"/>
                </a:lnTo>
                <a:cubicBezTo>
                  <a:pt x="33417" y="503030"/>
                  <a:pt x="40702" y="515232"/>
                  <a:pt x="52356" y="521640"/>
                </a:cubicBezTo>
                <a:lnTo>
                  <a:pt x="52356" y="554882"/>
                </a:lnTo>
                <a:lnTo>
                  <a:pt x="14256" y="554882"/>
                </a:lnTo>
                <a:lnTo>
                  <a:pt x="14256" y="631082"/>
                </a:lnTo>
                <a:lnTo>
                  <a:pt x="338106" y="631082"/>
                </a:lnTo>
                <a:lnTo>
                  <a:pt x="338106" y="554882"/>
                </a:lnTo>
                <a:lnTo>
                  <a:pt x="300006" y="55488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ffectLst>
            <a:innerShdw dist="50800" dir="10800000">
              <a:schemeClr val="accent1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2142448B-F6A0-087E-26EE-C5D8F9742C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651" y="6356350"/>
            <a:ext cx="383694" cy="365125"/>
          </a:xfrm>
        </p:spPr>
        <p:txBody>
          <a:bodyPr vert="horz" lIns="0" tIns="0" rIns="0" bIns="0"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306B0CF-28DA-4AF7-AD0B-CB9D5901F647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82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1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49173319"/>
      </p:ext>
    </p:extLst>
  </p:cSld>
  <p:clrMapOvr>
    <a:masterClrMapping/>
  </p:clrMapOvr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contenuto 2">
            <a:extLst>
              <a:ext uri="{FF2B5EF4-FFF2-40B4-BE49-F238E27FC236}">
                <a16:creationId xmlns:a16="http://schemas.microsoft.com/office/drawing/2014/main" id="{5180BF31-BDC2-2E6B-9DC0-379140F010E4}"/>
              </a:ext>
            </a:extLst>
          </p:cNvPr>
          <p:cNvSpPr txBox="1">
            <a:spLocks/>
          </p:cNvSpPr>
          <p:nvPr/>
        </p:nvSpPr>
        <p:spPr bwMode="auto">
          <a:xfrm>
            <a:off x="0" y="1681642"/>
            <a:ext cx="2998837" cy="44230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it-IT" sz="1400" b="0" i="1" u="none" strike="noStrike" kern="120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Pier Luigi </a:t>
            </a:r>
            <a:r>
              <a:rPr kumimoji="0" lang="en-GB" altLang="it-IT" sz="1400" b="0" i="1" u="none" strike="noStrike" kern="1200" cap="none" spc="0" normalizeH="0" baseline="0" noProof="0" dirty="0" err="1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Zinzani</a:t>
            </a:r>
            <a:endParaRPr kumimoji="0" lang="en-GB" altLang="it-IT" sz="1400" b="0" i="1" u="none" strike="noStrike" kern="1200" cap="none" spc="0" normalizeH="0" baseline="0" noProof="0" dirty="0">
              <a:ln>
                <a:noFill/>
              </a:ln>
              <a:solidFill>
                <a:srgbClr val="3F4444"/>
              </a:solidFill>
              <a:effectLst/>
              <a:uLnTx/>
              <a:uFillTx/>
              <a:latin typeface="Arial" panose="020B0604020202020204" pitchFamily="34" charset="0"/>
              <a:ea typeface="ＭＳ Ｐゴシック" panose="020B0600070205080204" pitchFamily="34" charset="-128"/>
              <a:cs typeface="+mn-cs"/>
            </a:endParaRPr>
          </a:p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it-IT" sz="1200" b="0" i="1" u="none" strike="noStrike" kern="1200" cap="none" spc="0" normalizeH="0" baseline="0" noProof="0" dirty="0">
              <a:ln>
                <a:noFill/>
              </a:ln>
              <a:solidFill>
                <a:srgbClr val="3F4444"/>
              </a:solidFill>
              <a:effectLst/>
              <a:uLnTx/>
              <a:uFillTx/>
              <a:latin typeface="Arial" panose="020B0604020202020204" pitchFamily="34" charset="0"/>
              <a:ea typeface="ＭＳ Ｐゴシック" panose="020B0600070205080204" pitchFamily="34" charset="-128"/>
              <a:cs typeface="+mn-cs"/>
            </a:endParaRPr>
          </a:p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it-IT" sz="1400" b="0" i="1" u="none" strike="noStrike" kern="120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Vittorio Stefoni</a:t>
            </a:r>
          </a:p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it-IT" sz="1400" b="0" i="1" u="none" strike="noStrike" kern="120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Cinzia Pellegrini</a:t>
            </a:r>
          </a:p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it-IT" sz="1400" b="0" i="1" u="none" strike="noStrike" kern="120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Gabriele Gugliotta</a:t>
            </a:r>
          </a:p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it-IT" sz="1400" b="0" i="1" u="none" strike="noStrike" kern="120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Alessandro Broccoli</a:t>
            </a:r>
          </a:p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it-IT" sz="1400" b="0" i="1" u="none" strike="noStrike" kern="120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Beatrice Casadei</a:t>
            </a:r>
          </a:p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it-IT" sz="1400" b="0" i="1" u="none" strike="noStrike" kern="120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Matteo Carella</a:t>
            </a:r>
          </a:p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it-IT" sz="1400" b="0" i="1" u="none" strike="noStrike" kern="120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Gianmarco Bagnato</a:t>
            </a:r>
          </a:p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it-IT" sz="1400" b="0" i="1" u="none" strike="noStrike" kern="120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Nicole Fabbri</a:t>
            </a:r>
          </a:p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it-IT" sz="1400" b="0" i="1" u="none" strike="noStrike" kern="120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Giulia Gabrielli</a:t>
            </a:r>
          </a:p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it-IT" sz="1400" b="0" i="1" u="none" strike="noStrike" kern="120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Camilla Mazzoni</a:t>
            </a:r>
          </a:p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it-IT" sz="1400" b="0" i="1" u="none" strike="noStrike" kern="120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Marianna Gentilini</a:t>
            </a:r>
          </a:p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it-IT" sz="1400" b="0" i="1" u="none" strike="noStrike" kern="1200" cap="none" spc="0" normalizeH="0" baseline="0" noProof="0" dirty="0" err="1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Pierluca</a:t>
            </a:r>
            <a:r>
              <a:rPr kumimoji="0" lang="en-GB" altLang="it-IT" sz="1400" b="0" i="1" u="none" strike="noStrike" kern="120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 Maglio</a:t>
            </a:r>
          </a:p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it-IT" sz="1400" b="0" i="1" u="none" strike="noStrike" kern="120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Alessandro Desiderio</a:t>
            </a:r>
          </a:p>
        </p:txBody>
      </p:sp>
      <p:sp>
        <p:nvSpPr>
          <p:cNvPr id="5" name="Segnaposto contenuto 2">
            <a:extLst>
              <a:ext uri="{FF2B5EF4-FFF2-40B4-BE49-F238E27FC236}">
                <a16:creationId xmlns:a16="http://schemas.microsoft.com/office/drawing/2014/main" id="{A88CC43F-ABE5-0D69-3935-1E59D0A21B0A}"/>
              </a:ext>
            </a:extLst>
          </p:cNvPr>
          <p:cNvSpPr txBox="1">
            <a:spLocks/>
          </p:cNvSpPr>
          <p:nvPr/>
        </p:nvSpPr>
        <p:spPr bwMode="auto">
          <a:xfrm>
            <a:off x="9193163" y="1877719"/>
            <a:ext cx="2998837" cy="310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it-IT" sz="1400" b="0" i="1" u="none" strike="noStrike" kern="120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Massimo Agostini</a:t>
            </a:r>
          </a:p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it-IT" sz="1400" b="0" i="1" u="none" strike="noStrike" kern="120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Lisa </a:t>
            </a:r>
            <a:r>
              <a:rPr kumimoji="0" lang="en-GB" altLang="it-IT" sz="1400" b="0" i="1" u="none" strike="noStrike" kern="1200" cap="none" spc="0" normalizeH="0" baseline="0" noProof="0" dirty="0" err="1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Argnani</a:t>
            </a:r>
            <a:endParaRPr kumimoji="0" lang="en-GB" altLang="it-IT" sz="1400" b="0" i="1" u="none" strike="noStrike" kern="1200" cap="none" spc="0" normalizeH="0" baseline="0" noProof="0" dirty="0">
              <a:ln>
                <a:noFill/>
              </a:ln>
              <a:solidFill>
                <a:srgbClr val="3F4444"/>
              </a:solidFill>
              <a:effectLst/>
              <a:uLnTx/>
              <a:uFillTx/>
              <a:latin typeface="Arial" panose="020B0604020202020204" pitchFamily="34" charset="0"/>
              <a:ea typeface="ＭＳ Ｐゴシック" panose="020B0600070205080204" pitchFamily="34" charset="-128"/>
              <a:cs typeface="+mn-cs"/>
            </a:endParaRPr>
          </a:p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it-IT" sz="1400" b="0" i="1" u="none" strike="noStrike" kern="120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Laura Bagnato</a:t>
            </a:r>
          </a:p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it-IT" sz="1400" b="0" i="1" u="none" strike="noStrike" kern="120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Stella Blandino</a:t>
            </a:r>
          </a:p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it-IT" sz="1400" b="0" i="1" u="none" strike="noStrike" kern="120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Enrico </a:t>
            </a:r>
            <a:r>
              <a:rPr kumimoji="0" lang="en-GB" altLang="it-IT" sz="1400" b="0" i="1" u="none" strike="noStrike" kern="1200" cap="none" spc="0" normalizeH="0" baseline="0" noProof="0" dirty="0" err="1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Caldarulo</a:t>
            </a:r>
            <a:endParaRPr kumimoji="0" lang="en-GB" altLang="it-IT" sz="1400" b="0" i="1" u="none" strike="noStrike" kern="1200" cap="none" spc="0" normalizeH="0" baseline="0" noProof="0" dirty="0">
              <a:ln>
                <a:noFill/>
              </a:ln>
              <a:solidFill>
                <a:srgbClr val="3F4444"/>
              </a:solidFill>
              <a:effectLst/>
              <a:uLnTx/>
              <a:uFillTx/>
              <a:latin typeface="Arial" panose="020B0604020202020204" pitchFamily="34" charset="0"/>
              <a:ea typeface="ＭＳ Ｐゴシック" panose="020B0600070205080204" pitchFamily="34" charset="-128"/>
              <a:cs typeface="+mn-cs"/>
            </a:endParaRPr>
          </a:p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it-IT" sz="1400" b="0" i="1" u="none" strike="noStrike" kern="120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Silvia Corazza</a:t>
            </a:r>
          </a:p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it-IT" sz="1400" b="0" i="1" u="none" strike="noStrike" kern="120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Federica Forte</a:t>
            </a:r>
          </a:p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it-IT" sz="1400" b="0" i="1" u="none" strike="noStrike" kern="120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Silvia Grandi</a:t>
            </a:r>
          </a:p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it-IT" sz="1400" b="0" i="1" u="none" strike="noStrike" kern="120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Sara Lavanna</a:t>
            </a:r>
          </a:p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it-IT" sz="1400" b="0" i="1" u="none" strike="noStrike" kern="120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Omar </a:t>
            </a:r>
            <a:r>
              <a:rPr kumimoji="0" lang="en-GB" altLang="it-IT" sz="1400" b="0" i="1" u="none" strike="noStrike" kern="1200" cap="none" spc="0" normalizeH="0" baseline="0" noProof="0" dirty="0" err="1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Mocchegiani</a:t>
            </a:r>
            <a:endParaRPr kumimoji="0" lang="en-GB" altLang="it-IT" sz="1400" b="0" i="1" u="none" strike="noStrike" kern="1200" cap="none" spc="0" normalizeH="0" baseline="0" noProof="0" dirty="0">
              <a:ln>
                <a:noFill/>
              </a:ln>
              <a:solidFill>
                <a:srgbClr val="3F4444"/>
              </a:solidFill>
              <a:effectLst/>
              <a:uLnTx/>
              <a:uFillTx/>
              <a:latin typeface="Arial" panose="020B0604020202020204" pitchFamily="34" charset="0"/>
              <a:ea typeface="ＭＳ Ｐゴシック" panose="020B0600070205080204" pitchFamily="34" charset="-128"/>
              <a:cs typeface="+mn-cs"/>
            </a:endParaRPr>
          </a:p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it-IT" sz="1400" b="0" i="1" u="none" strike="noStrike" kern="120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Alessia Morello</a:t>
            </a:r>
          </a:p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it-IT" sz="1400" b="0" i="1" u="none" strike="noStrike" kern="120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Rosaria Perone</a:t>
            </a:r>
          </a:p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it-IT" sz="1400" b="0" i="1" u="none" strike="noStrike" kern="120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Claudia Romano</a:t>
            </a:r>
          </a:p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it-IT" sz="1400" b="0" i="1" u="none" strike="noStrike" kern="120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Davide Simoncelli</a:t>
            </a:r>
          </a:p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it-IT" sz="1400" b="0" i="1" u="none" strike="noStrike" kern="120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Marco Vigna</a:t>
            </a:r>
          </a:p>
        </p:txBody>
      </p:sp>
      <p:pic>
        <p:nvPicPr>
          <p:cNvPr id="2" name="Immagine 1">
            <a:extLst>
              <a:ext uri="{FF2B5EF4-FFF2-40B4-BE49-F238E27FC236}">
                <a16:creationId xmlns:a16="http://schemas.microsoft.com/office/drawing/2014/main" id="{BC1A3AC7-5632-3A49-5A91-86BA772BF7C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47367" y="749933"/>
            <a:ext cx="7297269" cy="5475796"/>
          </a:xfrm>
          <a:prstGeom prst="rect">
            <a:avLst/>
          </a:prstGeom>
        </p:spPr>
      </p:pic>
      <p:sp>
        <p:nvSpPr>
          <p:cNvPr id="6" name="Rettangolo 5">
            <a:extLst>
              <a:ext uri="{FF2B5EF4-FFF2-40B4-BE49-F238E27FC236}">
                <a16:creationId xmlns:a16="http://schemas.microsoft.com/office/drawing/2014/main" id="{48163B34-E776-80C6-9583-2DC041A33754}"/>
              </a:ext>
            </a:extLst>
          </p:cNvPr>
          <p:cNvSpPr/>
          <p:nvPr/>
        </p:nvSpPr>
        <p:spPr>
          <a:xfrm>
            <a:off x="2447366" y="772422"/>
            <a:ext cx="7553540" cy="584775"/>
          </a:xfrm>
          <a:prstGeom prst="rect">
            <a:avLst/>
          </a:prstGeom>
          <a:solidFill>
            <a:srgbClr val="FFFFFF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1" u="none" strike="noStrike" kern="120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Arial" panose="020B0604020202020204" pitchFamily="34" charset="0"/>
              </a:rPr>
              <a:t>SSD LINFOMI E SDR LINFOPROLIFERATIVE CRONICH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Arial" panose="020B0604020202020204" pitchFamily="34" charset="0"/>
              </a:rPr>
              <a:t>Prof. Pier Luigi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Arial" panose="020B0604020202020204" pitchFamily="34" charset="0"/>
              </a:rPr>
              <a:t>Zinzani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3F4444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B05D35A-0B80-C18E-7623-43A424B925B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B2B85A74-9EF5-B43F-1918-9118FC74BD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651" y="6356350"/>
            <a:ext cx="383694" cy="365125"/>
          </a:xfrm>
        </p:spPr>
        <p:txBody>
          <a:bodyPr vert="horz" lIns="0" tIns="0" rIns="0" bIns="0"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306B0CF-28DA-4AF7-AD0B-CB9D5901F647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82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2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15550421"/>
      </p:ext>
    </p:extLst>
  </p:cSld>
  <p:clrMapOvr>
    <a:masterClrMapping/>
  </p:clrMapOvr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>
            <a:extLst>
              <a:ext uri="{FF2B5EF4-FFF2-40B4-BE49-F238E27FC236}">
                <a16:creationId xmlns:a16="http://schemas.microsoft.com/office/drawing/2014/main" id="{6C6133D1-FB97-2F37-AC2B-9381945B6CF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27561" y="590184"/>
            <a:ext cx="8139683" cy="6107936"/>
          </a:xfrm>
          <a:prstGeom prst="rect">
            <a:avLst/>
          </a:prstGeom>
        </p:spPr>
      </p:pic>
      <p:sp>
        <p:nvSpPr>
          <p:cNvPr id="4" name="Rettangolo 3">
            <a:extLst>
              <a:ext uri="{FF2B5EF4-FFF2-40B4-BE49-F238E27FC236}">
                <a16:creationId xmlns:a16="http://schemas.microsoft.com/office/drawing/2014/main" id="{F1E94509-C6F7-3CEB-2653-96ABC2BD7329}"/>
              </a:ext>
            </a:extLst>
          </p:cNvPr>
          <p:cNvSpPr/>
          <p:nvPr/>
        </p:nvSpPr>
        <p:spPr>
          <a:xfrm>
            <a:off x="2227561" y="590185"/>
            <a:ext cx="8139683" cy="584775"/>
          </a:xfrm>
          <a:prstGeom prst="rect">
            <a:avLst/>
          </a:prstGeom>
          <a:solidFill>
            <a:srgbClr val="FFFFFF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1" u="none" strike="noStrike" kern="120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Arial" panose="020B0604020202020204" pitchFamily="34" charset="0"/>
              </a:rPr>
              <a:t>SSD LINFOMI E SDR LINFOPROLIFERATIVE CRONICH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Arial" panose="020B0604020202020204" pitchFamily="34" charset="0"/>
              </a:rPr>
              <a:t>Prof. Pier Luigi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Arial" panose="020B0604020202020204" pitchFamily="34" charset="0"/>
              </a:rPr>
              <a:t>Zinzani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3F4444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6D79C500-A17C-06CD-B62E-B155DDA5B6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651" y="6356350"/>
            <a:ext cx="383694" cy="365125"/>
          </a:xfrm>
        </p:spPr>
        <p:txBody>
          <a:bodyPr vert="horz" lIns="0" tIns="0" rIns="0" bIns="0"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306B0CF-28DA-4AF7-AD0B-CB9D5901F647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82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3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74180992"/>
      </p:ext>
    </p:extLst>
  </p:cSld>
  <p:clrMapOvr>
    <a:masterClrMapping/>
  </p:clrMapOvr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BE0CF42-BED8-8B7C-8037-558472CA4E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5117A206-448E-C2F1-259A-8A4C867DA0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dirty="0">
                <a:solidFill>
                  <a:schemeClr val="accent1"/>
                </a:solidFill>
              </a:rPr>
              <a:t>Panel discussion, questions and closing remarks</a:t>
            </a:r>
            <a:br>
              <a:rPr lang="en-GB" b="1" dirty="0">
                <a:solidFill>
                  <a:schemeClr val="accent1"/>
                </a:solidFill>
              </a:rPr>
            </a:br>
            <a:br>
              <a:rPr lang="en-GB" b="1" dirty="0">
                <a:solidFill>
                  <a:schemeClr val="accent1"/>
                </a:solidFill>
              </a:rPr>
            </a:br>
            <a:r>
              <a:rPr lang="en-GB" sz="4000" dirty="0"/>
              <a:t>All Faculty </a:t>
            </a:r>
            <a:br>
              <a:rPr lang="en-GB" sz="4000" dirty="0"/>
            </a:br>
            <a:r>
              <a:rPr lang="en-GB" sz="4000" dirty="0"/>
              <a:t>Chair: Prof. Pier Luigi </a:t>
            </a:r>
            <a:r>
              <a:rPr lang="en-GB" sz="4000" dirty="0" err="1"/>
              <a:t>Zinzani</a:t>
            </a:r>
            <a:br>
              <a:rPr lang="en-GB" sz="4000" dirty="0"/>
            </a:br>
            <a:endParaRPr lang="en-GB" sz="4000" dirty="0"/>
          </a:p>
        </p:txBody>
      </p:sp>
    </p:spTree>
    <p:extLst>
      <p:ext uri="{BB962C8B-B14F-4D97-AF65-F5344CB8AC3E}">
        <p14:creationId xmlns:p14="http://schemas.microsoft.com/office/powerpoint/2010/main" val="3874722576"/>
      </p:ext>
    </p:extLst>
  </p:cSld>
  <p:clrMapOvr>
    <a:masterClrMapping/>
  </p:clrMapOvr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CCCC3FE-4CE8-CA85-E36D-5334DCFF53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Get ready to interact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7CF8F8C-872E-4219-ECAD-6D21EE4F9C3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67E9B6E-D3C8-7A84-3892-03D9C26E60C2}"/>
              </a:ext>
            </a:extLst>
          </p:cNvPr>
          <p:cNvSpPr txBox="1"/>
          <p:nvPr/>
        </p:nvSpPr>
        <p:spPr>
          <a:xfrm>
            <a:off x="769940" y="3283061"/>
            <a:ext cx="2626402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can the QR code at the bottom right of the screen 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using your phone or tablet devic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44ACEA3-74E0-B5DA-1703-11DCD2AD2EFC}"/>
              </a:ext>
            </a:extLst>
          </p:cNvPr>
          <p:cNvSpPr txBox="1"/>
          <p:nvPr/>
        </p:nvSpPr>
        <p:spPr>
          <a:xfrm>
            <a:off x="769941" y="4594757"/>
            <a:ext cx="262640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Virtual attendees: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38B487E-F178-AA04-7D48-808BC3F8D463}"/>
              </a:ext>
            </a:extLst>
          </p:cNvPr>
          <p:cNvSpPr txBox="1"/>
          <p:nvPr/>
        </p:nvSpPr>
        <p:spPr>
          <a:xfrm>
            <a:off x="766762" y="1668250"/>
            <a:ext cx="28408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In-person attendees:</a:t>
            </a: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46DD233-B8AB-F96F-6FED-3E5F8A1BE427}"/>
              </a:ext>
            </a:extLst>
          </p:cNvPr>
          <p:cNvSpPr txBox="1"/>
          <p:nvPr/>
        </p:nvSpPr>
        <p:spPr>
          <a:xfrm>
            <a:off x="769940" y="5103720"/>
            <a:ext cx="720565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Use the ‘Q&amp;A’ button </a:t>
            </a: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o the right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of your live stream video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4B986CE4-DB90-A3EB-4B23-BB5A8385AF56}"/>
              </a:ext>
            </a:extLst>
          </p:cNvPr>
          <p:cNvSpPr txBox="1"/>
          <p:nvPr/>
        </p:nvSpPr>
        <p:spPr>
          <a:xfrm>
            <a:off x="3915104" y="3283061"/>
            <a:ext cx="186657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elect what you want to do</a:t>
            </a: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559D44E-E838-BDA1-F124-72812B778453}"/>
              </a:ext>
            </a:extLst>
          </p:cNvPr>
          <p:cNvSpPr txBox="1"/>
          <p:nvPr/>
        </p:nvSpPr>
        <p:spPr>
          <a:xfrm>
            <a:off x="7060268" y="2575635"/>
            <a:ext cx="332763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Q&amp;A:</a:t>
            </a:r>
            <a:b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‘Q&amp;A’ button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5AD59921-C9C2-6CD3-DADD-70B41E97B14F}"/>
              </a:ext>
            </a:extLst>
          </p:cNvPr>
          <p:cNvSpPr/>
          <p:nvPr/>
        </p:nvSpPr>
        <p:spPr>
          <a:xfrm>
            <a:off x="6410327" y="2628748"/>
            <a:ext cx="601659" cy="601659"/>
          </a:xfrm>
          <a:prstGeom prst="ellipse">
            <a:avLst/>
          </a:prstGeom>
          <a:gradFill>
            <a:gsLst>
              <a:gs pos="100000">
                <a:srgbClr val="FCCF13"/>
              </a:gs>
              <a:gs pos="0">
                <a:srgbClr val="F3AD09"/>
              </a:gs>
            </a:gsLst>
            <a:lin ang="5400000" scaled="1"/>
          </a:gra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4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0" name="Speech Bubble: Oval 29">
            <a:extLst>
              <a:ext uri="{FF2B5EF4-FFF2-40B4-BE49-F238E27FC236}">
                <a16:creationId xmlns:a16="http://schemas.microsoft.com/office/drawing/2014/main" id="{C8BA45FE-512B-2DCE-B638-01A65EBA99E4}"/>
              </a:ext>
            </a:extLst>
          </p:cNvPr>
          <p:cNvSpPr>
            <a:spLocks noChangeAspect="1"/>
          </p:cNvSpPr>
          <p:nvPr/>
        </p:nvSpPr>
        <p:spPr bwMode="auto">
          <a:xfrm>
            <a:off x="6514726" y="2761832"/>
            <a:ext cx="391423" cy="301452"/>
          </a:xfrm>
          <a:prstGeom prst="wedgeEllipseCallout">
            <a:avLst>
              <a:gd name="adj1" fmla="val -41885"/>
              <a:gd name="adj2" fmla="val 53609"/>
            </a:avLst>
          </a:prstGeom>
          <a:gradFill>
            <a:gsLst>
              <a:gs pos="100000">
                <a:srgbClr val="FCCF13"/>
              </a:gs>
              <a:gs pos="0">
                <a:srgbClr val="F3AD09"/>
              </a:gs>
            </a:gsLst>
            <a:lin ang="5400000" scaled="1"/>
          </a:gra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19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93" algn="l" defTabSz="45719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86" algn="l" defTabSz="45719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79" algn="l" defTabSz="45719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72" algn="l" defTabSz="45719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66" algn="l" defTabSz="45719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59" algn="l" defTabSz="45719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52" algn="l" defTabSz="45719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45" algn="l" defTabSz="45719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1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4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EE1D028-B529-D020-E4AB-BBA917BF6EC1}"/>
              </a:ext>
            </a:extLst>
          </p:cNvPr>
          <p:cNvSpPr txBox="1"/>
          <p:nvPr/>
        </p:nvSpPr>
        <p:spPr>
          <a:xfrm>
            <a:off x="9190129" y="1998736"/>
            <a:ext cx="1683784" cy="120032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rtlCol="0" anchor="ctr">
            <a:spAutoFit/>
          </a:bodyPr>
          <a:lstStyle>
            <a:defPPr>
              <a:defRPr lang="sv-SE"/>
            </a:defPPr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…or use the 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microphones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available in the room! 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3427C4C9-097F-5ECC-0AA6-0391D2591B7B}"/>
              </a:ext>
            </a:extLst>
          </p:cNvPr>
          <p:cNvSpPr/>
          <p:nvPr/>
        </p:nvSpPr>
        <p:spPr>
          <a:xfrm>
            <a:off x="769940" y="2628748"/>
            <a:ext cx="601659" cy="601659"/>
          </a:xfrm>
          <a:prstGeom prst="ellipse">
            <a:avLst/>
          </a:prstGeom>
          <a:gradFill>
            <a:gsLst>
              <a:gs pos="0">
                <a:schemeClr val="accent1"/>
              </a:gs>
              <a:gs pos="100000">
                <a:srgbClr val="FCCE13"/>
              </a:gs>
            </a:gsLst>
            <a:lin ang="13500000" scaled="1"/>
          </a:gradFill>
          <a:ln>
            <a:solidFill>
              <a:srgbClr val="FFFFFF">
                <a:alpha val="18039"/>
              </a:srgbClr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lIns="252000" tIns="270000" rIns="270000" bIns="270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4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1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818866A3-B2EB-4E96-3B22-9C7EEA459383}"/>
              </a:ext>
            </a:extLst>
          </p:cNvPr>
          <p:cNvSpPr/>
          <p:nvPr/>
        </p:nvSpPr>
        <p:spPr>
          <a:xfrm>
            <a:off x="3915104" y="2628748"/>
            <a:ext cx="601659" cy="601659"/>
          </a:xfrm>
          <a:prstGeom prst="ellipse">
            <a:avLst/>
          </a:prstGeom>
          <a:gradFill>
            <a:gsLst>
              <a:gs pos="0">
                <a:schemeClr val="accent1"/>
              </a:gs>
              <a:gs pos="100000">
                <a:srgbClr val="FCCE13"/>
              </a:gs>
            </a:gsLst>
            <a:lin ang="13500000" scaled="1"/>
          </a:gradFill>
          <a:ln>
            <a:solidFill>
              <a:srgbClr val="FFFFFF">
                <a:alpha val="18039"/>
              </a:srgbClr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lIns="252000" tIns="270000" rIns="270000" bIns="270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4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2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8B8CAF5B-06A4-5F4A-66CB-31AF5A9C90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651" y="6356350"/>
            <a:ext cx="383694" cy="365125"/>
          </a:xfrm>
        </p:spPr>
        <p:txBody>
          <a:bodyPr vert="horz" lIns="0" tIns="0" rIns="0" bIns="0"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306B0CF-28DA-4AF7-AD0B-CB9D5901F647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82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5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37500BCB-B589-5C98-C274-E5A05DF38D23}"/>
              </a:ext>
            </a:extLst>
          </p:cNvPr>
          <p:cNvCxnSpPr>
            <a:cxnSpLocks/>
          </p:cNvCxnSpPr>
          <p:nvPr/>
        </p:nvCxnSpPr>
        <p:spPr>
          <a:xfrm>
            <a:off x="766762" y="2146654"/>
            <a:ext cx="2370138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0D29993-D936-EB93-E940-246903DEFDDC}"/>
              </a:ext>
            </a:extLst>
          </p:cNvPr>
          <p:cNvCxnSpPr>
            <a:cxnSpLocks/>
          </p:cNvCxnSpPr>
          <p:nvPr/>
        </p:nvCxnSpPr>
        <p:spPr>
          <a:xfrm>
            <a:off x="766762" y="4994867"/>
            <a:ext cx="2370138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>
            <a:extLst>
              <a:ext uri="{FF2B5EF4-FFF2-40B4-BE49-F238E27FC236}">
                <a16:creationId xmlns:a16="http://schemas.microsoft.com/office/drawing/2014/main" id="{1F698FE2-3ABA-7036-2799-ABD49039671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407" b="407"/>
          <a:stretch/>
        </p:blipFill>
        <p:spPr>
          <a:xfrm>
            <a:off x="8466666" y="3408499"/>
            <a:ext cx="2550284" cy="2529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7570726"/>
      </p:ext>
    </p:extLst>
  </p:cSld>
  <p:clrMapOvr>
    <a:masterClrMapping/>
  </p:clrMapOvr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9A317BD-0366-7C34-EAEF-257334D99F1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FAE6C2F-9671-4944-DC86-FEC07E3627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0647" y="311858"/>
            <a:ext cx="10801091" cy="632402"/>
          </a:xfrm>
        </p:spPr>
        <p:txBody>
          <a:bodyPr/>
          <a:lstStyle/>
          <a:p>
            <a:r>
              <a:rPr lang="en-GB" dirty="0"/>
              <a:t>We value your feedback on this symposium</a:t>
            </a:r>
            <a:br>
              <a:rPr lang="en-GB" dirty="0"/>
            </a:br>
            <a:r>
              <a:rPr lang="en-GB" dirty="0"/>
              <a:t>Please complete a short evaluation form in the EHA app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0B62245-F79D-2716-701E-E99848735E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306B0CF-28DA-4AF7-AD0B-CB9D5901F647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82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6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4BFDBC1-E87C-349E-2840-1D3363CEB74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A4A3463-F3F0-3FA9-AC75-641EEA5FBFC9}"/>
              </a:ext>
            </a:extLst>
          </p:cNvPr>
          <p:cNvSpPr/>
          <p:nvPr/>
        </p:nvSpPr>
        <p:spPr>
          <a:xfrm>
            <a:off x="769940" y="2628748"/>
            <a:ext cx="601659" cy="601659"/>
          </a:xfrm>
          <a:prstGeom prst="ellipse">
            <a:avLst/>
          </a:prstGeom>
          <a:gradFill>
            <a:gsLst>
              <a:gs pos="0">
                <a:schemeClr val="accent1"/>
              </a:gs>
              <a:gs pos="100000">
                <a:srgbClr val="FCCE13"/>
              </a:gs>
            </a:gsLst>
            <a:lin ang="13500000" scaled="1"/>
          </a:gradFill>
          <a:ln>
            <a:solidFill>
              <a:srgbClr val="FFFFFF">
                <a:alpha val="18039"/>
              </a:srgbClr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lIns="252000" tIns="270000" rIns="270000" bIns="270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4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1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A1D3CDC-63B3-0E3C-F6B4-8E5FB74C2ED0}"/>
              </a:ext>
            </a:extLst>
          </p:cNvPr>
          <p:cNvSpPr txBox="1"/>
          <p:nvPr/>
        </p:nvSpPr>
        <p:spPr>
          <a:xfrm>
            <a:off x="769940" y="3300811"/>
            <a:ext cx="262640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can the QR code </a:t>
            </a:r>
            <a:b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using your phone or tablet devic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A8E6543-30E5-74DA-C8F4-6B632F221906}"/>
              </a:ext>
            </a:extLst>
          </p:cNvPr>
          <p:cNvSpPr txBox="1"/>
          <p:nvPr/>
        </p:nvSpPr>
        <p:spPr>
          <a:xfrm>
            <a:off x="769940" y="5103720"/>
            <a:ext cx="720565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Use the ‘Evaluation’ button </a:t>
            </a: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o the right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of your live stream video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14CB7F13-ADD6-58B4-41D1-D3B08F10C189}"/>
              </a:ext>
            </a:extLst>
          </p:cNvPr>
          <p:cNvSpPr/>
          <p:nvPr/>
        </p:nvSpPr>
        <p:spPr>
          <a:xfrm>
            <a:off x="3915104" y="2628748"/>
            <a:ext cx="601659" cy="601659"/>
          </a:xfrm>
          <a:prstGeom prst="ellipse">
            <a:avLst/>
          </a:prstGeom>
          <a:gradFill>
            <a:gsLst>
              <a:gs pos="0">
                <a:schemeClr val="accent1"/>
              </a:gs>
              <a:gs pos="100000">
                <a:srgbClr val="FCCE13"/>
              </a:gs>
            </a:gsLst>
            <a:lin ang="13500000" scaled="1"/>
          </a:gradFill>
          <a:ln>
            <a:solidFill>
              <a:srgbClr val="FFFFFF">
                <a:alpha val="18039"/>
              </a:srgbClr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lIns="252000" tIns="270000" rIns="270000" bIns="270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4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2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7CD3063-DBF0-B4A5-4119-43584871D715}"/>
              </a:ext>
            </a:extLst>
          </p:cNvPr>
          <p:cNvSpPr txBox="1"/>
          <p:nvPr/>
        </p:nvSpPr>
        <p:spPr>
          <a:xfrm>
            <a:off x="3915104" y="3300811"/>
            <a:ext cx="186657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elect </a:t>
            </a:r>
            <a:b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Evaluation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6E6D13D-0236-7F38-4E4B-F5C4F67DE44E}"/>
              </a:ext>
            </a:extLst>
          </p:cNvPr>
          <p:cNvSpPr txBox="1"/>
          <p:nvPr/>
        </p:nvSpPr>
        <p:spPr>
          <a:xfrm>
            <a:off x="769941" y="4594757"/>
            <a:ext cx="262640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Virtual attendees: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A95603B-853F-0E2B-E811-1C1DED523022}"/>
              </a:ext>
            </a:extLst>
          </p:cNvPr>
          <p:cNvSpPr txBox="1"/>
          <p:nvPr/>
        </p:nvSpPr>
        <p:spPr>
          <a:xfrm>
            <a:off x="766762" y="1668250"/>
            <a:ext cx="28408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In-person attendees:</a:t>
            </a: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6D0C406D-373C-E65E-447D-2EE5331D3B0A}"/>
              </a:ext>
            </a:extLst>
          </p:cNvPr>
          <p:cNvCxnSpPr>
            <a:cxnSpLocks/>
          </p:cNvCxnSpPr>
          <p:nvPr/>
        </p:nvCxnSpPr>
        <p:spPr>
          <a:xfrm>
            <a:off x="766762" y="2146654"/>
            <a:ext cx="2370138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692656E4-AFA5-AD99-149A-75181655C2B1}"/>
              </a:ext>
            </a:extLst>
          </p:cNvPr>
          <p:cNvCxnSpPr>
            <a:cxnSpLocks/>
          </p:cNvCxnSpPr>
          <p:nvPr/>
        </p:nvCxnSpPr>
        <p:spPr>
          <a:xfrm>
            <a:off x="766762" y="4994867"/>
            <a:ext cx="2370138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42DE0F26-B1BD-DF2F-CEE6-DA58694DEFD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407" b="407"/>
          <a:stretch/>
        </p:blipFill>
        <p:spPr>
          <a:xfrm>
            <a:off x="8466666" y="3408499"/>
            <a:ext cx="2550284" cy="2529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9149404"/>
      </p:ext>
    </p:extLst>
  </p:cSld>
  <p:clrMapOvr>
    <a:masterClrMapping/>
  </p:clrMapOvr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49967B-1EB1-8588-9394-BA6BA1D613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50" name="Free-form: Shape 5649">
            <a:extLst>
              <a:ext uri="{FF2B5EF4-FFF2-40B4-BE49-F238E27FC236}">
                <a16:creationId xmlns:a16="http://schemas.microsoft.com/office/drawing/2014/main" id="{DEE07B06-83FC-13EA-9877-E8DE59EC0933}"/>
              </a:ext>
            </a:extLst>
          </p:cNvPr>
          <p:cNvSpPr/>
          <p:nvPr/>
        </p:nvSpPr>
        <p:spPr>
          <a:xfrm>
            <a:off x="-15240" y="2235602"/>
            <a:ext cx="7482840" cy="2933700"/>
          </a:xfrm>
          <a:custGeom>
            <a:avLst/>
            <a:gdLst>
              <a:gd name="csX0" fmla="*/ 7429500 w 7429500"/>
              <a:gd name="csY0" fmla="*/ 2880360 h 2933700"/>
              <a:gd name="csX1" fmla="*/ 0 w 7429500"/>
              <a:gd name="csY1" fmla="*/ 0 h 2933700"/>
              <a:gd name="csX2" fmla="*/ 15240 w 7429500"/>
              <a:gd name="csY2" fmla="*/ 2933700 h 2933700"/>
              <a:gd name="csX3" fmla="*/ 7429500 w 7429500"/>
              <a:gd name="csY3" fmla="*/ 2880360 h 2933700"/>
              <a:gd name="csX0" fmla="*/ 7482840 w 7482840"/>
              <a:gd name="csY0" fmla="*/ 2446020 h 2933700"/>
              <a:gd name="csX1" fmla="*/ 0 w 7482840"/>
              <a:gd name="csY1" fmla="*/ 0 h 2933700"/>
              <a:gd name="csX2" fmla="*/ 15240 w 7482840"/>
              <a:gd name="csY2" fmla="*/ 2933700 h 2933700"/>
              <a:gd name="csX3" fmla="*/ 7482840 w 7482840"/>
              <a:gd name="csY3" fmla="*/ 2446020 h 293370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</a:cxnLst>
            <a:rect l="l" t="t" r="r" b="b"/>
            <a:pathLst>
              <a:path w="7482840" h="2933700">
                <a:moveTo>
                  <a:pt x="7482840" y="2446020"/>
                </a:moveTo>
                <a:lnTo>
                  <a:pt x="0" y="0"/>
                </a:lnTo>
                <a:lnTo>
                  <a:pt x="15240" y="2933700"/>
                </a:lnTo>
                <a:lnTo>
                  <a:pt x="7482840" y="2446020"/>
                </a:lnTo>
                <a:close/>
              </a:path>
            </a:pathLst>
          </a:custGeom>
          <a:solidFill>
            <a:srgbClr val="4CA1A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833" name="Rectangle 6831">
            <a:extLst>
              <a:ext uri="{FF2B5EF4-FFF2-40B4-BE49-F238E27FC236}">
                <a16:creationId xmlns:a16="http://schemas.microsoft.com/office/drawing/2014/main" id="{A06DE67E-C38B-6B5F-93DA-542A0ACE7CBF}"/>
              </a:ext>
            </a:extLst>
          </p:cNvPr>
          <p:cNvSpPr/>
          <p:nvPr/>
        </p:nvSpPr>
        <p:spPr>
          <a:xfrm>
            <a:off x="-15241" y="4686481"/>
            <a:ext cx="11208951" cy="2171519"/>
          </a:xfrm>
          <a:custGeom>
            <a:avLst/>
            <a:gdLst>
              <a:gd name="csX0" fmla="*/ 0 w 8532410"/>
              <a:gd name="csY0" fmla="*/ 0 h 2170332"/>
              <a:gd name="csX1" fmla="*/ 8532410 w 8532410"/>
              <a:gd name="csY1" fmla="*/ 0 h 2170332"/>
              <a:gd name="csX2" fmla="*/ 8532410 w 8532410"/>
              <a:gd name="csY2" fmla="*/ 2170332 h 2170332"/>
              <a:gd name="csX3" fmla="*/ 0 w 8532410"/>
              <a:gd name="csY3" fmla="*/ 2170332 h 2170332"/>
              <a:gd name="csX4" fmla="*/ 0 w 8532410"/>
              <a:gd name="csY4" fmla="*/ 0 h 2170332"/>
              <a:gd name="csX0" fmla="*/ 0 w 12082060"/>
              <a:gd name="csY0" fmla="*/ 0 h 2170332"/>
              <a:gd name="csX1" fmla="*/ 8532410 w 12082060"/>
              <a:gd name="csY1" fmla="*/ 0 h 2170332"/>
              <a:gd name="csX2" fmla="*/ 12082060 w 12082060"/>
              <a:gd name="csY2" fmla="*/ 2163982 h 2170332"/>
              <a:gd name="csX3" fmla="*/ 0 w 12082060"/>
              <a:gd name="csY3" fmla="*/ 2170332 h 2170332"/>
              <a:gd name="csX4" fmla="*/ 0 w 12082060"/>
              <a:gd name="csY4" fmla="*/ 0 h 2170332"/>
              <a:gd name="csX0" fmla="*/ 0 w 12082060"/>
              <a:gd name="csY0" fmla="*/ 0 h 2170332"/>
              <a:gd name="csX1" fmla="*/ 8513360 w 12082060"/>
              <a:gd name="csY1" fmla="*/ 133350 h 2170332"/>
              <a:gd name="csX2" fmla="*/ 12082060 w 12082060"/>
              <a:gd name="csY2" fmla="*/ 2163982 h 2170332"/>
              <a:gd name="csX3" fmla="*/ 0 w 12082060"/>
              <a:gd name="csY3" fmla="*/ 2170332 h 2170332"/>
              <a:gd name="csX4" fmla="*/ 0 w 12082060"/>
              <a:gd name="csY4" fmla="*/ 0 h 2170332"/>
              <a:gd name="csX0" fmla="*/ 0 w 12082060"/>
              <a:gd name="csY0" fmla="*/ 0 h 2170332"/>
              <a:gd name="csX1" fmla="*/ 8475260 w 12082060"/>
              <a:gd name="csY1" fmla="*/ 6350 h 2170332"/>
              <a:gd name="csX2" fmla="*/ 12082060 w 12082060"/>
              <a:gd name="csY2" fmla="*/ 2163982 h 2170332"/>
              <a:gd name="csX3" fmla="*/ 0 w 12082060"/>
              <a:gd name="csY3" fmla="*/ 2170332 h 2170332"/>
              <a:gd name="csX4" fmla="*/ 0 w 12082060"/>
              <a:gd name="csY4" fmla="*/ 0 h 2170332"/>
              <a:gd name="csX0" fmla="*/ 0 w 12120160"/>
              <a:gd name="csY0" fmla="*/ 0 h 2170332"/>
              <a:gd name="csX1" fmla="*/ 8513360 w 12120160"/>
              <a:gd name="csY1" fmla="*/ 6350 h 2170332"/>
              <a:gd name="csX2" fmla="*/ 12120160 w 12120160"/>
              <a:gd name="csY2" fmla="*/ 2163982 h 2170332"/>
              <a:gd name="csX3" fmla="*/ 38100 w 12120160"/>
              <a:gd name="csY3" fmla="*/ 2170332 h 2170332"/>
              <a:gd name="csX4" fmla="*/ 0 w 12120160"/>
              <a:gd name="csY4" fmla="*/ 0 h 2170332"/>
              <a:gd name="csX0" fmla="*/ 0 w 12120160"/>
              <a:gd name="csY0" fmla="*/ 0 h 2189382"/>
              <a:gd name="csX1" fmla="*/ 8513360 w 12120160"/>
              <a:gd name="csY1" fmla="*/ 6350 h 2189382"/>
              <a:gd name="csX2" fmla="*/ 12120160 w 12120160"/>
              <a:gd name="csY2" fmla="*/ 2163982 h 2189382"/>
              <a:gd name="csX3" fmla="*/ 12700 w 12120160"/>
              <a:gd name="csY3" fmla="*/ 2189382 h 2189382"/>
              <a:gd name="csX4" fmla="*/ 0 w 12120160"/>
              <a:gd name="csY4" fmla="*/ 0 h 2189382"/>
              <a:gd name="csX0" fmla="*/ 7119 w 12127279"/>
              <a:gd name="csY0" fmla="*/ 0 h 2183032"/>
              <a:gd name="csX1" fmla="*/ 8520479 w 12127279"/>
              <a:gd name="csY1" fmla="*/ 6350 h 2183032"/>
              <a:gd name="csX2" fmla="*/ 12127279 w 12127279"/>
              <a:gd name="csY2" fmla="*/ 2163982 h 2183032"/>
              <a:gd name="csX3" fmla="*/ 769 w 12127279"/>
              <a:gd name="csY3" fmla="*/ 2183032 h 2183032"/>
              <a:gd name="csX4" fmla="*/ 7119 w 12127279"/>
              <a:gd name="csY4" fmla="*/ 0 h 2183032"/>
              <a:gd name="csX0" fmla="*/ 7119 w 12103466"/>
              <a:gd name="csY0" fmla="*/ 0 h 2183032"/>
              <a:gd name="csX1" fmla="*/ 8520479 w 12103466"/>
              <a:gd name="csY1" fmla="*/ 6350 h 2183032"/>
              <a:gd name="csX2" fmla="*/ 12103466 w 12103466"/>
              <a:gd name="csY2" fmla="*/ 2180650 h 2183032"/>
              <a:gd name="csX3" fmla="*/ 769 w 12103466"/>
              <a:gd name="csY3" fmla="*/ 2183032 h 2183032"/>
              <a:gd name="csX4" fmla="*/ 7119 w 12103466"/>
              <a:gd name="csY4" fmla="*/ 0 h 218303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2103466" h="2183032">
                <a:moveTo>
                  <a:pt x="7119" y="0"/>
                </a:moveTo>
                <a:lnTo>
                  <a:pt x="8520479" y="6350"/>
                </a:lnTo>
                <a:lnTo>
                  <a:pt x="12103466" y="2180650"/>
                </a:lnTo>
                <a:lnTo>
                  <a:pt x="769" y="2183032"/>
                </a:lnTo>
                <a:cubicBezTo>
                  <a:pt x="-3464" y="1453238"/>
                  <a:pt x="11352" y="729794"/>
                  <a:pt x="71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7" name="Free-form: Shape 56">
            <a:extLst>
              <a:ext uri="{FF2B5EF4-FFF2-40B4-BE49-F238E27FC236}">
                <a16:creationId xmlns:a16="http://schemas.microsoft.com/office/drawing/2014/main" id="{6D6D7F02-4080-467B-7237-8585B1DEBB14}"/>
              </a:ext>
            </a:extLst>
          </p:cNvPr>
          <p:cNvSpPr/>
          <p:nvPr/>
        </p:nvSpPr>
        <p:spPr>
          <a:xfrm>
            <a:off x="-7690" y="4672014"/>
            <a:ext cx="7627416" cy="235696"/>
          </a:xfrm>
          <a:custGeom>
            <a:avLst/>
            <a:gdLst>
              <a:gd name="csX0" fmla="*/ 5277221 w 7627416"/>
              <a:gd name="csY0" fmla="*/ 11057 h 235696"/>
              <a:gd name="csX1" fmla="*/ 6304303 w 7627416"/>
              <a:gd name="csY1" fmla="*/ 12581 h 235696"/>
              <a:gd name="csX2" fmla="*/ 6597098 w 7627416"/>
              <a:gd name="csY2" fmla="*/ 235696 h 235696"/>
              <a:gd name="csX3" fmla="*/ 5457615 w 7627416"/>
              <a:gd name="csY3" fmla="*/ 234880 h 235696"/>
              <a:gd name="csX4" fmla="*/ 6301334 w 7627416"/>
              <a:gd name="csY4" fmla="*/ 10318 h 235696"/>
              <a:gd name="csX5" fmla="*/ 7453065 w 7627416"/>
              <a:gd name="csY5" fmla="*/ 12699 h 235696"/>
              <a:gd name="csX6" fmla="*/ 7627416 w 7627416"/>
              <a:gd name="csY6" fmla="*/ 135221 h 235696"/>
              <a:gd name="csX7" fmla="*/ 7454653 w 7627416"/>
              <a:gd name="csY7" fmla="*/ 14287 h 235696"/>
              <a:gd name="csX8" fmla="*/ 6304303 w 7627416"/>
              <a:gd name="csY8" fmla="*/ 12581 h 235696"/>
              <a:gd name="csX9" fmla="*/ 3386437 w 7627416"/>
              <a:gd name="csY9" fmla="*/ 8251 h 235696"/>
              <a:gd name="csX10" fmla="*/ 4760417 w 7627416"/>
              <a:gd name="csY10" fmla="*/ 10290 h 235696"/>
              <a:gd name="csX11" fmla="*/ 4343153 w 7627416"/>
              <a:gd name="csY11" fmla="*/ 13494 h 235696"/>
              <a:gd name="csX12" fmla="*/ 4378006 w 7627416"/>
              <a:gd name="csY12" fmla="*/ 234108 h 235696"/>
              <a:gd name="csX13" fmla="*/ 3299517 w 7627416"/>
              <a:gd name="csY13" fmla="*/ 233336 h 235696"/>
              <a:gd name="csX14" fmla="*/ 5273428 w 7627416"/>
              <a:gd name="csY14" fmla="*/ 6350 h 235696"/>
              <a:gd name="csX15" fmla="*/ 5277221 w 7627416"/>
              <a:gd name="csY15" fmla="*/ 11057 h 235696"/>
              <a:gd name="csX16" fmla="*/ 4760417 w 7627416"/>
              <a:gd name="csY16" fmla="*/ 10290 h 235696"/>
              <a:gd name="csX17" fmla="*/ 3387478 w 7627416"/>
              <a:gd name="csY17" fmla="*/ 5556 h 235696"/>
              <a:gd name="csX18" fmla="*/ 3386437 w 7627416"/>
              <a:gd name="csY18" fmla="*/ 8251 h 235696"/>
              <a:gd name="csX19" fmla="*/ 2505645 w 7627416"/>
              <a:gd name="csY19" fmla="*/ 6945 h 235696"/>
              <a:gd name="csX20" fmla="*/ 738016 w 7627416"/>
              <a:gd name="csY20" fmla="*/ 4322 h 235696"/>
              <a:gd name="csX21" fmla="*/ 2505645 w 7627416"/>
              <a:gd name="csY21" fmla="*/ 6945 h 235696"/>
              <a:gd name="csX22" fmla="*/ 2379416 w 7627416"/>
              <a:gd name="csY22" fmla="*/ 7143 h 235696"/>
              <a:gd name="csX23" fmla="*/ 2147825 w 7627416"/>
              <a:gd name="csY23" fmla="*/ 232511 h 235696"/>
              <a:gd name="csX24" fmla="*/ 995448 w 7627416"/>
              <a:gd name="csY24" fmla="*/ 231686 h 235696"/>
              <a:gd name="csX25" fmla="*/ 1308647 w 7627416"/>
              <a:gd name="csY25" fmla="*/ 9525 h 235696"/>
              <a:gd name="csX26" fmla="*/ 0 w 7627416"/>
              <a:gd name="csY26" fmla="*/ 3227 h 235696"/>
              <a:gd name="csX27" fmla="*/ 257054 w 7627416"/>
              <a:gd name="csY27" fmla="*/ 3608 h 235696"/>
              <a:gd name="csX28" fmla="*/ 0 w 7627416"/>
              <a:gd name="csY28" fmla="*/ 135753 h 235696"/>
              <a:gd name="csX29" fmla="*/ 264072 w 7627416"/>
              <a:gd name="csY29" fmla="*/ 0 h 235696"/>
              <a:gd name="csX30" fmla="*/ 738016 w 7627416"/>
              <a:gd name="csY30" fmla="*/ 4322 h 235696"/>
              <a:gd name="csX31" fmla="*/ 257054 w 7627416"/>
              <a:gd name="csY31" fmla="*/ 3608 h 23569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</a:cxnLst>
            <a:rect l="l" t="t" r="r" b="b"/>
            <a:pathLst>
              <a:path w="7627416" h="235696">
                <a:moveTo>
                  <a:pt x="5277221" y="11057"/>
                </a:moveTo>
                <a:lnTo>
                  <a:pt x="6304303" y="12581"/>
                </a:lnTo>
                <a:lnTo>
                  <a:pt x="6597098" y="235696"/>
                </a:lnTo>
                <a:lnTo>
                  <a:pt x="5457615" y="234880"/>
                </a:lnTo>
                <a:close/>
                <a:moveTo>
                  <a:pt x="6301334" y="10318"/>
                </a:moveTo>
                <a:lnTo>
                  <a:pt x="7453065" y="12699"/>
                </a:lnTo>
                <a:lnTo>
                  <a:pt x="7627416" y="135221"/>
                </a:lnTo>
                <a:lnTo>
                  <a:pt x="7454653" y="14287"/>
                </a:lnTo>
                <a:lnTo>
                  <a:pt x="6304303" y="12581"/>
                </a:lnTo>
                <a:close/>
                <a:moveTo>
                  <a:pt x="3386437" y="8251"/>
                </a:moveTo>
                <a:lnTo>
                  <a:pt x="4760417" y="10290"/>
                </a:lnTo>
                <a:lnTo>
                  <a:pt x="4343153" y="13494"/>
                </a:lnTo>
                <a:lnTo>
                  <a:pt x="4378006" y="234108"/>
                </a:lnTo>
                <a:lnTo>
                  <a:pt x="3299517" y="233336"/>
                </a:lnTo>
                <a:close/>
                <a:moveTo>
                  <a:pt x="5273428" y="6350"/>
                </a:moveTo>
                <a:lnTo>
                  <a:pt x="5277221" y="11057"/>
                </a:lnTo>
                <a:lnTo>
                  <a:pt x="4760417" y="10290"/>
                </a:lnTo>
                <a:close/>
                <a:moveTo>
                  <a:pt x="3387478" y="5556"/>
                </a:moveTo>
                <a:lnTo>
                  <a:pt x="3386437" y="8251"/>
                </a:lnTo>
                <a:lnTo>
                  <a:pt x="2505645" y="6945"/>
                </a:lnTo>
                <a:close/>
                <a:moveTo>
                  <a:pt x="738016" y="4322"/>
                </a:moveTo>
                <a:lnTo>
                  <a:pt x="2505645" y="6945"/>
                </a:lnTo>
                <a:lnTo>
                  <a:pt x="2379416" y="7143"/>
                </a:lnTo>
                <a:lnTo>
                  <a:pt x="2147825" y="232511"/>
                </a:lnTo>
                <a:lnTo>
                  <a:pt x="995448" y="231686"/>
                </a:lnTo>
                <a:lnTo>
                  <a:pt x="1308647" y="9525"/>
                </a:lnTo>
                <a:close/>
                <a:moveTo>
                  <a:pt x="0" y="3227"/>
                </a:moveTo>
                <a:lnTo>
                  <a:pt x="257054" y="3608"/>
                </a:lnTo>
                <a:lnTo>
                  <a:pt x="0" y="135753"/>
                </a:lnTo>
                <a:close/>
                <a:moveTo>
                  <a:pt x="264072" y="0"/>
                </a:moveTo>
                <a:lnTo>
                  <a:pt x="738016" y="4322"/>
                </a:lnTo>
                <a:lnTo>
                  <a:pt x="257054" y="3608"/>
                </a:lnTo>
                <a:close/>
              </a:path>
            </a:pathLst>
          </a:cu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911" name="Free-form: Shape 6910">
            <a:extLst>
              <a:ext uri="{FF2B5EF4-FFF2-40B4-BE49-F238E27FC236}">
                <a16:creationId xmlns:a16="http://schemas.microsoft.com/office/drawing/2014/main" id="{746B69FD-1CF5-3E06-D0E8-866E41744F6C}"/>
              </a:ext>
            </a:extLst>
          </p:cNvPr>
          <p:cNvSpPr/>
          <p:nvPr/>
        </p:nvSpPr>
        <p:spPr>
          <a:xfrm>
            <a:off x="6589408" y="4903788"/>
            <a:ext cx="2837214" cy="995314"/>
          </a:xfrm>
          <a:custGeom>
            <a:avLst/>
            <a:gdLst>
              <a:gd name="csX0" fmla="*/ 1030318 w 2837214"/>
              <a:gd name="csY0" fmla="*/ 0 h 1091868"/>
              <a:gd name="csX1" fmla="*/ 2837214 w 2837214"/>
              <a:gd name="csY1" fmla="*/ 1091868 h 1091868"/>
              <a:gd name="csX2" fmla="*/ 1322078 w 2837214"/>
              <a:gd name="csY2" fmla="*/ 1089134 h 1091868"/>
              <a:gd name="csX3" fmla="*/ 761575 w 2837214"/>
              <a:gd name="csY3" fmla="*/ 669987 h 1091868"/>
              <a:gd name="csX4" fmla="*/ 2127555 w 2837214"/>
              <a:gd name="csY4" fmla="*/ 666466 h 1091868"/>
              <a:gd name="csX5" fmla="*/ 1594155 w 2837214"/>
              <a:gd name="csY5" fmla="*/ 342616 h 1091868"/>
              <a:gd name="csX6" fmla="*/ 323801 w 2837214"/>
              <a:gd name="csY6" fmla="*/ 342616 h 1091868"/>
              <a:gd name="csX7" fmla="*/ 0 w 2837214"/>
              <a:gd name="csY7" fmla="*/ 100475 h 1091868"/>
              <a:gd name="csX8" fmla="*/ 1175055 w 2837214"/>
              <a:gd name="csY8" fmla="*/ 101316 h 1091868"/>
              <a:gd name="csX9" fmla="*/ 1030318 w 2837214"/>
              <a:gd name="csY9" fmla="*/ 0 h 1091868"/>
              <a:gd name="csX0" fmla="*/ 1175055 w 2837214"/>
              <a:gd name="csY0" fmla="*/ 841 h 991393"/>
              <a:gd name="csX1" fmla="*/ 2837214 w 2837214"/>
              <a:gd name="csY1" fmla="*/ 991393 h 991393"/>
              <a:gd name="csX2" fmla="*/ 1322078 w 2837214"/>
              <a:gd name="csY2" fmla="*/ 988659 h 991393"/>
              <a:gd name="csX3" fmla="*/ 761575 w 2837214"/>
              <a:gd name="csY3" fmla="*/ 569512 h 991393"/>
              <a:gd name="csX4" fmla="*/ 2127555 w 2837214"/>
              <a:gd name="csY4" fmla="*/ 565991 h 991393"/>
              <a:gd name="csX5" fmla="*/ 1594155 w 2837214"/>
              <a:gd name="csY5" fmla="*/ 242141 h 991393"/>
              <a:gd name="csX6" fmla="*/ 323801 w 2837214"/>
              <a:gd name="csY6" fmla="*/ 242141 h 991393"/>
              <a:gd name="csX7" fmla="*/ 0 w 2837214"/>
              <a:gd name="csY7" fmla="*/ 0 h 991393"/>
              <a:gd name="csX8" fmla="*/ 1175055 w 2837214"/>
              <a:gd name="csY8" fmla="*/ 841 h 991393"/>
              <a:gd name="csX0" fmla="*/ 1201249 w 2837214"/>
              <a:gd name="csY0" fmla="*/ 0 h 995314"/>
              <a:gd name="csX1" fmla="*/ 2837214 w 2837214"/>
              <a:gd name="csY1" fmla="*/ 995314 h 995314"/>
              <a:gd name="csX2" fmla="*/ 1322078 w 2837214"/>
              <a:gd name="csY2" fmla="*/ 992580 h 995314"/>
              <a:gd name="csX3" fmla="*/ 761575 w 2837214"/>
              <a:gd name="csY3" fmla="*/ 573433 h 995314"/>
              <a:gd name="csX4" fmla="*/ 2127555 w 2837214"/>
              <a:gd name="csY4" fmla="*/ 569912 h 995314"/>
              <a:gd name="csX5" fmla="*/ 1594155 w 2837214"/>
              <a:gd name="csY5" fmla="*/ 246062 h 995314"/>
              <a:gd name="csX6" fmla="*/ 323801 w 2837214"/>
              <a:gd name="csY6" fmla="*/ 246062 h 995314"/>
              <a:gd name="csX7" fmla="*/ 0 w 2837214"/>
              <a:gd name="csY7" fmla="*/ 3921 h 995314"/>
              <a:gd name="csX8" fmla="*/ 1201249 w 2837214"/>
              <a:gd name="csY8" fmla="*/ 0 h 995314"/>
              <a:gd name="csX0" fmla="*/ 1201249 w 2837214"/>
              <a:gd name="csY0" fmla="*/ 0 h 995314"/>
              <a:gd name="csX1" fmla="*/ 2837214 w 2837214"/>
              <a:gd name="csY1" fmla="*/ 995314 h 995314"/>
              <a:gd name="csX2" fmla="*/ 1322078 w 2837214"/>
              <a:gd name="csY2" fmla="*/ 992580 h 995314"/>
              <a:gd name="csX3" fmla="*/ 761575 w 2837214"/>
              <a:gd name="csY3" fmla="*/ 573433 h 995314"/>
              <a:gd name="csX4" fmla="*/ 2127555 w 2837214"/>
              <a:gd name="csY4" fmla="*/ 569912 h 995314"/>
              <a:gd name="csX5" fmla="*/ 1610824 w 2837214"/>
              <a:gd name="csY5" fmla="*/ 246062 h 995314"/>
              <a:gd name="csX6" fmla="*/ 323801 w 2837214"/>
              <a:gd name="csY6" fmla="*/ 246062 h 995314"/>
              <a:gd name="csX7" fmla="*/ 0 w 2837214"/>
              <a:gd name="csY7" fmla="*/ 3921 h 995314"/>
              <a:gd name="csX8" fmla="*/ 1201249 w 2837214"/>
              <a:gd name="csY8" fmla="*/ 0 h 995314"/>
              <a:gd name="csX0" fmla="*/ 1201249 w 2837214"/>
              <a:gd name="csY0" fmla="*/ 0 h 995314"/>
              <a:gd name="csX1" fmla="*/ 2837214 w 2837214"/>
              <a:gd name="csY1" fmla="*/ 995314 h 995314"/>
              <a:gd name="csX2" fmla="*/ 1322078 w 2837214"/>
              <a:gd name="csY2" fmla="*/ 992580 h 995314"/>
              <a:gd name="csX3" fmla="*/ 761575 w 2837214"/>
              <a:gd name="csY3" fmla="*/ 573433 h 995314"/>
              <a:gd name="csX4" fmla="*/ 2137080 w 2837214"/>
              <a:gd name="csY4" fmla="*/ 565149 h 995314"/>
              <a:gd name="csX5" fmla="*/ 1610824 w 2837214"/>
              <a:gd name="csY5" fmla="*/ 246062 h 995314"/>
              <a:gd name="csX6" fmla="*/ 323801 w 2837214"/>
              <a:gd name="csY6" fmla="*/ 246062 h 995314"/>
              <a:gd name="csX7" fmla="*/ 0 w 2837214"/>
              <a:gd name="csY7" fmla="*/ 3921 h 995314"/>
              <a:gd name="csX8" fmla="*/ 1201249 w 2837214"/>
              <a:gd name="csY8" fmla="*/ 0 h 99531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</a:cxnLst>
            <a:rect l="l" t="t" r="r" b="b"/>
            <a:pathLst>
              <a:path w="2837214" h="995314">
                <a:moveTo>
                  <a:pt x="1201249" y="0"/>
                </a:moveTo>
                <a:lnTo>
                  <a:pt x="2837214" y="995314"/>
                </a:lnTo>
                <a:lnTo>
                  <a:pt x="1322078" y="992580"/>
                </a:lnTo>
                <a:lnTo>
                  <a:pt x="761575" y="573433"/>
                </a:lnTo>
                <a:lnTo>
                  <a:pt x="2137080" y="565149"/>
                </a:lnTo>
                <a:lnTo>
                  <a:pt x="1610824" y="246062"/>
                </a:lnTo>
                <a:lnTo>
                  <a:pt x="323801" y="246062"/>
                </a:lnTo>
                <a:lnTo>
                  <a:pt x="0" y="3921"/>
                </a:lnTo>
                <a:lnTo>
                  <a:pt x="1201249" y="0"/>
                </a:lnTo>
                <a:close/>
              </a:path>
            </a:pathLst>
          </a:cu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9" name="Free-form: Shape 58">
            <a:extLst>
              <a:ext uri="{FF2B5EF4-FFF2-40B4-BE49-F238E27FC236}">
                <a16:creationId xmlns:a16="http://schemas.microsoft.com/office/drawing/2014/main" id="{FB2E6089-38A8-0406-801E-6CF23347D6E8}"/>
              </a:ext>
            </a:extLst>
          </p:cNvPr>
          <p:cNvSpPr/>
          <p:nvPr/>
        </p:nvSpPr>
        <p:spPr>
          <a:xfrm>
            <a:off x="-7690" y="4902988"/>
            <a:ext cx="995448" cy="246863"/>
          </a:xfrm>
          <a:custGeom>
            <a:avLst/>
            <a:gdLst>
              <a:gd name="csX0" fmla="*/ 0 w 995448"/>
              <a:gd name="csY0" fmla="*/ 0 h 246863"/>
              <a:gd name="csX1" fmla="*/ 995448 w 995448"/>
              <a:gd name="csY1" fmla="*/ 712 h 246863"/>
              <a:gd name="csX2" fmla="*/ 648917 w 995448"/>
              <a:gd name="csY2" fmla="*/ 246863 h 246863"/>
              <a:gd name="csX3" fmla="*/ 0 w 995448"/>
              <a:gd name="csY3" fmla="*/ 246863 h 24686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</a:cxnLst>
            <a:rect l="l" t="t" r="r" b="b"/>
            <a:pathLst>
              <a:path w="995448" h="246863">
                <a:moveTo>
                  <a:pt x="0" y="0"/>
                </a:moveTo>
                <a:lnTo>
                  <a:pt x="995448" y="712"/>
                </a:lnTo>
                <a:lnTo>
                  <a:pt x="648917" y="246863"/>
                </a:lnTo>
                <a:lnTo>
                  <a:pt x="0" y="246863"/>
                </a:lnTo>
                <a:close/>
              </a:path>
            </a:pathLst>
          </a:cu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913" name="Free-form: Shape 6912">
            <a:extLst>
              <a:ext uri="{FF2B5EF4-FFF2-40B4-BE49-F238E27FC236}">
                <a16:creationId xmlns:a16="http://schemas.microsoft.com/office/drawing/2014/main" id="{16C23670-9367-9263-E648-D5E542954DA6}"/>
              </a:ext>
            </a:extLst>
          </p:cNvPr>
          <p:cNvSpPr/>
          <p:nvPr/>
        </p:nvSpPr>
        <p:spPr>
          <a:xfrm>
            <a:off x="1885137" y="4904524"/>
            <a:ext cx="1406690" cy="245326"/>
          </a:xfrm>
          <a:custGeom>
            <a:avLst/>
            <a:gdLst>
              <a:gd name="csX0" fmla="*/ 254998 w 1406690"/>
              <a:gd name="csY0" fmla="*/ 0 h 245326"/>
              <a:gd name="csX1" fmla="*/ 1406690 w 1406690"/>
              <a:gd name="csY1" fmla="*/ 825 h 245326"/>
              <a:gd name="csX2" fmla="*/ 1313751 w 1406690"/>
              <a:gd name="csY2" fmla="*/ 245326 h 245326"/>
              <a:gd name="csX3" fmla="*/ 0 w 1406690"/>
              <a:gd name="csY3" fmla="*/ 245326 h 245326"/>
              <a:gd name="csX4" fmla="*/ 254998 w 1406690"/>
              <a:gd name="csY4" fmla="*/ 0 h 24532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406690" h="245326">
                <a:moveTo>
                  <a:pt x="254998" y="0"/>
                </a:moveTo>
                <a:lnTo>
                  <a:pt x="1406690" y="825"/>
                </a:lnTo>
                <a:lnTo>
                  <a:pt x="1313751" y="245326"/>
                </a:lnTo>
                <a:lnTo>
                  <a:pt x="0" y="245326"/>
                </a:lnTo>
                <a:lnTo>
                  <a:pt x="254998" y="0"/>
                </a:lnTo>
                <a:close/>
              </a:path>
            </a:pathLst>
          </a:cu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914" name="Free-form: Shape 6913">
            <a:extLst>
              <a:ext uri="{FF2B5EF4-FFF2-40B4-BE49-F238E27FC236}">
                <a16:creationId xmlns:a16="http://schemas.microsoft.com/office/drawing/2014/main" id="{849B13A2-C8FF-D2F4-D9D9-C839C39ABAEF}"/>
              </a:ext>
            </a:extLst>
          </p:cNvPr>
          <p:cNvSpPr/>
          <p:nvPr/>
        </p:nvSpPr>
        <p:spPr>
          <a:xfrm>
            <a:off x="4370316" y="4906122"/>
            <a:ext cx="1277679" cy="243729"/>
          </a:xfrm>
          <a:custGeom>
            <a:avLst/>
            <a:gdLst>
              <a:gd name="csX0" fmla="*/ 0 w 1277679"/>
              <a:gd name="csY0" fmla="*/ 0 h 243729"/>
              <a:gd name="csX1" fmla="*/ 1079609 w 1277679"/>
              <a:gd name="csY1" fmla="*/ 772 h 243729"/>
              <a:gd name="csX2" fmla="*/ 1277679 w 1277679"/>
              <a:gd name="csY2" fmla="*/ 243729 h 243729"/>
              <a:gd name="csX3" fmla="*/ 39792 w 1277679"/>
              <a:gd name="csY3" fmla="*/ 243729 h 243729"/>
              <a:gd name="csX4" fmla="*/ 0 w 1277679"/>
              <a:gd name="csY4" fmla="*/ 0 h 24372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277679" h="243729">
                <a:moveTo>
                  <a:pt x="0" y="0"/>
                </a:moveTo>
                <a:lnTo>
                  <a:pt x="1079609" y="772"/>
                </a:lnTo>
                <a:lnTo>
                  <a:pt x="1277679" y="243729"/>
                </a:lnTo>
                <a:lnTo>
                  <a:pt x="39792" y="24372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916" name="Free-form: Shape 6915">
            <a:extLst>
              <a:ext uri="{FF2B5EF4-FFF2-40B4-BE49-F238E27FC236}">
                <a16:creationId xmlns:a16="http://schemas.microsoft.com/office/drawing/2014/main" id="{FF607038-80D8-A39D-96F6-021A56539979}"/>
              </a:ext>
            </a:extLst>
          </p:cNvPr>
          <p:cNvSpPr/>
          <p:nvPr/>
        </p:nvSpPr>
        <p:spPr>
          <a:xfrm>
            <a:off x="154242" y="5149851"/>
            <a:ext cx="1730895" cy="345919"/>
          </a:xfrm>
          <a:custGeom>
            <a:avLst/>
            <a:gdLst>
              <a:gd name="csX0" fmla="*/ 486985 w 1730895"/>
              <a:gd name="csY0" fmla="*/ 0 h 345919"/>
              <a:gd name="csX1" fmla="*/ 1730895 w 1730895"/>
              <a:gd name="csY1" fmla="*/ 0 h 345919"/>
              <a:gd name="csX2" fmla="*/ 1375021 w 1730895"/>
              <a:gd name="csY2" fmla="*/ 342375 h 345919"/>
              <a:gd name="csX3" fmla="*/ 0 w 1730895"/>
              <a:gd name="csY3" fmla="*/ 345919 h 345919"/>
              <a:gd name="csX4" fmla="*/ 486985 w 1730895"/>
              <a:gd name="csY4" fmla="*/ 0 h 34591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730895" h="345919">
                <a:moveTo>
                  <a:pt x="486985" y="0"/>
                </a:moveTo>
                <a:lnTo>
                  <a:pt x="1730895" y="0"/>
                </a:lnTo>
                <a:lnTo>
                  <a:pt x="1375021" y="342375"/>
                </a:lnTo>
                <a:lnTo>
                  <a:pt x="0" y="345919"/>
                </a:lnTo>
                <a:lnTo>
                  <a:pt x="486985" y="0"/>
                </a:lnTo>
                <a:close/>
              </a:path>
            </a:pathLst>
          </a:cu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917" name="Free-form: Shape 6916">
            <a:extLst>
              <a:ext uri="{FF2B5EF4-FFF2-40B4-BE49-F238E27FC236}">
                <a16:creationId xmlns:a16="http://schemas.microsoft.com/office/drawing/2014/main" id="{710C2427-A031-C63A-393A-37B02C310E72}"/>
              </a:ext>
            </a:extLst>
          </p:cNvPr>
          <p:cNvSpPr/>
          <p:nvPr/>
        </p:nvSpPr>
        <p:spPr>
          <a:xfrm>
            <a:off x="3070255" y="5149850"/>
            <a:ext cx="1394516" cy="338404"/>
          </a:xfrm>
          <a:custGeom>
            <a:avLst/>
            <a:gdLst>
              <a:gd name="csX0" fmla="*/ 128633 w 1394516"/>
              <a:gd name="csY0" fmla="*/ 0 h 338404"/>
              <a:gd name="csX1" fmla="*/ 1339853 w 1394516"/>
              <a:gd name="csY1" fmla="*/ 0 h 338404"/>
              <a:gd name="csX2" fmla="*/ 1394516 w 1394516"/>
              <a:gd name="csY2" fmla="*/ 334810 h 338404"/>
              <a:gd name="csX3" fmla="*/ 0 w 1394516"/>
              <a:gd name="csY3" fmla="*/ 338404 h 338404"/>
              <a:gd name="csX4" fmla="*/ 128633 w 1394516"/>
              <a:gd name="csY4" fmla="*/ 0 h 33840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394516" h="338404">
                <a:moveTo>
                  <a:pt x="128633" y="0"/>
                </a:moveTo>
                <a:lnTo>
                  <a:pt x="1339853" y="0"/>
                </a:lnTo>
                <a:lnTo>
                  <a:pt x="1394516" y="334810"/>
                </a:lnTo>
                <a:lnTo>
                  <a:pt x="0" y="338404"/>
                </a:lnTo>
                <a:lnTo>
                  <a:pt x="128633" y="0"/>
                </a:lnTo>
                <a:close/>
              </a:path>
            </a:pathLst>
          </a:cu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918" name="Free-form: Shape 6917">
            <a:extLst>
              <a:ext uri="{FF2B5EF4-FFF2-40B4-BE49-F238E27FC236}">
                <a16:creationId xmlns:a16="http://schemas.microsoft.com/office/drawing/2014/main" id="{AF1633B7-CF09-1212-E213-2CCE8E2F315A}"/>
              </a:ext>
            </a:extLst>
          </p:cNvPr>
          <p:cNvSpPr/>
          <p:nvPr/>
        </p:nvSpPr>
        <p:spPr>
          <a:xfrm>
            <a:off x="5647995" y="5149850"/>
            <a:ext cx="1702988" cy="331064"/>
          </a:xfrm>
          <a:custGeom>
            <a:avLst/>
            <a:gdLst>
              <a:gd name="csX0" fmla="*/ 0 w 1702988"/>
              <a:gd name="csY0" fmla="*/ 0 h 331064"/>
              <a:gd name="csX1" fmla="*/ 1265214 w 1702988"/>
              <a:gd name="csY1" fmla="*/ 0 h 331064"/>
              <a:gd name="csX2" fmla="*/ 1702988 w 1702988"/>
              <a:gd name="csY2" fmla="*/ 327371 h 331064"/>
              <a:gd name="csX3" fmla="*/ 269900 w 1702988"/>
              <a:gd name="csY3" fmla="*/ 331064 h 331064"/>
              <a:gd name="csX4" fmla="*/ 0 w 1702988"/>
              <a:gd name="csY4" fmla="*/ 0 h 33106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702988" h="331064">
                <a:moveTo>
                  <a:pt x="0" y="0"/>
                </a:moveTo>
                <a:lnTo>
                  <a:pt x="1265214" y="0"/>
                </a:lnTo>
                <a:lnTo>
                  <a:pt x="1702988" y="327371"/>
                </a:lnTo>
                <a:lnTo>
                  <a:pt x="269900" y="331064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1" name="Free-form: Shape 60">
            <a:extLst>
              <a:ext uri="{FF2B5EF4-FFF2-40B4-BE49-F238E27FC236}">
                <a16:creationId xmlns:a16="http://schemas.microsoft.com/office/drawing/2014/main" id="{78DB914C-C8D0-A520-617A-1C0EA082C597}"/>
              </a:ext>
            </a:extLst>
          </p:cNvPr>
          <p:cNvSpPr/>
          <p:nvPr/>
        </p:nvSpPr>
        <p:spPr>
          <a:xfrm>
            <a:off x="-7690" y="5495769"/>
            <a:ext cx="161933" cy="115026"/>
          </a:xfrm>
          <a:custGeom>
            <a:avLst/>
            <a:gdLst>
              <a:gd name="csX0" fmla="*/ 161933 w 161933"/>
              <a:gd name="csY0" fmla="*/ 0 h 115026"/>
              <a:gd name="csX1" fmla="*/ 0 w 161933"/>
              <a:gd name="csY1" fmla="*/ 115026 h 115026"/>
              <a:gd name="csX2" fmla="*/ 0 w 161933"/>
              <a:gd name="csY2" fmla="*/ 418 h 11502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61933" h="115026">
                <a:moveTo>
                  <a:pt x="161933" y="0"/>
                </a:moveTo>
                <a:lnTo>
                  <a:pt x="0" y="115026"/>
                </a:lnTo>
                <a:lnTo>
                  <a:pt x="0" y="418"/>
                </a:lnTo>
                <a:close/>
              </a:path>
            </a:pathLst>
          </a:cu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920" name="Free-form: Shape 6919">
            <a:extLst>
              <a:ext uri="{FF2B5EF4-FFF2-40B4-BE49-F238E27FC236}">
                <a16:creationId xmlns:a16="http://schemas.microsoft.com/office/drawing/2014/main" id="{8696DB24-5C9B-7CD9-CE92-1E9B48A0A4E7}"/>
              </a:ext>
            </a:extLst>
          </p:cNvPr>
          <p:cNvSpPr/>
          <p:nvPr/>
        </p:nvSpPr>
        <p:spPr>
          <a:xfrm>
            <a:off x="4464771" y="5480915"/>
            <a:ext cx="1789385" cy="412465"/>
          </a:xfrm>
          <a:custGeom>
            <a:avLst/>
            <a:gdLst>
              <a:gd name="csX0" fmla="*/ 1453124 w 1789385"/>
              <a:gd name="csY0" fmla="*/ 0 h 412465"/>
              <a:gd name="csX1" fmla="*/ 1789385 w 1789385"/>
              <a:gd name="csY1" fmla="*/ 412465 h 412465"/>
              <a:gd name="csX2" fmla="*/ 66222 w 1789385"/>
              <a:gd name="csY2" fmla="*/ 409356 h 412465"/>
              <a:gd name="csX3" fmla="*/ 0 w 1789385"/>
              <a:gd name="csY3" fmla="*/ 3746 h 412465"/>
              <a:gd name="csX4" fmla="*/ 1453124 w 1789385"/>
              <a:gd name="csY4" fmla="*/ 0 h 41246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789385" h="412465">
                <a:moveTo>
                  <a:pt x="1453124" y="0"/>
                </a:moveTo>
                <a:lnTo>
                  <a:pt x="1789385" y="412465"/>
                </a:lnTo>
                <a:lnTo>
                  <a:pt x="66222" y="409356"/>
                </a:lnTo>
                <a:lnTo>
                  <a:pt x="0" y="3746"/>
                </a:lnTo>
                <a:lnTo>
                  <a:pt x="1453124" y="0"/>
                </a:lnTo>
                <a:close/>
              </a:path>
            </a:pathLst>
          </a:cu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921" name="Free-form: Shape 6920">
            <a:extLst>
              <a:ext uri="{FF2B5EF4-FFF2-40B4-BE49-F238E27FC236}">
                <a16:creationId xmlns:a16="http://schemas.microsoft.com/office/drawing/2014/main" id="{65CF3F17-475C-1E7F-E34C-C31BC7D5B0FA}"/>
              </a:ext>
            </a:extLst>
          </p:cNvPr>
          <p:cNvSpPr/>
          <p:nvPr/>
        </p:nvSpPr>
        <p:spPr>
          <a:xfrm>
            <a:off x="1121917" y="5488255"/>
            <a:ext cx="1948338" cy="399107"/>
          </a:xfrm>
          <a:custGeom>
            <a:avLst/>
            <a:gdLst>
              <a:gd name="csX0" fmla="*/ 1948338 w 1948338"/>
              <a:gd name="csY0" fmla="*/ 0 h 399107"/>
              <a:gd name="csX1" fmla="*/ 1796630 w 1948338"/>
              <a:gd name="csY1" fmla="*/ 399107 h 399107"/>
              <a:gd name="csX2" fmla="*/ 0 w 1948338"/>
              <a:gd name="csY2" fmla="*/ 395866 h 399107"/>
              <a:gd name="csX3" fmla="*/ 407346 w 1948338"/>
              <a:gd name="csY3" fmla="*/ 3971 h 399107"/>
              <a:gd name="csX4" fmla="*/ 1948338 w 1948338"/>
              <a:gd name="csY4" fmla="*/ 0 h 39910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948338" h="399107">
                <a:moveTo>
                  <a:pt x="1948338" y="0"/>
                </a:moveTo>
                <a:lnTo>
                  <a:pt x="1796630" y="399107"/>
                </a:lnTo>
                <a:lnTo>
                  <a:pt x="0" y="395866"/>
                </a:lnTo>
                <a:lnTo>
                  <a:pt x="407346" y="3971"/>
                </a:lnTo>
                <a:lnTo>
                  <a:pt x="1948338" y="0"/>
                </a:lnTo>
                <a:close/>
              </a:path>
            </a:pathLst>
          </a:cu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3" name="Free-form: Shape 62">
            <a:extLst>
              <a:ext uri="{FF2B5EF4-FFF2-40B4-BE49-F238E27FC236}">
                <a16:creationId xmlns:a16="http://schemas.microsoft.com/office/drawing/2014/main" id="{870F1A1A-885E-DE66-CA45-C607CFDF0F32}"/>
              </a:ext>
            </a:extLst>
          </p:cNvPr>
          <p:cNvSpPr/>
          <p:nvPr/>
        </p:nvSpPr>
        <p:spPr>
          <a:xfrm>
            <a:off x="-7689" y="5882083"/>
            <a:ext cx="1129607" cy="565901"/>
          </a:xfrm>
          <a:custGeom>
            <a:avLst/>
            <a:gdLst>
              <a:gd name="csX0" fmla="*/ 0 w 1129607"/>
              <a:gd name="csY0" fmla="*/ 0 h 565901"/>
              <a:gd name="csX1" fmla="*/ 1129607 w 1129607"/>
              <a:gd name="csY1" fmla="*/ 2038 h 565901"/>
              <a:gd name="csX2" fmla="*/ 543513 w 1129607"/>
              <a:gd name="csY2" fmla="*/ 565901 h 565901"/>
              <a:gd name="csX3" fmla="*/ 0 w 1129607"/>
              <a:gd name="csY3" fmla="*/ 565000 h 56590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</a:cxnLst>
            <a:rect l="l" t="t" r="r" b="b"/>
            <a:pathLst>
              <a:path w="1129607" h="565901">
                <a:moveTo>
                  <a:pt x="0" y="0"/>
                </a:moveTo>
                <a:lnTo>
                  <a:pt x="1129607" y="2038"/>
                </a:lnTo>
                <a:lnTo>
                  <a:pt x="543513" y="565901"/>
                </a:lnTo>
                <a:lnTo>
                  <a:pt x="0" y="565000"/>
                </a:lnTo>
                <a:close/>
              </a:path>
            </a:pathLst>
          </a:cu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923" name="Free-form: Shape 6922">
            <a:extLst>
              <a:ext uri="{FF2B5EF4-FFF2-40B4-BE49-F238E27FC236}">
                <a16:creationId xmlns:a16="http://schemas.microsoft.com/office/drawing/2014/main" id="{A6CD32E9-B787-F3EC-8BDD-62CAAE6D7041}"/>
              </a:ext>
            </a:extLst>
          </p:cNvPr>
          <p:cNvSpPr/>
          <p:nvPr/>
        </p:nvSpPr>
        <p:spPr>
          <a:xfrm>
            <a:off x="2704079" y="5887361"/>
            <a:ext cx="1919075" cy="567396"/>
          </a:xfrm>
          <a:custGeom>
            <a:avLst/>
            <a:gdLst>
              <a:gd name="csX0" fmla="*/ 214468 w 1919075"/>
              <a:gd name="csY0" fmla="*/ 0 h 567396"/>
              <a:gd name="csX1" fmla="*/ 1826914 w 1919075"/>
              <a:gd name="csY1" fmla="*/ 2909 h 567396"/>
              <a:gd name="csX2" fmla="*/ 1919075 w 1919075"/>
              <a:gd name="csY2" fmla="*/ 567396 h 567396"/>
              <a:gd name="csX3" fmla="*/ 0 w 1919075"/>
              <a:gd name="csY3" fmla="*/ 564216 h 567396"/>
              <a:gd name="csX4" fmla="*/ 214468 w 1919075"/>
              <a:gd name="csY4" fmla="*/ 0 h 56739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919075" h="567396">
                <a:moveTo>
                  <a:pt x="214468" y="0"/>
                </a:moveTo>
                <a:lnTo>
                  <a:pt x="1826914" y="2909"/>
                </a:lnTo>
                <a:lnTo>
                  <a:pt x="1919075" y="567396"/>
                </a:lnTo>
                <a:lnTo>
                  <a:pt x="0" y="564216"/>
                </a:lnTo>
                <a:lnTo>
                  <a:pt x="214468" y="0"/>
                </a:lnTo>
                <a:close/>
              </a:path>
            </a:pathLst>
          </a:cu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924" name="Free-form: Shape 6923">
            <a:extLst>
              <a:ext uri="{FF2B5EF4-FFF2-40B4-BE49-F238E27FC236}">
                <a16:creationId xmlns:a16="http://schemas.microsoft.com/office/drawing/2014/main" id="{D7FBF309-069E-D1BD-EFA8-D467F0631B7E}"/>
              </a:ext>
            </a:extLst>
          </p:cNvPr>
          <p:cNvSpPr/>
          <p:nvPr/>
        </p:nvSpPr>
        <p:spPr>
          <a:xfrm>
            <a:off x="6254156" y="5893380"/>
            <a:ext cx="2412995" cy="568081"/>
          </a:xfrm>
          <a:custGeom>
            <a:avLst/>
            <a:gdLst>
              <a:gd name="csX0" fmla="*/ 0 w 2412995"/>
              <a:gd name="csY0" fmla="*/ 0 h 568081"/>
              <a:gd name="csX1" fmla="*/ 1657330 w 2412995"/>
              <a:gd name="csY1" fmla="*/ 2989 h 568081"/>
              <a:gd name="csX2" fmla="*/ 2412995 w 2412995"/>
              <a:gd name="csY2" fmla="*/ 568081 h 568081"/>
              <a:gd name="csX3" fmla="*/ 460490 w 2412995"/>
              <a:gd name="csY3" fmla="*/ 564845 h 568081"/>
              <a:gd name="csX4" fmla="*/ 0 w 2412995"/>
              <a:gd name="csY4" fmla="*/ 0 h 56808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2412995" h="568081">
                <a:moveTo>
                  <a:pt x="0" y="0"/>
                </a:moveTo>
                <a:lnTo>
                  <a:pt x="1657330" y="2989"/>
                </a:lnTo>
                <a:lnTo>
                  <a:pt x="2412995" y="568081"/>
                </a:lnTo>
                <a:lnTo>
                  <a:pt x="460490" y="56484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925" name="Free-form: Shape 6924">
            <a:extLst>
              <a:ext uri="{FF2B5EF4-FFF2-40B4-BE49-F238E27FC236}">
                <a16:creationId xmlns:a16="http://schemas.microsoft.com/office/drawing/2014/main" id="{FCC3653E-B258-3021-EEFC-31D4BA79E735}"/>
              </a:ext>
            </a:extLst>
          </p:cNvPr>
          <p:cNvSpPr/>
          <p:nvPr/>
        </p:nvSpPr>
        <p:spPr>
          <a:xfrm>
            <a:off x="119063" y="6447984"/>
            <a:ext cx="2585016" cy="448117"/>
          </a:xfrm>
          <a:custGeom>
            <a:avLst/>
            <a:gdLst>
              <a:gd name="csX0" fmla="*/ 416760 w 2585016"/>
              <a:gd name="csY0" fmla="*/ 0 h 448117"/>
              <a:gd name="csX1" fmla="*/ 2585016 w 2585016"/>
              <a:gd name="csY1" fmla="*/ 3594 h 448117"/>
              <a:gd name="csX2" fmla="*/ 2425700 w 2585016"/>
              <a:gd name="csY2" fmla="*/ 422717 h 448117"/>
              <a:gd name="csX3" fmla="*/ 0 w 2585016"/>
              <a:gd name="csY3" fmla="*/ 448117 h 448117"/>
              <a:gd name="csX4" fmla="*/ 406400 w 2585016"/>
              <a:gd name="csY4" fmla="*/ 9967 h 448117"/>
              <a:gd name="csX5" fmla="*/ 416760 w 2585016"/>
              <a:gd name="csY5" fmla="*/ 0 h 44811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</a:cxnLst>
            <a:rect l="l" t="t" r="r" b="b"/>
            <a:pathLst>
              <a:path w="2585016" h="448117">
                <a:moveTo>
                  <a:pt x="416760" y="0"/>
                </a:moveTo>
                <a:lnTo>
                  <a:pt x="2585016" y="3594"/>
                </a:lnTo>
                <a:lnTo>
                  <a:pt x="2425700" y="422717"/>
                </a:lnTo>
                <a:lnTo>
                  <a:pt x="0" y="448117"/>
                </a:lnTo>
                <a:cubicBezTo>
                  <a:pt x="155050" y="267225"/>
                  <a:pt x="24768" y="417918"/>
                  <a:pt x="406400" y="9967"/>
                </a:cubicBezTo>
                <a:lnTo>
                  <a:pt x="416760" y="0"/>
                </a:lnTo>
                <a:close/>
              </a:path>
            </a:pathLst>
          </a:cu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926" name="Free-form: Shape 6925">
            <a:extLst>
              <a:ext uri="{FF2B5EF4-FFF2-40B4-BE49-F238E27FC236}">
                <a16:creationId xmlns:a16="http://schemas.microsoft.com/office/drawing/2014/main" id="{1A98AE90-D292-810A-4C58-E837CCA1A72C}"/>
              </a:ext>
            </a:extLst>
          </p:cNvPr>
          <p:cNvSpPr/>
          <p:nvPr/>
        </p:nvSpPr>
        <p:spPr>
          <a:xfrm>
            <a:off x="4623154" y="6454758"/>
            <a:ext cx="2417409" cy="415943"/>
          </a:xfrm>
          <a:custGeom>
            <a:avLst/>
            <a:gdLst>
              <a:gd name="csX0" fmla="*/ 0 w 2417409"/>
              <a:gd name="csY0" fmla="*/ 0 h 415943"/>
              <a:gd name="csX1" fmla="*/ 2091492 w 2417409"/>
              <a:gd name="csY1" fmla="*/ 3467 h 415943"/>
              <a:gd name="csX2" fmla="*/ 2417409 w 2417409"/>
              <a:gd name="csY2" fmla="*/ 403243 h 415943"/>
              <a:gd name="csX3" fmla="*/ 67909 w 2417409"/>
              <a:gd name="csY3" fmla="*/ 415943 h 415943"/>
              <a:gd name="csX4" fmla="*/ 0 w 2417409"/>
              <a:gd name="csY4" fmla="*/ 0 h 41594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2417409" h="415943">
                <a:moveTo>
                  <a:pt x="0" y="0"/>
                </a:moveTo>
                <a:lnTo>
                  <a:pt x="2091492" y="3467"/>
                </a:lnTo>
                <a:lnTo>
                  <a:pt x="2417409" y="403243"/>
                </a:lnTo>
                <a:lnTo>
                  <a:pt x="67909" y="415943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927" name="Free-form: Shape 6926">
            <a:extLst>
              <a:ext uri="{FF2B5EF4-FFF2-40B4-BE49-F238E27FC236}">
                <a16:creationId xmlns:a16="http://schemas.microsoft.com/office/drawing/2014/main" id="{B9F7AC9A-6238-7047-CAAE-D92F92983433}"/>
              </a:ext>
            </a:extLst>
          </p:cNvPr>
          <p:cNvSpPr/>
          <p:nvPr/>
        </p:nvSpPr>
        <p:spPr>
          <a:xfrm>
            <a:off x="8667151" y="6461460"/>
            <a:ext cx="2335812" cy="402890"/>
          </a:xfrm>
          <a:custGeom>
            <a:avLst/>
            <a:gdLst>
              <a:gd name="csX0" fmla="*/ 0 w 2335812"/>
              <a:gd name="csY0" fmla="*/ 0 h 402890"/>
              <a:gd name="csX1" fmla="*/ 1694748 w 2335812"/>
              <a:gd name="csY1" fmla="*/ 2809 h 402890"/>
              <a:gd name="csX2" fmla="*/ 2335812 w 2335812"/>
              <a:gd name="csY2" fmla="*/ 390190 h 402890"/>
              <a:gd name="csX3" fmla="*/ 538762 w 2335812"/>
              <a:gd name="csY3" fmla="*/ 402890 h 402890"/>
              <a:gd name="csX4" fmla="*/ 0 w 2335812"/>
              <a:gd name="csY4" fmla="*/ 0 h 40289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2335812" h="402890">
                <a:moveTo>
                  <a:pt x="0" y="0"/>
                </a:moveTo>
                <a:lnTo>
                  <a:pt x="1694748" y="2809"/>
                </a:lnTo>
                <a:lnTo>
                  <a:pt x="2335812" y="390190"/>
                </a:lnTo>
                <a:lnTo>
                  <a:pt x="538762" y="40289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640" name="Title 4">
            <a:extLst>
              <a:ext uri="{FF2B5EF4-FFF2-40B4-BE49-F238E27FC236}">
                <a16:creationId xmlns:a16="http://schemas.microsoft.com/office/drawing/2014/main" id="{C5B55C45-A996-A7ED-1FCC-3A10167C33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9690" y="893162"/>
            <a:ext cx="10614650" cy="1623966"/>
          </a:xfrm>
          <a:prstGeom prst="rect">
            <a:avLst/>
          </a:prstGeom>
          <a:noFill/>
        </p:spPr>
        <p:txBody>
          <a:bodyPr/>
          <a:lstStyle/>
          <a:p>
            <a:pPr algn="r">
              <a:lnSpc>
                <a:spcPts val="3900"/>
              </a:lnSpc>
            </a:pPr>
            <a:r>
              <a:rPr lang="en-GB" sz="4400" dirty="0">
                <a:latin typeface="+mj-lt"/>
              </a:rPr>
              <a:t>Treating relapsed/refractory </a:t>
            </a:r>
            <a:br>
              <a:rPr lang="en-GB" sz="4400" dirty="0">
                <a:latin typeface="+mj-lt"/>
              </a:rPr>
            </a:br>
            <a:r>
              <a:rPr lang="en-GB" sz="4400" dirty="0">
                <a:latin typeface="+mj-lt"/>
              </a:rPr>
              <a:t>diffuse large B-cell lymphoma in 2026: </a:t>
            </a:r>
            <a:br>
              <a:rPr lang="en-GB" sz="4400" dirty="0">
                <a:latin typeface="+mj-lt"/>
              </a:rPr>
            </a:br>
            <a:r>
              <a:rPr lang="en-GB" sz="4400" b="1" dirty="0">
                <a:latin typeface="+mj-lt"/>
              </a:rPr>
              <a:t>Existing gaps, daily practice and next moves</a:t>
            </a:r>
          </a:p>
        </p:txBody>
      </p:sp>
      <p:sp>
        <p:nvSpPr>
          <p:cNvPr id="5641" name="Text Placeholder 5">
            <a:extLst>
              <a:ext uri="{FF2B5EF4-FFF2-40B4-BE49-F238E27FC236}">
                <a16:creationId xmlns:a16="http://schemas.microsoft.com/office/drawing/2014/main" id="{4A71A8D7-8EAD-124B-610A-602AC51685F3}"/>
              </a:ext>
            </a:extLst>
          </p:cNvPr>
          <p:cNvSpPr txBox="1">
            <a:spLocks/>
          </p:cNvSpPr>
          <p:nvPr/>
        </p:nvSpPr>
        <p:spPr>
          <a:xfrm>
            <a:off x="6091195" y="2580308"/>
            <a:ext cx="5773144" cy="1487229"/>
          </a:xfrm>
          <a:prstGeom prst="rect">
            <a:avLst/>
          </a:prstGeom>
          <a:noFill/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1113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1113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1113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1113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800" b="1" i="0" u="none" strike="noStrike" kern="1200" cap="none" spc="0" normalizeH="0" baseline="0" noProof="0" dirty="0">
                <a:ln>
                  <a:noFill/>
                </a:ln>
                <a:solidFill>
                  <a:srgbClr val="EB92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obi Satellite </a:t>
            </a:r>
            <a:br>
              <a:rPr kumimoji="0" lang="en-GB" sz="2800" b="1" i="0" u="none" strike="noStrike" kern="1200" cap="none" spc="0" normalizeH="0" baseline="0" noProof="0" dirty="0">
                <a:ln>
                  <a:noFill/>
                </a:ln>
                <a:solidFill>
                  <a:srgbClr val="EB92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GB" sz="2800" b="1" i="0" u="none" strike="noStrike" kern="1200" cap="none" spc="0" normalizeH="0" baseline="0" noProof="0" dirty="0">
                <a:ln>
                  <a:noFill/>
                </a:ln>
                <a:solidFill>
                  <a:srgbClr val="EB92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ymposium at EHA 2026</a:t>
            </a:r>
          </a:p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000" b="0" i="1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hursday, 11 June 2026</a:t>
            </a:r>
            <a:br>
              <a:rPr kumimoji="0" lang="en-GB" sz="2000" b="0" i="1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GB" sz="2000" b="0" i="1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08:00 – 09:30</a:t>
            </a:r>
          </a:p>
        </p:txBody>
      </p:sp>
      <p:sp>
        <p:nvSpPr>
          <p:cNvPr id="5642" name="Text Placeholder 6">
            <a:extLst>
              <a:ext uri="{FF2B5EF4-FFF2-40B4-BE49-F238E27FC236}">
                <a16:creationId xmlns:a16="http://schemas.microsoft.com/office/drawing/2014/main" id="{0B8A0B89-3982-80A6-A110-BAA05F290FB9}"/>
              </a:ext>
            </a:extLst>
          </p:cNvPr>
          <p:cNvSpPr txBox="1">
            <a:spLocks/>
          </p:cNvSpPr>
          <p:nvPr/>
        </p:nvSpPr>
        <p:spPr>
          <a:xfrm>
            <a:off x="10029824" y="6222999"/>
            <a:ext cx="1757363" cy="424475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1113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1113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1113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1113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P-48374</a:t>
            </a:r>
            <a:b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CH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June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2026</a:t>
            </a:r>
          </a:p>
        </p:txBody>
      </p:sp>
      <p:sp>
        <p:nvSpPr>
          <p:cNvPr id="6933" name="Free-form: Shape 6932">
            <a:extLst>
              <a:ext uri="{FF2B5EF4-FFF2-40B4-BE49-F238E27FC236}">
                <a16:creationId xmlns:a16="http://schemas.microsoft.com/office/drawing/2014/main" id="{42AD3F6A-2BD9-4132-C146-702FC084924E}"/>
              </a:ext>
            </a:extLst>
          </p:cNvPr>
          <p:cNvSpPr/>
          <p:nvPr/>
        </p:nvSpPr>
        <p:spPr>
          <a:xfrm>
            <a:off x="4909959" y="3455079"/>
            <a:ext cx="2011541" cy="1237707"/>
          </a:xfrm>
          <a:custGeom>
            <a:avLst/>
            <a:gdLst>
              <a:gd name="csX0" fmla="*/ 3421446 w 4456675"/>
              <a:gd name="csY0" fmla="*/ 232 h 2742205"/>
              <a:gd name="csX1" fmla="*/ 4220546 w 4456675"/>
              <a:gd name="csY1" fmla="*/ 178 h 2742205"/>
              <a:gd name="csX2" fmla="*/ 4300014 w 4456675"/>
              <a:gd name="csY2" fmla="*/ 9129 h 2742205"/>
              <a:gd name="csX3" fmla="*/ 4456203 w 4456675"/>
              <a:gd name="csY3" fmla="*/ 219930 h 2742205"/>
              <a:gd name="csX4" fmla="*/ 4456200 w 4456675"/>
              <a:gd name="csY4" fmla="*/ 1074836 h 2742205"/>
              <a:gd name="csX5" fmla="*/ 4456675 w 4456675"/>
              <a:gd name="csY5" fmla="*/ 2505632 h 2742205"/>
              <a:gd name="csX6" fmla="*/ 4407943 w 4456675"/>
              <a:gd name="csY6" fmla="*/ 2659396 h 2742205"/>
              <a:gd name="csX7" fmla="*/ 4239170 w 4456675"/>
              <a:gd name="csY7" fmla="*/ 2741483 h 2742205"/>
              <a:gd name="csX8" fmla="*/ 4004802 w 4456675"/>
              <a:gd name="csY8" fmla="*/ 2741773 h 2742205"/>
              <a:gd name="csX9" fmla="*/ 274907 w 4456675"/>
              <a:gd name="csY9" fmla="*/ 2741319 h 2742205"/>
              <a:gd name="csX10" fmla="*/ 181515 w 4456675"/>
              <a:gd name="csY10" fmla="*/ 2737463 h 2742205"/>
              <a:gd name="csX11" fmla="*/ 715 w 4456675"/>
              <a:gd name="csY11" fmla="*/ 2527459 h 2742205"/>
              <a:gd name="csX12" fmla="*/ 189 w 4456675"/>
              <a:gd name="csY12" fmla="*/ 2170321 h 2742205"/>
              <a:gd name="csX13" fmla="*/ 285 w 4456675"/>
              <a:gd name="csY13" fmla="*/ 230598 h 2742205"/>
              <a:gd name="csX14" fmla="*/ 41739 w 4456675"/>
              <a:gd name="csY14" fmla="*/ 91931 h 2742205"/>
              <a:gd name="csX15" fmla="*/ 221044 w 4456675"/>
              <a:gd name="csY15" fmla="*/ 207 h 2742205"/>
              <a:gd name="csX16" fmla="*/ 839345 w 4456675"/>
              <a:gd name="csY16" fmla="*/ 165 h 2742205"/>
              <a:gd name="csX17" fmla="*/ 3051388 w 4456675"/>
              <a:gd name="csY17" fmla="*/ 0 h 2742205"/>
              <a:gd name="csX18" fmla="*/ 3173887 w 4456675"/>
              <a:gd name="csY18" fmla="*/ 216 h 2742205"/>
              <a:gd name="csX19" fmla="*/ 3421446 w 4456675"/>
              <a:gd name="csY19" fmla="*/ 232 h 2742205"/>
              <a:gd name="csX20" fmla="*/ 349809 w 4456675"/>
              <a:gd name="csY20" fmla="*/ 429767 h 2742205"/>
              <a:gd name="csX21" fmla="*/ 349724 w 4456675"/>
              <a:gd name="csY21" fmla="*/ 882918 h 2742205"/>
              <a:gd name="csX22" fmla="*/ 349887 w 4456675"/>
              <a:gd name="csY22" fmla="*/ 2398625 h 2742205"/>
              <a:gd name="csX23" fmla="*/ 352129 w 4456675"/>
              <a:gd name="csY23" fmla="*/ 2429343 h 2742205"/>
              <a:gd name="csX24" fmla="*/ 4106633 w 4456675"/>
              <a:gd name="csY24" fmla="*/ 2429343 h 2742205"/>
              <a:gd name="csX25" fmla="*/ 4106632 w 4456675"/>
              <a:gd name="csY25" fmla="*/ 2399387 h 2742205"/>
              <a:gd name="csX26" fmla="*/ 4106480 w 4456675"/>
              <a:gd name="csY26" fmla="*/ 1765425 h 2742205"/>
              <a:gd name="csX27" fmla="*/ 4106246 w 4456675"/>
              <a:gd name="csY27" fmla="*/ 455088 h 2742205"/>
              <a:gd name="csX28" fmla="*/ 4106374 w 4456675"/>
              <a:gd name="csY28" fmla="*/ 422034 h 2742205"/>
              <a:gd name="csX29" fmla="*/ 4106374 w 4456675"/>
              <a:gd name="csY29" fmla="*/ 334501 h 2742205"/>
              <a:gd name="csX30" fmla="*/ 4100770 w 4456675"/>
              <a:gd name="csY30" fmla="*/ 331625 h 2742205"/>
              <a:gd name="csX31" fmla="*/ 375862 w 4456675"/>
              <a:gd name="csY31" fmla="*/ 330890 h 2742205"/>
              <a:gd name="csX32" fmla="*/ 353663 w 4456675"/>
              <a:gd name="csY32" fmla="*/ 332015 h 2742205"/>
              <a:gd name="csX33" fmla="*/ 351855 w 4456675"/>
              <a:gd name="csY33" fmla="*/ 333145 h 2742205"/>
              <a:gd name="csX34" fmla="*/ 350444 w 4456675"/>
              <a:gd name="csY34" fmla="*/ 334521 h 2742205"/>
              <a:gd name="csX35" fmla="*/ 349809 w 4456675"/>
              <a:gd name="csY35" fmla="*/ 429767 h 274220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</a:cxnLst>
            <a:rect l="l" t="t" r="r" b="b"/>
            <a:pathLst>
              <a:path w="4456675" h="2742205">
                <a:moveTo>
                  <a:pt x="3421446" y="232"/>
                </a:moveTo>
                <a:cubicBezTo>
                  <a:pt x="3687813" y="241"/>
                  <a:pt x="3954179" y="300"/>
                  <a:pt x="4220546" y="178"/>
                </a:cubicBezTo>
                <a:cubicBezTo>
                  <a:pt x="4247432" y="165"/>
                  <a:pt x="4274016" y="1274"/>
                  <a:pt x="4300014" y="9129"/>
                </a:cubicBezTo>
                <a:cubicBezTo>
                  <a:pt x="4392617" y="37109"/>
                  <a:pt x="4456116" y="121888"/>
                  <a:pt x="4456203" y="219930"/>
                </a:cubicBezTo>
                <a:cubicBezTo>
                  <a:pt x="4456454" y="504898"/>
                  <a:pt x="4456187" y="789867"/>
                  <a:pt x="4456200" y="1074836"/>
                </a:cubicBezTo>
                <a:cubicBezTo>
                  <a:pt x="4456221" y="1551769"/>
                  <a:pt x="4456059" y="2028701"/>
                  <a:pt x="4456675" y="2505632"/>
                </a:cubicBezTo>
                <a:cubicBezTo>
                  <a:pt x="4456749" y="2562730"/>
                  <a:pt x="4444685" y="2614383"/>
                  <a:pt x="4407943" y="2659396"/>
                </a:cubicBezTo>
                <a:cubicBezTo>
                  <a:pt x="4364194" y="2712994"/>
                  <a:pt x="4307478" y="2740232"/>
                  <a:pt x="4239170" y="2741483"/>
                </a:cubicBezTo>
                <a:cubicBezTo>
                  <a:pt x="4161072" y="2742913"/>
                  <a:pt x="4082927" y="2741780"/>
                  <a:pt x="4004802" y="2741773"/>
                </a:cubicBezTo>
                <a:cubicBezTo>
                  <a:pt x="2761504" y="2741669"/>
                  <a:pt x="1518205" y="2741590"/>
                  <a:pt x="274907" y="2741319"/>
                </a:cubicBezTo>
                <a:cubicBezTo>
                  <a:pt x="243746" y="2741312"/>
                  <a:pt x="212093" y="2742294"/>
                  <a:pt x="181515" y="2737463"/>
                </a:cubicBezTo>
                <a:cubicBezTo>
                  <a:pt x="77942" y="2721098"/>
                  <a:pt x="1766" y="2632487"/>
                  <a:pt x="715" y="2527459"/>
                </a:cubicBezTo>
                <a:cubicBezTo>
                  <a:pt x="-475" y="2408423"/>
                  <a:pt x="176" y="2289368"/>
                  <a:pt x="189" y="2170321"/>
                </a:cubicBezTo>
                <a:cubicBezTo>
                  <a:pt x="258" y="1523747"/>
                  <a:pt x="478" y="877172"/>
                  <a:pt x="285" y="230598"/>
                </a:cubicBezTo>
                <a:cubicBezTo>
                  <a:pt x="270" y="179838"/>
                  <a:pt x="12216" y="133009"/>
                  <a:pt x="41739" y="91931"/>
                </a:cubicBezTo>
                <a:cubicBezTo>
                  <a:pt x="85516" y="31019"/>
                  <a:pt x="145869" y="277"/>
                  <a:pt x="221044" y="207"/>
                </a:cubicBezTo>
                <a:cubicBezTo>
                  <a:pt x="427144" y="14"/>
                  <a:pt x="633244" y="179"/>
                  <a:pt x="839345" y="165"/>
                </a:cubicBezTo>
                <a:cubicBezTo>
                  <a:pt x="1576692" y="117"/>
                  <a:pt x="2314040" y="52"/>
                  <a:pt x="3051388" y="0"/>
                </a:cubicBezTo>
                <a:cubicBezTo>
                  <a:pt x="3090822" y="-3"/>
                  <a:pt x="3130255" y="53"/>
                  <a:pt x="3173887" y="216"/>
                </a:cubicBezTo>
                <a:cubicBezTo>
                  <a:pt x="3259205" y="312"/>
                  <a:pt x="3340326" y="272"/>
                  <a:pt x="3421446" y="232"/>
                </a:cubicBezTo>
                <a:moveTo>
                  <a:pt x="349809" y="429767"/>
                </a:moveTo>
                <a:cubicBezTo>
                  <a:pt x="349779" y="580818"/>
                  <a:pt x="349721" y="731868"/>
                  <a:pt x="349724" y="882918"/>
                </a:cubicBezTo>
                <a:cubicBezTo>
                  <a:pt x="349735" y="1388154"/>
                  <a:pt x="349753" y="1893389"/>
                  <a:pt x="349887" y="2398625"/>
                </a:cubicBezTo>
                <a:cubicBezTo>
                  <a:pt x="349890" y="2408734"/>
                  <a:pt x="351330" y="2418844"/>
                  <a:pt x="352129" y="2429343"/>
                </a:cubicBezTo>
                <a:cubicBezTo>
                  <a:pt x="1604051" y="2429343"/>
                  <a:pt x="2853761" y="2429343"/>
                  <a:pt x="4106633" y="2429343"/>
                </a:cubicBezTo>
                <a:cubicBezTo>
                  <a:pt x="4106633" y="2418286"/>
                  <a:pt x="4106634" y="2408837"/>
                  <a:pt x="4106632" y="2399387"/>
                </a:cubicBezTo>
                <a:cubicBezTo>
                  <a:pt x="4106581" y="2188066"/>
                  <a:pt x="4106512" y="1976745"/>
                  <a:pt x="4106480" y="1765425"/>
                </a:cubicBezTo>
                <a:cubicBezTo>
                  <a:pt x="4106412" y="1328646"/>
                  <a:pt x="4106375" y="891867"/>
                  <a:pt x="4106246" y="455088"/>
                </a:cubicBezTo>
                <a:cubicBezTo>
                  <a:pt x="4106243" y="445460"/>
                  <a:pt x="4105282" y="435832"/>
                  <a:pt x="4106374" y="422034"/>
                </a:cubicBezTo>
                <a:cubicBezTo>
                  <a:pt x="4106374" y="392525"/>
                  <a:pt x="4106374" y="363016"/>
                  <a:pt x="4106374" y="334501"/>
                </a:cubicBezTo>
                <a:cubicBezTo>
                  <a:pt x="4103318" y="332887"/>
                  <a:pt x="4102044" y="331625"/>
                  <a:pt x="4100770" y="331625"/>
                </a:cubicBezTo>
                <a:cubicBezTo>
                  <a:pt x="2859134" y="331309"/>
                  <a:pt x="1617498" y="331074"/>
                  <a:pt x="375862" y="330890"/>
                </a:cubicBezTo>
                <a:cubicBezTo>
                  <a:pt x="368462" y="330889"/>
                  <a:pt x="361059" y="331568"/>
                  <a:pt x="353663" y="332015"/>
                </a:cubicBezTo>
                <a:cubicBezTo>
                  <a:pt x="353037" y="332053"/>
                  <a:pt x="352411" y="332696"/>
                  <a:pt x="351855" y="333145"/>
                </a:cubicBezTo>
                <a:cubicBezTo>
                  <a:pt x="351279" y="333610"/>
                  <a:pt x="350788" y="334180"/>
                  <a:pt x="350444" y="334521"/>
                </a:cubicBezTo>
                <a:cubicBezTo>
                  <a:pt x="350444" y="365068"/>
                  <a:pt x="350444" y="395421"/>
                  <a:pt x="349809" y="429767"/>
                </a:cubicBezTo>
                <a:close/>
              </a:path>
            </a:pathLst>
          </a:custGeom>
          <a:solidFill>
            <a:schemeClr val="accent1"/>
          </a:solidFill>
          <a:ln w="2232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934" name="Free-form: Shape 6933">
            <a:extLst>
              <a:ext uri="{FF2B5EF4-FFF2-40B4-BE49-F238E27FC236}">
                <a16:creationId xmlns:a16="http://schemas.microsoft.com/office/drawing/2014/main" id="{6B64AA05-0CD2-3D2B-1AE5-F31BB12740F1}"/>
              </a:ext>
            </a:extLst>
          </p:cNvPr>
          <p:cNvSpPr/>
          <p:nvPr/>
        </p:nvSpPr>
        <p:spPr>
          <a:xfrm>
            <a:off x="6242172" y="3233793"/>
            <a:ext cx="319973" cy="108785"/>
          </a:xfrm>
          <a:custGeom>
            <a:avLst/>
            <a:gdLst>
              <a:gd name="csX0" fmla="*/ 222420 w 708918"/>
              <a:gd name="csY0" fmla="*/ 241019 h 241018"/>
              <a:gd name="csX1" fmla="*/ 28331 w 708918"/>
              <a:gd name="csY1" fmla="*/ 240052 h 241018"/>
              <a:gd name="csX2" fmla="*/ 1003 w 708918"/>
              <a:gd name="csY2" fmla="*/ 240047 h 241018"/>
              <a:gd name="csX3" fmla="*/ 0 w 708918"/>
              <a:gd name="csY3" fmla="*/ 372 h 241018"/>
              <a:gd name="csX4" fmla="*/ 708918 w 708918"/>
              <a:gd name="csY4" fmla="*/ 392 h 241018"/>
              <a:gd name="csX5" fmla="*/ 708918 w 708918"/>
              <a:gd name="csY5" fmla="*/ 240638 h 241018"/>
              <a:gd name="csX6" fmla="*/ 469818 w 708918"/>
              <a:gd name="csY6" fmla="*/ 240761 h 241018"/>
              <a:gd name="csX7" fmla="*/ 222420 w 708918"/>
              <a:gd name="csY7" fmla="*/ 241019 h 24101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</a:cxnLst>
            <a:rect l="l" t="t" r="r" b="b"/>
            <a:pathLst>
              <a:path w="708918" h="241018">
                <a:moveTo>
                  <a:pt x="222420" y="241019"/>
                </a:moveTo>
                <a:cubicBezTo>
                  <a:pt x="157724" y="240695"/>
                  <a:pt x="93028" y="240367"/>
                  <a:pt x="28331" y="240052"/>
                </a:cubicBezTo>
                <a:cubicBezTo>
                  <a:pt x="20238" y="240013"/>
                  <a:pt x="12145" y="240047"/>
                  <a:pt x="1003" y="240047"/>
                </a:cubicBezTo>
                <a:cubicBezTo>
                  <a:pt x="-906" y="160321"/>
                  <a:pt x="1067" y="81991"/>
                  <a:pt x="0" y="372"/>
                </a:cubicBezTo>
                <a:cubicBezTo>
                  <a:pt x="237097" y="-127"/>
                  <a:pt x="472276" y="-127"/>
                  <a:pt x="708918" y="392"/>
                </a:cubicBezTo>
                <a:cubicBezTo>
                  <a:pt x="708918" y="80868"/>
                  <a:pt x="708918" y="159178"/>
                  <a:pt x="708918" y="240638"/>
                </a:cubicBezTo>
                <a:cubicBezTo>
                  <a:pt x="629729" y="240638"/>
                  <a:pt x="551869" y="240638"/>
                  <a:pt x="469818" y="240761"/>
                </a:cubicBezTo>
                <a:cubicBezTo>
                  <a:pt x="384558" y="240929"/>
                  <a:pt x="303489" y="240974"/>
                  <a:pt x="222420" y="241019"/>
                </a:cubicBezTo>
                <a:close/>
              </a:path>
            </a:pathLst>
          </a:custGeom>
          <a:solidFill>
            <a:schemeClr val="accent3"/>
          </a:solidFill>
          <a:ln w="2232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935" name="Free-form: Shape 6934">
            <a:extLst>
              <a:ext uri="{FF2B5EF4-FFF2-40B4-BE49-F238E27FC236}">
                <a16:creationId xmlns:a16="http://schemas.microsoft.com/office/drawing/2014/main" id="{CD9D34B6-C1DA-BCEF-D50C-6F4AF17B7CE1}"/>
              </a:ext>
            </a:extLst>
          </p:cNvPr>
          <p:cNvSpPr/>
          <p:nvPr/>
        </p:nvSpPr>
        <p:spPr>
          <a:xfrm>
            <a:off x="6342564" y="3342553"/>
            <a:ext cx="111612" cy="112644"/>
          </a:xfrm>
          <a:custGeom>
            <a:avLst/>
            <a:gdLst>
              <a:gd name="csX0" fmla="*/ 35 w 247283"/>
              <a:gd name="csY0" fmla="*/ 2131 h 249569"/>
              <a:gd name="csX1" fmla="*/ 245380 w 247283"/>
              <a:gd name="csY1" fmla="*/ 9 h 249569"/>
              <a:gd name="csX2" fmla="*/ 247284 w 247283"/>
              <a:gd name="csY2" fmla="*/ 247476 h 249569"/>
              <a:gd name="csX3" fmla="*/ 1896 w 247283"/>
              <a:gd name="csY3" fmla="*/ 249554 h 249569"/>
              <a:gd name="csX4" fmla="*/ 35 w 247283"/>
              <a:gd name="csY4" fmla="*/ 2131 h 24956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247283" h="249569">
                <a:moveTo>
                  <a:pt x="35" y="2131"/>
                </a:moveTo>
                <a:cubicBezTo>
                  <a:pt x="81065" y="10"/>
                  <a:pt x="162134" y="-35"/>
                  <a:pt x="245380" y="9"/>
                </a:cubicBezTo>
                <a:cubicBezTo>
                  <a:pt x="247415" y="81869"/>
                  <a:pt x="247274" y="163641"/>
                  <a:pt x="247284" y="247476"/>
                </a:cubicBezTo>
                <a:cubicBezTo>
                  <a:pt x="166314" y="249579"/>
                  <a:pt x="85194" y="249619"/>
                  <a:pt x="1896" y="249554"/>
                </a:cubicBezTo>
                <a:cubicBezTo>
                  <a:pt x="-163" y="167702"/>
                  <a:pt x="-45" y="85955"/>
                  <a:pt x="35" y="2131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 w="2232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936" name="Rectangle 6935">
            <a:extLst>
              <a:ext uri="{FF2B5EF4-FFF2-40B4-BE49-F238E27FC236}">
                <a16:creationId xmlns:a16="http://schemas.microsoft.com/office/drawing/2014/main" id="{E0A5AF5E-DB2A-1D16-FE5D-D27B54741363}"/>
              </a:ext>
            </a:extLst>
          </p:cNvPr>
          <p:cNvSpPr/>
          <p:nvPr/>
        </p:nvSpPr>
        <p:spPr>
          <a:xfrm>
            <a:off x="5067809" y="3646762"/>
            <a:ext cx="1695698" cy="904812"/>
          </a:xfrm>
          <a:prstGeom prst="rect">
            <a:avLst/>
          </a:prstGeom>
          <a:solidFill>
            <a:srgbClr val="FEFEFE"/>
          </a:solidFill>
          <a:ln w="2232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937" name="Free-form: Shape 6936">
            <a:extLst>
              <a:ext uri="{FF2B5EF4-FFF2-40B4-BE49-F238E27FC236}">
                <a16:creationId xmlns:a16="http://schemas.microsoft.com/office/drawing/2014/main" id="{34CD9543-EBE3-4F80-A245-58E75FA40C0A}"/>
              </a:ext>
            </a:extLst>
          </p:cNvPr>
          <p:cNvSpPr/>
          <p:nvPr/>
        </p:nvSpPr>
        <p:spPr>
          <a:xfrm>
            <a:off x="5068134" y="3604427"/>
            <a:ext cx="1695256" cy="42716"/>
          </a:xfrm>
          <a:custGeom>
            <a:avLst/>
            <a:gdLst>
              <a:gd name="csX0" fmla="*/ 3755128 w 3755930"/>
              <a:gd name="csY0" fmla="*/ 93229 h 94640"/>
              <a:gd name="csX1" fmla="*/ 3729907 w 3755930"/>
              <a:gd name="csY1" fmla="*/ 93990 h 94640"/>
              <a:gd name="csX2" fmla="*/ 505865 w 3755930"/>
              <a:gd name="csY2" fmla="*/ 93795 h 94640"/>
              <a:gd name="csX3" fmla="*/ 30625 w 3755930"/>
              <a:gd name="csY3" fmla="*/ 93877 h 94640"/>
              <a:gd name="csX4" fmla="*/ 1935 w 3755930"/>
              <a:gd name="csY4" fmla="*/ 94641 h 94640"/>
              <a:gd name="csX5" fmla="*/ 0 w 3755930"/>
              <a:gd name="csY5" fmla="*/ 3631 h 94640"/>
              <a:gd name="csX6" fmla="*/ 1411 w 3755930"/>
              <a:gd name="csY6" fmla="*/ 2255 h 94640"/>
              <a:gd name="csX7" fmla="*/ 3219 w 3755930"/>
              <a:gd name="csY7" fmla="*/ 1125 h 94640"/>
              <a:gd name="csX8" fmla="*/ 25418 w 3755930"/>
              <a:gd name="csY8" fmla="*/ 0 h 94640"/>
              <a:gd name="csX9" fmla="*/ 3750326 w 3755930"/>
              <a:gd name="csY9" fmla="*/ 735 h 94640"/>
              <a:gd name="csX10" fmla="*/ 3755930 w 3755930"/>
              <a:gd name="csY10" fmla="*/ 3611 h 94640"/>
              <a:gd name="csX11" fmla="*/ 3755128 w 3755930"/>
              <a:gd name="csY11" fmla="*/ 93229 h 9464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3755930" h="94640">
                <a:moveTo>
                  <a:pt x="3755128" y="93229"/>
                </a:moveTo>
                <a:cubicBezTo>
                  <a:pt x="3746185" y="94854"/>
                  <a:pt x="3738046" y="93991"/>
                  <a:pt x="3729907" y="93990"/>
                </a:cubicBezTo>
                <a:cubicBezTo>
                  <a:pt x="2655226" y="93883"/>
                  <a:pt x="1580545" y="93835"/>
                  <a:pt x="505865" y="93795"/>
                </a:cubicBezTo>
                <a:cubicBezTo>
                  <a:pt x="347451" y="93789"/>
                  <a:pt x="189039" y="93824"/>
                  <a:pt x="30625" y="93877"/>
                </a:cubicBezTo>
                <a:cubicBezTo>
                  <a:pt x="21707" y="93880"/>
                  <a:pt x="12788" y="94217"/>
                  <a:pt x="1935" y="94641"/>
                </a:cubicBezTo>
                <a:cubicBezTo>
                  <a:pt x="0" y="64531"/>
                  <a:pt x="0" y="34178"/>
                  <a:pt x="0" y="3631"/>
                </a:cubicBezTo>
                <a:cubicBezTo>
                  <a:pt x="344" y="3290"/>
                  <a:pt x="835" y="2720"/>
                  <a:pt x="1411" y="2255"/>
                </a:cubicBezTo>
                <a:cubicBezTo>
                  <a:pt x="1967" y="1806"/>
                  <a:pt x="2593" y="1163"/>
                  <a:pt x="3219" y="1125"/>
                </a:cubicBezTo>
                <a:cubicBezTo>
                  <a:pt x="10615" y="678"/>
                  <a:pt x="18018" y="-1"/>
                  <a:pt x="25418" y="0"/>
                </a:cubicBezTo>
                <a:cubicBezTo>
                  <a:pt x="1267054" y="184"/>
                  <a:pt x="2508691" y="419"/>
                  <a:pt x="3750326" y="735"/>
                </a:cubicBezTo>
                <a:cubicBezTo>
                  <a:pt x="3751600" y="735"/>
                  <a:pt x="3752874" y="1997"/>
                  <a:pt x="3755930" y="3611"/>
                </a:cubicBezTo>
                <a:cubicBezTo>
                  <a:pt x="3755930" y="32126"/>
                  <a:pt x="3755930" y="61635"/>
                  <a:pt x="3755128" y="93229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 w="2232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938" name="Oval 6937">
            <a:extLst>
              <a:ext uri="{FF2B5EF4-FFF2-40B4-BE49-F238E27FC236}">
                <a16:creationId xmlns:a16="http://schemas.microsoft.com/office/drawing/2014/main" id="{4888A5B7-AE48-3544-740D-930FE3C40E26}"/>
              </a:ext>
            </a:extLst>
          </p:cNvPr>
          <p:cNvSpPr/>
          <p:nvPr/>
        </p:nvSpPr>
        <p:spPr>
          <a:xfrm>
            <a:off x="5179702" y="3765228"/>
            <a:ext cx="681608" cy="683522"/>
          </a:xfrm>
          <a:prstGeom prst="ellipse">
            <a:avLst/>
          </a:prstGeom>
          <a:solidFill>
            <a:srgbClr val="2C5E77"/>
          </a:solidFill>
          <a:ln w="2232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939" name="Oval 6938">
            <a:extLst>
              <a:ext uri="{FF2B5EF4-FFF2-40B4-BE49-F238E27FC236}">
                <a16:creationId xmlns:a16="http://schemas.microsoft.com/office/drawing/2014/main" id="{894E242A-8D3F-1106-1660-BF9E81FFFC09}"/>
              </a:ext>
            </a:extLst>
          </p:cNvPr>
          <p:cNvSpPr/>
          <p:nvPr/>
        </p:nvSpPr>
        <p:spPr>
          <a:xfrm>
            <a:off x="5984609" y="3765190"/>
            <a:ext cx="668565" cy="683730"/>
          </a:xfrm>
          <a:prstGeom prst="ellipse">
            <a:avLst/>
          </a:prstGeom>
          <a:solidFill>
            <a:srgbClr val="2C5E77"/>
          </a:solidFill>
          <a:ln w="2232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943" name="Free-form: Shape 6942">
            <a:extLst>
              <a:ext uri="{FF2B5EF4-FFF2-40B4-BE49-F238E27FC236}">
                <a16:creationId xmlns:a16="http://schemas.microsoft.com/office/drawing/2014/main" id="{BE30F429-26CA-5781-87E4-A3E3E7EEF08D}"/>
              </a:ext>
            </a:extLst>
          </p:cNvPr>
          <p:cNvSpPr/>
          <p:nvPr/>
        </p:nvSpPr>
        <p:spPr>
          <a:xfrm>
            <a:off x="5867528" y="4088256"/>
            <a:ext cx="610" cy="22306"/>
          </a:xfrm>
          <a:custGeom>
            <a:avLst/>
            <a:gdLst>
              <a:gd name="csX0" fmla="*/ 1262 w 1352"/>
              <a:gd name="csY0" fmla="*/ 49421 h 49420"/>
              <a:gd name="csX1" fmla="*/ 13 w 1352"/>
              <a:gd name="csY1" fmla="*/ 0 h 49420"/>
              <a:gd name="csX2" fmla="*/ 1262 w 1352"/>
              <a:gd name="csY2" fmla="*/ 49421 h 4942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352" h="49420">
                <a:moveTo>
                  <a:pt x="1262" y="49421"/>
                </a:moveTo>
                <a:cubicBezTo>
                  <a:pt x="81" y="34555"/>
                  <a:pt x="-51" y="18393"/>
                  <a:pt x="13" y="0"/>
                </a:cubicBezTo>
                <a:cubicBezTo>
                  <a:pt x="911" y="14554"/>
                  <a:pt x="1610" y="31339"/>
                  <a:pt x="1262" y="49421"/>
                </a:cubicBezTo>
                <a:close/>
              </a:path>
            </a:pathLst>
          </a:custGeom>
          <a:solidFill>
            <a:schemeClr val="accent1"/>
          </a:solidFill>
          <a:ln w="2232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944" name="Free-form: Shape 6943">
            <a:extLst>
              <a:ext uri="{FF2B5EF4-FFF2-40B4-BE49-F238E27FC236}">
                <a16:creationId xmlns:a16="http://schemas.microsoft.com/office/drawing/2014/main" id="{3154FC7E-4CC8-4C99-F1AE-19EAC4A7AF02}"/>
              </a:ext>
            </a:extLst>
          </p:cNvPr>
          <p:cNvSpPr/>
          <p:nvPr/>
        </p:nvSpPr>
        <p:spPr>
          <a:xfrm>
            <a:off x="5866216" y="4066810"/>
            <a:ext cx="1380" cy="10581"/>
          </a:xfrm>
          <a:custGeom>
            <a:avLst/>
            <a:gdLst>
              <a:gd name="csX0" fmla="*/ 3059 w 3058"/>
              <a:gd name="csY0" fmla="*/ 23443 h 23442"/>
              <a:gd name="csX1" fmla="*/ 0 w 3058"/>
              <a:gd name="csY1" fmla="*/ 0 h 23442"/>
              <a:gd name="csX2" fmla="*/ 3059 w 3058"/>
              <a:gd name="csY2" fmla="*/ 23443 h 2344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058" h="23442">
                <a:moveTo>
                  <a:pt x="3059" y="23443"/>
                </a:moveTo>
                <a:cubicBezTo>
                  <a:pt x="1377" y="16976"/>
                  <a:pt x="229" y="9114"/>
                  <a:pt x="0" y="0"/>
                </a:cubicBezTo>
                <a:cubicBezTo>
                  <a:pt x="1810" y="6514"/>
                  <a:pt x="2701" y="14281"/>
                  <a:pt x="3059" y="23443"/>
                </a:cubicBezTo>
                <a:close/>
              </a:path>
            </a:pathLst>
          </a:custGeom>
          <a:solidFill>
            <a:schemeClr val="accent1"/>
          </a:solidFill>
          <a:ln w="2232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945" name="Free-form: Shape 6944">
            <a:extLst>
              <a:ext uri="{FF2B5EF4-FFF2-40B4-BE49-F238E27FC236}">
                <a16:creationId xmlns:a16="http://schemas.microsoft.com/office/drawing/2014/main" id="{0DC83E96-214F-0473-0E48-EA2E07D23E91}"/>
              </a:ext>
            </a:extLst>
          </p:cNvPr>
          <p:cNvSpPr/>
          <p:nvPr/>
        </p:nvSpPr>
        <p:spPr>
          <a:xfrm>
            <a:off x="5866122" y="4120977"/>
            <a:ext cx="789" cy="6463"/>
          </a:xfrm>
          <a:custGeom>
            <a:avLst/>
            <a:gdLst>
              <a:gd name="csX0" fmla="*/ 536 w 1749"/>
              <a:gd name="csY0" fmla="*/ 14321 h 14320"/>
              <a:gd name="csX1" fmla="*/ 1203 w 1749"/>
              <a:gd name="csY1" fmla="*/ 0 h 14320"/>
              <a:gd name="csX2" fmla="*/ 536 w 1749"/>
              <a:gd name="csY2" fmla="*/ 14321 h 1432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749" h="14320">
                <a:moveTo>
                  <a:pt x="536" y="14321"/>
                </a:moveTo>
                <a:cubicBezTo>
                  <a:pt x="-328" y="10525"/>
                  <a:pt x="-176" y="5882"/>
                  <a:pt x="1203" y="0"/>
                </a:cubicBezTo>
                <a:cubicBezTo>
                  <a:pt x="2138" y="3665"/>
                  <a:pt x="1846" y="8569"/>
                  <a:pt x="536" y="14321"/>
                </a:cubicBezTo>
                <a:close/>
              </a:path>
            </a:pathLst>
          </a:custGeom>
          <a:solidFill>
            <a:schemeClr val="accent1"/>
          </a:solidFill>
          <a:ln w="2232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946" name="Free-form: Shape 6945">
            <a:extLst>
              <a:ext uri="{FF2B5EF4-FFF2-40B4-BE49-F238E27FC236}">
                <a16:creationId xmlns:a16="http://schemas.microsoft.com/office/drawing/2014/main" id="{F28D8383-7CF0-C545-EA42-3CB9EAF03A6C}"/>
              </a:ext>
            </a:extLst>
          </p:cNvPr>
          <p:cNvSpPr/>
          <p:nvPr/>
        </p:nvSpPr>
        <p:spPr>
          <a:xfrm>
            <a:off x="5203655" y="4247953"/>
            <a:ext cx="2447" cy="3995"/>
          </a:xfrm>
          <a:custGeom>
            <a:avLst/>
            <a:gdLst>
              <a:gd name="csX0" fmla="*/ 0 w 5421"/>
              <a:gd name="csY0" fmla="*/ 0 h 8851"/>
              <a:gd name="csX1" fmla="*/ 5421 w 5421"/>
              <a:gd name="csY1" fmla="*/ 8851 h 8851"/>
              <a:gd name="csX2" fmla="*/ 0 w 5421"/>
              <a:gd name="csY2" fmla="*/ 0 h 885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5421" h="8851">
                <a:moveTo>
                  <a:pt x="0" y="0"/>
                </a:moveTo>
                <a:cubicBezTo>
                  <a:pt x="1959" y="1581"/>
                  <a:pt x="3744" y="4491"/>
                  <a:pt x="5421" y="8851"/>
                </a:cubicBezTo>
                <a:cubicBezTo>
                  <a:pt x="3484" y="7311"/>
                  <a:pt x="1655" y="4320"/>
                  <a:pt x="0" y="0"/>
                </a:cubicBezTo>
                <a:close/>
              </a:path>
            </a:pathLst>
          </a:custGeom>
          <a:solidFill>
            <a:schemeClr val="accent1"/>
          </a:solidFill>
          <a:ln w="2232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947" name="Free-form: Shape 6946">
            <a:extLst>
              <a:ext uri="{FF2B5EF4-FFF2-40B4-BE49-F238E27FC236}">
                <a16:creationId xmlns:a16="http://schemas.microsoft.com/office/drawing/2014/main" id="{1EE18DF3-0006-D976-6BFC-F694DC2E925E}"/>
              </a:ext>
            </a:extLst>
          </p:cNvPr>
          <p:cNvSpPr/>
          <p:nvPr/>
        </p:nvSpPr>
        <p:spPr>
          <a:xfrm>
            <a:off x="5207834" y="4258012"/>
            <a:ext cx="2324" cy="3835"/>
          </a:xfrm>
          <a:custGeom>
            <a:avLst/>
            <a:gdLst>
              <a:gd name="csX0" fmla="*/ 0 w 5148"/>
              <a:gd name="csY0" fmla="*/ 0 h 8497"/>
              <a:gd name="csX1" fmla="*/ 5149 w 5148"/>
              <a:gd name="csY1" fmla="*/ 8497 h 8497"/>
              <a:gd name="csX2" fmla="*/ 0 w 5148"/>
              <a:gd name="csY2" fmla="*/ 0 h 849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5148" h="8497">
                <a:moveTo>
                  <a:pt x="0" y="0"/>
                </a:moveTo>
                <a:cubicBezTo>
                  <a:pt x="1885" y="1532"/>
                  <a:pt x="3559" y="4326"/>
                  <a:pt x="5149" y="8497"/>
                </a:cubicBezTo>
                <a:cubicBezTo>
                  <a:pt x="3306" y="7003"/>
                  <a:pt x="1548" y="4133"/>
                  <a:pt x="0" y="0"/>
                </a:cubicBezTo>
                <a:close/>
              </a:path>
            </a:pathLst>
          </a:custGeom>
          <a:solidFill>
            <a:schemeClr val="accent1"/>
          </a:solidFill>
          <a:ln w="2232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948" name="Free-form: Shape 6947">
            <a:extLst>
              <a:ext uri="{FF2B5EF4-FFF2-40B4-BE49-F238E27FC236}">
                <a16:creationId xmlns:a16="http://schemas.microsoft.com/office/drawing/2014/main" id="{A66A729D-1A64-177E-99B0-DDF056444BD1}"/>
              </a:ext>
            </a:extLst>
          </p:cNvPr>
          <p:cNvSpPr/>
          <p:nvPr/>
        </p:nvSpPr>
        <p:spPr>
          <a:xfrm>
            <a:off x="5480916" y="4064068"/>
            <a:ext cx="249025" cy="86369"/>
          </a:xfrm>
          <a:custGeom>
            <a:avLst/>
            <a:gdLst>
              <a:gd name="csX0" fmla="*/ 235759 w 551727"/>
              <a:gd name="csY0" fmla="*/ 133511 h 191356"/>
              <a:gd name="csX1" fmla="*/ 222423 w 551727"/>
              <a:gd name="csY1" fmla="*/ 133471 h 191356"/>
              <a:gd name="csX2" fmla="*/ 169371 w 551727"/>
              <a:gd name="csY2" fmla="*/ 158284 h 191356"/>
              <a:gd name="csX3" fmla="*/ 24191 w 551727"/>
              <a:gd name="csY3" fmla="*/ 158368 h 191356"/>
              <a:gd name="csX4" fmla="*/ 27329 w 551727"/>
              <a:gd name="csY4" fmla="*/ 28949 h 191356"/>
              <a:gd name="csX5" fmla="*/ 160942 w 551727"/>
              <a:gd name="csY5" fmla="*/ 23407 h 191356"/>
              <a:gd name="csX6" fmla="*/ 177643 w 551727"/>
              <a:gd name="csY6" fmla="*/ 44023 h 191356"/>
              <a:gd name="csX7" fmla="*/ 206454 w 551727"/>
              <a:gd name="csY7" fmla="*/ 59182 h 191356"/>
              <a:gd name="csX8" fmla="*/ 498427 w 551727"/>
              <a:gd name="csY8" fmla="*/ 58629 h 191356"/>
              <a:gd name="csX9" fmla="*/ 516244 w 551727"/>
              <a:gd name="csY9" fmla="*/ 58914 h 191356"/>
              <a:gd name="csX10" fmla="*/ 551624 w 551727"/>
              <a:gd name="csY10" fmla="*/ 93375 h 191356"/>
              <a:gd name="csX11" fmla="*/ 520869 w 551727"/>
              <a:gd name="csY11" fmla="*/ 131843 h 191356"/>
              <a:gd name="csX12" fmla="*/ 496503 w 551727"/>
              <a:gd name="csY12" fmla="*/ 133375 h 191356"/>
              <a:gd name="csX13" fmla="*/ 235759 w 551727"/>
              <a:gd name="csY13" fmla="*/ 133511 h 19135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</a:cxnLst>
            <a:rect l="l" t="t" r="r" b="b"/>
            <a:pathLst>
              <a:path w="551727" h="191356">
                <a:moveTo>
                  <a:pt x="235759" y="133511"/>
                </a:moveTo>
                <a:cubicBezTo>
                  <a:pt x="229843" y="133523"/>
                  <a:pt x="226067" y="133975"/>
                  <a:pt x="222423" y="133471"/>
                </a:cubicBezTo>
                <a:cubicBezTo>
                  <a:pt x="199277" y="130268"/>
                  <a:pt x="184153" y="137458"/>
                  <a:pt x="169371" y="158284"/>
                </a:cubicBezTo>
                <a:cubicBezTo>
                  <a:pt x="137479" y="203215"/>
                  <a:pt x="61062" y="201512"/>
                  <a:pt x="24191" y="158368"/>
                </a:cubicBezTo>
                <a:cubicBezTo>
                  <a:pt x="-9212" y="119282"/>
                  <a:pt x="-7889" y="64746"/>
                  <a:pt x="27329" y="28949"/>
                </a:cubicBezTo>
                <a:cubicBezTo>
                  <a:pt x="62942" y="-7250"/>
                  <a:pt x="122862" y="-9958"/>
                  <a:pt x="160942" y="23407"/>
                </a:cubicBezTo>
                <a:cubicBezTo>
                  <a:pt x="167532" y="29180"/>
                  <a:pt x="173747" y="36282"/>
                  <a:pt x="177643" y="44023"/>
                </a:cubicBezTo>
                <a:cubicBezTo>
                  <a:pt x="183994" y="56642"/>
                  <a:pt x="193240" y="59261"/>
                  <a:pt x="206454" y="59182"/>
                </a:cubicBezTo>
                <a:cubicBezTo>
                  <a:pt x="303776" y="58594"/>
                  <a:pt x="401102" y="58715"/>
                  <a:pt x="498427" y="58629"/>
                </a:cubicBezTo>
                <a:cubicBezTo>
                  <a:pt x="504370" y="58624"/>
                  <a:pt x="510368" y="58253"/>
                  <a:pt x="516244" y="58914"/>
                </a:cubicBezTo>
                <a:cubicBezTo>
                  <a:pt x="535205" y="61047"/>
                  <a:pt x="550133" y="75802"/>
                  <a:pt x="551624" y="93375"/>
                </a:cubicBezTo>
                <a:cubicBezTo>
                  <a:pt x="553052" y="110189"/>
                  <a:pt x="539612" y="127691"/>
                  <a:pt x="520869" y="131843"/>
                </a:cubicBezTo>
                <a:cubicBezTo>
                  <a:pt x="513015" y="133583"/>
                  <a:pt x="504641" y="133363"/>
                  <a:pt x="496503" y="133375"/>
                </a:cubicBezTo>
                <a:cubicBezTo>
                  <a:pt x="410322" y="133496"/>
                  <a:pt x="324140" y="133484"/>
                  <a:pt x="235759" y="133511"/>
                </a:cubicBezTo>
                <a:close/>
              </a:path>
            </a:pathLst>
          </a:custGeom>
          <a:solidFill>
            <a:schemeClr val="accent1"/>
          </a:solidFill>
          <a:ln w="2232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949" name="Free-form: Shape 6948">
            <a:extLst>
              <a:ext uri="{FF2B5EF4-FFF2-40B4-BE49-F238E27FC236}">
                <a16:creationId xmlns:a16="http://schemas.microsoft.com/office/drawing/2014/main" id="{B1FC21D3-CC43-144E-0EF8-1DE9978B89F5}"/>
              </a:ext>
            </a:extLst>
          </p:cNvPr>
          <p:cNvSpPr/>
          <p:nvPr/>
        </p:nvSpPr>
        <p:spPr>
          <a:xfrm>
            <a:off x="5497032" y="4372739"/>
            <a:ext cx="13249" cy="34489"/>
          </a:xfrm>
          <a:custGeom>
            <a:avLst/>
            <a:gdLst>
              <a:gd name="csX0" fmla="*/ 25184 w 29353"/>
              <a:gd name="csY0" fmla="*/ 2269 h 76412"/>
              <a:gd name="csX1" fmla="*/ 29352 w 29353"/>
              <a:gd name="csY1" fmla="*/ 62777 h 76412"/>
              <a:gd name="csX2" fmla="*/ 14684 w 29353"/>
              <a:gd name="csY2" fmla="*/ 76412 h 76412"/>
              <a:gd name="csX3" fmla="*/ 450 w 29353"/>
              <a:gd name="csY3" fmla="*/ 62178 h 76412"/>
              <a:gd name="csX4" fmla="*/ 963 w 29353"/>
              <a:gd name="csY4" fmla="*/ 11150 h 76412"/>
              <a:gd name="csX5" fmla="*/ 25184 w 29353"/>
              <a:gd name="csY5" fmla="*/ 2269 h 7641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</a:cxnLst>
            <a:rect l="l" t="t" r="r" b="b"/>
            <a:pathLst>
              <a:path w="29353" h="76412">
                <a:moveTo>
                  <a:pt x="25184" y="2269"/>
                </a:moveTo>
                <a:cubicBezTo>
                  <a:pt x="27423" y="23277"/>
                  <a:pt x="29099" y="43018"/>
                  <a:pt x="29352" y="62777"/>
                </a:cubicBezTo>
                <a:cubicBezTo>
                  <a:pt x="29459" y="71093"/>
                  <a:pt x="23086" y="76507"/>
                  <a:pt x="14684" y="76412"/>
                </a:cubicBezTo>
                <a:cubicBezTo>
                  <a:pt x="6138" y="76315"/>
                  <a:pt x="709" y="70415"/>
                  <a:pt x="450" y="62178"/>
                </a:cubicBezTo>
                <a:cubicBezTo>
                  <a:pt x="-83" y="45179"/>
                  <a:pt x="-382" y="28073"/>
                  <a:pt x="963" y="11150"/>
                </a:cubicBezTo>
                <a:cubicBezTo>
                  <a:pt x="1864" y="-176"/>
                  <a:pt x="8473" y="-2347"/>
                  <a:pt x="25184" y="2269"/>
                </a:cubicBezTo>
                <a:close/>
              </a:path>
            </a:pathLst>
          </a:custGeom>
          <a:solidFill>
            <a:schemeClr val="accent1"/>
          </a:solidFill>
          <a:ln w="2232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950" name="Free-form: Shape 6949">
            <a:extLst>
              <a:ext uri="{FF2B5EF4-FFF2-40B4-BE49-F238E27FC236}">
                <a16:creationId xmlns:a16="http://schemas.microsoft.com/office/drawing/2014/main" id="{67BE126C-55AC-0B23-7B1E-003F495C62E4}"/>
              </a:ext>
            </a:extLst>
          </p:cNvPr>
          <p:cNvSpPr/>
          <p:nvPr/>
        </p:nvSpPr>
        <p:spPr>
          <a:xfrm>
            <a:off x="5222703" y="4100711"/>
            <a:ext cx="35843" cy="13600"/>
          </a:xfrm>
          <a:custGeom>
            <a:avLst/>
            <a:gdLst>
              <a:gd name="csX0" fmla="*/ 15947 w 79412"/>
              <a:gd name="csY0" fmla="*/ 511 h 30132"/>
              <a:gd name="csX1" fmla="*/ 60160 w 79412"/>
              <a:gd name="csY1" fmla="*/ 850 h 30132"/>
              <a:gd name="csX2" fmla="*/ 77628 w 79412"/>
              <a:gd name="csY2" fmla="*/ 11559 h 30132"/>
              <a:gd name="csX3" fmla="*/ 64852 w 79412"/>
              <a:gd name="csY3" fmla="*/ 29479 h 30132"/>
              <a:gd name="csX4" fmla="*/ 18052 w 79412"/>
              <a:gd name="csY4" fmla="*/ 30047 h 30132"/>
              <a:gd name="csX5" fmla="*/ 191 w 79412"/>
              <a:gd name="csY5" fmla="*/ 17312 h 30132"/>
              <a:gd name="csX6" fmla="*/ 15947 w 79412"/>
              <a:gd name="csY6" fmla="*/ 511 h 3013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</a:cxnLst>
            <a:rect l="l" t="t" r="r" b="b"/>
            <a:pathLst>
              <a:path w="79412" h="30132">
                <a:moveTo>
                  <a:pt x="15947" y="511"/>
                </a:moveTo>
                <a:cubicBezTo>
                  <a:pt x="31975" y="356"/>
                  <a:pt x="46220" y="-737"/>
                  <a:pt x="60160" y="850"/>
                </a:cubicBezTo>
                <a:cubicBezTo>
                  <a:pt x="66453" y="1566"/>
                  <a:pt x="74138" y="6291"/>
                  <a:pt x="77628" y="11559"/>
                </a:cubicBezTo>
                <a:cubicBezTo>
                  <a:pt x="82811" y="19379"/>
                  <a:pt x="76142" y="28728"/>
                  <a:pt x="64852" y="29479"/>
                </a:cubicBezTo>
                <a:cubicBezTo>
                  <a:pt x="49308" y="30513"/>
                  <a:pt x="33657" y="29997"/>
                  <a:pt x="18052" y="30047"/>
                </a:cubicBezTo>
                <a:cubicBezTo>
                  <a:pt x="9111" y="30076"/>
                  <a:pt x="1563" y="27596"/>
                  <a:pt x="191" y="17312"/>
                </a:cubicBezTo>
                <a:cubicBezTo>
                  <a:pt x="-1173" y="7082"/>
                  <a:pt x="4847" y="2415"/>
                  <a:pt x="15947" y="511"/>
                </a:cubicBezTo>
                <a:close/>
              </a:path>
            </a:pathLst>
          </a:custGeom>
          <a:solidFill>
            <a:schemeClr val="accent1"/>
          </a:solidFill>
          <a:ln w="2232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951" name="Free-form: Shape 6950">
            <a:extLst>
              <a:ext uri="{FF2B5EF4-FFF2-40B4-BE49-F238E27FC236}">
                <a16:creationId xmlns:a16="http://schemas.microsoft.com/office/drawing/2014/main" id="{7AFAAA20-73A3-6F0B-2DEF-CAAD502CF8AD}"/>
              </a:ext>
            </a:extLst>
          </p:cNvPr>
          <p:cNvSpPr/>
          <p:nvPr/>
        </p:nvSpPr>
        <p:spPr>
          <a:xfrm>
            <a:off x="5238186" y="4237377"/>
            <a:ext cx="31835" cy="21054"/>
          </a:xfrm>
          <a:custGeom>
            <a:avLst/>
            <a:gdLst>
              <a:gd name="csX0" fmla="*/ 24655 w 70532"/>
              <a:gd name="csY0" fmla="*/ 45628 h 46646"/>
              <a:gd name="csX1" fmla="*/ 0 w 70532"/>
              <a:gd name="csY1" fmla="*/ 28798 h 46646"/>
              <a:gd name="csX2" fmla="*/ 46800 w 70532"/>
              <a:gd name="csY2" fmla="*/ 1636 h 46646"/>
              <a:gd name="csX3" fmla="*/ 57559 w 70532"/>
              <a:gd name="csY3" fmla="*/ 523 h 46646"/>
              <a:gd name="csX4" fmla="*/ 70296 w 70532"/>
              <a:gd name="csY4" fmla="*/ 10232 h 46646"/>
              <a:gd name="csX5" fmla="*/ 64130 w 70532"/>
              <a:gd name="csY5" fmla="*/ 22408 h 46646"/>
              <a:gd name="csX6" fmla="*/ 37585 w 70532"/>
              <a:gd name="csY6" fmla="*/ 38268 h 46646"/>
              <a:gd name="csX7" fmla="*/ 24655 w 70532"/>
              <a:gd name="csY7" fmla="*/ 45628 h 4664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</a:cxnLst>
            <a:rect l="l" t="t" r="r" b="b"/>
            <a:pathLst>
              <a:path w="70532" h="46646">
                <a:moveTo>
                  <a:pt x="24655" y="45628"/>
                </a:moveTo>
                <a:cubicBezTo>
                  <a:pt x="9519" y="49152"/>
                  <a:pt x="2044" y="43527"/>
                  <a:pt x="0" y="28798"/>
                </a:cubicBezTo>
                <a:cubicBezTo>
                  <a:pt x="13548" y="16608"/>
                  <a:pt x="29172" y="7406"/>
                  <a:pt x="46800" y="1636"/>
                </a:cubicBezTo>
                <a:cubicBezTo>
                  <a:pt x="50220" y="517"/>
                  <a:pt x="54645" y="-729"/>
                  <a:pt x="57559" y="523"/>
                </a:cubicBezTo>
                <a:cubicBezTo>
                  <a:pt x="62458" y="2628"/>
                  <a:pt x="68190" y="5879"/>
                  <a:pt x="70296" y="10232"/>
                </a:cubicBezTo>
                <a:cubicBezTo>
                  <a:pt x="71548" y="12819"/>
                  <a:pt x="67587" y="19869"/>
                  <a:pt x="64130" y="22408"/>
                </a:cubicBezTo>
                <a:cubicBezTo>
                  <a:pt x="55860" y="28481"/>
                  <a:pt x="46498" y="33066"/>
                  <a:pt x="37585" y="38268"/>
                </a:cubicBezTo>
                <a:cubicBezTo>
                  <a:pt x="33764" y="40498"/>
                  <a:pt x="29964" y="42766"/>
                  <a:pt x="24655" y="45628"/>
                </a:cubicBezTo>
                <a:close/>
              </a:path>
            </a:pathLst>
          </a:custGeom>
          <a:solidFill>
            <a:schemeClr val="accent1"/>
          </a:solidFill>
          <a:ln w="2232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952" name="Free-form: Shape 6951">
            <a:extLst>
              <a:ext uri="{FF2B5EF4-FFF2-40B4-BE49-F238E27FC236}">
                <a16:creationId xmlns:a16="http://schemas.microsoft.com/office/drawing/2014/main" id="{3BABE403-B601-B788-8FCB-7291AE74A66F}"/>
              </a:ext>
            </a:extLst>
          </p:cNvPr>
          <p:cNvSpPr/>
          <p:nvPr/>
        </p:nvSpPr>
        <p:spPr>
          <a:xfrm>
            <a:off x="5517575" y="3808324"/>
            <a:ext cx="13336" cy="35251"/>
          </a:xfrm>
          <a:custGeom>
            <a:avLst/>
            <a:gdLst>
              <a:gd name="csX0" fmla="*/ 484 w 29546"/>
              <a:gd name="csY0" fmla="*/ 62275 h 78101"/>
              <a:gd name="csX1" fmla="*/ 215 w 29546"/>
              <a:gd name="csY1" fmla="*/ 24979 h 78101"/>
              <a:gd name="csX2" fmla="*/ 3685 w 29546"/>
              <a:gd name="csY2" fmla="*/ 7940 h 78101"/>
              <a:gd name="csX3" fmla="*/ 17481 w 29546"/>
              <a:gd name="csY3" fmla="*/ 38 h 78101"/>
              <a:gd name="csX4" fmla="*/ 28647 w 29546"/>
              <a:gd name="csY4" fmla="*/ 10859 h 78101"/>
              <a:gd name="csX5" fmla="*/ 28637 w 29546"/>
              <a:gd name="csY5" fmla="*/ 66167 h 78101"/>
              <a:gd name="csX6" fmla="*/ 17706 w 29546"/>
              <a:gd name="csY6" fmla="*/ 77691 h 78101"/>
              <a:gd name="csX7" fmla="*/ 484 w 29546"/>
              <a:gd name="csY7" fmla="*/ 62275 h 7810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</a:cxnLst>
            <a:rect l="l" t="t" r="r" b="b"/>
            <a:pathLst>
              <a:path w="29546" h="78101">
                <a:moveTo>
                  <a:pt x="484" y="62275"/>
                </a:moveTo>
                <a:cubicBezTo>
                  <a:pt x="119" y="48621"/>
                  <a:pt x="-243" y="36784"/>
                  <a:pt x="215" y="24979"/>
                </a:cubicBezTo>
                <a:cubicBezTo>
                  <a:pt x="441" y="19173"/>
                  <a:pt x="712" y="12453"/>
                  <a:pt x="3685" y="7940"/>
                </a:cubicBezTo>
                <a:cubicBezTo>
                  <a:pt x="6406" y="3809"/>
                  <a:pt x="13073" y="-450"/>
                  <a:pt x="17481" y="38"/>
                </a:cubicBezTo>
                <a:cubicBezTo>
                  <a:pt x="21725" y="508"/>
                  <a:pt x="28381" y="6785"/>
                  <a:pt x="28647" y="10859"/>
                </a:cubicBezTo>
                <a:cubicBezTo>
                  <a:pt x="29850" y="29238"/>
                  <a:pt x="29846" y="47787"/>
                  <a:pt x="28637" y="66167"/>
                </a:cubicBezTo>
                <a:cubicBezTo>
                  <a:pt x="28358" y="70395"/>
                  <a:pt x="22170" y="76656"/>
                  <a:pt x="17706" y="77691"/>
                </a:cubicBezTo>
                <a:cubicBezTo>
                  <a:pt x="8025" y="79934"/>
                  <a:pt x="3234" y="72731"/>
                  <a:pt x="484" y="62275"/>
                </a:cubicBezTo>
                <a:close/>
              </a:path>
            </a:pathLst>
          </a:custGeom>
          <a:solidFill>
            <a:schemeClr val="accent1"/>
          </a:solidFill>
          <a:ln w="2232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953" name="Free-form: Shape 6952">
            <a:extLst>
              <a:ext uri="{FF2B5EF4-FFF2-40B4-BE49-F238E27FC236}">
                <a16:creationId xmlns:a16="http://schemas.microsoft.com/office/drawing/2014/main" id="{7B58EBF8-8025-D1CB-ABD5-98E35AB82B0B}"/>
              </a:ext>
            </a:extLst>
          </p:cNvPr>
          <p:cNvSpPr/>
          <p:nvPr/>
        </p:nvSpPr>
        <p:spPr>
          <a:xfrm>
            <a:off x="5792198" y="4101967"/>
            <a:ext cx="34036" cy="12430"/>
          </a:xfrm>
          <a:custGeom>
            <a:avLst/>
            <a:gdLst>
              <a:gd name="csX0" fmla="*/ 37144 w 75408"/>
              <a:gd name="csY0" fmla="*/ 27284 h 27540"/>
              <a:gd name="csX1" fmla="*/ 12950 w 75408"/>
              <a:gd name="csY1" fmla="*/ 27027 h 27540"/>
              <a:gd name="csX2" fmla="*/ 30 w 75408"/>
              <a:gd name="csY2" fmla="*/ 14822 h 27540"/>
              <a:gd name="csX3" fmla="*/ 8324 w 75408"/>
              <a:gd name="csY3" fmla="*/ 1268 h 27540"/>
              <a:gd name="csX4" fmla="*/ 67337 w 75408"/>
              <a:gd name="csY4" fmla="*/ 833 h 27540"/>
              <a:gd name="csX5" fmla="*/ 75407 w 75408"/>
              <a:gd name="csY5" fmla="*/ 16389 h 27540"/>
              <a:gd name="csX6" fmla="*/ 63446 w 75408"/>
              <a:gd name="csY6" fmla="*/ 26528 h 27540"/>
              <a:gd name="csX7" fmla="*/ 37144 w 75408"/>
              <a:gd name="csY7" fmla="*/ 27284 h 2754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</a:cxnLst>
            <a:rect l="l" t="t" r="r" b="b"/>
            <a:pathLst>
              <a:path w="75408" h="27540">
                <a:moveTo>
                  <a:pt x="37144" y="27284"/>
                </a:moveTo>
                <a:cubicBezTo>
                  <a:pt x="27716" y="27213"/>
                  <a:pt x="20325" y="27322"/>
                  <a:pt x="12950" y="27027"/>
                </a:cubicBezTo>
                <a:cubicBezTo>
                  <a:pt x="5204" y="26716"/>
                  <a:pt x="-465" y="22149"/>
                  <a:pt x="30" y="14822"/>
                </a:cubicBezTo>
                <a:cubicBezTo>
                  <a:pt x="361" y="9931"/>
                  <a:pt x="5081" y="1507"/>
                  <a:pt x="8324" y="1268"/>
                </a:cubicBezTo>
                <a:cubicBezTo>
                  <a:pt x="27933" y="-179"/>
                  <a:pt x="47733" y="-474"/>
                  <a:pt x="67337" y="833"/>
                </a:cubicBezTo>
                <a:cubicBezTo>
                  <a:pt x="70621" y="1052"/>
                  <a:pt x="75509" y="11011"/>
                  <a:pt x="75407" y="16389"/>
                </a:cubicBezTo>
                <a:cubicBezTo>
                  <a:pt x="75338" y="19992"/>
                  <a:pt x="68219" y="25433"/>
                  <a:pt x="63446" y="26528"/>
                </a:cubicBezTo>
                <a:cubicBezTo>
                  <a:pt x="55708" y="28302"/>
                  <a:pt x="47307" y="27183"/>
                  <a:pt x="37144" y="27284"/>
                </a:cubicBezTo>
                <a:close/>
              </a:path>
            </a:pathLst>
          </a:custGeom>
          <a:solidFill>
            <a:schemeClr val="accent1"/>
          </a:solidFill>
          <a:ln w="2232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954" name="Free-form: Shape 6953">
            <a:extLst>
              <a:ext uri="{FF2B5EF4-FFF2-40B4-BE49-F238E27FC236}">
                <a16:creationId xmlns:a16="http://schemas.microsoft.com/office/drawing/2014/main" id="{1304E53C-C403-350F-90CB-1781DAEEC987}"/>
              </a:ext>
            </a:extLst>
          </p:cNvPr>
          <p:cNvSpPr/>
          <p:nvPr/>
        </p:nvSpPr>
        <p:spPr>
          <a:xfrm>
            <a:off x="5756517" y="3954108"/>
            <a:ext cx="29709" cy="22431"/>
          </a:xfrm>
          <a:custGeom>
            <a:avLst/>
            <a:gdLst>
              <a:gd name="csX0" fmla="*/ 10353 w 65822"/>
              <a:gd name="csY0" fmla="*/ 22197 h 49696"/>
              <a:gd name="csX1" fmla="*/ 44239 w 65822"/>
              <a:gd name="csY1" fmla="*/ 2585 h 49696"/>
              <a:gd name="csX2" fmla="*/ 63347 w 65822"/>
              <a:gd name="csY2" fmla="*/ 6684 h 49696"/>
              <a:gd name="csX3" fmla="*/ 59333 w 65822"/>
              <a:gd name="csY3" fmla="*/ 23786 h 49696"/>
              <a:gd name="csX4" fmla="*/ 25621 w 65822"/>
              <a:gd name="csY4" fmla="*/ 44660 h 49696"/>
              <a:gd name="csX5" fmla="*/ 3797 w 65822"/>
              <a:gd name="csY5" fmla="*/ 45191 h 49696"/>
              <a:gd name="csX6" fmla="*/ 10353 w 65822"/>
              <a:gd name="csY6" fmla="*/ 22197 h 4969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</a:cxnLst>
            <a:rect l="l" t="t" r="r" b="b"/>
            <a:pathLst>
              <a:path w="65822" h="49696">
                <a:moveTo>
                  <a:pt x="10353" y="22197"/>
                </a:moveTo>
                <a:cubicBezTo>
                  <a:pt x="22552" y="15045"/>
                  <a:pt x="33461" y="8927"/>
                  <a:pt x="44239" y="2585"/>
                </a:cubicBezTo>
                <a:cubicBezTo>
                  <a:pt x="51995" y="-1979"/>
                  <a:pt x="58327" y="-430"/>
                  <a:pt x="63347" y="6684"/>
                </a:cubicBezTo>
                <a:cubicBezTo>
                  <a:pt x="68318" y="13730"/>
                  <a:pt x="65199" y="19796"/>
                  <a:pt x="59333" y="23786"/>
                </a:cubicBezTo>
                <a:cubicBezTo>
                  <a:pt x="48415" y="31213"/>
                  <a:pt x="36784" y="37581"/>
                  <a:pt x="25621" y="44660"/>
                </a:cubicBezTo>
                <a:cubicBezTo>
                  <a:pt x="18280" y="49316"/>
                  <a:pt x="10325" y="52925"/>
                  <a:pt x="3797" y="45191"/>
                </a:cubicBezTo>
                <a:cubicBezTo>
                  <a:pt x="-3425" y="36635"/>
                  <a:pt x="147" y="28829"/>
                  <a:pt x="10353" y="22197"/>
                </a:cubicBezTo>
                <a:close/>
              </a:path>
            </a:pathLst>
          </a:custGeom>
          <a:solidFill>
            <a:schemeClr val="accent1"/>
          </a:solidFill>
          <a:ln w="2232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955" name="Free-form: Shape 6954">
            <a:extLst>
              <a:ext uri="{FF2B5EF4-FFF2-40B4-BE49-F238E27FC236}">
                <a16:creationId xmlns:a16="http://schemas.microsoft.com/office/drawing/2014/main" id="{5A8B513B-5C36-7B6D-8E9E-CA791EE6FC7C}"/>
              </a:ext>
            </a:extLst>
          </p:cNvPr>
          <p:cNvSpPr/>
          <p:nvPr/>
        </p:nvSpPr>
        <p:spPr>
          <a:xfrm>
            <a:off x="5371999" y="3847198"/>
            <a:ext cx="21400" cy="29012"/>
          </a:xfrm>
          <a:custGeom>
            <a:avLst/>
            <a:gdLst>
              <a:gd name="csX0" fmla="*/ 18696 w 47412"/>
              <a:gd name="csY0" fmla="*/ 0 h 64277"/>
              <a:gd name="csX1" fmla="*/ 45427 w 47412"/>
              <a:gd name="csY1" fmla="*/ 44380 h 64277"/>
              <a:gd name="csX2" fmla="*/ 41215 w 47412"/>
              <a:gd name="csY2" fmla="*/ 61842 h 64277"/>
              <a:gd name="csX3" fmla="*/ 22227 w 47412"/>
              <a:gd name="csY3" fmla="*/ 56821 h 64277"/>
              <a:gd name="csX4" fmla="*/ 2620 w 47412"/>
              <a:gd name="csY4" fmla="*/ 19746 h 64277"/>
              <a:gd name="csX5" fmla="*/ 18696 w 47412"/>
              <a:gd name="csY5" fmla="*/ 0 h 6427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</a:cxnLst>
            <a:rect l="l" t="t" r="r" b="b"/>
            <a:pathLst>
              <a:path w="47412" h="64277">
                <a:moveTo>
                  <a:pt x="18696" y="0"/>
                </a:moveTo>
                <a:cubicBezTo>
                  <a:pt x="28623" y="15243"/>
                  <a:pt x="37368" y="29625"/>
                  <a:pt x="45427" y="44380"/>
                </a:cubicBezTo>
                <a:cubicBezTo>
                  <a:pt x="48966" y="50860"/>
                  <a:pt x="47898" y="57573"/>
                  <a:pt x="41215" y="61842"/>
                </a:cubicBezTo>
                <a:cubicBezTo>
                  <a:pt x="33378" y="66848"/>
                  <a:pt x="26365" y="63623"/>
                  <a:pt x="22227" y="56821"/>
                </a:cubicBezTo>
                <a:cubicBezTo>
                  <a:pt x="14971" y="44891"/>
                  <a:pt x="8296" y="32498"/>
                  <a:pt x="2620" y="19746"/>
                </a:cubicBezTo>
                <a:cubicBezTo>
                  <a:pt x="-3240" y="6583"/>
                  <a:pt x="154" y="2484"/>
                  <a:pt x="18696" y="0"/>
                </a:cubicBezTo>
                <a:close/>
              </a:path>
            </a:pathLst>
          </a:custGeom>
          <a:solidFill>
            <a:schemeClr val="accent1"/>
          </a:solidFill>
          <a:ln w="2232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956" name="Free-form: Shape 6955">
            <a:extLst>
              <a:ext uri="{FF2B5EF4-FFF2-40B4-BE49-F238E27FC236}">
                <a16:creationId xmlns:a16="http://schemas.microsoft.com/office/drawing/2014/main" id="{16DACF68-06A8-E47F-DF34-7B9E93C47ECA}"/>
              </a:ext>
            </a:extLst>
          </p:cNvPr>
          <p:cNvSpPr/>
          <p:nvPr/>
        </p:nvSpPr>
        <p:spPr>
          <a:xfrm>
            <a:off x="5344302" y="4338425"/>
            <a:ext cx="22171" cy="28479"/>
          </a:xfrm>
          <a:custGeom>
            <a:avLst/>
            <a:gdLst>
              <a:gd name="csX0" fmla="*/ 49122 w 49122"/>
              <a:gd name="csY0" fmla="*/ 8828 h 63097"/>
              <a:gd name="csX1" fmla="*/ 25348 w 49122"/>
              <a:gd name="csY1" fmla="*/ 55151 h 63097"/>
              <a:gd name="csX2" fmla="*/ 6282 w 49122"/>
              <a:gd name="csY2" fmla="*/ 60809 h 63097"/>
              <a:gd name="csX3" fmla="*/ 2939 w 49122"/>
              <a:gd name="csY3" fmla="*/ 41387 h 63097"/>
              <a:gd name="csX4" fmla="*/ 22079 w 49122"/>
              <a:gd name="csY4" fmla="*/ 8721 h 63097"/>
              <a:gd name="csX5" fmla="*/ 49122 w 49122"/>
              <a:gd name="csY5" fmla="*/ 8828 h 6309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</a:cxnLst>
            <a:rect l="l" t="t" r="r" b="b"/>
            <a:pathLst>
              <a:path w="49122" h="63097">
                <a:moveTo>
                  <a:pt x="49122" y="8828"/>
                </a:moveTo>
                <a:cubicBezTo>
                  <a:pt x="41523" y="25337"/>
                  <a:pt x="34124" y="40661"/>
                  <a:pt x="25348" y="55151"/>
                </a:cubicBezTo>
                <a:cubicBezTo>
                  <a:pt x="21458" y="61573"/>
                  <a:pt x="14420" y="66015"/>
                  <a:pt x="6282" y="60809"/>
                </a:cubicBezTo>
                <a:cubicBezTo>
                  <a:pt x="-1553" y="55798"/>
                  <a:pt x="-1318" y="48763"/>
                  <a:pt x="2939" y="41387"/>
                </a:cubicBezTo>
                <a:cubicBezTo>
                  <a:pt x="9249" y="30455"/>
                  <a:pt x="15158" y="19254"/>
                  <a:pt x="22079" y="8721"/>
                </a:cubicBezTo>
                <a:cubicBezTo>
                  <a:pt x="29737" y="-2935"/>
                  <a:pt x="35149" y="-2914"/>
                  <a:pt x="49122" y="8828"/>
                </a:cubicBezTo>
                <a:close/>
              </a:path>
            </a:pathLst>
          </a:custGeom>
          <a:solidFill>
            <a:schemeClr val="accent1"/>
          </a:solidFill>
          <a:ln w="2232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957" name="Free-form: Shape 6956">
            <a:extLst>
              <a:ext uri="{FF2B5EF4-FFF2-40B4-BE49-F238E27FC236}">
                <a16:creationId xmlns:a16="http://schemas.microsoft.com/office/drawing/2014/main" id="{B30D3B4E-6596-CA3A-C6BE-C46869230BD6}"/>
              </a:ext>
            </a:extLst>
          </p:cNvPr>
          <p:cNvSpPr/>
          <p:nvPr/>
        </p:nvSpPr>
        <p:spPr>
          <a:xfrm>
            <a:off x="5656281" y="3846693"/>
            <a:ext cx="21579" cy="29549"/>
          </a:xfrm>
          <a:custGeom>
            <a:avLst/>
            <a:gdLst>
              <a:gd name="csX0" fmla="*/ 40780 w 47809"/>
              <a:gd name="csY0" fmla="*/ 31738 h 65468"/>
              <a:gd name="csX1" fmla="*/ 26724 w 47809"/>
              <a:gd name="csY1" fmla="*/ 56211 h 65468"/>
              <a:gd name="csX2" fmla="*/ 6389 w 47809"/>
              <a:gd name="csY2" fmla="*/ 63204 h 65468"/>
              <a:gd name="csX3" fmla="*/ 2593 w 47809"/>
              <a:gd name="csY3" fmla="*/ 43797 h 65468"/>
              <a:gd name="csX4" fmla="*/ 23186 w 47809"/>
              <a:gd name="csY4" fmla="*/ 7148 h 65468"/>
              <a:gd name="csX5" fmla="*/ 40267 w 47809"/>
              <a:gd name="csY5" fmla="*/ 1428 h 65468"/>
              <a:gd name="csX6" fmla="*/ 47027 w 47809"/>
              <a:gd name="csY6" fmla="*/ 18221 h 65468"/>
              <a:gd name="csX7" fmla="*/ 40780 w 47809"/>
              <a:gd name="csY7" fmla="*/ 31738 h 6546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</a:cxnLst>
            <a:rect l="l" t="t" r="r" b="b"/>
            <a:pathLst>
              <a:path w="47809" h="65468">
                <a:moveTo>
                  <a:pt x="40780" y="31738"/>
                </a:moveTo>
                <a:cubicBezTo>
                  <a:pt x="35532" y="40863"/>
                  <a:pt x="31399" y="48706"/>
                  <a:pt x="26724" y="56211"/>
                </a:cubicBezTo>
                <a:cubicBezTo>
                  <a:pt x="21960" y="63858"/>
                  <a:pt x="15312" y="68487"/>
                  <a:pt x="6389" y="63204"/>
                </a:cubicBezTo>
                <a:cubicBezTo>
                  <a:pt x="-1504" y="58532"/>
                  <a:pt x="-1221" y="50986"/>
                  <a:pt x="2593" y="43797"/>
                </a:cubicBezTo>
                <a:cubicBezTo>
                  <a:pt x="9159" y="31421"/>
                  <a:pt x="16011" y="19181"/>
                  <a:pt x="23186" y="7148"/>
                </a:cubicBezTo>
                <a:cubicBezTo>
                  <a:pt x="27011" y="733"/>
                  <a:pt x="33085" y="-1861"/>
                  <a:pt x="40267" y="1428"/>
                </a:cubicBezTo>
                <a:cubicBezTo>
                  <a:pt x="47526" y="4751"/>
                  <a:pt x="48961" y="11186"/>
                  <a:pt x="47027" y="18221"/>
                </a:cubicBezTo>
                <a:cubicBezTo>
                  <a:pt x="45871" y="22424"/>
                  <a:pt x="43489" y="26290"/>
                  <a:pt x="40780" y="31738"/>
                </a:cubicBezTo>
                <a:close/>
              </a:path>
            </a:pathLst>
          </a:custGeom>
          <a:solidFill>
            <a:schemeClr val="accent1"/>
          </a:solidFill>
          <a:ln w="2232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958" name="Free-form: Shape 6957">
            <a:extLst>
              <a:ext uri="{FF2B5EF4-FFF2-40B4-BE49-F238E27FC236}">
                <a16:creationId xmlns:a16="http://schemas.microsoft.com/office/drawing/2014/main" id="{919496C2-6127-171E-D6CA-578D78576F0B}"/>
              </a:ext>
            </a:extLst>
          </p:cNvPr>
          <p:cNvSpPr/>
          <p:nvPr/>
        </p:nvSpPr>
        <p:spPr>
          <a:xfrm>
            <a:off x="5263808" y="3954022"/>
            <a:ext cx="28974" cy="21518"/>
          </a:xfrm>
          <a:custGeom>
            <a:avLst/>
            <a:gdLst>
              <a:gd name="csX0" fmla="*/ 62540 w 64193"/>
              <a:gd name="csY0" fmla="*/ 43547 h 47674"/>
              <a:gd name="csX1" fmla="*/ 58281 w 64193"/>
              <a:gd name="csY1" fmla="*/ 47603 h 47674"/>
              <a:gd name="csX2" fmla="*/ 1036 w 64193"/>
              <a:gd name="csY2" fmla="*/ 18561 h 47674"/>
              <a:gd name="csX3" fmla="*/ 13303 w 64193"/>
              <a:gd name="csY3" fmla="*/ 649 h 47674"/>
              <a:gd name="csX4" fmla="*/ 63521 w 64193"/>
              <a:gd name="csY4" fmla="*/ 31660 h 47674"/>
              <a:gd name="csX5" fmla="*/ 62540 w 64193"/>
              <a:gd name="csY5" fmla="*/ 43547 h 4767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</a:cxnLst>
            <a:rect l="l" t="t" r="r" b="b"/>
            <a:pathLst>
              <a:path w="64193" h="47674">
                <a:moveTo>
                  <a:pt x="62540" y="43547"/>
                </a:moveTo>
                <a:cubicBezTo>
                  <a:pt x="60568" y="45836"/>
                  <a:pt x="59525" y="47428"/>
                  <a:pt x="58281" y="47603"/>
                </a:cubicBezTo>
                <a:cubicBezTo>
                  <a:pt x="47887" y="49073"/>
                  <a:pt x="5340" y="27343"/>
                  <a:pt x="1036" y="18561"/>
                </a:cubicBezTo>
                <a:cubicBezTo>
                  <a:pt x="-3001" y="10320"/>
                  <a:pt x="5533" y="-3108"/>
                  <a:pt x="13303" y="649"/>
                </a:cubicBezTo>
                <a:cubicBezTo>
                  <a:pt x="30940" y="9175"/>
                  <a:pt x="47176" y="20681"/>
                  <a:pt x="63521" y="31660"/>
                </a:cubicBezTo>
                <a:cubicBezTo>
                  <a:pt x="65113" y="32730"/>
                  <a:pt x="63502" y="38567"/>
                  <a:pt x="62540" y="43547"/>
                </a:cubicBezTo>
                <a:close/>
              </a:path>
            </a:pathLst>
          </a:custGeom>
          <a:solidFill>
            <a:schemeClr val="accent1"/>
          </a:solidFill>
          <a:ln w="2232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959" name="Free-form: Shape 6958">
            <a:extLst>
              <a:ext uri="{FF2B5EF4-FFF2-40B4-BE49-F238E27FC236}">
                <a16:creationId xmlns:a16="http://schemas.microsoft.com/office/drawing/2014/main" id="{4A6430A1-028D-C48A-1688-0D24A80228BB}"/>
              </a:ext>
            </a:extLst>
          </p:cNvPr>
          <p:cNvSpPr/>
          <p:nvPr/>
        </p:nvSpPr>
        <p:spPr>
          <a:xfrm>
            <a:off x="5727066" y="4238651"/>
            <a:ext cx="28765" cy="21609"/>
          </a:xfrm>
          <a:custGeom>
            <a:avLst/>
            <a:gdLst>
              <a:gd name="csX0" fmla="*/ 53601 w 63731"/>
              <a:gd name="csY0" fmla="*/ 21885 h 47875"/>
              <a:gd name="csX1" fmla="*/ 60626 w 63731"/>
              <a:gd name="csY1" fmla="*/ 43068 h 47875"/>
              <a:gd name="csX2" fmla="*/ 40825 w 63731"/>
              <a:gd name="csY2" fmla="*/ 43870 h 47875"/>
              <a:gd name="csX3" fmla="*/ 8375 w 63731"/>
              <a:gd name="csY3" fmla="*/ 24642 h 47875"/>
              <a:gd name="csX4" fmla="*/ 2339 w 63731"/>
              <a:gd name="csY4" fmla="*/ 6163 h 47875"/>
              <a:gd name="csX5" fmla="*/ 21633 w 63731"/>
              <a:gd name="csY5" fmla="*/ 3080 h 47875"/>
              <a:gd name="csX6" fmla="*/ 53601 w 63731"/>
              <a:gd name="csY6" fmla="*/ 21885 h 4787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</a:cxnLst>
            <a:rect l="l" t="t" r="r" b="b"/>
            <a:pathLst>
              <a:path w="63731" h="47875">
                <a:moveTo>
                  <a:pt x="53601" y="21885"/>
                </a:moveTo>
                <a:cubicBezTo>
                  <a:pt x="61848" y="28124"/>
                  <a:pt x="67562" y="34087"/>
                  <a:pt x="60626" y="43068"/>
                </a:cubicBezTo>
                <a:cubicBezTo>
                  <a:pt x="54619" y="50845"/>
                  <a:pt x="47524" y="47731"/>
                  <a:pt x="40825" y="43870"/>
                </a:cubicBezTo>
                <a:cubicBezTo>
                  <a:pt x="29931" y="37591"/>
                  <a:pt x="18936" y="31450"/>
                  <a:pt x="8375" y="24642"/>
                </a:cubicBezTo>
                <a:cubicBezTo>
                  <a:pt x="1797" y="20402"/>
                  <a:pt x="-3102" y="14660"/>
                  <a:pt x="2339" y="6163"/>
                </a:cubicBezTo>
                <a:cubicBezTo>
                  <a:pt x="7551" y="-1977"/>
                  <a:pt x="14478" y="-1011"/>
                  <a:pt x="21633" y="3080"/>
                </a:cubicBezTo>
                <a:cubicBezTo>
                  <a:pt x="31907" y="8956"/>
                  <a:pt x="42069" y="15031"/>
                  <a:pt x="53601" y="21885"/>
                </a:cubicBezTo>
                <a:close/>
              </a:path>
            </a:pathLst>
          </a:custGeom>
          <a:solidFill>
            <a:schemeClr val="accent1"/>
          </a:solidFill>
          <a:ln w="2232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960" name="Free-form: Shape 6959">
            <a:extLst>
              <a:ext uri="{FF2B5EF4-FFF2-40B4-BE49-F238E27FC236}">
                <a16:creationId xmlns:a16="http://schemas.microsoft.com/office/drawing/2014/main" id="{EE78FBF7-4609-1655-EE8C-CF0A67E32535}"/>
              </a:ext>
            </a:extLst>
          </p:cNvPr>
          <p:cNvSpPr/>
          <p:nvPr/>
        </p:nvSpPr>
        <p:spPr>
          <a:xfrm>
            <a:off x="5629202" y="4340984"/>
            <a:ext cx="20662" cy="25339"/>
          </a:xfrm>
          <a:custGeom>
            <a:avLst/>
            <a:gdLst>
              <a:gd name="csX0" fmla="*/ 41120 w 45778"/>
              <a:gd name="csY0" fmla="*/ 32087 h 56140"/>
              <a:gd name="csX1" fmla="*/ 45681 w 45778"/>
              <a:gd name="csY1" fmla="*/ 43563 h 56140"/>
              <a:gd name="csX2" fmla="*/ 38169 w 45778"/>
              <a:gd name="csY2" fmla="*/ 55450 h 56140"/>
              <a:gd name="csX3" fmla="*/ 24725 w 45778"/>
              <a:gd name="csY3" fmla="*/ 52923 h 56140"/>
              <a:gd name="csX4" fmla="*/ 258 w 45778"/>
              <a:gd name="csY4" fmla="*/ 10943 h 56140"/>
              <a:gd name="csX5" fmla="*/ 4311 w 45778"/>
              <a:gd name="csY5" fmla="*/ 322 h 56140"/>
              <a:gd name="csX6" fmla="*/ 22106 w 45778"/>
              <a:gd name="csY6" fmla="*/ 3040 h 56140"/>
              <a:gd name="csX7" fmla="*/ 41120 w 45778"/>
              <a:gd name="csY7" fmla="*/ 32087 h 5614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</a:cxnLst>
            <a:rect l="l" t="t" r="r" b="b"/>
            <a:pathLst>
              <a:path w="45778" h="56140">
                <a:moveTo>
                  <a:pt x="41120" y="32087"/>
                </a:moveTo>
                <a:cubicBezTo>
                  <a:pt x="43260" y="36838"/>
                  <a:pt x="46367" y="40645"/>
                  <a:pt x="45681" y="43563"/>
                </a:cubicBezTo>
                <a:cubicBezTo>
                  <a:pt x="44632" y="48031"/>
                  <a:pt x="41831" y="53815"/>
                  <a:pt x="38169" y="55450"/>
                </a:cubicBezTo>
                <a:cubicBezTo>
                  <a:pt x="34600" y="57045"/>
                  <a:pt x="26630" y="55744"/>
                  <a:pt x="24725" y="52923"/>
                </a:cubicBezTo>
                <a:cubicBezTo>
                  <a:pt x="15670" y="39517"/>
                  <a:pt x="7638" y="25356"/>
                  <a:pt x="258" y="10943"/>
                </a:cubicBezTo>
                <a:cubicBezTo>
                  <a:pt x="-977" y="8531"/>
                  <a:pt x="2526" y="481"/>
                  <a:pt x="4311" y="322"/>
                </a:cubicBezTo>
                <a:cubicBezTo>
                  <a:pt x="10285" y="-211"/>
                  <a:pt x="18794" y="-512"/>
                  <a:pt x="22106" y="3040"/>
                </a:cubicBezTo>
                <a:cubicBezTo>
                  <a:pt x="29548" y="11018"/>
                  <a:pt x="34451" y="21364"/>
                  <a:pt x="41120" y="32087"/>
                </a:cubicBezTo>
                <a:close/>
              </a:path>
            </a:pathLst>
          </a:custGeom>
          <a:solidFill>
            <a:schemeClr val="accent1"/>
          </a:solidFill>
          <a:ln w="2232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961" name="Free-form: Shape 6960">
            <a:extLst>
              <a:ext uri="{FF2B5EF4-FFF2-40B4-BE49-F238E27FC236}">
                <a16:creationId xmlns:a16="http://schemas.microsoft.com/office/drawing/2014/main" id="{69940332-5BB8-7490-0307-72E42922B7A1}"/>
              </a:ext>
            </a:extLst>
          </p:cNvPr>
          <p:cNvSpPr/>
          <p:nvPr/>
        </p:nvSpPr>
        <p:spPr>
          <a:xfrm>
            <a:off x="6135288" y="3854735"/>
            <a:ext cx="215288" cy="355643"/>
          </a:xfrm>
          <a:custGeom>
            <a:avLst/>
            <a:gdLst>
              <a:gd name="csX0" fmla="*/ 86652 w 476983"/>
              <a:gd name="csY0" fmla="*/ 688564 h 787946"/>
              <a:gd name="csX1" fmla="*/ 264265 w 476983"/>
              <a:gd name="csY1" fmla="*/ 587118 h 787946"/>
              <a:gd name="csX2" fmla="*/ 283742 w 476983"/>
              <a:gd name="csY2" fmla="*/ 555888 h 787946"/>
              <a:gd name="csX3" fmla="*/ 335854 w 476983"/>
              <a:gd name="csY3" fmla="*/ 473282 h 787946"/>
              <a:gd name="csX4" fmla="*/ 350230 w 476983"/>
              <a:gd name="csY4" fmla="*/ 446564 h 787946"/>
              <a:gd name="csX5" fmla="*/ 349998 w 476983"/>
              <a:gd name="csY5" fmla="*/ 201140 h 787946"/>
              <a:gd name="csX6" fmla="*/ 350203 w 476983"/>
              <a:gd name="csY6" fmla="*/ 47194 h 787946"/>
              <a:gd name="csX7" fmla="*/ 353240 w 476983"/>
              <a:gd name="csY7" fmla="*/ 20825 h 787946"/>
              <a:gd name="csX8" fmla="*/ 379360 w 476983"/>
              <a:gd name="csY8" fmla="*/ 37 h 787946"/>
              <a:gd name="csX9" fmla="*/ 406449 w 476983"/>
              <a:gd name="csY9" fmla="*/ 19318 h 787946"/>
              <a:gd name="csX10" fmla="*/ 409625 w 476983"/>
              <a:gd name="csY10" fmla="*/ 45569 h 787946"/>
              <a:gd name="csX11" fmla="*/ 409961 w 476983"/>
              <a:gd name="csY11" fmla="*/ 440479 h 787946"/>
              <a:gd name="csX12" fmla="*/ 409961 w 476983"/>
              <a:gd name="csY12" fmla="*/ 464653 h 787946"/>
              <a:gd name="csX13" fmla="*/ 426804 w 476983"/>
              <a:gd name="csY13" fmla="*/ 473943 h 787946"/>
              <a:gd name="csX14" fmla="*/ 465695 w 476983"/>
              <a:gd name="csY14" fmla="*/ 602795 h 787946"/>
              <a:gd name="csX15" fmla="*/ 335801 w 476983"/>
              <a:gd name="csY15" fmla="*/ 643895 h 787946"/>
              <a:gd name="csX16" fmla="*/ 326155 w 476983"/>
              <a:gd name="csY16" fmla="*/ 638353 h 787946"/>
              <a:gd name="csX17" fmla="*/ 304029 w 476983"/>
              <a:gd name="csY17" fmla="*/ 637969 h 787946"/>
              <a:gd name="csX18" fmla="*/ 208015 w 476983"/>
              <a:gd name="csY18" fmla="*/ 694608 h 787946"/>
              <a:gd name="csX19" fmla="*/ 52478 w 476983"/>
              <a:gd name="csY19" fmla="*/ 781901 h 787946"/>
              <a:gd name="csX20" fmla="*/ 25070 w 476983"/>
              <a:gd name="csY20" fmla="*/ 787630 h 787946"/>
              <a:gd name="csX21" fmla="*/ 5605 w 476983"/>
              <a:gd name="csY21" fmla="*/ 741060 h 787946"/>
              <a:gd name="csX22" fmla="*/ 30657 w 476983"/>
              <a:gd name="csY22" fmla="*/ 719688 h 787946"/>
              <a:gd name="csX23" fmla="*/ 86652 w 476983"/>
              <a:gd name="csY23" fmla="*/ 688564 h 78794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</a:cxnLst>
            <a:rect l="l" t="t" r="r" b="b"/>
            <a:pathLst>
              <a:path w="476983" h="787946">
                <a:moveTo>
                  <a:pt x="86652" y="688564"/>
                </a:moveTo>
                <a:cubicBezTo>
                  <a:pt x="146769" y="654139"/>
                  <a:pt x="205308" y="620257"/>
                  <a:pt x="264265" y="587118"/>
                </a:cubicBezTo>
                <a:cubicBezTo>
                  <a:pt x="277184" y="579858"/>
                  <a:pt x="282903" y="571670"/>
                  <a:pt x="283742" y="555888"/>
                </a:cubicBezTo>
                <a:cubicBezTo>
                  <a:pt x="285674" y="519512"/>
                  <a:pt x="302394" y="490090"/>
                  <a:pt x="335854" y="473282"/>
                </a:cubicBezTo>
                <a:cubicBezTo>
                  <a:pt x="348307" y="467027"/>
                  <a:pt x="350274" y="458558"/>
                  <a:pt x="350230" y="446564"/>
                </a:cubicBezTo>
                <a:cubicBezTo>
                  <a:pt x="349929" y="364757"/>
                  <a:pt x="350007" y="282948"/>
                  <a:pt x="349998" y="201140"/>
                </a:cubicBezTo>
                <a:cubicBezTo>
                  <a:pt x="349992" y="149824"/>
                  <a:pt x="349910" y="98508"/>
                  <a:pt x="350203" y="47194"/>
                </a:cubicBezTo>
                <a:cubicBezTo>
                  <a:pt x="350253" y="38376"/>
                  <a:pt x="350933" y="29272"/>
                  <a:pt x="353240" y="20825"/>
                </a:cubicBezTo>
                <a:cubicBezTo>
                  <a:pt x="356645" y="8352"/>
                  <a:pt x="367398" y="681"/>
                  <a:pt x="379360" y="37"/>
                </a:cubicBezTo>
                <a:cubicBezTo>
                  <a:pt x="390832" y="-580"/>
                  <a:pt x="402263" y="6510"/>
                  <a:pt x="406449" y="19318"/>
                </a:cubicBezTo>
                <a:cubicBezTo>
                  <a:pt x="409139" y="27549"/>
                  <a:pt x="409609" y="36782"/>
                  <a:pt x="409625" y="45569"/>
                </a:cubicBezTo>
                <a:cubicBezTo>
                  <a:pt x="409879" y="177205"/>
                  <a:pt x="409893" y="308843"/>
                  <a:pt x="409961" y="440479"/>
                </a:cubicBezTo>
                <a:cubicBezTo>
                  <a:pt x="409966" y="448562"/>
                  <a:pt x="409961" y="456644"/>
                  <a:pt x="409961" y="464653"/>
                </a:cubicBezTo>
                <a:cubicBezTo>
                  <a:pt x="416533" y="468275"/>
                  <a:pt x="421689" y="471074"/>
                  <a:pt x="426804" y="473943"/>
                </a:cubicBezTo>
                <a:cubicBezTo>
                  <a:pt x="473333" y="500035"/>
                  <a:pt x="490375" y="556517"/>
                  <a:pt x="465695" y="602795"/>
                </a:cubicBezTo>
                <a:cubicBezTo>
                  <a:pt x="440092" y="650804"/>
                  <a:pt x="383960" y="668578"/>
                  <a:pt x="335801" y="643895"/>
                </a:cubicBezTo>
                <a:cubicBezTo>
                  <a:pt x="332497" y="642201"/>
                  <a:pt x="328936" y="640715"/>
                  <a:pt x="326155" y="638353"/>
                </a:cubicBezTo>
                <a:cubicBezTo>
                  <a:pt x="318710" y="632030"/>
                  <a:pt x="312154" y="633035"/>
                  <a:pt x="304029" y="637969"/>
                </a:cubicBezTo>
                <a:cubicBezTo>
                  <a:pt x="272271" y="657255"/>
                  <a:pt x="240284" y="676186"/>
                  <a:pt x="208015" y="694608"/>
                </a:cubicBezTo>
                <a:cubicBezTo>
                  <a:pt x="156382" y="724084"/>
                  <a:pt x="104628" y="753358"/>
                  <a:pt x="52478" y="781901"/>
                </a:cubicBezTo>
                <a:cubicBezTo>
                  <a:pt x="44549" y="786241"/>
                  <a:pt x="33824" y="788894"/>
                  <a:pt x="25070" y="787630"/>
                </a:cubicBezTo>
                <a:cubicBezTo>
                  <a:pt x="3218" y="784475"/>
                  <a:pt x="-7273" y="759429"/>
                  <a:pt x="5605" y="741060"/>
                </a:cubicBezTo>
                <a:cubicBezTo>
                  <a:pt x="11728" y="732326"/>
                  <a:pt x="21361" y="725396"/>
                  <a:pt x="30657" y="719688"/>
                </a:cubicBezTo>
                <a:cubicBezTo>
                  <a:pt x="48372" y="708810"/>
                  <a:pt x="66985" y="699395"/>
                  <a:pt x="86652" y="688564"/>
                </a:cubicBezTo>
                <a:close/>
              </a:path>
            </a:pathLst>
          </a:custGeom>
          <a:solidFill>
            <a:schemeClr val="accent1"/>
          </a:solidFill>
          <a:ln w="2232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962" name="Free-form: Shape 6961">
            <a:extLst>
              <a:ext uri="{FF2B5EF4-FFF2-40B4-BE49-F238E27FC236}">
                <a16:creationId xmlns:a16="http://schemas.microsoft.com/office/drawing/2014/main" id="{494149D6-5A75-C35E-C977-346243DC43E3}"/>
              </a:ext>
            </a:extLst>
          </p:cNvPr>
          <p:cNvSpPr/>
          <p:nvPr/>
        </p:nvSpPr>
        <p:spPr>
          <a:xfrm>
            <a:off x="6300460" y="3807198"/>
            <a:ext cx="14172" cy="34704"/>
          </a:xfrm>
          <a:custGeom>
            <a:avLst/>
            <a:gdLst>
              <a:gd name="csX0" fmla="*/ 7289 w 31399"/>
              <a:gd name="csY0" fmla="*/ 74810 h 76888"/>
              <a:gd name="csX1" fmla="*/ 2426 w 31399"/>
              <a:gd name="csY1" fmla="*/ 8794 h 76888"/>
              <a:gd name="csX2" fmla="*/ 17655 w 31399"/>
              <a:gd name="csY2" fmla="*/ 3 h 76888"/>
              <a:gd name="csX3" fmla="*/ 30075 w 31399"/>
              <a:gd name="csY3" fmla="*/ 9593 h 76888"/>
              <a:gd name="csX4" fmla="*/ 30189 w 31399"/>
              <a:gd name="csY4" fmla="*/ 67007 h 76888"/>
              <a:gd name="csX5" fmla="*/ 7289 w 31399"/>
              <a:gd name="csY5" fmla="*/ 74810 h 7688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</a:cxnLst>
            <a:rect l="l" t="t" r="r" b="b"/>
            <a:pathLst>
              <a:path w="31399" h="76888">
                <a:moveTo>
                  <a:pt x="7289" y="74810"/>
                </a:moveTo>
                <a:cubicBezTo>
                  <a:pt x="-4498" y="52668"/>
                  <a:pt x="1275" y="30467"/>
                  <a:pt x="2426" y="8794"/>
                </a:cubicBezTo>
                <a:cubicBezTo>
                  <a:pt x="2608" y="5366"/>
                  <a:pt x="12233" y="217"/>
                  <a:pt x="17655" y="3"/>
                </a:cubicBezTo>
                <a:cubicBezTo>
                  <a:pt x="21858" y="-163"/>
                  <a:pt x="29823" y="5892"/>
                  <a:pt x="30075" y="9593"/>
                </a:cubicBezTo>
                <a:cubicBezTo>
                  <a:pt x="31376" y="28678"/>
                  <a:pt x="32204" y="48053"/>
                  <a:pt x="30189" y="67007"/>
                </a:cubicBezTo>
                <a:cubicBezTo>
                  <a:pt x="29047" y="77741"/>
                  <a:pt x="18454" y="78669"/>
                  <a:pt x="7289" y="74810"/>
                </a:cubicBezTo>
                <a:close/>
              </a:path>
            </a:pathLst>
          </a:custGeom>
          <a:solidFill>
            <a:schemeClr val="accent1"/>
          </a:solidFill>
          <a:ln w="2232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963" name="Free-form: Shape 6962">
            <a:extLst>
              <a:ext uri="{FF2B5EF4-FFF2-40B4-BE49-F238E27FC236}">
                <a16:creationId xmlns:a16="http://schemas.microsoft.com/office/drawing/2014/main" id="{F0D72D4A-0AF6-6448-345C-200D5817FB1D}"/>
              </a:ext>
            </a:extLst>
          </p:cNvPr>
          <p:cNvSpPr/>
          <p:nvPr/>
        </p:nvSpPr>
        <p:spPr>
          <a:xfrm>
            <a:off x="6300745" y="4371410"/>
            <a:ext cx="13834" cy="34601"/>
          </a:xfrm>
          <a:custGeom>
            <a:avLst/>
            <a:gdLst>
              <a:gd name="csX0" fmla="*/ 29247 w 30651"/>
              <a:gd name="csY0" fmla="*/ 69724 h 76660"/>
              <a:gd name="csX1" fmla="*/ 282 w 30651"/>
              <a:gd name="csY1" fmla="*/ 57367 h 76660"/>
              <a:gd name="csX2" fmla="*/ 543 w 30651"/>
              <a:gd name="csY2" fmla="*/ 17455 h 76660"/>
              <a:gd name="csX3" fmla="*/ 16387 w 30651"/>
              <a:gd name="csY3" fmla="*/ 126 h 76660"/>
              <a:gd name="csX4" fmla="*/ 30645 w 30651"/>
              <a:gd name="csY4" fmla="*/ 17038 h 76660"/>
              <a:gd name="csX5" fmla="*/ 29247 w 30651"/>
              <a:gd name="csY5" fmla="*/ 69724 h 7666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</a:cxnLst>
            <a:rect l="l" t="t" r="r" b="b"/>
            <a:pathLst>
              <a:path w="30651" h="76660">
                <a:moveTo>
                  <a:pt x="29247" y="69724"/>
                </a:moveTo>
                <a:cubicBezTo>
                  <a:pt x="9073" y="82000"/>
                  <a:pt x="888" y="78043"/>
                  <a:pt x="282" y="57367"/>
                </a:cubicBezTo>
                <a:cubicBezTo>
                  <a:pt x="-108" y="44073"/>
                  <a:pt x="-157" y="30729"/>
                  <a:pt x="543" y="17455"/>
                </a:cubicBezTo>
                <a:cubicBezTo>
                  <a:pt x="1141" y="6120"/>
                  <a:pt x="7994" y="-1053"/>
                  <a:pt x="16387" y="126"/>
                </a:cubicBezTo>
                <a:cubicBezTo>
                  <a:pt x="25817" y="1452"/>
                  <a:pt x="30608" y="7777"/>
                  <a:pt x="30645" y="17038"/>
                </a:cubicBezTo>
                <a:cubicBezTo>
                  <a:pt x="30712" y="34017"/>
                  <a:pt x="30263" y="50998"/>
                  <a:pt x="29247" y="69724"/>
                </a:cubicBezTo>
                <a:close/>
              </a:path>
            </a:pathLst>
          </a:custGeom>
          <a:solidFill>
            <a:schemeClr val="accent1"/>
          </a:solidFill>
          <a:ln w="2232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964" name="Free-form: Shape 6963">
            <a:extLst>
              <a:ext uri="{FF2B5EF4-FFF2-40B4-BE49-F238E27FC236}">
                <a16:creationId xmlns:a16="http://schemas.microsoft.com/office/drawing/2014/main" id="{55FF4D56-D98C-69AB-2F16-6876CD94D6BE}"/>
              </a:ext>
            </a:extLst>
          </p:cNvPr>
          <p:cNvSpPr/>
          <p:nvPr/>
        </p:nvSpPr>
        <p:spPr>
          <a:xfrm>
            <a:off x="6573575" y="4101141"/>
            <a:ext cx="34771" cy="13378"/>
          </a:xfrm>
          <a:custGeom>
            <a:avLst/>
            <a:gdLst>
              <a:gd name="csX0" fmla="*/ 75359 w 77038"/>
              <a:gd name="csY0" fmla="*/ 22848 h 29639"/>
              <a:gd name="csX1" fmla="*/ 9417 w 77038"/>
              <a:gd name="csY1" fmla="*/ 27618 h 29639"/>
              <a:gd name="csX2" fmla="*/ 35 w 77038"/>
              <a:gd name="csY2" fmla="*/ 15529 h 29639"/>
              <a:gd name="csX3" fmla="*/ 10595 w 77038"/>
              <a:gd name="csY3" fmla="*/ 1371 h 29639"/>
              <a:gd name="csX4" fmla="*/ 65474 w 77038"/>
              <a:gd name="csY4" fmla="*/ 1167 h 29639"/>
              <a:gd name="csX5" fmla="*/ 75359 w 77038"/>
              <a:gd name="csY5" fmla="*/ 22848 h 2963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</a:cxnLst>
            <a:rect l="l" t="t" r="r" b="b"/>
            <a:pathLst>
              <a:path w="77038" h="29639">
                <a:moveTo>
                  <a:pt x="75359" y="22848"/>
                </a:moveTo>
                <a:cubicBezTo>
                  <a:pt x="53190" y="33963"/>
                  <a:pt x="31074" y="28235"/>
                  <a:pt x="9417" y="27618"/>
                </a:cubicBezTo>
                <a:cubicBezTo>
                  <a:pt x="5925" y="27519"/>
                  <a:pt x="-529" y="19186"/>
                  <a:pt x="35" y="15529"/>
                </a:cubicBezTo>
                <a:cubicBezTo>
                  <a:pt x="860" y="10175"/>
                  <a:pt x="6451" y="1729"/>
                  <a:pt x="10595" y="1371"/>
                </a:cubicBezTo>
                <a:cubicBezTo>
                  <a:pt x="28790" y="-199"/>
                  <a:pt x="47322" y="-619"/>
                  <a:pt x="65474" y="1167"/>
                </a:cubicBezTo>
                <a:cubicBezTo>
                  <a:pt x="75165" y="2120"/>
                  <a:pt x="79766" y="10795"/>
                  <a:pt x="75359" y="22848"/>
                </a:cubicBezTo>
                <a:close/>
              </a:path>
            </a:pathLst>
          </a:custGeom>
          <a:solidFill>
            <a:schemeClr val="accent1"/>
          </a:solidFill>
          <a:ln w="2232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965" name="Free-form: Shape 6964">
            <a:extLst>
              <a:ext uri="{FF2B5EF4-FFF2-40B4-BE49-F238E27FC236}">
                <a16:creationId xmlns:a16="http://schemas.microsoft.com/office/drawing/2014/main" id="{FEBBC2F1-9893-3034-4E88-A5D915A84A69}"/>
              </a:ext>
            </a:extLst>
          </p:cNvPr>
          <p:cNvSpPr/>
          <p:nvPr/>
        </p:nvSpPr>
        <p:spPr>
          <a:xfrm>
            <a:off x="6045770" y="4237794"/>
            <a:ext cx="30065" cy="21048"/>
          </a:xfrm>
          <a:custGeom>
            <a:avLst/>
            <a:gdLst>
              <a:gd name="csX0" fmla="*/ 32795 w 66610"/>
              <a:gd name="csY0" fmla="*/ 6977 h 46634"/>
              <a:gd name="csX1" fmla="*/ 52757 w 66610"/>
              <a:gd name="csY1" fmla="*/ 2 h 46634"/>
              <a:gd name="csX2" fmla="*/ 66052 w 66610"/>
              <a:gd name="csY2" fmla="*/ 8705 h 46634"/>
              <a:gd name="csX3" fmla="*/ 62395 w 66610"/>
              <a:gd name="csY3" fmla="*/ 21890 h 46634"/>
              <a:gd name="csX4" fmla="*/ 22699 w 66610"/>
              <a:gd name="csY4" fmla="*/ 45454 h 46634"/>
              <a:gd name="csX5" fmla="*/ 0 w 66610"/>
              <a:gd name="csY5" fmla="*/ 31182 h 46634"/>
              <a:gd name="csX6" fmla="*/ 32795 w 66610"/>
              <a:gd name="csY6" fmla="*/ 6977 h 4663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</a:cxnLst>
            <a:rect l="l" t="t" r="r" b="b"/>
            <a:pathLst>
              <a:path w="66610" h="46634">
                <a:moveTo>
                  <a:pt x="32795" y="6977"/>
                </a:moveTo>
                <a:cubicBezTo>
                  <a:pt x="40450" y="3945"/>
                  <a:pt x="46636" y="-96"/>
                  <a:pt x="52757" y="2"/>
                </a:cubicBezTo>
                <a:cubicBezTo>
                  <a:pt x="57423" y="76"/>
                  <a:pt x="63686" y="4461"/>
                  <a:pt x="66052" y="8705"/>
                </a:cubicBezTo>
                <a:cubicBezTo>
                  <a:pt x="67705" y="11671"/>
                  <a:pt x="65455" y="19770"/>
                  <a:pt x="62395" y="21890"/>
                </a:cubicBezTo>
                <a:cubicBezTo>
                  <a:pt x="49753" y="30649"/>
                  <a:pt x="36727" y="39358"/>
                  <a:pt x="22699" y="45454"/>
                </a:cubicBezTo>
                <a:cubicBezTo>
                  <a:pt x="10929" y="50567"/>
                  <a:pt x="7294" y="37815"/>
                  <a:pt x="0" y="31182"/>
                </a:cubicBezTo>
                <a:cubicBezTo>
                  <a:pt x="6487" y="17148"/>
                  <a:pt x="20614" y="14656"/>
                  <a:pt x="32795" y="6977"/>
                </a:cubicBezTo>
                <a:close/>
              </a:path>
            </a:pathLst>
          </a:custGeom>
          <a:solidFill>
            <a:schemeClr val="accent1"/>
          </a:solidFill>
          <a:ln w="2232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966" name="Free-form: Shape 6965">
            <a:extLst>
              <a:ext uri="{FF2B5EF4-FFF2-40B4-BE49-F238E27FC236}">
                <a16:creationId xmlns:a16="http://schemas.microsoft.com/office/drawing/2014/main" id="{517E8DE0-8F7B-1BB9-8805-8F6FCAA18AF0}"/>
              </a:ext>
            </a:extLst>
          </p:cNvPr>
          <p:cNvSpPr/>
          <p:nvPr/>
        </p:nvSpPr>
        <p:spPr>
          <a:xfrm>
            <a:off x="6154290" y="3846497"/>
            <a:ext cx="22852" cy="30029"/>
          </a:xfrm>
          <a:custGeom>
            <a:avLst/>
            <a:gdLst>
              <a:gd name="csX0" fmla="*/ 0 w 50629"/>
              <a:gd name="csY0" fmla="*/ 9394 h 66530"/>
              <a:gd name="csX1" fmla="*/ 26356 w 50629"/>
              <a:gd name="csY1" fmla="*/ 9117 h 66530"/>
              <a:gd name="csX2" fmla="*/ 46711 w 50629"/>
              <a:gd name="csY2" fmla="*/ 43349 h 66530"/>
              <a:gd name="csX3" fmla="*/ 43881 w 50629"/>
              <a:gd name="csY3" fmla="*/ 64153 h 66530"/>
              <a:gd name="csX4" fmla="*/ 22940 w 50629"/>
              <a:gd name="csY4" fmla="*/ 58276 h 66530"/>
              <a:gd name="csX5" fmla="*/ 0 w 50629"/>
              <a:gd name="csY5" fmla="*/ 9394 h 6653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</a:cxnLst>
            <a:rect l="l" t="t" r="r" b="b"/>
            <a:pathLst>
              <a:path w="50629" h="66530">
                <a:moveTo>
                  <a:pt x="0" y="9394"/>
                </a:moveTo>
                <a:cubicBezTo>
                  <a:pt x="14555" y="-3073"/>
                  <a:pt x="18510" y="-3097"/>
                  <a:pt x="26356" y="9117"/>
                </a:cubicBezTo>
                <a:cubicBezTo>
                  <a:pt x="33527" y="20279"/>
                  <a:pt x="39815" y="32005"/>
                  <a:pt x="46711" y="43349"/>
                </a:cubicBezTo>
                <a:cubicBezTo>
                  <a:pt x="51492" y="51213"/>
                  <a:pt x="53305" y="58885"/>
                  <a:pt x="43881" y="64153"/>
                </a:cubicBezTo>
                <a:cubicBezTo>
                  <a:pt x="35565" y="68801"/>
                  <a:pt x="27391" y="66524"/>
                  <a:pt x="22940" y="58276"/>
                </a:cubicBezTo>
                <a:cubicBezTo>
                  <a:pt x="14597" y="42816"/>
                  <a:pt x="7328" y="26776"/>
                  <a:pt x="0" y="9394"/>
                </a:cubicBezTo>
                <a:close/>
              </a:path>
            </a:pathLst>
          </a:custGeom>
          <a:solidFill>
            <a:schemeClr val="accent1"/>
          </a:solidFill>
          <a:ln w="2232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967" name="Free-form: Shape 6966">
            <a:extLst>
              <a:ext uri="{FF2B5EF4-FFF2-40B4-BE49-F238E27FC236}">
                <a16:creationId xmlns:a16="http://schemas.microsoft.com/office/drawing/2014/main" id="{15DB22CD-0B98-FA89-E20B-5AE4637FDE4A}"/>
              </a:ext>
            </a:extLst>
          </p:cNvPr>
          <p:cNvSpPr/>
          <p:nvPr/>
        </p:nvSpPr>
        <p:spPr>
          <a:xfrm>
            <a:off x="6152818" y="4338974"/>
            <a:ext cx="22592" cy="29287"/>
          </a:xfrm>
          <a:custGeom>
            <a:avLst/>
            <a:gdLst>
              <a:gd name="csX0" fmla="*/ 31243 w 50054"/>
              <a:gd name="csY0" fmla="*/ 0 h 64887"/>
              <a:gd name="csX1" fmla="*/ 47383 w 50054"/>
              <a:gd name="csY1" fmla="*/ 19638 h 64887"/>
              <a:gd name="csX2" fmla="*/ 25748 w 50054"/>
              <a:gd name="csY2" fmla="*/ 58000 h 64887"/>
              <a:gd name="csX3" fmla="*/ 6465 w 50054"/>
              <a:gd name="csY3" fmla="*/ 62487 h 64887"/>
              <a:gd name="csX4" fmla="*/ 2812 w 50054"/>
              <a:gd name="csY4" fmla="*/ 43260 h 64887"/>
              <a:gd name="csX5" fmla="*/ 31243 w 50054"/>
              <a:gd name="csY5" fmla="*/ 0 h 6488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</a:cxnLst>
            <a:rect l="l" t="t" r="r" b="b"/>
            <a:pathLst>
              <a:path w="50054" h="64887">
                <a:moveTo>
                  <a:pt x="31243" y="0"/>
                </a:moveTo>
                <a:cubicBezTo>
                  <a:pt x="49737" y="2431"/>
                  <a:pt x="53411" y="6700"/>
                  <a:pt x="47383" y="19638"/>
                </a:cubicBezTo>
                <a:cubicBezTo>
                  <a:pt x="41198" y="32911"/>
                  <a:pt x="33486" y="45527"/>
                  <a:pt x="25748" y="58000"/>
                </a:cubicBezTo>
                <a:cubicBezTo>
                  <a:pt x="21229" y="65286"/>
                  <a:pt x="13646" y="66808"/>
                  <a:pt x="6465" y="62487"/>
                </a:cubicBezTo>
                <a:cubicBezTo>
                  <a:pt x="-1150" y="57906"/>
                  <a:pt x="-1590" y="50452"/>
                  <a:pt x="2812" y="43260"/>
                </a:cubicBezTo>
                <a:cubicBezTo>
                  <a:pt x="11577" y="28933"/>
                  <a:pt x="20765" y="14864"/>
                  <a:pt x="31243" y="0"/>
                </a:cubicBezTo>
                <a:close/>
              </a:path>
            </a:pathLst>
          </a:custGeom>
          <a:solidFill>
            <a:schemeClr val="accent1"/>
          </a:solidFill>
          <a:ln w="2232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968" name="Free-form: Shape 6967">
            <a:extLst>
              <a:ext uri="{FF2B5EF4-FFF2-40B4-BE49-F238E27FC236}">
                <a16:creationId xmlns:a16="http://schemas.microsoft.com/office/drawing/2014/main" id="{87A39C83-4D09-5258-C92F-B52A45B5A837}"/>
              </a:ext>
            </a:extLst>
          </p:cNvPr>
          <p:cNvSpPr/>
          <p:nvPr/>
        </p:nvSpPr>
        <p:spPr>
          <a:xfrm>
            <a:off x="6439341" y="3846834"/>
            <a:ext cx="21160" cy="28631"/>
          </a:xfrm>
          <a:custGeom>
            <a:avLst/>
            <a:gdLst>
              <a:gd name="csX0" fmla="*/ 4324 w 46880"/>
              <a:gd name="csY0" fmla="*/ 62991 h 63433"/>
              <a:gd name="csX1" fmla="*/ 106 w 46880"/>
              <a:gd name="csY1" fmla="*/ 58909 h 63433"/>
              <a:gd name="csX2" fmla="*/ 27452 w 46880"/>
              <a:gd name="csY2" fmla="*/ 922 h 63433"/>
              <a:gd name="csX3" fmla="*/ 41832 w 46880"/>
              <a:gd name="csY3" fmla="*/ 2045 h 63433"/>
              <a:gd name="csX4" fmla="*/ 46599 w 46880"/>
              <a:gd name="csY4" fmla="*/ 13229 h 63433"/>
              <a:gd name="csX5" fmla="*/ 19953 w 46880"/>
              <a:gd name="csY5" fmla="*/ 61747 h 63433"/>
              <a:gd name="csX6" fmla="*/ 4324 w 46880"/>
              <a:gd name="csY6" fmla="*/ 62991 h 6343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</a:cxnLst>
            <a:rect l="l" t="t" r="r" b="b"/>
            <a:pathLst>
              <a:path w="46880" h="63433">
                <a:moveTo>
                  <a:pt x="4324" y="62991"/>
                </a:moveTo>
                <a:cubicBezTo>
                  <a:pt x="1976" y="61108"/>
                  <a:pt x="314" y="60132"/>
                  <a:pt x="106" y="58909"/>
                </a:cubicBezTo>
                <a:cubicBezTo>
                  <a:pt x="-1636" y="48671"/>
                  <a:pt x="18580" y="4304"/>
                  <a:pt x="27452" y="922"/>
                </a:cubicBezTo>
                <a:cubicBezTo>
                  <a:pt x="31637" y="-673"/>
                  <a:pt x="37948" y="-135"/>
                  <a:pt x="41832" y="2045"/>
                </a:cubicBezTo>
                <a:cubicBezTo>
                  <a:pt x="44761" y="3690"/>
                  <a:pt x="47839" y="10687"/>
                  <a:pt x="46599" y="13229"/>
                </a:cubicBezTo>
                <a:cubicBezTo>
                  <a:pt x="38518" y="29814"/>
                  <a:pt x="29746" y="46128"/>
                  <a:pt x="19953" y="61747"/>
                </a:cubicBezTo>
                <a:cubicBezTo>
                  <a:pt x="18305" y="64375"/>
                  <a:pt x="10594" y="63201"/>
                  <a:pt x="4324" y="62991"/>
                </a:cubicBezTo>
                <a:close/>
              </a:path>
            </a:pathLst>
          </a:custGeom>
          <a:solidFill>
            <a:schemeClr val="accent1"/>
          </a:solidFill>
          <a:ln w="2232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969" name="Free-form: Shape 6968">
            <a:extLst>
              <a:ext uri="{FF2B5EF4-FFF2-40B4-BE49-F238E27FC236}">
                <a16:creationId xmlns:a16="http://schemas.microsoft.com/office/drawing/2014/main" id="{00E97BD2-1210-B50F-54C1-9B28266D4019}"/>
              </a:ext>
            </a:extLst>
          </p:cNvPr>
          <p:cNvSpPr/>
          <p:nvPr/>
        </p:nvSpPr>
        <p:spPr>
          <a:xfrm>
            <a:off x="6052941" y="3953965"/>
            <a:ext cx="28962" cy="22268"/>
          </a:xfrm>
          <a:custGeom>
            <a:avLst/>
            <a:gdLst>
              <a:gd name="csX0" fmla="*/ 52335 w 64167"/>
              <a:gd name="csY0" fmla="*/ 21592 h 49336"/>
              <a:gd name="csX1" fmla="*/ 63205 w 64167"/>
              <a:gd name="csY1" fmla="*/ 31209 h 49336"/>
              <a:gd name="csX2" fmla="*/ 62077 w 64167"/>
              <a:gd name="csY2" fmla="*/ 45188 h 49336"/>
              <a:gd name="csX3" fmla="*/ 48673 w 64167"/>
              <a:gd name="csY3" fmla="*/ 48764 h 49336"/>
              <a:gd name="csX4" fmla="*/ 5263 w 64167"/>
              <a:gd name="csY4" fmla="*/ 22743 h 49336"/>
              <a:gd name="csX5" fmla="*/ 2880 w 64167"/>
              <a:gd name="csY5" fmla="*/ 5084 h 49336"/>
              <a:gd name="csX6" fmla="*/ 20389 w 64167"/>
              <a:gd name="csY6" fmla="*/ 2968 h 49336"/>
              <a:gd name="csX7" fmla="*/ 52335 w 64167"/>
              <a:gd name="csY7" fmla="*/ 21592 h 4933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</a:cxnLst>
            <a:rect l="l" t="t" r="r" b="b"/>
            <a:pathLst>
              <a:path w="64167" h="49336">
                <a:moveTo>
                  <a:pt x="52335" y="21592"/>
                </a:moveTo>
                <a:cubicBezTo>
                  <a:pt x="57050" y="25271"/>
                  <a:pt x="61964" y="27607"/>
                  <a:pt x="63205" y="31209"/>
                </a:cubicBezTo>
                <a:cubicBezTo>
                  <a:pt x="64658" y="35426"/>
                  <a:pt x="64607" y="42163"/>
                  <a:pt x="62077" y="45188"/>
                </a:cubicBezTo>
                <a:cubicBezTo>
                  <a:pt x="59553" y="48206"/>
                  <a:pt x="51871" y="50436"/>
                  <a:pt x="48673" y="48764"/>
                </a:cubicBezTo>
                <a:cubicBezTo>
                  <a:pt x="33741" y="40957"/>
                  <a:pt x="19304" y="32091"/>
                  <a:pt x="5263" y="22743"/>
                </a:cubicBezTo>
                <a:cubicBezTo>
                  <a:pt x="-1102" y="18505"/>
                  <a:pt x="-1439" y="11480"/>
                  <a:pt x="2880" y="5084"/>
                </a:cubicBezTo>
                <a:cubicBezTo>
                  <a:pt x="7730" y="-2097"/>
                  <a:pt x="14152" y="-579"/>
                  <a:pt x="20389" y="2968"/>
                </a:cubicBezTo>
                <a:cubicBezTo>
                  <a:pt x="30632" y="8792"/>
                  <a:pt x="40743" y="14849"/>
                  <a:pt x="52335" y="21592"/>
                </a:cubicBezTo>
                <a:close/>
              </a:path>
            </a:pathLst>
          </a:custGeom>
          <a:solidFill>
            <a:schemeClr val="accent1"/>
          </a:solidFill>
          <a:ln w="2232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970" name="Free-form: Shape 6969">
            <a:extLst>
              <a:ext uri="{FF2B5EF4-FFF2-40B4-BE49-F238E27FC236}">
                <a16:creationId xmlns:a16="http://schemas.microsoft.com/office/drawing/2014/main" id="{F8F55F3D-DDB8-CCD0-8FE5-C5E9E5F4A577}"/>
              </a:ext>
            </a:extLst>
          </p:cNvPr>
          <p:cNvSpPr/>
          <p:nvPr/>
        </p:nvSpPr>
        <p:spPr>
          <a:xfrm>
            <a:off x="6539759" y="3953960"/>
            <a:ext cx="28644" cy="22076"/>
          </a:xfrm>
          <a:custGeom>
            <a:avLst/>
            <a:gdLst>
              <a:gd name="csX0" fmla="*/ 53855 w 63462"/>
              <a:gd name="csY0" fmla="*/ 0 h 48911"/>
              <a:gd name="csX1" fmla="*/ 55340 w 63462"/>
              <a:gd name="csY1" fmla="*/ 24968 h 48911"/>
              <a:gd name="csX2" fmla="*/ 16922 w 63462"/>
              <a:gd name="csY2" fmla="*/ 47130 h 48911"/>
              <a:gd name="csX3" fmla="*/ 468 w 63462"/>
              <a:gd name="csY3" fmla="*/ 41328 h 48911"/>
              <a:gd name="csX4" fmla="*/ 4305 w 63462"/>
              <a:gd name="csY4" fmla="*/ 26254 h 48911"/>
              <a:gd name="csX5" fmla="*/ 53855 w 63462"/>
              <a:gd name="csY5" fmla="*/ 0 h 4891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</a:cxnLst>
            <a:rect l="l" t="t" r="r" b="b"/>
            <a:pathLst>
              <a:path w="63462" h="48911">
                <a:moveTo>
                  <a:pt x="53855" y="0"/>
                </a:moveTo>
                <a:cubicBezTo>
                  <a:pt x="66050" y="13557"/>
                  <a:pt x="66735" y="16923"/>
                  <a:pt x="55340" y="24968"/>
                </a:cubicBezTo>
                <a:cubicBezTo>
                  <a:pt x="43311" y="33461"/>
                  <a:pt x="29937" y="40103"/>
                  <a:pt x="16922" y="47130"/>
                </a:cubicBezTo>
                <a:cubicBezTo>
                  <a:pt x="9718" y="51021"/>
                  <a:pt x="2735" y="48291"/>
                  <a:pt x="468" y="41328"/>
                </a:cubicBezTo>
                <a:cubicBezTo>
                  <a:pt x="-942" y="36995"/>
                  <a:pt x="974" y="28360"/>
                  <a:pt x="4305" y="26254"/>
                </a:cubicBezTo>
                <a:cubicBezTo>
                  <a:pt x="19748" y="16489"/>
                  <a:pt x="36208" y="8334"/>
                  <a:pt x="53855" y="0"/>
                </a:cubicBezTo>
                <a:close/>
              </a:path>
            </a:pathLst>
          </a:custGeom>
          <a:solidFill>
            <a:schemeClr val="accent1"/>
          </a:solidFill>
          <a:ln w="2232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971" name="Free-form: Shape 6970">
            <a:extLst>
              <a:ext uri="{FF2B5EF4-FFF2-40B4-BE49-F238E27FC236}">
                <a16:creationId xmlns:a16="http://schemas.microsoft.com/office/drawing/2014/main" id="{16EAE3C3-108C-7103-DC42-12556D77F059}"/>
              </a:ext>
            </a:extLst>
          </p:cNvPr>
          <p:cNvSpPr/>
          <p:nvPr/>
        </p:nvSpPr>
        <p:spPr>
          <a:xfrm>
            <a:off x="6538862" y="4238092"/>
            <a:ext cx="29836" cy="21614"/>
          </a:xfrm>
          <a:custGeom>
            <a:avLst/>
            <a:gdLst>
              <a:gd name="csX0" fmla="*/ 3867 w 66104"/>
              <a:gd name="csY0" fmla="*/ 2387 h 47886"/>
              <a:gd name="csX1" fmla="*/ 21786 w 66104"/>
              <a:gd name="csY1" fmla="*/ 903 h 47886"/>
              <a:gd name="csX2" fmla="*/ 58126 w 66104"/>
              <a:gd name="csY2" fmla="*/ 22358 h 47886"/>
              <a:gd name="csX3" fmla="*/ 64282 w 66104"/>
              <a:gd name="csY3" fmla="*/ 41384 h 47886"/>
              <a:gd name="csX4" fmla="*/ 44762 w 66104"/>
              <a:gd name="csY4" fmla="*/ 45358 h 47886"/>
              <a:gd name="csX5" fmla="*/ 6557 w 66104"/>
              <a:gd name="csY5" fmla="*/ 22689 h 47886"/>
              <a:gd name="csX6" fmla="*/ 3867 w 66104"/>
              <a:gd name="csY6" fmla="*/ 2387 h 4788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</a:cxnLst>
            <a:rect l="l" t="t" r="r" b="b"/>
            <a:pathLst>
              <a:path w="66104" h="47886">
                <a:moveTo>
                  <a:pt x="3867" y="2387"/>
                </a:moveTo>
                <a:cubicBezTo>
                  <a:pt x="10704" y="995"/>
                  <a:pt x="17331" y="-1275"/>
                  <a:pt x="21786" y="903"/>
                </a:cubicBezTo>
                <a:cubicBezTo>
                  <a:pt x="34386" y="7063"/>
                  <a:pt x="46173" y="14920"/>
                  <a:pt x="58126" y="22358"/>
                </a:cubicBezTo>
                <a:cubicBezTo>
                  <a:pt x="65356" y="26857"/>
                  <a:pt x="68329" y="33681"/>
                  <a:pt x="64282" y="41384"/>
                </a:cubicBezTo>
                <a:cubicBezTo>
                  <a:pt x="59835" y="49847"/>
                  <a:pt x="51353" y="48757"/>
                  <a:pt x="44762" y="45358"/>
                </a:cubicBezTo>
                <a:cubicBezTo>
                  <a:pt x="31621" y="38579"/>
                  <a:pt x="19013" y="30696"/>
                  <a:pt x="6557" y="22689"/>
                </a:cubicBezTo>
                <a:cubicBezTo>
                  <a:pt x="-737" y="18000"/>
                  <a:pt x="-2392" y="11215"/>
                  <a:pt x="3867" y="2387"/>
                </a:cubicBezTo>
                <a:close/>
              </a:path>
            </a:pathLst>
          </a:custGeom>
          <a:solidFill>
            <a:schemeClr val="accent1"/>
          </a:solidFill>
          <a:ln w="2232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972" name="Free-form: Shape 6971">
            <a:extLst>
              <a:ext uri="{FF2B5EF4-FFF2-40B4-BE49-F238E27FC236}">
                <a16:creationId xmlns:a16="http://schemas.microsoft.com/office/drawing/2014/main" id="{3E1E13E3-2522-EDA8-6CB9-7FF82BAC03A5}"/>
              </a:ext>
            </a:extLst>
          </p:cNvPr>
          <p:cNvSpPr/>
          <p:nvPr/>
        </p:nvSpPr>
        <p:spPr>
          <a:xfrm>
            <a:off x="6439640" y="4337319"/>
            <a:ext cx="21180" cy="28771"/>
          </a:xfrm>
          <a:custGeom>
            <a:avLst/>
            <a:gdLst>
              <a:gd name="csX0" fmla="*/ 35044 w 46925"/>
              <a:gd name="csY0" fmla="*/ 63744 h 63744"/>
              <a:gd name="csX1" fmla="*/ 20745 w 46925"/>
              <a:gd name="csY1" fmla="*/ 57054 h 63744"/>
              <a:gd name="csX2" fmla="*/ 2334 w 46925"/>
              <a:gd name="csY2" fmla="*/ 21815 h 63744"/>
              <a:gd name="csX3" fmla="*/ 8309 w 46925"/>
              <a:gd name="csY3" fmla="*/ 1341 h 63744"/>
              <a:gd name="csX4" fmla="*/ 25858 w 46925"/>
              <a:gd name="csY4" fmla="*/ 10013 h 63744"/>
              <a:gd name="csX5" fmla="*/ 44660 w 46925"/>
              <a:gd name="csY5" fmla="*/ 45065 h 63744"/>
              <a:gd name="csX6" fmla="*/ 35044 w 46925"/>
              <a:gd name="csY6" fmla="*/ 63744 h 6374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</a:cxnLst>
            <a:rect l="l" t="t" r="r" b="b"/>
            <a:pathLst>
              <a:path w="46925" h="63744">
                <a:moveTo>
                  <a:pt x="35044" y="63744"/>
                </a:moveTo>
                <a:cubicBezTo>
                  <a:pt x="29069" y="61694"/>
                  <a:pt x="22936" y="60594"/>
                  <a:pt x="20745" y="57054"/>
                </a:cubicBezTo>
                <a:cubicBezTo>
                  <a:pt x="13785" y="45813"/>
                  <a:pt x="8014" y="33794"/>
                  <a:pt x="2334" y="21815"/>
                </a:cubicBezTo>
                <a:cubicBezTo>
                  <a:pt x="-1559" y="13608"/>
                  <a:pt x="-1225" y="5694"/>
                  <a:pt x="8309" y="1341"/>
                </a:cubicBezTo>
                <a:cubicBezTo>
                  <a:pt x="17300" y="-2764"/>
                  <a:pt x="22093" y="3247"/>
                  <a:pt x="25858" y="10013"/>
                </a:cubicBezTo>
                <a:cubicBezTo>
                  <a:pt x="32306" y="21597"/>
                  <a:pt x="38528" y="33310"/>
                  <a:pt x="44660" y="45065"/>
                </a:cubicBezTo>
                <a:cubicBezTo>
                  <a:pt x="49496" y="54334"/>
                  <a:pt x="46724" y="60584"/>
                  <a:pt x="35044" y="63744"/>
                </a:cubicBezTo>
                <a:close/>
              </a:path>
            </a:pathLst>
          </a:custGeom>
          <a:solidFill>
            <a:schemeClr val="accent1"/>
          </a:solidFill>
          <a:ln w="2232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973" name="Free-form: Shape 6972">
            <a:extLst>
              <a:ext uri="{FF2B5EF4-FFF2-40B4-BE49-F238E27FC236}">
                <a16:creationId xmlns:a16="http://schemas.microsoft.com/office/drawing/2014/main" id="{F4273EB3-BF09-4B9E-C354-A4D9DBED316A}"/>
              </a:ext>
            </a:extLst>
          </p:cNvPr>
          <p:cNvSpPr/>
          <p:nvPr/>
        </p:nvSpPr>
        <p:spPr>
          <a:xfrm>
            <a:off x="6027563" y="4100426"/>
            <a:ext cx="29091" cy="15216"/>
          </a:xfrm>
          <a:custGeom>
            <a:avLst/>
            <a:gdLst>
              <a:gd name="csX0" fmla="*/ 20268 w 64453"/>
              <a:gd name="csY0" fmla="*/ 2734 h 33711"/>
              <a:gd name="csX1" fmla="*/ 52810 w 64453"/>
              <a:gd name="csY1" fmla="*/ 1 h 33711"/>
              <a:gd name="csX2" fmla="*/ 64265 w 64453"/>
              <a:gd name="csY2" fmla="*/ 13295 h 33711"/>
              <a:gd name="csX3" fmla="*/ 56192 w 64453"/>
              <a:gd name="csY3" fmla="*/ 29087 h 33711"/>
              <a:gd name="csX4" fmla="*/ 1623 w 64453"/>
              <a:gd name="csY4" fmla="*/ 33710 h 33711"/>
              <a:gd name="csX5" fmla="*/ 113 w 64453"/>
              <a:gd name="csY5" fmla="*/ 29035 h 33711"/>
              <a:gd name="csX6" fmla="*/ 28064 w 64453"/>
              <a:gd name="csY6" fmla="*/ 27388 h 33711"/>
              <a:gd name="csX7" fmla="*/ 20268 w 64453"/>
              <a:gd name="csY7" fmla="*/ 2734 h 3371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</a:cxnLst>
            <a:rect l="l" t="t" r="r" b="b"/>
            <a:pathLst>
              <a:path w="64453" h="33711">
                <a:moveTo>
                  <a:pt x="20268" y="2734"/>
                </a:moveTo>
                <a:cubicBezTo>
                  <a:pt x="31114" y="1749"/>
                  <a:pt x="41955" y="97"/>
                  <a:pt x="52810" y="1"/>
                </a:cubicBezTo>
                <a:cubicBezTo>
                  <a:pt x="60710" y="-69"/>
                  <a:pt x="65483" y="5829"/>
                  <a:pt x="64265" y="13295"/>
                </a:cubicBezTo>
                <a:cubicBezTo>
                  <a:pt x="63322" y="19074"/>
                  <a:pt x="59756" y="28513"/>
                  <a:pt x="56192" y="29087"/>
                </a:cubicBezTo>
                <a:cubicBezTo>
                  <a:pt x="38215" y="31980"/>
                  <a:pt x="19860" y="32550"/>
                  <a:pt x="1623" y="33710"/>
                </a:cubicBezTo>
                <a:cubicBezTo>
                  <a:pt x="703" y="33769"/>
                  <a:pt x="-351" y="31740"/>
                  <a:pt x="113" y="29035"/>
                </a:cubicBezTo>
                <a:cubicBezTo>
                  <a:pt x="9075" y="27388"/>
                  <a:pt x="16581" y="27388"/>
                  <a:pt x="28064" y="27388"/>
                </a:cubicBezTo>
                <a:cubicBezTo>
                  <a:pt x="24652" y="16596"/>
                  <a:pt x="22460" y="9665"/>
                  <a:pt x="20268" y="2734"/>
                </a:cubicBezTo>
                <a:close/>
              </a:path>
            </a:pathLst>
          </a:custGeom>
          <a:solidFill>
            <a:schemeClr val="accent1"/>
          </a:solidFill>
          <a:ln w="2232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974" name="Free-form: Shape 6973">
            <a:extLst>
              <a:ext uri="{FF2B5EF4-FFF2-40B4-BE49-F238E27FC236}">
                <a16:creationId xmlns:a16="http://schemas.microsoft.com/office/drawing/2014/main" id="{6DF0DB55-18B8-FEE3-2319-BA9679673D2B}"/>
              </a:ext>
            </a:extLst>
          </p:cNvPr>
          <p:cNvSpPr/>
          <p:nvPr/>
        </p:nvSpPr>
        <p:spPr>
          <a:xfrm>
            <a:off x="6026363" y="4101831"/>
            <a:ext cx="13867" cy="10967"/>
          </a:xfrm>
          <a:custGeom>
            <a:avLst/>
            <a:gdLst>
              <a:gd name="csX0" fmla="*/ 21117 w 30723"/>
              <a:gd name="csY0" fmla="*/ 0 h 24299"/>
              <a:gd name="csX1" fmla="*/ 30723 w 30723"/>
              <a:gd name="csY1" fmla="*/ 24276 h 24299"/>
              <a:gd name="csX2" fmla="*/ 2253 w 30723"/>
              <a:gd name="csY2" fmla="*/ 24299 h 24299"/>
              <a:gd name="csX3" fmla="*/ 0 w 30723"/>
              <a:gd name="csY3" fmla="*/ 21803 h 24299"/>
              <a:gd name="csX4" fmla="*/ 4559 w 30723"/>
              <a:gd name="csY4" fmla="*/ 128 h 24299"/>
              <a:gd name="csX5" fmla="*/ 21117 w 30723"/>
              <a:gd name="csY5" fmla="*/ 0 h 2429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</a:cxnLst>
            <a:rect l="l" t="t" r="r" b="b"/>
            <a:pathLst>
              <a:path w="30723" h="24299">
                <a:moveTo>
                  <a:pt x="21117" y="0"/>
                </a:moveTo>
                <a:cubicBezTo>
                  <a:pt x="25119" y="6554"/>
                  <a:pt x="27311" y="13484"/>
                  <a:pt x="30723" y="24276"/>
                </a:cubicBezTo>
                <a:cubicBezTo>
                  <a:pt x="19240" y="24276"/>
                  <a:pt x="11734" y="24276"/>
                  <a:pt x="2253" y="24299"/>
                </a:cubicBezTo>
                <a:cubicBezTo>
                  <a:pt x="277" y="24323"/>
                  <a:pt x="212" y="23540"/>
                  <a:pt x="0" y="21803"/>
                </a:cubicBezTo>
                <a:cubicBezTo>
                  <a:pt x="1378" y="13420"/>
                  <a:pt x="2969" y="6774"/>
                  <a:pt x="4559" y="128"/>
                </a:cubicBezTo>
                <a:cubicBezTo>
                  <a:pt x="9475" y="211"/>
                  <a:pt x="14391" y="294"/>
                  <a:pt x="21117" y="0"/>
                </a:cubicBezTo>
                <a:close/>
              </a:path>
            </a:pathLst>
          </a:custGeom>
          <a:solidFill>
            <a:schemeClr val="accent1"/>
          </a:solidFill>
          <a:ln w="2232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975" name="Free-form: Shape 6974">
            <a:extLst>
              <a:ext uri="{FF2B5EF4-FFF2-40B4-BE49-F238E27FC236}">
                <a16:creationId xmlns:a16="http://schemas.microsoft.com/office/drawing/2014/main" id="{3C8E6458-A7C2-FFBE-8B2D-E390ECC84793}"/>
              </a:ext>
            </a:extLst>
          </p:cNvPr>
          <p:cNvSpPr/>
          <p:nvPr/>
        </p:nvSpPr>
        <p:spPr>
          <a:xfrm>
            <a:off x="6021010" y="4100910"/>
            <a:ext cx="6916" cy="10763"/>
          </a:xfrm>
          <a:custGeom>
            <a:avLst/>
            <a:gdLst>
              <a:gd name="csX0" fmla="*/ 15323 w 15323"/>
              <a:gd name="csY0" fmla="*/ 1084 h 23846"/>
              <a:gd name="csX1" fmla="*/ 11466 w 15323"/>
              <a:gd name="csY1" fmla="*/ 23847 h 23846"/>
              <a:gd name="csX2" fmla="*/ 0 w 15323"/>
              <a:gd name="csY2" fmla="*/ 0 h 23846"/>
              <a:gd name="csX3" fmla="*/ 15323 w 15323"/>
              <a:gd name="csY3" fmla="*/ 1084 h 2384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</a:cxnLst>
            <a:rect l="l" t="t" r="r" b="b"/>
            <a:pathLst>
              <a:path w="15323" h="23846">
                <a:moveTo>
                  <a:pt x="15323" y="1084"/>
                </a:moveTo>
                <a:cubicBezTo>
                  <a:pt x="14827" y="8814"/>
                  <a:pt x="13237" y="15460"/>
                  <a:pt x="11466" y="23847"/>
                </a:cubicBezTo>
                <a:cubicBezTo>
                  <a:pt x="2613" y="17145"/>
                  <a:pt x="2613" y="17145"/>
                  <a:pt x="0" y="0"/>
                </a:cubicBezTo>
                <a:cubicBezTo>
                  <a:pt x="4954" y="0"/>
                  <a:pt x="9592" y="0"/>
                  <a:pt x="15323" y="1084"/>
                </a:cubicBezTo>
                <a:close/>
              </a:path>
            </a:pathLst>
          </a:custGeom>
          <a:solidFill>
            <a:schemeClr val="accent1"/>
          </a:solidFill>
          <a:ln w="2232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656" name="Free-form: Shape 5655">
            <a:extLst>
              <a:ext uri="{FF2B5EF4-FFF2-40B4-BE49-F238E27FC236}">
                <a16:creationId xmlns:a16="http://schemas.microsoft.com/office/drawing/2014/main" id="{7DCA2766-5C92-AC45-CA22-1978101EB0C2}"/>
              </a:ext>
            </a:extLst>
          </p:cNvPr>
          <p:cNvSpPr/>
          <p:nvPr/>
        </p:nvSpPr>
        <p:spPr>
          <a:xfrm>
            <a:off x="5466264" y="3342553"/>
            <a:ext cx="111612" cy="112644"/>
          </a:xfrm>
          <a:custGeom>
            <a:avLst/>
            <a:gdLst>
              <a:gd name="csX0" fmla="*/ 35 w 247283"/>
              <a:gd name="csY0" fmla="*/ 2131 h 249569"/>
              <a:gd name="csX1" fmla="*/ 245380 w 247283"/>
              <a:gd name="csY1" fmla="*/ 9 h 249569"/>
              <a:gd name="csX2" fmla="*/ 247284 w 247283"/>
              <a:gd name="csY2" fmla="*/ 247476 h 249569"/>
              <a:gd name="csX3" fmla="*/ 1896 w 247283"/>
              <a:gd name="csY3" fmla="*/ 249554 h 249569"/>
              <a:gd name="csX4" fmla="*/ 35 w 247283"/>
              <a:gd name="csY4" fmla="*/ 2131 h 24956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247283" h="249569">
                <a:moveTo>
                  <a:pt x="35" y="2131"/>
                </a:moveTo>
                <a:cubicBezTo>
                  <a:pt x="81065" y="10"/>
                  <a:pt x="162134" y="-35"/>
                  <a:pt x="245380" y="9"/>
                </a:cubicBezTo>
                <a:cubicBezTo>
                  <a:pt x="247415" y="81869"/>
                  <a:pt x="247274" y="163641"/>
                  <a:pt x="247284" y="247476"/>
                </a:cubicBezTo>
                <a:cubicBezTo>
                  <a:pt x="166314" y="249579"/>
                  <a:pt x="85194" y="249619"/>
                  <a:pt x="1896" y="249554"/>
                </a:cubicBezTo>
                <a:cubicBezTo>
                  <a:pt x="-163" y="167702"/>
                  <a:pt x="-45" y="85955"/>
                  <a:pt x="35" y="2131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 w="2232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655" name="Free-form: Shape 5654">
            <a:extLst>
              <a:ext uri="{FF2B5EF4-FFF2-40B4-BE49-F238E27FC236}">
                <a16:creationId xmlns:a16="http://schemas.microsoft.com/office/drawing/2014/main" id="{0C4ABAA2-85FE-EF01-E2CF-0C67DE5DE29F}"/>
              </a:ext>
            </a:extLst>
          </p:cNvPr>
          <p:cNvSpPr/>
          <p:nvPr/>
        </p:nvSpPr>
        <p:spPr>
          <a:xfrm>
            <a:off x="5370634" y="3331424"/>
            <a:ext cx="319973" cy="108785"/>
          </a:xfrm>
          <a:custGeom>
            <a:avLst/>
            <a:gdLst>
              <a:gd name="csX0" fmla="*/ 222420 w 708918"/>
              <a:gd name="csY0" fmla="*/ 241019 h 241018"/>
              <a:gd name="csX1" fmla="*/ 28331 w 708918"/>
              <a:gd name="csY1" fmla="*/ 240052 h 241018"/>
              <a:gd name="csX2" fmla="*/ 1003 w 708918"/>
              <a:gd name="csY2" fmla="*/ 240047 h 241018"/>
              <a:gd name="csX3" fmla="*/ 0 w 708918"/>
              <a:gd name="csY3" fmla="*/ 372 h 241018"/>
              <a:gd name="csX4" fmla="*/ 708918 w 708918"/>
              <a:gd name="csY4" fmla="*/ 392 h 241018"/>
              <a:gd name="csX5" fmla="*/ 708918 w 708918"/>
              <a:gd name="csY5" fmla="*/ 240638 h 241018"/>
              <a:gd name="csX6" fmla="*/ 469818 w 708918"/>
              <a:gd name="csY6" fmla="*/ 240761 h 241018"/>
              <a:gd name="csX7" fmla="*/ 222420 w 708918"/>
              <a:gd name="csY7" fmla="*/ 241019 h 24101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</a:cxnLst>
            <a:rect l="l" t="t" r="r" b="b"/>
            <a:pathLst>
              <a:path w="708918" h="241018">
                <a:moveTo>
                  <a:pt x="222420" y="241019"/>
                </a:moveTo>
                <a:cubicBezTo>
                  <a:pt x="157724" y="240695"/>
                  <a:pt x="93028" y="240367"/>
                  <a:pt x="28331" y="240052"/>
                </a:cubicBezTo>
                <a:cubicBezTo>
                  <a:pt x="20238" y="240013"/>
                  <a:pt x="12145" y="240047"/>
                  <a:pt x="1003" y="240047"/>
                </a:cubicBezTo>
                <a:cubicBezTo>
                  <a:pt x="-906" y="160321"/>
                  <a:pt x="1067" y="81991"/>
                  <a:pt x="0" y="372"/>
                </a:cubicBezTo>
                <a:cubicBezTo>
                  <a:pt x="237097" y="-127"/>
                  <a:pt x="472276" y="-127"/>
                  <a:pt x="708918" y="392"/>
                </a:cubicBezTo>
                <a:cubicBezTo>
                  <a:pt x="708918" y="80868"/>
                  <a:pt x="708918" y="159178"/>
                  <a:pt x="708918" y="240638"/>
                </a:cubicBezTo>
                <a:cubicBezTo>
                  <a:pt x="629729" y="240638"/>
                  <a:pt x="551869" y="240638"/>
                  <a:pt x="469818" y="240761"/>
                </a:cubicBezTo>
                <a:cubicBezTo>
                  <a:pt x="384558" y="240929"/>
                  <a:pt x="303489" y="240974"/>
                  <a:pt x="222420" y="241019"/>
                </a:cubicBezTo>
                <a:close/>
              </a:path>
            </a:pathLst>
          </a:custGeom>
          <a:solidFill>
            <a:schemeClr val="accent3"/>
          </a:solidFill>
          <a:ln w="2232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398" name="Free-form: Shape 7397">
            <a:extLst>
              <a:ext uri="{FF2B5EF4-FFF2-40B4-BE49-F238E27FC236}">
                <a16:creationId xmlns:a16="http://schemas.microsoft.com/office/drawing/2014/main" id="{7BC2416E-F343-11D4-D028-F863CB5E7E2F}"/>
              </a:ext>
            </a:extLst>
          </p:cNvPr>
          <p:cNvSpPr/>
          <p:nvPr/>
        </p:nvSpPr>
        <p:spPr>
          <a:xfrm>
            <a:off x="6754629" y="4400550"/>
            <a:ext cx="463391" cy="442982"/>
          </a:xfrm>
          <a:custGeom>
            <a:avLst/>
            <a:gdLst>
              <a:gd name="csX0" fmla="*/ 401579 w 1609516"/>
              <a:gd name="csY0" fmla="*/ 1495809 h 1538630"/>
              <a:gd name="csX1" fmla="*/ 400190 w 1609516"/>
              <a:gd name="csY1" fmla="*/ 1496004 h 1538630"/>
              <a:gd name="csX2" fmla="*/ 401224 w 1609516"/>
              <a:gd name="csY2" fmla="*/ 1496470 h 1538630"/>
              <a:gd name="csX3" fmla="*/ 401224 w 1609516"/>
              <a:gd name="csY3" fmla="*/ 1498590 h 1538630"/>
              <a:gd name="csX4" fmla="*/ 401579 w 1609516"/>
              <a:gd name="csY4" fmla="*/ 1498628 h 1538630"/>
              <a:gd name="csX5" fmla="*/ 401579 w 1609516"/>
              <a:gd name="csY5" fmla="*/ 1495809 h 1538630"/>
              <a:gd name="csX6" fmla="*/ 368755 w 1609516"/>
              <a:gd name="csY6" fmla="*/ 1486512 h 1538630"/>
              <a:gd name="csX7" fmla="*/ 364089 w 1609516"/>
              <a:gd name="csY7" fmla="*/ 1487354 h 1538630"/>
              <a:gd name="csX8" fmla="*/ 364089 w 1609516"/>
              <a:gd name="csY8" fmla="*/ 1487908 h 1538630"/>
              <a:gd name="csX9" fmla="*/ 1049801 w 1609516"/>
              <a:gd name="csY9" fmla="*/ 1484562 h 1538630"/>
              <a:gd name="csX10" fmla="*/ 1046735 w 1609516"/>
              <a:gd name="csY10" fmla="*/ 1485945 h 1538630"/>
              <a:gd name="csX11" fmla="*/ 1046955 w 1609516"/>
              <a:gd name="csY11" fmla="*/ 1486045 h 1538630"/>
              <a:gd name="csX12" fmla="*/ 1049801 w 1609516"/>
              <a:gd name="csY12" fmla="*/ 1485188 h 1538630"/>
              <a:gd name="csX13" fmla="*/ 351234 w 1609516"/>
              <a:gd name="csY13" fmla="*/ 1444508 h 1538630"/>
              <a:gd name="csX14" fmla="*/ 351234 w 1609516"/>
              <a:gd name="csY14" fmla="*/ 1444997 h 1538630"/>
              <a:gd name="csX15" fmla="*/ 351592 w 1609516"/>
              <a:gd name="csY15" fmla="*/ 1445078 h 1538630"/>
              <a:gd name="csX16" fmla="*/ 351908 w 1609516"/>
              <a:gd name="csY16" fmla="*/ 1431206 h 1538630"/>
              <a:gd name="csX17" fmla="*/ 351234 w 1609516"/>
              <a:gd name="csY17" fmla="*/ 1431611 h 1538630"/>
              <a:gd name="csX18" fmla="*/ 351234 w 1609516"/>
              <a:gd name="csY18" fmla="*/ 1432274 h 1538630"/>
              <a:gd name="csX19" fmla="*/ 358162 w 1609516"/>
              <a:gd name="csY19" fmla="*/ 1421494 h 1538630"/>
              <a:gd name="csX20" fmla="*/ 355921 w 1609516"/>
              <a:gd name="csY20" fmla="*/ 1423156 h 1538630"/>
              <a:gd name="csX21" fmla="*/ 355921 w 1609516"/>
              <a:gd name="csY21" fmla="*/ 1423548 h 1538630"/>
              <a:gd name="csX22" fmla="*/ 376098 w 1609516"/>
              <a:gd name="csY22" fmla="*/ 1408347 h 1538630"/>
              <a:gd name="csX23" fmla="*/ 370750 w 1609516"/>
              <a:gd name="csY23" fmla="*/ 1412245 h 1538630"/>
              <a:gd name="csX24" fmla="*/ 375023 w 1609516"/>
              <a:gd name="csY24" fmla="*/ 1411256 h 1538630"/>
              <a:gd name="csX25" fmla="*/ 421956 w 1609516"/>
              <a:gd name="csY25" fmla="*/ 1365623 h 1538630"/>
              <a:gd name="csX26" fmla="*/ 421765 w 1609516"/>
              <a:gd name="csY26" fmla="*/ 1366161 h 1538630"/>
              <a:gd name="csX27" fmla="*/ 421887 w 1609516"/>
              <a:gd name="csY27" fmla="*/ 1366161 h 1538630"/>
              <a:gd name="csX28" fmla="*/ 754553 w 1609516"/>
              <a:gd name="csY28" fmla="*/ 1360575 h 1538630"/>
              <a:gd name="csX29" fmla="*/ 754089 w 1609516"/>
              <a:gd name="csY29" fmla="*/ 1361433 h 1538630"/>
              <a:gd name="csX30" fmla="*/ 754431 w 1609516"/>
              <a:gd name="csY30" fmla="*/ 1361125 h 1538630"/>
              <a:gd name="csX31" fmla="*/ 1277973 w 1609516"/>
              <a:gd name="csY31" fmla="*/ 1332923 h 1538630"/>
              <a:gd name="csX32" fmla="*/ 1277944 w 1609516"/>
              <a:gd name="csY32" fmla="*/ 1332936 h 1538630"/>
              <a:gd name="csX33" fmla="*/ 1277949 w 1609516"/>
              <a:gd name="csY33" fmla="*/ 1333139 h 1538630"/>
              <a:gd name="csX34" fmla="*/ 1268556 w 1609516"/>
              <a:gd name="csY34" fmla="*/ 1321066 h 1538630"/>
              <a:gd name="csX35" fmla="*/ 1268556 w 1609516"/>
              <a:gd name="csY35" fmla="*/ 1325294 h 1538630"/>
              <a:gd name="csX36" fmla="*/ 1265432 w 1609516"/>
              <a:gd name="csY36" fmla="*/ 1325294 h 1538630"/>
              <a:gd name="csX37" fmla="*/ 1265432 w 1609516"/>
              <a:gd name="csY37" fmla="*/ 1340795 h 1538630"/>
              <a:gd name="csX38" fmla="*/ 1265476 w 1609516"/>
              <a:gd name="csY38" fmla="*/ 1340714 h 1538630"/>
              <a:gd name="csX39" fmla="*/ 1265476 w 1609516"/>
              <a:gd name="csY39" fmla="*/ 1325877 h 1538630"/>
              <a:gd name="csX40" fmla="*/ 1268600 w 1609516"/>
              <a:gd name="csY40" fmla="*/ 1325877 h 1538630"/>
              <a:gd name="csX41" fmla="*/ 1268600 w 1609516"/>
              <a:gd name="csY41" fmla="*/ 1321649 h 1538630"/>
              <a:gd name="csX42" fmla="*/ 1273286 w 1609516"/>
              <a:gd name="csY42" fmla="*/ 1321649 h 1538630"/>
              <a:gd name="csX43" fmla="*/ 1273227 w 1609516"/>
              <a:gd name="csY43" fmla="*/ 1321066 h 1538630"/>
              <a:gd name="csX44" fmla="*/ 827891 w 1609516"/>
              <a:gd name="csY44" fmla="*/ 1291474 h 1538630"/>
              <a:gd name="csX45" fmla="*/ 822601 w 1609516"/>
              <a:gd name="csY45" fmla="*/ 1291544 h 1538630"/>
              <a:gd name="csX46" fmla="*/ 818272 w 1609516"/>
              <a:gd name="csY46" fmla="*/ 1292220 h 1538630"/>
              <a:gd name="csX47" fmla="*/ 827891 w 1609516"/>
              <a:gd name="csY47" fmla="*/ 1292047 h 1538630"/>
              <a:gd name="csX48" fmla="*/ 856397 w 1609516"/>
              <a:gd name="csY48" fmla="*/ 1288691 h 1538630"/>
              <a:gd name="csX49" fmla="*/ 865903 w 1609516"/>
              <a:gd name="csY49" fmla="*/ 1290590 h 1538630"/>
              <a:gd name="csX50" fmla="*/ 859999 w 1609516"/>
              <a:gd name="csY50" fmla="*/ 1288752 h 1538630"/>
              <a:gd name="csX51" fmla="*/ 834694 w 1609516"/>
              <a:gd name="csY51" fmla="*/ 1288572 h 1538630"/>
              <a:gd name="csX52" fmla="*/ 828038 w 1609516"/>
              <a:gd name="csY52" fmla="*/ 1288654 h 1538630"/>
              <a:gd name="csX53" fmla="*/ 828038 w 1609516"/>
              <a:gd name="csY53" fmla="*/ 1289214 h 1538630"/>
              <a:gd name="csX54" fmla="*/ 229746 w 1609516"/>
              <a:gd name="csY54" fmla="*/ 1191418 h 1538630"/>
              <a:gd name="csX55" fmla="*/ 227402 w 1609516"/>
              <a:gd name="csY55" fmla="*/ 1191947 h 1538630"/>
              <a:gd name="csX56" fmla="*/ 229315 w 1609516"/>
              <a:gd name="csY56" fmla="*/ 1191947 h 1538630"/>
              <a:gd name="csX57" fmla="*/ 229315 w 1609516"/>
              <a:gd name="csY57" fmla="*/ 1194765 h 1538630"/>
              <a:gd name="csX58" fmla="*/ 231321 w 1609516"/>
              <a:gd name="csY58" fmla="*/ 1194765 h 1538630"/>
              <a:gd name="csX59" fmla="*/ 229746 w 1609516"/>
              <a:gd name="csY59" fmla="*/ 1194236 h 1538630"/>
              <a:gd name="csX60" fmla="*/ 229746 w 1609516"/>
              <a:gd name="csY60" fmla="*/ 1191418 h 1538630"/>
              <a:gd name="csX61" fmla="*/ 215687 w 1609516"/>
              <a:gd name="csY61" fmla="*/ 1187190 h 1538630"/>
              <a:gd name="csX62" fmla="*/ 215198 w 1609516"/>
              <a:gd name="csY62" fmla="*/ 1187720 h 1538630"/>
              <a:gd name="csX63" fmla="*/ 215256 w 1609516"/>
              <a:gd name="csY63" fmla="*/ 1187720 h 1538630"/>
              <a:gd name="csX64" fmla="*/ 215256 w 1609516"/>
              <a:gd name="csY64" fmla="*/ 1191947 h 1538630"/>
              <a:gd name="csX65" fmla="*/ 222721 w 1609516"/>
              <a:gd name="csY65" fmla="*/ 1191947 h 1538630"/>
              <a:gd name="csX66" fmla="*/ 215687 w 1609516"/>
              <a:gd name="csY66" fmla="*/ 1191418 h 1538630"/>
              <a:gd name="csX67" fmla="*/ 215687 w 1609516"/>
              <a:gd name="csY67" fmla="*/ 1187190 h 1538630"/>
              <a:gd name="csX68" fmla="*/ 1279678 w 1609516"/>
              <a:gd name="csY68" fmla="*/ 1082356 h 1538630"/>
              <a:gd name="csX69" fmla="*/ 1271680 w 1609516"/>
              <a:gd name="csY69" fmla="*/ 1084589 h 1538630"/>
              <a:gd name="csX70" fmla="*/ 1282181 w 1609516"/>
              <a:gd name="csY70" fmla="*/ 1082544 h 1538630"/>
              <a:gd name="csX71" fmla="*/ 117703 w 1609516"/>
              <a:gd name="csY71" fmla="*/ 941507 h 1538630"/>
              <a:gd name="csX72" fmla="*/ 112587 w 1609516"/>
              <a:gd name="csY72" fmla="*/ 941985 h 1538630"/>
              <a:gd name="csX73" fmla="*/ 112565 w 1609516"/>
              <a:gd name="csY73" fmla="*/ 942333 h 1538630"/>
              <a:gd name="csX74" fmla="*/ 115665 w 1609516"/>
              <a:gd name="csY74" fmla="*/ 941837 h 1538630"/>
              <a:gd name="csX75" fmla="*/ 144268 w 1609516"/>
              <a:gd name="csY75" fmla="*/ 939395 h 1538630"/>
              <a:gd name="csX76" fmla="*/ 143354 w 1609516"/>
              <a:gd name="csY76" fmla="*/ 939580 h 1538630"/>
              <a:gd name="csX77" fmla="*/ 144077 w 1609516"/>
              <a:gd name="csY77" fmla="*/ 939739 h 1538630"/>
              <a:gd name="csX78" fmla="*/ 162575 w 1609516"/>
              <a:gd name="csY78" fmla="*/ 933530 h 1538630"/>
              <a:gd name="csX79" fmla="*/ 161704 w 1609516"/>
              <a:gd name="csY79" fmla="*/ 935101 h 1538630"/>
              <a:gd name="csX80" fmla="*/ 170045 w 1609516"/>
              <a:gd name="csY80" fmla="*/ 933585 h 1538630"/>
              <a:gd name="csX81" fmla="*/ 1321645 w 1609516"/>
              <a:gd name="csY81" fmla="*/ 918415 h 1538630"/>
              <a:gd name="csX82" fmla="*/ 1321534 w 1609516"/>
              <a:gd name="csY82" fmla="*/ 920177 h 1538630"/>
              <a:gd name="csX83" fmla="*/ 1321740 w 1609516"/>
              <a:gd name="csY83" fmla="*/ 918415 h 1538630"/>
              <a:gd name="csX84" fmla="*/ 1319333 w 1609516"/>
              <a:gd name="csY84" fmla="*/ 915183 h 1538630"/>
              <a:gd name="csX85" fmla="*/ 1318544 w 1609516"/>
              <a:gd name="csY85" fmla="*/ 918029 h 1538630"/>
              <a:gd name="csX86" fmla="*/ 1318702 w 1609516"/>
              <a:gd name="csY86" fmla="*/ 918029 h 1538630"/>
              <a:gd name="csX87" fmla="*/ 1326355 w 1609516"/>
              <a:gd name="csY87" fmla="*/ 907109 h 1538630"/>
              <a:gd name="csX88" fmla="*/ 1326355 w 1609516"/>
              <a:gd name="csY88" fmla="*/ 910983 h 1538630"/>
              <a:gd name="csX89" fmla="*/ 1325831 w 1609516"/>
              <a:gd name="csY89" fmla="*/ 911101 h 1538630"/>
              <a:gd name="csX90" fmla="*/ 1326426 w 1609516"/>
              <a:gd name="csY90" fmla="*/ 911369 h 1538630"/>
              <a:gd name="csX91" fmla="*/ 1326426 w 1609516"/>
              <a:gd name="csY91" fmla="*/ 907141 h 1538630"/>
              <a:gd name="csX92" fmla="*/ 1328144 w 1609516"/>
              <a:gd name="csY92" fmla="*/ 892192 h 1538630"/>
              <a:gd name="csX93" fmla="*/ 1327667 w 1609516"/>
              <a:gd name="csY93" fmla="*/ 893446 h 1538630"/>
              <a:gd name="csX94" fmla="*/ 1327989 w 1609516"/>
              <a:gd name="csY94" fmla="*/ 893049 h 1538630"/>
              <a:gd name="csX95" fmla="*/ 49605 w 1609516"/>
              <a:gd name="csY95" fmla="*/ 887420 h 1538630"/>
              <a:gd name="csX96" fmla="*/ 48549 w 1609516"/>
              <a:gd name="csY96" fmla="*/ 891229 h 1538630"/>
              <a:gd name="csX97" fmla="*/ 49956 w 1609516"/>
              <a:gd name="csY97" fmla="*/ 887420 h 1538630"/>
              <a:gd name="csX98" fmla="*/ 1332266 w 1609516"/>
              <a:gd name="csY98" fmla="*/ 883369 h 1538630"/>
              <a:gd name="csX99" fmla="*/ 1329479 w 1609516"/>
              <a:gd name="csY99" fmla="*/ 884207 h 1538630"/>
              <a:gd name="csX100" fmla="*/ 1329509 w 1609516"/>
              <a:gd name="csY100" fmla="*/ 884816 h 1538630"/>
              <a:gd name="csX101" fmla="*/ 1329551 w 1609516"/>
              <a:gd name="csY101" fmla="*/ 884594 h 1538630"/>
              <a:gd name="csX102" fmla="*/ 1555987 w 1609516"/>
              <a:gd name="csY102" fmla="*/ 821766 h 1538630"/>
              <a:gd name="csX103" fmla="*/ 1555987 w 1609516"/>
              <a:gd name="csY103" fmla="*/ 822201 h 1538630"/>
              <a:gd name="csX104" fmla="*/ 1556081 w 1609516"/>
              <a:gd name="csY104" fmla="*/ 822189 h 1538630"/>
              <a:gd name="csX105" fmla="*/ 1565360 w 1609516"/>
              <a:gd name="csY105" fmla="*/ 810928 h 1538630"/>
              <a:gd name="csX106" fmla="*/ 1564871 w 1609516"/>
              <a:gd name="csY106" fmla="*/ 811809 h 1538630"/>
              <a:gd name="csX107" fmla="*/ 1567314 w 1609516"/>
              <a:gd name="csY107" fmla="*/ 810928 h 1538630"/>
              <a:gd name="csX108" fmla="*/ 1563797 w 1609516"/>
              <a:gd name="csY108" fmla="*/ 810928 h 1538630"/>
              <a:gd name="csX109" fmla="*/ 1556762 w 1609516"/>
              <a:gd name="csY109" fmla="*/ 814736 h 1538630"/>
              <a:gd name="csX110" fmla="*/ 1563797 w 1609516"/>
              <a:gd name="csY110" fmla="*/ 812197 h 1538630"/>
              <a:gd name="csX111" fmla="*/ 265833 w 1609516"/>
              <a:gd name="csY111" fmla="*/ 806020 h 1538630"/>
              <a:gd name="csX112" fmla="*/ 263704 w 1609516"/>
              <a:gd name="csY112" fmla="*/ 809861 h 1538630"/>
              <a:gd name="csX113" fmla="*/ 263704 w 1609516"/>
              <a:gd name="csY113" fmla="*/ 816750 h 1538630"/>
              <a:gd name="csX114" fmla="*/ 264113 w 1609516"/>
              <a:gd name="csY114" fmla="*/ 816565 h 1538630"/>
              <a:gd name="csX115" fmla="*/ 263918 w 1609516"/>
              <a:gd name="csY115" fmla="*/ 812777 h 1538630"/>
              <a:gd name="csX116" fmla="*/ 263774 w 1609516"/>
              <a:gd name="csY116" fmla="*/ 779374 h 1538630"/>
              <a:gd name="csX117" fmla="*/ 263704 w 1609516"/>
              <a:gd name="csY117" fmla="*/ 783086 h 1538630"/>
              <a:gd name="csX118" fmla="*/ 264484 w 1609516"/>
              <a:gd name="csY118" fmla="*/ 785816 h 1538630"/>
              <a:gd name="csX119" fmla="*/ 265265 w 1609516"/>
              <a:gd name="csY119" fmla="*/ 794448 h 1538630"/>
              <a:gd name="csX120" fmla="*/ 265217 w 1609516"/>
              <a:gd name="csY120" fmla="*/ 799730 h 1538630"/>
              <a:gd name="csX121" fmla="*/ 266556 w 1609516"/>
              <a:gd name="csY121" fmla="*/ 803466 h 1538630"/>
              <a:gd name="csX122" fmla="*/ 267237 w 1609516"/>
              <a:gd name="csY122" fmla="*/ 801063 h 1538630"/>
              <a:gd name="csX123" fmla="*/ 265675 w 1609516"/>
              <a:gd name="csY123" fmla="*/ 799654 h 1538630"/>
              <a:gd name="csX124" fmla="*/ 265675 w 1609516"/>
              <a:gd name="csY124" fmla="*/ 793841 h 1538630"/>
              <a:gd name="csX125" fmla="*/ 260988 w 1609516"/>
              <a:gd name="csY125" fmla="*/ 770061 h 1538630"/>
              <a:gd name="csX126" fmla="*/ 260988 w 1609516"/>
              <a:gd name="csY126" fmla="*/ 771364 h 1538630"/>
              <a:gd name="csX127" fmla="*/ 263497 w 1609516"/>
              <a:gd name="csY127" fmla="*/ 777263 h 1538630"/>
              <a:gd name="csX128" fmla="*/ 262551 w 1609516"/>
              <a:gd name="csY128" fmla="*/ 770061 h 1538630"/>
              <a:gd name="csX129" fmla="*/ 260988 w 1609516"/>
              <a:gd name="csY129" fmla="*/ 770061 h 1538630"/>
              <a:gd name="csX130" fmla="*/ 157888 w 1609516"/>
              <a:gd name="csY130" fmla="*/ 651686 h 1538630"/>
              <a:gd name="csX131" fmla="*/ 157415 w 1609516"/>
              <a:gd name="csY131" fmla="*/ 651764 h 1538630"/>
              <a:gd name="csX132" fmla="*/ 160373 w 1609516"/>
              <a:gd name="csY132" fmla="*/ 652274 h 1538630"/>
              <a:gd name="csX133" fmla="*/ 267237 w 1609516"/>
              <a:gd name="csY133" fmla="*/ 426537 h 1538630"/>
              <a:gd name="csX134" fmla="*/ 267237 w 1609516"/>
              <a:gd name="csY134" fmla="*/ 427619 h 1538630"/>
              <a:gd name="csX135" fmla="*/ 270380 w 1609516"/>
              <a:gd name="csY135" fmla="*/ 428137 h 1538630"/>
              <a:gd name="csX136" fmla="*/ 273548 w 1609516"/>
              <a:gd name="csY136" fmla="*/ 428680 h 1538630"/>
              <a:gd name="csX137" fmla="*/ 37605 w 1609516"/>
              <a:gd name="csY137" fmla="*/ 359270 h 1538630"/>
              <a:gd name="csX138" fmla="*/ 37103 w 1609516"/>
              <a:gd name="csY138" fmla="*/ 361533 h 1538630"/>
              <a:gd name="csX139" fmla="*/ 37605 w 1609516"/>
              <a:gd name="csY139" fmla="*/ 361382 h 1538630"/>
              <a:gd name="csX140" fmla="*/ 52477 w 1609516"/>
              <a:gd name="csY140" fmla="*/ 337570 h 1538630"/>
              <a:gd name="csX141" fmla="*/ 47288 w 1609516"/>
              <a:gd name="csY141" fmla="*/ 342340 h 1538630"/>
              <a:gd name="csX142" fmla="*/ 45805 w 1609516"/>
              <a:gd name="csY142" fmla="*/ 345093 h 1538630"/>
              <a:gd name="csX143" fmla="*/ 104291 w 1609516"/>
              <a:gd name="csY143" fmla="*/ 336166 h 1538630"/>
              <a:gd name="csX144" fmla="*/ 103776 w 1609516"/>
              <a:gd name="csY144" fmla="*/ 337559 h 1538630"/>
              <a:gd name="csX145" fmla="*/ 108925 w 1609516"/>
              <a:gd name="csY145" fmla="*/ 336166 h 1538630"/>
              <a:gd name="csX146" fmla="*/ 1309237 w 1609516"/>
              <a:gd name="csY146" fmla="*/ 322954 h 1538630"/>
              <a:gd name="csX147" fmla="*/ 1309180 w 1609516"/>
              <a:gd name="csY147" fmla="*/ 330559 h 1538630"/>
              <a:gd name="csX148" fmla="*/ 1309237 w 1609516"/>
              <a:gd name="csY148" fmla="*/ 330520 h 1538630"/>
              <a:gd name="csX149" fmla="*/ 1308964 w 1609516"/>
              <a:gd name="csY149" fmla="*/ 317715 h 1538630"/>
              <a:gd name="csX150" fmla="*/ 1309237 w 1609516"/>
              <a:gd name="csY150" fmla="*/ 318569 h 1538630"/>
              <a:gd name="csX151" fmla="*/ 1309237 w 1609516"/>
              <a:gd name="csY151" fmla="*/ 317838 h 1538630"/>
              <a:gd name="csX152" fmla="*/ 1310087 w 1609516"/>
              <a:gd name="csY152" fmla="*/ 313153 h 1538630"/>
              <a:gd name="csX153" fmla="*/ 1307609 w 1609516"/>
              <a:gd name="csY153" fmla="*/ 313473 h 1538630"/>
              <a:gd name="csX154" fmla="*/ 1308045 w 1609516"/>
              <a:gd name="csY154" fmla="*/ 314836 h 1538630"/>
              <a:gd name="csX155" fmla="*/ 1318544 w 1609516"/>
              <a:gd name="csY155" fmla="*/ 312064 h 1538630"/>
              <a:gd name="csX156" fmla="*/ 1316298 w 1609516"/>
              <a:gd name="csY156" fmla="*/ 312353 h 1538630"/>
              <a:gd name="csX157" fmla="*/ 1318544 w 1609516"/>
              <a:gd name="csY157" fmla="*/ 312205 h 1538630"/>
              <a:gd name="csX158" fmla="*/ 1084622 w 1609516"/>
              <a:gd name="csY158" fmla="*/ 267674 h 1538630"/>
              <a:gd name="csX159" fmla="*/ 1084227 w 1609516"/>
              <a:gd name="csY159" fmla="*/ 268378 h 1538630"/>
              <a:gd name="csX160" fmla="*/ 1079540 w 1609516"/>
              <a:gd name="csY160" fmla="*/ 268378 h 1538630"/>
              <a:gd name="csX161" fmla="*/ 1079603 w 1609516"/>
              <a:gd name="csY161" fmla="*/ 268477 h 1538630"/>
              <a:gd name="csX162" fmla="*/ 1084192 w 1609516"/>
              <a:gd name="csY162" fmla="*/ 268477 h 1538630"/>
              <a:gd name="csX163" fmla="*/ 956410 w 1609516"/>
              <a:gd name="csY163" fmla="*/ 266968 h 1538630"/>
              <a:gd name="csX164" fmla="*/ 957576 w 1609516"/>
              <a:gd name="csY164" fmla="*/ 267083 h 1538630"/>
              <a:gd name="csX165" fmla="*/ 957576 w 1609516"/>
              <a:gd name="csY165" fmla="*/ 269776 h 1538630"/>
              <a:gd name="csX166" fmla="*/ 957694 w 1609516"/>
              <a:gd name="csY166" fmla="*/ 269787 h 1538630"/>
              <a:gd name="csX167" fmla="*/ 957694 w 1609516"/>
              <a:gd name="csY167" fmla="*/ 266968 h 1538630"/>
              <a:gd name="csX168" fmla="*/ 1089372 w 1609516"/>
              <a:gd name="csY168" fmla="*/ 259220 h 1538630"/>
              <a:gd name="csX169" fmla="*/ 1085856 w 1609516"/>
              <a:gd name="csY169" fmla="*/ 265479 h 1538630"/>
              <a:gd name="csX170" fmla="*/ 1088878 w 1609516"/>
              <a:gd name="csY170" fmla="*/ 261431 h 1538630"/>
              <a:gd name="csX171" fmla="*/ 1018517 w 1609516"/>
              <a:gd name="csY171" fmla="*/ 223356 h 1538630"/>
              <a:gd name="csX172" fmla="*/ 1013866 w 1609516"/>
              <a:gd name="csY172" fmla="*/ 226190 h 1538630"/>
              <a:gd name="csX173" fmla="*/ 1013024 w 1609516"/>
              <a:gd name="csY173" fmla="*/ 227709 h 1538630"/>
              <a:gd name="csX174" fmla="*/ 1017055 w 1609516"/>
              <a:gd name="csY174" fmla="*/ 224692 h 1538630"/>
              <a:gd name="csX175" fmla="*/ 850645 w 1609516"/>
              <a:gd name="csY175" fmla="*/ 220099 h 1538630"/>
              <a:gd name="csX176" fmla="*/ 850897 w 1609516"/>
              <a:gd name="csY176" fmla="*/ 221488 h 1538630"/>
              <a:gd name="csX177" fmla="*/ 851470 w 1609516"/>
              <a:gd name="csY177" fmla="*/ 224692 h 1538630"/>
              <a:gd name="csX178" fmla="*/ 852860 w 1609516"/>
              <a:gd name="csY178" fmla="*/ 224692 h 1538630"/>
              <a:gd name="csX179" fmla="*/ 1155019 w 1609516"/>
              <a:gd name="csY179" fmla="*/ 35 h 1538630"/>
              <a:gd name="csX180" fmla="*/ 1174829 w 1609516"/>
              <a:gd name="csY180" fmla="*/ 4853 h 1538630"/>
              <a:gd name="csX181" fmla="*/ 1179418 w 1609516"/>
              <a:gd name="csY181" fmla="*/ 5998 h 1538630"/>
              <a:gd name="csX182" fmla="*/ 1201385 w 1609516"/>
              <a:gd name="csY182" fmla="*/ 22997 h 1538630"/>
              <a:gd name="csX183" fmla="*/ 1201678 w 1609516"/>
              <a:gd name="csY183" fmla="*/ 62191 h 1538630"/>
              <a:gd name="csX184" fmla="*/ 1198261 w 1609516"/>
              <a:gd name="csY184" fmla="*/ 68268 h 1538630"/>
              <a:gd name="csX185" fmla="*/ 1195723 w 1609516"/>
              <a:gd name="csY185" fmla="*/ 72672 h 1538630"/>
              <a:gd name="csX186" fmla="*/ 1193575 w 1609516"/>
              <a:gd name="csY186" fmla="*/ 75314 h 1538630"/>
              <a:gd name="csX187" fmla="*/ 1190450 w 1609516"/>
              <a:gd name="csY187" fmla="*/ 75314 h 1538630"/>
              <a:gd name="csX188" fmla="*/ 1189474 w 1609516"/>
              <a:gd name="csY188" fmla="*/ 79366 h 1538630"/>
              <a:gd name="csX189" fmla="*/ 1182445 w 1609516"/>
              <a:gd name="csY189" fmla="*/ 85707 h 1538630"/>
              <a:gd name="csX190" fmla="*/ 1177953 w 1609516"/>
              <a:gd name="csY190" fmla="*/ 86588 h 1538630"/>
              <a:gd name="csX191" fmla="*/ 1177953 w 1609516"/>
              <a:gd name="csY191" fmla="*/ 89406 h 1538630"/>
              <a:gd name="csX192" fmla="*/ 1170045 w 1609516"/>
              <a:gd name="csY192" fmla="*/ 94251 h 1538630"/>
              <a:gd name="csX193" fmla="*/ 1143806 w 1609516"/>
              <a:gd name="csY193" fmla="*/ 132828 h 1538630"/>
              <a:gd name="csX194" fmla="*/ 1137338 w 1609516"/>
              <a:gd name="csY194" fmla="*/ 141548 h 1538630"/>
              <a:gd name="csX195" fmla="*/ 1133970 w 1609516"/>
              <a:gd name="csY195" fmla="*/ 149403 h 1538630"/>
              <a:gd name="csX196" fmla="*/ 1127965 w 1609516"/>
              <a:gd name="csY196" fmla="*/ 164095 h 1538630"/>
              <a:gd name="csX197" fmla="*/ 1124762 w 1609516"/>
              <a:gd name="csY197" fmla="*/ 171802 h 1538630"/>
              <a:gd name="csX198" fmla="*/ 1119359 w 1609516"/>
              <a:gd name="csY198" fmla="*/ 184798 h 1538630"/>
              <a:gd name="csX199" fmla="*/ 1111014 w 1609516"/>
              <a:gd name="csY199" fmla="*/ 204941 h 1538630"/>
              <a:gd name="csX200" fmla="*/ 1109729 w 1609516"/>
              <a:gd name="csY200" fmla="*/ 208059 h 1538630"/>
              <a:gd name="csX201" fmla="*/ 1106395 w 1609516"/>
              <a:gd name="csY201" fmla="*/ 216170 h 1538630"/>
              <a:gd name="csX202" fmla="*/ 1102147 w 1609516"/>
              <a:gd name="csY202" fmla="*/ 224810 h 1538630"/>
              <a:gd name="csX203" fmla="*/ 1098261 w 1609516"/>
              <a:gd name="csY203" fmla="*/ 227262 h 1538630"/>
              <a:gd name="csX204" fmla="*/ 1098367 w 1609516"/>
              <a:gd name="csY204" fmla="*/ 238475 h 1538630"/>
              <a:gd name="csX205" fmla="*/ 1097331 w 1609516"/>
              <a:gd name="csY205" fmla="*/ 242358 h 1538630"/>
              <a:gd name="csX206" fmla="*/ 1096201 w 1609516"/>
              <a:gd name="csY206" fmla="*/ 246458 h 1538630"/>
              <a:gd name="csX207" fmla="*/ 1089440 w 1609516"/>
              <a:gd name="csY207" fmla="*/ 279206 h 1538630"/>
              <a:gd name="csX208" fmla="*/ 1087316 w 1609516"/>
              <a:gd name="csY208" fmla="*/ 283978 h 1538630"/>
              <a:gd name="csX209" fmla="*/ 1086822 w 1609516"/>
              <a:gd name="csY209" fmla="*/ 291822 h 1538630"/>
              <a:gd name="csX210" fmla="*/ 1086623 w 1609516"/>
              <a:gd name="csY210" fmla="*/ 296625 h 1538630"/>
              <a:gd name="csX211" fmla="*/ 1086437 w 1609516"/>
              <a:gd name="csY211" fmla="*/ 301681 h 1538630"/>
              <a:gd name="csX212" fmla="*/ 1086233 w 1609516"/>
              <a:gd name="csY212" fmla="*/ 306754 h 1538630"/>
              <a:gd name="csX213" fmla="*/ 1086007 w 1609516"/>
              <a:gd name="csY213" fmla="*/ 312619 h 1538630"/>
              <a:gd name="csX214" fmla="*/ 1087470 w 1609516"/>
              <a:gd name="csY214" fmla="*/ 320554 h 1538630"/>
              <a:gd name="csX215" fmla="*/ 1098285 w 1609516"/>
              <a:gd name="csY215" fmla="*/ 334611 h 1538630"/>
              <a:gd name="csX216" fmla="*/ 1102607 w 1609516"/>
              <a:gd name="csY216" fmla="*/ 337679 h 1538630"/>
              <a:gd name="csX217" fmla="*/ 1106095 w 1609516"/>
              <a:gd name="csY217" fmla="*/ 340248 h 1538630"/>
              <a:gd name="csX218" fmla="*/ 1106095 w 1609516"/>
              <a:gd name="csY218" fmla="*/ 343066 h 1538630"/>
              <a:gd name="csX219" fmla="*/ 1109220 w 1609516"/>
              <a:gd name="csY219" fmla="*/ 343419 h 1538630"/>
              <a:gd name="csX220" fmla="*/ 1126403 w 1609516"/>
              <a:gd name="csY220" fmla="*/ 350112 h 1538630"/>
              <a:gd name="csX221" fmla="*/ 1131871 w 1609516"/>
              <a:gd name="csY221" fmla="*/ 352579 h 1538630"/>
              <a:gd name="csX222" fmla="*/ 1135776 w 1609516"/>
              <a:gd name="csY222" fmla="*/ 354340 h 1538630"/>
              <a:gd name="csX223" fmla="*/ 1135776 w 1609516"/>
              <a:gd name="csY223" fmla="*/ 357158 h 1538630"/>
              <a:gd name="csX224" fmla="*/ 1170143 w 1609516"/>
              <a:gd name="csY224" fmla="*/ 354340 h 1538630"/>
              <a:gd name="csX225" fmla="*/ 1174634 w 1609516"/>
              <a:gd name="csY225" fmla="*/ 352579 h 1538630"/>
              <a:gd name="csX226" fmla="*/ 1190890 w 1609516"/>
              <a:gd name="csY226" fmla="*/ 342907 h 1538630"/>
              <a:gd name="csX227" fmla="*/ 1204021 w 1609516"/>
              <a:gd name="csY227" fmla="*/ 335404 h 1538630"/>
              <a:gd name="csX228" fmla="*/ 1223255 w 1609516"/>
              <a:gd name="csY228" fmla="*/ 319110 h 1538630"/>
              <a:gd name="csX229" fmla="*/ 1226868 w 1609516"/>
              <a:gd name="csY229" fmla="*/ 315587 h 1538630"/>
              <a:gd name="csX230" fmla="*/ 1231859 w 1609516"/>
              <a:gd name="csY230" fmla="*/ 303559 h 1538630"/>
              <a:gd name="csX231" fmla="*/ 1234178 w 1609516"/>
              <a:gd name="csY231" fmla="*/ 298059 h 1538630"/>
              <a:gd name="csX232" fmla="*/ 1237314 w 1609516"/>
              <a:gd name="csY232" fmla="*/ 288195 h 1538630"/>
              <a:gd name="csX233" fmla="*/ 1249811 w 1609516"/>
              <a:gd name="csY233" fmla="*/ 265559 h 1538630"/>
              <a:gd name="csX234" fmla="*/ 1252935 w 1609516"/>
              <a:gd name="csY234" fmla="*/ 265559 h 1538630"/>
              <a:gd name="csX235" fmla="*/ 1252935 w 1609516"/>
              <a:gd name="csY235" fmla="*/ 262741 h 1538630"/>
              <a:gd name="csX236" fmla="*/ 1296675 w 1609516"/>
              <a:gd name="csY236" fmla="*/ 252876 h 1538630"/>
              <a:gd name="csX237" fmla="*/ 1307609 w 1609516"/>
              <a:gd name="csY237" fmla="*/ 255695 h 1538630"/>
              <a:gd name="csX238" fmla="*/ 1307609 w 1609516"/>
              <a:gd name="csY238" fmla="*/ 258513 h 1538630"/>
              <a:gd name="csX239" fmla="*/ 1311887 w 1609516"/>
              <a:gd name="csY239" fmla="*/ 258832 h 1538630"/>
              <a:gd name="csX240" fmla="*/ 1326715 w 1609516"/>
              <a:gd name="csY240" fmla="*/ 269969 h 1538630"/>
              <a:gd name="csX241" fmla="*/ 1334165 w 1609516"/>
              <a:gd name="csY241" fmla="*/ 307836 h 1538630"/>
              <a:gd name="csX242" fmla="*/ 1329479 w 1609516"/>
              <a:gd name="csY242" fmla="*/ 314882 h 1538630"/>
              <a:gd name="csX243" fmla="*/ 1323231 w 1609516"/>
              <a:gd name="csY243" fmla="*/ 314882 h 1538630"/>
              <a:gd name="csX244" fmla="*/ 1323231 w 1609516"/>
              <a:gd name="csY244" fmla="*/ 317700 h 1538630"/>
              <a:gd name="csX245" fmla="*/ 1322774 w 1609516"/>
              <a:gd name="csY245" fmla="*/ 317838 h 1538630"/>
              <a:gd name="csX246" fmla="*/ 1323295 w 1609516"/>
              <a:gd name="csY246" fmla="*/ 317838 h 1538630"/>
              <a:gd name="csX247" fmla="*/ 1323295 w 1609516"/>
              <a:gd name="csY247" fmla="*/ 315019 h 1538630"/>
              <a:gd name="csX248" fmla="*/ 1327982 w 1609516"/>
              <a:gd name="csY248" fmla="*/ 315019 h 1538630"/>
              <a:gd name="csX249" fmla="*/ 1317047 w 1609516"/>
              <a:gd name="csY249" fmla="*/ 327702 h 1538630"/>
              <a:gd name="csX250" fmla="*/ 1315484 w 1609516"/>
              <a:gd name="csY250" fmla="*/ 331930 h 1538630"/>
              <a:gd name="csX251" fmla="*/ 1309139 w 1609516"/>
              <a:gd name="csY251" fmla="*/ 333603 h 1538630"/>
              <a:gd name="csX252" fmla="*/ 1305666 w 1609516"/>
              <a:gd name="csY252" fmla="*/ 334280 h 1538630"/>
              <a:gd name="csX253" fmla="*/ 1302988 w 1609516"/>
              <a:gd name="csY253" fmla="*/ 334748 h 1538630"/>
              <a:gd name="csX254" fmla="*/ 1305905 w 1609516"/>
              <a:gd name="csY254" fmla="*/ 332775 h 1538630"/>
              <a:gd name="csX255" fmla="*/ 1304485 w 1609516"/>
              <a:gd name="csY255" fmla="*/ 333202 h 1538630"/>
              <a:gd name="csX256" fmla="*/ 1301459 w 1609516"/>
              <a:gd name="csY256" fmla="*/ 336108 h 1538630"/>
              <a:gd name="csX257" fmla="*/ 1291989 w 1609516"/>
              <a:gd name="csY257" fmla="*/ 338839 h 1538630"/>
              <a:gd name="csX258" fmla="*/ 1290426 w 1609516"/>
              <a:gd name="csY258" fmla="*/ 343066 h 1538630"/>
              <a:gd name="csX259" fmla="*/ 1285740 w 1609516"/>
              <a:gd name="csY259" fmla="*/ 344123 h 1538630"/>
              <a:gd name="csX260" fmla="*/ 1237314 w 1609516"/>
              <a:gd name="csY260" fmla="*/ 382525 h 1538630"/>
              <a:gd name="csX261" fmla="*/ 1232628 w 1609516"/>
              <a:gd name="csY261" fmla="*/ 392389 h 1538630"/>
              <a:gd name="csX262" fmla="*/ 1228625 w 1609516"/>
              <a:gd name="csY262" fmla="*/ 398731 h 1538630"/>
              <a:gd name="csX263" fmla="*/ 1222822 w 1609516"/>
              <a:gd name="csY263" fmla="*/ 434798 h 1538630"/>
              <a:gd name="csX264" fmla="*/ 1260746 w 1609516"/>
              <a:gd name="csY264" fmla="*/ 485398 h 1538630"/>
              <a:gd name="csX265" fmla="*/ 1268556 w 1609516"/>
              <a:gd name="csY265" fmla="*/ 488216 h 1538630"/>
              <a:gd name="csX266" fmla="*/ 1268556 w 1609516"/>
              <a:gd name="csY266" fmla="*/ 491034 h 1538630"/>
              <a:gd name="csX267" fmla="*/ 1338852 w 1609516"/>
              <a:gd name="csY267" fmla="*/ 489625 h 1538630"/>
              <a:gd name="csX268" fmla="*/ 1347444 w 1609516"/>
              <a:gd name="csY268" fmla="*/ 488480 h 1538630"/>
              <a:gd name="csX269" fmla="*/ 1369362 w 1609516"/>
              <a:gd name="csY269" fmla="*/ 482513 h 1538630"/>
              <a:gd name="csX270" fmla="*/ 1388840 w 1609516"/>
              <a:gd name="csY270" fmla="*/ 478351 h 1538630"/>
              <a:gd name="csX271" fmla="*/ 1388840 w 1609516"/>
              <a:gd name="csY271" fmla="*/ 475533 h 1538630"/>
              <a:gd name="csX272" fmla="*/ 1395576 w 1609516"/>
              <a:gd name="csY272" fmla="*/ 473419 h 1538630"/>
              <a:gd name="csX273" fmla="*/ 1399365 w 1609516"/>
              <a:gd name="csY273" fmla="*/ 472230 h 1538630"/>
              <a:gd name="csX274" fmla="*/ 1407585 w 1609516"/>
              <a:gd name="csY274" fmla="*/ 471305 h 1538630"/>
              <a:gd name="csX275" fmla="*/ 1409147 w 1609516"/>
              <a:gd name="csY275" fmla="*/ 467078 h 1538630"/>
              <a:gd name="csX276" fmla="*/ 1416470 w 1609516"/>
              <a:gd name="csY276" fmla="*/ 464259 h 1538630"/>
              <a:gd name="csX277" fmla="*/ 1437949 w 1609516"/>
              <a:gd name="csY277" fmla="*/ 455011 h 1538630"/>
              <a:gd name="csX278" fmla="*/ 1452887 w 1609516"/>
              <a:gd name="csY278" fmla="*/ 450167 h 1538630"/>
              <a:gd name="csX279" fmla="*/ 1452887 w 1609516"/>
              <a:gd name="csY279" fmla="*/ 447349 h 1538630"/>
              <a:gd name="csX280" fmla="*/ 1455394 w 1609516"/>
              <a:gd name="csY280" fmla="*/ 446122 h 1538630"/>
              <a:gd name="csX281" fmla="*/ 1466653 w 1609516"/>
              <a:gd name="csY281" fmla="*/ 440567 h 1538630"/>
              <a:gd name="csX282" fmla="*/ 1470598 w 1609516"/>
              <a:gd name="csY282" fmla="*/ 438637 h 1538630"/>
              <a:gd name="csX283" fmla="*/ 1474397 w 1609516"/>
              <a:gd name="csY283" fmla="*/ 436752 h 1538630"/>
              <a:gd name="csX284" fmla="*/ 1477892 w 1609516"/>
              <a:gd name="csY284" fmla="*/ 435030 h 1538630"/>
              <a:gd name="csX285" fmla="*/ 1485691 w 1609516"/>
              <a:gd name="csY285" fmla="*/ 429029 h 1538630"/>
              <a:gd name="csX286" fmla="*/ 1488858 w 1609516"/>
              <a:gd name="csY286" fmla="*/ 427653 h 1538630"/>
              <a:gd name="csX287" fmla="*/ 1495943 w 1609516"/>
              <a:gd name="csY287" fmla="*/ 421454 h 1538630"/>
              <a:gd name="csX288" fmla="*/ 1538608 w 1609516"/>
              <a:gd name="csY288" fmla="*/ 388338 h 1538630"/>
              <a:gd name="csX289" fmla="*/ 1543490 w 1609516"/>
              <a:gd name="csY289" fmla="*/ 388161 h 1538630"/>
              <a:gd name="csX290" fmla="*/ 1547621 w 1609516"/>
              <a:gd name="csY290" fmla="*/ 387804 h 1538630"/>
              <a:gd name="csX291" fmla="*/ 1579418 w 1609516"/>
              <a:gd name="csY291" fmla="*/ 396617 h 1538630"/>
              <a:gd name="csX292" fmla="*/ 1583342 w 1609516"/>
              <a:gd name="csY292" fmla="*/ 398780 h 1538630"/>
              <a:gd name="csX293" fmla="*/ 1601288 w 1609516"/>
              <a:gd name="csY293" fmla="*/ 423392 h 1538630"/>
              <a:gd name="csX294" fmla="*/ 1594484 w 1609516"/>
              <a:gd name="csY294" fmla="*/ 460159 h 1538630"/>
              <a:gd name="csX295" fmla="*/ 1574732 w 1609516"/>
              <a:gd name="csY295" fmla="*/ 475533 h 1538630"/>
              <a:gd name="csX296" fmla="*/ 1572097 w 1609516"/>
              <a:gd name="csY296" fmla="*/ 477078 h 1538630"/>
              <a:gd name="csX297" fmla="*/ 1556066 w 1609516"/>
              <a:gd name="csY297" fmla="*/ 478737 h 1538630"/>
              <a:gd name="csX298" fmla="*/ 1548631 w 1609516"/>
              <a:gd name="csY298" fmla="*/ 478825 h 1538630"/>
              <a:gd name="csX299" fmla="*/ 1536991 w 1609516"/>
              <a:gd name="csY299" fmla="*/ 478889 h 1538630"/>
              <a:gd name="csX300" fmla="*/ 1498188 w 1609516"/>
              <a:gd name="csY300" fmla="*/ 485398 h 1538630"/>
              <a:gd name="csX301" fmla="*/ 1493892 w 1609516"/>
              <a:gd name="csY301" fmla="*/ 487600 h 1538630"/>
              <a:gd name="csX302" fmla="*/ 1490377 w 1609516"/>
              <a:gd name="csY302" fmla="*/ 489625 h 1538630"/>
              <a:gd name="csX303" fmla="*/ 1471650 w 1609516"/>
              <a:gd name="csY303" fmla="*/ 498185 h 1538630"/>
              <a:gd name="csX304" fmla="*/ 1459135 w 1609516"/>
              <a:gd name="csY304" fmla="*/ 505127 h 1538630"/>
              <a:gd name="csX305" fmla="*/ 1452594 w 1609516"/>
              <a:gd name="csY305" fmla="*/ 508033 h 1538630"/>
              <a:gd name="csX306" fmla="*/ 1427795 w 1609516"/>
              <a:gd name="csY306" fmla="*/ 520100 h 1538630"/>
              <a:gd name="csX307" fmla="*/ 1423733 w 1609516"/>
              <a:gd name="csY307" fmla="*/ 522148 h 1538630"/>
              <a:gd name="csX308" fmla="*/ 1419929 w 1609516"/>
              <a:gd name="csY308" fmla="*/ 524118 h 1538630"/>
              <a:gd name="csX309" fmla="*/ 1416487 w 1609516"/>
              <a:gd name="csY309" fmla="*/ 525883 h 1538630"/>
              <a:gd name="csX310" fmla="*/ 1412271 w 1609516"/>
              <a:gd name="csY310" fmla="*/ 531902 h 1538630"/>
              <a:gd name="csX311" fmla="*/ 1396650 w 1609516"/>
              <a:gd name="csY311" fmla="*/ 537539 h 1538630"/>
              <a:gd name="csX312" fmla="*/ 1396650 w 1609516"/>
              <a:gd name="csY312" fmla="*/ 540357 h 1538630"/>
              <a:gd name="csX313" fmla="*/ 1393495 w 1609516"/>
              <a:gd name="csY313" fmla="*/ 541502 h 1538630"/>
              <a:gd name="csX314" fmla="*/ 1362284 w 1609516"/>
              <a:gd name="csY314" fmla="*/ 558678 h 1538630"/>
              <a:gd name="csX315" fmla="*/ 1355937 w 1609516"/>
              <a:gd name="csY315" fmla="*/ 562905 h 1538630"/>
              <a:gd name="csX316" fmla="*/ 1334165 w 1609516"/>
              <a:gd name="csY316" fmla="*/ 578406 h 1538630"/>
              <a:gd name="csX317" fmla="*/ 1331200 w 1609516"/>
              <a:gd name="csY317" fmla="*/ 580559 h 1538630"/>
              <a:gd name="csX318" fmla="*/ 1322175 w 1609516"/>
              <a:gd name="csY318" fmla="*/ 596793 h 1538630"/>
              <a:gd name="csX319" fmla="*/ 1320106 w 1609516"/>
              <a:gd name="csY319" fmla="*/ 602363 h 1538630"/>
              <a:gd name="csX320" fmla="*/ 1328015 w 1609516"/>
              <a:gd name="csY320" fmla="*/ 647640 h 1538630"/>
              <a:gd name="csX321" fmla="*/ 1332604 w 1609516"/>
              <a:gd name="csY321" fmla="*/ 675643 h 1538630"/>
              <a:gd name="csX322" fmla="*/ 1335727 w 1609516"/>
              <a:gd name="csY322" fmla="*/ 675643 h 1538630"/>
              <a:gd name="csX323" fmla="*/ 1337741 w 1609516"/>
              <a:gd name="csY323" fmla="*/ 690059 h 1538630"/>
              <a:gd name="csX324" fmla="*/ 1338003 w 1609516"/>
              <a:gd name="csY324" fmla="*/ 696222 h 1538630"/>
              <a:gd name="csX325" fmla="*/ 1338340 w 1609516"/>
              <a:gd name="csY325" fmla="*/ 705887 h 1538630"/>
              <a:gd name="csX326" fmla="*/ 1345277 w 1609516"/>
              <a:gd name="csY326" fmla="*/ 733245 h 1538630"/>
              <a:gd name="csX327" fmla="*/ 1363162 w 1609516"/>
              <a:gd name="csY327" fmla="*/ 741612 h 1538630"/>
              <a:gd name="csX328" fmla="*/ 1384154 w 1609516"/>
              <a:gd name="csY328" fmla="*/ 748922 h 1538630"/>
              <a:gd name="csX329" fmla="*/ 1391476 w 1609516"/>
              <a:gd name="csY329" fmla="*/ 750419 h 1538630"/>
              <a:gd name="csX330" fmla="*/ 1395564 w 1609516"/>
              <a:gd name="csY330" fmla="*/ 751080 h 1538630"/>
              <a:gd name="csX331" fmla="*/ 1399775 w 1609516"/>
              <a:gd name="csY331" fmla="*/ 751740 h 1538630"/>
              <a:gd name="csX332" fmla="*/ 1403887 w 1609516"/>
              <a:gd name="csY332" fmla="*/ 752489 h 1538630"/>
              <a:gd name="csX333" fmla="*/ 1465383 w 1609516"/>
              <a:gd name="csY333" fmla="*/ 755969 h 1538630"/>
              <a:gd name="csX334" fmla="*/ 1470339 w 1609516"/>
              <a:gd name="csY334" fmla="*/ 755897 h 1538630"/>
              <a:gd name="csX335" fmla="*/ 1496809 w 1609516"/>
              <a:gd name="csY335" fmla="*/ 749313 h 1538630"/>
              <a:gd name="csX336" fmla="*/ 1515371 w 1609516"/>
              <a:gd name="csY336" fmla="*/ 743285 h 1538630"/>
              <a:gd name="csX337" fmla="*/ 1515371 w 1609516"/>
              <a:gd name="csY337" fmla="*/ 740467 h 1538630"/>
              <a:gd name="csX338" fmla="*/ 1537632 w 1609516"/>
              <a:gd name="csY338" fmla="*/ 737120 h 1538630"/>
              <a:gd name="csX339" fmla="*/ 1541657 w 1609516"/>
              <a:gd name="csY339" fmla="*/ 737127 h 1538630"/>
              <a:gd name="csX340" fmla="*/ 1574732 w 1609516"/>
              <a:gd name="csY340" fmla="*/ 748922 h 1538630"/>
              <a:gd name="csX341" fmla="*/ 1588791 w 1609516"/>
              <a:gd name="csY341" fmla="*/ 792608 h 1538630"/>
              <a:gd name="csX342" fmla="*/ 1584105 w 1609516"/>
              <a:gd name="csY342" fmla="*/ 805291 h 1538630"/>
              <a:gd name="csX343" fmla="*/ 1580981 w 1609516"/>
              <a:gd name="csY343" fmla="*/ 806700 h 1538630"/>
              <a:gd name="csX344" fmla="*/ 1578735 w 1609516"/>
              <a:gd name="csY344" fmla="*/ 810311 h 1538630"/>
              <a:gd name="csX345" fmla="*/ 1576295 w 1609516"/>
              <a:gd name="csY345" fmla="*/ 813746 h 1538630"/>
              <a:gd name="csX346" fmla="*/ 1571652 w 1609516"/>
              <a:gd name="csY346" fmla="*/ 813746 h 1538630"/>
              <a:gd name="csX347" fmla="*/ 1571785 w 1609516"/>
              <a:gd name="csY347" fmla="*/ 814106 h 1538630"/>
              <a:gd name="csX348" fmla="*/ 1574909 w 1609516"/>
              <a:gd name="csY348" fmla="*/ 815515 h 1538630"/>
              <a:gd name="csX349" fmla="*/ 1565463 w 1609516"/>
              <a:gd name="csY349" fmla="*/ 821839 h 1538630"/>
              <a:gd name="csX350" fmla="*/ 1562085 w 1609516"/>
              <a:gd name="csY350" fmla="*/ 822101 h 1538630"/>
              <a:gd name="csX351" fmla="*/ 1551301 w 1609516"/>
              <a:gd name="csY351" fmla="*/ 825020 h 1538630"/>
              <a:gd name="csX352" fmla="*/ 1551301 w 1609516"/>
              <a:gd name="csY352" fmla="*/ 827838 h 1538630"/>
              <a:gd name="csX353" fmla="*/ 1485380 w 1609516"/>
              <a:gd name="csY353" fmla="*/ 815007 h 1538630"/>
              <a:gd name="csX354" fmla="*/ 1431603 w 1609516"/>
              <a:gd name="csY354" fmla="*/ 808726 h 1538630"/>
              <a:gd name="csX355" fmla="*/ 1424140 w 1609516"/>
              <a:gd name="csY355" fmla="*/ 808542 h 1538630"/>
              <a:gd name="csX356" fmla="*/ 1406023 w 1609516"/>
              <a:gd name="csY356" fmla="*/ 808109 h 1538630"/>
              <a:gd name="csX357" fmla="*/ 1406023 w 1609516"/>
              <a:gd name="csY357" fmla="*/ 810928 h 1538630"/>
              <a:gd name="csX358" fmla="*/ 1403383 w 1609516"/>
              <a:gd name="csY358" fmla="*/ 811311 h 1538630"/>
              <a:gd name="csX359" fmla="*/ 1345442 w 1609516"/>
              <a:gd name="csY359" fmla="*/ 828907 h 1538630"/>
              <a:gd name="csX360" fmla="*/ 1337875 w 1609516"/>
              <a:gd name="csY360" fmla="*/ 856639 h 1538630"/>
              <a:gd name="csX361" fmla="*/ 1337692 w 1609516"/>
              <a:gd name="csY361" fmla="*/ 860171 h 1538630"/>
              <a:gd name="csX362" fmla="*/ 1337290 w 1609516"/>
              <a:gd name="csY362" fmla="*/ 868706 h 1538630"/>
              <a:gd name="csX363" fmla="*/ 1334165 w 1609516"/>
              <a:gd name="csY363" fmla="*/ 868706 h 1538630"/>
              <a:gd name="csX364" fmla="*/ 1334165 w 1609516"/>
              <a:gd name="csY364" fmla="*/ 870034 h 1538630"/>
              <a:gd name="csX365" fmla="*/ 1334237 w 1609516"/>
              <a:gd name="csY365" fmla="*/ 869093 h 1538630"/>
              <a:gd name="csX366" fmla="*/ 1335800 w 1609516"/>
              <a:gd name="csY366" fmla="*/ 869093 h 1538630"/>
              <a:gd name="csX367" fmla="*/ 1335995 w 1609516"/>
              <a:gd name="csY367" fmla="*/ 876491 h 1538630"/>
              <a:gd name="csX368" fmla="*/ 1336105 w 1609516"/>
              <a:gd name="csY368" fmla="*/ 880653 h 1538630"/>
              <a:gd name="csX369" fmla="*/ 1334294 w 1609516"/>
              <a:gd name="csY369" fmla="*/ 887271 h 1538630"/>
              <a:gd name="csX370" fmla="*/ 1331455 w 1609516"/>
              <a:gd name="csY370" fmla="*/ 896440 h 1538630"/>
              <a:gd name="csX371" fmla="*/ 1330887 w 1609516"/>
              <a:gd name="csY371" fmla="*/ 899969 h 1538630"/>
              <a:gd name="csX372" fmla="*/ 1330332 w 1609516"/>
              <a:gd name="csY372" fmla="*/ 903618 h 1538630"/>
              <a:gd name="csX373" fmla="*/ 1329209 w 1609516"/>
              <a:gd name="csY373" fmla="*/ 910797 h 1538630"/>
              <a:gd name="csX374" fmla="*/ 1328724 w 1609516"/>
              <a:gd name="csY374" fmla="*/ 913998 h 1538630"/>
              <a:gd name="csX375" fmla="*/ 1324865 w 1609516"/>
              <a:gd name="csY375" fmla="*/ 922643 h 1538630"/>
              <a:gd name="csX376" fmla="*/ 1322619 w 1609516"/>
              <a:gd name="csY376" fmla="*/ 937979 h 1538630"/>
              <a:gd name="csX377" fmla="*/ 1318744 w 1609516"/>
              <a:gd name="csY377" fmla="*/ 944961 h 1538630"/>
              <a:gd name="csX378" fmla="*/ 1318544 w 1609516"/>
              <a:gd name="csY378" fmla="*/ 946213 h 1538630"/>
              <a:gd name="csX379" fmla="*/ 1318251 w 1609516"/>
              <a:gd name="csY379" fmla="*/ 955285 h 1538630"/>
              <a:gd name="csX380" fmla="*/ 1318184 w 1609516"/>
              <a:gd name="csY380" fmla="*/ 960036 h 1538630"/>
              <a:gd name="csX381" fmla="*/ 1324024 w 1609516"/>
              <a:gd name="csY381" fmla="*/ 973660 h 1538630"/>
              <a:gd name="csX382" fmla="*/ 1329284 w 1609516"/>
              <a:gd name="csY382" fmla="*/ 983382 h 1538630"/>
              <a:gd name="csX383" fmla="*/ 1340414 w 1609516"/>
              <a:gd name="csY383" fmla="*/ 998354 h 1538630"/>
              <a:gd name="csX384" fmla="*/ 1346272 w 1609516"/>
              <a:gd name="csY384" fmla="*/ 1005048 h 1538630"/>
              <a:gd name="csX385" fmla="*/ 1394716 w 1609516"/>
              <a:gd name="csY385" fmla="*/ 1042740 h 1538630"/>
              <a:gd name="csX386" fmla="*/ 1401953 w 1609516"/>
              <a:gd name="csY386" fmla="*/ 1047374 h 1538630"/>
              <a:gd name="csX387" fmla="*/ 1427197 w 1609516"/>
              <a:gd name="csY387" fmla="*/ 1059061 h 1538630"/>
              <a:gd name="csX388" fmla="*/ 1437265 w 1609516"/>
              <a:gd name="csY388" fmla="*/ 1064588 h 1538630"/>
              <a:gd name="csX389" fmla="*/ 1437265 w 1609516"/>
              <a:gd name="csY389" fmla="*/ 1067406 h 1538630"/>
              <a:gd name="csX390" fmla="*/ 1440878 w 1609516"/>
              <a:gd name="csY390" fmla="*/ 1067847 h 1538630"/>
              <a:gd name="csX391" fmla="*/ 1447175 w 1609516"/>
              <a:gd name="csY391" fmla="*/ 1070753 h 1538630"/>
              <a:gd name="csX392" fmla="*/ 1457866 w 1609516"/>
              <a:gd name="csY392" fmla="*/ 1076830 h 1538630"/>
              <a:gd name="csX393" fmla="*/ 1462132 w 1609516"/>
              <a:gd name="csY393" fmla="*/ 1078696 h 1538630"/>
              <a:gd name="csX394" fmla="*/ 1465383 w 1609516"/>
              <a:gd name="csY394" fmla="*/ 1080089 h 1538630"/>
              <a:gd name="csX395" fmla="*/ 1465383 w 1609516"/>
              <a:gd name="csY395" fmla="*/ 1082908 h 1538630"/>
              <a:gd name="csX396" fmla="*/ 1468758 w 1609516"/>
              <a:gd name="csY396" fmla="*/ 1083975 h 1538630"/>
              <a:gd name="csX397" fmla="*/ 1481688 w 1609516"/>
              <a:gd name="csY397" fmla="*/ 1091187 h 1538630"/>
              <a:gd name="csX398" fmla="*/ 1486283 w 1609516"/>
              <a:gd name="csY398" fmla="*/ 1094236 h 1538630"/>
              <a:gd name="csX399" fmla="*/ 1494869 w 1609516"/>
              <a:gd name="csY399" fmla="*/ 1100171 h 1538630"/>
              <a:gd name="csX400" fmla="*/ 1544335 w 1609516"/>
              <a:gd name="csY400" fmla="*/ 1109518 h 1538630"/>
              <a:gd name="csX401" fmla="*/ 1593477 w 1609516"/>
              <a:gd name="csY401" fmla="*/ 1119900 h 1538630"/>
              <a:gd name="csX402" fmla="*/ 1605975 w 1609516"/>
              <a:gd name="csY402" fmla="*/ 1144913 h 1538630"/>
              <a:gd name="csX403" fmla="*/ 1609099 w 1609516"/>
              <a:gd name="csY403" fmla="*/ 1144913 h 1538630"/>
              <a:gd name="csX404" fmla="*/ 1609392 w 1609516"/>
              <a:gd name="csY404" fmla="*/ 1156892 h 1538630"/>
              <a:gd name="csX405" fmla="*/ 1609511 w 1609516"/>
              <a:gd name="csY405" fmla="*/ 1160272 h 1538630"/>
              <a:gd name="csX406" fmla="*/ 1604412 w 1609516"/>
              <a:gd name="csY406" fmla="*/ 1181553 h 1538630"/>
              <a:gd name="csX407" fmla="*/ 1601288 w 1609516"/>
              <a:gd name="csY407" fmla="*/ 1190009 h 1538630"/>
              <a:gd name="csX408" fmla="*/ 1598164 w 1609516"/>
              <a:gd name="csY408" fmla="*/ 1190009 h 1538630"/>
              <a:gd name="csX409" fmla="*/ 1597187 w 1609516"/>
              <a:gd name="csY409" fmla="*/ 1192739 h 1538630"/>
              <a:gd name="csX410" fmla="*/ 1595040 w 1609516"/>
              <a:gd name="csY410" fmla="*/ 1195645 h 1538630"/>
              <a:gd name="csX411" fmla="*/ 1585667 w 1609516"/>
              <a:gd name="csY411" fmla="*/ 1197055 h 1538630"/>
              <a:gd name="csX412" fmla="*/ 1582543 w 1609516"/>
              <a:gd name="csY412" fmla="*/ 1202691 h 1538630"/>
              <a:gd name="csX413" fmla="*/ 1562431 w 1609516"/>
              <a:gd name="csY413" fmla="*/ 1204365 h 1538630"/>
              <a:gd name="csX414" fmla="*/ 1558690 w 1609516"/>
              <a:gd name="csY414" fmla="*/ 1204417 h 1538630"/>
              <a:gd name="csX415" fmla="*/ 1521102 w 1609516"/>
              <a:gd name="csY415" fmla="*/ 1189585 h 1538630"/>
              <a:gd name="csX416" fmla="*/ 1505022 w 1609516"/>
              <a:gd name="csY416" fmla="*/ 1172041 h 1538630"/>
              <a:gd name="csX417" fmla="*/ 1457573 w 1609516"/>
              <a:gd name="csY417" fmla="*/ 1140686 h 1538630"/>
              <a:gd name="csX418" fmla="*/ 1457573 w 1609516"/>
              <a:gd name="csY418" fmla="*/ 1137867 h 1538630"/>
              <a:gd name="csX419" fmla="*/ 1452985 w 1609516"/>
              <a:gd name="csY419" fmla="*/ 1137339 h 1538630"/>
              <a:gd name="csX420" fmla="*/ 1448200 w 1609516"/>
              <a:gd name="csY420" fmla="*/ 1136458 h 1538630"/>
              <a:gd name="csX421" fmla="*/ 1446638 w 1609516"/>
              <a:gd name="csY421" fmla="*/ 1133640 h 1538630"/>
              <a:gd name="csX422" fmla="*/ 1438937 w 1609516"/>
              <a:gd name="csY422" fmla="*/ 1130601 h 1538630"/>
              <a:gd name="csX423" fmla="*/ 1429260 w 1609516"/>
              <a:gd name="csY423" fmla="*/ 1126770 h 1538630"/>
              <a:gd name="csX424" fmla="*/ 1411393 w 1609516"/>
              <a:gd name="csY424" fmla="*/ 1120340 h 1538630"/>
              <a:gd name="csX425" fmla="*/ 1391427 w 1609516"/>
              <a:gd name="csY425" fmla="*/ 1111191 h 1538630"/>
              <a:gd name="csX426" fmla="*/ 1381029 w 1609516"/>
              <a:gd name="csY426" fmla="*/ 1106865 h 1538630"/>
              <a:gd name="csX427" fmla="*/ 1381029 w 1609516"/>
              <a:gd name="csY427" fmla="*/ 1104046 h 1538630"/>
              <a:gd name="csX428" fmla="*/ 1377221 w 1609516"/>
              <a:gd name="csY428" fmla="*/ 1103605 h 1538630"/>
              <a:gd name="csX429" fmla="*/ 1357597 w 1609516"/>
              <a:gd name="csY429" fmla="*/ 1098409 h 1538630"/>
              <a:gd name="csX430" fmla="*/ 1352032 w 1609516"/>
              <a:gd name="csY430" fmla="*/ 1096736 h 1538630"/>
              <a:gd name="csX431" fmla="*/ 1348225 w 1609516"/>
              <a:gd name="csY431" fmla="*/ 1095590 h 1538630"/>
              <a:gd name="csX432" fmla="*/ 1348225 w 1609516"/>
              <a:gd name="csY432" fmla="*/ 1092772 h 1538630"/>
              <a:gd name="csX433" fmla="*/ 1337290 w 1609516"/>
              <a:gd name="csY433" fmla="*/ 1091363 h 1538630"/>
              <a:gd name="csX434" fmla="*/ 1337290 w 1609516"/>
              <a:gd name="csY434" fmla="*/ 1088544 h 1538630"/>
              <a:gd name="csX435" fmla="*/ 1331529 w 1609516"/>
              <a:gd name="csY435" fmla="*/ 1088104 h 1538630"/>
              <a:gd name="csX436" fmla="*/ 1323297 w 1609516"/>
              <a:gd name="csY436" fmla="*/ 1086611 h 1538630"/>
              <a:gd name="csX437" fmla="*/ 1323297 w 1609516"/>
              <a:gd name="csY437" fmla="*/ 1087618 h 1538630"/>
              <a:gd name="csX438" fmla="*/ 1319789 w 1609516"/>
              <a:gd name="csY438" fmla="*/ 1087310 h 1538630"/>
              <a:gd name="csX439" fmla="*/ 1262375 w 1609516"/>
              <a:gd name="csY439" fmla="*/ 1089028 h 1538630"/>
              <a:gd name="csX440" fmla="*/ 1258728 w 1609516"/>
              <a:gd name="csY440" fmla="*/ 1088205 h 1538630"/>
              <a:gd name="csX441" fmla="*/ 1246964 w 1609516"/>
              <a:gd name="csY441" fmla="*/ 1091489 h 1538630"/>
              <a:gd name="csX442" fmla="*/ 1223224 w 1609516"/>
              <a:gd name="csY442" fmla="*/ 1112865 h 1538630"/>
              <a:gd name="csX443" fmla="*/ 1213883 w 1609516"/>
              <a:gd name="csY443" fmla="*/ 1122366 h 1538630"/>
              <a:gd name="csX444" fmla="*/ 1212505 w 1609516"/>
              <a:gd name="csY444" fmla="*/ 1125708 h 1538630"/>
              <a:gd name="csX445" fmla="*/ 1204180 w 1609516"/>
              <a:gd name="csY445" fmla="*/ 1135561 h 1538630"/>
              <a:gd name="csX446" fmla="*/ 1200238 w 1609516"/>
              <a:gd name="csY446" fmla="*/ 1138999 h 1538630"/>
              <a:gd name="csX447" fmla="*/ 1192025 w 1609516"/>
              <a:gd name="csY447" fmla="*/ 1146022 h 1538630"/>
              <a:gd name="csX448" fmla="*/ 1173945 w 1609516"/>
              <a:gd name="csY448" fmla="*/ 1174749 h 1538630"/>
              <a:gd name="csX449" fmla="*/ 1173950 w 1609516"/>
              <a:gd name="csY449" fmla="*/ 1182610 h 1538630"/>
              <a:gd name="csX450" fmla="*/ 1173989 w 1609516"/>
              <a:gd name="csY450" fmla="*/ 1186765 h 1538630"/>
              <a:gd name="csX451" fmla="*/ 1182640 w 1609516"/>
              <a:gd name="csY451" fmla="*/ 1215374 h 1538630"/>
              <a:gd name="csX452" fmla="*/ 1185764 w 1609516"/>
              <a:gd name="csY452" fmla="*/ 1221804 h 1538630"/>
              <a:gd name="csX453" fmla="*/ 1187301 w 1609516"/>
              <a:gd name="csY453" fmla="*/ 1224859 h 1538630"/>
              <a:gd name="csX454" fmla="*/ 1190573 w 1609516"/>
              <a:gd name="csY454" fmla="*/ 1231740 h 1538630"/>
              <a:gd name="csX455" fmla="*/ 1205925 w 1609516"/>
              <a:gd name="csY455" fmla="*/ 1255163 h 1538630"/>
              <a:gd name="csX456" fmla="*/ 1212174 w 1609516"/>
              <a:gd name="csY456" fmla="*/ 1263134 h 1538630"/>
              <a:gd name="csX457" fmla="*/ 1235556 w 1609516"/>
              <a:gd name="csY457" fmla="*/ 1282538 h 1538630"/>
              <a:gd name="csX458" fmla="*/ 1238876 w 1609516"/>
              <a:gd name="csY458" fmla="*/ 1284426 h 1538630"/>
              <a:gd name="csX459" fmla="*/ 1238876 w 1609516"/>
              <a:gd name="csY459" fmla="*/ 1287245 h 1538630"/>
              <a:gd name="csX460" fmla="*/ 1242245 w 1609516"/>
              <a:gd name="csY460" fmla="*/ 1287663 h 1538630"/>
              <a:gd name="csX461" fmla="*/ 1271681 w 1609516"/>
              <a:gd name="csY461" fmla="*/ 1305565 h 1538630"/>
              <a:gd name="csX462" fmla="*/ 1271742 w 1609516"/>
              <a:gd name="csY462" fmla="*/ 1306172 h 1538630"/>
              <a:gd name="csX463" fmla="*/ 1278525 w 1609516"/>
              <a:gd name="csY463" fmla="*/ 1315767 h 1538630"/>
              <a:gd name="csX464" fmla="*/ 1281097 w 1609516"/>
              <a:gd name="csY464" fmla="*/ 1327286 h 1538630"/>
              <a:gd name="csX465" fmla="*/ 1277973 w 1609516"/>
              <a:gd name="csY465" fmla="*/ 1355470 h 1538630"/>
              <a:gd name="csX466" fmla="*/ 1277460 w 1609516"/>
              <a:gd name="csY466" fmla="*/ 1347025 h 1538630"/>
              <a:gd name="csX467" fmla="*/ 1273531 w 1609516"/>
              <a:gd name="csY467" fmla="*/ 1357991 h 1538630"/>
              <a:gd name="csX468" fmla="*/ 1263870 w 1609516"/>
              <a:gd name="csY468" fmla="*/ 1368980 h 1538630"/>
              <a:gd name="csX469" fmla="*/ 1246686 w 1609516"/>
              <a:gd name="csY469" fmla="*/ 1376026 h 1538630"/>
              <a:gd name="csX470" fmla="*/ 1246686 w 1609516"/>
              <a:gd name="csY470" fmla="*/ 1378844 h 1538630"/>
              <a:gd name="csX471" fmla="*/ 1231651 w 1609516"/>
              <a:gd name="csY471" fmla="*/ 1379196 h 1538630"/>
              <a:gd name="csX472" fmla="*/ 1227373 w 1609516"/>
              <a:gd name="csY472" fmla="*/ 1379340 h 1538630"/>
              <a:gd name="csX473" fmla="*/ 1206071 w 1609516"/>
              <a:gd name="csY473" fmla="*/ 1373207 h 1538630"/>
              <a:gd name="csX474" fmla="*/ 1202069 w 1609516"/>
              <a:gd name="csY474" fmla="*/ 1371798 h 1538630"/>
              <a:gd name="csX475" fmla="*/ 1184104 w 1609516"/>
              <a:gd name="csY475" fmla="*/ 1356176 h 1538630"/>
              <a:gd name="csX476" fmla="*/ 1177270 w 1609516"/>
              <a:gd name="csY476" fmla="*/ 1335247 h 1538630"/>
              <a:gd name="csX477" fmla="*/ 1169002 w 1609516"/>
              <a:gd name="csY477" fmla="*/ 1313464 h 1538630"/>
              <a:gd name="csX478" fmla="*/ 1163504 w 1609516"/>
              <a:gd name="csY478" fmla="*/ 1302130 h 1538630"/>
              <a:gd name="csX479" fmla="*/ 1162015 w 1609516"/>
              <a:gd name="csY479" fmla="*/ 1298788 h 1538630"/>
              <a:gd name="csX480" fmla="*/ 1160111 w 1609516"/>
              <a:gd name="csY480" fmla="*/ 1292656 h 1538630"/>
              <a:gd name="csX481" fmla="*/ 1154522 w 1609516"/>
              <a:gd name="csY481" fmla="*/ 1287245 h 1538630"/>
              <a:gd name="csX482" fmla="*/ 1151398 w 1609516"/>
              <a:gd name="csY482" fmla="*/ 1280199 h 1538630"/>
              <a:gd name="csX483" fmla="*/ 1144173 w 1609516"/>
              <a:gd name="csY483" fmla="*/ 1270774 h 1538630"/>
              <a:gd name="csX484" fmla="*/ 1142065 w 1609516"/>
              <a:gd name="csY484" fmla="*/ 1268160 h 1538630"/>
              <a:gd name="csX485" fmla="*/ 1135776 w 1609516"/>
              <a:gd name="csY485" fmla="*/ 1260470 h 1538630"/>
              <a:gd name="csX486" fmla="*/ 1132353 w 1609516"/>
              <a:gd name="csY486" fmla="*/ 1256247 h 1538630"/>
              <a:gd name="csX487" fmla="*/ 1112344 w 1609516"/>
              <a:gd name="csY487" fmla="*/ 1240741 h 1538630"/>
              <a:gd name="csX488" fmla="*/ 1106193 w 1609516"/>
              <a:gd name="csY488" fmla="*/ 1237570 h 1538630"/>
              <a:gd name="csX489" fmla="*/ 1101409 w 1609516"/>
              <a:gd name="csY489" fmla="*/ 1235104 h 1538630"/>
              <a:gd name="csX490" fmla="*/ 1101409 w 1609516"/>
              <a:gd name="csY490" fmla="*/ 1230876 h 1538630"/>
              <a:gd name="csX491" fmla="*/ 1065480 w 1609516"/>
              <a:gd name="csY491" fmla="*/ 1230876 h 1538630"/>
              <a:gd name="csX492" fmla="*/ 1063919 w 1609516"/>
              <a:gd name="csY492" fmla="*/ 1235104 h 1538630"/>
              <a:gd name="csX493" fmla="*/ 1059232 w 1609516"/>
              <a:gd name="csY493" fmla="*/ 1235104 h 1538630"/>
              <a:gd name="csX494" fmla="*/ 1059232 w 1609516"/>
              <a:gd name="csY494" fmla="*/ 1237922 h 1538630"/>
              <a:gd name="csX495" fmla="*/ 1040194 w 1609516"/>
              <a:gd name="csY495" fmla="*/ 1245761 h 1538630"/>
              <a:gd name="csX496" fmla="*/ 1030333 w 1609516"/>
              <a:gd name="csY496" fmla="*/ 1249901 h 1538630"/>
              <a:gd name="csX497" fmla="*/ 1013931 w 1609516"/>
              <a:gd name="csY497" fmla="*/ 1256242 h 1538630"/>
              <a:gd name="csX498" fmla="*/ 1005925 w 1609516"/>
              <a:gd name="csY498" fmla="*/ 1261615 h 1538630"/>
              <a:gd name="csX499" fmla="*/ 1004558 w 1609516"/>
              <a:gd name="csY499" fmla="*/ 1264697 h 1538630"/>
              <a:gd name="csX500" fmla="*/ 1002959 w 1609516"/>
              <a:gd name="csY500" fmla="*/ 1267961 h 1538630"/>
              <a:gd name="csX501" fmla="*/ 1000653 w 1609516"/>
              <a:gd name="csY501" fmla="*/ 1278965 h 1538630"/>
              <a:gd name="csX502" fmla="*/ 998297 w 1609516"/>
              <a:gd name="csY502" fmla="*/ 1294137 h 1538630"/>
              <a:gd name="csX503" fmla="*/ 996162 w 1609516"/>
              <a:gd name="csY503" fmla="*/ 1324765 h 1538630"/>
              <a:gd name="csX504" fmla="*/ 996164 w 1609516"/>
              <a:gd name="csY504" fmla="*/ 1327846 h 1538630"/>
              <a:gd name="csX505" fmla="*/ 1007780 w 1609516"/>
              <a:gd name="csY505" fmla="*/ 1403329 h 1538630"/>
              <a:gd name="csX506" fmla="*/ 1008940 w 1609516"/>
              <a:gd name="csY506" fmla="*/ 1407701 h 1538630"/>
              <a:gd name="csX507" fmla="*/ 1010080 w 1609516"/>
              <a:gd name="csY507" fmla="*/ 1411730 h 1538630"/>
              <a:gd name="csX508" fmla="*/ 1011075 w 1609516"/>
              <a:gd name="csY508" fmla="*/ 1415277 h 1538630"/>
              <a:gd name="csX509" fmla="*/ 1017055 w 1609516"/>
              <a:gd name="csY509" fmla="*/ 1422530 h 1538630"/>
              <a:gd name="csX510" fmla="*/ 1020277 w 1609516"/>
              <a:gd name="csY510" fmla="*/ 1427991 h 1538630"/>
              <a:gd name="csX511" fmla="*/ 1021796 w 1609516"/>
              <a:gd name="csY511" fmla="*/ 1430798 h 1538630"/>
              <a:gd name="csX512" fmla="*/ 1024579 w 1609516"/>
              <a:gd name="csY512" fmla="*/ 1437239 h 1538630"/>
              <a:gd name="csX513" fmla="*/ 1034043 w 1609516"/>
              <a:gd name="csY513" fmla="*/ 1448072 h 1538630"/>
              <a:gd name="csX514" fmla="*/ 1043782 w 1609516"/>
              <a:gd name="csY514" fmla="*/ 1464320 h 1538630"/>
              <a:gd name="csX515" fmla="*/ 1050458 w 1609516"/>
              <a:gd name="csY515" fmla="*/ 1472189 h 1538630"/>
              <a:gd name="csX516" fmla="*/ 1052926 w 1609516"/>
              <a:gd name="csY516" fmla="*/ 1482370 h 1538630"/>
              <a:gd name="csX517" fmla="*/ 1053316 w 1609516"/>
              <a:gd name="csY517" fmla="*/ 1496903 h 1538630"/>
              <a:gd name="csX518" fmla="*/ 1053352 w 1609516"/>
              <a:gd name="csY518" fmla="*/ 1500660 h 1538630"/>
              <a:gd name="csX519" fmla="*/ 1053341 w 1609516"/>
              <a:gd name="csY519" fmla="*/ 1504285 h 1538630"/>
              <a:gd name="csX520" fmla="*/ 1053329 w 1609516"/>
              <a:gd name="csY520" fmla="*/ 1507529 h 1538630"/>
              <a:gd name="csX521" fmla="*/ 1049801 w 1609516"/>
              <a:gd name="csY521" fmla="*/ 1516192 h 1538630"/>
              <a:gd name="csX522" fmla="*/ 1047312 w 1609516"/>
              <a:gd name="csY522" fmla="*/ 1516192 h 1538630"/>
              <a:gd name="csX523" fmla="*/ 1043611 w 1609516"/>
              <a:gd name="csY523" fmla="*/ 1522585 h 1538630"/>
              <a:gd name="csX524" fmla="*/ 1029552 w 1609516"/>
              <a:gd name="csY524" fmla="*/ 1529631 h 1538630"/>
              <a:gd name="csX525" fmla="*/ 1028771 w 1609516"/>
              <a:gd name="csY525" fmla="*/ 1532273 h 1538630"/>
              <a:gd name="csX526" fmla="*/ 1018013 w 1609516"/>
              <a:gd name="csY526" fmla="*/ 1537640 h 1538630"/>
              <a:gd name="csX527" fmla="*/ 981126 w 1609516"/>
              <a:gd name="csY527" fmla="*/ 1533859 h 1538630"/>
              <a:gd name="csX528" fmla="*/ 977227 w 1609516"/>
              <a:gd name="csY528" fmla="*/ 1531943 h 1538630"/>
              <a:gd name="csX529" fmla="*/ 955376 w 1609516"/>
              <a:gd name="csY529" fmla="*/ 1508751 h 1538630"/>
              <a:gd name="csX530" fmla="*/ 954571 w 1609516"/>
              <a:gd name="csY530" fmla="*/ 1500037 h 1538630"/>
              <a:gd name="csX531" fmla="*/ 951446 w 1609516"/>
              <a:gd name="csY531" fmla="*/ 1500037 h 1538630"/>
              <a:gd name="csX532" fmla="*/ 951251 w 1609516"/>
              <a:gd name="csY532" fmla="*/ 1487883 h 1538630"/>
              <a:gd name="csX533" fmla="*/ 951171 w 1609516"/>
              <a:gd name="csY533" fmla="*/ 1484431 h 1538630"/>
              <a:gd name="csX534" fmla="*/ 954571 w 1609516"/>
              <a:gd name="csY534" fmla="*/ 1466216 h 1538630"/>
              <a:gd name="csX535" fmla="*/ 954961 w 1609516"/>
              <a:gd name="csY535" fmla="*/ 1455118 h 1538630"/>
              <a:gd name="csX536" fmla="*/ 954932 w 1609516"/>
              <a:gd name="csY536" fmla="*/ 1451972 h 1538630"/>
              <a:gd name="csX537" fmla="*/ 945099 w 1609516"/>
              <a:gd name="csY537" fmla="*/ 1403594 h 1538630"/>
              <a:gd name="csX538" fmla="*/ 942366 w 1609516"/>
              <a:gd name="csY538" fmla="*/ 1393553 h 1538630"/>
              <a:gd name="csX539" fmla="*/ 934451 w 1609516"/>
              <a:gd name="csY539" fmla="*/ 1372734 h 1538630"/>
              <a:gd name="csX540" fmla="*/ 931974 w 1609516"/>
              <a:gd name="csY540" fmla="*/ 1365754 h 1538630"/>
              <a:gd name="csX541" fmla="*/ 931138 w 1609516"/>
              <a:gd name="csY541" fmla="*/ 1363343 h 1538630"/>
              <a:gd name="csX542" fmla="*/ 926452 w 1609516"/>
              <a:gd name="csY542" fmla="*/ 1361933 h 1538630"/>
              <a:gd name="csX543" fmla="*/ 918641 w 1609516"/>
              <a:gd name="csY543" fmla="*/ 1340795 h 1538630"/>
              <a:gd name="csX544" fmla="*/ 917079 w 1609516"/>
              <a:gd name="csY544" fmla="*/ 1335158 h 1538630"/>
              <a:gd name="csX545" fmla="*/ 913955 w 1609516"/>
              <a:gd name="csY545" fmla="*/ 1335158 h 1538630"/>
              <a:gd name="csX546" fmla="*/ 912057 w 1609516"/>
              <a:gd name="csY546" fmla="*/ 1330793 h 1538630"/>
              <a:gd name="csX547" fmla="*/ 902142 w 1609516"/>
              <a:gd name="csY547" fmla="*/ 1316222 h 1538630"/>
              <a:gd name="csX548" fmla="*/ 900091 w 1609516"/>
              <a:gd name="csY548" fmla="*/ 1313828 h 1538630"/>
              <a:gd name="csX549" fmla="*/ 878026 w 1609516"/>
              <a:gd name="csY549" fmla="*/ 1295700 h 1538630"/>
              <a:gd name="csX550" fmla="*/ 875134 w 1609516"/>
              <a:gd name="csY550" fmla="*/ 1293465 h 1538630"/>
              <a:gd name="csX551" fmla="*/ 869869 w 1609516"/>
              <a:gd name="csY551" fmla="*/ 1291826 h 1538630"/>
              <a:gd name="csX552" fmla="*/ 862384 w 1609516"/>
              <a:gd name="csY552" fmla="*/ 1291327 h 1538630"/>
              <a:gd name="csX553" fmla="*/ 844390 w 1609516"/>
              <a:gd name="csY553" fmla="*/ 1290461 h 1538630"/>
              <a:gd name="csX554" fmla="*/ 840476 w 1609516"/>
              <a:gd name="csY554" fmla="*/ 1290500 h 1538630"/>
              <a:gd name="csX555" fmla="*/ 831015 w 1609516"/>
              <a:gd name="csY555" fmla="*/ 1290637 h 1538630"/>
              <a:gd name="csX556" fmla="*/ 831015 w 1609516"/>
              <a:gd name="csY556" fmla="*/ 1293456 h 1538630"/>
              <a:gd name="csX557" fmla="*/ 818225 w 1609516"/>
              <a:gd name="csY557" fmla="*/ 1295570 h 1538630"/>
              <a:gd name="csX558" fmla="*/ 796774 w 1609516"/>
              <a:gd name="csY558" fmla="*/ 1297671 h 1538630"/>
              <a:gd name="csX559" fmla="*/ 783646 w 1609516"/>
              <a:gd name="csY559" fmla="*/ 1305736 h 1538630"/>
              <a:gd name="csX560" fmla="*/ 769263 w 1609516"/>
              <a:gd name="csY560" fmla="*/ 1327143 h 1538630"/>
              <a:gd name="csX561" fmla="*/ 764797 w 1609516"/>
              <a:gd name="csY561" fmla="*/ 1334360 h 1538630"/>
              <a:gd name="csX562" fmla="*/ 757875 w 1609516"/>
              <a:gd name="csY562" fmla="*/ 1353503 h 1538630"/>
              <a:gd name="csX563" fmla="*/ 755676 w 1609516"/>
              <a:gd name="csY563" fmla="*/ 1367455 h 1538630"/>
              <a:gd name="csX564" fmla="*/ 750558 w 1609516"/>
              <a:gd name="csY564" fmla="*/ 1399690 h 1538630"/>
              <a:gd name="csX565" fmla="*/ 753057 w 1609516"/>
              <a:gd name="csY565" fmla="*/ 1411256 h 1538630"/>
              <a:gd name="csX566" fmla="*/ 753057 w 1609516"/>
              <a:gd name="csY566" fmla="*/ 1416893 h 1538630"/>
              <a:gd name="csX567" fmla="*/ 756181 w 1609516"/>
              <a:gd name="csY567" fmla="*/ 1416893 h 1538630"/>
              <a:gd name="csX568" fmla="*/ 758133 w 1609516"/>
              <a:gd name="csY568" fmla="*/ 1436182 h 1538630"/>
              <a:gd name="csX569" fmla="*/ 758231 w 1609516"/>
              <a:gd name="csY569" fmla="*/ 1440781 h 1538630"/>
              <a:gd name="csX570" fmla="*/ 750713 w 1609516"/>
              <a:gd name="csY570" fmla="*/ 1465704 h 1538630"/>
              <a:gd name="csX571" fmla="*/ 748370 w 1609516"/>
              <a:gd name="csY571" fmla="*/ 1467185 h 1538630"/>
              <a:gd name="csX572" fmla="*/ 741633 w 1609516"/>
              <a:gd name="csY572" fmla="*/ 1473526 h 1538630"/>
              <a:gd name="csX573" fmla="*/ 728154 w 1609516"/>
              <a:gd name="csY573" fmla="*/ 1478343 h 1538630"/>
              <a:gd name="csX574" fmla="*/ 721814 w 1609516"/>
              <a:gd name="csY574" fmla="*/ 1480308 h 1538630"/>
              <a:gd name="csX575" fmla="*/ 708341 w 1609516"/>
              <a:gd name="csY575" fmla="*/ 1480661 h 1538630"/>
              <a:gd name="csX576" fmla="*/ 704637 w 1609516"/>
              <a:gd name="csY576" fmla="*/ 1480748 h 1538630"/>
              <a:gd name="csX577" fmla="*/ 668507 w 1609516"/>
              <a:gd name="csY577" fmla="*/ 1468418 h 1538630"/>
              <a:gd name="csX578" fmla="*/ 660178 w 1609516"/>
              <a:gd name="csY578" fmla="*/ 1450027 h 1538630"/>
              <a:gd name="csX579" fmla="*/ 657767 w 1609516"/>
              <a:gd name="csY579" fmla="*/ 1445078 h 1538630"/>
              <a:gd name="csX580" fmla="*/ 663369 w 1609516"/>
              <a:gd name="csY580" fmla="*/ 1409390 h 1538630"/>
              <a:gd name="csX581" fmla="*/ 671826 w 1609516"/>
              <a:gd name="csY581" fmla="*/ 1401392 h 1538630"/>
              <a:gd name="csX582" fmla="*/ 678075 w 1609516"/>
              <a:gd name="csY582" fmla="*/ 1390118 h 1538630"/>
              <a:gd name="csX583" fmla="*/ 684323 w 1609516"/>
              <a:gd name="csY583" fmla="*/ 1388709 h 1538630"/>
              <a:gd name="csX584" fmla="*/ 685293 w 1609516"/>
              <a:gd name="csY584" fmla="*/ 1384233 h 1538630"/>
              <a:gd name="csX585" fmla="*/ 686569 w 1609516"/>
              <a:gd name="csY585" fmla="*/ 1378404 h 1538630"/>
              <a:gd name="csX586" fmla="*/ 687207 w 1609516"/>
              <a:gd name="csY586" fmla="*/ 1375456 h 1538630"/>
              <a:gd name="csX587" fmla="*/ 690572 w 1609516"/>
              <a:gd name="csY587" fmla="*/ 1363343 h 1538630"/>
              <a:gd name="csX588" fmla="*/ 692495 w 1609516"/>
              <a:gd name="csY588" fmla="*/ 1323376 h 1538630"/>
              <a:gd name="csX589" fmla="*/ 692625 w 1609516"/>
              <a:gd name="csY589" fmla="*/ 1315006 h 1538630"/>
              <a:gd name="csX590" fmla="*/ 687447 w 1609516"/>
              <a:gd name="csY590" fmla="*/ 1287245 h 1538630"/>
              <a:gd name="csX591" fmla="*/ 682761 w 1609516"/>
              <a:gd name="csY591" fmla="*/ 1285835 h 1538630"/>
              <a:gd name="csX592" fmla="*/ 678954 w 1609516"/>
              <a:gd name="csY592" fmla="*/ 1281608 h 1538630"/>
              <a:gd name="csX593" fmla="*/ 668702 w 1609516"/>
              <a:gd name="csY593" fmla="*/ 1275971 h 1538630"/>
              <a:gd name="csX594" fmla="*/ 662454 w 1609516"/>
              <a:gd name="csY594" fmla="*/ 1270334 h 1538630"/>
              <a:gd name="csX595" fmla="*/ 654643 w 1609516"/>
              <a:gd name="csY595" fmla="*/ 1267516 h 1538630"/>
              <a:gd name="csX596" fmla="*/ 654643 w 1609516"/>
              <a:gd name="csY596" fmla="*/ 1264697 h 1538630"/>
              <a:gd name="csX597" fmla="*/ 650152 w 1609516"/>
              <a:gd name="csY597" fmla="*/ 1264345 h 1538630"/>
              <a:gd name="csX598" fmla="*/ 628087 w 1609516"/>
              <a:gd name="csY598" fmla="*/ 1257651 h 1538630"/>
              <a:gd name="csX599" fmla="*/ 628087 w 1609516"/>
              <a:gd name="csY599" fmla="*/ 1254833 h 1538630"/>
              <a:gd name="csX600" fmla="*/ 625121 w 1609516"/>
              <a:gd name="csY600" fmla="*/ 1254315 h 1538630"/>
              <a:gd name="csX601" fmla="*/ 621252 w 1609516"/>
              <a:gd name="csY601" fmla="*/ 1253600 h 1538630"/>
              <a:gd name="csX602" fmla="*/ 617409 w 1609516"/>
              <a:gd name="csY602" fmla="*/ 1252906 h 1538630"/>
              <a:gd name="csX603" fmla="*/ 610904 w 1609516"/>
              <a:gd name="csY603" fmla="*/ 1249196 h 1538630"/>
              <a:gd name="csX604" fmla="*/ 565739 w 1609516"/>
              <a:gd name="csY604" fmla="*/ 1271742 h 1538630"/>
              <a:gd name="csX605" fmla="*/ 546924 w 1609516"/>
              <a:gd name="csY605" fmla="*/ 1290829 h 1538630"/>
              <a:gd name="csX606" fmla="*/ 543635 w 1609516"/>
              <a:gd name="csY606" fmla="*/ 1294643 h 1538630"/>
              <a:gd name="csX607" fmla="*/ 540651 w 1609516"/>
              <a:gd name="csY607" fmla="*/ 1298188 h 1538630"/>
              <a:gd name="csX608" fmla="*/ 529673 w 1609516"/>
              <a:gd name="csY608" fmla="*/ 1305565 h 1538630"/>
              <a:gd name="csX609" fmla="*/ 526549 w 1609516"/>
              <a:gd name="csY609" fmla="*/ 1311202 h 1538630"/>
              <a:gd name="csX610" fmla="*/ 523425 w 1609516"/>
              <a:gd name="csY610" fmla="*/ 1311202 h 1538630"/>
              <a:gd name="csX611" fmla="*/ 523230 w 1609516"/>
              <a:gd name="csY611" fmla="*/ 1313580 h 1538630"/>
              <a:gd name="csX612" fmla="*/ 517732 w 1609516"/>
              <a:gd name="csY612" fmla="*/ 1319739 h 1538630"/>
              <a:gd name="csX613" fmla="*/ 502239 w 1609516"/>
              <a:gd name="csY613" fmla="*/ 1337096 h 1538630"/>
              <a:gd name="csX614" fmla="*/ 497058 w 1609516"/>
              <a:gd name="csY614" fmla="*/ 1344087 h 1538630"/>
              <a:gd name="csX615" fmla="*/ 494572 w 1609516"/>
              <a:gd name="csY615" fmla="*/ 1347465 h 1538630"/>
              <a:gd name="csX616" fmla="*/ 487776 w 1609516"/>
              <a:gd name="csY616" fmla="*/ 1356181 h 1538630"/>
              <a:gd name="csX617" fmla="*/ 481248 w 1609516"/>
              <a:gd name="csY617" fmla="*/ 1367571 h 1538630"/>
              <a:gd name="csX618" fmla="*/ 478123 w 1609516"/>
              <a:gd name="csY618" fmla="*/ 1367571 h 1538630"/>
              <a:gd name="csX619" fmla="*/ 477635 w 1609516"/>
              <a:gd name="csY619" fmla="*/ 1370565 h 1538630"/>
              <a:gd name="csX620" fmla="*/ 465626 w 1609516"/>
              <a:gd name="csY620" fmla="*/ 1388709 h 1538630"/>
              <a:gd name="csX621" fmla="*/ 461233 w 1609516"/>
              <a:gd name="csY621" fmla="*/ 1397340 h 1538630"/>
              <a:gd name="csX622" fmla="*/ 455765 w 1609516"/>
              <a:gd name="csY622" fmla="*/ 1408086 h 1538630"/>
              <a:gd name="csX623" fmla="*/ 439070 w 1609516"/>
              <a:gd name="csY623" fmla="*/ 1477490 h 1538630"/>
              <a:gd name="csX624" fmla="*/ 434384 w 1609516"/>
              <a:gd name="csY624" fmla="*/ 1478899 h 1538630"/>
              <a:gd name="csX625" fmla="*/ 432431 w 1609516"/>
              <a:gd name="csY625" fmla="*/ 1481982 h 1538630"/>
              <a:gd name="csX626" fmla="*/ 418763 w 1609516"/>
              <a:gd name="csY626" fmla="*/ 1494401 h 1538630"/>
              <a:gd name="csX627" fmla="*/ 415639 w 1609516"/>
              <a:gd name="csY627" fmla="*/ 1494401 h 1538630"/>
              <a:gd name="csX628" fmla="*/ 415639 w 1609516"/>
              <a:gd name="csY628" fmla="*/ 1497219 h 1538630"/>
              <a:gd name="csX629" fmla="*/ 406265 w 1609516"/>
              <a:gd name="csY629" fmla="*/ 1498628 h 1538630"/>
              <a:gd name="csX630" fmla="*/ 406265 w 1609516"/>
              <a:gd name="csY630" fmla="*/ 1501447 h 1538630"/>
              <a:gd name="csX631" fmla="*/ 375023 w 1609516"/>
              <a:gd name="csY631" fmla="*/ 1501447 h 1538630"/>
              <a:gd name="csX632" fmla="*/ 375023 w 1609516"/>
              <a:gd name="csY632" fmla="*/ 1499438 h 1538630"/>
              <a:gd name="csX633" fmla="*/ 374964 w 1609516"/>
              <a:gd name="csY633" fmla="*/ 1499436 h 1538630"/>
              <a:gd name="csX634" fmla="*/ 373179 w 1609516"/>
              <a:gd name="csY634" fmla="*/ 1498628 h 1538630"/>
              <a:gd name="csX635" fmla="*/ 365650 w 1609516"/>
              <a:gd name="csY635" fmla="*/ 1498628 h 1538630"/>
              <a:gd name="csX636" fmla="*/ 363134 w 1609516"/>
              <a:gd name="csY636" fmla="*/ 1494087 h 1538630"/>
              <a:gd name="csX637" fmla="*/ 362171 w 1609516"/>
              <a:gd name="csY637" fmla="*/ 1493651 h 1538630"/>
              <a:gd name="csX638" fmla="*/ 360609 w 1609516"/>
              <a:gd name="csY638" fmla="*/ 1490833 h 1538630"/>
              <a:gd name="csX639" fmla="*/ 363733 w 1609516"/>
              <a:gd name="csY639" fmla="*/ 1490833 h 1538630"/>
              <a:gd name="csX640" fmla="*/ 363733 w 1609516"/>
              <a:gd name="csY640" fmla="*/ 1489980 h 1538630"/>
              <a:gd name="csX641" fmla="*/ 348467 w 1609516"/>
              <a:gd name="csY641" fmla="*/ 1481717 h 1538630"/>
              <a:gd name="csX642" fmla="*/ 343872 w 1609516"/>
              <a:gd name="csY642" fmla="*/ 1461078 h 1538630"/>
              <a:gd name="csX643" fmla="*/ 343656 w 1609516"/>
              <a:gd name="csY643" fmla="*/ 1463649 h 1538630"/>
              <a:gd name="csX644" fmla="*/ 343424 w 1609516"/>
              <a:gd name="csY644" fmla="*/ 1466842 h 1538630"/>
              <a:gd name="csX645" fmla="*/ 341861 w 1609516"/>
              <a:gd name="csY645" fmla="*/ 1466842 h 1538630"/>
              <a:gd name="csX646" fmla="*/ 354143 w 1609516"/>
              <a:gd name="csY646" fmla="*/ 1420549 h 1538630"/>
              <a:gd name="csX647" fmla="*/ 376229 w 1609516"/>
              <a:gd name="csY647" fmla="*/ 1403427 h 1538630"/>
              <a:gd name="csX648" fmla="*/ 379491 w 1609516"/>
              <a:gd name="csY648" fmla="*/ 1404408 h 1538630"/>
              <a:gd name="csX649" fmla="*/ 379710 w 1609516"/>
              <a:gd name="csY649" fmla="*/ 1404210 h 1538630"/>
              <a:gd name="csX650" fmla="*/ 380882 w 1609516"/>
              <a:gd name="csY650" fmla="*/ 1401568 h 1538630"/>
              <a:gd name="csX651" fmla="*/ 392207 w 1609516"/>
              <a:gd name="csY651" fmla="*/ 1392936 h 1538630"/>
              <a:gd name="csX652" fmla="*/ 399542 w 1609516"/>
              <a:gd name="csY652" fmla="*/ 1386774 h 1538630"/>
              <a:gd name="csX653" fmla="*/ 405485 w 1609516"/>
              <a:gd name="csY653" fmla="*/ 1378917 h 1538630"/>
              <a:gd name="csX654" fmla="*/ 412008 w 1609516"/>
              <a:gd name="csY654" fmla="*/ 1369481 h 1538630"/>
              <a:gd name="csX655" fmla="*/ 421130 w 1609516"/>
              <a:gd name="csY655" fmla="*/ 1357057 h 1538630"/>
              <a:gd name="csX656" fmla="*/ 424676 w 1609516"/>
              <a:gd name="csY656" fmla="*/ 1348443 h 1538630"/>
              <a:gd name="csX657" fmla="*/ 427275 w 1609516"/>
              <a:gd name="csY657" fmla="*/ 1348443 h 1538630"/>
              <a:gd name="csX658" fmla="*/ 428135 w 1609516"/>
              <a:gd name="csY658" fmla="*/ 1345727 h 1538630"/>
              <a:gd name="csX659" fmla="*/ 432822 w 1609516"/>
              <a:gd name="csY659" fmla="*/ 1335158 h 1538630"/>
              <a:gd name="csX660" fmla="*/ 435946 w 1609516"/>
              <a:gd name="csY660" fmla="*/ 1335158 h 1538630"/>
              <a:gd name="csX661" fmla="*/ 437704 w 1609516"/>
              <a:gd name="csY661" fmla="*/ 1329786 h 1538630"/>
              <a:gd name="csX662" fmla="*/ 447394 w 1609516"/>
              <a:gd name="csY662" fmla="*/ 1311196 h 1538630"/>
              <a:gd name="csX663" fmla="*/ 469287 w 1609516"/>
              <a:gd name="csY663" fmla="*/ 1265964 h 1538630"/>
              <a:gd name="csX664" fmla="*/ 478178 w 1609516"/>
              <a:gd name="csY664" fmla="*/ 1246787 h 1538630"/>
              <a:gd name="csX665" fmla="*/ 480179 w 1609516"/>
              <a:gd name="csY665" fmla="*/ 1225768 h 1538630"/>
              <a:gd name="csX666" fmla="*/ 480250 w 1609516"/>
              <a:gd name="csY666" fmla="*/ 1217149 h 1538630"/>
              <a:gd name="csX667" fmla="*/ 462972 w 1609516"/>
              <a:gd name="csY667" fmla="*/ 1174827 h 1538630"/>
              <a:gd name="csX668" fmla="*/ 457468 w 1609516"/>
              <a:gd name="csY668" fmla="*/ 1169949 h 1538630"/>
              <a:gd name="csX669" fmla="*/ 440657 w 1609516"/>
              <a:gd name="csY669" fmla="*/ 1152570 h 1538630"/>
              <a:gd name="csX670" fmla="*/ 403142 w 1609516"/>
              <a:gd name="csY670" fmla="*/ 1122366 h 1538630"/>
              <a:gd name="csX671" fmla="*/ 401579 w 1609516"/>
              <a:gd name="csY671" fmla="*/ 1119547 h 1538630"/>
              <a:gd name="csX672" fmla="*/ 364564 w 1609516"/>
              <a:gd name="csY672" fmla="*/ 1118209 h 1538630"/>
              <a:gd name="csX673" fmla="*/ 357822 w 1609516"/>
              <a:gd name="csY673" fmla="*/ 1122041 h 1538630"/>
              <a:gd name="csX674" fmla="*/ 348077 w 1609516"/>
              <a:gd name="csY674" fmla="*/ 1125273 h 1538630"/>
              <a:gd name="csX675" fmla="*/ 334408 w 1609516"/>
              <a:gd name="csY675" fmla="*/ 1132230 h 1538630"/>
              <a:gd name="csX676" fmla="*/ 327964 w 1609516"/>
              <a:gd name="csY676" fmla="*/ 1134080 h 1538630"/>
              <a:gd name="csX677" fmla="*/ 279734 w 1609516"/>
              <a:gd name="csY677" fmla="*/ 1166051 h 1538630"/>
              <a:gd name="csX678" fmla="*/ 276609 w 1609516"/>
              <a:gd name="csY678" fmla="*/ 1173098 h 1538630"/>
              <a:gd name="csX679" fmla="*/ 260988 w 1609516"/>
              <a:gd name="csY679" fmla="*/ 1188599 h 1538630"/>
              <a:gd name="csX680" fmla="*/ 257956 w 1609516"/>
              <a:gd name="csY680" fmla="*/ 1191132 h 1538630"/>
              <a:gd name="csX681" fmla="*/ 243805 w 1609516"/>
              <a:gd name="csY681" fmla="*/ 1196629 h 1538630"/>
              <a:gd name="csX682" fmla="*/ 243805 w 1609516"/>
              <a:gd name="csY682" fmla="*/ 1194236 h 1538630"/>
              <a:gd name="csX683" fmla="*/ 240288 w 1609516"/>
              <a:gd name="csY683" fmla="*/ 1194765 h 1538630"/>
              <a:gd name="csX684" fmla="*/ 243374 w 1609516"/>
              <a:gd name="csY684" fmla="*/ 1194765 h 1538630"/>
              <a:gd name="csX685" fmla="*/ 243374 w 1609516"/>
              <a:gd name="csY685" fmla="*/ 1196797 h 1538630"/>
              <a:gd name="csX686" fmla="*/ 243805 w 1609516"/>
              <a:gd name="csY686" fmla="*/ 1196629 h 1538630"/>
              <a:gd name="csX687" fmla="*/ 243805 w 1609516"/>
              <a:gd name="csY687" fmla="*/ 1197055 h 1538630"/>
              <a:gd name="csX688" fmla="*/ 243374 w 1609516"/>
              <a:gd name="csY688" fmla="*/ 1197055 h 1538630"/>
              <a:gd name="csX689" fmla="*/ 243374 w 1609516"/>
              <a:gd name="csY689" fmla="*/ 1197584 h 1538630"/>
              <a:gd name="csX690" fmla="*/ 241319 w 1609516"/>
              <a:gd name="csY690" fmla="*/ 1197595 h 1538630"/>
              <a:gd name="csX691" fmla="*/ 238009 w 1609516"/>
              <a:gd name="csY691" fmla="*/ 1198881 h 1538630"/>
              <a:gd name="csX692" fmla="*/ 215687 w 1609516"/>
              <a:gd name="csY692" fmla="*/ 1198464 h 1538630"/>
              <a:gd name="csX693" fmla="*/ 215687 w 1609516"/>
              <a:gd name="csY693" fmla="*/ 1197734 h 1538630"/>
              <a:gd name="csX694" fmla="*/ 213936 w 1609516"/>
              <a:gd name="csY694" fmla="*/ 1197744 h 1538630"/>
              <a:gd name="csX695" fmla="*/ 207446 w 1609516"/>
              <a:gd name="csY695" fmla="*/ 1196175 h 1538630"/>
              <a:gd name="csX696" fmla="*/ 207822 w 1609516"/>
              <a:gd name="csY696" fmla="*/ 1195610 h 1538630"/>
              <a:gd name="csX697" fmla="*/ 184737 w 1609516"/>
              <a:gd name="csY697" fmla="*/ 1180936 h 1538630"/>
              <a:gd name="csX698" fmla="*/ 179270 w 1609516"/>
              <a:gd name="csY698" fmla="*/ 1154866 h 1538630"/>
              <a:gd name="csX699" fmla="*/ 179194 w 1609516"/>
              <a:gd name="csY699" fmla="*/ 1151621 h 1538630"/>
              <a:gd name="csX700" fmla="*/ 193195 w 1609516"/>
              <a:gd name="csY700" fmla="*/ 1120065 h 1538630"/>
              <a:gd name="csX701" fmla="*/ 229551 w 1609516"/>
              <a:gd name="csY701" fmla="*/ 1110299 h 1538630"/>
              <a:gd name="csX702" fmla="*/ 260988 w 1609516"/>
              <a:gd name="csY702" fmla="*/ 1108274 h 1538630"/>
              <a:gd name="csX703" fmla="*/ 260988 w 1609516"/>
              <a:gd name="csY703" fmla="*/ 1105455 h 1538630"/>
              <a:gd name="csX704" fmla="*/ 263911 w 1609516"/>
              <a:gd name="csY704" fmla="*/ 1104310 h 1538630"/>
              <a:gd name="csX705" fmla="*/ 286995 w 1609516"/>
              <a:gd name="csY705" fmla="*/ 1090185 h 1538630"/>
              <a:gd name="csX706" fmla="*/ 299358 w 1609516"/>
              <a:gd name="csY706" fmla="*/ 1080970 h 1538630"/>
              <a:gd name="csX707" fmla="*/ 317762 w 1609516"/>
              <a:gd name="csY707" fmla="*/ 1063272 h 1538630"/>
              <a:gd name="csX708" fmla="*/ 325035 w 1609516"/>
              <a:gd name="csY708" fmla="*/ 1057542 h 1538630"/>
              <a:gd name="csX709" fmla="*/ 325328 w 1609516"/>
              <a:gd name="csY709" fmla="*/ 1023104 h 1538630"/>
              <a:gd name="csX710" fmla="*/ 324544 w 1609516"/>
              <a:gd name="csY710" fmla="*/ 1019247 h 1538630"/>
              <a:gd name="csX711" fmla="*/ 317225 w 1609516"/>
              <a:gd name="csY711" fmla="*/ 996945 h 1538630"/>
              <a:gd name="csX712" fmla="*/ 315388 w 1609516"/>
              <a:gd name="csY712" fmla="*/ 992690 h 1538630"/>
              <a:gd name="csX713" fmla="*/ 276232 w 1609516"/>
              <a:gd name="csY713" fmla="*/ 950666 h 1538630"/>
              <a:gd name="csX714" fmla="*/ 271923 w 1609516"/>
              <a:gd name="csY714" fmla="*/ 949031 h 1538630"/>
              <a:gd name="csX715" fmla="*/ 268299 w 1609516"/>
              <a:gd name="csY715" fmla="*/ 947441 h 1538630"/>
              <a:gd name="csX716" fmla="*/ 199187 w 1609516"/>
              <a:gd name="csY716" fmla="*/ 938991 h 1538630"/>
              <a:gd name="csX717" fmla="*/ 193719 w 1609516"/>
              <a:gd name="csY717" fmla="*/ 938971 h 1538630"/>
              <a:gd name="csX718" fmla="*/ 188539 w 1609516"/>
              <a:gd name="csY718" fmla="*/ 938980 h 1538630"/>
              <a:gd name="csX719" fmla="*/ 183874 w 1609516"/>
              <a:gd name="csY719" fmla="*/ 938985 h 1538630"/>
              <a:gd name="csX720" fmla="*/ 173509 w 1609516"/>
              <a:gd name="csY720" fmla="*/ 940576 h 1538630"/>
              <a:gd name="csX721" fmla="*/ 161403 w 1609516"/>
              <a:gd name="csY721" fmla="*/ 940664 h 1538630"/>
              <a:gd name="csX722" fmla="*/ 158102 w 1609516"/>
              <a:gd name="csY722" fmla="*/ 940645 h 1538630"/>
              <a:gd name="csX723" fmla="*/ 150875 w 1609516"/>
              <a:gd name="csY723" fmla="*/ 940583 h 1538630"/>
              <a:gd name="csX724" fmla="*/ 148425 w 1609516"/>
              <a:gd name="csY724" fmla="*/ 940717 h 1538630"/>
              <a:gd name="csX725" fmla="*/ 149617 w 1609516"/>
              <a:gd name="csY725" fmla="*/ 940995 h 1538630"/>
              <a:gd name="csX726" fmla="*/ 149617 w 1609516"/>
              <a:gd name="csY726" fmla="*/ 942404 h 1538630"/>
              <a:gd name="csX727" fmla="*/ 146627 w 1609516"/>
              <a:gd name="csY727" fmla="*/ 942871 h 1538630"/>
              <a:gd name="csX728" fmla="*/ 110564 w 1609516"/>
              <a:gd name="csY728" fmla="*/ 949449 h 1538630"/>
              <a:gd name="csX729" fmla="*/ 111283 w 1609516"/>
              <a:gd name="csY729" fmla="*/ 946205 h 1538630"/>
              <a:gd name="csX730" fmla="*/ 101652 w 1609516"/>
              <a:gd name="csY730" fmla="*/ 956078 h 1538630"/>
              <a:gd name="csX731" fmla="*/ 98052 w 1609516"/>
              <a:gd name="csY731" fmla="*/ 958467 h 1538630"/>
              <a:gd name="csX732" fmla="*/ 67286 w 1609516"/>
              <a:gd name="csY732" fmla="*/ 972989 h 1538630"/>
              <a:gd name="csX733" fmla="*/ 67286 w 1609516"/>
              <a:gd name="csY733" fmla="*/ 975807 h 1538630"/>
              <a:gd name="csX734" fmla="*/ 31942 w 1609516"/>
              <a:gd name="csY734" fmla="*/ 976423 h 1538630"/>
              <a:gd name="csX735" fmla="*/ 5673 w 1609516"/>
              <a:gd name="csY735" fmla="*/ 953419 h 1538630"/>
              <a:gd name="csX736" fmla="*/ 4801 w 1609516"/>
              <a:gd name="csY736" fmla="*/ 944804 h 1538630"/>
              <a:gd name="csX737" fmla="*/ 1676 w 1609516"/>
              <a:gd name="csY737" fmla="*/ 944804 h 1538630"/>
              <a:gd name="csX738" fmla="*/ 17 w 1609516"/>
              <a:gd name="csY738" fmla="*/ 931857 h 1538630"/>
              <a:gd name="csX739" fmla="*/ 59 w 1609516"/>
              <a:gd name="csY739" fmla="*/ 927216 h 1538630"/>
              <a:gd name="csX740" fmla="*/ 115 w 1609516"/>
              <a:gd name="csY740" fmla="*/ 923666 h 1538630"/>
              <a:gd name="csX741" fmla="*/ 3238 w 1609516"/>
              <a:gd name="csY741" fmla="*/ 923666 h 1538630"/>
              <a:gd name="csX742" fmla="*/ 3238 w 1609516"/>
              <a:gd name="csY742" fmla="*/ 918029 h 1538630"/>
              <a:gd name="csX743" fmla="*/ 6363 w 1609516"/>
              <a:gd name="csY743" fmla="*/ 918029 h 1538630"/>
              <a:gd name="csX744" fmla="*/ 6656 w 1609516"/>
              <a:gd name="csY744" fmla="*/ 912832 h 1538630"/>
              <a:gd name="csX745" fmla="*/ 15736 w 1609516"/>
              <a:gd name="csY745" fmla="*/ 899709 h 1538630"/>
              <a:gd name="csX746" fmla="*/ 17243 w 1609516"/>
              <a:gd name="csY746" fmla="*/ 898894 h 1538630"/>
              <a:gd name="csX747" fmla="*/ 16800 w 1609516"/>
              <a:gd name="csY747" fmla="*/ 898694 h 1538630"/>
              <a:gd name="csX748" fmla="*/ 24988 w 1609516"/>
              <a:gd name="csY748" fmla="*/ 894101 h 1538630"/>
              <a:gd name="csX749" fmla="*/ 26768 w 1609516"/>
              <a:gd name="csY749" fmla="*/ 892399 h 1538630"/>
              <a:gd name="csX750" fmla="*/ 30198 w 1609516"/>
              <a:gd name="csY750" fmla="*/ 890164 h 1538630"/>
              <a:gd name="csX751" fmla="*/ 32204 w 1609516"/>
              <a:gd name="csY751" fmla="*/ 890054 h 1538630"/>
              <a:gd name="csX752" fmla="*/ 38914 w 1609516"/>
              <a:gd name="csY752" fmla="*/ 886291 h 1538630"/>
              <a:gd name="csX753" fmla="*/ 63664 w 1609516"/>
              <a:gd name="csY753" fmla="*/ 886011 h 1538630"/>
              <a:gd name="csX754" fmla="*/ 63664 w 1609516"/>
              <a:gd name="csY754" fmla="*/ 886531 h 1538630"/>
              <a:gd name="csX755" fmla="*/ 70784 w 1609516"/>
              <a:gd name="csY755" fmla="*/ 886647 h 1538630"/>
              <a:gd name="csX756" fmla="*/ 82126 w 1609516"/>
              <a:gd name="csY756" fmla="*/ 889845 h 1538630"/>
              <a:gd name="csX757" fmla="*/ 114149 w 1609516"/>
              <a:gd name="csY757" fmla="*/ 892663 h 1538630"/>
              <a:gd name="csX758" fmla="*/ 118836 w 1609516"/>
              <a:gd name="csY758" fmla="*/ 889845 h 1538630"/>
              <a:gd name="csX759" fmla="*/ 131626 w 1609516"/>
              <a:gd name="csY759" fmla="*/ 887114 h 1538630"/>
              <a:gd name="csX760" fmla="*/ 155116 w 1609516"/>
              <a:gd name="csY760" fmla="*/ 880913 h 1538630"/>
              <a:gd name="csX761" fmla="*/ 165406 w 1609516"/>
              <a:gd name="csY761" fmla="*/ 878483 h 1538630"/>
              <a:gd name="csX762" fmla="*/ 176634 w 1609516"/>
              <a:gd name="csY762" fmla="*/ 874343 h 1538630"/>
              <a:gd name="csX763" fmla="*/ 186397 w 1609516"/>
              <a:gd name="csY763" fmla="*/ 871524 h 1538630"/>
              <a:gd name="csX764" fmla="*/ 191871 w 1609516"/>
              <a:gd name="csY764" fmla="*/ 870033 h 1538630"/>
              <a:gd name="csX765" fmla="*/ 203483 w 1609516"/>
              <a:gd name="csY765" fmla="*/ 867208 h 1538630"/>
              <a:gd name="csX766" fmla="*/ 211001 w 1609516"/>
              <a:gd name="csY766" fmla="*/ 861660 h 1538630"/>
              <a:gd name="csX767" fmla="*/ 218031 w 1609516"/>
              <a:gd name="csY767" fmla="*/ 858577 h 1538630"/>
              <a:gd name="csX768" fmla="*/ 254740 w 1609516"/>
              <a:gd name="csY768" fmla="*/ 825020 h 1538630"/>
              <a:gd name="csX769" fmla="*/ 257864 w 1609516"/>
              <a:gd name="csY769" fmla="*/ 820792 h 1538630"/>
              <a:gd name="csX770" fmla="*/ 258318 w 1609516"/>
              <a:gd name="csY770" fmla="*/ 813810 h 1538630"/>
              <a:gd name="csX771" fmla="*/ 258378 w 1609516"/>
              <a:gd name="csY771" fmla="*/ 809502 h 1538630"/>
              <a:gd name="csX772" fmla="*/ 258389 w 1609516"/>
              <a:gd name="csY772" fmla="*/ 804845 h 1538630"/>
              <a:gd name="csX773" fmla="*/ 258420 w 1609516"/>
              <a:gd name="csY773" fmla="*/ 800036 h 1538630"/>
              <a:gd name="csX774" fmla="*/ 258443 w 1609516"/>
              <a:gd name="csY774" fmla="*/ 789939 h 1538630"/>
              <a:gd name="csX775" fmla="*/ 258566 w 1609516"/>
              <a:gd name="csY775" fmla="*/ 774594 h 1538630"/>
              <a:gd name="csX776" fmla="*/ 258584 w 1609516"/>
              <a:gd name="csY776" fmla="*/ 764771 h 1538630"/>
              <a:gd name="csX777" fmla="*/ 258652 w 1609516"/>
              <a:gd name="csY777" fmla="*/ 760174 h 1538630"/>
              <a:gd name="csX778" fmla="*/ 251616 w 1609516"/>
              <a:gd name="csY778" fmla="*/ 733421 h 1538630"/>
              <a:gd name="csX779" fmla="*/ 247613 w 1609516"/>
              <a:gd name="csY779" fmla="*/ 721883 h 1538630"/>
              <a:gd name="csX780" fmla="*/ 241291 w 1609516"/>
              <a:gd name="csY780" fmla="*/ 705644 h 1538630"/>
              <a:gd name="csX781" fmla="*/ 237557 w 1609516"/>
              <a:gd name="csY781" fmla="*/ 689735 h 1538630"/>
              <a:gd name="csX782" fmla="*/ 248492 w 1609516"/>
              <a:gd name="csY782" fmla="*/ 685507 h 1538630"/>
              <a:gd name="csX783" fmla="*/ 248492 w 1609516"/>
              <a:gd name="csY783" fmla="*/ 681279 h 1538630"/>
              <a:gd name="csX784" fmla="*/ 240681 w 1609516"/>
              <a:gd name="csY784" fmla="*/ 679870 h 1538630"/>
              <a:gd name="csX785" fmla="*/ 240681 w 1609516"/>
              <a:gd name="csY785" fmla="*/ 677052 h 1538630"/>
              <a:gd name="csX786" fmla="*/ 238094 w 1609516"/>
              <a:gd name="csY786" fmla="*/ 676645 h 1538630"/>
              <a:gd name="csX787" fmla="*/ 225841 w 1609516"/>
              <a:gd name="csY787" fmla="*/ 670886 h 1538630"/>
              <a:gd name="csX788" fmla="*/ 201531 w 1609516"/>
              <a:gd name="csY788" fmla="*/ 662508 h 1538630"/>
              <a:gd name="csX789" fmla="*/ 188252 w 1609516"/>
              <a:gd name="csY789" fmla="*/ 658644 h 1538630"/>
              <a:gd name="csX790" fmla="*/ 182431 w 1609516"/>
              <a:gd name="csY790" fmla="*/ 657327 h 1538630"/>
              <a:gd name="csX791" fmla="*/ 182431 w 1609516"/>
              <a:gd name="csY791" fmla="*/ 657613 h 1538630"/>
              <a:gd name="csX792" fmla="*/ 146503 w 1609516"/>
              <a:gd name="csY792" fmla="*/ 656204 h 1538630"/>
              <a:gd name="csX793" fmla="*/ 146503 w 1609516"/>
              <a:gd name="csY793" fmla="*/ 659022 h 1538630"/>
              <a:gd name="csX794" fmla="*/ 110378 w 1609516"/>
              <a:gd name="csY794" fmla="*/ 663778 h 1538630"/>
              <a:gd name="csX795" fmla="*/ 106453 w 1609516"/>
              <a:gd name="csY795" fmla="*/ 663836 h 1538630"/>
              <a:gd name="csX796" fmla="*/ 102751 w 1609516"/>
              <a:gd name="csY796" fmla="*/ 663811 h 1538630"/>
              <a:gd name="csX797" fmla="*/ 99449 w 1609516"/>
              <a:gd name="csY797" fmla="*/ 663797 h 1538630"/>
              <a:gd name="csX798" fmla="*/ 91828 w 1609516"/>
              <a:gd name="csY798" fmla="*/ 659022 h 1538630"/>
              <a:gd name="csX799" fmla="*/ 98077 w 1609516"/>
              <a:gd name="csY799" fmla="*/ 659022 h 1538630"/>
              <a:gd name="csX800" fmla="*/ 98077 w 1609516"/>
              <a:gd name="csY800" fmla="*/ 661841 h 1538630"/>
              <a:gd name="csX801" fmla="*/ 119023 w 1609516"/>
              <a:gd name="csY801" fmla="*/ 661357 h 1538630"/>
              <a:gd name="csX802" fmla="*/ 119536 w 1609516"/>
              <a:gd name="csY802" fmla="*/ 661197 h 1538630"/>
              <a:gd name="csX803" fmla="*/ 109853 w 1609516"/>
              <a:gd name="csY803" fmla="*/ 661639 h 1538630"/>
              <a:gd name="csX804" fmla="*/ 106552 w 1609516"/>
              <a:gd name="csY804" fmla="*/ 661619 h 1538630"/>
              <a:gd name="csX805" fmla="*/ 98528 w 1609516"/>
              <a:gd name="csY805" fmla="*/ 661550 h 1538630"/>
              <a:gd name="csX806" fmla="*/ 98528 w 1609516"/>
              <a:gd name="csY806" fmla="*/ 658732 h 1538630"/>
              <a:gd name="csX807" fmla="*/ 89155 w 1609516"/>
              <a:gd name="csY807" fmla="*/ 657323 h 1538630"/>
              <a:gd name="csX808" fmla="*/ 89155 w 1609516"/>
              <a:gd name="csY808" fmla="*/ 654504 h 1538630"/>
              <a:gd name="csX809" fmla="*/ 86397 w 1609516"/>
              <a:gd name="csY809" fmla="*/ 653442 h 1538630"/>
              <a:gd name="csX810" fmla="*/ 77049 w 1609516"/>
              <a:gd name="csY810" fmla="*/ 646137 h 1538630"/>
              <a:gd name="csX811" fmla="*/ 74145 w 1609516"/>
              <a:gd name="csY811" fmla="*/ 643192 h 1538630"/>
              <a:gd name="csX812" fmla="*/ 71972 w 1609516"/>
              <a:gd name="csY812" fmla="*/ 636185 h 1538630"/>
              <a:gd name="csX813" fmla="*/ 68848 w 1609516"/>
              <a:gd name="csY813" fmla="*/ 636185 h 1538630"/>
              <a:gd name="csX814" fmla="*/ 70410 w 1609516"/>
              <a:gd name="csY814" fmla="*/ 595317 h 1538630"/>
              <a:gd name="csX815" fmla="*/ 79782 w 1609516"/>
              <a:gd name="csY815" fmla="*/ 584043 h 1538630"/>
              <a:gd name="csX816" fmla="*/ 82656 w 1609516"/>
              <a:gd name="csY816" fmla="*/ 581115 h 1538630"/>
              <a:gd name="csX817" fmla="*/ 116694 w 1609516"/>
              <a:gd name="csY817" fmla="*/ 572323 h 1538630"/>
              <a:gd name="csX818" fmla="*/ 152031 w 1609516"/>
              <a:gd name="csY818" fmla="*/ 590385 h 1538630"/>
              <a:gd name="csX819" fmla="*/ 191474 w 1609516"/>
              <a:gd name="csY819" fmla="*/ 605886 h 1538630"/>
              <a:gd name="csX820" fmla="*/ 206314 w 1609516"/>
              <a:gd name="csY820" fmla="*/ 608000 h 1538630"/>
              <a:gd name="csX821" fmla="*/ 206314 w 1609516"/>
              <a:gd name="csY821" fmla="*/ 610818 h 1538630"/>
              <a:gd name="csX822" fmla="*/ 234433 w 1609516"/>
              <a:gd name="csY822" fmla="*/ 610818 h 1538630"/>
              <a:gd name="csX823" fmla="*/ 239522 w 1609516"/>
              <a:gd name="csY823" fmla="*/ 610802 h 1538630"/>
              <a:gd name="csX824" fmla="*/ 268799 w 1609516"/>
              <a:gd name="csY824" fmla="*/ 600954 h 1538630"/>
              <a:gd name="csX825" fmla="*/ 271740 w 1609516"/>
              <a:gd name="csY825" fmla="*/ 599325 h 1538630"/>
              <a:gd name="csX826" fmla="*/ 284420 w 1609516"/>
              <a:gd name="csY826" fmla="*/ 579816 h 1538630"/>
              <a:gd name="csX827" fmla="*/ 289399 w 1609516"/>
              <a:gd name="csY827" fmla="*/ 568630 h 1538630"/>
              <a:gd name="csX828" fmla="*/ 293958 w 1609516"/>
              <a:gd name="csY828" fmla="*/ 535838 h 1538630"/>
              <a:gd name="csX829" fmla="*/ 289107 w 1609516"/>
              <a:gd name="csY829" fmla="*/ 529084 h 1538630"/>
              <a:gd name="csX830" fmla="*/ 289107 w 1609516"/>
              <a:gd name="csY830" fmla="*/ 526265 h 1538630"/>
              <a:gd name="csX831" fmla="*/ 284420 w 1609516"/>
              <a:gd name="csY831" fmla="*/ 524856 h 1538630"/>
              <a:gd name="csX832" fmla="*/ 282858 w 1609516"/>
              <a:gd name="csY832" fmla="*/ 520628 h 1538630"/>
              <a:gd name="csX833" fmla="*/ 277977 w 1609516"/>
              <a:gd name="csY833" fmla="*/ 516577 h 1538630"/>
              <a:gd name="csX834" fmla="*/ 264925 w 1609516"/>
              <a:gd name="csY834" fmla="*/ 506443 h 1538630"/>
              <a:gd name="csX835" fmla="*/ 229746 w 1609516"/>
              <a:gd name="csY835" fmla="*/ 481170 h 1538630"/>
              <a:gd name="csX836" fmla="*/ 221057 w 1609516"/>
              <a:gd name="csY836" fmla="*/ 475445 h 1538630"/>
              <a:gd name="csX837" fmla="*/ 212563 w 1609516"/>
              <a:gd name="csY837" fmla="*/ 469896 h 1538630"/>
              <a:gd name="csX838" fmla="*/ 208889 w 1609516"/>
              <a:gd name="csY838" fmla="*/ 467491 h 1538630"/>
              <a:gd name="csX839" fmla="*/ 190406 w 1609516"/>
              <a:gd name="csY839" fmla="*/ 456382 h 1538630"/>
              <a:gd name="csX840" fmla="*/ 186942 w 1609516"/>
              <a:gd name="csY840" fmla="*/ 454460 h 1538630"/>
              <a:gd name="csX841" fmla="*/ 180041 w 1609516"/>
              <a:gd name="csY841" fmla="*/ 450696 h 1538630"/>
              <a:gd name="csX842" fmla="*/ 171948 w 1609516"/>
              <a:gd name="csY842" fmla="*/ 445940 h 1538630"/>
              <a:gd name="csX843" fmla="*/ 171948 w 1609516"/>
              <a:gd name="csY843" fmla="*/ 443121 h 1538630"/>
              <a:gd name="csX844" fmla="*/ 168482 w 1609516"/>
              <a:gd name="csY844" fmla="*/ 442708 h 1538630"/>
              <a:gd name="csX845" fmla="*/ 157107 w 1609516"/>
              <a:gd name="csY845" fmla="*/ 437044 h 1538630"/>
              <a:gd name="csX846" fmla="*/ 132559 w 1609516"/>
              <a:gd name="csY846" fmla="*/ 427510 h 1538630"/>
              <a:gd name="csX847" fmla="*/ 123522 w 1609516"/>
              <a:gd name="csY847" fmla="*/ 421983 h 1538630"/>
              <a:gd name="csX848" fmla="*/ 107986 w 1609516"/>
              <a:gd name="csY848" fmla="*/ 418730 h 1538630"/>
              <a:gd name="csX849" fmla="*/ 102494 w 1609516"/>
              <a:gd name="csY849" fmla="*/ 418622 h 1538630"/>
              <a:gd name="csX850" fmla="*/ 91157 w 1609516"/>
              <a:gd name="csY850" fmla="*/ 418490 h 1538630"/>
              <a:gd name="csX851" fmla="*/ 55277 w 1609516"/>
              <a:gd name="csY851" fmla="*/ 410445 h 1538630"/>
              <a:gd name="csX852" fmla="*/ 51665 w 1609516"/>
              <a:gd name="csY852" fmla="*/ 406481 h 1538630"/>
              <a:gd name="csX853" fmla="*/ 45904 w 1609516"/>
              <a:gd name="csY853" fmla="*/ 400492 h 1538630"/>
              <a:gd name="csX854" fmla="*/ 43152 w 1609516"/>
              <a:gd name="csY854" fmla="*/ 397564 h 1538630"/>
              <a:gd name="csX855" fmla="*/ 37605 w 1609516"/>
              <a:gd name="csY855" fmla="*/ 393798 h 1538630"/>
              <a:gd name="csX856" fmla="*/ 38995 w 1609516"/>
              <a:gd name="csY856" fmla="*/ 368712 h 1538630"/>
              <a:gd name="csX857" fmla="*/ 38666 w 1609516"/>
              <a:gd name="csY857" fmla="*/ 369724 h 1538630"/>
              <a:gd name="csX858" fmla="*/ 35542 w 1609516"/>
              <a:gd name="csY858" fmla="*/ 384081 h 1538630"/>
              <a:gd name="csX859" fmla="*/ 33326 w 1609516"/>
              <a:gd name="csY859" fmla="*/ 357791 h 1538630"/>
              <a:gd name="csX860" fmla="*/ 52725 w 1609516"/>
              <a:gd name="csY860" fmla="*/ 333349 h 1538630"/>
              <a:gd name="csX861" fmla="*/ 55222 w 1609516"/>
              <a:gd name="csY861" fmla="*/ 334475 h 1538630"/>
              <a:gd name="csX862" fmla="*/ 56222 w 1609516"/>
              <a:gd name="csY862" fmla="*/ 333347 h 1538630"/>
              <a:gd name="csX863" fmla="*/ 55871 w 1609516"/>
              <a:gd name="csY863" fmla="*/ 333347 h 1538630"/>
              <a:gd name="csX864" fmla="*/ 56346 w 1609516"/>
              <a:gd name="csY864" fmla="*/ 333207 h 1538630"/>
              <a:gd name="csX865" fmla="*/ 56351 w 1609516"/>
              <a:gd name="csY865" fmla="*/ 333202 h 1538630"/>
              <a:gd name="csX866" fmla="*/ 56365 w 1609516"/>
              <a:gd name="csY866" fmla="*/ 333202 h 1538630"/>
              <a:gd name="csX867" fmla="*/ 79571 w 1609516"/>
              <a:gd name="csY867" fmla="*/ 326360 h 1538630"/>
              <a:gd name="csX868" fmla="*/ 104297 w 1609516"/>
              <a:gd name="csY868" fmla="*/ 330529 h 1538630"/>
              <a:gd name="csX869" fmla="*/ 107170 w 1609516"/>
              <a:gd name="csY869" fmla="*/ 334417 h 1538630"/>
              <a:gd name="csX870" fmla="*/ 109366 w 1609516"/>
              <a:gd name="csY870" fmla="*/ 336046 h 1538630"/>
              <a:gd name="csX871" fmla="*/ 109463 w 1609516"/>
              <a:gd name="csY871" fmla="*/ 336020 h 1538630"/>
              <a:gd name="csX872" fmla="*/ 109463 w 1609516"/>
              <a:gd name="csY872" fmla="*/ 336118 h 1538630"/>
              <a:gd name="csX873" fmla="*/ 115226 w 1609516"/>
              <a:gd name="csY873" fmla="*/ 340394 h 1538630"/>
              <a:gd name="csX874" fmla="*/ 114010 w 1609516"/>
              <a:gd name="csY874" fmla="*/ 340120 h 1538630"/>
              <a:gd name="csX875" fmla="*/ 133285 w 1609516"/>
              <a:gd name="csY875" fmla="*/ 357423 h 1538630"/>
              <a:gd name="csX876" fmla="*/ 173509 w 1609516"/>
              <a:gd name="csY876" fmla="*/ 389571 h 1538630"/>
              <a:gd name="csX877" fmla="*/ 181711 w 1609516"/>
              <a:gd name="csY877" fmla="*/ 393270 h 1538630"/>
              <a:gd name="csX878" fmla="*/ 185507 w 1609516"/>
              <a:gd name="csY878" fmla="*/ 394976 h 1538630"/>
              <a:gd name="csX879" fmla="*/ 192658 w 1609516"/>
              <a:gd name="csY879" fmla="*/ 398257 h 1538630"/>
              <a:gd name="csX880" fmla="*/ 195966 w 1609516"/>
              <a:gd name="csY880" fmla="*/ 399788 h 1538630"/>
              <a:gd name="csX881" fmla="*/ 198833 w 1609516"/>
              <a:gd name="csY881" fmla="*/ 401131 h 1538630"/>
              <a:gd name="csX882" fmla="*/ 207877 w 1609516"/>
              <a:gd name="csY882" fmla="*/ 403663 h 1538630"/>
              <a:gd name="csX883" fmla="*/ 207877 w 1609516"/>
              <a:gd name="csY883" fmla="*/ 406481 h 1538630"/>
              <a:gd name="csX884" fmla="*/ 248492 w 1609516"/>
              <a:gd name="csY884" fmla="*/ 419428 h 1538630"/>
              <a:gd name="csX885" fmla="*/ 253965 w 1609516"/>
              <a:gd name="csY885" fmla="*/ 421000 h 1538630"/>
              <a:gd name="csX886" fmla="*/ 267237 w 1609516"/>
              <a:gd name="csY886" fmla="*/ 424801 h 1538630"/>
              <a:gd name="csX887" fmla="*/ 267237 w 1609516"/>
              <a:gd name="csY887" fmla="*/ 426451 h 1538630"/>
              <a:gd name="csX888" fmla="*/ 288701 w 1609516"/>
              <a:gd name="csY888" fmla="*/ 429217 h 1538630"/>
              <a:gd name="csX889" fmla="*/ 288701 w 1609516"/>
              <a:gd name="csY889" fmla="*/ 432036 h 1538630"/>
              <a:gd name="csX890" fmla="*/ 327010 w 1609516"/>
              <a:gd name="csY890" fmla="*/ 433628 h 1538630"/>
              <a:gd name="csX891" fmla="*/ 337486 w 1609516"/>
              <a:gd name="csY891" fmla="*/ 433637 h 1538630"/>
              <a:gd name="csX892" fmla="*/ 344229 w 1609516"/>
              <a:gd name="csY892" fmla="*/ 433632 h 1538630"/>
              <a:gd name="csX893" fmla="*/ 350323 w 1609516"/>
              <a:gd name="csY893" fmla="*/ 433627 h 1538630"/>
              <a:gd name="csX894" fmla="*/ 365245 w 1609516"/>
              <a:gd name="csY894" fmla="*/ 432036 h 1538630"/>
              <a:gd name="csX895" fmla="*/ 360797 w 1609516"/>
              <a:gd name="csY895" fmla="*/ 433759 h 1538630"/>
              <a:gd name="csX896" fmla="*/ 365650 w 1609516"/>
              <a:gd name="csY896" fmla="*/ 433257 h 1538630"/>
              <a:gd name="csX897" fmla="*/ 367213 w 1609516"/>
              <a:gd name="csY897" fmla="*/ 429029 h 1538630"/>
              <a:gd name="csX898" fmla="*/ 375188 w 1609516"/>
              <a:gd name="csY898" fmla="*/ 424906 h 1538630"/>
              <a:gd name="csX899" fmla="*/ 404704 w 1609516"/>
              <a:gd name="csY899" fmla="*/ 389571 h 1538630"/>
              <a:gd name="csX900" fmla="*/ 406265 w 1609516"/>
              <a:gd name="csY900" fmla="*/ 388161 h 1538630"/>
              <a:gd name="csX901" fmla="*/ 406559 w 1609516"/>
              <a:gd name="csY901" fmla="*/ 370106 h 1538630"/>
              <a:gd name="csX902" fmla="*/ 406617 w 1609516"/>
              <a:gd name="csY902" fmla="*/ 364973 h 1538630"/>
              <a:gd name="csX903" fmla="*/ 406626 w 1609516"/>
              <a:gd name="csY903" fmla="*/ 360038 h 1538630"/>
              <a:gd name="csX904" fmla="*/ 406645 w 1609516"/>
              <a:gd name="csY904" fmla="*/ 355503 h 1538630"/>
              <a:gd name="csX905" fmla="*/ 403142 w 1609516"/>
              <a:gd name="csY905" fmla="*/ 345885 h 1538630"/>
              <a:gd name="csX906" fmla="*/ 401579 w 1609516"/>
              <a:gd name="csY906" fmla="*/ 338663 h 1538630"/>
              <a:gd name="csX907" fmla="*/ 390938 w 1609516"/>
              <a:gd name="csY907" fmla="*/ 315939 h 1538630"/>
              <a:gd name="csX908" fmla="*/ 388976 w 1609516"/>
              <a:gd name="csY908" fmla="*/ 312762 h 1538630"/>
              <a:gd name="csX909" fmla="*/ 377934 w 1609516"/>
              <a:gd name="csY909" fmla="*/ 297817 h 1538630"/>
              <a:gd name="csX910" fmla="*/ 368775 w 1609516"/>
              <a:gd name="csY910" fmla="*/ 282470 h 1538630"/>
              <a:gd name="csX911" fmla="*/ 359890 w 1609516"/>
              <a:gd name="csY911" fmla="*/ 271284 h 1538630"/>
              <a:gd name="csX912" fmla="*/ 357374 w 1609516"/>
              <a:gd name="csY912" fmla="*/ 268288 h 1538630"/>
              <a:gd name="csX913" fmla="*/ 337533 w 1609516"/>
              <a:gd name="csY913" fmla="*/ 248649 h 1538630"/>
              <a:gd name="csX914" fmla="*/ 335214 w 1609516"/>
              <a:gd name="csY914" fmla="*/ 246369 h 1538630"/>
              <a:gd name="csX915" fmla="*/ 327085 w 1609516"/>
              <a:gd name="csY915" fmla="*/ 242571 h 1538630"/>
              <a:gd name="csX916" fmla="*/ 288785 w 1609516"/>
              <a:gd name="csY916" fmla="*/ 207968 h 1538630"/>
              <a:gd name="csX917" fmla="*/ 286373 w 1609516"/>
              <a:gd name="csY917" fmla="*/ 192544 h 1538630"/>
              <a:gd name="csX918" fmla="*/ 286385 w 1609516"/>
              <a:gd name="csY918" fmla="*/ 189190 h 1538630"/>
              <a:gd name="csX919" fmla="*/ 300042 w 1609516"/>
              <a:gd name="csY919" fmla="*/ 164095 h 1538630"/>
              <a:gd name="csX920" fmla="*/ 302757 w 1609516"/>
              <a:gd name="csY920" fmla="*/ 161381 h 1538630"/>
              <a:gd name="csX921" fmla="*/ 338411 w 1609516"/>
              <a:gd name="csY921" fmla="*/ 152293 h 1538630"/>
              <a:gd name="csX922" fmla="*/ 368482 w 1609516"/>
              <a:gd name="csY922" fmla="*/ 161893 h 1538630"/>
              <a:gd name="csX923" fmla="*/ 371899 w 1609516"/>
              <a:gd name="csY923" fmla="*/ 165505 h 1538630"/>
              <a:gd name="csX924" fmla="*/ 375121 w 1609516"/>
              <a:gd name="csY924" fmla="*/ 168587 h 1538630"/>
              <a:gd name="csX925" fmla="*/ 384982 w 1609516"/>
              <a:gd name="csY925" fmla="*/ 193777 h 1538630"/>
              <a:gd name="csX926" fmla="*/ 390352 w 1609516"/>
              <a:gd name="csY926" fmla="*/ 214563 h 1538630"/>
              <a:gd name="csX927" fmla="*/ 391529 w 1609516"/>
              <a:gd name="csY927" fmla="*/ 217626 h 1538630"/>
              <a:gd name="csX928" fmla="*/ 401579 w 1609516"/>
              <a:gd name="csY928" fmla="*/ 234556 h 1538630"/>
              <a:gd name="csX929" fmla="*/ 401579 w 1609516"/>
              <a:gd name="csY929" fmla="*/ 238784 h 1538630"/>
              <a:gd name="csX930" fmla="*/ 404215 w 1609516"/>
              <a:gd name="csY930" fmla="*/ 239753 h 1538630"/>
              <a:gd name="csX931" fmla="*/ 417811 w 1609516"/>
              <a:gd name="csY931" fmla="*/ 251996 h 1538630"/>
              <a:gd name="csX932" fmla="*/ 426866 w 1609516"/>
              <a:gd name="csY932" fmla="*/ 262300 h 1538630"/>
              <a:gd name="csX933" fmla="*/ 450097 w 1609516"/>
              <a:gd name="csY933" fmla="*/ 287628 h 1538630"/>
              <a:gd name="csX934" fmla="*/ 457425 w 1609516"/>
              <a:gd name="csY934" fmla="*/ 293920 h 1538630"/>
              <a:gd name="csX935" fmla="*/ 460940 w 1609516"/>
              <a:gd name="csY935" fmla="*/ 296562 h 1538630"/>
              <a:gd name="csX936" fmla="*/ 460940 w 1609516"/>
              <a:gd name="csY936" fmla="*/ 300790 h 1538630"/>
              <a:gd name="csX937" fmla="*/ 473437 w 1609516"/>
              <a:gd name="csY937" fmla="*/ 305018 h 1538630"/>
              <a:gd name="csX938" fmla="*/ 473437 w 1609516"/>
              <a:gd name="csY938" fmla="*/ 307836 h 1538630"/>
              <a:gd name="csX939" fmla="*/ 479881 w 1609516"/>
              <a:gd name="csY939" fmla="*/ 309862 h 1538630"/>
              <a:gd name="csX940" fmla="*/ 483505 w 1609516"/>
              <a:gd name="csY940" fmla="*/ 311001 h 1538630"/>
              <a:gd name="csX941" fmla="*/ 548419 w 1609516"/>
              <a:gd name="csY941" fmla="*/ 306427 h 1538630"/>
              <a:gd name="csX942" fmla="*/ 551842 w 1609516"/>
              <a:gd name="csY942" fmla="*/ 305127 h 1538630"/>
              <a:gd name="csX943" fmla="*/ 560232 w 1609516"/>
              <a:gd name="csY943" fmla="*/ 298148 h 1538630"/>
              <a:gd name="csX944" fmla="*/ 562972 w 1609516"/>
              <a:gd name="csY944" fmla="*/ 295252 h 1538630"/>
              <a:gd name="csX945" fmla="*/ 568086 w 1609516"/>
              <a:gd name="csY945" fmla="*/ 289152 h 1538630"/>
              <a:gd name="csX946" fmla="*/ 570289 w 1609516"/>
              <a:gd name="csY946" fmla="*/ 286697 h 1538630"/>
              <a:gd name="csX947" fmla="*/ 573413 w 1609516"/>
              <a:gd name="csY947" fmla="*/ 286697 h 1538630"/>
              <a:gd name="csX948" fmla="*/ 577220 w 1609516"/>
              <a:gd name="csY948" fmla="*/ 257016 h 1538630"/>
              <a:gd name="csX949" fmla="*/ 577235 w 1609516"/>
              <a:gd name="csY949" fmla="*/ 254206 h 1538630"/>
              <a:gd name="csX950" fmla="*/ 569443 w 1609516"/>
              <a:gd name="csY950" fmla="*/ 206049 h 1538630"/>
              <a:gd name="csX951" fmla="*/ 568726 w 1609516"/>
              <a:gd name="csY951" fmla="*/ 200735 h 1538630"/>
              <a:gd name="csX952" fmla="*/ 565602 w 1609516"/>
              <a:gd name="csY952" fmla="*/ 200735 h 1538630"/>
              <a:gd name="csX953" fmla="*/ 559549 w 1609516"/>
              <a:gd name="csY953" fmla="*/ 184441 h 1538630"/>
              <a:gd name="csX954" fmla="*/ 537484 w 1609516"/>
              <a:gd name="csY954" fmla="*/ 159867 h 1538630"/>
              <a:gd name="csX955" fmla="*/ 531235 w 1609516"/>
              <a:gd name="csY955" fmla="*/ 154230 h 1538630"/>
              <a:gd name="csX956" fmla="*/ 531235 w 1609516"/>
              <a:gd name="csY956" fmla="*/ 151412 h 1538630"/>
              <a:gd name="csX957" fmla="*/ 526549 w 1609516"/>
              <a:gd name="csY957" fmla="*/ 150003 h 1538630"/>
              <a:gd name="csX958" fmla="*/ 524304 w 1609516"/>
              <a:gd name="csY958" fmla="*/ 107198 h 1538630"/>
              <a:gd name="csX959" fmla="*/ 547052 w 1609516"/>
              <a:gd name="csY959" fmla="*/ 85972 h 1538630"/>
              <a:gd name="csX960" fmla="*/ 588460 w 1609516"/>
              <a:gd name="csY960" fmla="*/ 83538 h 1538630"/>
              <a:gd name="csX961" fmla="*/ 617152 w 1609516"/>
              <a:gd name="csY961" fmla="*/ 111954 h 1538630"/>
              <a:gd name="csX962" fmla="*/ 617884 w 1609516"/>
              <a:gd name="csY962" fmla="*/ 124175 h 1538630"/>
              <a:gd name="csX963" fmla="*/ 617917 w 1609516"/>
              <a:gd name="csY963" fmla="*/ 127607 h 1538630"/>
              <a:gd name="csX964" fmla="*/ 617919 w 1609516"/>
              <a:gd name="csY964" fmla="*/ 141969 h 1538630"/>
              <a:gd name="csX965" fmla="*/ 630625 w 1609516"/>
              <a:gd name="csY965" fmla="*/ 191311 h 1538630"/>
              <a:gd name="csX966" fmla="*/ 637850 w 1609516"/>
              <a:gd name="csY966" fmla="*/ 205139 h 1538630"/>
              <a:gd name="csX967" fmla="*/ 643708 w 1609516"/>
              <a:gd name="csY967" fmla="*/ 212009 h 1538630"/>
              <a:gd name="csX968" fmla="*/ 647027 w 1609516"/>
              <a:gd name="csY968" fmla="*/ 217645 h 1538630"/>
              <a:gd name="csX969" fmla="*/ 670264 w 1609516"/>
              <a:gd name="csY969" fmla="*/ 241603 h 1538630"/>
              <a:gd name="csX970" fmla="*/ 670264 w 1609516"/>
              <a:gd name="csY970" fmla="*/ 244421 h 1538630"/>
              <a:gd name="csX971" fmla="*/ 675634 w 1609516"/>
              <a:gd name="csY971" fmla="*/ 245742 h 1538630"/>
              <a:gd name="csX972" fmla="*/ 682761 w 1609516"/>
              <a:gd name="csY972" fmla="*/ 248649 h 1538630"/>
              <a:gd name="csX973" fmla="*/ 752092 w 1609516"/>
              <a:gd name="csY973" fmla="*/ 245076 h 1538630"/>
              <a:gd name="csX974" fmla="*/ 758433 w 1609516"/>
              <a:gd name="csY974" fmla="*/ 240485 h 1538630"/>
              <a:gd name="csX975" fmla="*/ 763991 w 1609516"/>
              <a:gd name="csY975" fmla="*/ 238784 h 1538630"/>
              <a:gd name="csX976" fmla="*/ 765315 w 1609516"/>
              <a:gd name="csY976" fmla="*/ 235778 h 1538630"/>
              <a:gd name="csX977" fmla="*/ 770923 w 1609516"/>
              <a:gd name="csY977" fmla="*/ 223459 h 1538630"/>
              <a:gd name="csX978" fmla="*/ 772998 w 1609516"/>
              <a:gd name="csY978" fmla="*/ 218934 h 1538630"/>
              <a:gd name="csX979" fmla="*/ 777562 w 1609516"/>
              <a:gd name="csY979" fmla="*/ 209895 h 1538630"/>
              <a:gd name="csX980" fmla="*/ 781175 w 1609516"/>
              <a:gd name="csY980" fmla="*/ 124637 h 1538630"/>
              <a:gd name="csX981" fmla="*/ 778051 w 1609516"/>
              <a:gd name="csY981" fmla="*/ 124637 h 1538630"/>
              <a:gd name="csX982" fmla="*/ 767116 w 1609516"/>
              <a:gd name="csY982" fmla="*/ 79542 h 1538630"/>
              <a:gd name="csX983" fmla="*/ 793379 w 1609516"/>
              <a:gd name="csY983" fmla="*/ 54000 h 1538630"/>
              <a:gd name="csX984" fmla="*/ 840688 w 1609516"/>
              <a:gd name="csY984" fmla="*/ 55503 h 1538630"/>
              <a:gd name="csX985" fmla="*/ 851470 w 1609516"/>
              <a:gd name="csY985" fmla="*/ 64040 h 1538630"/>
              <a:gd name="csX986" fmla="*/ 853997 w 1609516"/>
              <a:gd name="csY986" fmla="*/ 66529 h 1538630"/>
              <a:gd name="csX987" fmla="*/ 861488 w 1609516"/>
              <a:gd name="csY987" fmla="*/ 82057 h 1538630"/>
              <a:gd name="csX988" fmla="*/ 861937 w 1609516"/>
              <a:gd name="csY988" fmla="*/ 90492 h 1538630"/>
              <a:gd name="csX989" fmla="*/ 863826 w 1609516"/>
              <a:gd name="csY989" fmla="*/ 100715 h 1538630"/>
              <a:gd name="csX990" fmla="*/ 857577 w 1609516"/>
              <a:gd name="csY990" fmla="*/ 121853 h 1538630"/>
              <a:gd name="csX991" fmla="*/ 856015 w 1609516"/>
              <a:gd name="csY991" fmla="*/ 121853 h 1538630"/>
              <a:gd name="csX992" fmla="*/ 855442 w 1609516"/>
              <a:gd name="csY992" fmla="*/ 118919 h 1538630"/>
              <a:gd name="csX993" fmla="*/ 855417 w 1609516"/>
              <a:gd name="csY993" fmla="*/ 118798 h 1538630"/>
              <a:gd name="csX994" fmla="*/ 856157 w 1609516"/>
              <a:gd name="csY994" fmla="*/ 124637 h 1538630"/>
              <a:gd name="csX995" fmla="*/ 850623 w 1609516"/>
              <a:gd name="csY995" fmla="*/ 134701 h 1538630"/>
              <a:gd name="csX996" fmla="*/ 851325 w 1609516"/>
              <a:gd name="csY996" fmla="*/ 135968 h 1538630"/>
              <a:gd name="csX997" fmla="*/ 849886 w 1609516"/>
              <a:gd name="csY997" fmla="*/ 139843 h 1538630"/>
              <a:gd name="csX998" fmla="*/ 847786 w 1609516"/>
              <a:gd name="csY998" fmla="*/ 152889 h 1538630"/>
              <a:gd name="csX999" fmla="*/ 847767 w 1609516"/>
              <a:gd name="csY999" fmla="*/ 157768 h 1538630"/>
              <a:gd name="csX1000" fmla="*/ 847810 w 1609516"/>
              <a:gd name="csY1000" fmla="*/ 162919 h 1538630"/>
              <a:gd name="csX1001" fmla="*/ 847832 w 1609516"/>
              <a:gd name="csY1001" fmla="*/ 168227 h 1538630"/>
              <a:gd name="csX1002" fmla="*/ 850903 w 1609516"/>
              <a:gd name="csY1002" fmla="*/ 209013 h 1538630"/>
              <a:gd name="csX1003" fmla="*/ 852880 w 1609516"/>
              <a:gd name="csY1003" fmla="*/ 224692 h 1538630"/>
              <a:gd name="csX1004" fmla="*/ 854595 w 1609516"/>
              <a:gd name="csY1004" fmla="*/ 224692 h 1538630"/>
              <a:gd name="csX1005" fmla="*/ 856083 w 1609516"/>
              <a:gd name="csY1005" fmla="*/ 227268 h 1538630"/>
              <a:gd name="csX1006" fmla="*/ 879588 w 1609516"/>
              <a:gd name="csY1006" fmla="*/ 247239 h 1538630"/>
              <a:gd name="csX1007" fmla="*/ 885739 w 1609516"/>
              <a:gd name="csY1007" fmla="*/ 249618 h 1538630"/>
              <a:gd name="csX1008" fmla="*/ 890523 w 1609516"/>
              <a:gd name="csY1008" fmla="*/ 251467 h 1538630"/>
              <a:gd name="csX1009" fmla="*/ 890523 w 1609516"/>
              <a:gd name="csY1009" fmla="*/ 254285 h 1538630"/>
              <a:gd name="csX1010" fmla="*/ 920203 w 1609516"/>
              <a:gd name="csY1010" fmla="*/ 261332 h 1538630"/>
              <a:gd name="csX1011" fmla="*/ 920203 w 1609516"/>
              <a:gd name="csY1011" fmla="*/ 262741 h 1538630"/>
              <a:gd name="csX1012" fmla="*/ 910831 w 1609516"/>
              <a:gd name="csY1012" fmla="*/ 262741 h 1538630"/>
              <a:gd name="csX1013" fmla="*/ 910831 w 1609516"/>
              <a:gd name="csY1013" fmla="*/ 262864 h 1538630"/>
              <a:gd name="csX1014" fmla="*/ 927993 w 1609516"/>
              <a:gd name="csY1014" fmla="*/ 264177 h 1538630"/>
              <a:gd name="csX1015" fmla="*/ 939273 w 1609516"/>
              <a:gd name="csY1015" fmla="*/ 265285 h 1538630"/>
              <a:gd name="csX1016" fmla="*/ 940456 w 1609516"/>
              <a:gd name="csY1016" fmla="*/ 265191 h 1538630"/>
              <a:gd name="csX1017" fmla="*/ 991622 w 1609516"/>
              <a:gd name="csY1017" fmla="*/ 242329 h 1538630"/>
              <a:gd name="csX1018" fmla="*/ 1000803 w 1609516"/>
              <a:gd name="csY1018" fmla="*/ 236505 h 1538630"/>
              <a:gd name="csX1019" fmla="*/ 999806 w 1609516"/>
              <a:gd name="csY1019" fmla="*/ 236055 h 1538630"/>
              <a:gd name="csX1020" fmla="*/ 1003126 w 1609516"/>
              <a:gd name="csY1020" fmla="*/ 232851 h 1538630"/>
              <a:gd name="csX1021" fmla="*/ 1029487 w 1609516"/>
              <a:gd name="csY1021" fmla="*/ 205052 h 1538630"/>
              <a:gd name="csX1022" fmla="*/ 1029872 w 1609516"/>
              <a:gd name="csY1022" fmla="*/ 206442 h 1538630"/>
              <a:gd name="csX1023" fmla="*/ 1031614 w 1609516"/>
              <a:gd name="csY1023" fmla="*/ 203719 h 1538630"/>
              <a:gd name="csX1024" fmla="*/ 1038924 w 1609516"/>
              <a:gd name="csY1024" fmla="*/ 192280 h 1538630"/>
              <a:gd name="csX1025" fmla="*/ 1042049 w 1609516"/>
              <a:gd name="csY1025" fmla="*/ 190870 h 1538630"/>
              <a:gd name="csX1026" fmla="*/ 1044294 w 1609516"/>
              <a:gd name="csY1026" fmla="*/ 186026 h 1538630"/>
              <a:gd name="csX1027" fmla="*/ 1051422 w 1609516"/>
              <a:gd name="csY1027" fmla="*/ 178188 h 1538630"/>
              <a:gd name="csX1028" fmla="*/ 1052984 w 1609516"/>
              <a:gd name="csY1028" fmla="*/ 172551 h 1538630"/>
              <a:gd name="csX1029" fmla="*/ 1056108 w 1609516"/>
              <a:gd name="csY1029" fmla="*/ 172551 h 1538630"/>
              <a:gd name="csX1030" fmla="*/ 1059232 w 1609516"/>
              <a:gd name="csY1030" fmla="*/ 162686 h 1538630"/>
              <a:gd name="csX1031" fmla="*/ 1062357 w 1609516"/>
              <a:gd name="csY1031" fmla="*/ 162686 h 1538630"/>
              <a:gd name="csX1032" fmla="*/ 1063162 w 1609516"/>
              <a:gd name="csY1032" fmla="*/ 160258 h 1538630"/>
              <a:gd name="csX1033" fmla="*/ 1073292 w 1609516"/>
              <a:gd name="csY1033" fmla="*/ 140138 h 1538630"/>
              <a:gd name="csX1034" fmla="*/ 1076415 w 1609516"/>
              <a:gd name="csY1034" fmla="*/ 140138 h 1538630"/>
              <a:gd name="csX1035" fmla="*/ 1085294 w 1609516"/>
              <a:gd name="csY1035" fmla="*/ 117569 h 1538630"/>
              <a:gd name="csX1036" fmla="*/ 1087350 w 1609516"/>
              <a:gd name="csY1036" fmla="*/ 113363 h 1538630"/>
              <a:gd name="csX1037" fmla="*/ 1092037 w 1609516"/>
              <a:gd name="csY1037" fmla="*/ 111954 h 1538630"/>
              <a:gd name="csX1038" fmla="*/ 1092623 w 1609516"/>
              <a:gd name="csY1038" fmla="*/ 108695 h 1538630"/>
              <a:gd name="csX1039" fmla="*/ 1096723 w 1609516"/>
              <a:gd name="csY1039" fmla="*/ 100680 h 1538630"/>
              <a:gd name="csX1040" fmla="*/ 1098188 w 1609516"/>
              <a:gd name="csY1040" fmla="*/ 96013 h 1538630"/>
              <a:gd name="csX1041" fmla="*/ 1102288 w 1609516"/>
              <a:gd name="csY1041" fmla="*/ 87029 h 1538630"/>
              <a:gd name="csX1042" fmla="*/ 1104534 w 1609516"/>
              <a:gd name="csY1042" fmla="*/ 61222 h 1538630"/>
              <a:gd name="csX1043" fmla="*/ 1104381 w 1609516"/>
              <a:gd name="csY1043" fmla="*/ 55569 h 1538630"/>
              <a:gd name="csX1044" fmla="*/ 1104397 w 1609516"/>
              <a:gd name="csY1044" fmla="*/ 52335 h 1538630"/>
              <a:gd name="csX1045" fmla="*/ 1104436 w 1609516"/>
              <a:gd name="csY1045" fmla="*/ 48979 h 1538630"/>
              <a:gd name="csX1046" fmla="*/ 1104457 w 1609516"/>
              <a:gd name="csY1046" fmla="*/ 45575 h 1538630"/>
              <a:gd name="csX1047" fmla="*/ 1104534 w 1609516"/>
              <a:gd name="csY1047" fmla="*/ 37265 h 1538630"/>
              <a:gd name="csX1048" fmla="*/ 1107658 w 1609516"/>
              <a:gd name="csY1048" fmla="*/ 37265 h 1538630"/>
              <a:gd name="csX1049" fmla="*/ 1107463 w 1609516"/>
              <a:gd name="csY1049" fmla="*/ 31805 h 1538630"/>
              <a:gd name="csX1050" fmla="*/ 1107658 w 1609516"/>
              <a:gd name="csY1050" fmla="*/ 25991 h 1538630"/>
              <a:gd name="csX1051" fmla="*/ 1110782 w 1609516"/>
              <a:gd name="csY1051" fmla="*/ 23173 h 1538630"/>
              <a:gd name="csX1052" fmla="*/ 1111759 w 1609516"/>
              <a:gd name="csY1052" fmla="*/ 20091 h 1538630"/>
              <a:gd name="csX1053" fmla="*/ 1134507 w 1609516"/>
              <a:gd name="csY1053" fmla="*/ 2828 h 1538630"/>
              <a:gd name="csX1054" fmla="*/ 1155019 w 1609516"/>
              <a:gd name="csY1054" fmla="*/ 35 h 153863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  <a:cxn ang="0">
                <a:pos x="csX170" y="csY170"/>
              </a:cxn>
              <a:cxn ang="0">
                <a:pos x="csX171" y="csY171"/>
              </a:cxn>
              <a:cxn ang="0">
                <a:pos x="csX172" y="csY172"/>
              </a:cxn>
              <a:cxn ang="0">
                <a:pos x="csX173" y="csY173"/>
              </a:cxn>
              <a:cxn ang="0">
                <a:pos x="csX174" y="csY174"/>
              </a:cxn>
              <a:cxn ang="0">
                <a:pos x="csX175" y="csY175"/>
              </a:cxn>
              <a:cxn ang="0">
                <a:pos x="csX176" y="csY176"/>
              </a:cxn>
              <a:cxn ang="0">
                <a:pos x="csX177" y="csY177"/>
              </a:cxn>
              <a:cxn ang="0">
                <a:pos x="csX178" y="csY178"/>
              </a:cxn>
              <a:cxn ang="0">
                <a:pos x="csX179" y="csY179"/>
              </a:cxn>
              <a:cxn ang="0">
                <a:pos x="csX180" y="csY180"/>
              </a:cxn>
              <a:cxn ang="0">
                <a:pos x="csX181" y="csY181"/>
              </a:cxn>
              <a:cxn ang="0">
                <a:pos x="csX182" y="csY182"/>
              </a:cxn>
              <a:cxn ang="0">
                <a:pos x="csX183" y="csY183"/>
              </a:cxn>
              <a:cxn ang="0">
                <a:pos x="csX184" y="csY184"/>
              </a:cxn>
              <a:cxn ang="0">
                <a:pos x="csX185" y="csY185"/>
              </a:cxn>
              <a:cxn ang="0">
                <a:pos x="csX186" y="csY186"/>
              </a:cxn>
              <a:cxn ang="0">
                <a:pos x="csX187" y="csY187"/>
              </a:cxn>
              <a:cxn ang="0">
                <a:pos x="csX188" y="csY188"/>
              </a:cxn>
              <a:cxn ang="0">
                <a:pos x="csX189" y="csY189"/>
              </a:cxn>
              <a:cxn ang="0">
                <a:pos x="csX190" y="csY190"/>
              </a:cxn>
              <a:cxn ang="0">
                <a:pos x="csX191" y="csY191"/>
              </a:cxn>
              <a:cxn ang="0">
                <a:pos x="csX192" y="csY192"/>
              </a:cxn>
              <a:cxn ang="0">
                <a:pos x="csX193" y="csY193"/>
              </a:cxn>
              <a:cxn ang="0">
                <a:pos x="csX194" y="csY194"/>
              </a:cxn>
              <a:cxn ang="0">
                <a:pos x="csX195" y="csY195"/>
              </a:cxn>
              <a:cxn ang="0">
                <a:pos x="csX196" y="csY196"/>
              </a:cxn>
              <a:cxn ang="0">
                <a:pos x="csX197" y="csY197"/>
              </a:cxn>
              <a:cxn ang="0">
                <a:pos x="csX198" y="csY198"/>
              </a:cxn>
              <a:cxn ang="0">
                <a:pos x="csX199" y="csY199"/>
              </a:cxn>
              <a:cxn ang="0">
                <a:pos x="csX200" y="csY200"/>
              </a:cxn>
              <a:cxn ang="0">
                <a:pos x="csX201" y="csY201"/>
              </a:cxn>
              <a:cxn ang="0">
                <a:pos x="csX202" y="csY202"/>
              </a:cxn>
              <a:cxn ang="0">
                <a:pos x="csX203" y="csY203"/>
              </a:cxn>
              <a:cxn ang="0">
                <a:pos x="csX204" y="csY204"/>
              </a:cxn>
              <a:cxn ang="0">
                <a:pos x="csX205" y="csY205"/>
              </a:cxn>
              <a:cxn ang="0">
                <a:pos x="csX206" y="csY206"/>
              </a:cxn>
              <a:cxn ang="0">
                <a:pos x="csX207" y="csY207"/>
              </a:cxn>
              <a:cxn ang="0">
                <a:pos x="csX208" y="csY208"/>
              </a:cxn>
              <a:cxn ang="0">
                <a:pos x="csX209" y="csY209"/>
              </a:cxn>
              <a:cxn ang="0">
                <a:pos x="csX210" y="csY210"/>
              </a:cxn>
              <a:cxn ang="0">
                <a:pos x="csX211" y="csY211"/>
              </a:cxn>
              <a:cxn ang="0">
                <a:pos x="csX212" y="csY212"/>
              </a:cxn>
              <a:cxn ang="0">
                <a:pos x="csX213" y="csY213"/>
              </a:cxn>
              <a:cxn ang="0">
                <a:pos x="csX214" y="csY214"/>
              </a:cxn>
              <a:cxn ang="0">
                <a:pos x="csX215" y="csY215"/>
              </a:cxn>
              <a:cxn ang="0">
                <a:pos x="csX216" y="csY216"/>
              </a:cxn>
              <a:cxn ang="0">
                <a:pos x="csX217" y="csY217"/>
              </a:cxn>
              <a:cxn ang="0">
                <a:pos x="csX218" y="csY218"/>
              </a:cxn>
              <a:cxn ang="0">
                <a:pos x="csX219" y="csY219"/>
              </a:cxn>
              <a:cxn ang="0">
                <a:pos x="csX220" y="csY220"/>
              </a:cxn>
              <a:cxn ang="0">
                <a:pos x="csX221" y="csY221"/>
              </a:cxn>
              <a:cxn ang="0">
                <a:pos x="csX222" y="csY222"/>
              </a:cxn>
              <a:cxn ang="0">
                <a:pos x="csX223" y="csY223"/>
              </a:cxn>
              <a:cxn ang="0">
                <a:pos x="csX224" y="csY224"/>
              </a:cxn>
              <a:cxn ang="0">
                <a:pos x="csX225" y="csY225"/>
              </a:cxn>
              <a:cxn ang="0">
                <a:pos x="csX226" y="csY226"/>
              </a:cxn>
              <a:cxn ang="0">
                <a:pos x="csX227" y="csY227"/>
              </a:cxn>
              <a:cxn ang="0">
                <a:pos x="csX228" y="csY228"/>
              </a:cxn>
              <a:cxn ang="0">
                <a:pos x="csX229" y="csY229"/>
              </a:cxn>
              <a:cxn ang="0">
                <a:pos x="csX230" y="csY230"/>
              </a:cxn>
              <a:cxn ang="0">
                <a:pos x="csX231" y="csY231"/>
              </a:cxn>
              <a:cxn ang="0">
                <a:pos x="csX232" y="csY232"/>
              </a:cxn>
              <a:cxn ang="0">
                <a:pos x="csX233" y="csY233"/>
              </a:cxn>
              <a:cxn ang="0">
                <a:pos x="csX234" y="csY234"/>
              </a:cxn>
              <a:cxn ang="0">
                <a:pos x="csX235" y="csY235"/>
              </a:cxn>
              <a:cxn ang="0">
                <a:pos x="csX236" y="csY236"/>
              </a:cxn>
              <a:cxn ang="0">
                <a:pos x="csX237" y="csY237"/>
              </a:cxn>
              <a:cxn ang="0">
                <a:pos x="csX238" y="csY238"/>
              </a:cxn>
              <a:cxn ang="0">
                <a:pos x="csX239" y="csY239"/>
              </a:cxn>
              <a:cxn ang="0">
                <a:pos x="csX240" y="csY240"/>
              </a:cxn>
              <a:cxn ang="0">
                <a:pos x="csX241" y="csY241"/>
              </a:cxn>
              <a:cxn ang="0">
                <a:pos x="csX242" y="csY242"/>
              </a:cxn>
              <a:cxn ang="0">
                <a:pos x="csX243" y="csY243"/>
              </a:cxn>
              <a:cxn ang="0">
                <a:pos x="csX244" y="csY244"/>
              </a:cxn>
              <a:cxn ang="0">
                <a:pos x="csX245" y="csY245"/>
              </a:cxn>
              <a:cxn ang="0">
                <a:pos x="csX246" y="csY246"/>
              </a:cxn>
              <a:cxn ang="0">
                <a:pos x="csX247" y="csY247"/>
              </a:cxn>
              <a:cxn ang="0">
                <a:pos x="csX248" y="csY248"/>
              </a:cxn>
              <a:cxn ang="0">
                <a:pos x="csX249" y="csY249"/>
              </a:cxn>
              <a:cxn ang="0">
                <a:pos x="csX250" y="csY250"/>
              </a:cxn>
              <a:cxn ang="0">
                <a:pos x="csX251" y="csY251"/>
              </a:cxn>
              <a:cxn ang="0">
                <a:pos x="csX252" y="csY252"/>
              </a:cxn>
              <a:cxn ang="0">
                <a:pos x="csX253" y="csY253"/>
              </a:cxn>
              <a:cxn ang="0">
                <a:pos x="csX254" y="csY254"/>
              </a:cxn>
              <a:cxn ang="0">
                <a:pos x="csX255" y="csY255"/>
              </a:cxn>
              <a:cxn ang="0">
                <a:pos x="csX256" y="csY256"/>
              </a:cxn>
              <a:cxn ang="0">
                <a:pos x="csX257" y="csY257"/>
              </a:cxn>
              <a:cxn ang="0">
                <a:pos x="csX258" y="csY258"/>
              </a:cxn>
              <a:cxn ang="0">
                <a:pos x="csX259" y="csY259"/>
              </a:cxn>
              <a:cxn ang="0">
                <a:pos x="csX260" y="csY260"/>
              </a:cxn>
              <a:cxn ang="0">
                <a:pos x="csX261" y="csY261"/>
              </a:cxn>
              <a:cxn ang="0">
                <a:pos x="csX262" y="csY262"/>
              </a:cxn>
              <a:cxn ang="0">
                <a:pos x="csX263" y="csY263"/>
              </a:cxn>
              <a:cxn ang="0">
                <a:pos x="csX264" y="csY264"/>
              </a:cxn>
              <a:cxn ang="0">
                <a:pos x="csX265" y="csY265"/>
              </a:cxn>
              <a:cxn ang="0">
                <a:pos x="csX266" y="csY266"/>
              </a:cxn>
              <a:cxn ang="0">
                <a:pos x="csX267" y="csY267"/>
              </a:cxn>
              <a:cxn ang="0">
                <a:pos x="csX268" y="csY268"/>
              </a:cxn>
              <a:cxn ang="0">
                <a:pos x="csX269" y="csY269"/>
              </a:cxn>
              <a:cxn ang="0">
                <a:pos x="csX270" y="csY270"/>
              </a:cxn>
              <a:cxn ang="0">
                <a:pos x="csX271" y="csY271"/>
              </a:cxn>
              <a:cxn ang="0">
                <a:pos x="csX272" y="csY272"/>
              </a:cxn>
              <a:cxn ang="0">
                <a:pos x="csX273" y="csY273"/>
              </a:cxn>
              <a:cxn ang="0">
                <a:pos x="csX274" y="csY274"/>
              </a:cxn>
              <a:cxn ang="0">
                <a:pos x="csX275" y="csY275"/>
              </a:cxn>
              <a:cxn ang="0">
                <a:pos x="csX276" y="csY276"/>
              </a:cxn>
              <a:cxn ang="0">
                <a:pos x="csX277" y="csY277"/>
              </a:cxn>
              <a:cxn ang="0">
                <a:pos x="csX278" y="csY278"/>
              </a:cxn>
              <a:cxn ang="0">
                <a:pos x="csX279" y="csY279"/>
              </a:cxn>
              <a:cxn ang="0">
                <a:pos x="csX280" y="csY280"/>
              </a:cxn>
              <a:cxn ang="0">
                <a:pos x="csX281" y="csY281"/>
              </a:cxn>
              <a:cxn ang="0">
                <a:pos x="csX282" y="csY282"/>
              </a:cxn>
              <a:cxn ang="0">
                <a:pos x="csX283" y="csY283"/>
              </a:cxn>
              <a:cxn ang="0">
                <a:pos x="csX284" y="csY284"/>
              </a:cxn>
              <a:cxn ang="0">
                <a:pos x="csX285" y="csY285"/>
              </a:cxn>
              <a:cxn ang="0">
                <a:pos x="csX286" y="csY286"/>
              </a:cxn>
              <a:cxn ang="0">
                <a:pos x="csX287" y="csY287"/>
              </a:cxn>
              <a:cxn ang="0">
                <a:pos x="csX288" y="csY288"/>
              </a:cxn>
              <a:cxn ang="0">
                <a:pos x="csX289" y="csY289"/>
              </a:cxn>
              <a:cxn ang="0">
                <a:pos x="csX290" y="csY290"/>
              </a:cxn>
              <a:cxn ang="0">
                <a:pos x="csX291" y="csY291"/>
              </a:cxn>
              <a:cxn ang="0">
                <a:pos x="csX292" y="csY292"/>
              </a:cxn>
              <a:cxn ang="0">
                <a:pos x="csX293" y="csY293"/>
              </a:cxn>
              <a:cxn ang="0">
                <a:pos x="csX294" y="csY294"/>
              </a:cxn>
              <a:cxn ang="0">
                <a:pos x="csX295" y="csY295"/>
              </a:cxn>
              <a:cxn ang="0">
                <a:pos x="csX296" y="csY296"/>
              </a:cxn>
              <a:cxn ang="0">
                <a:pos x="csX297" y="csY297"/>
              </a:cxn>
              <a:cxn ang="0">
                <a:pos x="csX298" y="csY298"/>
              </a:cxn>
              <a:cxn ang="0">
                <a:pos x="csX299" y="csY299"/>
              </a:cxn>
              <a:cxn ang="0">
                <a:pos x="csX300" y="csY300"/>
              </a:cxn>
              <a:cxn ang="0">
                <a:pos x="csX301" y="csY301"/>
              </a:cxn>
              <a:cxn ang="0">
                <a:pos x="csX302" y="csY302"/>
              </a:cxn>
              <a:cxn ang="0">
                <a:pos x="csX303" y="csY303"/>
              </a:cxn>
              <a:cxn ang="0">
                <a:pos x="csX304" y="csY304"/>
              </a:cxn>
              <a:cxn ang="0">
                <a:pos x="csX305" y="csY305"/>
              </a:cxn>
              <a:cxn ang="0">
                <a:pos x="csX306" y="csY306"/>
              </a:cxn>
              <a:cxn ang="0">
                <a:pos x="csX307" y="csY307"/>
              </a:cxn>
              <a:cxn ang="0">
                <a:pos x="csX308" y="csY308"/>
              </a:cxn>
              <a:cxn ang="0">
                <a:pos x="csX309" y="csY309"/>
              </a:cxn>
              <a:cxn ang="0">
                <a:pos x="csX310" y="csY310"/>
              </a:cxn>
              <a:cxn ang="0">
                <a:pos x="csX311" y="csY311"/>
              </a:cxn>
              <a:cxn ang="0">
                <a:pos x="csX312" y="csY312"/>
              </a:cxn>
              <a:cxn ang="0">
                <a:pos x="csX313" y="csY313"/>
              </a:cxn>
              <a:cxn ang="0">
                <a:pos x="csX314" y="csY314"/>
              </a:cxn>
              <a:cxn ang="0">
                <a:pos x="csX315" y="csY315"/>
              </a:cxn>
              <a:cxn ang="0">
                <a:pos x="csX316" y="csY316"/>
              </a:cxn>
              <a:cxn ang="0">
                <a:pos x="csX317" y="csY317"/>
              </a:cxn>
              <a:cxn ang="0">
                <a:pos x="csX318" y="csY318"/>
              </a:cxn>
              <a:cxn ang="0">
                <a:pos x="csX319" y="csY319"/>
              </a:cxn>
              <a:cxn ang="0">
                <a:pos x="csX320" y="csY320"/>
              </a:cxn>
              <a:cxn ang="0">
                <a:pos x="csX321" y="csY321"/>
              </a:cxn>
              <a:cxn ang="0">
                <a:pos x="csX322" y="csY322"/>
              </a:cxn>
              <a:cxn ang="0">
                <a:pos x="csX323" y="csY323"/>
              </a:cxn>
              <a:cxn ang="0">
                <a:pos x="csX324" y="csY324"/>
              </a:cxn>
              <a:cxn ang="0">
                <a:pos x="csX325" y="csY325"/>
              </a:cxn>
              <a:cxn ang="0">
                <a:pos x="csX326" y="csY326"/>
              </a:cxn>
              <a:cxn ang="0">
                <a:pos x="csX327" y="csY327"/>
              </a:cxn>
              <a:cxn ang="0">
                <a:pos x="csX328" y="csY328"/>
              </a:cxn>
              <a:cxn ang="0">
                <a:pos x="csX329" y="csY329"/>
              </a:cxn>
              <a:cxn ang="0">
                <a:pos x="csX330" y="csY330"/>
              </a:cxn>
              <a:cxn ang="0">
                <a:pos x="csX331" y="csY331"/>
              </a:cxn>
              <a:cxn ang="0">
                <a:pos x="csX332" y="csY332"/>
              </a:cxn>
              <a:cxn ang="0">
                <a:pos x="csX333" y="csY333"/>
              </a:cxn>
              <a:cxn ang="0">
                <a:pos x="csX334" y="csY334"/>
              </a:cxn>
              <a:cxn ang="0">
                <a:pos x="csX335" y="csY335"/>
              </a:cxn>
              <a:cxn ang="0">
                <a:pos x="csX336" y="csY336"/>
              </a:cxn>
              <a:cxn ang="0">
                <a:pos x="csX337" y="csY337"/>
              </a:cxn>
              <a:cxn ang="0">
                <a:pos x="csX338" y="csY338"/>
              </a:cxn>
              <a:cxn ang="0">
                <a:pos x="csX339" y="csY339"/>
              </a:cxn>
              <a:cxn ang="0">
                <a:pos x="csX340" y="csY340"/>
              </a:cxn>
              <a:cxn ang="0">
                <a:pos x="csX341" y="csY341"/>
              </a:cxn>
              <a:cxn ang="0">
                <a:pos x="csX342" y="csY342"/>
              </a:cxn>
              <a:cxn ang="0">
                <a:pos x="csX343" y="csY343"/>
              </a:cxn>
              <a:cxn ang="0">
                <a:pos x="csX344" y="csY344"/>
              </a:cxn>
              <a:cxn ang="0">
                <a:pos x="csX345" y="csY345"/>
              </a:cxn>
              <a:cxn ang="0">
                <a:pos x="csX346" y="csY346"/>
              </a:cxn>
              <a:cxn ang="0">
                <a:pos x="csX347" y="csY347"/>
              </a:cxn>
              <a:cxn ang="0">
                <a:pos x="csX348" y="csY348"/>
              </a:cxn>
              <a:cxn ang="0">
                <a:pos x="csX349" y="csY349"/>
              </a:cxn>
              <a:cxn ang="0">
                <a:pos x="csX350" y="csY350"/>
              </a:cxn>
              <a:cxn ang="0">
                <a:pos x="csX351" y="csY351"/>
              </a:cxn>
              <a:cxn ang="0">
                <a:pos x="csX352" y="csY352"/>
              </a:cxn>
              <a:cxn ang="0">
                <a:pos x="csX353" y="csY353"/>
              </a:cxn>
              <a:cxn ang="0">
                <a:pos x="csX354" y="csY354"/>
              </a:cxn>
              <a:cxn ang="0">
                <a:pos x="csX355" y="csY355"/>
              </a:cxn>
              <a:cxn ang="0">
                <a:pos x="csX356" y="csY356"/>
              </a:cxn>
              <a:cxn ang="0">
                <a:pos x="csX357" y="csY357"/>
              </a:cxn>
              <a:cxn ang="0">
                <a:pos x="csX358" y="csY358"/>
              </a:cxn>
              <a:cxn ang="0">
                <a:pos x="csX359" y="csY359"/>
              </a:cxn>
              <a:cxn ang="0">
                <a:pos x="csX360" y="csY360"/>
              </a:cxn>
              <a:cxn ang="0">
                <a:pos x="csX361" y="csY361"/>
              </a:cxn>
              <a:cxn ang="0">
                <a:pos x="csX362" y="csY362"/>
              </a:cxn>
              <a:cxn ang="0">
                <a:pos x="csX363" y="csY363"/>
              </a:cxn>
              <a:cxn ang="0">
                <a:pos x="csX364" y="csY364"/>
              </a:cxn>
              <a:cxn ang="0">
                <a:pos x="csX365" y="csY365"/>
              </a:cxn>
              <a:cxn ang="0">
                <a:pos x="csX366" y="csY366"/>
              </a:cxn>
              <a:cxn ang="0">
                <a:pos x="csX367" y="csY367"/>
              </a:cxn>
              <a:cxn ang="0">
                <a:pos x="csX368" y="csY368"/>
              </a:cxn>
              <a:cxn ang="0">
                <a:pos x="csX369" y="csY369"/>
              </a:cxn>
              <a:cxn ang="0">
                <a:pos x="csX370" y="csY370"/>
              </a:cxn>
              <a:cxn ang="0">
                <a:pos x="csX371" y="csY371"/>
              </a:cxn>
              <a:cxn ang="0">
                <a:pos x="csX372" y="csY372"/>
              </a:cxn>
              <a:cxn ang="0">
                <a:pos x="csX373" y="csY373"/>
              </a:cxn>
              <a:cxn ang="0">
                <a:pos x="csX374" y="csY374"/>
              </a:cxn>
              <a:cxn ang="0">
                <a:pos x="csX375" y="csY375"/>
              </a:cxn>
              <a:cxn ang="0">
                <a:pos x="csX376" y="csY376"/>
              </a:cxn>
              <a:cxn ang="0">
                <a:pos x="csX377" y="csY377"/>
              </a:cxn>
              <a:cxn ang="0">
                <a:pos x="csX378" y="csY378"/>
              </a:cxn>
              <a:cxn ang="0">
                <a:pos x="csX379" y="csY379"/>
              </a:cxn>
              <a:cxn ang="0">
                <a:pos x="csX380" y="csY380"/>
              </a:cxn>
              <a:cxn ang="0">
                <a:pos x="csX381" y="csY381"/>
              </a:cxn>
              <a:cxn ang="0">
                <a:pos x="csX382" y="csY382"/>
              </a:cxn>
              <a:cxn ang="0">
                <a:pos x="csX383" y="csY383"/>
              </a:cxn>
              <a:cxn ang="0">
                <a:pos x="csX384" y="csY384"/>
              </a:cxn>
              <a:cxn ang="0">
                <a:pos x="csX385" y="csY385"/>
              </a:cxn>
              <a:cxn ang="0">
                <a:pos x="csX386" y="csY386"/>
              </a:cxn>
              <a:cxn ang="0">
                <a:pos x="csX387" y="csY387"/>
              </a:cxn>
              <a:cxn ang="0">
                <a:pos x="csX388" y="csY388"/>
              </a:cxn>
              <a:cxn ang="0">
                <a:pos x="csX389" y="csY389"/>
              </a:cxn>
              <a:cxn ang="0">
                <a:pos x="csX390" y="csY390"/>
              </a:cxn>
              <a:cxn ang="0">
                <a:pos x="csX391" y="csY391"/>
              </a:cxn>
              <a:cxn ang="0">
                <a:pos x="csX392" y="csY392"/>
              </a:cxn>
              <a:cxn ang="0">
                <a:pos x="csX393" y="csY393"/>
              </a:cxn>
              <a:cxn ang="0">
                <a:pos x="csX394" y="csY394"/>
              </a:cxn>
              <a:cxn ang="0">
                <a:pos x="csX395" y="csY395"/>
              </a:cxn>
              <a:cxn ang="0">
                <a:pos x="csX396" y="csY396"/>
              </a:cxn>
              <a:cxn ang="0">
                <a:pos x="csX397" y="csY397"/>
              </a:cxn>
              <a:cxn ang="0">
                <a:pos x="csX398" y="csY398"/>
              </a:cxn>
              <a:cxn ang="0">
                <a:pos x="csX399" y="csY399"/>
              </a:cxn>
              <a:cxn ang="0">
                <a:pos x="csX400" y="csY400"/>
              </a:cxn>
              <a:cxn ang="0">
                <a:pos x="csX401" y="csY401"/>
              </a:cxn>
              <a:cxn ang="0">
                <a:pos x="csX402" y="csY402"/>
              </a:cxn>
              <a:cxn ang="0">
                <a:pos x="csX403" y="csY403"/>
              </a:cxn>
              <a:cxn ang="0">
                <a:pos x="csX404" y="csY404"/>
              </a:cxn>
              <a:cxn ang="0">
                <a:pos x="csX405" y="csY405"/>
              </a:cxn>
              <a:cxn ang="0">
                <a:pos x="csX406" y="csY406"/>
              </a:cxn>
              <a:cxn ang="0">
                <a:pos x="csX407" y="csY407"/>
              </a:cxn>
              <a:cxn ang="0">
                <a:pos x="csX408" y="csY408"/>
              </a:cxn>
              <a:cxn ang="0">
                <a:pos x="csX409" y="csY409"/>
              </a:cxn>
              <a:cxn ang="0">
                <a:pos x="csX410" y="csY410"/>
              </a:cxn>
              <a:cxn ang="0">
                <a:pos x="csX411" y="csY411"/>
              </a:cxn>
              <a:cxn ang="0">
                <a:pos x="csX412" y="csY412"/>
              </a:cxn>
              <a:cxn ang="0">
                <a:pos x="csX413" y="csY413"/>
              </a:cxn>
              <a:cxn ang="0">
                <a:pos x="csX414" y="csY414"/>
              </a:cxn>
              <a:cxn ang="0">
                <a:pos x="csX415" y="csY415"/>
              </a:cxn>
              <a:cxn ang="0">
                <a:pos x="csX416" y="csY416"/>
              </a:cxn>
              <a:cxn ang="0">
                <a:pos x="csX417" y="csY417"/>
              </a:cxn>
              <a:cxn ang="0">
                <a:pos x="csX418" y="csY418"/>
              </a:cxn>
              <a:cxn ang="0">
                <a:pos x="csX419" y="csY419"/>
              </a:cxn>
              <a:cxn ang="0">
                <a:pos x="csX420" y="csY420"/>
              </a:cxn>
              <a:cxn ang="0">
                <a:pos x="csX421" y="csY421"/>
              </a:cxn>
              <a:cxn ang="0">
                <a:pos x="csX422" y="csY422"/>
              </a:cxn>
              <a:cxn ang="0">
                <a:pos x="csX423" y="csY423"/>
              </a:cxn>
              <a:cxn ang="0">
                <a:pos x="csX424" y="csY424"/>
              </a:cxn>
              <a:cxn ang="0">
                <a:pos x="csX425" y="csY425"/>
              </a:cxn>
              <a:cxn ang="0">
                <a:pos x="csX426" y="csY426"/>
              </a:cxn>
              <a:cxn ang="0">
                <a:pos x="csX427" y="csY427"/>
              </a:cxn>
              <a:cxn ang="0">
                <a:pos x="csX428" y="csY428"/>
              </a:cxn>
              <a:cxn ang="0">
                <a:pos x="csX429" y="csY429"/>
              </a:cxn>
              <a:cxn ang="0">
                <a:pos x="csX430" y="csY430"/>
              </a:cxn>
              <a:cxn ang="0">
                <a:pos x="csX431" y="csY431"/>
              </a:cxn>
              <a:cxn ang="0">
                <a:pos x="csX432" y="csY432"/>
              </a:cxn>
              <a:cxn ang="0">
                <a:pos x="csX433" y="csY433"/>
              </a:cxn>
              <a:cxn ang="0">
                <a:pos x="csX434" y="csY434"/>
              </a:cxn>
              <a:cxn ang="0">
                <a:pos x="csX435" y="csY435"/>
              </a:cxn>
              <a:cxn ang="0">
                <a:pos x="csX436" y="csY436"/>
              </a:cxn>
              <a:cxn ang="0">
                <a:pos x="csX437" y="csY437"/>
              </a:cxn>
              <a:cxn ang="0">
                <a:pos x="csX438" y="csY438"/>
              </a:cxn>
              <a:cxn ang="0">
                <a:pos x="csX439" y="csY439"/>
              </a:cxn>
              <a:cxn ang="0">
                <a:pos x="csX440" y="csY440"/>
              </a:cxn>
              <a:cxn ang="0">
                <a:pos x="csX441" y="csY441"/>
              </a:cxn>
              <a:cxn ang="0">
                <a:pos x="csX442" y="csY442"/>
              </a:cxn>
              <a:cxn ang="0">
                <a:pos x="csX443" y="csY443"/>
              </a:cxn>
              <a:cxn ang="0">
                <a:pos x="csX444" y="csY444"/>
              </a:cxn>
              <a:cxn ang="0">
                <a:pos x="csX445" y="csY445"/>
              </a:cxn>
              <a:cxn ang="0">
                <a:pos x="csX446" y="csY446"/>
              </a:cxn>
              <a:cxn ang="0">
                <a:pos x="csX447" y="csY447"/>
              </a:cxn>
              <a:cxn ang="0">
                <a:pos x="csX448" y="csY448"/>
              </a:cxn>
              <a:cxn ang="0">
                <a:pos x="csX449" y="csY449"/>
              </a:cxn>
              <a:cxn ang="0">
                <a:pos x="csX450" y="csY450"/>
              </a:cxn>
              <a:cxn ang="0">
                <a:pos x="csX451" y="csY451"/>
              </a:cxn>
              <a:cxn ang="0">
                <a:pos x="csX452" y="csY452"/>
              </a:cxn>
              <a:cxn ang="0">
                <a:pos x="csX453" y="csY453"/>
              </a:cxn>
              <a:cxn ang="0">
                <a:pos x="csX454" y="csY454"/>
              </a:cxn>
              <a:cxn ang="0">
                <a:pos x="csX455" y="csY455"/>
              </a:cxn>
              <a:cxn ang="0">
                <a:pos x="csX456" y="csY456"/>
              </a:cxn>
              <a:cxn ang="0">
                <a:pos x="csX457" y="csY457"/>
              </a:cxn>
              <a:cxn ang="0">
                <a:pos x="csX458" y="csY458"/>
              </a:cxn>
              <a:cxn ang="0">
                <a:pos x="csX459" y="csY459"/>
              </a:cxn>
              <a:cxn ang="0">
                <a:pos x="csX460" y="csY460"/>
              </a:cxn>
              <a:cxn ang="0">
                <a:pos x="csX461" y="csY461"/>
              </a:cxn>
              <a:cxn ang="0">
                <a:pos x="csX462" y="csY462"/>
              </a:cxn>
              <a:cxn ang="0">
                <a:pos x="csX463" y="csY463"/>
              </a:cxn>
              <a:cxn ang="0">
                <a:pos x="csX464" y="csY464"/>
              </a:cxn>
              <a:cxn ang="0">
                <a:pos x="csX465" y="csY465"/>
              </a:cxn>
              <a:cxn ang="0">
                <a:pos x="csX466" y="csY466"/>
              </a:cxn>
              <a:cxn ang="0">
                <a:pos x="csX467" y="csY467"/>
              </a:cxn>
              <a:cxn ang="0">
                <a:pos x="csX468" y="csY468"/>
              </a:cxn>
              <a:cxn ang="0">
                <a:pos x="csX469" y="csY469"/>
              </a:cxn>
              <a:cxn ang="0">
                <a:pos x="csX470" y="csY470"/>
              </a:cxn>
              <a:cxn ang="0">
                <a:pos x="csX471" y="csY471"/>
              </a:cxn>
              <a:cxn ang="0">
                <a:pos x="csX472" y="csY472"/>
              </a:cxn>
              <a:cxn ang="0">
                <a:pos x="csX473" y="csY473"/>
              </a:cxn>
              <a:cxn ang="0">
                <a:pos x="csX474" y="csY474"/>
              </a:cxn>
              <a:cxn ang="0">
                <a:pos x="csX475" y="csY475"/>
              </a:cxn>
              <a:cxn ang="0">
                <a:pos x="csX476" y="csY476"/>
              </a:cxn>
              <a:cxn ang="0">
                <a:pos x="csX477" y="csY477"/>
              </a:cxn>
              <a:cxn ang="0">
                <a:pos x="csX478" y="csY478"/>
              </a:cxn>
              <a:cxn ang="0">
                <a:pos x="csX479" y="csY479"/>
              </a:cxn>
              <a:cxn ang="0">
                <a:pos x="csX480" y="csY480"/>
              </a:cxn>
              <a:cxn ang="0">
                <a:pos x="csX481" y="csY481"/>
              </a:cxn>
              <a:cxn ang="0">
                <a:pos x="csX482" y="csY482"/>
              </a:cxn>
              <a:cxn ang="0">
                <a:pos x="csX483" y="csY483"/>
              </a:cxn>
              <a:cxn ang="0">
                <a:pos x="csX484" y="csY484"/>
              </a:cxn>
              <a:cxn ang="0">
                <a:pos x="csX485" y="csY485"/>
              </a:cxn>
              <a:cxn ang="0">
                <a:pos x="csX486" y="csY486"/>
              </a:cxn>
              <a:cxn ang="0">
                <a:pos x="csX487" y="csY487"/>
              </a:cxn>
              <a:cxn ang="0">
                <a:pos x="csX488" y="csY488"/>
              </a:cxn>
              <a:cxn ang="0">
                <a:pos x="csX489" y="csY489"/>
              </a:cxn>
              <a:cxn ang="0">
                <a:pos x="csX490" y="csY490"/>
              </a:cxn>
              <a:cxn ang="0">
                <a:pos x="csX491" y="csY491"/>
              </a:cxn>
              <a:cxn ang="0">
                <a:pos x="csX492" y="csY492"/>
              </a:cxn>
              <a:cxn ang="0">
                <a:pos x="csX493" y="csY493"/>
              </a:cxn>
              <a:cxn ang="0">
                <a:pos x="csX494" y="csY494"/>
              </a:cxn>
              <a:cxn ang="0">
                <a:pos x="csX495" y="csY495"/>
              </a:cxn>
              <a:cxn ang="0">
                <a:pos x="csX496" y="csY496"/>
              </a:cxn>
              <a:cxn ang="0">
                <a:pos x="csX497" y="csY497"/>
              </a:cxn>
              <a:cxn ang="0">
                <a:pos x="csX498" y="csY498"/>
              </a:cxn>
              <a:cxn ang="0">
                <a:pos x="csX499" y="csY499"/>
              </a:cxn>
              <a:cxn ang="0">
                <a:pos x="csX500" y="csY500"/>
              </a:cxn>
              <a:cxn ang="0">
                <a:pos x="csX501" y="csY501"/>
              </a:cxn>
              <a:cxn ang="0">
                <a:pos x="csX502" y="csY502"/>
              </a:cxn>
              <a:cxn ang="0">
                <a:pos x="csX503" y="csY503"/>
              </a:cxn>
              <a:cxn ang="0">
                <a:pos x="csX504" y="csY504"/>
              </a:cxn>
              <a:cxn ang="0">
                <a:pos x="csX505" y="csY505"/>
              </a:cxn>
              <a:cxn ang="0">
                <a:pos x="csX506" y="csY506"/>
              </a:cxn>
              <a:cxn ang="0">
                <a:pos x="csX507" y="csY507"/>
              </a:cxn>
              <a:cxn ang="0">
                <a:pos x="csX508" y="csY508"/>
              </a:cxn>
              <a:cxn ang="0">
                <a:pos x="csX509" y="csY509"/>
              </a:cxn>
              <a:cxn ang="0">
                <a:pos x="csX510" y="csY510"/>
              </a:cxn>
              <a:cxn ang="0">
                <a:pos x="csX511" y="csY511"/>
              </a:cxn>
              <a:cxn ang="0">
                <a:pos x="csX512" y="csY512"/>
              </a:cxn>
              <a:cxn ang="0">
                <a:pos x="csX513" y="csY513"/>
              </a:cxn>
              <a:cxn ang="0">
                <a:pos x="csX514" y="csY514"/>
              </a:cxn>
              <a:cxn ang="0">
                <a:pos x="csX515" y="csY515"/>
              </a:cxn>
              <a:cxn ang="0">
                <a:pos x="csX516" y="csY516"/>
              </a:cxn>
              <a:cxn ang="0">
                <a:pos x="csX517" y="csY517"/>
              </a:cxn>
              <a:cxn ang="0">
                <a:pos x="csX518" y="csY518"/>
              </a:cxn>
              <a:cxn ang="0">
                <a:pos x="csX519" y="csY519"/>
              </a:cxn>
              <a:cxn ang="0">
                <a:pos x="csX520" y="csY520"/>
              </a:cxn>
              <a:cxn ang="0">
                <a:pos x="csX521" y="csY521"/>
              </a:cxn>
              <a:cxn ang="0">
                <a:pos x="csX522" y="csY522"/>
              </a:cxn>
              <a:cxn ang="0">
                <a:pos x="csX523" y="csY523"/>
              </a:cxn>
              <a:cxn ang="0">
                <a:pos x="csX524" y="csY524"/>
              </a:cxn>
              <a:cxn ang="0">
                <a:pos x="csX525" y="csY525"/>
              </a:cxn>
              <a:cxn ang="0">
                <a:pos x="csX526" y="csY526"/>
              </a:cxn>
              <a:cxn ang="0">
                <a:pos x="csX527" y="csY527"/>
              </a:cxn>
              <a:cxn ang="0">
                <a:pos x="csX528" y="csY528"/>
              </a:cxn>
              <a:cxn ang="0">
                <a:pos x="csX529" y="csY529"/>
              </a:cxn>
              <a:cxn ang="0">
                <a:pos x="csX530" y="csY530"/>
              </a:cxn>
              <a:cxn ang="0">
                <a:pos x="csX531" y="csY531"/>
              </a:cxn>
              <a:cxn ang="0">
                <a:pos x="csX532" y="csY532"/>
              </a:cxn>
              <a:cxn ang="0">
                <a:pos x="csX533" y="csY533"/>
              </a:cxn>
              <a:cxn ang="0">
                <a:pos x="csX534" y="csY534"/>
              </a:cxn>
              <a:cxn ang="0">
                <a:pos x="csX535" y="csY535"/>
              </a:cxn>
              <a:cxn ang="0">
                <a:pos x="csX536" y="csY536"/>
              </a:cxn>
              <a:cxn ang="0">
                <a:pos x="csX537" y="csY537"/>
              </a:cxn>
              <a:cxn ang="0">
                <a:pos x="csX538" y="csY538"/>
              </a:cxn>
              <a:cxn ang="0">
                <a:pos x="csX539" y="csY539"/>
              </a:cxn>
              <a:cxn ang="0">
                <a:pos x="csX540" y="csY540"/>
              </a:cxn>
              <a:cxn ang="0">
                <a:pos x="csX541" y="csY541"/>
              </a:cxn>
              <a:cxn ang="0">
                <a:pos x="csX542" y="csY542"/>
              </a:cxn>
              <a:cxn ang="0">
                <a:pos x="csX543" y="csY543"/>
              </a:cxn>
              <a:cxn ang="0">
                <a:pos x="csX544" y="csY544"/>
              </a:cxn>
              <a:cxn ang="0">
                <a:pos x="csX545" y="csY545"/>
              </a:cxn>
              <a:cxn ang="0">
                <a:pos x="csX546" y="csY546"/>
              </a:cxn>
              <a:cxn ang="0">
                <a:pos x="csX547" y="csY547"/>
              </a:cxn>
              <a:cxn ang="0">
                <a:pos x="csX548" y="csY548"/>
              </a:cxn>
              <a:cxn ang="0">
                <a:pos x="csX549" y="csY549"/>
              </a:cxn>
              <a:cxn ang="0">
                <a:pos x="csX550" y="csY550"/>
              </a:cxn>
              <a:cxn ang="0">
                <a:pos x="csX551" y="csY551"/>
              </a:cxn>
              <a:cxn ang="0">
                <a:pos x="csX552" y="csY552"/>
              </a:cxn>
              <a:cxn ang="0">
                <a:pos x="csX553" y="csY553"/>
              </a:cxn>
              <a:cxn ang="0">
                <a:pos x="csX554" y="csY554"/>
              </a:cxn>
              <a:cxn ang="0">
                <a:pos x="csX555" y="csY555"/>
              </a:cxn>
              <a:cxn ang="0">
                <a:pos x="csX556" y="csY556"/>
              </a:cxn>
              <a:cxn ang="0">
                <a:pos x="csX557" y="csY557"/>
              </a:cxn>
              <a:cxn ang="0">
                <a:pos x="csX558" y="csY558"/>
              </a:cxn>
              <a:cxn ang="0">
                <a:pos x="csX559" y="csY559"/>
              </a:cxn>
              <a:cxn ang="0">
                <a:pos x="csX560" y="csY560"/>
              </a:cxn>
              <a:cxn ang="0">
                <a:pos x="csX561" y="csY561"/>
              </a:cxn>
              <a:cxn ang="0">
                <a:pos x="csX562" y="csY562"/>
              </a:cxn>
              <a:cxn ang="0">
                <a:pos x="csX563" y="csY563"/>
              </a:cxn>
              <a:cxn ang="0">
                <a:pos x="csX564" y="csY564"/>
              </a:cxn>
              <a:cxn ang="0">
                <a:pos x="csX565" y="csY565"/>
              </a:cxn>
              <a:cxn ang="0">
                <a:pos x="csX566" y="csY566"/>
              </a:cxn>
              <a:cxn ang="0">
                <a:pos x="csX567" y="csY567"/>
              </a:cxn>
              <a:cxn ang="0">
                <a:pos x="csX568" y="csY568"/>
              </a:cxn>
              <a:cxn ang="0">
                <a:pos x="csX569" y="csY569"/>
              </a:cxn>
              <a:cxn ang="0">
                <a:pos x="csX570" y="csY570"/>
              </a:cxn>
              <a:cxn ang="0">
                <a:pos x="csX571" y="csY571"/>
              </a:cxn>
              <a:cxn ang="0">
                <a:pos x="csX572" y="csY572"/>
              </a:cxn>
              <a:cxn ang="0">
                <a:pos x="csX573" y="csY573"/>
              </a:cxn>
              <a:cxn ang="0">
                <a:pos x="csX574" y="csY574"/>
              </a:cxn>
              <a:cxn ang="0">
                <a:pos x="csX575" y="csY575"/>
              </a:cxn>
              <a:cxn ang="0">
                <a:pos x="csX576" y="csY576"/>
              </a:cxn>
              <a:cxn ang="0">
                <a:pos x="csX577" y="csY577"/>
              </a:cxn>
              <a:cxn ang="0">
                <a:pos x="csX578" y="csY578"/>
              </a:cxn>
              <a:cxn ang="0">
                <a:pos x="csX579" y="csY579"/>
              </a:cxn>
              <a:cxn ang="0">
                <a:pos x="csX580" y="csY580"/>
              </a:cxn>
              <a:cxn ang="0">
                <a:pos x="csX581" y="csY581"/>
              </a:cxn>
              <a:cxn ang="0">
                <a:pos x="csX582" y="csY582"/>
              </a:cxn>
              <a:cxn ang="0">
                <a:pos x="csX583" y="csY583"/>
              </a:cxn>
              <a:cxn ang="0">
                <a:pos x="csX584" y="csY584"/>
              </a:cxn>
              <a:cxn ang="0">
                <a:pos x="csX585" y="csY585"/>
              </a:cxn>
              <a:cxn ang="0">
                <a:pos x="csX586" y="csY586"/>
              </a:cxn>
              <a:cxn ang="0">
                <a:pos x="csX587" y="csY587"/>
              </a:cxn>
              <a:cxn ang="0">
                <a:pos x="csX588" y="csY588"/>
              </a:cxn>
              <a:cxn ang="0">
                <a:pos x="csX589" y="csY589"/>
              </a:cxn>
              <a:cxn ang="0">
                <a:pos x="csX590" y="csY590"/>
              </a:cxn>
              <a:cxn ang="0">
                <a:pos x="csX591" y="csY591"/>
              </a:cxn>
              <a:cxn ang="0">
                <a:pos x="csX592" y="csY592"/>
              </a:cxn>
              <a:cxn ang="0">
                <a:pos x="csX593" y="csY593"/>
              </a:cxn>
              <a:cxn ang="0">
                <a:pos x="csX594" y="csY594"/>
              </a:cxn>
              <a:cxn ang="0">
                <a:pos x="csX595" y="csY595"/>
              </a:cxn>
              <a:cxn ang="0">
                <a:pos x="csX596" y="csY596"/>
              </a:cxn>
              <a:cxn ang="0">
                <a:pos x="csX597" y="csY597"/>
              </a:cxn>
              <a:cxn ang="0">
                <a:pos x="csX598" y="csY598"/>
              </a:cxn>
              <a:cxn ang="0">
                <a:pos x="csX599" y="csY599"/>
              </a:cxn>
              <a:cxn ang="0">
                <a:pos x="csX600" y="csY600"/>
              </a:cxn>
              <a:cxn ang="0">
                <a:pos x="csX601" y="csY601"/>
              </a:cxn>
              <a:cxn ang="0">
                <a:pos x="csX602" y="csY602"/>
              </a:cxn>
              <a:cxn ang="0">
                <a:pos x="csX603" y="csY603"/>
              </a:cxn>
              <a:cxn ang="0">
                <a:pos x="csX604" y="csY604"/>
              </a:cxn>
              <a:cxn ang="0">
                <a:pos x="csX605" y="csY605"/>
              </a:cxn>
              <a:cxn ang="0">
                <a:pos x="csX606" y="csY606"/>
              </a:cxn>
              <a:cxn ang="0">
                <a:pos x="csX607" y="csY607"/>
              </a:cxn>
              <a:cxn ang="0">
                <a:pos x="csX608" y="csY608"/>
              </a:cxn>
              <a:cxn ang="0">
                <a:pos x="csX609" y="csY609"/>
              </a:cxn>
              <a:cxn ang="0">
                <a:pos x="csX610" y="csY610"/>
              </a:cxn>
              <a:cxn ang="0">
                <a:pos x="csX611" y="csY611"/>
              </a:cxn>
              <a:cxn ang="0">
                <a:pos x="csX612" y="csY612"/>
              </a:cxn>
              <a:cxn ang="0">
                <a:pos x="csX613" y="csY613"/>
              </a:cxn>
              <a:cxn ang="0">
                <a:pos x="csX614" y="csY614"/>
              </a:cxn>
              <a:cxn ang="0">
                <a:pos x="csX615" y="csY615"/>
              </a:cxn>
              <a:cxn ang="0">
                <a:pos x="csX616" y="csY616"/>
              </a:cxn>
              <a:cxn ang="0">
                <a:pos x="csX617" y="csY617"/>
              </a:cxn>
              <a:cxn ang="0">
                <a:pos x="csX618" y="csY618"/>
              </a:cxn>
              <a:cxn ang="0">
                <a:pos x="csX619" y="csY619"/>
              </a:cxn>
              <a:cxn ang="0">
                <a:pos x="csX620" y="csY620"/>
              </a:cxn>
              <a:cxn ang="0">
                <a:pos x="csX621" y="csY621"/>
              </a:cxn>
              <a:cxn ang="0">
                <a:pos x="csX622" y="csY622"/>
              </a:cxn>
              <a:cxn ang="0">
                <a:pos x="csX623" y="csY623"/>
              </a:cxn>
              <a:cxn ang="0">
                <a:pos x="csX624" y="csY624"/>
              </a:cxn>
              <a:cxn ang="0">
                <a:pos x="csX625" y="csY625"/>
              </a:cxn>
              <a:cxn ang="0">
                <a:pos x="csX626" y="csY626"/>
              </a:cxn>
              <a:cxn ang="0">
                <a:pos x="csX627" y="csY627"/>
              </a:cxn>
              <a:cxn ang="0">
                <a:pos x="csX628" y="csY628"/>
              </a:cxn>
              <a:cxn ang="0">
                <a:pos x="csX629" y="csY629"/>
              </a:cxn>
              <a:cxn ang="0">
                <a:pos x="csX630" y="csY630"/>
              </a:cxn>
              <a:cxn ang="0">
                <a:pos x="csX631" y="csY631"/>
              </a:cxn>
              <a:cxn ang="0">
                <a:pos x="csX632" y="csY632"/>
              </a:cxn>
              <a:cxn ang="0">
                <a:pos x="csX633" y="csY633"/>
              </a:cxn>
              <a:cxn ang="0">
                <a:pos x="csX634" y="csY634"/>
              </a:cxn>
              <a:cxn ang="0">
                <a:pos x="csX635" y="csY635"/>
              </a:cxn>
              <a:cxn ang="0">
                <a:pos x="csX636" y="csY636"/>
              </a:cxn>
              <a:cxn ang="0">
                <a:pos x="csX637" y="csY637"/>
              </a:cxn>
              <a:cxn ang="0">
                <a:pos x="csX638" y="csY638"/>
              </a:cxn>
              <a:cxn ang="0">
                <a:pos x="csX639" y="csY639"/>
              </a:cxn>
              <a:cxn ang="0">
                <a:pos x="csX640" y="csY640"/>
              </a:cxn>
              <a:cxn ang="0">
                <a:pos x="csX641" y="csY641"/>
              </a:cxn>
              <a:cxn ang="0">
                <a:pos x="csX642" y="csY642"/>
              </a:cxn>
              <a:cxn ang="0">
                <a:pos x="csX643" y="csY643"/>
              </a:cxn>
              <a:cxn ang="0">
                <a:pos x="csX644" y="csY644"/>
              </a:cxn>
              <a:cxn ang="0">
                <a:pos x="csX645" y="csY645"/>
              </a:cxn>
              <a:cxn ang="0">
                <a:pos x="csX646" y="csY646"/>
              </a:cxn>
              <a:cxn ang="0">
                <a:pos x="csX647" y="csY647"/>
              </a:cxn>
              <a:cxn ang="0">
                <a:pos x="csX648" y="csY648"/>
              </a:cxn>
              <a:cxn ang="0">
                <a:pos x="csX649" y="csY649"/>
              </a:cxn>
              <a:cxn ang="0">
                <a:pos x="csX650" y="csY650"/>
              </a:cxn>
              <a:cxn ang="0">
                <a:pos x="csX651" y="csY651"/>
              </a:cxn>
              <a:cxn ang="0">
                <a:pos x="csX652" y="csY652"/>
              </a:cxn>
              <a:cxn ang="0">
                <a:pos x="csX653" y="csY653"/>
              </a:cxn>
              <a:cxn ang="0">
                <a:pos x="csX654" y="csY654"/>
              </a:cxn>
              <a:cxn ang="0">
                <a:pos x="csX655" y="csY655"/>
              </a:cxn>
              <a:cxn ang="0">
                <a:pos x="csX656" y="csY656"/>
              </a:cxn>
              <a:cxn ang="0">
                <a:pos x="csX657" y="csY657"/>
              </a:cxn>
              <a:cxn ang="0">
                <a:pos x="csX658" y="csY658"/>
              </a:cxn>
              <a:cxn ang="0">
                <a:pos x="csX659" y="csY659"/>
              </a:cxn>
              <a:cxn ang="0">
                <a:pos x="csX660" y="csY660"/>
              </a:cxn>
              <a:cxn ang="0">
                <a:pos x="csX661" y="csY661"/>
              </a:cxn>
              <a:cxn ang="0">
                <a:pos x="csX662" y="csY662"/>
              </a:cxn>
              <a:cxn ang="0">
                <a:pos x="csX663" y="csY663"/>
              </a:cxn>
              <a:cxn ang="0">
                <a:pos x="csX664" y="csY664"/>
              </a:cxn>
              <a:cxn ang="0">
                <a:pos x="csX665" y="csY665"/>
              </a:cxn>
              <a:cxn ang="0">
                <a:pos x="csX666" y="csY666"/>
              </a:cxn>
              <a:cxn ang="0">
                <a:pos x="csX667" y="csY667"/>
              </a:cxn>
              <a:cxn ang="0">
                <a:pos x="csX668" y="csY668"/>
              </a:cxn>
              <a:cxn ang="0">
                <a:pos x="csX669" y="csY669"/>
              </a:cxn>
              <a:cxn ang="0">
                <a:pos x="csX670" y="csY670"/>
              </a:cxn>
              <a:cxn ang="0">
                <a:pos x="csX671" y="csY671"/>
              </a:cxn>
              <a:cxn ang="0">
                <a:pos x="csX672" y="csY672"/>
              </a:cxn>
              <a:cxn ang="0">
                <a:pos x="csX673" y="csY673"/>
              </a:cxn>
              <a:cxn ang="0">
                <a:pos x="csX674" y="csY674"/>
              </a:cxn>
              <a:cxn ang="0">
                <a:pos x="csX675" y="csY675"/>
              </a:cxn>
              <a:cxn ang="0">
                <a:pos x="csX676" y="csY676"/>
              </a:cxn>
              <a:cxn ang="0">
                <a:pos x="csX677" y="csY677"/>
              </a:cxn>
              <a:cxn ang="0">
                <a:pos x="csX678" y="csY678"/>
              </a:cxn>
              <a:cxn ang="0">
                <a:pos x="csX679" y="csY679"/>
              </a:cxn>
              <a:cxn ang="0">
                <a:pos x="csX680" y="csY680"/>
              </a:cxn>
              <a:cxn ang="0">
                <a:pos x="csX681" y="csY681"/>
              </a:cxn>
              <a:cxn ang="0">
                <a:pos x="csX682" y="csY682"/>
              </a:cxn>
              <a:cxn ang="0">
                <a:pos x="csX683" y="csY683"/>
              </a:cxn>
              <a:cxn ang="0">
                <a:pos x="csX684" y="csY684"/>
              </a:cxn>
              <a:cxn ang="0">
                <a:pos x="csX685" y="csY685"/>
              </a:cxn>
              <a:cxn ang="0">
                <a:pos x="csX686" y="csY686"/>
              </a:cxn>
              <a:cxn ang="0">
                <a:pos x="csX687" y="csY687"/>
              </a:cxn>
              <a:cxn ang="0">
                <a:pos x="csX688" y="csY688"/>
              </a:cxn>
              <a:cxn ang="0">
                <a:pos x="csX689" y="csY689"/>
              </a:cxn>
              <a:cxn ang="0">
                <a:pos x="csX690" y="csY690"/>
              </a:cxn>
              <a:cxn ang="0">
                <a:pos x="csX691" y="csY691"/>
              </a:cxn>
              <a:cxn ang="0">
                <a:pos x="csX692" y="csY692"/>
              </a:cxn>
              <a:cxn ang="0">
                <a:pos x="csX693" y="csY693"/>
              </a:cxn>
              <a:cxn ang="0">
                <a:pos x="csX694" y="csY694"/>
              </a:cxn>
              <a:cxn ang="0">
                <a:pos x="csX695" y="csY695"/>
              </a:cxn>
              <a:cxn ang="0">
                <a:pos x="csX696" y="csY696"/>
              </a:cxn>
              <a:cxn ang="0">
                <a:pos x="csX697" y="csY697"/>
              </a:cxn>
              <a:cxn ang="0">
                <a:pos x="csX698" y="csY698"/>
              </a:cxn>
              <a:cxn ang="0">
                <a:pos x="csX699" y="csY699"/>
              </a:cxn>
              <a:cxn ang="0">
                <a:pos x="csX700" y="csY700"/>
              </a:cxn>
              <a:cxn ang="0">
                <a:pos x="csX701" y="csY701"/>
              </a:cxn>
              <a:cxn ang="0">
                <a:pos x="csX702" y="csY702"/>
              </a:cxn>
              <a:cxn ang="0">
                <a:pos x="csX703" y="csY703"/>
              </a:cxn>
              <a:cxn ang="0">
                <a:pos x="csX704" y="csY704"/>
              </a:cxn>
              <a:cxn ang="0">
                <a:pos x="csX705" y="csY705"/>
              </a:cxn>
              <a:cxn ang="0">
                <a:pos x="csX706" y="csY706"/>
              </a:cxn>
              <a:cxn ang="0">
                <a:pos x="csX707" y="csY707"/>
              </a:cxn>
              <a:cxn ang="0">
                <a:pos x="csX708" y="csY708"/>
              </a:cxn>
              <a:cxn ang="0">
                <a:pos x="csX709" y="csY709"/>
              </a:cxn>
              <a:cxn ang="0">
                <a:pos x="csX710" y="csY710"/>
              </a:cxn>
              <a:cxn ang="0">
                <a:pos x="csX711" y="csY711"/>
              </a:cxn>
              <a:cxn ang="0">
                <a:pos x="csX712" y="csY712"/>
              </a:cxn>
              <a:cxn ang="0">
                <a:pos x="csX713" y="csY713"/>
              </a:cxn>
              <a:cxn ang="0">
                <a:pos x="csX714" y="csY714"/>
              </a:cxn>
              <a:cxn ang="0">
                <a:pos x="csX715" y="csY715"/>
              </a:cxn>
              <a:cxn ang="0">
                <a:pos x="csX716" y="csY716"/>
              </a:cxn>
              <a:cxn ang="0">
                <a:pos x="csX717" y="csY717"/>
              </a:cxn>
              <a:cxn ang="0">
                <a:pos x="csX718" y="csY718"/>
              </a:cxn>
              <a:cxn ang="0">
                <a:pos x="csX719" y="csY719"/>
              </a:cxn>
              <a:cxn ang="0">
                <a:pos x="csX720" y="csY720"/>
              </a:cxn>
              <a:cxn ang="0">
                <a:pos x="csX721" y="csY721"/>
              </a:cxn>
              <a:cxn ang="0">
                <a:pos x="csX722" y="csY722"/>
              </a:cxn>
              <a:cxn ang="0">
                <a:pos x="csX723" y="csY723"/>
              </a:cxn>
              <a:cxn ang="0">
                <a:pos x="csX724" y="csY724"/>
              </a:cxn>
              <a:cxn ang="0">
                <a:pos x="csX725" y="csY725"/>
              </a:cxn>
              <a:cxn ang="0">
                <a:pos x="csX726" y="csY726"/>
              </a:cxn>
              <a:cxn ang="0">
                <a:pos x="csX727" y="csY727"/>
              </a:cxn>
              <a:cxn ang="0">
                <a:pos x="csX728" y="csY728"/>
              </a:cxn>
              <a:cxn ang="0">
                <a:pos x="csX729" y="csY729"/>
              </a:cxn>
              <a:cxn ang="0">
                <a:pos x="csX730" y="csY730"/>
              </a:cxn>
              <a:cxn ang="0">
                <a:pos x="csX731" y="csY731"/>
              </a:cxn>
              <a:cxn ang="0">
                <a:pos x="csX732" y="csY732"/>
              </a:cxn>
              <a:cxn ang="0">
                <a:pos x="csX733" y="csY733"/>
              </a:cxn>
              <a:cxn ang="0">
                <a:pos x="csX734" y="csY734"/>
              </a:cxn>
              <a:cxn ang="0">
                <a:pos x="csX735" y="csY735"/>
              </a:cxn>
              <a:cxn ang="0">
                <a:pos x="csX736" y="csY736"/>
              </a:cxn>
              <a:cxn ang="0">
                <a:pos x="csX737" y="csY737"/>
              </a:cxn>
              <a:cxn ang="0">
                <a:pos x="csX738" y="csY738"/>
              </a:cxn>
              <a:cxn ang="0">
                <a:pos x="csX739" y="csY739"/>
              </a:cxn>
              <a:cxn ang="0">
                <a:pos x="csX740" y="csY740"/>
              </a:cxn>
              <a:cxn ang="0">
                <a:pos x="csX741" y="csY741"/>
              </a:cxn>
              <a:cxn ang="0">
                <a:pos x="csX742" y="csY742"/>
              </a:cxn>
              <a:cxn ang="0">
                <a:pos x="csX743" y="csY743"/>
              </a:cxn>
              <a:cxn ang="0">
                <a:pos x="csX744" y="csY744"/>
              </a:cxn>
              <a:cxn ang="0">
                <a:pos x="csX745" y="csY745"/>
              </a:cxn>
              <a:cxn ang="0">
                <a:pos x="csX746" y="csY746"/>
              </a:cxn>
              <a:cxn ang="0">
                <a:pos x="csX747" y="csY747"/>
              </a:cxn>
              <a:cxn ang="0">
                <a:pos x="csX748" y="csY748"/>
              </a:cxn>
              <a:cxn ang="0">
                <a:pos x="csX749" y="csY749"/>
              </a:cxn>
              <a:cxn ang="0">
                <a:pos x="csX750" y="csY750"/>
              </a:cxn>
              <a:cxn ang="0">
                <a:pos x="csX751" y="csY751"/>
              </a:cxn>
              <a:cxn ang="0">
                <a:pos x="csX752" y="csY752"/>
              </a:cxn>
              <a:cxn ang="0">
                <a:pos x="csX753" y="csY753"/>
              </a:cxn>
              <a:cxn ang="0">
                <a:pos x="csX754" y="csY754"/>
              </a:cxn>
              <a:cxn ang="0">
                <a:pos x="csX755" y="csY755"/>
              </a:cxn>
              <a:cxn ang="0">
                <a:pos x="csX756" y="csY756"/>
              </a:cxn>
              <a:cxn ang="0">
                <a:pos x="csX757" y="csY757"/>
              </a:cxn>
              <a:cxn ang="0">
                <a:pos x="csX758" y="csY758"/>
              </a:cxn>
              <a:cxn ang="0">
                <a:pos x="csX759" y="csY759"/>
              </a:cxn>
              <a:cxn ang="0">
                <a:pos x="csX760" y="csY760"/>
              </a:cxn>
              <a:cxn ang="0">
                <a:pos x="csX761" y="csY761"/>
              </a:cxn>
              <a:cxn ang="0">
                <a:pos x="csX762" y="csY762"/>
              </a:cxn>
              <a:cxn ang="0">
                <a:pos x="csX763" y="csY763"/>
              </a:cxn>
              <a:cxn ang="0">
                <a:pos x="csX764" y="csY764"/>
              </a:cxn>
              <a:cxn ang="0">
                <a:pos x="csX765" y="csY765"/>
              </a:cxn>
              <a:cxn ang="0">
                <a:pos x="csX766" y="csY766"/>
              </a:cxn>
              <a:cxn ang="0">
                <a:pos x="csX767" y="csY767"/>
              </a:cxn>
              <a:cxn ang="0">
                <a:pos x="csX768" y="csY768"/>
              </a:cxn>
              <a:cxn ang="0">
                <a:pos x="csX769" y="csY769"/>
              </a:cxn>
              <a:cxn ang="0">
                <a:pos x="csX770" y="csY770"/>
              </a:cxn>
              <a:cxn ang="0">
                <a:pos x="csX771" y="csY771"/>
              </a:cxn>
              <a:cxn ang="0">
                <a:pos x="csX772" y="csY772"/>
              </a:cxn>
              <a:cxn ang="0">
                <a:pos x="csX773" y="csY773"/>
              </a:cxn>
              <a:cxn ang="0">
                <a:pos x="csX774" y="csY774"/>
              </a:cxn>
              <a:cxn ang="0">
                <a:pos x="csX775" y="csY775"/>
              </a:cxn>
              <a:cxn ang="0">
                <a:pos x="csX776" y="csY776"/>
              </a:cxn>
              <a:cxn ang="0">
                <a:pos x="csX777" y="csY777"/>
              </a:cxn>
              <a:cxn ang="0">
                <a:pos x="csX778" y="csY778"/>
              </a:cxn>
              <a:cxn ang="0">
                <a:pos x="csX779" y="csY779"/>
              </a:cxn>
              <a:cxn ang="0">
                <a:pos x="csX780" y="csY780"/>
              </a:cxn>
              <a:cxn ang="0">
                <a:pos x="csX781" y="csY781"/>
              </a:cxn>
              <a:cxn ang="0">
                <a:pos x="csX782" y="csY782"/>
              </a:cxn>
              <a:cxn ang="0">
                <a:pos x="csX783" y="csY783"/>
              </a:cxn>
              <a:cxn ang="0">
                <a:pos x="csX784" y="csY784"/>
              </a:cxn>
              <a:cxn ang="0">
                <a:pos x="csX785" y="csY785"/>
              </a:cxn>
              <a:cxn ang="0">
                <a:pos x="csX786" y="csY786"/>
              </a:cxn>
              <a:cxn ang="0">
                <a:pos x="csX787" y="csY787"/>
              </a:cxn>
              <a:cxn ang="0">
                <a:pos x="csX788" y="csY788"/>
              </a:cxn>
              <a:cxn ang="0">
                <a:pos x="csX789" y="csY789"/>
              </a:cxn>
              <a:cxn ang="0">
                <a:pos x="csX790" y="csY790"/>
              </a:cxn>
              <a:cxn ang="0">
                <a:pos x="csX791" y="csY791"/>
              </a:cxn>
              <a:cxn ang="0">
                <a:pos x="csX792" y="csY792"/>
              </a:cxn>
              <a:cxn ang="0">
                <a:pos x="csX793" y="csY793"/>
              </a:cxn>
              <a:cxn ang="0">
                <a:pos x="csX794" y="csY794"/>
              </a:cxn>
              <a:cxn ang="0">
                <a:pos x="csX795" y="csY795"/>
              </a:cxn>
              <a:cxn ang="0">
                <a:pos x="csX796" y="csY796"/>
              </a:cxn>
              <a:cxn ang="0">
                <a:pos x="csX797" y="csY797"/>
              </a:cxn>
              <a:cxn ang="0">
                <a:pos x="csX798" y="csY798"/>
              </a:cxn>
              <a:cxn ang="0">
                <a:pos x="csX799" y="csY799"/>
              </a:cxn>
              <a:cxn ang="0">
                <a:pos x="csX800" y="csY800"/>
              </a:cxn>
              <a:cxn ang="0">
                <a:pos x="csX801" y="csY801"/>
              </a:cxn>
              <a:cxn ang="0">
                <a:pos x="csX802" y="csY802"/>
              </a:cxn>
              <a:cxn ang="0">
                <a:pos x="csX803" y="csY803"/>
              </a:cxn>
              <a:cxn ang="0">
                <a:pos x="csX804" y="csY804"/>
              </a:cxn>
              <a:cxn ang="0">
                <a:pos x="csX805" y="csY805"/>
              </a:cxn>
              <a:cxn ang="0">
                <a:pos x="csX806" y="csY806"/>
              </a:cxn>
              <a:cxn ang="0">
                <a:pos x="csX807" y="csY807"/>
              </a:cxn>
              <a:cxn ang="0">
                <a:pos x="csX808" y="csY808"/>
              </a:cxn>
              <a:cxn ang="0">
                <a:pos x="csX809" y="csY809"/>
              </a:cxn>
              <a:cxn ang="0">
                <a:pos x="csX810" y="csY810"/>
              </a:cxn>
              <a:cxn ang="0">
                <a:pos x="csX811" y="csY811"/>
              </a:cxn>
              <a:cxn ang="0">
                <a:pos x="csX812" y="csY812"/>
              </a:cxn>
              <a:cxn ang="0">
                <a:pos x="csX813" y="csY813"/>
              </a:cxn>
              <a:cxn ang="0">
                <a:pos x="csX814" y="csY814"/>
              </a:cxn>
              <a:cxn ang="0">
                <a:pos x="csX815" y="csY815"/>
              </a:cxn>
              <a:cxn ang="0">
                <a:pos x="csX816" y="csY816"/>
              </a:cxn>
              <a:cxn ang="0">
                <a:pos x="csX817" y="csY817"/>
              </a:cxn>
              <a:cxn ang="0">
                <a:pos x="csX818" y="csY818"/>
              </a:cxn>
              <a:cxn ang="0">
                <a:pos x="csX819" y="csY819"/>
              </a:cxn>
              <a:cxn ang="0">
                <a:pos x="csX820" y="csY820"/>
              </a:cxn>
              <a:cxn ang="0">
                <a:pos x="csX821" y="csY821"/>
              </a:cxn>
              <a:cxn ang="0">
                <a:pos x="csX822" y="csY822"/>
              </a:cxn>
              <a:cxn ang="0">
                <a:pos x="csX823" y="csY823"/>
              </a:cxn>
              <a:cxn ang="0">
                <a:pos x="csX824" y="csY824"/>
              </a:cxn>
              <a:cxn ang="0">
                <a:pos x="csX825" y="csY825"/>
              </a:cxn>
              <a:cxn ang="0">
                <a:pos x="csX826" y="csY826"/>
              </a:cxn>
              <a:cxn ang="0">
                <a:pos x="csX827" y="csY827"/>
              </a:cxn>
              <a:cxn ang="0">
                <a:pos x="csX828" y="csY828"/>
              </a:cxn>
              <a:cxn ang="0">
                <a:pos x="csX829" y="csY829"/>
              </a:cxn>
              <a:cxn ang="0">
                <a:pos x="csX830" y="csY830"/>
              </a:cxn>
              <a:cxn ang="0">
                <a:pos x="csX831" y="csY831"/>
              </a:cxn>
              <a:cxn ang="0">
                <a:pos x="csX832" y="csY832"/>
              </a:cxn>
              <a:cxn ang="0">
                <a:pos x="csX833" y="csY833"/>
              </a:cxn>
              <a:cxn ang="0">
                <a:pos x="csX834" y="csY834"/>
              </a:cxn>
              <a:cxn ang="0">
                <a:pos x="csX835" y="csY835"/>
              </a:cxn>
              <a:cxn ang="0">
                <a:pos x="csX836" y="csY836"/>
              </a:cxn>
              <a:cxn ang="0">
                <a:pos x="csX837" y="csY837"/>
              </a:cxn>
              <a:cxn ang="0">
                <a:pos x="csX838" y="csY838"/>
              </a:cxn>
              <a:cxn ang="0">
                <a:pos x="csX839" y="csY839"/>
              </a:cxn>
              <a:cxn ang="0">
                <a:pos x="csX840" y="csY840"/>
              </a:cxn>
              <a:cxn ang="0">
                <a:pos x="csX841" y="csY841"/>
              </a:cxn>
              <a:cxn ang="0">
                <a:pos x="csX842" y="csY842"/>
              </a:cxn>
              <a:cxn ang="0">
                <a:pos x="csX843" y="csY843"/>
              </a:cxn>
              <a:cxn ang="0">
                <a:pos x="csX844" y="csY844"/>
              </a:cxn>
              <a:cxn ang="0">
                <a:pos x="csX845" y="csY845"/>
              </a:cxn>
              <a:cxn ang="0">
                <a:pos x="csX846" y="csY846"/>
              </a:cxn>
              <a:cxn ang="0">
                <a:pos x="csX847" y="csY847"/>
              </a:cxn>
              <a:cxn ang="0">
                <a:pos x="csX848" y="csY848"/>
              </a:cxn>
              <a:cxn ang="0">
                <a:pos x="csX849" y="csY849"/>
              </a:cxn>
              <a:cxn ang="0">
                <a:pos x="csX850" y="csY850"/>
              </a:cxn>
              <a:cxn ang="0">
                <a:pos x="csX851" y="csY851"/>
              </a:cxn>
              <a:cxn ang="0">
                <a:pos x="csX852" y="csY852"/>
              </a:cxn>
              <a:cxn ang="0">
                <a:pos x="csX853" y="csY853"/>
              </a:cxn>
              <a:cxn ang="0">
                <a:pos x="csX854" y="csY854"/>
              </a:cxn>
              <a:cxn ang="0">
                <a:pos x="csX855" y="csY855"/>
              </a:cxn>
              <a:cxn ang="0">
                <a:pos x="csX856" y="csY856"/>
              </a:cxn>
              <a:cxn ang="0">
                <a:pos x="csX857" y="csY857"/>
              </a:cxn>
              <a:cxn ang="0">
                <a:pos x="csX858" y="csY858"/>
              </a:cxn>
              <a:cxn ang="0">
                <a:pos x="csX859" y="csY859"/>
              </a:cxn>
              <a:cxn ang="0">
                <a:pos x="csX860" y="csY860"/>
              </a:cxn>
              <a:cxn ang="0">
                <a:pos x="csX861" y="csY861"/>
              </a:cxn>
              <a:cxn ang="0">
                <a:pos x="csX862" y="csY862"/>
              </a:cxn>
              <a:cxn ang="0">
                <a:pos x="csX863" y="csY863"/>
              </a:cxn>
              <a:cxn ang="0">
                <a:pos x="csX864" y="csY864"/>
              </a:cxn>
              <a:cxn ang="0">
                <a:pos x="csX865" y="csY865"/>
              </a:cxn>
              <a:cxn ang="0">
                <a:pos x="csX866" y="csY866"/>
              </a:cxn>
              <a:cxn ang="0">
                <a:pos x="csX867" y="csY867"/>
              </a:cxn>
              <a:cxn ang="0">
                <a:pos x="csX868" y="csY868"/>
              </a:cxn>
              <a:cxn ang="0">
                <a:pos x="csX869" y="csY869"/>
              </a:cxn>
              <a:cxn ang="0">
                <a:pos x="csX870" y="csY870"/>
              </a:cxn>
              <a:cxn ang="0">
                <a:pos x="csX871" y="csY871"/>
              </a:cxn>
              <a:cxn ang="0">
                <a:pos x="csX872" y="csY872"/>
              </a:cxn>
              <a:cxn ang="0">
                <a:pos x="csX873" y="csY873"/>
              </a:cxn>
              <a:cxn ang="0">
                <a:pos x="csX874" y="csY874"/>
              </a:cxn>
              <a:cxn ang="0">
                <a:pos x="csX875" y="csY875"/>
              </a:cxn>
              <a:cxn ang="0">
                <a:pos x="csX876" y="csY876"/>
              </a:cxn>
              <a:cxn ang="0">
                <a:pos x="csX877" y="csY877"/>
              </a:cxn>
              <a:cxn ang="0">
                <a:pos x="csX878" y="csY878"/>
              </a:cxn>
              <a:cxn ang="0">
                <a:pos x="csX879" y="csY879"/>
              </a:cxn>
              <a:cxn ang="0">
                <a:pos x="csX880" y="csY880"/>
              </a:cxn>
              <a:cxn ang="0">
                <a:pos x="csX881" y="csY881"/>
              </a:cxn>
              <a:cxn ang="0">
                <a:pos x="csX882" y="csY882"/>
              </a:cxn>
              <a:cxn ang="0">
                <a:pos x="csX883" y="csY883"/>
              </a:cxn>
              <a:cxn ang="0">
                <a:pos x="csX884" y="csY884"/>
              </a:cxn>
              <a:cxn ang="0">
                <a:pos x="csX885" y="csY885"/>
              </a:cxn>
              <a:cxn ang="0">
                <a:pos x="csX886" y="csY886"/>
              </a:cxn>
              <a:cxn ang="0">
                <a:pos x="csX887" y="csY887"/>
              </a:cxn>
              <a:cxn ang="0">
                <a:pos x="csX888" y="csY888"/>
              </a:cxn>
              <a:cxn ang="0">
                <a:pos x="csX889" y="csY889"/>
              </a:cxn>
              <a:cxn ang="0">
                <a:pos x="csX890" y="csY890"/>
              </a:cxn>
              <a:cxn ang="0">
                <a:pos x="csX891" y="csY891"/>
              </a:cxn>
              <a:cxn ang="0">
                <a:pos x="csX892" y="csY892"/>
              </a:cxn>
              <a:cxn ang="0">
                <a:pos x="csX893" y="csY893"/>
              </a:cxn>
              <a:cxn ang="0">
                <a:pos x="csX894" y="csY894"/>
              </a:cxn>
              <a:cxn ang="0">
                <a:pos x="csX895" y="csY895"/>
              </a:cxn>
              <a:cxn ang="0">
                <a:pos x="csX896" y="csY896"/>
              </a:cxn>
              <a:cxn ang="0">
                <a:pos x="csX897" y="csY897"/>
              </a:cxn>
              <a:cxn ang="0">
                <a:pos x="csX898" y="csY898"/>
              </a:cxn>
              <a:cxn ang="0">
                <a:pos x="csX899" y="csY899"/>
              </a:cxn>
              <a:cxn ang="0">
                <a:pos x="csX900" y="csY900"/>
              </a:cxn>
              <a:cxn ang="0">
                <a:pos x="csX901" y="csY901"/>
              </a:cxn>
              <a:cxn ang="0">
                <a:pos x="csX902" y="csY902"/>
              </a:cxn>
              <a:cxn ang="0">
                <a:pos x="csX903" y="csY903"/>
              </a:cxn>
              <a:cxn ang="0">
                <a:pos x="csX904" y="csY904"/>
              </a:cxn>
              <a:cxn ang="0">
                <a:pos x="csX905" y="csY905"/>
              </a:cxn>
              <a:cxn ang="0">
                <a:pos x="csX906" y="csY906"/>
              </a:cxn>
              <a:cxn ang="0">
                <a:pos x="csX907" y="csY907"/>
              </a:cxn>
              <a:cxn ang="0">
                <a:pos x="csX908" y="csY908"/>
              </a:cxn>
              <a:cxn ang="0">
                <a:pos x="csX909" y="csY909"/>
              </a:cxn>
              <a:cxn ang="0">
                <a:pos x="csX910" y="csY910"/>
              </a:cxn>
              <a:cxn ang="0">
                <a:pos x="csX911" y="csY911"/>
              </a:cxn>
              <a:cxn ang="0">
                <a:pos x="csX912" y="csY912"/>
              </a:cxn>
              <a:cxn ang="0">
                <a:pos x="csX913" y="csY913"/>
              </a:cxn>
              <a:cxn ang="0">
                <a:pos x="csX914" y="csY914"/>
              </a:cxn>
              <a:cxn ang="0">
                <a:pos x="csX915" y="csY915"/>
              </a:cxn>
              <a:cxn ang="0">
                <a:pos x="csX916" y="csY916"/>
              </a:cxn>
              <a:cxn ang="0">
                <a:pos x="csX917" y="csY917"/>
              </a:cxn>
              <a:cxn ang="0">
                <a:pos x="csX918" y="csY918"/>
              </a:cxn>
              <a:cxn ang="0">
                <a:pos x="csX919" y="csY919"/>
              </a:cxn>
              <a:cxn ang="0">
                <a:pos x="csX920" y="csY920"/>
              </a:cxn>
              <a:cxn ang="0">
                <a:pos x="csX921" y="csY921"/>
              </a:cxn>
              <a:cxn ang="0">
                <a:pos x="csX922" y="csY922"/>
              </a:cxn>
              <a:cxn ang="0">
                <a:pos x="csX923" y="csY923"/>
              </a:cxn>
              <a:cxn ang="0">
                <a:pos x="csX924" y="csY924"/>
              </a:cxn>
              <a:cxn ang="0">
                <a:pos x="csX925" y="csY925"/>
              </a:cxn>
              <a:cxn ang="0">
                <a:pos x="csX926" y="csY926"/>
              </a:cxn>
              <a:cxn ang="0">
                <a:pos x="csX927" y="csY927"/>
              </a:cxn>
              <a:cxn ang="0">
                <a:pos x="csX928" y="csY928"/>
              </a:cxn>
              <a:cxn ang="0">
                <a:pos x="csX929" y="csY929"/>
              </a:cxn>
              <a:cxn ang="0">
                <a:pos x="csX930" y="csY930"/>
              </a:cxn>
              <a:cxn ang="0">
                <a:pos x="csX931" y="csY931"/>
              </a:cxn>
              <a:cxn ang="0">
                <a:pos x="csX932" y="csY932"/>
              </a:cxn>
              <a:cxn ang="0">
                <a:pos x="csX933" y="csY933"/>
              </a:cxn>
              <a:cxn ang="0">
                <a:pos x="csX934" y="csY934"/>
              </a:cxn>
              <a:cxn ang="0">
                <a:pos x="csX935" y="csY935"/>
              </a:cxn>
              <a:cxn ang="0">
                <a:pos x="csX936" y="csY936"/>
              </a:cxn>
              <a:cxn ang="0">
                <a:pos x="csX937" y="csY937"/>
              </a:cxn>
              <a:cxn ang="0">
                <a:pos x="csX938" y="csY938"/>
              </a:cxn>
              <a:cxn ang="0">
                <a:pos x="csX939" y="csY939"/>
              </a:cxn>
              <a:cxn ang="0">
                <a:pos x="csX940" y="csY940"/>
              </a:cxn>
              <a:cxn ang="0">
                <a:pos x="csX941" y="csY941"/>
              </a:cxn>
              <a:cxn ang="0">
                <a:pos x="csX942" y="csY942"/>
              </a:cxn>
              <a:cxn ang="0">
                <a:pos x="csX943" y="csY943"/>
              </a:cxn>
              <a:cxn ang="0">
                <a:pos x="csX944" y="csY944"/>
              </a:cxn>
              <a:cxn ang="0">
                <a:pos x="csX945" y="csY945"/>
              </a:cxn>
              <a:cxn ang="0">
                <a:pos x="csX946" y="csY946"/>
              </a:cxn>
              <a:cxn ang="0">
                <a:pos x="csX947" y="csY947"/>
              </a:cxn>
              <a:cxn ang="0">
                <a:pos x="csX948" y="csY948"/>
              </a:cxn>
              <a:cxn ang="0">
                <a:pos x="csX949" y="csY949"/>
              </a:cxn>
              <a:cxn ang="0">
                <a:pos x="csX950" y="csY950"/>
              </a:cxn>
              <a:cxn ang="0">
                <a:pos x="csX951" y="csY951"/>
              </a:cxn>
              <a:cxn ang="0">
                <a:pos x="csX952" y="csY952"/>
              </a:cxn>
              <a:cxn ang="0">
                <a:pos x="csX953" y="csY953"/>
              </a:cxn>
              <a:cxn ang="0">
                <a:pos x="csX954" y="csY954"/>
              </a:cxn>
              <a:cxn ang="0">
                <a:pos x="csX955" y="csY955"/>
              </a:cxn>
              <a:cxn ang="0">
                <a:pos x="csX956" y="csY956"/>
              </a:cxn>
              <a:cxn ang="0">
                <a:pos x="csX957" y="csY957"/>
              </a:cxn>
              <a:cxn ang="0">
                <a:pos x="csX958" y="csY958"/>
              </a:cxn>
              <a:cxn ang="0">
                <a:pos x="csX959" y="csY959"/>
              </a:cxn>
              <a:cxn ang="0">
                <a:pos x="csX960" y="csY960"/>
              </a:cxn>
              <a:cxn ang="0">
                <a:pos x="csX961" y="csY961"/>
              </a:cxn>
              <a:cxn ang="0">
                <a:pos x="csX962" y="csY962"/>
              </a:cxn>
              <a:cxn ang="0">
                <a:pos x="csX963" y="csY963"/>
              </a:cxn>
              <a:cxn ang="0">
                <a:pos x="csX964" y="csY964"/>
              </a:cxn>
              <a:cxn ang="0">
                <a:pos x="csX965" y="csY965"/>
              </a:cxn>
              <a:cxn ang="0">
                <a:pos x="csX966" y="csY966"/>
              </a:cxn>
              <a:cxn ang="0">
                <a:pos x="csX967" y="csY967"/>
              </a:cxn>
              <a:cxn ang="0">
                <a:pos x="csX968" y="csY968"/>
              </a:cxn>
              <a:cxn ang="0">
                <a:pos x="csX969" y="csY969"/>
              </a:cxn>
              <a:cxn ang="0">
                <a:pos x="csX970" y="csY970"/>
              </a:cxn>
              <a:cxn ang="0">
                <a:pos x="csX971" y="csY971"/>
              </a:cxn>
              <a:cxn ang="0">
                <a:pos x="csX972" y="csY972"/>
              </a:cxn>
              <a:cxn ang="0">
                <a:pos x="csX973" y="csY973"/>
              </a:cxn>
              <a:cxn ang="0">
                <a:pos x="csX974" y="csY974"/>
              </a:cxn>
              <a:cxn ang="0">
                <a:pos x="csX975" y="csY975"/>
              </a:cxn>
              <a:cxn ang="0">
                <a:pos x="csX976" y="csY976"/>
              </a:cxn>
              <a:cxn ang="0">
                <a:pos x="csX977" y="csY977"/>
              </a:cxn>
              <a:cxn ang="0">
                <a:pos x="csX978" y="csY978"/>
              </a:cxn>
              <a:cxn ang="0">
                <a:pos x="csX979" y="csY979"/>
              </a:cxn>
              <a:cxn ang="0">
                <a:pos x="csX980" y="csY980"/>
              </a:cxn>
              <a:cxn ang="0">
                <a:pos x="csX981" y="csY981"/>
              </a:cxn>
              <a:cxn ang="0">
                <a:pos x="csX982" y="csY982"/>
              </a:cxn>
              <a:cxn ang="0">
                <a:pos x="csX983" y="csY983"/>
              </a:cxn>
              <a:cxn ang="0">
                <a:pos x="csX984" y="csY984"/>
              </a:cxn>
              <a:cxn ang="0">
                <a:pos x="csX985" y="csY985"/>
              </a:cxn>
              <a:cxn ang="0">
                <a:pos x="csX986" y="csY986"/>
              </a:cxn>
              <a:cxn ang="0">
                <a:pos x="csX987" y="csY987"/>
              </a:cxn>
              <a:cxn ang="0">
                <a:pos x="csX988" y="csY988"/>
              </a:cxn>
              <a:cxn ang="0">
                <a:pos x="csX989" y="csY989"/>
              </a:cxn>
              <a:cxn ang="0">
                <a:pos x="csX990" y="csY990"/>
              </a:cxn>
              <a:cxn ang="0">
                <a:pos x="csX991" y="csY991"/>
              </a:cxn>
              <a:cxn ang="0">
                <a:pos x="csX992" y="csY992"/>
              </a:cxn>
              <a:cxn ang="0">
                <a:pos x="csX993" y="csY993"/>
              </a:cxn>
              <a:cxn ang="0">
                <a:pos x="csX994" y="csY994"/>
              </a:cxn>
              <a:cxn ang="0">
                <a:pos x="csX995" y="csY995"/>
              </a:cxn>
              <a:cxn ang="0">
                <a:pos x="csX996" y="csY996"/>
              </a:cxn>
              <a:cxn ang="0">
                <a:pos x="csX997" y="csY997"/>
              </a:cxn>
              <a:cxn ang="0">
                <a:pos x="csX998" y="csY998"/>
              </a:cxn>
              <a:cxn ang="0">
                <a:pos x="csX999" y="csY999"/>
              </a:cxn>
              <a:cxn ang="0">
                <a:pos x="csX1000" y="csY1000"/>
              </a:cxn>
              <a:cxn ang="0">
                <a:pos x="csX1001" y="csY1001"/>
              </a:cxn>
              <a:cxn ang="0">
                <a:pos x="csX1002" y="csY1002"/>
              </a:cxn>
              <a:cxn ang="0">
                <a:pos x="csX1003" y="csY1003"/>
              </a:cxn>
              <a:cxn ang="0">
                <a:pos x="csX1004" y="csY1004"/>
              </a:cxn>
              <a:cxn ang="0">
                <a:pos x="csX1005" y="csY1005"/>
              </a:cxn>
              <a:cxn ang="0">
                <a:pos x="csX1006" y="csY1006"/>
              </a:cxn>
              <a:cxn ang="0">
                <a:pos x="csX1007" y="csY1007"/>
              </a:cxn>
              <a:cxn ang="0">
                <a:pos x="csX1008" y="csY1008"/>
              </a:cxn>
              <a:cxn ang="0">
                <a:pos x="csX1009" y="csY1009"/>
              </a:cxn>
              <a:cxn ang="0">
                <a:pos x="csX1010" y="csY1010"/>
              </a:cxn>
              <a:cxn ang="0">
                <a:pos x="csX1011" y="csY1011"/>
              </a:cxn>
              <a:cxn ang="0">
                <a:pos x="csX1012" y="csY1012"/>
              </a:cxn>
              <a:cxn ang="0">
                <a:pos x="csX1013" y="csY1013"/>
              </a:cxn>
              <a:cxn ang="0">
                <a:pos x="csX1014" y="csY1014"/>
              </a:cxn>
              <a:cxn ang="0">
                <a:pos x="csX1015" y="csY1015"/>
              </a:cxn>
              <a:cxn ang="0">
                <a:pos x="csX1016" y="csY1016"/>
              </a:cxn>
              <a:cxn ang="0">
                <a:pos x="csX1017" y="csY1017"/>
              </a:cxn>
              <a:cxn ang="0">
                <a:pos x="csX1018" y="csY1018"/>
              </a:cxn>
              <a:cxn ang="0">
                <a:pos x="csX1019" y="csY1019"/>
              </a:cxn>
              <a:cxn ang="0">
                <a:pos x="csX1020" y="csY1020"/>
              </a:cxn>
              <a:cxn ang="0">
                <a:pos x="csX1021" y="csY1021"/>
              </a:cxn>
              <a:cxn ang="0">
                <a:pos x="csX1022" y="csY1022"/>
              </a:cxn>
              <a:cxn ang="0">
                <a:pos x="csX1023" y="csY1023"/>
              </a:cxn>
              <a:cxn ang="0">
                <a:pos x="csX1024" y="csY1024"/>
              </a:cxn>
              <a:cxn ang="0">
                <a:pos x="csX1025" y="csY1025"/>
              </a:cxn>
              <a:cxn ang="0">
                <a:pos x="csX1026" y="csY1026"/>
              </a:cxn>
              <a:cxn ang="0">
                <a:pos x="csX1027" y="csY1027"/>
              </a:cxn>
              <a:cxn ang="0">
                <a:pos x="csX1028" y="csY1028"/>
              </a:cxn>
              <a:cxn ang="0">
                <a:pos x="csX1029" y="csY1029"/>
              </a:cxn>
              <a:cxn ang="0">
                <a:pos x="csX1030" y="csY1030"/>
              </a:cxn>
              <a:cxn ang="0">
                <a:pos x="csX1031" y="csY1031"/>
              </a:cxn>
              <a:cxn ang="0">
                <a:pos x="csX1032" y="csY1032"/>
              </a:cxn>
              <a:cxn ang="0">
                <a:pos x="csX1033" y="csY1033"/>
              </a:cxn>
              <a:cxn ang="0">
                <a:pos x="csX1034" y="csY1034"/>
              </a:cxn>
              <a:cxn ang="0">
                <a:pos x="csX1035" y="csY1035"/>
              </a:cxn>
              <a:cxn ang="0">
                <a:pos x="csX1036" y="csY1036"/>
              </a:cxn>
              <a:cxn ang="0">
                <a:pos x="csX1037" y="csY1037"/>
              </a:cxn>
              <a:cxn ang="0">
                <a:pos x="csX1038" y="csY1038"/>
              </a:cxn>
              <a:cxn ang="0">
                <a:pos x="csX1039" y="csY1039"/>
              </a:cxn>
              <a:cxn ang="0">
                <a:pos x="csX1040" y="csY1040"/>
              </a:cxn>
              <a:cxn ang="0">
                <a:pos x="csX1041" y="csY1041"/>
              </a:cxn>
              <a:cxn ang="0">
                <a:pos x="csX1042" y="csY1042"/>
              </a:cxn>
              <a:cxn ang="0">
                <a:pos x="csX1043" y="csY1043"/>
              </a:cxn>
              <a:cxn ang="0">
                <a:pos x="csX1044" y="csY1044"/>
              </a:cxn>
              <a:cxn ang="0">
                <a:pos x="csX1045" y="csY1045"/>
              </a:cxn>
              <a:cxn ang="0">
                <a:pos x="csX1046" y="csY1046"/>
              </a:cxn>
              <a:cxn ang="0">
                <a:pos x="csX1047" y="csY1047"/>
              </a:cxn>
              <a:cxn ang="0">
                <a:pos x="csX1048" y="csY1048"/>
              </a:cxn>
              <a:cxn ang="0">
                <a:pos x="csX1049" y="csY1049"/>
              </a:cxn>
              <a:cxn ang="0">
                <a:pos x="csX1050" y="csY1050"/>
              </a:cxn>
              <a:cxn ang="0">
                <a:pos x="csX1051" y="csY1051"/>
              </a:cxn>
              <a:cxn ang="0">
                <a:pos x="csX1052" y="csY1052"/>
              </a:cxn>
              <a:cxn ang="0">
                <a:pos x="csX1053" y="csY1053"/>
              </a:cxn>
              <a:cxn ang="0">
                <a:pos x="csX1054" y="csY1054"/>
              </a:cxn>
            </a:cxnLst>
            <a:rect l="l" t="t" r="r" b="b"/>
            <a:pathLst>
              <a:path w="1609516" h="1538630">
                <a:moveTo>
                  <a:pt x="401579" y="1495809"/>
                </a:moveTo>
                <a:lnTo>
                  <a:pt x="400190" y="1496004"/>
                </a:lnTo>
                <a:lnTo>
                  <a:pt x="401224" y="1496470"/>
                </a:lnTo>
                <a:lnTo>
                  <a:pt x="401224" y="1498590"/>
                </a:lnTo>
                <a:lnTo>
                  <a:pt x="401579" y="1498628"/>
                </a:lnTo>
                <a:cubicBezTo>
                  <a:pt x="401579" y="1497698"/>
                  <a:pt x="401579" y="1496768"/>
                  <a:pt x="401579" y="1495809"/>
                </a:cubicBezTo>
                <a:close/>
                <a:moveTo>
                  <a:pt x="368755" y="1486512"/>
                </a:moveTo>
                <a:lnTo>
                  <a:pt x="364089" y="1487354"/>
                </a:lnTo>
                <a:lnTo>
                  <a:pt x="364089" y="1487908"/>
                </a:lnTo>
                <a:close/>
                <a:moveTo>
                  <a:pt x="1049801" y="1484562"/>
                </a:moveTo>
                <a:lnTo>
                  <a:pt x="1046735" y="1485945"/>
                </a:lnTo>
                <a:lnTo>
                  <a:pt x="1046955" y="1486045"/>
                </a:lnTo>
                <a:lnTo>
                  <a:pt x="1049801" y="1485188"/>
                </a:lnTo>
                <a:close/>
                <a:moveTo>
                  <a:pt x="351234" y="1444508"/>
                </a:moveTo>
                <a:lnTo>
                  <a:pt x="351234" y="1444997"/>
                </a:lnTo>
                <a:lnTo>
                  <a:pt x="351592" y="1445078"/>
                </a:lnTo>
                <a:close/>
                <a:moveTo>
                  <a:pt x="351908" y="1431206"/>
                </a:moveTo>
                <a:lnTo>
                  <a:pt x="351234" y="1431611"/>
                </a:lnTo>
                <a:lnTo>
                  <a:pt x="351234" y="1432274"/>
                </a:lnTo>
                <a:close/>
                <a:moveTo>
                  <a:pt x="358162" y="1421494"/>
                </a:moveTo>
                <a:lnTo>
                  <a:pt x="355921" y="1423156"/>
                </a:lnTo>
                <a:lnTo>
                  <a:pt x="355921" y="1423548"/>
                </a:lnTo>
                <a:close/>
                <a:moveTo>
                  <a:pt x="376098" y="1408347"/>
                </a:moveTo>
                <a:lnTo>
                  <a:pt x="370750" y="1412245"/>
                </a:lnTo>
                <a:lnTo>
                  <a:pt x="375023" y="1411256"/>
                </a:lnTo>
                <a:close/>
                <a:moveTo>
                  <a:pt x="421956" y="1365623"/>
                </a:moveTo>
                <a:lnTo>
                  <a:pt x="421765" y="1366161"/>
                </a:lnTo>
                <a:lnTo>
                  <a:pt x="421887" y="1366161"/>
                </a:lnTo>
                <a:close/>
                <a:moveTo>
                  <a:pt x="754553" y="1360575"/>
                </a:moveTo>
                <a:lnTo>
                  <a:pt x="754089" y="1361433"/>
                </a:lnTo>
                <a:lnTo>
                  <a:pt x="754431" y="1361125"/>
                </a:lnTo>
                <a:close/>
                <a:moveTo>
                  <a:pt x="1277973" y="1332923"/>
                </a:moveTo>
                <a:lnTo>
                  <a:pt x="1277944" y="1332936"/>
                </a:lnTo>
                <a:lnTo>
                  <a:pt x="1277949" y="1333139"/>
                </a:lnTo>
                <a:close/>
                <a:moveTo>
                  <a:pt x="1268556" y="1321066"/>
                </a:moveTo>
                <a:cubicBezTo>
                  <a:pt x="1268556" y="1322461"/>
                  <a:pt x="1268556" y="1323856"/>
                  <a:pt x="1268556" y="1325294"/>
                </a:cubicBezTo>
                <a:cubicBezTo>
                  <a:pt x="1267525" y="1325294"/>
                  <a:pt x="1266495" y="1325294"/>
                  <a:pt x="1265432" y="1325294"/>
                </a:cubicBezTo>
                <a:cubicBezTo>
                  <a:pt x="1265432" y="1330409"/>
                  <a:pt x="1265432" y="1335525"/>
                  <a:pt x="1265432" y="1340795"/>
                </a:cubicBezTo>
                <a:lnTo>
                  <a:pt x="1265476" y="1340714"/>
                </a:lnTo>
                <a:lnTo>
                  <a:pt x="1265476" y="1325877"/>
                </a:lnTo>
                <a:cubicBezTo>
                  <a:pt x="1266507" y="1325877"/>
                  <a:pt x="1267538" y="1325877"/>
                  <a:pt x="1268600" y="1325877"/>
                </a:cubicBezTo>
                <a:cubicBezTo>
                  <a:pt x="1268600" y="1324482"/>
                  <a:pt x="1268600" y="1323086"/>
                  <a:pt x="1268600" y="1321649"/>
                </a:cubicBezTo>
                <a:cubicBezTo>
                  <a:pt x="1270147" y="1321649"/>
                  <a:pt x="1271693" y="1321649"/>
                  <a:pt x="1273286" y="1321649"/>
                </a:cubicBezTo>
                <a:lnTo>
                  <a:pt x="1273227" y="1321066"/>
                </a:lnTo>
                <a:close/>
                <a:moveTo>
                  <a:pt x="827891" y="1291474"/>
                </a:moveTo>
                <a:lnTo>
                  <a:pt x="822601" y="1291544"/>
                </a:lnTo>
                <a:lnTo>
                  <a:pt x="818272" y="1292220"/>
                </a:lnTo>
                <a:lnTo>
                  <a:pt x="827891" y="1292047"/>
                </a:lnTo>
                <a:close/>
                <a:moveTo>
                  <a:pt x="856397" y="1288691"/>
                </a:moveTo>
                <a:lnTo>
                  <a:pt x="865903" y="1290590"/>
                </a:lnTo>
                <a:lnTo>
                  <a:pt x="859999" y="1288752"/>
                </a:lnTo>
                <a:close/>
                <a:moveTo>
                  <a:pt x="834694" y="1288572"/>
                </a:moveTo>
                <a:lnTo>
                  <a:pt x="828038" y="1288654"/>
                </a:lnTo>
                <a:lnTo>
                  <a:pt x="828038" y="1289214"/>
                </a:lnTo>
                <a:close/>
                <a:moveTo>
                  <a:pt x="229746" y="1191418"/>
                </a:moveTo>
                <a:lnTo>
                  <a:pt x="227402" y="1191947"/>
                </a:lnTo>
                <a:lnTo>
                  <a:pt x="229315" y="1191947"/>
                </a:lnTo>
                <a:cubicBezTo>
                  <a:pt x="229315" y="1192877"/>
                  <a:pt x="229315" y="1193807"/>
                  <a:pt x="229315" y="1194765"/>
                </a:cubicBezTo>
                <a:lnTo>
                  <a:pt x="231321" y="1194765"/>
                </a:lnTo>
                <a:lnTo>
                  <a:pt x="229746" y="1194236"/>
                </a:lnTo>
                <a:cubicBezTo>
                  <a:pt x="229746" y="1193306"/>
                  <a:pt x="229746" y="1192376"/>
                  <a:pt x="229746" y="1191418"/>
                </a:cubicBezTo>
                <a:close/>
                <a:moveTo>
                  <a:pt x="215687" y="1187190"/>
                </a:moveTo>
                <a:lnTo>
                  <a:pt x="215198" y="1187720"/>
                </a:lnTo>
                <a:lnTo>
                  <a:pt x="215256" y="1187720"/>
                </a:lnTo>
                <a:cubicBezTo>
                  <a:pt x="215256" y="1189115"/>
                  <a:pt x="215256" y="1190510"/>
                  <a:pt x="215256" y="1191947"/>
                </a:cubicBezTo>
                <a:lnTo>
                  <a:pt x="222721" y="1191947"/>
                </a:lnTo>
                <a:lnTo>
                  <a:pt x="215687" y="1191418"/>
                </a:lnTo>
                <a:cubicBezTo>
                  <a:pt x="215687" y="1190023"/>
                  <a:pt x="215687" y="1188628"/>
                  <a:pt x="215687" y="1187190"/>
                </a:cubicBezTo>
                <a:close/>
                <a:moveTo>
                  <a:pt x="1279678" y="1082356"/>
                </a:moveTo>
                <a:lnTo>
                  <a:pt x="1271680" y="1084589"/>
                </a:lnTo>
                <a:lnTo>
                  <a:pt x="1282181" y="1082544"/>
                </a:lnTo>
                <a:close/>
                <a:moveTo>
                  <a:pt x="117703" y="941507"/>
                </a:moveTo>
                <a:lnTo>
                  <a:pt x="112587" y="941985"/>
                </a:lnTo>
                <a:lnTo>
                  <a:pt x="112565" y="942333"/>
                </a:lnTo>
                <a:lnTo>
                  <a:pt x="115665" y="941837"/>
                </a:lnTo>
                <a:close/>
                <a:moveTo>
                  <a:pt x="144268" y="939395"/>
                </a:moveTo>
                <a:lnTo>
                  <a:pt x="143354" y="939580"/>
                </a:lnTo>
                <a:lnTo>
                  <a:pt x="144077" y="939739"/>
                </a:lnTo>
                <a:close/>
                <a:moveTo>
                  <a:pt x="162575" y="933530"/>
                </a:moveTo>
                <a:lnTo>
                  <a:pt x="161704" y="935101"/>
                </a:lnTo>
                <a:lnTo>
                  <a:pt x="170045" y="933585"/>
                </a:lnTo>
                <a:close/>
                <a:moveTo>
                  <a:pt x="1321645" y="918415"/>
                </a:moveTo>
                <a:lnTo>
                  <a:pt x="1321534" y="920177"/>
                </a:lnTo>
                <a:lnTo>
                  <a:pt x="1321740" y="918415"/>
                </a:lnTo>
                <a:close/>
                <a:moveTo>
                  <a:pt x="1319333" y="915183"/>
                </a:moveTo>
                <a:lnTo>
                  <a:pt x="1318544" y="918029"/>
                </a:lnTo>
                <a:lnTo>
                  <a:pt x="1318702" y="918029"/>
                </a:lnTo>
                <a:close/>
                <a:moveTo>
                  <a:pt x="1326355" y="907109"/>
                </a:moveTo>
                <a:lnTo>
                  <a:pt x="1326355" y="910983"/>
                </a:lnTo>
                <a:lnTo>
                  <a:pt x="1325831" y="911101"/>
                </a:lnTo>
                <a:lnTo>
                  <a:pt x="1326426" y="911369"/>
                </a:lnTo>
                <a:cubicBezTo>
                  <a:pt x="1326426" y="909974"/>
                  <a:pt x="1326426" y="908579"/>
                  <a:pt x="1326426" y="907141"/>
                </a:cubicBezTo>
                <a:close/>
                <a:moveTo>
                  <a:pt x="1328144" y="892192"/>
                </a:moveTo>
                <a:lnTo>
                  <a:pt x="1327667" y="893446"/>
                </a:lnTo>
                <a:lnTo>
                  <a:pt x="1327989" y="893049"/>
                </a:lnTo>
                <a:close/>
                <a:moveTo>
                  <a:pt x="49605" y="887420"/>
                </a:moveTo>
                <a:lnTo>
                  <a:pt x="48549" y="891229"/>
                </a:lnTo>
                <a:lnTo>
                  <a:pt x="49956" y="887420"/>
                </a:lnTo>
                <a:close/>
                <a:moveTo>
                  <a:pt x="1332266" y="883369"/>
                </a:moveTo>
                <a:lnTo>
                  <a:pt x="1329479" y="884207"/>
                </a:lnTo>
                <a:lnTo>
                  <a:pt x="1329509" y="884816"/>
                </a:lnTo>
                <a:lnTo>
                  <a:pt x="1329551" y="884594"/>
                </a:lnTo>
                <a:close/>
                <a:moveTo>
                  <a:pt x="1555987" y="821766"/>
                </a:moveTo>
                <a:lnTo>
                  <a:pt x="1555987" y="822201"/>
                </a:lnTo>
                <a:lnTo>
                  <a:pt x="1556081" y="822189"/>
                </a:lnTo>
                <a:close/>
                <a:moveTo>
                  <a:pt x="1565360" y="810928"/>
                </a:moveTo>
                <a:lnTo>
                  <a:pt x="1564871" y="811809"/>
                </a:lnTo>
                <a:lnTo>
                  <a:pt x="1567314" y="810928"/>
                </a:lnTo>
                <a:close/>
                <a:moveTo>
                  <a:pt x="1563797" y="810928"/>
                </a:moveTo>
                <a:lnTo>
                  <a:pt x="1556762" y="814736"/>
                </a:lnTo>
                <a:lnTo>
                  <a:pt x="1563797" y="812197"/>
                </a:lnTo>
                <a:close/>
                <a:moveTo>
                  <a:pt x="265833" y="806020"/>
                </a:moveTo>
                <a:lnTo>
                  <a:pt x="263704" y="809861"/>
                </a:lnTo>
                <a:lnTo>
                  <a:pt x="263704" y="816750"/>
                </a:lnTo>
                <a:lnTo>
                  <a:pt x="264113" y="816565"/>
                </a:lnTo>
                <a:cubicBezTo>
                  <a:pt x="264048" y="815315"/>
                  <a:pt x="263984" y="814065"/>
                  <a:pt x="263918" y="812777"/>
                </a:cubicBezTo>
                <a:close/>
                <a:moveTo>
                  <a:pt x="263774" y="779374"/>
                </a:moveTo>
                <a:lnTo>
                  <a:pt x="263704" y="783086"/>
                </a:lnTo>
                <a:cubicBezTo>
                  <a:pt x="263961" y="783987"/>
                  <a:pt x="264219" y="784888"/>
                  <a:pt x="264484" y="785816"/>
                </a:cubicBezTo>
                <a:cubicBezTo>
                  <a:pt x="265299" y="788846"/>
                  <a:pt x="265316" y="791337"/>
                  <a:pt x="265265" y="794448"/>
                </a:cubicBezTo>
                <a:cubicBezTo>
                  <a:pt x="265103" y="797155"/>
                  <a:pt x="265022" y="798508"/>
                  <a:pt x="265217" y="799730"/>
                </a:cubicBezTo>
                <a:lnTo>
                  <a:pt x="266556" y="803466"/>
                </a:lnTo>
                <a:lnTo>
                  <a:pt x="267237" y="801063"/>
                </a:lnTo>
                <a:cubicBezTo>
                  <a:pt x="266721" y="800598"/>
                  <a:pt x="266206" y="800133"/>
                  <a:pt x="265675" y="799654"/>
                </a:cubicBezTo>
                <a:cubicBezTo>
                  <a:pt x="265601" y="797718"/>
                  <a:pt x="265617" y="795778"/>
                  <a:pt x="265675" y="793841"/>
                </a:cubicBezTo>
                <a:close/>
                <a:moveTo>
                  <a:pt x="260988" y="770061"/>
                </a:moveTo>
                <a:lnTo>
                  <a:pt x="260988" y="771364"/>
                </a:lnTo>
                <a:lnTo>
                  <a:pt x="263497" y="777263"/>
                </a:lnTo>
                <a:lnTo>
                  <a:pt x="262551" y="770061"/>
                </a:lnTo>
                <a:cubicBezTo>
                  <a:pt x="262035" y="770061"/>
                  <a:pt x="261520" y="770061"/>
                  <a:pt x="260988" y="770061"/>
                </a:cubicBezTo>
                <a:close/>
                <a:moveTo>
                  <a:pt x="157888" y="651686"/>
                </a:moveTo>
                <a:lnTo>
                  <a:pt x="157415" y="651764"/>
                </a:lnTo>
                <a:lnTo>
                  <a:pt x="160373" y="652274"/>
                </a:lnTo>
                <a:close/>
                <a:moveTo>
                  <a:pt x="267237" y="426537"/>
                </a:moveTo>
                <a:lnTo>
                  <a:pt x="267237" y="427619"/>
                </a:lnTo>
                <a:cubicBezTo>
                  <a:pt x="268274" y="427791"/>
                  <a:pt x="269311" y="427961"/>
                  <a:pt x="270380" y="428137"/>
                </a:cubicBezTo>
                <a:lnTo>
                  <a:pt x="273548" y="428680"/>
                </a:lnTo>
                <a:close/>
                <a:moveTo>
                  <a:pt x="37605" y="359270"/>
                </a:moveTo>
                <a:lnTo>
                  <a:pt x="37103" y="361533"/>
                </a:lnTo>
                <a:lnTo>
                  <a:pt x="37605" y="361382"/>
                </a:lnTo>
                <a:close/>
                <a:moveTo>
                  <a:pt x="52477" y="337570"/>
                </a:moveTo>
                <a:lnTo>
                  <a:pt x="47288" y="342340"/>
                </a:lnTo>
                <a:lnTo>
                  <a:pt x="45805" y="345093"/>
                </a:lnTo>
                <a:close/>
                <a:moveTo>
                  <a:pt x="104291" y="336166"/>
                </a:moveTo>
                <a:lnTo>
                  <a:pt x="103776" y="337559"/>
                </a:lnTo>
                <a:lnTo>
                  <a:pt x="108925" y="336166"/>
                </a:lnTo>
                <a:close/>
                <a:moveTo>
                  <a:pt x="1309237" y="322954"/>
                </a:moveTo>
                <a:lnTo>
                  <a:pt x="1309180" y="330559"/>
                </a:lnTo>
                <a:lnTo>
                  <a:pt x="1309237" y="330520"/>
                </a:lnTo>
                <a:close/>
                <a:moveTo>
                  <a:pt x="1308964" y="317715"/>
                </a:moveTo>
                <a:lnTo>
                  <a:pt x="1309237" y="318569"/>
                </a:lnTo>
                <a:lnTo>
                  <a:pt x="1309237" y="317838"/>
                </a:lnTo>
                <a:close/>
                <a:moveTo>
                  <a:pt x="1310087" y="313153"/>
                </a:moveTo>
                <a:lnTo>
                  <a:pt x="1307609" y="313473"/>
                </a:lnTo>
                <a:lnTo>
                  <a:pt x="1308045" y="314836"/>
                </a:lnTo>
                <a:close/>
                <a:moveTo>
                  <a:pt x="1318544" y="312064"/>
                </a:moveTo>
                <a:lnTo>
                  <a:pt x="1316298" y="312353"/>
                </a:lnTo>
                <a:lnTo>
                  <a:pt x="1318544" y="312205"/>
                </a:lnTo>
                <a:close/>
                <a:moveTo>
                  <a:pt x="1084622" y="267674"/>
                </a:moveTo>
                <a:lnTo>
                  <a:pt x="1084227" y="268378"/>
                </a:lnTo>
                <a:cubicBezTo>
                  <a:pt x="1082679" y="268378"/>
                  <a:pt x="1081133" y="268378"/>
                  <a:pt x="1079540" y="268378"/>
                </a:cubicBezTo>
                <a:lnTo>
                  <a:pt x="1079603" y="268477"/>
                </a:lnTo>
                <a:lnTo>
                  <a:pt x="1084192" y="268477"/>
                </a:lnTo>
                <a:close/>
                <a:moveTo>
                  <a:pt x="956410" y="266968"/>
                </a:moveTo>
                <a:lnTo>
                  <a:pt x="957576" y="267083"/>
                </a:lnTo>
                <a:lnTo>
                  <a:pt x="957576" y="269776"/>
                </a:lnTo>
                <a:lnTo>
                  <a:pt x="957694" y="269787"/>
                </a:lnTo>
                <a:cubicBezTo>
                  <a:pt x="957694" y="268857"/>
                  <a:pt x="957694" y="267927"/>
                  <a:pt x="957694" y="266968"/>
                </a:cubicBezTo>
                <a:close/>
                <a:moveTo>
                  <a:pt x="1089372" y="259220"/>
                </a:moveTo>
                <a:lnTo>
                  <a:pt x="1085856" y="265479"/>
                </a:lnTo>
                <a:lnTo>
                  <a:pt x="1088878" y="261431"/>
                </a:lnTo>
                <a:close/>
                <a:moveTo>
                  <a:pt x="1018517" y="223356"/>
                </a:moveTo>
                <a:lnTo>
                  <a:pt x="1013866" y="226190"/>
                </a:lnTo>
                <a:lnTo>
                  <a:pt x="1013024" y="227709"/>
                </a:lnTo>
                <a:lnTo>
                  <a:pt x="1017055" y="224692"/>
                </a:lnTo>
                <a:close/>
                <a:moveTo>
                  <a:pt x="850645" y="220099"/>
                </a:moveTo>
                <a:lnTo>
                  <a:pt x="850897" y="221488"/>
                </a:lnTo>
                <a:cubicBezTo>
                  <a:pt x="851086" y="222545"/>
                  <a:pt x="851275" y="223602"/>
                  <a:pt x="851470" y="224692"/>
                </a:cubicBezTo>
                <a:lnTo>
                  <a:pt x="852860" y="224692"/>
                </a:lnTo>
                <a:close/>
                <a:moveTo>
                  <a:pt x="1155019" y="35"/>
                </a:moveTo>
                <a:cubicBezTo>
                  <a:pt x="1161775" y="275"/>
                  <a:pt x="1168415" y="1783"/>
                  <a:pt x="1174829" y="4853"/>
                </a:cubicBezTo>
                <a:cubicBezTo>
                  <a:pt x="1176343" y="5231"/>
                  <a:pt x="1177858" y="5609"/>
                  <a:pt x="1179418" y="5998"/>
                </a:cubicBezTo>
                <a:cubicBezTo>
                  <a:pt x="1189392" y="9487"/>
                  <a:pt x="1196322" y="14392"/>
                  <a:pt x="1201385" y="22997"/>
                </a:cubicBezTo>
                <a:cubicBezTo>
                  <a:pt x="1206849" y="35244"/>
                  <a:pt x="1206940" y="49865"/>
                  <a:pt x="1201678" y="62191"/>
                </a:cubicBezTo>
                <a:cubicBezTo>
                  <a:pt x="1200594" y="64241"/>
                  <a:pt x="1199461" y="66271"/>
                  <a:pt x="1198261" y="68268"/>
                </a:cubicBezTo>
                <a:cubicBezTo>
                  <a:pt x="1197423" y="69721"/>
                  <a:pt x="1196586" y="71175"/>
                  <a:pt x="1195723" y="72672"/>
                </a:cubicBezTo>
                <a:cubicBezTo>
                  <a:pt x="1194659" y="73980"/>
                  <a:pt x="1194659" y="73980"/>
                  <a:pt x="1193575" y="75314"/>
                </a:cubicBezTo>
                <a:cubicBezTo>
                  <a:pt x="1192544" y="75314"/>
                  <a:pt x="1191512" y="75314"/>
                  <a:pt x="1190450" y="75314"/>
                </a:cubicBezTo>
                <a:cubicBezTo>
                  <a:pt x="1190128" y="76651"/>
                  <a:pt x="1189806" y="77988"/>
                  <a:pt x="1189474" y="79366"/>
                </a:cubicBezTo>
                <a:cubicBezTo>
                  <a:pt x="1187326" y="83769"/>
                  <a:pt x="1187326" y="83769"/>
                  <a:pt x="1182445" y="85707"/>
                </a:cubicBezTo>
                <a:cubicBezTo>
                  <a:pt x="1180962" y="85998"/>
                  <a:pt x="1179480" y="86289"/>
                  <a:pt x="1177953" y="86588"/>
                </a:cubicBezTo>
                <a:cubicBezTo>
                  <a:pt x="1177953" y="87518"/>
                  <a:pt x="1177953" y="88448"/>
                  <a:pt x="1177953" y="89406"/>
                </a:cubicBezTo>
                <a:cubicBezTo>
                  <a:pt x="1175369" y="91088"/>
                  <a:pt x="1172720" y="92688"/>
                  <a:pt x="1170045" y="94251"/>
                </a:cubicBezTo>
                <a:cubicBezTo>
                  <a:pt x="1154651" y="104199"/>
                  <a:pt x="1148918" y="116979"/>
                  <a:pt x="1143806" y="132828"/>
                </a:cubicBezTo>
                <a:cubicBezTo>
                  <a:pt x="1142095" y="137144"/>
                  <a:pt x="1140989" y="138617"/>
                  <a:pt x="1137338" y="141548"/>
                </a:cubicBezTo>
                <a:cubicBezTo>
                  <a:pt x="1136166" y="144148"/>
                  <a:pt x="1134992" y="146751"/>
                  <a:pt x="1133970" y="149403"/>
                </a:cubicBezTo>
                <a:cubicBezTo>
                  <a:pt x="1132069" y="154334"/>
                  <a:pt x="1130006" y="159210"/>
                  <a:pt x="1127965" y="164095"/>
                </a:cubicBezTo>
                <a:cubicBezTo>
                  <a:pt x="1126897" y="166664"/>
                  <a:pt x="1125830" y="169233"/>
                  <a:pt x="1124762" y="171802"/>
                </a:cubicBezTo>
                <a:cubicBezTo>
                  <a:pt x="1122961" y="176134"/>
                  <a:pt x="1121160" y="180466"/>
                  <a:pt x="1119359" y="184798"/>
                </a:cubicBezTo>
                <a:cubicBezTo>
                  <a:pt x="1116567" y="191508"/>
                  <a:pt x="1113778" y="198220"/>
                  <a:pt x="1111014" y="204941"/>
                </a:cubicBezTo>
                <a:cubicBezTo>
                  <a:pt x="1110590" y="205970"/>
                  <a:pt x="1110165" y="206999"/>
                  <a:pt x="1109729" y="208059"/>
                </a:cubicBezTo>
                <a:cubicBezTo>
                  <a:pt x="1108615" y="210762"/>
                  <a:pt x="1107505" y="213466"/>
                  <a:pt x="1106395" y="216170"/>
                </a:cubicBezTo>
                <a:cubicBezTo>
                  <a:pt x="1104320" y="220956"/>
                  <a:pt x="1103283" y="223349"/>
                  <a:pt x="1102147" y="224810"/>
                </a:cubicBezTo>
                <a:lnTo>
                  <a:pt x="1098261" y="227262"/>
                </a:lnTo>
                <a:lnTo>
                  <a:pt x="1098367" y="238475"/>
                </a:lnTo>
                <a:cubicBezTo>
                  <a:pt x="1098025" y="239757"/>
                  <a:pt x="1097684" y="241038"/>
                  <a:pt x="1097331" y="242358"/>
                </a:cubicBezTo>
                <a:cubicBezTo>
                  <a:pt x="1096958" y="243711"/>
                  <a:pt x="1096585" y="245064"/>
                  <a:pt x="1096201" y="246458"/>
                </a:cubicBezTo>
                <a:cubicBezTo>
                  <a:pt x="1093302" y="257363"/>
                  <a:pt x="1090901" y="268062"/>
                  <a:pt x="1089440" y="279206"/>
                </a:cubicBezTo>
                <a:cubicBezTo>
                  <a:pt x="1088878" y="282569"/>
                  <a:pt x="1088878" y="282569"/>
                  <a:pt x="1087316" y="283978"/>
                </a:cubicBezTo>
                <a:cubicBezTo>
                  <a:pt x="1087070" y="286587"/>
                  <a:pt x="1086924" y="289205"/>
                  <a:pt x="1086822" y="291822"/>
                </a:cubicBezTo>
                <a:cubicBezTo>
                  <a:pt x="1086756" y="293408"/>
                  <a:pt x="1086691" y="294993"/>
                  <a:pt x="1086623" y="296625"/>
                </a:cubicBezTo>
                <a:cubicBezTo>
                  <a:pt x="1086562" y="298294"/>
                  <a:pt x="1086501" y="299962"/>
                  <a:pt x="1086437" y="301681"/>
                </a:cubicBezTo>
                <a:cubicBezTo>
                  <a:pt x="1086336" y="304192"/>
                  <a:pt x="1086336" y="304192"/>
                  <a:pt x="1086233" y="306754"/>
                </a:cubicBezTo>
                <a:lnTo>
                  <a:pt x="1086007" y="312619"/>
                </a:lnTo>
                <a:lnTo>
                  <a:pt x="1087470" y="320554"/>
                </a:lnTo>
                <a:cubicBezTo>
                  <a:pt x="1089648" y="325409"/>
                  <a:pt x="1093111" y="329799"/>
                  <a:pt x="1098285" y="334611"/>
                </a:cubicBezTo>
                <a:cubicBezTo>
                  <a:pt x="1100424" y="336130"/>
                  <a:pt x="1100424" y="336130"/>
                  <a:pt x="1102607" y="337679"/>
                </a:cubicBezTo>
                <a:cubicBezTo>
                  <a:pt x="1104334" y="338951"/>
                  <a:pt x="1104334" y="338951"/>
                  <a:pt x="1106095" y="340248"/>
                </a:cubicBezTo>
                <a:cubicBezTo>
                  <a:pt x="1106095" y="341178"/>
                  <a:pt x="1106095" y="342108"/>
                  <a:pt x="1106095" y="343066"/>
                </a:cubicBezTo>
                <a:cubicBezTo>
                  <a:pt x="1107127" y="343183"/>
                  <a:pt x="1108158" y="343299"/>
                  <a:pt x="1109220" y="343419"/>
                </a:cubicBezTo>
                <a:cubicBezTo>
                  <a:pt x="1115473" y="344829"/>
                  <a:pt x="1120724" y="347416"/>
                  <a:pt x="1126403" y="350112"/>
                </a:cubicBezTo>
                <a:cubicBezTo>
                  <a:pt x="1128207" y="350926"/>
                  <a:pt x="1130012" y="351740"/>
                  <a:pt x="1131871" y="352579"/>
                </a:cubicBezTo>
                <a:cubicBezTo>
                  <a:pt x="1133159" y="353160"/>
                  <a:pt x="1134448" y="353741"/>
                  <a:pt x="1135776" y="354340"/>
                </a:cubicBezTo>
                <a:cubicBezTo>
                  <a:pt x="1135776" y="355270"/>
                  <a:pt x="1135776" y="356200"/>
                  <a:pt x="1135776" y="357158"/>
                </a:cubicBezTo>
                <a:cubicBezTo>
                  <a:pt x="1148107" y="360029"/>
                  <a:pt x="1158679" y="359101"/>
                  <a:pt x="1170143" y="354340"/>
                </a:cubicBezTo>
                <a:cubicBezTo>
                  <a:pt x="1172366" y="353468"/>
                  <a:pt x="1172366" y="353468"/>
                  <a:pt x="1174634" y="352579"/>
                </a:cubicBezTo>
                <a:cubicBezTo>
                  <a:pt x="1180354" y="349689"/>
                  <a:pt x="1185568" y="346355"/>
                  <a:pt x="1190890" y="342907"/>
                </a:cubicBezTo>
                <a:cubicBezTo>
                  <a:pt x="1195169" y="340228"/>
                  <a:pt x="1199557" y="337821"/>
                  <a:pt x="1204021" y="335404"/>
                </a:cubicBezTo>
                <a:cubicBezTo>
                  <a:pt x="1211989" y="330886"/>
                  <a:pt x="1217509" y="325766"/>
                  <a:pt x="1223255" y="319110"/>
                </a:cubicBezTo>
                <a:cubicBezTo>
                  <a:pt x="1224447" y="317947"/>
                  <a:pt x="1225639" y="316784"/>
                  <a:pt x="1226868" y="315587"/>
                </a:cubicBezTo>
                <a:cubicBezTo>
                  <a:pt x="1229855" y="311593"/>
                  <a:pt x="1230852" y="308240"/>
                  <a:pt x="1231859" y="303559"/>
                </a:cubicBezTo>
                <a:cubicBezTo>
                  <a:pt x="1232628" y="300790"/>
                  <a:pt x="1232628" y="300790"/>
                  <a:pt x="1234178" y="298059"/>
                </a:cubicBezTo>
                <a:cubicBezTo>
                  <a:pt x="1235964" y="294761"/>
                  <a:pt x="1236623" y="291807"/>
                  <a:pt x="1237314" y="288195"/>
                </a:cubicBezTo>
                <a:cubicBezTo>
                  <a:pt x="1239360" y="278571"/>
                  <a:pt x="1242414" y="272733"/>
                  <a:pt x="1249811" y="265559"/>
                </a:cubicBezTo>
                <a:cubicBezTo>
                  <a:pt x="1250842" y="265559"/>
                  <a:pt x="1251873" y="265559"/>
                  <a:pt x="1252935" y="265559"/>
                </a:cubicBezTo>
                <a:cubicBezTo>
                  <a:pt x="1252935" y="264629"/>
                  <a:pt x="1252935" y="263699"/>
                  <a:pt x="1252935" y="262741"/>
                </a:cubicBezTo>
                <a:cubicBezTo>
                  <a:pt x="1265591" y="253427"/>
                  <a:pt x="1280762" y="251648"/>
                  <a:pt x="1296675" y="252876"/>
                </a:cubicBezTo>
                <a:cubicBezTo>
                  <a:pt x="1300535" y="253563"/>
                  <a:pt x="1303901" y="254478"/>
                  <a:pt x="1307609" y="255695"/>
                </a:cubicBezTo>
                <a:cubicBezTo>
                  <a:pt x="1307609" y="256625"/>
                  <a:pt x="1307609" y="257555"/>
                  <a:pt x="1307609" y="258513"/>
                </a:cubicBezTo>
                <a:cubicBezTo>
                  <a:pt x="1309021" y="258619"/>
                  <a:pt x="1310432" y="258723"/>
                  <a:pt x="1311887" y="258832"/>
                </a:cubicBezTo>
                <a:cubicBezTo>
                  <a:pt x="1319573" y="260476"/>
                  <a:pt x="1322149" y="264416"/>
                  <a:pt x="1326715" y="269969"/>
                </a:cubicBezTo>
                <a:cubicBezTo>
                  <a:pt x="1334402" y="281220"/>
                  <a:pt x="1336114" y="294839"/>
                  <a:pt x="1334165" y="307836"/>
                </a:cubicBezTo>
                <a:cubicBezTo>
                  <a:pt x="1332176" y="311898"/>
                  <a:pt x="1332176" y="311898"/>
                  <a:pt x="1329479" y="314882"/>
                </a:cubicBezTo>
                <a:cubicBezTo>
                  <a:pt x="1327417" y="314882"/>
                  <a:pt x="1325355" y="314882"/>
                  <a:pt x="1323231" y="314882"/>
                </a:cubicBezTo>
                <a:cubicBezTo>
                  <a:pt x="1323231" y="315812"/>
                  <a:pt x="1323231" y="316742"/>
                  <a:pt x="1323231" y="317700"/>
                </a:cubicBezTo>
                <a:lnTo>
                  <a:pt x="1322774" y="317838"/>
                </a:lnTo>
                <a:lnTo>
                  <a:pt x="1323295" y="317838"/>
                </a:lnTo>
                <a:cubicBezTo>
                  <a:pt x="1323295" y="316907"/>
                  <a:pt x="1323295" y="315977"/>
                  <a:pt x="1323295" y="315019"/>
                </a:cubicBezTo>
                <a:cubicBezTo>
                  <a:pt x="1324842" y="315019"/>
                  <a:pt x="1326388" y="315019"/>
                  <a:pt x="1327982" y="315019"/>
                </a:cubicBezTo>
                <a:cubicBezTo>
                  <a:pt x="1325845" y="321328"/>
                  <a:pt x="1322753" y="323742"/>
                  <a:pt x="1317047" y="327702"/>
                </a:cubicBezTo>
                <a:cubicBezTo>
                  <a:pt x="1316531" y="329097"/>
                  <a:pt x="1316016" y="330492"/>
                  <a:pt x="1315484" y="331930"/>
                </a:cubicBezTo>
                <a:cubicBezTo>
                  <a:pt x="1312599" y="332959"/>
                  <a:pt x="1312599" y="332959"/>
                  <a:pt x="1309139" y="333603"/>
                </a:cubicBezTo>
                <a:cubicBezTo>
                  <a:pt x="1307993" y="333827"/>
                  <a:pt x="1306847" y="334050"/>
                  <a:pt x="1305666" y="334280"/>
                </a:cubicBezTo>
                <a:cubicBezTo>
                  <a:pt x="1304783" y="334434"/>
                  <a:pt x="1303899" y="334589"/>
                  <a:pt x="1302988" y="334748"/>
                </a:cubicBezTo>
                <a:lnTo>
                  <a:pt x="1305905" y="332775"/>
                </a:lnTo>
                <a:lnTo>
                  <a:pt x="1304485" y="333202"/>
                </a:lnTo>
                <a:cubicBezTo>
                  <a:pt x="1302987" y="334640"/>
                  <a:pt x="1302987" y="334640"/>
                  <a:pt x="1301459" y="336108"/>
                </a:cubicBezTo>
                <a:cubicBezTo>
                  <a:pt x="1298237" y="338839"/>
                  <a:pt x="1298237" y="338839"/>
                  <a:pt x="1291989" y="338839"/>
                </a:cubicBezTo>
                <a:cubicBezTo>
                  <a:pt x="1291473" y="340234"/>
                  <a:pt x="1290957" y="341629"/>
                  <a:pt x="1290426" y="343066"/>
                </a:cubicBezTo>
                <a:cubicBezTo>
                  <a:pt x="1288879" y="343415"/>
                  <a:pt x="1287333" y="343764"/>
                  <a:pt x="1285740" y="344123"/>
                </a:cubicBezTo>
                <a:cubicBezTo>
                  <a:pt x="1266905" y="348491"/>
                  <a:pt x="1249005" y="369098"/>
                  <a:pt x="1237314" y="382525"/>
                </a:cubicBezTo>
                <a:cubicBezTo>
                  <a:pt x="1235678" y="385783"/>
                  <a:pt x="1234122" y="389075"/>
                  <a:pt x="1232628" y="392389"/>
                </a:cubicBezTo>
                <a:cubicBezTo>
                  <a:pt x="1231317" y="394515"/>
                  <a:pt x="1229981" y="396629"/>
                  <a:pt x="1228625" y="398731"/>
                </a:cubicBezTo>
                <a:cubicBezTo>
                  <a:pt x="1221457" y="410300"/>
                  <a:pt x="1219465" y="421836"/>
                  <a:pt x="1222822" y="434798"/>
                </a:cubicBezTo>
                <a:cubicBezTo>
                  <a:pt x="1229360" y="453710"/>
                  <a:pt x="1244088" y="472467"/>
                  <a:pt x="1260746" y="485398"/>
                </a:cubicBezTo>
                <a:cubicBezTo>
                  <a:pt x="1264961" y="487349"/>
                  <a:pt x="1264961" y="487349"/>
                  <a:pt x="1268556" y="488216"/>
                </a:cubicBezTo>
                <a:cubicBezTo>
                  <a:pt x="1268556" y="489146"/>
                  <a:pt x="1268556" y="490076"/>
                  <a:pt x="1268556" y="491034"/>
                </a:cubicBezTo>
                <a:cubicBezTo>
                  <a:pt x="1288790" y="497071"/>
                  <a:pt x="1319055" y="498555"/>
                  <a:pt x="1338852" y="489625"/>
                </a:cubicBezTo>
                <a:cubicBezTo>
                  <a:pt x="1341711" y="489213"/>
                  <a:pt x="1344575" y="488837"/>
                  <a:pt x="1347444" y="488480"/>
                </a:cubicBezTo>
                <a:cubicBezTo>
                  <a:pt x="1355372" y="487345"/>
                  <a:pt x="1362033" y="485390"/>
                  <a:pt x="1369362" y="482513"/>
                </a:cubicBezTo>
                <a:cubicBezTo>
                  <a:pt x="1375665" y="480318"/>
                  <a:pt x="1382189" y="479322"/>
                  <a:pt x="1388840" y="478351"/>
                </a:cubicBezTo>
                <a:cubicBezTo>
                  <a:pt x="1388840" y="477421"/>
                  <a:pt x="1388840" y="476492"/>
                  <a:pt x="1388840" y="475533"/>
                </a:cubicBezTo>
                <a:cubicBezTo>
                  <a:pt x="1391083" y="474821"/>
                  <a:pt x="1393329" y="474118"/>
                  <a:pt x="1395576" y="473419"/>
                </a:cubicBezTo>
                <a:cubicBezTo>
                  <a:pt x="1396827" y="473027"/>
                  <a:pt x="1398077" y="472635"/>
                  <a:pt x="1399365" y="472230"/>
                </a:cubicBezTo>
                <a:cubicBezTo>
                  <a:pt x="1402899" y="471305"/>
                  <a:pt x="1402899" y="471305"/>
                  <a:pt x="1407585" y="471305"/>
                </a:cubicBezTo>
                <a:cubicBezTo>
                  <a:pt x="1408101" y="469910"/>
                  <a:pt x="1408616" y="468515"/>
                  <a:pt x="1409147" y="467078"/>
                </a:cubicBezTo>
                <a:cubicBezTo>
                  <a:pt x="1412388" y="465580"/>
                  <a:pt x="1412388" y="465580"/>
                  <a:pt x="1416470" y="464259"/>
                </a:cubicBezTo>
                <a:cubicBezTo>
                  <a:pt x="1424029" y="461705"/>
                  <a:pt x="1431130" y="458955"/>
                  <a:pt x="1437949" y="455011"/>
                </a:cubicBezTo>
                <a:cubicBezTo>
                  <a:pt x="1442765" y="452574"/>
                  <a:pt x="1447553" y="451394"/>
                  <a:pt x="1452887" y="450167"/>
                </a:cubicBezTo>
                <a:cubicBezTo>
                  <a:pt x="1452887" y="449237"/>
                  <a:pt x="1452887" y="448307"/>
                  <a:pt x="1452887" y="447349"/>
                </a:cubicBezTo>
                <a:cubicBezTo>
                  <a:pt x="1453714" y="446944"/>
                  <a:pt x="1454541" y="446539"/>
                  <a:pt x="1455394" y="446122"/>
                </a:cubicBezTo>
                <a:cubicBezTo>
                  <a:pt x="1459151" y="444278"/>
                  <a:pt x="1462902" y="442422"/>
                  <a:pt x="1466653" y="440567"/>
                </a:cubicBezTo>
                <a:cubicBezTo>
                  <a:pt x="1467955" y="439930"/>
                  <a:pt x="1469256" y="439293"/>
                  <a:pt x="1470598" y="438637"/>
                </a:cubicBezTo>
                <a:cubicBezTo>
                  <a:pt x="1471852" y="438016"/>
                  <a:pt x="1473105" y="437393"/>
                  <a:pt x="1474397" y="436752"/>
                </a:cubicBezTo>
                <a:cubicBezTo>
                  <a:pt x="1475550" y="436184"/>
                  <a:pt x="1476703" y="435616"/>
                  <a:pt x="1477892" y="435030"/>
                </a:cubicBezTo>
                <a:cubicBezTo>
                  <a:pt x="1480966" y="433279"/>
                  <a:pt x="1483173" y="431373"/>
                  <a:pt x="1485691" y="429029"/>
                </a:cubicBezTo>
                <a:cubicBezTo>
                  <a:pt x="1486737" y="428575"/>
                  <a:pt x="1487781" y="428121"/>
                  <a:pt x="1488858" y="427653"/>
                </a:cubicBezTo>
                <a:cubicBezTo>
                  <a:pt x="1492438" y="425977"/>
                  <a:pt x="1493705" y="424453"/>
                  <a:pt x="1495943" y="421454"/>
                </a:cubicBezTo>
                <a:cubicBezTo>
                  <a:pt x="1507114" y="407544"/>
                  <a:pt x="1519758" y="393513"/>
                  <a:pt x="1538608" y="388338"/>
                </a:cubicBezTo>
                <a:cubicBezTo>
                  <a:pt x="1541025" y="388250"/>
                  <a:pt x="1541025" y="388250"/>
                  <a:pt x="1543490" y="388161"/>
                </a:cubicBezTo>
                <a:cubicBezTo>
                  <a:pt x="1545535" y="387984"/>
                  <a:pt x="1545535" y="387984"/>
                  <a:pt x="1547621" y="387804"/>
                </a:cubicBezTo>
                <a:cubicBezTo>
                  <a:pt x="1560659" y="387094"/>
                  <a:pt x="1568716" y="390117"/>
                  <a:pt x="1579418" y="396617"/>
                </a:cubicBezTo>
                <a:cubicBezTo>
                  <a:pt x="1581361" y="397687"/>
                  <a:pt x="1581361" y="397687"/>
                  <a:pt x="1583342" y="398780"/>
                </a:cubicBezTo>
                <a:cubicBezTo>
                  <a:pt x="1593703" y="405068"/>
                  <a:pt x="1598513" y="412459"/>
                  <a:pt x="1601288" y="423392"/>
                </a:cubicBezTo>
                <a:cubicBezTo>
                  <a:pt x="1603295" y="436596"/>
                  <a:pt x="1603517" y="449033"/>
                  <a:pt x="1594484" y="460159"/>
                </a:cubicBezTo>
                <a:cubicBezTo>
                  <a:pt x="1588468" y="466462"/>
                  <a:pt x="1582607" y="471150"/>
                  <a:pt x="1574732" y="475533"/>
                </a:cubicBezTo>
                <a:cubicBezTo>
                  <a:pt x="1573862" y="476043"/>
                  <a:pt x="1572993" y="476553"/>
                  <a:pt x="1572097" y="477078"/>
                </a:cubicBezTo>
                <a:cubicBezTo>
                  <a:pt x="1566828" y="478935"/>
                  <a:pt x="1561641" y="478744"/>
                  <a:pt x="1556066" y="478737"/>
                </a:cubicBezTo>
                <a:cubicBezTo>
                  <a:pt x="1553587" y="478765"/>
                  <a:pt x="1551109" y="478795"/>
                  <a:pt x="1548631" y="478825"/>
                </a:cubicBezTo>
                <a:cubicBezTo>
                  <a:pt x="1544751" y="478857"/>
                  <a:pt x="1540871" y="478880"/>
                  <a:pt x="1536991" y="478889"/>
                </a:cubicBezTo>
                <a:cubicBezTo>
                  <a:pt x="1516714" y="478693"/>
                  <a:pt x="1516714" y="478693"/>
                  <a:pt x="1498188" y="485398"/>
                </a:cubicBezTo>
                <a:cubicBezTo>
                  <a:pt x="1496062" y="486488"/>
                  <a:pt x="1496062" y="486488"/>
                  <a:pt x="1493892" y="487600"/>
                </a:cubicBezTo>
                <a:cubicBezTo>
                  <a:pt x="1492733" y="488268"/>
                  <a:pt x="1491573" y="488937"/>
                  <a:pt x="1490377" y="489625"/>
                </a:cubicBezTo>
                <a:cubicBezTo>
                  <a:pt x="1484304" y="493012"/>
                  <a:pt x="1478212" y="495675"/>
                  <a:pt x="1471650" y="498185"/>
                </a:cubicBezTo>
                <a:cubicBezTo>
                  <a:pt x="1467148" y="500054"/>
                  <a:pt x="1463242" y="502632"/>
                  <a:pt x="1459135" y="505127"/>
                </a:cubicBezTo>
                <a:cubicBezTo>
                  <a:pt x="1456968" y="506120"/>
                  <a:pt x="1454786" y="507086"/>
                  <a:pt x="1452594" y="508033"/>
                </a:cubicBezTo>
                <a:cubicBezTo>
                  <a:pt x="1444148" y="511772"/>
                  <a:pt x="1435969" y="515903"/>
                  <a:pt x="1427795" y="520100"/>
                </a:cubicBezTo>
                <a:cubicBezTo>
                  <a:pt x="1425784" y="521114"/>
                  <a:pt x="1425784" y="521114"/>
                  <a:pt x="1423733" y="522148"/>
                </a:cubicBezTo>
                <a:cubicBezTo>
                  <a:pt x="1422478" y="522798"/>
                  <a:pt x="1421223" y="523449"/>
                  <a:pt x="1419929" y="524118"/>
                </a:cubicBezTo>
                <a:cubicBezTo>
                  <a:pt x="1418794" y="524701"/>
                  <a:pt x="1417658" y="525283"/>
                  <a:pt x="1416487" y="525883"/>
                </a:cubicBezTo>
                <a:cubicBezTo>
                  <a:pt x="1413349" y="527646"/>
                  <a:pt x="1413349" y="527646"/>
                  <a:pt x="1412271" y="531902"/>
                </a:cubicBezTo>
                <a:cubicBezTo>
                  <a:pt x="1407205" y="535203"/>
                  <a:pt x="1402819" y="536744"/>
                  <a:pt x="1396650" y="537539"/>
                </a:cubicBezTo>
                <a:cubicBezTo>
                  <a:pt x="1396650" y="538469"/>
                  <a:pt x="1396650" y="539399"/>
                  <a:pt x="1396650" y="540357"/>
                </a:cubicBezTo>
                <a:cubicBezTo>
                  <a:pt x="1395609" y="540735"/>
                  <a:pt x="1394568" y="541113"/>
                  <a:pt x="1393495" y="541502"/>
                </a:cubicBezTo>
                <a:cubicBezTo>
                  <a:pt x="1381840" y="545973"/>
                  <a:pt x="1372279" y="551715"/>
                  <a:pt x="1362284" y="558678"/>
                </a:cubicBezTo>
                <a:cubicBezTo>
                  <a:pt x="1360170" y="560088"/>
                  <a:pt x="1358055" y="561497"/>
                  <a:pt x="1355937" y="562905"/>
                </a:cubicBezTo>
                <a:cubicBezTo>
                  <a:pt x="1348556" y="567937"/>
                  <a:pt x="1341292" y="573085"/>
                  <a:pt x="1334165" y="578406"/>
                </a:cubicBezTo>
                <a:cubicBezTo>
                  <a:pt x="1332697" y="579472"/>
                  <a:pt x="1332697" y="579472"/>
                  <a:pt x="1331200" y="580559"/>
                </a:cubicBezTo>
                <a:cubicBezTo>
                  <a:pt x="1325067" y="585430"/>
                  <a:pt x="1323406" y="589771"/>
                  <a:pt x="1322175" y="596793"/>
                </a:cubicBezTo>
                <a:cubicBezTo>
                  <a:pt x="1321669" y="599545"/>
                  <a:pt x="1321669" y="599545"/>
                  <a:pt x="1320106" y="602363"/>
                </a:cubicBezTo>
                <a:cubicBezTo>
                  <a:pt x="1318419" y="618189"/>
                  <a:pt x="1322416" y="632767"/>
                  <a:pt x="1328015" y="647640"/>
                </a:cubicBezTo>
                <a:cubicBezTo>
                  <a:pt x="1331267" y="656625"/>
                  <a:pt x="1333170" y="666179"/>
                  <a:pt x="1332604" y="675643"/>
                </a:cubicBezTo>
                <a:cubicBezTo>
                  <a:pt x="1333634" y="675643"/>
                  <a:pt x="1334665" y="675643"/>
                  <a:pt x="1335727" y="675643"/>
                </a:cubicBezTo>
                <a:cubicBezTo>
                  <a:pt x="1337571" y="680632"/>
                  <a:pt x="1337591" y="684795"/>
                  <a:pt x="1337741" y="690059"/>
                </a:cubicBezTo>
                <a:cubicBezTo>
                  <a:pt x="1337826" y="692114"/>
                  <a:pt x="1337913" y="694168"/>
                  <a:pt x="1338003" y="696222"/>
                </a:cubicBezTo>
                <a:cubicBezTo>
                  <a:pt x="1338142" y="699444"/>
                  <a:pt x="1338266" y="702664"/>
                  <a:pt x="1338340" y="705887"/>
                </a:cubicBezTo>
                <a:cubicBezTo>
                  <a:pt x="1338372" y="720474"/>
                  <a:pt x="1338372" y="720474"/>
                  <a:pt x="1345277" y="733245"/>
                </a:cubicBezTo>
                <a:cubicBezTo>
                  <a:pt x="1350822" y="737861"/>
                  <a:pt x="1355921" y="739823"/>
                  <a:pt x="1363162" y="741612"/>
                </a:cubicBezTo>
                <a:cubicBezTo>
                  <a:pt x="1370672" y="743533"/>
                  <a:pt x="1377197" y="745750"/>
                  <a:pt x="1384154" y="748922"/>
                </a:cubicBezTo>
                <a:cubicBezTo>
                  <a:pt x="1387833" y="749898"/>
                  <a:pt x="1387833" y="749898"/>
                  <a:pt x="1391476" y="750419"/>
                </a:cubicBezTo>
                <a:cubicBezTo>
                  <a:pt x="1393499" y="750747"/>
                  <a:pt x="1393499" y="750747"/>
                  <a:pt x="1395564" y="751080"/>
                </a:cubicBezTo>
                <a:cubicBezTo>
                  <a:pt x="1397648" y="751407"/>
                  <a:pt x="1397648" y="751407"/>
                  <a:pt x="1399775" y="751740"/>
                </a:cubicBezTo>
                <a:cubicBezTo>
                  <a:pt x="1401810" y="752111"/>
                  <a:pt x="1401810" y="752111"/>
                  <a:pt x="1403887" y="752489"/>
                </a:cubicBezTo>
                <a:cubicBezTo>
                  <a:pt x="1424247" y="756131"/>
                  <a:pt x="1444708" y="756350"/>
                  <a:pt x="1465383" y="755969"/>
                </a:cubicBezTo>
                <a:cubicBezTo>
                  <a:pt x="1467019" y="755945"/>
                  <a:pt x="1468654" y="755921"/>
                  <a:pt x="1470339" y="755897"/>
                </a:cubicBezTo>
                <a:cubicBezTo>
                  <a:pt x="1480128" y="755450"/>
                  <a:pt x="1487899" y="752933"/>
                  <a:pt x="1496809" y="749313"/>
                </a:cubicBezTo>
                <a:cubicBezTo>
                  <a:pt x="1502876" y="746888"/>
                  <a:pt x="1509049" y="745091"/>
                  <a:pt x="1515371" y="743285"/>
                </a:cubicBezTo>
                <a:cubicBezTo>
                  <a:pt x="1515371" y="742356"/>
                  <a:pt x="1515371" y="741425"/>
                  <a:pt x="1515371" y="740467"/>
                </a:cubicBezTo>
                <a:cubicBezTo>
                  <a:pt x="1522710" y="737103"/>
                  <a:pt x="1529583" y="737106"/>
                  <a:pt x="1537632" y="737120"/>
                </a:cubicBezTo>
                <a:cubicBezTo>
                  <a:pt x="1538960" y="737122"/>
                  <a:pt x="1540289" y="737124"/>
                  <a:pt x="1541657" y="737127"/>
                </a:cubicBezTo>
                <a:cubicBezTo>
                  <a:pt x="1555502" y="737372"/>
                  <a:pt x="1564314" y="740697"/>
                  <a:pt x="1574732" y="748922"/>
                </a:cubicBezTo>
                <a:cubicBezTo>
                  <a:pt x="1586507" y="762822"/>
                  <a:pt x="1590347" y="775219"/>
                  <a:pt x="1588791" y="792608"/>
                </a:cubicBezTo>
                <a:cubicBezTo>
                  <a:pt x="1587728" y="797050"/>
                  <a:pt x="1586468" y="801261"/>
                  <a:pt x="1584105" y="805291"/>
                </a:cubicBezTo>
                <a:cubicBezTo>
                  <a:pt x="1583074" y="805756"/>
                  <a:pt x="1582043" y="806221"/>
                  <a:pt x="1580981" y="806700"/>
                </a:cubicBezTo>
                <a:cubicBezTo>
                  <a:pt x="1580240" y="807892"/>
                  <a:pt x="1579499" y="809083"/>
                  <a:pt x="1578735" y="810311"/>
                </a:cubicBezTo>
                <a:cubicBezTo>
                  <a:pt x="1577930" y="811445"/>
                  <a:pt x="1577124" y="812579"/>
                  <a:pt x="1576295" y="813746"/>
                </a:cubicBezTo>
                <a:lnTo>
                  <a:pt x="1571652" y="813746"/>
                </a:lnTo>
                <a:lnTo>
                  <a:pt x="1571785" y="814106"/>
                </a:lnTo>
                <a:cubicBezTo>
                  <a:pt x="1572816" y="814571"/>
                  <a:pt x="1573846" y="815036"/>
                  <a:pt x="1574909" y="815515"/>
                </a:cubicBezTo>
                <a:cubicBezTo>
                  <a:pt x="1572126" y="818758"/>
                  <a:pt x="1569968" y="820871"/>
                  <a:pt x="1565463" y="821839"/>
                </a:cubicBezTo>
                <a:lnTo>
                  <a:pt x="1562085" y="822101"/>
                </a:lnTo>
                <a:lnTo>
                  <a:pt x="1551301" y="825020"/>
                </a:lnTo>
                <a:cubicBezTo>
                  <a:pt x="1551301" y="825950"/>
                  <a:pt x="1551301" y="826880"/>
                  <a:pt x="1551301" y="827838"/>
                </a:cubicBezTo>
                <a:cubicBezTo>
                  <a:pt x="1526697" y="828735"/>
                  <a:pt x="1507496" y="825036"/>
                  <a:pt x="1485380" y="815007"/>
                </a:cubicBezTo>
                <a:cubicBezTo>
                  <a:pt x="1468723" y="807743"/>
                  <a:pt x="1449749" y="809144"/>
                  <a:pt x="1431603" y="808726"/>
                </a:cubicBezTo>
                <a:cubicBezTo>
                  <a:pt x="1429115" y="808665"/>
                  <a:pt x="1426627" y="808604"/>
                  <a:pt x="1424140" y="808542"/>
                </a:cubicBezTo>
                <a:cubicBezTo>
                  <a:pt x="1418101" y="808392"/>
                  <a:pt x="1412062" y="808249"/>
                  <a:pt x="1406023" y="808109"/>
                </a:cubicBezTo>
                <a:cubicBezTo>
                  <a:pt x="1406023" y="809040"/>
                  <a:pt x="1406023" y="809970"/>
                  <a:pt x="1406023" y="810928"/>
                </a:cubicBezTo>
                <a:cubicBezTo>
                  <a:pt x="1404716" y="811118"/>
                  <a:pt x="1404716" y="811118"/>
                  <a:pt x="1403383" y="811311"/>
                </a:cubicBezTo>
                <a:cubicBezTo>
                  <a:pt x="1372054" y="815110"/>
                  <a:pt x="1372054" y="815110"/>
                  <a:pt x="1345442" y="828907"/>
                </a:cubicBezTo>
                <a:cubicBezTo>
                  <a:pt x="1338843" y="837605"/>
                  <a:pt x="1338313" y="846434"/>
                  <a:pt x="1337875" y="856639"/>
                </a:cubicBezTo>
                <a:cubicBezTo>
                  <a:pt x="1337815" y="857805"/>
                  <a:pt x="1337754" y="858970"/>
                  <a:pt x="1337692" y="860171"/>
                </a:cubicBezTo>
                <a:cubicBezTo>
                  <a:pt x="1337547" y="863016"/>
                  <a:pt x="1337417" y="865861"/>
                  <a:pt x="1337290" y="868706"/>
                </a:cubicBezTo>
                <a:cubicBezTo>
                  <a:pt x="1336258" y="868706"/>
                  <a:pt x="1335228" y="868706"/>
                  <a:pt x="1334165" y="868706"/>
                </a:cubicBezTo>
                <a:lnTo>
                  <a:pt x="1334165" y="870034"/>
                </a:lnTo>
                <a:lnTo>
                  <a:pt x="1334237" y="869093"/>
                </a:lnTo>
                <a:cubicBezTo>
                  <a:pt x="1334753" y="869093"/>
                  <a:pt x="1335268" y="869093"/>
                  <a:pt x="1335800" y="869093"/>
                </a:cubicBezTo>
                <a:cubicBezTo>
                  <a:pt x="1335884" y="871559"/>
                  <a:pt x="1335944" y="874025"/>
                  <a:pt x="1335995" y="876491"/>
                </a:cubicBezTo>
                <a:cubicBezTo>
                  <a:pt x="1336030" y="877865"/>
                  <a:pt x="1336067" y="879238"/>
                  <a:pt x="1336105" y="880653"/>
                </a:cubicBezTo>
                <a:cubicBezTo>
                  <a:pt x="1335800" y="884594"/>
                  <a:pt x="1335800" y="884594"/>
                  <a:pt x="1334294" y="887271"/>
                </a:cubicBezTo>
                <a:cubicBezTo>
                  <a:pt x="1332567" y="890428"/>
                  <a:pt x="1331982" y="892964"/>
                  <a:pt x="1331455" y="896440"/>
                </a:cubicBezTo>
                <a:cubicBezTo>
                  <a:pt x="1331267" y="897605"/>
                  <a:pt x="1331080" y="898769"/>
                  <a:pt x="1330887" y="899969"/>
                </a:cubicBezTo>
                <a:cubicBezTo>
                  <a:pt x="1330704" y="901174"/>
                  <a:pt x="1330521" y="902378"/>
                  <a:pt x="1330332" y="903618"/>
                </a:cubicBezTo>
                <a:cubicBezTo>
                  <a:pt x="1329968" y="906013"/>
                  <a:pt x="1329594" y="908405"/>
                  <a:pt x="1329209" y="910797"/>
                </a:cubicBezTo>
                <a:cubicBezTo>
                  <a:pt x="1329049" y="911853"/>
                  <a:pt x="1328889" y="912910"/>
                  <a:pt x="1328724" y="913998"/>
                </a:cubicBezTo>
                <a:cubicBezTo>
                  <a:pt x="1327933" y="917233"/>
                  <a:pt x="1326525" y="919703"/>
                  <a:pt x="1324865" y="922643"/>
                </a:cubicBezTo>
                <a:cubicBezTo>
                  <a:pt x="1323924" y="927743"/>
                  <a:pt x="1323282" y="932845"/>
                  <a:pt x="1322619" y="937979"/>
                </a:cubicBezTo>
                <a:lnTo>
                  <a:pt x="1318744" y="944961"/>
                </a:lnTo>
                <a:lnTo>
                  <a:pt x="1318544" y="946213"/>
                </a:lnTo>
                <a:cubicBezTo>
                  <a:pt x="1318360" y="949234"/>
                  <a:pt x="1318271" y="952260"/>
                  <a:pt x="1318251" y="955285"/>
                </a:cubicBezTo>
                <a:cubicBezTo>
                  <a:pt x="1318218" y="957637"/>
                  <a:pt x="1318218" y="957637"/>
                  <a:pt x="1318184" y="960036"/>
                </a:cubicBezTo>
                <a:cubicBezTo>
                  <a:pt x="1318624" y="965530"/>
                  <a:pt x="1319569" y="969724"/>
                  <a:pt x="1324024" y="973660"/>
                </a:cubicBezTo>
                <a:cubicBezTo>
                  <a:pt x="1327197" y="976583"/>
                  <a:pt x="1327950" y="979494"/>
                  <a:pt x="1329284" y="983382"/>
                </a:cubicBezTo>
                <a:cubicBezTo>
                  <a:pt x="1331875" y="990106"/>
                  <a:pt x="1334445" y="993582"/>
                  <a:pt x="1340414" y="998354"/>
                </a:cubicBezTo>
                <a:cubicBezTo>
                  <a:pt x="1342397" y="1000564"/>
                  <a:pt x="1344347" y="1002798"/>
                  <a:pt x="1346272" y="1005048"/>
                </a:cubicBezTo>
                <a:cubicBezTo>
                  <a:pt x="1360055" y="1020713"/>
                  <a:pt x="1376247" y="1031879"/>
                  <a:pt x="1394716" y="1042740"/>
                </a:cubicBezTo>
                <a:cubicBezTo>
                  <a:pt x="1397172" y="1044228"/>
                  <a:pt x="1399581" y="1045779"/>
                  <a:pt x="1401953" y="1047374"/>
                </a:cubicBezTo>
                <a:cubicBezTo>
                  <a:pt x="1410065" y="1052802"/>
                  <a:pt x="1417529" y="1056366"/>
                  <a:pt x="1427197" y="1059061"/>
                </a:cubicBezTo>
                <a:cubicBezTo>
                  <a:pt x="1431243" y="1060437"/>
                  <a:pt x="1434061" y="1061979"/>
                  <a:pt x="1437265" y="1064588"/>
                </a:cubicBezTo>
                <a:cubicBezTo>
                  <a:pt x="1437265" y="1065518"/>
                  <a:pt x="1437265" y="1066448"/>
                  <a:pt x="1437265" y="1067406"/>
                </a:cubicBezTo>
                <a:cubicBezTo>
                  <a:pt x="1439053" y="1067624"/>
                  <a:pt x="1439053" y="1067624"/>
                  <a:pt x="1440878" y="1067847"/>
                </a:cubicBezTo>
                <a:cubicBezTo>
                  <a:pt x="1445076" y="1068815"/>
                  <a:pt x="1445076" y="1068815"/>
                  <a:pt x="1447175" y="1070753"/>
                </a:cubicBezTo>
                <a:cubicBezTo>
                  <a:pt x="1450417" y="1073622"/>
                  <a:pt x="1453781" y="1075060"/>
                  <a:pt x="1457866" y="1076830"/>
                </a:cubicBezTo>
                <a:cubicBezTo>
                  <a:pt x="1459274" y="1077446"/>
                  <a:pt x="1460681" y="1078062"/>
                  <a:pt x="1462132" y="1078696"/>
                </a:cubicBezTo>
                <a:cubicBezTo>
                  <a:pt x="1463204" y="1079156"/>
                  <a:pt x="1464278" y="1079616"/>
                  <a:pt x="1465383" y="1080089"/>
                </a:cubicBezTo>
                <a:cubicBezTo>
                  <a:pt x="1465383" y="1081019"/>
                  <a:pt x="1465383" y="1081949"/>
                  <a:pt x="1465383" y="1082908"/>
                </a:cubicBezTo>
                <a:cubicBezTo>
                  <a:pt x="1466497" y="1083260"/>
                  <a:pt x="1467611" y="1083612"/>
                  <a:pt x="1468758" y="1083975"/>
                </a:cubicBezTo>
                <a:cubicBezTo>
                  <a:pt x="1473648" y="1085905"/>
                  <a:pt x="1477426" y="1088296"/>
                  <a:pt x="1481688" y="1091187"/>
                </a:cubicBezTo>
                <a:cubicBezTo>
                  <a:pt x="1483204" y="1092193"/>
                  <a:pt x="1484721" y="1093200"/>
                  <a:pt x="1486283" y="1094236"/>
                </a:cubicBezTo>
                <a:cubicBezTo>
                  <a:pt x="1489170" y="1096185"/>
                  <a:pt x="1492029" y="1098166"/>
                  <a:pt x="1494869" y="1100171"/>
                </a:cubicBezTo>
                <a:cubicBezTo>
                  <a:pt x="1510181" y="1107906"/>
                  <a:pt x="1527080" y="1109898"/>
                  <a:pt x="1544335" y="1109518"/>
                </a:cubicBezTo>
                <a:cubicBezTo>
                  <a:pt x="1579932" y="1108798"/>
                  <a:pt x="1579932" y="1108798"/>
                  <a:pt x="1593477" y="1119900"/>
                </a:cubicBezTo>
                <a:cubicBezTo>
                  <a:pt x="1600636" y="1127255"/>
                  <a:pt x="1604889" y="1135120"/>
                  <a:pt x="1605975" y="1144913"/>
                </a:cubicBezTo>
                <a:cubicBezTo>
                  <a:pt x="1607006" y="1144913"/>
                  <a:pt x="1608036" y="1144913"/>
                  <a:pt x="1609099" y="1144913"/>
                </a:cubicBezTo>
                <a:cubicBezTo>
                  <a:pt x="1609227" y="1148907"/>
                  <a:pt x="1609319" y="1152897"/>
                  <a:pt x="1609392" y="1156892"/>
                </a:cubicBezTo>
                <a:cubicBezTo>
                  <a:pt x="1609451" y="1158565"/>
                  <a:pt x="1609451" y="1158565"/>
                  <a:pt x="1609511" y="1160272"/>
                </a:cubicBezTo>
                <a:cubicBezTo>
                  <a:pt x="1609621" y="1168378"/>
                  <a:pt x="1607970" y="1174108"/>
                  <a:pt x="1604412" y="1181553"/>
                </a:cubicBezTo>
                <a:cubicBezTo>
                  <a:pt x="1603354" y="1184367"/>
                  <a:pt x="1602306" y="1187183"/>
                  <a:pt x="1601288" y="1190009"/>
                </a:cubicBezTo>
                <a:cubicBezTo>
                  <a:pt x="1600257" y="1190009"/>
                  <a:pt x="1599226" y="1190009"/>
                  <a:pt x="1598164" y="1190009"/>
                </a:cubicBezTo>
                <a:cubicBezTo>
                  <a:pt x="1597842" y="1190910"/>
                  <a:pt x="1597520" y="1191810"/>
                  <a:pt x="1597187" y="1192739"/>
                </a:cubicBezTo>
                <a:cubicBezTo>
                  <a:pt x="1596479" y="1193698"/>
                  <a:pt x="1595770" y="1194657"/>
                  <a:pt x="1595040" y="1195645"/>
                </a:cubicBezTo>
                <a:cubicBezTo>
                  <a:pt x="1591916" y="1196115"/>
                  <a:pt x="1588791" y="1196585"/>
                  <a:pt x="1585667" y="1197055"/>
                </a:cubicBezTo>
                <a:cubicBezTo>
                  <a:pt x="1583871" y="1199826"/>
                  <a:pt x="1583871" y="1199826"/>
                  <a:pt x="1582543" y="1202691"/>
                </a:cubicBezTo>
                <a:cubicBezTo>
                  <a:pt x="1575997" y="1204710"/>
                  <a:pt x="1569266" y="1204360"/>
                  <a:pt x="1562431" y="1204365"/>
                </a:cubicBezTo>
                <a:cubicBezTo>
                  <a:pt x="1561196" y="1204382"/>
                  <a:pt x="1559962" y="1204399"/>
                  <a:pt x="1558690" y="1204417"/>
                </a:cubicBezTo>
                <a:cubicBezTo>
                  <a:pt x="1543339" y="1204452"/>
                  <a:pt x="1531981" y="1199267"/>
                  <a:pt x="1521102" y="1189585"/>
                </a:cubicBezTo>
                <a:cubicBezTo>
                  <a:pt x="1515403" y="1183953"/>
                  <a:pt x="1510116" y="1178123"/>
                  <a:pt x="1505022" y="1172041"/>
                </a:cubicBezTo>
                <a:cubicBezTo>
                  <a:pt x="1493200" y="1158177"/>
                  <a:pt x="1475492" y="1147115"/>
                  <a:pt x="1457573" y="1140686"/>
                </a:cubicBezTo>
                <a:cubicBezTo>
                  <a:pt x="1457573" y="1139755"/>
                  <a:pt x="1457573" y="1138826"/>
                  <a:pt x="1457573" y="1137867"/>
                </a:cubicBezTo>
                <a:cubicBezTo>
                  <a:pt x="1456059" y="1137693"/>
                  <a:pt x="1454544" y="1137518"/>
                  <a:pt x="1452985" y="1137339"/>
                </a:cubicBezTo>
                <a:cubicBezTo>
                  <a:pt x="1451406" y="1137048"/>
                  <a:pt x="1449827" y="1136758"/>
                  <a:pt x="1448200" y="1136458"/>
                </a:cubicBezTo>
                <a:cubicBezTo>
                  <a:pt x="1447685" y="1135528"/>
                  <a:pt x="1447169" y="1134598"/>
                  <a:pt x="1446638" y="1133640"/>
                </a:cubicBezTo>
                <a:cubicBezTo>
                  <a:pt x="1444091" y="1132586"/>
                  <a:pt x="1441535" y="1131550"/>
                  <a:pt x="1438937" y="1130601"/>
                </a:cubicBezTo>
                <a:cubicBezTo>
                  <a:pt x="1435668" y="1129399"/>
                  <a:pt x="1432469" y="1128095"/>
                  <a:pt x="1429260" y="1126770"/>
                </a:cubicBezTo>
                <a:cubicBezTo>
                  <a:pt x="1423389" y="1124389"/>
                  <a:pt x="1417431" y="1122349"/>
                  <a:pt x="1411393" y="1120340"/>
                </a:cubicBezTo>
                <a:cubicBezTo>
                  <a:pt x="1404143" y="1117867"/>
                  <a:pt x="1397842" y="1115090"/>
                  <a:pt x="1391427" y="1111191"/>
                </a:cubicBezTo>
                <a:cubicBezTo>
                  <a:pt x="1388139" y="1109274"/>
                  <a:pt x="1384723" y="1108010"/>
                  <a:pt x="1381029" y="1106865"/>
                </a:cubicBezTo>
                <a:cubicBezTo>
                  <a:pt x="1381029" y="1105934"/>
                  <a:pt x="1381029" y="1105004"/>
                  <a:pt x="1381029" y="1104046"/>
                </a:cubicBezTo>
                <a:cubicBezTo>
                  <a:pt x="1379773" y="1103901"/>
                  <a:pt x="1378516" y="1103755"/>
                  <a:pt x="1377221" y="1103605"/>
                </a:cubicBezTo>
                <a:cubicBezTo>
                  <a:pt x="1370425" y="1102422"/>
                  <a:pt x="1364120" y="1100465"/>
                  <a:pt x="1357597" y="1098409"/>
                </a:cubicBezTo>
                <a:cubicBezTo>
                  <a:pt x="1355761" y="1097857"/>
                  <a:pt x="1353924" y="1097304"/>
                  <a:pt x="1352032" y="1096736"/>
                </a:cubicBezTo>
                <a:cubicBezTo>
                  <a:pt x="1350776" y="1096358"/>
                  <a:pt x="1349519" y="1095980"/>
                  <a:pt x="1348225" y="1095590"/>
                </a:cubicBezTo>
                <a:cubicBezTo>
                  <a:pt x="1348225" y="1094661"/>
                  <a:pt x="1348225" y="1093730"/>
                  <a:pt x="1348225" y="1092772"/>
                </a:cubicBezTo>
                <a:cubicBezTo>
                  <a:pt x="1344616" y="1092307"/>
                  <a:pt x="1341007" y="1091842"/>
                  <a:pt x="1337290" y="1091363"/>
                </a:cubicBezTo>
                <a:cubicBezTo>
                  <a:pt x="1337290" y="1090433"/>
                  <a:pt x="1337290" y="1089503"/>
                  <a:pt x="1337290" y="1088544"/>
                </a:cubicBezTo>
                <a:cubicBezTo>
                  <a:pt x="1334438" y="1088327"/>
                  <a:pt x="1334438" y="1088327"/>
                  <a:pt x="1331529" y="1088104"/>
                </a:cubicBezTo>
                <a:lnTo>
                  <a:pt x="1323297" y="1086611"/>
                </a:lnTo>
                <a:lnTo>
                  <a:pt x="1323297" y="1087618"/>
                </a:lnTo>
                <a:cubicBezTo>
                  <a:pt x="1322139" y="1087517"/>
                  <a:pt x="1320982" y="1087415"/>
                  <a:pt x="1319789" y="1087310"/>
                </a:cubicBezTo>
                <a:cubicBezTo>
                  <a:pt x="1300429" y="1085771"/>
                  <a:pt x="1281330" y="1084680"/>
                  <a:pt x="1262375" y="1089028"/>
                </a:cubicBezTo>
                <a:lnTo>
                  <a:pt x="1258728" y="1088205"/>
                </a:lnTo>
                <a:lnTo>
                  <a:pt x="1246964" y="1091489"/>
                </a:lnTo>
                <a:cubicBezTo>
                  <a:pt x="1237239" y="1097222"/>
                  <a:pt x="1228703" y="1103434"/>
                  <a:pt x="1223224" y="1112865"/>
                </a:cubicBezTo>
                <a:cubicBezTo>
                  <a:pt x="1220867" y="1116643"/>
                  <a:pt x="1217262" y="1119317"/>
                  <a:pt x="1213883" y="1122366"/>
                </a:cubicBezTo>
                <a:cubicBezTo>
                  <a:pt x="1213428" y="1123469"/>
                  <a:pt x="1212973" y="1124572"/>
                  <a:pt x="1212505" y="1125708"/>
                </a:cubicBezTo>
                <a:cubicBezTo>
                  <a:pt x="1210449" y="1130067"/>
                  <a:pt x="1207984" y="1132315"/>
                  <a:pt x="1204180" y="1135561"/>
                </a:cubicBezTo>
                <a:cubicBezTo>
                  <a:pt x="1202879" y="1136695"/>
                  <a:pt x="1201578" y="1137829"/>
                  <a:pt x="1200238" y="1138999"/>
                </a:cubicBezTo>
                <a:cubicBezTo>
                  <a:pt x="1197504" y="1141343"/>
                  <a:pt x="1194765" y="1143684"/>
                  <a:pt x="1192025" y="1146022"/>
                </a:cubicBezTo>
                <a:cubicBezTo>
                  <a:pt x="1181899" y="1154869"/>
                  <a:pt x="1174983" y="1161763"/>
                  <a:pt x="1173945" y="1174749"/>
                </a:cubicBezTo>
                <a:cubicBezTo>
                  <a:pt x="1173902" y="1177369"/>
                  <a:pt x="1173905" y="1179990"/>
                  <a:pt x="1173950" y="1182610"/>
                </a:cubicBezTo>
                <a:cubicBezTo>
                  <a:pt x="1173963" y="1183981"/>
                  <a:pt x="1173975" y="1185352"/>
                  <a:pt x="1173989" y="1186765"/>
                </a:cubicBezTo>
                <a:cubicBezTo>
                  <a:pt x="1174321" y="1197573"/>
                  <a:pt x="1176809" y="1205883"/>
                  <a:pt x="1182640" y="1215374"/>
                </a:cubicBezTo>
                <a:cubicBezTo>
                  <a:pt x="1183703" y="1217509"/>
                  <a:pt x="1184746" y="1219652"/>
                  <a:pt x="1185764" y="1221804"/>
                </a:cubicBezTo>
                <a:cubicBezTo>
                  <a:pt x="1186271" y="1222812"/>
                  <a:pt x="1186779" y="1223821"/>
                  <a:pt x="1187301" y="1224859"/>
                </a:cubicBezTo>
                <a:cubicBezTo>
                  <a:pt x="1188431" y="1227137"/>
                  <a:pt x="1189517" y="1229433"/>
                  <a:pt x="1190573" y="1231740"/>
                </a:cubicBezTo>
                <a:cubicBezTo>
                  <a:pt x="1194650" y="1240409"/>
                  <a:pt x="1199581" y="1247688"/>
                  <a:pt x="1205925" y="1255163"/>
                </a:cubicBezTo>
                <a:cubicBezTo>
                  <a:pt x="1208103" y="1257757"/>
                  <a:pt x="1210188" y="1260417"/>
                  <a:pt x="1212174" y="1263134"/>
                </a:cubicBezTo>
                <a:cubicBezTo>
                  <a:pt x="1218757" y="1272043"/>
                  <a:pt x="1225157" y="1277324"/>
                  <a:pt x="1235556" y="1282538"/>
                </a:cubicBezTo>
                <a:cubicBezTo>
                  <a:pt x="1236652" y="1283161"/>
                  <a:pt x="1237747" y="1283784"/>
                  <a:pt x="1238876" y="1284426"/>
                </a:cubicBezTo>
                <a:cubicBezTo>
                  <a:pt x="1238876" y="1285356"/>
                  <a:pt x="1238876" y="1286287"/>
                  <a:pt x="1238876" y="1287245"/>
                </a:cubicBezTo>
                <a:cubicBezTo>
                  <a:pt x="1239988" y="1287383"/>
                  <a:pt x="1241099" y="1287521"/>
                  <a:pt x="1242245" y="1287663"/>
                </a:cubicBezTo>
                <a:cubicBezTo>
                  <a:pt x="1253043" y="1290072"/>
                  <a:pt x="1264916" y="1297690"/>
                  <a:pt x="1271681" y="1305565"/>
                </a:cubicBezTo>
                <a:lnTo>
                  <a:pt x="1271742" y="1306172"/>
                </a:lnTo>
                <a:lnTo>
                  <a:pt x="1278525" y="1315767"/>
                </a:lnTo>
                <a:cubicBezTo>
                  <a:pt x="1279797" y="1319398"/>
                  <a:pt x="1280365" y="1323346"/>
                  <a:pt x="1281097" y="1327286"/>
                </a:cubicBezTo>
                <a:cubicBezTo>
                  <a:pt x="1281916" y="1337121"/>
                  <a:pt x="1281807" y="1346176"/>
                  <a:pt x="1277973" y="1355470"/>
                </a:cubicBezTo>
                <a:lnTo>
                  <a:pt x="1277460" y="1347025"/>
                </a:lnTo>
                <a:lnTo>
                  <a:pt x="1273531" y="1357991"/>
                </a:lnTo>
                <a:cubicBezTo>
                  <a:pt x="1270940" y="1361892"/>
                  <a:pt x="1267521" y="1365435"/>
                  <a:pt x="1263870" y="1368980"/>
                </a:cubicBezTo>
                <a:cubicBezTo>
                  <a:pt x="1258351" y="1372929"/>
                  <a:pt x="1253850" y="1376026"/>
                  <a:pt x="1246686" y="1376026"/>
                </a:cubicBezTo>
                <a:cubicBezTo>
                  <a:pt x="1246686" y="1376956"/>
                  <a:pt x="1246686" y="1377886"/>
                  <a:pt x="1246686" y="1378844"/>
                </a:cubicBezTo>
                <a:cubicBezTo>
                  <a:pt x="1241676" y="1379009"/>
                  <a:pt x="1236665" y="1379109"/>
                  <a:pt x="1231651" y="1379196"/>
                </a:cubicBezTo>
                <a:cubicBezTo>
                  <a:pt x="1230240" y="1379244"/>
                  <a:pt x="1228828" y="1379291"/>
                  <a:pt x="1227373" y="1379340"/>
                </a:cubicBezTo>
                <a:cubicBezTo>
                  <a:pt x="1218287" y="1379460"/>
                  <a:pt x="1213363" y="1378568"/>
                  <a:pt x="1206071" y="1373207"/>
                </a:cubicBezTo>
                <a:cubicBezTo>
                  <a:pt x="1204751" y="1372742"/>
                  <a:pt x="1203430" y="1372277"/>
                  <a:pt x="1202069" y="1371798"/>
                </a:cubicBezTo>
                <a:cubicBezTo>
                  <a:pt x="1193777" y="1368730"/>
                  <a:pt x="1188124" y="1363294"/>
                  <a:pt x="1184104" y="1356176"/>
                </a:cubicBezTo>
                <a:cubicBezTo>
                  <a:pt x="1180965" y="1349259"/>
                  <a:pt x="1178852" y="1342590"/>
                  <a:pt x="1177270" y="1335247"/>
                </a:cubicBezTo>
                <a:cubicBezTo>
                  <a:pt x="1175525" y="1327352"/>
                  <a:pt x="1172911" y="1320677"/>
                  <a:pt x="1169002" y="1313464"/>
                </a:cubicBezTo>
                <a:cubicBezTo>
                  <a:pt x="1166989" y="1309737"/>
                  <a:pt x="1165215" y="1305976"/>
                  <a:pt x="1163504" y="1302130"/>
                </a:cubicBezTo>
                <a:cubicBezTo>
                  <a:pt x="1163013" y="1301027"/>
                  <a:pt x="1162521" y="1299924"/>
                  <a:pt x="1162015" y="1298788"/>
                </a:cubicBezTo>
                <a:cubicBezTo>
                  <a:pt x="1160770" y="1295700"/>
                  <a:pt x="1160770" y="1295700"/>
                  <a:pt x="1160111" y="1292656"/>
                </a:cubicBezTo>
                <a:cubicBezTo>
                  <a:pt x="1159345" y="1289507"/>
                  <a:pt x="1159345" y="1289507"/>
                  <a:pt x="1154522" y="1287245"/>
                </a:cubicBezTo>
                <a:cubicBezTo>
                  <a:pt x="1153465" y="1284902"/>
                  <a:pt x="1152426" y="1282552"/>
                  <a:pt x="1151398" y="1280199"/>
                </a:cubicBezTo>
                <a:cubicBezTo>
                  <a:pt x="1149056" y="1276983"/>
                  <a:pt x="1146686" y="1273874"/>
                  <a:pt x="1144173" y="1270774"/>
                </a:cubicBezTo>
                <a:cubicBezTo>
                  <a:pt x="1143477" y="1269912"/>
                  <a:pt x="1142782" y="1269049"/>
                  <a:pt x="1142065" y="1268160"/>
                </a:cubicBezTo>
                <a:cubicBezTo>
                  <a:pt x="1139981" y="1265589"/>
                  <a:pt x="1137880" y="1263029"/>
                  <a:pt x="1135776" y="1260470"/>
                </a:cubicBezTo>
                <a:cubicBezTo>
                  <a:pt x="1134647" y="1259076"/>
                  <a:pt x="1133517" y="1257683"/>
                  <a:pt x="1132353" y="1256247"/>
                </a:cubicBezTo>
                <a:cubicBezTo>
                  <a:pt x="1126291" y="1249045"/>
                  <a:pt x="1121408" y="1244606"/>
                  <a:pt x="1112344" y="1240741"/>
                </a:cubicBezTo>
                <a:cubicBezTo>
                  <a:pt x="1110285" y="1239698"/>
                  <a:pt x="1108234" y="1238642"/>
                  <a:pt x="1106193" y="1237570"/>
                </a:cubicBezTo>
                <a:cubicBezTo>
                  <a:pt x="1104615" y="1236756"/>
                  <a:pt x="1103036" y="1235942"/>
                  <a:pt x="1101409" y="1235104"/>
                </a:cubicBezTo>
                <a:cubicBezTo>
                  <a:pt x="1101409" y="1233708"/>
                  <a:pt x="1101409" y="1232313"/>
                  <a:pt x="1101409" y="1230876"/>
                </a:cubicBezTo>
                <a:cubicBezTo>
                  <a:pt x="1089553" y="1230876"/>
                  <a:pt x="1077697" y="1230876"/>
                  <a:pt x="1065480" y="1230876"/>
                </a:cubicBezTo>
                <a:cubicBezTo>
                  <a:pt x="1064965" y="1232271"/>
                  <a:pt x="1064450" y="1233666"/>
                  <a:pt x="1063919" y="1235104"/>
                </a:cubicBezTo>
                <a:cubicBezTo>
                  <a:pt x="1062372" y="1235104"/>
                  <a:pt x="1060826" y="1235104"/>
                  <a:pt x="1059232" y="1235104"/>
                </a:cubicBezTo>
                <a:cubicBezTo>
                  <a:pt x="1059232" y="1236033"/>
                  <a:pt x="1059232" y="1236964"/>
                  <a:pt x="1059232" y="1237922"/>
                </a:cubicBezTo>
                <a:cubicBezTo>
                  <a:pt x="1052964" y="1240850"/>
                  <a:pt x="1046842" y="1243613"/>
                  <a:pt x="1040194" y="1245761"/>
                </a:cubicBezTo>
                <a:cubicBezTo>
                  <a:pt x="1036552" y="1246941"/>
                  <a:pt x="1033682" y="1248088"/>
                  <a:pt x="1030333" y="1249901"/>
                </a:cubicBezTo>
                <a:cubicBezTo>
                  <a:pt x="1025129" y="1252717"/>
                  <a:pt x="1019615" y="1254371"/>
                  <a:pt x="1013931" y="1256242"/>
                </a:cubicBezTo>
                <a:cubicBezTo>
                  <a:pt x="1009870" y="1257688"/>
                  <a:pt x="1008221" y="1258277"/>
                  <a:pt x="1005925" y="1261615"/>
                </a:cubicBezTo>
                <a:cubicBezTo>
                  <a:pt x="1005474" y="1262632"/>
                  <a:pt x="1005023" y="1263649"/>
                  <a:pt x="1004558" y="1264697"/>
                </a:cubicBezTo>
                <a:cubicBezTo>
                  <a:pt x="1004030" y="1265774"/>
                  <a:pt x="1003503" y="1266852"/>
                  <a:pt x="1002959" y="1267961"/>
                </a:cubicBezTo>
                <a:cubicBezTo>
                  <a:pt x="1001408" y="1271808"/>
                  <a:pt x="1000922" y="1274896"/>
                  <a:pt x="1000653" y="1278965"/>
                </a:cubicBezTo>
                <a:cubicBezTo>
                  <a:pt x="1000303" y="1284158"/>
                  <a:pt x="999467" y="1289055"/>
                  <a:pt x="998297" y="1294137"/>
                </a:cubicBezTo>
                <a:cubicBezTo>
                  <a:pt x="996204" y="1304306"/>
                  <a:pt x="996129" y="1314460"/>
                  <a:pt x="996162" y="1324765"/>
                </a:cubicBezTo>
                <a:cubicBezTo>
                  <a:pt x="996163" y="1325782"/>
                  <a:pt x="996163" y="1326799"/>
                  <a:pt x="996164" y="1327846"/>
                </a:cubicBezTo>
                <a:cubicBezTo>
                  <a:pt x="996263" y="1353742"/>
                  <a:pt x="1001081" y="1378188"/>
                  <a:pt x="1007780" y="1403329"/>
                </a:cubicBezTo>
                <a:cubicBezTo>
                  <a:pt x="1008163" y="1404772"/>
                  <a:pt x="1008546" y="1406215"/>
                  <a:pt x="1008940" y="1407701"/>
                </a:cubicBezTo>
                <a:cubicBezTo>
                  <a:pt x="1009316" y="1409030"/>
                  <a:pt x="1009693" y="1410360"/>
                  <a:pt x="1010080" y="1411730"/>
                </a:cubicBezTo>
                <a:cubicBezTo>
                  <a:pt x="1010409" y="1412900"/>
                  <a:pt x="1010737" y="1414071"/>
                  <a:pt x="1011075" y="1415277"/>
                </a:cubicBezTo>
                <a:cubicBezTo>
                  <a:pt x="1012501" y="1418612"/>
                  <a:pt x="1014136" y="1420168"/>
                  <a:pt x="1017055" y="1422530"/>
                </a:cubicBezTo>
                <a:cubicBezTo>
                  <a:pt x="1018770" y="1425162"/>
                  <a:pt x="1018770" y="1425162"/>
                  <a:pt x="1020277" y="1427991"/>
                </a:cubicBezTo>
                <a:cubicBezTo>
                  <a:pt x="1020778" y="1428917"/>
                  <a:pt x="1021280" y="1429844"/>
                  <a:pt x="1021796" y="1430798"/>
                </a:cubicBezTo>
                <a:cubicBezTo>
                  <a:pt x="1023303" y="1433804"/>
                  <a:pt x="1023303" y="1433804"/>
                  <a:pt x="1024579" y="1437239"/>
                </a:cubicBezTo>
                <a:cubicBezTo>
                  <a:pt x="1026915" y="1441803"/>
                  <a:pt x="1030098" y="1444534"/>
                  <a:pt x="1034043" y="1448072"/>
                </a:cubicBezTo>
                <a:lnTo>
                  <a:pt x="1043782" y="1464320"/>
                </a:lnTo>
                <a:lnTo>
                  <a:pt x="1050458" y="1472189"/>
                </a:lnTo>
                <a:cubicBezTo>
                  <a:pt x="1051737" y="1475181"/>
                  <a:pt x="1052277" y="1478513"/>
                  <a:pt x="1052926" y="1482370"/>
                </a:cubicBezTo>
                <a:cubicBezTo>
                  <a:pt x="1053325" y="1487224"/>
                  <a:pt x="1053364" y="1492038"/>
                  <a:pt x="1053316" y="1496903"/>
                </a:cubicBezTo>
                <a:cubicBezTo>
                  <a:pt x="1053328" y="1498142"/>
                  <a:pt x="1053340" y="1499382"/>
                  <a:pt x="1053352" y="1500660"/>
                </a:cubicBezTo>
                <a:cubicBezTo>
                  <a:pt x="1053348" y="1501856"/>
                  <a:pt x="1053344" y="1503052"/>
                  <a:pt x="1053341" y="1504285"/>
                </a:cubicBezTo>
                <a:cubicBezTo>
                  <a:pt x="1053336" y="1505355"/>
                  <a:pt x="1053333" y="1506426"/>
                  <a:pt x="1053329" y="1507529"/>
                </a:cubicBezTo>
                <a:cubicBezTo>
                  <a:pt x="1052876" y="1510927"/>
                  <a:pt x="1051672" y="1513237"/>
                  <a:pt x="1049801" y="1516192"/>
                </a:cubicBezTo>
                <a:lnTo>
                  <a:pt x="1047312" y="1516192"/>
                </a:lnTo>
                <a:lnTo>
                  <a:pt x="1043611" y="1522585"/>
                </a:lnTo>
                <a:cubicBezTo>
                  <a:pt x="1035301" y="1529631"/>
                  <a:pt x="1035301" y="1529631"/>
                  <a:pt x="1029552" y="1529631"/>
                </a:cubicBezTo>
                <a:cubicBezTo>
                  <a:pt x="1029294" y="1530503"/>
                  <a:pt x="1029036" y="1531375"/>
                  <a:pt x="1028771" y="1532273"/>
                </a:cubicBezTo>
                <a:cubicBezTo>
                  <a:pt x="1025795" y="1536076"/>
                  <a:pt x="1022970" y="1536733"/>
                  <a:pt x="1018013" y="1537640"/>
                </a:cubicBezTo>
                <a:cubicBezTo>
                  <a:pt x="1005216" y="1539038"/>
                  <a:pt x="992573" y="1539816"/>
                  <a:pt x="981126" y="1533859"/>
                </a:cubicBezTo>
                <a:cubicBezTo>
                  <a:pt x="979840" y="1533226"/>
                  <a:pt x="978553" y="1532594"/>
                  <a:pt x="977227" y="1531943"/>
                </a:cubicBezTo>
                <a:cubicBezTo>
                  <a:pt x="965286" y="1525877"/>
                  <a:pt x="959626" y="1520520"/>
                  <a:pt x="955376" y="1508751"/>
                </a:cubicBezTo>
                <a:cubicBezTo>
                  <a:pt x="954571" y="1505674"/>
                  <a:pt x="954571" y="1505674"/>
                  <a:pt x="954571" y="1500037"/>
                </a:cubicBezTo>
                <a:cubicBezTo>
                  <a:pt x="953539" y="1500037"/>
                  <a:pt x="952508" y="1500037"/>
                  <a:pt x="951446" y="1500037"/>
                </a:cubicBezTo>
                <a:cubicBezTo>
                  <a:pt x="951361" y="1495986"/>
                  <a:pt x="951299" y="1491935"/>
                  <a:pt x="951251" y="1487883"/>
                </a:cubicBezTo>
                <a:cubicBezTo>
                  <a:pt x="951224" y="1486744"/>
                  <a:pt x="951198" y="1485605"/>
                  <a:pt x="951171" y="1484431"/>
                </a:cubicBezTo>
                <a:cubicBezTo>
                  <a:pt x="951110" y="1477657"/>
                  <a:pt x="952093" y="1472660"/>
                  <a:pt x="954571" y="1466216"/>
                </a:cubicBezTo>
                <a:cubicBezTo>
                  <a:pt x="954867" y="1462451"/>
                  <a:pt x="955016" y="1458876"/>
                  <a:pt x="954961" y="1455118"/>
                </a:cubicBezTo>
                <a:cubicBezTo>
                  <a:pt x="954951" y="1454080"/>
                  <a:pt x="954942" y="1453042"/>
                  <a:pt x="954932" y="1451972"/>
                </a:cubicBezTo>
                <a:cubicBezTo>
                  <a:pt x="954606" y="1435235"/>
                  <a:pt x="952568" y="1419050"/>
                  <a:pt x="945099" y="1403594"/>
                </a:cubicBezTo>
                <a:cubicBezTo>
                  <a:pt x="943714" y="1400177"/>
                  <a:pt x="943046" y="1397128"/>
                  <a:pt x="942366" y="1393553"/>
                </a:cubicBezTo>
                <a:cubicBezTo>
                  <a:pt x="940837" y="1386134"/>
                  <a:pt x="937840" y="1379609"/>
                  <a:pt x="934451" y="1372734"/>
                </a:cubicBezTo>
                <a:cubicBezTo>
                  <a:pt x="932701" y="1368980"/>
                  <a:pt x="932701" y="1368980"/>
                  <a:pt x="931974" y="1365754"/>
                </a:cubicBezTo>
                <a:cubicBezTo>
                  <a:pt x="931699" y="1364958"/>
                  <a:pt x="931422" y="1364162"/>
                  <a:pt x="931138" y="1363343"/>
                </a:cubicBezTo>
                <a:cubicBezTo>
                  <a:pt x="929592" y="1362878"/>
                  <a:pt x="928045" y="1362413"/>
                  <a:pt x="926452" y="1361933"/>
                </a:cubicBezTo>
                <a:cubicBezTo>
                  <a:pt x="921830" y="1355261"/>
                  <a:pt x="920323" y="1348382"/>
                  <a:pt x="918641" y="1340795"/>
                </a:cubicBezTo>
                <a:cubicBezTo>
                  <a:pt x="918133" y="1338914"/>
                  <a:pt x="917616" y="1337034"/>
                  <a:pt x="917079" y="1335158"/>
                </a:cubicBezTo>
                <a:cubicBezTo>
                  <a:pt x="916048" y="1335158"/>
                  <a:pt x="915018" y="1335158"/>
                  <a:pt x="913955" y="1335158"/>
                </a:cubicBezTo>
                <a:cubicBezTo>
                  <a:pt x="913329" y="1333718"/>
                  <a:pt x="912703" y="1332277"/>
                  <a:pt x="912057" y="1330793"/>
                </a:cubicBezTo>
                <a:cubicBezTo>
                  <a:pt x="909497" y="1325424"/>
                  <a:pt x="906114" y="1320822"/>
                  <a:pt x="902142" y="1316222"/>
                </a:cubicBezTo>
                <a:cubicBezTo>
                  <a:pt x="901465" y="1315432"/>
                  <a:pt x="900788" y="1314642"/>
                  <a:pt x="900091" y="1313828"/>
                </a:cubicBezTo>
                <a:cubicBezTo>
                  <a:pt x="893705" y="1306618"/>
                  <a:pt x="886350" y="1301049"/>
                  <a:pt x="878026" y="1295700"/>
                </a:cubicBezTo>
                <a:cubicBezTo>
                  <a:pt x="876595" y="1294594"/>
                  <a:pt x="876595" y="1294594"/>
                  <a:pt x="875134" y="1293465"/>
                </a:cubicBezTo>
                <a:lnTo>
                  <a:pt x="869869" y="1291826"/>
                </a:lnTo>
                <a:lnTo>
                  <a:pt x="862384" y="1291327"/>
                </a:lnTo>
                <a:cubicBezTo>
                  <a:pt x="856441" y="1290067"/>
                  <a:pt x="850461" y="1290346"/>
                  <a:pt x="844390" y="1290461"/>
                </a:cubicBezTo>
                <a:cubicBezTo>
                  <a:pt x="842453" y="1290480"/>
                  <a:pt x="842453" y="1290480"/>
                  <a:pt x="840476" y="1290500"/>
                </a:cubicBezTo>
                <a:cubicBezTo>
                  <a:pt x="837322" y="1290532"/>
                  <a:pt x="834169" y="1290583"/>
                  <a:pt x="831015" y="1290637"/>
                </a:cubicBezTo>
                <a:cubicBezTo>
                  <a:pt x="831015" y="1291568"/>
                  <a:pt x="831015" y="1292498"/>
                  <a:pt x="831015" y="1293456"/>
                </a:cubicBezTo>
                <a:cubicBezTo>
                  <a:pt x="826519" y="1294808"/>
                  <a:pt x="822922" y="1295235"/>
                  <a:pt x="818225" y="1295570"/>
                </a:cubicBezTo>
                <a:lnTo>
                  <a:pt x="796774" y="1297671"/>
                </a:lnTo>
                <a:lnTo>
                  <a:pt x="783646" y="1305736"/>
                </a:lnTo>
                <a:cubicBezTo>
                  <a:pt x="776915" y="1312506"/>
                  <a:pt x="772692" y="1318638"/>
                  <a:pt x="769263" y="1327143"/>
                </a:cubicBezTo>
                <a:cubicBezTo>
                  <a:pt x="767116" y="1332340"/>
                  <a:pt x="767116" y="1332340"/>
                  <a:pt x="764797" y="1334360"/>
                </a:cubicBezTo>
                <a:lnTo>
                  <a:pt x="757875" y="1353503"/>
                </a:lnTo>
                <a:lnTo>
                  <a:pt x="755676" y="1367455"/>
                </a:lnTo>
                <a:lnTo>
                  <a:pt x="750558" y="1399690"/>
                </a:lnTo>
                <a:lnTo>
                  <a:pt x="753057" y="1411256"/>
                </a:lnTo>
                <a:cubicBezTo>
                  <a:pt x="753057" y="1413117"/>
                  <a:pt x="753057" y="1414976"/>
                  <a:pt x="753057" y="1416893"/>
                </a:cubicBezTo>
                <a:cubicBezTo>
                  <a:pt x="754087" y="1416893"/>
                  <a:pt x="755119" y="1416893"/>
                  <a:pt x="756181" y="1416893"/>
                </a:cubicBezTo>
                <a:cubicBezTo>
                  <a:pt x="759348" y="1422607"/>
                  <a:pt x="758101" y="1429902"/>
                  <a:pt x="758133" y="1436182"/>
                </a:cubicBezTo>
                <a:cubicBezTo>
                  <a:pt x="758182" y="1438458"/>
                  <a:pt x="758182" y="1438458"/>
                  <a:pt x="758231" y="1440781"/>
                </a:cubicBezTo>
                <a:cubicBezTo>
                  <a:pt x="758283" y="1450271"/>
                  <a:pt x="758174" y="1458360"/>
                  <a:pt x="750713" y="1465704"/>
                </a:cubicBezTo>
                <a:cubicBezTo>
                  <a:pt x="749940" y="1466193"/>
                  <a:pt x="749167" y="1466681"/>
                  <a:pt x="748370" y="1467185"/>
                </a:cubicBezTo>
                <a:cubicBezTo>
                  <a:pt x="743665" y="1470047"/>
                  <a:pt x="743665" y="1470047"/>
                  <a:pt x="741633" y="1473526"/>
                </a:cubicBezTo>
                <a:cubicBezTo>
                  <a:pt x="737793" y="1477248"/>
                  <a:pt x="733582" y="1477483"/>
                  <a:pt x="728154" y="1478343"/>
                </a:cubicBezTo>
                <a:cubicBezTo>
                  <a:pt x="724855" y="1478778"/>
                  <a:pt x="724855" y="1478778"/>
                  <a:pt x="721814" y="1480308"/>
                </a:cubicBezTo>
                <a:cubicBezTo>
                  <a:pt x="717303" y="1480523"/>
                  <a:pt x="712854" y="1480634"/>
                  <a:pt x="708341" y="1480661"/>
                </a:cubicBezTo>
                <a:cubicBezTo>
                  <a:pt x="707118" y="1480690"/>
                  <a:pt x="705896" y="1480719"/>
                  <a:pt x="704637" y="1480748"/>
                </a:cubicBezTo>
                <a:cubicBezTo>
                  <a:pt x="690446" y="1480834"/>
                  <a:pt x="679632" y="1476246"/>
                  <a:pt x="668507" y="1468418"/>
                </a:cubicBezTo>
                <a:cubicBezTo>
                  <a:pt x="662823" y="1463224"/>
                  <a:pt x="661745" y="1456995"/>
                  <a:pt x="660178" y="1450027"/>
                </a:cubicBezTo>
                <a:cubicBezTo>
                  <a:pt x="659725" y="1446589"/>
                  <a:pt x="659725" y="1446589"/>
                  <a:pt x="657767" y="1445078"/>
                </a:cubicBezTo>
                <a:cubicBezTo>
                  <a:pt x="656859" y="1433686"/>
                  <a:pt x="655965" y="1419178"/>
                  <a:pt x="663369" y="1409390"/>
                </a:cubicBezTo>
                <a:cubicBezTo>
                  <a:pt x="666078" y="1406601"/>
                  <a:pt x="668921" y="1404013"/>
                  <a:pt x="671826" y="1401392"/>
                </a:cubicBezTo>
                <a:cubicBezTo>
                  <a:pt x="675197" y="1397623"/>
                  <a:pt x="677125" y="1394916"/>
                  <a:pt x="678075" y="1390118"/>
                </a:cubicBezTo>
                <a:cubicBezTo>
                  <a:pt x="680137" y="1389653"/>
                  <a:pt x="682199" y="1389188"/>
                  <a:pt x="684323" y="1388709"/>
                </a:cubicBezTo>
                <a:cubicBezTo>
                  <a:pt x="684643" y="1387232"/>
                  <a:pt x="684964" y="1385755"/>
                  <a:pt x="685293" y="1384233"/>
                </a:cubicBezTo>
                <a:cubicBezTo>
                  <a:pt x="685718" y="1382290"/>
                  <a:pt x="686144" y="1380347"/>
                  <a:pt x="686569" y="1378404"/>
                </a:cubicBezTo>
                <a:cubicBezTo>
                  <a:pt x="686885" y="1376945"/>
                  <a:pt x="686885" y="1376945"/>
                  <a:pt x="687207" y="1375456"/>
                </a:cubicBezTo>
                <a:cubicBezTo>
                  <a:pt x="688115" y="1371315"/>
                  <a:pt x="689090" y="1367353"/>
                  <a:pt x="690572" y="1363343"/>
                </a:cubicBezTo>
                <a:cubicBezTo>
                  <a:pt x="692411" y="1350128"/>
                  <a:pt x="692374" y="1336672"/>
                  <a:pt x="692495" y="1323376"/>
                </a:cubicBezTo>
                <a:cubicBezTo>
                  <a:pt x="692524" y="1320586"/>
                  <a:pt x="692574" y="1317796"/>
                  <a:pt x="692625" y="1315006"/>
                </a:cubicBezTo>
                <a:cubicBezTo>
                  <a:pt x="692853" y="1300589"/>
                  <a:pt x="692853" y="1300589"/>
                  <a:pt x="687447" y="1287245"/>
                </a:cubicBezTo>
                <a:cubicBezTo>
                  <a:pt x="685901" y="1286780"/>
                  <a:pt x="684354" y="1286315"/>
                  <a:pt x="682761" y="1285835"/>
                </a:cubicBezTo>
                <a:cubicBezTo>
                  <a:pt x="680876" y="1283743"/>
                  <a:pt x="680876" y="1283743"/>
                  <a:pt x="678954" y="1281608"/>
                </a:cubicBezTo>
                <a:cubicBezTo>
                  <a:pt x="674854" y="1277278"/>
                  <a:pt x="674356" y="1276958"/>
                  <a:pt x="668702" y="1275971"/>
                </a:cubicBezTo>
                <a:cubicBezTo>
                  <a:pt x="666619" y="1274092"/>
                  <a:pt x="664536" y="1272213"/>
                  <a:pt x="662454" y="1270334"/>
                </a:cubicBezTo>
                <a:cubicBezTo>
                  <a:pt x="658341" y="1268566"/>
                  <a:pt x="658341" y="1268566"/>
                  <a:pt x="654643" y="1267516"/>
                </a:cubicBezTo>
                <a:cubicBezTo>
                  <a:pt x="654643" y="1266585"/>
                  <a:pt x="654643" y="1265656"/>
                  <a:pt x="654643" y="1264697"/>
                </a:cubicBezTo>
                <a:cubicBezTo>
                  <a:pt x="653161" y="1264581"/>
                  <a:pt x="651679" y="1264465"/>
                  <a:pt x="650152" y="1264345"/>
                </a:cubicBezTo>
                <a:cubicBezTo>
                  <a:pt x="642318" y="1263373"/>
                  <a:pt x="635297" y="1260465"/>
                  <a:pt x="628087" y="1257651"/>
                </a:cubicBezTo>
                <a:cubicBezTo>
                  <a:pt x="628087" y="1256721"/>
                  <a:pt x="628087" y="1255791"/>
                  <a:pt x="628087" y="1254833"/>
                </a:cubicBezTo>
                <a:cubicBezTo>
                  <a:pt x="627108" y="1254662"/>
                  <a:pt x="626129" y="1254491"/>
                  <a:pt x="625121" y="1254315"/>
                </a:cubicBezTo>
                <a:cubicBezTo>
                  <a:pt x="623845" y="1254079"/>
                  <a:pt x="622568" y="1253843"/>
                  <a:pt x="621252" y="1253600"/>
                </a:cubicBezTo>
                <a:cubicBezTo>
                  <a:pt x="619984" y="1253371"/>
                  <a:pt x="618716" y="1253142"/>
                  <a:pt x="617409" y="1252906"/>
                </a:cubicBezTo>
                <a:cubicBezTo>
                  <a:pt x="614027" y="1252014"/>
                  <a:pt x="614027" y="1252014"/>
                  <a:pt x="610904" y="1249196"/>
                </a:cubicBezTo>
                <a:cubicBezTo>
                  <a:pt x="592259" y="1248653"/>
                  <a:pt x="578635" y="1260869"/>
                  <a:pt x="565739" y="1271742"/>
                </a:cubicBezTo>
                <a:cubicBezTo>
                  <a:pt x="558808" y="1277725"/>
                  <a:pt x="552763" y="1283983"/>
                  <a:pt x="546924" y="1290829"/>
                </a:cubicBezTo>
                <a:cubicBezTo>
                  <a:pt x="545838" y="1292087"/>
                  <a:pt x="544753" y="1293346"/>
                  <a:pt x="543635" y="1294643"/>
                </a:cubicBezTo>
                <a:cubicBezTo>
                  <a:pt x="542650" y="1295813"/>
                  <a:pt x="541666" y="1296983"/>
                  <a:pt x="540651" y="1298188"/>
                </a:cubicBezTo>
                <a:cubicBezTo>
                  <a:pt x="537294" y="1301526"/>
                  <a:pt x="533978" y="1303337"/>
                  <a:pt x="529673" y="1305565"/>
                </a:cubicBezTo>
                <a:cubicBezTo>
                  <a:pt x="527599" y="1308478"/>
                  <a:pt x="527599" y="1308478"/>
                  <a:pt x="526549" y="1311202"/>
                </a:cubicBezTo>
                <a:cubicBezTo>
                  <a:pt x="525518" y="1311202"/>
                  <a:pt x="524487" y="1311202"/>
                  <a:pt x="523425" y="1311202"/>
                </a:cubicBezTo>
                <a:cubicBezTo>
                  <a:pt x="523360" y="1311986"/>
                  <a:pt x="523296" y="1312771"/>
                  <a:pt x="523230" y="1313580"/>
                </a:cubicBezTo>
                <a:cubicBezTo>
                  <a:pt x="521863" y="1316839"/>
                  <a:pt x="521863" y="1316839"/>
                  <a:pt x="517732" y="1319739"/>
                </a:cubicBezTo>
                <a:cubicBezTo>
                  <a:pt x="511111" y="1324565"/>
                  <a:pt x="506875" y="1330731"/>
                  <a:pt x="502239" y="1337096"/>
                </a:cubicBezTo>
                <a:cubicBezTo>
                  <a:pt x="500512" y="1339427"/>
                  <a:pt x="498785" y="1341757"/>
                  <a:pt x="497058" y="1344087"/>
                </a:cubicBezTo>
                <a:cubicBezTo>
                  <a:pt x="495827" y="1345760"/>
                  <a:pt x="495827" y="1345760"/>
                  <a:pt x="494572" y="1347465"/>
                </a:cubicBezTo>
                <a:cubicBezTo>
                  <a:pt x="492366" y="1350414"/>
                  <a:pt x="490094" y="1353304"/>
                  <a:pt x="487776" y="1356181"/>
                </a:cubicBezTo>
                <a:cubicBezTo>
                  <a:pt x="484805" y="1359972"/>
                  <a:pt x="482865" y="1363193"/>
                  <a:pt x="481248" y="1367571"/>
                </a:cubicBezTo>
                <a:cubicBezTo>
                  <a:pt x="480216" y="1367571"/>
                  <a:pt x="479186" y="1367571"/>
                  <a:pt x="478123" y="1367571"/>
                </a:cubicBezTo>
                <a:cubicBezTo>
                  <a:pt x="477963" y="1368558"/>
                  <a:pt x="477801" y="1369547"/>
                  <a:pt x="477635" y="1370565"/>
                </a:cubicBezTo>
                <a:cubicBezTo>
                  <a:pt x="475602" y="1378236"/>
                  <a:pt x="471952" y="1383371"/>
                  <a:pt x="465626" y="1388709"/>
                </a:cubicBezTo>
                <a:cubicBezTo>
                  <a:pt x="462272" y="1392748"/>
                  <a:pt x="462272" y="1392748"/>
                  <a:pt x="461233" y="1397340"/>
                </a:cubicBezTo>
                <a:cubicBezTo>
                  <a:pt x="460030" y="1401461"/>
                  <a:pt x="458298" y="1404501"/>
                  <a:pt x="455765" y="1408086"/>
                </a:cubicBezTo>
                <a:cubicBezTo>
                  <a:pt x="442829" y="1428603"/>
                  <a:pt x="441572" y="1454548"/>
                  <a:pt x="439070" y="1477490"/>
                </a:cubicBezTo>
                <a:cubicBezTo>
                  <a:pt x="437524" y="1477955"/>
                  <a:pt x="435977" y="1478420"/>
                  <a:pt x="434384" y="1478899"/>
                </a:cubicBezTo>
                <a:cubicBezTo>
                  <a:pt x="433739" y="1479916"/>
                  <a:pt x="433095" y="1480933"/>
                  <a:pt x="432431" y="1481982"/>
                </a:cubicBezTo>
                <a:cubicBezTo>
                  <a:pt x="428860" y="1487159"/>
                  <a:pt x="424291" y="1490903"/>
                  <a:pt x="418763" y="1494401"/>
                </a:cubicBezTo>
                <a:cubicBezTo>
                  <a:pt x="417731" y="1494401"/>
                  <a:pt x="416701" y="1494401"/>
                  <a:pt x="415639" y="1494401"/>
                </a:cubicBezTo>
                <a:cubicBezTo>
                  <a:pt x="415639" y="1495330"/>
                  <a:pt x="415639" y="1496260"/>
                  <a:pt x="415639" y="1497219"/>
                </a:cubicBezTo>
                <a:cubicBezTo>
                  <a:pt x="412546" y="1497684"/>
                  <a:pt x="409453" y="1498149"/>
                  <a:pt x="406265" y="1498628"/>
                </a:cubicBezTo>
                <a:cubicBezTo>
                  <a:pt x="406265" y="1499559"/>
                  <a:pt x="406265" y="1500488"/>
                  <a:pt x="406265" y="1501447"/>
                </a:cubicBezTo>
                <a:cubicBezTo>
                  <a:pt x="395955" y="1501447"/>
                  <a:pt x="385645" y="1501447"/>
                  <a:pt x="375023" y="1501447"/>
                </a:cubicBezTo>
                <a:lnTo>
                  <a:pt x="375023" y="1499438"/>
                </a:lnTo>
                <a:lnTo>
                  <a:pt x="374964" y="1499436"/>
                </a:lnTo>
                <a:lnTo>
                  <a:pt x="373179" y="1498628"/>
                </a:lnTo>
                <a:lnTo>
                  <a:pt x="365650" y="1498628"/>
                </a:lnTo>
                <a:lnTo>
                  <a:pt x="363134" y="1494087"/>
                </a:lnTo>
                <a:lnTo>
                  <a:pt x="362171" y="1493651"/>
                </a:lnTo>
                <a:cubicBezTo>
                  <a:pt x="361656" y="1492722"/>
                  <a:pt x="361140" y="1491791"/>
                  <a:pt x="360609" y="1490833"/>
                </a:cubicBezTo>
                <a:cubicBezTo>
                  <a:pt x="361640" y="1490833"/>
                  <a:pt x="362671" y="1490833"/>
                  <a:pt x="363733" y="1490833"/>
                </a:cubicBezTo>
                <a:lnTo>
                  <a:pt x="363733" y="1489980"/>
                </a:lnTo>
                <a:lnTo>
                  <a:pt x="348467" y="1481717"/>
                </a:lnTo>
                <a:lnTo>
                  <a:pt x="343872" y="1461078"/>
                </a:lnTo>
                <a:lnTo>
                  <a:pt x="343656" y="1463649"/>
                </a:lnTo>
                <a:cubicBezTo>
                  <a:pt x="343541" y="1465230"/>
                  <a:pt x="343541" y="1465230"/>
                  <a:pt x="343424" y="1466842"/>
                </a:cubicBezTo>
                <a:cubicBezTo>
                  <a:pt x="342908" y="1466842"/>
                  <a:pt x="342393" y="1466842"/>
                  <a:pt x="341861" y="1466842"/>
                </a:cubicBezTo>
                <a:cubicBezTo>
                  <a:pt x="340987" y="1449564"/>
                  <a:pt x="340999" y="1434331"/>
                  <a:pt x="354143" y="1420549"/>
                </a:cubicBezTo>
                <a:cubicBezTo>
                  <a:pt x="360765" y="1414011"/>
                  <a:pt x="367631" y="1407790"/>
                  <a:pt x="376229" y="1403427"/>
                </a:cubicBezTo>
                <a:lnTo>
                  <a:pt x="379491" y="1404408"/>
                </a:lnTo>
                <a:lnTo>
                  <a:pt x="379710" y="1404210"/>
                </a:lnTo>
                <a:cubicBezTo>
                  <a:pt x="380290" y="1402902"/>
                  <a:pt x="380290" y="1402902"/>
                  <a:pt x="380882" y="1401568"/>
                </a:cubicBezTo>
                <a:cubicBezTo>
                  <a:pt x="383675" y="1397284"/>
                  <a:pt x="387587" y="1395610"/>
                  <a:pt x="392207" y="1392936"/>
                </a:cubicBezTo>
                <a:lnTo>
                  <a:pt x="399542" y="1386774"/>
                </a:lnTo>
                <a:lnTo>
                  <a:pt x="405485" y="1378917"/>
                </a:lnTo>
                <a:cubicBezTo>
                  <a:pt x="408065" y="1375974"/>
                  <a:pt x="410029" y="1372774"/>
                  <a:pt x="412008" y="1369481"/>
                </a:cubicBezTo>
                <a:cubicBezTo>
                  <a:pt x="414759" y="1365166"/>
                  <a:pt x="417963" y="1361131"/>
                  <a:pt x="421130" y="1357057"/>
                </a:cubicBezTo>
                <a:cubicBezTo>
                  <a:pt x="423073" y="1354140"/>
                  <a:pt x="423985" y="1351767"/>
                  <a:pt x="424676" y="1348443"/>
                </a:cubicBezTo>
                <a:lnTo>
                  <a:pt x="427275" y="1348443"/>
                </a:lnTo>
                <a:lnTo>
                  <a:pt x="428135" y="1345727"/>
                </a:lnTo>
                <a:cubicBezTo>
                  <a:pt x="429370" y="1341828"/>
                  <a:pt x="430645" y="1338666"/>
                  <a:pt x="432822" y="1335158"/>
                </a:cubicBezTo>
                <a:cubicBezTo>
                  <a:pt x="433853" y="1335158"/>
                  <a:pt x="434884" y="1335158"/>
                  <a:pt x="435946" y="1335158"/>
                </a:cubicBezTo>
                <a:cubicBezTo>
                  <a:pt x="436526" y="1333385"/>
                  <a:pt x="437106" y="1331613"/>
                  <a:pt x="437704" y="1329786"/>
                </a:cubicBezTo>
                <a:cubicBezTo>
                  <a:pt x="440162" y="1323132"/>
                  <a:pt x="443602" y="1317301"/>
                  <a:pt x="447394" y="1311196"/>
                </a:cubicBezTo>
                <a:cubicBezTo>
                  <a:pt x="456493" y="1296485"/>
                  <a:pt x="463325" y="1281864"/>
                  <a:pt x="469287" y="1265964"/>
                </a:cubicBezTo>
                <a:cubicBezTo>
                  <a:pt x="474589" y="1252134"/>
                  <a:pt x="474589" y="1252134"/>
                  <a:pt x="478178" y="1246787"/>
                </a:cubicBezTo>
                <a:cubicBezTo>
                  <a:pt x="481232" y="1240246"/>
                  <a:pt x="480204" y="1232766"/>
                  <a:pt x="480179" y="1225768"/>
                </a:cubicBezTo>
                <a:cubicBezTo>
                  <a:pt x="480174" y="1222894"/>
                  <a:pt x="480210" y="1220023"/>
                  <a:pt x="480250" y="1217149"/>
                </a:cubicBezTo>
                <a:cubicBezTo>
                  <a:pt x="480260" y="1199291"/>
                  <a:pt x="476718" y="1187768"/>
                  <a:pt x="462972" y="1174827"/>
                </a:cubicBezTo>
                <a:cubicBezTo>
                  <a:pt x="461148" y="1173192"/>
                  <a:pt x="459312" y="1171566"/>
                  <a:pt x="457468" y="1169949"/>
                </a:cubicBezTo>
                <a:cubicBezTo>
                  <a:pt x="451412" y="1164522"/>
                  <a:pt x="445876" y="1158660"/>
                  <a:pt x="440657" y="1152570"/>
                </a:cubicBezTo>
                <a:cubicBezTo>
                  <a:pt x="430474" y="1140786"/>
                  <a:pt x="418230" y="1128998"/>
                  <a:pt x="403142" y="1122366"/>
                </a:cubicBezTo>
                <a:cubicBezTo>
                  <a:pt x="402626" y="1121436"/>
                  <a:pt x="402110" y="1120506"/>
                  <a:pt x="401579" y="1119547"/>
                </a:cubicBezTo>
                <a:cubicBezTo>
                  <a:pt x="390472" y="1115326"/>
                  <a:pt x="375918" y="1114217"/>
                  <a:pt x="364564" y="1118209"/>
                </a:cubicBezTo>
                <a:cubicBezTo>
                  <a:pt x="362278" y="1119428"/>
                  <a:pt x="360026" y="1120704"/>
                  <a:pt x="357822" y="1122041"/>
                </a:cubicBezTo>
                <a:cubicBezTo>
                  <a:pt x="354521" y="1123884"/>
                  <a:pt x="351862" y="1124582"/>
                  <a:pt x="348077" y="1125273"/>
                </a:cubicBezTo>
                <a:cubicBezTo>
                  <a:pt x="341765" y="1126696"/>
                  <a:pt x="339382" y="1128619"/>
                  <a:pt x="334408" y="1132230"/>
                </a:cubicBezTo>
                <a:cubicBezTo>
                  <a:pt x="332284" y="1132909"/>
                  <a:pt x="330131" y="1133519"/>
                  <a:pt x="327964" y="1134080"/>
                </a:cubicBezTo>
                <a:cubicBezTo>
                  <a:pt x="309975" y="1139067"/>
                  <a:pt x="290592" y="1152117"/>
                  <a:pt x="279734" y="1166051"/>
                </a:cubicBezTo>
                <a:cubicBezTo>
                  <a:pt x="277929" y="1169534"/>
                  <a:pt x="277929" y="1169534"/>
                  <a:pt x="276609" y="1173098"/>
                </a:cubicBezTo>
                <a:cubicBezTo>
                  <a:pt x="272413" y="1180804"/>
                  <a:pt x="269322" y="1184144"/>
                  <a:pt x="260988" y="1188599"/>
                </a:cubicBezTo>
                <a:cubicBezTo>
                  <a:pt x="259988" y="1189435"/>
                  <a:pt x="258987" y="1190271"/>
                  <a:pt x="257956" y="1191132"/>
                </a:cubicBezTo>
                <a:lnTo>
                  <a:pt x="243805" y="1196629"/>
                </a:lnTo>
                <a:lnTo>
                  <a:pt x="243805" y="1194236"/>
                </a:lnTo>
                <a:lnTo>
                  <a:pt x="240288" y="1194765"/>
                </a:lnTo>
                <a:lnTo>
                  <a:pt x="243374" y="1194765"/>
                </a:lnTo>
                <a:lnTo>
                  <a:pt x="243374" y="1196797"/>
                </a:lnTo>
                <a:lnTo>
                  <a:pt x="243805" y="1196629"/>
                </a:lnTo>
                <a:lnTo>
                  <a:pt x="243805" y="1197055"/>
                </a:lnTo>
                <a:lnTo>
                  <a:pt x="243374" y="1197055"/>
                </a:lnTo>
                <a:lnTo>
                  <a:pt x="243374" y="1197584"/>
                </a:lnTo>
                <a:lnTo>
                  <a:pt x="241319" y="1197595"/>
                </a:lnTo>
                <a:lnTo>
                  <a:pt x="238009" y="1198881"/>
                </a:lnTo>
                <a:cubicBezTo>
                  <a:pt x="231012" y="1199584"/>
                  <a:pt x="223620" y="1198927"/>
                  <a:pt x="215687" y="1198464"/>
                </a:cubicBezTo>
                <a:lnTo>
                  <a:pt x="215687" y="1197734"/>
                </a:lnTo>
                <a:lnTo>
                  <a:pt x="213936" y="1197744"/>
                </a:lnTo>
                <a:cubicBezTo>
                  <a:pt x="210570" y="1197584"/>
                  <a:pt x="210570" y="1197584"/>
                  <a:pt x="207446" y="1196175"/>
                </a:cubicBezTo>
                <a:lnTo>
                  <a:pt x="207822" y="1195610"/>
                </a:lnTo>
                <a:lnTo>
                  <a:pt x="184737" y="1180936"/>
                </a:lnTo>
                <a:cubicBezTo>
                  <a:pt x="180258" y="1172216"/>
                  <a:pt x="179226" y="1164355"/>
                  <a:pt x="179270" y="1154866"/>
                </a:cubicBezTo>
                <a:cubicBezTo>
                  <a:pt x="179233" y="1153260"/>
                  <a:pt x="179233" y="1153260"/>
                  <a:pt x="179194" y="1151621"/>
                </a:cubicBezTo>
                <a:cubicBezTo>
                  <a:pt x="179182" y="1139523"/>
                  <a:pt x="183658" y="1128837"/>
                  <a:pt x="193195" y="1120065"/>
                </a:cubicBezTo>
                <a:cubicBezTo>
                  <a:pt x="204265" y="1110959"/>
                  <a:pt x="215062" y="1110626"/>
                  <a:pt x="229551" y="1110299"/>
                </a:cubicBezTo>
                <a:cubicBezTo>
                  <a:pt x="240132" y="1110024"/>
                  <a:pt x="250506" y="1109652"/>
                  <a:pt x="260988" y="1108274"/>
                </a:cubicBezTo>
                <a:cubicBezTo>
                  <a:pt x="260988" y="1107344"/>
                  <a:pt x="260988" y="1106413"/>
                  <a:pt x="260988" y="1105455"/>
                </a:cubicBezTo>
                <a:cubicBezTo>
                  <a:pt x="261953" y="1105078"/>
                  <a:pt x="262918" y="1104699"/>
                  <a:pt x="263911" y="1104310"/>
                </a:cubicBezTo>
                <a:cubicBezTo>
                  <a:pt x="272903" y="1100557"/>
                  <a:pt x="279802" y="1096307"/>
                  <a:pt x="286995" y="1090185"/>
                </a:cubicBezTo>
                <a:cubicBezTo>
                  <a:pt x="290956" y="1086897"/>
                  <a:pt x="295114" y="1083955"/>
                  <a:pt x="299358" y="1080970"/>
                </a:cubicBezTo>
                <a:cubicBezTo>
                  <a:pt x="306613" y="1075692"/>
                  <a:pt x="312234" y="1070023"/>
                  <a:pt x="317762" y="1063272"/>
                </a:cubicBezTo>
                <a:cubicBezTo>
                  <a:pt x="320349" y="1060360"/>
                  <a:pt x="320349" y="1060360"/>
                  <a:pt x="325035" y="1057542"/>
                </a:cubicBezTo>
                <a:cubicBezTo>
                  <a:pt x="329912" y="1045734"/>
                  <a:pt x="327928" y="1035103"/>
                  <a:pt x="325328" y="1023104"/>
                </a:cubicBezTo>
                <a:cubicBezTo>
                  <a:pt x="325069" y="1021831"/>
                  <a:pt x="324811" y="1020559"/>
                  <a:pt x="324544" y="1019247"/>
                </a:cubicBezTo>
                <a:cubicBezTo>
                  <a:pt x="322876" y="1011407"/>
                  <a:pt x="320562" y="1004340"/>
                  <a:pt x="317225" y="996945"/>
                </a:cubicBezTo>
                <a:cubicBezTo>
                  <a:pt x="316619" y="995541"/>
                  <a:pt x="316013" y="994137"/>
                  <a:pt x="315388" y="992690"/>
                </a:cubicBezTo>
                <a:cubicBezTo>
                  <a:pt x="306307" y="972561"/>
                  <a:pt x="298931" y="959343"/>
                  <a:pt x="276232" y="950666"/>
                </a:cubicBezTo>
                <a:cubicBezTo>
                  <a:pt x="274810" y="950127"/>
                  <a:pt x="273388" y="949587"/>
                  <a:pt x="271923" y="949031"/>
                </a:cubicBezTo>
                <a:cubicBezTo>
                  <a:pt x="270129" y="948244"/>
                  <a:pt x="270129" y="948244"/>
                  <a:pt x="268299" y="947441"/>
                </a:cubicBezTo>
                <a:cubicBezTo>
                  <a:pt x="247071" y="938140"/>
                  <a:pt x="222259" y="939051"/>
                  <a:pt x="199187" y="938991"/>
                </a:cubicBezTo>
                <a:cubicBezTo>
                  <a:pt x="197383" y="938984"/>
                  <a:pt x="195579" y="938978"/>
                  <a:pt x="193719" y="938971"/>
                </a:cubicBezTo>
                <a:cubicBezTo>
                  <a:pt x="192010" y="938974"/>
                  <a:pt x="190300" y="938977"/>
                  <a:pt x="188539" y="938980"/>
                </a:cubicBezTo>
                <a:cubicBezTo>
                  <a:pt x="187000" y="938981"/>
                  <a:pt x="185460" y="938983"/>
                  <a:pt x="183874" y="938985"/>
                </a:cubicBezTo>
                <a:cubicBezTo>
                  <a:pt x="180148" y="939150"/>
                  <a:pt x="177092" y="939720"/>
                  <a:pt x="173509" y="940576"/>
                </a:cubicBezTo>
                <a:cubicBezTo>
                  <a:pt x="169458" y="940674"/>
                  <a:pt x="165452" y="940710"/>
                  <a:pt x="161403" y="940664"/>
                </a:cubicBezTo>
                <a:cubicBezTo>
                  <a:pt x="160314" y="940658"/>
                  <a:pt x="159224" y="940651"/>
                  <a:pt x="158102" y="940645"/>
                </a:cubicBezTo>
                <a:lnTo>
                  <a:pt x="150875" y="940583"/>
                </a:lnTo>
                <a:lnTo>
                  <a:pt x="148425" y="940717"/>
                </a:lnTo>
                <a:lnTo>
                  <a:pt x="149617" y="940995"/>
                </a:lnTo>
                <a:cubicBezTo>
                  <a:pt x="149617" y="941459"/>
                  <a:pt x="149617" y="941924"/>
                  <a:pt x="149617" y="942404"/>
                </a:cubicBezTo>
                <a:cubicBezTo>
                  <a:pt x="148630" y="942558"/>
                  <a:pt x="147643" y="942712"/>
                  <a:pt x="146627" y="942871"/>
                </a:cubicBezTo>
                <a:cubicBezTo>
                  <a:pt x="134541" y="944804"/>
                  <a:pt x="122553" y="947081"/>
                  <a:pt x="110564" y="949449"/>
                </a:cubicBezTo>
                <a:lnTo>
                  <a:pt x="111283" y="946205"/>
                </a:lnTo>
                <a:lnTo>
                  <a:pt x="101652" y="956078"/>
                </a:lnTo>
                <a:cubicBezTo>
                  <a:pt x="99870" y="957260"/>
                  <a:pt x="99870" y="957260"/>
                  <a:pt x="98052" y="958467"/>
                </a:cubicBezTo>
                <a:cubicBezTo>
                  <a:pt x="75683" y="972989"/>
                  <a:pt x="75683" y="972989"/>
                  <a:pt x="67286" y="972989"/>
                </a:cubicBezTo>
                <a:cubicBezTo>
                  <a:pt x="67286" y="973918"/>
                  <a:pt x="67286" y="974848"/>
                  <a:pt x="67286" y="975807"/>
                </a:cubicBezTo>
                <a:cubicBezTo>
                  <a:pt x="55713" y="979519"/>
                  <a:pt x="43549" y="980689"/>
                  <a:pt x="31942" y="976423"/>
                </a:cubicBezTo>
                <a:cubicBezTo>
                  <a:pt x="19953" y="970870"/>
                  <a:pt x="10774" y="964932"/>
                  <a:pt x="5673" y="953419"/>
                </a:cubicBezTo>
                <a:cubicBezTo>
                  <a:pt x="4801" y="950441"/>
                  <a:pt x="4801" y="950441"/>
                  <a:pt x="4801" y="944804"/>
                </a:cubicBezTo>
                <a:cubicBezTo>
                  <a:pt x="3770" y="944804"/>
                  <a:pt x="2739" y="944804"/>
                  <a:pt x="1676" y="944804"/>
                </a:cubicBezTo>
                <a:cubicBezTo>
                  <a:pt x="-34" y="940174"/>
                  <a:pt x="-41" y="936720"/>
                  <a:pt x="17" y="931857"/>
                </a:cubicBezTo>
                <a:cubicBezTo>
                  <a:pt x="31" y="930325"/>
                  <a:pt x="45" y="928794"/>
                  <a:pt x="59" y="927216"/>
                </a:cubicBezTo>
                <a:cubicBezTo>
                  <a:pt x="78" y="926044"/>
                  <a:pt x="96" y="924873"/>
                  <a:pt x="115" y="923666"/>
                </a:cubicBezTo>
                <a:cubicBezTo>
                  <a:pt x="1145" y="923666"/>
                  <a:pt x="2176" y="923666"/>
                  <a:pt x="3238" y="923666"/>
                </a:cubicBezTo>
                <a:cubicBezTo>
                  <a:pt x="3238" y="921805"/>
                  <a:pt x="3238" y="919945"/>
                  <a:pt x="3238" y="918029"/>
                </a:cubicBezTo>
                <a:cubicBezTo>
                  <a:pt x="4270" y="918029"/>
                  <a:pt x="5300" y="918029"/>
                  <a:pt x="6363" y="918029"/>
                </a:cubicBezTo>
                <a:cubicBezTo>
                  <a:pt x="6459" y="916314"/>
                  <a:pt x="6556" y="914599"/>
                  <a:pt x="6656" y="912832"/>
                </a:cubicBezTo>
                <a:cubicBezTo>
                  <a:pt x="7542" y="906455"/>
                  <a:pt x="10104" y="903750"/>
                  <a:pt x="15736" y="899709"/>
                </a:cubicBezTo>
                <a:lnTo>
                  <a:pt x="17243" y="898894"/>
                </a:lnTo>
                <a:lnTo>
                  <a:pt x="16800" y="898694"/>
                </a:lnTo>
                <a:lnTo>
                  <a:pt x="24988" y="894101"/>
                </a:lnTo>
                <a:lnTo>
                  <a:pt x="26768" y="892399"/>
                </a:lnTo>
                <a:cubicBezTo>
                  <a:pt x="28282" y="891122"/>
                  <a:pt x="29038" y="890483"/>
                  <a:pt x="30198" y="890164"/>
                </a:cubicBezTo>
                <a:lnTo>
                  <a:pt x="32204" y="890054"/>
                </a:lnTo>
                <a:lnTo>
                  <a:pt x="38914" y="886291"/>
                </a:lnTo>
                <a:cubicBezTo>
                  <a:pt x="47169" y="885770"/>
                  <a:pt x="55396" y="885800"/>
                  <a:pt x="63664" y="886011"/>
                </a:cubicBezTo>
                <a:lnTo>
                  <a:pt x="63664" y="886531"/>
                </a:lnTo>
                <a:lnTo>
                  <a:pt x="70784" y="886647"/>
                </a:lnTo>
                <a:cubicBezTo>
                  <a:pt x="74787" y="887000"/>
                  <a:pt x="77233" y="887948"/>
                  <a:pt x="82126" y="889845"/>
                </a:cubicBezTo>
                <a:cubicBezTo>
                  <a:pt x="92427" y="893791"/>
                  <a:pt x="103139" y="893710"/>
                  <a:pt x="114149" y="892663"/>
                </a:cubicBezTo>
                <a:cubicBezTo>
                  <a:pt x="115696" y="891733"/>
                  <a:pt x="117242" y="890803"/>
                  <a:pt x="118836" y="889845"/>
                </a:cubicBezTo>
                <a:cubicBezTo>
                  <a:pt x="123097" y="888850"/>
                  <a:pt x="127325" y="887944"/>
                  <a:pt x="131626" y="887114"/>
                </a:cubicBezTo>
                <a:cubicBezTo>
                  <a:pt x="139750" y="885542"/>
                  <a:pt x="147376" y="883653"/>
                  <a:pt x="155116" y="880913"/>
                </a:cubicBezTo>
                <a:cubicBezTo>
                  <a:pt x="158498" y="879775"/>
                  <a:pt x="161861" y="879076"/>
                  <a:pt x="165406" y="878483"/>
                </a:cubicBezTo>
                <a:cubicBezTo>
                  <a:pt x="170342" y="877655"/>
                  <a:pt x="172265" y="876971"/>
                  <a:pt x="176634" y="874343"/>
                </a:cubicBezTo>
                <a:cubicBezTo>
                  <a:pt x="179863" y="873335"/>
                  <a:pt x="183123" y="872404"/>
                  <a:pt x="186397" y="871524"/>
                </a:cubicBezTo>
                <a:cubicBezTo>
                  <a:pt x="189107" y="870786"/>
                  <a:pt x="189107" y="870786"/>
                  <a:pt x="191871" y="870033"/>
                </a:cubicBezTo>
                <a:cubicBezTo>
                  <a:pt x="195731" y="869023"/>
                  <a:pt x="199587" y="868093"/>
                  <a:pt x="203483" y="867208"/>
                </a:cubicBezTo>
                <a:cubicBezTo>
                  <a:pt x="208339" y="866199"/>
                  <a:pt x="208339" y="866199"/>
                  <a:pt x="211001" y="861660"/>
                </a:cubicBezTo>
                <a:cubicBezTo>
                  <a:pt x="214174" y="860102"/>
                  <a:pt x="214174" y="860102"/>
                  <a:pt x="218031" y="858577"/>
                </a:cubicBezTo>
                <a:cubicBezTo>
                  <a:pt x="236068" y="850629"/>
                  <a:pt x="245199" y="840442"/>
                  <a:pt x="254740" y="825020"/>
                </a:cubicBezTo>
                <a:cubicBezTo>
                  <a:pt x="255771" y="823625"/>
                  <a:pt x="256802" y="822230"/>
                  <a:pt x="257864" y="820792"/>
                </a:cubicBezTo>
                <a:cubicBezTo>
                  <a:pt x="258359" y="817506"/>
                  <a:pt x="258359" y="817506"/>
                  <a:pt x="258318" y="813810"/>
                </a:cubicBezTo>
                <a:cubicBezTo>
                  <a:pt x="258338" y="812388"/>
                  <a:pt x="258358" y="810967"/>
                  <a:pt x="258378" y="809502"/>
                </a:cubicBezTo>
                <a:cubicBezTo>
                  <a:pt x="258382" y="807965"/>
                  <a:pt x="258385" y="806429"/>
                  <a:pt x="258389" y="804845"/>
                </a:cubicBezTo>
                <a:cubicBezTo>
                  <a:pt x="258399" y="803258"/>
                  <a:pt x="258410" y="801671"/>
                  <a:pt x="258420" y="800036"/>
                </a:cubicBezTo>
                <a:cubicBezTo>
                  <a:pt x="258436" y="796670"/>
                  <a:pt x="258443" y="793305"/>
                  <a:pt x="258443" y="789939"/>
                </a:cubicBezTo>
                <a:cubicBezTo>
                  <a:pt x="258450" y="784823"/>
                  <a:pt x="258506" y="779709"/>
                  <a:pt x="258566" y="774594"/>
                </a:cubicBezTo>
                <a:cubicBezTo>
                  <a:pt x="258575" y="771319"/>
                  <a:pt x="258581" y="768045"/>
                  <a:pt x="258584" y="764771"/>
                </a:cubicBezTo>
                <a:cubicBezTo>
                  <a:pt x="258618" y="762495"/>
                  <a:pt x="258618" y="762495"/>
                  <a:pt x="258652" y="760174"/>
                </a:cubicBezTo>
                <a:cubicBezTo>
                  <a:pt x="258586" y="750030"/>
                  <a:pt x="256266" y="742584"/>
                  <a:pt x="251616" y="733421"/>
                </a:cubicBezTo>
                <a:cubicBezTo>
                  <a:pt x="250163" y="729605"/>
                  <a:pt x="248880" y="725752"/>
                  <a:pt x="247613" y="721883"/>
                </a:cubicBezTo>
                <a:cubicBezTo>
                  <a:pt x="245789" y="716328"/>
                  <a:pt x="243913" y="710939"/>
                  <a:pt x="241291" y="705644"/>
                </a:cubicBezTo>
                <a:cubicBezTo>
                  <a:pt x="238691" y="700096"/>
                  <a:pt x="238136" y="695685"/>
                  <a:pt x="237557" y="689735"/>
                </a:cubicBezTo>
                <a:cubicBezTo>
                  <a:pt x="244977" y="685507"/>
                  <a:pt x="244977" y="685507"/>
                  <a:pt x="248492" y="685507"/>
                </a:cubicBezTo>
                <a:cubicBezTo>
                  <a:pt x="248492" y="684112"/>
                  <a:pt x="248492" y="682717"/>
                  <a:pt x="248492" y="681279"/>
                </a:cubicBezTo>
                <a:cubicBezTo>
                  <a:pt x="245914" y="680815"/>
                  <a:pt x="243337" y="680350"/>
                  <a:pt x="240681" y="679870"/>
                </a:cubicBezTo>
                <a:cubicBezTo>
                  <a:pt x="240681" y="678940"/>
                  <a:pt x="240681" y="678010"/>
                  <a:pt x="240681" y="677052"/>
                </a:cubicBezTo>
                <a:cubicBezTo>
                  <a:pt x="239827" y="676917"/>
                  <a:pt x="238973" y="676783"/>
                  <a:pt x="238094" y="676645"/>
                </a:cubicBezTo>
                <a:cubicBezTo>
                  <a:pt x="233442" y="675371"/>
                  <a:pt x="229939" y="673242"/>
                  <a:pt x="225841" y="670886"/>
                </a:cubicBezTo>
                <a:cubicBezTo>
                  <a:pt x="217808" y="666564"/>
                  <a:pt x="210635" y="664241"/>
                  <a:pt x="201531" y="662508"/>
                </a:cubicBezTo>
                <a:cubicBezTo>
                  <a:pt x="196896" y="661541"/>
                  <a:pt x="192682" y="660199"/>
                  <a:pt x="188252" y="658644"/>
                </a:cubicBezTo>
                <a:lnTo>
                  <a:pt x="182431" y="657327"/>
                </a:lnTo>
                <a:lnTo>
                  <a:pt x="182431" y="657613"/>
                </a:lnTo>
                <a:cubicBezTo>
                  <a:pt x="170575" y="657148"/>
                  <a:pt x="158718" y="656683"/>
                  <a:pt x="146503" y="656204"/>
                </a:cubicBezTo>
                <a:cubicBezTo>
                  <a:pt x="146503" y="657133"/>
                  <a:pt x="146503" y="658064"/>
                  <a:pt x="146503" y="659022"/>
                </a:cubicBezTo>
                <a:cubicBezTo>
                  <a:pt x="134359" y="662326"/>
                  <a:pt x="123013" y="663700"/>
                  <a:pt x="110378" y="663778"/>
                </a:cubicBezTo>
                <a:cubicBezTo>
                  <a:pt x="108435" y="663806"/>
                  <a:pt x="108435" y="663806"/>
                  <a:pt x="106453" y="663836"/>
                </a:cubicBezTo>
                <a:cubicBezTo>
                  <a:pt x="105231" y="663828"/>
                  <a:pt x="104009" y="663820"/>
                  <a:pt x="102751" y="663811"/>
                </a:cubicBezTo>
                <a:cubicBezTo>
                  <a:pt x="101117" y="663804"/>
                  <a:pt x="101117" y="663804"/>
                  <a:pt x="99449" y="663797"/>
                </a:cubicBezTo>
                <a:cubicBezTo>
                  <a:pt x="95696" y="663097"/>
                  <a:pt x="94265" y="661615"/>
                  <a:pt x="91828" y="659022"/>
                </a:cubicBezTo>
                <a:cubicBezTo>
                  <a:pt x="93890" y="659022"/>
                  <a:pt x="95953" y="659022"/>
                  <a:pt x="98077" y="659022"/>
                </a:cubicBezTo>
                <a:cubicBezTo>
                  <a:pt x="98077" y="659952"/>
                  <a:pt x="98077" y="660882"/>
                  <a:pt x="98077" y="661841"/>
                </a:cubicBezTo>
                <a:cubicBezTo>
                  <a:pt x="108735" y="662045"/>
                  <a:pt x="114063" y="662148"/>
                  <a:pt x="119023" y="661357"/>
                </a:cubicBezTo>
                <a:lnTo>
                  <a:pt x="119536" y="661197"/>
                </a:lnTo>
                <a:lnTo>
                  <a:pt x="109853" y="661639"/>
                </a:lnTo>
                <a:cubicBezTo>
                  <a:pt x="108764" y="661632"/>
                  <a:pt x="107675" y="661626"/>
                  <a:pt x="106552" y="661619"/>
                </a:cubicBezTo>
                <a:cubicBezTo>
                  <a:pt x="103877" y="661603"/>
                  <a:pt x="101203" y="661577"/>
                  <a:pt x="98528" y="661550"/>
                </a:cubicBezTo>
                <a:cubicBezTo>
                  <a:pt x="98528" y="660620"/>
                  <a:pt x="98528" y="659691"/>
                  <a:pt x="98528" y="658732"/>
                </a:cubicBezTo>
                <a:cubicBezTo>
                  <a:pt x="95435" y="658267"/>
                  <a:pt x="92342" y="657802"/>
                  <a:pt x="89155" y="657323"/>
                </a:cubicBezTo>
                <a:cubicBezTo>
                  <a:pt x="89155" y="656393"/>
                  <a:pt x="89155" y="655462"/>
                  <a:pt x="89155" y="654504"/>
                </a:cubicBezTo>
                <a:cubicBezTo>
                  <a:pt x="87790" y="653978"/>
                  <a:pt x="87790" y="653978"/>
                  <a:pt x="86397" y="653442"/>
                </a:cubicBezTo>
                <a:cubicBezTo>
                  <a:pt x="82415" y="651438"/>
                  <a:pt x="80039" y="649232"/>
                  <a:pt x="77049" y="646137"/>
                </a:cubicBezTo>
                <a:cubicBezTo>
                  <a:pt x="75611" y="644679"/>
                  <a:pt x="75611" y="644679"/>
                  <a:pt x="74145" y="643192"/>
                </a:cubicBezTo>
                <a:cubicBezTo>
                  <a:pt x="71972" y="640412"/>
                  <a:pt x="71972" y="640412"/>
                  <a:pt x="71972" y="636185"/>
                </a:cubicBezTo>
                <a:cubicBezTo>
                  <a:pt x="70941" y="636185"/>
                  <a:pt x="69910" y="636185"/>
                  <a:pt x="68848" y="636185"/>
                </a:cubicBezTo>
                <a:cubicBezTo>
                  <a:pt x="64250" y="621928"/>
                  <a:pt x="64695" y="609404"/>
                  <a:pt x="70410" y="595317"/>
                </a:cubicBezTo>
                <a:cubicBezTo>
                  <a:pt x="73096" y="591142"/>
                  <a:pt x="76144" y="587574"/>
                  <a:pt x="79782" y="584043"/>
                </a:cubicBezTo>
                <a:cubicBezTo>
                  <a:pt x="81205" y="582594"/>
                  <a:pt x="81205" y="582594"/>
                  <a:pt x="82656" y="581115"/>
                </a:cubicBezTo>
                <a:cubicBezTo>
                  <a:pt x="91488" y="574027"/>
                  <a:pt x="105133" y="571806"/>
                  <a:pt x="116694" y="572323"/>
                </a:cubicBezTo>
                <a:cubicBezTo>
                  <a:pt x="131556" y="574113"/>
                  <a:pt x="142046" y="580551"/>
                  <a:pt x="152031" y="590385"/>
                </a:cubicBezTo>
                <a:cubicBezTo>
                  <a:pt x="162272" y="600009"/>
                  <a:pt x="176992" y="605062"/>
                  <a:pt x="191474" y="605886"/>
                </a:cubicBezTo>
                <a:cubicBezTo>
                  <a:pt x="196845" y="606192"/>
                  <a:pt x="201203" y="606463"/>
                  <a:pt x="206314" y="608000"/>
                </a:cubicBezTo>
                <a:cubicBezTo>
                  <a:pt x="206314" y="608930"/>
                  <a:pt x="206314" y="609860"/>
                  <a:pt x="206314" y="610818"/>
                </a:cubicBezTo>
                <a:cubicBezTo>
                  <a:pt x="215689" y="610902"/>
                  <a:pt x="225058" y="610898"/>
                  <a:pt x="234433" y="610818"/>
                </a:cubicBezTo>
                <a:cubicBezTo>
                  <a:pt x="236112" y="610813"/>
                  <a:pt x="237791" y="610808"/>
                  <a:pt x="239522" y="610802"/>
                </a:cubicBezTo>
                <a:cubicBezTo>
                  <a:pt x="251005" y="610364"/>
                  <a:pt x="259257" y="606564"/>
                  <a:pt x="268799" y="600954"/>
                </a:cubicBezTo>
                <a:cubicBezTo>
                  <a:pt x="269770" y="600416"/>
                  <a:pt x="270740" y="599879"/>
                  <a:pt x="271740" y="599325"/>
                </a:cubicBezTo>
                <a:cubicBezTo>
                  <a:pt x="279452" y="594430"/>
                  <a:pt x="281420" y="587464"/>
                  <a:pt x="284420" y="579816"/>
                </a:cubicBezTo>
                <a:cubicBezTo>
                  <a:pt x="286047" y="576075"/>
                  <a:pt x="287725" y="572353"/>
                  <a:pt x="289399" y="568630"/>
                </a:cubicBezTo>
                <a:cubicBezTo>
                  <a:pt x="294095" y="558121"/>
                  <a:pt x="299004" y="547070"/>
                  <a:pt x="293958" y="535838"/>
                </a:cubicBezTo>
                <a:cubicBezTo>
                  <a:pt x="292436" y="533533"/>
                  <a:pt x="290781" y="531301"/>
                  <a:pt x="289107" y="529084"/>
                </a:cubicBezTo>
                <a:cubicBezTo>
                  <a:pt x="289107" y="528153"/>
                  <a:pt x="289107" y="527223"/>
                  <a:pt x="289107" y="526265"/>
                </a:cubicBezTo>
                <a:cubicBezTo>
                  <a:pt x="287560" y="525800"/>
                  <a:pt x="286014" y="525335"/>
                  <a:pt x="284420" y="524856"/>
                </a:cubicBezTo>
                <a:cubicBezTo>
                  <a:pt x="283905" y="523461"/>
                  <a:pt x="283389" y="522066"/>
                  <a:pt x="282858" y="520628"/>
                </a:cubicBezTo>
                <a:cubicBezTo>
                  <a:pt x="280750" y="518590"/>
                  <a:pt x="280750" y="518590"/>
                  <a:pt x="277977" y="516577"/>
                </a:cubicBezTo>
                <a:cubicBezTo>
                  <a:pt x="273591" y="513232"/>
                  <a:pt x="269227" y="509874"/>
                  <a:pt x="264925" y="506443"/>
                </a:cubicBezTo>
                <a:cubicBezTo>
                  <a:pt x="253596" y="497433"/>
                  <a:pt x="242132" y="488987"/>
                  <a:pt x="229746" y="481170"/>
                </a:cubicBezTo>
                <a:cubicBezTo>
                  <a:pt x="226846" y="479266"/>
                  <a:pt x="223950" y="477358"/>
                  <a:pt x="221057" y="475445"/>
                </a:cubicBezTo>
                <a:cubicBezTo>
                  <a:pt x="218227" y="473594"/>
                  <a:pt x="215396" y="471744"/>
                  <a:pt x="212563" y="469896"/>
                </a:cubicBezTo>
                <a:cubicBezTo>
                  <a:pt x="211351" y="469102"/>
                  <a:pt x="210138" y="468309"/>
                  <a:pt x="208889" y="467491"/>
                </a:cubicBezTo>
                <a:cubicBezTo>
                  <a:pt x="202848" y="463599"/>
                  <a:pt x="196732" y="459888"/>
                  <a:pt x="190406" y="456382"/>
                </a:cubicBezTo>
                <a:cubicBezTo>
                  <a:pt x="189263" y="455748"/>
                  <a:pt x="188119" y="455114"/>
                  <a:pt x="186942" y="454460"/>
                </a:cubicBezTo>
                <a:cubicBezTo>
                  <a:pt x="184648" y="453196"/>
                  <a:pt x="182348" y="451941"/>
                  <a:pt x="180041" y="450696"/>
                </a:cubicBezTo>
                <a:cubicBezTo>
                  <a:pt x="177292" y="449185"/>
                  <a:pt x="174612" y="447571"/>
                  <a:pt x="171948" y="445940"/>
                </a:cubicBezTo>
                <a:cubicBezTo>
                  <a:pt x="171948" y="445009"/>
                  <a:pt x="171948" y="444079"/>
                  <a:pt x="171948" y="443121"/>
                </a:cubicBezTo>
                <a:cubicBezTo>
                  <a:pt x="170804" y="442985"/>
                  <a:pt x="169660" y="442848"/>
                  <a:pt x="168482" y="442708"/>
                </a:cubicBezTo>
                <a:cubicBezTo>
                  <a:pt x="163547" y="441576"/>
                  <a:pt x="161063" y="439897"/>
                  <a:pt x="157107" y="437044"/>
                </a:cubicBezTo>
                <a:cubicBezTo>
                  <a:pt x="149345" y="431895"/>
                  <a:pt x="141843" y="429626"/>
                  <a:pt x="132559" y="427510"/>
                </a:cubicBezTo>
                <a:cubicBezTo>
                  <a:pt x="128067" y="426168"/>
                  <a:pt x="126607" y="425060"/>
                  <a:pt x="123522" y="421983"/>
                </a:cubicBezTo>
                <a:cubicBezTo>
                  <a:pt x="118310" y="419033"/>
                  <a:pt x="114076" y="418794"/>
                  <a:pt x="107986" y="418730"/>
                </a:cubicBezTo>
                <a:cubicBezTo>
                  <a:pt x="106174" y="418694"/>
                  <a:pt x="104362" y="418659"/>
                  <a:pt x="102494" y="418622"/>
                </a:cubicBezTo>
                <a:cubicBezTo>
                  <a:pt x="98715" y="418573"/>
                  <a:pt x="94936" y="418529"/>
                  <a:pt x="91157" y="418490"/>
                </a:cubicBezTo>
                <a:cubicBezTo>
                  <a:pt x="78470" y="418231"/>
                  <a:pt x="65485" y="417940"/>
                  <a:pt x="55277" y="410445"/>
                </a:cubicBezTo>
                <a:cubicBezTo>
                  <a:pt x="54084" y="409137"/>
                  <a:pt x="52893" y="407829"/>
                  <a:pt x="51665" y="406481"/>
                </a:cubicBezTo>
                <a:cubicBezTo>
                  <a:pt x="49752" y="404480"/>
                  <a:pt x="47831" y="402483"/>
                  <a:pt x="45904" y="400492"/>
                </a:cubicBezTo>
                <a:cubicBezTo>
                  <a:pt x="44996" y="399526"/>
                  <a:pt x="44088" y="398559"/>
                  <a:pt x="43152" y="397564"/>
                </a:cubicBezTo>
                <a:cubicBezTo>
                  <a:pt x="40865" y="395062"/>
                  <a:pt x="40865" y="395062"/>
                  <a:pt x="37605" y="393798"/>
                </a:cubicBezTo>
                <a:lnTo>
                  <a:pt x="38995" y="368712"/>
                </a:lnTo>
                <a:lnTo>
                  <a:pt x="38666" y="369724"/>
                </a:lnTo>
                <a:cubicBezTo>
                  <a:pt x="37003" y="374506"/>
                  <a:pt x="36202" y="379113"/>
                  <a:pt x="35542" y="384081"/>
                </a:cubicBezTo>
                <a:cubicBezTo>
                  <a:pt x="30313" y="376119"/>
                  <a:pt x="31188" y="366593"/>
                  <a:pt x="33326" y="357791"/>
                </a:cubicBezTo>
                <a:cubicBezTo>
                  <a:pt x="37176" y="347767"/>
                  <a:pt x="44536" y="340769"/>
                  <a:pt x="52725" y="333349"/>
                </a:cubicBezTo>
                <a:lnTo>
                  <a:pt x="55222" y="334475"/>
                </a:lnTo>
                <a:lnTo>
                  <a:pt x="56222" y="333347"/>
                </a:lnTo>
                <a:lnTo>
                  <a:pt x="55871" y="333347"/>
                </a:lnTo>
                <a:lnTo>
                  <a:pt x="56346" y="333207"/>
                </a:lnTo>
                <a:lnTo>
                  <a:pt x="56351" y="333202"/>
                </a:lnTo>
                <a:lnTo>
                  <a:pt x="56365" y="333202"/>
                </a:lnTo>
                <a:lnTo>
                  <a:pt x="79571" y="326360"/>
                </a:lnTo>
                <a:cubicBezTo>
                  <a:pt x="87782" y="326037"/>
                  <a:pt x="96164" y="327572"/>
                  <a:pt x="104297" y="330529"/>
                </a:cubicBezTo>
                <a:lnTo>
                  <a:pt x="107170" y="334417"/>
                </a:lnTo>
                <a:lnTo>
                  <a:pt x="109366" y="336046"/>
                </a:lnTo>
                <a:lnTo>
                  <a:pt x="109463" y="336020"/>
                </a:lnTo>
                <a:lnTo>
                  <a:pt x="109463" y="336118"/>
                </a:lnTo>
                <a:lnTo>
                  <a:pt x="115226" y="340394"/>
                </a:lnTo>
                <a:lnTo>
                  <a:pt x="114010" y="340120"/>
                </a:lnTo>
                <a:lnTo>
                  <a:pt x="133285" y="357423"/>
                </a:lnTo>
                <a:cubicBezTo>
                  <a:pt x="142471" y="373187"/>
                  <a:pt x="155564" y="382744"/>
                  <a:pt x="173509" y="389571"/>
                </a:cubicBezTo>
                <a:cubicBezTo>
                  <a:pt x="176254" y="390785"/>
                  <a:pt x="178988" y="392017"/>
                  <a:pt x="181711" y="393270"/>
                </a:cubicBezTo>
                <a:cubicBezTo>
                  <a:pt x="182964" y="393833"/>
                  <a:pt x="184216" y="394396"/>
                  <a:pt x="185507" y="394976"/>
                </a:cubicBezTo>
                <a:cubicBezTo>
                  <a:pt x="187897" y="396058"/>
                  <a:pt x="190281" y="397151"/>
                  <a:pt x="192658" y="398257"/>
                </a:cubicBezTo>
                <a:cubicBezTo>
                  <a:pt x="193749" y="398762"/>
                  <a:pt x="194841" y="399267"/>
                  <a:pt x="195966" y="399788"/>
                </a:cubicBezTo>
                <a:cubicBezTo>
                  <a:pt x="196912" y="400231"/>
                  <a:pt x="197858" y="400674"/>
                  <a:pt x="198833" y="401131"/>
                </a:cubicBezTo>
                <a:cubicBezTo>
                  <a:pt x="201808" y="402326"/>
                  <a:pt x="204701" y="403032"/>
                  <a:pt x="207877" y="403663"/>
                </a:cubicBezTo>
                <a:cubicBezTo>
                  <a:pt x="207877" y="404593"/>
                  <a:pt x="207877" y="405523"/>
                  <a:pt x="207877" y="406481"/>
                </a:cubicBezTo>
                <a:cubicBezTo>
                  <a:pt x="221233" y="411377"/>
                  <a:pt x="234752" y="415503"/>
                  <a:pt x="248492" y="419428"/>
                </a:cubicBezTo>
                <a:cubicBezTo>
                  <a:pt x="250298" y="419947"/>
                  <a:pt x="252104" y="420466"/>
                  <a:pt x="253965" y="421000"/>
                </a:cubicBezTo>
                <a:cubicBezTo>
                  <a:pt x="258388" y="422270"/>
                  <a:pt x="262812" y="423537"/>
                  <a:pt x="267237" y="424801"/>
                </a:cubicBezTo>
                <a:lnTo>
                  <a:pt x="267237" y="426451"/>
                </a:lnTo>
                <a:lnTo>
                  <a:pt x="288701" y="429217"/>
                </a:lnTo>
                <a:cubicBezTo>
                  <a:pt x="288701" y="430147"/>
                  <a:pt x="288701" y="431078"/>
                  <a:pt x="288701" y="432036"/>
                </a:cubicBezTo>
                <a:cubicBezTo>
                  <a:pt x="301487" y="433472"/>
                  <a:pt x="314148" y="433662"/>
                  <a:pt x="327010" y="433628"/>
                </a:cubicBezTo>
                <a:cubicBezTo>
                  <a:pt x="330502" y="433621"/>
                  <a:pt x="333994" y="433628"/>
                  <a:pt x="337486" y="433637"/>
                </a:cubicBezTo>
                <a:cubicBezTo>
                  <a:pt x="339734" y="433637"/>
                  <a:pt x="341982" y="433635"/>
                  <a:pt x="344229" y="433632"/>
                </a:cubicBezTo>
                <a:cubicBezTo>
                  <a:pt x="347246" y="433630"/>
                  <a:pt x="347246" y="433630"/>
                  <a:pt x="350323" y="433627"/>
                </a:cubicBezTo>
                <a:cubicBezTo>
                  <a:pt x="355445" y="433459"/>
                  <a:pt x="360220" y="432915"/>
                  <a:pt x="365245" y="432036"/>
                </a:cubicBezTo>
                <a:lnTo>
                  <a:pt x="360797" y="433759"/>
                </a:lnTo>
                <a:lnTo>
                  <a:pt x="365650" y="433257"/>
                </a:lnTo>
                <a:cubicBezTo>
                  <a:pt x="366166" y="431861"/>
                  <a:pt x="366682" y="430466"/>
                  <a:pt x="367213" y="429029"/>
                </a:cubicBezTo>
                <a:cubicBezTo>
                  <a:pt x="369854" y="427628"/>
                  <a:pt x="372501" y="426234"/>
                  <a:pt x="375188" y="424906"/>
                </a:cubicBezTo>
                <a:cubicBezTo>
                  <a:pt x="390245" y="417204"/>
                  <a:pt x="397438" y="403183"/>
                  <a:pt x="404704" y="389571"/>
                </a:cubicBezTo>
                <a:cubicBezTo>
                  <a:pt x="405219" y="389105"/>
                  <a:pt x="405734" y="388641"/>
                  <a:pt x="406265" y="388161"/>
                </a:cubicBezTo>
                <a:cubicBezTo>
                  <a:pt x="406663" y="382152"/>
                  <a:pt x="406555" y="376125"/>
                  <a:pt x="406559" y="370106"/>
                </a:cubicBezTo>
                <a:cubicBezTo>
                  <a:pt x="406578" y="368412"/>
                  <a:pt x="406597" y="366718"/>
                  <a:pt x="406617" y="364973"/>
                </a:cubicBezTo>
                <a:cubicBezTo>
                  <a:pt x="406620" y="363344"/>
                  <a:pt x="406622" y="361715"/>
                  <a:pt x="406626" y="360038"/>
                </a:cubicBezTo>
                <a:cubicBezTo>
                  <a:pt x="406632" y="358541"/>
                  <a:pt x="406638" y="357045"/>
                  <a:pt x="406645" y="355503"/>
                </a:cubicBezTo>
                <a:cubicBezTo>
                  <a:pt x="406264" y="351503"/>
                  <a:pt x="405326" y="349318"/>
                  <a:pt x="403142" y="345885"/>
                </a:cubicBezTo>
                <a:cubicBezTo>
                  <a:pt x="402583" y="343484"/>
                  <a:pt x="402067" y="341075"/>
                  <a:pt x="401579" y="338663"/>
                </a:cubicBezTo>
                <a:cubicBezTo>
                  <a:pt x="399365" y="330323"/>
                  <a:pt x="395538" y="323370"/>
                  <a:pt x="390938" y="315939"/>
                </a:cubicBezTo>
                <a:cubicBezTo>
                  <a:pt x="390290" y="314890"/>
                  <a:pt x="389642" y="313842"/>
                  <a:pt x="388976" y="312762"/>
                </a:cubicBezTo>
                <a:cubicBezTo>
                  <a:pt x="385623" y="307500"/>
                  <a:pt x="382070" y="302607"/>
                  <a:pt x="377934" y="297817"/>
                </a:cubicBezTo>
                <a:cubicBezTo>
                  <a:pt x="373788" y="292978"/>
                  <a:pt x="371423" y="288111"/>
                  <a:pt x="368775" y="282470"/>
                </a:cubicBezTo>
                <a:cubicBezTo>
                  <a:pt x="366035" y="278585"/>
                  <a:pt x="362994" y="274937"/>
                  <a:pt x="359890" y="271284"/>
                </a:cubicBezTo>
                <a:cubicBezTo>
                  <a:pt x="359059" y="270296"/>
                  <a:pt x="358230" y="269307"/>
                  <a:pt x="357374" y="268288"/>
                </a:cubicBezTo>
                <a:cubicBezTo>
                  <a:pt x="351312" y="261177"/>
                  <a:pt x="344882" y="254704"/>
                  <a:pt x="337533" y="248649"/>
                </a:cubicBezTo>
                <a:cubicBezTo>
                  <a:pt x="336767" y="247896"/>
                  <a:pt x="336002" y="247144"/>
                  <a:pt x="335214" y="246369"/>
                </a:cubicBezTo>
                <a:cubicBezTo>
                  <a:pt x="332597" y="243963"/>
                  <a:pt x="332597" y="243963"/>
                  <a:pt x="327085" y="242571"/>
                </a:cubicBezTo>
                <a:cubicBezTo>
                  <a:pt x="309670" y="236923"/>
                  <a:pt x="296614" y="222751"/>
                  <a:pt x="288785" y="207968"/>
                </a:cubicBezTo>
                <a:cubicBezTo>
                  <a:pt x="286673" y="202851"/>
                  <a:pt x="286348" y="197968"/>
                  <a:pt x="286373" y="192544"/>
                </a:cubicBezTo>
                <a:cubicBezTo>
                  <a:pt x="286377" y="191437"/>
                  <a:pt x="286381" y="190330"/>
                  <a:pt x="286385" y="189190"/>
                </a:cubicBezTo>
                <a:cubicBezTo>
                  <a:pt x="286881" y="178340"/>
                  <a:pt x="291581" y="171728"/>
                  <a:pt x="300042" y="164095"/>
                </a:cubicBezTo>
                <a:cubicBezTo>
                  <a:pt x="301386" y="162752"/>
                  <a:pt x="301386" y="162752"/>
                  <a:pt x="302757" y="161381"/>
                </a:cubicBezTo>
                <a:cubicBezTo>
                  <a:pt x="312597" y="152504"/>
                  <a:pt x="325185" y="152675"/>
                  <a:pt x="338411" y="152293"/>
                </a:cubicBezTo>
                <a:cubicBezTo>
                  <a:pt x="350839" y="152463"/>
                  <a:pt x="359094" y="154554"/>
                  <a:pt x="368482" y="161893"/>
                </a:cubicBezTo>
                <a:cubicBezTo>
                  <a:pt x="369609" y="163085"/>
                  <a:pt x="370737" y="164277"/>
                  <a:pt x="371899" y="165505"/>
                </a:cubicBezTo>
                <a:cubicBezTo>
                  <a:pt x="372962" y="166522"/>
                  <a:pt x="374026" y="167539"/>
                  <a:pt x="375121" y="168587"/>
                </a:cubicBezTo>
                <a:cubicBezTo>
                  <a:pt x="381050" y="176351"/>
                  <a:pt x="384520" y="184328"/>
                  <a:pt x="384982" y="193777"/>
                </a:cubicBezTo>
                <a:cubicBezTo>
                  <a:pt x="385464" y="201192"/>
                  <a:pt x="387638" y="207607"/>
                  <a:pt x="390352" y="214563"/>
                </a:cubicBezTo>
                <a:cubicBezTo>
                  <a:pt x="390934" y="216079"/>
                  <a:pt x="390934" y="216079"/>
                  <a:pt x="391529" y="217626"/>
                </a:cubicBezTo>
                <a:cubicBezTo>
                  <a:pt x="394082" y="223926"/>
                  <a:pt x="397412" y="228969"/>
                  <a:pt x="401579" y="234556"/>
                </a:cubicBezTo>
                <a:cubicBezTo>
                  <a:pt x="401579" y="235952"/>
                  <a:pt x="401579" y="237347"/>
                  <a:pt x="401579" y="238784"/>
                </a:cubicBezTo>
                <a:cubicBezTo>
                  <a:pt x="402884" y="239263"/>
                  <a:pt x="402884" y="239263"/>
                  <a:pt x="404215" y="239753"/>
                </a:cubicBezTo>
                <a:cubicBezTo>
                  <a:pt x="410099" y="242765"/>
                  <a:pt x="414395" y="246733"/>
                  <a:pt x="417811" y="251996"/>
                </a:cubicBezTo>
                <a:cubicBezTo>
                  <a:pt x="420462" y="255897"/>
                  <a:pt x="423407" y="258959"/>
                  <a:pt x="426866" y="262300"/>
                </a:cubicBezTo>
                <a:cubicBezTo>
                  <a:pt x="435101" y="270407"/>
                  <a:pt x="442641" y="278936"/>
                  <a:pt x="450097" y="287628"/>
                </a:cubicBezTo>
                <a:cubicBezTo>
                  <a:pt x="453081" y="291117"/>
                  <a:pt x="453081" y="291117"/>
                  <a:pt x="457425" y="293920"/>
                </a:cubicBezTo>
                <a:cubicBezTo>
                  <a:pt x="458585" y="294792"/>
                  <a:pt x="459745" y="295664"/>
                  <a:pt x="460940" y="296562"/>
                </a:cubicBezTo>
                <a:cubicBezTo>
                  <a:pt x="460940" y="297957"/>
                  <a:pt x="460940" y="299352"/>
                  <a:pt x="460940" y="300790"/>
                </a:cubicBezTo>
                <a:cubicBezTo>
                  <a:pt x="465063" y="302782"/>
                  <a:pt x="468862" y="304133"/>
                  <a:pt x="473437" y="305018"/>
                </a:cubicBezTo>
                <a:cubicBezTo>
                  <a:pt x="473437" y="305947"/>
                  <a:pt x="473437" y="306877"/>
                  <a:pt x="473437" y="307836"/>
                </a:cubicBezTo>
                <a:cubicBezTo>
                  <a:pt x="475581" y="308519"/>
                  <a:pt x="477730" y="309193"/>
                  <a:pt x="479881" y="309862"/>
                </a:cubicBezTo>
                <a:cubicBezTo>
                  <a:pt x="481077" y="310237"/>
                  <a:pt x="482273" y="310614"/>
                  <a:pt x="483505" y="311001"/>
                </a:cubicBezTo>
                <a:cubicBezTo>
                  <a:pt x="505448" y="316843"/>
                  <a:pt x="527690" y="314359"/>
                  <a:pt x="548419" y="306427"/>
                </a:cubicBezTo>
                <a:cubicBezTo>
                  <a:pt x="549548" y="305998"/>
                  <a:pt x="550678" y="305569"/>
                  <a:pt x="551842" y="305127"/>
                </a:cubicBezTo>
                <a:cubicBezTo>
                  <a:pt x="555376" y="303227"/>
                  <a:pt x="557584" y="300980"/>
                  <a:pt x="560232" y="298148"/>
                </a:cubicBezTo>
                <a:cubicBezTo>
                  <a:pt x="561137" y="297192"/>
                  <a:pt x="562041" y="296236"/>
                  <a:pt x="562972" y="295252"/>
                </a:cubicBezTo>
                <a:cubicBezTo>
                  <a:pt x="564755" y="293274"/>
                  <a:pt x="566459" y="291237"/>
                  <a:pt x="568086" y="289152"/>
                </a:cubicBezTo>
                <a:cubicBezTo>
                  <a:pt x="568813" y="288342"/>
                  <a:pt x="569539" y="287532"/>
                  <a:pt x="570289" y="286697"/>
                </a:cubicBezTo>
                <a:cubicBezTo>
                  <a:pt x="571319" y="286697"/>
                  <a:pt x="572350" y="286697"/>
                  <a:pt x="573413" y="286697"/>
                </a:cubicBezTo>
                <a:cubicBezTo>
                  <a:pt x="577408" y="276984"/>
                  <a:pt x="577197" y="267284"/>
                  <a:pt x="577220" y="257016"/>
                </a:cubicBezTo>
                <a:cubicBezTo>
                  <a:pt x="577227" y="255625"/>
                  <a:pt x="577227" y="255625"/>
                  <a:pt x="577235" y="254206"/>
                </a:cubicBezTo>
                <a:cubicBezTo>
                  <a:pt x="577257" y="237553"/>
                  <a:pt x="574604" y="222055"/>
                  <a:pt x="569443" y="206049"/>
                </a:cubicBezTo>
                <a:cubicBezTo>
                  <a:pt x="568726" y="203553"/>
                  <a:pt x="568726" y="203553"/>
                  <a:pt x="568726" y="200735"/>
                </a:cubicBezTo>
                <a:cubicBezTo>
                  <a:pt x="567695" y="200735"/>
                  <a:pt x="566664" y="200735"/>
                  <a:pt x="565602" y="200735"/>
                </a:cubicBezTo>
                <a:cubicBezTo>
                  <a:pt x="563274" y="195295"/>
                  <a:pt x="561092" y="190108"/>
                  <a:pt x="559549" y="184441"/>
                </a:cubicBezTo>
                <a:cubicBezTo>
                  <a:pt x="555572" y="173477"/>
                  <a:pt x="547043" y="167105"/>
                  <a:pt x="537484" y="159867"/>
                </a:cubicBezTo>
                <a:cubicBezTo>
                  <a:pt x="533579" y="156609"/>
                  <a:pt x="533579" y="156609"/>
                  <a:pt x="531235" y="154230"/>
                </a:cubicBezTo>
                <a:cubicBezTo>
                  <a:pt x="531235" y="153301"/>
                  <a:pt x="531235" y="152371"/>
                  <a:pt x="531235" y="151412"/>
                </a:cubicBezTo>
                <a:cubicBezTo>
                  <a:pt x="529689" y="150947"/>
                  <a:pt x="528143" y="150482"/>
                  <a:pt x="526549" y="150003"/>
                </a:cubicBezTo>
                <a:cubicBezTo>
                  <a:pt x="519904" y="137298"/>
                  <a:pt x="519105" y="120357"/>
                  <a:pt x="524304" y="107198"/>
                </a:cubicBezTo>
                <a:cubicBezTo>
                  <a:pt x="529443" y="97376"/>
                  <a:pt x="535781" y="90193"/>
                  <a:pt x="547052" y="85972"/>
                </a:cubicBezTo>
                <a:cubicBezTo>
                  <a:pt x="559924" y="81835"/>
                  <a:pt x="575221" y="79746"/>
                  <a:pt x="588460" y="83538"/>
                </a:cubicBezTo>
                <a:cubicBezTo>
                  <a:pt x="601643" y="89713"/>
                  <a:pt x="611835" y="99450"/>
                  <a:pt x="617152" y="111954"/>
                </a:cubicBezTo>
                <a:cubicBezTo>
                  <a:pt x="617935" y="116052"/>
                  <a:pt x="617954" y="120024"/>
                  <a:pt x="617884" y="124175"/>
                </a:cubicBezTo>
                <a:cubicBezTo>
                  <a:pt x="617896" y="125307"/>
                  <a:pt x="617906" y="126440"/>
                  <a:pt x="617917" y="127607"/>
                </a:cubicBezTo>
                <a:cubicBezTo>
                  <a:pt x="617963" y="132394"/>
                  <a:pt x="617938" y="137181"/>
                  <a:pt x="617919" y="141969"/>
                </a:cubicBezTo>
                <a:cubicBezTo>
                  <a:pt x="617899" y="160184"/>
                  <a:pt x="619422" y="175572"/>
                  <a:pt x="630625" y="191311"/>
                </a:cubicBezTo>
                <a:cubicBezTo>
                  <a:pt x="633753" y="195891"/>
                  <a:pt x="636431" y="199900"/>
                  <a:pt x="637850" y="205139"/>
                </a:cubicBezTo>
                <a:cubicBezTo>
                  <a:pt x="638615" y="209623"/>
                  <a:pt x="638615" y="209623"/>
                  <a:pt x="643708" y="212009"/>
                </a:cubicBezTo>
                <a:cubicBezTo>
                  <a:pt x="645380" y="214563"/>
                  <a:pt x="645380" y="214563"/>
                  <a:pt x="647027" y="217645"/>
                </a:cubicBezTo>
                <a:cubicBezTo>
                  <a:pt x="652549" y="227016"/>
                  <a:pt x="660443" y="235696"/>
                  <a:pt x="670264" y="241603"/>
                </a:cubicBezTo>
                <a:cubicBezTo>
                  <a:pt x="670264" y="242532"/>
                  <a:pt x="670264" y="243462"/>
                  <a:pt x="670264" y="244421"/>
                </a:cubicBezTo>
                <a:cubicBezTo>
                  <a:pt x="672036" y="244857"/>
                  <a:pt x="673808" y="245293"/>
                  <a:pt x="675634" y="245742"/>
                </a:cubicBezTo>
                <a:cubicBezTo>
                  <a:pt x="681199" y="247239"/>
                  <a:pt x="681199" y="247239"/>
                  <a:pt x="682761" y="248649"/>
                </a:cubicBezTo>
                <a:cubicBezTo>
                  <a:pt x="704487" y="252065"/>
                  <a:pt x="732606" y="256402"/>
                  <a:pt x="752092" y="245076"/>
                </a:cubicBezTo>
                <a:cubicBezTo>
                  <a:pt x="754252" y="243599"/>
                  <a:pt x="756372" y="242073"/>
                  <a:pt x="758433" y="240485"/>
                </a:cubicBezTo>
                <a:cubicBezTo>
                  <a:pt x="760867" y="238784"/>
                  <a:pt x="760867" y="238784"/>
                  <a:pt x="763991" y="238784"/>
                </a:cubicBezTo>
                <a:cubicBezTo>
                  <a:pt x="764647" y="237296"/>
                  <a:pt x="764647" y="237296"/>
                  <a:pt x="765315" y="235778"/>
                </a:cubicBezTo>
                <a:cubicBezTo>
                  <a:pt x="767151" y="231659"/>
                  <a:pt x="769030" y="227557"/>
                  <a:pt x="770923" y="223459"/>
                </a:cubicBezTo>
                <a:cubicBezTo>
                  <a:pt x="771608" y="221966"/>
                  <a:pt x="772292" y="220472"/>
                  <a:pt x="772998" y="218934"/>
                </a:cubicBezTo>
                <a:cubicBezTo>
                  <a:pt x="774429" y="215885"/>
                  <a:pt x="775968" y="212878"/>
                  <a:pt x="777562" y="209895"/>
                </a:cubicBezTo>
                <a:cubicBezTo>
                  <a:pt x="787607" y="185732"/>
                  <a:pt x="788559" y="149501"/>
                  <a:pt x="781175" y="124637"/>
                </a:cubicBezTo>
                <a:cubicBezTo>
                  <a:pt x="780144" y="124637"/>
                  <a:pt x="779113" y="124637"/>
                  <a:pt x="778051" y="124637"/>
                </a:cubicBezTo>
                <a:cubicBezTo>
                  <a:pt x="768501" y="110080"/>
                  <a:pt x="762898" y="96653"/>
                  <a:pt x="767116" y="79542"/>
                </a:cubicBezTo>
                <a:cubicBezTo>
                  <a:pt x="772286" y="69057"/>
                  <a:pt x="781456" y="58252"/>
                  <a:pt x="793379" y="54000"/>
                </a:cubicBezTo>
                <a:cubicBezTo>
                  <a:pt x="808369" y="49250"/>
                  <a:pt x="826058" y="49579"/>
                  <a:pt x="840688" y="55503"/>
                </a:cubicBezTo>
                <a:cubicBezTo>
                  <a:pt x="845183" y="57759"/>
                  <a:pt x="848037" y="60575"/>
                  <a:pt x="851470" y="64040"/>
                </a:cubicBezTo>
                <a:cubicBezTo>
                  <a:pt x="852721" y="65272"/>
                  <a:pt x="852721" y="65272"/>
                  <a:pt x="853997" y="66529"/>
                </a:cubicBezTo>
                <a:cubicBezTo>
                  <a:pt x="858396" y="71505"/>
                  <a:pt x="860490" y="76640"/>
                  <a:pt x="861488" y="82057"/>
                </a:cubicBezTo>
                <a:lnTo>
                  <a:pt x="861937" y="90492"/>
                </a:lnTo>
                <a:lnTo>
                  <a:pt x="863826" y="100715"/>
                </a:lnTo>
                <a:cubicBezTo>
                  <a:pt x="862141" y="107853"/>
                  <a:pt x="859866" y="114857"/>
                  <a:pt x="857577" y="121853"/>
                </a:cubicBezTo>
                <a:cubicBezTo>
                  <a:pt x="857062" y="121853"/>
                  <a:pt x="856547" y="121853"/>
                  <a:pt x="856015" y="121853"/>
                </a:cubicBezTo>
                <a:cubicBezTo>
                  <a:pt x="855731" y="120401"/>
                  <a:pt x="855731" y="120401"/>
                  <a:pt x="855442" y="118919"/>
                </a:cubicBezTo>
                <a:lnTo>
                  <a:pt x="855417" y="118798"/>
                </a:lnTo>
                <a:lnTo>
                  <a:pt x="856157" y="124637"/>
                </a:lnTo>
                <a:lnTo>
                  <a:pt x="850623" y="134701"/>
                </a:lnTo>
                <a:lnTo>
                  <a:pt x="851325" y="135968"/>
                </a:lnTo>
                <a:cubicBezTo>
                  <a:pt x="850851" y="137246"/>
                  <a:pt x="850376" y="138525"/>
                  <a:pt x="849886" y="139843"/>
                </a:cubicBezTo>
                <a:cubicBezTo>
                  <a:pt x="848171" y="144505"/>
                  <a:pt x="847798" y="148002"/>
                  <a:pt x="847786" y="152889"/>
                </a:cubicBezTo>
                <a:cubicBezTo>
                  <a:pt x="847779" y="154500"/>
                  <a:pt x="847773" y="156109"/>
                  <a:pt x="847767" y="157768"/>
                </a:cubicBezTo>
                <a:cubicBezTo>
                  <a:pt x="847782" y="159468"/>
                  <a:pt x="847796" y="161167"/>
                  <a:pt x="847810" y="162919"/>
                </a:cubicBezTo>
                <a:cubicBezTo>
                  <a:pt x="847821" y="165546"/>
                  <a:pt x="847821" y="165546"/>
                  <a:pt x="847832" y="168227"/>
                </a:cubicBezTo>
                <a:cubicBezTo>
                  <a:pt x="847980" y="181934"/>
                  <a:pt x="849003" y="195419"/>
                  <a:pt x="850903" y="209013"/>
                </a:cubicBezTo>
                <a:lnTo>
                  <a:pt x="852880" y="224692"/>
                </a:lnTo>
                <a:lnTo>
                  <a:pt x="854595" y="224692"/>
                </a:lnTo>
                <a:cubicBezTo>
                  <a:pt x="855086" y="225542"/>
                  <a:pt x="855577" y="226392"/>
                  <a:pt x="856083" y="227268"/>
                </a:cubicBezTo>
                <a:cubicBezTo>
                  <a:pt x="862358" y="237839"/>
                  <a:pt x="866924" y="242785"/>
                  <a:pt x="879588" y="247239"/>
                </a:cubicBezTo>
                <a:cubicBezTo>
                  <a:pt x="881642" y="248025"/>
                  <a:pt x="883692" y="248817"/>
                  <a:pt x="885739" y="249618"/>
                </a:cubicBezTo>
                <a:cubicBezTo>
                  <a:pt x="887318" y="250227"/>
                  <a:pt x="888897" y="250838"/>
                  <a:pt x="890523" y="251467"/>
                </a:cubicBezTo>
                <a:cubicBezTo>
                  <a:pt x="890523" y="252397"/>
                  <a:pt x="890523" y="253327"/>
                  <a:pt x="890523" y="254285"/>
                </a:cubicBezTo>
                <a:cubicBezTo>
                  <a:pt x="900347" y="257061"/>
                  <a:pt x="910127" y="259425"/>
                  <a:pt x="920203" y="261332"/>
                </a:cubicBezTo>
                <a:cubicBezTo>
                  <a:pt x="920203" y="261796"/>
                  <a:pt x="920203" y="262262"/>
                  <a:pt x="920203" y="262741"/>
                </a:cubicBezTo>
                <a:cubicBezTo>
                  <a:pt x="917111" y="262741"/>
                  <a:pt x="914018" y="262741"/>
                  <a:pt x="910831" y="262741"/>
                </a:cubicBezTo>
                <a:lnTo>
                  <a:pt x="910831" y="262864"/>
                </a:lnTo>
                <a:lnTo>
                  <a:pt x="927993" y="264177"/>
                </a:lnTo>
                <a:lnTo>
                  <a:pt x="939273" y="265285"/>
                </a:lnTo>
                <a:lnTo>
                  <a:pt x="940456" y="265191"/>
                </a:lnTo>
                <a:cubicBezTo>
                  <a:pt x="962552" y="263054"/>
                  <a:pt x="974979" y="255295"/>
                  <a:pt x="991622" y="242329"/>
                </a:cubicBezTo>
                <a:lnTo>
                  <a:pt x="1000803" y="236505"/>
                </a:lnTo>
                <a:lnTo>
                  <a:pt x="999806" y="236055"/>
                </a:lnTo>
                <a:cubicBezTo>
                  <a:pt x="1000902" y="234997"/>
                  <a:pt x="1001997" y="233941"/>
                  <a:pt x="1003126" y="232851"/>
                </a:cubicBezTo>
                <a:cubicBezTo>
                  <a:pt x="1012364" y="223880"/>
                  <a:pt x="1021184" y="214752"/>
                  <a:pt x="1029487" y="205052"/>
                </a:cubicBezTo>
                <a:lnTo>
                  <a:pt x="1029872" y="206442"/>
                </a:lnTo>
                <a:lnTo>
                  <a:pt x="1031614" y="203719"/>
                </a:lnTo>
                <a:cubicBezTo>
                  <a:pt x="1033221" y="199204"/>
                  <a:pt x="1035713" y="196017"/>
                  <a:pt x="1038924" y="192280"/>
                </a:cubicBezTo>
                <a:cubicBezTo>
                  <a:pt x="1039956" y="191815"/>
                  <a:pt x="1040987" y="191349"/>
                  <a:pt x="1042049" y="190870"/>
                </a:cubicBezTo>
                <a:cubicBezTo>
                  <a:pt x="1043161" y="188473"/>
                  <a:pt x="1043161" y="188473"/>
                  <a:pt x="1044294" y="186026"/>
                </a:cubicBezTo>
                <a:cubicBezTo>
                  <a:pt x="1046735" y="181006"/>
                  <a:pt x="1046735" y="181006"/>
                  <a:pt x="1051422" y="178188"/>
                </a:cubicBezTo>
                <a:cubicBezTo>
                  <a:pt x="1052553" y="175286"/>
                  <a:pt x="1052553" y="175286"/>
                  <a:pt x="1052984" y="172551"/>
                </a:cubicBezTo>
                <a:cubicBezTo>
                  <a:pt x="1054014" y="172551"/>
                  <a:pt x="1055046" y="172551"/>
                  <a:pt x="1056108" y="172551"/>
                </a:cubicBezTo>
                <a:cubicBezTo>
                  <a:pt x="1057139" y="169295"/>
                  <a:pt x="1058170" y="166040"/>
                  <a:pt x="1059232" y="162686"/>
                </a:cubicBezTo>
                <a:cubicBezTo>
                  <a:pt x="1060263" y="162686"/>
                  <a:pt x="1061295" y="162686"/>
                  <a:pt x="1062357" y="162686"/>
                </a:cubicBezTo>
                <a:cubicBezTo>
                  <a:pt x="1062755" y="161484"/>
                  <a:pt x="1062755" y="161484"/>
                  <a:pt x="1063162" y="160258"/>
                </a:cubicBezTo>
                <a:cubicBezTo>
                  <a:pt x="1065716" y="152917"/>
                  <a:pt x="1068813" y="146686"/>
                  <a:pt x="1073292" y="140138"/>
                </a:cubicBezTo>
                <a:cubicBezTo>
                  <a:pt x="1074322" y="140138"/>
                  <a:pt x="1075353" y="140138"/>
                  <a:pt x="1076415" y="140138"/>
                </a:cubicBezTo>
                <a:cubicBezTo>
                  <a:pt x="1079808" y="132748"/>
                  <a:pt x="1082509" y="125160"/>
                  <a:pt x="1085294" y="117569"/>
                </a:cubicBezTo>
                <a:cubicBezTo>
                  <a:pt x="1085972" y="116181"/>
                  <a:pt x="1086651" y="114793"/>
                  <a:pt x="1087350" y="113363"/>
                </a:cubicBezTo>
                <a:cubicBezTo>
                  <a:pt x="1089671" y="112666"/>
                  <a:pt x="1089671" y="112666"/>
                  <a:pt x="1092037" y="111954"/>
                </a:cubicBezTo>
                <a:cubicBezTo>
                  <a:pt x="1092230" y="110879"/>
                  <a:pt x="1092423" y="109803"/>
                  <a:pt x="1092623" y="108695"/>
                </a:cubicBezTo>
                <a:cubicBezTo>
                  <a:pt x="1093599" y="104908"/>
                  <a:pt x="1093599" y="104908"/>
                  <a:pt x="1096723" y="100680"/>
                </a:cubicBezTo>
                <a:cubicBezTo>
                  <a:pt x="1097207" y="99140"/>
                  <a:pt x="1097689" y="97599"/>
                  <a:pt x="1098188" y="96013"/>
                </a:cubicBezTo>
                <a:cubicBezTo>
                  <a:pt x="1099847" y="90815"/>
                  <a:pt x="1099847" y="90815"/>
                  <a:pt x="1102288" y="87029"/>
                </a:cubicBezTo>
                <a:cubicBezTo>
                  <a:pt x="1106061" y="79186"/>
                  <a:pt x="1107564" y="69424"/>
                  <a:pt x="1104534" y="61222"/>
                </a:cubicBezTo>
                <a:cubicBezTo>
                  <a:pt x="1104409" y="59341"/>
                  <a:pt x="1104366" y="57454"/>
                  <a:pt x="1104381" y="55569"/>
                </a:cubicBezTo>
                <a:cubicBezTo>
                  <a:pt x="1104386" y="54501"/>
                  <a:pt x="1104391" y="53434"/>
                  <a:pt x="1104397" y="52335"/>
                </a:cubicBezTo>
                <a:cubicBezTo>
                  <a:pt x="1104410" y="51228"/>
                  <a:pt x="1104423" y="50120"/>
                  <a:pt x="1104436" y="48979"/>
                </a:cubicBezTo>
                <a:cubicBezTo>
                  <a:pt x="1104443" y="47856"/>
                  <a:pt x="1104451" y="46733"/>
                  <a:pt x="1104457" y="45575"/>
                </a:cubicBezTo>
                <a:cubicBezTo>
                  <a:pt x="1104476" y="42805"/>
                  <a:pt x="1104504" y="40035"/>
                  <a:pt x="1104534" y="37265"/>
                </a:cubicBezTo>
                <a:cubicBezTo>
                  <a:pt x="1105565" y="37265"/>
                  <a:pt x="1106596" y="37265"/>
                  <a:pt x="1107658" y="37265"/>
                </a:cubicBezTo>
                <a:cubicBezTo>
                  <a:pt x="1107561" y="34562"/>
                  <a:pt x="1107561" y="34562"/>
                  <a:pt x="1107463" y="31805"/>
                </a:cubicBezTo>
                <a:cubicBezTo>
                  <a:pt x="1107353" y="28733"/>
                  <a:pt x="1107353" y="28733"/>
                  <a:pt x="1107658" y="25991"/>
                </a:cubicBezTo>
                <a:cubicBezTo>
                  <a:pt x="1108689" y="25062"/>
                  <a:pt x="1109720" y="24131"/>
                  <a:pt x="1110782" y="23173"/>
                </a:cubicBezTo>
                <a:cubicBezTo>
                  <a:pt x="1111104" y="22156"/>
                  <a:pt x="1111427" y="21138"/>
                  <a:pt x="1111759" y="20091"/>
                </a:cubicBezTo>
                <a:cubicBezTo>
                  <a:pt x="1116393" y="11539"/>
                  <a:pt x="1124927" y="6390"/>
                  <a:pt x="1134507" y="2828"/>
                </a:cubicBezTo>
                <a:cubicBezTo>
                  <a:pt x="1141389" y="825"/>
                  <a:pt x="1148262" y="-204"/>
                  <a:pt x="1155019" y="35"/>
                </a:cubicBezTo>
                <a:close/>
              </a:path>
            </a:pathLst>
          </a:custGeom>
          <a:solidFill>
            <a:srgbClr val="496471"/>
          </a:solidFill>
          <a:ln w="2232" cap="flat">
            <a:noFill/>
            <a:prstDash val="solid"/>
            <a:miter/>
          </a:ln>
          <a:effectLst>
            <a:innerShdw blurRad="63500" dist="101600" dir="8100000">
              <a:schemeClr val="accent3">
                <a:lumMod val="75000"/>
                <a:alpha val="50000"/>
              </a:schemeClr>
            </a:innerShdw>
          </a:effectLst>
        </p:spPr>
        <p:txBody>
          <a:bodyPr wrap="squar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403" name="Oval 7402">
            <a:extLst>
              <a:ext uri="{FF2B5EF4-FFF2-40B4-BE49-F238E27FC236}">
                <a16:creationId xmlns:a16="http://schemas.microsoft.com/office/drawing/2014/main" id="{E8965F65-2A32-87E7-4DF9-AA9A237A07E3}"/>
              </a:ext>
            </a:extLst>
          </p:cNvPr>
          <p:cNvSpPr/>
          <p:nvPr/>
        </p:nvSpPr>
        <p:spPr>
          <a:xfrm>
            <a:off x="6810305" y="6064568"/>
            <a:ext cx="1045916" cy="260032"/>
          </a:xfrm>
          <a:prstGeom prst="ellipse">
            <a:avLst/>
          </a:prstGeom>
          <a:solidFill>
            <a:schemeClr val="tx1">
              <a:alpha val="33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404" name="Oval 7403">
            <a:extLst>
              <a:ext uri="{FF2B5EF4-FFF2-40B4-BE49-F238E27FC236}">
                <a16:creationId xmlns:a16="http://schemas.microsoft.com/office/drawing/2014/main" id="{2C3AD0C9-1D1F-C43D-F697-6913BA6CEF4C}"/>
              </a:ext>
            </a:extLst>
          </p:cNvPr>
          <p:cNvSpPr/>
          <p:nvPr/>
        </p:nvSpPr>
        <p:spPr>
          <a:xfrm>
            <a:off x="8001000" y="5570220"/>
            <a:ext cx="828377" cy="192722"/>
          </a:xfrm>
          <a:prstGeom prst="ellipse">
            <a:avLst/>
          </a:prstGeom>
          <a:solidFill>
            <a:schemeClr val="tx1">
              <a:alpha val="33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396" name="Free-form: Shape 7395">
            <a:extLst>
              <a:ext uri="{FF2B5EF4-FFF2-40B4-BE49-F238E27FC236}">
                <a16:creationId xmlns:a16="http://schemas.microsoft.com/office/drawing/2014/main" id="{EEA04024-51DA-662E-5506-B5D2DAAE29F3}"/>
              </a:ext>
            </a:extLst>
          </p:cNvPr>
          <p:cNvSpPr/>
          <p:nvPr/>
        </p:nvSpPr>
        <p:spPr>
          <a:xfrm>
            <a:off x="7802379" y="4616245"/>
            <a:ext cx="1122546" cy="1073107"/>
          </a:xfrm>
          <a:custGeom>
            <a:avLst/>
            <a:gdLst>
              <a:gd name="csX0" fmla="*/ 401579 w 1609516"/>
              <a:gd name="csY0" fmla="*/ 1495809 h 1538630"/>
              <a:gd name="csX1" fmla="*/ 400190 w 1609516"/>
              <a:gd name="csY1" fmla="*/ 1496004 h 1538630"/>
              <a:gd name="csX2" fmla="*/ 401224 w 1609516"/>
              <a:gd name="csY2" fmla="*/ 1496470 h 1538630"/>
              <a:gd name="csX3" fmla="*/ 401224 w 1609516"/>
              <a:gd name="csY3" fmla="*/ 1498590 h 1538630"/>
              <a:gd name="csX4" fmla="*/ 401579 w 1609516"/>
              <a:gd name="csY4" fmla="*/ 1498628 h 1538630"/>
              <a:gd name="csX5" fmla="*/ 401579 w 1609516"/>
              <a:gd name="csY5" fmla="*/ 1495809 h 1538630"/>
              <a:gd name="csX6" fmla="*/ 368755 w 1609516"/>
              <a:gd name="csY6" fmla="*/ 1486512 h 1538630"/>
              <a:gd name="csX7" fmla="*/ 364089 w 1609516"/>
              <a:gd name="csY7" fmla="*/ 1487354 h 1538630"/>
              <a:gd name="csX8" fmla="*/ 364089 w 1609516"/>
              <a:gd name="csY8" fmla="*/ 1487908 h 1538630"/>
              <a:gd name="csX9" fmla="*/ 1049801 w 1609516"/>
              <a:gd name="csY9" fmla="*/ 1484562 h 1538630"/>
              <a:gd name="csX10" fmla="*/ 1046735 w 1609516"/>
              <a:gd name="csY10" fmla="*/ 1485945 h 1538630"/>
              <a:gd name="csX11" fmla="*/ 1046955 w 1609516"/>
              <a:gd name="csY11" fmla="*/ 1486045 h 1538630"/>
              <a:gd name="csX12" fmla="*/ 1049801 w 1609516"/>
              <a:gd name="csY12" fmla="*/ 1485188 h 1538630"/>
              <a:gd name="csX13" fmla="*/ 351234 w 1609516"/>
              <a:gd name="csY13" fmla="*/ 1444508 h 1538630"/>
              <a:gd name="csX14" fmla="*/ 351234 w 1609516"/>
              <a:gd name="csY14" fmla="*/ 1444997 h 1538630"/>
              <a:gd name="csX15" fmla="*/ 351592 w 1609516"/>
              <a:gd name="csY15" fmla="*/ 1445078 h 1538630"/>
              <a:gd name="csX16" fmla="*/ 351908 w 1609516"/>
              <a:gd name="csY16" fmla="*/ 1431206 h 1538630"/>
              <a:gd name="csX17" fmla="*/ 351234 w 1609516"/>
              <a:gd name="csY17" fmla="*/ 1431611 h 1538630"/>
              <a:gd name="csX18" fmla="*/ 351234 w 1609516"/>
              <a:gd name="csY18" fmla="*/ 1432274 h 1538630"/>
              <a:gd name="csX19" fmla="*/ 358162 w 1609516"/>
              <a:gd name="csY19" fmla="*/ 1421494 h 1538630"/>
              <a:gd name="csX20" fmla="*/ 355921 w 1609516"/>
              <a:gd name="csY20" fmla="*/ 1423156 h 1538630"/>
              <a:gd name="csX21" fmla="*/ 355921 w 1609516"/>
              <a:gd name="csY21" fmla="*/ 1423548 h 1538630"/>
              <a:gd name="csX22" fmla="*/ 376098 w 1609516"/>
              <a:gd name="csY22" fmla="*/ 1408347 h 1538630"/>
              <a:gd name="csX23" fmla="*/ 370750 w 1609516"/>
              <a:gd name="csY23" fmla="*/ 1412245 h 1538630"/>
              <a:gd name="csX24" fmla="*/ 375023 w 1609516"/>
              <a:gd name="csY24" fmla="*/ 1411256 h 1538630"/>
              <a:gd name="csX25" fmla="*/ 421956 w 1609516"/>
              <a:gd name="csY25" fmla="*/ 1365623 h 1538630"/>
              <a:gd name="csX26" fmla="*/ 421765 w 1609516"/>
              <a:gd name="csY26" fmla="*/ 1366161 h 1538630"/>
              <a:gd name="csX27" fmla="*/ 421887 w 1609516"/>
              <a:gd name="csY27" fmla="*/ 1366161 h 1538630"/>
              <a:gd name="csX28" fmla="*/ 754553 w 1609516"/>
              <a:gd name="csY28" fmla="*/ 1360575 h 1538630"/>
              <a:gd name="csX29" fmla="*/ 754089 w 1609516"/>
              <a:gd name="csY29" fmla="*/ 1361433 h 1538630"/>
              <a:gd name="csX30" fmla="*/ 754431 w 1609516"/>
              <a:gd name="csY30" fmla="*/ 1361125 h 1538630"/>
              <a:gd name="csX31" fmla="*/ 1277973 w 1609516"/>
              <a:gd name="csY31" fmla="*/ 1332923 h 1538630"/>
              <a:gd name="csX32" fmla="*/ 1277944 w 1609516"/>
              <a:gd name="csY32" fmla="*/ 1332936 h 1538630"/>
              <a:gd name="csX33" fmla="*/ 1277949 w 1609516"/>
              <a:gd name="csY33" fmla="*/ 1333139 h 1538630"/>
              <a:gd name="csX34" fmla="*/ 1268556 w 1609516"/>
              <a:gd name="csY34" fmla="*/ 1321066 h 1538630"/>
              <a:gd name="csX35" fmla="*/ 1268556 w 1609516"/>
              <a:gd name="csY35" fmla="*/ 1325294 h 1538630"/>
              <a:gd name="csX36" fmla="*/ 1265432 w 1609516"/>
              <a:gd name="csY36" fmla="*/ 1325294 h 1538630"/>
              <a:gd name="csX37" fmla="*/ 1265432 w 1609516"/>
              <a:gd name="csY37" fmla="*/ 1340795 h 1538630"/>
              <a:gd name="csX38" fmla="*/ 1265476 w 1609516"/>
              <a:gd name="csY38" fmla="*/ 1340714 h 1538630"/>
              <a:gd name="csX39" fmla="*/ 1265476 w 1609516"/>
              <a:gd name="csY39" fmla="*/ 1325877 h 1538630"/>
              <a:gd name="csX40" fmla="*/ 1268600 w 1609516"/>
              <a:gd name="csY40" fmla="*/ 1325877 h 1538630"/>
              <a:gd name="csX41" fmla="*/ 1268600 w 1609516"/>
              <a:gd name="csY41" fmla="*/ 1321649 h 1538630"/>
              <a:gd name="csX42" fmla="*/ 1273286 w 1609516"/>
              <a:gd name="csY42" fmla="*/ 1321649 h 1538630"/>
              <a:gd name="csX43" fmla="*/ 1273227 w 1609516"/>
              <a:gd name="csY43" fmla="*/ 1321066 h 1538630"/>
              <a:gd name="csX44" fmla="*/ 827891 w 1609516"/>
              <a:gd name="csY44" fmla="*/ 1291474 h 1538630"/>
              <a:gd name="csX45" fmla="*/ 822601 w 1609516"/>
              <a:gd name="csY45" fmla="*/ 1291544 h 1538630"/>
              <a:gd name="csX46" fmla="*/ 818272 w 1609516"/>
              <a:gd name="csY46" fmla="*/ 1292220 h 1538630"/>
              <a:gd name="csX47" fmla="*/ 827891 w 1609516"/>
              <a:gd name="csY47" fmla="*/ 1292047 h 1538630"/>
              <a:gd name="csX48" fmla="*/ 856397 w 1609516"/>
              <a:gd name="csY48" fmla="*/ 1288691 h 1538630"/>
              <a:gd name="csX49" fmla="*/ 865903 w 1609516"/>
              <a:gd name="csY49" fmla="*/ 1290590 h 1538630"/>
              <a:gd name="csX50" fmla="*/ 859999 w 1609516"/>
              <a:gd name="csY50" fmla="*/ 1288752 h 1538630"/>
              <a:gd name="csX51" fmla="*/ 834694 w 1609516"/>
              <a:gd name="csY51" fmla="*/ 1288572 h 1538630"/>
              <a:gd name="csX52" fmla="*/ 828038 w 1609516"/>
              <a:gd name="csY52" fmla="*/ 1288654 h 1538630"/>
              <a:gd name="csX53" fmla="*/ 828038 w 1609516"/>
              <a:gd name="csY53" fmla="*/ 1289214 h 1538630"/>
              <a:gd name="csX54" fmla="*/ 229746 w 1609516"/>
              <a:gd name="csY54" fmla="*/ 1191418 h 1538630"/>
              <a:gd name="csX55" fmla="*/ 227402 w 1609516"/>
              <a:gd name="csY55" fmla="*/ 1191947 h 1538630"/>
              <a:gd name="csX56" fmla="*/ 229315 w 1609516"/>
              <a:gd name="csY56" fmla="*/ 1191947 h 1538630"/>
              <a:gd name="csX57" fmla="*/ 229315 w 1609516"/>
              <a:gd name="csY57" fmla="*/ 1194765 h 1538630"/>
              <a:gd name="csX58" fmla="*/ 231321 w 1609516"/>
              <a:gd name="csY58" fmla="*/ 1194765 h 1538630"/>
              <a:gd name="csX59" fmla="*/ 229746 w 1609516"/>
              <a:gd name="csY59" fmla="*/ 1194236 h 1538630"/>
              <a:gd name="csX60" fmla="*/ 229746 w 1609516"/>
              <a:gd name="csY60" fmla="*/ 1191418 h 1538630"/>
              <a:gd name="csX61" fmla="*/ 215687 w 1609516"/>
              <a:gd name="csY61" fmla="*/ 1187190 h 1538630"/>
              <a:gd name="csX62" fmla="*/ 215198 w 1609516"/>
              <a:gd name="csY62" fmla="*/ 1187720 h 1538630"/>
              <a:gd name="csX63" fmla="*/ 215256 w 1609516"/>
              <a:gd name="csY63" fmla="*/ 1187720 h 1538630"/>
              <a:gd name="csX64" fmla="*/ 215256 w 1609516"/>
              <a:gd name="csY64" fmla="*/ 1191947 h 1538630"/>
              <a:gd name="csX65" fmla="*/ 222721 w 1609516"/>
              <a:gd name="csY65" fmla="*/ 1191947 h 1538630"/>
              <a:gd name="csX66" fmla="*/ 215687 w 1609516"/>
              <a:gd name="csY66" fmla="*/ 1191418 h 1538630"/>
              <a:gd name="csX67" fmla="*/ 215687 w 1609516"/>
              <a:gd name="csY67" fmla="*/ 1187190 h 1538630"/>
              <a:gd name="csX68" fmla="*/ 1279678 w 1609516"/>
              <a:gd name="csY68" fmla="*/ 1082356 h 1538630"/>
              <a:gd name="csX69" fmla="*/ 1271680 w 1609516"/>
              <a:gd name="csY69" fmla="*/ 1084589 h 1538630"/>
              <a:gd name="csX70" fmla="*/ 1282181 w 1609516"/>
              <a:gd name="csY70" fmla="*/ 1082544 h 1538630"/>
              <a:gd name="csX71" fmla="*/ 117703 w 1609516"/>
              <a:gd name="csY71" fmla="*/ 941507 h 1538630"/>
              <a:gd name="csX72" fmla="*/ 112587 w 1609516"/>
              <a:gd name="csY72" fmla="*/ 941985 h 1538630"/>
              <a:gd name="csX73" fmla="*/ 112565 w 1609516"/>
              <a:gd name="csY73" fmla="*/ 942333 h 1538630"/>
              <a:gd name="csX74" fmla="*/ 115665 w 1609516"/>
              <a:gd name="csY74" fmla="*/ 941837 h 1538630"/>
              <a:gd name="csX75" fmla="*/ 144268 w 1609516"/>
              <a:gd name="csY75" fmla="*/ 939395 h 1538630"/>
              <a:gd name="csX76" fmla="*/ 143354 w 1609516"/>
              <a:gd name="csY76" fmla="*/ 939580 h 1538630"/>
              <a:gd name="csX77" fmla="*/ 144077 w 1609516"/>
              <a:gd name="csY77" fmla="*/ 939739 h 1538630"/>
              <a:gd name="csX78" fmla="*/ 162575 w 1609516"/>
              <a:gd name="csY78" fmla="*/ 933530 h 1538630"/>
              <a:gd name="csX79" fmla="*/ 161704 w 1609516"/>
              <a:gd name="csY79" fmla="*/ 935101 h 1538630"/>
              <a:gd name="csX80" fmla="*/ 170045 w 1609516"/>
              <a:gd name="csY80" fmla="*/ 933585 h 1538630"/>
              <a:gd name="csX81" fmla="*/ 1321645 w 1609516"/>
              <a:gd name="csY81" fmla="*/ 918415 h 1538630"/>
              <a:gd name="csX82" fmla="*/ 1321534 w 1609516"/>
              <a:gd name="csY82" fmla="*/ 920177 h 1538630"/>
              <a:gd name="csX83" fmla="*/ 1321740 w 1609516"/>
              <a:gd name="csY83" fmla="*/ 918415 h 1538630"/>
              <a:gd name="csX84" fmla="*/ 1319333 w 1609516"/>
              <a:gd name="csY84" fmla="*/ 915183 h 1538630"/>
              <a:gd name="csX85" fmla="*/ 1318544 w 1609516"/>
              <a:gd name="csY85" fmla="*/ 918029 h 1538630"/>
              <a:gd name="csX86" fmla="*/ 1318702 w 1609516"/>
              <a:gd name="csY86" fmla="*/ 918029 h 1538630"/>
              <a:gd name="csX87" fmla="*/ 1326355 w 1609516"/>
              <a:gd name="csY87" fmla="*/ 907109 h 1538630"/>
              <a:gd name="csX88" fmla="*/ 1326355 w 1609516"/>
              <a:gd name="csY88" fmla="*/ 910983 h 1538630"/>
              <a:gd name="csX89" fmla="*/ 1325831 w 1609516"/>
              <a:gd name="csY89" fmla="*/ 911101 h 1538630"/>
              <a:gd name="csX90" fmla="*/ 1326426 w 1609516"/>
              <a:gd name="csY90" fmla="*/ 911369 h 1538630"/>
              <a:gd name="csX91" fmla="*/ 1326426 w 1609516"/>
              <a:gd name="csY91" fmla="*/ 907141 h 1538630"/>
              <a:gd name="csX92" fmla="*/ 1328144 w 1609516"/>
              <a:gd name="csY92" fmla="*/ 892192 h 1538630"/>
              <a:gd name="csX93" fmla="*/ 1327667 w 1609516"/>
              <a:gd name="csY93" fmla="*/ 893446 h 1538630"/>
              <a:gd name="csX94" fmla="*/ 1327989 w 1609516"/>
              <a:gd name="csY94" fmla="*/ 893049 h 1538630"/>
              <a:gd name="csX95" fmla="*/ 49605 w 1609516"/>
              <a:gd name="csY95" fmla="*/ 887420 h 1538630"/>
              <a:gd name="csX96" fmla="*/ 48549 w 1609516"/>
              <a:gd name="csY96" fmla="*/ 891229 h 1538630"/>
              <a:gd name="csX97" fmla="*/ 49956 w 1609516"/>
              <a:gd name="csY97" fmla="*/ 887420 h 1538630"/>
              <a:gd name="csX98" fmla="*/ 1332266 w 1609516"/>
              <a:gd name="csY98" fmla="*/ 883369 h 1538630"/>
              <a:gd name="csX99" fmla="*/ 1329479 w 1609516"/>
              <a:gd name="csY99" fmla="*/ 884207 h 1538630"/>
              <a:gd name="csX100" fmla="*/ 1329509 w 1609516"/>
              <a:gd name="csY100" fmla="*/ 884816 h 1538630"/>
              <a:gd name="csX101" fmla="*/ 1329551 w 1609516"/>
              <a:gd name="csY101" fmla="*/ 884594 h 1538630"/>
              <a:gd name="csX102" fmla="*/ 1555987 w 1609516"/>
              <a:gd name="csY102" fmla="*/ 821766 h 1538630"/>
              <a:gd name="csX103" fmla="*/ 1555987 w 1609516"/>
              <a:gd name="csY103" fmla="*/ 822201 h 1538630"/>
              <a:gd name="csX104" fmla="*/ 1556081 w 1609516"/>
              <a:gd name="csY104" fmla="*/ 822189 h 1538630"/>
              <a:gd name="csX105" fmla="*/ 1565360 w 1609516"/>
              <a:gd name="csY105" fmla="*/ 810928 h 1538630"/>
              <a:gd name="csX106" fmla="*/ 1564871 w 1609516"/>
              <a:gd name="csY106" fmla="*/ 811809 h 1538630"/>
              <a:gd name="csX107" fmla="*/ 1567314 w 1609516"/>
              <a:gd name="csY107" fmla="*/ 810928 h 1538630"/>
              <a:gd name="csX108" fmla="*/ 1563797 w 1609516"/>
              <a:gd name="csY108" fmla="*/ 810928 h 1538630"/>
              <a:gd name="csX109" fmla="*/ 1556762 w 1609516"/>
              <a:gd name="csY109" fmla="*/ 814736 h 1538630"/>
              <a:gd name="csX110" fmla="*/ 1563797 w 1609516"/>
              <a:gd name="csY110" fmla="*/ 812197 h 1538630"/>
              <a:gd name="csX111" fmla="*/ 265833 w 1609516"/>
              <a:gd name="csY111" fmla="*/ 806020 h 1538630"/>
              <a:gd name="csX112" fmla="*/ 263704 w 1609516"/>
              <a:gd name="csY112" fmla="*/ 809861 h 1538630"/>
              <a:gd name="csX113" fmla="*/ 263704 w 1609516"/>
              <a:gd name="csY113" fmla="*/ 816750 h 1538630"/>
              <a:gd name="csX114" fmla="*/ 264113 w 1609516"/>
              <a:gd name="csY114" fmla="*/ 816565 h 1538630"/>
              <a:gd name="csX115" fmla="*/ 263918 w 1609516"/>
              <a:gd name="csY115" fmla="*/ 812777 h 1538630"/>
              <a:gd name="csX116" fmla="*/ 263774 w 1609516"/>
              <a:gd name="csY116" fmla="*/ 779374 h 1538630"/>
              <a:gd name="csX117" fmla="*/ 263704 w 1609516"/>
              <a:gd name="csY117" fmla="*/ 783086 h 1538630"/>
              <a:gd name="csX118" fmla="*/ 264484 w 1609516"/>
              <a:gd name="csY118" fmla="*/ 785816 h 1538630"/>
              <a:gd name="csX119" fmla="*/ 265265 w 1609516"/>
              <a:gd name="csY119" fmla="*/ 794448 h 1538630"/>
              <a:gd name="csX120" fmla="*/ 265217 w 1609516"/>
              <a:gd name="csY120" fmla="*/ 799730 h 1538630"/>
              <a:gd name="csX121" fmla="*/ 266556 w 1609516"/>
              <a:gd name="csY121" fmla="*/ 803466 h 1538630"/>
              <a:gd name="csX122" fmla="*/ 267237 w 1609516"/>
              <a:gd name="csY122" fmla="*/ 801063 h 1538630"/>
              <a:gd name="csX123" fmla="*/ 265675 w 1609516"/>
              <a:gd name="csY123" fmla="*/ 799654 h 1538630"/>
              <a:gd name="csX124" fmla="*/ 265675 w 1609516"/>
              <a:gd name="csY124" fmla="*/ 793841 h 1538630"/>
              <a:gd name="csX125" fmla="*/ 260988 w 1609516"/>
              <a:gd name="csY125" fmla="*/ 770061 h 1538630"/>
              <a:gd name="csX126" fmla="*/ 260988 w 1609516"/>
              <a:gd name="csY126" fmla="*/ 771364 h 1538630"/>
              <a:gd name="csX127" fmla="*/ 263497 w 1609516"/>
              <a:gd name="csY127" fmla="*/ 777263 h 1538630"/>
              <a:gd name="csX128" fmla="*/ 262551 w 1609516"/>
              <a:gd name="csY128" fmla="*/ 770061 h 1538630"/>
              <a:gd name="csX129" fmla="*/ 260988 w 1609516"/>
              <a:gd name="csY129" fmla="*/ 770061 h 1538630"/>
              <a:gd name="csX130" fmla="*/ 157888 w 1609516"/>
              <a:gd name="csY130" fmla="*/ 651686 h 1538630"/>
              <a:gd name="csX131" fmla="*/ 157415 w 1609516"/>
              <a:gd name="csY131" fmla="*/ 651764 h 1538630"/>
              <a:gd name="csX132" fmla="*/ 160373 w 1609516"/>
              <a:gd name="csY132" fmla="*/ 652274 h 1538630"/>
              <a:gd name="csX133" fmla="*/ 267237 w 1609516"/>
              <a:gd name="csY133" fmla="*/ 426537 h 1538630"/>
              <a:gd name="csX134" fmla="*/ 267237 w 1609516"/>
              <a:gd name="csY134" fmla="*/ 427619 h 1538630"/>
              <a:gd name="csX135" fmla="*/ 270380 w 1609516"/>
              <a:gd name="csY135" fmla="*/ 428137 h 1538630"/>
              <a:gd name="csX136" fmla="*/ 273548 w 1609516"/>
              <a:gd name="csY136" fmla="*/ 428680 h 1538630"/>
              <a:gd name="csX137" fmla="*/ 37605 w 1609516"/>
              <a:gd name="csY137" fmla="*/ 359270 h 1538630"/>
              <a:gd name="csX138" fmla="*/ 37103 w 1609516"/>
              <a:gd name="csY138" fmla="*/ 361533 h 1538630"/>
              <a:gd name="csX139" fmla="*/ 37605 w 1609516"/>
              <a:gd name="csY139" fmla="*/ 361382 h 1538630"/>
              <a:gd name="csX140" fmla="*/ 52477 w 1609516"/>
              <a:gd name="csY140" fmla="*/ 337570 h 1538630"/>
              <a:gd name="csX141" fmla="*/ 47288 w 1609516"/>
              <a:gd name="csY141" fmla="*/ 342340 h 1538630"/>
              <a:gd name="csX142" fmla="*/ 45805 w 1609516"/>
              <a:gd name="csY142" fmla="*/ 345093 h 1538630"/>
              <a:gd name="csX143" fmla="*/ 104291 w 1609516"/>
              <a:gd name="csY143" fmla="*/ 336166 h 1538630"/>
              <a:gd name="csX144" fmla="*/ 103776 w 1609516"/>
              <a:gd name="csY144" fmla="*/ 337559 h 1538630"/>
              <a:gd name="csX145" fmla="*/ 108925 w 1609516"/>
              <a:gd name="csY145" fmla="*/ 336166 h 1538630"/>
              <a:gd name="csX146" fmla="*/ 1309237 w 1609516"/>
              <a:gd name="csY146" fmla="*/ 322954 h 1538630"/>
              <a:gd name="csX147" fmla="*/ 1309180 w 1609516"/>
              <a:gd name="csY147" fmla="*/ 330559 h 1538630"/>
              <a:gd name="csX148" fmla="*/ 1309237 w 1609516"/>
              <a:gd name="csY148" fmla="*/ 330520 h 1538630"/>
              <a:gd name="csX149" fmla="*/ 1308964 w 1609516"/>
              <a:gd name="csY149" fmla="*/ 317715 h 1538630"/>
              <a:gd name="csX150" fmla="*/ 1309237 w 1609516"/>
              <a:gd name="csY150" fmla="*/ 318569 h 1538630"/>
              <a:gd name="csX151" fmla="*/ 1309237 w 1609516"/>
              <a:gd name="csY151" fmla="*/ 317838 h 1538630"/>
              <a:gd name="csX152" fmla="*/ 1310087 w 1609516"/>
              <a:gd name="csY152" fmla="*/ 313153 h 1538630"/>
              <a:gd name="csX153" fmla="*/ 1307609 w 1609516"/>
              <a:gd name="csY153" fmla="*/ 313473 h 1538630"/>
              <a:gd name="csX154" fmla="*/ 1308045 w 1609516"/>
              <a:gd name="csY154" fmla="*/ 314836 h 1538630"/>
              <a:gd name="csX155" fmla="*/ 1318544 w 1609516"/>
              <a:gd name="csY155" fmla="*/ 312064 h 1538630"/>
              <a:gd name="csX156" fmla="*/ 1316298 w 1609516"/>
              <a:gd name="csY156" fmla="*/ 312353 h 1538630"/>
              <a:gd name="csX157" fmla="*/ 1318544 w 1609516"/>
              <a:gd name="csY157" fmla="*/ 312205 h 1538630"/>
              <a:gd name="csX158" fmla="*/ 1084622 w 1609516"/>
              <a:gd name="csY158" fmla="*/ 267674 h 1538630"/>
              <a:gd name="csX159" fmla="*/ 1084227 w 1609516"/>
              <a:gd name="csY159" fmla="*/ 268378 h 1538630"/>
              <a:gd name="csX160" fmla="*/ 1079540 w 1609516"/>
              <a:gd name="csY160" fmla="*/ 268378 h 1538630"/>
              <a:gd name="csX161" fmla="*/ 1079603 w 1609516"/>
              <a:gd name="csY161" fmla="*/ 268477 h 1538630"/>
              <a:gd name="csX162" fmla="*/ 1084192 w 1609516"/>
              <a:gd name="csY162" fmla="*/ 268477 h 1538630"/>
              <a:gd name="csX163" fmla="*/ 956410 w 1609516"/>
              <a:gd name="csY163" fmla="*/ 266968 h 1538630"/>
              <a:gd name="csX164" fmla="*/ 957576 w 1609516"/>
              <a:gd name="csY164" fmla="*/ 267083 h 1538630"/>
              <a:gd name="csX165" fmla="*/ 957576 w 1609516"/>
              <a:gd name="csY165" fmla="*/ 269776 h 1538630"/>
              <a:gd name="csX166" fmla="*/ 957694 w 1609516"/>
              <a:gd name="csY166" fmla="*/ 269787 h 1538630"/>
              <a:gd name="csX167" fmla="*/ 957694 w 1609516"/>
              <a:gd name="csY167" fmla="*/ 266968 h 1538630"/>
              <a:gd name="csX168" fmla="*/ 1089372 w 1609516"/>
              <a:gd name="csY168" fmla="*/ 259220 h 1538630"/>
              <a:gd name="csX169" fmla="*/ 1085856 w 1609516"/>
              <a:gd name="csY169" fmla="*/ 265479 h 1538630"/>
              <a:gd name="csX170" fmla="*/ 1088878 w 1609516"/>
              <a:gd name="csY170" fmla="*/ 261431 h 1538630"/>
              <a:gd name="csX171" fmla="*/ 1018517 w 1609516"/>
              <a:gd name="csY171" fmla="*/ 223356 h 1538630"/>
              <a:gd name="csX172" fmla="*/ 1013866 w 1609516"/>
              <a:gd name="csY172" fmla="*/ 226190 h 1538630"/>
              <a:gd name="csX173" fmla="*/ 1013024 w 1609516"/>
              <a:gd name="csY173" fmla="*/ 227709 h 1538630"/>
              <a:gd name="csX174" fmla="*/ 1017055 w 1609516"/>
              <a:gd name="csY174" fmla="*/ 224692 h 1538630"/>
              <a:gd name="csX175" fmla="*/ 850645 w 1609516"/>
              <a:gd name="csY175" fmla="*/ 220099 h 1538630"/>
              <a:gd name="csX176" fmla="*/ 850897 w 1609516"/>
              <a:gd name="csY176" fmla="*/ 221488 h 1538630"/>
              <a:gd name="csX177" fmla="*/ 851470 w 1609516"/>
              <a:gd name="csY177" fmla="*/ 224692 h 1538630"/>
              <a:gd name="csX178" fmla="*/ 852860 w 1609516"/>
              <a:gd name="csY178" fmla="*/ 224692 h 1538630"/>
              <a:gd name="csX179" fmla="*/ 1155019 w 1609516"/>
              <a:gd name="csY179" fmla="*/ 35 h 1538630"/>
              <a:gd name="csX180" fmla="*/ 1174829 w 1609516"/>
              <a:gd name="csY180" fmla="*/ 4853 h 1538630"/>
              <a:gd name="csX181" fmla="*/ 1179418 w 1609516"/>
              <a:gd name="csY181" fmla="*/ 5998 h 1538630"/>
              <a:gd name="csX182" fmla="*/ 1201385 w 1609516"/>
              <a:gd name="csY182" fmla="*/ 22997 h 1538630"/>
              <a:gd name="csX183" fmla="*/ 1201678 w 1609516"/>
              <a:gd name="csY183" fmla="*/ 62191 h 1538630"/>
              <a:gd name="csX184" fmla="*/ 1198261 w 1609516"/>
              <a:gd name="csY184" fmla="*/ 68268 h 1538630"/>
              <a:gd name="csX185" fmla="*/ 1195723 w 1609516"/>
              <a:gd name="csY185" fmla="*/ 72672 h 1538630"/>
              <a:gd name="csX186" fmla="*/ 1193575 w 1609516"/>
              <a:gd name="csY186" fmla="*/ 75314 h 1538630"/>
              <a:gd name="csX187" fmla="*/ 1190450 w 1609516"/>
              <a:gd name="csY187" fmla="*/ 75314 h 1538630"/>
              <a:gd name="csX188" fmla="*/ 1189474 w 1609516"/>
              <a:gd name="csY188" fmla="*/ 79366 h 1538630"/>
              <a:gd name="csX189" fmla="*/ 1182445 w 1609516"/>
              <a:gd name="csY189" fmla="*/ 85707 h 1538630"/>
              <a:gd name="csX190" fmla="*/ 1177953 w 1609516"/>
              <a:gd name="csY190" fmla="*/ 86588 h 1538630"/>
              <a:gd name="csX191" fmla="*/ 1177953 w 1609516"/>
              <a:gd name="csY191" fmla="*/ 89406 h 1538630"/>
              <a:gd name="csX192" fmla="*/ 1170045 w 1609516"/>
              <a:gd name="csY192" fmla="*/ 94251 h 1538630"/>
              <a:gd name="csX193" fmla="*/ 1143806 w 1609516"/>
              <a:gd name="csY193" fmla="*/ 132828 h 1538630"/>
              <a:gd name="csX194" fmla="*/ 1137338 w 1609516"/>
              <a:gd name="csY194" fmla="*/ 141548 h 1538630"/>
              <a:gd name="csX195" fmla="*/ 1133970 w 1609516"/>
              <a:gd name="csY195" fmla="*/ 149403 h 1538630"/>
              <a:gd name="csX196" fmla="*/ 1127965 w 1609516"/>
              <a:gd name="csY196" fmla="*/ 164095 h 1538630"/>
              <a:gd name="csX197" fmla="*/ 1124762 w 1609516"/>
              <a:gd name="csY197" fmla="*/ 171802 h 1538630"/>
              <a:gd name="csX198" fmla="*/ 1119359 w 1609516"/>
              <a:gd name="csY198" fmla="*/ 184798 h 1538630"/>
              <a:gd name="csX199" fmla="*/ 1111014 w 1609516"/>
              <a:gd name="csY199" fmla="*/ 204941 h 1538630"/>
              <a:gd name="csX200" fmla="*/ 1109729 w 1609516"/>
              <a:gd name="csY200" fmla="*/ 208059 h 1538630"/>
              <a:gd name="csX201" fmla="*/ 1106395 w 1609516"/>
              <a:gd name="csY201" fmla="*/ 216170 h 1538630"/>
              <a:gd name="csX202" fmla="*/ 1102147 w 1609516"/>
              <a:gd name="csY202" fmla="*/ 224810 h 1538630"/>
              <a:gd name="csX203" fmla="*/ 1098261 w 1609516"/>
              <a:gd name="csY203" fmla="*/ 227262 h 1538630"/>
              <a:gd name="csX204" fmla="*/ 1098367 w 1609516"/>
              <a:gd name="csY204" fmla="*/ 238475 h 1538630"/>
              <a:gd name="csX205" fmla="*/ 1097331 w 1609516"/>
              <a:gd name="csY205" fmla="*/ 242358 h 1538630"/>
              <a:gd name="csX206" fmla="*/ 1096201 w 1609516"/>
              <a:gd name="csY206" fmla="*/ 246458 h 1538630"/>
              <a:gd name="csX207" fmla="*/ 1089440 w 1609516"/>
              <a:gd name="csY207" fmla="*/ 279206 h 1538630"/>
              <a:gd name="csX208" fmla="*/ 1087316 w 1609516"/>
              <a:gd name="csY208" fmla="*/ 283978 h 1538630"/>
              <a:gd name="csX209" fmla="*/ 1086822 w 1609516"/>
              <a:gd name="csY209" fmla="*/ 291822 h 1538630"/>
              <a:gd name="csX210" fmla="*/ 1086623 w 1609516"/>
              <a:gd name="csY210" fmla="*/ 296625 h 1538630"/>
              <a:gd name="csX211" fmla="*/ 1086437 w 1609516"/>
              <a:gd name="csY211" fmla="*/ 301681 h 1538630"/>
              <a:gd name="csX212" fmla="*/ 1086233 w 1609516"/>
              <a:gd name="csY212" fmla="*/ 306754 h 1538630"/>
              <a:gd name="csX213" fmla="*/ 1086007 w 1609516"/>
              <a:gd name="csY213" fmla="*/ 312619 h 1538630"/>
              <a:gd name="csX214" fmla="*/ 1087470 w 1609516"/>
              <a:gd name="csY214" fmla="*/ 320554 h 1538630"/>
              <a:gd name="csX215" fmla="*/ 1098285 w 1609516"/>
              <a:gd name="csY215" fmla="*/ 334611 h 1538630"/>
              <a:gd name="csX216" fmla="*/ 1102607 w 1609516"/>
              <a:gd name="csY216" fmla="*/ 337679 h 1538630"/>
              <a:gd name="csX217" fmla="*/ 1106095 w 1609516"/>
              <a:gd name="csY217" fmla="*/ 340248 h 1538630"/>
              <a:gd name="csX218" fmla="*/ 1106095 w 1609516"/>
              <a:gd name="csY218" fmla="*/ 343066 h 1538630"/>
              <a:gd name="csX219" fmla="*/ 1109220 w 1609516"/>
              <a:gd name="csY219" fmla="*/ 343419 h 1538630"/>
              <a:gd name="csX220" fmla="*/ 1126403 w 1609516"/>
              <a:gd name="csY220" fmla="*/ 350112 h 1538630"/>
              <a:gd name="csX221" fmla="*/ 1131871 w 1609516"/>
              <a:gd name="csY221" fmla="*/ 352579 h 1538630"/>
              <a:gd name="csX222" fmla="*/ 1135776 w 1609516"/>
              <a:gd name="csY222" fmla="*/ 354340 h 1538630"/>
              <a:gd name="csX223" fmla="*/ 1135776 w 1609516"/>
              <a:gd name="csY223" fmla="*/ 357158 h 1538630"/>
              <a:gd name="csX224" fmla="*/ 1170143 w 1609516"/>
              <a:gd name="csY224" fmla="*/ 354340 h 1538630"/>
              <a:gd name="csX225" fmla="*/ 1174634 w 1609516"/>
              <a:gd name="csY225" fmla="*/ 352579 h 1538630"/>
              <a:gd name="csX226" fmla="*/ 1190890 w 1609516"/>
              <a:gd name="csY226" fmla="*/ 342907 h 1538630"/>
              <a:gd name="csX227" fmla="*/ 1204021 w 1609516"/>
              <a:gd name="csY227" fmla="*/ 335404 h 1538630"/>
              <a:gd name="csX228" fmla="*/ 1223255 w 1609516"/>
              <a:gd name="csY228" fmla="*/ 319110 h 1538630"/>
              <a:gd name="csX229" fmla="*/ 1226868 w 1609516"/>
              <a:gd name="csY229" fmla="*/ 315587 h 1538630"/>
              <a:gd name="csX230" fmla="*/ 1231859 w 1609516"/>
              <a:gd name="csY230" fmla="*/ 303559 h 1538630"/>
              <a:gd name="csX231" fmla="*/ 1234178 w 1609516"/>
              <a:gd name="csY231" fmla="*/ 298059 h 1538630"/>
              <a:gd name="csX232" fmla="*/ 1237314 w 1609516"/>
              <a:gd name="csY232" fmla="*/ 288195 h 1538630"/>
              <a:gd name="csX233" fmla="*/ 1249811 w 1609516"/>
              <a:gd name="csY233" fmla="*/ 265559 h 1538630"/>
              <a:gd name="csX234" fmla="*/ 1252935 w 1609516"/>
              <a:gd name="csY234" fmla="*/ 265559 h 1538630"/>
              <a:gd name="csX235" fmla="*/ 1252935 w 1609516"/>
              <a:gd name="csY235" fmla="*/ 262741 h 1538630"/>
              <a:gd name="csX236" fmla="*/ 1296675 w 1609516"/>
              <a:gd name="csY236" fmla="*/ 252876 h 1538630"/>
              <a:gd name="csX237" fmla="*/ 1307609 w 1609516"/>
              <a:gd name="csY237" fmla="*/ 255695 h 1538630"/>
              <a:gd name="csX238" fmla="*/ 1307609 w 1609516"/>
              <a:gd name="csY238" fmla="*/ 258513 h 1538630"/>
              <a:gd name="csX239" fmla="*/ 1311887 w 1609516"/>
              <a:gd name="csY239" fmla="*/ 258832 h 1538630"/>
              <a:gd name="csX240" fmla="*/ 1326715 w 1609516"/>
              <a:gd name="csY240" fmla="*/ 269969 h 1538630"/>
              <a:gd name="csX241" fmla="*/ 1334165 w 1609516"/>
              <a:gd name="csY241" fmla="*/ 307836 h 1538630"/>
              <a:gd name="csX242" fmla="*/ 1329479 w 1609516"/>
              <a:gd name="csY242" fmla="*/ 314882 h 1538630"/>
              <a:gd name="csX243" fmla="*/ 1323231 w 1609516"/>
              <a:gd name="csY243" fmla="*/ 314882 h 1538630"/>
              <a:gd name="csX244" fmla="*/ 1323231 w 1609516"/>
              <a:gd name="csY244" fmla="*/ 317700 h 1538630"/>
              <a:gd name="csX245" fmla="*/ 1322774 w 1609516"/>
              <a:gd name="csY245" fmla="*/ 317838 h 1538630"/>
              <a:gd name="csX246" fmla="*/ 1323295 w 1609516"/>
              <a:gd name="csY246" fmla="*/ 317838 h 1538630"/>
              <a:gd name="csX247" fmla="*/ 1323295 w 1609516"/>
              <a:gd name="csY247" fmla="*/ 315019 h 1538630"/>
              <a:gd name="csX248" fmla="*/ 1327982 w 1609516"/>
              <a:gd name="csY248" fmla="*/ 315019 h 1538630"/>
              <a:gd name="csX249" fmla="*/ 1317047 w 1609516"/>
              <a:gd name="csY249" fmla="*/ 327702 h 1538630"/>
              <a:gd name="csX250" fmla="*/ 1315484 w 1609516"/>
              <a:gd name="csY250" fmla="*/ 331930 h 1538630"/>
              <a:gd name="csX251" fmla="*/ 1309139 w 1609516"/>
              <a:gd name="csY251" fmla="*/ 333603 h 1538630"/>
              <a:gd name="csX252" fmla="*/ 1305666 w 1609516"/>
              <a:gd name="csY252" fmla="*/ 334280 h 1538630"/>
              <a:gd name="csX253" fmla="*/ 1302988 w 1609516"/>
              <a:gd name="csY253" fmla="*/ 334748 h 1538630"/>
              <a:gd name="csX254" fmla="*/ 1305905 w 1609516"/>
              <a:gd name="csY254" fmla="*/ 332775 h 1538630"/>
              <a:gd name="csX255" fmla="*/ 1304485 w 1609516"/>
              <a:gd name="csY255" fmla="*/ 333202 h 1538630"/>
              <a:gd name="csX256" fmla="*/ 1301459 w 1609516"/>
              <a:gd name="csY256" fmla="*/ 336108 h 1538630"/>
              <a:gd name="csX257" fmla="*/ 1291989 w 1609516"/>
              <a:gd name="csY257" fmla="*/ 338839 h 1538630"/>
              <a:gd name="csX258" fmla="*/ 1290426 w 1609516"/>
              <a:gd name="csY258" fmla="*/ 343066 h 1538630"/>
              <a:gd name="csX259" fmla="*/ 1285740 w 1609516"/>
              <a:gd name="csY259" fmla="*/ 344123 h 1538630"/>
              <a:gd name="csX260" fmla="*/ 1237314 w 1609516"/>
              <a:gd name="csY260" fmla="*/ 382525 h 1538630"/>
              <a:gd name="csX261" fmla="*/ 1232628 w 1609516"/>
              <a:gd name="csY261" fmla="*/ 392389 h 1538630"/>
              <a:gd name="csX262" fmla="*/ 1228625 w 1609516"/>
              <a:gd name="csY262" fmla="*/ 398731 h 1538630"/>
              <a:gd name="csX263" fmla="*/ 1222822 w 1609516"/>
              <a:gd name="csY263" fmla="*/ 434798 h 1538630"/>
              <a:gd name="csX264" fmla="*/ 1260746 w 1609516"/>
              <a:gd name="csY264" fmla="*/ 485398 h 1538630"/>
              <a:gd name="csX265" fmla="*/ 1268556 w 1609516"/>
              <a:gd name="csY265" fmla="*/ 488216 h 1538630"/>
              <a:gd name="csX266" fmla="*/ 1268556 w 1609516"/>
              <a:gd name="csY266" fmla="*/ 491034 h 1538630"/>
              <a:gd name="csX267" fmla="*/ 1338852 w 1609516"/>
              <a:gd name="csY267" fmla="*/ 489625 h 1538630"/>
              <a:gd name="csX268" fmla="*/ 1347444 w 1609516"/>
              <a:gd name="csY268" fmla="*/ 488480 h 1538630"/>
              <a:gd name="csX269" fmla="*/ 1369362 w 1609516"/>
              <a:gd name="csY269" fmla="*/ 482513 h 1538630"/>
              <a:gd name="csX270" fmla="*/ 1388840 w 1609516"/>
              <a:gd name="csY270" fmla="*/ 478351 h 1538630"/>
              <a:gd name="csX271" fmla="*/ 1388840 w 1609516"/>
              <a:gd name="csY271" fmla="*/ 475533 h 1538630"/>
              <a:gd name="csX272" fmla="*/ 1395576 w 1609516"/>
              <a:gd name="csY272" fmla="*/ 473419 h 1538630"/>
              <a:gd name="csX273" fmla="*/ 1399365 w 1609516"/>
              <a:gd name="csY273" fmla="*/ 472230 h 1538630"/>
              <a:gd name="csX274" fmla="*/ 1407585 w 1609516"/>
              <a:gd name="csY274" fmla="*/ 471305 h 1538630"/>
              <a:gd name="csX275" fmla="*/ 1409147 w 1609516"/>
              <a:gd name="csY275" fmla="*/ 467078 h 1538630"/>
              <a:gd name="csX276" fmla="*/ 1416470 w 1609516"/>
              <a:gd name="csY276" fmla="*/ 464259 h 1538630"/>
              <a:gd name="csX277" fmla="*/ 1437949 w 1609516"/>
              <a:gd name="csY277" fmla="*/ 455011 h 1538630"/>
              <a:gd name="csX278" fmla="*/ 1452887 w 1609516"/>
              <a:gd name="csY278" fmla="*/ 450167 h 1538630"/>
              <a:gd name="csX279" fmla="*/ 1452887 w 1609516"/>
              <a:gd name="csY279" fmla="*/ 447349 h 1538630"/>
              <a:gd name="csX280" fmla="*/ 1455394 w 1609516"/>
              <a:gd name="csY280" fmla="*/ 446122 h 1538630"/>
              <a:gd name="csX281" fmla="*/ 1466653 w 1609516"/>
              <a:gd name="csY281" fmla="*/ 440567 h 1538630"/>
              <a:gd name="csX282" fmla="*/ 1470598 w 1609516"/>
              <a:gd name="csY282" fmla="*/ 438637 h 1538630"/>
              <a:gd name="csX283" fmla="*/ 1474397 w 1609516"/>
              <a:gd name="csY283" fmla="*/ 436752 h 1538630"/>
              <a:gd name="csX284" fmla="*/ 1477892 w 1609516"/>
              <a:gd name="csY284" fmla="*/ 435030 h 1538630"/>
              <a:gd name="csX285" fmla="*/ 1485691 w 1609516"/>
              <a:gd name="csY285" fmla="*/ 429029 h 1538630"/>
              <a:gd name="csX286" fmla="*/ 1488858 w 1609516"/>
              <a:gd name="csY286" fmla="*/ 427653 h 1538630"/>
              <a:gd name="csX287" fmla="*/ 1495943 w 1609516"/>
              <a:gd name="csY287" fmla="*/ 421454 h 1538630"/>
              <a:gd name="csX288" fmla="*/ 1538608 w 1609516"/>
              <a:gd name="csY288" fmla="*/ 388338 h 1538630"/>
              <a:gd name="csX289" fmla="*/ 1543490 w 1609516"/>
              <a:gd name="csY289" fmla="*/ 388161 h 1538630"/>
              <a:gd name="csX290" fmla="*/ 1547621 w 1609516"/>
              <a:gd name="csY290" fmla="*/ 387804 h 1538630"/>
              <a:gd name="csX291" fmla="*/ 1579418 w 1609516"/>
              <a:gd name="csY291" fmla="*/ 396617 h 1538630"/>
              <a:gd name="csX292" fmla="*/ 1583342 w 1609516"/>
              <a:gd name="csY292" fmla="*/ 398780 h 1538630"/>
              <a:gd name="csX293" fmla="*/ 1601288 w 1609516"/>
              <a:gd name="csY293" fmla="*/ 423392 h 1538630"/>
              <a:gd name="csX294" fmla="*/ 1594484 w 1609516"/>
              <a:gd name="csY294" fmla="*/ 460159 h 1538630"/>
              <a:gd name="csX295" fmla="*/ 1574732 w 1609516"/>
              <a:gd name="csY295" fmla="*/ 475533 h 1538630"/>
              <a:gd name="csX296" fmla="*/ 1572097 w 1609516"/>
              <a:gd name="csY296" fmla="*/ 477078 h 1538630"/>
              <a:gd name="csX297" fmla="*/ 1556066 w 1609516"/>
              <a:gd name="csY297" fmla="*/ 478737 h 1538630"/>
              <a:gd name="csX298" fmla="*/ 1548631 w 1609516"/>
              <a:gd name="csY298" fmla="*/ 478825 h 1538630"/>
              <a:gd name="csX299" fmla="*/ 1536991 w 1609516"/>
              <a:gd name="csY299" fmla="*/ 478889 h 1538630"/>
              <a:gd name="csX300" fmla="*/ 1498188 w 1609516"/>
              <a:gd name="csY300" fmla="*/ 485398 h 1538630"/>
              <a:gd name="csX301" fmla="*/ 1493892 w 1609516"/>
              <a:gd name="csY301" fmla="*/ 487600 h 1538630"/>
              <a:gd name="csX302" fmla="*/ 1490377 w 1609516"/>
              <a:gd name="csY302" fmla="*/ 489625 h 1538630"/>
              <a:gd name="csX303" fmla="*/ 1471650 w 1609516"/>
              <a:gd name="csY303" fmla="*/ 498185 h 1538630"/>
              <a:gd name="csX304" fmla="*/ 1459135 w 1609516"/>
              <a:gd name="csY304" fmla="*/ 505127 h 1538630"/>
              <a:gd name="csX305" fmla="*/ 1452594 w 1609516"/>
              <a:gd name="csY305" fmla="*/ 508033 h 1538630"/>
              <a:gd name="csX306" fmla="*/ 1427795 w 1609516"/>
              <a:gd name="csY306" fmla="*/ 520100 h 1538630"/>
              <a:gd name="csX307" fmla="*/ 1423733 w 1609516"/>
              <a:gd name="csY307" fmla="*/ 522148 h 1538630"/>
              <a:gd name="csX308" fmla="*/ 1419929 w 1609516"/>
              <a:gd name="csY308" fmla="*/ 524118 h 1538630"/>
              <a:gd name="csX309" fmla="*/ 1416487 w 1609516"/>
              <a:gd name="csY309" fmla="*/ 525883 h 1538630"/>
              <a:gd name="csX310" fmla="*/ 1412271 w 1609516"/>
              <a:gd name="csY310" fmla="*/ 531902 h 1538630"/>
              <a:gd name="csX311" fmla="*/ 1396650 w 1609516"/>
              <a:gd name="csY311" fmla="*/ 537539 h 1538630"/>
              <a:gd name="csX312" fmla="*/ 1396650 w 1609516"/>
              <a:gd name="csY312" fmla="*/ 540357 h 1538630"/>
              <a:gd name="csX313" fmla="*/ 1393495 w 1609516"/>
              <a:gd name="csY313" fmla="*/ 541502 h 1538630"/>
              <a:gd name="csX314" fmla="*/ 1362284 w 1609516"/>
              <a:gd name="csY314" fmla="*/ 558678 h 1538630"/>
              <a:gd name="csX315" fmla="*/ 1355937 w 1609516"/>
              <a:gd name="csY315" fmla="*/ 562905 h 1538630"/>
              <a:gd name="csX316" fmla="*/ 1334165 w 1609516"/>
              <a:gd name="csY316" fmla="*/ 578406 h 1538630"/>
              <a:gd name="csX317" fmla="*/ 1331200 w 1609516"/>
              <a:gd name="csY317" fmla="*/ 580559 h 1538630"/>
              <a:gd name="csX318" fmla="*/ 1322175 w 1609516"/>
              <a:gd name="csY318" fmla="*/ 596793 h 1538630"/>
              <a:gd name="csX319" fmla="*/ 1320106 w 1609516"/>
              <a:gd name="csY319" fmla="*/ 602363 h 1538630"/>
              <a:gd name="csX320" fmla="*/ 1328015 w 1609516"/>
              <a:gd name="csY320" fmla="*/ 647640 h 1538630"/>
              <a:gd name="csX321" fmla="*/ 1332604 w 1609516"/>
              <a:gd name="csY321" fmla="*/ 675643 h 1538630"/>
              <a:gd name="csX322" fmla="*/ 1335727 w 1609516"/>
              <a:gd name="csY322" fmla="*/ 675643 h 1538630"/>
              <a:gd name="csX323" fmla="*/ 1337741 w 1609516"/>
              <a:gd name="csY323" fmla="*/ 690059 h 1538630"/>
              <a:gd name="csX324" fmla="*/ 1338003 w 1609516"/>
              <a:gd name="csY324" fmla="*/ 696222 h 1538630"/>
              <a:gd name="csX325" fmla="*/ 1338340 w 1609516"/>
              <a:gd name="csY325" fmla="*/ 705887 h 1538630"/>
              <a:gd name="csX326" fmla="*/ 1345277 w 1609516"/>
              <a:gd name="csY326" fmla="*/ 733245 h 1538630"/>
              <a:gd name="csX327" fmla="*/ 1363162 w 1609516"/>
              <a:gd name="csY327" fmla="*/ 741612 h 1538630"/>
              <a:gd name="csX328" fmla="*/ 1384154 w 1609516"/>
              <a:gd name="csY328" fmla="*/ 748922 h 1538630"/>
              <a:gd name="csX329" fmla="*/ 1391476 w 1609516"/>
              <a:gd name="csY329" fmla="*/ 750419 h 1538630"/>
              <a:gd name="csX330" fmla="*/ 1395564 w 1609516"/>
              <a:gd name="csY330" fmla="*/ 751080 h 1538630"/>
              <a:gd name="csX331" fmla="*/ 1399775 w 1609516"/>
              <a:gd name="csY331" fmla="*/ 751740 h 1538630"/>
              <a:gd name="csX332" fmla="*/ 1403887 w 1609516"/>
              <a:gd name="csY332" fmla="*/ 752489 h 1538630"/>
              <a:gd name="csX333" fmla="*/ 1465383 w 1609516"/>
              <a:gd name="csY333" fmla="*/ 755969 h 1538630"/>
              <a:gd name="csX334" fmla="*/ 1470339 w 1609516"/>
              <a:gd name="csY334" fmla="*/ 755897 h 1538630"/>
              <a:gd name="csX335" fmla="*/ 1496809 w 1609516"/>
              <a:gd name="csY335" fmla="*/ 749313 h 1538630"/>
              <a:gd name="csX336" fmla="*/ 1515371 w 1609516"/>
              <a:gd name="csY336" fmla="*/ 743285 h 1538630"/>
              <a:gd name="csX337" fmla="*/ 1515371 w 1609516"/>
              <a:gd name="csY337" fmla="*/ 740467 h 1538630"/>
              <a:gd name="csX338" fmla="*/ 1537632 w 1609516"/>
              <a:gd name="csY338" fmla="*/ 737120 h 1538630"/>
              <a:gd name="csX339" fmla="*/ 1541657 w 1609516"/>
              <a:gd name="csY339" fmla="*/ 737127 h 1538630"/>
              <a:gd name="csX340" fmla="*/ 1574732 w 1609516"/>
              <a:gd name="csY340" fmla="*/ 748922 h 1538630"/>
              <a:gd name="csX341" fmla="*/ 1588791 w 1609516"/>
              <a:gd name="csY341" fmla="*/ 792608 h 1538630"/>
              <a:gd name="csX342" fmla="*/ 1584105 w 1609516"/>
              <a:gd name="csY342" fmla="*/ 805291 h 1538630"/>
              <a:gd name="csX343" fmla="*/ 1580981 w 1609516"/>
              <a:gd name="csY343" fmla="*/ 806700 h 1538630"/>
              <a:gd name="csX344" fmla="*/ 1578735 w 1609516"/>
              <a:gd name="csY344" fmla="*/ 810311 h 1538630"/>
              <a:gd name="csX345" fmla="*/ 1576295 w 1609516"/>
              <a:gd name="csY345" fmla="*/ 813746 h 1538630"/>
              <a:gd name="csX346" fmla="*/ 1571652 w 1609516"/>
              <a:gd name="csY346" fmla="*/ 813746 h 1538630"/>
              <a:gd name="csX347" fmla="*/ 1571785 w 1609516"/>
              <a:gd name="csY347" fmla="*/ 814106 h 1538630"/>
              <a:gd name="csX348" fmla="*/ 1574909 w 1609516"/>
              <a:gd name="csY348" fmla="*/ 815515 h 1538630"/>
              <a:gd name="csX349" fmla="*/ 1565463 w 1609516"/>
              <a:gd name="csY349" fmla="*/ 821839 h 1538630"/>
              <a:gd name="csX350" fmla="*/ 1562085 w 1609516"/>
              <a:gd name="csY350" fmla="*/ 822101 h 1538630"/>
              <a:gd name="csX351" fmla="*/ 1551301 w 1609516"/>
              <a:gd name="csY351" fmla="*/ 825020 h 1538630"/>
              <a:gd name="csX352" fmla="*/ 1551301 w 1609516"/>
              <a:gd name="csY352" fmla="*/ 827838 h 1538630"/>
              <a:gd name="csX353" fmla="*/ 1485380 w 1609516"/>
              <a:gd name="csY353" fmla="*/ 815007 h 1538630"/>
              <a:gd name="csX354" fmla="*/ 1431603 w 1609516"/>
              <a:gd name="csY354" fmla="*/ 808726 h 1538630"/>
              <a:gd name="csX355" fmla="*/ 1424140 w 1609516"/>
              <a:gd name="csY355" fmla="*/ 808542 h 1538630"/>
              <a:gd name="csX356" fmla="*/ 1406023 w 1609516"/>
              <a:gd name="csY356" fmla="*/ 808109 h 1538630"/>
              <a:gd name="csX357" fmla="*/ 1406023 w 1609516"/>
              <a:gd name="csY357" fmla="*/ 810928 h 1538630"/>
              <a:gd name="csX358" fmla="*/ 1403383 w 1609516"/>
              <a:gd name="csY358" fmla="*/ 811311 h 1538630"/>
              <a:gd name="csX359" fmla="*/ 1345442 w 1609516"/>
              <a:gd name="csY359" fmla="*/ 828907 h 1538630"/>
              <a:gd name="csX360" fmla="*/ 1337875 w 1609516"/>
              <a:gd name="csY360" fmla="*/ 856639 h 1538630"/>
              <a:gd name="csX361" fmla="*/ 1337692 w 1609516"/>
              <a:gd name="csY361" fmla="*/ 860171 h 1538630"/>
              <a:gd name="csX362" fmla="*/ 1337290 w 1609516"/>
              <a:gd name="csY362" fmla="*/ 868706 h 1538630"/>
              <a:gd name="csX363" fmla="*/ 1334165 w 1609516"/>
              <a:gd name="csY363" fmla="*/ 868706 h 1538630"/>
              <a:gd name="csX364" fmla="*/ 1334165 w 1609516"/>
              <a:gd name="csY364" fmla="*/ 870034 h 1538630"/>
              <a:gd name="csX365" fmla="*/ 1334237 w 1609516"/>
              <a:gd name="csY365" fmla="*/ 869093 h 1538630"/>
              <a:gd name="csX366" fmla="*/ 1335800 w 1609516"/>
              <a:gd name="csY366" fmla="*/ 869093 h 1538630"/>
              <a:gd name="csX367" fmla="*/ 1335995 w 1609516"/>
              <a:gd name="csY367" fmla="*/ 876491 h 1538630"/>
              <a:gd name="csX368" fmla="*/ 1336105 w 1609516"/>
              <a:gd name="csY368" fmla="*/ 880653 h 1538630"/>
              <a:gd name="csX369" fmla="*/ 1334294 w 1609516"/>
              <a:gd name="csY369" fmla="*/ 887271 h 1538630"/>
              <a:gd name="csX370" fmla="*/ 1331455 w 1609516"/>
              <a:gd name="csY370" fmla="*/ 896440 h 1538630"/>
              <a:gd name="csX371" fmla="*/ 1330887 w 1609516"/>
              <a:gd name="csY371" fmla="*/ 899969 h 1538630"/>
              <a:gd name="csX372" fmla="*/ 1330332 w 1609516"/>
              <a:gd name="csY372" fmla="*/ 903618 h 1538630"/>
              <a:gd name="csX373" fmla="*/ 1329209 w 1609516"/>
              <a:gd name="csY373" fmla="*/ 910797 h 1538630"/>
              <a:gd name="csX374" fmla="*/ 1328724 w 1609516"/>
              <a:gd name="csY374" fmla="*/ 913998 h 1538630"/>
              <a:gd name="csX375" fmla="*/ 1324865 w 1609516"/>
              <a:gd name="csY375" fmla="*/ 922643 h 1538630"/>
              <a:gd name="csX376" fmla="*/ 1322619 w 1609516"/>
              <a:gd name="csY376" fmla="*/ 937979 h 1538630"/>
              <a:gd name="csX377" fmla="*/ 1318744 w 1609516"/>
              <a:gd name="csY377" fmla="*/ 944961 h 1538630"/>
              <a:gd name="csX378" fmla="*/ 1318544 w 1609516"/>
              <a:gd name="csY378" fmla="*/ 946213 h 1538630"/>
              <a:gd name="csX379" fmla="*/ 1318251 w 1609516"/>
              <a:gd name="csY379" fmla="*/ 955285 h 1538630"/>
              <a:gd name="csX380" fmla="*/ 1318184 w 1609516"/>
              <a:gd name="csY380" fmla="*/ 960036 h 1538630"/>
              <a:gd name="csX381" fmla="*/ 1324024 w 1609516"/>
              <a:gd name="csY381" fmla="*/ 973660 h 1538630"/>
              <a:gd name="csX382" fmla="*/ 1329284 w 1609516"/>
              <a:gd name="csY382" fmla="*/ 983382 h 1538630"/>
              <a:gd name="csX383" fmla="*/ 1340414 w 1609516"/>
              <a:gd name="csY383" fmla="*/ 998354 h 1538630"/>
              <a:gd name="csX384" fmla="*/ 1346272 w 1609516"/>
              <a:gd name="csY384" fmla="*/ 1005048 h 1538630"/>
              <a:gd name="csX385" fmla="*/ 1394716 w 1609516"/>
              <a:gd name="csY385" fmla="*/ 1042740 h 1538630"/>
              <a:gd name="csX386" fmla="*/ 1401953 w 1609516"/>
              <a:gd name="csY386" fmla="*/ 1047374 h 1538630"/>
              <a:gd name="csX387" fmla="*/ 1427197 w 1609516"/>
              <a:gd name="csY387" fmla="*/ 1059061 h 1538630"/>
              <a:gd name="csX388" fmla="*/ 1437265 w 1609516"/>
              <a:gd name="csY388" fmla="*/ 1064588 h 1538630"/>
              <a:gd name="csX389" fmla="*/ 1437265 w 1609516"/>
              <a:gd name="csY389" fmla="*/ 1067406 h 1538630"/>
              <a:gd name="csX390" fmla="*/ 1440878 w 1609516"/>
              <a:gd name="csY390" fmla="*/ 1067847 h 1538630"/>
              <a:gd name="csX391" fmla="*/ 1447175 w 1609516"/>
              <a:gd name="csY391" fmla="*/ 1070753 h 1538630"/>
              <a:gd name="csX392" fmla="*/ 1457866 w 1609516"/>
              <a:gd name="csY392" fmla="*/ 1076830 h 1538630"/>
              <a:gd name="csX393" fmla="*/ 1462132 w 1609516"/>
              <a:gd name="csY393" fmla="*/ 1078696 h 1538630"/>
              <a:gd name="csX394" fmla="*/ 1465383 w 1609516"/>
              <a:gd name="csY394" fmla="*/ 1080089 h 1538630"/>
              <a:gd name="csX395" fmla="*/ 1465383 w 1609516"/>
              <a:gd name="csY395" fmla="*/ 1082908 h 1538630"/>
              <a:gd name="csX396" fmla="*/ 1468758 w 1609516"/>
              <a:gd name="csY396" fmla="*/ 1083975 h 1538630"/>
              <a:gd name="csX397" fmla="*/ 1481688 w 1609516"/>
              <a:gd name="csY397" fmla="*/ 1091187 h 1538630"/>
              <a:gd name="csX398" fmla="*/ 1486283 w 1609516"/>
              <a:gd name="csY398" fmla="*/ 1094236 h 1538630"/>
              <a:gd name="csX399" fmla="*/ 1494869 w 1609516"/>
              <a:gd name="csY399" fmla="*/ 1100171 h 1538630"/>
              <a:gd name="csX400" fmla="*/ 1544335 w 1609516"/>
              <a:gd name="csY400" fmla="*/ 1109518 h 1538630"/>
              <a:gd name="csX401" fmla="*/ 1593477 w 1609516"/>
              <a:gd name="csY401" fmla="*/ 1119900 h 1538630"/>
              <a:gd name="csX402" fmla="*/ 1605975 w 1609516"/>
              <a:gd name="csY402" fmla="*/ 1144913 h 1538630"/>
              <a:gd name="csX403" fmla="*/ 1609099 w 1609516"/>
              <a:gd name="csY403" fmla="*/ 1144913 h 1538630"/>
              <a:gd name="csX404" fmla="*/ 1609392 w 1609516"/>
              <a:gd name="csY404" fmla="*/ 1156892 h 1538630"/>
              <a:gd name="csX405" fmla="*/ 1609511 w 1609516"/>
              <a:gd name="csY405" fmla="*/ 1160272 h 1538630"/>
              <a:gd name="csX406" fmla="*/ 1604412 w 1609516"/>
              <a:gd name="csY406" fmla="*/ 1181553 h 1538630"/>
              <a:gd name="csX407" fmla="*/ 1601288 w 1609516"/>
              <a:gd name="csY407" fmla="*/ 1190009 h 1538630"/>
              <a:gd name="csX408" fmla="*/ 1598164 w 1609516"/>
              <a:gd name="csY408" fmla="*/ 1190009 h 1538630"/>
              <a:gd name="csX409" fmla="*/ 1597187 w 1609516"/>
              <a:gd name="csY409" fmla="*/ 1192739 h 1538630"/>
              <a:gd name="csX410" fmla="*/ 1595040 w 1609516"/>
              <a:gd name="csY410" fmla="*/ 1195645 h 1538630"/>
              <a:gd name="csX411" fmla="*/ 1585667 w 1609516"/>
              <a:gd name="csY411" fmla="*/ 1197055 h 1538630"/>
              <a:gd name="csX412" fmla="*/ 1582543 w 1609516"/>
              <a:gd name="csY412" fmla="*/ 1202691 h 1538630"/>
              <a:gd name="csX413" fmla="*/ 1562431 w 1609516"/>
              <a:gd name="csY413" fmla="*/ 1204365 h 1538630"/>
              <a:gd name="csX414" fmla="*/ 1558690 w 1609516"/>
              <a:gd name="csY414" fmla="*/ 1204417 h 1538630"/>
              <a:gd name="csX415" fmla="*/ 1521102 w 1609516"/>
              <a:gd name="csY415" fmla="*/ 1189585 h 1538630"/>
              <a:gd name="csX416" fmla="*/ 1505022 w 1609516"/>
              <a:gd name="csY416" fmla="*/ 1172041 h 1538630"/>
              <a:gd name="csX417" fmla="*/ 1457573 w 1609516"/>
              <a:gd name="csY417" fmla="*/ 1140686 h 1538630"/>
              <a:gd name="csX418" fmla="*/ 1457573 w 1609516"/>
              <a:gd name="csY418" fmla="*/ 1137867 h 1538630"/>
              <a:gd name="csX419" fmla="*/ 1452985 w 1609516"/>
              <a:gd name="csY419" fmla="*/ 1137339 h 1538630"/>
              <a:gd name="csX420" fmla="*/ 1448200 w 1609516"/>
              <a:gd name="csY420" fmla="*/ 1136458 h 1538630"/>
              <a:gd name="csX421" fmla="*/ 1446638 w 1609516"/>
              <a:gd name="csY421" fmla="*/ 1133640 h 1538630"/>
              <a:gd name="csX422" fmla="*/ 1438937 w 1609516"/>
              <a:gd name="csY422" fmla="*/ 1130601 h 1538630"/>
              <a:gd name="csX423" fmla="*/ 1429260 w 1609516"/>
              <a:gd name="csY423" fmla="*/ 1126770 h 1538630"/>
              <a:gd name="csX424" fmla="*/ 1411393 w 1609516"/>
              <a:gd name="csY424" fmla="*/ 1120340 h 1538630"/>
              <a:gd name="csX425" fmla="*/ 1391427 w 1609516"/>
              <a:gd name="csY425" fmla="*/ 1111191 h 1538630"/>
              <a:gd name="csX426" fmla="*/ 1381029 w 1609516"/>
              <a:gd name="csY426" fmla="*/ 1106865 h 1538630"/>
              <a:gd name="csX427" fmla="*/ 1381029 w 1609516"/>
              <a:gd name="csY427" fmla="*/ 1104046 h 1538630"/>
              <a:gd name="csX428" fmla="*/ 1377221 w 1609516"/>
              <a:gd name="csY428" fmla="*/ 1103605 h 1538630"/>
              <a:gd name="csX429" fmla="*/ 1357597 w 1609516"/>
              <a:gd name="csY429" fmla="*/ 1098409 h 1538630"/>
              <a:gd name="csX430" fmla="*/ 1352032 w 1609516"/>
              <a:gd name="csY430" fmla="*/ 1096736 h 1538630"/>
              <a:gd name="csX431" fmla="*/ 1348225 w 1609516"/>
              <a:gd name="csY431" fmla="*/ 1095590 h 1538630"/>
              <a:gd name="csX432" fmla="*/ 1348225 w 1609516"/>
              <a:gd name="csY432" fmla="*/ 1092772 h 1538630"/>
              <a:gd name="csX433" fmla="*/ 1337290 w 1609516"/>
              <a:gd name="csY433" fmla="*/ 1091363 h 1538630"/>
              <a:gd name="csX434" fmla="*/ 1337290 w 1609516"/>
              <a:gd name="csY434" fmla="*/ 1088544 h 1538630"/>
              <a:gd name="csX435" fmla="*/ 1331529 w 1609516"/>
              <a:gd name="csY435" fmla="*/ 1088104 h 1538630"/>
              <a:gd name="csX436" fmla="*/ 1323297 w 1609516"/>
              <a:gd name="csY436" fmla="*/ 1086611 h 1538630"/>
              <a:gd name="csX437" fmla="*/ 1323297 w 1609516"/>
              <a:gd name="csY437" fmla="*/ 1087618 h 1538630"/>
              <a:gd name="csX438" fmla="*/ 1319789 w 1609516"/>
              <a:gd name="csY438" fmla="*/ 1087310 h 1538630"/>
              <a:gd name="csX439" fmla="*/ 1262375 w 1609516"/>
              <a:gd name="csY439" fmla="*/ 1089028 h 1538630"/>
              <a:gd name="csX440" fmla="*/ 1258728 w 1609516"/>
              <a:gd name="csY440" fmla="*/ 1088205 h 1538630"/>
              <a:gd name="csX441" fmla="*/ 1246964 w 1609516"/>
              <a:gd name="csY441" fmla="*/ 1091489 h 1538630"/>
              <a:gd name="csX442" fmla="*/ 1223224 w 1609516"/>
              <a:gd name="csY442" fmla="*/ 1112865 h 1538630"/>
              <a:gd name="csX443" fmla="*/ 1213883 w 1609516"/>
              <a:gd name="csY443" fmla="*/ 1122366 h 1538630"/>
              <a:gd name="csX444" fmla="*/ 1212505 w 1609516"/>
              <a:gd name="csY444" fmla="*/ 1125708 h 1538630"/>
              <a:gd name="csX445" fmla="*/ 1204180 w 1609516"/>
              <a:gd name="csY445" fmla="*/ 1135561 h 1538630"/>
              <a:gd name="csX446" fmla="*/ 1200238 w 1609516"/>
              <a:gd name="csY446" fmla="*/ 1138999 h 1538630"/>
              <a:gd name="csX447" fmla="*/ 1192025 w 1609516"/>
              <a:gd name="csY447" fmla="*/ 1146022 h 1538630"/>
              <a:gd name="csX448" fmla="*/ 1173945 w 1609516"/>
              <a:gd name="csY448" fmla="*/ 1174749 h 1538630"/>
              <a:gd name="csX449" fmla="*/ 1173950 w 1609516"/>
              <a:gd name="csY449" fmla="*/ 1182610 h 1538630"/>
              <a:gd name="csX450" fmla="*/ 1173989 w 1609516"/>
              <a:gd name="csY450" fmla="*/ 1186765 h 1538630"/>
              <a:gd name="csX451" fmla="*/ 1182640 w 1609516"/>
              <a:gd name="csY451" fmla="*/ 1215374 h 1538630"/>
              <a:gd name="csX452" fmla="*/ 1185764 w 1609516"/>
              <a:gd name="csY452" fmla="*/ 1221804 h 1538630"/>
              <a:gd name="csX453" fmla="*/ 1187301 w 1609516"/>
              <a:gd name="csY453" fmla="*/ 1224859 h 1538630"/>
              <a:gd name="csX454" fmla="*/ 1190573 w 1609516"/>
              <a:gd name="csY454" fmla="*/ 1231740 h 1538630"/>
              <a:gd name="csX455" fmla="*/ 1205925 w 1609516"/>
              <a:gd name="csY455" fmla="*/ 1255163 h 1538630"/>
              <a:gd name="csX456" fmla="*/ 1212174 w 1609516"/>
              <a:gd name="csY456" fmla="*/ 1263134 h 1538630"/>
              <a:gd name="csX457" fmla="*/ 1235556 w 1609516"/>
              <a:gd name="csY457" fmla="*/ 1282538 h 1538630"/>
              <a:gd name="csX458" fmla="*/ 1238876 w 1609516"/>
              <a:gd name="csY458" fmla="*/ 1284426 h 1538630"/>
              <a:gd name="csX459" fmla="*/ 1238876 w 1609516"/>
              <a:gd name="csY459" fmla="*/ 1287245 h 1538630"/>
              <a:gd name="csX460" fmla="*/ 1242245 w 1609516"/>
              <a:gd name="csY460" fmla="*/ 1287663 h 1538630"/>
              <a:gd name="csX461" fmla="*/ 1271681 w 1609516"/>
              <a:gd name="csY461" fmla="*/ 1305565 h 1538630"/>
              <a:gd name="csX462" fmla="*/ 1271742 w 1609516"/>
              <a:gd name="csY462" fmla="*/ 1306172 h 1538630"/>
              <a:gd name="csX463" fmla="*/ 1278525 w 1609516"/>
              <a:gd name="csY463" fmla="*/ 1315767 h 1538630"/>
              <a:gd name="csX464" fmla="*/ 1281097 w 1609516"/>
              <a:gd name="csY464" fmla="*/ 1327286 h 1538630"/>
              <a:gd name="csX465" fmla="*/ 1277973 w 1609516"/>
              <a:gd name="csY465" fmla="*/ 1355470 h 1538630"/>
              <a:gd name="csX466" fmla="*/ 1277460 w 1609516"/>
              <a:gd name="csY466" fmla="*/ 1347025 h 1538630"/>
              <a:gd name="csX467" fmla="*/ 1273531 w 1609516"/>
              <a:gd name="csY467" fmla="*/ 1357991 h 1538630"/>
              <a:gd name="csX468" fmla="*/ 1263870 w 1609516"/>
              <a:gd name="csY468" fmla="*/ 1368980 h 1538630"/>
              <a:gd name="csX469" fmla="*/ 1246686 w 1609516"/>
              <a:gd name="csY469" fmla="*/ 1376026 h 1538630"/>
              <a:gd name="csX470" fmla="*/ 1246686 w 1609516"/>
              <a:gd name="csY470" fmla="*/ 1378844 h 1538630"/>
              <a:gd name="csX471" fmla="*/ 1231651 w 1609516"/>
              <a:gd name="csY471" fmla="*/ 1379196 h 1538630"/>
              <a:gd name="csX472" fmla="*/ 1227373 w 1609516"/>
              <a:gd name="csY472" fmla="*/ 1379340 h 1538630"/>
              <a:gd name="csX473" fmla="*/ 1206071 w 1609516"/>
              <a:gd name="csY473" fmla="*/ 1373207 h 1538630"/>
              <a:gd name="csX474" fmla="*/ 1202069 w 1609516"/>
              <a:gd name="csY474" fmla="*/ 1371798 h 1538630"/>
              <a:gd name="csX475" fmla="*/ 1184104 w 1609516"/>
              <a:gd name="csY475" fmla="*/ 1356176 h 1538630"/>
              <a:gd name="csX476" fmla="*/ 1177270 w 1609516"/>
              <a:gd name="csY476" fmla="*/ 1335247 h 1538630"/>
              <a:gd name="csX477" fmla="*/ 1169002 w 1609516"/>
              <a:gd name="csY477" fmla="*/ 1313464 h 1538630"/>
              <a:gd name="csX478" fmla="*/ 1163504 w 1609516"/>
              <a:gd name="csY478" fmla="*/ 1302130 h 1538630"/>
              <a:gd name="csX479" fmla="*/ 1162015 w 1609516"/>
              <a:gd name="csY479" fmla="*/ 1298788 h 1538630"/>
              <a:gd name="csX480" fmla="*/ 1160111 w 1609516"/>
              <a:gd name="csY480" fmla="*/ 1292656 h 1538630"/>
              <a:gd name="csX481" fmla="*/ 1154522 w 1609516"/>
              <a:gd name="csY481" fmla="*/ 1287245 h 1538630"/>
              <a:gd name="csX482" fmla="*/ 1151398 w 1609516"/>
              <a:gd name="csY482" fmla="*/ 1280199 h 1538630"/>
              <a:gd name="csX483" fmla="*/ 1144173 w 1609516"/>
              <a:gd name="csY483" fmla="*/ 1270774 h 1538630"/>
              <a:gd name="csX484" fmla="*/ 1142065 w 1609516"/>
              <a:gd name="csY484" fmla="*/ 1268160 h 1538630"/>
              <a:gd name="csX485" fmla="*/ 1135776 w 1609516"/>
              <a:gd name="csY485" fmla="*/ 1260470 h 1538630"/>
              <a:gd name="csX486" fmla="*/ 1132353 w 1609516"/>
              <a:gd name="csY486" fmla="*/ 1256247 h 1538630"/>
              <a:gd name="csX487" fmla="*/ 1112344 w 1609516"/>
              <a:gd name="csY487" fmla="*/ 1240741 h 1538630"/>
              <a:gd name="csX488" fmla="*/ 1106193 w 1609516"/>
              <a:gd name="csY488" fmla="*/ 1237570 h 1538630"/>
              <a:gd name="csX489" fmla="*/ 1101409 w 1609516"/>
              <a:gd name="csY489" fmla="*/ 1235104 h 1538630"/>
              <a:gd name="csX490" fmla="*/ 1101409 w 1609516"/>
              <a:gd name="csY490" fmla="*/ 1230876 h 1538630"/>
              <a:gd name="csX491" fmla="*/ 1065480 w 1609516"/>
              <a:gd name="csY491" fmla="*/ 1230876 h 1538630"/>
              <a:gd name="csX492" fmla="*/ 1063919 w 1609516"/>
              <a:gd name="csY492" fmla="*/ 1235104 h 1538630"/>
              <a:gd name="csX493" fmla="*/ 1059232 w 1609516"/>
              <a:gd name="csY493" fmla="*/ 1235104 h 1538630"/>
              <a:gd name="csX494" fmla="*/ 1059232 w 1609516"/>
              <a:gd name="csY494" fmla="*/ 1237922 h 1538630"/>
              <a:gd name="csX495" fmla="*/ 1040194 w 1609516"/>
              <a:gd name="csY495" fmla="*/ 1245761 h 1538630"/>
              <a:gd name="csX496" fmla="*/ 1030333 w 1609516"/>
              <a:gd name="csY496" fmla="*/ 1249901 h 1538630"/>
              <a:gd name="csX497" fmla="*/ 1013931 w 1609516"/>
              <a:gd name="csY497" fmla="*/ 1256242 h 1538630"/>
              <a:gd name="csX498" fmla="*/ 1005925 w 1609516"/>
              <a:gd name="csY498" fmla="*/ 1261615 h 1538630"/>
              <a:gd name="csX499" fmla="*/ 1004558 w 1609516"/>
              <a:gd name="csY499" fmla="*/ 1264697 h 1538630"/>
              <a:gd name="csX500" fmla="*/ 1002959 w 1609516"/>
              <a:gd name="csY500" fmla="*/ 1267961 h 1538630"/>
              <a:gd name="csX501" fmla="*/ 1000653 w 1609516"/>
              <a:gd name="csY501" fmla="*/ 1278965 h 1538630"/>
              <a:gd name="csX502" fmla="*/ 998297 w 1609516"/>
              <a:gd name="csY502" fmla="*/ 1294137 h 1538630"/>
              <a:gd name="csX503" fmla="*/ 996162 w 1609516"/>
              <a:gd name="csY503" fmla="*/ 1324765 h 1538630"/>
              <a:gd name="csX504" fmla="*/ 996164 w 1609516"/>
              <a:gd name="csY504" fmla="*/ 1327846 h 1538630"/>
              <a:gd name="csX505" fmla="*/ 1007780 w 1609516"/>
              <a:gd name="csY505" fmla="*/ 1403329 h 1538630"/>
              <a:gd name="csX506" fmla="*/ 1008940 w 1609516"/>
              <a:gd name="csY506" fmla="*/ 1407701 h 1538630"/>
              <a:gd name="csX507" fmla="*/ 1010080 w 1609516"/>
              <a:gd name="csY507" fmla="*/ 1411730 h 1538630"/>
              <a:gd name="csX508" fmla="*/ 1011075 w 1609516"/>
              <a:gd name="csY508" fmla="*/ 1415277 h 1538630"/>
              <a:gd name="csX509" fmla="*/ 1017055 w 1609516"/>
              <a:gd name="csY509" fmla="*/ 1422530 h 1538630"/>
              <a:gd name="csX510" fmla="*/ 1020277 w 1609516"/>
              <a:gd name="csY510" fmla="*/ 1427991 h 1538630"/>
              <a:gd name="csX511" fmla="*/ 1021796 w 1609516"/>
              <a:gd name="csY511" fmla="*/ 1430798 h 1538630"/>
              <a:gd name="csX512" fmla="*/ 1024579 w 1609516"/>
              <a:gd name="csY512" fmla="*/ 1437239 h 1538630"/>
              <a:gd name="csX513" fmla="*/ 1034043 w 1609516"/>
              <a:gd name="csY513" fmla="*/ 1448072 h 1538630"/>
              <a:gd name="csX514" fmla="*/ 1043782 w 1609516"/>
              <a:gd name="csY514" fmla="*/ 1464320 h 1538630"/>
              <a:gd name="csX515" fmla="*/ 1050458 w 1609516"/>
              <a:gd name="csY515" fmla="*/ 1472189 h 1538630"/>
              <a:gd name="csX516" fmla="*/ 1052926 w 1609516"/>
              <a:gd name="csY516" fmla="*/ 1482370 h 1538630"/>
              <a:gd name="csX517" fmla="*/ 1053316 w 1609516"/>
              <a:gd name="csY517" fmla="*/ 1496903 h 1538630"/>
              <a:gd name="csX518" fmla="*/ 1053352 w 1609516"/>
              <a:gd name="csY518" fmla="*/ 1500660 h 1538630"/>
              <a:gd name="csX519" fmla="*/ 1053341 w 1609516"/>
              <a:gd name="csY519" fmla="*/ 1504285 h 1538630"/>
              <a:gd name="csX520" fmla="*/ 1053329 w 1609516"/>
              <a:gd name="csY520" fmla="*/ 1507529 h 1538630"/>
              <a:gd name="csX521" fmla="*/ 1049801 w 1609516"/>
              <a:gd name="csY521" fmla="*/ 1516192 h 1538630"/>
              <a:gd name="csX522" fmla="*/ 1047312 w 1609516"/>
              <a:gd name="csY522" fmla="*/ 1516192 h 1538630"/>
              <a:gd name="csX523" fmla="*/ 1043611 w 1609516"/>
              <a:gd name="csY523" fmla="*/ 1522585 h 1538630"/>
              <a:gd name="csX524" fmla="*/ 1029552 w 1609516"/>
              <a:gd name="csY524" fmla="*/ 1529631 h 1538630"/>
              <a:gd name="csX525" fmla="*/ 1028771 w 1609516"/>
              <a:gd name="csY525" fmla="*/ 1532273 h 1538630"/>
              <a:gd name="csX526" fmla="*/ 1018013 w 1609516"/>
              <a:gd name="csY526" fmla="*/ 1537640 h 1538630"/>
              <a:gd name="csX527" fmla="*/ 981126 w 1609516"/>
              <a:gd name="csY527" fmla="*/ 1533859 h 1538630"/>
              <a:gd name="csX528" fmla="*/ 977227 w 1609516"/>
              <a:gd name="csY528" fmla="*/ 1531943 h 1538630"/>
              <a:gd name="csX529" fmla="*/ 955376 w 1609516"/>
              <a:gd name="csY529" fmla="*/ 1508751 h 1538630"/>
              <a:gd name="csX530" fmla="*/ 954571 w 1609516"/>
              <a:gd name="csY530" fmla="*/ 1500037 h 1538630"/>
              <a:gd name="csX531" fmla="*/ 951446 w 1609516"/>
              <a:gd name="csY531" fmla="*/ 1500037 h 1538630"/>
              <a:gd name="csX532" fmla="*/ 951251 w 1609516"/>
              <a:gd name="csY532" fmla="*/ 1487883 h 1538630"/>
              <a:gd name="csX533" fmla="*/ 951171 w 1609516"/>
              <a:gd name="csY533" fmla="*/ 1484431 h 1538630"/>
              <a:gd name="csX534" fmla="*/ 954571 w 1609516"/>
              <a:gd name="csY534" fmla="*/ 1466216 h 1538630"/>
              <a:gd name="csX535" fmla="*/ 954961 w 1609516"/>
              <a:gd name="csY535" fmla="*/ 1455118 h 1538630"/>
              <a:gd name="csX536" fmla="*/ 954932 w 1609516"/>
              <a:gd name="csY536" fmla="*/ 1451972 h 1538630"/>
              <a:gd name="csX537" fmla="*/ 945099 w 1609516"/>
              <a:gd name="csY537" fmla="*/ 1403594 h 1538630"/>
              <a:gd name="csX538" fmla="*/ 942366 w 1609516"/>
              <a:gd name="csY538" fmla="*/ 1393553 h 1538630"/>
              <a:gd name="csX539" fmla="*/ 934451 w 1609516"/>
              <a:gd name="csY539" fmla="*/ 1372734 h 1538630"/>
              <a:gd name="csX540" fmla="*/ 931974 w 1609516"/>
              <a:gd name="csY540" fmla="*/ 1365754 h 1538630"/>
              <a:gd name="csX541" fmla="*/ 931138 w 1609516"/>
              <a:gd name="csY541" fmla="*/ 1363343 h 1538630"/>
              <a:gd name="csX542" fmla="*/ 926452 w 1609516"/>
              <a:gd name="csY542" fmla="*/ 1361933 h 1538630"/>
              <a:gd name="csX543" fmla="*/ 918641 w 1609516"/>
              <a:gd name="csY543" fmla="*/ 1340795 h 1538630"/>
              <a:gd name="csX544" fmla="*/ 917079 w 1609516"/>
              <a:gd name="csY544" fmla="*/ 1335158 h 1538630"/>
              <a:gd name="csX545" fmla="*/ 913955 w 1609516"/>
              <a:gd name="csY545" fmla="*/ 1335158 h 1538630"/>
              <a:gd name="csX546" fmla="*/ 912057 w 1609516"/>
              <a:gd name="csY546" fmla="*/ 1330793 h 1538630"/>
              <a:gd name="csX547" fmla="*/ 902142 w 1609516"/>
              <a:gd name="csY547" fmla="*/ 1316222 h 1538630"/>
              <a:gd name="csX548" fmla="*/ 900091 w 1609516"/>
              <a:gd name="csY548" fmla="*/ 1313828 h 1538630"/>
              <a:gd name="csX549" fmla="*/ 878026 w 1609516"/>
              <a:gd name="csY549" fmla="*/ 1295700 h 1538630"/>
              <a:gd name="csX550" fmla="*/ 875134 w 1609516"/>
              <a:gd name="csY550" fmla="*/ 1293465 h 1538630"/>
              <a:gd name="csX551" fmla="*/ 869869 w 1609516"/>
              <a:gd name="csY551" fmla="*/ 1291826 h 1538630"/>
              <a:gd name="csX552" fmla="*/ 862384 w 1609516"/>
              <a:gd name="csY552" fmla="*/ 1291327 h 1538630"/>
              <a:gd name="csX553" fmla="*/ 844390 w 1609516"/>
              <a:gd name="csY553" fmla="*/ 1290461 h 1538630"/>
              <a:gd name="csX554" fmla="*/ 840476 w 1609516"/>
              <a:gd name="csY554" fmla="*/ 1290500 h 1538630"/>
              <a:gd name="csX555" fmla="*/ 831015 w 1609516"/>
              <a:gd name="csY555" fmla="*/ 1290637 h 1538630"/>
              <a:gd name="csX556" fmla="*/ 831015 w 1609516"/>
              <a:gd name="csY556" fmla="*/ 1293456 h 1538630"/>
              <a:gd name="csX557" fmla="*/ 818225 w 1609516"/>
              <a:gd name="csY557" fmla="*/ 1295570 h 1538630"/>
              <a:gd name="csX558" fmla="*/ 796774 w 1609516"/>
              <a:gd name="csY558" fmla="*/ 1297671 h 1538630"/>
              <a:gd name="csX559" fmla="*/ 783646 w 1609516"/>
              <a:gd name="csY559" fmla="*/ 1305736 h 1538630"/>
              <a:gd name="csX560" fmla="*/ 769263 w 1609516"/>
              <a:gd name="csY560" fmla="*/ 1327143 h 1538630"/>
              <a:gd name="csX561" fmla="*/ 764797 w 1609516"/>
              <a:gd name="csY561" fmla="*/ 1334360 h 1538630"/>
              <a:gd name="csX562" fmla="*/ 757875 w 1609516"/>
              <a:gd name="csY562" fmla="*/ 1353503 h 1538630"/>
              <a:gd name="csX563" fmla="*/ 755676 w 1609516"/>
              <a:gd name="csY563" fmla="*/ 1367455 h 1538630"/>
              <a:gd name="csX564" fmla="*/ 750558 w 1609516"/>
              <a:gd name="csY564" fmla="*/ 1399690 h 1538630"/>
              <a:gd name="csX565" fmla="*/ 753057 w 1609516"/>
              <a:gd name="csY565" fmla="*/ 1411256 h 1538630"/>
              <a:gd name="csX566" fmla="*/ 753057 w 1609516"/>
              <a:gd name="csY566" fmla="*/ 1416893 h 1538630"/>
              <a:gd name="csX567" fmla="*/ 756181 w 1609516"/>
              <a:gd name="csY567" fmla="*/ 1416893 h 1538630"/>
              <a:gd name="csX568" fmla="*/ 758133 w 1609516"/>
              <a:gd name="csY568" fmla="*/ 1436182 h 1538630"/>
              <a:gd name="csX569" fmla="*/ 758231 w 1609516"/>
              <a:gd name="csY569" fmla="*/ 1440781 h 1538630"/>
              <a:gd name="csX570" fmla="*/ 750713 w 1609516"/>
              <a:gd name="csY570" fmla="*/ 1465704 h 1538630"/>
              <a:gd name="csX571" fmla="*/ 748370 w 1609516"/>
              <a:gd name="csY571" fmla="*/ 1467185 h 1538630"/>
              <a:gd name="csX572" fmla="*/ 741633 w 1609516"/>
              <a:gd name="csY572" fmla="*/ 1473526 h 1538630"/>
              <a:gd name="csX573" fmla="*/ 728154 w 1609516"/>
              <a:gd name="csY573" fmla="*/ 1478343 h 1538630"/>
              <a:gd name="csX574" fmla="*/ 721814 w 1609516"/>
              <a:gd name="csY574" fmla="*/ 1480308 h 1538630"/>
              <a:gd name="csX575" fmla="*/ 708341 w 1609516"/>
              <a:gd name="csY575" fmla="*/ 1480661 h 1538630"/>
              <a:gd name="csX576" fmla="*/ 704637 w 1609516"/>
              <a:gd name="csY576" fmla="*/ 1480748 h 1538630"/>
              <a:gd name="csX577" fmla="*/ 668507 w 1609516"/>
              <a:gd name="csY577" fmla="*/ 1468418 h 1538630"/>
              <a:gd name="csX578" fmla="*/ 660178 w 1609516"/>
              <a:gd name="csY578" fmla="*/ 1450027 h 1538630"/>
              <a:gd name="csX579" fmla="*/ 657767 w 1609516"/>
              <a:gd name="csY579" fmla="*/ 1445078 h 1538630"/>
              <a:gd name="csX580" fmla="*/ 663369 w 1609516"/>
              <a:gd name="csY580" fmla="*/ 1409390 h 1538630"/>
              <a:gd name="csX581" fmla="*/ 671826 w 1609516"/>
              <a:gd name="csY581" fmla="*/ 1401392 h 1538630"/>
              <a:gd name="csX582" fmla="*/ 678075 w 1609516"/>
              <a:gd name="csY582" fmla="*/ 1390118 h 1538630"/>
              <a:gd name="csX583" fmla="*/ 684323 w 1609516"/>
              <a:gd name="csY583" fmla="*/ 1388709 h 1538630"/>
              <a:gd name="csX584" fmla="*/ 685293 w 1609516"/>
              <a:gd name="csY584" fmla="*/ 1384233 h 1538630"/>
              <a:gd name="csX585" fmla="*/ 686569 w 1609516"/>
              <a:gd name="csY585" fmla="*/ 1378404 h 1538630"/>
              <a:gd name="csX586" fmla="*/ 687207 w 1609516"/>
              <a:gd name="csY586" fmla="*/ 1375456 h 1538630"/>
              <a:gd name="csX587" fmla="*/ 690572 w 1609516"/>
              <a:gd name="csY587" fmla="*/ 1363343 h 1538630"/>
              <a:gd name="csX588" fmla="*/ 692495 w 1609516"/>
              <a:gd name="csY588" fmla="*/ 1323376 h 1538630"/>
              <a:gd name="csX589" fmla="*/ 692625 w 1609516"/>
              <a:gd name="csY589" fmla="*/ 1315006 h 1538630"/>
              <a:gd name="csX590" fmla="*/ 687447 w 1609516"/>
              <a:gd name="csY590" fmla="*/ 1287245 h 1538630"/>
              <a:gd name="csX591" fmla="*/ 682761 w 1609516"/>
              <a:gd name="csY591" fmla="*/ 1285835 h 1538630"/>
              <a:gd name="csX592" fmla="*/ 678954 w 1609516"/>
              <a:gd name="csY592" fmla="*/ 1281608 h 1538630"/>
              <a:gd name="csX593" fmla="*/ 668702 w 1609516"/>
              <a:gd name="csY593" fmla="*/ 1275971 h 1538630"/>
              <a:gd name="csX594" fmla="*/ 662454 w 1609516"/>
              <a:gd name="csY594" fmla="*/ 1270334 h 1538630"/>
              <a:gd name="csX595" fmla="*/ 654643 w 1609516"/>
              <a:gd name="csY595" fmla="*/ 1267516 h 1538630"/>
              <a:gd name="csX596" fmla="*/ 654643 w 1609516"/>
              <a:gd name="csY596" fmla="*/ 1264697 h 1538630"/>
              <a:gd name="csX597" fmla="*/ 650152 w 1609516"/>
              <a:gd name="csY597" fmla="*/ 1264345 h 1538630"/>
              <a:gd name="csX598" fmla="*/ 628087 w 1609516"/>
              <a:gd name="csY598" fmla="*/ 1257651 h 1538630"/>
              <a:gd name="csX599" fmla="*/ 628087 w 1609516"/>
              <a:gd name="csY599" fmla="*/ 1254833 h 1538630"/>
              <a:gd name="csX600" fmla="*/ 625121 w 1609516"/>
              <a:gd name="csY600" fmla="*/ 1254315 h 1538630"/>
              <a:gd name="csX601" fmla="*/ 621252 w 1609516"/>
              <a:gd name="csY601" fmla="*/ 1253600 h 1538630"/>
              <a:gd name="csX602" fmla="*/ 617409 w 1609516"/>
              <a:gd name="csY602" fmla="*/ 1252906 h 1538630"/>
              <a:gd name="csX603" fmla="*/ 610904 w 1609516"/>
              <a:gd name="csY603" fmla="*/ 1249196 h 1538630"/>
              <a:gd name="csX604" fmla="*/ 565739 w 1609516"/>
              <a:gd name="csY604" fmla="*/ 1271742 h 1538630"/>
              <a:gd name="csX605" fmla="*/ 546924 w 1609516"/>
              <a:gd name="csY605" fmla="*/ 1290829 h 1538630"/>
              <a:gd name="csX606" fmla="*/ 543635 w 1609516"/>
              <a:gd name="csY606" fmla="*/ 1294643 h 1538630"/>
              <a:gd name="csX607" fmla="*/ 540651 w 1609516"/>
              <a:gd name="csY607" fmla="*/ 1298188 h 1538630"/>
              <a:gd name="csX608" fmla="*/ 529673 w 1609516"/>
              <a:gd name="csY608" fmla="*/ 1305565 h 1538630"/>
              <a:gd name="csX609" fmla="*/ 526549 w 1609516"/>
              <a:gd name="csY609" fmla="*/ 1311202 h 1538630"/>
              <a:gd name="csX610" fmla="*/ 523425 w 1609516"/>
              <a:gd name="csY610" fmla="*/ 1311202 h 1538630"/>
              <a:gd name="csX611" fmla="*/ 523230 w 1609516"/>
              <a:gd name="csY611" fmla="*/ 1313580 h 1538630"/>
              <a:gd name="csX612" fmla="*/ 517732 w 1609516"/>
              <a:gd name="csY612" fmla="*/ 1319739 h 1538630"/>
              <a:gd name="csX613" fmla="*/ 502239 w 1609516"/>
              <a:gd name="csY613" fmla="*/ 1337096 h 1538630"/>
              <a:gd name="csX614" fmla="*/ 497058 w 1609516"/>
              <a:gd name="csY614" fmla="*/ 1344087 h 1538630"/>
              <a:gd name="csX615" fmla="*/ 494572 w 1609516"/>
              <a:gd name="csY615" fmla="*/ 1347465 h 1538630"/>
              <a:gd name="csX616" fmla="*/ 487776 w 1609516"/>
              <a:gd name="csY616" fmla="*/ 1356181 h 1538630"/>
              <a:gd name="csX617" fmla="*/ 481248 w 1609516"/>
              <a:gd name="csY617" fmla="*/ 1367571 h 1538630"/>
              <a:gd name="csX618" fmla="*/ 478123 w 1609516"/>
              <a:gd name="csY618" fmla="*/ 1367571 h 1538630"/>
              <a:gd name="csX619" fmla="*/ 477635 w 1609516"/>
              <a:gd name="csY619" fmla="*/ 1370565 h 1538630"/>
              <a:gd name="csX620" fmla="*/ 465626 w 1609516"/>
              <a:gd name="csY620" fmla="*/ 1388709 h 1538630"/>
              <a:gd name="csX621" fmla="*/ 461233 w 1609516"/>
              <a:gd name="csY621" fmla="*/ 1397340 h 1538630"/>
              <a:gd name="csX622" fmla="*/ 455765 w 1609516"/>
              <a:gd name="csY622" fmla="*/ 1408086 h 1538630"/>
              <a:gd name="csX623" fmla="*/ 439070 w 1609516"/>
              <a:gd name="csY623" fmla="*/ 1477490 h 1538630"/>
              <a:gd name="csX624" fmla="*/ 434384 w 1609516"/>
              <a:gd name="csY624" fmla="*/ 1478899 h 1538630"/>
              <a:gd name="csX625" fmla="*/ 432431 w 1609516"/>
              <a:gd name="csY625" fmla="*/ 1481982 h 1538630"/>
              <a:gd name="csX626" fmla="*/ 418763 w 1609516"/>
              <a:gd name="csY626" fmla="*/ 1494401 h 1538630"/>
              <a:gd name="csX627" fmla="*/ 415639 w 1609516"/>
              <a:gd name="csY627" fmla="*/ 1494401 h 1538630"/>
              <a:gd name="csX628" fmla="*/ 415639 w 1609516"/>
              <a:gd name="csY628" fmla="*/ 1497219 h 1538630"/>
              <a:gd name="csX629" fmla="*/ 406265 w 1609516"/>
              <a:gd name="csY629" fmla="*/ 1498628 h 1538630"/>
              <a:gd name="csX630" fmla="*/ 406265 w 1609516"/>
              <a:gd name="csY630" fmla="*/ 1501447 h 1538630"/>
              <a:gd name="csX631" fmla="*/ 375023 w 1609516"/>
              <a:gd name="csY631" fmla="*/ 1501447 h 1538630"/>
              <a:gd name="csX632" fmla="*/ 375023 w 1609516"/>
              <a:gd name="csY632" fmla="*/ 1499438 h 1538630"/>
              <a:gd name="csX633" fmla="*/ 374964 w 1609516"/>
              <a:gd name="csY633" fmla="*/ 1499436 h 1538630"/>
              <a:gd name="csX634" fmla="*/ 373179 w 1609516"/>
              <a:gd name="csY634" fmla="*/ 1498628 h 1538630"/>
              <a:gd name="csX635" fmla="*/ 365650 w 1609516"/>
              <a:gd name="csY635" fmla="*/ 1498628 h 1538630"/>
              <a:gd name="csX636" fmla="*/ 363134 w 1609516"/>
              <a:gd name="csY636" fmla="*/ 1494087 h 1538630"/>
              <a:gd name="csX637" fmla="*/ 362171 w 1609516"/>
              <a:gd name="csY637" fmla="*/ 1493651 h 1538630"/>
              <a:gd name="csX638" fmla="*/ 360609 w 1609516"/>
              <a:gd name="csY638" fmla="*/ 1490833 h 1538630"/>
              <a:gd name="csX639" fmla="*/ 363733 w 1609516"/>
              <a:gd name="csY639" fmla="*/ 1490833 h 1538630"/>
              <a:gd name="csX640" fmla="*/ 363733 w 1609516"/>
              <a:gd name="csY640" fmla="*/ 1489980 h 1538630"/>
              <a:gd name="csX641" fmla="*/ 348467 w 1609516"/>
              <a:gd name="csY641" fmla="*/ 1481717 h 1538630"/>
              <a:gd name="csX642" fmla="*/ 343872 w 1609516"/>
              <a:gd name="csY642" fmla="*/ 1461078 h 1538630"/>
              <a:gd name="csX643" fmla="*/ 343656 w 1609516"/>
              <a:gd name="csY643" fmla="*/ 1463649 h 1538630"/>
              <a:gd name="csX644" fmla="*/ 343424 w 1609516"/>
              <a:gd name="csY644" fmla="*/ 1466842 h 1538630"/>
              <a:gd name="csX645" fmla="*/ 341861 w 1609516"/>
              <a:gd name="csY645" fmla="*/ 1466842 h 1538630"/>
              <a:gd name="csX646" fmla="*/ 354143 w 1609516"/>
              <a:gd name="csY646" fmla="*/ 1420549 h 1538630"/>
              <a:gd name="csX647" fmla="*/ 376229 w 1609516"/>
              <a:gd name="csY647" fmla="*/ 1403427 h 1538630"/>
              <a:gd name="csX648" fmla="*/ 379491 w 1609516"/>
              <a:gd name="csY648" fmla="*/ 1404408 h 1538630"/>
              <a:gd name="csX649" fmla="*/ 379710 w 1609516"/>
              <a:gd name="csY649" fmla="*/ 1404210 h 1538630"/>
              <a:gd name="csX650" fmla="*/ 380882 w 1609516"/>
              <a:gd name="csY650" fmla="*/ 1401568 h 1538630"/>
              <a:gd name="csX651" fmla="*/ 392207 w 1609516"/>
              <a:gd name="csY651" fmla="*/ 1392936 h 1538630"/>
              <a:gd name="csX652" fmla="*/ 399542 w 1609516"/>
              <a:gd name="csY652" fmla="*/ 1386774 h 1538630"/>
              <a:gd name="csX653" fmla="*/ 405485 w 1609516"/>
              <a:gd name="csY653" fmla="*/ 1378917 h 1538630"/>
              <a:gd name="csX654" fmla="*/ 412008 w 1609516"/>
              <a:gd name="csY654" fmla="*/ 1369481 h 1538630"/>
              <a:gd name="csX655" fmla="*/ 421130 w 1609516"/>
              <a:gd name="csY655" fmla="*/ 1357057 h 1538630"/>
              <a:gd name="csX656" fmla="*/ 424676 w 1609516"/>
              <a:gd name="csY656" fmla="*/ 1348443 h 1538630"/>
              <a:gd name="csX657" fmla="*/ 427275 w 1609516"/>
              <a:gd name="csY657" fmla="*/ 1348443 h 1538630"/>
              <a:gd name="csX658" fmla="*/ 428135 w 1609516"/>
              <a:gd name="csY658" fmla="*/ 1345727 h 1538630"/>
              <a:gd name="csX659" fmla="*/ 432822 w 1609516"/>
              <a:gd name="csY659" fmla="*/ 1335158 h 1538630"/>
              <a:gd name="csX660" fmla="*/ 435946 w 1609516"/>
              <a:gd name="csY660" fmla="*/ 1335158 h 1538630"/>
              <a:gd name="csX661" fmla="*/ 437704 w 1609516"/>
              <a:gd name="csY661" fmla="*/ 1329786 h 1538630"/>
              <a:gd name="csX662" fmla="*/ 447394 w 1609516"/>
              <a:gd name="csY662" fmla="*/ 1311196 h 1538630"/>
              <a:gd name="csX663" fmla="*/ 469287 w 1609516"/>
              <a:gd name="csY663" fmla="*/ 1265964 h 1538630"/>
              <a:gd name="csX664" fmla="*/ 478178 w 1609516"/>
              <a:gd name="csY664" fmla="*/ 1246787 h 1538630"/>
              <a:gd name="csX665" fmla="*/ 480179 w 1609516"/>
              <a:gd name="csY665" fmla="*/ 1225768 h 1538630"/>
              <a:gd name="csX666" fmla="*/ 480250 w 1609516"/>
              <a:gd name="csY666" fmla="*/ 1217149 h 1538630"/>
              <a:gd name="csX667" fmla="*/ 462972 w 1609516"/>
              <a:gd name="csY667" fmla="*/ 1174827 h 1538630"/>
              <a:gd name="csX668" fmla="*/ 457468 w 1609516"/>
              <a:gd name="csY668" fmla="*/ 1169949 h 1538630"/>
              <a:gd name="csX669" fmla="*/ 440657 w 1609516"/>
              <a:gd name="csY669" fmla="*/ 1152570 h 1538630"/>
              <a:gd name="csX670" fmla="*/ 403142 w 1609516"/>
              <a:gd name="csY670" fmla="*/ 1122366 h 1538630"/>
              <a:gd name="csX671" fmla="*/ 401579 w 1609516"/>
              <a:gd name="csY671" fmla="*/ 1119547 h 1538630"/>
              <a:gd name="csX672" fmla="*/ 364564 w 1609516"/>
              <a:gd name="csY672" fmla="*/ 1118209 h 1538630"/>
              <a:gd name="csX673" fmla="*/ 357822 w 1609516"/>
              <a:gd name="csY673" fmla="*/ 1122041 h 1538630"/>
              <a:gd name="csX674" fmla="*/ 348077 w 1609516"/>
              <a:gd name="csY674" fmla="*/ 1125273 h 1538630"/>
              <a:gd name="csX675" fmla="*/ 334408 w 1609516"/>
              <a:gd name="csY675" fmla="*/ 1132230 h 1538630"/>
              <a:gd name="csX676" fmla="*/ 327964 w 1609516"/>
              <a:gd name="csY676" fmla="*/ 1134080 h 1538630"/>
              <a:gd name="csX677" fmla="*/ 279734 w 1609516"/>
              <a:gd name="csY677" fmla="*/ 1166051 h 1538630"/>
              <a:gd name="csX678" fmla="*/ 276609 w 1609516"/>
              <a:gd name="csY678" fmla="*/ 1173098 h 1538630"/>
              <a:gd name="csX679" fmla="*/ 260988 w 1609516"/>
              <a:gd name="csY679" fmla="*/ 1188599 h 1538630"/>
              <a:gd name="csX680" fmla="*/ 257956 w 1609516"/>
              <a:gd name="csY680" fmla="*/ 1191132 h 1538630"/>
              <a:gd name="csX681" fmla="*/ 243805 w 1609516"/>
              <a:gd name="csY681" fmla="*/ 1196629 h 1538630"/>
              <a:gd name="csX682" fmla="*/ 243805 w 1609516"/>
              <a:gd name="csY682" fmla="*/ 1194236 h 1538630"/>
              <a:gd name="csX683" fmla="*/ 240288 w 1609516"/>
              <a:gd name="csY683" fmla="*/ 1194765 h 1538630"/>
              <a:gd name="csX684" fmla="*/ 243374 w 1609516"/>
              <a:gd name="csY684" fmla="*/ 1194765 h 1538630"/>
              <a:gd name="csX685" fmla="*/ 243374 w 1609516"/>
              <a:gd name="csY685" fmla="*/ 1196797 h 1538630"/>
              <a:gd name="csX686" fmla="*/ 243805 w 1609516"/>
              <a:gd name="csY686" fmla="*/ 1196629 h 1538630"/>
              <a:gd name="csX687" fmla="*/ 243805 w 1609516"/>
              <a:gd name="csY687" fmla="*/ 1197055 h 1538630"/>
              <a:gd name="csX688" fmla="*/ 243374 w 1609516"/>
              <a:gd name="csY688" fmla="*/ 1197055 h 1538630"/>
              <a:gd name="csX689" fmla="*/ 243374 w 1609516"/>
              <a:gd name="csY689" fmla="*/ 1197584 h 1538630"/>
              <a:gd name="csX690" fmla="*/ 241319 w 1609516"/>
              <a:gd name="csY690" fmla="*/ 1197595 h 1538630"/>
              <a:gd name="csX691" fmla="*/ 238009 w 1609516"/>
              <a:gd name="csY691" fmla="*/ 1198881 h 1538630"/>
              <a:gd name="csX692" fmla="*/ 215687 w 1609516"/>
              <a:gd name="csY692" fmla="*/ 1198464 h 1538630"/>
              <a:gd name="csX693" fmla="*/ 215687 w 1609516"/>
              <a:gd name="csY693" fmla="*/ 1197734 h 1538630"/>
              <a:gd name="csX694" fmla="*/ 213936 w 1609516"/>
              <a:gd name="csY694" fmla="*/ 1197744 h 1538630"/>
              <a:gd name="csX695" fmla="*/ 207446 w 1609516"/>
              <a:gd name="csY695" fmla="*/ 1196175 h 1538630"/>
              <a:gd name="csX696" fmla="*/ 207822 w 1609516"/>
              <a:gd name="csY696" fmla="*/ 1195610 h 1538630"/>
              <a:gd name="csX697" fmla="*/ 184737 w 1609516"/>
              <a:gd name="csY697" fmla="*/ 1180936 h 1538630"/>
              <a:gd name="csX698" fmla="*/ 179270 w 1609516"/>
              <a:gd name="csY698" fmla="*/ 1154866 h 1538630"/>
              <a:gd name="csX699" fmla="*/ 179194 w 1609516"/>
              <a:gd name="csY699" fmla="*/ 1151621 h 1538630"/>
              <a:gd name="csX700" fmla="*/ 193195 w 1609516"/>
              <a:gd name="csY700" fmla="*/ 1120065 h 1538630"/>
              <a:gd name="csX701" fmla="*/ 229551 w 1609516"/>
              <a:gd name="csY701" fmla="*/ 1110299 h 1538630"/>
              <a:gd name="csX702" fmla="*/ 260988 w 1609516"/>
              <a:gd name="csY702" fmla="*/ 1108274 h 1538630"/>
              <a:gd name="csX703" fmla="*/ 260988 w 1609516"/>
              <a:gd name="csY703" fmla="*/ 1105455 h 1538630"/>
              <a:gd name="csX704" fmla="*/ 263911 w 1609516"/>
              <a:gd name="csY704" fmla="*/ 1104310 h 1538630"/>
              <a:gd name="csX705" fmla="*/ 286995 w 1609516"/>
              <a:gd name="csY705" fmla="*/ 1090185 h 1538630"/>
              <a:gd name="csX706" fmla="*/ 299358 w 1609516"/>
              <a:gd name="csY706" fmla="*/ 1080970 h 1538630"/>
              <a:gd name="csX707" fmla="*/ 317762 w 1609516"/>
              <a:gd name="csY707" fmla="*/ 1063272 h 1538630"/>
              <a:gd name="csX708" fmla="*/ 325035 w 1609516"/>
              <a:gd name="csY708" fmla="*/ 1057542 h 1538630"/>
              <a:gd name="csX709" fmla="*/ 325328 w 1609516"/>
              <a:gd name="csY709" fmla="*/ 1023104 h 1538630"/>
              <a:gd name="csX710" fmla="*/ 324544 w 1609516"/>
              <a:gd name="csY710" fmla="*/ 1019247 h 1538630"/>
              <a:gd name="csX711" fmla="*/ 317225 w 1609516"/>
              <a:gd name="csY711" fmla="*/ 996945 h 1538630"/>
              <a:gd name="csX712" fmla="*/ 315388 w 1609516"/>
              <a:gd name="csY712" fmla="*/ 992690 h 1538630"/>
              <a:gd name="csX713" fmla="*/ 276232 w 1609516"/>
              <a:gd name="csY713" fmla="*/ 950666 h 1538630"/>
              <a:gd name="csX714" fmla="*/ 271923 w 1609516"/>
              <a:gd name="csY714" fmla="*/ 949031 h 1538630"/>
              <a:gd name="csX715" fmla="*/ 268299 w 1609516"/>
              <a:gd name="csY715" fmla="*/ 947441 h 1538630"/>
              <a:gd name="csX716" fmla="*/ 199187 w 1609516"/>
              <a:gd name="csY716" fmla="*/ 938991 h 1538630"/>
              <a:gd name="csX717" fmla="*/ 193719 w 1609516"/>
              <a:gd name="csY717" fmla="*/ 938971 h 1538630"/>
              <a:gd name="csX718" fmla="*/ 188539 w 1609516"/>
              <a:gd name="csY718" fmla="*/ 938980 h 1538630"/>
              <a:gd name="csX719" fmla="*/ 183874 w 1609516"/>
              <a:gd name="csY719" fmla="*/ 938985 h 1538630"/>
              <a:gd name="csX720" fmla="*/ 173509 w 1609516"/>
              <a:gd name="csY720" fmla="*/ 940576 h 1538630"/>
              <a:gd name="csX721" fmla="*/ 161403 w 1609516"/>
              <a:gd name="csY721" fmla="*/ 940664 h 1538630"/>
              <a:gd name="csX722" fmla="*/ 158102 w 1609516"/>
              <a:gd name="csY722" fmla="*/ 940645 h 1538630"/>
              <a:gd name="csX723" fmla="*/ 150875 w 1609516"/>
              <a:gd name="csY723" fmla="*/ 940583 h 1538630"/>
              <a:gd name="csX724" fmla="*/ 148425 w 1609516"/>
              <a:gd name="csY724" fmla="*/ 940717 h 1538630"/>
              <a:gd name="csX725" fmla="*/ 149617 w 1609516"/>
              <a:gd name="csY725" fmla="*/ 940995 h 1538630"/>
              <a:gd name="csX726" fmla="*/ 149617 w 1609516"/>
              <a:gd name="csY726" fmla="*/ 942404 h 1538630"/>
              <a:gd name="csX727" fmla="*/ 146627 w 1609516"/>
              <a:gd name="csY727" fmla="*/ 942871 h 1538630"/>
              <a:gd name="csX728" fmla="*/ 110564 w 1609516"/>
              <a:gd name="csY728" fmla="*/ 949449 h 1538630"/>
              <a:gd name="csX729" fmla="*/ 111283 w 1609516"/>
              <a:gd name="csY729" fmla="*/ 946205 h 1538630"/>
              <a:gd name="csX730" fmla="*/ 101652 w 1609516"/>
              <a:gd name="csY730" fmla="*/ 956078 h 1538630"/>
              <a:gd name="csX731" fmla="*/ 98052 w 1609516"/>
              <a:gd name="csY731" fmla="*/ 958467 h 1538630"/>
              <a:gd name="csX732" fmla="*/ 67286 w 1609516"/>
              <a:gd name="csY732" fmla="*/ 972989 h 1538630"/>
              <a:gd name="csX733" fmla="*/ 67286 w 1609516"/>
              <a:gd name="csY733" fmla="*/ 975807 h 1538630"/>
              <a:gd name="csX734" fmla="*/ 31942 w 1609516"/>
              <a:gd name="csY734" fmla="*/ 976423 h 1538630"/>
              <a:gd name="csX735" fmla="*/ 5673 w 1609516"/>
              <a:gd name="csY735" fmla="*/ 953419 h 1538630"/>
              <a:gd name="csX736" fmla="*/ 4801 w 1609516"/>
              <a:gd name="csY736" fmla="*/ 944804 h 1538630"/>
              <a:gd name="csX737" fmla="*/ 1676 w 1609516"/>
              <a:gd name="csY737" fmla="*/ 944804 h 1538630"/>
              <a:gd name="csX738" fmla="*/ 17 w 1609516"/>
              <a:gd name="csY738" fmla="*/ 931857 h 1538630"/>
              <a:gd name="csX739" fmla="*/ 59 w 1609516"/>
              <a:gd name="csY739" fmla="*/ 927216 h 1538630"/>
              <a:gd name="csX740" fmla="*/ 115 w 1609516"/>
              <a:gd name="csY740" fmla="*/ 923666 h 1538630"/>
              <a:gd name="csX741" fmla="*/ 3238 w 1609516"/>
              <a:gd name="csY741" fmla="*/ 923666 h 1538630"/>
              <a:gd name="csX742" fmla="*/ 3238 w 1609516"/>
              <a:gd name="csY742" fmla="*/ 918029 h 1538630"/>
              <a:gd name="csX743" fmla="*/ 6363 w 1609516"/>
              <a:gd name="csY743" fmla="*/ 918029 h 1538630"/>
              <a:gd name="csX744" fmla="*/ 6656 w 1609516"/>
              <a:gd name="csY744" fmla="*/ 912832 h 1538630"/>
              <a:gd name="csX745" fmla="*/ 15736 w 1609516"/>
              <a:gd name="csY745" fmla="*/ 899709 h 1538630"/>
              <a:gd name="csX746" fmla="*/ 17243 w 1609516"/>
              <a:gd name="csY746" fmla="*/ 898894 h 1538630"/>
              <a:gd name="csX747" fmla="*/ 16800 w 1609516"/>
              <a:gd name="csY747" fmla="*/ 898694 h 1538630"/>
              <a:gd name="csX748" fmla="*/ 24988 w 1609516"/>
              <a:gd name="csY748" fmla="*/ 894101 h 1538630"/>
              <a:gd name="csX749" fmla="*/ 26768 w 1609516"/>
              <a:gd name="csY749" fmla="*/ 892399 h 1538630"/>
              <a:gd name="csX750" fmla="*/ 30198 w 1609516"/>
              <a:gd name="csY750" fmla="*/ 890164 h 1538630"/>
              <a:gd name="csX751" fmla="*/ 32204 w 1609516"/>
              <a:gd name="csY751" fmla="*/ 890054 h 1538630"/>
              <a:gd name="csX752" fmla="*/ 38914 w 1609516"/>
              <a:gd name="csY752" fmla="*/ 886291 h 1538630"/>
              <a:gd name="csX753" fmla="*/ 63664 w 1609516"/>
              <a:gd name="csY753" fmla="*/ 886011 h 1538630"/>
              <a:gd name="csX754" fmla="*/ 63664 w 1609516"/>
              <a:gd name="csY754" fmla="*/ 886531 h 1538630"/>
              <a:gd name="csX755" fmla="*/ 70784 w 1609516"/>
              <a:gd name="csY755" fmla="*/ 886647 h 1538630"/>
              <a:gd name="csX756" fmla="*/ 82126 w 1609516"/>
              <a:gd name="csY756" fmla="*/ 889845 h 1538630"/>
              <a:gd name="csX757" fmla="*/ 114149 w 1609516"/>
              <a:gd name="csY757" fmla="*/ 892663 h 1538630"/>
              <a:gd name="csX758" fmla="*/ 118836 w 1609516"/>
              <a:gd name="csY758" fmla="*/ 889845 h 1538630"/>
              <a:gd name="csX759" fmla="*/ 131626 w 1609516"/>
              <a:gd name="csY759" fmla="*/ 887114 h 1538630"/>
              <a:gd name="csX760" fmla="*/ 155116 w 1609516"/>
              <a:gd name="csY760" fmla="*/ 880913 h 1538630"/>
              <a:gd name="csX761" fmla="*/ 165406 w 1609516"/>
              <a:gd name="csY761" fmla="*/ 878483 h 1538630"/>
              <a:gd name="csX762" fmla="*/ 176634 w 1609516"/>
              <a:gd name="csY762" fmla="*/ 874343 h 1538630"/>
              <a:gd name="csX763" fmla="*/ 186397 w 1609516"/>
              <a:gd name="csY763" fmla="*/ 871524 h 1538630"/>
              <a:gd name="csX764" fmla="*/ 191871 w 1609516"/>
              <a:gd name="csY764" fmla="*/ 870033 h 1538630"/>
              <a:gd name="csX765" fmla="*/ 203483 w 1609516"/>
              <a:gd name="csY765" fmla="*/ 867208 h 1538630"/>
              <a:gd name="csX766" fmla="*/ 211001 w 1609516"/>
              <a:gd name="csY766" fmla="*/ 861660 h 1538630"/>
              <a:gd name="csX767" fmla="*/ 218031 w 1609516"/>
              <a:gd name="csY767" fmla="*/ 858577 h 1538630"/>
              <a:gd name="csX768" fmla="*/ 254740 w 1609516"/>
              <a:gd name="csY768" fmla="*/ 825020 h 1538630"/>
              <a:gd name="csX769" fmla="*/ 257864 w 1609516"/>
              <a:gd name="csY769" fmla="*/ 820792 h 1538630"/>
              <a:gd name="csX770" fmla="*/ 258318 w 1609516"/>
              <a:gd name="csY770" fmla="*/ 813810 h 1538630"/>
              <a:gd name="csX771" fmla="*/ 258378 w 1609516"/>
              <a:gd name="csY771" fmla="*/ 809502 h 1538630"/>
              <a:gd name="csX772" fmla="*/ 258389 w 1609516"/>
              <a:gd name="csY772" fmla="*/ 804845 h 1538630"/>
              <a:gd name="csX773" fmla="*/ 258420 w 1609516"/>
              <a:gd name="csY773" fmla="*/ 800036 h 1538630"/>
              <a:gd name="csX774" fmla="*/ 258443 w 1609516"/>
              <a:gd name="csY774" fmla="*/ 789939 h 1538630"/>
              <a:gd name="csX775" fmla="*/ 258566 w 1609516"/>
              <a:gd name="csY775" fmla="*/ 774594 h 1538630"/>
              <a:gd name="csX776" fmla="*/ 258584 w 1609516"/>
              <a:gd name="csY776" fmla="*/ 764771 h 1538630"/>
              <a:gd name="csX777" fmla="*/ 258652 w 1609516"/>
              <a:gd name="csY777" fmla="*/ 760174 h 1538630"/>
              <a:gd name="csX778" fmla="*/ 251616 w 1609516"/>
              <a:gd name="csY778" fmla="*/ 733421 h 1538630"/>
              <a:gd name="csX779" fmla="*/ 247613 w 1609516"/>
              <a:gd name="csY779" fmla="*/ 721883 h 1538630"/>
              <a:gd name="csX780" fmla="*/ 241291 w 1609516"/>
              <a:gd name="csY780" fmla="*/ 705644 h 1538630"/>
              <a:gd name="csX781" fmla="*/ 237557 w 1609516"/>
              <a:gd name="csY781" fmla="*/ 689735 h 1538630"/>
              <a:gd name="csX782" fmla="*/ 248492 w 1609516"/>
              <a:gd name="csY782" fmla="*/ 685507 h 1538630"/>
              <a:gd name="csX783" fmla="*/ 248492 w 1609516"/>
              <a:gd name="csY783" fmla="*/ 681279 h 1538630"/>
              <a:gd name="csX784" fmla="*/ 240681 w 1609516"/>
              <a:gd name="csY784" fmla="*/ 679870 h 1538630"/>
              <a:gd name="csX785" fmla="*/ 240681 w 1609516"/>
              <a:gd name="csY785" fmla="*/ 677052 h 1538630"/>
              <a:gd name="csX786" fmla="*/ 238094 w 1609516"/>
              <a:gd name="csY786" fmla="*/ 676645 h 1538630"/>
              <a:gd name="csX787" fmla="*/ 225841 w 1609516"/>
              <a:gd name="csY787" fmla="*/ 670886 h 1538630"/>
              <a:gd name="csX788" fmla="*/ 201531 w 1609516"/>
              <a:gd name="csY788" fmla="*/ 662508 h 1538630"/>
              <a:gd name="csX789" fmla="*/ 188252 w 1609516"/>
              <a:gd name="csY789" fmla="*/ 658644 h 1538630"/>
              <a:gd name="csX790" fmla="*/ 182431 w 1609516"/>
              <a:gd name="csY790" fmla="*/ 657327 h 1538630"/>
              <a:gd name="csX791" fmla="*/ 182431 w 1609516"/>
              <a:gd name="csY791" fmla="*/ 657613 h 1538630"/>
              <a:gd name="csX792" fmla="*/ 146503 w 1609516"/>
              <a:gd name="csY792" fmla="*/ 656204 h 1538630"/>
              <a:gd name="csX793" fmla="*/ 146503 w 1609516"/>
              <a:gd name="csY793" fmla="*/ 659022 h 1538630"/>
              <a:gd name="csX794" fmla="*/ 110378 w 1609516"/>
              <a:gd name="csY794" fmla="*/ 663778 h 1538630"/>
              <a:gd name="csX795" fmla="*/ 106453 w 1609516"/>
              <a:gd name="csY795" fmla="*/ 663836 h 1538630"/>
              <a:gd name="csX796" fmla="*/ 102751 w 1609516"/>
              <a:gd name="csY796" fmla="*/ 663811 h 1538630"/>
              <a:gd name="csX797" fmla="*/ 99449 w 1609516"/>
              <a:gd name="csY797" fmla="*/ 663797 h 1538630"/>
              <a:gd name="csX798" fmla="*/ 91828 w 1609516"/>
              <a:gd name="csY798" fmla="*/ 659022 h 1538630"/>
              <a:gd name="csX799" fmla="*/ 98077 w 1609516"/>
              <a:gd name="csY799" fmla="*/ 659022 h 1538630"/>
              <a:gd name="csX800" fmla="*/ 98077 w 1609516"/>
              <a:gd name="csY800" fmla="*/ 661841 h 1538630"/>
              <a:gd name="csX801" fmla="*/ 119023 w 1609516"/>
              <a:gd name="csY801" fmla="*/ 661357 h 1538630"/>
              <a:gd name="csX802" fmla="*/ 119536 w 1609516"/>
              <a:gd name="csY802" fmla="*/ 661197 h 1538630"/>
              <a:gd name="csX803" fmla="*/ 109853 w 1609516"/>
              <a:gd name="csY803" fmla="*/ 661639 h 1538630"/>
              <a:gd name="csX804" fmla="*/ 106552 w 1609516"/>
              <a:gd name="csY804" fmla="*/ 661619 h 1538630"/>
              <a:gd name="csX805" fmla="*/ 98528 w 1609516"/>
              <a:gd name="csY805" fmla="*/ 661550 h 1538630"/>
              <a:gd name="csX806" fmla="*/ 98528 w 1609516"/>
              <a:gd name="csY806" fmla="*/ 658732 h 1538630"/>
              <a:gd name="csX807" fmla="*/ 89155 w 1609516"/>
              <a:gd name="csY807" fmla="*/ 657323 h 1538630"/>
              <a:gd name="csX808" fmla="*/ 89155 w 1609516"/>
              <a:gd name="csY808" fmla="*/ 654504 h 1538630"/>
              <a:gd name="csX809" fmla="*/ 86397 w 1609516"/>
              <a:gd name="csY809" fmla="*/ 653442 h 1538630"/>
              <a:gd name="csX810" fmla="*/ 77049 w 1609516"/>
              <a:gd name="csY810" fmla="*/ 646137 h 1538630"/>
              <a:gd name="csX811" fmla="*/ 74145 w 1609516"/>
              <a:gd name="csY811" fmla="*/ 643192 h 1538630"/>
              <a:gd name="csX812" fmla="*/ 71972 w 1609516"/>
              <a:gd name="csY812" fmla="*/ 636185 h 1538630"/>
              <a:gd name="csX813" fmla="*/ 68848 w 1609516"/>
              <a:gd name="csY813" fmla="*/ 636185 h 1538630"/>
              <a:gd name="csX814" fmla="*/ 70410 w 1609516"/>
              <a:gd name="csY814" fmla="*/ 595317 h 1538630"/>
              <a:gd name="csX815" fmla="*/ 79782 w 1609516"/>
              <a:gd name="csY815" fmla="*/ 584043 h 1538630"/>
              <a:gd name="csX816" fmla="*/ 82656 w 1609516"/>
              <a:gd name="csY816" fmla="*/ 581115 h 1538630"/>
              <a:gd name="csX817" fmla="*/ 116694 w 1609516"/>
              <a:gd name="csY817" fmla="*/ 572323 h 1538630"/>
              <a:gd name="csX818" fmla="*/ 152031 w 1609516"/>
              <a:gd name="csY818" fmla="*/ 590385 h 1538630"/>
              <a:gd name="csX819" fmla="*/ 191474 w 1609516"/>
              <a:gd name="csY819" fmla="*/ 605886 h 1538630"/>
              <a:gd name="csX820" fmla="*/ 206314 w 1609516"/>
              <a:gd name="csY820" fmla="*/ 608000 h 1538630"/>
              <a:gd name="csX821" fmla="*/ 206314 w 1609516"/>
              <a:gd name="csY821" fmla="*/ 610818 h 1538630"/>
              <a:gd name="csX822" fmla="*/ 234433 w 1609516"/>
              <a:gd name="csY822" fmla="*/ 610818 h 1538630"/>
              <a:gd name="csX823" fmla="*/ 239522 w 1609516"/>
              <a:gd name="csY823" fmla="*/ 610802 h 1538630"/>
              <a:gd name="csX824" fmla="*/ 268799 w 1609516"/>
              <a:gd name="csY824" fmla="*/ 600954 h 1538630"/>
              <a:gd name="csX825" fmla="*/ 271740 w 1609516"/>
              <a:gd name="csY825" fmla="*/ 599325 h 1538630"/>
              <a:gd name="csX826" fmla="*/ 284420 w 1609516"/>
              <a:gd name="csY826" fmla="*/ 579816 h 1538630"/>
              <a:gd name="csX827" fmla="*/ 289399 w 1609516"/>
              <a:gd name="csY827" fmla="*/ 568630 h 1538630"/>
              <a:gd name="csX828" fmla="*/ 293958 w 1609516"/>
              <a:gd name="csY828" fmla="*/ 535838 h 1538630"/>
              <a:gd name="csX829" fmla="*/ 289107 w 1609516"/>
              <a:gd name="csY829" fmla="*/ 529084 h 1538630"/>
              <a:gd name="csX830" fmla="*/ 289107 w 1609516"/>
              <a:gd name="csY830" fmla="*/ 526265 h 1538630"/>
              <a:gd name="csX831" fmla="*/ 284420 w 1609516"/>
              <a:gd name="csY831" fmla="*/ 524856 h 1538630"/>
              <a:gd name="csX832" fmla="*/ 282858 w 1609516"/>
              <a:gd name="csY832" fmla="*/ 520628 h 1538630"/>
              <a:gd name="csX833" fmla="*/ 277977 w 1609516"/>
              <a:gd name="csY833" fmla="*/ 516577 h 1538630"/>
              <a:gd name="csX834" fmla="*/ 264925 w 1609516"/>
              <a:gd name="csY834" fmla="*/ 506443 h 1538630"/>
              <a:gd name="csX835" fmla="*/ 229746 w 1609516"/>
              <a:gd name="csY835" fmla="*/ 481170 h 1538630"/>
              <a:gd name="csX836" fmla="*/ 221057 w 1609516"/>
              <a:gd name="csY836" fmla="*/ 475445 h 1538630"/>
              <a:gd name="csX837" fmla="*/ 212563 w 1609516"/>
              <a:gd name="csY837" fmla="*/ 469896 h 1538630"/>
              <a:gd name="csX838" fmla="*/ 208889 w 1609516"/>
              <a:gd name="csY838" fmla="*/ 467491 h 1538630"/>
              <a:gd name="csX839" fmla="*/ 190406 w 1609516"/>
              <a:gd name="csY839" fmla="*/ 456382 h 1538630"/>
              <a:gd name="csX840" fmla="*/ 186942 w 1609516"/>
              <a:gd name="csY840" fmla="*/ 454460 h 1538630"/>
              <a:gd name="csX841" fmla="*/ 180041 w 1609516"/>
              <a:gd name="csY841" fmla="*/ 450696 h 1538630"/>
              <a:gd name="csX842" fmla="*/ 171948 w 1609516"/>
              <a:gd name="csY842" fmla="*/ 445940 h 1538630"/>
              <a:gd name="csX843" fmla="*/ 171948 w 1609516"/>
              <a:gd name="csY843" fmla="*/ 443121 h 1538630"/>
              <a:gd name="csX844" fmla="*/ 168482 w 1609516"/>
              <a:gd name="csY844" fmla="*/ 442708 h 1538630"/>
              <a:gd name="csX845" fmla="*/ 157107 w 1609516"/>
              <a:gd name="csY845" fmla="*/ 437044 h 1538630"/>
              <a:gd name="csX846" fmla="*/ 132559 w 1609516"/>
              <a:gd name="csY846" fmla="*/ 427510 h 1538630"/>
              <a:gd name="csX847" fmla="*/ 123522 w 1609516"/>
              <a:gd name="csY847" fmla="*/ 421983 h 1538630"/>
              <a:gd name="csX848" fmla="*/ 107986 w 1609516"/>
              <a:gd name="csY848" fmla="*/ 418730 h 1538630"/>
              <a:gd name="csX849" fmla="*/ 102494 w 1609516"/>
              <a:gd name="csY849" fmla="*/ 418622 h 1538630"/>
              <a:gd name="csX850" fmla="*/ 91157 w 1609516"/>
              <a:gd name="csY850" fmla="*/ 418490 h 1538630"/>
              <a:gd name="csX851" fmla="*/ 55277 w 1609516"/>
              <a:gd name="csY851" fmla="*/ 410445 h 1538630"/>
              <a:gd name="csX852" fmla="*/ 51665 w 1609516"/>
              <a:gd name="csY852" fmla="*/ 406481 h 1538630"/>
              <a:gd name="csX853" fmla="*/ 45904 w 1609516"/>
              <a:gd name="csY853" fmla="*/ 400492 h 1538630"/>
              <a:gd name="csX854" fmla="*/ 43152 w 1609516"/>
              <a:gd name="csY854" fmla="*/ 397564 h 1538630"/>
              <a:gd name="csX855" fmla="*/ 37605 w 1609516"/>
              <a:gd name="csY855" fmla="*/ 393798 h 1538630"/>
              <a:gd name="csX856" fmla="*/ 38995 w 1609516"/>
              <a:gd name="csY856" fmla="*/ 368712 h 1538630"/>
              <a:gd name="csX857" fmla="*/ 38666 w 1609516"/>
              <a:gd name="csY857" fmla="*/ 369724 h 1538630"/>
              <a:gd name="csX858" fmla="*/ 35542 w 1609516"/>
              <a:gd name="csY858" fmla="*/ 384081 h 1538630"/>
              <a:gd name="csX859" fmla="*/ 33326 w 1609516"/>
              <a:gd name="csY859" fmla="*/ 357791 h 1538630"/>
              <a:gd name="csX860" fmla="*/ 52725 w 1609516"/>
              <a:gd name="csY860" fmla="*/ 333349 h 1538630"/>
              <a:gd name="csX861" fmla="*/ 55222 w 1609516"/>
              <a:gd name="csY861" fmla="*/ 334475 h 1538630"/>
              <a:gd name="csX862" fmla="*/ 56222 w 1609516"/>
              <a:gd name="csY862" fmla="*/ 333347 h 1538630"/>
              <a:gd name="csX863" fmla="*/ 55871 w 1609516"/>
              <a:gd name="csY863" fmla="*/ 333347 h 1538630"/>
              <a:gd name="csX864" fmla="*/ 56346 w 1609516"/>
              <a:gd name="csY864" fmla="*/ 333207 h 1538630"/>
              <a:gd name="csX865" fmla="*/ 56351 w 1609516"/>
              <a:gd name="csY865" fmla="*/ 333202 h 1538630"/>
              <a:gd name="csX866" fmla="*/ 56365 w 1609516"/>
              <a:gd name="csY866" fmla="*/ 333202 h 1538630"/>
              <a:gd name="csX867" fmla="*/ 79571 w 1609516"/>
              <a:gd name="csY867" fmla="*/ 326360 h 1538630"/>
              <a:gd name="csX868" fmla="*/ 104297 w 1609516"/>
              <a:gd name="csY868" fmla="*/ 330529 h 1538630"/>
              <a:gd name="csX869" fmla="*/ 107170 w 1609516"/>
              <a:gd name="csY869" fmla="*/ 334417 h 1538630"/>
              <a:gd name="csX870" fmla="*/ 109366 w 1609516"/>
              <a:gd name="csY870" fmla="*/ 336046 h 1538630"/>
              <a:gd name="csX871" fmla="*/ 109463 w 1609516"/>
              <a:gd name="csY871" fmla="*/ 336020 h 1538630"/>
              <a:gd name="csX872" fmla="*/ 109463 w 1609516"/>
              <a:gd name="csY872" fmla="*/ 336118 h 1538630"/>
              <a:gd name="csX873" fmla="*/ 115226 w 1609516"/>
              <a:gd name="csY873" fmla="*/ 340394 h 1538630"/>
              <a:gd name="csX874" fmla="*/ 114010 w 1609516"/>
              <a:gd name="csY874" fmla="*/ 340120 h 1538630"/>
              <a:gd name="csX875" fmla="*/ 133285 w 1609516"/>
              <a:gd name="csY875" fmla="*/ 357423 h 1538630"/>
              <a:gd name="csX876" fmla="*/ 173509 w 1609516"/>
              <a:gd name="csY876" fmla="*/ 389571 h 1538630"/>
              <a:gd name="csX877" fmla="*/ 181711 w 1609516"/>
              <a:gd name="csY877" fmla="*/ 393270 h 1538630"/>
              <a:gd name="csX878" fmla="*/ 185507 w 1609516"/>
              <a:gd name="csY878" fmla="*/ 394976 h 1538630"/>
              <a:gd name="csX879" fmla="*/ 192658 w 1609516"/>
              <a:gd name="csY879" fmla="*/ 398257 h 1538630"/>
              <a:gd name="csX880" fmla="*/ 195966 w 1609516"/>
              <a:gd name="csY880" fmla="*/ 399788 h 1538630"/>
              <a:gd name="csX881" fmla="*/ 198833 w 1609516"/>
              <a:gd name="csY881" fmla="*/ 401131 h 1538630"/>
              <a:gd name="csX882" fmla="*/ 207877 w 1609516"/>
              <a:gd name="csY882" fmla="*/ 403663 h 1538630"/>
              <a:gd name="csX883" fmla="*/ 207877 w 1609516"/>
              <a:gd name="csY883" fmla="*/ 406481 h 1538630"/>
              <a:gd name="csX884" fmla="*/ 248492 w 1609516"/>
              <a:gd name="csY884" fmla="*/ 419428 h 1538630"/>
              <a:gd name="csX885" fmla="*/ 253965 w 1609516"/>
              <a:gd name="csY885" fmla="*/ 421000 h 1538630"/>
              <a:gd name="csX886" fmla="*/ 267237 w 1609516"/>
              <a:gd name="csY886" fmla="*/ 424801 h 1538630"/>
              <a:gd name="csX887" fmla="*/ 267237 w 1609516"/>
              <a:gd name="csY887" fmla="*/ 426451 h 1538630"/>
              <a:gd name="csX888" fmla="*/ 288701 w 1609516"/>
              <a:gd name="csY888" fmla="*/ 429217 h 1538630"/>
              <a:gd name="csX889" fmla="*/ 288701 w 1609516"/>
              <a:gd name="csY889" fmla="*/ 432036 h 1538630"/>
              <a:gd name="csX890" fmla="*/ 327010 w 1609516"/>
              <a:gd name="csY890" fmla="*/ 433628 h 1538630"/>
              <a:gd name="csX891" fmla="*/ 337486 w 1609516"/>
              <a:gd name="csY891" fmla="*/ 433637 h 1538630"/>
              <a:gd name="csX892" fmla="*/ 344229 w 1609516"/>
              <a:gd name="csY892" fmla="*/ 433632 h 1538630"/>
              <a:gd name="csX893" fmla="*/ 350323 w 1609516"/>
              <a:gd name="csY893" fmla="*/ 433627 h 1538630"/>
              <a:gd name="csX894" fmla="*/ 365245 w 1609516"/>
              <a:gd name="csY894" fmla="*/ 432036 h 1538630"/>
              <a:gd name="csX895" fmla="*/ 360797 w 1609516"/>
              <a:gd name="csY895" fmla="*/ 433759 h 1538630"/>
              <a:gd name="csX896" fmla="*/ 365650 w 1609516"/>
              <a:gd name="csY896" fmla="*/ 433257 h 1538630"/>
              <a:gd name="csX897" fmla="*/ 367213 w 1609516"/>
              <a:gd name="csY897" fmla="*/ 429029 h 1538630"/>
              <a:gd name="csX898" fmla="*/ 375188 w 1609516"/>
              <a:gd name="csY898" fmla="*/ 424906 h 1538630"/>
              <a:gd name="csX899" fmla="*/ 404704 w 1609516"/>
              <a:gd name="csY899" fmla="*/ 389571 h 1538630"/>
              <a:gd name="csX900" fmla="*/ 406265 w 1609516"/>
              <a:gd name="csY900" fmla="*/ 388161 h 1538630"/>
              <a:gd name="csX901" fmla="*/ 406559 w 1609516"/>
              <a:gd name="csY901" fmla="*/ 370106 h 1538630"/>
              <a:gd name="csX902" fmla="*/ 406617 w 1609516"/>
              <a:gd name="csY902" fmla="*/ 364973 h 1538630"/>
              <a:gd name="csX903" fmla="*/ 406626 w 1609516"/>
              <a:gd name="csY903" fmla="*/ 360038 h 1538630"/>
              <a:gd name="csX904" fmla="*/ 406645 w 1609516"/>
              <a:gd name="csY904" fmla="*/ 355503 h 1538630"/>
              <a:gd name="csX905" fmla="*/ 403142 w 1609516"/>
              <a:gd name="csY905" fmla="*/ 345885 h 1538630"/>
              <a:gd name="csX906" fmla="*/ 401579 w 1609516"/>
              <a:gd name="csY906" fmla="*/ 338663 h 1538630"/>
              <a:gd name="csX907" fmla="*/ 390938 w 1609516"/>
              <a:gd name="csY907" fmla="*/ 315939 h 1538630"/>
              <a:gd name="csX908" fmla="*/ 388976 w 1609516"/>
              <a:gd name="csY908" fmla="*/ 312762 h 1538630"/>
              <a:gd name="csX909" fmla="*/ 377934 w 1609516"/>
              <a:gd name="csY909" fmla="*/ 297817 h 1538630"/>
              <a:gd name="csX910" fmla="*/ 368775 w 1609516"/>
              <a:gd name="csY910" fmla="*/ 282470 h 1538630"/>
              <a:gd name="csX911" fmla="*/ 359890 w 1609516"/>
              <a:gd name="csY911" fmla="*/ 271284 h 1538630"/>
              <a:gd name="csX912" fmla="*/ 357374 w 1609516"/>
              <a:gd name="csY912" fmla="*/ 268288 h 1538630"/>
              <a:gd name="csX913" fmla="*/ 337533 w 1609516"/>
              <a:gd name="csY913" fmla="*/ 248649 h 1538630"/>
              <a:gd name="csX914" fmla="*/ 335214 w 1609516"/>
              <a:gd name="csY914" fmla="*/ 246369 h 1538630"/>
              <a:gd name="csX915" fmla="*/ 327085 w 1609516"/>
              <a:gd name="csY915" fmla="*/ 242571 h 1538630"/>
              <a:gd name="csX916" fmla="*/ 288785 w 1609516"/>
              <a:gd name="csY916" fmla="*/ 207968 h 1538630"/>
              <a:gd name="csX917" fmla="*/ 286373 w 1609516"/>
              <a:gd name="csY917" fmla="*/ 192544 h 1538630"/>
              <a:gd name="csX918" fmla="*/ 286385 w 1609516"/>
              <a:gd name="csY918" fmla="*/ 189190 h 1538630"/>
              <a:gd name="csX919" fmla="*/ 300042 w 1609516"/>
              <a:gd name="csY919" fmla="*/ 164095 h 1538630"/>
              <a:gd name="csX920" fmla="*/ 302757 w 1609516"/>
              <a:gd name="csY920" fmla="*/ 161381 h 1538630"/>
              <a:gd name="csX921" fmla="*/ 338411 w 1609516"/>
              <a:gd name="csY921" fmla="*/ 152293 h 1538630"/>
              <a:gd name="csX922" fmla="*/ 368482 w 1609516"/>
              <a:gd name="csY922" fmla="*/ 161893 h 1538630"/>
              <a:gd name="csX923" fmla="*/ 371899 w 1609516"/>
              <a:gd name="csY923" fmla="*/ 165505 h 1538630"/>
              <a:gd name="csX924" fmla="*/ 375121 w 1609516"/>
              <a:gd name="csY924" fmla="*/ 168587 h 1538630"/>
              <a:gd name="csX925" fmla="*/ 384982 w 1609516"/>
              <a:gd name="csY925" fmla="*/ 193777 h 1538630"/>
              <a:gd name="csX926" fmla="*/ 390352 w 1609516"/>
              <a:gd name="csY926" fmla="*/ 214563 h 1538630"/>
              <a:gd name="csX927" fmla="*/ 391529 w 1609516"/>
              <a:gd name="csY927" fmla="*/ 217626 h 1538630"/>
              <a:gd name="csX928" fmla="*/ 401579 w 1609516"/>
              <a:gd name="csY928" fmla="*/ 234556 h 1538630"/>
              <a:gd name="csX929" fmla="*/ 401579 w 1609516"/>
              <a:gd name="csY929" fmla="*/ 238784 h 1538630"/>
              <a:gd name="csX930" fmla="*/ 404215 w 1609516"/>
              <a:gd name="csY930" fmla="*/ 239753 h 1538630"/>
              <a:gd name="csX931" fmla="*/ 417811 w 1609516"/>
              <a:gd name="csY931" fmla="*/ 251996 h 1538630"/>
              <a:gd name="csX932" fmla="*/ 426866 w 1609516"/>
              <a:gd name="csY932" fmla="*/ 262300 h 1538630"/>
              <a:gd name="csX933" fmla="*/ 450097 w 1609516"/>
              <a:gd name="csY933" fmla="*/ 287628 h 1538630"/>
              <a:gd name="csX934" fmla="*/ 457425 w 1609516"/>
              <a:gd name="csY934" fmla="*/ 293920 h 1538630"/>
              <a:gd name="csX935" fmla="*/ 460940 w 1609516"/>
              <a:gd name="csY935" fmla="*/ 296562 h 1538630"/>
              <a:gd name="csX936" fmla="*/ 460940 w 1609516"/>
              <a:gd name="csY936" fmla="*/ 300790 h 1538630"/>
              <a:gd name="csX937" fmla="*/ 473437 w 1609516"/>
              <a:gd name="csY937" fmla="*/ 305018 h 1538630"/>
              <a:gd name="csX938" fmla="*/ 473437 w 1609516"/>
              <a:gd name="csY938" fmla="*/ 307836 h 1538630"/>
              <a:gd name="csX939" fmla="*/ 479881 w 1609516"/>
              <a:gd name="csY939" fmla="*/ 309862 h 1538630"/>
              <a:gd name="csX940" fmla="*/ 483505 w 1609516"/>
              <a:gd name="csY940" fmla="*/ 311001 h 1538630"/>
              <a:gd name="csX941" fmla="*/ 548419 w 1609516"/>
              <a:gd name="csY941" fmla="*/ 306427 h 1538630"/>
              <a:gd name="csX942" fmla="*/ 551842 w 1609516"/>
              <a:gd name="csY942" fmla="*/ 305127 h 1538630"/>
              <a:gd name="csX943" fmla="*/ 560232 w 1609516"/>
              <a:gd name="csY943" fmla="*/ 298148 h 1538630"/>
              <a:gd name="csX944" fmla="*/ 562972 w 1609516"/>
              <a:gd name="csY944" fmla="*/ 295252 h 1538630"/>
              <a:gd name="csX945" fmla="*/ 568086 w 1609516"/>
              <a:gd name="csY945" fmla="*/ 289152 h 1538630"/>
              <a:gd name="csX946" fmla="*/ 570289 w 1609516"/>
              <a:gd name="csY946" fmla="*/ 286697 h 1538630"/>
              <a:gd name="csX947" fmla="*/ 573413 w 1609516"/>
              <a:gd name="csY947" fmla="*/ 286697 h 1538630"/>
              <a:gd name="csX948" fmla="*/ 577220 w 1609516"/>
              <a:gd name="csY948" fmla="*/ 257016 h 1538630"/>
              <a:gd name="csX949" fmla="*/ 577235 w 1609516"/>
              <a:gd name="csY949" fmla="*/ 254206 h 1538630"/>
              <a:gd name="csX950" fmla="*/ 569443 w 1609516"/>
              <a:gd name="csY950" fmla="*/ 206049 h 1538630"/>
              <a:gd name="csX951" fmla="*/ 568726 w 1609516"/>
              <a:gd name="csY951" fmla="*/ 200735 h 1538630"/>
              <a:gd name="csX952" fmla="*/ 565602 w 1609516"/>
              <a:gd name="csY952" fmla="*/ 200735 h 1538630"/>
              <a:gd name="csX953" fmla="*/ 559549 w 1609516"/>
              <a:gd name="csY953" fmla="*/ 184441 h 1538630"/>
              <a:gd name="csX954" fmla="*/ 537484 w 1609516"/>
              <a:gd name="csY954" fmla="*/ 159867 h 1538630"/>
              <a:gd name="csX955" fmla="*/ 531235 w 1609516"/>
              <a:gd name="csY955" fmla="*/ 154230 h 1538630"/>
              <a:gd name="csX956" fmla="*/ 531235 w 1609516"/>
              <a:gd name="csY956" fmla="*/ 151412 h 1538630"/>
              <a:gd name="csX957" fmla="*/ 526549 w 1609516"/>
              <a:gd name="csY957" fmla="*/ 150003 h 1538630"/>
              <a:gd name="csX958" fmla="*/ 524304 w 1609516"/>
              <a:gd name="csY958" fmla="*/ 107198 h 1538630"/>
              <a:gd name="csX959" fmla="*/ 547052 w 1609516"/>
              <a:gd name="csY959" fmla="*/ 85972 h 1538630"/>
              <a:gd name="csX960" fmla="*/ 588460 w 1609516"/>
              <a:gd name="csY960" fmla="*/ 83538 h 1538630"/>
              <a:gd name="csX961" fmla="*/ 617152 w 1609516"/>
              <a:gd name="csY961" fmla="*/ 111954 h 1538630"/>
              <a:gd name="csX962" fmla="*/ 617884 w 1609516"/>
              <a:gd name="csY962" fmla="*/ 124175 h 1538630"/>
              <a:gd name="csX963" fmla="*/ 617917 w 1609516"/>
              <a:gd name="csY963" fmla="*/ 127607 h 1538630"/>
              <a:gd name="csX964" fmla="*/ 617919 w 1609516"/>
              <a:gd name="csY964" fmla="*/ 141969 h 1538630"/>
              <a:gd name="csX965" fmla="*/ 630625 w 1609516"/>
              <a:gd name="csY965" fmla="*/ 191311 h 1538630"/>
              <a:gd name="csX966" fmla="*/ 637850 w 1609516"/>
              <a:gd name="csY966" fmla="*/ 205139 h 1538630"/>
              <a:gd name="csX967" fmla="*/ 643708 w 1609516"/>
              <a:gd name="csY967" fmla="*/ 212009 h 1538630"/>
              <a:gd name="csX968" fmla="*/ 647027 w 1609516"/>
              <a:gd name="csY968" fmla="*/ 217645 h 1538630"/>
              <a:gd name="csX969" fmla="*/ 670264 w 1609516"/>
              <a:gd name="csY969" fmla="*/ 241603 h 1538630"/>
              <a:gd name="csX970" fmla="*/ 670264 w 1609516"/>
              <a:gd name="csY970" fmla="*/ 244421 h 1538630"/>
              <a:gd name="csX971" fmla="*/ 675634 w 1609516"/>
              <a:gd name="csY971" fmla="*/ 245742 h 1538630"/>
              <a:gd name="csX972" fmla="*/ 682761 w 1609516"/>
              <a:gd name="csY972" fmla="*/ 248649 h 1538630"/>
              <a:gd name="csX973" fmla="*/ 752092 w 1609516"/>
              <a:gd name="csY973" fmla="*/ 245076 h 1538630"/>
              <a:gd name="csX974" fmla="*/ 758433 w 1609516"/>
              <a:gd name="csY974" fmla="*/ 240485 h 1538630"/>
              <a:gd name="csX975" fmla="*/ 763991 w 1609516"/>
              <a:gd name="csY975" fmla="*/ 238784 h 1538630"/>
              <a:gd name="csX976" fmla="*/ 765315 w 1609516"/>
              <a:gd name="csY976" fmla="*/ 235778 h 1538630"/>
              <a:gd name="csX977" fmla="*/ 770923 w 1609516"/>
              <a:gd name="csY977" fmla="*/ 223459 h 1538630"/>
              <a:gd name="csX978" fmla="*/ 772998 w 1609516"/>
              <a:gd name="csY978" fmla="*/ 218934 h 1538630"/>
              <a:gd name="csX979" fmla="*/ 777562 w 1609516"/>
              <a:gd name="csY979" fmla="*/ 209895 h 1538630"/>
              <a:gd name="csX980" fmla="*/ 781175 w 1609516"/>
              <a:gd name="csY980" fmla="*/ 124637 h 1538630"/>
              <a:gd name="csX981" fmla="*/ 778051 w 1609516"/>
              <a:gd name="csY981" fmla="*/ 124637 h 1538630"/>
              <a:gd name="csX982" fmla="*/ 767116 w 1609516"/>
              <a:gd name="csY982" fmla="*/ 79542 h 1538630"/>
              <a:gd name="csX983" fmla="*/ 793379 w 1609516"/>
              <a:gd name="csY983" fmla="*/ 54000 h 1538630"/>
              <a:gd name="csX984" fmla="*/ 840688 w 1609516"/>
              <a:gd name="csY984" fmla="*/ 55503 h 1538630"/>
              <a:gd name="csX985" fmla="*/ 851470 w 1609516"/>
              <a:gd name="csY985" fmla="*/ 64040 h 1538630"/>
              <a:gd name="csX986" fmla="*/ 853997 w 1609516"/>
              <a:gd name="csY986" fmla="*/ 66529 h 1538630"/>
              <a:gd name="csX987" fmla="*/ 861488 w 1609516"/>
              <a:gd name="csY987" fmla="*/ 82057 h 1538630"/>
              <a:gd name="csX988" fmla="*/ 861937 w 1609516"/>
              <a:gd name="csY988" fmla="*/ 90492 h 1538630"/>
              <a:gd name="csX989" fmla="*/ 863826 w 1609516"/>
              <a:gd name="csY989" fmla="*/ 100715 h 1538630"/>
              <a:gd name="csX990" fmla="*/ 857577 w 1609516"/>
              <a:gd name="csY990" fmla="*/ 121853 h 1538630"/>
              <a:gd name="csX991" fmla="*/ 856015 w 1609516"/>
              <a:gd name="csY991" fmla="*/ 121853 h 1538630"/>
              <a:gd name="csX992" fmla="*/ 855442 w 1609516"/>
              <a:gd name="csY992" fmla="*/ 118919 h 1538630"/>
              <a:gd name="csX993" fmla="*/ 855417 w 1609516"/>
              <a:gd name="csY993" fmla="*/ 118798 h 1538630"/>
              <a:gd name="csX994" fmla="*/ 856157 w 1609516"/>
              <a:gd name="csY994" fmla="*/ 124637 h 1538630"/>
              <a:gd name="csX995" fmla="*/ 850623 w 1609516"/>
              <a:gd name="csY995" fmla="*/ 134701 h 1538630"/>
              <a:gd name="csX996" fmla="*/ 851325 w 1609516"/>
              <a:gd name="csY996" fmla="*/ 135968 h 1538630"/>
              <a:gd name="csX997" fmla="*/ 849886 w 1609516"/>
              <a:gd name="csY997" fmla="*/ 139843 h 1538630"/>
              <a:gd name="csX998" fmla="*/ 847786 w 1609516"/>
              <a:gd name="csY998" fmla="*/ 152889 h 1538630"/>
              <a:gd name="csX999" fmla="*/ 847767 w 1609516"/>
              <a:gd name="csY999" fmla="*/ 157768 h 1538630"/>
              <a:gd name="csX1000" fmla="*/ 847810 w 1609516"/>
              <a:gd name="csY1000" fmla="*/ 162919 h 1538630"/>
              <a:gd name="csX1001" fmla="*/ 847832 w 1609516"/>
              <a:gd name="csY1001" fmla="*/ 168227 h 1538630"/>
              <a:gd name="csX1002" fmla="*/ 850903 w 1609516"/>
              <a:gd name="csY1002" fmla="*/ 209013 h 1538630"/>
              <a:gd name="csX1003" fmla="*/ 852880 w 1609516"/>
              <a:gd name="csY1003" fmla="*/ 224692 h 1538630"/>
              <a:gd name="csX1004" fmla="*/ 854595 w 1609516"/>
              <a:gd name="csY1004" fmla="*/ 224692 h 1538630"/>
              <a:gd name="csX1005" fmla="*/ 856083 w 1609516"/>
              <a:gd name="csY1005" fmla="*/ 227268 h 1538630"/>
              <a:gd name="csX1006" fmla="*/ 879588 w 1609516"/>
              <a:gd name="csY1006" fmla="*/ 247239 h 1538630"/>
              <a:gd name="csX1007" fmla="*/ 885739 w 1609516"/>
              <a:gd name="csY1007" fmla="*/ 249618 h 1538630"/>
              <a:gd name="csX1008" fmla="*/ 890523 w 1609516"/>
              <a:gd name="csY1008" fmla="*/ 251467 h 1538630"/>
              <a:gd name="csX1009" fmla="*/ 890523 w 1609516"/>
              <a:gd name="csY1009" fmla="*/ 254285 h 1538630"/>
              <a:gd name="csX1010" fmla="*/ 920203 w 1609516"/>
              <a:gd name="csY1010" fmla="*/ 261332 h 1538630"/>
              <a:gd name="csX1011" fmla="*/ 920203 w 1609516"/>
              <a:gd name="csY1011" fmla="*/ 262741 h 1538630"/>
              <a:gd name="csX1012" fmla="*/ 910831 w 1609516"/>
              <a:gd name="csY1012" fmla="*/ 262741 h 1538630"/>
              <a:gd name="csX1013" fmla="*/ 910831 w 1609516"/>
              <a:gd name="csY1013" fmla="*/ 262864 h 1538630"/>
              <a:gd name="csX1014" fmla="*/ 927993 w 1609516"/>
              <a:gd name="csY1014" fmla="*/ 264177 h 1538630"/>
              <a:gd name="csX1015" fmla="*/ 939273 w 1609516"/>
              <a:gd name="csY1015" fmla="*/ 265285 h 1538630"/>
              <a:gd name="csX1016" fmla="*/ 940456 w 1609516"/>
              <a:gd name="csY1016" fmla="*/ 265191 h 1538630"/>
              <a:gd name="csX1017" fmla="*/ 991622 w 1609516"/>
              <a:gd name="csY1017" fmla="*/ 242329 h 1538630"/>
              <a:gd name="csX1018" fmla="*/ 1000803 w 1609516"/>
              <a:gd name="csY1018" fmla="*/ 236505 h 1538630"/>
              <a:gd name="csX1019" fmla="*/ 999806 w 1609516"/>
              <a:gd name="csY1019" fmla="*/ 236055 h 1538630"/>
              <a:gd name="csX1020" fmla="*/ 1003126 w 1609516"/>
              <a:gd name="csY1020" fmla="*/ 232851 h 1538630"/>
              <a:gd name="csX1021" fmla="*/ 1029487 w 1609516"/>
              <a:gd name="csY1021" fmla="*/ 205052 h 1538630"/>
              <a:gd name="csX1022" fmla="*/ 1029872 w 1609516"/>
              <a:gd name="csY1022" fmla="*/ 206442 h 1538630"/>
              <a:gd name="csX1023" fmla="*/ 1031614 w 1609516"/>
              <a:gd name="csY1023" fmla="*/ 203719 h 1538630"/>
              <a:gd name="csX1024" fmla="*/ 1038924 w 1609516"/>
              <a:gd name="csY1024" fmla="*/ 192280 h 1538630"/>
              <a:gd name="csX1025" fmla="*/ 1042049 w 1609516"/>
              <a:gd name="csY1025" fmla="*/ 190870 h 1538630"/>
              <a:gd name="csX1026" fmla="*/ 1044294 w 1609516"/>
              <a:gd name="csY1026" fmla="*/ 186026 h 1538630"/>
              <a:gd name="csX1027" fmla="*/ 1051422 w 1609516"/>
              <a:gd name="csY1027" fmla="*/ 178188 h 1538630"/>
              <a:gd name="csX1028" fmla="*/ 1052984 w 1609516"/>
              <a:gd name="csY1028" fmla="*/ 172551 h 1538630"/>
              <a:gd name="csX1029" fmla="*/ 1056108 w 1609516"/>
              <a:gd name="csY1029" fmla="*/ 172551 h 1538630"/>
              <a:gd name="csX1030" fmla="*/ 1059232 w 1609516"/>
              <a:gd name="csY1030" fmla="*/ 162686 h 1538630"/>
              <a:gd name="csX1031" fmla="*/ 1062357 w 1609516"/>
              <a:gd name="csY1031" fmla="*/ 162686 h 1538630"/>
              <a:gd name="csX1032" fmla="*/ 1063162 w 1609516"/>
              <a:gd name="csY1032" fmla="*/ 160258 h 1538630"/>
              <a:gd name="csX1033" fmla="*/ 1073292 w 1609516"/>
              <a:gd name="csY1033" fmla="*/ 140138 h 1538630"/>
              <a:gd name="csX1034" fmla="*/ 1076415 w 1609516"/>
              <a:gd name="csY1034" fmla="*/ 140138 h 1538630"/>
              <a:gd name="csX1035" fmla="*/ 1085294 w 1609516"/>
              <a:gd name="csY1035" fmla="*/ 117569 h 1538630"/>
              <a:gd name="csX1036" fmla="*/ 1087350 w 1609516"/>
              <a:gd name="csY1036" fmla="*/ 113363 h 1538630"/>
              <a:gd name="csX1037" fmla="*/ 1092037 w 1609516"/>
              <a:gd name="csY1037" fmla="*/ 111954 h 1538630"/>
              <a:gd name="csX1038" fmla="*/ 1092623 w 1609516"/>
              <a:gd name="csY1038" fmla="*/ 108695 h 1538630"/>
              <a:gd name="csX1039" fmla="*/ 1096723 w 1609516"/>
              <a:gd name="csY1039" fmla="*/ 100680 h 1538630"/>
              <a:gd name="csX1040" fmla="*/ 1098188 w 1609516"/>
              <a:gd name="csY1040" fmla="*/ 96013 h 1538630"/>
              <a:gd name="csX1041" fmla="*/ 1102288 w 1609516"/>
              <a:gd name="csY1041" fmla="*/ 87029 h 1538630"/>
              <a:gd name="csX1042" fmla="*/ 1104534 w 1609516"/>
              <a:gd name="csY1042" fmla="*/ 61222 h 1538630"/>
              <a:gd name="csX1043" fmla="*/ 1104381 w 1609516"/>
              <a:gd name="csY1043" fmla="*/ 55569 h 1538630"/>
              <a:gd name="csX1044" fmla="*/ 1104397 w 1609516"/>
              <a:gd name="csY1044" fmla="*/ 52335 h 1538630"/>
              <a:gd name="csX1045" fmla="*/ 1104436 w 1609516"/>
              <a:gd name="csY1045" fmla="*/ 48979 h 1538630"/>
              <a:gd name="csX1046" fmla="*/ 1104457 w 1609516"/>
              <a:gd name="csY1046" fmla="*/ 45575 h 1538630"/>
              <a:gd name="csX1047" fmla="*/ 1104534 w 1609516"/>
              <a:gd name="csY1047" fmla="*/ 37265 h 1538630"/>
              <a:gd name="csX1048" fmla="*/ 1107658 w 1609516"/>
              <a:gd name="csY1048" fmla="*/ 37265 h 1538630"/>
              <a:gd name="csX1049" fmla="*/ 1107463 w 1609516"/>
              <a:gd name="csY1049" fmla="*/ 31805 h 1538630"/>
              <a:gd name="csX1050" fmla="*/ 1107658 w 1609516"/>
              <a:gd name="csY1050" fmla="*/ 25991 h 1538630"/>
              <a:gd name="csX1051" fmla="*/ 1110782 w 1609516"/>
              <a:gd name="csY1051" fmla="*/ 23173 h 1538630"/>
              <a:gd name="csX1052" fmla="*/ 1111759 w 1609516"/>
              <a:gd name="csY1052" fmla="*/ 20091 h 1538630"/>
              <a:gd name="csX1053" fmla="*/ 1134507 w 1609516"/>
              <a:gd name="csY1053" fmla="*/ 2828 h 1538630"/>
              <a:gd name="csX1054" fmla="*/ 1155019 w 1609516"/>
              <a:gd name="csY1054" fmla="*/ 35 h 153863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  <a:cxn ang="0">
                <a:pos x="csX170" y="csY170"/>
              </a:cxn>
              <a:cxn ang="0">
                <a:pos x="csX171" y="csY171"/>
              </a:cxn>
              <a:cxn ang="0">
                <a:pos x="csX172" y="csY172"/>
              </a:cxn>
              <a:cxn ang="0">
                <a:pos x="csX173" y="csY173"/>
              </a:cxn>
              <a:cxn ang="0">
                <a:pos x="csX174" y="csY174"/>
              </a:cxn>
              <a:cxn ang="0">
                <a:pos x="csX175" y="csY175"/>
              </a:cxn>
              <a:cxn ang="0">
                <a:pos x="csX176" y="csY176"/>
              </a:cxn>
              <a:cxn ang="0">
                <a:pos x="csX177" y="csY177"/>
              </a:cxn>
              <a:cxn ang="0">
                <a:pos x="csX178" y="csY178"/>
              </a:cxn>
              <a:cxn ang="0">
                <a:pos x="csX179" y="csY179"/>
              </a:cxn>
              <a:cxn ang="0">
                <a:pos x="csX180" y="csY180"/>
              </a:cxn>
              <a:cxn ang="0">
                <a:pos x="csX181" y="csY181"/>
              </a:cxn>
              <a:cxn ang="0">
                <a:pos x="csX182" y="csY182"/>
              </a:cxn>
              <a:cxn ang="0">
                <a:pos x="csX183" y="csY183"/>
              </a:cxn>
              <a:cxn ang="0">
                <a:pos x="csX184" y="csY184"/>
              </a:cxn>
              <a:cxn ang="0">
                <a:pos x="csX185" y="csY185"/>
              </a:cxn>
              <a:cxn ang="0">
                <a:pos x="csX186" y="csY186"/>
              </a:cxn>
              <a:cxn ang="0">
                <a:pos x="csX187" y="csY187"/>
              </a:cxn>
              <a:cxn ang="0">
                <a:pos x="csX188" y="csY188"/>
              </a:cxn>
              <a:cxn ang="0">
                <a:pos x="csX189" y="csY189"/>
              </a:cxn>
              <a:cxn ang="0">
                <a:pos x="csX190" y="csY190"/>
              </a:cxn>
              <a:cxn ang="0">
                <a:pos x="csX191" y="csY191"/>
              </a:cxn>
              <a:cxn ang="0">
                <a:pos x="csX192" y="csY192"/>
              </a:cxn>
              <a:cxn ang="0">
                <a:pos x="csX193" y="csY193"/>
              </a:cxn>
              <a:cxn ang="0">
                <a:pos x="csX194" y="csY194"/>
              </a:cxn>
              <a:cxn ang="0">
                <a:pos x="csX195" y="csY195"/>
              </a:cxn>
              <a:cxn ang="0">
                <a:pos x="csX196" y="csY196"/>
              </a:cxn>
              <a:cxn ang="0">
                <a:pos x="csX197" y="csY197"/>
              </a:cxn>
              <a:cxn ang="0">
                <a:pos x="csX198" y="csY198"/>
              </a:cxn>
              <a:cxn ang="0">
                <a:pos x="csX199" y="csY199"/>
              </a:cxn>
              <a:cxn ang="0">
                <a:pos x="csX200" y="csY200"/>
              </a:cxn>
              <a:cxn ang="0">
                <a:pos x="csX201" y="csY201"/>
              </a:cxn>
              <a:cxn ang="0">
                <a:pos x="csX202" y="csY202"/>
              </a:cxn>
              <a:cxn ang="0">
                <a:pos x="csX203" y="csY203"/>
              </a:cxn>
              <a:cxn ang="0">
                <a:pos x="csX204" y="csY204"/>
              </a:cxn>
              <a:cxn ang="0">
                <a:pos x="csX205" y="csY205"/>
              </a:cxn>
              <a:cxn ang="0">
                <a:pos x="csX206" y="csY206"/>
              </a:cxn>
              <a:cxn ang="0">
                <a:pos x="csX207" y="csY207"/>
              </a:cxn>
              <a:cxn ang="0">
                <a:pos x="csX208" y="csY208"/>
              </a:cxn>
              <a:cxn ang="0">
                <a:pos x="csX209" y="csY209"/>
              </a:cxn>
              <a:cxn ang="0">
                <a:pos x="csX210" y="csY210"/>
              </a:cxn>
              <a:cxn ang="0">
                <a:pos x="csX211" y="csY211"/>
              </a:cxn>
              <a:cxn ang="0">
                <a:pos x="csX212" y="csY212"/>
              </a:cxn>
              <a:cxn ang="0">
                <a:pos x="csX213" y="csY213"/>
              </a:cxn>
              <a:cxn ang="0">
                <a:pos x="csX214" y="csY214"/>
              </a:cxn>
              <a:cxn ang="0">
                <a:pos x="csX215" y="csY215"/>
              </a:cxn>
              <a:cxn ang="0">
                <a:pos x="csX216" y="csY216"/>
              </a:cxn>
              <a:cxn ang="0">
                <a:pos x="csX217" y="csY217"/>
              </a:cxn>
              <a:cxn ang="0">
                <a:pos x="csX218" y="csY218"/>
              </a:cxn>
              <a:cxn ang="0">
                <a:pos x="csX219" y="csY219"/>
              </a:cxn>
              <a:cxn ang="0">
                <a:pos x="csX220" y="csY220"/>
              </a:cxn>
              <a:cxn ang="0">
                <a:pos x="csX221" y="csY221"/>
              </a:cxn>
              <a:cxn ang="0">
                <a:pos x="csX222" y="csY222"/>
              </a:cxn>
              <a:cxn ang="0">
                <a:pos x="csX223" y="csY223"/>
              </a:cxn>
              <a:cxn ang="0">
                <a:pos x="csX224" y="csY224"/>
              </a:cxn>
              <a:cxn ang="0">
                <a:pos x="csX225" y="csY225"/>
              </a:cxn>
              <a:cxn ang="0">
                <a:pos x="csX226" y="csY226"/>
              </a:cxn>
              <a:cxn ang="0">
                <a:pos x="csX227" y="csY227"/>
              </a:cxn>
              <a:cxn ang="0">
                <a:pos x="csX228" y="csY228"/>
              </a:cxn>
              <a:cxn ang="0">
                <a:pos x="csX229" y="csY229"/>
              </a:cxn>
              <a:cxn ang="0">
                <a:pos x="csX230" y="csY230"/>
              </a:cxn>
              <a:cxn ang="0">
                <a:pos x="csX231" y="csY231"/>
              </a:cxn>
              <a:cxn ang="0">
                <a:pos x="csX232" y="csY232"/>
              </a:cxn>
              <a:cxn ang="0">
                <a:pos x="csX233" y="csY233"/>
              </a:cxn>
              <a:cxn ang="0">
                <a:pos x="csX234" y="csY234"/>
              </a:cxn>
              <a:cxn ang="0">
                <a:pos x="csX235" y="csY235"/>
              </a:cxn>
              <a:cxn ang="0">
                <a:pos x="csX236" y="csY236"/>
              </a:cxn>
              <a:cxn ang="0">
                <a:pos x="csX237" y="csY237"/>
              </a:cxn>
              <a:cxn ang="0">
                <a:pos x="csX238" y="csY238"/>
              </a:cxn>
              <a:cxn ang="0">
                <a:pos x="csX239" y="csY239"/>
              </a:cxn>
              <a:cxn ang="0">
                <a:pos x="csX240" y="csY240"/>
              </a:cxn>
              <a:cxn ang="0">
                <a:pos x="csX241" y="csY241"/>
              </a:cxn>
              <a:cxn ang="0">
                <a:pos x="csX242" y="csY242"/>
              </a:cxn>
              <a:cxn ang="0">
                <a:pos x="csX243" y="csY243"/>
              </a:cxn>
              <a:cxn ang="0">
                <a:pos x="csX244" y="csY244"/>
              </a:cxn>
              <a:cxn ang="0">
                <a:pos x="csX245" y="csY245"/>
              </a:cxn>
              <a:cxn ang="0">
                <a:pos x="csX246" y="csY246"/>
              </a:cxn>
              <a:cxn ang="0">
                <a:pos x="csX247" y="csY247"/>
              </a:cxn>
              <a:cxn ang="0">
                <a:pos x="csX248" y="csY248"/>
              </a:cxn>
              <a:cxn ang="0">
                <a:pos x="csX249" y="csY249"/>
              </a:cxn>
              <a:cxn ang="0">
                <a:pos x="csX250" y="csY250"/>
              </a:cxn>
              <a:cxn ang="0">
                <a:pos x="csX251" y="csY251"/>
              </a:cxn>
              <a:cxn ang="0">
                <a:pos x="csX252" y="csY252"/>
              </a:cxn>
              <a:cxn ang="0">
                <a:pos x="csX253" y="csY253"/>
              </a:cxn>
              <a:cxn ang="0">
                <a:pos x="csX254" y="csY254"/>
              </a:cxn>
              <a:cxn ang="0">
                <a:pos x="csX255" y="csY255"/>
              </a:cxn>
              <a:cxn ang="0">
                <a:pos x="csX256" y="csY256"/>
              </a:cxn>
              <a:cxn ang="0">
                <a:pos x="csX257" y="csY257"/>
              </a:cxn>
              <a:cxn ang="0">
                <a:pos x="csX258" y="csY258"/>
              </a:cxn>
              <a:cxn ang="0">
                <a:pos x="csX259" y="csY259"/>
              </a:cxn>
              <a:cxn ang="0">
                <a:pos x="csX260" y="csY260"/>
              </a:cxn>
              <a:cxn ang="0">
                <a:pos x="csX261" y="csY261"/>
              </a:cxn>
              <a:cxn ang="0">
                <a:pos x="csX262" y="csY262"/>
              </a:cxn>
              <a:cxn ang="0">
                <a:pos x="csX263" y="csY263"/>
              </a:cxn>
              <a:cxn ang="0">
                <a:pos x="csX264" y="csY264"/>
              </a:cxn>
              <a:cxn ang="0">
                <a:pos x="csX265" y="csY265"/>
              </a:cxn>
              <a:cxn ang="0">
                <a:pos x="csX266" y="csY266"/>
              </a:cxn>
              <a:cxn ang="0">
                <a:pos x="csX267" y="csY267"/>
              </a:cxn>
              <a:cxn ang="0">
                <a:pos x="csX268" y="csY268"/>
              </a:cxn>
              <a:cxn ang="0">
                <a:pos x="csX269" y="csY269"/>
              </a:cxn>
              <a:cxn ang="0">
                <a:pos x="csX270" y="csY270"/>
              </a:cxn>
              <a:cxn ang="0">
                <a:pos x="csX271" y="csY271"/>
              </a:cxn>
              <a:cxn ang="0">
                <a:pos x="csX272" y="csY272"/>
              </a:cxn>
              <a:cxn ang="0">
                <a:pos x="csX273" y="csY273"/>
              </a:cxn>
              <a:cxn ang="0">
                <a:pos x="csX274" y="csY274"/>
              </a:cxn>
              <a:cxn ang="0">
                <a:pos x="csX275" y="csY275"/>
              </a:cxn>
              <a:cxn ang="0">
                <a:pos x="csX276" y="csY276"/>
              </a:cxn>
              <a:cxn ang="0">
                <a:pos x="csX277" y="csY277"/>
              </a:cxn>
              <a:cxn ang="0">
                <a:pos x="csX278" y="csY278"/>
              </a:cxn>
              <a:cxn ang="0">
                <a:pos x="csX279" y="csY279"/>
              </a:cxn>
              <a:cxn ang="0">
                <a:pos x="csX280" y="csY280"/>
              </a:cxn>
              <a:cxn ang="0">
                <a:pos x="csX281" y="csY281"/>
              </a:cxn>
              <a:cxn ang="0">
                <a:pos x="csX282" y="csY282"/>
              </a:cxn>
              <a:cxn ang="0">
                <a:pos x="csX283" y="csY283"/>
              </a:cxn>
              <a:cxn ang="0">
                <a:pos x="csX284" y="csY284"/>
              </a:cxn>
              <a:cxn ang="0">
                <a:pos x="csX285" y="csY285"/>
              </a:cxn>
              <a:cxn ang="0">
                <a:pos x="csX286" y="csY286"/>
              </a:cxn>
              <a:cxn ang="0">
                <a:pos x="csX287" y="csY287"/>
              </a:cxn>
              <a:cxn ang="0">
                <a:pos x="csX288" y="csY288"/>
              </a:cxn>
              <a:cxn ang="0">
                <a:pos x="csX289" y="csY289"/>
              </a:cxn>
              <a:cxn ang="0">
                <a:pos x="csX290" y="csY290"/>
              </a:cxn>
              <a:cxn ang="0">
                <a:pos x="csX291" y="csY291"/>
              </a:cxn>
              <a:cxn ang="0">
                <a:pos x="csX292" y="csY292"/>
              </a:cxn>
              <a:cxn ang="0">
                <a:pos x="csX293" y="csY293"/>
              </a:cxn>
              <a:cxn ang="0">
                <a:pos x="csX294" y="csY294"/>
              </a:cxn>
              <a:cxn ang="0">
                <a:pos x="csX295" y="csY295"/>
              </a:cxn>
              <a:cxn ang="0">
                <a:pos x="csX296" y="csY296"/>
              </a:cxn>
              <a:cxn ang="0">
                <a:pos x="csX297" y="csY297"/>
              </a:cxn>
              <a:cxn ang="0">
                <a:pos x="csX298" y="csY298"/>
              </a:cxn>
              <a:cxn ang="0">
                <a:pos x="csX299" y="csY299"/>
              </a:cxn>
              <a:cxn ang="0">
                <a:pos x="csX300" y="csY300"/>
              </a:cxn>
              <a:cxn ang="0">
                <a:pos x="csX301" y="csY301"/>
              </a:cxn>
              <a:cxn ang="0">
                <a:pos x="csX302" y="csY302"/>
              </a:cxn>
              <a:cxn ang="0">
                <a:pos x="csX303" y="csY303"/>
              </a:cxn>
              <a:cxn ang="0">
                <a:pos x="csX304" y="csY304"/>
              </a:cxn>
              <a:cxn ang="0">
                <a:pos x="csX305" y="csY305"/>
              </a:cxn>
              <a:cxn ang="0">
                <a:pos x="csX306" y="csY306"/>
              </a:cxn>
              <a:cxn ang="0">
                <a:pos x="csX307" y="csY307"/>
              </a:cxn>
              <a:cxn ang="0">
                <a:pos x="csX308" y="csY308"/>
              </a:cxn>
              <a:cxn ang="0">
                <a:pos x="csX309" y="csY309"/>
              </a:cxn>
              <a:cxn ang="0">
                <a:pos x="csX310" y="csY310"/>
              </a:cxn>
              <a:cxn ang="0">
                <a:pos x="csX311" y="csY311"/>
              </a:cxn>
              <a:cxn ang="0">
                <a:pos x="csX312" y="csY312"/>
              </a:cxn>
              <a:cxn ang="0">
                <a:pos x="csX313" y="csY313"/>
              </a:cxn>
              <a:cxn ang="0">
                <a:pos x="csX314" y="csY314"/>
              </a:cxn>
              <a:cxn ang="0">
                <a:pos x="csX315" y="csY315"/>
              </a:cxn>
              <a:cxn ang="0">
                <a:pos x="csX316" y="csY316"/>
              </a:cxn>
              <a:cxn ang="0">
                <a:pos x="csX317" y="csY317"/>
              </a:cxn>
              <a:cxn ang="0">
                <a:pos x="csX318" y="csY318"/>
              </a:cxn>
              <a:cxn ang="0">
                <a:pos x="csX319" y="csY319"/>
              </a:cxn>
              <a:cxn ang="0">
                <a:pos x="csX320" y="csY320"/>
              </a:cxn>
              <a:cxn ang="0">
                <a:pos x="csX321" y="csY321"/>
              </a:cxn>
              <a:cxn ang="0">
                <a:pos x="csX322" y="csY322"/>
              </a:cxn>
              <a:cxn ang="0">
                <a:pos x="csX323" y="csY323"/>
              </a:cxn>
              <a:cxn ang="0">
                <a:pos x="csX324" y="csY324"/>
              </a:cxn>
              <a:cxn ang="0">
                <a:pos x="csX325" y="csY325"/>
              </a:cxn>
              <a:cxn ang="0">
                <a:pos x="csX326" y="csY326"/>
              </a:cxn>
              <a:cxn ang="0">
                <a:pos x="csX327" y="csY327"/>
              </a:cxn>
              <a:cxn ang="0">
                <a:pos x="csX328" y="csY328"/>
              </a:cxn>
              <a:cxn ang="0">
                <a:pos x="csX329" y="csY329"/>
              </a:cxn>
              <a:cxn ang="0">
                <a:pos x="csX330" y="csY330"/>
              </a:cxn>
              <a:cxn ang="0">
                <a:pos x="csX331" y="csY331"/>
              </a:cxn>
              <a:cxn ang="0">
                <a:pos x="csX332" y="csY332"/>
              </a:cxn>
              <a:cxn ang="0">
                <a:pos x="csX333" y="csY333"/>
              </a:cxn>
              <a:cxn ang="0">
                <a:pos x="csX334" y="csY334"/>
              </a:cxn>
              <a:cxn ang="0">
                <a:pos x="csX335" y="csY335"/>
              </a:cxn>
              <a:cxn ang="0">
                <a:pos x="csX336" y="csY336"/>
              </a:cxn>
              <a:cxn ang="0">
                <a:pos x="csX337" y="csY337"/>
              </a:cxn>
              <a:cxn ang="0">
                <a:pos x="csX338" y="csY338"/>
              </a:cxn>
              <a:cxn ang="0">
                <a:pos x="csX339" y="csY339"/>
              </a:cxn>
              <a:cxn ang="0">
                <a:pos x="csX340" y="csY340"/>
              </a:cxn>
              <a:cxn ang="0">
                <a:pos x="csX341" y="csY341"/>
              </a:cxn>
              <a:cxn ang="0">
                <a:pos x="csX342" y="csY342"/>
              </a:cxn>
              <a:cxn ang="0">
                <a:pos x="csX343" y="csY343"/>
              </a:cxn>
              <a:cxn ang="0">
                <a:pos x="csX344" y="csY344"/>
              </a:cxn>
              <a:cxn ang="0">
                <a:pos x="csX345" y="csY345"/>
              </a:cxn>
              <a:cxn ang="0">
                <a:pos x="csX346" y="csY346"/>
              </a:cxn>
              <a:cxn ang="0">
                <a:pos x="csX347" y="csY347"/>
              </a:cxn>
              <a:cxn ang="0">
                <a:pos x="csX348" y="csY348"/>
              </a:cxn>
              <a:cxn ang="0">
                <a:pos x="csX349" y="csY349"/>
              </a:cxn>
              <a:cxn ang="0">
                <a:pos x="csX350" y="csY350"/>
              </a:cxn>
              <a:cxn ang="0">
                <a:pos x="csX351" y="csY351"/>
              </a:cxn>
              <a:cxn ang="0">
                <a:pos x="csX352" y="csY352"/>
              </a:cxn>
              <a:cxn ang="0">
                <a:pos x="csX353" y="csY353"/>
              </a:cxn>
              <a:cxn ang="0">
                <a:pos x="csX354" y="csY354"/>
              </a:cxn>
              <a:cxn ang="0">
                <a:pos x="csX355" y="csY355"/>
              </a:cxn>
              <a:cxn ang="0">
                <a:pos x="csX356" y="csY356"/>
              </a:cxn>
              <a:cxn ang="0">
                <a:pos x="csX357" y="csY357"/>
              </a:cxn>
              <a:cxn ang="0">
                <a:pos x="csX358" y="csY358"/>
              </a:cxn>
              <a:cxn ang="0">
                <a:pos x="csX359" y="csY359"/>
              </a:cxn>
              <a:cxn ang="0">
                <a:pos x="csX360" y="csY360"/>
              </a:cxn>
              <a:cxn ang="0">
                <a:pos x="csX361" y="csY361"/>
              </a:cxn>
              <a:cxn ang="0">
                <a:pos x="csX362" y="csY362"/>
              </a:cxn>
              <a:cxn ang="0">
                <a:pos x="csX363" y="csY363"/>
              </a:cxn>
              <a:cxn ang="0">
                <a:pos x="csX364" y="csY364"/>
              </a:cxn>
              <a:cxn ang="0">
                <a:pos x="csX365" y="csY365"/>
              </a:cxn>
              <a:cxn ang="0">
                <a:pos x="csX366" y="csY366"/>
              </a:cxn>
              <a:cxn ang="0">
                <a:pos x="csX367" y="csY367"/>
              </a:cxn>
              <a:cxn ang="0">
                <a:pos x="csX368" y="csY368"/>
              </a:cxn>
              <a:cxn ang="0">
                <a:pos x="csX369" y="csY369"/>
              </a:cxn>
              <a:cxn ang="0">
                <a:pos x="csX370" y="csY370"/>
              </a:cxn>
              <a:cxn ang="0">
                <a:pos x="csX371" y="csY371"/>
              </a:cxn>
              <a:cxn ang="0">
                <a:pos x="csX372" y="csY372"/>
              </a:cxn>
              <a:cxn ang="0">
                <a:pos x="csX373" y="csY373"/>
              </a:cxn>
              <a:cxn ang="0">
                <a:pos x="csX374" y="csY374"/>
              </a:cxn>
              <a:cxn ang="0">
                <a:pos x="csX375" y="csY375"/>
              </a:cxn>
              <a:cxn ang="0">
                <a:pos x="csX376" y="csY376"/>
              </a:cxn>
              <a:cxn ang="0">
                <a:pos x="csX377" y="csY377"/>
              </a:cxn>
              <a:cxn ang="0">
                <a:pos x="csX378" y="csY378"/>
              </a:cxn>
              <a:cxn ang="0">
                <a:pos x="csX379" y="csY379"/>
              </a:cxn>
              <a:cxn ang="0">
                <a:pos x="csX380" y="csY380"/>
              </a:cxn>
              <a:cxn ang="0">
                <a:pos x="csX381" y="csY381"/>
              </a:cxn>
              <a:cxn ang="0">
                <a:pos x="csX382" y="csY382"/>
              </a:cxn>
              <a:cxn ang="0">
                <a:pos x="csX383" y="csY383"/>
              </a:cxn>
              <a:cxn ang="0">
                <a:pos x="csX384" y="csY384"/>
              </a:cxn>
              <a:cxn ang="0">
                <a:pos x="csX385" y="csY385"/>
              </a:cxn>
              <a:cxn ang="0">
                <a:pos x="csX386" y="csY386"/>
              </a:cxn>
              <a:cxn ang="0">
                <a:pos x="csX387" y="csY387"/>
              </a:cxn>
              <a:cxn ang="0">
                <a:pos x="csX388" y="csY388"/>
              </a:cxn>
              <a:cxn ang="0">
                <a:pos x="csX389" y="csY389"/>
              </a:cxn>
              <a:cxn ang="0">
                <a:pos x="csX390" y="csY390"/>
              </a:cxn>
              <a:cxn ang="0">
                <a:pos x="csX391" y="csY391"/>
              </a:cxn>
              <a:cxn ang="0">
                <a:pos x="csX392" y="csY392"/>
              </a:cxn>
              <a:cxn ang="0">
                <a:pos x="csX393" y="csY393"/>
              </a:cxn>
              <a:cxn ang="0">
                <a:pos x="csX394" y="csY394"/>
              </a:cxn>
              <a:cxn ang="0">
                <a:pos x="csX395" y="csY395"/>
              </a:cxn>
              <a:cxn ang="0">
                <a:pos x="csX396" y="csY396"/>
              </a:cxn>
              <a:cxn ang="0">
                <a:pos x="csX397" y="csY397"/>
              </a:cxn>
              <a:cxn ang="0">
                <a:pos x="csX398" y="csY398"/>
              </a:cxn>
              <a:cxn ang="0">
                <a:pos x="csX399" y="csY399"/>
              </a:cxn>
              <a:cxn ang="0">
                <a:pos x="csX400" y="csY400"/>
              </a:cxn>
              <a:cxn ang="0">
                <a:pos x="csX401" y="csY401"/>
              </a:cxn>
              <a:cxn ang="0">
                <a:pos x="csX402" y="csY402"/>
              </a:cxn>
              <a:cxn ang="0">
                <a:pos x="csX403" y="csY403"/>
              </a:cxn>
              <a:cxn ang="0">
                <a:pos x="csX404" y="csY404"/>
              </a:cxn>
              <a:cxn ang="0">
                <a:pos x="csX405" y="csY405"/>
              </a:cxn>
              <a:cxn ang="0">
                <a:pos x="csX406" y="csY406"/>
              </a:cxn>
              <a:cxn ang="0">
                <a:pos x="csX407" y="csY407"/>
              </a:cxn>
              <a:cxn ang="0">
                <a:pos x="csX408" y="csY408"/>
              </a:cxn>
              <a:cxn ang="0">
                <a:pos x="csX409" y="csY409"/>
              </a:cxn>
              <a:cxn ang="0">
                <a:pos x="csX410" y="csY410"/>
              </a:cxn>
              <a:cxn ang="0">
                <a:pos x="csX411" y="csY411"/>
              </a:cxn>
              <a:cxn ang="0">
                <a:pos x="csX412" y="csY412"/>
              </a:cxn>
              <a:cxn ang="0">
                <a:pos x="csX413" y="csY413"/>
              </a:cxn>
              <a:cxn ang="0">
                <a:pos x="csX414" y="csY414"/>
              </a:cxn>
              <a:cxn ang="0">
                <a:pos x="csX415" y="csY415"/>
              </a:cxn>
              <a:cxn ang="0">
                <a:pos x="csX416" y="csY416"/>
              </a:cxn>
              <a:cxn ang="0">
                <a:pos x="csX417" y="csY417"/>
              </a:cxn>
              <a:cxn ang="0">
                <a:pos x="csX418" y="csY418"/>
              </a:cxn>
              <a:cxn ang="0">
                <a:pos x="csX419" y="csY419"/>
              </a:cxn>
              <a:cxn ang="0">
                <a:pos x="csX420" y="csY420"/>
              </a:cxn>
              <a:cxn ang="0">
                <a:pos x="csX421" y="csY421"/>
              </a:cxn>
              <a:cxn ang="0">
                <a:pos x="csX422" y="csY422"/>
              </a:cxn>
              <a:cxn ang="0">
                <a:pos x="csX423" y="csY423"/>
              </a:cxn>
              <a:cxn ang="0">
                <a:pos x="csX424" y="csY424"/>
              </a:cxn>
              <a:cxn ang="0">
                <a:pos x="csX425" y="csY425"/>
              </a:cxn>
              <a:cxn ang="0">
                <a:pos x="csX426" y="csY426"/>
              </a:cxn>
              <a:cxn ang="0">
                <a:pos x="csX427" y="csY427"/>
              </a:cxn>
              <a:cxn ang="0">
                <a:pos x="csX428" y="csY428"/>
              </a:cxn>
              <a:cxn ang="0">
                <a:pos x="csX429" y="csY429"/>
              </a:cxn>
              <a:cxn ang="0">
                <a:pos x="csX430" y="csY430"/>
              </a:cxn>
              <a:cxn ang="0">
                <a:pos x="csX431" y="csY431"/>
              </a:cxn>
              <a:cxn ang="0">
                <a:pos x="csX432" y="csY432"/>
              </a:cxn>
              <a:cxn ang="0">
                <a:pos x="csX433" y="csY433"/>
              </a:cxn>
              <a:cxn ang="0">
                <a:pos x="csX434" y="csY434"/>
              </a:cxn>
              <a:cxn ang="0">
                <a:pos x="csX435" y="csY435"/>
              </a:cxn>
              <a:cxn ang="0">
                <a:pos x="csX436" y="csY436"/>
              </a:cxn>
              <a:cxn ang="0">
                <a:pos x="csX437" y="csY437"/>
              </a:cxn>
              <a:cxn ang="0">
                <a:pos x="csX438" y="csY438"/>
              </a:cxn>
              <a:cxn ang="0">
                <a:pos x="csX439" y="csY439"/>
              </a:cxn>
              <a:cxn ang="0">
                <a:pos x="csX440" y="csY440"/>
              </a:cxn>
              <a:cxn ang="0">
                <a:pos x="csX441" y="csY441"/>
              </a:cxn>
              <a:cxn ang="0">
                <a:pos x="csX442" y="csY442"/>
              </a:cxn>
              <a:cxn ang="0">
                <a:pos x="csX443" y="csY443"/>
              </a:cxn>
              <a:cxn ang="0">
                <a:pos x="csX444" y="csY444"/>
              </a:cxn>
              <a:cxn ang="0">
                <a:pos x="csX445" y="csY445"/>
              </a:cxn>
              <a:cxn ang="0">
                <a:pos x="csX446" y="csY446"/>
              </a:cxn>
              <a:cxn ang="0">
                <a:pos x="csX447" y="csY447"/>
              </a:cxn>
              <a:cxn ang="0">
                <a:pos x="csX448" y="csY448"/>
              </a:cxn>
              <a:cxn ang="0">
                <a:pos x="csX449" y="csY449"/>
              </a:cxn>
              <a:cxn ang="0">
                <a:pos x="csX450" y="csY450"/>
              </a:cxn>
              <a:cxn ang="0">
                <a:pos x="csX451" y="csY451"/>
              </a:cxn>
              <a:cxn ang="0">
                <a:pos x="csX452" y="csY452"/>
              </a:cxn>
              <a:cxn ang="0">
                <a:pos x="csX453" y="csY453"/>
              </a:cxn>
              <a:cxn ang="0">
                <a:pos x="csX454" y="csY454"/>
              </a:cxn>
              <a:cxn ang="0">
                <a:pos x="csX455" y="csY455"/>
              </a:cxn>
              <a:cxn ang="0">
                <a:pos x="csX456" y="csY456"/>
              </a:cxn>
              <a:cxn ang="0">
                <a:pos x="csX457" y="csY457"/>
              </a:cxn>
              <a:cxn ang="0">
                <a:pos x="csX458" y="csY458"/>
              </a:cxn>
              <a:cxn ang="0">
                <a:pos x="csX459" y="csY459"/>
              </a:cxn>
              <a:cxn ang="0">
                <a:pos x="csX460" y="csY460"/>
              </a:cxn>
              <a:cxn ang="0">
                <a:pos x="csX461" y="csY461"/>
              </a:cxn>
              <a:cxn ang="0">
                <a:pos x="csX462" y="csY462"/>
              </a:cxn>
              <a:cxn ang="0">
                <a:pos x="csX463" y="csY463"/>
              </a:cxn>
              <a:cxn ang="0">
                <a:pos x="csX464" y="csY464"/>
              </a:cxn>
              <a:cxn ang="0">
                <a:pos x="csX465" y="csY465"/>
              </a:cxn>
              <a:cxn ang="0">
                <a:pos x="csX466" y="csY466"/>
              </a:cxn>
              <a:cxn ang="0">
                <a:pos x="csX467" y="csY467"/>
              </a:cxn>
              <a:cxn ang="0">
                <a:pos x="csX468" y="csY468"/>
              </a:cxn>
              <a:cxn ang="0">
                <a:pos x="csX469" y="csY469"/>
              </a:cxn>
              <a:cxn ang="0">
                <a:pos x="csX470" y="csY470"/>
              </a:cxn>
              <a:cxn ang="0">
                <a:pos x="csX471" y="csY471"/>
              </a:cxn>
              <a:cxn ang="0">
                <a:pos x="csX472" y="csY472"/>
              </a:cxn>
              <a:cxn ang="0">
                <a:pos x="csX473" y="csY473"/>
              </a:cxn>
              <a:cxn ang="0">
                <a:pos x="csX474" y="csY474"/>
              </a:cxn>
              <a:cxn ang="0">
                <a:pos x="csX475" y="csY475"/>
              </a:cxn>
              <a:cxn ang="0">
                <a:pos x="csX476" y="csY476"/>
              </a:cxn>
              <a:cxn ang="0">
                <a:pos x="csX477" y="csY477"/>
              </a:cxn>
              <a:cxn ang="0">
                <a:pos x="csX478" y="csY478"/>
              </a:cxn>
              <a:cxn ang="0">
                <a:pos x="csX479" y="csY479"/>
              </a:cxn>
              <a:cxn ang="0">
                <a:pos x="csX480" y="csY480"/>
              </a:cxn>
              <a:cxn ang="0">
                <a:pos x="csX481" y="csY481"/>
              </a:cxn>
              <a:cxn ang="0">
                <a:pos x="csX482" y="csY482"/>
              </a:cxn>
              <a:cxn ang="0">
                <a:pos x="csX483" y="csY483"/>
              </a:cxn>
              <a:cxn ang="0">
                <a:pos x="csX484" y="csY484"/>
              </a:cxn>
              <a:cxn ang="0">
                <a:pos x="csX485" y="csY485"/>
              </a:cxn>
              <a:cxn ang="0">
                <a:pos x="csX486" y="csY486"/>
              </a:cxn>
              <a:cxn ang="0">
                <a:pos x="csX487" y="csY487"/>
              </a:cxn>
              <a:cxn ang="0">
                <a:pos x="csX488" y="csY488"/>
              </a:cxn>
              <a:cxn ang="0">
                <a:pos x="csX489" y="csY489"/>
              </a:cxn>
              <a:cxn ang="0">
                <a:pos x="csX490" y="csY490"/>
              </a:cxn>
              <a:cxn ang="0">
                <a:pos x="csX491" y="csY491"/>
              </a:cxn>
              <a:cxn ang="0">
                <a:pos x="csX492" y="csY492"/>
              </a:cxn>
              <a:cxn ang="0">
                <a:pos x="csX493" y="csY493"/>
              </a:cxn>
              <a:cxn ang="0">
                <a:pos x="csX494" y="csY494"/>
              </a:cxn>
              <a:cxn ang="0">
                <a:pos x="csX495" y="csY495"/>
              </a:cxn>
              <a:cxn ang="0">
                <a:pos x="csX496" y="csY496"/>
              </a:cxn>
              <a:cxn ang="0">
                <a:pos x="csX497" y="csY497"/>
              </a:cxn>
              <a:cxn ang="0">
                <a:pos x="csX498" y="csY498"/>
              </a:cxn>
              <a:cxn ang="0">
                <a:pos x="csX499" y="csY499"/>
              </a:cxn>
              <a:cxn ang="0">
                <a:pos x="csX500" y="csY500"/>
              </a:cxn>
              <a:cxn ang="0">
                <a:pos x="csX501" y="csY501"/>
              </a:cxn>
              <a:cxn ang="0">
                <a:pos x="csX502" y="csY502"/>
              </a:cxn>
              <a:cxn ang="0">
                <a:pos x="csX503" y="csY503"/>
              </a:cxn>
              <a:cxn ang="0">
                <a:pos x="csX504" y="csY504"/>
              </a:cxn>
              <a:cxn ang="0">
                <a:pos x="csX505" y="csY505"/>
              </a:cxn>
              <a:cxn ang="0">
                <a:pos x="csX506" y="csY506"/>
              </a:cxn>
              <a:cxn ang="0">
                <a:pos x="csX507" y="csY507"/>
              </a:cxn>
              <a:cxn ang="0">
                <a:pos x="csX508" y="csY508"/>
              </a:cxn>
              <a:cxn ang="0">
                <a:pos x="csX509" y="csY509"/>
              </a:cxn>
              <a:cxn ang="0">
                <a:pos x="csX510" y="csY510"/>
              </a:cxn>
              <a:cxn ang="0">
                <a:pos x="csX511" y="csY511"/>
              </a:cxn>
              <a:cxn ang="0">
                <a:pos x="csX512" y="csY512"/>
              </a:cxn>
              <a:cxn ang="0">
                <a:pos x="csX513" y="csY513"/>
              </a:cxn>
              <a:cxn ang="0">
                <a:pos x="csX514" y="csY514"/>
              </a:cxn>
              <a:cxn ang="0">
                <a:pos x="csX515" y="csY515"/>
              </a:cxn>
              <a:cxn ang="0">
                <a:pos x="csX516" y="csY516"/>
              </a:cxn>
              <a:cxn ang="0">
                <a:pos x="csX517" y="csY517"/>
              </a:cxn>
              <a:cxn ang="0">
                <a:pos x="csX518" y="csY518"/>
              </a:cxn>
              <a:cxn ang="0">
                <a:pos x="csX519" y="csY519"/>
              </a:cxn>
              <a:cxn ang="0">
                <a:pos x="csX520" y="csY520"/>
              </a:cxn>
              <a:cxn ang="0">
                <a:pos x="csX521" y="csY521"/>
              </a:cxn>
              <a:cxn ang="0">
                <a:pos x="csX522" y="csY522"/>
              </a:cxn>
              <a:cxn ang="0">
                <a:pos x="csX523" y="csY523"/>
              </a:cxn>
              <a:cxn ang="0">
                <a:pos x="csX524" y="csY524"/>
              </a:cxn>
              <a:cxn ang="0">
                <a:pos x="csX525" y="csY525"/>
              </a:cxn>
              <a:cxn ang="0">
                <a:pos x="csX526" y="csY526"/>
              </a:cxn>
              <a:cxn ang="0">
                <a:pos x="csX527" y="csY527"/>
              </a:cxn>
              <a:cxn ang="0">
                <a:pos x="csX528" y="csY528"/>
              </a:cxn>
              <a:cxn ang="0">
                <a:pos x="csX529" y="csY529"/>
              </a:cxn>
              <a:cxn ang="0">
                <a:pos x="csX530" y="csY530"/>
              </a:cxn>
              <a:cxn ang="0">
                <a:pos x="csX531" y="csY531"/>
              </a:cxn>
              <a:cxn ang="0">
                <a:pos x="csX532" y="csY532"/>
              </a:cxn>
              <a:cxn ang="0">
                <a:pos x="csX533" y="csY533"/>
              </a:cxn>
              <a:cxn ang="0">
                <a:pos x="csX534" y="csY534"/>
              </a:cxn>
              <a:cxn ang="0">
                <a:pos x="csX535" y="csY535"/>
              </a:cxn>
              <a:cxn ang="0">
                <a:pos x="csX536" y="csY536"/>
              </a:cxn>
              <a:cxn ang="0">
                <a:pos x="csX537" y="csY537"/>
              </a:cxn>
              <a:cxn ang="0">
                <a:pos x="csX538" y="csY538"/>
              </a:cxn>
              <a:cxn ang="0">
                <a:pos x="csX539" y="csY539"/>
              </a:cxn>
              <a:cxn ang="0">
                <a:pos x="csX540" y="csY540"/>
              </a:cxn>
              <a:cxn ang="0">
                <a:pos x="csX541" y="csY541"/>
              </a:cxn>
              <a:cxn ang="0">
                <a:pos x="csX542" y="csY542"/>
              </a:cxn>
              <a:cxn ang="0">
                <a:pos x="csX543" y="csY543"/>
              </a:cxn>
              <a:cxn ang="0">
                <a:pos x="csX544" y="csY544"/>
              </a:cxn>
              <a:cxn ang="0">
                <a:pos x="csX545" y="csY545"/>
              </a:cxn>
              <a:cxn ang="0">
                <a:pos x="csX546" y="csY546"/>
              </a:cxn>
              <a:cxn ang="0">
                <a:pos x="csX547" y="csY547"/>
              </a:cxn>
              <a:cxn ang="0">
                <a:pos x="csX548" y="csY548"/>
              </a:cxn>
              <a:cxn ang="0">
                <a:pos x="csX549" y="csY549"/>
              </a:cxn>
              <a:cxn ang="0">
                <a:pos x="csX550" y="csY550"/>
              </a:cxn>
              <a:cxn ang="0">
                <a:pos x="csX551" y="csY551"/>
              </a:cxn>
              <a:cxn ang="0">
                <a:pos x="csX552" y="csY552"/>
              </a:cxn>
              <a:cxn ang="0">
                <a:pos x="csX553" y="csY553"/>
              </a:cxn>
              <a:cxn ang="0">
                <a:pos x="csX554" y="csY554"/>
              </a:cxn>
              <a:cxn ang="0">
                <a:pos x="csX555" y="csY555"/>
              </a:cxn>
              <a:cxn ang="0">
                <a:pos x="csX556" y="csY556"/>
              </a:cxn>
              <a:cxn ang="0">
                <a:pos x="csX557" y="csY557"/>
              </a:cxn>
              <a:cxn ang="0">
                <a:pos x="csX558" y="csY558"/>
              </a:cxn>
              <a:cxn ang="0">
                <a:pos x="csX559" y="csY559"/>
              </a:cxn>
              <a:cxn ang="0">
                <a:pos x="csX560" y="csY560"/>
              </a:cxn>
              <a:cxn ang="0">
                <a:pos x="csX561" y="csY561"/>
              </a:cxn>
              <a:cxn ang="0">
                <a:pos x="csX562" y="csY562"/>
              </a:cxn>
              <a:cxn ang="0">
                <a:pos x="csX563" y="csY563"/>
              </a:cxn>
              <a:cxn ang="0">
                <a:pos x="csX564" y="csY564"/>
              </a:cxn>
              <a:cxn ang="0">
                <a:pos x="csX565" y="csY565"/>
              </a:cxn>
              <a:cxn ang="0">
                <a:pos x="csX566" y="csY566"/>
              </a:cxn>
              <a:cxn ang="0">
                <a:pos x="csX567" y="csY567"/>
              </a:cxn>
              <a:cxn ang="0">
                <a:pos x="csX568" y="csY568"/>
              </a:cxn>
              <a:cxn ang="0">
                <a:pos x="csX569" y="csY569"/>
              </a:cxn>
              <a:cxn ang="0">
                <a:pos x="csX570" y="csY570"/>
              </a:cxn>
              <a:cxn ang="0">
                <a:pos x="csX571" y="csY571"/>
              </a:cxn>
              <a:cxn ang="0">
                <a:pos x="csX572" y="csY572"/>
              </a:cxn>
              <a:cxn ang="0">
                <a:pos x="csX573" y="csY573"/>
              </a:cxn>
              <a:cxn ang="0">
                <a:pos x="csX574" y="csY574"/>
              </a:cxn>
              <a:cxn ang="0">
                <a:pos x="csX575" y="csY575"/>
              </a:cxn>
              <a:cxn ang="0">
                <a:pos x="csX576" y="csY576"/>
              </a:cxn>
              <a:cxn ang="0">
                <a:pos x="csX577" y="csY577"/>
              </a:cxn>
              <a:cxn ang="0">
                <a:pos x="csX578" y="csY578"/>
              </a:cxn>
              <a:cxn ang="0">
                <a:pos x="csX579" y="csY579"/>
              </a:cxn>
              <a:cxn ang="0">
                <a:pos x="csX580" y="csY580"/>
              </a:cxn>
              <a:cxn ang="0">
                <a:pos x="csX581" y="csY581"/>
              </a:cxn>
              <a:cxn ang="0">
                <a:pos x="csX582" y="csY582"/>
              </a:cxn>
              <a:cxn ang="0">
                <a:pos x="csX583" y="csY583"/>
              </a:cxn>
              <a:cxn ang="0">
                <a:pos x="csX584" y="csY584"/>
              </a:cxn>
              <a:cxn ang="0">
                <a:pos x="csX585" y="csY585"/>
              </a:cxn>
              <a:cxn ang="0">
                <a:pos x="csX586" y="csY586"/>
              </a:cxn>
              <a:cxn ang="0">
                <a:pos x="csX587" y="csY587"/>
              </a:cxn>
              <a:cxn ang="0">
                <a:pos x="csX588" y="csY588"/>
              </a:cxn>
              <a:cxn ang="0">
                <a:pos x="csX589" y="csY589"/>
              </a:cxn>
              <a:cxn ang="0">
                <a:pos x="csX590" y="csY590"/>
              </a:cxn>
              <a:cxn ang="0">
                <a:pos x="csX591" y="csY591"/>
              </a:cxn>
              <a:cxn ang="0">
                <a:pos x="csX592" y="csY592"/>
              </a:cxn>
              <a:cxn ang="0">
                <a:pos x="csX593" y="csY593"/>
              </a:cxn>
              <a:cxn ang="0">
                <a:pos x="csX594" y="csY594"/>
              </a:cxn>
              <a:cxn ang="0">
                <a:pos x="csX595" y="csY595"/>
              </a:cxn>
              <a:cxn ang="0">
                <a:pos x="csX596" y="csY596"/>
              </a:cxn>
              <a:cxn ang="0">
                <a:pos x="csX597" y="csY597"/>
              </a:cxn>
              <a:cxn ang="0">
                <a:pos x="csX598" y="csY598"/>
              </a:cxn>
              <a:cxn ang="0">
                <a:pos x="csX599" y="csY599"/>
              </a:cxn>
              <a:cxn ang="0">
                <a:pos x="csX600" y="csY600"/>
              </a:cxn>
              <a:cxn ang="0">
                <a:pos x="csX601" y="csY601"/>
              </a:cxn>
              <a:cxn ang="0">
                <a:pos x="csX602" y="csY602"/>
              </a:cxn>
              <a:cxn ang="0">
                <a:pos x="csX603" y="csY603"/>
              </a:cxn>
              <a:cxn ang="0">
                <a:pos x="csX604" y="csY604"/>
              </a:cxn>
              <a:cxn ang="0">
                <a:pos x="csX605" y="csY605"/>
              </a:cxn>
              <a:cxn ang="0">
                <a:pos x="csX606" y="csY606"/>
              </a:cxn>
              <a:cxn ang="0">
                <a:pos x="csX607" y="csY607"/>
              </a:cxn>
              <a:cxn ang="0">
                <a:pos x="csX608" y="csY608"/>
              </a:cxn>
              <a:cxn ang="0">
                <a:pos x="csX609" y="csY609"/>
              </a:cxn>
              <a:cxn ang="0">
                <a:pos x="csX610" y="csY610"/>
              </a:cxn>
              <a:cxn ang="0">
                <a:pos x="csX611" y="csY611"/>
              </a:cxn>
              <a:cxn ang="0">
                <a:pos x="csX612" y="csY612"/>
              </a:cxn>
              <a:cxn ang="0">
                <a:pos x="csX613" y="csY613"/>
              </a:cxn>
              <a:cxn ang="0">
                <a:pos x="csX614" y="csY614"/>
              </a:cxn>
              <a:cxn ang="0">
                <a:pos x="csX615" y="csY615"/>
              </a:cxn>
              <a:cxn ang="0">
                <a:pos x="csX616" y="csY616"/>
              </a:cxn>
              <a:cxn ang="0">
                <a:pos x="csX617" y="csY617"/>
              </a:cxn>
              <a:cxn ang="0">
                <a:pos x="csX618" y="csY618"/>
              </a:cxn>
              <a:cxn ang="0">
                <a:pos x="csX619" y="csY619"/>
              </a:cxn>
              <a:cxn ang="0">
                <a:pos x="csX620" y="csY620"/>
              </a:cxn>
              <a:cxn ang="0">
                <a:pos x="csX621" y="csY621"/>
              </a:cxn>
              <a:cxn ang="0">
                <a:pos x="csX622" y="csY622"/>
              </a:cxn>
              <a:cxn ang="0">
                <a:pos x="csX623" y="csY623"/>
              </a:cxn>
              <a:cxn ang="0">
                <a:pos x="csX624" y="csY624"/>
              </a:cxn>
              <a:cxn ang="0">
                <a:pos x="csX625" y="csY625"/>
              </a:cxn>
              <a:cxn ang="0">
                <a:pos x="csX626" y="csY626"/>
              </a:cxn>
              <a:cxn ang="0">
                <a:pos x="csX627" y="csY627"/>
              </a:cxn>
              <a:cxn ang="0">
                <a:pos x="csX628" y="csY628"/>
              </a:cxn>
              <a:cxn ang="0">
                <a:pos x="csX629" y="csY629"/>
              </a:cxn>
              <a:cxn ang="0">
                <a:pos x="csX630" y="csY630"/>
              </a:cxn>
              <a:cxn ang="0">
                <a:pos x="csX631" y="csY631"/>
              </a:cxn>
              <a:cxn ang="0">
                <a:pos x="csX632" y="csY632"/>
              </a:cxn>
              <a:cxn ang="0">
                <a:pos x="csX633" y="csY633"/>
              </a:cxn>
              <a:cxn ang="0">
                <a:pos x="csX634" y="csY634"/>
              </a:cxn>
              <a:cxn ang="0">
                <a:pos x="csX635" y="csY635"/>
              </a:cxn>
              <a:cxn ang="0">
                <a:pos x="csX636" y="csY636"/>
              </a:cxn>
              <a:cxn ang="0">
                <a:pos x="csX637" y="csY637"/>
              </a:cxn>
              <a:cxn ang="0">
                <a:pos x="csX638" y="csY638"/>
              </a:cxn>
              <a:cxn ang="0">
                <a:pos x="csX639" y="csY639"/>
              </a:cxn>
              <a:cxn ang="0">
                <a:pos x="csX640" y="csY640"/>
              </a:cxn>
              <a:cxn ang="0">
                <a:pos x="csX641" y="csY641"/>
              </a:cxn>
              <a:cxn ang="0">
                <a:pos x="csX642" y="csY642"/>
              </a:cxn>
              <a:cxn ang="0">
                <a:pos x="csX643" y="csY643"/>
              </a:cxn>
              <a:cxn ang="0">
                <a:pos x="csX644" y="csY644"/>
              </a:cxn>
              <a:cxn ang="0">
                <a:pos x="csX645" y="csY645"/>
              </a:cxn>
              <a:cxn ang="0">
                <a:pos x="csX646" y="csY646"/>
              </a:cxn>
              <a:cxn ang="0">
                <a:pos x="csX647" y="csY647"/>
              </a:cxn>
              <a:cxn ang="0">
                <a:pos x="csX648" y="csY648"/>
              </a:cxn>
              <a:cxn ang="0">
                <a:pos x="csX649" y="csY649"/>
              </a:cxn>
              <a:cxn ang="0">
                <a:pos x="csX650" y="csY650"/>
              </a:cxn>
              <a:cxn ang="0">
                <a:pos x="csX651" y="csY651"/>
              </a:cxn>
              <a:cxn ang="0">
                <a:pos x="csX652" y="csY652"/>
              </a:cxn>
              <a:cxn ang="0">
                <a:pos x="csX653" y="csY653"/>
              </a:cxn>
              <a:cxn ang="0">
                <a:pos x="csX654" y="csY654"/>
              </a:cxn>
              <a:cxn ang="0">
                <a:pos x="csX655" y="csY655"/>
              </a:cxn>
              <a:cxn ang="0">
                <a:pos x="csX656" y="csY656"/>
              </a:cxn>
              <a:cxn ang="0">
                <a:pos x="csX657" y="csY657"/>
              </a:cxn>
              <a:cxn ang="0">
                <a:pos x="csX658" y="csY658"/>
              </a:cxn>
              <a:cxn ang="0">
                <a:pos x="csX659" y="csY659"/>
              </a:cxn>
              <a:cxn ang="0">
                <a:pos x="csX660" y="csY660"/>
              </a:cxn>
              <a:cxn ang="0">
                <a:pos x="csX661" y="csY661"/>
              </a:cxn>
              <a:cxn ang="0">
                <a:pos x="csX662" y="csY662"/>
              </a:cxn>
              <a:cxn ang="0">
                <a:pos x="csX663" y="csY663"/>
              </a:cxn>
              <a:cxn ang="0">
                <a:pos x="csX664" y="csY664"/>
              </a:cxn>
              <a:cxn ang="0">
                <a:pos x="csX665" y="csY665"/>
              </a:cxn>
              <a:cxn ang="0">
                <a:pos x="csX666" y="csY666"/>
              </a:cxn>
              <a:cxn ang="0">
                <a:pos x="csX667" y="csY667"/>
              </a:cxn>
              <a:cxn ang="0">
                <a:pos x="csX668" y="csY668"/>
              </a:cxn>
              <a:cxn ang="0">
                <a:pos x="csX669" y="csY669"/>
              </a:cxn>
              <a:cxn ang="0">
                <a:pos x="csX670" y="csY670"/>
              </a:cxn>
              <a:cxn ang="0">
                <a:pos x="csX671" y="csY671"/>
              </a:cxn>
              <a:cxn ang="0">
                <a:pos x="csX672" y="csY672"/>
              </a:cxn>
              <a:cxn ang="0">
                <a:pos x="csX673" y="csY673"/>
              </a:cxn>
              <a:cxn ang="0">
                <a:pos x="csX674" y="csY674"/>
              </a:cxn>
              <a:cxn ang="0">
                <a:pos x="csX675" y="csY675"/>
              </a:cxn>
              <a:cxn ang="0">
                <a:pos x="csX676" y="csY676"/>
              </a:cxn>
              <a:cxn ang="0">
                <a:pos x="csX677" y="csY677"/>
              </a:cxn>
              <a:cxn ang="0">
                <a:pos x="csX678" y="csY678"/>
              </a:cxn>
              <a:cxn ang="0">
                <a:pos x="csX679" y="csY679"/>
              </a:cxn>
              <a:cxn ang="0">
                <a:pos x="csX680" y="csY680"/>
              </a:cxn>
              <a:cxn ang="0">
                <a:pos x="csX681" y="csY681"/>
              </a:cxn>
              <a:cxn ang="0">
                <a:pos x="csX682" y="csY682"/>
              </a:cxn>
              <a:cxn ang="0">
                <a:pos x="csX683" y="csY683"/>
              </a:cxn>
              <a:cxn ang="0">
                <a:pos x="csX684" y="csY684"/>
              </a:cxn>
              <a:cxn ang="0">
                <a:pos x="csX685" y="csY685"/>
              </a:cxn>
              <a:cxn ang="0">
                <a:pos x="csX686" y="csY686"/>
              </a:cxn>
              <a:cxn ang="0">
                <a:pos x="csX687" y="csY687"/>
              </a:cxn>
              <a:cxn ang="0">
                <a:pos x="csX688" y="csY688"/>
              </a:cxn>
              <a:cxn ang="0">
                <a:pos x="csX689" y="csY689"/>
              </a:cxn>
              <a:cxn ang="0">
                <a:pos x="csX690" y="csY690"/>
              </a:cxn>
              <a:cxn ang="0">
                <a:pos x="csX691" y="csY691"/>
              </a:cxn>
              <a:cxn ang="0">
                <a:pos x="csX692" y="csY692"/>
              </a:cxn>
              <a:cxn ang="0">
                <a:pos x="csX693" y="csY693"/>
              </a:cxn>
              <a:cxn ang="0">
                <a:pos x="csX694" y="csY694"/>
              </a:cxn>
              <a:cxn ang="0">
                <a:pos x="csX695" y="csY695"/>
              </a:cxn>
              <a:cxn ang="0">
                <a:pos x="csX696" y="csY696"/>
              </a:cxn>
              <a:cxn ang="0">
                <a:pos x="csX697" y="csY697"/>
              </a:cxn>
              <a:cxn ang="0">
                <a:pos x="csX698" y="csY698"/>
              </a:cxn>
              <a:cxn ang="0">
                <a:pos x="csX699" y="csY699"/>
              </a:cxn>
              <a:cxn ang="0">
                <a:pos x="csX700" y="csY700"/>
              </a:cxn>
              <a:cxn ang="0">
                <a:pos x="csX701" y="csY701"/>
              </a:cxn>
              <a:cxn ang="0">
                <a:pos x="csX702" y="csY702"/>
              </a:cxn>
              <a:cxn ang="0">
                <a:pos x="csX703" y="csY703"/>
              </a:cxn>
              <a:cxn ang="0">
                <a:pos x="csX704" y="csY704"/>
              </a:cxn>
              <a:cxn ang="0">
                <a:pos x="csX705" y="csY705"/>
              </a:cxn>
              <a:cxn ang="0">
                <a:pos x="csX706" y="csY706"/>
              </a:cxn>
              <a:cxn ang="0">
                <a:pos x="csX707" y="csY707"/>
              </a:cxn>
              <a:cxn ang="0">
                <a:pos x="csX708" y="csY708"/>
              </a:cxn>
              <a:cxn ang="0">
                <a:pos x="csX709" y="csY709"/>
              </a:cxn>
              <a:cxn ang="0">
                <a:pos x="csX710" y="csY710"/>
              </a:cxn>
              <a:cxn ang="0">
                <a:pos x="csX711" y="csY711"/>
              </a:cxn>
              <a:cxn ang="0">
                <a:pos x="csX712" y="csY712"/>
              </a:cxn>
              <a:cxn ang="0">
                <a:pos x="csX713" y="csY713"/>
              </a:cxn>
              <a:cxn ang="0">
                <a:pos x="csX714" y="csY714"/>
              </a:cxn>
              <a:cxn ang="0">
                <a:pos x="csX715" y="csY715"/>
              </a:cxn>
              <a:cxn ang="0">
                <a:pos x="csX716" y="csY716"/>
              </a:cxn>
              <a:cxn ang="0">
                <a:pos x="csX717" y="csY717"/>
              </a:cxn>
              <a:cxn ang="0">
                <a:pos x="csX718" y="csY718"/>
              </a:cxn>
              <a:cxn ang="0">
                <a:pos x="csX719" y="csY719"/>
              </a:cxn>
              <a:cxn ang="0">
                <a:pos x="csX720" y="csY720"/>
              </a:cxn>
              <a:cxn ang="0">
                <a:pos x="csX721" y="csY721"/>
              </a:cxn>
              <a:cxn ang="0">
                <a:pos x="csX722" y="csY722"/>
              </a:cxn>
              <a:cxn ang="0">
                <a:pos x="csX723" y="csY723"/>
              </a:cxn>
              <a:cxn ang="0">
                <a:pos x="csX724" y="csY724"/>
              </a:cxn>
              <a:cxn ang="0">
                <a:pos x="csX725" y="csY725"/>
              </a:cxn>
              <a:cxn ang="0">
                <a:pos x="csX726" y="csY726"/>
              </a:cxn>
              <a:cxn ang="0">
                <a:pos x="csX727" y="csY727"/>
              </a:cxn>
              <a:cxn ang="0">
                <a:pos x="csX728" y="csY728"/>
              </a:cxn>
              <a:cxn ang="0">
                <a:pos x="csX729" y="csY729"/>
              </a:cxn>
              <a:cxn ang="0">
                <a:pos x="csX730" y="csY730"/>
              </a:cxn>
              <a:cxn ang="0">
                <a:pos x="csX731" y="csY731"/>
              </a:cxn>
              <a:cxn ang="0">
                <a:pos x="csX732" y="csY732"/>
              </a:cxn>
              <a:cxn ang="0">
                <a:pos x="csX733" y="csY733"/>
              </a:cxn>
              <a:cxn ang="0">
                <a:pos x="csX734" y="csY734"/>
              </a:cxn>
              <a:cxn ang="0">
                <a:pos x="csX735" y="csY735"/>
              </a:cxn>
              <a:cxn ang="0">
                <a:pos x="csX736" y="csY736"/>
              </a:cxn>
              <a:cxn ang="0">
                <a:pos x="csX737" y="csY737"/>
              </a:cxn>
              <a:cxn ang="0">
                <a:pos x="csX738" y="csY738"/>
              </a:cxn>
              <a:cxn ang="0">
                <a:pos x="csX739" y="csY739"/>
              </a:cxn>
              <a:cxn ang="0">
                <a:pos x="csX740" y="csY740"/>
              </a:cxn>
              <a:cxn ang="0">
                <a:pos x="csX741" y="csY741"/>
              </a:cxn>
              <a:cxn ang="0">
                <a:pos x="csX742" y="csY742"/>
              </a:cxn>
              <a:cxn ang="0">
                <a:pos x="csX743" y="csY743"/>
              </a:cxn>
              <a:cxn ang="0">
                <a:pos x="csX744" y="csY744"/>
              </a:cxn>
              <a:cxn ang="0">
                <a:pos x="csX745" y="csY745"/>
              </a:cxn>
              <a:cxn ang="0">
                <a:pos x="csX746" y="csY746"/>
              </a:cxn>
              <a:cxn ang="0">
                <a:pos x="csX747" y="csY747"/>
              </a:cxn>
              <a:cxn ang="0">
                <a:pos x="csX748" y="csY748"/>
              </a:cxn>
              <a:cxn ang="0">
                <a:pos x="csX749" y="csY749"/>
              </a:cxn>
              <a:cxn ang="0">
                <a:pos x="csX750" y="csY750"/>
              </a:cxn>
              <a:cxn ang="0">
                <a:pos x="csX751" y="csY751"/>
              </a:cxn>
              <a:cxn ang="0">
                <a:pos x="csX752" y="csY752"/>
              </a:cxn>
              <a:cxn ang="0">
                <a:pos x="csX753" y="csY753"/>
              </a:cxn>
              <a:cxn ang="0">
                <a:pos x="csX754" y="csY754"/>
              </a:cxn>
              <a:cxn ang="0">
                <a:pos x="csX755" y="csY755"/>
              </a:cxn>
              <a:cxn ang="0">
                <a:pos x="csX756" y="csY756"/>
              </a:cxn>
              <a:cxn ang="0">
                <a:pos x="csX757" y="csY757"/>
              </a:cxn>
              <a:cxn ang="0">
                <a:pos x="csX758" y="csY758"/>
              </a:cxn>
              <a:cxn ang="0">
                <a:pos x="csX759" y="csY759"/>
              </a:cxn>
              <a:cxn ang="0">
                <a:pos x="csX760" y="csY760"/>
              </a:cxn>
              <a:cxn ang="0">
                <a:pos x="csX761" y="csY761"/>
              </a:cxn>
              <a:cxn ang="0">
                <a:pos x="csX762" y="csY762"/>
              </a:cxn>
              <a:cxn ang="0">
                <a:pos x="csX763" y="csY763"/>
              </a:cxn>
              <a:cxn ang="0">
                <a:pos x="csX764" y="csY764"/>
              </a:cxn>
              <a:cxn ang="0">
                <a:pos x="csX765" y="csY765"/>
              </a:cxn>
              <a:cxn ang="0">
                <a:pos x="csX766" y="csY766"/>
              </a:cxn>
              <a:cxn ang="0">
                <a:pos x="csX767" y="csY767"/>
              </a:cxn>
              <a:cxn ang="0">
                <a:pos x="csX768" y="csY768"/>
              </a:cxn>
              <a:cxn ang="0">
                <a:pos x="csX769" y="csY769"/>
              </a:cxn>
              <a:cxn ang="0">
                <a:pos x="csX770" y="csY770"/>
              </a:cxn>
              <a:cxn ang="0">
                <a:pos x="csX771" y="csY771"/>
              </a:cxn>
              <a:cxn ang="0">
                <a:pos x="csX772" y="csY772"/>
              </a:cxn>
              <a:cxn ang="0">
                <a:pos x="csX773" y="csY773"/>
              </a:cxn>
              <a:cxn ang="0">
                <a:pos x="csX774" y="csY774"/>
              </a:cxn>
              <a:cxn ang="0">
                <a:pos x="csX775" y="csY775"/>
              </a:cxn>
              <a:cxn ang="0">
                <a:pos x="csX776" y="csY776"/>
              </a:cxn>
              <a:cxn ang="0">
                <a:pos x="csX777" y="csY777"/>
              </a:cxn>
              <a:cxn ang="0">
                <a:pos x="csX778" y="csY778"/>
              </a:cxn>
              <a:cxn ang="0">
                <a:pos x="csX779" y="csY779"/>
              </a:cxn>
              <a:cxn ang="0">
                <a:pos x="csX780" y="csY780"/>
              </a:cxn>
              <a:cxn ang="0">
                <a:pos x="csX781" y="csY781"/>
              </a:cxn>
              <a:cxn ang="0">
                <a:pos x="csX782" y="csY782"/>
              </a:cxn>
              <a:cxn ang="0">
                <a:pos x="csX783" y="csY783"/>
              </a:cxn>
              <a:cxn ang="0">
                <a:pos x="csX784" y="csY784"/>
              </a:cxn>
              <a:cxn ang="0">
                <a:pos x="csX785" y="csY785"/>
              </a:cxn>
              <a:cxn ang="0">
                <a:pos x="csX786" y="csY786"/>
              </a:cxn>
              <a:cxn ang="0">
                <a:pos x="csX787" y="csY787"/>
              </a:cxn>
              <a:cxn ang="0">
                <a:pos x="csX788" y="csY788"/>
              </a:cxn>
              <a:cxn ang="0">
                <a:pos x="csX789" y="csY789"/>
              </a:cxn>
              <a:cxn ang="0">
                <a:pos x="csX790" y="csY790"/>
              </a:cxn>
              <a:cxn ang="0">
                <a:pos x="csX791" y="csY791"/>
              </a:cxn>
              <a:cxn ang="0">
                <a:pos x="csX792" y="csY792"/>
              </a:cxn>
              <a:cxn ang="0">
                <a:pos x="csX793" y="csY793"/>
              </a:cxn>
              <a:cxn ang="0">
                <a:pos x="csX794" y="csY794"/>
              </a:cxn>
              <a:cxn ang="0">
                <a:pos x="csX795" y="csY795"/>
              </a:cxn>
              <a:cxn ang="0">
                <a:pos x="csX796" y="csY796"/>
              </a:cxn>
              <a:cxn ang="0">
                <a:pos x="csX797" y="csY797"/>
              </a:cxn>
              <a:cxn ang="0">
                <a:pos x="csX798" y="csY798"/>
              </a:cxn>
              <a:cxn ang="0">
                <a:pos x="csX799" y="csY799"/>
              </a:cxn>
              <a:cxn ang="0">
                <a:pos x="csX800" y="csY800"/>
              </a:cxn>
              <a:cxn ang="0">
                <a:pos x="csX801" y="csY801"/>
              </a:cxn>
              <a:cxn ang="0">
                <a:pos x="csX802" y="csY802"/>
              </a:cxn>
              <a:cxn ang="0">
                <a:pos x="csX803" y="csY803"/>
              </a:cxn>
              <a:cxn ang="0">
                <a:pos x="csX804" y="csY804"/>
              </a:cxn>
              <a:cxn ang="0">
                <a:pos x="csX805" y="csY805"/>
              </a:cxn>
              <a:cxn ang="0">
                <a:pos x="csX806" y="csY806"/>
              </a:cxn>
              <a:cxn ang="0">
                <a:pos x="csX807" y="csY807"/>
              </a:cxn>
              <a:cxn ang="0">
                <a:pos x="csX808" y="csY808"/>
              </a:cxn>
              <a:cxn ang="0">
                <a:pos x="csX809" y="csY809"/>
              </a:cxn>
              <a:cxn ang="0">
                <a:pos x="csX810" y="csY810"/>
              </a:cxn>
              <a:cxn ang="0">
                <a:pos x="csX811" y="csY811"/>
              </a:cxn>
              <a:cxn ang="0">
                <a:pos x="csX812" y="csY812"/>
              </a:cxn>
              <a:cxn ang="0">
                <a:pos x="csX813" y="csY813"/>
              </a:cxn>
              <a:cxn ang="0">
                <a:pos x="csX814" y="csY814"/>
              </a:cxn>
              <a:cxn ang="0">
                <a:pos x="csX815" y="csY815"/>
              </a:cxn>
              <a:cxn ang="0">
                <a:pos x="csX816" y="csY816"/>
              </a:cxn>
              <a:cxn ang="0">
                <a:pos x="csX817" y="csY817"/>
              </a:cxn>
              <a:cxn ang="0">
                <a:pos x="csX818" y="csY818"/>
              </a:cxn>
              <a:cxn ang="0">
                <a:pos x="csX819" y="csY819"/>
              </a:cxn>
              <a:cxn ang="0">
                <a:pos x="csX820" y="csY820"/>
              </a:cxn>
              <a:cxn ang="0">
                <a:pos x="csX821" y="csY821"/>
              </a:cxn>
              <a:cxn ang="0">
                <a:pos x="csX822" y="csY822"/>
              </a:cxn>
              <a:cxn ang="0">
                <a:pos x="csX823" y="csY823"/>
              </a:cxn>
              <a:cxn ang="0">
                <a:pos x="csX824" y="csY824"/>
              </a:cxn>
              <a:cxn ang="0">
                <a:pos x="csX825" y="csY825"/>
              </a:cxn>
              <a:cxn ang="0">
                <a:pos x="csX826" y="csY826"/>
              </a:cxn>
              <a:cxn ang="0">
                <a:pos x="csX827" y="csY827"/>
              </a:cxn>
              <a:cxn ang="0">
                <a:pos x="csX828" y="csY828"/>
              </a:cxn>
              <a:cxn ang="0">
                <a:pos x="csX829" y="csY829"/>
              </a:cxn>
              <a:cxn ang="0">
                <a:pos x="csX830" y="csY830"/>
              </a:cxn>
              <a:cxn ang="0">
                <a:pos x="csX831" y="csY831"/>
              </a:cxn>
              <a:cxn ang="0">
                <a:pos x="csX832" y="csY832"/>
              </a:cxn>
              <a:cxn ang="0">
                <a:pos x="csX833" y="csY833"/>
              </a:cxn>
              <a:cxn ang="0">
                <a:pos x="csX834" y="csY834"/>
              </a:cxn>
              <a:cxn ang="0">
                <a:pos x="csX835" y="csY835"/>
              </a:cxn>
              <a:cxn ang="0">
                <a:pos x="csX836" y="csY836"/>
              </a:cxn>
              <a:cxn ang="0">
                <a:pos x="csX837" y="csY837"/>
              </a:cxn>
              <a:cxn ang="0">
                <a:pos x="csX838" y="csY838"/>
              </a:cxn>
              <a:cxn ang="0">
                <a:pos x="csX839" y="csY839"/>
              </a:cxn>
              <a:cxn ang="0">
                <a:pos x="csX840" y="csY840"/>
              </a:cxn>
              <a:cxn ang="0">
                <a:pos x="csX841" y="csY841"/>
              </a:cxn>
              <a:cxn ang="0">
                <a:pos x="csX842" y="csY842"/>
              </a:cxn>
              <a:cxn ang="0">
                <a:pos x="csX843" y="csY843"/>
              </a:cxn>
              <a:cxn ang="0">
                <a:pos x="csX844" y="csY844"/>
              </a:cxn>
              <a:cxn ang="0">
                <a:pos x="csX845" y="csY845"/>
              </a:cxn>
              <a:cxn ang="0">
                <a:pos x="csX846" y="csY846"/>
              </a:cxn>
              <a:cxn ang="0">
                <a:pos x="csX847" y="csY847"/>
              </a:cxn>
              <a:cxn ang="0">
                <a:pos x="csX848" y="csY848"/>
              </a:cxn>
              <a:cxn ang="0">
                <a:pos x="csX849" y="csY849"/>
              </a:cxn>
              <a:cxn ang="0">
                <a:pos x="csX850" y="csY850"/>
              </a:cxn>
              <a:cxn ang="0">
                <a:pos x="csX851" y="csY851"/>
              </a:cxn>
              <a:cxn ang="0">
                <a:pos x="csX852" y="csY852"/>
              </a:cxn>
              <a:cxn ang="0">
                <a:pos x="csX853" y="csY853"/>
              </a:cxn>
              <a:cxn ang="0">
                <a:pos x="csX854" y="csY854"/>
              </a:cxn>
              <a:cxn ang="0">
                <a:pos x="csX855" y="csY855"/>
              </a:cxn>
              <a:cxn ang="0">
                <a:pos x="csX856" y="csY856"/>
              </a:cxn>
              <a:cxn ang="0">
                <a:pos x="csX857" y="csY857"/>
              </a:cxn>
              <a:cxn ang="0">
                <a:pos x="csX858" y="csY858"/>
              </a:cxn>
              <a:cxn ang="0">
                <a:pos x="csX859" y="csY859"/>
              </a:cxn>
              <a:cxn ang="0">
                <a:pos x="csX860" y="csY860"/>
              </a:cxn>
              <a:cxn ang="0">
                <a:pos x="csX861" y="csY861"/>
              </a:cxn>
              <a:cxn ang="0">
                <a:pos x="csX862" y="csY862"/>
              </a:cxn>
              <a:cxn ang="0">
                <a:pos x="csX863" y="csY863"/>
              </a:cxn>
              <a:cxn ang="0">
                <a:pos x="csX864" y="csY864"/>
              </a:cxn>
              <a:cxn ang="0">
                <a:pos x="csX865" y="csY865"/>
              </a:cxn>
              <a:cxn ang="0">
                <a:pos x="csX866" y="csY866"/>
              </a:cxn>
              <a:cxn ang="0">
                <a:pos x="csX867" y="csY867"/>
              </a:cxn>
              <a:cxn ang="0">
                <a:pos x="csX868" y="csY868"/>
              </a:cxn>
              <a:cxn ang="0">
                <a:pos x="csX869" y="csY869"/>
              </a:cxn>
              <a:cxn ang="0">
                <a:pos x="csX870" y="csY870"/>
              </a:cxn>
              <a:cxn ang="0">
                <a:pos x="csX871" y="csY871"/>
              </a:cxn>
              <a:cxn ang="0">
                <a:pos x="csX872" y="csY872"/>
              </a:cxn>
              <a:cxn ang="0">
                <a:pos x="csX873" y="csY873"/>
              </a:cxn>
              <a:cxn ang="0">
                <a:pos x="csX874" y="csY874"/>
              </a:cxn>
              <a:cxn ang="0">
                <a:pos x="csX875" y="csY875"/>
              </a:cxn>
              <a:cxn ang="0">
                <a:pos x="csX876" y="csY876"/>
              </a:cxn>
              <a:cxn ang="0">
                <a:pos x="csX877" y="csY877"/>
              </a:cxn>
              <a:cxn ang="0">
                <a:pos x="csX878" y="csY878"/>
              </a:cxn>
              <a:cxn ang="0">
                <a:pos x="csX879" y="csY879"/>
              </a:cxn>
              <a:cxn ang="0">
                <a:pos x="csX880" y="csY880"/>
              </a:cxn>
              <a:cxn ang="0">
                <a:pos x="csX881" y="csY881"/>
              </a:cxn>
              <a:cxn ang="0">
                <a:pos x="csX882" y="csY882"/>
              </a:cxn>
              <a:cxn ang="0">
                <a:pos x="csX883" y="csY883"/>
              </a:cxn>
              <a:cxn ang="0">
                <a:pos x="csX884" y="csY884"/>
              </a:cxn>
              <a:cxn ang="0">
                <a:pos x="csX885" y="csY885"/>
              </a:cxn>
              <a:cxn ang="0">
                <a:pos x="csX886" y="csY886"/>
              </a:cxn>
              <a:cxn ang="0">
                <a:pos x="csX887" y="csY887"/>
              </a:cxn>
              <a:cxn ang="0">
                <a:pos x="csX888" y="csY888"/>
              </a:cxn>
              <a:cxn ang="0">
                <a:pos x="csX889" y="csY889"/>
              </a:cxn>
              <a:cxn ang="0">
                <a:pos x="csX890" y="csY890"/>
              </a:cxn>
              <a:cxn ang="0">
                <a:pos x="csX891" y="csY891"/>
              </a:cxn>
              <a:cxn ang="0">
                <a:pos x="csX892" y="csY892"/>
              </a:cxn>
              <a:cxn ang="0">
                <a:pos x="csX893" y="csY893"/>
              </a:cxn>
              <a:cxn ang="0">
                <a:pos x="csX894" y="csY894"/>
              </a:cxn>
              <a:cxn ang="0">
                <a:pos x="csX895" y="csY895"/>
              </a:cxn>
              <a:cxn ang="0">
                <a:pos x="csX896" y="csY896"/>
              </a:cxn>
              <a:cxn ang="0">
                <a:pos x="csX897" y="csY897"/>
              </a:cxn>
              <a:cxn ang="0">
                <a:pos x="csX898" y="csY898"/>
              </a:cxn>
              <a:cxn ang="0">
                <a:pos x="csX899" y="csY899"/>
              </a:cxn>
              <a:cxn ang="0">
                <a:pos x="csX900" y="csY900"/>
              </a:cxn>
              <a:cxn ang="0">
                <a:pos x="csX901" y="csY901"/>
              </a:cxn>
              <a:cxn ang="0">
                <a:pos x="csX902" y="csY902"/>
              </a:cxn>
              <a:cxn ang="0">
                <a:pos x="csX903" y="csY903"/>
              </a:cxn>
              <a:cxn ang="0">
                <a:pos x="csX904" y="csY904"/>
              </a:cxn>
              <a:cxn ang="0">
                <a:pos x="csX905" y="csY905"/>
              </a:cxn>
              <a:cxn ang="0">
                <a:pos x="csX906" y="csY906"/>
              </a:cxn>
              <a:cxn ang="0">
                <a:pos x="csX907" y="csY907"/>
              </a:cxn>
              <a:cxn ang="0">
                <a:pos x="csX908" y="csY908"/>
              </a:cxn>
              <a:cxn ang="0">
                <a:pos x="csX909" y="csY909"/>
              </a:cxn>
              <a:cxn ang="0">
                <a:pos x="csX910" y="csY910"/>
              </a:cxn>
              <a:cxn ang="0">
                <a:pos x="csX911" y="csY911"/>
              </a:cxn>
              <a:cxn ang="0">
                <a:pos x="csX912" y="csY912"/>
              </a:cxn>
              <a:cxn ang="0">
                <a:pos x="csX913" y="csY913"/>
              </a:cxn>
              <a:cxn ang="0">
                <a:pos x="csX914" y="csY914"/>
              </a:cxn>
              <a:cxn ang="0">
                <a:pos x="csX915" y="csY915"/>
              </a:cxn>
              <a:cxn ang="0">
                <a:pos x="csX916" y="csY916"/>
              </a:cxn>
              <a:cxn ang="0">
                <a:pos x="csX917" y="csY917"/>
              </a:cxn>
              <a:cxn ang="0">
                <a:pos x="csX918" y="csY918"/>
              </a:cxn>
              <a:cxn ang="0">
                <a:pos x="csX919" y="csY919"/>
              </a:cxn>
              <a:cxn ang="0">
                <a:pos x="csX920" y="csY920"/>
              </a:cxn>
              <a:cxn ang="0">
                <a:pos x="csX921" y="csY921"/>
              </a:cxn>
              <a:cxn ang="0">
                <a:pos x="csX922" y="csY922"/>
              </a:cxn>
              <a:cxn ang="0">
                <a:pos x="csX923" y="csY923"/>
              </a:cxn>
              <a:cxn ang="0">
                <a:pos x="csX924" y="csY924"/>
              </a:cxn>
              <a:cxn ang="0">
                <a:pos x="csX925" y="csY925"/>
              </a:cxn>
              <a:cxn ang="0">
                <a:pos x="csX926" y="csY926"/>
              </a:cxn>
              <a:cxn ang="0">
                <a:pos x="csX927" y="csY927"/>
              </a:cxn>
              <a:cxn ang="0">
                <a:pos x="csX928" y="csY928"/>
              </a:cxn>
              <a:cxn ang="0">
                <a:pos x="csX929" y="csY929"/>
              </a:cxn>
              <a:cxn ang="0">
                <a:pos x="csX930" y="csY930"/>
              </a:cxn>
              <a:cxn ang="0">
                <a:pos x="csX931" y="csY931"/>
              </a:cxn>
              <a:cxn ang="0">
                <a:pos x="csX932" y="csY932"/>
              </a:cxn>
              <a:cxn ang="0">
                <a:pos x="csX933" y="csY933"/>
              </a:cxn>
              <a:cxn ang="0">
                <a:pos x="csX934" y="csY934"/>
              </a:cxn>
              <a:cxn ang="0">
                <a:pos x="csX935" y="csY935"/>
              </a:cxn>
              <a:cxn ang="0">
                <a:pos x="csX936" y="csY936"/>
              </a:cxn>
              <a:cxn ang="0">
                <a:pos x="csX937" y="csY937"/>
              </a:cxn>
              <a:cxn ang="0">
                <a:pos x="csX938" y="csY938"/>
              </a:cxn>
              <a:cxn ang="0">
                <a:pos x="csX939" y="csY939"/>
              </a:cxn>
              <a:cxn ang="0">
                <a:pos x="csX940" y="csY940"/>
              </a:cxn>
              <a:cxn ang="0">
                <a:pos x="csX941" y="csY941"/>
              </a:cxn>
              <a:cxn ang="0">
                <a:pos x="csX942" y="csY942"/>
              </a:cxn>
              <a:cxn ang="0">
                <a:pos x="csX943" y="csY943"/>
              </a:cxn>
              <a:cxn ang="0">
                <a:pos x="csX944" y="csY944"/>
              </a:cxn>
              <a:cxn ang="0">
                <a:pos x="csX945" y="csY945"/>
              </a:cxn>
              <a:cxn ang="0">
                <a:pos x="csX946" y="csY946"/>
              </a:cxn>
              <a:cxn ang="0">
                <a:pos x="csX947" y="csY947"/>
              </a:cxn>
              <a:cxn ang="0">
                <a:pos x="csX948" y="csY948"/>
              </a:cxn>
              <a:cxn ang="0">
                <a:pos x="csX949" y="csY949"/>
              </a:cxn>
              <a:cxn ang="0">
                <a:pos x="csX950" y="csY950"/>
              </a:cxn>
              <a:cxn ang="0">
                <a:pos x="csX951" y="csY951"/>
              </a:cxn>
              <a:cxn ang="0">
                <a:pos x="csX952" y="csY952"/>
              </a:cxn>
              <a:cxn ang="0">
                <a:pos x="csX953" y="csY953"/>
              </a:cxn>
              <a:cxn ang="0">
                <a:pos x="csX954" y="csY954"/>
              </a:cxn>
              <a:cxn ang="0">
                <a:pos x="csX955" y="csY955"/>
              </a:cxn>
              <a:cxn ang="0">
                <a:pos x="csX956" y="csY956"/>
              </a:cxn>
              <a:cxn ang="0">
                <a:pos x="csX957" y="csY957"/>
              </a:cxn>
              <a:cxn ang="0">
                <a:pos x="csX958" y="csY958"/>
              </a:cxn>
              <a:cxn ang="0">
                <a:pos x="csX959" y="csY959"/>
              </a:cxn>
              <a:cxn ang="0">
                <a:pos x="csX960" y="csY960"/>
              </a:cxn>
              <a:cxn ang="0">
                <a:pos x="csX961" y="csY961"/>
              </a:cxn>
              <a:cxn ang="0">
                <a:pos x="csX962" y="csY962"/>
              </a:cxn>
              <a:cxn ang="0">
                <a:pos x="csX963" y="csY963"/>
              </a:cxn>
              <a:cxn ang="0">
                <a:pos x="csX964" y="csY964"/>
              </a:cxn>
              <a:cxn ang="0">
                <a:pos x="csX965" y="csY965"/>
              </a:cxn>
              <a:cxn ang="0">
                <a:pos x="csX966" y="csY966"/>
              </a:cxn>
              <a:cxn ang="0">
                <a:pos x="csX967" y="csY967"/>
              </a:cxn>
              <a:cxn ang="0">
                <a:pos x="csX968" y="csY968"/>
              </a:cxn>
              <a:cxn ang="0">
                <a:pos x="csX969" y="csY969"/>
              </a:cxn>
              <a:cxn ang="0">
                <a:pos x="csX970" y="csY970"/>
              </a:cxn>
              <a:cxn ang="0">
                <a:pos x="csX971" y="csY971"/>
              </a:cxn>
              <a:cxn ang="0">
                <a:pos x="csX972" y="csY972"/>
              </a:cxn>
              <a:cxn ang="0">
                <a:pos x="csX973" y="csY973"/>
              </a:cxn>
              <a:cxn ang="0">
                <a:pos x="csX974" y="csY974"/>
              </a:cxn>
              <a:cxn ang="0">
                <a:pos x="csX975" y="csY975"/>
              </a:cxn>
              <a:cxn ang="0">
                <a:pos x="csX976" y="csY976"/>
              </a:cxn>
              <a:cxn ang="0">
                <a:pos x="csX977" y="csY977"/>
              </a:cxn>
              <a:cxn ang="0">
                <a:pos x="csX978" y="csY978"/>
              </a:cxn>
              <a:cxn ang="0">
                <a:pos x="csX979" y="csY979"/>
              </a:cxn>
              <a:cxn ang="0">
                <a:pos x="csX980" y="csY980"/>
              </a:cxn>
              <a:cxn ang="0">
                <a:pos x="csX981" y="csY981"/>
              </a:cxn>
              <a:cxn ang="0">
                <a:pos x="csX982" y="csY982"/>
              </a:cxn>
              <a:cxn ang="0">
                <a:pos x="csX983" y="csY983"/>
              </a:cxn>
              <a:cxn ang="0">
                <a:pos x="csX984" y="csY984"/>
              </a:cxn>
              <a:cxn ang="0">
                <a:pos x="csX985" y="csY985"/>
              </a:cxn>
              <a:cxn ang="0">
                <a:pos x="csX986" y="csY986"/>
              </a:cxn>
              <a:cxn ang="0">
                <a:pos x="csX987" y="csY987"/>
              </a:cxn>
              <a:cxn ang="0">
                <a:pos x="csX988" y="csY988"/>
              </a:cxn>
              <a:cxn ang="0">
                <a:pos x="csX989" y="csY989"/>
              </a:cxn>
              <a:cxn ang="0">
                <a:pos x="csX990" y="csY990"/>
              </a:cxn>
              <a:cxn ang="0">
                <a:pos x="csX991" y="csY991"/>
              </a:cxn>
              <a:cxn ang="0">
                <a:pos x="csX992" y="csY992"/>
              </a:cxn>
              <a:cxn ang="0">
                <a:pos x="csX993" y="csY993"/>
              </a:cxn>
              <a:cxn ang="0">
                <a:pos x="csX994" y="csY994"/>
              </a:cxn>
              <a:cxn ang="0">
                <a:pos x="csX995" y="csY995"/>
              </a:cxn>
              <a:cxn ang="0">
                <a:pos x="csX996" y="csY996"/>
              </a:cxn>
              <a:cxn ang="0">
                <a:pos x="csX997" y="csY997"/>
              </a:cxn>
              <a:cxn ang="0">
                <a:pos x="csX998" y="csY998"/>
              </a:cxn>
              <a:cxn ang="0">
                <a:pos x="csX999" y="csY999"/>
              </a:cxn>
              <a:cxn ang="0">
                <a:pos x="csX1000" y="csY1000"/>
              </a:cxn>
              <a:cxn ang="0">
                <a:pos x="csX1001" y="csY1001"/>
              </a:cxn>
              <a:cxn ang="0">
                <a:pos x="csX1002" y="csY1002"/>
              </a:cxn>
              <a:cxn ang="0">
                <a:pos x="csX1003" y="csY1003"/>
              </a:cxn>
              <a:cxn ang="0">
                <a:pos x="csX1004" y="csY1004"/>
              </a:cxn>
              <a:cxn ang="0">
                <a:pos x="csX1005" y="csY1005"/>
              </a:cxn>
              <a:cxn ang="0">
                <a:pos x="csX1006" y="csY1006"/>
              </a:cxn>
              <a:cxn ang="0">
                <a:pos x="csX1007" y="csY1007"/>
              </a:cxn>
              <a:cxn ang="0">
                <a:pos x="csX1008" y="csY1008"/>
              </a:cxn>
              <a:cxn ang="0">
                <a:pos x="csX1009" y="csY1009"/>
              </a:cxn>
              <a:cxn ang="0">
                <a:pos x="csX1010" y="csY1010"/>
              </a:cxn>
              <a:cxn ang="0">
                <a:pos x="csX1011" y="csY1011"/>
              </a:cxn>
              <a:cxn ang="0">
                <a:pos x="csX1012" y="csY1012"/>
              </a:cxn>
              <a:cxn ang="0">
                <a:pos x="csX1013" y="csY1013"/>
              </a:cxn>
              <a:cxn ang="0">
                <a:pos x="csX1014" y="csY1014"/>
              </a:cxn>
              <a:cxn ang="0">
                <a:pos x="csX1015" y="csY1015"/>
              </a:cxn>
              <a:cxn ang="0">
                <a:pos x="csX1016" y="csY1016"/>
              </a:cxn>
              <a:cxn ang="0">
                <a:pos x="csX1017" y="csY1017"/>
              </a:cxn>
              <a:cxn ang="0">
                <a:pos x="csX1018" y="csY1018"/>
              </a:cxn>
              <a:cxn ang="0">
                <a:pos x="csX1019" y="csY1019"/>
              </a:cxn>
              <a:cxn ang="0">
                <a:pos x="csX1020" y="csY1020"/>
              </a:cxn>
              <a:cxn ang="0">
                <a:pos x="csX1021" y="csY1021"/>
              </a:cxn>
              <a:cxn ang="0">
                <a:pos x="csX1022" y="csY1022"/>
              </a:cxn>
              <a:cxn ang="0">
                <a:pos x="csX1023" y="csY1023"/>
              </a:cxn>
              <a:cxn ang="0">
                <a:pos x="csX1024" y="csY1024"/>
              </a:cxn>
              <a:cxn ang="0">
                <a:pos x="csX1025" y="csY1025"/>
              </a:cxn>
              <a:cxn ang="0">
                <a:pos x="csX1026" y="csY1026"/>
              </a:cxn>
              <a:cxn ang="0">
                <a:pos x="csX1027" y="csY1027"/>
              </a:cxn>
              <a:cxn ang="0">
                <a:pos x="csX1028" y="csY1028"/>
              </a:cxn>
              <a:cxn ang="0">
                <a:pos x="csX1029" y="csY1029"/>
              </a:cxn>
              <a:cxn ang="0">
                <a:pos x="csX1030" y="csY1030"/>
              </a:cxn>
              <a:cxn ang="0">
                <a:pos x="csX1031" y="csY1031"/>
              </a:cxn>
              <a:cxn ang="0">
                <a:pos x="csX1032" y="csY1032"/>
              </a:cxn>
              <a:cxn ang="0">
                <a:pos x="csX1033" y="csY1033"/>
              </a:cxn>
              <a:cxn ang="0">
                <a:pos x="csX1034" y="csY1034"/>
              </a:cxn>
              <a:cxn ang="0">
                <a:pos x="csX1035" y="csY1035"/>
              </a:cxn>
              <a:cxn ang="0">
                <a:pos x="csX1036" y="csY1036"/>
              </a:cxn>
              <a:cxn ang="0">
                <a:pos x="csX1037" y="csY1037"/>
              </a:cxn>
              <a:cxn ang="0">
                <a:pos x="csX1038" y="csY1038"/>
              </a:cxn>
              <a:cxn ang="0">
                <a:pos x="csX1039" y="csY1039"/>
              </a:cxn>
              <a:cxn ang="0">
                <a:pos x="csX1040" y="csY1040"/>
              </a:cxn>
              <a:cxn ang="0">
                <a:pos x="csX1041" y="csY1041"/>
              </a:cxn>
              <a:cxn ang="0">
                <a:pos x="csX1042" y="csY1042"/>
              </a:cxn>
              <a:cxn ang="0">
                <a:pos x="csX1043" y="csY1043"/>
              </a:cxn>
              <a:cxn ang="0">
                <a:pos x="csX1044" y="csY1044"/>
              </a:cxn>
              <a:cxn ang="0">
                <a:pos x="csX1045" y="csY1045"/>
              </a:cxn>
              <a:cxn ang="0">
                <a:pos x="csX1046" y="csY1046"/>
              </a:cxn>
              <a:cxn ang="0">
                <a:pos x="csX1047" y="csY1047"/>
              </a:cxn>
              <a:cxn ang="0">
                <a:pos x="csX1048" y="csY1048"/>
              </a:cxn>
              <a:cxn ang="0">
                <a:pos x="csX1049" y="csY1049"/>
              </a:cxn>
              <a:cxn ang="0">
                <a:pos x="csX1050" y="csY1050"/>
              </a:cxn>
              <a:cxn ang="0">
                <a:pos x="csX1051" y="csY1051"/>
              </a:cxn>
              <a:cxn ang="0">
                <a:pos x="csX1052" y="csY1052"/>
              </a:cxn>
              <a:cxn ang="0">
                <a:pos x="csX1053" y="csY1053"/>
              </a:cxn>
              <a:cxn ang="0">
                <a:pos x="csX1054" y="csY1054"/>
              </a:cxn>
            </a:cxnLst>
            <a:rect l="l" t="t" r="r" b="b"/>
            <a:pathLst>
              <a:path w="1609516" h="1538630">
                <a:moveTo>
                  <a:pt x="401579" y="1495809"/>
                </a:moveTo>
                <a:lnTo>
                  <a:pt x="400190" y="1496004"/>
                </a:lnTo>
                <a:lnTo>
                  <a:pt x="401224" y="1496470"/>
                </a:lnTo>
                <a:lnTo>
                  <a:pt x="401224" y="1498590"/>
                </a:lnTo>
                <a:lnTo>
                  <a:pt x="401579" y="1498628"/>
                </a:lnTo>
                <a:cubicBezTo>
                  <a:pt x="401579" y="1497698"/>
                  <a:pt x="401579" y="1496768"/>
                  <a:pt x="401579" y="1495809"/>
                </a:cubicBezTo>
                <a:close/>
                <a:moveTo>
                  <a:pt x="368755" y="1486512"/>
                </a:moveTo>
                <a:lnTo>
                  <a:pt x="364089" y="1487354"/>
                </a:lnTo>
                <a:lnTo>
                  <a:pt x="364089" y="1487908"/>
                </a:lnTo>
                <a:close/>
                <a:moveTo>
                  <a:pt x="1049801" y="1484562"/>
                </a:moveTo>
                <a:lnTo>
                  <a:pt x="1046735" y="1485945"/>
                </a:lnTo>
                <a:lnTo>
                  <a:pt x="1046955" y="1486045"/>
                </a:lnTo>
                <a:lnTo>
                  <a:pt x="1049801" y="1485188"/>
                </a:lnTo>
                <a:close/>
                <a:moveTo>
                  <a:pt x="351234" y="1444508"/>
                </a:moveTo>
                <a:lnTo>
                  <a:pt x="351234" y="1444997"/>
                </a:lnTo>
                <a:lnTo>
                  <a:pt x="351592" y="1445078"/>
                </a:lnTo>
                <a:close/>
                <a:moveTo>
                  <a:pt x="351908" y="1431206"/>
                </a:moveTo>
                <a:lnTo>
                  <a:pt x="351234" y="1431611"/>
                </a:lnTo>
                <a:lnTo>
                  <a:pt x="351234" y="1432274"/>
                </a:lnTo>
                <a:close/>
                <a:moveTo>
                  <a:pt x="358162" y="1421494"/>
                </a:moveTo>
                <a:lnTo>
                  <a:pt x="355921" y="1423156"/>
                </a:lnTo>
                <a:lnTo>
                  <a:pt x="355921" y="1423548"/>
                </a:lnTo>
                <a:close/>
                <a:moveTo>
                  <a:pt x="376098" y="1408347"/>
                </a:moveTo>
                <a:lnTo>
                  <a:pt x="370750" y="1412245"/>
                </a:lnTo>
                <a:lnTo>
                  <a:pt x="375023" y="1411256"/>
                </a:lnTo>
                <a:close/>
                <a:moveTo>
                  <a:pt x="421956" y="1365623"/>
                </a:moveTo>
                <a:lnTo>
                  <a:pt x="421765" y="1366161"/>
                </a:lnTo>
                <a:lnTo>
                  <a:pt x="421887" y="1366161"/>
                </a:lnTo>
                <a:close/>
                <a:moveTo>
                  <a:pt x="754553" y="1360575"/>
                </a:moveTo>
                <a:lnTo>
                  <a:pt x="754089" y="1361433"/>
                </a:lnTo>
                <a:lnTo>
                  <a:pt x="754431" y="1361125"/>
                </a:lnTo>
                <a:close/>
                <a:moveTo>
                  <a:pt x="1277973" y="1332923"/>
                </a:moveTo>
                <a:lnTo>
                  <a:pt x="1277944" y="1332936"/>
                </a:lnTo>
                <a:lnTo>
                  <a:pt x="1277949" y="1333139"/>
                </a:lnTo>
                <a:close/>
                <a:moveTo>
                  <a:pt x="1268556" y="1321066"/>
                </a:moveTo>
                <a:cubicBezTo>
                  <a:pt x="1268556" y="1322461"/>
                  <a:pt x="1268556" y="1323856"/>
                  <a:pt x="1268556" y="1325294"/>
                </a:cubicBezTo>
                <a:cubicBezTo>
                  <a:pt x="1267525" y="1325294"/>
                  <a:pt x="1266495" y="1325294"/>
                  <a:pt x="1265432" y="1325294"/>
                </a:cubicBezTo>
                <a:cubicBezTo>
                  <a:pt x="1265432" y="1330409"/>
                  <a:pt x="1265432" y="1335525"/>
                  <a:pt x="1265432" y="1340795"/>
                </a:cubicBezTo>
                <a:lnTo>
                  <a:pt x="1265476" y="1340714"/>
                </a:lnTo>
                <a:lnTo>
                  <a:pt x="1265476" y="1325877"/>
                </a:lnTo>
                <a:cubicBezTo>
                  <a:pt x="1266507" y="1325877"/>
                  <a:pt x="1267538" y="1325877"/>
                  <a:pt x="1268600" y="1325877"/>
                </a:cubicBezTo>
                <a:cubicBezTo>
                  <a:pt x="1268600" y="1324482"/>
                  <a:pt x="1268600" y="1323086"/>
                  <a:pt x="1268600" y="1321649"/>
                </a:cubicBezTo>
                <a:cubicBezTo>
                  <a:pt x="1270147" y="1321649"/>
                  <a:pt x="1271693" y="1321649"/>
                  <a:pt x="1273286" y="1321649"/>
                </a:cubicBezTo>
                <a:lnTo>
                  <a:pt x="1273227" y="1321066"/>
                </a:lnTo>
                <a:close/>
                <a:moveTo>
                  <a:pt x="827891" y="1291474"/>
                </a:moveTo>
                <a:lnTo>
                  <a:pt x="822601" y="1291544"/>
                </a:lnTo>
                <a:lnTo>
                  <a:pt x="818272" y="1292220"/>
                </a:lnTo>
                <a:lnTo>
                  <a:pt x="827891" y="1292047"/>
                </a:lnTo>
                <a:close/>
                <a:moveTo>
                  <a:pt x="856397" y="1288691"/>
                </a:moveTo>
                <a:lnTo>
                  <a:pt x="865903" y="1290590"/>
                </a:lnTo>
                <a:lnTo>
                  <a:pt x="859999" y="1288752"/>
                </a:lnTo>
                <a:close/>
                <a:moveTo>
                  <a:pt x="834694" y="1288572"/>
                </a:moveTo>
                <a:lnTo>
                  <a:pt x="828038" y="1288654"/>
                </a:lnTo>
                <a:lnTo>
                  <a:pt x="828038" y="1289214"/>
                </a:lnTo>
                <a:close/>
                <a:moveTo>
                  <a:pt x="229746" y="1191418"/>
                </a:moveTo>
                <a:lnTo>
                  <a:pt x="227402" y="1191947"/>
                </a:lnTo>
                <a:lnTo>
                  <a:pt x="229315" y="1191947"/>
                </a:lnTo>
                <a:cubicBezTo>
                  <a:pt x="229315" y="1192877"/>
                  <a:pt x="229315" y="1193807"/>
                  <a:pt x="229315" y="1194765"/>
                </a:cubicBezTo>
                <a:lnTo>
                  <a:pt x="231321" y="1194765"/>
                </a:lnTo>
                <a:lnTo>
                  <a:pt x="229746" y="1194236"/>
                </a:lnTo>
                <a:cubicBezTo>
                  <a:pt x="229746" y="1193306"/>
                  <a:pt x="229746" y="1192376"/>
                  <a:pt x="229746" y="1191418"/>
                </a:cubicBezTo>
                <a:close/>
                <a:moveTo>
                  <a:pt x="215687" y="1187190"/>
                </a:moveTo>
                <a:lnTo>
                  <a:pt x="215198" y="1187720"/>
                </a:lnTo>
                <a:lnTo>
                  <a:pt x="215256" y="1187720"/>
                </a:lnTo>
                <a:cubicBezTo>
                  <a:pt x="215256" y="1189115"/>
                  <a:pt x="215256" y="1190510"/>
                  <a:pt x="215256" y="1191947"/>
                </a:cubicBezTo>
                <a:lnTo>
                  <a:pt x="222721" y="1191947"/>
                </a:lnTo>
                <a:lnTo>
                  <a:pt x="215687" y="1191418"/>
                </a:lnTo>
                <a:cubicBezTo>
                  <a:pt x="215687" y="1190023"/>
                  <a:pt x="215687" y="1188628"/>
                  <a:pt x="215687" y="1187190"/>
                </a:cubicBezTo>
                <a:close/>
                <a:moveTo>
                  <a:pt x="1279678" y="1082356"/>
                </a:moveTo>
                <a:lnTo>
                  <a:pt x="1271680" y="1084589"/>
                </a:lnTo>
                <a:lnTo>
                  <a:pt x="1282181" y="1082544"/>
                </a:lnTo>
                <a:close/>
                <a:moveTo>
                  <a:pt x="117703" y="941507"/>
                </a:moveTo>
                <a:lnTo>
                  <a:pt x="112587" y="941985"/>
                </a:lnTo>
                <a:lnTo>
                  <a:pt x="112565" y="942333"/>
                </a:lnTo>
                <a:lnTo>
                  <a:pt x="115665" y="941837"/>
                </a:lnTo>
                <a:close/>
                <a:moveTo>
                  <a:pt x="144268" y="939395"/>
                </a:moveTo>
                <a:lnTo>
                  <a:pt x="143354" y="939580"/>
                </a:lnTo>
                <a:lnTo>
                  <a:pt x="144077" y="939739"/>
                </a:lnTo>
                <a:close/>
                <a:moveTo>
                  <a:pt x="162575" y="933530"/>
                </a:moveTo>
                <a:lnTo>
                  <a:pt x="161704" y="935101"/>
                </a:lnTo>
                <a:lnTo>
                  <a:pt x="170045" y="933585"/>
                </a:lnTo>
                <a:close/>
                <a:moveTo>
                  <a:pt x="1321645" y="918415"/>
                </a:moveTo>
                <a:lnTo>
                  <a:pt x="1321534" y="920177"/>
                </a:lnTo>
                <a:lnTo>
                  <a:pt x="1321740" y="918415"/>
                </a:lnTo>
                <a:close/>
                <a:moveTo>
                  <a:pt x="1319333" y="915183"/>
                </a:moveTo>
                <a:lnTo>
                  <a:pt x="1318544" y="918029"/>
                </a:lnTo>
                <a:lnTo>
                  <a:pt x="1318702" y="918029"/>
                </a:lnTo>
                <a:close/>
                <a:moveTo>
                  <a:pt x="1326355" y="907109"/>
                </a:moveTo>
                <a:lnTo>
                  <a:pt x="1326355" y="910983"/>
                </a:lnTo>
                <a:lnTo>
                  <a:pt x="1325831" y="911101"/>
                </a:lnTo>
                <a:lnTo>
                  <a:pt x="1326426" y="911369"/>
                </a:lnTo>
                <a:cubicBezTo>
                  <a:pt x="1326426" y="909974"/>
                  <a:pt x="1326426" y="908579"/>
                  <a:pt x="1326426" y="907141"/>
                </a:cubicBezTo>
                <a:close/>
                <a:moveTo>
                  <a:pt x="1328144" y="892192"/>
                </a:moveTo>
                <a:lnTo>
                  <a:pt x="1327667" y="893446"/>
                </a:lnTo>
                <a:lnTo>
                  <a:pt x="1327989" y="893049"/>
                </a:lnTo>
                <a:close/>
                <a:moveTo>
                  <a:pt x="49605" y="887420"/>
                </a:moveTo>
                <a:lnTo>
                  <a:pt x="48549" y="891229"/>
                </a:lnTo>
                <a:lnTo>
                  <a:pt x="49956" y="887420"/>
                </a:lnTo>
                <a:close/>
                <a:moveTo>
                  <a:pt x="1332266" y="883369"/>
                </a:moveTo>
                <a:lnTo>
                  <a:pt x="1329479" y="884207"/>
                </a:lnTo>
                <a:lnTo>
                  <a:pt x="1329509" y="884816"/>
                </a:lnTo>
                <a:lnTo>
                  <a:pt x="1329551" y="884594"/>
                </a:lnTo>
                <a:close/>
                <a:moveTo>
                  <a:pt x="1555987" y="821766"/>
                </a:moveTo>
                <a:lnTo>
                  <a:pt x="1555987" y="822201"/>
                </a:lnTo>
                <a:lnTo>
                  <a:pt x="1556081" y="822189"/>
                </a:lnTo>
                <a:close/>
                <a:moveTo>
                  <a:pt x="1565360" y="810928"/>
                </a:moveTo>
                <a:lnTo>
                  <a:pt x="1564871" y="811809"/>
                </a:lnTo>
                <a:lnTo>
                  <a:pt x="1567314" y="810928"/>
                </a:lnTo>
                <a:close/>
                <a:moveTo>
                  <a:pt x="1563797" y="810928"/>
                </a:moveTo>
                <a:lnTo>
                  <a:pt x="1556762" y="814736"/>
                </a:lnTo>
                <a:lnTo>
                  <a:pt x="1563797" y="812197"/>
                </a:lnTo>
                <a:close/>
                <a:moveTo>
                  <a:pt x="265833" y="806020"/>
                </a:moveTo>
                <a:lnTo>
                  <a:pt x="263704" y="809861"/>
                </a:lnTo>
                <a:lnTo>
                  <a:pt x="263704" y="816750"/>
                </a:lnTo>
                <a:lnTo>
                  <a:pt x="264113" y="816565"/>
                </a:lnTo>
                <a:cubicBezTo>
                  <a:pt x="264048" y="815315"/>
                  <a:pt x="263984" y="814065"/>
                  <a:pt x="263918" y="812777"/>
                </a:cubicBezTo>
                <a:close/>
                <a:moveTo>
                  <a:pt x="263774" y="779374"/>
                </a:moveTo>
                <a:lnTo>
                  <a:pt x="263704" y="783086"/>
                </a:lnTo>
                <a:cubicBezTo>
                  <a:pt x="263961" y="783987"/>
                  <a:pt x="264219" y="784888"/>
                  <a:pt x="264484" y="785816"/>
                </a:cubicBezTo>
                <a:cubicBezTo>
                  <a:pt x="265299" y="788846"/>
                  <a:pt x="265316" y="791337"/>
                  <a:pt x="265265" y="794448"/>
                </a:cubicBezTo>
                <a:cubicBezTo>
                  <a:pt x="265103" y="797155"/>
                  <a:pt x="265022" y="798508"/>
                  <a:pt x="265217" y="799730"/>
                </a:cubicBezTo>
                <a:lnTo>
                  <a:pt x="266556" y="803466"/>
                </a:lnTo>
                <a:lnTo>
                  <a:pt x="267237" y="801063"/>
                </a:lnTo>
                <a:cubicBezTo>
                  <a:pt x="266721" y="800598"/>
                  <a:pt x="266206" y="800133"/>
                  <a:pt x="265675" y="799654"/>
                </a:cubicBezTo>
                <a:cubicBezTo>
                  <a:pt x="265601" y="797718"/>
                  <a:pt x="265617" y="795778"/>
                  <a:pt x="265675" y="793841"/>
                </a:cubicBezTo>
                <a:close/>
                <a:moveTo>
                  <a:pt x="260988" y="770061"/>
                </a:moveTo>
                <a:lnTo>
                  <a:pt x="260988" y="771364"/>
                </a:lnTo>
                <a:lnTo>
                  <a:pt x="263497" y="777263"/>
                </a:lnTo>
                <a:lnTo>
                  <a:pt x="262551" y="770061"/>
                </a:lnTo>
                <a:cubicBezTo>
                  <a:pt x="262035" y="770061"/>
                  <a:pt x="261520" y="770061"/>
                  <a:pt x="260988" y="770061"/>
                </a:cubicBezTo>
                <a:close/>
                <a:moveTo>
                  <a:pt x="157888" y="651686"/>
                </a:moveTo>
                <a:lnTo>
                  <a:pt x="157415" y="651764"/>
                </a:lnTo>
                <a:lnTo>
                  <a:pt x="160373" y="652274"/>
                </a:lnTo>
                <a:close/>
                <a:moveTo>
                  <a:pt x="267237" y="426537"/>
                </a:moveTo>
                <a:lnTo>
                  <a:pt x="267237" y="427619"/>
                </a:lnTo>
                <a:cubicBezTo>
                  <a:pt x="268274" y="427791"/>
                  <a:pt x="269311" y="427961"/>
                  <a:pt x="270380" y="428137"/>
                </a:cubicBezTo>
                <a:lnTo>
                  <a:pt x="273548" y="428680"/>
                </a:lnTo>
                <a:close/>
                <a:moveTo>
                  <a:pt x="37605" y="359270"/>
                </a:moveTo>
                <a:lnTo>
                  <a:pt x="37103" y="361533"/>
                </a:lnTo>
                <a:lnTo>
                  <a:pt x="37605" y="361382"/>
                </a:lnTo>
                <a:close/>
                <a:moveTo>
                  <a:pt x="52477" y="337570"/>
                </a:moveTo>
                <a:lnTo>
                  <a:pt x="47288" y="342340"/>
                </a:lnTo>
                <a:lnTo>
                  <a:pt x="45805" y="345093"/>
                </a:lnTo>
                <a:close/>
                <a:moveTo>
                  <a:pt x="104291" y="336166"/>
                </a:moveTo>
                <a:lnTo>
                  <a:pt x="103776" y="337559"/>
                </a:lnTo>
                <a:lnTo>
                  <a:pt x="108925" y="336166"/>
                </a:lnTo>
                <a:close/>
                <a:moveTo>
                  <a:pt x="1309237" y="322954"/>
                </a:moveTo>
                <a:lnTo>
                  <a:pt x="1309180" y="330559"/>
                </a:lnTo>
                <a:lnTo>
                  <a:pt x="1309237" y="330520"/>
                </a:lnTo>
                <a:close/>
                <a:moveTo>
                  <a:pt x="1308964" y="317715"/>
                </a:moveTo>
                <a:lnTo>
                  <a:pt x="1309237" y="318569"/>
                </a:lnTo>
                <a:lnTo>
                  <a:pt x="1309237" y="317838"/>
                </a:lnTo>
                <a:close/>
                <a:moveTo>
                  <a:pt x="1310087" y="313153"/>
                </a:moveTo>
                <a:lnTo>
                  <a:pt x="1307609" y="313473"/>
                </a:lnTo>
                <a:lnTo>
                  <a:pt x="1308045" y="314836"/>
                </a:lnTo>
                <a:close/>
                <a:moveTo>
                  <a:pt x="1318544" y="312064"/>
                </a:moveTo>
                <a:lnTo>
                  <a:pt x="1316298" y="312353"/>
                </a:lnTo>
                <a:lnTo>
                  <a:pt x="1318544" y="312205"/>
                </a:lnTo>
                <a:close/>
                <a:moveTo>
                  <a:pt x="1084622" y="267674"/>
                </a:moveTo>
                <a:lnTo>
                  <a:pt x="1084227" y="268378"/>
                </a:lnTo>
                <a:cubicBezTo>
                  <a:pt x="1082679" y="268378"/>
                  <a:pt x="1081133" y="268378"/>
                  <a:pt x="1079540" y="268378"/>
                </a:cubicBezTo>
                <a:lnTo>
                  <a:pt x="1079603" y="268477"/>
                </a:lnTo>
                <a:lnTo>
                  <a:pt x="1084192" y="268477"/>
                </a:lnTo>
                <a:close/>
                <a:moveTo>
                  <a:pt x="956410" y="266968"/>
                </a:moveTo>
                <a:lnTo>
                  <a:pt x="957576" y="267083"/>
                </a:lnTo>
                <a:lnTo>
                  <a:pt x="957576" y="269776"/>
                </a:lnTo>
                <a:lnTo>
                  <a:pt x="957694" y="269787"/>
                </a:lnTo>
                <a:cubicBezTo>
                  <a:pt x="957694" y="268857"/>
                  <a:pt x="957694" y="267927"/>
                  <a:pt x="957694" y="266968"/>
                </a:cubicBezTo>
                <a:close/>
                <a:moveTo>
                  <a:pt x="1089372" y="259220"/>
                </a:moveTo>
                <a:lnTo>
                  <a:pt x="1085856" y="265479"/>
                </a:lnTo>
                <a:lnTo>
                  <a:pt x="1088878" y="261431"/>
                </a:lnTo>
                <a:close/>
                <a:moveTo>
                  <a:pt x="1018517" y="223356"/>
                </a:moveTo>
                <a:lnTo>
                  <a:pt x="1013866" y="226190"/>
                </a:lnTo>
                <a:lnTo>
                  <a:pt x="1013024" y="227709"/>
                </a:lnTo>
                <a:lnTo>
                  <a:pt x="1017055" y="224692"/>
                </a:lnTo>
                <a:close/>
                <a:moveTo>
                  <a:pt x="850645" y="220099"/>
                </a:moveTo>
                <a:lnTo>
                  <a:pt x="850897" y="221488"/>
                </a:lnTo>
                <a:cubicBezTo>
                  <a:pt x="851086" y="222545"/>
                  <a:pt x="851275" y="223602"/>
                  <a:pt x="851470" y="224692"/>
                </a:cubicBezTo>
                <a:lnTo>
                  <a:pt x="852860" y="224692"/>
                </a:lnTo>
                <a:close/>
                <a:moveTo>
                  <a:pt x="1155019" y="35"/>
                </a:moveTo>
                <a:cubicBezTo>
                  <a:pt x="1161775" y="275"/>
                  <a:pt x="1168415" y="1783"/>
                  <a:pt x="1174829" y="4853"/>
                </a:cubicBezTo>
                <a:cubicBezTo>
                  <a:pt x="1176343" y="5231"/>
                  <a:pt x="1177858" y="5609"/>
                  <a:pt x="1179418" y="5998"/>
                </a:cubicBezTo>
                <a:cubicBezTo>
                  <a:pt x="1189392" y="9487"/>
                  <a:pt x="1196322" y="14392"/>
                  <a:pt x="1201385" y="22997"/>
                </a:cubicBezTo>
                <a:cubicBezTo>
                  <a:pt x="1206849" y="35244"/>
                  <a:pt x="1206940" y="49865"/>
                  <a:pt x="1201678" y="62191"/>
                </a:cubicBezTo>
                <a:cubicBezTo>
                  <a:pt x="1200594" y="64241"/>
                  <a:pt x="1199461" y="66271"/>
                  <a:pt x="1198261" y="68268"/>
                </a:cubicBezTo>
                <a:cubicBezTo>
                  <a:pt x="1197423" y="69721"/>
                  <a:pt x="1196586" y="71175"/>
                  <a:pt x="1195723" y="72672"/>
                </a:cubicBezTo>
                <a:cubicBezTo>
                  <a:pt x="1194659" y="73980"/>
                  <a:pt x="1194659" y="73980"/>
                  <a:pt x="1193575" y="75314"/>
                </a:cubicBezTo>
                <a:cubicBezTo>
                  <a:pt x="1192544" y="75314"/>
                  <a:pt x="1191512" y="75314"/>
                  <a:pt x="1190450" y="75314"/>
                </a:cubicBezTo>
                <a:cubicBezTo>
                  <a:pt x="1190128" y="76651"/>
                  <a:pt x="1189806" y="77988"/>
                  <a:pt x="1189474" y="79366"/>
                </a:cubicBezTo>
                <a:cubicBezTo>
                  <a:pt x="1187326" y="83769"/>
                  <a:pt x="1187326" y="83769"/>
                  <a:pt x="1182445" y="85707"/>
                </a:cubicBezTo>
                <a:cubicBezTo>
                  <a:pt x="1180962" y="85998"/>
                  <a:pt x="1179480" y="86289"/>
                  <a:pt x="1177953" y="86588"/>
                </a:cubicBezTo>
                <a:cubicBezTo>
                  <a:pt x="1177953" y="87518"/>
                  <a:pt x="1177953" y="88448"/>
                  <a:pt x="1177953" y="89406"/>
                </a:cubicBezTo>
                <a:cubicBezTo>
                  <a:pt x="1175369" y="91088"/>
                  <a:pt x="1172720" y="92688"/>
                  <a:pt x="1170045" y="94251"/>
                </a:cubicBezTo>
                <a:cubicBezTo>
                  <a:pt x="1154651" y="104199"/>
                  <a:pt x="1148918" y="116979"/>
                  <a:pt x="1143806" y="132828"/>
                </a:cubicBezTo>
                <a:cubicBezTo>
                  <a:pt x="1142095" y="137144"/>
                  <a:pt x="1140989" y="138617"/>
                  <a:pt x="1137338" y="141548"/>
                </a:cubicBezTo>
                <a:cubicBezTo>
                  <a:pt x="1136166" y="144148"/>
                  <a:pt x="1134992" y="146751"/>
                  <a:pt x="1133970" y="149403"/>
                </a:cubicBezTo>
                <a:cubicBezTo>
                  <a:pt x="1132069" y="154334"/>
                  <a:pt x="1130006" y="159210"/>
                  <a:pt x="1127965" y="164095"/>
                </a:cubicBezTo>
                <a:cubicBezTo>
                  <a:pt x="1126897" y="166664"/>
                  <a:pt x="1125830" y="169233"/>
                  <a:pt x="1124762" y="171802"/>
                </a:cubicBezTo>
                <a:cubicBezTo>
                  <a:pt x="1122961" y="176134"/>
                  <a:pt x="1121160" y="180466"/>
                  <a:pt x="1119359" y="184798"/>
                </a:cubicBezTo>
                <a:cubicBezTo>
                  <a:pt x="1116567" y="191508"/>
                  <a:pt x="1113778" y="198220"/>
                  <a:pt x="1111014" y="204941"/>
                </a:cubicBezTo>
                <a:cubicBezTo>
                  <a:pt x="1110590" y="205970"/>
                  <a:pt x="1110165" y="206999"/>
                  <a:pt x="1109729" y="208059"/>
                </a:cubicBezTo>
                <a:cubicBezTo>
                  <a:pt x="1108615" y="210762"/>
                  <a:pt x="1107505" y="213466"/>
                  <a:pt x="1106395" y="216170"/>
                </a:cubicBezTo>
                <a:cubicBezTo>
                  <a:pt x="1104320" y="220956"/>
                  <a:pt x="1103283" y="223349"/>
                  <a:pt x="1102147" y="224810"/>
                </a:cubicBezTo>
                <a:lnTo>
                  <a:pt x="1098261" y="227262"/>
                </a:lnTo>
                <a:lnTo>
                  <a:pt x="1098367" y="238475"/>
                </a:lnTo>
                <a:cubicBezTo>
                  <a:pt x="1098025" y="239757"/>
                  <a:pt x="1097684" y="241038"/>
                  <a:pt x="1097331" y="242358"/>
                </a:cubicBezTo>
                <a:cubicBezTo>
                  <a:pt x="1096958" y="243711"/>
                  <a:pt x="1096585" y="245064"/>
                  <a:pt x="1096201" y="246458"/>
                </a:cubicBezTo>
                <a:cubicBezTo>
                  <a:pt x="1093302" y="257363"/>
                  <a:pt x="1090901" y="268062"/>
                  <a:pt x="1089440" y="279206"/>
                </a:cubicBezTo>
                <a:cubicBezTo>
                  <a:pt x="1088878" y="282569"/>
                  <a:pt x="1088878" y="282569"/>
                  <a:pt x="1087316" y="283978"/>
                </a:cubicBezTo>
                <a:cubicBezTo>
                  <a:pt x="1087070" y="286587"/>
                  <a:pt x="1086924" y="289205"/>
                  <a:pt x="1086822" y="291822"/>
                </a:cubicBezTo>
                <a:cubicBezTo>
                  <a:pt x="1086756" y="293408"/>
                  <a:pt x="1086691" y="294993"/>
                  <a:pt x="1086623" y="296625"/>
                </a:cubicBezTo>
                <a:cubicBezTo>
                  <a:pt x="1086562" y="298294"/>
                  <a:pt x="1086501" y="299962"/>
                  <a:pt x="1086437" y="301681"/>
                </a:cubicBezTo>
                <a:cubicBezTo>
                  <a:pt x="1086336" y="304192"/>
                  <a:pt x="1086336" y="304192"/>
                  <a:pt x="1086233" y="306754"/>
                </a:cubicBezTo>
                <a:lnTo>
                  <a:pt x="1086007" y="312619"/>
                </a:lnTo>
                <a:lnTo>
                  <a:pt x="1087470" y="320554"/>
                </a:lnTo>
                <a:cubicBezTo>
                  <a:pt x="1089648" y="325409"/>
                  <a:pt x="1093111" y="329799"/>
                  <a:pt x="1098285" y="334611"/>
                </a:cubicBezTo>
                <a:cubicBezTo>
                  <a:pt x="1100424" y="336130"/>
                  <a:pt x="1100424" y="336130"/>
                  <a:pt x="1102607" y="337679"/>
                </a:cubicBezTo>
                <a:cubicBezTo>
                  <a:pt x="1104334" y="338951"/>
                  <a:pt x="1104334" y="338951"/>
                  <a:pt x="1106095" y="340248"/>
                </a:cubicBezTo>
                <a:cubicBezTo>
                  <a:pt x="1106095" y="341178"/>
                  <a:pt x="1106095" y="342108"/>
                  <a:pt x="1106095" y="343066"/>
                </a:cubicBezTo>
                <a:cubicBezTo>
                  <a:pt x="1107127" y="343183"/>
                  <a:pt x="1108158" y="343299"/>
                  <a:pt x="1109220" y="343419"/>
                </a:cubicBezTo>
                <a:cubicBezTo>
                  <a:pt x="1115473" y="344829"/>
                  <a:pt x="1120724" y="347416"/>
                  <a:pt x="1126403" y="350112"/>
                </a:cubicBezTo>
                <a:cubicBezTo>
                  <a:pt x="1128207" y="350926"/>
                  <a:pt x="1130012" y="351740"/>
                  <a:pt x="1131871" y="352579"/>
                </a:cubicBezTo>
                <a:cubicBezTo>
                  <a:pt x="1133159" y="353160"/>
                  <a:pt x="1134448" y="353741"/>
                  <a:pt x="1135776" y="354340"/>
                </a:cubicBezTo>
                <a:cubicBezTo>
                  <a:pt x="1135776" y="355270"/>
                  <a:pt x="1135776" y="356200"/>
                  <a:pt x="1135776" y="357158"/>
                </a:cubicBezTo>
                <a:cubicBezTo>
                  <a:pt x="1148107" y="360029"/>
                  <a:pt x="1158679" y="359101"/>
                  <a:pt x="1170143" y="354340"/>
                </a:cubicBezTo>
                <a:cubicBezTo>
                  <a:pt x="1172366" y="353468"/>
                  <a:pt x="1172366" y="353468"/>
                  <a:pt x="1174634" y="352579"/>
                </a:cubicBezTo>
                <a:cubicBezTo>
                  <a:pt x="1180354" y="349689"/>
                  <a:pt x="1185568" y="346355"/>
                  <a:pt x="1190890" y="342907"/>
                </a:cubicBezTo>
                <a:cubicBezTo>
                  <a:pt x="1195169" y="340228"/>
                  <a:pt x="1199557" y="337821"/>
                  <a:pt x="1204021" y="335404"/>
                </a:cubicBezTo>
                <a:cubicBezTo>
                  <a:pt x="1211989" y="330886"/>
                  <a:pt x="1217509" y="325766"/>
                  <a:pt x="1223255" y="319110"/>
                </a:cubicBezTo>
                <a:cubicBezTo>
                  <a:pt x="1224447" y="317947"/>
                  <a:pt x="1225639" y="316784"/>
                  <a:pt x="1226868" y="315587"/>
                </a:cubicBezTo>
                <a:cubicBezTo>
                  <a:pt x="1229855" y="311593"/>
                  <a:pt x="1230852" y="308240"/>
                  <a:pt x="1231859" y="303559"/>
                </a:cubicBezTo>
                <a:cubicBezTo>
                  <a:pt x="1232628" y="300790"/>
                  <a:pt x="1232628" y="300790"/>
                  <a:pt x="1234178" y="298059"/>
                </a:cubicBezTo>
                <a:cubicBezTo>
                  <a:pt x="1235964" y="294761"/>
                  <a:pt x="1236623" y="291807"/>
                  <a:pt x="1237314" y="288195"/>
                </a:cubicBezTo>
                <a:cubicBezTo>
                  <a:pt x="1239360" y="278571"/>
                  <a:pt x="1242414" y="272733"/>
                  <a:pt x="1249811" y="265559"/>
                </a:cubicBezTo>
                <a:cubicBezTo>
                  <a:pt x="1250842" y="265559"/>
                  <a:pt x="1251873" y="265559"/>
                  <a:pt x="1252935" y="265559"/>
                </a:cubicBezTo>
                <a:cubicBezTo>
                  <a:pt x="1252935" y="264629"/>
                  <a:pt x="1252935" y="263699"/>
                  <a:pt x="1252935" y="262741"/>
                </a:cubicBezTo>
                <a:cubicBezTo>
                  <a:pt x="1265591" y="253427"/>
                  <a:pt x="1280762" y="251648"/>
                  <a:pt x="1296675" y="252876"/>
                </a:cubicBezTo>
                <a:cubicBezTo>
                  <a:pt x="1300535" y="253563"/>
                  <a:pt x="1303901" y="254478"/>
                  <a:pt x="1307609" y="255695"/>
                </a:cubicBezTo>
                <a:cubicBezTo>
                  <a:pt x="1307609" y="256625"/>
                  <a:pt x="1307609" y="257555"/>
                  <a:pt x="1307609" y="258513"/>
                </a:cubicBezTo>
                <a:cubicBezTo>
                  <a:pt x="1309021" y="258619"/>
                  <a:pt x="1310432" y="258723"/>
                  <a:pt x="1311887" y="258832"/>
                </a:cubicBezTo>
                <a:cubicBezTo>
                  <a:pt x="1319573" y="260476"/>
                  <a:pt x="1322149" y="264416"/>
                  <a:pt x="1326715" y="269969"/>
                </a:cubicBezTo>
                <a:cubicBezTo>
                  <a:pt x="1334402" y="281220"/>
                  <a:pt x="1336114" y="294839"/>
                  <a:pt x="1334165" y="307836"/>
                </a:cubicBezTo>
                <a:cubicBezTo>
                  <a:pt x="1332176" y="311898"/>
                  <a:pt x="1332176" y="311898"/>
                  <a:pt x="1329479" y="314882"/>
                </a:cubicBezTo>
                <a:cubicBezTo>
                  <a:pt x="1327417" y="314882"/>
                  <a:pt x="1325355" y="314882"/>
                  <a:pt x="1323231" y="314882"/>
                </a:cubicBezTo>
                <a:cubicBezTo>
                  <a:pt x="1323231" y="315812"/>
                  <a:pt x="1323231" y="316742"/>
                  <a:pt x="1323231" y="317700"/>
                </a:cubicBezTo>
                <a:lnTo>
                  <a:pt x="1322774" y="317838"/>
                </a:lnTo>
                <a:lnTo>
                  <a:pt x="1323295" y="317838"/>
                </a:lnTo>
                <a:cubicBezTo>
                  <a:pt x="1323295" y="316907"/>
                  <a:pt x="1323295" y="315977"/>
                  <a:pt x="1323295" y="315019"/>
                </a:cubicBezTo>
                <a:cubicBezTo>
                  <a:pt x="1324842" y="315019"/>
                  <a:pt x="1326388" y="315019"/>
                  <a:pt x="1327982" y="315019"/>
                </a:cubicBezTo>
                <a:cubicBezTo>
                  <a:pt x="1325845" y="321328"/>
                  <a:pt x="1322753" y="323742"/>
                  <a:pt x="1317047" y="327702"/>
                </a:cubicBezTo>
                <a:cubicBezTo>
                  <a:pt x="1316531" y="329097"/>
                  <a:pt x="1316016" y="330492"/>
                  <a:pt x="1315484" y="331930"/>
                </a:cubicBezTo>
                <a:cubicBezTo>
                  <a:pt x="1312599" y="332959"/>
                  <a:pt x="1312599" y="332959"/>
                  <a:pt x="1309139" y="333603"/>
                </a:cubicBezTo>
                <a:cubicBezTo>
                  <a:pt x="1307993" y="333827"/>
                  <a:pt x="1306847" y="334050"/>
                  <a:pt x="1305666" y="334280"/>
                </a:cubicBezTo>
                <a:cubicBezTo>
                  <a:pt x="1304783" y="334434"/>
                  <a:pt x="1303899" y="334589"/>
                  <a:pt x="1302988" y="334748"/>
                </a:cubicBezTo>
                <a:lnTo>
                  <a:pt x="1305905" y="332775"/>
                </a:lnTo>
                <a:lnTo>
                  <a:pt x="1304485" y="333202"/>
                </a:lnTo>
                <a:cubicBezTo>
                  <a:pt x="1302987" y="334640"/>
                  <a:pt x="1302987" y="334640"/>
                  <a:pt x="1301459" y="336108"/>
                </a:cubicBezTo>
                <a:cubicBezTo>
                  <a:pt x="1298237" y="338839"/>
                  <a:pt x="1298237" y="338839"/>
                  <a:pt x="1291989" y="338839"/>
                </a:cubicBezTo>
                <a:cubicBezTo>
                  <a:pt x="1291473" y="340234"/>
                  <a:pt x="1290957" y="341629"/>
                  <a:pt x="1290426" y="343066"/>
                </a:cubicBezTo>
                <a:cubicBezTo>
                  <a:pt x="1288879" y="343415"/>
                  <a:pt x="1287333" y="343764"/>
                  <a:pt x="1285740" y="344123"/>
                </a:cubicBezTo>
                <a:cubicBezTo>
                  <a:pt x="1266905" y="348491"/>
                  <a:pt x="1249005" y="369098"/>
                  <a:pt x="1237314" y="382525"/>
                </a:cubicBezTo>
                <a:cubicBezTo>
                  <a:pt x="1235678" y="385783"/>
                  <a:pt x="1234122" y="389075"/>
                  <a:pt x="1232628" y="392389"/>
                </a:cubicBezTo>
                <a:cubicBezTo>
                  <a:pt x="1231317" y="394515"/>
                  <a:pt x="1229981" y="396629"/>
                  <a:pt x="1228625" y="398731"/>
                </a:cubicBezTo>
                <a:cubicBezTo>
                  <a:pt x="1221457" y="410300"/>
                  <a:pt x="1219465" y="421836"/>
                  <a:pt x="1222822" y="434798"/>
                </a:cubicBezTo>
                <a:cubicBezTo>
                  <a:pt x="1229360" y="453710"/>
                  <a:pt x="1244088" y="472467"/>
                  <a:pt x="1260746" y="485398"/>
                </a:cubicBezTo>
                <a:cubicBezTo>
                  <a:pt x="1264961" y="487349"/>
                  <a:pt x="1264961" y="487349"/>
                  <a:pt x="1268556" y="488216"/>
                </a:cubicBezTo>
                <a:cubicBezTo>
                  <a:pt x="1268556" y="489146"/>
                  <a:pt x="1268556" y="490076"/>
                  <a:pt x="1268556" y="491034"/>
                </a:cubicBezTo>
                <a:cubicBezTo>
                  <a:pt x="1288790" y="497071"/>
                  <a:pt x="1319055" y="498555"/>
                  <a:pt x="1338852" y="489625"/>
                </a:cubicBezTo>
                <a:cubicBezTo>
                  <a:pt x="1341711" y="489213"/>
                  <a:pt x="1344575" y="488837"/>
                  <a:pt x="1347444" y="488480"/>
                </a:cubicBezTo>
                <a:cubicBezTo>
                  <a:pt x="1355372" y="487345"/>
                  <a:pt x="1362033" y="485390"/>
                  <a:pt x="1369362" y="482513"/>
                </a:cubicBezTo>
                <a:cubicBezTo>
                  <a:pt x="1375665" y="480318"/>
                  <a:pt x="1382189" y="479322"/>
                  <a:pt x="1388840" y="478351"/>
                </a:cubicBezTo>
                <a:cubicBezTo>
                  <a:pt x="1388840" y="477421"/>
                  <a:pt x="1388840" y="476492"/>
                  <a:pt x="1388840" y="475533"/>
                </a:cubicBezTo>
                <a:cubicBezTo>
                  <a:pt x="1391083" y="474821"/>
                  <a:pt x="1393329" y="474118"/>
                  <a:pt x="1395576" y="473419"/>
                </a:cubicBezTo>
                <a:cubicBezTo>
                  <a:pt x="1396827" y="473027"/>
                  <a:pt x="1398077" y="472635"/>
                  <a:pt x="1399365" y="472230"/>
                </a:cubicBezTo>
                <a:cubicBezTo>
                  <a:pt x="1402899" y="471305"/>
                  <a:pt x="1402899" y="471305"/>
                  <a:pt x="1407585" y="471305"/>
                </a:cubicBezTo>
                <a:cubicBezTo>
                  <a:pt x="1408101" y="469910"/>
                  <a:pt x="1408616" y="468515"/>
                  <a:pt x="1409147" y="467078"/>
                </a:cubicBezTo>
                <a:cubicBezTo>
                  <a:pt x="1412388" y="465580"/>
                  <a:pt x="1412388" y="465580"/>
                  <a:pt x="1416470" y="464259"/>
                </a:cubicBezTo>
                <a:cubicBezTo>
                  <a:pt x="1424029" y="461705"/>
                  <a:pt x="1431130" y="458955"/>
                  <a:pt x="1437949" y="455011"/>
                </a:cubicBezTo>
                <a:cubicBezTo>
                  <a:pt x="1442765" y="452574"/>
                  <a:pt x="1447553" y="451394"/>
                  <a:pt x="1452887" y="450167"/>
                </a:cubicBezTo>
                <a:cubicBezTo>
                  <a:pt x="1452887" y="449237"/>
                  <a:pt x="1452887" y="448307"/>
                  <a:pt x="1452887" y="447349"/>
                </a:cubicBezTo>
                <a:cubicBezTo>
                  <a:pt x="1453714" y="446944"/>
                  <a:pt x="1454541" y="446539"/>
                  <a:pt x="1455394" y="446122"/>
                </a:cubicBezTo>
                <a:cubicBezTo>
                  <a:pt x="1459151" y="444278"/>
                  <a:pt x="1462902" y="442422"/>
                  <a:pt x="1466653" y="440567"/>
                </a:cubicBezTo>
                <a:cubicBezTo>
                  <a:pt x="1467955" y="439930"/>
                  <a:pt x="1469256" y="439293"/>
                  <a:pt x="1470598" y="438637"/>
                </a:cubicBezTo>
                <a:cubicBezTo>
                  <a:pt x="1471852" y="438016"/>
                  <a:pt x="1473105" y="437393"/>
                  <a:pt x="1474397" y="436752"/>
                </a:cubicBezTo>
                <a:cubicBezTo>
                  <a:pt x="1475550" y="436184"/>
                  <a:pt x="1476703" y="435616"/>
                  <a:pt x="1477892" y="435030"/>
                </a:cubicBezTo>
                <a:cubicBezTo>
                  <a:pt x="1480966" y="433279"/>
                  <a:pt x="1483173" y="431373"/>
                  <a:pt x="1485691" y="429029"/>
                </a:cubicBezTo>
                <a:cubicBezTo>
                  <a:pt x="1486737" y="428575"/>
                  <a:pt x="1487781" y="428121"/>
                  <a:pt x="1488858" y="427653"/>
                </a:cubicBezTo>
                <a:cubicBezTo>
                  <a:pt x="1492438" y="425977"/>
                  <a:pt x="1493705" y="424453"/>
                  <a:pt x="1495943" y="421454"/>
                </a:cubicBezTo>
                <a:cubicBezTo>
                  <a:pt x="1507114" y="407544"/>
                  <a:pt x="1519758" y="393513"/>
                  <a:pt x="1538608" y="388338"/>
                </a:cubicBezTo>
                <a:cubicBezTo>
                  <a:pt x="1541025" y="388250"/>
                  <a:pt x="1541025" y="388250"/>
                  <a:pt x="1543490" y="388161"/>
                </a:cubicBezTo>
                <a:cubicBezTo>
                  <a:pt x="1545535" y="387984"/>
                  <a:pt x="1545535" y="387984"/>
                  <a:pt x="1547621" y="387804"/>
                </a:cubicBezTo>
                <a:cubicBezTo>
                  <a:pt x="1560659" y="387094"/>
                  <a:pt x="1568716" y="390117"/>
                  <a:pt x="1579418" y="396617"/>
                </a:cubicBezTo>
                <a:cubicBezTo>
                  <a:pt x="1581361" y="397687"/>
                  <a:pt x="1581361" y="397687"/>
                  <a:pt x="1583342" y="398780"/>
                </a:cubicBezTo>
                <a:cubicBezTo>
                  <a:pt x="1593703" y="405068"/>
                  <a:pt x="1598513" y="412459"/>
                  <a:pt x="1601288" y="423392"/>
                </a:cubicBezTo>
                <a:cubicBezTo>
                  <a:pt x="1603295" y="436596"/>
                  <a:pt x="1603517" y="449033"/>
                  <a:pt x="1594484" y="460159"/>
                </a:cubicBezTo>
                <a:cubicBezTo>
                  <a:pt x="1588468" y="466462"/>
                  <a:pt x="1582607" y="471150"/>
                  <a:pt x="1574732" y="475533"/>
                </a:cubicBezTo>
                <a:cubicBezTo>
                  <a:pt x="1573862" y="476043"/>
                  <a:pt x="1572993" y="476553"/>
                  <a:pt x="1572097" y="477078"/>
                </a:cubicBezTo>
                <a:cubicBezTo>
                  <a:pt x="1566828" y="478935"/>
                  <a:pt x="1561641" y="478744"/>
                  <a:pt x="1556066" y="478737"/>
                </a:cubicBezTo>
                <a:cubicBezTo>
                  <a:pt x="1553587" y="478765"/>
                  <a:pt x="1551109" y="478795"/>
                  <a:pt x="1548631" y="478825"/>
                </a:cubicBezTo>
                <a:cubicBezTo>
                  <a:pt x="1544751" y="478857"/>
                  <a:pt x="1540871" y="478880"/>
                  <a:pt x="1536991" y="478889"/>
                </a:cubicBezTo>
                <a:cubicBezTo>
                  <a:pt x="1516714" y="478693"/>
                  <a:pt x="1516714" y="478693"/>
                  <a:pt x="1498188" y="485398"/>
                </a:cubicBezTo>
                <a:cubicBezTo>
                  <a:pt x="1496062" y="486488"/>
                  <a:pt x="1496062" y="486488"/>
                  <a:pt x="1493892" y="487600"/>
                </a:cubicBezTo>
                <a:cubicBezTo>
                  <a:pt x="1492733" y="488268"/>
                  <a:pt x="1491573" y="488937"/>
                  <a:pt x="1490377" y="489625"/>
                </a:cubicBezTo>
                <a:cubicBezTo>
                  <a:pt x="1484304" y="493012"/>
                  <a:pt x="1478212" y="495675"/>
                  <a:pt x="1471650" y="498185"/>
                </a:cubicBezTo>
                <a:cubicBezTo>
                  <a:pt x="1467148" y="500054"/>
                  <a:pt x="1463242" y="502632"/>
                  <a:pt x="1459135" y="505127"/>
                </a:cubicBezTo>
                <a:cubicBezTo>
                  <a:pt x="1456968" y="506120"/>
                  <a:pt x="1454786" y="507086"/>
                  <a:pt x="1452594" y="508033"/>
                </a:cubicBezTo>
                <a:cubicBezTo>
                  <a:pt x="1444148" y="511772"/>
                  <a:pt x="1435969" y="515903"/>
                  <a:pt x="1427795" y="520100"/>
                </a:cubicBezTo>
                <a:cubicBezTo>
                  <a:pt x="1425784" y="521114"/>
                  <a:pt x="1425784" y="521114"/>
                  <a:pt x="1423733" y="522148"/>
                </a:cubicBezTo>
                <a:cubicBezTo>
                  <a:pt x="1422478" y="522798"/>
                  <a:pt x="1421223" y="523449"/>
                  <a:pt x="1419929" y="524118"/>
                </a:cubicBezTo>
                <a:cubicBezTo>
                  <a:pt x="1418794" y="524701"/>
                  <a:pt x="1417658" y="525283"/>
                  <a:pt x="1416487" y="525883"/>
                </a:cubicBezTo>
                <a:cubicBezTo>
                  <a:pt x="1413349" y="527646"/>
                  <a:pt x="1413349" y="527646"/>
                  <a:pt x="1412271" y="531902"/>
                </a:cubicBezTo>
                <a:cubicBezTo>
                  <a:pt x="1407205" y="535203"/>
                  <a:pt x="1402819" y="536744"/>
                  <a:pt x="1396650" y="537539"/>
                </a:cubicBezTo>
                <a:cubicBezTo>
                  <a:pt x="1396650" y="538469"/>
                  <a:pt x="1396650" y="539399"/>
                  <a:pt x="1396650" y="540357"/>
                </a:cubicBezTo>
                <a:cubicBezTo>
                  <a:pt x="1395609" y="540735"/>
                  <a:pt x="1394568" y="541113"/>
                  <a:pt x="1393495" y="541502"/>
                </a:cubicBezTo>
                <a:cubicBezTo>
                  <a:pt x="1381840" y="545973"/>
                  <a:pt x="1372279" y="551715"/>
                  <a:pt x="1362284" y="558678"/>
                </a:cubicBezTo>
                <a:cubicBezTo>
                  <a:pt x="1360170" y="560088"/>
                  <a:pt x="1358055" y="561497"/>
                  <a:pt x="1355937" y="562905"/>
                </a:cubicBezTo>
                <a:cubicBezTo>
                  <a:pt x="1348556" y="567937"/>
                  <a:pt x="1341292" y="573085"/>
                  <a:pt x="1334165" y="578406"/>
                </a:cubicBezTo>
                <a:cubicBezTo>
                  <a:pt x="1332697" y="579472"/>
                  <a:pt x="1332697" y="579472"/>
                  <a:pt x="1331200" y="580559"/>
                </a:cubicBezTo>
                <a:cubicBezTo>
                  <a:pt x="1325067" y="585430"/>
                  <a:pt x="1323406" y="589771"/>
                  <a:pt x="1322175" y="596793"/>
                </a:cubicBezTo>
                <a:cubicBezTo>
                  <a:pt x="1321669" y="599545"/>
                  <a:pt x="1321669" y="599545"/>
                  <a:pt x="1320106" y="602363"/>
                </a:cubicBezTo>
                <a:cubicBezTo>
                  <a:pt x="1318419" y="618189"/>
                  <a:pt x="1322416" y="632767"/>
                  <a:pt x="1328015" y="647640"/>
                </a:cubicBezTo>
                <a:cubicBezTo>
                  <a:pt x="1331267" y="656625"/>
                  <a:pt x="1333170" y="666179"/>
                  <a:pt x="1332604" y="675643"/>
                </a:cubicBezTo>
                <a:cubicBezTo>
                  <a:pt x="1333634" y="675643"/>
                  <a:pt x="1334665" y="675643"/>
                  <a:pt x="1335727" y="675643"/>
                </a:cubicBezTo>
                <a:cubicBezTo>
                  <a:pt x="1337571" y="680632"/>
                  <a:pt x="1337591" y="684795"/>
                  <a:pt x="1337741" y="690059"/>
                </a:cubicBezTo>
                <a:cubicBezTo>
                  <a:pt x="1337826" y="692114"/>
                  <a:pt x="1337913" y="694168"/>
                  <a:pt x="1338003" y="696222"/>
                </a:cubicBezTo>
                <a:cubicBezTo>
                  <a:pt x="1338142" y="699444"/>
                  <a:pt x="1338266" y="702664"/>
                  <a:pt x="1338340" y="705887"/>
                </a:cubicBezTo>
                <a:cubicBezTo>
                  <a:pt x="1338372" y="720474"/>
                  <a:pt x="1338372" y="720474"/>
                  <a:pt x="1345277" y="733245"/>
                </a:cubicBezTo>
                <a:cubicBezTo>
                  <a:pt x="1350822" y="737861"/>
                  <a:pt x="1355921" y="739823"/>
                  <a:pt x="1363162" y="741612"/>
                </a:cubicBezTo>
                <a:cubicBezTo>
                  <a:pt x="1370672" y="743533"/>
                  <a:pt x="1377197" y="745750"/>
                  <a:pt x="1384154" y="748922"/>
                </a:cubicBezTo>
                <a:cubicBezTo>
                  <a:pt x="1387833" y="749898"/>
                  <a:pt x="1387833" y="749898"/>
                  <a:pt x="1391476" y="750419"/>
                </a:cubicBezTo>
                <a:cubicBezTo>
                  <a:pt x="1393499" y="750747"/>
                  <a:pt x="1393499" y="750747"/>
                  <a:pt x="1395564" y="751080"/>
                </a:cubicBezTo>
                <a:cubicBezTo>
                  <a:pt x="1397648" y="751407"/>
                  <a:pt x="1397648" y="751407"/>
                  <a:pt x="1399775" y="751740"/>
                </a:cubicBezTo>
                <a:cubicBezTo>
                  <a:pt x="1401810" y="752111"/>
                  <a:pt x="1401810" y="752111"/>
                  <a:pt x="1403887" y="752489"/>
                </a:cubicBezTo>
                <a:cubicBezTo>
                  <a:pt x="1424247" y="756131"/>
                  <a:pt x="1444708" y="756350"/>
                  <a:pt x="1465383" y="755969"/>
                </a:cubicBezTo>
                <a:cubicBezTo>
                  <a:pt x="1467019" y="755945"/>
                  <a:pt x="1468654" y="755921"/>
                  <a:pt x="1470339" y="755897"/>
                </a:cubicBezTo>
                <a:cubicBezTo>
                  <a:pt x="1480128" y="755450"/>
                  <a:pt x="1487899" y="752933"/>
                  <a:pt x="1496809" y="749313"/>
                </a:cubicBezTo>
                <a:cubicBezTo>
                  <a:pt x="1502876" y="746888"/>
                  <a:pt x="1509049" y="745091"/>
                  <a:pt x="1515371" y="743285"/>
                </a:cubicBezTo>
                <a:cubicBezTo>
                  <a:pt x="1515371" y="742356"/>
                  <a:pt x="1515371" y="741425"/>
                  <a:pt x="1515371" y="740467"/>
                </a:cubicBezTo>
                <a:cubicBezTo>
                  <a:pt x="1522710" y="737103"/>
                  <a:pt x="1529583" y="737106"/>
                  <a:pt x="1537632" y="737120"/>
                </a:cubicBezTo>
                <a:cubicBezTo>
                  <a:pt x="1538960" y="737122"/>
                  <a:pt x="1540289" y="737124"/>
                  <a:pt x="1541657" y="737127"/>
                </a:cubicBezTo>
                <a:cubicBezTo>
                  <a:pt x="1555502" y="737372"/>
                  <a:pt x="1564314" y="740697"/>
                  <a:pt x="1574732" y="748922"/>
                </a:cubicBezTo>
                <a:cubicBezTo>
                  <a:pt x="1586507" y="762822"/>
                  <a:pt x="1590347" y="775219"/>
                  <a:pt x="1588791" y="792608"/>
                </a:cubicBezTo>
                <a:cubicBezTo>
                  <a:pt x="1587728" y="797050"/>
                  <a:pt x="1586468" y="801261"/>
                  <a:pt x="1584105" y="805291"/>
                </a:cubicBezTo>
                <a:cubicBezTo>
                  <a:pt x="1583074" y="805756"/>
                  <a:pt x="1582043" y="806221"/>
                  <a:pt x="1580981" y="806700"/>
                </a:cubicBezTo>
                <a:cubicBezTo>
                  <a:pt x="1580240" y="807892"/>
                  <a:pt x="1579499" y="809083"/>
                  <a:pt x="1578735" y="810311"/>
                </a:cubicBezTo>
                <a:cubicBezTo>
                  <a:pt x="1577930" y="811445"/>
                  <a:pt x="1577124" y="812579"/>
                  <a:pt x="1576295" y="813746"/>
                </a:cubicBezTo>
                <a:lnTo>
                  <a:pt x="1571652" y="813746"/>
                </a:lnTo>
                <a:lnTo>
                  <a:pt x="1571785" y="814106"/>
                </a:lnTo>
                <a:cubicBezTo>
                  <a:pt x="1572816" y="814571"/>
                  <a:pt x="1573846" y="815036"/>
                  <a:pt x="1574909" y="815515"/>
                </a:cubicBezTo>
                <a:cubicBezTo>
                  <a:pt x="1572126" y="818758"/>
                  <a:pt x="1569968" y="820871"/>
                  <a:pt x="1565463" y="821839"/>
                </a:cubicBezTo>
                <a:lnTo>
                  <a:pt x="1562085" y="822101"/>
                </a:lnTo>
                <a:lnTo>
                  <a:pt x="1551301" y="825020"/>
                </a:lnTo>
                <a:cubicBezTo>
                  <a:pt x="1551301" y="825950"/>
                  <a:pt x="1551301" y="826880"/>
                  <a:pt x="1551301" y="827838"/>
                </a:cubicBezTo>
                <a:cubicBezTo>
                  <a:pt x="1526697" y="828735"/>
                  <a:pt x="1507496" y="825036"/>
                  <a:pt x="1485380" y="815007"/>
                </a:cubicBezTo>
                <a:cubicBezTo>
                  <a:pt x="1468723" y="807743"/>
                  <a:pt x="1449749" y="809144"/>
                  <a:pt x="1431603" y="808726"/>
                </a:cubicBezTo>
                <a:cubicBezTo>
                  <a:pt x="1429115" y="808665"/>
                  <a:pt x="1426627" y="808604"/>
                  <a:pt x="1424140" y="808542"/>
                </a:cubicBezTo>
                <a:cubicBezTo>
                  <a:pt x="1418101" y="808392"/>
                  <a:pt x="1412062" y="808249"/>
                  <a:pt x="1406023" y="808109"/>
                </a:cubicBezTo>
                <a:cubicBezTo>
                  <a:pt x="1406023" y="809040"/>
                  <a:pt x="1406023" y="809970"/>
                  <a:pt x="1406023" y="810928"/>
                </a:cubicBezTo>
                <a:cubicBezTo>
                  <a:pt x="1404716" y="811118"/>
                  <a:pt x="1404716" y="811118"/>
                  <a:pt x="1403383" y="811311"/>
                </a:cubicBezTo>
                <a:cubicBezTo>
                  <a:pt x="1372054" y="815110"/>
                  <a:pt x="1372054" y="815110"/>
                  <a:pt x="1345442" y="828907"/>
                </a:cubicBezTo>
                <a:cubicBezTo>
                  <a:pt x="1338843" y="837605"/>
                  <a:pt x="1338313" y="846434"/>
                  <a:pt x="1337875" y="856639"/>
                </a:cubicBezTo>
                <a:cubicBezTo>
                  <a:pt x="1337815" y="857805"/>
                  <a:pt x="1337754" y="858970"/>
                  <a:pt x="1337692" y="860171"/>
                </a:cubicBezTo>
                <a:cubicBezTo>
                  <a:pt x="1337547" y="863016"/>
                  <a:pt x="1337417" y="865861"/>
                  <a:pt x="1337290" y="868706"/>
                </a:cubicBezTo>
                <a:cubicBezTo>
                  <a:pt x="1336258" y="868706"/>
                  <a:pt x="1335228" y="868706"/>
                  <a:pt x="1334165" y="868706"/>
                </a:cubicBezTo>
                <a:lnTo>
                  <a:pt x="1334165" y="870034"/>
                </a:lnTo>
                <a:lnTo>
                  <a:pt x="1334237" y="869093"/>
                </a:lnTo>
                <a:cubicBezTo>
                  <a:pt x="1334753" y="869093"/>
                  <a:pt x="1335268" y="869093"/>
                  <a:pt x="1335800" y="869093"/>
                </a:cubicBezTo>
                <a:cubicBezTo>
                  <a:pt x="1335884" y="871559"/>
                  <a:pt x="1335944" y="874025"/>
                  <a:pt x="1335995" y="876491"/>
                </a:cubicBezTo>
                <a:cubicBezTo>
                  <a:pt x="1336030" y="877865"/>
                  <a:pt x="1336067" y="879238"/>
                  <a:pt x="1336105" y="880653"/>
                </a:cubicBezTo>
                <a:cubicBezTo>
                  <a:pt x="1335800" y="884594"/>
                  <a:pt x="1335800" y="884594"/>
                  <a:pt x="1334294" y="887271"/>
                </a:cubicBezTo>
                <a:cubicBezTo>
                  <a:pt x="1332567" y="890428"/>
                  <a:pt x="1331982" y="892964"/>
                  <a:pt x="1331455" y="896440"/>
                </a:cubicBezTo>
                <a:cubicBezTo>
                  <a:pt x="1331267" y="897605"/>
                  <a:pt x="1331080" y="898769"/>
                  <a:pt x="1330887" y="899969"/>
                </a:cubicBezTo>
                <a:cubicBezTo>
                  <a:pt x="1330704" y="901174"/>
                  <a:pt x="1330521" y="902378"/>
                  <a:pt x="1330332" y="903618"/>
                </a:cubicBezTo>
                <a:cubicBezTo>
                  <a:pt x="1329968" y="906013"/>
                  <a:pt x="1329594" y="908405"/>
                  <a:pt x="1329209" y="910797"/>
                </a:cubicBezTo>
                <a:cubicBezTo>
                  <a:pt x="1329049" y="911853"/>
                  <a:pt x="1328889" y="912910"/>
                  <a:pt x="1328724" y="913998"/>
                </a:cubicBezTo>
                <a:cubicBezTo>
                  <a:pt x="1327933" y="917233"/>
                  <a:pt x="1326525" y="919703"/>
                  <a:pt x="1324865" y="922643"/>
                </a:cubicBezTo>
                <a:cubicBezTo>
                  <a:pt x="1323924" y="927743"/>
                  <a:pt x="1323282" y="932845"/>
                  <a:pt x="1322619" y="937979"/>
                </a:cubicBezTo>
                <a:lnTo>
                  <a:pt x="1318744" y="944961"/>
                </a:lnTo>
                <a:lnTo>
                  <a:pt x="1318544" y="946213"/>
                </a:lnTo>
                <a:cubicBezTo>
                  <a:pt x="1318360" y="949234"/>
                  <a:pt x="1318271" y="952260"/>
                  <a:pt x="1318251" y="955285"/>
                </a:cubicBezTo>
                <a:cubicBezTo>
                  <a:pt x="1318218" y="957637"/>
                  <a:pt x="1318218" y="957637"/>
                  <a:pt x="1318184" y="960036"/>
                </a:cubicBezTo>
                <a:cubicBezTo>
                  <a:pt x="1318624" y="965530"/>
                  <a:pt x="1319569" y="969724"/>
                  <a:pt x="1324024" y="973660"/>
                </a:cubicBezTo>
                <a:cubicBezTo>
                  <a:pt x="1327197" y="976583"/>
                  <a:pt x="1327950" y="979494"/>
                  <a:pt x="1329284" y="983382"/>
                </a:cubicBezTo>
                <a:cubicBezTo>
                  <a:pt x="1331875" y="990106"/>
                  <a:pt x="1334445" y="993582"/>
                  <a:pt x="1340414" y="998354"/>
                </a:cubicBezTo>
                <a:cubicBezTo>
                  <a:pt x="1342397" y="1000564"/>
                  <a:pt x="1344347" y="1002798"/>
                  <a:pt x="1346272" y="1005048"/>
                </a:cubicBezTo>
                <a:cubicBezTo>
                  <a:pt x="1360055" y="1020713"/>
                  <a:pt x="1376247" y="1031879"/>
                  <a:pt x="1394716" y="1042740"/>
                </a:cubicBezTo>
                <a:cubicBezTo>
                  <a:pt x="1397172" y="1044228"/>
                  <a:pt x="1399581" y="1045779"/>
                  <a:pt x="1401953" y="1047374"/>
                </a:cubicBezTo>
                <a:cubicBezTo>
                  <a:pt x="1410065" y="1052802"/>
                  <a:pt x="1417529" y="1056366"/>
                  <a:pt x="1427197" y="1059061"/>
                </a:cubicBezTo>
                <a:cubicBezTo>
                  <a:pt x="1431243" y="1060437"/>
                  <a:pt x="1434061" y="1061979"/>
                  <a:pt x="1437265" y="1064588"/>
                </a:cubicBezTo>
                <a:cubicBezTo>
                  <a:pt x="1437265" y="1065518"/>
                  <a:pt x="1437265" y="1066448"/>
                  <a:pt x="1437265" y="1067406"/>
                </a:cubicBezTo>
                <a:cubicBezTo>
                  <a:pt x="1439053" y="1067624"/>
                  <a:pt x="1439053" y="1067624"/>
                  <a:pt x="1440878" y="1067847"/>
                </a:cubicBezTo>
                <a:cubicBezTo>
                  <a:pt x="1445076" y="1068815"/>
                  <a:pt x="1445076" y="1068815"/>
                  <a:pt x="1447175" y="1070753"/>
                </a:cubicBezTo>
                <a:cubicBezTo>
                  <a:pt x="1450417" y="1073622"/>
                  <a:pt x="1453781" y="1075060"/>
                  <a:pt x="1457866" y="1076830"/>
                </a:cubicBezTo>
                <a:cubicBezTo>
                  <a:pt x="1459274" y="1077446"/>
                  <a:pt x="1460681" y="1078062"/>
                  <a:pt x="1462132" y="1078696"/>
                </a:cubicBezTo>
                <a:cubicBezTo>
                  <a:pt x="1463204" y="1079156"/>
                  <a:pt x="1464278" y="1079616"/>
                  <a:pt x="1465383" y="1080089"/>
                </a:cubicBezTo>
                <a:cubicBezTo>
                  <a:pt x="1465383" y="1081019"/>
                  <a:pt x="1465383" y="1081949"/>
                  <a:pt x="1465383" y="1082908"/>
                </a:cubicBezTo>
                <a:cubicBezTo>
                  <a:pt x="1466497" y="1083260"/>
                  <a:pt x="1467611" y="1083612"/>
                  <a:pt x="1468758" y="1083975"/>
                </a:cubicBezTo>
                <a:cubicBezTo>
                  <a:pt x="1473648" y="1085905"/>
                  <a:pt x="1477426" y="1088296"/>
                  <a:pt x="1481688" y="1091187"/>
                </a:cubicBezTo>
                <a:cubicBezTo>
                  <a:pt x="1483204" y="1092193"/>
                  <a:pt x="1484721" y="1093200"/>
                  <a:pt x="1486283" y="1094236"/>
                </a:cubicBezTo>
                <a:cubicBezTo>
                  <a:pt x="1489170" y="1096185"/>
                  <a:pt x="1492029" y="1098166"/>
                  <a:pt x="1494869" y="1100171"/>
                </a:cubicBezTo>
                <a:cubicBezTo>
                  <a:pt x="1510181" y="1107906"/>
                  <a:pt x="1527080" y="1109898"/>
                  <a:pt x="1544335" y="1109518"/>
                </a:cubicBezTo>
                <a:cubicBezTo>
                  <a:pt x="1579932" y="1108798"/>
                  <a:pt x="1579932" y="1108798"/>
                  <a:pt x="1593477" y="1119900"/>
                </a:cubicBezTo>
                <a:cubicBezTo>
                  <a:pt x="1600636" y="1127255"/>
                  <a:pt x="1604889" y="1135120"/>
                  <a:pt x="1605975" y="1144913"/>
                </a:cubicBezTo>
                <a:cubicBezTo>
                  <a:pt x="1607006" y="1144913"/>
                  <a:pt x="1608036" y="1144913"/>
                  <a:pt x="1609099" y="1144913"/>
                </a:cubicBezTo>
                <a:cubicBezTo>
                  <a:pt x="1609227" y="1148907"/>
                  <a:pt x="1609319" y="1152897"/>
                  <a:pt x="1609392" y="1156892"/>
                </a:cubicBezTo>
                <a:cubicBezTo>
                  <a:pt x="1609451" y="1158565"/>
                  <a:pt x="1609451" y="1158565"/>
                  <a:pt x="1609511" y="1160272"/>
                </a:cubicBezTo>
                <a:cubicBezTo>
                  <a:pt x="1609621" y="1168378"/>
                  <a:pt x="1607970" y="1174108"/>
                  <a:pt x="1604412" y="1181553"/>
                </a:cubicBezTo>
                <a:cubicBezTo>
                  <a:pt x="1603354" y="1184367"/>
                  <a:pt x="1602306" y="1187183"/>
                  <a:pt x="1601288" y="1190009"/>
                </a:cubicBezTo>
                <a:cubicBezTo>
                  <a:pt x="1600257" y="1190009"/>
                  <a:pt x="1599226" y="1190009"/>
                  <a:pt x="1598164" y="1190009"/>
                </a:cubicBezTo>
                <a:cubicBezTo>
                  <a:pt x="1597842" y="1190910"/>
                  <a:pt x="1597520" y="1191810"/>
                  <a:pt x="1597187" y="1192739"/>
                </a:cubicBezTo>
                <a:cubicBezTo>
                  <a:pt x="1596479" y="1193698"/>
                  <a:pt x="1595770" y="1194657"/>
                  <a:pt x="1595040" y="1195645"/>
                </a:cubicBezTo>
                <a:cubicBezTo>
                  <a:pt x="1591916" y="1196115"/>
                  <a:pt x="1588791" y="1196585"/>
                  <a:pt x="1585667" y="1197055"/>
                </a:cubicBezTo>
                <a:cubicBezTo>
                  <a:pt x="1583871" y="1199826"/>
                  <a:pt x="1583871" y="1199826"/>
                  <a:pt x="1582543" y="1202691"/>
                </a:cubicBezTo>
                <a:cubicBezTo>
                  <a:pt x="1575997" y="1204710"/>
                  <a:pt x="1569266" y="1204360"/>
                  <a:pt x="1562431" y="1204365"/>
                </a:cubicBezTo>
                <a:cubicBezTo>
                  <a:pt x="1561196" y="1204382"/>
                  <a:pt x="1559962" y="1204399"/>
                  <a:pt x="1558690" y="1204417"/>
                </a:cubicBezTo>
                <a:cubicBezTo>
                  <a:pt x="1543339" y="1204452"/>
                  <a:pt x="1531981" y="1199267"/>
                  <a:pt x="1521102" y="1189585"/>
                </a:cubicBezTo>
                <a:cubicBezTo>
                  <a:pt x="1515403" y="1183953"/>
                  <a:pt x="1510116" y="1178123"/>
                  <a:pt x="1505022" y="1172041"/>
                </a:cubicBezTo>
                <a:cubicBezTo>
                  <a:pt x="1493200" y="1158177"/>
                  <a:pt x="1475492" y="1147115"/>
                  <a:pt x="1457573" y="1140686"/>
                </a:cubicBezTo>
                <a:cubicBezTo>
                  <a:pt x="1457573" y="1139755"/>
                  <a:pt x="1457573" y="1138826"/>
                  <a:pt x="1457573" y="1137867"/>
                </a:cubicBezTo>
                <a:cubicBezTo>
                  <a:pt x="1456059" y="1137693"/>
                  <a:pt x="1454544" y="1137518"/>
                  <a:pt x="1452985" y="1137339"/>
                </a:cubicBezTo>
                <a:cubicBezTo>
                  <a:pt x="1451406" y="1137048"/>
                  <a:pt x="1449827" y="1136758"/>
                  <a:pt x="1448200" y="1136458"/>
                </a:cubicBezTo>
                <a:cubicBezTo>
                  <a:pt x="1447685" y="1135528"/>
                  <a:pt x="1447169" y="1134598"/>
                  <a:pt x="1446638" y="1133640"/>
                </a:cubicBezTo>
                <a:cubicBezTo>
                  <a:pt x="1444091" y="1132586"/>
                  <a:pt x="1441535" y="1131550"/>
                  <a:pt x="1438937" y="1130601"/>
                </a:cubicBezTo>
                <a:cubicBezTo>
                  <a:pt x="1435668" y="1129399"/>
                  <a:pt x="1432469" y="1128095"/>
                  <a:pt x="1429260" y="1126770"/>
                </a:cubicBezTo>
                <a:cubicBezTo>
                  <a:pt x="1423389" y="1124389"/>
                  <a:pt x="1417431" y="1122349"/>
                  <a:pt x="1411393" y="1120340"/>
                </a:cubicBezTo>
                <a:cubicBezTo>
                  <a:pt x="1404143" y="1117867"/>
                  <a:pt x="1397842" y="1115090"/>
                  <a:pt x="1391427" y="1111191"/>
                </a:cubicBezTo>
                <a:cubicBezTo>
                  <a:pt x="1388139" y="1109274"/>
                  <a:pt x="1384723" y="1108010"/>
                  <a:pt x="1381029" y="1106865"/>
                </a:cubicBezTo>
                <a:cubicBezTo>
                  <a:pt x="1381029" y="1105934"/>
                  <a:pt x="1381029" y="1105004"/>
                  <a:pt x="1381029" y="1104046"/>
                </a:cubicBezTo>
                <a:cubicBezTo>
                  <a:pt x="1379773" y="1103901"/>
                  <a:pt x="1378516" y="1103755"/>
                  <a:pt x="1377221" y="1103605"/>
                </a:cubicBezTo>
                <a:cubicBezTo>
                  <a:pt x="1370425" y="1102422"/>
                  <a:pt x="1364120" y="1100465"/>
                  <a:pt x="1357597" y="1098409"/>
                </a:cubicBezTo>
                <a:cubicBezTo>
                  <a:pt x="1355761" y="1097857"/>
                  <a:pt x="1353924" y="1097304"/>
                  <a:pt x="1352032" y="1096736"/>
                </a:cubicBezTo>
                <a:cubicBezTo>
                  <a:pt x="1350776" y="1096358"/>
                  <a:pt x="1349519" y="1095980"/>
                  <a:pt x="1348225" y="1095590"/>
                </a:cubicBezTo>
                <a:cubicBezTo>
                  <a:pt x="1348225" y="1094661"/>
                  <a:pt x="1348225" y="1093730"/>
                  <a:pt x="1348225" y="1092772"/>
                </a:cubicBezTo>
                <a:cubicBezTo>
                  <a:pt x="1344616" y="1092307"/>
                  <a:pt x="1341007" y="1091842"/>
                  <a:pt x="1337290" y="1091363"/>
                </a:cubicBezTo>
                <a:cubicBezTo>
                  <a:pt x="1337290" y="1090433"/>
                  <a:pt x="1337290" y="1089503"/>
                  <a:pt x="1337290" y="1088544"/>
                </a:cubicBezTo>
                <a:cubicBezTo>
                  <a:pt x="1334438" y="1088327"/>
                  <a:pt x="1334438" y="1088327"/>
                  <a:pt x="1331529" y="1088104"/>
                </a:cubicBezTo>
                <a:lnTo>
                  <a:pt x="1323297" y="1086611"/>
                </a:lnTo>
                <a:lnTo>
                  <a:pt x="1323297" y="1087618"/>
                </a:lnTo>
                <a:cubicBezTo>
                  <a:pt x="1322139" y="1087517"/>
                  <a:pt x="1320982" y="1087415"/>
                  <a:pt x="1319789" y="1087310"/>
                </a:cubicBezTo>
                <a:cubicBezTo>
                  <a:pt x="1300429" y="1085771"/>
                  <a:pt x="1281330" y="1084680"/>
                  <a:pt x="1262375" y="1089028"/>
                </a:cubicBezTo>
                <a:lnTo>
                  <a:pt x="1258728" y="1088205"/>
                </a:lnTo>
                <a:lnTo>
                  <a:pt x="1246964" y="1091489"/>
                </a:lnTo>
                <a:cubicBezTo>
                  <a:pt x="1237239" y="1097222"/>
                  <a:pt x="1228703" y="1103434"/>
                  <a:pt x="1223224" y="1112865"/>
                </a:cubicBezTo>
                <a:cubicBezTo>
                  <a:pt x="1220867" y="1116643"/>
                  <a:pt x="1217262" y="1119317"/>
                  <a:pt x="1213883" y="1122366"/>
                </a:cubicBezTo>
                <a:cubicBezTo>
                  <a:pt x="1213428" y="1123469"/>
                  <a:pt x="1212973" y="1124572"/>
                  <a:pt x="1212505" y="1125708"/>
                </a:cubicBezTo>
                <a:cubicBezTo>
                  <a:pt x="1210449" y="1130067"/>
                  <a:pt x="1207984" y="1132315"/>
                  <a:pt x="1204180" y="1135561"/>
                </a:cubicBezTo>
                <a:cubicBezTo>
                  <a:pt x="1202879" y="1136695"/>
                  <a:pt x="1201578" y="1137829"/>
                  <a:pt x="1200238" y="1138999"/>
                </a:cubicBezTo>
                <a:cubicBezTo>
                  <a:pt x="1197504" y="1141343"/>
                  <a:pt x="1194765" y="1143684"/>
                  <a:pt x="1192025" y="1146022"/>
                </a:cubicBezTo>
                <a:cubicBezTo>
                  <a:pt x="1181899" y="1154869"/>
                  <a:pt x="1174983" y="1161763"/>
                  <a:pt x="1173945" y="1174749"/>
                </a:cubicBezTo>
                <a:cubicBezTo>
                  <a:pt x="1173902" y="1177369"/>
                  <a:pt x="1173905" y="1179990"/>
                  <a:pt x="1173950" y="1182610"/>
                </a:cubicBezTo>
                <a:cubicBezTo>
                  <a:pt x="1173963" y="1183981"/>
                  <a:pt x="1173975" y="1185352"/>
                  <a:pt x="1173989" y="1186765"/>
                </a:cubicBezTo>
                <a:cubicBezTo>
                  <a:pt x="1174321" y="1197573"/>
                  <a:pt x="1176809" y="1205883"/>
                  <a:pt x="1182640" y="1215374"/>
                </a:cubicBezTo>
                <a:cubicBezTo>
                  <a:pt x="1183703" y="1217509"/>
                  <a:pt x="1184746" y="1219652"/>
                  <a:pt x="1185764" y="1221804"/>
                </a:cubicBezTo>
                <a:cubicBezTo>
                  <a:pt x="1186271" y="1222812"/>
                  <a:pt x="1186779" y="1223821"/>
                  <a:pt x="1187301" y="1224859"/>
                </a:cubicBezTo>
                <a:cubicBezTo>
                  <a:pt x="1188431" y="1227137"/>
                  <a:pt x="1189517" y="1229433"/>
                  <a:pt x="1190573" y="1231740"/>
                </a:cubicBezTo>
                <a:cubicBezTo>
                  <a:pt x="1194650" y="1240409"/>
                  <a:pt x="1199581" y="1247688"/>
                  <a:pt x="1205925" y="1255163"/>
                </a:cubicBezTo>
                <a:cubicBezTo>
                  <a:pt x="1208103" y="1257757"/>
                  <a:pt x="1210188" y="1260417"/>
                  <a:pt x="1212174" y="1263134"/>
                </a:cubicBezTo>
                <a:cubicBezTo>
                  <a:pt x="1218757" y="1272043"/>
                  <a:pt x="1225157" y="1277324"/>
                  <a:pt x="1235556" y="1282538"/>
                </a:cubicBezTo>
                <a:cubicBezTo>
                  <a:pt x="1236652" y="1283161"/>
                  <a:pt x="1237747" y="1283784"/>
                  <a:pt x="1238876" y="1284426"/>
                </a:cubicBezTo>
                <a:cubicBezTo>
                  <a:pt x="1238876" y="1285356"/>
                  <a:pt x="1238876" y="1286287"/>
                  <a:pt x="1238876" y="1287245"/>
                </a:cubicBezTo>
                <a:cubicBezTo>
                  <a:pt x="1239988" y="1287383"/>
                  <a:pt x="1241099" y="1287521"/>
                  <a:pt x="1242245" y="1287663"/>
                </a:cubicBezTo>
                <a:cubicBezTo>
                  <a:pt x="1253043" y="1290072"/>
                  <a:pt x="1264916" y="1297690"/>
                  <a:pt x="1271681" y="1305565"/>
                </a:cubicBezTo>
                <a:lnTo>
                  <a:pt x="1271742" y="1306172"/>
                </a:lnTo>
                <a:lnTo>
                  <a:pt x="1278525" y="1315767"/>
                </a:lnTo>
                <a:cubicBezTo>
                  <a:pt x="1279797" y="1319398"/>
                  <a:pt x="1280365" y="1323346"/>
                  <a:pt x="1281097" y="1327286"/>
                </a:cubicBezTo>
                <a:cubicBezTo>
                  <a:pt x="1281916" y="1337121"/>
                  <a:pt x="1281807" y="1346176"/>
                  <a:pt x="1277973" y="1355470"/>
                </a:cubicBezTo>
                <a:lnTo>
                  <a:pt x="1277460" y="1347025"/>
                </a:lnTo>
                <a:lnTo>
                  <a:pt x="1273531" y="1357991"/>
                </a:lnTo>
                <a:cubicBezTo>
                  <a:pt x="1270940" y="1361892"/>
                  <a:pt x="1267521" y="1365435"/>
                  <a:pt x="1263870" y="1368980"/>
                </a:cubicBezTo>
                <a:cubicBezTo>
                  <a:pt x="1258351" y="1372929"/>
                  <a:pt x="1253850" y="1376026"/>
                  <a:pt x="1246686" y="1376026"/>
                </a:cubicBezTo>
                <a:cubicBezTo>
                  <a:pt x="1246686" y="1376956"/>
                  <a:pt x="1246686" y="1377886"/>
                  <a:pt x="1246686" y="1378844"/>
                </a:cubicBezTo>
                <a:cubicBezTo>
                  <a:pt x="1241676" y="1379009"/>
                  <a:pt x="1236665" y="1379109"/>
                  <a:pt x="1231651" y="1379196"/>
                </a:cubicBezTo>
                <a:cubicBezTo>
                  <a:pt x="1230240" y="1379244"/>
                  <a:pt x="1228828" y="1379291"/>
                  <a:pt x="1227373" y="1379340"/>
                </a:cubicBezTo>
                <a:cubicBezTo>
                  <a:pt x="1218287" y="1379460"/>
                  <a:pt x="1213363" y="1378568"/>
                  <a:pt x="1206071" y="1373207"/>
                </a:cubicBezTo>
                <a:cubicBezTo>
                  <a:pt x="1204751" y="1372742"/>
                  <a:pt x="1203430" y="1372277"/>
                  <a:pt x="1202069" y="1371798"/>
                </a:cubicBezTo>
                <a:cubicBezTo>
                  <a:pt x="1193777" y="1368730"/>
                  <a:pt x="1188124" y="1363294"/>
                  <a:pt x="1184104" y="1356176"/>
                </a:cubicBezTo>
                <a:cubicBezTo>
                  <a:pt x="1180965" y="1349259"/>
                  <a:pt x="1178852" y="1342590"/>
                  <a:pt x="1177270" y="1335247"/>
                </a:cubicBezTo>
                <a:cubicBezTo>
                  <a:pt x="1175525" y="1327352"/>
                  <a:pt x="1172911" y="1320677"/>
                  <a:pt x="1169002" y="1313464"/>
                </a:cubicBezTo>
                <a:cubicBezTo>
                  <a:pt x="1166989" y="1309737"/>
                  <a:pt x="1165215" y="1305976"/>
                  <a:pt x="1163504" y="1302130"/>
                </a:cubicBezTo>
                <a:cubicBezTo>
                  <a:pt x="1163013" y="1301027"/>
                  <a:pt x="1162521" y="1299924"/>
                  <a:pt x="1162015" y="1298788"/>
                </a:cubicBezTo>
                <a:cubicBezTo>
                  <a:pt x="1160770" y="1295700"/>
                  <a:pt x="1160770" y="1295700"/>
                  <a:pt x="1160111" y="1292656"/>
                </a:cubicBezTo>
                <a:cubicBezTo>
                  <a:pt x="1159345" y="1289507"/>
                  <a:pt x="1159345" y="1289507"/>
                  <a:pt x="1154522" y="1287245"/>
                </a:cubicBezTo>
                <a:cubicBezTo>
                  <a:pt x="1153465" y="1284902"/>
                  <a:pt x="1152426" y="1282552"/>
                  <a:pt x="1151398" y="1280199"/>
                </a:cubicBezTo>
                <a:cubicBezTo>
                  <a:pt x="1149056" y="1276983"/>
                  <a:pt x="1146686" y="1273874"/>
                  <a:pt x="1144173" y="1270774"/>
                </a:cubicBezTo>
                <a:cubicBezTo>
                  <a:pt x="1143477" y="1269912"/>
                  <a:pt x="1142782" y="1269049"/>
                  <a:pt x="1142065" y="1268160"/>
                </a:cubicBezTo>
                <a:cubicBezTo>
                  <a:pt x="1139981" y="1265589"/>
                  <a:pt x="1137880" y="1263029"/>
                  <a:pt x="1135776" y="1260470"/>
                </a:cubicBezTo>
                <a:cubicBezTo>
                  <a:pt x="1134647" y="1259076"/>
                  <a:pt x="1133517" y="1257683"/>
                  <a:pt x="1132353" y="1256247"/>
                </a:cubicBezTo>
                <a:cubicBezTo>
                  <a:pt x="1126291" y="1249045"/>
                  <a:pt x="1121408" y="1244606"/>
                  <a:pt x="1112344" y="1240741"/>
                </a:cubicBezTo>
                <a:cubicBezTo>
                  <a:pt x="1110285" y="1239698"/>
                  <a:pt x="1108234" y="1238642"/>
                  <a:pt x="1106193" y="1237570"/>
                </a:cubicBezTo>
                <a:cubicBezTo>
                  <a:pt x="1104615" y="1236756"/>
                  <a:pt x="1103036" y="1235942"/>
                  <a:pt x="1101409" y="1235104"/>
                </a:cubicBezTo>
                <a:cubicBezTo>
                  <a:pt x="1101409" y="1233708"/>
                  <a:pt x="1101409" y="1232313"/>
                  <a:pt x="1101409" y="1230876"/>
                </a:cubicBezTo>
                <a:cubicBezTo>
                  <a:pt x="1089553" y="1230876"/>
                  <a:pt x="1077697" y="1230876"/>
                  <a:pt x="1065480" y="1230876"/>
                </a:cubicBezTo>
                <a:cubicBezTo>
                  <a:pt x="1064965" y="1232271"/>
                  <a:pt x="1064450" y="1233666"/>
                  <a:pt x="1063919" y="1235104"/>
                </a:cubicBezTo>
                <a:cubicBezTo>
                  <a:pt x="1062372" y="1235104"/>
                  <a:pt x="1060826" y="1235104"/>
                  <a:pt x="1059232" y="1235104"/>
                </a:cubicBezTo>
                <a:cubicBezTo>
                  <a:pt x="1059232" y="1236033"/>
                  <a:pt x="1059232" y="1236964"/>
                  <a:pt x="1059232" y="1237922"/>
                </a:cubicBezTo>
                <a:cubicBezTo>
                  <a:pt x="1052964" y="1240850"/>
                  <a:pt x="1046842" y="1243613"/>
                  <a:pt x="1040194" y="1245761"/>
                </a:cubicBezTo>
                <a:cubicBezTo>
                  <a:pt x="1036552" y="1246941"/>
                  <a:pt x="1033682" y="1248088"/>
                  <a:pt x="1030333" y="1249901"/>
                </a:cubicBezTo>
                <a:cubicBezTo>
                  <a:pt x="1025129" y="1252717"/>
                  <a:pt x="1019615" y="1254371"/>
                  <a:pt x="1013931" y="1256242"/>
                </a:cubicBezTo>
                <a:cubicBezTo>
                  <a:pt x="1009870" y="1257688"/>
                  <a:pt x="1008221" y="1258277"/>
                  <a:pt x="1005925" y="1261615"/>
                </a:cubicBezTo>
                <a:cubicBezTo>
                  <a:pt x="1005474" y="1262632"/>
                  <a:pt x="1005023" y="1263649"/>
                  <a:pt x="1004558" y="1264697"/>
                </a:cubicBezTo>
                <a:cubicBezTo>
                  <a:pt x="1004030" y="1265774"/>
                  <a:pt x="1003503" y="1266852"/>
                  <a:pt x="1002959" y="1267961"/>
                </a:cubicBezTo>
                <a:cubicBezTo>
                  <a:pt x="1001408" y="1271808"/>
                  <a:pt x="1000922" y="1274896"/>
                  <a:pt x="1000653" y="1278965"/>
                </a:cubicBezTo>
                <a:cubicBezTo>
                  <a:pt x="1000303" y="1284158"/>
                  <a:pt x="999467" y="1289055"/>
                  <a:pt x="998297" y="1294137"/>
                </a:cubicBezTo>
                <a:cubicBezTo>
                  <a:pt x="996204" y="1304306"/>
                  <a:pt x="996129" y="1314460"/>
                  <a:pt x="996162" y="1324765"/>
                </a:cubicBezTo>
                <a:cubicBezTo>
                  <a:pt x="996163" y="1325782"/>
                  <a:pt x="996163" y="1326799"/>
                  <a:pt x="996164" y="1327846"/>
                </a:cubicBezTo>
                <a:cubicBezTo>
                  <a:pt x="996263" y="1353742"/>
                  <a:pt x="1001081" y="1378188"/>
                  <a:pt x="1007780" y="1403329"/>
                </a:cubicBezTo>
                <a:cubicBezTo>
                  <a:pt x="1008163" y="1404772"/>
                  <a:pt x="1008546" y="1406215"/>
                  <a:pt x="1008940" y="1407701"/>
                </a:cubicBezTo>
                <a:cubicBezTo>
                  <a:pt x="1009316" y="1409030"/>
                  <a:pt x="1009693" y="1410360"/>
                  <a:pt x="1010080" y="1411730"/>
                </a:cubicBezTo>
                <a:cubicBezTo>
                  <a:pt x="1010409" y="1412900"/>
                  <a:pt x="1010737" y="1414071"/>
                  <a:pt x="1011075" y="1415277"/>
                </a:cubicBezTo>
                <a:cubicBezTo>
                  <a:pt x="1012501" y="1418612"/>
                  <a:pt x="1014136" y="1420168"/>
                  <a:pt x="1017055" y="1422530"/>
                </a:cubicBezTo>
                <a:cubicBezTo>
                  <a:pt x="1018770" y="1425162"/>
                  <a:pt x="1018770" y="1425162"/>
                  <a:pt x="1020277" y="1427991"/>
                </a:cubicBezTo>
                <a:cubicBezTo>
                  <a:pt x="1020778" y="1428917"/>
                  <a:pt x="1021280" y="1429844"/>
                  <a:pt x="1021796" y="1430798"/>
                </a:cubicBezTo>
                <a:cubicBezTo>
                  <a:pt x="1023303" y="1433804"/>
                  <a:pt x="1023303" y="1433804"/>
                  <a:pt x="1024579" y="1437239"/>
                </a:cubicBezTo>
                <a:cubicBezTo>
                  <a:pt x="1026915" y="1441803"/>
                  <a:pt x="1030098" y="1444534"/>
                  <a:pt x="1034043" y="1448072"/>
                </a:cubicBezTo>
                <a:lnTo>
                  <a:pt x="1043782" y="1464320"/>
                </a:lnTo>
                <a:lnTo>
                  <a:pt x="1050458" y="1472189"/>
                </a:lnTo>
                <a:cubicBezTo>
                  <a:pt x="1051737" y="1475181"/>
                  <a:pt x="1052277" y="1478513"/>
                  <a:pt x="1052926" y="1482370"/>
                </a:cubicBezTo>
                <a:cubicBezTo>
                  <a:pt x="1053325" y="1487224"/>
                  <a:pt x="1053364" y="1492038"/>
                  <a:pt x="1053316" y="1496903"/>
                </a:cubicBezTo>
                <a:cubicBezTo>
                  <a:pt x="1053328" y="1498142"/>
                  <a:pt x="1053340" y="1499382"/>
                  <a:pt x="1053352" y="1500660"/>
                </a:cubicBezTo>
                <a:cubicBezTo>
                  <a:pt x="1053348" y="1501856"/>
                  <a:pt x="1053344" y="1503052"/>
                  <a:pt x="1053341" y="1504285"/>
                </a:cubicBezTo>
                <a:cubicBezTo>
                  <a:pt x="1053336" y="1505355"/>
                  <a:pt x="1053333" y="1506426"/>
                  <a:pt x="1053329" y="1507529"/>
                </a:cubicBezTo>
                <a:cubicBezTo>
                  <a:pt x="1052876" y="1510927"/>
                  <a:pt x="1051672" y="1513237"/>
                  <a:pt x="1049801" y="1516192"/>
                </a:cubicBezTo>
                <a:lnTo>
                  <a:pt x="1047312" y="1516192"/>
                </a:lnTo>
                <a:lnTo>
                  <a:pt x="1043611" y="1522585"/>
                </a:lnTo>
                <a:cubicBezTo>
                  <a:pt x="1035301" y="1529631"/>
                  <a:pt x="1035301" y="1529631"/>
                  <a:pt x="1029552" y="1529631"/>
                </a:cubicBezTo>
                <a:cubicBezTo>
                  <a:pt x="1029294" y="1530503"/>
                  <a:pt x="1029036" y="1531375"/>
                  <a:pt x="1028771" y="1532273"/>
                </a:cubicBezTo>
                <a:cubicBezTo>
                  <a:pt x="1025795" y="1536076"/>
                  <a:pt x="1022970" y="1536733"/>
                  <a:pt x="1018013" y="1537640"/>
                </a:cubicBezTo>
                <a:cubicBezTo>
                  <a:pt x="1005216" y="1539038"/>
                  <a:pt x="992573" y="1539816"/>
                  <a:pt x="981126" y="1533859"/>
                </a:cubicBezTo>
                <a:cubicBezTo>
                  <a:pt x="979840" y="1533226"/>
                  <a:pt x="978553" y="1532594"/>
                  <a:pt x="977227" y="1531943"/>
                </a:cubicBezTo>
                <a:cubicBezTo>
                  <a:pt x="965286" y="1525877"/>
                  <a:pt x="959626" y="1520520"/>
                  <a:pt x="955376" y="1508751"/>
                </a:cubicBezTo>
                <a:cubicBezTo>
                  <a:pt x="954571" y="1505674"/>
                  <a:pt x="954571" y="1505674"/>
                  <a:pt x="954571" y="1500037"/>
                </a:cubicBezTo>
                <a:cubicBezTo>
                  <a:pt x="953539" y="1500037"/>
                  <a:pt x="952508" y="1500037"/>
                  <a:pt x="951446" y="1500037"/>
                </a:cubicBezTo>
                <a:cubicBezTo>
                  <a:pt x="951361" y="1495986"/>
                  <a:pt x="951299" y="1491935"/>
                  <a:pt x="951251" y="1487883"/>
                </a:cubicBezTo>
                <a:cubicBezTo>
                  <a:pt x="951224" y="1486744"/>
                  <a:pt x="951198" y="1485605"/>
                  <a:pt x="951171" y="1484431"/>
                </a:cubicBezTo>
                <a:cubicBezTo>
                  <a:pt x="951110" y="1477657"/>
                  <a:pt x="952093" y="1472660"/>
                  <a:pt x="954571" y="1466216"/>
                </a:cubicBezTo>
                <a:cubicBezTo>
                  <a:pt x="954867" y="1462451"/>
                  <a:pt x="955016" y="1458876"/>
                  <a:pt x="954961" y="1455118"/>
                </a:cubicBezTo>
                <a:cubicBezTo>
                  <a:pt x="954951" y="1454080"/>
                  <a:pt x="954942" y="1453042"/>
                  <a:pt x="954932" y="1451972"/>
                </a:cubicBezTo>
                <a:cubicBezTo>
                  <a:pt x="954606" y="1435235"/>
                  <a:pt x="952568" y="1419050"/>
                  <a:pt x="945099" y="1403594"/>
                </a:cubicBezTo>
                <a:cubicBezTo>
                  <a:pt x="943714" y="1400177"/>
                  <a:pt x="943046" y="1397128"/>
                  <a:pt x="942366" y="1393553"/>
                </a:cubicBezTo>
                <a:cubicBezTo>
                  <a:pt x="940837" y="1386134"/>
                  <a:pt x="937840" y="1379609"/>
                  <a:pt x="934451" y="1372734"/>
                </a:cubicBezTo>
                <a:cubicBezTo>
                  <a:pt x="932701" y="1368980"/>
                  <a:pt x="932701" y="1368980"/>
                  <a:pt x="931974" y="1365754"/>
                </a:cubicBezTo>
                <a:cubicBezTo>
                  <a:pt x="931699" y="1364958"/>
                  <a:pt x="931422" y="1364162"/>
                  <a:pt x="931138" y="1363343"/>
                </a:cubicBezTo>
                <a:cubicBezTo>
                  <a:pt x="929592" y="1362878"/>
                  <a:pt x="928045" y="1362413"/>
                  <a:pt x="926452" y="1361933"/>
                </a:cubicBezTo>
                <a:cubicBezTo>
                  <a:pt x="921830" y="1355261"/>
                  <a:pt x="920323" y="1348382"/>
                  <a:pt x="918641" y="1340795"/>
                </a:cubicBezTo>
                <a:cubicBezTo>
                  <a:pt x="918133" y="1338914"/>
                  <a:pt x="917616" y="1337034"/>
                  <a:pt x="917079" y="1335158"/>
                </a:cubicBezTo>
                <a:cubicBezTo>
                  <a:pt x="916048" y="1335158"/>
                  <a:pt x="915018" y="1335158"/>
                  <a:pt x="913955" y="1335158"/>
                </a:cubicBezTo>
                <a:cubicBezTo>
                  <a:pt x="913329" y="1333718"/>
                  <a:pt x="912703" y="1332277"/>
                  <a:pt x="912057" y="1330793"/>
                </a:cubicBezTo>
                <a:cubicBezTo>
                  <a:pt x="909497" y="1325424"/>
                  <a:pt x="906114" y="1320822"/>
                  <a:pt x="902142" y="1316222"/>
                </a:cubicBezTo>
                <a:cubicBezTo>
                  <a:pt x="901465" y="1315432"/>
                  <a:pt x="900788" y="1314642"/>
                  <a:pt x="900091" y="1313828"/>
                </a:cubicBezTo>
                <a:cubicBezTo>
                  <a:pt x="893705" y="1306618"/>
                  <a:pt x="886350" y="1301049"/>
                  <a:pt x="878026" y="1295700"/>
                </a:cubicBezTo>
                <a:cubicBezTo>
                  <a:pt x="876595" y="1294594"/>
                  <a:pt x="876595" y="1294594"/>
                  <a:pt x="875134" y="1293465"/>
                </a:cubicBezTo>
                <a:lnTo>
                  <a:pt x="869869" y="1291826"/>
                </a:lnTo>
                <a:lnTo>
                  <a:pt x="862384" y="1291327"/>
                </a:lnTo>
                <a:cubicBezTo>
                  <a:pt x="856441" y="1290067"/>
                  <a:pt x="850461" y="1290346"/>
                  <a:pt x="844390" y="1290461"/>
                </a:cubicBezTo>
                <a:cubicBezTo>
                  <a:pt x="842453" y="1290480"/>
                  <a:pt x="842453" y="1290480"/>
                  <a:pt x="840476" y="1290500"/>
                </a:cubicBezTo>
                <a:cubicBezTo>
                  <a:pt x="837322" y="1290532"/>
                  <a:pt x="834169" y="1290583"/>
                  <a:pt x="831015" y="1290637"/>
                </a:cubicBezTo>
                <a:cubicBezTo>
                  <a:pt x="831015" y="1291568"/>
                  <a:pt x="831015" y="1292498"/>
                  <a:pt x="831015" y="1293456"/>
                </a:cubicBezTo>
                <a:cubicBezTo>
                  <a:pt x="826519" y="1294808"/>
                  <a:pt x="822922" y="1295235"/>
                  <a:pt x="818225" y="1295570"/>
                </a:cubicBezTo>
                <a:lnTo>
                  <a:pt x="796774" y="1297671"/>
                </a:lnTo>
                <a:lnTo>
                  <a:pt x="783646" y="1305736"/>
                </a:lnTo>
                <a:cubicBezTo>
                  <a:pt x="776915" y="1312506"/>
                  <a:pt x="772692" y="1318638"/>
                  <a:pt x="769263" y="1327143"/>
                </a:cubicBezTo>
                <a:cubicBezTo>
                  <a:pt x="767116" y="1332340"/>
                  <a:pt x="767116" y="1332340"/>
                  <a:pt x="764797" y="1334360"/>
                </a:cubicBezTo>
                <a:lnTo>
                  <a:pt x="757875" y="1353503"/>
                </a:lnTo>
                <a:lnTo>
                  <a:pt x="755676" y="1367455"/>
                </a:lnTo>
                <a:lnTo>
                  <a:pt x="750558" y="1399690"/>
                </a:lnTo>
                <a:lnTo>
                  <a:pt x="753057" y="1411256"/>
                </a:lnTo>
                <a:cubicBezTo>
                  <a:pt x="753057" y="1413117"/>
                  <a:pt x="753057" y="1414976"/>
                  <a:pt x="753057" y="1416893"/>
                </a:cubicBezTo>
                <a:cubicBezTo>
                  <a:pt x="754087" y="1416893"/>
                  <a:pt x="755119" y="1416893"/>
                  <a:pt x="756181" y="1416893"/>
                </a:cubicBezTo>
                <a:cubicBezTo>
                  <a:pt x="759348" y="1422607"/>
                  <a:pt x="758101" y="1429902"/>
                  <a:pt x="758133" y="1436182"/>
                </a:cubicBezTo>
                <a:cubicBezTo>
                  <a:pt x="758182" y="1438458"/>
                  <a:pt x="758182" y="1438458"/>
                  <a:pt x="758231" y="1440781"/>
                </a:cubicBezTo>
                <a:cubicBezTo>
                  <a:pt x="758283" y="1450271"/>
                  <a:pt x="758174" y="1458360"/>
                  <a:pt x="750713" y="1465704"/>
                </a:cubicBezTo>
                <a:cubicBezTo>
                  <a:pt x="749940" y="1466193"/>
                  <a:pt x="749167" y="1466681"/>
                  <a:pt x="748370" y="1467185"/>
                </a:cubicBezTo>
                <a:cubicBezTo>
                  <a:pt x="743665" y="1470047"/>
                  <a:pt x="743665" y="1470047"/>
                  <a:pt x="741633" y="1473526"/>
                </a:cubicBezTo>
                <a:cubicBezTo>
                  <a:pt x="737793" y="1477248"/>
                  <a:pt x="733582" y="1477483"/>
                  <a:pt x="728154" y="1478343"/>
                </a:cubicBezTo>
                <a:cubicBezTo>
                  <a:pt x="724855" y="1478778"/>
                  <a:pt x="724855" y="1478778"/>
                  <a:pt x="721814" y="1480308"/>
                </a:cubicBezTo>
                <a:cubicBezTo>
                  <a:pt x="717303" y="1480523"/>
                  <a:pt x="712854" y="1480634"/>
                  <a:pt x="708341" y="1480661"/>
                </a:cubicBezTo>
                <a:cubicBezTo>
                  <a:pt x="707118" y="1480690"/>
                  <a:pt x="705896" y="1480719"/>
                  <a:pt x="704637" y="1480748"/>
                </a:cubicBezTo>
                <a:cubicBezTo>
                  <a:pt x="690446" y="1480834"/>
                  <a:pt x="679632" y="1476246"/>
                  <a:pt x="668507" y="1468418"/>
                </a:cubicBezTo>
                <a:cubicBezTo>
                  <a:pt x="662823" y="1463224"/>
                  <a:pt x="661745" y="1456995"/>
                  <a:pt x="660178" y="1450027"/>
                </a:cubicBezTo>
                <a:cubicBezTo>
                  <a:pt x="659725" y="1446589"/>
                  <a:pt x="659725" y="1446589"/>
                  <a:pt x="657767" y="1445078"/>
                </a:cubicBezTo>
                <a:cubicBezTo>
                  <a:pt x="656859" y="1433686"/>
                  <a:pt x="655965" y="1419178"/>
                  <a:pt x="663369" y="1409390"/>
                </a:cubicBezTo>
                <a:cubicBezTo>
                  <a:pt x="666078" y="1406601"/>
                  <a:pt x="668921" y="1404013"/>
                  <a:pt x="671826" y="1401392"/>
                </a:cubicBezTo>
                <a:cubicBezTo>
                  <a:pt x="675197" y="1397623"/>
                  <a:pt x="677125" y="1394916"/>
                  <a:pt x="678075" y="1390118"/>
                </a:cubicBezTo>
                <a:cubicBezTo>
                  <a:pt x="680137" y="1389653"/>
                  <a:pt x="682199" y="1389188"/>
                  <a:pt x="684323" y="1388709"/>
                </a:cubicBezTo>
                <a:cubicBezTo>
                  <a:pt x="684643" y="1387232"/>
                  <a:pt x="684964" y="1385755"/>
                  <a:pt x="685293" y="1384233"/>
                </a:cubicBezTo>
                <a:cubicBezTo>
                  <a:pt x="685718" y="1382290"/>
                  <a:pt x="686144" y="1380347"/>
                  <a:pt x="686569" y="1378404"/>
                </a:cubicBezTo>
                <a:cubicBezTo>
                  <a:pt x="686885" y="1376945"/>
                  <a:pt x="686885" y="1376945"/>
                  <a:pt x="687207" y="1375456"/>
                </a:cubicBezTo>
                <a:cubicBezTo>
                  <a:pt x="688115" y="1371315"/>
                  <a:pt x="689090" y="1367353"/>
                  <a:pt x="690572" y="1363343"/>
                </a:cubicBezTo>
                <a:cubicBezTo>
                  <a:pt x="692411" y="1350128"/>
                  <a:pt x="692374" y="1336672"/>
                  <a:pt x="692495" y="1323376"/>
                </a:cubicBezTo>
                <a:cubicBezTo>
                  <a:pt x="692524" y="1320586"/>
                  <a:pt x="692574" y="1317796"/>
                  <a:pt x="692625" y="1315006"/>
                </a:cubicBezTo>
                <a:cubicBezTo>
                  <a:pt x="692853" y="1300589"/>
                  <a:pt x="692853" y="1300589"/>
                  <a:pt x="687447" y="1287245"/>
                </a:cubicBezTo>
                <a:cubicBezTo>
                  <a:pt x="685901" y="1286780"/>
                  <a:pt x="684354" y="1286315"/>
                  <a:pt x="682761" y="1285835"/>
                </a:cubicBezTo>
                <a:cubicBezTo>
                  <a:pt x="680876" y="1283743"/>
                  <a:pt x="680876" y="1283743"/>
                  <a:pt x="678954" y="1281608"/>
                </a:cubicBezTo>
                <a:cubicBezTo>
                  <a:pt x="674854" y="1277278"/>
                  <a:pt x="674356" y="1276958"/>
                  <a:pt x="668702" y="1275971"/>
                </a:cubicBezTo>
                <a:cubicBezTo>
                  <a:pt x="666619" y="1274092"/>
                  <a:pt x="664536" y="1272213"/>
                  <a:pt x="662454" y="1270334"/>
                </a:cubicBezTo>
                <a:cubicBezTo>
                  <a:pt x="658341" y="1268566"/>
                  <a:pt x="658341" y="1268566"/>
                  <a:pt x="654643" y="1267516"/>
                </a:cubicBezTo>
                <a:cubicBezTo>
                  <a:pt x="654643" y="1266585"/>
                  <a:pt x="654643" y="1265656"/>
                  <a:pt x="654643" y="1264697"/>
                </a:cubicBezTo>
                <a:cubicBezTo>
                  <a:pt x="653161" y="1264581"/>
                  <a:pt x="651679" y="1264465"/>
                  <a:pt x="650152" y="1264345"/>
                </a:cubicBezTo>
                <a:cubicBezTo>
                  <a:pt x="642318" y="1263373"/>
                  <a:pt x="635297" y="1260465"/>
                  <a:pt x="628087" y="1257651"/>
                </a:cubicBezTo>
                <a:cubicBezTo>
                  <a:pt x="628087" y="1256721"/>
                  <a:pt x="628087" y="1255791"/>
                  <a:pt x="628087" y="1254833"/>
                </a:cubicBezTo>
                <a:cubicBezTo>
                  <a:pt x="627108" y="1254662"/>
                  <a:pt x="626129" y="1254491"/>
                  <a:pt x="625121" y="1254315"/>
                </a:cubicBezTo>
                <a:cubicBezTo>
                  <a:pt x="623845" y="1254079"/>
                  <a:pt x="622568" y="1253843"/>
                  <a:pt x="621252" y="1253600"/>
                </a:cubicBezTo>
                <a:cubicBezTo>
                  <a:pt x="619984" y="1253371"/>
                  <a:pt x="618716" y="1253142"/>
                  <a:pt x="617409" y="1252906"/>
                </a:cubicBezTo>
                <a:cubicBezTo>
                  <a:pt x="614027" y="1252014"/>
                  <a:pt x="614027" y="1252014"/>
                  <a:pt x="610904" y="1249196"/>
                </a:cubicBezTo>
                <a:cubicBezTo>
                  <a:pt x="592259" y="1248653"/>
                  <a:pt x="578635" y="1260869"/>
                  <a:pt x="565739" y="1271742"/>
                </a:cubicBezTo>
                <a:cubicBezTo>
                  <a:pt x="558808" y="1277725"/>
                  <a:pt x="552763" y="1283983"/>
                  <a:pt x="546924" y="1290829"/>
                </a:cubicBezTo>
                <a:cubicBezTo>
                  <a:pt x="545838" y="1292087"/>
                  <a:pt x="544753" y="1293346"/>
                  <a:pt x="543635" y="1294643"/>
                </a:cubicBezTo>
                <a:cubicBezTo>
                  <a:pt x="542650" y="1295813"/>
                  <a:pt x="541666" y="1296983"/>
                  <a:pt x="540651" y="1298188"/>
                </a:cubicBezTo>
                <a:cubicBezTo>
                  <a:pt x="537294" y="1301526"/>
                  <a:pt x="533978" y="1303337"/>
                  <a:pt x="529673" y="1305565"/>
                </a:cubicBezTo>
                <a:cubicBezTo>
                  <a:pt x="527599" y="1308478"/>
                  <a:pt x="527599" y="1308478"/>
                  <a:pt x="526549" y="1311202"/>
                </a:cubicBezTo>
                <a:cubicBezTo>
                  <a:pt x="525518" y="1311202"/>
                  <a:pt x="524487" y="1311202"/>
                  <a:pt x="523425" y="1311202"/>
                </a:cubicBezTo>
                <a:cubicBezTo>
                  <a:pt x="523360" y="1311986"/>
                  <a:pt x="523296" y="1312771"/>
                  <a:pt x="523230" y="1313580"/>
                </a:cubicBezTo>
                <a:cubicBezTo>
                  <a:pt x="521863" y="1316839"/>
                  <a:pt x="521863" y="1316839"/>
                  <a:pt x="517732" y="1319739"/>
                </a:cubicBezTo>
                <a:cubicBezTo>
                  <a:pt x="511111" y="1324565"/>
                  <a:pt x="506875" y="1330731"/>
                  <a:pt x="502239" y="1337096"/>
                </a:cubicBezTo>
                <a:cubicBezTo>
                  <a:pt x="500512" y="1339427"/>
                  <a:pt x="498785" y="1341757"/>
                  <a:pt x="497058" y="1344087"/>
                </a:cubicBezTo>
                <a:cubicBezTo>
                  <a:pt x="495827" y="1345760"/>
                  <a:pt x="495827" y="1345760"/>
                  <a:pt x="494572" y="1347465"/>
                </a:cubicBezTo>
                <a:cubicBezTo>
                  <a:pt x="492366" y="1350414"/>
                  <a:pt x="490094" y="1353304"/>
                  <a:pt x="487776" y="1356181"/>
                </a:cubicBezTo>
                <a:cubicBezTo>
                  <a:pt x="484805" y="1359972"/>
                  <a:pt x="482865" y="1363193"/>
                  <a:pt x="481248" y="1367571"/>
                </a:cubicBezTo>
                <a:cubicBezTo>
                  <a:pt x="480216" y="1367571"/>
                  <a:pt x="479186" y="1367571"/>
                  <a:pt x="478123" y="1367571"/>
                </a:cubicBezTo>
                <a:cubicBezTo>
                  <a:pt x="477963" y="1368558"/>
                  <a:pt x="477801" y="1369547"/>
                  <a:pt x="477635" y="1370565"/>
                </a:cubicBezTo>
                <a:cubicBezTo>
                  <a:pt x="475602" y="1378236"/>
                  <a:pt x="471952" y="1383371"/>
                  <a:pt x="465626" y="1388709"/>
                </a:cubicBezTo>
                <a:cubicBezTo>
                  <a:pt x="462272" y="1392748"/>
                  <a:pt x="462272" y="1392748"/>
                  <a:pt x="461233" y="1397340"/>
                </a:cubicBezTo>
                <a:cubicBezTo>
                  <a:pt x="460030" y="1401461"/>
                  <a:pt x="458298" y="1404501"/>
                  <a:pt x="455765" y="1408086"/>
                </a:cubicBezTo>
                <a:cubicBezTo>
                  <a:pt x="442829" y="1428603"/>
                  <a:pt x="441572" y="1454548"/>
                  <a:pt x="439070" y="1477490"/>
                </a:cubicBezTo>
                <a:cubicBezTo>
                  <a:pt x="437524" y="1477955"/>
                  <a:pt x="435977" y="1478420"/>
                  <a:pt x="434384" y="1478899"/>
                </a:cubicBezTo>
                <a:cubicBezTo>
                  <a:pt x="433739" y="1479916"/>
                  <a:pt x="433095" y="1480933"/>
                  <a:pt x="432431" y="1481982"/>
                </a:cubicBezTo>
                <a:cubicBezTo>
                  <a:pt x="428860" y="1487159"/>
                  <a:pt x="424291" y="1490903"/>
                  <a:pt x="418763" y="1494401"/>
                </a:cubicBezTo>
                <a:cubicBezTo>
                  <a:pt x="417731" y="1494401"/>
                  <a:pt x="416701" y="1494401"/>
                  <a:pt x="415639" y="1494401"/>
                </a:cubicBezTo>
                <a:cubicBezTo>
                  <a:pt x="415639" y="1495330"/>
                  <a:pt x="415639" y="1496260"/>
                  <a:pt x="415639" y="1497219"/>
                </a:cubicBezTo>
                <a:cubicBezTo>
                  <a:pt x="412546" y="1497684"/>
                  <a:pt x="409453" y="1498149"/>
                  <a:pt x="406265" y="1498628"/>
                </a:cubicBezTo>
                <a:cubicBezTo>
                  <a:pt x="406265" y="1499559"/>
                  <a:pt x="406265" y="1500488"/>
                  <a:pt x="406265" y="1501447"/>
                </a:cubicBezTo>
                <a:cubicBezTo>
                  <a:pt x="395955" y="1501447"/>
                  <a:pt x="385645" y="1501447"/>
                  <a:pt x="375023" y="1501447"/>
                </a:cubicBezTo>
                <a:lnTo>
                  <a:pt x="375023" y="1499438"/>
                </a:lnTo>
                <a:lnTo>
                  <a:pt x="374964" y="1499436"/>
                </a:lnTo>
                <a:lnTo>
                  <a:pt x="373179" y="1498628"/>
                </a:lnTo>
                <a:lnTo>
                  <a:pt x="365650" y="1498628"/>
                </a:lnTo>
                <a:lnTo>
                  <a:pt x="363134" y="1494087"/>
                </a:lnTo>
                <a:lnTo>
                  <a:pt x="362171" y="1493651"/>
                </a:lnTo>
                <a:cubicBezTo>
                  <a:pt x="361656" y="1492722"/>
                  <a:pt x="361140" y="1491791"/>
                  <a:pt x="360609" y="1490833"/>
                </a:cubicBezTo>
                <a:cubicBezTo>
                  <a:pt x="361640" y="1490833"/>
                  <a:pt x="362671" y="1490833"/>
                  <a:pt x="363733" y="1490833"/>
                </a:cubicBezTo>
                <a:lnTo>
                  <a:pt x="363733" y="1489980"/>
                </a:lnTo>
                <a:lnTo>
                  <a:pt x="348467" y="1481717"/>
                </a:lnTo>
                <a:lnTo>
                  <a:pt x="343872" y="1461078"/>
                </a:lnTo>
                <a:lnTo>
                  <a:pt x="343656" y="1463649"/>
                </a:lnTo>
                <a:cubicBezTo>
                  <a:pt x="343541" y="1465230"/>
                  <a:pt x="343541" y="1465230"/>
                  <a:pt x="343424" y="1466842"/>
                </a:cubicBezTo>
                <a:cubicBezTo>
                  <a:pt x="342908" y="1466842"/>
                  <a:pt x="342393" y="1466842"/>
                  <a:pt x="341861" y="1466842"/>
                </a:cubicBezTo>
                <a:cubicBezTo>
                  <a:pt x="340987" y="1449564"/>
                  <a:pt x="340999" y="1434331"/>
                  <a:pt x="354143" y="1420549"/>
                </a:cubicBezTo>
                <a:cubicBezTo>
                  <a:pt x="360765" y="1414011"/>
                  <a:pt x="367631" y="1407790"/>
                  <a:pt x="376229" y="1403427"/>
                </a:cubicBezTo>
                <a:lnTo>
                  <a:pt x="379491" y="1404408"/>
                </a:lnTo>
                <a:lnTo>
                  <a:pt x="379710" y="1404210"/>
                </a:lnTo>
                <a:cubicBezTo>
                  <a:pt x="380290" y="1402902"/>
                  <a:pt x="380290" y="1402902"/>
                  <a:pt x="380882" y="1401568"/>
                </a:cubicBezTo>
                <a:cubicBezTo>
                  <a:pt x="383675" y="1397284"/>
                  <a:pt x="387587" y="1395610"/>
                  <a:pt x="392207" y="1392936"/>
                </a:cubicBezTo>
                <a:lnTo>
                  <a:pt x="399542" y="1386774"/>
                </a:lnTo>
                <a:lnTo>
                  <a:pt x="405485" y="1378917"/>
                </a:lnTo>
                <a:cubicBezTo>
                  <a:pt x="408065" y="1375974"/>
                  <a:pt x="410029" y="1372774"/>
                  <a:pt x="412008" y="1369481"/>
                </a:cubicBezTo>
                <a:cubicBezTo>
                  <a:pt x="414759" y="1365166"/>
                  <a:pt x="417963" y="1361131"/>
                  <a:pt x="421130" y="1357057"/>
                </a:cubicBezTo>
                <a:cubicBezTo>
                  <a:pt x="423073" y="1354140"/>
                  <a:pt x="423985" y="1351767"/>
                  <a:pt x="424676" y="1348443"/>
                </a:cubicBezTo>
                <a:lnTo>
                  <a:pt x="427275" y="1348443"/>
                </a:lnTo>
                <a:lnTo>
                  <a:pt x="428135" y="1345727"/>
                </a:lnTo>
                <a:cubicBezTo>
                  <a:pt x="429370" y="1341828"/>
                  <a:pt x="430645" y="1338666"/>
                  <a:pt x="432822" y="1335158"/>
                </a:cubicBezTo>
                <a:cubicBezTo>
                  <a:pt x="433853" y="1335158"/>
                  <a:pt x="434884" y="1335158"/>
                  <a:pt x="435946" y="1335158"/>
                </a:cubicBezTo>
                <a:cubicBezTo>
                  <a:pt x="436526" y="1333385"/>
                  <a:pt x="437106" y="1331613"/>
                  <a:pt x="437704" y="1329786"/>
                </a:cubicBezTo>
                <a:cubicBezTo>
                  <a:pt x="440162" y="1323132"/>
                  <a:pt x="443602" y="1317301"/>
                  <a:pt x="447394" y="1311196"/>
                </a:cubicBezTo>
                <a:cubicBezTo>
                  <a:pt x="456493" y="1296485"/>
                  <a:pt x="463325" y="1281864"/>
                  <a:pt x="469287" y="1265964"/>
                </a:cubicBezTo>
                <a:cubicBezTo>
                  <a:pt x="474589" y="1252134"/>
                  <a:pt x="474589" y="1252134"/>
                  <a:pt x="478178" y="1246787"/>
                </a:cubicBezTo>
                <a:cubicBezTo>
                  <a:pt x="481232" y="1240246"/>
                  <a:pt x="480204" y="1232766"/>
                  <a:pt x="480179" y="1225768"/>
                </a:cubicBezTo>
                <a:cubicBezTo>
                  <a:pt x="480174" y="1222894"/>
                  <a:pt x="480210" y="1220023"/>
                  <a:pt x="480250" y="1217149"/>
                </a:cubicBezTo>
                <a:cubicBezTo>
                  <a:pt x="480260" y="1199291"/>
                  <a:pt x="476718" y="1187768"/>
                  <a:pt x="462972" y="1174827"/>
                </a:cubicBezTo>
                <a:cubicBezTo>
                  <a:pt x="461148" y="1173192"/>
                  <a:pt x="459312" y="1171566"/>
                  <a:pt x="457468" y="1169949"/>
                </a:cubicBezTo>
                <a:cubicBezTo>
                  <a:pt x="451412" y="1164522"/>
                  <a:pt x="445876" y="1158660"/>
                  <a:pt x="440657" y="1152570"/>
                </a:cubicBezTo>
                <a:cubicBezTo>
                  <a:pt x="430474" y="1140786"/>
                  <a:pt x="418230" y="1128998"/>
                  <a:pt x="403142" y="1122366"/>
                </a:cubicBezTo>
                <a:cubicBezTo>
                  <a:pt x="402626" y="1121436"/>
                  <a:pt x="402110" y="1120506"/>
                  <a:pt x="401579" y="1119547"/>
                </a:cubicBezTo>
                <a:cubicBezTo>
                  <a:pt x="390472" y="1115326"/>
                  <a:pt x="375918" y="1114217"/>
                  <a:pt x="364564" y="1118209"/>
                </a:cubicBezTo>
                <a:cubicBezTo>
                  <a:pt x="362278" y="1119428"/>
                  <a:pt x="360026" y="1120704"/>
                  <a:pt x="357822" y="1122041"/>
                </a:cubicBezTo>
                <a:cubicBezTo>
                  <a:pt x="354521" y="1123884"/>
                  <a:pt x="351862" y="1124582"/>
                  <a:pt x="348077" y="1125273"/>
                </a:cubicBezTo>
                <a:cubicBezTo>
                  <a:pt x="341765" y="1126696"/>
                  <a:pt x="339382" y="1128619"/>
                  <a:pt x="334408" y="1132230"/>
                </a:cubicBezTo>
                <a:cubicBezTo>
                  <a:pt x="332284" y="1132909"/>
                  <a:pt x="330131" y="1133519"/>
                  <a:pt x="327964" y="1134080"/>
                </a:cubicBezTo>
                <a:cubicBezTo>
                  <a:pt x="309975" y="1139067"/>
                  <a:pt x="290592" y="1152117"/>
                  <a:pt x="279734" y="1166051"/>
                </a:cubicBezTo>
                <a:cubicBezTo>
                  <a:pt x="277929" y="1169534"/>
                  <a:pt x="277929" y="1169534"/>
                  <a:pt x="276609" y="1173098"/>
                </a:cubicBezTo>
                <a:cubicBezTo>
                  <a:pt x="272413" y="1180804"/>
                  <a:pt x="269322" y="1184144"/>
                  <a:pt x="260988" y="1188599"/>
                </a:cubicBezTo>
                <a:cubicBezTo>
                  <a:pt x="259988" y="1189435"/>
                  <a:pt x="258987" y="1190271"/>
                  <a:pt x="257956" y="1191132"/>
                </a:cubicBezTo>
                <a:lnTo>
                  <a:pt x="243805" y="1196629"/>
                </a:lnTo>
                <a:lnTo>
                  <a:pt x="243805" y="1194236"/>
                </a:lnTo>
                <a:lnTo>
                  <a:pt x="240288" y="1194765"/>
                </a:lnTo>
                <a:lnTo>
                  <a:pt x="243374" y="1194765"/>
                </a:lnTo>
                <a:lnTo>
                  <a:pt x="243374" y="1196797"/>
                </a:lnTo>
                <a:lnTo>
                  <a:pt x="243805" y="1196629"/>
                </a:lnTo>
                <a:lnTo>
                  <a:pt x="243805" y="1197055"/>
                </a:lnTo>
                <a:lnTo>
                  <a:pt x="243374" y="1197055"/>
                </a:lnTo>
                <a:lnTo>
                  <a:pt x="243374" y="1197584"/>
                </a:lnTo>
                <a:lnTo>
                  <a:pt x="241319" y="1197595"/>
                </a:lnTo>
                <a:lnTo>
                  <a:pt x="238009" y="1198881"/>
                </a:lnTo>
                <a:cubicBezTo>
                  <a:pt x="231012" y="1199584"/>
                  <a:pt x="223620" y="1198927"/>
                  <a:pt x="215687" y="1198464"/>
                </a:cubicBezTo>
                <a:lnTo>
                  <a:pt x="215687" y="1197734"/>
                </a:lnTo>
                <a:lnTo>
                  <a:pt x="213936" y="1197744"/>
                </a:lnTo>
                <a:cubicBezTo>
                  <a:pt x="210570" y="1197584"/>
                  <a:pt x="210570" y="1197584"/>
                  <a:pt x="207446" y="1196175"/>
                </a:cubicBezTo>
                <a:lnTo>
                  <a:pt x="207822" y="1195610"/>
                </a:lnTo>
                <a:lnTo>
                  <a:pt x="184737" y="1180936"/>
                </a:lnTo>
                <a:cubicBezTo>
                  <a:pt x="180258" y="1172216"/>
                  <a:pt x="179226" y="1164355"/>
                  <a:pt x="179270" y="1154866"/>
                </a:cubicBezTo>
                <a:cubicBezTo>
                  <a:pt x="179233" y="1153260"/>
                  <a:pt x="179233" y="1153260"/>
                  <a:pt x="179194" y="1151621"/>
                </a:cubicBezTo>
                <a:cubicBezTo>
                  <a:pt x="179182" y="1139523"/>
                  <a:pt x="183658" y="1128837"/>
                  <a:pt x="193195" y="1120065"/>
                </a:cubicBezTo>
                <a:cubicBezTo>
                  <a:pt x="204265" y="1110959"/>
                  <a:pt x="215062" y="1110626"/>
                  <a:pt x="229551" y="1110299"/>
                </a:cubicBezTo>
                <a:cubicBezTo>
                  <a:pt x="240132" y="1110024"/>
                  <a:pt x="250506" y="1109652"/>
                  <a:pt x="260988" y="1108274"/>
                </a:cubicBezTo>
                <a:cubicBezTo>
                  <a:pt x="260988" y="1107344"/>
                  <a:pt x="260988" y="1106413"/>
                  <a:pt x="260988" y="1105455"/>
                </a:cubicBezTo>
                <a:cubicBezTo>
                  <a:pt x="261953" y="1105078"/>
                  <a:pt x="262918" y="1104699"/>
                  <a:pt x="263911" y="1104310"/>
                </a:cubicBezTo>
                <a:cubicBezTo>
                  <a:pt x="272903" y="1100557"/>
                  <a:pt x="279802" y="1096307"/>
                  <a:pt x="286995" y="1090185"/>
                </a:cubicBezTo>
                <a:cubicBezTo>
                  <a:pt x="290956" y="1086897"/>
                  <a:pt x="295114" y="1083955"/>
                  <a:pt x="299358" y="1080970"/>
                </a:cubicBezTo>
                <a:cubicBezTo>
                  <a:pt x="306613" y="1075692"/>
                  <a:pt x="312234" y="1070023"/>
                  <a:pt x="317762" y="1063272"/>
                </a:cubicBezTo>
                <a:cubicBezTo>
                  <a:pt x="320349" y="1060360"/>
                  <a:pt x="320349" y="1060360"/>
                  <a:pt x="325035" y="1057542"/>
                </a:cubicBezTo>
                <a:cubicBezTo>
                  <a:pt x="329912" y="1045734"/>
                  <a:pt x="327928" y="1035103"/>
                  <a:pt x="325328" y="1023104"/>
                </a:cubicBezTo>
                <a:cubicBezTo>
                  <a:pt x="325069" y="1021831"/>
                  <a:pt x="324811" y="1020559"/>
                  <a:pt x="324544" y="1019247"/>
                </a:cubicBezTo>
                <a:cubicBezTo>
                  <a:pt x="322876" y="1011407"/>
                  <a:pt x="320562" y="1004340"/>
                  <a:pt x="317225" y="996945"/>
                </a:cubicBezTo>
                <a:cubicBezTo>
                  <a:pt x="316619" y="995541"/>
                  <a:pt x="316013" y="994137"/>
                  <a:pt x="315388" y="992690"/>
                </a:cubicBezTo>
                <a:cubicBezTo>
                  <a:pt x="306307" y="972561"/>
                  <a:pt x="298931" y="959343"/>
                  <a:pt x="276232" y="950666"/>
                </a:cubicBezTo>
                <a:cubicBezTo>
                  <a:pt x="274810" y="950127"/>
                  <a:pt x="273388" y="949587"/>
                  <a:pt x="271923" y="949031"/>
                </a:cubicBezTo>
                <a:cubicBezTo>
                  <a:pt x="270129" y="948244"/>
                  <a:pt x="270129" y="948244"/>
                  <a:pt x="268299" y="947441"/>
                </a:cubicBezTo>
                <a:cubicBezTo>
                  <a:pt x="247071" y="938140"/>
                  <a:pt x="222259" y="939051"/>
                  <a:pt x="199187" y="938991"/>
                </a:cubicBezTo>
                <a:cubicBezTo>
                  <a:pt x="197383" y="938984"/>
                  <a:pt x="195579" y="938978"/>
                  <a:pt x="193719" y="938971"/>
                </a:cubicBezTo>
                <a:cubicBezTo>
                  <a:pt x="192010" y="938974"/>
                  <a:pt x="190300" y="938977"/>
                  <a:pt x="188539" y="938980"/>
                </a:cubicBezTo>
                <a:cubicBezTo>
                  <a:pt x="187000" y="938981"/>
                  <a:pt x="185460" y="938983"/>
                  <a:pt x="183874" y="938985"/>
                </a:cubicBezTo>
                <a:cubicBezTo>
                  <a:pt x="180148" y="939150"/>
                  <a:pt x="177092" y="939720"/>
                  <a:pt x="173509" y="940576"/>
                </a:cubicBezTo>
                <a:cubicBezTo>
                  <a:pt x="169458" y="940674"/>
                  <a:pt x="165452" y="940710"/>
                  <a:pt x="161403" y="940664"/>
                </a:cubicBezTo>
                <a:cubicBezTo>
                  <a:pt x="160314" y="940658"/>
                  <a:pt x="159224" y="940651"/>
                  <a:pt x="158102" y="940645"/>
                </a:cubicBezTo>
                <a:lnTo>
                  <a:pt x="150875" y="940583"/>
                </a:lnTo>
                <a:lnTo>
                  <a:pt x="148425" y="940717"/>
                </a:lnTo>
                <a:lnTo>
                  <a:pt x="149617" y="940995"/>
                </a:lnTo>
                <a:cubicBezTo>
                  <a:pt x="149617" y="941459"/>
                  <a:pt x="149617" y="941924"/>
                  <a:pt x="149617" y="942404"/>
                </a:cubicBezTo>
                <a:cubicBezTo>
                  <a:pt x="148630" y="942558"/>
                  <a:pt x="147643" y="942712"/>
                  <a:pt x="146627" y="942871"/>
                </a:cubicBezTo>
                <a:cubicBezTo>
                  <a:pt x="134541" y="944804"/>
                  <a:pt x="122553" y="947081"/>
                  <a:pt x="110564" y="949449"/>
                </a:cubicBezTo>
                <a:lnTo>
                  <a:pt x="111283" y="946205"/>
                </a:lnTo>
                <a:lnTo>
                  <a:pt x="101652" y="956078"/>
                </a:lnTo>
                <a:cubicBezTo>
                  <a:pt x="99870" y="957260"/>
                  <a:pt x="99870" y="957260"/>
                  <a:pt x="98052" y="958467"/>
                </a:cubicBezTo>
                <a:cubicBezTo>
                  <a:pt x="75683" y="972989"/>
                  <a:pt x="75683" y="972989"/>
                  <a:pt x="67286" y="972989"/>
                </a:cubicBezTo>
                <a:cubicBezTo>
                  <a:pt x="67286" y="973918"/>
                  <a:pt x="67286" y="974848"/>
                  <a:pt x="67286" y="975807"/>
                </a:cubicBezTo>
                <a:cubicBezTo>
                  <a:pt x="55713" y="979519"/>
                  <a:pt x="43549" y="980689"/>
                  <a:pt x="31942" y="976423"/>
                </a:cubicBezTo>
                <a:cubicBezTo>
                  <a:pt x="19953" y="970870"/>
                  <a:pt x="10774" y="964932"/>
                  <a:pt x="5673" y="953419"/>
                </a:cubicBezTo>
                <a:cubicBezTo>
                  <a:pt x="4801" y="950441"/>
                  <a:pt x="4801" y="950441"/>
                  <a:pt x="4801" y="944804"/>
                </a:cubicBezTo>
                <a:cubicBezTo>
                  <a:pt x="3770" y="944804"/>
                  <a:pt x="2739" y="944804"/>
                  <a:pt x="1676" y="944804"/>
                </a:cubicBezTo>
                <a:cubicBezTo>
                  <a:pt x="-34" y="940174"/>
                  <a:pt x="-41" y="936720"/>
                  <a:pt x="17" y="931857"/>
                </a:cubicBezTo>
                <a:cubicBezTo>
                  <a:pt x="31" y="930325"/>
                  <a:pt x="45" y="928794"/>
                  <a:pt x="59" y="927216"/>
                </a:cubicBezTo>
                <a:cubicBezTo>
                  <a:pt x="78" y="926044"/>
                  <a:pt x="96" y="924873"/>
                  <a:pt x="115" y="923666"/>
                </a:cubicBezTo>
                <a:cubicBezTo>
                  <a:pt x="1145" y="923666"/>
                  <a:pt x="2176" y="923666"/>
                  <a:pt x="3238" y="923666"/>
                </a:cubicBezTo>
                <a:cubicBezTo>
                  <a:pt x="3238" y="921805"/>
                  <a:pt x="3238" y="919945"/>
                  <a:pt x="3238" y="918029"/>
                </a:cubicBezTo>
                <a:cubicBezTo>
                  <a:pt x="4270" y="918029"/>
                  <a:pt x="5300" y="918029"/>
                  <a:pt x="6363" y="918029"/>
                </a:cubicBezTo>
                <a:cubicBezTo>
                  <a:pt x="6459" y="916314"/>
                  <a:pt x="6556" y="914599"/>
                  <a:pt x="6656" y="912832"/>
                </a:cubicBezTo>
                <a:cubicBezTo>
                  <a:pt x="7542" y="906455"/>
                  <a:pt x="10104" y="903750"/>
                  <a:pt x="15736" y="899709"/>
                </a:cubicBezTo>
                <a:lnTo>
                  <a:pt x="17243" y="898894"/>
                </a:lnTo>
                <a:lnTo>
                  <a:pt x="16800" y="898694"/>
                </a:lnTo>
                <a:lnTo>
                  <a:pt x="24988" y="894101"/>
                </a:lnTo>
                <a:lnTo>
                  <a:pt x="26768" y="892399"/>
                </a:lnTo>
                <a:cubicBezTo>
                  <a:pt x="28282" y="891122"/>
                  <a:pt x="29038" y="890483"/>
                  <a:pt x="30198" y="890164"/>
                </a:cubicBezTo>
                <a:lnTo>
                  <a:pt x="32204" y="890054"/>
                </a:lnTo>
                <a:lnTo>
                  <a:pt x="38914" y="886291"/>
                </a:lnTo>
                <a:cubicBezTo>
                  <a:pt x="47169" y="885770"/>
                  <a:pt x="55396" y="885800"/>
                  <a:pt x="63664" y="886011"/>
                </a:cubicBezTo>
                <a:lnTo>
                  <a:pt x="63664" y="886531"/>
                </a:lnTo>
                <a:lnTo>
                  <a:pt x="70784" y="886647"/>
                </a:lnTo>
                <a:cubicBezTo>
                  <a:pt x="74787" y="887000"/>
                  <a:pt x="77233" y="887948"/>
                  <a:pt x="82126" y="889845"/>
                </a:cubicBezTo>
                <a:cubicBezTo>
                  <a:pt x="92427" y="893791"/>
                  <a:pt x="103139" y="893710"/>
                  <a:pt x="114149" y="892663"/>
                </a:cubicBezTo>
                <a:cubicBezTo>
                  <a:pt x="115696" y="891733"/>
                  <a:pt x="117242" y="890803"/>
                  <a:pt x="118836" y="889845"/>
                </a:cubicBezTo>
                <a:cubicBezTo>
                  <a:pt x="123097" y="888850"/>
                  <a:pt x="127325" y="887944"/>
                  <a:pt x="131626" y="887114"/>
                </a:cubicBezTo>
                <a:cubicBezTo>
                  <a:pt x="139750" y="885542"/>
                  <a:pt x="147376" y="883653"/>
                  <a:pt x="155116" y="880913"/>
                </a:cubicBezTo>
                <a:cubicBezTo>
                  <a:pt x="158498" y="879775"/>
                  <a:pt x="161861" y="879076"/>
                  <a:pt x="165406" y="878483"/>
                </a:cubicBezTo>
                <a:cubicBezTo>
                  <a:pt x="170342" y="877655"/>
                  <a:pt x="172265" y="876971"/>
                  <a:pt x="176634" y="874343"/>
                </a:cubicBezTo>
                <a:cubicBezTo>
                  <a:pt x="179863" y="873335"/>
                  <a:pt x="183123" y="872404"/>
                  <a:pt x="186397" y="871524"/>
                </a:cubicBezTo>
                <a:cubicBezTo>
                  <a:pt x="189107" y="870786"/>
                  <a:pt x="189107" y="870786"/>
                  <a:pt x="191871" y="870033"/>
                </a:cubicBezTo>
                <a:cubicBezTo>
                  <a:pt x="195731" y="869023"/>
                  <a:pt x="199587" y="868093"/>
                  <a:pt x="203483" y="867208"/>
                </a:cubicBezTo>
                <a:cubicBezTo>
                  <a:pt x="208339" y="866199"/>
                  <a:pt x="208339" y="866199"/>
                  <a:pt x="211001" y="861660"/>
                </a:cubicBezTo>
                <a:cubicBezTo>
                  <a:pt x="214174" y="860102"/>
                  <a:pt x="214174" y="860102"/>
                  <a:pt x="218031" y="858577"/>
                </a:cubicBezTo>
                <a:cubicBezTo>
                  <a:pt x="236068" y="850629"/>
                  <a:pt x="245199" y="840442"/>
                  <a:pt x="254740" y="825020"/>
                </a:cubicBezTo>
                <a:cubicBezTo>
                  <a:pt x="255771" y="823625"/>
                  <a:pt x="256802" y="822230"/>
                  <a:pt x="257864" y="820792"/>
                </a:cubicBezTo>
                <a:cubicBezTo>
                  <a:pt x="258359" y="817506"/>
                  <a:pt x="258359" y="817506"/>
                  <a:pt x="258318" y="813810"/>
                </a:cubicBezTo>
                <a:cubicBezTo>
                  <a:pt x="258338" y="812388"/>
                  <a:pt x="258358" y="810967"/>
                  <a:pt x="258378" y="809502"/>
                </a:cubicBezTo>
                <a:cubicBezTo>
                  <a:pt x="258382" y="807965"/>
                  <a:pt x="258385" y="806429"/>
                  <a:pt x="258389" y="804845"/>
                </a:cubicBezTo>
                <a:cubicBezTo>
                  <a:pt x="258399" y="803258"/>
                  <a:pt x="258410" y="801671"/>
                  <a:pt x="258420" y="800036"/>
                </a:cubicBezTo>
                <a:cubicBezTo>
                  <a:pt x="258436" y="796670"/>
                  <a:pt x="258443" y="793305"/>
                  <a:pt x="258443" y="789939"/>
                </a:cubicBezTo>
                <a:cubicBezTo>
                  <a:pt x="258450" y="784823"/>
                  <a:pt x="258506" y="779709"/>
                  <a:pt x="258566" y="774594"/>
                </a:cubicBezTo>
                <a:cubicBezTo>
                  <a:pt x="258575" y="771319"/>
                  <a:pt x="258581" y="768045"/>
                  <a:pt x="258584" y="764771"/>
                </a:cubicBezTo>
                <a:cubicBezTo>
                  <a:pt x="258618" y="762495"/>
                  <a:pt x="258618" y="762495"/>
                  <a:pt x="258652" y="760174"/>
                </a:cubicBezTo>
                <a:cubicBezTo>
                  <a:pt x="258586" y="750030"/>
                  <a:pt x="256266" y="742584"/>
                  <a:pt x="251616" y="733421"/>
                </a:cubicBezTo>
                <a:cubicBezTo>
                  <a:pt x="250163" y="729605"/>
                  <a:pt x="248880" y="725752"/>
                  <a:pt x="247613" y="721883"/>
                </a:cubicBezTo>
                <a:cubicBezTo>
                  <a:pt x="245789" y="716328"/>
                  <a:pt x="243913" y="710939"/>
                  <a:pt x="241291" y="705644"/>
                </a:cubicBezTo>
                <a:cubicBezTo>
                  <a:pt x="238691" y="700096"/>
                  <a:pt x="238136" y="695685"/>
                  <a:pt x="237557" y="689735"/>
                </a:cubicBezTo>
                <a:cubicBezTo>
                  <a:pt x="244977" y="685507"/>
                  <a:pt x="244977" y="685507"/>
                  <a:pt x="248492" y="685507"/>
                </a:cubicBezTo>
                <a:cubicBezTo>
                  <a:pt x="248492" y="684112"/>
                  <a:pt x="248492" y="682717"/>
                  <a:pt x="248492" y="681279"/>
                </a:cubicBezTo>
                <a:cubicBezTo>
                  <a:pt x="245914" y="680815"/>
                  <a:pt x="243337" y="680350"/>
                  <a:pt x="240681" y="679870"/>
                </a:cubicBezTo>
                <a:cubicBezTo>
                  <a:pt x="240681" y="678940"/>
                  <a:pt x="240681" y="678010"/>
                  <a:pt x="240681" y="677052"/>
                </a:cubicBezTo>
                <a:cubicBezTo>
                  <a:pt x="239827" y="676917"/>
                  <a:pt x="238973" y="676783"/>
                  <a:pt x="238094" y="676645"/>
                </a:cubicBezTo>
                <a:cubicBezTo>
                  <a:pt x="233442" y="675371"/>
                  <a:pt x="229939" y="673242"/>
                  <a:pt x="225841" y="670886"/>
                </a:cubicBezTo>
                <a:cubicBezTo>
                  <a:pt x="217808" y="666564"/>
                  <a:pt x="210635" y="664241"/>
                  <a:pt x="201531" y="662508"/>
                </a:cubicBezTo>
                <a:cubicBezTo>
                  <a:pt x="196896" y="661541"/>
                  <a:pt x="192682" y="660199"/>
                  <a:pt x="188252" y="658644"/>
                </a:cubicBezTo>
                <a:lnTo>
                  <a:pt x="182431" y="657327"/>
                </a:lnTo>
                <a:lnTo>
                  <a:pt x="182431" y="657613"/>
                </a:lnTo>
                <a:cubicBezTo>
                  <a:pt x="170575" y="657148"/>
                  <a:pt x="158718" y="656683"/>
                  <a:pt x="146503" y="656204"/>
                </a:cubicBezTo>
                <a:cubicBezTo>
                  <a:pt x="146503" y="657133"/>
                  <a:pt x="146503" y="658064"/>
                  <a:pt x="146503" y="659022"/>
                </a:cubicBezTo>
                <a:cubicBezTo>
                  <a:pt x="134359" y="662326"/>
                  <a:pt x="123013" y="663700"/>
                  <a:pt x="110378" y="663778"/>
                </a:cubicBezTo>
                <a:cubicBezTo>
                  <a:pt x="108435" y="663806"/>
                  <a:pt x="108435" y="663806"/>
                  <a:pt x="106453" y="663836"/>
                </a:cubicBezTo>
                <a:cubicBezTo>
                  <a:pt x="105231" y="663828"/>
                  <a:pt x="104009" y="663820"/>
                  <a:pt x="102751" y="663811"/>
                </a:cubicBezTo>
                <a:cubicBezTo>
                  <a:pt x="101117" y="663804"/>
                  <a:pt x="101117" y="663804"/>
                  <a:pt x="99449" y="663797"/>
                </a:cubicBezTo>
                <a:cubicBezTo>
                  <a:pt x="95696" y="663097"/>
                  <a:pt x="94265" y="661615"/>
                  <a:pt x="91828" y="659022"/>
                </a:cubicBezTo>
                <a:cubicBezTo>
                  <a:pt x="93890" y="659022"/>
                  <a:pt x="95953" y="659022"/>
                  <a:pt x="98077" y="659022"/>
                </a:cubicBezTo>
                <a:cubicBezTo>
                  <a:pt x="98077" y="659952"/>
                  <a:pt x="98077" y="660882"/>
                  <a:pt x="98077" y="661841"/>
                </a:cubicBezTo>
                <a:cubicBezTo>
                  <a:pt x="108735" y="662045"/>
                  <a:pt x="114063" y="662148"/>
                  <a:pt x="119023" y="661357"/>
                </a:cubicBezTo>
                <a:lnTo>
                  <a:pt x="119536" y="661197"/>
                </a:lnTo>
                <a:lnTo>
                  <a:pt x="109853" y="661639"/>
                </a:lnTo>
                <a:cubicBezTo>
                  <a:pt x="108764" y="661632"/>
                  <a:pt x="107675" y="661626"/>
                  <a:pt x="106552" y="661619"/>
                </a:cubicBezTo>
                <a:cubicBezTo>
                  <a:pt x="103877" y="661603"/>
                  <a:pt x="101203" y="661577"/>
                  <a:pt x="98528" y="661550"/>
                </a:cubicBezTo>
                <a:cubicBezTo>
                  <a:pt x="98528" y="660620"/>
                  <a:pt x="98528" y="659691"/>
                  <a:pt x="98528" y="658732"/>
                </a:cubicBezTo>
                <a:cubicBezTo>
                  <a:pt x="95435" y="658267"/>
                  <a:pt x="92342" y="657802"/>
                  <a:pt x="89155" y="657323"/>
                </a:cubicBezTo>
                <a:cubicBezTo>
                  <a:pt x="89155" y="656393"/>
                  <a:pt x="89155" y="655462"/>
                  <a:pt x="89155" y="654504"/>
                </a:cubicBezTo>
                <a:cubicBezTo>
                  <a:pt x="87790" y="653978"/>
                  <a:pt x="87790" y="653978"/>
                  <a:pt x="86397" y="653442"/>
                </a:cubicBezTo>
                <a:cubicBezTo>
                  <a:pt x="82415" y="651438"/>
                  <a:pt x="80039" y="649232"/>
                  <a:pt x="77049" y="646137"/>
                </a:cubicBezTo>
                <a:cubicBezTo>
                  <a:pt x="75611" y="644679"/>
                  <a:pt x="75611" y="644679"/>
                  <a:pt x="74145" y="643192"/>
                </a:cubicBezTo>
                <a:cubicBezTo>
                  <a:pt x="71972" y="640412"/>
                  <a:pt x="71972" y="640412"/>
                  <a:pt x="71972" y="636185"/>
                </a:cubicBezTo>
                <a:cubicBezTo>
                  <a:pt x="70941" y="636185"/>
                  <a:pt x="69910" y="636185"/>
                  <a:pt x="68848" y="636185"/>
                </a:cubicBezTo>
                <a:cubicBezTo>
                  <a:pt x="64250" y="621928"/>
                  <a:pt x="64695" y="609404"/>
                  <a:pt x="70410" y="595317"/>
                </a:cubicBezTo>
                <a:cubicBezTo>
                  <a:pt x="73096" y="591142"/>
                  <a:pt x="76144" y="587574"/>
                  <a:pt x="79782" y="584043"/>
                </a:cubicBezTo>
                <a:cubicBezTo>
                  <a:pt x="81205" y="582594"/>
                  <a:pt x="81205" y="582594"/>
                  <a:pt x="82656" y="581115"/>
                </a:cubicBezTo>
                <a:cubicBezTo>
                  <a:pt x="91488" y="574027"/>
                  <a:pt x="105133" y="571806"/>
                  <a:pt x="116694" y="572323"/>
                </a:cubicBezTo>
                <a:cubicBezTo>
                  <a:pt x="131556" y="574113"/>
                  <a:pt x="142046" y="580551"/>
                  <a:pt x="152031" y="590385"/>
                </a:cubicBezTo>
                <a:cubicBezTo>
                  <a:pt x="162272" y="600009"/>
                  <a:pt x="176992" y="605062"/>
                  <a:pt x="191474" y="605886"/>
                </a:cubicBezTo>
                <a:cubicBezTo>
                  <a:pt x="196845" y="606192"/>
                  <a:pt x="201203" y="606463"/>
                  <a:pt x="206314" y="608000"/>
                </a:cubicBezTo>
                <a:cubicBezTo>
                  <a:pt x="206314" y="608930"/>
                  <a:pt x="206314" y="609860"/>
                  <a:pt x="206314" y="610818"/>
                </a:cubicBezTo>
                <a:cubicBezTo>
                  <a:pt x="215689" y="610902"/>
                  <a:pt x="225058" y="610898"/>
                  <a:pt x="234433" y="610818"/>
                </a:cubicBezTo>
                <a:cubicBezTo>
                  <a:pt x="236112" y="610813"/>
                  <a:pt x="237791" y="610808"/>
                  <a:pt x="239522" y="610802"/>
                </a:cubicBezTo>
                <a:cubicBezTo>
                  <a:pt x="251005" y="610364"/>
                  <a:pt x="259257" y="606564"/>
                  <a:pt x="268799" y="600954"/>
                </a:cubicBezTo>
                <a:cubicBezTo>
                  <a:pt x="269770" y="600416"/>
                  <a:pt x="270740" y="599879"/>
                  <a:pt x="271740" y="599325"/>
                </a:cubicBezTo>
                <a:cubicBezTo>
                  <a:pt x="279452" y="594430"/>
                  <a:pt x="281420" y="587464"/>
                  <a:pt x="284420" y="579816"/>
                </a:cubicBezTo>
                <a:cubicBezTo>
                  <a:pt x="286047" y="576075"/>
                  <a:pt x="287725" y="572353"/>
                  <a:pt x="289399" y="568630"/>
                </a:cubicBezTo>
                <a:cubicBezTo>
                  <a:pt x="294095" y="558121"/>
                  <a:pt x="299004" y="547070"/>
                  <a:pt x="293958" y="535838"/>
                </a:cubicBezTo>
                <a:cubicBezTo>
                  <a:pt x="292436" y="533533"/>
                  <a:pt x="290781" y="531301"/>
                  <a:pt x="289107" y="529084"/>
                </a:cubicBezTo>
                <a:cubicBezTo>
                  <a:pt x="289107" y="528153"/>
                  <a:pt x="289107" y="527223"/>
                  <a:pt x="289107" y="526265"/>
                </a:cubicBezTo>
                <a:cubicBezTo>
                  <a:pt x="287560" y="525800"/>
                  <a:pt x="286014" y="525335"/>
                  <a:pt x="284420" y="524856"/>
                </a:cubicBezTo>
                <a:cubicBezTo>
                  <a:pt x="283905" y="523461"/>
                  <a:pt x="283389" y="522066"/>
                  <a:pt x="282858" y="520628"/>
                </a:cubicBezTo>
                <a:cubicBezTo>
                  <a:pt x="280750" y="518590"/>
                  <a:pt x="280750" y="518590"/>
                  <a:pt x="277977" y="516577"/>
                </a:cubicBezTo>
                <a:cubicBezTo>
                  <a:pt x="273591" y="513232"/>
                  <a:pt x="269227" y="509874"/>
                  <a:pt x="264925" y="506443"/>
                </a:cubicBezTo>
                <a:cubicBezTo>
                  <a:pt x="253596" y="497433"/>
                  <a:pt x="242132" y="488987"/>
                  <a:pt x="229746" y="481170"/>
                </a:cubicBezTo>
                <a:cubicBezTo>
                  <a:pt x="226846" y="479266"/>
                  <a:pt x="223950" y="477358"/>
                  <a:pt x="221057" y="475445"/>
                </a:cubicBezTo>
                <a:cubicBezTo>
                  <a:pt x="218227" y="473594"/>
                  <a:pt x="215396" y="471744"/>
                  <a:pt x="212563" y="469896"/>
                </a:cubicBezTo>
                <a:cubicBezTo>
                  <a:pt x="211351" y="469102"/>
                  <a:pt x="210138" y="468309"/>
                  <a:pt x="208889" y="467491"/>
                </a:cubicBezTo>
                <a:cubicBezTo>
                  <a:pt x="202848" y="463599"/>
                  <a:pt x="196732" y="459888"/>
                  <a:pt x="190406" y="456382"/>
                </a:cubicBezTo>
                <a:cubicBezTo>
                  <a:pt x="189263" y="455748"/>
                  <a:pt x="188119" y="455114"/>
                  <a:pt x="186942" y="454460"/>
                </a:cubicBezTo>
                <a:cubicBezTo>
                  <a:pt x="184648" y="453196"/>
                  <a:pt x="182348" y="451941"/>
                  <a:pt x="180041" y="450696"/>
                </a:cubicBezTo>
                <a:cubicBezTo>
                  <a:pt x="177292" y="449185"/>
                  <a:pt x="174612" y="447571"/>
                  <a:pt x="171948" y="445940"/>
                </a:cubicBezTo>
                <a:cubicBezTo>
                  <a:pt x="171948" y="445009"/>
                  <a:pt x="171948" y="444079"/>
                  <a:pt x="171948" y="443121"/>
                </a:cubicBezTo>
                <a:cubicBezTo>
                  <a:pt x="170804" y="442985"/>
                  <a:pt x="169660" y="442848"/>
                  <a:pt x="168482" y="442708"/>
                </a:cubicBezTo>
                <a:cubicBezTo>
                  <a:pt x="163547" y="441576"/>
                  <a:pt x="161063" y="439897"/>
                  <a:pt x="157107" y="437044"/>
                </a:cubicBezTo>
                <a:cubicBezTo>
                  <a:pt x="149345" y="431895"/>
                  <a:pt x="141843" y="429626"/>
                  <a:pt x="132559" y="427510"/>
                </a:cubicBezTo>
                <a:cubicBezTo>
                  <a:pt x="128067" y="426168"/>
                  <a:pt x="126607" y="425060"/>
                  <a:pt x="123522" y="421983"/>
                </a:cubicBezTo>
                <a:cubicBezTo>
                  <a:pt x="118310" y="419033"/>
                  <a:pt x="114076" y="418794"/>
                  <a:pt x="107986" y="418730"/>
                </a:cubicBezTo>
                <a:cubicBezTo>
                  <a:pt x="106174" y="418694"/>
                  <a:pt x="104362" y="418659"/>
                  <a:pt x="102494" y="418622"/>
                </a:cubicBezTo>
                <a:cubicBezTo>
                  <a:pt x="98715" y="418573"/>
                  <a:pt x="94936" y="418529"/>
                  <a:pt x="91157" y="418490"/>
                </a:cubicBezTo>
                <a:cubicBezTo>
                  <a:pt x="78470" y="418231"/>
                  <a:pt x="65485" y="417940"/>
                  <a:pt x="55277" y="410445"/>
                </a:cubicBezTo>
                <a:cubicBezTo>
                  <a:pt x="54084" y="409137"/>
                  <a:pt x="52893" y="407829"/>
                  <a:pt x="51665" y="406481"/>
                </a:cubicBezTo>
                <a:cubicBezTo>
                  <a:pt x="49752" y="404480"/>
                  <a:pt x="47831" y="402483"/>
                  <a:pt x="45904" y="400492"/>
                </a:cubicBezTo>
                <a:cubicBezTo>
                  <a:pt x="44996" y="399526"/>
                  <a:pt x="44088" y="398559"/>
                  <a:pt x="43152" y="397564"/>
                </a:cubicBezTo>
                <a:cubicBezTo>
                  <a:pt x="40865" y="395062"/>
                  <a:pt x="40865" y="395062"/>
                  <a:pt x="37605" y="393798"/>
                </a:cubicBezTo>
                <a:lnTo>
                  <a:pt x="38995" y="368712"/>
                </a:lnTo>
                <a:lnTo>
                  <a:pt x="38666" y="369724"/>
                </a:lnTo>
                <a:cubicBezTo>
                  <a:pt x="37003" y="374506"/>
                  <a:pt x="36202" y="379113"/>
                  <a:pt x="35542" y="384081"/>
                </a:cubicBezTo>
                <a:cubicBezTo>
                  <a:pt x="30313" y="376119"/>
                  <a:pt x="31188" y="366593"/>
                  <a:pt x="33326" y="357791"/>
                </a:cubicBezTo>
                <a:cubicBezTo>
                  <a:pt x="37176" y="347767"/>
                  <a:pt x="44536" y="340769"/>
                  <a:pt x="52725" y="333349"/>
                </a:cubicBezTo>
                <a:lnTo>
                  <a:pt x="55222" y="334475"/>
                </a:lnTo>
                <a:lnTo>
                  <a:pt x="56222" y="333347"/>
                </a:lnTo>
                <a:lnTo>
                  <a:pt x="55871" y="333347"/>
                </a:lnTo>
                <a:lnTo>
                  <a:pt x="56346" y="333207"/>
                </a:lnTo>
                <a:lnTo>
                  <a:pt x="56351" y="333202"/>
                </a:lnTo>
                <a:lnTo>
                  <a:pt x="56365" y="333202"/>
                </a:lnTo>
                <a:lnTo>
                  <a:pt x="79571" y="326360"/>
                </a:lnTo>
                <a:cubicBezTo>
                  <a:pt x="87782" y="326037"/>
                  <a:pt x="96164" y="327572"/>
                  <a:pt x="104297" y="330529"/>
                </a:cubicBezTo>
                <a:lnTo>
                  <a:pt x="107170" y="334417"/>
                </a:lnTo>
                <a:lnTo>
                  <a:pt x="109366" y="336046"/>
                </a:lnTo>
                <a:lnTo>
                  <a:pt x="109463" y="336020"/>
                </a:lnTo>
                <a:lnTo>
                  <a:pt x="109463" y="336118"/>
                </a:lnTo>
                <a:lnTo>
                  <a:pt x="115226" y="340394"/>
                </a:lnTo>
                <a:lnTo>
                  <a:pt x="114010" y="340120"/>
                </a:lnTo>
                <a:lnTo>
                  <a:pt x="133285" y="357423"/>
                </a:lnTo>
                <a:cubicBezTo>
                  <a:pt x="142471" y="373187"/>
                  <a:pt x="155564" y="382744"/>
                  <a:pt x="173509" y="389571"/>
                </a:cubicBezTo>
                <a:cubicBezTo>
                  <a:pt x="176254" y="390785"/>
                  <a:pt x="178988" y="392017"/>
                  <a:pt x="181711" y="393270"/>
                </a:cubicBezTo>
                <a:cubicBezTo>
                  <a:pt x="182964" y="393833"/>
                  <a:pt x="184216" y="394396"/>
                  <a:pt x="185507" y="394976"/>
                </a:cubicBezTo>
                <a:cubicBezTo>
                  <a:pt x="187897" y="396058"/>
                  <a:pt x="190281" y="397151"/>
                  <a:pt x="192658" y="398257"/>
                </a:cubicBezTo>
                <a:cubicBezTo>
                  <a:pt x="193749" y="398762"/>
                  <a:pt x="194841" y="399267"/>
                  <a:pt x="195966" y="399788"/>
                </a:cubicBezTo>
                <a:cubicBezTo>
                  <a:pt x="196912" y="400231"/>
                  <a:pt x="197858" y="400674"/>
                  <a:pt x="198833" y="401131"/>
                </a:cubicBezTo>
                <a:cubicBezTo>
                  <a:pt x="201808" y="402326"/>
                  <a:pt x="204701" y="403032"/>
                  <a:pt x="207877" y="403663"/>
                </a:cubicBezTo>
                <a:cubicBezTo>
                  <a:pt x="207877" y="404593"/>
                  <a:pt x="207877" y="405523"/>
                  <a:pt x="207877" y="406481"/>
                </a:cubicBezTo>
                <a:cubicBezTo>
                  <a:pt x="221233" y="411377"/>
                  <a:pt x="234752" y="415503"/>
                  <a:pt x="248492" y="419428"/>
                </a:cubicBezTo>
                <a:cubicBezTo>
                  <a:pt x="250298" y="419947"/>
                  <a:pt x="252104" y="420466"/>
                  <a:pt x="253965" y="421000"/>
                </a:cubicBezTo>
                <a:cubicBezTo>
                  <a:pt x="258388" y="422270"/>
                  <a:pt x="262812" y="423537"/>
                  <a:pt x="267237" y="424801"/>
                </a:cubicBezTo>
                <a:lnTo>
                  <a:pt x="267237" y="426451"/>
                </a:lnTo>
                <a:lnTo>
                  <a:pt x="288701" y="429217"/>
                </a:lnTo>
                <a:cubicBezTo>
                  <a:pt x="288701" y="430147"/>
                  <a:pt x="288701" y="431078"/>
                  <a:pt x="288701" y="432036"/>
                </a:cubicBezTo>
                <a:cubicBezTo>
                  <a:pt x="301487" y="433472"/>
                  <a:pt x="314148" y="433662"/>
                  <a:pt x="327010" y="433628"/>
                </a:cubicBezTo>
                <a:cubicBezTo>
                  <a:pt x="330502" y="433621"/>
                  <a:pt x="333994" y="433628"/>
                  <a:pt x="337486" y="433637"/>
                </a:cubicBezTo>
                <a:cubicBezTo>
                  <a:pt x="339734" y="433637"/>
                  <a:pt x="341982" y="433635"/>
                  <a:pt x="344229" y="433632"/>
                </a:cubicBezTo>
                <a:cubicBezTo>
                  <a:pt x="347246" y="433630"/>
                  <a:pt x="347246" y="433630"/>
                  <a:pt x="350323" y="433627"/>
                </a:cubicBezTo>
                <a:cubicBezTo>
                  <a:pt x="355445" y="433459"/>
                  <a:pt x="360220" y="432915"/>
                  <a:pt x="365245" y="432036"/>
                </a:cubicBezTo>
                <a:lnTo>
                  <a:pt x="360797" y="433759"/>
                </a:lnTo>
                <a:lnTo>
                  <a:pt x="365650" y="433257"/>
                </a:lnTo>
                <a:cubicBezTo>
                  <a:pt x="366166" y="431861"/>
                  <a:pt x="366682" y="430466"/>
                  <a:pt x="367213" y="429029"/>
                </a:cubicBezTo>
                <a:cubicBezTo>
                  <a:pt x="369854" y="427628"/>
                  <a:pt x="372501" y="426234"/>
                  <a:pt x="375188" y="424906"/>
                </a:cubicBezTo>
                <a:cubicBezTo>
                  <a:pt x="390245" y="417204"/>
                  <a:pt x="397438" y="403183"/>
                  <a:pt x="404704" y="389571"/>
                </a:cubicBezTo>
                <a:cubicBezTo>
                  <a:pt x="405219" y="389105"/>
                  <a:pt x="405734" y="388641"/>
                  <a:pt x="406265" y="388161"/>
                </a:cubicBezTo>
                <a:cubicBezTo>
                  <a:pt x="406663" y="382152"/>
                  <a:pt x="406555" y="376125"/>
                  <a:pt x="406559" y="370106"/>
                </a:cubicBezTo>
                <a:cubicBezTo>
                  <a:pt x="406578" y="368412"/>
                  <a:pt x="406597" y="366718"/>
                  <a:pt x="406617" y="364973"/>
                </a:cubicBezTo>
                <a:cubicBezTo>
                  <a:pt x="406620" y="363344"/>
                  <a:pt x="406622" y="361715"/>
                  <a:pt x="406626" y="360038"/>
                </a:cubicBezTo>
                <a:cubicBezTo>
                  <a:pt x="406632" y="358541"/>
                  <a:pt x="406638" y="357045"/>
                  <a:pt x="406645" y="355503"/>
                </a:cubicBezTo>
                <a:cubicBezTo>
                  <a:pt x="406264" y="351503"/>
                  <a:pt x="405326" y="349318"/>
                  <a:pt x="403142" y="345885"/>
                </a:cubicBezTo>
                <a:cubicBezTo>
                  <a:pt x="402583" y="343484"/>
                  <a:pt x="402067" y="341075"/>
                  <a:pt x="401579" y="338663"/>
                </a:cubicBezTo>
                <a:cubicBezTo>
                  <a:pt x="399365" y="330323"/>
                  <a:pt x="395538" y="323370"/>
                  <a:pt x="390938" y="315939"/>
                </a:cubicBezTo>
                <a:cubicBezTo>
                  <a:pt x="390290" y="314890"/>
                  <a:pt x="389642" y="313842"/>
                  <a:pt x="388976" y="312762"/>
                </a:cubicBezTo>
                <a:cubicBezTo>
                  <a:pt x="385623" y="307500"/>
                  <a:pt x="382070" y="302607"/>
                  <a:pt x="377934" y="297817"/>
                </a:cubicBezTo>
                <a:cubicBezTo>
                  <a:pt x="373788" y="292978"/>
                  <a:pt x="371423" y="288111"/>
                  <a:pt x="368775" y="282470"/>
                </a:cubicBezTo>
                <a:cubicBezTo>
                  <a:pt x="366035" y="278585"/>
                  <a:pt x="362994" y="274937"/>
                  <a:pt x="359890" y="271284"/>
                </a:cubicBezTo>
                <a:cubicBezTo>
                  <a:pt x="359059" y="270296"/>
                  <a:pt x="358230" y="269307"/>
                  <a:pt x="357374" y="268288"/>
                </a:cubicBezTo>
                <a:cubicBezTo>
                  <a:pt x="351312" y="261177"/>
                  <a:pt x="344882" y="254704"/>
                  <a:pt x="337533" y="248649"/>
                </a:cubicBezTo>
                <a:cubicBezTo>
                  <a:pt x="336767" y="247896"/>
                  <a:pt x="336002" y="247144"/>
                  <a:pt x="335214" y="246369"/>
                </a:cubicBezTo>
                <a:cubicBezTo>
                  <a:pt x="332597" y="243963"/>
                  <a:pt x="332597" y="243963"/>
                  <a:pt x="327085" y="242571"/>
                </a:cubicBezTo>
                <a:cubicBezTo>
                  <a:pt x="309670" y="236923"/>
                  <a:pt x="296614" y="222751"/>
                  <a:pt x="288785" y="207968"/>
                </a:cubicBezTo>
                <a:cubicBezTo>
                  <a:pt x="286673" y="202851"/>
                  <a:pt x="286348" y="197968"/>
                  <a:pt x="286373" y="192544"/>
                </a:cubicBezTo>
                <a:cubicBezTo>
                  <a:pt x="286377" y="191437"/>
                  <a:pt x="286381" y="190330"/>
                  <a:pt x="286385" y="189190"/>
                </a:cubicBezTo>
                <a:cubicBezTo>
                  <a:pt x="286881" y="178340"/>
                  <a:pt x="291581" y="171728"/>
                  <a:pt x="300042" y="164095"/>
                </a:cubicBezTo>
                <a:cubicBezTo>
                  <a:pt x="301386" y="162752"/>
                  <a:pt x="301386" y="162752"/>
                  <a:pt x="302757" y="161381"/>
                </a:cubicBezTo>
                <a:cubicBezTo>
                  <a:pt x="312597" y="152504"/>
                  <a:pt x="325185" y="152675"/>
                  <a:pt x="338411" y="152293"/>
                </a:cubicBezTo>
                <a:cubicBezTo>
                  <a:pt x="350839" y="152463"/>
                  <a:pt x="359094" y="154554"/>
                  <a:pt x="368482" y="161893"/>
                </a:cubicBezTo>
                <a:cubicBezTo>
                  <a:pt x="369609" y="163085"/>
                  <a:pt x="370737" y="164277"/>
                  <a:pt x="371899" y="165505"/>
                </a:cubicBezTo>
                <a:cubicBezTo>
                  <a:pt x="372962" y="166522"/>
                  <a:pt x="374026" y="167539"/>
                  <a:pt x="375121" y="168587"/>
                </a:cubicBezTo>
                <a:cubicBezTo>
                  <a:pt x="381050" y="176351"/>
                  <a:pt x="384520" y="184328"/>
                  <a:pt x="384982" y="193777"/>
                </a:cubicBezTo>
                <a:cubicBezTo>
                  <a:pt x="385464" y="201192"/>
                  <a:pt x="387638" y="207607"/>
                  <a:pt x="390352" y="214563"/>
                </a:cubicBezTo>
                <a:cubicBezTo>
                  <a:pt x="390934" y="216079"/>
                  <a:pt x="390934" y="216079"/>
                  <a:pt x="391529" y="217626"/>
                </a:cubicBezTo>
                <a:cubicBezTo>
                  <a:pt x="394082" y="223926"/>
                  <a:pt x="397412" y="228969"/>
                  <a:pt x="401579" y="234556"/>
                </a:cubicBezTo>
                <a:cubicBezTo>
                  <a:pt x="401579" y="235952"/>
                  <a:pt x="401579" y="237347"/>
                  <a:pt x="401579" y="238784"/>
                </a:cubicBezTo>
                <a:cubicBezTo>
                  <a:pt x="402884" y="239263"/>
                  <a:pt x="402884" y="239263"/>
                  <a:pt x="404215" y="239753"/>
                </a:cubicBezTo>
                <a:cubicBezTo>
                  <a:pt x="410099" y="242765"/>
                  <a:pt x="414395" y="246733"/>
                  <a:pt x="417811" y="251996"/>
                </a:cubicBezTo>
                <a:cubicBezTo>
                  <a:pt x="420462" y="255897"/>
                  <a:pt x="423407" y="258959"/>
                  <a:pt x="426866" y="262300"/>
                </a:cubicBezTo>
                <a:cubicBezTo>
                  <a:pt x="435101" y="270407"/>
                  <a:pt x="442641" y="278936"/>
                  <a:pt x="450097" y="287628"/>
                </a:cubicBezTo>
                <a:cubicBezTo>
                  <a:pt x="453081" y="291117"/>
                  <a:pt x="453081" y="291117"/>
                  <a:pt x="457425" y="293920"/>
                </a:cubicBezTo>
                <a:cubicBezTo>
                  <a:pt x="458585" y="294792"/>
                  <a:pt x="459745" y="295664"/>
                  <a:pt x="460940" y="296562"/>
                </a:cubicBezTo>
                <a:cubicBezTo>
                  <a:pt x="460940" y="297957"/>
                  <a:pt x="460940" y="299352"/>
                  <a:pt x="460940" y="300790"/>
                </a:cubicBezTo>
                <a:cubicBezTo>
                  <a:pt x="465063" y="302782"/>
                  <a:pt x="468862" y="304133"/>
                  <a:pt x="473437" y="305018"/>
                </a:cubicBezTo>
                <a:cubicBezTo>
                  <a:pt x="473437" y="305947"/>
                  <a:pt x="473437" y="306877"/>
                  <a:pt x="473437" y="307836"/>
                </a:cubicBezTo>
                <a:cubicBezTo>
                  <a:pt x="475581" y="308519"/>
                  <a:pt x="477730" y="309193"/>
                  <a:pt x="479881" y="309862"/>
                </a:cubicBezTo>
                <a:cubicBezTo>
                  <a:pt x="481077" y="310237"/>
                  <a:pt x="482273" y="310614"/>
                  <a:pt x="483505" y="311001"/>
                </a:cubicBezTo>
                <a:cubicBezTo>
                  <a:pt x="505448" y="316843"/>
                  <a:pt x="527690" y="314359"/>
                  <a:pt x="548419" y="306427"/>
                </a:cubicBezTo>
                <a:cubicBezTo>
                  <a:pt x="549548" y="305998"/>
                  <a:pt x="550678" y="305569"/>
                  <a:pt x="551842" y="305127"/>
                </a:cubicBezTo>
                <a:cubicBezTo>
                  <a:pt x="555376" y="303227"/>
                  <a:pt x="557584" y="300980"/>
                  <a:pt x="560232" y="298148"/>
                </a:cubicBezTo>
                <a:cubicBezTo>
                  <a:pt x="561137" y="297192"/>
                  <a:pt x="562041" y="296236"/>
                  <a:pt x="562972" y="295252"/>
                </a:cubicBezTo>
                <a:cubicBezTo>
                  <a:pt x="564755" y="293274"/>
                  <a:pt x="566459" y="291237"/>
                  <a:pt x="568086" y="289152"/>
                </a:cubicBezTo>
                <a:cubicBezTo>
                  <a:pt x="568813" y="288342"/>
                  <a:pt x="569539" y="287532"/>
                  <a:pt x="570289" y="286697"/>
                </a:cubicBezTo>
                <a:cubicBezTo>
                  <a:pt x="571319" y="286697"/>
                  <a:pt x="572350" y="286697"/>
                  <a:pt x="573413" y="286697"/>
                </a:cubicBezTo>
                <a:cubicBezTo>
                  <a:pt x="577408" y="276984"/>
                  <a:pt x="577197" y="267284"/>
                  <a:pt x="577220" y="257016"/>
                </a:cubicBezTo>
                <a:cubicBezTo>
                  <a:pt x="577227" y="255625"/>
                  <a:pt x="577227" y="255625"/>
                  <a:pt x="577235" y="254206"/>
                </a:cubicBezTo>
                <a:cubicBezTo>
                  <a:pt x="577257" y="237553"/>
                  <a:pt x="574604" y="222055"/>
                  <a:pt x="569443" y="206049"/>
                </a:cubicBezTo>
                <a:cubicBezTo>
                  <a:pt x="568726" y="203553"/>
                  <a:pt x="568726" y="203553"/>
                  <a:pt x="568726" y="200735"/>
                </a:cubicBezTo>
                <a:cubicBezTo>
                  <a:pt x="567695" y="200735"/>
                  <a:pt x="566664" y="200735"/>
                  <a:pt x="565602" y="200735"/>
                </a:cubicBezTo>
                <a:cubicBezTo>
                  <a:pt x="563274" y="195295"/>
                  <a:pt x="561092" y="190108"/>
                  <a:pt x="559549" y="184441"/>
                </a:cubicBezTo>
                <a:cubicBezTo>
                  <a:pt x="555572" y="173477"/>
                  <a:pt x="547043" y="167105"/>
                  <a:pt x="537484" y="159867"/>
                </a:cubicBezTo>
                <a:cubicBezTo>
                  <a:pt x="533579" y="156609"/>
                  <a:pt x="533579" y="156609"/>
                  <a:pt x="531235" y="154230"/>
                </a:cubicBezTo>
                <a:cubicBezTo>
                  <a:pt x="531235" y="153301"/>
                  <a:pt x="531235" y="152371"/>
                  <a:pt x="531235" y="151412"/>
                </a:cubicBezTo>
                <a:cubicBezTo>
                  <a:pt x="529689" y="150947"/>
                  <a:pt x="528143" y="150482"/>
                  <a:pt x="526549" y="150003"/>
                </a:cubicBezTo>
                <a:cubicBezTo>
                  <a:pt x="519904" y="137298"/>
                  <a:pt x="519105" y="120357"/>
                  <a:pt x="524304" y="107198"/>
                </a:cubicBezTo>
                <a:cubicBezTo>
                  <a:pt x="529443" y="97376"/>
                  <a:pt x="535781" y="90193"/>
                  <a:pt x="547052" y="85972"/>
                </a:cubicBezTo>
                <a:cubicBezTo>
                  <a:pt x="559924" y="81835"/>
                  <a:pt x="575221" y="79746"/>
                  <a:pt x="588460" y="83538"/>
                </a:cubicBezTo>
                <a:cubicBezTo>
                  <a:pt x="601643" y="89713"/>
                  <a:pt x="611835" y="99450"/>
                  <a:pt x="617152" y="111954"/>
                </a:cubicBezTo>
                <a:cubicBezTo>
                  <a:pt x="617935" y="116052"/>
                  <a:pt x="617954" y="120024"/>
                  <a:pt x="617884" y="124175"/>
                </a:cubicBezTo>
                <a:cubicBezTo>
                  <a:pt x="617896" y="125307"/>
                  <a:pt x="617906" y="126440"/>
                  <a:pt x="617917" y="127607"/>
                </a:cubicBezTo>
                <a:cubicBezTo>
                  <a:pt x="617963" y="132394"/>
                  <a:pt x="617938" y="137181"/>
                  <a:pt x="617919" y="141969"/>
                </a:cubicBezTo>
                <a:cubicBezTo>
                  <a:pt x="617899" y="160184"/>
                  <a:pt x="619422" y="175572"/>
                  <a:pt x="630625" y="191311"/>
                </a:cubicBezTo>
                <a:cubicBezTo>
                  <a:pt x="633753" y="195891"/>
                  <a:pt x="636431" y="199900"/>
                  <a:pt x="637850" y="205139"/>
                </a:cubicBezTo>
                <a:cubicBezTo>
                  <a:pt x="638615" y="209623"/>
                  <a:pt x="638615" y="209623"/>
                  <a:pt x="643708" y="212009"/>
                </a:cubicBezTo>
                <a:cubicBezTo>
                  <a:pt x="645380" y="214563"/>
                  <a:pt x="645380" y="214563"/>
                  <a:pt x="647027" y="217645"/>
                </a:cubicBezTo>
                <a:cubicBezTo>
                  <a:pt x="652549" y="227016"/>
                  <a:pt x="660443" y="235696"/>
                  <a:pt x="670264" y="241603"/>
                </a:cubicBezTo>
                <a:cubicBezTo>
                  <a:pt x="670264" y="242532"/>
                  <a:pt x="670264" y="243462"/>
                  <a:pt x="670264" y="244421"/>
                </a:cubicBezTo>
                <a:cubicBezTo>
                  <a:pt x="672036" y="244857"/>
                  <a:pt x="673808" y="245293"/>
                  <a:pt x="675634" y="245742"/>
                </a:cubicBezTo>
                <a:cubicBezTo>
                  <a:pt x="681199" y="247239"/>
                  <a:pt x="681199" y="247239"/>
                  <a:pt x="682761" y="248649"/>
                </a:cubicBezTo>
                <a:cubicBezTo>
                  <a:pt x="704487" y="252065"/>
                  <a:pt x="732606" y="256402"/>
                  <a:pt x="752092" y="245076"/>
                </a:cubicBezTo>
                <a:cubicBezTo>
                  <a:pt x="754252" y="243599"/>
                  <a:pt x="756372" y="242073"/>
                  <a:pt x="758433" y="240485"/>
                </a:cubicBezTo>
                <a:cubicBezTo>
                  <a:pt x="760867" y="238784"/>
                  <a:pt x="760867" y="238784"/>
                  <a:pt x="763991" y="238784"/>
                </a:cubicBezTo>
                <a:cubicBezTo>
                  <a:pt x="764647" y="237296"/>
                  <a:pt x="764647" y="237296"/>
                  <a:pt x="765315" y="235778"/>
                </a:cubicBezTo>
                <a:cubicBezTo>
                  <a:pt x="767151" y="231659"/>
                  <a:pt x="769030" y="227557"/>
                  <a:pt x="770923" y="223459"/>
                </a:cubicBezTo>
                <a:cubicBezTo>
                  <a:pt x="771608" y="221966"/>
                  <a:pt x="772292" y="220472"/>
                  <a:pt x="772998" y="218934"/>
                </a:cubicBezTo>
                <a:cubicBezTo>
                  <a:pt x="774429" y="215885"/>
                  <a:pt x="775968" y="212878"/>
                  <a:pt x="777562" y="209895"/>
                </a:cubicBezTo>
                <a:cubicBezTo>
                  <a:pt x="787607" y="185732"/>
                  <a:pt x="788559" y="149501"/>
                  <a:pt x="781175" y="124637"/>
                </a:cubicBezTo>
                <a:cubicBezTo>
                  <a:pt x="780144" y="124637"/>
                  <a:pt x="779113" y="124637"/>
                  <a:pt x="778051" y="124637"/>
                </a:cubicBezTo>
                <a:cubicBezTo>
                  <a:pt x="768501" y="110080"/>
                  <a:pt x="762898" y="96653"/>
                  <a:pt x="767116" y="79542"/>
                </a:cubicBezTo>
                <a:cubicBezTo>
                  <a:pt x="772286" y="69057"/>
                  <a:pt x="781456" y="58252"/>
                  <a:pt x="793379" y="54000"/>
                </a:cubicBezTo>
                <a:cubicBezTo>
                  <a:pt x="808369" y="49250"/>
                  <a:pt x="826058" y="49579"/>
                  <a:pt x="840688" y="55503"/>
                </a:cubicBezTo>
                <a:cubicBezTo>
                  <a:pt x="845183" y="57759"/>
                  <a:pt x="848037" y="60575"/>
                  <a:pt x="851470" y="64040"/>
                </a:cubicBezTo>
                <a:cubicBezTo>
                  <a:pt x="852721" y="65272"/>
                  <a:pt x="852721" y="65272"/>
                  <a:pt x="853997" y="66529"/>
                </a:cubicBezTo>
                <a:cubicBezTo>
                  <a:pt x="858396" y="71505"/>
                  <a:pt x="860490" y="76640"/>
                  <a:pt x="861488" y="82057"/>
                </a:cubicBezTo>
                <a:lnTo>
                  <a:pt x="861937" y="90492"/>
                </a:lnTo>
                <a:lnTo>
                  <a:pt x="863826" y="100715"/>
                </a:lnTo>
                <a:cubicBezTo>
                  <a:pt x="862141" y="107853"/>
                  <a:pt x="859866" y="114857"/>
                  <a:pt x="857577" y="121853"/>
                </a:cubicBezTo>
                <a:cubicBezTo>
                  <a:pt x="857062" y="121853"/>
                  <a:pt x="856547" y="121853"/>
                  <a:pt x="856015" y="121853"/>
                </a:cubicBezTo>
                <a:cubicBezTo>
                  <a:pt x="855731" y="120401"/>
                  <a:pt x="855731" y="120401"/>
                  <a:pt x="855442" y="118919"/>
                </a:cubicBezTo>
                <a:lnTo>
                  <a:pt x="855417" y="118798"/>
                </a:lnTo>
                <a:lnTo>
                  <a:pt x="856157" y="124637"/>
                </a:lnTo>
                <a:lnTo>
                  <a:pt x="850623" y="134701"/>
                </a:lnTo>
                <a:lnTo>
                  <a:pt x="851325" y="135968"/>
                </a:lnTo>
                <a:cubicBezTo>
                  <a:pt x="850851" y="137246"/>
                  <a:pt x="850376" y="138525"/>
                  <a:pt x="849886" y="139843"/>
                </a:cubicBezTo>
                <a:cubicBezTo>
                  <a:pt x="848171" y="144505"/>
                  <a:pt x="847798" y="148002"/>
                  <a:pt x="847786" y="152889"/>
                </a:cubicBezTo>
                <a:cubicBezTo>
                  <a:pt x="847779" y="154500"/>
                  <a:pt x="847773" y="156109"/>
                  <a:pt x="847767" y="157768"/>
                </a:cubicBezTo>
                <a:cubicBezTo>
                  <a:pt x="847782" y="159468"/>
                  <a:pt x="847796" y="161167"/>
                  <a:pt x="847810" y="162919"/>
                </a:cubicBezTo>
                <a:cubicBezTo>
                  <a:pt x="847821" y="165546"/>
                  <a:pt x="847821" y="165546"/>
                  <a:pt x="847832" y="168227"/>
                </a:cubicBezTo>
                <a:cubicBezTo>
                  <a:pt x="847980" y="181934"/>
                  <a:pt x="849003" y="195419"/>
                  <a:pt x="850903" y="209013"/>
                </a:cubicBezTo>
                <a:lnTo>
                  <a:pt x="852880" y="224692"/>
                </a:lnTo>
                <a:lnTo>
                  <a:pt x="854595" y="224692"/>
                </a:lnTo>
                <a:cubicBezTo>
                  <a:pt x="855086" y="225542"/>
                  <a:pt x="855577" y="226392"/>
                  <a:pt x="856083" y="227268"/>
                </a:cubicBezTo>
                <a:cubicBezTo>
                  <a:pt x="862358" y="237839"/>
                  <a:pt x="866924" y="242785"/>
                  <a:pt x="879588" y="247239"/>
                </a:cubicBezTo>
                <a:cubicBezTo>
                  <a:pt x="881642" y="248025"/>
                  <a:pt x="883692" y="248817"/>
                  <a:pt x="885739" y="249618"/>
                </a:cubicBezTo>
                <a:cubicBezTo>
                  <a:pt x="887318" y="250227"/>
                  <a:pt x="888897" y="250838"/>
                  <a:pt x="890523" y="251467"/>
                </a:cubicBezTo>
                <a:cubicBezTo>
                  <a:pt x="890523" y="252397"/>
                  <a:pt x="890523" y="253327"/>
                  <a:pt x="890523" y="254285"/>
                </a:cubicBezTo>
                <a:cubicBezTo>
                  <a:pt x="900347" y="257061"/>
                  <a:pt x="910127" y="259425"/>
                  <a:pt x="920203" y="261332"/>
                </a:cubicBezTo>
                <a:cubicBezTo>
                  <a:pt x="920203" y="261796"/>
                  <a:pt x="920203" y="262262"/>
                  <a:pt x="920203" y="262741"/>
                </a:cubicBezTo>
                <a:cubicBezTo>
                  <a:pt x="917111" y="262741"/>
                  <a:pt x="914018" y="262741"/>
                  <a:pt x="910831" y="262741"/>
                </a:cubicBezTo>
                <a:lnTo>
                  <a:pt x="910831" y="262864"/>
                </a:lnTo>
                <a:lnTo>
                  <a:pt x="927993" y="264177"/>
                </a:lnTo>
                <a:lnTo>
                  <a:pt x="939273" y="265285"/>
                </a:lnTo>
                <a:lnTo>
                  <a:pt x="940456" y="265191"/>
                </a:lnTo>
                <a:cubicBezTo>
                  <a:pt x="962552" y="263054"/>
                  <a:pt x="974979" y="255295"/>
                  <a:pt x="991622" y="242329"/>
                </a:cubicBezTo>
                <a:lnTo>
                  <a:pt x="1000803" y="236505"/>
                </a:lnTo>
                <a:lnTo>
                  <a:pt x="999806" y="236055"/>
                </a:lnTo>
                <a:cubicBezTo>
                  <a:pt x="1000902" y="234997"/>
                  <a:pt x="1001997" y="233941"/>
                  <a:pt x="1003126" y="232851"/>
                </a:cubicBezTo>
                <a:cubicBezTo>
                  <a:pt x="1012364" y="223880"/>
                  <a:pt x="1021184" y="214752"/>
                  <a:pt x="1029487" y="205052"/>
                </a:cubicBezTo>
                <a:lnTo>
                  <a:pt x="1029872" y="206442"/>
                </a:lnTo>
                <a:lnTo>
                  <a:pt x="1031614" y="203719"/>
                </a:lnTo>
                <a:cubicBezTo>
                  <a:pt x="1033221" y="199204"/>
                  <a:pt x="1035713" y="196017"/>
                  <a:pt x="1038924" y="192280"/>
                </a:cubicBezTo>
                <a:cubicBezTo>
                  <a:pt x="1039956" y="191815"/>
                  <a:pt x="1040987" y="191349"/>
                  <a:pt x="1042049" y="190870"/>
                </a:cubicBezTo>
                <a:cubicBezTo>
                  <a:pt x="1043161" y="188473"/>
                  <a:pt x="1043161" y="188473"/>
                  <a:pt x="1044294" y="186026"/>
                </a:cubicBezTo>
                <a:cubicBezTo>
                  <a:pt x="1046735" y="181006"/>
                  <a:pt x="1046735" y="181006"/>
                  <a:pt x="1051422" y="178188"/>
                </a:cubicBezTo>
                <a:cubicBezTo>
                  <a:pt x="1052553" y="175286"/>
                  <a:pt x="1052553" y="175286"/>
                  <a:pt x="1052984" y="172551"/>
                </a:cubicBezTo>
                <a:cubicBezTo>
                  <a:pt x="1054014" y="172551"/>
                  <a:pt x="1055046" y="172551"/>
                  <a:pt x="1056108" y="172551"/>
                </a:cubicBezTo>
                <a:cubicBezTo>
                  <a:pt x="1057139" y="169295"/>
                  <a:pt x="1058170" y="166040"/>
                  <a:pt x="1059232" y="162686"/>
                </a:cubicBezTo>
                <a:cubicBezTo>
                  <a:pt x="1060263" y="162686"/>
                  <a:pt x="1061295" y="162686"/>
                  <a:pt x="1062357" y="162686"/>
                </a:cubicBezTo>
                <a:cubicBezTo>
                  <a:pt x="1062755" y="161484"/>
                  <a:pt x="1062755" y="161484"/>
                  <a:pt x="1063162" y="160258"/>
                </a:cubicBezTo>
                <a:cubicBezTo>
                  <a:pt x="1065716" y="152917"/>
                  <a:pt x="1068813" y="146686"/>
                  <a:pt x="1073292" y="140138"/>
                </a:cubicBezTo>
                <a:cubicBezTo>
                  <a:pt x="1074322" y="140138"/>
                  <a:pt x="1075353" y="140138"/>
                  <a:pt x="1076415" y="140138"/>
                </a:cubicBezTo>
                <a:cubicBezTo>
                  <a:pt x="1079808" y="132748"/>
                  <a:pt x="1082509" y="125160"/>
                  <a:pt x="1085294" y="117569"/>
                </a:cubicBezTo>
                <a:cubicBezTo>
                  <a:pt x="1085972" y="116181"/>
                  <a:pt x="1086651" y="114793"/>
                  <a:pt x="1087350" y="113363"/>
                </a:cubicBezTo>
                <a:cubicBezTo>
                  <a:pt x="1089671" y="112666"/>
                  <a:pt x="1089671" y="112666"/>
                  <a:pt x="1092037" y="111954"/>
                </a:cubicBezTo>
                <a:cubicBezTo>
                  <a:pt x="1092230" y="110879"/>
                  <a:pt x="1092423" y="109803"/>
                  <a:pt x="1092623" y="108695"/>
                </a:cubicBezTo>
                <a:cubicBezTo>
                  <a:pt x="1093599" y="104908"/>
                  <a:pt x="1093599" y="104908"/>
                  <a:pt x="1096723" y="100680"/>
                </a:cubicBezTo>
                <a:cubicBezTo>
                  <a:pt x="1097207" y="99140"/>
                  <a:pt x="1097689" y="97599"/>
                  <a:pt x="1098188" y="96013"/>
                </a:cubicBezTo>
                <a:cubicBezTo>
                  <a:pt x="1099847" y="90815"/>
                  <a:pt x="1099847" y="90815"/>
                  <a:pt x="1102288" y="87029"/>
                </a:cubicBezTo>
                <a:cubicBezTo>
                  <a:pt x="1106061" y="79186"/>
                  <a:pt x="1107564" y="69424"/>
                  <a:pt x="1104534" y="61222"/>
                </a:cubicBezTo>
                <a:cubicBezTo>
                  <a:pt x="1104409" y="59341"/>
                  <a:pt x="1104366" y="57454"/>
                  <a:pt x="1104381" y="55569"/>
                </a:cubicBezTo>
                <a:cubicBezTo>
                  <a:pt x="1104386" y="54501"/>
                  <a:pt x="1104391" y="53434"/>
                  <a:pt x="1104397" y="52335"/>
                </a:cubicBezTo>
                <a:cubicBezTo>
                  <a:pt x="1104410" y="51228"/>
                  <a:pt x="1104423" y="50120"/>
                  <a:pt x="1104436" y="48979"/>
                </a:cubicBezTo>
                <a:cubicBezTo>
                  <a:pt x="1104443" y="47856"/>
                  <a:pt x="1104451" y="46733"/>
                  <a:pt x="1104457" y="45575"/>
                </a:cubicBezTo>
                <a:cubicBezTo>
                  <a:pt x="1104476" y="42805"/>
                  <a:pt x="1104504" y="40035"/>
                  <a:pt x="1104534" y="37265"/>
                </a:cubicBezTo>
                <a:cubicBezTo>
                  <a:pt x="1105565" y="37265"/>
                  <a:pt x="1106596" y="37265"/>
                  <a:pt x="1107658" y="37265"/>
                </a:cubicBezTo>
                <a:cubicBezTo>
                  <a:pt x="1107561" y="34562"/>
                  <a:pt x="1107561" y="34562"/>
                  <a:pt x="1107463" y="31805"/>
                </a:cubicBezTo>
                <a:cubicBezTo>
                  <a:pt x="1107353" y="28733"/>
                  <a:pt x="1107353" y="28733"/>
                  <a:pt x="1107658" y="25991"/>
                </a:cubicBezTo>
                <a:cubicBezTo>
                  <a:pt x="1108689" y="25062"/>
                  <a:pt x="1109720" y="24131"/>
                  <a:pt x="1110782" y="23173"/>
                </a:cubicBezTo>
                <a:cubicBezTo>
                  <a:pt x="1111104" y="22156"/>
                  <a:pt x="1111427" y="21138"/>
                  <a:pt x="1111759" y="20091"/>
                </a:cubicBezTo>
                <a:cubicBezTo>
                  <a:pt x="1116393" y="11539"/>
                  <a:pt x="1124927" y="6390"/>
                  <a:pt x="1134507" y="2828"/>
                </a:cubicBezTo>
                <a:cubicBezTo>
                  <a:pt x="1141389" y="825"/>
                  <a:pt x="1148262" y="-204"/>
                  <a:pt x="1155019" y="35"/>
                </a:cubicBezTo>
                <a:close/>
              </a:path>
            </a:pathLst>
          </a:custGeom>
          <a:solidFill>
            <a:srgbClr val="255061"/>
          </a:solidFill>
          <a:ln w="2232" cap="flat">
            <a:noFill/>
            <a:prstDash val="solid"/>
            <a:miter/>
          </a:ln>
          <a:effectLst>
            <a:innerShdw blurRad="63500" dist="177800" dir="8100000">
              <a:schemeClr val="accent3">
                <a:lumMod val="75000"/>
                <a:alpha val="50000"/>
              </a:schemeClr>
            </a:innerShdw>
          </a:effectLst>
        </p:spPr>
        <p:txBody>
          <a:bodyPr wrap="squar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395" name="Free-form: Shape 7394">
            <a:extLst>
              <a:ext uri="{FF2B5EF4-FFF2-40B4-BE49-F238E27FC236}">
                <a16:creationId xmlns:a16="http://schemas.microsoft.com/office/drawing/2014/main" id="{0D500128-4A3D-5455-CE23-C0782F6B5A45}"/>
              </a:ext>
            </a:extLst>
          </p:cNvPr>
          <p:cNvSpPr/>
          <p:nvPr/>
        </p:nvSpPr>
        <p:spPr>
          <a:xfrm>
            <a:off x="6611754" y="4794884"/>
            <a:ext cx="1479702" cy="1414533"/>
          </a:xfrm>
          <a:custGeom>
            <a:avLst/>
            <a:gdLst>
              <a:gd name="csX0" fmla="*/ 401579 w 1609516"/>
              <a:gd name="csY0" fmla="*/ 1495809 h 1538630"/>
              <a:gd name="csX1" fmla="*/ 400190 w 1609516"/>
              <a:gd name="csY1" fmla="*/ 1496004 h 1538630"/>
              <a:gd name="csX2" fmla="*/ 401224 w 1609516"/>
              <a:gd name="csY2" fmla="*/ 1496470 h 1538630"/>
              <a:gd name="csX3" fmla="*/ 401224 w 1609516"/>
              <a:gd name="csY3" fmla="*/ 1498590 h 1538630"/>
              <a:gd name="csX4" fmla="*/ 401579 w 1609516"/>
              <a:gd name="csY4" fmla="*/ 1498628 h 1538630"/>
              <a:gd name="csX5" fmla="*/ 401579 w 1609516"/>
              <a:gd name="csY5" fmla="*/ 1495809 h 1538630"/>
              <a:gd name="csX6" fmla="*/ 368755 w 1609516"/>
              <a:gd name="csY6" fmla="*/ 1486512 h 1538630"/>
              <a:gd name="csX7" fmla="*/ 364089 w 1609516"/>
              <a:gd name="csY7" fmla="*/ 1487354 h 1538630"/>
              <a:gd name="csX8" fmla="*/ 364089 w 1609516"/>
              <a:gd name="csY8" fmla="*/ 1487908 h 1538630"/>
              <a:gd name="csX9" fmla="*/ 1049801 w 1609516"/>
              <a:gd name="csY9" fmla="*/ 1484562 h 1538630"/>
              <a:gd name="csX10" fmla="*/ 1046735 w 1609516"/>
              <a:gd name="csY10" fmla="*/ 1485945 h 1538630"/>
              <a:gd name="csX11" fmla="*/ 1046955 w 1609516"/>
              <a:gd name="csY11" fmla="*/ 1486045 h 1538630"/>
              <a:gd name="csX12" fmla="*/ 1049801 w 1609516"/>
              <a:gd name="csY12" fmla="*/ 1485188 h 1538630"/>
              <a:gd name="csX13" fmla="*/ 351234 w 1609516"/>
              <a:gd name="csY13" fmla="*/ 1444508 h 1538630"/>
              <a:gd name="csX14" fmla="*/ 351234 w 1609516"/>
              <a:gd name="csY14" fmla="*/ 1444997 h 1538630"/>
              <a:gd name="csX15" fmla="*/ 351592 w 1609516"/>
              <a:gd name="csY15" fmla="*/ 1445078 h 1538630"/>
              <a:gd name="csX16" fmla="*/ 351908 w 1609516"/>
              <a:gd name="csY16" fmla="*/ 1431206 h 1538630"/>
              <a:gd name="csX17" fmla="*/ 351234 w 1609516"/>
              <a:gd name="csY17" fmla="*/ 1431611 h 1538630"/>
              <a:gd name="csX18" fmla="*/ 351234 w 1609516"/>
              <a:gd name="csY18" fmla="*/ 1432274 h 1538630"/>
              <a:gd name="csX19" fmla="*/ 358162 w 1609516"/>
              <a:gd name="csY19" fmla="*/ 1421494 h 1538630"/>
              <a:gd name="csX20" fmla="*/ 355921 w 1609516"/>
              <a:gd name="csY20" fmla="*/ 1423156 h 1538630"/>
              <a:gd name="csX21" fmla="*/ 355921 w 1609516"/>
              <a:gd name="csY21" fmla="*/ 1423548 h 1538630"/>
              <a:gd name="csX22" fmla="*/ 376098 w 1609516"/>
              <a:gd name="csY22" fmla="*/ 1408347 h 1538630"/>
              <a:gd name="csX23" fmla="*/ 370750 w 1609516"/>
              <a:gd name="csY23" fmla="*/ 1412245 h 1538630"/>
              <a:gd name="csX24" fmla="*/ 375023 w 1609516"/>
              <a:gd name="csY24" fmla="*/ 1411256 h 1538630"/>
              <a:gd name="csX25" fmla="*/ 421956 w 1609516"/>
              <a:gd name="csY25" fmla="*/ 1365623 h 1538630"/>
              <a:gd name="csX26" fmla="*/ 421765 w 1609516"/>
              <a:gd name="csY26" fmla="*/ 1366161 h 1538630"/>
              <a:gd name="csX27" fmla="*/ 421887 w 1609516"/>
              <a:gd name="csY27" fmla="*/ 1366161 h 1538630"/>
              <a:gd name="csX28" fmla="*/ 754553 w 1609516"/>
              <a:gd name="csY28" fmla="*/ 1360575 h 1538630"/>
              <a:gd name="csX29" fmla="*/ 754089 w 1609516"/>
              <a:gd name="csY29" fmla="*/ 1361433 h 1538630"/>
              <a:gd name="csX30" fmla="*/ 754431 w 1609516"/>
              <a:gd name="csY30" fmla="*/ 1361125 h 1538630"/>
              <a:gd name="csX31" fmla="*/ 1277973 w 1609516"/>
              <a:gd name="csY31" fmla="*/ 1332923 h 1538630"/>
              <a:gd name="csX32" fmla="*/ 1277944 w 1609516"/>
              <a:gd name="csY32" fmla="*/ 1332936 h 1538630"/>
              <a:gd name="csX33" fmla="*/ 1277949 w 1609516"/>
              <a:gd name="csY33" fmla="*/ 1333139 h 1538630"/>
              <a:gd name="csX34" fmla="*/ 1268556 w 1609516"/>
              <a:gd name="csY34" fmla="*/ 1321066 h 1538630"/>
              <a:gd name="csX35" fmla="*/ 1268556 w 1609516"/>
              <a:gd name="csY35" fmla="*/ 1325294 h 1538630"/>
              <a:gd name="csX36" fmla="*/ 1265432 w 1609516"/>
              <a:gd name="csY36" fmla="*/ 1325294 h 1538630"/>
              <a:gd name="csX37" fmla="*/ 1265432 w 1609516"/>
              <a:gd name="csY37" fmla="*/ 1340795 h 1538630"/>
              <a:gd name="csX38" fmla="*/ 1265476 w 1609516"/>
              <a:gd name="csY38" fmla="*/ 1340714 h 1538630"/>
              <a:gd name="csX39" fmla="*/ 1265476 w 1609516"/>
              <a:gd name="csY39" fmla="*/ 1325877 h 1538630"/>
              <a:gd name="csX40" fmla="*/ 1268600 w 1609516"/>
              <a:gd name="csY40" fmla="*/ 1325877 h 1538630"/>
              <a:gd name="csX41" fmla="*/ 1268600 w 1609516"/>
              <a:gd name="csY41" fmla="*/ 1321649 h 1538630"/>
              <a:gd name="csX42" fmla="*/ 1273286 w 1609516"/>
              <a:gd name="csY42" fmla="*/ 1321649 h 1538630"/>
              <a:gd name="csX43" fmla="*/ 1273227 w 1609516"/>
              <a:gd name="csY43" fmla="*/ 1321066 h 1538630"/>
              <a:gd name="csX44" fmla="*/ 827891 w 1609516"/>
              <a:gd name="csY44" fmla="*/ 1291474 h 1538630"/>
              <a:gd name="csX45" fmla="*/ 822601 w 1609516"/>
              <a:gd name="csY45" fmla="*/ 1291544 h 1538630"/>
              <a:gd name="csX46" fmla="*/ 818272 w 1609516"/>
              <a:gd name="csY46" fmla="*/ 1292220 h 1538630"/>
              <a:gd name="csX47" fmla="*/ 827891 w 1609516"/>
              <a:gd name="csY47" fmla="*/ 1292047 h 1538630"/>
              <a:gd name="csX48" fmla="*/ 856397 w 1609516"/>
              <a:gd name="csY48" fmla="*/ 1288691 h 1538630"/>
              <a:gd name="csX49" fmla="*/ 865903 w 1609516"/>
              <a:gd name="csY49" fmla="*/ 1290590 h 1538630"/>
              <a:gd name="csX50" fmla="*/ 859999 w 1609516"/>
              <a:gd name="csY50" fmla="*/ 1288752 h 1538630"/>
              <a:gd name="csX51" fmla="*/ 834694 w 1609516"/>
              <a:gd name="csY51" fmla="*/ 1288572 h 1538630"/>
              <a:gd name="csX52" fmla="*/ 828038 w 1609516"/>
              <a:gd name="csY52" fmla="*/ 1288654 h 1538630"/>
              <a:gd name="csX53" fmla="*/ 828038 w 1609516"/>
              <a:gd name="csY53" fmla="*/ 1289214 h 1538630"/>
              <a:gd name="csX54" fmla="*/ 229746 w 1609516"/>
              <a:gd name="csY54" fmla="*/ 1191418 h 1538630"/>
              <a:gd name="csX55" fmla="*/ 227402 w 1609516"/>
              <a:gd name="csY55" fmla="*/ 1191947 h 1538630"/>
              <a:gd name="csX56" fmla="*/ 229315 w 1609516"/>
              <a:gd name="csY56" fmla="*/ 1191947 h 1538630"/>
              <a:gd name="csX57" fmla="*/ 229315 w 1609516"/>
              <a:gd name="csY57" fmla="*/ 1194765 h 1538630"/>
              <a:gd name="csX58" fmla="*/ 231321 w 1609516"/>
              <a:gd name="csY58" fmla="*/ 1194765 h 1538630"/>
              <a:gd name="csX59" fmla="*/ 229746 w 1609516"/>
              <a:gd name="csY59" fmla="*/ 1194236 h 1538630"/>
              <a:gd name="csX60" fmla="*/ 229746 w 1609516"/>
              <a:gd name="csY60" fmla="*/ 1191418 h 1538630"/>
              <a:gd name="csX61" fmla="*/ 215687 w 1609516"/>
              <a:gd name="csY61" fmla="*/ 1187190 h 1538630"/>
              <a:gd name="csX62" fmla="*/ 215198 w 1609516"/>
              <a:gd name="csY62" fmla="*/ 1187720 h 1538630"/>
              <a:gd name="csX63" fmla="*/ 215256 w 1609516"/>
              <a:gd name="csY63" fmla="*/ 1187720 h 1538630"/>
              <a:gd name="csX64" fmla="*/ 215256 w 1609516"/>
              <a:gd name="csY64" fmla="*/ 1191947 h 1538630"/>
              <a:gd name="csX65" fmla="*/ 222721 w 1609516"/>
              <a:gd name="csY65" fmla="*/ 1191947 h 1538630"/>
              <a:gd name="csX66" fmla="*/ 215687 w 1609516"/>
              <a:gd name="csY66" fmla="*/ 1191418 h 1538630"/>
              <a:gd name="csX67" fmla="*/ 215687 w 1609516"/>
              <a:gd name="csY67" fmla="*/ 1187190 h 1538630"/>
              <a:gd name="csX68" fmla="*/ 1279678 w 1609516"/>
              <a:gd name="csY68" fmla="*/ 1082356 h 1538630"/>
              <a:gd name="csX69" fmla="*/ 1271680 w 1609516"/>
              <a:gd name="csY69" fmla="*/ 1084589 h 1538630"/>
              <a:gd name="csX70" fmla="*/ 1282181 w 1609516"/>
              <a:gd name="csY70" fmla="*/ 1082544 h 1538630"/>
              <a:gd name="csX71" fmla="*/ 117703 w 1609516"/>
              <a:gd name="csY71" fmla="*/ 941507 h 1538630"/>
              <a:gd name="csX72" fmla="*/ 112587 w 1609516"/>
              <a:gd name="csY72" fmla="*/ 941985 h 1538630"/>
              <a:gd name="csX73" fmla="*/ 112565 w 1609516"/>
              <a:gd name="csY73" fmla="*/ 942333 h 1538630"/>
              <a:gd name="csX74" fmla="*/ 115665 w 1609516"/>
              <a:gd name="csY74" fmla="*/ 941837 h 1538630"/>
              <a:gd name="csX75" fmla="*/ 144268 w 1609516"/>
              <a:gd name="csY75" fmla="*/ 939395 h 1538630"/>
              <a:gd name="csX76" fmla="*/ 143354 w 1609516"/>
              <a:gd name="csY76" fmla="*/ 939580 h 1538630"/>
              <a:gd name="csX77" fmla="*/ 144077 w 1609516"/>
              <a:gd name="csY77" fmla="*/ 939739 h 1538630"/>
              <a:gd name="csX78" fmla="*/ 162575 w 1609516"/>
              <a:gd name="csY78" fmla="*/ 933530 h 1538630"/>
              <a:gd name="csX79" fmla="*/ 161704 w 1609516"/>
              <a:gd name="csY79" fmla="*/ 935101 h 1538630"/>
              <a:gd name="csX80" fmla="*/ 170045 w 1609516"/>
              <a:gd name="csY80" fmla="*/ 933585 h 1538630"/>
              <a:gd name="csX81" fmla="*/ 1321645 w 1609516"/>
              <a:gd name="csY81" fmla="*/ 918415 h 1538630"/>
              <a:gd name="csX82" fmla="*/ 1321534 w 1609516"/>
              <a:gd name="csY82" fmla="*/ 920177 h 1538630"/>
              <a:gd name="csX83" fmla="*/ 1321740 w 1609516"/>
              <a:gd name="csY83" fmla="*/ 918415 h 1538630"/>
              <a:gd name="csX84" fmla="*/ 1319333 w 1609516"/>
              <a:gd name="csY84" fmla="*/ 915183 h 1538630"/>
              <a:gd name="csX85" fmla="*/ 1318544 w 1609516"/>
              <a:gd name="csY85" fmla="*/ 918029 h 1538630"/>
              <a:gd name="csX86" fmla="*/ 1318702 w 1609516"/>
              <a:gd name="csY86" fmla="*/ 918029 h 1538630"/>
              <a:gd name="csX87" fmla="*/ 1326355 w 1609516"/>
              <a:gd name="csY87" fmla="*/ 907109 h 1538630"/>
              <a:gd name="csX88" fmla="*/ 1326355 w 1609516"/>
              <a:gd name="csY88" fmla="*/ 910983 h 1538630"/>
              <a:gd name="csX89" fmla="*/ 1325831 w 1609516"/>
              <a:gd name="csY89" fmla="*/ 911101 h 1538630"/>
              <a:gd name="csX90" fmla="*/ 1326426 w 1609516"/>
              <a:gd name="csY90" fmla="*/ 911369 h 1538630"/>
              <a:gd name="csX91" fmla="*/ 1326426 w 1609516"/>
              <a:gd name="csY91" fmla="*/ 907141 h 1538630"/>
              <a:gd name="csX92" fmla="*/ 1328144 w 1609516"/>
              <a:gd name="csY92" fmla="*/ 892192 h 1538630"/>
              <a:gd name="csX93" fmla="*/ 1327667 w 1609516"/>
              <a:gd name="csY93" fmla="*/ 893446 h 1538630"/>
              <a:gd name="csX94" fmla="*/ 1327989 w 1609516"/>
              <a:gd name="csY94" fmla="*/ 893049 h 1538630"/>
              <a:gd name="csX95" fmla="*/ 49605 w 1609516"/>
              <a:gd name="csY95" fmla="*/ 887420 h 1538630"/>
              <a:gd name="csX96" fmla="*/ 48549 w 1609516"/>
              <a:gd name="csY96" fmla="*/ 891229 h 1538630"/>
              <a:gd name="csX97" fmla="*/ 49956 w 1609516"/>
              <a:gd name="csY97" fmla="*/ 887420 h 1538630"/>
              <a:gd name="csX98" fmla="*/ 1332266 w 1609516"/>
              <a:gd name="csY98" fmla="*/ 883369 h 1538630"/>
              <a:gd name="csX99" fmla="*/ 1329479 w 1609516"/>
              <a:gd name="csY99" fmla="*/ 884207 h 1538630"/>
              <a:gd name="csX100" fmla="*/ 1329509 w 1609516"/>
              <a:gd name="csY100" fmla="*/ 884816 h 1538630"/>
              <a:gd name="csX101" fmla="*/ 1329551 w 1609516"/>
              <a:gd name="csY101" fmla="*/ 884594 h 1538630"/>
              <a:gd name="csX102" fmla="*/ 1555987 w 1609516"/>
              <a:gd name="csY102" fmla="*/ 821766 h 1538630"/>
              <a:gd name="csX103" fmla="*/ 1555987 w 1609516"/>
              <a:gd name="csY103" fmla="*/ 822201 h 1538630"/>
              <a:gd name="csX104" fmla="*/ 1556081 w 1609516"/>
              <a:gd name="csY104" fmla="*/ 822189 h 1538630"/>
              <a:gd name="csX105" fmla="*/ 1565360 w 1609516"/>
              <a:gd name="csY105" fmla="*/ 810928 h 1538630"/>
              <a:gd name="csX106" fmla="*/ 1564871 w 1609516"/>
              <a:gd name="csY106" fmla="*/ 811809 h 1538630"/>
              <a:gd name="csX107" fmla="*/ 1567314 w 1609516"/>
              <a:gd name="csY107" fmla="*/ 810928 h 1538630"/>
              <a:gd name="csX108" fmla="*/ 1563797 w 1609516"/>
              <a:gd name="csY108" fmla="*/ 810928 h 1538630"/>
              <a:gd name="csX109" fmla="*/ 1556762 w 1609516"/>
              <a:gd name="csY109" fmla="*/ 814736 h 1538630"/>
              <a:gd name="csX110" fmla="*/ 1563797 w 1609516"/>
              <a:gd name="csY110" fmla="*/ 812197 h 1538630"/>
              <a:gd name="csX111" fmla="*/ 265833 w 1609516"/>
              <a:gd name="csY111" fmla="*/ 806020 h 1538630"/>
              <a:gd name="csX112" fmla="*/ 263704 w 1609516"/>
              <a:gd name="csY112" fmla="*/ 809861 h 1538630"/>
              <a:gd name="csX113" fmla="*/ 263704 w 1609516"/>
              <a:gd name="csY113" fmla="*/ 816750 h 1538630"/>
              <a:gd name="csX114" fmla="*/ 264113 w 1609516"/>
              <a:gd name="csY114" fmla="*/ 816565 h 1538630"/>
              <a:gd name="csX115" fmla="*/ 263918 w 1609516"/>
              <a:gd name="csY115" fmla="*/ 812777 h 1538630"/>
              <a:gd name="csX116" fmla="*/ 263774 w 1609516"/>
              <a:gd name="csY116" fmla="*/ 779374 h 1538630"/>
              <a:gd name="csX117" fmla="*/ 263704 w 1609516"/>
              <a:gd name="csY117" fmla="*/ 783086 h 1538630"/>
              <a:gd name="csX118" fmla="*/ 264484 w 1609516"/>
              <a:gd name="csY118" fmla="*/ 785816 h 1538630"/>
              <a:gd name="csX119" fmla="*/ 265265 w 1609516"/>
              <a:gd name="csY119" fmla="*/ 794448 h 1538630"/>
              <a:gd name="csX120" fmla="*/ 265217 w 1609516"/>
              <a:gd name="csY120" fmla="*/ 799730 h 1538630"/>
              <a:gd name="csX121" fmla="*/ 266556 w 1609516"/>
              <a:gd name="csY121" fmla="*/ 803466 h 1538630"/>
              <a:gd name="csX122" fmla="*/ 267237 w 1609516"/>
              <a:gd name="csY122" fmla="*/ 801063 h 1538630"/>
              <a:gd name="csX123" fmla="*/ 265675 w 1609516"/>
              <a:gd name="csY123" fmla="*/ 799654 h 1538630"/>
              <a:gd name="csX124" fmla="*/ 265675 w 1609516"/>
              <a:gd name="csY124" fmla="*/ 793841 h 1538630"/>
              <a:gd name="csX125" fmla="*/ 260988 w 1609516"/>
              <a:gd name="csY125" fmla="*/ 770061 h 1538630"/>
              <a:gd name="csX126" fmla="*/ 260988 w 1609516"/>
              <a:gd name="csY126" fmla="*/ 771364 h 1538630"/>
              <a:gd name="csX127" fmla="*/ 263497 w 1609516"/>
              <a:gd name="csY127" fmla="*/ 777263 h 1538630"/>
              <a:gd name="csX128" fmla="*/ 262551 w 1609516"/>
              <a:gd name="csY128" fmla="*/ 770061 h 1538630"/>
              <a:gd name="csX129" fmla="*/ 260988 w 1609516"/>
              <a:gd name="csY129" fmla="*/ 770061 h 1538630"/>
              <a:gd name="csX130" fmla="*/ 157888 w 1609516"/>
              <a:gd name="csY130" fmla="*/ 651686 h 1538630"/>
              <a:gd name="csX131" fmla="*/ 157415 w 1609516"/>
              <a:gd name="csY131" fmla="*/ 651764 h 1538630"/>
              <a:gd name="csX132" fmla="*/ 160373 w 1609516"/>
              <a:gd name="csY132" fmla="*/ 652274 h 1538630"/>
              <a:gd name="csX133" fmla="*/ 267237 w 1609516"/>
              <a:gd name="csY133" fmla="*/ 426537 h 1538630"/>
              <a:gd name="csX134" fmla="*/ 267237 w 1609516"/>
              <a:gd name="csY134" fmla="*/ 427619 h 1538630"/>
              <a:gd name="csX135" fmla="*/ 270380 w 1609516"/>
              <a:gd name="csY135" fmla="*/ 428137 h 1538630"/>
              <a:gd name="csX136" fmla="*/ 273548 w 1609516"/>
              <a:gd name="csY136" fmla="*/ 428680 h 1538630"/>
              <a:gd name="csX137" fmla="*/ 37605 w 1609516"/>
              <a:gd name="csY137" fmla="*/ 359270 h 1538630"/>
              <a:gd name="csX138" fmla="*/ 37103 w 1609516"/>
              <a:gd name="csY138" fmla="*/ 361533 h 1538630"/>
              <a:gd name="csX139" fmla="*/ 37605 w 1609516"/>
              <a:gd name="csY139" fmla="*/ 361382 h 1538630"/>
              <a:gd name="csX140" fmla="*/ 52477 w 1609516"/>
              <a:gd name="csY140" fmla="*/ 337570 h 1538630"/>
              <a:gd name="csX141" fmla="*/ 47288 w 1609516"/>
              <a:gd name="csY141" fmla="*/ 342340 h 1538630"/>
              <a:gd name="csX142" fmla="*/ 45805 w 1609516"/>
              <a:gd name="csY142" fmla="*/ 345093 h 1538630"/>
              <a:gd name="csX143" fmla="*/ 104291 w 1609516"/>
              <a:gd name="csY143" fmla="*/ 336166 h 1538630"/>
              <a:gd name="csX144" fmla="*/ 103776 w 1609516"/>
              <a:gd name="csY144" fmla="*/ 337559 h 1538630"/>
              <a:gd name="csX145" fmla="*/ 108925 w 1609516"/>
              <a:gd name="csY145" fmla="*/ 336166 h 1538630"/>
              <a:gd name="csX146" fmla="*/ 1309237 w 1609516"/>
              <a:gd name="csY146" fmla="*/ 322954 h 1538630"/>
              <a:gd name="csX147" fmla="*/ 1309180 w 1609516"/>
              <a:gd name="csY147" fmla="*/ 330559 h 1538630"/>
              <a:gd name="csX148" fmla="*/ 1309237 w 1609516"/>
              <a:gd name="csY148" fmla="*/ 330520 h 1538630"/>
              <a:gd name="csX149" fmla="*/ 1308964 w 1609516"/>
              <a:gd name="csY149" fmla="*/ 317715 h 1538630"/>
              <a:gd name="csX150" fmla="*/ 1309237 w 1609516"/>
              <a:gd name="csY150" fmla="*/ 318569 h 1538630"/>
              <a:gd name="csX151" fmla="*/ 1309237 w 1609516"/>
              <a:gd name="csY151" fmla="*/ 317838 h 1538630"/>
              <a:gd name="csX152" fmla="*/ 1310087 w 1609516"/>
              <a:gd name="csY152" fmla="*/ 313153 h 1538630"/>
              <a:gd name="csX153" fmla="*/ 1307609 w 1609516"/>
              <a:gd name="csY153" fmla="*/ 313473 h 1538630"/>
              <a:gd name="csX154" fmla="*/ 1308045 w 1609516"/>
              <a:gd name="csY154" fmla="*/ 314836 h 1538630"/>
              <a:gd name="csX155" fmla="*/ 1318544 w 1609516"/>
              <a:gd name="csY155" fmla="*/ 312064 h 1538630"/>
              <a:gd name="csX156" fmla="*/ 1316298 w 1609516"/>
              <a:gd name="csY156" fmla="*/ 312353 h 1538630"/>
              <a:gd name="csX157" fmla="*/ 1318544 w 1609516"/>
              <a:gd name="csY157" fmla="*/ 312205 h 1538630"/>
              <a:gd name="csX158" fmla="*/ 1084622 w 1609516"/>
              <a:gd name="csY158" fmla="*/ 267674 h 1538630"/>
              <a:gd name="csX159" fmla="*/ 1084227 w 1609516"/>
              <a:gd name="csY159" fmla="*/ 268378 h 1538630"/>
              <a:gd name="csX160" fmla="*/ 1079540 w 1609516"/>
              <a:gd name="csY160" fmla="*/ 268378 h 1538630"/>
              <a:gd name="csX161" fmla="*/ 1079603 w 1609516"/>
              <a:gd name="csY161" fmla="*/ 268477 h 1538630"/>
              <a:gd name="csX162" fmla="*/ 1084192 w 1609516"/>
              <a:gd name="csY162" fmla="*/ 268477 h 1538630"/>
              <a:gd name="csX163" fmla="*/ 956410 w 1609516"/>
              <a:gd name="csY163" fmla="*/ 266968 h 1538630"/>
              <a:gd name="csX164" fmla="*/ 957576 w 1609516"/>
              <a:gd name="csY164" fmla="*/ 267083 h 1538630"/>
              <a:gd name="csX165" fmla="*/ 957576 w 1609516"/>
              <a:gd name="csY165" fmla="*/ 269776 h 1538630"/>
              <a:gd name="csX166" fmla="*/ 957694 w 1609516"/>
              <a:gd name="csY166" fmla="*/ 269787 h 1538630"/>
              <a:gd name="csX167" fmla="*/ 957694 w 1609516"/>
              <a:gd name="csY167" fmla="*/ 266968 h 1538630"/>
              <a:gd name="csX168" fmla="*/ 1089372 w 1609516"/>
              <a:gd name="csY168" fmla="*/ 259220 h 1538630"/>
              <a:gd name="csX169" fmla="*/ 1085856 w 1609516"/>
              <a:gd name="csY169" fmla="*/ 265479 h 1538630"/>
              <a:gd name="csX170" fmla="*/ 1088878 w 1609516"/>
              <a:gd name="csY170" fmla="*/ 261431 h 1538630"/>
              <a:gd name="csX171" fmla="*/ 1018517 w 1609516"/>
              <a:gd name="csY171" fmla="*/ 223356 h 1538630"/>
              <a:gd name="csX172" fmla="*/ 1013866 w 1609516"/>
              <a:gd name="csY172" fmla="*/ 226190 h 1538630"/>
              <a:gd name="csX173" fmla="*/ 1013024 w 1609516"/>
              <a:gd name="csY173" fmla="*/ 227709 h 1538630"/>
              <a:gd name="csX174" fmla="*/ 1017055 w 1609516"/>
              <a:gd name="csY174" fmla="*/ 224692 h 1538630"/>
              <a:gd name="csX175" fmla="*/ 850645 w 1609516"/>
              <a:gd name="csY175" fmla="*/ 220099 h 1538630"/>
              <a:gd name="csX176" fmla="*/ 850897 w 1609516"/>
              <a:gd name="csY176" fmla="*/ 221488 h 1538630"/>
              <a:gd name="csX177" fmla="*/ 851470 w 1609516"/>
              <a:gd name="csY177" fmla="*/ 224692 h 1538630"/>
              <a:gd name="csX178" fmla="*/ 852860 w 1609516"/>
              <a:gd name="csY178" fmla="*/ 224692 h 1538630"/>
              <a:gd name="csX179" fmla="*/ 1155019 w 1609516"/>
              <a:gd name="csY179" fmla="*/ 35 h 1538630"/>
              <a:gd name="csX180" fmla="*/ 1174829 w 1609516"/>
              <a:gd name="csY180" fmla="*/ 4853 h 1538630"/>
              <a:gd name="csX181" fmla="*/ 1179418 w 1609516"/>
              <a:gd name="csY181" fmla="*/ 5998 h 1538630"/>
              <a:gd name="csX182" fmla="*/ 1201385 w 1609516"/>
              <a:gd name="csY182" fmla="*/ 22997 h 1538630"/>
              <a:gd name="csX183" fmla="*/ 1201678 w 1609516"/>
              <a:gd name="csY183" fmla="*/ 62191 h 1538630"/>
              <a:gd name="csX184" fmla="*/ 1198261 w 1609516"/>
              <a:gd name="csY184" fmla="*/ 68268 h 1538630"/>
              <a:gd name="csX185" fmla="*/ 1195723 w 1609516"/>
              <a:gd name="csY185" fmla="*/ 72672 h 1538630"/>
              <a:gd name="csX186" fmla="*/ 1193575 w 1609516"/>
              <a:gd name="csY186" fmla="*/ 75314 h 1538630"/>
              <a:gd name="csX187" fmla="*/ 1190450 w 1609516"/>
              <a:gd name="csY187" fmla="*/ 75314 h 1538630"/>
              <a:gd name="csX188" fmla="*/ 1189474 w 1609516"/>
              <a:gd name="csY188" fmla="*/ 79366 h 1538630"/>
              <a:gd name="csX189" fmla="*/ 1182445 w 1609516"/>
              <a:gd name="csY189" fmla="*/ 85707 h 1538630"/>
              <a:gd name="csX190" fmla="*/ 1177953 w 1609516"/>
              <a:gd name="csY190" fmla="*/ 86588 h 1538630"/>
              <a:gd name="csX191" fmla="*/ 1177953 w 1609516"/>
              <a:gd name="csY191" fmla="*/ 89406 h 1538630"/>
              <a:gd name="csX192" fmla="*/ 1170045 w 1609516"/>
              <a:gd name="csY192" fmla="*/ 94251 h 1538630"/>
              <a:gd name="csX193" fmla="*/ 1143806 w 1609516"/>
              <a:gd name="csY193" fmla="*/ 132828 h 1538630"/>
              <a:gd name="csX194" fmla="*/ 1137338 w 1609516"/>
              <a:gd name="csY194" fmla="*/ 141548 h 1538630"/>
              <a:gd name="csX195" fmla="*/ 1133970 w 1609516"/>
              <a:gd name="csY195" fmla="*/ 149403 h 1538630"/>
              <a:gd name="csX196" fmla="*/ 1127965 w 1609516"/>
              <a:gd name="csY196" fmla="*/ 164095 h 1538630"/>
              <a:gd name="csX197" fmla="*/ 1124762 w 1609516"/>
              <a:gd name="csY197" fmla="*/ 171802 h 1538630"/>
              <a:gd name="csX198" fmla="*/ 1119359 w 1609516"/>
              <a:gd name="csY198" fmla="*/ 184798 h 1538630"/>
              <a:gd name="csX199" fmla="*/ 1111014 w 1609516"/>
              <a:gd name="csY199" fmla="*/ 204941 h 1538630"/>
              <a:gd name="csX200" fmla="*/ 1109729 w 1609516"/>
              <a:gd name="csY200" fmla="*/ 208059 h 1538630"/>
              <a:gd name="csX201" fmla="*/ 1106395 w 1609516"/>
              <a:gd name="csY201" fmla="*/ 216170 h 1538630"/>
              <a:gd name="csX202" fmla="*/ 1102147 w 1609516"/>
              <a:gd name="csY202" fmla="*/ 224810 h 1538630"/>
              <a:gd name="csX203" fmla="*/ 1098261 w 1609516"/>
              <a:gd name="csY203" fmla="*/ 227262 h 1538630"/>
              <a:gd name="csX204" fmla="*/ 1098367 w 1609516"/>
              <a:gd name="csY204" fmla="*/ 238475 h 1538630"/>
              <a:gd name="csX205" fmla="*/ 1097331 w 1609516"/>
              <a:gd name="csY205" fmla="*/ 242358 h 1538630"/>
              <a:gd name="csX206" fmla="*/ 1096201 w 1609516"/>
              <a:gd name="csY206" fmla="*/ 246458 h 1538630"/>
              <a:gd name="csX207" fmla="*/ 1089440 w 1609516"/>
              <a:gd name="csY207" fmla="*/ 279206 h 1538630"/>
              <a:gd name="csX208" fmla="*/ 1087316 w 1609516"/>
              <a:gd name="csY208" fmla="*/ 283978 h 1538630"/>
              <a:gd name="csX209" fmla="*/ 1086822 w 1609516"/>
              <a:gd name="csY209" fmla="*/ 291822 h 1538630"/>
              <a:gd name="csX210" fmla="*/ 1086623 w 1609516"/>
              <a:gd name="csY210" fmla="*/ 296625 h 1538630"/>
              <a:gd name="csX211" fmla="*/ 1086437 w 1609516"/>
              <a:gd name="csY211" fmla="*/ 301681 h 1538630"/>
              <a:gd name="csX212" fmla="*/ 1086233 w 1609516"/>
              <a:gd name="csY212" fmla="*/ 306754 h 1538630"/>
              <a:gd name="csX213" fmla="*/ 1086007 w 1609516"/>
              <a:gd name="csY213" fmla="*/ 312619 h 1538630"/>
              <a:gd name="csX214" fmla="*/ 1087470 w 1609516"/>
              <a:gd name="csY214" fmla="*/ 320554 h 1538630"/>
              <a:gd name="csX215" fmla="*/ 1098285 w 1609516"/>
              <a:gd name="csY215" fmla="*/ 334611 h 1538630"/>
              <a:gd name="csX216" fmla="*/ 1102607 w 1609516"/>
              <a:gd name="csY216" fmla="*/ 337679 h 1538630"/>
              <a:gd name="csX217" fmla="*/ 1106095 w 1609516"/>
              <a:gd name="csY217" fmla="*/ 340248 h 1538630"/>
              <a:gd name="csX218" fmla="*/ 1106095 w 1609516"/>
              <a:gd name="csY218" fmla="*/ 343066 h 1538630"/>
              <a:gd name="csX219" fmla="*/ 1109220 w 1609516"/>
              <a:gd name="csY219" fmla="*/ 343419 h 1538630"/>
              <a:gd name="csX220" fmla="*/ 1126403 w 1609516"/>
              <a:gd name="csY220" fmla="*/ 350112 h 1538630"/>
              <a:gd name="csX221" fmla="*/ 1131871 w 1609516"/>
              <a:gd name="csY221" fmla="*/ 352579 h 1538630"/>
              <a:gd name="csX222" fmla="*/ 1135776 w 1609516"/>
              <a:gd name="csY222" fmla="*/ 354340 h 1538630"/>
              <a:gd name="csX223" fmla="*/ 1135776 w 1609516"/>
              <a:gd name="csY223" fmla="*/ 357158 h 1538630"/>
              <a:gd name="csX224" fmla="*/ 1170143 w 1609516"/>
              <a:gd name="csY224" fmla="*/ 354340 h 1538630"/>
              <a:gd name="csX225" fmla="*/ 1174634 w 1609516"/>
              <a:gd name="csY225" fmla="*/ 352579 h 1538630"/>
              <a:gd name="csX226" fmla="*/ 1190890 w 1609516"/>
              <a:gd name="csY226" fmla="*/ 342907 h 1538630"/>
              <a:gd name="csX227" fmla="*/ 1204021 w 1609516"/>
              <a:gd name="csY227" fmla="*/ 335404 h 1538630"/>
              <a:gd name="csX228" fmla="*/ 1223255 w 1609516"/>
              <a:gd name="csY228" fmla="*/ 319110 h 1538630"/>
              <a:gd name="csX229" fmla="*/ 1226868 w 1609516"/>
              <a:gd name="csY229" fmla="*/ 315587 h 1538630"/>
              <a:gd name="csX230" fmla="*/ 1231859 w 1609516"/>
              <a:gd name="csY230" fmla="*/ 303559 h 1538630"/>
              <a:gd name="csX231" fmla="*/ 1234178 w 1609516"/>
              <a:gd name="csY231" fmla="*/ 298059 h 1538630"/>
              <a:gd name="csX232" fmla="*/ 1237314 w 1609516"/>
              <a:gd name="csY232" fmla="*/ 288195 h 1538630"/>
              <a:gd name="csX233" fmla="*/ 1249811 w 1609516"/>
              <a:gd name="csY233" fmla="*/ 265559 h 1538630"/>
              <a:gd name="csX234" fmla="*/ 1252935 w 1609516"/>
              <a:gd name="csY234" fmla="*/ 265559 h 1538630"/>
              <a:gd name="csX235" fmla="*/ 1252935 w 1609516"/>
              <a:gd name="csY235" fmla="*/ 262741 h 1538630"/>
              <a:gd name="csX236" fmla="*/ 1296675 w 1609516"/>
              <a:gd name="csY236" fmla="*/ 252876 h 1538630"/>
              <a:gd name="csX237" fmla="*/ 1307609 w 1609516"/>
              <a:gd name="csY237" fmla="*/ 255695 h 1538630"/>
              <a:gd name="csX238" fmla="*/ 1307609 w 1609516"/>
              <a:gd name="csY238" fmla="*/ 258513 h 1538630"/>
              <a:gd name="csX239" fmla="*/ 1311887 w 1609516"/>
              <a:gd name="csY239" fmla="*/ 258832 h 1538630"/>
              <a:gd name="csX240" fmla="*/ 1326715 w 1609516"/>
              <a:gd name="csY240" fmla="*/ 269969 h 1538630"/>
              <a:gd name="csX241" fmla="*/ 1334165 w 1609516"/>
              <a:gd name="csY241" fmla="*/ 307836 h 1538630"/>
              <a:gd name="csX242" fmla="*/ 1329479 w 1609516"/>
              <a:gd name="csY242" fmla="*/ 314882 h 1538630"/>
              <a:gd name="csX243" fmla="*/ 1323231 w 1609516"/>
              <a:gd name="csY243" fmla="*/ 314882 h 1538630"/>
              <a:gd name="csX244" fmla="*/ 1323231 w 1609516"/>
              <a:gd name="csY244" fmla="*/ 317700 h 1538630"/>
              <a:gd name="csX245" fmla="*/ 1322774 w 1609516"/>
              <a:gd name="csY245" fmla="*/ 317838 h 1538630"/>
              <a:gd name="csX246" fmla="*/ 1323295 w 1609516"/>
              <a:gd name="csY246" fmla="*/ 317838 h 1538630"/>
              <a:gd name="csX247" fmla="*/ 1323295 w 1609516"/>
              <a:gd name="csY247" fmla="*/ 315019 h 1538630"/>
              <a:gd name="csX248" fmla="*/ 1327982 w 1609516"/>
              <a:gd name="csY248" fmla="*/ 315019 h 1538630"/>
              <a:gd name="csX249" fmla="*/ 1317047 w 1609516"/>
              <a:gd name="csY249" fmla="*/ 327702 h 1538630"/>
              <a:gd name="csX250" fmla="*/ 1315484 w 1609516"/>
              <a:gd name="csY250" fmla="*/ 331930 h 1538630"/>
              <a:gd name="csX251" fmla="*/ 1309139 w 1609516"/>
              <a:gd name="csY251" fmla="*/ 333603 h 1538630"/>
              <a:gd name="csX252" fmla="*/ 1305666 w 1609516"/>
              <a:gd name="csY252" fmla="*/ 334280 h 1538630"/>
              <a:gd name="csX253" fmla="*/ 1302988 w 1609516"/>
              <a:gd name="csY253" fmla="*/ 334748 h 1538630"/>
              <a:gd name="csX254" fmla="*/ 1305905 w 1609516"/>
              <a:gd name="csY254" fmla="*/ 332775 h 1538630"/>
              <a:gd name="csX255" fmla="*/ 1304485 w 1609516"/>
              <a:gd name="csY255" fmla="*/ 333202 h 1538630"/>
              <a:gd name="csX256" fmla="*/ 1301459 w 1609516"/>
              <a:gd name="csY256" fmla="*/ 336108 h 1538630"/>
              <a:gd name="csX257" fmla="*/ 1291989 w 1609516"/>
              <a:gd name="csY257" fmla="*/ 338839 h 1538630"/>
              <a:gd name="csX258" fmla="*/ 1290426 w 1609516"/>
              <a:gd name="csY258" fmla="*/ 343066 h 1538630"/>
              <a:gd name="csX259" fmla="*/ 1285740 w 1609516"/>
              <a:gd name="csY259" fmla="*/ 344123 h 1538630"/>
              <a:gd name="csX260" fmla="*/ 1237314 w 1609516"/>
              <a:gd name="csY260" fmla="*/ 382525 h 1538630"/>
              <a:gd name="csX261" fmla="*/ 1232628 w 1609516"/>
              <a:gd name="csY261" fmla="*/ 392389 h 1538630"/>
              <a:gd name="csX262" fmla="*/ 1228625 w 1609516"/>
              <a:gd name="csY262" fmla="*/ 398731 h 1538630"/>
              <a:gd name="csX263" fmla="*/ 1222822 w 1609516"/>
              <a:gd name="csY263" fmla="*/ 434798 h 1538630"/>
              <a:gd name="csX264" fmla="*/ 1260746 w 1609516"/>
              <a:gd name="csY264" fmla="*/ 485398 h 1538630"/>
              <a:gd name="csX265" fmla="*/ 1268556 w 1609516"/>
              <a:gd name="csY265" fmla="*/ 488216 h 1538630"/>
              <a:gd name="csX266" fmla="*/ 1268556 w 1609516"/>
              <a:gd name="csY266" fmla="*/ 491034 h 1538630"/>
              <a:gd name="csX267" fmla="*/ 1338852 w 1609516"/>
              <a:gd name="csY267" fmla="*/ 489625 h 1538630"/>
              <a:gd name="csX268" fmla="*/ 1347444 w 1609516"/>
              <a:gd name="csY268" fmla="*/ 488480 h 1538630"/>
              <a:gd name="csX269" fmla="*/ 1369362 w 1609516"/>
              <a:gd name="csY269" fmla="*/ 482513 h 1538630"/>
              <a:gd name="csX270" fmla="*/ 1388840 w 1609516"/>
              <a:gd name="csY270" fmla="*/ 478351 h 1538630"/>
              <a:gd name="csX271" fmla="*/ 1388840 w 1609516"/>
              <a:gd name="csY271" fmla="*/ 475533 h 1538630"/>
              <a:gd name="csX272" fmla="*/ 1395576 w 1609516"/>
              <a:gd name="csY272" fmla="*/ 473419 h 1538630"/>
              <a:gd name="csX273" fmla="*/ 1399365 w 1609516"/>
              <a:gd name="csY273" fmla="*/ 472230 h 1538630"/>
              <a:gd name="csX274" fmla="*/ 1407585 w 1609516"/>
              <a:gd name="csY274" fmla="*/ 471305 h 1538630"/>
              <a:gd name="csX275" fmla="*/ 1409147 w 1609516"/>
              <a:gd name="csY275" fmla="*/ 467078 h 1538630"/>
              <a:gd name="csX276" fmla="*/ 1416470 w 1609516"/>
              <a:gd name="csY276" fmla="*/ 464259 h 1538630"/>
              <a:gd name="csX277" fmla="*/ 1437949 w 1609516"/>
              <a:gd name="csY277" fmla="*/ 455011 h 1538630"/>
              <a:gd name="csX278" fmla="*/ 1452887 w 1609516"/>
              <a:gd name="csY278" fmla="*/ 450167 h 1538630"/>
              <a:gd name="csX279" fmla="*/ 1452887 w 1609516"/>
              <a:gd name="csY279" fmla="*/ 447349 h 1538630"/>
              <a:gd name="csX280" fmla="*/ 1455394 w 1609516"/>
              <a:gd name="csY280" fmla="*/ 446122 h 1538630"/>
              <a:gd name="csX281" fmla="*/ 1466653 w 1609516"/>
              <a:gd name="csY281" fmla="*/ 440567 h 1538630"/>
              <a:gd name="csX282" fmla="*/ 1470598 w 1609516"/>
              <a:gd name="csY282" fmla="*/ 438637 h 1538630"/>
              <a:gd name="csX283" fmla="*/ 1474397 w 1609516"/>
              <a:gd name="csY283" fmla="*/ 436752 h 1538630"/>
              <a:gd name="csX284" fmla="*/ 1477892 w 1609516"/>
              <a:gd name="csY284" fmla="*/ 435030 h 1538630"/>
              <a:gd name="csX285" fmla="*/ 1485691 w 1609516"/>
              <a:gd name="csY285" fmla="*/ 429029 h 1538630"/>
              <a:gd name="csX286" fmla="*/ 1488858 w 1609516"/>
              <a:gd name="csY286" fmla="*/ 427653 h 1538630"/>
              <a:gd name="csX287" fmla="*/ 1495943 w 1609516"/>
              <a:gd name="csY287" fmla="*/ 421454 h 1538630"/>
              <a:gd name="csX288" fmla="*/ 1538608 w 1609516"/>
              <a:gd name="csY288" fmla="*/ 388338 h 1538630"/>
              <a:gd name="csX289" fmla="*/ 1543490 w 1609516"/>
              <a:gd name="csY289" fmla="*/ 388161 h 1538630"/>
              <a:gd name="csX290" fmla="*/ 1547621 w 1609516"/>
              <a:gd name="csY290" fmla="*/ 387804 h 1538630"/>
              <a:gd name="csX291" fmla="*/ 1579418 w 1609516"/>
              <a:gd name="csY291" fmla="*/ 396617 h 1538630"/>
              <a:gd name="csX292" fmla="*/ 1583342 w 1609516"/>
              <a:gd name="csY292" fmla="*/ 398780 h 1538630"/>
              <a:gd name="csX293" fmla="*/ 1601288 w 1609516"/>
              <a:gd name="csY293" fmla="*/ 423392 h 1538630"/>
              <a:gd name="csX294" fmla="*/ 1594484 w 1609516"/>
              <a:gd name="csY294" fmla="*/ 460159 h 1538630"/>
              <a:gd name="csX295" fmla="*/ 1574732 w 1609516"/>
              <a:gd name="csY295" fmla="*/ 475533 h 1538630"/>
              <a:gd name="csX296" fmla="*/ 1572097 w 1609516"/>
              <a:gd name="csY296" fmla="*/ 477078 h 1538630"/>
              <a:gd name="csX297" fmla="*/ 1556066 w 1609516"/>
              <a:gd name="csY297" fmla="*/ 478737 h 1538630"/>
              <a:gd name="csX298" fmla="*/ 1548631 w 1609516"/>
              <a:gd name="csY298" fmla="*/ 478825 h 1538630"/>
              <a:gd name="csX299" fmla="*/ 1536991 w 1609516"/>
              <a:gd name="csY299" fmla="*/ 478889 h 1538630"/>
              <a:gd name="csX300" fmla="*/ 1498188 w 1609516"/>
              <a:gd name="csY300" fmla="*/ 485398 h 1538630"/>
              <a:gd name="csX301" fmla="*/ 1493892 w 1609516"/>
              <a:gd name="csY301" fmla="*/ 487600 h 1538630"/>
              <a:gd name="csX302" fmla="*/ 1490377 w 1609516"/>
              <a:gd name="csY302" fmla="*/ 489625 h 1538630"/>
              <a:gd name="csX303" fmla="*/ 1471650 w 1609516"/>
              <a:gd name="csY303" fmla="*/ 498185 h 1538630"/>
              <a:gd name="csX304" fmla="*/ 1459135 w 1609516"/>
              <a:gd name="csY304" fmla="*/ 505127 h 1538630"/>
              <a:gd name="csX305" fmla="*/ 1452594 w 1609516"/>
              <a:gd name="csY305" fmla="*/ 508033 h 1538630"/>
              <a:gd name="csX306" fmla="*/ 1427795 w 1609516"/>
              <a:gd name="csY306" fmla="*/ 520100 h 1538630"/>
              <a:gd name="csX307" fmla="*/ 1423733 w 1609516"/>
              <a:gd name="csY307" fmla="*/ 522148 h 1538630"/>
              <a:gd name="csX308" fmla="*/ 1419929 w 1609516"/>
              <a:gd name="csY308" fmla="*/ 524118 h 1538630"/>
              <a:gd name="csX309" fmla="*/ 1416487 w 1609516"/>
              <a:gd name="csY309" fmla="*/ 525883 h 1538630"/>
              <a:gd name="csX310" fmla="*/ 1412271 w 1609516"/>
              <a:gd name="csY310" fmla="*/ 531902 h 1538630"/>
              <a:gd name="csX311" fmla="*/ 1396650 w 1609516"/>
              <a:gd name="csY311" fmla="*/ 537539 h 1538630"/>
              <a:gd name="csX312" fmla="*/ 1396650 w 1609516"/>
              <a:gd name="csY312" fmla="*/ 540357 h 1538630"/>
              <a:gd name="csX313" fmla="*/ 1393495 w 1609516"/>
              <a:gd name="csY313" fmla="*/ 541502 h 1538630"/>
              <a:gd name="csX314" fmla="*/ 1362284 w 1609516"/>
              <a:gd name="csY314" fmla="*/ 558678 h 1538630"/>
              <a:gd name="csX315" fmla="*/ 1355937 w 1609516"/>
              <a:gd name="csY315" fmla="*/ 562905 h 1538630"/>
              <a:gd name="csX316" fmla="*/ 1334165 w 1609516"/>
              <a:gd name="csY316" fmla="*/ 578406 h 1538630"/>
              <a:gd name="csX317" fmla="*/ 1331200 w 1609516"/>
              <a:gd name="csY317" fmla="*/ 580559 h 1538630"/>
              <a:gd name="csX318" fmla="*/ 1322175 w 1609516"/>
              <a:gd name="csY318" fmla="*/ 596793 h 1538630"/>
              <a:gd name="csX319" fmla="*/ 1320106 w 1609516"/>
              <a:gd name="csY319" fmla="*/ 602363 h 1538630"/>
              <a:gd name="csX320" fmla="*/ 1328015 w 1609516"/>
              <a:gd name="csY320" fmla="*/ 647640 h 1538630"/>
              <a:gd name="csX321" fmla="*/ 1332604 w 1609516"/>
              <a:gd name="csY321" fmla="*/ 675643 h 1538630"/>
              <a:gd name="csX322" fmla="*/ 1335727 w 1609516"/>
              <a:gd name="csY322" fmla="*/ 675643 h 1538630"/>
              <a:gd name="csX323" fmla="*/ 1337741 w 1609516"/>
              <a:gd name="csY323" fmla="*/ 690059 h 1538630"/>
              <a:gd name="csX324" fmla="*/ 1338003 w 1609516"/>
              <a:gd name="csY324" fmla="*/ 696222 h 1538630"/>
              <a:gd name="csX325" fmla="*/ 1338340 w 1609516"/>
              <a:gd name="csY325" fmla="*/ 705887 h 1538630"/>
              <a:gd name="csX326" fmla="*/ 1345277 w 1609516"/>
              <a:gd name="csY326" fmla="*/ 733245 h 1538630"/>
              <a:gd name="csX327" fmla="*/ 1363162 w 1609516"/>
              <a:gd name="csY327" fmla="*/ 741612 h 1538630"/>
              <a:gd name="csX328" fmla="*/ 1384154 w 1609516"/>
              <a:gd name="csY328" fmla="*/ 748922 h 1538630"/>
              <a:gd name="csX329" fmla="*/ 1391476 w 1609516"/>
              <a:gd name="csY329" fmla="*/ 750419 h 1538630"/>
              <a:gd name="csX330" fmla="*/ 1395564 w 1609516"/>
              <a:gd name="csY330" fmla="*/ 751080 h 1538630"/>
              <a:gd name="csX331" fmla="*/ 1399775 w 1609516"/>
              <a:gd name="csY331" fmla="*/ 751740 h 1538630"/>
              <a:gd name="csX332" fmla="*/ 1403887 w 1609516"/>
              <a:gd name="csY332" fmla="*/ 752489 h 1538630"/>
              <a:gd name="csX333" fmla="*/ 1465383 w 1609516"/>
              <a:gd name="csY333" fmla="*/ 755969 h 1538630"/>
              <a:gd name="csX334" fmla="*/ 1470339 w 1609516"/>
              <a:gd name="csY334" fmla="*/ 755897 h 1538630"/>
              <a:gd name="csX335" fmla="*/ 1496809 w 1609516"/>
              <a:gd name="csY335" fmla="*/ 749313 h 1538630"/>
              <a:gd name="csX336" fmla="*/ 1515371 w 1609516"/>
              <a:gd name="csY336" fmla="*/ 743285 h 1538630"/>
              <a:gd name="csX337" fmla="*/ 1515371 w 1609516"/>
              <a:gd name="csY337" fmla="*/ 740467 h 1538630"/>
              <a:gd name="csX338" fmla="*/ 1537632 w 1609516"/>
              <a:gd name="csY338" fmla="*/ 737120 h 1538630"/>
              <a:gd name="csX339" fmla="*/ 1541657 w 1609516"/>
              <a:gd name="csY339" fmla="*/ 737127 h 1538630"/>
              <a:gd name="csX340" fmla="*/ 1574732 w 1609516"/>
              <a:gd name="csY340" fmla="*/ 748922 h 1538630"/>
              <a:gd name="csX341" fmla="*/ 1588791 w 1609516"/>
              <a:gd name="csY341" fmla="*/ 792608 h 1538630"/>
              <a:gd name="csX342" fmla="*/ 1584105 w 1609516"/>
              <a:gd name="csY342" fmla="*/ 805291 h 1538630"/>
              <a:gd name="csX343" fmla="*/ 1580981 w 1609516"/>
              <a:gd name="csY343" fmla="*/ 806700 h 1538630"/>
              <a:gd name="csX344" fmla="*/ 1578735 w 1609516"/>
              <a:gd name="csY344" fmla="*/ 810311 h 1538630"/>
              <a:gd name="csX345" fmla="*/ 1576295 w 1609516"/>
              <a:gd name="csY345" fmla="*/ 813746 h 1538630"/>
              <a:gd name="csX346" fmla="*/ 1571652 w 1609516"/>
              <a:gd name="csY346" fmla="*/ 813746 h 1538630"/>
              <a:gd name="csX347" fmla="*/ 1571785 w 1609516"/>
              <a:gd name="csY347" fmla="*/ 814106 h 1538630"/>
              <a:gd name="csX348" fmla="*/ 1574909 w 1609516"/>
              <a:gd name="csY348" fmla="*/ 815515 h 1538630"/>
              <a:gd name="csX349" fmla="*/ 1565463 w 1609516"/>
              <a:gd name="csY349" fmla="*/ 821839 h 1538630"/>
              <a:gd name="csX350" fmla="*/ 1562085 w 1609516"/>
              <a:gd name="csY350" fmla="*/ 822101 h 1538630"/>
              <a:gd name="csX351" fmla="*/ 1551301 w 1609516"/>
              <a:gd name="csY351" fmla="*/ 825020 h 1538630"/>
              <a:gd name="csX352" fmla="*/ 1551301 w 1609516"/>
              <a:gd name="csY352" fmla="*/ 827838 h 1538630"/>
              <a:gd name="csX353" fmla="*/ 1485380 w 1609516"/>
              <a:gd name="csY353" fmla="*/ 815007 h 1538630"/>
              <a:gd name="csX354" fmla="*/ 1431603 w 1609516"/>
              <a:gd name="csY354" fmla="*/ 808726 h 1538630"/>
              <a:gd name="csX355" fmla="*/ 1424140 w 1609516"/>
              <a:gd name="csY355" fmla="*/ 808542 h 1538630"/>
              <a:gd name="csX356" fmla="*/ 1406023 w 1609516"/>
              <a:gd name="csY356" fmla="*/ 808109 h 1538630"/>
              <a:gd name="csX357" fmla="*/ 1406023 w 1609516"/>
              <a:gd name="csY357" fmla="*/ 810928 h 1538630"/>
              <a:gd name="csX358" fmla="*/ 1403383 w 1609516"/>
              <a:gd name="csY358" fmla="*/ 811311 h 1538630"/>
              <a:gd name="csX359" fmla="*/ 1345442 w 1609516"/>
              <a:gd name="csY359" fmla="*/ 828907 h 1538630"/>
              <a:gd name="csX360" fmla="*/ 1337875 w 1609516"/>
              <a:gd name="csY360" fmla="*/ 856639 h 1538630"/>
              <a:gd name="csX361" fmla="*/ 1337692 w 1609516"/>
              <a:gd name="csY361" fmla="*/ 860171 h 1538630"/>
              <a:gd name="csX362" fmla="*/ 1337290 w 1609516"/>
              <a:gd name="csY362" fmla="*/ 868706 h 1538630"/>
              <a:gd name="csX363" fmla="*/ 1334165 w 1609516"/>
              <a:gd name="csY363" fmla="*/ 868706 h 1538630"/>
              <a:gd name="csX364" fmla="*/ 1334165 w 1609516"/>
              <a:gd name="csY364" fmla="*/ 870034 h 1538630"/>
              <a:gd name="csX365" fmla="*/ 1334237 w 1609516"/>
              <a:gd name="csY365" fmla="*/ 869093 h 1538630"/>
              <a:gd name="csX366" fmla="*/ 1335800 w 1609516"/>
              <a:gd name="csY366" fmla="*/ 869093 h 1538630"/>
              <a:gd name="csX367" fmla="*/ 1335995 w 1609516"/>
              <a:gd name="csY367" fmla="*/ 876491 h 1538630"/>
              <a:gd name="csX368" fmla="*/ 1336105 w 1609516"/>
              <a:gd name="csY368" fmla="*/ 880653 h 1538630"/>
              <a:gd name="csX369" fmla="*/ 1334294 w 1609516"/>
              <a:gd name="csY369" fmla="*/ 887271 h 1538630"/>
              <a:gd name="csX370" fmla="*/ 1331455 w 1609516"/>
              <a:gd name="csY370" fmla="*/ 896440 h 1538630"/>
              <a:gd name="csX371" fmla="*/ 1330887 w 1609516"/>
              <a:gd name="csY371" fmla="*/ 899969 h 1538630"/>
              <a:gd name="csX372" fmla="*/ 1330332 w 1609516"/>
              <a:gd name="csY372" fmla="*/ 903618 h 1538630"/>
              <a:gd name="csX373" fmla="*/ 1329209 w 1609516"/>
              <a:gd name="csY373" fmla="*/ 910797 h 1538630"/>
              <a:gd name="csX374" fmla="*/ 1328724 w 1609516"/>
              <a:gd name="csY374" fmla="*/ 913998 h 1538630"/>
              <a:gd name="csX375" fmla="*/ 1324865 w 1609516"/>
              <a:gd name="csY375" fmla="*/ 922643 h 1538630"/>
              <a:gd name="csX376" fmla="*/ 1322619 w 1609516"/>
              <a:gd name="csY376" fmla="*/ 937979 h 1538630"/>
              <a:gd name="csX377" fmla="*/ 1318744 w 1609516"/>
              <a:gd name="csY377" fmla="*/ 944961 h 1538630"/>
              <a:gd name="csX378" fmla="*/ 1318544 w 1609516"/>
              <a:gd name="csY378" fmla="*/ 946213 h 1538630"/>
              <a:gd name="csX379" fmla="*/ 1318251 w 1609516"/>
              <a:gd name="csY379" fmla="*/ 955285 h 1538630"/>
              <a:gd name="csX380" fmla="*/ 1318184 w 1609516"/>
              <a:gd name="csY380" fmla="*/ 960036 h 1538630"/>
              <a:gd name="csX381" fmla="*/ 1324024 w 1609516"/>
              <a:gd name="csY381" fmla="*/ 973660 h 1538630"/>
              <a:gd name="csX382" fmla="*/ 1329284 w 1609516"/>
              <a:gd name="csY382" fmla="*/ 983382 h 1538630"/>
              <a:gd name="csX383" fmla="*/ 1340414 w 1609516"/>
              <a:gd name="csY383" fmla="*/ 998354 h 1538630"/>
              <a:gd name="csX384" fmla="*/ 1346272 w 1609516"/>
              <a:gd name="csY384" fmla="*/ 1005048 h 1538630"/>
              <a:gd name="csX385" fmla="*/ 1394716 w 1609516"/>
              <a:gd name="csY385" fmla="*/ 1042740 h 1538630"/>
              <a:gd name="csX386" fmla="*/ 1401953 w 1609516"/>
              <a:gd name="csY386" fmla="*/ 1047374 h 1538630"/>
              <a:gd name="csX387" fmla="*/ 1427197 w 1609516"/>
              <a:gd name="csY387" fmla="*/ 1059061 h 1538630"/>
              <a:gd name="csX388" fmla="*/ 1437265 w 1609516"/>
              <a:gd name="csY388" fmla="*/ 1064588 h 1538630"/>
              <a:gd name="csX389" fmla="*/ 1437265 w 1609516"/>
              <a:gd name="csY389" fmla="*/ 1067406 h 1538630"/>
              <a:gd name="csX390" fmla="*/ 1440878 w 1609516"/>
              <a:gd name="csY390" fmla="*/ 1067847 h 1538630"/>
              <a:gd name="csX391" fmla="*/ 1447175 w 1609516"/>
              <a:gd name="csY391" fmla="*/ 1070753 h 1538630"/>
              <a:gd name="csX392" fmla="*/ 1457866 w 1609516"/>
              <a:gd name="csY392" fmla="*/ 1076830 h 1538630"/>
              <a:gd name="csX393" fmla="*/ 1462132 w 1609516"/>
              <a:gd name="csY393" fmla="*/ 1078696 h 1538630"/>
              <a:gd name="csX394" fmla="*/ 1465383 w 1609516"/>
              <a:gd name="csY394" fmla="*/ 1080089 h 1538630"/>
              <a:gd name="csX395" fmla="*/ 1465383 w 1609516"/>
              <a:gd name="csY395" fmla="*/ 1082908 h 1538630"/>
              <a:gd name="csX396" fmla="*/ 1468758 w 1609516"/>
              <a:gd name="csY396" fmla="*/ 1083975 h 1538630"/>
              <a:gd name="csX397" fmla="*/ 1481688 w 1609516"/>
              <a:gd name="csY397" fmla="*/ 1091187 h 1538630"/>
              <a:gd name="csX398" fmla="*/ 1486283 w 1609516"/>
              <a:gd name="csY398" fmla="*/ 1094236 h 1538630"/>
              <a:gd name="csX399" fmla="*/ 1494869 w 1609516"/>
              <a:gd name="csY399" fmla="*/ 1100171 h 1538630"/>
              <a:gd name="csX400" fmla="*/ 1544335 w 1609516"/>
              <a:gd name="csY400" fmla="*/ 1109518 h 1538630"/>
              <a:gd name="csX401" fmla="*/ 1593477 w 1609516"/>
              <a:gd name="csY401" fmla="*/ 1119900 h 1538630"/>
              <a:gd name="csX402" fmla="*/ 1605975 w 1609516"/>
              <a:gd name="csY402" fmla="*/ 1144913 h 1538630"/>
              <a:gd name="csX403" fmla="*/ 1609099 w 1609516"/>
              <a:gd name="csY403" fmla="*/ 1144913 h 1538630"/>
              <a:gd name="csX404" fmla="*/ 1609392 w 1609516"/>
              <a:gd name="csY404" fmla="*/ 1156892 h 1538630"/>
              <a:gd name="csX405" fmla="*/ 1609511 w 1609516"/>
              <a:gd name="csY405" fmla="*/ 1160272 h 1538630"/>
              <a:gd name="csX406" fmla="*/ 1604412 w 1609516"/>
              <a:gd name="csY406" fmla="*/ 1181553 h 1538630"/>
              <a:gd name="csX407" fmla="*/ 1601288 w 1609516"/>
              <a:gd name="csY407" fmla="*/ 1190009 h 1538630"/>
              <a:gd name="csX408" fmla="*/ 1598164 w 1609516"/>
              <a:gd name="csY408" fmla="*/ 1190009 h 1538630"/>
              <a:gd name="csX409" fmla="*/ 1597187 w 1609516"/>
              <a:gd name="csY409" fmla="*/ 1192739 h 1538630"/>
              <a:gd name="csX410" fmla="*/ 1595040 w 1609516"/>
              <a:gd name="csY410" fmla="*/ 1195645 h 1538630"/>
              <a:gd name="csX411" fmla="*/ 1585667 w 1609516"/>
              <a:gd name="csY411" fmla="*/ 1197055 h 1538630"/>
              <a:gd name="csX412" fmla="*/ 1582543 w 1609516"/>
              <a:gd name="csY412" fmla="*/ 1202691 h 1538630"/>
              <a:gd name="csX413" fmla="*/ 1562431 w 1609516"/>
              <a:gd name="csY413" fmla="*/ 1204365 h 1538630"/>
              <a:gd name="csX414" fmla="*/ 1558690 w 1609516"/>
              <a:gd name="csY414" fmla="*/ 1204417 h 1538630"/>
              <a:gd name="csX415" fmla="*/ 1521102 w 1609516"/>
              <a:gd name="csY415" fmla="*/ 1189585 h 1538630"/>
              <a:gd name="csX416" fmla="*/ 1505022 w 1609516"/>
              <a:gd name="csY416" fmla="*/ 1172041 h 1538630"/>
              <a:gd name="csX417" fmla="*/ 1457573 w 1609516"/>
              <a:gd name="csY417" fmla="*/ 1140686 h 1538630"/>
              <a:gd name="csX418" fmla="*/ 1457573 w 1609516"/>
              <a:gd name="csY418" fmla="*/ 1137867 h 1538630"/>
              <a:gd name="csX419" fmla="*/ 1452985 w 1609516"/>
              <a:gd name="csY419" fmla="*/ 1137339 h 1538630"/>
              <a:gd name="csX420" fmla="*/ 1448200 w 1609516"/>
              <a:gd name="csY420" fmla="*/ 1136458 h 1538630"/>
              <a:gd name="csX421" fmla="*/ 1446638 w 1609516"/>
              <a:gd name="csY421" fmla="*/ 1133640 h 1538630"/>
              <a:gd name="csX422" fmla="*/ 1438937 w 1609516"/>
              <a:gd name="csY422" fmla="*/ 1130601 h 1538630"/>
              <a:gd name="csX423" fmla="*/ 1429260 w 1609516"/>
              <a:gd name="csY423" fmla="*/ 1126770 h 1538630"/>
              <a:gd name="csX424" fmla="*/ 1411393 w 1609516"/>
              <a:gd name="csY424" fmla="*/ 1120340 h 1538630"/>
              <a:gd name="csX425" fmla="*/ 1391427 w 1609516"/>
              <a:gd name="csY425" fmla="*/ 1111191 h 1538630"/>
              <a:gd name="csX426" fmla="*/ 1381029 w 1609516"/>
              <a:gd name="csY426" fmla="*/ 1106865 h 1538630"/>
              <a:gd name="csX427" fmla="*/ 1381029 w 1609516"/>
              <a:gd name="csY427" fmla="*/ 1104046 h 1538630"/>
              <a:gd name="csX428" fmla="*/ 1377221 w 1609516"/>
              <a:gd name="csY428" fmla="*/ 1103605 h 1538630"/>
              <a:gd name="csX429" fmla="*/ 1357597 w 1609516"/>
              <a:gd name="csY429" fmla="*/ 1098409 h 1538630"/>
              <a:gd name="csX430" fmla="*/ 1352032 w 1609516"/>
              <a:gd name="csY430" fmla="*/ 1096736 h 1538630"/>
              <a:gd name="csX431" fmla="*/ 1348225 w 1609516"/>
              <a:gd name="csY431" fmla="*/ 1095590 h 1538630"/>
              <a:gd name="csX432" fmla="*/ 1348225 w 1609516"/>
              <a:gd name="csY432" fmla="*/ 1092772 h 1538630"/>
              <a:gd name="csX433" fmla="*/ 1337290 w 1609516"/>
              <a:gd name="csY433" fmla="*/ 1091363 h 1538630"/>
              <a:gd name="csX434" fmla="*/ 1337290 w 1609516"/>
              <a:gd name="csY434" fmla="*/ 1088544 h 1538630"/>
              <a:gd name="csX435" fmla="*/ 1331529 w 1609516"/>
              <a:gd name="csY435" fmla="*/ 1088104 h 1538630"/>
              <a:gd name="csX436" fmla="*/ 1323297 w 1609516"/>
              <a:gd name="csY436" fmla="*/ 1086611 h 1538630"/>
              <a:gd name="csX437" fmla="*/ 1323297 w 1609516"/>
              <a:gd name="csY437" fmla="*/ 1087618 h 1538630"/>
              <a:gd name="csX438" fmla="*/ 1319789 w 1609516"/>
              <a:gd name="csY438" fmla="*/ 1087310 h 1538630"/>
              <a:gd name="csX439" fmla="*/ 1262375 w 1609516"/>
              <a:gd name="csY439" fmla="*/ 1089028 h 1538630"/>
              <a:gd name="csX440" fmla="*/ 1258728 w 1609516"/>
              <a:gd name="csY440" fmla="*/ 1088205 h 1538630"/>
              <a:gd name="csX441" fmla="*/ 1246964 w 1609516"/>
              <a:gd name="csY441" fmla="*/ 1091489 h 1538630"/>
              <a:gd name="csX442" fmla="*/ 1223224 w 1609516"/>
              <a:gd name="csY442" fmla="*/ 1112865 h 1538630"/>
              <a:gd name="csX443" fmla="*/ 1213883 w 1609516"/>
              <a:gd name="csY443" fmla="*/ 1122366 h 1538630"/>
              <a:gd name="csX444" fmla="*/ 1212505 w 1609516"/>
              <a:gd name="csY444" fmla="*/ 1125708 h 1538630"/>
              <a:gd name="csX445" fmla="*/ 1204180 w 1609516"/>
              <a:gd name="csY445" fmla="*/ 1135561 h 1538630"/>
              <a:gd name="csX446" fmla="*/ 1200238 w 1609516"/>
              <a:gd name="csY446" fmla="*/ 1138999 h 1538630"/>
              <a:gd name="csX447" fmla="*/ 1192025 w 1609516"/>
              <a:gd name="csY447" fmla="*/ 1146022 h 1538630"/>
              <a:gd name="csX448" fmla="*/ 1173945 w 1609516"/>
              <a:gd name="csY448" fmla="*/ 1174749 h 1538630"/>
              <a:gd name="csX449" fmla="*/ 1173950 w 1609516"/>
              <a:gd name="csY449" fmla="*/ 1182610 h 1538630"/>
              <a:gd name="csX450" fmla="*/ 1173989 w 1609516"/>
              <a:gd name="csY450" fmla="*/ 1186765 h 1538630"/>
              <a:gd name="csX451" fmla="*/ 1182640 w 1609516"/>
              <a:gd name="csY451" fmla="*/ 1215374 h 1538630"/>
              <a:gd name="csX452" fmla="*/ 1185764 w 1609516"/>
              <a:gd name="csY452" fmla="*/ 1221804 h 1538630"/>
              <a:gd name="csX453" fmla="*/ 1187301 w 1609516"/>
              <a:gd name="csY453" fmla="*/ 1224859 h 1538630"/>
              <a:gd name="csX454" fmla="*/ 1190573 w 1609516"/>
              <a:gd name="csY454" fmla="*/ 1231740 h 1538630"/>
              <a:gd name="csX455" fmla="*/ 1205925 w 1609516"/>
              <a:gd name="csY455" fmla="*/ 1255163 h 1538630"/>
              <a:gd name="csX456" fmla="*/ 1212174 w 1609516"/>
              <a:gd name="csY456" fmla="*/ 1263134 h 1538630"/>
              <a:gd name="csX457" fmla="*/ 1235556 w 1609516"/>
              <a:gd name="csY457" fmla="*/ 1282538 h 1538630"/>
              <a:gd name="csX458" fmla="*/ 1238876 w 1609516"/>
              <a:gd name="csY458" fmla="*/ 1284426 h 1538630"/>
              <a:gd name="csX459" fmla="*/ 1238876 w 1609516"/>
              <a:gd name="csY459" fmla="*/ 1287245 h 1538630"/>
              <a:gd name="csX460" fmla="*/ 1242245 w 1609516"/>
              <a:gd name="csY460" fmla="*/ 1287663 h 1538630"/>
              <a:gd name="csX461" fmla="*/ 1271681 w 1609516"/>
              <a:gd name="csY461" fmla="*/ 1305565 h 1538630"/>
              <a:gd name="csX462" fmla="*/ 1271742 w 1609516"/>
              <a:gd name="csY462" fmla="*/ 1306172 h 1538630"/>
              <a:gd name="csX463" fmla="*/ 1278525 w 1609516"/>
              <a:gd name="csY463" fmla="*/ 1315767 h 1538630"/>
              <a:gd name="csX464" fmla="*/ 1281097 w 1609516"/>
              <a:gd name="csY464" fmla="*/ 1327286 h 1538630"/>
              <a:gd name="csX465" fmla="*/ 1277973 w 1609516"/>
              <a:gd name="csY465" fmla="*/ 1355470 h 1538630"/>
              <a:gd name="csX466" fmla="*/ 1277460 w 1609516"/>
              <a:gd name="csY466" fmla="*/ 1347025 h 1538630"/>
              <a:gd name="csX467" fmla="*/ 1273531 w 1609516"/>
              <a:gd name="csY467" fmla="*/ 1357991 h 1538630"/>
              <a:gd name="csX468" fmla="*/ 1263870 w 1609516"/>
              <a:gd name="csY468" fmla="*/ 1368980 h 1538630"/>
              <a:gd name="csX469" fmla="*/ 1246686 w 1609516"/>
              <a:gd name="csY469" fmla="*/ 1376026 h 1538630"/>
              <a:gd name="csX470" fmla="*/ 1246686 w 1609516"/>
              <a:gd name="csY470" fmla="*/ 1378844 h 1538630"/>
              <a:gd name="csX471" fmla="*/ 1231651 w 1609516"/>
              <a:gd name="csY471" fmla="*/ 1379196 h 1538630"/>
              <a:gd name="csX472" fmla="*/ 1227373 w 1609516"/>
              <a:gd name="csY472" fmla="*/ 1379340 h 1538630"/>
              <a:gd name="csX473" fmla="*/ 1206071 w 1609516"/>
              <a:gd name="csY473" fmla="*/ 1373207 h 1538630"/>
              <a:gd name="csX474" fmla="*/ 1202069 w 1609516"/>
              <a:gd name="csY474" fmla="*/ 1371798 h 1538630"/>
              <a:gd name="csX475" fmla="*/ 1184104 w 1609516"/>
              <a:gd name="csY475" fmla="*/ 1356176 h 1538630"/>
              <a:gd name="csX476" fmla="*/ 1177270 w 1609516"/>
              <a:gd name="csY476" fmla="*/ 1335247 h 1538630"/>
              <a:gd name="csX477" fmla="*/ 1169002 w 1609516"/>
              <a:gd name="csY477" fmla="*/ 1313464 h 1538630"/>
              <a:gd name="csX478" fmla="*/ 1163504 w 1609516"/>
              <a:gd name="csY478" fmla="*/ 1302130 h 1538630"/>
              <a:gd name="csX479" fmla="*/ 1162015 w 1609516"/>
              <a:gd name="csY479" fmla="*/ 1298788 h 1538630"/>
              <a:gd name="csX480" fmla="*/ 1160111 w 1609516"/>
              <a:gd name="csY480" fmla="*/ 1292656 h 1538630"/>
              <a:gd name="csX481" fmla="*/ 1154522 w 1609516"/>
              <a:gd name="csY481" fmla="*/ 1287245 h 1538630"/>
              <a:gd name="csX482" fmla="*/ 1151398 w 1609516"/>
              <a:gd name="csY482" fmla="*/ 1280199 h 1538630"/>
              <a:gd name="csX483" fmla="*/ 1144173 w 1609516"/>
              <a:gd name="csY483" fmla="*/ 1270774 h 1538630"/>
              <a:gd name="csX484" fmla="*/ 1142065 w 1609516"/>
              <a:gd name="csY484" fmla="*/ 1268160 h 1538630"/>
              <a:gd name="csX485" fmla="*/ 1135776 w 1609516"/>
              <a:gd name="csY485" fmla="*/ 1260470 h 1538630"/>
              <a:gd name="csX486" fmla="*/ 1132353 w 1609516"/>
              <a:gd name="csY486" fmla="*/ 1256247 h 1538630"/>
              <a:gd name="csX487" fmla="*/ 1112344 w 1609516"/>
              <a:gd name="csY487" fmla="*/ 1240741 h 1538630"/>
              <a:gd name="csX488" fmla="*/ 1106193 w 1609516"/>
              <a:gd name="csY488" fmla="*/ 1237570 h 1538630"/>
              <a:gd name="csX489" fmla="*/ 1101409 w 1609516"/>
              <a:gd name="csY489" fmla="*/ 1235104 h 1538630"/>
              <a:gd name="csX490" fmla="*/ 1101409 w 1609516"/>
              <a:gd name="csY490" fmla="*/ 1230876 h 1538630"/>
              <a:gd name="csX491" fmla="*/ 1065480 w 1609516"/>
              <a:gd name="csY491" fmla="*/ 1230876 h 1538630"/>
              <a:gd name="csX492" fmla="*/ 1063919 w 1609516"/>
              <a:gd name="csY492" fmla="*/ 1235104 h 1538630"/>
              <a:gd name="csX493" fmla="*/ 1059232 w 1609516"/>
              <a:gd name="csY493" fmla="*/ 1235104 h 1538630"/>
              <a:gd name="csX494" fmla="*/ 1059232 w 1609516"/>
              <a:gd name="csY494" fmla="*/ 1237922 h 1538630"/>
              <a:gd name="csX495" fmla="*/ 1040194 w 1609516"/>
              <a:gd name="csY495" fmla="*/ 1245761 h 1538630"/>
              <a:gd name="csX496" fmla="*/ 1030333 w 1609516"/>
              <a:gd name="csY496" fmla="*/ 1249901 h 1538630"/>
              <a:gd name="csX497" fmla="*/ 1013931 w 1609516"/>
              <a:gd name="csY497" fmla="*/ 1256242 h 1538630"/>
              <a:gd name="csX498" fmla="*/ 1005925 w 1609516"/>
              <a:gd name="csY498" fmla="*/ 1261615 h 1538630"/>
              <a:gd name="csX499" fmla="*/ 1004558 w 1609516"/>
              <a:gd name="csY499" fmla="*/ 1264697 h 1538630"/>
              <a:gd name="csX500" fmla="*/ 1002959 w 1609516"/>
              <a:gd name="csY500" fmla="*/ 1267961 h 1538630"/>
              <a:gd name="csX501" fmla="*/ 1000653 w 1609516"/>
              <a:gd name="csY501" fmla="*/ 1278965 h 1538630"/>
              <a:gd name="csX502" fmla="*/ 998297 w 1609516"/>
              <a:gd name="csY502" fmla="*/ 1294137 h 1538630"/>
              <a:gd name="csX503" fmla="*/ 996162 w 1609516"/>
              <a:gd name="csY503" fmla="*/ 1324765 h 1538630"/>
              <a:gd name="csX504" fmla="*/ 996164 w 1609516"/>
              <a:gd name="csY504" fmla="*/ 1327846 h 1538630"/>
              <a:gd name="csX505" fmla="*/ 1007780 w 1609516"/>
              <a:gd name="csY505" fmla="*/ 1403329 h 1538630"/>
              <a:gd name="csX506" fmla="*/ 1008940 w 1609516"/>
              <a:gd name="csY506" fmla="*/ 1407701 h 1538630"/>
              <a:gd name="csX507" fmla="*/ 1010080 w 1609516"/>
              <a:gd name="csY507" fmla="*/ 1411730 h 1538630"/>
              <a:gd name="csX508" fmla="*/ 1011075 w 1609516"/>
              <a:gd name="csY508" fmla="*/ 1415277 h 1538630"/>
              <a:gd name="csX509" fmla="*/ 1017055 w 1609516"/>
              <a:gd name="csY509" fmla="*/ 1422530 h 1538630"/>
              <a:gd name="csX510" fmla="*/ 1020277 w 1609516"/>
              <a:gd name="csY510" fmla="*/ 1427991 h 1538630"/>
              <a:gd name="csX511" fmla="*/ 1021796 w 1609516"/>
              <a:gd name="csY511" fmla="*/ 1430798 h 1538630"/>
              <a:gd name="csX512" fmla="*/ 1024579 w 1609516"/>
              <a:gd name="csY512" fmla="*/ 1437239 h 1538630"/>
              <a:gd name="csX513" fmla="*/ 1034043 w 1609516"/>
              <a:gd name="csY513" fmla="*/ 1448072 h 1538630"/>
              <a:gd name="csX514" fmla="*/ 1043782 w 1609516"/>
              <a:gd name="csY514" fmla="*/ 1464320 h 1538630"/>
              <a:gd name="csX515" fmla="*/ 1050458 w 1609516"/>
              <a:gd name="csY515" fmla="*/ 1472189 h 1538630"/>
              <a:gd name="csX516" fmla="*/ 1052926 w 1609516"/>
              <a:gd name="csY516" fmla="*/ 1482370 h 1538630"/>
              <a:gd name="csX517" fmla="*/ 1053316 w 1609516"/>
              <a:gd name="csY517" fmla="*/ 1496903 h 1538630"/>
              <a:gd name="csX518" fmla="*/ 1053352 w 1609516"/>
              <a:gd name="csY518" fmla="*/ 1500660 h 1538630"/>
              <a:gd name="csX519" fmla="*/ 1053341 w 1609516"/>
              <a:gd name="csY519" fmla="*/ 1504285 h 1538630"/>
              <a:gd name="csX520" fmla="*/ 1053329 w 1609516"/>
              <a:gd name="csY520" fmla="*/ 1507529 h 1538630"/>
              <a:gd name="csX521" fmla="*/ 1049801 w 1609516"/>
              <a:gd name="csY521" fmla="*/ 1516192 h 1538630"/>
              <a:gd name="csX522" fmla="*/ 1047312 w 1609516"/>
              <a:gd name="csY522" fmla="*/ 1516192 h 1538630"/>
              <a:gd name="csX523" fmla="*/ 1043611 w 1609516"/>
              <a:gd name="csY523" fmla="*/ 1522585 h 1538630"/>
              <a:gd name="csX524" fmla="*/ 1029552 w 1609516"/>
              <a:gd name="csY524" fmla="*/ 1529631 h 1538630"/>
              <a:gd name="csX525" fmla="*/ 1028771 w 1609516"/>
              <a:gd name="csY525" fmla="*/ 1532273 h 1538630"/>
              <a:gd name="csX526" fmla="*/ 1018013 w 1609516"/>
              <a:gd name="csY526" fmla="*/ 1537640 h 1538630"/>
              <a:gd name="csX527" fmla="*/ 981126 w 1609516"/>
              <a:gd name="csY527" fmla="*/ 1533859 h 1538630"/>
              <a:gd name="csX528" fmla="*/ 977227 w 1609516"/>
              <a:gd name="csY528" fmla="*/ 1531943 h 1538630"/>
              <a:gd name="csX529" fmla="*/ 955376 w 1609516"/>
              <a:gd name="csY529" fmla="*/ 1508751 h 1538630"/>
              <a:gd name="csX530" fmla="*/ 954571 w 1609516"/>
              <a:gd name="csY530" fmla="*/ 1500037 h 1538630"/>
              <a:gd name="csX531" fmla="*/ 951446 w 1609516"/>
              <a:gd name="csY531" fmla="*/ 1500037 h 1538630"/>
              <a:gd name="csX532" fmla="*/ 951251 w 1609516"/>
              <a:gd name="csY532" fmla="*/ 1487883 h 1538630"/>
              <a:gd name="csX533" fmla="*/ 951171 w 1609516"/>
              <a:gd name="csY533" fmla="*/ 1484431 h 1538630"/>
              <a:gd name="csX534" fmla="*/ 954571 w 1609516"/>
              <a:gd name="csY534" fmla="*/ 1466216 h 1538630"/>
              <a:gd name="csX535" fmla="*/ 954961 w 1609516"/>
              <a:gd name="csY535" fmla="*/ 1455118 h 1538630"/>
              <a:gd name="csX536" fmla="*/ 954932 w 1609516"/>
              <a:gd name="csY536" fmla="*/ 1451972 h 1538630"/>
              <a:gd name="csX537" fmla="*/ 945099 w 1609516"/>
              <a:gd name="csY537" fmla="*/ 1403594 h 1538630"/>
              <a:gd name="csX538" fmla="*/ 942366 w 1609516"/>
              <a:gd name="csY538" fmla="*/ 1393553 h 1538630"/>
              <a:gd name="csX539" fmla="*/ 934451 w 1609516"/>
              <a:gd name="csY539" fmla="*/ 1372734 h 1538630"/>
              <a:gd name="csX540" fmla="*/ 931974 w 1609516"/>
              <a:gd name="csY540" fmla="*/ 1365754 h 1538630"/>
              <a:gd name="csX541" fmla="*/ 931138 w 1609516"/>
              <a:gd name="csY541" fmla="*/ 1363343 h 1538630"/>
              <a:gd name="csX542" fmla="*/ 926452 w 1609516"/>
              <a:gd name="csY542" fmla="*/ 1361933 h 1538630"/>
              <a:gd name="csX543" fmla="*/ 918641 w 1609516"/>
              <a:gd name="csY543" fmla="*/ 1340795 h 1538630"/>
              <a:gd name="csX544" fmla="*/ 917079 w 1609516"/>
              <a:gd name="csY544" fmla="*/ 1335158 h 1538630"/>
              <a:gd name="csX545" fmla="*/ 913955 w 1609516"/>
              <a:gd name="csY545" fmla="*/ 1335158 h 1538630"/>
              <a:gd name="csX546" fmla="*/ 912057 w 1609516"/>
              <a:gd name="csY546" fmla="*/ 1330793 h 1538630"/>
              <a:gd name="csX547" fmla="*/ 902142 w 1609516"/>
              <a:gd name="csY547" fmla="*/ 1316222 h 1538630"/>
              <a:gd name="csX548" fmla="*/ 900091 w 1609516"/>
              <a:gd name="csY548" fmla="*/ 1313828 h 1538630"/>
              <a:gd name="csX549" fmla="*/ 878026 w 1609516"/>
              <a:gd name="csY549" fmla="*/ 1295700 h 1538630"/>
              <a:gd name="csX550" fmla="*/ 875134 w 1609516"/>
              <a:gd name="csY550" fmla="*/ 1293465 h 1538630"/>
              <a:gd name="csX551" fmla="*/ 869869 w 1609516"/>
              <a:gd name="csY551" fmla="*/ 1291826 h 1538630"/>
              <a:gd name="csX552" fmla="*/ 862384 w 1609516"/>
              <a:gd name="csY552" fmla="*/ 1291327 h 1538630"/>
              <a:gd name="csX553" fmla="*/ 844390 w 1609516"/>
              <a:gd name="csY553" fmla="*/ 1290461 h 1538630"/>
              <a:gd name="csX554" fmla="*/ 840476 w 1609516"/>
              <a:gd name="csY554" fmla="*/ 1290500 h 1538630"/>
              <a:gd name="csX555" fmla="*/ 831015 w 1609516"/>
              <a:gd name="csY555" fmla="*/ 1290637 h 1538630"/>
              <a:gd name="csX556" fmla="*/ 831015 w 1609516"/>
              <a:gd name="csY556" fmla="*/ 1293456 h 1538630"/>
              <a:gd name="csX557" fmla="*/ 818225 w 1609516"/>
              <a:gd name="csY557" fmla="*/ 1295570 h 1538630"/>
              <a:gd name="csX558" fmla="*/ 796774 w 1609516"/>
              <a:gd name="csY558" fmla="*/ 1297671 h 1538630"/>
              <a:gd name="csX559" fmla="*/ 783646 w 1609516"/>
              <a:gd name="csY559" fmla="*/ 1305736 h 1538630"/>
              <a:gd name="csX560" fmla="*/ 769263 w 1609516"/>
              <a:gd name="csY560" fmla="*/ 1327143 h 1538630"/>
              <a:gd name="csX561" fmla="*/ 764797 w 1609516"/>
              <a:gd name="csY561" fmla="*/ 1334360 h 1538630"/>
              <a:gd name="csX562" fmla="*/ 757875 w 1609516"/>
              <a:gd name="csY562" fmla="*/ 1353503 h 1538630"/>
              <a:gd name="csX563" fmla="*/ 755676 w 1609516"/>
              <a:gd name="csY563" fmla="*/ 1367455 h 1538630"/>
              <a:gd name="csX564" fmla="*/ 750558 w 1609516"/>
              <a:gd name="csY564" fmla="*/ 1399690 h 1538630"/>
              <a:gd name="csX565" fmla="*/ 753057 w 1609516"/>
              <a:gd name="csY565" fmla="*/ 1411256 h 1538630"/>
              <a:gd name="csX566" fmla="*/ 753057 w 1609516"/>
              <a:gd name="csY566" fmla="*/ 1416893 h 1538630"/>
              <a:gd name="csX567" fmla="*/ 756181 w 1609516"/>
              <a:gd name="csY567" fmla="*/ 1416893 h 1538630"/>
              <a:gd name="csX568" fmla="*/ 758133 w 1609516"/>
              <a:gd name="csY568" fmla="*/ 1436182 h 1538630"/>
              <a:gd name="csX569" fmla="*/ 758231 w 1609516"/>
              <a:gd name="csY569" fmla="*/ 1440781 h 1538630"/>
              <a:gd name="csX570" fmla="*/ 750713 w 1609516"/>
              <a:gd name="csY570" fmla="*/ 1465704 h 1538630"/>
              <a:gd name="csX571" fmla="*/ 748370 w 1609516"/>
              <a:gd name="csY571" fmla="*/ 1467185 h 1538630"/>
              <a:gd name="csX572" fmla="*/ 741633 w 1609516"/>
              <a:gd name="csY572" fmla="*/ 1473526 h 1538630"/>
              <a:gd name="csX573" fmla="*/ 728154 w 1609516"/>
              <a:gd name="csY573" fmla="*/ 1478343 h 1538630"/>
              <a:gd name="csX574" fmla="*/ 721814 w 1609516"/>
              <a:gd name="csY574" fmla="*/ 1480308 h 1538630"/>
              <a:gd name="csX575" fmla="*/ 708341 w 1609516"/>
              <a:gd name="csY575" fmla="*/ 1480661 h 1538630"/>
              <a:gd name="csX576" fmla="*/ 704637 w 1609516"/>
              <a:gd name="csY576" fmla="*/ 1480748 h 1538630"/>
              <a:gd name="csX577" fmla="*/ 668507 w 1609516"/>
              <a:gd name="csY577" fmla="*/ 1468418 h 1538630"/>
              <a:gd name="csX578" fmla="*/ 660178 w 1609516"/>
              <a:gd name="csY578" fmla="*/ 1450027 h 1538630"/>
              <a:gd name="csX579" fmla="*/ 657767 w 1609516"/>
              <a:gd name="csY579" fmla="*/ 1445078 h 1538630"/>
              <a:gd name="csX580" fmla="*/ 663369 w 1609516"/>
              <a:gd name="csY580" fmla="*/ 1409390 h 1538630"/>
              <a:gd name="csX581" fmla="*/ 671826 w 1609516"/>
              <a:gd name="csY581" fmla="*/ 1401392 h 1538630"/>
              <a:gd name="csX582" fmla="*/ 678075 w 1609516"/>
              <a:gd name="csY582" fmla="*/ 1390118 h 1538630"/>
              <a:gd name="csX583" fmla="*/ 684323 w 1609516"/>
              <a:gd name="csY583" fmla="*/ 1388709 h 1538630"/>
              <a:gd name="csX584" fmla="*/ 685293 w 1609516"/>
              <a:gd name="csY584" fmla="*/ 1384233 h 1538630"/>
              <a:gd name="csX585" fmla="*/ 686569 w 1609516"/>
              <a:gd name="csY585" fmla="*/ 1378404 h 1538630"/>
              <a:gd name="csX586" fmla="*/ 687207 w 1609516"/>
              <a:gd name="csY586" fmla="*/ 1375456 h 1538630"/>
              <a:gd name="csX587" fmla="*/ 690572 w 1609516"/>
              <a:gd name="csY587" fmla="*/ 1363343 h 1538630"/>
              <a:gd name="csX588" fmla="*/ 692495 w 1609516"/>
              <a:gd name="csY588" fmla="*/ 1323376 h 1538630"/>
              <a:gd name="csX589" fmla="*/ 692625 w 1609516"/>
              <a:gd name="csY589" fmla="*/ 1315006 h 1538630"/>
              <a:gd name="csX590" fmla="*/ 687447 w 1609516"/>
              <a:gd name="csY590" fmla="*/ 1287245 h 1538630"/>
              <a:gd name="csX591" fmla="*/ 682761 w 1609516"/>
              <a:gd name="csY591" fmla="*/ 1285835 h 1538630"/>
              <a:gd name="csX592" fmla="*/ 678954 w 1609516"/>
              <a:gd name="csY592" fmla="*/ 1281608 h 1538630"/>
              <a:gd name="csX593" fmla="*/ 668702 w 1609516"/>
              <a:gd name="csY593" fmla="*/ 1275971 h 1538630"/>
              <a:gd name="csX594" fmla="*/ 662454 w 1609516"/>
              <a:gd name="csY594" fmla="*/ 1270334 h 1538630"/>
              <a:gd name="csX595" fmla="*/ 654643 w 1609516"/>
              <a:gd name="csY595" fmla="*/ 1267516 h 1538630"/>
              <a:gd name="csX596" fmla="*/ 654643 w 1609516"/>
              <a:gd name="csY596" fmla="*/ 1264697 h 1538630"/>
              <a:gd name="csX597" fmla="*/ 650152 w 1609516"/>
              <a:gd name="csY597" fmla="*/ 1264345 h 1538630"/>
              <a:gd name="csX598" fmla="*/ 628087 w 1609516"/>
              <a:gd name="csY598" fmla="*/ 1257651 h 1538630"/>
              <a:gd name="csX599" fmla="*/ 628087 w 1609516"/>
              <a:gd name="csY599" fmla="*/ 1254833 h 1538630"/>
              <a:gd name="csX600" fmla="*/ 625121 w 1609516"/>
              <a:gd name="csY600" fmla="*/ 1254315 h 1538630"/>
              <a:gd name="csX601" fmla="*/ 621252 w 1609516"/>
              <a:gd name="csY601" fmla="*/ 1253600 h 1538630"/>
              <a:gd name="csX602" fmla="*/ 617409 w 1609516"/>
              <a:gd name="csY602" fmla="*/ 1252906 h 1538630"/>
              <a:gd name="csX603" fmla="*/ 610904 w 1609516"/>
              <a:gd name="csY603" fmla="*/ 1249196 h 1538630"/>
              <a:gd name="csX604" fmla="*/ 565739 w 1609516"/>
              <a:gd name="csY604" fmla="*/ 1271742 h 1538630"/>
              <a:gd name="csX605" fmla="*/ 546924 w 1609516"/>
              <a:gd name="csY605" fmla="*/ 1290829 h 1538630"/>
              <a:gd name="csX606" fmla="*/ 543635 w 1609516"/>
              <a:gd name="csY606" fmla="*/ 1294643 h 1538630"/>
              <a:gd name="csX607" fmla="*/ 540651 w 1609516"/>
              <a:gd name="csY607" fmla="*/ 1298188 h 1538630"/>
              <a:gd name="csX608" fmla="*/ 529673 w 1609516"/>
              <a:gd name="csY608" fmla="*/ 1305565 h 1538630"/>
              <a:gd name="csX609" fmla="*/ 526549 w 1609516"/>
              <a:gd name="csY609" fmla="*/ 1311202 h 1538630"/>
              <a:gd name="csX610" fmla="*/ 523425 w 1609516"/>
              <a:gd name="csY610" fmla="*/ 1311202 h 1538630"/>
              <a:gd name="csX611" fmla="*/ 523230 w 1609516"/>
              <a:gd name="csY611" fmla="*/ 1313580 h 1538630"/>
              <a:gd name="csX612" fmla="*/ 517732 w 1609516"/>
              <a:gd name="csY612" fmla="*/ 1319739 h 1538630"/>
              <a:gd name="csX613" fmla="*/ 502239 w 1609516"/>
              <a:gd name="csY613" fmla="*/ 1337096 h 1538630"/>
              <a:gd name="csX614" fmla="*/ 497058 w 1609516"/>
              <a:gd name="csY614" fmla="*/ 1344087 h 1538630"/>
              <a:gd name="csX615" fmla="*/ 494572 w 1609516"/>
              <a:gd name="csY615" fmla="*/ 1347465 h 1538630"/>
              <a:gd name="csX616" fmla="*/ 487776 w 1609516"/>
              <a:gd name="csY616" fmla="*/ 1356181 h 1538630"/>
              <a:gd name="csX617" fmla="*/ 481248 w 1609516"/>
              <a:gd name="csY617" fmla="*/ 1367571 h 1538630"/>
              <a:gd name="csX618" fmla="*/ 478123 w 1609516"/>
              <a:gd name="csY618" fmla="*/ 1367571 h 1538630"/>
              <a:gd name="csX619" fmla="*/ 477635 w 1609516"/>
              <a:gd name="csY619" fmla="*/ 1370565 h 1538630"/>
              <a:gd name="csX620" fmla="*/ 465626 w 1609516"/>
              <a:gd name="csY620" fmla="*/ 1388709 h 1538630"/>
              <a:gd name="csX621" fmla="*/ 461233 w 1609516"/>
              <a:gd name="csY621" fmla="*/ 1397340 h 1538630"/>
              <a:gd name="csX622" fmla="*/ 455765 w 1609516"/>
              <a:gd name="csY622" fmla="*/ 1408086 h 1538630"/>
              <a:gd name="csX623" fmla="*/ 439070 w 1609516"/>
              <a:gd name="csY623" fmla="*/ 1477490 h 1538630"/>
              <a:gd name="csX624" fmla="*/ 434384 w 1609516"/>
              <a:gd name="csY624" fmla="*/ 1478899 h 1538630"/>
              <a:gd name="csX625" fmla="*/ 432431 w 1609516"/>
              <a:gd name="csY625" fmla="*/ 1481982 h 1538630"/>
              <a:gd name="csX626" fmla="*/ 418763 w 1609516"/>
              <a:gd name="csY626" fmla="*/ 1494401 h 1538630"/>
              <a:gd name="csX627" fmla="*/ 415639 w 1609516"/>
              <a:gd name="csY627" fmla="*/ 1494401 h 1538630"/>
              <a:gd name="csX628" fmla="*/ 415639 w 1609516"/>
              <a:gd name="csY628" fmla="*/ 1497219 h 1538630"/>
              <a:gd name="csX629" fmla="*/ 406265 w 1609516"/>
              <a:gd name="csY629" fmla="*/ 1498628 h 1538630"/>
              <a:gd name="csX630" fmla="*/ 406265 w 1609516"/>
              <a:gd name="csY630" fmla="*/ 1501447 h 1538630"/>
              <a:gd name="csX631" fmla="*/ 375023 w 1609516"/>
              <a:gd name="csY631" fmla="*/ 1501447 h 1538630"/>
              <a:gd name="csX632" fmla="*/ 375023 w 1609516"/>
              <a:gd name="csY632" fmla="*/ 1499438 h 1538630"/>
              <a:gd name="csX633" fmla="*/ 374964 w 1609516"/>
              <a:gd name="csY633" fmla="*/ 1499436 h 1538630"/>
              <a:gd name="csX634" fmla="*/ 373179 w 1609516"/>
              <a:gd name="csY634" fmla="*/ 1498628 h 1538630"/>
              <a:gd name="csX635" fmla="*/ 365650 w 1609516"/>
              <a:gd name="csY635" fmla="*/ 1498628 h 1538630"/>
              <a:gd name="csX636" fmla="*/ 363134 w 1609516"/>
              <a:gd name="csY636" fmla="*/ 1494087 h 1538630"/>
              <a:gd name="csX637" fmla="*/ 362171 w 1609516"/>
              <a:gd name="csY637" fmla="*/ 1493651 h 1538630"/>
              <a:gd name="csX638" fmla="*/ 360609 w 1609516"/>
              <a:gd name="csY638" fmla="*/ 1490833 h 1538630"/>
              <a:gd name="csX639" fmla="*/ 363733 w 1609516"/>
              <a:gd name="csY639" fmla="*/ 1490833 h 1538630"/>
              <a:gd name="csX640" fmla="*/ 363733 w 1609516"/>
              <a:gd name="csY640" fmla="*/ 1489980 h 1538630"/>
              <a:gd name="csX641" fmla="*/ 348467 w 1609516"/>
              <a:gd name="csY641" fmla="*/ 1481717 h 1538630"/>
              <a:gd name="csX642" fmla="*/ 343872 w 1609516"/>
              <a:gd name="csY642" fmla="*/ 1461078 h 1538630"/>
              <a:gd name="csX643" fmla="*/ 343656 w 1609516"/>
              <a:gd name="csY643" fmla="*/ 1463649 h 1538630"/>
              <a:gd name="csX644" fmla="*/ 343424 w 1609516"/>
              <a:gd name="csY644" fmla="*/ 1466842 h 1538630"/>
              <a:gd name="csX645" fmla="*/ 341861 w 1609516"/>
              <a:gd name="csY645" fmla="*/ 1466842 h 1538630"/>
              <a:gd name="csX646" fmla="*/ 354143 w 1609516"/>
              <a:gd name="csY646" fmla="*/ 1420549 h 1538630"/>
              <a:gd name="csX647" fmla="*/ 376229 w 1609516"/>
              <a:gd name="csY647" fmla="*/ 1403427 h 1538630"/>
              <a:gd name="csX648" fmla="*/ 379491 w 1609516"/>
              <a:gd name="csY648" fmla="*/ 1404408 h 1538630"/>
              <a:gd name="csX649" fmla="*/ 379710 w 1609516"/>
              <a:gd name="csY649" fmla="*/ 1404210 h 1538630"/>
              <a:gd name="csX650" fmla="*/ 380882 w 1609516"/>
              <a:gd name="csY650" fmla="*/ 1401568 h 1538630"/>
              <a:gd name="csX651" fmla="*/ 392207 w 1609516"/>
              <a:gd name="csY651" fmla="*/ 1392936 h 1538630"/>
              <a:gd name="csX652" fmla="*/ 399542 w 1609516"/>
              <a:gd name="csY652" fmla="*/ 1386774 h 1538630"/>
              <a:gd name="csX653" fmla="*/ 405485 w 1609516"/>
              <a:gd name="csY653" fmla="*/ 1378917 h 1538630"/>
              <a:gd name="csX654" fmla="*/ 412008 w 1609516"/>
              <a:gd name="csY654" fmla="*/ 1369481 h 1538630"/>
              <a:gd name="csX655" fmla="*/ 421130 w 1609516"/>
              <a:gd name="csY655" fmla="*/ 1357057 h 1538630"/>
              <a:gd name="csX656" fmla="*/ 424676 w 1609516"/>
              <a:gd name="csY656" fmla="*/ 1348443 h 1538630"/>
              <a:gd name="csX657" fmla="*/ 427275 w 1609516"/>
              <a:gd name="csY657" fmla="*/ 1348443 h 1538630"/>
              <a:gd name="csX658" fmla="*/ 428135 w 1609516"/>
              <a:gd name="csY658" fmla="*/ 1345727 h 1538630"/>
              <a:gd name="csX659" fmla="*/ 432822 w 1609516"/>
              <a:gd name="csY659" fmla="*/ 1335158 h 1538630"/>
              <a:gd name="csX660" fmla="*/ 435946 w 1609516"/>
              <a:gd name="csY660" fmla="*/ 1335158 h 1538630"/>
              <a:gd name="csX661" fmla="*/ 437704 w 1609516"/>
              <a:gd name="csY661" fmla="*/ 1329786 h 1538630"/>
              <a:gd name="csX662" fmla="*/ 447394 w 1609516"/>
              <a:gd name="csY662" fmla="*/ 1311196 h 1538630"/>
              <a:gd name="csX663" fmla="*/ 469287 w 1609516"/>
              <a:gd name="csY663" fmla="*/ 1265964 h 1538630"/>
              <a:gd name="csX664" fmla="*/ 478178 w 1609516"/>
              <a:gd name="csY664" fmla="*/ 1246787 h 1538630"/>
              <a:gd name="csX665" fmla="*/ 480179 w 1609516"/>
              <a:gd name="csY665" fmla="*/ 1225768 h 1538630"/>
              <a:gd name="csX666" fmla="*/ 480250 w 1609516"/>
              <a:gd name="csY666" fmla="*/ 1217149 h 1538630"/>
              <a:gd name="csX667" fmla="*/ 462972 w 1609516"/>
              <a:gd name="csY667" fmla="*/ 1174827 h 1538630"/>
              <a:gd name="csX668" fmla="*/ 457468 w 1609516"/>
              <a:gd name="csY668" fmla="*/ 1169949 h 1538630"/>
              <a:gd name="csX669" fmla="*/ 440657 w 1609516"/>
              <a:gd name="csY669" fmla="*/ 1152570 h 1538630"/>
              <a:gd name="csX670" fmla="*/ 403142 w 1609516"/>
              <a:gd name="csY670" fmla="*/ 1122366 h 1538630"/>
              <a:gd name="csX671" fmla="*/ 401579 w 1609516"/>
              <a:gd name="csY671" fmla="*/ 1119547 h 1538630"/>
              <a:gd name="csX672" fmla="*/ 364564 w 1609516"/>
              <a:gd name="csY672" fmla="*/ 1118209 h 1538630"/>
              <a:gd name="csX673" fmla="*/ 357822 w 1609516"/>
              <a:gd name="csY673" fmla="*/ 1122041 h 1538630"/>
              <a:gd name="csX674" fmla="*/ 348077 w 1609516"/>
              <a:gd name="csY674" fmla="*/ 1125273 h 1538630"/>
              <a:gd name="csX675" fmla="*/ 334408 w 1609516"/>
              <a:gd name="csY675" fmla="*/ 1132230 h 1538630"/>
              <a:gd name="csX676" fmla="*/ 327964 w 1609516"/>
              <a:gd name="csY676" fmla="*/ 1134080 h 1538630"/>
              <a:gd name="csX677" fmla="*/ 279734 w 1609516"/>
              <a:gd name="csY677" fmla="*/ 1166051 h 1538630"/>
              <a:gd name="csX678" fmla="*/ 276609 w 1609516"/>
              <a:gd name="csY678" fmla="*/ 1173098 h 1538630"/>
              <a:gd name="csX679" fmla="*/ 260988 w 1609516"/>
              <a:gd name="csY679" fmla="*/ 1188599 h 1538630"/>
              <a:gd name="csX680" fmla="*/ 257956 w 1609516"/>
              <a:gd name="csY680" fmla="*/ 1191132 h 1538630"/>
              <a:gd name="csX681" fmla="*/ 243805 w 1609516"/>
              <a:gd name="csY681" fmla="*/ 1196629 h 1538630"/>
              <a:gd name="csX682" fmla="*/ 243805 w 1609516"/>
              <a:gd name="csY682" fmla="*/ 1194236 h 1538630"/>
              <a:gd name="csX683" fmla="*/ 240288 w 1609516"/>
              <a:gd name="csY683" fmla="*/ 1194765 h 1538630"/>
              <a:gd name="csX684" fmla="*/ 243374 w 1609516"/>
              <a:gd name="csY684" fmla="*/ 1194765 h 1538630"/>
              <a:gd name="csX685" fmla="*/ 243374 w 1609516"/>
              <a:gd name="csY685" fmla="*/ 1196797 h 1538630"/>
              <a:gd name="csX686" fmla="*/ 243805 w 1609516"/>
              <a:gd name="csY686" fmla="*/ 1196629 h 1538630"/>
              <a:gd name="csX687" fmla="*/ 243805 w 1609516"/>
              <a:gd name="csY687" fmla="*/ 1197055 h 1538630"/>
              <a:gd name="csX688" fmla="*/ 243374 w 1609516"/>
              <a:gd name="csY688" fmla="*/ 1197055 h 1538630"/>
              <a:gd name="csX689" fmla="*/ 243374 w 1609516"/>
              <a:gd name="csY689" fmla="*/ 1197584 h 1538630"/>
              <a:gd name="csX690" fmla="*/ 241319 w 1609516"/>
              <a:gd name="csY690" fmla="*/ 1197595 h 1538630"/>
              <a:gd name="csX691" fmla="*/ 238009 w 1609516"/>
              <a:gd name="csY691" fmla="*/ 1198881 h 1538630"/>
              <a:gd name="csX692" fmla="*/ 215687 w 1609516"/>
              <a:gd name="csY692" fmla="*/ 1198464 h 1538630"/>
              <a:gd name="csX693" fmla="*/ 215687 w 1609516"/>
              <a:gd name="csY693" fmla="*/ 1197734 h 1538630"/>
              <a:gd name="csX694" fmla="*/ 213936 w 1609516"/>
              <a:gd name="csY694" fmla="*/ 1197744 h 1538630"/>
              <a:gd name="csX695" fmla="*/ 207446 w 1609516"/>
              <a:gd name="csY695" fmla="*/ 1196175 h 1538630"/>
              <a:gd name="csX696" fmla="*/ 207822 w 1609516"/>
              <a:gd name="csY696" fmla="*/ 1195610 h 1538630"/>
              <a:gd name="csX697" fmla="*/ 184737 w 1609516"/>
              <a:gd name="csY697" fmla="*/ 1180936 h 1538630"/>
              <a:gd name="csX698" fmla="*/ 179270 w 1609516"/>
              <a:gd name="csY698" fmla="*/ 1154866 h 1538630"/>
              <a:gd name="csX699" fmla="*/ 179194 w 1609516"/>
              <a:gd name="csY699" fmla="*/ 1151621 h 1538630"/>
              <a:gd name="csX700" fmla="*/ 193195 w 1609516"/>
              <a:gd name="csY700" fmla="*/ 1120065 h 1538630"/>
              <a:gd name="csX701" fmla="*/ 229551 w 1609516"/>
              <a:gd name="csY701" fmla="*/ 1110299 h 1538630"/>
              <a:gd name="csX702" fmla="*/ 260988 w 1609516"/>
              <a:gd name="csY702" fmla="*/ 1108274 h 1538630"/>
              <a:gd name="csX703" fmla="*/ 260988 w 1609516"/>
              <a:gd name="csY703" fmla="*/ 1105455 h 1538630"/>
              <a:gd name="csX704" fmla="*/ 263911 w 1609516"/>
              <a:gd name="csY704" fmla="*/ 1104310 h 1538630"/>
              <a:gd name="csX705" fmla="*/ 286995 w 1609516"/>
              <a:gd name="csY705" fmla="*/ 1090185 h 1538630"/>
              <a:gd name="csX706" fmla="*/ 299358 w 1609516"/>
              <a:gd name="csY706" fmla="*/ 1080970 h 1538630"/>
              <a:gd name="csX707" fmla="*/ 317762 w 1609516"/>
              <a:gd name="csY707" fmla="*/ 1063272 h 1538630"/>
              <a:gd name="csX708" fmla="*/ 325035 w 1609516"/>
              <a:gd name="csY708" fmla="*/ 1057542 h 1538630"/>
              <a:gd name="csX709" fmla="*/ 325328 w 1609516"/>
              <a:gd name="csY709" fmla="*/ 1023104 h 1538630"/>
              <a:gd name="csX710" fmla="*/ 324544 w 1609516"/>
              <a:gd name="csY710" fmla="*/ 1019247 h 1538630"/>
              <a:gd name="csX711" fmla="*/ 317225 w 1609516"/>
              <a:gd name="csY711" fmla="*/ 996945 h 1538630"/>
              <a:gd name="csX712" fmla="*/ 315388 w 1609516"/>
              <a:gd name="csY712" fmla="*/ 992690 h 1538630"/>
              <a:gd name="csX713" fmla="*/ 276232 w 1609516"/>
              <a:gd name="csY713" fmla="*/ 950666 h 1538630"/>
              <a:gd name="csX714" fmla="*/ 271923 w 1609516"/>
              <a:gd name="csY714" fmla="*/ 949031 h 1538630"/>
              <a:gd name="csX715" fmla="*/ 268299 w 1609516"/>
              <a:gd name="csY715" fmla="*/ 947441 h 1538630"/>
              <a:gd name="csX716" fmla="*/ 199187 w 1609516"/>
              <a:gd name="csY716" fmla="*/ 938991 h 1538630"/>
              <a:gd name="csX717" fmla="*/ 193719 w 1609516"/>
              <a:gd name="csY717" fmla="*/ 938971 h 1538630"/>
              <a:gd name="csX718" fmla="*/ 188539 w 1609516"/>
              <a:gd name="csY718" fmla="*/ 938980 h 1538630"/>
              <a:gd name="csX719" fmla="*/ 183874 w 1609516"/>
              <a:gd name="csY719" fmla="*/ 938985 h 1538630"/>
              <a:gd name="csX720" fmla="*/ 173509 w 1609516"/>
              <a:gd name="csY720" fmla="*/ 940576 h 1538630"/>
              <a:gd name="csX721" fmla="*/ 161403 w 1609516"/>
              <a:gd name="csY721" fmla="*/ 940664 h 1538630"/>
              <a:gd name="csX722" fmla="*/ 158102 w 1609516"/>
              <a:gd name="csY722" fmla="*/ 940645 h 1538630"/>
              <a:gd name="csX723" fmla="*/ 150875 w 1609516"/>
              <a:gd name="csY723" fmla="*/ 940583 h 1538630"/>
              <a:gd name="csX724" fmla="*/ 148425 w 1609516"/>
              <a:gd name="csY724" fmla="*/ 940717 h 1538630"/>
              <a:gd name="csX725" fmla="*/ 149617 w 1609516"/>
              <a:gd name="csY725" fmla="*/ 940995 h 1538630"/>
              <a:gd name="csX726" fmla="*/ 149617 w 1609516"/>
              <a:gd name="csY726" fmla="*/ 942404 h 1538630"/>
              <a:gd name="csX727" fmla="*/ 146627 w 1609516"/>
              <a:gd name="csY727" fmla="*/ 942871 h 1538630"/>
              <a:gd name="csX728" fmla="*/ 110564 w 1609516"/>
              <a:gd name="csY728" fmla="*/ 949449 h 1538630"/>
              <a:gd name="csX729" fmla="*/ 111283 w 1609516"/>
              <a:gd name="csY729" fmla="*/ 946205 h 1538630"/>
              <a:gd name="csX730" fmla="*/ 101652 w 1609516"/>
              <a:gd name="csY730" fmla="*/ 956078 h 1538630"/>
              <a:gd name="csX731" fmla="*/ 98052 w 1609516"/>
              <a:gd name="csY731" fmla="*/ 958467 h 1538630"/>
              <a:gd name="csX732" fmla="*/ 67286 w 1609516"/>
              <a:gd name="csY732" fmla="*/ 972989 h 1538630"/>
              <a:gd name="csX733" fmla="*/ 67286 w 1609516"/>
              <a:gd name="csY733" fmla="*/ 975807 h 1538630"/>
              <a:gd name="csX734" fmla="*/ 31942 w 1609516"/>
              <a:gd name="csY734" fmla="*/ 976423 h 1538630"/>
              <a:gd name="csX735" fmla="*/ 5673 w 1609516"/>
              <a:gd name="csY735" fmla="*/ 953419 h 1538630"/>
              <a:gd name="csX736" fmla="*/ 4801 w 1609516"/>
              <a:gd name="csY736" fmla="*/ 944804 h 1538630"/>
              <a:gd name="csX737" fmla="*/ 1676 w 1609516"/>
              <a:gd name="csY737" fmla="*/ 944804 h 1538630"/>
              <a:gd name="csX738" fmla="*/ 17 w 1609516"/>
              <a:gd name="csY738" fmla="*/ 931857 h 1538630"/>
              <a:gd name="csX739" fmla="*/ 59 w 1609516"/>
              <a:gd name="csY739" fmla="*/ 927216 h 1538630"/>
              <a:gd name="csX740" fmla="*/ 115 w 1609516"/>
              <a:gd name="csY740" fmla="*/ 923666 h 1538630"/>
              <a:gd name="csX741" fmla="*/ 3238 w 1609516"/>
              <a:gd name="csY741" fmla="*/ 923666 h 1538630"/>
              <a:gd name="csX742" fmla="*/ 3238 w 1609516"/>
              <a:gd name="csY742" fmla="*/ 918029 h 1538630"/>
              <a:gd name="csX743" fmla="*/ 6363 w 1609516"/>
              <a:gd name="csY743" fmla="*/ 918029 h 1538630"/>
              <a:gd name="csX744" fmla="*/ 6656 w 1609516"/>
              <a:gd name="csY744" fmla="*/ 912832 h 1538630"/>
              <a:gd name="csX745" fmla="*/ 15736 w 1609516"/>
              <a:gd name="csY745" fmla="*/ 899709 h 1538630"/>
              <a:gd name="csX746" fmla="*/ 17243 w 1609516"/>
              <a:gd name="csY746" fmla="*/ 898894 h 1538630"/>
              <a:gd name="csX747" fmla="*/ 16800 w 1609516"/>
              <a:gd name="csY747" fmla="*/ 898694 h 1538630"/>
              <a:gd name="csX748" fmla="*/ 24988 w 1609516"/>
              <a:gd name="csY748" fmla="*/ 894101 h 1538630"/>
              <a:gd name="csX749" fmla="*/ 26768 w 1609516"/>
              <a:gd name="csY749" fmla="*/ 892399 h 1538630"/>
              <a:gd name="csX750" fmla="*/ 30198 w 1609516"/>
              <a:gd name="csY750" fmla="*/ 890164 h 1538630"/>
              <a:gd name="csX751" fmla="*/ 32204 w 1609516"/>
              <a:gd name="csY751" fmla="*/ 890054 h 1538630"/>
              <a:gd name="csX752" fmla="*/ 38914 w 1609516"/>
              <a:gd name="csY752" fmla="*/ 886291 h 1538630"/>
              <a:gd name="csX753" fmla="*/ 63664 w 1609516"/>
              <a:gd name="csY753" fmla="*/ 886011 h 1538630"/>
              <a:gd name="csX754" fmla="*/ 63664 w 1609516"/>
              <a:gd name="csY754" fmla="*/ 886531 h 1538630"/>
              <a:gd name="csX755" fmla="*/ 70784 w 1609516"/>
              <a:gd name="csY755" fmla="*/ 886647 h 1538630"/>
              <a:gd name="csX756" fmla="*/ 82126 w 1609516"/>
              <a:gd name="csY756" fmla="*/ 889845 h 1538630"/>
              <a:gd name="csX757" fmla="*/ 114149 w 1609516"/>
              <a:gd name="csY757" fmla="*/ 892663 h 1538630"/>
              <a:gd name="csX758" fmla="*/ 118836 w 1609516"/>
              <a:gd name="csY758" fmla="*/ 889845 h 1538630"/>
              <a:gd name="csX759" fmla="*/ 131626 w 1609516"/>
              <a:gd name="csY759" fmla="*/ 887114 h 1538630"/>
              <a:gd name="csX760" fmla="*/ 155116 w 1609516"/>
              <a:gd name="csY760" fmla="*/ 880913 h 1538630"/>
              <a:gd name="csX761" fmla="*/ 165406 w 1609516"/>
              <a:gd name="csY761" fmla="*/ 878483 h 1538630"/>
              <a:gd name="csX762" fmla="*/ 176634 w 1609516"/>
              <a:gd name="csY762" fmla="*/ 874343 h 1538630"/>
              <a:gd name="csX763" fmla="*/ 186397 w 1609516"/>
              <a:gd name="csY763" fmla="*/ 871524 h 1538630"/>
              <a:gd name="csX764" fmla="*/ 191871 w 1609516"/>
              <a:gd name="csY764" fmla="*/ 870033 h 1538630"/>
              <a:gd name="csX765" fmla="*/ 203483 w 1609516"/>
              <a:gd name="csY765" fmla="*/ 867208 h 1538630"/>
              <a:gd name="csX766" fmla="*/ 211001 w 1609516"/>
              <a:gd name="csY766" fmla="*/ 861660 h 1538630"/>
              <a:gd name="csX767" fmla="*/ 218031 w 1609516"/>
              <a:gd name="csY767" fmla="*/ 858577 h 1538630"/>
              <a:gd name="csX768" fmla="*/ 254740 w 1609516"/>
              <a:gd name="csY768" fmla="*/ 825020 h 1538630"/>
              <a:gd name="csX769" fmla="*/ 257864 w 1609516"/>
              <a:gd name="csY769" fmla="*/ 820792 h 1538630"/>
              <a:gd name="csX770" fmla="*/ 258318 w 1609516"/>
              <a:gd name="csY770" fmla="*/ 813810 h 1538630"/>
              <a:gd name="csX771" fmla="*/ 258378 w 1609516"/>
              <a:gd name="csY771" fmla="*/ 809502 h 1538630"/>
              <a:gd name="csX772" fmla="*/ 258389 w 1609516"/>
              <a:gd name="csY772" fmla="*/ 804845 h 1538630"/>
              <a:gd name="csX773" fmla="*/ 258420 w 1609516"/>
              <a:gd name="csY773" fmla="*/ 800036 h 1538630"/>
              <a:gd name="csX774" fmla="*/ 258443 w 1609516"/>
              <a:gd name="csY774" fmla="*/ 789939 h 1538630"/>
              <a:gd name="csX775" fmla="*/ 258566 w 1609516"/>
              <a:gd name="csY775" fmla="*/ 774594 h 1538630"/>
              <a:gd name="csX776" fmla="*/ 258584 w 1609516"/>
              <a:gd name="csY776" fmla="*/ 764771 h 1538630"/>
              <a:gd name="csX777" fmla="*/ 258652 w 1609516"/>
              <a:gd name="csY777" fmla="*/ 760174 h 1538630"/>
              <a:gd name="csX778" fmla="*/ 251616 w 1609516"/>
              <a:gd name="csY778" fmla="*/ 733421 h 1538630"/>
              <a:gd name="csX779" fmla="*/ 247613 w 1609516"/>
              <a:gd name="csY779" fmla="*/ 721883 h 1538630"/>
              <a:gd name="csX780" fmla="*/ 241291 w 1609516"/>
              <a:gd name="csY780" fmla="*/ 705644 h 1538630"/>
              <a:gd name="csX781" fmla="*/ 237557 w 1609516"/>
              <a:gd name="csY781" fmla="*/ 689735 h 1538630"/>
              <a:gd name="csX782" fmla="*/ 248492 w 1609516"/>
              <a:gd name="csY782" fmla="*/ 685507 h 1538630"/>
              <a:gd name="csX783" fmla="*/ 248492 w 1609516"/>
              <a:gd name="csY783" fmla="*/ 681279 h 1538630"/>
              <a:gd name="csX784" fmla="*/ 240681 w 1609516"/>
              <a:gd name="csY784" fmla="*/ 679870 h 1538630"/>
              <a:gd name="csX785" fmla="*/ 240681 w 1609516"/>
              <a:gd name="csY785" fmla="*/ 677052 h 1538630"/>
              <a:gd name="csX786" fmla="*/ 238094 w 1609516"/>
              <a:gd name="csY786" fmla="*/ 676645 h 1538630"/>
              <a:gd name="csX787" fmla="*/ 225841 w 1609516"/>
              <a:gd name="csY787" fmla="*/ 670886 h 1538630"/>
              <a:gd name="csX788" fmla="*/ 201531 w 1609516"/>
              <a:gd name="csY788" fmla="*/ 662508 h 1538630"/>
              <a:gd name="csX789" fmla="*/ 188252 w 1609516"/>
              <a:gd name="csY789" fmla="*/ 658644 h 1538630"/>
              <a:gd name="csX790" fmla="*/ 182431 w 1609516"/>
              <a:gd name="csY790" fmla="*/ 657327 h 1538630"/>
              <a:gd name="csX791" fmla="*/ 182431 w 1609516"/>
              <a:gd name="csY791" fmla="*/ 657613 h 1538630"/>
              <a:gd name="csX792" fmla="*/ 146503 w 1609516"/>
              <a:gd name="csY792" fmla="*/ 656204 h 1538630"/>
              <a:gd name="csX793" fmla="*/ 146503 w 1609516"/>
              <a:gd name="csY793" fmla="*/ 659022 h 1538630"/>
              <a:gd name="csX794" fmla="*/ 110378 w 1609516"/>
              <a:gd name="csY794" fmla="*/ 663778 h 1538630"/>
              <a:gd name="csX795" fmla="*/ 106453 w 1609516"/>
              <a:gd name="csY795" fmla="*/ 663836 h 1538630"/>
              <a:gd name="csX796" fmla="*/ 102751 w 1609516"/>
              <a:gd name="csY796" fmla="*/ 663811 h 1538630"/>
              <a:gd name="csX797" fmla="*/ 99449 w 1609516"/>
              <a:gd name="csY797" fmla="*/ 663797 h 1538630"/>
              <a:gd name="csX798" fmla="*/ 91828 w 1609516"/>
              <a:gd name="csY798" fmla="*/ 659022 h 1538630"/>
              <a:gd name="csX799" fmla="*/ 98077 w 1609516"/>
              <a:gd name="csY799" fmla="*/ 659022 h 1538630"/>
              <a:gd name="csX800" fmla="*/ 98077 w 1609516"/>
              <a:gd name="csY800" fmla="*/ 661841 h 1538630"/>
              <a:gd name="csX801" fmla="*/ 119023 w 1609516"/>
              <a:gd name="csY801" fmla="*/ 661357 h 1538630"/>
              <a:gd name="csX802" fmla="*/ 119536 w 1609516"/>
              <a:gd name="csY802" fmla="*/ 661197 h 1538630"/>
              <a:gd name="csX803" fmla="*/ 109853 w 1609516"/>
              <a:gd name="csY803" fmla="*/ 661639 h 1538630"/>
              <a:gd name="csX804" fmla="*/ 106552 w 1609516"/>
              <a:gd name="csY804" fmla="*/ 661619 h 1538630"/>
              <a:gd name="csX805" fmla="*/ 98528 w 1609516"/>
              <a:gd name="csY805" fmla="*/ 661550 h 1538630"/>
              <a:gd name="csX806" fmla="*/ 98528 w 1609516"/>
              <a:gd name="csY806" fmla="*/ 658732 h 1538630"/>
              <a:gd name="csX807" fmla="*/ 89155 w 1609516"/>
              <a:gd name="csY807" fmla="*/ 657323 h 1538630"/>
              <a:gd name="csX808" fmla="*/ 89155 w 1609516"/>
              <a:gd name="csY808" fmla="*/ 654504 h 1538630"/>
              <a:gd name="csX809" fmla="*/ 86397 w 1609516"/>
              <a:gd name="csY809" fmla="*/ 653442 h 1538630"/>
              <a:gd name="csX810" fmla="*/ 77049 w 1609516"/>
              <a:gd name="csY810" fmla="*/ 646137 h 1538630"/>
              <a:gd name="csX811" fmla="*/ 74145 w 1609516"/>
              <a:gd name="csY811" fmla="*/ 643192 h 1538630"/>
              <a:gd name="csX812" fmla="*/ 71972 w 1609516"/>
              <a:gd name="csY812" fmla="*/ 636185 h 1538630"/>
              <a:gd name="csX813" fmla="*/ 68848 w 1609516"/>
              <a:gd name="csY813" fmla="*/ 636185 h 1538630"/>
              <a:gd name="csX814" fmla="*/ 70410 w 1609516"/>
              <a:gd name="csY814" fmla="*/ 595317 h 1538630"/>
              <a:gd name="csX815" fmla="*/ 79782 w 1609516"/>
              <a:gd name="csY815" fmla="*/ 584043 h 1538630"/>
              <a:gd name="csX816" fmla="*/ 82656 w 1609516"/>
              <a:gd name="csY816" fmla="*/ 581115 h 1538630"/>
              <a:gd name="csX817" fmla="*/ 116694 w 1609516"/>
              <a:gd name="csY817" fmla="*/ 572323 h 1538630"/>
              <a:gd name="csX818" fmla="*/ 152031 w 1609516"/>
              <a:gd name="csY818" fmla="*/ 590385 h 1538630"/>
              <a:gd name="csX819" fmla="*/ 191474 w 1609516"/>
              <a:gd name="csY819" fmla="*/ 605886 h 1538630"/>
              <a:gd name="csX820" fmla="*/ 206314 w 1609516"/>
              <a:gd name="csY820" fmla="*/ 608000 h 1538630"/>
              <a:gd name="csX821" fmla="*/ 206314 w 1609516"/>
              <a:gd name="csY821" fmla="*/ 610818 h 1538630"/>
              <a:gd name="csX822" fmla="*/ 234433 w 1609516"/>
              <a:gd name="csY822" fmla="*/ 610818 h 1538630"/>
              <a:gd name="csX823" fmla="*/ 239522 w 1609516"/>
              <a:gd name="csY823" fmla="*/ 610802 h 1538630"/>
              <a:gd name="csX824" fmla="*/ 268799 w 1609516"/>
              <a:gd name="csY824" fmla="*/ 600954 h 1538630"/>
              <a:gd name="csX825" fmla="*/ 271740 w 1609516"/>
              <a:gd name="csY825" fmla="*/ 599325 h 1538630"/>
              <a:gd name="csX826" fmla="*/ 284420 w 1609516"/>
              <a:gd name="csY826" fmla="*/ 579816 h 1538630"/>
              <a:gd name="csX827" fmla="*/ 289399 w 1609516"/>
              <a:gd name="csY827" fmla="*/ 568630 h 1538630"/>
              <a:gd name="csX828" fmla="*/ 293958 w 1609516"/>
              <a:gd name="csY828" fmla="*/ 535838 h 1538630"/>
              <a:gd name="csX829" fmla="*/ 289107 w 1609516"/>
              <a:gd name="csY829" fmla="*/ 529084 h 1538630"/>
              <a:gd name="csX830" fmla="*/ 289107 w 1609516"/>
              <a:gd name="csY830" fmla="*/ 526265 h 1538630"/>
              <a:gd name="csX831" fmla="*/ 284420 w 1609516"/>
              <a:gd name="csY831" fmla="*/ 524856 h 1538630"/>
              <a:gd name="csX832" fmla="*/ 282858 w 1609516"/>
              <a:gd name="csY832" fmla="*/ 520628 h 1538630"/>
              <a:gd name="csX833" fmla="*/ 277977 w 1609516"/>
              <a:gd name="csY833" fmla="*/ 516577 h 1538630"/>
              <a:gd name="csX834" fmla="*/ 264925 w 1609516"/>
              <a:gd name="csY834" fmla="*/ 506443 h 1538630"/>
              <a:gd name="csX835" fmla="*/ 229746 w 1609516"/>
              <a:gd name="csY835" fmla="*/ 481170 h 1538630"/>
              <a:gd name="csX836" fmla="*/ 221057 w 1609516"/>
              <a:gd name="csY836" fmla="*/ 475445 h 1538630"/>
              <a:gd name="csX837" fmla="*/ 212563 w 1609516"/>
              <a:gd name="csY837" fmla="*/ 469896 h 1538630"/>
              <a:gd name="csX838" fmla="*/ 208889 w 1609516"/>
              <a:gd name="csY838" fmla="*/ 467491 h 1538630"/>
              <a:gd name="csX839" fmla="*/ 190406 w 1609516"/>
              <a:gd name="csY839" fmla="*/ 456382 h 1538630"/>
              <a:gd name="csX840" fmla="*/ 186942 w 1609516"/>
              <a:gd name="csY840" fmla="*/ 454460 h 1538630"/>
              <a:gd name="csX841" fmla="*/ 180041 w 1609516"/>
              <a:gd name="csY841" fmla="*/ 450696 h 1538630"/>
              <a:gd name="csX842" fmla="*/ 171948 w 1609516"/>
              <a:gd name="csY842" fmla="*/ 445940 h 1538630"/>
              <a:gd name="csX843" fmla="*/ 171948 w 1609516"/>
              <a:gd name="csY843" fmla="*/ 443121 h 1538630"/>
              <a:gd name="csX844" fmla="*/ 168482 w 1609516"/>
              <a:gd name="csY844" fmla="*/ 442708 h 1538630"/>
              <a:gd name="csX845" fmla="*/ 157107 w 1609516"/>
              <a:gd name="csY845" fmla="*/ 437044 h 1538630"/>
              <a:gd name="csX846" fmla="*/ 132559 w 1609516"/>
              <a:gd name="csY846" fmla="*/ 427510 h 1538630"/>
              <a:gd name="csX847" fmla="*/ 123522 w 1609516"/>
              <a:gd name="csY847" fmla="*/ 421983 h 1538630"/>
              <a:gd name="csX848" fmla="*/ 107986 w 1609516"/>
              <a:gd name="csY848" fmla="*/ 418730 h 1538630"/>
              <a:gd name="csX849" fmla="*/ 102494 w 1609516"/>
              <a:gd name="csY849" fmla="*/ 418622 h 1538630"/>
              <a:gd name="csX850" fmla="*/ 91157 w 1609516"/>
              <a:gd name="csY850" fmla="*/ 418490 h 1538630"/>
              <a:gd name="csX851" fmla="*/ 55277 w 1609516"/>
              <a:gd name="csY851" fmla="*/ 410445 h 1538630"/>
              <a:gd name="csX852" fmla="*/ 51665 w 1609516"/>
              <a:gd name="csY852" fmla="*/ 406481 h 1538630"/>
              <a:gd name="csX853" fmla="*/ 45904 w 1609516"/>
              <a:gd name="csY853" fmla="*/ 400492 h 1538630"/>
              <a:gd name="csX854" fmla="*/ 43152 w 1609516"/>
              <a:gd name="csY854" fmla="*/ 397564 h 1538630"/>
              <a:gd name="csX855" fmla="*/ 37605 w 1609516"/>
              <a:gd name="csY855" fmla="*/ 393798 h 1538630"/>
              <a:gd name="csX856" fmla="*/ 38995 w 1609516"/>
              <a:gd name="csY856" fmla="*/ 368712 h 1538630"/>
              <a:gd name="csX857" fmla="*/ 38666 w 1609516"/>
              <a:gd name="csY857" fmla="*/ 369724 h 1538630"/>
              <a:gd name="csX858" fmla="*/ 35542 w 1609516"/>
              <a:gd name="csY858" fmla="*/ 384081 h 1538630"/>
              <a:gd name="csX859" fmla="*/ 33326 w 1609516"/>
              <a:gd name="csY859" fmla="*/ 357791 h 1538630"/>
              <a:gd name="csX860" fmla="*/ 52725 w 1609516"/>
              <a:gd name="csY860" fmla="*/ 333349 h 1538630"/>
              <a:gd name="csX861" fmla="*/ 55222 w 1609516"/>
              <a:gd name="csY861" fmla="*/ 334475 h 1538630"/>
              <a:gd name="csX862" fmla="*/ 56222 w 1609516"/>
              <a:gd name="csY862" fmla="*/ 333347 h 1538630"/>
              <a:gd name="csX863" fmla="*/ 55871 w 1609516"/>
              <a:gd name="csY863" fmla="*/ 333347 h 1538630"/>
              <a:gd name="csX864" fmla="*/ 56346 w 1609516"/>
              <a:gd name="csY864" fmla="*/ 333207 h 1538630"/>
              <a:gd name="csX865" fmla="*/ 56351 w 1609516"/>
              <a:gd name="csY865" fmla="*/ 333202 h 1538630"/>
              <a:gd name="csX866" fmla="*/ 56365 w 1609516"/>
              <a:gd name="csY866" fmla="*/ 333202 h 1538630"/>
              <a:gd name="csX867" fmla="*/ 79571 w 1609516"/>
              <a:gd name="csY867" fmla="*/ 326360 h 1538630"/>
              <a:gd name="csX868" fmla="*/ 104297 w 1609516"/>
              <a:gd name="csY868" fmla="*/ 330529 h 1538630"/>
              <a:gd name="csX869" fmla="*/ 107170 w 1609516"/>
              <a:gd name="csY869" fmla="*/ 334417 h 1538630"/>
              <a:gd name="csX870" fmla="*/ 109366 w 1609516"/>
              <a:gd name="csY870" fmla="*/ 336046 h 1538630"/>
              <a:gd name="csX871" fmla="*/ 109463 w 1609516"/>
              <a:gd name="csY871" fmla="*/ 336020 h 1538630"/>
              <a:gd name="csX872" fmla="*/ 109463 w 1609516"/>
              <a:gd name="csY872" fmla="*/ 336118 h 1538630"/>
              <a:gd name="csX873" fmla="*/ 115226 w 1609516"/>
              <a:gd name="csY873" fmla="*/ 340394 h 1538630"/>
              <a:gd name="csX874" fmla="*/ 114010 w 1609516"/>
              <a:gd name="csY874" fmla="*/ 340120 h 1538630"/>
              <a:gd name="csX875" fmla="*/ 133285 w 1609516"/>
              <a:gd name="csY875" fmla="*/ 357423 h 1538630"/>
              <a:gd name="csX876" fmla="*/ 173509 w 1609516"/>
              <a:gd name="csY876" fmla="*/ 389571 h 1538630"/>
              <a:gd name="csX877" fmla="*/ 181711 w 1609516"/>
              <a:gd name="csY877" fmla="*/ 393270 h 1538630"/>
              <a:gd name="csX878" fmla="*/ 185507 w 1609516"/>
              <a:gd name="csY878" fmla="*/ 394976 h 1538630"/>
              <a:gd name="csX879" fmla="*/ 192658 w 1609516"/>
              <a:gd name="csY879" fmla="*/ 398257 h 1538630"/>
              <a:gd name="csX880" fmla="*/ 195966 w 1609516"/>
              <a:gd name="csY880" fmla="*/ 399788 h 1538630"/>
              <a:gd name="csX881" fmla="*/ 198833 w 1609516"/>
              <a:gd name="csY881" fmla="*/ 401131 h 1538630"/>
              <a:gd name="csX882" fmla="*/ 207877 w 1609516"/>
              <a:gd name="csY882" fmla="*/ 403663 h 1538630"/>
              <a:gd name="csX883" fmla="*/ 207877 w 1609516"/>
              <a:gd name="csY883" fmla="*/ 406481 h 1538630"/>
              <a:gd name="csX884" fmla="*/ 248492 w 1609516"/>
              <a:gd name="csY884" fmla="*/ 419428 h 1538630"/>
              <a:gd name="csX885" fmla="*/ 253965 w 1609516"/>
              <a:gd name="csY885" fmla="*/ 421000 h 1538630"/>
              <a:gd name="csX886" fmla="*/ 267237 w 1609516"/>
              <a:gd name="csY886" fmla="*/ 424801 h 1538630"/>
              <a:gd name="csX887" fmla="*/ 267237 w 1609516"/>
              <a:gd name="csY887" fmla="*/ 426451 h 1538630"/>
              <a:gd name="csX888" fmla="*/ 288701 w 1609516"/>
              <a:gd name="csY888" fmla="*/ 429217 h 1538630"/>
              <a:gd name="csX889" fmla="*/ 288701 w 1609516"/>
              <a:gd name="csY889" fmla="*/ 432036 h 1538630"/>
              <a:gd name="csX890" fmla="*/ 327010 w 1609516"/>
              <a:gd name="csY890" fmla="*/ 433628 h 1538630"/>
              <a:gd name="csX891" fmla="*/ 337486 w 1609516"/>
              <a:gd name="csY891" fmla="*/ 433637 h 1538630"/>
              <a:gd name="csX892" fmla="*/ 344229 w 1609516"/>
              <a:gd name="csY892" fmla="*/ 433632 h 1538630"/>
              <a:gd name="csX893" fmla="*/ 350323 w 1609516"/>
              <a:gd name="csY893" fmla="*/ 433627 h 1538630"/>
              <a:gd name="csX894" fmla="*/ 365245 w 1609516"/>
              <a:gd name="csY894" fmla="*/ 432036 h 1538630"/>
              <a:gd name="csX895" fmla="*/ 360797 w 1609516"/>
              <a:gd name="csY895" fmla="*/ 433759 h 1538630"/>
              <a:gd name="csX896" fmla="*/ 365650 w 1609516"/>
              <a:gd name="csY896" fmla="*/ 433257 h 1538630"/>
              <a:gd name="csX897" fmla="*/ 367213 w 1609516"/>
              <a:gd name="csY897" fmla="*/ 429029 h 1538630"/>
              <a:gd name="csX898" fmla="*/ 375188 w 1609516"/>
              <a:gd name="csY898" fmla="*/ 424906 h 1538630"/>
              <a:gd name="csX899" fmla="*/ 404704 w 1609516"/>
              <a:gd name="csY899" fmla="*/ 389571 h 1538630"/>
              <a:gd name="csX900" fmla="*/ 406265 w 1609516"/>
              <a:gd name="csY900" fmla="*/ 388161 h 1538630"/>
              <a:gd name="csX901" fmla="*/ 406559 w 1609516"/>
              <a:gd name="csY901" fmla="*/ 370106 h 1538630"/>
              <a:gd name="csX902" fmla="*/ 406617 w 1609516"/>
              <a:gd name="csY902" fmla="*/ 364973 h 1538630"/>
              <a:gd name="csX903" fmla="*/ 406626 w 1609516"/>
              <a:gd name="csY903" fmla="*/ 360038 h 1538630"/>
              <a:gd name="csX904" fmla="*/ 406645 w 1609516"/>
              <a:gd name="csY904" fmla="*/ 355503 h 1538630"/>
              <a:gd name="csX905" fmla="*/ 403142 w 1609516"/>
              <a:gd name="csY905" fmla="*/ 345885 h 1538630"/>
              <a:gd name="csX906" fmla="*/ 401579 w 1609516"/>
              <a:gd name="csY906" fmla="*/ 338663 h 1538630"/>
              <a:gd name="csX907" fmla="*/ 390938 w 1609516"/>
              <a:gd name="csY907" fmla="*/ 315939 h 1538630"/>
              <a:gd name="csX908" fmla="*/ 388976 w 1609516"/>
              <a:gd name="csY908" fmla="*/ 312762 h 1538630"/>
              <a:gd name="csX909" fmla="*/ 377934 w 1609516"/>
              <a:gd name="csY909" fmla="*/ 297817 h 1538630"/>
              <a:gd name="csX910" fmla="*/ 368775 w 1609516"/>
              <a:gd name="csY910" fmla="*/ 282470 h 1538630"/>
              <a:gd name="csX911" fmla="*/ 359890 w 1609516"/>
              <a:gd name="csY911" fmla="*/ 271284 h 1538630"/>
              <a:gd name="csX912" fmla="*/ 357374 w 1609516"/>
              <a:gd name="csY912" fmla="*/ 268288 h 1538630"/>
              <a:gd name="csX913" fmla="*/ 337533 w 1609516"/>
              <a:gd name="csY913" fmla="*/ 248649 h 1538630"/>
              <a:gd name="csX914" fmla="*/ 335214 w 1609516"/>
              <a:gd name="csY914" fmla="*/ 246369 h 1538630"/>
              <a:gd name="csX915" fmla="*/ 327085 w 1609516"/>
              <a:gd name="csY915" fmla="*/ 242571 h 1538630"/>
              <a:gd name="csX916" fmla="*/ 288785 w 1609516"/>
              <a:gd name="csY916" fmla="*/ 207968 h 1538630"/>
              <a:gd name="csX917" fmla="*/ 286373 w 1609516"/>
              <a:gd name="csY917" fmla="*/ 192544 h 1538630"/>
              <a:gd name="csX918" fmla="*/ 286385 w 1609516"/>
              <a:gd name="csY918" fmla="*/ 189190 h 1538630"/>
              <a:gd name="csX919" fmla="*/ 300042 w 1609516"/>
              <a:gd name="csY919" fmla="*/ 164095 h 1538630"/>
              <a:gd name="csX920" fmla="*/ 302757 w 1609516"/>
              <a:gd name="csY920" fmla="*/ 161381 h 1538630"/>
              <a:gd name="csX921" fmla="*/ 338411 w 1609516"/>
              <a:gd name="csY921" fmla="*/ 152293 h 1538630"/>
              <a:gd name="csX922" fmla="*/ 368482 w 1609516"/>
              <a:gd name="csY922" fmla="*/ 161893 h 1538630"/>
              <a:gd name="csX923" fmla="*/ 371899 w 1609516"/>
              <a:gd name="csY923" fmla="*/ 165505 h 1538630"/>
              <a:gd name="csX924" fmla="*/ 375121 w 1609516"/>
              <a:gd name="csY924" fmla="*/ 168587 h 1538630"/>
              <a:gd name="csX925" fmla="*/ 384982 w 1609516"/>
              <a:gd name="csY925" fmla="*/ 193777 h 1538630"/>
              <a:gd name="csX926" fmla="*/ 390352 w 1609516"/>
              <a:gd name="csY926" fmla="*/ 214563 h 1538630"/>
              <a:gd name="csX927" fmla="*/ 391529 w 1609516"/>
              <a:gd name="csY927" fmla="*/ 217626 h 1538630"/>
              <a:gd name="csX928" fmla="*/ 401579 w 1609516"/>
              <a:gd name="csY928" fmla="*/ 234556 h 1538630"/>
              <a:gd name="csX929" fmla="*/ 401579 w 1609516"/>
              <a:gd name="csY929" fmla="*/ 238784 h 1538630"/>
              <a:gd name="csX930" fmla="*/ 404215 w 1609516"/>
              <a:gd name="csY930" fmla="*/ 239753 h 1538630"/>
              <a:gd name="csX931" fmla="*/ 417811 w 1609516"/>
              <a:gd name="csY931" fmla="*/ 251996 h 1538630"/>
              <a:gd name="csX932" fmla="*/ 426866 w 1609516"/>
              <a:gd name="csY932" fmla="*/ 262300 h 1538630"/>
              <a:gd name="csX933" fmla="*/ 450097 w 1609516"/>
              <a:gd name="csY933" fmla="*/ 287628 h 1538630"/>
              <a:gd name="csX934" fmla="*/ 457425 w 1609516"/>
              <a:gd name="csY934" fmla="*/ 293920 h 1538630"/>
              <a:gd name="csX935" fmla="*/ 460940 w 1609516"/>
              <a:gd name="csY935" fmla="*/ 296562 h 1538630"/>
              <a:gd name="csX936" fmla="*/ 460940 w 1609516"/>
              <a:gd name="csY936" fmla="*/ 300790 h 1538630"/>
              <a:gd name="csX937" fmla="*/ 473437 w 1609516"/>
              <a:gd name="csY937" fmla="*/ 305018 h 1538630"/>
              <a:gd name="csX938" fmla="*/ 473437 w 1609516"/>
              <a:gd name="csY938" fmla="*/ 307836 h 1538630"/>
              <a:gd name="csX939" fmla="*/ 479881 w 1609516"/>
              <a:gd name="csY939" fmla="*/ 309862 h 1538630"/>
              <a:gd name="csX940" fmla="*/ 483505 w 1609516"/>
              <a:gd name="csY940" fmla="*/ 311001 h 1538630"/>
              <a:gd name="csX941" fmla="*/ 548419 w 1609516"/>
              <a:gd name="csY941" fmla="*/ 306427 h 1538630"/>
              <a:gd name="csX942" fmla="*/ 551842 w 1609516"/>
              <a:gd name="csY942" fmla="*/ 305127 h 1538630"/>
              <a:gd name="csX943" fmla="*/ 560232 w 1609516"/>
              <a:gd name="csY943" fmla="*/ 298148 h 1538630"/>
              <a:gd name="csX944" fmla="*/ 562972 w 1609516"/>
              <a:gd name="csY944" fmla="*/ 295252 h 1538630"/>
              <a:gd name="csX945" fmla="*/ 568086 w 1609516"/>
              <a:gd name="csY945" fmla="*/ 289152 h 1538630"/>
              <a:gd name="csX946" fmla="*/ 570289 w 1609516"/>
              <a:gd name="csY946" fmla="*/ 286697 h 1538630"/>
              <a:gd name="csX947" fmla="*/ 573413 w 1609516"/>
              <a:gd name="csY947" fmla="*/ 286697 h 1538630"/>
              <a:gd name="csX948" fmla="*/ 577220 w 1609516"/>
              <a:gd name="csY948" fmla="*/ 257016 h 1538630"/>
              <a:gd name="csX949" fmla="*/ 577235 w 1609516"/>
              <a:gd name="csY949" fmla="*/ 254206 h 1538630"/>
              <a:gd name="csX950" fmla="*/ 569443 w 1609516"/>
              <a:gd name="csY950" fmla="*/ 206049 h 1538630"/>
              <a:gd name="csX951" fmla="*/ 568726 w 1609516"/>
              <a:gd name="csY951" fmla="*/ 200735 h 1538630"/>
              <a:gd name="csX952" fmla="*/ 565602 w 1609516"/>
              <a:gd name="csY952" fmla="*/ 200735 h 1538630"/>
              <a:gd name="csX953" fmla="*/ 559549 w 1609516"/>
              <a:gd name="csY953" fmla="*/ 184441 h 1538630"/>
              <a:gd name="csX954" fmla="*/ 537484 w 1609516"/>
              <a:gd name="csY954" fmla="*/ 159867 h 1538630"/>
              <a:gd name="csX955" fmla="*/ 531235 w 1609516"/>
              <a:gd name="csY955" fmla="*/ 154230 h 1538630"/>
              <a:gd name="csX956" fmla="*/ 531235 w 1609516"/>
              <a:gd name="csY956" fmla="*/ 151412 h 1538630"/>
              <a:gd name="csX957" fmla="*/ 526549 w 1609516"/>
              <a:gd name="csY957" fmla="*/ 150003 h 1538630"/>
              <a:gd name="csX958" fmla="*/ 524304 w 1609516"/>
              <a:gd name="csY958" fmla="*/ 107198 h 1538630"/>
              <a:gd name="csX959" fmla="*/ 547052 w 1609516"/>
              <a:gd name="csY959" fmla="*/ 85972 h 1538630"/>
              <a:gd name="csX960" fmla="*/ 588460 w 1609516"/>
              <a:gd name="csY960" fmla="*/ 83538 h 1538630"/>
              <a:gd name="csX961" fmla="*/ 617152 w 1609516"/>
              <a:gd name="csY961" fmla="*/ 111954 h 1538630"/>
              <a:gd name="csX962" fmla="*/ 617884 w 1609516"/>
              <a:gd name="csY962" fmla="*/ 124175 h 1538630"/>
              <a:gd name="csX963" fmla="*/ 617917 w 1609516"/>
              <a:gd name="csY963" fmla="*/ 127607 h 1538630"/>
              <a:gd name="csX964" fmla="*/ 617919 w 1609516"/>
              <a:gd name="csY964" fmla="*/ 141969 h 1538630"/>
              <a:gd name="csX965" fmla="*/ 630625 w 1609516"/>
              <a:gd name="csY965" fmla="*/ 191311 h 1538630"/>
              <a:gd name="csX966" fmla="*/ 637850 w 1609516"/>
              <a:gd name="csY966" fmla="*/ 205139 h 1538630"/>
              <a:gd name="csX967" fmla="*/ 643708 w 1609516"/>
              <a:gd name="csY967" fmla="*/ 212009 h 1538630"/>
              <a:gd name="csX968" fmla="*/ 647027 w 1609516"/>
              <a:gd name="csY968" fmla="*/ 217645 h 1538630"/>
              <a:gd name="csX969" fmla="*/ 670264 w 1609516"/>
              <a:gd name="csY969" fmla="*/ 241603 h 1538630"/>
              <a:gd name="csX970" fmla="*/ 670264 w 1609516"/>
              <a:gd name="csY970" fmla="*/ 244421 h 1538630"/>
              <a:gd name="csX971" fmla="*/ 675634 w 1609516"/>
              <a:gd name="csY971" fmla="*/ 245742 h 1538630"/>
              <a:gd name="csX972" fmla="*/ 682761 w 1609516"/>
              <a:gd name="csY972" fmla="*/ 248649 h 1538630"/>
              <a:gd name="csX973" fmla="*/ 752092 w 1609516"/>
              <a:gd name="csY973" fmla="*/ 245076 h 1538630"/>
              <a:gd name="csX974" fmla="*/ 758433 w 1609516"/>
              <a:gd name="csY974" fmla="*/ 240485 h 1538630"/>
              <a:gd name="csX975" fmla="*/ 763991 w 1609516"/>
              <a:gd name="csY975" fmla="*/ 238784 h 1538630"/>
              <a:gd name="csX976" fmla="*/ 765315 w 1609516"/>
              <a:gd name="csY976" fmla="*/ 235778 h 1538630"/>
              <a:gd name="csX977" fmla="*/ 770923 w 1609516"/>
              <a:gd name="csY977" fmla="*/ 223459 h 1538630"/>
              <a:gd name="csX978" fmla="*/ 772998 w 1609516"/>
              <a:gd name="csY978" fmla="*/ 218934 h 1538630"/>
              <a:gd name="csX979" fmla="*/ 777562 w 1609516"/>
              <a:gd name="csY979" fmla="*/ 209895 h 1538630"/>
              <a:gd name="csX980" fmla="*/ 781175 w 1609516"/>
              <a:gd name="csY980" fmla="*/ 124637 h 1538630"/>
              <a:gd name="csX981" fmla="*/ 778051 w 1609516"/>
              <a:gd name="csY981" fmla="*/ 124637 h 1538630"/>
              <a:gd name="csX982" fmla="*/ 767116 w 1609516"/>
              <a:gd name="csY982" fmla="*/ 79542 h 1538630"/>
              <a:gd name="csX983" fmla="*/ 793379 w 1609516"/>
              <a:gd name="csY983" fmla="*/ 54000 h 1538630"/>
              <a:gd name="csX984" fmla="*/ 840688 w 1609516"/>
              <a:gd name="csY984" fmla="*/ 55503 h 1538630"/>
              <a:gd name="csX985" fmla="*/ 851470 w 1609516"/>
              <a:gd name="csY985" fmla="*/ 64040 h 1538630"/>
              <a:gd name="csX986" fmla="*/ 853997 w 1609516"/>
              <a:gd name="csY986" fmla="*/ 66529 h 1538630"/>
              <a:gd name="csX987" fmla="*/ 861488 w 1609516"/>
              <a:gd name="csY987" fmla="*/ 82057 h 1538630"/>
              <a:gd name="csX988" fmla="*/ 861937 w 1609516"/>
              <a:gd name="csY988" fmla="*/ 90492 h 1538630"/>
              <a:gd name="csX989" fmla="*/ 863826 w 1609516"/>
              <a:gd name="csY989" fmla="*/ 100715 h 1538630"/>
              <a:gd name="csX990" fmla="*/ 857577 w 1609516"/>
              <a:gd name="csY990" fmla="*/ 121853 h 1538630"/>
              <a:gd name="csX991" fmla="*/ 856015 w 1609516"/>
              <a:gd name="csY991" fmla="*/ 121853 h 1538630"/>
              <a:gd name="csX992" fmla="*/ 855442 w 1609516"/>
              <a:gd name="csY992" fmla="*/ 118919 h 1538630"/>
              <a:gd name="csX993" fmla="*/ 855417 w 1609516"/>
              <a:gd name="csY993" fmla="*/ 118798 h 1538630"/>
              <a:gd name="csX994" fmla="*/ 856157 w 1609516"/>
              <a:gd name="csY994" fmla="*/ 124637 h 1538630"/>
              <a:gd name="csX995" fmla="*/ 850623 w 1609516"/>
              <a:gd name="csY995" fmla="*/ 134701 h 1538630"/>
              <a:gd name="csX996" fmla="*/ 851325 w 1609516"/>
              <a:gd name="csY996" fmla="*/ 135968 h 1538630"/>
              <a:gd name="csX997" fmla="*/ 849886 w 1609516"/>
              <a:gd name="csY997" fmla="*/ 139843 h 1538630"/>
              <a:gd name="csX998" fmla="*/ 847786 w 1609516"/>
              <a:gd name="csY998" fmla="*/ 152889 h 1538630"/>
              <a:gd name="csX999" fmla="*/ 847767 w 1609516"/>
              <a:gd name="csY999" fmla="*/ 157768 h 1538630"/>
              <a:gd name="csX1000" fmla="*/ 847810 w 1609516"/>
              <a:gd name="csY1000" fmla="*/ 162919 h 1538630"/>
              <a:gd name="csX1001" fmla="*/ 847832 w 1609516"/>
              <a:gd name="csY1001" fmla="*/ 168227 h 1538630"/>
              <a:gd name="csX1002" fmla="*/ 850903 w 1609516"/>
              <a:gd name="csY1002" fmla="*/ 209013 h 1538630"/>
              <a:gd name="csX1003" fmla="*/ 852880 w 1609516"/>
              <a:gd name="csY1003" fmla="*/ 224692 h 1538630"/>
              <a:gd name="csX1004" fmla="*/ 854595 w 1609516"/>
              <a:gd name="csY1004" fmla="*/ 224692 h 1538630"/>
              <a:gd name="csX1005" fmla="*/ 856083 w 1609516"/>
              <a:gd name="csY1005" fmla="*/ 227268 h 1538630"/>
              <a:gd name="csX1006" fmla="*/ 879588 w 1609516"/>
              <a:gd name="csY1006" fmla="*/ 247239 h 1538630"/>
              <a:gd name="csX1007" fmla="*/ 885739 w 1609516"/>
              <a:gd name="csY1007" fmla="*/ 249618 h 1538630"/>
              <a:gd name="csX1008" fmla="*/ 890523 w 1609516"/>
              <a:gd name="csY1008" fmla="*/ 251467 h 1538630"/>
              <a:gd name="csX1009" fmla="*/ 890523 w 1609516"/>
              <a:gd name="csY1009" fmla="*/ 254285 h 1538630"/>
              <a:gd name="csX1010" fmla="*/ 920203 w 1609516"/>
              <a:gd name="csY1010" fmla="*/ 261332 h 1538630"/>
              <a:gd name="csX1011" fmla="*/ 920203 w 1609516"/>
              <a:gd name="csY1011" fmla="*/ 262741 h 1538630"/>
              <a:gd name="csX1012" fmla="*/ 910831 w 1609516"/>
              <a:gd name="csY1012" fmla="*/ 262741 h 1538630"/>
              <a:gd name="csX1013" fmla="*/ 910831 w 1609516"/>
              <a:gd name="csY1013" fmla="*/ 262864 h 1538630"/>
              <a:gd name="csX1014" fmla="*/ 927993 w 1609516"/>
              <a:gd name="csY1014" fmla="*/ 264177 h 1538630"/>
              <a:gd name="csX1015" fmla="*/ 939273 w 1609516"/>
              <a:gd name="csY1015" fmla="*/ 265285 h 1538630"/>
              <a:gd name="csX1016" fmla="*/ 940456 w 1609516"/>
              <a:gd name="csY1016" fmla="*/ 265191 h 1538630"/>
              <a:gd name="csX1017" fmla="*/ 991622 w 1609516"/>
              <a:gd name="csY1017" fmla="*/ 242329 h 1538630"/>
              <a:gd name="csX1018" fmla="*/ 1000803 w 1609516"/>
              <a:gd name="csY1018" fmla="*/ 236505 h 1538630"/>
              <a:gd name="csX1019" fmla="*/ 999806 w 1609516"/>
              <a:gd name="csY1019" fmla="*/ 236055 h 1538630"/>
              <a:gd name="csX1020" fmla="*/ 1003126 w 1609516"/>
              <a:gd name="csY1020" fmla="*/ 232851 h 1538630"/>
              <a:gd name="csX1021" fmla="*/ 1029487 w 1609516"/>
              <a:gd name="csY1021" fmla="*/ 205052 h 1538630"/>
              <a:gd name="csX1022" fmla="*/ 1029872 w 1609516"/>
              <a:gd name="csY1022" fmla="*/ 206442 h 1538630"/>
              <a:gd name="csX1023" fmla="*/ 1031614 w 1609516"/>
              <a:gd name="csY1023" fmla="*/ 203719 h 1538630"/>
              <a:gd name="csX1024" fmla="*/ 1038924 w 1609516"/>
              <a:gd name="csY1024" fmla="*/ 192280 h 1538630"/>
              <a:gd name="csX1025" fmla="*/ 1042049 w 1609516"/>
              <a:gd name="csY1025" fmla="*/ 190870 h 1538630"/>
              <a:gd name="csX1026" fmla="*/ 1044294 w 1609516"/>
              <a:gd name="csY1026" fmla="*/ 186026 h 1538630"/>
              <a:gd name="csX1027" fmla="*/ 1051422 w 1609516"/>
              <a:gd name="csY1027" fmla="*/ 178188 h 1538630"/>
              <a:gd name="csX1028" fmla="*/ 1052984 w 1609516"/>
              <a:gd name="csY1028" fmla="*/ 172551 h 1538630"/>
              <a:gd name="csX1029" fmla="*/ 1056108 w 1609516"/>
              <a:gd name="csY1029" fmla="*/ 172551 h 1538630"/>
              <a:gd name="csX1030" fmla="*/ 1059232 w 1609516"/>
              <a:gd name="csY1030" fmla="*/ 162686 h 1538630"/>
              <a:gd name="csX1031" fmla="*/ 1062357 w 1609516"/>
              <a:gd name="csY1031" fmla="*/ 162686 h 1538630"/>
              <a:gd name="csX1032" fmla="*/ 1063162 w 1609516"/>
              <a:gd name="csY1032" fmla="*/ 160258 h 1538630"/>
              <a:gd name="csX1033" fmla="*/ 1073292 w 1609516"/>
              <a:gd name="csY1033" fmla="*/ 140138 h 1538630"/>
              <a:gd name="csX1034" fmla="*/ 1076415 w 1609516"/>
              <a:gd name="csY1034" fmla="*/ 140138 h 1538630"/>
              <a:gd name="csX1035" fmla="*/ 1085294 w 1609516"/>
              <a:gd name="csY1035" fmla="*/ 117569 h 1538630"/>
              <a:gd name="csX1036" fmla="*/ 1087350 w 1609516"/>
              <a:gd name="csY1036" fmla="*/ 113363 h 1538630"/>
              <a:gd name="csX1037" fmla="*/ 1092037 w 1609516"/>
              <a:gd name="csY1037" fmla="*/ 111954 h 1538630"/>
              <a:gd name="csX1038" fmla="*/ 1092623 w 1609516"/>
              <a:gd name="csY1038" fmla="*/ 108695 h 1538630"/>
              <a:gd name="csX1039" fmla="*/ 1096723 w 1609516"/>
              <a:gd name="csY1039" fmla="*/ 100680 h 1538630"/>
              <a:gd name="csX1040" fmla="*/ 1098188 w 1609516"/>
              <a:gd name="csY1040" fmla="*/ 96013 h 1538630"/>
              <a:gd name="csX1041" fmla="*/ 1102288 w 1609516"/>
              <a:gd name="csY1041" fmla="*/ 87029 h 1538630"/>
              <a:gd name="csX1042" fmla="*/ 1104534 w 1609516"/>
              <a:gd name="csY1042" fmla="*/ 61222 h 1538630"/>
              <a:gd name="csX1043" fmla="*/ 1104381 w 1609516"/>
              <a:gd name="csY1043" fmla="*/ 55569 h 1538630"/>
              <a:gd name="csX1044" fmla="*/ 1104397 w 1609516"/>
              <a:gd name="csY1044" fmla="*/ 52335 h 1538630"/>
              <a:gd name="csX1045" fmla="*/ 1104436 w 1609516"/>
              <a:gd name="csY1045" fmla="*/ 48979 h 1538630"/>
              <a:gd name="csX1046" fmla="*/ 1104457 w 1609516"/>
              <a:gd name="csY1046" fmla="*/ 45575 h 1538630"/>
              <a:gd name="csX1047" fmla="*/ 1104534 w 1609516"/>
              <a:gd name="csY1047" fmla="*/ 37265 h 1538630"/>
              <a:gd name="csX1048" fmla="*/ 1107658 w 1609516"/>
              <a:gd name="csY1048" fmla="*/ 37265 h 1538630"/>
              <a:gd name="csX1049" fmla="*/ 1107463 w 1609516"/>
              <a:gd name="csY1049" fmla="*/ 31805 h 1538630"/>
              <a:gd name="csX1050" fmla="*/ 1107658 w 1609516"/>
              <a:gd name="csY1050" fmla="*/ 25991 h 1538630"/>
              <a:gd name="csX1051" fmla="*/ 1110782 w 1609516"/>
              <a:gd name="csY1051" fmla="*/ 23173 h 1538630"/>
              <a:gd name="csX1052" fmla="*/ 1111759 w 1609516"/>
              <a:gd name="csY1052" fmla="*/ 20091 h 1538630"/>
              <a:gd name="csX1053" fmla="*/ 1134507 w 1609516"/>
              <a:gd name="csY1053" fmla="*/ 2828 h 1538630"/>
              <a:gd name="csX1054" fmla="*/ 1155019 w 1609516"/>
              <a:gd name="csY1054" fmla="*/ 35 h 153863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  <a:cxn ang="0">
                <a:pos x="csX170" y="csY170"/>
              </a:cxn>
              <a:cxn ang="0">
                <a:pos x="csX171" y="csY171"/>
              </a:cxn>
              <a:cxn ang="0">
                <a:pos x="csX172" y="csY172"/>
              </a:cxn>
              <a:cxn ang="0">
                <a:pos x="csX173" y="csY173"/>
              </a:cxn>
              <a:cxn ang="0">
                <a:pos x="csX174" y="csY174"/>
              </a:cxn>
              <a:cxn ang="0">
                <a:pos x="csX175" y="csY175"/>
              </a:cxn>
              <a:cxn ang="0">
                <a:pos x="csX176" y="csY176"/>
              </a:cxn>
              <a:cxn ang="0">
                <a:pos x="csX177" y="csY177"/>
              </a:cxn>
              <a:cxn ang="0">
                <a:pos x="csX178" y="csY178"/>
              </a:cxn>
              <a:cxn ang="0">
                <a:pos x="csX179" y="csY179"/>
              </a:cxn>
              <a:cxn ang="0">
                <a:pos x="csX180" y="csY180"/>
              </a:cxn>
              <a:cxn ang="0">
                <a:pos x="csX181" y="csY181"/>
              </a:cxn>
              <a:cxn ang="0">
                <a:pos x="csX182" y="csY182"/>
              </a:cxn>
              <a:cxn ang="0">
                <a:pos x="csX183" y="csY183"/>
              </a:cxn>
              <a:cxn ang="0">
                <a:pos x="csX184" y="csY184"/>
              </a:cxn>
              <a:cxn ang="0">
                <a:pos x="csX185" y="csY185"/>
              </a:cxn>
              <a:cxn ang="0">
                <a:pos x="csX186" y="csY186"/>
              </a:cxn>
              <a:cxn ang="0">
                <a:pos x="csX187" y="csY187"/>
              </a:cxn>
              <a:cxn ang="0">
                <a:pos x="csX188" y="csY188"/>
              </a:cxn>
              <a:cxn ang="0">
                <a:pos x="csX189" y="csY189"/>
              </a:cxn>
              <a:cxn ang="0">
                <a:pos x="csX190" y="csY190"/>
              </a:cxn>
              <a:cxn ang="0">
                <a:pos x="csX191" y="csY191"/>
              </a:cxn>
              <a:cxn ang="0">
                <a:pos x="csX192" y="csY192"/>
              </a:cxn>
              <a:cxn ang="0">
                <a:pos x="csX193" y="csY193"/>
              </a:cxn>
              <a:cxn ang="0">
                <a:pos x="csX194" y="csY194"/>
              </a:cxn>
              <a:cxn ang="0">
                <a:pos x="csX195" y="csY195"/>
              </a:cxn>
              <a:cxn ang="0">
                <a:pos x="csX196" y="csY196"/>
              </a:cxn>
              <a:cxn ang="0">
                <a:pos x="csX197" y="csY197"/>
              </a:cxn>
              <a:cxn ang="0">
                <a:pos x="csX198" y="csY198"/>
              </a:cxn>
              <a:cxn ang="0">
                <a:pos x="csX199" y="csY199"/>
              </a:cxn>
              <a:cxn ang="0">
                <a:pos x="csX200" y="csY200"/>
              </a:cxn>
              <a:cxn ang="0">
                <a:pos x="csX201" y="csY201"/>
              </a:cxn>
              <a:cxn ang="0">
                <a:pos x="csX202" y="csY202"/>
              </a:cxn>
              <a:cxn ang="0">
                <a:pos x="csX203" y="csY203"/>
              </a:cxn>
              <a:cxn ang="0">
                <a:pos x="csX204" y="csY204"/>
              </a:cxn>
              <a:cxn ang="0">
                <a:pos x="csX205" y="csY205"/>
              </a:cxn>
              <a:cxn ang="0">
                <a:pos x="csX206" y="csY206"/>
              </a:cxn>
              <a:cxn ang="0">
                <a:pos x="csX207" y="csY207"/>
              </a:cxn>
              <a:cxn ang="0">
                <a:pos x="csX208" y="csY208"/>
              </a:cxn>
              <a:cxn ang="0">
                <a:pos x="csX209" y="csY209"/>
              </a:cxn>
              <a:cxn ang="0">
                <a:pos x="csX210" y="csY210"/>
              </a:cxn>
              <a:cxn ang="0">
                <a:pos x="csX211" y="csY211"/>
              </a:cxn>
              <a:cxn ang="0">
                <a:pos x="csX212" y="csY212"/>
              </a:cxn>
              <a:cxn ang="0">
                <a:pos x="csX213" y="csY213"/>
              </a:cxn>
              <a:cxn ang="0">
                <a:pos x="csX214" y="csY214"/>
              </a:cxn>
              <a:cxn ang="0">
                <a:pos x="csX215" y="csY215"/>
              </a:cxn>
              <a:cxn ang="0">
                <a:pos x="csX216" y="csY216"/>
              </a:cxn>
              <a:cxn ang="0">
                <a:pos x="csX217" y="csY217"/>
              </a:cxn>
              <a:cxn ang="0">
                <a:pos x="csX218" y="csY218"/>
              </a:cxn>
              <a:cxn ang="0">
                <a:pos x="csX219" y="csY219"/>
              </a:cxn>
              <a:cxn ang="0">
                <a:pos x="csX220" y="csY220"/>
              </a:cxn>
              <a:cxn ang="0">
                <a:pos x="csX221" y="csY221"/>
              </a:cxn>
              <a:cxn ang="0">
                <a:pos x="csX222" y="csY222"/>
              </a:cxn>
              <a:cxn ang="0">
                <a:pos x="csX223" y="csY223"/>
              </a:cxn>
              <a:cxn ang="0">
                <a:pos x="csX224" y="csY224"/>
              </a:cxn>
              <a:cxn ang="0">
                <a:pos x="csX225" y="csY225"/>
              </a:cxn>
              <a:cxn ang="0">
                <a:pos x="csX226" y="csY226"/>
              </a:cxn>
              <a:cxn ang="0">
                <a:pos x="csX227" y="csY227"/>
              </a:cxn>
              <a:cxn ang="0">
                <a:pos x="csX228" y="csY228"/>
              </a:cxn>
              <a:cxn ang="0">
                <a:pos x="csX229" y="csY229"/>
              </a:cxn>
              <a:cxn ang="0">
                <a:pos x="csX230" y="csY230"/>
              </a:cxn>
              <a:cxn ang="0">
                <a:pos x="csX231" y="csY231"/>
              </a:cxn>
              <a:cxn ang="0">
                <a:pos x="csX232" y="csY232"/>
              </a:cxn>
              <a:cxn ang="0">
                <a:pos x="csX233" y="csY233"/>
              </a:cxn>
              <a:cxn ang="0">
                <a:pos x="csX234" y="csY234"/>
              </a:cxn>
              <a:cxn ang="0">
                <a:pos x="csX235" y="csY235"/>
              </a:cxn>
              <a:cxn ang="0">
                <a:pos x="csX236" y="csY236"/>
              </a:cxn>
              <a:cxn ang="0">
                <a:pos x="csX237" y="csY237"/>
              </a:cxn>
              <a:cxn ang="0">
                <a:pos x="csX238" y="csY238"/>
              </a:cxn>
              <a:cxn ang="0">
                <a:pos x="csX239" y="csY239"/>
              </a:cxn>
              <a:cxn ang="0">
                <a:pos x="csX240" y="csY240"/>
              </a:cxn>
              <a:cxn ang="0">
                <a:pos x="csX241" y="csY241"/>
              </a:cxn>
              <a:cxn ang="0">
                <a:pos x="csX242" y="csY242"/>
              </a:cxn>
              <a:cxn ang="0">
                <a:pos x="csX243" y="csY243"/>
              </a:cxn>
              <a:cxn ang="0">
                <a:pos x="csX244" y="csY244"/>
              </a:cxn>
              <a:cxn ang="0">
                <a:pos x="csX245" y="csY245"/>
              </a:cxn>
              <a:cxn ang="0">
                <a:pos x="csX246" y="csY246"/>
              </a:cxn>
              <a:cxn ang="0">
                <a:pos x="csX247" y="csY247"/>
              </a:cxn>
              <a:cxn ang="0">
                <a:pos x="csX248" y="csY248"/>
              </a:cxn>
              <a:cxn ang="0">
                <a:pos x="csX249" y="csY249"/>
              </a:cxn>
              <a:cxn ang="0">
                <a:pos x="csX250" y="csY250"/>
              </a:cxn>
              <a:cxn ang="0">
                <a:pos x="csX251" y="csY251"/>
              </a:cxn>
              <a:cxn ang="0">
                <a:pos x="csX252" y="csY252"/>
              </a:cxn>
              <a:cxn ang="0">
                <a:pos x="csX253" y="csY253"/>
              </a:cxn>
              <a:cxn ang="0">
                <a:pos x="csX254" y="csY254"/>
              </a:cxn>
              <a:cxn ang="0">
                <a:pos x="csX255" y="csY255"/>
              </a:cxn>
              <a:cxn ang="0">
                <a:pos x="csX256" y="csY256"/>
              </a:cxn>
              <a:cxn ang="0">
                <a:pos x="csX257" y="csY257"/>
              </a:cxn>
              <a:cxn ang="0">
                <a:pos x="csX258" y="csY258"/>
              </a:cxn>
              <a:cxn ang="0">
                <a:pos x="csX259" y="csY259"/>
              </a:cxn>
              <a:cxn ang="0">
                <a:pos x="csX260" y="csY260"/>
              </a:cxn>
              <a:cxn ang="0">
                <a:pos x="csX261" y="csY261"/>
              </a:cxn>
              <a:cxn ang="0">
                <a:pos x="csX262" y="csY262"/>
              </a:cxn>
              <a:cxn ang="0">
                <a:pos x="csX263" y="csY263"/>
              </a:cxn>
              <a:cxn ang="0">
                <a:pos x="csX264" y="csY264"/>
              </a:cxn>
              <a:cxn ang="0">
                <a:pos x="csX265" y="csY265"/>
              </a:cxn>
              <a:cxn ang="0">
                <a:pos x="csX266" y="csY266"/>
              </a:cxn>
              <a:cxn ang="0">
                <a:pos x="csX267" y="csY267"/>
              </a:cxn>
              <a:cxn ang="0">
                <a:pos x="csX268" y="csY268"/>
              </a:cxn>
              <a:cxn ang="0">
                <a:pos x="csX269" y="csY269"/>
              </a:cxn>
              <a:cxn ang="0">
                <a:pos x="csX270" y="csY270"/>
              </a:cxn>
              <a:cxn ang="0">
                <a:pos x="csX271" y="csY271"/>
              </a:cxn>
              <a:cxn ang="0">
                <a:pos x="csX272" y="csY272"/>
              </a:cxn>
              <a:cxn ang="0">
                <a:pos x="csX273" y="csY273"/>
              </a:cxn>
              <a:cxn ang="0">
                <a:pos x="csX274" y="csY274"/>
              </a:cxn>
              <a:cxn ang="0">
                <a:pos x="csX275" y="csY275"/>
              </a:cxn>
              <a:cxn ang="0">
                <a:pos x="csX276" y="csY276"/>
              </a:cxn>
              <a:cxn ang="0">
                <a:pos x="csX277" y="csY277"/>
              </a:cxn>
              <a:cxn ang="0">
                <a:pos x="csX278" y="csY278"/>
              </a:cxn>
              <a:cxn ang="0">
                <a:pos x="csX279" y="csY279"/>
              </a:cxn>
              <a:cxn ang="0">
                <a:pos x="csX280" y="csY280"/>
              </a:cxn>
              <a:cxn ang="0">
                <a:pos x="csX281" y="csY281"/>
              </a:cxn>
              <a:cxn ang="0">
                <a:pos x="csX282" y="csY282"/>
              </a:cxn>
              <a:cxn ang="0">
                <a:pos x="csX283" y="csY283"/>
              </a:cxn>
              <a:cxn ang="0">
                <a:pos x="csX284" y="csY284"/>
              </a:cxn>
              <a:cxn ang="0">
                <a:pos x="csX285" y="csY285"/>
              </a:cxn>
              <a:cxn ang="0">
                <a:pos x="csX286" y="csY286"/>
              </a:cxn>
              <a:cxn ang="0">
                <a:pos x="csX287" y="csY287"/>
              </a:cxn>
              <a:cxn ang="0">
                <a:pos x="csX288" y="csY288"/>
              </a:cxn>
              <a:cxn ang="0">
                <a:pos x="csX289" y="csY289"/>
              </a:cxn>
              <a:cxn ang="0">
                <a:pos x="csX290" y="csY290"/>
              </a:cxn>
              <a:cxn ang="0">
                <a:pos x="csX291" y="csY291"/>
              </a:cxn>
              <a:cxn ang="0">
                <a:pos x="csX292" y="csY292"/>
              </a:cxn>
              <a:cxn ang="0">
                <a:pos x="csX293" y="csY293"/>
              </a:cxn>
              <a:cxn ang="0">
                <a:pos x="csX294" y="csY294"/>
              </a:cxn>
              <a:cxn ang="0">
                <a:pos x="csX295" y="csY295"/>
              </a:cxn>
              <a:cxn ang="0">
                <a:pos x="csX296" y="csY296"/>
              </a:cxn>
              <a:cxn ang="0">
                <a:pos x="csX297" y="csY297"/>
              </a:cxn>
              <a:cxn ang="0">
                <a:pos x="csX298" y="csY298"/>
              </a:cxn>
              <a:cxn ang="0">
                <a:pos x="csX299" y="csY299"/>
              </a:cxn>
              <a:cxn ang="0">
                <a:pos x="csX300" y="csY300"/>
              </a:cxn>
              <a:cxn ang="0">
                <a:pos x="csX301" y="csY301"/>
              </a:cxn>
              <a:cxn ang="0">
                <a:pos x="csX302" y="csY302"/>
              </a:cxn>
              <a:cxn ang="0">
                <a:pos x="csX303" y="csY303"/>
              </a:cxn>
              <a:cxn ang="0">
                <a:pos x="csX304" y="csY304"/>
              </a:cxn>
              <a:cxn ang="0">
                <a:pos x="csX305" y="csY305"/>
              </a:cxn>
              <a:cxn ang="0">
                <a:pos x="csX306" y="csY306"/>
              </a:cxn>
              <a:cxn ang="0">
                <a:pos x="csX307" y="csY307"/>
              </a:cxn>
              <a:cxn ang="0">
                <a:pos x="csX308" y="csY308"/>
              </a:cxn>
              <a:cxn ang="0">
                <a:pos x="csX309" y="csY309"/>
              </a:cxn>
              <a:cxn ang="0">
                <a:pos x="csX310" y="csY310"/>
              </a:cxn>
              <a:cxn ang="0">
                <a:pos x="csX311" y="csY311"/>
              </a:cxn>
              <a:cxn ang="0">
                <a:pos x="csX312" y="csY312"/>
              </a:cxn>
              <a:cxn ang="0">
                <a:pos x="csX313" y="csY313"/>
              </a:cxn>
              <a:cxn ang="0">
                <a:pos x="csX314" y="csY314"/>
              </a:cxn>
              <a:cxn ang="0">
                <a:pos x="csX315" y="csY315"/>
              </a:cxn>
              <a:cxn ang="0">
                <a:pos x="csX316" y="csY316"/>
              </a:cxn>
              <a:cxn ang="0">
                <a:pos x="csX317" y="csY317"/>
              </a:cxn>
              <a:cxn ang="0">
                <a:pos x="csX318" y="csY318"/>
              </a:cxn>
              <a:cxn ang="0">
                <a:pos x="csX319" y="csY319"/>
              </a:cxn>
              <a:cxn ang="0">
                <a:pos x="csX320" y="csY320"/>
              </a:cxn>
              <a:cxn ang="0">
                <a:pos x="csX321" y="csY321"/>
              </a:cxn>
              <a:cxn ang="0">
                <a:pos x="csX322" y="csY322"/>
              </a:cxn>
              <a:cxn ang="0">
                <a:pos x="csX323" y="csY323"/>
              </a:cxn>
              <a:cxn ang="0">
                <a:pos x="csX324" y="csY324"/>
              </a:cxn>
              <a:cxn ang="0">
                <a:pos x="csX325" y="csY325"/>
              </a:cxn>
              <a:cxn ang="0">
                <a:pos x="csX326" y="csY326"/>
              </a:cxn>
              <a:cxn ang="0">
                <a:pos x="csX327" y="csY327"/>
              </a:cxn>
              <a:cxn ang="0">
                <a:pos x="csX328" y="csY328"/>
              </a:cxn>
              <a:cxn ang="0">
                <a:pos x="csX329" y="csY329"/>
              </a:cxn>
              <a:cxn ang="0">
                <a:pos x="csX330" y="csY330"/>
              </a:cxn>
              <a:cxn ang="0">
                <a:pos x="csX331" y="csY331"/>
              </a:cxn>
              <a:cxn ang="0">
                <a:pos x="csX332" y="csY332"/>
              </a:cxn>
              <a:cxn ang="0">
                <a:pos x="csX333" y="csY333"/>
              </a:cxn>
              <a:cxn ang="0">
                <a:pos x="csX334" y="csY334"/>
              </a:cxn>
              <a:cxn ang="0">
                <a:pos x="csX335" y="csY335"/>
              </a:cxn>
              <a:cxn ang="0">
                <a:pos x="csX336" y="csY336"/>
              </a:cxn>
              <a:cxn ang="0">
                <a:pos x="csX337" y="csY337"/>
              </a:cxn>
              <a:cxn ang="0">
                <a:pos x="csX338" y="csY338"/>
              </a:cxn>
              <a:cxn ang="0">
                <a:pos x="csX339" y="csY339"/>
              </a:cxn>
              <a:cxn ang="0">
                <a:pos x="csX340" y="csY340"/>
              </a:cxn>
              <a:cxn ang="0">
                <a:pos x="csX341" y="csY341"/>
              </a:cxn>
              <a:cxn ang="0">
                <a:pos x="csX342" y="csY342"/>
              </a:cxn>
              <a:cxn ang="0">
                <a:pos x="csX343" y="csY343"/>
              </a:cxn>
              <a:cxn ang="0">
                <a:pos x="csX344" y="csY344"/>
              </a:cxn>
              <a:cxn ang="0">
                <a:pos x="csX345" y="csY345"/>
              </a:cxn>
              <a:cxn ang="0">
                <a:pos x="csX346" y="csY346"/>
              </a:cxn>
              <a:cxn ang="0">
                <a:pos x="csX347" y="csY347"/>
              </a:cxn>
              <a:cxn ang="0">
                <a:pos x="csX348" y="csY348"/>
              </a:cxn>
              <a:cxn ang="0">
                <a:pos x="csX349" y="csY349"/>
              </a:cxn>
              <a:cxn ang="0">
                <a:pos x="csX350" y="csY350"/>
              </a:cxn>
              <a:cxn ang="0">
                <a:pos x="csX351" y="csY351"/>
              </a:cxn>
              <a:cxn ang="0">
                <a:pos x="csX352" y="csY352"/>
              </a:cxn>
              <a:cxn ang="0">
                <a:pos x="csX353" y="csY353"/>
              </a:cxn>
              <a:cxn ang="0">
                <a:pos x="csX354" y="csY354"/>
              </a:cxn>
              <a:cxn ang="0">
                <a:pos x="csX355" y="csY355"/>
              </a:cxn>
              <a:cxn ang="0">
                <a:pos x="csX356" y="csY356"/>
              </a:cxn>
              <a:cxn ang="0">
                <a:pos x="csX357" y="csY357"/>
              </a:cxn>
              <a:cxn ang="0">
                <a:pos x="csX358" y="csY358"/>
              </a:cxn>
              <a:cxn ang="0">
                <a:pos x="csX359" y="csY359"/>
              </a:cxn>
              <a:cxn ang="0">
                <a:pos x="csX360" y="csY360"/>
              </a:cxn>
              <a:cxn ang="0">
                <a:pos x="csX361" y="csY361"/>
              </a:cxn>
              <a:cxn ang="0">
                <a:pos x="csX362" y="csY362"/>
              </a:cxn>
              <a:cxn ang="0">
                <a:pos x="csX363" y="csY363"/>
              </a:cxn>
              <a:cxn ang="0">
                <a:pos x="csX364" y="csY364"/>
              </a:cxn>
              <a:cxn ang="0">
                <a:pos x="csX365" y="csY365"/>
              </a:cxn>
              <a:cxn ang="0">
                <a:pos x="csX366" y="csY366"/>
              </a:cxn>
              <a:cxn ang="0">
                <a:pos x="csX367" y="csY367"/>
              </a:cxn>
              <a:cxn ang="0">
                <a:pos x="csX368" y="csY368"/>
              </a:cxn>
              <a:cxn ang="0">
                <a:pos x="csX369" y="csY369"/>
              </a:cxn>
              <a:cxn ang="0">
                <a:pos x="csX370" y="csY370"/>
              </a:cxn>
              <a:cxn ang="0">
                <a:pos x="csX371" y="csY371"/>
              </a:cxn>
              <a:cxn ang="0">
                <a:pos x="csX372" y="csY372"/>
              </a:cxn>
              <a:cxn ang="0">
                <a:pos x="csX373" y="csY373"/>
              </a:cxn>
              <a:cxn ang="0">
                <a:pos x="csX374" y="csY374"/>
              </a:cxn>
              <a:cxn ang="0">
                <a:pos x="csX375" y="csY375"/>
              </a:cxn>
              <a:cxn ang="0">
                <a:pos x="csX376" y="csY376"/>
              </a:cxn>
              <a:cxn ang="0">
                <a:pos x="csX377" y="csY377"/>
              </a:cxn>
              <a:cxn ang="0">
                <a:pos x="csX378" y="csY378"/>
              </a:cxn>
              <a:cxn ang="0">
                <a:pos x="csX379" y="csY379"/>
              </a:cxn>
              <a:cxn ang="0">
                <a:pos x="csX380" y="csY380"/>
              </a:cxn>
              <a:cxn ang="0">
                <a:pos x="csX381" y="csY381"/>
              </a:cxn>
              <a:cxn ang="0">
                <a:pos x="csX382" y="csY382"/>
              </a:cxn>
              <a:cxn ang="0">
                <a:pos x="csX383" y="csY383"/>
              </a:cxn>
              <a:cxn ang="0">
                <a:pos x="csX384" y="csY384"/>
              </a:cxn>
              <a:cxn ang="0">
                <a:pos x="csX385" y="csY385"/>
              </a:cxn>
              <a:cxn ang="0">
                <a:pos x="csX386" y="csY386"/>
              </a:cxn>
              <a:cxn ang="0">
                <a:pos x="csX387" y="csY387"/>
              </a:cxn>
              <a:cxn ang="0">
                <a:pos x="csX388" y="csY388"/>
              </a:cxn>
              <a:cxn ang="0">
                <a:pos x="csX389" y="csY389"/>
              </a:cxn>
              <a:cxn ang="0">
                <a:pos x="csX390" y="csY390"/>
              </a:cxn>
              <a:cxn ang="0">
                <a:pos x="csX391" y="csY391"/>
              </a:cxn>
              <a:cxn ang="0">
                <a:pos x="csX392" y="csY392"/>
              </a:cxn>
              <a:cxn ang="0">
                <a:pos x="csX393" y="csY393"/>
              </a:cxn>
              <a:cxn ang="0">
                <a:pos x="csX394" y="csY394"/>
              </a:cxn>
              <a:cxn ang="0">
                <a:pos x="csX395" y="csY395"/>
              </a:cxn>
              <a:cxn ang="0">
                <a:pos x="csX396" y="csY396"/>
              </a:cxn>
              <a:cxn ang="0">
                <a:pos x="csX397" y="csY397"/>
              </a:cxn>
              <a:cxn ang="0">
                <a:pos x="csX398" y="csY398"/>
              </a:cxn>
              <a:cxn ang="0">
                <a:pos x="csX399" y="csY399"/>
              </a:cxn>
              <a:cxn ang="0">
                <a:pos x="csX400" y="csY400"/>
              </a:cxn>
              <a:cxn ang="0">
                <a:pos x="csX401" y="csY401"/>
              </a:cxn>
              <a:cxn ang="0">
                <a:pos x="csX402" y="csY402"/>
              </a:cxn>
              <a:cxn ang="0">
                <a:pos x="csX403" y="csY403"/>
              </a:cxn>
              <a:cxn ang="0">
                <a:pos x="csX404" y="csY404"/>
              </a:cxn>
              <a:cxn ang="0">
                <a:pos x="csX405" y="csY405"/>
              </a:cxn>
              <a:cxn ang="0">
                <a:pos x="csX406" y="csY406"/>
              </a:cxn>
              <a:cxn ang="0">
                <a:pos x="csX407" y="csY407"/>
              </a:cxn>
              <a:cxn ang="0">
                <a:pos x="csX408" y="csY408"/>
              </a:cxn>
              <a:cxn ang="0">
                <a:pos x="csX409" y="csY409"/>
              </a:cxn>
              <a:cxn ang="0">
                <a:pos x="csX410" y="csY410"/>
              </a:cxn>
              <a:cxn ang="0">
                <a:pos x="csX411" y="csY411"/>
              </a:cxn>
              <a:cxn ang="0">
                <a:pos x="csX412" y="csY412"/>
              </a:cxn>
              <a:cxn ang="0">
                <a:pos x="csX413" y="csY413"/>
              </a:cxn>
              <a:cxn ang="0">
                <a:pos x="csX414" y="csY414"/>
              </a:cxn>
              <a:cxn ang="0">
                <a:pos x="csX415" y="csY415"/>
              </a:cxn>
              <a:cxn ang="0">
                <a:pos x="csX416" y="csY416"/>
              </a:cxn>
              <a:cxn ang="0">
                <a:pos x="csX417" y="csY417"/>
              </a:cxn>
              <a:cxn ang="0">
                <a:pos x="csX418" y="csY418"/>
              </a:cxn>
              <a:cxn ang="0">
                <a:pos x="csX419" y="csY419"/>
              </a:cxn>
              <a:cxn ang="0">
                <a:pos x="csX420" y="csY420"/>
              </a:cxn>
              <a:cxn ang="0">
                <a:pos x="csX421" y="csY421"/>
              </a:cxn>
              <a:cxn ang="0">
                <a:pos x="csX422" y="csY422"/>
              </a:cxn>
              <a:cxn ang="0">
                <a:pos x="csX423" y="csY423"/>
              </a:cxn>
              <a:cxn ang="0">
                <a:pos x="csX424" y="csY424"/>
              </a:cxn>
              <a:cxn ang="0">
                <a:pos x="csX425" y="csY425"/>
              </a:cxn>
              <a:cxn ang="0">
                <a:pos x="csX426" y="csY426"/>
              </a:cxn>
              <a:cxn ang="0">
                <a:pos x="csX427" y="csY427"/>
              </a:cxn>
              <a:cxn ang="0">
                <a:pos x="csX428" y="csY428"/>
              </a:cxn>
              <a:cxn ang="0">
                <a:pos x="csX429" y="csY429"/>
              </a:cxn>
              <a:cxn ang="0">
                <a:pos x="csX430" y="csY430"/>
              </a:cxn>
              <a:cxn ang="0">
                <a:pos x="csX431" y="csY431"/>
              </a:cxn>
              <a:cxn ang="0">
                <a:pos x="csX432" y="csY432"/>
              </a:cxn>
              <a:cxn ang="0">
                <a:pos x="csX433" y="csY433"/>
              </a:cxn>
              <a:cxn ang="0">
                <a:pos x="csX434" y="csY434"/>
              </a:cxn>
              <a:cxn ang="0">
                <a:pos x="csX435" y="csY435"/>
              </a:cxn>
              <a:cxn ang="0">
                <a:pos x="csX436" y="csY436"/>
              </a:cxn>
              <a:cxn ang="0">
                <a:pos x="csX437" y="csY437"/>
              </a:cxn>
              <a:cxn ang="0">
                <a:pos x="csX438" y="csY438"/>
              </a:cxn>
              <a:cxn ang="0">
                <a:pos x="csX439" y="csY439"/>
              </a:cxn>
              <a:cxn ang="0">
                <a:pos x="csX440" y="csY440"/>
              </a:cxn>
              <a:cxn ang="0">
                <a:pos x="csX441" y="csY441"/>
              </a:cxn>
              <a:cxn ang="0">
                <a:pos x="csX442" y="csY442"/>
              </a:cxn>
              <a:cxn ang="0">
                <a:pos x="csX443" y="csY443"/>
              </a:cxn>
              <a:cxn ang="0">
                <a:pos x="csX444" y="csY444"/>
              </a:cxn>
              <a:cxn ang="0">
                <a:pos x="csX445" y="csY445"/>
              </a:cxn>
              <a:cxn ang="0">
                <a:pos x="csX446" y="csY446"/>
              </a:cxn>
              <a:cxn ang="0">
                <a:pos x="csX447" y="csY447"/>
              </a:cxn>
              <a:cxn ang="0">
                <a:pos x="csX448" y="csY448"/>
              </a:cxn>
              <a:cxn ang="0">
                <a:pos x="csX449" y="csY449"/>
              </a:cxn>
              <a:cxn ang="0">
                <a:pos x="csX450" y="csY450"/>
              </a:cxn>
              <a:cxn ang="0">
                <a:pos x="csX451" y="csY451"/>
              </a:cxn>
              <a:cxn ang="0">
                <a:pos x="csX452" y="csY452"/>
              </a:cxn>
              <a:cxn ang="0">
                <a:pos x="csX453" y="csY453"/>
              </a:cxn>
              <a:cxn ang="0">
                <a:pos x="csX454" y="csY454"/>
              </a:cxn>
              <a:cxn ang="0">
                <a:pos x="csX455" y="csY455"/>
              </a:cxn>
              <a:cxn ang="0">
                <a:pos x="csX456" y="csY456"/>
              </a:cxn>
              <a:cxn ang="0">
                <a:pos x="csX457" y="csY457"/>
              </a:cxn>
              <a:cxn ang="0">
                <a:pos x="csX458" y="csY458"/>
              </a:cxn>
              <a:cxn ang="0">
                <a:pos x="csX459" y="csY459"/>
              </a:cxn>
              <a:cxn ang="0">
                <a:pos x="csX460" y="csY460"/>
              </a:cxn>
              <a:cxn ang="0">
                <a:pos x="csX461" y="csY461"/>
              </a:cxn>
              <a:cxn ang="0">
                <a:pos x="csX462" y="csY462"/>
              </a:cxn>
              <a:cxn ang="0">
                <a:pos x="csX463" y="csY463"/>
              </a:cxn>
              <a:cxn ang="0">
                <a:pos x="csX464" y="csY464"/>
              </a:cxn>
              <a:cxn ang="0">
                <a:pos x="csX465" y="csY465"/>
              </a:cxn>
              <a:cxn ang="0">
                <a:pos x="csX466" y="csY466"/>
              </a:cxn>
              <a:cxn ang="0">
                <a:pos x="csX467" y="csY467"/>
              </a:cxn>
              <a:cxn ang="0">
                <a:pos x="csX468" y="csY468"/>
              </a:cxn>
              <a:cxn ang="0">
                <a:pos x="csX469" y="csY469"/>
              </a:cxn>
              <a:cxn ang="0">
                <a:pos x="csX470" y="csY470"/>
              </a:cxn>
              <a:cxn ang="0">
                <a:pos x="csX471" y="csY471"/>
              </a:cxn>
              <a:cxn ang="0">
                <a:pos x="csX472" y="csY472"/>
              </a:cxn>
              <a:cxn ang="0">
                <a:pos x="csX473" y="csY473"/>
              </a:cxn>
              <a:cxn ang="0">
                <a:pos x="csX474" y="csY474"/>
              </a:cxn>
              <a:cxn ang="0">
                <a:pos x="csX475" y="csY475"/>
              </a:cxn>
              <a:cxn ang="0">
                <a:pos x="csX476" y="csY476"/>
              </a:cxn>
              <a:cxn ang="0">
                <a:pos x="csX477" y="csY477"/>
              </a:cxn>
              <a:cxn ang="0">
                <a:pos x="csX478" y="csY478"/>
              </a:cxn>
              <a:cxn ang="0">
                <a:pos x="csX479" y="csY479"/>
              </a:cxn>
              <a:cxn ang="0">
                <a:pos x="csX480" y="csY480"/>
              </a:cxn>
              <a:cxn ang="0">
                <a:pos x="csX481" y="csY481"/>
              </a:cxn>
              <a:cxn ang="0">
                <a:pos x="csX482" y="csY482"/>
              </a:cxn>
              <a:cxn ang="0">
                <a:pos x="csX483" y="csY483"/>
              </a:cxn>
              <a:cxn ang="0">
                <a:pos x="csX484" y="csY484"/>
              </a:cxn>
              <a:cxn ang="0">
                <a:pos x="csX485" y="csY485"/>
              </a:cxn>
              <a:cxn ang="0">
                <a:pos x="csX486" y="csY486"/>
              </a:cxn>
              <a:cxn ang="0">
                <a:pos x="csX487" y="csY487"/>
              </a:cxn>
              <a:cxn ang="0">
                <a:pos x="csX488" y="csY488"/>
              </a:cxn>
              <a:cxn ang="0">
                <a:pos x="csX489" y="csY489"/>
              </a:cxn>
              <a:cxn ang="0">
                <a:pos x="csX490" y="csY490"/>
              </a:cxn>
              <a:cxn ang="0">
                <a:pos x="csX491" y="csY491"/>
              </a:cxn>
              <a:cxn ang="0">
                <a:pos x="csX492" y="csY492"/>
              </a:cxn>
              <a:cxn ang="0">
                <a:pos x="csX493" y="csY493"/>
              </a:cxn>
              <a:cxn ang="0">
                <a:pos x="csX494" y="csY494"/>
              </a:cxn>
              <a:cxn ang="0">
                <a:pos x="csX495" y="csY495"/>
              </a:cxn>
              <a:cxn ang="0">
                <a:pos x="csX496" y="csY496"/>
              </a:cxn>
              <a:cxn ang="0">
                <a:pos x="csX497" y="csY497"/>
              </a:cxn>
              <a:cxn ang="0">
                <a:pos x="csX498" y="csY498"/>
              </a:cxn>
              <a:cxn ang="0">
                <a:pos x="csX499" y="csY499"/>
              </a:cxn>
              <a:cxn ang="0">
                <a:pos x="csX500" y="csY500"/>
              </a:cxn>
              <a:cxn ang="0">
                <a:pos x="csX501" y="csY501"/>
              </a:cxn>
              <a:cxn ang="0">
                <a:pos x="csX502" y="csY502"/>
              </a:cxn>
              <a:cxn ang="0">
                <a:pos x="csX503" y="csY503"/>
              </a:cxn>
              <a:cxn ang="0">
                <a:pos x="csX504" y="csY504"/>
              </a:cxn>
              <a:cxn ang="0">
                <a:pos x="csX505" y="csY505"/>
              </a:cxn>
              <a:cxn ang="0">
                <a:pos x="csX506" y="csY506"/>
              </a:cxn>
              <a:cxn ang="0">
                <a:pos x="csX507" y="csY507"/>
              </a:cxn>
              <a:cxn ang="0">
                <a:pos x="csX508" y="csY508"/>
              </a:cxn>
              <a:cxn ang="0">
                <a:pos x="csX509" y="csY509"/>
              </a:cxn>
              <a:cxn ang="0">
                <a:pos x="csX510" y="csY510"/>
              </a:cxn>
              <a:cxn ang="0">
                <a:pos x="csX511" y="csY511"/>
              </a:cxn>
              <a:cxn ang="0">
                <a:pos x="csX512" y="csY512"/>
              </a:cxn>
              <a:cxn ang="0">
                <a:pos x="csX513" y="csY513"/>
              </a:cxn>
              <a:cxn ang="0">
                <a:pos x="csX514" y="csY514"/>
              </a:cxn>
              <a:cxn ang="0">
                <a:pos x="csX515" y="csY515"/>
              </a:cxn>
              <a:cxn ang="0">
                <a:pos x="csX516" y="csY516"/>
              </a:cxn>
              <a:cxn ang="0">
                <a:pos x="csX517" y="csY517"/>
              </a:cxn>
              <a:cxn ang="0">
                <a:pos x="csX518" y="csY518"/>
              </a:cxn>
              <a:cxn ang="0">
                <a:pos x="csX519" y="csY519"/>
              </a:cxn>
              <a:cxn ang="0">
                <a:pos x="csX520" y="csY520"/>
              </a:cxn>
              <a:cxn ang="0">
                <a:pos x="csX521" y="csY521"/>
              </a:cxn>
              <a:cxn ang="0">
                <a:pos x="csX522" y="csY522"/>
              </a:cxn>
              <a:cxn ang="0">
                <a:pos x="csX523" y="csY523"/>
              </a:cxn>
              <a:cxn ang="0">
                <a:pos x="csX524" y="csY524"/>
              </a:cxn>
              <a:cxn ang="0">
                <a:pos x="csX525" y="csY525"/>
              </a:cxn>
              <a:cxn ang="0">
                <a:pos x="csX526" y="csY526"/>
              </a:cxn>
              <a:cxn ang="0">
                <a:pos x="csX527" y="csY527"/>
              </a:cxn>
              <a:cxn ang="0">
                <a:pos x="csX528" y="csY528"/>
              </a:cxn>
              <a:cxn ang="0">
                <a:pos x="csX529" y="csY529"/>
              </a:cxn>
              <a:cxn ang="0">
                <a:pos x="csX530" y="csY530"/>
              </a:cxn>
              <a:cxn ang="0">
                <a:pos x="csX531" y="csY531"/>
              </a:cxn>
              <a:cxn ang="0">
                <a:pos x="csX532" y="csY532"/>
              </a:cxn>
              <a:cxn ang="0">
                <a:pos x="csX533" y="csY533"/>
              </a:cxn>
              <a:cxn ang="0">
                <a:pos x="csX534" y="csY534"/>
              </a:cxn>
              <a:cxn ang="0">
                <a:pos x="csX535" y="csY535"/>
              </a:cxn>
              <a:cxn ang="0">
                <a:pos x="csX536" y="csY536"/>
              </a:cxn>
              <a:cxn ang="0">
                <a:pos x="csX537" y="csY537"/>
              </a:cxn>
              <a:cxn ang="0">
                <a:pos x="csX538" y="csY538"/>
              </a:cxn>
              <a:cxn ang="0">
                <a:pos x="csX539" y="csY539"/>
              </a:cxn>
              <a:cxn ang="0">
                <a:pos x="csX540" y="csY540"/>
              </a:cxn>
              <a:cxn ang="0">
                <a:pos x="csX541" y="csY541"/>
              </a:cxn>
              <a:cxn ang="0">
                <a:pos x="csX542" y="csY542"/>
              </a:cxn>
              <a:cxn ang="0">
                <a:pos x="csX543" y="csY543"/>
              </a:cxn>
              <a:cxn ang="0">
                <a:pos x="csX544" y="csY544"/>
              </a:cxn>
              <a:cxn ang="0">
                <a:pos x="csX545" y="csY545"/>
              </a:cxn>
              <a:cxn ang="0">
                <a:pos x="csX546" y="csY546"/>
              </a:cxn>
              <a:cxn ang="0">
                <a:pos x="csX547" y="csY547"/>
              </a:cxn>
              <a:cxn ang="0">
                <a:pos x="csX548" y="csY548"/>
              </a:cxn>
              <a:cxn ang="0">
                <a:pos x="csX549" y="csY549"/>
              </a:cxn>
              <a:cxn ang="0">
                <a:pos x="csX550" y="csY550"/>
              </a:cxn>
              <a:cxn ang="0">
                <a:pos x="csX551" y="csY551"/>
              </a:cxn>
              <a:cxn ang="0">
                <a:pos x="csX552" y="csY552"/>
              </a:cxn>
              <a:cxn ang="0">
                <a:pos x="csX553" y="csY553"/>
              </a:cxn>
              <a:cxn ang="0">
                <a:pos x="csX554" y="csY554"/>
              </a:cxn>
              <a:cxn ang="0">
                <a:pos x="csX555" y="csY555"/>
              </a:cxn>
              <a:cxn ang="0">
                <a:pos x="csX556" y="csY556"/>
              </a:cxn>
              <a:cxn ang="0">
                <a:pos x="csX557" y="csY557"/>
              </a:cxn>
              <a:cxn ang="0">
                <a:pos x="csX558" y="csY558"/>
              </a:cxn>
              <a:cxn ang="0">
                <a:pos x="csX559" y="csY559"/>
              </a:cxn>
              <a:cxn ang="0">
                <a:pos x="csX560" y="csY560"/>
              </a:cxn>
              <a:cxn ang="0">
                <a:pos x="csX561" y="csY561"/>
              </a:cxn>
              <a:cxn ang="0">
                <a:pos x="csX562" y="csY562"/>
              </a:cxn>
              <a:cxn ang="0">
                <a:pos x="csX563" y="csY563"/>
              </a:cxn>
              <a:cxn ang="0">
                <a:pos x="csX564" y="csY564"/>
              </a:cxn>
              <a:cxn ang="0">
                <a:pos x="csX565" y="csY565"/>
              </a:cxn>
              <a:cxn ang="0">
                <a:pos x="csX566" y="csY566"/>
              </a:cxn>
              <a:cxn ang="0">
                <a:pos x="csX567" y="csY567"/>
              </a:cxn>
              <a:cxn ang="0">
                <a:pos x="csX568" y="csY568"/>
              </a:cxn>
              <a:cxn ang="0">
                <a:pos x="csX569" y="csY569"/>
              </a:cxn>
              <a:cxn ang="0">
                <a:pos x="csX570" y="csY570"/>
              </a:cxn>
              <a:cxn ang="0">
                <a:pos x="csX571" y="csY571"/>
              </a:cxn>
              <a:cxn ang="0">
                <a:pos x="csX572" y="csY572"/>
              </a:cxn>
              <a:cxn ang="0">
                <a:pos x="csX573" y="csY573"/>
              </a:cxn>
              <a:cxn ang="0">
                <a:pos x="csX574" y="csY574"/>
              </a:cxn>
              <a:cxn ang="0">
                <a:pos x="csX575" y="csY575"/>
              </a:cxn>
              <a:cxn ang="0">
                <a:pos x="csX576" y="csY576"/>
              </a:cxn>
              <a:cxn ang="0">
                <a:pos x="csX577" y="csY577"/>
              </a:cxn>
              <a:cxn ang="0">
                <a:pos x="csX578" y="csY578"/>
              </a:cxn>
              <a:cxn ang="0">
                <a:pos x="csX579" y="csY579"/>
              </a:cxn>
              <a:cxn ang="0">
                <a:pos x="csX580" y="csY580"/>
              </a:cxn>
              <a:cxn ang="0">
                <a:pos x="csX581" y="csY581"/>
              </a:cxn>
              <a:cxn ang="0">
                <a:pos x="csX582" y="csY582"/>
              </a:cxn>
              <a:cxn ang="0">
                <a:pos x="csX583" y="csY583"/>
              </a:cxn>
              <a:cxn ang="0">
                <a:pos x="csX584" y="csY584"/>
              </a:cxn>
              <a:cxn ang="0">
                <a:pos x="csX585" y="csY585"/>
              </a:cxn>
              <a:cxn ang="0">
                <a:pos x="csX586" y="csY586"/>
              </a:cxn>
              <a:cxn ang="0">
                <a:pos x="csX587" y="csY587"/>
              </a:cxn>
              <a:cxn ang="0">
                <a:pos x="csX588" y="csY588"/>
              </a:cxn>
              <a:cxn ang="0">
                <a:pos x="csX589" y="csY589"/>
              </a:cxn>
              <a:cxn ang="0">
                <a:pos x="csX590" y="csY590"/>
              </a:cxn>
              <a:cxn ang="0">
                <a:pos x="csX591" y="csY591"/>
              </a:cxn>
              <a:cxn ang="0">
                <a:pos x="csX592" y="csY592"/>
              </a:cxn>
              <a:cxn ang="0">
                <a:pos x="csX593" y="csY593"/>
              </a:cxn>
              <a:cxn ang="0">
                <a:pos x="csX594" y="csY594"/>
              </a:cxn>
              <a:cxn ang="0">
                <a:pos x="csX595" y="csY595"/>
              </a:cxn>
              <a:cxn ang="0">
                <a:pos x="csX596" y="csY596"/>
              </a:cxn>
              <a:cxn ang="0">
                <a:pos x="csX597" y="csY597"/>
              </a:cxn>
              <a:cxn ang="0">
                <a:pos x="csX598" y="csY598"/>
              </a:cxn>
              <a:cxn ang="0">
                <a:pos x="csX599" y="csY599"/>
              </a:cxn>
              <a:cxn ang="0">
                <a:pos x="csX600" y="csY600"/>
              </a:cxn>
              <a:cxn ang="0">
                <a:pos x="csX601" y="csY601"/>
              </a:cxn>
              <a:cxn ang="0">
                <a:pos x="csX602" y="csY602"/>
              </a:cxn>
              <a:cxn ang="0">
                <a:pos x="csX603" y="csY603"/>
              </a:cxn>
              <a:cxn ang="0">
                <a:pos x="csX604" y="csY604"/>
              </a:cxn>
              <a:cxn ang="0">
                <a:pos x="csX605" y="csY605"/>
              </a:cxn>
              <a:cxn ang="0">
                <a:pos x="csX606" y="csY606"/>
              </a:cxn>
              <a:cxn ang="0">
                <a:pos x="csX607" y="csY607"/>
              </a:cxn>
              <a:cxn ang="0">
                <a:pos x="csX608" y="csY608"/>
              </a:cxn>
              <a:cxn ang="0">
                <a:pos x="csX609" y="csY609"/>
              </a:cxn>
              <a:cxn ang="0">
                <a:pos x="csX610" y="csY610"/>
              </a:cxn>
              <a:cxn ang="0">
                <a:pos x="csX611" y="csY611"/>
              </a:cxn>
              <a:cxn ang="0">
                <a:pos x="csX612" y="csY612"/>
              </a:cxn>
              <a:cxn ang="0">
                <a:pos x="csX613" y="csY613"/>
              </a:cxn>
              <a:cxn ang="0">
                <a:pos x="csX614" y="csY614"/>
              </a:cxn>
              <a:cxn ang="0">
                <a:pos x="csX615" y="csY615"/>
              </a:cxn>
              <a:cxn ang="0">
                <a:pos x="csX616" y="csY616"/>
              </a:cxn>
              <a:cxn ang="0">
                <a:pos x="csX617" y="csY617"/>
              </a:cxn>
              <a:cxn ang="0">
                <a:pos x="csX618" y="csY618"/>
              </a:cxn>
              <a:cxn ang="0">
                <a:pos x="csX619" y="csY619"/>
              </a:cxn>
              <a:cxn ang="0">
                <a:pos x="csX620" y="csY620"/>
              </a:cxn>
              <a:cxn ang="0">
                <a:pos x="csX621" y="csY621"/>
              </a:cxn>
              <a:cxn ang="0">
                <a:pos x="csX622" y="csY622"/>
              </a:cxn>
              <a:cxn ang="0">
                <a:pos x="csX623" y="csY623"/>
              </a:cxn>
              <a:cxn ang="0">
                <a:pos x="csX624" y="csY624"/>
              </a:cxn>
              <a:cxn ang="0">
                <a:pos x="csX625" y="csY625"/>
              </a:cxn>
              <a:cxn ang="0">
                <a:pos x="csX626" y="csY626"/>
              </a:cxn>
              <a:cxn ang="0">
                <a:pos x="csX627" y="csY627"/>
              </a:cxn>
              <a:cxn ang="0">
                <a:pos x="csX628" y="csY628"/>
              </a:cxn>
              <a:cxn ang="0">
                <a:pos x="csX629" y="csY629"/>
              </a:cxn>
              <a:cxn ang="0">
                <a:pos x="csX630" y="csY630"/>
              </a:cxn>
              <a:cxn ang="0">
                <a:pos x="csX631" y="csY631"/>
              </a:cxn>
              <a:cxn ang="0">
                <a:pos x="csX632" y="csY632"/>
              </a:cxn>
              <a:cxn ang="0">
                <a:pos x="csX633" y="csY633"/>
              </a:cxn>
              <a:cxn ang="0">
                <a:pos x="csX634" y="csY634"/>
              </a:cxn>
              <a:cxn ang="0">
                <a:pos x="csX635" y="csY635"/>
              </a:cxn>
              <a:cxn ang="0">
                <a:pos x="csX636" y="csY636"/>
              </a:cxn>
              <a:cxn ang="0">
                <a:pos x="csX637" y="csY637"/>
              </a:cxn>
              <a:cxn ang="0">
                <a:pos x="csX638" y="csY638"/>
              </a:cxn>
              <a:cxn ang="0">
                <a:pos x="csX639" y="csY639"/>
              </a:cxn>
              <a:cxn ang="0">
                <a:pos x="csX640" y="csY640"/>
              </a:cxn>
              <a:cxn ang="0">
                <a:pos x="csX641" y="csY641"/>
              </a:cxn>
              <a:cxn ang="0">
                <a:pos x="csX642" y="csY642"/>
              </a:cxn>
              <a:cxn ang="0">
                <a:pos x="csX643" y="csY643"/>
              </a:cxn>
              <a:cxn ang="0">
                <a:pos x="csX644" y="csY644"/>
              </a:cxn>
              <a:cxn ang="0">
                <a:pos x="csX645" y="csY645"/>
              </a:cxn>
              <a:cxn ang="0">
                <a:pos x="csX646" y="csY646"/>
              </a:cxn>
              <a:cxn ang="0">
                <a:pos x="csX647" y="csY647"/>
              </a:cxn>
              <a:cxn ang="0">
                <a:pos x="csX648" y="csY648"/>
              </a:cxn>
              <a:cxn ang="0">
                <a:pos x="csX649" y="csY649"/>
              </a:cxn>
              <a:cxn ang="0">
                <a:pos x="csX650" y="csY650"/>
              </a:cxn>
              <a:cxn ang="0">
                <a:pos x="csX651" y="csY651"/>
              </a:cxn>
              <a:cxn ang="0">
                <a:pos x="csX652" y="csY652"/>
              </a:cxn>
              <a:cxn ang="0">
                <a:pos x="csX653" y="csY653"/>
              </a:cxn>
              <a:cxn ang="0">
                <a:pos x="csX654" y="csY654"/>
              </a:cxn>
              <a:cxn ang="0">
                <a:pos x="csX655" y="csY655"/>
              </a:cxn>
              <a:cxn ang="0">
                <a:pos x="csX656" y="csY656"/>
              </a:cxn>
              <a:cxn ang="0">
                <a:pos x="csX657" y="csY657"/>
              </a:cxn>
              <a:cxn ang="0">
                <a:pos x="csX658" y="csY658"/>
              </a:cxn>
              <a:cxn ang="0">
                <a:pos x="csX659" y="csY659"/>
              </a:cxn>
              <a:cxn ang="0">
                <a:pos x="csX660" y="csY660"/>
              </a:cxn>
              <a:cxn ang="0">
                <a:pos x="csX661" y="csY661"/>
              </a:cxn>
              <a:cxn ang="0">
                <a:pos x="csX662" y="csY662"/>
              </a:cxn>
              <a:cxn ang="0">
                <a:pos x="csX663" y="csY663"/>
              </a:cxn>
              <a:cxn ang="0">
                <a:pos x="csX664" y="csY664"/>
              </a:cxn>
              <a:cxn ang="0">
                <a:pos x="csX665" y="csY665"/>
              </a:cxn>
              <a:cxn ang="0">
                <a:pos x="csX666" y="csY666"/>
              </a:cxn>
              <a:cxn ang="0">
                <a:pos x="csX667" y="csY667"/>
              </a:cxn>
              <a:cxn ang="0">
                <a:pos x="csX668" y="csY668"/>
              </a:cxn>
              <a:cxn ang="0">
                <a:pos x="csX669" y="csY669"/>
              </a:cxn>
              <a:cxn ang="0">
                <a:pos x="csX670" y="csY670"/>
              </a:cxn>
              <a:cxn ang="0">
                <a:pos x="csX671" y="csY671"/>
              </a:cxn>
              <a:cxn ang="0">
                <a:pos x="csX672" y="csY672"/>
              </a:cxn>
              <a:cxn ang="0">
                <a:pos x="csX673" y="csY673"/>
              </a:cxn>
              <a:cxn ang="0">
                <a:pos x="csX674" y="csY674"/>
              </a:cxn>
              <a:cxn ang="0">
                <a:pos x="csX675" y="csY675"/>
              </a:cxn>
              <a:cxn ang="0">
                <a:pos x="csX676" y="csY676"/>
              </a:cxn>
              <a:cxn ang="0">
                <a:pos x="csX677" y="csY677"/>
              </a:cxn>
              <a:cxn ang="0">
                <a:pos x="csX678" y="csY678"/>
              </a:cxn>
              <a:cxn ang="0">
                <a:pos x="csX679" y="csY679"/>
              </a:cxn>
              <a:cxn ang="0">
                <a:pos x="csX680" y="csY680"/>
              </a:cxn>
              <a:cxn ang="0">
                <a:pos x="csX681" y="csY681"/>
              </a:cxn>
              <a:cxn ang="0">
                <a:pos x="csX682" y="csY682"/>
              </a:cxn>
              <a:cxn ang="0">
                <a:pos x="csX683" y="csY683"/>
              </a:cxn>
              <a:cxn ang="0">
                <a:pos x="csX684" y="csY684"/>
              </a:cxn>
              <a:cxn ang="0">
                <a:pos x="csX685" y="csY685"/>
              </a:cxn>
              <a:cxn ang="0">
                <a:pos x="csX686" y="csY686"/>
              </a:cxn>
              <a:cxn ang="0">
                <a:pos x="csX687" y="csY687"/>
              </a:cxn>
              <a:cxn ang="0">
                <a:pos x="csX688" y="csY688"/>
              </a:cxn>
              <a:cxn ang="0">
                <a:pos x="csX689" y="csY689"/>
              </a:cxn>
              <a:cxn ang="0">
                <a:pos x="csX690" y="csY690"/>
              </a:cxn>
              <a:cxn ang="0">
                <a:pos x="csX691" y="csY691"/>
              </a:cxn>
              <a:cxn ang="0">
                <a:pos x="csX692" y="csY692"/>
              </a:cxn>
              <a:cxn ang="0">
                <a:pos x="csX693" y="csY693"/>
              </a:cxn>
              <a:cxn ang="0">
                <a:pos x="csX694" y="csY694"/>
              </a:cxn>
              <a:cxn ang="0">
                <a:pos x="csX695" y="csY695"/>
              </a:cxn>
              <a:cxn ang="0">
                <a:pos x="csX696" y="csY696"/>
              </a:cxn>
              <a:cxn ang="0">
                <a:pos x="csX697" y="csY697"/>
              </a:cxn>
              <a:cxn ang="0">
                <a:pos x="csX698" y="csY698"/>
              </a:cxn>
              <a:cxn ang="0">
                <a:pos x="csX699" y="csY699"/>
              </a:cxn>
              <a:cxn ang="0">
                <a:pos x="csX700" y="csY700"/>
              </a:cxn>
              <a:cxn ang="0">
                <a:pos x="csX701" y="csY701"/>
              </a:cxn>
              <a:cxn ang="0">
                <a:pos x="csX702" y="csY702"/>
              </a:cxn>
              <a:cxn ang="0">
                <a:pos x="csX703" y="csY703"/>
              </a:cxn>
              <a:cxn ang="0">
                <a:pos x="csX704" y="csY704"/>
              </a:cxn>
              <a:cxn ang="0">
                <a:pos x="csX705" y="csY705"/>
              </a:cxn>
              <a:cxn ang="0">
                <a:pos x="csX706" y="csY706"/>
              </a:cxn>
              <a:cxn ang="0">
                <a:pos x="csX707" y="csY707"/>
              </a:cxn>
              <a:cxn ang="0">
                <a:pos x="csX708" y="csY708"/>
              </a:cxn>
              <a:cxn ang="0">
                <a:pos x="csX709" y="csY709"/>
              </a:cxn>
              <a:cxn ang="0">
                <a:pos x="csX710" y="csY710"/>
              </a:cxn>
              <a:cxn ang="0">
                <a:pos x="csX711" y="csY711"/>
              </a:cxn>
              <a:cxn ang="0">
                <a:pos x="csX712" y="csY712"/>
              </a:cxn>
              <a:cxn ang="0">
                <a:pos x="csX713" y="csY713"/>
              </a:cxn>
              <a:cxn ang="0">
                <a:pos x="csX714" y="csY714"/>
              </a:cxn>
              <a:cxn ang="0">
                <a:pos x="csX715" y="csY715"/>
              </a:cxn>
              <a:cxn ang="0">
                <a:pos x="csX716" y="csY716"/>
              </a:cxn>
              <a:cxn ang="0">
                <a:pos x="csX717" y="csY717"/>
              </a:cxn>
              <a:cxn ang="0">
                <a:pos x="csX718" y="csY718"/>
              </a:cxn>
              <a:cxn ang="0">
                <a:pos x="csX719" y="csY719"/>
              </a:cxn>
              <a:cxn ang="0">
                <a:pos x="csX720" y="csY720"/>
              </a:cxn>
              <a:cxn ang="0">
                <a:pos x="csX721" y="csY721"/>
              </a:cxn>
              <a:cxn ang="0">
                <a:pos x="csX722" y="csY722"/>
              </a:cxn>
              <a:cxn ang="0">
                <a:pos x="csX723" y="csY723"/>
              </a:cxn>
              <a:cxn ang="0">
                <a:pos x="csX724" y="csY724"/>
              </a:cxn>
              <a:cxn ang="0">
                <a:pos x="csX725" y="csY725"/>
              </a:cxn>
              <a:cxn ang="0">
                <a:pos x="csX726" y="csY726"/>
              </a:cxn>
              <a:cxn ang="0">
                <a:pos x="csX727" y="csY727"/>
              </a:cxn>
              <a:cxn ang="0">
                <a:pos x="csX728" y="csY728"/>
              </a:cxn>
              <a:cxn ang="0">
                <a:pos x="csX729" y="csY729"/>
              </a:cxn>
              <a:cxn ang="0">
                <a:pos x="csX730" y="csY730"/>
              </a:cxn>
              <a:cxn ang="0">
                <a:pos x="csX731" y="csY731"/>
              </a:cxn>
              <a:cxn ang="0">
                <a:pos x="csX732" y="csY732"/>
              </a:cxn>
              <a:cxn ang="0">
                <a:pos x="csX733" y="csY733"/>
              </a:cxn>
              <a:cxn ang="0">
                <a:pos x="csX734" y="csY734"/>
              </a:cxn>
              <a:cxn ang="0">
                <a:pos x="csX735" y="csY735"/>
              </a:cxn>
              <a:cxn ang="0">
                <a:pos x="csX736" y="csY736"/>
              </a:cxn>
              <a:cxn ang="0">
                <a:pos x="csX737" y="csY737"/>
              </a:cxn>
              <a:cxn ang="0">
                <a:pos x="csX738" y="csY738"/>
              </a:cxn>
              <a:cxn ang="0">
                <a:pos x="csX739" y="csY739"/>
              </a:cxn>
              <a:cxn ang="0">
                <a:pos x="csX740" y="csY740"/>
              </a:cxn>
              <a:cxn ang="0">
                <a:pos x="csX741" y="csY741"/>
              </a:cxn>
              <a:cxn ang="0">
                <a:pos x="csX742" y="csY742"/>
              </a:cxn>
              <a:cxn ang="0">
                <a:pos x="csX743" y="csY743"/>
              </a:cxn>
              <a:cxn ang="0">
                <a:pos x="csX744" y="csY744"/>
              </a:cxn>
              <a:cxn ang="0">
                <a:pos x="csX745" y="csY745"/>
              </a:cxn>
              <a:cxn ang="0">
                <a:pos x="csX746" y="csY746"/>
              </a:cxn>
              <a:cxn ang="0">
                <a:pos x="csX747" y="csY747"/>
              </a:cxn>
              <a:cxn ang="0">
                <a:pos x="csX748" y="csY748"/>
              </a:cxn>
              <a:cxn ang="0">
                <a:pos x="csX749" y="csY749"/>
              </a:cxn>
              <a:cxn ang="0">
                <a:pos x="csX750" y="csY750"/>
              </a:cxn>
              <a:cxn ang="0">
                <a:pos x="csX751" y="csY751"/>
              </a:cxn>
              <a:cxn ang="0">
                <a:pos x="csX752" y="csY752"/>
              </a:cxn>
              <a:cxn ang="0">
                <a:pos x="csX753" y="csY753"/>
              </a:cxn>
              <a:cxn ang="0">
                <a:pos x="csX754" y="csY754"/>
              </a:cxn>
              <a:cxn ang="0">
                <a:pos x="csX755" y="csY755"/>
              </a:cxn>
              <a:cxn ang="0">
                <a:pos x="csX756" y="csY756"/>
              </a:cxn>
              <a:cxn ang="0">
                <a:pos x="csX757" y="csY757"/>
              </a:cxn>
              <a:cxn ang="0">
                <a:pos x="csX758" y="csY758"/>
              </a:cxn>
              <a:cxn ang="0">
                <a:pos x="csX759" y="csY759"/>
              </a:cxn>
              <a:cxn ang="0">
                <a:pos x="csX760" y="csY760"/>
              </a:cxn>
              <a:cxn ang="0">
                <a:pos x="csX761" y="csY761"/>
              </a:cxn>
              <a:cxn ang="0">
                <a:pos x="csX762" y="csY762"/>
              </a:cxn>
              <a:cxn ang="0">
                <a:pos x="csX763" y="csY763"/>
              </a:cxn>
              <a:cxn ang="0">
                <a:pos x="csX764" y="csY764"/>
              </a:cxn>
              <a:cxn ang="0">
                <a:pos x="csX765" y="csY765"/>
              </a:cxn>
              <a:cxn ang="0">
                <a:pos x="csX766" y="csY766"/>
              </a:cxn>
              <a:cxn ang="0">
                <a:pos x="csX767" y="csY767"/>
              </a:cxn>
              <a:cxn ang="0">
                <a:pos x="csX768" y="csY768"/>
              </a:cxn>
              <a:cxn ang="0">
                <a:pos x="csX769" y="csY769"/>
              </a:cxn>
              <a:cxn ang="0">
                <a:pos x="csX770" y="csY770"/>
              </a:cxn>
              <a:cxn ang="0">
                <a:pos x="csX771" y="csY771"/>
              </a:cxn>
              <a:cxn ang="0">
                <a:pos x="csX772" y="csY772"/>
              </a:cxn>
              <a:cxn ang="0">
                <a:pos x="csX773" y="csY773"/>
              </a:cxn>
              <a:cxn ang="0">
                <a:pos x="csX774" y="csY774"/>
              </a:cxn>
              <a:cxn ang="0">
                <a:pos x="csX775" y="csY775"/>
              </a:cxn>
              <a:cxn ang="0">
                <a:pos x="csX776" y="csY776"/>
              </a:cxn>
              <a:cxn ang="0">
                <a:pos x="csX777" y="csY777"/>
              </a:cxn>
              <a:cxn ang="0">
                <a:pos x="csX778" y="csY778"/>
              </a:cxn>
              <a:cxn ang="0">
                <a:pos x="csX779" y="csY779"/>
              </a:cxn>
              <a:cxn ang="0">
                <a:pos x="csX780" y="csY780"/>
              </a:cxn>
              <a:cxn ang="0">
                <a:pos x="csX781" y="csY781"/>
              </a:cxn>
              <a:cxn ang="0">
                <a:pos x="csX782" y="csY782"/>
              </a:cxn>
              <a:cxn ang="0">
                <a:pos x="csX783" y="csY783"/>
              </a:cxn>
              <a:cxn ang="0">
                <a:pos x="csX784" y="csY784"/>
              </a:cxn>
              <a:cxn ang="0">
                <a:pos x="csX785" y="csY785"/>
              </a:cxn>
              <a:cxn ang="0">
                <a:pos x="csX786" y="csY786"/>
              </a:cxn>
              <a:cxn ang="0">
                <a:pos x="csX787" y="csY787"/>
              </a:cxn>
              <a:cxn ang="0">
                <a:pos x="csX788" y="csY788"/>
              </a:cxn>
              <a:cxn ang="0">
                <a:pos x="csX789" y="csY789"/>
              </a:cxn>
              <a:cxn ang="0">
                <a:pos x="csX790" y="csY790"/>
              </a:cxn>
              <a:cxn ang="0">
                <a:pos x="csX791" y="csY791"/>
              </a:cxn>
              <a:cxn ang="0">
                <a:pos x="csX792" y="csY792"/>
              </a:cxn>
              <a:cxn ang="0">
                <a:pos x="csX793" y="csY793"/>
              </a:cxn>
              <a:cxn ang="0">
                <a:pos x="csX794" y="csY794"/>
              </a:cxn>
              <a:cxn ang="0">
                <a:pos x="csX795" y="csY795"/>
              </a:cxn>
              <a:cxn ang="0">
                <a:pos x="csX796" y="csY796"/>
              </a:cxn>
              <a:cxn ang="0">
                <a:pos x="csX797" y="csY797"/>
              </a:cxn>
              <a:cxn ang="0">
                <a:pos x="csX798" y="csY798"/>
              </a:cxn>
              <a:cxn ang="0">
                <a:pos x="csX799" y="csY799"/>
              </a:cxn>
              <a:cxn ang="0">
                <a:pos x="csX800" y="csY800"/>
              </a:cxn>
              <a:cxn ang="0">
                <a:pos x="csX801" y="csY801"/>
              </a:cxn>
              <a:cxn ang="0">
                <a:pos x="csX802" y="csY802"/>
              </a:cxn>
              <a:cxn ang="0">
                <a:pos x="csX803" y="csY803"/>
              </a:cxn>
              <a:cxn ang="0">
                <a:pos x="csX804" y="csY804"/>
              </a:cxn>
              <a:cxn ang="0">
                <a:pos x="csX805" y="csY805"/>
              </a:cxn>
              <a:cxn ang="0">
                <a:pos x="csX806" y="csY806"/>
              </a:cxn>
              <a:cxn ang="0">
                <a:pos x="csX807" y="csY807"/>
              </a:cxn>
              <a:cxn ang="0">
                <a:pos x="csX808" y="csY808"/>
              </a:cxn>
              <a:cxn ang="0">
                <a:pos x="csX809" y="csY809"/>
              </a:cxn>
              <a:cxn ang="0">
                <a:pos x="csX810" y="csY810"/>
              </a:cxn>
              <a:cxn ang="0">
                <a:pos x="csX811" y="csY811"/>
              </a:cxn>
              <a:cxn ang="0">
                <a:pos x="csX812" y="csY812"/>
              </a:cxn>
              <a:cxn ang="0">
                <a:pos x="csX813" y="csY813"/>
              </a:cxn>
              <a:cxn ang="0">
                <a:pos x="csX814" y="csY814"/>
              </a:cxn>
              <a:cxn ang="0">
                <a:pos x="csX815" y="csY815"/>
              </a:cxn>
              <a:cxn ang="0">
                <a:pos x="csX816" y="csY816"/>
              </a:cxn>
              <a:cxn ang="0">
                <a:pos x="csX817" y="csY817"/>
              </a:cxn>
              <a:cxn ang="0">
                <a:pos x="csX818" y="csY818"/>
              </a:cxn>
              <a:cxn ang="0">
                <a:pos x="csX819" y="csY819"/>
              </a:cxn>
              <a:cxn ang="0">
                <a:pos x="csX820" y="csY820"/>
              </a:cxn>
              <a:cxn ang="0">
                <a:pos x="csX821" y="csY821"/>
              </a:cxn>
              <a:cxn ang="0">
                <a:pos x="csX822" y="csY822"/>
              </a:cxn>
              <a:cxn ang="0">
                <a:pos x="csX823" y="csY823"/>
              </a:cxn>
              <a:cxn ang="0">
                <a:pos x="csX824" y="csY824"/>
              </a:cxn>
              <a:cxn ang="0">
                <a:pos x="csX825" y="csY825"/>
              </a:cxn>
              <a:cxn ang="0">
                <a:pos x="csX826" y="csY826"/>
              </a:cxn>
              <a:cxn ang="0">
                <a:pos x="csX827" y="csY827"/>
              </a:cxn>
              <a:cxn ang="0">
                <a:pos x="csX828" y="csY828"/>
              </a:cxn>
              <a:cxn ang="0">
                <a:pos x="csX829" y="csY829"/>
              </a:cxn>
              <a:cxn ang="0">
                <a:pos x="csX830" y="csY830"/>
              </a:cxn>
              <a:cxn ang="0">
                <a:pos x="csX831" y="csY831"/>
              </a:cxn>
              <a:cxn ang="0">
                <a:pos x="csX832" y="csY832"/>
              </a:cxn>
              <a:cxn ang="0">
                <a:pos x="csX833" y="csY833"/>
              </a:cxn>
              <a:cxn ang="0">
                <a:pos x="csX834" y="csY834"/>
              </a:cxn>
              <a:cxn ang="0">
                <a:pos x="csX835" y="csY835"/>
              </a:cxn>
              <a:cxn ang="0">
                <a:pos x="csX836" y="csY836"/>
              </a:cxn>
              <a:cxn ang="0">
                <a:pos x="csX837" y="csY837"/>
              </a:cxn>
              <a:cxn ang="0">
                <a:pos x="csX838" y="csY838"/>
              </a:cxn>
              <a:cxn ang="0">
                <a:pos x="csX839" y="csY839"/>
              </a:cxn>
              <a:cxn ang="0">
                <a:pos x="csX840" y="csY840"/>
              </a:cxn>
              <a:cxn ang="0">
                <a:pos x="csX841" y="csY841"/>
              </a:cxn>
              <a:cxn ang="0">
                <a:pos x="csX842" y="csY842"/>
              </a:cxn>
              <a:cxn ang="0">
                <a:pos x="csX843" y="csY843"/>
              </a:cxn>
              <a:cxn ang="0">
                <a:pos x="csX844" y="csY844"/>
              </a:cxn>
              <a:cxn ang="0">
                <a:pos x="csX845" y="csY845"/>
              </a:cxn>
              <a:cxn ang="0">
                <a:pos x="csX846" y="csY846"/>
              </a:cxn>
              <a:cxn ang="0">
                <a:pos x="csX847" y="csY847"/>
              </a:cxn>
              <a:cxn ang="0">
                <a:pos x="csX848" y="csY848"/>
              </a:cxn>
              <a:cxn ang="0">
                <a:pos x="csX849" y="csY849"/>
              </a:cxn>
              <a:cxn ang="0">
                <a:pos x="csX850" y="csY850"/>
              </a:cxn>
              <a:cxn ang="0">
                <a:pos x="csX851" y="csY851"/>
              </a:cxn>
              <a:cxn ang="0">
                <a:pos x="csX852" y="csY852"/>
              </a:cxn>
              <a:cxn ang="0">
                <a:pos x="csX853" y="csY853"/>
              </a:cxn>
              <a:cxn ang="0">
                <a:pos x="csX854" y="csY854"/>
              </a:cxn>
              <a:cxn ang="0">
                <a:pos x="csX855" y="csY855"/>
              </a:cxn>
              <a:cxn ang="0">
                <a:pos x="csX856" y="csY856"/>
              </a:cxn>
              <a:cxn ang="0">
                <a:pos x="csX857" y="csY857"/>
              </a:cxn>
              <a:cxn ang="0">
                <a:pos x="csX858" y="csY858"/>
              </a:cxn>
              <a:cxn ang="0">
                <a:pos x="csX859" y="csY859"/>
              </a:cxn>
              <a:cxn ang="0">
                <a:pos x="csX860" y="csY860"/>
              </a:cxn>
              <a:cxn ang="0">
                <a:pos x="csX861" y="csY861"/>
              </a:cxn>
              <a:cxn ang="0">
                <a:pos x="csX862" y="csY862"/>
              </a:cxn>
              <a:cxn ang="0">
                <a:pos x="csX863" y="csY863"/>
              </a:cxn>
              <a:cxn ang="0">
                <a:pos x="csX864" y="csY864"/>
              </a:cxn>
              <a:cxn ang="0">
                <a:pos x="csX865" y="csY865"/>
              </a:cxn>
              <a:cxn ang="0">
                <a:pos x="csX866" y="csY866"/>
              </a:cxn>
              <a:cxn ang="0">
                <a:pos x="csX867" y="csY867"/>
              </a:cxn>
              <a:cxn ang="0">
                <a:pos x="csX868" y="csY868"/>
              </a:cxn>
              <a:cxn ang="0">
                <a:pos x="csX869" y="csY869"/>
              </a:cxn>
              <a:cxn ang="0">
                <a:pos x="csX870" y="csY870"/>
              </a:cxn>
              <a:cxn ang="0">
                <a:pos x="csX871" y="csY871"/>
              </a:cxn>
              <a:cxn ang="0">
                <a:pos x="csX872" y="csY872"/>
              </a:cxn>
              <a:cxn ang="0">
                <a:pos x="csX873" y="csY873"/>
              </a:cxn>
              <a:cxn ang="0">
                <a:pos x="csX874" y="csY874"/>
              </a:cxn>
              <a:cxn ang="0">
                <a:pos x="csX875" y="csY875"/>
              </a:cxn>
              <a:cxn ang="0">
                <a:pos x="csX876" y="csY876"/>
              </a:cxn>
              <a:cxn ang="0">
                <a:pos x="csX877" y="csY877"/>
              </a:cxn>
              <a:cxn ang="0">
                <a:pos x="csX878" y="csY878"/>
              </a:cxn>
              <a:cxn ang="0">
                <a:pos x="csX879" y="csY879"/>
              </a:cxn>
              <a:cxn ang="0">
                <a:pos x="csX880" y="csY880"/>
              </a:cxn>
              <a:cxn ang="0">
                <a:pos x="csX881" y="csY881"/>
              </a:cxn>
              <a:cxn ang="0">
                <a:pos x="csX882" y="csY882"/>
              </a:cxn>
              <a:cxn ang="0">
                <a:pos x="csX883" y="csY883"/>
              </a:cxn>
              <a:cxn ang="0">
                <a:pos x="csX884" y="csY884"/>
              </a:cxn>
              <a:cxn ang="0">
                <a:pos x="csX885" y="csY885"/>
              </a:cxn>
              <a:cxn ang="0">
                <a:pos x="csX886" y="csY886"/>
              </a:cxn>
              <a:cxn ang="0">
                <a:pos x="csX887" y="csY887"/>
              </a:cxn>
              <a:cxn ang="0">
                <a:pos x="csX888" y="csY888"/>
              </a:cxn>
              <a:cxn ang="0">
                <a:pos x="csX889" y="csY889"/>
              </a:cxn>
              <a:cxn ang="0">
                <a:pos x="csX890" y="csY890"/>
              </a:cxn>
              <a:cxn ang="0">
                <a:pos x="csX891" y="csY891"/>
              </a:cxn>
              <a:cxn ang="0">
                <a:pos x="csX892" y="csY892"/>
              </a:cxn>
              <a:cxn ang="0">
                <a:pos x="csX893" y="csY893"/>
              </a:cxn>
              <a:cxn ang="0">
                <a:pos x="csX894" y="csY894"/>
              </a:cxn>
              <a:cxn ang="0">
                <a:pos x="csX895" y="csY895"/>
              </a:cxn>
              <a:cxn ang="0">
                <a:pos x="csX896" y="csY896"/>
              </a:cxn>
              <a:cxn ang="0">
                <a:pos x="csX897" y="csY897"/>
              </a:cxn>
              <a:cxn ang="0">
                <a:pos x="csX898" y="csY898"/>
              </a:cxn>
              <a:cxn ang="0">
                <a:pos x="csX899" y="csY899"/>
              </a:cxn>
              <a:cxn ang="0">
                <a:pos x="csX900" y="csY900"/>
              </a:cxn>
              <a:cxn ang="0">
                <a:pos x="csX901" y="csY901"/>
              </a:cxn>
              <a:cxn ang="0">
                <a:pos x="csX902" y="csY902"/>
              </a:cxn>
              <a:cxn ang="0">
                <a:pos x="csX903" y="csY903"/>
              </a:cxn>
              <a:cxn ang="0">
                <a:pos x="csX904" y="csY904"/>
              </a:cxn>
              <a:cxn ang="0">
                <a:pos x="csX905" y="csY905"/>
              </a:cxn>
              <a:cxn ang="0">
                <a:pos x="csX906" y="csY906"/>
              </a:cxn>
              <a:cxn ang="0">
                <a:pos x="csX907" y="csY907"/>
              </a:cxn>
              <a:cxn ang="0">
                <a:pos x="csX908" y="csY908"/>
              </a:cxn>
              <a:cxn ang="0">
                <a:pos x="csX909" y="csY909"/>
              </a:cxn>
              <a:cxn ang="0">
                <a:pos x="csX910" y="csY910"/>
              </a:cxn>
              <a:cxn ang="0">
                <a:pos x="csX911" y="csY911"/>
              </a:cxn>
              <a:cxn ang="0">
                <a:pos x="csX912" y="csY912"/>
              </a:cxn>
              <a:cxn ang="0">
                <a:pos x="csX913" y="csY913"/>
              </a:cxn>
              <a:cxn ang="0">
                <a:pos x="csX914" y="csY914"/>
              </a:cxn>
              <a:cxn ang="0">
                <a:pos x="csX915" y="csY915"/>
              </a:cxn>
              <a:cxn ang="0">
                <a:pos x="csX916" y="csY916"/>
              </a:cxn>
              <a:cxn ang="0">
                <a:pos x="csX917" y="csY917"/>
              </a:cxn>
              <a:cxn ang="0">
                <a:pos x="csX918" y="csY918"/>
              </a:cxn>
              <a:cxn ang="0">
                <a:pos x="csX919" y="csY919"/>
              </a:cxn>
              <a:cxn ang="0">
                <a:pos x="csX920" y="csY920"/>
              </a:cxn>
              <a:cxn ang="0">
                <a:pos x="csX921" y="csY921"/>
              </a:cxn>
              <a:cxn ang="0">
                <a:pos x="csX922" y="csY922"/>
              </a:cxn>
              <a:cxn ang="0">
                <a:pos x="csX923" y="csY923"/>
              </a:cxn>
              <a:cxn ang="0">
                <a:pos x="csX924" y="csY924"/>
              </a:cxn>
              <a:cxn ang="0">
                <a:pos x="csX925" y="csY925"/>
              </a:cxn>
              <a:cxn ang="0">
                <a:pos x="csX926" y="csY926"/>
              </a:cxn>
              <a:cxn ang="0">
                <a:pos x="csX927" y="csY927"/>
              </a:cxn>
              <a:cxn ang="0">
                <a:pos x="csX928" y="csY928"/>
              </a:cxn>
              <a:cxn ang="0">
                <a:pos x="csX929" y="csY929"/>
              </a:cxn>
              <a:cxn ang="0">
                <a:pos x="csX930" y="csY930"/>
              </a:cxn>
              <a:cxn ang="0">
                <a:pos x="csX931" y="csY931"/>
              </a:cxn>
              <a:cxn ang="0">
                <a:pos x="csX932" y="csY932"/>
              </a:cxn>
              <a:cxn ang="0">
                <a:pos x="csX933" y="csY933"/>
              </a:cxn>
              <a:cxn ang="0">
                <a:pos x="csX934" y="csY934"/>
              </a:cxn>
              <a:cxn ang="0">
                <a:pos x="csX935" y="csY935"/>
              </a:cxn>
              <a:cxn ang="0">
                <a:pos x="csX936" y="csY936"/>
              </a:cxn>
              <a:cxn ang="0">
                <a:pos x="csX937" y="csY937"/>
              </a:cxn>
              <a:cxn ang="0">
                <a:pos x="csX938" y="csY938"/>
              </a:cxn>
              <a:cxn ang="0">
                <a:pos x="csX939" y="csY939"/>
              </a:cxn>
              <a:cxn ang="0">
                <a:pos x="csX940" y="csY940"/>
              </a:cxn>
              <a:cxn ang="0">
                <a:pos x="csX941" y="csY941"/>
              </a:cxn>
              <a:cxn ang="0">
                <a:pos x="csX942" y="csY942"/>
              </a:cxn>
              <a:cxn ang="0">
                <a:pos x="csX943" y="csY943"/>
              </a:cxn>
              <a:cxn ang="0">
                <a:pos x="csX944" y="csY944"/>
              </a:cxn>
              <a:cxn ang="0">
                <a:pos x="csX945" y="csY945"/>
              </a:cxn>
              <a:cxn ang="0">
                <a:pos x="csX946" y="csY946"/>
              </a:cxn>
              <a:cxn ang="0">
                <a:pos x="csX947" y="csY947"/>
              </a:cxn>
              <a:cxn ang="0">
                <a:pos x="csX948" y="csY948"/>
              </a:cxn>
              <a:cxn ang="0">
                <a:pos x="csX949" y="csY949"/>
              </a:cxn>
              <a:cxn ang="0">
                <a:pos x="csX950" y="csY950"/>
              </a:cxn>
              <a:cxn ang="0">
                <a:pos x="csX951" y="csY951"/>
              </a:cxn>
              <a:cxn ang="0">
                <a:pos x="csX952" y="csY952"/>
              </a:cxn>
              <a:cxn ang="0">
                <a:pos x="csX953" y="csY953"/>
              </a:cxn>
              <a:cxn ang="0">
                <a:pos x="csX954" y="csY954"/>
              </a:cxn>
              <a:cxn ang="0">
                <a:pos x="csX955" y="csY955"/>
              </a:cxn>
              <a:cxn ang="0">
                <a:pos x="csX956" y="csY956"/>
              </a:cxn>
              <a:cxn ang="0">
                <a:pos x="csX957" y="csY957"/>
              </a:cxn>
              <a:cxn ang="0">
                <a:pos x="csX958" y="csY958"/>
              </a:cxn>
              <a:cxn ang="0">
                <a:pos x="csX959" y="csY959"/>
              </a:cxn>
              <a:cxn ang="0">
                <a:pos x="csX960" y="csY960"/>
              </a:cxn>
              <a:cxn ang="0">
                <a:pos x="csX961" y="csY961"/>
              </a:cxn>
              <a:cxn ang="0">
                <a:pos x="csX962" y="csY962"/>
              </a:cxn>
              <a:cxn ang="0">
                <a:pos x="csX963" y="csY963"/>
              </a:cxn>
              <a:cxn ang="0">
                <a:pos x="csX964" y="csY964"/>
              </a:cxn>
              <a:cxn ang="0">
                <a:pos x="csX965" y="csY965"/>
              </a:cxn>
              <a:cxn ang="0">
                <a:pos x="csX966" y="csY966"/>
              </a:cxn>
              <a:cxn ang="0">
                <a:pos x="csX967" y="csY967"/>
              </a:cxn>
              <a:cxn ang="0">
                <a:pos x="csX968" y="csY968"/>
              </a:cxn>
              <a:cxn ang="0">
                <a:pos x="csX969" y="csY969"/>
              </a:cxn>
              <a:cxn ang="0">
                <a:pos x="csX970" y="csY970"/>
              </a:cxn>
              <a:cxn ang="0">
                <a:pos x="csX971" y="csY971"/>
              </a:cxn>
              <a:cxn ang="0">
                <a:pos x="csX972" y="csY972"/>
              </a:cxn>
              <a:cxn ang="0">
                <a:pos x="csX973" y="csY973"/>
              </a:cxn>
              <a:cxn ang="0">
                <a:pos x="csX974" y="csY974"/>
              </a:cxn>
              <a:cxn ang="0">
                <a:pos x="csX975" y="csY975"/>
              </a:cxn>
              <a:cxn ang="0">
                <a:pos x="csX976" y="csY976"/>
              </a:cxn>
              <a:cxn ang="0">
                <a:pos x="csX977" y="csY977"/>
              </a:cxn>
              <a:cxn ang="0">
                <a:pos x="csX978" y="csY978"/>
              </a:cxn>
              <a:cxn ang="0">
                <a:pos x="csX979" y="csY979"/>
              </a:cxn>
              <a:cxn ang="0">
                <a:pos x="csX980" y="csY980"/>
              </a:cxn>
              <a:cxn ang="0">
                <a:pos x="csX981" y="csY981"/>
              </a:cxn>
              <a:cxn ang="0">
                <a:pos x="csX982" y="csY982"/>
              </a:cxn>
              <a:cxn ang="0">
                <a:pos x="csX983" y="csY983"/>
              </a:cxn>
              <a:cxn ang="0">
                <a:pos x="csX984" y="csY984"/>
              </a:cxn>
              <a:cxn ang="0">
                <a:pos x="csX985" y="csY985"/>
              </a:cxn>
              <a:cxn ang="0">
                <a:pos x="csX986" y="csY986"/>
              </a:cxn>
              <a:cxn ang="0">
                <a:pos x="csX987" y="csY987"/>
              </a:cxn>
              <a:cxn ang="0">
                <a:pos x="csX988" y="csY988"/>
              </a:cxn>
              <a:cxn ang="0">
                <a:pos x="csX989" y="csY989"/>
              </a:cxn>
              <a:cxn ang="0">
                <a:pos x="csX990" y="csY990"/>
              </a:cxn>
              <a:cxn ang="0">
                <a:pos x="csX991" y="csY991"/>
              </a:cxn>
              <a:cxn ang="0">
                <a:pos x="csX992" y="csY992"/>
              </a:cxn>
              <a:cxn ang="0">
                <a:pos x="csX993" y="csY993"/>
              </a:cxn>
              <a:cxn ang="0">
                <a:pos x="csX994" y="csY994"/>
              </a:cxn>
              <a:cxn ang="0">
                <a:pos x="csX995" y="csY995"/>
              </a:cxn>
              <a:cxn ang="0">
                <a:pos x="csX996" y="csY996"/>
              </a:cxn>
              <a:cxn ang="0">
                <a:pos x="csX997" y="csY997"/>
              </a:cxn>
              <a:cxn ang="0">
                <a:pos x="csX998" y="csY998"/>
              </a:cxn>
              <a:cxn ang="0">
                <a:pos x="csX999" y="csY999"/>
              </a:cxn>
              <a:cxn ang="0">
                <a:pos x="csX1000" y="csY1000"/>
              </a:cxn>
              <a:cxn ang="0">
                <a:pos x="csX1001" y="csY1001"/>
              </a:cxn>
              <a:cxn ang="0">
                <a:pos x="csX1002" y="csY1002"/>
              </a:cxn>
              <a:cxn ang="0">
                <a:pos x="csX1003" y="csY1003"/>
              </a:cxn>
              <a:cxn ang="0">
                <a:pos x="csX1004" y="csY1004"/>
              </a:cxn>
              <a:cxn ang="0">
                <a:pos x="csX1005" y="csY1005"/>
              </a:cxn>
              <a:cxn ang="0">
                <a:pos x="csX1006" y="csY1006"/>
              </a:cxn>
              <a:cxn ang="0">
                <a:pos x="csX1007" y="csY1007"/>
              </a:cxn>
              <a:cxn ang="0">
                <a:pos x="csX1008" y="csY1008"/>
              </a:cxn>
              <a:cxn ang="0">
                <a:pos x="csX1009" y="csY1009"/>
              </a:cxn>
              <a:cxn ang="0">
                <a:pos x="csX1010" y="csY1010"/>
              </a:cxn>
              <a:cxn ang="0">
                <a:pos x="csX1011" y="csY1011"/>
              </a:cxn>
              <a:cxn ang="0">
                <a:pos x="csX1012" y="csY1012"/>
              </a:cxn>
              <a:cxn ang="0">
                <a:pos x="csX1013" y="csY1013"/>
              </a:cxn>
              <a:cxn ang="0">
                <a:pos x="csX1014" y="csY1014"/>
              </a:cxn>
              <a:cxn ang="0">
                <a:pos x="csX1015" y="csY1015"/>
              </a:cxn>
              <a:cxn ang="0">
                <a:pos x="csX1016" y="csY1016"/>
              </a:cxn>
              <a:cxn ang="0">
                <a:pos x="csX1017" y="csY1017"/>
              </a:cxn>
              <a:cxn ang="0">
                <a:pos x="csX1018" y="csY1018"/>
              </a:cxn>
              <a:cxn ang="0">
                <a:pos x="csX1019" y="csY1019"/>
              </a:cxn>
              <a:cxn ang="0">
                <a:pos x="csX1020" y="csY1020"/>
              </a:cxn>
              <a:cxn ang="0">
                <a:pos x="csX1021" y="csY1021"/>
              </a:cxn>
              <a:cxn ang="0">
                <a:pos x="csX1022" y="csY1022"/>
              </a:cxn>
              <a:cxn ang="0">
                <a:pos x="csX1023" y="csY1023"/>
              </a:cxn>
              <a:cxn ang="0">
                <a:pos x="csX1024" y="csY1024"/>
              </a:cxn>
              <a:cxn ang="0">
                <a:pos x="csX1025" y="csY1025"/>
              </a:cxn>
              <a:cxn ang="0">
                <a:pos x="csX1026" y="csY1026"/>
              </a:cxn>
              <a:cxn ang="0">
                <a:pos x="csX1027" y="csY1027"/>
              </a:cxn>
              <a:cxn ang="0">
                <a:pos x="csX1028" y="csY1028"/>
              </a:cxn>
              <a:cxn ang="0">
                <a:pos x="csX1029" y="csY1029"/>
              </a:cxn>
              <a:cxn ang="0">
                <a:pos x="csX1030" y="csY1030"/>
              </a:cxn>
              <a:cxn ang="0">
                <a:pos x="csX1031" y="csY1031"/>
              </a:cxn>
              <a:cxn ang="0">
                <a:pos x="csX1032" y="csY1032"/>
              </a:cxn>
              <a:cxn ang="0">
                <a:pos x="csX1033" y="csY1033"/>
              </a:cxn>
              <a:cxn ang="0">
                <a:pos x="csX1034" y="csY1034"/>
              </a:cxn>
              <a:cxn ang="0">
                <a:pos x="csX1035" y="csY1035"/>
              </a:cxn>
              <a:cxn ang="0">
                <a:pos x="csX1036" y="csY1036"/>
              </a:cxn>
              <a:cxn ang="0">
                <a:pos x="csX1037" y="csY1037"/>
              </a:cxn>
              <a:cxn ang="0">
                <a:pos x="csX1038" y="csY1038"/>
              </a:cxn>
              <a:cxn ang="0">
                <a:pos x="csX1039" y="csY1039"/>
              </a:cxn>
              <a:cxn ang="0">
                <a:pos x="csX1040" y="csY1040"/>
              </a:cxn>
              <a:cxn ang="0">
                <a:pos x="csX1041" y="csY1041"/>
              </a:cxn>
              <a:cxn ang="0">
                <a:pos x="csX1042" y="csY1042"/>
              </a:cxn>
              <a:cxn ang="0">
                <a:pos x="csX1043" y="csY1043"/>
              </a:cxn>
              <a:cxn ang="0">
                <a:pos x="csX1044" y="csY1044"/>
              </a:cxn>
              <a:cxn ang="0">
                <a:pos x="csX1045" y="csY1045"/>
              </a:cxn>
              <a:cxn ang="0">
                <a:pos x="csX1046" y="csY1046"/>
              </a:cxn>
              <a:cxn ang="0">
                <a:pos x="csX1047" y="csY1047"/>
              </a:cxn>
              <a:cxn ang="0">
                <a:pos x="csX1048" y="csY1048"/>
              </a:cxn>
              <a:cxn ang="0">
                <a:pos x="csX1049" y="csY1049"/>
              </a:cxn>
              <a:cxn ang="0">
                <a:pos x="csX1050" y="csY1050"/>
              </a:cxn>
              <a:cxn ang="0">
                <a:pos x="csX1051" y="csY1051"/>
              </a:cxn>
              <a:cxn ang="0">
                <a:pos x="csX1052" y="csY1052"/>
              </a:cxn>
              <a:cxn ang="0">
                <a:pos x="csX1053" y="csY1053"/>
              </a:cxn>
              <a:cxn ang="0">
                <a:pos x="csX1054" y="csY1054"/>
              </a:cxn>
            </a:cxnLst>
            <a:rect l="l" t="t" r="r" b="b"/>
            <a:pathLst>
              <a:path w="1609516" h="1538630">
                <a:moveTo>
                  <a:pt x="401579" y="1495809"/>
                </a:moveTo>
                <a:lnTo>
                  <a:pt x="400190" y="1496004"/>
                </a:lnTo>
                <a:lnTo>
                  <a:pt x="401224" y="1496470"/>
                </a:lnTo>
                <a:lnTo>
                  <a:pt x="401224" y="1498590"/>
                </a:lnTo>
                <a:lnTo>
                  <a:pt x="401579" y="1498628"/>
                </a:lnTo>
                <a:cubicBezTo>
                  <a:pt x="401579" y="1497698"/>
                  <a:pt x="401579" y="1496768"/>
                  <a:pt x="401579" y="1495809"/>
                </a:cubicBezTo>
                <a:close/>
                <a:moveTo>
                  <a:pt x="368755" y="1486512"/>
                </a:moveTo>
                <a:lnTo>
                  <a:pt x="364089" y="1487354"/>
                </a:lnTo>
                <a:lnTo>
                  <a:pt x="364089" y="1487908"/>
                </a:lnTo>
                <a:close/>
                <a:moveTo>
                  <a:pt x="1049801" y="1484562"/>
                </a:moveTo>
                <a:lnTo>
                  <a:pt x="1046735" y="1485945"/>
                </a:lnTo>
                <a:lnTo>
                  <a:pt x="1046955" y="1486045"/>
                </a:lnTo>
                <a:lnTo>
                  <a:pt x="1049801" y="1485188"/>
                </a:lnTo>
                <a:close/>
                <a:moveTo>
                  <a:pt x="351234" y="1444508"/>
                </a:moveTo>
                <a:lnTo>
                  <a:pt x="351234" y="1444997"/>
                </a:lnTo>
                <a:lnTo>
                  <a:pt x="351592" y="1445078"/>
                </a:lnTo>
                <a:close/>
                <a:moveTo>
                  <a:pt x="351908" y="1431206"/>
                </a:moveTo>
                <a:lnTo>
                  <a:pt x="351234" y="1431611"/>
                </a:lnTo>
                <a:lnTo>
                  <a:pt x="351234" y="1432274"/>
                </a:lnTo>
                <a:close/>
                <a:moveTo>
                  <a:pt x="358162" y="1421494"/>
                </a:moveTo>
                <a:lnTo>
                  <a:pt x="355921" y="1423156"/>
                </a:lnTo>
                <a:lnTo>
                  <a:pt x="355921" y="1423548"/>
                </a:lnTo>
                <a:close/>
                <a:moveTo>
                  <a:pt x="376098" y="1408347"/>
                </a:moveTo>
                <a:lnTo>
                  <a:pt x="370750" y="1412245"/>
                </a:lnTo>
                <a:lnTo>
                  <a:pt x="375023" y="1411256"/>
                </a:lnTo>
                <a:close/>
                <a:moveTo>
                  <a:pt x="421956" y="1365623"/>
                </a:moveTo>
                <a:lnTo>
                  <a:pt x="421765" y="1366161"/>
                </a:lnTo>
                <a:lnTo>
                  <a:pt x="421887" y="1366161"/>
                </a:lnTo>
                <a:close/>
                <a:moveTo>
                  <a:pt x="754553" y="1360575"/>
                </a:moveTo>
                <a:lnTo>
                  <a:pt x="754089" y="1361433"/>
                </a:lnTo>
                <a:lnTo>
                  <a:pt x="754431" y="1361125"/>
                </a:lnTo>
                <a:close/>
                <a:moveTo>
                  <a:pt x="1277973" y="1332923"/>
                </a:moveTo>
                <a:lnTo>
                  <a:pt x="1277944" y="1332936"/>
                </a:lnTo>
                <a:lnTo>
                  <a:pt x="1277949" y="1333139"/>
                </a:lnTo>
                <a:close/>
                <a:moveTo>
                  <a:pt x="1268556" y="1321066"/>
                </a:moveTo>
                <a:cubicBezTo>
                  <a:pt x="1268556" y="1322461"/>
                  <a:pt x="1268556" y="1323856"/>
                  <a:pt x="1268556" y="1325294"/>
                </a:cubicBezTo>
                <a:cubicBezTo>
                  <a:pt x="1267525" y="1325294"/>
                  <a:pt x="1266495" y="1325294"/>
                  <a:pt x="1265432" y="1325294"/>
                </a:cubicBezTo>
                <a:cubicBezTo>
                  <a:pt x="1265432" y="1330409"/>
                  <a:pt x="1265432" y="1335525"/>
                  <a:pt x="1265432" y="1340795"/>
                </a:cubicBezTo>
                <a:lnTo>
                  <a:pt x="1265476" y="1340714"/>
                </a:lnTo>
                <a:lnTo>
                  <a:pt x="1265476" y="1325877"/>
                </a:lnTo>
                <a:cubicBezTo>
                  <a:pt x="1266507" y="1325877"/>
                  <a:pt x="1267538" y="1325877"/>
                  <a:pt x="1268600" y="1325877"/>
                </a:cubicBezTo>
                <a:cubicBezTo>
                  <a:pt x="1268600" y="1324482"/>
                  <a:pt x="1268600" y="1323086"/>
                  <a:pt x="1268600" y="1321649"/>
                </a:cubicBezTo>
                <a:cubicBezTo>
                  <a:pt x="1270147" y="1321649"/>
                  <a:pt x="1271693" y="1321649"/>
                  <a:pt x="1273286" y="1321649"/>
                </a:cubicBezTo>
                <a:lnTo>
                  <a:pt x="1273227" y="1321066"/>
                </a:lnTo>
                <a:close/>
                <a:moveTo>
                  <a:pt x="827891" y="1291474"/>
                </a:moveTo>
                <a:lnTo>
                  <a:pt x="822601" y="1291544"/>
                </a:lnTo>
                <a:lnTo>
                  <a:pt x="818272" y="1292220"/>
                </a:lnTo>
                <a:lnTo>
                  <a:pt x="827891" y="1292047"/>
                </a:lnTo>
                <a:close/>
                <a:moveTo>
                  <a:pt x="856397" y="1288691"/>
                </a:moveTo>
                <a:lnTo>
                  <a:pt x="865903" y="1290590"/>
                </a:lnTo>
                <a:lnTo>
                  <a:pt x="859999" y="1288752"/>
                </a:lnTo>
                <a:close/>
                <a:moveTo>
                  <a:pt x="834694" y="1288572"/>
                </a:moveTo>
                <a:lnTo>
                  <a:pt x="828038" y="1288654"/>
                </a:lnTo>
                <a:lnTo>
                  <a:pt x="828038" y="1289214"/>
                </a:lnTo>
                <a:close/>
                <a:moveTo>
                  <a:pt x="229746" y="1191418"/>
                </a:moveTo>
                <a:lnTo>
                  <a:pt x="227402" y="1191947"/>
                </a:lnTo>
                <a:lnTo>
                  <a:pt x="229315" y="1191947"/>
                </a:lnTo>
                <a:cubicBezTo>
                  <a:pt x="229315" y="1192877"/>
                  <a:pt x="229315" y="1193807"/>
                  <a:pt x="229315" y="1194765"/>
                </a:cubicBezTo>
                <a:lnTo>
                  <a:pt x="231321" y="1194765"/>
                </a:lnTo>
                <a:lnTo>
                  <a:pt x="229746" y="1194236"/>
                </a:lnTo>
                <a:cubicBezTo>
                  <a:pt x="229746" y="1193306"/>
                  <a:pt x="229746" y="1192376"/>
                  <a:pt x="229746" y="1191418"/>
                </a:cubicBezTo>
                <a:close/>
                <a:moveTo>
                  <a:pt x="215687" y="1187190"/>
                </a:moveTo>
                <a:lnTo>
                  <a:pt x="215198" y="1187720"/>
                </a:lnTo>
                <a:lnTo>
                  <a:pt x="215256" y="1187720"/>
                </a:lnTo>
                <a:cubicBezTo>
                  <a:pt x="215256" y="1189115"/>
                  <a:pt x="215256" y="1190510"/>
                  <a:pt x="215256" y="1191947"/>
                </a:cubicBezTo>
                <a:lnTo>
                  <a:pt x="222721" y="1191947"/>
                </a:lnTo>
                <a:lnTo>
                  <a:pt x="215687" y="1191418"/>
                </a:lnTo>
                <a:cubicBezTo>
                  <a:pt x="215687" y="1190023"/>
                  <a:pt x="215687" y="1188628"/>
                  <a:pt x="215687" y="1187190"/>
                </a:cubicBezTo>
                <a:close/>
                <a:moveTo>
                  <a:pt x="1279678" y="1082356"/>
                </a:moveTo>
                <a:lnTo>
                  <a:pt x="1271680" y="1084589"/>
                </a:lnTo>
                <a:lnTo>
                  <a:pt x="1282181" y="1082544"/>
                </a:lnTo>
                <a:close/>
                <a:moveTo>
                  <a:pt x="117703" y="941507"/>
                </a:moveTo>
                <a:lnTo>
                  <a:pt x="112587" y="941985"/>
                </a:lnTo>
                <a:lnTo>
                  <a:pt x="112565" y="942333"/>
                </a:lnTo>
                <a:lnTo>
                  <a:pt x="115665" y="941837"/>
                </a:lnTo>
                <a:close/>
                <a:moveTo>
                  <a:pt x="144268" y="939395"/>
                </a:moveTo>
                <a:lnTo>
                  <a:pt x="143354" y="939580"/>
                </a:lnTo>
                <a:lnTo>
                  <a:pt x="144077" y="939739"/>
                </a:lnTo>
                <a:close/>
                <a:moveTo>
                  <a:pt x="162575" y="933530"/>
                </a:moveTo>
                <a:lnTo>
                  <a:pt x="161704" y="935101"/>
                </a:lnTo>
                <a:lnTo>
                  <a:pt x="170045" y="933585"/>
                </a:lnTo>
                <a:close/>
                <a:moveTo>
                  <a:pt x="1321645" y="918415"/>
                </a:moveTo>
                <a:lnTo>
                  <a:pt x="1321534" y="920177"/>
                </a:lnTo>
                <a:lnTo>
                  <a:pt x="1321740" y="918415"/>
                </a:lnTo>
                <a:close/>
                <a:moveTo>
                  <a:pt x="1319333" y="915183"/>
                </a:moveTo>
                <a:lnTo>
                  <a:pt x="1318544" y="918029"/>
                </a:lnTo>
                <a:lnTo>
                  <a:pt x="1318702" y="918029"/>
                </a:lnTo>
                <a:close/>
                <a:moveTo>
                  <a:pt x="1326355" y="907109"/>
                </a:moveTo>
                <a:lnTo>
                  <a:pt x="1326355" y="910983"/>
                </a:lnTo>
                <a:lnTo>
                  <a:pt x="1325831" y="911101"/>
                </a:lnTo>
                <a:lnTo>
                  <a:pt x="1326426" y="911369"/>
                </a:lnTo>
                <a:cubicBezTo>
                  <a:pt x="1326426" y="909974"/>
                  <a:pt x="1326426" y="908579"/>
                  <a:pt x="1326426" y="907141"/>
                </a:cubicBezTo>
                <a:close/>
                <a:moveTo>
                  <a:pt x="1328144" y="892192"/>
                </a:moveTo>
                <a:lnTo>
                  <a:pt x="1327667" y="893446"/>
                </a:lnTo>
                <a:lnTo>
                  <a:pt x="1327989" y="893049"/>
                </a:lnTo>
                <a:close/>
                <a:moveTo>
                  <a:pt x="49605" y="887420"/>
                </a:moveTo>
                <a:lnTo>
                  <a:pt x="48549" y="891229"/>
                </a:lnTo>
                <a:lnTo>
                  <a:pt x="49956" y="887420"/>
                </a:lnTo>
                <a:close/>
                <a:moveTo>
                  <a:pt x="1332266" y="883369"/>
                </a:moveTo>
                <a:lnTo>
                  <a:pt x="1329479" y="884207"/>
                </a:lnTo>
                <a:lnTo>
                  <a:pt x="1329509" y="884816"/>
                </a:lnTo>
                <a:lnTo>
                  <a:pt x="1329551" y="884594"/>
                </a:lnTo>
                <a:close/>
                <a:moveTo>
                  <a:pt x="1555987" y="821766"/>
                </a:moveTo>
                <a:lnTo>
                  <a:pt x="1555987" y="822201"/>
                </a:lnTo>
                <a:lnTo>
                  <a:pt x="1556081" y="822189"/>
                </a:lnTo>
                <a:close/>
                <a:moveTo>
                  <a:pt x="1565360" y="810928"/>
                </a:moveTo>
                <a:lnTo>
                  <a:pt x="1564871" y="811809"/>
                </a:lnTo>
                <a:lnTo>
                  <a:pt x="1567314" y="810928"/>
                </a:lnTo>
                <a:close/>
                <a:moveTo>
                  <a:pt x="1563797" y="810928"/>
                </a:moveTo>
                <a:lnTo>
                  <a:pt x="1556762" y="814736"/>
                </a:lnTo>
                <a:lnTo>
                  <a:pt x="1563797" y="812197"/>
                </a:lnTo>
                <a:close/>
                <a:moveTo>
                  <a:pt x="265833" y="806020"/>
                </a:moveTo>
                <a:lnTo>
                  <a:pt x="263704" y="809861"/>
                </a:lnTo>
                <a:lnTo>
                  <a:pt x="263704" y="816750"/>
                </a:lnTo>
                <a:lnTo>
                  <a:pt x="264113" y="816565"/>
                </a:lnTo>
                <a:cubicBezTo>
                  <a:pt x="264048" y="815315"/>
                  <a:pt x="263984" y="814065"/>
                  <a:pt x="263918" y="812777"/>
                </a:cubicBezTo>
                <a:close/>
                <a:moveTo>
                  <a:pt x="263774" y="779374"/>
                </a:moveTo>
                <a:lnTo>
                  <a:pt x="263704" y="783086"/>
                </a:lnTo>
                <a:cubicBezTo>
                  <a:pt x="263961" y="783987"/>
                  <a:pt x="264219" y="784888"/>
                  <a:pt x="264484" y="785816"/>
                </a:cubicBezTo>
                <a:cubicBezTo>
                  <a:pt x="265299" y="788846"/>
                  <a:pt x="265316" y="791337"/>
                  <a:pt x="265265" y="794448"/>
                </a:cubicBezTo>
                <a:cubicBezTo>
                  <a:pt x="265103" y="797155"/>
                  <a:pt x="265022" y="798508"/>
                  <a:pt x="265217" y="799730"/>
                </a:cubicBezTo>
                <a:lnTo>
                  <a:pt x="266556" y="803466"/>
                </a:lnTo>
                <a:lnTo>
                  <a:pt x="267237" y="801063"/>
                </a:lnTo>
                <a:cubicBezTo>
                  <a:pt x="266721" y="800598"/>
                  <a:pt x="266206" y="800133"/>
                  <a:pt x="265675" y="799654"/>
                </a:cubicBezTo>
                <a:cubicBezTo>
                  <a:pt x="265601" y="797718"/>
                  <a:pt x="265617" y="795778"/>
                  <a:pt x="265675" y="793841"/>
                </a:cubicBezTo>
                <a:close/>
                <a:moveTo>
                  <a:pt x="260988" y="770061"/>
                </a:moveTo>
                <a:lnTo>
                  <a:pt x="260988" y="771364"/>
                </a:lnTo>
                <a:lnTo>
                  <a:pt x="263497" y="777263"/>
                </a:lnTo>
                <a:lnTo>
                  <a:pt x="262551" y="770061"/>
                </a:lnTo>
                <a:cubicBezTo>
                  <a:pt x="262035" y="770061"/>
                  <a:pt x="261520" y="770061"/>
                  <a:pt x="260988" y="770061"/>
                </a:cubicBezTo>
                <a:close/>
                <a:moveTo>
                  <a:pt x="157888" y="651686"/>
                </a:moveTo>
                <a:lnTo>
                  <a:pt x="157415" y="651764"/>
                </a:lnTo>
                <a:lnTo>
                  <a:pt x="160373" y="652274"/>
                </a:lnTo>
                <a:close/>
                <a:moveTo>
                  <a:pt x="267237" y="426537"/>
                </a:moveTo>
                <a:lnTo>
                  <a:pt x="267237" y="427619"/>
                </a:lnTo>
                <a:cubicBezTo>
                  <a:pt x="268274" y="427791"/>
                  <a:pt x="269311" y="427961"/>
                  <a:pt x="270380" y="428137"/>
                </a:cubicBezTo>
                <a:lnTo>
                  <a:pt x="273548" y="428680"/>
                </a:lnTo>
                <a:close/>
                <a:moveTo>
                  <a:pt x="37605" y="359270"/>
                </a:moveTo>
                <a:lnTo>
                  <a:pt x="37103" y="361533"/>
                </a:lnTo>
                <a:lnTo>
                  <a:pt x="37605" y="361382"/>
                </a:lnTo>
                <a:close/>
                <a:moveTo>
                  <a:pt x="52477" y="337570"/>
                </a:moveTo>
                <a:lnTo>
                  <a:pt x="47288" y="342340"/>
                </a:lnTo>
                <a:lnTo>
                  <a:pt x="45805" y="345093"/>
                </a:lnTo>
                <a:close/>
                <a:moveTo>
                  <a:pt x="104291" y="336166"/>
                </a:moveTo>
                <a:lnTo>
                  <a:pt x="103776" y="337559"/>
                </a:lnTo>
                <a:lnTo>
                  <a:pt x="108925" y="336166"/>
                </a:lnTo>
                <a:close/>
                <a:moveTo>
                  <a:pt x="1309237" y="322954"/>
                </a:moveTo>
                <a:lnTo>
                  <a:pt x="1309180" y="330559"/>
                </a:lnTo>
                <a:lnTo>
                  <a:pt x="1309237" y="330520"/>
                </a:lnTo>
                <a:close/>
                <a:moveTo>
                  <a:pt x="1308964" y="317715"/>
                </a:moveTo>
                <a:lnTo>
                  <a:pt x="1309237" y="318569"/>
                </a:lnTo>
                <a:lnTo>
                  <a:pt x="1309237" y="317838"/>
                </a:lnTo>
                <a:close/>
                <a:moveTo>
                  <a:pt x="1310087" y="313153"/>
                </a:moveTo>
                <a:lnTo>
                  <a:pt x="1307609" y="313473"/>
                </a:lnTo>
                <a:lnTo>
                  <a:pt x="1308045" y="314836"/>
                </a:lnTo>
                <a:close/>
                <a:moveTo>
                  <a:pt x="1318544" y="312064"/>
                </a:moveTo>
                <a:lnTo>
                  <a:pt x="1316298" y="312353"/>
                </a:lnTo>
                <a:lnTo>
                  <a:pt x="1318544" y="312205"/>
                </a:lnTo>
                <a:close/>
                <a:moveTo>
                  <a:pt x="1084622" y="267674"/>
                </a:moveTo>
                <a:lnTo>
                  <a:pt x="1084227" y="268378"/>
                </a:lnTo>
                <a:cubicBezTo>
                  <a:pt x="1082679" y="268378"/>
                  <a:pt x="1081133" y="268378"/>
                  <a:pt x="1079540" y="268378"/>
                </a:cubicBezTo>
                <a:lnTo>
                  <a:pt x="1079603" y="268477"/>
                </a:lnTo>
                <a:lnTo>
                  <a:pt x="1084192" y="268477"/>
                </a:lnTo>
                <a:close/>
                <a:moveTo>
                  <a:pt x="956410" y="266968"/>
                </a:moveTo>
                <a:lnTo>
                  <a:pt x="957576" y="267083"/>
                </a:lnTo>
                <a:lnTo>
                  <a:pt x="957576" y="269776"/>
                </a:lnTo>
                <a:lnTo>
                  <a:pt x="957694" y="269787"/>
                </a:lnTo>
                <a:cubicBezTo>
                  <a:pt x="957694" y="268857"/>
                  <a:pt x="957694" y="267927"/>
                  <a:pt x="957694" y="266968"/>
                </a:cubicBezTo>
                <a:close/>
                <a:moveTo>
                  <a:pt x="1089372" y="259220"/>
                </a:moveTo>
                <a:lnTo>
                  <a:pt x="1085856" y="265479"/>
                </a:lnTo>
                <a:lnTo>
                  <a:pt x="1088878" y="261431"/>
                </a:lnTo>
                <a:close/>
                <a:moveTo>
                  <a:pt x="1018517" y="223356"/>
                </a:moveTo>
                <a:lnTo>
                  <a:pt x="1013866" y="226190"/>
                </a:lnTo>
                <a:lnTo>
                  <a:pt x="1013024" y="227709"/>
                </a:lnTo>
                <a:lnTo>
                  <a:pt x="1017055" y="224692"/>
                </a:lnTo>
                <a:close/>
                <a:moveTo>
                  <a:pt x="850645" y="220099"/>
                </a:moveTo>
                <a:lnTo>
                  <a:pt x="850897" y="221488"/>
                </a:lnTo>
                <a:cubicBezTo>
                  <a:pt x="851086" y="222545"/>
                  <a:pt x="851275" y="223602"/>
                  <a:pt x="851470" y="224692"/>
                </a:cubicBezTo>
                <a:lnTo>
                  <a:pt x="852860" y="224692"/>
                </a:lnTo>
                <a:close/>
                <a:moveTo>
                  <a:pt x="1155019" y="35"/>
                </a:moveTo>
                <a:cubicBezTo>
                  <a:pt x="1161775" y="275"/>
                  <a:pt x="1168415" y="1783"/>
                  <a:pt x="1174829" y="4853"/>
                </a:cubicBezTo>
                <a:cubicBezTo>
                  <a:pt x="1176343" y="5231"/>
                  <a:pt x="1177858" y="5609"/>
                  <a:pt x="1179418" y="5998"/>
                </a:cubicBezTo>
                <a:cubicBezTo>
                  <a:pt x="1189392" y="9487"/>
                  <a:pt x="1196322" y="14392"/>
                  <a:pt x="1201385" y="22997"/>
                </a:cubicBezTo>
                <a:cubicBezTo>
                  <a:pt x="1206849" y="35244"/>
                  <a:pt x="1206940" y="49865"/>
                  <a:pt x="1201678" y="62191"/>
                </a:cubicBezTo>
                <a:cubicBezTo>
                  <a:pt x="1200594" y="64241"/>
                  <a:pt x="1199461" y="66271"/>
                  <a:pt x="1198261" y="68268"/>
                </a:cubicBezTo>
                <a:cubicBezTo>
                  <a:pt x="1197423" y="69721"/>
                  <a:pt x="1196586" y="71175"/>
                  <a:pt x="1195723" y="72672"/>
                </a:cubicBezTo>
                <a:cubicBezTo>
                  <a:pt x="1194659" y="73980"/>
                  <a:pt x="1194659" y="73980"/>
                  <a:pt x="1193575" y="75314"/>
                </a:cubicBezTo>
                <a:cubicBezTo>
                  <a:pt x="1192544" y="75314"/>
                  <a:pt x="1191512" y="75314"/>
                  <a:pt x="1190450" y="75314"/>
                </a:cubicBezTo>
                <a:cubicBezTo>
                  <a:pt x="1190128" y="76651"/>
                  <a:pt x="1189806" y="77988"/>
                  <a:pt x="1189474" y="79366"/>
                </a:cubicBezTo>
                <a:cubicBezTo>
                  <a:pt x="1187326" y="83769"/>
                  <a:pt x="1187326" y="83769"/>
                  <a:pt x="1182445" y="85707"/>
                </a:cubicBezTo>
                <a:cubicBezTo>
                  <a:pt x="1180962" y="85998"/>
                  <a:pt x="1179480" y="86289"/>
                  <a:pt x="1177953" y="86588"/>
                </a:cubicBezTo>
                <a:cubicBezTo>
                  <a:pt x="1177953" y="87518"/>
                  <a:pt x="1177953" y="88448"/>
                  <a:pt x="1177953" y="89406"/>
                </a:cubicBezTo>
                <a:cubicBezTo>
                  <a:pt x="1175369" y="91088"/>
                  <a:pt x="1172720" y="92688"/>
                  <a:pt x="1170045" y="94251"/>
                </a:cubicBezTo>
                <a:cubicBezTo>
                  <a:pt x="1154651" y="104199"/>
                  <a:pt x="1148918" y="116979"/>
                  <a:pt x="1143806" y="132828"/>
                </a:cubicBezTo>
                <a:cubicBezTo>
                  <a:pt x="1142095" y="137144"/>
                  <a:pt x="1140989" y="138617"/>
                  <a:pt x="1137338" y="141548"/>
                </a:cubicBezTo>
                <a:cubicBezTo>
                  <a:pt x="1136166" y="144148"/>
                  <a:pt x="1134992" y="146751"/>
                  <a:pt x="1133970" y="149403"/>
                </a:cubicBezTo>
                <a:cubicBezTo>
                  <a:pt x="1132069" y="154334"/>
                  <a:pt x="1130006" y="159210"/>
                  <a:pt x="1127965" y="164095"/>
                </a:cubicBezTo>
                <a:cubicBezTo>
                  <a:pt x="1126897" y="166664"/>
                  <a:pt x="1125830" y="169233"/>
                  <a:pt x="1124762" y="171802"/>
                </a:cubicBezTo>
                <a:cubicBezTo>
                  <a:pt x="1122961" y="176134"/>
                  <a:pt x="1121160" y="180466"/>
                  <a:pt x="1119359" y="184798"/>
                </a:cubicBezTo>
                <a:cubicBezTo>
                  <a:pt x="1116567" y="191508"/>
                  <a:pt x="1113778" y="198220"/>
                  <a:pt x="1111014" y="204941"/>
                </a:cubicBezTo>
                <a:cubicBezTo>
                  <a:pt x="1110590" y="205970"/>
                  <a:pt x="1110165" y="206999"/>
                  <a:pt x="1109729" y="208059"/>
                </a:cubicBezTo>
                <a:cubicBezTo>
                  <a:pt x="1108615" y="210762"/>
                  <a:pt x="1107505" y="213466"/>
                  <a:pt x="1106395" y="216170"/>
                </a:cubicBezTo>
                <a:cubicBezTo>
                  <a:pt x="1104320" y="220956"/>
                  <a:pt x="1103283" y="223349"/>
                  <a:pt x="1102147" y="224810"/>
                </a:cubicBezTo>
                <a:lnTo>
                  <a:pt x="1098261" y="227262"/>
                </a:lnTo>
                <a:lnTo>
                  <a:pt x="1098367" y="238475"/>
                </a:lnTo>
                <a:cubicBezTo>
                  <a:pt x="1098025" y="239757"/>
                  <a:pt x="1097684" y="241038"/>
                  <a:pt x="1097331" y="242358"/>
                </a:cubicBezTo>
                <a:cubicBezTo>
                  <a:pt x="1096958" y="243711"/>
                  <a:pt x="1096585" y="245064"/>
                  <a:pt x="1096201" y="246458"/>
                </a:cubicBezTo>
                <a:cubicBezTo>
                  <a:pt x="1093302" y="257363"/>
                  <a:pt x="1090901" y="268062"/>
                  <a:pt x="1089440" y="279206"/>
                </a:cubicBezTo>
                <a:cubicBezTo>
                  <a:pt x="1088878" y="282569"/>
                  <a:pt x="1088878" y="282569"/>
                  <a:pt x="1087316" y="283978"/>
                </a:cubicBezTo>
                <a:cubicBezTo>
                  <a:pt x="1087070" y="286587"/>
                  <a:pt x="1086924" y="289205"/>
                  <a:pt x="1086822" y="291822"/>
                </a:cubicBezTo>
                <a:cubicBezTo>
                  <a:pt x="1086756" y="293408"/>
                  <a:pt x="1086691" y="294993"/>
                  <a:pt x="1086623" y="296625"/>
                </a:cubicBezTo>
                <a:cubicBezTo>
                  <a:pt x="1086562" y="298294"/>
                  <a:pt x="1086501" y="299962"/>
                  <a:pt x="1086437" y="301681"/>
                </a:cubicBezTo>
                <a:cubicBezTo>
                  <a:pt x="1086336" y="304192"/>
                  <a:pt x="1086336" y="304192"/>
                  <a:pt x="1086233" y="306754"/>
                </a:cubicBezTo>
                <a:lnTo>
                  <a:pt x="1086007" y="312619"/>
                </a:lnTo>
                <a:lnTo>
                  <a:pt x="1087470" y="320554"/>
                </a:lnTo>
                <a:cubicBezTo>
                  <a:pt x="1089648" y="325409"/>
                  <a:pt x="1093111" y="329799"/>
                  <a:pt x="1098285" y="334611"/>
                </a:cubicBezTo>
                <a:cubicBezTo>
                  <a:pt x="1100424" y="336130"/>
                  <a:pt x="1100424" y="336130"/>
                  <a:pt x="1102607" y="337679"/>
                </a:cubicBezTo>
                <a:cubicBezTo>
                  <a:pt x="1104334" y="338951"/>
                  <a:pt x="1104334" y="338951"/>
                  <a:pt x="1106095" y="340248"/>
                </a:cubicBezTo>
                <a:cubicBezTo>
                  <a:pt x="1106095" y="341178"/>
                  <a:pt x="1106095" y="342108"/>
                  <a:pt x="1106095" y="343066"/>
                </a:cubicBezTo>
                <a:cubicBezTo>
                  <a:pt x="1107127" y="343183"/>
                  <a:pt x="1108158" y="343299"/>
                  <a:pt x="1109220" y="343419"/>
                </a:cubicBezTo>
                <a:cubicBezTo>
                  <a:pt x="1115473" y="344829"/>
                  <a:pt x="1120724" y="347416"/>
                  <a:pt x="1126403" y="350112"/>
                </a:cubicBezTo>
                <a:cubicBezTo>
                  <a:pt x="1128207" y="350926"/>
                  <a:pt x="1130012" y="351740"/>
                  <a:pt x="1131871" y="352579"/>
                </a:cubicBezTo>
                <a:cubicBezTo>
                  <a:pt x="1133159" y="353160"/>
                  <a:pt x="1134448" y="353741"/>
                  <a:pt x="1135776" y="354340"/>
                </a:cubicBezTo>
                <a:cubicBezTo>
                  <a:pt x="1135776" y="355270"/>
                  <a:pt x="1135776" y="356200"/>
                  <a:pt x="1135776" y="357158"/>
                </a:cubicBezTo>
                <a:cubicBezTo>
                  <a:pt x="1148107" y="360029"/>
                  <a:pt x="1158679" y="359101"/>
                  <a:pt x="1170143" y="354340"/>
                </a:cubicBezTo>
                <a:cubicBezTo>
                  <a:pt x="1172366" y="353468"/>
                  <a:pt x="1172366" y="353468"/>
                  <a:pt x="1174634" y="352579"/>
                </a:cubicBezTo>
                <a:cubicBezTo>
                  <a:pt x="1180354" y="349689"/>
                  <a:pt x="1185568" y="346355"/>
                  <a:pt x="1190890" y="342907"/>
                </a:cubicBezTo>
                <a:cubicBezTo>
                  <a:pt x="1195169" y="340228"/>
                  <a:pt x="1199557" y="337821"/>
                  <a:pt x="1204021" y="335404"/>
                </a:cubicBezTo>
                <a:cubicBezTo>
                  <a:pt x="1211989" y="330886"/>
                  <a:pt x="1217509" y="325766"/>
                  <a:pt x="1223255" y="319110"/>
                </a:cubicBezTo>
                <a:cubicBezTo>
                  <a:pt x="1224447" y="317947"/>
                  <a:pt x="1225639" y="316784"/>
                  <a:pt x="1226868" y="315587"/>
                </a:cubicBezTo>
                <a:cubicBezTo>
                  <a:pt x="1229855" y="311593"/>
                  <a:pt x="1230852" y="308240"/>
                  <a:pt x="1231859" y="303559"/>
                </a:cubicBezTo>
                <a:cubicBezTo>
                  <a:pt x="1232628" y="300790"/>
                  <a:pt x="1232628" y="300790"/>
                  <a:pt x="1234178" y="298059"/>
                </a:cubicBezTo>
                <a:cubicBezTo>
                  <a:pt x="1235964" y="294761"/>
                  <a:pt x="1236623" y="291807"/>
                  <a:pt x="1237314" y="288195"/>
                </a:cubicBezTo>
                <a:cubicBezTo>
                  <a:pt x="1239360" y="278571"/>
                  <a:pt x="1242414" y="272733"/>
                  <a:pt x="1249811" y="265559"/>
                </a:cubicBezTo>
                <a:cubicBezTo>
                  <a:pt x="1250842" y="265559"/>
                  <a:pt x="1251873" y="265559"/>
                  <a:pt x="1252935" y="265559"/>
                </a:cubicBezTo>
                <a:cubicBezTo>
                  <a:pt x="1252935" y="264629"/>
                  <a:pt x="1252935" y="263699"/>
                  <a:pt x="1252935" y="262741"/>
                </a:cubicBezTo>
                <a:cubicBezTo>
                  <a:pt x="1265591" y="253427"/>
                  <a:pt x="1280762" y="251648"/>
                  <a:pt x="1296675" y="252876"/>
                </a:cubicBezTo>
                <a:cubicBezTo>
                  <a:pt x="1300535" y="253563"/>
                  <a:pt x="1303901" y="254478"/>
                  <a:pt x="1307609" y="255695"/>
                </a:cubicBezTo>
                <a:cubicBezTo>
                  <a:pt x="1307609" y="256625"/>
                  <a:pt x="1307609" y="257555"/>
                  <a:pt x="1307609" y="258513"/>
                </a:cubicBezTo>
                <a:cubicBezTo>
                  <a:pt x="1309021" y="258619"/>
                  <a:pt x="1310432" y="258723"/>
                  <a:pt x="1311887" y="258832"/>
                </a:cubicBezTo>
                <a:cubicBezTo>
                  <a:pt x="1319573" y="260476"/>
                  <a:pt x="1322149" y="264416"/>
                  <a:pt x="1326715" y="269969"/>
                </a:cubicBezTo>
                <a:cubicBezTo>
                  <a:pt x="1334402" y="281220"/>
                  <a:pt x="1336114" y="294839"/>
                  <a:pt x="1334165" y="307836"/>
                </a:cubicBezTo>
                <a:cubicBezTo>
                  <a:pt x="1332176" y="311898"/>
                  <a:pt x="1332176" y="311898"/>
                  <a:pt x="1329479" y="314882"/>
                </a:cubicBezTo>
                <a:cubicBezTo>
                  <a:pt x="1327417" y="314882"/>
                  <a:pt x="1325355" y="314882"/>
                  <a:pt x="1323231" y="314882"/>
                </a:cubicBezTo>
                <a:cubicBezTo>
                  <a:pt x="1323231" y="315812"/>
                  <a:pt x="1323231" y="316742"/>
                  <a:pt x="1323231" y="317700"/>
                </a:cubicBezTo>
                <a:lnTo>
                  <a:pt x="1322774" y="317838"/>
                </a:lnTo>
                <a:lnTo>
                  <a:pt x="1323295" y="317838"/>
                </a:lnTo>
                <a:cubicBezTo>
                  <a:pt x="1323295" y="316907"/>
                  <a:pt x="1323295" y="315977"/>
                  <a:pt x="1323295" y="315019"/>
                </a:cubicBezTo>
                <a:cubicBezTo>
                  <a:pt x="1324842" y="315019"/>
                  <a:pt x="1326388" y="315019"/>
                  <a:pt x="1327982" y="315019"/>
                </a:cubicBezTo>
                <a:cubicBezTo>
                  <a:pt x="1325845" y="321328"/>
                  <a:pt x="1322753" y="323742"/>
                  <a:pt x="1317047" y="327702"/>
                </a:cubicBezTo>
                <a:cubicBezTo>
                  <a:pt x="1316531" y="329097"/>
                  <a:pt x="1316016" y="330492"/>
                  <a:pt x="1315484" y="331930"/>
                </a:cubicBezTo>
                <a:cubicBezTo>
                  <a:pt x="1312599" y="332959"/>
                  <a:pt x="1312599" y="332959"/>
                  <a:pt x="1309139" y="333603"/>
                </a:cubicBezTo>
                <a:cubicBezTo>
                  <a:pt x="1307993" y="333827"/>
                  <a:pt x="1306847" y="334050"/>
                  <a:pt x="1305666" y="334280"/>
                </a:cubicBezTo>
                <a:cubicBezTo>
                  <a:pt x="1304783" y="334434"/>
                  <a:pt x="1303899" y="334589"/>
                  <a:pt x="1302988" y="334748"/>
                </a:cubicBezTo>
                <a:lnTo>
                  <a:pt x="1305905" y="332775"/>
                </a:lnTo>
                <a:lnTo>
                  <a:pt x="1304485" y="333202"/>
                </a:lnTo>
                <a:cubicBezTo>
                  <a:pt x="1302987" y="334640"/>
                  <a:pt x="1302987" y="334640"/>
                  <a:pt x="1301459" y="336108"/>
                </a:cubicBezTo>
                <a:cubicBezTo>
                  <a:pt x="1298237" y="338839"/>
                  <a:pt x="1298237" y="338839"/>
                  <a:pt x="1291989" y="338839"/>
                </a:cubicBezTo>
                <a:cubicBezTo>
                  <a:pt x="1291473" y="340234"/>
                  <a:pt x="1290957" y="341629"/>
                  <a:pt x="1290426" y="343066"/>
                </a:cubicBezTo>
                <a:cubicBezTo>
                  <a:pt x="1288879" y="343415"/>
                  <a:pt x="1287333" y="343764"/>
                  <a:pt x="1285740" y="344123"/>
                </a:cubicBezTo>
                <a:cubicBezTo>
                  <a:pt x="1266905" y="348491"/>
                  <a:pt x="1249005" y="369098"/>
                  <a:pt x="1237314" y="382525"/>
                </a:cubicBezTo>
                <a:cubicBezTo>
                  <a:pt x="1235678" y="385783"/>
                  <a:pt x="1234122" y="389075"/>
                  <a:pt x="1232628" y="392389"/>
                </a:cubicBezTo>
                <a:cubicBezTo>
                  <a:pt x="1231317" y="394515"/>
                  <a:pt x="1229981" y="396629"/>
                  <a:pt x="1228625" y="398731"/>
                </a:cubicBezTo>
                <a:cubicBezTo>
                  <a:pt x="1221457" y="410300"/>
                  <a:pt x="1219465" y="421836"/>
                  <a:pt x="1222822" y="434798"/>
                </a:cubicBezTo>
                <a:cubicBezTo>
                  <a:pt x="1229360" y="453710"/>
                  <a:pt x="1244088" y="472467"/>
                  <a:pt x="1260746" y="485398"/>
                </a:cubicBezTo>
                <a:cubicBezTo>
                  <a:pt x="1264961" y="487349"/>
                  <a:pt x="1264961" y="487349"/>
                  <a:pt x="1268556" y="488216"/>
                </a:cubicBezTo>
                <a:cubicBezTo>
                  <a:pt x="1268556" y="489146"/>
                  <a:pt x="1268556" y="490076"/>
                  <a:pt x="1268556" y="491034"/>
                </a:cubicBezTo>
                <a:cubicBezTo>
                  <a:pt x="1288790" y="497071"/>
                  <a:pt x="1319055" y="498555"/>
                  <a:pt x="1338852" y="489625"/>
                </a:cubicBezTo>
                <a:cubicBezTo>
                  <a:pt x="1341711" y="489213"/>
                  <a:pt x="1344575" y="488837"/>
                  <a:pt x="1347444" y="488480"/>
                </a:cubicBezTo>
                <a:cubicBezTo>
                  <a:pt x="1355372" y="487345"/>
                  <a:pt x="1362033" y="485390"/>
                  <a:pt x="1369362" y="482513"/>
                </a:cubicBezTo>
                <a:cubicBezTo>
                  <a:pt x="1375665" y="480318"/>
                  <a:pt x="1382189" y="479322"/>
                  <a:pt x="1388840" y="478351"/>
                </a:cubicBezTo>
                <a:cubicBezTo>
                  <a:pt x="1388840" y="477421"/>
                  <a:pt x="1388840" y="476492"/>
                  <a:pt x="1388840" y="475533"/>
                </a:cubicBezTo>
                <a:cubicBezTo>
                  <a:pt x="1391083" y="474821"/>
                  <a:pt x="1393329" y="474118"/>
                  <a:pt x="1395576" y="473419"/>
                </a:cubicBezTo>
                <a:cubicBezTo>
                  <a:pt x="1396827" y="473027"/>
                  <a:pt x="1398077" y="472635"/>
                  <a:pt x="1399365" y="472230"/>
                </a:cubicBezTo>
                <a:cubicBezTo>
                  <a:pt x="1402899" y="471305"/>
                  <a:pt x="1402899" y="471305"/>
                  <a:pt x="1407585" y="471305"/>
                </a:cubicBezTo>
                <a:cubicBezTo>
                  <a:pt x="1408101" y="469910"/>
                  <a:pt x="1408616" y="468515"/>
                  <a:pt x="1409147" y="467078"/>
                </a:cubicBezTo>
                <a:cubicBezTo>
                  <a:pt x="1412388" y="465580"/>
                  <a:pt x="1412388" y="465580"/>
                  <a:pt x="1416470" y="464259"/>
                </a:cubicBezTo>
                <a:cubicBezTo>
                  <a:pt x="1424029" y="461705"/>
                  <a:pt x="1431130" y="458955"/>
                  <a:pt x="1437949" y="455011"/>
                </a:cubicBezTo>
                <a:cubicBezTo>
                  <a:pt x="1442765" y="452574"/>
                  <a:pt x="1447553" y="451394"/>
                  <a:pt x="1452887" y="450167"/>
                </a:cubicBezTo>
                <a:cubicBezTo>
                  <a:pt x="1452887" y="449237"/>
                  <a:pt x="1452887" y="448307"/>
                  <a:pt x="1452887" y="447349"/>
                </a:cubicBezTo>
                <a:cubicBezTo>
                  <a:pt x="1453714" y="446944"/>
                  <a:pt x="1454541" y="446539"/>
                  <a:pt x="1455394" y="446122"/>
                </a:cubicBezTo>
                <a:cubicBezTo>
                  <a:pt x="1459151" y="444278"/>
                  <a:pt x="1462902" y="442422"/>
                  <a:pt x="1466653" y="440567"/>
                </a:cubicBezTo>
                <a:cubicBezTo>
                  <a:pt x="1467955" y="439930"/>
                  <a:pt x="1469256" y="439293"/>
                  <a:pt x="1470598" y="438637"/>
                </a:cubicBezTo>
                <a:cubicBezTo>
                  <a:pt x="1471852" y="438016"/>
                  <a:pt x="1473105" y="437393"/>
                  <a:pt x="1474397" y="436752"/>
                </a:cubicBezTo>
                <a:cubicBezTo>
                  <a:pt x="1475550" y="436184"/>
                  <a:pt x="1476703" y="435616"/>
                  <a:pt x="1477892" y="435030"/>
                </a:cubicBezTo>
                <a:cubicBezTo>
                  <a:pt x="1480966" y="433279"/>
                  <a:pt x="1483173" y="431373"/>
                  <a:pt x="1485691" y="429029"/>
                </a:cubicBezTo>
                <a:cubicBezTo>
                  <a:pt x="1486737" y="428575"/>
                  <a:pt x="1487781" y="428121"/>
                  <a:pt x="1488858" y="427653"/>
                </a:cubicBezTo>
                <a:cubicBezTo>
                  <a:pt x="1492438" y="425977"/>
                  <a:pt x="1493705" y="424453"/>
                  <a:pt x="1495943" y="421454"/>
                </a:cubicBezTo>
                <a:cubicBezTo>
                  <a:pt x="1507114" y="407544"/>
                  <a:pt x="1519758" y="393513"/>
                  <a:pt x="1538608" y="388338"/>
                </a:cubicBezTo>
                <a:cubicBezTo>
                  <a:pt x="1541025" y="388250"/>
                  <a:pt x="1541025" y="388250"/>
                  <a:pt x="1543490" y="388161"/>
                </a:cubicBezTo>
                <a:cubicBezTo>
                  <a:pt x="1545535" y="387984"/>
                  <a:pt x="1545535" y="387984"/>
                  <a:pt x="1547621" y="387804"/>
                </a:cubicBezTo>
                <a:cubicBezTo>
                  <a:pt x="1560659" y="387094"/>
                  <a:pt x="1568716" y="390117"/>
                  <a:pt x="1579418" y="396617"/>
                </a:cubicBezTo>
                <a:cubicBezTo>
                  <a:pt x="1581361" y="397687"/>
                  <a:pt x="1581361" y="397687"/>
                  <a:pt x="1583342" y="398780"/>
                </a:cubicBezTo>
                <a:cubicBezTo>
                  <a:pt x="1593703" y="405068"/>
                  <a:pt x="1598513" y="412459"/>
                  <a:pt x="1601288" y="423392"/>
                </a:cubicBezTo>
                <a:cubicBezTo>
                  <a:pt x="1603295" y="436596"/>
                  <a:pt x="1603517" y="449033"/>
                  <a:pt x="1594484" y="460159"/>
                </a:cubicBezTo>
                <a:cubicBezTo>
                  <a:pt x="1588468" y="466462"/>
                  <a:pt x="1582607" y="471150"/>
                  <a:pt x="1574732" y="475533"/>
                </a:cubicBezTo>
                <a:cubicBezTo>
                  <a:pt x="1573862" y="476043"/>
                  <a:pt x="1572993" y="476553"/>
                  <a:pt x="1572097" y="477078"/>
                </a:cubicBezTo>
                <a:cubicBezTo>
                  <a:pt x="1566828" y="478935"/>
                  <a:pt x="1561641" y="478744"/>
                  <a:pt x="1556066" y="478737"/>
                </a:cubicBezTo>
                <a:cubicBezTo>
                  <a:pt x="1553587" y="478765"/>
                  <a:pt x="1551109" y="478795"/>
                  <a:pt x="1548631" y="478825"/>
                </a:cubicBezTo>
                <a:cubicBezTo>
                  <a:pt x="1544751" y="478857"/>
                  <a:pt x="1540871" y="478880"/>
                  <a:pt x="1536991" y="478889"/>
                </a:cubicBezTo>
                <a:cubicBezTo>
                  <a:pt x="1516714" y="478693"/>
                  <a:pt x="1516714" y="478693"/>
                  <a:pt x="1498188" y="485398"/>
                </a:cubicBezTo>
                <a:cubicBezTo>
                  <a:pt x="1496062" y="486488"/>
                  <a:pt x="1496062" y="486488"/>
                  <a:pt x="1493892" y="487600"/>
                </a:cubicBezTo>
                <a:cubicBezTo>
                  <a:pt x="1492733" y="488268"/>
                  <a:pt x="1491573" y="488937"/>
                  <a:pt x="1490377" y="489625"/>
                </a:cubicBezTo>
                <a:cubicBezTo>
                  <a:pt x="1484304" y="493012"/>
                  <a:pt x="1478212" y="495675"/>
                  <a:pt x="1471650" y="498185"/>
                </a:cubicBezTo>
                <a:cubicBezTo>
                  <a:pt x="1467148" y="500054"/>
                  <a:pt x="1463242" y="502632"/>
                  <a:pt x="1459135" y="505127"/>
                </a:cubicBezTo>
                <a:cubicBezTo>
                  <a:pt x="1456968" y="506120"/>
                  <a:pt x="1454786" y="507086"/>
                  <a:pt x="1452594" y="508033"/>
                </a:cubicBezTo>
                <a:cubicBezTo>
                  <a:pt x="1444148" y="511772"/>
                  <a:pt x="1435969" y="515903"/>
                  <a:pt x="1427795" y="520100"/>
                </a:cubicBezTo>
                <a:cubicBezTo>
                  <a:pt x="1425784" y="521114"/>
                  <a:pt x="1425784" y="521114"/>
                  <a:pt x="1423733" y="522148"/>
                </a:cubicBezTo>
                <a:cubicBezTo>
                  <a:pt x="1422478" y="522798"/>
                  <a:pt x="1421223" y="523449"/>
                  <a:pt x="1419929" y="524118"/>
                </a:cubicBezTo>
                <a:cubicBezTo>
                  <a:pt x="1418794" y="524701"/>
                  <a:pt x="1417658" y="525283"/>
                  <a:pt x="1416487" y="525883"/>
                </a:cubicBezTo>
                <a:cubicBezTo>
                  <a:pt x="1413349" y="527646"/>
                  <a:pt x="1413349" y="527646"/>
                  <a:pt x="1412271" y="531902"/>
                </a:cubicBezTo>
                <a:cubicBezTo>
                  <a:pt x="1407205" y="535203"/>
                  <a:pt x="1402819" y="536744"/>
                  <a:pt x="1396650" y="537539"/>
                </a:cubicBezTo>
                <a:cubicBezTo>
                  <a:pt x="1396650" y="538469"/>
                  <a:pt x="1396650" y="539399"/>
                  <a:pt x="1396650" y="540357"/>
                </a:cubicBezTo>
                <a:cubicBezTo>
                  <a:pt x="1395609" y="540735"/>
                  <a:pt x="1394568" y="541113"/>
                  <a:pt x="1393495" y="541502"/>
                </a:cubicBezTo>
                <a:cubicBezTo>
                  <a:pt x="1381840" y="545973"/>
                  <a:pt x="1372279" y="551715"/>
                  <a:pt x="1362284" y="558678"/>
                </a:cubicBezTo>
                <a:cubicBezTo>
                  <a:pt x="1360170" y="560088"/>
                  <a:pt x="1358055" y="561497"/>
                  <a:pt x="1355937" y="562905"/>
                </a:cubicBezTo>
                <a:cubicBezTo>
                  <a:pt x="1348556" y="567937"/>
                  <a:pt x="1341292" y="573085"/>
                  <a:pt x="1334165" y="578406"/>
                </a:cubicBezTo>
                <a:cubicBezTo>
                  <a:pt x="1332697" y="579472"/>
                  <a:pt x="1332697" y="579472"/>
                  <a:pt x="1331200" y="580559"/>
                </a:cubicBezTo>
                <a:cubicBezTo>
                  <a:pt x="1325067" y="585430"/>
                  <a:pt x="1323406" y="589771"/>
                  <a:pt x="1322175" y="596793"/>
                </a:cubicBezTo>
                <a:cubicBezTo>
                  <a:pt x="1321669" y="599545"/>
                  <a:pt x="1321669" y="599545"/>
                  <a:pt x="1320106" y="602363"/>
                </a:cubicBezTo>
                <a:cubicBezTo>
                  <a:pt x="1318419" y="618189"/>
                  <a:pt x="1322416" y="632767"/>
                  <a:pt x="1328015" y="647640"/>
                </a:cubicBezTo>
                <a:cubicBezTo>
                  <a:pt x="1331267" y="656625"/>
                  <a:pt x="1333170" y="666179"/>
                  <a:pt x="1332604" y="675643"/>
                </a:cubicBezTo>
                <a:cubicBezTo>
                  <a:pt x="1333634" y="675643"/>
                  <a:pt x="1334665" y="675643"/>
                  <a:pt x="1335727" y="675643"/>
                </a:cubicBezTo>
                <a:cubicBezTo>
                  <a:pt x="1337571" y="680632"/>
                  <a:pt x="1337591" y="684795"/>
                  <a:pt x="1337741" y="690059"/>
                </a:cubicBezTo>
                <a:cubicBezTo>
                  <a:pt x="1337826" y="692114"/>
                  <a:pt x="1337913" y="694168"/>
                  <a:pt x="1338003" y="696222"/>
                </a:cubicBezTo>
                <a:cubicBezTo>
                  <a:pt x="1338142" y="699444"/>
                  <a:pt x="1338266" y="702664"/>
                  <a:pt x="1338340" y="705887"/>
                </a:cubicBezTo>
                <a:cubicBezTo>
                  <a:pt x="1338372" y="720474"/>
                  <a:pt x="1338372" y="720474"/>
                  <a:pt x="1345277" y="733245"/>
                </a:cubicBezTo>
                <a:cubicBezTo>
                  <a:pt x="1350822" y="737861"/>
                  <a:pt x="1355921" y="739823"/>
                  <a:pt x="1363162" y="741612"/>
                </a:cubicBezTo>
                <a:cubicBezTo>
                  <a:pt x="1370672" y="743533"/>
                  <a:pt x="1377197" y="745750"/>
                  <a:pt x="1384154" y="748922"/>
                </a:cubicBezTo>
                <a:cubicBezTo>
                  <a:pt x="1387833" y="749898"/>
                  <a:pt x="1387833" y="749898"/>
                  <a:pt x="1391476" y="750419"/>
                </a:cubicBezTo>
                <a:cubicBezTo>
                  <a:pt x="1393499" y="750747"/>
                  <a:pt x="1393499" y="750747"/>
                  <a:pt x="1395564" y="751080"/>
                </a:cubicBezTo>
                <a:cubicBezTo>
                  <a:pt x="1397648" y="751407"/>
                  <a:pt x="1397648" y="751407"/>
                  <a:pt x="1399775" y="751740"/>
                </a:cubicBezTo>
                <a:cubicBezTo>
                  <a:pt x="1401810" y="752111"/>
                  <a:pt x="1401810" y="752111"/>
                  <a:pt x="1403887" y="752489"/>
                </a:cubicBezTo>
                <a:cubicBezTo>
                  <a:pt x="1424247" y="756131"/>
                  <a:pt x="1444708" y="756350"/>
                  <a:pt x="1465383" y="755969"/>
                </a:cubicBezTo>
                <a:cubicBezTo>
                  <a:pt x="1467019" y="755945"/>
                  <a:pt x="1468654" y="755921"/>
                  <a:pt x="1470339" y="755897"/>
                </a:cubicBezTo>
                <a:cubicBezTo>
                  <a:pt x="1480128" y="755450"/>
                  <a:pt x="1487899" y="752933"/>
                  <a:pt x="1496809" y="749313"/>
                </a:cubicBezTo>
                <a:cubicBezTo>
                  <a:pt x="1502876" y="746888"/>
                  <a:pt x="1509049" y="745091"/>
                  <a:pt x="1515371" y="743285"/>
                </a:cubicBezTo>
                <a:cubicBezTo>
                  <a:pt x="1515371" y="742356"/>
                  <a:pt x="1515371" y="741425"/>
                  <a:pt x="1515371" y="740467"/>
                </a:cubicBezTo>
                <a:cubicBezTo>
                  <a:pt x="1522710" y="737103"/>
                  <a:pt x="1529583" y="737106"/>
                  <a:pt x="1537632" y="737120"/>
                </a:cubicBezTo>
                <a:cubicBezTo>
                  <a:pt x="1538960" y="737122"/>
                  <a:pt x="1540289" y="737124"/>
                  <a:pt x="1541657" y="737127"/>
                </a:cubicBezTo>
                <a:cubicBezTo>
                  <a:pt x="1555502" y="737372"/>
                  <a:pt x="1564314" y="740697"/>
                  <a:pt x="1574732" y="748922"/>
                </a:cubicBezTo>
                <a:cubicBezTo>
                  <a:pt x="1586507" y="762822"/>
                  <a:pt x="1590347" y="775219"/>
                  <a:pt x="1588791" y="792608"/>
                </a:cubicBezTo>
                <a:cubicBezTo>
                  <a:pt x="1587728" y="797050"/>
                  <a:pt x="1586468" y="801261"/>
                  <a:pt x="1584105" y="805291"/>
                </a:cubicBezTo>
                <a:cubicBezTo>
                  <a:pt x="1583074" y="805756"/>
                  <a:pt x="1582043" y="806221"/>
                  <a:pt x="1580981" y="806700"/>
                </a:cubicBezTo>
                <a:cubicBezTo>
                  <a:pt x="1580240" y="807892"/>
                  <a:pt x="1579499" y="809083"/>
                  <a:pt x="1578735" y="810311"/>
                </a:cubicBezTo>
                <a:cubicBezTo>
                  <a:pt x="1577930" y="811445"/>
                  <a:pt x="1577124" y="812579"/>
                  <a:pt x="1576295" y="813746"/>
                </a:cubicBezTo>
                <a:lnTo>
                  <a:pt x="1571652" y="813746"/>
                </a:lnTo>
                <a:lnTo>
                  <a:pt x="1571785" y="814106"/>
                </a:lnTo>
                <a:cubicBezTo>
                  <a:pt x="1572816" y="814571"/>
                  <a:pt x="1573846" y="815036"/>
                  <a:pt x="1574909" y="815515"/>
                </a:cubicBezTo>
                <a:cubicBezTo>
                  <a:pt x="1572126" y="818758"/>
                  <a:pt x="1569968" y="820871"/>
                  <a:pt x="1565463" y="821839"/>
                </a:cubicBezTo>
                <a:lnTo>
                  <a:pt x="1562085" y="822101"/>
                </a:lnTo>
                <a:lnTo>
                  <a:pt x="1551301" y="825020"/>
                </a:lnTo>
                <a:cubicBezTo>
                  <a:pt x="1551301" y="825950"/>
                  <a:pt x="1551301" y="826880"/>
                  <a:pt x="1551301" y="827838"/>
                </a:cubicBezTo>
                <a:cubicBezTo>
                  <a:pt x="1526697" y="828735"/>
                  <a:pt x="1507496" y="825036"/>
                  <a:pt x="1485380" y="815007"/>
                </a:cubicBezTo>
                <a:cubicBezTo>
                  <a:pt x="1468723" y="807743"/>
                  <a:pt x="1449749" y="809144"/>
                  <a:pt x="1431603" y="808726"/>
                </a:cubicBezTo>
                <a:cubicBezTo>
                  <a:pt x="1429115" y="808665"/>
                  <a:pt x="1426627" y="808604"/>
                  <a:pt x="1424140" y="808542"/>
                </a:cubicBezTo>
                <a:cubicBezTo>
                  <a:pt x="1418101" y="808392"/>
                  <a:pt x="1412062" y="808249"/>
                  <a:pt x="1406023" y="808109"/>
                </a:cubicBezTo>
                <a:cubicBezTo>
                  <a:pt x="1406023" y="809040"/>
                  <a:pt x="1406023" y="809970"/>
                  <a:pt x="1406023" y="810928"/>
                </a:cubicBezTo>
                <a:cubicBezTo>
                  <a:pt x="1404716" y="811118"/>
                  <a:pt x="1404716" y="811118"/>
                  <a:pt x="1403383" y="811311"/>
                </a:cubicBezTo>
                <a:cubicBezTo>
                  <a:pt x="1372054" y="815110"/>
                  <a:pt x="1372054" y="815110"/>
                  <a:pt x="1345442" y="828907"/>
                </a:cubicBezTo>
                <a:cubicBezTo>
                  <a:pt x="1338843" y="837605"/>
                  <a:pt x="1338313" y="846434"/>
                  <a:pt x="1337875" y="856639"/>
                </a:cubicBezTo>
                <a:cubicBezTo>
                  <a:pt x="1337815" y="857805"/>
                  <a:pt x="1337754" y="858970"/>
                  <a:pt x="1337692" y="860171"/>
                </a:cubicBezTo>
                <a:cubicBezTo>
                  <a:pt x="1337547" y="863016"/>
                  <a:pt x="1337417" y="865861"/>
                  <a:pt x="1337290" y="868706"/>
                </a:cubicBezTo>
                <a:cubicBezTo>
                  <a:pt x="1336258" y="868706"/>
                  <a:pt x="1335228" y="868706"/>
                  <a:pt x="1334165" y="868706"/>
                </a:cubicBezTo>
                <a:lnTo>
                  <a:pt x="1334165" y="870034"/>
                </a:lnTo>
                <a:lnTo>
                  <a:pt x="1334237" y="869093"/>
                </a:lnTo>
                <a:cubicBezTo>
                  <a:pt x="1334753" y="869093"/>
                  <a:pt x="1335268" y="869093"/>
                  <a:pt x="1335800" y="869093"/>
                </a:cubicBezTo>
                <a:cubicBezTo>
                  <a:pt x="1335884" y="871559"/>
                  <a:pt x="1335944" y="874025"/>
                  <a:pt x="1335995" y="876491"/>
                </a:cubicBezTo>
                <a:cubicBezTo>
                  <a:pt x="1336030" y="877865"/>
                  <a:pt x="1336067" y="879238"/>
                  <a:pt x="1336105" y="880653"/>
                </a:cubicBezTo>
                <a:cubicBezTo>
                  <a:pt x="1335800" y="884594"/>
                  <a:pt x="1335800" y="884594"/>
                  <a:pt x="1334294" y="887271"/>
                </a:cubicBezTo>
                <a:cubicBezTo>
                  <a:pt x="1332567" y="890428"/>
                  <a:pt x="1331982" y="892964"/>
                  <a:pt x="1331455" y="896440"/>
                </a:cubicBezTo>
                <a:cubicBezTo>
                  <a:pt x="1331267" y="897605"/>
                  <a:pt x="1331080" y="898769"/>
                  <a:pt x="1330887" y="899969"/>
                </a:cubicBezTo>
                <a:cubicBezTo>
                  <a:pt x="1330704" y="901174"/>
                  <a:pt x="1330521" y="902378"/>
                  <a:pt x="1330332" y="903618"/>
                </a:cubicBezTo>
                <a:cubicBezTo>
                  <a:pt x="1329968" y="906013"/>
                  <a:pt x="1329594" y="908405"/>
                  <a:pt x="1329209" y="910797"/>
                </a:cubicBezTo>
                <a:cubicBezTo>
                  <a:pt x="1329049" y="911853"/>
                  <a:pt x="1328889" y="912910"/>
                  <a:pt x="1328724" y="913998"/>
                </a:cubicBezTo>
                <a:cubicBezTo>
                  <a:pt x="1327933" y="917233"/>
                  <a:pt x="1326525" y="919703"/>
                  <a:pt x="1324865" y="922643"/>
                </a:cubicBezTo>
                <a:cubicBezTo>
                  <a:pt x="1323924" y="927743"/>
                  <a:pt x="1323282" y="932845"/>
                  <a:pt x="1322619" y="937979"/>
                </a:cubicBezTo>
                <a:lnTo>
                  <a:pt x="1318744" y="944961"/>
                </a:lnTo>
                <a:lnTo>
                  <a:pt x="1318544" y="946213"/>
                </a:lnTo>
                <a:cubicBezTo>
                  <a:pt x="1318360" y="949234"/>
                  <a:pt x="1318271" y="952260"/>
                  <a:pt x="1318251" y="955285"/>
                </a:cubicBezTo>
                <a:cubicBezTo>
                  <a:pt x="1318218" y="957637"/>
                  <a:pt x="1318218" y="957637"/>
                  <a:pt x="1318184" y="960036"/>
                </a:cubicBezTo>
                <a:cubicBezTo>
                  <a:pt x="1318624" y="965530"/>
                  <a:pt x="1319569" y="969724"/>
                  <a:pt x="1324024" y="973660"/>
                </a:cubicBezTo>
                <a:cubicBezTo>
                  <a:pt x="1327197" y="976583"/>
                  <a:pt x="1327950" y="979494"/>
                  <a:pt x="1329284" y="983382"/>
                </a:cubicBezTo>
                <a:cubicBezTo>
                  <a:pt x="1331875" y="990106"/>
                  <a:pt x="1334445" y="993582"/>
                  <a:pt x="1340414" y="998354"/>
                </a:cubicBezTo>
                <a:cubicBezTo>
                  <a:pt x="1342397" y="1000564"/>
                  <a:pt x="1344347" y="1002798"/>
                  <a:pt x="1346272" y="1005048"/>
                </a:cubicBezTo>
                <a:cubicBezTo>
                  <a:pt x="1360055" y="1020713"/>
                  <a:pt x="1376247" y="1031879"/>
                  <a:pt x="1394716" y="1042740"/>
                </a:cubicBezTo>
                <a:cubicBezTo>
                  <a:pt x="1397172" y="1044228"/>
                  <a:pt x="1399581" y="1045779"/>
                  <a:pt x="1401953" y="1047374"/>
                </a:cubicBezTo>
                <a:cubicBezTo>
                  <a:pt x="1410065" y="1052802"/>
                  <a:pt x="1417529" y="1056366"/>
                  <a:pt x="1427197" y="1059061"/>
                </a:cubicBezTo>
                <a:cubicBezTo>
                  <a:pt x="1431243" y="1060437"/>
                  <a:pt x="1434061" y="1061979"/>
                  <a:pt x="1437265" y="1064588"/>
                </a:cubicBezTo>
                <a:cubicBezTo>
                  <a:pt x="1437265" y="1065518"/>
                  <a:pt x="1437265" y="1066448"/>
                  <a:pt x="1437265" y="1067406"/>
                </a:cubicBezTo>
                <a:cubicBezTo>
                  <a:pt x="1439053" y="1067624"/>
                  <a:pt x="1439053" y="1067624"/>
                  <a:pt x="1440878" y="1067847"/>
                </a:cubicBezTo>
                <a:cubicBezTo>
                  <a:pt x="1445076" y="1068815"/>
                  <a:pt x="1445076" y="1068815"/>
                  <a:pt x="1447175" y="1070753"/>
                </a:cubicBezTo>
                <a:cubicBezTo>
                  <a:pt x="1450417" y="1073622"/>
                  <a:pt x="1453781" y="1075060"/>
                  <a:pt x="1457866" y="1076830"/>
                </a:cubicBezTo>
                <a:cubicBezTo>
                  <a:pt x="1459274" y="1077446"/>
                  <a:pt x="1460681" y="1078062"/>
                  <a:pt x="1462132" y="1078696"/>
                </a:cubicBezTo>
                <a:cubicBezTo>
                  <a:pt x="1463204" y="1079156"/>
                  <a:pt x="1464278" y="1079616"/>
                  <a:pt x="1465383" y="1080089"/>
                </a:cubicBezTo>
                <a:cubicBezTo>
                  <a:pt x="1465383" y="1081019"/>
                  <a:pt x="1465383" y="1081949"/>
                  <a:pt x="1465383" y="1082908"/>
                </a:cubicBezTo>
                <a:cubicBezTo>
                  <a:pt x="1466497" y="1083260"/>
                  <a:pt x="1467611" y="1083612"/>
                  <a:pt x="1468758" y="1083975"/>
                </a:cubicBezTo>
                <a:cubicBezTo>
                  <a:pt x="1473648" y="1085905"/>
                  <a:pt x="1477426" y="1088296"/>
                  <a:pt x="1481688" y="1091187"/>
                </a:cubicBezTo>
                <a:cubicBezTo>
                  <a:pt x="1483204" y="1092193"/>
                  <a:pt x="1484721" y="1093200"/>
                  <a:pt x="1486283" y="1094236"/>
                </a:cubicBezTo>
                <a:cubicBezTo>
                  <a:pt x="1489170" y="1096185"/>
                  <a:pt x="1492029" y="1098166"/>
                  <a:pt x="1494869" y="1100171"/>
                </a:cubicBezTo>
                <a:cubicBezTo>
                  <a:pt x="1510181" y="1107906"/>
                  <a:pt x="1527080" y="1109898"/>
                  <a:pt x="1544335" y="1109518"/>
                </a:cubicBezTo>
                <a:cubicBezTo>
                  <a:pt x="1579932" y="1108798"/>
                  <a:pt x="1579932" y="1108798"/>
                  <a:pt x="1593477" y="1119900"/>
                </a:cubicBezTo>
                <a:cubicBezTo>
                  <a:pt x="1600636" y="1127255"/>
                  <a:pt x="1604889" y="1135120"/>
                  <a:pt x="1605975" y="1144913"/>
                </a:cubicBezTo>
                <a:cubicBezTo>
                  <a:pt x="1607006" y="1144913"/>
                  <a:pt x="1608036" y="1144913"/>
                  <a:pt x="1609099" y="1144913"/>
                </a:cubicBezTo>
                <a:cubicBezTo>
                  <a:pt x="1609227" y="1148907"/>
                  <a:pt x="1609319" y="1152897"/>
                  <a:pt x="1609392" y="1156892"/>
                </a:cubicBezTo>
                <a:cubicBezTo>
                  <a:pt x="1609451" y="1158565"/>
                  <a:pt x="1609451" y="1158565"/>
                  <a:pt x="1609511" y="1160272"/>
                </a:cubicBezTo>
                <a:cubicBezTo>
                  <a:pt x="1609621" y="1168378"/>
                  <a:pt x="1607970" y="1174108"/>
                  <a:pt x="1604412" y="1181553"/>
                </a:cubicBezTo>
                <a:cubicBezTo>
                  <a:pt x="1603354" y="1184367"/>
                  <a:pt x="1602306" y="1187183"/>
                  <a:pt x="1601288" y="1190009"/>
                </a:cubicBezTo>
                <a:cubicBezTo>
                  <a:pt x="1600257" y="1190009"/>
                  <a:pt x="1599226" y="1190009"/>
                  <a:pt x="1598164" y="1190009"/>
                </a:cubicBezTo>
                <a:cubicBezTo>
                  <a:pt x="1597842" y="1190910"/>
                  <a:pt x="1597520" y="1191810"/>
                  <a:pt x="1597187" y="1192739"/>
                </a:cubicBezTo>
                <a:cubicBezTo>
                  <a:pt x="1596479" y="1193698"/>
                  <a:pt x="1595770" y="1194657"/>
                  <a:pt x="1595040" y="1195645"/>
                </a:cubicBezTo>
                <a:cubicBezTo>
                  <a:pt x="1591916" y="1196115"/>
                  <a:pt x="1588791" y="1196585"/>
                  <a:pt x="1585667" y="1197055"/>
                </a:cubicBezTo>
                <a:cubicBezTo>
                  <a:pt x="1583871" y="1199826"/>
                  <a:pt x="1583871" y="1199826"/>
                  <a:pt x="1582543" y="1202691"/>
                </a:cubicBezTo>
                <a:cubicBezTo>
                  <a:pt x="1575997" y="1204710"/>
                  <a:pt x="1569266" y="1204360"/>
                  <a:pt x="1562431" y="1204365"/>
                </a:cubicBezTo>
                <a:cubicBezTo>
                  <a:pt x="1561196" y="1204382"/>
                  <a:pt x="1559962" y="1204399"/>
                  <a:pt x="1558690" y="1204417"/>
                </a:cubicBezTo>
                <a:cubicBezTo>
                  <a:pt x="1543339" y="1204452"/>
                  <a:pt x="1531981" y="1199267"/>
                  <a:pt x="1521102" y="1189585"/>
                </a:cubicBezTo>
                <a:cubicBezTo>
                  <a:pt x="1515403" y="1183953"/>
                  <a:pt x="1510116" y="1178123"/>
                  <a:pt x="1505022" y="1172041"/>
                </a:cubicBezTo>
                <a:cubicBezTo>
                  <a:pt x="1493200" y="1158177"/>
                  <a:pt x="1475492" y="1147115"/>
                  <a:pt x="1457573" y="1140686"/>
                </a:cubicBezTo>
                <a:cubicBezTo>
                  <a:pt x="1457573" y="1139755"/>
                  <a:pt x="1457573" y="1138826"/>
                  <a:pt x="1457573" y="1137867"/>
                </a:cubicBezTo>
                <a:cubicBezTo>
                  <a:pt x="1456059" y="1137693"/>
                  <a:pt x="1454544" y="1137518"/>
                  <a:pt x="1452985" y="1137339"/>
                </a:cubicBezTo>
                <a:cubicBezTo>
                  <a:pt x="1451406" y="1137048"/>
                  <a:pt x="1449827" y="1136758"/>
                  <a:pt x="1448200" y="1136458"/>
                </a:cubicBezTo>
                <a:cubicBezTo>
                  <a:pt x="1447685" y="1135528"/>
                  <a:pt x="1447169" y="1134598"/>
                  <a:pt x="1446638" y="1133640"/>
                </a:cubicBezTo>
                <a:cubicBezTo>
                  <a:pt x="1444091" y="1132586"/>
                  <a:pt x="1441535" y="1131550"/>
                  <a:pt x="1438937" y="1130601"/>
                </a:cubicBezTo>
                <a:cubicBezTo>
                  <a:pt x="1435668" y="1129399"/>
                  <a:pt x="1432469" y="1128095"/>
                  <a:pt x="1429260" y="1126770"/>
                </a:cubicBezTo>
                <a:cubicBezTo>
                  <a:pt x="1423389" y="1124389"/>
                  <a:pt x="1417431" y="1122349"/>
                  <a:pt x="1411393" y="1120340"/>
                </a:cubicBezTo>
                <a:cubicBezTo>
                  <a:pt x="1404143" y="1117867"/>
                  <a:pt x="1397842" y="1115090"/>
                  <a:pt x="1391427" y="1111191"/>
                </a:cubicBezTo>
                <a:cubicBezTo>
                  <a:pt x="1388139" y="1109274"/>
                  <a:pt x="1384723" y="1108010"/>
                  <a:pt x="1381029" y="1106865"/>
                </a:cubicBezTo>
                <a:cubicBezTo>
                  <a:pt x="1381029" y="1105934"/>
                  <a:pt x="1381029" y="1105004"/>
                  <a:pt x="1381029" y="1104046"/>
                </a:cubicBezTo>
                <a:cubicBezTo>
                  <a:pt x="1379773" y="1103901"/>
                  <a:pt x="1378516" y="1103755"/>
                  <a:pt x="1377221" y="1103605"/>
                </a:cubicBezTo>
                <a:cubicBezTo>
                  <a:pt x="1370425" y="1102422"/>
                  <a:pt x="1364120" y="1100465"/>
                  <a:pt x="1357597" y="1098409"/>
                </a:cubicBezTo>
                <a:cubicBezTo>
                  <a:pt x="1355761" y="1097857"/>
                  <a:pt x="1353924" y="1097304"/>
                  <a:pt x="1352032" y="1096736"/>
                </a:cubicBezTo>
                <a:cubicBezTo>
                  <a:pt x="1350776" y="1096358"/>
                  <a:pt x="1349519" y="1095980"/>
                  <a:pt x="1348225" y="1095590"/>
                </a:cubicBezTo>
                <a:cubicBezTo>
                  <a:pt x="1348225" y="1094661"/>
                  <a:pt x="1348225" y="1093730"/>
                  <a:pt x="1348225" y="1092772"/>
                </a:cubicBezTo>
                <a:cubicBezTo>
                  <a:pt x="1344616" y="1092307"/>
                  <a:pt x="1341007" y="1091842"/>
                  <a:pt x="1337290" y="1091363"/>
                </a:cubicBezTo>
                <a:cubicBezTo>
                  <a:pt x="1337290" y="1090433"/>
                  <a:pt x="1337290" y="1089503"/>
                  <a:pt x="1337290" y="1088544"/>
                </a:cubicBezTo>
                <a:cubicBezTo>
                  <a:pt x="1334438" y="1088327"/>
                  <a:pt x="1334438" y="1088327"/>
                  <a:pt x="1331529" y="1088104"/>
                </a:cubicBezTo>
                <a:lnTo>
                  <a:pt x="1323297" y="1086611"/>
                </a:lnTo>
                <a:lnTo>
                  <a:pt x="1323297" y="1087618"/>
                </a:lnTo>
                <a:cubicBezTo>
                  <a:pt x="1322139" y="1087517"/>
                  <a:pt x="1320982" y="1087415"/>
                  <a:pt x="1319789" y="1087310"/>
                </a:cubicBezTo>
                <a:cubicBezTo>
                  <a:pt x="1300429" y="1085771"/>
                  <a:pt x="1281330" y="1084680"/>
                  <a:pt x="1262375" y="1089028"/>
                </a:cubicBezTo>
                <a:lnTo>
                  <a:pt x="1258728" y="1088205"/>
                </a:lnTo>
                <a:lnTo>
                  <a:pt x="1246964" y="1091489"/>
                </a:lnTo>
                <a:cubicBezTo>
                  <a:pt x="1237239" y="1097222"/>
                  <a:pt x="1228703" y="1103434"/>
                  <a:pt x="1223224" y="1112865"/>
                </a:cubicBezTo>
                <a:cubicBezTo>
                  <a:pt x="1220867" y="1116643"/>
                  <a:pt x="1217262" y="1119317"/>
                  <a:pt x="1213883" y="1122366"/>
                </a:cubicBezTo>
                <a:cubicBezTo>
                  <a:pt x="1213428" y="1123469"/>
                  <a:pt x="1212973" y="1124572"/>
                  <a:pt x="1212505" y="1125708"/>
                </a:cubicBezTo>
                <a:cubicBezTo>
                  <a:pt x="1210449" y="1130067"/>
                  <a:pt x="1207984" y="1132315"/>
                  <a:pt x="1204180" y="1135561"/>
                </a:cubicBezTo>
                <a:cubicBezTo>
                  <a:pt x="1202879" y="1136695"/>
                  <a:pt x="1201578" y="1137829"/>
                  <a:pt x="1200238" y="1138999"/>
                </a:cubicBezTo>
                <a:cubicBezTo>
                  <a:pt x="1197504" y="1141343"/>
                  <a:pt x="1194765" y="1143684"/>
                  <a:pt x="1192025" y="1146022"/>
                </a:cubicBezTo>
                <a:cubicBezTo>
                  <a:pt x="1181899" y="1154869"/>
                  <a:pt x="1174983" y="1161763"/>
                  <a:pt x="1173945" y="1174749"/>
                </a:cubicBezTo>
                <a:cubicBezTo>
                  <a:pt x="1173902" y="1177369"/>
                  <a:pt x="1173905" y="1179990"/>
                  <a:pt x="1173950" y="1182610"/>
                </a:cubicBezTo>
                <a:cubicBezTo>
                  <a:pt x="1173963" y="1183981"/>
                  <a:pt x="1173975" y="1185352"/>
                  <a:pt x="1173989" y="1186765"/>
                </a:cubicBezTo>
                <a:cubicBezTo>
                  <a:pt x="1174321" y="1197573"/>
                  <a:pt x="1176809" y="1205883"/>
                  <a:pt x="1182640" y="1215374"/>
                </a:cubicBezTo>
                <a:cubicBezTo>
                  <a:pt x="1183703" y="1217509"/>
                  <a:pt x="1184746" y="1219652"/>
                  <a:pt x="1185764" y="1221804"/>
                </a:cubicBezTo>
                <a:cubicBezTo>
                  <a:pt x="1186271" y="1222812"/>
                  <a:pt x="1186779" y="1223821"/>
                  <a:pt x="1187301" y="1224859"/>
                </a:cubicBezTo>
                <a:cubicBezTo>
                  <a:pt x="1188431" y="1227137"/>
                  <a:pt x="1189517" y="1229433"/>
                  <a:pt x="1190573" y="1231740"/>
                </a:cubicBezTo>
                <a:cubicBezTo>
                  <a:pt x="1194650" y="1240409"/>
                  <a:pt x="1199581" y="1247688"/>
                  <a:pt x="1205925" y="1255163"/>
                </a:cubicBezTo>
                <a:cubicBezTo>
                  <a:pt x="1208103" y="1257757"/>
                  <a:pt x="1210188" y="1260417"/>
                  <a:pt x="1212174" y="1263134"/>
                </a:cubicBezTo>
                <a:cubicBezTo>
                  <a:pt x="1218757" y="1272043"/>
                  <a:pt x="1225157" y="1277324"/>
                  <a:pt x="1235556" y="1282538"/>
                </a:cubicBezTo>
                <a:cubicBezTo>
                  <a:pt x="1236652" y="1283161"/>
                  <a:pt x="1237747" y="1283784"/>
                  <a:pt x="1238876" y="1284426"/>
                </a:cubicBezTo>
                <a:cubicBezTo>
                  <a:pt x="1238876" y="1285356"/>
                  <a:pt x="1238876" y="1286287"/>
                  <a:pt x="1238876" y="1287245"/>
                </a:cubicBezTo>
                <a:cubicBezTo>
                  <a:pt x="1239988" y="1287383"/>
                  <a:pt x="1241099" y="1287521"/>
                  <a:pt x="1242245" y="1287663"/>
                </a:cubicBezTo>
                <a:cubicBezTo>
                  <a:pt x="1253043" y="1290072"/>
                  <a:pt x="1264916" y="1297690"/>
                  <a:pt x="1271681" y="1305565"/>
                </a:cubicBezTo>
                <a:lnTo>
                  <a:pt x="1271742" y="1306172"/>
                </a:lnTo>
                <a:lnTo>
                  <a:pt x="1278525" y="1315767"/>
                </a:lnTo>
                <a:cubicBezTo>
                  <a:pt x="1279797" y="1319398"/>
                  <a:pt x="1280365" y="1323346"/>
                  <a:pt x="1281097" y="1327286"/>
                </a:cubicBezTo>
                <a:cubicBezTo>
                  <a:pt x="1281916" y="1337121"/>
                  <a:pt x="1281807" y="1346176"/>
                  <a:pt x="1277973" y="1355470"/>
                </a:cubicBezTo>
                <a:lnTo>
                  <a:pt x="1277460" y="1347025"/>
                </a:lnTo>
                <a:lnTo>
                  <a:pt x="1273531" y="1357991"/>
                </a:lnTo>
                <a:cubicBezTo>
                  <a:pt x="1270940" y="1361892"/>
                  <a:pt x="1267521" y="1365435"/>
                  <a:pt x="1263870" y="1368980"/>
                </a:cubicBezTo>
                <a:cubicBezTo>
                  <a:pt x="1258351" y="1372929"/>
                  <a:pt x="1253850" y="1376026"/>
                  <a:pt x="1246686" y="1376026"/>
                </a:cubicBezTo>
                <a:cubicBezTo>
                  <a:pt x="1246686" y="1376956"/>
                  <a:pt x="1246686" y="1377886"/>
                  <a:pt x="1246686" y="1378844"/>
                </a:cubicBezTo>
                <a:cubicBezTo>
                  <a:pt x="1241676" y="1379009"/>
                  <a:pt x="1236665" y="1379109"/>
                  <a:pt x="1231651" y="1379196"/>
                </a:cubicBezTo>
                <a:cubicBezTo>
                  <a:pt x="1230240" y="1379244"/>
                  <a:pt x="1228828" y="1379291"/>
                  <a:pt x="1227373" y="1379340"/>
                </a:cubicBezTo>
                <a:cubicBezTo>
                  <a:pt x="1218287" y="1379460"/>
                  <a:pt x="1213363" y="1378568"/>
                  <a:pt x="1206071" y="1373207"/>
                </a:cubicBezTo>
                <a:cubicBezTo>
                  <a:pt x="1204751" y="1372742"/>
                  <a:pt x="1203430" y="1372277"/>
                  <a:pt x="1202069" y="1371798"/>
                </a:cubicBezTo>
                <a:cubicBezTo>
                  <a:pt x="1193777" y="1368730"/>
                  <a:pt x="1188124" y="1363294"/>
                  <a:pt x="1184104" y="1356176"/>
                </a:cubicBezTo>
                <a:cubicBezTo>
                  <a:pt x="1180965" y="1349259"/>
                  <a:pt x="1178852" y="1342590"/>
                  <a:pt x="1177270" y="1335247"/>
                </a:cubicBezTo>
                <a:cubicBezTo>
                  <a:pt x="1175525" y="1327352"/>
                  <a:pt x="1172911" y="1320677"/>
                  <a:pt x="1169002" y="1313464"/>
                </a:cubicBezTo>
                <a:cubicBezTo>
                  <a:pt x="1166989" y="1309737"/>
                  <a:pt x="1165215" y="1305976"/>
                  <a:pt x="1163504" y="1302130"/>
                </a:cubicBezTo>
                <a:cubicBezTo>
                  <a:pt x="1163013" y="1301027"/>
                  <a:pt x="1162521" y="1299924"/>
                  <a:pt x="1162015" y="1298788"/>
                </a:cubicBezTo>
                <a:cubicBezTo>
                  <a:pt x="1160770" y="1295700"/>
                  <a:pt x="1160770" y="1295700"/>
                  <a:pt x="1160111" y="1292656"/>
                </a:cubicBezTo>
                <a:cubicBezTo>
                  <a:pt x="1159345" y="1289507"/>
                  <a:pt x="1159345" y="1289507"/>
                  <a:pt x="1154522" y="1287245"/>
                </a:cubicBezTo>
                <a:cubicBezTo>
                  <a:pt x="1153465" y="1284902"/>
                  <a:pt x="1152426" y="1282552"/>
                  <a:pt x="1151398" y="1280199"/>
                </a:cubicBezTo>
                <a:cubicBezTo>
                  <a:pt x="1149056" y="1276983"/>
                  <a:pt x="1146686" y="1273874"/>
                  <a:pt x="1144173" y="1270774"/>
                </a:cubicBezTo>
                <a:cubicBezTo>
                  <a:pt x="1143477" y="1269912"/>
                  <a:pt x="1142782" y="1269049"/>
                  <a:pt x="1142065" y="1268160"/>
                </a:cubicBezTo>
                <a:cubicBezTo>
                  <a:pt x="1139981" y="1265589"/>
                  <a:pt x="1137880" y="1263029"/>
                  <a:pt x="1135776" y="1260470"/>
                </a:cubicBezTo>
                <a:cubicBezTo>
                  <a:pt x="1134647" y="1259076"/>
                  <a:pt x="1133517" y="1257683"/>
                  <a:pt x="1132353" y="1256247"/>
                </a:cubicBezTo>
                <a:cubicBezTo>
                  <a:pt x="1126291" y="1249045"/>
                  <a:pt x="1121408" y="1244606"/>
                  <a:pt x="1112344" y="1240741"/>
                </a:cubicBezTo>
                <a:cubicBezTo>
                  <a:pt x="1110285" y="1239698"/>
                  <a:pt x="1108234" y="1238642"/>
                  <a:pt x="1106193" y="1237570"/>
                </a:cubicBezTo>
                <a:cubicBezTo>
                  <a:pt x="1104615" y="1236756"/>
                  <a:pt x="1103036" y="1235942"/>
                  <a:pt x="1101409" y="1235104"/>
                </a:cubicBezTo>
                <a:cubicBezTo>
                  <a:pt x="1101409" y="1233708"/>
                  <a:pt x="1101409" y="1232313"/>
                  <a:pt x="1101409" y="1230876"/>
                </a:cubicBezTo>
                <a:cubicBezTo>
                  <a:pt x="1089553" y="1230876"/>
                  <a:pt x="1077697" y="1230876"/>
                  <a:pt x="1065480" y="1230876"/>
                </a:cubicBezTo>
                <a:cubicBezTo>
                  <a:pt x="1064965" y="1232271"/>
                  <a:pt x="1064450" y="1233666"/>
                  <a:pt x="1063919" y="1235104"/>
                </a:cubicBezTo>
                <a:cubicBezTo>
                  <a:pt x="1062372" y="1235104"/>
                  <a:pt x="1060826" y="1235104"/>
                  <a:pt x="1059232" y="1235104"/>
                </a:cubicBezTo>
                <a:cubicBezTo>
                  <a:pt x="1059232" y="1236033"/>
                  <a:pt x="1059232" y="1236964"/>
                  <a:pt x="1059232" y="1237922"/>
                </a:cubicBezTo>
                <a:cubicBezTo>
                  <a:pt x="1052964" y="1240850"/>
                  <a:pt x="1046842" y="1243613"/>
                  <a:pt x="1040194" y="1245761"/>
                </a:cubicBezTo>
                <a:cubicBezTo>
                  <a:pt x="1036552" y="1246941"/>
                  <a:pt x="1033682" y="1248088"/>
                  <a:pt x="1030333" y="1249901"/>
                </a:cubicBezTo>
                <a:cubicBezTo>
                  <a:pt x="1025129" y="1252717"/>
                  <a:pt x="1019615" y="1254371"/>
                  <a:pt x="1013931" y="1256242"/>
                </a:cubicBezTo>
                <a:cubicBezTo>
                  <a:pt x="1009870" y="1257688"/>
                  <a:pt x="1008221" y="1258277"/>
                  <a:pt x="1005925" y="1261615"/>
                </a:cubicBezTo>
                <a:cubicBezTo>
                  <a:pt x="1005474" y="1262632"/>
                  <a:pt x="1005023" y="1263649"/>
                  <a:pt x="1004558" y="1264697"/>
                </a:cubicBezTo>
                <a:cubicBezTo>
                  <a:pt x="1004030" y="1265774"/>
                  <a:pt x="1003503" y="1266852"/>
                  <a:pt x="1002959" y="1267961"/>
                </a:cubicBezTo>
                <a:cubicBezTo>
                  <a:pt x="1001408" y="1271808"/>
                  <a:pt x="1000922" y="1274896"/>
                  <a:pt x="1000653" y="1278965"/>
                </a:cubicBezTo>
                <a:cubicBezTo>
                  <a:pt x="1000303" y="1284158"/>
                  <a:pt x="999467" y="1289055"/>
                  <a:pt x="998297" y="1294137"/>
                </a:cubicBezTo>
                <a:cubicBezTo>
                  <a:pt x="996204" y="1304306"/>
                  <a:pt x="996129" y="1314460"/>
                  <a:pt x="996162" y="1324765"/>
                </a:cubicBezTo>
                <a:cubicBezTo>
                  <a:pt x="996163" y="1325782"/>
                  <a:pt x="996163" y="1326799"/>
                  <a:pt x="996164" y="1327846"/>
                </a:cubicBezTo>
                <a:cubicBezTo>
                  <a:pt x="996263" y="1353742"/>
                  <a:pt x="1001081" y="1378188"/>
                  <a:pt x="1007780" y="1403329"/>
                </a:cubicBezTo>
                <a:cubicBezTo>
                  <a:pt x="1008163" y="1404772"/>
                  <a:pt x="1008546" y="1406215"/>
                  <a:pt x="1008940" y="1407701"/>
                </a:cubicBezTo>
                <a:cubicBezTo>
                  <a:pt x="1009316" y="1409030"/>
                  <a:pt x="1009693" y="1410360"/>
                  <a:pt x="1010080" y="1411730"/>
                </a:cubicBezTo>
                <a:cubicBezTo>
                  <a:pt x="1010409" y="1412900"/>
                  <a:pt x="1010737" y="1414071"/>
                  <a:pt x="1011075" y="1415277"/>
                </a:cubicBezTo>
                <a:cubicBezTo>
                  <a:pt x="1012501" y="1418612"/>
                  <a:pt x="1014136" y="1420168"/>
                  <a:pt x="1017055" y="1422530"/>
                </a:cubicBezTo>
                <a:cubicBezTo>
                  <a:pt x="1018770" y="1425162"/>
                  <a:pt x="1018770" y="1425162"/>
                  <a:pt x="1020277" y="1427991"/>
                </a:cubicBezTo>
                <a:cubicBezTo>
                  <a:pt x="1020778" y="1428917"/>
                  <a:pt x="1021280" y="1429844"/>
                  <a:pt x="1021796" y="1430798"/>
                </a:cubicBezTo>
                <a:cubicBezTo>
                  <a:pt x="1023303" y="1433804"/>
                  <a:pt x="1023303" y="1433804"/>
                  <a:pt x="1024579" y="1437239"/>
                </a:cubicBezTo>
                <a:cubicBezTo>
                  <a:pt x="1026915" y="1441803"/>
                  <a:pt x="1030098" y="1444534"/>
                  <a:pt x="1034043" y="1448072"/>
                </a:cubicBezTo>
                <a:lnTo>
                  <a:pt x="1043782" y="1464320"/>
                </a:lnTo>
                <a:lnTo>
                  <a:pt x="1050458" y="1472189"/>
                </a:lnTo>
                <a:cubicBezTo>
                  <a:pt x="1051737" y="1475181"/>
                  <a:pt x="1052277" y="1478513"/>
                  <a:pt x="1052926" y="1482370"/>
                </a:cubicBezTo>
                <a:cubicBezTo>
                  <a:pt x="1053325" y="1487224"/>
                  <a:pt x="1053364" y="1492038"/>
                  <a:pt x="1053316" y="1496903"/>
                </a:cubicBezTo>
                <a:cubicBezTo>
                  <a:pt x="1053328" y="1498142"/>
                  <a:pt x="1053340" y="1499382"/>
                  <a:pt x="1053352" y="1500660"/>
                </a:cubicBezTo>
                <a:cubicBezTo>
                  <a:pt x="1053348" y="1501856"/>
                  <a:pt x="1053344" y="1503052"/>
                  <a:pt x="1053341" y="1504285"/>
                </a:cubicBezTo>
                <a:cubicBezTo>
                  <a:pt x="1053336" y="1505355"/>
                  <a:pt x="1053333" y="1506426"/>
                  <a:pt x="1053329" y="1507529"/>
                </a:cubicBezTo>
                <a:cubicBezTo>
                  <a:pt x="1052876" y="1510927"/>
                  <a:pt x="1051672" y="1513237"/>
                  <a:pt x="1049801" y="1516192"/>
                </a:cubicBezTo>
                <a:lnTo>
                  <a:pt x="1047312" y="1516192"/>
                </a:lnTo>
                <a:lnTo>
                  <a:pt x="1043611" y="1522585"/>
                </a:lnTo>
                <a:cubicBezTo>
                  <a:pt x="1035301" y="1529631"/>
                  <a:pt x="1035301" y="1529631"/>
                  <a:pt x="1029552" y="1529631"/>
                </a:cubicBezTo>
                <a:cubicBezTo>
                  <a:pt x="1029294" y="1530503"/>
                  <a:pt x="1029036" y="1531375"/>
                  <a:pt x="1028771" y="1532273"/>
                </a:cubicBezTo>
                <a:cubicBezTo>
                  <a:pt x="1025795" y="1536076"/>
                  <a:pt x="1022970" y="1536733"/>
                  <a:pt x="1018013" y="1537640"/>
                </a:cubicBezTo>
                <a:cubicBezTo>
                  <a:pt x="1005216" y="1539038"/>
                  <a:pt x="992573" y="1539816"/>
                  <a:pt x="981126" y="1533859"/>
                </a:cubicBezTo>
                <a:cubicBezTo>
                  <a:pt x="979840" y="1533226"/>
                  <a:pt x="978553" y="1532594"/>
                  <a:pt x="977227" y="1531943"/>
                </a:cubicBezTo>
                <a:cubicBezTo>
                  <a:pt x="965286" y="1525877"/>
                  <a:pt x="959626" y="1520520"/>
                  <a:pt x="955376" y="1508751"/>
                </a:cubicBezTo>
                <a:cubicBezTo>
                  <a:pt x="954571" y="1505674"/>
                  <a:pt x="954571" y="1505674"/>
                  <a:pt x="954571" y="1500037"/>
                </a:cubicBezTo>
                <a:cubicBezTo>
                  <a:pt x="953539" y="1500037"/>
                  <a:pt x="952508" y="1500037"/>
                  <a:pt x="951446" y="1500037"/>
                </a:cubicBezTo>
                <a:cubicBezTo>
                  <a:pt x="951361" y="1495986"/>
                  <a:pt x="951299" y="1491935"/>
                  <a:pt x="951251" y="1487883"/>
                </a:cubicBezTo>
                <a:cubicBezTo>
                  <a:pt x="951224" y="1486744"/>
                  <a:pt x="951198" y="1485605"/>
                  <a:pt x="951171" y="1484431"/>
                </a:cubicBezTo>
                <a:cubicBezTo>
                  <a:pt x="951110" y="1477657"/>
                  <a:pt x="952093" y="1472660"/>
                  <a:pt x="954571" y="1466216"/>
                </a:cubicBezTo>
                <a:cubicBezTo>
                  <a:pt x="954867" y="1462451"/>
                  <a:pt x="955016" y="1458876"/>
                  <a:pt x="954961" y="1455118"/>
                </a:cubicBezTo>
                <a:cubicBezTo>
                  <a:pt x="954951" y="1454080"/>
                  <a:pt x="954942" y="1453042"/>
                  <a:pt x="954932" y="1451972"/>
                </a:cubicBezTo>
                <a:cubicBezTo>
                  <a:pt x="954606" y="1435235"/>
                  <a:pt x="952568" y="1419050"/>
                  <a:pt x="945099" y="1403594"/>
                </a:cubicBezTo>
                <a:cubicBezTo>
                  <a:pt x="943714" y="1400177"/>
                  <a:pt x="943046" y="1397128"/>
                  <a:pt x="942366" y="1393553"/>
                </a:cubicBezTo>
                <a:cubicBezTo>
                  <a:pt x="940837" y="1386134"/>
                  <a:pt x="937840" y="1379609"/>
                  <a:pt x="934451" y="1372734"/>
                </a:cubicBezTo>
                <a:cubicBezTo>
                  <a:pt x="932701" y="1368980"/>
                  <a:pt x="932701" y="1368980"/>
                  <a:pt x="931974" y="1365754"/>
                </a:cubicBezTo>
                <a:cubicBezTo>
                  <a:pt x="931699" y="1364958"/>
                  <a:pt x="931422" y="1364162"/>
                  <a:pt x="931138" y="1363343"/>
                </a:cubicBezTo>
                <a:cubicBezTo>
                  <a:pt x="929592" y="1362878"/>
                  <a:pt x="928045" y="1362413"/>
                  <a:pt x="926452" y="1361933"/>
                </a:cubicBezTo>
                <a:cubicBezTo>
                  <a:pt x="921830" y="1355261"/>
                  <a:pt x="920323" y="1348382"/>
                  <a:pt x="918641" y="1340795"/>
                </a:cubicBezTo>
                <a:cubicBezTo>
                  <a:pt x="918133" y="1338914"/>
                  <a:pt x="917616" y="1337034"/>
                  <a:pt x="917079" y="1335158"/>
                </a:cubicBezTo>
                <a:cubicBezTo>
                  <a:pt x="916048" y="1335158"/>
                  <a:pt x="915018" y="1335158"/>
                  <a:pt x="913955" y="1335158"/>
                </a:cubicBezTo>
                <a:cubicBezTo>
                  <a:pt x="913329" y="1333718"/>
                  <a:pt x="912703" y="1332277"/>
                  <a:pt x="912057" y="1330793"/>
                </a:cubicBezTo>
                <a:cubicBezTo>
                  <a:pt x="909497" y="1325424"/>
                  <a:pt x="906114" y="1320822"/>
                  <a:pt x="902142" y="1316222"/>
                </a:cubicBezTo>
                <a:cubicBezTo>
                  <a:pt x="901465" y="1315432"/>
                  <a:pt x="900788" y="1314642"/>
                  <a:pt x="900091" y="1313828"/>
                </a:cubicBezTo>
                <a:cubicBezTo>
                  <a:pt x="893705" y="1306618"/>
                  <a:pt x="886350" y="1301049"/>
                  <a:pt x="878026" y="1295700"/>
                </a:cubicBezTo>
                <a:cubicBezTo>
                  <a:pt x="876595" y="1294594"/>
                  <a:pt x="876595" y="1294594"/>
                  <a:pt x="875134" y="1293465"/>
                </a:cubicBezTo>
                <a:lnTo>
                  <a:pt x="869869" y="1291826"/>
                </a:lnTo>
                <a:lnTo>
                  <a:pt x="862384" y="1291327"/>
                </a:lnTo>
                <a:cubicBezTo>
                  <a:pt x="856441" y="1290067"/>
                  <a:pt x="850461" y="1290346"/>
                  <a:pt x="844390" y="1290461"/>
                </a:cubicBezTo>
                <a:cubicBezTo>
                  <a:pt x="842453" y="1290480"/>
                  <a:pt x="842453" y="1290480"/>
                  <a:pt x="840476" y="1290500"/>
                </a:cubicBezTo>
                <a:cubicBezTo>
                  <a:pt x="837322" y="1290532"/>
                  <a:pt x="834169" y="1290583"/>
                  <a:pt x="831015" y="1290637"/>
                </a:cubicBezTo>
                <a:cubicBezTo>
                  <a:pt x="831015" y="1291568"/>
                  <a:pt x="831015" y="1292498"/>
                  <a:pt x="831015" y="1293456"/>
                </a:cubicBezTo>
                <a:cubicBezTo>
                  <a:pt x="826519" y="1294808"/>
                  <a:pt x="822922" y="1295235"/>
                  <a:pt x="818225" y="1295570"/>
                </a:cubicBezTo>
                <a:lnTo>
                  <a:pt x="796774" y="1297671"/>
                </a:lnTo>
                <a:lnTo>
                  <a:pt x="783646" y="1305736"/>
                </a:lnTo>
                <a:cubicBezTo>
                  <a:pt x="776915" y="1312506"/>
                  <a:pt x="772692" y="1318638"/>
                  <a:pt x="769263" y="1327143"/>
                </a:cubicBezTo>
                <a:cubicBezTo>
                  <a:pt x="767116" y="1332340"/>
                  <a:pt x="767116" y="1332340"/>
                  <a:pt x="764797" y="1334360"/>
                </a:cubicBezTo>
                <a:lnTo>
                  <a:pt x="757875" y="1353503"/>
                </a:lnTo>
                <a:lnTo>
                  <a:pt x="755676" y="1367455"/>
                </a:lnTo>
                <a:lnTo>
                  <a:pt x="750558" y="1399690"/>
                </a:lnTo>
                <a:lnTo>
                  <a:pt x="753057" y="1411256"/>
                </a:lnTo>
                <a:cubicBezTo>
                  <a:pt x="753057" y="1413117"/>
                  <a:pt x="753057" y="1414976"/>
                  <a:pt x="753057" y="1416893"/>
                </a:cubicBezTo>
                <a:cubicBezTo>
                  <a:pt x="754087" y="1416893"/>
                  <a:pt x="755119" y="1416893"/>
                  <a:pt x="756181" y="1416893"/>
                </a:cubicBezTo>
                <a:cubicBezTo>
                  <a:pt x="759348" y="1422607"/>
                  <a:pt x="758101" y="1429902"/>
                  <a:pt x="758133" y="1436182"/>
                </a:cubicBezTo>
                <a:cubicBezTo>
                  <a:pt x="758182" y="1438458"/>
                  <a:pt x="758182" y="1438458"/>
                  <a:pt x="758231" y="1440781"/>
                </a:cubicBezTo>
                <a:cubicBezTo>
                  <a:pt x="758283" y="1450271"/>
                  <a:pt x="758174" y="1458360"/>
                  <a:pt x="750713" y="1465704"/>
                </a:cubicBezTo>
                <a:cubicBezTo>
                  <a:pt x="749940" y="1466193"/>
                  <a:pt x="749167" y="1466681"/>
                  <a:pt x="748370" y="1467185"/>
                </a:cubicBezTo>
                <a:cubicBezTo>
                  <a:pt x="743665" y="1470047"/>
                  <a:pt x="743665" y="1470047"/>
                  <a:pt x="741633" y="1473526"/>
                </a:cubicBezTo>
                <a:cubicBezTo>
                  <a:pt x="737793" y="1477248"/>
                  <a:pt x="733582" y="1477483"/>
                  <a:pt x="728154" y="1478343"/>
                </a:cubicBezTo>
                <a:cubicBezTo>
                  <a:pt x="724855" y="1478778"/>
                  <a:pt x="724855" y="1478778"/>
                  <a:pt x="721814" y="1480308"/>
                </a:cubicBezTo>
                <a:cubicBezTo>
                  <a:pt x="717303" y="1480523"/>
                  <a:pt x="712854" y="1480634"/>
                  <a:pt x="708341" y="1480661"/>
                </a:cubicBezTo>
                <a:cubicBezTo>
                  <a:pt x="707118" y="1480690"/>
                  <a:pt x="705896" y="1480719"/>
                  <a:pt x="704637" y="1480748"/>
                </a:cubicBezTo>
                <a:cubicBezTo>
                  <a:pt x="690446" y="1480834"/>
                  <a:pt x="679632" y="1476246"/>
                  <a:pt x="668507" y="1468418"/>
                </a:cubicBezTo>
                <a:cubicBezTo>
                  <a:pt x="662823" y="1463224"/>
                  <a:pt x="661745" y="1456995"/>
                  <a:pt x="660178" y="1450027"/>
                </a:cubicBezTo>
                <a:cubicBezTo>
                  <a:pt x="659725" y="1446589"/>
                  <a:pt x="659725" y="1446589"/>
                  <a:pt x="657767" y="1445078"/>
                </a:cubicBezTo>
                <a:cubicBezTo>
                  <a:pt x="656859" y="1433686"/>
                  <a:pt x="655965" y="1419178"/>
                  <a:pt x="663369" y="1409390"/>
                </a:cubicBezTo>
                <a:cubicBezTo>
                  <a:pt x="666078" y="1406601"/>
                  <a:pt x="668921" y="1404013"/>
                  <a:pt x="671826" y="1401392"/>
                </a:cubicBezTo>
                <a:cubicBezTo>
                  <a:pt x="675197" y="1397623"/>
                  <a:pt x="677125" y="1394916"/>
                  <a:pt x="678075" y="1390118"/>
                </a:cubicBezTo>
                <a:cubicBezTo>
                  <a:pt x="680137" y="1389653"/>
                  <a:pt x="682199" y="1389188"/>
                  <a:pt x="684323" y="1388709"/>
                </a:cubicBezTo>
                <a:cubicBezTo>
                  <a:pt x="684643" y="1387232"/>
                  <a:pt x="684964" y="1385755"/>
                  <a:pt x="685293" y="1384233"/>
                </a:cubicBezTo>
                <a:cubicBezTo>
                  <a:pt x="685718" y="1382290"/>
                  <a:pt x="686144" y="1380347"/>
                  <a:pt x="686569" y="1378404"/>
                </a:cubicBezTo>
                <a:cubicBezTo>
                  <a:pt x="686885" y="1376945"/>
                  <a:pt x="686885" y="1376945"/>
                  <a:pt x="687207" y="1375456"/>
                </a:cubicBezTo>
                <a:cubicBezTo>
                  <a:pt x="688115" y="1371315"/>
                  <a:pt x="689090" y="1367353"/>
                  <a:pt x="690572" y="1363343"/>
                </a:cubicBezTo>
                <a:cubicBezTo>
                  <a:pt x="692411" y="1350128"/>
                  <a:pt x="692374" y="1336672"/>
                  <a:pt x="692495" y="1323376"/>
                </a:cubicBezTo>
                <a:cubicBezTo>
                  <a:pt x="692524" y="1320586"/>
                  <a:pt x="692574" y="1317796"/>
                  <a:pt x="692625" y="1315006"/>
                </a:cubicBezTo>
                <a:cubicBezTo>
                  <a:pt x="692853" y="1300589"/>
                  <a:pt x="692853" y="1300589"/>
                  <a:pt x="687447" y="1287245"/>
                </a:cubicBezTo>
                <a:cubicBezTo>
                  <a:pt x="685901" y="1286780"/>
                  <a:pt x="684354" y="1286315"/>
                  <a:pt x="682761" y="1285835"/>
                </a:cubicBezTo>
                <a:cubicBezTo>
                  <a:pt x="680876" y="1283743"/>
                  <a:pt x="680876" y="1283743"/>
                  <a:pt x="678954" y="1281608"/>
                </a:cubicBezTo>
                <a:cubicBezTo>
                  <a:pt x="674854" y="1277278"/>
                  <a:pt x="674356" y="1276958"/>
                  <a:pt x="668702" y="1275971"/>
                </a:cubicBezTo>
                <a:cubicBezTo>
                  <a:pt x="666619" y="1274092"/>
                  <a:pt x="664536" y="1272213"/>
                  <a:pt x="662454" y="1270334"/>
                </a:cubicBezTo>
                <a:cubicBezTo>
                  <a:pt x="658341" y="1268566"/>
                  <a:pt x="658341" y="1268566"/>
                  <a:pt x="654643" y="1267516"/>
                </a:cubicBezTo>
                <a:cubicBezTo>
                  <a:pt x="654643" y="1266585"/>
                  <a:pt x="654643" y="1265656"/>
                  <a:pt x="654643" y="1264697"/>
                </a:cubicBezTo>
                <a:cubicBezTo>
                  <a:pt x="653161" y="1264581"/>
                  <a:pt x="651679" y="1264465"/>
                  <a:pt x="650152" y="1264345"/>
                </a:cubicBezTo>
                <a:cubicBezTo>
                  <a:pt x="642318" y="1263373"/>
                  <a:pt x="635297" y="1260465"/>
                  <a:pt x="628087" y="1257651"/>
                </a:cubicBezTo>
                <a:cubicBezTo>
                  <a:pt x="628087" y="1256721"/>
                  <a:pt x="628087" y="1255791"/>
                  <a:pt x="628087" y="1254833"/>
                </a:cubicBezTo>
                <a:cubicBezTo>
                  <a:pt x="627108" y="1254662"/>
                  <a:pt x="626129" y="1254491"/>
                  <a:pt x="625121" y="1254315"/>
                </a:cubicBezTo>
                <a:cubicBezTo>
                  <a:pt x="623845" y="1254079"/>
                  <a:pt x="622568" y="1253843"/>
                  <a:pt x="621252" y="1253600"/>
                </a:cubicBezTo>
                <a:cubicBezTo>
                  <a:pt x="619984" y="1253371"/>
                  <a:pt x="618716" y="1253142"/>
                  <a:pt x="617409" y="1252906"/>
                </a:cubicBezTo>
                <a:cubicBezTo>
                  <a:pt x="614027" y="1252014"/>
                  <a:pt x="614027" y="1252014"/>
                  <a:pt x="610904" y="1249196"/>
                </a:cubicBezTo>
                <a:cubicBezTo>
                  <a:pt x="592259" y="1248653"/>
                  <a:pt x="578635" y="1260869"/>
                  <a:pt x="565739" y="1271742"/>
                </a:cubicBezTo>
                <a:cubicBezTo>
                  <a:pt x="558808" y="1277725"/>
                  <a:pt x="552763" y="1283983"/>
                  <a:pt x="546924" y="1290829"/>
                </a:cubicBezTo>
                <a:cubicBezTo>
                  <a:pt x="545838" y="1292087"/>
                  <a:pt x="544753" y="1293346"/>
                  <a:pt x="543635" y="1294643"/>
                </a:cubicBezTo>
                <a:cubicBezTo>
                  <a:pt x="542650" y="1295813"/>
                  <a:pt x="541666" y="1296983"/>
                  <a:pt x="540651" y="1298188"/>
                </a:cubicBezTo>
                <a:cubicBezTo>
                  <a:pt x="537294" y="1301526"/>
                  <a:pt x="533978" y="1303337"/>
                  <a:pt x="529673" y="1305565"/>
                </a:cubicBezTo>
                <a:cubicBezTo>
                  <a:pt x="527599" y="1308478"/>
                  <a:pt x="527599" y="1308478"/>
                  <a:pt x="526549" y="1311202"/>
                </a:cubicBezTo>
                <a:cubicBezTo>
                  <a:pt x="525518" y="1311202"/>
                  <a:pt x="524487" y="1311202"/>
                  <a:pt x="523425" y="1311202"/>
                </a:cubicBezTo>
                <a:cubicBezTo>
                  <a:pt x="523360" y="1311986"/>
                  <a:pt x="523296" y="1312771"/>
                  <a:pt x="523230" y="1313580"/>
                </a:cubicBezTo>
                <a:cubicBezTo>
                  <a:pt x="521863" y="1316839"/>
                  <a:pt x="521863" y="1316839"/>
                  <a:pt x="517732" y="1319739"/>
                </a:cubicBezTo>
                <a:cubicBezTo>
                  <a:pt x="511111" y="1324565"/>
                  <a:pt x="506875" y="1330731"/>
                  <a:pt x="502239" y="1337096"/>
                </a:cubicBezTo>
                <a:cubicBezTo>
                  <a:pt x="500512" y="1339427"/>
                  <a:pt x="498785" y="1341757"/>
                  <a:pt x="497058" y="1344087"/>
                </a:cubicBezTo>
                <a:cubicBezTo>
                  <a:pt x="495827" y="1345760"/>
                  <a:pt x="495827" y="1345760"/>
                  <a:pt x="494572" y="1347465"/>
                </a:cubicBezTo>
                <a:cubicBezTo>
                  <a:pt x="492366" y="1350414"/>
                  <a:pt x="490094" y="1353304"/>
                  <a:pt x="487776" y="1356181"/>
                </a:cubicBezTo>
                <a:cubicBezTo>
                  <a:pt x="484805" y="1359972"/>
                  <a:pt x="482865" y="1363193"/>
                  <a:pt x="481248" y="1367571"/>
                </a:cubicBezTo>
                <a:cubicBezTo>
                  <a:pt x="480216" y="1367571"/>
                  <a:pt x="479186" y="1367571"/>
                  <a:pt x="478123" y="1367571"/>
                </a:cubicBezTo>
                <a:cubicBezTo>
                  <a:pt x="477963" y="1368558"/>
                  <a:pt x="477801" y="1369547"/>
                  <a:pt x="477635" y="1370565"/>
                </a:cubicBezTo>
                <a:cubicBezTo>
                  <a:pt x="475602" y="1378236"/>
                  <a:pt x="471952" y="1383371"/>
                  <a:pt x="465626" y="1388709"/>
                </a:cubicBezTo>
                <a:cubicBezTo>
                  <a:pt x="462272" y="1392748"/>
                  <a:pt x="462272" y="1392748"/>
                  <a:pt x="461233" y="1397340"/>
                </a:cubicBezTo>
                <a:cubicBezTo>
                  <a:pt x="460030" y="1401461"/>
                  <a:pt x="458298" y="1404501"/>
                  <a:pt x="455765" y="1408086"/>
                </a:cubicBezTo>
                <a:cubicBezTo>
                  <a:pt x="442829" y="1428603"/>
                  <a:pt x="441572" y="1454548"/>
                  <a:pt x="439070" y="1477490"/>
                </a:cubicBezTo>
                <a:cubicBezTo>
                  <a:pt x="437524" y="1477955"/>
                  <a:pt x="435977" y="1478420"/>
                  <a:pt x="434384" y="1478899"/>
                </a:cubicBezTo>
                <a:cubicBezTo>
                  <a:pt x="433739" y="1479916"/>
                  <a:pt x="433095" y="1480933"/>
                  <a:pt x="432431" y="1481982"/>
                </a:cubicBezTo>
                <a:cubicBezTo>
                  <a:pt x="428860" y="1487159"/>
                  <a:pt x="424291" y="1490903"/>
                  <a:pt x="418763" y="1494401"/>
                </a:cubicBezTo>
                <a:cubicBezTo>
                  <a:pt x="417731" y="1494401"/>
                  <a:pt x="416701" y="1494401"/>
                  <a:pt x="415639" y="1494401"/>
                </a:cubicBezTo>
                <a:cubicBezTo>
                  <a:pt x="415639" y="1495330"/>
                  <a:pt x="415639" y="1496260"/>
                  <a:pt x="415639" y="1497219"/>
                </a:cubicBezTo>
                <a:cubicBezTo>
                  <a:pt x="412546" y="1497684"/>
                  <a:pt x="409453" y="1498149"/>
                  <a:pt x="406265" y="1498628"/>
                </a:cubicBezTo>
                <a:cubicBezTo>
                  <a:pt x="406265" y="1499559"/>
                  <a:pt x="406265" y="1500488"/>
                  <a:pt x="406265" y="1501447"/>
                </a:cubicBezTo>
                <a:cubicBezTo>
                  <a:pt x="395955" y="1501447"/>
                  <a:pt x="385645" y="1501447"/>
                  <a:pt x="375023" y="1501447"/>
                </a:cubicBezTo>
                <a:lnTo>
                  <a:pt x="375023" y="1499438"/>
                </a:lnTo>
                <a:lnTo>
                  <a:pt x="374964" y="1499436"/>
                </a:lnTo>
                <a:lnTo>
                  <a:pt x="373179" y="1498628"/>
                </a:lnTo>
                <a:lnTo>
                  <a:pt x="365650" y="1498628"/>
                </a:lnTo>
                <a:lnTo>
                  <a:pt x="363134" y="1494087"/>
                </a:lnTo>
                <a:lnTo>
                  <a:pt x="362171" y="1493651"/>
                </a:lnTo>
                <a:cubicBezTo>
                  <a:pt x="361656" y="1492722"/>
                  <a:pt x="361140" y="1491791"/>
                  <a:pt x="360609" y="1490833"/>
                </a:cubicBezTo>
                <a:cubicBezTo>
                  <a:pt x="361640" y="1490833"/>
                  <a:pt x="362671" y="1490833"/>
                  <a:pt x="363733" y="1490833"/>
                </a:cubicBezTo>
                <a:lnTo>
                  <a:pt x="363733" y="1489980"/>
                </a:lnTo>
                <a:lnTo>
                  <a:pt x="348467" y="1481717"/>
                </a:lnTo>
                <a:lnTo>
                  <a:pt x="343872" y="1461078"/>
                </a:lnTo>
                <a:lnTo>
                  <a:pt x="343656" y="1463649"/>
                </a:lnTo>
                <a:cubicBezTo>
                  <a:pt x="343541" y="1465230"/>
                  <a:pt x="343541" y="1465230"/>
                  <a:pt x="343424" y="1466842"/>
                </a:cubicBezTo>
                <a:cubicBezTo>
                  <a:pt x="342908" y="1466842"/>
                  <a:pt x="342393" y="1466842"/>
                  <a:pt x="341861" y="1466842"/>
                </a:cubicBezTo>
                <a:cubicBezTo>
                  <a:pt x="340987" y="1449564"/>
                  <a:pt x="340999" y="1434331"/>
                  <a:pt x="354143" y="1420549"/>
                </a:cubicBezTo>
                <a:cubicBezTo>
                  <a:pt x="360765" y="1414011"/>
                  <a:pt x="367631" y="1407790"/>
                  <a:pt x="376229" y="1403427"/>
                </a:cubicBezTo>
                <a:lnTo>
                  <a:pt x="379491" y="1404408"/>
                </a:lnTo>
                <a:lnTo>
                  <a:pt x="379710" y="1404210"/>
                </a:lnTo>
                <a:cubicBezTo>
                  <a:pt x="380290" y="1402902"/>
                  <a:pt x="380290" y="1402902"/>
                  <a:pt x="380882" y="1401568"/>
                </a:cubicBezTo>
                <a:cubicBezTo>
                  <a:pt x="383675" y="1397284"/>
                  <a:pt x="387587" y="1395610"/>
                  <a:pt x="392207" y="1392936"/>
                </a:cubicBezTo>
                <a:lnTo>
                  <a:pt x="399542" y="1386774"/>
                </a:lnTo>
                <a:lnTo>
                  <a:pt x="405485" y="1378917"/>
                </a:lnTo>
                <a:cubicBezTo>
                  <a:pt x="408065" y="1375974"/>
                  <a:pt x="410029" y="1372774"/>
                  <a:pt x="412008" y="1369481"/>
                </a:cubicBezTo>
                <a:cubicBezTo>
                  <a:pt x="414759" y="1365166"/>
                  <a:pt x="417963" y="1361131"/>
                  <a:pt x="421130" y="1357057"/>
                </a:cubicBezTo>
                <a:cubicBezTo>
                  <a:pt x="423073" y="1354140"/>
                  <a:pt x="423985" y="1351767"/>
                  <a:pt x="424676" y="1348443"/>
                </a:cubicBezTo>
                <a:lnTo>
                  <a:pt x="427275" y="1348443"/>
                </a:lnTo>
                <a:lnTo>
                  <a:pt x="428135" y="1345727"/>
                </a:lnTo>
                <a:cubicBezTo>
                  <a:pt x="429370" y="1341828"/>
                  <a:pt x="430645" y="1338666"/>
                  <a:pt x="432822" y="1335158"/>
                </a:cubicBezTo>
                <a:cubicBezTo>
                  <a:pt x="433853" y="1335158"/>
                  <a:pt x="434884" y="1335158"/>
                  <a:pt x="435946" y="1335158"/>
                </a:cubicBezTo>
                <a:cubicBezTo>
                  <a:pt x="436526" y="1333385"/>
                  <a:pt x="437106" y="1331613"/>
                  <a:pt x="437704" y="1329786"/>
                </a:cubicBezTo>
                <a:cubicBezTo>
                  <a:pt x="440162" y="1323132"/>
                  <a:pt x="443602" y="1317301"/>
                  <a:pt x="447394" y="1311196"/>
                </a:cubicBezTo>
                <a:cubicBezTo>
                  <a:pt x="456493" y="1296485"/>
                  <a:pt x="463325" y="1281864"/>
                  <a:pt x="469287" y="1265964"/>
                </a:cubicBezTo>
                <a:cubicBezTo>
                  <a:pt x="474589" y="1252134"/>
                  <a:pt x="474589" y="1252134"/>
                  <a:pt x="478178" y="1246787"/>
                </a:cubicBezTo>
                <a:cubicBezTo>
                  <a:pt x="481232" y="1240246"/>
                  <a:pt x="480204" y="1232766"/>
                  <a:pt x="480179" y="1225768"/>
                </a:cubicBezTo>
                <a:cubicBezTo>
                  <a:pt x="480174" y="1222894"/>
                  <a:pt x="480210" y="1220023"/>
                  <a:pt x="480250" y="1217149"/>
                </a:cubicBezTo>
                <a:cubicBezTo>
                  <a:pt x="480260" y="1199291"/>
                  <a:pt x="476718" y="1187768"/>
                  <a:pt x="462972" y="1174827"/>
                </a:cubicBezTo>
                <a:cubicBezTo>
                  <a:pt x="461148" y="1173192"/>
                  <a:pt x="459312" y="1171566"/>
                  <a:pt x="457468" y="1169949"/>
                </a:cubicBezTo>
                <a:cubicBezTo>
                  <a:pt x="451412" y="1164522"/>
                  <a:pt x="445876" y="1158660"/>
                  <a:pt x="440657" y="1152570"/>
                </a:cubicBezTo>
                <a:cubicBezTo>
                  <a:pt x="430474" y="1140786"/>
                  <a:pt x="418230" y="1128998"/>
                  <a:pt x="403142" y="1122366"/>
                </a:cubicBezTo>
                <a:cubicBezTo>
                  <a:pt x="402626" y="1121436"/>
                  <a:pt x="402110" y="1120506"/>
                  <a:pt x="401579" y="1119547"/>
                </a:cubicBezTo>
                <a:cubicBezTo>
                  <a:pt x="390472" y="1115326"/>
                  <a:pt x="375918" y="1114217"/>
                  <a:pt x="364564" y="1118209"/>
                </a:cubicBezTo>
                <a:cubicBezTo>
                  <a:pt x="362278" y="1119428"/>
                  <a:pt x="360026" y="1120704"/>
                  <a:pt x="357822" y="1122041"/>
                </a:cubicBezTo>
                <a:cubicBezTo>
                  <a:pt x="354521" y="1123884"/>
                  <a:pt x="351862" y="1124582"/>
                  <a:pt x="348077" y="1125273"/>
                </a:cubicBezTo>
                <a:cubicBezTo>
                  <a:pt x="341765" y="1126696"/>
                  <a:pt x="339382" y="1128619"/>
                  <a:pt x="334408" y="1132230"/>
                </a:cubicBezTo>
                <a:cubicBezTo>
                  <a:pt x="332284" y="1132909"/>
                  <a:pt x="330131" y="1133519"/>
                  <a:pt x="327964" y="1134080"/>
                </a:cubicBezTo>
                <a:cubicBezTo>
                  <a:pt x="309975" y="1139067"/>
                  <a:pt x="290592" y="1152117"/>
                  <a:pt x="279734" y="1166051"/>
                </a:cubicBezTo>
                <a:cubicBezTo>
                  <a:pt x="277929" y="1169534"/>
                  <a:pt x="277929" y="1169534"/>
                  <a:pt x="276609" y="1173098"/>
                </a:cubicBezTo>
                <a:cubicBezTo>
                  <a:pt x="272413" y="1180804"/>
                  <a:pt x="269322" y="1184144"/>
                  <a:pt x="260988" y="1188599"/>
                </a:cubicBezTo>
                <a:cubicBezTo>
                  <a:pt x="259988" y="1189435"/>
                  <a:pt x="258987" y="1190271"/>
                  <a:pt x="257956" y="1191132"/>
                </a:cubicBezTo>
                <a:lnTo>
                  <a:pt x="243805" y="1196629"/>
                </a:lnTo>
                <a:lnTo>
                  <a:pt x="243805" y="1194236"/>
                </a:lnTo>
                <a:lnTo>
                  <a:pt x="240288" y="1194765"/>
                </a:lnTo>
                <a:lnTo>
                  <a:pt x="243374" y="1194765"/>
                </a:lnTo>
                <a:lnTo>
                  <a:pt x="243374" y="1196797"/>
                </a:lnTo>
                <a:lnTo>
                  <a:pt x="243805" y="1196629"/>
                </a:lnTo>
                <a:lnTo>
                  <a:pt x="243805" y="1197055"/>
                </a:lnTo>
                <a:lnTo>
                  <a:pt x="243374" y="1197055"/>
                </a:lnTo>
                <a:lnTo>
                  <a:pt x="243374" y="1197584"/>
                </a:lnTo>
                <a:lnTo>
                  <a:pt x="241319" y="1197595"/>
                </a:lnTo>
                <a:lnTo>
                  <a:pt x="238009" y="1198881"/>
                </a:lnTo>
                <a:cubicBezTo>
                  <a:pt x="231012" y="1199584"/>
                  <a:pt x="223620" y="1198927"/>
                  <a:pt x="215687" y="1198464"/>
                </a:cubicBezTo>
                <a:lnTo>
                  <a:pt x="215687" y="1197734"/>
                </a:lnTo>
                <a:lnTo>
                  <a:pt x="213936" y="1197744"/>
                </a:lnTo>
                <a:cubicBezTo>
                  <a:pt x="210570" y="1197584"/>
                  <a:pt x="210570" y="1197584"/>
                  <a:pt x="207446" y="1196175"/>
                </a:cubicBezTo>
                <a:lnTo>
                  <a:pt x="207822" y="1195610"/>
                </a:lnTo>
                <a:lnTo>
                  <a:pt x="184737" y="1180936"/>
                </a:lnTo>
                <a:cubicBezTo>
                  <a:pt x="180258" y="1172216"/>
                  <a:pt x="179226" y="1164355"/>
                  <a:pt x="179270" y="1154866"/>
                </a:cubicBezTo>
                <a:cubicBezTo>
                  <a:pt x="179233" y="1153260"/>
                  <a:pt x="179233" y="1153260"/>
                  <a:pt x="179194" y="1151621"/>
                </a:cubicBezTo>
                <a:cubicBezTo>
                  <a:pt x="179182" y="1139523"/>
                  <a:pt x="183658" y="1128837"/>
                  <a:pt x="193195" y="1120065"/>
                </a:cubicBezTo>
                <a:cubicBezTo>
                  <a:pt x="204265" y="1110959"/>
                  <a:pt x="215062" y="1110626"/>
                  <a:pt x="229551" y="1110299"/>
                </a:cubicBezTo>
                <a:cubicBezTo>
                  <a:pt x="240132" y="1110024"/>
                  <a:pt x="250506" y="1109652"/>
                  <a:pt x="260988" y="1108274"/>
                </a:cubicBezTo>
                <a:cubicBezTo>
                  <a:pt x="260988" y="1107344"/>
                  <a:pt x="260988" y="1106413"/>
                  <a:pt x="260988" y="1105455"/>
                </a:cubicBezTo>
                <a:cubicBezTo>
                  <a:pt x="261953" y="1105078"/>
                  <a:pt x="262918" y="1104699"/>
                  <a:pt x="263911" y="1104310"/>
                </a:cubicBezTo>
                <a:cubicBezTo>
                  <a:pt x="272903" y="1100557"/>
                  <a:pt x="279802" y="1096307"/>
                  <a:pt x="286995" y="1090185"/>
                </a:cubicBezTo>
                <a:cubicBezTo>
                  <a:pt x="290956" y="1086897"/>
                  <a:pt x="295114" y="1083955"/>
                  <a:pt x="299358" y="1080970"/>
                </a:cubicBezTo>
                <a:cubicBezTo>
                  <a:pt x="306613" y="1075692"/>
                  <a:pt x="312234" y="1070023"/>
                  <a:pt x="317762" y="1063272"/>
                </a:cubicBezTo>
                <a:cubicBezTo>
                  <a:pt x="320349" y="1060360"/>
                  <a:pt x="320349" y="1060360"/>
                  <a:pt x="325035" y="1057542"/>
                </a:cubicBezTo>
                <a:cubicBezTo>
                  <a:pt x="329912" y="1045734"/>
                  <a:pt x="327928" y="1035103"/>
                  <a:pt x="325328" y="1023104"/>
                </a:cubicBezTo>
                <a:cubicBezTo>
                  <a:pt x="325069" y="1021831"/>
                  <a:pt x="324811" y="1020559"/>
                  <a:pt x="324544" y="1019247"/>
                </a:cubicBezTo>
                <a:cubicBezTo>
                  <a:pt x="322876" y="1011407"/>
                  <a:pt x="320562" y="1004340"/>
                  <a:pt x="317225" y="996945"/>
                </a:cubicBezTo>
                <a:cubicBezTo>
                  <a:pt x="316619" y="995541"/>
                  <a:pt x="316013" y="994137"/>
                  <a:pt x="315388" y="992690"/>
                </a:cubicBezTo>
                <a:cubicBezTo>
                  <a:pt x="306307" y="972561"/>
                  <a:pt x="298931" y="959343"/>
                  <a:pt x="276232" y="950666"/>
                </a:cubicBezTo>
                <a:cubicBezTo>
                  <a:pt x="274810" y="950127"/>
                  <a:pt x="273388" y="949587"/>
                  <a:pt x="271923" y="949031"/>
                </a:cubicBezTo>
                <a:cubicBezTo>
                  <a:pt x="270129" y="948244"/>
                  <a:pt x="270129" y="948244"/>
                  <a:pt x="268299" y="947441"/>
                </a:cubicBezTo>
                <a:cubicBezTo>
                  <a:pt x="247071" y="938140"/>
                  <a:pt x="222259" y="939051"/>
                  <a:pt x="199187" y="938991"/>
                </a:cubicBezTo>
                <a:cubicBezTo>
                  <a:pt x="197383" y="938984"/>
                  <a:pt x="195579" y="938978"/>
                  <a:pt x="193719" y="938971"/>
                </a:cubicBezTo>
                <a:cubicBezTo>
                  <a:pt x="192010" y="938974"/>
                  <a:pt x="190300" y="938977"/>
                  <a:pt x="188539" y="938980"/>
                </a:cubicBezTo>
                <a:cubicBezTo>
                  <a:pt x="187000" y="938981"/>
                  <a:pt x="185460" y="938983"/>
                  <a:pt x="183874" y="938985"/>
                </a:cubicBezTo>
                <a:cubicBezTo>
                  <a:pt x="180148" y="939150"/>
                  <a:pt x="177092" y="939720"/>
                  <a:pt x="173509" y="940576"/>
                </a:cubicBezTo>
                <a:cubicBezTo>
                  <a:pt x="169458" y="940674"/>
                  <a:pt x="165452" y="940710"/>
                  <a:pt x="161403" y="940664"/>
                </a:cubicBezTo>
                <a:cubicBezTo>
                  <a:pt x="160314" y="940658"/>
                  <a:pt x="159224" y="940651"/>
                  <a:pt x="158102" y="940645"/>
                </a:cubicBezTo>
                <a:lnTo>
                  <a:pt x="150875" y="940583"/>
                </a:lnTo>
                <a:lnTo>
                  <a:pt x="148425" y="940717"/>
                </a:lnTo>
                <a:lnTo>
                  <a:pt x="149617" y="940995"/>
                </a:lnTo>
                <a:cubicBezTo>
                  <a:pt x="149617" y="941459"/>
                  <a:pt x="149617" y="941924"/>
                  <a:pt x="149617" y="942404"/>
                </a:cubicBezTo>
                <a:cubicBezTo>
                  <a:pt x="148630" y="942558"/>
                  <a:pt x="147643" y="942712"/>
                  <a:pt x="146627" y="942871"/>
                </a:cubicBezTo>
                <a:cubicBezTo>
                  <a:pt x="134541" y="944804"/>
                  <a:pt x="122553" y="947081"/>
                  <a:pt x="110564" y="949449"/>
                </a:cubicBezTo>
                <a:lnTo>
                  <a:pt x="111283" y="946205"/>
                </a:lnTo>
                <a:lnTo>
                  <a:pt x="101652" y="956078"/>
                </a:lnTo>
                <a:cubicBezTo>
                  <a:pt x="99870" y="957260"/>
                  <a:pt x="99870" y="957260"/>
                  <a:pt x="98052" y="958467"/>
                </a:cubicBezTo>
                <a:cubicBezTo>
                  <a:pt x="75683" y="972989"/>
                  <a:pt x="75683" y="972989"/>
                  <a:pt x="67286" y="972989"/>
                </a:cubicBezTo>
                <a:cubicBezTo>
                  <a:pt x="67286" y="973918"/>
                  <a:pt x="67286" y="974848"/>
                  <a:pt x="67286" y="975807"/>
                </a:cubicBezTo>
                <a:cubicBezTo>
                  <a:pt x="55713" y="979519"/>
                  <a:pt x="43549" y="980689"/>
                  <a:pt x="31942" y="976423"/>
                </a:cubicBezTo>
                <a:cubicBezTo>
                  <a:pt x="19953" y="970870"/>
                  <a:pt x="10774" y="964932"/>
                  <a:pt x="5673" y="953419"/>
                </a:cubicBezTo>
                <a:cubicBezTo>
                  <a:pt x="4801" y="950441"/>
                  <a:pt x="4801" y="950441"/>
                  <a:pt x="4801" y="944804"/>
                </a:cubicBezTo>
                <a:cubicBezTo>
                  <a:pt x="3770" y="944804"/>
                  <a:pt x="2739" y="944804"/>
                  <a:pt x="1676" y="944804"/>
                </a:cubicBezTo>
                <a:cubicBezTo>
                  <a:pt x="-34" y="940174"/>
                  <a:pt x="-41" y="936720"/>
                  <a:pt x="17" y="931857"/>
                </a:cubicBezTo>
                <a:cubicBezTo>
                  <a:pt x="31" y="930325"/>
                  <a:pt x="45" y="928794"/>
                  <a:pt x="59" y="927216"/>
                </a:cubicBezTo>
                <a:cubicBezTo>
                  <a:pt x="78" y="926044"/>
                  <a:pt x="96" y="924873"/>
                  <a:pt x="115" y="923666"/>
                </a:cubicBezTo>
                <a:cubicBezTo>
                  <a:pt x="1145" y="923666"/>
                  <a:pt x="2176" y="923666"/>
                  <a:pt x="3238" y="923666"/>
                </a:cubicBezTo>
                <a:cubicBezTo>
                  <a:pt x="3238" y="921805"/>
                  <a:pt x="3238" y="919945"/>
                  <a:pt x="3238" y="918029"/>
                </a:cubicBezTo>
                <a:cubicBezTo>
                  <a:pt x="4270" y="918029"/>
                  <a:pt x="5300" y="918029"/>
                  <a:pt x="6363" y="918029"/>
                </a:cubicBezTo>
                <a:cubicBezTo>
                  <a:pt x="6459" y="916314"/>
                  <a:pt x="6556" y="914599"/>
                  <a:pt x="6656" y="912832"/>
                </a:cubicBezTo>
                <a:cubicBezTo>
                  <a:pt x="7542" y="906455"/>
                  <a:pt x="10104" y="903750"/>
                  <a:pt x="15736" y="899709"/>
                </a:cubicBezTo>
                <a:lnTo>
                  <a:pt x="17243" y="898894"/>
                </a:lnTo>
                <a:lnTo>
                  <a:pt x="16800" y="898694"/>
                </a:lnTo>
                <a:lnTo>
                  <a:pt x="24988" y="894101"/>
                </a:lnTo>
                <a:lnTo>
                  <a:pt x="26768" y="892399"/>
                </a:lnTo>
                <a:cubicBezTo>
                  <a:pt x="28282" y="891122"/>
                  <a:pt x="29038" y="890483"/>
                  <a:pt x="30198" y="890164"/>
                </a:cubicBezTo>
                <a:lnTo>
                  <a:pt x="32204" y="890054"/>
                </a:lnTo>
                <a:lnTo>
                  <a:pt x="38914" y="886291"/>
                </a:lnTo>
                <a:cubicBezTo>
                  <a:pt x="47169" y="885770"/>
                  <a:pt x="55396" y="885800"/>
                  <a:pt x="63664" y="886011"/>
                </a:cubicBezTo>
                <a:lnTo>
                  <a:pt x="63664" y="886531"/>
                </a:lnTo>
                <a:lnTo>
                  <a:pt x="70784" y="886647"/>
                </a:lnTo>
                <a:cubicBezTo>
                  <a:pt x="74787" y="887000"/>
                  <a:pt x="77233" y="887948"/>
                  <a:pt x="82126" y="889845"/>
                </a:cubicBezTo>
                <a:cubicBezTo>
                  <a:pt x="92427" y="893791"/>
                  <a:pt x="103139" y="893710"/>
                  <a:pt x="114149" y="892663"/>
                </a:cubicBezTo>
                <a:cubicBezTo>
                  <a:pt x="115696" y="891733"/>
                  <a:pt x="117242" y="890803"/>
                  <a:pt x="118836" y="889845"/>
                </a:cubicBezTo>
                <a:cubicBezTo>
                  <a:pt x="123097" y="888850"/>
                  <a:pt x="127325" y="887944"/>
                  <a:pt x="131626" y="887114"/>
                </a:cubicBezTo>
                <a:cubicBezTo>
                  <a:pt x="139750" y="885542"/>
                  <a:pt x="147376" y="883653"/>
                  <a:pt x="155116" y="880913"/>
                </a:cubicBezTo>
                <a:cubicBezTo>
                  <a:pt x="158498" y="879775"/>
                  <a:pt x="161861" y="879076"/>
                  <a:pt x="165406" y="878483"/>
                </a:cubicBezTo>
                <a:cubicBezTo>
                  <a:pt x="170342" y="877655"/>
                  <a:pt x="172265" y="876971"/>
                  <a:pt x="176634" y="874343"/>
                </a:cubicBezTo>
                <a:cubicBezTo>
                  <a:pt x="179863" y="873335"/>
                  <a:pt x="183123" y="872404"/>
                  <a:pt x="186397" y="871524"/>
                </a:cubicBezTo>
                <a:cubicBezTo>
                  <a:pt x="189107" y="870786"/>
                  <a:pt x="189107" y="870786"/>
                  <a:pt x="191871" y="870033"/>
                </a:cubicBezTo>
                <a:cubicBezTo>
                  <a:pt x="195731" y="869023"/>
                  <a:pt x="199587" y="868093"/>
                  <a:pt x="203483" y="867208"/>
                </a:cubicBezTo>
                <a:cubicBezTo>
                  <a:pt x="208339" y="866199"/>
                  <a:pt x="208339" y="866199"/>
                  <a:pt x="211001" y="861660"/>
                </a:cubicBezTo>
                <a:cubicBezTo>
                  <a:pt x="214174" y="860102"/>
                  <a:pt x="214174" y="860102"/>
                  <a:pt x="218031" y="858577"/>
                </a:cubicBezTo>
                <a:cubicBezTo>
                  <a:pt x="236068" y="850629"/>
                  <a:pt x="245199" y="840442"/>
                  <a:pt x="254740" y="825020"/>
                </a:cubicBezTo>
                <a:cubicBezTo>
                  <a:pt x="255771" y="823625"/>
                  <a:pt x="256802" y="822230"/>
                  <a:pt x="257864" y="820792"/>
                </a:cubicBezTo>
                <a:cubicBezTo>
                  <a:pt x="258359" y="817506"/>
                  <a:pt x="258359" y="817506"/>
                  <a:pt x="258318" y="813810"/>
                </a:cubicBezTo>
                <a:cubicBezTo>
                  <a:pt x="258338" y="812388"/>
                  <a:pt x="258358" y="810967"/>
                  <a:pt x="258378" y="809502"/>
                </a:cubicBezTo>
                <a:cubicBezTo>
                  <a:pt x="258382" y="807965"/>
                  <a:pt x="258385" y="806429"/>
                  <a:pt x="258389" y="804845"/>
                </a:cubicBezTo>
                <a:cubicBezTo>
                  <a:pt x="258399" y="803258"/>
                  <a:pt x="258410" y="801671"/>
                  <a:pt x="258420" y="800036"/>
                </a:cubicBezTo>
                <a:cubicBezTo>
                  <a:pt x="258436" y="796670"/>
                  <a:pt x="258443" y="793305"/>
                  <a:pt x="258443" y="789939"/>
                </a:cubicBezTo>
                <a:cubicBezTo>
                  <a:pt x="258450" y="784823"/>
                  <a:pt x="258506" y="779709"/>
                  <a:pt x="258566" y="774594"/>
                </a:cubicBezTo>
                <a:cubicBezTo>
                  <a:pt x="258575" y="771319"/>
                  <a:pt x="258581" y="768045"/>
                  <a:pt x="258584" y="764771"/>
                </a:cubicBezTo>
                <a:cubicBezTo>
                  <a:pt x="258618" y="762495"/>
                  <a:pt x="258618" y="762495"/>
                  <a:pt x="258652" y="760174"/>
                </a:cubicBezTo>
                <a:cubicBezTo>
                  <a:pt x="258586" y="750030"/>
                  <a:pt x="256266" y="742584"/>
                  <a:pt x="251616" y="733421"/>
                </a:cubicBezTo>
                <a:cubicBezTo>
                  <a:pt x="250163" y="729605"/>
                  <a:pt x="248880" y="725752"/>
                  <a:pt x="247613" y="721883"/>
                </a:cubicBezTo>
                <a:cubicBezTo>
                  <a:pt x="245789" y="716328"/>
                  <a:pt x="243913" y="710939"/>
                  <a:pt x="241291" y="705644"/>
                </a:cubicBezTo>
                <a:cubicBezTo>
                  <a:pt x="238691" y="700096"/>
                  <a:pt x="238136" y="695685"/>
                  <a:pt x="237557" y="689735"/>
                </a:cubicBezTo>
                <a:cubicBezTo>
                  <a:pt x="244977" y="685507"/>
                  <a:pt x="244977" y="685507"/>
                  <a:pt x="248492" y="685507"/>
                </a:cubicBezTo>
                <a:cubicBezTo>
                  <a:pt x="248492" y="684112"/>
                  <a:pt x="248492" y="682717"/>
                  <a:pt x="248492" y="681279"/>
                </a:cubicBezTo>
                <a:cubicBezTo>
                  <a:pt x="245914" y="680815"/>
                  <a:pt x="243337" y="680350"/>
                  <a:pt x="240681" y="679870"/>
                </a:cubicBezTo>
                <a:cubicBezTo>
                  <a:pt x="240681" y="678940"/>
                  <a:pt x="240681" y="678010"/>
                  <a:pt x="240681" y="677052"/>
                </a:cubicBezTo>
                <a:cubicBezTo>
                  <a:pt x="239827" y="676917"/>
                  <a:pt x="238973" y="676783"/>
                  <a:pt x="238094" y="676645"/>
                </a:cubicBezTo>
                <a:cubicBezTo>
                  <a:pt x="233442" y="675371"/>
                  <a:pt x="229939" y="673242"/>
                  <a:pt x="225841" y="670886"/>
                </a:cubicBezTo>
                <a:cubicBezTo>
                  <a:pt x="217808" y="666564"/>
                  <a:pt x="210635" y="664241"/>
                  <a:pt x="201531" y="662508"/>
                </a:cubicBezTo>
                <a:cubicBezTo>
                  <a:pt x="196896" y="661541"/>
                  <a:pt x="192682" y="660199"/>
                  <a:pt x="188252" y="658644"/>
                </a:cubicBezTo>
                <a:lnTo>
                  <a:pt x="182431" y="657327"/>
                </a:lnTo>
                <a:lnTo>
                  <a:pt x="182431" y="657613"/>
                </a:lnTo>
                <a:cubicBezTo>
                  <a:pt x="170575" y="657148"/>
                  <a:pt x="158718" y="656683"/>
                  <a:pt x="146503" y="656204"/>
                </a:cubicBezTo>
                <a:cubicBezTo>
                  <a:pt x="146503" y="657133"/>
                  <a:pt x="146503" y="658064"/>
                  <a:pt x="146503" y="659022"/>
                </a:cubicBezTo>
                <a:cubicBezTo>
                  <a:pt x="134359" y="662326"/>
                  <a:pt x="123013" y="663700"/>
                  <a:pt x="110378" y="663778"/>
                </a:cubicBezTo>
                <a:cubicBezTo>
                  <a:pt x="108435" y="663806"/>
                  <a:pt x="108435" y="663806"/>
                  <a:pt x="106453" y="663836"/>
                </a:cubicBezTo>
                <a:cubicBezTo>
                  <a:pt x="105231" y="663828"/>
                  <a:pt x="104009" y="663820"/>
                  <a:pt x="102751" y="663811"/>
                </a:cubicBezTo>
                <a:cubicBezTo>
                  <a:pt x="101117" y="663804"/>
                  <a:pt x="101117" y="663804"/>
                  <a:pt x="99449" y="663797"/>
                </a:cubicBezTo>
                <a:cubicBezTo>
                  <a:pt x="95696" y="663097"/>
                  <a:pt x="94265" y="661615"/>
                  <a:pt x="91828" y="659022"/>
                </a:cubicBezTo>
                <a:cubicBezTo>
                  <a:pt x="93890" y="659022"/>
                  <a:pt x="95953" y="659022"/>
                  <a:pt x="98077" y="659022"/>
                </a:cubicBezTo>
                <a:cubicBezTo>
                  <a:pt x="98077" y="659952"/>
                  <a:pt x="98077" y="660882"/>
                  <a:pt x="98077" y="661841"/>
                </a:cubicBezTo>
                <a:cubicBezTo>
                  <a:pt x="108735" y="662045"/>
                  <a:pt x="114063" y="662148"/>
                  <a:pt x="119023" y="661357"/>
                </a:cubicBezTo>
                <a:lnTo>
                  <a:pt x="119536" y="661197"/>
                </a:lnTo>
                <a:lnTo>
                  <a:pt x="109853" y="661639"/>
                </a:lnTo>
                <a:cubicBezTo>
                  <a:pt x="108764" y="661632"/>
                  <a:pt x="107675" y="661626"/>
                  <a:pt x="106552" y="661619"/>
                </a:cubicBezTo>
                <a:cubicBezTo>
                  <a:pt x="103877" y="661603"/>
                  <a:pt x="101203" y="661577"/>
                  <a:pt x="98528" y="661550"/>
                </a:cubicBezTo>
                <a:cubicBezTo>
                  <a:pt x="98528" y="660620"/>
                  <a:pt x="98528" y="659691"/>
                  <a:pt x="98528" y="658732"/>
                </a:cubicBezTo>
                <a:cubicBezTo>
                  <a:pt x="95435" y="658267"/>
                  <a:pt x="92342" y="657802"/>
                  <a:pt x="89155" y="657323"/>
                </a:cubicBezTo>
                <a:cubicBezTo>
                  <a:pt x="89155" y="656393"/>
                  <a:pt x="89155" y="655462"/>
                  <a:pt x="89155" y="654504"/>
                </a:cubicBezTo>
                <a:cubicBezTo>
                  <a:pt x="87790" y="653978"/>
                  <a:pt x="87790" y="653978"/>
                  <a:pt x="86397" y="653442"/>
                </a:cubicBezTo>
                <a:cubicBezTo>
                  <a:pt x="82415" y="651438"/>
                  <a:pt x="80039" y="649232"/>
                  <a:pt x="77049" y="646137"/>
                </a:cubicBezTo>
                <a:cubicBezTo>
                  <a:pt x="75611" y="644679"/>
                  <a:pt x="75611" y="644679"/>
                  <a:pt x="74145" y="643192"/>
                </a:cubicBezTo>
                <a:cubicBezTo>
                  <a:pt x="71972" y="640412"/>
                  <a:pt x="71972" y="640412"/>
                  <a:pt x="71972" y="636185"/>
                </a:cubicBezTo>
                <a:cubicBezTo>
                  <a:pt x="70941" y="636185"/>
                  <a:pt x="69910" y="636185"/>
                  <a:pt x="68848" y="636185"/>
                </a:cubicBezTo>
                <a:cubicBezTo>
                  <a:pt x="64250" y="621928"/>
                  <a:pt x="64695" y="609404"/>
                  <a:pt x="70410" y="595317"/>
                </a:cubicBezTo>
                <a:cubicBezTo>
                  <a:pt x="73096" y="591142"/>
                  <a:pt x="76144" y="587574"/>
                  <a:pt x="79782" y="584043"/>
                </a:cubicBezTo>
                <a:cubicBezTo>
                  <a:pt x="81205" y="582594"/>
                  <a:pt x="81205" y="582594"/>
                  <a:pt x="82656" y="581115"/>
                </a:cubicBezTo>
                <a:cubicBezTo>
                  <a:pt x="91488" y="574027"/>
                  <a:pt x="105133" y="571806"/>
                  <a:pt x="116694" y="572323"/>
                </a:cubicBezTo>
                <a:cubicBezTo>
                  <a:pt x="131556" y="574113"/>
                  <a:pt x="142046" y="580551"/>
                  <a:pt x="152031" y="590385"/>
                </a:cubicBezTo>
                <a:cubicBezTo>
                  <a:pt x="162272" y="600009"/>
                  <a:pt x="176992" y="605062"/>
                  <a:pt x="191474" y="605886"/>
                </a:cubicBezTo>
                <a:cubicBezTo>
                  <a:pt x="196845" y="606192"/>
                  <a:pt x="201203" y="606463"/>
                  <a:pt x="206314" y="608000"/>
                </a:cubicBezTo>
                <a:cubicBezTo>
                  <a:pt x="206314" y="608930"/>
                  <a:pt x="206314" y="609860"/>
                  <a:pt x="206314" y="610818"/>
                </a:cubicBezTo>
                <a:cubicBezTo>
                  <a:pt x="215689" y="610902"/>
                  <a:pt x="225058" y="610898"/>
                  <a:pt x="234433" y="610818"/>
                </a:cubicBezTo>
                <a:cubicBezTo>
                  <a:pt x="236112" y="610813"/>
                  <a:pt x="237791" y="610808"/>
                  <a:pt x="239522" y="610802"/>
                </a:cubicBezTo>
                <a:cubicBezTo>
                  <a:pt x="251005" y="610364"/>
                  <a:pt x="259257" y="606564"/>
                  <a:pt x="268799" y="600954"/>
                </a:cubicBezTo>
                <a:cubicBezTo>
                  <a:pt x="269770" y="600416"/>
                  <a:pt x="270740" y="599879"/>
                  <a:pt x="271740" y="599325"/>
                </a:cubicBezTo>
                <a:cubicBezTo>
                  <a:pt x="279452" y="594430"/>
                  <a:pt x="281420" y="587464"/>
                  <a:pt x="284420" y="579816"/>
                </a:cubicBezTo>
                <a:cubicBezTo>
                  <a:pt x="286047" y="576075"/>
                  <a:pt x="287725" y="572353"/>
                  <a:pt x="289399" y="568630"/>
                </a:cubicBezTo>
                <a:cubicBezTo>
                  <a:pt x="294095" y="558121"/>
                  <a:pt x="299004" y="547070"/>
                  <a:pt x="293958" y="535838"/>
                </a:cubicBezTo>
                <a:cubicBezTo>
                  <a:pt x="292436" y="533533"/>
                  <a:pt x="290781" y="531301"/>
                  <a:pt x="289107" y="529084"/>
                </a:cubicBezTo>
                <a:cubicBezTo>
                  <a:pt x="289107" y="528153"/>
                  <a:pt x="289107" y="527223"/>
                  <a:pt x="289107" y="526265"/>
                </a:cubicBezTo>
                <a:cubicBezTo>
                  <a:pt x="287560" y="525800"/>
                  <a:pt x="286014" y="525335"/>
                  <a:pt x="284420" y="524856"/>
                </a:cubicBezTo>
                <a:cubicBezTo>
                  <a:pt x="283905" y="523461"/>
                  <a:pt x="283389" y="522066"/>
                  <a:pt x="282858" y="520628"/>
                </a:cubicBezTo>
                <a:cubicBezTo>
                  <a:pt x="280750" y="518590"/>
                  <a:pt x="280750" y="518590"/>
                  <a:pt x="277977" y="516577"/>
                </a:cubicBezTo>
                <a:cubicBezTo>
                  <a:pt x="273591" y="513232"/>
                  <a:pt x="269227" y="509874"/>
                  <a:pt x="264925" y="506443"/>
                </a:cubicBezTo>
                <a:cubicBezTo>
                  <a:pt x="253596" y="497433"/>
                  <a:pt x="242132" y="488987"/>
                  <a:pt x="229746" y="481170"/>
                </a:cubicBezTo>
                <a:cubicBezTo>
                  <a:pt x="226846" y="479266"/>
                  <a:pt x="223950" y="477358"/>
                  <a:pt x="221057" y="475445"/>
                </a:cubicBezTo>
                <a:cubicBezTo>
                  <a:pt x="218227" y="473594"/>
                  <a:pt x="215396" y="471744"/>
                  <a:pt x="212563" y="469896"/>
                </a:cubicBezTo>
                <a:cubicBezTo>
                  <a:pt x="211351" y="469102"/>
                  <a:pt x="210138" y="468309"/>
                  <a:pt x="208889" y="467491"/>
                </a:cubicBezTo>
                <a:cubicBezTo>
                  <a:pt x="202848" y="463599"/>
                  <a:pt x="196732" y="459888"/>
                  <a:pt x="190406" y="456382"/>
                </a:cubicBezTo>
                <a:cubicBezTo>
                  <a:pt x="189263" y="455748"/>
                  <a:pt x="188119" y="455114"/>
                  <a:pt x="186942" y="454460"/>
                </a:cubicBezTo>
                <a:cubicBezTo>
                  <a:pt x="184648" y="453196"/>
                  <a:pt x="182348" y="451941"/>
                  <a:pt x="180041" y="450696"/>
                </a:cubicBezTo>
                <a:cubicBezTo>
                  <a:pt x="177292" y="449185"/>
                  <a:pt x="174612" y="447571"/>
                  <a:pt x="171948" y="445940"/>
                </a:cubicBezTo>
                <a:cubicBezTo>
                  <a:pt x="171948" y="445009"/>
                  <a:pt x="171948" y="444079"/>
                  <a:pt x="171948" y="443121"/>
                </a:cubicBezTo>
                <a:cubicBezTo>
                  <a:pt x="170804" y="442985"/>
                  <a:pt x="169660" y="442848"/>
                  <a:pt x="168482" y="442708"/>
                </a:cubicBezTo>
                <a:cubicBezTo>
                  <a:pt x="163547" y="441576"/>
                  <a:pt x="161063" y="439897"/>
                  <a:pt x="157107" y="437044"/>
                </a:cubicBezTo>
                <a:cubicBezTo>
                  <a:pt x="149345" y="431895"/>
                  <a:pt x="141843" y="429626"/>
                  <a:pt x="132559" y="427510"/>
                </a:cubicBezTo>
                <a:cubicBezTo>
                  <a:pt x="128067" y="426168"/>
                  <a:pt x="126607" y="425060"/>
                  <a:pt x="123522" y="421983"/>
                </a:cubicBezTo>
                <a:cubicBezTo>
                  <a:pt x="118310" y="419033"/>
                  <a:pt x="114076" y="418794"/>
                  <a:pt x="107986" y="418730"/>
                </a:cubicBezTo>
                <a:cubicBezTo>
                  <a:pt x="106174" y="418694"/>
                  <a:pt x="104362" y="418659"/>
                  <a:pt x="102494" y="418622"/>
                </a:cubicBezTo>
                <a:cubicBezTo>
                  <a:pt x="98715" y="418573"/>
                  <a:pt x="94936" y="418529"/>
                  <a:pt x="91157" y="418490"/>
                </a:cubicBezTo>
                <a:cubicBezTo>
                  <a:pt x="78470" y="418231"/>
                  <a:pt x="65485" y="417940"/>
                  <a:pt x="55277" y="410445"/>
                </a:cubicBezTo>
                <a:cubicBezTo>
                  <a:pt x="54084" y="409137"/>
                  <a:pt x="52893" y="407829"/>
                  <a:pt x="51665" y="406481"/>
                </a:cubicBezTo>
                <a:cubicBezTo>
                  <a:pt x="49752" y="404480"/>
                  <a:pt x="47831" y="402483"/>
                  <a:pt x="45904" y="400492"/>
                </a:cubicBezTo>
                <a:cubicBezTo>
                  <a:pt x="44996" y="399526"/>
                  <a:pt x="44088" y="398559"/>
                  <a:pt x="43152" y="397564"/>
                </a:cubicBezTo>
                <a:cubicBezTo>
                  <a:pt x="40865" y="395062"/>
                  <a:pt x="40865" y="395062"/>
                  <a:pt x="37605" y="393798"/>
                </a:cubicBezTo>
                <a:lnTo>
                  <a:pt x="38995" y="368712"/>
                </a:lnTo>
                <a:lnTo>
                  <a:pt x="38666" y="369724"/>
                </a:lnTo>
                <a:cubicBezTo>
                  <a:pt x="37003" y="374506"/>
                  <a:pt x="36202" y="379113"/>
                  <a:pt x="35542" y="384081"/>
                </a:cubicBezTo>
                <a:cubicBezTo>
                  <a:pt x="30313" y="376119"/>
                  <a:pt x="31188" y="366593"/>
                  <a:pt x="33326" y="357791"/>
                </a:cubicBezTo>
                <a:cubicBezTo>
                  <a:pt x="37176" y="347767"/>
                  <a:pt x="44536" y="340769"/>
                  <a:pt x="52725" y="333349"/>
                </a:cubicBezTo>
                <a:lnTo>
                  <a:pt x="55222" y="334475"/>
                </a:lnTo>
                <a:lnTo>
                  <a:pt x="56222" y="333347"/>
                </a:lnTo>
                <a:lnTo>
                  <a:pt x="55871" y="333347"/>
                </a:lnTo>
                <a:lnTo>
                  <a:pt x="56346" y="333207"/>
                </a:lnTo>
                <a:lnTo>
                  <a:pt x="56351" y="333202"/>
                </a:lnTo>
                <a:lnTo>
                  <a:pt x="56365" y="333202"/>
                </a:lnTo>
                <a:lnTo>
                  <a:pt x="79571" y="326360"/>
                </a:lnTo>
                <a:cubicBezTo>
                  <a:pt x="87782" y="326037"/>
                  <a:pt x="96164" y="327572"/>
                  <a:pt x="104297" y="330529"/>
                </a:cubicBezTo>
                <a:lnTo>
                  <a:pt x="107170" y="334417"/>
                </a:lnTo>
                <a:lnTo>
                  <a:pt x="109366" y="336046"/>
                </a:lnTo>
                <a:lnTo>
                  <a:pt x="109463" y="336020"/>
                </a:lnTo>
                <a:lnTo>
                  <a:pt x="109463" y="336118"/>
                </a:lnTo>
                <a:lnTo>
                  <a:pt x="115226" y="340394"/>
                </a:lnTo>
                <a:lnTo>
                  <a:pt x="114010" y="340120"/>
                </a:lnTo>
                <a:lnTo>
                  <a:pt x="133285" y="357423"/>
                </a:lnTo>
                <a:cubicBezTo>
                  <a:pt x="142471" y="373187"/>
                  <a:pt x="155564" y="382744"/>
                  <a:pt x="173509" y="389571"/>
                </a:cubicBezTo>
                <a:cubicBezTo>
                  <a:pt x="176254" y="390785"/>
                  <a:pt x="178988" y="392017"/>
                  <a:pt x="181711" y="393270"/>
                </a:cubicBezTo>
                <a:cubicBezTo>
                  <a:pt x="182964" y="393833"/>
                  <a:pt x="184216" y="394396"/>
                  <a:pt x="185507" y="394976"/>
                </a:cubicBezTo>
                <a:cubicBezTo>
                  <a:pt x="187897" y="396058"/>
                  <a:pt x="190281" y="397151"/>
                  <a:pt x="192658" y="398257"/>
                </a:cubicBezTo>
                <a:cubicBezTo>
                  <a:pt x="193749" y="398762"/>
                  <a:pt x="194841" y="399267"/>
                  <a:pt x="195966" y="399788"/>
                </a:cubicBezTo>
                <a:cubicBezTo>
                  <a:pt x="196912" y="400231"/>
                  <a:pt x="197858" y="400674"/>
                  <a:pt x="198833" y="401131"/>
                </a:cubicBezTo>
                <a:cubicBezTo>
                  <a:pt x="201808" y="402326"/>
                  <a:pt x="204701" y="403032"/>
                  <a:pt x="207877" y="403663"/>
                </a:cubicBezTo>
                <a:cubicBezTo>
                  <a:pt x="207877" y="404593"/>
                  <a:pt x="207877" y="405523"/>
                  <a:pt x="207877" y="406481"/>
                </a:cubicBezTo>
                <a:cubicBezTo>
                  <a:pt x="221233" y="411377"/>
                  <a:pt x="234752" y="415503"/>
                  <a:pt x="248492" y="419428"/>
                </a:cubicBezTo>
                <a:cubicBezTo>
                  <a:pt x="250298" y="419947"/>
                  <a:pt x="252104" y="420466"/>
                  <a:pt x="253965" y="421000"/>
                </a:cubicBezTo>
                <a:cubicBezTo>
                  <a:pt x="258388" y="422270"/>
                  <a:pt x="262812" y="423537"/>
                  <a:pt x="267237" y="424801"/>
                </a:cubicBezTo>
                <a:lnTo>
                  <a:pt x="267237" y="426451"/>
                </a:lnTo>
                <a:lnTo>
                  <a:pt x="288701" y="429217"/>
                </a:lnTo>
                <a:cubicBezTo>
                  <a:pt x="288701" y="430147"/>
                  <a:pt x="288701" y="431078"/>
                  <a:pt x="288701" y="432036"/>
                </a:cubicBezTo>
                <a:cubicBezTo>
                  <a:pt x="301487" y="433472"/>
                  <a:pt x="314148" y="433662"/>
                  <a:pt x="327010" y="433628"/>
                </a:cubicBezTo>
                <a:cubicBezTo>
                  <a:pt x="330502" y="433621"/>
                  <a:pt x="333994" y="433628"/>
                  <a:pt x="337486" y="433637"/>
                </a:cubicBezTo>
                <a:cubicBezTo>
                  <a:pt x="339734" y="433637"/>
                  <a:pt x="341982" y="433635"/>
                  <a:pt x="344229" y="433632"/>
                </a:cubicBezTo>
                <a:cubicBezTo>
                  <a:pt x="347246" y="433630"/>
                  <a:pt x="347246" y="433630"/>
                  <a:pt x="350323" y="433627"/>
                </a:cubicBezTo>
                <a:cubicBezTo>
                  <a:pt x="355445" y="433459"/>
                  <a:pt x="360220" y="432915"/>
                  <a:pt x="365245" y="432036"/>
                </a:cubicBezTo>
                <a:lnTo>
                  <a:pt x="360797" y="433759"/>
                </a:lnTo>
                <a:lnTo>
                  <a:pt x="365650" y="433257"/>
                </a:lnTo>
                <a:cubicBezTo>
                  <a:pt x="366166" y="431861"/>
                  <a:pt x="366682" y="430466"/>
                  <a:pt x="367213" y="429029"/>
                </a:cubicBezTo>
                <a:cubicBezTo>
                  <a:pt x="369854" y="427628"/>
                  <a:pt x="372501" y="426234"/>
                  <a:pt x="375188" y="424906"/>
                </a:cubicBezTo>
                <a:cubicBezTo>
                  <a:pt x="390245" y="417204"/>
                  <a:pt x="397438" y="403183"/>
                  <a:pt x="404704" y="389571"/>
                </a:cubicBezTo>
                <a:cubicBezTo>
                  <a:pt x="405219" y="389105"/>
                  <a:pt x="405734" y="388641"/>
                  <a:pt x="406265" y="388161"/>
                </a:cubicBezTo>
                <a:cubicBezTo>
                  <a:pt x="406663" y="382152"/>
                  <a:pt x="406555" y="376125"/>
                  <a:pt x="406559" y="370106"/>
                </a:cubicBezTo>
                <a:cubicBezTo>
                  <a:pt x="406578" y="368412"/>
                  <a:pt x="406597" y="366718"/>
                  <a:pt x="406617" y="364973"/>
                </a:cubicBezTo>
                <a:cubicBezTo>
                  <a:pt x="406620" y="363344"/>
                  <a:pt x="406622" y="361715"/>
                  <a:pt x="406626" y="360038"/>
                </a:cubicBezTo>
                <a:cubicBezTo>
                  <a:pt x="406632" y="358541"/>
                  <a:pt x="406638" y="357045"/>
                  <a:pt x="406645" y="355503"/>
                </a:cubicBezTo>
                <a:cubicBezTo>
                  <a:pt x="406264" y="351503"/>
                  <a:pt x="405326" y="349318"/>
                  <a:pt x="403142" y="345885"/>
                </a:cubicBezTo>
                <a:cubicBezTo>
                  <a:pt x="402583" y="343484"/>
                  <a:pt x="402067" y="341075"/>
                  <a:pt x="401579" y="338663"/>
                </a:cubicBezTo>
                <a:cubicBezTo>
                  <a:pt x="399365" y="330323"/>
                  <a:pt x="395538" y="323370"/>
                  <a:pt x="390938" y="315939"/>
                </a:cubicBezTo>
                <a:cubicBezTo>
                  <a:pt x="390290" y="314890"/>
                  <a:pt x="389642" y="313842"/>
                  <a:pt x="388976" y="312762"/>
                </a:cubicBezTo>
                <a:cubicBezTo>
                  <a:pt x="385623" y="307500"/>
                  <a:pt x="382070" y="302607"/>
                  <a:pt x="377934" y="297817"/>
                </a:cubicBezTo>
                <a:cubicBezTo>
                  <a:pt x="373788" y="292978"/>
                  <a:pt x="371423" y="288111"/>
                  <a:pt x="368775" y="282470"/>
                </a:cubicBezTo>
                <a:cubicBezTo>
                  <a:pt x="366035" y="278585"/>
                  <a:pt x="362994" y="274937"/>
                  <a:pt x="359890" y="271284"/>
                </a:cubicBezTo>
                <a:cubicBezTo>
                  <a:pt x="359059" y="270296"/>
                  <a:pt x="358230" y="269307"/>
                  <a:pt x="357374" y="268288"/>
                </a:cubicBezTo>
                <a:cubicBezTo>
                  <a:pt x="351312" y="261177"/>
                  <a:pt x="344882" y="254704"/>
                  <a:pt x="337533" y="248649"/>
                </a:cubicBezTo>
                <a:cubicBezTo>
                  <a:pt x="336767" y="247896"/>
                  <a:pt x="336002" y="247144"/>
                  <a:pt x="335214" y="246369"/>
                </a:cubicBezTo>
                <a:cubicBezTo>
                  <a:pt x="332597" y="243963"/>
                  <a:pt x="332597" y="243963"/>
                  <a:pt x="327085" y="242571"/>
                </a:cubicBezTo>
                <a:cubicBezTo>
                  <a:pt x="309670" y="236923"/>
                  <a:pt x="296614" y="222751"/>
                  <a:pt x="288785" y="207968"/>
                </a:cubicBezTo>
                <a:cubicBezTo>
                  <a:pt x="286673" y="202851"/>
                  <a:pt x="286348" y="197968"/>
                  <a:pt x="286373" y="192544"/>
                </a:cubicBezTo>
                <a:cubicBezTo>
                  <a:pt x="286377" y="191437"/>
                  <a:pt x="286381" y="190330"/>
                  <a:pt x="286385" y="189190"/>
                </a:cubicBezTo>
                <a:cubicBezTo>
                  <a:pt x="286881" y="178340"/>
                  <a:pt x="291581" y="171728"/>
                  <a:pt x="300042" y="164095"/>
                </a:cubicBezTo>
                <a:cubicBezTo>
                  <a:pt x="301386" y="162752"/>
                  <a:pt x="301386" y="162752"/>
                  <a:pt x="302757" y="161381"/>
                </a:cubicBezTo>
                <a:cubicBezTo>
                  <a:pt x="312597" y="152504"/>
                  <a:pt x="325185" y="152675"/>
                  <a:pt x="338411" y="152293"/>
                </a:cubicBezTo>
                <a:cubicBezTo>
                  <a:pt x="350839" y="152463"/>
                  <a:pt x="359094" y="154554"/>
                  <a:pt x="368482" y="161893"/>
                </a:cubicBezTo>
                <a:cubicBezTo>
                  <a:pt x="369609" y="163085"/>
                  <a:pt x="370737" y="164277"/>
                  <a:pt x="371899" y="165505"/>
                </a:cubicBezTo>
                <a:cubicBezTo>
                  <a:pt x="372962" y="166522"/>
                  <a:pt x="374026" y="167539"/>
                  <a:pt x="375121" y="168587"/>
                </a:cubicBezTo>
                <a:cubicBezTo>
                  <a:pt x="381050" y="176351"/>
                  <a:pt x="384520" y="184328"/>
                  <a:pt x="384982" y="193777"/>
                </a:cubicBezTo>
                <a:cubicBezTo>
                  <a:pt x="385464" y="201192"/>
                  <a:pt x="387638" y="207607"/>
                  <a:pt x="390352" y="214563"/>
                </a:cubicBezTo>
                <a:cubicBezTo>
                  <a:pt x="390934" y="216079"/>
                  <a:pt x="390934" y="216079"/>
                  <a:pt x="391529" y="217626"/>
                </a:cubicBezTo>
                <a:cubicBezTo>
                  <a:pt x="394082" y="223926"/>
                  <a:pt x="397412" y="228969"/>
                  <a:pt x="401579" y="234556"/>
                </a:cubicBezTo>
                <a:cubicBezTo>
                  <a:pt x="401579" y="235952"/>
                  <a:pt x="401579" y="237347"/>
                  <a:pt x="401579" y="238784"/>
                </a:cubicBezTo>
                <a:cubicBezTo>
                  <a:pt x="402884" y="239263"/>
                  <a:pt x="402884" y="239263"/>
                  <a:pt x="404215" y="239753"/>
                </a:cubicBezTo>
                <a:cubicBezTo>
                  <a:pt x="410099" y="242765"/>
                  <a:pt x="414395" y="246733"/>
                  <a:pt x="417811" y="251996"/>
                </a:cubicBezTo>
                <a:cubicBezTo>
                  <a:pt x="420462" y="255897"/>
                  <a:pt x="423407" y="258959"/>
                  <a:pt x="426866" y="262300"/>
                </a:cubicBezTo>
                <a:cubicBezTo>
                  <a:pt x="435101" y="270407"/>
                  <a:pt x="442641" y="278936"/>
                  <a:pt x="450097" y="287628"/>
                </a:cubicBezTo>
                <a:cubicBezTo>
                  <a:pt x="453081" y="291117"/>
                  <a:pt x="453081" y="291117"/>
                  <a:pt x="457425" y="293920"/>
                </a:cubicBezTo>
                <a:cubicBezTo>
                  <a:pt x="458585" y="294792"/>
                  <a:pt x="459745" y="295664"/>
                  <a:pt x="460940" y="296562"/>
                </a:cubicBezTo>
                <a:cubicBezTo>
                  <a:pt x="460940" y="297957"/>
                  <a:pt x="460940" y="299352"/>
                  <a:pt x="460940" y="300790"/>
                </a:cubicBezTo>
                <a:cubicBezTo>
                  <a:pt x="465063" y="302782"/>
                  <a:pt x="468862" y="304133"/>
                  <a:pt x="473437" y="305018"/>
                </a:cubicBezTo>
                <a:cubicBezTo>
                  <a:pt x="473437" y="305947"/>
                  <a:pt x="473437" y="306877"/>
                  <a:pt x="473437" y="307836"/>
                </a:cubicBezTo>
                <a:cubicBezTo>
                  <a:pt x="475581" y="308519"/>
                  <a:pt x="477730" y="309193"/>
                  <a:pt x="479881" y="309862"/>
                </a:cubicBezTo>
                <a:cubicBezTo>
                  <a:pt x="481077" y="310237"/>
                  <a:pt x="482273" y="310614"/>
                  <a:pt x="483505" y="311001"/>
                </a:cubicBezTo>
                <a:cubicBezTo>
                  <a:pt x="505448" y="316843"/>
                  <a:pt x="527690" y="314359"/>
                  <a:pt x="548419" y="306427"/>
                </a:cubicBezTo>
                <a:cubicBezTo>
                  <a:pt x="549548" y="305998"/>
                  <a:pt x="550678" y="305569"/>
                  <a:pt x="551842" y="305127"/>
                </a:cubicBezTo>
                <a:cubicBezTo>
                  <a:pt x="555376" y="303227"/>
                  <a:pt x="557584" y="300980"/>
                  <a:pt x="560232" y="298148"/>
                </a:cubicBezTo>
                <a:cubicBezTo>
                  <a:pt x="561137" y="297192"/>
                  <a:pt x="562041" y="296236"/>
                  <a:pt x="562972" y="295252"/>
                </a:cubicBezTo>
                <a:cubicBezTo>
                  <a:pt x="564755" y="293274"/>
                  <a:pt x="566459" y="291237"/>
                  <a:pt x="568086" y="289152"/>
                </a:cubicBezTo>
                <a:cubicBezTo>
                  <a:pt x="568813" y="288342"/>
                  <a:pt x="569539" y="287532"/>
                  <a:pt x="570289" y="286697"/>
                </a:cubicBezTo>
                <a:cubicBezTo>
                  <a:pt x="571319" y="286697"/>
                  <a:pt x="572350" y="286697"/>
                  <a:pt x="573413" y="286697"/>
                </a:cubicBezTo>
                <a:cubicBezTo>
                  <a:pt x="577408" y="276984"/>
                  <a:pt x="577197" y="267284"/>
                  <a:pt x="577220" y="257016"/>
                </a:cubicBezTo>
                <a:cubicBezTo>
                  <a:pt x="577227" y="255625"/>
                  <a:pt x="577227" y="255625"/>
                  <a:pt x="577235" y="254206"/>
                </a:cubicBezTo>
                <a:cubicBezTo>
                  <a:pt x="577257" y="237553"/>
                  <a:pt x="574604" y="222055"/>
                  <a:pt x="569443" y="206049"/>
                </a:cubicBezTo>
                <a:cubicBezTo>
                  <a:pt x="568726" y="203553"/>
                  <a:pt x="568726" y="203553"/>
                  <a:pt x="568726" y="200735"/>
                </a:cubicBezTo>
                <a:cubicBezTo>
                  <a:pt x="567695" y="200735"/>
                  <a:pt x="566664" y="200735"/>
                  <a:pt x="565602" y="200735"/>
                </a:cubicBezTo>
                <a:cubicBezTo>
                  <a:pt x="563274" y="195295"/>
                  <a:pt x="561092" y="190108"/>
                  <a:pt x="559549" y="184441"/>
                </a:cubicBezTo>
                <a:cubicBezTo>
                  <a:pt x="555572" y="173477"/>
                  <a:pt x="547043" y="167105"/>
                  <a:pt x="537484" y="159867"/>
                </a:cubicBezTo>
                <a:cubicBezTo>
                  <a:pt x="533579" y="156609"/>
                  <a:pt x="533579" y="156609"/>
                  <a:pt x="531235" y="154230"/>
                </a:cubicBezTo>
                <a:cubicBezTo>
                  <a:pt x="531235" y="153301"/>
                  <a:pt x="531235" y="152371"/>
                  <a:pt x="531235" y="151412"/>
                </a:cubicBezTo>
                <a:cubicBezTo>
                  <a:pt x="529689" y="150947"/>
                  <a:pt x="528143" y="150482"/>
                  <a:pt x="526549" y="150003"/>
                </a:cubicBezTo>
                <a:cubicBezTo>
                  <a:pt x="519904" y="137298"/>
                  <a:pt x="519105" y="120357"/>
                  <a:pt x="524304" y="107198"/>
                </a:cubicBezTo>
                <a:cubicBezTo>
                  <a:pt x="529443" y="97376"/>
                  <a:pt x="535781" y="90193"/>
                  <a:pt x="547052" y="85972"/>
                </a:cubicBezTo>
                <a:cubicBezTo>
                  <a:pt x="559924" y="81835"/>
                  <a:pt x="575221" y="79746"/>
                  <a:pt x="588460" y="83538"/>
                </a:cubicBezTo>
                <a:cubicBezTo>
                  <a:pt x="601643" y="89713"/>
                  <a:pt x="611835" y="99450"/>
                  <a:pt x="617152" y="111954"/>
                </a:cubicBezTo>
                <a:cubicBezTo>
                  <a:pt x="617935" y="116052"/>
                  <a:pt x="617954" y="120024"/>
                  <a:pt x="617884" y="124175"/>
                </a:cubicBezTo>
                <a:cubicBezTo>
                  <a:pt x="617896" y="125307"/>
                  <a:pt x="617906" y="126440"/>
                  <a:pt x="617917" y="127607"/>
                </a:cubicBezTo>
                <a:cubicBezTo>
                  <a:pt x="617963" y="132394"/>
                  <a:pt x="617938" y="137181"/>
                  <a:pt x="617919" y="141969"/>
                </a:cubicBezTo>
                <a:cubicBezTo>
                  <a:pt x="617899" y="160184"/>
                  <a:pt x="619422" y="175572"/>
                  <a:pt x="630625" y="191311"/>
                </a:cubicBezTo>
                <a:cubicBezTo>
                  <a:pt x="633753" y="195891"/>
                  <a:pt x="636431" y="199900"/>
                  <a:pt x="637850" y="205139"/>
                </a:cubicBezTo>
                <a:cubicBezTo>
                  <a:pt x="638615" y="209623"/>
                  <a:pt x="638615" y="209623"/>
                  <a:pt x="643708" y="212009"/>
                </a:cubicBezTo>
                <a:cubicBezTo>
                  <a:pt x="645380" y="214563"/>
                  <a:pt x="645380" y="214563"/>
                  <a:pt x="647027" y="217645"/>
                </a:cubicBezTo>
                <a:cubicBezTo>
                  <a:pt x="652549" y="227016"/>
                  <a:pt x="660443" y="235696"/>
                  <a:pt x="670264" y="241603"/>
                </a:cubicBezTo>
                <a:cubicBezTo>
                  <a:pt x="670264" y="242532"/>
                  <a:pt x="670264" y="243462"/>
                  <a:pt x="670264" y="244421"/>
                </a:cubicBezTo>
                <a:cubicBezTo>
                  <a:pt x="672036" y="244857"/>
                  <a:pt x="673808" y="245293"/>
                  <a:pt x="675634" y="245742"/>
                </a:cubicBezTo>
                <a:cubicBezTo>
                  <a:pt x="681199" y="247239"/>
                  <a:pt x="681199" y="247239"/>
                  <a:pt x="682761" y="248649"/>
                </a:cubicBezTo>
                <a:cubicBezTo>
                  <a:pt x="704487" y="252065"/>
                  <a:pt x="732606" y="256402"/>
                  <a:pt x="752092" y="245076"/>
                </a:cubicBezTo>
                <a:cubicBezTo>
                  <a:pt x="754252" y="243599"/>
                  <a:pt x="756372" y="242073"/>
                  <a:pt x="758433" y="240485"/>
                </a:cubicBezTo>
                <a:cubicBezTo>
                  <a:pt x="760867" y="238784"/>
                  <a:pt x="760867" y="238784"/>
                  <a:pt x="763991" y="238784"/>
                </a:cubicBezTo>
                <a:cubicBezTo>
                  <a:pt x="764647" y="237296"/>
                  <a:pt x="764647" y="237296"/>
                  <a:pt x="765315" y="235778"/>
                </a:cubicBezTo>
                <a:cubicBezTo>
                  <a:pt x="767151" y="231659"/>
                  <a:pt x="769030" y="227557"/>
                  <a:pt x="770923" y="223459"/>
                </a:cubicBezTo>
                <a:cubicBezTo>
                  <a:pt x="771608" y="221966"/>
                  <a:pt x="772292" y="220472"/>
                  <a:pt x="772998" y="218934"/>
                </a:cubicBezTo>
                <a:cubicBezTo>
                  <a:pt x="774429" y="215885"/>
                  <a:pt x="775968" y="212878"/>
                  <a:pt x="777562" y="209895"/>
                </a:cubicBezTo>
                <a:cubicBezTo>
                  <a:pt x="787607" y="185732"/>
                  <a:pt x="788559" y="149501"/>
                  <a:pt x="781175" y="124637"/>
                </a:cubicBezTo>
                <a:cubicBezTo>
                  <a:pt x="780144" y="124637"/>
                  <a:pt x="779113" y="124637"/>
                  <a:pt x="778051" y="124637"/>
                </a:cubicBezTo>
                <a:cubicBezTo>
                  <a:pt x="768501" y="110080"/>
                  <a:pt x="762898" y="96653"/>
                  <a:pt x="767116" y="79542"/>
                </a:cubicBezTo>
                <a:cubicBezTo>
                  <a:pt x="772286" y="69057"/>
                  <a:pt x="781456" y="58252"/>
                  <a:pt x="793379" y="54000"/>
                </a:cubicBezTo>
                <a:cubicBezTo>
                  <a:pt x="808369" y="49250"/>
                  <a:pt x="826058" y="49579"/>
                  <a:pt x="840688" y="55503"/>
                </a:cubicBezTo>
                <a:cubicBezTo>
                  <a:pt x="845183" y="57759"/>
                  <a:pt x="848037" y="60575"/>
                  <a:pt x="851470" y="64040"/>
                </a:cubicBezTo>
                <a:cubicBezTo>
                  <a:pt x="852721" y="65272"/>
                  <a:pt x="852721" y="65272"/>
                  <a:pt x="853997" y="66529"/>
                </a:cubicBezTo>
                <a:cubicBezTo>
                  <a:pt x="858396" y="71505"/>
                  <a:pt x="860490" y="76640"/>
                  <a:pt x="861488" y="82057"/>
                </a:cubicBezTo>
                <a:lnTo>
                  <a:pt x="861937" y="90492"/>
                </a:lnTo>
                <a:lnTo>
                  <a:pt x="863826" y="100715"/>
                </a:lnTo>
                <a:cubicBezTo>
                  <a:pt x="862141" y="107853"/>
                  <a:pt x="859866" y="114857"/>
                  <a:pt x="857577" y="121853"/>
                </a:cubicBezTo>
                <a:cubicBezTo>
                  <a:pt x="857062" y="121853"/>
                  <a:pt x="856547" y="121853"/>
                  <a:pt x="856015" y="121853"/>
                </a:cubicBezTo>
                <a:cubicBezTo>
                  <a:pt x="855731" y="120401"/>
                  <a:pt x="855731" y="120401"/>
                  <a:pt x="855442" y="118919"/>
                </a:cubicBezTo>
                <a:lnTo>
                  <a:pt x="855417" y="118798"/>
                </a:lnTo>
                <a:lnTo>
                  <a:pt x="856157" y="124637"/>
                </a:lnTo>
                <a:lnTo>
                  <a:pt x="850623" y="134701"/>
                </a:lnTo>
                <a:lnTo>
                  <a:pt x="851325" y="135968"/>
                </a:lnTo>
                <a:cubicBezTo>
                  <a:pt x="850851" y="137246"/>
                  <a:pt x="850376" y="138525"/>
                  <a:pt x="849886" y="139843"/>
                </a:cubicBezTo>
                <a:cubicBezTo>
                  <a:pt x="848171" y="144505"/>
                  <a:pt x="847798" y="148002"/>
                  <a:pt x="847786" y="152889"/>
                </a:cubicBezTo>
                <a:cubicBezTo>
                  <a:pt x="847779" y="154500"/>
                  <a:pt x="847773" y="156109"/>
                  <a:pt x="847767" y="157768"/>
                </a:cubicBezTo>
                <a:cubicBezTo>
                  <a:pt x="847782" y="159468"/>
                  <a:pt x="847796" y="161167"/>
                  <a:pt x="847810" y="162919"/>
                </a:cubicBezTo>
                <a:cubicBezTo>
                  <a:pt x="847821" y="165546"/>
                  <a:pt x="847821" y="165546"/>
                  <a:pt x="847832" y="168227"/>
                </a:cubicBezTo>
                <a:cubicBezTo>
                  <a:pt x="847980" y="181934"/>
                  <a:pt x="849003" y="195419"/>
                  <a:pt x="850903" y="209013"/>
                </a:cubicBezTo>
                <a:lnTo>
                  <a:pt x="852880" y="224692"/>
                </a:lnTo>
                <a:lnTo>
                  <a:pt x="854595" y="224692"/>
                </a:lnTo>
                <a:cubicBezTo>
                  <a:pt x="855086" y="225542"/>
                  <a:pt x="855577" y="226392"/>
                  <a:pt x="856083" y="227268"/>
                </a:cubicBezTo>
                <a:cubicBezTo>
                  <a:pt x="862358" y="237839"/>
                  <a:pt x="866924" y="242785"/>
                  <a:pt x="879588" y="247239"/>
                </a:cubicBezTo>
                <a:cubicBezTo>
                  <a:pt x="881642" y="248025"/>
                  <a:pt x="883692" y="248817"/>
                  <a:pt x="885739" y="249618"/>
                </a:cubicBezTo>
                <a:cubicBezTo>
                  <a:pt x="887318" y="250227"/>
                  <a:pt x="888897" y="250838"/>
                  <a:pt x="890523" y="251467"/>
                </a:cubicBezTo>
                <a:cubicBezTo>
                  <a:pt x="890523" y="252397"/>
                  <a:pt x="890523" y="253327"/>
                  <a:pt x="890523" y="254285"/>
                </a:cubicBezTo>
                <a:cubicBezTo>
                  <a:pt x="900347" y="257061"/>
                  <a:pt x="910127" y="259425"/>
                  <a:pt x="920203" y="261332"/>
                </a:cubicBezTo>
                <a:cubicBezTo>
                  <a:pt x="920203" y="261796"/>
                  <a:pt x="920203" y="262262"/>
                  <a:pt x="920203" y="262741"/>
                </a:cubicBezTo>
                <a:cubicBezTo>
                  <a:pt x="917111" y="262741"/>
                  <a:pt x="914018" y="262741"/>
                  <a:pt x="910831" y="262741"/>
                </a:cubicBezTo>
                <a:lnTo>
                  <a:pt x="910831" y="262864"/>
                </a:lnTo>
                <a:lnTo>
                  <a:pt x="927993" y="264177"/>
                </a:lnTo>
                <a:lnTo>
                  <a:pt x="939273" y="265285"/>
                </a:lnTo>
                <a:lnTo>
                  <a:pt x="940456" y="265191"/>
                </a:lnTo>
                <a:cubicBezTo>
                  <a:pt x="962552" y="263054"/>
                  <a:pt x="974979" y="255295"/>
                  <a:pt x="991622" y="242329"/>
                </a:cubicBezTo>
                <a:lnTo>
                  <a:pt x="1000803" y="236505"/>
                </a:lnTo>
                <a:lnTo>
                  <a:pt x="999806" y="236055"/>
                </a:lnTo>
                <a:cubicBezTo>
                  <a:pt x="1000902" y="234997"/>
                  <a:pt x="1001997" y="233941"/>
                  <a:pt x="1003126" y="232851"/>
                </a:cubicBezTo>
                <a:cubicBezTo>
                  <a:pt x="1012364" y="223880"/>
                  <a:pt x="1021184" y="214752"/>
                  <a:pt x="1029487" y="205052"/>
                </a:cubicBezTo>
                <a:lnTo>
                  <a:pt x="1029872" y="206442"/>
                </a:lnTo>
                <a:lnTo>
                  <a:pt x="1031614" y="203719"/>
                </a:lnTo>
                <a:cubicBezTo>
                  <a:pt x="1033221" y="199204"/>
                  <a:pt x="1035713" y="196017"/>
                  <a:pt x="1038924" y="192280"/>
                </a:cubicBezTo>
                <a:cubicBezTo>
                  <a:pt x="1039956" y="191815"/>
                  <a:pt x="1040987" y="191349"/>
                  <a:pt x="1042049" y="190870"/>
                </a:cubicBezTo>
                <a:cubicBezTo>
                  <a:pt x="1043161" y="188473"/>
                  <a:pt x="1043161" y="188473"/>
                  <a:pt x="1044294" y="186026"/>
                </a:cubicBezTo>
                <a:cubicBezTo>
                  <a:pt x="1046735" y="181006"/>
                  <a:pt x="1046735" y="181006"/>
                  <a:pt x="1051422" y="178188"/>
                </a:cubicBezTo>
                <a:cubicBezTo>
                  <a:pt x="1052553" y="175286"/>
                  <a:pt x="1052553" y="175286"/>
                  <a:pt x="1052984" y="172551"/>
                </a:cubicBezTo>
                <a:cubicBezTo>
                  <a:pt x="1054014" y="172551"/>
                  <a:pt x="1055046" y="172551"/>
                  <a:pt x="1056108" y="172551"/>
                </a:cubicBezTo>
                <a:cubicBezTo>
                  <a:pt x="1057139" y="169295"/>
                  <a:pt x="1058170" y="166040"/>
                  <a:pt x="1059232" y="162686"/>
                </a:cubicBezTo>
                <a:cubicBezTo>
                  <a:pt x="1060263" y="162686"/>
                  <a:pt x="1061295" y="162686"/>
                  <a:pt x="1062357" y="162686"/>
                </a:cubicBezTo>
                <a:cubicBezTo>
                  <a:pt x="1062755" y="161484"/>
                  <a:pt x="1062755" y="161484"/>
                  <a:pt x="1063162" y="160258"/>
                </a:cubicBezTo>
                <a:cubicBezTo>
                  <a:pt x="1065716" y="152917"/>
                  <a:pt x="1068813" y="146686"/>
                  <a:pt x="1073292" y="140138"/>
                </a:cubicBezTo>
                <a:cubicBezTo>
                  <a:pt x="1074322" y="140138"/>
                  <a:pt x="1075353" y="140138"/>
                  <a:pt x="1076415" y="140138"/>
                </a:cubicBezTo>
                <a:cubicBezTo>
                  <a:pt x="1079808" y="132748"/>
                  <a:pt x="1082509" y="125160"/>
                  <a:pt x="1085294" y="117569"/>
                </a:cubicBezTo>
                <a:cubicBezTo>
                  <a:pt x="1085972" y="116181"/>
                  <a:pt x="1086651" y="114793"/>
                  <a:pt x="1087350" y="113363"/>
                </a:cubicBezTo>
                <a:cubicBezTo>
                  <a:pt x="1089671" y="112666"/>
                  <a:pt x="1089671" y="112666"/>
                  <a:pt x="1092037" y="111954"/>
                </a:cubicBezTo>
                <a:cubicBezTo>
                  <a:pt x="1092230" y="110879"/>
                  <a:pt x="1092423" y="109803"/>
                  <a:pt x="1092623" y="108695"/>
                </a:cubicBezTo>
                <a:cubicBezTo>
                  <a:pt x="1093599" y="104908"/>
                  <a:pt x="1093599" y="104908"/>
                  <a:pt x="1096723" y="100680"/>
                </a:cubicBezTo>
                <a:cubicBezTo>
                  <a:pt x="1097207" y="99140"/>
                  <a:pt x="1097689" y="97599"/>
                  <a:pt x="1098188" y="96013"/>
                </a:cubicBezTo>
                <a:cubicBezTo>
                  <a:pt x="1099847" y="90815"/>
                  <a:pt x="1099847" y="90815"/>
                  <a:pt x="1102288" y="87029"/>
                </a:cubicBezTo>
                <a:cubicBezTo>
                  <a:pt x="1106061" y="79186"/>
                  <a:pt x="1107564" y="69424"/>
                  <a:pt x="1104534" y="61222"/>
                </a:cubicBezTo>
                <a:cubicBezTo>
                  <a:pt x="1104409" y="59341"/>
                  <a:pt x="1104366" y="57454"/>
                  <a:pt x="1104381" y="55569"/>
                </a:cubicBezTo>
                <a:cubicBezTo>
                  <a:pt x="1104386" y="54501"/>
                  <a:pt x="1104391" y="53434"/>
                  <a:pt x="1104397" y="52335"/>
                </a:cubicBezTo>
                <a:cubicBezTo>
                  <a:pt x="1104410" y="51228"/>
                  <a:pt x="1104423" y="50120"/>
                  <a:pt x="1104436" y="48979"/>
                </a:cubicBezTo>
                <a:cubicBezTo>
                  <a:pt x="1104443" y="47856"/>
                  <a:pt x="1104451" y="46733"/>
                  <a:pt x="1104457" y="45575"/>
                </a:cubicBezTo>
                <a:cubicBezTo>
                  <a:pt x="1104476" y="42805"/>
                  <a:pt x="1104504" y="40035"/>
                  <a:pt x="1104534" y="37265"/>
                </a:cubicBezTo>
                <a:cubicBezTo>
                  <a:pt x="1105565" y="37265"/>
                  <a:pt x="1106596" y="37265"/>
                  <a:pt x="1107658" y="37265"/>
                </a:cubicBezTo>
                <a:cubicBezTo>
                  <a:pt x="1107561" y="34562"/>
                  <a:pt x="1107561" y="34562"/>
                  <a:pt x="1107463" y="31805"/>
                </a:cubicBezTo>
                <a:cubicBezTo>
                  <a:pt x="1107353" y="28733"/>
                  <a:pt x="1107353" y="28733"/>
                  <a:pt x="1107658" y="25991"/>
                </a:cubicBezTo>
                <a:cubicBezTo>
                  <a:pt x="1108689" y="25062"/>
                  <a:pt x="1109720" y="24131"/>
                  <a:pt x="1110782" y="23173"/>
                </a:cubicBezTo>
                <a:cubicBezTo>
                  <a:pt x="1111104" y="22156"/>
                  <a:pt x="1111427" y="21138"/>
                  <a:pt x="1111759" y="20091"/>
                </a:cubicBezTo>
                <a:cubicBezTo>
                  <a:pt x="1116393" y="11539"/>
                  <a:pt x="1124927" y="6390"/>
                  <a:pt x="1134507" y="2828"/>
                </a:cubicBezTo>
                <a:cubicBezTo>
                  <a:pt x="1141389" y="825"/>
                  <a:pt x="1148262" y="-204"/>
                  <a:pt x="1155019" y="35"/>
                </a:cubicBezTo>
                <a:close/>
              </a:path>
            </a:pathLst>
          </a:custGeom>
          <a:solidFill>
            <a:schemeClr val="accent3"/>
          </a:solidFill>
          <a:ln w="2232" cap="flat">
            <a:noFill/>
            <a:prstDash val="solid"/>
            <a:miter/>
          </a:ln>
          <a:effectLst>
            <a:innerShdw blurRad="63500" dist="190500" dir="8100000">
              <a:schemeClr val="accent3">
                <a:lumMod val="75000"/>
                <a:alpha val="50000"/>
              </a:schemeClr>
            </a:innerShdw>
          </a:effectLst>
        </p:spPr>
        <p:txBody>
          <a:bodyPr wrap="squar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405" name="Oval 7404">
            <a:extLst>
              <a:ext uri="{FF2B5EF4-FFF2-40B4-BE49-F238E27FC236}">
                <a16:creationId xmlns:a16="http://schemas.microsoft.com/office/drawing/2014/main" id="{26BA2EF5-1024-945A-2BAA-733701723945}"/>
              </a:ext>
            </a:extLst>
          </p:cNvPr>
          <p:cNvSpPr/>
          <p:nvPr/>
        </p:nvSpPr>
        <p:spPr>
          <a:xfrm>
            <a:off x="5995746" y="5240826"/>
            <a:ext cx="535375" cy="133103"/>
          </a:xfrm>
          <a:prstGeom prst="ellipse">
            <a:avLst/>
          </a:prstGeom>
          <a:solidFill>
            <a:schemeClr val="tx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401" name="Free-form: Shape 7400">
            <a:extLst>
              <a:ext uri="{FF2B5EF4-FFF2-40B4-BE49-F238E27FC236}">
                <a16:creationId xmlns:a16="http://schemas.microsoft.com/office/drawing/2014/main" id="{AE16A983-BDDB-81C5-4929-DA16DF7BFB72}"/>
              </a:ext>
            </a:extLst>
          </p:cNvPr>
          <p:cNvSpPr/>
          <p:nvPr/>
        </p:nvSpPr>
        <p:spPr>
          <a:xfrm>
            <a:off x="5928642" y="4712188"/>
            <a:ext cx="652704" cy="623957"/>
          </a:xfrm>
          <a:custGeom>
            <a:avLst/>
            <a:gdLst>
              <a:gd name="csX0" fmla="*/ 401579 w 1609516"/>
              <a:gd name="csY0" fmla="*/ 1495809 h 1538630"/>
              <a:gd name="csX1" fmla="*/ 400190 w 1609516"/>
              <a:gd name="csY1" fmla="*/ 1496004 h 1538630"/>
              <a:gd name="csX2" fmla="*/ 401224 w 1609516"/>
              <a:gd name="csY2" fmla="*/ 1496470 h 1538630"/>
              <a:gd name="csX3" fmla="*/ 401224 w 1609516"/>
              <a:gd name="csY3" fmla="*/ 1498590 h 1538630"/>
              <a:gd name="csX4" fmla="*/ 401579 w 1609516"/>
              <a:gd name="csY4" fmla="*/ 1498628 h 1538630"/>
              <a:gd name="csX5" fmla="*/ 401579 w 1609516"/>
              <a:gd name="csY5" fmla="*/ 1495809 h 1538630"/>
              <a:gd name="csX6" fmla="*/ 368755 w 1609516"/>
              <a:gd name="csY6" fmla="*/ 1486512 h 1538630"/>
              <a:gd name="csX7" fmla="*/ 364089 w 1609516"/>
              <a:gd name="csY7" fmla="*/ 1487354 h 1538630"/>
              <a:gd name="csX8" fmla="*/ 364089 w 1609516"/>
              <a:gd name="csY8" fmla="*/ 1487908 h 1538630"/>
              <a:gd name="csX9" fmla="*/ 1049801 w 1609516"/>
              <a:gd name="csY9" fmla="*/ 1484562 h 1538630"/>
              <a:gd name="csX10" fmla="*/ 1046735 w 1609516"/>
              <a:gd name="csY10" fmla="*/ 1485945 h 1538630"/>
              <a:gd name="csX11" fmla="*/ 1046955 w 1609516"/>
              <a:gd name="csY11" fmla="*/ 1486045 h 1538630"/>
              <a:gd name="csX12" fmla="*/ 1049801 w 1609516"/>
              <a:gd name="csY12" fmla="*/ 1485188 h 1538630"/>
              <a:gd name="csX13" fmla="*/ 351234 w 1609516"/>
              <a:gd name="csY13" fmla="*/ 1444508 h 1538630"/>
              <a:gd name="csX14" fmla="*/ 351234 w 1609516"/>
              <a:gd name="csY14" fmla="*/ 1444997 h 1538630"/>
              <a:gd name="csX15" fmla="*/ 351592 w 1609516"/>
              <a:gd name="csY15" fmla="*/ 1445078 h 1538630"/>
              <a:gd name="csX16" fmla="*/ 351908 w 1609516"/>
              <a:gd name="csY16" fmla="*/ 1431206 h 1538630"/>
              <a:gd name="csX17" fmla="*/ 351234 w 1609516"/>
              <a:gd name="csY17" fmla="*/ 1431611 h 1538630"/>
              <a:gd name="csX18" fmla="*/ 351234 w 1609516"/>
              <a:gd name="csY18" fmla="*/ 1432274 h 1538630"/>
              <a:gd name="csX19" fmla="*/ 358162 w 1609516"/>
              <a:gd name="csY19" fmla="*/ 1421494 h 1538630"/>
              <a:gd name="csX20" fmla="*/ 355921 w 1609516"/>
              <a:gd name="csY20" fmla="*/ 1423156 h 1538630"/>
              <a:gd name="csX21" fmla="*/ 355921 w 1609516"/>
              <a:gd name="csY21" fmla="*/ 1423548 h 1538630"/>
              <a:gd name="csX22" fmla="*/ 376098 w 1609516"/>
              <a:gd name="csY22" fmla="*/ 1408347 h 1538630"/>
              <a:gd name="csX23" fmla="*/ 370750 w 1609516"/>
              <a:gd name="csY23" fmla="*/ 1412245 h 1538630"/>
              <a:gd name="csX24" fmla="*/ 375023 w 1609516"/>
              <a:gd name="csY24" fmla="*/ 1411256 h 1538630"/>
              <a:gd name="csX25" fmla="*/ 421956 w 1609516"/>
              <a:gd name="csY25" fmla="*/ 1365623 h 1538630"/>
              <a:gd name="csX26" fmla="*/ 421765 w 1609516"/>
              <a:gd name="csY26" fmla="*/ 1366161 h 1538630"/>
              <a:gd name="csX27" fmla="*/ 421887 w 1609516"/>
              <a:gd name="csY27" fmla="*/ 1366161 h 1538630"/>
              <a:gd name="csX28" fmla="*/ 754553 w 1609516"/>
              <a:gd name="csY28" fmla="*/ 1360575 h 1538630"/>
              <a:gd name="csX29" fmla="*/ 754089 w 1609516"/>
              <a:gd name="csY29" fmla="*/ 1361433 h 1538630"/>
              <a:gd name="csX30" fmla="*/ 754431 w 1609516"/>
              <a:gd name="csY30" fmla="*/ 1361125 h 1538630"/>
              <a:gd name="csX31" fmla="*/ 1277973 w 1609516"/>
              <a:gd name="csY31" fmla="*/ 1332923 h 1538630"/>
              <a:gd name="csX32" fmla="*/ 1277944 w 1609516"/>
              <a:gd name="csY32" fmla="*/ 1332936 h 1538630"/>
              <a:gd name="csX33" fmla="*/ 1277949 w 1609516"/>
              <a:gd name="csY33" fmla="*/ 1333139 h 1538630"/>
              <a:gd name="csX34" fmla="*/ 1268556 w 1609516"/>
              <a:gd name="csY34" fmla="*/ 1321066 h 1538630"/>
              <a:gd name="csX35" fmla="*/ 1268556 w 1609516"/>
              <a:gd name="csY35" fmla="*/ 1325294 h 1538630"/>
              <a:gd name="csX36" fmla="*/ 1265432 w 1609516"/>
              <a:gd name="csY36" fmla="*/ 1325294 h 1538630"/>
              <a:gd name="csX37" fmla="*/ 1265432 w 1609516"/>
              <a:gd name="csY37" fmla="*/ 1340795 h 1538630"/>
              <a:gd name="csX38" fmla="*/ 1265476 w 1609516"/>
              <a:gd name="csY38" fmla="*/ 1340714 h 1538630"/>
              <a:gd name="csX39" fmla="*/ 1265476 w 1609516"/>
              <a:gd name="csY39" fmla="*/ 1325877 h 1538630"/>
              <a:gd name="csX40" fmla="*/ 1268600 w 1609516"/>
              <a:gd name="csY40" fmla="*/ 1325877 h 1538630"/>
              <a:gd name="csX41" fmla="*/ 1268600 w 1609516"/>
              <a:gd name="csY41" fmla="*/ 1321649 h 1538630"/>
              <a:gd name="csX42" fmla="*/ 1273286 w 1609516"/>
              <a:gd name="csY42" fmla="*/ 1321649 h 1538630"/>
              <a:gd name="csX43" fmla="*/ 1273227 w 1609516"/>
              <a:gd name="csY43" fmla="*/ 1321066 h 1538630"/>
              <a:gd name="csX44" fmla="*/ 827891 w 1609516"/>
              <a:gd name="csY44" fmla="*/ 1291474 h 1538630"/>
              <a:gd name="csX45" fmla="*/ 822601 w 1609516"/>
              <a:gd name="csY45" fmla="*/ 1291544 h 1538630"/>
              <a:gd name="csX46" fmla="*/ 818272 w 1609516"/>
              <a:gd name="csY46" fmla="*/ 1292220 h 1538630"/>
              <a:gd name="csX47" fmla="*/ 827891 w 1609516"/>
              <a:gd name="csY47" fmla="*/ 1292047 h 1538630"/>
              <a:gd name="csX48" fmla="*/ 856397 w 1609516"/>
              <a:gd name="csY48" fmla="*/ 1288691 h 1538630"/>
              <a:gd name="csX49" fmla="*/ 865903 w 1609516"/>
              <a:gd name="csY49" fmla="*/ 1290590 h 1538630"/>
              <a:gd name="csX50" fmla="*/ 859999 w 1609516"/>
              <a:gd name="csY50" fmla="*/ 1288752 h 1538630"/>
              <a:gd name="csX51" fmla="*/ 834694 w 1609516"/>
              <a:gd name="csY51" fmla="*/ 1288572 h 1538630"/>
              <a:gd name="csX52" fmla="*/ 828038 w 1609516"/>
              <a:gd name="csY52" fmla="*/ 1288654 h 1538630"/>
              <a:gd name="csX53" fmla="*/ 828038 w 1609516"/>
              <a:gd name="csY53" fmla="*/ 1289214 h 1538630"/>
              <a:gd name="csX54" fmla="*/ 229746 w 1609516"/>
              <a:gd name="csY54" fmla="*/ 1191418 h 1538630"/>
              <a:gd name="csX55" fmla="*/ 227402 w 1609516"/>
              <a:gd name="csY55" fmla="*/ 1191947 h 1538630"/>
              <a:gd name="csX56" fmla="*/ 229315 w 1609516"/>
              <a:gd name="csY56" fmla="*/ 1191947 h 1538630"/>
              <a:gd name="csX57" fmla="*/ 229315 w 1609516"/>
              <a:gd name="csY57" fmla="*/ 1194765 h 1538630"/>
              <a:gd name="csX58" fmla="*/ 231321 w 1609516"/>
              <a:gd name="csY58" fmla="*/ 1194765 h 1538630"/>
              <a:gd name="csX59" fmla="*/ 229746 w 1609516"/>
              <a:gd name="csY59" fmla="*/ 1194236 h 1538630"/>
              <a:gd name="csX60" fmla="*/ 229746 w 1609516"/>
              <a:gd name="csY60" fmla="*/ 1191418 h 1538630"/>
              <a:gd name="csX61" fmla="*/ 215687 w 1609516"/>
              <a:gd name="csY61" fmla="*/ 1187190 h 1538630"/>
              <a:gd name="csX62" fmla="*/ 215198 w 1609516"/>
              <a:gd name="csY62" fmla="*/ 1187720 h 1538630"/>
              <a:gd name="csX63" fmla="*/ 215256 w 1609516"/>
              <a:gd name="csY63" fmla="*/ 1187720 h 1538630"/>
              <a:gd name="csX64" fmla="*/ 215256 w 1609516"/>
              <a:gd name="csY64" fmla="*/ 1191947 h 1538630"/>
              <a:gd name="csX65" fmla="*/ 222721 w 1609516"/>
              <a:gd name="csY65" fmla="*/ 1191947 h 1538630"/>
              <a:gd name="csX66" fmla="*/ 215687 w 1609516"/>
              <a:gd name="csY66" fmla="*/ 1191418 h 1538630"/>
              <a:gd name="csX67" fmla="*/ 215687 w 1609516"/>
              <a:gd name="csY67" fmla="*/ 1187190 h 1538630"/>
              <a:gd name="csX68" fmla="*/ 1279678 w 1609516"/>
              <a:gd name="csY68" fmla="*/ 1082356 h 1538630"/>
              <a:gd name="csX69" fmla="*/ 1271680 w 1609516"/>
              <a:gd name="csY69" fmla="*/ 1084589 h 1538630"/>
              <a:gd name="csX70" fmla="*/ 1282181 w 1609516"/>
              <a:gd name="csY70" fmla="*/ 1082544 h 1538630"/>
              <a:gd name="csX71" fmla="*/ 117703 w 1609516"/>
              <a:gd name="csY71" fmla="*/ 941507 h 1538630"/>
              <a:gd name="csX72" fmla="*/ 112587 w 1609516"/>
              <a:gd name="csY72" fmla="*/ 941985 h 1538630"/>
              <a:gd name="csX73" fmla="*/ 112565 w 1609516"/>
              <a:gd name="csY73" fmla="*/ 942333 h 1538630"/>
              <a:gd name="csX74" fmla="*/ 115665 w 1609516"/>
              <a:gd name="csY74" fmla="*/ 941837 h 1538630"/>
              <a:gd name="csX75" fmla="*/ 144268 w 1609516"/>
              <a:gd name="csY75" fmla="*/ 939395 h 1538630"/>
              <a:gd name="csX76" fmla="*/ 143354 w 1609516"/>
              <a:gd name="csY76" fmla="*/ 939580 h 1538630"/>
              <a:gd name="csX77" fmla="*/ 144077 w 1609516"/>
              <a:gd name="csY77" fmla="*/ 939739 h 1538630"/>
              <a:gd name="csX78" fmla="*/ 162575 w 1609516"/>
              <a:gd name="csY78" fmla="*/ 933530 h 1538630"/>
              <a:gd name="csX79" fmla="*/ 161704 w 1609516"/>
              <a:gd name="csY79" fmla="*/ 935101 h 1538630"/>
              <a:gd name="csX80" fmla="*/ 170045 w 1609516"/>
              <a:gd name="csY80" fmla="*/ 933585 h 1538630"/>
              <a:gd name="csX81" fmla="*/ 1321645 w 1609516"/>
              <a:gd name="csY81" fmla="*/ 918415 h 1538630"/>
              <a:gd name="csX82" fmla="*/ 1321534 w 1609516"/>
              <a:gd name="csY82" fmla="*/ 920177 h 1538630"/>
              <a:gd name="csX83" fmla="*/ 1321740 w 1609516"/>
              <a:gd name="csY83" fmla="*/ 918415 h 1538630"/>
              <a:gd name="csX84" fmla="*/ 1319333 w 1609516"/>
              <a:gd name="csY84" fmla="*/ 915183 h 1538630"/>
              <a:gd name="csX85" fmla="*/ 1318544 w 1609516"/>
              <a:gd name="csY85" fmla="*/ 918029 h 1538630"/>
              <a:gd name="csX86" fmla="*/ 1318702 w 1609516"/>
              <a:gd name="csY86" fmla="*/ 918029 h 1538630"/>
              <a:gd name="csX87" fmla="*/ 1326355 w 1609516"/>
              <a:gd name="csY87" fmla="*/ 907109 h 1538630"/>
              <a:gd name="csX88" fmla="*/ 1326355 w 1609516"/>
              <a:gd name="csY88" fmla="*/ 910983 h 1538630"/>
              <a:gd name="csX89" fmla="*/ 1325831 w 1609516"/>
              <a:gd name="csY89" fmla="*/ 911101 h 1538630"/>
              <a:gd name="csX90" fmla="*/ 1326426 w 1609516"/>
              <a:gd name="csY90" fmla="*/ 911369 h 1538630"/>
              <a:gd name="csX91" fmla="*/ 1326426 w 1609516"/>
              <a:gd name="csY91" fmla="*/ 907141 h 1538630"/>
              <a:gd name="csX92" fmla="*/ 1328144 w 1609516"/>
              <a:gd name="csY92" fmla="*/ 892192 h 1538630"/>
              <a:gd name="csX93" fmla="*/ 1327667 w 1609516"/>
              <a:gd name="csY93" fmla="*/ 893446 h 1538630"/>
              <a:gd name="csX94" fmla="*/ 1327989 w 1609516"/>
              <a:gd name="csY94" fmla="*/ 893049 h 1538630"/>
              <a:gd name="csX95" fmla="*/ 49605 w 1609516"/>
              <a:gd name="csY95" fmla="*/ 887420 h 1538630"/>
              <a:gd name="csX96" fmla="*/ 48549 w 1609516"/>
              <a:gd name="csY96" fmla="*/ 891229 h 1538630"/>
              <a:gd name="csX97" fmla="*/ 49956 w 1609516"/>
              <a:gd name="csY97" fmla="*/ 887420 h 1538630"/>
              <a:gd name="csX98" fmla="*/ 1332266 w 1609516"/>
              <a:gd name="csY98" fmla="*/ 883369 h 1538630"/>
              <a:gd name="csX99" fmla="*/ 1329479 w 1609516"/>
              <a:gd name="csY99" fmla="*/ 884207 h 1538630"/>
              <a:gd name="csX100" fmla="*/ 1329509 w 1609516"/>
              <a:gd name="csY100" fmla="*/ 884816 h 1538630"/>
              <a:gd name="csX101" fmla="*/ 1329551 w 1609516"/>
              <a:gd name="csY101" fmla="*/ 884594 h 1538630"/>
              <a:gd name="csX102" fmla="*/ 1555987 w 1609516"/>
              <a:gd name="csY102" fmla="*/ 821766 h 1538630"/>
              <a:gd name="csX103" fmla="*/ 1555987 w 1609516"/>
              <a:gd name="csY103" fmla="*/ 822201 h 1538630"/>
              <a:gd name="csX104" fmla="*/ 1556081 w 1609516"/>
              <a:gd name="csY104" fmla="*/ 822189 h 1538630"/>
              <a:gd name="csX105" fmla="*/ 1565360 w 1609516"/>
              <a:gd name="csY105" fmla="*/ 810928 h 1538630"/>
              <a:gd name="csX106" fmla="*/ 1564871 w 1609516"/>
              <a:gd name="csY106" fmla="*/ 811809 h 1538630"/>
              <a:gd name="csX107" fmla="*/ 1567314 w 1609516"/>
              <a:gd name="csY107" fmla="*/ 810928 h 1538630"/>
              <a:gd name="csX108" fmla="*/ 1563797 w 1609516"/>
              <a:gd name="csY108" fmla="*/ 810928 h 1538630"/>
              <a:gd name="csX109" fmla="*/ 1556762 w 1609516"/>
              <a:gd name="csY109" fmla="*/ 814736 h 1538630"/>
              <a:gd name="csX110" fmla="*/ 1563797 w 1609516"/>
              <a:gd name="csY110" fmla="*/ 812197 h 1538630"/>
              <a:gd name="csX111" fmla="*/ 265833 w 1609516"/>
              <a:gd name="csY111" fmla="*/ 806020 h 1538630"/>
              <a:gd name="csX112" fmla="*/ 263704 w 1609516"/>
              <a:gd name="csY112" fmla="*/ 809861 h 1538630"/>
              <a:gd name="csX113" fmla="*/ 263704 w 1609516"/>
              <a:gd name="csY113" fmla="*/ 816750 h 1538630"/>
              <a:gd name="csX114" fmla="*/ 264113 w 1609516"/>
              <a:gd name="csY114" fmla="*/ 816565 h 1538630"/>
              <a:gd name="csX115" fmla="*/ 263918 w 1609516"/>
              <a:gd name="csY115" fmla="*/ 812777 h 1538630"/>
              <a:gd name="csX116" fmla="*/ 263774 w 1609516"/>
              <a:gd name="csY116" fmla="*/ 779374 h 1538630"/>
              <a:gd name="csX117" fmla="*/ 263704 w 1609516"/>
              <a:gd name="csY117" fmla="*/ 783086 h 1538630"/>
              <a:gd name="csX118" fmla="*/ 264484 w 1609516"/>
              <a:gd name="csY118" fmla="*/ 785816 h 1538630"/>
              <a:gd name="csX119" fmla="*/ 265265 w 1609516"/>
              <a:gd name="csY119" fmla="*/ 794448 h 1538630"/>
              <a:gd name="csX120" fmla="*/ 265217 w 1609516"/>
              <a:gd name="csY120" fmla="*/ 799730 h 1538630"/>
              <a:gd name="csX121" fmla="*/ 266556 w 1609516"/>
              <a:gd name="csY121" fmla="*/ 803466 h 1538630"/>
              <a:gd name="csX122" fmla="*/ 267237 w 1609516"/>
              <a:gd name="csY122" fmla="*/ 801063 h 1538630"/>
              <a:gd name="csX123" fmla="*/ 265675 w 1609516"/>
              <a:gd name="csY123" fmla="*/ 799654 h 1538630"/>
              <a:gd name="csX124" fmla="*/ 265675 w 1609516"/>
              <a:gd name="csY124" fmla="*/ 793841 h 1538630"/>
              <a:gd name="csX125" fmla="*/ 260988 w 1609516"/>
              <a:gd name="csY125" fmla="*/ 770061 h 1538630"/>
              <a:gd name="csX126" fmla="*/ 260988 w 1609516"/>
              <a:gd name="csY126" fmla="*/ 771364 h 1538630"/>
              <a:gd name="csX127" fmla="*/ 263497 w 1609516"/>
              <a:gd name="csY127" fmla="*/ 777263 h 1538630"/>
              <a:gd name="csX128" fmla="*/ 262551 w 1609516"/>
              <a:gd name="csY128" fmla="*/ 770061 h 1538630"/>
              <a:gd name="csX129" fmla="*/ 260988 w 1609516"/>
              <a:gd name="csY129" fmla="*/ 770061 h 1538630"/>
              <a:gd name="csX130" fmla="*/ 157888 w 1609516"/>
              <a:gd name="csY130" fmla="*/ 651686 h 1538630"/>
              <a:gd name="csX131" fmla="*/ 157415 w 1609516"/>
              <a:gd name="csY131" fmla="*/ 651764 h 1538630"/>
              <a:gd name="csX132" fmla="*/ 160373 w 1609516"/>
              <a:gd name="csY132" fmla="*/ 652274 h 1538630"/>
              <a:gd name="csX133" fmla="*/ 267237 w 1609516"/>
              <a:gd name="csY133" fmla="*/ 426537 h 1538630"/>
              <a:gd name="csX134" fmla="*/ 267237 w 1609516"/>
              <a:gd name="csY134" fmla="*/ 427619 h 1538630"/>
              <a:gd name="csX135" fmla="*/ 270380 w 1609516"/>
              <a:gd name="csY135" fmla="*/ 428137 h 1538630"/>
              <a:gd name="csX136" fmla="*/ 273548 w 1609516"/>
              <a:gd name="csY136" fmla="*/ 428680 h 1538630"/>
              <a:gd name="csX137" fmla="*/ 37605 w 1609516"/>
              <a:gd name="csY137" fmla="*/ 359270 h 1538630"/>
              <a:gd name="csX138" fmla="*/ 37103 w 1609516"/>
              <a:gd name="csY138" fmla="*/ 361533 h 1538630"/>
              <a:gd name="csX139" fmla="*/ 37605 w 1609516"/>
              <a:gd name="csY139" fmla="*/ 361382 h 1538630"/>
              <a:gd name="csX140" fmla="*/ 52477 w 1609516"/>
              <a:gd name="csY140" fmla="*/ 337570 h 1538630"/>
              <a:gd name="csX141" fmla="*/ 47288 w 1609516"/>
              <a:gd name="csY141" fmla="*/ 342340 h 1538630"/>
              <a:gd name="csX142" fmla="*/ 45805 w 1609516"/>
              <a:gd name="csY142" fmla="*/ 345093 h 1538630"/>
              <a:gd name="csX143" fmla="*/ 104291 w 1609516"/>
              <a:gd name="csY143" fmla="*/ 336166 h 1538630"/>
              <a:gd name="csX144" fmla="*/ 103776 w 1609516"/>
              <a:gd name="csY144" fmla="*/ 337559 h 1538630"/>
              <a:gd name="csX145" fmla="*/ 108925 w 1609516"/>
              <a:gd name="csY145" fmla="*/ 336166 h 1538630"/>
              <a:gd name="csX146" fmla="*/ 1309237 w 1609516"/>
              <a:gd name="csY146" fmla="*/ 322954 h 1538630"/>
              <a:gd name="csX147" fmla="*/ 1309180 w 1609516"/>
              <a:gd name="csY147" fmla="*/ 330559 h 1538630"/>
              <a:gd name="csX148" fmla="*/ 1309237 w 1609516"/>
              <a:gd name="csY148" fmla="*/ 330520 h 1538630"/>
              <a:gd name="csX149" fmla="*/ 1308964 w 1609516"/>
              <a:gd name="csY149" fmla="*/ 317715 h 1538630"/>
              <a:gd name="csX150" fmla="*/ 1309237 w 1609516"/>
              <a:gd name="csY150" fmla="*/ 318569 h 1538630"/>
              <a:gd name="csX151" fmla="*/ 1309237 w 1609516"/>
              <a:gd name="csY151" fmla="*/ 317838 h 1538630"/>
              <a:gd name="csX152" fmla="*/ 1310087 w 1609516"/>
              <a:gd name="csY152" fmla="*/ 313153 h 1538630"/>
              <a:gd name="csX153" fmla="*/ 1307609 w 1609516"/>
              <a:gd name="csY153" fmla="*/ 313473 h 1538630"/>
              <a:gd name="csX154" fmla="*/ 1308045 w 1609516"/>
              <a:gd name="csY154" fmla="*/ 314836 h 1538630"/>
              <a:gd name="csX155" fmla="*/ 1318544 w 1609516"/>
              <a:gd name="csY155" fmla="*/ 312064 h 1538630"/>
              <a:gd name="csX156" fmla="*/ 1316298 w 1609516"/>
              <a:gd name="csY156" fmla="*/ 312353 h 1538630"/>
              <a:gd name="csX157" fmla="*/ 1318544 w 1609516"/>
              <a:gd name="csY157" fmla="*/ 312205 h 1538630"/>
              <a:gd name="csX158" fmla="*/ 1084622 w 1609516"/>
              <a:gd name="csY158" fmla="*/ 267674 h 1538630"/>
              <a:gd name="csX159" fmla="*/ 1084227 w 1609516"/>
              <a:gd name="csY159" fmla="*/ 268378 h 1538630"/>
              <a:gd name="csX160" fmla="*/ 1079540 w 1609516"/>
              <a:gd name="csY160" fmla="*/ 268378 h 1538630"/>
              <a:gd name="csX161" fmla="*/ 1079603 w 1609516"/>
              <a:gd name="csY161" fmla="*/ 268477 h 1538630"/>
              <a:gd name="csX162" fmla="*/ 1084192 w 1609516"/>
              <a:gd name="csY162" fmla="*/ 268477 h 1538630"/>
              <a:gd name="csX163" fmla="*/ 956410 w 1609516"/>
              <a:gd name="csY163" fmla="*/ 266968 h 1538630"/>
              <a:gd name="csX164" fmla="*/ 957576 w 1609516"/>
              <a:gd name="csY164" fmla="*/ 267083 h 1538630"/>
              <a:gd name="csX165" fmla="*/ 957576 w 1609516"/>
              <a:gd name="csY165" fmla="*/ 269776 h 1538630"/>
              <a:gd name="csX166" fmla="*/ 957694 w 1609516"/>
              <a:gd name="csY166" fmla="*/ 269787 h 1538630"/>
              <a:gd name="csX167" fmla="*/ 957694 w 1609516"/>
              <a:gd name="csY167" fmla="*/ 266968 h 1538630"/>
              <a:gd name="csX168" fmla="*/ 1089372 w 1609516"/>
              <a:gd name="csY168" fmla="*/ 259220 h 1538630"/>
              <a:gd name="csX169" fmla="*/ 1085856 w 1609516"/>
              <a:gd name="csY169" fmla="*/ 265479 h 1538630"/>
              <a:gd name="csX170" fmla="*/ 1088878 w 1609516"/>
              <a:gd name="csY170" fmla="*/ 261431 h 1538630"/>
              <a:gd name="csX171" fmla="*/ 1018517 w 1609516"/>
              <a:gd name="csY171" fmla="*/ 223356 h 1538630"/>
              <a:gd name="csX172" fmla="*/ 1013866 w 1609516"/>
              <a:gd name="csY172" fmla="*/ 226190 h 1538630"/>
              <a:gd name="csX173" fmla="*/ 1013024 w 1609516"/>
              <a:gd name="csY173" fmla="*/ 227709 h 1538630"/>
              <a:gd name="csX174" fmla="*/ 1017055 w 1609516"/>
              <a:gd name="csY174" fmla="*/ 224692 h 1538630"/>
              <a:gd name="csX175" fmla="*/ 850645 w 1609516"/>
              <a:gd name="csY175" fmla="*/ 220099 h 1538630"/>
              <a:gd name="csX176" fmla="*/ 850897 w 1609516"/>
              <a:gd name="csY176" fmla="*/ 221488 h 1538630"/>
              <a:gd name="csX177" fmla="*/ 851470 w 1609516"/>
              <a:gd name="csY177" fmla="*/ 224692 h 1538630"/>
              <a:gd name="csX178" fmla="*/ 852860 w 1609516"/>
              <a:gd name="csY178" fmla="*/ 224692 h 1538630"/>
              <a:gd name="csX179" fmla="*/ 1155019 w 1609516"/>
              <a:gd name="csY179" fmla="*/ 35 h 1538630"/>
              <a:gd name="csX180" fmla="*/ 1174829 w 1609516"/>
              <a:gd name="csY180" fmla="*/ 4853 h 1538630"/>
              <a:gd name="csX181" fmla="*/ 1179418 w 1609516"/>
              <a:gd name="csY181" fmla="*/ 5998 h 1538630"/>
              <a:gd name="csX182" fmla="*/ 1201385 w 1609516"/>
              <a:gd name="csY182" fmla="*/ 22997 h 1538630"/>
              <a:gd name="csX183" fmla="*/ 1201678 w 1609516"/>
              <a:gd name="csY183" fmla="*/ 62191 h 1538630"/>
              <a:gd name="csX184" fmla="*/ 1198261 w 1609516"/>
              <a:gd name="csY184" fmla="*/ 68268 h 1538630"/>
              <a:gd name="csX185" fmla="*/ 1195723 w 1609516"/>
              <a:gd name="csY185" fmla="*/ 72672 h 1538630"/>
              <a:gd name="csX186" fmla="*/ 1193575 w 1609516"/>
              <a:gd name="csY186" fmla="*/ 75314 h 1538630"/>
              <a:gd name="csX187" fmla="*/ 1190450 w 1609516"/>
              <a:gd name="csY187" fmla="*/ 75314 h 1538630"/>
              <a:gd name="csX188" fmla="*/ 1189474 w 1609516"/>
              <a:gd name="csY188" fmla="*/ 79366 h 1538630"/>
              <a:gd name="csX189" fmla="*/ 1182445 w 1609516"/>
              <a:gd name="csY189" fmla="*/ 85707 h 1538630"/>
              <a:gd name="csX190" fmla="*/ 1177953 w 1609516"/>
              <a:gd name="csY190" fmla="*/ 86588 h 1538630"/>
              <a:gd name="csX191" fmla="*/ 1177953 w 1609516"/>
              <a:gd name="csY191" fmla="*/ 89406 h 1538630"/>
              <a:gd name="csX192" fmla="*/ 1170045 w 1609516"/>
              <a:gd name="csY192" fmla="*/ 94251 h 1538630"/>
              <a:gd name="csX193" fmla="*/ 1143806 w 1609516"/>
              <a:gd name="csY193" fmla="*/ 132828 h 1538630"/>
              <a:gd name="csX194" fmla="*/ 1137338 w 1609516"/>
              <a:gd name="csY194" fmla="*/ 141548 h 1538630"/>
              <a:gd name="csX195" fmla="*/ 1133970 w 1609516"/>
              <a:gd name="csY195" fmla="*/ 149403 h 1538630"/>
              <a:gd name="csX196" fmla="*/ 1127965 w 1609516"/>
              <a:gd name="csY196" fmla="*/ 164095 h 1538630"/>
              <a:gd name="csX197" fmla="*/ 1124762 w 1609516"/>
              <a:gd name="csY197" fmla="*/ 171802 h 1538630"/>
              <a:gd name="csX198" fmla="*/ 1119359 w 1609516"/>
              <a:gd name="csY198" fmla="*/ 184798 h 1538630"/>
              <a:gd name="csX199" fmla="*/ 1111014 w 1609516"/>
              <a:gd name="csY199" fmla="*/ 204941 h 1538630"/>
              <a:gd name="csX200" fmla="*/ 1109729 w 1609516"/>
              <a:gd name="csY200" fmla="*/ 208059 h 1538630"/>
              <a:gd name="csX201" fmla="*/ 1106395 w 1609516"/>
              <a:gd name="csY201" fmla="*/ 216170 h 1538630"/>
              <a:gd name="csX202" fmla="*/ 1102147 w 1609516"/>
              <a:gd name="csY202" fmla="*/ 224810 h 1538630"/>
              <a:gd name="csX203" fmla="*/ 1098261 w 1609516"/>
              <a:gd name="csY203" fmla="*/ 227262 h 1538630"/>
              <a:gd name="csX204" fmla="*/ 1098367 w 1609516"/>
              <a:gd name="csY204" fmla="*/ 238475 h 1538630"/>
              <a:gd name="csX205" fmla="*/ 1097331 w 1609516"/>
              <a:gd name="csY205" fmla="*/ 242358 h 1538630"/>
              <a:gd name="csX206" fmla="*/ 1096201 w 1609516"/>
              <a:gd name="csY206" fmla="*/ 246458 h 1538630"/>
              <a:gd name="csX207" fmla="*/ 1089440 w 1609516"/>
              <a:gd name="csY207" fmla="*/ 279206 h 1538630"/>
              <a:gd name="csX208" fmla="*/ 1087316 w 1609516"/>
              <a:gd name="csY208" fmla="*/ 283978 h 1538630"/>
              <a:gd name="csX209" fmla="*/ 1086822 w 1609516"/>
              <a:gd name="csY209" fmla="*/ 291822 h 1538630"/>
              <a:gd name="csX210" fmla="*/ 1086623 w 1609516"/>
              <a:gd name="csY210" fmla="*/ 296625 h 1538630"/>
              <a:gd name="csX211" fmla="*/ 1086437 w 1609516"/>
              <a:gd name="csY211" fmla="*/ 301681 h 1538630"/>
              <a:gd name="csX212" fmla="*/ 1086233 w 1609516"/>
              <a:gd name="csY212" fmla="*/ 306754 h 1538630"/>
              <a:gd name="csX213" fmla="*/ 1086007 w 1609516"/>
              <a:gd name="csY213" fmla="*/ 312619 h 1538630"/>
              <a:gd name="csX214" fmla="*/ 1087470 w 1609516"/>
              <a:gd name="csY214" fmla="*/ 320554 h 1538630"/>
              <a:gd name="csX215" fmla="*/ 1098285 w 1609516"/>
              <a:gd name="csY215" fmla="*/ 334611 h 1538630"/>
              <a:gd name="csX216" fmla="*/ 1102607 w 1609516"/>
              <a:gd name="csY216" fmla="*/ 337679 h 1538630"/>
              <a:gd name="csX217" fmla="*/ 1106095 w 1609516"/>
              <a:gd name="csY217" fmla="*/ 340248 h 1538630"/>
              <a:gd name="csX218" fmla="*/ 1106095 w 1609516"/>
              <a:gd name="csY218" fmla="*/ 343066 h 1538630"/>
              <a:gd name="csX219" fmla="*/ 1109220 w 1609516"/>
              <a:gd name="csY219" fmla="*/ 343419 h 1538630"/>
              <a:gd name="csX220" fmla="*/ 1126403 w 1609516"/>
              <a:gd name="csY220" fmla="*/ 350112 h 1538630"/>
              <a:gd name="csX221" fmla="*/ 1131871 w 1609516"/>
              <a:gd name="csY221" fmla="*/ 352579 h 1538630"/>
              <a:gd name="csX222" fmla="*/ 1135776 w 1609516"/>
              <a:gd name="csY222" fmla="*/ 354340 h 1538630"/>
              <a:gd name="csX223" fmla="*/ 1135776 w 1609516"/>
              <a:gd name="csY223" fmla="*/ 357158 h 1538630"/>
              <a:gd name="csX224" fmla="*/ 1170143 w 1609516"/>
              <a:gd name="csY224" fmla="*/ 354340 h 1538630"/>
              <a:gd name="csX225" fmla="*/ 1174634 w 1609516"/>
              <a:gd name="csY225" fmla="*/ 352579 h 1538630"/>
              <a:gd name="csX226" fmla="*/ 1190890 w 1609516"/>
              <a:gd name="csY226" fmla="*/ 342907 h 1538630"/>
              <a:gd name="csX227" fmla="*/ 1204021 w 1609516"/>
              <a:gd name="csY227" fmla="*/ 335404 h 1538630"/>
              <a:gd name="csX228" fmla="*/ 1223255 w 1609516"/>
              <a:gd name="csY228" fmla="*/ 319110 h 1538630"/>
              <a:gd name="csX229" fmla="*/ 1226868 w 1609516"/>
              <a:gd name="csY229" fmla="*/ 315587 h 1538630"/>
              <a:gd name="csX230" fmla="*/ 1231859 w 1609516"/>
              <a:gd name="csY230" fmla="*/ 303559 h 1538630"/>
              <a:gd name="csX231" fmla="*/ 1234178 w 1609516"/>
              <a:gd name="csY231" fmla="*/ 298059 h 1538630"/>
              <a:gd name="csX232" fmla="*/ 1237314 w 1609516"/>
              <a:gd name="csY232" fmla="*/ 288195 h 1538630"/>
              <a:gd name="csX233" fmla="*/ 1249811 w 1609516"/>
              <a:gd name="csY233" fmla="*/ 265559 h 1538630"/>
              <a:gd name="csX234" fmla="*/ 1252935 w 1609516"/>
              <a:gd name="csY234" fmla="*/ 265559 h 1538630"/>
              <a:gd name="csX235" fmla="*/ 1252935 w 1609516"/>
              <a:gd name="csY235" fmla="*/ 262741 h 1538630"/>
              <a:gd name="csX236" fmla="*/ 1296675 w 1609516"/>
              <a:gd name="csY236" fmla="*/ 252876 h 1538630"/>
              <a:gd name="csX237" fmla="*/ 1307609 w 1609516"/>
              <a:gd name="csY237" fmla="*/ 255695 h 1538630"/>
              <a:gd name="csX238" fmla="*/ 1307609 w 1609516"/>
              <a:gd name="csY238" fmla="*/ 258513 h 1538630"/>
              <a:gd name="csX239" fmla="*/ 1311887 w 1609516"/>
              <a:gd name="csY239" fmla="*/ 258832 h 1538630"/>
              <a:gd name="csX240" fmla="*/ 1326715 w 1609516"/>
              <a:gd name="csY240" fmla="*/ 269969 h 1538630"/>
              <a:gd name="csX241" fmla="*/ 1334165 w 1609516"/>
              <a:gd name="csY241" fmla="*/ 307836 h 1538630"/>
              <a:gd name="csX242" fmla="*/ 1329479 w 1609516"/>
              <a:gd name="csY242" fmla="*/ 314882 h 1538630"/>
              <a:gd name="csX243" fmla="*/ 1323231 w 1609516"/>
              <a:gd name="csY243" fmla="*/ 314882 h 1538630"/>
              <a:gd name="csX244" fmla="*/ 1323231 w 1609516"/>
              <a:gd name="csY244" fmla="*/ 317700 h 1538630"/>
              <a:gd name="csX245" fmla="*/ 1322774 w 1609516"/>
              <a:gd name="csY245" fmla="*/ 317838 h 1538630"/>
              <a:gd name="csX246" fmla="*/ 1323295 w 1609516"/>
              <a:gd name="csY246" fmla="*/ 317838 h 1538630"/>
              <a:gd name="csX247" fmla="*/ 1323295 w 1609516"/>
              <a:gd name="csY247" fmla="*/ 315019 h 1538630"/>
              <a:gd name="csX248" fmla="*/ 1327982 w 1609516"/>
              <a:gd name="csY248" fmla="*/ 315019 h 1538630"/>
              <a:gd name="csX249" fmla="*/ 1317047 w 1609516"/>
              <a:gd name="csY249" fmla="*/ 327702 h 1538630"/>
              <a:gd name="csX250" fmla="*/ 1315484 w 1609516"/>
              <a:gd name="csY250" fmla="*/ 331930 h 1538630"/>
              <a:gd name="csX251" fmla="*/ 1309139 w 1609516"/>
              <a:gd name="csY251" fmla="*/ 333603 h 1538630"/>
              <a:gd name="csX252" fmla="*/ 1305666 w 1609516"/>
              <a:gd name="csY252" fmla="*/ 334280 h 1538630"/>
              <a:gd name="csX253" fmla="*/ 1302988 w 1609516"/>
              <a:gd name="csY253" fmla="*/ 334748 h 1538630"/>
              <a:gd name="csX254" fmla="*/ 1305905 w 1609516"/>
              <a:gd name="csY254" fmla="*/ 332775 h 1538630"/>
              <a:gd name="csX255" fmla="*/ 1304485 w 1609516"/>
              <a:gd name="csY255" fmla="*/ 333202 h 1538630"/>
              <a:gd name="csX256" fmla="*/ 1301459 w 1609516"/>
              <a:gd name="csY256" fmla="*/ 336108 h 1538630"/>
              <a:gd name="csX257" fmla="*/ 1291989 w 1609516"/>
              <a:gd name="csY257" fmla="*/ 338839 h 1538630"/>
              <a:gd name="csX258" fmla="*/ 1290426 w 1609516"/>
              <a:gd name="csY258" fmla="*/ 343066 h 1538630"/>
              <a:gd name="csX259" fmla="*/ 1285740 w 1609516"/>
              <a:gd name="csY259" fmla="*/ 344123 h 1538630"/>
              <a:gd name="csX260" fmla="*/ 1237314 w 1609516"/>
              <a:gd name="csY260" fmla="*/ 382525 h 1538630"/>
              <a:gd name="csX261" fmla="*/ 1232628 w 1609516"/>
              <a:gd name="csY261" fmla="*/ 392389 h 1538630"/>
              <a:gd name="csX262" fmla="*/ 1228625 w 1609516"/>
              <a:gd name="csY262" fmla="*/ 398731 h 1538630"/>
              <a:gd name="csX263" fmla="*/ 1222822 w 1609516"/>
              <a:gd name="csY263" fmla="*/ 434798 h 1538630"/>
              <a:gd name="csX264" fmla="*/ 1260746 w 1609516"/>
              <a:gd name="csY264" fmla="*/ 485398 h 1538630"/>
              <a:gd name="csX265" fmla="*/ 1268556 w 1609516"/>
              <a:gd name="csY265" fmla="*/ 488216 h 1538630"/>
              <a:gd name="csX266" fmla="*/ 1268556 w 1609516"/>
              <a:gd name="csY266" fmla="*/ 491034 h 1538630"/>
              <a:gd name="csX267" fmla="*/ 1338852 w 1609516"/>
              <a:gd name="csY267" fmla="*/ 489625 h 1538630"/>
              <a:gd name="csX268" fmla="*/ 1347444 w 1609516"/>
              <a:gd name="csY268" fmla="*/ 488480 h 1538630"/>
              <a:gd name="csX269" fmla="*/ 1369362 w 1609516"/>
              <a:gd name="csY269" fmla="*/ 482513 h 1538630"/>
              <a:gd name="csX270" fmla="*/ 1388840 w 1609516"/>
              <a:gd name="csY270" fmla="*/ 478351 h 1538630"/>
              <a:gd name="csX271" fmla="*/ 1388840 w 1609516"/>
              <a:gd name="csY271" fmla="*/ 475533 h 1538630"/>
              <a:gd name="csX272" fmla="*/ 1395576 w 1609516"/>
              <a:gd name="csY272" fmla="*/ 473419 h 1538630"/>
              <a:gd name="csX273" fmla="*/ 1399365 w 1609516"/>
              <a:gd name="csY273" fmla="*/ 472230 h 1538630"/>
              <a:gd name="csX274" fmla="*/ 1407585 w 1609516"/>
              <a:gd name="csY274" fmla="*/ 471305 h 1538630"/>
              <a:gd name="csX275" fmla="*/ 1409147 w 1609516"/>
              <a:gd name="csY275" fmla="*/ 467078 h 1538630"/>
              <a:gd name="csX276" fmla="*/ 1416470 w 1609516"/>
              <a:gd name="csY276" fmla="*/ 464259 h 1538630"/>
              <a:gd name="csX277" fmla="*/ 1437949 w 1609516"/>
              <a:gd name="csY277" fmla="*/ 455011 h 1538630"/>
              <a:gd name="csX278" fmla="*/ 1452887 w 1609516"/>
              <a:gd name="csY278" fmla="*/ 450167 h 1538630"/>
              <a:gd name="csX279" fmla="*/ 1452887 w 1609516"/>
              <a:gd name="csY279" fmla="*/ 447349 h 1538630"/>
              <a:gd name="csX280" fmla="*/ 1455394 w 1609516"/>
              <a:gd name="csY280" fmla="*/ 446122 h 1538630"/>
              <a:gd name="csX281" fmla="*/ 1466653 w 1609516"/>
              <a:gd name="csY281" fmla="*/ 440567 h 1538630"/>
              <a:gd name="csX282" fmla="*/ 1470598 w 1609516"/>
              <a:gd name="csY282" fmla="*/ 438637 h 1538630"/>
              <a:gd name="csX283" fmla="*/ 1474397 w 1609516"/>
              <a:gd name="csY283" fmla="*/ 436752 h 1538630"/>
              <a:gd name="csX284" fmla="*/ 1477892 w 1609516"/>
              <a:gd name="csY284" fmla="*/ 435030 h 1538630"/>
              <a:gd name="csX285" fmla="*/ 1485691 w 1609516"/>
              <a:gd name="csY285" fmla="*/ 429029 h 1538630"/>
              <a:gd name="csX286" fmla="*/ 1488858 w 1609516"/>
              <a:gd name="csY286" fmla="*/ 427653 h 1538630"/>
              <a:gd name="csX287" fmla="*/ 1495943 w 1609516"/>
              <a:gd name="csY287" fmla="*/ 421454 h 1538630"/>
              <a:gd name="csX288" fmla="*/ 1538608 w 1609516"/>
              <a:gd name="csY288" fmla="*/ 388338 h 1538630"/>
              <a:gd name="csX289" fmla="*/ 1543490 w 1609516"/>
              <a:gd name="csY289" fmla="*/ 388161 h 1538630"/>
              <a:gd name="csX290" fmla="*/ 1547621 w 1609516"/>
              <a:gd name="csY290" fmla="*/ 387804 h 1538630"/>
              <a:gd name="csX291" fmla="*/ 1579418 w 1609516"/>
              <a:gd name="csY291" fmla="*/ 396617 h 1538630"/>
              <a:gd name="csX292" fmla="*/ 1583342 w 1609516"/>
              <a:gd name="csY292" fmla="*/ 398780 h 1538630"/>
              <a:gd name="csX293" fmla="*/ 1601288 w 1609516"/>
              <a:gd name="csY293" fmla="*/ 423392 h 1538630"/>
              <a:gd name="csX294" fmla="*/ 1594484 w 1609516"/>
              <a:gd name="csY294" fmla="*/ 460159 h 1538630"/>
              <a:gd name="csX295" fmla="*/ 1574732 w 1609516"/>
              <a:gd name="csY295" fmla="*/ 475533 h 1538630"/>
              <a:gd name="csX296" fmla="*/ 1572097 w 1609516"/>
              <a:gd name="csY296" fmla="*/ 477078 h 1538630"/>
              <a:gd name="csX297" fmla="*/ 1556066 w 1609516"/>
              <a:gd name="csY297" fmla="*/ 478737 h 1538630"/>
              <a:gd name="csX298" fmla="*/ 1548631 w 1609516"/>
              <a:gd name="csY298" fmla="*/ 478825 h 1538630"/>
              <a:gd name="csX299" fmla="*/ 1536991 w 1609516"/>
              <a:gd name="csY299" fmla="*/ 478889 h 1538630"/>
              <a:gd name="csX300" fmla="*/ 1498188 w 1609516"/>
              <a:gd name="csY300" fmla="*/ 485398 h 1538630"/>
              <a:gd name="csX301" fmla="*/ 1493892 w 1609516"/>
              <a:gd name="csY301" fmla="*/ 487600 h 1538630"/>
              <a:gd name="csX302" fmla="*/ 1490377 w 1609516"/>
              <a:gd name="csY302" fmla="*/ 489625 h 1538630"/>
              <a:gd name="csX303" fmla="*/ 1471650 w 1609516"/>
              <a:gd name="csY303" fmla="*/ 498185 h 1538630"/>
              <a:gd name="csX304" fmla="*/ 1459135 w 1609516"/>
              <a:gd name="csY304" fmla="*/ 505127 h 1538630"/>
              <a:gd name="csX305" fmla="*/ 1452594 w 1609516"/>
              <a:gd name="csY305" fmla="*/ 508033 h 1538630"/>
              <a:gd name="csX306" fmla="*/ 1427795 w 1609516"/>
              <a:gd name="csY306" fmla="*/ 520100 h 1538630"/>
              <a:gd name="csX307" fmla="*/ 1423733 w 1609516"/>
              <a:gd name="csY307" fmla="*/ 522148 h 1538630"/>
              <a:gd name="csX308" fmla="*/ 1419929 w 1609516"/>
              <a:gd name="csY308" fmla="*/ 524118 h 1538630"/>
              <a:gd name="csX309" fmla="*/ 1416487 w 1609516"/>
              <a:gd name="csY309" fmla="*/ 525883 h 1538630"/>
              <a:gd name="csX310" fmla="*/ 1412271 w 1609516"/>
              <a:gd name="csY310" fmla="*/ 531902 h 1538630"/>
              <a:gd name="csX311" fmla="*/ 1396650 w 1609516"/>
              <a:gd name="csY311" fmla="*/ 537539 h 1538630"/>
              <a:gd name="csX312" fmla="*/ 1396650 w 1609516"/>
              <a:gd name="csY312" fmla="*/ 540357 h 1538630"/>
              <a:gd name="csX313" fmla="*/ 1393495 w 1609516"/>
              <a:gd name="csY313" fmla="*/ 541502 h 1538630"/>
              <a:gd name="csX314" fmla="*/ 1362284 w 1609516"/>
              <a:gd name="csY314" fmla="*/ 558678 h 1538630"/>
              <a:gd name="csX315" fmla="*/ 1355937 w 1609516"/>
              <a:gd name="csY315" fmla="*/ 562905 h 1538630"/>
              <a:gd name="csX316" fmla="*/ 1334165 w 1609516"/>
              <a:gd name="csY316" fmla="*/ 578406 h 1538630"/>
              <a:gd name="csX317" fmla="*/ 1331200 w 1609516"/>
              <a:gd name="csY317" fmla="*/ 580559 h 1538630"/>
              <a:gd name="csX318" fmla="*/ 1322175 w 1609516"/>
              <a:gd name="csY318" fmla="*/ 596793 h 1538630"/>
              <a:gd name="csX319" fmla="*/ 1320106 w 1609516"/>
              <a:gd name="csY319" fmla="*/ 602363 h 1538630"/>
              <a:gd name="csX320" fmla="*/ 1328015 w 1609516"/>
              <a:gd name="csY320" fmla="*/ 647640 h 1538630"/>
              <a:gd name="csX321" fmla="*/ 1332604 w 1609516"/>
              <a:gd name="csY321" fmla="*/ 675643 h 1538630"/>
              <a:gd name="csX322" fmla="*/ 1335727 w 1609516"/>
              <a:gd name="csY322" fmla="*/ 675643 h 1538630"/>
              <a:gd name="csX323" fmla="*/ 1337741 w 1609516"/>
              <a:gd name="csY323" fmla="*/ 690059 h 1538630"/>
              <a:gd name="csX324" fmla="*/ 1338003 w 1609516"/>
              <a:gd name="csY324" fmla="*/ 696222 h 1538630"/>
              <a:gd name="csX325" fmla="*/ 1338340 w 1609516"/>
              <a:gd name="csY325" fmla="*/ 705887 h 1538630"/>
              <a:gd name="csX326" fmla="*/ 1345277 w 1609516"/>
              <a:gd name="csY326" fmla="*/ 733245 h 1538630"/>
              <a:gd name="csX327" fmla="*/ 1363162 w 1609516"/>
              <a:gd name="csY327" fmla="*/ 741612 h 1538630"/>
              <a:gd name="csX328" fmla="*/ 1384154 w 1609516"/>
              <a:gd name="csY328" fmla="*/ 748922 h 1538630"/>
              <a:gd name="csX329" fmla="*/ 1391476 w 1609516"/>
              <a:gd name="csY329" fmla="*/ 750419 h 1538630"/>
              <a:gd name="csX330" fmla="*/ 1395564 w 1609516"/>
              <a:gd name="csY330" fmla="*/ 751080 h 1538630"/>
              <a:gd name="csX331" fmla="*/ 1399775 w 1609516"/>
              <a:gd name="csY331" fmla="*/ 751740 h 1538630"/>
              <a:gd name="csX332" fmla="*/ 1403887 w 1609516"/>
              <a:gd name="csY332" fmla="*/ 752489 h 1538630"/>
              <a:gd name="csX333" fmla="*/ 1465383 w 1609516"/>
              <a:gd name="csY333" fmla="*/ 755969 h 1538630"/>
              <a:gd name="csX334" fmla="*/ 1470339 w 1609516"/>
              <a:gd name="csY334" fmla="*/ 755897 h 1538630"/>
              <a:gd name="csX335" fmla="*/ 1496809 w 1609516"/>
              <a:gd name="csY335" fmla="*/ 749313 h 1538630"/>
              <a:gd name="csX336" fmla="*/ 1515371 w 1609516"/>
              <a:gd name="csY336" fmla="*/ 743285 h 1538630"/>
              <a:gd name="csX337" fmla="*/ 1515371 w 1609516"/>
              <a:gd name="csY337" fmla="*/ 740467 h 1538630"/>
              <a:gd name="csX338" fmla="*/ 1537632 w 1609516"/>
              <a:gd name="csY338" fmla="*/ 737120 h 1538630"/>
              <a:gd name="csX339" fmla="*/ 1541657 w 1609516"/>
              <a:gd name="csY339" fmla="*/ 737127 h 1538630"/>
              <a:gd name="csX340" fmla="*/ 1574732 w 1609516"/>
              <a:gd name="csY340" fmla="*/ 748922 h 1538630"/>
              <a:gd name="csX341" fmla="*/ 1588791 w 1609516"/>
              <a:gd name="csY341" fmla="*/ 792608 h 1538630"/>
              <a:gd name="csX342" fmla="*/ 1584105 w 1609516"/>
              <a:gd name="csY342" fmla="*/ 805291 h 1538630"/>
              <a:gd name="csX343" fmla="*/ 1580981 w 1609516"/>
              <a:gd name="csY343" fmla="*/ 806700 h 1538630"/>
              <a:gd name="csX344" fmla="*/ 1578735 w 1609516"/>
              <a:gd name="csY344" fmla="*/ 810311 h 1538630"/>
              <a:gd name="csX345" fmla="*/ 1576295 w 1609516"/>
              <a:gd name="csY345" fmla="*/ 813746 h 1538630"/>
              <a:gd name="csX346" fmla="*/ 1571652 w 1609516"/>
              <a:gd name="csY346" fmla="*/ 813746 h 1538630"/>
              <a:gd name="csX347" fmla="*/ 1571785 w 1609516"/>
              <a:gd name="csY347" fmla="*/ 814106 h 1538630"/>
              <a:gd name="csX348" fmla="*/ 1574909 w 1609516"/>
              <a:gd name="csY348" fmla="*/ 815515 h 1538630"/>
              <a:gd name="csX349" fmla="*/ 1565463 w 1609516"/>
              <a:gd name="csY349" fmla="*/ 821839 h 1538630"/>
              <a:gd name="csX350" fmla="*/ 1562085 w 1609516"/>
              <a:gd name="csY350" fmla="*/ 822101 h 1538630"/>
              <a:gd name="csX351" fmla="*/ 1551301 w 1609516"/>
              <a:gd name="csY351" fmla="*/ 825020 h 1538630"/>
              <a:gd name="csX352" fmla="*/ 1551301 w 1609516"/>
              <a:gd name="csY352" fmla="*/ 827838 h 1538630"/>
              <a:gd name="csX353" fmla="*/ 1485380 w 1609516"/>
              <a:gd name="csY353" fmla="*/ 815007 h 1538630"/>
              <a:gd name="csX354" fmla="*/ 1431603 w 1609516"/>
              <a:gd name="csY354" fmla="*/ 808726 h 1538630"/>
              <a:gd name="csX355" fmla="*/ 1424140 w 1609516"/>
              <a:gd name="csY355" fmla="*/ 808542 h 1538630"/>
              <a:gd name="csX356" fmla="*/ 1406023 w 1609516"/>
              <a:gd name="csY356" fmla="*/ 808109 h 1538630"/>
              <a:gd name="csX357" fmla="*/ 1406023 w 1609516"/>
              <a:gd name="csY357" fmla="*/ 810928 h 1538630"/>
              <a:gd name="csX358" fmla="*/ 1403383 w 1609516"/>
              <a:gd name="csY358" fmla="*/ 811311 h 1538630"/>
              <a:gd name="csX359" fmla="*/ 1345442 w 1609516"/>
              <a:gd name="csY359" fmla="*/ 828907 h 1538630"/>
              <a:gd name="csX360" fmla="*/ 1337875 w 1609516"/>
              <a:gd name="csY360" fmla="*/ 856639 h 1538630"/>
              <a:gd name="csX361" fmla="*/ 1337692 w 1609516"/>
              <a:gd name="csY361" fmla="*/ 860171 h 1538630"/>
              <a:gd name="csX362" fmla="*/ 1337290 w 1609516"/>
              <a:gd name="csY362" fmla="*/ 868706 h 1538630"/>
              <a:gd name="csX363" fmla="*/ 1334165 w 1609516"/>
              <a:gd name="csY363" fmla="*/ 868706 h 1538630"/>
              <a:gd name="csX364" fmla="*/ 1334165 w 1609516"/>
              <a:gd name="csY364" fmla="*/ 870034 h 1538630"/>
              <a:gd name="csX365" fmla="*/ 1334237 w 1609516"/>
              <a:gd name="csY365" fmla="*/ 869093 h 1538630"/>
              <a:gd name="csX366" fmla="*/ 1335800 w 1609516"/>
              <a:gd name="csY366" fmla="*/ 869093 h 1538630"/>
              <a:gd name="csX367" fmla="*/ 1335995 w 1609516"/>
              <a:gd name="csY367" fmla="*/ 876491 h 1538630"/>
              <a:gd name="csX368" fmla="*/ 1336105 w 1609516"/>
              <a:gd name="csY368" fmla="*/ 880653 h 1538630"/>
              <a:gd name="csX369" fmla="*/ 1334294 w 1609516"/>
              <a:gd name="csY369" fmla="*/ 887271 h 1538630"/>
              <a:gd name="csX370" fmla="*/ 1331455 w 1609516"/>
              <a:gd name="csY370" fmla="*/ 896440 h 1538630"/>
              <a:gd name="csX371" fmla="*/ 1330887 w 1609516"/>
              <a:gd name="csY371" fmla="*/ 899969 h 1538630"/>
              <a:gd name="csX372" fmla="*/ 1330332 w 1609516"/>
              <a:gd name="csY372" fmla="*/ 903618 h 1538630"/>
              <a:gd name="csX373" fmla="*/ 1329209 w 1609516"/>
              <a:gd name="csY373" fmla="*/ 910797 h 1538630"/>
              <a:gd name="csX374" fmla="*/ 1328724 w 1609516"/>
              <a:gd name="csY374" fmla="*/ 913998 h 1538630"/>
              <a:gd name="csX375" fmla="*/ 1324865 w 1609516"/>
              <a:gd name="csY375" fmla="*/ 922643 h 1538630"/>
              <a:gd name="csX376" fmla="*/ 1322619 w 1609516"/>
              <a:gd name="csY376" fmla="*/ 937979 h 1538630"/>
              <a:gd name="csX377" fmla="*/ 1318744 w 1609516"/>
              <a:gd name="csY377" fmla="*/ 944961 h 1538630"/>
              <a:gd name="csX378" fmla="*/ 1318544 w 1609516"/>
              <a:gd name="csY378" fmla="*/ 946213 h 1538630"/>
              <a:gd name="csX379" fmla="*/ 1318251 w 1609516"/>
              <a:gd name="csY379" fmla="*/ 955285 h 1538630"/>
              <a:gd name="csX380" fmla="*/ 1318184 w 1609516"/>
              <a:gd name="csY380" fmla="*/ 960036 h 1538630"/>
              <a:gd name="csX381" fmla="*/ 1324024 w 1609516"/>
              <a:gd name="csY381" fmla="*/ 973660 h 1538630"/>
              <a:gd name="csX382" fmla="*/ 1329284 w 1609516"/>
              <a:gd name="csY382" fmla="*/ 983382 h 1538630"/>
              <a:gd name="csX383" fmla="*/ 1340414 w 1609516"/>
              <a:gd name="csY383" fmla="*/ 998354 h 1538630"/>
              <a:gd name="csX384" fmla="*/ 1346272 w 1609516"/>
              <a:gd name="csY384" fmla="*/ 1005048 h 1538630"/>
              <a:gd name="csX385" fmla="*/ 1394716 w 1609516"/>
              <a:gd name="csY385" fmla="*/ 1042740 h 1538630"/>
              <a:gd name="csX386" fmla="*/ 1401953 w 1609516"/>
              <a:gd name="csY386" fmla="*/ 1047374 h 1538630"/>
              <a:gd name="csX387" fmla="*/ 1427197 w 1609516"/>
              <a:gd name="csY387" fmla="*/ 1059061 h 1538630"/>
              <a:gd name="csX388" fmla="*/ 1437265 w 1609516"/>
              <a:gd name="csY388" fmla="*/ 1064588 h 1538630"/>
              <a:gd name="csX389" fmla="*/ 1437265 w 1609516"/>
              <a:gd name="csY389" fmla="*/ 1067406 h 1538630"/>
              <a:gd name="csX390" fmla="*/ 1440878 w 1609516"/>
              <a:gd name="csY390" fmla="*/ 1067847 h 1538630"/>
              <a:gd name="csX391" fmla="*/ 1447175 w 1609516"/>
              <a:gd name="csY391" fmla="*/ 1070753 h 1538630"/>
              <a:gd name="csX392" fmla="*/ 1457866 w 1609516"/>
              <a:gd name="csY392" fmla="*/ 1076830 h 1538630"/>
              <a:gd name="csX393" fmla="*/ 1462132 w 1609516"/>
              <a:gd name="csY393" fmla="*/ 1078696 h 1538630"/>
              <a:gd name="csX394" fmla="*/ 1465383 w 1609516"/>
              <a:gd name="csY394" fmla="*/ 1080089 h 1538630"/>
              <a:gd name="csX395" fmla="*/ 1465383 w 1609516"/>
              <a:gd name="csY395" fmla="*/ 1082908 h 1538630"/>
              <a:gd name="csX396" fmla="*/ 1468758 w 1609516"/>
              <a:gd name="csY396" fmla="*/ 1083975 h 1538630"/>
              <a:gd name="csX397" fmla="*/ 1481688 w 1609516"/>
              <a:gd name="csY397" fmla="*/ 1091187 h 1538630"/>
              <a:gd name="csX398" fmla="*/ 1486283 w 1609516"/>
              <a:gd name="csY398" fmla="*/ 1094236 h 1538630"/>
              <a:gd name="csX399" fmla="*/ 1494869 w 1609516"/>
              <a:gd name="csY399" fmla="*/ 1100171 h 1538630"/>
              <a:gd name="csX400" fmla="*/ 1544335 w 1609516"/>
              <a:gd name="csY400" fmla="*/ 1109518 h 1538630"/>
              <a:gd name="csX401" fmla="*/ 1593477 w 1609516"/>
              <a:gd name="csY401" fmla="*/ 1119900 h 1538630"/>
              <a:gd name="csX402" fmla="*/ 1605975 w 1609516"/>
              <a:gd name="csY402" fmla="*/ 1144913 h 1538630"/>
              <a:gd name="csX403" fmla="*/ 1609099 w 1609516"/>
              <a:gd name="csY403" fmla="*/ 1144913 h 1538630"/>
              <a:gd name="csX404" fmla="*/ 1609392 w 1609516"/>
              <a:gd name="csY404" fmla="*/ 1156892 h 1538630"/>
              <a:gd name="csX405" fmla="*/ 1609511 w 1609516"/>
              <a:gd name="csY405" fmla="*/ 1160272 h 1538630"/>
              <a:gd name="csX406" fmla="*/ 1604412 w 1609516"/>
              <a:gd name="csY406" fmla="*/ 1181553 h 1538630"/>
              <a:gd name="csX407" fmla="*/ 1601288 w 1609516"/>
              <a:gd name="csY407" fmla="*/ 1190009 h 1538630"/>
              <a:gd name="csX408" fmla="*/ 1598164 w 1609516"/>
              <a:gd name="csY408" fmla="*/ 1190009 h 1538630"/>
              <a:gd name="csX409" fmla="*/ 1597187 w 1609516"/>
              <a:gd name="csY409" fmla="*/ 1192739 h 1538630"/>
              <a:gd name="csX410" fmla="*/ 1595040 w 1609516"/>
              <a:gd name="csY410" fmla="*/ 1195645 h 1538630"/>
              <a:gd name="csX411" fmla="*/ 1585667 w 1609516"/>
              <a:gd name="csY411" fmla="*/ 1197055 h 1538630"/>
              <a:gd name="csX412" fmla="*/ 1582543 w 1609516"/>
              <a:gd name="csY412" fmla="*/ 1202691 h 1538630"/>
              <a:gd name="csX413" fmla="*/ 1562431 w 1609516"/>
              <a:gd name="csY413" fmla="*/ 1204365 h 1538630"/>
              <a:gd name="csX414" fmla="*/ 1558690 w 1609516"/>
              <a:gd name="csY414" fmla="*/ 1204417 h 1538630"/>
              <a:gd name="csX415" fmla="*/ 1521102 w 1609516"/>
              <a:gd name="csY415" fmla="*/ 1189585 h 1538630"/>
              <a:gd name="csX416" fmla="*/ 1505022 w 1609516"/>
              <a:gd name="csY416" fmla="*/ 1172041 h 1538630"/>
              <a:gd name="csX417" fmla="*/ 1457573 w 1609516"/>
              <a:gd name="csY417" fmla="*/ 1140686 h 1538630"/>
              <a:gd name="csX418" fmla="*/ 1457573 w 1609516"/>
              <a:gd name="csY418" fmla="*/ 1137867 h 1538630"/>
              <a:gd name="csX419" fmla="*/ 1452985 w 1609516"/>
              <a:gd name="csY419" fmla="*/ 1137339 h 1538630"/>
              <a:gd name="csX420" fmla="*/ 1448200 w 1609516"/>
              <a:gd name="csY420" fmla="*/ 1136458 h 1538630"/>
              <a:gd name="csX421" fmla="*/ 1446638 w 1609516"/>
              <a:gd name="csY421" fmla="*/ 1133640 h 1538630"/>
              <a:gd name="csX422" fmla="*/ 1438937 w 1609516"/>
              <a:gd name="csY422" fmla="*/ 1130601 h 1538630"/>
              <a:gd name="csX423" fmla="*/ 1429260 w 1609516"/>
              <a:gd name="csY423" fmla="*/ 1126770 h 1538630"/>
              <a:gd name="csX424" fmla="*/ 1411393 w 1609516"/>
              <a:gd name="csY424" fmla="*/ 1120340 h 1538630"/>
              <a:gd name="csX425" fmla="*/ 1391427 w 1609516"/>
              <a:gd name="csY425" fmla="*/ 1111191 h 1538630"/>
              <a:gd name="csX426" fmla="*/ 1381029 w 1609516"/>
              <a:gd name="csY426" fmla="*/ 1106865 h 1538630"/>
              <a:gd name="csX427" fmla="*/ 1381029 w 1609516"/>
              <a:gd name="csY427" fmla="*/ 1104046 h 1538630"/>
              <a:gd name="csX428" fmla="*/ 1377221 w 1609516"/>
              <a:gd name="csY428" fmla="*/ 1103605 h 1538630"/>
              <a:gd name="csX429" fmla="*/ 1357597 w 1609516"/>
              <a:gd name="csY429" fmla="*/ 1098409 h 1538630"/>
              <a:gd name="csX430" fmla="*/ 1352032 w 1609516"/>
              <a:gd name="csY430" fmla="*/ 1096736 h 1538630"/>
              <a:gd name="csX431" fmla="*/ 1348225 w 1609516"/>
              <a:gd name="csY431" fmla="*/ 1095590 h 1538630"/>
              <a:gd name="csX432" fmla="*/ 1348225 w 1609516"/>
              <a:gd name="csY432" fmla="*/ 1092772 h 1538630"/>
              <a:gd name="csX433" fmla="*/ 1337290 w 1609516"/>
              <a:gd name="csY433" fmla="*/ 1091363 h 1538630"/>
              <a:gd name="csX434" fmla="*/ 1337290 w 1609516"/>
              <a:gd name="csY434" fmla="*/ 1088544 h 1538630"/>
              <a:gd name="csX435" fmla="*/ 1331529 w 1609516"/>
              <a:gd name="csY435" fmla="*/ 1088104 h 1538630"/>
              <a:gd name="csX436" fmla="*/ 1323297 w 1609516"/>
              <a:gd name="csY436" fmla="*/ 1086611 h 1538630"/>
              <a:gd name="csX437" fmla="*/ 1323297 w 1609516"/>
              <a:gd name="csY437" fmla="*/ 1087618 h 1538630"/>
              <a:gd name="csX438" fmla="*/ 1319789 w 1609516"/>
              <a:gd name="csY438" fmla="*/ 1087310 h 1538630"/>
              <a:gd name="csX439" fmla="*/ 1262375 w 1609516"/>
              <a:gd name="csY439" fmla="*/ 1089028 h 1538630"/>
              <a:gd name="csX440" fmla="*/ 1258728 w 1609516"/>
              <a:gd name="csY440" fmla="*/ 1088205 h 1538630"/>
              <a:gd name="csX441" fmla="*/ 1246964 w 1609516"/>
              <a:gd name="csY441" fmla="*/ 1091489 h 1538630"/>
              <a:gd name="csX442" fmla="*/ 1223224 w 1609516"/>
              <a:gd name="csY442" fmla="*/ 1112865 h 1538630"/>
              <a:gd name="csX443" fmla="*/ 1213883 w 1609516"/>
              <a:gd name="csY443" fmla="*/ 1122366 h 1538630"/>
              <a:gd name="csX444" fmla="*/ 1212505 w 1609516"/>
              <a:gd name="csY444" fmla="*/ 1125708 h 1538630"/>
              <a:gd name="csX445" fmla="*/ 1204180 w 1609516"/>
              <a:gd name="csY445" fmla="*/ 1135561 h 1538630"/>
              <a:gd name="csX446" fmla="*/ 1200238 w 1609516"/>
              <a:gd name="csY446" fmla="*/ 1138999 h 1538630"/>
              <a:gd name="csX447" fmla="*/ 1192025 w 1609516"/>
              <a:gd name="csY447" fmla="*/ 1146022 h 1538630"/>
              <a:gd name="csX448" fmla="*/ 1173945 w 1609516"/>
              <a:gd name="csY448" fmla="*/ 1174749 h 1538630"/>
              <a:gd name="csX449" fmla="*/ 1173950 w 1609516"/>
              <a:gd name="csY449" fmla="*/ 1182610 h 1538630"/>
              <a:gd name="csX450" fmla="*/ 1173989 w 1609516"/>
              <a:gd name="csY450" fmla="*/ 1186765 h 1538630"/>
              <a:gd name="csX451" fmla="*/ 1182640 w 1609516"/>
              <a:gd name="csY451" fmla="*/ 1215374 h 1538630"/>
              <a:gd name="csX452" fmla="*/ 1185764 w 1609516"/>
              <a:gd name="csY452" fmla="*/ 1221804 h 1538630"/>
              <a:gd name="csX453" fmla="*/ 1187301 w 1609516"/>
              <a:gd name="csY453" fmla="*/ 1224859 h 1538630"/>
              <a:gd name="csX454" fmla="*/ 1190573 w 1609516"/>
              <a:gd name="csY454" fmla="*/ 1231740 h 1538630"/>
              <a:gd name="csX455" fmla="*/ 1205925 w 1609516"/>
              <a:gd name="csY455" fmla="*/ 1255163 h 1538630"/>
              <a:gd name="csX456" fmla="*/ 1212174 w 1609516"/>
              <a:gd name="csY456" fmla="*/ 1263134 h 1538630"/>
              <a:gd name="csX457" fmla="*/ 1235556 w 1609516"/>
              <a:gd name="csY457" fmla="*/ 1282538 h 1538630"/>
              <a:gd name="csX458" fmla="*/ 1238876 w 1609516"/>
              <a:gd name="csY458" fmla="*/ 1284426 h 1538630"/>
              <a:gd name="csX459" fmla="*/ 1238876 w 1609516"/>
              <a:gd name="csY459" fmla="*/ 1287245 h 1538630"/>
              <a:gd name="csX460" fmla="*/ 1242245 w 1609516"/>
              <a:gd name="csY460" fmla="*/ 1287663 h 1538630"/>
              <a:gd name="csX461" fmla="*/ 1271681 w 1609516"/>
              <a:gd name="csY461" fmla="*/ 1305565 h 1538630"/>
              <a:gd name="csX462" fmla="*/ 1271742 w 1609516"/>
              <a:gd name="csY462" fmla="*/ 1306172 h 1538630"/>
              <a:gd name="csX463" fmla="*/ 1278525 w 1609516"/>
              <a:gd name="csY463" fmla="*/ 1315767 h 1538630"/>
              <a:gd name="csX464" fmla="*/ 1281097 w 1609516"/>
              <a:gd name="csY464" fmla="*/ 1327286 h 1538630"/>
              <a:gd name="csX465" fmla="*/ 1277973 w 1609516"/>
              <a:gd name="csY465" fmla="*/ 1355470 h 1538630"/>
              <a:gd name="csX466" fmla="*/ 1277460 w 1609516"/>
              <a:gd name="csY466" fmla="*/ 1347025 h 1538630"/>
              <a:gd name="csX467" fmla="*/ 1273531 w 1609516"/>
              <a:gd name="csY467" fmla="*/ 1357991 h 1538630"/>
              <a:gd name="csX468" fmla="*/ 1263870 w 1609516"/>
              <a:gd name="csY468" fmla="*/ 1368980 h 1538630"/>
              <a:gd name="csX469" fmla="*/ 1246686 w 1609516"/>
              <a:gd name="csY469" fmla="*/ 1376026 h 1538630"/>
              <a:gd name="csX470" fmla="*/ 1246686 w 1609516"/>
              <a:gd name="csY470" fmla="*/ 1378844 h 1538630"/>
              <a:gd name="csX471" fmla="*/ 1231651 w 1609516"/>
              <a:gd name="csY471" fmla="*/ 1379196 h 1538630"/>
              <a:gd name="csX472" fmla="*/ 1227373 w 1609516"/>
              <a:gd name="csY472" fmla="*/ 1379340 h 1538630"/>
              <a:gd name="csX473" fmla="*/ 1206071 w 1609516"/>
              <a:gd name="csY473" fmla="*/ 1373207 h 1538630"/>
              <a:gd name="csX474" fmla="*/ 1202069 w 1609516"/>
              <a:gd name="csY474" fmla="*/ 1371798 h 1538630"/>
              <a:gd name="csX475" fmla="*/ 1184104 w 1609516"/>
              <a:gd name="csY475" fmla="*/ 1356176 h 1538630"/>
              <a:gd name="csX476" fmla="*/ 1177270 w 1609516"/>
              <a:gd name="csY476" fmla="*/ 1335247 h 1538630"/>
              <a:gd name="csX477" fmla="*/ 1169002 w 1609516"/>
              <a:gd name="csY477" fmla="*/ 1313464 h 1538630"/>
              <a:gd name="csX478" fmla="*/ 1163504 w 1609516"/>
              <a:gd name="csY478" fmla="*/ 1302130 h 1538630"/>
              <a:gd name="csX479" fmla="*/ 1162015 w 1609516"/>
              <a:gd name="csY479" fmla="*/ 1298788 h 1538630"/>
              <a:gd name="csX480" fmla="*/ 1160111 w 1609516"/>
              <a:gd name="csY480" fmla="*/ 1292656 h 1538630"/>
              <a:gd name="csX481" fmla="*/ 1154522 w 1609516"/>
              <a:gd name="csY481" fmla="*/ 1287245 h 1538630"/>
              <a:gd name="csX482" fmla="*/ 1151398 w 1609516"/>
              <a:gd name="csY482" fmla="*/ 1280199 h 1538630"/>
              <a:gd name="csX483" fmla="*/ 1144173 w 1609516"/>
              <a:gd name="csY483" fmla="*/ 1270774 h 1538630"/>
              <a:gd name="csX484" fmla="*/ 1142065 w 1609516"/>
              <a:gd name="csY484" fmla="*/ 1268160 h 1538630"/>
              <a:gd name="csX485" fmla="*/ 1135776 w 1609516"/>
              <a:gd name="csY485" fmla="*/ 1260470 h 1538630"/>
              <a:gd name="csX486" fmla="*/ 1132353 w 1609516"/>
              <a:gd name="csY486" fmla="*/ 1256247 h 1538630"/>
              <a:gd name="csX487" fmla="*/ 1112344 w 1609516"/>
              <a:gd name="csY487" fmla="*/ 1240741 h 1538630"/>
              <a:gd name="csX488" fmla="*/ 1106193 w 1609516"/>
              <a:gd name="csY488" fmla="*/ 1237570 h 1538630"/>
              <a:gd name="csX489" fmla="*/ 1101409 w 1609516"/>
              <a:gd name="csY489" fmla="*/ 1235104 h 1538630"/>
              <a:gd name="csX490" fmla="*/ 1101409 w 1609516"/>
              <a:gd name="csY490" fmla="*/ 1230876 h 1538630"/>
              <a:gd name="csX491" fmla="*/ 1065480 w 1609516"/>
              <a:gd name="csY491" fmla="*/ 1230876 h 1538630"/>
              <a:gd name="csX492" fmla="*/ 1063919 w 1609516"/>
              <a:gd name="csY492" fmla="*/ 1235104 h 1538630"/>
              <a:gd name="csX493" fmla="*/ 1059232 w 1609516"/>
              <a:gd name="csY493" fmla="*/ 1235104 h 1538630"/>
              <a:gd name="csX494" fmla="*/ 1059232 w 1609516"/>
              <a:gd name="csY494" fmla="*/ 1237922 h 1538630"/>
              <a:gd name="csX495" fmla="*/ 1040194 w 1609516"/>
              <a:gd name="csY495" fmla="*/ 1245761 h 1538630"/>
              <a:gd name="csX496" fmla="*/ 1030333 w 1609516"/>
              <a:gd name="csY496" fmla="*/ 1249901 h 1538630"/>
              <a:gd name="csX497" fmla="*/ 1013931 w 1609516"/>
              <a:gd name="csY497" fmla="*/ 1256242 h 1538630"/>
              <a:gd name="csX498" fmla="*/ 1005925 w 1609516"/>
              <a:gd name="csY498" fmla="*/ 1261615 h 1538630"/>
              <a:gd name="csX499" fmla="*/ 1004558 w 1609516"/>
              <a:gd name="csY499" fmla="*/ 1264697 h 1538630"/>
              <a:gd name="csX500" fmla="*/ 1002959 w 1609516"/>
              <a:gd name="csY500" fmla="*/ 1267961 h 1538630"/>
              <a:gd name="csX501" fmla="*/ 1000653 w 1609516"/>
              <a:gd name="csY501" fmla="*/ 1278965 h 1538630"/>
              <a:gd name="csX502" fmla="*/ 998297 w 1609516"/>
              <a:gd name="csY502" fmla="*/ 1294137 h 1538630"/>
              <a:gd name="csX503" fmla="*/ 996162 w 1609516"/>
              <a:gd name="csY503" fmla="*/ 1324765 h 1538630"/>
              <a:gd name="csX504" fmla="*/ 996164 w 1609516"/>
              <a:gd name="csY504" fmla="*/ 1327846 h 1538630"/>
              <a:gd name="csX505" fmla="*/ 1007780 w 1609516"/>
              <a:gd name="csY505" fmla="*/ 1403329 h 1538630"/>
              <a:gd name="csX506" fmla="*/ 1008940 w 1609516"/>
              <a:gd name="csY506" fmla="*/ 1407701 h 1538630"/>
              <a:gd name="csX507" fmla="*/ 1010080 w 1609516"/>
              <a:gd name="csY507" fmla="*/ 1411730 h 1538630"/>
              <a:gd name="csX508" fmla="*/ 1011075 w 1609516"/>
              <a:gd name="csY508" fmla="*/ 1415277 h 1538630"/>
              <a:gd name="csX509" fmla="*/ 1017055 w 1609516"/>
              <a:gd name="csY509" fmla="*/ 1422530 h 1538630"/>
              <a:gd name="csX510" fmla="*/ 1020277 w 1609516"/>
              <a:gd name="csY510" fmla="*/ 1427991 h 1538630"/>
              <a:gd name="csX511" fmla="*/ 1021796 w 1609516"/>
              <a:gd name="csY511" fmla="*/ 1430798 h 1538630"/>
              <a:gd name="csX512" fmla="*/ 1024579 w 1609516"/>
              <a:gd name="csY512" fmla="*/ 1437239 h 1538630"/>
              <a:gd name="csX513" fmla="*/ 1034043 w 1609516"/>
              <a:gd name="csY513" fmla="*/ 1448072 h 1538630"/>
              <a:gd name="csX514" fmla="*/ 1043782 w 1609516"/>
              <a:gd name="csY514" fmla="*/ 1464320 h 1538630"/>
              <a:gd name="csX515" fmla="*/ 1050458 w 1609516"/>
              <a:gd name="csY515" fmla="*/ 1472189 h 1538630"/>
              <a:gd name="csX516" fmla="*/ 1052926 w 1609516"/>
              <a:gd name="csY516" fmla="*/ 1482370 h 1538630"/>
              <a:gd name="csX517" fmla="*/ 1053316 w 1609516"/>
              <a:gd name="csY517" fmla="*/ 1496903 h 1538630"/>
              <a:gd name="csX518" fmla="*/ 1053352 w 1609516"/>
              <a:gd name="csY518" fmla="*/ 1500660 h 1538630"/>
              <a:gd name="csX519" fmla="*/ 1053341 w 1609516"/>
              <a:gd name="csY519" fmla="*/ 1504285 h 1538630"/>
              <a:gd name="csX520" fmla="*/ 1053329 w 1609516"/>
              <a:gd name="csY520" fmla="*/ 1507529 h 1538630"/>
              <a:gd name="csX521" fmla="*/ 1049801 w 1609516"/>
              <a:gd name="csY521" fmla="*/ 1516192 h 1538630"/>
              <a:gd name="csX522" fmla="*/ 1047312 w 1609516"/>
              <a:gd name="csY522" fmla="*/ 1516192 h 1538630"/>
              <a:gd name="csX523" fmla="*/ 1043611 w 1609516"/>
              <a:gd name="csY523" fmla="*/ 1522585 h 1538630"/>
              <a:gd name="csX524" fmla="*/ 1029552 w 1609516"/>
              <a:gd name="csY524" fmla="*/ 1529631 h 1538630"/>
              <a:gd name="csX525" fmla="*/ 1028771 w 1609516"/>
              <a:gd name="csY525" fmla="*/ 1532273 h 1538630"/>
              <a:gd name="csX526" fmla="*/ 1018013 w 1609516"/>
              <a:gd name="csY526" fmla="*/ 1537640 h 1538630"/>
              <a:gd name="csX527" fmla="*/ 981126 w 1609516"/>
              <a:gd name="csY527" fmla="*/ 1533859 h 1538630"/>
              <a:gd name="csX528" fmla="*/ 977227 w 1609516"/>
              <a:gd name="csY528" fmla="*/ 1531943 h 1538630"/>
              <a:gd name="csX529" fmla="*/ 955376 w 1609516"/>
              <a:gd name="csY529" fmla="*/ 1508751 h 1538630"/>
              <a:gd name="csX530" fmla="*/ 954571 w 1609516"/>
              <a:gd name="csY530" fmla="*/ 1500037 h 1538630"/>
              <a:gd name="csX531" fmla="*/ 951446 w 1609516"/>
              <a:gd name="csY531" fmla="*/ 1500037 h 1538630"/>
              <a:gd name="csX532" fmla="*/ 951251 w 1609516"/>
              <a:gd name="csY532" fmla="*/ 1487883 h 1538630"/>
              <a:gd name="csX533" fmla="*/ 951171 w 1609516"/>
              <a:gd name="csY533" fmla="*/ 1484431 h 1538630"/>
              <a:gd name="csX534" fmla="*/ 954571 w 1609516"/>
              <a:gd name="csY534" fmla="*/ 1466216 h 1538630"/>
              <a:gd name="csX535" fmla="*/ 954961 w 1609516"/>
              <a:gd name="csY535" fmla="*/ 1455118 h 1538630"/>
              <a:gd name="csX536" fmla="*/ 954932 w 1609516"/>
              <a:gd name="csY536" fmla="*/ 1451972 h 1538630"/>
              <a:gd name="csX537" fmla="*/ 945099 w 1609516"/>
              <a:gd name="csY537" fmla="*/ 1403594 h 1538630"/>
              <a:gd name="csX538" fmla="*/ 942366 w 1609516"/>
              <a:gd name="csY538" fmla="*/ 1393553 h 1538630"/>
              <a:gd name="csX539" fmla="*/ 934451 w 1609516"/>
              <a:gd name="csY539" fmla="*/ 1372734 h 1538630"/>
              <a:gd name="csX540" fmla="*/ 931974 w 1609516"/>
              <a:gd name="csY540" fmla="*/ 1365754 h 1538630"/>
              <a:gd name="csX541" fmla="*/ 931138 w 1609516"/>
              <a:gd name="csY541" fmla="*/ 1363343 h 1538630"/>
              <a:gd name="csX542" fmla="*/ 926452 w 1609516"/>
              <a:gd name="csY542" fmla="*/ 1361933 h 1538630"/>
              <a:gd name="csX543" fmla="*/ 918641 w 1609516"/>
              <a:gd name="csY543" fmla="*/ 1340795 h 1538630"/>
              <a:gd name="csX544" fmla="*/ 917079 w 1609516"/>
              <a:gd name="csY544" fmla="*/ 1335158 h 1538630"/>
              <a:gd name="csX545" fmla="*/ 913955 w 1609516"/>
              <a:gd name="csY545" fmla="*/ 1335158 h 1538630"/>
              <a:gd name="csX546" fmla="*/ 912057 w 1609516"/>
              <a:gd name="csY546" fmla="*/ 1330793 h 1538630"/>
              <a:gd name="csX547" fmla="*/ 902142 w 1609516"/>
              <a:gd name="csY547" fmla="*/ 1316222 h 1538630"/>
              <a:gd name="csX548" fmla="*/ 900091 w 1609516"/>
              <a:gd name="csY548" fmla="*/ 1313828 h 1538630"/>
              <a:gd name="csX549" fmla="*/ 878026 w 1609516"/>
              <a:gd name="csY549" fmla="*/ 1295700 h 1538630"/>
              <a:gd name="csX550" fmla="*/ 875134 w 1609516"/>
              <a:gd name="csY550" fmla="*/ 1293465 h 1538630"/>
              <a:gd name="csX551" fmla="*/ 869869 w 1609516"/>
              <a:gd name="csY551" fmla="*/ 1291826 h 1538630"/>
              <a:gd name="csX552" fmla="*/ 862384 w 1609516"/>
              <a:gd name="csY552" fmla="*/ 1291327 h 1538630"/>
              <a:gd name="csX553" fmla="*/ 844390 w 1609516"/>
              <a:gd name="csY553" fmla="*/ 1290461 h 1538630"/>
              <a:gd name="csX554" fmla="*/ 840476 w 1609516"/>
              <a:gd name="csY554" fmla="*/ 1290500 h 1538630"/>
              <a:gd name="csX555" fmla="*/ 831015 w 1609516"/>
              <a:gd name="csY555" fmla="*/ 1290637 h 1538630"/>
              <a:gd name="csX556" fmla="*/ 831015 w 1609516"/>
              <a:gd name="csY556" fmla="*/ 1293456 h 1538630"/>
              <a:gd name="csX557" fmla="*/ 818225 w 1609516"/>
              <a:gd name="csY557" fmla="*/ 1295570 h 1538630"/>
              <a:gd name="csX558" fmla="*/ 796774 w 1609516"/>
              <a:gd name="csY558" fmla="*/ 1297671 h 1538630"/>
              <a:gd name="csX559" fmla="*/ 783646 w 1609516"/>
              <a:gd name="csY559" fmla="*/ 1305736 h 1538630"/>
              <a:gd name="csX560" fmla="*/ 769263 w 1609516"/>
              <a:gd name="csY560" fmla="*/ 1327143 h 1538630"/>
              <a:gd name="csX561" fmla="*/ 764797 w 1609516"/>
              <a:gd name="csY561" fmla="*/ 1334360 h 1538630"/>
              <a:gd name="csX562" fmla="*/ 757875 w 1609516"/>
              <a:gd name="csY562" fmla="*/ 1353503 h 1538630"/>
              <a:gd name="csX563" fmla="*/ 755676 w 1609516"/>
              <a:gd name="csY563" fmla="*/ 1367455 h 1538630"/>
              <a:gd name="csX564" fmla="*/ 750558 w 1609516"/>
              <a:gd name="csY564" fmla="*/ 1399690 h 1538630"/>
              <a:gd name="csX565" fmla="*/ 753057 w 1609516"/>
              <a:gd name="csY565" fmla="*/ 1411256 h 1538630"/>
              <a:gd name="csX566" fmla="*/ 753057 w 1609516"/>
              <a:gd name="csY566" fmla="*/ 1416893 h 1538630"/>
              <a:gd name="csX567" fmla="*/ 756181 w 1609516"/>
              <a:gd name="csY567" fmla="*/ 1416893 h 1538630"/>
              <a:gd name="csX568" fmla="*/ 758133 w 1609516"/>
              <a:gd name="csY568" fmla="*/ 1436182 h 1538630"/>
              <a:gd name="csX569" fmla="*/ 758231 w 1609516"/>
              <a:gd name="csY569" fmla="*/ 1440781 h 1538630"/>
              <a:gd name="csX570" fmla="*/ 750713 w 1609516"/>
              <a:gd name="csY570" fmla="*/ 1465704 h 1538630"/>
              <a:gd name="csX571" fmla="*/ 748370 w 1609516"/>
              <a:gd name="csY571" fmla="*/ 1467185 h 1538630"/>
              <a:gd name="csX572" fmla="*/ 741633 w 1609516"/>
              <a:gd name="csY572" fmla="*/ 1473526 h 1538630"/>
              <a:gd name="csX573" fmla="*/ 728154 w 1609516"/>
              <a:gd name="csY573" fmla="*/ 1478343 h 1538630"/>
              <a:gd name="csX574" fmla="*/ 721814 w 1609516"/>
              <a:gd name="csY574" fmla="*/ 1480308 h 1538630"/>
              <a:gd name="csX575" fmla="*/ 708341 w 1609516"/>
              <a:gd name="csY575" fmla="*/ 1480661 h 1538630"/>
              <a:gd name="csX576" fmla="*/ 704637 w 1609516"/>
              <a:gd name="csY576" fmla="*/ 1480748 h 1538630"/>
              <a:gd name="csX577" fmla="*/ 668507 w 1609516"/>
              <a:gd name="csY577" fmla="*/ 1468418 h 1538630"/>
              <a:gd name="csX578" fmla="*/ 660178 w 1609516"/>
              <a:gd name="csY578" fmla="*/ 1450027 h 1538630"/>
              <a:gd name="csX579" fmla="*/ 657767 w 1609516"/>
              <a:gd name="csY579" fmla="*/ 1445078 h 1538630"/>
              <a:gd name="csX580" fmla="*/ 663369 w 1609516"/>
              <a:gd name="csY580" fmla="*/ 1409390 h 1538630"/>
              <a:gd name="csX581" fmla="*/ 671826 w 1609516"/>
              <a:gd name="csY581" fmla="*/ 1401392 h 1538630"/>
              <a:gd name="csX582" fmla="*/ 678075 w 1609516"/>
              <a:gd name="csY582" fmla="*/ 1390118 h 1538630"/>
              <a:gd name="csX583" fmla="*/ 684323 w 1609516"/>
              <a:gd name="csY583" fmla="*/ 1388709 h 1538630"/>
              <a:gd name="csX584" fmla="*/ 685293 w 1609516"/>
              <a:gd name="csY584" fmla="*/ 1384233 h 1538630"/>
              <a:gd name="csX585" fmla="*/ 686569 w 1609516"/>
              <a:gd name="csY585" fmla="*/ 1378404 h 1538630"/>
              <a:gd name="csX586" fmla="*/ 687207 w 1609516"/>
              <a:gd name="csY586" fmla="*/ 1375456 h 1538630"/>
              <a:gd name="csX587" fmla="*/ 690572 w 1609516"/>
              <a:gd name="csY587" fmla="*/ 1363343 h 1538630"/>
              <a:gd name="csX588" fmla="*/ 692495 w 1609516"/>
              <a:gd name="csY588" fmla="*/ 1323376 h 1538630"/>
              <a:gd name="csX589" fmla="*/ 692625 w 1609516"/>
              <a:gd name="csY589" fmla="*/ 1315006 h 1538630"/>
              <a:gd name="csX590" fmla="*/ 687447 w 1609516"/>
              <a:gd name="csY590" fmla="*/ 1287245 h 1538630"/>
              <a:gd name="csX591" fmla="*/ 682761 w 1609516"/>
              <a:gd name="csY591" fmla="*/ 1285835 h 1538630"/>
              <a:gd name="csX592" fmla="*/ 678954 w 1609516"/>
              <a:gd name="csY592" fmla="*/ 1281608 h 1538630"/>
              <a:gd name="csX593" fmla="*/ 668702 w 1609516"/>
              <a:gd name="csY593" fmla="*/ 1275971 h 1538630"/>
              <a:gd name="csX594" fmla="*/ 662454 w 1609516"/>
              <a:gd name="csY594" fmla="*/ 1270334 h 1538630"/>
              <a:gd name="csX595" fmla="*/ 654643 w 1609516"/>
              <a:gd name="csY595" fmla="*/ 1267516 h 1538630"/>
              <a:gd name="csX596" fmla="*/ 654643 w 1609516"/>
              <a:gd name="csY596" fmla="*/ 1264697 h 1538630"/>
              <a:gd name="csX597" fmla="*/ 650152 w 1609516"/>
              <a:gd name="csY597" fmla="*/ 1264345 h 1538630"/>
              <a:gd name="csX598" fmla="*/ 628087 w 1609516"/>
              <a:gd name="csY598" fmla="*/ 1257651 h 1538630"/>
              <a:gd name="csX599" fmla="*/ 628087 w 1609516"/>
              <a:gd name="csY599" fmla="*/ 1254833 h 1538630"/>
              <a:gd name="csX600" fmla="*/ 625121 w 1609516"/>
              <a:gd name="csY600" fmla="*/ 1254315 h 1538630"/>
              <a:gd name="csX601" fmla="*/ 621252 w 1609516"/>
              <a:gd name="csY601" fmla="*/ 1253600 h 1538630"/>
              <a:gd name="csX602" fmla="*/ 617409 w 1609516"/>
              <a:gd name="csY602" fmla="*/ 1252906 h 1538630"/>
              <a:gd name="csX603" fmla="*/ 610904 w 1609516"/>
              <a:gd name="csY603" fmla="*/ 1249196 h 1538630"/>
              <a:gd name="csX604" fmla="*/ 565739 w 1609516"/>
              <a:gd name="csY604" fmla="*/ 1271742 h 1538630"/>
              <a:gd name="csX605" fmla="*/ 546924 w 1609516"/>
              <a:gd name="csY605" fmla="*/ 1290829 h 1538630"/>
              <a:gd name="csX606" fmla="*/ 543635 w 1609516"/>
              <a:gd name="csY606" fmla="*/ 1294643 h 1538630"/>
              <a:gd name="csX607" fmla="*/ 540651 w 1609516"/>
              <a:gd name="csY607" fmla="*/ 1298188 h 1538630"/>
              <a:gd name="csX608" fmla="*/ 529673 w 1609516"/>
              <a:gd name="csY608" fmla="*/ 1305565 h 1538630"/>
              <a:gd name="csX609" fmla="*/ 526549 w 1609516"/>
              <a:gd name="csY609" fmla="*/ 1311202 h 1538630"/>
              <a:gd name="csX610" fmla="*/ 523425 w 1609516"/>
              <a:gd name="csY610" fmla="*/ 1311202 h 1538630"/>
              <a:gd name="csX611" fmla="*/ 523230 w 1609516"/>
              <a:gd name="csY611" fmla="*/ 1313580 h 1538630"/>
              <a:gd name="csX612" fmla="*/ 517732 w 1609516"/>
              <a:gd name="csY612" fmla="*/ 1319739 h 1538630"/>
              <a:gd name="csX613" fmla="*/ 502239 w 1609516"/>
              <a:gd name="csY613" fmla="*/ 1337096 h 1538630"/>
              <a:gd name="csX614" fmla="*/ 497058 w 1609516"/>
              <a:gd name="csY614" fmla="*/ 1344087 h 1538630"/>
              <a:gd name="csX615" fmla="*/ 494572 w 1609516"/>
              <a:gd name="csY615" fmla="*/ 1347465 h 1538630"/>
              <a:gd name="csX616" fmla="*/ 487776 w 1609516"/>
              <a:gd name="csY616" fmla="*/ 1356181 h 1538630"/>
              <a:gd name="csX617" fmla="*/ 481248 w 1609516"/>
              <a:gd name="csY617" fmla="*/ 1367571 h 1538630"/>
              <a:gd name="csX618" fmla="*/ 478123 w 1609516"/>
              <a:gd name="csY618" fmla="*/ 1367571 h 1538630"/>
              <a:gd name="csX619" fmla="*/ 477635 w 1609516"/>
              <a:gd name="csY619" fmla="*/ 1370565 h 1538630"/>
              <a:gd name="csX620" fmla="*/ 465626 w 1609516"/>
              <a:gd name="csY620" fmla="*/ 1388709 h 1538630"/>
              <a:gd name="csX621" fmla="*/ 461233 w 1609516"/>
              <a:gd name="csY621" fmla="*/ 1397340 h 1538630"/>
              <a:gd name="csX622" fmla="*/ 455765 w 1609516"/>
              <a:gd name="csY622" fmla="*/ 1408086 h 1538630"/>
              <a:gd name="csX623" fmla="*/ 439070 w 1609516"/>
              <a:gd name="csY623" fmla="*/ 1477490 h 1538630"/>
              <a:gd name="csX624" fmla="*/ 434384 w 1609516"/>
              <a:gd name="csY624" fmla="*/ 1478899 h 1538630"/>
              <a:gd name="csX625" fmla="*/ 432431 w 1609516"/>
              <a:gd name="csY625" fmla="*/ 1481982 h 1538630"/>
              <a:gd name="csX626" fmla="*/ 418763 w 1609516"/>
              <a:gd name="csY626" fmla="*/ 1494401 h 1538630"/>
              <a:gd name="csX627" fmla="*/ 415639 w 1609516"/>
              <a:gd name="csY627" fmla="*/ 1494401 h 1538630"/>
              <a:gd name="csX628" fmla="*/ 415639 w 1609516"/>
              <a:gd name="csY628" fmla="*/ 1497219 h 1538630"/>
              <a:gd name="csX629" fmla="*/ 406265 w 1609516"/>
              <a:gd name="csY629" fmla="*/ 1498628 h 1538630"/>
              <a:gd name="csX630" fmla="*/ 406265 w 1609516"/>
              <a:gd name="csY630" fmla="*/ 1501447 h 1538630"/>
              <a:gd name="csX631" fmla="*/ 375023 w 1609516"/>
              <a:gd name="csY631" fmla="*/ 1501447 h 1538630"/>
              <a:gd name="csX632" fmla="*/ 375023 w 1609516"/>
              <a:gd name="csY632" fmla="*/ 1499438 h 1538630"/>
              <a:gd name="csX633" fmla="*/ 374964 w 1609516"/>
              <a:gd name="csY633" fmla="*/ 1499436 h 1538630"/>
              <a:gd name="csX634" fmla="*/ 373179 w 1609516"/>
              <a:gd name="csY634" fmla="*/ 1498628 h 1538630"/>
              <a:gd name="csX635" fmla="*/ 365650 w 1609516"/>
              <a:gd name="csY635" fmla="*/ 1498628 h 1538630"/>
              <a:gd name="csX636" fmla="*/ 363134 w 1609516"/>
              <a:gd name="csY636" fmla="*/ 1494087 h 1538630"/>
              <a:gd name="csX637" fmla="*/ 362171 w 1609516"/>
              <a:gd name="csY637" fmla="*/ 1493651 h 1538630"/>
              <a:gd name="csX638" fmla="*/ 360609 w 1609516"/>
              <a:gd name="csY638" fmla="*/ 1490833 h 1538630"/>
              <a:gd name="csX639" fmla="*/ 363733 w 1609516"/>
              <a:gd name="csY639" fmla="*/ 1490833 h 1538630"/>
              <a:gd name="csX640" fmla="*/ 363733 w 1609516"/>
              <a:gd name="csY640" fmla="*/ 1489980 h 1538630"/>
              <a:gd name="csX641" fmla="*/ 348467 w 1609516"/>
              <a:gd name="csY641" fmla="*/ 1481717 h 1538630"/>
              <a:gd name="csX642" fmla="*/ 343872 w 1609516"/>
              <a:gd name="csY642" fmla="*/ 1461078 h 1538630"/>
              <a:gd name="csX643" fmla="*/ 343656 w 1609516"/>
              <a:gd name="csY643" fmla="*/ 1463649 h 1538630"/>
              <a:gd name="csX644" fmla="*/ 343424 w 1609516"/>
              <a:gd name="csY644" fmla="*/ 1466842 h 1538630"/>
              <a:gd name="csX645" fmla="*/ 341861 w 1609516"/>
              <a:gd name="csY645" fmla="*/ 1466842 h 1538630"/>
              <a:gd name="csX646" fmla="*/ 354143 w 1609516"/>
              <a:gd name="csY646" fmla="*/ 1420549 h 1538630"/>
              <a:gd name="csX647" fmla="*/ 376229 w 1609516"/>
              <a:gd name="csY647" fmla="*/ 1403427 h 1538630"/>
              <a:gd name="csX648" fmla="*/ 379491 w 1609516"/>
              <a:gd name="csY648" fmla="*/ 1404408 h 1538630"/>
              <a:gd name="csX649" fmla="*/ 379710 w 1609516"/>
              <a:gd name="csY649" fmla="*/ 1404210 h 1538630"/>
              <a:gd name="csX650" fmla="*/ 380882 w 1609516"/>
              <a:gd name="csY650" fmla="*/ 1401568 h 1538630"/>
              <a:gd name="csX651" fmla="*/ 392207 w 1609516"/>
              <a:gd name="csY651" fmla="*/ 1392936 h 1538630"/>
              <a:gd name="csX652" fmla="*/ 399542 w 1609516"/>
              <a:gd name="csY652" fmla="*/ 1386774 h 1538630"/>
              <a:gd name="csX653" fmla="*/ 405485 w 1609516"/>
              <a:gd name="csY653" fmla="*/ 1378917 h 1538630"/>
              <a:gd name="csX654" fmla="*/ 412008 w 1609516"/>
              <a:gd name="csY654" fmla="*/ 1369481 h 1538630"/>
              <a:gd name="csX655" fmla="*/ 421130 w 1609516"/>
              <a:gd name="csY655" fmla="*/ 1357057 h 1538630"/>
              <a:gd name="csX656" fmla="*/ 424676 w 1609516"/>
              <a:gd name="csY656" fmla="*/ 1348443 h 1538630"/>
              <a:gd name="csX657" fmla="*/ 427275 w 1609516"/>
              <a:gd name="csY657" fmla="*/ 1348443 h 1538630"/>
              <a:gd name="csX658" fmla="*/ 428135 w 1609516"/>
              <a:gd name="csY658" fmla="*/ 1345727 h 1538630"/>
              <a:gd name="csX659" fmla="*/ 432822 w 1609516"/>
              <a:gd name="csY659" fmla="*/ 1335158 h 1538630"/>
              <a:gd name="csX660" fmla="*/ 435946 w 1609516"/>
              <a:gd name="csY660" fmla="*/ 1335158 h 1538630"/>
              <a:gd name="csX661" fmla="*/ 437704 w 1609516"/>
              <a:gd name="csY661" fmla="*/ 1329786 h 1538630"/>
              <a:gd name="csX662" fmla="*/ 447394 w 1609516"/>
              <a:gd name="csY662" fmla="*/ 1311196 h 1538630"/>
              <a:gd name="csX663" fmla="*/ 469287 w 1609516"/>
              <a:gd name="csY663" fmla="*/ 1265964 h 1538630"/>
              <a:gd name="csX664" fmla="*/ 478178 w 1609516"/>
              <a:gd name="csY664" fmla="*/ 1246787 h 1538630"/>
              <a:gd name="csX665" fmla="*/ 480179 w 1609516"/>
              <a:gd name="csY665" fmla="*/ 1225768 h 1538630"/>
              <a:gd name="csX666" fmla="*/ 480250 w 1609516"/>
              <a:gd name="csY666" fmla="*/ 1217149 h 1538630"/>
              <a:gd name="csX667" fmla="*/ 462972 w 1609516"/>
              <a:gd name="csY667" fmla="*/ 1174827 h 1538630"/>
              <a:gd name="csX668" fmla="*/ 457468 w 1609516"/>
              <a:gd name="csY668" fmla="*/ 1169949 h 1538630"/>
              <a:gd name="csX669" fmla="*/ 440657 w 1609516"/>
              <a:gd name="csY669" fmla="*/ 1152570 h 1538630"/>
              <a:gd name="csX670" fmla="*/ 403142 w 1609516"/>
              <a:gd name="csY670" fmla="*/ 1122366 h 1538630"/>
              <a:gd name="csX671" fmla="*/ 401579 w 1609516"/>
              <a:gd name="csY671" fmla="*/ 1119547 h 1538630"/>
              <a:gd name="csX672" fmla="*/ 364564 w 1609516"/>
              <a:gd name="csY672" fmla="*/ 1118209 h 1538630"/>
              <a:gd name="csX673" fmla="*/ 357822 w 1609516"/>
              <a:gd name="csY673" fmla="*/ 1122041 h 1538630"/>
              <a:gd name="csX674" fmla="*/ 348077 w 1609516"/>
              <a:gd name="csY674" fmla="*/ 1125273 h 1538630"/>
              <a:gd name="csX675" fmla="*/ 334408 w 1609516"/>
              <a:gd name="csY675" fmla="*/ 1132230 h 1538630"/>
              <a:gd name="csX676" fmla="*/ 327964 w 1609516"/>
              <a:gd name="csY676" fmla="*/ 1134080 h 1538630"/>
              <a:gd name="csX677" fmla="*/ 279734 w 1609516"/>
              <a:gd name="csY677" fmla="*/ 1166051 h 1538630"/>
              <a:gd name="csX678" fmla="*/ 276609 w 1609516"/>
              <a:gd name="csY678" fmla="*/ 1173098 h 1538630"/>
              <a:gd name="csX679" fmla="*/ 260988 w 1609516"/>
              <a:gd name="csY679" fmla="*/ 1188599 h 1538630"/>
              <a:gd name="csX680" fmla="*/ 257956 w 1609516"/>
              <a:gd name="csY680" fmla="*/ 1191132 h 1538630"/>
              <a:gd name="csX681" fmla="*/ 243805 w 1609516"/>
              <a:gd name="csY681" fmla="*/ 1196629 h 1538630"/>
              <a:gd name="csX682" fmla="*/ 243805 w 1609516"/>
              <a:gd name="csY682" fmla="*/ 1194236 h 1538630"/>
              <a:gd name="csX683" fmla="*/ 240288 w 1609516"/>
              <a:gd name="csY683" fmla="*/ 1194765 h 1538630"/>
              <a:gd name="csX684" fmla="*/ 243374 w 1609516"/>
              <a:gd name="csY684" fmla="*/ 1194765 h 1538630"/>
              <a:gd name="csX685" fmla="*/ 243374 w 1609516"/>
              <a:gd name="csY685" fmla="*/ 1196797 h 1538630"/>
              <a:gd name="csX686" fmla="*/ 243805 w 1609516"/>
              <a:gd name="csY686" fmla="*/ 1196629 h 1538630"/>
              <a:gd name="csX687" fmla="*/ 243805 w 1609516"/>
              <a:gd name="csY687" fmla="*/ 1197055 h 1538630"/>
              <a:gd name="csX688" fmla="*/ 243374 w 1609516"/>
              <a:gd name="csY688" fmla="*/ 1197055 h 1538630"/>
              <a:gd name="csX689" fmla="*/ 243374 w 1609516"/>
              <a:gd name="csY689" fmla="*/ 1197584 h 1538630"/>
              <a:gd name="csX690" fmla="*/ 241319 w 1609516"/>
              <a:gd name="csY690" fmla="*/ 1197595 h 1538630"/>
              <a:gd name="csX691" fmla="*/ 238009 w 1609516"/>
              <a:gd name="csY691" fmla="*/ 1198881 h 1538630"/>
              <a:gd name="csX692" fmla="*/ 215687 w 1609516"/>
              <a:gd name="csY692" fmla="*/ 1198464 h 1538630"/>
              <a:gd name="csX693" fmla="*/ 215687 w 1609516"/>
              <a:gd name="csY693" fmla="*/ 1197734 h 1538630"/>
              <a:gd name="csX694" fmla="*/ 213936 w 1609516"/>
              <a:gd name="csY694" fmla="*/ 1197744 h 1538630"/>
              <a:gd name="csX695" fmla="*/ 207446 w 1609516"/>
              <a:gd name="csY695" fmla="*/ 1196175 h 1538630"/>
              <a:gd name="csX696" fmla="*/ 207822 w 1609516"/>
              <a:gd name="csY696" fmla="*/ 1195610 h 1538630"/>
              <a:gd name="csX697" fmla="*/ 184737 w 1609516"/>
              <a:gd name="csY697" fmla="*/ 1180936 h 1538630"/>
              <a:gd name="csX698" fmla="*/ 179270 w 1609516"/>
              <a:gd name="csY698" fmla="*/ 1154866 h 1538630"/>
              <a:gd name="csX699" fmla="*/ 179194 w 1609516"/>
              <a:gd name="csY699" fmla="*/ 1151621 h 1538630"/>
              <a:gd name="csX700" fmla="*/ 193195 w 1609516"/>
              <a:gd name="csY700" fmla="*/ 1120065 h 1538630"/>
              <a:gd name="csX701" fmla="*/ 229551 w 1609516"/>
              <a:gd name="csY701" fmla="*/ 1110299 h 1538630"/>
              <a:gd name="csX702" fmla="*/ 260988 w 1609516"/>
              <a:gd name="csY702" fmla="*/ 1108274 h 1538630"/>
              <a:gd name="csX703" fmla="*/ 260988 w 1609516"/>
              <a:gd name="csY703" fmla="*/ 1105455 h 1538630"/>
              <a:gd name="csX704" fmla="*/ 263911 w 1609516"/>
              <a:gd name="csY704" fmla="*/ 1104310 h 1538630"/>
              <a:gd name="csX705" fmla="*/ 286995 w 1609516"/>
              <a:gd name="csY705" fmla="*/ 1090185 h 1538630"/>
              <a:gd name="csX706" fmla="*/ 299358 w 1609516"/>
              <a:gd name="csY706" fmla="*/ 1080970 h 1538630"/>
              <a:gd name="csX707" fmla="*/ 317762 w 1609516"/>
              <a:gd name="csY707" fmla="*/ 1063272 h 1538630"/>
              <a:gd name="csX708" fmla="*/ 325035 w 1609516"/>
              <a:gd name="csY708" fmla="*/ 1057542 h 1538630"/>
              <a:gd name="csX709" fmla="*/ 325328 w 1609516"/>
              <a:gd name="csY709" fmla="*/ 1023104 h 1538630"/>
              <a:gd name="csX710" fmla="*/ 324544 w 1609516"/>
              <a:gd name="csY710" fmla="*/ 1019247 h 1538630"/>
              <a:gd name="csX711" fmla="*/ 317225 w 1609516"/>
              <a:gd name="csY711" fmla="*/ 996945 h 1538630"/>
              <a:gd name="csX712" fmla="*/ 315388 w 1609516"/>
              <a:gd name="csY712" fmla="*/ 992690 h 1538630"/>
              <a:gd name="csX713" fmla="*/ 276232 w 1609516"/>
              <a:gd name="csY713" fmla="*/ 950666 h 1538630"/>
              <a:gd name="csX714" fmla="*/ 271923 w 1609516"/>
              <a:gd name="csY714" fmla="*/ 949031 h 1538630"/>
              <a:gd name="csX715" fmla="*/ 268299 w 1609516"/>
              <a:gd name="csY715" fmla="*/ 947441 h 1538630"/>
              <a:gd name="csX716" fmla="*/ 199187 w 1609516"/>
              <a:gd name="csY716" fmla="*/ 938991 h 1538630"/>
              <a:gd name="csX717" fmla="*/ 193719 w 1609516"/>
              <a:gd name="csY717" fmla="*/ 938971 h 1538630"/>
              <a:gd name="csX718" fmla="*/ 188539 w 1609516"/>
              <a:gd name="csY718" fmla="*/ 938980 h 1538630"/>
              <a:gd name="csX719" fmla="*/ 183874 w 1609516"/>
              <a:gd name="csY719" fmla="*/ 938985 h 1538630"/>
              <a:gd name="csX720" fmla="*/ 173509 w 1609516"/>
              <a:gd name="csY720" fmla="*/ 940576 h 1538630"/>
              <a:gd name="csX721" fmla="*/ 161403 w 1609516"/>
              <a:gd name="csY721" fmla="*/ 940664 h 1538630"/>
              <a:gd name="csX722" fmla="*/ 158102 w 1609516"/>
              <a:gd name="csY722" fmla="*/ 940645 h 1538630"/>
              <a:gd name="csX723" fmla="*/ 150875 w 1609516"/>
              <a:gd name="csY723" fmla="*/ 940583 h 1538630"/>
              <a:gd name="csX724" fmla="*/ 148425 w 1609516"/>
              <a:gd name="csY724" fmla="*/ 940717 h 1538630"/>
              <a:gd name="csX725" fmla="*/ 149617 w 1609516"/>
              <a:gd name="csY725" fmla="*/ 940995 h 1538630"/>
              <a:gd name="csX726" fmla="*/ 149617 w 1609516"/>
              <a:gd name="csY726" fmla="*/ 942404 h 1538630"/>
              <a:gd name="csX727" fmla="*/ 146627 w 1609516"/>
              <a:gd name="csY727" fmla="*/ 942871 h 1538630"/>
              <a:gd name="csX728" fmla="*/ 110564 w 1609516"/>
              <a:gd name="csY728" fmla="*/ 949449 h 1538630"/>
              <a:gd name="csX729" fmla="*/ 111283 w 1609516"/>
              <a:gd name="csY729" fmla="*/ 946205 h 1538630"/>
              <a:gd name="csX730" fmla="*/ 101652 w 1609516"/>
              <a:gd name="csY730" fmla="*/ 956078 h 1538630"/>
              <a:gd name="csX731" fmla="*/ 98052 w 1609516"/>
              <a:gd name="csY731" fmla="*/ 958467 h 1538630"/>
              <a:gd name="csX732" fmla="*/ 67286 w 1609516"/>
              <a:gd name="csY732" fmla="*/ 972989 h 1538630"/>
              <a:gd name="csX733" fmla="*/ 67286 w 1609516"/>
              <a:gd name="csY733" fmla="*/ 975807 h 1538630"/>
              <a:gd name="csX734" fmla="*/ 31942 w 1609516"/>
              <a:gd name="csY734" fmla="*/ 976423 h 1538630"/>
              <a:gd name="csX735" fmla="*/ 5673 w 1609516"/>
              <a:gd name="csY735" fmla="*/ 953419 h 1538630"/>
              <a:gd name="csX736" fmla="*/ 4801 w 1609516"/>
              <a:gd name="csY736" fmla="*/ 944804 h 1538630"/>
              <a:gd name="csX737" fmla="*/ 1676 w 1609516"/>
              <a:gd name="csY737" fmla="*/ 944804 h 1538630"/>
              <a:gd name="csX738" fmla="*/ 17 w 1609516"/>
              <a:gd name="csY738" fmla="*/ 931857 h 1538630"/>
              <a:gd name="csX739" fmla="*/ 59 w 1609516"/>
              <a:gd name="csY739" fmla="*/ 927216 h 1538630"/>
              <a:gd name="csX740" fmla="*/ 115 w 1609516"/>
              <a:gd name="csY740" fmla="*/ 923666 h 1538630"/>
              <a:gd name="csX741" fmla="*/ 3238 w 1609516"/>
              <a:gd name="csY741" fmla="*/ 923666 h 1538630"/>
              <a:gd name="csX742" fmla="*/ 3238 w 1609516"/>
              <a:gd name="csY742" fmla="*/ 918029 h 1538630"/>
              <a:gd name="csX743" fmla="*/ 6363 w 1609516"/>
              <a:gd name="csY743" fmla="*/ 918029 h 1538630"/>
              <a:gd name="csX744" fmla="*/ 6656 w 1609516"/>
              <a:gd name="csY744" fmla="*/ 912832 h 1538630"/>
              <a:gd name="csX745" fmla="*/ 15736 w 1609516"/>
              <a:gd name="csY745" fmla="*/ 899709 h 1538630"/>
              <a:gd name="csX746" fmla="*/ 17243 w 1609516"/>
              <a:gd name="csY746" fmla="*/ 898894 h 1538630"/>
              <a:gd name="csX747" fmla="*/ 16800 w 1609516"/>
              <a:gd name="csY747" fmla="*/ 898694 h 1538630"/>
              <a:gd name="csX748" fmla="*/ 24988 w 1609516"/>
              <a:gd name="csY748" fmla="*/ 894101 h 1538630"/>
              <a:gd name="csX749" fmla="*/ 26768 w 1609516"/>
              <a:gd name="csY749" fmla="*/ 892399 h 1538630"/>
              <a:gd name="csX750" fmla="*/ 30198 w 1609516"/>
              <a:gd name="csY750" fmla="*/ 890164 h 1538630"/>
              <a:gd name="csX751" fmla="*/ 32204 w 1609516"/>
              <a:gd name="csY751" fmla="*/ 890054 h 1538630"/>
              <a:gd name="csX752" fmla="*/ 38914 w 1609516"/>
              <a:gd name="csY752" fmla="*/ 886291 h 1538630"/>
              <a:gd name="csX753" fmla="*/ 63664 w 1609516"/>
              <a:gd name="csY753" fmla="*/ 886011 h 1538630"/>
              <a:gd name="csX754" fmla="*/ 63664 w 1609516"/>
              <a:gd name="csY754" fmla="*/ 886531 h 1538630"/>
              <a:gd name="csX755" fmla="*/ 70784 w 1609516"/>
              <a:gd name="csY755" fmla="*/ 886647 h 1538630"/>
              <a:gd name="csX756" fmla="*/ 82126 w 1609516"/>
              <a:gd name="csY756" fmla="*/ 889845 h 1538630"/>
              <a:gd name="csX757" fmla="*/ 114149 w 1609516"/>
              <a:gd name="csY757" fmla="*/ 892663 h 1538630"/>
              <a:gd name="csX758" fmla="*/ 118836 w 1609516"/>
              <a:gd name="csY758" fmla="*/ 889845 h 1538630"/>
              <a:gd name="csX759" fmla="*/ 131626 w 1609516"/>
              <a:gd name="csY759" fmla="*/ 887114 h 1538630"/>
              <a:gd name="csX760" fmla="*/ 155116 w 1609516"/>
              <a:gd name="csY760" fmla="*/ 880913 h 1538630"/>
              <a:gd name="csX761" fmla="*/ 165406 w 1609516"/>
              <a:gd name="csY761" fmla="*/ 878483 h 1538630"/>
              <a:gd name="csX762" fmla="*/ 176634 w 1609516"/>
              <a:gd name="csY762" fmla="*/ 874343 h 1538630"/>
              <a:gd name="csX763" fmla="*/ 186397 w 1609516"/>
              <a:gd name="csY763" fmla="*/ 871524 h 1538630"/>
              <a:gd name="csX764" fmla="*/ 191871 w 1609516"/>
              <a:gd name="csY764" fmla="*/ 870033 h 1538630"/>
              <a:gd name="csX765" fmla="*/ 203483 w 1609516"/>
              <a:gd name="csY765" fmla="*/ 867208 h 1538630"/>
              <a:gd name="csX766" fmla="*/ 211001 w 1609516"/>
              <a:gd name="csY766" fmla="*/ 861660 h 1538630"/>
              <a:gd name="csX767" fmla="*/ 218031 w 1609516"/>
              <a:gd name="csY767" fmla="*/ 858577 h 1538630"/>
              <a:gd name="csX768" fmla="*/ 254740 w 1609516"/>
              <a:gd name="csY768" fmla="*/ 825020 h 1538630"/>
              <a:gd name="csX769" fmla="*/ 257864 w 1609516"/>
              <a:gd name="csY769" fmla="*/ 820792 h 1538630"/>
              <a:gd name="csX770" fmla="*/ 258318 w 1609516"/>
              <a:gd name="csY770" fmla="*/ 813810 h 1538630"/>
              <a:gd name="csX771" fmla="*/ 258378 w 1609516"/>
              <a:gd name="csY771" fmla="*/ 809502 h 1538630"/>
              <a:gd name="csX772" fmla="*/ 258389 w 1609516"/>
              <a:gd name="csY772" fmla="*/ 804845 h 1538630"/>
              <a:gd name="csX773" fmla="*/ 258420 w 1609516"/>
              <a:gd name="csY773" fmla="*/ 800036 h 1538630"/>
              <a:gd name="csX774" fmla="*/ 258443 w 1609516"/>
              <a:gd name="csY774" fmla="*/ 789939 h 1538630"/>
              <a:gd name="csX775" fmla="*/ 258566 w 1609516"/>
              <a:gd name="csY775" fmla="*/ 774594 h 1538630"/>
              <a:gd name="csX776" fmla="*/ 258584 w 1609516"/>
              <a:gd name="csY776" fmla="*/ 764771 h 1538630"/>
              <a:gd name="csX777" fmla="*/ 258652 w 1609516"/>
              <a:gd name="csY777" fmla="*/ 760174 h 1538630"/>
              <a:gd name="csX778" fmla="*/ 251616 w 1609516"/>
              <a:gd name="csY778" fmla="*/ 733421 h 1538630"/>
              <a:gd name="csX779" fmla="*/ 247613 w 1609516"/>
              <a:gd name="csY779" fmla="*/ 721883 h 1538630"/>
              <a:gd name="csX780" fmla="*/ 241291 w 1609516"/>
              <a:gd name="csY780" fmla="*/ 705644 h 1538630"/>
              <a:gd name="csX781" fmla="*/ 237557 w 1609516"/>
              <a:gd name="csY781" fmla="*/ 689735 h 1538630"/>
              <a:gd name="csX782" fmla="*/ 248492 w 1609516"/>
              <a:gd name="csY782" fmla="*/ 685507 h 1538630"/>
              <a:gd name="csX783" fmla="*/ 248492 w 1609516"/>
              <a:gd name="csY783" fmla="*/ 681279 h 1538630"/>
              <a:gd name="csX784" fmla="*/ 240681 w 1609516"/>
              <a:gd name="csY784" fmla="*/ 679870 h 1538630"/>
              <a:gd name="csX785" fmla="*/ 240681 w 1609516"/>
              <a:gd name="csY785" fmla="*/ 677052 h 1538630"/>
              <a:gd name="csX786" fmla="*/ 238094 w 1609516"/>
              <a:gd name="csY786" fmla="*/ 676645 h 1538630"/>
              <a:gd name="csX787" fmla="*/ 225841 w 1609516"/>
              <a:gd name="csY787" fmla="*/ 670886 h 1538630"/>
              <a:gd name="csX788" fmla="*/ 201531 w 1609516"/>
              <a:gd name="csY788" fmla="*/ 662508 h 1538630"/>
              <a:gd name="csX789" fmla="*/ 188252 w 1609516"/>
              <a:gd name="csY789" fmla="*/ 658644 h 1538630"/>
              <a:gd name="csX790" fmla="*/ 182431 w 1609516"/>
              <a:gd name="csY790" fmla="*/ 657327 h 1538630"/>
              <a:gd name="csX791" fmla="*/ 182431 w 1609516"/>
              <a:gd name="csY791" fmla="*/ 657613 h 1538630"/>
              <a:gd name="csX792" fmla="*/ 146503 w 1609516"/>
              <a:gd name="csY792" fmla="*/ 656204 h 1538630"/>
              <a:gd name="csX793" fmla="*/ 146503 w 1609516"/>
              <a:gd name="csY793" fmla="*/ 659022 h 1538630"/>
              <a:gd name="csX794" fmla="*/ 110378 w 1609516"/>
              <a:gd name="csY794" fmla="*/ 663778 h 1538630"/>
              <a:gd name="csX795" fmla="*/ 106453 w 1609516"/>
              <a:gd name="csY795" fmla="*/ 663836 h 1538630"/>
              <a:gd name="csX796" fmla="*/ 102751 w 1609516"/>
              <a:gd name="csY796" fmla="*/ 663811 h 1538630"/>
              <a:gd name="csX797" fmla="*/ 99449 w 1609516"/>
              <a:gd name="csY797" fmla="*/ 663797 h 1538630"/>
              <a:gd name="csX798" fmla="*/ 91828 w 1609516"/>
              <a:gd name="csY798" fmla="*/ 659022 h 1538630"/>
              <a:gd name="csX799" fmla="*/ 98077 w 1609516"/>
              <a:gd name="csY799" fmla="*/ 659022 h 1538630"/>
              <a:gd name="csX800" fmla="*/ 98077 w 1609516"/>
              <a:gd name="csY800" fmla="*/ 661841 h 1538630"/>
              <a:gd name="csX801" fmla="*/ 119023 w 1609516"/>
              <a:gd name="csY801" fmla="*/ 661357 h 1538630"/>
              <a:gd name="csX802" fmla="*/ 119536 w 1609516"/>
              <a:gd name="csY802" fmla="*/ 661197 h 1538630"/>
              <a:gd name="csX803" fmla="*/ 109853 w 1609516"/>
              <a:gd name="csY803" fmla="*/ 661639 h 1538630"/>
              <a:gd name="csX804" fmla="*/ 106552 w 1609516"/>
              <a:gd name="csY804" fmla="*/ 661619 h 1538630"/>
              <a:gd name="csX805" fmla="*/ 98528 w 1609516"/>
              <a:gd name="csY805" fmla="*/ 661550 h 1538630"/>
              <a:gd name="csX806" fmla="*/ 98528 w 1609516"/>
              <a:gd name="csY806" fmla="*/ 658732 h 1538630"/>
              <a:gd name="csX807" fmla="*/ 89155 w 1609516"/>
              <a:gd name="csY807" fmla="*/ 657323 h 1538630"/>
              <a:gd name="csX808" fmla="*/ 89155 w 1609516"/>
              <a:gd name="csY808" fmla="*/ 654504 h 1538630"/>
              <a:gd name="csX809" fmla="*/ 86397 w 1609516"/>
              <a:gd name="csY809" fmla="*/ 653442 h 1538630"/>
              <a:gd name="csX810" fmla="*/ 77049 w 1609516"/>
              <a:gd name="csY810" fmla="*/ 646137 h 1538630"/>
              <a:gd name="csX811" fmla="*/ 74145 w 1609516"/>
              <a:gd name="csY811" fmla="*/ 643192 h 1538630"/>
              <a:gd name="csX812" fmla="*/ 71972 w 1609516"/>
              <a:gd name="csY812" fmla="*/ 636185 h 1538630"/>
              <a:gd name="csX813" fmla="*/ 68848 w 1609516"/>
              <a:gd name="csY813" fmla="*/ 636185 h 1538630"/>
              <a:gd name="csX814" fmla="*/ 70410 w 1609516"/>
              <a:gd name="csY814" fmla="*/ 595317 h 1538630"/>
              <a:gd name="csX815" fmla="*/ 79782 w 1609516"/>
              <a:gd name="csY815" fmla="*/ 584043 h 1538630"/>
              <a:gd name="csX816" fmla="*/ 82656 w 1609516"/>
              <a:gd name="csY816" fmla="*/ 581115 h 1538630"/>
              <a:gd name="csX817" fmla="*/ 116694 w 1609516"/>
              <a:gd name="csY817" fmla="*/ 572323 h 1538630"/>
              <a:gd name="csX818" fmla="*/ 152031 w 1609516"/>
              <a:gd name="csY818" fmla="*/ 590385 h 1538630"/>
              <a:gd name="csX819" fmla="*/ 191474 w 1609516"/>
              <a:gd name="csY819" fmla="*/ 605886 h 1538630"/>
              <a:gd name="csX820" fmla="*/ 206314 w 1609516"/>
              <a:gd name="csY820" fmla="*/ 608000 h 1538630"/>
              <a:gd name="csX821" fmla="*/ 206314 w 1609516"/>
              <a:gd name="csY821" fmla="*/ 610818 h 1538630"/>
              <a:gd name="csX822" fmla="*/ 234433 w 1609516"/>
              <a:gd name="csY822" fmla="*/ 610818 h 1538630"/>
              <a:gd name="csX823" fmla="*/ 239522 w 1609516"/>
              <a:gd name="csY823" fmla="*/ 610802 h 1538630"/>
              <a:gd name="csX824" fmla="*/ 268799 w 1609516"/>
              <a:gd name="csY824" fmla="*/ 600954 h 1538630"/>
              <a:gd name="csX825" fmla="*/ 271740 w 1609516"/>
              <a:gd name="csY825" fmla="*/ 599325 h 1538630"/>
              <a:gd name="csX826" fmla="*/ 284420 w 1609516"/>
              <a:gd name="csY826" fmla="*/ 579816 h 1538630"/>
              <a:gd name="csX827" fmla="*/ 289399 w 1609516"/>
              <a:gd name="csY827" fmla="*/ 568630 h 1538630"/>
              <a:gd name="csX828" fmla="*/ 293958 w 1609516"/>
              <a:gd name="csY828" fmla="*/ 535838 h 1538630"/>
              <a:gd name="csX829" fmla="*/ 289107 w 1609516"/>
              <a:gd name="csY829" fmla="*/ 529084 h 1538630"/>
              <a:gd name="csX830" fmla="*/ 289107 w 1609516"/>
              <a:gd name="csY830" fmla="*/ 526265 h 1538630"/>
              <a:gd name="csX831" fmla="*/ 284420 w 1609516"/>
              <a:gd name="csY831" fmla="*/ 524856 h 1538630"/>
              <a:gd name="csX832" fmla="*/ 282858 w 1609516"/>
              <a:gd name="csY832" fmla="*/ 520628 h 1538630"/>
              <a:gd name="csX833" fmla="*/ 277977 w 1609516"/>
              <a:gd name="csY833" fmla="*/ 516577 h 1538630"/>
              <a:gd name="csX834" fmla="*/ 264925 w 1609516"/>
              <a:gd name="csY834" fmla="*/ 506443 h 1538630"/>
              <a:gd name="csX835" fmla="*/ 229746 w 1609516"/>
              <a:gd name="csY835" fmla="*/ 481170 h 1538630"/>
              <a:gd name="csX836" fmla="*/ 221057 w 1609516"/>
              <a:gd name="csY836" fmla="*/ 475445 h 1538630"/>
              <a:gd name="csX837" fmla="*/ 212563 w 1609516"/>
              <a:gd name="csY837" fmla="*/ 469896 h 1538630"/>
              <a:gd name="csX838" fmla="*/ 208889 w 1609516"/>
              <a:gd name="csY838" fmla="*/ 467491 h 1538630"/>
              <a:gd name="csX839" fmla="*/ 190406 w 1609516"/>
              <a:gd name="csY839" fmla="*/ 456382 h 1538630"/>
              <a:gd name="csX840" fmla="*/ 186942 w 1609516"/>
              <a:gd name="csY840" fmla="*/ 454460 h 1538630"/>
              <a:gd name="csX841" fmla="*/ 180041 w 1609516"/>
              <a:gd name="csY841" fmla="*/ 450696 h 1538630"/>
              <a:gd name="csX842" fmla="*/ 171948 w 1609516"/>
              <a:gd name="csY842" fmla="*/ 445940 h 1538630"/>
              <a:gd name="csX843" fmla="*/ 171948 w 1609516"/>
              <a:gd name="csY843" fmla="*/ 443121 h 1538630"/>
              <a:gd name="csX844" fmla="*/ 168482 w 1609516"/>
              <a:gd name="csY844" fmla="*/ 442708 h 1538630"/>
              <a:gd name="csX845" fmla="*/ 157107 w 1609516"/>
              <a:gd name="csY845" fmla="*/ 437044 h 1538630"/>
              <a:gd name="csX846" fmla="*/ 132559 w 1609516"/>
              <a:gd name="csY846" fmla="*/ 427510 h 1538630"/>
              <a:gd name="csX847" fmla="*/ 123522 w 1609516"/>
              <a:gd name="csY847" fmla="*/ 421983 h 1538630"/>
              <a:gd name="csX848" fmla="*/ 107986 w 1609516"/>
              <a:gd name="csY848" fmla="*/ 418730 h 1538630"/>
              <a:gd name="csX849" fmla="*/ 102494 w 1609516"/>
              <a:gd name="csY849" fmla="*/ 418622 h 1538630"/>
              <a:gd name="csX850" fmla="*/ 91157 w 1609516"/>
              <a:gd name="csY850" fmla="*/ 418490 h 1538630"/>
              <a:gd name="csX851" fmla="*/ 55277 w 1609516"/>
              <a:gd name="csY851" fmla="*/ 410445 h 1538630"/>
              <a:gd name="csX852" fmla="*/ 51665 w 1609516"/>
              <a:gd name="csY852" fmla="*/ 406481 h 1538630"/>
              <a:gd name="csX853" fmla="*/ 45904 w 1609516"/>
              <a:gd name="csY853" fmla="*/ 400492 h 1538630"/>
              <a:gd name="csX854" fmla="*/ 43152 w 1609516"/>
              <a:gd name="csY854" fmla="*/ 397564 h 1538630"/>
              <a:gd name="csX855" fmla="*/ 37605 w 1609516"/>
              <a:gd name="csY855" fmla="*/ 393798 h 1538630"/>
              <a:gd name="csX856" fmla="*/ 38995 w 1609516"/>
              <a:gd name="csY856" fmla="*/ 368712 h 1538630"/>
              <a:gd name="csX857" fmla="*/ 38666 w 1609516"/>
              <a:gd name="csY857" fmla="*/ 369724 h 1538630"/>
              <a:gd name="csX858" fmla="*/ 35542 w 1609516"/>
              <a:gd name="csY858" fmla="*/ 384081 h 1538630"/>
              <a:gd name="csX859" fmla="*/ 33326 w 1609516"/>
              <a:gd name="csY859" fmla="*/ 357791 h 1538630"/>
              <a:gd name="csX860" fmla="*/ 52725 w 1609516"/>
              <a:gd name="csY860" fmla="*/ 333349 h 1538630"/>
              <a:gd name="csX861" fmla="*/ 55222 w 1609516"/>
              <a:gd name="csY861" fmla="*/ 334475 h 1538630"/>
              <a:gd name="csX862" fmla="*/ 56222 w 1609516"/>
              <a:gd name="csY862" fmla="*/ 333347 h 1538630"/>
              <a:gd name="csX863" fmla="*/ 55871 w 1609516"/>
              <a:gd name="csY863" fmla="*/ 333347 h 1538630"/>
              <a:gd name="csX864" fmla="*/ 56346 w 1609516"/>
              <a:gd name="csY864" fmla="*/ 333207 h 1538630"/>
              <a:gd name="csX865" fmla="*/ 56351 w 1609516"/>
              <a:gd name="csY865" fmla="*/ 333202 h 1538630"/>
              <a:gd name="csX866" fmla="*/ 56365 w 1609516"/>
              <a:gd name="csY866" fmla="*/ 333202 h 1538630"/>
              <a:gd name="csX867" fmla="*/ 79571 w 1609516"/>
              <a:gd name="csY867" fmla="*/ 326360 h 1538630"/>
              <a:gd name="csX868" fmla="*/ 104297 w 1609516"/>
              <a:gd name="csY868" fmla="*/ 330529 h 1538630"/>
              <a:gd name="csX869" fmla="*/ 107170 w 1609516"/>
              <a:gd name="csY869" fmla="*/ 334417 h 1538630"/>
              <a:gd name="csX870" fmla="*/ 109366 w 1609516"/>
              <a:gd name="csY870" fmla="*/ 336046 h 1538630"/>
              <a:gd name="csX871" fmla="*/ 109463 w 1609516"/>
              <a:gd name="csY871" fmla="*/ 336020 h 1538630"/>
              <a:gd name="csX872" fmla="*/ 109463 w 1609516"/>
              <a:gd name="csY872" fmla="*/ 336118 h 1538630"/>
              <a:gd name="csX873" fmla="*/ 115226 w 1609516"/>
              <a:gd name="csY873" fmla="*/ 340394 h 1538630"/>
              <a:gd name="csX874" fmla="*/ 114010 w 1609516"/>
              <a:gd name="csY874" fmla="*/ 340120 h 1538630"/>
              <a:gd name="csX875" fmla="*/ 133285 w 1609516"/>
              <a:gd name="csY875" fmla="*/ 357423 h 1538630"/>
              <a:gd name="csX876" fmla="*/ 173509 w 1609516"/>
              <a:gd name="csY876" fmla="*/ 389571 h 1538630"/>
              <a:gd name="csX877" fmla="*/ 181711 w 1609516"/>
              <a:gd name="csY877" fmla="*/ 393270 h 1538630"/>
              <a:gd name="csX878" fmla="*/ 185507 w 1609516"/>
              <a:gd name="csY878" fmla="*/ 394976 h 1538630"/>
              <a:gd name="csX879" fmla="*/ 192658 w 1609516"/>
              <a:gd name="csY879" fmla="*/ 398257 h 1538630"/>
              <a:gd name="csX880" fmla="*/ 195966 w 1609516"/>
              <a:gd name="csY880" fmla="*/ 399788 h 1538630"/>
              <a:gd name="csX881" fmla="*/ 198833 w 1609516"/>
              <a:gd name="csY881" fmla="*/ 401131 h 1538630"/>
              <a:gd name="csX882" fmla="*/ 207877 w 1609516"/>
              <a:gd name="csY882" fmla="*/ 403663 h 1538630"/>
              <a:gd name="csX883" fmla="*/ 207877 w 1609516"/>
              <a:gd name="csY883" fmla="*/ 406481 h 1538630"/>
              <a:gd name="csX884" fmla="*/ 248492 w 1609516"/>
              <a:gd name="csY884" fmla="*/ 419428 h 1538630"/>
              <a:gd name="csX885" fmla="*/ 253965 w 1609516"/>
              <a:gd name="csY885" fmla="*/ 421000 h 1538630"/>
              <a:gd name="csX886" fmla="*/ 267237 w 1609516"/>
              <a:gd name="csY886" fmla="*/ 424801 h 1538630"/>
              <a:gd name="csX887" fmla="*/ 267237 w 1609516"/>
              <a:gd name="csY887" fmla="*/ 426451 h 1538630"/>
              <a:gd name="csX888" fmla="*/ 288701 w 1609516"/>
              <a:gd name="csY888" fmla="*/ 429217 h 1538630"/>
              <a:gd name="csX889" fmla="*/ 288701 w 1609516"/>
              <a:gd name="csY889" fmla="*/ 432036 h 1538630"/>
              <a:gd name="csX890" fmla="*/ 327010 w 1609516"/>
              <a:gd name="csY890" fmla="*/ 433628 h 1538630"/>
              <a:gd name="csX891" fmla="*/ 337486 w 1609516"/>
              <a:gd name="csY891" fmla="*/ 433637 h 1538630"/>
              <a:gd name="csX892" fmla="*/ 344229 w 1609516"/>
              <a:gd name="csY892" fmla="*/ 433632 h 1538630"/>
              <a:gd name="csX893" fmla="*/ 350323 w 1609516"/>
              <a:gd name="csY893" fmla="*/ 433627 h 1538630"/>
              <a:gd name="csX894" fmla="*/ 365245 w 1609516"/>
              <a:gd name="csY894" fmla="*/ 432036 h 1538630"/>
              <a:gd name="csX895" fmla="*/ 360797 w 1609516"/>
              <a:gd name="csY895" fmla="*/ 433759 h 1538630"/>
              <a:gd name="csX896" fmla="*/ 365650 w 1609516"/>
              <a:gd name="csY896" fmla="*/ 433257 h 1538630"/>
              <a:gd name="csX897" fmla="*/ 367213 w 1609516"/>
              <a:gd name="csY897" fmla="*/ 429029 h 1538630"/>
              <a:gd name="csX898" fmla="*/ 375188 w 1609516"/>
              <a:gd name="csY898" fmla="*/ 424906 h 1538630"/>
              <a:gd name="csX899" fmla="*/ 404704 w 1609516"/>
              <a:gd name="csY899" fmla="*/ 389571 h 1538630"/>
              <a:gd name="csX900" fmla="*/ 406265 w 1609516"/>
              <a:gd name="csY900" fmla="*/ 388161 h 1538630"/>
              <a:gd name="csX901" fmla="*/ 406559 w 1609516"/>
              <a:gd name="csY901" fmla="*/ 370106 h 1538630"/>
              <a:gd name="csX902" fmla="*/ 406617 w 1609516"/>
              <a:gd name="csY902" fmla="*/ 364973 h 1538630"/>
              <a:gd name="csX903" fmla="*/ 406626 w 1609516"/>
              <a:gd name="csY903" fmla="*/ 360038 h 1538630"/>
              <a:gd name="csX904" fmla="*/ 406645 w 1609516"/>
              <a:gd name="csY904" fmla="*/ 355503 h 1538630"/>
              <a:gd name="csX905" fmla="*/ 403142 w 1609516"/>
              <a:gd name="csY905" fmla="*/ 345885 h 1538630"/>
              <a:gd name="csX906" fmla="*/ 401579 w 1609516"/>
              <a:gd name="csY906" fmla="*/ 338663 h 1538630"/>
              <a:gd name="csX907" fmla="*/ 390938 w 1609516"/>
              <a:gd name="csY907" fmla="*/ 315939 h 1538630"/>
              <a:gd name="csX908" fmla="*/ 388976 w 1609516"/>
              <a:gd name="csY908" fmla="*/ 312762 h 1538630"/>
              <a:gd name="csX909" fmla="*/ 377934 w 1609516"/>
              <a:gd name="csY909" fmla="*/ 297817 h 1538630"/>
              <a:gd name="csX910" fmla="*/ 368775 w 1609516"/>
              <a:gd name="csY910" fmla="*/ 282470 h 1538630"/>
              <a:gd name="csX911" fmla="*/ 359890 w 1609516"/>
              <a:gd name="csY911" fmla="*/ 271284 h 1538630"/>
              <a:gd name="csX912" fmla="*/ 357374 w 1609516"/>
              <a:gd name="csY912" fmla="*/ 268288 h 1538630"/>
              <a:gd name="csX913" fmla="*/ 337533 w 1609516"/>
              <a:gd name="csY913" fmla="*/ 248649 h 1538630"/>
              <a:gd name="csX914" fmla="*/ 335214 w 1609516"/>
              <a:gd name="csY914" fmla="*/ 246369 h 1538630"/>
              <a:gd name="csX915" fmla="*/ 327085 w 1609516"/>
              <a:gd name="csY915" fmla="*/ 242571 h 1538630"/>
              <a:gd name="csX916" fmla="*/ 288785 w 1609516"/>
              <a:gd name="csY916" fmla="*/ 207968 h 1538630"/>
              <a:gd name="csX917" fmla="*/ 286373 w 1609516"/>
              <a:gd name="csY917" fmla="*/ 192544 h 1538630"/>
              <a:gd name="csX918" fmla="*/ 286385 w 1609516"/>
              <a:gd name="csY918" fmla="*/ 189190 h 1538630"/>
              <a:gd name="csX919" fmla="*/ 300042 w 1609516"/>
              <a:gd name="csY919" fmla="*/ 164095 h 1538630"/>
              <a:gd name="csX920" fmla="*/ 302757 w 1609516"/>
              <a:gd name="csY920" fmla="*/ 161381 h 1538630"/>
              <a:gd name="csX921" fmla="*/ 338411 w 1609516"/>
              <a:gd name="csY921" fmla="*/ 152293 h 1538630"/>
              <a:gd name="csX922" fmla="*/ 368482 w 1609516"/>
              <a:gd name="csY922" fmla="*/ 161893 h 1538630"/>
              <a:gd name="csX923" fmla="*/ 371899 w 1609516"/>
              <a:gd name="csY923" fmla="*/ 165505 h 1538630"/>
              <a:gd name="csX924" fmla="*/ 375121 w 1609516"/>
              <a:gd name="csY924" fmla="*/ 168587 h 1538630"/>
              <a:gd name="csX925" fmla="*/ 384982 w 1609516"/>
              <a:gd name="csY925" fmla="*/ 193777 h 1538630"/>
              <a:gd name="csX926" fmla="*/ 390352 w 1609516"/>
              <a:gd name="csY926" fmla="*/ 214563 h 1538630"/>
              <a:gd name="csX927" fmla="*/ 391529 w 1609516"/>
              <a:gd name="csY927" fmla="*/ 217626 h 1538630"/>
              <a:gd name="csX928" fmla="*/ 401579 w 1609516"/>
              <a:gd name="csY928" fmla="*/ 234556 h 1538630"/>
              <a:gd name="csX929" fmla="*/ 401579 w 1609516"/>
              <a:gd name="csY929" fmla="*/ 238784 h 1538630"/>
              <a:gd name="csX930" fmla="*/ 404215 w 1609516"/>
              <a:gd name="csY930" fmla="*/ 239753 h 1538630"/>
              <a:gd name="csX931" fmla="*/ 417811 w 1609516"/>
              <a:gd name="csY931" fmla="*/ 251996 h 1538630"/>
              <a:gd name="csX932" fmla="*/ 426866 w 1609516"/>
              <a:gd name="csY932" fmla="*/ 262300 h 1538630"/>
              <a:gd name="csX933" fmla="*/ 450097 w 1609516"/>
              <a:gd name="csY933" fmla="*/ 287628 h 1538630"/>
              <a:gd name="csX934" fmla="*/ 457425 w 1609516"/>
              <a:gd name="csY934" fmla="*/ 293920 h 1538630"/>
              <a:gd name="csX935" fmla="*/ 460940 w 1609516"/>
              <a:gd name="csY935" fmla="*/ 296562 h 1538630"/>
              <a:gd name="csX936" fmla="*/ 460940 w 1609516"/>
              <a:gd name="csY936" fmla="*/ 300790 h 1538630"/>
              <a:gd name="csX937" fmla="*/ 473437 w 1609516"/>
              <a:gd name="csY937" fmla="*/ 305018 h 1538630"/>
              <a:gd name="csX938" fmla="*/ 473437 w 1609516"/>
              <a:gd name="csY938" fmla="*/ 307836 h 1538630"/>
              <a:gd name="csX939" fmla="*/ 479881 w 1609516"/>
              <a:gd name="csY939" fmla="*/ 309862 h 1538630"/>
              <a:gd name="csX940" fmla="*/ 483505 w 1609516"/>
              <a:gd name="csY940" fmla="*/ 311001 h 1538630"/>
              <a:gd name="csX941" fmla="*/ 548419 w 1609516"/>
              <a:gd name="csY941" fmla="*/ 306427 h 1538630"/>
              <a:gd name="csX942" fmla="*/ 551842 w 1609516"/>
              <a:gd name="csY942" fmla="*/ 305127 h 1538630"/>
              <a:gd name="csX943" fmla="*/ 560232 w 1609516"/>
              <a:gd name="csY943" fmla="*/ 298148 h 1538630"/>
              <a:gd name="csX944" fmla="*/ 562972 w 1609516"/>
              <a:gd name="csY944" fmla="*/ 295252 h 1538630"/>
              <a:gd name="csX945" fmla="*/ 568086 w 1609516"/>
              <a:gd name="csY945" fmla="*/ 289152 h 1538630"/>
              <a:gd name="csX946" fmla="*/ 570289 w 1609516"/>
              <a:gd name="csY946" fmla="*/ 286697 h 1538630"/>
              <a:gd name="csX947" fmla="*/ 573413 w 1609516"/>
              <a:gd name="csY947" fmla="*/ 286697 h 1538630"/>
              <a:gd name="csX948" fmla="*/ 577220 w 1609516"/>
              <a:gd name="csY948" fmla="*/ 257016 h 1538630"/>
              <a:gd name="csX949" fmla="*/ 577235 w 1609516"/>
              <a:gd name="csY949" fmla="*/ 254206 h 1538630"/>
              <a:gd name="csX950" fmla="*/ 569443 w 1609516"/>
              <a:gd name="csY950" fmla="*/ 206049 h 1538630"/>
              <a:gd name="csX951" fmla="*/ 568726 w 1609516"/>
              <a:gd name="csY951" fmla="*/ 200735 h 1538630"/>
              <a:gd name="csX952" fmla="*/ 565602 w 1609516"/>
              <a:gd name="csY952" fmla="*/ 200735 h 1538630"/>
              <a:gd name="csX953" fmla="*/ 559549 w 1609516"/>
              <a:gd name="csY953" fmla="*/ 184441 h 1538630"/>
              <a:gd name="csX954" fmla="*/ 537484 w 1609516"/>
              <a:gd name="csY954" fmla="*/ 159867 h 1538630"/>
              <a:gd name="csX955" fmla="*/ 531235 w 1609516"/>
              <a:gd name="csY955" fmla="*/ 154230 h 1538630"/>
              <a:gd name="csX956" fmla="*/ 531235 w 1609516"/>
              <a:gd name="csY956" fmla="*/ 151412 h 1538630"/>
              <a:gd name="csX957" fmla="*/ 526549 w 1609516"/>
              <a:gd name="csY957" fmla="*/ 150003 h 1538630"/>
              <a:gd name="csX958" fmla="*/ 524304 w 1609516"/>
              <a:gd name="csY958" fmla="*/ 107198 h 1538630"/>
              <a:gd name="csX959" fmla="*/ 547052 w 1609516"/>
              <a:gd name="csY959" fmla="*/ 85972 h 1538630"/>
              <a:gd name="csX960" fmla="*/ 588460 w 1609516"/>
              <a:gd name="csY960" fmla="*/ 83538 h 1538630"/>
              <a:gd name="csX961" fmla="*/ 617152 w 1609516"/>
              <a:gd name="csY961" fmla="*/ 111954 h 1538630"/>
              <a:gd name="csX962" fmla="*/ 617884 w 1609516"/>
              <a:gd name="csY962" fmla="*/ 124175 h 1538630"/>
              <a:gd name="csX963" fmla="*/ 617917 w 1609516"/>
              <a:gd name="csY963" fmla="*/ 127607 h 1538630"/>
              <a:gd name="csX964" fmla="*/ 617919 w 1609516"/>
              <a:gd name="csY964" fmla="*/ 141969 h 1538630"/>
              <a:gd name="csX965" fmla="*/ 630625 w 1609516"/>
              <a:gd name="csY965" fmla="*/ 191311 h 1538630"/>
              <a:gd name="csX966" fmla="*/ 637850 w 1609516"/>
              <a:gd name="csY966" fmla="*/ 205139 h 1538630"/>
              <a:gd name="csX967" fmla="*/ 643708 w 1609516"/>
              <a:gd name="csY967" fmla="*/ 212009 h 1538630"/>
              <a:gd name="csX968" fmla="*/ 647027 w 1609516"/>
              <a:gd name="csY968" fmla="*/ 217645 h 1538630"/>
              <a:gd name="csX969" fmla="*/ 670264 w 1609516"/>
              <a:gd name="csY969" fmla="*/ 241603 h 1538630"/>
              <a:gd name="csX970" fmla="*/ 670264 w 1609516"/>
              <a:gd name="csY970" fmla="*/ 244421 h 1538630"/>
              <a:gd name="csX971" fmla="*/ 675634 w 1609516"/>
              <a:gd name="csY971" fmla="*/ 245742 h 1538630"/>
              <a:gd name="csX972" fmla="*/ 682761 w 1609516"/>
              <a:gd name="csY972" fmla="*/ 248649 h 1538630"/>
              <a:gd name="csX973" fmla="*/ 752092 w 1609516"/>
              <a:gd name="csY973" fmla="*/ 245076 h 1538630"/>
              <a:gd name="csX974" fmla="*/ 758433 w 1609516"/>
              <a:gd name="csY974" fmla="*/ 240485 h 1538630"/>
              <a:gd name="csX975" fmla="*/ 763991 w 1609516"/>
              <a:gd name="csY975" fmla="*/ 238784 h 1538630"/>
              <a:gd name="csX976" fmla="*/ 765315 w 1609516"/>
              <a:gd name="csY976" fmla="*/ 235778 h 1538630"/>
              <a:gd name="csX977" fmla="*/ 770923 w 1609516"/>
              <a:gd name="csY977" fmla="*/ 223459 h 1538630"/>
              <a:gd name="csX978" fmla="*/ 772998 w 1609516"/>
              <a:gd name="csY978" fmla="*/ 218934 h 1538630"/>
              <a:gd name="csX979" fmla="*/ 777562 w 1609516"/>
              <a:gd name="csY979" fmla="*/ 209895 h 1538630"/>
              <a:gd name="csX980" fmla="*/ 781175 w 1609516"/>
              <a:gd name="csY980" fmla="*/ 124637 h 1538630"/>
              <a:gd name="csX981" fmla="*/ 778051 w 1609516"/>
              <a:gd name="csY981" fmla="*/ 124637 h 1538630"/>
              <a:gd name="csX982" fmla="*/ 767116 w 1609516"/>
              <a:gd name="csY982" fmla="*/ 79542 h 1538630"/>
              <a:gd name="csX983" fmla="*/ 793379 w 1609516"/>
              <a:gd name="csY983" fmla="*/ 54000 h 1538630"/>
              <a:gd name="csX984" fmla="*/ 840688 w 1609516"/>
              <a:gd name="csY984" fmla="*/ 55503 h 1538630"/>
              <a:gd name="csX985" fmla="*/ 851470 w 1609516"/>
              <a:gd name="csY985" fmla="*/ 64040 h 1538630"/>
              <a:gd name="csX986" fmla="*/ 853997 w 1609516"/>
              <a:gd name="csY986" fmla="*/ 66529 h 1538630"/>
              <a:gd name="csX987" fmla="*/ 861488 w 1609516"/>
              <a:gd name="csY987" fmla="*/ 82057 h 1538630"/>
              <a:gd name="csX988" fmla="*/ 861937 w 1609516"/>
              <a:gd name="csY988" fmla="*/ 90492 h 1538630"/>
              <a:gd name="csX989" fmla="*/ 863826 w 1609516"/>
              <a:gd name="csY989" fmla="*/ 100715 h 1538630"/>
              <a:gd name="csX990" fmla="*/ 857577 w 1609516"/>
              <a:gd name="csY990" fmla="*/ 121853 h 1538630"/>
              <a:gd name="csX991" fmla="*/ 856015 w 1609516"/>
              <a:gd name="csY991" fmla="*/ 121853 h 1538630"/>
              <a:gd name="csX992" fmla="*/ 855442 w 1609516"/>
              <a:gd name="csY992" fmla="*/ 118919 h 1538630"/>
              <a:gd name="csX993" fmla="*/ 855417 w 1609516"/>
              <a:gd name="csY993" fmla="*/ 118798 h 1538630"/>
              <a:gd name="csX994" fmla="*/ 856157 w 1609516"/>
              <a:gd name="csY994" fmla="*/ 124637 h 1538630"/>
              <a:gd name="csX995" fmla="*/ 850623 w 1609516"/>
              <a:gd name="csY995" fmla="*/ 134701 h 1538630"/>
              <a:gd name="csX996" fmla="*/ 851325 w 1609516"/>
              <a:gd name="csY996" fmla="*/ 135968 h 1538630"/>
              <a:gd name="csX997" fmla="*/ 849886 w 1609516"/>
              <a:gd name="csY997" fmla="*/ 139843 h 1538630"/>
              <a:gd name="csX998" fmla="*/ 847786 w 1609516"/>
              <a:gd name="csY998" fmla="*/ 152889 h 1538630"/>
              <a:gd name="csX999" fmla="*/ 847767 w 1609516"/>
              <a:gd name="csY999" fmla="*/ 157768 h 1538630"/>
              <a:gd name="csX1000" fmla="*/ 847810 w 1609516"/>
              <a:gd name="csY1000" fmla="*/ 162919 h 1538630"/>
              <a:gd name="csX1001" fmla="*/ 847832 w 1609516"/>
              <a:gd name="csY1001" fmla="*/ 168227 h 1538630"/>
              <a:gd name="csX1002" fmla="*/ 850903 w 1609516"/>
              <a:gd name="csY1002" fmla="*/ 209013 h 1538630"/>
              <a:gd name="csX1003" fmla="*/ 852880 w 1609516"/>
              <a:gd name="csY1003" fmla="*/ 224692 h 1538630"/>
              <a:gd name="csX1004" fmla="*/ 854595 w 1609516"/>
              <a:gd name="csY1004" fmla="*/ 224692 h 1538630"/>
              <a:gd name="csX1005" fmla="*/ 856083 w 1609516"/>
              <a:gd name="csY1005" fmla="*/ 227268 h 1538630"/>
              <a:gd name="csX1006" fmla="*/ 879588 w 1609516"/>
              <a:gd name="csY1006" fmla="*/ 247239 h 1538630"/>
              <a:gd name="csX1007" fmla="*/ 885739 w 1609516"/>
              <a:gd name="csY1007" fmla="*/ 249618 h 1538630"/>
              <a:gd name="csX1008" fmla="*/ 890523 w 1609516"/>
              <a:gd name="csY1008" fmla="*/ 251467 h 1538630"/>
              <a:gd name="csX1009" fmla="*/ 890523 w 1609516"/>
              <a:gd name="csY1009" fmla="*/ 254285 h 1538630"/>
              <a:gd name="csX1010" fmla="*/ 920203 w 1609516"/>
              <a:gd name="csY1010" fmla="*/ 261332 h 1538630"/>
              <a:gd name="csX1011" fmla="*/ 920203 w 1609516"/>
              <a:gd name="csY1011" fmla="*/ 262741 h 1538630"/>
              <a:gd name="csX1012" fmla="*/ 910831 w 1609516"/>
              <a:gd name="csY1012" fmla="*/ 262741 h 1538630"/>
              <a:gd name="csX1013" fmla="*/ 910831 w 1609516"/>
              <a:gd name="csY1013" fmla="*/ 262864 h 1538630"/>
              <a:gd name="csX1014" fmla="*/ 927993 w 1609516"/>
              <a:gd name="csY1014" fmla="*/ 264177 h 1538630"/>
              <a:gd name="csX1015" fmla="*/ 939273 w 1609516"/>
              <a:gd name="csY1015" fmla="*/ 265285 h 1538630"/>
              <a:gd name="csX1016" fmla="*/ 940456 w 1609516"/>
              <a:gd name="csY1016" fmla="*/ 265191 h 1538630"/>
              <a:gd name="csX1017" fmla="*/ 991622 w 1609516"/>
              <a:gd name="csY1017" fmla="*/ 242329 h 1538630"/>
              <a:gd name="csX1018" fmla="*/ 1000803 w 1609516"/>
              <a:gd name="csY1018" fmla="*/ 236505 h 1538630"/>
              <a:gd name="csX1019" fmla="*/ 999806 w 1609516"/>
              <a:gd name="csY1019" fmla="*/ 236055 h 1538630"/>
              <a:gd name="csX1020" fmla="*/ 1003126 w 1609516"/>
              <a:gd name="csY1020" fmla="*/ 232851 h 1538630"/>
              <a:gd name="csX1021" fmla="*/ 1029487 w 1609516"/>
              <a:gd name="csY1021" fmla="*/ 205052 h 1538630"/>
              <a:gd name="csX1022" fmla="*/ 1029872 w 1609516"/>
              <a:gd name="csY1022" fmla="*/ 206442 h 1538630"/>
              <a:gd name="csX1023" fmla="*/ 1031614 w 1609516"/>
              <a:gd name="csY1023" fmla="*/ 203719 h 1538630"/>
              <a:gd name="csX1024" fmla="*/ 1038924 w 1609516"/>
              <a:gd name="csY1024" fmla="*/ 192280 h 1538630"/>
              <a:gd name="csX1025" fmla="*/ 1042049 w 1609516"/>
              <a:gd name="csY1025" fmla="*/ 190870 h 1538630"/>
              <a:gd name="csX1026" fmla="*/ 1044294 w 1609516"/>
              <a:gd name="csY1026" fmla="*/ 186026 h 1538630"/>
              <a:gd name="csX1027" fmla="*/ 1051422 w 1609516"/>
              <a:gd name="csY1027" fmla="*/ 178188 h 1538630"/>
              <a:gd name="csX1028" fmla="*/ 1052984 w 1609516"/>
              <a:gd name="csY1028" fmla="*/ 172551 h 1538630"/>
              <a:gd name="csX1029" fmla="*/ 1056108 w 1609516"/>
              <a:gd name="csY1029" fmla="*/ 172551 h 1538630"/>
              <a:gd name="csX1030" fmla="*/ 1059232 w 1609516"/>
              <a:gd name="csY1030" fmla="*/ 162686 h 1538630"/>
              <a:gd name="csX1031" fmla="*/ 1062357 w 1609516"/>
              <a:gd name="csY1031" fmla="*/ 162686 h 1538630"/>
              <a:gd name="csX1032" fmla="*/ 1063162 w 1609516"/>
              <a:gd name="csY1032" fmla="*/ 160258 h 1538630"/>
              <a:gd name="csX1033" fmla="*/ 1073292 w 1609516"/>
              <a:gd name="csY1033" fmla="*/ 140138 h 1538630"/>
              <a:gd name="csX1034" fmla="*/ 1076415 w 1609516"/>
              <a:gd name="csY1034" fmla="*/ 140138 h 1538630"/>
              <a:gd name="csX1035" fmla="*/ 1085294 w 1609516"/>
              <a:gd name="csY1035" fmla="*/ 117569 h 1538630"/>
              <a:gd name="csX1036" fmla="*/ 1087350 w 1609516"/>
              <a:gd name="csY1036" fmla="*/ 113363 h 1538630"/>
              <a:gd name="csX1037" fmla="*/ 1092037 w 1609516"/>
              <a:gd name="csY1037" fmla="*/ 111954 h 1538630"/>
              <a:gd name="csX1038" fmla="*/ 1092623 w 1609516"/>
              <a:gd name="csY1038" fmla="*/ 108695 h 1538630"/>
              <a:gd name="csX1039" fmla="*/ 1096723 w 1609516"/>
              <a:gd name="csY1039" fmla="*/ 100680 h 1538630"/>
              <a:gd name="csX1040" fmla="*/ 1098188 w 1609516"/>
              <a:gd name="csY1040" fmla="*/ 96013 h 1538630"/>
              <a:gd name="csX1041" fmla="*/ 1102288 w 1609516"/>
              <a:gd name="csY1041" fmla="*/ 87029 h 1538630"/>
              <a:gd name="csX1042" fmla="*/ 1104534 w 1609516"/>
              <a:gd name="csY1042" fmla="*/ 61222 h 1538630"/>
              <a:gd name="csX1043" fmla="*/ 1104381 w 1609516"/>
              <a:gd name="csY1043" fmla="*/ 55569 h 1538630"/>
              <a:gd name="csX1044" fmla="*/ 1104397 w 1609516"/>
              <a:gd name="csY1044" fmla="*/ 52335 h 1538630"/>
              <a:gd name="csX1045" fmla="*/ 1104436 w 1609516"/>
              <a:gd name="csY1045" fmla="*/ 48979 h 1538630"/>
              <a:gd name="csX1046" fmla="*/ 1104457 w 1609516"/>
              <a:gd name="csY1046" fmla="*/ 45575 h 1538630"/>
              <a:gd name="csX1047" fmla="*/ 1104534 w 1609516"/>
              <a:gd name="csY1047" fmla="*/ 37265 h 1538630"/>
              <a:gd name="csX1048" fmla="*/ 1107658 w 1609516"/>
              <a:gd name="csY1048" fmla="*/ 37265 h 1538630"/>
              <a:gd name="csX1049" fmla="*/ 1107463 w 1609516"/>
              <a:gd name="csY1049" fmla="*/ 31805 h 1538630"/>
              <a:gd name="csX1050" fmla="*/ 1107658 w 1609516"/>
              <a:gd name="csY1050" fmla="*/ 25991 h 1538630"/>
              <a:gd name="csX1051" fmla="*/ 1110782 w 1609516"/>
              <a:gd name="csY1051" fmla="*/ 23173 h 1538630"/>
              <a:gd name="csX1052" fmla="*/ 1111759 w 1609516"/>
              <a:gd name="csY1052" fmla="*/ 20091 h 1538630"/>
              <a:gd name="csX1053" fmla="*/ 1134507 w 1609516"/>
              <a:gd name="csY1053" fmla="*/ 2828 h 1538630"/>
              <a:gd name="csX1054" fmla="*/ 1155019 w 1609516"/>
              <a:gd name="csY1054" fmla="*/ 35 h 153863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  <a:cxn ang="0">
                <a:pos x="csX170" y="csY170"/>
              </a:cxn>
              <a:cxn ang="0">
                <a:pos x="csX171" y="csY171"/>
              </a:cxn>
              <a:cxn ang="0">
                <a:pos x="csX172" y="csY172"/>
              </a:cxn>
              <a:cxn ang="0">
                <a:pos x="csX173" y="csY173"/>
              </a:cxn>
              <a:cxn ang="0">
                <a:pos x="csX174" y="csY174"/>
              </a:cxn>
              <a:cxn ang="0">
                <a:pos x="csX175" y="csY175"/>
              </a:cxn>
              <a:cxn ang="0">
                <a:pos x="csX176" y="csY176"/>
              </a:cxn>
              <a:cxn ang="0">
                <a:pos x="csX177" y="csY177"/>
              </a:cxn>
              <a:cxn ang="0">
                <a:pos x="csX178" y="csY178"/>
              </a:cxn>
              <a:cxn ang="0">
                <a:pos x="csX179" y="csY179"/>
              </a:cxn>
              <a:cxn ang="0">
                <a:pos x="csX180" y="csY180"/>
              </a:cxn>
              <a:cxn ang="0">
                <a:pos x="csX181" y="csY181"/>
              </a:cxn>
              <a:cxn ang="0">
                <a:pos x="csX182" y="csY182"/>
              </a:cxn>
              <a:cxn ang="0">
                <a:pos x="csX183" y="csY183"/>
              </a:cxn>
              <a:cxn ang="0">
                <a:pos x="csX184" y="csY184"/>
              </a:cxn>
              <a:cxn ang="0">
                <a:pos x="csX185" y="csY185"/>
              </a:cxn>
              <a:cxn ang="0">
                <a:pos x="csX186" y="csY186"/>
              </a:cxn>
              <a:cxn ang="0">
                <a:pos x="csX187" y="csY187"/>
              </a:cxn>
              <a:cxn ang="0">
                <a:pos x="csX188" y="csY188"/>
              </a:cxn>
              <a:cxn ang="0">
                <a:pos x="csX189" y="csY189"/>
              </a:cxn>
              <a:cxn ang="0">
                <a:pos x="csX190" y="csY190"/>
              </a:cxn>
              <a:cxn ang="0">
                <a:pos x="csX191" y="csY191"/>
              </a:cxn>
              <a:cxn ang="0">
                <a:pos x="csX192" y="csY192"/>
              </a:cxn>
              <a:cxn ang="0">
                <a:pos x="csX193" y="csY193"/>
              </a:cxn>
              <a:cxn ang="0">
                <a:pos x="csX194" y="csY194"/>
              </a:cxn>
              <a:cxn ang="0">
                <a:pos x="csX195" y="csY195"/>
              </a:cxn>
              <a:cxn ang="0">
                <a:pos x="csX196" y="csY196"/>
              </a:cxn>
              <a:cxn ang="0">
                <a:pos x="csX197" y="csY197"/>
              </a:cxn>
              <a:cxn ang="0">
                <a:pos x="csX198" y="csY198"/>
              </a:cxn>
              <a:cxn ang="0">
                <a:pos x="csX199" y="csY199"/>
              </a:cxn>
              <a:cxn ang="0">
                <a:pos x="csX200" y="csY200"/>
              </a:cxn>
              <a:cxn ang="0">
                <a:pos x="csX201" y="csY201"/>
              </a:cxn>
              <a:cxn ang="0">
                <a:pos x="csX202" y="csY202"/>
              </a:cxn>
              <a:cxn ang="0">
                <a:pos x="csX203" y="csY203"/>
              </a:cxn>
              <a:cxn ang="0">
                <a:pos x="csX204" y="csY204"/>
              </a:cxn>
              <a:cxn ang="0">
                <a:pos x="csX205" y="csY205"/>
              </a:cxn>
              <a:cxn ang="0">
                <a:pos x="csX206" y="csY206"/>
              </a:cxn>
              <a:cxn ang="0">
                <a:pos x="csX207" y="csY207"/>
              </a:cxn>
              <a:cxn ang="0">
                <a:pos x="csX208" y="csY208"/>
              </a:cxn>
              <a:cxn ang="0">
                <a:pos x="csX209" y="csY209"/>
              </a:cxn>
              <a:cxn ang="0">
                <a:pos x="csX210" y="csY210"/>
              </a:cxn>
              <a:cxn ang="0">
                <a:pos x="csX211" y="csY211"/>
              </a:cxn>
              <a:cxn ang="0">
                <a:pos x="csX212" y="csY212"/>
              </a:cxn>
              <a:cxn ang="0">
                <a:pos x="csX213" y="csY213"/>
              </a:cxn>
              <a:cxn ang="0">
                <a:pos x="csX214" y="csY214"/>
              </a:cxn>
              <a:cxn ang="0">
                <a:pos x="csX215" y="csY215"/>
              </a:cxn>
              <a:cxn ang="0">
                <a:pos x="csX216" y="csY216"/>
              </a:cxn>
              <a:cxn ang="0">
                <a:pos x="csX217" y="csY217"/>
              </a:cxn>
              <a:cxn ang="0">
                <a:pos x="csX218" y="csY218"/>
              </a:cxn>
              <a:cxn ang="0">
                <a:pos x="csX219" y="csY219"/>
              </a:cxn>
              <a:cxn ang="0">
                <a:pos x="csX220" y="csY220"/>
              </a:cxn>
              <a:cxn ang="0">
                <a:pos x="csX221" y="csY221"/>
              </a:cxn>
              <a:cxn ang="0">
                <a:pos x="csX222" y="csY222"/>
              </a:cxn>
              <a:cxn ang="0">
                <a:pos x="csX223" y="csY223"/>
              </a:cxn>
              <a:cxn ang="0">
                <a:pos x="csX224" y="csY224"/>
              </a:cxn>
              <a:cxn ang="0">
                <a:pos x="csX225" y="csY225"/>
              </a:cxn>
              <a:cxn ang="0">
                <a:pos x="csX226" y="csY226"/>
              </a:cxn>
              <a:cxn ang="0">
                <a:pos x="csX227" y="csY227"/>
              </a:cxn>
              <a:cxn ang="0">
                <a:pos x="csX228" y="csY228"/>
              </a:cxn>
              <a:cxn ang="0">
                <a:pos x="csX229" y="csY229"/>
              </a:cxn>
              <a:cxn ang="0">
                <a:pos x="csX230" y="csY230"/>
              </a:cxn>
              <a:cxn ang="0">
                <a:pos x="csX231" y="csY231"/>
              </a:cxn>
              <a:cxn ang="0">
                <a:pos x="csX232" y="csY232"/>
              </a:cxn>
              <a:cxn ang="0">
                <a:pos x="csX233" y="csY233"/>
              </a:cxn>
              <a:cxn ang="0">
                <a:pos x="csX234" y="csY234"/>
              </a:cxn>
              <a:cxn ang="0">
                <a:pos x="csX235" y="csY235"/>
              </a:cxn>
              <a:cxn ang="0">
                <a:pos x="csX236" y="csY236"/>
              </a:cxn>
              <a:cxn ang="0">
                <a:pos x="csX237" y="csY237"/>
              </a:cxn>
              <a:cxn ang="0">
                <a:pos x="csX238" y="csY238"/>
              </a:cxn>
              <a:cxn ang="0">
                <a:pos x="csX239" y="csY239"/>
              </a:cxn>
              <a:cxn ang="0">
                <a:pos x="csX240" y="csY240"/>
              </a:cxn>
              <a:cxn ang="0">
                <a:pos x="csX241" y="csY241"/>
              </a:cxn>
              <a:cxn ang="0">
                <a:pos x="csX242" y="csY242"/>
              </a:cxn>
              <a:cxn ang="0">
                <a:pos x="csX243" y="csY243"/>
              </a:cxn>
              <a:cxn ang="0">
                <a:pos x="csX244" y="csY244"/>
              </a:cxn>
              <a:cxn ang="0">
                <a:pos x="csX245" y="csY245"/>
              </a:cxn>
              <a:cxn ang="0">
                <a:pos x="csX246" y="csY246"/>
              </a:cxn>
              <a:cxn ang="0">
                <a:pos x="csX247" y="csY247"/>
              </a:cxn>
              <a:cxn ang="0">
                <a:pos x="csX248" y="csY248"/>
              </a:cxn>
              <a:cxn ang="0">
                <a:pos x="csX249" y="csY249"/>
              </a:cxn>
              <a:cxn ang="0">
                <a:pos x="csX250" y="csY250"/>
              </a:cxn>
              <a:cxn ang="0">
                <a:pos x="csX251" y="csY251"/>
              </a:cxn>
              <a:cxn ang="0">
                <a:pos x="csX252" y="csY252"/>
              </a:cxn>
              <a:cxn ang="0">
                <a:pos x="csX253" y="csY253"/>
              </a:cxn>
              <a:cxn ang="0">
                <a:pos x="csX254" y="csY254"/>
              </a:cxn>
              <a:cxn ang="0">
                <a:pos x="csX255" y="csY255"/>
              </a:cxn>
              <a:cxn ang="0">
                <a:pos x="csX256" y="csY256"/>
              </a:cxn>
              <a:cxn ang="0">
                <a:pos x="csX257" y="csY257"/>
              </a:cxn>
              <a:cxn ang="0">
                <a:pos x="csX258" y="csY258"/>
              </a:cxn>
              <a:cxn ang="0">
                <a:pos x="csX259" y="csY259"/>
              </a:cxn>
              <a:cxn ang="0">
                <a:pos x="csX260" y="csY260"/>
              </a:cxn>
              <a:cxn ang="0">
                <a:pos x="csX261" y="csY261"/>
              </a:cxn>
              <a:cxn ang="0">
                <a:pos x="csX262" y="csY262"/>
              </a:cxn>
              <a:cxn ang="0">
                <a:pos x="csX263" y="csY263"/>
              </a:cxn>
              <a:cxn ang="0">
                <a:pos x="csX264" y="csY264"/>
              </a:cxn>
              <a:cxn ang="0">
                <a:pos x="csX265" y="csY265"/>
              </a:cxn>
              <a:cxn ang="0">
                <a:pos x="csX266" y="csY266"/>
              </a:cxn>
              <a:cxn ang="0">
                <a:pos x="csX267" y="csY267"/>
              </a:cxn>
              <a:cxn ang="0">
                <a:pos x="csX268" y="csY268"/>
              </a:cxn>
              <a:cxn ang="0">
                <a:pos x="csX269" y="csY269"/>
              </a:cxn>
              <a:cxn ang="0">
                <a:pos x="csX270" y="csY270"/>
              </a:cxn>
              <a:cxn ang="0">
                <a:pos x="csX271" y="csY271"/>
              </a:cxn>
              <a:cxn ang="0">
                <a:pos x="csX272" y="csY272"/>
              </a:cxn>
              <a:cxn ang="0">
                <a:pos x="csX273" y="csY273"/>
              </a:cxn>
              <a:cxn ang="0">
                <a:pos x="csX274" y="csY274"/>
              </a:cxn>
              <a:cxn ang="0">
                <a:pos x="csX275" y="csY275"/>
              </a:cxn>
              <a:cxn ang="0">
                <a:pos x="csX276" y="csY276"/>
              </a:cxn>
              <a:cxn ang="0">
                <a:pos x="csX277" y="csY277"/>
              </a:cxn>
              <a:cxn ang="0">
                <a:pos x="csX278" y="csY278"/>
              </a:cxn>
              <a:cxn ang="0">
                <a:pos x="csX279" y="csY279"/>
              </a:cxn>
              <a:cxn ang="0">
                <a:pos x="csX280" y="csY280"/>
              </a:cxn>
              <a:cxn ang="0">
                <a:pos x="csX281" y="csY281"/>
              </a:cxn>
              <a:cxn ang="0">
                <a:pos x="csX282" y="csY282"/>
              </a:cxn>
              <a:cxn ang="0">
                <a:pos x="csX283" y="csY283"/>
              </a:cxn>
              <a:cxn ang="0">
                <a:pos x="csX284" y="csY284"/>
              </a:cxn>
              <a:cxn ang="0">
                <a:pos x="csX285" y="csY285"/>
              </a:cxn>
              <a:cxn ang="0">
                <a:pos x="csX286" y="csY286"/>
              </a:cxn>
              <a:cxn ang="0">
                <a:pos x="csX287" y="csY287"/>
              </a:cxn>
              <a:cxn ang="0">
                <a:pos x="csX288" y="csY288"/>
              </a:cxn>
              <a:cxn ang="0">
                <a:pos x="csX289" y="csY289"/>
              </a:cxn>
              <a:cxn ang="0">
                <a:pos x="csX290" y="csY290"/>
              </a:cxn>
              <a:cxn ang="0">
                <a:pos x="csX291" y="csY291"/>
              </a:cxn>
              <a:cxn ang="0">
                <a:pos x="csX292" y="csY292"/>
              </a:cxn>
              <a:cxn ang="0">
                <a:pos x="csX293" y="csY293"/>
              </a:cxn>
              <a:cxn ang="0">
                <a:pos x="csX294" y="csY294"/>
              </a:cxn>
              <a:cxn ang="0">
                <a:pos x="csX295" y="csY295"/>
              </a:cxn>
              <a:cxn ang="0">
                <a:pos x="csX296" y="csY296"/>
              </a:cxn>
              <a:cxn ang="0">
                <a:pos x="csX297" y="csY297"/>
              </a:cxn>
              <a:cxn ang="0">
                <a:pos x="csX298" y="csY298"/>
              </a:cxn>
              <a:cxn ang="0">
                <a:pos x="csX299" y="csY299"/>
              </a:cxn>
              <a:cxn ang="0">
                <a:pos x="csX300" y="csY300"/>
              </a:cxn>
              <a:cxn ang="0">
                <a:pos x="csX301" y="csY301"/>
              </a:cxn>
              <a:cxn ang="0">
                <a:pos x="csX302" y="csY302"/>
              </a:cxn>
              <a:cxn ang="0">
                <a:pos x="csX303" y="csY303"/>
              </a:cxn>
              <a:cxn ang="0">
                <a:pos x="csX304" y="csY304"/>
              </a:cxn>
              <a:cxn ang="0">
                <a:pos x="csX305" y="csY305"/>
              </a:cxn>
              <a:cxn ang="0">
                <a:pos x="csX306" y="csY306"/>
              </a:cxn>
              <a:cxn ang="0">
                <a:pos x="csX307" y="csY307"/>
              </a:cxn>
              <a:cxn ang="0">
                <a:pos x="csX308" y="csY308"/>
              </a:cxn>
              <a:cxn ang="0">
                <a:pos x="csX309" y="csY309"/>
              </a:cxn>
              <a:cxn ang="0">
                <a:pos x="csX310" y="csY310"/>
              </a:cxn>
              <a:cxn ang="0">
                <a:pos x="csX311" y="csY311"/>
              </a:cxn>
              <a:cxn ang="0">
                <a:pos x="csX312" y="csY312"/>
              </a:cxn>
              <a:cxn ang="0">
                <a:pos x="csX313" y="csY313"/>
              </a:cxn>
              <a:cxn ang="0">
                <a:pos x="csX314" y="csY314"/>
              </a:cxn>
              <a:cxn ang="0">
                <a:pos x="csX315" y="csY315"/>
              </a:cxn>
              <a:cxn ang="0">
                <a:pos x="csX316" y="csY316"/>
              </a:cxn>
              <a:cxn ang="0">
                <a:pos x="csX317" y="csY317"/>
              </a:cxn>
              <a:cxn ang="0">
                <a:pos x="csX318" y="csY318"/>
              </a:cxn>
              <a:cxn ang="0">
                <a:pos x="csX319" y="csY319"/>
              </a:cxn>
              <a:cxn ang="0">
                <a:pos x="csX320" y="csY320"/>
              </a:cxn>
              <a:cxn ang="0">
                <a:pos x="csX321" y="csY321"/>
              </a:cxn>
              <a:cxn ang="0">
                <a:pos x="csX322" y="csY322"/>
              </a:cxn>
              <a:cxn ang="0">
                <a:pos x="csX323" y="csY323"/>
              </a:cxn>
              <a:cxn ang="0">
                <a:pos x="csX324" y="csY324"/>
              </a:cxn>
              <a:cxn ang="0">
                <a:pos x="csX325" y="csY325"/>
              </a:cxn>
              <a:cxn ang="0">
                <a:pos x="csX326" y="csY326"/>
              </a:cxn>
              <a:cxn ang="0">
                <a:pos x="csX327" y="csY327"/>
              </a:cxn>
              <a:cxn ang="0">
                <a:pos x="csX328" y="csY328"/>
              </a:cxn>
              <a:cxn ang="0">
                <a:pos x="csX329" y="csY329"/>
              </a:cxn>
              <a:cxn ang="0">
                <a:pos x="csX330" y="csY330"/>
              </a:cxn>
              <a:cxn ang="0">
                <a:pos x="csX331" y="csY331"/>
              </a:cxn>
              <a:cxn ang="0">
                <a:pos x="csX332" y="csY332"/>
              </a:cxn>
              <a:cxn ang="0">
                <a:pos x="csX333" y="csY333"/>
              </a:cxn>
              <a:cxn ang="0">
                <a:pos x="csX334" y="csY334"/>
              </a:cxn>
              <a:cxn ang="0">
                <a:pos x="csX335" y="csY335"/>
              </a:cxn>
              <a:cxn ang="0">
                <a:pos x="csX336" y="csY336"/>
              </a:cxn>
              <a:cxn ang="0">
                <a:pos x="csX337" y="csY337"/>
              </a:cxn>
              <a:cxn ang="0">
                <a:pos x="csX338" y="csY338"/>
              </a:cxn>
              <a:cxn ang="0">
                <a:pos x="csX339" y="csY339"/>
              </a:cxn>
              <a:cxn ang="0">
                <a:pos x="csX340" y="csY340"/>
              </a:cxn>
              <a:cxn ang="0">
                <a:pos x="csX341" y="csY341"/>
              </a:cxn>
              <a:cxn ang="0">
                <a:pos x="csX342" y="csY342"/>
              </a:cxn>
              <a:cxn ang="0">
                <a:pos x="csX343" y="csY343"/>
              </a:cxn>
              <a:cxn ang="0">
                <a:pos x="csX344" y="csY344"/>
              </a:cxn>
              <a:cxn ang="0">
                <a:pos x="csX345" y="csY345"/>
              </a:cxn>
              <a:cxn ang="0">
                <a:pos x="csX346" y="csY346"/>
              </a:cxn>
              <a:cxn ang="0">
                <a:pos x="csX347" y="csY347"/>
              </a:cxn>
              <a:cxn ang="0">
                <a:pos x="csX348" y="csY348"/>
              </a:cxn>
              <a:cxn ang="0">
                <a:pos x="csX349" y="csY349"/>
              </a:cxn>
              <a:cxn ang="0">
                <a:pos x="csX350" y="csY350"/>
              </a:cxn>
              <a:cxn ang="0">
                <a:pos x="csX351" y="csY351"/>
              </a:cxn>
              <a:cxn ang="0">
                <a:pos x="csX352" y="csY352"/>
              </a:cxn>
              <a:cxn ang="0">
                <a:pos x="csX353" y="csY353"/>
              </a:cxn>
              <a:cxn ang="0">
                <a:pos x="csX354" y="csY354"/>
              </a:cxn>
              <a:cxn ang="0">
                <a:pos x="csX355" y="csY355"/>
              </a:cxn>
              <a:cxn ang="0">
                <a:pos x="csX356" y="csY356"/>
              </a:cxn>
              <a:cxn ang="0">
                <a:pos x="csX357" y="csY357"/>
              </a:cxn>
              <a:cxn ang="0">
                <a:pos x="csX358" y="csY358"/>
              </a:cxn>
              <a:cxn ang="0">
                <a:pos x="csX359" y="csY359"/>
              </a:cxn>
              <a:cxn ang="0">
                <a:pos x="csX360" y="csY360"/>
              </a:cxn>
              <a:cxn ang="0">
                <a:pos x="csX361" y="csY361"/>
              </a:cxn>
              <a:cxn ang="0">
                <a:pos x="csX362" y="csY362"/>
              </a:cxn>
              <a:cxn ang="0">
                <a:pos x="csX363" y="csY363"/>
              </a:cxn>
              <a:cxn ang="0">
                <a:pos x="csX364" y="csY364"/>
              </a:cxn>
              <a:cxn ang="0">
                <a:pos x="csX365" y="csY365"/>
              </a:cxn>
              <a:cxn ang="0">
                <a:pos x="csX366" y="csY366"/>
              </a:cxn>
              <a:cxn ang="0">
                <a:pos x="csX367" y="csY367"/>
              </a:cxn>
              <a:cxn ang="0">
                <a:pos x="csX368" y="csY368"/>
              </a:cxn>
              <a:cxn ang="0">
                <a:pos x="csX369" y="csY369"/>
              </a:cxn>
              <a:cxn ang="0">
                <a:pos x="csX370" y="csY370"/>
              </a:cxn>
              <a:cxn ang="0">
                <a:pos x="csX371" y="csY371"/>
              </a:cxn>
              <a:cxn ang="0">
                <a:pos x="csX372" y="csY372"/>
              </a:cxn>
              <a:cxn ang="0">
                <a:pos x="csX373" y="csY373"/>
              </a:cxn>
              <a:cxn ang="0">
                <a:pos x="csX374" y="csY374"/>
              </a:cxn>
              <a:cxn ang="0">
                <a:pos x="csX375" y="csY375"/>
              </a:cxn>
              <a:cxn ang="0">
                <a:pos x="csX376" y="csY376"/>
              </a:cxn>
              <a:cxn ang="0">
                <a:pos x="csX377" y="csY377"/>
              </a:cxn>
              <a:cxn ang="0">
                <a:pos x="csX378" y="csY378"/>
              </a:cxn>
              <a:cxn ang="0">
                <a:pos x="csX379" y="csY379"/>
              </a:cxn>
              <a:cxn ang="0">
                <a:pos x="csX380" y="csY380"/>
              </a:cxn>
              <a:cxn ang="0">
                <a:pos x="csX381" y="csY381"/>
              </a:cxn>
              <a:cxn ang="0">
                <a:pos x="csX382" y="csY382"/>
              </a:cxn>
              <a:cxn ang="0">
                <a:pos x="csX383" y="csY383"/>
              </a:cxn>
              <a:cxn ang="0">
                <a:pos x="csX384" y="csY384"/>
              </a:cxn>
              <a:cxn ang="0">
                <a:pos x="csX385" y="csY385"/>
              </a:cxn>
              <a:cxn ang="0">
                <a:pos x="csX386" y="csY386"/>
              </a:cxn>
              <a:cxn ang="0">
                <a:pos x="csX387" y="csY387"/>
              </a:cxn>
              <a:cxn ang="0">
                <a:pos x="csX388" y="csY388"/>
              </a:cxn>
              <a:cxn ang="0">
                <a:pos x="csX389" y="csY389"/>
              </a:cxn>
              <a:cxn ang="0">
                <a:pos x="csX390" y="csY390"/>
              </a:cxn>
              <a:cxn ang="0">
                <a:pos x="csX391" y="csY391"/>
              </a:cxn>
              <a:cxn ang="0">
                <a:pos x="csX392" y="csY392"/>
              </a:cxn>
              <a:cxn ang="0">
                <a:pos x="csX393" y="csY393"/>
              </a:cxn>
              <a:cxn ang="0">
                <a:pos x="csX394" y="csY394"/>
              </a:cxn>
              <a:cxn ang="0">
                <a:pos x="csX395" y="csY395"/>
              </a:cxn>
              <a:cxn ang="0">
                <a:pos x="csX396" y="csY396"/>
              </a:cxn>
              <a:cxn ang="0">
                <a:pos x="csX397" y="csY397"/>
              </a:cxn>
              <a:cxn ang="0">
                <a:pos x="csX398" y="csY398"/>
              </a:cxn>
              <a:cxn ang="0">
                <a:pos x="csX399" y="csY399"/>
              </a:cxn>
              <a:cxn ang="0">
                <a:pos x="csX400" y="csY400"/>
              </a:cxn>
              <a:cxn ang="0">
                <a:pos x="csX401" y="csY401"/>
              </a:cxn>
              <a:cxn ang="0">
                <a:pos x="csX402" y="csY402"/>
              </a:cxn>
              <a:cxn ang="0">
                <a:pos x="csX403" y="csY403"/>
              </a:cxn>
              <a:cxn ang="0">
                <a:pos x="csX404" y="csY404"/>
              </a:cxn>
              <a:cxn ang="0">
                <a:pos x="csX405" y="csY405"/>
              </a:cxn>
              <a:cxn ang="0">
                <a:pos x="csX406" y="csY406"/>
              </a:cxn>
              <a:cxn ang="0">
                <a:pos x="csX407" y="csY407"/>
              </a:cxn>
              <a:cxn ang="0">
                <a:pos x="csX408" y="csY408"/>
              </a:cxn>
              <a:cxn ang="0">
                <a:pos x="csX409" y="csY409"/>
              </a:cxn>
              <a:cxn ang="0">
                <a:pos x="csX410" y="csY410"/>
              </a:cxn>
              <a:cxn ang="0">
                <a:pos x="csX411" y="csY411"/>
              </a:cxn>
              <a:cxn ang="0">
                <a:pos x="csX412" y="csY412"/>
              </a:cxn>
              <a:cxn ang="0">
                <a:pos x="csX413" y="csY413"/>
              </a:cxn>
              <a:cxn ang="0">
                <a:pos x="csX414" y="csY414"/>
              </a:cxn>
              <a:cxn ang="0">
                <a:pos x="csX415" y="csY415"/>
              </a:cxn>
              <a:cxn ang="0">
                <a:pos x="csX416" y="csY416"/>
              </a:cxn>
              <a:cxn ang="0">
                <a:pos x="csX417" y="csY417"/>
              </a:cxn>
              <a:cxn ang="0">
                <a:pos x="csX418" y="csY418"/>
              </a:cxn>
              <a:cxn ang="0">
                <a:pos x="csX419" y="csY419"/>
              </a:cxn>
              <a:cxn ang="0">
                <a:pos x="csX420" y="csY420"/>
              </a:cxn>
              <a:cxn ang="0">
                <a:pos x="csX421" y="csY421"/>
              </a:cxn>
              <a:cxn ang="0">
                <a:pos x="csX422" y="csY422"/>
              </a:cxn>
              <a:cxn ang="0">
                <a:pos x="csX423" y="csY423"/>
              </a:cxn>
              <a:cxn ang="0">
                <a:pos x="csX424" y="csY424"/>
              </a:cxn>
              <a:cxn ang="0">
                <a:pos x="csX425" y="csY425"/>
              </a:cxn>
              <a:cxn ang="0">
                <a:pos x="csX426" y="csY426"/>
              </a:cxn>
              <a:cxn ang="0">
                <a:pos x="csX427" y="csY427"/>
              </a:cxn>
              <a:cxn ang="0">
                <a:pos x="csX428" y="csY428"/>
              </a:cxn>
              <a:cxn ang="0">
                <a:pos x="csX429" y="csY429"/>
              </a:cxn>
              <a:cxn ang="0">
                <a:pos x="csX430" y="csY430"/>
              </a:cxn>
              <a:cxn ang="0">
                <a:pos x="csX431" y="csY431"/>
              </a:cxn>
              <a:cxn ang="0">
                <a:pos x="csX432" y="csY432"/>
              </a:cxn>
              <a:cxn ang="0">
                <a:pos x="csX433" y="csY433"/>
              </a:cxn>
              <a:cxn ang="0">
                <a:pos x="csX434" y="csY434"/>
              </a:cxn>
              <a:cxn ang="0">
                <a:pos x="csX435" y="csY435"/>
              </a:cxn>
              <a:cxn ang="0">
                <a:pos x="csX436" y="csY436"/>
              </a:cxn>
              <a:cxn ang="0">
                <a:pos x="csX437" y="csY437"/>
              </a:cxn>
              <a:cxn ang="0">
                <a:pos x="csX438" y="csY438"/>
              </a:cxn>
              <a:cxn ang="0">
                <a:pos x="csX439" y="csY439"/>
              </a:cxn>
              <a:cxn ang="0">
                <a:pos x="csX440" y="csY440"/>
              </a:cxn>
              <a:cxn ang="0">
                <a:pos x="csX441" y="csY441"/>
              </a:cxn>
              <a:cxn ang="0">
                <a:pos x="csX442" y="csY442"/>
              </a:cxn>
              <a:cxn ang="0">
                <a:pos x="csX443" y="csY443"/>
              </a:cxn>
              <a:cxn ang="0">
                <a:pos x="csX444" y="csY444"/>
              </a:cxn>
              <a:cxn ang="0">
                <a:pos x="csX445" y="csY445"/>
              </a:cxn>
              <a:cxn ang="0">
                <a:pos x="csX446" y="csY446"/>
              </a:cxn>
              <a:cxn ang="0">
                <a:pos x="csX447" y="csY447"/>
              </a:cxn>
              <a:cxn ang="0">
                <a:pos x="csX448" y="csY448"/>
              </a:cxn>
              <a:cxn ang="0">
                <a:pos x="csX449" y="csY449"/>
              </a:cxn>
              <a:cxn ang="0">
                <a:pos x="csX450" y="csY450"/>
              </a:cxn>
              <a:cxn ang="0">
                <a:pos x="csX451" y="csY451"/>
              </a:cxn>
              <a:cxn ang="0">
                <a:pos x="csX452" y="csY452"/>
              </a:cxn>
              <a:cxn ang="0">
                <a:pos x="csX453" y="csY453"/>
              </a:cxn>
              <a:cxn ang="0">
                <a:pos x="csX454" y="csY454"/>
              </a:cxn>
              <a:cxn ang="0">
                <a:pos x="csX455" y="csY455"/>
              </a:cxn>
              <a:cxn ang="0">
                <a:pos x="csX456" y="csY456"/>
              </a:cxn>
              <a:cxn ang="0">
                <a:pos x="csX457" y="csY457"/>
              </a:cxn>
              <a:cxn ang="0">
                <a:pos x="csX458" y="csY458"/>
              </a:cxn>
              <a:cxn ang="0">
                <a:pos x="csX459" y="csY459"/>
              </a:cxn>
              <a:cxn ang="0">
                <a:pos x="csX460" y="csY460"/>
              </a:cxn>
              <a:cxn ang="0">
                <a:pos x="csX461" y="csY461"/>
              </a:cxn>
              <a:cxn ang="0">
                <a:pos x="csX462" y="csY462"/>
              </a:cxn>
              <a:cxn ang="0">
                <a:pos x="csX463" y="csY463"/>
              </a:cxn>
              <a:cxn ang="0">
                <a:pos x="csX464" y="csY464"/>
              </a:cxn>
              <a:cxn ang="0">
                <a:pos x="csX465" y="csY465"/>
              </a:cxn>
              <a:cxn ang="0">
                <a:pos x="csX466" y="csY466"/>
              </a:cxn>
              <a:cxn ang="0">
                <a:pos x="csX467" y="csY467"/>
              </a:cxn>
              <a:cxn ang="0">
                <a:pos x="csX468" y="csY468"/>
              </a:cxn>
              <a:cxn ang="0">
                <a:pos x="csX469" y="csY469"/>
              </a:cxn>
              <a:cxn ang="0">
                <a:pos x="csX470" y="csY470"/>
              </a:cxn>
              <a:cxn ang="0">
                <a:pos x="csX471" y="csY471"/>
              </a:cxn>
              <a:cxn ang="0">
                <a:pos x="csX472" y="csY472"/>
              </a:cxn>
              <a:cxn ang="0">
                <a:pos x="csX473" y="csY473"/>
              </a:cxn>
              <a:cxn ang="0">
                <a:pos x="csX474" y="csY474"/>
              </a:cxn>
              <a:cxn ang="0">
                <a:pos x="csX475" y="csY475"/>
              </a:cxn>
              <a:cxn ang="0">
                <a:pos x="csX476" y="csY476"/>
              </a:cxn>
              <a:cxn ang="0">
                <a:pos x="csX477" y="csY477"/>
              </a:cxn>
              <a:cxn ang="0">
                <a:pos x="csX478" y="csY478"/>
              </a:cxn>
              <a:cxn ang="0">
                <a:pos x="csX479" y="csY479"/>
              </a:cxn>
              <a:cxn ang="0">
                <a:pos x="csX480" y="csY480"/>
              </a:cxn>
              <a:cxn ang="0">
                <a:pos x="csX481" y="csY481"/>
              </a:cxn>
              <a:cxn ang="0">
                <a:pos x="csX482" y="csY482"/>
              </a:cxn>
              <a:cxn ang="0">
                <a:pos x="csX483" y="csY483"/>
              </a:cxn>
              <a:cxn ang="0">
                <a:pos x="csX484" y="csY484"/>
              </a:cxn>
              <a:cxn ang="0">
                <a:pos x="csX485" y="csY485"/>
              </a:cxn>
              <a:cxn ang="0">
                <a:pos x="csX486" y="csY486"/>
              </a:cxn>
              <a:cxn ang="0">
                <a:pos x="csX487" y="csY487"/>
              </a:cxn>
              <a:cxn ang="0">
                <a:pos x="csX488" y="csY488"/>
              </a:cxn>
              <a:cxn ang="0">
                <a:pos x="csX489" y="csY489"/>
              </a:cxn>
              <a:cxn ang="0">
                <a:pos x="csX490" y="csY490"/>
              </a:cxn>
              <a:cxn ang="0">
                <a:pos x="csX491" y="csY491"/>
              </a:cxn>
              <a:cxn ang="0">
                <a:pos x="csX492" y="csY492"/>
              </a:cxn>
              <a:cxn ang="0">
                <a:pos x="csX493" y="csY493"/>
              </a:cxn>
              <a:cxn ang="0">
                <a:pos x="csX494" y="csY494"/>
              </a:cxn>
              <a:cxn ang="0">
                <a:pos x="csX495" y="csY495"/>
              </a:cxn>
              <a:cxn ang="0">
                <a:pos x="csX496" y="csY496"/>
              </a:cxn>
              <a:cxn ang="0">
                <a:pos x="csX497" y="csY497"/>
              </a:cxn>
              <a:cxn ang="0">
                <a:pos x="csX498" y="csY498"/>
              </a:cxn>
              <a:cxn ang="0">
                <a:pos x="csX499" y="csY499"/>
              </a:cxn>
              <a:cxn ang="0">
                <a:pos x="csX500" y="csY500"/>
              </a:cxn>
              <a:cxn ang="0">
                <a:pos x="csX501" y="csY501"/>
              </a:cxn>
              <a:cxn ang="0">
                <a:pos x="csX502" y="csY502"/>
              </a:cxn>
              <a:cxn ang="0">
                <a:pos x="csX503" y="csY503"/>
              </a:cxn>
              <a:cxn ang="0">
                <a:pos x="csX504" y="csY504"/>
              </a:cxn>
              <a:cxn ang="0">
                <a:pos x="csX505" y="csY505"/>
              </a:cxn>
              <a:cxn ang="0">
                <a:pos x="csX506" y="csY506"/>
              </a:cxn>
              <a:cxn ang="0">
                <a:pos x="csX507" y="csY507"/>
              </a:cxn>
              <a:cxn ang="0">
                <a:pos x="csX508" y="csY508"/>
              </a:cxn>
              <a:cxn ang="0">
                <a:pos x="csX509" y="csY509"/>
              </a:cxn>
              <a:cxn ang="0">
                <a:pos x="csX510" y="csY510"/>
              </a:cxn>
              <a:cxn ang="0">
                <a:pos x="csX511" y="csY511"/>
              </a:cxn>
              <a:cxn ang="0">
                <a:pos x="csX512" y="csY512"/>
              </a:cxn>
              <a:cxn ang="0">
                <a:pos x="csX513" y="csY513"/>
              </a:cxn>
              <a:cxn ang="0">
                <a:pos x="csX514" y="csY514"/>
              </a:cxn>
              <a:cxn ang="0">
                <a:pos x="csX515" y="csY515"/>
              </a:cxn>
              <a:cxn ang="0">
                <a:pos x="csX516" y="csY516"/>
              </a:cxn>
              <a:cxn ang="0">
                <a:pos x="csX517" y="csY517"/>
              </a:cxn>
              <a:cxn ang="0">
                <a:pos x="csX518" y="csY518"/>
              </a:cxn>
              <a:cxn ang="0">
                <a:pos x="csX519" y="csY519"/>
              </a:cxn>
              <a:cxn ang="0">
                <a:pos x="csX520" y="csY520"/>
              </a:cxn>
              <a:cxn ang="0">
                <a:pos x="csX521" y="csY521"/>
              </a:cxn>
              <a:cxn ang="0">
                <a:pos x="csX522" y="csY522"/>
              </a:cxn>
              <a:cxn ang="0">
                <a:pos x="csX523" y="csY523"/>
              </a:cxn>
              <a:cxn ang="0">
                <a:pos x="csX524" y="csY524"/>
              </a:cxn>
              <a:cxn ang="0">
                <a:pos x="csX525" y="csY525"/>
              </a:cxn>
              <a:cxn ang="0">
                <a:pos x="csX526" y="csY526"/>
              </a:cxn>
              <a:cxn ang="0">
                <a:pos x="csX527" y="csY527"/>
              </a:cxn>
              <a:cxn ang="0">
                <a:pos x="csX528" y="csY528"/>
              </a:cxn>
              <a:cxn ang="0">
                <a:pos x="csX529" y="csY529"/>
              </a:cxn>
              <a:cxn ang="0">
                <a:pos x="csX530" y="csY530"/>
              </a:cxn>
              <a:cxn ang="0">
                <a:pos x="csX531" y="csY531"/>
              </a:cxn>
              <a:cxn ang="0">
                <a:pos x="csX532" y="csY532"/>
              </a:cxn>
              <a:cxn ang="0">
                <a:pos x="csX533" y="csY533"/>
              </a:cxn>
              <a:cxn ang="0">
                <a:pos x="csX534" y="csY534"/>
              </a:cxn>
              <a:cxn ang="0">
                <a:pos x="csX535" y="csY535"/>
              </a:cxn>
              <a:cxn ang="0">
                <a:pos x="csX536" y="csY536"/>
              </a:cxn>
              <a:cxn ang="0">
                <a:pos x="csX537" y="csY537"/>
              </a:cxn>
              <a:cxn ang="0">
                <a:pos x="csX538" y="csY538"/>
              </a:cxn>
              <a:cxn ang="0">
                <a:pos x="csX539" y="csY539"/>
              </a:cxn>
              <a:cxn ang="0">
                <a:pos x="csX540" y="csY540"/>
              </a:cxn>
              <a:cxn ang="0">
                <a:pos x="csX541" y="csY541"/>
              </a:cxn>
              <a:cxn ang="0">
                <a:pos x="csX542" y="csY542"/>
              </a:cxn>
              <a:cxn ang="0">
                <a:pos x="csX543" y="csY543"/>
              </a:cxn>
              <a:cxn ang="0">
                <a:pos x="csX544" y="csY544"/>
              </a:cxn>
              <a:cxn ang="0">
                <a:pos x="csX545" y="csY545"/>
              </a:cxn>
              <a:cxn ang="0">
                <a:pos x="csX546" y="csY546"/>
              </a:cxn>
              <a:cxn ang="0">
                <a:pos x="csX547" y="csY547"/>
              </a:cxn>
              <a:cxn ang="0">
                <a:pos x="csX548" y="csY548"/>
              </a:cxn>
              <a:cxn ang="0">
                <a:pos x="csX549" y="csY549"/>
              </a:cxn>
              <a:cxn ang="0">
                <a:pos x="csX550" y="csY550"/>
              </a:cxn>
              <a:cxn ang="0">
                <a:pos x="csX551" y="csY551"/>
              </a:cxn>
              <a:cxn ang="0">
                <a:pos x="csX552" y="csY552"/>
              </a:cxn>
              <a:cxn ang="0">
                <a:pos x="csX553" y="csY553"/>
              </a:cxn>
              <a:cxn ang="0">
                <a:pos x="csX554" y="csY554"/>
              </a:cxn>
              <a:cxn ang="0">
                <a:pos x="csX555" y="csY555"/>
              </a:cxn>
              <a:cxn ang="0">
                <a:pos x="csX556" y="csY556"/>
              </a:cxn>
              <a:cxn ang="0">
                <a:pos x="csX557" y="csY557"/>
              </a:cxn>
              <a:cxn ang="0">
                <a:pos x="csX558" y="csY558"/>
              </a:cxn>
              <a:cxn ang="0">
                <a:pos x="csX559" y="csY559"/>
              </a:cxn>
              <a:cxn ang="0">
                <a:pos x="csX560" y="csY560"/>
              </a:cxn>
              <a:cxn ang="0">
                <a:pos x="csX561" y="csY561"/>
              </a:cxn>
              <a:cxn ang="0">
                <a:pos x="csX562" y="csY562"/>
              </a:cxn>
              <a:cxn ang="0">
                <a:pos x="csX563" y="csY563"/>
              </a:cxn>
              <a:cxn ang="0">
                <a:pos x="csX564" y="csY564"/>
              </a:cxn>
              <a:cxn ang="0">
                <a:pos x="csX565" y="csY565"/>
              </a:cxn>
              <a:cxn ang="0">
                <a:pos x="csX566" y="csY566"/>
              </a:cxn>
              <a:cxn ang="0">
                <a:pos x="csX567" y="csY567"/>
              </a:cxn>
              <a:cxn ang="0">
                <a:pos x="csX568" y="csY568"/>
              </a:cxn>
              <a:cxn ang="0">
                <a:pos x="csX569" y="csY569"/>
              </a:cxn>
              <a:cxn ang="0">
                <a:pos x="csX570" y="csY570"/>
              </a:cxn>
              <a:cxn ang="0">
                <a:pos x="csX571" y="csY571"/>
              </a:cxn>
              <a:cxn ang="0">
                <a:pos x="csX572" y="csY572"/>
              </a:cxn>
              <a:cxn ang="0">
                <a:pos x="csX573" y="csY573"/>
              </a:cxn>
              <a:cxn ang="0">
                <a:pos x="csX574" y="csY574"/>
              </a:cxn>
              <a:cxn ang="0">
                <a:pos x="csX575" y="csY575"/>
              </a:cxn>
              <a:cxn ang="0">
                <a:pos x="csX576" y="csY576"/>
              </a:cxn>
              <a:cxn ang="0">
                <a:pos x="csX577" y="csY577"/>
              </a:cxn>
              <a:cxn ang="0">
                <a:pos x="csX578" y="csY578"/>
              </a:cxn>
              <a:cxn ang="0">
                <a:pos x="csX579" y="csY579"/>
              </a:cxn>
              <a:cxn ang="0">
                <a:pos x="csX580" y="csY580"/>
              </a:cxn>
              <a:cxn ang="0">
                <a:pos x="csX581" y="csY581"/>
              </a:cxn>
              <a:cxn ang="0">
                <a:pos x="csX582" y="csY582"/>
              </a:cxn>
              <a:cxn ang="0">
                <a:pos x="csX583" y="csY583"/>
              </a:cxn>
              <a:cxn ang="0">
                <a:pos x="csX584" y="csY584"/>
              </a:cxn>
              <a:cxn ang="0">
                <a:pos x="csX585" y="csY585"/>
              </a:cxn>
              <a:cxn ang="0">
                <a:pos x="csX586" y="csY586"/>
              </a:cxn>
              <a:cxn ang="0">
                <a:pos x="csX587" y="csY587"/>
              </a:cxn>
              <a:cxn ang="0">
                <a:pos x="csX588" y="csY588"/>
              </a:cxn>
              <a:cxn ang="0">
                <a:pos x="csX589" y="csY589"/>
              </a:cxn>
              <a:cxn ang="0">
                <a:pos x="csX590" y="csY590"/>
              </a:cxn>
              <a:cxn ang="0">
                <a:pos x="csX591" y="csY591"/>
              </a:cxn>
              <a:cxn ang="0">
                <a:pos x="csX592" y="csY592"/>
              </a:cxn>
              <a:cxn ang="0">
                <a:pos x="csX593" y="csY593"/>
              </a:cxn>
              <a:cxn ang="0">
                <a:pos x="csX594" y="csY594"/>
              </a:cxn>
              <a:cxn ang="0">
                <a:pos x="csX595" y="csY595"/>
              </a:cxn>
              <a:cxn ang="0">
                <a:pos x="csX596" y="csY596"/>
              </a:cxn>
              <a:cxn ang="0">
                <a:pos x="csX597" y="csY597"/>
              </a:cxn>
              <a:cxn ang="0">
                <a:pos x="csX598" y="csY598"/>
              </a:cxn>
              <a:cxn ang="0">
                <a:pos x="csX599" y="csY599"/>
              </a:cxn>
              <a:cxn ang="0">
                <a:pos x="csX600" y="csY600"/>
              </a:cxn>
              <a:cxn ang="0">
                <a:pos x="csX601" y="csY601"/>
              </a:cxn>
              <a:cxn ang="0">
                <a:pos x="csX602" y="csY602"/>
              </a:cxn>
              <a:cxn ang="0">
                <a:pos x="csX603" y="csY603"/>
              </a:cxn>
              <a:cxn ang="0">
                <a:pos x="csX604" y="csY604"/>
              </a:cxn>
              <a:cxn ang="0">
                <a:pos x="csX605" y="csY605"/>
              </a:cxn>
              <a:cxn ang="0">
                <a:pos x="csX606" y="csY606"/>
              </a:cxn>
              <a:cxn ang="0">
                <a:pos x="csX607" y="csY607"/>
              </a:cxn>
              <a:cxn ang="0">
                <a:pos x="csX608" y="csY608"/>
              </a:cxn>
              <a:cxn ang="0">
                <a:pos x="csX609" y="csY609"/>
              </a:cxn>
              <a:cxn ang="0">
                <a:pos x="csX610" y="csY610"/>
              </a:cxn>
              <a:cxn ang="0">
                <a:pos x="csX611" y="csY611"/>
              </a:cxn>
              <a:cxn ang="0">
                <a:pos x="csX612" y="csY612"/>
              </a:cxn>
              <a:cxn ang="0">
                <a:pos x="csX613" y="csY613"/>
              </a:cxn>
              <a:cxn ang="0">
                <a:pos x="csX614" y="csY614"/>
              </a:cxn>
              <a:cxn ang="0">
                <a:pos x="csX615" y="csY615"/>
              </a:cxn>
              <a:cxn ang="0">
                <a:pos x="csX616" y="csY616"/>
              </a:cxn>
              <a:cxn ang="0">
                <a:pos x="csX617" y="csY617"/>
              </a:cxn>
              <a:cxn ang="0">
                <a:pos x="csX618" y="csY618"/>
              </a:cxn>
              <a:cxn ang="0">
                <a:pos x="csX619" y="csY619"/>
              </a:cxn>
              <a:cxn ang="0">
                <a:pos x="csX620" y="csY620"/>
              </a:cxn>
              <a:cxn ang="0">
                <a:pos x="csX621" y="csY621"/>
              </a:cxn>
              <a:cxn ang="0">
                <a:pos x="csX622" y="csY622"/>
              </a:cxn>
              <a:cxn ang="0">
                <a:pos x="csX623" y="csY623"/>
              </a:cxn>
              <a:cxn ang="0">
                <a:pos x="csX624" y="csY624"/>
              </a:cxn>
              <a:cxn ang="0">
                <a:pos x="csX625" y="csY625"/>
              </a:cxn>
              <a:cxn ang="0">
                <a:pos x="csX626" y="csY626"/>
              </a:cxn>
              <a:cxn ang="0">
                <a:pos x="csX627" y="csY627"/>
              </a:cxn>
              <a:cxn ang="0">
                <a:pos x="csX628" y="csY628"/>
              </a:cxn>
              <a:cxn ang="0">
                <a:pos x="csX629" y="csY629"/>
              </a:cxn>
              <a:cxn ang="0">
                <a:pos x="csX630" y="csY630"/>
              </a:cxn>
              <a:cxn ang="0">
                <a:pos x="csX631" y="csY631"/>
              </a:cxn>
              <a:cxn ang="0">
                <a:pos x="csX632" y="csY632"/>
              </a:cxn>
              <a:cxn ang="0">
                <a:pos x="csX633" y="csY633"/>
              </a:cxn>
              <a:cxn ang="0">
                <a:pos x="csX634" y="csY634"/>
              </a:cxn>
              <a:cxn ang="0">
                <a:pos x="csX635" y="csY635"/>
              </a:cxn>
              <a:cxn ang="0">
                <a:pos x="csX636" y="csY636"/>
              </a:cxn>
              <a:cxn ang="0">
                <a:pos x="csX637" y="csY637"/>
              </a:cxn>
              <a:cxn ang="0">
                <a:pos x="csX638" y="csY638"/>
              </a:cxn>
              <a:cxn ang="0">
                <a:pos x="csX639" y="csY639"/>
              </a:cxn>
              <a:cxn ang="0">
                <a:pos x="csX640" y="csY640"/>
              </a:cxn>
              <a:cxn ang="0">
                <a:pos x="csX641" y="csY641"/>
              </a:cxn>
              <a:cxn ang="0">
                <a:pos x="csX642" y="csY642"/>
              </a:cxn>
              <a:cxn ang="0">
                <a:pos x="csX643" y="csY643"/>
              </a:cxn>
              <a:cxn ang="0">
                <a:pos x="csX644" y="csY644"/>
              </a:cxn>
              <a:cxn ang="0">
                <a:pos x="csX645" y="csY645"/>
              </a:cxn>
              <a:cxn ang="0">
                <a:pos x="csX646" y="csY646"/>
              </a:cxn>
              <a:cxn ang="0">
                <a:pos x="csX647" y="csY647"/>
              </a:cxn>
              <a:cxn ang="0">
                <a:pos x="csX648" y="csY648"/>
              </a:cxn>
              <a:cxn ang="0">
                <a:pos x="csX649" y="csY649"/>
              </a:cxn>
              <a:cxn ang="0">
                <a:pos x="csX650" y="csY650"/>
              </a:cxn>
              <a:cxn ang="0">
                <a:pos x="csX651" y="csY651"/>
              </a:cxn>
              <a:cxn ang="0">
                <a:pos x="csX652" y="csY652"/>
              </a:cxn>
              <a:cxn ang="0">
                <a:pos x="csX653" y="csY653"/>
              </a:cxn>
              <a:cxn ang="0">
                <a:pos x="csX654" y="csY654"/>
              </a:cxn>
              <a:cxn ang="0">
                <a:pos x="csX655" y="csY655"/>
              </a:cxn>
              <a:cxn ang="0">
                <a:pos x="csX656" y="csY656"/>
              </a:cxn>
              <a:cxn ang="0">
                <a:pos x="csX657" y="csY657"/>
              </a:cxn>
              <a:cxn ang="0">
                <a:pos x="csX658" y="csY658"/>
              </a:cxn>
              <a:cxn ang="0">
                <a:pos x="csX659" y="csY659"/>
              </a:cxn>
              <a:cxn ang="0">
                <a:pos x="csX660" y="csY660"/>
              </a:cxn>
              <a:cxn ang="0">
                <a:pos x="csX661" y="csY661"/>
              </a:cxn>
              <a:cxn ang="0">
                <a:pos x="csX662" y="csY662"/>
              </a:cxn>
              <a:cxn ang="0">
                <a:pos x="csX663" y="csY663"/>
              </a:cxn>
              <a:cxn ang="0">
                <a:pos x="csX664" y="csY664"/>
              </a:cxn>
              <a:cxn ang="0">
                <a:pos x="csX665" y="csY665"/>
              </a:cxn>
              <a:cxn ang="0">
                <a:pos x="csX666" y="csY666"/>
              </a:cxn>
              <a:cxn ang="0">
                <a:pos x="csX667" y="csY667"/>
              </a:cxn>
              <a:cxn ang="0">
                <a:pos x="csX668" y="csY668"/>
              </a:cxn>
              <a:cxn ang="0">
                <a:pos x="csX669" y="csY669"/>
              </a:cxn>
              <a:cxn ang="0">
                <a:pos x="csX670" y="csY670"/>
              </a:cxn>
              <a:cxn ang="0">
                <a:pos x="csX671" y="csY671"/>
              </a:cxn>
              <a:cxn ang="0">
                <a:pos x="csX672" y="csY672"/>
              </a:cxn>
              <a:cxn ang="0">
                <a:pos x="csX673" y="csY673"/>
              </a:cxn>
              <a:cxn ang="0">
                <a:pos x="csX674" y="csY674"/>
              </a:cxn>
              <a:cxn ang="0">
                <a:pos x="csX675" y="csY675"/>
              </a:cxn>
              <a:cxn ang="0">
                <a:pos x="csX676" y="csY676"/>
              </a:cxn>
              <a:cxn ang="0">
                <a:pos x="csX677" y="csY677"/>
              </a:cxn>
              <a:cxn ang="0">
                <a:pos x="csX678" y="csY678"/>
              </a:cxn>
              <a:cxn ang="0">
                <a:pos x="csX679" y="csY679"/>
              </a:cxn>
              <a:cxn ang="0">
                <a:pos x="csX680" y="csY680"/>
              </a:cxn>
              <a:cxn ang="0">
                <a:pos x="csX681" y="csY681"/>
              </a:cxn>
              <a:cxn ang="0">
                <a:pos x="csX682" y="csY682"/>
              </a:cxn>
              <a:cxn ang="0">
                <a:pos x="csX683" y="csY683"/>
              </a:cxn>
              <a:cxn ang="0">
                <a:pos x="csX684" y="csY684"/>
              </a:cxn>
              <a:cxn ang="0">
                <a:pos x="csX685" y="csY685"/>
              </a:cxn>
              <a:cxn ang="0">
                <a:pos x="csX686" y="csY686"/>
              </a:cxn>
              <a:cxn ang="0">
                <a:pos x="csX687" y="csY687"/>
              </a:cxn>
              <a:cxn ang="0">
                <a:pos x="csX688" y="csY688"/>
              </a:cxn>
              <a:cxn ang="0">
                <a:pos x="csX689" y="csY689"/>
              </a:cxn>
              <a:cxn ang="0">
                <a:pos x="csX690" y="csY690"/>
              </a:cxn>
              <a:cxn ang="0">
                <a:pos x="csX691" y="csY691"/>
              </a:cxn>
              <a:cxn ang="0">
                <a:pos x="csX692" y="csY692"/>
              </a:cxn>
              <a:cxn ang="0">
                <a:pos x="csX693" y="csY693"/>
              </a:cxn>
              <a:cxn ang="0">
                <a:pos x="csX694" y="csY694"/>
              </a:cxn>
              <a:cxn ang="0">
                <a:pos x="csX695" y="csY695"/>
              </a:cxn>
              <a:cxn ang="0">
                <a:pos x="csX696" y="csY696"/>
              </a:cxn>
              <a:cxn ang="0">
                <a:pos x="csX697" y="csY697"/>
              </a:cxn>
              <a:cxn ang="0">
                <a:pos x="csX698" y="csY698"/>
              </a:cxn>
              <a:cxn ang="0">
                <a:pos x="csX699" y="csY699"/>
              </a:cxn>
              <a:cxn ang="0">
                <a:pos x="csX700" y="csY700"/>
              </a:cxn>
              <a:cxn ang="0">
                <a:pos x="csX701" y="csY701"/>
              </a:cxn>
              <a:cxn ang="0">
                <a:pos x="csX702" y="csY702"/>
              </a:cxn>
              <a:cxn ang="0">
                <a:pos x="csX703" y="csY703"/>
              </a:cxn>
              <a:cxn ang="0">
                <a:pos x="csX704" y="csY704"/>
              </a:cxn>
              <a:cxn ang="0">
                <a:pos x="csX705" y="csY705"/>
              </a:cxn>
              <a:cxn ang="0">
                <a:pos x="csX706" y="csY706"/>
              </a:cxn>
              <a:cxn ang="0">
                <a:pos x="csX707" y="csY707"/>
              </a:cxn>
              <a:cxn ang="0">
                <a:pos x="csX708" y="csY708"/>
              </a:cxn>
              <a:cxn ang="0">
                <a:pos x="csX709" y="csY709"/>
              </a:cxn>
              <a:cxn ang="0">
                <a:pos x="csX710" y="csY710"/>
              </a:cxn>
              <a:cxn ang="0">
                <a:pos x="csX711" y="csY711"/>
              </a:cxn>
              <a:cxn ang="0">
                <a:pos x="csX712" y="csY712"/>
              </a:cxn>
              <a:cxn ang="0">
                <a:pos x="csX713" y="csY713"/>
              </a:cxn>
              <a:cxn ang="0">
                <a:pos x="csX714" y="csY714"/>
              </a:cxn>
              <a:cxn ang="0">
                <a:pos x="csX715" y="csY715"/>
              </a:cxn>
              <a:cxn ang="0">
                <a:pos x="csX716" y="csY716"/>
              </a:cxn>
              <a:cxn ang="0">
                <a:pos x="csX717" y="csY717"/>
              </a:cxn>
              <a:cxn ang="0">
                <a:pos x="csX718" y="csY718"/>
              </a:cxn>
              <a:cxn ang="0">
                <a:pos x="csX719" y="csY719"/>
              </a:cxn>
              <a:cxn ang="0">
                <a:pos x="csX720" y="csY720"/>
              </a:cxn>
              <a:cxn ang="0">
                <a:pos x="csX721" y="csY721"/>
              </a:cxn>
              <a:cxn ang="0">
                <a:pos x="csX722" y="csY722"/>
              </a:cxn>
              <a:cxn ang="0">
                <a:pos x="csX723" y="csY723"/>
              </a:cxn>
              <a:cxn ang="0">
                <a:pos x="csX724" y="csY724"/>
              </a:cxn>
              <a:cxn ang="0">
                <a:pos x="csX725" y="csY725"/>
              </a:cxn>
              <a:cxn ang="0">
                <a:pos x="csX726" y="csY726"/>
              </a:cxn>
              <a:cxn ang="0">
                <a:pos x="csX727" y="csY727"/>
              </a:cxn>
              <a:cxn ang="0">
                <a:pos x="csX728" y="csY728"/>
              </a:cxn>
              <a:cxn ang="0">
                <a:pos x="csX729" y="csY729"/>
              </a:cxn>
              <a:cxn ang="0">
                <a:pos x="csX730" y="csY730"/>
              </a:cxn>
              <a:cxn ang="0">
                <a:pos x="csX731" y="csY731"/>
              </a:cxn>
              <a:cxn ang="0">
                <a:pos x="csX732" y="csY732"/>
              </a:cxn>
              <a:cxn ang="0">
                <a:pos x="csX733" y="csY733"/>
              </a:cxn>
              <a:cxn ang="0">
                <a:pos x="csX734" y="csY734"/>
              </a:cxn>
              <a:cxn ang="0">
                <a:pos x="csX735" y="csY735"/>
              </a:cxn>
              <a:cxn ang="0">
                <a:pos x="csX736" y="csY736"/>
              </a:cxn>
              <a:cxn ang="0">
                <a:pos x="csX737" y="csY737"/>
              </a:cxn>
              <a:cxn ang="0">
                <a:pos x="csX738" y="csY738"/>
              </a:cxn>
              <a:cxn ang="0">
                <a:pos x="csX739" y="csY739"/>
              </a:cxn>
              <a:cxn ang="0">
                <a:pos x="csX740" y="csY740"/>
              </a:cxn>
              <a:cxn ang="0">
                <a:pos x="csX741" y="csY741"/>
              </a:cxn>
              <a:cxn ang="0">
                <a:pos x="csX742" y="csY742"/>
              </a:cxn>
              <a:cxn ang="0">
                <a:pos x="csX743" y="csY743"/>
              </a:cxn>
              <a:cxn ang="0">
                <a:pos x="csX744" y="csY744"/>
              </a:cxn>
              <a:cxn ang="0">
                <a:pos x="csX745" y="csY745"/>
              </a:cxn>
              <a:cxn ang="0">
                <a:pos x="csX746" y="csY746"/>
              </a:cxn>
              <a:cxn ang="0">
                <a:pos x="csX747" y="csY747"/>
              </a:cxn>
              <a:cxn ang="0">
                <a:pos x="csX748" y="csY748"/>
              </a:cxn>
              <a:cxn ang="0">
                <a:pos x="csX749" y="csY749"/>
              </a:cxn>
              <a:cxn ang="0">
                <a:pos x="csX750" y="csY750"/>
              </a:cxn>
              <a:cxn ang="0">
                <a:pos x="csX751" y="csY751"/>
              </a:cxn>
              <a:cxn ang="0">
                <a:pos x="csX752" y="csY752"/>
              </a:cxn>
              <a:cxn ang="0">
                <a:pos x="csX753" y="csY753"/>
              </a:cxn>
              <a:cxn ang="0">
                <a:pos x="csX754" y="csY754"/>
              </a:cxn>
              <a:cxn ang="0">
                <a:pos x="csX755" y="csY755"/>
              </a:cxn>
              <a:cxn ang="0">
                <a:pos x="csX756" y="csY756"/>
              </a:cxn>
              <a:cxn ang="0">
                <a:pos x="csX757" y="csY757"/>
              </a:cxn>
              <a:cxn ang="0">
                <a:pos x="csX758" y="csY758"/>
              </a:cxn>
              <a:cxn ang="0">
                <a:pos x="csX759" y="csY759"/>
              </a:cxn>
              <a:cxn ang="0">
                <a:pos x="csX760" y="csY760"/>
              </a:cxn>
              <a:cxn ang="0">
                <a:pos x="csX761" y="csY761"/>
              </a:cxn>
              <a:cxn ang="0">
                <a:pos x="csX762" y="csY762"/>
              </a:cxn>
              <a:cxn ang="0">
                <a:pos x="csX763" y="csY763"/>
              </a:cxn>
              <a:cxn ang="0">
                <a:pos x="csX764" y="csY764"/>
              </a:cxn>
              <a:cxn ang="0">
                <a:pos x="csX765" y="csY765"/>
              </a:cxn>
              <a:cxn ang="0">
                <a:pos x="csX766" y="csY766"/>
              </a:cxn>
              <a:cxn ang="0">
                <a:pos x="csX767" y="csY767"/>
              </a:cxn>
              <a:cxn ang="0">
                <a:pos x="csX768" y="csY768"/>
              </a:cxn>
              <a:cxn ang="0">
                <a:pos x="csX769" y="csY769"/>
              </a:cxn>
              <a:cxn ang="0">
                <a:pos x="csX770" y="csY770"/>
              </a:cxn>
              <a:cxn ang="0">
                <a:pos x="csX771" y="csY771"/>
              </a:cxn>
              <a:cxn ang="0">
                <a:pos x="csX772" y="csY772"/>
              </a:cxn>
              <a:cxn ang="0">
                <a:pos x="csX773" y="csY773"/>
              </a:cxn>
              <a:cxn ang="0">
                <a:pos x="csX774" y="csY774"/>
              </a:cxn>
              <a:cxn ang="0">
                <a:pos x="csX775" y="csY775"/>
              </a:cxn>
              <a:cxn ang="0">
                <a:pos x="csX776" y="csY776"/>
              </a:cxn>
              <a:cxn ang="0">
                <a:pos x="csX777" y="csY777"/>
              </a:cxn>
              <a:cxn ang="0">
                <a:pos x="csX778" y="csY778"/>
              </a:cxn>
              <a:cxn ang="0">
                <a:pos x="csX779" y="csY779"/>
              </a:cxn>
              <a:cxn ang="0">
                <a:pos x="csX780" y="csY780"/>
              </a:cxn>
              <a:cxn ang="0">
                <a:pos x="csX781" y="csY781"/>
              </a:cxn>
              <a:cxn ang="0">
                <a:pos x="csX782" y="csY782"/>
              </a:cxn>
              <a:cxn ang="0">
                <a:pos x="csX783" y="csY783"/>
              </a:cxn>
              <a:cxn ang="0">
                <a:pos x="csX784" y="csY784"/>
              </a:cxn>
              <a:cxn ang="0">
                <a:pos x="csX785" y="csY785"/>
              </a:cxn>
              <a:cxn ang="0">
                <a:pos x="csX786" y="csY786"/>
              </a:cxn>
              <a:cxn ang="0">
                <a:pos x="csX787" y="csY787"/>
              </a:cxn>
              <a:cxn ang="0">
                <a:pos x="csX788" y="csY788"/>
              </a:cxn>
              <a:cxn ang="0">
                <a:pos x="csX789" y="csY789"/>
              </a:cxn>
              <a:cxn ang="0">
                <a:pos x="csX790" y="csY790"/>
              </a:cxn>
              <a:cxn ang="0">
                <a:pos x="csX791" y="csY791"/>
              </a:cxn>
              <a:cxn ang="0">
                <a:pos x="csX792" y="csY792"/>
              </a:cxn>
              <a:cxn ang="0">
                <a:pos x="csX793" y="csY793"/>
              </a:cxn>
              <a:cxn ang="0">
                <a:pos x="csX794" y="csY794"/>
              </a:cxn>
              <a:cxn ang="0">
                <a:pos x="csX795" y="csY795"/>
              </a:cxn>
              <a:cxn ang="0">
                <a:pos x="csX796" y="csY796"/>
              </a:cxn>
              <a:cxn ang="0">
                <a:pos x="csX797" y="csY797"/>
              </a:cxn>
              <a:cxn ang="0">
                <a:pos x="csX798" y="csY798"/>
              </a:cxn>
              <a:cxn ang="0">
                <a:pos x="csX799" y="csY799"/>
              </a:cxn>
              <a:cxn ang="0">
                <a:pos x="csX800" y="csY800"/>
              </a:cxn>
              <a:cxn ang="0">
                <a:pos x="csX801" y="csY801"/>
              </a:cxn>
              <a:cxn ang="0">
                <a:pos x="csX802" y="csY802"/>
              </a:cxn>
              <a:cxn ang="0">
                <a:pos x="csX803" y="csY803"/>
              </a:cxn>
              <a:cxn ang="0">
                <a:pos x="csX804" y="csY804"/>
              </a:cxn>
              <a:cxn ang="0">
                <a:pos x="csX805" y="csY805"/>
              </a:cxn>
              <a:cxn ang="0">
                <a:pos x="csX806" y="csY806"/>
              </a:cxn>
              <a:cxn ang="0">
                <a:pos x="csX807" y="csY807"/>
              </a:cxn>
              <a:cxn ang="0">
                <a:pos x="csX808" y="csY808"/>
              </a:cxn>
              <a:cxn ang="0">
                <a:pos x="csX809" y="csY809"/>
              </a:cxn>
              <a:cxn ang="0">
                <a:pos x="csX810" y="csY810"/>
              </a:cxn>
              <a:cxn ang="0">
                <a:pos x="csX811" y="csY811"/>
              </a:cxn>
              <a:cxn ang="0">
                <a:pos x="csX812" y="csY812"/>
              </a:cxn>
              <a:cxn ang="0">
                <a:pos x="csX813" y="csY813"/>
              </a:cxn>
              <a:cxn ang="0">
                <a:pos x="csX814" y="csY814"/>
              </a:cxn>
              <a:cxn ang="0">
                <a:pos x="csX815" y="csY815"/>
              </a:cxn>
              <a:cxn ang="0">
                <a:pos x="csX816" y="csY816"/>
              </a:cxn>
              <a:cxn ang="0">
                <a:pos x="csX817" y="csY817"/>
              </a:cxn>
              <a:cxn ang="0">
                <a:pos x="csX818" y="csY818"/>
              </a:cxn>
              <a:cxn ang="0">
                <a:pos x="csX819" y="csY819"/>
              </a:cxn>
              <a:cxn ang="0">
                <a:pos x="csX820" y="csY820"/>
              </a:cxn>
              <a:cxn ang="0">
                <a:pos x="csX821" y="csY821"/>
              </a:cxn>
              <a:cxn ang="0">
                <a:pos x="csX822" y="csY822"/>
              </a:cxn>
              <a:cxn ang="0">
                <a:pos x="csX823" y="csY823"/>
              </a:cxn>
              <a:cxn ang="0">
                <a:pos x="csX824" y="csY824"/>
              </a:cxn>
              <a:cxn ang="0">
                <a:pos x="csX825" y="csY825"/>
              </a:cxn>
              <a:cxn ang="0">
                <a:pos x="csX826" y="csY826"/>
              </a:cxn>
              <a:cxn ang="0">
                <a:pos x="csX827" y="csY827"/>
              </a:cxn>
              <a:cxn ang="0">
                <a:pos x="csX828" y="csY828"/>
              </a:cxn>
              <a:cxn ang="0">
                <a:pos x="csX829" y="csY829"/>
              </a:cxn>
              <a:cxn ang="0">
                <a:pos x="csX830" y="csY830"/>
              </a:cxn>
              <a:cxn ang="0">
                <a:pos x="csX831" y="csY831"/>
              </a:cxn>
              <a:cxn ang="0">
                <a:pos x="csX832" y="csY832"/>
              </a:cxn>
              <a:cxn ang="0">
                <a:pos x="csX833" y="csY833"/>
              </a:cxn>
              <a:cxn ang="0">
                <a:pos x="csX834" y="csY834"/>
              </a:cxn>
              <a:cxn ang="0">
                <a:pos x="csX835" y="csY835"/>
              </a:cxn>
              <a:cxn ang="0">
                <a:pos x="csX836" y="csY836"/>
              </a:cxn>
              <a:cxn ang="0">
                <a:pos x="csX837" y="csY837"/>
              </a:cxn>
              <a:cxn ang="0">
                <a:pos x="csX838" y="csY838"/>
              </a:cxn>
              <a:cxn ang="0">
                <a:pos x="csX839" y="csY839"/>
              </a:cxn>
              <a:cxn ang="0">
                <a:pos x="csX840" y="csY840"/>
              </a:cxn>
              <a:cxn ang="0">
                <a:pos x="csX841" y="csY841"/>
              </a:cxn>
              <a:cxn ang="0">
                <a:pos x="csX842" y="csY842"/>
              </a:cxn>
              <a:cxn ang="0">
                <a:pos x="csX843" y="csY843"/>
              </a:cxn>
              <a:cxn ang="0">
                <a:pos x="csX844" y="csY844"/>
              </a:cxn>
              <a:cxn ang="0">
                <a:pos x="csX845" y="csY845"/>
              </a:cxn>
              <a:cxn ang="0">
                <a:pos x="csX846" y="csY846"/>
              </a:cxn>
              <a:cxn ang="0">
                <a:pos x="csX847" y="csY847"/>
              </a:cxn>
              <a:cxn ang="0">
                <a:pos x="csX848" y="csY848"/>
              </a:cxn>
              <a:cxn ang="0">
                <a:pos x="csX849" y="csY849"/>
              </a:cxn>
              <a:cxn ang="0">
                <a:pos x="csX850" y="csY850"/>
              </a:cxn>
              <a:cxn ang="0">
                <a:pos x="csX851" y="csY851"/>
              </a:cxn>
              <a:cxn ang="0">
                <a:pos x="csX852" y="csY852"/>
              </a:cxn>
              <a:cxn ang="0">
                <a:pos x="csX853" y="csY853"/>
              </a:cxn>
              <a:cxn ang="0">
                <a:pos x="csX854" y="csY854"/>
              </a:cxn>
              <a:cxn ang="0">
                <a:pos x="csX855" y="csY855"/>
              </a:cxn>
              <a:cxn ang="0">
                <a:pos x="csX856" y="csY856"/>
              </a:cxn>
              <a:cxn ang="0">
                <a:pos x="csX857" y="csY857"/>
              </a:cxn>
              <a:cxn ang="0">
                <a:pos x="csX858" y="csY858"/>
              </a:cxn>
              <a:cxn ang="0">
                <a:pos x="csX859" y="csY859"/>
              </a:cxn>
              <a:cxn ang="0">
                <a:pos x="csX860" y="csY860"/>
              </a:cxn>
              <a:cxn ang="0">
                <a:pos x="csX861" y="csY861"/>
              </a:cxn>
              <a:cxn ang="0">
                <a:pos x="csX862" y="csY862"/>
              </a:cxn>
              <a:cxn ang="0">
                <a:pos x="csX863" y="csY863"/>
              </a:cxn>
              <a:cxn ang="0">
                <a:pos x="csX864" y="csY864"/>
              </a:cxn>
              <a:cxn ang="0">
                <a:pos x="csX865" y="csY865"/>
              </a:cxn>
              <a:cxn ang="0">
                <a:pos x="csX866" y="csY866"/>
              </a:cxn>
              <a:cxn ang="0">
                <a:pos x="csX867" y="csY867"/>
              </a:cxn>
              <a:cxn ang="0">
                <a:pos x="csX868" y="csY868"/>
              </a:cxn>
              <a:cxn ang="0">
                <a:pos x="csX869" y="csY869"/>
              </a:cxn>
              <a:cxn ang="0">
                <a:pos x="csX870" y="csY870"/>
              </a:cxn>
              <a:cxn ang="0">
                <a:pos x="csX871" y="csY871"/>
              </a:cxn>
              <a:cxn ang="0">
                <a:pos x="csX872" y="csY872"/>
              </a:cxn>
              <a:cxn ang="0">
                <a:pos x="csX873" y="csY873"/>
              </a:cxn>
              <a:cxn ang="0">
                <a:pos x="csX874" y="csY874"/>
              </a:cxn>
              <a:cxn ang="0">
                <a:pos x="csX875" y="csY875"/>
              </a:cxn>
              <a:cxn ang="0">
                <a:pos x="csX876" y="csY876"/>
              </a:cxn>
              <a:cxn ang="0">
                <a:pos x="csX877" y="csY877"/>
              </a:cxn>
              <a:cxn ang="0">
                <a:pos x="csX878" y="csY878"/>
              </a:cxn>
              <a:cxn ang="0">
                <a:pos x="csX879" y="csY879"/>
              </a:cxn>
              <a:cxn ang="0">
                <a:pos x="csX880" y="csY880"/>
              </a:cxn>
              <a:cxn ang="0">
                <a:pos x="csX881" y="csY881"/>
              </a:cxn>
              <a:cxn ang="0">
                <a:pos x="csX882" y="csY882"/>
              </a:cxn>
              <a:cxn ang="0">
                <a:pos x="csX883" y="csY883"/>
              </a:cxn>
              <a:cxn ang="0">
                <a:pos x="csX884" y="csY884"/>
              </a:cxn>
              <a:cxn ang="0">
                <a:pos x="csX885" y="csY885"/>
              </a:cxn>
              <a:cxn ang="0">
                <a:pos x="csX886" y="csY886"/>
              </a:cxn>
              <a:cxn ang="0">
                <a:pos x="csX887" y="csY887"/>
              </a:cxn>
              <a:cxn ang="0">
                <a:pos x="csX888" y="csY888"/>
              </a:cxn>
              <a:cxn ang="0">
                <a:pos x="csX889" y="csY889"/>
              </a:cxn>
              <a:cxn ang="0">
                <a:pos x="csX890" y="csY890"/>
              </a:cxn>
              <a:cxn ang="0">
                <a:pos x="csX891" y="csY891"/>
              </a:cxn>
              <a:cxn ang="0">
                <a:pos x="csX892" y="csY892"/>
              </a:cxn>
              <a:cxn ang="0">
                <a:pos x="csX893" y="csY893"/>
              </a:cxn>
              <a:cxn ang="0">
                <a:pos x="csX894" y="csY894"/>
              </a:cxn>
              <a:cxn ang="0">
                <a:pos x="csX895" y="csY895"/>
              </a:cxn>
              <a:cxn ang="0">
                <a:pos x="csX896" y="csY896"/>
              </a:cxn>
              <a:cxn ang="0">
                <a:pos x="csX897" y="csY897"/>
              </a:cxn>
              <a:cxn ang="0">
                <a:pos x="csX898" y="csY898"/>
              </a:cxn>
              <a:cxn ang="0">
                <a:pos x="csX899" y="csY899"/>
              </a:cxn>
              <a:cxn ang="0">
                <a:pos x="csX900" y="csY900"/>
              </a:cxn>
              <a:cxn ang="0">
                <a:pos x="csX901" y="csY901"/>
              </a:cxn>
              <a:cxn ang="0">
                <a:pos x="csX902" y="csY902"/>
              </a:cxn>
              <a:cxn ang="0">
                <a:pos x="csX903" y="csY903"/>
              </a:cxn>
              <a:cxn ang="0">
                <a:pos x="csX904" y="csY904"/>
              </a:cxn>
              <a:cxn ang="0">
                <a:pos x="csX905" y="csY905"/>
              </a:cxn>
              <a:cxn ang="0">
                <a:pos x="csX906" y="csY906"/>
              </a:cxn>
              <a:cxn ang="0">
                <a:pos x="csX907" y="csY907"/>
              </a:cxn>
              <a:cxn ang="0">
                <a:pos x="csX908" y="csY908"/>
              </a:cxn>
              <a:cxn ang="0">
                <a:pos x="csX909" y="csY909"/>
              </a:cxn>
              <a:cxn ang="0">
                <a:pos x="csX910" y="csY910"/>
              </a:cxn>
              <a:cxn ang="0">
                <a:pos x="csX911" y="csY911"/>
              </a:cxn>
              <a:cxn ang="0">
                <a:pos x="csX912" y="csY912"/>
              </a:cxn>
              <a:cxn ang="0">
                <a:pos x="csX913" y="csY913"/>
              </a:cxn>
              <a:cxn ang="0">
                <a:pos x="csX914" y="csY914"/>
              </a:cxn>
              <a:cxn ang="0">
                <a:pos x="csX915" y="csY915"/>
              </a:cxn>
              <a:cxn ang="0">
                <a:pos x="csX916" y="csY916"/>
              </a:cxn>
              <a:cxn ang="0">
                <a:pos x="csX917" y="csY917"/>
              </a:cxn>
              <a:cxn ang="0">
                <a:pos x="csX918" y="csY918"/>
              </a:cxn>
              <a:cxn ang="0">
                <a:pos x="csX919" y="csY919"/>
              </a:cxn>
              <a:cxn ang="0">
                <a:pos x="csX920" y="csY920"/>
              </a:cxn>
              <a:cxn ang="0">
                <a:pos x="csX921" y="csY921"/>
              </a:cxn>
              <a:cxn ang="0">
                <a:pos x="csX922" y="csY922"/>
              </a:cxn>
              <a:cxn ang="0">
                <a:pos x="csX923" y="csY923"/>
              </a:cxn>
              <a:cxn ang="0">
                <a:pos x="csX924" y="csY924"/>
              </a:cxn>
              <a:cxn ang="0">
                <a:pos x="csX925" y="csY925"/>
              </a:cxn>
              <a:cxn ang="0">
                <a:pos x="csX926" y="csY926"/>
              </a:cxn>
              <a:cxn ang="0">
                <a:pos x="csX927" y="csY927"/>
              </a:cxn>
              <a:cxn ang="0">
                <a:pos x="csX928" y="csY928"/>
              </a:cxn>
              <a:cxn ang="0">
                <a:pos x="csX929" y="csY929"/>
              </a:cxn>
              <a:cxn ang="0">
                <a:pos x="csX930" y="csY930"/>
              </a:cxn>
              <a:cxn ang="0">
                <a:pos x="csX931" y="csY931"/>
              </a:cxn>
              <a:cxn ang="0">
                <a:pos x="csX932" y="csY932"/>
              </a:cxn>
              <a:cxn ang="0">
                <a:pos x="csX933" y="csY933"/>
              </a:cxn>
              <a:cxn ang="0">
                <a:pos x="csX934" y="csY934"/>
              </a:cxn>
              <a:cxn ang="0">
                <a:pos x="csX935" y="csY935"/>
              </a:cxn>
              <a:cxn ang="0">
                <a:pos x="csX936" y="csY936"/>
              </a:cxn>
              <a:cxn ang="0">
                <a:pos x="csX937" y="csY937"/>
              </a:cxn>
              <a:cxn ang="0">
                <a:pos x="csX938" y="csY938"/>
              </a:cxn>
              <a:cxn ang="0">
                <a:pos x="csX939" y="csY939"/>
              </a:cxn>
              <a:cxn ang="0">
                <a:pos x="csX940" y="csY940"/>
              </a:cxn>
              <a:cxn ang="0">
                <a:pos x="csX941" y="csY941"/>
              </a:cxn>
              <a:cxn ang="0">
                <a:pos x="csX942" y="csY942"/>
              </a:cxn>
              <a:cxn ang="0">
                <a:pos x="csX943" y="csY943"/>
              </a:cxn>
              <a:cxn ang="0">
                <a:pos x="csX944" y="csY944"/>
              </a:cxn>
              <a:cxn ang="0">
                <a:pos x="csX945" y="csY945"/>
              </a:cxn>
              <a:cxn ang="0">
                <a:pos x="csX946" y="csY946"/>
              </a:cxn>
              <a:cxn ang="0">
                <a:pos x="csX947" y="csY947"/>
              </a:cxn>
              <a:cxn ang="0">
                <a:pos x="csX948" y="csY948"/>
              </a:cxn>
              <a:cxn ang="0">
                <a:pos x="csX949" y="csY949"/>
              </a:cxn>
              <a:cxn ang="0">
                <a:pos x="csX950" y="csY950"/>
              </a:cxn>
              <a:cxn ang="0">
                <a:pos x="csX951" y="csY951"/>
              </a:cxn>
              <a:cxn ang="0">
                <a:pos x="csX952" y="csY952"/>
              </a:cxn>
              <a:cxn ang="0">
                <a:pos x="csX953" y="csY953"/>
              </a:cxn>
              <a:cxn ang="0">
                <a:pos x="csX954" y="csY954"/>
              </a:cxn>
              <a:cxn ang="0">
                <a:pos x="csX955" y="csY955"/>
              </a:cxn>
              <a:cxn ang="0">
                <a:pos x="csX956" y="csY956"/>
              </a:cxn>
              <a:cxn ang="0">
                <a:pos x="csX957" y="csY957"/>
              </a:cxn>
              <a:cxn ang="0">
                <a:pos x="csX958" y="csY958"/>
              </a:cxn>
              <a:cxn ang="0">
                <a:pos x="csX959" y="csY959"/>
              </a:cxn>
              <a:cxn ang="0">
                <a:pos x="csX960" y="csY960"/>
              </a:cxn>
              <a:cxn ang="0">
                <a:pos x="csX961" y="csY961"/>
              </a:cxn>
              <a:cxn ang="0">
                <a:pos x="csX962" y="csY962"/>
              </a:cxn>
              <a:cxn ang="0">
                <a:pos x="csX963" y="csY963"/>
              </a:cxn>
              <a:cxn ang="0">
                <a:pos x="csX964" y="csY964"/>
              </a:cxn>
              <a:cxn ang="0">
                <a:pos x="csX965" y="csY965"/>
              </a:cxn>
              <a:cxn ang="0">
                <a:pos x="csX966" y="csY966"/>
              </a:cxn>
              <a:cxn ang="0">
                <a:pos x="csX967" y="csY967"/>
              </a:cxn>
              <a:cxn ang="0">
                <a:pos x="csX968" y="csY968"/>
              </a:cxn>
              <a:cxn ang="0">
                <a:pos x="csX969" y="csY969"/>
              </a:cxn>
              <a:cxn ang="0">
                <a:pos x="csX970" y="csY970"/>
              </a:cxn>
              <a:cxn ang="0">
                <a:pos x="csX971" y="csY971"/>
              </a:cxn>
              <a:cxn ang="0">
                <a:pos x="csX972" y="csY972"/>
              </a:cxn>
              <a:cxn ang="0">
                <a:pos x="csX973" y="csY973"/>
              </a:cxn>
              <a:cxn ang="0">
                <a:pos x="csX974" y="csY974"/>
              </a:cxn>
              <a:cxn ang="0">
                <a:pos x="csX975" y="csY975"/>
              </a:cxn>
              <a:cxn ang="0">
                <a:pos x="csX976" y="csY976"/>
              </a:cxn>
              <a:cxn ang="0">
                <a:pos x="csX977" y="csY977"/>
              </a:cxn>
              <a:cxn ang="0">
                <a:pos x="csX978" y="csY978"/>
              </a:cxn>
              <a:cxn ang="0">
                <a:pos x="csX979" y="csY979"/>
              </a:cxn>
              <a:cxn ang="0">
                <a:pos x="csX980" y="csY980"/>
              </a:cxn>
              <a:cxn ang="0">
                <a:pos x="csX981" y="csY981"/>
              </a:cxn>
              <a:cxn ang="0">
                <a:pos x="csX982" y="csY982"/>
              </a:cxn>
              <a:cxn ang="0">
                <a:pos x="csX983" y="csY983"/>
              </a:cxn>
              <a:cxn ang="0">
                <a:pos x="csX984" y="csY984"/>
              </a:cxn>
              <a:cxn ang="0">
                <a:pos x="csX985" y="csY985"/>
              </a:cxn>
              <a:cxn ang="0">
                <a:pos x="csX986" y="csY986"/>
              </a:cxn>
              <a:cxn ang="0">
                <a:pos x="csX987" y="csY987"/>
              </a:cxn>
              <a:cxn ang="0">
                <a:pos x="csX988" y="csY988"/>
              </a:cxn>
              <a:cxn ang="0">
                <a:pos x="csX989" y="csY989"/>
              </a:cxn>
              <a:cxn ang="0">
                <a:pos x="csX990" y="csY990"/>
              </a:cxn>
              <a:cxn ang="0">
                <a:pos x="csX991" y="csY991"/>
              </a:cxn>
              <a:cxn ang="0">
                <a:pos x="csX992" y="csY992"/>
              </a:cxn>
              <a:cxn ang="0">
                <a:pos x="csX993" y="csY993"/>
              </a:cxn>
              <a:cxn ang="0">
                <a:pos x="csX994" y="csY994"/>
              </a:cxn>
              <a:cxn ang="0">
                <a:pos x="csX995" y="csY995"/>
              </a:cxn>
              <a:cxn ang="0">
                <a:pos x="csX996" y="csY996"/>
              </a:cxn>
              <a:cxn ang="0">
                <a:pos x="csX997" y="csY997"/>
              </a:cxn>
              <a:cxn ang="0">
                <a:pos x="csX998" y="csY998"/>
              </a:cxn>
              <a:cxn ang="0">
                <a:pos x="csX999" y="csY999"/>
              </a:cxn>
              <a:cxn ang="0">
                <a:pos x="csX1000" y="csY1000"/>
              </a:cxn>
              <a:cxn ang="0">
                <a:pos x="csX1001" y="csY1001"/>
              </a:cxn>
              <a:cxn ang="0">
                <a:pos x="csX1002" y="csY1002"/>
              </a:cxn>
              <a:cxn ang="0">
                <a:pos x="csX1003" y="csY1003"/>
              </a:cxn>
              <a:cxn ang="0">
                <a:pos x="csX1004" y="csY1004"/>
              </a:cxn>
              <a:cxn ang="0">
                <a:pos x="csX1005" y="csY1005"/>
              </a:cxn>
              <a:cxn ang="0">
                <a:pos x="csX1006" y="csY1006"/>
              </a:cxn>
              <a:cxn ang="0">
                <a:pos x="csX1007" y="csY1007"/>
              </a:cxn>
              <a:cxn ang="0">
                <a:pos x="csX1008" y="csY1008"/>
              </a:cxn>
              <a:cxn ang="0">
                <a:pos x="csX1009" y="csY1009"/>
              </a:cxn>
              <a:cxn ang="0">
                <a:pos x="csX1010" y="csY1010"/>
              </a:cxn>
              <a:cxn ang="0">
                <a:pos x="csX1011" y="csY1011"/>
              </a:cxn>
              <a:cxn ang="0">
                <a:pos x="csX1012" y="csY1012"/>
              </a:cxn>
              <a:cxn ang="0">
                <a:pos x="csX1013" y="csY1013"/>
              </a:cxn>
              <a:cxn ang="0">
                <a:pos x="csX1014" y="csY1014"/>
              </a:cxn>
              <a:cxn ang="0">
                <a:pos x="csX1015" y="csY1015"/>
              </a:cxn>
              <a:cxn ang="0">
                <a:pos x="csX1016" y="csY1016"/>
              </a:cxn>
              <a:cxn ang="0">
                <a:pos x="csX1017" y="csY1017"/>
              </a:cxn>
              <a:cxn ang="0">
                <a:pos x="csX1018" y="csY1018"/>
              </a:cxn>
              <a:cxn ang="0">
                <a:pos x="csX1019" y="csY1019"/>
              </a:cxn>
              <a:cxn ang="0">
                <a:pos x="csX1020" y="csY1020"/>
              </a:cxn>
              <a:cxn ang="0">
                <a:pos x="csX1021" y="csY1021"/>
              </a:cxn>
              <a:cxn ang="0">
                <a:pos x="csX1022" y="csY1022"/>
              </a:cxn>
              <a:cxn ang="0">
                <a:pos x="csX1023" y="csY1023"/>
              </a:cxn>
              <a:cxn ang="0">
                <a:pos x="csX1024" y="csY1024"/>
              </a:cxn>
              <a:cxn ang="0">
                <a:pos x="csX1025" y="csY1025"/>
              </a:cxn>
              <a:cxn ang="0">
                <a:pos x="csX1026" y="csY1026"/>
              </a:cxn>
              <a:cxn ang="0">
                <a:pos x="csX1027" y="csY1027"/>
              </a:cxn>
              <a:cxn ang="0">
                <a:pos x="csX1028" y="csY1028"/>
              </a:cxn>
              <a:cxn ang="0">
                <a:pos x="csX1029" y="csY1029"/>
              </a:cxn>
              <a:cxn ang="0">
                <a:pos x="csX1030" y="csY1030"/>
              </a:cxn>
              <a:cxn ang="0">
                <a:pos x="csX1031" y="csY1031"/>
              </a:cxn>
              <a:cxn ang="0">
                <a:pos x="csX1032" y="csY1032"/>
              </a:cxn>
              <a:cxn ang="0">
                <a:pos x="csX1033" y="csY1033"/>
              </a:cxn>
              <a:cxn ang="0">
                <a:pos x="csX1034" y="csY1034"/>
              </a:cxn>
              <a:cxn ang="0">
                <a:pos x="csX1035" y="csY1035"/>
              </a:cxn>
              <a:cxn ang="0">
                <a:pos x="csX1036" y="csY1036"/>
              </a:cxn>
              <a:cxn ang="0">
                <a:pos x="csX1037" y="csY1037"/>
              </a:cxn>
              <a:cxn ang="0">
                <a:pos x="csX1038" y="csY1038"/>
              </a:cxn>
              <a:cxn ang="0">
                <a:pos x="csX1039" y="csY1039"/>
              </a:cxn>
              <a:cxn ang="0">
                <a:pos x="csX1040" y="csY1040"/>
              </a:cxn>
              <a:cxn ang="0">
                <a:pos x="csX1041" y="csY1041"/>
              </a:cxn>
              <a:cxn ang="0">
                <a:pos x="csX1042" y="csY1042"/>
              </a:cxn>
              <a:cxn ang="0">
                <a:pos x="csX1043" y="csY1043"/>
              </a:cxn>
              <a:cxn ang="0">
                <a:pos x="csX1044" y="csY1044"/>
              </a:cxn>
              <a:cxn ang="0">
                <a:pos x="csX1045" y="csY1045"/>
              </a:cxn>
              <a:cxn ang="0">
                <a:pos x="csX1046" y="csY1046"/>
              </a:cxn>
              <a:cxn ang="0">
                <a:pos x="csX1047" y="csY1047"/>
              </a:cxn>
              <a:cxn ang="0">
                <a:pos x="csX1048" y="csY1048"/>
              </a:cxn>
              <a:cxn ang="0">
                <a:pos x="csX1049" y="csY1049"/>
              </a:cxn>
              <a:cxn ang="0">
                <a:pos x="csX1050" y="csY1050"/>
              </a:cxn>
              <a:cxn ang="0">
                <a:pos x="csX1051" y="csY1051"/>
              </a:cxn>
              <a:cxn ang="0">
                <a:pos x="csX1052" y="csY1052"/>
              </a:cxn>
              <a:cxn ang="0">
                <a:pos x="csX1053" y="csY1053"/>
              </a:cxn>
              <a:cxn ang="0">
                <a:pos x="csX1054" y="csY1054"/>
              </a:cxn>
            </a:cxnLst>
            <a:rect l="l" t="t" r="r" b="b"/>
            <a:pathLst>
              <a:path w="1609516" h="1538630">
                <a:moveTo>
                  <a:pt x="401579" y="1495809"/>
                </a:moveTo>
                <a:lnTo>
                  <a:pt x="400190" y="1496004"/>
                </a:lnTo>
                <a:lnTo>
                  <a:pt x="401224" y="1496470"/>
                </a:lnTo>
                <a:lnTo>
                  <a:pt x="401224" y="1498590"/>
                </a:lnTo>
                <a:lnTo>
                  <a:pt x="401579" y="1498628"/>
                </a:lnTo>
                <a:cubicBezTo>
                  <a:pt x="401579" y="1497698"/>
                  <a:pt x="401579" y="1496768"/>
                  <a:pt x="401579" y="1495809"/>
                </a:cubicBezTo>
                <a:close/>
                <a:moveTo>
                  <a:pt x="368755" y="1486512"/>
                </a:moveTo>
                <a:lnTo>
                  <a:pt x="364089" y="1487354"/>
                </a:lnTo>
                <a:lnTo>
                  <a:pt x="364089" y="1487908"/>
                </a:lnTo>
                <a:close/>
                <a:moveTo>
                  <a:pt x="1049801" y="1484562"/>
                </a:moveTo>
                <a:lnTo>
                  <a:pt x="1046735" y="1485945"/>
                </a:lnTo>
                <a:lnTo>
                  <a:pt x="1046955" y="1486045"/>
                </a:lnTo>
                <a:lnTo>
                  <a:pt x="1049801" y="1485188"/>
                </a:lnTo>
                <a:close/>
                <a:moveTo>
                  <a:pt x="351234" y="1444508"/>
                </a:moveTo>
                <a:lnTo>
                  <a:pt x="351234" y="1444997"/>
                </a:lnTo>
                <a:lnTo>
                  <a:pt x="351592" y="1445078"/>
                </a:lnTo>
                <a:close/>
                <a:moveTo>
                  <a:pt x="351908" y="1431206"/>
                </a:moveTo>
                <a:lnTo>
                  <a:pt x="351234" y="1431611"/>
                </a:lnTo>
                <a:lnTo>
                  <a:pt x="351234" y="1432274"/>
                </a:lnTo>
                <a:close/>
                <a:moveTo>
                  <a:pt x="358162" y="1421494"/>
                </a:moveTo>
                <a:lnTo>
                  <a:pt x="355921" y="1423156"/>
                </a:lnTo>
                <a:lnTo>
                  <a:pt x="355921" y="1423548"/>
                </a:lnTo>
                <a:close/>
                <a:moveTo>
                  <a:pt x="376098" y="1408347"/>
                </a:moveTo>
                <a:lnTo>
                  <a:pt x="370750" y="1412245"/>
                </a:lnTo>
                <a:lnTo>
                  <a:pt x="375023" y="1411256"/>
                </a:lnTo>
                <a:close/>
                <a:moveTo>
                  <a:pt x="421956" y="1365623"/>
                </a:moveTo>
                <a:lnTo>
                  <a:pt x="421765" y="1366161"/>
                </a:lnTo>
                <a:lnTo>
                  <a:pt x="421887" y="1366161"/>
                </a:lnTo>
                <a:close/>
                <a:moveTo>
                  <a:pt x="754553" y="1360575"/>
                </a:moveTo>
                <a:lnTo>
                  <a:pt x="754089" y="1361433"/>
                </a:lnTo>
                <a:lnTo>
                  <a:pt x="754431" y="1361125"/>
                </a:lnTo>
                <a:close/>
                <a:moveTo>
                  <a:pt x="1277973" y="1332923"/>
                </a:moveTo>
                <a:lnTo>
                  <a:pt x="1277944" y="1332936"/>
                </a:lnTo>
                <a:lnTo>
                  <a:pt x="1277949" y="1333139"/>
                </a:lnTo>
                <a:close/>
                <a:moveTo>
                  <a:pt x="1268556" y="1321066"/>
                </a:moveTo>
                <a:cubicBezTo>
                  <a:pt x="1268556" y="1322461"/>
                  <a:pt x="1268556" y="1323856"/>
                  <a:pt x="1268556" y="1325294"/>
                </a:cubicBezTo>
                <a:cubicBezTo>
                  <a:pt x="1267525" y="1325294"/>
                  <a:pt x="1266495" y="1325294"/>
                  <a:pt x="1265432" y="1325294"/>
                </a:cubicBezTo>
                <a:cubicBezTo>
                  <a:pt x="1265432" y="1330409"/>
                  <a:pt x="1265432" y="1335525"/>
                  <a:pt x="1265432" y="1340795"/>
                </a:cubicBezTo>
                <a:lnTo>
                  <a:pt x="1265476" y="1340714"/>
                </a:lnTo>
                <a:lnTo>
                  <a:pt x="1265476" y="1325877"/>
                </a:lnTo>
                <a:cubicBezTo>
                  <a:pt x="1266507" y="1325877"/>
                  <a:pt x="1267538" y="1325877"/>
                  <a:pt x="1268600" y="1325877"/>
                </a:cubicBezTo>
                <a:cubicBezTo>
                  <a:pt x="1268600" y="1324482"/>
                  <a:pt x="1268600" y="1323086"/>
                  <a:pt x="1268600" y="1321649"/>
                </a:cubicBezTo>
                <a:cubicBezTo>
                  <a:pt x="1270147" y="1321649"/>
                  <a:pt x="1271693" y="1321649"/>
                  <a:pt x="1273286" y="1321649"/>
                </a:cubicBezTo>
                <a:lnTo>
                  <a:pt x="1273227" y="1321066"/>
                </a:lnTo>
                <a:close/>
                <a:moveTo>
                  <a:pt x="827891" y="1291474"/>
                </a:moveTo>
                <a:lnTo>
                  <a:pt x="822601" y="1291544"/>
                </a:lnTo>
                <a:lnTo>
                  <a:pt x="818272" y="1292220"/>
                </a:lnTo>
                <a:lnTo>
                  <a:pt x="827891" y="1292047"/>
                </a:lnTo>
                <a:close/>
                <a:moveTo>
                  <a:pt x="856397" y="1288691"/>
                </a:moveTo>
                <a:lnTo>
                  <a:pt x="865903" y="1290590"/>
                </a:lnTo>
                <a:lnTo>
                  <a:pt x="859999" y="1288752"/>
                </a:lnTo>
                <a:close/>
                <a:moveTo>
                  <a:pt x="834694" y="1288572"/>
                </a:moveTo>
                <a:lnTo>
                  <a:pt x="828038" y="1288654"/>
                </a:lnTo>
                <a:lnTo>
                  <a:pt x="828038" y="1289214"/>
                </a:lnTo>
                <a:close/>
                <a:moveTo>
                  <a:pt x="229746" y="1191418"/>
                </a:moveTo>
                <a:lnTo>
                  <a:pt x="227402" y="1191947"/>
                </a:lnTo>
                <a:lnTo>
                  <a:pt x="229315" y="1191947"/>
                </a:lnTo>
                <a:cubicBezTo>
                  <a:pt x="229315" y="1192877"/>
                  <a:pt x="229315" y="1193807"/>
                  <a:pt x="229315" y="1194765"/>
                </a:cubicBezTo>
                <a:lnTo>
                  <a:pt x="231321" y="1194765"/>
                </a:lnTo>
                <a:lnTo>
                  <a:pt x="229746" y="1194236"/>
                </a:lnTo>
                <a:cubicBezTo>
                  <a:pt x="229746" y="1193306"/>
                  <a:pt x="229746" y="1192376"/>
                  <a:pt x="229746" y="1191418"/>
                </a:cubicBezTo>
                <a:close/>
                <a:moveTo>
                  <a:pt x="215687" y="1187190"/>
                </a:moveTo>
                <a:lnTo>
                  <a:pt x="215198" y="1187720"/>
                </a:lnTo>
                <a:lnTo>
                  <a:pt x="215256" y="1187720"/>
                </a:lnTo>
                <a:cubicBezTo>
                  <a:pt x="215256" y="1189115"/>
                  <a:pt x="215256" y="1190510"/>
                  <a:pt x="215256" y="1191947"/>
                </a:cubicBezTo>
                <a:lnTo>
                  <a:pt x="222721" y="1191947"/>
                </a:lnTo>
                <a:lnTo>
                  <a:pt x="215687" y="1191418"/>
                </a:lnTo>
                <a:cubicBezTo>
                  <a:pt x="215687" y="1190023"/>
                  <a:pt x="215687" y="1188628"/>
                  <a:pt x="215687" y="1187190"/>
                </a:cubicBezTo>
                <a:close/>
                <a:moveTo>
                  <a:pt x="1279678" y="1082356"/>
                </a:moveTo>
                <a:lnTo>
                  <a:pt x="1271680" y="1084589"/>
                </a:lnTo>
                <a:lnTo>
                  <a:pt x="1282181" y="1082544"/>
                </a:lnTo>
                <a:close/>
                <a:moveTo>
                  <a:pt x="117703" y="941507"/>
                </a:moveTo>
                <a:lnTo>
                  <a:pt x="112587" y="941985"/>
                </a:lnTo>
                <a:lnTo>
                  <a:pt x="112565" y="942333"/>
                </a:lnTo>
                <a:lnTo>
                  <a:pt x="115665" y="941837"/>
                </a:lnTo>
                <a:close/>
                <a:moveTo>
                  <a:pt x="144268" y="939395"/>
                </a:moveTo>
                <a:lnTo>
                  <a:pt x="143354" y="939580"/>
                </a:lnTo>
                <a:lnTo>
                  <a:pt x="144077" y="939739"/>
                </a:lnTo>
                <a:close/>
                <a:moveTo>
                  <a:pt x="162575" y="933530"/>
                </a:moveTo>
                <a:lnTo>
                  <a:pt x="161704" y="935101"/>
                </a:lnTo>
                <a:lnTo>
                  <a:pt x="170045" y="933585"/>
                </a:lnTo>
                <a:close/>
                <a:moveTo>
                  <a:pt x="1321645" y="918415"/>
                </a:moveTo>
                <a:lnTo>
                  <a:pt x="1321534" y="920177"/>
                </a:lnTo>
                <a:lnTo>
                  <a:pt x="1321740" y="918415"/>
                </a:lnTo>
                <a:close/>
                <a:moveTo>
                  <a:pt x="1319333" y="915183"/>
                </a:moveTo>
                <a:lnTo>
                  <a:pt x="1318544" y="918029"/>
                </a:lnTo>
                <a:lnTo>
                  <a:pt x="1318702" y="918029"/>
                </a:lnTo>
                <a:close/>
                <a:moveTo>
                  <a:pt x="1326355" y="907109"/>
                </a:moveTo>
                <a:lnTo>
                  <a:pt x="1326355" y="910983"/>
                </a:lnTo>
                <a:lnTo>
                  <a:pt x="1325831" y="911101"/>
                </a:lnTo>
                <a:lnTo>
                  <a:pt x="1326426" y="911369"/>
                </a:lnTo>
                <a:cubicBezTo>
                  <a:pt x="1326426" y="909974"/>
                  <a:pt x="1326426" y="908579"/>
                  <a:pt x="1326426" y="907141"/>
                </a:cubicBezTo>
                <a:close/>
                <a:moveTo>
                  <a:pt x="1328144" y="892192"/>
                </a:moveTo>
                <a:lnTo>
                  <a:pt x="1327667" y="893446"/>
                </a:lnTo>
                <a:lnTo>
                  <a:pt x="1327989" y="893049"/>
                </a:lnTo>
                <a:close/>
                <a:moveTo>
                  <a:pt x="49605" y="887420"/>
                </a:moveTo>
                <a:lnTo>
                  <a:pt x="48549" y="891229"/>
                </a:lnTo>
                <a:lnTo>
                  <a:pt x="49956" y="887420"/>
                </a:lnTo>
                <a:close/>
                <a:moveTo>
                  <a:pt x="1332266" y="883369"/>
                </a:moveTo>
                <a:lnTo>
                  <a:pt x="1329479" y="884207"/>
                </a:lnTo>
                <a:lnTo>
                  <a:pt x="1329509" y="884816"/>
                </a:lnTo>
                <a:lnTo>
                  <a:pt x="1329551" y="884594"/>
                </a:lnTo>
                <a:close/>
                <a:moveTo>
                  <a:pt x="1555987" y="821766"/>
                </a:moveTo>
                <a:lnTo>
                  <a:pt x="1555987" y="822201"/>
                </a:lnTo>
                <a:lnTo>
                  <a:pt x="1556081" y="822189"/>
                </a:lnTo>
                <a:close/>
                <a:moveTo>
                  <a:pt x="1565360" y="810928"/>
                </a:moveTo>
                <a:lnTo>
                  <a:pt x="1564871" y="811809"/>
                </a:lnTo>
                <a:lnTo>
                  <a:pt x="1567314" y="810928"/>
                </a:lnTo>
                <a:close/>
                <a:moveTo>
                  <a:pt x="1563797" y="810928"/>
                </a:moveTo>
                <a:lnTo>
                  <a:pt x="1556762" y="814736"/>
                </a:lnTo>
                <a:lnTo>
                  <a:pt x="1563797" y="812197"/>
                </a:lnTo>
                <a:close/>
                <a:moveTo>
                  <a:pt x="265833" y="806020"/>
                </a:moveTo>
                <a:lnTo>
                  <a:pt x="263704" y="809861"/>
                </a:lnTo>
                <a:lnTo>
                  <a:pt x="263704" y="816750"/>
                </a:lnTo>
                <a:lnTo>
                  <a:pt x="264113" y="816565"/>
                </a:lnTo>
                <a:cubicBezTo>
                  <a:pt x="264048" y="815315"/>
                  <a:pt x="263984" y="814065"/>
                  <a:pt x="263918" y="812777"/>
                </a:cubicBezTo>
                <a:close/>
                <a:moveTo>
                  <a:pt x="263774" y="779374"/>
                </a:moveTo>
                <a:lnTo>
                  <a:pt x="263704" y="783086"/>
                </a:lnTo>
                <a:cubicBezTo>
                  <a:pt x="263961" y="783987"/>
                  <a:pt x="264219" y="784888"/>
                  <a:pt x="264484" y="785816"/>
                </a:cubicBezTo>
                <a:cubicBezTo>
                  <a:pt x="265299" y="788846"/>
                  <a:pt x="265316" y="791337"/>
                  <a:pt x="265265" y="794448"/>
                </a:cubicBezTo>
                <a:cubicBezTo>
                  <a:pt x="265103" y="797155"/>
                  <a:pt x="265022" y="798508"/>
                  <a:pt x="265217" y="799730"/>
                </a:cubicBezTo>
                <a:lnTo>
                  <a:pt x="266556" y="803466"/>
                </a:lnTo>
                <a:lnTo>
                  <a:pt x="267237" y="801063"/>
                </a:lnTo>
                <a:cubicBezTo>
                  <a:pt x="266721" y="800598"/>
                  <a:pt x="266206" y="800133"/>
                  <a:pt x="265675" y="799654"/>
                </a:cubicBezTo>
                <a:cubicBezTo>
                  <a:pt x="265601" y="797718"/>
                  <a:pt x="265617" y="795778"/>
                  <a:pt x="265675" y="793841"/>
                </a:cubicBezTo>
                <a:close/>
                <a:moveTo>
                  <a:pt x="260988" y="770061"/>
                </a:moveTo>
                <a:lnTo>
                  <a:pt x="260988" y="771364"/>
                </a:lnTo>
                <a:lnTo>
                  <a:pt x="263497" y="777263"/>
                </a:lnTo>
                <a:lnTo>
                  <a:pt x="262551" y="770061"/>
                </a:lnTo>
                <a:cubicBezTo>
                  <a:pt x="262035" y="770061"/>
                  <a:pt x="261520" y="770061"/>
                  <a:pt x="260988" y="770061"/>
                </a:cubicBezTo>
                <a:close/>
                <a:moveTo>
                  <a:pt x="157888" y="651686"/>
                </a:moveTo>
                <a:lnTo>
                  <a:pt x="157415" y="651764"/>
                </a:lnTo>
                <a:lnTo>
                  <a:pt x="160373" y="652274"/>
                </a:lnTo>
                <a:close/>
                <a:moveTo>
                  <a:pt x="267237" y="426537"/>
                </a:moveTo>
                <a:lnTo>
                  <a:pt x="267237" y="427619"/>
                </a:lnTo>
                <a:cubicBezTo>
                  <a:pt x="268274" y="427791"/>
                  <a:pt x="269311" y="427961"/>
                  <a:pt x="270380" y="428137"/>
                </a:cubicBezTo>
                <a:lnTo>
                  <a:pt x="273548" y="428680"/>
                </a:lnTo>
                <a:close/>
                <a:moveTo>
                  <a:pt x="37605" y="359270"/>
                </a:moveTo>
                <a:lnTo>
                  <a:pt x="37103" y="361533"/>
                </a:lnTo>
                <a:lnTo>
                  <a:pt x="37605" y="361382"/>
                </a:lnTo>
                <a:close/>
                <a:moveTo>
                  <a:pt x="52477" y="337570"/>
                </a:moveTo>
                <a:lnTo>
                  <a:pt x="47288" y="342340"/>
                </a:lnTo>
                <a:lnTo>
                  <a:pt x="45805" y="345093"/>
                </a:lnTo>
                <a:close/>
                <a:moveTo>
                  <a:pt x="104291" y="336166"/>
                </a:moveTo>
                <a:lnTo>
                  <a:pt x="103776" y="337559"/>
                </a:lnTo>
                <a:lnTo>
                  <a:pt x="108925" y="336166"/>
                </a:lnTo>
                <a:close/>
                <a:moveTo>
                  <a:pt x="1309237" y="322954"/>
                </a:moveTo>
                <a:lnTo>
                  <a:pt x="1309180" y="330559"/>
                </a:lnTo>
                <a:lnTo>
                  <a:pt x="1309237" y="330520"/>
                </a:lnTo>
                <a:close/>
                <a:moveTo>
                  <a:pt x="1308964" y="317715"/>
                </a:moveTo>
                <a:lnTo>
                  <a:pt x="1309237" y="318569"/>
                </a:lnTo>
                <a:lnTo>
                  <a:pt x="1309237" y="317838"/>
                </a:lnTo>
                <a:close/>
                <a:moveTo>
                  <a:pt x="1310087" y="313153"/>
                </a:moveTo>
                <a:lnTo>
                  <a:pt x="1307609" y="313473"/>
                </a:lnTo>
                <a:lnTo>
                  <a:pt x="1308045" y="314836"/>
                </a:lnTo>
                <a:close/>
                <a:moveTo>
                  <a:pt x="1318544" y="312064"/>
                </a:moveTo>
                <a:lnTo>
                  <a:pt x="1316298" y="312353"/>
                </a:lnTo>
                <a:lnTo>
                  <a:pt x="1318544" y="312205"/>
                </a:lnTo>
                <a:close/>
                <a:moveTo>
                  <a:pt x="1084622" y="267674"/>
                </a:moveTo>
                <a:lnTo>
                  <a:pt x="1084227" y="268378"/>
                </a:lnTo>
                <a:cubicBezTo>
                  <a:pt x="1082679" y="268378"/>
                  <a:pt x="1081133" y="268378"/>
                  <a:pt x="1079540" y="268378"/>
                </a:cubicBezTo>
                <a:lnTo>
                  <a:pt x="1079603" y="268477"/>
                </a:lnTo>
                <a:lnTo>
                  <a:pt x="1084192" y="268477"/>
                </a:lnTo>
                <a:close/>
                <a:moveTo>
                  <a:pt x="956410" y="266968"/>
                </a:moveTo>
                <a:lnTo>
                  <a:pt x="957576" y="267083"/>
                </a:lnTo>
                <a:lnTo>
                  <a:pt x="957576" y="269776"/>
                </a:lnTo>
                <a:lnTo>
                  <a:pt x="957694" y="269787"/>
                </a:lnTo>
                <a:cubicBezTo>
                  <a:pt x="957694" y="268857"/>
                  <a:pt x="957694" y="267927"/>
                  <a:pt x="957694" y="266968"/>
                </a:cubicBezTo>
                <a:close/>
                <a:moveTo>
                  <a:pt x="1089372" y="259220"/>
                </a:moveTo>
                <a:lnTo>
                  <a:pt x="1085856" y="265479"/>
                </a:lnTo>
                <a:lnTo>
                  <a:pt x="1088878" y="261431"/>
                </a:lnTo>
                <a:close/>
                <a:moveTo>
                  <a:pt x="1018517" y="223356"/>
                </a:moveTo>
                <a:lnTo>
                  <a:pt x="1013866" y="226190"/>
                </a:lnTo>
                <a:lnTo>
                  <a:pt x="1013024" y="227709"/>
                </a:lnTo>
                <a:lnTo>
                  <a:pt x="1017055" y="224692"/>
                </a:lnTo>
                <a:close/>
                <a:moveTo>
                  <a:pt x="850645" y="220099"/>
                </a:moveTo>
                <a:lnTo>
                  <a:pt x="850897" y="221488"/>
                </a:lnTo>
                <a:cubicBezTo>
                  <a:pt x="851086" y="222545"/>
                  <a:pt x="851275" y="223602"/>
                  <a:pt x="851470" y="224692"/>
                </a:cubicBezTo>
                <a:lnTo>
                  <a:pt x="852860" y="224692"/>
                </a:lnTo>
                <a:close/>
                <a:moveTo>
                  <a:pt x="1155019" y="35"/>
                </a:moveTo>
                <a:cubicBezTo>
                  <a:pt x="1161775" y="275"/>
                  <a:pt x="1168415" y="1783"/>
                  <a:pt x="1174829" y="4853"/>
                </a:cubicBezTo>
                <a:cubicBezTo>
                  <a:pt x="1176343" y="5231"/>
                  <a:pt x="1177858" y="5609"/>
                  <a:pt x="1179418" y="5998"/>
                </a:cubicBezTo>
                <a:cubicBezTo>
                  <a:pt x="1189392" y="9487"/>
                  <a:pt x="1196322" y="14392"/>
                  <a:pt x="1201385" y="22997"/>
                </a:cubicBezTo>
                <a:cubicBezTo>
                  <a:pt x="1206849" y="35244"/>
                  <a:pt x="1206940" y="49865"/>
                  <a:pt x="1201678" y="62191"/>
                </a:cubicBezTo>
                <a:cubicBezTo>
                  <a:pt x="1200594" y="64241"/>
                  <a:pt x="1199461" y="66271"/>
                  <a:pt x="1198261" y="68268"/>
                </a:cubicBezTo>
                <a:cubicBezTo>
                  <a:pt x="1197423" y="69721"/>
                  <a:pt x="1196586" y="71175"/>
                  <a:pt x="1195723" y="72672"/>
                </a:cubicBezTo>
                <a:cubicBezTo>
                  <a:pt x="1194659" y="73980"/>
                  <a:pt x="1194659" y="73980"/>
                  <a:pt x="1193575" y="75314"/>
                </a:cubicBezTo>
                <a:cubicBezTo>
                  <a:pt x="1192544" y="75314"/>
                  <a:pt x="1191512" y="75314"/>
                  <a:pt x="1190450" y="75314"/>
                </a:cubicBezTo>
                <a:cubicBezTo>
                  <a:pt x="1190128" y="76651"/>
                  <a:pt x="1189806" y="77988"/>
                  <a:pt x="1189474" y="79366"/>
                </a:cubicBezTo>
                <a:cubicBezTo>
                  <a:pt x="1187326" y="83769"/>
                  <a:pt x="1187326" y="83769"/>
                  <a:pt x="1182445" y="85707"/>
                </a:cubicBezTo>
                <a:cubicBezTo>
                  <a:pt x="1180962" y="85998"/>
                  <a:pt x="1179480" y="86289"/>
                  <a:pt x="1177953" y="86588"/>
                </a:cubicBezTo>
                <a:cubicBezTo>
                  <a:pt x="1177953" y="87518"/>
                  <a:pt x="1177953" y="88448"/>
                  <a:pt x="1177953" y="89406"/>
                </a:cubicBezTo>
                <a:cubicBezTo>
                  <a:pt x="1175369" y="91088"/>
                  <a:pt x="1172720" y="92688"/>
                  <a:pt x="1170045" y="94251"/>
                </a:cubicBezTo>
                <a:cubicBezTo>
                  <a:pt x="1154651" y="104199"/>
                  <a:pt x="1148918" y="116979"/>
                  <a:pt x="1143806" y="132828"/>
                </a:cubicBezTo>
                <a:cubicBezTo>
                  <a:pt x="1142095" y="137144"/>
                  <a:pt x="1140989" y="138617"/>
                  <a:pt x="1137338" y="141548"/>
                </a:cubicBezTo>
                <a:cubicBezTo>
                  <a:pt x="1136166" y="144148"/>
                  <a:pt x="1134992" y="146751"/>
                  <a:pt x="1133970" y="149403"/>
                </a:cubicBezTo>
                <a:cubicBezTo>
                  <a:pt x="1132069" y="154334"/>
                  <a:pt x="1130006" y="159210"/>
                  <a:pt x="1127965" y="164095"/>
                </a:cubicBezTo>
                <a:cubicBezTo>
                  <a:pt x="1126897" y="166664"/>
                  <a:pt x="1125830" y="169233"/>
                  <a:pt x="1124762" y="171802"/>
                </a:cubicBezTo>
                <a:cubicBezTo>
                  <a:pt x="1122961" y="176134"/>
                  <a:pt x="1121160" y="180466"/>
                  <a:pt x="1119359" y="184798"/>
                </a:cubicBezTo>
                <a:cubicBezTo>
                  <a:pt x="1116567" y="191508"/>
                  <a:pt x="1113778" y="198220"/>
                  <a:pt x="1111014" y="204941"/>
                </a:cubicBezTo>
                <a:cubicBezTo>
                  <a:pt x="1110590" y="205970"/>
                  <a:pt x="1110165" y="206999"/>
                  <a:pt x="1109729" y="208059"/>
                </a:cubicBezTo>
                <a:cubicBezTo>
                  <a:pt x="1108615" y="210762"/>
                  <a:pt x="1107505" y="213466"/>
                  <a:pt x="1106395" y="216170"/>
                </a:cubicBezTo>
                <a:cubicBezTo>
                  <a:pt x="1104320" y="220956"/>
                  <a:pt x="1103283" y="223349"/>
                  <a:pt x="1102147" y="224810"/>
                </a:cubicBezTo>
                <a:lnTo>
                  <a:pt x="1098261" y="227262"/>
                </a:lnTo>
                <a:lnTo>
                  <a:pt x="1098367" y="238475"/>
                </a:lnTo>
                <a:cubicBezTo>
                  <a:pt x="1098025" y="239757"/>
                  <a:pt x="1097684" y="241038"/>
                  <a:pt x="1097331" y="242358"/>
                </a:cubicBezTo>
                <a:cubicBezTo>
                  <a:pt x="1096958" y="243711"/>
                  <a:pt x="1096585" y="245064"/>
                  <a:pt x="1096201" y="246458"/>
                </a:cubicBezTo>
                <a:cubicBezTo>
                  <a:pt x="1093302" y="257363"/>
                  <a:pt x="1090901" y="268062"/>
                  <a:pt x="1089440" y="279206"/>
                </a:cubicBezTo>
                <a:cubicBezTo>
                  <a:pt x="1088878" y="282569"/>
                  <a:pt x="1088878" y="282569"/>
                  <a:pt x="1087316" y="283978"/>
                </a:cubicBezTo>
                <a:cubicBezTo>
                  <a:pt x="1087070" y="286587"/>
                  <a:pt x="1086924" y="289205"/>
                  <a:pt x="1086822" y="291822"/>
                </a:cubicBezTo>
                <a:cubicBezTo>
                  <a:pt x="1086756" y="293408"/>
                  <a:pt x="1086691" y="294993"/>
                  <a:pt x="1086623" y="296625"/>
                </a:cubicBezTo>
                <a:cubicBezTo>
                  <a:pt x="1086562" y="298294"/>
                  <a:pt x="1086501" y="299962"/>
                  <a:pt x="1086437" y="301681"/>
                </a:cubicBezTo>
                <a:cubicBezTo>
                  <a:pt x="1086336" y="304192"/>
                  <a:pt x="1086336" y="304192"/>
                  <a:pt x="1086233" y="306754"/>
                </a:cubicBezTo>
                <a:lnTo>
                  <a:pt x="1086007" y="312619"/>
                </a:lnTo>
                <a:lnTo>
                  <a:pt x="1087470" y="320554"/>
                </a:lnTo>
                <a:cubicBezTo>
                  <a:pt x="1089648" y="325409"/>
                  <a:pt x="1093111" y="329799"/>
                  <a:pt x="1098285" y="334611"/>
                </a:cubicBezTo>
                <a:cubicBezTo>
                  <a:pt x="1100424" y="336130"/>
                  <a:pt x="1100424" y="336130"/>
                  <a:pt x="1102607" y="337679"/>
                </a:cubicBezTo>
                <a:cubicBezTo>
                  <a:pt x="1104334" y="338951"/>
                  <a:pt x="1104334" y="338951"/>
                  <a:pt x="1106095" y="340248"/>
                </a:cubicBezTo>
                <a:cubicBezTo>
                  <a:pt x="1106095" y="341178"/>
                  <a:pt x="1106095" y="342108"/>
                  <a:pt x="1106095" y="343066"/>
                </a:cubicBezTo>
                <a:cubicBezTo>
                  <a:pt x="1107127" y="343183"/>
                  <a:pt x="1108158" y="343299"/>
                  <a:pt x="1109220" y="343419"/>
                </a:cubicBezTo>
                <a:cubicBezTo>
                  <a:pt x="1115473" y="344829"/>
                  <a:pt x="1120724" y="347416"/>
                  <a:pt x="1126403" y="350112"/>
                </a:cubicBezTo>
                <a:cubicBezTo>
                  <a:pt x="1128207" y="350926"/>
                  <a:pt x="1130012" y="351740"/>
                  <a:pt x="1131871" y="352579"/>
                </a:cubicBezTo>
                <a:cubicBezTo>
                  <a:pt x="1133159" y="353160"/>
                  <a:pt x="1134448" y="353741"/>
                  <a:pt x="1135776" y="354340"/>
                </a:cubicBezTo>
                <a:cubicBezTo>
                  <a:pt x="1135776" y="355270"/>
                  <a:pt x="1135776" y="356200"/>
                  <a:pt x="1135776" y="357158"/>
                </a:cubicBezTo>
                <a:cubicBezTo>
                  <a:pt x="1148107" y="360029"/>
                  <a:pt x="1158679" y="359101"/>
                  <a:pt x="1170143" y="354340"/>
                </a:cubicBezTo>
                <a:cubicBezTo>
                  <a:pt x="1172366" y="353468"/>
                  <a:pt x="1172366" y="353468"/>
                  <a:pt x="1174634" y="352579"/>
                </a:cubicBezTo>
                <a:cubicBezTo>
                  <a:pt x="1180354" y="349689"/>
                  <a:pt x="1185568" y="346355"/>
                  <a:pt x="1190890" y="342907"/>
                </a:cubicBezTo>
                <a:cubicBezTo>
                  <a:pt x="1195169" y="340228"/>
                  <a:pt x="1199557" y="337821"/>
                  <a:pt x="1204021" y="335404"/>
                </a:cubicBezTo>
                <a:cubicBezTo>
                  <a:pt x="1211989" y="330886"/>
                  <a:pt x="1217509" y="325766"/>
                  <a:pt x="1223255" y="319110"/>
                </a:cubicBezTo>
                <a:cubicBezTo>
                  <a:pt x="1224447" y="317947"/>
                  <a:pt x="1225639" y="316784"/>
                  <a:pt x="1226868" y="315587"/>
                </a:cubicBezTo>
                <a:cubicBezTo>
                  <a:pt x="1229855" y="311593"/>
                  <a:pt x="1230852" y="308240"/>
                  <a:pt x="1231859" y="303559"/>
                </a:cubicBezTo>
                <a:cubicBezTo>
                  <a:pt x="1232628" y="300790"/>
                  <a:pt x="1232628" y="300790"/>
                  <a:pt x="1234178" y="298059"/>
                </a:cubicBezTo>
                <a:cubicBezTo>
                  <a:pt x="1235964" y="294761"/>
                  <a:pt x="1236623" y="291807"/>
                  <a:pt x="1237314" y="288195"/>
                </a:cubicBezTo>
                <a:cubicBezTo>
                  <a:pt x="1239360" y="278571"/>
                  <a:pt x="1242414" y="272733"/>
                  <a:pt x="1249811" y="265559"/>
                </a:cubicBezTo>
                <a:cubicBezTo>
                  <a:pt x="1250842" y="265559"/>
                  <a:pt x="1251873" y="265559"/>
                  <a:pt x="1252935" y="265559"/>
                </a:cubicBezTo>
                <a:cubicBezTo>
                  <a:pt x="1252935" y="264629"/>
                  <a:pt x="1252935" y="263699"/>
                  <a:pt x="1252935" y="262741"/>
                </a:cubicBezTo>
                <a:cubicBezTo>
                  <a:pt x="1265591" y="253427"/>
                  <a:pt x="1280762" y="251648"/>
                  <a:pt x="1296675" y="252876"/>
                </a:cubicBezTo>
                <a:cubicBezTo>
                  <a:pt x="1300535" y="253563"/>
                  <a:pt x="1303901" y="254478"/>
                  <a:pt x="1307609" y="255695"/>
                </a:cubicBezTo>
                <a:cubicBezTo>
                  <a:pt x="1307609" y="256625"/>
                  <a:pt x="1307609" y="257555"/>
                  <a:pt x="1307609" y="258513"/>
                </a:cubicBezTo>
                <a:cubicBezTo>
                  <a:pt x="1309021" y="258619"/>
                  <a:pt x="1310432" y="258723"/>
                  <a:pt x="1311887" y="258832"/>
                </a:cubicBezTo>
                <a:cubicBezTo>
                  <a:pt x="1319573" y="260476"/>
                  <a:pt x="1322149" y="264416"/>
                  <a:pt x="1326715" y="269969"/>
                </a:cubicBezTo>
                <a:cubicBezTo>
                  <a:pt x="1334402" y="281220"/>
                  <a:pt x="1336114" y="294839"/>
                  <a:pt x="1334165" y="307836"/>
                </a:cubicBezTo>
                <a:cubicBezTo>
                  <a:pt x="1332176" y="311898"/>
                  <a:pt x="1332176" y="311898"/>
                  <a:pt x="1329479" y="314882"/>
                </a:cubicBezTo>
                <a:cubicBezTo>
                  <a:pt x="1327417" y="314882"/>
                  <a:pt x="1325355" y="314882"/>
                  <a:pt x="1323231" y="314882"/>
                </a:cubicBezTo>
                <a:cubicBezTo>
                  <a:pt x="1323231" y="315812"/>
                  <a:pt x="1323231" y="316742"/>
                  <a:pt x="1323231" y="317700"/>
                </a:cubicBezTo>
                <a:lnTo>
                  <a:pt x="1322774" y="317838"/>
                </a:lnTo>
                <a:lnTo>
                  <a:pt x="1323295" y="317838"/>
                </a:lnTo>
                <a:cubicBezTo>
                  <a:pt x="1323295" y="316907"/>
                  <a:pt x="1323295" y="315977"/>
                  <a:pt x="1323295" y="315019"/>
                </a:cubicBezTo>
                <a:cubicBezTo>
                  <a:pt x="1324842" y="315019"/>
                  <a:pt x="1326388" y="315019"/>
                  <a:pt x="1327982" y="315019"/>
                </a:cubicBezTo>
                <a:cubicBezTo>
                  <a:pt x="1325845" y="321328"/>
                  <a:pt x="1322753" y="323742"/>
                  <a:pt x="1317047" y="327702"/>
                </a:cubicBezTo>
                <a:cubicBezTo>
                  <a:pt x="1316531" y="329097"/>
                  <a:pt x="1316016" y="330492"/>
                  <a:pt x="1315484" y="331930"/>
                </a:cubicBezTo>
                <a:cubicBezTo>
                  <a:pt x="1312599" y="332959"/>
                  <a:pt x="1312599" y="332959"/>
                  <a:pt x="1309139" y="333603"/>
                </a:cubicBezTo>
                <a:cubicBezTo>
                  <a:pt x="1307993" y="333827"/>
                  <a:pt x="1306847" y="334050"/>
                  <a:pt x="1305666" y="334280"/>
                </a:cubicBezTo>
                <a:cubicBezTo>
                  <a:pt x="1304783" y="334434"/>
                  <a:pt x="1303899" y="334589"/>
                  <a:pt x="1302988" y="334748"/>
                </a:cubicBezTo>
                <a:lnTo>
                  <a:pt x="1305905" y="332775"/>
                </a:lnTo>
                <a:lnTo>
                  <a:pt x="1304485" y="333202"/>
                </a:lnTo>
                <a:cubicBezTo>
                  <a:pt x="1302987" y="334640"/>
                  <a:pt x="1302987" y="334640"/>
                  <a:pt x="1301459" y="336108"/>
                </a:cubicBezTo>
                <a:cubicBezTo>
                  <a:pt x="1298237" y="338839"/>
                  <a:pt x="1298237" y="338839"/>
                  <a:pt x="1291989" y="338839"/>
                </a:cubicBezTo>
                <a:cubicBezTo>
                  <a:pt x="1291473" y="340234"/>
                  <a:pt x="1290957" y="341629"/>
                  <a:pt x="1290426" y="343066"/>
                </a:cubicBezTo>
                <a:cubicBezTo>
                  <a:pt x="1288879" y="343415"/>
                  <a:pt x="1287333" y="343764"/>
                  <a:pt x="1285740" y="344123"/>
                </a:cubicBezTo>
                <a:cubicBezTo>
                  <a:pt x="1266905" y="348491"/>
                  <a:pt x="1249005" y="369098"/>
                  <a:pt x="1237314" y="382525"/>
                </a:cubicBezTo>
                <a:cubicBezTo>
                  <a:pt x="1235678" y="385783"/>
                  <a:pt x="1234122" y="389075"/>
                  <a:pt x="1232628" y="392389"/>
                </a:cubicBezTo>
                <a:cubicBezTo>
                  <a:pt x="1231317" y="394515"/>
                  <a:pt x="1229981" y="396629"/>
                  <a:pt x="1228625" y="398731"/>
                </a:cubicBezTo>
                <a:cubicBezTo>
                  <a:pt x="1221457" y="410300"/>
                  <a:pt x="1219465" y="421836"/>
                  <a:pt x="1222822" y="434798"/>
                </a:cubicBezTo>
                <a:cubicBezTo>
                  <a:pt x="1229360" y="453710"/>
                  <a:pt x="1244088" y="472467"/>
                  <a:pt x="1260746" y="485398"/>
                </a:cubicBezTo>
                <a:cubicBezTo>
                  <a:pt x="1264961" y="487349"/>
                  <a:pt x="1264961" y="487349"/>
                  <a:pt x="1268556" y="488216"/>
                </a:cubicBezTo>
                <a:cubicBezTo>
                  <a:pt x="1268556" y="489146"/>
                  <a:pt x="1268556" y="490076"/>
                  <a:pt x="1268556" y="491034"/>
                </a:cubicBezTo>
                <a:cubicBezTo>
                  <a:pt x="1288790" y="497071"/>
                  <a:pt x="1319055" y="498555"/>
                  <a:pt x="1338852" y="489625"/>
                </a:cubicBezTo>
                <a:cubicBezTo>
                  <a:pt x="1341711" y="489213"/>
                  <a:pt x="1344575" y="488837"/>
                  <a:pt x="1347444" y="488480"/>
                </a:cubicBezTo>
                <a:cubicBezTo>
                  <a:pt x="1355372" y="487345"/>
                  <a:pt x="1362033" y="485390"/>
                  <a:pt x="1369362" y="482513"/>
                </a:cubicBezTo>
                <a:cubicBezTo>
                  <a:pt x="1375665" y="480318"/>
                  <a:pt x="1382189" y="479322"/>
                  <a:pt x="1388840" y="478351"/>
                </a:cubicBezTo>
                <a:cubicBezTo>
                  <a:pt x="1388840" y="477421"/>
                  <a:pt x="1388840" y="476492"/>
                  <a:pt x="1388840" y="475533"/>
                </a:cubicBezTo>
                <a:cubicBezTo>
                  <a:pt x="1391083" y="474821"/>
                  <a:pt x="1393329" y="474118"/>
                  <a:pt x="1395576" y="473419"/>
                </a:cubicBezTo>
                <a:cubicBezTo>
                  <a:pt x="1396827" y="473027"/>
                  <a:pt x="1398077" y="472635"/>
                  <a:pt x="1399365" y="472230"/>
                </a:cubicBezTo>
                <a:cubicBezTo>
                  <a:pt x="1402899" y="471305"/>
                  <a:pt x="1402899" y="471305"/>
                  <a:pt x="1407585" y="471305"/>
                </a:cubicBezTo>
                <a:cubicBezTo>
                  <a:pt x="1408101" y="469910"/>
                  <a:pt x="1408616" y="468515"/>
                  <a:pt x="1409147" y="467078"/>
                </a:cubicBezTo>
                <a:cubicBezTo>
                  <a:pt x="1412388" y="465580"/>
                  <a:pt x="1412388" y="465580"/>
                  <a:pt x="1416470" y="464259"/>
                </a:cubicBezTo>
                <a:cubicBezTo>
                  <a:pt x="1424029" y="461705"/>
                  <a:pt x="1431130" y="458955"/>
                  <a:pt x="1437949" y="455011"/>
                </a:cubicBezTo>
                <a:cubicBezTo>
                  <a:pt x="1442765" y="452574"/>
                  <a:pt x="1447553" y="451394"/>
                  <a:pt x="1452887" y="450167"/>
                </a:cubicBezTo>
                <a:cubicBezTo>
                  <a:pt x="1452887" y="449237"/>
                  <a:pt x="1452887" y="448307"/>
                  <a:pt x="1452887" y="447349"/>
                </a:cubicBezTo>
                <a:cubicBezTo>
                  <a:pt x="1453714" y="446944"/>
                  <a:pt x="1454541" y="446539"/>
                  <a:pt x="1455394" y="446122"/>
                </a:cubicBezTo>
                <a:cubicBezTo>
                  <a:pt x="1459151" y="444278"/>
                  <a:pt x="1462902" y="442422"/>
                  <a:pt x="1466653" y="440567"/>
                </a:cubicBezTo>
                <a:cubicBezTo>
                  <a:pt x="1467955" y="439930"/>
                  <a:pt x="1469256" y="439293"/>
                  <a:pt x="1470598" y="438637"/>
                </a:cubicBezTo>
                <a:cubicBezTo>
                  <a:pt x="1471852" y="438016"/>
                  <a:pt x="1473105" y="437393"/>
                  <a:pt x="1474397" y="436752"/>
                </a:cubicBezTo>
                <a:cubicBezTo>
                  <a:pt x="1475550" y="436184"/>
                  <a:pt x="1476703" y="435616"/>
                  <a:pt x="1477892" y="435030"/>
                </a:cubicBezTo>
                <a:cubicBezTo>
                  <a:pt x="1480966" y="433279"/>
                  <a:pt x="1483173" y="431373"/>
                  <a:pt x="1485691" y="429029"/>
                </a:cubicBezTo>
                <a:cubicBezTo>
                  <a:pt x="1486737" y="428575"/>
                  <a:pt x="1487781" y="428121"/>
                  <a:pt x="1488858" y="427653"/>
                </a:cubicBezTo>
                <a:cubicBezTo>
                  <a:pt x="1492438" y="425977"/>
                  <a:pt x="1493705" y="424453"/>
                  <a:pt x="1495943" y="421454"/>
                </a:cubicBezTo>
                <a:cubicBezTo>
                  <a:pt x="1507114" y="407544"/>
                  <a:pt x="1519758" y="393513"/>
                  <a:pt x="1538608" y="388338"/>
                </a:cubicBezTo>
                <a:cubicBezTo>
                  <a:pt x="1541025" y="388250"/>
                  <a:pt x="1541025" y="388250"/>
                  <a:pt x="1543490" y="388161"/>
                </a:cubicBezTo>
                <a:cubicBezTo>
                  <a:pt x="1545535" y="387984"/>
                  <a:pt x="1545535" y="387984"/>
                  <a:pt x="1547621" y="387804"/>
                </a:cubicBezTo>
                <a:cubicBezTo>
                  <a:pt x="1560659" y="387094"/>
                  <a:pt x="1568716" y="390117"/>
                  <a:pt x="1579418" y="396617"/>
                </a:cubicBezTo>
                <a:cubicBezTo>
                  <a:pt x="1581361" y="397687"/>
                  <a:pt x="1581361" y="397687"/>
                  <a:pt x="1583342" y="398780"/>
                </a:cubicBezTo>
                <a:cubicBezTo>
                  <a:pt x="1593703" y="405068"/>
                  <a:pt x="1598513" y="412459"/>
                  <a:pt x="1601288" y="423392"/>
                </a:cubicBezTo>
                <a:cubicBezTo>
                  <a:pt x="1603295" y="436596"/>
                  <a:pt x="1603517" y="449033"/>
                  <a:pt x="1594484" y="460159"/>
                </a:cubicBezTo>
                <a:cubicBezTo>
                  <a:pt x="1588468" y="466462"/>
                  <a:pt x="1582607" y="471150"/>
                  <a:pt x="1574732" y="475533"/>
                </a:cubicBezTo>
                <a:cubicBezTo>
                  <a:pt x="1573862" y="476043"/>
                  <a:pt x="1572993" y="476553"/>
                  <a:pt x="1572097" y="477078"/>
                </a:cubicBezTo>
                <a:cubicBezTo>
                  <a:pt x="1566828" y="478935"/>
                  <a:pt x="1561641" y="478744"/>
                  <a:pt x="1556066" y="478737"/>
                </a:cubicBezTo>
                <a:cubicBezTo>
                  <a:pt x="1553587" y="478765"/>
                  <a:pt x="1551109" y="478795"/>
                  <a:pt x="1548631" y="478825"/>
                </a:cubicBezTo>
                <a:cubicBezTo>
                  <a:pt x="1544751" y="478857"/>
                  <a:pt x="1540871" y="478880"/>
                  <a:pt x="1536991" y="478889"/>
                </a:cubicBezTo>
                <a:cubicBezTo>
                  <a:pt x="1516714" y="478693"/>
                  <a:pt x="1516714" y="478693"/>
                  <a:pt x="1498188" y="485398"/>
                </a:cubicBezTo>
                <a:cubicBezTo>
                  <a:pt x="1496062" y="486488"/>
                  <a:pt x="1496062" y="486488"/>
                  <a:pt x="1493892" y="487600"/>
                </a:cubicBezTo>
                <a:cubicBezTo>
                  <a:pt x="1492733" y="488268"/>
                  <a:pt x="1491573" y="488937"/>
                  <a:pt x="1490377" y="489625"/>
                </a:cubicBezTo>
                <a:cubicBezTo>
                  <a:pt x="1484304" y="493012"/>
                  <a:pt x="1478212" y="495675"/>
                  <a:pt x="1471650" y="498185"/>
                </a:cubicBezTo>
                <a:cubicBezTo>
                  <a:pt x="1467148" y="500054"/>
                  <a:pt x="1463242" y="502632"/>
                  <a:pt x="1459135" y="505127"/>
                </a:cubicBezTo>
                <a:cubicBezTo>
                  <a:pt x="1456968" y="506120"/>
                  <a:pt x="1454786" y="507086"/>
                  <a:pt x="1452594" y="508033"/>
                </a:cubicBezTo>
                <a:cubicBezTo>
                  <a:pt x="1444148" y="511772"/>
                  <a:pt x="1435969" y="515903"/>
                  <a:pt x="1427795" y="520100"/>
                </a:cubicBezTo>
                <a:cubicBezTo>
                  <a:pt x="1425784" y="521114"/>
                  <a:pt x="1425784" y="521114"/>
                  <a:pt x="1423733" y="522148"/>
                </a:cubicBezTo>
                <a:cubicBezTo>
                  <a:pt x="1422478" y="522798"/>
                  <a:pt x="1421223" y="523449"/>
                  <a:pt x="1419929" y="524118"/>
                </a:cubicBezTo>
                <a:cubicBezTo>
                  <a:pt x="1418794" y="524701"/>
                  <a:pt x="1417658" y="525283"/>
                  <a:pt x="1416487" y="525883"/>
                </a:cubicBezTo>
                <a:cubicBezTo>
                  <a:pt x="1413349" y="527646"/>
                  <a:pt x="1413349" y="527646"/>
                  <a:pt x="1412271" y="531902"/>
                </a:cubicBezTo>
                <a:cubicBezTo>
                  <a:pt x="1407205" y="535203"/>
                  <a:pt x="1402819" y="536744"/>
                  <a:pt x="1396650" y="537539"/>
                </a:cubicBezTo>
                <a:cubicBezTo>
                  <a:pt x="1396650" y="538469"/>
                  <a:pt x="1396650" y="539399"/>
                  <a:pt x="1396650" y="540357"/>
                </a:cubicBezTo>
                <a:cubicBezTo>
                  <a:pt x="1395609" y="540735"/>
                  <a:pt x="1394568" y="541113"/>
                  <a:pt x="1393495" y="541502"/>
                </a:cubicBezTo>
                <a:cubicBezTo>
                  <a:pt x="1381840" y="545973"/>
                  <a:pt x="1372279" y="551715"/>
                  <a:pt x="1362284" y="558678"/>
                </a:cubicBezTo>
                <a:cubicBezTo>
                  <a:pt x="1360170" y="560088"/>
                  <a:pt x="1358055" y="561497"/>
                  <a:pt x="1355937" y="562905"/>
                </a:cubicBezTo>
                <a:cubicBezTo>
                  <a:pt x="1348556" y="567937"/>
                  <a:pt x="1341292" y="573085"/>
                  <a:pt x="1334165" y="578406"/>
                </a:cubicBezTo>
                <a:cubicBezTo>
                  <a:pt x="1332697" y="579472"/>
                  <a:pt x="1332697" y="579472"/>
                  <a:pt x="1331200" y="580559"/>
                </a:cubicBezTo>
                <a:cubicBezTo>
                  <a:pt x="1325067" y="585430"/>
                  <a:pt x="1323406" y="589771"/>
                  <a:pt x="1322175" y="596793"/>
                </a:cubicBezTo>
                <a:cubicBezTo>
                  <a:pt x="1321669" y="599545"/>
                  <a:pt x="1321669" y="599545"/>
                  <a:pt x="1320106" y="602363"/>
                </a:cubicBezTo>
                <a:cubicBezTo>
                  <a:pt x="1318419" y="618189"/>
                  <a:pt x="1322416" y="632767"/>
                  <a:pt x="1328015" y="647640"/>
                </a:cubicBezTo>
                <a:cubicBezTo>
                  <a:pt x="1331267" y="656625"/>
                  <a:pt x="1333170" y="666179"/>
                  <a:pt x="1332604" y="675643"/>
                </a:cubicBezTo>
                <a:cubicBezTo>
                  <a:pt x="1333634" y="675643"/>
                  <a:pt x="1334665" y="675643"/>
                  <a:pt x="1335727" y="675643"/>
                </a:cubicBezTo>
                <a:cubicBezTo>
                  <a:pt x="1337571" y="680632"/>
                  <a:pt x="1337591" y="684795"/>
                  <a:pt x="1337741" y="690059"/>
                </a:cubicBezTo>
                <a:cubicBezTo>
                  <a:pt x="1337826" y="692114"/>
                  <a:pt x="1337913" y="694168"/>
                  <a:pt x="1338003" y="696222"/>
                </a:cubicBezTo>
                <a:cubicBezTo>
                  <a:pt x="1338142" y="699444"/>
                  <a:pt x="1338266" y="702664"/>
                  <a:pt x="1338340" y="705887"/>
                </a:cubicBezTo>
                <a:cubicBezTo>
                  <a:pt x="1338372" y="720474"/>
                  <a:pt x="1338372" y="720474"/>
                  <a:pt x="1345277" y="733245"/>
                </a:cubicBezTo>
                <a:cubicBezTo>
                  <a:pt x="1350822" y="737861"/>
                  <a:pt x="1355921" y="739823"/>
                  <a:pt x="1363162" y="741612"/>
                </a:cubicBezTo>
                <a:cubicBezTo>
                  <a:pt x="1370672" y="743533"/>
                  <a:pt x="1377197" y="745750"/>
                  <a:pt x="1384154" y="748922"/>
                </a:cubicBezTo>
                <a:cubicBezTo>
                  <a:pt x="1387833" y="749898"/>
                  <a:pt x="1387833" y="749898"/>
                  <a:pt x="1391476" y="750419"/>
                </a:cubicBezTo>
                <a:cubicBezTo>
                  <a:pt x="1393499" y="750747"/>
                  <a:pt x="1393499" y="750747"/>
                  <a:pt x="1395564" y="751080"/>
                </a:cubicBezTo>
                <a:cubicBezTo>
                  <a:pt x="1397648" y="751407"/>
                  <a:pt x="1397648" y="751407"/>
                  <a:pt x="1399775" y="751740"/>
                </a:cubicBezTo>
                <a:cubicBezTo>
                  <a:pt x="1401810" y="752111"/>
                  <a:pt x="1401810" y="752111"/>
                  <a:pt x="1403887" y="752489"/>
                </a:cubicBezTo>
                <a:cubicBezTo>
                  <a:pt x="1424247" y="756131"/>
                  <a:pt x="1444708" y="756350"/>
                  <a:pt x="1465383" y="755969"/>
                </a:cubicBezTo>
                <a:cubicBezTo>
                  <a:pt x="1467019" y="755945"/>
                  <a:pt x="1468654" y="755921"/>
                  <a:pt x="1470339" y="755897"/>
                </a:cubicBezTo>
                <a:cubicBezTo>
                  <a:pt x="1480128" y="755450"/>
                  <a:pt x="1487899" y="752933"/>
                  <a:pt x="1496809" y="749313"/>
                </a:cubicBezTo>
                <a:cubicBezTo>
                  <a:pt x="1502876" y="746888"/>
                  <a:pt x="1509049" y="745091"/>
                  <a:pt x="1515371" y="743285"/>
                </a:cubicBezTo>
                <a:cubicBezTo>
                  <a:pt x="1515371" y="742356"/>
                  <a:pt x="1515371" y="741425"/>
                  <a:pt x="1515371" y="740467"/>
                </a:cubicBezTo>
                <a:cubicBezTo>
                  <a:pt x="1522710" y="737103"/>
                  <a:pt x="1529583" y="737106"/>
                  <a:pt x="1537632" y="737120"/>
                </a:cubicBezTo>
                <a:cubicBezTo>
                  <a:pt x="1538960" y="737122"/>
                  <a:pt x="1540289" y="737124"/>
                  <a:pt x="1541657" y="737127"/>
                </a:cubicBezTo>
                <a:cubicBezTo>
                  <a:pt x="1555502" y="737372"/>
                  <a:pt x="1564314" y="740697"/>
                  <a:pt x="1574732" y="748922"/>
                </a:cubicBezTo>
                <a:cubicBezTo>
                  <a:pt x="1586507" y="762822"/>
                  <a:pt x="1590347" y="775219"/>
                  <a:pt x="1588791" y="792608"/>
                </a:cubicBezTo>
                <a:cubicBezTo>
                  <a:pt x="1587728" y="797050"/>
                  <a:pt x="1586468" y="801261"/>
                  <a:pt x="1584105" y="805291"/>
                </a:cubicBezTo>
                <a:cubicBezTo>
                  <a:pt x="1583074" y="805756"/>
                  <a:pt x="1582043" y="806221"/>
                  <a:pt x="1580981" y="806700"/>
                </a:cubicBezTo>
                <a:cubicBezTo>
                  <a:pt x="1580240" y="807892"/>
                  <a:pt x="1579499" y="809083"/>
                  <a:pt x="1578735" y="810311"/>
                </a:cubicBezTo>
                <a:cubicBezTo>
                  <a:pt x="1577930" y="811445"/>
                  <a:pt x="1577124" y="812579"/>
                  <a:pt x="1576295" y="813746"/>
                </a:cubicBezTo>
                <a:lnTo>
                  <a:pt x="1571652" y="813746"/>
                </a:lnTo>
                <a:lnTo>
                  <a:pt x="1571785" y="814106"/>
                </a:lnTo>
                <a:cubicBezTo>
                  <a:pt x="1572816" y="814571"/>
                  <a:pt x="1573846" y="815036"/>
                  <a:pt x="1574909" y="815515"/>
                </a:cubicBezTo>
                <a:cubicBezTo>
                  <a:pt x="1572126" y="818758"/>
                  <a:pt x="1569968" y="820871"/>
                  <a:pt x="1565463" y="821839"/>
                </a:cubicBezTo>
                <a:lnTo>
                  <a:pt x="1562085" y="822101"/>
                </a:lnTo>
                <a:lnTo>
                  <a:pt x="1551301" y="825020"/>
                </a:lnTo>
                <a:cubicBezTo>
                  <a:pt x="1551301" y="825950"/>
                  <a:pt x="1551301" y="826880"/>
                  <a:pt x="1551301" y="827838"/>
                </a:cubicBezTo>
                <a:cubicBezTo>
                  <a:pt x="1526697" y="828735"/>
                  <a:pt x="1507496" y="825036"/>
                  <a:pt x="1485380" y="815007"/>
                </a:cubicBezTo>
                <a:cubicBezTo>
                  <a:pt x="1468723" y="807743"/>
                  <a:pt x="1449749" y="809144"/>
                  <a:pt x="1431603" y="808726"/>
                </a:cubicBezTo>
                <a:cubicBezTo>
                  <a:pt x="1429115" y="808665"/>
                  <a:pt x="1426627" y="808604"/>
                  <a:pt x="1424140" y="808542"/>
                </a:cubicBezTo>
                <a:cubicBezTo>
                  <a:pt x="1418101" y="808392"/>
                  <a:pt x="1412062" y="808249"/>
                  <a:pt x="1406023" y="808109"/>
                </a:cubicBezTo>
                <a:cubicBezTo>
                  <a:pt x="1406023" y="809040"/>
                  <a:pt x="1406023" y="809970"/>
                  <a:pt x="1406023" y="810928"/>
                </a:cubicBezTo>
                <a:cubicBezTo>
                  <a:pt x="1404716" y="811118"/>
                  <a:pt x="1404716" y="811118"/>
                  <a:pt x="1403383" y="811311"/>
                </a:cubicBezTo>
                <a:cubicBezTo>
                  <a:pt x="1372054" y="815110"/>
                  <a:pt x="1372054" y="815110"/>
                  <a:pt x="1345442" y="828907"/>
                </a:cubicBezTo>
                <a:cubicBezTo>
                  <a:pt x="1338843" y="837605"/>
                  <a:pt x="1338313" y="846434"/>
                  <a:pt x="1337875" y="856639"/>
                </a:cubicBezTo>
                <a:cubicBezTo>
                  <a:pt x="1337815" y="857805"/>
                  <a:pt x="1337754" y="858970"/>
                  <a:pt x="1337692" y="860171"/>
                </a:cubicBezTo>
                <a:cubicBezTo>
                  <a:pt x="1337547" y="863016"/>
                  <a:pt x="1337417" y="865861"/>
                  <a:pt x="1337290" y="868706"/>
                </a:cubicBezTo>
                <a:cubicBezTo>
                  <a:pt x="1336258" y="868706"/>
                  <a:pt x="1335228" y="868706"/>
                  <a:pt x="1334165" y="868706"/>
                </a:cubicBezTo>
                <a:lnTo>
                  <a:pt x="1334165" y="870034"/>
                </a:lnTo>
                <a:lnTo>
                  <a:pt x="1334237" y="869093"/>
                </a:lnTo>
                <a:cubicBezTo>
                  <a:pt x="1334753" y="869093"/>
                  <a:pt x="1335268" y="869093"/>
                  <a:pt x="1335800" y="869093"/>
                </a:cubicBezTo>
                <a:cubicBezTo>
                  <a:pt x="1335884" y="871559"/>
                  <a:pt x="1335944" y="874025"/>
                  <a:pt x="1335995" y="876491"/>
                </a:cubicBezTo>
                <a:cubicBezTo>
                  <a:pt x="1336030" y="877865"/>
                  <a:pt x="1336067" y="879238"/>
                  <a:pt x="1336105" y="880653"/>
                </a:cubicBezTo>
                <a:cubicBezTo>
                  <a:pt x="1335800" y="884594"/>
                  <a:pt x="1335800" y="884594"/>
                  <a:pt x="1334294" y="887271"/>
                </a:cubicBezTo>
                <a:cubicBezTo>
                  <a:pt x="1332567" y="890428"/>
                  <a:pt x="1331982" y="892964"/>
                  <a:pt x="1331455" y="896440"/>
                </a:cubicBezTo>
                <a:cubicBezTo>
                  <a:pt x="1331267" y="897605"/>
                  <a:pt x="1331080" y="898769"/>
                  <a:pt x="1330887" y="899969"/>
                </a:cubicBezTo>
                <a:cubicBezTo>
                  <a:pt x="1330704" y="901174"/>
                  <a:pt x="1330521" y="902378"/>
                  <a:pt x="1330332" y="903618"/>
                </a:cubicBezTo>
                <a:cubicBezTo>
                  <a:pt x="1329968" y="906013"/>
                  <a:pt x="1329594" y="908405"/>
                  <a:pt x="1329209" y="910797"/>
                </a:cubicBezTo>
                <a:cubicBezTo>
                  <a:pt x="1329049" y="911853"/>
                  <a:pt x="1328889" y="912910"/>
                  <a:pt x="1328724" y="913998"/>
                </a:cubicBezTo>
                <a:cubicBezTo>
                  <a:pt x="1327933" y="917233"/>
                  <a:pt x="1326525" y="919703"/>
                  <a:pt x="1324865" y="922643"/>
                </a:cubicBezTo>
                <a:cubicBezTo>
                  <a:pt x="1323924" y="927743"/>
                  <a:pt x="1323282" y="932845"/>
                  <a:pt x="1322619" y="937979"/>
                </a:cubicBezTo>
                <a:lnTo>
                  <a:pt x="1318744" y="944961"/>
                </a:lnTo>
                <a:lnTo>
                  <a:pt x="1318544" y="946213"/>
                </a:lnTo>
                <a:cubicBezTo>
                  <a:pt x="1318360" y="949234"/>
                  <a:pt x="1318271" y="952260"/>
                  <a:pt x="1318251" y="955285"/>
                </a:cubicBezTo>
                <a:cubicBezTo>
                  <a:pt x="1318218" y="957637"/>
                  <a:pt x="1318218" y="957637"/>
                  <a:pt x="1318184" y="960036"/>
                </a:cubicBezTo>
                <a:cubicBezTo>
                  <a:pt x="1318624" y="965530"/>
                  <a:pt x="1319569" y="969724"/>
                  <a:pt x="1324024" y="973660"/>
                </a:cubicBezTo>
                <a:cubicBezTo>
                  <a:pt x="1327197" y="976583"/>
                  <a:pt x="1327950" y="979494"/>
                  <a:pt x="1329284" y="983382"/>
                </a:cubicBezTo>
                <a:cubicBezTo>
                  <a:pt x="1331875" y="990106"/>
                  <a:pt x="1334445" y="993582"/>
                  <a:pt x="1340414" y="998354"/>
                </a:cubicBezTo>
                <a:cubicBezTo>
                  <a:pt x="1342397" y="1000564"/>
                  <a:pt x="1344347" y="1002798"/>
                  <a:pt x="1346272" y="1005048"/>
                </a:cubicBezTo>
                <a:cubicBezTo>
                  <a:pt x="1360055" y="1020713"/>
                  <a:pt x="1376247" y="1031879"/>
                  <a:pt x="1394716" y="1042740"/>
                </a:cubicBezTo>
                <a:cubicBezTo>
                  <a:pt x="1397172" y="1044228"/>
                  <a:pt x="1399581" y="1045779"/>
                  <a:pt x="1401953" y="1047374"/>
                </a:cubicBezTo>
                <a:cubicBezTo>
                  <a:pt x="1410065" y="1052802"/>
                  <a:pt x="1417529" y="1056366"/>
                  <a:pt x="1427197" y="1059061"/>
                </a:cubicBezTo>
                <a:cubicBezTo>
                  <a:pt x="1431243" y="1060437"/>
                  <a:pt x="1434061" y="1061979"/>
                  <a:pt x="1437265" y="1064588"/>
                </a:cubicBezTo>
                <a:cubicBezTo>
                  <a:pt x="1437265" y="1065518"/>
                  <a:pt x="1437265" y="1066448"/>
                  <a:pt x="1437265" y="1067406"/>
                </a:cubicBezTo>
                <a:cubicBezTo>
                  <a:pt x="1439053" y="1067624"/>
                  <a:pt x="1439053" y="1067624"/>
                  <a:pt x="1440878" y="1067847"/>
                </a:cubicBezTo>
                <a:cubicBezTo>
                  <a:pt x="1445076" y="1068815"/>
                  <a:pt x="1445076" y="1068815"/>
                  <a:pt x="1447175" y="1070753"/>
                </a:cubicBezTo>
                <a:cubicBezTo>
                  <a:pt x="1450417" y="1073622"/>
                  <a:pt x="1453781" y="1075060"/>
                  <a:pt x="1457866" y="1076830"/>
                </a:cubicBezTo>
                <a:cubicBezTo>
                  <a:pt x="1459274" y="1077446"/>
                  <a:pt x="1460681" y="1078062"/>
                  <a:pt x="1462132" y="1078696"/>
                </a:cubicBezTo>
                <a:cubicBezTo>
                  <a:pt x="1463204" y="1079156"/>
                  <a:pt x="1464278" y="1079616"/>
                  <a:pt x="1465383" y="1080089"/>
                </a:cubicBezTo>
                <a:cubicBezTo>
                  <a:pt x="1465383" y="1081019"/>
                  <a:pt x="1465383" y="1081949"/>
                  <a:pt x="1465383" y="1082908"/>
                </a:cubicBezTo>
                <a:cubicBezTo>
                  <a:pt x="1466497" y="1083260"/>
                  <a:pt x="1467611" y="1083612"/>
                  <a:pt x="1468758" y="1083975"/>
                </a:cubicBezTo>
                <a:cubicBezTo>
                  <a:pt x="1473648" y="1085905"/>
                  <a:pt x="1477426" y="1088296"/>
                  <a:pt x="1481688" y="1091187"/>
                </a:cubicBezTo>
                <a:cubicBezTo>
                  <a:pt x="1483204" y="1092193"/>
                  <a:pt x="1484721" y="1093200"/>
                  <a:pt x="1486283" y="1094236"/>
                </a:cubicBezTo>
                <a:cubicBezTo>
                  <a:pt x="1489170" y="1096185"/>
                  <a:pt x="1492029" y="1098166"/>
                  <a:pt x="1494869" y="1100171"/>
                </a:cubicBezTo>
                <a:cubicBezTo>
                  <a:pt x="1510181" y="1107906"/>
                  <a:pt x="1527080" y="1109898"/>
                  <a:pt x="1544335" y="1109518"/>
                </a:cubicBezTo>
                <a:cubicBezTo>
                  <a:pt x="1579932" y="1108798"/>
                  <a:pt x="1579932" y="1108798"/>
                  <a:pt x="1593477" y="1119900"/>
                </a:cubicBezTo>
                <a:cubicBezTo>
                  <a:pt x="1600636" y="1127255"/>
                  <a:pt x="1604889" y="1135120"/>
                  <a:pt x="1605975" y="1144913"/>
                </a:cubicBezTo>
                <a:cubicBezTo>
                  <a:pt x="1607006" y="1144913"/>
                  <a:pt x="1608036" y="1144913"/>
                  <a:pt x="1609099" y="1144913"/>
                </a:cubicBezTo>
                <a:cubicBezTo>
                  <a:pt x="1609227" y="1148907"/>
                  <a:pt x="1609319" y="1152897"/>
                  <a:pt x="1609392" y="1156892"/>
                </a:cubicBezTo>
                <a:cubicBezTo>
                  <a:pt x="1609451" y="1158565"/>
                  <a:pt x="1609451" y="1158565"/>
                  <a:pt x="1609511" y="1160272"/>
                </a:cubicBezTo>
                <a:cubicBezTo>
                  <a:pt x="1609621" y="1168378"/>
                  <a:pt x="1607970" y="1174108"/>
                  <a:pt x="1604412" y="1181553"/>
                </a:cubicBezTo>
                <a:cubicBezTo>
                  <a:pt x="1603354" y="1184367"/>
                  <a:pt x="1602306" y="1187183"/>
                  <a:pt x="1601288" y="1190009"/>
                </a:cubicBezTo>
                <a:cubicBezTo>
                  <a:pt x="1600257" y="1190009"/>
                  <a:pt x="1599226" y="1190009"/>
                  <a:pt x="1598164" y="1190009"/>
                </a:cubicBezTo>
                <a:cubicBezTo>
                  <a:pt x="1597842" y="1190910"/>
                  <a:pt x="1597520" y="1191810"/>
                  <a:pt x="1597187" y="1192739"/>
                </a:cubicBezTo>
                <a:cubicBezTo>
                  <a:pt x="1596479" y="1193698"/>
                  <a:pt x="1595770" y="1194657"/>
                  <a:pt x="1595040" y="1195645"/>
                </a:cubicBezTo>
                <a:cubicBezTo>
                  <a:pt x="1591916" y="1196115"/>
                  <a:pt x="1588791" y="1196585"/>
                  <a:pt x="1585667" y="1197055"/>
                </a:cubicBezTo>
                <a:cubicBezTo>
                  <a:pt x="1583871" y="1199826"/>
                  <a:pt x="1583871" y="1199826"/>
                  <a:pt x="1582543" y="1202691"/>
                </a:cubicBezTo>
                <a:cubicBezTo>
                  <a:pt x="1575997" y="1204710"/>
                  <a:pt x="1569266" y="1204360"/>
                  <a:pt x="1562431" y="1204365"/>
                </a:cubicBezTo>
                <a:cubicBezTo>
                  <a:pt x="1561196" y="1204382"/>
                  <a:pt x="1559962" y="1204399"/>
                  <a:pt x="1558690" y="1204417"/>
                </a:cubicBezTo>
                <a:cubicBezTo>
                  <a:pt x="1543339" y="1204452"/>
                  <a:pt x="1531981" y="1199267"/>
                  <a:pt x="1521102" y="1189585"/>
                </a:cubicBezTo>
                <a:cubicBezTo>
                  <a:pt x="1515403" y="1183953"/>
                  <a:pt x="1510116" y="1178123"/>
                  <a:pt x="1505022" y="1172041"/>
                </a:cubicBezTo>
                <a:cubicBezTo>
                  <a:pt x="1493200" y="1158177"/>
                  <a:pt x="1475492" y="1147115"/>
                  <a:pt x="1457573" y="1140686"/>
                </a:cubicBezTo>
                <a:cubicBezTo>
                  <a:pt x="1457573" y="1139755"/>
                  <a:pt x="1457573" y="1138826"/>
                  <a:pt x="1457573" y="1137867"/>
                </a:cubicBezTo>
                <a:cubicBezTo>
                  <a:pt x="1456059" y="1137693"/>
                  <a:pt x="1454544" y="1137518"/>
                  <a:pt x="1452985" y="1137339"/>
                </a:cubicBezTo>
                <a:cubicBezTo>
                  <a:pt x="1451406" y="1137048"/>
                  <a:pt x="1449827" y="1136758"/>
                  <a:pt x="1448200" y="1136458"/>
                </a:cubicBezTo>
                <a:cubicBezTo>
                  <a:pt x="1447685" y="1135528"/>
                  <a:pt x="1447169" y="1134598"/>
                  <a:pt x="1446638" y="1133640"/>
                </a:cubicBezTo>
                <a:cubicBezTo>
                  <a:pt x="1444091" y="1132586"/>
                  <a:pt x="1441535" y="1131550"/>
                  <a:pt x="1438937" y="1130601"/>
                </a:cubicBezTo>
                <a:cubicBezTo>
                  <a:pt x="1435668" y="1129399"/>
                  <a:pt x="1432469" y="1128095"/>
                  <a:pt x="1429260" y="1126770"/>
                </a:cubicBezTo>
                <a:cubicBezTo>
                  <a:pt x="1423389" y="1124389"/>
                  <a:pt x="1417431" y="1122349"/>
                  <a:pt x="1411393" y="1120340"/>
                </a:cubicBezTo>
                <a:cubicBezTo>
                  <a:pt x="1404143" y="1117867"/>
                  <a:pt x="1397842" y="1115090"/>
                  <a:pt x="1391427" y="1111191"/>
                </a:cubicBezTo>
                <a:cubicBezTo>
                  <a:pt x="1388139" y="1109274"/>
                  <a:pt x="1384723" y="1108010"/>
                  <a:pt x="1381029" y="1106865"/>
                </a:cubicBezTo>
                <a:cubicBezTo>
                  <a:pt x="1381029" y="1105934"/>
                  <a:pt x="1381029" y="1105004"/>
                  <a:pt x="1381029" y="1104046"/>
                </a:cubicBezTo>
                <a:cubicBezTo>
                  <a:pt x="1379773" y="1103901"/>
                  <a:pt x="1378516" y="1103755"/>
                  <a:pt x="1377221" y="1103605"/>
                </a:cubicBezTo>
                <a:cubicBezTo>
                  <a:pt x="1370425" y="1102422"/>
                  <a:pt x="1364120" y="1100465"/>
                  <a:pt x="1357597" y="1098409"/>
                </a:cubicBezTo>
                <a:cubicBezTo>
                  <a:pt x="1355761" y="1097857"/>
                  <a:pt x="1353924" y="1097304"/>
                  <a:pt x="1352032" y="1096736"/>
                </a:cubicBezTo>
                <a:cubicBezTo>
                  <a:pt x="1350776" y="1096358"/>
                  <a:pt x="1349519" y="1095980"/>
                  <a:pt x="1348225" y="1095590"/>
                </a:cubicBezTo>
                <a:cubicBezTo>
                  <a:pt x="1348225" y="1094661"/>
                  <a:pt x="1348225" y="1093730"/>
                  <a:pt x="1348225" y="1092772"/>
                </a:cubicBezTo>
                <a:cubicBezTo>
                  <a:pt x="1344616" y="1092307"/>
                  <a:pt x="1341007" y="1091842"/>
                  <a:pt x="1337290" y="1091363"/>
                </a:cubicBezTo>
                <a:cubicBezTo>
                  <a:pt x="1337290" y="1090433"/>
                  <a:pt x="1337290" y="1089503"/>
                  <a:pt x="1337290" y="1088544"/>
                </a:cubicBezTo>
                <a:cubicBezTo>
                  <a:pt x="1334438" y="1088327"/>
                  <a:pt x="1334438" y="1088327"/>
                  <a:pt x="1331529" y="1088104"/>
                </a:cubicBezTo>
                <a:lnTo>
                  <a:pt x="1323297" y="1086611"/>
                </a:lnTo>
                <a:lnTo>
                  <a:pt x="1323297" y="1087618"/>
                </a:lnTo>
                <a:cubicBezTo>
                  <a:pt x="1322139" y="1087517"/>
                  <a:pt x="1320982" y="1087415"/>
                  <a:pt x="1319789" y="1087310"/>
                </a:cubicBezTo>
                <a:cubicBezTo>
                  <a:pt x="1300429" y="1085771"/>
                  <a:pt x="1281330" y="1084680"/>
                  <a:pt x="1262375" y="1089028"/>
                </a:cubicBezTo>
                <a:lnTo>
                  <a:pt x="1258728" y="1088205"/>
                </a:lnTo>
                <a:lnTo>
                  <a:pt x="1246964" y="1091489"/>
                </a:lnTo>
                <a:cubicBezTo>
                  <a:pt x="1237239" y="1097222"/>
                  <a:pt x="1228703" y="1103434"/>
                  <a:pt x="1223224" y="1112865"/>
                </a:cubicBezTo>
                <a:cubicBezTo>
                  <a:pt x="1220867" y="1116643"/>
                  <a:pt x="1217262" y="1119317"/>
                  <a:pt x="1213883" y="1122366"/>
                </a:cubicBezTo>
                <a:cubicBezTo>
                  <a:pt x="1213428" y="1123469"/>
                  <a:pt x="1212973" y="1124572"/>
                  <a:pt x="1212505" y="1125708"/>
                </a:cubicBezTo>
                <a:cubicBezTo>
                  <a:pt x="1210449" y="1130067"/>
                  <a:pt x="1207984" y="1132315"/>
                  <a:pt x="1204180" y="1135561"/>
                </a:cubicBezTo>
                <a:cubicBezTo>
                  <a:pt x="1202879" y="1136695"/>
                  <a:pt x="1201578" y="1137829"/>
                  <a:pt x="1200238" y="1138999"/>
                </a:cubicBezTo>
                <a:cubicBezTo>
                  <a:pt x="1197504" y="1141343"/>
                  <a:pt x="1194765" y="1143684"/>
                  <a:pt x="1192025" y="1146022"/>
                </a:cubicBezTo>
                <a:cubicBezTo>
                  <a:pt x="1181899" y="1154869"/>
                  <a:pt x="1174983" y="1161763"/>
                  <a:pt x="1173945" y="1174749"/>
                </a:cubicBezTo>
                <a:cubicBezTo>
                  <a:pt x="1173902" y="1177369"/>
                  <a:pt x="1173905" y="1179990"/>
                  <a:pt x="1173950" y="1182610"/>
                </a:cubicBezTo>
                <a:cubicBezTo>
                  <a:pt x="1173963" y="1183981"/>
                  <a:pt x="1173975" y="1185352"/>
                  <a:pt x="1173989" y="1186765"/>
                </a:cubicBezTo>
                <a:cubicBezTo>
                  <a:pt x="1174321" y="1197573"/>
                  <a:pt x="1176809" y="1205883"/>
                  <a:pt x="1182640" y="1215374"/>
                </a:cubicBezTo>
                <a:cubicBezTo>
                  <a:pt x="1183703" y="1217509"/>
                  <a:pt x="1184746" y="1219652"/>
                  <a:pt x="1185764" y="1221804"/>
                </a:cubicBezTo>
                <a:cubicBezTo>
                  <a:pt x="1186271" y="1222812"/>
                  <a:pt x="1186779" y="1223821"/>
                  <a:pt x="1187301" y="1224859"/>
                </a:cubicBezTo>
                <a:cubicBezTo>
                  <a:pt x="1188431" y="1227137"/>
                  <a:pt x="1189517" y="1229433"/>
                  <a:pt x="1190573" y="1231740"/>
                </a:cubicBezTo>
                <a:cubicBezTo>
                  <a:pt x="1194650" y="1240409"/>
                  <a:pt x="1199581" y="1247688"/>
                  <a:pt x="1205925" y="1255163"/>
                </a:cubicBezTo>
                <a:cubicBezTo>
                  <a:pt x="1208103" y="1257757"/>
                  <a:pt x="1210188" y="1260417"/>
                  <a:pt x="1212174" y="1263134"/>
                </a:cubicBezTo>
                <a:cubicBezTo>
                  <a:pt x="1218757" y="1272043"/>
                  <a:pt x="1225157" y="1277324"/>
                  <a:pt x="1235556" y="1282538"/>
                </a:cubicBezTo>
                <a:cubicBezTo>
                  <a:pt x="1236652" y="1283161"/>
                  <a:pt x="1237747" y="1283784"/>
                  <a:pt x="1238876" y="1284426"/>
                </a:cubicBezTo>
                <a:cubicBezTo>
                  <a:pt x="1238876" y="1285356"/>
                  <a:pt x="1238876" y="1286287"/>
                  <a:pt x="1238876" y="1287245"/>
                </a:cubicBezTo>
                <a:cubicBezTo>
                  <a:pt x="1239988" y="1287383"/>
                  <a:pt x="1241099" y="1287521"/>
                  <a:pt x="1242245" y="1287663"/>
                </a:cubicBezTo>
                <a:cubicBezTo>
                  <a:pt x="1253043" y="1290072"/>
                  <a:pt x="1264916" y="1297690"/>
                  <a:pt x="1271681" y="1305565"/>
                </a:cubicBezTo>
                <a:lnTo>
                  <a:pt x="1271742" y="1306172"/>
                </a:lnTo>
                <a:lnTo>
                  <a:pt x="1278525" y="1315767"/>
                </a:lnTo>
                <a:cubicBezTo>
                  <a:pt x="1279797" y="1319398"/>
                  <a:pt x="1280365" y="1323346"/>
                  <a:pt x="1281097" y="1327286"/>
                </a:cubicBezTo>
                <a:cubicBezTo>
                  <a:pt x="1281916" y="1337121"/>
                  <a:pt x="1281807" y="1346176"/>
                  <a:pt x="1277973" y="1355470"/>
                </a:cubicBezTo>
                <a:lnTo>
                  <a:pt x="1277460" y="1347025"/>
                </a:lnTo>
                <a:lnTo>
                  <a:pt x="1273531" y="1357991"/>
                </a:lnTo>
                <a:cubicBezTo>
                  <a:pt x="1270940" y="1361892"/>
                  <a:pt x="1267521" y="1365435"/>
                  <a:pt x="1263870" y="1368980"/>
                </a:cubicBezTo>
                <a:cubicBezTo>
                  <a:pt x="1258351" y="1372929"/>
                  <a:pt x="1253850" y="1376026"/>
                  <a:pt x="1246686" y="1376026"/>
                </a:cubicBezTo>
                <a:cubicBezTo>
                  <a:pt x="1246686" y="1376956"/>
                  <a:pt x="1246686" y="1377886"/>
                  <a:pt x="1246686" y="1378844"/>
                </a:cubicBezTo>
                <a:cubicBezTo>
                  <a:pt x="1241676" y="1379009"/>
                  <a:pt x="1236665" y="1379109"/>
                  <a:pt x="1231651" y="1379196"/>
                </a:cubicBezTo>
                <a:cubicBezTo>
                  <a:pt x="1230240" y="1379244"/>
                  <a:pt x="1228828" y="1379291"/>
                  <a:pt x="1227373" y="1379340"/>
                </a:cubicBezTo>
                <a:cubicBezTo>
                  <a:pt x="1218287" y="1379460"/>
                  <a:pt x="1213363" y="1378568"/>
                  <a:pt x="1206071" y="1373207"/>
                </a:cubicBezTo>
                <a:cubicBezTo>
                  <a:pt x="1204751" y="1372742"/>
                  <a:pt x="1203430" y="1372277"/>
                  <a:pt x="1202069" y="1371798"/>
                </a:cubicBezTo>
                <a:cubicBezTo>
                  <a:pt x="1193777" y="1368730"/>
                  <a:pt x="1188124" y="1363294"/>
                  <a:pt x="1184104" y="1356176"/>
                </a:cubicBezTo>
                <a:cubicBezTo>
                  <a:pt x="1180965" y="1349259"/>
                  <a:pt x="1178852" y="1342590"/>
                  <a:pt x="1177270" y="1335247"/>
                </a:cubicBezTo>
                <a:cubicBezTo>
                  <a:pt x="1175525" y="1327352"/>
                  <a:pt x="1172911" y="1320677"/>
                  <a:pt x="1169002" y="1313464"/>
                </a:cubicBezTo>
                <a:cubicBezTo>
                  <a:pt x="1166989" y="1309737"/>
                  <a:pt x="1165215" y="1305976"/>
                  <a:pt x="1163504" y="1302130"/>
                </a:cubicBezTo>
                <a:cubicBezTo>
                  <a:pt x="1163013" y="1301027"/>
                  <a:pt x="1162521" y="1299924"/>
                  <a:pt x="1162015" y="1298788"/>
                </a:cubicBezTo>
                <a:cubicBezTo>
                  <a:pt x="1160770" y="1295700"/>
                  <a:pt x="1160770" y="1295700"/>
                  <a:pt x="1160111" y="1292656"/>
                </a:cubicBezTo>
                <a:cubicBezTo>
                  <a:pt x="1159345" y="1289507"/>
                  <a:pt x="1159345" y="1289507"/>
                  <a:pt x="1154522" y="1287245"/>
                </a:cubicBezTo>
                <a:cubicBezTo>
                  <a:pt x="1153465" y="1284902"/>
                  <a:pt x="1152426" y="1282552"/>
                  <a:pt x="1151398" y="1280199"/>
                </a:cubicBezTo>
                <a:cubicBezTo>
                  <a:pt x="1149056" y="1276983"/>
                  <a:pt x="1146686" y="1273874"/>
                  <a:pt x="1144173" y="1270774"/>
                </a:cubicBezTo>
                <a:cubicBezTo>
                  <a:pt x="1143477" y="1269912"/>
                  <a:pt x="1142782" y="1269049"/>
                  <a:pt x="1142065" y="1268160"/>
                </a:cubicBezTo>
                <a:cubicBezTo>
                  <a:pt x="1139981" y="1265589"/>
                  <a:pt x="1137880" y="1263029"/>
                  <a:pt x="1135776" y="1260470"/>
                </a:cubicBezTo>
                <a:cubicBezTo>
                  <a:pt x="1134647" y="1259076"/>
                  <a:pt x="1133517" y="1257683"/>
                  <a:pt x="1132353" y="1256247"/>
                </a:cubicBezTo>
                <a:cubicBezTo>
                  <a:pt x="1126291" y="1249045"/>
                  <a:pt x="1121408" y="1244606"/>
                  <a:pt x="1112344" y="1240741"/>
                </a:cubicBezTo>
                <a:cubicBezTo>
                  <a:pt x="1110285" y="1239698"/>
                  <a:pt x="1108234" y="1238642"/>
                  <a:pt x="1106193" y="1237570"/>
                </a:cubicBezTo>
                <a:cubicBezTo>
                  <a:pt x="1104615" y="1236756"/>
                  <a:pt x="1103036" y="1235942"/>
                  <a:pt x="1101409" y="1235104"/>
                </a:cubicBezTo>
                <a:cubicBezTo>
                  <a:pt x="1101409" y="1233708"/>
                  <a:pt x="1101409" y="1232313"/>
                  <a:pt x="1101409" y="1230876"/>
                </a:cubicBezTo>
                <a:cubicBezTo>
                  <a:pt x="1089553" y="1230876"/>
                  <a:pt x="1077697" y="1230876"/>
                  <a:pt x="1065480" y="1230876"/>
                </a:cubicBezTo>
                <a:cubicBezTo>
                  <a:pt x="1064965" y="1232271"/>
                  <a:pt x="1064450" y="1233666"/>
                  <a:pt x="1063919" y="1235104"/>
                </a:cubicBezTo>
                <a:cubicBezTo>
                  <a:pt x="1062372" y="1235104"/>
                  <a:pt x="1060826" y="1235104"/>
                  <a:pt x="1059232" y="1235104"/>
                </a:cubicBezTo>
                <a:cubicBezTo>
                  <a:pt x="1059232" y="1236033"/>
                  <a:pt x="1059232" y="1236964"/>
                  <a:pt x="1059232" y="1237922"/>
                </a:cubicBezTo>
                <a:cubicBezTo>
                  <a:pt x="1052964" y="1240850"/>
                  <a:pt x="1046842" y="1243613"/>
                  <a:pt x="1040194" y="1245761"/>
                </a:cubicBezTo>
                <a:cubicBezTo>
                  <a:pt x="1036552" y="1246941"/>
                  <a:pt x="1033682" y="1248088"/>
                  <a:pt x="1030333" y="1249901"/>
                </a:cubicBezTo>
                <a:cubicBezTo>
                  <a:pt x="1025129" y="1252717"/>
                  <a:pt x="1019615" y="1254371"/>
                  <a:pt x="1013931" y="1256242"/>
                </a:cubicBezTo>
                <a:cubicBezTo>
                  <a:pt x="1009870" y="1257688"/>
                  <a:pt x="1008221" y="1258277"/>
                  <a:pt x="1005925" y="1261615"/>
                </a:cubicBezTo>
                <a:cubicBezTo>
                  <a:pt x="1005474" y="1262632"/>
                  <a:pt x="1005023" y="1263649"/>
                  <a:pt x="1004558" y="1264697"/>
                </a:cubicBezTo>
                <a:cubicBezTo>
                  <a:pt x="1004030" y="1265774"/>
                  <a:pt x="1003503" y="1266852"/>
                  <a:pt x="1002959" y="1267961"/>
                </a:cubicBezTo>
                <a:cubicBezTo>
                  <a:pt x="1001408" y="1271808"/>
                  <a:pt x="1000922" y="1274896"/>
                  <a:pt x="1000653" y="1278965"/>
                </a:cubicBezTo>
                <a:cubicBezTo>
                  <a:pt x="1000303" y="1284158"/>
                  <a:pt x="999467" y="1289055"/>
                  <a:pt x="998297" y="1294137"/>
                </a:cubicBezTo>
                <a:cubicBezTo>
                  <a:pt x="996204" y="1304306"/>
                  <a:pt x="996129" y="1314460"/>
                  <a:pt x="996162" y="1324765"/>
                </a:cubicBezTo>
                <a:cubicBezTo>
                  <a:pt x="996163" y="1325782"/>
                  <a:pt x="996163" y="1326799"/>
                  <a:pt x="996164" y="1327846"/>
                </a:cubicBezTo>
                <a:cubicBezTo>
                  <a:pt x="996263" y="1353742"/>
                  <a:pt x="1001081" y="1378188"/>
                  <a:pt x="1007780" y="1403329"/>
                </a:cubicBezTo>
                <a:cubicBezTo>
                  <a:pt x="1008163" y="1404772"/>
                  <a:pt x="1008546" y="1406215"/>
                  <a:pt x="1008940" y="1407701"/>
                </a:cubicBezTo>
                <a:cubicBezTo>
                  <a:pt x="1009316" y="1409030"/>
                  <a:pt x="1009693" y="1410360"/>
                  <a:pt x="1010080" y="1411730"/>
                </a:cubicBezTo>
                <a:cubicBezTo>
                  <a:pt x="1010409" y="1412900"/>
                  <a:pt x="1010737" y="1414071"/>
                  <a:pt x="1011075" y="1415277"/>
                </a:cubicBezTo>
                <a:cubicBezTo>
                  <a:pt x="1012501" y="1418612"/>
                  <a:pt x="1014136" y="1420168"/>
                  <a:pt x="1017055" y="1422530"/>
                </a:cubicBezTo>
                <a:cubicBezTo>
                  <a:pt x="1018770" y="1425162"/>
                  <a:pt x="1018770" y="1425162"/>
                  <a:pt x="1020277" y="1427991"/>
                </a:cubicBezTo>
                <a:cubicBezTo>
                  <a:pt x="1020778" y="1428917"/>
                  <a:pt x="1021280" y="1429844"/>
                  <a:pt x="1021796" y="1430798"/>
                </a:cubicBezTo>
                <a:cubicBezTo>
                  <a:pt x="1023303" y="1433804"/>
                  <a:pt x="1023303" y="1433804"/>
                  <a:pt x="1024579" y="1437239"/>
                </a:cubicBezTo>
                <a:cubicBezTo>
                  <a:pt x="1026915" y="1441803"/>
                  <a:pt x="1030098" y="1444534"/>
                  <a:pt x="1034043" y="1448072"/>
                </a:cubicBezTo>
                <a:lnTo>
                  <a:pt x="1043782" y="1464320"/>
                </a:lnTo>
                <a:lnTo>
                  <a:pt x="1050458" y="1472189"/>
                </a:lnTo>
                <a:cubicBezTo>
                  <a:pt x="1051737" y="1475181"/>
                  <a:pt x="1052277" y="1478513"/>
                  <a:pt x="1052926" y="1482370"/>
                </a:cubicBezTo>
                <a:cubicBezTo>
                  <a:pt x="1053325" y="1487224"/>
                  <a:pt x="1053364" y="1492038"/>
                  <a:pt x="1053316" y="1496903"/>
                </a:cubicBezTo>
                <a:cubicBezTo>
                  <a:pt x="1053328" y="1498142"/>
                  <a:pt x="1053340" y="1499382"/>
                  <a:pt x="1053352" y="1500660"/>
                </a:cubicBezTo>
                <a:cubicBezTo>
                  <a:pt x="1053348" y="1501856"/>
                  <a:pt x="1053344" y="1503052"/>
                  <a:pt x="1053341" y="1504285"/>
                </a:cubicBezTo>
                <a:cubicBezTo>
                  <a:pt x="1053336" y="1505355"/>
                  <a:pt x="1053333" y="1506426"/>
                  <a:pt x="1053329" y="1507529"/>
                </a:cubicBezTo>
                <a:cubicBezTo>
                  <a:pt x="1052876" y="1510927"/>
                  <a:pt x="1051672" y="1513237"/>
                  <a:pt x="1049801" y="1516192"/>
                </a:cubicBezTo>
                <a:lnTo>
                  <a:pt x="1047312" y="1516192"/>
                </a:lnTo>
                <a:lnTo>
                  <a:pt x="1043611" y="1522585"/>
                </a:lnTo>
                <a:cubicBezTo>
                  <a:pt x="1035301" y="1529631"/>
                  <a:pt x="1035301" y="1529631"/>
                  <a:pt x="1029552" y="1529631"/>
                </a:cubicBezTo>
                <a:cubicBezTo>
                  <a:pt x="1029294" y="1530503"/>
                  <a:pt x="1029036" y="1531375"/>
                  <a:pt x="1028771" y="1532273"/>
                </a:cubicBezTo>
                <a:cubicBezTo>
                  <a:pt x="1025795" y="1536076"/>
                  <a:pt x="1022970" y="1536733"/>
                  <a:pt x="1018013" y="1537640"/>
                </a:cubicBezTo>
                <a:cubicBezTo>
                  <a:pt x="1005216" y="1539038"/>
                  <a:pt x="992573" y="1539816"/>
                  <a:pt x="981126" y="1533859"/>
                </a:cubicBezTo>
                <a:cubicBezTo>
                  <a:pt x="979840" y="1533226"/>
                  <a:pt x="978553" y="1532594"/>
                  <a:pt x="977227" y="1531943"/>
                </a:cubicBezTo>
                <a:cubicBezTo>
                  <a:pt x="965286" y="1525877"/>
                  <a:pt x="959626" y="1520520"/>
                  <a:pt x="955376" y="1508751"/>
                </a:cubicBezTo>
                <a:cubicBezTo>
                  <a:pt x="954571" y="1505674"/>
                  <a:pt x="954571" y="1505674"/>
                  <a:pt x="954571" y="1500037"/>
                </a:cubicBezTo>
                <a:cubicBezTo>
                  <a:pt x="953539" y="1500037"/>
                  <a:pt x="952508" y="1500037"/>
                  <a:pt x="951446" y="1500037"/>
                </a:cubicBezTo>
                <a:cubicBezTo>
                  <a:pt x="951361" y="1495986"/>
                  <a:pt x="951299" y="1491935"/>
                  <a:pt x="951251" y="1487883"/>
                </a:cubicBezTo>
                <a:cubicBezTo>
                  <a:pt x="951224" y="1486744"/>
                  <a:pt x="951198" y="1485605"/>
                  <a:pt x="951171" y="1484431"/>
                </a:cubicBezTo>
                <a:cubicBezTo>
                  <a:pt x="951110" y="1477657"/>
                  <a:pt x="952093" y="1472660"/>
                  <a:pt x="954571" y="1466216"/>
                </a:cubicBezTo>
                <a:cubicBezTo>
                  <a:pt x="954867" y="1462451"/>
                  <a:pt x="955016" y="1458876"/>
                  <a:pt x="954961" y="1455118"/>
                </a:cubicBezTo>
                <a:cubicBezTo>
                  <a:pt x="954951" y="1454080"/>
                  <a:pt x="954942" y="1453042"/>
                  <a:pt x="954932" y="1451972"/>
                </a:cubicBezTo>
                <a:cubicBezTo>
                  <a:pt x="954606" y="1435235"/>
                  <a:pt x="952568" y="1419050"/>
                  <a:pt x="945099" y="1403594"/>
                </a:cubicBezTo>
                <a:cubicBezTo>
                  <a:pt x="943714" y="1400177"/>
                  <a:pt x="943046" y="1397128"/>
                  <a:pt x="942366" y="1393553"/>
                </a:cubicBezTo>
                <a:cubicBezTo>
                  <a:pt x="940837" y="1386134"/>
                  <a:pt x="937840" y="1379609"/>
                  <a:pt x="934451" y="1372734"/>
                </a:cubicBezTo>
                <a:cubicBezTo>
                  <a:pt x="932701" y="1368980"/>
                  <a:pt x="932701" y="1368980"/>
                  <a:pt x="931974" y="1365754"/>
                </a:cubicBezTo>
                <a:cubicBezTo>
                  <a:pt x="931699" y="1364958"/>
                  <a:pt x="931422" y="1364162"/>
                  <a:pt x="931138" y="1363343"/>
                </a:cubicBezTo>
                <a:cubicBezTo>
                  <a:pt x="929592" y="1362878"/>
                  <a:pt x="928045" y="1362413"/>
                  <a:pt x="926452" y="1361933"/>
                </a:cubicBezTo>
                <a:cubicBezTo>
                  <a:pt x="921830" y="1355261"/>
                  <a:pt x="920323" y="1348382"/>
                  <a:pt x="918641" y="1340795"/>
                </a:cubicBezTo>
                <a:cubicBezTo>
                  <a:pt x="918133" y="1338914"/>
                  <a:pt x="917616" y="1337034"/>
                  <a:pt x="917079" y="1335158"/>
                </a:cubicBezTo>
                <a:cubicBezTo>
                  <a:pt x="916048" y="1335158"/>
                  <a:pt x="915018" y="1335158"/>
                  <a:pt x="913955" y="1335158"/>
                </a:cubicBezTo>
                <a:cubicBezTo>
                  <a:pt x="913329" y="1333718"/>
                  <a:pt x="912703" y="1332277"/>
                  <a:pt x="912057" y="1330793"/>
                </a:cubicBezTo>
                <a:cubicBezTo>
                  <a:pt x="909497" y="1325424"/>
                  <a:pt x="906114" y="1320822"/>
                  <a:pt x="902142" y="1316222"/>
                </a:cubicBezTo>
                <a:cubicBezTo>
                  <a:pt x="901465" y="1315432"/>
                  <a:pt x="900788" y="1314642"/>
                  <a:pt x="900091" y="1313828"/>
                </a:cubicBezTo>
                <a:cubicBezTo>
                  <a:pt x="893705" y="1306618"/>
                  <a:pt x="886350" y="1301049"/>
                  <a:pt x="878026" y="1295700"/>
                </a:cubicBezTo>
                <a:cubicBezTo>
                  <a:pt x="876595" y="1294594"/>
                  <a:pt x="876595" y="1294594"/>
                  <a:pt x="875134" y="1293465"/>
                </a:cubicBezTo>
                <a:lnTo>
                  <a:pt x="869869" y="1291826"/>
                </a:lnTo>
                <a:lnTo>
                  <a:pt x="862384" y="1291327"/>
                </a:lnTo>
                <a:cubicBezTo>
                  <a:pt x="856441" y="1290067"/>
                  <a:pt x="850461" y="1290346"/>
                  <a:pt x="844390" y="1290461"/>
                </a:cubicBezTo>
                <a:cubicBezTo>
                  <a:pt x="842453" y="1290480"/>
                  <a:pt x="842453" y="1290480"/>
                  <a:pt x="840476" y="1290500"/>
                </a:cubicBezTo>
                <a:cubicBezTo>
                  <a:pt x="837322" y="1290532"/>
                  <a:pt x="834169" y="1290583"/>
                  <a:pt x="831015" y="1290637"/>
                </a:cubicBezTo>
                <a:cubicBezTo>
                  <a:pt x="831015" y="1291568"/>
                  <a:pt x="831015" y="1292498"/>
                  <a:pt x="831015" y="1293456"/>
                </a:cubicBezTo>
                <a:cubicBezTo>
                  <a:pt x="826519" y="1294808"/>
                  <a:pt x="822922" y="1295235"/>
                  <a:pt x="818225" y="1295570"/>
                </a:cubicBezTo>
                <a:lnTo>
                  <a:pt x="796774" y="1297671"/>
                </a:lnTo>
                <a:lnTo>
                  <a:pt x="783646" y="1305736"/>
                </a:lnTo>
                <a:cubicBezTo>
                  <a:pt x="776915" y="1312506"/>
                  <a:pt x="772692" y="1318638"/>
                  <a:pt x="769263" y="1327143"/>
                </a:cubicBezTo>
                <a:cubicBezTo>
                  <a:pt x="767116" y="1332340"/>
                  <a:pt x="767116" y="1332340"/>
                  <a:pt x="764797" y="1334360"/>
                </a:cubicBezTo>
                <a:lnTo>
                  <a:pt x="757875" y="1353503"/>
                </a:lnTo>
                <a:lnTo>
                  <a:pt x="755676" y="1367455"/>
                </a:lnTo>
                <a:lnTo>
                  <a:pt x="750558" y="1399690"/>
                </a:lnTo>
                <a:lnTo>
                  <a:pt x="753057" y="1411256"/>
                </a:lnTo>
                <a:cubicBezTo>
                  <a:pt x="753057" y="1413117"/>
                  <a:pt x="753057" y="1414976"/>
                  <a:pt x="753057" y="1416893"/>
                </a:cubicBezTo>
                <a:cubicBezTo>
                  <a:pt x="754087" y="1416893"/>
                  <a:pt x="755119" y="1416893"/>
                  <a:pt x="756181" y="1416893"/>
                </a:cubicBezTo>
                <a:cubicBezTo>
                  <a:pt x="759348" y="1422607"/>
                  <a:pt x="758101" y="1429902"/>
                  <a:pt x="758133" y="1436182"/>
                </a:cubicBezTo>
                <a:cubicBezTo>
                  <a:pt x="758182" y="1438458"/>
                  <a:pt x="758182" y="1438458"/>
                  <a:pt x="758231" y="1440781"/>
                </a:cubicBezTo>
                <a:cubicBezTo>
                  <a:pt x="758283" y="1450271"/>
                  <a:pt x="758174" y="1458360"/>
                  <a:pt x="750713" y="1465704"/>
                </a:cubicBezTo>
                <a:cubicBezTo>
                  <a:pt x="749940" y="1466193"/>
                  <a:pt x="749167" y="1466681"/>
                  <a:pt x="748370" y="1467185"/>
                </a:cubicBezTo>
                <a:cubicBezTo>
                  <a:pt x="743665" y="1470047"/>
                  <a:pt x="743665" y="1470047"/>
                  <a:pt x="741633" y="1473526"/>
                </a:cubicBezTo>
                <a:cubicBezTo>
                  <a:pt x="737793" y="1477248"/>
                  <a:pt x="733582" y="1477483"/>
                  <a:pt x="728154" y="1478343"/>
                </a:cubicBezTo>
                <a:cubicBezTo>
                  <a:pt x="724855" y="1478778"/>
                  <a:pt x="724855" y="1478778"/>
                  <a:pt x="721814" y="1480308"/>
                </a:cubicBezTo>
                <a:cubicBezTo>
                  <a:pt x="717303" y="1480523"/>
                  <a:pt x="712854" y="1480634"/>
                  <a:pt x="708341" y="1480661"/>
                </a:cubicBezTo>
                <a:cubicBezTo>
                  <a:pt x="707118" y="1480690"/>
                  <a:pt x="705896" y="1480719"/>
                  <a:pt x="704637" y="1480748"/>
                </a:cubicBezTo>
                <a:cubicBezTo>
                  <a:pt x="690446" y="1480834"/>
                  <a:pt x="679632" y="1476246"/>
                  <a:pt x="668507" y="1468418"/>
                </a:cubicBezTo>
                <a:cubicBezTo>
                  <a:pt x="662823" y="1463224"/>
                  <a:pt x="661745" y="1456995"/>
                  <a:pt x="660178" y="1450027"/>
                </a:cubicBezTo>
                <a:cubicBezTo>
                  <a:pt x="659725" y="1446589"/>
                  <a:pt x="659725" y="1446589"/>
                  <a:pt x="657767" y="1445078"/>
                </a:cubicBezTo>
                <a:cubicBezTo>
                  <a:pt x="656859" y="1433686"/>
                  <a:pt x="655965" y="1419178"/>
                  <a:pt x="663369" y="1409390"/>
                </a:cubicBezTo>
                <a:cubicBezTo>
                  <a:pt x="666078" y="1406601"/>
                  <a:pt x="668921" y="1404013"/>
                  <a:pt x="671826" y="1401392"/>
                </a:cubicBezTo>
                <a:cubicBezTo>
                  <a:pt x="675197" y="1397623"/>
                  <a:pt x="677125" y="1394916"/>
                  <a:pt x="678075" y="1390118"/>
                </a:cubicBezTo>
                <a:cubicBezTo>
                  <a:pt x="680137" y="1389653"/>
                  <a:pt x="682199" y="1389188"/>
                  <a:pt x="684323" y="1388709"/>
                </a:cubicBezTo>
                <a:cubicBezTo>
                  <a:pt x="684643" y="1387232"/>
                  <a:pt x="684964" y="1385755"/>
                  <a:pt x="685293" y="1384233"/>
                </a:cubicBezTo>
                <a:cubicBezTo>
                  <a:pt x="685718" y="1382290"/>
                  <a:pt x="686144" y="1380347"/>
                  <a:pt x="686569" y="1378404"/>
                </a:cubicBezTo>
                <a:cubicBezTo>
                  <a:pt x="686885" y="1376945"/>
                  <a:pt x="686885" y="1376945"/>
                  <a:pt x="687207" y="1375456"/>
                </a:cubicBezTo>
                <a:cubicBezTo>
                  <a:pt x="688115" y="1371315"/>
                  <a:pt x="689090" y="1367353"/>
                  <a:pt x="690572" y="1363343"/>
                </a:cubicBezTo>
                <a:cubicBezTo>
                  <a:pt x="692411" y="1350128"/>
                  <a:pt x="692374" y="1336672"/>
                  <a:pt x="692495" y="1323376"/>
                </a:cubicBezTo>
                <a:cubicBezTo>
                  <a:pt x="692524" y="1320586"/>
                  <a:pt x="692574" y="1317796"/>
                  <a:pt x="692625" y="1315006"/>
                </a:cubicBezTo>
                <a:cubicBezTo>
                  <a:pt x="692853" y="1300589"/>
                  <a:pt x="692853" y="1300589"/>
                  <a:pt x="687447" y="1287245"/>
                </a:cubicBezTo>
                <a:cubicBezTo>
                  <a:pt x="685901" y="1286780"/>
                  <a:pt x="684354" y="1286315"/>
                  <a:pt x="682761" y="1285835"/>
                </a:cubicBezTo>
                <a:cubicBezTo>
                  <a:pt x="680876" y="1283743"/>
                  <a:pt x="680876" y="1283743"/>
                  <a:pt x="678954" y="1281608"/>
                </a:cubicBezTo>
                <a:cubicBezTo>
                  <a:pt x="674854" y="1277278"/>
                  <a:pt x="674356" y="1276958"/>
                  <a:pt x="668702" y="1275971"/>
                </a:cubicBezTo>
                <a:cubicBezTo>
                  <a:pt x="666619" y="1274092"/>
                  <a:pt x="664536" y="1272213"/>
                  <a:pt x="662454" y="1270334"/>
                </a:cubicBezTo>
                <a:cubicBezTo>
                  <a:pt x="658341" y="1268566"/>
                  <a:pt x="658341" y="1268566"/>
                  <a:pt x="654643" y="1267516"/>
                </a:cubicBezTo>
                <a:cubicBezTo>
                  <a:pt x="654643" y="1266585"/>
                  <a:pt x="654643" y="1265656"/>
                  <a:pt x="654643" y="1264697"/>
                </a:cubicBezTo>
                <a:cubicBezTo>
                  <a:pt x="653161" y="1264581"/>
                  <a:pt x="651679" y="1264465"/>
                  <a:pt x="650152" y="1264345"/>
                </a:cubicBezTo>
                <a:cubicBezTo>
                  <a:pt x="642318" y="1263373"/>
                  <a:pt x="635297" y="1260465"/>
                  <a:pt x="628087" y="1257651"/>
                </a:cubicBezTo>
                <a:cubicBezTo>
                  <a:pt x="628087" y="1256721"/>
                  <a:pt x="628087" y="1255791"/>
                  <a:pt x="628087" y="1254833"/>
                </a:cubicBezTo>
                <a:cubicBezTo>
                  <a:pt x="627108" y="1254662"/>
                  <a:pt x="626129" y="1254491"/>
                  <a:pt x="625121" y="1254315"/>
                </a:cubicBezTo>
                <a:cubicBezTo>
                  <a:pt x="623845" y="1254079"/>
                  <a:pt x="622568" y="1253843"/>
                  <a:pt x="621252" y="1253600"/>
                </a:cubicBezTo>
                <a:cubicBezTo>
                  <a:pt x="619984" y="1253371"/>
                  <a:pt x="618716" y="1253142"/>
                  <a:pt x="617409" y="1252906"/>
                </a:cubicBezTo>
                <a:cubicBezTo>
                  <a:pt x="614027" y="1252014"/>
                  <a:pt x="614027" y="1252014"/>
                  <a:pt x="610904" y="1249196"/>
                </a:cubicBezTo>
                <a:cubicBezTo>
                  <a:pt x="592259" y="1248653"/>
                  <a:pt x="578635" y="1260869"/>
                  <a:pt x="565739" y="1271742"/>
                </a:cubicBezTo>
                <a:cubicBezTo>
                  <a:pt x="558808" y="1277725"/>
                  <a:pt x="552763" y="1283983"/>
                  <a:pt x="546924" y="1290829"/>
                </a:cubicBezTo>
                <a:cubicBezTo>
                  <a:pt x="545838" y="1292087"/>
                  <a:pt x="544753" y="1293346"/>
                  <a:pt x="543635" y="1294643"/>
                </a:cubicBezTo>
                <a:cubicBezTo>
                  <a:pt x="542650" y="1295813"/>
                  <a:pt x="541666" y="1296983"/>
                  <a:pt x="540651" y="1298188"/>
                </a:cubicBezTo>
                <a:cubicBezTo>
                  <a:pt x="537294" y="1301526"/>
                  <a:pt x="533978" y="1303337"/>
                  <a:pt x="529673" y="1305565"/>
                </a:cubicBezTo>
                <a:cubicBezTo>
                  <a:pt x="527599" y="1308478"/>
                  <a:pt x="527599" y="1308478"/>
                  <a:pt x="526549" y="1311202"/>
                </a:cubicBezTo>
                <a:cubicBezTo>
                  <a:pt x="525518" y="1311202"/>
                  <a:pt x="524487" y="1311202"/>
                  <a:pt x="523425" y="1311202"/>
                </a:cubicBezTo>
                <a:cubicBezTo>
                  <a:pt x="523360" y="1311986"/>
                  <a:pt x="523296" y="1312771"/>
                  <a:pt x="523230" y="1313580"/>
                </a:cubicBezTo>
                <a:cubicBezTo>
                  <a:pt x="521863" y="1316839"/>
                  <a:pt x="521863" y="1316839"/>
                  <a:pt x="517732" y="1319739"/>
                </a:cubicBezTo>
                <a:cubicBezTo>
                  <a:pt x="511111" y="1324565"/>
                  <a:pt x="506875" y="1330731"/>
                  <a:pt x="502239" y="1337096"/>
                </a:cubicBezTo>
                <a:cubicBezTo>
                  <a:pt x="500512" y="1339427"/>
                  <a:pt x="498785" y="1341757"/>
                  <a:pt x="497058" y="1344087"/>
                </a:cubicBezTo>
                <a:cubicBezTo>
                  <a:pt x="495827" y="1345760"/>
                  <a:pt x="495827" y="1345760"/>
                  <a:pt x="494572" y="1347465"/>
                </a:cubicBezTo>
                <a:cubicBezTo>
                  <a:pt x="492366" y="1350414"/>
                  <a:pt x="490094" y="1353304"/>
                  <a:pt x="487776" y="1356181"/>
                </a:cubicBezTo>
                <a:cubicBezTo>
                  <a:pt x="484805" y="1359972"/>
                  <a:pt x="482865" y="1363193"/>
                  <a:pt x="481248" y="1367571"/>
                </a:cubicBezTo>
                <a:cubicBezTo>
                  <a:pt x="480216" y="1367571"/>
                  <a:pt x="479186" y="1367571"/>
                  <a:pt x="478123" y="1367571"/>
                </a:cubicBezTo>
                <a:cubicBezTo>
                  <a:pt x="477963" y="1368558"/>
                  <a:pt x="477801" y="1369547"/>
                  <a:pt x="477635" y="1370565"/>
                </a:cubicBezTo>
                <a:cubicBezTo>
                  <a:pt x="475602" y="1378236"/>
                  <a:pt x="471952" y="1383371"/>
                  <a:pt x="465626" y="1388709"/>
                </a:cubicBezTo>
                <a:cubicBezTo>
                  <a:pt x="462272" y="1392748"/>
                  <a:pt x="462272" y="1392748"/>
                  <a:pt x="461233" y="1397340"/>
                </a:cubicBezTo>
                <a:cubicBezTo>
                  <a:pt x="460030" y="1401461"/>
                  <a:pt x="458298" y="1404501"/>
                  <a:pt x="455765" y="1408086"/>
                </a:cubicBezTo>
                <a:cubicBezTo>
                  <a:pt x="442829" y="1428603"/>
                  <a:pt x="441572" y="1454548"/>
                  <a:pt x="439070" y="1477490"/>
                </a:cubicBezTo>
                <a:cubicBezTo>
                  <a:pt x="437524" y="1477955"/>
                  <a:pt x="435977" y="1478420"/>
                  <a:pt x="434384" y="1478899"/>
                </a:cubicBezTo>
                <a:cubicBezTo>
                  <a:pt x="433739" y="1479916"/>
                  <a:pt x="433095" y="1480933"/>
                  <a:pt x="432431" y="1481982"/>
                </a:cubicBezTo>
                <a:cubicBezTo>
                  <a:pt x="428860" y="1487159"/>
                  <a:pt x="424291" y="1490903"/>
                  <a:pt x="418763" y="1494401"/>
                </a:cubicBezTo>
                <a:cubicBezTo>
                  <a:pt x="417731" y="1494401"/>
                  <a:pt x="416701" y="1494401"/>
                  <a:pt x="415639" y="1494401"/>
                </a:cubicBezTo>
                <a:cubicBezTo>
                  <a:pt x="415639" y="1495330"/>
                  <a:pt x="415639" y="1496260"/>
                  <a:pt x="415639" y="1497219"/>
                </a:cubicBezTo>
                <a:cubicBezTo>
                  <a:pt x="412546" y="1497684"/>
                  <a:pt x="409453" y="1498149"/>
                  <a:pt x="406265" y="1498628"/>
                </a:cubicBezTo>
                <a:cubicBezTo>
                  <a:pt x="406265" y="1499559"/>
                  <a:pt x="406265" y="1500488"/>
                  <a:pt x="406265" y="1501447"/>
                </a:cubicBezTo>
                <a:cubicBezTo>
                  <a:pt x="395955" y="1501447"/>
                  <a:pt x="385645" y="1501447"/>
                  <a:pt x="375023" y="1501447"/>
                </a:cubicBezTo>
                <a:lnTo>
                  <a:pt x="375023" y="1499438"/>
                </a:lnTo>
                <a:lnTo>
                  <a:pt x="374964" y="1499436"/>
                </a:lnTo>
                <a:lnTo>
                  <a:pt x="373179" y="1498628"/>
                </a:lnTo>
                <a:lnTo>
                  <a:pt x="365650" y="1498628"/>
                </a:lnTo>
                <a:lnTo>
                  <a:pt x="363134" y="1494087"/>
                </a:lnTo>
                <a:lnTo>
                  <a:pt x="362171" y="1493651"/>
                </a:lnTo>
                <a:cubicBezTo>
                  <a:pt x="361656" y="1492722"/>
                  <a:pt x="361140" y="1491791"/>
                  <a:pt x="360609" y="1490833"/>
                </a:cubicBezTo>
                <a:cubicBezTo>
                  <a:pt x="361640" y="1490833"/>
                  <a:pt x="362671" y="1490833"/>
                  <a:pt x="363733" y="1490833"/>
                </a:cubicBezTo>
                <a:lnTo>
                  <a:pt x="363733" y="1489980"/>
                </a:lnTo>
                <a:lnTo>
                  <a:pt x="348467" y="1481717"/>
                </a:lnTo>
                <a:lnTo>
                  <a:pt x="343872" y="1461078"/>
                </a:lnTo>
                <a:lnTo>
                  <a:pt x="343656" y="1463649"/>
                </a:lnTo>
                <a:cubicBezTo>
                  <a:pt x="343541" y="1465230"/>
                  <a:pt x="343541" y="1465230"/>
                  <a:pt x="343424" y="1466842"/>
                </a:cubicBezTo>
                <a:cubicBezTo>
                  <a:pt x="342908" y="1466842"/>
                  <a:pt x="342393" y="1466842"/>
                  <a:pt x="341861" y="1466842"/>
                </a:cubicBezTo>
                <a:cubicBezTo>
                  <a:pt x="340987" y="1449564"/>
                  <a:pt x="340999" y="1434331"/>
                  <a:pt x="354143" y="1420549"/>
                </a:cubicBezTo>
                <a:cubicBezTo>
                  <a:pt x="360765" y="1414011"/>
                  <a:pt x="367631" y="1407790"/>
                  <a:pt x="376229" y="1403427"/>
                </a:cubicBezTo>
                <a:lnTo>
                  <a:pt x="379491" y="1404408"/>
                </a:lnTo>
                <a:lnTo>
                  <a:pt x="379710" y="1404210"/>
                </a:lnTo>
                <a:cubicBezTo>
                  <a:pt x="380290" y="1402902"/>
                  <a:pt x="380290" y="1402902"/>
                  <a:pt x="380882" y="1401568"/>
                </a:cubicBezTo>
                <a:cubicBezTo>
                  <a:pt x="383675" y="1397284"/>
                  <a:pt x="387587" y="1395610"/>
                  <a:pt x="392207" y="1392936"/>
                </a:cubicBezTo>
                <a:lnTo>
                  <a:pt x="399542" y="1386774"/>
                </a:lnTo>
                <a:lnTo>
                  <a:pt x="405485" y="1378917"/>
                </a:lnTo>
                <a:cubicBezTo>
                  <a:pt x="408065" y="1375974"/>
                  <a:pt x="410029" y="1372774"/>
                  <a:pt x="412008" y="1369481"/>
                </a:cubicBezTo>
                <a:cubicBezTo>
                  <a:pt x="414759" y="1365166"/>
                  <a:pt x="417963" y="1361131"/>
                  <a:pt x="421130" y="1357057"/>
                </a:cubicBezTo>
                <a:cubicBezTo>
                  <a:pt x="423073" y="1354140"/>
                  <a:pt x="423985" y="1351767"/>
                  <a:pt x="424676" y="1348443"/>
                </a:cubicBezTo>
                <a:lnTo>
                  <a:pt x="427275" y="1348443"/>
                </a:lnTo>
                <a:lnTo>
                  <a:pt x="428135" y="1345727"/>
                </a:lnTo>
                <a:cubicBezTo>
                  <a:pt x="429370" y="1341828"/>
                  <a:pt x="430645" y="1338666"/>
                  <a:pt x="432822" y="1335158"/>
                </a:cubicBezTo>
                <a:cubicBezTo>
                  <a:pt x="433853" y="1335158"/>
                  <a:pt x="434884" y="1335158"/>
                  <a:pt x="435946" y="1335158"/>
                </a:cubicBezTo>
                <a:cubicBezTo>
                  <a:pt x="436526" y="1333385"/>
                  <a:pt x="437106" y="1331613"/>
                  <a:pt x="437704" y="1329786"/>
                </a:cubicBezTo>
                <a:cubicBezTo>
                  <a:pt x="440162" y="1323132"/>
                  <a:pt x="443602" y="1317301"/>
                  <a:pt x="447394" y="1311196"/>
                </a:cubicBezTo>
                <a:cubicBezTo>
                  <a:pt x="456493" y="1296485"/>
                  <a:pt x="463325" y="1281864"/>
                  <a:pt x="469287" y="1265964"/>
                </a:cubicBezTo>
                <a:cubicBezTo>
                  <a:pt x="474589" y="1252134"/>
                  <a:pt x="474589" y="1252134"/>
                  <a:pt x="478178" y="1246787"/>
                </a:cubicBezTo>
                <a:cubicBezTo>
                  <a:pt x="481232" y="1240246"/>
                  <a:pt x="480204" y="1232766"/>
                  <a:pt x="480179" y="1225768"/>
                </a:cubicBezTo>
                <a:cubicBezTo>
                  <a:pt x="480174" y="1222894"/>
                  <a:pt x="480210" y="1220023"/>
                  <a:pt x="480250" y="1217149"/>
                </a:cubicBezTo>
                <a:cubicBezTo>
                  <a:pt x="480260" y="1199291"/>
                  <a:pt x="476718" y="1187768"/>
                  <a:pt x="462972" y="1174827"/>
                </a:cubicBezTo>
                <a:cubicBezTo>
                  <a:pt x="461148" y="1173192"/>
                  <a:pt x="459312" y="1171566"/>
                  <a:pt x="457468" y="1169949"/>
                </a:cubicBezTo>
                <a:cubicBezTo>
                  <a:pt x="451412" y="1164522"/>
                  <a:pt x="445876" y="1158660"/>
                  <a:pt x="440657" y="1152570"/>
                </a:cubicBezTo>
                <a:cubicBezTo>
                  <a:pt x="430474" y="1140786"/>
                  <a:pt x="418230" y="1128998"/>
                  <a:pt x="403142" y="1122366"/>
                </a:cubicBezTo>
                <a:cubicBezTo>
                  <a:pt x="402626" y="1121436"/>
                  <a:pt x="402110" y="1120506"/>
                  <a:pt x="401579" y="1119547"/>
                </a:cubicBezTo>
                <a:cubicBezTo>
                  <a:pt x="390472" y="1115326"/>
                  <a:pt x="375918" y="1114217"/>
                  <a:pt x="364564" y="1118209"/>
                </a:cubicBezTo>
                <a:cubicBezTo>
                  <a:pt x="362278" y="1119428"/>
                  <a:pt x="360026" y="1120704"/>
                  <a:pt x="357822" y="1122041"/>
                </a:cubicBezTo>
                <a:cubicBezTo>
                  <a:pt x="354521" y="1123884"/>
                  <a:pt x="351862" y="1124582"/>
                  <a:pt x="348077" y="1125273"/>
                </a:cubicBezTo>
                <a:cubicBezTo>
                  <a:pt x="341765" y="1126696"/>
                  <a:pt x="339382" y="1128619"/>
                  <a:pt x="334408" y="1132230"/>
                </a:cubicBezTo>
                <a:cubicBezTo>
                  <a:pt x="332284" y="1132909"/>
                  <a:pt x="330131" y="1133519"/>
                  <a:pt x="327964" y="1134080"/>
                </a:cubicBezTo>
                <a:cubicBezTo>
                  <a:pt x="309975" y="1139067"/>
                  <a:pt x="290592" y="1152117"/>
                  <a:pt x="279734" y="1166051"/>
                </a:cubicBezTo>
                <a:cubicBezTo>
                  <a:pt x="277929" y="1169534"/>
                  <a:pt x="277929" y="1169534"/>
                  <a:pt x="276609" y="1173098"/>
                </a:cubicBezTo>
                <a:cubicBezTo>
                  <a:pt x="272413" y="1180804"/>
                  <a:pt x="269322" y="1184144"/>
                  <a:pt x="260988" y="1188599"/>
                </a:cubicBezTo>
                <a:cubicBezTo>
                  <a:pt x="259988" y="1189435"/>
                  <a:pt x="258987" y="1190271"/>
                  <a:pt x="257956" y="1191132"/>
                </a:cubicBezTo>
                <a:lnTo>
                  <a:pt x="243805" y="1196629"/>
                </a:lnTo>
                <a:lnTo>
                  <a:pt x="243805" y="1194236"/>
                </a:lnTo>
                <a:lnTo>
                  <a:pt x="240288" y="1194765"/>
                </a:lnTo>
                <a:lnTo>
                  <a:pt x="243374" y="1194765"/>
                </a:lnTo>
                <a:lnTo>
                  <a:pt x="243374" y="1196797"/>
                </a:lnTo>
                <a:lnTo>
                  <a:pt x="243805" y="1196629"/>
                </a:lnTo>
                <a:lnTo>
                  <a:pt x="243805" y="1197055"/>
                </a:lnTo>
                <a:lnTo>
                  <a:pt x="243374" y="1197055"/>
                </a:lnTo>
                <a:lnTo>
                  <a:pt x="243374" y="1197584"/>
                </a:lnTo>
                <a:lnTo>
                  <a:pt x="241319" y="1197595"/>
                </a:lnTo>
                <a:lnTo>
                  <a:pt x="238009" y="1198881"/>
                </a:lnTo>
                <a:cubicBezTo>
                  <a:pt x="231012" y="1199584"/>
                  <a:pt x="223620" y="1198927"/>
                  <a:pt x="215687" y="1198464"/>
                </a:cubicBezTo>
                <a:lnTo>
                  <a:pt x="215687" y="1197734"/>
                </a:lnTo>
                <a:lnTo>
                  <a:pt x="213936" y="1197744"/>
                </a:lnTo>
                <a:cubicBezTo>
                  <a:pt x="210570" y="1197584"/>
                  <a:pt x="210570" y="1197584"/>
                  <a:pt x="207446" y="1196175"/>
                </a:cubicBezTo>
                <a:lnTo>
                  <a:pt x="207822" y="1195610"/>
                </a:lnTo>
                <a:lnTo>
                  <a:pt x="184737" y="1180936"/>
                </a:lnTo>
                <a:cubicBezTo>
                  <a:pt x="180258" y="1172216"/>
                  <a:pt x="179226" y="1164355"/>
                  <a:pt x="179270" y="1154866"/>
                </a:cubicBezTo>
                <a:cubicBezTo>
                  <a:pt x="179233" y="1153260"/>
                  <a:pt x="179233" y="1153260"/>
                  <a:pt x="179194" y="1151621"/>
                </a:cubicBezTo>
                <a:cubicBezTo>
                  <a:pt x="179182" y="1139523"/>
                  <a:pt x="183658" y="1128837"/>
                  <a:pt x="193195" y="1120065"/>
                </a:cubicBezTo>
                <a:cubicBezTo>
                  <a:pt x="204265" y="1110959"/>
                  <a:pt x="215062" y="1110626"/>
                  <a:pt x="229551" y="1110299"/>
                </a:cubicBezTo>
                <a:cubicBezTo>
                  <a:pt x="240132" y="1110024"/>
                  <a:pt x="250506" y="1109652"/>
                  <a:pt x="260988" y="1108274"/>
                </a:cubicBezTo>
                <a:cubicBezTo>
                  <a:pt x="260988" y="1107344"/>
                  <a:pt x="260988" y="1106413"/>
                  <a:pt x="260988" y="1105455"/>
                </a:cubicBezTo>
                <a:cubicBezTo>
                  <a:pt x="261953" y="1105078"/>
                  <a:pt x="262918" y="1104699"/>
                  <a:pt x="263911" y="1104310"/>
                </a:cubicBezTo>
                <a:cubicBezTo>
                  <a:pt x="272903" y="1100557"/>
                  <a:pt x="279802" y="1096307"/>
                  <a:pt x="286995" y="1090185"/>
                </a:cubicBezTo>
                <a:cubicBezTo>
                  <a:pt x="290956" y="1086897"/>
                  <a:pt x="295114" y="1083955"/>
                  <a:pt x="299358" y="1080970"/>
                </a:cubicBezTo>
                <a:cubicBezTo>
                  <a:pt x="306613" y="1075692"/>
                  <a:pt x="312234" y="1070023"/>
                  <a:pt x="317762" y="1063272"/>
                </a:cubicBezTo>
                <a:cubicBezTo>
                  <a:pt x="320349" y="1060360"/>
                  <a:pt x="320349" y="1060360"/>
                  <a:pt x="325035" y="1057542"/>
                </a:cubicBezTo>
                <a:cubicBezTo>
                  <a:pt x="329912" y="1045734"/>
                  <a:pt x="327928" y="1035103"/>
                  <a:pt x="325328" y="1023104"/>
                </a:cubicBezTo>
                <a:cubicBezTo>
                  <a:pt x="325069" y="1021831"/>
                  <a:pt x="324811" y="1020559"/>
                  <a:pt x="324544" y="1019247"/>
                </a:cubicBezTo>
                <a:cubicBezTo>
                  <a:pt x="322876" y="1011407"/>
                  <a:pt x="320562" y="1004340"/>
                  <a:pt x="317225" y="996945"/>
                </a:cubicBezTo>
                <a:cubicBezTo>
                  <a:pt x="316619" y="995541"/>
                  <a:pt x="316013" y="994137"/>
                  <a:pt x="315388" y="992690"/>
                </a:cubicBezTo>
                <a:cubicBezTo>
                  <a:pt x="306307" y="972561"/>
                  <a:pt x="298931" y="959343"/>
                  <a:pt x="276232" y="950666"/>
                </a:cubicBezTo>
                <a:cubicBezTo>
                  <a:pt x="274810" y="950127"/>
                  <a:pt x="273388" y="949587"/>
                  <a:pt x="271923" y="949031"/>
                </a:cubicBezTo>
                <a:cubicBezTo>
                  <a:pt x="270129" y="948244"/>
                  <a:pt x="270129" y="948244"/>
                  <a:pt x="268299" y="947441"/>
                </a:cubicBezTo>
                <a:cubicBezTo>
                  <a:pt x="247071" y="938140"/>
                  <a:pt x="222259" y="939051"/>
                  <a:pt x="199187" y="938991"/>
                </a:cubicBezTo>
                <a:cubicBezTo>
                  <a:pt x="197383" y="938984"/>
                  <a:pt x="195579" y="938978"/>
                  <a:pt x="193719" y="938971"/>
                </a:cubicBezTo>
                <a:cubicBezTo>
                  <a:pt x="192010" y="938974"/>
                  <a:pt x="190300" y="938977"/>
                  <a:pt x="188539" y="938980"/>
                </a:cubicBezTo>
                <a:cubicBezTo>
                  <a:pt x="187000" y="938981"/>
                  <a:pt x="185460" y="938983"/>
                  <a:pt x="183874" y="938985"/>
                </a:cubicBezTo>
                <a:cubicBezTo>
                  <a:pt x="180148" y="939150"/>
                  <a:pt x="177092" y="939720"/>
                  <a:pt x="173509" y="940576"/>
                </a:cubicBezTo>
                <a:cubicBezTo>
                  <a:pt x="169458" y="940674"/>
                  <a:pt x="165452" y="940710"/>
                  <a:pt x="161403" y="940664"/>
                </a:cubicBezTo>
                <a:cubicBezTo>
                  <a:pt x="160314" y="940658"/>
                  <a:pt x="159224" y="940651"/>
                  <a:pt x="158102" y="940645"/>
                </a:cubicBezTo>
                <a:lnTo>
                  <a:pt x="150875" y="940583"/>
                </a:lnTo>
                <a:lnTo>
                  <a:pt x="148425" y="940717"/>
                </a:lnTo>
                <a:lnTo>
                  <a:pt x="149617" y="940995"/>
                </a:lnTo>
                <a:cubicBezTo>
                  <a:pt x="149617" y="941459"/>
                  <a:pt x="149617" y="941924"/>
                  <a:pt x="149617" y="942404"/>
                </a:cubicBezTo>
                <a:cubicBezTo>
                  <a:pt x="148630" y="942558"/>
                  <a:pt x="147643" y="942712"/>
                  <a:pt x="146627" y="942871"/>
                </a:cubicBezTo>
                <a:cubicBezTo>
                  <a:pt x="134541" y="944804"/>
                  <a:pt x="122553" y="947081"/>
                  <a:pt x="110564" y="949449"/>
                </a:cubicBezTo>
                <a:lnTo>
                  <a:pt x="111283" y="946205"/>
                </a:lnTo>
                <a:lnTo>
                  <a:pt x="101652" y="956078"/>
                </a:lnTo>
                <a:cubicBezTo>
                  <a:pt x="99870" y="957260"/>
                  <a:pt x="99870" y="957260"/>
                  <a:pt x="98052" y="958467"/>
                </a:cubicBezTo>
                <a:cubicBezTo>
                  <a:pt x="75683" y="972989"/>
                  <a:pt x="75683" y="972989"/>
                  <a:pt x="67286" y="972989"/>
                </a:cubicBezTo>
                <a:cubicBezTo>
                  <a:pt x="67286" y="973918"/>
                  <a:pt x="67286" y="974848"/>
                  <a:pt x="67286" y="975807"/>
                </a:cubicBezTo>
                <a:cubicBezTo>
                  <a:pt x="55713" y="979519"/>
                  <a:pt x="43549" y="980689"/>
                  <a:pt x="31942" y="976423"/>
                </a:cubicBezTo>
                <a:cubicBezTo>
                  <a:pt x="19953" y="970870"/>
                  <a:pt x="10774" y="964932"/>
                  <a:pt x="5673" y="953419"/>
                </a:cubicBezTo>
                <a:cubicBezTo>
                  <a:pt x="4801" y="950441"/>
                  <a:pt x="4801" y="950441"/>
                  <a:pt x="4801" y="944804"/>
                </a:cubicBezTo>
                <a:cubicBezTo>
                  <a:pt x="3770" y="944804"/>
                  <a:pt x="2739" y="944804"/>
                  <a:pt x="1676" y="944804"/>
                </a:cubicBezTo>
                <a:cubicBezTo>
                  <a:pt x="-34" y="940174"/>
                  <a:pt x="-41" y="936720"/>
                  <a:pt x="17" y="931857"/>
                </a:cubicBezTo>
                <a:cubicBezTo>
                  <a:pt x="31" y="930325"/>
                  <a:pt x="45" y="928794"/>
                  <a:pt x="59" y="927216"/>
                </a:cubicBezTo>
                <a:cubicBezTo>
                  <a:pt x="78" y="926044"/>
                  <a:pt x="96" y="924873"/>
                  <a:pt x="115" y="923666"/>
                </a:cubicBezTo>
                <a:cubicBezTo>
                  <a:pt x="1145" y="923666"/>
                  <a:pt x="2176" y="923666"/>
                  <a:pt x="3238" y="923666"/>
                </a:cubicBezTo>
                <a:cubicBezTo>
                  <a:pt x="3238" y="921805"/>
                  <a:pt x="3238" y="919945"/>
                  <a:pt x="3238" y="918029"/>
                </a:cubicBezTo>
                <a:cubicBezTo>
                  <a:pt x="4270" y="918029"/>
                  <a:pt x="5300" y="918029"/>
                  <a:pt x="6363" y="918029"/>
                </a:cubicBezTo>
                <a:cubicBezTo>
                  <a:pt x="6459" y="916314"/>
                  <a:pt x="6556" y="914599"/>
                  <a:pt x="6656" y="912832"/>
                </a:cubicBezTo>
                <a:cubicBezTo>
                  <a:pt x="7542" y="906455"/>
                  <a:pt x="10104" y="903750"/>
                  <a:pt x="15736" y="899709"/>
                </a:cubicBezTo>
                <a:lnTo>
                  <a:pt x="17243" y="898894"/>
                </a:lnTo>
                <a:lnTo>
                  <a:pt x="16800" y="898694"/>
                </a:lnTo>
                <a:lnTo>
                  <a:pt x="24988" y="894101"/>
                </a:lnTo>
                <a:lnTo>
                  <a:pt x="26768" y="892399"/>
                </a:lnTo>
                <a:cubicBezTo>
                  <a:pt x="28282" y="891122"/>
                  <a:pt x="29038" y="890483"/>
                  <a:pt x="30198" y="890164"/>
                </a:cubicBezTo>
                <a:lnTo>
                  <a:pt x="32204" y="890054"/>
                </a:lnTo>
                <a:lnTo>
                  <a:pt x="38914" y="886291"/>
                </a:lnTo>
                <a:cubicBezTo>
                  <a:pt x="47169" y="885770"/>
                  <a:pt x="55396" y="885800"/>
                  <a:pt x="63664" y="886011"/>
                </a:cubicBezTo>
                <a:lnTo>
                  <a:pt x="63664" y="886531"/>
                </a:lnTo>
                <a:lnTo>
                  <a:pt x="70784" y="886647"/>
                </a:lnTo>
                <a:cubicBezTo>
                  <a:pt x="74787" y="887000"/>
                  <a:pt x="77233" y="887948"/>
                  <a:pt x="82126" y="889845"/>
                </a:cubicBezTo>
                <a:cubicBezTo>
                  <a:pt x="92427" y="893791"/>
                  <a:pt x="103139" y="893710"/>
                  <a:pt x="114149" y="892663"/>
                </a:cubicBezTo>
                <a:cubicBezTo>
                  <a:pt x="115696" y="891733"/>
                  <a:pt x="117242" y="890803"/>
                  <a:pt x="118836" y="889845"/>
                </a:cubicBezTo>
                <a:cubicBezTo>
                  <a:pt x="123097" y="888850"/>
                  <a:pt x="127325" y="887944"/>
                  <a:pt x="131626" y="887114"/>
                </a:cubicBezTo>
                <a:cubicBezTo>
                  <a:pt x="139750" y="885542"/>
                  <a:pt x="147376" y="883653"/>
                  <a:pt x="155116" y="880913"/>
                </a:cubicBezTo>
                <a:cubicBezTo>
                  <a:pt x="158498" y="879775"/>
                  <a:pt x="161861" y="879076"/>
                  <a:pt x="165406" y="878483"/>
                </a:cubicBezTo>
                <a:cubicBezTo>
                  <a:pt x="170342" y="877655"/>
                  <a:pt x="172265" y="876971"/>
                  <a:pt x="176634" y="874343"/>
                </a:cubicBezTo>
                <a:cubicBezTo>
                  <a:pt x="179863" y="873335"/>
                  <a:pt x="183123" y="872404"/>
                  <a:pt x="186397" y="871524"/>
                </a:cubicBezTo>
                <a:cubicBezTo>
                  <a:pt x="189107" y="870786"/>
                  <a:pt x="189107" y="870786"/>
                  <a:pt x="191871" y="870033"/>
                </a:cubicBezTo>
                <a:cubicBezTo>
                  <a:pt x="195731" y="869023"/>
                  <a:pt x="199587" y="868093"/>
                  <a:pt x="203483" y="867208"/>
                </a:cubicBezTo>
                <a:cubicBezTo>
                  <a:pt x="208339" y="866199"/>
                  <a:pt x="208339" y="866199"/>
                  <a:pt x="211001" y="861660"/>
                </a:cubicBezTo>
                <a:cubicBezTo>
                  <a:pt x="214174" y="860102"/>
                  <a:pt x="214174" y="860102"/>
                  <a:pt x="218031" y="858577"/>
                </a:cubicBezTo>
                <a:cubicBezTo>
                  <a:pt x="236068" y="850629"/>
                  <a:pt x="245199" y="840442"/>
                  <a:pt x="254740" y="825020"/>
                </a:cubicBezTo>
                <a:cubicBezTo>
                  <a:pt x="255771" y="823625"/>
                  <a:pt x="256802" y="822230"/>
                  <a:pt x="257864" y="820792"/>
                </a:cubicBezTo>
                <a:cubicBezTo>
                  <a:pt x="258359" y="817506"/>
                  <a:pt x="258359" y="817506"/>
                  <a:pt x="258318" y="813810"/>
                </a:cubicBezTo>
                <a:cubicBezTo>
                  <a:pt x="258338" y="812388"/>
                  <a:pt x="258358" y="810967"/>
                  <a:pt x="258378" y="809502"/>
                </a:cubicBezTo>
                <a:cubicBezTo>
                  <a:pt x="258382" y="807965"/>
                  <a:pt x="258385" y="806429"/>
                  <a:pt x="258389" y="804845"/>
                </a:cubicBezTo>
                <a:cubicBezTo>
                  <a:pt x="258399" y="803258"/>
                  <a:pt x="258410" y="801671"/>
                  <a:pt x="258420" y="800036"/>
                </a:cubicBezTo>
                <a:cubicBezTo>
                  <a:pt x="258436" y="796670"/>
                  <a:pt x="258443" y="793305"/>
                  <a:pt x="258443" y="789939"/>
                </a:cubicBezTo>
                <a:cubicBezTo>
                  <a:pt x="258450" y="784823"/>
                  <a:pt x="258506" y="779709"/>
                  <a:pt x="258566" y="774594"/>
                </a:cubicBezTo>
                <a:cubicBezTo>
                  <a:pt x="258575" y="771319"/>
                  <a:pt x="258581" y="768045"/>
                  <a:pt x="258584" y="764771"/>
                </a:cubicBezTo>
                <a:cubicBezTo>
                  <a:pt x="258618" y="762495"/>
                  <a:pt x="258618" y="762495"/>
                  <a:pt x="258652" y="760174"/>
                </a:cubicBezTo>
                <a:cubicBezTo>
                  <a:pt x="258586" y="750030"/>
                  <a:pt x="256266" y="742584"/>
                  <a:pt x="251616" y="733421"/>
                </a:cubicBezTo>
                <a:cubicBezTo>
                  <a:pt x="250163" y="729605"/>
                  <a:pt x="248880" y="725752"/>
                  <a:pt x="247613" y="721883"/>
                </a:cubicBezTo>
                <a:cubicBezTo>
                  <a:pt x="245789" y="716328"/>
                  <a:pt x="243913" y="710939"/>
                  <a:pt x="241291" y="705644"/>
                </a:cubicBezTo>
                <a:cubicBezTo>
                  <a:pt x="238691" y="700096"/>
                  <a:pt x="238136" y="695685"/>
                  <a:pt x="237557" y="689735"/>
                </a:cubicBezTo>
                <a:cubicBezTo>
                  <a:pt x="244977" y="685507"/>
                  <a:pt x="244977" y="685507"/>
                  <a:pt x="248492" y="685507"/>
                </a:cubicBezTo>
                <a:cubicBezTo>
                  <a:pt x="248492" y="684112"/>
                  <a:pt x="248492" y="682717"/>
                  <a:pt x="248492" y="681279"/>
                </a:cubicBezTo>
                <a:cubicBezTo>
                  <a:pt x="245914" y="680815"/>
                  <a:pt x="243337" y="680350"/>
                  <a:pt x="240681" y="679870"/>
                </a:cubicBezTo>
                <a:cubicBezTo>
                  <a:pt x="240681" y="678940"/>
                  <a:pt x="240681" y="678010"/>
                  <a:pt x="240681" y="677052"/>
                </a:cubicBezTo>
                <a:cubicBezTo>
                  <a:pt x="239827" y="676917"/>
                  <a:pt x="238973" y="676783"/>
                  <a:pt x="238094" y="676645"/>
                </a:cubicBezTo>
                <a:cubicBezTo>
                  <a:pt x="233442" y="675371"/>
                  <a:pt x="229939" y="673242"/>
                  <a:pt x="225841" y="670886"/>
                </a:cubicBezTo>
                <a:cubicBezTo>
                  <a:pt x="217808" y="666564"/>
                  <a:pt x="210635" y="664241"/>
                  <a:pt x="201531" y="662508"/>
                </a:cubicBezTo>
                <a:cubicBezTo>
                  <a:pt x="196896" y="661541"/>
                  <a:pt x="192682" y="660199"/>
                  <a:pt x="188252" y="658644"/>
                </a:cubicBezTo>
                <a:lnTo>
                  <a:pt x="182431" y="657327"/>
                </a:lnTo>
                <a:lnTo>
                  <a:pt x="182431" y="657613"/>
                </a:lnTo>
                <a:cubicBezTo>
                  <a:pt x="170575" y="657148"/>
                  <a:pt x="158718" y="656683"/>
                  <a:pt x="146503" y="656204"/>
                </a:cubicBezTo>
                <a:cubicBezTo>
                  <a:pt x="146503" y="657133"/>
                  <a:pt x="146503" y="658064"/>
                  <a:pt x="146503" y="659022"/>
                </a:cubicBezTo>
                <a:cubicBezTo>
                  <a:pt x="134359" y="662326"/>
                  <a:pt x="123013" y="663700"/>
                  <a:pt x="110378" y="663778"/>
                </a:cubicBezTo>
                <a:cubicBezTo>
                  <a:pt x="108435" y="663806"/>
                  <a:pt x="108435" y="663806"/>
                  <a:pt x="106453" y="663836"/>
                </a:cubicBezTo>
                <a:cubicBezTo>
                  <a:pt x="105231" y="663828"/>
                  <a:pt x="104009" y="663820"/>
                  <a:pt x="102751" y="663811"/>
                </a:cubicBezTo>
                <a:cubicBezTo>
                  <a:pt x="101117" y="663804"/>
                  <a:pt x="101117" y="663804"/>
                  <a:pt x="99449" y="663797"/>
                </a:cubicBezTo>
                <a:cubicBezTo>
                  <a:pt x="95696" y="663097"/>
                  <a:pt x="94265" y="661615"/>
                  <a:pt x="91828" y="659022"/>
                </a:cubicBezTo>
                <a:cubicBezTo>
                  <a:pt x="93890" y="659022"/>
                  <a:pt x="95953" y="659022"/>
                  <a:pt x="98077" y="659022"/>
                </a:cubicBezTo>
                <a:cubicBezTo>
                  <a:pt x="98077" y="659952"/>
                  <a:pt x="98077" y="660882"/>
                  <a:pt x="98077" y="661841"/>
                </a:cubicBezTo>
                <a:cubicBezTo>
                  <a:pt x="108735" y="662045"/>
                  <a:pt x="114063" y="662148"/>
                  <a:pt x="119023" y="661357"/>
                </a:cubicBezTo>
                <a:lnTo>
                  <a:pt x="119536" y="661197"/>
                </a:lnTo>
                <a:lnTo>
                  <a:pt x="109853" y="661639"/>
                </a:lnTo>
                <a:cubicBezTo>
                  <a:pt x="108764" y="661632"/>
                  <a:pt x="107675" y="661626"/>
                  <a:pt x="106552" y="661619"/>
                </a:cubicBezTo>
                <a:cubicBezTo>
                  <a:pt x="103877" y="661603"/>
                  <a:pt x="101203" y="661577"/>
                  <a:pt x="98528" y="661550"/>
                </a:cubicBezTo>
                <a:cubicBezTo>
                  <a:pt x="98528" y="660620"/>
                  <a:pt x="98528" y="659691"/>
                  <a:pt x="98528" y="658732"/>
                </a:cubicBezTo>
                <a:cubicBezTo>
                  <a:pt x="95435" y="658267"/>
                  <a:pt x="92342" y="657802"/>
                  <a:pt x="89155" y="657323"/>
                </a:cubicBezTo>
                <a:cubicBezTo>
                  <a:pt x="89155" y="656393"/>
                  <a:pt x="89155" y="655462"/>
                  <a:pt x="89155" y="654504"/>
                </a:cubicBezTo>
                <a:cubicBezTo>
                  <a:pt x="87790" y="653978"/>
                  <a:pt x="87790" y="653978"/>
                  <a:pt x="86397" y="653442"/>
                </a:cubicBezTo>
                <a:cubicBezTo>
                  <a:pt x="82415" y="651438"/>
                  <a:pt x="80039" y="649232"/>
                  <a:pt x="77049" y="646137"/>
                </a:cubicBezTo>
                <a:cubicBezTo>
                  <a:pt x="75611" y="644679"/>
                  <a:pt x="75611" y="644679"/>
                  <a:pt x="74145" y="643192"/>
                </a:cubicBezTo>
                <a:cubicBezTo>
                  <a:pt x="71972" y="640412"/>
                  <a:pt x="71972" y="640412"/>
                  <a:pt x="71972" y="636185"/>
                </a:cubicBezTo>
                <a:cubicBezTo>
                  <a:pt x="70941" y="636185"/>
                  <a:pt x="69910" y="636185"/>
                  <a:pt x="68848" y="636185"/>
                </a:cubicBezTo>
                <a:cubicBezTo>
                  <a:pt x="64250" y="621928"/>
                  <a:pt x="64695" y="609404"/>
                  <a:pt x="70410" y="595317"/>
                </a:cubicBezTo>
                <a:cubicBezTo>
                  <a:pt x="73096" y="591142"/>
                  <a:pt x="76144" y="587574"/>
                  <a:pt x="79782" y="584043"/>
                </a:cubicBezTo>
                <a:cubicBezTo>
                  <a:pt x="81205" y="582594"/>
                  <a:pt x="81205" y="582594"/>
                  <a:pt x="82656" y="581115"/>
                </a:cubicBezTo>
                <a:cubicBezTo>
                  <a:pt x="91488" y="574027"/>
                  <a:pt x="105133" y="571806"/>
                  <a:pt x="116694" y="572323"/>
                </a:cubicBezTo>
                <a:cubicBezTo>
                  <a:pt x="131556" y="574113"/>
                  <a:pt x="142046" y="580551"/>
                  <a:pt x="152031" y="590385"/>
                </a:cubicBezTo>
                <a:cubicBezTo>
                  <a:pt x="162272" y="600009"/>
                  <a:pt x="176992" y="605062"/>
                  <a:pt x="191474" y="605886"/>
                </a:cubicBezTo>
                <a:cubicBezTo>
                  <a:pt x="196845" y="606192"/>
                  <a:pt x="201203" y="606463"/>
                  <a:pt x="206314" y="608000"/>
                </a:cubicBezTo>
                <a:cubicBezTo>
                  <a:pt x="206314" y="608930"/>
                  <a:pt x="206314" y="609860"/>
                  <a:pt x="206314" y="610818"/>
                </a:cubicBezTo>
                <a:cubicBezTo>
                  <a:pt x="215689" y="610902"/>
                  <a:pt x="225058" y="610898"/>
                  <a:pt x="234433" y="610818"/>
                </a:cubicBezTo>
                <a:cubicBezTo>
                  <a:pt x="236112" y="610813"/>
                  <a:pt x="237791" y="610808"/>
                  <a:pt x="239522" y="610802"/>
                </a:cubicBezTo>
                <a:cubicBezTo>
                  <a:pt x="251005" y="610364"/>
                  <a:pt x="259257" y="606564"/>
                  <a:pt x="268799" y="600954"/>
                </a:cubicBezTo>
                <a:cubicBezTo>
                  <a:pt x="269770" y="600416"/>
                  <a:pt x="270740" y="599879"/>
                  <a:pt x="271740" y="599325"/>
                </a:cubicBezTo>
                <a:cubicBezTo>
                  <a:pt x="279452" y="594430"/>
                  <a:pt x="281420" y="587464"/>
                  <a:pt x="284420" y="579816"/>
                </a:cubicBezTo>
                <a:cubicBezTo>
                  <a:pt x="286047" y="576075"/>
                  <a:pt x="287725" y="572353"/>
                  <a:pt x="289399" y="568630"/>
                </a:cubicBezTo>
                <a:cubicBezTo>
                  <a:pt x="294095" y="558121"/>
                  <a:pt x="299004" y="547070"/>
                  <a:pt x="293958" y="535838"/>
                </a:cubicBezTo>
                <a:cubicBezTo>
                  <a:pt x="292436" y="533533"/>
                  <a:pt x="290781" y="531301"/>
                  <a:pt x="289107" y="529084"/>
                </a:cubicBezTo>
                <a:cubicBezTo>
                  <a:pt x="289107" y="528153"/>
                  <a:pt x="289107" y="527223"/>
                  <a:pt x="289107" y="526265"/>
                </a:cubicBezTo>
                <a:cubicBezTo>
                  <a:pt x="287560" y="525800"/>
                  <a:pt x="286014" y="525335"/>
                  <a:pt x="284420" y="524856"/>
                </a:cubicBezTo>
                <a:cubicBezTo>
                  <a:pt x="283905" y="523461"/>
                  <a:pt x="283389" y="522066"/>
                  <a:pt x="282858" y="520628"/>
                </a:cubicBezTo>
                <a:cubicBezTo>
                  <a:pt x="280750" y="518590"/>
                  <a:pt x="280750" y="518590"/>
                  <a:pt x="277977" y="516577"/>
                </a:cubicBezTo>
                <a:cubicBezTo>
                  <a:pt x="273591" y="513232"/>
                  <a:pt x="269227" y="509874"/>
                  <a:pt x="264925" y="506443"/>
                </a:cubicBezTo>
                <a:cubicBezTo>
                  <a:pt x="253596" y="497433"/>
                  <a:pt x="242132" y="488987"/>
                  <a:pt x="229746" y="481170"/>
                </a:cubicBezTo>
                <a:cubicBezTo>
                  <a:pt x="226846" y="479266"/>
                  <a:pt x="223950" y="477358"/>
                  <a:pt x="221057" y="475445"/>
                </a:cubicBezTo>
                <a:cubicBezTo>
                  <a:pt x="218227" y="473594"/>
                  <a:pt x="215396" y="471744"/>
                  <a:pt x="212563" y="469896"/>
                </a:cubicBezTo>
                <a:cubicBezTo>
                  <a:pt x="211351" y="469102"/>
                  <a:pt x="210138" y="468309"/>
                  <a:pt x="208889" y="467491"/>
                </a:cubicBezTo>
                <a:cubicBezTo>
                  <a:pt x="202848" y="463599"/>
                  <a:pt x="196732" y="459888"/>
                  <a:pt x="190406" y="456382"/>
                </a:cubicBezTo>
                <a:cubicBezTo>
                  <a:pt x="189263" y="455748"/>
                  <a:pt x="188119" y="455114"/>
                  <a:pt x="186942" y="454460"/>
                </a:cubicBezTo>
                <a:cubicBezTo>
                  <a:pt x="184648" y="453196"/>
                  <a:pt x="182348" y="451941"/>
                  <a:pt x="180041" y="450696"/>
                </a:cubicBezTo>
                <a:cubicBezTo>
                  <a:pt x="177292" y="449185"/>
                  <a:pt x="174612" y="447571"/>
                  <a:pt x="171948" y="445940"/>
                </a:cubicBezTo>
                <a:cubicBezTo>
                  <a:pt x="171948" y="445009"/>
                  <a:pt x="171948" y="444079"/>
                  <a:pt x="171948" y="443121"/>
                </a:cubicBezTo>
                <a:cubicBezTo>
                  <a:pt x="170804" y="442985"/>
                  <a:pt x="169660" y="442848"/>
                  <a:pt x="168482" y="442708"/>
                </a:cubicBezTo>
                <a:cubicBezTo>
                  <a:pt x="163547" y="441576"/>
                  <a:pt x="161063" y="439897"/>
                  <a:pt x="157107" y="437044"/>
                </a:cubicBezTo>
                <a:cubicBezTo>
                  <a:pt x="149345" y="431895"/>
                  <a:pt x="141843" y="429626"/>
                  <a:pt x="132559" y="427510"/>
                </a:cubicBezTo>
                <a:cubicBezTo>
                  <a:pt x="128067" y="426168"/>
                  <a:pt x="126607" y="425060"/>
                  <a:pt x="123522" y="421983"/>
                </a:cubicBezTo>
                <a:cubicBezTo>
                  <a:pt x="118310" y="419033"/>
                  <a:pt x="114076" y="418794"/>
                  <a:pt x="107986" y="418730"/>
                </a:cubicBezTo>
                <a:cubicBezTo>
                  <a:pt x="106174" y="418694"/>
                  <a:pt x="104362" y="418659"/>
                  <a:pt x="102494" y="418622"/>
                </a:cubicBezTo>
                <a:cubicBezTo>
                  <a:pt x="98715" y="418573"/>
                  <a:pt x="94936" y="418529"/>
                  <a:pt x="91157" y="418490"/>
                </a:cubicBezTo>
                <a:cubicBezTo>
                  <a:pt x="78470" y="418231"/>
                  <a:pt x="65485" y="417940"/>
                  <a:pt x="55277" y="410445"/>
                </a:cubicBezTo>
                <a:cubicBezTo>
                  <a:pt x="54084" y="409137"/>
                  <a:pt x="52893" y="407829"/>
                  <a:pt x="51665" y="406481"/>
                </a:cubicBezTo>
                <a:cubicBezTo>
                  <a:pt x="49752" y="404480"/>
                  <a:pt x="47831" y="402483"/>
                  <a:pt x="45904" y="400492"/>
                </a:cubicBezTo>
                <a:cubicBezTo>
                  <a:pt x="44996" y="399526"/>
                  <a:pt x="44088" y="398559"/>
                  <a:pt x="43152" y="397564"/>
                </a:cubicBezTo>
                <a:cubicBezTo>
                  <a:pt x="40865" y="395062"/>
                  <a:pt x="40865" y="395062"/>
                  <a:pt x="37605" y="393798"/>
                </a:cubicBezTo>
                <a:lnTo>
                  <a:pt x="38995" y="368712"/>
                </a:lnTo>
                <a:lnTo>
                  <a:pt x="38666" y="369724"/>
                </a:lnTo>
                <a:cubicBezTo>
                  <a:pt x="37003" y="374506"/>
                  <a:pt x="36202" y="379113"/>
                  <a:pt x="35542" y="384081"/>
                </a:cubicBezTo>
                <a:cubicBezTo>
                  <a:pt x="30313" y="376119"/>
                  <a:pt x="31188" y="366593"/>
                  <a:pt x="33326" y="357791"/>
                </a:cubicBezTo>
                <a:cubicBezTo>
                  <a:pt x="37176" y="347767"/>
                  <a:pt x="44536" y="340769"/>
                  <a:pt x="52725" y="333349"/>
                </a:cubicBezTo>
                <a:lnTo>
                  <a:pt x="55222" y="334475"/>
                </a:lnTo>
                <a:lnTo>
                  <a:pt x="56222" y="333347"/>
                </a:lnTo>
                <a:lnTo>
                  <a:pt x="55871" y="333347"/>
                </a:lnTo>
                <a:lnTo>
                  <a:pt x="56346" y="333207"/>
                </a:lnTo>
                <a:lnTo>
                  <a:pt x="56351" y="333202"/>
                </a:lnTo>
                <a:lnTo>
                  <a:pt x="56365" y="333202"/>
                </a:lnTo>
                <a:lnTo>
                  <a:pt x="79571" y="326360"/>
                </a:lnTo>
                <a:cubicBezTo>
                  <a:pt x="87782" y="326037"/>
                  <a:pt x="96164" y="327572"/>
                  <a:pt x="104297" y="330529"/>
                </a:cubicBezTo>
                <a:lnTo>
                  <a:pt x="107170" y="334417"/>
                </a:lnTo>
                <a:lnTo>
                  <a:pt x="109366" y="336046"/>
                </a:lnTo>
                <a:lnTo>
                  <a:pt x="109463" y="336020"/>
                </a:lnTo>
                <a:lnTo>
                  <a:pt x="109463" y="336118"/>
                </a:lnTo>
                <a:lnTo>
                  <a:pt x="115226" y="340394"/>
                </a:lnTo>
                <a:lnTo>
                  <a:pt x="114010" y="340120"/>
                </a:lnTo>
                <a:lnTo>
                  <a:pt x="133285" y="357423"/>
                </a:lnTo>
                <a:cubicBezTo>
                  <a:pt x="142471" y="373187"/>
                  <a:pt x="155564" y="382744"/>
                  <a:pt x="173509" y="389571"/>
                </a:cubicBezTo>
                <a:cubicBezTo>
                  <a:pt x="176254" y="390785"/>
                  <a:pt x="178988" y="392017"/>
                  <a:pt x="181711" y="393270"/>
                </a:cubicBezTo>
                <a:cubicBezTo>
                  <a:pt x="182964" y="393833"/>
                  <a:pt x="184216" y="394396"/>
                  <a:pt x="185507" y="394976"/>
                </a:cubicBezTo>
                <a:cubicBezTo>
                  <a:pt x="187897" y="396058"/>
                  <a:pt x="190281" y="397151"/>
                  <a:pt x="192658" y="398257"/>
                </a:cubicBezTo>
                <a:cubicBezTo>
                  <a:pt x="193749" y="398762"/>
                  <a:pt x="194841" y="399267"/>
                  <a:pt x="195966" y="399788"/>
                </a:cubicBezTo>
                <a:cubicBezTo>
                  <a:pt x="196912" y="400231"/>
                  <a:pt x="197858" y="400674"/>
                  <a:pt x="198833" y="401131"/>
                </a:cubicBezTo>
                <a:cubicBezTo>
                  <a:pt x="201808" y="402326"/>
                  <a:pt x="204701" y="403032"/>
                  <a:pt x="207877" y="403663"/>
                </a:cubicBezTo>
                <a:cubicBezTo>
                  <a:pt x="207877" y="404593"/>
                  <a:pt x="207877" y="405523"/>
                  <a:pt x="207877" y="406481"/>
                </a:cubicBezTo>
                <a:cubicBezTo>
                  <a:pt x="221233" y="411377"/>
                  <a:pt x="234752" y="415503"/>
                  <a:pt x="248492" y="419428"/>
                </a:cubicBezTo>
                <a:cubicBezTo>
                  <a:pt x="250298" y="419947"/>
                  <a:pt x="252104" y="420466"/>
                  <a:pt x="253965" y="421000"/>
                </a:cubicBezTo>
                <a:cubicBezTo>
                  <a:pt x="258388" y="422270"/>
                  <a:pt x="262812" y="423537"/>
                  <a:pt x="267237" y="424801"/>
                </a:cubicBezTo>
                <a:lnTo>
                  <a:pt x="267237" y="426451"/>
                </a:lnTo>
                <a:lnTo>
                  <a:pt x="288701" y="429217"/>
                </a:lnTo>
                <a:cubicBezTo>
                  <a:pt x="288701" y="430147"/>
                  <a:pt x="288701" y="431078"/>
                  <a:pt x="288701" y="432036"/>
                </a:cubicBezTo>
                <a:cubicBezTo>
                  <a:pt x="301487" y="433472"/>
                  <a:pt x="314148" y="433662"/>
                  <a:pt x="327010" y="433628"/>
                </a:cubicBezTo>
                <a:cubicBezTo>
                  <a:pt x="330502" y="433621"/>
                  <a:pt x="333994" y="433628"/>
                  <a:pt x="337486" y="433637"/>
                </a:cubicBezTo>
                <a:cubicBezTo>
                  <a:pt x="339734" y="433637"/>
                  <a:pt x="341982" y="433635"/>
                  <a:pt x="344229" y="433632"/>
                </a:cubicBezTo>
                <a:cubicBezTo>
                  <a:pt x="347246" y="433630"/>
                  <a:pt x="347246" y="433630"/>
                  <a:pt x="350323" y="433627"/>
                </a:cubicBezTo>
                <a:cubicBezTo>
                  <a:pt x="355445" y="433459"/>
                  <a:pt x="360220" y="432915"/>
                  <a:pt x="365245" y="432036"/>
                </a:cubicBezTo>
                <a:lnTo>
                  <a:pt x="360797" y="433759"/>
                </a:lnTo>
                <a:lnTo>
                  <a:pt x="365650" y="433257"/>
                </a:lnTo>
                <a:cubicBezTo>
                  <a:pt x="366166" y="431861"/>
                  <a:pt x="366682" y="430466"/>
                  <a:pt x="367213" y="429029"/>
                </a:cubicBezTo>
                <a:cubicBezTo>
                  <a:pt x="369854" y="427628"/>
                  <a:pt x="372501" y="426234"/>
                  <a:pt x="375188" y="424906"/>
                </a:cubicBezTo>
                <a:cubicBezTo>
                  <a:pt x="390245" y="417204"/>
                  <a:pt x="397438" y="403183"/>
                  <a:pt x="404704" y="389571"/>
                </a:cubicBezTo>
                <a:cubicBezTo>
                  <a:pt x="405219" y="389105"/>
                  <a:pt x="405734" y="388641"/>
                  <a:pt x="406265" y="388161"/>
                </a:cubicBezTo>
                <a:cubicBezTo>
                  <a:pt x="406663" y="382152"/>
                  <a:pt x="406555" y="376125"/>
                  <a:pt x="406559" y="370106"/>
                </a:cubicBezTo>
                <a:cubicBezTo>
                  <a:pt x="406578" y="368412"/>
                  <a:pt x="406597" y="366718"/>
                  <a:pt x="406617" y="364973"/>
                </a:cubicBezTo>
                <a:cubicBezTo>
                  <a:pt x="406620" y="363344"/>
                  <a:pt x="406622" y="361715"/>
                  <a:pt x="406626" y="360038"/>
                </a:cubicBezTo>
                <a:cubicBezTo>
                  <a:pt x="406632" y="358541"/>
                  <a:pt x="406638" y="357045"/>
                  <a:pt x="406645" y="355503"/>
                </a:cubicBezTo>
                <a:cubicBezTo>
                  <a:pt x="406264" y="351503"/>
                  <a:pt x="405326" y="349318"/>
                  <a:pt x="403142" y="345885"/>
                </a:cubicBezTo>
                <a:cubicBezTo>
                  <a:pt x="402583" y="343484"/>
                  <a:pt x="402067" y="341075"/>
                  <a:pt x="401579" y="338663"/>
                </a:cubicBezTo>
                <a:cubicBezTo>
                  <a:pt x="399365" y="330323"/>
                  <a:pt x="395538" y="323370"/>
                  <a:pt x="390938" y="315939"/>
                </a:cubicBezTo>
                <a:cubicBezTo>
                  <a:pt x="390290" y="314890"/>
                  <a:pt x="389642" y="313842"/>
                  <a:pt x="388976" y="312762"/>
                </a:cubicBezTo>
                <a:cubicBezTo>
                  <a:pt x="385623" y="307500"/>
                  <a:pt x="382070" y="302607"/>
                  <a:pt x="377934" y="297817"/>
                </a:cubicBezTo>
                <a:cubicBezTo>
                  <a:pt x="373788" y="292978"/>
                  <a:pt x="371423" y="288111"/>
                  <a:pt x="368775" y="282470"/>
                </a:cubicBezTo>
                <a:cubicBezTo>
                  <a:pt x="366035" y="278585"/>
                  <a:pt x="362994" y="274937"/>
                  <a:pt x="359890" y="271284"/>
                </a:cubicBezTo>
                <a:cubicBezTo>
                  <a:pt x="359059" y="270296"/>
                  <a:pt x="358230" y="269307"/>
                  <a:pt x="357374" y="268288"/>
                </a:cubicBezTo>
                <a:cubicBezTo>
                  <a:pt x="351312" y="261177"/>
                  <a:pt x="344882" y="254704"/>
                  <a:pt x="337533" y="248649"/>
                </a:cubicBezTo>
                <a:cubicBezTo>
                  <a:pt x="336767" y="247896"/>
                  <a:pt x="336002" y="247144"/>
                  <a:pt x="335214" y="246369"/>
                </a:cubicBezTo>
                <a:cubicBezTo>
                  <a:pt x="332597" y="243963"/>
                  <a:pt x="332597" y="243963"/>
                  <a:pt x="327085" y="242571"/>
                </a:cubicBezTo>
                <a:cubicBezTo>
                  <a:pt x="309670" y="236923"/>
                  <a:pt x="296614" y="222751"/>
                  <a:pt x="288785" y="207968"/>
                </a:cubicBezTo>
                <a:cubicBezTo>
                  <a:pt x="286673" y="202851"/>
                  <a:pt x="286348" y="197968"/>
                  <a:pt x="286373" y="192544"/>
                </a:cubicBezTo>
                <a:cubicBezTo>
                  <a:pt x="286377" y="191437"/>
                  <a:pt x="286381" y="190330"/>
                  <a:pt x="286385" y="189190"/>
                </a:cubicBezTo>
                <a:cubicBezTo>
                  <a:pt x="286881" y="178340"/>
                  <a:pt x="291581" y="171728"/>
                  <a:pt x="300042" y="164095"/>
                </a:cubicBezTo>
                <a:cubicBezTo>
                  <a:pt x="301386" y="162752"/>
                  <a:pt x="301386" y="162752"/>
                  <a:pt x="302757" y="161381"/>
                </a:cubicBezTo>
                <a:cubicBezTo>
                  <a:pt x="312597" y="152504"/>
                  <a:pt x="325185" y="152675"/>
                  <a:pt x="338411" y="152293"/>
                </a:cubicBezTo>
                <a:cubicBezTo>
                  <a:pt x="350839" y="152463"/>
                  <a:pt x="359094" y="154554"/>
                  <a:pt x="368482" y="161893"/>
                </a:cubicBezTo>
                <a:cubicBezTo>
                  <a:pt x="369609" y="163085"/>
                  <a:pt x="370737" y="164277"/>
                  <a:pt x="371899" y="165505"/>
                </a:cubicBezTo>
                <a:cubicBezTo>
                  <a:pt x="372962" y="166522"/>
                  <a:pt x="374026" y="167539"/>
                  <a:pt x="375121" y="168587"/>
                </a:cubicBezTo>
                <a:cubicBezTo>
                  <a:pt x="381050" y="176351"/>
                  <a:pt x="384520" y="184328"/>
                  <a:pt x="384982" y="193777"/>
                </a:cubicBezTo>
                <a:cubicBezTo>
                  <a:pt x="385464" y="201192"/>
                  <a:pt x="387638" y="207607"/>
                  <a:pt x="390352" y="214563"/>
                </a:cubicBezTo>
                <a:cubicBezTo>
                  <a:pt x="390934" y="216079"/>
                  <a:pt x="390934" y="216079"/>
                  <a:pt x="391529" y="217626"/>
                </a:cubicBezTo>
                <a:cubicBezTo>
                  <a:pt x="394082" y="223926"/>
                  <a:pt x="397412" y="228969"/>
                  <a:pt x="401579" y="234556"/>
                </a:cubicBezTo>
                <a:cubicBezTo>
                  <a:pt x="401579" y="235952"/>
                  <a:pt x="401579" y="237347"/>
                  <a:pt x="401579" y="238784"/>
                </a:cubicBezTo>
                <a:cubicBezTo>
                  <a:pt x="402884" y="239263"/>
                  <a:pt x="402884" y="239263"/>
                  <a:pt x="404215" y="239753"/>
                </a:cubicBezTo>
                <a:cubicBezTo>
                  <a:pt x="410099" y="242765"/>
                  <a:pt x="414395" y="246733"/>
                  <a:pt x="417811" y="251996"/>
                </a:cubicBezTo>
                <a:cubicBezTo>
                  <a:pt x="420462" y="255897"/>
                  <a:pt x="423407" y="258959"/>
                  <a:pt x="426866" y="262300"/>
                </a:cubicBezTo>
                <a:cubicBezTo>
                  <a:pt x="435101" y="270407"/>
                  <a:pt x="442641" y="278936"/>
                  <a:pt x="450097" y="287628"/>
                </a:cubicBezTo>
                <a:cubicBezTo>
                  <a:pt x="453081" y="291117"/>
                  <a:pt x="453081" y="291117"/>
                  <a:pt x="457425" y="293920"/>
                </a:cubicBezTo>
                <a:cubicBezTo>
                  <a:pt x="458585" y="294792"/>
                  <a:pt x="459745" y="295664"/>
                  <a:pt x="460940" y="296562"/>
                </a:cubicBezTo>
                <a:cubicBezTo>
                  <a:pt x="460940" y="297957"/>
                  <a:pt x="460940" y="299352"/>
                  <a:pt x="460940" y="300790"/>
                </a:cubicBezTo>
                <a:cubicBezTo>
                  <a:pt x="465063" y="302782"/>
                  <a:pt x="468862" y="304133"/>
                  <a:pt x="473437" y="305018"/>
                </a:cubicBezTo>
                <a:cubicBezTo>
                  <a:pt x="473437" y="305947"/>
                  <a:pt x="473437" y="306877"/>
                  <a:pt x="473437" y="307836"/>
                </a:cubicBezTo>
                <a:cubicBezTo>
                  <a:pt x="475581" y="308519"/>
                  <a:pt x="477730" y="309193"/>
                  <a:pt x="479881" y="309862"/>
                </a:cubicBezTo>
                <a:cubicBezTo>
                  <a:pt x="481077" y="310237"/>
                  <a:pt x="482273" y="310614"/>
                  <a:pt x="483505" y="311001"/>
                </a:cubicBezTo>
                <a:cubicBezTo>
                  <a:pt x="505448" y="316843"/>
                  <a:pt x="527690" y="314359"/>
                  <a:pt x="548419" y="306427"/>
                </a:cubicBezTo>
                <a:cubicBezTo>
                  <a:pt x="549548" y="305998"/>
                  <a:pt x="550678" y="305569"/>
                  <a:pt x="551842" y="305127"/>
                </a:cubicBezTo>
                <a:cubicBezTo>
                  <a:pt x="555376" y="303227"/>
                  <a:pt x="557584" y="300980"/>
                  <a:pt x="560232" y="298148"/>
                </a:cubicBezTo>
                <a:cubicBezTo>
                  <a:pt x="561137" y="297192"/>
                  <a:pt x="562041" y="296236"/>
                  <a:pt x="562972" y="295252"/>
                </a:cubicBezTo>
                <a:cubicBezTo>
                  <a:pt x="564755" y="293274"/>
                  <a:pt x="566459" y="291237"/>
                  <a:pt x="568086" y="289152"/>
                </a:cubicBezTo>
                <a:cubicBezTo>
                  <a:pt x="568813" y="288342"/>
                  <a:pt x="569539" y="287532"/>
                  <a:pt x="570289" y="286697"/>
                </a:cubicBezTo>
                <a:cubicBezTo>
                  <a:pt x="571319" y="286697"/>
                  <a:pt x="572350" y="286697"/>
                  <a:pt x="573413" y="286697"/>
                </a:cubicBezTo>
                <a:cubicBezTo>
                  <a:pt x="577408" y="276984"/>
                  <a:pt x="577197" y="267284"/>
                  <a:pt x="577220" y="257016"/>
                </a:cubicBezTo>
                <a:cubicBezTo>
                  <a:pt x="577227" y="255625"/>
                  <a:pt x="577227" y="255625"/>
                  <a:pt x="577235" y="254206"/>
                </a:cubicBezTo>
                <a:cubicBezTo>
                  <a:pt x="577257" y="237553"/>
                  <a:pt x="574604" y="222055"/>
                  <a:pt x="569443" y="206049"/>
                </a:cubicBezTo>
                <a:cubicBezTo>
                  <a:pt x="568726" y="203553"/>
                  <a:pt x="568726" y="203553"/>
                  <a:pt x="568726" y="200735"/>
                </a:cubicBezTo>
                <a:cubicBezTo>
                  <a:pt x="567695" y="200735"/>
                  <a:pt x="566664" y="200735"/>
                  <a:pt x="565602" y="200735"/>
                </a:cubicBezTo>
                <a:cubicBezTo>
                  <a:pt x="563274" y="195295"/>
                  <a:pt x="561092" y="190108"/>
                  <a:pt x="559549" y="184441"/>
                </a:cubicBezTo>
                <a:cubicBezTo>
                  <a:pt x="555572" y="173477"/>
                  <a:pt x="547043" y="167105"/>
                  <a:pt x="537484" y="159867"/>
                </a:cubicBezTo>
                <a:cubicBezTo>
                  <a:pt x="533579" y="156609"/>
                  <a:pt x="533579" y="156609"/>
                  <a:pt x="531235" y="154230"/>
                </a:cubicBezTo>
                <a:cubicBezTo>
                  <a:pt x="531235" y="153301"/>
                  <a:pt x="531235" y="152371"/>
                  <a:pt x="531235" y="151412"/>
                </a:cubicBezTo>
                <a:cubicBezTo>
                  <a:pt x="529689" y="150947"/>
                  <a:pt x="528143" y="150482"/>
                  <a:pt x="526549" y="150003"/>
                </a:cubicBezTo>
                <a:cubicBezTo>
                  <a:pt x="519904" y="137298"/>
                  <a:pt x="519105" y="120357"/>
                  <a:pt x="524304" y="107198"/>
                </a:cubicBezTo>
                <a:cubicBezTo>
                  <a:pt x="529443" y="97376"/>
                  <a:pt x="535781" y="90193"/>
                  <a:pt x="547052" y="85972"/>
                </a:cubicBezTo>
                <a:cubicBezTo>
                  <a:pt x="559924" y="81835"/>
                  <a:pt x="575221" y="79746"/>
                  <a:pt x="588460" y="83538"/>
                </a:cubicBezTo>
                <a:cubicBezTo>
                  <a:pt x="601643" y="89713"/>
                  <a:pt x="611835" y="99450"/>
                  <a:pt x="617152" y="111954"/>
                </a:cubicBezTo>
                <a:cubicBezTo>
                  <a:pt x="617935" y="116052"/>
                  <a:pt x="617954" y="120024"/>
                  <a:pt x="617884" y="124175"/>
                </a:cubicBezTo>
                <a:cubicBezTo>
                  <a:pt x="617896" y="125307"/>
                  <a:pt x="617906" y="126440"/>
                  <a:pt x="617917" y="127607"/>
                </a:cubicBezTo>
                <a:cubicBezTo>
                  <a:pt x="617963" y="132394"/>
                  <a:pt x="617938" y="137181"/>
                  <a:pt x="617919" y="141969"/>
                </a:cubicBezTo>
                <a:cubicBezTo>
                  <a:pt x="617899" y="160184"/>
                  <a:pt x="619422" y="175572"/>
                  <a:pt x="630625" y="191311"/>
                </a:cubicBezTo>
                <a:cubicBezTo>
                  <a:pt x="633753" y="195891"/>
                  <a:pt x="636431" y="199900"/>
                  <a:pt x="637850" y="205139"/>
                </a:cubicBezTo>
                <a:cubicBezTo>
                  <a:pt x="638615" y="209623"/>
                  <a:pt x="638615" y="209623"/>
                  <a:pt x="643708" y="212009"/>
                </a:cubicBezTo>
                <a:cubicBezTo>
                  <a:pt x="645380" y="214563"/>
                  <a:pt x="645380" y="214563"/>
                  <a:pt x="647027" y="217645"/>
                </a:cubicBezTo>
                <a:cubicBezTo>
                  <a:pt x="652549" y="227016"/>
                  <a:pt x="660443" y="235696"/>
                  <a:pt x="670264" y="241603"/>
                </a:cubicBezTo>
                <a:cubicBezTo>
                  <a:pt x="670264" y="242532"/>
                  <a:pt x="670264" y="243462"/>
                  <a:pt x="670264" y="244421"/>
                </a:cubicBezTo>
                <a:cubicBezTo>
                  <a:pt x="672036" y="244857"/>
                  <a:pt x="673808" y="245293"/>
                  <a:pt x="675634" y="245742"/>
                </a:cubicBezTo>
                <a:cubicBezTo>
                  <a:pt x="681199" y="247239"/>
                  <a:pt x="681199" y="247239"/>
                  <a:pt x="682761" y="248649"/>
                </a:cubicBezTo>
                <a:cubicBezTo>
                  <a:pt x="704487" y="252065"/>
                  <a:pt x="732606" y="256402"/>
                  <a:pt x="752092" y="245076"/>
                </a:cubicBezTo>
                <a:cubicBezTo>
                  <a:pt x="754252" y="243599"/>
                  <a:pt x="756372" y="242073"/>
                  <a:pt x="758433" y="240485"/>
                </a:cubicBezTo>
                <a:cubicBezTo>
                  <a:pt x="760867" y="238784"/>
                  <a:pt x="760867" y="238784"/>
                  <a:pt x="763991" y="238784"/>
                </a:cubicBezTo>
                <a:cubicBezTo>
                  <a:pt x="764647" y="237296"/>
                  <a:pt x="764647" y="237296"/>
                  <a:pt x="765315" y="235778"/>
                </a:cubicBezTo>
                <a:cubicBezTo>
                  <a:pt x="767151" y="231659"/>
                  <a:pt x="769030" y="227557"/>
                  <a:pt x="770923" y="223459"/>
                </a:cubicBezTo>
                <a:cubicBezTo>
                  <a:pt x="771608" y="221966"/>
                  <a:pt x="772292" y="220472"/>
                  <a:pt x="772998" y="218934"/>
                </a:cubicBezTo>
                <a:cubicBezTo>
                  <a:pt x="774429" y="215885"/>
                  <a:pt x="775968" y="212878"/>
                  <a:pt x="777562" y="209895"/>
                </a:cubicBezTo>
                <a:cubicBezTo>
                  <a:pt x="787607" y="185732"/>
                  <a:pt x="788559" y="149501"/>
                  <a:pt x="781175" y="124637"/>
                </a:cubicBezTo>
                <a:cubicBezTo>
                  <a:pt x="780144" y="124637"/>
                  <a:pt x="779113" y="124637"/>
                  <a:pt x="778051" y="124637"/>
                </a:cubicBezTo>
                <a:cubicBezTo>
                  <a:pt x="768501" y="110080"/>
                  <a:pt x="762898" y="96653"/>
                  <a:pt x="767116" y="79542"/>
                </a:cubicBezTo>
                <a:cubicBezTo>
                  <a:pt x="772286" y="69057"/>
                  <a:pt x="781456" y="58252"/>
                  <a:pt x="793379" y="54000"/>
                </a:cubicBezTo>
                <a:cubicBezTo>
                  <a:pt x="808369" y="49250"/>
                  <a:pt x="826058" y="49579"/>
                  <a:pt x="840688" y="55503"/>
                </a:cubicBezTo>
                <a:cubicBezTo>
                  <a:pt x="845183" y="57759"/>
                  <a:pt x="848037" y="60575"/>
                  <a:pt x="851470" y="64040"/>
                </a:cubicBezTo>
                <a:cubicBezTo>
                  <a:pt x="852721" y="65272"/>
                  <a:pt x="852721" y="65272"/>
                  <a:pt x="853997" y="66529"/>
                </a:cubicBezTo>
                <a:cubicBezTo>
                  <a:pt x="858396" y="71505"/>
                  <a:pt x="860490" y="76640"/>
                  <a:pt x="861488" y="82057"/>
                </a:cubicBezTo>
                <a:lnTo>
                  <a:pt x="861937" y="90492"/>
                </a:lnTo>
                <a:lnTo>
                  <a:pt x="863826" y="100715"/>
                </a:lnTo>
                <a:cubicBezTo>
                  <a:pt x="862141" y="107853"/>
                  <a:pt x="859866" y="114857"/>
                  <a:pt x="857577" y="121853"/>
                </a:cubicBezTo>
                <a:cubicBezTo>
                  <a:pt x="857062" y="121853"/>
                  <a:pt x="856547" y="121853"/>
                  <a:pt x="856015" y="121853"/>
                </a:cubicBezTo>
                <a:cubicBezTo>
                  <a:pt x="855731" y="120401"/>
                  <a:pt x="855731" y="120401"/>
                  <a:pt x="855442" y="118919"/>
                </a:cubicBezTo>
                <a:lnTo>
                  <a:pt x="855417" y="118798"/>
                </a:lnTo>
                <a:lnTo>
                  <a:pt x="856157" y="124637"/>
                </a:lnTo>
                <a:lnTo>
                  <a:pt x="850623" y="134701"/>
                </a:lnTo>
                <a:lnTo>
                  <a:pt x="851325" y="135968"/>
                </a:lnTo>
                <a:cubicBezTo>
                  <a:pt x="850851" y="137246"/>
                  <a:pt x="850376" y="138525"/>
                  <a:pt x="849886" y="139843"/>
                </a:cubicBezTo>
                <a:cubicBezTo>
                  <a:pt x="848171" y="144505"/>
                  <a:pt x="847798" y="148002"/>
                  <a:pt x="847786" y="152889"/>
                </a:cubicBezTo>
                <a:cubicBezTo>
                  <a:pt x="847779" y="154500"/>
                  <a:pt x="847773" y="156109"/>
                  <a:pt x="847767" y="157768"/>
                </a:cubicBezTo>
                <a:cubicBezTo>
                  <a:pt x="847782" y="159468"/>
                  <a:pt x="847796" y="161167"/>
                  <a:pt x="847810" y="162919"/>
                </a:cubicBezTo>
                <a:cubicBezTo>
                  <a:pt x="847821" y="165546"/>
                  <a:pt x="847821" y="165546"/>
                  <a:pt x="847832" y="168227"/>
                </a:cubicBezTo>
                <a:cubicBezTo>
                  <a:pt x="847980" y="181934"/>
                  <a:pt x="849003" y="195419"/>
                  <a:pt x="850903" y="209013"/>
                </a:cubicBezTo>
                <a:lnTo>
                  <a:pt x="852880" y="224692"/>
                </a:lnTo>
                <a:lnTo>
                  <a:pt x="854595" y="224692"/>
                </a:lnTo>
                <a:cubicBezTo>
                  <a:pt x="855086" y="225542"/>
                  <a:pt x="855577" y="226392"/>
                  <a:pt x="856083" y="227268"/>
                </a:cubicBezTo>
                <a:cubicBezTo>
                  <a:pt x="862358" y="237839"/>
                  <a:pt x="866924" y="242785"/>
                  <a:pt x="879588" y="247239"/>
                </a:cubicBezTo>
                <a:cubicBezTo>
                  <a:pt x="881642" y="248025"/>
                  <a:pt x="883692" y="248817"/>
                  <a:pt x="885739" y="249618"/>
                </a:cubicBezTo>
                <a:cubicBezTo>
                  <a:pt x="887318" y="250227"/>
                  <a:pt x="888897" y="250838"/>
                  <a:pt x="890523" y="251467"/>
                </a:cubicBezTo>
                <a:cubicBezTo>
                  <a:pt x="890523" y="252397"/>
                  <a:pt x="890523" y="253327"/>
                  <a:pt x="890523" y="254285"/>
                </a:cubicBezTo>
                <a:cubicBezTo>
                  <a:pt x="900347" y="257061"/>
                  <a:pt x="910127" y="259425"/>
                  <a:pt x="920203" y="261332"/>
                </a:cubicBezTo>
                <a:cubicBezTo>
                  <a:pt x="920203" y="261796"/>
                  <a:pt x="920203" y="262262"/>
                  <a:pt x="920203" y="262741"/>
                </a:cubicBezTo>
                <a:cubicBezTo>
                  <a:pt x="917111" y="262741"/>
                  <a:pt x="914018" y="262741"/>
                  <a:pt x="910831" y="262741"/>
                </a:cubicBezTo>
                <a:lnTo>
                  <a:pt x="910831" y="262864"/>
                </a:lnTo>
                <a:lnTo>
                  <a:pt x="927993" y="264177"/>
                </a:lnTo>
                <a:lnTo>
                  <a:pt x="939273" y="265285"/>
                </a:lnTo>
                <a:lnTo>
                  <a:pt x="940456" y="265191"/>
                </a:lnTo>
                <a:cubicBezTo>
                  <a:pt x="962552" y="263054"/>
                  <a:pt x="974979" y="255295"/>
                  <a:pt x="991622" y="242329"/>
                </a:cubicBezTo>
                <a:lnTo>
                  <a:pt x="1000803" y="236505"/>
                </a:lnTo>
                <a:lnTo>
                  <a:pt x="999806" y="236055"/>
                </a:lnTo>
                <a:cubicBezTo>
                  <a:pt x="1000902" y="234997"/>
                  <a:pt x="1001997" y="233941"/>
                  <a:pt x="1003126" y="232851"/>
                </a:cubicBezTo>
                <a:cubicBezTo>
                  <a:pt x="1012364" y="223880"/>
                  <a:pt x="1021184" y="214752"/>
                  <a:pt x="1029487" y="205052"/>
                </a:cubicBezTo>
                <a:lnTo>
                  <a:pt x="1029872" y="206442"/>
                </a:lnTo>
                <a:lnTo>
                  <a:pt x="1031614" y="203719"/>
                </a:lnTo>
                <a:cubicBezTo>
                  <a:pt x="1033221" y="199204"/>
                  <a:pt x="1035713" y="196017"/>
                  <a:pt x="1038924" y="192280"/>
                </a:cubicBezTo>
                <a:cubicBezTo>
                  <a:pt x="1039956" y="191815"/>
                  <a:pt x="1040987" y="191349"/>
                  <a:pt x="1042049" y="190870"/>
                </a:cubicBezTo>
                <a:cubicBezTo>
                  <a:pt x="1043161" y="188473"/>
                  <a:pt x="1043161" y="188473"/>
                  <a:pt x="1044294" y="186026"/>
                </a:cubicBezTo>
                <a:cubicBezTo>
                  <a:pt x="1046735" y="181006"/>
                  <a:pt x="1046735" y="181006"/>
                  <a:pt x="1051422" y="178188"/>
                </a:cubicBezTo>
                <a:cubicBezTo>
                  <a:pt x="1052553" y="175286"/>
                  <a:pt x="1052553" y="175286"/>
                  <a:pt x="1052984" y="172551"/>
                </a:cubicBezTo>
                <a:cubicBezTo>
                  <a:pt x="1054014" y="172551"/>
                  <a:pt x="1055046" y="172551"/>
                  <a:pt x="1056108" y="172551"/>
                </a:cubicBezTo>
                <a:cubicBezTo>
                  <a:pt x="1057139" y="169295"/>
                  <a:pt x="1058170" y="166040"/>
                  <a:pt x="1059232" y="162686"/>
                </a:cubicBezTo>
                <a:cubicBezTo>
                  <a:pt x="1060263" y="162686"/>
                  <a:pt x="1061295" y="162686"/>
                  <a:pt x="1062357" y="162686"/>
                </a:cubicBezTo>
                <a:cubicBezTo>
                  <a:pt x="1062755" y="161484"/>
                  <a:pt x="1062755" y="161484"/>
                  <a:pt x="1063162" y="160258"/>
                </a:cubicBezTo>
                <a:cubicBezTo>
                  <a:pt x="1065716" y="152917"/>
                  <a:pt x="1068813" y="146686"/>
                  <a:pt x="1073292" y="140138"/>
                </a:cubicBezTo>
                <a:cubicBezTo>
                  <a:pt x="1074322" y="140138"/>
                  <a:pt x="1075353" y="140138"/>
                  <a:pt x="1076415" y="140138"/>
                </a:cubicBezTo>
                <a:cubicBezTo>
                  <a:pt x="1079808" y="132748"/>
                  <a:pt x="1082509" y="125160"/>
                  <a:pt x="1085294" y="117569"/>
                </a:cubicBezTo>
                <a:cubicBezTo>
                  <a:pt x="1085972" y="116181"/>
                  <a:pt x="1086651" y="114793"/>
                  <a:pt x="1087350" y="113363"/>
                </a:cubicBezTo>
                <a:cubicBezTo>
                  <a:pt x="1089671" y="112666"/>
                  <a:pt x="1089671" y="112666"/>
                  <a:pt x="1092037" y="111954"/>
                </a:cubicBezTo>
                <a:cubicBezTo>
                  <a:pt x="1092230" y="110879"/>
                  <a:pt x="1092423" y="109803"/>
                  <a:pt x="1092623" y="108695"/>
                </a:cubicBezTo>
                <a:cubicBezTo>
                  <a:pt x="1093599" y="104908"/>
                  <a:pt x="1093599" y="104908"/>
                  <a:pt x="1096723" y="100680"/>
                </a:cubicBezTo>
                <a:cubicBezTo>
                  <a:pt x="1097207" y="99140"/>
                  <a:pt x="1097689" y="97599"/>
                  <a:pt x="1098188" y="96013"/>
                </a:cubicBezTo>
                <a:cubicBezTo>
                  <a:pt x="1099847" y="90815"/>
                  <a:pt x="1099847" y="90815"/>
                  <a:pt x="1102288" y="87029"/>
                </a:cubicBezTo>
                <a:cubicBezTo>
                  <a:pt x="1106061" y="79186"/>
                  <a:pt x="1107564" y="69424"/>
                  <a:pt x="1104534" y="61222"/>
                </a:cubicBezTo>
                <a:cubicBezTo>
                  <a:pt x="1104409" y="59341"/>
                  <a:pt x="1104366" y="57454"/>
                  <a:pt x="1104381" y="55569"/>
                </a:cubicBezTo>
                <a:cubicBezTo>
                  <a:pt x="1104386" y="54501"/>
                  <a:pt x="1104391" y="53434"/>
                  <a:pt x="1104397" y="52335"/>
                </a:cubicBezTo>
                <a:cubicBezTo>
                  <a:pt x="1104410" y="51228"/>
                  <a:pt x="1104423" y="50120"/>
                  <a:pt x="1104436" y="48979"/>
                </a:cubicBezTo>
                <a:cubicBezTo>
                  <a:pt x="1104443" y="47856"/>
                  <a:pt x="1104451" y="46733"/>
                  <a:pt x="1104457" y="45575"/>
                </a:cubicBezTo>
                <a:cubicBezTo>
                  <a:pt x="1104476" y="42805"/>
                  <a:pt x="1104504" y="40035"/>
                  <a:pt x="1104534" y="37265"/>
                </a:cubicBezTo>
                <a:cubicBezTo>
                  <a:pt x="1105565" y="37265"/>
                  <a:pt x="1106596" y="37265"/>
                  <a:pt x="1107658" y="37265"/>
                </a:cubicBezTo>
                <a:cubicBezTo>
                  <a:pt x="1107561" y="34562"/>
                  <a:pt x="1107561" y="34562"/>
                  <a:pt x="1107463" y="31805"/>
                </a:cubicBezTo>
                <a:cubicBezTo>
                  <a:pt x="1107353" y="28733"/>
                  <a:pt x="1107353" y="28733"/>
                  <a:pt x="1107658" y="25991"/>
                </a:cubicBezTo>
                <a:cubicBezTo>
                  <a:pt x="1108689" y="25062"/>
                  <a:pt x="1109720" y="24131"/>
                  <a:pt x="1110782" y="23173"/>
                </a:cubicBezTo>
                <a:cubicBezTo>
                  <a:pt x="1111104" y="22156"/>
                  <a:pt x="1111427" y="21138"/>
                  <a:pt x="1111759" y="20091"/>
                </a:cubicBezTo>
                <a:cubicBezTo>
                  <a:pt x="1116393" y="11539"/>
                  <a:pt x="1124927" y="6390"/>
                  <a:pt x="1134507" y="2828"/>
                </a:cubicBezTo>
                <a:cubicBezTo>
                  <a:pt x="1141389" y="825"/>
                  <a:pt x="1148262" y="-204"/>
                  <a:pt x="1155019" y="35"/>
                </a:cubicBezTo>
                <a:close/>
              </a:path>
            </a:pathLst>
          </a:custGeom>
          <a:solidFill>
            <a:schemeClr val="accent6">
              <a:lumMod val="50000"/>
            </a:schemeClr>
          </a:solidFill>
          <a:ln w="2232" cap="flat">
            <a:noFill/>
            <a:prstDash val="solid"/>
            <a:miter/>
          </a:ln>
          <a:effectLst>
            <a:innerShdw blurRad="63500" dist="165100" dir="8100000">
              <a:schemeClr val="accent3">
                <a:lumMod val="75000"/>
                <a:alpha val="50000"/>
              </a:schemeClr>
            </a:innerShdw>
          </a:effectLst>
        </p:spPr>
        <p:txBody>
          <a:bodyPr wrap="squar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406" name="Oval 7405">
            <a:extLst>
              <a:ext uri="{FF2B5EF4-FFF2-40B4-BE49-F238E27FC236}">
                <a16:creationId xmlns:a16="http://schemas.microsoft.com/office/drawing/2014/main" id="{7FC029EF-D693-AA89-FD1A-1ABEF88D3A23}"/>
              </a:ext>
            </a:extLst>
          </p:cNvPr>
          <p:cNvSpPr/>
          <p:nvPr/>
        </p:nvSpPr>
        <p:spPr>
          <a:xfrm>
            <a:off x="6718865" y="4761548"/>
            <a:ext cx="535375" cy="133103"/>
          </a:xfrm>
          <a:prstGeom prst="ellipse">
            <a:avLst/>
          </a:prstGeom>
          <a:solidFill>
            <a:schemeClr val="tx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407" name="Oval 7406">
            <a:extLst>
              <a:ext uri="{FF2B5EF4-FFF2-40B4-BE49-F238E27FC236}">
                <a16:creationId xmlns:a16="http://schemas.microsoft.com/office/drawing/2014/main" id="{55161DE5-2BF6-4C90-48F5-93E2D465950A}"/>
              </a:ext>
            </a:extLst>
          </p:cNvPr>
          <p:cNvSpPr/>
          <p:nvPr/>
        </p:nvSpPr>
        <p:spPr>
          <a:xfrm>
            <a:off x="7115385" y="5224532"/>
            <a:ext cx="176955" cy="176955"/>
          </a:xfrm>
          <a:prstGeom prst="ellipse">
            <a:avLst/>
          </a:prstGeom>
          <a:solidFill>
            <a:srgbClr val="275268">
              <a:alpha val="72000"/>
            </a:srgbClr>
          </a:solidFill>
          <a:ln>
            <a:noFill/>
          </a:ln>
          <a:effectLst>
            <a:outerShdw blurRad="50800" dist="38100" dir="8100000" sx="112000" sy="112000" algn="tr" rotWithShape="0">
              <a:prstClr val="black">
                <a:alpha val="32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408" name="Oval 7407">
            <a:extLst>
              <a:ext uri="{FF2B5EF4-FFF2-40B4-BE49-F238E27FC236}">
                <a16:creationId xmlns:a16="http://schemas.microsoft.com/office/drawing/2014/main" id="{C701E483-E049-29AD-B484-4F8D6DA69552}"/>
              </a:ext>
            </a:extLst>
          </p:cNvPr>
          <p:cNvSpPr/>
          <p:nvPr/>
        </p:nvSpPr>
        <p:spPr>
          <a:xfrm>
            <a:off x="7420185" y="5224532"/>
            <a:ext cx="176955" cy="176955"/>
          </a:xfrm>
          <a:prstGeom prst="ellipse">
            <a:avLst/>
          </a:prstGeom>
          <a:solidFill>
            <a:srgbClr val="275268">
              <a:alpha val="72000"/>
            </a:srgbClr>
          </a:solidFill>
          <a:ln>
            <a:noFill/>
          </a:ln>
          <a:effectLst>
            <a:outerShdw blurRad="50800" dist="38100" dir="8100000" sx="112000" sy="112000" algn="tr" rotWithShape="0">
              <a:prstClr val="black">
                <a:alpha val="32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409" name="Oval 7408">
            <a:extLst>
              <a:ext uri="{FF2B5EF4-FFF2-40B4-BE49-F238E27FC236}">
                <a16:creationId xmlns:a16="http://schemas.microsoft.com/office/drawing/2014/main" id="{7F570E2E-3F95-01C2-B516-5C3D042ECD6B}"/>
              </a:ext>
            </a:extLst>
          </p:cNvPr>
          <p:cNvSpPr/>
          <p:nvPr/>
        </p:nvSpPr>
        <p:spPr>
          <a:xfrm>
            <a:off x="7328745" y="5521712"/>
            <a:ext cx="145663" cy="145663"/>
          </a:xfrm>
          <a:prstGeom prst="ellipse">
            <a:avLst/>
          </a:prstGeom>
          <a:solidFill>
            <a:srgbClr val="275268">
              <a:alpha val="72000"/>
            </a:srgbClr>
          </a:solidFill>
          <a:ln>
            <a:noFill/>
          </a:ln>
          <a:effectLst>
            <a:outerShdw blurRad="50800" dist="38100" dir="8100000" sx="112000" sy="112000" algn="tr" rotWithShape="0">
              <a:prstClr val="black">
                <a:alpha val="32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416" name="Oval 7415">
            <a:extLst>
              <a:ext uri="{FF2B5EF4-FFF2-40B4-BE49-F238E27FC236}">
                <a16:creationId xmlns:a16="http://schemas.microsoft.com/office/drawing/2014/main" id="{D8E13E49-4390-295D-4211-2D428119D100}"/>
              </a:ext>
            </a:extLst>
          </p:cNvPr>
          <p:cNvSpPr/>
          <p:nvPr/>
        </p:nvSpPr>
        <p:spPr>
          <a:xfrm>
            <a:off x="8258385" y="4881632"/>
            <a:ext cx="123615" cy="123615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417" name="Oval 7416">
            <a:extLst>
              <a:ext uri="{FF2B5EF4-FFF2-40B4-BE49-F238E27FC236}">
                <a16:creationId xmlns:a16="http://schemas.microsoft.com/office/drawing/2014/main" id="{E47B9C62-DF93-115E-0CE2-88914C33F203}"/>
              </a:ext>
            </a:extLst>
          </p:cNvPr>
          <p:cNvSpPr/>
          <p:nvPr/>
        </p:nvSpPr>
        <p:spPr>
          <a:xfrm>
            <a:off x="8426025" y="5064512"/>
            <a:ext cx="123615" cy="123615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418" name="Oval 7417">
            <a:extLst>
              <a:ext uri="{FF2B5EF4-FFF2-40B4-BE49-F238E27FC236}">
                <a16:creationId xmlns:a16="http://schemas.microsoft.com/office/drawing/2014/main" id="{5F8EA946-FCBB-14BF-14D9-9A9823DB0DC5}"/>
              </a:ext>
            </a:extLst>
          </p:cNvPr>
          <p:cNvSpPr/>
          <p:nvPr/>
        </p:nvSpPr>
        <p:spPr>
          <a:xfrm>
            <a:off x="8220285" y="5155952"/>
            <a:ext cx="123615" cy="123615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422" name="Oval 7421">
            <a:extLst>
              <a:ext uri="{FF2B5EF4-FFF2-40B4-BE49-F238E27FC236}">
                <a16:creationId xmlns:a16="http://schemas.microsoft.com/office/drawing/2014/main" id="{FC65FEB0-3572-1B21-DCF3-9A1A15A3E5D8}"/>
              </a:ext>
            </a:extLst>
          </p:cNvPr>
          <p:cNvSpPr/>
          <p:nvPr/>
        </p:nvSpPr>
        <p:spPr>
          <a:xfrm>
            <a:off x="6161440" y="5081635"/>
            <a:ext cx="53940" cy="45720"/>
          </a:xfrm>
          <a:prstGeom prst="ellipse">
            <a:avLst/>
          </a:prstGeom>
          <a:solidFill>
            <a:srgbClr val="35556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423" name="Oval 7422">
            <a:extLst>
              <a:ext uri="{FF2B5EF4-FFF2-40B4-BE49-F238E27FC236}">
                <a16:creationId xmlns:a16="http://schemas.microsoft.com/office/drawing/2014/main" id="{6421E5A1-06EB-336A-3F08-D3DA77D1B8EA}"/>
              </a:ext>
            </a:extLst>
          </p:cNvPr>
          <p:cNvSpPr/>
          <p:nvPr/>
        </p:nvSpPr>
        <p:spPr>
          <a:xfrm>
            <a:off x="6313840" y="5022105"/>
            <a:ext cx="53940" cy="45720"/>
          </a:xfrm>
          <a:prstGeom prst="ellipse">
            <a:avLst/>
          </a:prstGeom>
          <a:solidFill>
            <a:srgbClr val="35556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424" name="Oval 7423">
            <a:extLst>
              <a:ext uri="{FF2B5EF4-FFF2-40B4-BE49-F238E27FC236}">
                <a16:creationId xmlns:a16="http://schemas.microsoft.com/office/drawing/2014/main" id="{5A629228-7980-503F-FB29-26979D4CB46C}"/>
              </a:ext>
            </a:extLst>
          </p:cNvPr>
          <p:cNvSpPr/>
          <p:nvPr/>
        </p:nvSpPr>
        <p:spPr>
          <a:xfrm>
            <a:off x="6182566" y="4893579"/>
            <a:ext cx="53940" cy="45720"/>
          </a:xfrm>
          <a:prstGeom prst="ellipse">
            <a:avLst/>
          </a:prstGeom>
          <a:solidFill>
            <a:srgbClr val="35556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402" name="Oval 7401">
            <a:extLst>
              <a:ext uri="{FF2B5EF4-FFF2-40B4-BE49-F238E27FC236}">
                <a16:creationId xmlns:a16="http://schemas.microsoft.com/office/drawing/2014/main" id="{190B40DD-752E-DD09-6D5B-BC39840270B9}"/>
              </a:ext>
            </a:extLst>
          </p:cNvPr>
          <p:cNvSpPr/>
          <p:nvPr/>
        </p:nvSpPr>
        <p:spPr>
          <a:xfrm>
            <a:off x="9167873" y="6498766"/>
            <a:ext cx="1321387" cy="326548"/>
          </a:xfrm>
          <a:prstGeom prst="ellipse">
            <a:avLst/>
          </a:prstGeom>
          <a:solidFill>
            <a:schemeClr val="tx1">
              <a:alpha val="5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394" name="Free-form: Shape 7393">
            <a:extLst>
              <a:ext uri="{FF2B5EF4-FFF2-40B4-BE49-F238E27FC236}">
                <a16:creationId xmlns:a16="http://schemas.microsoft.com/office/drawing/2014/main" id="{59FA9395-854C-A052-8CEA-0C669E871B1A}"/>
              </a:ext>
            </a:extLst>
          </p:cNvPr>
          <p:cNvSpPr/>
          <p:nvPr/>
        </p:nvSpPr>
        <p:spPr>
          <a:xfrm>
            <a:off x="8846865" y="4845715"/>
            <a:ext cx="1947515" cy="1861743"/>
          </a:xfrm>
          <a:custGeom>
            <a:avLst/>
            <a:gdLst>
              <a:gd name="csX0" fmla="*/ 401579 w 1609516"/>
              <a:gd name="csY0" fmla="*/ 1495809 h 1538630"/>
              <a:gd name="csX1" fmla="*/ 400190 w 1609516"/>
              <a:gd name="csY1" fmla="*/ 1496004 h 1538630"/>
              <a:gd name="csX2" fmla="*/ 401224 w 1609516"/>
              <a:gd name="csY2" fmla="*/ 1496470 h 1538630"/>
              <a:gd name="csX3" fmla="*/ 401224 w 1609516"/>
              <a:gd name="csY3" fmla="*/ 1498590 h 1538630"/>
              <a:gd name="csX4" fmla="*/ 401579 w 1609516"/>
              <a:gd name="csY4" fmla="*/ 1498628 h 1538630"/>
              <a:gd name="csX5" fmla="*/ 401579 w 1609516"/>
              <a:gd name="csY5" fmla="*/ 1495809 h 1538630"/>
              <a:gd name="csX6" fmla="*/ 368755 w 1609516"/>
              <a:gd name="csY6" fmla="*/ 1486512 h 1538630"/>
              <a:gd name="csX7" fmla="*/ 364089 w 1609516"/>
              <a:gd name="csY7" fmla="*/ 1487354 h 1538630"/>
              <a:gd name="csX8" fmla="*/ 364089 w 1609516"/>
              <a:gd name="csY8" fmla="*/ 1487908 h 1538630"/>
              <a:gd name="csX9" fmla="*/ 1049801 w 1609516"/>
              <a:gd name="csY9" fmla="*/ 1484562 h 1538630"/>
              <a:gd name="csX10" fmla="*/ 1046735 w 1609516"/>
              <a:gd name="csY10" fmla="*/ 1485945 h 1538630"/>
              <a:gd name="csX11" fmla="*/ 1046955 w 1609516"/>
              <a:gd name="csY11" fmla="*/ 1486045 h 1538630"/>
              <a:gd name="csX12" fmla="*/ 1049801 w 1609516"/>
              <a:gd name="csY12" fmla="*/ 1485188 h 1538630"/>
              <a:gd name="csX13" fmla="*/ 351234 w 1609516"/>
              <a:gd name="csY13" fmla="*/ 1444508 h 1538630"/>
              <a:gd name="csX14" fmla="*/ 351234 w 1609516"/>
              <a:gd name="csY14" fmla="*/ 1444997 h 1538630"/>
              <a:gd name="csX15" fmla="*/ 351592 w 1609516"/>
              <a:gd name="csY15" fmla="*/ 1445078 h 1538630"/>
              <a:gd name="csX16" fmla="*/ 351908 w 1609516"/>
              <a:gd name="csY16" fmla="*/ 1431206 h 1538630"/>
              <a:gd name="csX17" fmla="*/ 351234 w 1609516"/>
              <a:gd name="csY17" fmla="*/ 1431611 h 1538630"/>
              <a:gd name="csX18" fmla="*/ 351234 w 1609516"/>
              <a:gd name="csY18" fmla="*/ 1432274 h 1538630"/>
              <a:gd name="csX19" fmla="*/ 358162 w 1609516"/>
              <a:gd name="csY19" fmla="*/ 1421494 h 1538630"/>
              <a:gd name="csX20" fmla="*/ 355921 w 1609516"/>
              <a:gd name="csY20" fmla="*/ 1423156 h 1538630"/>
              <a:gd name="csX21" fmla="*/ 355921 w 1609516"/>
              <a:gd name="csY21" fmla="*/ 1423548 h 1538630"/>
              <a:gd name="csX22" fmla="*/ 376098 w 1609516"/>
              <a:gd name="csY22" fmla="*/ 1408347 h 1538630"/>
              <a:gd name="csX23" fmla="*/ 370750 w 1609516"/>
              <a:gd name="csY23" fmla="*/ 1412245 h 1538630"/>
              <a:gd name="csX24" fmla="*/ 375023 w 1609516"/>
              <a:gd name="csY24" fmla="*/ 1411256 h 1538630"/>
              <a:gd name="csX25" fmla="*/ 421956 w 1609516"/>
              <a:gd name="csY25" fmla="*/ 1365623 h 1538630"/>
              <a:gd name="csX26" fmla="*/ 421765 w 1609516"/>
              <a:gd name="csY26" fmla="*/ 1366161 h 1538630"/>
              <a:gd name="csX27" fmla="*/ 421887 w 1609516"/>
              <a:gd name="csY27" fmla="*/ 1366161 h 1538630"/>
              <a:gd name="csX28" fmla="*/ 754553 w 1609516"/>
              <a:gd name="csY28" fmla="*/ 1360575 h 1538630"/>
              <a:gd name="csX29" fmla="*/ 754089 w 1609516"/>
              <a:gd name="csY29" fmla="*/ 1361433 h 1538630"/>
              <a:gd name="csX30" fmla="*/ 754431 w 1609516"/>
              <a:gd name="csY30" fmla="*/ 1361125 h 1538630"/>
              <a:gd name="csX31" fmla="*/ 1277973 w 1609516"/>
              <a:gd name="csY31" fmla="*/ 1332923 h 1538630"/>
              <a:gd name="csX32" fmla="*/ 1277944 w 1609516"/>
              <a:gd name="csY32" fmla="*/ 1332936 h 1538630"/>
              <a:gd name="csX33" fmla="*/ 1277949 w 1609516"/>
              <a:gd name="csY33" fmla="*/ 1333139 h 1538630"/>
              <a:gd name="csX34" fmla="*/ 1268556 w 1609516"/>
              <a:gd name="csY34" fmla="*/ 1321066 h 1538630"/>
              <a:gd name="csX35" fmla="*/ 1268556 w 1609516"/>
              <a:gd name="csY35" fmla="*/ 1325294 h 1538630"/>
              <a:gd name="csX36" fmla="*/ 1265432 w 1609516"/>
              <a:gd name="csY36" fmla="*/ 1325294 h 1538630"/>
              <a:gd name="csX37" fmla="*/ 1265432 w 1609516"/>
              <a:gd name="csY37" fmla="*/ 1340795 h 1538630"/>
              <a:gd name="csX38" fmla="*/ 1265476 w 1609516"/>
              <a:gd name="csY38" fmla="*/ 1340714 h 1538630"/>
              <a:gd name="csX39" fmla="*/ 1265476 w 1609516"/>
              <a:gd name="csY39" fmla="*/ 1325877 h 1538630"/>
              <a:gd name="csX40" fmla="*/ 1268600 w 1609516"/>
              <a:gd name="csY40" fmla="*/ 1325877 h 1538630"/>
              <a:gd name="csX41" fmla="*/ 1268600 w 1609516"/>
              <a:gd name="csY41" fmla="*/ 1321649 h 1538630"/>
              <a:gd name="csX42" fmla="*/ 1273286 w 1609516"/>
              <a:gd name="csY42" fmla="*/ 1321649 h 1538630"/>
              <a:gd name="csX43" fmla="*/ 1273227 w 1609516"/>
              <a:gd name="csY43" fmla="*/ 1321066 h 1538630"/>
              <a:gd name="csX44" fmla="*/ 827891 w 1609516"/>
              <a:gd name="csY44" fmla="*/ 1291474 h 1538630"/>
              <a:gd name="csX45" fmla="*/ 822601 w 1609516"/>
              <a:gd name="csY45" fmla="*/ 1291544 h 1538630"/>
              <a:gd name="csX46" fmla="*/ 818272 w 1609516"/>
              <a:gd name="csY46" fmla="*/ 1292220 h 1538630"/>
              <a:gd name="csX47" fmla="*/ 827891 w 1609516"/>
              <a:gd name="csY47" fmla="*/ 1292047 h 1538630"/>
              <a:gd name="csX48" fmla="*/ 856397 w 1609516"/>
              <a:gd name="csY48" fmla="*/ 1288691 h 1538630"/>
              <a:gd name="csX49" fmla="*/ 865903 w 1609516"/>
              <a:gd name="csY49" fmla="*/ 1290590 h 1538630"/>
              <a:gd name="csX50" fmla="*/ 859999 w 1609516"/>
              <a:gd name="csY50" fmla="*/ 1288752 h 1538630"/>
              <a:gd name="csX51" fmla="*/ 834694 w 1609516"/>
              <a:gd name="csY51" fmla="*/ 1288572 h 1538630"/>
              <a:gd name="csX52" fmla="*/ 828038 w 1609516"/>
              <a:gd name="csY52" fmla="*/ 1288654 h 1538630"/>
              <a:gd name="csX53" fmla="*/ 828038 w 1609516"/>
              <a:gd name="csY53" fmla="*/ 1289214 h 1538630"/>
              <a:gd name="csX54" fmla="*/ 229746 w 1609516"/>
              <a:gd name="csY54" fmla="*/ 1191418 h 1538630"/>
              <a:gd name="csX55" fmla="*/ 227402 w 1609516"/>
              <a:gd name="csY55" fmla="*/ 1191947 h 1538630"/>
              <a:gd name="csX56" fmla="*/ 229315 w 1609516"/>
              <a:gd name="csY56" fmla="*/ 1191947 h 1538630"/>
              <a:gd name="csX57" fmla="*/ 229315 w 1609516"/>
              <a:gd name="csY57" fmla="*/ 1194765 h 1538630"/>
              <a:gd name="csX58" fmla="*/ 231321 w 1609516"/>
              <a:gd name="csY58" fmla="*/ 1194765 h 1538630"/>
              <a:gd name="csX59" fmla="*/ 229746 w 1609516"/>
              <a:gd name="csY59" fmla="*/ 1194236 h 1538630"/>
              <a:gd name="csX60" fmla="*/ 229746 w 1609516"/>
              <a:gd name="csY60" fmla="*/ 1191418 h 1538630"/>
              <a:gd name="csX61" fmla="*/ 215687 w 1609516"/>
              <a:gd name="csY61" fmla="*/ 1187190 h 1538630"/>
              <a:gd name="csX62" fmla="*/ 215198 w 1609516"/>
              <a:gd name="csY62" fmla="*/ 1187720 h 1538630"/>
              <a:gd name="csX63" fmla="*/ 215256 w 1609516"/>
              <a:gd name="csY63" fmla="*/ 1187720 h 1538630"/>
              <a:gd name="csX64" fmla="*/ 215256 w 1609516"/>
              <a:gd name="csY64" fmla="*/ 1191947 h 1538630"/>
              <a:gd name="csX65" fmla="*/ 222721 w 1609516"/>
              <a:gd name="csY65" fmla="*/ 1191947 h 1538630"/>
              <a:gd name="csX66" fmla="*/ 215687 w 1609516"/>
              <a:gd name="csY66" fmla="*/ 1191418 h 1538630"/>
              <a:gd name="csX67" fmla="*/ 215687 w 1609516"/>
              <a:gd name="csY67" fmla="*/ 1187190 h 1538630"/>
              <a:gd name="csX68" fmla="*/ 1279678 w 1609516"/>
              <a:gd name="csY68" fmla="*/ 1082356 h 1538630"/>
              <a:gd name="csX69" fmla="*/ 1271680 w 1609516"/>
              <a:gd name="csY69" fmla="*/ 1084589 h 1538630"/>
              <a:gd name="csX70" fmla="*/ 1282181 w 1609516"/>
              <a:gd name="csY70" fmla="*/ 1082544 h 1538630"/>
              <a:gd name="csX71" fmla="*/ 117703 w 1609516"/>
              <a:gd name="csY71" fmla="*/ 941507 h 1538630"/>
              <a:gd name="csX72" fmla="*/ 112587 w 1609516"/>
              <a:gd name="csY72" fmla="*/ 941985 h 1538630"/>
              <a:gd name="csX73" fmla="*/ 112565 w 1609516"/>
              <a:gd name="csY73" fmla="*/ 942333 h 1538630"/>
              <a:gd name="csX74" fmla="*/ 115665 w 1609516"/>
              <a:gd name="csY74" fmla="*/ 941837 h 1538630"/>
              <a:gd name="csX75" fmla="*/ 144268 w 1609516"/>
              <a:gd name="csY75" fmla="*/ 939395 h 1538630"/>
              <a:gd name="csX76" fmla="*/ 143354 w 1609516"/>
              <a:gd name="csY76" fmla="*/ 939580 h 1538630"/>
              <a:gd name="csX77" fmla="*/ 144077 w 1609516"/>
              <a:gd name="csY77" fmla="*/ 939739 h 1538630"/>
              <a:gd name="csX78" fmla="*/ 162575 w 1609516"/>
              <a:gd name="csY78" fmla="*/ 933530 h 1538630"/>
              <a:gd name="csX79" fmla="*/ 161704 w 1609516"/>
              <a:gd name="csY79" fmla="*/ 935101 h 1538630"/>
              <a:gd name="csX80" fmla="*/ 170045 w 1609516"/>
              <a:gd name="csY80" fmla="*/ 933585 h 1538630"/>
              <a:gd name="csX81" fmla="*/ 1321645 w 1609516"/>
              <a:gd name="csY81" fmla="*/ 918415 h 1538630"/>
              <a:gd name="csX82" fmla="*/ 1321534 w 1609516"/>
              <a:gd name="csY82" fmla="*/ 920177 h 1538630"/>
              <a:gd name="csX83" fmla="*/ 1321740 w 1609516"/>
              <a:gd name="csY83" fmla="*/ 918415 h 1538630"/>
              <a:gd name="csX84" fmla="*/ 1319333 w 1609516"/>
              <a:gd name="csY84" fmla="*/ 915183 h 1538630"/>
              <a:gd name="csX85" fmla="*/ 1318544 w 1609516"/>
              <a:gd name="csY85" fmla="*/ 918029 h 1538630"/>
              <a:gd name="csX86" fmla="*/ 1318702 w 1609516"/>
              <a:gd name="csY86" fmla="*/ 918029 h 1538630"/>
              <a:gd name="csX87" fmla="*/ 1326355 w 1609516"/>
              <a:gd name="csY87" fmla="*/ 907109 h 1538630"/>
              <a:gd name="csX88" fmla="*/ 1326355 w 1609516"/>
              <a:gd name="csY88" fmla="*/ 910983 h 1538630"/>
              <a:gd name="csX89" fmla="*/ 1325831 w 1609516"/>
              <a:gd name="csY89" fmla="*/ 911101 h 1538630"/>
              <a:gd name="csX90" fmla="*/ 1326426 w 1609516"/>
              <a:gd name="csY90" fmla="*/ 911369 h 1538630"/>
              <a:gd name="csX91" fmla="*/ 1326426 w 1609516"/>
              <a:gd name="csY91" fmla="*/ 907141 h 1538630"/>
              <a:gd name="csX92" fmla="*/ 1328144 w 1609516"/>
              <a:gd name="csY92" fmla="*/ 892192 h 1538630"/>
              <a:gd name="csX93" fmla="*/ 1327667 w 1609516"/>
              <a:gd name="csY93" fmla="*/ 893446 h 1538630"/>
              <a:gd name="csX94" fmla="*/ 1327989 w 1609516"/>
              <a:gd name="csY94" fmla="*/ 893049 h 1538630"/>
              <a:gd name="csX95" fmla="*/ 49605 w 1609516"/>
              <a:gd name="csY95" fmla="*/ 887420 h 1538630"/>
              <a:gd name="csX96" fmla="*/ 48549 w 1609516"/>
              <a:gd name="csY96" fmla="*/ 891229 h 1538630"/>
              <a:gd name="csX97" fmla="*/ 49956 w 1609516"/>
              <a:gd name="csY97" fmla="*/ 887420 h 1538630"/>
              <a:gd name="csX98" fmla="*/ 1332266 w 1609516"/>
              <a:gd name="csY98" fmla="*/ 883369 h 1538630"/>
              <a:gd name="csX99" fmla="*/ 1329479 w 1609516"/>
              <a:gd name="csY99" fmla="*/ 884207 h 1538630"/>
              <a:gd name="csX100" fmla="*/ 1329509 w 1609516"/>
              <a:gd name="csY100" fmla="*/ 884816 h 1538630"/>
              <a:gd name="csX101" fmla="*/ 1329551 w 1609516"/>
              <a:gd name="csY101" fmla="*/ 884594 h 1538630"/>
              <a:gd name="csX102" fmla="*/ 1555987 w 1609516"/>
              <a:gd name="csY102" fmla="*/ 821766 h 1538630"/>
              <a:gd name="csX103" fmla="*/ 1555987 w 1609516"/>
              <a:gd name="csY103" fmla="*/ 822201 h 1538630"/>
              <a:gd name="csX104" fmla="*/ 1556081 w 1609516"/>
              <a:gd name="csY104" fmla="*/ 822189 h 1538630"/>
              <a:gd name="csX105" fmla="*/ 1565360 w 1609516"/>
              <a:gd name="csY105" fmla="*/ 810928 h 1538630"/>
              <a:gd name="csX106" fmla="*/ 1564871 w 1609516"/>
              <a:gd name="csY106" fmla="*/ 811809 h 1538630"/>
              <a:gd name="csX107" fmla="*/ 1567314 w 1609516"/>
              <a:gd name="csY107" fmla="*/ 810928 h 1538630"/>
              <a:gd name="csX108" fmla="*/ 1563797 w 1609516"/>
              <a:gd name="csY108" fmla="*/ 810928 h 1538630"/>
              <a:gd name="csX109" fmla="*/ 1556762 w 1609516"/>
              <a:gd name="csY109" fmla="*/ 814736 h 1538630"/>
              <a:gd name="csX110" fmla="*/ 1563797 w 1609516"/>
              <a:gd name="csY110" fmla="*/ 812197 h 1538630"/>
              <a:gd name="csX111" fmla="*/ 265833 w 1609516"/>
              <a:gd name="csY111" fmla="*/ 806020 h 1538630"/>
              <a:gd name="csX112" fmla="*/ 263704 w 1609516"/>
              <a:gd name="csY112" fmla="*/ 809861 h 1538630"/>
              <a:gd name="csX113" fmla="*/ 263704 w 1609516"/>
              <a:gd name="csY113" fmla="*/ 816750 h 1538630"/>
              <a:gd name="csX114" fmla="*/ 264113 w 1609516"/>
              <a:gd name="csY114" fmla="*/ 816565 h 1538630"/>
              <a:gd name="csX115" fmla="*/ 263918 w 1609516"/>
              <a:gd name="csY115" fmla="*/ 812777 h 1538630"/>
              <a:gd name="csX116" fmla="*/ 263774 w 1609516"/>
              <a:gd name="csY116" fmla="*/ 779374 h 1538630"/>
              <a:gd name="csX117" fmla="*/ 263704 w 1609516"/>
              <a:gd name="csY117" fmla="*/ 783086 h 1538630"/>
              <a:gd name="csX118" fmla="*/ 264484 w 1609516"/>
              <a:gd name="csY118" fmla="*/ 785816 h 1538630"/>
              <a:gd name="csX119" fmla="*/ 265265 w 1609516"/>
              <a:gd name="csY119" fmla="*/ 794448 h 1538630"/>
              <a:gd name="csX120" fmla="*/ 265217 w 1609516"/>
              <a:gd name="csY120" fmla="*/ 799730 h 1538630"/>
              <a:gd name="csX121" fmla="*/ 266556 w 1609516"/>
              <a:gd name="csY121" fmla="*/ 803466 h 1538630"/>
              <a:gd name="csX122" fmla="*/ 267237 w 1609516"/>
              <a:gd name="csY122" fmla="*/ 801063 h 1538630"/>
              <a:gd name="csX123" fmla="*/ 265675 w 1609516"/>
              <a:gd name="csY123" fmla="*/ 799654 h 1538630"/>
              <a:gd name="csX124" fmla="*/ 265675 w 1609516"/>
              <a:gd name="csY124" fmla="*/ 793841 h 1538630"/>
              <a:gd name="csX125" fmla="*/ 260988 w 1609516"/>
              <a:gd name="csY125" fmla="*/ 770061 h 1538630"/>
              <a:gd name="csX126" fmla="*/ 260988 w 1609516"/>
              <a:gd name="csY126" fmla="*/ 771364 h 1538630"/>
              <a:gd name="csX127" fmla="*/ 263497 w 1609516"/>
              <a:gd name="csY127" fmla="*/ 777263 h 1538630"/>
              <a:gd name="csX128" fmla="*/ 262551 w 1609516"/>
              <a:gd name="csY128" fmla="*/ 770061 h 1538630"/>
              <a:gd name="csX129" fmla="*/ 260988 w 1609516"/>
              <a:gd name="csY129" fmla="*/ 770061 h 1538630"/>
              <a:gd name="csX130" fmla="*/ 157888 w 1609516"/>
              <a:gd name="csY130" fmla="*/ 651686 h 1538630"/>
              <a:gd name="csX131" fmla="*/ 157415 w 1609516"/>
              <a:gd name="csY131" fmla="*/ 651764 h 1538630"/>
              <a:gd name="csX132" fmla="*/ 160373 w 1609516"/>
              <a:gd name="csY132" fmla="*/ 652274 h 1538630"/>
              <a:gd name="csX133" fmla="*/ 267237 w 1609516"/>
              <a:gd name="csY133" fmla="*/ 426537 h 1538630"/>
              <a:gd name="csX134" fmla="*/ 267237 w 1609516"/>
              <a:gd name="csY134" fmla="*/ 427619 h 1538630"/>
              <a:gd name="csX135" fmla="*/ 270380 w 1609516"/>
              <a:gd name="csY135" fmla="*/ 428137 h 1538630"/>
              <a:gd name="csX136" fmla="*/ 273548 w 1609516"/>
              <a:gd name="csY136" fmla="*/ 428680 h 1538630"/>
              <a:gd name="csX137" fmla="*/ 37605 w 1609516"/>
              <a:gd name="csY137" fmla="*/ 359270 h 1538630"/>
              <a:gd name="csX138" fmla="*/ 37103 w 1609516"/>
              <a:gd name="csY138" fmla="*/ 361533 h 1538630"/>
              <a:gd name="csX139" fmla="*/ 37605 w 1609516"/>
              <a:gd name="csY139" fmla="*/ 361382 h 1538630"/>
              <a:gd name="csX140" fmla="*/ 52477 w 1609516"/>
              <a:gd name="csY140" fmla="*/ 337570 h 1538630"/>
              <a:gd name="csX141" fmla="*/ 47288 w 1609516"/>
              <a:gd name="csY141" fmla="*/ 342340 h 1538630"/>
              <a:gd name="csX142" fmla="*/ 45805 w 1609516"/>
              <a:gd name="csY142" fmla="*/ 345093 h 1538630"/>
              <a:gd name="csX143" fmla="*/ 104291 w 1609516"/>
              <a:gd name="csY143" fmla="*/ 336166 h 1538630"/>
              <a:gd name="csX144" fmla="*/ 103776 w 1609516"/>
              <a:gd name="csY144" fmla="*/ 337559 h 1538630"/>
              <a:gd name="csX145" fmla="*/ 108925 w 1609516"/>
              <a:gd name="csY145" fmla="*/ 336166 h 1538630"/>
              <a:gd name="csX146" fmla="*/ 1309237 w 1609516"/>
              <a:gd name="csY146" fmla="*/ 322954 h 1538630"/>
              <a:gd name="csX147" fmla="*/ 1309180 w 1609516"/>
              <a:gd name="csY147" fmla="*/ 330559 h 1538630"/>
              <a:gd name="csX148" fmla="*/ 1309237 w 1609516"/>
              <a:gd name="csY148" fmla="*/ 330520 h 1538630"/>
              <a:gd name="csX149" fmla="*/ 1308964 w 1609516"/>
              <a:gd name="csY149" fmla="*/ 317715 h 1538630"/>
              <a:gd name="csX150" fmla="*/ 1309237 w 1609516"/>
              <a:gd name="csY150" fmla="*/ 318569 h 1538630"/>
              <a:gd name="csX151" fmla="*/ 1309237 w 1609516"/>
              <a:gd name="csY151" fmla="*/ 317838 h 1538630"/>
              <a:gd name="csX152" fmla="*/ 1310087 w 1609516"/>
              <a:gd name="csY152" fmla="*/ 313153 h 1538630"/>
              <a:gd name="csX153" fmla="*/ 1307609 w 1609516"/>
              <a:gd name="csY153" fmla="*/ 313473 h 1538630"/>
              <a:gd name="csX154" fmla="*/ 1308045 w 1609516"/>
              <a:gd name="csY154" fmla="*/ 314836 h 1538630"/>
              <a:gd name="csX155" fmla="*/ 1318544 w 1609516"/>
              <a:gd name="csY155" fmla="*/ 312064 h 1538630"/>
              <a:gd name="csX156" fmla="*/ 1316298 w 1609516"/>
              <a:gd name="csY156" fmla="*/ 312353 h 1538630"/>
              <a:gd name="csX157" fmla="*/ 1318544 w 1609516"/>
              <a:gd name="csY157" fmla="*/ 312205 h 1538630"/>
              <a:gd name="csX158" fmla="*/ 1084622 w 1609516"/>
              <a:gd name="csY158" fmla="*/ 267674 h 1538630"/>
              <a:gd name="csX159" fmla="*/ 1084227 w 1609516"/>
              <a:gd name="csY159" fmla="*/ 268378 h 1538630"/>
              <a:gd name="csX160" fmla="*/ 1079540 w 1609516"/>
              <a:gd name="csY160" fmla="*/ 268378 h 1538630"/>
              <a:gd name="csX161" fmla="*/ 1079603 w 1609516"/>
              <a:gd name="csY161" fmla="*/ 268477 h 1538630"/>
              <a:gd name="csX162" fmla="*/ 1084192 w 1609516"/>
              <a:gd name="csY162" fmla="*/ 268477 h 1538630"/>
              <a:gd name="csX163" fmla="*/ 956410 w 1609516"/>
              <a:gd name="csY163" fmla="*/ 266968 h 1538630"/>
              <a:gd name="csX164" fmla="*/ 957576 w 1609516"/>
              <a:gd name="csY164" fmla="*/ 267083 h 1538630"/>
              <a:gd name="csX165" fmla="*/ 957576 w 1609516"/>
              <a:gd name="csY165" fmla="*/ 269776 h 1538630"/>
              <a:gd name="csX166" fmla="*/ 957694 w 1609516"/>
              <a:gd name="csY166" fmla="*/ 269787 h 1538630"/>
              <a:gd name="csX167" fmla="*/ 957694 w 1609516"/>
              <a:gd name="csY167" fmla="*/ 266968 h 1538630"/>
              <a:gd name="csX168" fmla="*/ 1089372 w 1609516"/>
              <a:gd name="csY168" fmla="*/ 259220 h 1538630"/>
              <a:gd name="csX169" fmla="*/ 1085856 w 1609516"/>
              <a:gd name="csY169" fmla="*/ 265479 h 1538630"/>
              <a:gd name="csX170" fmla="*/ 1088878 w 1609516"/>
              <a:gd name="csY170" fmla="*/ 261431 h 1538630"/>
              <a:gd name="csX171" fmla="*/ 1018517 w 1609516"/>
              <a:gd name="csY171" fmla="*/ 223356 h 1538630"/>
              <a:gd name="csX172" fmla="*/ 1013866 w 1609516"/>
              <a:gd name="csY172" fmla="*/ 226190 h 1538630"/>
              <a:gd name="csX173" fmla="*/ 1013024 w 1609516"/>
              <a:gd name="csY173" fmla="*/ 227709 h 1538630"/>
              <a:gd name="csX174" fmla="*/ 1017055 w 1609516"/>
              <a:gd name="csY174" fmla="*/ 224692 h 1538630"/>
              <a:gd name="csX175" fmla="*/ 850645 w 1609516"/>
              <a:gd name="csY175" fmla="*/ 220099 h 1538630"/>
              <a:gd name="csX176" fmla="*/ 850897 w 1609516"/>
              <a:gd name="csY176" fmla="*/ 221488 h 1538630"/>
              <a:gd name="csX177" fmla="*/ 851470 w 1609516"/>
              <a:gd name="csY177" fmla="*/ 224692 h 1538630"/>
              <a:gd name="csX178" fmla="*/ 852860 w 1609516"/>
              <a:gd name="csY178" fmla="*/ 224692 h 1538630"/>
              <a:gd name="csX179" fmla="*/ 1155019 w 1609516"/>
              <a:gd name="csY179" fmla="*/ 35 h 1538630"/>
              <a:gd name="csX180" fmla="*/ 1174829 w 1609516"/>
              <a:gd name="csY180" fmla="*/ 4853 h 1538630"/>
              <a:gd name="csX181" fmla="*/ 1179418 w 1609516"/>
              <a:gd name="csY181" fmla="*/ 5998 h 1538630"/>
              <a:gd name="csX182" fmla="*/ 1201385 w 1609516"/>
              <a:gd name="csY182" fmla="*/ 22997 h 1538630"/>
              <a:gd name="csX183" fmla="*/ 1201678 w 1609516"/>
              <a:gd name="csY183" fmla="*/ 62191 h 1538630"/>
              <a:gd name="csX184" fmla="*/ 1198261 w 1609516"/>
              <a:gd name="csY184" fmla="*/ 68268 h 1538630"/>
              <a:gd name="csX185" fmla="*/ 1195723 w 1609516"/>
              <a:gd name="csY185" fmla="*/ 72672 h 1538630"/>
              <a:gd name="csX186" fmla="*/ 1193575 w 1609516"/>
              <a:gd name="csY186" fmla="*/ 75314 h 1538630"/>
              <a:gd name="csX187" fmla="*/ 1190450 w 1609516"/>
              <a:gd name="csY187" fmla="*/ 75314 h 1538630"/>
              <a:gd name="csX188" fmla="*/ 1189474 w 1609516"/>
              <a:gd name="csY188" fmla="*/ 79366 h 1538630"/>
              <a:gd name="csX189" fmla="*/ 1182445 w 1609516"/>
              <a:gd name="csY189" fmla="*/ 85707 h 1538630"/>
              <a:gd name="csX190" fmla="*/ 1177953 w 1609516"/>
              <a:gd name="csY190" fmla="*/ 86588 h 1538630"/>
              <a:gd name="csX191" fmla="*/ 1177953 w 1609516"/>
              <a:gd name="csY191" fmla="*/ 89406 h 1538630"/>
              <a:gd name="csX192" fmla="*/ 1170045 w 1609516"/>
              <a:gd name="csY192" fmla="*/ 94251 h 1538630"/>
              <a:gd name="csX193" fmla="*/ 1143806 w 1609516"/>
              <a:gd name="csY193" fmla="*/ 132828 h 1538630"/>
              <a:gd name="csX194" fmla="*/ 1137338 w 1609516"/>
              <a:gd name="csY194" fmla="*/ 141548 h 1538630"/>
              <a:gd name="csX195" fmla="*/ 1133970 w 1609516"/>
              <a:gd name="csY195" fmla="*/ 149403 h 1538630"/>
              <a:gd name="csX196" fmla="*/ 1127965 w 1609516"/>
              <a:gd name="csY196" fmla="*/ 164095 h 1538630"/>
              <a:gd name="csX197" fmla="*/ 1124762 w 1609516"/>
              <a:gd name="csY197" fmla="*/ 171802 h 1538630"/>
              <a:gd name="csX198" fmla="*/ 1119359 w 1609516"/>
              <a:gd name="csY198" fmla="*/ 184798 h 1538630"/>
              <a:gd name="csX199" fmla="*/ 1111014 w 1609516"/>
              <a:gd name="csY199" fmla="*/ 204941 h 1538630"/>
              <a:gd name="csX200" fmla="*/ 1109729 w 1609516"/>
              <a:gd name="csY200" fmla="*/ 208059 h 1538630"/>
              <a:gd name="csX201" fmla="*/ 1106395 w 1609516"/>
              <a:gd name="csY201" fmla="*/ 216170 h 1538630"/>
              <a:gd name="csX202" fmla="*/ 1102147 w 1609516"/>
              <a:gd name="csY202" fmla="*/ 224810 h 1538630"/>
              <a:gd name="csX203" fmla="*/ 1098261 w 1609516"/>
              <a:gd name="csY203" fmla="*/ 227262 h 1538630"/>
              <a:gd name="csX204" fmla="*/ 1098367 w 1609516"/>
              <a:gd name="csY204" fmla="*/ 238475 h 1538630"/>
              <a:gd name="csX205" fmla="*/ 1097331 w 1609516"/>
              <a:gd name="csY205" fmla="*/ 242358 h 1538630"/>
              <a:gd name="csX206" fmla="*/ 1096201 w 1609516"/>
              <a:gd name="csY206" fmla="*/ 246458 h 1538630"/>
              <a:gd name="csX207" fmla="*/ 1089440 w 1609516"/>
              <a:gd name="csY207" fmla="*/ 279206 h 1538630"/>
              <a:gd name="csX208" fmla="*/ 1087316 w 1609516"/>
              <a:gd name="csY208" fmla="*/ 283978 h 1538630"/>
              <a:gd name="csX209" fmla="*/ 1086822 w 1609516"/>
              <a:gd name="csY209" fmla="*/ 291822 h 1538630"/>
              <a:gd name="csX210" fmla="*/ 1086623 w 1609516"/>
              <a:gd name="csY210" fmla="*/ 296625 h 1538630"/>
              <a:gd name="csX211" fmla="*/ 1086437 w 1609516"/>
              <a:gd name="csY211" fmla="*/ 301681 h 1538630"/>
              <a:gd name="csX212" fmla="*/ 1086233 w 1609516"/>
              <a:gd name="csY212" fmla="*/ 306754 h 1538630"/>
              <a:gd name="csX213" fmla="*/ 1086007 w 1609516"/>
              <a:gd name="csY213" fmla="*/ 312619 h 1538630"/>
              <a:gd name="csX214" fmla="*/ 1087470 w 1609516"/>
              <a:gd name="csY214" fmla="*/ 320554 h 1538630"/>
              <a:gd name="csX215" fmla="*/ 1098285 w 1609516"/>
              <a:gd name="csY215" fmla="*/ 334611 h 1538630"/>
              <a:gd name="csX216" fmla="*/ 1102607 w 1609516"/>
              <a:gd name="csY216" fmla="*/ 337679 h 1538630"/>
              <a:gd name="csX217" fmla="*/ 1106095 w 1609516"/>
              <a:gd name="csY217" fmla="*/ 340248 h 1538630"/>
              <a:gd name="csX218" fmla="*/ 1106095 w 1609516"/>
              <a:gd name="csY218" fmla="*/ 343066 h 1538630"/>
              <a:gd name="csX219" fmla="*/ 1109220 w 1609516"/>
              <a:gd name="csY219" fmla="*/ 343419 h 1538630"/>
              <a:gd name="csX220" fmla="*/ 1126403 w 1609516"/>
              <a:gd name="csY220" fmla="*/ 350112 h 1538630"/>
              <a:gd name="csX221" fmla="*/ 1131871 w 1609516"/>
              <a:gd name="csY221" fmla="*/ 352579 h 1538630"/>
              <a:gd name="csX222" fmla="*/ 1135776 w 1609516"/>
              <a:gd name="csY222" fmla="*/ 354340 h 1538630"/>
              <a:gd name="csX223" fmla="*/ 1135776 w 1609516"/>
              <a:gd name="csY223" fmla="*/ 357158 h 1538630"/>
              <a:gd name="csX224" fmla="*/ 1170143 w 1609516"/>
              <a:gd name="csY224" fmla="*/ 354340 h 1538630"/>
              <a:gd name="csX225" fmla="*/ 1174634 w 1609516"/>
              <a:gd name="csY225" fmla="*/ 352579 h 1538630"/>
              <a:gd name="csX226" fmla="*/ 1190890 w 1609516"/>
              <a:gd name="csY226" fmla="*/ 342907 h 1538630"/>
              <a:gd name="csX227" fmla="*/ 1204021 w 1609516"/>
              <a:gd name="csY227" fmla="*/ 335404 h 1538630"/>
              <a:gd name="csX228" fmla="*/ 1223255 w 1609516"/>
              <a:gd name="csY228" fmla="*/ 319110 h 1538630"/>
              <a:gd name="csX229" fmla="*/ 1226868 w 1609516"/>
              <a:gd name="csY229" fmla="*/ 315587 h 1538630"/>
              <a:gd name="csX230" fmla="*/ 1231859 w 1609516"/>
              <a:gd name="csY230" fmla="*/ 303559 h 1538630"/>
              <a:gd name="csX231" fmla="*/ 1234178 w 1609516"/>
              <a:gd name="csY231" fmla="*/ 298059 h 1538630"/>
              <a:gd name="csX232" fmla="*/ 1237314 w 1609516"/>
              <a:gd name="csY232" fmla="*/ 288195 h 1538630"/>
              <a:gd name="csX233" fmla="*/ 1249811 w 1609516"/>
              <a:gd name="csY233" fmla="*/ 265559 h 1538630"/>
              <a:gd name="csX234" fmla="*/ 1252935 w 1609516"/>
              <a:gd name="csY234" fmla="*/ 265559 h 1538630"/>
              <a:gd name="csX235" fmla="*/ 1252935 w 1609516"/>
              <a:gd name="csY235" fmla="*/ 262741 h 1538630"/>
              <a:gd name="csX236" fmla="*/ 1296675 w 1609516"/>
              <a:gd name="csY236" fmla="*/ 252876 h 1538630"/>
              <a:gd name="csX237" fmla="*/ 1307609 w 1609516"/>
              <a:gd name="csY237" fmla="*/ 255695 h 1538630"/>
              <a:gd name="csX238" fmla="*/ 1307609 w 1609516"/>
              <a:gd name="csY238" fmla="*/ 258513 h 1538630"/>
              <a:gd name="csX239" fmla="*/ 1311887 w 1609516"/>
              <a:gd name="csY239" fmla="*/ 258832 h 1538630"/>
              <a:gd name="csX240" fmla="*/ 1326715 w 1609516"/>
              <a:gd name="csY240" fmla="*/ 269969 h 1538630"/>
              <a:gd name="csX241" fmla="*/ 1334165 w 1609516"/>
              <a:gd name="csY241" fmla="*/ 307836 h 1538630"/>
              <a:gd name="csX242" fmla="*/ 1329479 w 1609516"/>
              <a:gd name="csY242" fmla="*/ 314882 h 1538630"/>
              <a:gd name="csX243" fmla="*/ 1323231 w 1609516"/>
              <a:gd name="csY243" fmla="*/ 314882 h 1538630"/>
              <a:gd name="csX244" fmla="*/ 1323231 w 1609516"/>
              <a:gd name="csY244" fmla="*/ 317700 h 1538630"/>
              <a:gd name="csX245" fmla="*/ 1322774 w 1609516"/>
              <a:gd name="csY245" fmla="*/ 317838 h 1538630"/>
              <a:gd name="csX246" fmla="*/ 1323295 w 1609516"/>
              <a:gd name="csY246" fmla="*/ 317838 h 1538630"/>
              <a:gd name="csX247" fmla="*/ 1323295 w 1609516"/>
              <a:gd name="csY247" fmla="*/ 315019 h 1538630"/>
              <a:gd name="csX248" fmla="*/ 1327982 w 1609516"/>
              <a:gd name="csY248" fmla="*/ 315019 h 1538630"/>
              <a:gd name="csX249" fmla="*/ 1317047 w 1609516"/>
              <a:gd name="csY249" fmla="*/ 327702 h 1538630"/>
              <a:gd name="csX250" fmla="*/ 1315484 w 1609516"/>
              <a:gd name="csY250" fmla="*/ 331930 h 1538630"/>
              <a:gd name="csX251" fmla="*/ 1309139 w 1609516"/>
              <a:gd name="csY251" fmla="*/ 333603 h 1538630"/>
              <a:gd name="csX252" fmla="*/ 1305666 w 1609516"/>
              <a:gd name="csY252" fmla="*/ 334280 h 1538630"/>
              <a:gd name="csX253" fmla="*/ 1302988 w 1609516"/>
              <a:gd name="csY253" fmla="*/ 334748 h 1538630"/>
              <a:gd name="csX254" fmla="*/ 1305905 w 1609516"/>
              <a:gd name="csY254" fmla="*/ 332775 h 1538630"/>
              <a:gd name="csX255" fmla="*/ 1304485 w 1609516"/>
              <a:gd name="csY255" fmla="*/ 333202 h 1538630"/>
              <a:gd name="csX256" fmla="*/ 1301459 w 1609516"/>
              <a:gd name="csY256" fmla="*/ 336108 h 1538630"/>
              <a:gd name="csX257" fmla="*/ 1291989 w 1609516"/>
              <a:gd name="csY257" fmla="*/ 338839 h 1538630"/>
              <a:gd name="csX258" fmla="*/ 1290426 w 1609516"/>
              <a:gd name="csY258" fmla="*/ 343066 h 1538630"/>
              <a:gd name="csX259" fmla="*/ 1285740 w 1609516"/>
              <a:gd name="csY259" fmla="*/ 344123 h 1538630"/>
              <a:gd name="csX260" fmla="*/ 1237314 w 1609516"/>
              <a:gd name="csY260" fmla="*/ 382525 h 1538630"/>
              <a:gd name="csX261" fmla="*/ 1232628 w 1609516"/>
              <a:gd name="csY261" fmla="*/ 392389 h 1538630"/>
              <a:gd name="csX262" fmla="*/ 1228625 w 1609516"/>
              <a:gd name="csY262" fmla="*/ 398731 h 1538630"/>
              <a:gd name="csX263" fmla="*/ 1222822 w 1609516"/>
              <a:gd name="csY263" fmla="*/ 434798 h 1538630"/>
              <a:gd name="csX264" fmla="*/ 1260746 w 1609516"/>
              <a:gd name="csY264" fmla="*/ 485398 h 1538630"/>
              <a:gd name="csX265" fmla="*/ 1268556 w 1609516"/>
              <a:gd name="csY265" fmla="*/ 488216 h 1538630"/>
              <a:gd name="csX266" fmla="*/ 1268556 w 1609516"/>
              <a:gd name="csY266" fmla="*/ 491034 h 1538630"/>
              <a:gd name="csX267" fmla="*/ 1338852 w 1609516"/>
              <a:gd name="csY267" fmla="*/ 489625 h 1538630"/>
              <a:gd name="csX268" fmla="*/ 1347444 w 1609516"/>
              <a:gd name="csY268" fmla="*/ 488480 h 1538630"/>
              <a:gd name="csX269" fmla="*/ 1369362 w 1609516"/>
              <a:gd name="csY269" fmla="*/ 482513 h 1538630"/>
              <a:gd name="csX270" fmla="*/ 1388840 w 1609516"/>
              <a:gd name="csY270" fmla="*/ 478351 h 1538630"/>
              <a:gd name="csX271" fmla="*/ 1388840 w 1609516"/>
              <a:gd name="csY271" fmla="*/ 475533 h 1538630"/>
              <a:gd name="csX272" fmla="*/ 1395576 w 1609516"/>
              <a:gd name="csY272" fmla="*/ 473419 h 1538630"/>
              <a:gd name="csX273" fmla="*/ 1399365 w 1609516"/>
              <a:gd name="csY273" fmla="*/ 472230 h 1538630"/>
              <a:gd name="csX274" fmla="*/ 1407585 w 1609516"/>
              <a:gd name="csY274" fmla="*/ 471305 h 1538630"/>
              <a:gd name="csX275" fmla="*/ 1409147 w 1609516"/>
              <a:gd name="csY275" fmla="*/ 467078 h 1538630"/>
              <a:gd name="csX276" fmla="*/ 1416470 w 1609516"/>
              <a:gd name="csY276" fmla="*/ 464259 h 1538630"/>
              <a:gd name="csX277" fmla="*/ 1437949 w 1609516"/>
              <a:gd name="csY277" fmla="*/ 455011 h 1538630"/>
              <a:gd name="csX278" fmla="*/ 1452887 w 1609516"/>
              <a:gd name="csY278" fmla="*/ 450167 h 1538630"/>
              <a:gd name="csX279" fmla="*/ 1452887 w 1609516"/>
              <a:gd name="csY279" fmla="*/ 447349 h 1538630"/>
              <a:gd name="csX280" fmla="*/ 1455394 w 1609516"/>
              <a:gd name="csY280" fmla="*/ 446122 h 1538630"/>
              <a:gd name="csX281" fmla="*/ 1466653 w 1609516"/>
              <a:gd name="csY281" fmla="*/ 440567 h 1538630"/>
              <a:gd name="csX282" fmla="*/ 1470598 w 1609516"/>
              <a:gd name="csY282" fmla="*/ 438637 h 1538630"/>
              <a:gd name="csX283" fmla="*/ 1474397 w 1609516"/>
              <a:gd name="csY283" fmla="*/ 436752 h 1538630"/>
              <a:gd name="csX284" fmla="*/ 1477892 w 1609516"/>
              <a:gd name="csY284" fmla="*/ 435030 h 1538630"/>
              <a:gd name="csX285" fmla="*/ 1485691 w 1609516"/>
              <a:gd name="csY285" fmla="*/ 429029 h 1538630"/>
              <a:gd name="csX286" fmla="*/ 1488858 w 1609516"/>
              <a:gd name="csY286" fmla="*/ 427653 h 1538630"/>
              <a:gd name="csX287" fmla="*/ 1495943 w 1609516"/>
              <a:gd name="csY287" fmla="*/ 421454 h 1538630"/>
              <a:gd name="csX288" fmla="*/ 1538608 w 1609516"/>
              <a:gd name="csY288" fmla="*/ 388338 h 1538630"/>
              <a:gd name="csX289" fmla="*/ 1543490 w 1609516"/>
              <a:gd name="csY289" fmla="*/ 388161 h 1538630"/>
              <a:gd name="csX290" fmla="*/ 1547621 w 1609516"/>
              <a:gd name="csY290" fmla="*/ 387804 h 1538630"/>
              <a:gd name="csX291" fmla="*/ 1579418 w 1609516"/>
              <a:gd name="csY291" fmla="*/ 396617 h 1538630"/>
              <a:gd name="csX292" fmla="*/ 1583342 w 1609516"/>
              <a:gd name="csY292" fmla="*/ 398780 h 1538630"/>
              <a:gd name="csX293" fmla="*/ 1601288 w 1609516"/>
              <a:gd name="csY293" fmla="*/ 423392 h 1538630"/>
              <a:gd name="csX294" fmla="*/ 1594484 w 1609516"/>
              <a:gd name="csY294" fmla="*/ 460159 h 1538630"/>
              <a:gd name="csX295" fmla="*/ 1574732 w 1609516"/>
              <a:gd name="csY295" fmla="*/ 475533 h 1538630"/>
              <a:gd name="csX296" fmla="*/ 1572097 w 1609516"/>
              <a:gd name="csY296" fmla="*/ 477078 h 1538630"/>
              <a:gd name="csX297" fmla="*/ 1556066 w 1609516"/>
              <a:gd name="csY297" fmla="*/ 478737 h 1538630"/>
              <a:gd name="csX298" fmla="*/ 1548631 w 1609516"/>
              <a:gd name="csY298" fmla="*/ 478825 h 1538630"/>
              <a:gd name="csX299" fmla="*/ 1536991 w 1609516"/>
              <a:gd name="csY299" fmla="*/ 478889 h 1538630"/>
              <a:gd name="csX300" fmla="*/ 1498188 w 1609516"/>
              <a:gd name="csY300" fmla="*/ 485398 h 1538630"/>
              <a:gd name="csX301" fmla="*/ 1493892 w 1609516"/>
              <a:gd name="csY301" fmla="*/ 487600 h 1538630"/>
              <a:gd name="csX302" fmla="*/ 1490377 w 1609516"/>
              <a:gd name="csY302" fmla="*/ 489625 h 1538630"/>
              <a:gd name="csX303" fmla="*/ 1471650 w 1609516"/>
              <a:gd name="csY303" fmla="*/ 498185 h 1538630"/>
              <a:gd name="csX304" fmla="*/ 1459135 w 1609516"/>
              <a:gd name="csY304" fmla="*/ 505127 h 1538630"/>
              <a:gd name="csX305" fmla="*/ 1452594 w 1609516"/>
              <a:gd name="csY305" fmla="*/ 508033 h 1538630"/>
              <a:gd name="csX306" fmla="*/ 1427795 w 1609516"/>
              <a:gd name="csY306" fmla="*/ 520100 h 1538630"/>
              <a:gd name="csX307" fmla="*/ 1423733 w 1609516"/>
              <a:gd name="csY307" fmla="*/ 522148 h 1538630"/>
              <a:gd name="csX308" fmla="*/ 1419929 w 1609516"/>
              <a:gd name="csY308" fmla="*/ 524118 h 1538630"/>
              <a:gd name="csX309" fmla="*/ 1416487 w 1609516"/>
              <a:gd name="csY309" fmla="*/ 525883 h 1538630"/>
              <a:gd name="csX310" fmla="*/ 1412271 w 1609516"/>
              <a:gd name="csY310" fmla="*/ 531902 h 1538630"/>
              <a:gd name="csX311" fmla="*/ 1396650 w 1609516"/>
              <a:gd name="csY311" fmla="*/ 537539 h 1538630"/>
              <a:gd name="csX312" fmla="*/ 1396650 w 1609516"/>
              <a:gd name="csY312" fmla="*/ 540357 h 1538630"/>
              <a:gd name="csX313" fmla="*/ 1393495 w 1609516"/>
              <a:gd name="csY313" fmla="*/ 541502 h 1538630"/>
              <a:gd name="csX314" fmla="*/ 1362284 w 1609516"/>
              <a:gd name="csY314" fmla="*/ 558678 h 1538630"/>
              <a:gd name="csX315" fmla="*/ 1355937 w 1609516"/>
              <a:gd name="csY315" fmla="*/ 562905 h 1538630"/>
              <a:gd name="csX316" fmla="*/ 1334165 w 1609516"/>
              <a:gd name="csY316" fmla="*/ 578406 h 1538630"/>
              <a:gd name="csX317" fmla="*/ 1331200 w 1609516"/>
              <a:gd name="csY317" fmla="*/ 580559 h 1538630"/>
              <a:gd name="csX318" fmla="*/ 1322175 w 1609516"/>
              <a:gd name="csY318" fmla="*/ 596793 h 1538630"/>
              <a:gd name="csX319" fmla="*/ 1320106 w 1609516"/>
              <a:gd name="csY319" fmla="*/ 602363 h 1538630"/>
              <a:gd name="csX320" fmla="*/ 1328015 w 1609516"/>
              <a:gd name="csY320" fmla="*/ 647640 h 1538630"/>
              <a:gd name="csX321" fmla="*/ 1332604 w 1609516"/>
              <a:gd name="csY321" fmla="*/ 675643 h 1538630"/>
              <a:gd name="csX322" fmla="*/ 1335727 w 1609516"/>
              <a:gd name="csY322" fmla="*/ 675643 h 1538630"/>
              <a:gd name="csX323" fmla="*/ 1337741 w 1609516"/>
              <a:gd name="csY323" fmla="*/ 690059 h 1538630"/>
              <a:gd name="csX324" fmla="*/ 1338003 w 1609516"/>
              <a:gd name="csY324" fmla="*/ 696222 h 1538630"/>
              <a:gd name="csX325" fmla="*/ 1338340 w 1609516"/>
              <a:gd name="csY325" fmla="*/ 705887 h 1538630"/>
              <a:gd name="csX326" fmla="*/ 1345277 w 1609516"/>
              <a:gd name="csY326" fmla="*/ 733245 h 1538630"/>
              <a:gd name="csX327" fmla="*/ 1363162 w 1609516"/>
              <a:gd name="csY327" fmla="*/ 741612 h 1538630"/>
              <a:gd name="csX328" fmla="*/ 1384154 w 1609516"/>
              <a:gd name="csY328" fmla="*/ 748922 h 1538630"/>
              <a:gd name="csX329" fmla="*/ 1391476 w 1609516"/>
              <a:gd name="csY329" fmla="*/ 750419 h 1538630"/>
              <a:gd name="csX330" fmla="*/ 1395564 w 1609516"/>
              <a:gd name="csY330" fmla="*/ 751080 h 1538630"/>
              <a:gd name="csX331" fmla="*/ 1399775 w 1609516"/>
              <a:gd name="csY331" fmla="*/ 751740 h 1538630"/>
              <a:gd name="csX332" fmla="*/ 1403887 w 1609516"/>
              <a:gd name="csY332" fmla="*/ 752489 h 1538630"/>
              <a:gd name="csX333" fmla="*/ 1465383 w 1609516"/>
              <a:gd name="csY333" fmla="*/ 755969 h 1538630"/>
              <a:gd name="csX334" fmla="*/ 1470339 w 1609516"/>
              <a:gd name="csY334" fmla="*/ 755897 h 1538630"/>
              <a:gd name="csX335" fmla="*/ 1496809 w 1609516"/>
              <a:gd name="csY335" fmla="*/ 749313 h 1538630"/>
              <a:gd name="csX336" fmla="*/ 1515371 w 1609516"/>
              <a:gd name="csY336" fmla="*/ 743285 h 1538630"/>
              <a:gd name="csX337" fmla="*/ 1515371 w 1609516"/>
              <a:gd name="csY337" fmla="*/ 740467 h 1538630"/>
              <a:gd name="csX338" fmla="*/ 1537632 w 1609516"/>
              <a:gd name="csY338" fmla="*/ 737120 h 1538630"/>
              <a:gd name="csX339" fmla="*/ 1541657 w 1609516"/>
              <a:gd name="csY339" fmla="*/ 737127 h 1538630"/>
              <a:gd name="csX340" fmla="*/ 1574732 w 1609516"/>
              <a:gd name="csY340" fmla="*/ 748922 h 1538630"/>
              <a:gd name="csX341" fmla="*/ 1588791 w 1609516"/>
              <a:gd name="csY341" fmla="*/ 792608 h 1538630"/>
              <a:gd name="csX342" fmla="*/ 1584105 w 1609516"/>
              <a:gd name="csY342" fmla="*/ 805291 h 1538630"/>
              <a:gd name="csX343" fmla="*/ 1580981 w 1609516"/>
              <a:gd name="csY343" fmla="*/ 806700 h 1538630"/>
              <a:gd name="csX344" fmla="*/ 1578735 w 1609516"/>
              <a:gd name="csY344" fmla="*/ 810311 h 1538630"/>
              <a:gd name="csX345" fmla="*/ 1576295 w 1609516"/>
              <a:gd name="csY345" fmla="*/ 813746 h 1538630"/>
              <a:gd name="csX346" fmla="*/ 1571652 w 1609516"/>
              <a:gd name="csY346" fmla="*/ 813746 h 1538630"/>
              <a:gd name="csX347" fmla="*/ 1571785 w 1609516"/>
              <a:gd name="csY347" fmla="*/ 814106 h 1538630"/>
              <a:gd name="csX348" fmla="*/ 1574909 w 1609516"/>
              <a:gd name="csY348" fmla="*/ 815515 h 1538630"/>
              <a:gd name="csX349" fmla="*/ 1565463 w 1609516"/>
              <a:gd name="csY349" fmla="*/ 821839 h 1538630"/>
              <a:gd name="csX350" fmla="*/ 1562085 w 1609516"/>
              <a:gd name="csY350" fmla="*/ 822101 h 1538630"/>
              <a:gd name="csX351" fmla="*/ 1551301 w 1609516"/>
              <a:gd name="csY351" fmla="*/ 825020 h 1538630"/>
              <a:gd name="csX352" fmla="*/ 1551301 w 1609516"/>
              <a:gd name="csY352" fmla="*/ 827838 h 1538630"/>
              <a:gd name="csX353" fmla="*/ 1485380 w 1609516"/>
              <a:gd name="csY353" fmla="*/ 815007 h 1538630"/>
              <a:gd name="csX354" fmla="*/ 1431603 w 1609516"/>
              <a:gd name="csY354" fmla="*/ 808726 h 1538630"/>
              <a:gd name="csX355" fmla="*/ 1424140 w 1609516"/>
              <a:gd name="csY355" fmla="*/ 808542 h 1538630"/>
              <a:gd name="csX356" fmla="*/ 1406023 w 1609516"/>
              <a:gd name="csY356" fmla="*/ 808109 h 1538630"/>
              <a:gd name="csX357" fmla="*/ 1406023 w 1609516"/>
              <a:gd name="csY357" fmla="*/ 810928 h 1538630"/>
              <a:gd name="csX358" fmla="*/ 1403383 w 1609516"/>
              <a:gd name="csY358" fmla="*/ 811311 h 1538630"/>
              <a:gd name="csX359" fmla="*/ 1345442 w 1609516"/>
              <a:gd name="csY359" fmla="*/ 828907 h 1538630"/>
              <a:gd name="csX360" fmla="*/ 1337875 w 1609516"/>
              <a:gd name="csY360" fmla="*/ 856639 h 1538630"/>
              <a:gd name="csX361" fmla="*/ 1337692 w 1609516"/>
              <a:gd name="csY361" fmla="*/ 860171 h 1538630"/>
              <a:gd name="csX362" fmla="*/ 1337290 w 1609516"/>
              <a:gd name="csY362" fmla="*/ 868706 h 1538630"/>
              <a:gd name="csX363" fmla="*/ 1334165 w 1609516"/>
              <a:gd name="csY363" fmla="*/ 868706 h 1538630"/>
              <a:gd name="csX364" fmla="*/ 1334165 w 1609516"/>
              <a:gd name="csY364" fmla="*/ 870034 h 1538630"/>
              <a:gd name="csX365" fmla="*/ 1334237 w 1609516"/>
              <a:gd name="csY365" fmla="*/ 869093 h 1538630"/>
              <a:gd name="csX366" fmla="*/ 1335800 w 1609516"/>
              <a:gd name="csY366" fmla="*/ 869093 h 1538630"/>
              <a:gd name="csX367" fmla="*/ 1335995 w 1609516"/>
              <a:gd name="csY367" fmla="*/ 876491 h 1538630"/>
              <a:gd name="csX368" fmla="*/ 1336105 w 1609516"/>
              <a:gd name="csY368" fmla="*/ 880653 h 1538630"/>
              <a:gd name="csX369" fmla="*/ 1334294 w 1609516"/>
              <a:gd name="csY369" fmla="*/ 887271 h 1538630"/>
              <a:gd name="csX370" fmla="*/ 1331455 w 1609516"/>
              <a:gd name="csY370" fmla="*/ 896440 h 1538630"/>
              <a:gd name="csX371" fmla="*/ 1330887 w 1609516"/>
              <a:gd name="csY371" fmla="*/ 899969 h 1538630"/>
              <a:gd name="csX372" fmla="*/ 1330332 w 1609516"/>
              <a:gd name="csY372" fmla="*/ 903618 h 1538630"/>
              <a:gd name="csX373" fmla="*/ 1329209 w 1609516"/>
              <a:gd name="csY373" fmla="*/ 910797 h 1538630"/>
              <a:gd name="csX374" fmla="*/ 1328724 w 1609516"/>
              <a:gd name="csY374" fmla="*/ 913998 h 1538630"/>
              <a:gd name="csX375" fmla="*/ 1324865 w 1609516"/>
              <a:gd name="csY375" fmla="*/ 922643 h 1538630"/>
              <a:gd name="csX376" fmla="*/ 1322619 w 1609516"/>
              <a:gd name="csY376" fmla="*/ 937979 h 1538630"/>
              <a:gd name="csX377" fmla="*/ 1318744 w 1609516"/>
              <a:gd name="csY377" fmla="*/ 944961 h 1538630"/>
              <a:gd name="csX378" fmla="*/ 1318544 w 1609516"/>
              <a:gd name="csY378" fmla="*/ 946213 h 1538630"/>
              <a:gd name="csX379" fmla="*/ 1318251 w 1609516"/>
              <a:gd name="csY379" fmla="*/ 955285 h 1538630"/>
              <a:gd name="csX380" fmla="*/ 1318184 w 1609516"/>
              <a:gd name="csY380" fmla="*/ 960036 h 1538630"/>
              <a:gd name="csX381" fmla="*/ 1324024 w 1609516"/>
              <a:gd name="csY381" fmla="*/ 973660 h 1538630"/>
              <a:gd name="csX382" fmla="*/ 1329284 w 1609516"/>
              <a:gd name="csY382" fmla="*/ 983382 h 1538630"/>
              <a:gd name="csX383" fmla="*/ 1340414 w 1609516"/>
              <a:gd name="csY383" fmla="*/ 998354 h 1538630"/>
              <a:gd name="csX384" fmla="*/ 1346272 w 1609516"/>
              <a:gd name="csY384" fmla="*/ 1005048 h 1538630"/>
              <a:gd name="csX385" fmla="*/ 1394716 w 1609516"/>
              <a:gd name="csY385" fmla="*/ 1042740 h 1538630"/>
              <a:gd name="csX386" fmla="*/ 1401953 w 1609516"/>
              <a:gd name="csY386" fmla="*/ 1047374 h 1538630"/>
              <a:gd name="csX387" fmla="*/ 1427197 w 1609516"/>
              <a:gd name="csY387" fmla="*/ 1059061 h 1538630"/>
              <a:gd name="csX388" fmla="*/ 1437265 w 1609516"/>
              <a:gd name="csY388" fmla="*/ 1064588 h 1538630"/>
              <a:gd name="csX389" fmla="*/ 1437265 w 1609516"/>
              <a:gd name="csY389" fmla="*/ 1067406 h 1538630"/>
              <a:gd name="csX390" fmla="*/ 1440878 w 1609516"/>
              <a:gd name="csY390" fmla="*/ 1067847 h 1538630"/>
              <a:gd name="csX391" fmla="*/ 1447175 w 1609516"/>
              <a:gd name="csY391" fmla="*/ 1070753 h 1538630"/>
              <a:gd name="csX392" fmla="*/ 1457866 w 1609516"/>
              <a:gd name="csY392" fmla="*/ 1076830 h 1538630"/>
              <a:gd name="csX393" fmla="*/ 1462132 w 1609516"/>
              <a:gd name="csY393" fmla="*/ 1078696 h 1538630"/>
              <a:gd name="csX394" fmla="*/ 1465383 w 1609516"/>
              <a:gd name="csY394" fmla="*/ 1080089 h 1538630"/>
              <a:gd name="csX395" fmla="*/ 1465383 w 1609516"/>
              <a:gd name="csY395" fmla="*/ 1082908 h 1538630"/>
              <a:gd name="csX396" fmla="*/ 1468758 w 1609516"/>
              <a:gd name="csY396" fmla="*/ 1083975 h 1538630"/>
              <a:gd name="csX397" fmla="*/ 1481688 w 1609516"/>
              <a:gd name="csY397" fmla="*/ 1091187 h 1538630"/>
              <a:gd name="csX398" fmla="*/ 1486283 w 1609516"/>
              <a:gd name="csY398" fmla="*/ 1094236 h 1538630"/>
              <a:gd name="csX399" fmla="*/ 1494869 w 1609516"/>
              <a:gd name="csY399" fmla="*/ 1100171 h 1538630"/>
              <a:gd name="csX400" fmla="*/ 1544335 w 1609516"/>
              <a:gd name="csY400" fmla="*/ 1109518 h 1538630"/>
              <a:gd name="csX401" fmla="*/ 1593477 w 1609516"/>
              <a:gd name="csY401" fmla="*/ 1119900 h 1538630"/>
              <a:gd name="csX402" fmla="*/ 1605975 w 1609516"/>
              <a:gd name="csY402" fmla="*/ 1144913 h 1538630"/>
              <a:gd name="csX403" fmla="*/ 1609099 w 1609516"/>
              <a:gd name="csY403" fmla="*/ 1144913 h 1538630"/>
              <a:gd name="csX404" fmla="*/ 1609392 w 1609516"/>
              <a:gd name="csY404" fmla="*/ 1156892 h 1538630"/>
              <a:gd name="csX405" fmla="*/ 1609511 w 1609516"/>
              <a:gd name="csY405" fmla="*/ 1160272 h 1538630"/>
              <a:gd name="csX406" fmla="*/ 1604412 w 1609516"/>
              <a:gd name="csY406" fmla="*/ 1181553 h 1538630"/>
              <a:gd name="csX407" fmla="*/ 1601288 w 1609516"/>
              <a:gd name="csY407" fmla="*/ 1190009 h 1538630"/>
              <a:gd name="csX408" fmla="*/ 1598164 w 1609516"/>
              <a:gd name="csY408" fmla="*/ 1190009 h 1538630"/>
              <a:gd name="csX409" fmla="*/ 1597187 w 1609516"/>
              <a:gd name="csY409" fmla="*/ 1192739 h 1538630"/>
              <a:gd name="csX410" fmla="*/ 1595040 w 1609516"/>
              <a:gd name="csY410" fmla="*/ 1195645 h 1538630"/>
              <a:gd name="csX411" fmla="*/ 1585667 w 1609516"/>
              <a:gd name="csY411" fmla="*/ 1197055 h 1538630"/>
              <a:gd name="csX412" fmla="*/ 1582543 w 1609516"/>
              <a:gd name="csY412" fmla="*/ 1202691 h 1538630"/>
              <a:gd name="csX413" fmla="*/ 1562431 w 1609516"/>
              <a:gd name="csY413" fmla="*/ 1204365 h 1538630"/>
              <a:gd name="csX414" fmla="*/ 1558690 w 1609516"/>
              <a:gd name="csY414" fmla="*/ 1204417 h 1538630"/>
              <a:gd name="csX415" fmla="*/ 1521102 w 1609516"/>
              <a:gd name="csY415" fmla="*/ 1189585 h 1538630"/>
              <a:gd name="csX416" fmla="*/ 1505022 w 1609516"/>
              <a:gd name="csY416" fmla="*/ 1172041 h 1538630"/>
              <a:gd name="csX417" fmla="*/ 1457573 w 1609516"/>
              <a:gd name="csY417" fmla="*/ 1140686 h 1538630"/>
              <a:gd name="csX418" fmla="*/ 1457573 w 1609516"/>
              <a:gd name="csY418" fmla="*/ 1137867 h 1538630"/>
              <a:gd name="csX419" fmla="*/ 1452985 w 1609516"/>
              <a:gd name="csY419" fmla="*/ 1137339 h 1538630"/>
              <a:gd name="csX420" fmla="*/ 1448200 w 1609516"/>
              <a:gd name="csY420" fmla="*/ 1136458 h 1538630"/>
              <a:gd name="csX421" fmla="*/ 1446638 w 1609516"/>
              <a:gd name="csY421" fmla="*/ 1133640 h 1538630"/>
              <a:gd name="csX422" fmla="*/ 1438937 w 1609516"/>
              <a:gd name="csY422" fmla="*/ 1130601 h 1538630"/>
              <a:gd name="csX423" fmla="*/ 1429260 w 1609516"/>
              <a:gd name="csY423" fmla="*/ 1126770 h 1538630"/>
              <a:gd name="csX424" fmla="*/ 1411393 w 1609516"/>
              <a:gd name="csY424" fmla="*/ 1120340 h 1538630"/>
              <a:gd name="csX425" fmla="*/ 1391427 w 1609516"/>
              <a:gd name="csY425" fmla="*/ 1111191 h 1538630"/>
              <a:gd name="csX426" fmla="*/ 1381029 w 1609516"/>
              <a:gd name="csY426" fmla="*/ 1106865 h 1538630"/>
              <a:gd name="csX427" fmla="*/ 1381029 w 1609516"/>
              <a:gd name="csY427" fmla="*/ 1104046 h 1538630"/>
              <a:gd name="csX428" fmla="*/ 1377221 w 1609516"/>
              <a:gd name="csY428" fmla="*/ 1103605 h 1538630"/>
              <a:gd name="csX429" fmla="*/ 1357597 w 1609516"/>
              <a:gd name="csY429" fmla="*/ 1098409 h 1538630"/>
              <a:gd name="csX430" fmla="*/ 1352032 w 1609516"/>
              <a:gd name="csY430" fmla="*/ 1096736 h 1538630"/>
              <a:gd name="csX431" fmla="*/ 1348225 w 1609516"/>
              <a:gd name="csY431" fmla="*/ 1095590 h 1538630"/>
              <a:gd name="csX432" fmla="*/ 1348225 w 1609516"/>
              <a:gd name="csY432" fmla="*/ 1092772 h 1538630"/>
              <a:gd name="csX433" fmla="*/ 1337290 w 1609516"/>
              <a:gd name="csY433" fmla="*/ 1091363 h 1538630"/>
              <a:gd name="csX434" fmla="*/ 1337290 w 1609516"/>
              <a:gd name="csY434" fmla="*/ 1088544 h 1538630"/>
              <a:gd name="csX435" fmla="*/ 1331529 w 1609516"/>
              <a:gd name="csY435" fmla="*/ 1088104 h 1538630"/>
              <a:gd name="csX436" fmla="*/ 1323297 w 1609516"/>
              <a:gd name="csY436" fmla="*/ 1086611 h 1538630"/>
              <a:gd name="csX437" fmla="*/ 1323297 w 1609516"/>
              <a:gd name="csY437" fmla="*/ 1087618 h 1538630"/>
              <a:gd name="csX438" fmla="*/ 1319789 w 1609516"/>
              <a:gd name="csY438" fmla="*/ 1087310 h 1538630"/>
              <a:gd name="csX439" fmla="*/ 1262375 w 1609516"/>
              <a:gd name="csY439" fmla="*/ 1089028 h 1538630"/>
              <a:gd name="csX440" fmla="*/ 1258728 w 1609516"/>
              <a:gd name="csY440" fmla="*/ 1088205 h 1538630"/>
              <a:gd name="csX441" fmla="*/ 1246964 w 1609516"/>
              <a:gd name="csY441" fmla="*/ 1091489 h 1538630"/>
              <a:gd name="csX442" fmla="*/ 1223224 w 1609516"/>
              <a:gd name="csY442" fmla="*/ 1112865 h 1538630"/>
              <a:gd name="csX443" fmla="*/ 1213883 w 1609516"/>
              <a:gd name="csY443" fmla="*/ 1122366 h 1538630"/>
              <a:gd name="csX444" fmla="*/ 1212505 w 1609516"/>
              <a:gd name="csY444" fmla="*/ 1125708 h 1538630"/>
              <a:gd name="csX445" fmla="*/ 1204180 w 1609516"/>
              <a:gd name="csY445" fmla="*/ 1135561 h 1538630"/>
              <a:gd name="csX446" fmla="*/ 1200238 w 1609516"/>
              <a:gd name="csY446" fmla="*/ 1138999 h 1538630"/>
              <a:gd name="csX447" fmla="*/ 1192025 w 1609516"/>
              <a:gd name="csY447" fmla="*/ 1146022 h 1538630"/>
              <a:gd name="csX448" fmla="*/ 1173945 w 1609516"/>
              <a:gd name="csY448" fmla="*/ 1174749 h 1538630"/>
              <a:gd name="csX449" fmla="*/ 1173950 w 1609516"/>
              <a:gd name="csY449" fmla="*/ 1182610 h 1538630"/>
              <a:gd name="csX450" fmla="*/ 1173989 w 1609516"/>
              <a:gd name="csY450" fmla="*/ 1186765 h 1538630"/>
              <a:gd name="csX451" fmla="*/ 1182640 w 1609516"/>
              <a:gd name="csY451" fmla="*/ 1215374 h 1538630"/>
              <a:gd name="csX452" fmla="*/ 1185764 w 1609516"/>
              <a:gd name="csY452" fmla="*/ 1221804 h 1538630"/>
              <a:gd name="csX453" fmla="*/ 1187301 w 1609516"/>
              <a:gd name="csY453" fmla="*/ 1224859 h 1538630"/>
              <a:gd name="csX454" fmla="*/ 1190573 w 1609516"/>
              <a:gd name="csY454" fmla="*/ 1231740 h 1538630"/>
              <a:gd name="csX455" fmla="*/ 1205925 w 1609516"/>
              <a:gd name="csY455" fmla="*/ 1255163 h 1538630"/>
              <a:gd name="csX456" fmla="*/ 1212174 w 1609516"/>
              <a:gd name="csY456" fmla="*/ 1263134 h 1538630"/>
              <a:gd name="csX457" fmla="*/ 1235556 w 1609516"/>
              <a:gd name="csY457" fmla="*/ 1282538 h 1538630"/>
              <a:gd name="csX458" fmla="*/ 1238876 w 1609516"/>
              <a:gd name="csY458" fmla="*/ 1284426 h 1538630"/>
              <a:gd name="csX459" fmla="*/ 1238876 w 1609516"/>
              <a:gd name="csY459" fmla="*/ 1287245 h 1538630"/>
              <a:gd name="csX460" fmla="*/ 1242245 w 1609516"/>
              <a:gd name="csY460" fmla="*/ 1287663 h 1538630"/>
              <a:gd name="csX461" fmla="*/ 1271681 w 1609516"/>
              <a:gd name="csY461" fmla="*/ 1305565 h 1538630"/>
              <a:gd name="csX462" fmla="*/ 1271742 w 1609516"/>
              <a:gd name="csY462" fmla="*/ 1306172 h 1538630"/>
              <a:gd name="csX463" fmla="*/ 1278525 w 1609516"/>
              <a:gd name="csY463" fmla="*/ 1315767 h 1538630"/>
              <a:gd name="csX464" fmla="*/ 1281097 w 1609516"/>
              <a:gd name="csY464" fmla="*/ 1327286 h 1538630"/>
              <a:gd name="csX465" fmla="*/ 1277973 w 1609516"/>
              <a:gd name="csY465" fmla="*/ 1355470 h 1538630"/>
              <a:gd name="csX466" fmla="*/ 1277460 w 1609516"/>
              <a:gd name="csY466" fmla="*/ 1347025 h 1538630"/>
              <a:gd name="csX467" fmla="*/ 1273531 w 1609516"/>
              <a:gd name="csY467" fmla="*/ 1357991 h 1538630"/>
              <a:gd name="csX468" fmla="*/ 1263870 w 1609516"/>
              <a:gd name="csY468" fmla="*/ 1368980 h 1538630"/>
              <a:gd name="csX469" fmla="*/ 1246686 w 1609516"/>
              <a:gd name="csY469" fmla="*/ 1376026 h 1538630"/>
              <a:gd name="csX470" fmla="*/ 1246686 w 1609516"/>
              <a:gd name="csY470" fmla="*/ 1378844 h 1538630"/>
              <a:gd name="csX471" fmla="*/ 1231651 w 1609516"/>
              <a:gd name="csY471" fmla="*/ 1379196 h 1538630"/>
              <a:gd name="csX472" fmla="*/ 1227373 w 1609516"/>
              <a:gd name="csY472" fmla="*/ 1379340 h 1538630"/>
              <a:gd name="csX473" fmla="*/ 1206071 w 1609516"/>
              <a:gd name="csY473" fmla="*/ 1373207 h 1538630"/>
              <a:gd name="csX474" fmla="*/ 1202069 w 1609516"/>
              <a:gd name="csY474" fmla="*/ 1371798 h 1538630"/>
              <a:gd name="csX475" fmla="*/ 1184104 w 1609516"/>
              <a:gd name="csY475" fmla="*/ 1356176 h 1538630"/>
              <a:gd name="csX476" fmla="*/ 1177270 w 1609516"/>
              <a:gd name="csY476" fmla="*/ 1335247 h 1538630"/>
              <a:gd name="csX477" fmla="*/ 1169002 w 1609516"/>
              <a:gd name="csY477" fmla="*/ 1313464 h 1538630"/>
              <a:gd name="csX478" fmla="*/ 1163504 w 1609516"/>
              <a:gd name="csY478" fmla="*/ 1302130 h 1538630"/>
              <a:gd name="csX479" fmla="*/ 1162015 w 1609516"/>
              <a:gd name="csY479" fmla="*/ 1298788 h 1538630"/>
              <a:gd name="csX480" fmla="*/ 1160111 w 1609516"/>
              <a:gd name="csY480" fmla="*/ 1292656 h 1538630"/>
              <a:gd name="csX481" fmla="*/ 1154522 w 1609516"/>
              <a:gd name="csY481" fmla="*/ 1287245 h 1538630"/>
              <a:gd name="csX482" fmla="*/ 1151398 w 1609516"/>
              <a:gd name="csY482" fmla="*/ 1280199 h 1538630"/>
              <a:gd name="csX483" fmla="*/ 1144173 w 1609516"/>
              <a:gd name="csY483" fmla="*/ 1270774 h 1538630"/>
              <a:gd name="csX484" fmla="*/ 1142065 w 1609516"/>
              <a:gd name="csY484" fmla="*/ 1268160 h 1538630"/>
              <a:gd name="csX485" fmla="*/ 1135776 w 1609516"/>
              <a:gd name="csY485" fmla="*/ 1260470 h 1538630"/>
              <a:gd name="csX486" fmla="*/ 1132353 w 1609516"/>
              <a:gd name="csY486" fmla="*/ 1256247 h 1538630"/>
              <a:gd name="csX487" fmla="*/ 1112344 w 1609516"/>
              <a:gd name="csY487" fmla="*/ 1240741 h 1538630"/>
              <a:gd name="csX488" fmla="*/ 1106193 w 1609516"/>
              <a:gd name="csY488" fmla="*/ 1237570 h 1538630"/>
              <a:gd name="csX489" fmla="*/ 1101409 w 1609516"/>
              <a:gd name="csY489" fmla="*/ 1235104 h 1538630"/>
              <a:gd name="csX490" fmla="*/ 1101409 w 1609516"/>
              <a:gd name="csY490" fmla="*/ 1230876 h 1538630"/>
              <a:gd name="csX491" fmla="*/ 1065480 w 1609516"/>
              <a:gd name="csY491" fmla="*/ 1230876 h 1538630"/>
              <a:gd name="csX492" fmla="*/ 1063919 w 1609516"/>
              <a:gd name="csY492" fmla="*/ 1235104 h 1538630"/>
              <a:gd name="csX493" fmla="*/ 1059232 w 1609516"/>
              <a:gd name="csY493" fmla="*/ 1235104 h 1538630"/>
              <a:gd name="csX494" fmla="*/ 1059232 w 1609516"/>
              <a:gd name="csY494" fmla="*/ 1237922 h 1538630"/>
              <a:gd name="csX495" fmla="*/ 1040194 w 1609516"/>
              <a:gd name="csY495" fmla="*/ 1245761 h 1538630"/>
              <a:gd name="csX496" fmla="*/ 1030333 w 1609516"/>
              <a:gd name="csY496" fmla="*/ 1249901 h 1538630"/>
              <a:gd name="csX497" fmla="*/ 1013931 w 1609516"/>
              <a:gd name="csY497" fmla="*/ 1256242 h 1538630"/>
              <a:gd name="csX498" fmla="*/ 1005925 w 1609516"/>
              <a:gd name="csY498" fmla="*/ 1261615 h 1538630"/>
              <a:gd name="csX499" fmla="*/ 1004558 w 1609516"/>
              <a:gd name="csY499" fmla="*/ 1264697 h 1538630"/>
              <a:gd name="csX500" fmla="*/ 1002959 w 1609516"/>
              <a:gd name="csY500" fmla="*/ 1267961 h 1538630"/>
              <a:gd name="csX501" fmla="*/ 1000653 w 1609516"/>
              <a:gd name="csY501" fmla="*/ 1278965 h 1538630"/>
              <a:gd name="csX502" fmla="*/ 998297 w 1609516"/>
              <a:gd name="csY502" fmla="*/ 1294137 h 1538630"/>
              <a:gd name="csX503" fmla="*/ 996162 w 1609516"/>
              <a:gd name="csY503" fmla="*/ 1324765 h 1538630"/>
              <a:gd name="csX504" fmla="*/ 996164 w 1609516"/>
              <a:gd name="csY504" fmla="*/ 1327846 h 1538630"/>
              <a:gd name="csX505" fmla="*/ 1007780 w 1609516"/>
              <a:gd name="csY505" fmla="*/ 1403329 h 1538630"/>
              <a:gd name="csX506" fmla="*/ 1008940 w 1609516"/>
              <a:gd name="csY506" fmla="*/ 1407701 h 1538630"/>
              <a:gd name="csX507" fmla="*/ 1010080 w 1609516"/>
              <a:gd name="csY507" fmla="*/ 1411730 h 1538630"/>
              <a:gd name="csX508" fmla="*/ 1011075 w 1609516"/>
              <a:gd name="csY508" fmla="*/ 1415277 h 1538630"/>
              <a:gd name="csX509" fmla="*/ 1017055 w 1609516"/>
              <a:gd name="csY509" fmla="*/ 1422530 h 1538630"/>
              <a:gd name="csX510" fmla="*/ 1020277 w 1609516"/>
              <a:gd name="csY510" fmla="*/ 1427991 h 1538630"/>
              <a:gd name="csX511" fmla="*/ 1021796 w 1609516"/>
              <a:gd name="csY511" fmla="*/ 1430798 h 1538630"/>
              <a:gd name="csX512" fmla="*/ 1024579 w 1609516"/>
              <a:gd name="csY512" fmla="*/ 1437239 h 1538630"/>
              <a:gd name="csX513" fmla="*/ 1034043 w 1609516"/>
              <a:gd name="csY513" fmla="*/ 1448072 h 1538630"/>
              <a:gd name="csX514" fmla="*/ 1043782 w 1609516"/>
              <a:gd name="csY514" fmla="*/ 1464320 h 1538630"/>
              <a:gd name="csX515" fmla="*/ 1050458 w 1609516"/>
              <a:gd name="csY515" fmla="*/ 1472189 h 1538630"/>
              <a:gd name="csX516" fmla="*/ 1052926 w 1609516"/>
              <a:gd name="csY516" fmla="*/ 1482370 h 1538630"/>
              <a:gd name="csX517" fmla="*/ 1053316 w 1609516"/>
              <a:gd name="csY517" fmla="*/ 1496903 h 1538630"/>
              <a:gd name="csX518" fmla="*/ 1053352 w 1609516"/>
              <a:gd name="csY518" fmla="*/ 1500660 h 1538630"/>
              <a:gd name="csX519" fmla="*/ 1053341 w 1609516"/>
              <a:gd name="csY519" fmla="*/ 1504285 h 1538630"/>
              <a:gd name="csX520" fmla="*/ 1053329 w 1609516"/>
              <a:gd name="csY520" fmla="*/ 1507529 h 1538630"/>
              <a:gd name="csX521" fmla="*/ 1049801 w 1609516"/>
              <a:gd name="csY521" fmla="*/ 1516192 h 1538630"/>
              <a:gd name="csX522" fmla="*/ 1047312 w 1609516"/>
              <a:gd name="csY522" fmla="*/ 1516192 h 1538630"/>
              <a:gd name="csX523" fmla="*/ 1043611 w 1609516"/>
              <a:gd name="csY523" fmla="*/ 1522585 h 1538630"/>
              <a:gd name="csX524" fmla="*/ 1029552 w 1609516"/>
              <a:gd name="csY524" fmla="*/ 1529631 h 1538630"/>
              <a:gd name="csX525" fmla="*/ 1028771 w 1609516"/>
              <a:gd name="csY525" fmla="*/ 1532273 h 1538630"/>
              <a:gd name="csX526" fmla="*/ 1018013 w 1609516"/>
              <a:gd name="csY526" fmla="*/ 1537640 h 1538630"/>
              <a:gd name="csX527" fmla="*/ 981126 w 1609516"/>
              <a:gd name="csY527" fmla="*/ 1533859 h 1538630"/>
              <a:gd name="csX528" fmla="*/ 977227 w 1609516"/>
              <a:gd name="csY528" fmla="*/ 1531943 h 1538630"/>
              <a:gd name="csX529" fmla="*/ 955376 w 1609516"/>
              <a:gd name="csY529" fmla="*/ 1508751 h 1538630"/>
              <a:gd name="csX530" fmla="*/ 954571 w 1609516"/>
              <a:gd name="csY530" fmla="*/ 1500037 h 1538630"/>
              <a:gd name="csX531" fmla="*/ 951446 w 1609516"/>
              <a:gd name="csY531" fmla="*/ 1500037 h 1538630"/>
              <a:gd name="csX532" fmla="*/ 951251 w 1609516"/>
              <a:gd name="csY532" fmla="*/ 1487883 h 1538630"/>
              <a:gd name="csX533" fmla="*/ 951171 w 1609516"/>
              <a:gd name="csY533" fmla="*/ 1484431 h 1538630"/>
              <a:gd name="csX534" fmla="*/ 954571 w 1609516"/>
              <a:gd name="csY534" fmla="*/ 1466216 h 1538630"/>
              <a:gd name="csX535" fmla="*/ 954961 w 1609516"/>
              <a:gd name="csY535" fmla="*/ 1455118 h 1538630"/>
              <a:gd name="csX536" fmla="*/ 954932 w 1609516"/>
              <a:gd name="csY536" fmla="*/ 1451972 h 1538630"/>
              <a:gd name="csX537" fmla="*/ 945099 w 1609516"/>
              <a:gd name="csY537" fmla="*/ 1403594 h 1538630"/>
              <a:gd name="csX538" fmla="*/ 942366 w 1609516"/>
              <a:gd name="csY538" fmla="*/ 1393553 h 1538630"/>
              <a:gd name="csX539" fmla="*/ 934451 w 1609516"/>
              <a:gd name="csY539" fmla="*/ 1372734 h 1538630"/>
              <a:gd name="csX540" fmla="*/ 931974 w 1609516"/>
              <a:gd name="csY540" fmla="*/ 1365754 h 1538630"/>
              <a:gd name="csX541" fmla="*/ 931138 w 1609516"/>
              <a:gd name="csY541" fmla="*/ 1363343 h 1538630"/>
              <a:gd name="csX542" fmla="*/ 926452 w 1609516"/>
              <a:gd name="csY542" fmla="*/ 1361933 h 1538630"/>
              <a:gd name="csX543" fmla="*/ 918641 w 1609516"/>
              <a:gd name="csY543" fmla="*/ 1340795 h 1538630"/>
              <a:gd name="csX544" fmla="*/ 917079 w 1609516"/>
              <a:gd name="csY544" fmla="*/ 1335158 h 1538630"/>
              <a:gd name="csX545" fmla="*/ 913955 w 1609516"/>
              <a:gd name="csY545" fmla="*/ 1335158 h 1538630"/>
              <a:gd name="csX546" fmla="*/ 912057 w 1609516"/>
              <a:gd name="csY546" fmla="*/ 1330793 h 1538630"/>
              <a:gd name="csX547" fmla="*/ 902142 w 1609516"/>
              <a:gd name="csY547" fmla="*/ 1316222 h 1538630"/>
              <a:gd name="csX548" fmla="*/ 900091 w 1609516"/>
              <a:gd name="csY548" fmla="*/ 1313828 h 1538630"/>
              <a:gd name="csX549" fmla="*/ 878026 w 1609516"/>
              <a:gd name="csY549" fmla="*/ 1295700 h 1538630"/>
              <a:gd name="csX550" fmla="*/ 875134 w 1609516"/>
              <a:gd name="csY550" fmla="*/ 1293465 h 1538630"/>
              <a:gd name="csX551" fmla="*/ 869869 w 1609516"/>
              <a:gd name="csY551" fmla="*/ 1291826 h 1538630"/>
              <a:gd name="csX552" fmla="*/ 862384 w 1609516"/>
              <a:gd name="csY552" fmla="*/ 1291327 h 1538630"/>
              <a:gd name="csX553" fmla="*/ 844390 w 1609516"/>
              <a:gd name="csY553" fmla="*/ 1290461 h 1538630"/>
              <a:gd name="csX554" fmla="*/ 840476 w 1609516"/>
              <a:gd name="csY554" fmla="*/ 1290500 h 1538630"/>
              <a:gd name="csX555" fmla="*/ 831015 w 1609516"/>
              <a:gd name="csY555" fmla="*/ 1290637 h 1538630"/>
              <a:gd name="csX556" fmla="*/ 831015 w 1609516"/>
              <a:gd name="csY556" fmla="*/ 1293456 h 1538630"/>
              <a:gd name="csX557" fmla="*/ 818225 w 1609516"/>
              <a:gd name="csY557" fmla="*/ 1295570 h 1538630"/>
              <a:gd name="csX558" fmla="*/ 796774 w 1609516"/>
              <a:gd name="csY558" fmla="*/ 1297671 h 1538630"/>
              <a:gd name="csX559" fmla="*/ 783646 w 1609516"/>
              <a:gd name="csY559" fmla="*/ 1305736 h 1538630"/>
              <a:gd name="csX560" fmla="*/ 769263 w 1609516"/>
              <a:gd name="csY560" fmla="*/ 1327143 h 1538630"/>
              <a:gd name="csX561" fmla="*/ 764797 w 1609516"/>
              <a:gd name="csY561" fmla="*/ 1334360 h 1538630"/>
              <a:gd name="csX562" fmla="*/ 757875 w 1609516"/>
              <a:gd name="csY562" fmla="*/ 1353503 h 1538630"/>
              <a:gd name="csX563" fmla="*/ 755676 w 1609516"/>
              <a:gd name="csY563" fmla="*/ 1367455 h 1538630"/>
              <a:gd name="csX564" fmla="*/ 750558 w 1609516"/>
              <a:gd name="csY564" fmla="*/ 1399690 h 1538630"/>
              <a:gd name="csX565" fmla="*/ 753057 w 1609516"/>
              <a:gd name="csY565" fmla="*/ 1411256 h 1538630"/>
              <a:gd name="csX566" fmla="*/ 753057 w 1609516"/>
              <a:gd name="csY566" fmla="*/ 1416893 h 1538630"/>
              <a:gd name="csX567" fmla="*/ 756181 w 1609516"/>
              <a:gd name="csY567" fmla="*/ 1416893 h 1538630"/>
              <a:gd name="csX568" fmla="*/ 758133 w 1609516"/>
              <a:gd name="csY568" fmla="*/ 1436182 h 1538630"/>
              <a:gd name="csX569" fmla="*/ 758231 w 1609516"/>
              <a:gd name="csY569" fmla="*/ 1440781 h 1538630"/>
              <a:gd name="csX570" fmla="*/ 750713 w 1609516"/>
              <a:gd name="csY570" fmla="*/ 1465704 h 1538630"/>
              <a:gd name="csX571" fmla="*/ 748370 w 1609516"/>
              <a:gd name="csY571" fmla="*/ 1467185 h 1538630"/>
              <a:gd name="csX572" fmla="*/ 741633 w 1609516"/>
              <a:gd name="csY572" fmla="*/ 1473526 h 1538630"/>
              <a:gd name="csX573" fmla="*/ 728154 w 1609516"/>
              <a:gd name="csY573" fmla="*/ 1478343 h 1538630"/>
              <a:gd name="csX574" fmla="*/ 721814 w 1609516"/>
              <a:gd name="csY574" fmla="*/ 1480308 h 1538630"/>
              <a:gd name="csX575" fmla="*/ 708341 w 1609516"/>
              <a:gd name="csY575" fmla="*/ 1480661 h 1538630"/>
              <a:gd name="csX576" fmla="*/ 704637 w 1609516"/>
              <a:gd name="csY576" fmla="*/ 1480748 h 1538630"/>
              <a:gd name="csX577" fmla="*/ 668507 w 1609516"/>
              <a:gd name="csY577" fmla="*/ 1468418 h 1538630"/>
              <a:gd name="csX578" fmla="*/ 660178 w 1609516"/>
              <a:gd name="csY578" fmla="*/ 1450027 h 1538630"/>
              <a:gd name="csX579" fmla="*/ 657767 w 1609516"/>
              <a:gd name="csY579" fmla="*/ 1445078 h 1538630"/>
              <a:gd name="csX580" fmla="*/ 663369 w 1609516"/>
              <a:gd name="csY580" fmla="*/ 1409390 h 1538630"/>
              <a:gd name="csX581" fmla="*/ 671826 w 1609516"/>
              <a:gd name="csY581" fmla="*/ 1401392 h 1538630"/>
              <a:gd name="csX582" fmla="*/ 678075 w 1609516"/>
              <a:gd name="csY582" fmla="*/ 1390118 h 1538630"/>
              <a:gd name="csX583" fmla="*/ 684323 w 1609516"/>
              <a:gd name="csY583" fmla="*/ 1388709 h 1538630"/>
              <a:gd name="csX584" fmla="*/ 685293 w 1609516"/>
              <a:gd name="csY584" fmla="*/ 1384233 h 1538630"/>
              <a:gd name="csX585" fmla="*/ 686569 w 1609516"/>
              <a:gd name="csY585" fmla="*/ 1378404 h 1538630"/>
              <a:gd name="csX586" fmla="*/ 687207 w 1609516"/>
              <a:gd name="csY586" fmla="*/ 1375456 h 1538630"/>
              <a:gd name="csX587" fmla="*/ 690572 w 1609516"/>
              <a:gd name="csY587" fmla="*/ 1363343 h 1538630"/>
              <a:gd name="csX588" fmla="*/ 692495 w 1609516"/>
              <a:gd name="csY588" fmla="*/ 1323376 h 1538630"/>
              <a:gd name="csX589" fmla="*/ 692625 w 1609516"/>
              <a:gd name="csY589" fmla="*/ 1315006 h 1538630"/>
              <a:gd name="csX590" fmla="*/ 687447 w 1609516"/>
              <a:gd name="csY590" fmla="*/ 1287245 h 1538630"/>
              <a:gd name="csX591" fmla="*/ 682761 w 1609516"/>
              <a:gd name="csY591" fmla="*/ 1285835 h 1538630"/>
              <a:gd name="csX592" fmla="*/ 678954 w 1609516"/>
              <a:gd name="csY592" fmla="*/ 1281608 h 1538630"/>
              <a:gd name="csX593" fmla="*/ 668702 w 1609516"/>
              <a:gd name="csY593" fmla="*/ 1275971 h 1538630"/>
              <a:gd name="csX594" fmla="*/ 662454 w 1609516"/>
              <a:gd name="csY594" fmla="*/ 1270334 h 1538630"/>
              <a:gd name="csX595" fmla="*/ 654643 w 1609516"/>
              <a:gd name="csY595" fmla="*/ 1267516 h 1538630"/>
              <a:gd name="csX596" fmla="*/ 654643 w 1609516"/>
              <a:gd name="csY596" fmla="*/ 1264697 h 1538630"/>
              <a:gd name="csX597" fmla="*/ 650152 w 1609516"/>
              <a:gd name="csY597" fmla="*/ 1264345 h 1538630"/>
              <a:gd name="csX598" fmla="*/ 628087 w 1609516"/>
              <a:gd name="csY598" fmla="*/ 1257651 h 1538630"/>
              <a:gd name="csX599" fmla="*/ 628087 w 1609516"/>
              <a:gd name="csY599" fmla="*/ 1254833 h 1538630"/>
              <a:gd name="csX600" fmla="*/ 625121 w 1609516"/>
              <a:gd name="csY600" fmla="*/ 1254315 h 1538630"/>
              <a:gd name="csX601" fmla="*/ 621252 w 1609516"/>
              <a:gd name="csY601" fmla="*/ 1253600 h 1538630"/>
              <a:gd name="csX602" fmla="*/ 617409 w 1609516"/>
              <a:gd name="csY602" fmla="*/ 1252906 h 1538630"/>
              <a:gd name="csX603" fmla="*/ 610904 w 1609516"/>
              <a:gd name="csY603" fmla="*/ 1249196 h 1538630"/>
              <a:gd name="csX604" fmla="*/ 565739 w 1609516"/>
              <a:gd name="csY604" fmla="*/ 1271742 h 1538630"/>
              <a:gd name="csX605" fmla="*/ 546924 w 1609516"/>
              <a:gd name="csY605" fmla="*/ 1290829 h 1538630"/>
              <a:gd name="csX606" fmla="*/ 543635 w 1609516"/>
              <a:gd name="csY606" fmla="*/ 1294643 h 1538630"/>
              <a:gd name="csX607" fmla="*/ 540651 w 1609516"/>
              <a:gd name="csY607" fmla="*/ 1298188 h 1538630"/>
              <a:gd name="csX608" fmla="*/ 529673 w 1609516"/>
              <a:gd name="csY608" fmla="*/ 1305565 h 1538630"/>
              <a:gd name="csX609" fmla="*/ 526549 w 1609516"/>
              <a:gd name="csY609" fmla="*/ 1311202 h 1538630"/>
              <a:gd name="csX610" fmla="*/ 523425 w 1609516"/>
              <a:gd name="csY610" fmla="*/ 1311202 h 1538630"/>
              <a:gd name="csX611" fmla="*/ 523230 w 1609516"/>
              <a:gd name="csY611" fmla="*/ 1313580 h 1538630"/>
              <a:gd name="csX612" fmla="*/ 517732 w 1609516"/>
              <a:gd name="csY612" fmla="*/ 1319739 h 1538630"/>
              <a:gd name="csX613" fmla="*/ 502239 w 1609516"/>
              <a:gd name="csY613" fmla="*/ 1337096 h 1538630"/>
              <a:gd name="csX614" fmla="*/ 497058 w 1609516"/>
              <a:gd name="csY614" fmla="*/ 1344087 h 1538630"/>
              <a:gd name="csX615" fmla="*/ 494572 w 1609516"/>
              <a:gd name="csY615" fmla="*/ 1347465 h 1538630"/>
              <a:gd name="csX616" fmla="*/ 487776 w 1609516"/>
              <a:gd name="csY616" fmla="*/ 1356181 h 1538630"/>
              <a:gd name="csX617" fmla="*/ 481248 w 1609516"/>
              <a:gd name="csY617" fmla="*/ 1367571 h 1538630"/>
              <a:gd name="csX618" fmla="*/ 478123 w 1609516"/>
              <a:gd name="csY618" fmla="*/ 1367571 h 1538630"/>
              <a:gd name="csX619" fmla="*/ 477635 w 1609516"/>
              <a:gd name="csY619" fmla="*/ 1370565 h 1538630"/>
              <a:gd name="csX620" fmla="*/ 465626 w 1609516"/>
              <a:gd name="csY620" fmla="*/ 1388709 h 1538630"/>
              <a:gd name="csX621" fmla="*/ 461233 w 1609516"/>
              <a:gd name="csY621" fmla="*/ 1397340 h 1538630"/>
              <a:gd name="csX622" fmla="*/ 455765 w 1609516"/>
              <a:gd name="csY622" fmla="*/ 1408086 h 1538630"/>
              <a:gd name="csX623" fmla="*/ 439070 w 1609516"/>
              <a:gd name="csY623" fmla="*/ 1477490 h 1538630"/>
              <a:gd name="csX624" fmla="*/ 434384 w 1609516"/>
              <a:gd name="csY624" fmla="*/ 1478899 h 1538630"/>
              <a:gd name="csX625" fmla="*/ 432431 w 1609516"/>
              <a:gd name="csY625" fmla="*/ 1481982 h 1538630"/>
              <a:gd name="csX626" fmla="*/ 418763 w 1609516"/>
              <a:gd name="csY626" fmla="*/ 1494401 h 1538630"/>
              <a:gd name="csX627" fmla="*/ 415639 w 1609516"/>
              <a:gd name="csY627" fmla="*/ 1494401 h 1538630"/>
              <a:gd name="csX628" fmla="*/ 415639 w 1609516"/>
              <a:gd name="csY628" fmla="*/ 1497219 h 1538630"/>
              <a:gd name="csX629" fmla="*/ 406265 w 1609516"/>
              <a:gd name="csY629" fmla="*/ 1498628 h 1538630"/>
              <a:gd name="csX630" fmla="*/ 406265 w 1609516"/>
              <a:gd name="csY630" fmla="*/ 1501447 h 1538630"/>
              <a:gd name="csX631" fmla="*/ 375023 w 1609516"/>
              <a:gd name="csY631" fmla="*/ 1501447 h 1538630"/>
              <a:gd name="csX632" fmla="*/ 375023 w 1609516"/>
              <a:gd name="csY632" fmla="*/ 1499438 h 1538630"/>
              <a:gd name="csX633" fmla="*/ 374964 w 1609516"/>
              <a:gd name="csY633" fmla="*/ 1499436 h 1538630"/>
              <a:gd name="csX634" fmla="*/ 373179 w 1609516"/>
              <a:gd name="csY634" fmla="*/ 1498628 h 1538630"/>
              <a:gd name="csX635" fmla="*/ 365650 w 1609516"/>
              <a:gd name="csY635" fmla="*/ 1498628 h 1538630"/>
              <a:gd name="csX636" fmla="*/ 363134 w 1609516"/>
              <a:gd name="csY636" fmla="*/ 1494087 h 1538630"/>
              <a:gd name="csX637" fmla="*/ 362171 w 1609516"/>
              <a:gd name="csY637" fmla="*/ 1493651 h 1538630"/>
              <a:gd name="csX638" fmla="*/ 360609 w 1609516"/>
              <a:gd name="csY638" fmla="*/ 1490833 h 1538630"/>
              <a:gd name="csX639" fmla="*/ 363733 w 1609516"/>
              <a:gd name="csY639" fmla="*/ 1490833 h 1538630"/>
              <a:gd name="csX640" fmla="*/ 363733 w 1609516"/>
              <a:gd name="csY640" fmla="*/ 1489980 h 1538630"/>
              <a:gd name="csX641" fmla="*/ 348467 w 1609516"/>
              <a:gd name="csY641" fmla="*/ 1481717 h 1538630"/>
              <a:gd name="csX642" fmla="*/ 343872 w 1609516"/>
              <a:gd name="csY642" fmla="*/ 1461078 h 1538630"/>
              <a:gd name="csX643" fmla="*/ 343656 w 1609516"/>
              <a:gd name="csY643" fmla="*/ 1463649 h 1538630"/>
              <a:gd name="csX644" fmla="*/ 343424 w 1609516"/>
              <a:gd name="csY644" fmla="*/ 1466842 h 1538630"/>
              <a:gd name="csX645" fmla="*/ 341861 w 1609516"/>
              <a:gd name="csY645" fmla="*/ 1466842 h 1538630"/>
              <a:gd name="csX646" fmla="*/ 354143 w 1609516"/>
              <a:gd name="csY646" fmla="*/ 1420549 h 1538630"/>
              <a:gd name="csX647" fmla="*/ 376229 w 1609516"/>
              <a:gd name="csY647" fmla="*/ 1403427 h 1538630"/>
              <a:gd name="csX648" fmla="*/ 379491 w 1609516"/>
              <a:gd name="csY648" fmla="*/ 1404408 h 1538630"/>
              <a:gd name="csX649" fmla="*/ 379710 w 1609516"/>
              <a:gd name="csY649" fmla="*/ 1404210 h 1538630"/>
              <a:gd name="csX650" fmla="*/ 380882 w 1609516"/>
              <a:gd name="csY650" fmla="*/ 1401568 h 1538630"/>
              <a:gd name="csX651" fmla="*/ 392207 w 1609516"/>
              <a:gd name="csY651" fmla="*/ 1392936 h 1538630"/>
              <a:gd name="csX652" fmla="*/ 399542 w 1609516"/>
              <a:gd name="csY652" fmla="*/ 1386774 h 1538630"/>
              <a:gd name="csX653" fmla="*/ 405485 w 1609516"/>
              <a:gd name="csY653" fmla="*/ 1378917 h 1538630"/>
              <a:gd name="csX654" fmla="*/ 412008 w 1609516"/>
              <a:gd name="csY654" fmla="*/ 1369481 h 1538630"/>
              <a:gd name="csX655" fmla="*/ 421130 w 1609516"/>
              <a:gd name="csY655" fmla="*/ 1357057 h 1538630"/>
              <a:gd name="csX656" fmla="*/ 424676 w 1609516"/>
              <a:gd name="csY656" fmla="*/ 1348443 h 1538630"/>
              <a:gd name="csX657" fmla="*/ 427275 w 1609516"/>
              <a:gd name="csY657" fmla="*/ 1348443 h 1538630"/>
              <a:gd name="csX658" fmla="*/ 428135 w 1609516"/>
              <a:gd name="csY658" fmla="*/ 1345727 h 1538630"/>
              <a:gd name="csX659" fmla="*/ 432822 w 1609516"/>
              <a:gd name="csY659" fmla="*/ 1335158 h 1538630"/>
              <a:gd name="csX660" fmla="*/ 435946 w 1609516"/>
              <a:gd name="csY660" fmla="*/ 1335158 h 1538630"/>
              <a:gd name="csX661" fmla="*/ 437704 w 1609516"/>
              <a:gd name="csY661" fmla="*/ 1329786 h 1538630"/>
              <a:gd name="csX662" fmla="*/ 447394 w 1609516"/>
              <a:gd name="csY662" fmla="*/ 1311196 h 1538630"/>
              <a:gd name="csX663" fmla="*/ 469287 w 1609516"/>
              <a:gd name="csY663" fmla="*/ 1265964 h 1538630"/>
              <a:gd name="csX664" fmla="*/ 478178 w 1609516"/>
              <a:gd name="csY664" fmla="*/ 1246787 h 1538630"/>
              <a:gd name="csX665" fmla="*/ 480179 w 1609516"/>
              <a:gd name="csY665" fmla="*/ 1225768 h 1538630"/>
              <a:gd name="csX666" fmla="*/ 480250 w 1609516"/>
              <a:gd name="csY666" fmla="*/ 1217149 h 1538630"/>
              <a:gd name="csX667" fmla="*/ 462972 w 1609516"/>
              <a:gd name="csY667" fmla="*/ 1174827 h 1538630"/>
              <a:gd name="csX668" fmla="*/ 457468 w 1609516"/>
              <a:gd name="csY668" fmla="*/ 1169949 h 1538630"/>
              <a:gd name="csX669" fmla="*/ 440657 w 1609516"/>
              <a:gd name="csY669" fmla="*/ 1152570 h 1538630"/>
              <a:gd name="csX670" fmla="*/ 403142 w 1609516"/>
              <a:gd name="csY670" fmla="*/ 1122366 h 1538630"/>
              <a:gd name="csX671" fmla="*/ 401579 w 1609516"/>
              <a:gd name="csY671" fmla="*/ 1119547 h 1538630"/>
              <a:gd name="csX672" fmla="*/ 364564 w 1609516"/>
              <a:gd name="csY672" fmla="*/ 1118209 h 1538630"/>
              <a:gd name="csX673" fmla="*/ 357822 w 1609516"/>
              <a:gd name="csY673" fmla="*/ 1122041 h 1538630"/>
              <a:gd name="csX674" fmla="*/ 348077 w 1609516"/>
              <a:gd name="csY674" fmla="*/ 1125273 h 1538630"/>
              <a:gd name="csX675" fmla="*/ 334408 w 1609516"/>
              <a:gd name="csY675" fmla="*/ 1132230 h 1538630"/>
              <a:gd name="csX676" fmla="*/ 327964 w 1609516"/>
              <a:gd name="csY676" fmla="*/ 1134080 h 1538630"/>
              <a:gd name="csX677" fmla="*/ 279734 w 1609516"/>
              <a:gd name="csY677" fmla="*/ 1166051 h 1538630"/>
              <a:gd name="csX678" fmla="*/ 276609 w 1609516"/>
              <a:gd name="csY678" fmla="*/ 1173098 h 1538630"/>
              <a:gd name="csX679" fmla="*/ 260988 w 1609516"/>
              <a:gd name="csY679" fmla="*/ 1188599 h 1538630"/>
              <a:gd name="csX680" fmla="*/ 257956 w 1609516"/>
              <a:gd name="csY680" fmla="*/ 1191132 h 1538630"/>
              <a:gd name="csX681" fmla="*/ 243805 w 1609516"/>
              <a:gd name="csY681" fmla="*/ 1196629 h 1538630"/>
              <a:gd name="csX682" fmla="*/ 243805 w 1609516"/>
              <a:gd name="csY682" fmla="*/ 1194236 h 1538630"/>
              <a:gd name="csX683" fmla="*/ 240288 w 1609516"/>
              <a:gd name="csY683" fmla="*/ 1194765 h 1538630"/>
              <a:gd name="csX684" fmla="*/ 243374 w 1609516"/>
              <a:gd name="csY684" fmla="*/ 1194765 h 1538630"/>
              <a:gd name="csX685" fmla="*/ 243374 w 1609516"/>
              <a:gd name="csY685" fmla="*/ 1196797 h 1538630"/>
              <a:gd name="csX686" fmla="*/ 243805 w 1609516"/>
              <a:gd name="csY686" fmla="*/ 1196629 h 1538630"/>
              <a:gd name="csX687" fmla="*/ 243805 w 1609516"/>
              <a:gd name="csY687" fmla="*/ 1197055 h 1538630"/>
              <a:gd name="csX688" fmla="*/ 243374 w 1609516"/>
              <a:gd name="csY688" fmla="*/ 1197055 h 1538630"/>
              <a:gd name="csX689" fmla="*/ 243374 w 1609516"/>
              <a:gd name="csY689" fmla="*/ 1197584 h 1538630"/>
              <a:gd name="csX690" fmla="*/ 241319 w 1609516"/>
              <a:gd name="csY690" fmla="*/ 1197595 h 1538630"/>
              <a:gd name="csX691" fmla="*/ 238009 w 1609516"/>
              <a:gd name="csY691" fmla="*/ 1198881 h 1538630"/>
              <a:gd name="csX692" fmla="*/ 215687 w 1609516"/>
              <a:gd name="csY692" fmla="*/ 1198464 h 1538630"/>
              <a:gd name="csX693" fmla="*/ 215687 w 1609516"/>
              <a:gd name="csY693" fmla="*/ 1197734 h 1538630"/>
              <a:gd name="csX694" fmla="*/ 213936 w 1609516"/>
              <a:gd name="csY694" fmla="*/ 1197744 h 1538630"/>
              <a:gd name="csX695" fmla="*/ 207446 w 1609516"/>
              <a:gd name="csY695" fmla="*/ 1196175 h 1538630"/>
              <a:gd name="csX696" fmla="*/ 207822 w 1609516"/>
              <a:gd name="csY696" fmla="*/ 1195610 h 1538630"/>
              <a:gd name="csX697" fmla="*/ 184737 w 1609516"/>
              <a:gd name="csY697" fmla="*/ 1180936 h 1538630"/>
              <a:gd name="csX698" fmla="*/ 179270 w 1609516"/>
              <a:gd name="csY698" fmla="*/ 1154866 h 1538630"/>
              <a:gd name="csX699" fmla="*/ 179194 w 1609516"/>
              <a:gd name="csY699" fmla="*/ 1151621 h 1538630"/>
              <a:gd name="csX700" fmla="*/ 193195 w 1609516"/>
              <a:gd name="csY700" fmla="*/ 1120065 h 1538630"/>
              <a:gd name="csX701" fmla="*/ 229551 w 1609516"/>
              <a:gd name="csY701" fmla="*/ 1110299 h 1538630"/>
              <a:gd name="csX702" fmla="*/ 260988 w 1609516"/>
              <a:gd name="csY702" fmla="*/ 1108274 h 1538630"/>
              <a:gd name="csX703" fmla="*/ 260988 w 1609516"/>
              <a:gd name="csY703" fmla="*/ 1105455 h 1538630"/>
              <a:gd name="csX704" fmla="*/ 263911 w 1609516"/>
              <a:gd name="csY704" fmla="*/ 1104310 h 1538630"/>
              <a:gd name="csX705" fmla="*/ 286995 w 1609516"/>
              <a:gd name="csY705" fmla="*/ 1090185 h 1538630"/>
              <a:gd name="csX706" fmla="*/ 299358 w 1609516"/>
              <a:gd name="csY706" fmla="*/ 1080970 h 1538630"/>
              <a:gd name="csX707" fmla="*/ 317762 w 1609516"/>
              <a:gd name="csY707" fmla="*/ 1063272 h 1538630"/>
              <a:gd name="csX708" fmla="*/ 325035 w 1609516"/>
              <a:gd name="csY708" fmla="*/ 1057542 h 1538630"/>
              <a:gd name="csX709" fmla="*/ 325328 w 1609516"/>
              <a:gd name="csY709" fmla="*/ 1023104 h 1538630"/>
              <a:gd name="csX710" fmla="*/ 324544 w 1609516"/>
              <a:gd name="csY710" fmla="*/ 1019247 h 1538630"/>
              <a:gd name="csX711" fmla="*/ 317225 w 1609516"/>
              <a:gd name="csY711" fmla="*/ 996945 h 1538630"/>
              <a:gd name="csX712" fmla="*/ 315388 w 1609516"/>
              <a:gd name="csY712" fmla="*/ 992690 h 1538630"/>
              <a:gd name="csX713" fmla="*/ 276232 w 1609516"/>
              <a:gd name="csY713" fmla="*/ 950666 h 1538630"/>
              <a:gd name="csX714" fmla="*/ 271923 w 1609516"/>
              <a:gd name="csY714" fmla="*/ 949031 h 1538630"/>
              <a:gd name="csX715" fmla="*/ 268299 w 1609516"/>
              <a:gd name="csY715" fmla="*/ 947441 h 1538630"/>
              <a:gd name="csX716" fmla="*/ 199187 w 1609516"/>
              <a:gd name="csY716" fmla="*/ 938991 h 1538630"/>
              <a:gd name="csX717" fmla="*/ 193719 w 1609516"/>
              <a:gd name="csY717" fmla="*/ 938971 h 1538630"/>
              <a:gd name="csX718" fmla="*/ 188539 w 1609516"/>
              <a:gd name="csY718" fmla="*/ 938980 h 1538630"/>
              <a:gd name="csX719" fmla="*/ 183874 w 1609516"/>
              <a:gd name="csY719" fmla="*/ 938985 h 1538630"/>
              <a:gd name="csX720" fmla="*/ 173509 w 1609516"/>
              <a:gd name="csY720" fmla="*/ 940576 h 1538630"/>
              <a:gd name="csX721" fmla="*/ 161403 w 1609516"/>
              <a:gd name="csY721" fmla="*/ 940664 h 1538630"/>
              <a:gd name="csX722" fmla="*/ 158102 w 1609516"/>
              <a:gd name="csY722" fmla="*/ 940645 h 1538630"/>
              <a:gd name="csX723" fmla="*/ 150875 w 1609516"/>
              <a:gd name="csY723" fmla="*/ 940583 h 1538630"/>
              <a:gd name="csX724" fmla="*/ 148425 w 1609516"/>
              <a:gd name="csY724" fmla="*/ 940717 h 1538630"/>
              <a:gd name="csX725" fmla="*/ 149617 w 1609516"/>
              <a:gd name="csY725" fmla="*/ 940995 h 1538630"/>
              <a:gd name="csX726" fmla="*/ 149617 w 1609516"/>
              <a:gd name="csY726" fmla="*/ 942404 h 1538630"/>
              <a:gd name="csX727" fmla="*/ 146627 w 1609516"/>
              <a:gd name="csY727" fmla="*/ 942871 h 1538630"/>
              <a:gd name="csX728" fmla="*/ 110564 w 1609516"/>
              <a:gd name="csY728" fmla="*/ 949449 h 1538630"/>
              <a:gd name="csX729" fmla="*/ 111283 w 1609516"/>
              <a:gd name="csY729" fmla="*/ 946205 h 1538630"/>
              <a:gd name="csX730" fmla="*/ 101652 w 1609516"/>
              <a:gd name="csY730" fmla="*/ 956078 h 1538630"/>
              <a:gd name="csX731" fmla="*/ 98052 w 1609516"/>
              <a:gd name="csY731" fmla="*/ 958467 h 1538630"/>
              <a:gd name="csX732" fmla="*/ 67286 w 1609516"/>
              <a:gd name="csY732" fmla="*/ 972989 h 1538630"/>
              <a:gd name="csX733" fmla="*/ 67286 w 1609516"/>
              <a:gd name="csY733" fmla="*/ 975807 h 1538630"/>
              <a:gd name="csX734" fmla="*/ 31942 w 1609516"/>
              <a:gd name="csY734" fmla="*/ 976423 h 1538630"/>
              <a:gd name="csX735" fmla="*/ 5673 w 1609516"/>
              <a:gd name="csY735" fmla="*/ 953419 h 1538630"/>
              <a:gd name="csX736" fmla="*/ 4801 w 1609516"/>
              <a:gd name="csY736" fmla="*/ 944804 h 1538630"/>
              <a:gd name="csX737" fmla="*/ 1676 w 1609516"/>
              <a:gd name="csY737" fmla="*/ 944804 h 1538630"/>
              <a:gd name="csX738" fmla="*/ 17 w 1609516"/>
              <a:gd name="csY738" fmla="*/ 931857 h 1538630"/>
              <a:gd name="csX739" fmla="*/ 59 w 1609516"/>
              <a:gd name="csY739" fmla="*/ 927216 h 1538630"/>
              <a:gd name="csX740" fmla="*/ 115 w 1609516"/>
              <a:gd name="csY740" fmla="*/ 923666 h 1538630"/>
              <a:gd name="csX741" fmla="*/ 3238 w 1609516"/>
              <a:gd name="csY741" fmla="*/ 923666 h 1538630"/>
              <a:gd name="csX742" fmla="*/ 3238 w 1609516"/>
              <a:gd name="csY742" fmla="*/ 918029 h 1538630"/>
              <a:gd name="csX743" fmla="*/ 6363 w 1609516"/>
              <a:gd name="csY743" fmla="*/ 918029 h 1538630"/>
              <a:gd name="csX744" fmla="*/ 6656 w 1609516"/>
              <a:gd name="csY744" fmla="*/ 912832 h 1538630"/>
              <a:gd name="csX745" fmla="*/ 15736 w 1609516"/>
              <a:gd name="csY745" fmla="*/ 899709 h 1538630"/>
              <a:gd name="csX746" fmla="*/ 17243 w 1609516"/>
              <a:gd name="csY746" fmla="*/ 898894 h 1538630"/>
              <a:gd name="csX747" fmla="*/ 16800 w 1609516"/>
              <a:gd name="csY747" fmla="*/ 898694 h 1538630"/>
              <a:gd name="csX748" fmla="*/ 24988 w 1609516"/>
              <a:gd name="csY748" fmla="*/ 894101 h 1538630"/>
              <a:gd name="csX749" fmla="*/ 26768 w 1609516"/>
              <a:gd name="csY749" fmla="*/ 892399 h 1538630"/>
              <a:gd name="csX750" fmla="*/ 30198 w 1609516"/>
              <a:gd name="csY750" fmla="*/ 890164 h 1538630"/>
              <a:gd name="csX751" fmla="*/ 32204 w 1609516"/>
              <a:gd name="csY751" fmla="*/ 890054 h 1538630"/>
              <a:gd name="csX752" fmla="*/ 38914 w 1609516"/>
              <a:gd name="csY752" fmla="*/ 886291 h 1538630"/>
              <a:gd name="csX753" fmla="*/ 63664 w 1609516"/>
              <a:gd name="csY753" fmla="*/ 886011 h 1538630"/>
              <a:gd name="csX754" fmla="*/ 63664 w 1609516"/>
              <a:gd name="csY754" fmla="*/ 886531 h 1538630"/>
              <a:gd name="csX755" fmla="*/ 70784 w 1609516"/>
              <a:gd name="csY755" fmla="*/ 886647 h 1538630"/>
              <a:gd name="csX756" fmla="*/ 82126 w 1609516"/>
              <a:gd name="csY756" fmla="*/ 889845 h 1538630"/>
              <a:gd name="csX757" fmla="*/ 114149 w 1609516"/>
              <a:gd name="csY757" fmla="*/ 892663 h 1538630"/>
              <a:gd name="csX758" fmla="*/ 118836 w 1609516"/>
              <a:gd name="csY758" fmla="*/ 889845 h 1538630"/>
              <a:gd name="csX759" fmla="*/ 131626 w 1609516"/>
              <a:gd name="csY759" fmla="*/ 887114 h 1538630"/>
              <a:gd name="csX760" fmla="*/ 155116 w 1609516"/>
              <a:gd name="csY760" fmla="*/ 880913 h 1538630"/>
              <a:gd name="csX761" fmla="*/ 165406 w 1609516"/>
              <a:gd name="csY761" fmla="*/ 878483 h 1538630"/>
              <a:gd name="csX762" fmla="*/ 176634 w 1609516"/>
              <a:gd name="csY762" fmla="*/ 874343 h 1538630"/>
              <a:gd name="csX763" fmla="*/ 186397 w 1609516"/>
              <a:gd name="csY763" fmla="*/ 871524 h 1538630"/>
              <a:gd name="csX764" fmla="*/ 191871 w 1609516"/>
              <a:gd name="csY764" fmla="*/ 870033 h 1538630"/>
              <a:gd name="csX765" fmla="*/ 203483 w 1609516"/>
              <a:gd name="csY765" fmla="*/ 867208 h 1538630"/>
              <a:gd name="csX766" fmla="*/ 211001 w 1609516"/>
              <a:gd name="csY766" fmla="*/ 861660 h 1538630"/>
              <a:gd name="csX767" fmla="*/ 218031 w 1609516"/>
              <a:gd name="csY767" fmla="*/ 858577 h 1538630"/>
              <a:gd name="csX768" fmla="*/ 254740 w 1609516"/>
              <a:gd name="csY768" fmla="*/ 825020 h 1538630"/>
              <a:gd name="csX769" fmla="*/ 257864 w 1609516"/>
              <a:gd name="csY769" fmla="*/ 820792 h 1538630"/>
              <a:gd name="csX770" fmla="*/ 258318 w 1609516"/>
              <a:gd name="csY770" fmla="*/ 813810 h 1538630"/>
              <a:gd name="csX771" fmla="*/ 258378 w 1609516"/>
              <a:gd name="csY771" fmla="*/ 809502 h 1538630"/>
              <a:gd name="csX772" fmla="*/ 258389 w 1609516"/>
              <a:gd name="csY772" fmla="*/ 804845 h 1538630"/>
              <a:gd name="csX773" fmla="*/ 258420 w 1609516"/>
              <a:gd name="csY773" fmla="*/ 800036 h 1538630"/>
              <a:gd name="csX774" fmla="*/ 258443 w 1609516"/>
              <a:gd name="csY774" fmla="*/ 789939 h 1538630"/>
              <a:gd name="csX775" fmla="*/ 258566 w 1609516"/>
              <a:gd name="csY775" fmla="*/ 774594 h 1538630"/>
              <a:gd name="csX776" fmla="*/ 258584 w 1609516"/>
              <a:gd name="csY776" fmla="*/ 764771 h 1538630"/>
              <a:gd name="csX777" fmla="*/ 258652 w 1609516"/>
              <a:gd name="csY777" fmla="*/ 760174 h 1538630"/>
              <a:gd name="csX778" fmla="*/ 251616 w 1609516"/>
              <a:gd name="csY778" fmla="*/ 733421 h 1538630"/>
              <a:gd name="csX779" fmla="*/ 247613 w 1609516"/>
              <a:gd name="csY779" fmla="*/ 721883 h 1538630"/>
              <a:gd name="csX780" fmla="*/ 241291 w 1609516"/>
              <a:gd name="csY780" fmla="*/ 705644 h 1538630"/>
              <a:gd name="csX781" fmla="*/ 237557 w 1609516"/>
              <a:gd name="csY781" fmla="*/ 689735 h 1538630"/>
              <a:gd name="csX782" fmla="*/ 248492 w 1609516"/>
              <a:gd name="csY782" fmla="*/ 685507 h 1538630"/>
              <a:gd name="csX783" fmla="*/ 248492 w 1609516"/>
              <a:gd name="csY783" fmla="*/ 681279 h 1538630"/>
              <a:gd name="csX784" fmla="*/ 240681 w 1609516"/>
              <a:gd name="csY784" fmla="*/ 679870 h 1538630"/>
              <a:gd name="csX785" fmla="*/ 240681 w 1609516"/>
              <a:gd name="csY785" fmla="*/ 677052 h 1538630"/>
              <a:gd name="csX786" fmla="*/ 238094 w 1609516"/>
              <a:gd name="csY786" fmla="*/ 676645 h 1538630"/>
              <a:gd name="csX787" fmla="*/ 225841 w 1609516"/>
              <a:gd name="csY787" fmla="*/ 670886 h 1538630"/>
              <a:gd name="csX788" fmla="*/ 201531 w 1609516"/>
              <a:gd name="csY788" fmla="*/ 662508 h 1538630"/>
              <a:gd name="csX789" fmla="*/ 188252 w 1609516"/>
              <a:gd name="csY789" fmla="*/ 658644 h 1538630"/>
              <a:gd name="csX790" fmla="*/ 182431 w 1609516"/>
              <a:gd name="csY790" fmla="*/ 657327 h 1538630"/>
              <a:gd name="csX791" fmla="*/ 182431 w 1609516"/>
              <a:gd name="csY791" fmla="*/ 657613 h 1538630"/>
              <a:gd name="csX792" fmla="*/ 146503 w 1609516"/>
              <a:gd name="csY792" fmla="*/ 656204 h 1538630"/>
              <a:gd name="csX793" fmla="*/ 146503 w 1609516"/>
              <a:gd name="csY793" fmla="*/ 659022 h 1538630"/>
              <a:gd name="csX794" fmla="*/ 110378 w 1609516"/>
              <a:gd name="csY794" fmla="*/ 663778 h 1538630"/>
              <a:gd name="csX795" fmla="*/ 106453 w 1609516"/>
              <a:gd name="csY795" fmla="*/ 663836 h 1538630"/>
              <a:gd name="csX796" fmla="*/ 102751 w 1609516"/>
              <a:gd name="csY796" fmla="*/ 663811 h 1538630"/>
              <a:gd name="csX797" fmla="*/ 99449 w 1609516"/>
              <a:gd name="csY797" fmla="*/ 663797 h 1538630"/>
              <a:gd name="csX798" fmla="*/ 91828 w 1609516"/>
              <a:gd name="csY798" fmla="*/ 659022 h 1538630"/>
              <a:gd name="csX799" fmla="*/ 98077 w 1609516"/>
              <a:gd name="csY799" fmla="*/ 659022 h 1538630"/>
              <a:gd name="csX800" fmla="*/ 98077 w 1609516"/>
              <a:gd name="csY800" fmla="*/ 661841 h 1538630"/>
              <a:gd name="csX801" fmla="*/ 119023 w 1609516"/>
              <a:gd name="csY801" fmla="*/ 661357 h 1538630"/>
              <a:gd name="csX802" fmla="*/ 119536 w 1609516"/>
              <a:gd name="csY802" fmla="*/ 661197 h 1538630"/>
              <a:gd name="csX803" fmla="*/ 109853 w 1609516"/>
              <a:gd name="csY803" fmla="*/ 661639 h 1538630"/>
              <a:gd name="csX804" fmla="*/ 106552 w 1609516"/>
              <a:gd name="csY804" fmla="*/ 661619 h 1538630"/>
              <a:gd name="csX805" fmla="*/ 98528 w 1609516"/>
              <a:gd name="csY805" fmla="*/ 661550 h 1538630"/>
              <a:gd name="csX806" fmla="*/ 98528 w 1609516"/>
              <a:gd name="csY806" fmla="*/ 658732 h 1538630"/>
              <a:gd name="csX807" fmla="*/ 89155 w 1609516"/>
              <a:gd name="csY807" fmla="*/ 657323 h 1538630"/>
              <a:gd name="csX808" fmla="*/ 89155 w 1609516"/>
              <a:gd name="csY808" fmla="*/ 654504 h 1538630"/>
              <a:gd name="csX809" fmla="*/ 86397 w 1609516"/>
              <a:gd name="csY809" fmla="*/ 653442 h 1538630"/>
              <a:gd name="csX810" fmla="*/ 77049 w 1609516"/>
              <a:gd name="csY810" fmla="*/ 646137 h 1538630"/>
              <a:gd name="csX811" fmla="*/ 74145 w 1609516"/>
              <a:gd name="csY811" fmla="*/ 643192 h 1538630"/>
              <a:gd name="csX812" fmla="*/ 71972 w 1609516"/>
              <a:gd name="csY812" fmla="*/ 636185 h 1538630"/>
              <a:gd name="csX813" fmla="*/ 68848 w 1609516"/>
              <a:gd name="csY813" fmla="*/ 636185 h 1538630"/>
              <a:gd name="csX814" fmla="*/ 70410 w 1609516"/>
              <a:gd name="csY814" fmla="*/ 595317 h 1538630"/>
              <a:gd name="csX815" fmla="*/ 79782 w 1609516"/>
              <a:gd name="csY815" fmla="*/ 584043 h 1538630"/>
              <a:gd name="csX816" fmla="*/ 82656 w 1609516"/>
              <a:gd name="csY816" fmla="*/ 581115 h 1538630"/>
              <a:gd name="csX817" fmla="*/ 116694 w 1609516"/>
              <a:gd name="csY817" fmla="*/ 572323 h 1538630"/>
              <a:gd name="csX818" fmla="*/ 152031 w 1609516"/>
              <a:gd name="csY818" fmla="*/ 590385 h 1538630"/>
              <a:gd name="csX819" fmla="*/ 191474 w 1609516"/>
              <a:gd name="csY819" fmla="*/ 605886 h 1538630"/>
              <a:gd name="csX820" fmla="*/ 206314 w 1609516"/>
              <a:gd name="csY820" fmla="*/ 608000 h 1538630"/>
              <a:gd name="csX821" fmla="*/ 206314 w 1609516"/>
              <a:gd name="csY821" fmla="*/ 610818 h 1538630"/>
              <a:gd name="csX822" fmla="*/ 234433 w 1609516"/>
              <a:gd name="csY822" fmla="*/ 610818 h 1538630"/>
              <a:gd name="csX823" fmla="*/ 239522 w 1609516"/>
              <a:gd name="csY823" fmla="*/ 610802 h 1538630"/>
              <a:gd name="csX824" fmla="*/ 268799 w 1609516"/>
              <a:gd name="csY824" fmla="*/ 600954 h 1538630"/>
              <a:gd name="csX825" fmla="*/ 271740 w 1609516"/>
              <a:gd name="csY825" fmla="*/ 599325 h 1538630"/>
              <a:gd name="csX826" fmla="*/ 284420 w 1609516"/>
              <a:gd name="csY826" fmla="*/ 579816 h 1538630"/>
              <a:gd name="csX827" fmla="*/ 289399 w 1609516"/>
              <a:gd name="csY827" fmla="*/ 568630 h 1538630"/>
              <a:gd name="csX828" fmla="*/ 293958 w 1609516"/>
              <a:gd name="csY828" fmla="*/ 535838 h 1538630"/>
              <a:gd name="csX829" fmla="*/ 289107 w 1609516"/>
              <a:gd name="csY829" fmla="*/ 529084 h 1538630"/>
              <a:gd name="csX830" fmla="*/ 289107 w 1609516"/>
              <a:gd name="csY830" fmla="*/ 526265 h 1538630"/>
              <a:gd name="csX831" fmla="*/ 284420 w 1609516"/>
              <a:gd name="csY831" fmla="*/ 524856 h 1538630"/>
              <a:gd name="csX832" fmla="*/ 282858 w 1609516"/>
              <a:gd name="csY832" fmla="*/ 520628 h 1538630"/>
              <a:gd name="csX833" fmla="*/ 277977 w 1609516"/>
              <a:gd name="csY833" fmla="*/ 516577 h 1538630"/>
              <a:gd name="csX834" fmla="*/ 264925 w 1609516"/>
              <a:gd name="csY834" fmla="*/ 506443 h 1538630"/>
              <a:gd name="csX835" fmla="*/ 229746 w 1609516"/>
              <a:gd name="csY835" fmla="*/ 481170 h 1538630"/>
              <a:gd name="csX836" fmla="*/ 221057 w 1609516"/>
              <a:gd name="csY836" fmla="*/ 475445 h 1538630"/>
              <a:gd name="csX837" fmla="*/ 212563 w 1609516"/>
              <a:gd name="csY837" fmla="*/ 469896 h 1538630"/>
              <a:gd name="csX838" fmla="*/ 208889 w 1609516"/>
              <a:gd name="csY838" fmla="*/ 467491 h 1538630"/>
              <a:gd name="csX839" fmla="*/ 190406 w 1609516"/>
              <a:gd name="csY839" fmla="*/ 456382 h 1538630"/>
              <a:gd name="csX840" fmla="*/ 186942 w 1609516"/>
              <a:gd name="csY840" fmla="*/ 454460 h 1538630"/>
              <a:gd name="csX841" fmla="*/ 180041 w 1609516"/>
              <a:gd name="csY841" fmla="*/ 450696 h 1538630"/>
              <a:gd name="csX842" fmla="*/ 171948 w 1609516"/>
              <a:gd name="csY842" fmla="*/ 445940 h 1538630"/>
              <a:gd name="csX843" fmla="*/ 171948 w 1609516"/>
              <a:gd name="csY843" fmla="*/ 443121 h 1538630"/>
              <a:gd name="csX844" fmla="*/ 168482 w 1609516"/>
              <a:gd name="csY844" fmla="*/ 442708 h 1538630"/>
              <a:gd name="csX845" fmla="*/ 157107 w 1609516"/>
              <a:gd name="csY845" fmla="*/ 437044 h 1538630"/>
              <a:gd name="csX846" fmla="*/ 132559 w 1609516"/>
              <a:gd name="csY846" fmla="*/ 427510 h 1538630"/>
              <a:gd name="csX847" fmla="*/ 123522 w 1609516"/>
              <a:gd name="csY847" fmla="*/ 421983 h 1538630"/>
              <a:gd name="csX848" fmla="*/ 107986 w 1609516"/>
              <a:gd name="csY848" fmla="*/ 418730 h 1538630"/>
              <a:gd name="csX849" fmla="*/ 102494 w 1609516"/>
              <a:gd name="csY849" fmla="*/ 418622 h 1538630"/>
              <a:gd name="csX850" fmla="*/ 91157 w 1609516"/>
              <a:gd name="csY850" fmla="*/ 418490 h 1538630"/>
              <a:gd name="csX851" fmla="*/ 55277 w 1609516"/>
              <a:gd name="csY851" fmla="*/ 410445 h 1538630"/>
              <a:gd name="csX852" fmla="*/ 51665 w 1609516"/>
              <a:gd name="csY852" fmla="*/ 406481 h 1538630"/>
              <a:gd name="csX853" fmla="*/ 45904 w 1609516"/>
              <a:gd name="csY853" fmla="*/ 400492 h 1538630"/>
              <a:gd name="csX854" fmla="*/ 43152 w 1609516"/>
              <a:gd name="csY854" fmla="*/ 397564 h 1538630"/>
              <a:gd name="csX855" fmla="*/ 37605 w 1609516"/>
              <a:gd name="csY855" fmla="*/ 393798 h 1538630"/>
              <a:gd name="csX856" fmla="*/ 38995 w 1609516"/>
              <a:gd name="csY856" fmla="*/ 368712 h 1538630"/>
              <a:gd name="csX857" fmla="*/ 38666 w 1609516"/>
              <a:gd name="csY857" fmla="*/ 369724 h 1538630"/>
              <a:gd name="csX858" fmla="*/ 35542 w 1609516"/>
              <a:gd name="csY858" fmla="*/ 384081 h 1538630"/>
              <a:gd name="csX859" fmla="*/ 33326 w 1609516"/>
              <a:gd name="csY859" fmla="*/ 357791 h 1538630"/>
              <a:gd name="csX860" fmla="*/ 52725 w 1609516"/>
              <a:gd name="csY860" fmla="*/ 333349 h 1538630"/>
              <a:gd name="csX861" fmla="*/ 55222 w 1609516"/>
              <a:gd name="csY861" fmla="*/ 334475 h 1538630"/>
              <a:gd name="csX862" fmla="*/ 56222 w 1609516"/>
              <a:gd name="csY862" fmla="*/ 333347 h 1538630"/>
              <a:gd name="csX863" fmla="*/ 55871 w 1609516"/>
              <a:gd name="csY863" fmla="*/ 333347 h 1538630"/>
              <a:gd name="csX864" fmla="*/ 56346 w 1609516"/>
              <a:gd name="csY864" fmla="*/ 333207 h 1538630"/>
              <a:gd name="csX865" fmla="*/ 56351 w 1609516"/>
              <a:gd name="csY865" fmla="*/ 333202 h 1538630"/>
              <a:gd name="csX866" fmla="*/ 56365 w 1609516"/>
              <a:gd name="csY866" fmla="*/ 333202 h 1538630"/>
              <a:gd name="csX867" fmla="*/ 79571 w 1609516"/>
              <a:gd name="csY867" fmla="*/ 326360 h 1538630"/>
              <a:gd name="csX868" fmla="*/ 104297 w 1609516"/>
              <a:gd name="csY868" fmla="*/ 330529 h 1538630"/>
              <a:gd name="csX869" fmla="*/ 107170 w 1609516"/>
              <a:gd name="csY869" fmla="*/ 334417 h 1538630"/>
              <a:gd name="csX870" fmla="*/ 109366 w 1609516"/>
              <a:gd name="csY870" fmla="*/ 336046 h 1538630"/>
              <a:gd name="csX871" fmla="*/ 109463 w 1609516"/>
              <a:gd name="csY871" fmla="*/ 336020 h 1538630"/>
              <a:gd name="csX872" fmla="*/ 109463 w 1609516"/>
              <a:gd name="csY872" fmla="*/ 336118 h 1538630"/>
              <a:gd name="csX873" fmla="*/ 115226 w 1609516"/>
              <a:gd name="csY873" fmla="*/ 340394 h 1538630"/>
              <a:gd name="csX874" fmla="*/ 114010 w 1609516"/>
              <a:gd name="csY874" fmla="*/ 340120 h 1538630"/>
              <a:gd name="csX875" fmla="*/ 133285 w 1609516"/>
              <a:gd name="csY875" fmla="*/ 357423 h 1538630"/>
              <a:gd name="csX876" fmla="*/ 173509 w 1609516"/>
              <a:gd name="csY876" fmla="*/ 389571 h 1538630"/>
              <a:gd name="csX877" fmla="*/ 181711 w 1609516"/>
              <a:gd name="csY877" fmla="*/ 393270 h 1538630"/>
              <a:gd name="csX878" fmla="*/ 185507 w 1609516"/>
              <a:gd name="csY878" fmla="*/ 394976 h 1538630"/>
              <a:gd name="csX879" fmla="*/ 192658 w 1609516"/>
              <a:gd name="csY879" fmla="*/ 398257 h 1538630"/>
              <a:gd name="csX880" fmla="*/ 195966 w 1609516"/>
              <a:gd name="csY880" fmla="*/ 399788 h 1538630"/>
              <a:gd name="csX881" fmla="*/ 198833 w 1609516"/>
              <a:gd name="csY881" fmla="*/ 401131 h 1538630"/>
              <a:gd name="csX882" fmla="*/ 207877 w 1609516"/>
              <a:gd name="csY882" fmla="*/ 403663 h 1538630"/>
              <a:gd name="csX883" fmla="*/ 207877 w 1609516"/>
              <a:gd name="csY883" fmla="*/ 406481 h 1538630"/>
              <a:gd name="csX884" fmla="*/ 248492 w 1609516"/>
              <a:gd name="csY884" fmla="*/ 419428 h 1538630"/>
              <a:gd name="csX885" fmla="*/ 253965 w 1609516"/>
              <a:gd name="csY885" fmla="*/ 421000 h 1538630"/>
              <a:gd name="csX886" fmla="*/ 267237 w 1609516"/>
              <a:gd name="csY886" fmla="*/ 424801 h 1538630"/>
              <a:gd name="csX887" fmla="*/ 267237 w 1609516"/>
              <a:gd name="csY887" fmla="*/ 426451 h 1538630"/>
              <a:gd name="csX888" fmla="*/ 288701 w 1609516"/>
              <a:gd name="csY888" fmla="*/ 429217 h 1538630"/>
              <a:gd name="csX889" fmla="*/ 288701 w 1609516"/>
              <a:gd name="csY889" fmla="*/ 432036 h 1538630"/>
              <a:gd name="csX890" fmla="*/ 327010 w 1609516"/>
              <a:gd name="csY890" fmla="*/ 433628 h 1538630"/>
              <a:gd name="csX891" fmla="*/ 337486 w 1609516"/>
              <a:gd name="csY891" fmla="*/ 433637 h 1538630"/>
              <a:gd name="csX892" fmla="*/ 344229 w 1609516"/>
              <a:gd name="csY892" fmla="*/ 433632 h 1538630"/>
              <a:gd name="csX893" fmla="*/ 350323 w 1609516"/>
              <a:gd name="csY893" fmla="*/ 433627 h 1538630"/>
              <a:gd name="csX894" fmla="*/ 365245 w 1609516"/>
              <a:gd name="csY894" fmla="*/ 432036 h 1538630"/>
              <a:gd name="csX895" fmla="*/ 360797 w 1609516"/>
              <a:gd name="csY895" fmla="*/ 433759 h 1538630"/>
              <a:gd name="csX896" fmla="*/ 365650 w 1609516"/>
              <a:gd name="csY896" fmla="*/ 433257 h 1538630"/>
              <a:gd name="csX897" fmla="*/ 367213 w 1609516"/>
              <a:gd name="csY897" fmla="*/ 429029 h 1538630"/>
              <a:gd name="csX898" fmla="*/ 375188 w 1609516"/>
              <a:gd name="csY898" fmla="*/ 424906 h 1538630"/>
              <a:gd name="csX899" fmla="*/ 404704 w 1609516"/>
              <a:gd name="csY899" fmla="*/ 389571 h 1538630"/>
              <a:gd name="csX900" fmla="*/ 406265 w 1609516"/>
              <a:gd name="csY900" fmla="*/ 388161 h 1538630"/>
              <a:gd name="csX901" fmla="*/ 406559 w 1609516"/>
              <a:gd name="csY901" fmla="*/ 370106 h 1538630"/>
              <a:gd name="csX902" fmla="*/ 406617 w 1609516"/>
              <a:gd name="csY902" fmla="*/ 364973 h 1538630"/>
              <a:gd name="csX903" fmla="*/ 406626 w 1609516"/>
              <a:gd name="csY903" fmla="*/ 360038 h 1538630"/>
              <a:gd name="csX904" fmla="*/ 406645 w 1609516"/>
              <a:gd name="csY904" fmla="*/ 355503 h 1538630"/>
              <a:gd name="csX905" fmla="*/ 403142 w 1609516"/>
              <a:gd name="csY905" fmla="*/ 345885 h 1538630"/>
              <a:gd name="csX906" fmla="*/ 401579 w 1609516"/>
              <a:gd name="csY906" fmla="*/ 338663 h 1538630"/>
              <a:gd name="csX907" fmla="*/ 390938 w 1609516"/>
              <a:gd name="csY907" fmla="*/ 315939 h 1538630"/>
              <a:gd name="csX908" fmla="*/ 388976 w 1609516"/>
              <a:gd name="csY908" fmla="*/ 312762 h 1538630"/>
              <a:gd name="csX909" fmla="*/ 377934 w 1609516"/>
              <a:gd name="csY909" fmla="*/ 297817 h 1538630"/>
              <a:gd name="csX910" fmla="*/ 368775 w 1609516"/>
              <a:gd name="csY910" fmla="*/ 282470 h 1538630"/>
              <a:gd name="csX911" fmla="*/ 359890 w 1609516"/>
              <a:gd name="csY911" fmla="*/ 271284 h 1538630"/>
              <a:gd name="csX912" fmla="*/ 357374 w 1609516"/>
              <a:gd name="csY912" fmla="*/ 268288 h 1538630"/>
              <a:gd name="csX913" fmla="*/ 337533 w 1609516"/>
              <a:gd name="csY913" fmla="*/ 248649 h 1538630"/>
              <a:gd name="csX914" fmla="*/ 335214 w 1609516"/>
              <a:gd name="csY914" fmla="*/ 246369 h 1538630"/>
              <a:gd name="csX915" fmla="*/ 327085 w 1609516"/>
              <a:gd name="csY915" fmla="*/ 242571 h 1538630"/>
              <a:gd name="csX916" fmla="*/ 288785 w 1609516"/>
              <a:gd name="csY916" fmla="*/ 207968 h 1538630"/>
              <a:gd name="csX917" fmla="*/ 286373 w 1609516"/>
              <a:gd name="csY917" fmla="*/ 192544 h 1538630"/>
              <a:gd name="csX918" fmla="*/ 286385 w 1609516"/>
              <a:gd name="csY918" fmla="*/ 189190 h 1538630"/>
              <a:gd name="csX919" fmla="*/ 300042 w 1609516"/>
              <a:gd name="csY919" fmla="*/ 164095 h 1538630"/>
              <a:gd name="csX920" fmla="*/ 302757 w 1609516"/>
              <a:gd name="csY920" fmla="*/ 161381 h 1538630"/>
              <a:gd name="csX921" fmla="*/ 338411 w 1609516"/>
              <a:gd name="csY921" fmla="*/ 152293 h 1538630"/>
              <a:gd name="csX922" fmla="*/ 368482 w 1609516"/>
              <a:gd name="csY922" fmla="*/ 161893 h 1538630"/>
              <a:gd name="csX923" fmla="*/ 371899 w 1609516"/>
              <a:gd name="csY923" fmla="*/ 165505 h 1538630"/>
              <a:gd name="csX924" fmla="*/ 375121 w 1609516"/>
              <a:gd name="csY924" fmla="*/ 168587 h 1538630"/>
              <a:gd name="csX925" fmla="*/ 384982 w 1609516"/>
              <a:gd name="csY925" fmla="*/ 193777 h 1538630"/>
              <a:gd name="csX926" fmla="*/ 390352 w 1609516"/>
              <a:gd name="csY926" fmla="*/ 214563 h 1538630"/>
              <a:gd name="csX927" fmla="*/ 391529 w 1609516"/>
              <a:gd name="csY927" fmla="*/ 217626 h 1538630"/>
              <a:gd name="csX928" fmla="*/ 401579 w 1609516"/>
              <a:gd name="csY928" fmla="*/ 234556 h 1538630"/>
              <a:gd name="csX929" fmla="*/ 401579 w 1609516"/>
              <a:gd name="csY929" fmla="*/ 238784 h 1538630"/>
              <a:gd name="csX930" fmla="*/ 404215 w 1609516"/>
              <a:gd name="csY930" fmla="*/ 239753 h 1538630"/>
              <a:gd name="csX931" fmla="*/ 417811 w 1609516"/>
              <a:gd name="csY931" fmla="*/ 251996 h 1538630"/>
              <a:gd name="csX932" fmla="*/ 426866 w 1609516"/>
              <a:gd name="csY932" fmla="*/ 262300 h 1538630"/>
              <a:gd name="csX933" fmla="*/ 450097 w 1609516"/>
              <a:gd name="csY933" fmla="*/ 287628 h 1538630"/>
              <a:gd name="csX934" fmla="*/ 457425 w 1609516"/>
              <a:gd name="csY934" fmla="*/ 293920 h 1538630"/>
              <a:gd name="csX935" fmla="*/ 460940 w 1609516"/>
              <a:gd name="csY935" fmla="*/ 296562 h 1538630"/>
              <a:gd name="csX936" fmla="*/ 460940 w 1609516"/>
              <a:gd name="csY936" fmla="*/ 300790 h 1538630"/>
              <a:gd name="csX937" fmla="*/ 473437 w 1609516"/>
              <a:gd name="csY937" fmla="*/ 305018 h 1538630"/>
              <a:gd name="csX938" fmla="*/ 473437 w 1609516"/>
              <a:gd name="csY938" fmla="*/ 307836 h 1538630"/>
              <a:gd name="csX939" fmla="*/ 479881 w 1609516"/>
              <a:gd name="csY939" fmla="*/ 309862 h 1538630"/>
              <a:gd name="csX940" fmla="*/ 483505 w 1609516"/>
              <a:gd name="csY940" fmla="*/ 311001 h 1538630"/>
              <a:gd name="csX941" fmla="*/ 548419 w 1609516"/>
              <a:gd name="csY941" fmla="*/ 306427 h 1538630"/>
              <a:gd name="csX942" fmla="*/ 551842 w 1609516"/>
              <a:gd name="csY942" fmla="*/ 305127 h 1538630"/>
              <a:gd name="csX943" fmla="*/ 560232 w 1609516"/>
              <a:gd name="csY943" fmla="*/ 298148 h 1538630"/>
              <a:gd name="csX944" fmla="*/ 562972 w 1609516"/>
              <a:gd name="csY944" fmla="*/ 295252 h 1538630"/>
              <a:gd name="csX945" fmla="*/ 568086 w 1609516"/>
              <a:gd name="csY945" fmla="*/ 289152 h 1538630"/>
              <a:gd name="csX946" fmla="*/ 570289 w 1609516"/>
              <a:gd name="csY946" fmla="*/ 286697 h 1538630"/>
              <a:gd name="csX947" fmla="*/ 573413 w 1609516"/>
              <a:gd name="csY947" fmla="*/ 286697 h 1538630"/>
              <a:gd name="csX948" fmla="*/ 577220 w 1609516"/>
              <a:gd name="csY948" fmla="*/ 257016 h 1538630"/>
              <a:gd name="csX949" fmla="*/ 577235 w 1609516"/>
              <a:gd name="csY949" fmla="*/ 254206 h 1538630"/>
              <a:gd name="csX950" fmla="*/ 569443 w 1609516"/>
              <a:gd name="csY950" fmla="*/ 206049 h 1538630"/>
              <a:gd name="csX951" fmla="*/ 568726 w 1609516"/>
              <a:gd name="csY951" fmla="*/ 200735 h 1538630"/>
              <a:gd name="csX952" fmla="*/ 565602 w 1609516"/>
              <a:gd name="csY952" fmla="*/ 200735 h 1538630"/>
              <a:gd name="csX953" fmla="*/ 559549 w 1609516"/>
              <a:gd name="csY953" fmla="*/ 184441 h 1538630"/>
              <a:gd name="csX954" fmla="*/ 537484 w 1609516"/>
              <a:gd name="csY954" fmla="*/ 159867 h 1538630"/>
              <a:gd name="csX955" fmla="*/ 531235 w 1609516"/>
              <a:gd name="csY955" fmla="*/ 154230 h 1538630"/>
              <a:gd name="csX956" fmla="*/ 531235 w 1609516"/>
              <a:gd name="csY956" fmla="*/ 151412 h 1538630"/>
              <a:gd name="csX957" fmla="*/ 526549 w 1609516"/>
              <a:gd name="csY957" fmla="*/ 150003 h 1538630"/>
              <a:gd name="csX958" fmla="*/ 524304 w 1609516"/>
              <a:gd name="csY958" fmla="*/ 107198 h 1538630"/>
              <a:gd name="csX959" fmla="*/ 547052 w 1609516"/>
              <a:gd name="csY959" fmla="*/ 85972 h 1538630"/>
              <a:gd name="csX960" fmla="*/ 588460 w 1609516"/>
              <a:gd name="csY960" fmla="*/ 83538 h 1538630"/>
              <a:gd name="csX961" fmla="*/ 617152 w 1609516"/>
              <a:gd name="csY961" fmla="*/ 111954 h 1538630"/>
              <a:gd name="csX962" fmla="*/ 617884 w 1609516"/>
              <a:gd name="csY962" fmla="*/ 124175 h 1538630"/>
              <a:gd name="csX963" fmla="*/ 617917 w 1609516"/>
              <a:gd name="csY963" fmla="*/ 127607 h 1538630"/>
              <a:gd name="csX964" fmla="*/ 617919 w 1609516"/>
              <a:gd name="csY964" fmla="*/ 141969 h 1538630"/>
              <a:gd name="csX965" fmla="*/ 630625 w 1609516"/>
              <a:gd name="csY965" fmla="*/ 191311 h 1538630"/>
              <a:gd name="csX966" fmla="*/ 637850 w 1609516"/>
              <a:gd name="csY966" fmla="*/ 205139 h 1538630"/>
              <a:gd name="csX967" fmla="*/ 643708 w 1609516"/>
              <a:gd name="csY967" fmla="*/ 212009 h 1538630"/>
              <a:gd name="csX968" fmla="*/ 647027 w 1609516"/>
              <a:gd name="csY968" fmla="*/ 217645 h 1538630"/>
              <a:gd name="csX969" fmla="*/ 670264 w 1609516"/>
              <a:gd name="csY969" fmla="*/ 241603 h 1538630"/>
              <a:gd name="csX970" fmla="*/ 670264 w 1609516"/>
              <a:gd name="csY970" fmla="*/ 244421 h 1538630"/>
              <a:gd name="csX971" fmla="*/ 675634 w 1609516"/>
              <a:gd name="csY971" fmla="*/ 245742 h 1538630"/>
              <a:gd name="csX972" fmla="*/ 682761 w 1609516"/>
              <a:gd name="csY972" fmla="*/ 248649 h 1538630"/>
              <a:gd name="csX973" fmla="*/ 752092 w 1609516"/>
              <a:gd name="csY973" fmla="*/ 245076 h 1538630"/>
              <a:gd name="csX974" fmla="*/ 758433 w 1609516"/>
              <a:gd name="csY974" fmla="*/ 240485 h 1538630"/>
              <a:gd name="csX975" fmla="*/ 763991 w 1609516"/>
              <a:gd name="csY975" fmla="*/ 238784 h 1538630"/>
              <a:gd name="csX976" fmla="*/ 765315 w 1609516"/>
              <a:gd name="csY976" fmla="*/ 235778 h 1538630"/>
              <a:gd name="csX977" fmla="*/ 770923 w 1609516"/>
              <a:gd name="csY977" fmla="*/ 223459 h 1538630"/>
              <a:gd name="csX978" fmla="*/ 772998 w 1609516"/>
              <a:gd name="csY978" fmla="*/ 218934 h 1538630"/>
              <a:gd name="csX979" fmla="*/ 777562 w 1609516"/>
              <a:gd name="csY979" fmla="*/ 209895 h 1538630"/>
              <a:gd name="csX980" fmla="*/ 781175 w 1609516"/>
              <a:gd name="csY980" fmla="*/ 124637 h 1538630"/>
              <a:gd name="csX981" fmla="*/ 778051 w 1609516"/>
              <a:gd name="csY981" fmla="*/ 124637 h 1538630"/>
              <a:gd name="csX982" fmla="*/ 767116 w 1609516"/>
              <a:gd name="csY982" fmla="*/ 79542 h 1538630"/>
              <a:gd name="csX983" fmla="*/ 793379 w 1609516"/>
              <a:gd name="csY983" fmla="*/ 54000 h 1538630"/>
              <a:gd name="csX984" fmla="*/ 840688 w 1609516"/>
              <a:gd name="csY984" fmla="*/ 55503 h 1538630"/>
              <a:gd name="csX985" fmla="*/ 851470 w 1609516"/>
              <a:gd name="csY985" fmla="*/ 64040 h 1538630"/>
              <a:gd name="csX986" fmla="*/ 853997 w 1609516"/>
              <a:gd name="csY986" fmla="*/ 66529 h 1538630"/>
              <a:gd name="csX987" fmla="*/ 861488 w 1609516"/>
              <a:gd name="csY987" fmla="*/ 82057 h 1538630"/>
              <a:gd name="csX988" fmla="*/ 861937 w 1609516"/>
              <a:gd name="csY988" fmla="*/ 90492 h 1538630"/>
              <a:gd name="csX989" fmla="*/ 863826 w 1609516"/>
              <a:gd name="csY989" fmla="*/ 100715 h 1538630"/>
              <a:gd name="csX990" fmla="*/ 857577 w 1609516"/>
              <a:gd name="csY990" fmla="*/ 121853 h 1538630"/>
              <a:gd name="csX991" fmla="*/ 856015 w 1609516"/>
              <a:gd name="csY991" fmla="*/ 121853 h 1538630"/>
              <a:gd name="csX992" fmla="*/ 855442 w 1609516"/>
              <a:gd name="csY992" fmla="*/ 118919 h 1538630"/>
              <a:gd name="csX993" fmla="*/ 855417 w 1609516"/>
              <a:gd name="csY993" fmla="*/ 118798 h 1538630"/>
              <a:gd name="csX994" fmla="*/ 856157 w 1609516"/>
              <a:gd name="csY994" fmla="*/ 124637 h 1538630"/>
              <a:gd name="csX995" fmla="*/ 850623 w 1609516"/>
              <a:gd name="csY995" fmla="*/ 134701 h 1538630"/>
              <a:gd name="csX996" fmla="*/ 851325 w 1609516"/>
              <a:gd name="csY996" fmla="*/ 135968 h 1538630"/>
              <a:gd name="csX997" fmla="*/ 849886 w 1609516"/>
              <a:gd name="csY997" fmla="*/ 139843 h 1538630"/>
              <a:gd name="csX998" fmla="*/ 847786 w 1609516"/>
              <a:gd name="csY998" fmla="*/ 152889 h 1538630"/>
              <a:gd name="csX999" fmla="*/ 847767 w 1609516"/>
              <a:gd name="csY999" fmla="*/ 157768 h 1538630"/>
              <a:gd name="csX1000" fmla="*/ 847810 w 1609516"/>
              <a:gd name="csY1000" fmla="*/ 162919 h 1538630"/>
              <a:gd name="csX1001" fmla="*/ 847832 w 1609516"/>
              <a:gd name="csY1001" fmla="*/ 168227 h 1538630"/>
              <a:gd name="csX1002" fmla="*/ 850903 w 1609516"/>
              <a:gd name="csY1002" fmla="*/ 209013 h 1538630"/>
              <a:gd name="csX1003" fmla="*/ 852880 w 1609516"/>
              <a:gd name="csY1003" fmla="*/ 224692 h 1538630"/>
              <a:gd name="csX1004" fmla="*/ 854595 w 1609516"/>
              <a:gd name="csY1004" fmla="*/ 224692 h 1538630"/>
              <a:gd name="csX1005" fmla="*/ 856083 w 1609516"/>
              <a:gd name="csY1005" fmla="*/ 227268 h 1538630"/>
              <a:gd name="csX1006" fmla="*/ 879588 w 1609516"/>
              <a:gd name="csY1006" fmla="*/ 247239 h 1538630"/>
              <a:gd name="csX1007" fmla="*/ 885739 w 1609516"/>
              <a:gd name="csY1007" fmla="*/ 249618 h 1538630"/>
              <a:gd name="csX1008" fmla="*/ 890523 w 1609516"/>
              <a:gd name="csY1008" fmla="*/ 251467 h 1538630"/>
              <a:gd name="csX1009" fmla="*/ 890523 w 1609516"/>
              <a:gd name="csY1009" fmla="*/ 254285 h 1538630"/>
              <a:gd name="csX1010" fmla="*/ 920203 w 1609516"/>
              <a:gd name="csY1010" fmla="*/ 261332 h 1538630"/>
              <a:gd name="csX1011" fmla="*/ 920203 w 1609516"/>
              <a:gd name="csY1011" fmla="*/ 262741 h 1538630"/>
              <a:gd name="csX1012" fmla="*/ 910831 w 1609516"/>
              <a:gd name="csY1012" fmla="*/ 262741 h 1538630"/>
              <a:gd name="csX1013" fmla="*/ 910831 w 1609516"/>
              <a:gd name="csY1013" fmla="*/ 262864 h 1538630"/>
              <a:gd name="csX1014" fmla="*/ 927993 w 1609516"/>
              <a:gd name="csY1014" fmla="*/ 264177 h 1538630"/>
              <a:gd name="csX1015" fmla="*/ 939273 w 1609516"/>
              <a:gd name="csY1015" fmla="*/ 265285 h 1538630"/>
              <a:gd name="csX1016" fmla="*/ 940456 w 1609516"/>
              <a:gd name="csY1016" fmla="*/ 265191 h 1538630"/>
              <a:gd name="csX1017" fmla="*/ 991622 w 1609516"/>
              <a:gd name="csY1017" fmla="*/ 242329 h 1538630"/>
              <a:gd name="csX1018" fmla="*/ 1000803 w 1609516"/>
              <a:gd name="csY1018" fmla="*/ 236505 h 1538630"/>
              <a:gd name="csX1019" fmla="*/ 999806 w 1609516"/>
              <a:gd name="csY1019" fmla="*/ 236055 h 1538630"/>
              <a:gd name="csX1020" fmla="*/ 1003126 w 1609516"/>
              <a:gd name="csY1020" fmla="*/ 232851 h 1538630"/>
              <a:gd name="csX1021" fmla="*/ 1029487 w 1609516"/>
              <a:gd name="csY1021" fmla="*/ 205052 h 1538630"/>
              <a:gd name="csX1022" fmla="*/ 1029872 w 1609516"/>
              <a:gd name="csY1022" fmla="*/ 206442 h 1538630"/>
              <a:gd name="csX1023" fmla="*/ 1031614 w 1609516"/>
              <a:gd name="csY1023" fmla="*/ 203719 h 1538630"/>
              <a:gd name="csX1024" fmla="*/ 1038924 w 1609516"/>
              <a:gd name="csY1024" fmla="*/ 192280 h 1538630"/>
              <a:gd name="csX1025" fmla="*/ 1042049 w 1609516"/>
              <a:gd name="csY1025" fmla="*/ 190870 h 1538630"/>
              <a:gd name="csX1026" fmla="*/ 1044294 w 1609516"/>
              <a:gd name="csY1026" fmla="*/ 186026 h 1538630"/>
              <a:gd name="csX1027" fmla="*/ 1051422 w 1609516"/>
              <a:gd name="csY1027" fmla="*/ 178188 h 1538630"/>
              <a:gd name="csX1028" fmla="*/ 1052984 w 1609516"/>
              <a:gd name="csY1028" fmla="*/ 172551 h 1538630"/>
              <a:gd name="csX1029" fmla="*/ 1056108 w 1609516"/>
              <a:gd name="csY1029" fmla="*/ 172551 h 1538630"/>
              <a:gd name="csX1030" fmla="*/ 1059232 w 1609516"/>
              <a:gd name="csY1030" fmla="*/ 162686 h 1538630"/>
              <a:gd name="csX1031" fmla="*/ 1062357 w 1609516"/>
              <a:gd name="csY1031" fmla="*/ 162686 h 1538630"/>
              <a:gd name="csX1032" fmla="*/ 1063162 w 1609516"/>
              <a:gd name="csY1032" fmla="*/ 160258 h 1538630"/>
              <a:gd name="csX1033" fmla="*/ 1073292 w 1609516"/>
              <a:gd name="csY1033" fmla="*/ 140138 h 1538630"/>
              <a:gd name="csX1034" fmla="*/ 1076415 w 1609516"/>
              <a:gd name="csY1034" fmla="*/ 140138 h 1538630"/>
              <a:gd name="csX1035" fmla="*/ 1085294 w 1609516"/>
              <a:gd name="csY1035" fmla="*/ 117569 h 1538630"/>
              <a:gd name="csX1036" fmla="*/ 1087350 w 1609516"/>
              <a:gd name="csY1036" fmla="*/ 113363 h 1538630"/>
              <a:gd name="csX1037" fmla="*/ 1092037 w 1609516"/>
              <a:gd name="csY1037" fmla="*/ 111954 h 1538630"/>
              <a:gd name="csX1038" fmla="*/ 1092623 w 1609516"/>
              <a:gd name="csY1038" fmla="*/ 108695 h 1538630"/>
              <a:gd name="csX1039" fmla="*/ 1096723 w 1609516"/>
              <a:gd name="csY1039" fmla="*/ 100680 h 1538630"/>
              <a:gd name="csX1040" fmla="*/ 1098188 w 1609516"/>
              <a:gd name="csY1040" fmla="*/ 96013 h 1538630"/>
              <a:gd name="csX1041" fmla="*/ 1102288 w 1609516"/>
              <a:gd name="csY1041" fmla="*/ 87029 h 1538630"/>
              <a:gd name="csX1042" fmla="*/ 1104534 w 1609516"/>
              <a:gd name="csY1042" fmla="*/ 61222 h 1538630"/>
              <a:gd name="csX1043" fmla="*/ 1104381 w 1609516"/>
              <a:gd name="csY1043" fmla="*/ 55569 h 1538630"/>
              <a:gd name="csX1044" fmla="*/ 1104397 w 1609516"/>
              <a:gd name="csY1044" fmla="*/ 52335 h 1538630"/>
              <a:gd name="csX1045" fmla="*/ 1104436 w 1609516"/>
              <a:gd name="csY1045" fmla="*/ 48979 h 1538630"/>
              <a:gd name="csX1046" fmla="*/ 1104457 w 1609516"/>
              <a:gd name="csY1046" fmla="*/ 45575 h 1538630"/>
              <a:gd name="csX1047" fmla="*/ 1104534 w 1609516"/>
              <a:gd name="csY1047" fmla="*/ 37265 h 1538630"/>
              <a:gd name="csX1048" fmla="*/ 1107658 w 1609516"/>
              <a:gd name="csY1048" fmla="*/ 37265 h 1538630"/>
              <a:gd name="csX1049" fmla="*/ 1107463 w 1609516"/>
              <a:gd name="csY1049" fmla="*/ 31805 h 1538630"/>
              <a:gd name="csX1050" fmla="*/ 1107658 w 1609516"/>
              <a:gd name="csY1050" fmla="*/ 25991 h 1538630"/>
              <a:gd name="csX1051" fmla="*/ 1110782 w 1609516"/>
              <a:gd name="csY1051" fmla="*/ 23173 h 1538630"/>
              <a:gd name="csX1052" fmla="*/ 1111759 w 1609516"/>
              <a:gd name="csY1052" fmla="*/ 20091 h 1538630"/>
              <a:gd name="csX1053" fmla="*/ 1134507 w 1609516"/>
              <a:gd name="csY1053" fmla="*/ 2828 h 1538630"/>
              <a:gd name="csX1054" fmla="*/ 1155019 w 1609516"/>
              <a:gd name="csY1054" fmla="*/ 35 h 153863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  <a:cxn ang="0">
                <a:pos x="csX170" y="csY170"/>
              </a:cxn>
              <a:cxn ang="0">
                <a:pos x="csX171" y="csY171"/>
              </a:cxn>
              <a:cxn ang="0">
                <a:pos x="csX172" y="csY172"/>
              </a:cxn>
              <a:cxn ang="0">
                <a:pos x="csX173" y="csY173"/>
              </a:cxn>
              <a:cxn ang="0">
                <a:pos x="csX174" y="csY174"/>
              </a:cxn>
              <a:cxn ang="0">
                <a:pos x="csX175" y="csY175"/>
              </a:cxn>
              <a:cxn ang="0">
                <a:pos x="csX176" y="csY176"/>
              </a:cxn>
              <a:cxn ang="0">
                <a:pos x="csX177" y="csY177"/>
              </a:cxn>
              <a:cxn ang="0">
                <a:pos x="csX178" y="csY178"/>
              </a:cxn>
              <a:cxn ang="0">
                <a:pos x="csX179" y="csY179"/>
              </a:cxn>
              <a:cxn ang="0">
                <a:pos x="csX180" y="csY180"/>
              </a:cxn>
              <a:cxn ang="0">
                <a:pos x="csX181" y="csY181"/>
              </a:cxn>
              <a:cxn ang="0">
                <a:pos x="csX182" y="csY182"/>
              </a:cxn>
              <a:cxn ang="0">
                <a:pos x="csX183" y="csY183"/>
              </a:cxn>
              <a:cxn ang="0">
                <a:pos x="csX184" y="csY184"/>
              </a:cxn>
              <a:cxn ang="0">
                <a:pos x="csX185" y="csY185"/>
              </a:cxn>
              <a:cxn ang="0">
                <a:pos x="csX186" y="csY186"/>
              </a:cxn>
              <a:cxn ang="0">
                <a:pos x="csX187" y="csY187"/>
              </a:cxn>
              <a:cxn ang="0">
                <a:pos x="csX188" y="csY188"/>
              </a:cxn>
              <a:cxn ang="0">
                <a:pos x="csX189" y="csY189"/>
              </a:cxn>
              <a:cxn ang="0">
                <a:pos x="csX190" y="csY190"/>
              </a:cxn>
              <a:cxn ang="0">
                <a:pos x="csX191" y="csY191"/>
              </a:cxn>
              <a:cxn ang="0">
                <a:pos x="csX192" y="csY192"/>
              </a:cxn>
              <a:cxn ang="0">
                <a:pos x="csX193" y="csY193"/>
              </a:cxn>
              <a:cxn ang="0">
                <a:pos x="csX194" y="csY194"/>
              </a:cxn>
              <a:cxn ang="0">
                <a:pos x="csX195" y="csY195"/>
              </a:cxn>
              <a:cxn ang="0">
                <a:pos x="csX196" y="csY196"/>
              </a:cxn>
              <a:cxn ang="0">
                <a:pos x="csX197" y="csY197"/>
              </a:cxn>
              <a:cxn ang="0">
                <a:pos x="csX198" y="csY198"/>
              </a:cxn>
              <a:cxn ang="0">
                <a:pos x="csX199" y="csY199"/>
              </a:cxn>
              <a:cxn ang="0">
                <a:pos x="csX200" y="csY200"/>
              </a:cxn>
              <a:cxn ang="0">
                <a:pos x="csX201" y="csY201"/>
              </a:cxn>
              <a:cxn ang="0">
                <a:pos x="csX202" y="csY202"/>
              </a:cxn>
              <a:cxn ang="0">
                <a:pos x="csX203" y="csY203"/>
              </a:cxn>
              <a:cxn ang="0">
                <a:pos x="csX204" y="csY204"/>
              </a:cxn>
              <a:cxn ang="0">
                <a:pos x="csX205" y="csY205"/>
              </a:cxn>
              <a:cxn ang="0">
                <a:pos x="csX206" y="csY206"/>
              </a:cxn>
              <a:cxn ang="0">
                <a:pos x="csX207" y="csY207"/>
              </a:cxn>
              <a:cxn ang="0">
                <a:pos x="csX208" y="csY208"/>
              </a:cxn>
              <a:cxn ang="0">
                <a:pos x="csX209" y="csY209"/>
              </a:cxn>
              <a:cxn ang="0">
                <a:pos x="csX210" y="csY210"/>
              </a:cxn>
              <a:cxn ang="0">
                <a:pos x="csX211" y="csY211"/>
              </a:cxn>
              <a:cxn ang="0">
                <a:pos x="csX212" y="csY212"/>
              </a:cxn>
              <a:cxn ang="0">
                <a:pos x="csX213" y="csY213"/>
              </a:cxn>
              <a:cxn ang="0">
                <a:pos x="csX214" y="csY214"/>
              </a:cxn>
              <a:cxn ang="0">
                <a:pos x="csX215" y="csY215"/>
              </a:cxn>
              <a:cxn ang="0">
                <a:pos x="csX216" y="csY216"/>
              </a:cxn>
              <a:cxn ang="0">
                <a:pos x="csX217" y="csY217"/>
              </a:cxn>
              <a:cxn ang="0">
                <a:pos x="csX218" y="csY218"/>
              </a:cxn>
              <a:cxn ang="0">
                <a:pos x="csX219" y="csY219"/>
              </a:cxn>
              <a:cxn ang="0">
                <a:pos x="csX220" y="csY220"/>
              </a:cxn>
              <a:cxn ang="0">
                <a:pos x="csX221" y="csY221"/>
              </a:cxn>
              <a:cxn ang="0">
                <a:pos x="csX222" y="csY222"/>
              </a:cxn>
              <a:cxn ang="0">
                <a:pos x="csX223" y="csY223"/>
              </a:cxn>
              <a:cxn ang="0">
                <a:pos x="csX224" y="csY224"/>
              </a:cxn>
              <a:cxn ang="0">
                <a:pos x="csX225" y="csY225"/>
              </a:cxn>
              <a:cxn ang="0">
                <a:pos x="csX226" y="csY226"/>
              </a:cxn>
              <a:cxn ang="0">
                <a:pos x="csX227" y="csY227"/>
              </a:cxn>
              <a:cxn ang="0">
                <a:pos x="csX228" y="csY228"/>
              </a:cxn>
              <a:cxn ang="0">
                <a:pos x="csX229" y="csY229"/>
              </a:cxn>
              <a:cxn ang="0">
                <a:pos x="csX230" y="csY230"/>
              </a:cxn>
              <a:cxn ang="0">
                <a:pos x="csX231" y="csY231"/>
              </a:cxn>
              <a:cxn ang="0">
                <a:pos x="csX232" y="csY232"/>
              </a:cxn>
              <a:cxn ang="0">
                <a:pos x="csX233" y="csY233"/>
              </a:cxn>
              <a:cxn ang="0">
                <a:pos x="csX234" y="csY234"/>
              </a:cxn>
              <a:cxn ang="0">
                <a:pos x="csX235" y="csY235"/>
              </a:cxn>
              <a:cxn ang="0">
                <a:pos x="csX236" y="csY236"/>
              </a:cxn>
              <a:cxn ang="0">
                <a:pos x="csX237" y="csY237"/>
              </a:cxn>
              <a:cxn ang="0">
                <a:pos x="csX238" y="csY238"/>
              </a:cxn>
              <a:cxn ang="0">
                <a:pos x="csX239" y="csY239"/>
              </a:cxn>
              <a:cxn ang="0">
                <a:pos x="csX240" y="csY240"/>
              </a:cxn>
              <a:cxn ang="0">
                <a:pos x="csX241" y="csY241"/>
              </a:cxn>
              <a:cxn ang="0">
                <a:pos x="csX242" y="csY242"/>
              </a:cxn>
              <a:cxn ang="0">
                <a:pos x="csX243" y="csY243"/>
              </a:cxn>
              <a:cxn ang="0">
                <a:pos x="csX244" y="csY244"/>
              </a:cxn>
              <a:cxn ang="0">
                <a:pos x="csX245" y="csY245"/>
              </a:cxn>
              <a:cxn ang="0">
                <a:pos x="csX246" y="csY246"/>
              </a:cxn>
              <a:cxn ang="0">
                <a:pos x="csX247" y="csY247"/>
              </a:cxn>
              <a:cxn ang="0">
                <a:pos x="csX248" y="csY248"/>
              </a:cxn>
              <a:cxn ang="0">
                <a:pos x="csX249" y="csY249"/>
              </a:cxn>
              <a:cxn ang="0">
                <a:pos x="csX250" y="csY250"/>
              </a:cxn>
              <a:cxn ang="0">
                <a:pos x="csX251" y="csY251"/>
              </a:cxn>
              <a:cxn ang="0">
                <a:pos x="csX252" y="csY252"/>
              </a:cxn>
              <a:cxn ang="0">
                <a:pos x="csX253" y="csY253"/>
              </a:cxn>
              <a:cxn ang="0">
                <a:pos x="csX254" y="csY254"/>
              </a:cxn>
              <a:cxn ang="0">
                <a:pos x="csX255" y="csY255"/>
              </a:cxn>
              <a:cxn ang="0">
                <a:pos x="csX256" y="csY256"/>
              </a:cxn>
              <a:cxn ang="0">
                <a:pos x="csX257" y="csY257"/>
              </a:cxn>
              <a:cxn ang="0">
                <a:pos x="csX258" y="csY258"/>
              </a:cxn>
              <a:cxn ang="0">
                <a:pos x="csX259" y="csY259"/>
              </a:cxn>
              <a:cxn ang="0">
                <a:pos x="csX260" y="csY260"/>
              </a:cxn>
              <a:cxn ang="0">
                <a:pos x="csX261" y="csY261"/>
              </a:cxn>
              <a:cxn ang="0">
                <a:pos x="csX262" y="csY262"/>
              </a:cxn>
              <a:cxn ang="0">
                <a:pos x="csX263" y="csY263"/>
              </a:cxn>
              <a:cxn ang="0">
                <a:pos x="csX264" y="csY264"/>
              </a:cxn>
              <a:cxn ang="0">
                <a:pos x="csX265" y="csY265"/>
              </a:cxn>
              <a:cxn ang="0">
                <a:pos x="csX266" y="csY266"/>
              </a:cxn>
              <a:cxn ang="0">
                <a:pos x="csX267" y="csY267"/>
              </a:cxn>
              <a:cxn ang="0">
                <a:pos x="csX268" y="csY268"/>
              </a:cxn>
              <a:cxn ang="0">
                <a:pos x="csX269" y="csY269"/>
              </a:cxn>
              <a:cxn ang="0">
                <a:pos x="csX270" y="csY270"/>
              </a:cxn>
              <a:cxn ang="0">
                <a:pos x="csX271" y="csY271"/>
              </a:cxn>
              <a:cxn ang="0">
                <a:pos x="csX272" y="csY272"/>
              </a:cxn>
              <a:cxn ang="0">
                <a:pos x="csX273" y="csY273"/>
              </a:cxn>
              <a:cxn ang="0">
                <a:pos x="csX274" y="csY274"/>
              </a:cxn>
              <a:cxn ang="0">
                <a:pos x="csX275" y="csY275"/>
              </a:cxn>
              <a:cxn ang="0">
                <a:pos x="csX276" y="csY276"/>
              </a:cxn>
              <a:cxn ang="0">
                <a:pos x="csX277" y="csY277"/>
              </a:cxn>
              <a:cxn ang="0">
                <a:pos x="csX278" y="csY278"/>
              </a:cxn>
              <a:cxn ang="0">
                <a:pos x="csX279" y="csY279"/>
              </a:cxn>
              <a:cxn ang="0">
                <a:pos x="csX280" y="csY280"/>
              </a:cxn>
              <a:cxn ang="0">
                <a:pos x="csX281" y="csY281"/>
              </a:cxn>
              <a:cxn ang="0">
                <a:pos x="csX282" y="csY282"/>
              </a:cxn>
              <a:cxn ang="0">
                <a:pos x="csX283" y="csY283"/>
              </a:cxn>
              <a:cxn ang="0">
                <a:pos x="csX284" y="csY284"/>
              </a:cxn>
              <a:cxn ang="0">
                <a:pos x="csX285" y="csY285"/>
              </a:cxn>
              <a:cxn ang="0">
                <a:pos x="csX286" y="csY286"/>
              </a:cxn>
              <a:cxn ang="0">
                <a:pos x="csX287" y="csY287"/>
              </a:cxn>
              <a:cxn ang="0">
                <a:pos x="csX288" y="csY288"/>
              </a:cxn>
              <a:cxn ang="0">
                <a:pos x="csX289" y="csY289"/>
              </a:cxn>
              <a:cxn ang="0">
                <a:pos x="csX290" y="csY290"/>
              </a:cxn>
              <a:cxn ang="0">
                <a:pos x="csX291" y="csY291"/>
              </a:cxn>
              <a:cxn ang="0">
                <a:pos x="csX292" y="csY292"/>
              </a:cxn>
              <a:cxn ang="0">
                <a:pos x="csX293" y="csY293"/>
              </a:cxn>
              <a:cxn ang="0">
                <a:pos x="csX294" y="csY294"/>
              </a:cxn>
              <a:cxn ang="0">
                <a:pos x="csX295" y="csY295"/>
              </a:cxn>
              <a:cxn ang="0">
                <a:pos x="csX296" y="csY296"/>
              </a:cxn>
              <a:cxn ang="0">
                <a:pos x="csX297" y="csY297"/>
              </a:cxn>
              <a:cxn ang="0">
                <a:pos x="csX298" y="csY298"/>
              </a:cxn>
              <a:cxn ang="0">
                <a:pos x="csX299" y="csY299"/>
              </a:cxn>
              <a:cxn ang="0">
                <a:pos x="csX300" y="csY300"/>
              </a:cxn>
              <a:cxn ang="0">
                <a:pos x="csX301" y="csY301"/>
              </a:cxn>
              <a:cxn ang="0">
                <a:pos x="csX302" y="csY302"/>
              </a:cxn>
              <a:cxn ang="0">
                <a:pos x="csX303" y="csY303"/>
              </a:cxn>
              <a:cxn ang="0">
                <a:pos x="csX304" y="csY304"/>
              </a:cxn>
              <a:cxn ang="0">
                <a:pos x="csX305" y="csY305"/>
              </a:cxn>
              <a:cxn ang="0">
                <a:pos x="csX306" y="csY306"/>
              </a:cxn>
              <a:cxn ang="0">
                <a:pos x="csX307" y="csY307"/>
              </a:cxn>
              <a:cxn ang="0">
                <a:pos x="csX308" y="csY308"/>
              </a:cxn>
              <a:cxn ang="0">
                <a:pos x="csX309" y="csY309"/>
              </a:cxn>
              <a:cxn ang="0">
                <a:pos x="csX310" y="csY310"/>
              </a:cxn>
              <a:cxn ang="0">
                <a:pos x="csX311" y="csY311"/>
              </a:cxn>
              <a:cxn ang="0">
                <a:pos x="csX312" y="csY312"/>
              </a:cxn>
              <a:cxn ang="0">
                <a:pos x="csX313" y="csY313"/>
              </a:cxn>
              <a:cxn ang="0">
                <a:pos x="csX314" y="csY314"/>
              </a:cxn>
              <a:cxn ang="0">
                <a:pos x="csX315" y="csY315"/>
              </a:cxn>
              <a:cxn ang="0">
                <a:pos x="csX316" y="csY316"/>
              </a:cxn>
              <a:cxn ang="0">
                <a:pos x="csX317" y="csY317"/>
              </a:cxn>
              <a:cxn ang="0">
                <a:pos x="csX318" y="csY318"/>
              </a:cxn>
              <a:cxn ang="0">
                <a:pos x="csX319" y="csY319"/>
              </a:cxn>
              <a:cxn ang="0">
                <a:pos x="csX320" y="csY320"/>
              </a:cxn>
              <a:cxn ang="0">
                <a:pos x="csX321" y="csY321"/>
              </a:cxn>
              <a:cxn ang="0">
                <a:pos x="csX322" y="csY322"/>
              </a:cxn>
              <a:cxn ang="0">
                <a:pos x="csX323" y="csY323"/>
              </a:cxn>
              <a:cxn ang="0">
                <a:pos x="csX324" y="csY324"/>
              </a:cxn>
              <a:cxn ang="0">
                <a:pos x="csX325" y="csY325"/>
              </a:cxn>
              <a:cxn ang="0">
                <a:pos x="csX326" y="csY326"/>
              </a:cxn>
              <a:cxn ang="0">
                <a:pos x="csX327" y="csY327"/>
              </a:cxn>
              <a:cxn ang="0">
                <a:pos x="csX328" y="csY328"/>
              </a:cxn>
              <a:cxn ang="0">
                <a:pos x="csX329" y="csY329"/>
              </a:cxn>
              <a:cxn ang="0">
                <a:pos x="csX330" y="csY330"/>
              </a:cxn>
              <a:cxn ang="0">
                <a:pos x="csX331" y="csY331"/>
              </a:cxn>
              <a:cxn ang="0">
                <a:pos x="csX332" y="csY332"/>
              </a:cxn>
              <a:cxn ang="0">
                <a:pos x="csX333" y="csY333"/>
              </a:cxn>
              <a:cxn ang="0">
                <a:pos x="csX334" y="csY334"/>
              </a:cxn>
              <a:cxn ang="0">
                <a:pos x="csX335" y="csY335"/>
              </a:cxn>
              <a:cxn ang="0">
                <a:pos x="csX336" y="csY336"/>
              </a:cxn>
              <a:cxn ang="0">
                <a:pos x="csX337" y="csY337"/>
              </a:cxn>
              <a:cxn ang="0">
                <a:pos x="csX338" y="csY338"/>
              </a:cxn>
              <a:cxn ang="0">
                <a:pos x="csX339" y="csY339"/>
              </a:cxn>
              <a:cxn ang="0">
                <a:pos x="csX340" y="csY340"/>
              </a:cxn>
              <a:cxn ang="0">
                <a:pos x="csX341" y="csY341"/>
              </a:cxn>
              <a:cxn ang="0">
                <a:pos x="csX342" y="csY342"/>
              </a:cxn>
              <a:cxn ang="0">
                <a:pos x="csX343" y="csY343"/>
              </a:cxn>
              <a:cxn ang="0">
                <a:pos x="csX344" y="csY344"/>
              </a:cxn>
              <a:cxn ang="0">
                <a:pos x="csX345" y="csY345"/>
              </a:cxn>
              <a:cxn ang="0">
                <a:pos x="csX346" y="csY346"/>
              </a:cxn>
              <a:cxn ang="0">
                <a:pos x="csX347" y="csY347"/>
              </a:cxn>
              <a:cxn ang="0">
                <a:pos x="csX348" y="csY348"/>
              </a:cxn>
              <a:cxn ang="0">
                <a:pos x="csX349" y="csY349"/>
              </a:cxn>
              <a:cxn ang="0">
                <a:pos x="csX350" y="csY350"/>
              </a:cxn>
              <a:cxn ang="0">
                <a:pos x="csX351" y="csY351"/>
              </a:cxn>
              <a:cxn ang="0">
                <a:pos x="csX352" y="csY352"/>
              </a:cxn>
              <a:cxn ang="0">
                <a:pos x="csX353" y="csY353"/>
              </a:cxn>
              <a:cxn ang="0">
                <a:pos x="csX354" y="csY354"/>
              </a:cxn>
              <a:cxn ang="0">
                <a:pos x="csX355" y="csY355"/>
              </a:cxn>
              <a:cxn ang="0">
                <a:pos x="csX356" y="csY356"/>
              </a:cxn>
              <a:cxn ang="0">
                <a:pos x="csX357" y="csY357"/>
              </a:cxn>
              <a:cxn ang="0">
                <a:pos x="csX358" y="csY358"/>
              </a:cxn>
              <a:cxn ang="0">
                <a:pos x="csX359" y="csY359"/>
              </a:cxn>
              <a:cxn ang="0">
                <a:pos x="csX360" y="csY360"/>
              </a:cxn>
              <a:cxn ang="0">
                <a:pos x="csX361" y="csY361"/>
              </a:cxn>
              <a:cxn ang="0">
                <a:pos x="csX362" y="csY362"/>
              </a:cxn>
              <a:cxn ang="0">
                <a:pos x="csX363" y="csY363"/>
              </a:cxn>
              <a:cxn ang="0">
                <a:pos x="csX364" y="csY364"/>
              </a:cxn>
              <a:cxn ang="0">
                <a:pos x="csX365" y="csY365"/>
              </a:cxn>
              <a:cxn ang="0">
                <a:pos x="csX366" y="csY366"/>
              </a:cxn>
              <a:cxn ang="0">
                <a:pos x="csX367" y="csY367"/>
              </a:cxn>
              <a:cxn ang="0">
                <a:pos x="csX368" y="csY368"/>
              </a:cxn>
              <a:cxn ang="0">
                <a:pos x="csX369" y="csY369"/>
              </a:cxn>
              <a:cxn ang="0">
                <a:pos x="csX370" y="csY370"/>
              </a:cxn>
              <a:cxn ang="0">
                <a:pos x="csX371" y="csY371"/>
              </a:cxn>
              <a:cxn ang="0">
                <a:pos x="csX372" y="csY372"/>
              </a:cxn>
              <a:cxn ang="0">
                <a:pos x="csX373" y="csY373"/>
              </a:cxn>
              <a:cxn ang="0">
                <a:pos x="csX374" y="csY374"/>
              </a:cxn>
              <a:cxn ang="0">
                <a:pos x="csX375" y="csY375"/>
              </a:cxn>
              <a:cxn ang="0">
                <a:pos x="csX376" y="csY376"/>
              </a:cxn>
              <a:cxn ang="0">
                <a:pos x="csX377" y="csY377"/>
              </a:cxn>
              <a:cxn ang="0">
                <a:pos x="csX378" y="csY378"/>
              </a:cxn>
              <a:cxn ang="0">
                <a:pos x="csX379" y="csY379"/>
              </a:cxn>
              <a:cxn ang="0">
                <a:pos x="csX380" y="csY380"/>
              </a:cxn>
              <a:cxn ang="0">
                <a:pos x="csX381" y="csY381"/>
              </a:cxn>
              <a:cxn ang="0">
                <a:pos x="csX382" y="csY382"/>
              </a:cxn>
              <a:cxn ang="0">
                <a:pos x="csX383" y="csY383"/>
              </a:cxn>
              <a:cxn ang="0">
                <a:pos x="csX384" y="csY384"/>
              </a:cxn>
              <a:cxn ang="0">
                <a:pos x="csX385" y="csY385"/>
              </a:cxn>
              <a:cxn ang="0">
                <a:pos x="csX386" y="csY386"/>
              </a:cxn>
              <a:cxn ang="0">
                <a:pos x="csX387" y="csY387"/>
              </a:cxn>
              <a:cxn ang="0">
                <a:pos x="csX388" y="csY388"/>
              </a:cxn>
              <a:cxn ang="0">
                <a:pos x="csX389" y="csY389"/>
              </a:cxn>
              <a:cxn ang="0">
                <a:pos x="csX390" y="csY390"/>
              </a:cxn>
              <a:cxn ang="0">
                <a:pos x="csX391" y="csY391"/>
              </a:cxn>
              <a:cxn ang="0">
                <a:pos x="csX392" y="csY392"/>
              </a:cxn>
              <a:cxn ang="0">
                <a:pos x="csX393" y="csY393"/>
              </a:cxn>
              <a:cxn ang="0">
                <a:pos x="csX394" y="csY394"/>
              </a:cxn>
              <a:cxn ang="0">
                <a:pos x="csX395" y="csY395"/>
              </a:cxn>
              <a:cxn ang="0">
                <a:pos x="csX396" y="csY396"/>
              </a:cxn>
              <a:cxn ang="0">
                <a:pos x="csX397" y="csY397"/>
              </a:cxn>
              <a:cxn ang="0">
                <a:pos x="csX398" y="csY398"/>
              </a:cxn>
              <a:cxn ang="0">
                <a:pos x="csX399" y="csY399"/>
              </a:cxn>
              <a:cxn ang="0">
                <a:pos x="csX400" y="csY400"/>
              </a:cxn>
              <a:cxn ang="0">
                <a:pos x="csX401" y="csY401"/>
              </a:cxn>
              <a:cxn ang="0">
                <a:pos x="csX402" y="csY402"/>
              </a:cxn>
              <a:cxn ang="0">
                <a:pos x="csX403" y="csY403"/>
              </a:cxn>
              <a:cxn ang="0">
                <a:pos x="csX404" y="csY404"/>
              </a:cxn>
              <a:cxn ang="0">
                <a:pos x="csX405" y="csY405"/>
              </a:cxn>
              <a:cxn ang="0">
                <a:pos x="csX406" y="csY406"/>
              </a:cxn>
              <a:cxn ang="0">
                <a:pos x="csX407" y="csY407"/>
              </a:cxn>
              <a:cxn ang="0">
                <a:pos x="csX408" y="csY408"/>
              </a:cxn>
              <a:cxn ang="0">
                <a:pos x="csX409" y="csY409"/>
              </a:cxn>
              <a:cxn ang="0">
                <a:pos x="csX410" y="csY410"/>
              </a:cxn>
              <a:cxn ang="0">
                <a:pos x="csX411" y="csY411"/>
              </a:cxn>
              <a:cxn ang="0">
                <a:pos x="csX412" y="csY412"/>
              </a:cxn>
              <a:cxn ang="0">
                <a:pos x="csX413" y="csY413"/>
              </a:cxn>
              <a:cxn ang="0">
                <a:pos x="csX414" y="csY414"/>
              </a:cxn>
              <a:cxn ang="0">
                <a:pos x="csX415" y="csY415"/>
              </a:cxn>
              <a:cxn ang="0">
                <a:pos x="csX416" y="csY416"/>
              </a:cxn>
              <a:cxn ang="0">
                <a:pos x="csX417" y="csY417"/>
              </a:cxn>
              <a:cxn ang="0">
                <a:pos x="csX418" y="csY418"/>
              </a:cxn>
              <a:cxn ang="0">
                <a:pos x="csX419" y="csY419"/>
              </a:cxn>
              <a:cxn ang="0">
                <a:pos x="csX420" y="csY420"/>
              </a:cxn>
              <a:cxn ang="0">
                <a:pos x="csX421" y="csY421"/>
              </a:cxn>
              <a:cxn ang="0">
                <a:pos x="csX422" y="csY422"/>
              </a:cxn>
              <a:cxn ang="0">
                <a:pos x="csX423" y="csY423"/>
              </a:cxn>
              <a:cxn ang="0">
                <a:pos x="csX424" y="csY424"/>
              </a:cxn>
              <a:cxn ang="0">
                <a:pos x="csX425" y="csY425"/>
              </a:cxn>
              <a:cxn ang="0">
                <a:pos x="csX426" y="csY426"/>
              </a:cxn>
              <a:cxn ang="0">
                <a:pos x="csX427" y="csY427"/>
              </a:cxn>
              <a:cxn ang="0">
                <a:pos x="csX428" y="csY428"/>
              </a:cxn>
              <a:cxn ang="0">
                <a:pos x="csX429" y="csY429"/>
              </a:cxn>
              <a:cxn ang="0">
                <a:pos x="csX430" y="csY430"/>
              </a:cxn>
              <a:cxn ang="0">
                <a:pos x="csX431" y="csY431"/>
              </a:cxn>
              <a:cxn ang="0">
                <a:pos x="csX432" y="csY432"/>
              </a:cxn>
              <a:cxn ang="0">
                <a:pos x="csX433" y="csY433"/>
              </a:cxn>
              <a:cxn ang="0">
                <a:pos x="csX434" y="csY434"/>
              </a:cxn>
              <a:cxn ang="0">
                <a:pos x="csX435" y="csY435"/>
              </a:cxn>
              <a:cxn ang="0">
                <a:pos x="csX436" y="csY436"/>
              </a:cxn>
              <a:cxn ang="0">
                <a:pos x="csX437" y="csY437"/>
              </a:cxn>
              <a:cxn ang="0">
                <a:pos x="csX438" y="csY438"/>
              </a:cxn>
              <a:cxn ang="0">
                <a:pos x="csX439" y="csY439"/>
              </a:cxn>
              <a:cxn ang="0">
                <a:pos x="csX440" y="csY440"/>
              </a:cxn>
              <a:cxn ang="0">
                <a:pos x="csX441" y="csY441"/>
              </a:cxn>
              <a:cxn ang="0">
                <a:pos x="csX442" y="csY442"/>
              </a:cxn>
              <a:cxn ang="0">
                <a:pos x="csX443" y="csY443"/>
              </a:cxn>
              <a:cxn ang="0">
                <a:pos x="csX444" y="csY444"/>
              </a:cxn>
              <a:cxn ang="0">
                <a:pos x="csX445" y="csY445"/>
              </a:cxn>
              <a:cxn ang="0">
                <a:pos x="csX446" y="csY446"/>
              </a:cxn>
              <a:cxn ang="0">
                <a:pos x="csX447" y="csY447"/>
              </a:cxn>
              <a:cxn ang="0">
                <a:pos x="csX448" y="csY448"/>
              </a:cxn>
              <a:cxn ang="0">
                <a:pos x="csX449" y="csY449"/>
              </a:cxn>
              <a:cxn ang="0">
                <a:pos x="csX450" y="csY450"/>
              </a:cxn>
              <a:cxn ang="0">
                <a:pos x="csX451" y="csY451"/>
              </a:cxn>
              <a:cxn ang="0">
                <a:pos x="csX452" y="csY452"/>
              </a:cxn>
              <a:cxn ang="0">
                <a:pos x="csX453" y="csY453"/>
              </a:cxn>
              <a:cxn ang="0">
                <a:pos x="csX454" y="csY454"/>
              </a:cxn>
              <a:cxn ang="0">
                <a:pos x="csX455" y="csY455"/>
              </a:cxn>
              <a:cxn ang="0">
                <a:pos x="csX456" y="csY456"/>
              </a:cxn>
              <a:cxn ang="0">
                <a:pos x="csX457" y="csY457"/>
              </a:cxn>
              <a:cxn ang="0">
                <a:pos x="csX458" y="csY458"/>
              </a:cxn>
              <a:cxn ang="0">
                <a:pos x="csX459" y="csY459"/>
              </a:cxn>
              <a:cxn ang="0">
                <a:pos x="csX460" y="csY460"/>
              </a:cxn>
              <a:cxn ang="0">
                <a:pos x="csX461" y="csY461"/>
              </a:cxn>
              <a:cxn ang="0">
                <a:pos x="csX462" y="csY462"/>
              </a:cxn>
              <a:cxn ang="0">
                <a:pos x="csX463" y="csY463"/>
              </a:cxn>
              <a:cxn ang="0">
                <a:pos x="csX464" y="csY464"/>
              </a:cxn>
              <a:cxn ang="0">
                <a:pos x="csX465" y="csY465"/>
              </a:cxn>
              <a:cxn ang="0">
                <a:pos x="csX466" y="csY466"/>
              </a:cxn>
              <a:cxn ang="0">
                <a:pos x="csX467" y="csY467"/>
              </a:cxn>
              <a:cxn ang="0">
                <a:pos x="csX468" y="csY468"/>
              </a:cxn>
              <a:cxn ang="0">
                <a:pos x="csX469" y="csY469"/>
              </a:cxn>
              <a:cxn ang="0">
                <a:pos x="csX470" y="csY470"/>
              </a:cxn>
              <a:cxn ang="0">
                <a:pos x="csX471" y="csY471"/>
              </a:cxn>
              <a:cxn ang="0">
                <a:pos x="csX472" y="csY472"/>
              </a:cxn>
              <a:cxn ang="0">
                <a:pos x="csX473" y="csY473"/>
              </a:cxn>
              <a:cxn ang="0">
                <a:pos x="csX474" y="csY474"/>
              </a:cxn>
              <a:cxn ang="0">
                <a:pos x="csX475" y="csY475"/>
              </a:cxn>
              <a:cxn ang="0">
                <a:pos x="csX476" y="csY476"/>
              </a:cxn>
              <a:cxn ang="0">
                <a:pos x="csX477" y="csY477"/>
              </a:cxn>
              <a:cxn ang="0">
                <a:pos x="csX478" y="csY478"/>
              </a:cxn>
              <a:cxn ang="0">
                <a:pos x="csX479" y="csY479"/>
              </a:cxn>
              <a:cxn ang="0">
                <a:pos x="csX480" y="csY480"/>
              </a:cxn>
              <a:cxn ang="0">
                <a:pos x="csX481" y="csY481"/>
              </a:cxn>
              <a:cxn ang="0">
                <a:pos x="csX482" y="csY482"/>
              </a:cxn>
              <a:cxn ang="0">
                <a:pos x="csX483" y="csY483"/>
              </a:cxn>
              <a:cxn ang="0">
                <a:pos x="csX484" y="csY484"/>
              </a:cxn>
              <a:cxn ang="0">
                <a:pos x="csX485" y="csY485"/>
              </a:cxn>
              <a:cxn ang="0">
                <a:pos x="csX486" y="csY486"/>
              </a:cxn>
              <a:cxn ang="0">
                <a:pos x="csX487" y="csY487"/>
              </a:cxn>
              <a:cxn ang="0">
                <a:pos x="csX488" y="csY488"/>
              </a:cxn>
              <a:cxn ang="0">
                <a:pos x="csX489" y="csY489"/>
              </a:cxn>
              <a:cxn ang="0">
                <a:pos x="csX490" y="csY490"/>
              </a:cxn>
              <a:cxn ang="0">
                <a:pos x="csX491" y="csY491"/>
              </a:cxn>
              <a:cxn ang="0">
                <a:pos x="csX492" y="csY492"/>
              </a:cxn>
              <a:cxn ang="0">
                <a:pos x="csX493" y="csY493"/>
              </a:cxn>
              <a:cxn ang="0">
                <a:pos x="csX494" y="csY494"/>
              </a:cxn>
              <a:cxn ang="0">
                <a:pos x="csX495" y="csY495"/>
              </a:cxn>
              <a:cxn ang="0">
                <a:pos x="csX496" y="csY496"/>
              </a:cxn>
              <a:cxn ang="0">
                <a:pos x="csX497" y="csY497"/>
              </a:cxn>
              <a:cxn ang="0">
                <a:pos x="csX498" y="csY498"/>
              </a:cxn>
              <a:cxn ang="0">
                <a:pos x="csX499" y="csY499"/>
              </a:cxn>
              <a:cxn ang="0">
                <a:pos x="csX500" y="csY500"/>
              </a:cxn>
              <a:cxn ang="0">
                <a:pos x="csX501" y="csY501"/>
              </a:cxn>
              <a:cxn ang="0">
                <a:pos x="csX502" y="csY502"/>
              </a:cxn>
              <a:cxn ang="0">
                <a:pos x="csX503" y="csY503"/>
              </a:cxn>
              <a:cxn ang="0">
                <a:pos x="csX504" y="csY504"/>
              </a:cxn>
              <a:cxn ang="0">
                <a:pos x="csX505" y="csY505"/>
              </a:cxn>
              <a:cxn ang="0">
                <a:pos x="csX506" y="csY506"/>
              </a:cxn>
              <a:cxn ang="0">
                <a:pos x="csX507" y="csY507"/>
              </a:cxn>
              <a:cxn ang="0">
                <a:pos x="csX508" y="csY508"/>
              </a:cxn>
              <a:cxn ang="0">
                <a:pos x="csX509" y="csY509"/>
              </a:cxn>
              <a:cxn ang="0">
                <a:pos x="csX510" y="csY510"/>
              </a:cxn>
              <a:cxn ang="0">
                <a:pos x="csX511" y="csY511"/>
              </a:cxn>
              <a:cxn ang="0">
                <a:pos x="csX512" y="csY512"/>
              </a:cxn>
              <a:cxn ang="0">
                <a:pos x="csX513" y="csY513"/>
              </a:cxn>
              <a:cxn ang="0">
                <a:pos x="csX514" y="csY514"/>
              </a:cxn>
              <a:cxn ang="0">
                <a:pos x="csX515" y="csY515"/>
              </a:cxn>
              <a:cxn ang="0">
                <a:pos x="csX516" y="csY516"/>
              </a:cxn>
              <a:cxn ang="0">
                <a:pos x="csX517" y="csY517"/>
              </a:cxn>
              <a:cxn ang="0">
                <a:pos x="csX518" y="csY518"/>
              </a:cxn>
              <a:cxn ang="0">
                <a:pos x="csX519" y="csY519"/>
              </a:cxn>
              <a:cxn ang="0">
                <a:pos x="csX520" y="csY520"/>
              </a:cxn>
              <a:cxn ang="0">
                <a:pos x="csX521" y="csY521"/>
              </a:cxn>
              <a:cxn ang="0">
                <a:pos x="csX522" y="csY522"/>
              </a:cxn>
              <a:cxn ang="0">
                <a:pos x="csX523" y="csY523"/>
              </a:cxn>
              <a:cxn ang="0">
                <a:pos x="csX524" y="csY524"/>
              </a:cxn>
              <a:cxn ang="0">
                <a:pos x="csX525" y="csY525"/>
              </a:cxn>
              <a:cxn ang="0">
                <a:pos x="csX526" y="csY526"/>
              </a:cxn>
              <a:cxn ang="0">
                <a:pos x="csX527" y="csY527"/>
              </a:cxn>
              <a:cxn ang="0">
                <a:pos x="csX528" y="csY528"/>
              </a:cxn>
              <a:cxn ang="0">
                <a:pos x="csX529" y="csY529"/>
              </a:cxn>
              <a:cxn ang="0">
                <a:pos x="csX530" y="csY530"/>
              </a:cxn>
              <a:cxn ang="0">
                <a:pos x="csX531" y="csY531"/>
              </a:cxn>
              <a:cxn ang="0">
                <a:pos x="csX532" y="csY532"/>
              </a:cxn>
              <a:cxn ang="0">
                <a:pos x="csX533" y="csY533"/>
              </a:cxn>
              <a:cxn ang="0">
                <a:pos x="csX534" y="csY534"/>
              </a:cxn>
              <a:cxn ang="0">
                <a:pos x="csX535" y="csY535"/>
              </a:cxn>
              <a:cxn ang="0">
                <a:pos x="csX536" y="csY536"/>
              </a:cxn>
              <a:cxn ang="0">
                <a:pos x="csX537" y="csY537"/>
              </a:cxn>
              <a:cxn ang="0">
                <a:pos x="csX538" y="csY538"/>
              </a:cxn>
              <a:cxn ang="0">
                <a:pos x="csX539" y="csY539"/>
              </a:cxn>
              <a:cxn ang="0">
                <a:pos x="csX540" y="csY540"/>
              </a:cxn>
              <a:cxn ang="0">
                <a:pos x="csX541" y="csY541"/>
              </a:cxn>
              <a:cxn ang="0">
                <a:pos x="csX542" y="csY542"/>
              </a:cxn>
              <a:cxn ang="0">
                <a:pos x="csX543" y="csY543"/>
              </a:cxn>
              <a:cxn ang="0">
                <a:pos x="csX544" y="csY544"/>
              </a:cxn>
              <a:cxn ang="0">
                <a:pos x="csX545" y="csY545"/>
              </a:cxn>
              <a:cxn ang="0">
                <a:pos x="csX546" y="csY546"/>
              </a:cxn>
              <a:cxn ang="0">
                <a:pos x="csX547" y="csY547"/>
              </a:cxn>
              <a:cxn ang="0">
                <a:pos x="csX548" y="csY548"/>
              </a:cxn>
              <a:cxn ang="0">
                <a:pos x="csX549" y="csY549"/>
              </a:cxn>
              <a:cxn ang="0">
                <a:pos x="csX550" y="csY550"/>
              </a:cxn>
              <a:cxn ang="0">
                <a:pos x="csX551" y="csY551"/>
              </a:cxn>
              <a:cxn ang="0">
                <a:pos x="csX552" y="csY552"/>
              </a:cxn>
              <a:cxn ang="0">
                <a:pos x="csX553" y="csY553"/>
              </a:cxn>
              <a:cxn ang="0">
                <a:pos x="csX554" y="csY554"/>
              </a:cxn>
              <a:cxn ang="0">
                <a:pos x="csX555" y="csY555"/>
              </a:cxn>
              <a:cxn ang="0">
                <a:pos x="csX556" y="csY556"/>
              </a:cxn>
              <a:cxn ang="0">
                <a:pos x="csX557" y="csY557"/>
              </a:cxn>
              <a:cxn ang="0">
                <a:pos x="csX558" y="csY558"/>
              </a:cxn>
              <a:cxn ang="0">
                <a:pos x="csX559" y="csY559"/>
              </a:cxn>
              <a:cxn ang="0">
                <a:pos x="csX560" y="csY560"/>
              </a:cxn>
              <a:cxn ang="0">
                <a:pos x="csX561" y="csY561"/>
              </a:cxn>
              <a:cxn ang="0">
                <a:pos x="csX562" y="csY562"/>
              </a:cxn>
              <a:cxn ang="0">
                <a:pos x="csX563" y="csY563"/>
              </a:cxn>
              <a:cxn ang="0">
                <a:pos x="csX564" y="csY564"/>
              </a:cxn>
              <a:cxn ang="0">
                <a:pos x="csX565" y="csY565"/>
              </a:cxn>
              <a:cxn ang="0">
                <a:pos x="csX566" y="csY566"/>
              </a:cxn>
              <a:cxn ang="0">
                <a:pos x="csX567" y="csY567"/>
              </a:cxn>
              <a:cxn ang="0">
                <a:pos x="csX568" y="csY568"/>
              </a:cxn>
              <a:cxn ang="0">
                <a:pos x="csX569" y="csY569"/>
              </a:cxn>
              <a:cxn ang="0">
                <a:pos x="csX570" y="csY570"/>
              </a:cxn>
              <a:cxn ang="0">
                <a:pos x="csX571" y="csY571"/>
              </a:cxn>
              <a:cxn ang="0">
                <a:pos x="csX572" y="csY572"/>
              </a:cxn>
              <a:cxn ang="0">
                <a:pos x="csX573" y="csY573"/>
              </a:cxn>
              <a:cxn ang="0">
                <a:pos x="csX574" y="csY574"/>
              </a:cxn>
              <a:cxn ang="0">
                <a:pos x="csX575" y="csY575"/>
              </a:cxn>
              <a:cxn ang="0">
                <a:pos x="csX576" y="csY576"/>
              </a:cxn>
              <a:cxn ang="0">
                <a:pos x="csX577" y="csY577"/>
              </a:cxn>
              <a:cxn ang="0">
                <a:pos x="csX578" y="csY578"/>
              </a:cxn>
              <a:cxn ang="0">
                <a:pos x="csX579" y="csY579"/>
              </a:cxn>
              <a:cxn ang="0">
                <a:pos x="csX580" y="csY580"/>
              </a:cxn>
              <a:cxn ang="0">
                <a:pos x="csX581" y="csY581"/>
              </a:cxn>
              <a:cxn ang="0">
                <a:pos x="csX582" y="csY582"/>
              </a:cxn>
              <a:cxn ang="0">
                <a:pos x="csX583" y="csY583"/>
              </a:cxn>
              <a:cxn ang="0">
                <a:pos x="csX584" y="csY584"/>
              </a:cxn>
              <a:cxn ang="0">
                <a:pos x="csX585" y="csY585"/>
              </a:cxn>
              <a:cxn ang="0">
                <a:pos x="csX586" y="csY586"/>
              </a:cxn>
              <a:cxn ang="0">
                <a:pos x="csX587" y="csY587"/>
              </a:cxn>
              <a:cxn ang="0">
                <a:pos x="csX588" y="csY588"/>
              </a:cxn>
              <a:cxn ang="0">
                <a:pos x="csX589" y="csY589"/>
              </a:cxn>
              <a:cxn ang="0">
                <a:pos x="csX590" y="csY590"/>
              </a:cxn>
              <a:cxn ang="0">
                <a:pos x="csX591" y="csY591"/>
              </a:cxn>
              <a:cxn ang="0">
                <a:pos x="csX592" y="csY592"/>
              </a:cxn>
              <a:cxn ang="0">
                <a:pos x="csX593" y="csY593"/>
              </a:cxn>
              <a:cxn ang="0">
                <a:pos x="csX594" y="csY594"/>
              </a:cxn>
              <a:cxn ang="0">
                <a:pos x="csX595" y="csY595"/>
              </a:cxn>
              <a:cxn ang="0">
                <a:pos x="csX596" y="csY596"/>
              </a:cxn>
              <a:cxn ang="0">
                <a:pos x="csX597" y="csY597"/>
              </a:cxn>
              <a:cxn ang="0">
                <a:pos x="csX598" y="csY598"/>
              </a:cxn>
              <a:cxn ang="0">
                <a:pos x="csX599" y="csY599"/>
              </a:cxn>
              <a:cxn ang="0">
                <a:pos x="csX600" y="csY600"/>
              </a:cxn>
              <a:cxn ang="0">
                <a:pos x="csX601" y="csY601"/>
              </a:cxn>
              <a:cxn ang="0">
                <a:pos x="csX602" y="csY602"/>
              </a:cxn>
              <a:cxn ang="0">
                <a:pos x="csX603" y="csY603"/>
              </a:cxn>
              <a:cxn ang="0">
                <a:pos x="csX604" y="csY604"/>
              </a:cxn>
              <a:cxn ang="0">
                <a:pos x="csX605" y="csY605"/>
              </a:cxn>
              <a:cxn ang="0">
                <a:pos x="csX606" y="csY606"/>
              </a:cxn>
              <a:cxn ang="0">
                <a:pos x="csX607" y="csY607"/>
              </a:cxn>
              <a:cxn ang="0">
                <a:pos x="csX608" y="csY608"/>
              </a:cxn>
              <a:cxn ang="0">
                <a:pos x="csX609" y="csY609"/>
              </a:cxn>
              <a:cxn ang="0">
                <a:pos x="csX610" y="csY610"/>
              </a:cxn>
              <a:cxn ang="0">
                <a:pos x="csX611" y="csY611"/>
              </a:cxn>
              <a:cxn ang="0">
                <a:pos x="csX612" y="csY612"/>
              </a:cxn>
              <a:cxn ang="0">
                <a:pos x="csX613" y="csY613"/>
              </a:cxn>
              <a:cxn ang="0">
                <a:pos x="csX614" y="csY614"/>
              </a:cxn>
              <a:cxn ang="0">
                <a:pos x="csX615" y="csY615"/>
              </a:cxn>
              <a:cxn ang="0">
                <a:pos x="csX616" y="csY616"/>
              </a:cxn>
              <a:cxn ang="0">
                <a:pos x="csX617" y="csY617"/>
              </a:cxn>
              <a:cxn ang="0">
                <a:pos x="csX618" y="csY618"/>
              </a:cxn>
              <a:cxn ang="0">
                <a:pos x="csX619" y="csY619"/>
              </a:cxn>
              <a:cxn ang="0">
                <a:pos x="csX620" y="csY620"/>
              </a:cxn>
              <a:cxn ang="0">
                <a:pos x="csX621" y="csY621"/>
              </a:cxn>
              <a:cxn ang="0">
                <a:pos x="csX622" y="csY622"/>
              </a:cxn>
              <a:cxn ang="0">
                <a:pos x="csX623" y="csY623"/>
              </a:cxn>
              <a:cxn ang="0">
                <a:pos x="csX624" y="csY624"/>
              </a:cxn>
              <a:cxn ang="0">
                <a:pos x="csX625" y="csY625"/>
              </a:cxn>
              <a:cxn ang="0">
                <a:pos x="csX626" y="csY626"/>
              </a:cxn>
              <a:cxn ang="0">
                <a:pos x="csX627" y="csY627"/>
              </a:cxn>
              <a:cxn ang="0">
                <a:pos x="csX628" y="csY628"/>
              </a:cxn>
              <a:cxn ang="0">
                <a:pos x="csX629" y="csY629"/>
              </a:cxn>
              <a:cxn ang="0">
                <a:pos x="csX630" y="csY630"/>
              </a:cxn>
              <a:cxn ang="0">
                <a:pos x="csX631" y="csY631"/>
              </a:cxn>
              <a:cxn ang="0">
                <a:pos x="csX632" y="csY632"/>
              </a:cxn>
              <a:cxn ang="0">
                <a:pos x="csX633" y="csY633"/>
              </a:cxn>
              <a:cxn ang="0">
                <a:pos x="csX634" y="csY634"/>
              </a:cxn>
              <a:cxn ang="0">
                <a:pos x="csX635" y="csY635"/>
              </a:cxn>
              <a:cxn ang="0">
                <a:pos x="csX636" y="csY636"/>
              </a:cxn>
              <a:cxn ang="0">
                <a:pos x="csX637" y="csY637"/>
              </a:cxn>
              <a:cxn ang="0">
                <a:pos x="csX638" y="csY638"/>
              </a:cxn>
              <a:cxn ang="0">
                <a:pos x="csX639" y="csY639"/>
              </a:cxn>
              <a:cxn ang="0">
                <a:pos x="csX640" y="csY640"/>
              </a:cxn>
              <a:cxn ang="0">
                <a:pos x="csX641" y="csY641"/>
              </a:cxn>
              <a:cxn ang="0">
                <a:pos x="csX642" y="csY642"/>
              </a:cxn>
              <a:cxn ang="0">
                <a:pos x="csX643" y="csY643"/>
              </a:cxn>
              <a:cxn ang="0">
                <a:pos x="csX644" y="csY644"/>
              </a:cxn>
              <a:cxn ang="0">
                <a:pos x="csX645" y="csY645"/>
              </a:cxn>
              <a:cxn ang="0">
                <a:pos x="csX646" y="csY646"/>
              </a:cxn>
              <a:cxn ang="0">
                <a:pos x="csX647" y="csY647"/>
              </a:cxn>
              <a:cxn ang="0">
                <a:pos x="csX648" y="csY648"/>
              </a:cxn>
              <a:cxn ang="0">
                <a:pos x="csX649" y="csY649"/>
              </a:cxn>
              <a:cxn ang="0">
                <a:pos x="csX650" y="csY650"/>
              </a:cxn>
              <a:cxn ang="0">
                <a:pos x="csX651" y="csY651"/>
              </a:cxn>
              <a:cxn ang="0">
                <a:pos x="csX652" y="csY652"/>
              </a:cxn>
              <a:cxn ang="0">
                <a:pos x="csX653" y="csY653"/>
              </a:cxn>
              <a:cxn ang="0">
                <a:pos x="csX654" y="csY654"/>
              </a:cxn>
              <a:cxn ang="0">
                <a:pos x="csX655" y="csY655"/>
              </a:cxn>
              <a:cxn ang="0">
                <a:pos x="csX656" y="csY656"/>
              </a:cxn>
              <a:cxn ang="0">
                <a:pos x="csX657" y="csY657"/>
              </a:cxn>
              <a:cxn ang="0">
                <a:pos x="csX658" y="csY658"/>
              </a:cxn>
              <a:cxn ang="0">
                <a:pos x="csX659" y="csY659"/>
              </a:cxn>
              <a:cxn ang="0">
                <a:pos x="csX660" y="csY660"/>
              </a:cxn>
              <a:cxn ang="0">
                <a:pos x="csX661" y="csY661"/>
              </a:cxn>
              <a:cxn ang="0">
                <a:pos x="csX662" y="csY662"/>
              </a:cxn>
              <a:cxn ang="0">
                <a:pos x="csX663" y="csY663"/>
              </a:cxn>
              <a:cxn ang="0">
                <a:pos x="csX664" y="csY664"/>
              </a:cxn>
              <a:cxn ang="0">
                <a:pos x="csX665" y="csY665"/>
              </a:cxn>
              <a:cxn ang="0">
                <a:pos x="csX666" y="csY666"/>
              </a:cxn>
              <a:cxn ang="0">
                <a:pos x="csX667" y="csY667"/>
              </a:cxn>
              <a:cxn ang="0">
                <a:pos x="csX668" y="csY668"/>
              </a:cxn>
              <a:cxn ang="0">
                <a:pos x="csX669" y="csY669"/>
              </a:cxn>
              <a:cxn ang="0">
                <a:pos x="csX670" y="csY670"/>
              </a:cxn>
              <a:cxn ang="0">
                <a:pos x="csX671" y="csY671"/>
              </a:cxn>
              <a:cxn ang="0">
                <a:pos x="csX672" y="csY672"/>
              </a:cxn>
              <a:cxn ang="0">
                <a:pos x="csX673" y="csY673"/>
              </a:cxn>
              <a:cxn ang="0">
                <a:pos x="csX674" y="csY674"/>
              </a:cxn>
              <a:cxn ang="0">
                <a:pos x="csX675" y="csY675"/>
              </a:cxn>
              <a:cxn ang="0">
                <a:pos x="csX676" y="csY676"/>
              </a:cxn>
              <a:cxn ang="0">
                <a:pos x="csX677" y="csY677"/>
              </a:cxn>
              <a:cxn ang="0">
                <a:pos x="csX678" y="csY678"/>
              </a:cxn>
              <a:cxn ang="0">
                <a:pos x="csX679" y="csY679"/>
              </a:cxn>
              <a:cxn ang="0">
                <a:pos x="csX680" y="csY680"/>
              </a:cxn>
              <a:cxn ang="0">
                <a:pos x="csX681" y="csY681"/>
              </a:cxn>
              <a:cxn ang="0">
                <a:pos x="csX682" y="csY682"/>
              </a:cxn>
              <a:cxn ang="0">
                <a:pos x="csX683" y="csY683"/>
              </a:cxn>
              <a:cxn ang="0">
                <a:pos x="csX684" y="csY684"/>
              </a:cxn>
              <a:cxn ang="0">
                <a:pos x="csX685" y="csY685"/>
              </a:cxn>
              <a:cxn ang="0">
                <a:pos x="csX686" y="csY686"/>
              </a:cxn>
              <a:cxn ang="0">
                <a:pos x="csX687" y="csY687"/>
              </a:cxn>
              <a:cxn ang="0">
                <a:pos x="csX688" y="csY688"/>
              </a:cxn>
              <a:cxn ang="0">
                <a:pos x="csX689" y="csY689"/>
              </a:cxn>
              <a:cxn ang="0">
                <a:pos x="csX690" y="csY690"/>
              </a:cxn>
              <a:cxn ang="0">
                <a:pos x="csX691" y="csY691"/>
              </a:cxn>
              <a:cxn ang="0">
                <a:pos x="csX692" y="csY692"/>
              </a:cxn>
              <a:cxn ang="0">
                <a:pos x="csX693" y="csY693"/>
              </a:cxn>
              <a:cxn ang="0">
                <a:pos x="csX694" y="csY694"/>
              </a:cxn>
              <a:cxn ang="0">
                <a:pos x="csX695" y="csY695"/>
              </a:cxn>
              <a:cxn ang="0">
                <a:pos x="csX696" y="csY696"/>
              </a:cxn>
              <a:cxn ang="0">
                <a:pos x="csX697" y="csY697"/>
              </a:cxn>
              <a:cxn ang="0">
                <a:pos x="csX698" y="csY698"/>
              </a:cxn>
              <a:cxn ang="0">
                <a:pos x="csX699" y="csY699"/>
              </a:cxn>
              <a:cxn ang="0">
                <a:pos x="csX700" y="csY700"/>
              </a:cxn>
              <a:cxn ang="0">
                <a:pos x="csX701" y="csY701"/>
              </a:cxn>
              <a:cxn ang="0">
                <a:pos x="csX702" y="csY702"/>
              </a:cxn>
              <a:cxn ang="0">
                <a:pos x="csX703" y="csY703"/>
              </a:cxn>
              <a:cxn ang="0">
                <a:pos x="csX704" y="csY704"/>
              </a:cxn>
              <a:cxn ang="0">
                <a:pos x="csX705" y="csY705"/>
              </a:cxn>
              <a:cxn ang="0">
                <a:pos x="csX706" y="csY706"/>
              </a:cxn>
              <a:cxn ang="0">
                <a:pos x="csX707" y="csY707"/>
              </a:cxn>
              <a:cxn ang="0">
                <a:pos x="csX708" y="csY708"/>
              </a:cxn>
              <a:cxn ang="0">
                <a:pos x="csX709" y="csY709"/>
              </a:cxn>
              <a:cxn ang="0">
                <a:pos x="csX710" y="csY710"/>
              </a:cxn>
              <a:cxn ang="0">
                <a:pos x="csX711" y="csY711"/>
              </a:cxn>
              <a:cxn ang="0">
                <a:pos x="csX712" y="csY712"/>
              </a:cxn>
              <a:cxn ang="0">
                <a:pos x="csX713" y="csY713"/>
              </a:cxn>
              <a:cxn ang="0">
                <a:pos x="csX714" y="csY714"/>
              </a:cxn>
              <a:cxn ang="0">
                <a:pos x="csX715" y="csY715"/>
              </a:cxn>
              <a:cxn ang="0">
                <a:pos x="csX716" y="csY716"/>
              </a:cxn>
              <a:cxn ang="0">
                <a:pos x="csX717" y="csY717"/>
              </a:cxn>
              <a:cxn ang="0">
                <a:pos x="csX718" y="csY718"/>
              </a:cxn>
              <a:cxn ang="0">
                <a:pos x="csX719" y="csY719"/>
              </a:cxn>
              <a:cxn ang="0">
                <a:pos x="csX720" y="csY720"/>
              </a:cxn>
              <a:cxn ang="0">
                <a:pos x="csX721" y="csY721"/>
              </a:cxn>
              <a:cxn ang="0">
                <a:pos x="csX722" y="csY722"/>
              </a:cxn>
              <a:cxn ang="0">
                <a:pos x="csX723" y="csY723"/>
              </a:cxn>
              <a:cxn ang="0">
                <a:pos x="csX724" y="csY724"/>
              </a:cxn>
              <a:cxn ang="0">
                <a:pos x="csX725" y="csY725"/>
              </a:cxn>
              <a:cxn ang="0">
                <a:pos x="csX726" y="csY726"/>
              </a:cxn>
              <a:cxn ang="0">
                <a:pos x="csX727" y="csY727"/>
              </a:cxn>
              <a:cxn ang="0">
                <a:pos x="csX728" y="csY728"/>
              </a:cxn>
              <a:cxn ang="0">
                <a:pos x="csX729" y="csY729"/>
              </a:cxn>
              <a:cxn ang="0">
                <a:pos x="csX730" y="csY730"/>
              </a:cxn>
              <a:cxn ang="0">
                <a:pos x="csX731" y="csY731"/>
              </a:cxn>
              <a:cxn ang="0">
                <a:pos x="csX732" y="csY732"/>
              </a:cxn>
              <a:cxn ang="0">
                <a:pos x="csX733" y="csY733"/>
              </a:cxn>
              <a:cxn ang="0">
                <a:pos x="csX734" y="csY734"/>
              </a:cxn>
              <a:cxn ang="0">
                <a:pos x="csX735" y="csY735"/>
              </a:cxn>
              <a:cxn ang="0">
                <a:pos x="csX736" y="csY736"/>
              </a:cxn>
              <a:cxn ang="0">
                <a:pos x="csX737" y="csY737"/>
              </a:cxn>
              <a:cxn ang="0">
                <a:pos x="csX738" y="csY738"/>
              </a:cxn>
              <a:cxn ang="0">
                <a:pos x="csX739" y="csY739"/>
              </a:cxn>
              <a:cxn ang="0">
                <a:pos x="csX740" y="csY740"/>
              </a:cxn>
              <a:cxn ang="0">
                <a:pos x="csX741" y="csY741"/>
              </a:cxn>
              <a:cxn ang="0">
                <a:pos x="csX742" y="csY742"/>
              </a:cxn>
              <a:cxn ang="0">
                <a:pos x="csX743" y="csY743"/>
              </a:cxn>
              <a:cxn ang="0">
                <a:pos x="csX744" y="csY744"/>
              </a:cxn>
              <a:cxn ang="0">
                <a:pos x="csX745" y="csY745"/>
              </a:cxn>
              <a:cxn ang="0">
                <a:pos x="csX746" y="csY746"/>
              </a:cxn>
              <a:cxn ang="0">
                <a:pos x="csX747" y="csY747"/>
              </a:cxn>
              <a:cxn ang="0">
                <a:pos x="csX748" y="csY748"/>
              </a:cxn>
              <a:cxn ang="0">
                <a:pos x="csX749" y="csY749"/>
              </a:cxn>
              <a:cxn ang="0">
                <a:pos x="csX750" y="csY750"/>
              </a:cxn>
              <a:cxn ang="0">
                <a:pos x="csX751" y="csY751"/>
              </a:cxn>
              <a:cxn ang="0">
                <a:pos x="csX752" y="csY752"/>
              </a:cxn>
              <a:cxn ang="0">
                <a:pos x="csX753" y="csY753"/>
              </a:cxn>
              <a:cxn ang="0">
                <a:pos x="csX754" y="csY754"/>
              </a:cxn>
              <a:cxn ang="0">
                <a:pos x="csX755" y="csY755"/>
              </a:cxn>
              <a:cxn ang="0">
                <a:pos x="csX756" y="csY756"/>
              </a:cxn>
              <a:cxn ang="0">
                <a:pos x="csX757" y="csY757"/>
              </a:cxn>
              <a:cxn ang="0">
                <a:pos x="csX758" y="csY758"/>
              </a:cxn>
              <a:cxn ang="0">
                <a:pos x="csX759" y="csY759"/>
              </a:cxn>
              <a:cxn ang="0">
                <a:pos x="csX760" y="csY760"/>
              </a:cxn>
              <a:cxn ang="0">
                <a:pos x="csX761" y="csY761"/>
              </a:cxn>
              <a:cxn ang="0">
                <a:pos x="csX762" y="csY762"/>
              </a:cxn>
              <a:cxn ang="0">
                <a:pos x="csX763" y="csY763"/>
              </a:cxn>
              <a:cxn ang="0">
                <a:pos x="csX764" y="csY764"/>
              </a:cxn>
              <a:cxn ang="0">
                <a:pos x="csX765" y="csY765"/>
              </a:cxn>
              <a:cxn ang="0">
                <a:pos x="csX766" y="csY766"/>
              </a:cxn>
              <a:cxn ang="0">
                <a:pos x="csX767" y="csY767"/>
              </a:cxn>
              <a:cxn ang="0">
                <a:pos x="csX768" y="csY768"/>
              </a:cxn>
              <a:cxn ang="0">
                <a:pos x="csX769" y="csY769"/>
              </a:cxn>
              <a:cxn ang="0">
                <a:pos x="csX770" y="csY770"/>
              </a:cxn>
              <a:cxn ang="0">
                <a:pos x="csX771" y="csY771"/>
              </a:cxn>
              <a:cxn ang="0">
                <a:pos x="csX772" y="csY772"/>
              </a:cxn>
              <a:cxn ang="0">
                <a:pos x="csX773" y="csY773"/>
              </a:cxn>
              <a:cxn ang="0">
                <a:pos x="csX774" y="csY774"/>
              </a:cxn>
              <a:cxn ang="0">
                <a:pos x="csX775" y="csY775"/>
              </a:cxn>
              <a:cxn ang="0">
                <a:pos x="csX776" y="csY776"/>
              </a:cxn>
              <a:cxn ang="0">
                <a:pos x="csX777" y="csY777"/>
              </a:cxn>
              <a:cxn ang="0">
                <a:pos x="csX778" y="csY778"/>
              </a:cxn>
              <a:cxn ang="0">
                <a:pos x="csX779" y="csY779"/>
              </a:cxn>
              <a:cxn ang="0">
                <a:pos x="csX780" y="csY780"/>
              </a:cxn>
              <a:cxn ang="0">
                <a:pos x="csX781" y="csY781"/>
              </a:cxn>
              <a:cxn ang="0">
                <a:pos x="csX782" y="csY782"/>
              </a:cxn>
              <a:cxn ang="0">
                <a:pos x="csX783" y="csY783"/>
              </a:cxn>
              <a:cxn ang="0">
                <a:pos x="csX784" y="csY784"/>
              </a:cxn>
              <a:cxn ang="0">
                <a:pos x="csX785" y="csY785"/>
              </a:cxn>
              <a:cxn ang="0">
                <a:pos x="csX786" y="csY786"/>
              </a:cxn>
              <a:cxn ang="0">
                <a:pos x="csX787" y="csY787"/>
              </a:cxn>
              <a:cxn ang="0">
                <a:pos x="csX788" y="csY788"/>
              </a:cxn>
              <a:cxn ang="0">
                <a:pos x="csX789" y="csY789"/>
              </a:cxn>
              <a:cxn ang="0">
                <a:pos x="csX790" y="csY790"/>
              </a:cxn>
              <a:cxn ang="0">
                <a:pos x="csX791" y="csY791"/>
              </a:cxn>
              <a:cxn ang="0">
                <a:pos x="csX792" y="csY792"/>
              </a:cxn>
              <a:cxn ang="0">
                <a:pos x="csX793" y="csY793"/>
              </a:cxn>
              <a:cxn ang="0">
                <a:pos x="csX794" y="csY794"/>
              </a:cxn>
              <a:cxn ang="0">
                <a:pos x="csX795" y="csY795"/>
              </a:cxn>
              <a:cxn ang="0">
                <a:pos x="csX796" y="csY796"/>
              </a:cxn>
              <a:cxn ang="0">
                <a:pos x="csX797" y="csY797"/>
              </a:cxn>
              <a:cxn ang="0">
                <a:pos x="csX798" y="csY798"/>
              </a:cxn>
              <a:cxn ang="0">
                <a:pos x="csX799" y="csY799"/>
              </a:cxn>
              <a:cxn ang="0">
                <a:pos x="csX800" y="csY800"/>
              </a:cxn>
              <a:cxn ang="0">
                <a:pos x="csX801" y="csY801"/>
              </a:cxn>
              <a:cxn ang="0">
                <a:pos x="csX802" y="csY802"/>
              </a:cxn>
              <a:cxn ang="0">
                <a:pos x="csX803" y="csY803"/>
              </a:cxn>
              <a:cxn ang="0">
                <a:pos x="csX804" y="csY804"/>
              </a:cxn>
              <a:cxn ang="0">
                <a:pos x="csX805" y="csY805"/>
              </a:cxn>
              <a:cxn ang="0">
                <a:pos x="csX806" y="csY806"/>
              </a:cxn>
              <a:cxn ang="0">
                <a:pos x="csX807" y="csY807"/>
              </a:cxn>
              <a:cxn ang="0">
                <a:pos x="csX808" y="csY808"/>
              </a:cxn>
              <a:cxn ang="0">
                <a:pos x="csX809" y="csY809"/>
              </a:cxn>
              <a:cxn ang="0">
                <a:pos x="csX810" y="csY810"/>
              </a:cxn>
              <a:cxn ang="0">
                <a:pos x="csX811" y="csY811"/>
              </a:cxn>
              <a:cxn ang="0">
                <a:pos x="csX812" y="csY812"/>
              </a:cxn>
              <a:cxn ang="0">
                <a:pos x="csX813" y="csY813"/>
              </a:cxn>
              <a:cxn ang="0">
                <a:pos x="csX814" y="csY814"/>
              </a:cxn>
              <a:cxn ang="0">
                <a:pos x="csX815" y="csY815"/>
              </a:cxn>
              <a:cxn ang="0">
                <a:pos x="csX816" y="csY816"/>
              </a:cxn>
              <a:cxn ang="0">
                <a:pos x="csX817" y="csY817"/>
              </a:cxn>
              <a:cxn ang="0">
                <a:pos x="csX818" y="csY818"/>
              </a:cxn>
              <a:cxn ang="0">
                <a:pos x="csX819" y="csY819"/>
              </a:cxn>
              <a:cxn ang="0">
                <a:pos x="csX820" y="csY820"/>
              </a:cxn>
              <a:cxn ang="0">
                <a:pos x="csX821" y="csY821"/>
              </a:cxn>
              <a:cxn ang="0">
                <a:pos x="csX822" y="csY822"/>
              </a:cxn>
              <a:cxn ang="0">
                <a:pos x="csX823" y="csY823"/>
              </a:cxn>
              <a:cxn ang="0">
                <a:pos x="csX824" y="csY824"/>
              </a:cxn>
              <a:cxn ang="0">
                <a:pos x="csX825" y="csY825"/>
              </a:cxn>
              <a:cxn ang="0">
                <a:pos x="csX826" y="csY826"/>
              </a:cxn>
              <a:cxn ang="0">
                <a:pos x="csX827" y="csY827"/>
              </a:cxn>
              <a:cxn ang="0">
                <a:pos x="csX828" y="csY828"/>
              </a:cxn>
              <a:cxn ang="0">
                <a:pos x="csX829" y="csY829"/>
              </a:cxn>
              <a:cxn ang="0">
                <a:pos x="csX830" y="csY830"/>
              </a:cxn>
              <a:cxn ang="0">
                <a:pos x="csX831" y="csY831"/>
              </a:cxn>
              <a:cxn ang="0">
                <a:pos x="csX832" y="csY832"/>
              </a:cxn>
              <a:cxn ang="0">
                <a:pos x="csX833" y="csY833"/>
              </a:cxn>
              <a:cxn ang="0">
                <a:pos x="csX834" y="csY834"/>
              </a:cxn>
              <a:cxn ang="0">
                <a:pos x="csX835" y="csY835"/>
              </a:cxn>
              <a:cxn ang="0">
                <a:pos x="csX836" y="csY836"/>
              </a:cxn>
              <a:cxn ang="0">
                <a:pos x="csX837" y="csY837"/>
              </a:cxn>
              <a:cxn ang="0">
                <a:pos x="csX838" y="csY838"/>
              </a:cxn>
              <a:cxn ang="0">
                <a:pos x="csX839" y="csY839"/>
              </a:cxn>
              <a:cxn ang="0">
                <a:pos x="csX840" y="csY840"/>
              </a:cxn>
              <a:cxn ang="0">
                <a:pos x="csX841" y="csY841"/>
              </a:cxn>
              <a:cxn ang="0">
                <a:pos x="csX842" y="csY842"/>
              </a:cxn>
              <a:cxn ang="0">
                <a:pos x="csX843" y="csY843"/>
              </a:cxn>
              <a:cxn ang="0">
                <a:pos x="csX844" y="csY844"/>
              </a:cxn>
              <a:cxn ang="0">
                <a:pos x="csX845" y="csY845"/>
              </a:cxn>
              <a:cxn ang="0">
                <a:pos x="csX846" y="csY846"/>
              </a:cxn>
              <a:cxn ang="0">
                <a:pos x="csX847" y="csY847"/>
              </a:cxn>
              <a:cxn ang="0">
                <a:pos x="csX848" y="csY848"/>
              </a:cxn>
              <a:cxn ang="0">
                <a:pos x="csX849" y="csY849"/>
              </a:cxn>
              <a:cxn ang="0">
                <a:pos x="csX850" y="csY850"/>
              </a:cxn>
              <a:cxn ang="0">
                <a:pos x="csX851" y="csY851"/>
              </a:cxn>
              <a:cxn ang="0">
                <a:pos x="csX852" y="csY852"/>
              </a:cxn>
              <a:cxn ang="0">
                <a:pos x="csX853" y="csY853"/>
              </a:cxn>
              <a:cxn ang="0">
                <a:pos x="csX854" y="csY854"/>
              </a:cxn>
              <a:cxn ang="0">
                <a:pos x="csX855" y="csY855"/>
              </a:cxn>
              <a:cxn ang="0">
                <a:pos x="csX856" y="csY856"/>
              </a:cxn>
              <a:cxn ang="0">
                <a:pos x="csX857" y="csY857"/>
              </a:cxn>
              <a:cxn ang="0">
                <a:pos x="csX858" y="csY858"/>
              </a:cxn>
              <a:cxn ang="0">
                <a:pos x="csX859" y="csY859"/>
              </a:cxn>
              <a:cxn ang="0">
                <a:pos x="csX860" y="csY860"/>
              </a:cxn>
              <a:cxn ang="0">
                <a:pos x="csX861" y="csY861"/>
              </a:cxn>
              <a:cxn ang="0">
                <a:pos x="csX862" y="csY862"/>
              </a:cxn>
              <a:cxn ang="0">
                <a:pos x="csX863" y="csY863"/>
              </a:cxn>
              <a:cxn ang="0">
                <a:pos x="csX864" y="csY864"/>
              </a:cxn>
              <a:cxn ang="0">
                <a:pos x="csX865" y="csY865"/>
              </a:cxn>
              <a:cxn ang="0">
                <a:pos x="csX866" y="csY866"/>
              </a:cxn>
              <a:cxn ang="0">
                <a:pos x="csX867" y="csY867"/>
              </a:cxn>
              <a:cxn ang="0">
                <a:pos x="csX868" y="csY868"/>
              </a:cxn>
              <a:cxn ang="0">
                <a:pos x="csX869" y="csY869"/>
              </a:cxn>
              <a:cxn ang="0">
                <a:pos x="csX870" y="csY870"/>
              </a:cxn>
              <a:cxn ang="0">
                <a:pos x="csX871" y="csY871"/>
              </a:cxn>
              <a:cxn ang="0">
                <a:pos x="csX872" y="csY872"/>
              </a:cxn>
              <a:cxn ang="0">
                <a:pos x="csX873" y="csY873"/>
              </a:cxn>
              <a:cxn ang="0">
                <a:pos x="csX874" y="csY874"/>
              </a:cxn>
              <a:cxn ang="0">
                <a:pos x="csX875" y="csY875"/>
              </a:cxn>
              <a:cxn ang="0">
                <a:pos x="csX876" y="csY876"/>
              </a:cxn>
              <a:cxn ang="0">
                <a:pos x="csX877" y="csY877"/>
              </a:cxn>
              <a:cxn ang="0">
                <a:pos x="csX878" y="csY878"/>
              </a:cxn>
              <a:cxn ang="0">
                <a:pos x="csX879" y="csY879"/>
              </a:cxn>
              <a:cxn ang="0">
                <a:pos x="csX880" y="csY880"/>
              </a:cxn>
              <a:cxn ang="0">
                <a:pos x="csX881" y="csY881"/>
              </a:cxn>
              <a:cxn ang="0">
                <a:pos x="csX882" y="csY882"/>
              </a:cxn>
              <a:cxn ang="0">
                <a:pos x="csX883" y="csY883"/>
              </a:cxn>
              <a:cxn ang="0">
                <a:pos x="csX884" y="csY884"/>
              </a:cxn>
              <a:cxn ang="0">
                <a:pos x="csX885" y="csY885"/>
              </a:cxn>
              <a:cxn ang="0">
                <a:pos x="csX886" y="csY886"/>
              </a:cxn>
              <a:cxn ang="0">
                <a:pos x="csX887" y="csY887"/>
              </a:cxn>
              <a:cxn ang="0">
                <a:pos x="csX888" y="csY888"/>
              </a:cxn>
              <a:cxn ang="0">
                <a:pos x="csX889" y="csY889"/>
              </a:cxn>
              <a:cxn ang="0">
                <a:pos x="csX890" y="csY890"/>
              </a:cxn>
              <a:cxn ang="0">
                <a:pos x="csX891" y="csY891"/>
              </a:cxn>
              <a:cxn ang="0">
                <a:pos x="csX892" y="csY892"/>
              </a:cxn>
              <a:cxn ang="0">
                <a:pos x="csX893" y="csY893"/>
              </a:cxn>
              <a:cxn ang="0">
                <a:pos x="csX894" y="csY894"/>
              </a:cxn>
              <a:cxn ang="0">
                <a:pos x="csX895" y="csY895"/>
              </a:cxn>
              <a:cxn ang="0">
                <a:pos x="csX896" y="csY896"/>
              </a:cxn>
              <a:cxn ang="0">
                <a:pos x="csX897" y="csY897"/>
              </a:cxn>
              <a:cxn ang="0">
                <a:pos x="csX898" y="csY898"/>
              </a:cxn>
              <a:cxn ang="0">
                <a:pos x="csX899" y="csY899"/>
              </a:cxn>
              <a:cxn ang="0">
                <a:pos x="csX900" y="csY900"/>
              </a:cxn>
              <a:cxn ang="0">
                <a:pos x="csX901" y="csY901"/>
              </a:cxn>
              <a:cxn ang="0">
                <a:pos x="csX902" y="csY902"/>
              </a:cxn>
              <a:cxn ang="0">
                <a:pos x="csX903" y="csY903"/>
              </a:cxn>
              <a:cxn ang="0">
                <a:pos x="csX904" y="csY904"/>
              </a:cxn>
              <a:cxn ang="0">
                <a:pos x="csX905" y="csY905"/>
              </a:cxn>
              <a:cxn ang="0">
                <a:pos x="csX906" y="csY906"/>
              </a:cxn>
              <a:cxn ang="0">
                <a:pos x="csX907" y="csY907"/>
              </a:cxn>
              <a:cxn ang="0">
                <a:pos x="csX908" y="csY908"/>
              </a:cxn>
              <a:cxn ang="0">
                <a:pos x="csX909" y="csY909"/>
              </a:cxn>
              <a:cxn ang="0">
                <a:pos x="csX910" y="csY910"/>
              </a:cxn>
              <a:cxn ang="0">
                <a:pos x="csX911" y="csY911"/>
              </a:cxn>
              <a:cxn ang="0">
                <a:pos x="csX912" y="csY912"/>
              </a:cxn>
              <a:cxn ang="0">
                <a:pos x="csX913" y="csY913"/>
              </a:cxn>
              <a:cxn ang="0">
                <a:pos x="csX914" y="csY914"/>
              </a:cxn>
              <a:cxn ang="0">
                <a:pos x="csX915" y="csY915"/>
              </a:cxn>
              <a:cxn ang="0">
                <a:pos x="csX916" y="csY916"/>
              </a:cxn>
              <a:cxn ang="0">
                <a:pos x="csX917" y="csY917"/>
              </a:cxn>
              <a:cxn ang="0">
                <a:pos x="csX918" y="csY918"/>
              </a:cxn>
              <a:cxn ang="0">
                <a:pos x="csX919" y="csY919"/>
              </a:cxn>
              <a:cxn ang="0">
                <a:pos x="csX920" y="csY920"/>
              </a:cxn>
              <a:cxn ang="0">
                <a:pos x="csX921" y="csY921"/>
              </a:cxn>
              <a:cxn ang="0">
                <a:pos x="csX922" y="csY922"/>
              </a:cxn>
              <a:cxn ang="0">
                <a:pos x="csX923" y="csY923"/>
              </a:cxn>
              <a:cxn ang="0">
                <a:pos x="csX924" y="csY924"/>
              </a:cxn>
              <a:cxn ang="0">
                <a:pos x="csX925" y="csY925"/>
              </a:cxn>
              <a:cxn ang="0">
                <a:pos x="csX926" y="csY926"/>
              </a:cxn>
              <a:cxn ang="0">
                <a:pos x="csX927" y="csY927"/>
              </a:cxn>
              <a:cxn ang="0">
                <a:pos x="csX928" y="csY928"/>
              </a:cxn>
              <a:cxn ang="0">
                <a:pos x="csX929" y="csY929"/>
              </a:cxn>
              <a:cxn ang="0">
                <a:pos x="csX930" y="csY930"/>
              </a:cxn>
              <a:cxn ang="0">
                <a:pos x="csX931" y="csY931"/>
              </a:cxn>
              <a:cxn ang="0">
                <a:pos x="csX932" y="csY932"/>
              </a:cxn>
              <a:cxn ang="0">
                <a:pos x="csX933" y="csY933"/>
              </a:cxn>
              <a:cxn ang="0">
                <a:pos x="csX934" y="csY934"/>
              </a:cxn>
              <a:cxn ang="0">
                <a:pos x="csX935" y="csY935"/>
              </a:cxn>
              <a:cxn ang="0">
                <a:pos x="csX936" y="csY936"/>
              </a:cxn>
              <a:cxn ang="0">
                <a:pos x="csX937" y="csY937"/>
              </a:cxn>
              <a:cxn ang="0">
                <a:pos x="csX938" y="csY938"/>
              </a:cxn>
              <a:cxn ang="0">
                <a:pos x="csX939" y="csY939"/>
              </a:cxn>
              <a:cxn ang="0">
                <a:pos x="csX940" y="csY940"/>
              </a:cxn>
              <a:cxn ang="0">
                <a:pos x="csX941" y="csY941"/>
              </a:cxn>
              <a:cxn ang="0">
                <a:pos x="csX942" y="csY942"/>
              </a:cxn>
              <a:cxn ang="0">
                <a:pos x="csX943" y="csY943"/>
              </a:cxn>
              <a:cxn ang="0">
                <a:pos x="csX944" y="csY944"/>
              </a:cxn>
              <a:cxn ang="0">
                <a:pos x="csX945" y="csY945"/>
              </a:cxn>
              <a:cxn ang="0">
                <a:pos x="csX946" y="csY946"/>
              </a:cxn>
              <a:cxn ang="0">
                <a:pos x="csX947" y="csY947"/>
              </a:cxn>
              <a:cxn ang="0">
                <a:pos x="csX948" y="csY948"/>
              </a:cxn>
              <a:cxn ang="0">
                <a:pos x="csX949" y="csY949"/>
              </a:cxn>
              <a:cxn ang="0">
                <a:pos x="csX950" y="csY950"/>
              </a:cxn>
              <a:cxn ang="0">
                <a:pos x="csX951" y="csY951"/>
              </a:cxn>
              <a:cxn ang="0">
                <a:pos x="csX952" y="csY952"/>
              </a:cxn>
              <a:cxn ang="0">
                <a:pos x="csX953" y="csY953"/>
              </a:cxn>
              <a:cxn ang="0">
                <a:pos x="csX954" y="csY954"/>
              </a:cxn>
              <a:cxn ang="0">
                <a:pos x="csX955" y="csY955"/>
              </a:cxn>
              <a:cxn ang="0">
                <a:pos x="csX956" y="csY956"/>
              </a:cxn>
              <a:cxn ang="0">
                <a:pos x="csX957" y="csY957"/>
              </a:cxn>
              <a:cxn ang="0">
                <a:pos x="csX958" y="csY958"/>
              </a:cxn>
              <a:cxn ang="0">
                <a:pos x="csX959" y="csY959"/>
              </a:cxn>
              <a:cxn ang="0">
                <a:pos x="csX960" y="csY960"/>
              </a:cxn>
              <a:cxn ang="0">
                <a:pos x="csX961" y="csY961"/>
              </a:cxn>
              <a:cxn ang="0">
                <a:pos x="csX962" y="csY962"/>
              </a:cxn>
              <a:cxn ang="0">
                <a:pos x="csX963" y="csY963"/>
              </a:cxn>
              <a:cxn ang="0">
                <a:pos x="csX964" y="csY964"/>
              </a:cxn>
              <a:cxn ang="0">
                <a:pos x="csX965" y="csY965"/>
              </a:cxn>
              <a:cxn ang="0">
                <a:pos x="csX966" y="csY966"/>
              </a:cxn>
              <a:cxn ang="0">
                <a:pos x="csX967" y="csY967"/>
              </a:cxn>
              <a:cxn ang="0">
                <a:pos x="csX968" y="csY968"/>
              </a:cxn>
              <a:cxn ang="0">
                <a:pos x="csX969" y="csY969"/>
              </a:cxn>
              <a:cxn ang="0">
                <a:pos x="csX970" y="csY970"/>
              </a:cxn>
              <a:cxn ang="0">
                <a:pos x="csX971" y="csY971"/>
              </a:cxn>
              <a:cxn ang="0">
                <a:pos x="csX972" y="csY972"/>
              </a:cxn>
              <a:cxn ang="0">
                <a:pos x="csX973" y="csY973"/>
              </a:cxn>
              <a:cxn ang="0">
                <a:pos x="csX974" y="csY974"/>
              </a:cxn>
              <a:cxn ang="0">
                <a:pos x="csX975" y="csY975"/>
              </a:cxn>
              <a:cxn ang="0">
                <a:pos x="csX976" y="csY976"/>
              </a:cxn>
              <a:cxn ang="0">
                <a:pos x="csX977" y="csY977"/>
              </a:cxn>
              <a:cxn ang="0">
                <a:pos x="csX978" y="csY978"/>
              </a:cxn>
              <a:cxn ang="0">
                <a:pos x="csX979" y="csY979"/>
              </a:cxn>
              <a:cxn ang="0">
                <a:pos x="csX980" y="csY980"/>
              </a:cxn>
              <a:cxn ang="0">
                <a:pos x="csX981" y="csY981"/>
              </a:cxn>
              <a:cxn ang="0">
                <a:pos x="csX982" y="csY982"/>
              </a:cxn>
              <a:cxn ang="0">
                <a:pos x="csX983" y="csY983"/>
              </a:cxn>
              <a:cxn ang="0">
                <a:pos x="csX984" y="csY984"/>
              </a:cxn>
              <a:cxn ang="0">
                <a:pos x="csX985" y="csY985"/>
              </a:cxn>
              <a:cxn ang="0">
                <a:pos x="csX986" y="csY986"/>
              </a:cxn>
              <a:cxn ang="0">
                <a:pos x="csX987" y="csY987"/>
              </a:cxn>
              <a:cxn ang="0">
                <a:pos x="csX988" y="csY988"/>
              </a:cxn>
              <a:cxn ang="0">
                <a:pos x="csX989" y="csY989"/>
              </a:cxn>
              <a:cxn ang="0">
                <a:pos x="csX990" y="csY990"/>
              </a:cxn>
              <a:cxn ang="0">
                <a:pos x="csX991" y="csY991"/>
              </a:cxn>
              <a:cxn ang="0">
                <a:pos x="csX992" y="csY992"/>
              </a:cxn>
              <a:cxn ang="0">
                <a:pos x="csX993" y="csY993"/>
              </a:cxn>
              <a:cxn ang="0">
                <a:pos x="csX994" y="csY994"/>
              </a:cxn>
              <a:cxn ang="0">
                <a:pos x="csX995" y="csY995"/>
              </a:cxn>
              <a:cxn ang="0">
                <a:pos x="csX996" y="csY996"/>
              </a:cxn>
              <a:cxn ang="0">
                <a:pos x="csX997" y="csY997"/>
              </a:cxn>
              <a:cxn ang="0">
                <a:pos x="csX998" y="csY998"/>
              </a:cxn>
              <a:cxn ang="0">
                <a:pos x="csX999" y="csY999"/>
              </a:cxn>
              <a:cxn ang="0">
                <a:pos x="csX1000" y="csY1000"/>
              </a:cxn>
              <a:cxn ang="0">
                <a:pos x="csX1001" y="csY1001"/>
              </a:cxn>
              <a:cxn ang="0">
                <a:pos x="csX1002" y="csY1002"/>
              </a:cxn>
              <a:cxn ang="0">
                <a:pos x="csX1003" y="csY1003"/>
              </a:cxn>
              <a:cxn ang="0">
                <a:pos x="csX1004" y="csY1004"/>
              </a:cxn>
              <a:cxn ang="0">
                <a:pos x="csX1005" y="csY1005"/>
              </a:cxn>
              <a:cxn ang="0">
                <a:pos x="csX1006" y="csY1006"/>
              </a:cxn>
              <a:cxn ang="0">
                <a:pos x="csX1007" y="csY1007"/>
              </a:cxn>
              <a:cxn ang="0">
                <a:pos x="csX1008" y="csY1008"/>
              </a:cxn>
              <a:cxn ang="0">
                <a:pos x="csX1009" y="csY1009"/>
              </a:cxn>
              <a:cxn ang="0">
                <a:pos x="csX1010" y="csY1010"/>
              </a:cxn>
              <a:cxn ang="0">
                <a:pos x="csX1011" y="csY1011"/>
              </a:cxn>
              <a:cxn ang="0">
                <a:pos x="csX1012" y="csY1012"/>
              </a:cxn>
              <a:cxn ang="0">
                <a:pos x="csX1013" y="csY1013"/>
              </a:cxn>
              <a:cxn ang="0">
                <a:pos x="csX1014" y="csY1014"/>
              </a:cxn>
              <a:cxn ang="0">
                <a:pos x="csX1015" y="csY1015"/>
              </a:cxn>
              <a:cxn ang="0">
                <a:pos x="csX1016" y="csY1016"/>
              </a:cxn>
              <a:cxn ang="0">
                <a:pos x="csX1017" y="csY1017"/>
              </a:cxn>
              <a:cxn ang="0">
                <a:pos x="csX1018" y="csY1018"/>
              </a:cxn>
              <a:cxn ang="0">
                <a:pos x="csX1019" y="csY1019"/>
              </a:cxn>
              <a:cxn ang="0">
                <a:pos x="csX1020" y="csY1020"/>
              </a:cxn>
              <a:cxn ang="0">
                <a:pos x="csX1021" y="csY1021"/>
              </a:cxn>
              <a:cxn ang="0">
                <a:pos x="csX1022" y="csY1022"/>
              </a:cxn>
              <a:cxn ang="0">
                <a:pos x="csX1023" y="csY1023"/>
              </a:cxn>
              <a:cxn ang="0">
                <a:pos x="csX1024" y="csY1024"/>
              </a:cxn>
              <a:cxn ang="0">
                <a:pos x="csX1025" y="csY1025"/>
              </a:cxn>
              <a:cxn ang="0">
                <a:pos x="csX1026" y="csY1026"/>
              </a:cxn>
              <a:cxn ang="0">
                <a:pos x="csX1027" y="csY1027"/>
              </a:cxn>
              <a:cxn ang="0">
                <a:pos x="csX1028" y="csY1028"/>
              </a:cxn>
              <a:cxn ang="0">
                <a:pos x="csX1029" y="csY1029"/>
              </a:cxn>
              <a:cxn ang="0">
                <a:pos x="csX1030" y="csY1030"/>
              </a:cxn>
              <a:cxn ang="0">
                <a:pos x="csX1031" y="csY1031"/>
              </a:cxn>
              <a:cxn ang="0">
                <a:pos x="csX1032" y="csY1032"/>
              </a:cxn>
              <a:cxn ang="0">
                <a:pos x="csX1033" y="csY1033"/>
              </a:cxn>
              <a:cxn ang="0">
                <a:pos x="csX1034" y="csY1034"/>
              </a:cxn>
              <a:cxn ang="0">
                <a:pos x="csX1035" y="csY1035"/>
              </a:cxn>
              <a:cxn ang="0">
                <a:pos x="csX1036" y="csY1036"/>
              </a:cxn>
              <a:cxn ang="0">
                <a:pos x="csX1037" y="csY1037"/>
              </a:cxn>
              <a:cxn ang="0">
                <a:pos x="csX1038" y="csY1038"/>
              </a:cxn>
              <a:cxn ang="0">
                <a:pos x="csX1039" y="csY1039"/>
              </a:cxn>
              <a:cxn ang="0">
                <a:pos x="csX1040" y="csY1040"/>
              </a:cxn>
              <a:cxn ang="0">
                <a:pos x="csX1041" y="csY1041"/>
              </a:cxn>
              <a:cxn ang="0">
                <a:pos x="csX1042" y="csY1042"/>
              </a:cxn>
              <a:cxn ang="0">
                <a:pos x="csX1043" y="csY1043"/>
              </a:cxn>
              <a:cxn ang="0">
                <a:pos x="csX1044" y="csY1044"/>
              </a:cxn>
              <a:cxn ang="0">
                <a:pos x="csX1045" y="csY1045"/>
              </a:cxn>
              <a:cxn ang="0">
                <a:pos x="csX1046" y="csY1046"/>
              </a:cxn>
              <a:cxn ang="0">
                <a:pos x="csX1047" y="csY1047"/>
              </a:cxn>
              <a:cxn ang="0">
                <a:pos x="csX1048" y="csY1048"/>
              </a:cxn>
              <a:cxn ang="0">
                <a:pos x="csX1049" y="csY1049"/>
              </a:cxn>
              <a:cxn ang="0">
                <a:pos x="csX1050" y="csY1050"/>
              </a:cxn>
              <a:cxn ang="0">
                <a:pos x="csX1051" y="csY1051"/>
              </a:cxn>
              <a:cxn ang="0">
                <a:pos x="csX1052" y="csY1052"/>
              </a:cxn>
              <a:cxn ang="0">
                <a:pos x="csX1053" y="csY1053"/>
              </a:cxn>
              <a:cxn ang="0">
                <a:pos x="csX1054" y="csY1054"/>
              </a:cxn>
            </a:cxnLst>
            <a:rect l="l" t="t" r="r" b="b"/>
            <a:pathLst>
              <a:path w="1609516" h="1538630">
                <a:moveTo>
                  <a:pt x="401579" y="1495809"/>
                </a:moveTo>
                <a:lnTo>
                  <a:pt x="400190" y="1496004"/>
                </a:lnTo>
                <a:lnTo>
                  <a:pt x="401224" y="1496470"/>
                </a:lnTo>
                <a:lnTo>
                  <a:pt x="401224" y="1498590"/>
                </a:lnTo>
                <a:lnTo>
                  <a:pt x="401579" y="1498628"/>
                </a:lnTo>
                <a:cubicBezTo>
                  <a:pt x="401579" y="1497698"/>
                  <a:pt x="401579" y="1496768"/>
                  <a:pt x="401579" y="1495809"/>
                </a:cubicBezTo>
                <a:close/>
                <a:moveTo>
                  <a:pt x="368755" y="1486512"/>
                </a:moveTo>
                <a:lnTo>
                  <a:pt x="364089" y="1487354"/>
                </a:lnTo>
                <a:lnTo>
                  <a:pt x="364089" y="1487908"/>
                </a:lnTo>
                <a:close/>
                <a:moveTo>
                  <a:pt x="1049801" y="1484562"/>
                </a:moveTo>
                <a:lnTo>
                  <a:pt x="1046735" y="1485945"/>
                </a:lnTo>
                <a:lnTo>
                  <a:pt x="1046955" y="1486045"/>
                </a:lnTo>
                <a:lnTo>
                  <a:pt x="1049801" y="1485188"/>
                </a:lnTo>
                <a:close/>
                <a:moveTo>
                  <a:pt x="351234" y="1444508"/>
                </a:moveTo>
                <a:lnTo>
                  <a:pt x="351234" y="1444997"/>
                </a:lnTo>
                <a:lnTo>
                  <a:pt x="351592" y="1445078"/>
                </a:lnTo>
                <a:close/>
                <a:moveTo>
                  <a:pt x="351908" y="1431206"/>
                </a:moveTo>
                <a:lnTo>
                  <a:pt x="351234" y="1431611"/>
                </a:lnTo>
                <a:lnTo>
                  <a:pt x="351234" y="1432274"/>
                </a:lnTo>
                <a:close/>
                <a:moveTo>
                  <a:pt x="358162" y="1421494"/>
                </a:moveTo>
                <a:lnTo>
                  <a:pt x="355921" y="1423156"/>
                </a:lnTo>
                <a:lnTo>
                  <a:pt x="355921" y="1423548"/>
                </a:lnTo>
                <a:close/>
                <a:moveTo>
                  <a:pt x="376098" y="1408347"/>
                </a:moveTo>
                <a:lnTo>
                  <a:pt x="370750" y="1412245"/>
                </a:lnTo>
                <a:lnTo>
                  <a:pt x="375023" y="1411256"/>
                </a:lnTo>
                <a:close/>
                <a:moveTo>
                  <a:pt x="421956" y="1365623"/>
                </a:moveTo>
                <a:lnTo>
                  <a:pt x="421765" y="1366161"/>
                </a:lnTo>
                <a:lnTo>
                  <a:pt x="421887" y="1366161"/>
                </a:lnTo>
                <a:close/>
                <a:moveTo>
                  <a:pt x="754553" y="1360575"/>
                </a:moveTo>
                <a:lnTo>
                  <a:pt x="754089" y="1361433"/>
                </a:lnTo>
                <a:lnTo>
                  <a:pt x="754431" y="1361125"/>
                </a:lnTo>
                <a:close/>
                <a:moveTo>
                  <a:pt x="1277973" y="1332923"/>
                </a:moveTo>
                <a:lnTo>
                  <a:pt x="1277944" y="1332936"/>
                </a:lnTo>
                <a:lnTo>
                  <a:pt x="1277949" y="1333139"/>
                </a:lnTo>
                <a:close/>
                <a:moveTo>
                  <a:pt x="1268556" y="1321066"/>
                </a:moveTo>
                <a:cubicBezTo>
                  <a:pt x="1268556" y="1322461"/>
                  <a:pt x="1268556" y="1323856"/>
                  <a:pt x="1268556" y="1325294"/>
                </a:cubicBezTo>
                <a:cubicBezTo>
                  <a:pt x="1267525" y="1325294"/>
                  <a:pt x="1266495" y="1325294"/>
                  <a:pt x="1265432" y="1325294"/>
                </a:cubicBezTo>
                <a:cubicBezTo>
                  <a:pt x="1265432" y="1330409"/>
                  <a:pt x="1265432" y="1335525"/>
                  <a:pt x="1265432" y="1340795"/>
                </a:cubicBezTo>
                <a:lnTo>
                  <a:pt x="1265476" y="1340714"/>
                </a:lnTo>
                <a:lnTo>
                  <a:pt x="1265476" y="1325877"/>
                </a:lnTo>
                <a:cubicBezTo>
                  <a:pt x="1266507" y="1325877"/>
                  <a:pt x="1267538" y="1325877"/>
                  <a:pt x="1268600" y="1325877"/>
                </a:cubicBezTo>
                <a:cubicBezTo>
                  <a:pt x="1268600" y="1324482"/>
                  <a:pt x="1268600" y="1323086"/>
                  <a:pt x="1268600" y="1321649"/>
                </a:cubicBezTo>
                <a:cubicBezTo>
                  <a:pt x="1270147" y="1321649"/>
                  <a:pt x="1271693" y="1321649"/>
                  <a:pt x="1273286" y="1321649"/>
                </a:cubicBezTo>
                <a:lnTo>
                  <a:pt x="1273227" y="1321066"/>
                </a:lnTo>
                <a:close/>
                <a:moveTo>
                  <a:pt x="827891" y="1291474"/>
                </a:moveTo>
                <a:lnTo>
                  <a:pt x="822601" y="1291544"/>
                </a:lnTo>
                <a:lnTo>
                  <a:pt x="818272" y="1292220"/>
                </a:lnTo>
                <a:lnTo>
                  <a:pt x="827891" y="1292047"/>
                </a:lnTo>
                <a:close/>
                <a:moveTo>
                  <a:pt x="856397" y="1288691"/>
                </a:moveTo>
                <a:lnTo>
                  <a:pt x="865903" y="1290590"/>
                </a:lnTo>
                <a:lnTo>
                  <a:pt x="859999" y="1288752"/>
                </a:lnTo>
                <a:close/>
                <a:moveTo>
                  <a:pt x="834694" y="1288572"/>
                </a:moveTo>
                <a:lnTo>
                  <a:pt x="828038" y="1288654"/>
                </a:lnTo>
                <a:lnTo>
                  <a:pt x="828038" y="1289214"/>
                </a:lnTo>
                <a:close/>
                <a:moveTo>
                  <a:pt x="229746" y="1191418"/>
                </a:moveTo>
                <a:lnTo>
                  <a:pt x="227402" y="1191947"/>
                </a:lnTo>
                <a:lnTo>
                  <a:pt x="229315" y="1191947"/>
                </a:lnTo>
                <a:cubicBezTo>
                  <a:pt x="229315" y="1192877"/>
                  <a:pt x="229315" y="1193807"/>
                  <a:pt x="229315" y="1194765"/>
                </a:cubicBezTo>
                <a:lnTo>
                  <a:pt x="231321" y="1194765"/>
                </a:lnTo>
                <a:lnTo>
                  <a:pt x="229746" y="1194236"/>
                </a:lnTo>
                <a:cubicBezTo>
                  <a:pt x="229746" y="1193306"/>
                  <a:pt x="229746" y="1192376"/>
                  <a:pt x="229746" y="1191418"/>
                </a:cubicBezTo>
                <a:close/>
                <a:moveTo>
                  <a:pt x="215687" y="1187190"/>
                </a:moveTo>
                <a:lnTo>
                  <a:pt x="215198" y="1187720"/>
                </a:lnTo>
                <a:lnTo>
                  <a:pt x="215256" y="1187720"/>
                </a:lnTo>
                <a:cubicBezTo>
                  <a:pt x="215256" y="1189115"/>
                  <a:pt x="215256" y="1190510"/>
                  <a:pt x="215256" y="1191947"/>
                </a:cubicBezTo>
                <a:lnTo>
                  <a:pt x="222721" y="1191947"/>
                </a:lnTo>
                <a:lnTo>
                  <a:pt x="215687" y="1191418"/>
                </a:lnTo>
                <a:cubicBezTo>
                  <a:pt x="215687" y="1190023"/>
                  <a:pt x="215687" y="1188628"/>
                  <a:pt x="215687" y="1187190"/>
                </a:cubicBezTo>
                <a:close/>
                <a:moveTo>
                  <a:pt x="1279678" y="1082356"/>
                </a:moveTo>
                <a:lnTo>
                  <a:pt x="1271680" y="1084589"/>
                </a:lnTo>
                <a:lnTo>
                  <a:pt x="1282181" y="1082544"/>
                </a:lnTo>
                <a:close/>
                <a:moveTo>
                  <a:pt x="117703" y="941507"/>
                </a:moveTo>
                <a:lnTo>
                  <a:pt x="112587" y="941985"/>
                </a:lnTo>
                <a:lnTo>
                  <a:pt x="112565" y="942333"/>
                </a:lnTo>
                <a:lnTo>
                  <a:pt x="115665" y="941837"/>
                </a:lnTo>
                <a:close/>
                <a:moveTo>
                  <a:pt x="144268" y="939395"/>
                </a:moveTo>
                <a:lnTo>
                  <a:pt x="143354" y="939580"/>
                </a:lnTo>
                <a:lnTo>
                  <a:pt x="144077" y="939739"/>
                </a:lnTo>
                <a:close/>
                <a:moveTo>
                  <a:pt x="162575" y="933530"/>
                </a:moveTo>
                <a:lnTo>
                  <a:pt x="161704" y="935101"/>
                </a:lnTo>
                <a:lnTo>
                  <a:pt x="170045" y="933585"/>
                </a:lnTo>
                <a:close/>
                <a:moveTo>
                  <a:pt x="1321645" y="918415"/>
                </a:moveTo>
                <a:lnTo>
                  <a:pt x="1321534" y="920177"/>
                </a:lnTo>
                <a:lnTo>
                  <a:pt x="1321740" y="918415"/>
                </a:lnTo>
                <a:close/>
                <a:moveTo>
                  <a:pt x="1319333" y="915183"/>
                </a:moveTo>
                <a:lnTo>
                  <a:pt x="1318544" y="918029"/>
                </a:lnTo>
                <a:lnTo>
                  <a:pt x="1318702" y="918029"/>
                </a:lnTo>
                <a:close/>
                <a:moveTo>
                  <a:pt x="1326355" y="907109"/>
                </a:moveTo>
                <a:lnTo>
                  <a:pt x="1326355" y="910983"/>
                </a:lnTo>
                <a:lnTo>
                  <a:pt x="1325831" y="911101"/>
                </a:lnTo>
                <a:lnTo>
                  <a:pt x="1326426" y="911369"/>
                </a:lnTo>
                <a:cubicBezTo>
                  <a:pt x="1326426" y="909974"/>
                  <a:pt x="1326426" y="908579"/>
                  <a:pt x="1326426" y="907141"/>
                </a:cubicBezTo>
                <a:close/>
                <a:moveTo>
                  <a:pt x="1328144" y="892192"/>
                </a:moveTo>
                <a:lnTo>
                  <a:pt x="1327667" y="893446"/>
                </a:lnTo>
                <a:lnTo>
                  <a:pt x="1327989" y="893049"/>
                </a:lnTo>
                <a:close/>
                <a:moveTo>
                  <a:pt x="49605" y="887420"/>
                </a:moveTo>
                <a:lnTo>
                  <a:pt x="48549" y="891229"/>
                </a:lnTo>
                <a:lnTo>
                  <a:pt x="49956" y="887420"/>
                </a:lnTo>
                <a:close/>
                <a:moveTo>
                  <a:pt x="1332266" y="883369"/>
                </a:moveTo>
                <a:lnTo>
                  <a:pt x="1329479" y="884207"/>
                </a:lnTo>
                <a:lnTo>
                  <a:pt x="1329509" y="884816"/>
                </a:lnTo>
                <a:lnTo>
                  <a:pt x="1329551" y="884594"/>
                </a:lnTo>
                <a:close/>
                <a:moveTo>
                  <a:pt x="1555987" y="821766"/>
                </a:moveTo>
                <a:lnTo>
                  <a:pt x="1555987" y="822201"/>
                </a:lnTo>
                <a:lnTo>
                  <a:pt x="1556081" y="822189"/>
                </a:lnTo>
                <a:close/>
                <a:moveTo>
                  <a:pt x="1565360" y="810928"/>
                </a:moveTo>
                <a:lnTo>
                  <a:pt x="1564871" y="811809"/>
                </a:lnTo>
                <a:lnTo>
                  <a:pt x="1567314" y="810928"/>
                </a:lnTo>
                <a:close/>
                <a:moveTo>
                  <a:pt x="1563797" y="810928"/>
                </a:moveTo>
                <a:lnTo>
                  <a:pt x="1556762" y="814736"/>
                </a:lnTo>
                <a:lnTo>
                  <a:pt x="1563797" y="812197"/>
                </a:lnTo>
                <a:close/>
                <a:moveTo>
                  <a:pt x="265833" y="806020"/>
                </a:moveTo>
                <a:lnTo>
                  <a:pt x="263704" y="809861"/>
                </a:lnTo>
                <a:lnTo>
                  <a:pt x="263704" y="816750"/>
                </a:lnTo>
                <a:lnTo>
                  <a:pt x="264113" y="816565"/>
                </a:lnTo>
                <a:cubicBezTo>
                  <a:pt x="264048" y="815315"/>
                  <a:pt x="263984" y="814065"/>
                  <a:pt x="263918" y="812777"/>
                </a:cubicBezTo>
                <a:close/>
                <a:moveTo>
                  <a:pt x="263774" y="779374"/>
                </a:moveTo>
                <a:lnTo>
                  <a:pt x="263704" y="783086"/>
                </a:lnTo>
                <a:cubicBezTo>
                  <a:pt x="263961" y="783987"/>
                  <a:pt x="264219" y="784888"/>
                  <a:pt x="264484" y="785816"/>
                </a:cubicBezTo>
                <a:cubicBezTo>
                  <a:pt x="265299" y="788846"/>
                  <a:pt x="265316" y="791337"/>
                  <a:pt x="265265" y="794448"/>
                </a:cubicBezTo>
                <a:cubicBezTo>
                  <a:pt x="265103" y="797155"/>
                  <a:pt x="265022" y="798508"/>
                  <a:pt x="265217" y="799730"/>
                </a:cubicBezTo>
                <a:lnTo>
                  <a:pt x="266556" y="803466"/>
                </a:lnTo>
                <a:lnTo>
                  <a:pt x="267237" y="801063"/>
                </a:lnTo>
                <a:cubicBezTo>
                  <a:pt x="266721" y="800598"/>
                  <a:pt x="266206" y="800133"/>
                  <a:pt x="265675" y="799654"/>
                </a:cubicBezTo>
                <a:cubicBezTo>
                  <a:pt x="265601" y="797718"/>
                  <a:pt x="265617" y="795778"/>
                  <a:pt x="265675" y="793841"/>
                </a:cubicBezTo>
                <a:close/>
                <a:moveTo>
                  <a:pt x="260988" y="770061"/>
                </a:moveTo>
                <a:lnTo>
                  <a:pt x="260988" y="771364"/>
                </a:lnTo>
                <a:lnTo>
                  <a:pt x="263497" y="777263"/>
                </a:lnTo>
                <a:lnTo>
                  <a:pt x="262551" y="770061"/>
                </a:lnTo>
                <a:cubicBezTo>
                  <a:pt x="262035" y="770061"/>
                  <a:pt x="261520" y="770061"/>
                  <a:pt x="260988" y="770061"/>
                </a:cubicBezTo>
                <a:close/>
                <a:moveTo>
                  <a:pt x="157888" y="651686"/>
                </a:moveTo>
                <a:lnTo>
                  <a:pt x="157415" y="651764"/>
                </a:lnTo>
                <a:lnTo>
                  <a:pt x="160373" y="652274"/>
                </a:lnTo>
                <a:close/>
                <a:moveTo>
                  <a:pt x="267237" y="426537"/>
                </a:moveTo>
                <a:lnTo>
                  <a:pt x="267237" y="427619"/>
                </a:lnTo>
                <a:cubicBezTo>
                  <a:pt x="268274" y="427791"/>
                  <a:pt x="269311" y="427961"/>
                  <a:pt x="270380" y="428137"/>
                </a:cubicBezTo>
                <a:lnTo>
                  <a:pt x="273548" y="428680"/>
                </a:lnTo>
                <a:close/>
                <a:moveTo>
                  <a:pt x="37605" y="359270"/>
                </a:moveTo>
                <a:lnTo>
                  <a:pt x="37103" y="361533"/>
                </a:lnTo>
                <a:lnTo>
                  <a:pt x="37605" y="361382"/>
                </a:lnTo>
                <a:close/>
                <a:moveTo>
                  <a:pt x="52477" y="337570"/>
                </a:moveTo>
                <a:lnTo>
                  <a:pt x="47288" y="342340"/>
                </a:lnTo>
                <a:lnTo>
                  <a:pt x="45805" y="345093"/>
                </a:lnTo>
                <a:close/>
                <a:moveTo>
                  <a:pt x="104291" y="336166"/>
                </a:moveTo>
                <a:lnTo>
                  <a:pt x="103776" y="337559"/>
                </a:lnTo>
                <a:lnTo>
                  <a:pt x="108925" y="336166"/>
                </a:lnTo>
                <a:close/>
                <a:moveTo>
                  <a:pt x="1309237" y="322954"/>
                </a:moveTo>
                <a:lnTo>
                  <a:pt x="1309180" y="330559"/>
                </a:lnTo>
                <a:lnTo>
                  <a:pt x="1309237" y="330520"/>
                </a:lnTo>
                <a:close/>
                <a:moveTo>
                  <a:pt x="1308964" y="317715"/>
                </a:moveTo>
                <a:lnTo>
                  <a:pt x="1309237" y="318569"/>
                </a:lnTo>
                <a:lnTo>
                  <a:pt x="1309237" y="317838"/>
                </a:lnTo>
                <a:close/>
                <a:moveTo>
                  <a:pt x="1310087" y="313153"/>
                </a:moveTo>
                <a:lnTo>
                  <a:pt x="1307609" y="313473"/>
                </a:lnTo>
                <a:lnTo>
                  <a:pt x="1308045" y="314836"/>
                </a:lnTo>
                <a:close/>
                <a:moveTo>
                  <a:pt x="1318544" y="312064"/>
                </a:moveTo>
                <a:lnTo>
                  <a:pt x="1316298" y="312353"/>
                </a:lnTo>
                <a:lnTo>
                  <a:pt x="1318544" y="312205"/>
                </a:lnTo>
                <a:close/>
                <a:moveTo>
                  <a:pt x="1084622" y="267674"/>
                </a:moveTo>
                <a:lnTo>
                  <a:pt x="1084227" y="268378"/>
                </a:lnTo>
                <a:cubicBezTo>
                  <a:pt x="1082679" y="268378"/>
                  <a:pt x="1081133" y="268378"/>
                  <a:pt x="1079540" y="268378"/>
                </a:cubicBezTo>
                <a:lnTo>
                  <a:pt x="1079603" y="268477"/>
                </a:lnTo>
                <a:lnTo>
                  <a:pt x="1084192" y="268477"/>
                </a:lnTo>
                <a:close/>
                <a:moveTo>
                  <a:pt x="956410" y="266968"/>
                </a:moveTo>
                <a:lnTo>
                  <a:pt x="957576" y="267083"/>
                </a:lnTo>
                <a:lnTo>
                  <a:pt x="957576" y="269776"/>
                </a:lnTo>
                <a:lnTo>
                  <a:pt x="957694" y="269787"/>
                </a:lnTo>
                <a:cubicBezTo>
                  <a:pt x="957694" y="268857"/>
                  <a:pt x="957694" y="267927"/>
                  <a:pt x="957694" y="266968"/>
                </a:cubicBezTo>
                <a:close/>
                <a:moveTo>
                  <a:pt x="1089372" y="259220"/>
                </a:moveTo>
                <a:lnTo>
                  <a:pt x="1085856" y="265479"/>
                </a:lnTo>
                <a:lnTo>
                  <a:pt x="1088878" y="261431"/>
                </a:lnTo>
                <a:close/>
                <a:moveTo>
                  <a:pt x="1018517" y="223356"/>
                </a:moveTo>
                <a:lnTo>
                  <a:pt x="1013866" y="226190"/>
                </a:lnTo>
                <a:lnTo>
                  <a:pt x="1013024" y="227709"/>
                </a:lnTo>
                <a:lnTo>
                  <a:pt x="1017055" y="224692"/>
                </a:lnTo>
                <a:close/>
                <a:moveTo>
                  <a:pt x="850645" y="220099"/>
                </a:moveTo>
                <a:lnTo>
                  <a:pt x="850897" y="221488"/>
                </a:lnTo>
                <a:cubicBezTo>
                  <a:pt x="851086" y="222545"/>
                  <a:pt x="851275" y="223602"/>
                  <a:pt x="851470" y="224692"/>
                </a:cubicBezTo>
                <a:lnTo>
                  <a:pt x="852860" y="224692"/>
                </a:lnTo>
                <a:close/>
                <a:moveTo>
                  <a:pt x="1155019" y="35"/>
                </a:moveTo>
                <a:cubicBezTo>
                  <a:pt x="1161775" y="275"/>
                  <a:pt x="1168415" y="1783"/>
                  <a:pt x="1174829" y="4853"/>
                </a:cubicBezTo>
                <a:cubicBezTo>
                  <a:pt x="1176343" y="5231"/>
                  <a:pt x="1177858" y="5609"/>
                  <a:pt x="1179418" y="5998"/>
                </a:cubicBezTo>
                <a:cubicBezTo>
                  <a:pt x="1189392" y="9487"/>
                  <a:pt x="1196322" y="14392"/>
                  <a:pt x="1201385" y="22997"/>
                </a:cubicBezTo>
                <a:cubicBezTo>
                  <a:pt x="1206849" y="35244"/>
                  <a:pt x="1206940" y="49865"/>
                  <a:pt x="1201678" y="62191"/>
                </a:cubicBezTo>
                <a:cubicBezTo>
                  <a:pt x="1200594" y="64241"/>
                  <a:pt x="1199461" y="66271"/>
                  <a:pt x="1198261" y="68268"/>
                </a:cubicBezTo>
                <a:cubicBezTo>
                  <a:pt x="1197423" y="69721"/>
                  <a:pt x="1196586" y="71175"/>
                  <a:pt x="1195723" y="72672"/>
                </a:cubicBezTo>
                <a:cubicBezTo>
                  <a:pt x="1194659" y="73980"/>
                  <a:pt x="1194659" y="73980"/>
                  <a:pt x="1193575" y="75314"/>
                </a:cubicBezTo>
                <a:cubicBezTo>
                  <a:pt x="1192544" y="75314"/>
                  <a:pt x="1191512" y="75314"/>
                  <a:pt x="1190450" y="75314"/>
                </a:cubicBezTo>
                <a:cubicBezTo>
                  <a:pt x="1190128" y="76651"/>
                  <a:pt x="1189806" y="77988"/>
                  <a:pt x="1189474" y="79366"/>
                </a:cubicBezTo>
                <a:cubicBezTo>
                  <a:pt x="1187326" y="83769"/>
                  <a:pt x="1187326" y="83769"/>
                  <a:pt x="1182445" y="85707"/>
                </a:cubicBezTo>
                <a:cubicBezTo>
                  <a:pt x="1180962" y="85998"/>
                  <a:pt x="1179480" y="86289"/>
                  <a:pt x="1177953" y="86588"/>
                </a:cubicBezTo>
                <a:cubicBezTo>
                  <a:pt x="1177953" y="87518"/>
                  <a:pt x="1177953" y="88448"/>
                  <a:pt x="1177953" y="89406"/>
                </a:cubicBezTo>
                <a:cubicBezTo>
                  <a:pt x="1175369" y="91088"/>
                  <a:pt x="1172720" y="92688"/>
                  <a:pt x="1170045" y="94251"/>
                </a:cubicBezTo>
                <a:cubicBezTo>
                  <a:pt x="1154651" y="104199"/>
                  <a:pt x="1148918" y="116979"/>
                  <a:pt x="1143806" y="132828"/>
                </a:cubicBezTo>
                <a:cubicBezTo>
                  <a:pt x="1142095" y="137144"/>
                  <a:pt x="1140989" y="138617"/>
                  <a:pt x="1137338" y="141548"/>
                </a:cubicBezTo>
                <a:cubicBezTo>
                  <a:pt x="1136166" y="144148"/>
                  <a:pt x="1134992" y="146751"/>
                  <a:pt x="1133970" y="149403"/>
                </a:cubicBezTo>
                <a:cubicBezTo>
                  <a:pt x="1132069" y="154334"/>
                  <a:pt x="1130006" y="159210"/>
                  <a:pt x="1127965" y="164095"/>
                </a:cubicBezTo>
                <a:cubicBezTo>
                  <a:pt x="1126897" y="166664"/>
                  <a:pt x="1125830" y="169233"/>
                  <a:pt x="1124762" y="171802"/>
                </a:cubicBezTo>
                <a:cubicBezTo>
                  <a:pt x="1122961" y="176134"/>
                  <a:pt x="1121160" y="180466"/>
                  <a:pt x="1119359" y="184798"/>
                </a:cubicBezTo>
                <a:cubicBezTo>
                  <a:pt x="1116567" y="191508"/>
                  <a:pt x="1113778" y="198220"/>
                  <a:pt x="1111014" y="204941"/>
                </a:cubicBezTo>
                <a:cubicBezTo>
                  <a:pt x="1110590" y="205970"/>
                  <a:pt x="1110165" y="206999"/>
                  <a:pt x="1109729" y="208059"/>
                </a:cubicBezTo>
                <a:cubicBezTo>
                  <a:pt x="1108615" y="210762"/>
                  <a:pt x="1107505" y="213466"/>
                  <a:pt x="1106395" y="216170"/>
                </a:cubicBezTo>
                <a:cubicBezTo>
                  <a:pt x="1104320" y="220956"/>
                  <a:pt x="1103283" y="223349"/>
                  <a:pt x="1102147" y="224810"/>
                </a:cubicBezTo>
                <a:lnTo>
                  <a:pt x="1098261" y="227262"/>
                </a:lnTo>
                <a:lnTo>
                  <a:pt x="1098367" y="238475"/>
                </a:lnTo>
                <a:cubicBezTo>
                  <a:pt x="1098025" y="239757"/>
                  <a:pt x="1097684" y="241038"/>
                  <a:pt x="1097331" y="242358"/>
                </a:cubicBezTo>
                <a:cubicBezTo>
                  <a:pt x="1096958" y="243711"/>
                  <a:pt x="1096585" y="245064"/>
                  <a:pt x="1096201" y="246458"/>
                </a:cubicBezTo>
                <a:cubicBezTo>
                  <a:pt x="1093302" y="257363"/>
                  <a:pt x="1090901" y="268062"/>
                  <a:pt x="1089440" y="279206"/>
                </a:cubicBezTo>
                <a:cubicBezTo>
                  <a:pt x="1088878" y="282569"/>
                  <a:pt x="1088878" y="282569"/>
                  <a:pt x="1087316" y="283978"/>
                </a:cubicBezTo>
                <a:cubicBezTo>
                  <a:pt x="1087070" y="286587"/>
                  <a:pt x="1086924" y="289205"/>
                  <a:pt x="1086822" y="291822"/>
                </a:cubicBezTo>
                <a:cubicBezTo>
                  <a:pt x="1086756" y="293408"/>
                  <a:pt x="1086691" y="294993"/>
                  <a:pt x="1086623" y="296625"/>
                </a:cubicBezTo>
                <a:cubicBezTo>
                  <a:pt x="1086562" y="298294"/>
                  <a:pt x="1086501" y="299962"/>
                  <a:pt x="1086437" y="301681"/>
                </a:cubicBezTo>
                <a:cubicBezTo>
                  <a:pt x="1086336" y="304192"/>
                  <a:pt x="1086336" y="304192"/>
                  <a:pt x="1086233" y="306754"/>
                </a:cubicBezTo>
                <a:lnTo>
                  <a:pt x="1086007" y="312619"/>
                </a:lnTo>
                <a:lnTo>
                  <a:pt x="1087470" y="320554"/>
                </a:lnTo>
                <a:cubicBezTo>
                  <a:pt x="1089648" y="325409"/>
                  <a:pt x="1093111" y="329799"/>
                  <a:pt x="1098285" y="334611"/>
                </a:cubicBezTo>
                <a:cubicBezTo>
                  <a:pt x="1100424" y="336130"/>
                  <a:pt x="1100424" y="336130"/>
                  <a:pt x="1102607" y="337679"/>
                </a:cubicBezTo>
                <a:cubicBezTo>
                  <a:pt x="1104334" y="338951"/>
                  <a:pt x="1104334" y="338951"/>
                  <a:pt x="1106095" y="340248"/>
                </a:cubicBezTo>
                <a:cubicBezTo>
                  <a:pt x="1106095" y="341178"/>
                  <a:pt x="1106095" y="342108"/>
                  <a:pt x="1106095" y="343066"/>
                </a:cubicBezTo>
                <a:cubicBezTo>
                  <a:pt x="1107127" y="343183"/>
                  <a:pt x="1108158" y="343299"/>
                  <a:pt x="1109220" y="343419"/>
                </a:cubicBezTo>
                <a:cubicBezTo>
                  <a:pt x="1115473" y="344829"/>
                  <a:pt x="1120724" y="347416"/>
                  <a:pt x="1126403" y="350112"/>
                </a:cubicBezTo>
                <a:cubicBezTo>
                  <a:pt x="1128207" y="350926"/>
                  <a:pt x="1130012" y="351740"/>
                  <a:pt x="1131871" y="352579"/>
                </a:cubicBezTo>
                <a:cubicBezTo>
                  <a:pt x="1133159" y="353160"/>
                  <a:pt x="1134448" y="353741"/>
                  <a:pt x="1135776" y="354340"/>
                </a:cubicBezTo>
                <a:cubicBezTo>
                  <a:pt x="1135776" y="355270"/>
                  <a:pt x="1135776" y="356200"/>
                  <a:pt x="1135776" y="357158"/>
                </a:cubicBezTo>
                <a:cubicBezTo>
                  <a:pt x="1148107" y="360029"/>
                  <a:pt x="1158679" y="359101"/>
                  <a:pt x="1170143" y="354340"/>
                </a:cubicBezTo>
                <a:cubicBezTo>
                  <a:pt x="1172366" y="353468"/>
                  <a:pt x="1172366" y="353468"/>
                  <a:pt x="1174634" y="352579"/>
                </a:cubicBezTo>
                <a:cubicBezTo>
                  <a:pt x="1180354" y="349689"/>
                  <a:pt x="1185568" y="346355"/>
                  <a:pt x="1190890" y="342907"/>
                </a:cubicBezTo>
                <a:cubicBezTo>
                  <a:pt x="1195169" y="340228"/>
                  <a:pt x="1199557" y="337821"/>
                  <a:pt x="1204021" y="335404"/>
                </a:cubicBezTo>
                <a:cubicBezTo>
                  <a:pt x="1211989" y="330886"/>
                  <a:pt x="1217509" y="325766"/>
                  <a:pt x="1223255" y="319110"/>
                </a:cubicBezTo>
                <a:cubicBezTo>
                  <a:pt x="1224447" y="317947"/>
                  <a:pt x="1225639" y="316784"/>
                  <a:pt x="1226868" y="315587"/>
                </a:cubicBezTo>
                <a:cubicBezTo>
                  <a:pt x="1229855" y="311593"/>
                  <a:pt x="1230852" y="308240"/>
                  <a:pt x="1231859" y="303559"/>
                </a:cubicBezTo>
                <a:cubicBezTo>
                  <a:pt x="1232628" y="300790"/>
                  <a:pt x="1232628" y="300790"/>
                  <a:pt x="1234178" y="298059"/>
                </a:cubicBezTo>
                <a:cubicBezTo>
                  <a:pt x="1235964" y="294761"/>
                  <a:pt x="1236623" y="291807"/>
                  <a:pt x="1237314" y="288195"/>
                </a:cubicBezTo>
                <a:cubicBezTo>
                  <a:pt x="1239360" y="278571"/>
                  <a:pt x="1242414" y="272733"/>
                  <a:pt x="1249811" y="265559"/>
                </a:cubicBezTo>
                <a:cubicBezTo>
                  <a:pt x="1250842" y="265559"/>
                  <a:pt x="1251873" y="265559"/>
                  <a:pt x="1252935" y="265559"/>
                </a:cubicBezTo>
                <a:cubicBezTo>
                  <a:pt x="1252935" y="264629"/>
                  <a:pt x="1252935" y="263699"/>
                  <a:pt x="1252935" y="262741"/>
                </a:cubicBezTo>
                <a:cubicBezTo>
                  <a:pt x="1265591" y="253427"/>
                  <a:pt x="1280762" y="251648"/>
                  <a:pt x="1296675" y="252876"/>
                </a:cubicBezTo>
                <a:cubicBezTo>
                  <a:pt x="1300535" y="253563"/>
                  <a:pt x="1303901" y="254478"/>
                  <a:pt x="1307609" y="255695"/>
                </a:cubicBezTo>
                <a:cubicBezTo>
                  <a:pt x="1307609" y="256625"/>
                  <a:pt x="1307609" y="257555"/>
                  <a:pt x="1307609" y="258513"/>
                </a:cubicBezTo>
                <a:cubicBezTo>
                  <a:pt x="1309021" y="258619"/>
                  <a:pt x="1310432" y="258723"/>
                  <a:pt x="1311887" y="258832"/>
                </a:cubicBezTo>
                <a:cubicBezTo>
                  <a:pt x="1319573" y="260476"/>
                  <a:pt x="1322149" y="264416"/>
                  <a:pt x="1326715" y="269969"/>
                </a:cubicBezTo>
                <a:cubicBezTo>
                  <a:pt x="1334402" y="281220"/>
                  <a:pt x="1336114" y="294839"/>
                  <a:pt x="1334165" y="307836"/>
                </a:cubicBezTo>
                <a:cubicBezTo>
                  <a:pt x="1332176" y="311898"/>
                  <a:pt x="1332176" y="311898"/>
                  <a:pt x="1329479" y="314882"/>
                </a:cubicBezTo>
                <a:cubicBezTo>
                  <a:pt x="1327417" y="314882"/>
                  <a:pt x="1325355" y="314882"/>
                  <a:pt x="1323231" y="314882"/>
                </a:cubicBezTo>
                <a:cubicBezTo>
                  <a:pt x="1323231" y="315812"/>
                  <a:pt x="1323231" y="316742"/>
                  <a:pt x="1323231" y="317700"/>
                </a:cubicBezTo>
                <a:lnTo>
                  <a:pt x="1322774" y="317838"/>
                </a:lnTo>
                <a:lnTo>
                  <a:pt x="1323295" y="317838"/>
                </a:lnTo>
                <a:cubicBezTo>
                  <a:pt x="1323295" y="316907"/>
                  <a:pt x="1323295" y="315977"/>
                  <a:pt x="1323295" y="315019"/>
                </a:cubicBezTo>
                <a:cubicBezTo>
                  <a:pt x="1324842" y="315019"/>
                  <a:pt x="1326388" y="315019"/>
                  <a:pt x="1327982" y="315019"/>
                </a:cubicBezTo>
                <a:cubicBezTo>
                  <a:pt x="1325845" y="321328"/>
                  <a:pt x="1322753" y="323742"/>
                  <a:pt x="1317047" y="327702"/>
                </a:cubicBezTo>
                <a:cubicBezTo>
                  <a:pt x="1316531" y="329097"/>
                  <a:pt x="1316016" y="330492"/>
                  <a:pt x="1315484" y="331930"/>
                </a:cubicBezTo>
                <a:cubicBezTo>
                  <a:pt x="1312599" y="332959"/>
                  <a:pt x="1312599" y="332959"/>
                  <a:pt x="1309139" y="333603"/>
                </a:cubicBezTo>
                <a:cubicBezTo>
                  <a:pt x="1307993" y="333827"/>
                  <a:pt x="1306847" y="334050"/>
                  <a:pt x="1305666" y="334280"/>
                </a:cubicBezTo>
                <a:cubicBezTo>
                  <a:pt x="1304783" y="334434"/>
                  <a:pt x="1303899" y="334589"/>
                  <a:pt x="1302988" y="334748"/>
                </a:cubicBezTo>
                <a:lnTo>
                  <a:pt x="1305905" y="332775"/>
                </a:lnTo>
                <a:lnTo>
                  <a:pt x="1304485" y="333202"/>
                </a:lnTo>
                <a:cubicBezTo>
                  <a:pt x="1302987" y="334640"/>
                  <a:pt x="1302987" y="334640"/>
                  <a:pt x="1301459" y="336108"/>
                </a:cubicBezTo>
                <a:cubicBezTo>
                  <a:pt x="1298237" y="338839"/>
                  <a:pt x="1298237" y="338839"/>
                  <a:pt x="1291989" y="338839"/>
                </a:cubicBezTo>
                <a:cubicBezTo>
                  <a:pt x="1291473" y="340234"/>
                  <a:pt x="1290957" y="341629"/>
                  <a:pt x="1290426" y="343066"/>
                </a:cubicBezTo>
                <a:cubicBezTo>
                  <a:pt x="1288879" y="343415"/>
                  <a:pt x="1287333" y="343764"/>
                  <a:pt x="1285740" y="344123"/>
                </a:cubicBezTo>
                <a:cubicBezTo>
                  <a:pt x="1266905" y="348491"/>
                  <a:pt x="1249005" y="369098"/>
                  <a:pt x="1237314" y="382525"/>
                </a:cubicBezTo>
                <a:cubicBezTo>
                  <a:pt x="1235678" y="385783"/>
                  <a:pt x="1234122" y="389075"/>
                  <a:pt x="1232628" y="392389"/>
                </a:cubicBezTo>
                <a:cubicBezTo>
                  <a:pt x="1231317" y="394515"/>
                  <a:pt x="1229981" y="396629"/>
                  <a:pt x="1228625" y="398731"/>
                </a:cubicBezTo>
                <a:cubicBezTo>
                  <a:pt x="1221457" y="410300"/>
                  <a:pt x="1219465" y="421836"/>
                  <a:pt x="1222822" y="434798"/>
                </a:cubicBezTo>
                <a:cubicBezTo>
                  <a:pt x="1229360" y="453710"/>
                  <a:pt x="1244088" y="472467"/>
                  <a:pt x="1260746" y="485398"/>
                </a:cubicBezTo>
                <a:cubicBezTo>
                  <a:pt x="1264961" y="487349"/>
                  <a:pt x="1264961" y="487349"/>
                  <a:pt x="1268556" y="488216"/>
                </a:cubicBezTo>
                <a:cubicBezTo>
                  <a:pt x="1268556" y="489146"/>
                  <a:pt x="1268556" y="490076"/>
                  <a:pt x="1268556" y="491034"/>
                </a:cubicBezTo>
                <a:cubicBezTo>
                  <a:pt x="1288790" y="497071"/>
                  <a:pt x="1319055" y="498555"/>
                  <a:pt x="1338852" y="489625"/>
                </a:cubicBezTo>
                <a:cubicBezTo>
                  <a:pt x="1341711" y="489213"/>
                  <a:pt x="1344575" y="488837"/>
                  <a:pt x="1347444" y="488480"/>
                </a:cubicBezTo>
                <a:cubicBezTo>
                  <a:pt x="1355372" y="487345"/>
                  <a:pt x="1362033" y="485390"/>
                  <a:pt x="1369362" y="482513"/>
                </a:cubicBezTo>
                <a:cubicBezTo>
                  <a:pt x="1375665" y="480318"/>
                  <a:pt x="1382189" y="479322"/>
                  <a:pt x="1388840" y="478351"/>
                </a:cubicBezTo>
                <a:cubicBezTo>
                  <a:pt x="1388840" y="477421"/>
                  <a:pt x="1388840" y="476492"/>
                  <a:pt x="1388840" y="475533"/>
                </a:cubicBezTo>
                <a:cubicBezTo>
                  <a:pt x="1391083" y="474821"/>
                  <a:pt x="1393329" y="474118"/>
                  <a:pt x="1395576" y="473419"/>
                </a:cubicBezTo>
                <a:cubicBezTo>
                  <a:pt x="1396827" y="473027"/>
                  <a:pt x="1398077" y="472635"/>
                  <a:pt x="1399365" y="472230"/>
                </a:cubicBezTo>
                <a:cubicBezTo>
                  <a:pt x="1402899" y="471305"/>
                  <a:pt x="1402899" y="471305"/>
                  <a:pt x="1407585" y="471305"/>
                </a:cubicBezTo>
                <a:cubicBezTo>
                  <a:pt x="1408101" y="469910"/>
                  <a:pt x="1408616" y="468515"/>
                  <a:pt x="1409147" y="467078"/>
                </a:cubicBezTo>
                <a:cubicBezTo>
                  <a:pt x="1412388" y="465580"/>
                  <a:pt x="1412388" y="465580"/>
                  <a:pt x="1416470" y="464259"/>
                </a:cubicBezTo>
                <a:cubicBezTo>
                  <a:pt x="1424029" y="461705"/>
                  <a:pt x="1431130" y="458955"/>
                  <a:pt x="1437949" y="455011"/>
                </a:cubicBezTo>
                <a:cubicBezTo>
                  <a:pt x="1442765" y="452574"/>
                  <a:pt x="1447553" y="451394"/>
                  <a:pt x="1452887" y="450167"/>
                </a:cubicBezTo>
                <a:cubicBezTo>
                  <a:pt x="1452887" y="449237"/>
                  <a:pt x="1452887" y="448307"/>
                  <a:pt x="1452887" y="447349"/>
                </a:cubicBezTo>
                <a:cubicBezTo>
                  <a:pt x="1453714" y="446944"/>
                  <a:pt x="1454541" y="446539"/>
                  <a:pt x="1455394" y="446122"/>
                </a:cubicBezTo>
                <a:cubicBezTo>
                  <a:pt x="1459151" y="444278"/>
                  <a:pt x="1462902" y="442422"/>
                  <a:pt x="1466653" y="440567"/>
                </a:cubicBezTo>
                <a:cubicBezTo>
                  <a:pt x="1467955" y="439930"/>
                  <a:pt x="1469256" y="439293"/>
                  <a:pt x="1470598" y="438637"/>
                </a:cubicBezTo>
                <a:cubicBezTo>
                  <a:pt x="1471852" y="438016"/>
                  <a:pt x="1473105" y="437393"/>
                  <a:pt x="1474397" y="436752"/>
                </a:cubicBezTo>
                <a:cubicBezTo>
                  <a:pt x="1475550" y="436184"/>
                  <a:pt x="1476703" y="435616"/>
                  <a:pt x="1477892" y="435030"/>
                </a:cubicBezTo>
                <a:cubicBezTo>
                  <a:pt x="1480966" y="433279"/>
                  <a:pt x="1483173" y="431373"/>
                  <a:pt x="1485691" y="429029"/>
                </a:cubicBezTo>
                <a:cubicBezTo>
                  <a:pt x="1486737" y="428575"/>
                  <a:pt x="1487781" y="428121"/>
                  <a:pt x="1488858" y="427653"/>
                </a:cubicBezTo>
                <a:cubicBezTo>
                  <a:pt x="1492438" y="425977"/>
                  <a:pt x="1493705" y="424453"/>
                  <a:pt x="1495943" y="421454"/>
                </a:cubicBezTo>
                <a:cubicBezTo>
                  <a:pt x="1507114" y="407544"/>
                  <a:pt x="1519758" y="393513"/>
                  <a:pt x="1538608" y="388338"/>
                </a:cubicBezTo>
                <a:cubicBezTo>
                  <a:pt x="1541025" y="388250"/>
                  <a:pt x="1541025" y="388250"/>
                  <a:pt x="1543490" y="388161"/>
                </a:cubicBezTo>
                <a:cubicBezTo>
                  <a:pt x="1545535" y="387984"/>
                  <a:pt x="1545535" y="387984"/>
                  <a:pt x="1547621" y="387804"/>
                </a:cubicBezTo>
                <a:cubicBezTo>
                  <a:pt x="1560659" y="387094"/>
                  <a:pt x="1568716" y="390117"/>
                  <a:pt x="1579418" y="396617"/>
                </a:cubicBezTo>
                <a:cubicBezTo>
                  <a:pt x="1581361" y="397687"/>
                  <a:pt x="1581361" y="397687"/>
                  <a:pt x="1583342" y="398780"/>
                </a:cubicBezTo>
                <a:cubicBezTo>
                  <a:pt x="1593703" y="405068"/>
                  <a:pt x="1598513" y="412459"/>
                  <a:pt x="1601288" y="423392"/>
                </a:cubicBezTo>
                <a:cubicBezTo>
                  <a:pt x="1603295" y="436596"/>
                  <a:pt x="1603517" y="449033"/>
                  <a:pt x="1594484" y="460159"/>
                </a:cubicBezTo>
                <a:cubicBezTo>
                  <a:pt x="1588468" y="466462"/>
                  <a:pt x="1582607" y="471150"/>
                  <a:pt x="1574732" y="475533"/>
                </a:cubicBezTo>
                <a:cubicBezTo>
                  <a:pt x="1573862" y="476043"/>
                  <a:pt x="1572993" y="476553"/>
                  <a:pt x="1572097" y="477078"/>
                </a:cubicBezTo>
                <a:cubicBezTo>
                  <a:pt x="1566828" y="478935"/>
                  <a:pt x="1561641" y="478744"/>
                  <a:pt x="1556066" y="478737"/>
                </a:cubicBezTo>
                <a:cubicBezTo>
                  <a:pt x="1553587" y="478765"/>
                  <a:pt x="1551109" y="478795"/>
                  <a:pt x="1548631" y="478825"/>
                </a:cubicBezTo>
                <a:cubicBezTo>
                  <a:pt x="1544751" y="478857"/>
                  <a:pt x="1540871" y="478880"/>
                  <a:pt x="1536991" y="478889"/>
                </a:cubicBezTo>
                <a:cubicBezTo>
                  <a:pt x="1516714" y="478693"/>
                  <a:pt x="1516714" y="478693"/>
                  <a:pt x="1498188" y="485398"/>
                </a:cubicBezTo>
                <a:cubicBezTo>
                  <a:pt x="1496062" y="486488"/>
                  <a:pt x="1496062" y="486488"/>
                  <a:pt x="1493892" y="487600"/>
                </a:cubicBezTo>
                <a:cubicBezTo>
                  <a:pt x="1492733" y="488268"/>
                  <a:pt x="1491573" y="488937"/>
                  <a:pt x="1490377" y="489625"/>
                </a:cubicBezTo>
                <a:cubicBezTo>
                  <a:pt x="1484304" y="493012"/>
                  <a:pt x="1478212" y="495675"/>
                  <a:pt x="1471650" y="498185"/>
                </a:cubicBezTo>
                <a:cubicBezTo>
                  <a:pt x="1467148" y="500054"/>
                  <a:pt x="1463242" y="502632"/>
                  <a:pt x="1459135" y="505127"/>
                </a:cubicBezTo>
                <a:cubicBezTo>
                  <a:pt x="1456968" y="506120"/>
                  <a:pt x="1454786" y="507086"/>
                  <a:pt x="1452594" y="508033"/>
                </a:cubicBezTo>
                <a:cubicBezTo>
                  <a:pt x="1444148" y="511772"/>
                  <a:pt x="1435969" y="515903"/>
                  <a:pt x="1427795" y="520100"/>
                </a:cubicBezTo>
                <a:cubicBezTo>
                  <a:pt x="1425784" y="521114"/>
                  <a:pt x="1425784" y="521114"/>
                  <a:pt x="1423733" y="522148"/>
                </a:cubicBezTo>
                <a:cubicBezTo>
                  <a:pt x="1422478" y="522798"/>
                  <a:pt x="1421223" y="523449"/>
                  <a:pt x="1419929" y="524118"/>
                </a:cubicBezTo>
                <a:cubicBezTo>
                  <a:pt x="1418794" y="524701"/>
                  <a:pt x="1417658" y="525283"/>
                  <a:pt x="1416487" y="525883"/>
                </a:cubicBezTo>
                <a:cubicBezTo>
                  <a:pt x="1413349" y="527646"/>
                  <a:pt x="1413349" y="527646"/>
                  <a:pt x="1412271" y="531902"/>
                </a:cubicBezTo>
                <a:cubicBezTo>
                  <a:pt x="1407205" y="535203"/>
                  <a:pt x="1402819" y="536744"/>
                  <a:pt x="1396650" y="537539"/>
                </a:cubicBezTo>
                <a:cubicBezTo>
                  <a:pt x="1396650" y="538469"/>
                  <a:pt x="1396650" y="539399"/>
                  <a:pt x="1396650" y="540357"/>
                </a:cubicBezTo>
                <a:cubicBezTo>
                  <a:pt x="1395609" y="540735"/>
                  <a:pt x="1394568" y="541113"/>
                  <a:pt x="1393495" y="541502"/>
                </a:cubicBezTo>
                <a:cubicBezTo>
                  <a:pt x="1381840" y="545973"/>
                  <a:pt x="1372279" y="551715"/>
                  <a:pt x="1362284" y="558678"/>
                </a:cubicBezTo>
                <a:cubicBezTo>
                  <a:pt x="1360170" y="560088"/>
                  <a:pt x="1358055" y="561497"/>
                  <a:pt x="1355937" y="562905"/>
                </a:cubicBezTo>
                <a:cubicBezTo>
                  <a:pt x="1348556" y="567937"/>
                  <a:pt x="1341292" y="573085"/>
                  <a:pt x="1334165" y="578406"/>
                </a:cubicBezTo>
                <a:cubicBezTo>
                  <a:pt x="1332697" y="579472"/>
                  <a:pt x="1332697" y="579472"/>
                  <a:pt x="1331200" y="580559"/>
                </a:cubicBezTo>
                <a:cubicBezTo>
                  <a:pt x="1325067" y="585430"/>
                  <a:pt x="1323406" y="589771"/>
                  <a:pt x="1322175" y="596793"/>
                </a:cubicBezTo>
                <a:cubicBezTo>
                  <a:pt x="1321669" y="599545"/>
                  <a:pt x="1321669" y="599545"/>
                  <a:pt x="1320106" y="602363"/>
                </a:cubicBezTo>
                <a:cubicBezTo>
                  <a:pt x="1318419" y="618189"/>
                  <a:pt x="1322416" y="632767"/>
                  <a:pt x="1328015" y="647640"/>
                </a:cubicBezTo>
                <a:cubicBezTo>
                  <a:pt x="1331267" y="656625"/>
                  <a:pt x="1333170" y="666179"/>
                  <a:pt x="1332604" y="675643"/>
                </a:cubicBezTo>
                <a:cubicBezTo>
                  <a:pt x="1333634" y="675643"/>
                  <a:pt x="1334665" y="675643"/>
                  <a:pt x="1335727" y="675643"/>
                </a:cubicBezTo>
                <a:cubicBezTo>
                  <a:pt x="1337571" y="680632"/>
                  <a:pt x="1337591" y="684795"/>
                  <a:pt x="1337741" y="690059"/>
                </a:cubicBezTo>
                <a:cubicBezTo>
                  <a:pt x="1337826" y="692114"/>
                  <a:pt x="1337913" y="694168"/>
                  <a:pt x="1338003" y="696222"/>
                </a:cubicBezTo>
                <a:cubicBezTo>
                  <a:pt x="1338142" y="699444"/>
                  <a:pt x="1338266" y="702664"/>
                  <a:pt x="1338340" y="705887"/>
                </a:cubicBezTo>
                <a:cubicBezTo>
                  <a:pt x="1338372" y="720474"/>
                  <a:pt x="1338372" y="720474"/>
                  <a:pt x="1345277" y="733245"/>
                </a:cubicBezTo>
                <a:cubicBezTo>
                  <a:pt x="1350822" y="737861"/>
                  <a:pt x="1355921" y="739823"/>
                  <a:pt x="1363162" y="741612"/>
                </a:cubicBezTo>
                <a:cubicBezTo>
                  <a:pt x="1370672" y="743533"/>
                  <a:pt x="1377197" y="745750"/>
                  <a:pt x="1384154" y="748922"/>
                </a:cubicBezTo>
                <a:cubicBezTo>
                  <a:pt x="1387833" y="749898"/>
                  <a:pt x="1387833" y="749898"/>
                  <a:pt x="1391476" y="750419"/>
                </a:cubicBezTo>
                <a:cubicBezTo>
                  <a:pt x="1393499" y="750747"/>
                  <a:pt x="1393499" y="750747"/>
                  <a:pt x="1395564" y="751080"/>
                </a:cubicBezTo>
                <a:cubicBezTo>
                  <a:pt x="1397648" y="751407"/>
                  <a:pt x="1397648" y="751407"/>
                  <a:pt x="1399775" y="751740"/>
                </a:cubicBezTo>
                <a:cubicBezTo>
                  <a:pt x="1401810" y="752111"/>
                  <a:pt x="1401810" y="752111"/>
                  <a:pt x="1403887" y="752489"/>
                </a:cubicBezTo>
                <a:cubicBezTo>
                  <a:pt x="1424247" y="756131"/>
                  <a:pt x="1444708" y="756350"/>
                  <a:pt x="1465383" y="755969"/>
                </a:cubicBezTo>
                <a:cubicBezTo>
                  <a:pt x="1467019" y="755945"/>
                  <a:pt x="1468654" y="755921"/>
                  <a:pt x="1470339" y="755897"/>
                </a:cubicBezTo>
                <a:cubicBezTo>
                  <a:pt x="1480128" y="755450"/>
                  <a:pt x="1487899" y="752933"/>
                  <a:pt x="1496809" y="749313"/>
                </a:cubicBezTo>
                <a:cubicBezTo>
                  <a:pt x="1502876" y="746888"/>
                  <a:pt x="1509049" y="745091"/>
                  <a:pt x="1515371" y="743285"/>
                </a:cubicBezTo>
                <a:cubicBezTo>
                  <a:pt x="1515371" y="742356"/>
                  <a:pt x="1515371" y="741425"/>
                  <a:pt x="1515371" y="740467"/>
                </a:cubicBezTo>
                <a:cubicBezTo>
                  <a:pt x="1522710" y="737103"/>
                  <a:pt x="1529583" y="737106"/>
                  <a:pt x="1537632" y="737120"/>
                </a:cubicBezTo>
                <a:cubicBezTo>
                  <a:pt x="1538960" y="737122"/>
                  <a:pt x="1540289" y="737124"/>
                  <a:pt x="1541657" y="737127"/>
                </a:cubicBezTo>
                <a:cubicBezTo>
                  <a:pt x="1555502" y="737372"/>
                  <a:pt x="1564314" y="740697"/>
                  <a:pt x="1574732" y="748922"/>
                </a:cubicBezTo>
                <a:cubicBezTo>
                  <a:pt x="1586507" y="762822"/>
                  <a:pt x="1590347" y="775219"/>
                  <a:pt x="1588791" y="792608"/>
                </a:cubicBezTo>
                <a:cubicBezTo>
                  <a:pt x="1587728" y="797050"/>
                  <a:pt x="1586468" y="801261"/>
                  <a:pt x="1584105" y="805291"/>
                </a:cubicBezTo>
                <a:cubicBezTo>
                  <a:pt x="1583074" y="805756"/>
                  <a:pt x="1582043" y="806221"/>
                  <a:pt x="1580981" y="806700"/>
                </a:cubicBezTo>
                <a:cubicBezTo>
                  <a:pt x="1580240" y="807892"/>
                  <a:pt x="1579499" y="809083"/>
                  <a:pt x="1578735" y="810311"/>
                </a:cubicBezTo>
                <a:cubicBezTo>
                  <a:pt x="1577930" y="811445"/>
                  <a:pt x="1577124" y="812579"/>
                  <a:pt x="1576295" y="813746"/>
                </a:cubicBezTo>
                <a:lnTo>
                  <a:pt x="1571652" y="813746"/>
                </a:lnTo>
                <a:lnTo>
                  <a:pt x="1571785" y="814106"/>
                </a:lnTo>
                <a:cubicBezTo>
                  <a:pt x="1572816" y="814571"/>
                  <a:pt x="1573846" y="815036"/>
                  <a:pt x="1574909" y="815515"/>
                </a:cubicBezTo>
                <a:cubicBezTo>
                  <a:pt x="1572126" y="818758"/>
                  <a:pt x="1569968" y="820871"/>
                  <a:pt x="1565463" y="821839"/>
                </a:cubicBezTo>
                <a:lnTo>
                  <a:pt x="1562085" y="822101"/>
                </a:lnTo>
                <a:lnTo>
                  <a:pt x="1551301" y="825020"/>
                </a:lnTo>
                <a:cubicBezTo>
                  <a:pt x="1551301" y="825950"/>
                  <a:pt x="1551301" y="826880"/>
                  <a:pt x="1551301" y="827838"/>
                </a:cubicBezTo>
                <a:cubicBezTo>
                  <a:pt x="1526697" y="828735"/>
                  <a:pt x="1507496" y="825036"/>
                  <a:pt x="1485380" y="815007"/>
                </a:cubicBezTo>
                <a:cubicBezTo>
                  <a:pt x="1468723" y="807743"/>
                  <a:pt x="1449749" y="809144"/>
                  <a:pt x="1431603" y="808726"/>
                </a:cubicBezTo>
                <a:cubicBezTo>
                  <a:pt x="1429115" y="808665"/>
                  <a:pt x="1426627" y="808604"/>
                  <a:pt x="1424140" y="808542"/>
                </a:cubicBezTo>
                <a:cubicBezTo>
                  <a:pt x="1418101" y="808392"/>
                  <a:pt x="1412062" y="808249"/>
                  <a:pt x="1406023" y="808109"/>
                </a:cubicBezTo>
                <a:cubicBezTo>
                  <a:pt x="1406023" y="809040"/>
                  <a:pt x="1406023" y="809970"/>
                  <a:pt x="1406023" y="810928"/>
                </a:cubicBezTo>
                <a:cubicBezTo>
                  <a:pt x="1404716" y="811118"/>
                  <a:pt x="1404716" y="811118"/>
                  <a:pt x="1403383" y="811311"/>
                </a:cubicBezTo>
                <a:cubicBezTo>
                  <a:pt x="1372054" y="815110"/>
                  <a:pt x="1372054" y="815110"/>
                  <a:pt x="1345442" y="828907"/>
                </a:cubicBezTo>
                <a:cubicBezTo>
                  <a:pt x="1338843" y="837605"/>
                  <a:pt x="1338313" y="846434"/>
                  <a:pt x="1337875" y="856639"/>
                </a:cubicBezTo>
                <a:cubicBezTo>
                  <a:pt x="1337815" y="857805"/>
                  <a:pt x="1337754" y="858970"/>
                  <a:pt x="1337692" y="860171"/>
                </a:cubicBezTo>
                <a:cubicBezTo>
                  <a:pt x="1337547" y="863016"/>
                  <a:pt x="1337417" y="865861"/>
                  <a:pt x="1337290" y="868706"/>
                </a:cubicBezTo>
                <a:cubicBezTo>
                  <a:pt x="1336258" y="868706"/>
                  <a:pt x="1335228" y="868706"/>
                  <a:pt x="1334165" y="868706"/>
                </a:cubicBezTo>
                <a:lnTo>
                  <a:pt x="1334165" y="870034"/>
                </a:lnTo>
                <a:lnTo>
                  <a:pt x="1334237" y="869093"/>
                </a:lnTo>
                <a:cubicBezTo>
                  <a:pt x="1334753" y="869093"/>
                  <a:pt x="1335268" y="869093"/>
                  <a:pt x="1335800" y="869093"/>
                </a:cubicBezTo>
                <a:cubicBezTo>
                  <a:pt x="1335884" y="871559"/>
                  <a:pt x="1335944" y="874025"/>
                  <a:pt x="1335995" y="876491"/>
                </a:cubicBezTo>
                <a:cubicBezTo>
                  <a:pt x="1336030" y="877865"/>
                  <a:pt x="1336067" y="879238"/>
                  <a:pt x="1336105" y="880653"/>
                </a:cubicBezTo>
                <a:cubicBezTo>
                  <a:pt x="1335800" y="884594"/>
                  <a:pt x="1335800" y="884594"/>
                  <a:pt x="1334294" y="887271"/>
                </a:cubicBezTo>
                <a:cubicBezTo>
                  <a:pt x="1332567" y="890428"/>
                  <a:pt x="1331982" y="892964"/>
                  <a:pt x="1331455" y="896440"/>
                </a:cubicBezTo>
                <a:cubicBezTo>
                  <a:pt x="1331267" y="897605"/>
                  <a:pt x="1331080" y="898769"/>
                  <a:pt x="1330887" y="899969"/>
                </a:cubicBezTo>
                <a:cubicBezTo>
                  <a:pt x="1330704" y="901174"/>
                  <a:pt x="1330521" y="902378"/>
                  <a:pt x="1330332" y="903618"/>
                </a:cubicBezTo>
                <a:cubicBezTo>
                  <a:pt x="1329968" y="906013"/>
                  <a:pt x="1329594" y="908405"/>
                  <a:pt x="1329209" y="910797"/>
                </a:cubicBezTo>
                <a:cubicBezTo>
                  <a:pt x="1329049" y="911853"/>
                  <a:pt x="1328889" y="912910"/>
                  <a:pt x="1328724" y="913998"/>
                </a:cubicBezTo>
                <a:cubicBezTo>
                  <a:pt x="1327933" y="917233"/>
                  <a:pt x="1326525" y="919703"/>
                  <a:pt x="1324865" y="922643"/>
                </a:cubicBezTo>
                <a:cubicBezTo>
                  <a:pt x="1323924" y="927743"/>
                  <a:pt x="1323282" y="932845"/>
                  <a:pt x="1322619" y="937979"/>
                </a:cubicBezTo>
                <a:lnTo>
                  <a:pt x="1318744" y="944961"/>
                </a:lnTo>
                <a:lnTo>
                  <a:pt x="1318544" y="946213"/>
                </a:lnTo>
                <a:cubicBezTo>
                  <a:pt x="1318360" y="949234"/>
                  <a:pt x="1318271" y="952260"/>
                  <a:pt x="1318251" y="955285"/>
                </a:cubicBezTo>
                <a:cubicBezTo>
                  <a:pt x="1318218" y="957637"/>
                  <a:pt x="1318218" y="957637"/>
                  <a:pt x="1318184" y="960036"/>
                </a:cubicBezTo>
                <a:cubicBezTo>
                  <a:pt x="1318624" y="965530"/>
                  <a:pt x="1319569" y="969724"/>
                  <a:pt x="1324024" y="973660"/>
                </a:cubicBezTo>
                <a:cubicBezTo>
                  <a:pt x="1327197" y="976583"/>
                  <a:pt x="1327950" y="979494"/>
                  <a:pt x="1329284" y="983382"/>
                </a:cubicBezTo>
                <a:cubicBezTo>
                  <a:pt x="1331875" y="990106"/>
                  <a:pt x="1334445" y="993582"/>
                  <a:pt x="1340414" y="998354"/>
                </a:cubicBezTo>
                <a:cubicBezTo>
                  <a:pt x="1342397" y="1000564"/>
                  <a:pt x="1344347" y="1002798"/>
                  <a:pt x="1346272" y="1005048"/>
                </a:cubicBezTo>
                <a:cubicBezTo>
                  <a:pt x="1360055" y="1020713"/>
                  <a:pt x="1376247" y="1031879"/>
                  <a:pt x="1394716" y="1042740"/>
                </a:cubicBezTo>
                <a:cubicBezTo>
                  <a:pt x="1397172" y="1044228"/>
                  <a:pt x="1399581" y="1045779"/>
                  <a:pt x="1401953" y="1047374"/>
                </a:cubicBezTo>
                <a:cubicBezTo>
                  <a:pt x="1410065" y="1052802"/>
                  <a:pt x="1417529" y="1056366"/>
                  <a:pt x="1427197" y="1059061"/>
                </a:cubicBezTo>
                <a:cubicBezTo>
                  <a:pt x="1431243" y="1060437"/>
                  <a:pt x="1434061" y="1061979"/>
                  <a:pt x="1437265" y="1064588"/>
                </a:cubicBezTo>
                <a:cubicBezTo>
                  <a:pt x="1437265" y="1065518"/>
                  <a:pt x="1437265" y="1066448"/>
                  <a:pt x="1437265" y="1067406"/>
                </a:cubicBezTo>
                <a:cubicBezTo>
                  <a:pt x="1439053" y="1067624"/>
                  <a:pt x="1439053" y="1067624"/>
                  <a:pt x="1440878" y="1067847"/>
                </a:cubicBezTo>
                <a:cubicBezTo>
                  <a:pt x="1445076" y="1068815"/>
                  <a:pt x="1445076" y="1068815"/>
                  <a:pt x="1447175" y="1070753"/>
                </a:cubicBezTo>
                <a:cubicBezTo>
                  <a:pt x="1450417" y="1073622"/>
                  <a:pt x="1453781" y="1075060"/>
                  <a:pt x="1457866" y="1076830"/>
                </a:cubicBezTo>
                <a:cubicBezTo>
                  <a:pt x="1459274" y="1077446"/>
                  <a:pt x="1460681" y="1078062"/>
                  <a:pt x="1462132" y="1078696"/>
                </a:cubicBezTo>
                <a:cubicBezTo>
                  <a:pt x="1463204" y="1079156"/>
                  <a:pt x="1464278" y="1079616"/>
                  <a:pt x="1465383" y="1080089"/>
                </a:cubicBezTo>
                <a:cubicBezTo>
                  <a:pt x="1465383" y="1081019"/>
                  <a:pt x="1465383" y="1081949"/>
                  <a:pt x="1465383" y="1082908"/>
                </a:cubicBezTo>
                <a:cubicBezTo>
                  <a:pt x="1466497" y="1083260"/>
                  <a:pt x="1467611" y="1083612"/>
                  <a:pt x="1468758" y="1083975"/>
                </a:cubicBezTo>
                <a:cubicBezTo>
                  <a:pt x="1473648" y="1085905"/>
                  <a:pt x="1477426" y="1088296"/>
                  <a:pt x="1481688" y="1091187"/>
                </a:cubicBezTo>
                <a:cubicBezTo>
                  <a:pt x="1483204" y="1092193"/>
                  <a:pt x="1484721" y="1093200"/>
                  <a:pt x="1486283" y="1094236"/>
                </a:cubicBezTo>
                <a:cubicBezTo>
                  <a:pt x="1489170" y="1096185"/>
                  <a:pt x="1492029" y="1098166"/>
                  <a:pt x="1494869" y="1100171"/>
                </a:cubicBezTo>
                <a:cubicBezTo>
                  <a:pt x="1510181" y="1107906"/>
                  <a:pt x="1527080" y="1109898"/>
                  <a:pt x="1544335" y="1109518"/>
                </a:cubicBezTo>
                <a:cubicBezTo>
                  <a:pt x="1579932" y="1108798"/>
                  <a:pt x="1579932" y="1108798"/>
                  <a:pt x="1593477" y="1119900"/>
                </a:cubicBezTo>
                <a:cubicBezTo>
                  <a:pt x="1600636" y="1127255"/>
                  <a:pt x="1604889" y="1135120"/>
                  <a:pt x="1605975" y="1144913"/>
                </a:cubicBezTo>
                <a:cubicBezTo>
                  <a:pt x="1607006" y="1144913"/>
                  <a:pt x="1608036" y="1144913"/>
                  <a:pt x="1609099" y="1144913"/>
                </a:cubicBezTo>
                <a:cubicBezTo>
                  <a:pt x="1609227" y="1148907"/>
                  <a:pt x="1609319" y="1152897"/>
                  <a:pt x="1609392" y="1156892"/>
                </a:cubicBezTo>
                <a:cubicBezTo>
                  <a:pt x="1609451" y="1158565"/>
                  <a:pt x="1609451" y="1158565"/>
                  <a:pt x="1609511" y="1160272"/>
                </a:cubicBezTo>
                <a:cubicBezTo>
                  <a:pt x="1609621" y="1168378"/>
                  <a:pt x="1607970" y="1174108"/>
                  <a:pt x="1604412" y="1181553"/>
                </a:cubicBezTo>
                <a:cubicBezTo>
                  <a:pt x="1603354" y="1184367"/>
                  <a:pt x="1602306" y="1187183"/>
                  <a:pt x="1601288" y="1190009"/>
                </a:cubicBezTo>
                <a:cubicBezTo>
                  <a:pt x="1600257" y="1190009"/>
                  <a:pt x="1599226" y="1190009"/>
                  <a:pt x="1598164" y="1190009"/>
                </a:cubicBezTo>
                <a:cubicBezTo>
                  <a:pt x="1597842" y="1190910"/>
                  <a:pt x="1597520" y="1191810"/>
                  <a:pt x="1597187" y="1192739"/>
                </a:cubicBezTo>
                <a:cubicBezTo>
                  <a:pt x="1596479" y="1193698"/>
                  <a:pt x="1595770" y="1194657"/>
                  <a:pt x="1595040" y="1195645"/>
                </a:cubicBezTo>
                <a:cubicBezTo>
                  <a:pt x="1591916" y="1196115"/>
                  <a:pt x="1588791" y="1196585"/>
                  <a:pt x="1585667" y="1197055"/>
                </a:cubicBezTo>
                <a:cubicBezTo>
                  <a:pt x="1583871" y="1199826"/>
                  <a:pt x="1583871" y="1199826"/>
                  <a:pt x="1582543" y="1202691"/>
                </a:cubicBezTo>
                <a:cubicBezTo>
                  <a:pt x="1575997" y="1204710"/>
                  <a:pt x="1569266" y="1204360"/>
                  <a:pt x="1562431" y="1204365"/>
                </a:cubicBezTo>
                <a:cubicBezTo>
                  <a:pt x="1561196" y="1204382"/>
                  <a:pt x="1559962" y="1204399"/>
                  <a:pt x="1558690" y="1204417"/>
                </a:cubicBezTo>
                <a:cubicBezTo>
                  <a:pt x="1543339" y="1204452"/>
                  <a:pt x="1531981" y="1199267"/>
                  <a:pt x="1521102" y="1189585"/>
                </a:cubicBezTo>
                <a:cubicBezTo>
                  <a:pt x="1515403" y="1183953"/>
                  <a:pt x="1510116" y="1178123"/>
                  <a:pt x="1505022" y="1172041"/>
                </a:cubicBezTo>
                <a:cubicBezTo>
                  <a:pt x="1493200" y="1158177"/>
                  <a:pt x="1475492" y="1147115"/>
                  <a:pt x="1457573" y="1140686"/>
                </a:cubicBezTo>
                <a:cubicBezTo>
                  <a:pt x="1457573" y="1139755"/>
                  <a:pt x="1457573" y="1138826"/>
                  <a:pt x="1457573" y="1137867"/>
                </a:cubicBezTo>
                <a:cubicBezTo>
                  <a:pt x="1456059" y="1137693"/>
                  <a:pt x="1454544" y="1137518"/>
                  <a:pt x="1452985" y="1137339"/>
                </a:cubicBezTo>
                <a:cubicBezTo>
                  <a:pt x="1451406" y="1137048"/>
                  <a:pt x="1449827" y="1136758"/>
                  <a:pt x="1448200" y="1136458"/>
                </a:cubicBezTo>
                <a:cubicBezTo>
                  <a:pt x="1447685" y="1135528"/>
                  <a:pt x="1447169" y="1134598"/>
                  <a:pt x="1446638" y="1133640"/>
                </a:cubicBezTo>
                <a:cubicBezTo>
                  <a:pt x="1444091" y="1132586"/>
                  <a:pt x="1441535" y="1131550"/>
                  <a:pt x="1438937" y="1130601"/>
                </a:cubicBezTo>
                <a:cubicBezTo>
                  <a:pt x="1435668" y="1129399"/>
                  <a:pt x="1432469" y="1128095"/>
                  <a:pt x="1429260" y="1126770"/>
                </a:cubicBezTo>
                <a:cubicBezTo>
                  <a:pt x="1423389" y="1124389"/>
                  <a:pt x="1417431" y="1122349"/>
                  <a:pt x="1411393" y="1120340"/>
                </a:cubicBezTo>
                <a:cubicBezTo>
                  <a:pt x="1404143" y="1117867"/>
                  <a:pt x="1397842" y="1115090"/>
                  <a:pt x="1391427" y="1111191"/>
                </a:cubicBezTo>
                <a:cubicBezTo>
                  <a:pt x="1388139" y="1109274"/>
                  <a:pt x="1384723" y="1108010"/>
                  <a:pt x="1381029" y="1106865"/>
                </a:cubicBezTo>
                <a:cubicBezTo>
                  <a:pt x="1381029" y="1105934"/>
                  <a:pt x="1381029" y="1105004"/>
                  <a:pt x="1381029" y="1104046"/>
                </a:cubicBezTo>
                <a:cubicBezTo>
                  <a:pt x="1379773" y="1103901"/>
                  <a:pt x="1378516" y="1103755"/>
                  <a:pt x="1377221" y="1103605"/>
                </a:cubicBezTo>
                <a:cubicBezTo>
                  <a:pt x="1370425" y="1102422"/>
                  <a:pt x="1364120" y="1100465"/>
                  <a:pt x="1357597" y="1098409"/>
                </a:cubicBezTo>
                <a:cubicBezTo>
                  <a:pt x="1355761" y="1097857"/>
                  <a:pt x="1353924" y="1097304"/>
                  <a:pt x="1352032" y="1096736"/>
                </a:cubicBezTo>
                <a:cubicBezTo>
                  <a:pt x="1350776" y="1096358"/>
                  <a:pt x="1349519" y="1095980"/>
                  <a:pt x="1348225" y="1095590"/>
                </a:cubicBezTo>
                <a:cubicBezTo>
                  <a:pt x="1348225" y="1094661"/>
                  <a:pt x="1348225" y="1093730"/>
                  <a:pt x="1348225" y="1092772"/>
                </a:cubicBezTo>
                <a:cubicBezTo>
                  <a:pt x="1344616" y="1092307"/>
                  <a:pt x="1341007" y="1091842"/>
                  <a:pt x="1337290" y="1091363"/>
                </a:cubicBezTo>
                <a:cubicBezTo>
                  <a:pt x="1337290" y="1090433"/>
                  <a:pt x="1337290" y="1089503"/>
                  <a:pt x="1337290" y="1088544"/>
                </a:cubicBezTo>
                <a:cubicBezTo>
                  <a:pt x="1334438" y="1088327"/>
                  <a:pt x="1334438" y="1088327"/>
                  <a:pt x="1331529" y="1088104"/>
                </a:cubicBezTo>
                <a:lnTo>
                  <a:pt x="1323297" y="1086611"/>
                </a:lnTo>
                <a:lnTo>
                  <a:pt x="1323297" y="1087618"/>
                </a:lnTo>
                <a:cubicBezTo>
                  <a:pt x="1322139" y="1087517"/>
                  <a:pt x="1320982" y="1087415"/>
                  <a:pt x="1319789" y="1087310"/>
                </a:cubicBezTo>
                <a:cubicBezTo>
                  <a:pt x="1300429" y="1085771"/>
                  <a:pt x="1281330" y="1084680"/>
                  <a:pt x="1262375" y="1089028"/>
                </a:cubicBezTo>
                <a:lnTo>
                  <a:pt x="1258728" y="1088205"/>
                </a:lnTo>
                <a:lnTo>
                  <a:pt x="1246964" y="1091489"/>
                </a:lnTo>
                <a:cubicBezTo>
                  <a:pt x="1237239" y="1097222"/>
                  <a:pt x="1228703" y="1103434"/>
                  <a:pt x="1223224" y="1112865"/>
                </a:cubicBezTo>
                <a:cubicBezTo>
                  <a:pt x="1220867" y="1116643"/>
                  <a:pt x="1217262" y="1119317"/>
                  <a:pt x="1213883" y="1122366"/>
                </a:cubicBezTo>
                <a:cubicBezTo>
                  <a:pt x="1213428" y="1123469"/>
                  <a:pt x="1212973" y="1124572"/>
                  <a:pt x="1212505" y="1125708"/>
                </a:cubicBezTo>
                <a:cubicBezTo>
                  <a:pt x="1210449" y="1130067"/>
                  <a:pt x="1207984" y="1132315"/>
                  <a:pt x="1204180" y="1135561"/>
                </a:cubicBezTo>
                <a:cubicBezTo>
                  <a:pt x="1202879" y="1136695"/>
                  <a:pt x="1201578" y="1137829"/>
                  <a:pt x="1200238" y="1138999"/>
                </a:cubicBezTo>
                <a:cubicBezTo>
                  <a:pt x="1197504" y="1141343"/>
                  <a:pt x="1194765" y="1143684"/>
                  <a:pt x="1192025" y="1146022"/>
                </a:cubicBezTo>
                <a:cubicBezTo>
                  <a:pt x="1181899" y="1154869"/>
                  <a:pt x="1174983" y="1161763"/>
                  <a:pt x="1173945" y="1174749"/>
                </a:cubicBezTo>
                <a:cubicBezTo>
                  <a:pt x="1173902" y="1177369"/>
                  <a:pt x="1173905" y="1179990"/>
                  <a:pt x="1173950" y="1182610"/>
                </a:cubicBezTo>
                <a:cubicBezTo>
                  <a:pt x="1173963" y="1183981"/>
                  <a:pt x="1173975" y="1185352"/>
                  <a:pt x="1173989" y="1186765"/>
                </a:cubicBezTo>
                <a:cubicBezTo>
                  <a:pt x="1174321" y="1197573"/>
                  <a:pt x="1176809" y="1205883"/>
                  <a:pt x="1182640" y="1215374"/>
                </a:cubicBezTo>
                <a:cubicBezTo>
                  <a:pt x="1183703" y="1217509"/>
                  <a:pt x="1184746" y="1219652"/>
                  <a:pt x="1185764" y="1221804"/>
                </a:cubicBezTo>
                <a:cubicBezTo>
                  <a:pt x="1186271" y="1222812"/>
                  <a:pt x="1186779" y="1223821"/>
                  <a:pt x="1187301" y="1224859"/>
                </a:cubicBezTo>
                <a:cubicBezTo>
                  <a:pt x="1188431" y="1227137"/>
                  <a:pt x="1189517" y="1229433"/>
                  <a:pt x="1190573" y="1231740"/>
                </a:cubicBezTo>
                <a:cubicBezTo>
                  <a:pt x="1194650" y="1240409"/>
                  <a:pt x="1199581" y="1247688"/>
                  <a:pt x="1205925" y="1255163"/>
                </a:cubicBezTo>
                <a:cubicBezTo>
                  <a:pt x="1208103" y="1257757"/>
                  <a:pt x="1210188" y="1260417"/>
                  <a:pt x="1212174" y="1263134"/>
                </a:cubicBezTo>
                <a:cubicBezTo>
                  <a:pt x="1218757" y="1272043"/>
                  <a:pt x="1225157" y="1277324"/>
                  <a:pt x="1235556" y="1282538"/>
                </a:cubicBezTo>
                <a:cubicBezTo>
                  <a:pt x="1236652" y="1283161"/>
                  <a:pt x="1237747" y="1283784"/>
                  <a:pt x="1238876" y="1284426"/>
                </a:cubicBezTo>
                <a:cubicBezTo>
                  <a:pt x="1238876" y="1285356"/>
                  <a:pt x="1238876" y="1286287"/>
                  <a:pt x="1238876" y="1287245"/>
                </a:cubicBezTo>
                <a:cubicBezTo>
                  <a:pt x="1239988" y="1287383"/>
                  <a:pt x="1241099" y="1287521"/>
                  <a:pt x="1242245" y="1287663"/>
                </a:cubicBezTo>
                <a:cubicBezTo>
                  <a:pt x="1253043" y="1290072"/>
                  <a:pt x="1264916" y="1297690"/>
                  <a:pt x="1271681" y="1305565"/>
                </a:cubicBezTo>
                <a:lnTo>
                  <a:pt x="1271742" y="1306172"/>
                </a:lnTo>
                <a:lnTo>
                  <a:pt x="1278525" y="1315767"/>
                </a:lnTo>
                <a:cubicBezTo>
                  <a:pt x="1279797" y="1319398"/>
                  <a:pt x="1280365" y="1323346"/>
                  <a:pt x="1281097" y="1327286"/>
                </a:cubicBezTo>
                <a:cubicBezTo>
                  <a:pt x="1281916" y="1337121"/>
                  <a:pt x="1281807" y="1346176"/>
                  <a:pt x="1277973" y="1355470"/>
                </a:cubicBezTo>
                <a:lnTo>
                  <a:pt x="1277460" y="1347025"/>
                </a:lnTo>
                <a:lnTo>
                  <a:pt x="1273531" y="1357991"/>
                </a:lnTo>
                <a:cubicBezTo>
                  <a:pt x="1270940" y="1361892"/>
                  <a:pt x="1267521" y="1365435"/>
                  <a:pt x="1263870" y="1368980"/>
                </a:cubicBezTo>
                <a:cubicBezTo>
                  <a:pt x="1258351" y="1372929"/>
                  <a:pt x="1253850" y="1376026"/>
                  <a:pt x="1246686" y="1376026"/>
                </a:cubicBezTo>
                <a:cubicBezTo>
                  <a:pt x="1246686" y="1376956"/>
                  <a:pt x="1246686" y="1377886"/>
                  <a:pt x="1246686" y="1378844"/>
                </a:cubicBezTo>
                <a:cubicBezTo>
                  <a:pt x="1241676" y="1379009"/>
                  <a:pt x="1236665" y="1379109"/>
                  <a:pt x="1231651" y="1379196"/>
                </a:cubicBezTo>
                <a:cubicBezTo>
                  <a:pt x="1230240" y="1379244"/>
                  <a:pt x="1228828" y="1379291"/>
                  <a:pt x="1227373" y="1379340"/>
                </a:cubicBezTo>
                <a:cubicBezTo>
                  <a:pt x="1218287" y="1379460"/>
                  <a:pt x="1213363" y="1378568"/>
                  <a:pt x="1206071" y="1373207"/>
                </a:cubicBezTo>
                <a:cubicBezTo>
                  <a:pt x="1204751" y="1372742"/>
                  <a:pt x="1203430" y="1372277"/>
                  <a:pt x="1202069" y="1371798"/>
                </a:cubicBezTo>
                <a:cubicBezTo>
                  <a:pt x="1193777" y="1368730"/>
                  <a:pt x="1188124" y="1363294"/>
                  <a:pt x="1184104" y="1356176"/>
                </a:cubicBezTo>
                <a:cubicBezTo>
                  <a:pt x="1180965" y="1349259"/>
                  <a:pt x="1178852" y="1342590"/>
                  <a:pt x="1177270" y="1335247"/>
                </a:cubicBezTo>
                <a:cubicBezTo>
                  <a:pt x="1175525" y="1327352"/>
                  <a:pt x="1172911" y="1320677"/>
                  <a:pt x="1169002" y="1313464"/>
                </a:cubicBezTo>
                <a:cubicBezTo>
                  <a:pt x="1166989" y="1309737"/>
                  <a:pt x="1165215" y="1305976"/>
                  <a:pt x="1163504" y="1302130"/>
                </a:cubicBezTo>
                <a:cubicBezTo>
                  <a:pt x="1163013" y="1301027"/>
                  <a:pt x="1162521" y="1299924"/>
                  <a:pt x="1162015" y="1298788"/>
                </a:cubicBezTo>
                <a:cubicBezTo>
                  <a:pt x="1160770" y="1295700"/>
                  <a:pt x="1160770" y="1295700"/>
                  <a:pt x="1160111" y="1292656"/>
                </a:cubicBezTo>
                <a:cubicBezTo>
                  <a:pt x="1159345" y="1289507"/>
                  <a:pt x="1159345" y="1289507"/>
                  <a:pt x="1154522" y="1287245"/>
                </a:cubicBezTo>
                <a:cubicBezTo>
                  <a:pt x="1153465" y="1284902"/>
                  <a:pt x="1152426" y="1282552"/>
                  <a:pt x="1151398" y="1280199"/>
                </a:cubicBezTo>
                <a:cubicBezTo>
                  <a:pt x="1149056" y="1276983"/>
                  <a:pt x="1146686" y="1273874"/>
                  <a:pt x="1144173" y="1270774"/>
                </a:cubicBezTo>
                <a:cubicBezTo>
                  <a:pt x="1143477" y="1269912"/>
                  <a:pt x="1142782" y="1269049"/>
                  <a:pt x="1142065" y="1268160"/>
                </a:cubicBezTo>
                <a:cubicBezTo>
                  <a:pt x="1139981" y="1265589"/>
                  <a:pt x="1137880" y="1263029"/>
                  <a:pt x="1135776" y="1260470"/>
                </a:cubicBezTo>
                <a:cubicBezTo>
                  <a:pt x="1134647" y="1259076"/>
                  <a:pt x="1133517" y="1257683"/>
                  <a:pt x="1132353" y="1256247"/>
                </a:cubicBezTo>
                <a:cubicBezTo>
                  <a:pt x="1126291" y="1249045"/>
                  <a:pt x="1121408" y="1244606"/>
                  <a:pt x="1112344" y="1240741"/>
                </a:cubicBezTo>
                <a:cubicBezTo>
                  <a:pt x="1110285" y="1239698"/>
                  <a:pt x="1108234" y="1238642"/>
                  <a:pt x="1106193" y="1237570"/>
                </a:cubicBezTo>
                <a:cubicBezTo>
                  <a:pt x="1104615" y="1236756"/>
                  <a:pt x="1103036" y="1235942"/>
                  <a:pt x="1101409" y="1235104"/>
                </a:cubicBezTo>
                <a:cubicBezTo>
                  <a:pt x="1101409" y="1233708"/>
                  <a:pt x="1101409" y="1232313"/>
                  <a:pt x="1101409" y="1230876"/>
                </a:cubicBezTo>
                <a:cubicBezTo>
                  <a:pt x="1089553" y="1230876"/>
                  <a:pt x="1077697" y="1230876"/>
                  <a:pt x="1065480" y="1230876"/>
                </a:cubicBezTo>
                <a:cubicBezTo>
                  <a:pt x="1064965" y="1232271"/>
                  <a:pt x="1064450" y="1233666"/>
                  <a:pt x="1063919" y="1235104"/>
                </a:cubicBezTo>
                <a:cubicBezTo>
                  <a:pt x="1062372" y="1235104"/>
                  <a:pt x="1060826" y="1235104"/>
                  <a:pt x="1059232" y="1235104"/>
                </a:cubicBezTo>
                <a:cubicBezTo>
                  <a:pt x="1059232" y="1236033"/>
                  <a:pt x="1059232" y="1236964"/>
                  <a:pt x="1059232" y="1237922"/>
                </a:cubicBezTo>
                <a:cubicBezTo>
                  <a:pt x="1052964" y="1240850"/>
                  <a:pt x="1046842" y="1243613"/>
                  <a:pt x="1040194" y="1245761"/>
                </a:cubicBezTo>
                <a:cubicBezTo>
                  <a:pt x="1036552" y="1246941"/>
                  <a:pt x="1033682" y="1248088"/>
                  <a:pt x="1030333" y="1249901"/>
                </a:cubicBezTo>
                <a:cubicBezTo>
                  <a:pt x="1025129" y="1252717"/>
                  <a:pt x="1019615" y="1254371"/>
                  <a:pt x="1013931" y="1256242"/>
                </a:cubicBezTo>
                <a:cubicBezTo>
                  <a:pt x="1009870" y="1257688"/>
                  <a:pt x="1008221" y="1258277"/>
                  <a:pt x="1005925" y="1261615"/>
                </a:cubicBezTo>
                <a:cubicBezTo>
                  <a:pt x="1005474" y="1262632"/>
                  <a:pt x="1005023" y="1263649"/>
                  <a:pt x="1004558" y="1264697"/>
                </a:cubicBezTo>
                <a:cubicBezTo>
                  <a:pt x="1004030" y="1265774"/>
                  <a:pt x="1003503" y="1266852"/>
                  <a:pt x="1002959" y="1267961"/>
                </a:cubicBezTo>
                <a:cubicBezTo>
                  <a:pt x="1001408" y="1271808"/>
                  <a:pt x="1000922" y="1274896"/>
                  <a:pt x="1000653" y="1278965"/>
                </a:cubicBezTo>
                <a:cubicBezTo>
                  <a:pt x="1000303" y="1284158"/>
                  <a:pt x="999467" y="1289055"/>
                  <a:pt x="998297" y="1294137"/>
                </a:cubicBezTo>
                <a:cubicBezTo>
                  <a:pt x="996204" y="1304306"/>
                  <a:pt x="996129" y="1314460"/>
                  <a:pt x="996162" y="1324765"/>
                </a:cubicBezTo>
                <a:cubicBezTo>
                  <a:pt x="996163" y="1325782"/>
                  <a:pt x="996163" y="1326799"/>
                  <a:pt x="996164" y="1327846"/>
                </a:cubicBezTo>
                <a:cubicBezTo>
                  <a:pt x="996263" y="1353742"/>
                  <a:pt x="1001081" y="1378188"/>
                  <a:pt x="1007780" y="1403329"/>
                </a:cubicBezTo>
                <a:cubicBezTo>
                  <a:pt x="1008163" y="1404772"/>
                  <a:pt x="1008546" y="1406215"/>
                  <a:pt x="1008940" y="1407701"/>
                </a:cubicBezTo>
                <a:cubicBezTo>
                  <a:pt x="1009316" y="1409030"/>
                  <a:pt x="1009693" y="1410360"/>
                  <a:pt x="1010080" y="1411730"/>
                </a:cubicBezTo>
                <a:cubicBezTo>
                  <a:pt x="1010409" y="1412900"/>
                  <a:pt x="1010737" y="1414071"/>
                  <a:pt x="1011075" y="1415277"/>
                </a:cubicBezTo>
                <a:cubicBezTo>
                  <a:pt x="1012501" y="1418612"/>
                  <a:pt x="1014136" y="1420168"/>
                  <a:pt x="1017055" y="1422530"/>
                </a:cubicBezTo>
                <a:cubicBezTo>
                  <a:pt x="1018770" y="1425162"/>
                  <a:pt x="1018770" y="1425162"/>
                  <a:pt x="1020277" y="1427991"/>
                </a:cubicBezTo>
                <a:cubicBezTo>
                  <a:pt x="1020778" y="1428917"/>
                  <a:pt x="1021280" y="1429844"/>
                  <a:pt x="1021796" y="1430798"/>
                </a:cubicBezTo>
                <a:cubicBezTo>
                  <a:pt x="1023303" y="1433804"/>
                  <a:pt x="1023303" y="1433804"/>
                  <a:pt x="1024579" y="1437239"/>
                </a:cubicBezTo>
                <a:cubicBezTo>
                  <a:pt x="1026915" y="1441803"/>
                  <a:pt x="1030098" y="1444534"/>
                  <a:pt x="1034043" y="1448072"/>
                </a:cubicBezTo>
                <a:lnTo>
                  <a:pt x="1043782" y="1464320"/>
                </a:lnTo>
                <a:lnTo>
                  <a:pt x="1050458" y="1472189"/>
                </a:lnTo>
                <a:cubicBezTo>
                  <a:pt x="1051737" y="1475181"/>
                  <a:pt x="1052277" y="1478513"/>
                  <a:pt x="1052926" y="1482370"/>
                </a:cubicBezTo>
                <a:cubicBezTo>
                  <a:pt x="1053325" y="1487224"/>
                  <a:pt x="1053364" y="1492038"/>
                  <a:pt x="1053316" y="1496903"/>
                </a:cubicBezTo>
                <a:cubicBezTo>
                  <a:pt x="1053328" y="1498142"/>
                  <a:pt x="1053340" y="1499382"/>
                  <a:pt x="1053352" y="1500660"/>
                </a:cubicBezTo>
                <a:cubicBezTo>
                  <a:pt x="1053348" y="1501856"/>
                  <a:pt x="1053344" y="1503052"/>
                  <a:pt x="1053341" y="1504285"/>
                </a:cubicBezTo>
                <a:cubicBezTo>
                  <a:pt x="1053336" y="1505355"/>
                  <a:pt x="1053333" y="1506426"/>
                  <a:pt x="1053329" y="1507529"/>
                </a:cubicBezTo>
                <a:cubicBezTo>
                  <a:pt x="1052876" y="1510927"/>
                  <a:pt x="1051672" y="1513237"/>
                  <a:pt x="1049801" y="1516192"/>
                </a:cubicBezTo>
                <a:lnTo>
                  <a:pt x="1047312" y="1516192"/>
                </a:lnTo>
                <a:lnTo>
                  <a:pt x="1043611" y="1522585"/>
                </a:lnTo>
                <a:cubicBezTo>
                  <a:pt x="1035301" y="1529631"/>
                  <a:pt x="1035301" y="1529631"/>
                  <a:pt x="1029552" y="1529631"/>
                </a:cubicBezTo>
                <a:cubicBezTo>
                  <a:pt x="1029294" y="1530503"/>
                  <a:pt x="1029036" y="1531375"/>
                  <a:pt x="1028771" y="1532273"/>
                </a:cubicBezTo>
                <a:cubicBezTo>
                  <a:pt x="1025795" y="1536076"/>
                  <a:pt x="1022970" y="1536733"/>
                  <a:pt x="1018013" y="1537640"/>
                </a:cubicBezTo>
                <a:cubicBezTo>
                  <a:pt x="1005216" y="1539038"/>
                  <a:pt x="992573" y="1539816"/>
                  <a:pt x="981126" y="1533859"/>
                </a:cubicBezTo>
                <a:cubicBezTo>
                  <a:pt x="979840" y="1533226"/>
                  <a:pt x="978553" y="1532594"/>
                  <a:pt x="977227" y="1531943"/>
                </a:cubicBezTo>
                <a:cubicBezTo>
                  <a:pt x="965286" y="1525877"/>
                  <a:pt x="959626" y="1520520"/>
                  <a:pt x="955376" y="1508751"/>
                </a:cubicBezTo>
                <a:cubicBezTo>
                  <a:pt x="954571" y="1505674"/>
                  <a:pt x="954571" y="1505674"/>
                  <a:pt x="954571" y="1500037"/>
                </a:cubicBezTo>
                <a:cubicBezTo>
                  <a:pt x="953539" y="1500037"/>
                  <a:pt x="952508" y="1500037"/>
                  <a:pt x="951446" y="1500037"/>
                </a:cubicBezTo>
                <a:cubicBezTo>
                  <a:pt x="951361" y="1495986"/>
                  <a:pt x="951299" y="1491935"/>
                  <a:pt x="951251" y="1487883"/>
                </a:cubicBezTo>
                <a:cubicBezTo>
                  <a:pt x="951224" y="1486744"/>
                  <a:pt x="951198" y="1485605"/>
                  <a:pt x="951171" y="1484431"/>
                </a:cubicBezTo>
                <a:cubicBezTo>
                  <a:pt x="951110" y="1477657"/>
                  <a:pt x="952093" y="1472660"/>
                  <a:pt x="954571" y="1466216"/>
                </a:cubicBezTo>
                <a:cubicBezTo>
                  <a:pt x="954867" y="1462451"/>
                  <a:pt x="955016" y="1458876"/>
                  <a:pt x="954961" y="1455118"/>
                </a:cubicBezTo>
                <a:cubicBezTo>
                  <a:pt x="954951" y="1454080"/>
                  <a:pt x="954942" y="1453042"/>
                  <a:pt x="954932" y="1451972"/>
                </a:cubicBezTo>
                <a:cubicBezTo>
                  <a:pt x="954606" y="1435235"/>
                  <a:pt x="952568" y="1419050"/>
                  <a:pt x="945099" y="1403594"/>
                </a:cubicBezTo>
                <a:cubicBezTo>
                  <a:pt x="943714" y="1400177"/>
                  <a:pt x="943046" y="1397128"/>
                  <a:pt x="942366" y="1393553"/>
                </a:cubicBezTo>
                <a:cubicBezTo>
                  <a:pt x="940837" y="1386134"/>
                  <a:pt x="937840" y="1379609"/>
                  <a:pt x="934451" y="1372734"/>
                </a:cubicBezTo>
                <a:cubicBezTo>
                  <a:pt x="932701" y="1368980"/>
                  <a:pt x="932701" y="1368980"/>
                  <a:pt x="931974" y="1365754"/>
                </a:cubicBezTo>
                <a:cubicBezTo>
                  <a:pt x="931699" y="1364958"/>
                  <a:pt x="931422" y="1364162"/>
                  <a:pt x="931138" y="1363343"/>
                </a:cubicBezTo>
                <a:cubicBezTo>
                  <a:pt x="929592" y="1362878"/>
                  <a:pt x="928045" y="1362413"/>
                  <a:pt x="926452" y="1361933"/>
                </a:cubicBezTo>
                <a:cubicBezTo>
                  <a:pt x="921830" y="1355261"/>
                  <a:pt x="920323" y="1348382"/>
                  <a:pt x="918641" y="1340795"/>
                </a:cubicBezTo>
                <a:cubicBezTo>
                  <a:pt x="918133" y="1338914"/>
                  <a:pt x="917616" y="1337034"/>
                  <a:pt x="917079" y="1335158"/>
                </a:cubicBezTo>
                <a:cubicBezTo>
                  <a:pt x="916048" y="1335158"/>
                  <a:pt x="915018" y="1335158"/>
                  <a:pt x="913955" y="1335158"/>
                </a:cubicBezTo>
                <a:cubicBezTo>
                  <a:pt x="913329" y="1333718"/>
                  <a:pt x="912703" y="1332277"/>
                  <a:pt x="912057" y="1330793"/>
                </a:cubicBezTo>
                <a:cubicBezTo>
                  <a:pt x="909497" y="1325424"/>
                  <a:pt x="906114" y="1320822"/>
                  <a:pt x="902142" y="1316222"/>
                </a:cubicBezTo>
                <a:cubicBezTo>
                  <a:pt x="901465" y="1315432"/>
                  <a:pt x="900788" y="1314642"/>
                  <a:pt x="900091" y="1313828"/>
                </a:cubicBezTo>
                <a:cubicBezTo>
                  <a:pt x="893705" y="1306618"/>
                  <a:pt x="886350" y="1301049"/>
                  <a:pt x="878026" y="1295700"/>
                </a:cubicBezTo>
                <a:cubicBezTo>
                  <a:pt x="876595" y="1294594"/>
                  <a:pt x="876595" y="1294594"/>
                  <a:pt x="875134" y="1293465"/>
                </a:cubicBezTo>
                <a:lnTo>
                  <a:pt x="869869" y="1291826"/>
                </a:lnTo>
                <a:lnTo>
                  <a:pt x="862384" y="1291327"/>
                </a:lnTo>
                <a:cubicBezTo>
                  <a:pt x="856441" y="1290067"/>
                  <a:pt x="850461" y="1290346"/>
                  <a:pt x="844390" y="1290461"/>
                </a:cubicBezTo>
                <a:cubicBezTo>
                  <a:pt x="842453" y="1290480"/>
                  <a:pt x="842453" y="1290480"/>
                  <a:pt x="840476" y="1290500"/>
                </a:cubicBezTo>
                <a:cubicBezTo>
                  <a:pt x="837322" y="1290532"/>
                  <a:pt x="834169" y="1290583"/>
                  <a:pt x="831015" y="1290637"/>
                </a:cubicBezTo>
                <a:cubicBezTo>
                  <a:pt x="831015" y="1291568"/>
                  <a:pt x="831015" y="1292498"/>
                  <a:pt x="831015" y="1293456"/>
                </a:cubicBezTo>
                <a:cubicBezTo>
                  <a:pt x="826519" y="1294808"/>
                  <a:pt x="822922" y="1295235"/>
                  <a:pt x="818225" y="1295570"/>
                </a:cubicBezTo>
                <a:lnTo>
                  <a:pt x="796774" y="1297671"/>
                </a:lnTo>
                <a:lnTo>
                  <a:pt x="783646" y="1305736"/>
                </a:lnTo>
                <a:cubicBezTo>
                  <a:pt x="776915" y="1312506"/>
                  <a:pt x="772692" y="1318638"/>
                  <a:pt x="769263" y="1327143"/>
                </a:cubicBezTo>
                <a:cubicBezTo>
                  <a:pt x="767116" y="1332340"/>
                  <a:pt x="767116" y="1332340"/>
                  <a:pt x="764797" y="1334360"/>
                </a:cubicBezTo>
                <a:lnTo>
                  <a:pt x="757875" y="1353503"/>
                </a:lnTo>
                <a:lnTo>
                  <a:pt x="755676" y="1367455"/>
                </a:lnTo>
                <a:lnTo>
                  <a:pt x="750558" y="1399690"/>
                </a:lnTo>
                <a:lnTo>
                  <a:pt x="753057" y="1411256"/>
                </a:lnTo>
                <a:cubicBezTo>
                  <a:pt x="753057" y="1413117"/>
                  <a:pt x="753057" y="1414976"/>
                  <a:pt x="753057" y="1416893"/>
                </a:cubicBezTo>
                <a:cubicBezTo>
                  <a:pt x="754087" y="1416893"/>
                  <a:pt x="755119" y="1416893"/>
                  <a:pt x="756181" y="1416893"/>
                </a:cubicBezTo>
                <a:cubicBezTo>
                  <a:pt x="759348" y="1422607"/>
                  <a:pt x="758101" y="1429902"/>
                  <a:pt x="758133" y="1436182"/>
                </a:cubicBezTo>
                <a:cubicBezTo>
                  <a:pt x="758182" y="1438458"/>
                  <a:pt x="758182" y="1438458"/>
                  <a:pt x="758231" y="1440781"/>
                </a:cubicBezTo>
                <a:cubicBezTo>
                  <a:pt x="758283" y="1450271"/>
                  <a:pt x="758174" y="1458360"/>
                  <a:pt x="750713" y="1465704"/>
                </a:cubicBezTo>
                <a:cubicBezTo>
                  <a:pt x="749940" y="1466193"/>
                  <a:pt x="749167" y="1466681"/>
                  <a:pt x="748370" y="1467185"/>
                </a:cubicBezTo>
                <a:cubicBezTo>
                  <a:pt x="743665" y="1470047"/>
                  <a:pt x="743665" y="1470047"/>
                  <a:pt x="741633" y="1473526"/>
                </a:cubicBezTo>
                <a:cubicBezTo>
                  <a:pt x="737793" y="1477248"/>
                  <a:pt x="733582" y="1477483"/>
                  <a:pt x="728154" y="1478343"/>
                </a:cubicBezTo>
                <a:cubicBezTo>
                  <a:pt x="724855" y="1478778"/>
                  <a:pt x="724855" y="1478778"/>
                  <a:pt x="721814" y="1480308"/>
                </a:cubicBezTo>
                <a:cubicBezTo>
                  <a:pt x="717303" y="1480523"/>
                  <a:pt x="712854" y="1480634"/>
                  <a:pt x="708341" y="1480661"/>
                </a:cubicBezTo>
                <a:cubicBezTo>
                  <a:pt x="707118" y="1480690"/>
                  <a:pt x="705896" y="1480719"/>
                  <a:pt x="704637" y="1480748"/>
                </a:cubicBezTo>
                <a:cubicBezTo>
                  <a:pt x="690446" y="1480834"/>
                  <a:pt x="679632" y="1476246"/>
                  <a:pt x="668507" y="1468418"/>
                </a:cubicBezTo>
                <a:cubicBezTo>
                  <a:pt x="662823" y="1463224"/>
                  <a:pt x="661745" y="1456995"/>
                  <a:pt x="660178" y="1450027"/>
                </a:cubicBezTo>
                <a:cubicBezTo>
                  <a:pt x="659725" y="1446589"/>
                  <a:pt x="659725" y="1446589"/>
                  <a:pt x="657767" y="1445078"/>
                </a:cubicBezTo>
                <a:cubicBezTo>
                  <a:pt x="656859" y="1433686"/>
                  <a:pt x="655965" y="1419178"/>
                  <a:pt x="663369" y="1409390"/>
                </a:cubicBezTo>
                <a:cubicBezTo>
                  <a:pt x="666078" y="1406601"/>
                  <a:pt x="668921" y="1404013"/>
                  <a:pt x="671826" y="1401392"/>
                </a:cubicBezTo>
                <a:cubicBezTo>
                  <a:pt x="675197" y="1397623"/>
                  <a:pt x="677125" y="1394916"/>
                  <a:pt x="678075" y="1390118"/>
                </a:cubicBezTo>
                <a:cubicBezTo>
                  <a:pt x="680137" y="1389653"/>
                  <a:pt x="682199" y="1389188"/>
                  <a:pt x="684323" y="1388709"/>
                </a:cubicBezTo>
                <a:cubicBezTo>
                  <a:pt x="684643" y="1387232"/>
                  <a:pt x="684964" y="1385755"/>
                  <a:pt x="685293" y="1384233"/>
                </a:cubicBezTo>
                <a:cubicBezTo>
                  <a:pt x="685718" y="1382290"/>
                  <a:pt x="686144" y="1380347"/>
                  <a:pt x="686569" y="1378404"/>
                </a:cubicBezTo>
                <a:cubicBezTo>
                  <a:pt x="686885" y="1376945"/>
                  <a:pt x="686885" y="1376945"/>
                  <a:pt x="687207" y="1375456"/>
                </a:cubicBezTo>
                <a:cubicBezTo>
                  <a:pt x="688115" y="1371315"/>
                  <a:pt x="689090" y="1367353"/>
                  <a:pt x="690572" y="1363343"/>
                </a:cubicBezTo>
                <a:cubicBezTo>
                  <a:pt x="692411" y="1350128"/>
                  <a:pt x="692374" y="1336672"/>
                  <a:pt x="692495" y="1323376"/>
                </a:cubicBezTo>
                <a:cubicBezTo>
                  <a:pt x="692524" y="1320586"/>
                  <a:pt x="692574" y="1317796"/>
                  <a:pt x="692625" y="1315006"/>
                </a:cubicBezTo>
                <a:cubicBezTo>
                  <a:pt x="692853" y="1300589"/>
                  <a:pt x="692853" y="1300589"/>
                  <a:pt x="687447" y="1287245"/>
                </a:cubicBezTo>
                <a:cubicBezTo>
                  <a:pt x="685901" y="1286780"/>
                  <a:pt x="684354" y="1286315"/>
                  <a:pt x="682761" y="1285835"/>
                </a:cubicBezTo>
                <a:cubicBezTo>
                  <a:pt x="680876" y="1283743"/>
                  <a:pt x="680876" y="1283743"/>
                  <a:pt x="678954" y="1281608"/>
                </a:cubicBezTo>
                <a:cubicBezTo>
                  <a:pt x="674854" y="1277278"/>
                  <a:pt x="674356" y="1276958"/>
                  <a:pt x="668702" y="1275971"/>
                </a:cubicBezTo>
                <a:cubicBezTo>
                  <a:pt x="666619" y="1274092"/>
                  <a:pt x="664536" y="1272213"/>
                  <a:pt x="662454" y="1270334"/>
                </a:cubicBezTo>
                <a:cubicBezTo>
                  <a:pt x="658341" y="1268566"/>
                  <a:pt x="658341" y="1268566"/>
                  <a:pt x="654643" y="1267516"/>
                </a:cubicBezTo>
                <a:cubicBezTo>
                  <a:pt x="654643" y="1266585"/>
                  <a:pt x="654643" y="1265656"/>
                  <a:pt x="654643" y="1264697"/>
                </a:cubicBezTo>
                <a:cubicBezTo>
                  <a:pt x="653161" y="1264581"/>
                  <a:pt x="651679" y="1264465"/>
                  <a:pt x="650152" y="1264345"/>
                </a:cubicBezTo>
                <a:cubicBezTo>
                  <a:pt x="642318" y="1263373"/>
                  <a:pt x="635297" y="1260465"/>
                  <a:pt x="628087" y="1257651"/>
                </a:cubicBezTo>
                <a:cubicBezTo>
                  <a:pt x="628087" y="1256721"/>
                  <a:pt x="628087" y="1255791"/>
                  <a:pt x="628087" y="1254833"/>
                </a:cubicBezTo>
                <a:cubicBezTo>
                  <a:pt x="627108" y="1254662"/>
                  <a:pt x="626129" y="1254491"/>
                  <a:pt x="625121" y="1254315"/>
                </a:cubicBezTo>
                <a:cubicBezTo>
                  <a:pt x="623845" y="1254079"/>
                  <a:pt x="622568" y="1253843"/>
                  <a:pt x="621252" y="1253600"/>
                </a:cubicBezTo>
                <a:cubicBezTo>
                  <a:pt x="619984" y="1253371"/>
                  <a:pt x="618716" y="1253142"/>
                  <a:pt x="617409" y="1252906"/>
                </a:cubicBezTo>
                <a:cubicBezTo>
                  <a:pt x="614027" y="1252014"/>
                  <a:pt x="614027" y="1252014"/>
                  <a:pt x="610904" y="1249196"/>
                </a:cubicBezTo>
                <a:cubicBezTo>
                  <a:pt x="592259" y="1248653"/>
                  <a:pt x="578635" y="1260869"/>
                  <a:pt x="565739" y="1271742"/>
                </a:cubicBezTo>
                <a:cubicBezTo>
                  <a:pt x="558808" y="1277725"/>
                  <a:pt x="552763" y="1283983"/>
                  <a:pt x="546924" y="1290829"/>
                </a:cubicBezTo>
                <a:cubicBezTo>
                  <a:pt x="545838" y="1292087"/>
                  <a:pt x="544753" y="1293346"/>
                  <a:pt x="543635" y="1294643"/>
                </a:cubicBezTo>
                <a:cubicBezTo>
                  <a:pt x="542650" y="1295813"/>
                  <a:pt x="541666" y="1296983"/>
                  <a:pt x="540651" y="1298188"/>
                </a:cubicBezTo>
                <a:cubicBezTo>
                  <a:pt x="537294" y="1301526"/>
                  <a:pt x="533978" y="1303337"/>
                  <a:pt x="529673" y="1305565"/>
                </a:cubicBezTo>
                <a:cubicBezTo>
                  <a:pt x="527599" y="1308478"/>
                  <a:pt x="527599" y="1308478"/>
                  <a:pt x="526549" y="1311202"/>
                </a:cubicBezTo>
                <a:cubicBezTo>
                  <a:pt x="525518" y="1311202"/>
                  <a:pt x="524487" y="1311202"/>
                  <a:pt x="523425" y="1311202"/>
                </a:cubicBezTo>
                <a:cubicBezTo>
                  <a:pt x="523360" y="1311986"/>
                  <a:pt x="523296" y="1312771"/>
                  <a:pt x="523230" y="1313580"/>
                </a:cubicBezTo>
                <a:cubicBezTo>
                  <a:pt x="521863" y="1316839"/>
                  <a:pt x="521863" y="1316839"/>
                  <a:pt x="517732" y="1319739"/>
                </a:cubicBezTo>
                <a:cubicBezTo>
                  <a:pt x="511111" y="1324565"/>
                  <a:pt x="506875" y="1330731"/>
                  <a:pt x="502239" y="1337096"/>
                </a:cubicBezTo>
                <a:cubicBezTo>
                  <a:pt x="500512" y="1339427"/>
                  <a:pt x="498785" y="1341757"/>
                  <a:pt x="497058" y="1344087"/>
                </a:cubicBezTo>
                <a:cubicBezTo>
                  <a:pt x="495827" y="1345760"/>
                  <a:pt x="495827" y="1345760"/>
                  <a:pt x="494572" y="1347465"/>
                </a:cubicBezTo>
                <a:cubicBezTo>
                  <a:pt x="492366" y="1350414"/>
                  <a:pt x="490094" y="1353304"/>
                  <a:pt x="487776" y="1356181"/>
                </a:cubicBezTo>
                <a:cubicBezTo>
                  <a:pt x="484805" y="1359972"/>
                  <a:pt x="482865" y="1363193"/>
                  <a:pt x="481248" y="1367571"/>
                </a:cubicBezTo>
                <a:cubicBezTo>
                  <a:pt x="480216" y="1367571"/>
                  <a:pt x="479186" y="1367571"/>
                  <a:pt x="478123" y="1367571"/>
                </a:cubicBezTo>
                <a:cubicBezTo>
                  <a:pt x="477963" y="1368558"/>
                  <a:pt x="477801" y="1369547"/>
                  <a:pt x="477635" y="1370565"/>
                </a:cubicBezTo>
                <a:cubicBezTo>
                  <a:pt x="475602" y="1378236"/>
                  <a:pt x="471952" y="1383371"/>
                  <a:pt x="465626" y="1388709"/>
                </a:cubicBezTo>
                <a:cubicBezTo>
                  <a:pt x="462272" y="1392748"/>
                  <a:pt x="462272" y="1392748"/>
                  <a:pt x="461233" y="1397340"/>
                </a:cubicBezTo>
                <a:cubicBezTo>
                  <a:pt x="460030" y="1401461"/>
                  <a:pt x="458298" y="1404501"/>
                  <a:pt x="455765" y="1408086"/>
                </a:cubicBezTo>
                <a:cubicBezTo>
                  <a:pt x="442829" y="1428603"/>
                  <a:pt x="441572" y="1454548"/>
                  <a:pt x="439070" y="1477490"/>
                </a:cubicBezTo>
                <a:cubicBezTo>
                  <a:pt x="437524" y="1477955"/>
                  <a:pt x="435977" y="1478420"/>
                  <a:pt x="434384" y="1478899"/>
                </a:cubicBezTo>
                <a:cubicBezTo>
                  <a:pt x="433739" y="1479916"/>
                  <a:pt x="433095" y="1480933"/>
                  <a:pt x="432431" y="1481982"/>
                </a:cubicBezTo>
                <a:cubicBezTo>
                  <a:pt x="428860" y="1487159"/>
                  <a:pt x="424291" y="1490903"/>
                  <a:pt x="418763" y="1494401"/>
                </a:cubicBezTo>
                <a:cubicBezTo>
                  <a:pt x="417731" y="1494401"/>
                  <a:pt x="416701" y="1494401"/>
                  <a:pt x="415639" y="1494401"/>
                </a:cubicBezTo>
                <a:cubicBezTo>
                  <a:pt x="415639" y="1495330"/>
                  <a:pt x="415639" y="1496260"/>
                  <a:pt x="415639" y="1497219"/>
                </a:cubicBezTo>
                <a:cubicBezTo>
                  <a:pt x="412546" y="1497684"/>
                  <a:pt x="409453" y="1498149"/>
                  <a:pt x="406265" y="1498628"/>
                </a:cubicBezTo>
                <a:cubicBezTo>
                  <a:pt x="406265" y="1499559"/>
                  <a:pt x="406265" y="1500488"/>
                  <a:pt x="406265" y="1501447"/>
                </a:cubicBezTo>
                <a:cubicBezTo>
                  <a:pt x="395955" y="1501447"/>
                  <a:pt x="385645" y="1501447"/>
                  <a:pt x="375023" y="1501447"/>
                </a:cubicBezTo>
                <a:lnTo>
                  <a:pt x="375023" y="1499438"/>
                </a:lnTo>
                <a:lnTo>
                  <a:pt x="374964" y="1499436"/>
                </a:lnTo>
                <a:lnTo>
                  <a:pt x="373179" y="1498628"/>
                </a:lnTo>
                <a:lnTo>
                  <a:pt x="365650" y="1498628"/>
                </a:lnTo>
                <a:lnTo>
                  <a:pt x="363134" y="1494087"/>
                </a:lnTo>
                <a:lnTo>
                  <a:pt x="362171" y="1493651"/>
                </a:lnTo>
                <a:cubicBezTo>
                  <a:pt x="361656" y="1492722"/>
                  <a:pt x="361140" y="1491791"/>
                  <a:pt x="360609" y="1490833"/>
                </a:cubicBezTo>
                <a:cubicBezTo>
                  <a:pt x="361640" y="1490833"/>
                  <a:pt x="362671" y="1490833"/>
                  <a:pt x="363733" y="1490833"/>
                </a:cubicBezTo>
                <a:lnTo>
                  <a:pt x="363733" y="1489980"/>
                </a:lnTo>
                <a:lnTo>
                  <a:pt x="348467" y="1481717"/>
                </a:lnTo>
                <a:lnTo>
                  <a:pt x="343872" y="1461078"/>
                </a:lnTo>
                <a:lnTo>
                  <a:pt x="343656" y="1463649"/>
                </a:lnTo>
                <a:cubicBezTo>
                  <a:pt x="343541" y="1465230"/>
                  <a:pt x="343541" y="1465230"/>
                  <a:pt x="343424" y="1466842"/>
                </a:cubicBezTo>
                <a:cubicBezTo>
                  <a:pt x="342908" y="1466842"/>
                  <a:pt x="342393" y="1466842"/>
                  <a:pt x="341861" y="1466842"/>
                </a:cubicBezTo>
                <a:cubicBezTo>
                  <a:pt x="340987" y="1449564"/>
                  <a:pt x="340999" y="1434331"/>
                  <a:pt x="354143" y="1420549"/>
                </a:cubicBezTo>
                <a:cubicBezTo>
                  <a:pt x="360765" y="1414011"/>
                  <a:pt x="367631" y="1407790"/>
                  <a:pt x="376229" y="1403427"/>
                </a:cubicBezTo>
                <a:lnTo>
                  <a:pt x="379491" y="1404408"/>
                </a:lnTo>
                <a:lnTo>
                  <a:pt x="379710" y="1404210"/>
                </a:lnTo>
                <a:cubicBezTo>
                  <a:pt x="380290" y="1402902"/>
                  <a:pt x="380290" y="1402902"/>
                  <a:pt x="380882" y="1401568"/>
                </a:cubicBezTo>
                <a:cubicBezTo>
                  <a:pt x="383675" y="1397284"/>
                  <a:pt x="387587" y="1395610"/>
                  <a:pt x="392207" y="1392936"/>
                </a:cubicBezTo>
                <a:lnTo>
                  <a:pt x="399542" y="1386774"/>
                </a:lnTo>
                <a:lnTo>
                  <a:pt x="405485" y="1378917"/>
                </a:lnTo>
                <a:cubicBezTo>
                  <a:pt x="408065" y="1375974"/>
                  <a:pt x="410029" y="1372774"/>
                  <a:pt x="412008" y="1369481"/>
                </a:cubicBezTo>
                <a:cubicBezTo>
                  <a:pt x="414759" y="1365166"/>
                  <a:pt x="417963" y="1361131"/>
                  <a:pt x="421130" y="1357057"/>
                </a:cubicBezTo>
                <a:cubicBezTo>
                  <a:pt x="423073" y="1354140"/>
                  <a:pt x="423985" y="1351767"/>
                  <a:pt x="424676" y="1348443"/>
                </a:cubicBezTo>
                <a:lnTo>
                  <a:pt x="427275" y="1348443"/>
                </a:lnTo>
                <a:lnTo>
                  <a:pt x="428135" y="1345727"/>
                </a:lnTo>
                <a:cubicBezTo>
                  <a:pt x="429370" y="1341828"/>
                  <a:pt x="430645" y="1338666"/>
                  <a:pt x="432822" y="1335158"/>
                </a:cubicBezTo>
                <a:cubicBezTo>
                  <a:pt x="433853" y="1335158"/>
                  <a:pt x="434884" y="1335158"/>
                  <a:pt x="435946" y="1335158"/>
                </a:cubicBezTo>
                <a:cubicBezTo>
                  <a:pt x="436526" y="1333385"/>
                  <a:pt x="437106" y="1331613"/>
                  <a:pt x="437704" y="1329786"/>
                </a:cubicBezTo>
                <a:cubicBezTo>
                  <a:pt x="440162" y="1323132"/>
                  <a:pt x="443602" y="1317301"/>
                  <a:pt x="447394" y="1311196"/>
                </a:cubicBezTo>
                <a:cubicBezTo>
                  <a:pt x="456493" y="1296485"/>
                  <a:pt x="463325" y="1281864"/>
                  <a:pt x="469287" y="1265964"/>
                </a:cubicBezTo>
                <a:cubicBezTo>
                  <a:pt x="474589" y="1252134"/>
                  <a:pt x="474589" y="1252134"/>
                  <a:pt x="478178" y="1246787"/>
                </a:cubicBezTo>
                <a:cubicBezTo>
                  <a:pt x="481232" y="1240246"/>
                  <a:pt x="480204" y="1232766"/>
                  <a:pt x="480179" y="1225768"/>
                </a:cubicBezTo>
                <a:cubicBezTo>
                  <a:pt x="480174" y="1222894"/>
                  <a:pt x="480210" y="1220023"/>
                  <a:pt x="480250" y="1217149"/>
                </a:cubicBezTo>
                <a:cubicBezTo>
                  <a:pt x="480260" y="1199291"/>
                  <a:pt x="476718" y="1187768"/>
                  <a:pt x="462972" y="1174827"/>
                </a:cubicBezTo>
                <a:cubicBezTo>
                  <a:pt x="461148" y="1173192"/>
                  <a:pt x="459312" y="1171566"/>
                  <a:pt x="457468" y="1169949"/>
                </a:cubicBezTo>
                <a:cubicBezTo>
                  <a:pt x="451412" y="1164522"/>
                  <a:pt x="445876" y="1158660"/>
                  <a:pt x="440657" y="1152570"/>
                </a:cubicBezTo>
                <a:cubicBezTo>
                  <a:pt x="430474" y="1140786"/>
                  <a:pt x="418230" y="1128998"/>
                  <a:pt x="403142" y="1122366"/>
                </a:cubicBezTo>
                <a:cubicBezTo>
                  <a:pt x="402626" y="1121436"/>
                  <a:pt x="402110" y="1120506"/>
                  <a:pt x="401579" y="1119547"/>
                </a:cubicBezTo>
                <a:cubicBezTo>
                  <a:pt x="390472" y="1115326"/>
                  <a:pt x="375918" y="1114217"/>
                  <a:pt x="364564" y="1118209"/>
                </a:cubicBezTo>
                <a:cubicBezTo>
                  <a:pt x="362278" y="1119428"/>
                  <a:pt x="360026" y="1120704"/>
                  <a:pt x="357822" y="1122041"/>
                </a:cubicBezTo>
                <a:cubicBezTo>
                  <a:pt x="354521" y="1123884"/>
                  <a:pt x="351862" y="1124582"/>
                  <a:pt x="348077" y="1125273"/>
                </a:cubicBezTo>
                <a:cubicBezTo>
                  <a:pt x="341765" y="1126696"/>
                  <a:pt x="339382" y="1128619"/>
                  <a:pt x="334408" y="1132230"/>
                </a:cubicBezTo>
                <a:cubicBezTo>
                  <a:pt x="332284" y="1132909"/>
                  <a:pt x="330131" y="1133519"/>
                  <a:pt x="327964" y="1134080"/>
                </a:cubicBezTo>
                <a:cubicBezTo>
                  <a:pt x="309975" y="1139067"/>
                  <a:pt x="290592" y="1152117"/>
                  <a:pt x="279734" y="1166051"/>
                </a:cubicBezTo>
                <a:cubicBezTo>
                  <a:pt x="277929" y="1169534"/>
                  <a:pt x="277929" y="1169534"/>
                  <a:pt x="276609" y="1173098"/>
                </a:cubicBezTo>
                <a:cubicBezTo>
                  <a:pt x="272413" y="1180804"/>
                  <a:pt x="269322" y="1184144"/>
                  <a:pt x="260988" y="1188599"/>
                </a:cubicBezTo>
                <a:cubicBezTo>
                  <a:pt x="259988" y="1189435"/>
                  <a:pt x="258987" y="1190271"/>
                  <a:pt x="257956" y="1191132"/>
                </a:cubicBezTo>
                <a:lnTo>
                  <a:pt x="243805" y="1196629"/>
                </a:lnTo>
                <a:lnTo>
                  <a:pt x="243805" y="1194236"/>
                </a:lnTo>
                <a:lnTo>
                  <a:pt x="240288" y="1194765"/>
                </a:lnTo>
                <a:lnTo>
                  <a:pt x="243374" y="1194765"/>
                </a:lnTo>
                <a:lnTo>
                  <a:pt x="243374" y="1196797"/>
                </a:lnTo>
                <a:lnTo>
                  <a:pt x="243805" y="1196629"/>
                </a:lnTo>
                <a:lnTo>
                  <a:pt x="243805" y="1197055"/>
                </a:lnTo>
                <a:lnTo>
                  <a:pt x="243374" y="1197055"/>
                </a:lnTo>
                <a:lnTo>
                  <a:pt x="243374" y="1197584"/>
                </a:lnTo>
                <a:lnTo>
                  <a:pt x="241319" y="1197595"/>
                </a:lnTo>
                <a:lnTo>
                  <a:pt x="238009" y="1198881"/>
                </a:lnTo>
                <a:cubicBezTo>
                  <a:pt x="231012" y="1199584"/>
                  <a:pt x="223620" y="1198927"/>
                  <a:pt x="215687" y="1198464"/>
                </a:cubicBezTo>
                <a:lnTo>
                  <a:pt x="215687" y="1197734"/>
                </a:lnTo>
                <a:lnTo>
                  <a:pt x="213936" y="1197744"/>
                </a:lnTo>
                <a:cubicBezTo>
                  <a:pt x="210570" y="1197584"/>
                  <a:pt x="210570" y="1197584"/>
                  <a:pt x="207446" y="1196175"/>
                </a:cubicBezTo>
                <a:lnTo>
                  <a:pt x="207822" y="1195610"/>
                </a:lnTo>
                <a:lnTo>
                  <a:pt x="184737" y="1180936"/>
                </a:lnTo>
                <a:cubicBezTo>
                  <a:pt x="180258" y="1172216"/>
                  <a:pt x="179226" y="1164355"/>
                  <a:pt x="179270" y="1154866"/>
                </a:cubicBezTo>
                <a:cubicBezTo>
                  <a:pt x="179233" y="1153260"/>
                  <a:pt x="179233" y="1153260"/>
                  <a:pt x="179194" y="1151621"/>
                </a:cubicBezTo>
                <a:cubicBezTo>
                  <a:pt x="179182" y="1139523"/>
                  <a:pt x="183658" y="1128837"/>
                  <a:pt x="193195" y="1120065"/>
                </a:cubicBezTo>
                <a:cubicBezTo>
                  <a:pt x="204265" y="1110959"/>
                  <a:pt x="215062" y="1110626"/>
                  <a:pt x="229551" y="1110299"/>
                </a:cubicBezTo>
                <a:cubicBezTo>
                  <a:pt x="240132" y="1110024"/>
                  <a:pt x="250506" y="1109652"/>
                  <a:pt x="260988" y="1108274"/>
                </a:cubicBezTo>
                <a:cubicBezTo>
                  <a:pt x="260988" y="1107344"/>
                  <a:pt x="260988" y="1106413"/>
                  <a:pt x="260988" y="1105455"/>
                </a:cubicBezTo>
                <a:cubicBezTo>
                  <a:pt x="261953" y="1105078"/>
                  <a:pt x="262918" y="1104699"/>
                  <a:pt x="263911" y="1104310"/>
                </a:cubicBezTo>
                <a:cubicBezTo>
                  <a:pt x="272903" y="1100557"/>
                  <a:pt x="279802" y="1096307"/>
                  <a:pt x="286995" y="1090185"/>
                </a:cubicBezTo>
                <a:cubicBezTo>
                  <a:pt x="290956" y="1086897"/>
                  <a:pt x="295114" y="1083955"/>
                  <a:pt x="299358" y="1080970"/>
                </a:cubicBezTo>
                <a:cubicBezTo>
                  <a:pt x="306613" y="1075692"/>
                  <a:pt x="312234" y="1070023"/>
                  <a:pt x="317762" y="1063272"/>
                </a:cubicBezTo>
                <a:cubicBezTo>
                  <a:pt x="320349" y="1060360"/>
                  <a:pt x="320349" y="1060360"/>
                  <a:pt x="325035" y="1057542"/>
                </a:cubicBezTo>
                <a:cubicBezTo>
                  <a:pt x="329912" y="1045734"/>
                  <a:pt x="327928" y="1035103"/>
                  <a:pt x="325328" y="1023104"/>
                </a:cubicBezTo>
                <a:cubicBezTo>
                  <a:pt x="325069" y="1021831"/>
                  <a:pt x="324811" y="1020559"/>
                  <a:pt x="324544" y="1019247"/>
                </a:cubicBezTo>
                <a:cubicBezTo>
                  <a:pt x="322876" y="1011407"/>
                  <a:pt x="320562" y="1004340"/>
                  <a:pt x="317225" y="996945"/>
                </a:cubicBezTo>
                <a:cubicBezTo>
                  <a:pt x="316619" y="995541"/>
                  <a:pt x="316013" y="994137"/>
                  <a:pt x="315388" y="992690"/>
                </a:cubicBezTo>
                <a:cubicBezTo>
                  <a:pt x="306307" y="972561"/>
                  <a:pt x="298931" y="959343"/>
                  <a:pt x="276232" y="950666"/>
                </a:cubicBezTo>
                <a:cubicBezTo>
                  <a:pt x="274810" y="950127"/>
                  <a:pt x="273388" y="949587"/>
                  <a:pt x="271923" y="949031"/>
                </a:cubicBezTo>
                <a:cubicBezTo>
                  <a:pt x="270129" y="948244"/>
                  <a:pt x="270129" y="948244"/>
                  <a:pt x="268299" y="947441"/>
                </a:cubicBezTo>
                <a:cubicBezTo>
                  <a:pt x="247071" y="938140"/>
                  <a:pt x="222259" y="939051"/>
                  <a:pt x="199187" y="938991"/>
                </a:cubicBezTo>
                <a:cubicBezTo>
                  <a:pt x="197383" y="938984"/>
                  <a:pt x="195579" y="938978"/>
                  <a:pt x="193719" y="938971"/>
                </a:cubicBezTo>
                <a:cubicBezTo>
                  <a:pt x="192010" y="938974"/>
                  <a:pt x="190300" y="938977"/>
                  <a:pt x="188539" y="938980"/>
                </a:cubicBezTo>
                <a:cubicBezTo>
                  <a:pt x="187000" y="938981"/>
                  <a:pt x="185460" y="938983"/>
                  <a:pt x="183874" y="938985"/>
                </a:cubicBezTo>
                <a:cubicBezTo>
                  <a:pt x="180148" y="939150"/>
                  <a:pt x="177092" y="939720"/>
                  <a:pt x="173509" y="940576"/>
                </a:cubicBezTo>
                <a:cubicBezTo>
                  <a:pt x="169458" y="940674"/>
                  <a:pt x="165452" y="940710"/>
                  <a:pt x="161403" y="940664"/>
                </a:cubicBezTo>
                <a:cubicBezTo>
                  <a:pt x="160314" y="940658"/>
                  <a:pt x="159224" y="940651"/>
                  <a:pt x="158102" y="940645"/>
                </a:cubicBezTo>
                <a:lnTo>
                  <a:pt x="150875" y="940583"/>
                </a:lnTo>
                <a:lnTo>
                  <a:pt x="148425" y="940717"/>
                </a:lnTo>
                <a:lnTo>
                  <a:pt x="149617" y="940995"/>
                </a:lnTo>
                <a:cubicBezTo>
                  <a:pt x="149617" y="941459"/>
                  <a:pt x="149617" y="941924"/>
                  <a:pt x="149617" y="942404"/>
                </a:cubicBezTo>
                <a:cubicBezTo>
                  <a:pt x="148630" y="942558"/>
                  <a:pt x="147643" y="942712"/>
                  <a:pt x="146627" y="942871"/>
                </a:cubicBezTo>
                <a:cubicBezTo>
                  <a:pt x="134541" y="944804"/>
                  <a:pt x="122553" y="947081"/>
                  <a:pt x="110564" y="949449"/>
                </a:cubicBezTo>
                <a:lnTo>
                  <a:pt x="111283" y="946205"/>
                </a:lnTo>
                <a:lnTo>
                  <a:pt x="101652" y="956078"/>
                </a:lnTo>
                <a:cubicBezTo>
                  <a:pt x="99870" y="957260"/>
                  <a:pt x="99870" y="957260"/>
                  <a:pt x="98052" y="958467"/>
                </a:cubicBezTo>
                <a:cubicBezTo>
                  <a:pt x="75683" y="972989"/>
                  <a:pt x="75683" y="972989"/>
                  <a:pt x="67286" y="972989"/>
                </a:cubicBezTo>
                <a:cubicBezTo>
                  <a:pt x="67286" y="973918"/>
                  <a:pt x="67286" y="974848"/>
                  <a:pt x="67286" y="975807"/>
                </a:cubicBezTo>
                <a:cubicBezTo>
                  <a:pt x="55713" y="979519"/>
                  <a:pt x="43549" y="980689"/>
                  <a:pt x="31942" y="976423"/>
                </a:cubicBezTo>
                <a:cubicBezTo>
                  <a:pt x="19953" y="970870"/>
                  <a:pt x="10774" y="964932"/>
                  <a:pt x="5673" y="953419"/>
                </a:cubicBezTo>
                <a:cubicBezTo>
                  <a:pt x="4801" y="950441"/>
                  <a:pt x="4801" y="950441"/>
                  <a:pt x="4801" y="944804"/>
                </a:cubicBezTo>
                <a:cubicBezTo>
                  <a:pt x="3770" y="944804"/>
                  <a:pt x="2739" y="944804"/>
                  <a:pt x="1676" y="944804"/>
                </a:cubicBezTo>
                <a:cubicBezTo>
                  <a:pt x="-34" y="940174"/>
                  <a:pt x="-41" y="936720"/>
                  <a:pt x="17" y="931857"/>
                </a:cubicBezTo>
                <a:cubicBezTo>
                  <a:pt x="31" y="930325"/>
                  <a:pt x="45" y="928794"/>
                  <a:pt x="59" y="927216"/>
                </a:cubicBezTo>
                <a:cubicBezTo>
                  <a:pt x="78" y="926044"/>
                  <a:pt x="96" y="924873"/>
                  <a:pt x="115" y="923666"/>
                </a:cubicBezTo>
                <a:cubicBezTo>
                  <a:pt x="1145" y="923666"/>
                  <a:pt x="2176" y="923666"/>
                  <a:pt x="3238" y="923666"/>
                </a:cubicBezTo>
                <a:cubicBezTo>
                  <a:pt x="3238" y="921805"/>
                  <a:pt x="3238" y="919945"/>
                  <a:pt x="3238" y="918029"/>
                </a:cubicBezTo>
                <a:cubicBezTo>
                  <a:pt x="4270" y="918029"/>
                  <a:pt x="5300" y="918029"/>
                  <a:pt x="6363" y="918029"/>
                </a:cubicBezTo>
                <a:cubicBezTo>
                  <a:pt x="6459" y="916314"/>
                  <a:pt x="6556" y="914599"/>
                  <a:pt x="6656" y="912832"/>
                </a:cubicBezTo>
                <a:cubicBezTo>
                  <a:pt x="7542" y="906455"/>
                  <a:pt x="10104" y="903750"/>
                  <a:pt x="15736" y="899709"/>
                </a:cubicBezTo>
                <a:lnTo>
                  <a:pt x="17243" y="898894"/>
                </a:lnTo>
                <a:lnTo>
                  <a:pt x="16800" y="898694"/>
                </a:lnTo>
                <a:lnTo>
                  <a:pt x="24988" y="894101"/>
                </a:lnTo>
                <a:lnTo>
                  <a:pt x="26768" y="892399"/>
                </a:lnTo>
                <a:cubicBezTo>
                  <a:pt x="28282" y="891122"/>
                  <a:pt x="29038" y="890483"/>
                  <a:pt x="30198" y="890164"/>
                </a:cubicBezTo>
                <a:lnTo>
                  <a:pt x="32204" y="890054"/>
                </a:lnTo>
                <a:lnTo>
                  <a:pt x="38914" y="886291"/>
                </a:lnTo>
                <a:cubicBezTo>
                  <a:pt x="47169" y="885770"/>
                  <a:pt x="55396" y="885800"/>
                  <a:pt x="63664" y="886011"/>
                </a:cubicBezTo>
                <a:lnTo>
                  <a:pt x="63664" y="886531"/>
                </a:lnTo>
                <a:lnTo>
                  <a:pt x="70784" y="886647"/>
                </a:lnTo>
                <a:cubicBezTo>
                  <a:pt x="74787" y="887000"/>
                  <a:pt x="77233" y="887948"/>
                  <a:pt x="82126" y="889845"/>
                </a:cubicBezTo>
                <a:cubicBezTo>
                  <a:pt x="92427" y="893791"/>
                  <a:pt x="103139" y="893710"/>
                  <a:pt x="114149" y="892663"/>
                </a:cubicBezTo>
                <a:cubicBezTo>
                  <a:pt x="115696" y="891733"/>
                  <a:pt x="117242" y="890803"/>
                  <a:pt x="118836" y="889845"/>
                </a:cubicBezTo>
                <a:cubicBezTo>
                  <a:pt x="123097" y="888850"/>
                  <a:pt x="127325" y="887944"/>
                  <a:pt x="131626" y="887114"/>
                </a:cubicBezTo>
                <a:cubicBezTo>
                  <a:pt x="139750" y="885542"/>
                  <a:pt x="147376" y="883653"/>
                  <a:pt x="155116" y="880913"/>
                </a:cubicBezTo>
                <a:cubicBezTo>
                  <a:pt x="158498" y="879775"/>
                  <a:pt x="161861" y="879076"/>
                  <a:pt x="165406" y="878483"/>
                </a:cubicBezTo>
                <a:cubicBezTo>
                  <a:pt x="170342" y="877655"/>
                  <a:pt x="172265" y="876971"/>
                  <a:pt x="176634" y="874343"/>
                </a:cubicBezTo>
                <a:cubicBezTo>
                  <a:pt x="179863" y="873335"/>
                  <a:pt x="183123" y="872404"/>
                  <a:pt x="186397" y="871524"/>
                </a:cubicBezTo>
                <a:cubicBezTo>
                  <a:pt x="189107" y="870786"/>
                  <a:pt x="189107" y="870786"/>
                  <a:pt x="191871" y="870033"/>
                </a:cubicBezTo>
                <a:cubicBezTo>
                  <a:pt x="195731" y="869023"/>
                  <a:pt x="199587" y="868093"/>
                  <a:pt x="203483" y="867208"/>
                </a:cubicBezTo>
                <a:cubicBezTo>
                  <a:pt x="208339" y="866199"/>
                  <a:pt x="208339" y="866199"/>
                  <a:pt x="211001" y="861660"/>
                </a:cubicBezTo>
                <a:cubicBezTo>
                  <a:pt x="214174" y="860102"/>
                  <a:pt x="214174" y="860102"/>
                  <a:pt x="218031" y="858577"/>
                </a:cubicBezTo>
                <a:cubicBezTo>
                  <a:pt x="236068" y="850629"/>
                  <a:pt x="245199" y="840442"/>
                  <a:pt x="254740" y="825020"/>
                </a:cubicBezTo>
                <a:cubicBezTo>
                  <a:pt x="255771" y="823625"/>
                  <a:pt x="256802" y="822230"/>
                  <a:pt x="257864" y="820792"/>
                </a:cubicBezTo>
                <a:cubicBezTo>
                  <a:pt x="258359" y="817506"/>
                  <a:pt x="258359" y="817506"/>
                  <a:pt x="258318" y="813810"/>
                </a:cubicBezTo>
                <a:cubicBezTo>
                  <a:pt x="258338" y="812388"/>
                  <a:pt x="258358" y="810967"/>
                  <a:pt x="258378" y="809502"/>
                </a:cubicBezTo>
                <a:cubicBezTo>
                  <a:pt x="258382" y="807965"/>
                  <a:pt x="258385" y="806429"/>
                  <a:pt x="258389" y="804845"/>
                </a:cubicBezTo>
                <a:cubicBezTo>
                  <a:pt x="258399" y="803258"/>
                  <a:pt x="258410" y="801671"/>
                  <a:pt x="258420" y="800036"/>
                </a:cubicBezTo>
                <a:cubicBezTo>
                  <a:pt x="258436" y="796670"/>
                  <a:pt x="258443" y="793305"/>
                  <a:pt x="258443" y="789939"/>
                </a:cubicBezTo>
                <a:cubicBezTo>
                  <a:pt x="258450" y="784823"/>
                  <a:pt x="258506" y="779709"/>
                  <a:pt x="258566" y="774594"/>
                </a:cubicBezTo>
                <a:cubicBezTo>
                  <a:pt x="258575" y="771319"/>
                  <a:pt x="258581" y="768045"/>
                  <a:pt x="258584" y="764771"/>
                </a:cubicBezTo>
                <a:cubicBezTo>
                  <a:pt x="258618" y="762495"/>
                  <a:pt x="258618" y="762495"/>
                  <a:pt x="258652" y="760174"/>
                </a:cubicBezTo>
                <a:cubicBezTo>
                  <a:pt x="258586" y="750030"/>
                  <a:pt x="256266" y="742584"/>
                  <a:pt x="251616" y="733421"/>
                </a:cubicBezTo>
                <a:cubicBezTo>
                  <a:pt x="250163" y="729605"/>
                  <a:pt x="248880" y="725752"/>
                  <a:pt x="247613" y="721883"/>
                </a:cubicBezTo>
                <a:cubicBezTo>
                  <a:pt x="245789" y="716328"/>
                  <a:pt x="243913" y="710939"/>
                  <a:pt x="241291" y="705644"/>
                </a:cubicBezTo>
                <a:cubicBezTo>
                  <a:pt x="238691" y="700096"/>
                  <a:pt x="238136" y="695685"/>
                  <a:pt x="237557" y="689735"/>
                </a:cubicBezTo>
                <a:cubicBezTo>
                  <a:pt x="244977" y="685507"/>
                  <a:pt x="244977" y="685507"/>
                  <a:pt x="248492" y="685507"/>
                </a:cubicBezTo>
                <a:cubicBezTo>
                  <a:pt x="248492" y="684112"/>
                  <a:pt x="248492" y="682717"/>
                  <a:pt x="248492" y="681279"/>
                </a:cubicBezTo>
                <a:cubicBezTo>
                  <a:pt x="245914" y="680815"/>
                  <a:pt x="243337" y="680350"/>
                  <a:pt x="240681" y="679870"/>
                </a:cubicBezTo>
                <a:cubicBezTo>
                  <a:pt x="240681" y="678940"/>
                  <a:pt x="240681" y="678010"/>
                  <a:pt x="240681" y="677052"/>
                </a:cubicBezTo>
                <a:cubicBezTo>
                  <a:pt x="239827" y="676917"/>
                  <a:pt x="238973" y="676783"/>
                  <a:pt x="238094" y="676645"/>
                </a:cubicBezTo>
                <a:cubicBezTo>
                  <a:pt x="233442" y="675371"/>
                  <a:pt x="229939" y="673242"/>
                  <a:pt x="225841" y="670886"/>
                </a:cubicBezTo>
                <a:cubicBezTo>
                  <a:pt x="217808" y="666564"/>
                  <a:pt x="210635" y="664241"/>
                  <a:pt x="201531" y="662508"/>
                </a:cubicBezTo>
                <a:cubicBezTo>
                  <a:pt x="196896" y="661541"/>
                  <a:pt x="192682" y="660199"/>
                  <a:pt x="188252" y="658644"/>
                </a:cubicBezTo>
                <a:lnTo>
                  <a:pt x="182431" y="657327"/>
                </a:lnTo>
                <a:lnTo>
                  <a:pt x="182431" y="657613"/>
                </a:lnTo>
                <a:cubicBezTo>
                  <a:pt x="170575" y="657148"/>
                  <a:pt x="158718" y="656683"/>
                  <a:pt x="146503" y="656204"/>
                </a:cubicBezTo>
                <a:cubicBezTo>
                  <a:pt x="146503" y="657133"/>
                  <a:pt x="146503" y="658064"/>
                  <a:pt x="146503" y="659022"/>
                </a:cubicBezTo>
                <a:cubicBezTo>
                  <a:pt x="134359" y="662326"/>
                  <a:pt x="123013" y="663700"/>
                  <a:pt x="110378" y="663778"/>
                </a:cubicBezTo>
                <a:cubicBezTo>
                  <a:pt x="108435" y="663806"/>
                  <a:pt x="108435" y="663806"/>
                  <a:pt x="106453" y="663836"/>
                </a:cubicBezTo>
                <a:cubicBezTo>
                  <a:pt x="105231" y="663828"/>
                  <a:pt x="104009" y="663820"/>
                  <a:pt x="102751" y="663811"/>
                </a:cubicBezTo>
                <a:cubicBezTo>
                  <a:pt x="101117" y="663804"/>
                  <a:pt x="101117" y="663804"/>
                  <a:pt x="99449" y="663797"/>
                </a:cubicBezTo>
                <a:cubicBezTo>
                  <a:pt x="95696" y="663097"/>
                  <a:pt x="94265" y="661615"/>
                  <a:pt x="91828" y="659022"/>
                </a:cubicBezTo>
                <a:cubicBezTo>
                  <a:pt x="93890" y="659022"/>
                  <a:pt x="95953" y="659022"/>
                  <a:pt x="98077" y="659022"/>
                </a:cubicBezTo>
                <a:cubicBezTo>
                  <a:pt x="98077" y="659952"/>
                  <a:pt x="98077" y="660882"/>
                  <a:pt x="98077" y="661841"/>
                </a:cubicBezTo>
                <a:cubicBezTo>
                  <a:pt x="108735" y="662045"/>
                  <a:pt x="114063" y="662148"/>
                  <a:pt x="119023" y="661357"/>
                </a:cubicBezTo>
                <a:lnTo>
                  <a:pt x="119536" y="661197"/>
                </a:lnTo>
                <a:lnTo>
                  <a:pt x="109853" y="661639"/>
                </a:lnTo>
                <a:cubicBezTo>
                  <a:pt x="108764" y="661632"/>
                  <a:pt x="107675" y="661626"/>
                  <a:pt x="106552" y="661619"/>
                </a:cubicBezTo>
                <a:cubicBezTo>
                  <a:pt x="103877" y="661603"/>
                  <a:pt x="101203" y="661577"/>
                  <a:pt x="98528" y="661550"/>
                </a:cubicBezTo>
                <a:cubicBezTo>
                  <a:pt x="98528" y="660620"/>
                  <a:pt x="98528" y="659691"/>
                  <a:pt x="98528" y="658732"/>
                </a:cubicBezTo>
                <a:cubicBezTo>
                  <a:pt x="95435" y="658267"/>
                  <a:pt x="92342" y="657802"/>
                  <a:pt x="89155" y="657323"/>
                </a:cubicBezTo>
                <a:cubicBezTo>
                  <a:pt x="89155" y="656393"/>
                  <a:pt x="89155" y="655462"/>
                  <a:pt x="89155" y="654504"/>
                </a:cubicBezTo>
                <a:cubicBezTo>
                  <a:pt x="87790" y="653978"/>
                  <a:pt x="87790" y="653978"/>
                  <a:pt x="86397" y="653442"/>
                </a:cubicBezTo>
                <a:cubicBezTo>
                  <a:pt x="82415" y="651438"/>
                  <a:pt x="80039" y="649232"/>
                  <a:pt x="77049" y="646137"/>
                </a:cubicBezTo>
                <a:cubicBezTo>
                  <a:pt x="75611" y="644679"/>
                  <a:pt x="75611" y="644679"/>
                  <a:pt x="74145" y="643192"/>
                </a:cubicBezTo>
                <a:cubicBezTo>
                  <a:pt x="71972" y="640412"/>
                  <a:pt x="71972" y="640412"/>
                  <a:pt x="71972" y="636185"/>
                </a:cubicBezTo>
                <a:cubicBezTo>
                  <a:pt x="70941" y="636185"/>
                  <a:pt x="69910" y="636185"/>
                  <a:pt x="68848" y="636185"/>
                </a:cubicBezTo>
                <a:cubicBezTo>
                  <a:pt x="64250" y="621928"/>
                  <a:pt x="64695" y="609404"/>
                  <a:pt x="70410" y="595317"/>
                </a:cubicBezTo>
                <a:cubicBezTo>
                  <a:pt x="73096" y="591142"/>
                  <a:pt x="76144" y="587574"/>
                  <a:pt x="79782" y="584043"/>
                </a:cubicBezTo>
                <a:cubicBezTo>
                  <a:pt x="81205" y="582594"/>
                  <a:pt x="81205" y="582594"/>
                  <a:pt x="82656" y="581115"/>
                </a:cubicBezTo>
                <a:cubicBezTo>
                  <a:pt x="91488" y="574027"/>
                  <a:pt x="105133" y="571806"/>
                  <a:pt x="116694" y="572323"/>
                </a:cubicBezTo>
                <a:cubicBezTo>
                  <a:pt x="131556" y="574113"/>
                  <a:pt x="142046" y="580551"/>
                  <a:pt x="152031" y="590385"/>
                </a:cubicBezTo>
                <a:cubicBezTo>
                  <a:pt x="162272" y="600009"/>
                  <a:pt x="176992" y="605062"/>
                  <a:pt x="191474" y="605886"/>
                </a:cubicBezTo>
                <a:cubicBezTo>
                  <a:pt x="196845" y="606192"/>
                  <a:pt x="201203" y="606463"/>
                  <a:pt x="206314" y="608000"/>
                </a:cubicBezTo>
                <a:cubicBezTo>
                  <a:pt x="206314" y="608930"/>
                  <a:pt x="206314" y="609860"/>
                  <a:pt x="206314" y="610818"/>
                </a:cubicBezTo>
                <a:cubicBezTo>
                  <a:pt x="215689" y="610902"/>
                  <a:pt x="225058" y="610898"/>
                  <a:pt x="234433" y="610818"/>
                </a:cubicBezTo>
                <a:cubicBezTo>
                  <a:pt x="236112" y="610813"/>
                  <a:pt x="237791" y="610808"/>
                  <a:pt x="239522" y="610802"/>
                </a:cubicBezTo>
                <a:cubicBezTo>
                  <a:pt x="251005" y="610364"/>
                  <a:pt x="259257" y="606564"/>
                  <a:pt x="268799" y="600954"/>
                </a:cubicBezTo>
                <a:cubicBezTo>
                  <a:pt x="269770" y="600416"/>
                  <a:pt x="270740" y="599879"/>
                  <a:pt x="271740" y="599325"/>
                </a:cubicBezTo>
                <a:cubicBezTo>
                  <a:pt x="279452" y="594430"/>
                  <a:pt x="281420" y="587464"/>
                  <a:pt x="284420" y="579816"/>
                </a:cubicBezTo>
                <a:cubicBezTo>
                  <a:pt x="286047" y="576075"/>
                  <a:pt x="287725" y="572353"/>
                  <a:pt x="289399" y="568630"/>
                </a:cubicBezTo>
                <a:cubicBezTo>
                  <a:pt x="294095" y="558121"/>
                  <a:pt x="299004" y="547070"/>
                  <a:pt x="293958" y="535838"/>
                </a:cubicBezTo>
                <a:cubicBezTo>
                  <a:pt x="292436" y="533533"/>
                  <a:pt x="290781" y="531301"/>
                  <a:pt x="289107" y="529084"/>
                </a:cubicBezTo>
                <a:cubicBezTo>
                  <a:pt x="289107" y="528153"/>
                  <a:pt x="289107" y="527223"/>
                  <a:pt x="289107" y="526265"/>
                </a:cubicBezTo>
                <a:cubicBezTo>
                  <a:pt x="287560" y="525800"/>
                  <a:pt x="286014" y="525335"/>
                  <a:pt x="284420" y="524856"/>
                </a:cubicBezTo>
                <a:cubicBezTo>
                  <a:pt x="283905" y="523461"/>
                  <a:pt x="283389" y="522066"/>
                  <a:pt x="282858" y="520628"/>
                </a:cubicBezTo>
                <a:cubicBezTo>
                  <a:pt x="280750" y="518590"/>
                  <a:pt x="280750" y="518590"/>
                  <a:pt x="277977" y="516577"/>
                </a:cubicBezTo>
                <a:cubicBezTo>
                  <a:pt x="273591" y="513232"/>
                  <a:pt x="269227" y="509874"/>
                  <a:pt x="264925" y="506443"/>
                </a:cubicBezTo>
                <a:cubicBezTo>
                  <a:pt x="253596" y="497433"/>
                  <a:pt x="242132" y="488987"/>
                  <a:pt x="229746" y="481170"/>
                </a:cubicBezTo>
                <a:cubicBezTo>
                  <a:pt x="226846" y="479266"/>
                  <a:pt x="223950" y="477358"/>
                  <a:pt x="221057" y="475445"/>
                </a:cubicBezTo>
                <a:cubicBezTo>
                  <a:pt x="218227" y="473594"/>
                  <a:pt x="215396" y="471744"/>
                  <a:pt x="212563" y="469896"/>
                </a:cubicBezTo>
                <a:cubicBezTo>
                  <a:pt x="211351" y="469102"/>
                  <a:pt x="210138" y="468309"/>
                  <a:pt x="208889" y="467491"/>
                </a:cubicBezTo>
                <a:cubicBezTo>
                  <a:pt x="202848" y="463599"/>
                  <a:pt x="196732" y="459888"/>
                  <a:pt x="190406" y="456382"/>
                </a:cubicBezTo>
                <a:cubicBezTo>
                  <a:pt x="189263" y="455748"/>
                  <a:pt x="188119" y="455114"/>
                  <a:pt x="186942" y="454460"/>
                </a:cubicBezTo>
                <a:cubicBezTo>
                  <a:pt x="184648" y="453196"/>
                  <a:pt x="182348" y="451941"/>
                  <a:pt x="180041" y="450696"/>
                </a:cubicBezTo>
                <a:cubicBezTo>
                  <a:pt x="177292" y="449185"/>
                  <a:pt x="174612" y="447571"/>
                  <a:pt x="171948" y="445940"/>
                </a:cubicBezTo>
                <a:cubicBezTo>
                  <a:pt x="171948" y="445009"/>
                  <a:pt x="171948" y="444079"/>
                  <a:pt x="171948" y="443121"/>
                </a:cubicBezTo>
                <a:cubicBezTo>
                  <a:pt x="170804" y="442985"/>
                  <a:pt x="169660" y="442848"/>
                  <a:pt x="168482" y="442708"/>
                </a:cubicBezTo>
                <a:cubicBezTo>
                  <a:pt x="163547" y="441576"/>
                  <a:pt x="161063" y="439897"/>
                  <a:pt x="157107" y="437044"/>
                </a:cubicBezTo>
                <a:cubicBezTo>
                  <a:pt x="149345" y="431895"/>
                  <a:pt x="141843" y="429626"/>
                  <a:pt x="132559" y="427510"/>
                </a:cubicBezTo>
                <a:cubicBezTo>
                  <a:pt x="128067" y="426168"/>
                  <a:pt x="126607" y="425060"/>
                  <a:pt x="123522" y="421983"/>
                </a:cubicBezTo>
                <a:cubicBezTo>
                  <a:pt x="118310" y="419033"/>
                  <a:pt x="114076" y="418794"/>
                  <a:pt x="107986" y="418730"/>
                </a:cubicBezTo>
                <a:cubicBezTo>
                  <a:pt x="106174" y="418694"/>
                  <a:pt x="104362" y="418659"/>
                  <a:pt x="102494" y="418622"/>
                </a:cubicBezTo>
                <a:cubicBezTo>
                  <a:pt x="98715" y="418573"/>
                  <a:pt x="94936" y="418529"/>
                  <a:pt x="91157" y="418490"/>
                </a:cubicBezTo>
                <a:cubicBezTo>
                  <a:pt x="78470" y="418231"/>
                  <a:pt x="65485" y="417940"/>
                  <a:pt x="55277" y="410445"/>
                </a:cubicBezTo>
                <a:cubicBezTo>
                  <a:pt x="54084" y="409137"/>
                  <a:pt x="52893" y="407829"/>
                  <a:pt x="51665" y="406481"/>
                </a:cubicBezTo>
                <a:cubicBezTo>
                  <a:pt x="49752" y="404480"/>
                  <a:pt x="47831" y="402483"/>
                  <a:pt x="45904" y="400492"/>
                </a:cubicBezTo>
                <a:cubicBezTo>
                  <a:pt x="44996" y="399526"/>
                  <a:pt x="44088" y="398559"/>
                  <a:pt x="43152" y="397564"/>
                </a:cubicBezTo>
                <a:cubicBezTo>
                  <a:pt x="40865" y="395062"/>
                  <a:pt x="40865" y="395062"/>
                  <a:pt x="37605" y="393798"/>
                </a:cubicBezTo>
                <a:lnTo>
                  <a:pt x="38995" y="368712"/>
                </a:lnTo>
                <a:lnTo>
                  <a:pt x="38666" y="369724"/>
                </a:lnTo>
                <a:cubicBezTo>
                  <a:pt x="37003" y="374506"/>
                  <a:pt x="36202" y="379113"/>
                  <a:pt x="35542" y="384081"/>
                </a:cubicBezTo>
                <a:cubicBezTo>
                  <a:pt x="30313" y="376119"/>
                  <a:pt x="31188" y="366593"/>
                  <a:pt x="33326" y="357791"/>
                </a:cubicBezTo>
                <a:cubicBezTo>
                  <a:pt x="37176" y="347767"/>
                  <a:pt x="44536" y="340769"/>
                  <a:pt x="52725" y="333349"/>
                </a:cubicBezTo>
                <a:lnTo>
                  <a:pt x="55222" y="334475"/>
                </a:lnTo>
                <a:lnTo>
                  <a:pt x="56222" y="333347"/>
                </a:lnTo>
                <a:lnTo>
                  <a:pt x="55871" y="333347"/>
                </a:lnTo>
                <a:lnTo>
                  <a:pt x="56346" y="333207"/>
                </a:lnTo>
                <a:lnTo>
                  <a:pt x="56351" y="333202"/>
                </a:lnTo>
                <a:lnTo>
                  <a:pt x="56365" y="333202"/>
                </a:lnTo>
                <a:lnTo>
                  <a:pt x="79571" y="326360"/>
                </a:lnTo>
                <a:cubicBezTo>
                  <a:pt x="87782" y="326037"/>
                  <a:pt x="96164" y="327572"/>
                  <a:pt x="104297" y="330529"/>
                </a:cubicBezTo>
                <a:lnTo>
                  <a:pt x="107170" y="334417"/>
                </a:lnTo>
                <a:lnTo>
                  <a:pt x="109366" y="336046"/>
                </a:lnTo>
                <a:lnTo>
                  <a:pt x="109463" y="336020"/>
                </a:lnTo>
                <a:lnTo>
                  <a:pt x="109463" y="336118"/>
                </a:lnTo>
                <a:lnTo>
                  <a:pt x="115226" y="340394"/>
                </a:lnTo>
                <a:lnTo>
                  <a:pt x="114010" y="340120"/>
                </a:lnTo>
                <a:lnTo>
                  <a:pt x="133285" y="357423"/>
                </a:lnTo>
                <a:cubicBezTo>
                  <a:pt x="142471" y="373187"/>
                  <a:pt x="155564" y="382744"/>
                  <a:pt x="173509" y="389571"/>
                </a:cubicBezTo>
                <a:cubicBezTo>
                  <a:pt x="176254" y="390785"/>
                  <a:pt x="178988" y="392017"/>
                  <a:pt x="181711" y="393270"/>
                </a:cubicBezTo>
                <a:cubicBezTo>
                  <a:pt x="182964" y="393833"/>
                  <a:pt x="184216" y="394396"/>
                  <a:pt x="185507" y="394976"/>
                </a:cubicBezTo>
                <a:cubicBezTo>
                  <a:pt x="187897" y="396058"/>
                  <a:pt x="190281" y="397151"/>
                  <a:pt x="192658" y="398257"/>
                </a:cubicBezTo>
                <a:cubicBezTo>
                  <a:pt x="193749" y="398762"/>
                  <a:pt x="194841" y="399267"/>
                  <a:pt x="195966" y="399788"/>
                </a:cubicBezTo>
                <a:cubicBezTo>
                  <a:pt x="196912" y="400231"/>
                  <a:pt x="197858" y="400674"/>
                  <a:pt x="198833" y="401131"/>
                </a:cubicBezTo>
                <a:cubicBezTo>
                  <a:pt x="201808" y="402326"/>
                  <a:pt x="204701" y="403032"/>
                  <a:pt x="207877" y="403663"/>
                </a:cubicBezTo>
                <a:cubicBezTo>
                  <a:pt x="207877" y="404593"/>
                  <a:pt x="207877" y="405523"/>
                  <a:pt x="207877" y="406481"/>
                </a:cubicBezTo>
                <a:cubicBezTo>
                  <a:pt x="221233" y="411377"/>
                  <a:pt x="234752" y="415503"/>
                  <a:pt x="248492" y="419428"/>
                </a:cubicBezTo>
                <a:cubicBezTo>
                  <a:pt x="250298" y="419947"/>
                  <a:pt x="252104" y="420466"/>
                  <a:pt x="253965" y="421000"/>
                </a:cubicBezTo>
                <a:cubicBezTo>
                  <a:pt x="258388" y="422270"/>
                  <a:pt x="262812" y="423537"/>
                  <a:pt x="267237" y="424801"/>
                </a:cubicBezTo>
                <a:lnTo>
                  <a:pt x="267237" y="426451"/>
                </a:lnTo>
                <a:lnTo>
                  <a:pt x="288701" y="429217"/>
                </a:lnTo>
                <a:cubicBezTo>
                  <a:pt x="288701" y="430147"/>
                  <a:pt x="288701" y="431078"/>
                  <a:pt x="288701" y="432036"/>
                </a:cubicBezTo>
                <a:cubicBezTo>
                  <a:pt x="301487" y="433472"/>
                  <a:pt x="314148" y="433662"/>
                  <a:pt x="327010" y="433628"/>
                </a:cubicBezTo>
                <a:cubicBezTo>
                  <a:pt x="330502" y="433621"/>
                  <a:pt x="333994" y="433628"/>
                  <a:pt x="337486" y="433637"/>
                </a:cubicBezTo>
                <a:cubicBezTo>
                  <a:pt x="339734" y="433637"/>
                  <a:pt x="341982" y="433635"/>
                  <a:pt x="344229" y="433632"/>
                </a:cubicBezTo>
                <a:cubicBezTo>
                  <a:pt x="347246" y="433630"/>
                  <a:pt x="347246" y="433630"/>
                  <a:pt x="350323" y="433627"/>
                </a:cubicBezTo>
                <a:cubicBezTo>
                  <a:pt x="355445" y="433459"/>
                  <a:pt x="360220" y="432915"/>
                  <a:pt x="365245" y="432036"/>
                </a:cubicBezTo>
                <a:lnTo>
                  <a:pt x="360797" y="433759"/>
                </a:lnTo>
                <a:lnTo>
                  <a:pt x="365650" y="433257"/>
                </a:lnTo>
                <a:cubicBezTo>
                  <a:pt x="366166" y="431861"/>
                  <a:pt x="366682" y="430466"/>
                  <a:pt x="367213" y="429029"/>
                </a:cubicBezTo>
                <a:cubicBezTo>
                  <a:pt x="369854" y="427628"/>
                  <a:pt x="372501" y="426234"/>
                  <a:pt x="375188" y="424906"/>
                </a:cubicBezTo>
                <a:cubicBezTo>
                  <a:pt x="390245" y="417204"/>
                  <a:pt x="397438" y="403183"/>
                  <a:pt x="404704" y="389571"/>
                </a:cubicBezTo>
                <a:cubicBezTo>
                  <a:pt x="405219" y="389105"/>
                  <a:pt x="405734" y="388641"/>
                  <a:pt x="406265" y="388161"/>
                </a:cubicBezTo>
                <a:cubicBezTo>
                  <a:pt x="406663" y="382152"/>
                  <a:pt x="406555" y="376125"/>
                  <a:pt x="406559" y="370106"/>
                </a:cubicBezTo>
                <a:cubicBezTo>
                  <a:pt x="406578" y="368412"/>
                  <a:pt x="406597" y="366718"/>
                  <a:pt x="406617" y="364973"/>
                </a:cubicBezTo>
                <a:cubicBezTo>
                  <a:pt x="406620" y="363344"/>
                  <a:pt x="406622" y="361715"/>
                  <a:pt x="406626" y="360038"/>
                </a:cubicBezTo>
                <a:cubicBezTo>
                  <a:pt x="406632" y="358541"/>
                  <a:pt x="406638" y="357045"/>
                  <a:pt x="406645" y="355503"/>
                </a:cubicBezTo>
                <a:cubicBezTo>
                  <a:pt x="406264" y="351503"/>
                  <a:pt x="405326" y="349318"/>
                  <a:pt x="403142" y="345885"/>
                </a:cubicBezTo>
                <a:cubicBezTo>
                  <a:pt x="402583" y="343484"/>
                  <a:pt x="402067" y="341075"/>
                  <a:pt x="401579" y="338663"/>
                </a:cubicBezTo>
                <a:cubicBezTo>
                  <a:pt x="399365" y="330323"/>
                  <a:pt x="395538" y="323370"/>
                  <a:pt x="390938" y="315939"/>
                </a:cubicBezTo>
                <a:cubicBezTo>
                  <a:pt x="390290" y="314890"/>
                  <a:pt x="389642" y="313842"/>
                  <a:pt x="388976" y="312762"/>
                </a:cubicBezTo>
                <a:cubicBezTo>
                  <a:pt x="385623" y="307500"/>
                  <a:pt x="382070" y="302607"/>
                  <a:pt x="377934" y="297817"/>
                </a:cubicBezTo>
                <a:cubicBezTo>
                  <a:pt x="373788" y="292978"/>
                  <a:pt x="371423" y="288111"/>
                  <a:pt x="368775" y="282470"/>
                </a:cubicBezTo>
                <a:cubicBezTo>
                  <a:pt x="366035" y="278585"/>
                  <a:pt x="362994" y="274937"/>
                  <a:pt x="359890" y="271284"/>
                </a:cubicBezTo>
                <a:cubicBezTo>
                  <a:pt x="359059" y="270296"/>
                  <a:pt x="358230" y="269307"/>
                  <a:pt x="357374" y="268288"/>
                </a:cubicBezTo>
                <a:cubicBezTo>
                  <a:pt x="351312" y="261177"/>
                  <a:pt x="344882" y="254704"/>
                  <a:pt x="337533" y="248649"/>
                </a:cubicBezTo>
                <a:cubicBezTo>
                  <a:pt x="336767" y="247896"/>
                  <a:pt x="336002" y="247144"/>
                  <a:pt x="335214" y="246369"/>
                </a:cubicBezTo>
                <a:cubicBezTo>
                  <a:pt x="332597" y="243963"/>
                  <a:pt x="332597" y="243963"/>
                  <a:pt x="327085" y="242571"/>
                </a:cubicBezTo>
                <a:cubicBezTo>
                  <a:pt x="309670" y="236923"/>
                  <a:pt x="296614" y="222751"/>
                  <a:pt x="288785" y="207968"/>
                </a:cubicBezTo>
                <a:cubicBezTo>
                  <a:pt x="286673" y="202851"/>
                  <a:pt x="286348" y="197968"/>
                  <a:pt x="286373" y="192544"/>
                </a:cubicBezTo>
                <a:cubicBezTo>
                  <a:pt x="286377" y="191437"/>
                  <a:pt x="286381" y="190330"/>
                  <a:pt x="286385" y="189190"/>
                </a:cubicBezTo>
                <a:cubicBezTo>
                  <a:pt x="286881" y="178340"/>
                  <a:pt x="291581" y="171728"/>
                  <a:pt x="300042" y="164095"/>
                </a:cubicBezTo>
                <a:cubicBezTo>
                  <a:pt x="301386" y="162752"/>
                  <a:pt x="301386" y="162752"/>
                  <a:pt x="302757" y="161381"/>
                </a:cubicBezTo>
                <a:cubicBezTo>
                  <a:pt x="312597" y="152504"/>
                  <a:pt x="325185" y="152675"/>
                  <a:pt x="338411" y="152293"/>
                </a:cubicBezTo>
                <a:cubicBezTo>
                  <a:pt x="350839" y="152463"/>
                  <a:pt x="359094" y="154554"/>
                  <a:pt x="368482" y="161893"/>
                </a:cubicBezTo>
                <a:cubicBezTo>
                  <a:pt x="369609" y="163085"/>
                  <a:pt x="370737" y="164277"/>
                  <a:pt x="371899" y="165505"/>
                </a:cubicBezTo>
                <a:cubicBezTo>
                  <a:pt x="372962" y="166522"/>
                  <a:pt x="374026" y="167539"/>
                  <a:pt x="375121" y="168587"/>
                </a:cubicBezTo>
                <a:cubicBezTo>
                  <a:pt x="381050" y="176351"/>
                  <a:pt x="384520" y="184328"/>
                  <a:pt x="384982" y="193777"/>
                </a:cubicBezTo>
                <a:cubicBezTo>
                  <a:pt x="385464" y="201192"/>
                  <a:pt x="387638" y="207607"/>
                  <a:pt x="390352" y="214563"/>
                </a:cubicBezTo>
                <a:cubicBezTo>
                  <a:pt x="390934" y="216079"/>
                  <a:pt x="390934" y="216079"/>
                  <a:pt x="391529" y="217626"/>
                </a:cubicBezTo>
                <a:cubicBezTo>
                  <a:pt x="394082" y="223926"/>
                  <a:pt x="397412" y="228969"/>
                  <a:pt x="401579" y="234556"/>
                </a:cubicBezTo>
                <a:cubicBezTo>
                  <a:pt x="401579" y="235952"/>
                  <a:pt x="401579" y="237347"/>
                  <a:pt x="401579" y="238784"/>
                </a:cubicBezTo>
                <a:cubicBezTo>
                  <a:pt x="402884" y="239263"/>
                  <a:pt x="402884" y="239263"/>
                  <a:pt x="404215" y="239753"/>
                </a:cubicBezTo>
                <a:cubicBezTo>
                  <a:pt x="410099" y="242765"/>
                  <a:pt x="414395" y="246733"/>
                  <a:pt x="417811" y="251996"/>
                </a:cubicBezTo>
                <a:cubicBezTo>
                  <a:pt x="420462" y="255897"/>
                  <a:pt x="423407" y="258959"/>
                  <a:pt x="426866" y="262300"/>
                </a:cubicBezTo>
                <a:cubicBezTo>
                  <a:pt x="435101" y="270407"/>
                  <a:pt x="442641" y="278936"/>
                  <a:pt x="450097" y="287628"/>
                </a:cubicBezTo>
                <a:cubicBezTo>
                  <a:pt x="453081" y="291117"/>
                  <a:pt x="453081" y="291117"/>
                  <a:pt x="457425" y="293920"/>
                </a:cubicBezTo>
                <a:cubicBezTo>
                  <a:pt x="458585" y="294792"/>
                  <a:pt x="459745" y="295664"/>
                  <a:pt x="460940" y="296562"/>
                </a:cubicBezTo>
                <a:cubicBezTo>
                  <a:pt x="460940" y="297957"/>
                  <a:pt x="460940" y="299352"/>
                  <a:pt x="460940" y="300790"/>
                </a:cubicBezTo>
                <a:cubicBezTo>
                  <a:pt x="465063" y="302782"/>
                  <a:pt x="468862" y="304133"/>
                  <a:pt x="473437" y="305018"/>
                </a:cubicBezTo>
                <a:cubicBezTo>
                  <a:pt x="473437" y="305947"/>
                  <a:pt x="473437" y="306877"/>
                  <a:pt x="473437" y="307836"/>
                </a:cubicBezTo>
                <a:cubicBezTo>
                  <a:pt x="475581" y="308519"/>
                  <a:pt x="477730" y="309193"/>
                  <a:pt x="479881" y="309862"/>
                </a:cubicBezTo>
                <a:cubicBezTo>
                  <a:pt x="481077" y="310237"/>
                  <a:pt x="482273" y="310614"/>
                  <a:pt x="483505" y="311001"/>
                </a:cubicBezTo>
                <a:cubicBezTo>
                  <a:pt x="505448" y="316843"/>
                  <a:pt x="527690" y="314359"/>
                  <a:pt x="548419" y="306427"/>
                </a:cubicBezTo>
                <a:cubicBezTo>
                  <a:pt x="549548" y="305998"/>
                  <a:pt x="550678" y="305569"/>
                  <a:pt x="551842" y="305127"/>
                </a:cubicBezTo>
                <a:cubicBezTo>
                  <a:pt x="555376" y="303227"/>
                  <a:pt x="557584" y="300980"/>
                  <a:pt x="560232" y="298148"/>
                </a:cubicBezTo>
                <a:cubicBezTo>
                  <a:pt x="561137" y="297192"/>
                  <a:pt x="562041" y="296236"/>
                  <a:pt x="562972" y="295252"/>
                </a:cubicBezTo>
                <a:cubicBezTo>
                  <a:pt x="564755" y="293274"/>
                  <a:pt x="566459" y="291237"/>
                  <a:pt x="568086" y="289152"/>
                </a:cubicBezTo>
                <a:cubicBezTo>
                  <a:pt x="568813" y="288342"/>
                  <a:pt x="569539" y="287532"/>
                  <a:pt x="570289" y="286697"/>
                </a:cubicBezTo>
                <a:cubicBezTo>
                  <a:pt x="571319" y="286697"/>
                  <a:pt x="572350" y="286697"/>
                  <a:pt x="573413" y="286697"/>
                </a:cubicBezTo>
                <a:cubicBezTo>
                  <a:pt x="577408" y="276984"/>
                  <a:pt x="577197" y="267284"/>
                  <a:pt x="577220" y="257016"/>
                </a:cubicBezTo>
                <a:cubicBezTo>
                  <a:pt x="577227" y="255625"/>
                  <a:pt x="577227" y="255625"/>
                  <a:pt x="577235" y="254206"/>
                </a:cubicBezTo>
                <a:cubicBezTo>
                  <a:pt x="577257" y="237553"/>
                  <a:pt x="574604" y="222055"/>
                  <a:pt x="569443" y="206049"/>
                </a:cubicBezTo>
                <a:cubicBezTo>
                  <a:pt x="568726" y="203553"/>
                  <a:pt x="568726" y="203553"/>
                  <a:pt x="568726" y="200735"/>
                </a:cubicBezTo>
                <a:cubicBezTo>
                  <a:pt x="567695" y="200735"/>
                  <a:pt x="566664" y="200735"/>
                  <a:pt x="565602" y="200735"/>
                </a:cubicBezTo>
                <a:cubicBezTo>
                  <a:pt x="563274" y="195295"/>
                  <a:pt x="561092" y="190108"/>
                  <a:pt x="559549" y="184441"/>
                </a:cubicBezTo>
                <a:cubicBezTo>
                  <a:pt x="555572" y="173477"/>
                  <a:pt x="547043" y="167105"/>
                  <a:pt x="537484" y="159867"/>
                </a:cubicBezTo>
                <a:cubicBezTo>
                  <a:pt x="533579" y="156609"/>
                  <a:pt x="533579" y="156609"/>
                  <a:pt x="531235" y="154230"/>
                </a:cubicBezTo>
                <a:cubicBezTo>
                  <a:pt x="531235" y="153301"/>
                  <a:pt x="531235" y="152371"/>
                  <a:pt x="531235" y="151412"/>
                </a:cubicBezTo>
                <a:cubicBezTo>
                  <a:pt x="529689" y="150947"/>
                  <a:pt x="528143" y="150482"/>
                  <a:pt x="526549" y="150003"/>
                </a:cubicBezTo>
                <a:cubicBezTo>
                  <a:pt x="519904" y="137298"/>
                  <a:pt x="519105" y="120357"/>
                  <a:pt x="524304" y="107198"/>
                </a:cubicBezTo>
                <a:cubicBezTo>
                  <a:pt x="529443" y="97376"/>
                  <a:pt x="535781" y="90193"/>
                  <a:pt x="547052" y="85972"/>
                </a:cubicBezTo>
                <a:cubicBezTo>
                  <a:pt x="559924" y="81835"/>
                  <a:pt x="575221" y="79746"/>
                  <a:pt x="588460" y="83538"/>
                </a:cubicBezTo>
                <a:cubicBezTo>
                  <a:pt x="601643" y="89713"/>
                  <a:pt x="611835" y="99450"/>
                  <a:pt x="617152" y="111954"/>
                </a:cubicBezTo>
                <a:cubicBezTo>
                  <a:pt x="617935" y="116052"/>
                  <a:pt x="617954" y="120024"/>
                  <a:pt x="617884" y="124175"/>
                </a:cubicBezTo>
                <a:cubicBezTo>
                  <a:pt x="617896" y="125307"/>
                  <a:pt x="617906" y="126440"/>
                  <a:pt x="617917" y="127607"/>
                </a:cubicBezTo>
                <a:cubicBezTo>
                  <a:pt x="617963" y="132394"/>
                  <a:pt x="617938" y="137181"/>
                  <a:pt x="617919" y="141969"/>
                </a:cubicBezTo>
                <a:cubicBezTo>
                  <a:pt x="617899" y="160184"/>
                  <a:pt x="619422" y="175572"/>
                  <a:pt x="630625" y="191311"/>
                </a:cubicBezTo>
                <a:cubicBezTo>
                  <a:pt x="633753" y="195891"/>
                  <a:pt x="636431" y="199900"/>
                  <a:pt x="637850" y="205139"/>
                </a:cubicBezTo>
                <a:cubicBezTo>
                  <a:pt x="638615" y="209623"/>
                  <a:pt x="638615" y="209623"/>
                  <a:pt x="643708" y="212009"/>
                </a:cubicBezTo>
                <a:cubicBezTo>
                  <a:pt x="645380" y="214563"/>
                  <a:pt x="645380" y="214563"/>
                  <a:pt x="647027" y="217645"/>
                </a:cubicBezTo>
                <a:cubicBezTo>
                  <a:pt x="652549" y="227016"/>
                  <a:pt x="660443" y="235696"/>
                  <a:pt x="670264" y="241603"/>
                </a:cubicBezTo>
                <a:cubicBezTo>
                  <a:pt x="670264" y="242532"/>
                  <a:pt x="670264" y="243462"/>
                  <a:pt x="670264" y="244421"/>
                </a:cubicBezTo>
                <a:cubicBezTo>
                  <a:pt x="672036" y="244857"/>
                  <a:pt x="673808" y="245293"/>
                  <a:pt x="675634" y="245742"/>
                </a:cubicBezTo>
                <a:cubicBezTo>
                  <a:pt x="681199" y="247239"/>
                  <a:pt x="681199" y="247239"/>
                  <a:pt x="682761" y="248649"/>
                </a:cubicBezTo>
                <a:cubicBezTo>
                  <a:pt x="704487" y="252065"/>
                  <a:pt x="732606" y="256402"/>
                  <a:pt x="752092" y="245076"/>
                </a:cubicBezTo>
                <a:cubicBezTo>
                  <a:pt x="754252" y="243599"/>
                  <a:pt x="756372" y="242073"/>
                  <a:pt x="758433" y="240485"/>
                </a:cubicBezTo>
                <a:cubicBezTo>
                  <a:pt x="760867" y="238784"/>
                  <a:pt x="760867" y="238784"/>
                  <a:pt x="763991" y="238784"/>
                </a:cubicBezTo>
                <a:cubicBezTo>
                  <a:pt x="764647" y="237296"/>
                  <a:pt x="764647" y="237296"/>
                  <a:pt x="765315" y="235778"/>
                </a:cubicBezTo>
                <a:cubicBezTo>
                  <a:pt x="767151" y="231659"/>
                  <a:pt x="769030" y="227557"/>
                  <a:pt x="770923" y="223459"/>
                </a:cubicBezTo>
                <a:cubicBezTo>
                  <a:pt x="771608" y="221966"/>
                  <a:pt x="772292" y="220472"/>
                  <a:pt x="772998" y="218934"/>
                </a:cubicBezTo>
                <a:cubicBezTo>
                  <a:pt x="774429" y="215885"/>
                  <a:pt x="775968" y="212878"/>
                  <a:pt x="777562" y="209895"/>
                </a:cubicBezTo>
                <a:cubicBezTo>
                  <a:pt x="787607" y="185732"/>
                  <a:pt x="788559" y="149501"/>
                  <a:pt x="781175" y="124637"/>
                </a:cubicBezTo>
                <a:cubicBezTo>
                  <a:pt x="780144" y="124637"/>
                  <a:pt x="779113" y="124637"/>
                  <a:pt x="778051" y="124637"/>
                </a:cubicBezTo>
                <a:cubicBezTo>
                  <a:pt x="768501" y="110080"/>
                  <a:pt x="762898" y="96653"/>
                  <a:pt x="767116" y="79542"/>
                </a:cubicBezTo>
                <a:cubicBezTo>
                  <a:pt x="772286" y="69057"/>
                  <a:pt x="781456" y="58252"/>
                  <a:pt x="793379" y="54000"/>
                </a:cubicBezTo>
                <a:cubicBezTo>
                  <a:pt x="808369" y="49250"/>
                  <a:pt x="826058" y="49579"/>
                  <a:pt x="840688" y="55503"/>
                </a:cubicBezTo>
                <a:cubicBezTo>
                  <a:pt x="845183" y="57759"/>
                  <a:pt x="848037" y="60575"/>
                  <a:pt x="851470" y="64040"/>
                </a:cubicBezTo>
                <a:cubicBezTo>
                  <a:pt x="852721" y="65272"/>
                  <a:pt x="852721" y="65272"/>
                  <a:pt x="853997" y="66529"/>
                </a:cubicBezTo>
                <a:cubicBezTo>
                  <a:pt x="858396" y="71505"/>
                  <a:pt x="860490" y="76640"/>
                  <a:pt x="861488" y="82057"/>
                </a:cubicBezTo>
                <a:lnTo>
                  <a:pt x="861937" y="90492"/>
                </a:lnTo>
                <a:lnTo>
                  <a:pt x="863826" y="100715"/>
                </a:lnTo>
                <a:cubicBezTo>
                  <a:pt x="862141" y="107853"/>
                  <a:pt x="859866" y="114857"/>
                  <a:pt x="857577" y="121853"/>
                </a:cubicBezTo>
                <a:cubicBezTo>
                  <a:pt x="857062" y="121853"/>
                  <a:pt x="856547" y="121853"/>
                  <a:pt x="856015" y="121853"/>
                </a:cubicBezTo>
                <a:cubicBezTo>
                  <a:pt x="855731" y="120401"/>
                  <a:pt x="855731" y="120401"/>
                  <a:pt x="855442" y="118919"/>
                </a:cubicBezTo>
                <a:lnTo>
                  <a:pt x="855417" y="118798"/>
                </a:lnTo>
                <a:lnTo>
                  <a:pt x="856157" y="124637"/>
                </a:lnTo>
                <a:lnTo>
                  <a:pt x="850623" y="134701"/>
                </a:lnTo>
                <a:lnTo>
                  <a:pt x="851325" y="135968"/>
                </a:lnTo>
                <a:cubicBezTo>
                  <a:pt x="850851" y="137246"/>
                  <a:pt x="850376" y="138525"/>
                  <a:pt x="849886" y="139843"/>
                </a:cubicBezTo>
                <a:cubicBezTo>
                  <a:pt x="848171" y="144505"/>
                  <a:pt x="847798" y="148002"/>
                  <a:pt x="847786" y="152889"/>
                </a:cubicBezTo>
                <a:cubicBezTo>
                  <a:pt x="847779" y="154500"/>
                  <a:pt x="847773" y="156109"/>
                  <a:pt x="847767" y="157768"/>
                </a:cubicBezTo>
                <a:cubicBezTo>
                  <a:pt x="847782" y="159468"/>
                  <a:pt x="847796" y="161167"/>
                  <a:pt x="847810" y="162919"/>
                </a:cubicBezTo>
                <a:cubicBezTo>
                  <a:pt x="847821" y="165546"/>
                  <a:pt x="847821" y="165546"/>
                  <a:pt x="847832" y="168227"/>
                </a:cubicBezTo>
                <a:cubicBezTo>
                  <a:pt x="847980" y="181934"/>
                  <a:pt x="849003" y="195419"/>
                  <a:pt x="850903" y="209013"/>
                </a:cubicBezTo>
                <a:lnTo>
                  <a:pt x="852880" y="224692"/>
                </a:lnTo>
                <a:lnTo>
                  <a:pt x="854595" y="224692"/>
                </a:lnTo>
                <a:cubicBezTo>
                  <a:pt x="855086" y="225542"/>
                  <a:pt x="855577" y="226392"/>
                  <a:pt x="856083" y="227268"/>
                </a:cubicBezTo>
                <a:cubicBezTo>
                  <a:pt x="862358" y="237839"/>
                  <a:pt x="866924" y="242785"/>
                  <a:pt x="879588" y="247239"/>
                </a:cubicBezTo>
                <a:cubicBezTo>
                  <a:pt x="881642" y="248025"/>
                  <a:pt x="883692" y="248817"/>
                  <a:pt x="885739" y="249618"/>
                </a:cubicBezTo>
                <a:cubicBezTo>
                  <a:pt x="887318" y="250227"/>
                  <a:pt x="888897" y="250838"/>
                  <a:pt x="890523" y="251467"/>
                </a:cubicBezTo>
                <a:cubicBezTo>
                  <a:pt x="890523" y="252397"/>
                  <a:pt x="890523" y="253327"/>
                  <a:pt x="890523" y="254285"/>
                </a:cubicBezTo>
                <a:cubicBezTo>
                  <a:pt x="900347" y="257061"/>
                  <a:pt x="910127" y="259425"/>
                  <a:pt x="920203" y="261332"/>
                </a:cubicBezTo>
                <a:cubicBezTo>
                  <a:pt x="920203" y="261796"/>
                  <a:pt x="920203" y="262262"/>
                  <a:pt x="920203" y="262741"/>
                </a:cubicBezTo>
                <a:cubicBezTo>
                  <a:pt x="917111" y="262741"/>
                  <a:pt x="914018" y="262741"/>
                  <a:pt x="910831" y="262741"/>
                </a:cubicBezTo>
                <a:lnTo>
                  <a:pt x="910831" y="262864"/>
                </a:lnTo>
                <a:lnTo>
                  <a:pt x="927993" y="264177"/>
                </a:lnTo>
                <a:lnTo>
                  <a:pt x="939273" y="265285"/>
                </a:lnTo>
                <a:lnTo>
                  <a:pt x="940456" y="265191"/>
                </a:lnTo>
                <a:cubicBezTo>
                  <a:pt x="962552" y="263054"/>
                  <a:pt x="974979" y="255295"/>
                  <a:pt x="991622" y="242329"/>
                </a:cubicBezTo>
                <a:lnTo>
                  <a:pt x="1000803" y="236505"/>
                </a:lnTo>
                <a:lnTo>
                  <a:pt x="999806" y="236055"/>
                </a:lnTo>
                <a:cubicBezTo>
                  <a:pt x="1000902" y="234997"/>
                  <a:pt x="1001997" y="233941"/>
                  <a:pt x="1003126" y="232851"/>
                </a:cubicBezTo>
                <a:cubicBezTo>
                  <a:pt x="1012364" y="223880"/>
                  <a:pt x="1021184" y="214752"/>
                  <a:pt x="1029487" y="205052"/>
                </a:cubicBezTo>
                <a:lnTo>
                  <a:pt x="1029872" y="206442"/>
                </a:lnTo>
                <a:lnTo>
                  <a:pt x="1031614" y="203719"/>
                </a:lnTo>
                <a:cubicBezTo>
                  <a:pt x="1033221" y="199204"/>
                  <a:pt x="1035713" y="196017"/>
                  <a:pt x="1038924" y="192280"/>
                </a:cubicBezTo>
                <a:cubicBezTo>
                  <a:pt x="1039956" y="191815"/>
                  <a:pt x="1040987" y="191349"/>
                  <a:pt x="1042049" y="190870"/>
                </a:cubicBezTo>
                <a:cubicBezTo>
                  <a:pt x="1043161" y="188473"/>
                  <a:pt x="1043161" y="188473"/>
                  <a:pt x="1044294" y="186026"/>
                </a:cubicBezTo>
                <a:cubicBezTo>
                  <a:pt x="1046735" y="181006"/>
                  <a:pt x="1046735" y="181006"/>
                  <a:pt x="1051422" y="178188"/>
                </a:cubicBezTo>
                <a:cubicBezTo>
                  <a:pt x="1052553" y="175286"/>
                  <a:pt x="1052553" y="175286"/>
                  <a:pt x="1052984" y="172551"/>
                </a:cubicBezTo>
                <a:cubicBezTo>
                  <a:pt x="1054014" y="172551"/>
                  <a:pt x="1055046" y="172551"/>
                  <a:pt x="1056108" y="172551"/>
                </a:cubicBezTo>
                <a:cubicBezTo>
                  <a:pt x="1057139" y="169295"/>
                  <a:pt x="1058170" y="166040"/>
                  <a:pt x="1059232" y="162686"/>
                </a:cubicBezTo>
                <a:cubicBezTo>
                  <a:pt x="1060263" y="162686"/>
                  <a:pt x="1061295" y="162686"/>
                  <a:pt x="1062357" y="162686"/>
                </a:cubicBezTo>
                <a:cubicBezTo>
                  <a:pt x="1062755" y="161484"/>
                  <a:pt x="1062755" y="161484"/>
                  <a:pt x="1063162" y="160258"/>
                </a:cubicBezTo>
                <a:cubicBezTo>
                  <a:pt x="1065716" y="152917"/>
                  <a:pt x="1068813" y="146686"/>
                  <a:pt x="1073292" y="140138"/>
                </a:cubicBezTo>
                <a:cubicBezTo>
                  <a:pt x="1074322" y="140138"/>
                  <a:pt x="1075353" y="140138"/>
                  <a:pt x="1076415" y="140138"/>
                </a:cubicBezTo>
                <a:cubicBezTo>
                  <a:pt x="1079808" y="132748"/>
                  <a:pt x="1082509" y="125160"/>
                  <a:pt x="1085294" y="117569"/>
                </a:cubicBezTo>
                <a:cubicBezTo>
                  <a:pt x="1085972" y="116181"/>
                  <a:pt x="1086651" y="114793"/>
                  <a:pt x="1087350" y="113363"/>
                </a:cubicBezTo>
                <a:cubicBezTo>
                  <a:pt x="1089671" y="112666"/>
                  <a:pt x="1089671" y="112666"/>
                  <a:pt x="1092037" y="111954"/>
                </a:cubicBezTo>
                <a:cubicBezTo>
                  <a:pt x="1092230" y="110879"/>
                  <a:pt x="1092423" y="109803"/>
                  <a:pt x="1092623" y="108695"/>
                </a:cubicBezTo>
                <a:cubicBezTo>
                  <a:pt x="1093599" y="104908"/>
                  <a:pt x="1093599" y="104908"/>
                  <a:pt x="1096723" y="100680"/>
                </a:cubicBezTo>
                <a:cubicBezTo>
                  <a:pt x="1097207" y="99140"/>
                  <a:pt x="1097689" y="97599"/>
                  <a:pt x="1098188" y="96013"/>
                </a:cubicBezTo>
                <a:cubicBezTo>
                  <a:pt x="1099847" y="90815"/>
                  <a:pt x="1099847" y="90815"/>
                  <a:pt x="1102288" y="87029"/>
                </a:cubicBezTo>
                <a:cubicBezTo>
                  <a:pt x="1106061" y="79186"/>
                  <a:pt x="1107564" y="69424"/>
                  <a:pt x="1104534" y="61222"/>
                </a:cubicBezTo>
                <a:cubicBezTo>
                  <a:pt x="1104409" y="59341"/>
                  <a:pt x="1104366" y="57454"/>
                  <a:pt x="1104381" y="55569"/>
                </a:cubicBezTo>
                <a:cubicBezTo>
                  <a:pt x="1104386" y="54501"/>
                  <a:pt x="1104391" y="53434"/>
                  <a:pt x="1104397" y="52335"/>
                </a:cubicBezTo>
                <a:cubicBezTo>
                  <a:pt x="1104410" y="51228"/>
                  <a:pt x="1104423" y="50120"/>
                  <a:pt x="1104436" y="48979"/>
                </a:cubicBezTo>
                <a:cubicBezTo>
                  <a:pt x="1104443" y="47856"/>
                  <a:pt x="1104451" y="46733"/>
                  <a:pt x="1104457" y="45575"/>
                </a:cubicBezTo>
                <a:cubicBezTo>
                  <a:pt x="1104476" y="42805"/>
                  <a:pt x="1104504" y="40035"/>
                  <a:pt x="1104534" y="37265"/>
                </a:cubicBezTo>
                <a:cubicBezTo>
                  <a:pt x="1105565" y="37265"/>
                  <a:pt x="1106596" y="37265"/>
                  <a:pt x="1107658" y="37265"/>
                </a:cubicBezTo>
                <a:cubicBezTo>
                  <a:pt x="1107561" y="34562"/>
                  <a:pt x="1107561" y="34562"/>
                  <a:pt x="1107463" y="31805"/>
                </a:cubicBezTo>
                <a:cubicBezTo>
                  <a:pt x="1107353" y="28733"/>
                  <a:pt x="1107353" y="28733"/>
                  <a:pt x="1107658" y="25991"/>
                </a:cubicBezTo>
                <a:cubicBezTo>
                  <a:pt x="1108689" y="25062"/>
                  <a:pt x="1109720" y="24131"/>
                  <a:pt x="1110782" y="23173"/>
                </a:cubicBezTo>
                <a:cubicBezTo>
                  <a:pt x="1111104" y="22156"/>
                  <a:pt x="1111427" y="21138"/>
                  <a:pt x="1111759" y="20091"/>
                </a:cubicBezTo>
                <a:cubicBezTo>
                  <a:pt x="1116393" y="11539"/>
                  <a:pt x="1124927" y="6390"/>
                  <a:pt x="1134507" y="2828"/>
                </a:cubicBezTo>
                <a:cubicBezTo>
                  <a:pt x="1141389" y="825"/>
                  <a:pt x="1148262" y="-204"/>
                  <a:pt x="1155019" y="35"/>
                </a:cubicBezTo>
                <a:close/>
              </a:path>
            </a:pathLst>
          </a:custGeom>
          <a:solidFill>
            <a:schemeClr val="accent3"/>
          </a:solidFill>
          <a:ln w="2232" cap="flat">
            <a:noFill/>
            <a:prstDash val="solid"/>
            <a:miter/>
          </a:ln>
          <a:effectLst>
            <a:innerShdw blurRad="63500" dist="190500" dir="8100000">
              <a:schemeClr val="accent3">
                <a:lumMod val="75000"/>
                <a:alpha val="50000"/>
              </a:schemeClr>
            </a:innerShdw>
          </a:effectLst>
        </p:spPr>
        <p:txBody>
          <a:bodyPr wrap="squar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410" name="Oval 7409">
            <a:extLst>
              <a:ext uri="{FF2B5EF4-FFF2-40B4-BE49-F238E27FC236}">
                <a16:creationId xmlns:a16="http://schemas.microsoft.com/office/drawing/2014/main" id="{E2543847-C897-FF28-47E8-56B24C1BF29A}"/>
              </a:ext>
            </a:extLst>
          </p:cNvPr>
          <p:cNvSpPr/>
          <p:nvPr/>
        </p:nvSpPr>
        <p:spPr>
          <a:xfrm>
            <a:off x="9553071" y="5361307"/>
            <a:ext cx="214116" cy="214116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413" name="Oval 7412">
            <a:extLst>
              <a:ext uri="{FF2B5EF4-FFF2-40B4-BE49-F238E27FC236}">
                <a16:creationId xmlns:a16="http://schemas.microsoft.com/office/drawing/2014/main" id="{AA72A8A6-D432-ADFD-E49E-144A40DBE8F7}"/>
              </a:ext>
            </a:extLst>
          </p:cNvPr>
          <p:cNvSpPr/>
          <p:nvPr/>
        </p:nvSpPr>
        <p:spPr>
          <a:xfrm>
            <a:off x="9838897" y="5548784"/>
            <a:ext cx="214116" cy="214116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414" name="Oval 7413">
            <a:extLst>
              <a:ext uri="{FF2B5EF4-FFF2-40B4-BE49-F238E27FC236}">
                <a16:creationId xmlns:a16="http://schemas.microsoft.com/office/drawing/2014/main" id="{4EEC01B7-8226-3904-12D1-689525DFCC9B}"/>
              </a:ext>
            </a:extLst>
          </p:cNvPr>
          <p:cNvSpPr/>
          <p:nvPr/>
        </p:nvSpPr>
        <p:spPr>
          <a:xfrm>
            <a:off x="9631443" y="5897615"/>
            <a:ext cx="167608" cy="167608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415" name="Oval 7414">
            <a:extLst>
              <a:ext uri="{FF2B5EF4-FFF2-40B4-BE49-F238E27FC236}">
                <a16:creationId xmlns:a16="http://schemas.microsoft.com/office/drawing/2014/main" id="{BC9F5744-12EB-E11C-98AE-6F51BD0D2E22}"/>
              </a:ext>
            </a:extLst>
          </p:cNvPr>
          <p:cNvSpPr/>
          <p:nvPr/>
        </p:nvSpPr>
        <p:spPr>
          <a:xfrm>
            <a:off x="10078622" y="5859198"/>
            <a:ext cx="214116" cy="214116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426" name="Oval 7425">
            <a:extLst>
              <a:ext uri="{FF2B5EF4-FFF2-40B4-BE49-F238E27FC236}">
                <a16:creationId xmlns:a16="http://schemas.microsoft.com/office/drawing/2014/main" id="{CAE49190-D931-A065-8DA0-540A90F5D49A}"/>
              </a:ext>
            </a:extLst>
          </p:cNvPr>
          <p:cNvSpPr/>
          <p:nvPr/>
        </p:nvSpPr>
        <p:spPr>
          <a:xfrm>
            <a:off x="10147774" y="5413555"/>
            <a:ext cx="144964" cy="144964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428" name="Oval 7427">
            <a:extLst>
              <a:ext uri="{FF2B5EF4-FFF2-40B4-BE49-F238E27FC236}">
                <a16:creationId xmlns:a16="http://schemas.microsoft.com/office/drawing/2014/main" id="{61D8780C-B7C1-9977-0127-793D23ACBD92}"/>
              </a:ext>
            </a:extLst>
          </p:cNvPr>
          <p:cNvSpPr/>
          <p:nvPr/>
        </p:nvSpPr>
        <p:spPr>
          <a:xfrm>
            <a:off x="7601161" y="5515997"/>
            <a:ext cx="114090" cy="114090"/>
          </a:xfrm>
          <a:prstGeom prst="ellipse">
            <a:avLst/>
          </a:prstGeom>
          <a:solidFill>
            <a:srgbClr val="275268">
              <a:alpha val="72000"/>
            </a:srgbClr>
          </a:solidFill>
          <a:ln>
            <a:noFill/>
          </a:ln>
          <a:effectLst>
            <a:outerShdw blurRad="50800" dist="38100" dir="8100000" sx="112000" sy="112000" algn="tr" rotWithShape="0">
              <a:prstClr val="black">
                <a:alpha val="32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429" name="Oval 7428">
            <a:extLst>
              <a:ext uri="{FF2B5EF4-FFF2-40B4-BE49-F238E27FC236}">
                <a16:creationId xmlns:a16="http://schemas.microsoft.com/office/drawing/2014/main" id="{370D2B04-6414-73E9-7891-5F63B743DC1E}"/>
              </a:ext>
            </a:extLst>
          </p:cNvPr>
          <p:cNvSpPr/>
          <p:nvPr/>
        </p:nvSpPr>
        <p:spPr>
          <a:xfrm>
            <a:off x="7315410" y="5074444"/>
            <a:ext cx="112731" cy="112731"/>
          </a:xfrm>
          <a:prstGeom prst="ellipse">
            <a:avLst/>
          </a:prstGeom>
          <a:solidFill>
            <a:srgbClr val="275268">
              <a:alpha val="72000"/>
            </a:srgbClr>
          </a:solidFill>
          <a:ln>
            <a:noFill/>
          </a:ln>
          <a:effectLst>
            <a:outerShdw blurRad="50800" dist="38100" dir="8100000" sx="112000" sy="112000" algn="tr" rotWithShape="0">
              <a:prstClr val="black">
                <a:alpha val="32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430" name="Oval 7429">
            <a:extLst>
              <a:ext uri="{FF2B5EF4-FFF2-40B4-BE49-F238E27FC236}">
                <a16:creationId xmlns:a16="http://schemas.microsoft.com/office/drawing/2014/main" id="{48DBA261-845C-134B-3CDD-DA03F6E50AAE}"/>
              </a:ext>
            </a:extLst>
          </p:cNvPr>
          <p:cNvSpPr/>
          <p:nvPr/>
        </p:nvSpPr>
        <p:spPr>
          <a:xfrm>
            <a:off x="7085859" y="5540426"/>
            <a:ext cx="95992" cy="95992"/>
          </a:xfrm>
          <a:prstGeom prst="ellipse">
            <a:avLst/>
          </a:prstGeom>
          <a:solidFill>
            <a:srgbClr val="275268">
              <a:alpha val="72000"/>
            </a:srgbClr>
          </a:solidFill>
          <a:ln>
            <a:noFill/>
          </a:ln>
          <a:effectLst>
            <a:outerShdw blurRad="50800" dist="38100" dir="8100000" sx="112000" sy="112000" algn="tr" rotWithShape="0">
              <a:prstClr val="black">
                <a:alpha val="32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431" name="Oval 7430">
            <a:extLst>
              <a:ext uri="{FF2B5EF4-FFF2-40B4-BE49-F238E27FC236}">
                <a16:creationId xmlns:a16="http://schemas.microsoft.com/office/drawing/2014/main" id="{AE37CE6E-A8BC-593C-2795-D8EF3E857403}"/>
              </a:ext>
            </a:extLst>
          </p:cNvPr>
          <p:cNvSpPr/>
          <p:nvPr/>
        </p:nvSpPr>
        <p:spPr>
          <a:xfrm>
            <a:off x="8398880" y="5346452"/>
            <a:ext cx="56940" cy="5694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700" name="Oval 7699">
            <a:extLst>
              <a:ext uri="{FF2B5EF4-FFF2-40B4-BE49-F238E27FC236}">
                <a16:creationId xmlns:a16="http://schemas.microsoft.com/office/drawing/2014/main" id="{BFBBE2FB-2C4A-F857-1246-45F2AAC0DD75}"/>
              </a:ext>
            </a:extLst>
          </p:cNvPr>
          <p:cNvSpPr/>
          <p:nvPr/>
        </p:nvSpPr>
        <p:spPr>
          <a:xfrm>
            <a:off x="918141" y="6629717"/>
            <a:ext cx="984885" cy="202564"/>
          </a:xfrm>
          <a:prstGeom prst="ellipse">
            <a:avLst/>
          </a:prstGeom>
          <a:solidFill>
            <a:schemeClr val="tx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702" name="Free-form: Shape 7701">
            <a:extLst>
              <a:ext uri="{FF2B5EF4-FFF2-40B4-BE49-F238E27FC236}">
                <a16:creationId xmlns:a16="http://schemas.microsoft.com/office/drawing/2014/main" id="{F6964EEA-D9EC-41AB-7B28-AC76336B9BAF}"/>
              </a:ext>
            </a:extLst>
          </p:cNvPr>
          <p:cNvSpPr/>
          <p:nvPr/>
        </p:nvSpPr>
        <p:spPr>
          <a:xfrm>
            <a:off x="1063322" y="5509781"/>
            <a:ext cx="697572" cy="1240128"/>
          </a:xfrm>
          <a:custGeom>
            <a:avLst/>
            <a:gdLst>
              <a:gd name="csX0" fmla="*/ 581793 w 697572"/>
              <a:gd name="csY0" fmla="*/ 1234401 h 1240128"/>
              <a:gd name="csX1" fmla="*/ 577427 w 697572"/>
              <a:gd name="csY1" fmla="*/ 1234156 h 1240128"/>
              <a:gd name="csX2" fmla="*/ 559133 w 697572"/>
              <a:gd name="csY2" fmla="*/ 1230909 h 1240128"/>
              <a:gd name="csX3" fmla="*/ 516706 w 697572"/>
              <a:gd name="csY3" fmla="*/ 1235117 h 1240128"/>
              <a:gd name="csX4" fmla="*/ 475244 w 697572"/>
              <a:gd name="csY4" fmla="*/ 1237506 h 1240128"/>
              <a:gd name="csX5" fmla="*/ 371154 w 697572"/>
              <a:gd name="csY5" fmla="*/ 1239428 h 1240128"/>
              <a:gd name="csX6" fmla="*/ 276813 w 697572"/>
              <a:gd name="csY6" fmla="*/ 1237654 h 1240128"/>
              <a:gd name="csX7" fmla="*/ 268212 w 697572"/>
              <a:gd name="csY7" fmla="*/ 1237635 h 1240128"/>
              <a:gd name="csX8" fmla="*/ 262072 w 697572"/>
              <a:gd name="csY8" fmla="*/ 1237523 h 1240128"/>
              <a:gd name="csX9" fmla="*/ 195111 w 697572"/>
              <a:gd name="csY9" fmla="*/ 1232775 h 1240128"/>
              <a:gd name="csX10" fmla="*/ 145060 w 697572"/>
              <a:gd name="csY10" fmla="*/ 1230076 h 1240128"/>
              <a:gd name="csX11" fmla="*/ 114933 w 697572"/>
              <a:gd name="csY11" fmla="*/ 1225832 h 1240128"/>
              <a:gd name="csX12" fmla="*/ 72642 w 697572"/>
              <a:gd name="csY12" fmla="*/ 1220237 h 1240128"/>
              <a:gd name="csX13" fmla="*/ 10894 w 697572"/>
              <a:gd name="csY13" fmla="*/ 1205737 h 1240128"/>
              <a:gd name="csX14" fmla="*/ 5856 w 697572"/>
              <a:gd name="csY14" fmla="*/ 1202799 h 1240128"/>
              <a:gd name="csX15" fmla="*/ 40 w 697572"/>
              <a:gd name="csY15" fmla="*/ 1174450 h 1240128"/>
              <a:gd name="csX16" fmla="*/ 19831 w 697572"/>
              <a:gd name="csY16" fmla="*/ 1118410 h 1240128"/>
              <a:gd name="csX17" fmla="*/ 22004 w 697572"/>
              <a:gd name="csY17" fmla="*/ 1107240 h 1240128"/>
              <a:gd name="csX18" fmla="*/ 25947 w 697572"/>
              <a:gd name="csY18" fmla="*/ 1038650 h 1240128"/>
              <a:gd name="csX19" fmla="*/ 58234 w 697572"/>
              <a:gd name="csY19" fmla="*/ 988567 h 1240128"/>
              <a:gd name="csX20" fmla="*/ 118645 w 697572"/>
              <a:gd name="csY20" fmla="*/ 928298 h 1240128"/>
              <a:gd name="csX21" fmla="*/ 126320 w 697572"/>
              <a:gd name="csY21" fmla="*/ 892015 h 1240128"/>
              <a:gd name="csX22" fmla="*/ 120345 w 697572"/>
              <a:gd name="csY22" fmla="*/ 872258 h 1240128"/>
              <a:gd name="csX23" fmla="*/ 125668 w 697572"/>
              <a:gd name="csY23" fmla="*/ 861640 h 1240128"/>
              <a:gd name="csX24" fmla="*/ 154237 w 697572"/>
              <a:gd name="csY24" fmla="*/ 850716 h 1240128"/>
              <a:gd name="csX25" fmla="*/ 170248 w 697572"/>
              <a:gd name="csY25" fmla="*/ 836767 h 1240128"/>
              <a:gd name="csX26" fmla="*/ 187840 w 697572"/>
              <a:gd name="csY26" fmla="*/ 796341 h 1240128"/>
              <a:gd name="csX27" fmla="*/ 209346 w 697572"/>
              <a:gd name="csY27" fmla="*/ 743126 h 1240128"/>
              <a:gd name="csX28" fmla="*/ 210630 w 697572"/>
              <a:gd name="csY28" fmla="*/ 737219 h 1240128"/>
              <a:gd name="csX29" fmla="*/ 213836 w 697572"/>
              <a:gd name="csY29" fmla="*/ 720505 h 1240128"/>
              <a:gd name="csX30" fmla="*/ 227791 w 697572"/>
              <a:gd name="csY30" fmla="*/ 667353 h 1240128"/>
              <a:gd name="csX31" fmla="*/ 241013 w 697572"/>
              <a:gd name="csY31" fmla="*/ 599151 h 1240128"/>
              <a:gd name="csX32" fmla="*/ 247322 w 697572"/>
              <a:gd name="csY32" fmla="*/ 542242 h 1240128"/>
              <a:gd name="csX33" fmla="*/ 247948 w 697572"/>
              <a:gd name="csY33" fmla="*/ 499296 h 1240128"/>
              <a:gd name="csX34" fmla="*/ 247577 w 697572"/>
              <a:gd name="csY34" fmla="*/ 470384 h 1240128"/>
              <a:gd name="csX35" fmla="*/ 238877 w 697572"/>
              <a:gd name="csY35" fmla="*/ 460987 h 1240128"/>
              <a:gd name="csX36" fmla="*/ 222040 w 697572"/>
              <a:gd name="csY36" fmla="*/ 458353 h 1240128"/>
              <a:gd name="csX37" fmla="*/ 172193 w 697572"/>
              <a:gd name="csY37" fmla="*/ 433714 h 1240128"/>
              <a:gd name="csX38" fmla="*/ 168410 w 697572"/>
              <a:gd name="csY38" fmla="*/ 396591 h 1240128"/>
              <a:gd name="csX39" fmla="*/ 209826 w 697572"/>
              <a:gd name="csY39" fmla="*/ 367773 h 1240128"/>
              <a:gd name="csX40" fmla="*/ 250732 w 697572"/>
              <a:gd name="csY40" fmla="*/ 355208 h 1240128"/>
              <a:gd name="csX41" fmla="*/ 258289 w 697572"/>
              <a:gd name="csY41" fmla="*/ 350426 h 1240128"/>
              <a:gd name="csX42" fmla="*/ 233274 w 697572"/>
              <a:gd name="csY42" fmla="*/ 333513 h 1240128"/>
              <a:gd name="csX43" fmla="*/ 229677 w 697572"/>
              <a:gd name="csY43" fmla="*/ 333922 h 1240128"/>
              <a:gd name="csX44" fmla="*/ 230149 w 697572"/>
              <a:gd name="csY44" fmla="*/ 332979 h 1240128"/>
              <a:gd name="csX45" fmla="*/ 227053 w 697572"/>
              <a:gd name="csY45" fmla="*/ 327076 h 1240128"/>
              <a:gd name="csX46" fmla="*/ 196769 w 697572"/>
              <a:gd name="csY46" fmla="*/ 291380 h 1240128"/>
              <a:gd name="csX47" fmla="*/ 184389 w 697572"/>
              <a:gd name="csY47" fmla="*/ 264042 h 1240128"/>
              <a:gd name="csX48" fmla="*/ 180630 w 697572"/>
              <a:gd name="csY48" fmla="*/ 257839 h 1240128"/>
              <a:gd name="csX49" fmla="*/ 176231 w 697572"/>
              <a:gd name="csY49" fmla="*/ 250643 h 1240128"/>
              <a:gd name="csX50" fmla="*/ 170073 w 697572"/>
              <a:gd name="csY50" fmla="*/ 146723 h 1240128"/>
              <a:gd name="csX51" fmla="*/ 180929 w 697572"/>
              <a:gd name="csY51" fmla="*/ 114280 h 1240128"/>
              <a:gd name="csX52" fmla="*/ 180839 w 697572"/>
              <a:gd name="csY52" fmla="*/ 101501 h 1240128"/>
              <a:gd name="csX53" fmla="*/ 233536 w 697572"/>
              <a:gd name="csY53" fmla="*/ 39653 h 1240128"/>
              <a:gd name="csX54" fmla="*/ 347618 w 697572"/>
              <a:gd name="csY54" fmla="*/ 35 h 1240128"/>
              <a:gd name="csX55" fmla="*/ 437139 w 697572"/>
              <a:gd name="csY55" fmla="*/ 22396 h 1240128"/>
              <a:gd name="csX56" fmla="*/ 529052 w 697572"/>
              <a:gd name="csY56" fmla="*/ 131093 h 1240128"/>
              <a:gd name="csX57" fmla="*/ 518497 w 697572"/>
              <a:gd name="csY57" fmla="*/ 271517 h 1240128"/>
              <a:gd name="csX58" fmla="*/ 500808 w 697572"/>
              <a:gd name="csY58" fmla="*/ 287385 h 1240128"/>
              <a:gd name="csX59" fmla="*/ 472948 w 697572"/>
              <a:gd name="csY59" fmla="*/ 323290 h 1240128"/>
              <a:gd name="csX60" fmla="*/ 469385 w 697572"/>
              <a:gd name="csY60" fmla="*/ 331565 h 1240128"/>
              <a:gd name="csX61" fmla="*/ 468293 w 697572"/>
              <a:gd name="csY61" fmla="*/ 331320 h 1240128"/>
              <a:gd name="csX62" fmla="*/ 459542 w 697572"/>
              <a:gd name="csY62" fmla="*/ 338942 h 1240128"/>
              <a:gd name="csX63" fmla="*/ 458492 w 697572"/>
              <a:gd name="csY63" fmla="*/ 338671 h 1240128"/>
              <a:gd name="csX64" fmla="*/ 436978 w 697572"/>
              <a:gd name="csY64" fmla="*/ 352226 h 1240128"/>
              <a:gd name="csX65" fmla="*/ 472329 w 697572"/>
              <a:gd name="csY65" fmla="*/ 362890 h 1240128"/>
              <a:gd name="csX66" fmla="*/ 523779 w 697572"/>
              <a:gd name="csY66" fmla="*/ 391962 h 1240128"/>
              <a:gd name="csX67" fmla="*/ 527344 w 697572"/>
              <a:gd name="csY67" fmla="*/ 430096 h 1240128"/>
              <a:gd name="csX68" fmla="*/ 504112 w 697572"/>
              <a:gd name="csY68" fmla="*/ 449628 h 1240128"/>
              <a:gd name="csX69" fmla="*/ 459430 w 697572"/>
              <a:gd name="csY69" fmla="*/ 461116 h 1240128"/>
              <a:gd name="csX70" fmla="*/ 446666 w 697572"/>
              <a:gd name="csY70" fmla="*/ 474229 h 1240128"/>
              <a:gd name="csX71" fmla="*/ 449133 w 697572"/>
              <a:gd name="csY71" fmla="*/ 531639 h 1240128"/>
              <a:gd name="csX72" fmla="*/ 454546 w 697572"/>
              <a:gd name="csY72" fmla="*/ 588688 h 1240128"/>
              <a:gd name="csX73" fmla="*/ 466126 w 697572"/>
              <a:gd name="csY73" fmla="*/ 649736 h 1240128"/>
              <a:gd name="csX74" fmla="*/ 512154 w 697572"/>
              <a:gd name="csY74" fmla="*/ 794006 h 1240128"/>
              <a:gd name="csX75" fmla="*/ 525763 w 697572"/>
              <a:gd name="csY75" fmla="*/ 834323 h 1240128"/>
              <a:gd name="csX76" fmla="*/ 530555 w 697572"/>
              <a:gd name="csY76" fmla="*/ 845114 h 1240128"/>
              <a:gd name="csX77" fmla="*/ 554424 w 697572"/>
              <a:gd name="csY77" fmla="*/ 856618 h 1240128"/>
              <a:gd name="csX78" fmla="*/ 572880 w 697572"/>
              <a:gd name="csY78" fmla="*/ 862546 h 1240128"/>
              <a:gd name="csX79" fmla="*/ 578643 w 697572"/>
              <a:gd name="csY79" fmla="*/ 880396 h 1240128"/>
              <a:gd name="csX80" fmla="*/ 572188 w 697572"/>
              <a:gd name="csY80" fmla="*/ 899820 h 1240128"/>
              <a:gd name="csX81" fmla="*/ 582698 w 697572"/>
              <a:gd name="csY81" fmla="*/ 930382 h 1240128"/>
              <a:gd name="csX82" fmla="*/ 604747 w 697572"/>
              <a:gd name="csY82" fmla="*/ 960852 h 1240128"/>
              <a:gd name="csX83" fmla="*/ 613863 w 697572"/>
              <a:gd name="csY83" fmla="*/ 968311 h 1240128"/>
              <a:gd name="csX84" fmla="*/ 629435 w 697572"/>
              <a:gd name="csY84" fmla="*/ 981186 h 1240128"/>
              <a:gd name="csX85" fmla="*/ 633611 w 697572"/>
              <a:gd name="csY85" fmla="*/ 985609 h 1240128"/>
              <a:gd name="csX86" fmla="*/ 673790 w 697572"/>
              <a:gd name="csY86" fmla="*/ 1049348 h 1240128"/>
              <a:gd name="csX87" fmla="*/ 675873 w 697572"/>
              <a:gd name="csY87" fmla="*/ 1092839 h 1240128"/>
              <a:gd name="csX88" fmla="*/ 681668 w 697572"/>
              <a:gd name="csY88" fmla="*/ 1129292 h 1240128"/>
              <a:gd name="csX89" fmla="*/ 697338 w 697572"/>
              <a:gd name="csY89" fmla="*/ 1196079 h 1240128"/>
              <a:gd name="csX90" fmla="*/ 690637 w 697572"/>
              <a:gd name="csY90" fmla="*/ 1205035 h 1240128"/>
              <a:gd name="csX91" fmla="*/ 639777 w 697572"/>
              <a:gd name="csY91" fmla="*/ 1217994 h 1240128"/>
              <a:gd name="csX92" fmla="*/ 587072 w 697572"/>
              <a:gd name="csY92" fmla="*/ 1227761 h 1240128"/>
              <a:gd name="csX93" fmla="*/ 581793 w 697572"/>
              <a:gd name="csY93" fmla="*/ 1234401 h 1240128"/>
              <a:gd name="csX94" fmla="*/ 357446 w 697572"/>
              <a:gd name="csY94" fmla="*/ 903795 h 1240128"/>
              <a:gd name="csX95" fmla="*/ 344445 w 697572"/>
              <a:gd name="csY95" fmla="*/ 903795 h 1240128"/>
              <a:gd name="csX96" fmla="*/ 349212 w 697572"/>
              <a:gd name="csY96" fmla="*/ 950515 h 1240128"/>
              <a:gd name="csX97" fmla="*/ 349538 w 697572"/>
              <a:gd name="csY97" fmla="*/ 1069392 h 1240128"/>
              <a:gd name="csX98" fmla="*/ 349415 w 697572"/>
              <a:gd name="csY98" fmla="*/ 1108925 h 1240128"/>
              <a:gd name="csX99" fmla="*/ 647726 w 697572"/>
              <a:gd name="csY99" fmla="*/ 1089872 h 1240128"/>
              <a:gd name="csX100" fmla="*/ 647654 w 697572"/>
              <a:gd name="csY100" fmla="*/ 1076267 h 1240128"/>
              <a:gd name="csX101" fmla="*/ 610267 w 697572"/>
              <a:gd name="csY101" fmla="*/ 994126 h 1240128"/>
              <a:gd name="csX102" fmla="*/ 571459 w 697572"/>
              <a:gd name="csY102" fmla="*/ 956568 h 1240128"/>
              <a:gd name="csX103" fmla="*/ 541653 w 697572"/>
              <a:gd name="csY103" fmla="*/ 901544 h 1240128"/>
              <a:gd name="csX104" fmla="*/ 539477 w 697572"/>
              <a:gd name="csY104" fmla="*/ 895908 h 1240128"/>
              <a:gd name="csX105" fmla="*/ 357446 w 697572"/>
              <a:gd name="csY105" fmla="*/ 903795 h 1240128"/>
              <a:gd name="csX106" fmla="*/ 300108 w 697572"/>
              <a:gd name="csY106" fmla="*/ 85260 h 1240128"/>
              <a:gd name="csX107" fmla="*/ 290213 w 697572"/>
              <a:gd name="csY107" fmla="*/ 127888 h 1240128"/>
              <a:gd name="csX108" fmla="*/ 331056 w 697572"/>
              <a:gd name="csY108" fmla="*/ 214168 h 1240128"/>
              <a:gd name="csX109" fmla="*/ 424717 w 697572"/>
              <a:gd name="csY109" fmla="*/ 245160 h 1240128"/>
              <a:gd name="csX110" fmla="*/ 496752 w 697572"/>
              <a:gd name="csY110" fmla="*/ 141256 h 1240128"/>
              <a:gd name="csX111" fmla="*/ 390320 w 697572"/>
              <a:gd name="csY111" fmla="*/ 43995 h 1240128"/>
              <a:gd name="csX112" fmla="*/ 300108 w 697572"/>
              <a:gd name="csY112" fmla="*/ 85260 h 1240128"/>
              <a:gd name="csX113" fmla="*/ 343360 w 697572"/>
              <a:gd name="csY113" fmla="*/ 634332 h 1240128"/>
              <a:gd name="csX114" fmla="*/ 340877 w 697572"/>
              <a:gd name="csY114" fmla="*/ 732259 h 1240128"/>
              <a:gd name="csX115" fmla="*/ 338360 w 697572"/>
              <a:gd name="csY115" fmla="*/ 810538 h 1240128"/>
              <a:gd name="csX116" fmla="*/ 337115 w 697572"/>
              <a:gd name="csY116" fmla="*/ 817736 h 1240128"/>
              <a:gd name="csX117" fmla="*/ 336516 w 697572"/>
              <a:gd name="csY117" fmla="*/ 863022 h 1240128"/>
              <a:gd name="csX118" fmla="*/ 343436 w 697572"/>
              <a:gd name="csY118" fmla="*/ 864027 h 1240128"/>
              <a:gd name="csX119" fmla="*/ 406718 w 697572"/>
              <a:gd name="csY119" fmla="*/ 862982 h 1240128"/>
              <a:gd name="csX120" fmla="*/ 456888 w 697572"/>
              <a:gd name="csY120" fmla="*/ 861794 h 1240128"/>
              <a:gd name="csX121" fmla="*/ 495873 w 697572"/>
              <a:gd name="csY121" fmla="*/ 863963 h 1240128"/>
              <a:gd name="csX122" fmla="*/ 509286 w 697572"/>
              <a:gd name="csY122" fmla="*/ 863595 h 1240128"/>
              <a:gd name="csX123" fmla="*/ 516956 w 697572"/>
              <a:gd name="csY123" fmla="*/ 856791 h 1240128"/>
              <a:gd name="csX124" fmla="*/ 513920 w 697572"/>
              <a:gd name="csY124" fmla="*/ 848709 h 1240128"/>
              <a:gd name="csX125" fmla="*/ 506683 w 697572"/>
              <a:gd name="csY125" fmla="*/ 839054 h 1240128"/>
              <a:gd name="csX126" fmla="*/ 488629 w 697572"/>
              <a:gd name="csY126" fmla="*/ 799037 h 1240128"/>
              <a:gd name="csX127" fmla="*/ 456922 w 697572"/>
              <a:gd name="csY127" fmla="*/ 696297 h 1240128"/>
              <a:gd name="csX128" fmla="*/ 441346 w 697572"/>
              <a:gd name="csY128" fmla="*/ 619885 h 1240128"/>
              <a:gd name="csX129" fmla="*/ 435963 w 697572"/>
              <a:gd name="csY129" fmla="*/ 582529 h 1240128"/>
              <a:gd name="csX130" fmla="*/ 429497 w 697572"/>
              <a:gd name="csY130" fmla="*/ 521990 h 1240128"/>
              <a:gd name="csX131" fmla="*/ 426887 w 697572"/>
              <a:gd name="csY131" fmla="*/ 471989 h 1240128"/>
              <a:gd name="csX132" fmla="*/ 413744 w 697572"/>
              <a:gd name="csY132" fmla="*/ 461077 h 1240128"/>
              <a:gd name="csX133" fmla="*/ 353573 w 697572"/>
              <a:gd name="csY133" fmla="*/ 461120 h 1240128"/>
              <a:gd name="csX134" fmla="*/ 344160 w 697572"/>
              <a:gd name="csY134" fmla="*/ 462286 h 1240128"/>
              <a:gd name="csX135" fmla="*/ 343404 w 697572"/>
              <a:gd name="csY135" fmla="*/ 469192 h 1240128"/>
              <a:gd name="csX136" fmla="*/ 343469 w 697572"/>
              <a:gd name="csY136" fmla="*/ 574797 h 1240128"/>
              <a:gd name="csX137" fmla="*/ 345522 w 697572"/>
              <a:gd name="csY137" fmla="*/ 591669 h 1240128"/>
              <a:gd name="csX138" fmla="*/ 343360 w 697572"/>
              <a:gd name="csY138" fmla="*/ 634332 h 1240128"/>
              <a:gd name="csX139" fmla="*/ 416946 w 697572"/>
              <a:gd name="csY139" fmla="*/ 385943 h 1240128"/>
              <a:gd name="csX140" fmla="*/ 401091 w 697572"/>
              <a:gd name="csY140" fmla="*/ 387162 h 1240128"/>
              <a:gd name="csX141" fmla="*/ 369218 w 697572"/>
              <a:gd name="csY141" fmla="*/ 387708 h 1240128"/>
              <a:gd name="csX142" fmla="*/ 351833 w 697572"/>
              <a:gd name="csY142" fmla="*/ 398991 h 1240128"/>
              <a:gd name="csX143" fmla="*/ 349778 w 697572"/>
              <a:gd name="csY143" fmla="*/ 426021 h 1240128"/>
              <a:gd name="csX144" fmla="*/ 361839 w 697572"/>
              <a:gd name="csY144" fmla="*/ 426538 h 1240128"/>
              <a:gd name="csX145" fmla="*/ 455022 w 697572"/>
              <a:gd name="csY145" fmla="*/ 426922 h 1240128"/>
              <a:gd name="csX146" fmla="*/ 481958 w 697572"/>
              <a:gd name="csY146" fmla="*/ 426527 h 1240128"/>
              <a:gd name="csX147" fmla="*/ 499817 w 697572"/>
              <a:gd name="csY147" fmla="*/ 419888 h 1240128"/>
              <a:gd name="csX148" fmla="*/ 499439 w 697572"/>
              <a:gd name="csY148" fmla="*/ 400719 h 1240128"/>
              <a:gd name="csX149" fmla="*/ 468062 w 697572"/>
              <a:gd name="csY149" fmla="*/ 387775 h 1240128"/>
              <a:gd name="csX150" fmla="*/ 416946 w 697572"/>
              <a:gd name="csY150" fmla="*/ 385943 h 1240128"/>
              <a:gd name="csX151" fmla="*/ 636802 w 697572"/>
              <a:gd name="csY151" fmla="*/ 1190940 h 1240128"/>
              <a:gd name="csX152" fmla="*/ 666492 w 697572"/>
              <a:gd name="csY152" fmla="*/ 1184186 h 1240128"/>
              <a:gd name="csX153" fmla="*/ 674465 w 697572"/>
              <a:gd name="csY153" fmla="*/ 1170880 h 1240128"/>
              <a:gd name="csX154" fmla="*/ 662462 w 697572"/>
              <a:gd name="csY154" fmla="*/ 1141464 h 1240128"/>
              <a:gd name="csX155" fmla="*/ 645564 w 697572"/>
              <a:gd name="csY155" fmla="*/ 1131937 h 1240128"/>
              <a:gd name="csX156" fmla="*/ 627387 w 697572"/>
              <a:gd name="csY156" fmla="*/ 1133618 h 1240128"/>
              <a:gd name="csX157" fmla="*/ 583917 w 697572"/>
              <a:gd name="csY157" fmla="*/ 1139222 h 1240128"/>
              <a:gd name="csX158" fmla="*/ 543741 w 697572"/>
              <a:gd name="csY158" fmla="*/ 1141869 h 1240128"/>
              <a:gd name="csX159" fmla="*/ 512146 w 697572"/>
              <a:gd name="csY159" fmla="*/ 1144418 h 1240128"/>
              <a:gd name="csX160" fmla="*/ 447711 w 697572"/>
              <a:gd name="csY160" fmla="*/ 1148973 h 1240128"/>
              <a:gd name="csX161" fmla="*/ 351979 w 697572"/>
              <a:gd name="csY161" fmla="*/ 1149200 h 1240128"/>
              <a:gd name="csX162" fmla="*/ 338443 w 697572"/>
              <a:gd name="csY162" fmla="*/ 1150040 h 1240128"/>
              <a:gd name="csX163" fmla="*/ 338451 w 697572"/>
              <a:gd name="csY163" fmla="*/ 1190780 h 1240128"/>
              <a:gd name="csX164" fmla="*/ 351082 w 697572"/>
              <a:gd name="csY164" fmla="*/ 1207015 h 1240128"/>
              <a:gd name="csX165" fmla="*/ 358298 w 697572"/>
              <a:gd name="csY165" fmla="*/ 1208094 h 1240128"/>
              <a:gd name="csX166" fmla="*/ 521229 w 697572"/>
              <a:gd name="csY166" fmla="*/ 1205646 h 1240128"/>
              <a:gd name="csX167" fmla="*/ 523675 w 697572"/>
              <a:gd name="csY167" fmla="*/ 1205490 h 1240128"/>
              <a:gd name="csX168" fmla="*/ 580423 w 697572"/>
              <a:gd name="csY168" fmla="*/ 1198350 h 1240128"/>
              <a:gd name="csX169" fmla="*/ 636802 w 697572"/>
              <a:gd name="csY169" fmla="*/ 1190940 h 124012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</a:cxnLst>
            <a:rect l="l" t="t" r="r" b="b"/>
            <a:pathLst>
              <a:path w="697572" h="1240128">
                <a:moveTo>
                  <a:pt x="581793" y="1234401"/>
                </a:moveTo>
                <a:cubicBezTo>
                  <a:pt x="580693" y="1234661"/>
                  <a:pt x="579594" y="1234922"/>
                  <a:pt x="577427" y="1234156"/>
                </a:cubicBezTo>
                <a:cubicBezTo>
                  <a:pt x="571216" y="1227899"/>
                  <a:pt x="564912" y="1230441"/>
                  <a:pt x="559133" y="1230909"/>
                </a:cubicBezTo>
                <a:cubicBezTo>
                  <a:pt x="544971" y="1232056"/>
                  <a:pt x="530869" y="1233971"/>
                  <a:pt x="516706" y="1235117"/>
                </a:cubicBezTo>
                <a:cubicBezTo>
                  <a:pt x="502910" y="1236232"/>
                  <a:pt x="489077" y="1237097"/>
                  <a:pt x="475244" y="1237506"/>
                </a:cubicBezTo>
                <a:cubicBezTo>
                  <a:pt x="440539" y="1238535"/>
                  <a:pt x="405696" y="1241458"/>
                  <a:pt x="371154" y="1239428"/>
                </a:cubicBezTo>
                <a:cubicBezTo>
                  <a:pt x="339645" y="1237575"/>
                  <a:pt x="308239" y="1238753"/>
                  <a:pt x="276813" y="1237654"/>
                </a:cubicBezTo>
                <a:cubicBezTo>
                  <a:pt x="273949" y="1237553"/>
                  <a:pt x="271079" y="1237652"/>
                  <a:pt x="268212" y="1237635"/>
                </a:cubicBezTo>
                <a:cubicBezTo>
                  <a:pt x="266165" y="1237623"/>
                  <a:pt x="264111" y="1237668"/>
                  <a:pt x="262072" y="1237523"/>
                </a:cubicBezTo>
                <a:cubicBezTo>
                  <a:pt x="239751" y="1235944"/>
                  <a:pt x="217441" y="1234201"/>
                  <a:pt x="195111" y="1232775"/>
                </a:cubicBezTo>
                <a:cubicBezTo>
                  <a:pt x="178437" y="1231710"/>
                  <a:pt x="161712" y="1231378"/>
                  <a:pt x="145060" y="1230076"/>
                </a:cubicBezTo>
                <a:cubicBezTo>
                  <a:pt x="134969" y="1229287"/>
                  <a:pt x="124987" y="1227177"/>
                  <a:pt x="114933" y="1225832"/>
                </a:cubicBezTo>
                <a:cubicBezTo>
                  <a:pt x="100834" y="1223946"/>
                  <a:pt x="86554" y="1223022"/>
                  <a:pt x="72642" y="1220237"/>
                </a:cubicBezTo>
                <a:cubicBezTo>
                  <a:pt x="51920" y="1216091"/>
                  <a:pt x="31443" y="1210723"/>
                  <a:pt x="10894" y="1205737"/>
                </a:cubicBezTo>
                <a:cubicBezTo>
                  <a:pt x="9027" y="1205284"/>
                  <a:pt x="6196" y="1204140"/>
                  <a:pt x="5856" y="1202799"/>
                </a:cubicBezTo>
                <a:cubicBezTo>
                  <a:pt x="3474" y="1193418"/>
                  <a:pt x="-438" y="1183796"/>
                  <a:pt x="40" y="1174450"/>
                </a:cubicBezTo>
                <a:cubicBezTo>
                  <a:pt x="1079" y="1154149"/>
                  <a:pt x="9757" y="1135843"/>
                  <a:pt x="19831" y="1118410"/>
                </a:cubicBezTo>
                <a:cubicBezTo>
                  <a:pt x="21968" y="1114713"/>
                  <a:pt x="22970" y="1111858"/>
                  <a:pt x="22004" y="1107240"/>
                </a:cubicBezTo>
                <a:cubicBezTo>
                  <a:pt x="17168" y="1084118"/>
                  <a:pt x="17717" y="1061168"/>
                  <a:pt x="25947" y="1038650"/>
                </a:cubicBezTo>
                <a:cubicBezTo>
                  <a:pt x="32954" y="1019481"/>
                  <a:pt x="44478" y="1003118"/>
                  <a:pt x="58234" y="988567"/>
                </a:cubicBezTo>
                <a:cubicBezTo>
                  <a:pt x="77769" y="967902"/>
                  <a:pt x="97978" y="947832"/>
                  <a:pt x="118645" y="928298"/>
                </a:cubicBezTo>
                <a:cubicBezTo>
                  <a:pt x="130104" y="917467"/>
                  <a:pt x="131835" y="905961"/>
                  <a:pt x="126320" y="892015"/>
                </a:cubicBezTo>
                <a:cubicBezTo>
                  <a:pt x="123798" y="885637"/>
                  <a:pt x="122123" y="878904"/>
                  <a:pt x="120345" y="872258"/>
                </a:cubicBezTo>
                <a:cubicBezTo>
                  <a:pt x="119029" y="867341"/>
                  <a:pt x="120162" y="863613"/>
                  <a:pt x="125668" y="861640"/>
                </a:cubicBezTo>
                <a:cubicBezTo>
                  <a:pt x="135266" y="858201"/>
                  <a:pt x="144535" y="853788"/>
                  <a:pt x="154237" y="850716"/>
                </a:cubicBezTo>
                <a:cubicBezTo>
                  <a:pt x="161882" y="848296"/>
                  <a:pt x="167110" y="843897"/>
                  <a:pt x="170248" y="836767"/>
                </a:cubicBezTo>
                <a:cubicBezTo>
                  <a:pt x="176168" y="823316"/>
                  <a:pt x="182193" y="809907"/>
                  <a:pt x="187840" y="796341"/>
                </a:cubicBezTo>
                <a:cubicBezTo>
                  <a:pt x="195194" y="778679"/>
                  <a:pt x="202250" y="760894"/>
                  <a:pt x="209346" y="743126"/>
                </a:cubicBezTo>
                <a:cubicBezTo>
                  <a:pt x="210083" y="741280"/>
                  <a:pt x="210252" y="739200"/>
                  <a:pt x="210630" y="737219"/>
                </a:cubicBezTo>
                <a:cubicBezTo>
                  <a:pt x="211694" y="731645"/>
                  <a:pt x="212425" y="725987"/>
                  <a:pt x="213836" y="720505"/>
                </a:cubicBezTo>
                <a:cubicBezTo>
                  <a:pt x="218406" y="702764"/>
                  <a:pt x="223811" y="685219"/>
                  <a:pt x="227791" y="667353"/>
                </a:cubicBezTo>
                <a:cubicBezTo>
                  <a:pt x="232826" y="644755"/>
                  <a:pt x="237367" y="622009"/>
                  <a:pt x="241013" y="599151"/>
                </a:cubicBezTo>
                <a:cubicBezTo>
                  <a:pt x="244018" y="580319"/>
                  <a:pt x="246001" y="561272"/>
                  <a:pt x="247322" y="542242"/>
                </a:cubicBezTo>
                <a:cubicBezTo>
                  <a:pt x="248312" y="527975"/>
                  <a:pt x="246344" y="513451"/>
                  <a:pt x="247948" y="499296"/>
                </a:cubicBezTo>
                <a:cubicBezTo>
                  <a:pt x="249066" y="489432"/>
                  <a:pt x="247923" y="480014"/>
                  <a:pt x="247577" y="470384"/>
                </a:cubicBezTo>
                <a:cubicBezTo>
                  <a:pt x="247364" y="464453"/>
                  <a:pt x="245121" y="461397"/>
                  <a:pt x="238877" y="460987"/>
                </a:cubicBezTo>
                <a:cubicBezTo>
                  <a:pt x="233224" y="460615"/>
                  <a:pt x="227461" y="459920"/>
                  <a:pt x="222040" y="458353"/>
                </a:cubicBezTo>
                <a:cubicBezTo>
                  <a:pt x="203991" y="453134"/>
                  <a:pt x="185737" y="448229"/>
                  <a:pt x="172193" y="433714"/>
                </a:cubicBezTo>
                <a:cubicBezTo>
                  <a:pt x="162702" y="423544"/>
                  <a:pt x="160887" y="408134"/>
                  <a:pt x="168410" y="396591"/>
                </a:cubicBezTo>
                <a:cubicBezTo>
                  <a:pt x="178294" y="381428"/>
                  <a:pt x="193736" y="373793"/>
                  <a:pt x="209826" y="367773"/>
                </a:cubicBezTo>
                <a:cubicBezTo>
                  <a:pt x="223159" y="362784"/>
                  <a:pt x="237124" y="359493"/>
                  <a:pt x="250732" y="355208"/>
                </a:cubicBezTo>
                <a:cubicBezTo>
                  <a:pt x="253085" y="354467"/>
                  <a:pt x="255058" y="352518"/>
                  <a:pt x="258289" y="350426"/>
                </a:cubicBezTo>
                <a:cubicBezTo>
                  <a:pt x="250173" y="342610"/>
                  <a:pt x="241833" y="337880"/>
                  <a:pt x="233274" y="333513"/>
                </a:cubicBezTo>
                <a:cubicBezTo>
                  <a:pt x="232377" y="333055"/>
                  <a:pt x="230890" y="333758"/>
                  <a:pt x="229677" y="333922"/>
                </a:cubicBezTo>
                <a:cubicBezTo>
                  <a:pt x="229677" y="333922"/>
                  <a:pt x="230323" y="333834"/>
                  <a:pt x="230149" y="332979"/>
                </a:cubicBezTo>
                <a:cubicBezTo>
                  <a:pt x="229023" y="330409"/>
                  <a:pt x="228502" y="328059"/>
                  <a:pt x="227053" y="327076"/>
                </a:cubicBezTo>
                <a:cubicBezTo>
                  <a:pt x="213615" y="317962"/>
                  <a:pt x="204643" y="305332"/>
                  <a:pt x="196769" y="291380"/>
                </a:cubicBezTo>
                <a:cubicBezTo>
                  <a:pt x="191792" y="282564"/>
                  <a:pt x="185421" y="274665"/>
                  <a:pt x="184389" y="264042"/>
                </a:cubicBezTo>
                <a:cubicBezTo>
                  <a:pt x="184179" y="261874"/>
                  <a:pt x="181925" y="259908"/>
                  <a:pt x="180630" y="257839"/>
                </a:cubicBezTo>
                <a:cubicBezTo>
                  <a:pt x="179137" y="255454"/>
                  <a:pt x="177317" y="253204"/>
                  <a:pt x="176231" y="250643"/>
                </a:cubicBezTo>
                <a:cubicBezTo>
                  <a:pt x="161865" y="216749"/>
                  <a:pt x="159606" y="182060"/>
                  <a:pt x="170073" y="146723"/>
                </a:cubicBezTo>
                <a:cubicBezTo>
                  <a:pt x="173311" y="135795"/>
                  <a:pt x="177248" y="125074"/>
                  <a:pt x="180929" y="114280"/>
                </a:cubicBezTo>
                <a:cubicBezTo>
                  <a:pt x="182396" y="109981"/>
                  <a:pt x="183922" y="105742"/>
                  <a:pt x="180839" y="101501"/>
                </a:cubicBezTo>
                <a:cubicBezTo>
                  <a:pt x="192473" y="75833"/>
                  <a:pt x="211344" y="56271"/>
                  <a:pt x="233536" y="39653"/>
                </a:cubicBezTo>
                <a:cubicBezTo>
                  <a:pt x="267321" y="14353"/>
                  <a:pt x="305621" y="873"/>
                  <a:pt x="347618" y="35"/>
                </a:cubicBezTo>
                <a:cubicBezTo>
                  <a:pt x="379125" y="-593"/>
                  <a:pt x="409214" y="7172"/>
                  <a:pt x="437139" y="22396"/>
                </a:cubicBezTo>
                <a:cubicBezTo>
                  <a:pt x="481844" y="46766"/>
                  <a:pt x="514077" y="82116"/>
                  <a:pt x="529052" y="131093"/>
                </a:cubicBezTo>
                <a:cubicBezTo>
                  <a:pt x="543544" y="178495"/>
                  <a:pt x="541630" y="225548"/>
                  <a:pt x="518497" y="271517"/>
                </a:cubicBezTo>
                <a:cubicBezTo>
                  <a:pt x="511428" y="277096"/>
                  <a:pt x="503848" y="281136"/>
                  <a:pt x="500808" y="287385"/>
                </a:cubicBezTo>
                <a:cubicBezTo>
                  <a:pt x="493932" y="301522"/>
                  <a:pt x="483805" y="312513"/>
                  <a:pt x="472948" y="323290"/>
                </a:cubicBezTo>
                <a:cubicBezTo>
                  <a:pt x="470972" y="325253"/>
                  <a:pt x="470533" y="328767"/>
                  <a:pt x="469385" y="331565"/>
                </a:cubicBezTo>
                <a:cubicBezTo>
                  <a:pt x="469385" y="331565"/>
                  <a:pt x="469172" y="331584"/>
                  <a:pt x="468293" y="331320"/>
                </a:cubicBezTo>
                <a:cubicBezTo>
                  <a:pt x="461937" y="330836"/>
                  <a:pt x="458618" y="332772"/>
                  <a:pt x="459542" y="338942"/>
                </a:cubicBezTo>
                <a:cubicBezTo>
                  <a:pt x="459542" y="338942"/>
                  <a:pt x="459473" y="338913"/>
                  <a:pt x="458492" y="338671"/>
                </a:cubicBezTo>
                <a:cubicBezTo>
                  <a:pt x="450936" y="342653"/>
                  <a:pt x="440712" y="341355"/>
                  <a:pt x="436978" y="352226"/>
                </a:cubicBezTo>
                <a:cubicBezTo>
                  <a:pt x="449178" y="355911"/>
                  <a:pt x="460733" y="359469"/>
                  <a:pt x="472329" y="362890"/>
                </a:cubicBezTo>
                <a:cubicBezTo>
                  <a:pt x="491728" y="368613"/>
                  <a:pt x="510182" y="375784"/>
                  <a:pt x="523779" y="391962"/>
                </a:cubicBezTo>
                <a:cubicBezTo>
                  <a:pt x="535849" y="406326"/>
                  <a:pt x="534845" y="420076"/>
                  <a:pt x="527344" y="430096"/>
                </a:cubicBezTo>
                <a:cubicBezTo>
                  <a:pt x="521323" y="438139"/>
                  <a:pt x="513928" y="445333"/>
                  <a:pt x="504112" y="449628"/>
                </a:cubicBezTo>
                <a:cubicBezTo>
                  <a:pt x="489776" y="455901"/>
                  <a:pt x="475173" y="460486"/>
                  <a:pt x="459430" y="461116"/>
                </a:cubicBezTo>
                <a:cubicBezTo>
                  <a:pt x="448415" y="461557"/>
                  <a:pt x="446384" y="463369"/>
                  <a:pt x="446666" y="474229"/>
                </a:cubicBezTo>
                <a:cubicBezTo>
                  <a:pt x="447164" y="493376"/>
                  <a:pt x="447839" y="512533"/>
                  <a:pt x="449133" y="531639"/>
                </a:cubicBezTo>
                <a:cubicBezTo>
                  <a:pt x="450424" y="550696"/>
                  <a:pt x="451783" y="569809"/>
                  <a:pt x="454546" y="588688"/>
                </a:cubicBezTo>
                <a:cubicBezTo>
                  <a:pt x="457543" y="609164"/>
                  <a:pt x="462165" y="629403"/>
                  <a:pt x="466126" y="649736"/>
                </a:cubicBezTo>
                <a:cubicBezTo>
                  <a:pt x="475845" y="699621"/>
                  <a:pt x="493414" y="746980"/>
                  <a:pt x="512154" y="794006"/>
                </a:cubicBezTo>
                <a:cubicBezTo>
                  <a:pt x="517387" y="807138"/>
                  <a:pt x="525145" y="819463"/>
                  <a:pt x="525763" y="834323"/>
                </a:cubicBezTo>
                <a:cubicBezTo>
                  <a:pt x="525919" y="838081"/>
                  <a:pt x="527739" y="843335"/>
                  <a:pt x="530555" y="845114"/>
                </a:cubicBezTo>
                <a:cubicBezTo>
                  <a:pt x="537981" y="849801"/>
                  <a:pt x="546243" y="853278"/>
                  <a:pt x="554424" y="856618"/>
                </a:cubicBezTo>
                <a:cubicBezTo>
                  <a:pt x="560391" y="859054"/>
                  <a:pt x="567041" y="859887"/>
                  <a:pt x="572880" y="862546"/>
                </a:cubicBezTo>
                <a:cubicBezTo>
                  <a:pt x="581470" y="866458"/>
                  <a:pt x="582467" y="871415"/>
                  <a:pt x="578643" y="880396"/>
                </a:cubicBezTo>
                <a:cubicBezTo>
                  <a:pt x="575969" y="886677"/>
                  <a:pt x="572900" y="893182"/>
                  <a:pt x="572188" y="899820"/>
                </a:cubicBezTo>
                <a:cubicBezTo>
                  <a:pt x="570960" y="911271"/>
                  <a:pt x="576506" y="920944"/>
                  <a:pt x="582698" y="930382"/>
                </a:cubicBezTo>
                <a:cubicBezTo>
                  <a:pt x="589569" y="940856"/>
                  <a:pt x="600933" y="947930"/>
                  <a:pt x="604747" y="960852"/>
                </a:cubicBezTo>
                <a:cubicBezTo>
                  <a:pt x="605684" y="964030"/>
                  <a:pt x="610294" y="967128"/>
                  <a:pt x="613863" y="968311"/>
                </a:cubicBezTo>
                <a:cubicBezTo>
                  <a:pt x="620963" y="970665"/>
                  <a:pt x="625924" y="974774"/>
                  <a:pt x="629435" y="981186"/>
                </a:cubicBezTo>
                <a:cubicBezTo>
                  <a:pt x="630381" y="982913"/>
                  <a:pt x="631977" y="984459"/>
                  <a:pt x="633611" y="985609"/>
                </a:cubicBezTo>
                <a:cubicBezTo>
                  <a:pt x="655878" y="1001272"/>
                  <a:pt x="668032" y="1023762"/>
                  <a:pt x="673790" y="1049348"/>
                </a:cubicBezTo>
                <a:cubicBezTo>
                  <a:pt x="676936" y="1063327"/>
                  <a:pt x="679769" y="1077802"/>
                  <a:pt x="675873" y="1092839"/>
                </a:cubicBezTo>
                <a:cubicBezTo>
                  <a:pt x="672677" y="1105174"/>
                  <a:pt x="673042" y="1116963"/>
                  <a:pt x="681668" y="1129292"/>
                </a:cubicBezTo>
                <a:cubicBezTo>
                  <a:pt x="695321" y="1148802"/>
                  <a:pt x="698550" y="1172235"/>
                  <a:pt x="697338" y="1196079"/>
                </a:cubicBezTo>
                <a:cubicBezTo>
                  <a:pt x="697087" y="1201014"/>
                  <a:pt x="694979" y="1203886"/>
                  <a:pt x="690637" y="1205035"/>
                </a:cubicBezTo>
                <a:cubicBezTo>
                  <a:pt x="673723" y="1209511"/>
                  <a:pt x="656856" y="1214241"/>
                  <a:pt x="639777" y="1217994"/>
                </a:cubicBezTo>
                <a:cubicBezTo>
                  <a:pt x="622334" y="1221827"/>
                  <a:pt x="604691" y="1224790"/>
                  <a:pt x="587072" y="1227761"/>
                </a:cubicBezTo>
                <a:cubicBezTo>
                  <a:pt x="582708" y="1228497"/>
                  <a:pt x="581724" y="1230736"/>
                  <a:pt x="581793" y="1234401"/>
                </a:cubicBezTo>
                <a:moveTo>
                  <a:pt x="357446" y="903795"/>
                </a:moveTo>
                <a:cubicBezTo>
                  <a:pt x="353141" y="903795"/>
                  <a:pt x="348835" y="903795"/>
                  <a:pt x="344445" y="903795"/>
                </a:cubicBezTo>
                <a:cubicBezTo>
                  <a:pt x="346169" y="920562"/>
                  <a:pt x="347908" y="935520"/>
                  <a:pt x="349212" y="950515"/>
                </a:cubicBezTo>
                <a:cubicBezTo>
                  <a:pt x="352656" y="990125"/>
                  <a:pt x="351941" y="1029743"/>
                  <a:pt x="349538" y="1069392"/>
                </a:cubicBezTo>
                <a:cubicBezTo>
                  <a:pt x="348759" y="1082241"/>
                  <a:pt x="349415" y="1095176"/>
                  <a:pt x="349415" y="1108925"/>
                </a:cubicBezTo>
                <a:cubicBezTo>
                  <a:pt x="449467" y="1111953"/>
                  <a:pt x="548509" y="1104712"/>
                  <a:pt x="647726" y="1089872"/>
                </a:cubicBezTo>
                <a:cubicBezTo>
                  <a:pt x="647726" y="1084313"/>
                  <a:pt x="648180" y="1080225"/>
                  <a:pt x="647654" y="1076267"/>
                </a:cubicBezTo>
                <a:cubicBezTo>
                  <a:pt x="643515" y="1045124"/>
                  <a:pt x="633172" y="1016714"/>
                  <a:pt x="610267" y="994126"/>
                </a:cubicBezTo>
                <a:cubicBezTo>
                  <a:pt x="597451" y="981485"/>
                  <a:pt x="584392" y="969090"/>
                  <a:pt x="571459" y="956568"/>
                </a:cubicBezTo>
                <a:cubicBezTo>
                  <a:pt x="555751" y="941359"/>
                  <a:pt x="544836" y="923558"/>
                  <a:pt x="541653" y="901544"/>
                </a:cubicBezTo>
                <a:cubicBezTo>
                  <a:pt x="541430" y="900007"/>
                  <a:pt x="540528" y="898570"/>
                  <a:pt x="539477" y="895908"/>
                </a:cubicBezTo>
                <a:cubicBezTo>
                  <a:pt x="479736" y="901652"/>
                  <a:pt x="419815" y="904536"/>
                  <a:pt x="357446" y="903795"/>
                </a:cubicBezTo>
                <a:moveTo>
                  <a:pt x="300108" y="85260"/>
                </a:moveTo>
                <a:cubicBezTo>
                  <a:pt x="293656" y="98745"/>
                  <a:pt x="289202" y="113094"/>
                  <a:pt x="290213" y="127888"/>
                </a:cubicBezTo>
                <a:cubicBezTo>
                  <a:pt x="292527" y="161736"/>
                  <a:pt x="304185" y="191723"/>
                  <a:pt x="331056" y="214168"/>
                </a:cubicBezTo>
                <a:cubicBezTo>
                  <a:pt x="358172" y="236816"/>
                  <a:pt x="388435" y="249934"/>
                  <a:pt x="424717" y="245160"/>
                </a:cubicBezTo>
                <a:cubicBezTo>
                  <a:pt x="468593" y="239387"/>
                  <a:pt x="509574" y="203365"/>
                  <a:pt x="496752" y="141256"/>
                </a:cubicBezTo>
                <a:cubicBezTo>
                  <a:pt x="487021" y="94124"/>
                  <a:pt x="447261" y="51874"/>
                  <a:pt x="390320" y="43995"/>
                </a:cubicBezTo>
                <a:cubicBezTo>
                  <a:pt x="353241" y="38865"/>
                  <a:pt x="321136" y="48750"/>
                  <a:pt x="300108" y="85260"/>
                </a:cubicBezTo>
                <a:moveTo>
                  <a:pt x="343360" y="634332"/>
                </a:moveTo>
                <a:cubicBezTo>
                  <a:pt x="342539" y="666975"/>
                  <a:pt x="341785" y="699619"/>
                  <a:pt x="340877" y="732259"/>
                </a:cubicBezTo>
                <a:cubicBezTo>
                  <a:pt x="340151" y="758355"/>
                  <a:pt x="339265" y="784447"/>
                  <a:pt x="338360" y="810538"/>
                </a:cubicBezTo>
                <a:cubicBezTo>
                  <a:pt x="338277" y="812948"/>
                  <a:pt x="337465" y="815325"/>
                  <a:pt x="337115" y="817736"/>
                </a:cubicBezTo>
                <a:cubicBezTo>
                  <a:pt x="334935" y="832710"/>
                  <a:pt x="336026" y="847647"/>
                  <a:pt x="336516" y="863022"/>
                </a:cubicBezTo>
                <a:cubicBezTo>
                  <a:pt x="339537" y="863479"/>
                  <a:pt x="341490" y="864053"/>
                  <a:pt x="343436" y="864027"/>
                </a:cubicBezTo>
                <a:cubicBezTo>
                  <a:pt x="364531" y="863739"/>
                  <a:pt x="385626" y="863422"/>
                  <a:pt x="406718" y="862982"/>
                </a:cubicBezTo>
                <a:cubicBezTo>
                  <a:pt x="423444" y="862634"/>
                  <a:pt x="440168" y="861675"/>
                  <a:pt x="456888" y="861794"/>
                </a:cubicBezTo>
                <a:cubicBezTo>
                  <a:pt x="469887" y="861886"/>
                  <a:pt x="482872" y="863302"/>
                  <a:pt x="495873" y="863963"/>
                </a:cubicBezTo>
                <a:cubicBezTo>
                  <a:pt x="500358" y="864191"/>
                  <a:pt x="505108" y="864773"/>
                  <a:pt x="509286" y="863595"/>
                </a:cubicBezTo>
                <a:cubicBezTo>
                  <a:pt x="512346" y="862732"/>
                  <a:pt x="515714" y="859703"/>
                  <a:pt x="516956" y="856791"/>
                </a:cubicBezTo>
                <a:cubicBezTo>
                  <a:pt x="517783" y="854851"/>
                  <a:pt x="515475" y="851192"/>
                  <a:pt x="513920" y="848709"/>
                </a:cubicBezTo>
                <a:cubicBezTo>
                  <a:pt x="511791" y="845308"/>
                  <a:pt x="508393" y="842606"/>
                  <a:pt x="506683" y="839054"/>
                </a:cubicBezTo>
                <a:cubicBezTo>
                  <a:pt x="500331" y="825864"/>
                  <a:pt x="493224" y="812855"/>
                  <a:pt x="488629" y="799037"/>
                </a:cubicBezTo>
                <a:cubicBezTo>
                  <a:pt x="477322" y="765031"/>
                  <a:pt x="466537" y="730814"/>
                  <a:pt x="456922" y="696297"/>
                </a:cubicBezTo>
                <a:cubicBezTo>
                  <a:pt x="449953" y="671276"/>
                  <a:pt x="443477" y="646020"/>
                  <a:pt x="441346" y="619885"/>
                </a:cubicBezTo>
                <a:cubicBezTo>
                  <a:pt x="440327" y="607371"/>
                  <a:pt x="437466" y="595018"/>
                  <a:pt x="435963" y="582529"/>
                </a:cubicBezTo>
                <a:cubicBezTo>
                  <a:pt x="433539" y="562380"/>
                  <a:pt x="431154" y="542212"/>
                  <a:pt x="429497" y="521990"/>
                </a:cubicBezTo>
                <a:cubicBezTo>
                  <a:pt x="428135" y="505363"/>
                  <a:pt x="428437" y="488593"/>
                  <a:pt x="426887" y="471989"/>
                </a:cubicBezTo>
                <a:cubicBezTo>
                  <a:pt x="425874" y="461140"/>
                  <a:pt x="424983" y="461120"/>
                  <a:pt x="413744" y="461077"/>
                </a:cubicBezTo>
                <a:cubicBezTo>
                  <a:pt x="393687" y="461000"/>
                  <a:pt x="373630" y="461011"/>
                  <a:pt x="353573" y="461120"/>
                </a:cubicBezTo>
                <a:cubicBezTo>
                  <a:pt x="350472" y="461137"/>
                  <a:pt x="347374" y="461869"/>
                  <a:pt x="344160" y="462286"/>
                </a:cubicBezTo>
                <a:cubicBezTo>
                  <a:pt x="343828" y="465198"/>
                  <a:pt x="343406" y="467195"/>
                  <a:pt x="343404" y="469192"/>
                </a:cubicBezTo>
                <a:cubicBezTo>
                  <a:pt x="343360" y="504394"/>
                  <a:pt x="343267" y="539596"/>
                  <a:pt x="343469" y="574797"/>
                </a:cubicBezTo>
                <a:cubicBezTo>
                  <a:pt x="343501" y="580426"/>
                  <a:pt x="345652" y="586065"/>
                  <a:pt x="345522" y="591669"/>
                </a:cubicBezTo>
                <a:cubicBezTo>
                  <a:pt x="345214" y="605082"/>
                  <a:pt x="344131" y="618478"/>
                  <a:pt x="343360" y="634332"/>
                </a:cubicBezTo>
                <a:moveTo>
                  <a:pt x="416946" y="385943"/>
                </a:moveTo>
                <a:cubicBezTo>
                  <a:pt x="411661" y="386365"/>
                  <a:pt x="406384" y="387006"/>
                  <a:pt x="401091" y="387162"/>
                </a:cubicBezTo>
                <a:cubicBezTo>
                  <a:pt x="390470" y="387477"/>
                  <a:pt x="379841" y="387447"/>
                  <a:pt x="369218" y="387708"/>
                </a:cubicBezTo>
                <a:cubicBezTo>
                  <a:pt x="361167" y="387906"/>
                  <a:pt x="354429" y="391368"/>
                  <a:pt x="351833" y="398991"/>
                </a:cubicBezTo>
                <a:cubicBezTo>
                  <a:pt x="348989" y="407342"/>
                  <a:pt x="347050" y="416214"/>
                  <a:pt x="349778" y="426021"/>
                </a:cubicBezTo>
                <a:cubicBezTo>
                  <a:pt x="353876" y="426204"/>
                  <a:pt x="357857" y="426517"/>
                  <a:pt x="361839" y="426538"/>
                </a:cubicBezTo>
                <a:cubicBezTo>
                  <a:pt x="392900" y="426701"/>
                  <a:pt x="423961" y="426826"/>
                  <a:pt x="455022" y="426922"/>
                </a:cubicBezTo>
                <a:cubicBezTo>
                  <a:pt x="464013" y="426950"/>
                  <a:pt x="473106" y="427654"/>
                  <a:pt x="481958" y="426527"/>
                </a:cubicBezTo>
                <a:cubicBezTo>
                  <a:pt x="488144" y="425740"/>
                  <a:pt x="494821" y="423501"/>
                  <a:pt x="499817" y="419888"/>
                </a:cubicBezTo>
                <a:cubicBezTo>
                  <a:pt x="507869" y="414066"/>
                  <a:pt x="507286" y="406755"/>
                  <a:pt x="499439" y="400719"/>
                </a:cubicBezTo>
                <a:cubicBezTo>
                  <a:pt x="490179" y="393597"/>
                  <a:pt x="479486" y="388885"/>
                  <a:pt x="468062" y="387775"/>
                </a:cubicBezTo>
                <a:cubicBezTo>
                  <a:pt x="451873" y="386202"/>
                  <a:pt x="435520" y="386321"/>
                  <a:pt x="416946" y="385943"/>
                </a:cubicBezTo>
                <a:moveTo>
                  <a:pt x="636802" y="1190940"/>
                </a:moveTo>
                <a:cubicBezTo>
                  <a:pt x="646709" y="1188723"/>
                  <a:pt x="656705" y="1186841"/>
                  <a:pt x="666492" y="1184186"/>
                </a:cubicBezTo>
                <a:cubicBezTo>
                  <a:pt x="674710" y="1181958"/>
                  <a:pt x="676989" y="1178509"/>
                  <a:pt x="674465" y="1170880"/>
                </a:cubicBezTo>
                <a:cubicBezTo>
                  <a:pt x="671144" y="1160843"/>
                  <a:pt x="667026" y="1151009"/>
                  <a:pt x="662462" y="1141464"/>
                </a:cubicBezTo>
                <a:cubicBezTo>
                  <a:pt x="659273" y="1134795"/>
                  <a:pt x="653671" y="1130908"/>
                  <a:pt x="645564" y="1131937"/>
                </a:cubicBezTo>
                <a:cubicBezTo>
                  <a:pt x="639532" y="1132703"/>
                  <a:pt x="633423" y="1132867"/>
                  <a:pt x="627387" y="1133618"/>
                </a:cubicBezTo>
                <a:cubicBezTo>
                  <a:pt x="612888" y="1135421"/>
                  <a:pt x="598449" y="1137770"/>
                  <a:pt x="583917" y="1139222"/>
                </a:cubicBezTo>
                <a:cubicBezTo>
                  <a:pt x="570571" y="1140557"/>
                  <a:pt x="557130" y="1140930"/>
                  <a:pt x="543741" y="1141869"/>
                </a:cubicBezTo>
                <a:cubicBezTo>
                  <a:pt x="533202" y="1142610"/>
                  <a:pt x="522682" y="1143623"/>
                  <a:pt x="512146" y="1144418"/>
                </a:cubicBezTo>
                <a:cubicBezTo>
                  <a:pt x="490671" y="1146038"/>
                  <a:pt x="469214" y="1148450"/>
                  <a:pt x="447711" y="1148973"/>
                </a:cubicBezTo>
                <a:cubicBezTo>
                  <a:pt x="415817" y="1149749"/>
                  <a:pt x="383891" y="1149136"/>
                  <a:pt x="351979" y="1149200"/>
                </a:cubicBezTo>
                <a:cubicBezTo>
                  <a:pt x="347698" y="1149209"/>
                  <a:pt x="343419" y="1149717"/>
                  <a:pt x="338443" y="1150040"/>
                </a:cubicBezTo>
                <a:cubicBezTo>
                  <a:pt x="338443" y="1164651"/>
                  <a:pt x="338413" y="1177715"/>
                  <a:pt x="338451" y="1190780"/>
                </a:cubicBezTo>
                <a:cubicBezTo>
                  <a:pt x="338490" y="1204031"/>
                  <a:pt x="338512" y="1204062"/>
                  <a:pt x="351082" y="1207015"/>
                </a:cubicBezTo>
                <a:cubicBezTo>
                  <a:pt x="353445" y="1207570"/>
                  <a:pt x="355895" y="1208128"/>
                  <a:pt x="358298" y="1208094"/>
                </a:cubicBezTo>
                <a:cubicBezTo>
                  <a:pt x="412608" y="1207329"/>
                  <a:pt x="466919" y="1206484"/>
                  <a:pt x="521229" y="1205646"/>
                </a:cubicBezTo>
                <a:cubicBezTo>
                  <a:pt x="522045" y="1205634"/>
                  <a:pt x="522865" y="1205591"/>
                  <a:pt x="523675" y="1205490"/>
                </a:cubicBezTo>
                <a:cubicBezTo>
                  <a:pt x="542593" y="1203123"/>
                  <a:pt x="561519" y="1200820"/>
                  <a:pt x="580423" y="1198350"/>
                </a:cubicBezTo>
                <a:cubicBezTo>
                  <a:pt x="598523" y="1195985"/>
                  <a:pt x="616599" y="1193446"/>
                  <a:pt x="636802" y="1190940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703" name="Free-form: Shape 7702">
            <a:extLst>
              <a:ext uri="{FF2B5EF4-FFF2-40B4-BE49-F238E27FC236}">
                <a16:creationId xmlns:a16="http://schemas.microsoft.com/office/drawing/2014/main" id="{460F95CE-4164-35B3-5144-2D43579EC862}"/>
              </a:ext>
            </a:extLst>
          </p:cNvPr>
          <p:cNvSpPr/>
          <p:nvPr/>
        </p:nvSpPr>
        <p:spPr>
          <a:xfrm>
            <a:off x="1469023" y="6752189"/>
            <a:ext cx="27674" cy="2925"/>
          </a:xfrm>
          <a:custGeom>
            <a:avLst/>
            <a:gdLst>
              <a:gd name="csX0" fmla="*/ 0 w 27674"/>
              <a:gd name="csY0" fmla="*/ 2915 h 2925"/>
              <a:gd name="csX1" fmla="*/ 27675 w 27674"/>
              <a:gd name="csY1" fmla="*/ 1550 h 2925"/>
              <a:gd name="csX2" fmla="*/ 0 w 27674"/>
              <a:gd name="csY2" fmla="*/ 2915 h 292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27674" h="2925">
                <a:moveTo>
                  <a:pt x="0" y="2915"/>
                </a:moveTo>
                <a:cubicBezTo>
                  <a:pt x="8211" y="-1939"/>
                  <a:pt x="17625" y="498"/>
                  <a:pt x="27675" y="1550"/>
                </a:cubicBezTo>
                <a:cubicBezTo>
                  <a:pt x="19225" y="2593"/>
                  <a:pt x="10029" y="2999"/>
                  <a:pt x="0" y="2915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704" name="Free-form: Shape 7703">
            <a:extLst>
              <a:ext uri="{FF2B5EF4-FFF2-40B4-BE49-F238E27FC236}">
                <a16:creationId xmlns:a16="http://schemas.microsoft.com/office/drawing/2014/main" id="{E0D3AF5A-5409-AAF7-B506-4E2BA180074B}"/>
              </a:ext>
            </a:extLst>
          </p:cNvPr>
          <p:cNvSpPr/>
          <p:nvPr/>
        </p:nvSpPr>
        <p:spPr>
          <a:xfrm>
            <a:off x="1392839" y="6753838"/>
            <a:ext cx="18003" cy="1128"/>
          </a:xfrm>
          <a:custGeom>
            <a:avLst/>
            <a:gdLst>
              <a:gd name="csX0" fmla="*/ 0 w 18003"/>
              <a:gd name="csY0" fmla="*/ 1050 h 1128"/>
              <a:gd name="csX1" fmla="*/ 18004 w 18003"/>
              <a:gd name="csY1" fmla="*/ 93 h 1128"/>
              <a:gd name="csX2" fmla="*/ 0 w 18003"/>
              <a:gd name="csY2" fmla="*/ 1050 h 112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8003" h="1128">
                <a:moveTo>
                  <a:pt x="0" y="1050"/>
                </a:moveTo>
                <a:cubicBezTo>
                  <a:pt x="5276" y="182"/>
                  <a:pt x="11306" y="-189"/>
                  <a:pt x="18004" y="93"/>
                </a:cubicBezTo>
                <a:cubicBezTo>
                  <a:pt x="12699" y="1013"/>
                  <a:pt x="6726" y="1280"/>
                  <a:pt x="0" y="1050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705" name="Free-form: Shape 7704">
            <a:extLst>
              <a:ext uri="{FF2B5EF4-FFF2-40B4-BE49-F238E27FC236}">
                <a16:creationId xmlns:a16="http://schemas.microsoft.com/office/drawing/2014/main" id="{AC4CEC29-A1BB-6CED-1D1D-AC078138AF60}"/>
              </a:ext>
            </a:extLst>
          </p:cNvPr>
          <p:cNvSpPr/>
          <p:nvPr/>
        </p:nvSpPr>
        <p:spPr>
          <a:xfrm>
            <a:off x="1523238" y="5841002"/>
            <a:ext cx="8466" cy="7838"/>
          </a:xfrm>
          <a:custGeom>
            <a:avLst/>
            <a:gdLst>
              <a:gd name="csX0" fmla="*/ 473 w 8466"/>
              <a:gd name="csY0" fmla="*/ 7839 h 7838"/>
              <a:gd name="csX1" fmla="*/ 8466 w 8466"/>
              <a:gd name="csY1" fmla="*/ 61 h 7838"/>
              <a:gd name="csX2" fmla="*/ 473 w 8466"/>
              <a:gd name="csY2" fmla="*/ 7839 h 783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66" h="7838">
                <a:moveTo>
                  <a:pt x="473" y="7839"/>
                </a:moveTo>
                <a:cubicBezTo>
                  <a:pt x="-1298" y="1550"/>
                  <a:pt x="2020" y="-386"/>
                  <a:pt x="8466" y="61"/>
                </a:cubicBezTo>
                <a:cubicBezTo>
                  <a:pt x="6730" y="2845"/>
                  <a:pt x="4026" y="5401"/>
                  <a:pt x="473" y="7839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706" name="Free-form: Shape 7705">
            <a:extLst>
              <a:ext uri="{FF2B5EF4-FFF2-40B4-BE49-F238E27FC236}">
                <a16:creationId xmlns:a16="http://schemas.microsoft.com/office/drawing/2014/main" id="{21DCD40A-6F11-A9FE-5DB8-99C6212231DB}"/>
              </a:ext>
            </a:extLst>
          </p:cNvPr>
          <p:cNvSpPr/>
          <p:nvPr/>
        </p:nvSpPr>
        <p:spPr>
          <a:xfrm>
            <a:off x="1304215" y="6751399"/>
            <a:ext cx="8480" cy="996"/>
          </a:xfrm>
          <a:custGeom>
            <a:avLst/>
            <a:gdLst>
              <a:gd name="csX0" fmla="*/ 0 w 8480"/>
              <a:gd name="csY0" fmla="*/ 896 h 996"/>
              <a:gd name="csX1" fmla="*/ 8480 w 8480"/>
              <a:gd name="csY1" fmla="*/ 110 h 996"/>
              <a:gd name="csX2" fmla="*/ 0 w 8480"/>
              <a:gd name="csY2" fmla="*/ 896 h 99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80" h="996">
                <a:moveTo>
                  <a:pt x="0" y="896"/>
                </a:moveTo>
                <a:cubicBezTo>
                  <a:pt x="2285" y="115"/>
                  <a:pt x="5130" y="-182"/>
                  <a:pt x="8480" y="110"/>
                </a:cubicBezTo>
                <a:cubicBezTo>
                  <a:pt x="6177" y="927"/>
                  <a:pt x="3368" y="1153"/>
                  <a:pt x="0" y="896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707" name="Free-form: Shape 7706">
            <a:extLst>
              <a:ext uri="{FF2B5EF4-FFF2-40B4-BE49-F238E27FC236}">
                <a16:creationId xmlns:a16="http://schemas.microsoft.com/office/drawing/2014/main" id="{3884C379-D8CD-BE3B-61F0-33CF216B417E}"/>
              </a:ext>
            </a:extLst>
          </p:cNvPr>
          <p:cNvSpPr/>
          <p:nvPr/>
        </p:nvSpPr>
        <p:spPr>
          <a:xfrm>
            <a:off x="1766046" y="6708676"/>
            <a:ext cx="1229" cy="6658"/>
          </a:xfrm>
          <a:custGeom>
            <a:avLst/>
            <a:gdLst>
              <a:gd name="csX0" fmla="*/ 132 w 1229"/>
              <a:gd name="csY0" fmla="*/ 6659 h 6658"/>
              <a:gd name="csX1" fmla="*/ 1107 w 1229"/>
              <a:gd name="csY1" fmla="*/ 0 h 6658"/>
              <a:gd name="csX2" fmla="*/ 132 w 1229"/>
              <a:gd name="csY2" fmla="*/ 6659 h 665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229" h="6658">
                <a:moveTo>
                  <a:pt x="132" y="6659"/>
                </a:moveTo>
                <a:cubicBezTo>
                  <a:pt x="-219" y="4616"/>
                  <a:pt x="139" y="2560"/>
                  <a:pt x="1107" y="0"/>
                </a:cubicBezTo>
                <a:cubicBezTo>
                  <a:pt x="1425" y="1879"/>
                  <a:pt x="1133" y="4263"/>
                  <a:pt x="132" y="6659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708" name="Free-form: Shape 7707">
            <a:extLst>
              <a:ext uri="{FF2B5EF4-FFF2-40B4-BE49-F238E27FC236}">
                <a16:creationId xmlns:a16="http://schemas.microsoft.com/office/drawing/2014/main" id="{A1F470EF-1383-F4A9-7569-A6074F8B40FE}"/>
              </a:ext>
            </a:extLst>
          </p:cNvPr>
          <p:cNvSpPr/>
          <p:nvPr/>
        </p:nvSpPr>
        <p:spPr>
          <a:xfrm>
            <a:off x="1657826" y="6741332"/>
            <a:ext cx="3788" cy="1364"/>
          </a:xfrm>
          <a:custGeom>
            <a:avLst/>
            <a:gdLst>
              <a:gd name="csX0" fmla="*/ 0 w 3788"/>
              <a:gd name="csY0" fmla="*/ 1364 h 1364"/>
              <a:gd name="csX1" fmla="*/ 3788 w 3788"/>
              <a:gd name="csY1" fmla="*/ 0 h 1364"/>
              <a:gd name="csX2" fmla="*/ 0 w 3788"/>
              <a:gd name="csY2" fmla="*/ 1364 h 136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788" h="1364">
                <a:moveTo>
                  <a:pt x="0" y="1364"/>
                </a:moveTo>
                <a:cubicBezTo>
                  <a:pt x="856" y="517"/>
                  <a:pt x="2126" y="39"/>
                  <a:pt x="3788" y="0"/>
                </a:cubicBezTo>
                <a:cubicBezTo>
                  <a:pt x="2925" y="870"/>
                  <a:pt x="1670" y="1303"/>
                  <a:pt x="0" y="1364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709" name="Free-form: Shape 7708">
            <a:extLst>
              <a:ext uri="{FF2B5EF4-FFF2-40B4-BE49-F238E27FC236}">
                <a16:creationId xmlns:a16="http://schemas.microsoft.com/office/drawing/2014/main" id="{3B4F7522-605F-6C10-751D-9DA9B6550932}"/>
              </a:ext>
            </a:extLst>
          </p:cNvPr>
          <p:cNvSpPr/>
          <p:nvPr/>
        </p:nvSpPr>
        <p:spPr>
          <a:xfrm>
            <a:off x="1220439" y="6746603"/>
            <a:ext cx="3990" cy="829"/>
          </a:xfrm>
          <a:custGeom>
            <a:avLst/>
            <a:gdLst>
              <a:gd name="csX0" fmla="*/ 0 w 3990"/>
              <a:gd name="csY0" fmla="*/ 719 h 829"/>
              <a:gd name="csX1" fmla="*/ 3990 w 3990"/>
              <a:gd name="csY1" fmla="*/ 119 h 829"/>
              <a:gd name="csX2" fmla="*/ 0 w 3990"/>
              <a:gd name="csY2" fmla="*/ 719 h 82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990" h="829">
                <a:moveTo>
                  <a:pt x="0" y="719"/>
                </a:moveTo>
                <a:cubicBezTo>
                  <a:pt x="982" y="66"/>
                  <a:pt x="2323" y="-163"/>
                  <a:pt x="3990" y="119"/>
                </a:cubicBezTo>
                <a:cubicBezTo>
                  <a:pt x="2998" y="800"/>
                  <a:pt x="1678" y="972"/>
                  <a:pt x="0" y="719"/>
                </a:cubicBezTo>
                <a:close/>
              </a:path>
            </a:pathLst>
          </a:custGeom>
          <a:solidFill>
            <a:srgbClr val="959DA0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710" name="Free-form: Shape 7709">
            <a:extLst>
              <a:ext uri="{FF2B5EF4-FFF2-40B4-BE49-F238E27FC236}">
                <a16:creationId xmlns:a16="http://schemas.microsoft.com/office/drawing/2014/main" id="{2BE8061A-E934-4732-9B9C-5977352F5E87}"/>
              </a:ext>
            </a:extLst>
          </p:cNvPr>
          <p:cNvSpPr/>
          <p:nvPr/>
        </p:nvSpPr>
        <p:spPr>
          <a:xfrm>
            <a:off x="1559529" y="6751365"/>
            <a:ext cx="3893" cy="1135"/>
          </a:xfrm>
          <a:custGeom>
            <a:avLst/>
            <a:gdLst>
              <a:gd name="csX0" fmla="*/ 0 w 3893"/>
              <a:gd name="csY0" fmla="*/ 1133 h 1135"/>
              <a:gd name="csX1" fmla="*/ 3893 w 3893"/>
              <a:gd name="csY1" fmla="*/ 7 h 1135"/>
              <a:gd name="csX2" fmla="*/ 0 w 3893"/>
              <a:gd name="csY2" fmla="*/ 1133 h 113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893" h="1135">
                <a:moveTo>
                  <a:pt x="0" y="1133"/>
                </a:moveTo>
                <a:cubicBezTo>
                  <a:pt x="902" y="349"/>
                  <a:pt x="2213" y="-60"/>
                  <a:pt x="3893" y="7"/>
                </a:cubicBezTo>
                <a:cubicBezTo>
                  <a:pt x="2978" y="825"/>
                  <a:pt x="1693" y="1167"/>
                  <a:pt x="0" y="1133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711" name="Free-form: Shape 7710">
            <a:extLst>
              <a:ext uri="{FF2B5EF4-FFF2-40B4-BE49-F238E27FC236}">
                <a16:creationId xmlns:a16="http://schemas.microsoft.com/office/drawing/2014/main" id="{59F86872-3E41-AEB5-8001-FBCA8871DDD2}"/>
              </a:ext>
            </a:extLst>
          </p:cNvPr>
          <p:cNvSpPr/>
          <p:nvPr/>
        </p:nvSpPr>
        <p:spPr>
          <a:xfrm>
            <a:off x="1399128" y="5970808"/>
            <a:ext cx="181323" cy="403282"/>
          </a:xfrm>
          <a:custGeom>
            <a:avLst/>
            <a:gdLst>
              <a:gd name="csX0" fmla="*/ 7554 w 181323"/>
              <a:gd name="csY0" fmla="*/ 172079 h 403282"/>
              <a:gd name="csX1" fmla="*/ 9716 w 181323"/>
              <a:gd name="csY1" fmla="*/ 130641 h 403282"/>
              <a:gd name="csX2" fmla="*/ 7663 w 181323"/>
              <a:gd name="csY2" fmla="*/ 113770 h 403282"/>
              <a:gd name="csX3" fmla="*/ 7598 w 181323"/>
              <a:gd name="csY3" fmla="*/ 8165 h 403282"/>
              <a:gd name="csX4" fmla="*/ 8353 w 181323"/>
              <a:gd name="csY4" fmla="*/ 1259 h 403282"/>
              <a:gd name="csX5" fmla="*/ 17767 w 181323"/>
              <a:gd name="csY5" fmla="*/ 93 h 403282"/>
              <a:gd name="csX6" fmla="*/ 77938 w 181323"/>
              <a:gd name="csY6" fmla="*/ 50 h 403282"/>
              <a:gd name="csX7" fmla="*/ 91081 w 181323"/>
              <a:gd name="csY7" fmla="*/ 10962 h 403282"/>
              <a:gd name="csX8" fmla="*/ 93691 w 181323"/>
              <a:gd name="csY8" fmla="*/ 60963 h 403282"/>
              <a:gd name="csX9" fmla="*/ 100157 w 181323"/>
              <a:gd name="csY9" fmla="*/ 121501 h 403282"/>
              <a:gd name="csX10" fmla="*/ 105540 w 181323"/>
              <a:gd name="csY10" fmla="*/ 158857 h 403282"/>
              <a:gd name="csX11" fmla="*/ 121116 w 181323"/>
              <a:gd name="csY11" fmla="*/ 235269 h 403282"/>
              <a:gd name="csX12" fmla="*/ 152823 w 181323"/>
              <a:gd name="csY12" fmla="*/ 338010 h 403282"/>
              <a:gd name="csX13" fmla="*/ 170877 w 181323"/>
              <a:gd name="csY13" fmla="*/ 378027 h 403282"/>
              <a:gd name="csX14" fmla="*/ 178114 w 181323"/>
              <a:gd name="csY14" fmla="*/ 387682 h 403282"/>
              <a:gd name="csX15" fmla="*/ 181150 w 181323"/>
              <a:gd name="csY15" fmla="*/ 395764 h 403282"/>
              <a:gd name="csX16" fmla="*/ 173480 w 181323"/>
              <a:gd name="csY16" fmla="*/ 402568 h 403282"/>
              <a:gd name="csX17" fmla="*/ 160067 w 181323"/>
              <a:gd name="csY17" fmla="*/ 402936 h 403282"/>
              <a:gd name="csX18" fmla="*/ 121081 w 181323"/>
              <a:gd name="csY18" fmla="*/ 400766 h 403282"/>
              <a:gd name="csX19" fmla="*/ 70912 w 181323"/>
              <a:gd name="csY19" fmla="*/ 401955 h 403282"/>
              <a:gd name="csX20" fmla="*/ 7630 w 181323"/>
              <a:gd name="csY20" fmla="*/ 402999 h 403282"/>
              <a:gd name="csX21" fmla="*/ 710 w 181323"/>
              <a:gd name="csY21" fmla="*/ 401995 h 403282"/>
              <a:gd name="csX22" fmla="*/ 1308 w 181323"/>
              <a:gd name="csY22" fmla="*/ 356708 h 403282"/>
              <a:gd name="csX23" fmla="*/ 2554 w 181323"/>
              <a:gd name="csY23" fmla="*/ 349510 h 403282"/>
              <a:gd name="csX24" fmla="*/ 5071 w 181323"/>
              <a:gd name="csY24" fmla="*/ 271231 h 403282"/>
              <a:gd name="csX25" fmla="*/ 7554 w 181323"/>
              <a:gd name="csY25" fmla="*/ 172079 h 403282"/>
              <a:gd name="csX26" fmla="*/ 98286 w 181323"/>
              <a:gd name="csY26" fmla="*/ 163566 h 403282"/>
              <a:gd name="csX27" fmla="*/ 83497 w 181323"/>
              <a:gd name="csY27" fmla="*/ 8289 h 403282"/>
              <a:gd name="csX28" fmla="*/ 15161 w 181323"/>
              <a:gd name="csY28" fmla="*/ 9148 h 403282"/>
              <a:gd name="csX29" fmla="*/ 15058 w 181323"/>
              <a:gd name="csY29" fmla="*/ 137939 h 403282"/>
              <a:gd name="csX30" fmla="*/ 12252 w 181323"/>
              <a:gd name="csY30" fmla="*/ 266862 h 403282"/>
              <a:gd name="csX31" fmla="*/ 7068 w 181323"/>
              <a:gd name="csY31" fmla="*/ 395996 h 403282"/>
              <a:gd name="csX32" fmla="*/ 171647 w 181323"/>
              <a:gd name="csY32" fmla="*/ 395996 h 403282"/>
              <a:gd name="csX33" fmla="*/ 119950 w 181323"/>
              <a:gd name="csY33" fmla="*/ 259496 h 403282"/>
              <a:gd name="csX34" fmla="*/ 98286 w 181323"/>
              <a:gd name="csY34" fmla="*/ 163566 h 40328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</a:cxnLst>
            <a:rect l="l" t="t" r="r" b="b"/>
            <a:pathLst>
              <a:path w="181323" h="403282">
                <a:moveTo>
                  <a:pt x="7554" y="172079"/>
                </a:moveTo>
                <a:cubicBezTo>
                  <a:pt x="8325" y="157451"/>
                  <a:pt x="9408" y="144055"/>
                  <a:pt x="9716" y="130641"/>
                </a:cubicBezTo>
                <a:cubicBezTo>
                  <a:pt x="9846" y="125037"/>
                  <a:pt x="7695" y="119399"/>
                  <a:pt x="7663" y="113770"/>
                </a:cubicBezTo>
                <a:cubicBezTo>
                  <a:pt x="7461" y="78569"/>
                  <a:pt x="7554" y="43367"/>
                  <a:pt x="7598" y="8165"/>
                </a:cubicBezTo>
                <a:cubicBezTo>
                  <a:pt x="7600" y="6167"/>
                  <a:pt x="8022" y="4170"/>
                  <a:pt x="8353" y="1259"/>
                </a:cubicBezTo>
                <a:cubicBezTo>
                  <a:pt x="11568" y="842"/>
                  <a:pt x="14666" y="109"/>
                  <a:pt x="17767" y="93"/>
                </a:cubicBezTo>
                <a:cubicBezTo>
                  <a:pt x="37824" y="-17"/>
                  <a:pt x="57881" y="-27"/>
                  <a:pt x="77938" y="50"/>
                </a:cubicBezTo>
                <a:cubicBezTo>
                  <a:pt x="89177" y="93"/>
                  <a:pt x="90068" y="113"/>
                  <a:pt x="91081" y="10962"/>
                </a:cubicBezTo>
                <a:cubicBezTo>
                  <a:pt x="92631" y="27565"/>
                  <a:pt x="92329" y="44335"/>
                  <a:pt x="93691" y="60963"/>
                </a:cubicBezTo>
                <a:cubicBezTo>
                  <a:pt x="95348" y="81184"/>
                  <a:pt x="97732" y="101353"/>
                  <a:pt x="100157" y="121501"/>
                </a:cubicBezTo>
                <a:cubicBezTo>
                  <a:pt x="101660" y="133990"/>
                  <a:pt x="104521" y="146343"/>
                  <a:pt x="105540" y="158857"/>
                </a:cubicBezTo>
                <a:cubicBezTo>
                  <a:pt x="107671" y="184993"/>
                  <a:pt x="114147" y="210249"/>
                  <a:pt x="121116" y="235269"/>
                </a:cubicBezTo>
                <a:cubicBezTo>
                  <a:pt x="130731" y="269786"/>
                  <a:pt x="141516" y="304004"/>
                  <a:pt x="152823" y="338010"/>
                </a:cubicBezTo>
                <a:cubicBezTo>
                  <a:pt x="157418" y="351828"/>
                  <a:pt x="164524" y="364837"/>
                  <a:pt x="170877" y="378027"/>
                </a:cubicBezTo>
                <a:cubicBezTo>
                  <a:pt x="172587" y="381579"/>
                  <a:pt x="175985" y="384280"/>
                  <a:pt x="178114" y="387682"/>
                </a:cubicBezTo>
                <a:cubicBezTo>
                  <a:pt x="179669" y="390165"/>
                  <a:pt x="181977" y="393824"/>
                  <a:pt x="181150" y="395764"/>
                </a:cubicBezTo>
                <a:cubicBezTo>
                  <a:pt x="179907" y="398676"/>
                  <a:pt x="176540" y="401705"/>
                  <a:pt x="173480" y="402568"/>
                </a:cubicBezTo>
                <a:cubicBezTo>
                  <a:pt x="169302" y="403746"/>
                  <a:pt x="164551" y="403164"/>
                  <a:pt x="160067" y="402936"/>
                </a:cubicBezTo>
                <a:cubicBezTo>
                  <a:pt x="147066" y="402274"/>
                  <a:pt x="134081" y="400859"/>
                  <a:pt x="121081" y="400766"/>
                </a:cubicBezTo>
                <a:cubicBezTo>
                  <a:pt x="104362" y="400647"/>
                  <a:pt x="87638" y="401607"/>
                  <a:pt x="70912" y="401955"/>
                </a:cubicBezTo>
                <a:cubicBezTo>
                  <a:pt x="49820" y="402394"/>
                  <a:pt x="28725" y="402712"/>
                  <a:pt x="7630" y="402999"/>
                </a:cubicBezTo>
                <a:cubicBezTo>
                  <a:pt x="5684" y="403026"/>
                  <a:pt x="3731" y="402452"/>
                  <a:pt x="710" y="401995"/>
                </a:cubicBezTo>
                <a:cubicBezTo>
                  <a:pt x="219" y="386620"/>
                  <a:pt x="-871" y="371682"/>
                  <a:pt x="1308" y="356708"/>
                </a:cubicBezTo>
                <a:cubicBezTo>
                  <a:pt x="1659" y="354298"/>
                  <a:pt x="2471" y="351920"/>
                  <a:pt x="2554" y="349510"/>
                </a:cubicBezTo>
                <a:cubicBezTo>
                  <a:pt x="3459" y="323419"/>
                  <a:pt x="4345" y="297328"/>
                  <a:pt x="5071" y="271231"/>
                </a:cubicBezTo>
                <a:cubicBezTo>
                  <a:pt x="5979" y="238591"/>
                  <a:pt x="6733" y="205947"/>
                  <a:pt x="7554" y="172079"/>
                </a:cubicBezTo>
                <a:moveTo>
                  <a:pt x="98286" y="163566"/>
                </a:moveTo>
                <a:cubicBezTo>
                  <a:pt x="89288" y="112116"/>
                  <a:pt x="86355" y="60033"/>
                  <a:pt x="83497" y="8289"/>
                </a:cubicBezTo>
                <a:cubicBezTo>
                  <a:pt x="65606" y="5845"/>
                  <a:pt x="24110" y="6470"/>
                  <a:pt x="15161" y="9148"/>
                </a:cubicBezTo>
                <a:cubicBezTo>
                  <a:pt x="15161" y="52045"/>
                  <a:pt x="15527" y="94996"/>
                  <a:pt x="15058" y="137939"/>
                </a:cubicBezTo>
                <a:cubicBezTo>
                  <a:pt x="14587" y="180919"/>
                  <a:pt x="13597" y="223900"/>
                  <a:pt x="12252" y="266862"/>
                </a:cubicBezTo>
                <a:cubicBezTo>
                  <a:pt x="10912" y="309638"/>
                  <a:pt x="8849" y="352391"/>
                  <a:pt x="7068" y="395996"/>
                </a:cubicBezTo>
                <a:cubicBezTo>
                  <a:pt x="62774" y="395996"/>
                  <a:pt x="116821" y="395996"/>
                  <a:pt x="171647" y="395996"/>
                </a:cubicBezTo>
                <a:cubicBezTo>
                  <a:pt x="148550" y="352016"/>
                  <a:pt x="132566" y="306307"/>
                  <a:pt x="119950" y="259496"/>
                </a:cubicBezTo>
                <a:cubicBezTo>
                  <a:pt x="111608" y="228543"/>
                  <a:pt x="105493" y="196989"/>
                  <a:pt x="98286" y="163566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712" name="Free-form: Shape 7711">
            <a:extLst>
              <a:ext uri="{FF2B5EF4-FFF2-40B4-BE49-F238E27FC236}">
                <a16:creationId xmlns:a16="http://schemas.microsoft.com/office/drawing/2014/main" id="{82604BEF-E7DF-5D11-2606-EDD191EB73D1}"/>
              </a:ext>
            </a:extLst>
          </p:cNvPr>
          <p:cNvSpPr/>
          <p:nvPr/>
        </p:nvSpPr>
        <p:spPr>
          <a:xfrm>
            <a:off x="1401754" y="6641554"/>
            <a:ext cx="337008" cy="76321"/>
          </a:xfrm>
          <a:custGeom>
            <a:avLst/>
            <a:gdLst>
              <a:gd name="csX0" fmla="*/ 297312 w 337008"/>
              <a:gd name="csY0" fmla="*/ 59188 h 76321"/>
              <a:gd name="csX1" fmla="*/ 241991 w 337008"/>
              <a:gd name="csY1" fmla="*/ 66577 h 76321"/>
              <a:gd name="csX2" fmla="*/ 185243 w 337008"/>
              <a:gd name="csY2" fmla="*/ 73717 h 76321"/>
              <a:gd name="csX3" fmla="*/ 182797 w 337008"/>
              <a:gd name="csY3" fmla="*/ 73873 h 76321"/>
              <a:gd name="csX4" fmla="*/ 19866 w 337008"/>
              <a:gd name="csY4" fmla="*/ 76320 h 76321"/>
              <a:gd name="csX5" fmla="*/ 12650 w 337008"/>
              <a:gd name="csY5" fmla="*/ 75242 h 76321"/>
              <a:gd name="csX6" fmla="*/ 19 w 337008"/>
              <a:gd name="csY6" fmla="*/ 59006 h 76321"/>
              <a:gd name="csX7" fmla="*/ 11 w 337008"/>
              <a:gd name="csY7" fmla="*/ 18266 h 76321"/>
              <a:gd name="csX8" fmla="*/ 13547 w 337008"/>
              <a:gd name="csY8" fmla="*/ 17427 h 76321"/>
              <a:gd name="csX9" fmla="*/ 109279 w 337008"/>
              <a:gd name="csY9" fmla="*/ 17200 h 76321"/>
              <a:gd name="csX10" fmla="*/ 173714 w 337008"/>
              <a:gd name="csY10" fmla="*/ 12645 h 76321"/>
              <a:gd name="csX11" fmla="*/ 205309 w 337008"/>
              <a:gd name="csY11" fmla="*/ 10096 h 76321"/>
              <a:gd name="csX12" fmla="*/ 245485 w 337008"/>
              <a:gd name="csY12" fmla="*/ 7449 h 76321"/>
              <a:gd name="csX13" fmla="*/ 288955 w 337008"/>
              <a:gd name="csY13" fmla="*/ 1844 h 76321"/>
              <a:gd name="csX14" fmla="*/ 307132 w 337008"/>
              <a:gd name="csY14" fmla="*/ 164 h 76321"/>
              <a:gd name="csX15" fmla="*/ 324030 w 337008"/>
              <a:gd name="csY15" fmla="*/ 9691 h 76321"/>
              <a:gd name="csX16" fmla="*/ 336033 w 337008"/>
              <a:gd name="csY16" fmla="*/ 39107 h 76321"/>
              <a:gd name="csX17" fmla="*/ 328060 w 337008"/>
              <a:gd name="csY17" fmla="*/ 52413 h 76321"/>
              <a:gd name="csX18" fmla="*/ 297312 w 337008"/>
              <a:gd name="csY18" fmla="*/ 59188 h 76321"/>
              <a:gd name="csX19" fmla="*/ 207688 w 337008"/>
              <a:gd name="csY19" fmla="*/ 64284 h 76321"/>
              <a:gd name="csX20" fmla="*/ 330050 w 337008"/>
              <a:gd name="csY20" fmla="*/ 45606 h 76321"/>
              <a:gd name="csX21" fmla="*/ 317356 w 337008"/>
              <a:gd name="csY21" fmla="*/ 11297 h 76321"/>
              <a:gd name="csX22" fmla="*/ 304170 w 337008"/>
              <a:gd name="csY22" fmla="*/ 5545 h 76321"/>
              <a:gd name="csX23" fmla="*/ 273851 w 337008"/>
              <a:gd name="csY23" fmla="*/ 10014 h 76321"/>
              <a:gd name="csX24" fmla="*/ 163935 w 337008"/>
              <a:gd name="csY24" fmla="*/ 20274 h 76321"/>
              <a:gd name="csX25" fmla="*/ 17973 w 337008"/>
              <a:gd name="csY25" fmla="*/ 22950 h 76321"/>
              <a:gd name="csX26" fmla="*/ 7372 w 337008"/>
              <a:gd name="csY26" fmla="*/ 23601 h 76321"/>
              <a:gd name="csX27" fmla="*/ 7372 w 337008"/>
              <a:gd name="csY27" fmla="*/ 67898 h 76321"/>
              <a:gd name="csX28" fmla="*/ 207688 w 337008"/>
              <a:gd name="csY28" fmla="*/ 64284 h 7632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</a:cxnLst>
            <a:rect l="l" t="t" r="r" b="b"/>
            <a:pathLst>
              <a:path w="337008" h="76321">
                <a:moveTo>
                  <a:pt x="297312" y="59188"/>
                </a:moveTo>
                <a:cubicBezTo>
                  <a:pt x="278167" y="61672"/>
                  <a:pt x="260091" y="64212"/>
                  <a:pt x="241991" y="66577"/>
                </a:cubicBezTo>
                <a:cubicBezTo>
                  <a:pt x="223087" y="69047"/>
                  <a:pt x="204161" y="71350"/>
                  <a:pt x="185243" y="73717"/>
                </a:cubicBezTo>
                <a:cubicBezTo>
                  <a:pt x="184433" y="73818"/>
                  <a:pt x="183613" y="73861"/>
                  <a:pt x="182797" y="73873"/>
                </a:cubicBezTo>
                <a:cubicBezTo>
                  <a:pt x="128487" y="74710"/>
                  <a:pt x="74176" y="75556"/>
                  <a:pt x="19866" y="76320"/>
                </a:cubicBezTo>
                <a:cubicBezTo>
                  <a:pt x="17463" y="76354"/>
                  <a:pt x="15013" y="75797"/>
                  <a:pt x="12650" y="75242"/>
                </a:cubicBezTo>
                <a:cubicBezTo>
                  <a:pt x="80" y="72288"/>
                  <a:pt x="58" y="72258"/>
                  <a:pt x="19" y="59006"/>
                </a:cubicBezTo>
                <a:cubicBezTo>
                  <a:pt x="-19" y="45942"/>
                  <a:pt x="11" y="32877"/>
                  <a:pt x="11" y="18266"/>
                </a:cubicBezTo>
                <a:cubicBezTo>
                  <a:pt x="4987" y="17944"/>
                  <a:pt x="9266" y="17435"/>
                  <a:pt x="13547" y="17427"/>
                </a:cubicBezTo>
                <a:cubicBezTo>
                  <a:pt x="45459" y="17362"/>
                  <a:pt x="77385" y="17975"/>
                  <a:pt x="109279" y="17200"/>
                </a:cubicBezTo>
                <a:cubicBezTo>
                  <a:pt x="130782" y="16677"/>
                  <a:pt x="152239" y="14265"/>
                  <a:pt x="173714" y="12645"/>
                </a:cubicBezTo>
                <a:cubicBezTo>
                  <a:pt x="184250" y="11850"/>
                  <a:pt x="194770" y="10836"/>
                  <a:pt x="205309" y="10096"/>
                </a:cubicBezTo>
                <a:cubicBezTo>
                  <a:pt x="218698" y="9156"/>
                  <a:pt x="232139" y="8783"/>
                  <a:pt x="245485" y="7449"/>
                </a:cubicBezTo>
                <a:cubicBezTo>
                  <a:pt x="260017" y="5997"/>
                  <a:pt x="274456" y="3648"/>
                  <a:pt x="288955" y="1844"/>
                </a:cubicBezTo>
                <a:cubicBezTo>
                  <a:pt x="294991" y="1094"/>
                  <a:pt x="301100" y="930"/>
                  <a:pt x="307132" y="164"/>
                </a:cubicBezTo>
                <a:cubicBezTo>
                  <a:pt x="315239" y="-865"/>
                  <a:pt x="320841" y="3022"/>
                  <a:pt x="324030" y="9691"/>
                </a:cubicBezTo>
                <a:cubicBezTo>
                  <a:pt x="328594" y="19236"/>
                  <a:pt x="332712" y="29070"/>
                  <a:pt x="336033" y="39107"/>
                </a:cubicBezTo>
                <a:cubicBezTo>
                  <a:pt x="338557" y="46735"/>
                  <a:pt x="336278" y="50185"/>
                  <a:pt x="328060" y="52413"/>
                </a:cubicBezTo>
                <a:cubicBezTo>
                  <a:pt x="318273" y="55068"/>
                  <a:pt x="308277" y="56950"/>
                  <a:pt x="297312" y="59188"/>
                </a:cubicBezTo>
                <a:moveTo>
                  <a:pt x="207688" y="64284"/>
                </a:moveTo>
                <a:cubicBezTo>
                  <a:pt x="248681" y="60632"/>
                  <a:pt x="289317" y="54812"/>
                  <a:pt x="330050" y="45606"/>
                </a:cubicBezTo>
                <a:cubicBezTo>
                  <a:pt x="327603" y="32443"/>
                  <a:pt x="323777" y="21532"/>
                  <a:pt x="317356" y="11297"/>
                </a:cubicBezTo>
                <a:cubicBezTo>
                  <a:pt x="313908" y="5803"/>
                  <a:pt x="310145" y="4465"/>
                  <a:pt x="304170" y="5545"/>
                </a:cubicBezTo>
                <a:cubicBezTo>
                  <a:pt x="294121" y="7361"/>
                  <a:pt x="284007" y="9006"/>
                  <a:pt x="273851" y="10014"/>
                </a:cubicBezTo>
                <a:cubicBezTo>
                  <a:pt x="237233" y="13650"/>
                  <a:pt x="200632" y="17661"/>
                  <a:pt x="163935" y="20274"/>
                </a:cubicBezTo>
                <a:cubicBezTo>
                  <a:pt x="115360" y="23734"/>
                  <a:pt x="66701" y="25937"/>
                  <a:pt x="17973" y="22950"/>
                </a:cubicBezTo>
                <a:cubicBezTo>
                  <a:pt x="14492" y="22737"/>
                  <a:pt x="10959" y="23361"/>
                  <a:pt x="7372" y="23601"/>
                </a:cubicBezTo>
                <a:cubicBezTo>
                  <a:pt x="7372" y="38609"/>
                  <a:pt x="7372" y="52361"/>
                  <a:pt x="7372" y="67898"/>
                </a:cubicBezTo>
                <a:cubicBezTo>
                  <a:pt x="74001" y="69806"/>
                  <a:pt x="139746" y="71025"/>
                  <a:pt x="207688" y="64284"/>
                </a:cubicBezTo>
                <a:close/>
              </a:path>
            </a:pathLst>
          </a:custGeom>
          <a:solidFill>
            <a:srgbClr val="CDD9DF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713" name="Free-form: Shape 7712">
            <a:extLst>
              <a:ext uri="{FF2B5EF4-FFF2-40B4-BE49-F238E27FC236}">
                <a16:creationId xmlns:a16="http://schemas.microsoft.com/office/drawing/2014/main" id="{91148631-66EE-F213-6A40-C3A4ED9A8D63}"/>
              </a:ext>
            </a:extLst>
          </p:cNvPr>
          <p:cNvSpPr/>
          <p:nvPr/>
        </p:nvSpPr>
        <p:spPr>
          <a:xfrm>
            <a:off x="1407766" y="6405689"/>
            <a:ext cx="303463" cy="213695"/>
          </a:xfrm>
          <a:custGeom>
            <a:avLst/>
            <a:gdLst>
              <a:gd name="csX0" fmla="*/ 14160 w 303463"/>
              <a:gd name="csY0" fmla="*/ 7889 h 213695"/>
              <a:gd name="csX1" fmla="*/ 195033 w 303463"/>
              <a:gd name="csY1" fmla="*/ 0 h 213695"/>
              <a:gd name="csX2" fmla="*/ 197208 w 303463"/>
              <a:gd name="csY2" fmla="*/ 5635 h 213695"/>
              <a:gd name="csX3" fmla="*/ 227014 w 303463"/>
              <a:gd name="csY3" fmla="*/ 60660 h 213695"/>
              <a:gd name="csX4" fmla="*/ 265823 w 303463"/>
              <a:gd name="csY4" fmla="*/ 98217 h 213695"/>
              <a:gd name="csX5" fmla="*/ 303210 w 303463"/>
              <a:gd name="csY5" fmla="*/ 180358 h 213695"/>
              <a:gd name="csX6" fmla="*/ 303282 w 303463"/>
              <a:gd name="csY6" fmla="*/ 193964 h 213695"/>
              <a:gd name="csX7" fmla="*/ 4971 w 303463"/>
              <a:gd name="csY7" fmla="*/ 213017 h 213695"/>
              <a:gd name="csX8" fmla="*/ 5093 w 303463"/>
              <a:gd name="csY8" fmla="*/ 173484 h 213695"/>
              <a:gd name="csX9" fmla="*/ 4767 w 303463"/>
              <a:gd name="csY9" fmla="*/ 54607 h 213695"/>
              <a:gd name="csX10" fmla="*/ 0 w 303463"/>
              <a:gd name="csY10" fmla="*/ 7887 h 213695"/>
              <a:gd name="csX11" fmla="*/ 14160 w 303463"/>
              <a:gd name="csY11" fmla="*/ 7889 h 21369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303463" h="213695">
                <a:moveTo>
                  <a:pt x="14160" y="7889"/>
                </a:moveTo>
                <a:cubicBezTo>
                  <a:pt x="75371" y="8627"/>
                  <a:pt x="135292" y="5744"/>
                  <a:pt x="195033" y="0"/>
                </a:cubicBezTo>
                <a:cubicBezTo>
                  <a:pt x="196084" y="2662"/>
                  <a:pt x="196986" y="4099"/>
                  <a:pt x="197208" y="5635"/>
                </a:cubicBezTo>
                <a:cubicBezTo>
                  <a:pt x="200391" y="27650"/>
                  <a:pt x="211307" y="45450"/>
                  <a:pt x="227014" y="60660"/>
                </a:cubicBezTo>
                <a:cubicBezTo>
                  <a:pt x="239947" y="73182"/>
                  <a:pt x="253006" y="85577"/>
                  <a:pt x="265823" y="98217"/>
                </a:cubicBezTo>
                <a:cubicBezTo>
                  <a:pt x="288727" y="120806"/>
                  <a:pt x="299071" y="149215"/>
                  <a:pt x="303210" y="180358"/>
                </a:cubicBezTo>
                <a:cubicBezTo>
                  <a:pt x="303735" y="184317"/>
                  <a:pt x="303282" y="188405"/>
                  <a:pt x="303282" y="193964"/>
                </a:cubicBezTo>
                <a:cubicBezTo>
                  <a:pt x="204065" y="208804"/>
                  <a:pt x="105022" y="216044"/>
                  <a:pt x="4971" y="213017"/>
                </a:cubicBezTo>
                <a:cubicBezTo>
                  <a:pt x="4971" y="199268"/>
                  <a:pt x="4314" y="186332"/>
                  <a:pt x="5093" y="173484"/>
                </a:cubicBezTo>
                <a:cubicBezTo>
                  <a:pt x="7497" y="133835"/>
                  <a:pt x="8211" y="94216"/>
                  <a:pt x="4767" y="54607"/>
                </a:cubicBezTo>
                <a:cubicBezTo>
                  <a:pt x="3464" y="39611"/>
                  <a:pt x="1725" y="24653"/>
                  <a:pt x="0" y="7887"/>
                </a:cubicBezTo>
                <a:cubicBezTo>
                  <a:pt x="4390" y="7887"/>
                  <a:pt x="8696" y="7887"/>
                  <a:pt x="14160" y="7889"/>
                </a:cubicBezTo>
                <a:close/>
              </a:path>
            </a:pathLst>
          </a:custGeom>
          <a:solidFill>
            <a:schemeClr val="bg1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714" name="Free-form: Shape 7713">
            <a:extLst>
              <a:ext uri="{FF2B5EF4-FFF2-40B4-BE49-F238E27FC236}">
                <a16:creationId xmlns:a16="http://schemas.microsoft.com/office/drawing/2014/main" id="{403A7FF5-317E-FC0B-0109-3C1FC1D24CD0}"/>
              </a:ext>
            </a:extLst>
          </p:cNvPr>
          <p:cNvSpPr/>
          <p:nvPr/>
        </p:nvSpPr>
        <p:spPr>
          <a:xfrm>
            <a:off x="1353392" y="5552511"/>
            <a:ext cx="209067" cy="203406"/>
          </a:xfrm>
          <a:custGeom>
            <a:avLst/>
            <a:gdLst>
              <a:gd name="csX0" fmla="*/ 10475 w 209067"/>
              <a:gd name="csY0" fmla="*/ 41718 h 203406"/>
              <a:gd name="csX1" fmla="*/ 100250 w 209067"/>
              <a:gd name="csY1" fmla="*/ 1265 h 203406"/>
              <a:gd name="csX2" fmla="*/ 206681 w 209067"/>
              <a:gd name="csY2" fmla="*/ 98526 h 203406"/>
              <a:gd name="csX3" fmla="*/ 134647 w 209067"/>
              <a:gd name="csY3" fmla="*/ 202431 h 203406"/>
              <a:gd name="csX4" fmla="*/ 40986 w 209067"/>
              <a:gd name="csY4" fmla="*/ 171438 h 203406"/>
              <a:gd name="csX5" fmla="*/ 143 w 209067"/>
              <a:gd name="csY5" fmla="*/ 85158 h 203406"/>
              <a:gd name="csX6" fmla="*/ 10475 w 209067"/>
              <a:gd name="csY6" fmla="*/ 41718 h 20340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</a:cxnLst>
            <a:rect l="l" t="t" r="r" b="b"/>
            <a:pathLst>
              <a:path w="209067" h="203406">
                <a:moveTo>
                  <a:pt x="10475" y="41718"/>
                </a:moveTo>
                <a:cubicBezTo>
                  <a:pt x="31065" y="6021"/>
                  <a:pt x="63171" y="-3865"/>
                  <a:pt x="100250" y="1265"/>
                </a:cubicBezTo>
                <a:cubicBezTo>
                  <a:pt x="157191" y="9144"/>
                  <a:pt x="196951" y="51394"/>
                  <a:pt x="206681" y="98526"/>
                </a:cubicBezTo>
                <a:cubicBezTo>
                  <a:pt x="219504" y="160635"/>
                  <a:pt x="178523" y="196657"/>
                  <a:pt x="134647" y="202431"/>
                </a:cubicBezTo>
                <a:cubicBezTo>
                  <a:pt x="98365" y="207204"/>
                  <a:pt x="68101" y="194086"/>
                  <a:pt x="40986" y="171438"/>
                </a:cubicBezTo>
                <a:cubicBezTo>
                  <a:pt x="14115" y="148994"/>
                  <a:pt x="2457" y="119007"/>
                  <a:pt x="143" y="85158"/>
                </a:cubicBezTo>
                <a:cubicBezTo>
                  <a:pt x="-869" y="70364"/>
                  <a:pt x="3586" y="56015"/>
                  <a:pt x="10475" y="41718"/>
                </a:cubicBezTo>
                <a:close/>
              </a:path>
            </a:pathLst>
          </a:custGeom>
          <a:solidFill>
            <a:schemeClr val="bg1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715" name="Free-form: Shape 7714">
            <a:extLst>
              <a:ext uri="{FF2B5EF4-FFF2-40B4-BE49-F238E27FC236}">
                <a16:creationId xmlns:a16="http://schemas.microsoft.com/office/drawing/2014/main" id="{26A6BFEE-43BA-1F47-599B-76E6973D68E9}"/>
              </a:ext>
            </a:extLst>
          </p:cNvPr>
          <p:cNvSpPr/>
          <p:nvPr/>
        </p:nvSpPr>
        <p:spPr>
          <a:xfrm>
            <a:off x="1411788" y="5895611"/>
            <a:ext cx="157129" cy="41334"/>
          </a:xfrm>
          <a:custGeom>
            <a:avLst/>
            <a:gdLst>
              <a:gd name="csX0" fmla="*/ 69625 w 157129"/>
              <a:gd name="csY0" fmla="*/ 0 h 41334"/>
              <a:gd name="csX1" fmla="*/ 119596 w 157129"/>
              <a:gd name="csY1" fmla="*/ 1945 h 41334"/>
              <a:gd name="csX2" fmla="*/ 150973 w 157129"/>
              <a:gd name="csY2" fmla="*/ 14889 h 41334"/>
              <a:gd name="csX3" fmla="*/ 151351 w 157129"/>
              <a:gd name="csY3" fmla="*/ 34058 h 41334"/>
              <a:gd name="csX4" fmla="*/ 133492 w 157129"/>
              <a:gd name="csY4" fmla="*/ 40697 h 41334"/>
              <a:gd name="csX5" fmla="*/ 106556 w 157129"/>
              <a:gd name="csY5" fmla="*/ 41092 h 41334"/>
              <a:gd name="csX6" fmla="*/ 13373 w 157129"/>
              <a:gd name="csY6" fmla="*/ 40708 h 41334"/>
              <a:gd name="csX7" fmla="*/ 1312 w 157129"/>
              <a:gd name="csY7" fmla="*/ 40191 h 41334"/>
              <a:gd name="csX8" fmla="*/ 3367 w 157129"/>
              <a:gd name="csY8" fmla="*/ 13162 h 41334"/>
              <a:gd name="csX9" fmla="*/ 20752 w 157129"/>
              <a:gd name="csY9" fmla="*/ 1879 h 41334"/>
              <a:gd name="csX10" fmla="*/ 52625 w 157129"/>
              <a:gd name="csY10" fmla="*/ 1332 h 41334"/>
              <a:gd name="csX11" fmla="*/ 69625 w 157129"/>
              <a:gd name="csY11" fmla="*/ 0 h 4133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157129" h="41334">
                <a:moveTo>
                  <a:pt x="69625" y="0"/>
                </a:moveTo>
                <a:cubicBezTo>
                  <a:pt x="87054" y="491"/>
                  <a:pt x="103407" y="373"/>
                  <a:pt x="119596" y="1945"/>
                </a:cubicBezTo>
                <a:cubicBezTo>
                  <a:pt x="131020" y="3055"/>
                  <a:pt x="141713" y="7767"/>
                  <a:pt x="150973" y="14889"/>
                </a:cubicBezTo>
                <a:cubicBezTo>
                  <a:pt x="158820" y="20925"/>
                  <a:pt x="159403" y="28236"/>
                  <a:pt x="151351" y="34058"/>
                </a:cubicBezTo>
                <a:cubicBezTo>
                  <a:pt x="146355" y="37671"/>
                  <a:pt x="139678" y="39910"/>
                  <a:pt x="133492" y="40697"/>
                </a:cubicBezTo>
                <a:cubicBezTo>
                  <a:pt x="124640" y="41824"/>
                  <a:pt x="115547" y="41120"/>
                  <a:pt x="106556" y="41092"/>
                </a:cubicBezTo>
                <a:cubicBezTo>
                  <a:pt x="75495" y="40996"/>
                  <a:pt x="44434" y="40872"/>
                  <a:pt x="13373" y="40708"/>
                </a:cubicBezTo>
                <a:cubicBezTo>
                  <a:pt x="9391" y="40687"/>
                  <a:pt x="5410" y="40374"/>
                  <a:pt x="1312" y="40191"/>
                </a:cubicBezTo>
                <a:cubicBezTo>
                  <a:pt x="-1416" y="30384"/>
                  <a:pt x="523" y="21512"/>
                  <a:pt x="3367" y="13162"/>
                </a:cubicBezTo>
                <a:cubicBezTo>
                  <a:pt x="5963" y="5538"/>
                  <a:pt x="12701" y="2077"/>
                  <a:pt x="20752" y="1879"/>
                </a:cubicBezTo>
                <a:cubicBezTo>
                  <a:pt x="31375" y="1617"/>
                  <a:pt x="42004" y="1647"/>
                  <a:pt x="52625" y="1332"/>
                </a:cubicBezTo>
                <a:cubicBezTo>
                  <a:pt x="57918" y="1176"/>
                  <a:pt x="63195" y="535"/>
                  <a:pt x="69625" y="0"/>
                </a:cubicBezTo>
                <a:close/>
              </a:path>
            </a:pathLst>
          </a:custGeom>
          <a:solidFill>
            <a:schemeClr val="bg1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716" name="Free-form: Shape 7715">
            <a:extLst>
              <a:ext uri="{FF2B5EF4-FFF2-40B4-BE49-F238E27FC236}">
                <a16:creationId xmlns:a16="http://schemas.microsoft.com/office/drawing/2014/main" id="{CFC3DBDE-F5EB-7369-C7CB-AFA6AF8FD876}"/>
              </a:ext>
            </a:extLst>
          </p:cNvPr>
          <p:cNvSpPr/>
          <p:nvPr/>
        </p:nvSpPr>
        <p:spPr>
          <a:xfrm>
            <a:off x="1406196" y="5977566"/>
            <a:ext cx="164579" cy="389238"/>
          </a:xfrm>
          <a:custGeom>
            <a:avLst/>
            <a:gdLst>
              <a:gd name="csX0" fmla="*/ 91265 w 164579"/>
              <a:gd name="csY0" fmla="*/ 157878 h 389238"/>
              <a:gd name="csX1" fmla="*/ 112882 w 164579"/>
              <a:gd name="csY1" fmla="*/ 252738 h 389238"/>
              <a:gd name="csX2" fmla="*/ 164579 w 164579"/>
              <a:gd name="csY2" fmla="*/ 389238 h 389238"/>
              <a:gd name="csX3" fmla="*/ 0 w 164579"/>
              <a:gd name="csY3" fmla="*/ 389238 h 389238"/>
              <a:gd name="csX4" fmla="*/ 5184 w 164579"/>
              <a:gd name="csY4" fmla="*/ 260105 h 389238"/>
              <a:gd name="csX5" fmla="*/ 7989 w 164579"/>
              <a:gd name="csY5" fmla="*/ 131182 h 389238"/>
              <a:gd name="csX6" fmla="*/ 8093 w 164579"/>
              <a:gd name="csY6" fmla="*/ 2390 h 389238"/>
              <a:gd name="csX7" fmla="*/ 76429 w 164579"/>
              <a:gd name="csY7" fmla="*/ 1531 h 389238"/>
              <a:gd name="csX8" fmla="*/ 91265 w 164579"/>
              <a:gd name="csY8" fmla="*/ 157878 h 38923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</a:cxnLst>
            <a:rect l="l" t="t" r="r" b="b"/>
            <a:pathLst>
              <a:path w="164579" h="389238">
                <a:moveTo>
                  <a:pt x="91265" y="157878"/>
                </a:moveTo>
                <a:cubicBezTo>
                  <a:pt x="98425" y="190232"/>
                  <a:pt x="104539" y="221785"/>
                  <a:pt x="112882" y="252738"/>
                </a:cubicBezTo>
                <a:cubicBezTo>
                  <a:pt x="125498" y="299549"/>
                  <a:pt x="141482" y="345258"/>
                  <a:pt x="164579" y="389238"/>
                </a:cubicBezTo>
                <a:cubicBezTo>
                  <a:pt x="109753" y="389238"/>
                  <a:pt x="55706" y="389238"/>
                  <a:pt x="0" y="389238"/>
                </a:cubicBezTo>
                <a:cubicBezTo>
                  <a:pt x="1781" y="345633"/>
                  <a:pt x="3844" y="302880"/>
                  <a:pt x="5184" y="260105"/>
                </a:cubicBezTo>
                <a:cubicBezTo>
                  <a:pt x="6529" y="217143"/>
                  <a:pt x="7519" y="174162"/>
                  <a:pt x="7989" y="131182"/>
                </a:cubicBezTo>
                <a:cubicBezTo>
                  <a:pt x="8459" y="88239"/>
                  <a:pt x="8093" y="45287"/>
                  <a:pt x="8093" y="2390"/>
                </a:cubicBezTo>
                <a:cubicBezTo>
                  <a:pt x="17041" y="-288"/>
                  <a:pt x="58537" y="-913"/>
                  <a:pt x="76429" y="1531"/>
                </a:cubicBezTo>
                <a:cubicBezTo>
                  <a:pt x="79287" y="53276"/>
                  <a:pt x="82219" y="105359"/>
                  <a:pt x="91265" y="157878"/>
                </a:cubicBezTo>
                <a:close/>
              </a:path>
            </a:pathLst>
          </a:custGeom>
          <a:solidFill>
            <a:schemeClr val="bg1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717" name="Free-form: Shape 7716">
            <a:extLst>
              <a:ext uri="{FF2B5EF4-FFF2-40B4-BE49-F238E27FC236}">
                <a16:creationId xmlns:a16="http://schemas.microsoft.com/office/drawing/2014/main" id="{E8A0237B-3186-AD9A-6F95-9DBC4595AFD9}"/>
              </a:ext>
            </a:extLst>
          </p:cNvPr>
          <p:cNvSpPr/>
          <p:nvPr/>
        </p:nvSpPr>
        <p:spPr>
          <a:xfrm>
            <a:off x="1409126" y="6646755"/>
            <a:ext cx="322677" cy="64202"/>
          </a:xfrm>
          <a:custGeom>
            <a:avLst/>
            <a:gdLst>
              <a:gd name="csX0" fmla="*/ 199184 w 322677"/>
              <a:gd name="csY0" fmla="*/ 59136 h 64202"/>
              <a:gd name="csX1" fmla="*/ 0 w 322677"/>
              <a:gd name="csY1" fmla="*/ 62697 h 64202"/>
              <a:gd name="csX2" fmla="*/ 0 w 322677"/>
              <a:gd name="csY2" fmla="*/ 18400 h 64202"/>
              <a:gd name="csX3" fmla="*/ 10601 w 322677"/>
              <a:gd name="csY3" fmla="*/ 17750 h 64202"/>
              <a:gd name="csX4" fmla="*/ 156563 w 322677"/>
              <a:gd name="csY4" fmla="*/ 15074 h 64202"/>
              <a:gd name="csX5" fmla="*/ 266479 w 322677"/>
              <a:gd name="csY5" fmla="*/ 4814 h 64202"/>
              <a:gd name="csX6" fmla="*/ 296798 w 322677"/>
              <a:gd name="csY6" fmla="*/ 344 h 64202"/>
              <a:gd name="csX7" fmla="*/ 309983 w 322677"/>
              <a:gd name="csY7" fmla="*/ 6097 h 64202"/>
              <a:gd name="csX8" fmla="*/ 322678 w 322677"/>
              <a:gd name="csY8" fmla="*/ 40406 h 64202"/>
              <a:gd name="csX9" fmla="*/ 199184 w 322677"/>
              <a:gd name="csY9" fmla="*/ 59136 h 6420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322677" h="64202">
                <a:moveTo>
                  <a:pt x="199184" y="59136"/>
                </a:moveTo>
                <a:cubicBezTo>
                  <a:pt x="132374" y="65824"/>
                  <a:pt x="66629" y="64605"/>
                  <a:pt x="0" y="62697"/>
                </a:cubicBezTo>
                <a:cubicBezTo>
                  <a:pt x="0" y="47160"/>
                  <a:pt x="0" y="33409"/>
                  <a:pt x="0" y="18400"/>
                </a:cubicBezTo>
                <a:cubicBezTo>
                  <a:pt x="3587" y="18160"/>
                  <a:pt x="7120" y="17536"/>
                  <a:pt x="10601" y="17750"/>
                </a:cubicBezTo>
                <a:cubicBezTo>
                  <a:pt x="59329" y="20736"/>
                  <a:pt x="107987" y="18533"/>
                  <a:pt x="156563" y="15074"/>
                </a:cubicBezTo>
                <a:cubicBezTo>
                  <a:pt x="193260" y="12461"/>
                  <a:pt x="229860" y="8449"/>
                  <a:pt x="266479" y="4814"/>
                </a:cubicBezTo>
                <a:cubicBezTo>
                  <a:pt x="276635" y="3806"/>
                  <a:pt x="286748" y="2160"/>
                  <a:pt x="296798" y="344"/>
                </a:cubicBezTo>
                <a:cubicBezTo>
                  <a:pt x="302773" y="-735"/>
                  <a:pt x="306536" y="602"/>
                  <a:pt x="309983" y="6097"/>
                </a:cubicBezTo>
                <a:cubicBezTo>
                  <a:pt x="316405" y="16331"/>
                  <a:pt x="320231" y="27243"/>
                  <a:pt x="322678" y="40406"/>
                </a:cubicBezTo>
                <a:cubicBezTo>
                  <a:pt x="281944" y="49611"/>
                  <a:pt x="241309" y="55431"/>
                  <a:pt x="199184" y="59136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737" name="Oval 7736">
            <a:extLst>
              <a:ext uri="{FF2B5EF4-FFF2-40B4-BE49-F238E27FC236}">
                <a16:creationId xmlns:a16="http://schemas.microsoft.com/office/drawing/2014/main" id="{098F980D-051D-EB46-1E6F-781810D0BC46}"/>
              </a:ext>
            </a:extLst>
          </p:cNvPr>
          <p:cNvSpPr/>
          <p:nvPr/>
        </p:nvSpPr>
        <p:spPr>
          <a:xfrm>
            <a:off x="2268486" y="4962525"/>
            <a:ext cx="531864" cy="123825"/>
          </a:xfrm>
          <a:prstGeom prst="ellipse">
            <a:avLst/>
          </a:prstGeom>
          <a:solidFill>
            <a:schemeClr val="tx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739" name="Free-form: Shape 7738">
            <a:extLst>
              <a:ext uri="{FF2B5EF4-FFF2-40B4-BE49-F238E27FC236}">
                <a16:creationId xmlns:a16="http://schemas.microsoft.com/office/drawing/2014/main" id="{923C1C09-A1A2-F2A4-AFC5-0B2D3B052826}"/>
              </a:ext>
            </a:extLst>
          </p:cNvPr>
          <p:cNvSpPr/>
          <p:nvPr/>
        </p:nvSpPr>
        <p:spPr>
          <a:xfrm>
            <a:off x="2311097" y="4225290"/>
            <a:ext cx="459904" cy="817607"/>
          </a:xfrm>
          <a:custGeom>
            <a:avLst/>
            <a:gdLst>
              <a:gd name="csX0" fmla="*/ 581793 w 697572"/>
              <a:gd name="csY0" fmla="*/ 1234401 h 1240128"/>
              <a:gd name="csX1" fmla="*/ 577427 w 697572"/>
              <a:gd name="csY1" fmla="*/ 1234156 h 1240128"/>
              <a:gd name="csX2" fmla="*/ 559133 w 697572"/>
              <a:gd name="csY2" fmla="*/ 1230909 h 1240128"/>
              <a:gd name="csX3" fmla="*/ 516706 w 697572"/>
              <a:gd name="csY3" fmla="*/ 1235117 h 1240128"/>
              <a:gd name="csX4" fmla="*/ 475244 w 697572"/>
              <a:gd name="csY4" fmla="*/ 1237506 h 1240128"/>
              <a:gd name="csX5" fmla="*/ 371154 w 697572"/>
              <a:gd name="csY5" fmla="*/ 1239428 h 1240128"/>
              <a:gd name="csX6" fmla="*/ 276813 w 697572"/>
              <a:gd name="csY6" fmla="*/ 1237654 h 1240128"/>
              <a:gd name="csX7" fmla="*/ 268212 w 697572"/>
              <a:gd name="csY7" fmla="*/ 1237635 h 1240128"/>
              <a:gd name="csX8" fmla="*/ 262072 w 697572"/>
              <a:gd name="csY8" fmla="*/ 1237523 h 1240128"/>
              <a:gd name="csX9" fmla="*/ 195111 w 697572"/>
              <a:gd name="csY9" fmla="*/ 1232775 h 1240128"/>
              <a:gd name="csX10" fmla="*/ 145060 w 697572"/>
              <a:gd name="csY10" fmla="*/ 1230076 h 1240128"/>
              <a:gd name="csX11" fmla="*/ 114933 w 697572"/>
              <a:gd name="csY11" fmla="*/ 1225832 h 1240128"/>
              <a:gd name="csX12" fmla="*/ 72642 w 697572"/>
              <a:gd name="csY12" fmla="*/ 1220237 h 1240128"/>
              <a:gd name="csX13" fmla="*/ 10894 w 697572"/>
              <a:gd name="csY13" fmla="*/ 1205737 h 1240128"/>
              <a:gd name="csX14" fmla="*/ 5856 w 697572"/>
              <a:gd name="csY14" fmla="*/ 1202799 h 1240128"/>
              <a:gd name="csX15" fmla="*/ 40 w 697572"/>
              <a:gd name="csY15" fmla="*/ 1174450 h 1240128"/>
              <a:gd name="csX16" fmla="*/ 19831 w 697572"/>
              <a:gd name="csY16" fmla="*/ 1118410 h 1240128"/>
              <a:gd name="csX17" fmla="*/ 22004 w 697572"/>
              <a:gd name="csY17" fmla="*/ 1107240 h 1240128"/>
              <a:gd name="csX18" fmla="*/ 25947 w 697572"/>
              <a:gd name="csY18" fmla="*/ 1038650 h 1240128"/>
              <a:gd name="csX19" fmla="*/ 58234 w 697572"/>
              <a:gd name="csY19" fmla="*/ 988567 h 1240128"/>
              <a:gd name="csX20" fmla="*/ 118645 w 697572"/>
              <a:gd name="csY20" fmla="*/ 928298 h 1240128"/>
              <a:gd name="csX21" fmla="*/ 126320 w 697572"/>
              <a:gd name="csY21" fmla="*/ 892015 h 1240128"/>
              <a:gd name="csX22" fmla="*/ 120345 w 697572"/>
              <a:gd name="csY22" fmla="*/ 872258 h 1240128"/>
              <a:gd name="csX23" fmla="*/ 125668 w 697572"/>
              <a:gd name="csY23" fmla="*/ 861640 h 1240128"/>
              <a:gd name="csX24" fmla="*/ 154237 w 697572"/>
              <a:gd name="csY24" fmla="*/ 850716 h 1240128"/>
              <a:gd name="csX25" fmla="*/ 170248 w 697572"/>
              <a:gd name="csY25" fmla="*/ 836767 h 1240128"/>
              <a:gd name="csX26" fmla="*/ 187840 w 697572"/>
              <a:gd name="csY26" fmla="*/ 796341 h 1240128"/>
              <a:gd name="csX27" fmla="*/ 209346 w 697572"/>
              <a:gd name="csY27" fmla="*/ 743126 h 1240128"/>
              <a:gd name="csX28" fmla="*/ 210630 w 697572"/>
              <a:gd name="csY28" fmla="*/ 737219 h 1240128"/>
              <a:gd name="csX29" fmla="*/ 213836 w 697572"/>
              <a:gd name="csY29" fmla="*/ 720505 h 1240128"/>
              <a:gd name="csX30" fmla="*/ 227791 w 697572"/>
              <a:gd name="csY30" fmla="*/ 667353 h 1240128"/>
              <a:gd name="csX31" fmla="*/ 241013 w 697572"/>
              <a:gd name="csY31" fmla="*/ 599151 h 1240128"/>
              <a:gd name="csX32" fmla="*/ 247322 w 697572"/>
              <a:gd name="csY32" fmla="*/ 542242 h 1240128"/>
              <a:gd name="csX33" fmla="*/ 247948 w 697572"/>
              <a:gd name="csY33" fmla="*/ 499296 h 1240128"/>
              <a:gd name="csX34" fmla="*/ 247577 w 697572"/>
              <a:gd name="csY34" fmla="*/ 470384 h 1240128"/>
              <a:gd name="csX35" fmla="*/ 238877 w 697572"/>
              <a:gd name="csY35" fmla="*/ 460987 h 1240128"/>
              <a:gd name="csX36" fmla="*/ 222040 w 697572"/>
              <a:gd name="csY36" fmla="*/ 458353 h 1240128"/>
              <a:gd name="csX37" fmla="*/ 172193 w 697572"/>
              <a:gd name="csY37" fmla="*/ 433714 h 1240128"/>
              <a:gd name="csX38" fmla="*/ 168410 w 697572"/>
              <a:gd name="csY38" fmla="*/ 396591 h 1240128"/>
              <a:gd name="csX39" fmla="*/ 209826 w 697572"/>
              <a:gd name="csY39" fmla="*/ 367773 h 1240128"/>
              <a:gd name="csX40" fmla="*/ 250732 w 697572"/>
              <a:gd name="csY40" fmla="*/ 355208 h 1240128"/>
              <a:gd name="csX41" fmla="*/ 258289 w 697572"/>
              <a:gd name="csY41" fmla="*/ 350426 h 1240128"/>
              <a:gd name="csX42" fmla="*/ 233274 w 697572"/>
              <a:gd name="csY42" fmla="*/ 333513 h 1240128"/>
              <a:gd name="csX43" fmla="*/ 229677 w 697572"/>
              <a:gd name="csY43" fmla="*/ 333922 h 1240128"/>
              <a:gd name="csX44" fmla="*/ 230149 w 697572"/>
              <a:gd name="csY44" fmla="*/ 332979 h 1240128"/>
              <a:gd name="csX45" fmla="*/ 227053 w 697572"/>
              <a:gd name="csY45" fmla="*/ 327076 h 1240128"/>
              <a:gd name="csX46" fmla="*/ 196769 w 697572"/>
              <a:gd name="csY46" fmla="*/ 291380 h 1240128"/>
              <a:gd name="csX47" fmla="*/ 184389 w 697572"/>
              <a:gd name="csY47" fmla="*/ 264042 h 1240128"/>
              <a:gd name="csX48" fmla="*/ 180630 w 697572"/>
              <a:gd name="csY48" fmla="*/ 257839 h 1240128"/>
              <a:gd name="csX49" fmla="*/ 176231 w 697572"/>
              <a:gd name="csY49" fmla="*/ 250643 h 1240128"/>
              <a:gd name="csX50" fmla="*/ 170073 w 697572"/>
              <a:gd name="csY50" fmla="*/ 146723 h 1240128"/>
              <a:gd name="csX51" fmla="*/ 180929 w 697572"/>
              <a:gd name="csY51" fmla="*/ 114280 h 1240128"/>
              <a:gd name="csX52" fmla="*/ 180839 w 697572"/>
              <a:gd name="csY52" fmla="*/ 101501 h 1240128"/>
              <a:gd name="csX53" fmla="*/ 233536 w 697572"/>
              <a:gd name="csY53" fmla="*/ 39653 h 1240128"/>
              <a:gd name="csX54" fmla="*/ 347618 w 697572"/>
              <a:gd name="csY54" fmla="*/ 35 h 1240128"/>
              <a:gd name="csX55" fmla="*/ 437139 w 697572"/>
              <a:gd name="csY55" fmla="*/ 22396 h 1240128"/>
              <a:gd name="csX56" fmla="*/ 529052 w 697572"/>
              <a:gd name="csY56" fmla="*/ 131093 h 1240128"/>
              <a:gd name="csX57" fmla="*/ 518497 w 697572"/>
              <a:gd name="csY57" fmla="*/ 271517 h 1240128"/>
              <a:gd name="csX58" fmla="*/ 500808 w 697572"/>
              <a:gd name="csY58" fmla="*/ 287385 h 1240128"/>
              <a:gd name="csX59" fmla="*/ 472948 w 697572"/>
              <a:gd name="csY59" fmla="*/ 323290 h 1240128"/>
              <a:gd name="csX60" fmla="*/ 469385 w 697572"/>
              <a:gd name="csY60" fmla="*/ 331565 h 1240128"/>
              <a:gd name="csX61" fmla="*/ 468293 w 697572"/>
              <a:gd name="csY61" fmla="*/ 331320 h 1240128"/>
              <a:gd name="csX62" fmla="*/ 459542 w 697572"/>
              <a:gd name="csY62" fmla="*/ 338942 h 1240128"/>
              <a:gd name="csX63" fmla="*/ 458492 w 697572"/>
              <a:gd name="csY63" fmla="*/ 338671 h 1240128"/>
              <a:gd name="csX64" fmla="*/ 436978 w 697572"/>
              <a:gd name="csY64" fmla="*/ 352226 h 1240128"/>
              <a:gd name="csX65" fmla="*/ 472329 w 697572"/>
              <a:gd name="csY65" fmla="*/ 362890 h 1240128"/>
              <a:gd name="csX66" fmla="*/ 523779 w 697572"/>
              <a:gd name="csY66" fmla="*/ 391962 h 1240128"/>
              <a:gd name="csX67" fmla="*/ 527344 w 697572"/>
              <a:gd name="csY67" fmla="*/ 430096 h 1240128"/>
              <a:gd name="csX68" fmla="*/ 504112 w 697572"/>
              <a:gd name="csY68" fmla="*/ 449628 h 1240128"/>
              <a:gd name="csX69" fmla="*/ 459430 w 697572"/>
              <a:gd name="csY69" fmla="*/ 461116 h 1240128"/>
              <a:gd name="csX70" fmla="*/ 446666 w 697572"/>
              <a:gd name="csY70" fmla="*/ 474229 h 1240128"/>
              <a:gd name="csX71" fmla="*/ 449133 w 697572"/>
              <a:gd name="csY71" fmla="*/ 531639 h 1240128"/>
              <a:gd name="csX72" fmla="*/ 454546 w 697572"/>
              <a:gd name="csY72" fmla="*/ 588688 h 1240128"/>
              <a:gd name="csX73" fmla="*/ 466126 w 697572"/>
              <a:gd name="csY73" fmla="*/ 649736 h 1240128"/>
              <a:gd name="csX74" fmla="*/ 512154 w 697572"/>
              <a:gd name="csY74" fmla="*/ 794006 h 1240128"/>
              <a:gd name="csX75" fmla="*/ 525763 w 697572"/>
              <a:gd name="csY75" fmla="*/ 834323 h 1240128"/>
              <a:gd name="csX76" fmla="*/ 530555 w 697572"/>
              <a:gd name="csY76" fmla="*/ 845114 h 1240128"/>
              <a:gd name="csX77" fmla="*/ 554424 w 697572"/>
              <a:gd name="csY77" fmla="*/ 856618 h 1240128"/>
              <a:gd name="csX78" fmla="*/ 572880 w 697572"/>
              <a:gd name="csY78" fmla="*/ 862546 h 1240128"/>
              <a:gd name="csX79" fmla="*/ 578643 w 697572"/>
              <a:gd name="csY79" fmla="*/ 880396 h 1240128"/>
              <a:gd name="csX80" fmla="*/ 572188 w 697572"/>
              <a:gd name="csY80" fmla="*/ 899820 h 1240128"/>
              <a:gd name="csX81" fmla="*/ 582698 w 697572"/>
              <a:gd name="csY81" fmla="*/ 930382 h 1240128"/>
              <a:gd name="csX82" fmla="*/ 604747 w 697572"/>
              <a:gd name="csY82" fmla="*/ 960852 h 1240128"/>
              <a:gd name="csX83" fmla="*/ 613863 w 697572"/>
              <a:gd name="csY83" fmla="*/ 968311 h 1240128"/>
              <a:gd name="csX84" fmla="*/ 629435 w 697572"/>
              <a:gd name="csY84" fmla="*/ 981186 h 1240128"/>
              <a:gd name="csX85" fmla="*/ 633611 w 697572"/>
              <a:gd name="csY85" fmla="*/ 985609 h 1240128"/>
              <a:gd name="csX86" fmla="*/ 673790 w 697572"/>
              <a:gd name="csY86" fmla="*/ 1049348 h 1240128"/>
              <a:gd name="csX87" fmla="*/ 675873 w 697572"/>
              <a:gd name="csY87" fmla="*/ 1092839 h 1240128"/>
              <a:gd name="csX88" fmla="*/ 681668 w 697572"/>
              <a:gd name="csY88" fmla="*/ 1129292 h 1240128"/>
              <a:gd name="csX89" fmla="*/ 697338 w 697572"/>
              <a:gd name="csY89" fmla="*/ 1196079 h 1240128"/>
              <a:gd name="csX90" fmla="*/ 690637 w 697572"/>
              <a:gd name="csY90" fmla="*/ 1205035 h 1240128"/>
              <a:gd name="csX91" fmla="*/ 639777 w 697572"/>
              <a:gd name="csY91" fmla="*/ 1217994 h 1240128"/>
              <a:gd name="csX92" fmla="*/ 587072 w 697572"/>
              <a:gd name="csY92" fmla="*/ 1227761 h 1240128"/>
              <a:gd name="csX93" fmla="*/ 581793 w 697572"/>
              <a:gd name="csY93" fmla="*/ 1234401 h 1240128"/>
              <a:gd name="csX94" fmla="*/ 357446 w 697572"/>
              <a:gd name="csY94" fmla="*/ 903795 h 1240128"/>
              <a:gd name="csX95" fmla="*/ 344445 w 697572"/>
              <a:gd name="csY95" fmla="*/ 903795 h 1240128"/>
              <a:gd name="csX96" fmla="*/ 349212 w 697572"/>
              <a:gd name="csY96" fmla="*/ 950515 h 1240128"/>
              <a:gd name="csX97" fmla="*/ 349538 w 697572"/>
              <a:gd name="csY97" fmla="*/ 1069392 h 1240128"/>
              <a:gd name="csX98" fmla="*/ 349415 w 697572"/>
              <a:gd name="csY98" fmla="*/ 1108925 h 1240128"/>
              <a:gd name="csX99" fmla="*/ 647726 w 697572"/>
              <a:gd name="csY99" fmla="*/ 1089872 h 1240128"/>
              <a:gd name="csX100" fmla="*/ 647654 w 697572"/>
              <a:gd name="csY100" fmla="*/ 1076267 h 1240128"/>
              <a:gd name="csX101" fmla="*/ 610267 w 697572"/>
              <a:gd name="csY101" fmla="*/ 994126 h 1240128"/>
              <a:gd name="csX102" fmla="*/ 571459 w 697572"/>
              <a:gd name="csY102" fmla="*/ 956568 h 1240128"/>
              <a:gd name="csX103" fmla="*/ 541653 w 697572"/>
              <a:gd name="csY103" fmla="*/ 901544 h 1240128"/>
              <a:gd name="csX104" fmla="*/ 539477 w 697572"/>
              <a:gd name="csY104" fmla="*/ 895908 h 1240128"/>
              <a:gd name="csX105" fmla="*/ 357446 w 697572"/>
              <a:gd name="csY105" fmla="*/ 903795 h 1240128"/>
              <a:gd name="csX106" fmla="*/ 300108 w 697572"/>
              <a:gd name="csY106" fmla="*/ 85260 h 1240128"/>
              <a:gd name="csX107" fmla="*/ 290213 w 697572"/>
              <a:gd name="csY107" fmla="*/ 127888 h 1240128"/>
              <a:gd name="csX108" fmla="*/ 331056 w 697572"/>
              <a:gd name="csY108" fmla="*/ 214168 h 1240128"/>
              <a:gd name="csX109" fmla="*/ 424717 w 697572"/>
              <a:gd name="csY109" fmla="*/ 245160 h 1240128"/>
              <a:gd name="csX110" fmla="*/ 496752 w 697572"/>
              <a:gd name="csY110" fmla="*/ 141256 h 1240128"/>
              <a:gd name="csX111" fmla="*/ 390320 w 697572"/>
              <a:gd name="csY111" fmla="*/ 43995 h 1240128"/>
              <a:gd name="csX112" fmla="*/ 300108 w 697572"/>
              <a:gd name="csY112" fmla="*/ 85260 h 1240128"/>
              <a:gd name="csX113" fmla="*/ 343360 w 697572"/>
              <a:gd name="csY113" fmla="*/ 634332 h 1240128"/>
              <a:gd name="csX114" fmla="*/ 340877 w 697572"/>
              <a:gd name="csY114" fmla="*/ 732259 h 1240128"/>
              <a:gd name="csX115" fmla="*/ 338360 w 697572"/>
              <a:gd name="csY115" fmla="*/ 810538 h 1240128"/>
              <a:gd name="csX116" fmla="*/ 337115 w 697572"/>
              <a:gd name="csY116" fmla="*/ 817736 h 1240128"/>
              <a:gd name="csX117" fmla="*/ 336516 w 697572"/>
              <a:gd name="csY117" fmla="*/ 863022 h 1240128"/>
              <a:gd name="csX118" fmla="*/ 343436 w 697572"/>
              <a:gd name="csY118" fmla="*/ 864027 h 1240128"/>
              <a:gd name="csX119" fmla="*/ 406718 w 697572"/>
              <a:gd name="csY119" fmla="*/ 862982 h 1240128"/>
              <a:gd name="csX120" fmla="*/ 456888 w 697572"/>
              <a:gd name="csY120" fmla="*/ 861794 h 1240128"/>
              <a:gd name="csX121" fmla="*/ 495873 w 697572"/>
              <a:gd name="csY121" fmla="*/ 863963 h 1240128"/>
              <a:gd name="csX122" fmla="*/ 509286 w 697572"/>
              <a:gd name="csY122" fmla="*/ 863595 h 1240128"/>
              <a:gd name="csX123" fmla="*/ 516956 w 697572"/>
              <a:gd name="csY123" fmla="*/ 856791 h 1240128"/>
              <a:gd name="csX124" fmla="*/ 513920 w 697572"/>
              <a:gd name="csY124" fmla="*/ 848709 h 1240128"/>
              <a:gd name="csX125" fmla="*/ 506683 w 697572"/>
              <a:gd name="csY125" fmla="*/ 839054 h 1240128"/>
              <a:gd name="csX126" fmla="*/ 488629 w 697572"/>
              <a:gd name="csY126" fmla="*/ 799037 h 1240128"/>
              <a:gd name="csX127" fmla="*/ 456922 w 697572"/>
              <a:gd name="csY127" fmla="*/ 696297 h 1240128"/>
              <a:gd name="csX128" fmla="*/ 441346 w 697572"/>
              <a:gd name="csY128" fmla="*/ 619885 h 1240128"/>
              <a:gd name="csX129" fmla="*/ 435963 w 697572"/>
              <a:gd name="csY129" fmla="*/ 582529 h 1240128"/>
              <a:gd name="csX130" fmla="*/ 429497 w 697572"/>
              <a:gd name="csY130" fmla="*/ 521990 h 1240128"/>
              <a:gd name="csX131" fmla="*/ 426887 w 697572"/>
              <a:gd name="csY131" fmla="*/ 471989 h 1240128"/>
              <a:gd name="csX132" fmla="*/ 413744 w 697572"/>
              <a:gd name="csY132" fmla="*/ 461077 h 1240128"/>
              <a:gd name="csX133" fmla="*/ 353573 w 697572"/>
              <a:gd name="csY133" fmla="*/ 461120 h 1240128"/>
              <a:gd name="csX134" fmla="*/ 344160 w 697572"/>
              <a:gd name="csY134" fmla="*/ 462286 h 1240128"/>
              <a:gd name="csX135" fmla="*/ 343404 w 697572"/>
              <a:gd name="csY135" fmla="*/ 469192 h 1240128"/>
              <a:gd name="csX136" fmla="*/ 343469 w 697572"/>
              <a:gd name="csY136" fmla="*/ 574797 h 1240128"/>
              <a:gd name="csX137" fmla="*/ 345522 w 697572"/>
              <a:gd name="csY137" fmla="*/ 591669 h 1240128"/>
              <a:gd name="csX138" fmla="*/ 343360 w 697572"/>
              <a:gd name="csY138" fmla="*/ 634332 h 1240128"/>
              <a:gd name="csX139" fmla="*/ 416946 w 697572"/>
              <a:gd name="csY139" fmla="*/ 385943 h 1240128"/>
              <a:gd name="csX140" fmla="*/ 401091 w 697572"/>
              <a:gd name="csY140" fmla="*/ 387162 h 1240128"/>
              <a:gd name="csX141" fmla="*/ 369218 w 697572"/>
              <a:gd name="csY141" fmla="*/ 387708 h 1240128"/>
              <a:gd name="csX142" fmla="*/ 351833 w 697572"/>
              <a:gd name="csY142" fmla="*/ 398991 h 1240128"/>
              <a:gd name="csX143" fmla="*/ 349778 w 697572"/>
              <a:gd name="csY143" fmla="*/ 426021 h 1240128"/>
              <a:gd name="csX144" fmla="*/ 361839 w 697572"/>
              <a:gd name="csY144" fmla="*/ 426538 h 1240128"/>
              <a:gd name="csX145" fmla="*/ 455022 w 697572"/>
              <a:gd name="csY145" fmla="*/ 426922 h 1240128"/>
              <a:gd name="csX146" fmla="*/ 481958 w 697572"/>
              <a:gd name="csY146" fmla="*/ 426527 h 1240128"/>
              <a:gd name="csX147" fmla="*/ 499817 w 697572"/>
              <a:gd name="csY147" fmla="*/ 419888 h 1240128"/>
              <a:gd name="csX148" fmla="*/ 499439 w 697572"/>
              <a:gd name="csY148" fmla="*/ 400719 h 1240128"/>
              <a:gd name="csX149" fmla="*/ 468062 w 697572"/>
              <a:gd name="csY149" fmla="*/ 387775 h 1240128"/>
              <a:gd name="csX150" fmla="*/ 416946 w 697572"/>
              <a:gd name="csY150" fmla="*/ 385943 h 1240128"/>
              <a:gd name="csX151" fmla="*/ 636802 w 697572"/>
              <a:gd name="csY151" fmla="*/ 1190940 h 1240128"/>
              <a:gd name="csX152" fmla="*/ 666492 w 697572"/>
              <a:gd name="csY152" fmla="*/ 1184186 h 1240128"/>
              <a:gd name="csX153" fmla="*/ 674465 w 697572"/>
              <a:gd name="csY153" fmla="*/ 1170880 h 1240128"/>
              <a:gd name="csX154" fmla="*/ 662462 w 697572"/>
              <a:gd name="csY154" fmla="*/ 1141464 h 1240128"/>
              <a:gd name="csX155" fmla="*/ 645564 w 697572"/>
              <a:gd name="csY155" fmla="*/ 1131937 h 1240128"/>
              <a:gd name="csX156" fmla="*/ 627387 w 697572"/>
              <a:gd name="csY156" fmla="*/ 1133618 h 1240128"/>
              <a:gd name="csX157" fmla="*/ 583917 w 697572"/>
              <a:gd name="csY157" fmla="*/ 1139222 h 1240128"/>
              <a:gd name="csX158" fmla="*/ 543741 w 697572"/>
              <a:gd name="csY158" fmla="*/ 1141869 h 1240128"/>
              <a:gd name="csX159" fmla="*/ 512146 w 697572"/>
              <a:gd name="csY159" fmla="*/ 1144418 h 1240128"/>
              <a:gd name="csX160" fmla="*/ 447711 w 697572"/>
              <a:gd name="csY160" fmla="*/ 1148973 h 1240128"/>
              <a:gd name="csX161" fmla="*/ 351979 w 697572"/>
              <a:gd name="csY161" fmla="*/ 1149200 h 1240128"/>
              <a:gd name="csX162" fmla="*/ 338443 w 697572"/>
              <a:gd name="csY162" fmla="*/ 1150040 h 1240128"/>
              <a:gd name="csX163" fmla="*/ 338451 w 697572"/>
              <a:gd name="csY163" fmla="*/ 1190780 h 1240128"/>
              <a:gd name="csX164" fmla="*/ 351082 w 697572"/>
              <a:gd name="csY164" fmla="*/ 1207015 h 1240128"/>
              <a:gd name="csX165" fmla="*/ 358298 w 697572"/>
              <a:gd name="csY165" fmla="*/ 1208094 h 1240128"/>
              <a:gd name="csX166" fmla="*/ 521229 w 697572"/>
              <a:gd name="csY166" fmla="*/ 1205646 h 1240128"/>
              <a:gd name="csX167" fmla="*/ 523675 w 697572"/>
              <a:gd name="csY167" fmla="*/ 1205490 h 1240128"/>
              <a:gd name="csX168" fmla="*/ 580423 w 697572"/>
              <a:gd name="csY168" fmla="*/ 1198350 h 1240128"/>
              <a:gd name="csX169" fmla="*/ 636802 w 697572"/>
              <a:gd name="csY169" fmla="*/ 1190940 h 124012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</a:cxnLst>
            <a:rect l="l" t="t" r="r" b="b"/>
            <a:pathLst>
              <a:path w="697572" h="1240128">
                <a:moveTo>
                  <a:pt x="581793" y="1234401"/>
                </a:moveTo>
                <a:cubicBezTo>
                  <a:pt x="580693" y="1234661"/>
                  <a:pt x="579594" y="1234922"/>
                  <a:pt x="577427" y="1234156"/>
                </a:cubicBezTo>
                <a:cubicBezTo>
                  <a:pt x="571216" y="1227899"/>
                  <a:pt x="564912" y="1230441"/>
                  <a:pt x="559133" y="1230909"/>
                </a:cubicBezTo>
                <a:cubicBezTo>
                  <a:pt x="544971" y="1232056"/>
                  <a:pt x="530869" y="1233971"/>
                  <a:pt x="516706" y="1235117"/>
                </a:cubicBezTo>
                <a:cubicBezTo>
                  <a:pt x="502910" y="1236232"/>
                  <a:pt x="489077" y="1237097"/>
                  <a:pt x="475244" y="1237506"/>
                </a:cubicBezTo>
                <a:cubicBezTo>
                  <a:pt x="440539" y="1238535"/>
                  <a:pt x="405696" y="1241458"/>
                  <a:pt x="371154" y="1239428"/>
                </a:cubicBezTo>
                <a:cubicBezTo>
                  <a:pt x="339645" y="1237575"/>
                  <a:pt x="308239" y="1238753"/>
                  <a:pt x="276813" y="1237654"/>
                </a:cubicBezTo>
                <a:cubicBezTo>
                  <a:pt x="273949" y="1237553"/>
                  <a:pt x="271079" y="1237652"/>
                  <a:pt x="268212" y="1237635"/>
                </a:cubicBezTo>
                <a:cubicBezTo>
                  <a:pt x="266165" y="1237623"/>
                  <a:pt x="264111" y="1237668"/>
                  <a:pt x="262072" y="1237523"/>
                </a:cubicBezTo>
                <a:cubicBezTo>
                  <a:pt x="239751" y="1235944"/>
                  <a:pt x="217441" y="1234201"/>
                  <a:pt x="195111" y="1232775"/>
                </a:cubicBezTo>
                <a:cubicBezTo>
                  <a:pt x="178437" y="1231710"/>
                  <a:pt x="161712" y="1231378"/>
                  <a:pt x="145060" y="1230076"/>
                </a:cubicBezTo>
                <a:cubicBezTo>
                  <a:pt x="134969" y="1229287"/>
                  <a:pt x="124987" y="1227177"/>
                  <a:pt x="114933" y="1225832"/>
                </a:cubicBezTo>
                <a:cubicBezTo>
                  <a:pt x="100834" y="1223946"/>
                  <a:pt x="86554" y="1223022"/>
                  <a:pt x="72642" y="1220237"/>
                </a:cubicBezTo>
                <a:cubicBezTo>
                  <a:pt x="51920" y="1216091"/>
                  <a:pt x="31443" y="1210723"/>
                  <a:pt x="10894" y="1205737"/>
                </a:cubicBezTo>
                <a:cubicBezTo>
                  <a:pt x="9027" y="1205284"/>
                  <a:pt x="6196" y="1204140"/>
                  <a:pt x="5856" y="1202799"/>
                </a:cubicBezTo>
                <a:cubicBezTo>
                  <a:pt x="3474" y="1193418"/>
                  <a:pt x="-438" y="1183796"/>
                  <a:pt x="40" y="1174450"/>
                </a:cubicBezTo>
                <a:cubicBezTo>
                  <a:pt x="1079" y="1154149"/>
                  <a:pt x="9757" y="1135843"/>
                  <a:pt x="19831" y="1118410"/>
                </a:cubicBezTo>
                <a:cubicBezTo>
                  <a:pt x="21968" y="1114713"/>
                  <a:pt x="22970" y="1111858"/>
                  <a:pt x="22004" y="1107240"/>
                </a:cubicBezTo>
                <a:cubicBezTo>
                  <a:pt x="17168" y="1084118"/>
                  <a:pt x="17717" y="1061168"/>
                  <a:pt x="25947" y="1038650"/>
                </a:cubicBezTo>
                <a:cubicBezTo>
                  <a:pt x="32954" y="1019481"/>
                  <a:pt x="44478" y="1003118"/>
                  <a:pt x="58234" y="988567"/>
                </a:cubicBezTo>
                <a:cubicBezTo>
                  <a:pt x="77769" y="967902"/>
                  <a:pt x="97978" y="947832"/>
                  <a:pt x="118645" y="928298"/>
                </a:cubicBezTo>
                <a:cubicBezTo>
                  <a:pt x="130104" y="917467"/>
                  <a:pt x="131835" y="905961"/>
                  <a:pt x="126320" y="892015"/>
                </a:cubicBezTo>
                <a:cubicBezTo>
                  <a:pt x="123798" y="885637"/>
                  <a:pt x="122123" y="878904"/>
                  <a:pt x="120345" y="872258"/>
                </a:cubicBezTo>
                <a:cubicBezTo>
                  <a:pt x="119029" y="867341"/>
                  <a:pt x="120162" y="863613"/>
                  <a:pt x="125668" y="861640"/>
                </a:cubicBezTo>
                <a:cubicBezTo>
                  <a:pt x="135266" y="858201"/>
                  <a:pt x="144535" y="853788"/>
                  <a:pt x="154237" y="850716"/>
                </a:cubicBezTo>
                <a:cubicBezTo>
                  <a:pt x="161882" y="848296"/>
                  <a:pt x="167110" y="843897"/>
                  <a:pt x="170248" y="836767"/>
                </a:cubicBezTo>
                <a:cubicBezTo>
                  <a:pt x="176168" y="823316"/>
                  <a:pt x="182193" y="809907"/>
                  <a:pt x="187840" y="796341"/>
                </a:cubicBezTo>
                <a:cubicBezTo>
                  <a:pt x="195194" y="778679"/>
                  <a:pt x="202250" y="760894"/>
                  <a:pt x="209346" y="743126"/>
                </a:cubicBezTo>
                <a:cubicBezTo>
                  <a:pt x="210083" y="741280"/>
                  <a:pt x="210252" y="739200"/>
                  <a:pt x="210630" y="737219"/>
                </a:cubicBezTo>
                <a:cubicBezTo>
                  <a:pt x="211694" y="731645"/>
                  <a:pt x="212425" y="725987"/>
                  <a:pt x="213836" y="720505"/>
                </a:cubicBezTo>
                <a:cubicBezTo>
                  <a:pt x="218406" y="702764"/>
                  <a:pt x="223811" y="685219"/>
                  <a:pt x="227791" y="667353"/>
                </a:cubicBezTo>
                <a:cubicBezTo>
                  <a:pt x="232826" y="644755"/>
                  <a:pt x="237367" y="622009"/>
                  <a:pt x="241013" y="599151"/>
                </a:cubicBezTo>
                <a:cubicBezTo>
                  <a:pt x="244018" y="580319"/>
                  <a:pt x="246001" y="561272"/>
                  <a:pt x="247322" y="542242"/>
                </a:cubicBezTo>
                <a:cubicBezTo>
                  <a:pt x="248312" y="527975"/>
                  <a:pt x="246344" y="513451"/>
                  <a:pt x="247948" y="499296"/>
                </a:cubicBezTo>
                <a:cubicBezTo>
                  <a:pt x="249066" y="489432"/>
                  <a:pt x="247923" y="480014"/>
                  <a:pt x="247577" y="470384"/>
                </a:cubicBezTo>
                <a:cubicBezTo>
                  <a:pt x="247364" y="464453"/>
                  <a:pt x="245121" y="461397"/>
                  <a:pt x="238877" y="460987"/>
                </a:cubicBezTo>
                <a:cubicBezTo>
                  <a:pt x="233224" y="460615"/>
                  <a:pt x="227461" y="459920"/>
                  <a:pt x="222040" y="458353"/>
                </a:cubicBezTo>
                <a:cubicBezTo>
                  <a:pt x="203991" y="453134"/>
                  <a:pt x="185737" y="448229"/>
                  <a:pt x="172193" y="433714"/>
                </a:cubicBezTo>
                <a:cubicBezTo>
                  <a:pt x="162702" y="423544"/>
                  <a:pt x="160887" y="408134"/>
                  <a:pt x="168410" y="396591"/>
                </a:cubicBezTo>
                <a:cubicBezTo>
                  <a:pt x="178294" y="381428"/>
                  <a:pt x="193736" y="373793"/>
                  <a:pt x="209826" y="367773"/>
                </a:cubicBezTo>
                <a:cubicBezTo>
                  <a:pt x="223159" y="362784"/>
                  <a:pt x="237124" y="359493"/>
                  <a:pt x="250732" y="355208"/>
                </a:cubicBezTo>
                <a:cubicBezTo>
                  <a:pt x="253085" y="354467"/>
                  <a:pt x="255058" y="352518"/>
                  <a:pt x="258289" y="350426"/>
                </a:cubicBezTo>
                <a:cubicBezTo>
                  <a:pt x="250173" y="342610"/>
                  <a:pt x="241833" y="337880"/>
                  <a:pt x="233274" y="333513"/>
                </a:cubicBezTo>
                <a:cubicBezTo>
                  <a:pt x="232377" y="333055"/>
                  <a:pt x="230890" y="333758"/>
                  <a:pt x="229677" y="333922"/>
                </a:cubicBezTo>
                <a:cubicBezTo>
                  <a:pt x="229677" y="333922"/>
                  <a:pt x="230323" y="333834"/>
                  <a:pt x="230149" y="332979"/>
                </a:cubicBezTo>
                <a:cubicBezTo>
                  <a:pt x="229023" y="330409"/>
                  <a:pt x="228502" y="328059"/>
                  <a:pt x="227053" y="327076"/>
                </a:cubicBezTo>
                <a:cubicBezTo>
                  <a:pt x="213615" y="317962"/>
                  <a:pt x="204643" y="305332"/>
                  <a:pt x="196769" y="291380"/>
                </a:cubicBezTo>
                <a:cubicBezTo>
                  <a:pt x="191792" y="282564"/>
                  <a:pt x="185421" y="274665"/>
                  <a:pt x="184389" y="264042"/>
                </a:cubicBezTo>
                <a:cubicBezTo>
                  <a:pt x="184179" y="261874"/>
                  <a:pt x="181925" y="259908"/>
                  <a:pt x="180630" y="257839"/>
                </a:cubicBezTo>
                <a:cubicBezTo>
                  <a:pt x="179137" y="255454"/>
                  <a:pt x="177317" y="253204"/>
                  <a:pt x="176231" y="250643"/>
                </a:cubicBezTo>
                <a:cubicBezTo>
                  <a:pt x="161865" y="216749"/>
                  <a:pt x="159606" y="182060"/>
                  <a:pt x="170073" y="146723"/>
                </a:cubicBezTo>
                <a:cubicBezTo>
                  <a:pt x="173311" y="135795"/>
                  <a:pt x="177248" y="125074"/>
                  <a:pt x="180929" y="114280"/>
                </a:cubicBezTo>
                <a:cubicBezTo>
                  <a:pt x="182396" y="109981"/>
                  <a:pt x="183922" y="105742"/>
                  <a:pt x="180839" y="101501"/>
                </a:cubicBezTo>
                <a:cubicBezTo>
                  <a:pt x="192473" y="75833"/>
                  <a:pt x="211344" y="56271"/>
                  <a:pt x="233536" y="39653"/>
                </a:cubicBezTo>
                <a:cubicBezTo>
                  <a:pt x="267321" y="14353"/>
                  <a:pt x="305621" y="873"/>
                  <a:pt x="347618" y="35"/>
                </a:cubicBezTo>
                <a:cubicBezTo>
                  <a:pt x="379125" y="-593"/>
                  <a:pt x="409214" y="7172"/>
                  <a:pt x="437139" y="22396"/>
                </a:cubicBezTo>
                <a:cubicBezTo>
                  <a:pt x="481844" y="46766"/>
                  <a:pt x="514077" y="82116"/>
                  <a:pt x="529052" y="131093"/>
                </a:cubicBezTo>
                <a:cubicBezTo>
                  <a:pt x="543544" y="178495"/>
                  <a:pt x="541630" y="225548"/>
                  <a:pt x="518497" y="271517"/>
                </a:cubicBezTo>
                <a:cubicBezTo>
                  <a:pt x="511428" y="277096"/>
                  <a:pt x="503848" y="281136"/>
                  <a:pt x="500808" y="287385"/>
                </a:cubicBezTo>
                <a:cubicBezTo>
                  <a:pt x="493932" y="301522"/>
                  <a:pt x="483805" y="312513"/>
                  <a:pt x="472948" y="323290"/>
                </a:cubicBezTo>
                <a:cubicBezTo>
                  <a:pt x="470972" y="325253"/>
                  <a:pt x="470533" y="328767"/>
                  <a:pt x="469385" y="331565"/>
                </a:cubicBezTo>
                <a:cubicBezTo>
                  <a:pt x="469385" y="331565"/>
                  <a:pt x="469172" y="331584"/>
                  <a:pt x="468293" y="331320"/>
                </a:cubicBezTo>
                <a:cubicBezTo>
                  <a:pt x="461937" y="330836"/>
                  <a:pt x="458618" y="332772"/>
                  <a:pt x="459542" y="338942"/>
                </a:cubicBezTo>
                <a:cubicBezTo>
                  <a:pt x="459542" y="338942"/>
                  <a:pt x="459473" y="338913"/>
                  <a:pt x="458492" y="338671"/>
                </a:cubicBezTo>
                <a:cubicBezTo>
                  <a:pt x="450936" y="342653"/>
                  <a:pt x="440712" y="341355"/>
                  <a:pt x="436978" y="352226"/>
                </a:cubicBezTo>
                <a:cubicBezTo>
                  <a:pt x="449178" y="355911"/>
                  <a:pt x="460733" y="359469"/>
                  <a:pt x="472329" y="362890"/>
                </a:cubicBezTo>
                <a:cubicBezTo>
                  <a:pt x="491728" y="368613"/>
                  <a:pt x="510182" y="375784"/>
                  <a:pt x="523779" y="391962"/>
                </a:cubicBezTo>
                <a:cubicBezTo>
                  <a:pt x="535849" y="406326"/>
                  <a:pt x="534845" y="420076"/>
                  <a:pt x="527344" y="430096"/>
                </a:cubicBezTo>
                <a:cubicBezTo>
                  <a:pt x="521323" y="438139"/>
                  <a:pt x="513928" y="445333"/>
                  <a:pt x="504112" y="449628"/>
                </a:cubicBezTo>
                <a:cubicBezTo>
                  <a:pt x="489776" y="455901"/>
                  <a:pt x="475173" y="460486"/>
                  <a:pt x="459430" y="461116"/>
                </a:cubicBezTo>
                <a:cubicBezTo>
                  <a:pt x="448415" y="461557"/>
                  <a:pt x="446384" y="463369"/>
                  <a:pt x="446666" y="474229"/>
                </a:cubicBezTo>
                <a:cubicBezTo>
                  <a:pt x="447164" y="493376"/>
                  <a:pt x="447839" y="512533"/>
                  <a:pt x="449133" y="531639"/>
                </a:cubicBezTo>
                <a:cubicBezTo>
                  <a:pt x="450424" y="550696"/>
                  <a:pt x="451783" y="569809"/>
                  <a:pt x="454546" y="588688"/>
                </a:cubicBezTo>
                <a:cubicBezTo>
                  <a:pt x="457543" y="609164"/>
                  <a:pt x="462165" y="629403"/>
                  <a:pt x="466126" y="649736"/>
                </a:cubicBezTo>
                <a:cubicBezTo>
                  <a:pt x="475845" y="699621"/>
                  <a:pt x="493414" y="746980"/>
                  <a:pt x="512154" y="794006"/>
                </a:cubicBezTo>
                <a:cubicBezTo>
                  <a:pt x="517387" y="807138"/>
                  <a:pt x="525145" y="819463"/>
                  <a:pt x="525763" y="834323"/>
                </a:cubicBezTo>
                <a:cubicBezTo>
                  <a:pt x="525919" y="838081"/>
                  <a:pt x="527739" y="843335"/>
                  <a:pt x="530555" y="845114"/>
                </a:cubicBezTo>
                <a:cubicBezTo>
                  <a:pt x="537981" y="849801"/>
                  <a:pt x="546243" y="853278"/>
                  <a:pt x="554424" y="856618"/>
                </a:cubicBezTo>
                <a:cubicBezTo>
                  <a:pt x="560391" y="859054"/>
                  <a:pt x="567041" y="859887"/>
                  <a:pt x="572880" y="862546"/>
                </a:cubicBezTo>
                <a:cubicBezTo>
                  <a:pt x="581470" y="866458"/>
                  <a:pt x="582467" y="871415"/>
                  <a:pt x="578643" y="880396"/>
                </a:cubicBezTo>
                <a:cubicBezTo>
                  <a:pt x="575969" y="886677"/>
                  <a:pt x="572900" y="893182"/>
                  <a:pt x="572188" y="899820"/>
                </a:cubicBezTo>
                <a:cubicBezTo>
                  <a:pt x="570960" y="911271"/>
                  <a:pt x="576506" y="920944"/>
                  <a:pt x="582698" y="930382"/>
                </a:cubicBezTo>
                <a:cubicBezTo>
                  <a:pt x="589569" y="940856"/>
                  <a:pt x="600933" y="947930"/>
                  <a:pt x="604747" y="960852"/>
                </a:cubicBezTo>
                <a:cubicBezTo>
                  <a:pt x="605684" y="964030"/>
                  <a:pt x="610294" y="967128"/>
                  <a:pt x="613863" y="968311"/>
                </a:cubicBezTo>
                <a:cubicBezTo>
                  <a:pt x="620963" y="970665"/>
                  <a:pt x="625924" y="974774"/>
                  <a:pt x="629435" y="981186"/>
                </a:cubicBezTo>
                <a:cubicBezTo>
                  <a:pt x="630381" y="982913"/>
                  <a:pt x="631977" y="984459"/>
                  <a:pt x="633611" y="985609"/>
                </a:cubicBezTo>
                <a:cubicBezTo>
                  <a:pt x="655878" y="1001272"/>
                  <a:pt x="668032" y="1023762"/>
                  <a:pt x="673790" y="1049348"/>
                </a:cubicBezTo>
                <a:cubicBezTo>
                  <a:pt x="676936" y="1063327"/>
                  <a:pt x="679769" y="1077802"/>
                  <a:pt x="675873" y="1092839"/>
                </a:cubicBezTo>
                <a:cubicBezTo>
                  <a:pt x="672677" y="1105174"/>
                  <a:pt x="673042" y="1116963"/>
                  <a:pt x="681668" y="1129292"/>
                </a:cubicBezTo>
                <a:cubicBezTo>
                  <a:pt x="695321" y="1148802"/>
                  <a:pt x="698550" y="1172235"/>
                  <a:pt x="697338" y="1196079"/>
                </a:cubicBezTo>
                <a:cubicBezTo>
                  <a:pt x="697087" y="1201014"/>
                  <a:pt x="694979" y="1203886"/>
                  <a:pt x="690637" y="1205035"/>
                </a:cubicBezTo>
                <a:cubicBezTo>
                  <a:pt x="673723" y="1209511"/>
                  <a:pt x="656856" y="1214241"/>
                  <a:pt x="639777" y="1217994"/>
                </a:cubicBezTo>
                <a:cubicBezTo>
                  <a:pt x="622334" y="1221827"/>
                  <a:pt x="604691" y="1224790"/>
                  <a:pt x="587072" y="1227761"/>
                </a:cubicBezTo>
                <a:cubicBezTo>
                  <a:pt x="582708" y="1228497"/>
                  <a:pt x="581724" y="1230736"/>
                  <a:pt x="581793" y="1234401"/>
                </a:cubicBezTo>
                <a:moveTo>
                  <a:pt x="357446" y="903795"/>
                </a:moveTo>
                <a:cubicBezTo>
                  <a:pt x="353141" y="903795"/>
                  <a:pt x="348835" y="903795"/>
                  <a:pt x="344445" y="903795"/>
                </a:cubicBezTo>
                <a:cubicBezTo>
                  <a:pt x="346169" y="920562"/>
                  <a:pt x="347908" y="935520"/>
                  <a:pt x="349212" y="950515"/>
                </a:cubicBezTo>
                <a:cubicBezTo>
                  <a:pt x="352656" y="990125"/>
                  <a:pt x="351941" y="1029743"/>
                  <a:pt x="349538" y="1069392"/>
                </a:cubicBezTo>
                <a:cubicBezTo>
                  <a:pt x="348759" y="1082241"/>
                  <a:pt x="349415" y="1095176"/>
                  <a:pt x="349415" y="1108925"/>
                </a:cubicBezTo>
                <a:cubicBezTo>
                  <a:pt x="449467" y="1111953"/>
                  <a:pt x="548509" y="1104712"/>
                  <a:pt x="647726" y="1089872"/>
                </a:cubicBezTo>
                <a:cubicBezTo>
                  <a:pt x="647726" y="1084313"/>
                  <a:pt x="648180" y="1080225"/>
                  <a:pt x="647654" y="1076267"/>
                </a:cubicBezTo>
                <a:cubicBezTo>
                  <a:pt x="643515" y="1045124"/>
                  <a:pt x="633172" y="1016714"/>
                  <a:pt x="610267" y="994126"/>
                </a:cubicBezTo>
                <a:cubicBezTo>
                  <a:pt x="597451" y="981485"/>
                  <a:pt x="584392" y="969090"/>
                  <a:pt x="571459" y="956568"/>
                </a:cubicBezTo>
                <a:cubicBezTo>
                  <a:pt x="555751" y="941359"/>
                  <a:pt x="544836" y="923558"/>
                  <a:pt x="541653" y="901544"/>
                </a:cubicBezTo>
                <a:cubicBezTo>
                  <a:pt x="541430" y="900007"/>
                  <a:pt x="540528" y="898570"/>
                  <a:pt x="539477" y="895908"/>
                </a:cubicBezTo>
                <a:cubicBezTo>
                  <a:pt x="479736" y="901652"/>
                  <a:pt x="419815" y="904536"/>
                  <a:pt x="357446" y="903795"/>
                </a:cubicBezTo>
                <a:moveTo>
                  <a:pt x="300108" y="85260"/>
                </a:moveTo>
                <a:cubicBezTo>
                  <a:pt x="293656" y="98745"/>
                  <a:pt x="289202" y="113094"/>
                  <a:pt x="290213" y="127888"/>
                </a:cubicBezTo>
                <a:cubicBezTo>
                  <a:pt x="292527" y="161736"/>
                  <a:pt x="304185" y="191723"/>
                  <a:pt x="331056" y="214168"/>
                </a:cubicBezTo>
                <a:cubicBezTo>
                  <a:pt x="358172" y="236816"/>
                  <a:pt x="388435" y="249934"/>
                  <a:pt x="424717" y="245160"/>
                </a:cubicBezTo>
                <a:cubicBezTo>
                  <a:pt x="468593" y="239387"/>
                  <a:pt x="509574" y="203365"/>
                  <a:pt x="496752" y="141256"/>
                </a:cubicBezTo>
                <a:cubicBezTo>
                  <a:pt x="487021" y="94124"/>
                  <a:pt x="447261" y="51874"/>
                  <a:pt x="390320" y="43995"/>
                </a:cubicBezTo>
                <a:cubicBezTo>
                  <a:pt x="353241" y="38865"/>
                  <a:pt x="321136" y="48750"/>
                  <a:pt x="300108" y="85260"/>
                </a:cubicBezTo>
                <a:moveTo>
                  <a:pt x="343360" y="634332"/>
                </a:moveTo>
                <a:cubicBezTo>
                  <a:pt x="342539" y="666975"/>
                  <a:pt x="341785" y="699619"/>
                  <a:pt x="340877" y="732259"/>
                </a:cubicBezTo>
                <a:cubicBezTo>
                  <a:pt x="340151" y="758355"/>
                  <a:pt x="339265" y="784447"/>
                  <a:pt x="338360" y="810538"/>
                </a:cubicBezTo>
                <a:cubicBezTo>
                  <a:pt x="338277" y="812948"/>
                  <a:pt x="337465" y="815325"/>
                  <a:pt x="337115" y="817736"/>
                </a:cubicBezTo>
                <a:cubicBezTo>
                  <a:pt x="334935" y="832710"/>
                  <a:pt x="336026" y="847647"/>
                  <a:pt x="336516" y="863022"/>
                </a:cubicBezTo>
                <a:cubicBezTo>
                  <a:pt x="339537" y="863479"/>
                  <a:pt x="341490" y="864053"/>
                  <a:pt x="343436" y="864027"/>
                </a:cubicBezTo>
                <a:cubicBezTo>
                  <a:pt x="364531" y="863739"/>
                  <a:pt x="385626" y="863422"/>
                  <a:pt x="406718" y="862982"/>
                </a:cubicBezTo>
                <a:cubicBezTo>
                  <a:pt x="423444" y="862634"/>
                  <a:pt x="440168" y="861675"/>
                  <a:pt x="456888" y="861794"/>
                </a:cubicBezTo>
                <a:cubicBezTo>
                  <a:pt x="469887" y="861886"/>
                  <a:pt x="482872" y="863302"/>
                  <a:pt x="495873" y="863963"/>
                </a:cubicBezTo>
                <a:cubicBezTo>
                  <a:pt x="500358" y="864191"/>
                  <a:pt x="505108" y="864773"/>
                  <a:pt x="509286" y="863595"/>
                </a:cubicBezTo>
                <a:cubicBezTo>
                  <a:pt x="512346" y="862732"/>
                  <a:pt x="515714" y="859703"/>
                  <a:pt x="516956" y="856791"/>
                </a:cubicBezTo>
                <a:cubicBezTo>
                  <a:pt x="517783" y="854851"/>
                  <a:pt x="515475" y="851192"/>
                  <a:pt x="513920" y="848709"/>
                </a:cubicBezTo>
                <a:cubicBezTo>
                  <a:pt x="511791" y="845308"/>
                  <a:pt x="508393" y="842606"/>
                  <a:pt x="506683" y="839054"/>
                </a:cubicBezTo>
                <a:cubicBezTo>
                  <a:pt x="500331" y="825864"/>
                  <a:pt x="493224" y="812855"/>
                  <a:pt x="488629" y="799037"/>
                </a:cubicBezTo>
                <a:cubicBezTo>
                  <a:pt x="477322" y="765031"/>
                  <a:pt x="466537" y="730814"/>
                  <a:pt x="456922" y="696297"/>
                </a:cubicBezTo>
                <a:cubicBezTo>
                  <a:pt x="449953" y="671276"/>
                  <a:pt x="443477" y="646020"/>
                  <a:pt x="441346" y="619885"/>
                </a:cubicBezTo>
                <a:cubicBezTo>
                  <a:pt x="440327" y="607371"/>
                  <a:pt x="437466" y="595018"/>
                  <a:pt x="435963" y="582529"/>
                </a:cubicBezTo>
                <a:cubicBezTo>
                  <a:pt x="433539" y="562380"/>
                  <a:pt x="431154" y="542212"/>
                  <a:pt x="429497" y="521990"/>
                </a:cubicBezTo>
                <a:cubicBezTo>
                  <a:pt x="428135" y="505363"/>
                  <a:pt x="428437" y="488593"/>
                  <a:pt x="426887" y="471989"/>
                </a:cubicBezTo>
                <a:cubicBezTo>
                  <a:pt x="425874" y="461140"/>
                  <a:pt x="424983" y="461120"/>
                  <a:pt x="413744" y="461077"/>
                </a:cubicBezTo>
                <a:cubicBezTo>
                  <a:pt x="393687" y="461000"/>
                  <a:pt x="373630" y="461011"/>
                  <a:pt x="353573" y="461120"/>
                </a:cubicBezTo>
                <a:cubicBezTo>
                  <a:pt x="350472" y="461137"/>
                  <a:pt x="347374" y="461869"/>
                  <a:pt x="344160" y="462286"/>
                </a:cubicBezTo>
                <a:cubicBezTo>
                  <a:pt x="343828" y="465198"/>
                  <a:pt x="343406" y="467195"/>
                  <a:pt x="343404" y="469192"/>
                </a:cubicBezTo>
                <a:cubicBezTo>
                  <a:pt x="343360" y="504394"/>
                  <a:pt x="343267" y="539596"/>
                  <a:pt x="343469" y="574797"/>
                </a:cubicBezTo>
                <a:cubicBezTo>
                  <a:pt x="343501" y="580426"/>
                  <a:pt x="345652" y="586065"/>
                  <a:pt x="345522" y="591669"/>
                </a:cubicBezTo>
                <a:cubicBezTo>
                  <a:pt x="345214" y="605082"/>
                  <a:pt x="344131" y="618478"/>
                  <a:pt x="343360" y="634332"/>
                </a:cubicBezTo>
                <a:moveTo>
                  <a:pt x="416946" y="385943"/>
                </a:moveTo>
                <a:cubicBezTo>
                  <a:pt x="411661" y="386365"/>
                  <a:pt x="406384" y="387006"/>
                  <a:pt x="401091" y="387162"/>
                </a:cubicBezTo>
                <a:cubicBezTo>
                  <a:pt x="390470" y="387477"/>
                  <a:pt x="379841" y="387447"/>
                  <a:pt x="369218" y="387708"/>
                </a:cubicBezTo>
                <a:cubicBezTo>
                  <a:pt x="361167" y="387906"/>
                  <a:pt x="354429" y="391368"/>
                  <a:pt x="351833" y="398991"/>
                </a:cubicBezTo>
                <a:cubicBezTo>
                  <a:pt x="348989" y="407342"/>
                  <a:pt x="347050" y="416214"/>
                  <a:pt x="349778" y="426021"/>
                </a:cubicBezTo>
                <a:cubicBezTo>
                  <a:pt x="353876" y="426204"/>
                  <a:pt x="357857" y="426517"/>
                  <a:pt x="361839" y="426538"/>
                </a:cubicBezTo>
                <a:cubicBezTo>
                  <a:pt x="392900" y="426701"/>
                  <a:pt x="423961" y="426826"/>
                  <a:pt x="455022" y="426922"/>
                </a:cubicBezTo>
                <a:cubicBezTo>
                  <a:pt x="464013" y="426950"/>
                  <a:pt x="473106" y="427654"/>
                  <a:pt x="481958" y="426527"/>
                </a:cubicBezTo>
                <a:cubicBezTo>
                  <a:pt x="488144" y="425740"/>
                  <a:pt x="494821" y="423501"/>
                  <a:pt x="499817" y="419888"/>
                </a:cubicBezTo>
                <a:cubicBezTo>
                  <a:pt x="507869" y="414066"/>
                  <a:pt x="507286" y="406755"/>
                  <a:pt x="499439" y="400719"/>
                </a:cubicBezTo>
                <a:cubicBezTo>
                  <a:pt x="490179" y="393597"/>
                  <a:pt x="479486" y="388885"/>
                  <a:pt x="468062" y="387775"/>
                </a:cubicBezTo>
                <a:cubicBezTo>
                  <a:pt x="451873" y="386202"/>
                  <a:pt x="435520" y="386321"/>
                  <a:pt x="416946" y="385943"/>
                </a:cubicBezTo>
                <a:moveTo>
                  <a:pt x="636802" y="1190940"/>
                </a:moveTo>
                <a:cubicBezTo>
                  <a:pt x="646709" y="1188723"/>
                  <a:pt x="656705" y="1186841"/>
                  <a:pt x="666492" y="1184186"/>
                </a:cubicBezTo>
                <a:cubicBezTo>
                  <a:pt x="674710" y="1181958"/>
                  <a:pt x="676989" y="1178509"/>
                  <a:pt x="674465" y="1170880"/>
                </a:cubicBezTo>
                <a:cubicBezTo>
                  <a:pt x="671144" y="1160843"/>
                  <a:pt x="667026" y="1151009"/>
                  <a:pt x="662462" y="1141464"/>
                </a:cubicBezTo>
                <a:cubicBezTo>
                  <a:pt x="659273" y="1134795"/>
                  <a:pt x="653671" y="1130908"/>
                  <a:pt x="645564" y="1131937"/>
                </a:cubicBezTo>
                <a:cubicBezTo>
                  <a:pt x="639532" y="1132703"/>
                  <a:pt x="633423" y="1132867"/>
                  <a:pt x="627387" y="1133618"/>
                </a:cubicBezTo>
                <a:cubicBezTo>
                  <a:pt x="612888" y="1135421"/>
                  <a:pt x="598449" y="1137770"/>
                  <a:pt x="583917" y="1139222"/>
                </a:cubicBezTo>
                <a:cubicBezTo>
                  <a:pt x="570571" y="1140557"/>
                  <a:pt x="557130" y="1140930"/>
                  <a:pt x="543741" y="1141869"/>
                </a:cubicBezTo>
                <a:cubicBezTo>
                  <a:pt x="533202" y="1142610"/>
                  <a:pt x="522682" y="1143623"/>
                  <a:pt x="512146" y="1144418"/>
                </a:cubicBezTo>
                <a:cubicBezTo>
                  <a:pt x="490671" y="1146038"/>
                  <a:pt x="469214" y="1148450"/>
                  <a:pt x="447711" y="1148973"/>
                </a:cubicBezTo>
                <a:cubicBezTo>
                  <a:pt x="415817" y="1149749"/>
                  <a:pt x="383891" y="1149136"/>
                  <a:pt x="351979" y="1149200"/>
                </a:cubicBezTo>
                <a:cubicBezTo>
                  <a:pt x="347698" y="1149209"/>
                  <a:pt x="343419" y="1149717"/>
                  <a:pt x="338443" y="1150040"/>
                </a:cubicBezTo>
                <a:cubicBezTo>
                  <a:pt x="338443" y="1164651"/>
                  <a:pt x="338413" y="1177715"/>
                  <a:pt x="338451" y="1190780"/>
                </a:cubicBezTo>
                <a:cubicBezTo>
                  <a:pt x="338490" y="1204031"/>
                  <a:pt x="338512" y="1204062"/>
                  <a:pt x="351082" y="1207015"/>
                </a:cubicBezTo>
                <a:cubicBezTo>
                  <a:pt x="353445" y="1207570"/>
                  <a:pt x="355895" y="1208128"/>
                  <a:pt x="358298" y="1208094"/>
                </a:cubicBezTo>
                <a:cubicBezTo>
                  <a:pt x="412608" y="1207329"/>
                  <a:pt x="466919" y="1206484"/>
                  <a:pt x="521229" y="1205646"/>
                </a:cubicBezTo>
                <a:cubicBezTo>
                  <a:pt x="522045" y="1205634"/>
                  <a:pt x="522865" y="1205591"/>
                  <a:pt x="523675" y="1205490"/>
                </a:cubicBezTo>
                <a:cubicBezTo>
                  <a:pt x="542593" y="1203123"/>
                  <a:pt x="561519" y="1200820"/>
                  <a:pt x="580423" y="1198350"/>
                </a:cubicBezTo>
                <a:cubicBezTo>
                  <a:pt x="598523" y="1195985"/>
                  <a:pt x="616599" y="1193446"/>
                  <a:pt x="636802" y="1190940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740" name="Free-form: Shape 7739">
            <a:extLst>
              <a:ext uri="{FF2B5EF4-FFF2-40B4-BE49-F238E27FC236}">
                <a16:creationId xmlns:a16="http://schemas.microsoft.com/office/drawing/2014/main" id="{BEE6D2C4-B4E2-1A4D-15BE-2628082CCEFC}"/>
              </a:ext>
            </a:extLst>
          </p:cNvPr>
          <p:cNvSpPr/>
          <p:nvPr/>
        </p:nvSpPr>
        <p:spPr>
          <a:xfrm>
            <a:off x="2578573" y="5044401"/>
            <a:ext cx="18245" cy="1928"/>
          </a:xfrm>
          <a:custGeom>
            <a:avLst/>
            <a:gdLst>
              <a:gd name="csX0" fmla="*/ 0 w 27674"/>
              <a:gd name="csY0" fmla="*/ 2915 h 2925"/>
              <a:gd name="csX1" fmla="*/ 27675 w 27674"/>
              <a:gd name="csY1" fmla="*/ 1550 h 2925"/>
              <a:gd name="csX2" fmla="*/ 0 w 27674"/>
              <a:gd name="csY2" fmla="*/ 2915 h 292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27674" h="2925">
                <a:moveTo>
                  <a:pt x="0" y="2915"/>
                </a:moveTo>
                <a:cubicBezTo>
                  <a:pt x="8211" y="-1939"/>
                  <a:pt x="17625" y="498"/>
                  <a:pt x="27675" y="1550"/>
                </a:cubicBezTo>
                <a:cubicBezTo>
                  <a:pt x="19225" y="2593"/>
                  <a:pt x="10029" y="2999"/>
                  <a:pt x="0" y="2915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741" name="Free-form: Shape 7740">
            <a:extLst>
              <a:ext uri="{FF2B5EF4-FFF2-40B4-BE49-F238E27FC236}">
                <a16:creationId xmlns:a16="http://schemas.microsoft.com/office/drawing/2014/main" id="{F7802628-2A6B-1166-D5DA-40EC380D2551}"/>
              </a:ext>
            </a:extLst>
          </p:cNvPr>
          <p:cNvSpPr/>
          <p:nvPr/>
        </p:nvSpPr>
        <p:spPr>
          <a:xfrm>
            <a:off x="2528345" y="5045488"/>
            <a:ext cx="11869" cy="744"/>
          </a:xfrm>
          <a:custGeom>
            <a:avLst/>
            <a:gdLst>
              <a:gd name="csX0" fmla="*/ 0 w 18003"/>
              <a:gd name="csY0" fmla="*/ 1050 h 1128"/>
              <a:gd name="csX1" fmla="*/ 18004 w 18003"/>
              <a:gd name="csY1" fmla="*/ 93 h 1128"/>
              <a:gd name="csX2" fmla="*/ 0 w 18003"/>
              <a:gd name="csY2" fmla="*/ 1050 h 112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8003" h="1128">
                <a:moveTo>
                  <a:pt x="0" y="1050"/>
                </a:moveTo>
                <a:cubicBezTo>
                  <a:pt x="5276" y="182"/>
                  <a:pt x="11306" y="-189"/>
                  <a:pt x="18004" y="93"/>
                </a:cubicBezTo>
                <a:cubicBezTo>
                  <a:pt x="12699" y="1013"/>
                  <a:pt x="6726" y="1280"/>
                  <a:pt x="0" y="1050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742" name="Free-form: Shape 7741">
            <a:extLst>
              <a:ext uri="{FF2B5EF4-FFF2-40B4-BE49-F238E27FC236}">
                <a16:creationId xmlns:a16="http://schemas.microsoft.com/office/drawing/2014/main" id="{C2B44D0E-1085-EEFA-E99D-1D15D6CFCB48}"/>
              </a:ext>
            </a:extLst>
          </p:cNvPr>
          <p:cNvSpPr/>
          <p:nvPr/>
        </p:nvSpPr>
        <p:spPr>
          <a:xfrm>
            <a:off x="2614316" y="4443662"/>
            <a:ext cx="5582" cy="5168"/>
          </a:xfrm>
          <a:custGeom>
            <a:avLst/>
            <a:gdLst>
              <a:gd name="csX0" fmla="*/ 473 w 8466"/>
              <a:gd name="csY0" fmla="*/ 7839 h 7838"/>
              <a:gd name="csX1" fmla="*/ 8466 w 8466"/>
              <a:gd name="csY1" fmla="*/ 61 h 7838"/>
              <a:gd name="csX2" fmla="*/ 473 w 8466"/>
              <a:gd name="csY2" fmla="*/ 7839 h 783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66" h="7838">
                <a:moveTo>
                  <a:pt x="473" y="7839"/>
                </a:moveTo>
                <a:cubicBezTo>
                  <a:pt x="-1298" y="1550"/>
                  <a:pt x="2020" y="-386"/>
                  <a:pt x="8466" y="61"/>
                </a:cubicBezTo>
                <a:cubicBezTo>
                  <a:pt x="6730" y="2845"/>
                  <a:pt x="4026" y="5401"/>
                  <a:pt x="473" y="7839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743" name="Free-form: Shape 7742">
            <a:extLst>
              <a:ext uri="{FF2B5EF4-FFF2-40B4-BE49-F238E27FC236}">
                <a16:creationId xmlns:a16="http://schemas.microsoft.com/office/drawing/2014/main" id="{4CB36D64-D1BD-2D75-3BF4-9837F65BFF12}"/>
              </a:ext>
            </a:extLst>
          </p:cNvPr>
          <p:cNvSpPr/>
          <p:nvPr/>
        </p:nvSpPr>
        <p:spPr>
          <a:xfrm>
            <a:off x="2469916" y="5043880"/>
            <a:ext cx="5591" cy="657"/>
          </a:xfrm>
          <a:custGeom>
            <a:avLst/>
            <a:gdLst>
              <a:gd name="csX0" fmla="*/ 0 w 8480"/>
              <a:gd name="csY0" fmla="*/ 896 h 996"/>
              <a:gd name="csX1" fmla="*/ 8480 w 8480"/>
              <a:gd name="csY1" fmla="*/ 110 h 996"/>
              <a:gd name="csX2" fmla="*/ 0 w 8480"/>
              <a:gd name="csY2" fmla="*/ 896 h 99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80" h="996">
                <a:moveTo>
                  <a:pt x="0" y="896"/>
                </a:moveTo>
                <a:cubicBezTo>
                  <a:pt x="2285" y="115"/>
                  <a:pt x="5130" y="-182"/>
                  <a:pt x="8480" y="110"/>
                </a:cubicBezTo>
                <a:cubicBezTo>
                  <a:pt x="6177" y="927"/>
                  <a:pt x="3368" y="1153"/>
                  <a:pt x="0" y="896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744" name="Free-form: Shape 7743">
            <a:extLst>
              <a:ext uri="{FF2B5EF4-FFF2-40B4-BE49-F238E27FC236}">
                <a16:creationId xmlns:a16="http://schemas.microsoft.com/office/drawing/2014/main" id="{5FDF48C3-4D52-8184-A519-2C11D0B52726}"/>
              </a:ext>
            </a:extLst>
          </p:cNvPr>
          <p:cNvSpPr/>
          <p:nvPr/>
        </p:nvSpPr>
        <p:spPr>
          <a:xfrm>
            <a:off x="2774398" y="5015713"/>
            <a:ext cx="810" cy="4390"/>
          </a:xfrm>
          <a:custGeom>
            <a:avLst/>
            <a:gdLst>
              <a:gd name="csX0" fmla="*/ 132 w 1229"/>
              <a:gd name="csY0" fmla="*/ 6659 h 6658"/>
              <a:gd name="csX1" fmla="*/ 1107 w 1229"/>
              <a:gd name="csY1" fmla="*/ 0 h 6658"/>
              <a:gd name="csX2" fmla="*/ 132 w 1229"/>
              <a:gd name="csY2" fmla="*/ 6659 h 665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229" h="6658">
                <a:moveTo>
                  <a:pt x="132" y="6659"/>
                </a:moveTo>
                <a:cubicBezTo>
                  <a:pt x="-219" y="4616"/>
                  <a:pt x="139" y="2560"/>
                  <a:pt x="1107" y="0"/>
                </a:cubicBezTo>
                <a:cubicBezTo>
                  <a:pt x="1425" y="1879"/>
                  <a:pt x="1133" y="4263"/>
                  <a:pt x="132" y="6659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745" name="Free-form: Shape 7744">
            <a:extLst>
              <a:ext uri="{FF2B5EF4-FFF2-40B4-BE49-F238E27FC236}">
                <a16:creationId xmlns:a16="http://schemas.microsoft.com/office/drawing/2014/main" id="{0E7431EA-AB90-BB2C-0C3C-0443D666497A}"/>
              </a:ext>
            </a:extLst>
          </p:cNvPr>
          <p:cNvSpPr/>
          <p:nvPr/>
        </p:nvSpPr>
        <p:spPr>
          <a:xfrm>
            <a:off x="2703049" y="5037243"/>
            <a:ext cx="2497" cy="899"/>
          </a:xfrm>
          <a:custGeom>
            <a:avLst/>
            <a:gdLst>
              <a:gd name="csX0" fmla="*/ 0 w 3788"/>
              <a:gd name="csY0" fmla="*/ 1364 h 1364"/>
              <a:gd name="csX1" fmla="*/ 3788 w 3788"/>
              <a:gd name="csY1" fmla="*/ 0 h 1364"/>
              <a:gd name="csX2" fmla="*/ 0 w 3788"/>
              <a:gd name="csY2" fmla="*/ 1364 h 136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788" h="1364">
                <a:moveTo>
                  <a:pt x="0" y="1364"/>
                </a:moveTo>
                <a:cubicBezTo>
                  <a:pt x="856" y="517"/>
                  <a:pt x="2126" y="39"/>
                  <a:pt x="3788" y="0"/>
                </a:cubicBezTo>
                <a:cubicBezTo>
                  <a:pt x="2925" y="870"/>
                  <a:pt x="1670" y="1303"/>
                  <a:pt x="0" y="1364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746" name="Free-form: Shape 7745">
            <a:extLst>
              <a:ext uri="{FF2B5EF4-FFF2-40B4-BE49-F238E27FC236}">
                <a16:creationId xmlns:a16="http://schemas.microsoft.com/office/drawing/2014/main" id="{CEE71DE5-6CB1-C495-5E0A-75098D60411F}"/>
              </a:ext>
            </a:extLst>
          </p:cNvPr>
          <p:cNvSpPr/>
          <p:nvPr/>
        </p:nvSpPr>
        <p:spPr>
          <a:xfrm>
            <a:off x="2414683" y="5040718"/>
            <a:ext cx="2631" cy="547"/>
          </a:xfrm>
          <a:custGeom>
            <a:avLst/>
            <a:gdLst>
              <a:gd name="csX0" fmla="*/ 0 w 3990"/>
              <a:gd name="csY0" fmla="*/ 719 h 829"/>
              <a:gd name="csX1" fmla="*/ 3990 w 3990"/>
              <a:gd name="csY1" fmla="*/ 119 h 829"/>
              <a:gd name="csX2" fmla="*/ 0 w 3990"/>
              <a:gd name="csY2" fmla="*/ 719 h 82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990" h="829">
                <a:moveTo>
                  <a:pt x="0" y="719"/>
                </a:moveTo>
                <a:cubicBezTo>
                  <a:pt x="982" y="66"/>
                  <a:pt x="2323" y="-163"/>
                  <a:pt x="3990" y="119"/>
                </a:cubicBezTo>
                <a:cubicBezTo>
                  <a:pt x="2998" y="800"/>
                  <a:pt x="1678" y="972"/>
                  <a:pt x="0" y="719"/>
                </a:cubicBezTo>
                <a:close/>
              </a:path>
            </a:pathLst>
          </a:custGeom>
          <a:solidFill>
            <a:srgbClr val="959DA0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747" name="Free-form: Shape 7746">
            <a:extLst>
              <a:ext uri="{FF2B5EF4-FFF2-40B4-BE49-F238E27FC236}">
                <a16:creationId xmlns:a16="http://schemas.microsoft.com/office/drawing/2014/main" id="{317C2083-263B-AD31-93CF-5F4863DBE0D6}"/>
              </a:ext>
            </a:extLst>
          </p:cNvPr>
          <p:cNvSpPr/>
          <p:nvPr/>
        </p:nvSpPr>
        <p:spPr>
          <a:xfrm>
            <a:off x="2638243" y="5043857"/>
            <a:ext cx="2567" cy="748"/>
          </a:xfrm>
          <a:custGeom>
            <a:avLst/>
            <a:gdLst>
              <a:gd name="csX0" fmla="*/ 0 w 3893"/>
              <a:gd name="csY0" fmla="*/ 1133 h 1135"/>
              <a:gd name="csX1" fmla="*/ 3893 w 3893"/>
              <a:gd name="csY1" fmla="*/ 7 h 1135"/>
              <a:gd name="csX2" fmla="*/ 0 w 3893"/>
              <a:gd name="csY2" fmla="*/ 1133 h 113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893" h="1135">
                <a:moveTo>
                  <a:pt x="0" y="1133"/>
                </a:moveTo>
                <a:cubicBezTo>
                  <a:pt x="902" y="349"/>
                  <a:pt x="2213" y="-60"/>
                  <a:pt x="3893" y="7"/>
                </a:cubicBezTo>
                <a:cubicBezTo>
                  <a:pt x="2978" y="825"/>
                  <a:pt x="1693" y="1167"/>
                  <a:pt x="0" y="1133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748" name="Free-form: Shape 7747">
            <a:extLst>
              <a:ext uri="{FF2B5EF4-FFF2-40B4-BE49-F238E27FC236}">
                <a16:creationId xmlns:a16="http://schemas.microsoft.com/office/drawing/2014/main" id="{E2ADBE6F-E144-76C1-ADC8-65D48E2440DD}"/>
              </a:ext>
            </a:extLst>
          </p:cNvPr>
          <p:cNvSpPr/>
          <p:nvPr/>
        </p:nvSpPr>
        <p:spPr>
          <a:xfrm>
            <a:off x="2532491" y="4529242"/>
            <a:ext cx="119545" cy="265881"/>
          </a:xfrm>
          <a:custGeom>
            <a:avLst/>
            <a:gdLst>
              <a:gd name="csX0" fmla="*/ 7554 w 181323"/>
              <a:gd name="csY0" fmla="*/ 172079 h 403282"/>
              <a:gd name="csX1" fmla="*/ 9716 w 181323"/>
              <a:gd name="csY1" fmla="*/ 130641 h 403282"/>
              <a:gd name="csX2" fmla="*/ 7663 w 181323"/>
              <a:gd name="csY2" fmla="*/ 113770 h 403282"/>
              <a:gd name="csX3" fmla="*/ 7598 w 181323"/>
              <a:gd name="csY3" fmla="*/ 8165 h 403282"/>
              <a:gd name="csX4" fmla="*/ 8353 w 181323"/>
              <a:gd name="csY4" fmla="*/ 1259 h 403282"/>
              <a:gd name="csX5" fmla="*/ 17767 w 181323"/>
              <a:gd name="csY5" fmla="*/ 93 h 403282"/>
              <a:gd name="csX6" fmla="*/ 77938 w 181323"/>
              <a:gd name="csY6" fmla="*/ 50 h 403282"/>
              <a:gd name="csX7" fmla="*/ 91081 w 181323"/>
              <a:gd name="csY7" fmla="*/ 10962 h 403282"/>
              <a:gd name="csX8" fmla="*/ 93691 w 181323"/>
              <a:gd name="csY8" fmla="*/ 60963 h 403282"/>
              <a:gd name="csX9" fmla="*/ 100157 w 181323"/>
              <a:gd name="csY9" fmla="*/ 121501 h 403282"/>
              <a:gd name="csX10" fmla="*/ 105540 w 181323"/>
              <a:gd name="csY10" fmla="*/ 158857 h 403282"/>
              <a:gd name="csX11" fmla="*/ 121116 w 181323"/>
              <a:gd name="csY11" fmla="*/ 235269 h 403282"/>
              <a:gd name="csX12" fmla="*/ 152823 w 181323"/>
              <a:gd name="csY12" fmla="*/ 338010 h 403282"/>
              <a:gd name="csX13" fmla="*/ 170877 w 181323"/>
              <a:gd name="csY13" fmla="*/ 378027 h 403282"/>
              <a:gd name="csX14" fmla="*/ 178114 w 181323"/>
              <a:gd name="csY14" fmla="*/ 387682 h 403282"/>
              <a:gd name="csX15" fmla="*/ 181150 w 181323"/>
              <a:gd name="csY15" fmla="*/ 395764 h 403282"/>
              <a:gd name="csX16" fmla="*/ 173480 w 181323"/>
              <a:gd name="csY16" fmla="*/ 402568 h 403282"/>
              <a:gd name="csX17" fmla="*/ 160067 w 181323"/>
              <a:gd name="csY17" fmla="*/ 402936 h 403282"/>
              <a:gd name="csX18" fmla="*/ 121081 w 181323"/>
              <a:gd name="csY18" fmla="*/ 400766 h 403282"/>
              <a:gd name="csX19" fmla="*/ 70912 w 181323"/>
              <a:gd name="csY19" fmla="*/ 401955 h 403282"/>
              <a:gd name="csX20" fmla="*/ 7630 w 181323"/>
              <a:gd name="csY20" fmla="*/ 402999 h 403282"/>
              <a:gd name="csX21" fmla="*/ 710 w 181323"/>
              <a:gd name="csY21" fmla="*/ 401995 h 403282"/>
              <a:gd name="csX22" fmla="*/ 1308 w 181323"/>
              <a:gd name="csY22" fmla="*/ 356708 h 403282"/>
              <a:gd name="csX23" fmla="*/ 2554 w 181323"/>
              <a:gd name="csY23" fmla="*/ 349510 h 403282"/>
              <a:gd name="csX24" fmla="*/ 5071 w 181323"/>
              <a:gd name="csY24" fmla="*/ 271231 h 403282"/>
              <a:gd name="csX25" fmla="*/ 7554 w 181323"/>
              <a:gd name="csY25" fmla="*/ 172079 h 403282"/>
              <a:gd name="csX26" fmla="*/ 98286 w 181323"/>
              <a:gd name="csY26" fmla="*/ 163566 h 403282"/>
              <a:gd name="csX27" fmla="*/ 83497 w 181323"/>
              <a:gd name="csY27" fmla="*/ 8289 h 403282"/>
              <a:gd name="csX28" fmla="*/ 15161 w 181323"/>
              <a:gd name="csY28" fmla="*/ 9148 h 403282"/>
              <a:gd name="csX29" fmla="*/ 15058 w 181323"/>
              <a:gd name="csY29" fmla="*/ 137939 h 403282"/>
              <a:gd name="csX30" fmla="*/ 12252 w 181323"/>
              <a:gd name="csY30" fmla="*/ 266862 h 403282"/>
              <a:gd name="csX31" fmla="*/ 7068 w 181323"/>
              <a:gd name="csY31" fmla="*/ 395996 h 403282"/>
              <a:gd name="csX32" fmla="*/ 171647 w 181323"/>
              <a:gd name="csY32" fmla="*/ 395996 h 403282"/>
              <a:gd name="csX33" fmla="*/ 119950 w 181323"/>
              <a:gd name="csY33" fmla="*/ 259496 h 403282"/>
              <a:gd name="csX34" fmla="*/ 98286 w 181323"/>
              <a:gd name="csY34" fmla="*/ 163566 h 40328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</a:cxnLst>
            <a:rect l="l" t="t" r="r" b="b"/>
            <a:pathLst>
              <a:path w="181323" h="403282">
                <a:moveTo>
                  <a:pt x="7554" y="172079"/>
                </a:moveTo>
                <a:cubicBezTo>
                  <a:pt x="8325" y="157451"/>
                  <a:pt x="9408" y="144055"/>
                  <a:pt x="9716" y="130641"/>
                </a:cubicBezTo>
                <a:cubicBezTo>
                  <a:pt x="9846" y="125037"/>
                  <a:pt x="7695" y="119399"/>
                  <a:pt x="7663" y="113770"/>
                </a:cubicBezTo>
                <a:cubicBezTo>
                  <a:pt x="7461" y="78569"/>
                  <a:pt x="7554" y="43367"/>
                  <a:pt x="7598" y="8165"/>
                </a:cubicBezTo>
                <a:cubicBezTo>
                  <a:pt x="7600" y="6167"/>
                  <a:pt x="8022" y="4170"/>
                  <a:pt x="8353" y="1259"/>
                </a:cubicBezTo>
                <a:cubicBezTo>
                  <a:pt x="11568" y="842"/>
                  <a:pt x="14666" y="109"/>
                  <a:pt x="17767" y="93"/>
                </a:cubicBezTo>
                <a:cubicBezTo>
                  <a:pt x="37824" y="-17"/>
                  <a:pt x="57881" y="-27"/>
                  <a:pt x="77938" y="50"/>
                </a:cubicBezTo>
                <a:cubicBezTo>
                  <a:pt x="89177" y="93"/>
                  <a:pt x="90068" y="113"/>
                  <a:pt x="91081" y="10962"/>
                </a:cubicBezTo>
                <a:cubicBezTo>
                  <a:pt x="92631" y="27565"/>
                  <a:pt x="92329" y="44335"/>
                  <a:pt x="93691" y="60963"/>
                </a:cubicBezTo>
                <a:cubicBezTo>
                  <a:pt x="95348" y="81184"/>
                  <a:pt x="97732" y="101353"/>
                  <a:pt x="100157" y="121501"/>
                </a:cubicBezTo>
                <a:cubicBezTo>
                  <a:pt x="101660" y="133990"/>
                  <a:pt x="104521" y="146343"/>
                  <a:pt x="105540" y="158857"/>
                </a:cubicBezTo>
                <a:cubicBezTo>
                  <a:pt x="107671" y="184993"/>
                  <a:pt x="114147" y="210249"/>
                  <a:pt x="121116" y="235269"/>
                </a:cubicBezTo>
                <a:cubicBezTo>
                  <a:pt x="130731" y="269786"/>
                  <a:pt x="141516" y="304004"/>
                  <a:pt x="152823" y="338010"/>
                </a:cubicBezTo>
                <a:cubicBezTo>
                  <a:pt x="157418" y="351828"/>
                  <a:pt x="164524" y="364837"/>
                  <a:pt x="170877" y="378027"/>
                </a:cubicBezTo>
                <a:cubicBezTo>
                  <a:pt x="172587" y="381579"/>
                  <a:pt x="175985" y="384280"/>
                  <a:pt x="178114" y="387682"/>
                </a:cubicBezTo>
                <a:cubicBezTo>
                  <a:pt x="179669" y="390165"/>
                  <a:pt x="181977" y="393824"/>
                  <a:pt x="181150" y="395764"/>
                </a:cubicBezTo>
                <a:cubicBezTo>
                  <a:pt x="179907" y="398676"/>
                  <a:pt x="176540" y="401705"/>
                  <a:pt x="173480" y="402568"/>
                </a:cubicBezTo>
                <a:cubicBezTo>
                  <a:pt x="169302" y="403746"/>
                  <a:pt x="164551" y="403164"/>
                  <a:pt x="160067" y="402936"/>
                </a:cubicBezTo>
                <a:cubicBezTo>
                  <a:pt x="147066" y="402274"/>
                  <a:pt x="134081" y="400859"/>
                  <a:pt x="121081" y="400766"/>
                </a:cubicBezTo>
                <a:cubicBezTo>
                  <a:pt x="104362" y="400647"/>
                  <a:pt x="87638" y="401607"/>
                  <a:pt x="70912" y="401955"/>
                </a:cubicBezTo>
                <a:cubicBezTo>
                  <a:pt x="49820" y="402394"/>
                  <a:pt x="28725" y="402712"/>
                  <a:pt x="7630" y="402999"/>
                </a:cubicBezTo>
                <a:cubicBezTo>
                  <a:pt x="5684" y="403026"/>
                  <a:pt x="3731" y="402452"/>
                  <a:pt x="710" y="401995"/>
                </a:cubicBezTo>
                <a:cubicBezTo>
                  <a:pt x="219" y="386620"/>
                  <a:pt x="-871" y="371682"/>
                  <a:pt x="1308" y="356708"/>
                </a:cubicBezTo>
                <a:cubicBezTo>
                  <a:pt x="1659" y="354298"/>
                  <a:pt x="2471" y="351920"/>
                  <a:pt x="2554" y="349510"/>
                </a:cubicBezTo>
                <a:cubicBezTo>
                  <a:pt x="3459" y="323419"/>
                  <a:pt x="4345" y="297328"/>
                  <a:pt x="5071" y="271231"/>
                </a:cubicBezTo>
                <a:cubicBezTo>
                  <a:pt x="5979" y="238591"/>
                  <a:pt x="6733" y="205947"/>
                  <a:pt x="7554" y="172079"/>
                </a:cubicBezTo>
                <a:moveTo>
                  <a:pt x="98286" y="163566"/>
                </a:moveTo>
                <a:cubicBezTo>
                  <a:pt x="89288" y="112116"/>
                  <a:pt x="86355" y="60033"/>
                  <a:pt x="83497" y="8289"/>
                </a:cubicBezTo>
                <a:cubicBezTo>
                  <a:pt x="65606" y="5845"/>
                  <a:pt x="24110" y="6470"/>
                  <a:pt x="15161" y="9148"/>
                </a:cubicBezTo>
                <a:cubicBezTo>
                  <a:pt x="15161" y="52045"/>
                  <a:pt x="15527" y="94996"/>
                  <a:pt x="15058" y="137939"/>
                </a:cubicBezTo>
                <a:cubicBezTo>
                  <a:pt x="14587" y="180919"/>
                  <a:pt x="13597" y="223900"/>
                  <a:pt x="12252" y="266862"/>
                </a:cubicBezTo>
                <a:cubicBezTo>
                  <a:pt x="10912" y="309638"/>
                  <a:pt x="8849" y="352391"/>
                  <a:pt x="7068" y="395996"/>
                </a:cubicBezTo>
                <a:cubicBezTo>
                  <a:pt x="62774" y="395996"/>
                  <a:pt x="116821" y="395996"/>
                  <a:pt x="171647" y="395996"/>
                </a:cubicBezTo>
                <a:cubicBezTo>
                  <a:pt x="148550" y="352016"/>
                  <a:pt x="132566" y="306307"/>
                  <a:pt x="119950" y="259496"/>
                </a:cubicBezTo>
                <a:cubicBezTo>
                  <a:pt x="111608" y="228543"/>
                  <a:pt x="105493" y="196989"/>
                  <a:pt x="98286" y="163566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749" name="Free-form: Shape 7748">
            <a:extLst>
              <a:ext uri="{FF2B5EF4-FFF2-40B4-BE49-F238E27FC236}">
                <a16:creationId xmlns:a16="http://schemas.microsoft.com/office/drawing/2014/main" id="{0FB66EC1-DCCE-B1A2-BF0E-348A3C164708}"/>
              </a:ext>
            </a:extLst>
          </p:cNvPr>
          <p:cNvSpPr/>
          <p:nvPr/>
        </p:nvSpPr>
        <p:spPr>
          <a:xfrm>
            <a:off x="2534223" y="4971460"/>
            <a:ext cx="222187" cy="50318"/>
          </a:xfrm>
          <a:custGeom>
            <a:avLst/>
            <a:gdLst>
              <a:gd name="csX0" fmla="*/ 297312 w 337008"/>
              <a:gd name="csY0" fmla="*/ 59188 h 76321"/>
              <a:gd name="csX1" fmla="*/ 241991 w 337008"/>
              <a:gd name="csY1" fmla="*/ 66577 h 76321"/>
              <a:gd name="csX2" fmla="*/ 185243 w 337008"/>
              <a:gd name="csY2" fmla="*/ 73717 h 76321"/>
              <a:gd name="csX3" fmla="*/ 182797 w 337008"/>
              <a:gd name="csY3" fmla="*/ 73873 h 76321"/>
              <a:gd name="csX4" fmla="*/ 19866 w 337008"/>
              <a:gd name="csY4" fmla="*/ 76320 h 76321"/>
              <a:gd name="csX5" fmla="*/ 12650 w 337008"/>
              <a:gd name="csY5" fmla="*/ 75242 h 76321"/>
              <a:gd name="csX6" fmla="*/ 19 w 337008"/>
              <a:gd name="csY6" fmla="*/ 59006 h 76321"/>
              <a:gd name="csX7" fmla="*/ 11 w 337008"/>
              <a:gd name="csY7" fmla="*/ 18266 h 76321"/>
              <a:gd name="csX8" fmla="*/ 13547 w 337008"/>
              <a:gd name="csY8" fmla="*/ 17427 h 76321"/>
              <a:gd name="csX9" fmla="*/ 109279 w 337008"/>
              <a:gd name="csY9" fmla="*/ 17200 h 76321"/>
              <a:gd name="csX10" fmla="*/ 173714 w 337008"/>
              <a:gd name="csY10" fmla="*/ 12645 h 76321"/>
              <a:gd name="csX11" fmla="*/ 205309 w 337008"/>
              <a:gd name="csY11" fmla="*/ 10096 h 76321"/>
              <a:gd name="csX12" fmla="*/ 245485 w 337008"/>
              <a:gd name="csY12" fmla="*/ 7449 h 76321"/>
              <a:gd name="csX13" fmla="*/ 288955 w 337008"/>
              <a:gd name="csY13" fmla="*/ 1844 h 76321"/>
              <a:gd name="csX14" fmla="*/ 307132 w 337008"/>
              <a:gd name="csY14" fmla="*/ 164 h 76321"/>
              <a:gd name="csX15" fmla="*/ 324030 w 337008"/>
              <a:gd name="csY15" fmla="*/ 9691 h 76321"/>
              <a:gd name="csX16" fmla="*/ 336033 w 337008"/>
              <a:gd name="csY16" fmla="*/ 39107 h 76321"/>
              <a:gd name="csX17" fmla="*/ 328060 w 337008"/>
              <a:gd name="csY17" fmla="*/ 52413 h 76321"/>
              <a:gd name="csX18" fmla="*/ 297312 w 337008"/>
              <a:gd name="csY18" fmla="*/ 59188 h 76321"/>
              <a:gd name="csX19" fmla="*/ 207688 w 337008"/>
              <a:gd name="csY19" fmla="*/ 64284 h 76321"/>
              <a:gd name="csX20" fmla="*/ 330050 w 337008"/>
              <a:gd name="csY20" fmla="*/ 45606 h 76321"/>
              <a:gd name="csX21" fmla="*/ 317356 w 337008"/>
              <a:gd name="csY21" fmla="*/ 11297 h 76321"/>
              <a:gd name="csX22" fmla="*/ 304170 w 337008"/>
              <a:gd name="csY22" fmla="*/ 5545 h 76321"/>
              <a:gd name="csX23" fmla="*/ 273851 w 337008"/>
              <a:gd name="csY23" fmla="*/ 10014 h 76321"/>
              <a:gd name="csX24" fmla="*/ 163935 w 337008"/>
              <a:gd name="csY24" fmla="*/ 20274 h 76321"/>
              <a:gd name="csX25" fmla="*/ 17973 w 337008"/>
              <a:gd name="csY25" fmla="*/ 22950 h 76321"/>
              <a:gd name="csX26" fmla="*/ 7372 w 337008"/>
              <a:gd name="csY26" fmla="*/ 23601 h 76321"/>
              <a:gd name="csX27" fmla="*/ 7372 w 337008"/>
              <a:gd name="csY27" fmla="*/ 67898 h 76321"/>
              <a:gd name="csX28" fmla="*/ 207688 w 337008"/>
              <a:gd name="csY28" fmla="*/ 64284 h 7632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</a:cxnLst>
            <a:rect l="l" t="t" r="r" b="b"/>
            <a:pathLst>
              <a:path w="337008" h="76321">
                <a:moveTo>
                  <a:pt x="297312" y="59188"/>
                </a:moveTo>
                <a:cubicBezTo>
                  <a:pt x="278167" y="61672"/>
                  <a:pt x="260091" y="64212"/>
                  <a:pt x="241991" y="66577"/>
                </a:cubicBezTo>
                <a:cubicBezTo>
                  <a:pt x="223087" y="69047"/>
                  <a:pt x="204161" y="71350"/>
                  <a:pt x="185243" y="73717"/>
                </a:cubicBezTo>
                <a:cubicBezTo>
                  <a:pt x="184433" y="73818"/>
                  <a:pt x="183613" y="73861"/>
                  <a:pt x="182797" y="73873"/>
                </a:cubicBezTo>
                <a:cubicBezTo>
                  <a:pt x="128487" y="74710"/>
                  <a:pt x="74176" y="75556"/>
                  <a:pt x="19866" y="76320"/>
                </a:cubicBezTo>
                <a:cubicBezTo>
                  <a:pt x="17463" y="76354"/>
                  <a:pt x="15013" y="75797"/>
                  <a:pt x="12650" y="75242"/>
                </a:cubicBezTo>
                <a:cubicBezTo>
                  <a:pt x="80" y="72288"/>
                  <a:pt x="58" y="72258"/>
                  <a:pt x="19" y="59006"/>
                </a:cubicBezTo>
                <a:cubicBezTo>
                  <a:pt x="-19" y="45942"/>
                  <a:pt x="11" y="32877"/>
                  <a:pt x="11" y="18266"/>
                </a:cubicBezTo>
                <a:cubicBezTo>
                  <a:pt x="4987" y="17944"/>
                  <a:pt x="9266" y="17435"/>
                  <a:pt x="13547" y="17427"/>
                </a:cubicBezTo>
                <a:cubicBezTo>
                  <a:pt x="45459" y="17362"/>
                  <a:pt x="77385" y="17975"/>
                  <a:pt x="109279" y="17200"/>
                </a:cubicBezTo>
                <a:cubicBezTo>
                  <a:pt x="130782" y="16677"/>
                  <a:pt x="152239" y="14265"/>
                  <a:pt x="173714" y="12645"/>
                </a:cubicBezTo>
                <a:cubicBezTo>
                  <a:pt x="184250" y="11850"/>
                  <a:pt x="194770" y="10836"/>
                  <a:pt x="205309" y="10096"/>
                </a:cubicBezTo>
                <a:cubicBezTo>
                  <a:pt x="218698" y="9156"/>
                  <a:pt x="232139" y="8783"/>
                  <a:pt x="245485" y="7449"/>
                </a:cubicBezTo>
                <a:cubicBezTo>
                  <a:pt x="260017" y="5997"/>
                  <a:pt x="274456" y="3648"/>
                  <a:pt x="288955" y="1844"/>
                </a:cubicBezTo>
                <a:cubicBezTo>
                  <a:pt x="294991" y="1094"/>
                  <a:pt x="301100" y="930"/>
                  <a:pt x="307132" y="164"/>
                </a:cubicBezTo>
                <a:cubicBezTo>
                  <a:pt x="315239" y="-865"/>
                  <a:pt x="320841" y="3022"/>
                  <a:pt x="324030" y="9691"/>
                </a:cubicBezTo>
                <a:cubicBezTo>
                  <a:pt x="328594" y="19236"/>
                  <a:pt x="332712" y="29070"/>
                  <a:pt x="336033" y="39107"/>
                </a:cubicBezTo>
                <a:cubicBezTo>
                  <a:pt x="338557" y="46735"/>
                  <a:pt x="336278" y="50185"/>
                  <a:pt x="328060" y="52413"/>
                </a:cubicBezTo>
                <a:cubicBezTo>
                  <a:pt x="318273" y="55068"/>
                  <a:pt x="308277" y="56950"/>
                  <a:pt x="297312" y="59188"/>
                </a:cubicBezTo>
                <a:moveTo>
                  <a:pt x="207688" y="64284"/>
                </a:moveTo>
                <a:cubicBezTo>
                  <a:pt x="248681" y="60632"/>
                  <a:pt x="289317" y="54812"/>
                  <a:pt x="330050" y="45606"/>
                </a:cubicBezTo>
                <a:cubicBezTo>
                  <a:pt x="327603" y="32443"/>
                  <a:pt x="323777" y="21532"/>
                  <a:pt x="317356" y="11297"/>
                </a:cubicBezTo>
                <a:cubicBezTo>
                  <a:pt x="313908" y="5803"/>
                  <a:pt x="310145" y="4465"/>
                  <a:pt x="304170" y="5545"/>
                </a:cubicBezTo>
                <a:cubicBezTo>
                  <a:pt x="294121" y="7361"/>
                  <a:pt x="284007" y="9006"/>
                  <a:pt x="273851" y="10014"/>
                </a:cubicBezTo>
                <a:cubicBezTo>
                  <a:pt x="237233" y="13650"/>
                  <a:pt x="200632" y="17661"/>
                  <a:pt x="163935" y="20274"/>
                </a:cubicBezTo>
                <a:cubicBezTo>
                  <a:pt x="115360" y="23734"/>
                  <a:pt x="66701" y="25937"/>
                  <a:pt x="17973" y="22950"/>
                </a:cubicBezTo>
                <a:cubicBezTo>
                  <a:pt x="14492" y="22737"/>
                  <a:pt x="10959" y="23361"/>
                  <a:pt x="7372" y="23601"/>
                </a:cubicBezTo>
                <a:cubicBezTo>
                  <a:pt x="7372" y="38609"/>
                  <a:pt x="7372" y="52361"/>
                  <a:pt x="7372" y="67898"/>
                </a:cubicBezTo>
                <a:cubicBezTo>
                  <a:pt x="74001" y="69806"/>
                  <a:pt x="139746" y="71025"/>
                  <a:pt x="207688" y="64284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750" name="Free-form: Shape 7749">
            <a:extLst>
              <a:ext uri="{FF2B5EF4-FFF2-40B4-BE49-F238E27FC236}">
                <a16:creationId xmlns:a16="http://schemas.microsoft.com/office/drawing/2014/main" id="{05CF412E-ADAF-3347-D7DC-90821556593C}"/>
              </a:ext>
            </a:extLst>
          </p:cNvPr>
          <p:cNvSpPr/>
          <p:nvPr/>
        </p:nvSpPr>
        <p:spPr>
          <a:xfrm>
            <a:off x="2538186" y="4815956"/>
            <a:ext cx="200071" cy="140888"/>
          </a:xfrm>
          <a:custGeom>
            <a:avLst/>
            <a:gdLst>
              <a:gd name="csX0" fmla="*/ 14160 w 303463"/>
              <a:gd name="csY0" fmla="*/ 7889 h 213695"/>
              <a:gd name="csX1" fmla="*/ 195033 w 303463"/>
              <a:gd name="csY1" fmla="*/ 0 h 213695"/>
              <a:gd name="csX2" fmla="*/ 197208 w 303463"/>
              <a:gd name="csY2" fmla="*/ 5635 h 213695"/>
              <a:gd name="csX3" fmla="*/ 227014 w 303463"/>
              <a:gd name="csY3" fmla="*/ 60660 h 213695"/>
              <a:gd name="csX4" fmla="*/ 265823 w 303463"/>
              <a:gd name="csY4" fmla="*/ 98217 h 213695"/>
              <a:gd name="csX5" fmla="*/ 303210 w 303463"/>
              <a:gd name="csY5" fmla="*/ 180358 h 213695"/>
              <a:gd name="csX6" fmla="*/ 303282 w 303463"/>
              <a:gd name="csY6" fmla="*/ 193964 h 213695"/>
              <a:gd name="csX7" fmla="*/ 4971 w 303463"/>
              <a:gd name="csY7" fmla="*/ 213017 h 213695"/>
              <a:gd name="csX8" fmla="*/ 5093 w 303463"/>
              <a:gd name="csY8" fmla="*/ 173484 h 213695"/>
              <a:gd name="csX9" fmla="*/ 4767 w 303463"/>
              <a:gd name="csY9" fmla="*/ 54607 h 213695"/>
              <a:gd name="csX10" fmla="*/ 0 w 303463"/>
              <a:gd name="csY10" fmla="*/ 7887 h 213695"/>
              <a:gd name="csX11" fmla="*/ 14160 w 303463"/>
              <a:gd name="csY11" fmla="*/ 7889 h 21369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303463" h="213695">
                <a:moveTo>
                  <a:pt x="14160" y="7889"/>
                </a:moveTo>
                <a:cubicBezTo>
                  <a:pt x="75371" y="8627"/>
                  <a:pt x="135292" y="5744"/>
                  <a:pt x="195033" y="0"/>
                </a:cubicBezTo>
                <a:cubicBezTo>
                  <a:pt x="196084" y="2662"/>
                  <a:pt x="196986" y="4099"/>
                  <a:pt x="197208" y="5635"/>
                </a:cubicBezTo>
                <a:cubicBezTo>
                  <a:pt x="200391" y="27650"/>
                  <a:pt x="211307" y="45450"/>
                  <a:pt x="227014" y="60660"/>
                </a:cubicBezTo>
                <a:cubicBezTo>
                  <a:pt x="239947" y="73182"/>
                  <a:pt x="253006" y="85577"/>
                  <a:pt x="265823" y="98217"/>
                </a:cubicBezTo>
                <a:cubicBezTo>
                  <a:pt x="288727" y="120806"/>
                  <a:pt x="299071" y="149215"/>
                  <a:pt x="303210" y="180358"/>
                </a:cubicBezTo>
                <a:cubicBezTo>
                  <a:pt x="303735" y="184317"/>
                  <a:pt x="303282" y="188405"/>
                  <a:pt x="303282" y="193964"/>
                </a:cubicBezTo>
                <a:cubicBezTo>
                  <a:pt x="204065" y="208804"/>
                  <a:pt x="105022" y="216044"/>
                  <a:pt x="4971" y="213017"/>
                </a:cubicBezTo>
                <a:cubicBezTo>
                  <a:pt x="4971" y="199268"/>
                  <a:pt x="4314" y="186332"/>
                  <a:pt x="5093" y="173484"/>
                </a:cubicBezTo>
                <a:cubicBezTo>
                  <a:pt x="7497" y="133835"/>
                  <a:pt x="8211" y="94216"/>
                  <a:pt x="4767" y="54607"/>
                </a:cubicBezTo>
                <a:cubicBezTo>
                  <a:pt x="3464" y="39611"/>
                  <a:pt x="1725" y="24653"/>
                  <a:pt x="0" y="7887"/>
                </a:cubicBezTo>
                <a:cubicBezTo>
                  <a:pt x="4390" y="7887"/>
                  <a:pt x="8696" y="7887"/>
                  <a:pt x="14160" y="7889"/>
                </a:cubicBezTo>
                <a:close/>
              </a:path>
            </a:pathLst>
          </a:custGeom>
          <a:solidFill>
            <a:schemeClr val="bg1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751" name="Free-form: Shape 7750">
            <a:extLst>
              <a:ext uri="{FF2B5EF4-FFF2-40B4-BE49-F238E27FC236}">
                <a16:creationId xmlns:a16="http://schemas.microsoft.com/office/drawing/2014/main" id="{3658F434-F8B2-F385-47E6-E3C8599FB161}"/>
              </a:ext>
            </a:extLst>
          </p:cNvPr>
          <p:cNvSpPr/>
          <p:nvPr/>
        </p:nvSpPr>
        <p:spPr>
          <a:xfrm>
            <a:off x="2502338" y="4253462"/>
            <a:ext cx="137836" cy="134104"/>
          </a:xfrm>
          <a:custGeom>
            <a:avLst/>
            <a:gdLst>
              <a:gd name="csX0" fmla="*/ 10475 w 209067"/>
              <a:gd name="csY0" fmla="*/ 41718 h 203406"/>
              <a:gd name="csX1" fmla="*/ 100250 w 209067"/>
              <a:gd name="csY1" fmla="*/ 1265 h 203406"/>
              <a:gd name="csX2" fmla="*/ 206681 w 209067"/>
              <a:gd name="csY2" fmla="*/ 98526 h 203406"/>
              <a:gd name="csX3" fmla="*/ 134647 w 209067"/>
              <a:gd name="csY3" fmla="*/ 202431 h 203406"/>
              <a:gd name="csX4" fmla="*/ 40986 w 209067"/>
              <a:gd name="csY4" fmla="*/ 171438 h 203406"/>
              <a:gd name="csX5" fmla="*/ 143 w 209067"/>
              <a:gd name="csY5" fmla="*/ 85158 h 203406"/>
              <a:gd name="csX6" fmla="*/ 10475 w 209067"/>
              <a:gd name="csY6" fmla="*/ 41718 h 20340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</a:cxnLst>
            <a:rect l="l" t="t" r="r" b="b"/>
            <a:pathLst>
              <a:path w="209067" h="203406">
                <a:moveTo>
                  <a:pt x="10475" y="41718"/>
                </a:moveTo>
                <a:cubicBezTo>
                  <a:pt x="31065" y="6021"/>
                  <a:pt x="63171" y="-3865"/>
                  <a:pt x="100250" y="1265"/>
                </a:cubicBezTo>
                <a:cubicBezTo>
                  <a:pt x="157191" y="9144"/>
                  <a:pt x="196951" y="51394"/>
                  <a:pt x="206681" y="98526"/>
                </a:cubicBezTo>
                <a:cubicBezTo>
                  <a:pt x="219504" y="160635"/>
                  <a:pt x="178523" y="196657"/>
                  <a:pt x="134647" y="202431"/>
                </a:cubicBezTo>
                <a:cubicBezTo>
                  <a:pt x="98365" y="207204"/>
                  <a:pt x="68101" y="194086"/>
                  <a:pt x="40986" y="171438"/>
                </a:cubicBezTo>
                <a:cubicBezTo>
                  <a:pt x="14115" y="148994"/>
                  <a:pt x="2457" y="119007"/>
                  <a:pt x="143" y="85158"/>
                </a:cubicBezTo>
                <a:cubicBezTo>
                  <a:pt x="-869" y="70364"/>
                  <a:pt x="3586" y="56015"/>
                  <a:pt x="10475" y="41718"/>
                </a:cubicBezTo>
                <a:close/>
              </a:path>
            </a:pathLst>
          </a:custGeom>
          <a:solidFill>
            <a:schemeClr val="bg1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752" name="Free-form: Shape 7751">
            <a:extLst>
              <a:ext uri="{FF2B5EF4-FFF2-40B4-BE49-F238E27FC236}">
                <a16:creationId xmlns:a16="http://schemas.microsoft.com/office/drawing/2014/main" id="{9029A08E-32CF-E626-3919-75C843319AD8}"/>
              </a:ext>
            </a:extLst>
          </p:cNvPr>
          <p:cNvSpPr/>
          <p:nvPr/>
        </p:nvSpPr>
        <p:spPr>
          <a:xfrm>
            <a:off x="2540838" y="4479665"/>
            <a:ext cx="103594" cy="27251"/>
          </a:xfrm>
          <a:custGeom>
            <a:avLst/>
            <a:gdLst>
              <a:gd name="csX0" fmla="*/ 69625 w 157129"/>
              <a:gd name="csY0" fmla="*/ 0 h 41334"/>
              <a:gd name="csX1" fmla="*/ 119596 w 157129"/>
              <a:gd name="csY1" fmla="*/ 1945 h 41334"/>
              <a:gd name="csX2" fmla="*/ 150973 w 157129"/>
              <a:gd name="csY2" fmla="*/ 14889 h 41334"/>
              <a:gd name="csX3" fmla="*/ 151351 w 157129"/>
              <a:gd name="csY3" fmla="*/ 34058 h 41334"/>
              <a:gd name="csX4" fmla="*/ 133492 w 157129"/>
              <a:gd name="csY4" fmla="*/ 40697 h 41334"/>
              <a:gd name="csX5" fmla="*/ 106556 w 157129"/>
              <a:gd name="csY5" fmla="*/ 41092 h 41334"/>
              <a:gd name="csX6" fmla="*/ 13373 w 157129"/>
              <a:gd name="csY6" fmla="*/ 40708 h 41334"/>
              <a:gd name="csX7" fmla="*/ 1312 w 157129"/>
              <a:gd name="csY7" fmla="*/ 40191 h 41334"/>
              <a:gd name="csX8" fmla="*/ 3367 w 157129"/>
              <a:gd name="csY8" fmla="*/ 13162 h 41334"/>
              <a:gd name="csX9" fmla="*/ 20752 w 157129"/>
              <a:gd name="csY9" fmla="*/ 1879 h 41334"/>
              <a:gd name="csX10" fmla="*/ 52625 w 157129"/>
              <a:gd name="csY10" fmla="*/ 1332 h 41334"/>
              <a:gd name="csX11" fmla="*/ 69625 w 157129"/>
              <a:gd name="csY11" fmla="*/ 0 h 4133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157129" h="41334">
                <a:moveTo>
                  <a:pt x="69625" y="0"/>
                </a:moveTo>
                <a:cubicBezTo>
                  <a:pt x="87054" y="491"/>
                  <a:pt x="103407" y="373"/>
                  <a:pt x="119596" y="1945"/>
                </a:cubicBezTo>
                <a:cubicBezTo>
                  <a:pt x="131020" y="3055"/>
                  <a:pt x="141713" y="7767"/>
                  <a:pt x="150973" y="14889"/>
                </a:cubicBezTo>
                <a:cubicBezTo>
                  <a:pt x="158820" y="20925"/>
                  <a:pt x="159403" y="28236"/>
                  <a:pt x="151351" y="34058"/>
                </a:cubicBezTo>
                <a:cubicBezTo>
                  <a:pt x="146355" y="37671"/>
                  <a:pt x="139678" y="39910"/>
                  <a:pt x="133492" y="40697"/>
                </a:cubicBezTo>
                <a:cubicBezTo>
                  <a:pt x="124640" y="41824"/>
                  <a:pt x="115547" y="41120"/>
                  <a:pt x="106556" y="41092"/>
                </a:cubicBezTo>
                <a:cubicBezTo>
                  <a:pt x="75495" y="40996"/>
                  <a:pt x="44434" y="40872"/>
                  <a:pt x="13373" y="40708"/>
                </a:cubicBezTo>
                <a:cubicBezTo>
                  <a:pt x="9391" y="40687"/>
                  <a:pt x="5410" y="40374"/>
                  <a:pt x="1312" y="40191"/>
                </a:cubicBezTo>
                <a:cubicBezTo>
                  <a:pt x="-1416" y="30384"/>
                  <a:pt x="523" y="21512"/>
                  <a:pt x="3367" y="13162"/>
                </a:cubicBezTo>
                <a:cubicBezTo>
                  <a:pt x="5963" y="5538"/>
                  <a:pt x="12701" y="2077"/>
                  <a:pt x="20752" y="1879"/>
                </a:cubicBezTo>
                <a:cubicBezTo>
                  <a:pt x="31375" y="1617"/>
                  <a:pt x="42004" y="1647"/>
                  <a:pt x="52625" y="1332"/>
                </a:cubicBezTo>
                <a:cubicBezTo>
                  <a:pt x="57918" y="1176"/>
                  <a:pt x="63195" y="535"/>
                  <a:pt x="69625" y="0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753" name="Free-form: Shape 7752">
            <a:extLst>
              <a:ext uri="{FF2B5EF4-FFF2-40B4-BE49-F238E27FC236}">
                <a16:creationId xmlns:a16="http://schemas.microsoft.com/office/drawing/2014/main" id="{FA77EE08-431E-02E4-3B16-95304167C145}"/>
              </a:ext>
            </a:extLst>
          </p:cNvPr>
          <p:cNvSpPr/>
          <p:nvPr/>
        </p:nvSpPr>
        <p:spPr>
          <a:xfrm>
            <a:off x="2537151" y="4533697"/>
            <a:ext cx="108506" cy="256622"/>
          </a:xfrm>
          <a:custGeom>
            <a:avLst/>
            <a:gdLst>
              <a:gd name="csX0" fmla="*/ 91265 w 164579"/>
              <a:gd name="csY0" fmla="*/ 157878 h 389238"/>
              <a:gd name="csX1" fmla="*/ 112882 w 164579"/>
              <a:gd name="csY1" fmla="*/ 252738 h 389238"/>
              <a:gd name="csX2" fmla="*/ 164579 w 164579"/>
              <a:gd name="csY2" fmla="*/ 389238 h 389238"/>
              <a:gd name="csX3" fmla="*/ 0 w 164579"/>
              <a:gd name="csY3" fmla="*/ 389238 h 389238"/>
              <a:gd name="csX4" fmla="*/ 5184 w 164579"/>
              <a:gd name="csY4" fmla="*/ 260105 h 389238"/>
              <a:gd name="csX5" fmla="*/ 7989 w 164579"/>
              <a:gd name="csY5" fmla="*/ 131182 h 389238"/>
              <a:gd name="csX6" fmla="*/ 8093 w 164579"/>
              <a:gd name="csY6" fmla="*/ 2390 h 389238"/>
              <a:gd name="csX7" fmla="*/ 76429 w 164579"/>
              <a:gd name="csY7" fmla="*/ 1531 h 389238"/>
              <a:gd name="csX8" fmla="*/ 91265 w 164579"/>
              <a:gd name="csY8" fmla="*/ 157878 h 38923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</a:cxnLst>
            <a:rect l="l" t="t" r="r" b="b"/>
            <a:pathLst>
              <a:path w="164579" h="389238">
                <a:moveTo>
                  <a:pt x="91265" y="157878"/>
                </a:moveTo>
                <a:cubicBezTo>
                  <a:pt x="98425" y="190232"/>
                  <a:pt x="104539" y="221785"/>
                  <a:pt x="112882" y="252738"/>
                </a:cubicBezTo>
                <a:cubicBezTo>
                  <a:pt x="125498" y="299549"/>
                  <a:pt x="141482" y="345258"/>
                  <a:pt x="164579" y="389238"/>
                </a:cubicBezTo>
                <a:cubicBezTo>
                  <a:pt x="109753" y="389238"/>
                  <a:pt x="55706" y="389238"/>
                  <a:pt x="0" y="389238"/>
                </a:cubicBezTo>
                <a:cubicBezTo>
                  <a:pt x="1781" y="345633"/>
                  <a:pt x="3844" y="302880"/>
                  <a:pt x="5184" y="260105"/>
                </a:cubicBezTo>
                <a:cubicBezTo>
                  <a:pt x="6529" y="217143"/>
                  <a:pt x="7519" y="174162"/>
                  <a:pt x="7989" y="131182"/>
                </a:cubicBezTo>
                <a:cubicBezTo>
                  <a:pt x="8459" y="88239"/>
                  <a:pt x="8093" y="45287"/>
                  <a:pt x="8093" y="2390"/>
                </a:cubicBezTo>
                <a:cubicBezTo>
                  <a:pt x="17041" y="-288"/>
                  <a:pt x="58537" y="-913"/>
                  <a:pt x="76429" y="1531"/>
                </a:cubicBezTo>
                <a:cubicBezTo>
                  <a:pt x="79287" y="53276"/>
                  <a:pt x="82219" y="105359"/>
                  <a:pt x="91265" y="157878"/>
                </a:cubicBezTo>
                <a:close/>
              </a:path>
            </a:pathLst>
          </a:custGeom>
          <a:solidFill>
            <a:schemeClr val="bg1"/>
          </a:solidFill>
          <a:ln w="28575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754" name="Free-form: Shape 7753">
            <a:extLst>
              <a:ext uri="{FF2B5EF4-FFF2-40B4-BE49-F238E27FC236}">
                <a16:creationId xmlns:a16="http://schemas.microsoft.com/office/drawing/2014/main" id="{EBB666EA-A4A8-43CB-1EE3-FDDB7794997A}"/>
              </a:ext>
            </a:extLst>
          </p:cNvPr>
          <p:cNvSpPr/>
          <p:nvPr/>
        </p:nvSpPr>
        <p:spPr>
          <a:xfrm>
            <a:off x="2539083" y="4974889"/>
            <a:ext cx="212739" cy="42328"/>
          </a:xfrm>
          <a:custGeom>
            <a:avLst/>
            <a:gdLst>
              <a:gd name="csX0" fmla="*/ 199184 w 322677"/>
              <a:gd name="csY0" fmla="*/ 59136 h 64202"/>
              <a:gd name="csX1" fmla="*/ 0 w 322677"/>
              <a:gd name="csY1" fmla="*/ 62697 h 64202"/>
              <a:gd name="csX2" fmla="*/ 0 w 322677"/>
              <a:gd name="csY2" fmla="*/ 18400 h 64202"/>
              <a:gd name="csX3" fmla="*/ 10601 w 322677"/>
              <a:gd name="csY3" fmla="*/ 17750 h 64202"/>
              <a:gd name="csX4" fmla="*/ 156563 w 322677"/>
              <a:gd name="csY4" fmla="*/ 15074 h 64202"/>
              <a:gd name="csX5" fmla="*/ 266479 w 322677"/>
              <a:gd name="csY5" fmla="*/ 4814 h 64202"/>
              <a:gd name="csX6" fmla="*/ 296798 w 322677"/>
              <a:gd name="csY6" fmla="*/ 344 h 64202"/>
              <a:gd name="csX7" fmla="*/ 309983 w 322677"/>
              <a:gd name="csY7" fmla="*/ 6097 h 64202"/>
              <a:gd name="csX8" fmla="*/ 322678 w 322677"/>
              <a:gd name="csY8" fmla="*/ 40406 h 64202"/>
              <a:gd name="csX9" fmla="*/ 199184 w 322677"/>
              <a:gd name="csY9" fmla="*/ 59136 h 6420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322677" h="64202">
                <a:moveTo>
                  <a:pt x="199184" y="59136"/>
                </a:moveTo>
                <a:cubicBezTo>
                  <a:pt x="132374" y="65824"/>
                  <a:pt x="66629" y="64605"/>
                  <a:pt x="0" y="62697"/>
                </a:cubicBezTo>
                <a:cubicBezTo>
                  <a:pt x="0" y="47160"/>
                  <a:pt x="0" y="33409"/>
                  <a:pt x="0" y="18400"/>
                </a:cubicBezTo>
                <a:cubicBezTo>
                  <a:pt x="3587" y="18160"/>
                  <a:pt x="7120" y="17536"/>
                  <a:pt x="10601" y="17750"/>
                </a:cubicBezTo>
                <a:cubicBezTo>
                  <a:pt x="59329" y="20736"/>
                  <a:pt x="107987" y="18533"/>
                  <a:pt x="156563" y="15074"/>
                </a:cubicBezTo>
                <a:cubicBezTo>
                  <a:pt x="193260" y="12461"/>
                  <a:pt x="229860" y="8449"/>
                  <a:pt x="266479" y="4814"/>
                </a:cubicBezTo>
                <a:cubicBezTo>
                  <a:pt x="276635" y="3806"/>
                  <a:pt x="286748" y="2160"/>
                  <a:pt x="296798" y="344"/>
                </a:cubicBezTo>
                <a:cubicBezTo>
                  <a:pt x="302773" y="-735"/>
                  <a:pt x="306536" y="602"/>
                  <a:pt x="309983" y="6097"/>
                </a:cubicBezTo>
                <a:cubicBezTo>
                  <a:pt x="316405" y="16331"/>
                  <a:pt x="320231" y="27243"/>
                  <a:pt x="322678" y="40406"/>
                </a:cubicBezTo>
                <a:cubicBezTo>
                  <a:pt x="281944" y="49611"/>
                  <a:pt x="241309" y="55431"/>
                  <a:pt x="199184" y="59136"/>
                </a:cubicBezTo>
                <a:close/>
              </a:path>
            </a:pathLst>
          </a:custGeom>
          <a:solidFill>
            <a:schemeClr val="bg1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755" name="Oval 7754">
            <a:extLst>
              <a:ext uri="{FF2B5EF4-FFF2-40B4-BE49-F238E27FC236}">
                <a16:creationId xmlns:a16="http://schemas.microsoft.com/office/drawing/2014/main" id="{32FB02ED-93F4-72B5-F6CA-4F17495C3C1B}"/>
              </a:ext>
            </a:extLst>
          </p:cNvPr>
          <p:cNvSpPr/>
          <p:nvPr/>
        </p:nvSpPr>
        <p:spPr>
          <a:xfrm>
            <a:off x="39635" y="4962526"/>
            <a:ext cx="674739" cy="114300"/>
          </a:xfrm>
          <a:prstGeom prst="ellipse">
            <a:avLst/>
          </a:prstGeom>
          <a:solidFill>
            <a:schemeClr val="tx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757" name="Free-form: Shape 7756">
            <a:extLst>
              <a:ext uri="{FF2B5EF4-FFF2-40B4-BE49-F238E27FC236}">
                <a16:creationId xmlns:a16="http://schemas.microsoft.com/office/drawing/2014/main" id="{9BE8CF0D-D692-1FB6-5BC8-FAE81A70F7DD}"/>
              </a:ext>
            </a:extLst>
          </p:cNvPr>
          <p:cNvSpPr/>
          <p:nvPr/>
        </p:nvSpPr>
        <p:spPr>
          <a:xfrm>
            <a:off x="98462" y="3964697"/>
            <a:ext cx="539713" cy="1076347"/>
          </a:xfrm>
          <a:custGeom>
            <a:avLst/>
            <a:gdLst>
              <a:gd name="csX0" fmla="*/ 703087 w 763849"/>
              <a:gd name="csY0" fmla="*/ 1241174 h 1523340"/>
              <a:gd name="csX1" fmla="*/ 732932 w 763849"/>
              <a:gd name="csY1" fmla="*/ 1359634 h 1523340"/>
              <a:gd name="csX2" fmla="*/ 735544 w 763849"/>
              <a:gd name="csY2" fmla="*/ 1377287 h 1523340"/>
              <a:gd name="csX3" fmla="*/ 756764 w 763849"/>
              <a:gd name="csY3" fmla="*/ 1458577 h 1523340"/>
              <a:gd name="csX4" fmla="*/ 757108 w 763849"/>
              <a:gd name="csY4" fmla="*/ 1465940 h 1523340"/>
              <a:gd name="csX5" fmla="*/ 744215 w 763849"/>
              <a:gd name="csY5" fmla="*/ 1488332 h 1523340"/>
              <a:gd name="csX6" fmla="*/ 712781 w 763849"/>
              <a:gd name="csY6" fmla="*/ 1498472 h 1523340"/>
              <a:gd name="csX7" fmla="*/ 625540 w 763849"/>
              <a:gd name="csY7" fmla="*/ 1511981 h 1523340"/>
              <a:gd name="csX8" fmla="*/ 488540 w 763849"/>
              <a:gd name="csY8" fmla="*/ 1522029 h 1523340"/>
              <a:gd name="csX9" fmla="*/ 306789 w 763849"/>
              <a:gd name="csY9" fmla="*/ 1523231 h 1523340"/>
              <a:gd name="csX10" fmla="*/ 200103 w 763849"/>
              <a:gd name="csY10" fmla="*/ 1518579 h 1523340"/>
              <a:gd name="csX11" fmla="*/ 31607 w 763849"/>
              <a:gd name="csY11" fmla="*/ 1493880 h 1523340"/>
              <a:gd name="csX12" fmla="*/ 5860 w 763849"/>
              <a:gd name="csY12" fmla="*/ 1482933 h 1523340"/>
              <a:gd name="csX13" fmla="*/ 32 w 763849"/>
              <a:gd name="csY13" fmla="*/ 1471774 h 1523340"/>
              <a:gd name="csX14" fmla="*/ 21295 w 763849"/>
              <a:gd name="csY14" fmla="*/ 1378237 h 1523340"/>
              <a:gd name="csX15" fmla="*/ 23169 w 763849"/>
              <a:gd name="csY15" fmla="*/ 1364271 h 1523340"/>
              <a:gd name="csX16" fmla="*/ 23871 w 763849"/>
              <a:gd name="csY16" fmla="*/ 1303132 h 1523340"/>
              <a:gd name="csX17" fmla="*/ 59740 w 763849"/>
              <a:gd name="csY17" fmla="*/ 1234649 h 1523340"/>
              <a:gd name="csX18" fmla="*/ 98899 w 763849"/>
              <a:gd name="csY18" fmla="*/ 1195619 h 1523340"/>
              <a:gd name="csX19" fmla="*/ 131493 w 763849"/>
              <a:gd name="csY19" fmla="*/ 1127593 h 1523340"/>
              <a:gd name="csX20" fmla="*/ 108213 w 763849"/>
              <a:gd name="csY20" fmla="*/ 1058723 h 1523340"/>
              <a:gd name="csX21" fmla="*/ 74370 w 763849"/>
              <a:gd name="csY21" fmla="*/ 1024929 h 1523340"/>
              <a:gd name="csX22" fmla="*/ 68137 w 763849"/>
              <a:gd name="csY22" fmla="*/ 987550 h 1523340"/>
              <a:gd name="csX23" fmla="*/ 86420 w 763849"/>
              <a:gd name="csY23" fmla="*/ 941991 h 1523340"/>
              <a:gd name="csX24" fmla="*/ 97082 w 763849"/>
              <a:gd name="csY24" fmla="*/ 828037 h 1523340"/>
              <a:gd name="csX25" fmla="*/ 61782 w 763849"/>
              <a:gd name="csY25" fmla="*/ 696973 h 1523340"/>
              <a:gd name="csX26" fmla="*/ 26901 w 763849"/>
              <a:gd name="csY26" fmla="*/ 547868 h 1523340"/>
              <a:gd name="csX27" fmla="*/ 20221 w 763849"/>
              <a:gd name="csY27" fmla="*/ 479529 h 1523340"/>
              <a:gd name="csX28" fmla="*/ 40808 w 763849"/>
              <a:gd name="csY28" fmla="*/ 334388 h 1523340"/>
              <a:gd name="csX29" fmla="*/ 65171 w 763849"/>
              <a:gd name="csY29" fmla="*/ 263707 h 1523340"/>
              <a:gd name="csX30" fmla="*/ 142827 w 763849"/>
              <a:gd name="csY30" fmla="*/ 171003 h 1523340"/>
              <a:gd name="csX31" fmla="*/ 172290 w 763849"/>
              <a:gd name="csY31" fmla="*/ 155872 h 1523340"/>
              <a:gd name="csX32" fmla="*/ 189008 w 763849"/>
              <a:gd name="csY32" fmla="*/ 148158 h 1523340"/>
              <a:gd name="csX33" fmla="*/ 212828 w 763849"/>
              <a:gd name="csY33" fmla="*/ 126123 h 1523340"/>
              <a:gd name="csX34" fmla="*/ 217217 w 763849"/>
              <a:gd name="csY34" fmla="*/ 118740 h 1523340"/>
              <a:gd name="csX35" fmla="*/ 253000 w 763849"/>
              <a:gd name="csY35" fmla="*/ 88998 h 1523340"/>
              <a:gd name="csX36" fmla="*/ 322085 w 763849"/>
              <a:gd name="csY36" fmla="*/ 72193 h 1523340"/>
              <a:gd name="csX37" fmla="*/ 330478 w 763849"/>
              <a:gd name="csY37" fmla="*/ 70387 h 1523340"/>
              <a:gd name="csX38" fmla="*/ 388016 w 763849"/>
              <a:gd name="csY38" fmla="*/ 35457 h 1523340"/>
              <a:gd name="csX39" fmla="*/ 421527 w 763849"/>
              <a:gd name="csY39" fmla="*/ 0 h 1523340"/>
              <a:gd name="csX40" fmla="*/ 424538 w 763849"/>
              <a:gd name="csY40" fmla="*/ 10833 h 1523340"/>
              <a:gd name="csX41" fmla="*/ 436339 w 763849"/>
              <a:gd name="csY41" fmla="*/ 121836 h 1523340"/>
              <a:gd name="csX42" fmla="*/ 449983 w 763849"/>
              <a:gd name="csY42" fmla="*/ 141450 h 1523340"/>
              <a:gd name="csX43" fmla="*/ 503299 w 763849"/>
              <a:gd name="csY43" fmla="*/ 169290 h 1523340"/>
              <a:gd name="csX44" fmla="*/ 551461 w 763849"/>
              <a:gd name="csY44" fmla="*/ 203111 h 1523340"/>
              <a:gd name="csX45" fmla="*/ 588803 w 763849"/>
              <a:gd name="csY45" fmla="*/ 252797 h 1523340"/>
              <a:gd name="csX46" fmla="*/ 634209 w 763849"/>
              <a:gd name="csY46" fmla="*/ 327081 h 1523340"/>
              <a:gd name="csX47" fmla="*/ 697923 w 763849"/>
              <a:gd name="csY47" fmla="*/ 384157 h 1523340"/>
              <a:gd name="csX48" fmla="*/ 729658 w 763849"/>
              <a:gd name="csY48" fmla="*/ 407288 h 1523340"/>
              <a:gd name="csX49" fmla="*/ 763354 w 763849"/>
              <a:gd name="csY49" fmla="*/ 471325 h 1523340"/>
              <a:gd name="csX50" fmla="*/ 757092 w 763849"/>
              <a:gd name="csY50" fmla="*/ 527116 h 1523340"/>
              <a:gd name="csX51" fmla="*/ 720673 w 763849"/>
              <a:gd name="csY51" fmla="*/ 570023 h 1523340"/>
              <a:gd name="csX52" fmla="*/ 704918 w 763849"/>
              <a:gd name="csY52" fmla="*/ 581294 h 1523340"/>
              <a:gd name="csX53" fmla="*/ 671960 w 763849"/>
              <a:gd name="csY53" fmla="*/ 595325 h 1523340"/>
              <a:gd name="csX54" fmla="*/ 633021 w 763849"/>
              <a:gd name="csY54" fmla="*/ 591397 h 1523340"/>
              <a:gd name="csX55" fmla="*/ 580696 w 763849"/>
              <a:gd name="csY55" fmla="*/ 556742 h 1523340"/>
              <a:gd name="csX56" fmla="*/ 545415 w 763849"/>
              <a:gd name="csY56" fmla="*/ 524617 h 1523340"/>
              <a:gd name="csX57" fmla="*/ 518889 w 763849"/>
              <a:gd name="csY57" fmla="*/ 516179 h 1523340"/>
              <a:gd name="csX58" fmla="*/ 472309 w 763849"/>
              <a:gd name="csY58" fmla="*/ 517812 h 1523340"/>
              <a:gd name="csX59" fmla="*/ 415953 w 763849"/>
              <a:gd name="csY59" fmla="*/ 517245 h 1523340"/>
              <a:gd name="csX60" fmla="*/ 403392 w 763849"/>
              <a:gd name="csY60" fmla="*/ 516539 h 1523340"/>
              <a:gd name="csX61" fmla="*/ 407957 w 763849"/>
              <a:gd name="csY61" fmla="*/ 542045 h 1523340"/>
              <a:gd name="csX62" fmla="*/ 434134 w 763849"/>
              <a:gd name="csY62" fmla="*/ 583349 h 1523340"/>
              <a:gd name="csX63" fmla="*/ 524267 w 763849"/>
              <a:gd name="csY63" fmla="*/ 683922 h 1523340"/>
              <a:gd name="csX64" fmla="*/ 614317 w 763849"/>
              <a:gd name="csY64" fmla="*/ 786085 h 1523340"/>
              <a:gd name="csX65" fmla="*/ 669590 w 763849"/>
              <a:gd name="csY65" fmla="*/ 921089 h 1523340"/>
              <a:gd name="csX66" fmla="*/ 647360 w 763849"/>
              <a:gd name="csY66" fmla="*/ 1057245 h 1523340"/>
              <a:gd name="csX67" fmla="*/ 627872 w 763849"/>
              <a:gd name="csY67" fmla="*/ 1102111 h 1523340"/>
              <a:gd name="csX68" fmla="*/ 642300 w 763849"/>
              <a:gd name="csY68" fmla="*/ 1175941 h 1523340"/>
              <a:gd name="csX69" fmla="*/ 668829 w 763849"/>
              <a:gd name="csY69" fmla="*/ 1206449 h 1523340"/>
              <a:gd name="csX70" fmla="*/ 703087 w 763849"/>
              <a:gd name="csY70" fmla="*/ 1241174 h 1523340"/>
              <a:gd name="csX71" fmla="*/ 648750 w 763849"/>
              <a:gd name="csY71" fmla="*/ 562343 h 1523340"/>
              <a:gd name="csX72" fmla="*/ 674049 w 763849"/>
              <a:gd name="csY72" fmla="*/ 562834 h 1523340"/>
              <a:gd name="csX73" fmla="*/ 660781 w 763849"/>
              <a:gd name="csY73" fmla="*/ 550178 h 1523340"/>
              <a:gd name="csX74" fmla="*/ 650911 w 763849"/>
              <a:gd name="csY74" fmla="*/ 534051 h 1523340"/>
              <a:gd name="csX75" fmla="*/ 660724 w 763849"/>
              <a:gd name="csY75" fmla="*/ 537605 h 1523340"/>
              <a:gd name="csX76" fmla="*/ 688133 w 763849"/>
              <a:gd name="csY76" fmla="*/ 543363 h 1523340"/>
              <a:gd name="csX77" fmla="*/ 731514 w 763849"/>
              <a:gd name="csY77" fmla="*/ 510767 h 1523340"/>
              <a:gd name="csX78" fmla="*/ 733611 w 763849"/>
              <a:gd name="csY78" fmla="*/ 466905 h 1523340"/>
              <a:gd name="csX79" fmla="*/ 708076 w 763849"/>
              <a:gd name="csY79" fmla="*/ 425975 h 1523340"/>
              <a:gd name="csX80" fmla="*/ 667538 w 763849"/>
              <a:gd name="csY80" fmla="*/ 398254 h 1523340"/>
              <a:gd name="csX81" fmla="*/ 601016 w 763849"/>
              <a:gd name="csY81" fmla="*/ 332127 h 1523340"/>
              <a:gd name="csX82" fmla="*/ 565354 w 763849"/>
              <a:gd name="csY82" fmla="*/ 270526 h 1523340"/>
              <a:gd name="csX83" fmla="*/ 490657 w 763849"/>
              <a:gd name="csY83" fmla="*/ 195121 h 1523340"/>
              <a:gd name="csX84" fmla="*/ 432834 w 763849"/>
              <a:gd name="csY84" fmla="*/ 165243 h 1523340"/>
              <a:gd name="csX85" fmla="*/ 407594 w 763849"/>
              <a:gd name="csY85" fmla="*/ 127852 h 1523340"/>
              <a:gd name="csX86" fmla="*/ 405020 w 763849"/>
              <a:gd name="csY86" fmla="*/ 69029 h 1523340"/>
              <a:gd name="csX87" fmla="*/ 403638 w 763849"/>
              <a:gd name="csY87" fmla="*/ 58130 h 1523340"/>
              <a:gd name="csX88" fmla="*/ 349776 w 763849"/>
              <a:gd name="csY88" fmla="*/ 133259 h 1523340"/>
              <a:gd name="csX89" fmla="*/ 326975 w 763849"/>
              <a:gd name="csY89" fmla="*/ 159669 h 1523340"/>
              <a:gd name="csX90" fmla="*/ 240374 w 763849"/>
              <a:gd name="csY90" fmla="*/ 221714 h 1523340"/>
              <a:gd name="csX91" fmla="*/ 171637 w 763849"/>
              <a:gd name="csY91" fmla="*/ 309087 h 1523340"/>
              <a:gd name="csX92" fmla="*/ 138048 w 763849"/>
              <a:gd name="csY92" fmla="*/ 516954 h 1523340"/>
              <a:gd name="csX93" fmla="*/ 163889 w 763849"/>
              <a:gd name="csY93" fmla="*/ 641780 h 1523340"/>
              <a:gd name="csX94" fmla="*/ 204800 w 763849"/>
              <a:gd name="csY94" fmla="*/ 787055 h 1523340"/>
              <a:gd name="csX95" fmla="*/ 218549 w 763849"/>
              <a:gd name="csY95" fmla="*/ 949545 h 1523340"/>
              <a:gd name="csX96" fmla="*/ 191487 w 763849"/>
              <a:gd name="csY96" fmla="*/ 1033064 h 1523340"/>
              <a:gd name="csX97" fmla="*/ 188729 w 763849"/>
              <a:gd name="csY97" fmla="*/ 1039835 h 1523340"/>
              <a:gd name="csX98" fmla="*/ 221417 w 763849"/>
              <a:gd name="csY98" fmla="*/ 1040799 h 1523340"/>
              <a:gd name="csX99" fmla="*/ 348895 w 763849"/>
              <a:gd name="csY99" fmla="*/ 1046759 h 1523340"/>
              <a:gd name="csX100" fmla="*/ 545369 w 763849"/>
              <a:gd name="csY100" fmla="*/ 1044456 h 1523340"/>
              <a:gd name="csX101" fmla="*/ 612424 w 763849"/>
              <a:gd name="csY101" fmla="*/ 1037365 h 1523340"/>
              <a:gd name="csX102" fmla="*/ 623169 w 763849"/>
              <a:gd name="csY102" fmla="*/ 1028873 h 1523340"/>
              <a:gd name="csX103" fmla="*/ 638508 w 763849"/>
              <a:gd name="csY103" fmla="*/ 959599 h 1523340"/>
              <a:gd name="csX104" fmla="*/ 609213 w 763849"/>
              <a:gd name="csY104" fmla="*/ 842075 h 1523340"/>
              <a:gd name="csX105" fmla="*/ 529367 w 763849"/>
              <a:gd name="csY105" fmla="*/ 735065 h 1523340"/>
              <a:gd name="csX106" fmla="*/ 403792 w 763849"/>
              <a:gd name="csY106" fmla="*/ 596993 h 1523340"/>
              <a:gd name="csX107" fmla="*/ 344708 w 763849"/>
              <a:gd name="csY107" fmla="*/ 511366 h 1523340"/>
              <a:gd name="csX108" fmla="*/ 324464 w 763849"/>
              <a:gd name="csY108" fmla="*/ 380084 h 1523340"/>
              <a:gd name="csX109" fmla="*/ 327688 w 763849"/>
              <a:gd name="csY109" fmla="*/ 373535 h 1523340"/>
              <a:gd name="csX110" fmla="*/ 330334 w 763849"/>
              <a:gd name="csY110" fmla="*/ 373641 h 1523340"/>
              <a:gd name="csX111" fmla="*/ 334272 w 763849"/>
              <a:gd name="csY111" fmla="*/ 384645 h 1523340"/>
              <a:gd name="csX112" fmla="*/ 365260 w 763849"/>
              <a:gd name="csY112" fmla="*/ 453955 h 1523340"/>
              <a:gd name="csX113" fmla="*/ 408246 w 763849"/>
              <a:gd name="csY113" fmla="*/ 483592 h 1523340"/>
              <a:gd name="csX114" fmla="*/ 464529 w 763849"/>
              <a:gd name="csY114" fmla="*/ 486187 h 1523340"/>
              <a:gd name="csX115" fmla="*/ 511119 w 763849"/>
              <a:gd name="csY115" fmla="*/ 484308 h 1523340"/>
              <a:gd name="csX116" fmla="*/ 567913 w 763849"/>
              <a:gd name="csY116" fmla="*/ 503736 h 1523340"/>
              <a:gd name="csX117" fmla="*/ 607611 w 763849"/>
              <a:gd name="csY117" fmla="*/ 540326 h 1523340"/>
              <a:gd name="csX118" fmla="*/ 648750 w 763849"/>
              <a:gd name="csY118" fmla="*/ 562343 h 1523340"/>
              <a:gd name="csX119" fmla="*/ 462594 w 763849"/>
              <a:gd name="csY119" fmla="*/ 1369008 h 1523340"/>
              <a:gd name="csX120" fmla="*/ 510357 w 763849"/>
              <a:gd name="csY120" fmla="*/ 1366345 h 1523340"/>
              <a:gd name="csX121" fmla="*/ 549434 w 763849"/>
              <a:gd name="csY121" fmla="*/ 1362956 h 1523340"/>
              <a:gd name="csX122" fmla="*/ 632369 w 763849"/>
              <a:gd name="csY122" fmla="*/ 1354439 h 1523340"/>
              <a:gd name="csX123" fmla="*/ 697252 w 763849"/>
              <a:gd name="csY123" fmla="*/ 1346424 h 1523340"/>
              <a:gd name="csX124" fmla="*/ 676674 w 763849"/>
              <a:gd name="csY124" fmla="*/ 1266396 h 1523340"/>
              <a:gd name="csX125" fmla="*/ 646594 w 763849"/>
              <a:gd name="csY125" fmla="*/ 1234108 h 1523340"/>
              <a:gd name="csX126" fmla="*/ 612063 w 763849"/>
              <a:gd name="csY126" fmla="*/ 1194382 h 1523340"/>
              <a:gd name="csX127" fmla="*/ 591616 w 763849"/>
              <a:gd name="csY127" fmla="*/ 1111541 h 1523340"/>
              <a:gd name="csX128" fmla="*/ 594320 w 763849"/>
              <a:gd name="csY128" fmla="*/ 1089609 h 1523340"/>
              <a:gd name="csX129" fmla="*/ 578634 w 763849"/>
              <a:gd name="csY129" fmla="*/ 1089642 h 1523340"/>
              <a:gd name="csX130" fmla="*/ 443931 w 763849"/>
              <a:gd name="csY130" fmla="*/ 1096700 h 1523340"/>
              <a:gd name="csX131" fmla="*/ 403417 w 763849"/>
              <a:gd name="csY131" fmla="*/ 1097156 h 1523340"/>
              <a:gd name="csX132" fmla="*/ 388348 w 763849"/>
              <a:gd name="csY132" fmla="*/ 1111502 h 1523340"/>
              <a:gd name="csX133" fmla="*/ 385048 w 763849"/>
              <a:gd name="csY133" fmla="*/ 1176431 h 1523340"/>
              <a:gd name="csX134" fmla="*/ 377687 w 763849"/>
              <a:gd name="csY134" fmla="*/ 1308672 h 1523340"/>
              <a:gd name="csX135" fmla="*/ 376823 w 763849"/>
              <a:gd name="csY135" fmla="*/ 1320897 h 1523340"/>
              <a:gd name="csX136" fmla="*/ 376781 w 763849"/>
              <a:gd name="csY136" fmla="*/ 1366151 h 1523340"/>
              <a:gd name="csX137" fmla="*/ 462594 w 763849"/>
              <a:gd name="csY137" fmla="*/ 1369008 h 1523340"/>
              <a:gd name="csX138" fmla="*/ 648494 w 763849"/>
              <a:gd name="csY138" fmla="*/ 1463981 h 1523340"/>
              <a:gd name="csX139" fmla="*/ 718746 w 763849"/>
              <a:gd name="csY139" fmla="*/ 1451892 h 1523340"/>
              <a:gd name="csX140" fmla="*/ 711827 w 763849"/>
              <a:gd name="csY140" fmla="*/ 1416835 h 1523340"/>
              <a:gd name="csX141" fmla="*/ 685812 w 763849"/>
              <a:gd name="csY141" fmla="*/ 1398502 h 1523340"/>
              <a:gd name="csX142" fmla="*/ 680924 w 763849"/>
              <a:gd name="csY142" fmla="*/ 1398973 h 1523340"/>
              <a:gd name="csX143" fmla="*/ 598278 w 763849"/>
              <a:gd name="csY143" fmla="*/ 1409218 h 1523340"/>
              <a:gd name="csX144" fmla="*/ 474765 w 763849"/>
              <a:gd name="csY144" fmla="*/ 1417945 h 1523340"/>
              <a:gd name="csX145" fmla="*/ 385143 w 763849"/>
              <a:gd name="csY145" fmla="*/ 1418978 h 1523340"/>
              <a:gd name="csX146" fmla="*/ 376639 w 763849"/>
              <a:gd name="csY146" fmla="*/ 1419613 h 1523340"/>
              <a:gd name="csX147" fmla="*/ 376639 w 763849"/>
              <a:gd name="csY147" fmla="*/ 1473939 h 1523340"/>
              <a:gd name="csX148" fmla="*/ 382089 w 763849"/>
              <a:gd name="csY148" fmla="*/ 1474854 h 1523340"/>
              <a:gd name="csX149" fmla="*/ 449536 w 763849"/>
              <a:gd name="csY149" fmla="*/ 1476855 h 1523340"/>
              <a:gd name="csX150" fmla="*/ 559930 w 763849"/>
              <a:gd name="csY150" fmla="*/ 1474307 h 1523340"/>
              <a:gd name="csX151" fmla="*/ 648494 w 763849"/>
              <a:gd name="csY151" fmla="*/ 1463981 h 152334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</a:cxnLst>
            <a:rect l="l" t="t" r="r" b="b"/>
            <a:pathLst>
              <a:path w="763849" h="1523340">
                <a:moveTo>
                  <a:pt x="703087" y="1241174"/>
                </a:moveTo>
                <a:cubicBezTo>
                  <a:pt x="732418" y="1276379"/>
                  <a:pt x="738825" y="1316526"/>
                  <a:pt x="732932" y="1359634"/>
                </a:cubicBezTo>
                <a:cubicBezTo>
                  <a:pt x="732067" y="1365959"/>
                  <a:pt x="732453" y="1371428"/>
                  <a:pt x="735544" y="1377287"/>
                </a:cubicBezTo>
                <a:cubicBezTo>
                  <a:pt x="748937" y="1402675"/>
                  <a:pt x="755318" y="1430010"/>
                  <a:pt x="756764" y="1458577"/>
                </a:cubicBezTo>
                <a:cubicBezTo>
                  <a:pt x="756887" y="1461031"/>
                  <a:pt x="756895" y="1463494"/>
                  <a:pt x="757108" y="1465940"/>
                </a:cubicBezTo>
                <a:cubicBezTo>
                  <a:pt x="758375" y="1480486"/>
                  <a:pt x="757802" y="1482498"/>
                  <a:pt x="744215" y="1488332"/>
                </a:cubicBezTo>
                <a:cubicBezTo>
                  <a:pt x="734126" y="1492664"/>
                  <a:pt x="723536" y="1496562"/>
                  <a:pt x="712781" y="1498472"/>
                </a:cubicBezTo>
                <a:cubicBezTo>
                  <a:pt x="683814" y="1503617"/>
                  <a:pt x="654674" y="1507832"/>
                  <a:pt x="625540" y="1511981"/>
                </a:cubicBezTo>
                <a:cubicBezTo>
                  <a:pt x="580114" y="1518449"/>
                  <a:pt x="534395" y="1521481"/>
                  <a:pt x="488540" y="1522029"/>
                </a:cubicBezTo>
                <a:cubicBezTo>
                  <a:pt x="427958" y="1522752"/>
                  <a:pt x="367367" y="1523658"/>
                  <a:pt x="306789" y="1523231"/>
                </a:cubicBezTo>
                <a:cubicBezTo>
                  <a:pt x="271215" y="1522980"/>
                  <a:pt x="235625" y="1520833"/>
                  <a:pt x="200103" y="1518579"/>
                </a:cubicBezTo>
                <a:cubicBezTo>
                  <a:pt x="143289" y="1514974"/>
                  <a:pt x="86915" y="1507766"/>
                  <a:pt x="31607" y="1493880"/>
                </a:cubicBezTo>
                <a:cubicBezTo>
                  <a:pt x="22666" y="1491635"/>
                  <a:pt x="14297" y="1486920"/>
                  <a:pt x="5860" y="1482933"/>
                </a:cubicBezTo>
                <a:cubicBezTo>
                  <a:pt x="1433" y="1480841"/>
                  <a:pt x="-262" y="1476934"/>
                  <a:pt x="32" y="1471774"/>
                </a:cubicBezTo>
                <a:cubicBezTo>
                  <a:pt x="1880" y="1439401"/>
                  <a:pt x="3993" y="1407192"/>
                  <a:pt x="21295" y="1378237"/>
                </a:cubicBezTo>
                <a:cubicBezTo>
                  <a:pt x="23526" y="1374504"/>
                  <a:pt x="23666" y="1368858"/>
                  <a:pt x="23169" y="1364271"/>
                </a:cubicBezTo>
                <a:cubicBezTo>
                  <a:pt x="20957" y="1343833"/>
                  <a:pt x="20482" y="1323540"/>
                  <a:pt x="23871" y="1303132"/>
                </a:cubicBezTo>
                <a:cubicBezTo>
                  <a:pt x="28332" y="1276267"/>
                  <a:pt x="41045" y="1253887"/>
                  <a:pt x="59740" y="1234649"/>
                </a:cubicBezTo>
                <a:cubicBezTo>
                  <a:pt x="72582" y="1221434"/>
                  <a:pt x="85657" y="1208434"/>
                  <a:pt x="98899" y="1195619"/>
                </a:cubicBezTo>
                <a:cubicBezTo>
                  <a:pt x="118216" y="1176926"/>
                  <a:pt x="130484" y="1154702"/>
                  <a:pt x="131493" y="1127593"/>
                </a:cubicBezTo>
                <a:cubicBezTo>
                  <a:pt x="132448" y="1101948"/>
                  <a:pt x="127125" y="1077868"/>
                  <a:pt x="108213" y="1058723"/>
                </a:cubicBezTo>
                <a:cubicBezTo>
                  <a:pt x="97010" y="1047381"/>
                  <a:pt x="85438" y="1036399"/>
                  <a:pt x="74370" y="1024929"/>
                </a:cubicBezTo>
                <a:cubicBezTo>
                  <a:pt x="63868" y="1014043"/>
                  <a:pt x="62267" y="1001475"/>
                  <a:pt x="68137" y="987550"/>
                </a:cubicBezTo>
                <a:cubicBezTo>
                  <a:pt x="74493" y="972473"/>
                  <a:pt x="80703" y="957319"/>
                  <a:pt x="86420" y="941991"/>
                </a:cubicBezTo>
                <a:cubicBezTo>
                  <a:pt x="100218" y="905001"/>
                  <a:pt x="99441" y="866690"/>
                  <a:pt x="97082" y="828037"/>
                </a:cubicBezTo>
                <a:cubicBezTo>
                  <a:pt x="94260" y="781809"/>
                  <a:pt x="76370" y="739899"/>
                  <a:pt x="61782" y="696973"/>
                </a:cubicBezTo>
                <a:cubicBezTo>
                  <a:pt x="45282" y="648419"/>
                  <a:pt x="33285" y="598770"/>
                  <a:pt x="26901" y="547868"/>
                </a:cubicBezTo>
                <a:cubicBezTo>
                  <a:pt x="24054" y="525160"/>
                  <a:pt x="21110" y="502364"/>
                  <a:pt x="20221" y="479529"/>
                </a:cubicBezTo>
                <a:cubicBezTo>
                  <a:pt x="18293" y="430013"/>
                  <a:pt x="26126" y="381610"/>
                  <a:pt x="40808" y="334388"/>
                </a:cubicBezTo>
                <a:cubicBezTo>
                  <a:pt x="48208" y="310588"/>
                  <a:pt x="55162" y="286441"/>
                  <a:pt x="65171" y="263707"/>
                </a:cubicBezTo>
                <a:cubicBezTo>
                  <a:pt x="81946" y="225606"/>
                  <a:pt x="106517" y="193071"/>
                  <a:pt x="142827" y="171003"/>
                </a:cubicBezTo>
                <a:cubicBezTo>
                  <a:pt x="152238" y="165283"/>
                  <a:pt x="162401" y="160787"/>
                  <a:pt x="172290" y="155872"/>
                </a:cubicBezTo>
                <a:cubicBezTo>
                  <a:pt x="177784" y="153142"/>
                  <a:pt x="183393" y="150635"/>
                  <a:pt x="189008" y="148158"/>
                </a:cubicBezTo>
                <a:cubicBezTo>
                  <a:pt x="199487" y="143534"/>
                  <a:pt x="207598" y="136426"/>
                  <a:pt x="212828" y="126123"/>
                </a:cubicBezTo>
                <a:cubicBezTo>
                  <a:pt x="214121" y="123575"/>
                  <a:pt x="215966" y="121304"/>
                  <a:pt x="217217" y="118740"/>
                </a:cubicBezTo>
                <a:cubicBezTo>
                  <a:pt x="224688" y="103433"/>
                  <a:pt x="237053" y="93440"/>
                  <a:pt x="253000" y="88998"/>
                </a:cubicBezTo>
                <a:cubicBezTo>
                  <a:pt x="275818" y="82642"/>
                  <a:pt x="299033" y="77711"/>
                  <a:pt x="322085" y="72193"/>
                </a:cubicBezTo>
                <a:cubicBezTo>
                  <a:pt x="324867" y="71527"/>
                  <a:pt x="327694" y="71045"/>
                  <a:pt x="330478" y="70387"/>
                </a:cubicBezTo>
                <a:cubicBezTo>
                  <a:pt x="364731" y="62297"/>
                  <a:pt x="364569" y="62151"/>
                  <a:pt x="388016" y="35457"/>
                </a:cubicBezTo>
                <a:cubicBezTo>
                  <a:pt x="398189" y="23875"/>
                  <a:pt x="409180" y="13010"/>
                  <a:pt x="421527" y="0"/>
                </a:cubicBezTo>
                <a:cubicBezTo>
                  <a:pt x="423000" y="5190"/>
                  <a:pt x="424219" y="7961"/>
                  <a:pt x="424538" y="10833"/>
                </a:cubicBezTo>
                <a:cubicBezTo>
                  <a:pt x="428638" y="47817"/>
                  <a:pt x="433030" y="84779"/>
                  <a:pt x="436339" y="121836"/>
                </a:cubicBezTo>
                <a:cubicBezTo>
                  <a:pt x="437236" y="131893"/>
                  <a:pt x="441545" y="137271"/>
                  <a:pt x="449983" y="141450"/>
                </a:cubicBezTo>
                <a:cubicBezTo>
                  <a:pt x="467954" y="150348"/>
                  <a:pt x="486187" y="158915"/>
                  <a:pt x="503299" y="169290"/>
                </a:cubicBezTo>
                <a:cubicBezTo>
                  <a:pt x="520041" y="179441"/>
                  <a:pt x="535883" y="191197"/>
                  <a:pt x="551461" y="203111"/>
                </a:cubicBezTo>
                <a:cubicBezTo>
                  <a:pt x="568416" y="216079"/>
                  <a:pt x="579195" y="234146"/>
                  <a:pt x="588803" y="252797"/>
                </a:cubicBezTo>
                <a:cubicBezTo>
                  <a:pt x="602134" y="278677"/>
                  <a:pt x="616556" y="303835"/>
                  <a:pt x="634209" y="327081"/>
                </a:cubicBezTo>
                <a:cubicBezTo>
                  <a:pt x="651797" y="350241"/>
                  <a:pt x="673980" y="368103"/>
                  <a:pt x="697923" y="384157"/>
                </a:cubicBezTo>
                <a:cubicBezTo>
                  <a:pt x="708787" y="391441"/>
                  <a:pt x="719007" y="399678"/>
                  <a:pt x="729658" y="407288"/>
                </a:cubicBezTo>
                <a:cubicBezTo>
                  <a:pt x="751657" y="423004"/>
                  <a:pt x="761259" y="445265"/>
                  <a:pt x="763354" y="471325"/>
                </a:cubicBezTo>
                <a:cubicBezTo>
                  <a:pt x="764877" y="490275"/>
                  <a:pt x="762919" y="509064"/>
                  <a:pt x="757092" y="527116"/>
                </a:cubicBezTo>
                <a:cubicBezTo>
                  <a:pt x="750932" y="546198"/>
                  <a:pt x="738296" y="560266"/>
                  <a:pt x="720673" y="570023"/>
                </a:cubicBezTo>
                <a:cubicBezTo>
                  <a:pt x="715048" y="573138"/>
                  <a:pt x="709487" y="576825"/>
                  <a:pt x="704918" y="581294"/>
                </a:cubicBezTo>
                <a:cubicBezTo>
                  <a:pt x="695625" y="590383"/>
                  <a:pt x="684728" y="595697"/>
                  <a:pt x="671960" y="595325"/>
                </a:cubicBezTo>
                <a:cubicBezTo>
                  <a:pt x="658939" y="594945"/>
                  <a:pt x="645743" y="594018"/>
                  <a:pt x="633021" y="591397"/>
                </a:cubicBezTo>
                <a:cubicBezTo>
                  <a:pt x="611233" y="586907"/>
                  <a:pt x="595034" y="572939"/>
                  <a:pt x="580696" y="556742"/>
                </a:cubicBezTo>
                <a:cubicBezTo>
                  <a:pt x="570081" y="544750"/>
                  <a:pt x="559052" y="533306"/>
                  <a:pt x="545415" y="524617"/>
                </a:cubicBezTo>
                <a:cubicBezTo>
                  <a:pt x="537261" y="519422"/>
                  <a:pt x="528551" y="515996"/>
                  <a:pt x="518889" y="516179"/>
                </a:cubicBezTo>
                <a:cubicBezTo>
                  <a:pt x="503357" y="516473"/>
                  <a:pt x="487839" y="517663"/>
                  <a:pt x="472309" y="517812"/>
                </a:cubicBezTo>
                <a:cubicBezTo>
                  <a:pt x="453527" y="517993"/>
                  <a:pt x="434738" y="517514"/>
                  <a:pt x="415953" y="517245"/>
                </a:cubicBezTo>
                <a:cubicBezTo>
                  <a:pt x="411976" y="517189"/>
                  <a:pt x="408003" y="516808"/>
                  <a:pt x="403392" y="516539"/>
                </a:cubicBezTo>
                <a:cubicBezTo>
                  <a:pt x="401207" y="526363"/>
                  <a:pt x="404857" y="534293"/>
                  <a:pt x="407957" y="542045"/>
                </a:cubicBezTo>
                <a:cubicBezTo>
                  <a:pt x="414092" y="557387"/>
                  <a:pt x="423168" y="571042"/>
                  <a:pt x="434134" y="583349"/>
                </a:cubicBezTo>
                <a:cubicBezTo>
                  <a:pt x="464083" y="616959"/>
                  <a:pt x="493980" y="650618"/>
                  <a:pt x="524267" y="683922"/>
                </a:cubicBezTo>
                <a:cubicBezTo>
                  <a:pt x="554818" y="717518"/>
                  <a:pt x="588291" y="748619"/>
                  <a:pt x="614317" y="786085"/>
                </a:cubicBezTo>
                <a:cubicBezTo>
                  <a:pt x="642656" y="826881"/>
                  <a:pt x="663974" y="871159"/>
                  <a:pt x="669590" y="921089"/>
                </a:cubicBezTo>
                <a:cubicBezTo>
                  <a:pt x="674894" y="968240"/>
                  <a:pt x="669774" y="1014226"/>
                  <a:pt x="647360" y="1057245"/>
                </a:cubicBezTo>
                <a:cubicBezTo>
                  <a:pt x="639830" y="1071697"/>
                  <a:pt x="630533" y="1085565"/>
                  <a:pt x="627872" y="1102111"/>
                </a:cubicBezTo>
                <a:cubicBezTo>
                  <a:pt x="623640" y="1128439"/>
                  <a:pt x="626183" y="1153784"/>
                  <a:pt x="642300" y="1175941"/>
                </a:cubicBezTo>
                <a:cubicBezTo>
                  <a:pt x="650201" y="1186801"/>
                  <a:pt x="659595" y="1196636"/>
                  <a:pt x="668829" y="1206449"/>
                </a:cubicBezTo>
                <a:cubicBezTo>
                  <a:pt x="679770" y="1218075"/>
                  <a:pt x="691267" y="1229177"/>
                  <a:pt x="703087" y="1241174"/>
                </a:cubicBezTo>
                <a:moveTo>
                  <a:pt x="648750" y="562343"/>
                </a:moveTo>
                <a:cubicBezTo>
                  <a:pt x="656729" y="562558"/>
                  <a:pt x="664698" y="567407"/>
                  <a:pt x="674049" y="562834"/>
                </a:cubicBezTo>
                <a:cubicBezTo>
                  <a:pt x="668990" y="558037"/>
                  <a:pt x="664729" y="554259"/>
                  <a:pt x="660781" y="550178"/>
                </a:cubicBezTo>
                <a:cubicBezTo>
                  <a:pt x="656713" y="545973"/>
                  <a:pt x="651493" y="542363"/>
                  <a:pt x="650911" y="534051"/>
                </a:cubicBezTo>
                <a:cubicBezTo>
                  <a:pt x="654940" y="535536"/>
                  <a:pt x="657753" y="536907"/>
                  <a:pt x="660724" y="537605"/>
                </a:cubicBezTo>
                <a:cubicBezTo>
                  <a:pt x="669824" y="539743"/>
                  <a:pt x="678915" y="542853"/>
                  <a:pt x="688133" y="543363"/>
                </a:cubicBezTo>
                <a:cubicBezTo>
                  <a:pt x="712019" y="544686"/>
                  <a:pt x="726964" y="534053"/>
                  <a:pt x="731514" y="510767"/>
                </a:cubicBezTo>
                <a:cubicBezTo>
                  <a:pt x="734296" y="496535"/>
                  <a:pt x="734146" y="481511"/>
                  <a:pt x="733611" y="466905"/>
                </a:cubicBezTo>
                <a:cubicBezTo>
                  <a:pt x="732951" y="448863"/>
                  <a:pt x="723348" y="435653"/>
                  <a:pt x="708076" y="425975"/>
                </a:cubicBezTo>
                <a:cubicBezTo>
                  <a:pt x="694258" y="417218"/>
                  <a:pt x="681056" y="407489"/>
                  <a:pt x="667538" y="398254"/>
                </a:cubicBezTo>
                <a:cubicBezTo>
                  <a:pt x="641278" y="380314"/>
                  <a:pt x="617580" y="359743"/>
                  <a:pt x="601016" y="332127"/>
                </a:cubicBezTo>
                <a:cubicBezTo>
                  <a:pt x="588810" y="311778"/>
                  <a:pt x="576093" y="291645"/>
                  <a:pt x="565354" y="270526"/>
                </a:cubicBezTo>
                <a:cubicBezTo>
                  <a:pt x="548401" y="237186"/>
                  <a:pt x="523821" y="212104"/>
                  <a:pt x="490657" y="195121"/>
                </a:cubicBezTo>
                <a:cubicBezTo>
                  <a:pt x="471346" y="185231"/>
                  <a:pt x="452394" y="174606"/>
                  <a:pt x="432834" y="165243"/>
                </a:cubicBezTo>
                <a:cubicBezTo>
                  <a:pt x="416725" y="157532"/>
                  <a:pt x="408325" y="145526"/>
                  <a:pt x="407594" y="127852"/>
                </a:cubicBezTo>
                <a:cubicBezTo>
                  <a:pt x="406783" y="108242"/>
                  <a:pt x="405935" y="88634"/>
                  <a:pt x="405020" y="69029"/>
                </a:cubicBezTo>
                <a:cubicBezTo>
                  <a:pt x="404882" y="66067"/>
                  <a:pt x="404287" y="63127"/>
                  <a:pt x="403638" y="58130"/>
                </a:cubicBezTo>
                <a:cubicBezTo>
                  <a:pt x="381792" y="82321"/>
                  <a:pt x="361650" y="104820"/>
                  <a:pt x="349776" y="133259"/>
                </a:cubicBezTo>
                <a:cubicBezTo>
                  <a:pt x="345032" y="144621"/>
                  <a:pt x="337822" y="153814"/>
                  <a:pt x="326975" y="159669"/>
                </a:cubicBezTo>
                <a:cubicBezTo>
                  <a:pt x="295461" y="176681"/>
                  <a:pt x="266610" y="197333"/>
                  <a:pt x="240374" y="221714"/>
                </a:cubicBezTo>
                <a:cubicBezTo>
                  <a:pt x="212881" y="247263"/>
                  <a:pt x="188313" y="275340"/>
                  <a:pt x="171637" y="309087"/>
                </a:cubicBezTo>
                <a:cubicBezTo>
                  <a:pt x="139180" y="374765"/>
                  <a:pt x="129692" y="444532"/>
                  <a:pt x="138048" y="516954"/>
                </a:cubicBezTo>
                <a:cubicBezTo>
                  <a:pt x="142936" y="559318"/>
                  <a:pt x="152518" y="600762"/>
                  <a:pt x="163889" y="641780"/>
                </a:cubicBezTo>
                <a:cubicBezTo>
                  <a:pt x="177329" y="690261"/>
                  <a:pt x="191989" y="738413"/>
                  <a:pt x="204800" y="787055"/>
                </a:cubicBezTo>
                <a:cubicBezTo>
                  <a:pt x="218820" y="840287"/>
                  <a:pt x="228587" y="894088"/>
                  <a:pt x="218549" y="949545"/>
                </a:cubicBezTo>
                <a:cubicBezTo>
                  <a:pt x="213279" y="978659"/>
                  <a:pt x="207130" y="1007359"/>
                  <a:pt x="191487" y="1033064"/>
                </a:cubicBezTo>
                <a:cubicBezTo>
                  <a:pt x="190499" y="1034686"/>
                  <a:pt x="190018" y="1036618"/>
                  <a:pt x="188729" y="1039835"/>
                </a:cubicBezTo>
                <a:cubicBezTo>
                  <a:pt x="200470" y="1040170"/>
                  <a:pt x="210952" y="1040298"/>
                  <a:pt x="221417" y="1040799"/>
                </a:cubicBezTo>
                <a:cubicBezTo>
                  <a:pt x="263912" y="1042835"/>
                  <a:pt x="306390" y="1046436"/>
                  <a:pt x="348895" y="1046759"/>
                </a:cubicBezTo>
                <a:cubicBezTo>
                  <a:pt x="414380" y="1047258"/>
                  <a:pt x="479896" y="1046092"/>
                  <a:pt x="545369" y="1044456"/>
                </a:cubicBezTo>
                <a:cubicBezTo>
                  <a:pt x="567764" y="1043897"/>
                  <a:pt x="590066" y="1039744"/>
                  <a:pt x="612424" y="1037365"/>
                </a:cubicBezTo>
                <a:cubicBezTo>
                  <a:pt x="617948" y="1036777"/>
                  <a:pt x="621342" y="1034139"/>
                  <a:pt x="623169" y="1028873"/>
                </a:cubicBezTo>
                <a:cubicBezTo>
                  <a:pt x="630975" y="1006370"/>
                  <a:pt x="637026" y="983472"/>
                  <a:pt x="638508" y="959599"/>
                </a:cubicBezTo>
                <a:cubicBezTo>
                  <a:pt x="641131" y="917363"/>
                  <a:pt x="628970" y="878727"/>
                  <a:pt x="609213" y="842075"/>
                </a:cubicBezTo>
                <a:cubicBezTo>
                  <a:pt x="587874" y="802491"/>
                  <a:pt x="559403" y="768169"/>
                  <a:pt x="529367" y="735065"/>
                </a:cubicBezTo>
                <a:cubicBezTo>
                  <a:pt x="487563" y="688992"/>
                  <a:pt x="445474" y="643176"/>
                  <a:pt x="403792" y="596993"/>
                </a:cubicBezTo>
                <a:cubicBezTo>
                  <a:pt x="380393" y="571066"/>
                  <a:pt x="360083" y="542922"/>
                  <a:pt x="344708" y="511366"/>
                </a:cubicBezTo>
                <a:cubicBezTo>
                  <a:pt x="324385" y="469655"/>
                  <a:pt x="317321" y="425966"/>
                  <a:pt x="324464" y="380084"/>
                </a:cubicBezTo>
                <a:cubicBezTo>
                  <a:pt x="324821" y="377789"/>
                  <a:pt x="326581" y="375713"/>
                  <a:pt x="327688" y="373535"/>
                </a:cubicBezTo>
                <a:cubicBezTo>
                  <a:pt x="328570" y="373570"/>
                  <a:pt x="329452" y="373606"/>
                  <a:pt x="330334" y="373641"/>
                </a:cubicBezTo>
                <a:cubicBezTo>
                  <a:pt x="331649" y="377308"/>
                  <a:pt x="333001" y="380963"/>
                  <a:pt x="334272" y="384645"/>
                </a:cubicBezTo>
                <a:cubicBezTo>
                  <a:pt x="342569" y="408660"/>
                  <a:pt x="351164" y="432573"/>
                  <a:pt x="365260" y="453955"/>
                </a:cubicBezTo>
                <a:cubicBezTo>
                  <a:pt x="375537" y="469544"/>
                  <a:pt x="388811" y="481767"/>
                  <a:pt x="408246" y="483592"/>
                </a:cubicBezTo>
                <a:cubicBezTo>
                  <a:pt x="426928" y="485346"/>
                  <a:pt x="445757" y="486037"/>
                  <a:pt x="464529" y="486187"/>
                </a:cubicBezTo>
                <a:cubicBezTo>
                  <a:pt x="480053" y="486311"/>
                  <a:pt x="495582" y="484792"/>
                  <a:pt x="511119" y="484308"/>
                </a:cubicBezTo>
                <a:cubicBezTo>
                  <a:pt x="532443" y="483644"/>
                  <a:pt x="551690" y="490014"/>
                  <a:pt x="567913" y="503736"/>
                </a:cubicBezTo>
                <a:cubicBezTo>
                  <a:pt x="581642" y="515348"/>
                  <a:pt x="594604" y="527888"/>
                  <a:pt x="607611" y="540326"/>
                </a:cubicBezTo>
                <a:cubicBezTo>
                  <a:pt x="618811" y="551038"/>
                  <a:pt x="631177" y="559300"/>
                  <a:pt x="648750" y="562343"/>
                </a:cubicBezTo>
                <a:moveTo>
                  <a:pt x="462594" y="1369008"/>
                </a:moveTo>
                <a:cubicBezTo>
                  <a:pt x="478517" y="1368137"/>
                  <a:pt x="494449" y="1367429"/>
                  <a:pt x="510357" y="1366345"/>
                </a:cubicBezTo>
                <a:cubicBezTo>
                  <a:pt x="523399" y="1365456"/>
                  <a:pt x="536424" y="1364247"/>
                  <a:pt x="549434" y="1362956"/>
                </a:cubicBezTo>
                <a:cubicBezTo>
                  <a:pt x="577089" y="1360213"/>
                  <a:pt x="604749" y="1357503"/>
                  <a:pt x="632369" y="1354439"/>
                </a:cubicBezTo>
                <a:cubicBezTo>
                  <a:pt x="653805" y="1352062"/>
                  <a:pt x="675183" y="1349170"/>
                  <a:pt x="697252" y="1346424"/>
                </a:cubicBezTo>
                <a:cubicBezTo>
                  <a:pt x="701148" y="1316348"/>
                  <a:pt x="695768" y="1289474"/>
                  <a:pt x="676674" y="1266396"/>
                </a:cubicBezTo>
                <a:cubicBezTo>
                  <a:pt x="667313" y="1255080"/>
                  <a:pt x="656878" y="1244625"/>
                  <a:pt x="646594" y="1234108"/>
                </a:cubicBezTo>
                <a:cubicBezTo>
                  <a:pt x="634298" y="1221533"/>
                  <a:pt x="621353" y="1209623"/>
                  <a:pt x="612063" y="1194382"/>
                </a:cubicBezTo>
                <a:cubicBezTo>
                  <a:pt x="596511" y="1168867"/>
                  <a:pt x="588079" y="1141707"/>
                  <a:pt x="591616" y="1111541"/>
                </a:cubicBezTo>
                <a:cubicBezTo>
                  <a:pt x="592450" y="1104432"/>
                  <a:pt x="593365" y="1097332"/>
                  <a:pt x="594320" y="1089609"/>
                </a:cubicBezTo>
                <a:cubicBezTo>
                  <a:pt x="588294" y="1089609"/>
                  <a:pt x="583452" y="1089392"/>
                  <a:pt x="578634" y="1089642"/>
                </a:cubicBezTo>
                <a:cubicBezTo>
                  <a:pt x="533732" y="1091976"/>
                  <a:pt x="488841" y="1094525"/>
                  <a:pt x="443931" y="1096700"/>
                </a:cubicBezTo>
                <a:cubicBezTo>
                  <a:pt x="430451" y="1097353"/>
                  <a:pt x="416923" y="1097005"/>
                  <a:pt x="403417" y="1097156"/>
                </a:cubicBezTo>
                <a:cubicBezTo>
                  <a:pt x="389337" y="1097313"/>
                  <a:pt x="388961" y="1097850"/>
                  <a:pt x="388348" y="1111502"/>
                </a:cubicBezTo>
                <a:cubicBezTo>
                  <a:pt x="387375" y="1133151"/>
                  <a:pt x="386231" y="1154793"/>
                  <a:pt x="385048" y="1176431"/>
                </a:cubicBezTo>
                <a:cubicBezTo>
                  <a:pt x="382637" y="1220514"/>
                  <a:pt x="380158" y="1264593"/>
                  <a:pt x="377687" y="1308672"/>
                </a:cubicBezTo>
                <a:cubicBezTo>
                  <a:pt x="377458" y="1312751"/>
                  <a:pt x="376852" y="1316821"/>
                  <a:pt x="376823" y="1320897"/>
                </a:cubicBezTo>
                <a:cubicBezTo>
                  <a:pt x="376717" y="1335880"/>
                  <a:pt x="376781" y="1350864"/>
                  <a:pt x="376781" y="1366151"/>
                </a:cubicBezTo>
                <a:cubicBezTo>
                  <a:pt x="404707" y="1370397"/>
                  <a:pt x="432477" y="1369351"/>
                  <a:pt x="462594" y="1369008"/>
                </a:cubicBezTo>
                <a:moveTo>
                  <a:pt x="648494" y="1463981"/>
                </a:moveTo>
                <a:cubicBezTo>
                  <a:pt x="671329" y="1460052"/>
                  <a:pt x="694163" y="1456122"/>
                  <a:pt x="718746" y="1451892"/>
                </a:cubicBezTo>
                <a:cubicBezTo>
                  <a:pt x="716257" y="1439067"/>
                  <a:pt x="714578" y="1427816"/>
                  <a:pt x="711827" y="1416835"/>
                </a:cubicBezTo>
                <a:cubicBezTo>
                  <a:pt x="707611" y="1400009"/>
                  <a:pt x="703502" y="1397423"/>
                  <a:pt x="685812" y="1398502"/>
                </a:cubicBezTo>
                <a:cubicBezTo>
                  <a:pt x="684179" y="1398602"/>
                  <a:pt x="682547" y="1398768"/>
                  <a:pt x="680924" y="1398973"/>
                </a:cubicBezTo>
                <a:cubicBezTo>
                  <a:pt x="653380" y="1402446"/>
                  <a:pt x="625911" y="1406752"/>
                  <a:pt x="598278" y="1409218"/>
                </a:cubicBezTo>
                <a:cubicBezTo>
                  <a:pt x="557171" y="1412886"/>
                  <a:pt x="515983" y="1415946"/>
                  <a:pt x="474765" y="1417945"/>
                </a:cubicBezTo>
                <a:cubicBezTo>
                  <a:pt x="444944" y="1419391"/>
                  <a:pt x="415021" y="1418680"/>
                  <a:pt x="385143" y="1418978"/>
                </a:cubicBezTo>
                <a:cubicBezTo>
                  <a:pt x="382419" y="1419005"/>
                  <a:pt x="379697" y="1419376"/>
                  <a:pt x="376639" y="1419613"/>
                </a:cubicBezTo>
                <a:cubicBezTo>
                  <a:pt x="376639" y="1438152"/>
                  <a:pt x="376639" y="1455909"/>
                  <a:pt x="376639" y="1473939"/>
                </a:cubicBezTo>
                <a:cubicBezTo>
                  <a:pt x="378971" y="1474343"/>
                  <a:pt x="380523" y="1474802"/>
                  <a:pt x="382089" y="1474854"/>
                </a:cubicBezTo>
                <a:cubicBezTo>
                  <a:pt x="404571" y="1475605"/>
                  <a:pt x="427058" y="1476986"/>
                  <a:pt x="449536" y="1476855"/>
                </a:cubicBezTo>
                <a:cubicBezTo>
                  <a:pt x="486344" y="1476639"/>
                  <a:pt x="523207" y="1476480"/>
                  <a:pt x="559930" y="1474307"/>
                </a:cubicBezTo>
                <a:cubicBezTo>
                  <a:pt x="588839" y="1472596"/>
                  <a:pt x="617570" y="1467884"/>
                  <a:pt x="648494" y="1463981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758" name="Free-form: Shape 7757">
            <a:extLst>
              <a:ext uri="{FF2B5EF4-FFF2-40B4-BE49-F238E27FC236}">
                <a16:creationId xmlns:a16="http://schemas.microsoft.com/office/drawing/2014/main" id="{312DDC57-B101-C641-7209-83B7814EFED3}"/>
              </a:ext>
            </a:extLst>
          </p:cNvPr>
          <p:cNvSpPr/>
          <p:nvPr/>
        </p:nvSpPr>
        <p:spPr>
          <a:xfrm>
            <a:off x="193973" y="4005770"/>
            <a:ext cx="423057" cy="698618"/>
          </a:xfrm>
          <a:custGeom>
            <a:avLst/>
            <a:gdLst>
              <a:gd name="csX0" fmla="*/ 512604 w 598747"/>
              <a:gd name="csY0" fmla="*/ 503918 h 988745"/>
              <a:gd name="csX1" fmla="*/ 472435 w 598747"/>
              <a:gd name="csY1" fmla="*/ 482196 h 988745"/>
              <a:gd name="csX2" fmla="*/ 432737 w 598747"/>
              <a:gd name="csY2" fmla="*/ 445605 h 988745"/>
              <a:gd name="csX3" fmla="*/ 375943 w 598747"/>
              <a:gd name="csY3" fmla="*/ 426178 h 988745"/>
              <a:gd name="csX4" fmla="*/ 329354 w 598747"/>
              <a:gd name="csY4" fmla="*/ 428057 h 988745"/>
              <a:gd name="csX5" fmla="*/ 273070 w 598747"/>
              <a:gd name="csY5" fmla="*/ 425461 h 988745"/>
              <a:gd name="csX6" fmla="*/ 230084 w 598747"/>
              <a:gd name="csY6" fmla="*/ 395825 h 988745"/>
              <a:gd name="csX7" fmla="*/ 199097 w 598747"/>
              <a:gd name="csY7" fmla="*/ 326515 h 988745"/>
              <a:gd name="csX8" fmla="*/ 195158 w 598747"/>
              <a:gd name="csY8" fmla="*/ 315511 h 988745"/>
              <a:gd name="csX9" fmla="*/ 192512 w 598747"/>
              <a:gd name="csY9" fmla="*/ 315405 h 988745"/>
              <a:gd name="csX10" fmla="*/ 189288 w 598747"/>
              <a:gd name="csY10" fmla="*/ 321954 h 988745"/>
              <a:gd name="csX11" fmla="*/ 209532 w 598747"/>
              <a:gd name="csY11" fmla="*/ 453235 h 988745"/>
              <a:gd name="csX12" fmla="*/ 268616 w 598747"/>
              <a:gd name="csY12" fmla="*/ 538863 h 988745"/>
              <a:gd name="csX13" fmla="*/ 394191 w 598747"/>
              <a:gd name="csY13" fmla="*/ 676935 h 988745"/>
              <a:gd name="csX14" fmla="*/ 474037 w 598747"/>
              <a:gd name="csY14" fmla="*/ 783945 h 988745"/>
              <a:gd name="csX15" fmla="*/ 503332 w 598747"/>
              <a:gd name="csY15" fmla="*/ 901469 h 988745"/>
              <a:gd name="csX16" fmla="*/ 487993 w 598747"/>
              <a:gd name="csY16" fmla="*/ 970743 h 988745"/>
              <a:gd name="csX17" fmla="*/ 477248 w 598747"/>
              <a:gd name="csY17" fmla="*/ 979235 h 988745"/>
              <a:gd name="csX18" fmla="*/ 410194 w 598747"/>
              <a:gd name="csY18" fmla="*/ 986326 h 988745"/>
              <a:gd name="csX19" fmla="*/ 213720 w 598747"/>
              <a:gd name="csY19" fmla="*/ 988629 h 988745"/>
              <a:gd name="csX20" fmla="*/ 86242 w 598747"/>
              <a:gd name="csY20" fmla="*/ 982669 h 988745"/>
              <a:gd name="csX21" fmla="*/ 53553 w 598747"/>
              <a:gd name="csY21" fmla="*/ 981705 h 988745"/>
              <a:gd name="csX22" fmla="*/ 56311 w 598747"/>
              <a:gd name="csY22" fmla="*/ 974933 h 988745"/>
              <a:gd name="csX23" fmla="*/ 83373 w 598747"/>
              <a:gd name="csY23" fmla="*/ 891414 h 988745"/>
              <a:gd name="csX24" fmla="*/ 69625 w 598747"/>
              <a:gd name="csY24" fmla="*/ 728925 h 988745"/>
              <a:gd name="csX25" fmla="*/ 28713 w 598747"/>
              <a:gd name="csY25" fmla="*/ 583650 h 988745"/>
              <a:gd name="csX26" fmla="*/ 2872 w 598747"/>
              <a:gd name="csY26" fmla="*/ 458823 h 988745"/>
              <a:gd name="csX27" fmla="*/ 36461 w 598747"/>
              <a:gd name="csY27" fmla="*/ 250957 h 988745"/>
              <a:gd name="csX28" fmla="*/ 105198 w 598747"/>
              <a:gd name="csY28" fmla="*/ 163584 h 988745"/>
              <a:gd name="csX29" fmla="*/ 191800 w 598747"/>
              <a:gd name="csY29" fmla="*/ 101539 h 988745"/>
              <a:gd name="csX30" fmla="*/ 214600 w 598747"/>
              <a:gd name="csY30" fmla="*/ 75129 h 988745"/>
              <a:gd name="csX31" fmla="*/ 268462 w 598747"/>
              <a:gd name="csY31" fmla="*/ 0 h 988745"/>
              <a:gd name="csX32" fmla="*/ 269844 w 598747"/>
              <a:gd name="csY32" fmla="*/ 10898 h 988745"/>
              <a:gd name="csX33" fmla="*/ 272418 w 598747"/>
              <a:gd name="csY33" fmla="*/ 69722 h 988745"/>
              <a:gd name="csX34" fmla="*/ 297658 w 598747"/>
              <a:gd name="csY34" fmla="*/ 107113 h 988745"/>
              <a:gd name="csX35" fmla="*/ 355481 w 598747"/>
              <a:gd name="csY35" fmla="*/ 136991 h 988745"/>
              <a:gd name="csX36" fmla="*/ 430178 w 598747"/>
              <a:gd name="csY36" fmla="*/ 212396 h 988745"/>
              <a:gd name="csX37" fmla="*/ 465840 w 598747"/>
              <a:gd name="csY37" fmla="*/ 273997 h 988745"/>
              <a:gd name="csX38" fmla="*/ 532362 w 598747"/>
              <a:gd name="csY38" fmla="*/ 340124 h 988745"/>
              <a:gd name="csX39" fmla="*/ 572901 w 598747"/>
              <a:gd name="csY39" fmla="*/ 367845 h 988745"/>
              <a:gd name="csX40" fmla="*/ 598436 w 598747"/>
              <a:gd name="csY40" fmla="*/ 408775 h 988745"/>
              <a:gd name="csX41" fmla="*/ 596339 w 598747"/>
              <a:gd name="csY41" fmla="*/ 452637 h 988745"/>
              <a:gd name="csX42" fmla="*/ 552957 w 598747"/>
              <a:gd name="csY42" fmla="*/ 485233 h 988745"/>
              <a:gd name="csX43" fmla="*/ 525548 w 598747"/>
              <a:gd name="csY43" fmla="*/ 479475 h 988745"/>
              <a:gd name="csX44" fmla="*/ 515736 w 598747"/>
              <a:gd name="csY44" fmla="*/ 475921 h 988745"/>
              <a:gd name="csX45" fmla="*/ 525605 w 598747"/>
              <a:gd name="csY45" fmla="*/ 492048 h 988745"/>
              <a:gd name="csX46" fmla="*/ 538873 w 598747"/>
              <a:gd name="csY46" fmla="*/ 504704 h 988745"/>
              <a:gd name="csX47" fmla="*/ 512604 w 598747"/>
              <a:gd name="csY47" fmla="*/ 503918 h 988745"/>
              <a:gd name="csX48" fmla="*/ 332072 w 598747"/>
              <a:gd name="csY48" fmla="*/ 218143 h 988745"/>
              <a:gd name="csX49" fmla="*/ 334388 w 598747"/>
              <a:gd name="csY49" fmla="*/ 226400 h 988745"/>
              <a:gd name="csX50" fmla="*/ 372370 w 598747"/>
              <a:gd name="csY50" fmla="*/ 254505 h 988745"/>
              <a:gd name="csX51" fmla="*/ 405258 w 598747"/>
              <a:gd name="csY51" fmla="*/ 252089 h 988745"/>
              <a:gd name="csX52" fmla="*/ 409167 w 598747"/>
              <a:gd name="csY52" fmla="*/ 244359 h 988745"/>
              <a:gd name="csX53" fmla="*/ 396364 w 598747"/>
              <a:gd name="csY53" fmla="*/ 219471 h 988745"/>
              <a:gd name="csX54" fmla="*/ 365755 w 598747"/>
              <a:gd name="csY54" fmla="*/ 195821 h 988745"/>
              <a:gd name="csX55" fmla="*/ 333572 w 598747"/>
              <a:gd name="csY55" fmla="*/ 188536 h 988745"/>
              <a:gd name="csX56" fmla="*/ 322931 w 598747"/>
              <a:gd name="csY56" fmla="*/ 190843 h 988745"/>
              <a:gd name="csX57" fmla="*/ 329041 w 598747"/>
              <a:gd name="csY57" fmla="*/ 203001 h 988745"/>
              <a:gd name="csX58" fmla="*/ 332072 w 598747"/>
              <a:gd name="csY58" fmla="*/ 218143 h 98874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</a:cxnLst>
            <a:rect l="l" t="t" r="r" b="b"/>
            <a:pathLst>
              <a:path w="598747" h="988745">
                <a:moveTo>
                  <a:pt x="512604" y="503918"/>
                </a:moveTo>
                <a:cubicBezTo>
                  <a:pt x="496002" y="501170"/>
                  <a:pt x="483635" y="492907"/>
                  <a:pt x="472435" y="482196"/>
                </a:cubicBezTo>
                <a:cubicBezTo>
                  <a:pt x="459429" y="469758"/>
                  <a:pt x="446467" y="457218"/>
                  <a:pt x="432737" y="445605"/>
                </a:cubicBezTo>
                <a:cubicBezTo>
                  <a:pt x="416514" y="431883"/>
                  <a:pt x="397267" y="425513"/>
                  <a:pt x="375943" y="426178"/>
                </a:cubicBezTo>
                <a:cubicBezTo>
                  <a:pt x="360407" y="426662"/>
                  <a:pt x="344877" y="428180"/>
                  <a:pt x="329354" y="428057"/>
                </a:cubicBezTo>
                <a:cubicBezTo>
                  <a:pt x="310581" y="427907"/>
                  <a:pt x="291752" y="427215"/>
                  <a:pt x="273070" y="425461"/>
                </a:cubicBezTo>
                <a:cubicBezTo>
                  <a:pt x="253636" y="423637"/>
                  <a:pt x="240361" y="411413"/>
                  <a:pt x="230084" y="395825"/>
                </a:cubicBezTo>
                <a:cubicBezTo>
                  <a:pt x="215988" y="374443"/>
                  <a:pt x="207393" y="350530"/>
                  <a:pt x="199097" y="326515"/>
                </a:cubicBezTo>
                <a:cubicBezTo>
                  <a:pt x="197825" y="322833"/>
                  <a:pt x="196473" y="319178"/>
                  <a:pt x="195158" y="315511"/>
                </a:cubicBezTo>
                <a:cubicBezTo>
                  <a:pt x="194276" y="315475"/>
                  <a:pt x="193394" y="315440"/>
                  <a:pt x="192512" y="315405"/>
                </a:cubicBezTo>
                <a:cubicBezTo>
                  <a:pt x="191405" y="317583"/>
                  <a:pt x="189646" y="319659"/>
                  <a:pt x="189288" y="321954"/>
                </a:cubicBezTo>
                <a:cubicBezTo>
                  <a:pt x="182145" y="367836"/>
                  <a:pt x="189209" y="411525"/>
                  <a:pt x="209532" y="453235"/>
                </a:cubicBezTo>
                <a:cubicBezTo>
                  <a:pt x="224908" y="484792"/>
                  <a:pt x="245217" y="512936"/>
                  <a:pt x="268616" y="538863"/>
                </a:cubicBezTo>
                <a:cubicBezTo>
                  <a:pt x="310298" y="585046"/>
                  <a:pt x="352387" y="630861"/>
                  <a:pt x="394191" y="676935"/>
                </a:cubicBezTo>
                <a:cubicBezTo>
                  <a:pt x="424227" y="710039"/>
                  <a:pt x="452698" y="744360"/>
                  <a:pt x="474037" y="783945"/>
                </a:cubicBezTo>
                <a:cubicBezTo>
                  <a:pt x="493795" y="820596"/>
                  <a:pt x="505956" y="859233"/>
                  <a:pt x="503332" y="901469"/>
                </a:cubicBezTo>
                <a:cubicBezTo>
                  <a:pt x="501850" y="925342"/>
                  <a:pt x="495799" y="948239"/>
                  <a:pt x="487993" y="970743"/>
                </a:cubicBezTo>
                <a:cubicBezTo>
                  <a:pt x="486166" y="976009"/>
                  <a:pt x="482772" y="978647"/>
                  <a:pt x="477248" y="979235"/>
                </a:cubicBezTo>
                <a:cubicBezTo>
                  <a:pt x="454890" y="981614"/>
                  <a:pt x="432589" y="985767"/>
                  <a:pt x="410194" y="986326"/>
                </a:cubicBezTo>
                <a:cubicBezTo>
                  <a:pt x="344720" y="987961"/>
                  <a:pt x="279205" y="989128"/>
                  <a:pt x="213720" y="988629"/>
                </a:cubicBezTo>
                <a:cubicBezTo>
                  <a:pt x="171215" y="988306"/>
                  <a:pt x="128736" y="984705"/>
                  <a:pt x="86242" y="982669"/>
                </a:cubicBezTo>
                <a:cubicBezTo>
                  <a:pt x="75776" y="982167"/>
                  <a:pt x="65294" y="982040"/>
                  <a:pt x="53553" y="981705"/>
                </a:cubicBezTo>
                <a:cubicBezTo>
                  <a:pt x="54842" y="978488"/>
                  <a:pt x="55323" y="976556"/>
                  <a:pt x="56311" y="974933"/>
                </a:cubicBezTo>
                <a:cubicBezTo>
                  <a:pt x="71955" y="949229"/>
                  <a:pt x="78103" y="920529"/>
                  <a:pt x="83373" y="891414"/>
                </a:cubicBezTo>
                <a:cubicBezTo>
                  <a:pt x="93411" y="835958"/>
                  <a:pt x="83645" y="782156"/>
                  <a:pt x="69625" y="728925"/>
                </a:cubicBezTo>
                <a:cubicBezTo>
                  <a:pt x="56813" y="680283"/>
                  <a:pt x="42153" y="632130"/>
                  <a:pt x="28713" y="583650"/>
                </a:cubicBezTo>
                <a:cubicBezTo>
                  <a:pt x="17342" y="542631"/>
                  <a:pt x="7760" y="501188"/>
                  <a:pt x="2872" y="458823"/>
                </a:cubicBezTo>
                <a:cubicBezTo>
                  <a:pt x="-5484" y="386401"/>
                  <a:pt x="4005" y="316635"/>
                  <a:pt x="36461" y="250957"/>
                </a:cubicBezTo>
                <a:cubicBezTo>
                  <a:pt x="53137" y="217210"/>
                  <a:pt x="77705" y="189133"/>
                  <a:pt x="105198" y="163584"/>
                </a:cubicBezTo>
                <a:cubicBezTo>
                  <a:pt x="131434" y="139203"/>
                  <a:pt x="160285" y="118551"/>
                  <a:pt x="191800" y="101539"/>
                </a:cubicBezTo>
                <a:cubicBezTo>
                  <a:pt x="202646" y="95684"/>
                  <a:pt x="209856" y="86491"/>
                  <a:pt x="214600" y="75129"/>
                </a:cubicBezTo>
                <a:cubicBezTo>
                  <a:pt x="226474" y="46689"/>
                  <a:pt x="246616" y="24191"/>
                  <a:pt x="268462" y="0"/>
                </a:cubicBezTo>
                <a:cubicBezTo>
                  <a:pt x="269111" y="4997"/>
                  <a:pt x="269706" y="7937"/>
                  <a:pt x="269844" y="10898"/>
                </a:cubicBezTo>
                <a:cubicBezTo>
                  <a:pt x="270760" y="30504"/>
                  <a:pt x="271607" y="50112"/>
                  <a:pt x="272418" y="69722"/>
                </a:cubicBezTo>
                <a:cubicBezTo>
                  <a:pt x="273150" y="87396"/>
                  <a:pt x="281549" y="99401"/>
                  <a:pt x="297658" y="107113"/>
                </a:cubicBezTo>
                <a:cubicBezTo>
                  <a:pt x="317218" y="116476"/>
                  <a:pt x="336170" y="127101"/>
                  <a:pt x="355481" y="136991"/>
                </a:cubicBezTo>
                <a:cubicBezTo>
                  <a:pt x="388645" y="153974"/>
                  <a:pt x="413226" y="179056"/>
                  <a:pt x="430178" y="212396"/>
                </a:cubicBezTo>
                <a:cubicBezTo>
                  <a:pt x="440917" y="233515"/>
                  <a:pt x="453634" y="253647"/>
                  <a:pt x="465840" y="273997"/>
                </a:cubicBezTo>
                <a:cubicBezTo>
                  <a:pt x="482404" y="301613"/>
                  <a:pt x="506102" y="322183"/>
                  <a:pt x="532362" y="340124"/>
                </a:cubicBezTo>
                <a:cubicBezTo>
                  <a:pt x="545881" y="349359"/>
                  <a:pt x="559082" y="359088"/>
                  <a:pt x="572901" y="367845"/>
                </a:cubicBezTo>
                <a:cubicBezTo>
                  <a:pt x="588172" y="377523"/>
                  <a:pt x="597775" y="390733"/>
                  <a:pt x="598436" y="408775"/>
                </a:cubicBezTo>
                <a:cubicBezTo>
                  <a:pt x="598970" y="423381"/>
                  <a:pt x="599120" y="438404"/>
                  <a:pt x="596339" y="452637"/>
                </a:cubicBezTo>
                <a:cubicBezTo>
                  <a:pt x="591789" y="475923"/>
                  <a:pt x="576843" y="486555"/>
                  <a:pt x="552957" y="485233"/>
                </a:cubicBezTo>
                <a:cubicBezTo>
                  <a:pt x="543740" y="484722"/>
                  <a:pt x="534648" y="481613"/>
                  <a:pt x="525548" y="479475"/>
                </a:cubicBezTo>
                <a:cubicBezTo>
                  <a:pt x="522577" y="478776"/>
                  <a:pt x="519764" y="477405"/>
                  <a:pt x="515736" y="475921"/>
                </a:cubicBezTo>
                <a:cubicBezTo>
                  <a:pt x="516318" y="484233"/>
                  <a:pt x="521537" y="487842"/>
                  <a:pt x="525605" y="492048"/>
                </a:cubicBezTo>
                <a:cubicBezTo>
                  <a:pt x="529554" y="496129"/>
                  <a:pt x="533815" y="499907"/>
                  <a:pt x="538873" y="504704"/>
                </a:cubicBezTo>
                <a:cubicBezTo>
                  <a:pt x="529522" y="509277"/>
                  <a:pt x="521553" y="504428"/>
                  <a:pt x="512604" y="503918"/>
                </a:cubicBezTo>
                <a:moveTo>
                  <a:pt x="332072" y="218143"/>
                </a:moveTo>
                <a:cubicBezTo>
                  <a:pt x="332837" y="220898"/>
                  <a:pt x="333478" y="223695"/>
                  <a:pt x="334388" y="226400"/>
                </a:cubicBezTo>
                <a:cubicBezTo>
                  <a:pt x="341073" y="246268"/>
                  <a:pt x="351614" y="254460"/>
                  <a:pt x="372370" y="254505"/>
                </a:cubicBezTo>
                <a:cubicBezTo>
                  <a:pt x="383333" y="254529"/>
                  <a:pt x="394312" y="253121"/>
                  <a:pt x="405258" y="252089"/>
                </a:cubicBezTo>
                <a:cubicBezTo>
                  <a:pt x="409961" y="251646"/>
                  <a:pt x="411340" y="248568"/>
                  <a:pt x="409167" y="244359"/>
                </a:cubicBezTo>
                <a:cubicBezTo>
                  <a:pt x="404885" y="236068"/>
                  <a:pt x="400139" y="227985"/>
                  <a:pt x="396364" y="219471"/>
                </a:cubicBezTo>
                <a:cubicBezTo>
                  <a:pt x="390350" y="205908"/>
                  <a:pt x="379963" y="198663"/>
                  <a:pt x="365755" y="195821"/>
                </a:cubicBezTo>
                <a:cubicBezTo>
                  <a:pt x="354973" y="193665"/>
                  <a:pt x="344291" y="191003"/>
                  <a:pt x="333572" y="188536"/>
                </a:cubicBezTo>
                <a:cubicBezTo>
                  <a:pt x="329511" y="187602"/>
                  <a:pt x="325579" y="187007"/>
                  <a:pt x="322931" y="190843"/>
                </a:cubicBezTo>
                <a:cubicBezTo>
                  <a:pt x="325138" y="195129"/>
                  <a:pt x="327613" y="198884"/>
                  <a:pt x="329041" y="203001"/>
                </a:cubicBezTo>
                <a:cubicBezTo>
                  <a:pt x="330500" y="207204"/>
                  <a:pt x="330929" y="211764"/>
                  <a:pt x="332072" y="218143"/>
                </a:cubicBezTo>
                <a:close/>
              </a:path>
            </a:pathLst>
          </a:custGeom>
          <a:solidFill>
            <a:srgbClr val="FEFEFE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759" name="Free-form: Shape 7758">
            <a:extLst>
              <a:ext uri="{FF2B5EF4-FFF2-40B4-BE49-F238E27FC236}">
                <a16:creationId xmlns:a16="http://schemas.microsoft.com/office/drawing/2014/main" id="{23B34ED2-3ED1-9C30-2E29-D1978B824E66}"/>
              </a:ext>
            </a:extLst>
          </p:cNvPr>
          <p:cNvSpPr/>
          <p:nvPr/>
        </p:nvSpPr>
        <p:spPr>
          <a:xfrm>
            <a:off x="364671" y="4734521"/>
            <a:ext cx="227289" cy="197739"/>
          </a:xfrm>
          <a:custGeom>
            <a:avLst/>
            <a:gdLst>
              <a:gd name="csX0" fmla="*/ 84645 w 321679"/>
              <a:gd name="csY0" fmla="*/ 279507 h 279857"/>
              <a:gd name="csX1" fmla="*/ 19 w 321679"/>
              <a:gd name="csY1" fmla="*/ 276629 h 279857"/>
              <a:gd name="csX2" fmla="*/ 61 w 321679"/>
              <a:gd name="csY2" fmla="*/ 231376 h 279857"/>
              <a:gd name="csX3" fmla="*/ 925 w 321679"/>
              <a:gd name="csY3" fmla="*/ 219150 h 279857"/>
              <a:gd name="csX4" fmla="*/ 8286 w 321679"/>
              <a:gd name="csY4" fmla="*/ 86910 h 279857"/>
              <a:gd name="csX5" fmla="*/ 11586 w 321679"/>
              <a:gd name="csY5" fmla="*/ 21981 h 279857"/>
              <a:gd name="csX6" fmla="*/ 26655 w 321679"/>
              <a:gd name="csY6" fmla="*/ 7635 h 279857"/>
              <a:gd name="csX7" fmla="*/ 67169 w 321679"/>
              <a:gd name="csY7" fmla="*/ 7178 h 279857"/>
              <a:gd name="csX8" fmla="*/ 201872 w 321679"/>
              <a:gd name="csY8" fmla="*/ 121 h 279857"/>
              <a:gd name="csX9" fmla="*/ 217558 w 321679"/>
              <a:gd name="csY9" fmla="*/ 87 h 279857"/>
              <a:gd name="csX10" fmla="*/ 214854 w 321679"/>
              <a:gd name="csY10" fmla="*/ 22019 h 279857"/>
              <a:gd name="csX11" fmla="*/ 235301 w 321679"/>
              <a:gd name="csY11" fmla="*/ 104861 h 279857"/>
              <a:gd name="csX12" fmla="*/ 269832 w 321679"/>
              <a:gd name="csY12" fmla="*/ 144587 h 279857"/>
              <a:gd name="csX13" fmla="*/ 299912 w 321679"/>
              <a:gd name="csY13" fmla="*/ 176874 h 279857"/>
              <a:gd name="csX14" fmla="*/ 320491 w 321679"/>
              <a:gd name="csY14" fmla="*/ 256903 h 279857"/>
              <a:gd name="csX15" fmla="*/ 255607 w 321679"/>
              <a:gd name="csY15" fmla="*/ 264918 h 279857"/>
              <a:gd name="csX16" fmla="*/ 172672 w 321679"/>
              <a:gd name="csY16" fmla="*/ 273435 h 279857"/>
              <a:gd name="csX17" fmla="*/ 133595 w 321679"/>
              <a:gd name="csY17" fmla="*/ 276823 h 279857"/>
              <a:gd name="csX18" fmla="*/ 84645 w 321679"/>
              <a:gd name="csY18" fmla="*/ 279507 h 27985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</a:cxnLst>
            <a:rect l="l" t="t" r="r" b="b"/>
            <a:pathLst>
              <a:path w="321679" h="279857">
                <a:moveTo>
                  <a:pt x="84645" y="279507"/>
                </a:moveTo>
                <a:cubicBezTo>
                  <a:pt x="55716" y="279830"/>
                  <a:pt x="27945" y="280875"/>
                  <a:pt x="19" y="276629"/>
                </a:cubicBezTo>
                <a:cubicBezTo>
                  <a:pt x="19" y="261343"/>
                  <a:pt x="-45" y="246359"/>
                  <a:pt x="61" y="231376"/>
                </a:cubicBezTo>
                <a:cubicBezTo>
                  <a:pt x="90" y="227299"/>
                  <a:pt x="696" y="223229"/>
                  <a:pt x="925" y="219150"/>
                </a:cubicBezTo>
                <a:cubicBezTo>
                  <a:pt x="3396" y="175071"/>
                  <a:pt x="5876" y="130992"/>
                  <a:pt x="8286" y="86910"/>
                </a:cubicBezTo>
                <a:cubicBezTo>
                  <a:pt x="9469" y="65271"/>
                  <a:pt x="10613" y="43630"/>
                  <a:pt x="11586" y="21981"/>
                </a:cubicBezTo>
                <a:cubicBezTo>
                  <a:pt x="12199" y="8328"/>
                  <a:pt x="12576" y="7792"/>
                  <a:pt x="26655" y="7635"/>
                </a:cubicBezTo>
                <a:cubicBezTo>
                  <a:pt x="40161" y="7484"/>
                  <a:pt x="53689" y="7831"/>
                  <a:pt x="67169" y="7178"/>
                </a:cubicBezTo>
                <a:cubicBezTo>
                  <a:pt x="112079" y="5004"/>
                  <a:pt x="156970" y="2455"/>
                  <a:pt x="201872" y="121"/>
                </a:cubicBezTo>
                <a:cubicBezTo>
                  <a:pt x="206690" y="-130"/>
                  <a:pt x="211533" y="87"/>
                  <a:pt x="217558" y="87"/>
                </a:cubicBezTo>
                <a:cubicBezTo>
                  <a:pt x="216603" y="7811"/>
                  <a:pt x="215688" y="14910"/>
                  <a:pt x="214854" y="22019"/>
                </a:cubicBezTo>
                <a:cubicBezTo>
                  <a:pt x="211318" y="52185"/>
                  <a:pt x="219749" y="79345"/>
                  <a:pt x="235301" y="104861"/>
                </a:cubicBezTo>
                <a:cubicBezTo>
                  <a:pt x="244591" y="120102"/>
                  <a:pt x="257536" y="132012"/>
                  <a:pt x="269832" y="144587"/>
                </a:cubicBezTo>
                <a:cubicBezTo>
                  <a:pt x="280116" y="155103"/>
                  <a:pt x="290551" y="165559"/>
                  <a:pt x="299912" y="176874"/>
                </a:cubicBezTo>
                <a:cubicBezTo>
                  <a:pt x="319006" y="199953"/>
                  <a:pt x="324386" y="226827"/>
                  <a:pt x="320491" y="256903"/>
                </a:cubicBezTo>
                <a:cubicBezTo>
                  <a:pt x="298421" y="259649"/>
                  <a:pt x="277043" y="262541"/>
                  <a:pt x="255607" y="264918"/>
                </a:cubicBezTo>
                <a:cubicBezTo>
                  <a:pt x="227987" y="267981"/>
                  <a:pt x="200327" y="270692"/>
                  <a:pt x="172672" y="273435"/>
                </a:cubicBezTo>
                <a:cubicBezTo>
                  <a:pt x="159662" y="274725"/>
                  <a:pt x="146637" y="275935"/>
                  <a:pt x="133595" y="276823"/>
                </a:cubicBezTo>
                <a:cubicBezTo>
                  <a:pt x="117688" y="277907"/>
                  <a:pt x="101755" y="278616"/>
                  <a:pt x="84645" y="279507"/>
                </a:cubicBezTo>
                <a:close/>
              </a:path>
            </a:pathLst>
          </a:custGeom>
          <a:solidFill>
            <a:srgbClr val="FDFEFE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760" name="Free-form: Shape 7759">
            <a:extLst>
              <a:ext uri="{FF2B5EF4-FFF2-40B4-BE49-F238E27FC236}">
                <a16:creationId xmlns:a16="http://schemas.microsoft.com/office/drawing/2014/main" id="{46F0E0A0-A916-A42C-5A44-9B8F06DF1D82}"/>
              </a:ext>
            </a:extLst>
          </p:cNvPr>
          <p:cNvSpPr/>
          <p:nvPr/>
        </p:nvSpPr>
        <p:spPr>
          <a:xfrm>
            <a:off x="364584" y="4952687"/>
            <a:ext cx="241722" cy="55517"/>
          </a:xfrm>
          <a:custGeom>
            <a:avLst/>
            <a:gdLst>
              <a:gd name="csX0" fmla="*/ 270798 w 342106"/>
              <a:gd name="csY0" fmla="*/ 65953 h 78573"/>
              <a:gd name="csX1" fmla="*/ 183290 w 342106"/>
              <a:gd name="csY1" fmla="*/ 76017 h 78573"/>
              <a:gd name="csX2" fmla="*/ 72897 w 342106"/>
              <a:gd name="csY2" fmla="*/ 78565 h 78573"/>
              <a:gd name="csX3" fmla="*/ 5450 w 342106"/>
              <a:gd name="csY3" fmla="*/ 76564 h 78573"/>
              <a:gd name="csX4" fmla="*/ 0 w 342106"/>
              <a:gd name="csY4" fmla="*/ 75649 h 78573"/>
              <a:gd name="csX5" fmla="*/ 0 w 342106"/>
              <a:gd name="csY5" fmla="*/ 21324 h 78573"/>
              <a:gd name="csX6" fmla="*/ 8504 w 342106"/>
              <a:gd name="csY6" fmla="*/ 20688 h 78573"/>
              <a:gd name="csX7" fmla="*/ 98126 w 342106"/>
              <a:gd name="csY7" fmla="*/ 19655 h 78573"/>
              <a:gd name="csX8" fmla="*/ 221639 w 342106"/>
              <a:gd name="csY8" fmla="*/ 10929 h 78573"/>
              <a:gd name="csX9" fmla="*/ 304285 w 342106"/>
              <a:gd name="csY9" fmla="*/ 683 h 78573"/>
              <a:gd name="csX10" fmla="*/ 309173 w 342106"/>
              <a:gd name="csY10" fmla="*/ 212 h 78573"/>
              <a:gd name="csX11" fmla="*/ 335187 w 342106"/>
              <a:gd name="csY11" fmla="*/ 18545 h 78573"/>
              <a:gd name="csX12" fmla="*/ 342106 w 342106"/>
              <a:gd name="csY12" fmla="*/ 53602 h 78573"/>
              <a:gd name="csX13" fmla="*/ 270798 w 342106"/>
              <a:gd name="csY13" fmla="*/ 65953 h 7857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</a:cxnLst>
            <a:rect l="l" t="t" r="r" b="b"/>
            <a:pathLst>
              <a:path w="342106" h="78573">
                <a:moveTo>
                  <a:pt x="270798" y="65953"/>
                </a:moveTo>
                <a:cubicBezTo>
                  <a:pt x="240931" y="69594"/>
                  <a:pt x="212199" y="74306"/>
                  <a:pt x="183290" y="76017"/>
                </a:cubicBezTo>
                <a:cubicBezTo>
                  <a:pt x="146568" y="78191"/>
                  <a:pt x="109704" y="78349"/>
                  <a:pt x="72897" y="78565"/>
                </a:cubicBezTo>
                <a:cubicBezTo>
                  <a:pt x="50419" y="78697"/>
                  <a:pt x="27931" y="77315"/>
                  <a:pt x="5450" y="76564"/>
                </a:cubicBezTo>
                <a:cubicBezTo>
                  <a:pt x="3884" y="76512"/>
                  <a:pt x="2332" y="76053"/>
                  <a:pt x="0" y="75649"/>
                </a:cubicBezTo>
                <a:cubicBezTo>
                  <a:pt x="0" y="57619"/>
                  <a:pt x="0" y="39863"/>
                  <a:pt x="0" y="21324"/>
                </a:cubicBezTo>
                <a:cubicBezTo>
                  <a:pt x="3058" y="21086"/>
                  <a:pt x="5779" y="20715"/>
                  <a:pt x="8504" y="20688"/>
                </a:cubicBezTo>
                <a:cubicBezTo>
                  <a:pt x="38382" y="20390"/>
                  <a:pt x="68305" y="21101"/>
                  <a:pt x="98126" y="19655"/>
                </a:cubicBezTo>
                <a:cubicBezTo>
                  <a:pt x="139343" y="17657"/>
                  <a:pt x="180532" y="14597"/>
                  <a:pt x="221639" y="10929"/>
                </a:cubicBezTo>
                <a:cubicBezTo>
                  <a:pt x="249272" y="8463"/>
                  <a:pt x="276741" y="4156"/>
                  <a:pt x="304285" y="683"/>
                </a:cubicBezTo>
                <a:cubicBezTo>
                  <a:pt x="305908" y="478"/>
                  <a:pt x="307539" y="312"/>
                  <a:pt x="309173" y="212"/>
                </a:cubicBezTo>
                <a:cubicBezTo>
                  <a:pt x="326863" y="-867"/>
                  <a:pt x="330972" y="1719"/>
                  <a:pt x="335187" y="18545"/>
                </a:cubicBezTo>
                <a:cubicBezTo>
                  <a:pt x="337939" y="29526"/>
                  <a:pt x="339618" y="40777"/>
                  <a:pt x="342106" y="53602"/>
                </a:cubicBezTo>
                <a:cubicBezTo>
                  <a:pt x="317523" y="57833"/>
                  <a:pt x="294689" y="61762"/>
                  <a:pt x="270798" y="65953"/>
                </a:cubicBezTo>
                <a:close/>
              </a:path>
            </a:pathLst>
          </a:custGeom>
          <a:solidFill>
            <a:srgbClr val="FCFCFC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761" name="Free-form: Shape 7760">
            <a:extLst>
              <a:ext uri="{FF2B5EF4-FFF2-40B4-BE49-F238E27FC236}">
                <a16:creationId xmlns:a16="http://schemas.microsoft.com/office/drawing/2014/main" id="{A5538214-EFA0-D29F-C64F-8D3354B13C8A}"/>
              </a:ext>
            </a:extLst>
          </p:cNvPr>
          <p:cNvSpPr/>
          <p:nvPr/>
        </p:nvSpPr>
        <p:spPr>
          <a:xfrm>
            <a:off x="422147" y="4138492"/>
            <a:ext cx="61640" cy="47104"/>
          </a:xfrm>
          <a:custGeom>
            <a:avLst/>
            <a:gdLst>
              <a:gd name="csX0" fmla="*/ 9010 w 87239"/>
              <a:gd name="csY0" fmla="*/ 29316 h 66665"/>
              <a:gd name="csX1" fmla="*/ 6110 w 87239"/>
              <a:gd name="csY1" fmla="*/ 15162 h 66665"/>
              <a:gd name="csX2" fmla="*/ 0 w 87239"/>
              <a:gd name="csY2" fmla="*/ 3003 h 66665"/>
              <a:gd name="csX3" fmla="*/ 10641 w 87239"/>
              <a:gd name="csY3" fmla="*/ 697 h 66665"/>
              <a:gd name="csX4" fmla="*/ 42824 w 87239"/>
              <a:gd name="csY4" fmla="*/ 7981 h 66665"/>
              <a:gd name="csX5" fmla="*/ 73433 w 87239"/>
              <a:gd name="csY5" fmla="*/ 31631 h 66665"/>
              <a:gd name="csX6" fmla="*/ 86236 w 87239"/>
              <a:gd name="csY6" fmla="*/ 56519 h 66665"/>
              <a:gd name="csX7" fmla="*/ 82327 w 87239"/>
              <a:gd name="csY7" fmla="*/ 64249 h 66665"/>
              <a:gd name="csX8" fmla="*/ 49439 w 87239"/>
              <a:gd name="csY8" fmla="*/ 66665 h 66665"/>
              <a:gd name="csX9" fmla="*/ 11457 w 87239"/>
              <a:gd name="csY9" fmla="*/ 38560 h 66665"/>
              <a:gd name="csX10" fmla="*/ 9010 w 87239"/>
              <a:gd name="csY10" fmla="*/ 29316 h 6666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</a:cxnLst>
            <a:rect l="l" t="t" r="r" b="b"/>
            <a:pathLst>
              <a:path w="87239" h="66665">
                <a:moveTo>
                  <a:pt x="9010" y="29316"/>
                </a:moveTo>
                <a:cubicBezTo>
                  <a:pt x="7998" y="23924"/>
                  <a:pt x="7568" y="19365"/>
                  <a:pt x="6110" y="15162"/>
                </a:cubicBezTo>
                <a:cubicBezTo>
                  <a:pt x="4682" y="11044"/>
                  <a:pt x="2207" y="7289"/>
                  <a:pt x="0" y="3003"/>
                </a:cubicBezTo>
                <a:cubicBezTo>
                  <a:pt x="2648" y="-833"/>
                  <a:pt x="6580" y="-238"/>
                  <a:pt x="10641" y="697"/>
                </a:cubicBezTo>
                <a:cubicBezTo>
                  <a:pt x="21360" y="3163"/>
                  <a:pt x="32042" y="5825"/>
                  <a:pt x="42824" y="7981"/>
                </a:cubicBezTo>
                <a:cubicBezTo>
                  <a:pt x="57032" y="10823"/>
                  <a:pt x="67419" y="18068"/>
                  <a:pt x="73433" y="31631"/>
                </a:cubicBezTo>
                <a:cubicBezTo>
                  <a:pt x="77208" y="40146"/>
                  <a:pt x="81954" y="48228"/>
                  <a:pt x="86236" y="56519"/>
                </a:cubicBezTo>
                <a:cubicBezTo>
                  <a:pt x="88409" y="60728"/>
                  <a:pt x="87030" y="63806"/>
                  <a:pt x="82327" y="64249"/>
                </a:cubicBezTo>
                <a:cubicBezTo>
                  <a:pt x="71381" y="65282"/>
                  <a:pt x="60402" y="66689"/>
                  <a:pt x="49439" y="66665"/>
                </a:cubicBezTo>
                <a:cubicBezTo>
                  <a:pt x="28683" y="66620"/>
                  <a:pt x="18142" y="58428"/>
                  <a:pt x="11457" y="38560"/>
                </a:cubicBezTo>
                <a:cubicBezTo>
                  <a:pt x="10547" y="35855"/>
                  <a:pt x="9906" y="33058"/>
                  <a:pt x="9010" y="29316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781" name="Oval 7780">
            <a:extLst>
              <a:ext uri="{FF2B5EF4-FFF2-40B4-BE49-F238E27FC236}">
                <a16:creationId xmlns:a16="http://schemas.microsoft.com/office/drawing/2014/main" id="{578BD55D-37D2-437B-2FA1-D42B1CE66CAD}"/>
              </a:ext>
            </a:extLst>
          </p:cNvPr>
          <p:cNvSpPr/>
          <p:nvPr/>
        </p:nvSpPr>
        <p:spPr>
          <a:xfrm>
            <a:off x="1407710" y="4702290"/>
            <a:ext cx="611536" cy="167408"/>
          </a:xfrm>
          <a:prstGeom prst="ellipse">
            <a:avLst/>
          </a:prstGeom>
          <a:solidFill>
            <a:schemeClr val="tx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783" name="Free-form: Shape 7782">
            <a:extLst>
              <a:ext uri="{FF2B5EF4-FFF2-40B4-BE49-F238E27FC236}">
                <a16:creationId xmlns:a16="http://schemas.microsoft.com/office/drawing/2014/main" id="{A3AC2CA6-713E-48BE-526C-2C3BF8C57B73}"/>
              </a:ext>
            </a:extLst>
          </p:cNvPr>
          <p:cNvSpPr/>
          <p:nvPr/>
        </p:nvSpPr>
        <p:spPr>
          <a:xfrm>
            <a:off x="1464345" y="3861435"/>
            <a:ext cx="491638" cy="965285"/>
          </a:xfrm>
          <a:custGeom>
            <a:avLst/>
            <a:gdLst>
              <a:gd name="csX0" fmla="*/ 576414 w 768725"/>
              <a:gd name="csY0" fmla="*/ 893042 h 1509319"/>
              <a:gd name="csX1" fmla="*/ 613047 w 768725"/>
              <a:gd name="csY1" fmla="*/ 1059329 h 1509319"/>
              <a:gd name="csX2" fmla="*/ 623337 w 768725"/>
              <a:gd name="csY2" fmla="*/ 1071825 h 1509319"/>
              <a:gd name="csX3" fmla="*/ 639863 w 768725"/>
              <a:gd name="csY3" fmla="*/ 1079946 h 1509319"/>
              <a:gd name="csX4" fmla="*/ 652266 w 768725"/>
              <a:gd name="csY4" fmla="*/ 1109045 h 1509319"/>
              <a:gd name="csX5" fmla="*/ 645501 w 768725"/>
              <a:gd name="csY5" fmla="*/ 1127466 h 1509319"/>
              <a:gd name="csX6" fmla="*/ 645547 w 768725"/>
              <a:gd name="csY6" fmla="*/ 1144138 h 1509319"/>
              <a:gd name="csX7" fmla="*/ 664589 w 768725"/>
              <a:gd name="csY7" fmla="*/ 1175322 h 1509319"/>
              <a:gd name="csX8" fmla="*/ 712015 w 768725"/>
              <a:gd name="csY8" fmla="*/ 1225118 h 1509319"/>
              <a:gd name="csX9" fmla="*/ 744465 w 768725"/>
              <a:gd name="csY9" fmla="*/ 1300385 h 1509319"/>
              <a:gd name="csX10" fmla="*/ 743270 w 768725"/>
              <a:gd name="csY10" fmla="*/ 1350524 h 1509319"/>
              <a:gd name="csX11" fmla="*/ 745429 w 768725"/>
              <a:gd name="csY11" fmla="*/ 1363274 h 1509319"/>
              <a:gd name="csX12" fmla="*/ 768672 w 768725"/>
              <a:gd name="csY12" fmla="*/ 1456512 h 1509319"/>
              <a:gd name="csX13" fmla="*/ 758521 w 768725"/>
              <a:gd name="csY13" fmla="*/ 1472434 h 1509319"/>
              <a:gd name="csX14" fmla="*/ 730455 w 768725"/>
              <a:gd name="csY14" fmla="*/ 1481228 h 1509319"/>
              <a:gd name="csX15" fmla="*/ 594867 w 768725"/>
              <a:gd name="csY15" fmla="*/ 1502210 h 1509319"/>
              <a:gd name="csX16" fmla="*/ 320018 w 768725"/>
              <a:gd name="csY16" fmla="*/ 1508300 h 1509319"/>
              <a:gd name="csX17" fmla="*/ 186464 w 768725"/>
              <a:gd name="csY17" fmla="*/ 1501258 h 1509319"/>
              <a:gd name="csX18" fmla="*/ 26582 w 768725"/>
              <a:gd name="csY18" fmla="*/ 1477021 h 1509319"/>
              <a:gd name="csX19" fmla="*/ 3929 w 768725"/>
              <a:gd name="csY19" fmla="*/ 1465652 h 1509319"/>
              <a:gd name="csX20" fmla="*/ 18 w 768725"/>
              <a:gd name="csY20" fmla="*/ 1456203 h 1509319"/>
              <a:gd name="csX21" fmla="*/ 4393 w 768725"/>
              <a:gd name="csY21" fmla="*/ 1417235 h 1509319"/>
              <a:gd name="csX22" fmla="*/ 19158 w 768725"/>
              <a:gd name="csY22" fmla="*/ 1370678 h 1509319"/>
              <a:gd name="csX23" fmla="*/ 23255 w 768725"/>
              <a:gd name="csY23" fmla="*/ 1342388 h 1509319"/>
              <a:gd name="csX24" fmla="*/ 38705 w 768725"/>
              <a:gd name="csY24" fmla="*/ 1247261 h 1509319"/>
              <a:gd name="csX25" fmla="*/ 58454 w 768725"/>
              <a:gd name="csY25" fmla="*/ 1220807 h 1509319"/>
              <a:gd name="csX26" fmla="*/ 103638 w 768725"/>
              <a:gd name="csY26" fmla="*/ 1175667 h 1509319"/>
              <a:gd name="csX27" fmla="*/ 122996 w 768725"/>
              <a:gd name="csY27" fmla="*/ 1146131 h 1509319"/>
              <a:gd name="csX28" fmla="*/ 122689 w 768725"/>
              <a:gd name="csY28" fmla="*/ 1128316 h 1509319"/>
              <a:gd name="csX29" fmla="*/ 116576 w 768725"/>
              <a:gd name="csY29" fmla="*/ 1113575 h 1509319"/>
              <a:gd name="csX30" fmla="*/ 127479 w 768725"/>
              <a:gd name="csY30" fmla="*/ 1081076 h 1509319"/>
              <a:gd name="csX31" fmla="*/ 137480 w 768725"/>
              <a:gd name="csY31" fmla="*/ 1076482 h 1509319"/>
              <a:gd name="csX32" fmla="*/ 157312 w 768725"/>
              <a:gd name="csY32" fmla="*/ 1053855 h 1509319"/>
              <a:gd name="csX33" fmla="*/ 178876 w 768725"/>
              <a:gd name="csY33" fmla="*/ 958120 h 1509319"/>
              <a:gd name="csX34" fmla="*/ 210165 w 768725"/>
              <a:gd name="csY34" fmla="*/ 781849 h 1509319"/>
              <a:gd name="csX35" fmla="*/ 223295 w 768725"/>
              <a:gd name="csY35" fmla="*/ 674755 h 1509319"/>
              <a:gd name="csX36" fmla="*/ 231121 w 768725"/>
              <a:gd name="csY36" fmla="*/ 564636 h 1509319"/>
              <a:gd name="csX37" fmla="*/ 235173 w 768725"/>
              <a:gd name="csY37" fmla="*/ 453038 h 1509319"/>
              <a:gd name="csX38" fmla="*/ 235001 w 768725"/>
              <a:gd name="csY38" fmla="*/ 443215 h 1509319"/>
              <a:gd name="csX39" fmla="*/ 224321 w 768725"/>
              <a:gd name="csY39" fmla="*/ 428479 h 1509319"/>
              <a:gd name="csX40" fmla="*/ 204712 w 768725"/>
              <a:gd name="csY40" fmla="*/ 418450 h 1509319"/>
              <a:gd name="csX41" fmla="*/ 184069 w 768725"/>
              <a:gd name="csY41" fmla="*/ 366060 h 1509319"/>
              <a:gd name="csX42" fmla="*/ 206519 w 768725"/>
              <a:gd name="csY42" fmla="*/ 338181 h 1509319"/>
              <a:gd name="csX43" fmla="*/ 226643 w 768725"/>
              <a:gd name="csY43" fmla="*/ 329113 h 1509319"/>
              <a:gd name="csX44" fmla="*/ 232085 w 768725"/>
              <a:gd name="csY44" fmla="*/ 311135 h 1509319"/>
              <a:gd name="csX45" fmla="*/ 221280 w 768725"/>
              <a:gd name="csY45" fmla="*/ 299552 h 1509319"/>
              <a:gd name="csX46" fmla="*/ 173478 w 768725"/>
              <a:gd name="csY46" fmla="*/ 230303 h 1509319"/>
              <a:gd name="csX47" fmla="*/ 141864 w 768725"/>
              <a:gd name="csY47" fmla="*/ 95780 h 1509319"/>
              <a:gd name="csX48" fmla="*/ 137158 w 768725"/>
              <a:gd name="csY48" fmla="*/ 37107 h 1509319"/>
              <a:gd name="csX49" fmla="*/ 148750 w 768725"/>
              <a:gd name="csY49" fmla="*/ 22335 h 1509319"/>
              <a:gd name="csX50" fmla="*/ 236982 w 768725"/>
              <a:gd name="csY50" fmla="*/ 7640 h 1509319"/>
              <a:gd name="csX51" fmla="*/ 246862 w 768725"/>
              <a:gd name="csY51" fmla="*/ 7580 h 1509319"/>
              <a:gd name="csX52" fmla="*/ 261473 w 768725"/>
              <a:gd name="csY52" fmla="*/ 86763 h 1509319"/>
              <a:gd name="csX53" fmla="*/ 306246 w 768725"/>
              <a:gd name="csY53" fmla="*/ 83559 h 1509319"/>
              <a:gd name="csX54" fmla="*/ 306960 w 768725"/>
              <a:gd name="csY54" fmla="*/ 71087 h 1509319"/>
              <a:gd name="csX55" fmla="*/ 306724 w 768725"/>
              <a:gd name="csY55" fmla="*/ 19491 h 1509319"/>
              <a:gd name="csX56" fmla="*/ 319581 w 768725"/>
              <a:gd name="csY56" fmla="*/ 4733 h 1509319"/>
              <a:gd name="csX57" fmla="*/ 430956 w 768725"/>
              <a:gd name="csY57" fmla="*/ 2070 h 1509319"/>
              <a:gd name="csX58" fmla="*/ 437066 w 768725"/>
              <a:gd name="csY58" fmla="*/ 2646 h 1509319"/>
              <a:gd name="csX59" fmla="*/ 460335 w 768725"/>
              <a:gd name="csY59" fmla="*/ 24205 h 1509319"/>
              <a:gd name="csX60" fmla="*/ 463579 w 768725"/>
              <a:gd name="csY60" fmla="*/ 62081 h 1509319"/>
              <a:gd name="csX61" fmla="*/ 463652 w 768725"/>
              <a:gd name="csY61" fmla="*/ 82953 h 1509319"/>
              <a:gd name="csX62" fmla="*/ 507205 w 768725"/>
              <a:gd name="csY62" fmla="*/ 85553 h 1509319"/>
              <a:gd name="csX63" fmla="*/ 513271 w 768725"/>
              <a:gd name="csY63" fmla="*/ 61890 h 1509319"/>
              <a:gd name="csX64" fmla="*/ 520203 w 768725"/>
              <a:gd name="csY64" fmla="*/ 18323 h 1509319"/>
              <a:gd name="csX65" fmla="*/ 534008 w 768725"/>
              <a:gd name="csY65" fmla="*/ 7785 h 1509319"/>
              <a:gd name="csX66" fmla="*/ 595925 w 768725"/>
              <a:gd name="csY66" fmla="*/ 16407 h 1509319"/>
              <a:gd name="csX67" fmla="*/ 619972 w 768725"/>
              <a:gd name="csY67" fmla="*/ 21156 h 1509319"/>
              <a:gd name="csX68" fmla="*/ 631161 w 768725"/>
              <a:gd name="csY68" fmla="*/ 36134 h 1509319"/>
              <a:gd name="csX69" fmla="*/ 628140 w 768725"/>
              <a:gd name="csY69" fmla="*/ 85104 h 1509319"/>
              <a:gd name="csX70" fmla="*/ 613954 w 768725"/>
              <a:gd name="csY70" fmla="*/ 179618 h 1509319"/>
              <a:gd name="csX71" fmla="*/ 586196 w 768725"/>
              <a:gd name="csY71" fmla="*/ 256886 h 1509319"/>
              <a:gd name="csX72" fmla="*/ 554619 w 768725"/>
              <a:gd name="csY72" fmla="*/ 295312 h 1509319"/>
              <a:gd name="csX73" fmla="*/ 538601 w 768725"/>
              <a:gd name="csY73" fmla="*/ 315001 h 1509319"/>
              <a:gd name="csX74" fmla="*/ 542630 w 768725"/>
              <a:gd name="csY74" fmla="*/ 326199 h 1509319"/>
              <a:gd name="csX75" fmla="*/ 560240 w 768725"/>
              <a:gd name="csY75" fmla="*/ 334912 h 1509319"/>
              <a:gd name="csX76" fmla="*/ 586933 w 768725"/>
              <a:gd name="csY76" fmla="*/ 371800 h 1509319"/>
              <a:gd name="csX77" fmla="*/ 563039 w 768725"/>
              <a:gd name="csY77" fmla="*/ 418184 h 1509319"/>
              <a:gd name="csX78" fmla="*/ 545522 w 768725"/>
              <a:gd name="csY78" fmla="*/ 427008 h 1509319"/>
              <a:gd name="csX79" fmla="*/ 535507 w 768725"/>
              <a:gd name="csY79" fmla="*/ 440667 h 1509319"/>
              <a:gd name="csX80" fmla="*/ 536723 w 768725"/>
              <a:gd name="csY80" fmla="*/ 537651 h 1509319"/>
              <a:gd name="csX81" fmla="*/ 539820 w 768725"/>
              <a:gd name="csY81" fmla="*/ 595237 h 1509319"/>
              <a:gd name="csX82" fmla="*/ 553105 w 768725"/>
              <a:gd name="csY82" fmla="*/ 746727 h 1509319"/>
              <a:gd name="csX83" fmla="*/ 576414 w 768725"/>
              <a:gd name="csY83" fmla="*/ 893042 h 1509319"/>
              <a:gd name="csX84" fmla="*/ 500356 w 768725"/>
              <a:gd name="csY84" fmla="*/ 473996 h 1509319"/>
              <a:gd name="csX85" fmla="*/ 499749 w 768725"/>
              <a:gd name="csY85" fmla="*/ 463598 h 1509319"/>
              <a:gd name="csX86" fmla="*/ 392525 w 768725"/>
              <a:gd name="csY86" fmla="*/ 471627 h 1509319"/>
              <a:gd name="csX87" fmla="*/ 392518 w 768725"/>
              <a:gd name="csY87" fmla="*/ 482742 h 1509319"/>
              <a:gd name="csX88" fmla="*/ 390814 w 768725"/>
              <a:gd name="csY88" fmla="*/ 596913 h 1509319"/>
              <a:gd name="csX89" fmla="*/ 385953 w 768725"/>
              <a:gd name="csY89" fmla="*/ 788374 h 1509319"/>
              <a:gd name="csX90" fmla="*/ 383485 w 768725"/>
              <a:gd name="csY90" fmla="*/ 884103 h 1509319"/>
              <a:gd name="csX91" fmla="*/ 380173 w 768725"/>
              <a:gd name="csY91" fmla="*/ 1035109 h 1509319"/>
              <a:gd name="csX92" fmla="*/ 378826 w 768725"/>
              <a:gd name="csY92" fmla="*/ 1068199 h 1509319"/>
              <a:gd name="csX93" fmla="*/ 380180 w 768725"/>
              <a:gd name="csY93" fmla="*/ 1074648 h 1509319"/>
              <a:gd name="csX94" fmla="*/ 446854 w 768725"/>
              <a:gd name="csY94" fmla="*/ 1074654 h 1509319"/>
              <a:gd name="csX95" fmla="*/ 513191 w 768725"/>
              <a:gd name="csY95" fmla="*/ 1074731 h 1509319"/>
              <a:gd name="csX96" fmla="*/ 580317 w 768725"/>
              <a:gd name="csY96" fmla="*/ 1075095 h 1509319"/>
              <a:gd name="csX97" fmla="*/ 500356 w 768725"/>
              <a:gd name="csY97" fmla="*/ 473996 h 1509319"/>
              <a:gd name="csX98" fmla="*/ 459731 w 768725"/>
              <a:gd name="csY98" fmla="*/ 1135086 h 1509319"/>
              <a:gd name="csX99" fmla="*/ 383756 w 768725"/>
              <a:gd name="csY99" fmla="*/ 1135086 h 1509319"/>
              <a:gd name="csX100" fmla="*/ 387612 w 768725"/>
              <a:gd name="csY100" fmla="*/ 1242590 h 1509319"/>
              <a:gd name="csX101" fmla="*/ 383907 w 768725"/>
              <a:gd name="csY101" fmla="*/ 1351330 h 1509319"/>
              <a:gd name="csX102" fmla="*/ 707112 w 768725"/>
              <a:gd name="csY102" fmla="*/ 1330559 h 1509319"/>
              <a:gd name="csX103" fmla="*/ 686366 w 768725"/>
              <a:gd name="csY103" fmla="*/ 1251637 h 1509319"/>
              <a:gd name="csX104" fmla="*/ 639403 w 768725"/>
              <a:gd name="csY104" fmla="*/ 1199952 h 1509319"/>
              <a:gd name="csX105" fmla="*/ 606292 w 768725"/>
              <a:gd name="csY105" fmla="*/ 1135508 h 1509319"/>
              <a:gd name="csX106" fmla="*/ 602971 w 768725"/>
              <a:gd name="csY106" fmla="*/ 1123400 h 1509319"/>
              <a:gd name="csX107" fmla="*/ 591474 w 768725"/>
              <a:gd name="csY107" fmla="*/ 1124633 h 1509319"/>
              <a:gd name="csX108" fmla="*/ 530551 w 768725"/>
              <a:gd name="csY108" fmla="*/ 1130880 h 1509319"/>
              <a:gd name="csX109" fmla="*/ 459731 w 768725"/>
              <a:gd name="csY109" fmla="*/ 1135086 h 1509319"/>
              <a:gd name="csX110" fmla="*/ 469505 w 768725"/>
              <a:gd name="csY110" fmla="*/ 116252 h 1509319"/>
              <a:gd name="csX111" fmla="*/ 443782 w 768725"/>
              <a:gd name="csY111" fmla="*/ 114911 h 1509319"/>
              <a:gd name="csX112" fmla="*/ 430007 w 768725"/>
              <a:gd name="csY112" fmla="*/ 99878 h 1509319"/>
              <a:gd name="csX113" fmla="*/ 429331 w 768725"/>
              <a:gd name="csY113" fmla="*/ 69197 h 1509319"/>
              <a:gd name="csX114" fmla="*/ 426333 w 768725"/>
              <a:gd name="csY114" fmla="*/ 34606 h 1509319"/>
              <a:gd name="csX115" fmla="*/ 377548 w 768725"/>
              <a:gd name="csY115" fmla="*/ 34613 h 1509319"/>
              <a:gd name="csX116" fmla="*/ 368004 w 768725"/>
              <a:gd name="csY116" fmla="*/ 44529 h 1509319"/>
              <a:gd name="csX117" fmla="*/ 366185 w 768725"/>
              <a:gd name="csY117" fmla="*/ 76343 h 1509319"/>
              <a:gd name="csX118" fmla="*/ 379384 w 768725"/>
              <a:gd name="csY118" fmla="*/ 206619 h 1509319"/>
              <a:gd name="csX119" fmla="*/ 390997 w 768725"/>
              <a:gd name="csY119" fmla="*/ 277965 h 1509319"/>
              <a:gd name="csX120" fmla="*/ 394040 w 768725"/>
              <a:gd name="csY120" fmla="*/ 305053 h 1509319"/>
              <a:gd name="csX121" fmla="*/ 501758 w 768725"/>
              <a:gd name="csY121" fmla="*/ 304814 h 1509319"/>
              <a:gd name="csX122" fmla="*/ 510340 w 768725"/>
              <a:gd name="csY122" fmla="*/ 299427 h 1509319"/>
              <a:gd name="csX123" fmla="*/ 526940 w 768725"/>
              <a:gd name="csY123" fmla="*/ 279822 h 1509319"/>
              <a:gd name="csX124" fmla="*/ 576920 w 768725"/>
              <a:gd name="csY124" fmla="*/ 192342 h 1509319"/>
              <a:gd name="csX125" fmla="*/ 594042 w 768725"/>
              <a:gd name="csY125" fmla="*/ 74918 h 1509319"/>
              <a:gd name="csX126" fmla="*/ 594159 w 768725"/>
              <a:gd name="csY126" fmla="*/ 49195 h 1509319"/>
              <a:gd name="csX127" fmla="*/ 554791 w 768725"/>
              <a:gd name="csY127" fmla="*/ 42552 h 1509319"/>
              <a:gd name="csX128" fmla="*/ 552461 w 768725"/>
              <a:gd name="csY128" fmla="*/ 55598 h 1509319"/>
              <a:gd name="csX129" fmla="*/ 544678 w 768725"/>
              <a:gd name="csY129" fmla="*/ 102721 h 1509319"/>
              <a:gd name="csX130" fmla="*/ 525701 w 768725"/>
              <a:gd name="csY130" fmla="*/ 118186 h 1509319"/>
              <a:gd name="csX131" fmla="*/ 469505 w 768725"/>
              <a:gd name="csY131" fmla="*/ 116252 h 1509319"/>
              <a:gd name="csX132" fmla="*/ 513928 w 768725"/>
              <a:gd name="csY132" fmla="*/ 1403203 h 1509319"/>
              <a:gd name="csX133" fmla="*/ 379322 w 768725"/>
              <a:gd name="csY133" fmla="*/ 1404000 h 1509319"/>
              <a:gd name="csX134" fmla="*/ 379322 w 768725"/>
              <a:gd name="csY134" fmla="*/ 1460424 h 1509319"/>
              <a:gd name="csX135" fmla="*/ 726554 w 768725"/>
              <a:gd name="csY135" fmla="*/ 1439225 h 1509319"/>
              <a:gd name="csX136" fmla="*/ 721089 w 768725"/>
              <a:gd name="csY136" fmla="*/ 1397750 h 1509319"/>
              <a:gd name="csX137" fmla="*/ 697967 w 768725"/>
              <a:gd name="csY137" fmla="*/ 1385046 h 1509319"/>
              <a:gd name="csX138" fmla="*/ 619039 w 768725"/>
              <a:gd name="csY138" fmla="*/ 1395892 h 1509319"/>
              <a:gd name="csX139" fmla="*/ 513928 w 768725"/>
              <a:gd name="csY139" fmla="*/ 1403203 h 1509319"/>
              <a:gd name="csX140" fmla="*/ 462814 w 768725"/>
              <a:gd name="csY140" fmla="*/ 375981 h 1509319"/>
              <a:gd name="csX141" fmla="*/ 538992 w 768725"/>
              <a:gd name="csY141" fmla="*/ 375736 h 1509319"/>
              <a:gd name="csX142" fmla="*/ 551835 w 768725"/>
              <a:gd name="csY142" fmla="*/ 373923 h 1509319"/>
              <a:gd name="csX143" fmla="*/ 539689 w 768725"/>
              <a:gd name="csY143" fmla="*/ 356085 h 1509319"/>
              <a:gd name="csX144" fmla="*/ 521074 w 768725"/>
              <a:gd name="csY144" fmla="*/ 344186 h 1509319"/>
              <a:gd name="csX145" fmla="*/ 503789 w 768725"/>
              <a:gd name="csY145" fmla="*/ 339280 h 1509319"/>
              <a:gd name="csX146" fmla="*/ 404270 w 768725"/>
              <a:gd name="csY146" fmla="*/ 339994 h 1509319"/>
              <a:gd name="csX147" fmla="*/ 393081 w 768725"/>
              <a:gd name="csY147" fmla="*/ 340868 h 1509319"/>
              <a:gd name="csX148" fmla="*/ 395001 w 768725"/>
              <a:gd name="csY148" fmla="*/ 375976 h 1509319"/>
              <a:gd name="csX149" fmla="*/ 462814 w 768725"/>
              <a:gd name="csY149" fmla="*/ 375981 h 150931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</a:cxnLst>
            <a:rect l="l" t="t" r="r" b="b"/>
            <a:pathLst>
              <a:path w="768725" h="1509319">
                <a:moveTo>
                  <a:pt x="576414" y="893042"/>
                </a:moveTo>
                <a:cubicBezTo>
                  <a:pt x="588806" y="949146"/>
                  <a:pt x="601091" y="1004202"/>
                  <a:pt x="613047" y="1059329"/>
                </a:cubicBezTo>
                <a:cubicBezTo>
                  <a:pt x="614432" y="1065716"/>
                  <a:pt x="617736" y="1069332"/>
                  <a:pt x="623337" y="1071825"/>
                </a:cubicBezTo>
                <a:cubicBezTo>
                  <a:pt x="628942" y="1074320"/>
                  <a:pt x="634521" y="1076938"/>
                  <a:pt x="639863" y="1079946"/>
                </a:cubicBezTo>
                <a:cubicBezTo>
                  <a:pt x="650944" y="1086186"/>
                  <a:pt x="655598" y="1096871"/>
                  <a:pt x="652266" y="1109045"/>
                </a:cubicBezTo>
                <a:cubicBezTo>
                  <a:pt x="650545" y="1115333"/>
                  <a:pt x="647953" y="1121401"/>
                  <a:pt x="645501" y="1127466"/>
                </a:cubicBezTo>
                <a:cubicBezTo>
                  <a:pt x="643225" y="1133097"/>
                  <a:pt x="643438" y="1138435"/>
                  <a:pt x="645547" y="1144138"/>
                </a:cubicBezTo>
                <a:cubicBezTo>
                  <a:pt x="649868" y="1155821"/>
                  <a:pt x="655892" y="1166306"/>
                  <a:pt x="664589" y="1175322"/>
                </a:cubicBezTo>
                <a:cubicBezTo>
                  <a:pt x="680503" y="1191819"/>
                  <a:pt x="696298" y="1208434"/>
                  <a:pt x="712015" y="1225118"/>
                </a:cubicBezTo>
                <a:cubicBezTo>
                  <a:pt x="731931" y="1246258"/>
                  <a:pt x="740856" y="1272032"/>
                  <a:pt x="744465" y="1300385"/>
                </a:cubicBezTo>
                <a:cubicBezTo>
                  <a:pt x="746614" y="1317273"/>
                  <a:pt x="744537" y="1333855"/>
                  <a:pt x="743270" y="1350524"/>
                </a:cubicBezTo>
                <a:cubicBezTo>
                  <a:pt x="742916" y="1355183"/>
                  <a:pt x="743079" y="1358990"/>
                  <a:pt x="745429" y="1363274"/>
                </a:cubicBezTo>
                <a:cubicBezTo>
                  <a:pt x="761335" y="1392276"/>
                  <a:pt x="766719" y="1423956"/>
                  <a:pt x="768672" y="1456512"/>
                </a:cubicBezTo>
                <a:cubicBezTo>
                  <a:pt x="769161" y="1464651"/>
                  <a:pt x="766327" y="1469951"/>
                  <a:pt x="758521" y="1472434"/>
                </a:cubicBezTo>
                <a:cubicBezTo>
                  <a:pt x="749176" y="1475406"/>
                  <a:pt x="739961" y="1478919"/>
                  <a:pt x="730455" y="1481228"/>
                </a:cubicBezTo>
                <a:cubicBezTo>
                  <a:pt x="685866" y="1492058"/>
                  <a:pt x="640613" y="1498445"/>
                  <a:pt x="594867" y="1502210"/>
                </a:cubicBezTo>
                <a:cubicBezTo>
                  <a:pt x="503351" y="1509743"/>
                  <a:pt x="411695" y="1510364"/>
                  <a:pt x="320018" y="1508300"/>
                </a:cubicBezTo>
                <a:cubicBezTo>
                  <a:pt x="275466" y="1507297"/>
                  <a:pt x="230913" y="1504582"/>
                  <a:pt x="186464" y="1501258"/>
                </a:cubicBezTo>
                <a:cubicBezTo>
                  <a:pt x="132610" y="1497231"/>
                  <a:pt x="79072" y="1490389"/>
                  <a:pt x="26582" y="1477021"/>
                </a:cubicBezTo>
                <a:cubicBezTo>
                  <a:pt x="18195" y="1474885"/>
                  <a:pt x="9735" y="1472585"/>
                  <a:pt x="3929" y="1465652"/>
                </a:cubicBezTo>
                <a:cubicBezTo>
                  <a:pt x="1807" y="1463117"/>
                  <a:pt x="-213" y="1459275"/>
                  <a:pt x="18" y="1456203"/>
                </a:cubicBezTo>
                <a:cubicBezTo>
                  <a:pt x="995" y="1443177"/>
                  <a:pt x="2714" y="1430200"/>
                  <a:pt x="4393" y="1417235"/>
                </a:cubicBezTo>
                <a:cubicBezTo>
                  <a:pt x="6515" y="1400846"/>
                  <a:pt x="11310" y="1385118"/>
                  <a:pt x="19158" y="1370678"/>
                </a:cubicBezTo>
                <a:cubicBezTo>
                  <a:pt x="24205" y="1361393"/>
                  <a:pt x="24576" y="1352443"/>
                  <a:pt x="23255" y="1342388"/>
                </a:cubicBezTo>
                <a:cubicBezTo>
                  <a:pt x="18901" y="1309218"/>
                  <a:pt x="21603" y="1276876"/>
                  <a:pt x="38705" y="1247261"/>
                </a:cubicBezTo>
                <a:cubicBezTo>
                  <a:pt x="44179" y="1237783"/>
                  <a:pt x="50956" y="1228786"/>
                  <a:pt x="58454" y="1220807"/>
                </a:cubicBezTo>
                <a:cubicBezTo>
                  <a:pt x="73024" y="1205299"/>
                  <a:pt x="88543" y="1190683"/>
                  <a:pt x="103638" y="1175667"/>
                </a:cubicBezTo>
                <a:cubicBezTo>
                  <a:pt x="112161" y="1167189"/>
                  <a:pt x="118801" y="1157513"/>
                  <a:pt x="122996" y="1146131"/>
                </a:cubicBezTo>
                <a:cubicBezTo>
                  <a:pt x="125249" y="1140016"/>
                  <a:pt x="125488" y="1134282"/>
                  <a:pt x="122689" y="1128316"/>
                </a:cubicBezTo>
                <a:cubicBezTo>
                  <a:pt x="120431" y="1123504"/>
                  <a:pt x="118446" y="1118553"/>
                  <a:pt x="116576" y="1113575"/>
                </a:cubicBezTo>
                <a:cubicBezTo>
                  <a:pt x="111153" y="1099133"/>
                  <a:pt x="114404" y="1089299"/>
                  <a:pt x="127479" y="1081076"/>
                </a:cubicBezTo>
                <a:cubicBezTo>
                  <a:pt x="130563" y="1079137"/>
                  <a:pt x="134000" y="1077564"/>
                  <a:pt x="137480" y="1076482"/>
                </a:cubicBezTo>
                <a:cubicBezTo>
                  <a:pt x="148800" y="1072962"/>
                  <a:pt x="154794" y="1065351"/>
                  <a:pt x="157312" y="1053855"/>
                </a:cubicBezTo>
                <a:cubicBezTo>
                  <a:pt x="164312" y="1021900"/>
                  <a:pt x="172752" y="990234"/>
                  <a:pt x="178876" y="958120"/>
                </a:cubicBezTo>
                <a:cubicBezTo>
                  <a:pt x="190055" y="899504"/>
                  <a:pt x="200649" y="840756"/>
                  <a:pt x="210165" y="781849"/>
                </a:cubicBezTo>
                <a:cubicBezTo>
                  <a:pt x="215898" y="746366"/>
                  <a:pt x="219868" y="710550"/>
                  <a:pt x="223295" y="674755"/>
                </a:cubicBezTo>
                <a:cubicBezTo>
                  <a:pt x="226801" y="638133"/>
                  <a:pt x="229185" y="601381"/>
                  <a:pt x="231121" y="564636"/>
                </a:cubicBezTo>
                <a:cubicBezTo>
                  <a:pt x="233079" y="527469"/>
                  <a:pt x="233899" y="490241"/>
                  <a:pt x="235173" y="453038"/>
                </a:cubicBezTo>
                <a:cubicBezTo>
                  <a:pt x="235285" y="449770"/>
                  <a:pt x="235108" y="446488"/>
                  <a:pt x="235001" y="443215"/>
                </a:cubicBezTo>
                <a:cubicBezTo>
                  <a:pt x="234761" y="435907"/>
                  <a:pt x="231291" y="431283"/>
                  <a:pt x="224321" y="428479"/>
                </a:cubicBezTo>
                <a:cubicBezTo>
                  <a:pt x="217531" y="425747"/>
                  <a:pt x="210873" y="422395"/>
                  <a:pt x="204712" y="418450"/>
                </a:cubicBezTo>
                <a:cubicBezTo>
                  <a:pt x="187562" y="407468"/>
                  <a:pt x="179141" y="385623"/>
                  <a:pt x="184069" y="366060"/>
                </a:cubicBezTo>
                <a:cubicBezTo>
                  <a:pt x="187270" y="353354"/>
                  <a:pt x="195406" y="344379"/>
                  <a:pt x="206519" y="338181"/>
                </a:cubicBezTo>
                <a:cubicBezTo>
                  <a:pt x="212922" y="334611"/>
                  <a:pt x="219930" y="332132"/>
                  <a:pt x="226643" y="329113"/>
                </a:cubicBezTo>
                <a:cubicBezTo>
                  <a:pt x="236636" y="324620"/>
                  <a:pt x="238185" y="320246"/>
                  <a:pt x="232085" y="311135"/>
                </a:cubicBezTo>
                <a:cubicBezTo>
                  <a:pt x="229169" y="306779"/>
                  <a:pt x="225643" y="302195"/>
                  <a:pt x="221280" y="299552"/>
                </a:cubicBezTo>
                <a:cubicBezTo>
                  <a:pt x="194874" y="283553"/>
                  <a:pt x="183766" y="257401"/>
                  <a:pt x="173478" y="230303"/>
                </a:cubicBezTo>
                <a:cubicBezTo>
                  <a:pt x="156973" y="186824"/>
                  <a:pt x="146078" y="142097"/>
                  <a:pt x="141864" y="95780"/>
                </a:cubicBezTo>
                <a:cubicBezTo>
                  <a:pt x="140086" y="76240"/>
                  <a:pt x="138323" y="56689"/>
                  <a:pt x="137158" y="37107"/>
                </a:cubicBezTo>
                <a:cubicBezTo>
                  <a:pt x="136482" y="25735"/>
                  <a:pt x="137408" y="24372"/>
                  <a:pt x="148750" y="22335"/>
                </a:cubicBezTo>
                <a:cubicBezTo>
                  <a:pt x="178094" y="17065"/>
                  <a:pt x="207551" y="12418"/>
                  <a:pt x="236982" y="7640"/>
                </a:cubicBezTo>
                <a:cubicBezTo>
                  <a:pt x="239748" y="7191"/>
                  <a:pt x="242650" y="7580"/>
                  <a:pt x="246862" y="7580"/>
                </a:cubicBezTo>
                <a:cubicBezTo>
                  <a:pt x="255824" y="32568"/>
                  <a:pt x="255201" y="59502"/>
                  <a:pt x="261473" y="86763"/>
                </a:cubicBezTo>
                <a:cubicBezTo>
                  <a:pt x="276122" y="85715"/>
                  <a:pt x="290587" y="84680"/>
                  <a:pt x="306246" y="83559"/>
                </a:cubicBezTo>
                <a:cubicBezTo>
                  <a:pt x="306524" y="78935"/>
                  <a:pt x="306966" y="75011"/>
                  <a:pt x="306960" y="71087"/>
                </a:cubicBezTo>
                <a:cubicBezTo>
                  <a:pt x="306936" y="53888"/>
                  <a:pt x="306633" y="36688"/>
                  <a:pt x="306724" y="19491"/>
                </a:cubicBezTo>
                <a:cubicBezTo>
                  <a:pt x="306789" y="7258"/>
                  <a:pt x="307148" y="6664"/>
                  <a:pt x="319581" y="4733"/>
                </a:cubicBezTo>
                <a:cubicBezTo>
                  <a:pt x="356571" y="-1011"/>
                  <a:pt x="393735" y="-1048"/>
                  <a:pt x="430956" y="2070"/>
                </a:cubicBezTo>
                <a:cubicBezTo>
                  <a:pt x="432994" y="2241"/>
                  <a:pt x="435026" y="2485"/>
                  <a:pt x="437066" y="2646"/>
                </a:cubicBezTo>
                <a:cubicBezTo>
                  <a:pt x="455684" y="4122"/>
                  <a:pt x="457626" y="5472"/>
                  <a:pt x="460335" y="24205"/>
                </a:cubicBezTo>
                <a:cubicBezTo>
                  <a:pt x="462146" y="36727"/>
                  <a:pt x="462770" y="49435"/>
                  <a:pt x="463579" y="62081"/>
                </a:cubicBezTo>
                <a:cubicBezTo>
                  <a:pt x="463995" y="68573"/>
                  <a:pt x="463652" y="75113"/>
                  <a:pt x="463652" y="82953"/>
                </a:cubicBezTo>
                <a:cubicBezTo>
                  <a:pt x="478793" y="83857"/>
                  <a:pt x="492851" y="84696"/>
                  <a:pt x="507205" y="85553"/>
                </a:cubicBezTo>
                <a:cubicBezTo>
                  <a:pt x="512102" y="78145"/>
                  <a:pt x="511920" y="69770"/>
                  <a:pt x="513271" y="61890"/>
                </a:cubicBezTo>
                <a:cubicBezTo>
                  <a:pt x="515756" y="47397"/>
                  <a:pt x="517439" y="32758"/>
                  <a:pt x="520203" y="18323"/>
                </a:cubicBezTo>
                <a:cubicBezTo>
                  <a:pt x="522330" y="7216"/>
                  <a:pt x="522926" y="6539"/>
                  <a:pt x="534008" y="7785"/>
                </a:cubicBezTo>
                <a:cubicBezTo>
                  <a:pt x="554709" y="10113"/>
                  <a:pt x="575316" y="13322"/>
                  <a:pt x="595925" y="16407"/>
                </a:cubicBezTo>
                <a:cubicBezTo>
                  <a:pt x="604001" y="17616"/>
                  <a:pt x="612093" y="19051"/>
                  <a:pt x="619972" y="21156"/>
                </a:cubicBezTo>
                <a:cubicBezTo>
                  <a:pt x="628887" y="23538"/>
                  <a:pt x="631496" y="26848"/>
                  <a:pt x="631161" y="36134"/>
                </a:cubicBezTo>
                <a:cubicBezTo>
                  <a:pt x="630572" y="52475"/>
                  <a:pt x="629765" y="68840"/>
                  <a:pt x="628140" y="85104"/>
                </a:cubicBezTo>
                <a:cubicBezTo>
                  <a:pt x="624968" y="116827"/>
                  <a:pt x="621618" y="148545"/>
                  <a:pt x="613954" y="179618"/>
                </a:cubicBezTo>
                <a:cubicBezTo>
                  <a:pt x="607361" y="206344"/>
                  <a:pt x="597791" y="231950"/>
                  <a:pt x="586196" y="256886"/>
                </a:cubicBezTo>
                <a:cubicBezTo>
                  <a:pt x="578940" y="272491"/>
                  <a:pt x="568647" y="285371"/>
                  <a:pt x="554619" y="295312"/>
                </a:cubicBezTo>
                <a:cubicBezTo>
                  <a:pt x="547467" y="300381"/>
                  <a:pt x="541673" y="306562"/>
                  <a:pt x="538601" y="315001"/>
                </a:cubicBezTo>
                <a:cubicBezTo>
                  <a:pt x="536802" y="319945"/>
                  <a:pt x="537533" y="323761"/>
                  <a:pt x="542630" y="326199"/>
                </a:cubicBezTo>
                <a:cubicBezTo>
                  <a:pt x="548539" y="329025"/>
                  <a:pt x="554513" y="331748"/>
                  <a:pt x="560240" y="334912"/>
                </a:cubicBezTo>
                <a:cubicBezTo>
                  <a:pt x="574874" y="342998"/>
                  <a:pt x="586216" y="353688"/>
                  <a:pt x="586933" y="371800"/>
                </a:cubicBezTo>
                <a:cubicBezTo>
                  <a:pt x="587721" y="391697"/>
                  <a:pt x="581146" y="407998"/>
                  <a:pt x="563039" y="418184"/>
                </a:cubicBezTo>
                <a:cubicBezTo>
                  <a:pt x="557338" y="421391"/>
                  <a:pt x="551634" y="424825"/>
                  <a:pt x="545522" y="427008"/>
                </a:cubicBezTo>
                <a:cubicBezTo>
                  <a:pt x="538690" y="429449"/>
                  <a:pt x="535443" y="433770"/>
                  <a:pt x="535507" y="440667"/>
                </a:cubicBezTo>
                <a:cubicBezTo>
                  <a:pt x="535813" y="472997"/>
                  <a:pt x="535953" y="505332"/>
                  <a:pt x="536723" y="537651"/>
                </a:cubicBezTo>
                <a:cubicBezTo>
                  <a:pt x="537181" y="556862"/>
                  <a:pt x="538274" y="576081"/>
                  <a:pt x="539820" y="595237"/>
                </a:cubicBezTo>
                <a:cubicBezTo>
                  <a:pt x="543897" y="645768"/>
                  <a:pt x="546950" y="696441"/>
                  <a:pt x="553105" y="746727"/>
                </a:cubicBezTo>
                <a:cubicBezTo>
                  <a:pt x="559060" y="795370"/>
                  <a:pt x="568372" y="843602"/>
                  <a:pt x="576414" y="893042"/>
                </a:cubicBezTo>
                <a:moveTo>
                  <a:pt x="500356" y="473996"/>
                </a:moveTo>
                <a:cubicBezTo>
                  <a:pt x="500146" y="470396"/>
                  <a:pt x="499936" y="466797"/>
                  <a:pt x="499749" y="463598"/>
                </a:cubicBezTo>
                <a:cubicBezTo>
                  <a:pt x="463731" y="466295"/>
                  <a:pt x="428548" y="468929"/>
                  <a:pt x="392525" y="471627"/>
                </a:cubicBezTo>
                <a:cubicBezTo>
                  <a:pt x="392525" y="475456"/>
                  <a:pt x="392570" y="479099"/>
                  <a:pt x="392518" y="482742"/>
                </a:cubicBezTo>
                <a:cubicBezTo>
                  <a:pt x="391977" y="520799"/>
                  <a:pt x="391669" y="558862"/>
                  <a:pt x="390814" y="596913"/>
                </a:cubicBezTo>
                <a:cubicBezTo>
                  <a:pt x="389379" y="660737"/>
                  <a:pt x="387596" y="724554"/>
                  <a:pt x="385953" y="788374"/>
                </a:cubicBezTo>
                <a:cubicBezTo>
                  <a:pt x="385132" y="820284"/>
                  <a:pt x="384217" y="852191"/>
                  <a:pt x="383485" y="884103"/>
                </a:cubicBezTo>
                <a:cubicBezTo>
                  <a:pt x="382329" y="934437"/>
                  <a:pt x="381336" y="984775"/>
                  <a:pt x="380173" y="1035109"/>
                </a:cubicBezTo>
                <a:cubicBezTo>
                  <a:pt x="379918" y="1046143"/>
                  <a:pt x="379172" y="1057166"/>
                  <a:pt x="378826" y="1068199"/>
                </a:cubicBezTo>
                <a:cubicBezTo>
                  <a:pt x="378768" y="1070073"/>
                  <a:pt x="379592" y="1071975"/>
                  <a:pt x="380180" y="1074648"/>
                </a:cubicBezTo>
                <a:cubicBezTo>
                  <a:pt x="402724" y="1074648"/>
                  <a:pt x="424789" y="1074626"/>
                  <a:pt x="446854" y="1074654"/>
                </a:cubicBezTo>
                <a:cubicBezTo>
                  <a:pt x="468967" y="1074682"/>
                  <a:pt x="491084" y="1075062"/>
                  <a:pt x="513191" y="1074731"/>
                </a:cubicBezTo>
                <a:cubicBezTo>
                  <a:pt x="535020" y="1074404"/>
                  <a:pt x="556890" y="1078397"/>
                  <a:pt x="580317" y="1075095"/>
                </a:cubicBezTo>
                <a:cubicBezTo>
                  <a:pt x="530688" y="877741"/>
                  <a:pt x="498514" y="679261"/>
                  <a:pt x="500356" y="473996"/>
                </a:cubicBezTo>
                <a:moveTo>
                  <a:pt x="459731" y="1135086"/>
                </a:moveTo>
                <a:cubicBezTo>
                  <a:pt x="434501" y="1135086"/>
                  <a:pt x="409270" y="1135086"/>
                  <a:pt x="383756" y="1135086"/>
                </a:cubicBezTo>
                <a:cubicBezTo>
                  <a:pt x="385145" y="1171037"/>
                  <a:pt x="387590" y="1206813"/>
                  <a:pt x="387612" y="1242590"/>
                </a:cubicBezTo>
                <a:cubicBezTo>
                  <a:pt x="387634" y="1278699"/>
                  <a:pt x="385252" y="1314810"/>
                  <a:pt x="383907" y="1351330"/>
                </a:cubicBezTo>
                <a:cubicBezTo>
                  <a:pt x="493016" y="1355954"/>
                  <a:pt x="600298" y="1349068"/>
                  <a:pt x="707112" y="1330559"/>
                </a:cubicBezTo>
                <a:cubicBezTo>
                  <a:pt x="710922" y="1301049"/>
                  <a:pt x="703971" y="1274394"/>
                  <a:pt x="686366" y="1251637"/>
                </a:cubicBezTo>
                <a:cubicBezTo>
                  <a:pt x="672164" y="1233278"/>
                  <a:pt x="655625" y="1216649"/>
                  <a:pt x="639403" y="1199952"/>
                </a:cubicBezTo>
                <a:cubicBezTo>
                  <a:pt x="621690" y="1181720"/>
                  <a:pt x="611031" y="1160243"/>
                  <a:pt x="606292" y="1135508"/>
                </a:cubicBezTo>
                <a:cubicBezTo>
                  <a:pt x="605546" y="1131614"/>
                  <a:pt x="604205" y="1127833"/>
                  <a:pt x="602971" y="1123400"/>
                </a:cubicBezTo>
                <a:cubicBezTo>
                  <a:pt x="598647" y="1123864"/>
                  <a:pt x="595062" y="1124258"/>
                  <a:pt x="591474" y="1124633"/>
                </a:cubicBezTo>
                <a:cubicBezTo>
                  <a:pt x="571170" y="1126753"/>
                  <a:pt x="550896" y="1129262"/>
                  <a:pt x="530551" y="1130880"/>
                </a:cubicBezTo>
                <a:cubicBezTo>
                  <a:pt x="507752" y="1132694"/>
                  <a:pt x="484887" y="1133699"/>
                  <a:pt x="459731" y="1135086"/>
                </a:cubicBezTo>
                <a:moveTo>
                  <a:pt x="469505" y="116252"/>
                </a:moveTo>
                <a:cubicBezTo>
                  <a:pt x="460926" y="115846"/>
                  <a:pt x="452288" y="115932"/>
                  <a:pt x="443782" y="114911"/>
                </a:cubicBezTo>
                <a:cubicBezTo>
                  <a:pt x="433023" y="113619"/>
                  <a:pt x="430601" y="110848"/>
                  <a:pt x="430007" y="99878"/>
                </a:cubicBezTo>
                <a:cubicBezTo>
                  <a:pt x="429457" y="89668"/>
                  <a:pt x="429903" y="79404"/>
                  <a:pt x="429331" y="69197"/>
                </a:cubicBezTo>
                <a:cubicBezTo>
                  <a:pt x="428702" y="57943"/>
                  <a:pt x="427414" y="46725"/>
                  <a:pt x="426333" y="34606"/>
                </a:cubicBezTo>
                <a:cubicBezTo>
                  <a:pt x="409217" y="34606"/>
                  <a:pt x="393383" y="34593"/>
                  <a:pt x="377548" y="34613"/>
                </a:cubicBezTo>
                <a:cubicBezTo>
                  <a:pt x="370973" y="34621"/>
                  <a:pt x="368175" y="37880"/>
                  <a:pt x="368004" y="44529"/>
                </a:cubicBezTo>
                <a:cubicBezTo>
                  <a:pt x="367731" y="55142"/>
                  <a:pt x="366531" y="65729"/>
                  <a:pt x="366185" y="76343"/>
                </a:cubicBezTo>
                <a:cubicBezTo>
                  <a:pt x="364748" y="120348"/>
                  <a:pt x="372586" y="163440"/>
                  <a:pt x="379384" y="206619"/>
                </a:cubicBezTo>
                <a:cubicBezTo>
                  <a:pt x="383132" y="230420"/>
                  <a:pt x="387281" y="254159"/>
                  <a:pt x="390997" y="277965"/>
                </a:cubicBezTo>
                <a:cubicBezTo>
                  <a:pt x="392356" y="286668"/>
                  <a:pt x="392988" y="295485"/>
                  <a:pt x="394040" y="305053"/>
                </a:cubicBezTo>
                <a:cubicBezTo>
                  <a:pt x="430625" y="305053"/>
                  <a:pt x="466194" y="305182"/>
                  <a:pt x="501758" y="304814"/>
                </a:cubicBezTo>
                <a:cubicBezTo>
                  <a:pt x="504672" y="304784"/>
                  <a:pt x="508099" y="301870"/>
                  <a:pt x="510340" y="299427"/>
                </a:cubicBezTo>
                <a:cubicBezTo>
                  <a:pt x="516125" y="293119"/>
                  <a:pt x="520822" y="285749"/>
                  <a:pt x="526940" y="279822"/>
                </a:cubicBezTo>
                <a:cubicBezTo>
                  <a:pt x="552103" y="255447"/>
                  <a:pt x="566819" y="225104"/>
                  <a:pt x="576920" y="192342"/>
                </a:cubicBezTo>
                <a:cubicBezTo>
                  <a:pt x="588690" y="154165"/>
                  <a:pt x="590063" y="114309"/>
                  <a:pt x="594042" y="74918"/>
                </a:cubicBezTo>
                <a:cubicBezTo>
                  <a:pt x="594852" y="66901"/>
                  <a:pt x="594159" y="58731"/>
                  <a:pt x="594159" y="49195"/>
                </a:cubicBezTo>
                <a:cubicBezTo>
                  <a:pt x="581125" y="46996"/>
                  <a:pt x="568493" y="44864"/>
                  <a:pt x="554791" y="42552"/>
                </a:cubicBezTo>
                <a:cubicBezTo>
                  <a:pt x="553857" y="47762"/>
                  <a:pt x="553099" y="51670"/>
                  <a:pt x="552461" y="55598"/>
                </a:cubicBezTo>
                <a:cubicBezTo>
                  <a:pt x="549905" y="71314"/>
                  <a:pt x="547903" y="87144"/>
                  <a:pt x="544678" y="102721"/>
                </a:cubicBezTo>
                <a:cubicBezTo>
                  <a:pt x="542363" y="113902"/>
                  <a:pt x="537010" y="118223"/>
                  <a:pt x="525701" y="118186"/>
                </a:cubicBezTo>
                <a:cubicBezTo>
                  <a:pt x="507730" y="118128"/>
                  <a:pt x="489762" y="117027"/>
                  <a:pt x="469505" y="116252"/>
                </a:cubicBezTo>
                <a:moveTo>
                  <a:pt x="513928" y="1403203"/>
                </a:moveTo>
                <a:cubicBezTo>
                  <a:pt x="469441" y="1403467"/>
                  <a:pt x="424955" y="1403730"/>
                  <a:pt x="379322" y="1404000"/>
                </a:cubicBezTo>
                <a:cubicBezTo>
                  <a:pt x="379322" y="1423089"/>
                  <a:pt x="379322" y="1440883"/>
                  <a:pt x="379322" y="1460424"/>
                </a:cubicBezTo>
                <a:cubicBezTo>
                  <a:pt x="496078" y="1471584"/>
                  <a:pt x="611510" y="1462301"/>
                  <a:pt x="726554" y="1439225"/>
                </a:cubicBezTo>
                <a:cubicBezTo>
                  <a:pt x="728615" y="1424350"/>
                  <a:pt x="725601" y="1410872"/>
                  <a:pt x="721089" y="1397750"/>
                </a:cubicBezTo>
                <a:cubicBezTo>
                  <a:pt x="717269" y="1386638"/>
                  <a:pt x="709802" y="1383286"/>
                  <a:pt x="697967" y="1385046"/>
                </a:cubicBezTo>
                <a:cubicBezTo>
                  <a:pt x="671697" y="1388954"/>
                  <a:pt x="645454" y="1393360"/>
                  <a:pt x="619039" y="1395892"/>
                </a:cubicBezTo>
                <a:cubicBezTo>
                  <a:pt x="584863" y="1399168"/>
                  <a:pt x="550531" y="1400815"/>
                  <a:pt x="513928" y="1403203"/>
                </a:cubicBezTo>
                <a:moveTo>
                  <a:pt x="462814" y="375981"/>
                </a:moveTo>
                <a:cubicBezTo>
                  <a:pt x="488207" y="375927"/>
                  <a:pt x="513601" y="375954"/>
                  <a:pt x="538992" y="375736"/>
                </a:cubicBezTo>
                <a:cubicBezTo>
                  <a:pt x="543170" y="375700"/>
                  <a:pt x="547338" y="374587"/>
                  <a:pt x="551835" y="373923"/>
                </a:cubicBezTo>
                <a:cubicBezTo>
                  <a:pt x="550780" y="364535"/>
                  <a:pt x="545320" y="360090"/>
                  <a:pt x="539689" y="356085"/>
                </a:cubicBezTo>
                <a:cubicBezTo>
                  <a:pt x="533696" y="351821"/>
                  <a:pt x="527145" y="348349"/>
                  <a:pt x="521074" y="344186"/>
                </a:cubicBezTo>
                <a:cubicBezTo>
                  <a:pt x="515783" y="340559"/>
                  <a:pt x="510232" y="339198"/>
                  <a:pt x="503789" y="339280"/>
                </a:cubicBezTo>
                <a:cubicBezTo>
                  <a:pt x="470618" y="339700"/>
                  <a:pt x="437443" y="339744"/>
                  <a:pt x="404270" y="339994"/>
                </a:cubicBezTo>
                <a:cubicBezTo>
                  <a:pt x="400758" y="340021"/>
                  <a:pt x="397250" y="340529"/>
                  <a:pt x="393081" y="340868"/>
                </a:cubicBezTo>
                <a:cubicBezTo>
                  <a:pt x="393653" y="352908"/>
                  <a:pt x="392145" y="363845"/>
                  <a:pt x="395001" y="375976"/>
                </a:cubicBezTo>
                <a:cubicBezTo>
                  <a:pt x="417133" y="375976"/>
                  <a:pt x="438745" y="375976"/>
                  <a:pt x="462814" y="375981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784" name="Free-form: Shape 7783">
            <a:extLst>
              <a:ext uri="{FF2B5EF4-FFF2-40B4-BE49-F238E27FC236}">
                <a16:creationId xmlns:a16="http://schemas.microsoft.com/office/drawing/2014/main" id="{CD716C5F-B7EC-97CA-D562-1AF89EEC51F3}"/>
              </a:ext>
            </a:extLst>
          </p:cNvPr>
          <p:cNvSpPr/>
          <p:nvPr/>
        </p:nvSpPr>
        <p:spPr>
          <a:xfrm>
            <a:off x="1706622" y="4157928"/>
            <a:ext cx="128865" cy="391925"/>
          </a:xfrm>
          <a:custGeom>
            <a:avLst/>
            <a:gdLst>
              <a:gd name="csX0" fmla="*/ 121535 w 201493"/>
              <a:gd name="csY0" fmla="*/ 11562 h 612813"/>
              <a:gd name="csX1" fmla="*/ 201493 w 201493"/>
              <a:gd name="csY1" fmla="*/ 611498 h 612813"/>
              <a:gd name="csX2" fmla="*/ 134368 w 201493"/>
              <a:gd name="csY2" fmla="*/ 611133 h 612813"/>
              <a:gd name="csX3" fmla="*/ 68030 w 201493"/>
              <a:gd name="csY3" fmla="*/ 611056 h 612813"/>
              <a:gd name="csX4" fmla="*/ 1357 w 201493"/>
              <a:gd name="csY4" fmla="*/ 611050 h 612813"/>
              <a:gd name="csX5" fmla="*/ 3 w 201493"/>
              <a:gd name="csY5" fmla="*/ 604601 h 612813"/>
              <a:gd name="csX6" fmla="*/ 1350 w 201493"/>
              <a:gd name="csY6" fmla="*/ 571511 h 612813"/>
              <a:gd name="csX7" fmla="*/ 4661 w 201493"/>
              <a:gd name="csY7" fmla="*/ 420505 h 612813"/>
              <a:gd name="csX8" fmla="*/ 7130 w 201493"/>
              <a:gd name="csY8" fmla="*/ 324777 h 612813"/>
              <a:gd name="csX9" fmla="*/ 11991 w 201493"/>
              <a:gd name="csY9" fmla="*/ 133315 h 612813"/>
              <a:gd name="csX10" fmla="*/ 13695 w 201493"/>
              <a:gd name="csY10" fmla="*/ 19144 h 612813"/>
              <a:gd name="csX11" fmla="*/ 13702 w 201493"/>
              <a:gd name="csY11" fmla="*/ 8029 h 612813"/>
              <a:gd name="csX12" fmla="*/ 120926 w 201493"/>
              <a:gd name="csY12" fmla="*/ 0 h 612813"/>
              <a:gd name="csX13" fmla="*/ 121535 w 201493"/>
              <a:gd name="csY13" fmla="*/ 11562 h 61281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</a:cxnLst>
            <a:rect l="l" t="t" r="r" b="b"/>
            <a:pathLst>
              <a:path w="201493" h="612813">
                <a:moveTo>
                  <a:pt x="121535" y="11562"/>
                </a:moveTo>
                <a:cubicBezTo>
                  <a:pt x="119691" y="215664"/>
                  <a:pt x="151865" y="414144"/>
                  <a:pt x="201493" y="611498"/>
                </a:cubicBezTo>
                <a:cubicBezTo>
                  <a:pt x="178066" y="614799"/>
                  <a:pt x="156197" y="610806"/>
                  <a:pt x="134368" y="611133"/>
                </a:cubicBezTo>
                <a:cubicBezTo>
                  <a:pt x="112261" y="611465"/>
                  <a:pt x="90143" y="611084"/>
                  <a:pt x="68030" y="611056"/>
                </a:cubicBezTo>
                <a:cubicBezTo>
                  <a:pt x="45965" y="611028"/>
                  <a:pt x="23900" y="611050"/>
                  <a:pt x="1357" y="611050"/>
                </a:cubicBezTo>
                <a:cubicBezTo>
                  <a:pt x="769" y="608377"/>
                  <a:pt x="-56" y="606475"/>
                  <a:pt x="3" y="604601"/>
                </a:cubicBezTo>
                <a:cubicBezTo>
                  <a:pt x="349" y="593568"/>
                  <a:pt x="1095" y="582545"/>
                  <a:pt x="1350" y="571511"/>
                </a:cubicBezTo>
                <a:cubicBezTo>
                  <a:pt x="2513" y="521177"/>
                  <a:pt x="3506" y="470839"/>
                  <a:pt x="4661" y="420505"/>
                </a:cubicBezTo>
                <a:cubicBezTo>
                  <a:pt x="5393" y="388594"/>
                  <a:pt x="6308" y="356686"/>
                  <a:pt x="7130" y="324777"/>
                </a:cubicBezTo>
                <a:cubicBezTo>
                  <a:pt x="8772" y="260956"/>
                  <a:pt x="10555" y="197140"/>
                  <a:pt x="11991" y="133315"/>
                </a:cubicBezTo>
                <a:cubicBezTo>
                  <a:pt x="12846" y="95264"/>
                  <a:pt x="13154" y="57201"/>
                  <a:pt x="13695" y="19144"/>
                </a:cubicBezTo>
                <a:cubicBezTo>
                  <a:pt x="13746" y="15501"/>
                  <a:pt x="13702" y="11858"/>
                  <a:pt x="13702" y="8029"/>
                </a:cubicBezTo>
                <a:cubicBezTo>
                  <a:pt x="49725" y="5331"/>
                  <a:pt x="84908" y="2697"/>
                  <a:pt x="120926" y="0"/>
                </a:cubicBezTo>
                <a:cubicBezTo>
                  <a:pt x="121113" y="3199"/>
                  <a:pt x="121323" y="6798"/>
                  <a:pt x="121535" y="11562"/>
                </a:cubicBezTo>
                <a:close/>
              </a:path>
            </a:pathLst>
          </a:custGeom>
          <a:solidFill>
            <a:srgbClr val="FDFDFD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785" name="Free-form: Shape 7784">
            <a:extLst>
              <a:ext uri="{FF2B5EF4-FFF2-40B4-BE49-F238E27FC236}">
                <a16:creationId xmlns:a16="http://schemas.microsoft.com/office/drawing/2014/main" id="{AF94B053-C69C-C0A4-B646-DE6919C2509C}"/>
              </a:ext>
            </a:extLst>
          </p:cNvPr>
          <p:cNvSpPr/>
          <p:nvPr/>
        </p:nvSpPr>
        <p:spPr>
          <a:xfrm>
            <a:off x="1709777" y="4579905"/>
            <a:ext cx="207449" cy="146663"/>
          </a:xfrm>
          <a:custGeom>
            <a:avLst/>
            <a:gdLst>
              <a:gd name="csX0" fmla="*/ 77135 w 324367"/>
              <a:gd name="csY0" fmla="*/ 11670 h 229322"/>
              <a:gd name="csX1" fmla="*/ 146795 w 324367"/>
              <a:gd name="csY1" fmla="*/ 7480 h 229322"/>
              <a:gd name="csX2" fmla="*/ 207718 w 324367"/>
              <a:gd name="csY2" fmla="*/ 1232 h 229322"/>
              <a:gd name="csX3" fmla="*/ 219215 w 324367"/>
              <a:gd name="csY3" fmla="*/ 0 h 229322"/>
              <a:gd name="csX4" fmla="*/ 222536 w 324367"/>
              <a:gd name="csY4" fmla="*/ 12108 h 229322"/>
              <a:gd name="csX5" fmla="*/ 255647 w 324367"/>
              <a:gd name="csY5" fmla="*/ 76552 h 229322"/>
              <a:gd name="csX6" fmla="*/ 302610 w 324367"/>
              <a:gd name="csY6" fmla="*/ 128236 h 229322"/>
              <a:gd name="csX7" fmla="*/ 323355 w 324367"/>
              <a:gd name="csY7" fmla="*/ 207159 h 229322"/>
              <a:gd name="csX8" fmla="*/ 151 w 324367"/>
              <a:gd name="csY8" fmla="*/ 227930 h 229322"/>
              <a:gd name="csX9" fmla="*/ 3855 w 324367"/>
              <a:gd name="csY9" fmla="*/ 119190 h 229322"/>
              <a:gd name="csX10" fmla="*/ 0 w 324367"/>
              <a:gd name="csY10" fmla="*/ 11685 h 229322"/>
              <a:gd name="csX11" fmla="*/ 77135 w 324367"/>
              <a:gd name="csY11" fmla="*/ 11670 h 22932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324367" h="229322">
                <a:moveTo>
                  <a:pt x="77135" y="11670"/>
                </a:moveTo>
                <a:cubicBezTo>
                  <a:pt x="101131" y="10299"/>
                  <a:pt x="123996" y="9293"/>
                  <a:pt x="146795" y="7480"/>
                </a:cubicBezTo>
                <a:cubicBezTo>
                  <a:pt x="167139" y="5862"/>
                  <a:pt x="187413" y="3352"/>
                  <a:pt x="207718" y="1232"/>
                </a:cubicBezTo>
                <a:cubicBezTo>
                  <a:pt x="211305" y="858"/>
                  <a:pt x="214891" y="464"/>
                  <a:pt x="219215" y="0"/>
                </a:cubicBezTo>
                <a:cubicBezTo>
                  <a:pt x="220448" y="4433"/>
                  <a:pt x="221789" y="8213"/>
                  <a:pt x="222536" y="12108"/>
                </a:cubicBezTo>
                <a:cubicBezTo>
                  <a:pt x="227274" y="36843"/>
                  <a:pt x="237933" y="58320"/>
                  <a:pt x="255647" y="76552"/>
                </a:cubicBezTo>
                <a:cubicBezTo>
                  <a:pt x="271868" y="93249"/>
                  <a:pt x="288407" y="109878"/>
                  <a:pt x="302610" y="128236"/>
                </a:cubicBezTo>
                <a:cubicBezTo>
                  <a:pt x="320215" y="150993"/>
                  <a:pt x="327166" y="177648"/>
                  <a:pt x="323355" y="207159"/>
                </a:cubicBezTo>
                <a:cubicBezTo>
                  <a:pt x="216542" y="225668"/>
                  <a:pt x="109259" y="232554"/>
                  <a:pt x="151" y="227930"/>
                </a:cubicBezTo>
                <a:cubicBezTo>
                  <a:pt x="1495" y="191410"/>
                  <a:pt x="3878" y="155299"/>
                  <a:pt x="3855" y="119190"/>
                </a:cubicBezTo>
                <a:cubicBezTo>
                  <a:pt x="3834" y="83413"/>
                  <a:pt x="1388" y="47637"/>
                  <a:pt x="0" y="11685"/>
                </a:cubicBezTo>
                <a:cubicBezTo>
                  <a:pt x="25514" y="11685"/>
                  <a:pt x="50744" y="11685"/>
                  <a:pt x="77135" y="11670"/>
                </a:cubicBezTo>
                <a:close/>
              </a:path>
            </a:pathLst>
          </a:custGeom>
          <a:solidFill>
            <a:srgbClr val="FDFEFE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786" name="Free-form: Shape 7785">
            <a:extLst>
              <a:ext uri="{FF2B5EF4-FFF2-40B4-BE49-F238E27FC236}">
                <a16:creationId xmlns:a16="http://schemas.microsoft.com/office/drawing/2014/main" id="{A4639858-F068-F231-CD3E-DA6A64E641A3}"/>
              </a:ext>
            </a:extLst>
          </p:cNvPr>
          <p:cNvSpPr/>
          <p:nvPr/>
        </p:nvSpPr>
        <p:spPr>
          <a:xfrm>
            <a:off x="1698429" y="3883565"/>
            <a:ext cx="146087" cy="172981"/>
          </a:xfrm>
          <a:custGeom>
            <a:avLst/>
            <a:gdLst>
              <a:gd name="csX0" fmla="*/ 104636 w 228422"/>
              <a:gd name="csY0" fmla="*/ 81707 h 270473"/>
              <a:gd name="csX1" fmla="*/ 159689 w 228422"/>
              <a:gd name="csY1" fmla="*/ 83584 h 270473"/>
              <a:gd name="csX2" fmla="*/ 178665 w 228422"/>
              <a:gd name="csY2" fmla="*/ 68119 h 270473"/>
              <a:gd name="csX3" fmla="*/ 186448 w 228422"/>
              <a:gd name="csY3" fmla="*/ 20996 h 270473"/>
              <a:gd name="csX4" fmla="*/ 188779 w 228422"/>
              <a:gd name="csY4" fmla="*/ 7950 h 270473"/>
              <a:gd name="csX5" fmla="*/ 228146 w 228422"/>
              <a:gd name="csY5" fmla="*/ 14593 h 270473"/>
              <a:gd name="csX6" fmla="*/ 228030 w 228422"/>
              <a:gd name="csY6" fmla="*/ 40316 h 270473"/>
              <a:gd name="csX7" fmla="*/ 210907 w 228422"/>
              <a:gd name="csY7" fmla="*/ 157740 h 270473"/>
              <a:gd name="csX8" fmla="*/ 160928 w 228422"/>
              <a:gd name="csY8" fmla="*/ 245220 h 270473"/>
              <a:gd name="csX9" fmla="*/ 144327 w 228422"/>
              <a:gd name="csY9" fmla="*/ 264825 h 270473"/>
              <a:gd name="csX10" fmla="*/ 135745 w 228422"/>
              <a:gd name="csY10" fmla="*/ 270212 h 270473"/>
              <a:gd name="csX11" fmla="*/ 28028 w 228422"/>
              <a:gd name="csY11" fmla="*/ 270451 h 270473"/>
              <a:gd name="csX12" fmla="*/ 24984 w 228422"/>
              <a:gd name="csY12" fmla="*/ 243363 h 270473"/>
              <a:gd name="csX13" fmla="*/ 13372 w 228422"/>
              <a:gd name="csY13" fmla="*/ 172017 h 270473"/>
              <a:gd name="csX14" fmla="*/ 172 w 228422"/>
              <a:gd name="csY14" fmla="*/ 41741 h 270473"/>
              <a:gd name="csX15" fmla="*/ 1991 w 228422"/>
              <a:gd name="csY15" fmla="*/ 9927 h 270473"/>
              <a:gd name="csX16" fmla="*/ 11535 w 228422"/>
              <a:gd name="csY16" fmla="*/ 11 h 270473"/>
              <a:gd name="csX17" fmla="*/ 60320 w 228422"/>
              <a:gd name="csY17" fmla="*/ 4 h 270473"/>
              <a:gd name="csX18" fmla="*/ 63319 w 228422"/>
              <a:gd name="csY18" fmla="*/ 34595 h 270473"/>
              <a:gd name="csX19" fmla="*/ 63995 w 228422"/>
              <a:gd name="csY19" fmla="*/ 65276 h 270473"/>
              <a:gd name="csX20" fmla="*/ 77770 w 228422"/>
              <a:gd name="csY20" fmla="*/ 80309 h 270473"/>
              <a:gd name="csX21" fmla="*/ 104636 w 228422"/>
              <a:gd name="csY21" fmla="*/ 81707 h 27047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</a:cxnLst>
            <a:rect l="l" t="t" r="r" b="b"/>
            <a:pathLst>
              <a:path w="228422" h="270473">
                <a:moveTo>
                  <a:pt x="104636" y="81707"/>
                </a:moveTo>
                <a:cubicBezTo>
                  <a:pt x="123750" y="82425"/>
                  <a:pt x="141717" y="83526"/>
                  <a:pt x="159689" y="83584"/>
                </a:cubicBezTo>
                <a:cubicBezTo>
                  <a:pt x="170998" y="83621"/>
                  <a:pt x="176351" y="79300"/>
                  <a:pt x="178665" y="68119"/>
                </a:cubicBezTo>
                <a:cubicBezTo>
                  <a:pt x="181890" y="52542"/>
                  <a:pt x="183892" y="36712"/>
                  <a:pt x="186448" y="20996"/>
                </a:cubicBezTo>
                <a:cubicBezTo>
                  <a:pt x="187087" y="17068"/>
                  <a:pt x="187844" y="13160"/>
                  <a:pt x="188779" y="7950"/>
                </a:cubicBezTo>
                <a:cubicBezTo>
                  <a:pt x="202480" y="10262"/>
                  <a:pt x="215113" y="12394"/>
                  <a:pt x="228146" y="14593"/>
                </a:cubicBezTo>
                <a:cubicBezTo>
                  <a:pt x="228146" y="24129"/>
                  <a:pt x="228839" y="32299"/>
                  <a:pt x="228030" y="40316"/>
                </a:cubicBezTo>
                <a:cubicBezTo>
                  <a:pt x="224051" y="79707"/>
                  <a:pt x="222678" y="119563"/>
                  <a:pt x="210907" y="157740"/>
                </a:cubicBezTo>
                <a:cubicBezTo>
                  <a:pt x="200806" y="190502"/>
                  <a:pt x="186090" y="220845"/>
                  <a:pt x="160928" y="245220"/>
                </a:cubicBezTo>
                <a:cubicBezTo>
                  <a:pt x="154810" y="251147"/>
                  <a:pt x="150112" y="258517"/>
                  <a:pt x="144327" y="264825"/>
                </a:cubicBezTo>
                <a:cubicBezTo>
                  <a:pt x="142086" y="267268"/>
                  <a:pt x="138659" y="270182"/>
                  <a:pt x="135745" y="270212"/>
                </a:cubicBezTo>
                <a:cubicBezTo>
                  <a:pt x="100181" y="270580"/>
                  <a:pt x="64612" y="270451"/>
                  <a:pt x="28028" y="270451"/>
                </a:cubicBezTo>
                <a:cubicBezTo>
                  <a:pt x="26976" y="260883"/>
                  <a:pt x="26343" y="252066"/>
                  <a:pt x="24984" y="243363"/>
                </a:cubicBezTo>
                <a:cubicBezTo>
                  <a:pt x="21268" y="219557"/>
                  <a:pt x="17119" y="195818"/>
                  <a:pt x="13372" y="172017"/>
                </a:cubicBezTo>
                <a:cubicBezTo>
                  <a:pt x="6574" y="128838"/>
                  <a:pt x="-1265" y="85746"/>
                  <a:pt x="172" y="41741"/>
                </a:cubicBezTo>
                <a:cubicBezTo>
                  <a:pt x="518" y="31127"/>
                  <a:pt x="1719" y="20540"/>
                  <a:pt x="1991" y="9927"/>
                </a:cubicBezTo>
                <a:cubicBezTo>
                  <a:pt x="2163" y="3278"/>
                  <a:pt x="4961" y="19"/>
                  <a:pt x="11535" y="11"/>
                </a:cubicBezTo>
                <a:cubicBezTo>
                  <a:pt x="27370" y="-9"/>
                  <a:pt x="43205" y="4"/>
                  <a:pt x="60320" y="4"/>
                </a:cubicBezTo>
                <a:cubicBezTo>
                  <a:pt x="61401" y="12123"/>
                  <a:pt x="62689" y="23341"/>
                  <a:pt x="63319" y="34595"/>
                </a:cubicBezTo>
                <a:cubicBezTo>
                  <a:pt x="63890" y="44802"/>
                  <a:pt x="63444" y="55066"/>
                  <a:pt x="63995" y="65276"/>
                </a:cubicBezTo>
                <a:cubicBezTo>
                  <a:pt x="64588" y="76246"/>
                  <a:pt x="67011" y="79017"/>
                  <a:pt x="77770" y="80309"/>
                </a:cubicBezTo>
                <a:cubicBezTo>
                  <a:pt x="86275" y="81330"/>
                  <a:pt x="94914" y="81244"/>
                  <a:pt x="104636" y="81707"/>
                </a:cubicBezTo>
                <a:close/>
              </a:path>
            </a:pathLst>
          </a:custGeom>
          <a:solidFill>
            <a:srgbClr val="FDFDFD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787" name="Free-form: Shape 7786">
            <a:extLst>
              <a:ext uri="{FF2B5EF4-FFF2-40B4-BE49-F238E27FC236}">
                <a16:creationId xmlns:a16="http://schemas.microsoft.com/office/drawing/2014/main" id="{45FF6638-F110-821A-8FE6-7BB6DACAC95C}"/>
              </a:ext>
            </a:extLst>
          </p:cNvPr>
          <p:cNvSpPr/>
          <p:nvPr/>
        </p:nvSpPr>
        <p:spPr>
          <a:xfrm>
            <a:off x="1706940" y="4746959"/>
            <a:ext cx="222495" cy="51506"/>
          </a:xfrm>
          <a:custGeom>
            <a:avLst/>
            <a:gdLst>
              <a:gd name="csX0" fmla="*/ 135775 w 347893"/>
              <a:gd name="csY0" fmla="*/ 18580 h 80534"/>
              <a:gd name="csX1" fmla="*/ 239717 w 347893"/>
              <a:gd name="csY1" fmla="*/ 11288 h 80534"/>
              <a:gd name="csX2" fmla="*/ 318645 w 347893"/>
              <a:gd name="csY2" fmla="*/ 442 h 80534"/>
              <a:gd name="csX3" fmla="*/ 341767 w 347893"/>
              <a:gd name="csY3" fmla="*/ 13145 h 80534"/>
              <a:gd name="csX4" fmla="*/ 347232 w 347893"/>
              <a:gd name="csY4" fmla="*/ 54621 h 80534"/>
              <a:gd name="csX5" fmla="*/ 0 w 347893"/>
              <a:gd name="csY5" fmla="*/ 75820 h 80534"/>
              <a:gd name="csX6" fmla="*/ 0 w 347893"/>
              <a:gd name="csY6" fmla="*/ 19396 h 80534"/>
              <a:gd name="csX7" fmla="*/ 135775 w 347893"/>
              <a:gd name="csY7" fmla="*/ 18580 h 8053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</a:cxnLst>
            <a:rect l="l" t="t" r="r" b="b"/>
            <a:pathLst>
              <a:path w="347893" h="80534">
                <a:moveTo>
                  <a:pt x="135775" y="18580"/>
                </a:moveTo>
                <a:cubicBezTo>
                  <a:pt x="171209" y="16211"/>
                  <a:pt x="205541" y="14564"/>
                  <a:pt x="239717" y="11288"/>
                </a:cubicBezTo>
                <a:cubicBezTo>
                  <a:pt x="266132" y="8756"/>
                  <a:pt x="292375" y="4350"/>
                  <a:pt x="318645" y="442"/>
                </a:cubicBezTo>
                <a:cubicBezTo>
                  <a:pt x="330480" y="-1319"/>
                  <a:pt x="337947" y="2033"/>
                  <a:pt x="341767" y="13145"/>
                </a:cubicBezTo>
                <a:cubicBezTo>
                  <a:pt x="346279" y="26268"/>
                  <a:pt x="349293" y="39746"/>
                  <a:pt x="347232" y="54621"/>
                </a:cubicBezTo>
                <a:cubicBezTo>
                  <a:pt x="232188" y="77697"/>
                  <a:pt x="116756" y="86979"/>
                  <a:pt x="0" y="75820"/>
                </a:cubicBezTo>
                <a:cubicBezTo>
                  <a:pt x="0" y="56279"/>
                  <a:pt x="0" y="38485"/>
                  <a:pt x="0" y="19396"/>
                </a:cubicBezTo>
                <a:cubicBezTo>
                  <a:pt x="45633" y="19126"/>
                  <a:pt x="90119" y="18862"/>
                  <a:pt x="135775" y="18580"/>
                </a:cubicBezTo>
                <a:close/>
              </a:path>
            </a:pathLst>
          </a:custGeom>
          <a:solidFill>
            <a:srgbClr val="FCFDFD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788" name="Free-form: Shape 7787">
            <a:extLst>
              <a:ext uri="{FF2B5EF4-FFF2-40B4-BE49-F238E27FC236}">
                <a16:creationId xmlns:a16="http://schemas.microsoft.com/office/drawing/2014/main" id="{D5E7BBFB-3515-C2D9-17DD-CDCE4D6B3903}"/>
              </a:ext>
            </a:extLst>
          </p:cNvPr>
          <p:cNvSpPr/>
          <p:nvPr/>
        </p:nvSpPr>
        <p:spPr>
          <a:xfrm>
            <a:off x="1715740" y="4078419"/>
            <a:ext cx="101531" cy="23472"/>
          </a:xfrm>
          <a:custGeom>
            <a:avLst/>
            <a:gdLst>
              <a:gd name="csX0" fmla="*/ 68505 w 158754"/>
              <a:gd name="csY0" fmla="*/ 36702 h 36701"/>
              <a:gd name="csX1" fmla="*/ 1920 w 158754"/>
              <a:gd name="csY1" fmla="*/ 36699 h 36701"/>
              <a:gd name="csX2" fmla="*/ 0 w 158754"/>
              <a:gd name="csY2" fmla="*/ 1592 h 36701"/>
              <a:gd name="csX3" fmla="*/ 11189 w 158754"/>
              <a:gd name="csY3" fmla="*/ 718 h 36701"/>
              <a:gd name="csX4" fmla="*/ 110708 w 158754"/>
              <a:gd name="csY4" fmla="*/ 3 h 36701"/>
              <a:gd name="csX5" fmla="*/ 127993 w 158754"/>
              <a:gd name="csY5" fmla="*/ 4910 h 36701"/>
              <a:gd name="csX6" fmla="*/ 146608 w 158754"/>
              <a:gd name="csY6" fmla="*/ 16808 h 36701"/>
              <a:gd name="csX7" fmla="*/ 158755 w 158754"/>
              <a:gd name="csY7" fmla="*/ 34647 h 36701"/>
              <a:gd name="csX8" fmla="*/ 145911 w 158754"/>
              <a:gd name="csY8" fmla="*/ 36459 h 36701"/>
              <a:gd name="csX9" fmla="*/ 68505 w 158754"/>
              <a:gd name="csY9" fmla="*/ 36702 h 3670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158754" h="36701">
                <a:moveTo>
                  <a:pt x="68505" y="36702"/>
                </a:moveTo>
                <a:cubicBezTo>
                  <a:pt x="45664" y="36699"/>
                  <a:pt x="24052" y="36699"/>
                  <a:pt x="1920" y="36699"/>
                </a:cubicBezTo>
                <a:cubicBezTo>
                  <a:pt x="-935" y="24569"/>
                  <a:pt x="572" y="13631"/>
                  <a:pt x="0" y="1592"/>
                </a:cubicBezTo>
                <a:cubicBezTo>
                  <a:pt x="4169" y="1253"/>
                  <a:pt x="7677" y="744"/>
                  <a:pt x="11189" y="718"/>
                </a:cubicBezTo>
                <a:cubicBezTo>
                  <a:pt x="44362" y="468"/>
                  <a:pt x="77538" y="423"/>
                  <a:pt x="110708" y="3"/>
                </a:cubicBezTo>
                <a:cubicBezTo>
                  <a:pt x="117152" y="-78"/>
                  <a:pt x="122702" y="1282"/>
                  <a:pt x="127993" y="4910"/>
                </a:cubicBezTo>
                <a:cubicBezTo>
                  <a:pt x="134065" y="9072"/>
                  <a:pt x="140615" y="12545"/>
                  <a:pt x="146608" y="16808"/>
                </a:cubicBezTo>
                <a:cubicBezTo>
                  <a:pt x="152239" y="20814"/>
                  <a:pt x="157699" y="25259"/>
                  <a:pt x="158755" y="34647"/>
                </a:cubicBezTo>
                <a:cubicBezTo>
                  <a:pt x="154257" y="35310"/>
                  <a:pt x="150089" y="36424"/>
                  <a:pt x="145911" y="36459"/>
                </a:cubicBezTo>
                <a:cubicBezTo>
                  <a:pt x="120520" y="36677"/>
                  <a:pt x="95126" y="36650"/>
                  <a:pt x="68505" y="36702"/>
                </a:cubicBezTo>
                <a:close/>
              </a:path>
            </a:pathLst>
          </a:custGeom>
          <a:solidFill>
            <a:srgbClr val="FBFCFB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" name="Arrow: Striped Right 1">
            <a:extLst>
              <a:ext uri="{FF2B5EF4-FFF2-40B4-BE49-F238E27FC236}">
                <a16:creationId xmlns:a16="http://schemas.microsoft.com/office/drawing/2014/main" id="{81B52D90-D118-5E0B-CE51-65883E7B215F}"/>
              </a:ext>
            </a:extLst>
          </p:cNvPr>
          <p:cNvSpPr/>
          <p:nvPr/>
        </p:nvSpPr>
        <p:spPr>
          <a:xfrm>
            <a:off x="2306587" y="5900068"/>
            <a:ext cx="3280008" cy="486786"/>
          </a:xfrm>
          <a:prstGeom prst="stripedRightArrow">
            <a:avLst>
              <a:gd name="adj1" fmla="val 100000"/>
              <a:gd name="adj2" fmla="val 0"/>
            </a:avLst>
          </a:prstGeom>
          <a:solidFill>
            <a:schemeClr val="accent1"/>
          </a:solidFill>
          <a:ln>
            <a:noFill/>
          </a:ln>
          <a:scene3d>
            <a:camera prst="perspectiveRelaxed" fov="4500000">
              <a:rot lat="18000000" lon="0" rev="0"/>
            </a:camera>
            <a:lightRig rig="threePt" dir="t"/>
          </a:scene3d>
          <a:sp3d prstMaterial="matte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cene3d>
              <a:camera prst="isometricOffAxis2Top"/>
              <a:lightRig rig="threePt" dir="t"/>
            </a:scene3d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" name="Arrow: Right 2">
            <a:extLst>
              <a:ext uri="{FF2B5EF4-FFF2-40B4-BE49-F238E27FC236}">
                <a16:creationId xmlns:a16="http://schemas.microsoft.com/office/drawing/2014/main" id="{716BD78C-B4EE-0A27-F8FC-8DC98C25EDB5}"/>
              </a:ext>
            </a:extLst>
          </p:cNvPr>
          <p:cNvSpPr/>
          <p:nvPr/>
        </p:nvSpPr>
        <p:spPr>
          <a:xfrm rot="16200000">
            <a:off x="4623647" y="5550910"/>
            <a:ext cx="1414462" cy="813953"/>
          </a:xfrm>
          <a:prstGeom prst="rightArrow">
            <a:avLst/>
          </a:prstGeom>
          <a:solidFill>
            <a:schemeClr val="accent1"/>
          </a:solidFill>
          <a:ln>
            <a:noFill/>
          </a:ln>
          <a:scene3d>
            <a:camera prst="isometricOffAxis2Right"/>
            <a:lightRig rig="threePt" dir="t"/>
          </a:scene3d>
          <a:sp3d prstMaterial="matte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cene3d>
              <a:camera prst="isometricOffAxis2Top"/>
              <a:lightRig rig="threePt" dir="t"/>
            </a:scene3d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654" name="Oval 5653">
            <a:extLst>
              <a:ext uri="{FF2B5EF4-FFF2-40B4-BE49-F238E27FC236}">
                <a16:creationId xmlns:a16="http://schemas.microsoft.com/office/drawing/2014/main" id="{4FAB1F19-7877-08DC-A019-25FE56797FCB}"/>
              </a:ext>
            </a:extLst>
          </p:cNvPr>
          <p:cNvSpPr/>
          <p:nvPr/>
        </p:nvSpPr>
        <p:spPr>
          <a:xfrm>
            <a:off x="2639308" y="6038850"/>
            <a:ext cx="895350" cy="184149"/>
          </a:xfrm>
          <a:prstGeom prst="ellipse">
            <a:avLst/>
          </a:prstGeom>
          <a:solidFill>
            <a:schemeClr val="tx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427" name="Free-form: Shape 7426">
            <a:extLst>
              <a:ext uri="{FF2B5EF4-FFF2-40B4-BE49-F238E27FC236}">
                <a16:creationId xmlns:a16="http://schemas.microsoft.com/office/drawing/2014/main" id="{1AFCEE2A-64DD-A827-332C-B32BEECCE392}"/>
              </a:ext>
            </a:extLst>
          </p:cNvPr>
          <p:cNvSpPr/>
          <p:nvPr/>
        </p:nvSpPr>
        <p:spPr>
          <a:xfrm>
            <a:off x="-7690" y="6118859"/>
            <a:ext cx="713425" cy="184150"/>
          </a:xfrm>
          <a:custGeom>
            <a:avLst/>
            <a:gdLst>
              <a:gd name="csX0" fmla="*/ 265749 w 713425"/>
              <a:gd name="csY0" fmla="*/ 0 h 184150"/>
              <a:gd name="csX1" fmla="*/ 713425 w 713425"/>
              <a:gd name="csY1" fmla="*/ 92075 h 184150"/>
              <a:gd name="csX2" fmla="*/ 265749 w 713425"/>
              <a:gd name="csY2" fmla="*/ 184150 h 184150"/>
              <a:gd name="csX3" fmla="*/ 15449 w 713425"/>
              <a:gd name="csY3" fmla="*/ 168425 h 184150"/>
              <a:gd name="csX4" fmla="*/ 0 w 713425"/>
              <a:gd name="csY4" fmla="*/ 165804 h 184150"/>
              <a:gd name="csX5" fmla="*/ 0 w 713425"/>
              <a:gd name="csY5" fmla="*/ 18347 h 184150"/>
              <a:gd name="csX6" fmla="*/ 15449 w 713425"/>
              <a:gd name="csY6" fmla="*/ 15725 h 184150"/>
              <a:gd name="csX7" fmla="*/ 265749 w 713425"/>
              <a:gd name="csY7" fmla="*/ 0 h 18415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</a:cxnLst>
            <a:rect l="l" t="t" r="r" b="b"/>
            <a:pathLst>
              <a:path w="713425" h="184150">
                <a:moveTo>
                  <a:pt x="265749" y="0"/>
                </a:moveTo>
                <a:cubicBezTo>
                  <a:pt x="512994" y="0"/>
                  <a:pt x="713425" y="41223"/>
                  <a:pt x="713425" y="92075"/>
                </a:cubicBezTo>
                <a:cubicBezTo>
                  <a:pt x="713425" y="142927"/>
                  <a:pt x="512994" y="184150"/>
                  <a:pt x="265749" y="184150"/>
                </a:cubicBezTo>
                <a:cubicBezTo>
                  <a:pt x="173032" y="184150"/>
                  <a:pt x="86898" y="178353"/>
                  <a:pt x="15449" y="168425"/>
                </a:cubicBezTo>
                <a:lnTo>
                  <a:pt x="0" y="165804"/>
                </a:lnTo>
                <a:lnTo>
                  <a:pt x="0" y="18347"/>
                </a:lnTo>
                <a:lnTo>
                  <a:pt x="15449" y="15725"/>
                </a:lnTo>
                <a:cubicBezTo>
                  <a:pt x="86898" y="5797"/>
                  <a:pt x="173032" y="0"/>
                  <a:pt x="265749" y="0"/>
                </a:cubicBezTo>
                <a:close/>
              </a:path>
            </a:pathLst>
          </a:custGeom>
          <a:solidFill>
            <a:schemeClr val="tx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434" name="Free-form: Shape 7433">
            <a:extLst>
              <a:ext uri="{FF2B5EF4-FFF2-40B4-BE49-F238E27FC236}">
                <a16:creationId xmlns:a16="http://schemas.microsoft.com/office/drawing/2014/main" id="{3F077EB3-1B61-3E4B-DD73-0C176E39AB5E}"/>
              </a:ext>
            </a:extLst>
          </p:cNvPr>
          <p:cNvSpPr/>
          <p:nvPr/>
        </p:nvSpPr>
        <p:spPr>
          <a:xfrm>
            <a:off x="-7690" y="4519063"/>
            <a:ext cx="650776" cy="1711963"/>
          </a:xfrm>
          <a:custGeom>
            <a:avLst/>
            <a:gdLst>
              <a:gd name="csX0" fmla="*/ 590040 w 650776"/>
              <a:gd name="csY0" fmla="*/ 1595274 h 1711963"/>
              <a:gd name="csX1" fmla="*/ 560602 w 650776"/>
              <a:gd name="csY1" fmla="*/ 1598948 h 1711963"/>
              <a:gd name="csX2" fmla="*/ 360274 w 650776"/>
              <a:gd name="csY2" fmla="*/ 1614204 h 1711963"/>
              <a:gd name="csX3" fmla="*/ 263020 w 650776"/>
              <a:gd name="csY3" fmla="*/ 1614728 h 1711963"/>
              <a:gd name="csX4" fmla="*/ 249011 w 650776"/>
              <a:gd name="csY4" fmla="*/ 1614730 h 1711963"/>
              <a:gd name="csX5" fmla="*/ 251471 w 650776"/>
              <a:gd name="csY5" fmla="*/ 1671054 h 1711963"/>
              <a:gd name="csX6" fmla="*/ 365464 w 650776"/>
              <a:gd name="csY6" fmla="*/ 1673624 h 1711963"/>
              <a:gd name="csX7" fmla="*/ 617663 w 650776"/>
              <a:gd name="csY7" fmla="*/ 1646160 h 1711963"/>
              <a:gd name="csX8" fmla="*/ 604329 w 650776"/>
              <a:gd name="csY8" fmla="*/ 1602332 h 1711963"/>
              <a:gd name="csX9" fmla="*/ 590040 w 650776"/>
              <a:gd name="csY9" fmla="*/ 1595274 h 1711963"/>
              <a:gd name="csX10" fmla="*/ 488481 w 650776"/>
              <a:gd name="csY10" fmla="*/ 1342065 h 1711963"/>
              <a:gd name="csX11" fmla="*/ 458330 w 650776"/>
              <a:gd name="csY11" fmla="*/ 1342142 h 1711963"/>
              <a:gd name="csX12" fmla="*/ 330440 w 650776"/>
              <a:gd name="csY12" fmla="*/ 1349459 h 1711963"/>
              <a:gd name="csX13" fmla="*/ 257645 w 650776"/>
              <a:gd name="csY13" fmla="*/ 1352096 h 1711963"/>
              <a:gd name="csX14" fmla="*/ 251654 w 650776"/>
              <a:gd name="csY14" fmla="*/ 1353678 h 1711963"/>
              <a:gd name="csX15" fmla="*/ 255467 w 650776"/>
              <a:gd name="csY15" fmla="*/ 1456644 h 1711963"/>
              <a:gd name="csX16" fmla="*/ 252252 w 650776"/>
              <a:gd name="csY16" fmla="*/ 1559654 h 1711963"/>
              <a:gd name="csX17" fmla="*/ 429174 w 650776"/>
              <a:gd name="csY17" fmla="*/ 1559444 h 1711963"/>
              <a:gd name="csX18" fmla="*/ 435834 w 650776"/>
              <a:gd name="csY18" fmla="*/ 1558370 h 1711963"/>
              <a:gd name="csX19" fmla="*/ 559275 w 650776"/>
              <a:gd name="csY19" fmla="*/ 1546734 h 1711963"/>
              <a:gd name="csX20" fmla="*/ 595574 w 650776"/>
              <a:gd name="csY20" fmla="*/ 1540698 h 1711963"/>
              <a:gd name="csX21" fmla="*/ 596274 w 650776"/>
              <a:gd name="csY21" fmla="*/ 1535739 h 1711963"/>
              <a:gd name="csX22" fmla="*/ 596112 w 650776"/>
              <a:gd name="csY22" fmla="*/ 1528994 h 1711963"/>
              <a:gd name="csX23" fmla="*/ 549380 w 650776"/>
              <a:gd name="csY23" fmla="*/ 1436862 h 1711963"/>
              <a:gd name="csX24" fmla="*/ 519646 w 650776"/>
              <a:gd name="csY24" fmla="*/ 1409414 h 1711963"/>
              <a:gd name="csX25" fmla="*/ 488481 w 650776"/>
              <a:gd name="csY25" fmla="*/ 1342065 h 1711963"/>
              <a:gd name="csX26" fmla="*/ 365657 w 650776"/>
              <a:gd name="csY26" fmla="*/ 777116 h 1711963"/>
              <a:gd name="csX27" fmla="*/ 267579 w 650776"/>
              <a:gd name="csY27" fmla="*/ 781830 h 1711963"/>
              <a:gd name="csX28" fmla="*/ 266804 w 650776"/>
              <a:gd name="csY28" fmla="*/ 791141 h 1711963"/>
              <a:gd name="csX29" fmla="*/ 264604 w 650776"/>
              <a:gd name="csY29" fmla="*/ 918039 h 1711963"/>
              <a:gd name="csX30" fmla="*/ 261826 w 650776"/>
              <a:gd name="csY30" fmla="*/ 1034129 h 1711963"/>
              <a:gd name="csX31" fmla="*/ 258174 w 650776"/>
              <a:gd name="csY31" fmla="*/ 1158306 h 1711963"/>
              <a:gd name="csX32" fmla="*/ 257918 w 650776"/>
              <a:gd name="csY32" fmla="*/ 1163703 h 1711963"/>
              <a:gd name="csX33" fmla="*/ 253106 w 650776"/>
              <a:gd name="csY33" fmla="*/ 1281027 h 1711963"/>
              <a:gd name="csX34" fmla="*/ 254475 w 650776"/>
              <a:gd name="csY34" fmla="*/ 1289802 h 1711963"/>
              <a:gd name="csX35" fmla="*/ 459084 w 650776"/>
              <a:gd name="csY35" fmla="*/ 1293569 h 1711963"/>
              <a:gd name="csX36" fmla="*/ 385634 w 650776"/>
              <a:gd name="csY36" fmla="*/ 1021220 h 1711963"/>
              <a:gd name="csX37" fmla="*/ 369949 w 650776"/>
              <a:gd name="csY37" fmla="*/ 899569 h 1711963"/>
              <a:gd name="csX38" fmla="*/ 365657 w 650776"/>
              <a:gd name="csY38" fmla="*/ 777116 h 1711963"/>
              <a:gd name="csX39" fmla="*/ 417141 w 650776"/>
              <a:gd name="csY39" fmla="*/ 698289 h 1711963"/>
              <a:gd name="csX40" fmla="*/ 363336 w 650776"/>
              <a:gd name="csY40" fmla="*/ 698794 h 1711963"/>
              <a:gd name="csX41" fmla="*/ 275649 w 650776"/>
              <a:gd name="csY41" fmla="*/ 703342 h 1711963"/>
              <a:gd name="csX42" fmla="*/ 275649 w 650776"/>
              <a:gd name="csY42" fmla="*/ 740527 h 1711963"/>
              <a:gd name="csX43" fmla="*/ 289332 w 650776"/>
              <a:gd name="csY43" fmla="*/ 741090 h 1711963"/>
              <a:gd name="csX44" fmla="*/ 437347 w 650776"/>
              <a:gd name="csY44" fmla="*/ 735395 h 1711963"/>
              <a:gd name="csX45" fmla="*/ 451647 w 650776"/>
              <a:gd name="csY45" fmla="*/ 732073 h 1711963"/>
              <a:gd name="csX46" fmla="*/ 456284 w 650776"/>
              <a:gd name="csY46" fmla="*/ 717779 h 1711963"/>
              <a:gd name="csX47" fmla="*/ 446344 w 650776"/>
              <a:gd name="csY47" fmla="*/ 707185 h 1711963"/>
              <a:gd name="csX48" fmla="*/ 417141 w 650776"/>
              <a:gd name="csY48" fmla="*/ 698289 h 1711963"/>
              <a:gd name="csX49" fmla="*/ 375529 w 650776"/>
              <a:gd name="csY49" fmla="*/ 589918 h 1711963"/>
              <a:gd name="csX50" fmla="*/ 360490 w 650776"/>
              <a:gd name="csY50" fmla="*/ 589948 h 1711963"/>
              <a:gd name="csX51" fmla="*/ 293183 w 650776"/>
              <a:gd name="csY51" fmla="*/ 592877 h 1711963"/>
              <a:gd name="csX52" fmla="*/ 275666 w 650776"/>
              <a:gd name="csY52" fmla="*/ 593234 h 1711963"/>
              <a:gd name="csX53" fmla="*/ 269580 w 650776"/>
              <a:gd name="csY53" fmla="*/ 599331 h 1711963"/>
              <a:gd name="csX54" fmla="*/ 263989 w 650776"/>
              <a:gd name="csY54" fmla="*/ 666197 h 1711963"/>
              <a:gd name="csX55" fmla="*/ 410016 w 650776"/>
              <a:gd name="csY55" fmla="*/ 661613 h 1711963"/>
              <a:gd name="csX56" fmla="*/ 397604 w 650776"/>
              <a:gd name="csY56" fmla="*/ 637217 h 1711963"/>
              <a:gd name="csX57" fmla="*/ 377206 w 650776"/>
              <a:gd name="csY57" fmla="*/ 595129 h 1711963"/>
              <a:gd name="csX58" fmla="*/ 375529 w 650776"/>
              <a:gd name="csY58" fmla="*/ 589918 h 1711963"/>
              <a:gd name="csX59" fmla="*/ 269699 w 650776"/>
              <a:gd name="csY59" fmla="*/ 111819 h 1711963"/>
              <a:gd name="csX60" fmla="*/ 267123 w 650776"/>
              <a:gd name="csY60" fmla="*/ 159144 h 1711963"/>
              <a:gd name="csX61" fmla="*/ 266021 w 650776"/>
              <a:gd name="csY61" fmla="*/ 202341 h 1711963"/>
              <a:gd name="csX62" fmla="*/ 265241 w 650776"/>
              <a:gd name="csY62" fmla="*/ 327824 h 1711963"/>
              <a:gd name="csX63" fmla="*/ 275281 w 650776"/>
              <a:gd name="csY63" fmla="*/ 473106 h 1711963"/>
              <a:gd name="csX64" fmla="*/ 283226 w 650776"/>
              <a:gd name="csY64" fmla="*/ 541386 h 1711963"/>
              <a:gd name="csX65" fmla="*/ 290752 w 650776"/>
              <a:gd name="csY65" fmla="*/ 549715 h 1711963"/>
              <a:gd name="csX66" fmla="*/ 366211 w 650776"/>
              <a:gd name="csY66" fmla="*/ 546509 h 1711963"/>
              <a:gd name="csX67" fmla="*/ 394620 w 650776"/>
              <a:gd name="csY67" fmla="*/ 533605 h 1711963"/>
              <a:gd name="csX68" fmla="*/ 444847 w 650776"/>
              <a:gd name="csY68" fmla="*/ 412312 h 1711963"/>
              <a:gd name="csX69" fmla="*/ 415542 w 650776"/>
              <a:gd name="csY69" fmla="*/ 287808 h 1711963"/>
              <a:gd name="csX70" fmla="*/ 406917 w 650776"/>
              <a:gd name="csY70" fmla="*/ 274800 h 1711963"/>
              <a:gd name="csX71" fmla="*/ 398542 w 650776"/>
              <a:gd name="csY71" fmla="*/ 286011 h 1711963"/>
              <a:gd name="csX72" fmla="*/ 362665 w 650776"/>
              <a:gd name="csY72" fmla="*/ 341576 h 1711963"/>
              <a:gd name="csX73" fmla="*/ 341075 w 650776"/>
              <a:gd name="csY73" fmla="*/ 372539 h 1711963"/>
              <a:gd name="csX74" fmla="*/ 308114 w 650776"/>
              <a:gd name="csY74" fmla="*/ 378081 h 1711963"/>
              <a:gd name="csX75" fmla="*/ 300099 w 650776"/>
              <a:gd name="csY75" fmla="*/ 347173 h 1711963"/>
              <a:gd name="csX76" fmla="*/ 303659 w 650776"/>
              <a:gd name="csY76" fmla="*/ 339900 h 1711963"/>
              <a:gd name="csX77" fmla="*/ 361336 w 650776"/>
              <a:gd name="csY77" fmla="*/ 220847 h 1711963"/>
              <a:gd name="csX78" fmla="*/ 359159 w 650776"/>
              <a:gd name="csY78" fmla="*/ 198656 h 1711963"/>
              <a:gd name="csX79" fmla="*/ 278229 w 650776"/>
              <a:gd name="csY79" fmla="*/ 116078 h 1711963"/>
              <a:gd name="csX80" fmla="*/ 269699 w 650776"/>
              <a:gd name="csY80" fmla="*/ 111819 h 1711963"/>
              <a:gd name="csX81" fmla="*/ 258428 w 650776"/>
              <a:gd name="csY81" fmla="*/ 0 h 1711963"/>
              <a:gd name="csX82" fmla="*/ 287424 w 650776"/>
              <a:gd name="csY82" fmla="*/ 6106 h 1711963"/>
              <a:gd name="csX83" fmla="*/ 314780 w 650776"/>
              <a:gd name="csY83" fmla="*/ 29456 h 1711963"/>
              <a:gd name="csX84" fmla="*/ 311758 w 650776"/>
              <a:gd name="csY84" fmla="*/ 50657 h 1711963"/>
              <a:gd name="csX85" fmla="*/ 307078 w 650776"/>
              <a:gd name="csY85" fmla="*/ 34046 h 1711963"/>
              <a:gd name="csX86" fmla="*/ 300771 w 650776"/>
              <a:gd name="csY86" fmla="*/ 33397 h 1711963"/>
              <a:gd name="csX87" fmla="*/ 260793 w 650776"/>
              <a:gd name="csY87" fmla="*/ 25036 h 1711963"/>
              <a:gd name="csX88" fmla="*/ 250865 w 650776"/>
              <a:gd name="csY88" fmla="*/ 34910 h 1711963"/>
              <a:gd name="csX89" fmla="*/ 250598 w 650776"/>
              <a:gd name="csY89" fmla="*/ 48386 h 1711963"/>
              <a:gd name="csX90" fmla="*/ 294094 w 650776"/>
              <a:gd name="csY90" fmla="*/ 75638 h 1711963"/>
              <a:gd name="csX91" fmla="*/ 305976 w 650776"/>
              <a:gd name="csY91" fmla="*/ 64928 h 1711963"/>
              <a:gd name="csX92" fmla="*/ 314610 w 650776"/>
              <a:gd name="csY92" fmla="*/ 61365 h 1711963"/>
              <a:gd name="csX93" fmla="*/ 315499 w 650776"/>
              <a:gd name="csY93" fmla="*/ 70682 h 1711963"/>
              <a:gd name="csX94" fmla="*/ 303428 w 650776"/>
              <a:gd name="csY94" fmla="*/ 89992 h 1711963"/>
              <a:gd name="csX95" fmla="*/ 303310 w 650776"/>
              <a:gd name="csY95" fmla="*/ 107892 h 1711963"/>
              <a:gd name="csX96" fmla="*/ 382781 w 650776"/>
              <a:gd name="csY96" fmla="*/ 198577 h 1711963"/>
              <a:gd name="csX97" fmla="*/ 384934 w 650776"/>
              <a:gd name="csY97" fmla="*/ 221016 h 1711963"/>
              <a:gd name="csX98" fmla="*/ 374074 w 650776"/>
              <a:gd name="csY98" fmla="*/ 245642 h 1711963"/>
              <a:gd name="csX99" fmla="*/ 377567 w 650776"/>
              <a:gd name="csY99" fmla="*/ 251992 h 1711963"/>
              <a:gd name="csX100" fmla="*/ 372590 w 650776"/>
              <a:gd name="csY100" fmla="*/ 266865 h 1711963"/>
              <a:gd name="csX101" fmla="*/ 410668 w 650776"/>
              <a:gd name="csY101" fmla="*/ 225213 h 1711963"/>
              <a:gd name="csX102" fmla="*/ 451824 w 650776"/>
              <a:gd name="csY102" fmla="*/ 298056 h 1711963"/>
              <a:gd name="csX103" fmla="*/ 458677 w 650776"/>
              <a:gd name="csY103" fmla="*/ 490585 h 1711963"/>
              <a:gd name="csX104" fmla="*/ 424729 w 650776"/>
              <a:gd name="csY104" fmla="*/ 546617 h 1711963"/>
              <a:gd name="csX105" fmla="*/ 419932 w 650776"/>
              <a:gd name="csY105" fmla="*/ 563083 h 1711963"/>
              <a:gd name="csX106" fmla="*/ 416210 w 650776"/>
              <a:gd name="csY106" fmla="*/ 583415 h 1711963"/>
              <a:gd name="csX107" fmla="*/ 420275 w 650776"/>
              <a:gd name="csY107" fmla="*/ 612101 h 1711963"/>
              <a:gd name="csX108" fmla="*/ 442756 w 650776"/>
              <a:gd name="csY108" fmla="*/ 650963 h 1711963"/>
              <a:gd name="csX109" fmla="*/ 459766 w 650776"/>
              <a:gd name="csY109" fmla="*/ 673491 h 1711963"/>
              <a:gd name="csX110" fmla="*/ 490559 w 650776"/>
              <a:gd name="csY110" fmla="*/ 707785 h 1711963"/>
              <a:gd name="csX111" fmla="*/ 474787 w 650776"/>
              <a:gd name="csY111" fmla="*/ 757321 h 1711963"/>
              <a:gd name="csX112" fmla="*/ 428635 w 650776"/>
              <a:gd name="csY112" fmla="*/ 770612 h 1711963"/>
              <a:gd name="csX113" fmla="*/ 401444 w 650776"/>
              <a:gd name="csY113" fmla="*/ 773103 h 1711963"/>
              <a:gd name="csX114" fmla="*/ 401428 w 650776"/>
              <a:gd name="csY114" fmla="*/ 789894 h 1711963"/>
              <a:gd name="csX115" fmla="*/ 443247 w 650776"/>
              <a:gd name="csY115" fmla="*/ 1111233 h 1711963"/>
              <a:gd name="csX116" fmla="*/ 491014 w 650776"/>
              <a:gd name="csY116" fmla="*/ 1268649 h 1711963"/>
              <a:gd name="csX117" fmla="*/ 510158 w 650776"/>
              <a:gd name="csY117" fmla="*/ 1289390 h 1711963"/>
              <a:gd name="csX118" fmla="*/ 530944 w 650776"/>
              <a:gd name="csY118" fmla="*/ 1298980 h 1711963"/>
              <a:gd name="csX119" fmla="*/ 538770 w 650776"/>
              <a:gd name="csY119" fmla="*/ 1324686 h 1711963"/>
              <a:gd name="csX120" fmla="*/ 529915 w 650776"/>
              <a:gd name="csY120" fmla="*/ 1338436 h 1711963"/>
              <a:gd name="csX121" fmla="*/ 524324 w 650776"/>
              <a:gd name="csY121" fmla="*/ 1342300 h 1711963"/>
              <a:gd name="csX122" fmla="*/ 535661 w 650776"/>
              <a:gd name="csY122" fmla="*/ 1384625 h 1711963"/>
              <a:gd name="csX123" fmla="*/ 603638 w 650776"/>
              <a:gd name="csY123" fmla="*/ 1451791 h 1711963"/>
              <a:gd name="csX124" fmla="*/ 607073 w 650776"/>
              <a:gd name="csY124" fmla="*/ 1455703 h 1711963"/>
              <a:gd name="csX125" fmla="*/ 626274 w 650776"/>
              <a:gd name="csY125" fmla="*/ 1535675 h 1711963"/>
              <a:gd name="csX126" fmla="*/ 623721 w 650776"/>
              <a:gd name="csY126" fmla="*/ 1555529 h 1711963"/>
              <a:gd name="csX127" fmla="*/ 629177 w 650776"/>
              <a:gd name="csY127" fmla="*/ 1563139 h 1711963"/>
              <a:gd name="csX128" fmla="*/ 627818 w 650776"/>
              <a:gd name="csY128" fmla="*/ 1567709 h 1711963"/>
              <a:gd name="csX129" fmla="*/ 622046 w 650776"/>
              <a:gd name="csY129" fmla="*/ 1571586 h 1711963"/>
              <a:gd name="csX130" fmla="*/ 628632 w 650776"/>
              <a:gd name="csY130" fmla="*/ 1571276 h 1711963"/>
              <a:gd name="csX131" fmla="*/ 631437 w 650776"/>
              <a:gd name="csY131" fmla="*/ 1576151 h 1711963"/>
              <a:gd name="csX132" fmla="*/ 632057 w 650776"/>
              <a:gd name="csY132" fmla="*/ 1586187 h 1711963"/>
              <a:gd name="csX133" fmla="*/ 650731 w 650776"/>
              <a:gd name="csY133" fmla="*/ 1659627 h 1711963"/>
              <a:gd name="csX134" fmla="*/ 635724 w 650776"/>
              <a:gd name="csY134" fmla="*/ 1679177 h 1711963"/>
              <a:gd name="csX135" fmla="*/ 503916 w 650776"/>
              <a:gd name="csY135" fmla="*/ 1703415 h 1711963"/>
              <a:gd name="csX136" fmla="*/ 438414 w 650776"/>
              <a:gd name="csY136" fmla="*/ 1708897 h 1711963"/>
              <a:gd name="csX137" fmla="*/ 359038 w 650776"/>
              <a:gd name="csY137" fmla="*/ 1711621 h 1711963"/>
              <a:gd name="csX138" fmla="*/ 133715 w 650776"/>
              <a:gd name="csY138" fmla="*/ 1709124 h 1711963"/>
              <a:gd name="csX139" fmla="*/ 108069 w 650776"/>
              <a:gd name="csY139" fmla="*/ 1708637 h 1711963"/>
              <a:gd name="csX140" fmla="*/ 49275 w 650776"/>
              <a:gd name="csY140" fmla="*/ 1703711 h 1711963"/>
              <a:gd name="csX141" fmla="*/ 3696 w 650776"/>
              <a:gd name="csY141" fmla="*/ 1700700 h 1711963"/>
              <a:gd name="csX142" fmla="*/ 0 w 650776"/>
              <a:gd name="csY142" fmla="*/ 1700188 h 1711963"/>
              <a:gd name="csX143" fmla="*/ 0 w 650776"/>
              <a:gd name="csY143" fmla="*/ 1300965 h 1711963"/>
              <a:gd name="csX144" fmla="*/ 12759 w 650776"/>
              <a:gd name="csY144" fmla="*/ 1295952 h 1711963"/>
              <a:gd name="csX145" fmla="*/ 36218 w 650776"/>
              <a:gd name="csY145" fmla="*/ 1272036 h 1711963"/>
              <a:gd name="csX146" fmla="*/ 68241 w 650776"/>
              <a:gd name="csY146" fmla="*/ 1167850 h 1711963"/>
              <a:gd name="csX147" fmla="*/ 85211 w 650776"/>
              <a:gd name="csY147" fmla="*/ 1105602 h 1711963"/>
              <a:gd name="csX148" fmla="*/ 99280 w 650776"/>
              <a:gd name="csY148" fmla="*/ 1037344 h 1711963"/>
              <a:gd name="csX149" fmla="*/ 109967 w 650776"/>
              <a:gd name="csY149" fmla="*/ 972584 h 1711963"/>
              <a:gd name="csX150" fmla="*/ 115739 w 650776"/>
              <a:gd name="csY150" fmla="*/ 923320 h 1711963"/>
              <a:gd name="csX151" fmla="*/ 120605 w 650776"/>
              <a:gd name="csY151" fmla="*/ 873993 h 1711963"/>
              <a:gd name="csX152" fmla="*/ 120784 w 650776"/>
              <a:gd name="csY152" fmla="*/ 779410 h 1711963"/>
              <a:gd name="csX153" fmla="*/ 119508 w 650776"/>
              <a:gd name="csY153" fmla="*/ 769099 h 1711963"/>
              <a:gd name="csX154" fmla="*/ 76082 w 650776"/>
              <a:gd name="csY154" fmla="*/ 762444 h 1711963"/>
              <a:gd name="csX155" fmla="*/ 46873 w 650776"/>
              <a:gd name="csY155" fmla="*/ 752652 h 1711963"/>
              <a:gd name="csX156" fmla="*/ 32863 w 650776"/>
              <a:gd name="csY156" fmla="*/ 714675 h 1711963"/>
              <a:gd name="csX157" fmla="*/ 61261 w 650776"/>
              <a:gd name="csY157" fmla="*/ 683107 h 1711963"/>
              <a:gd name="csX158" fmla="*/ 75429 w 650776"/>
              <a:gd name="csY158" fmla="*/ 661843 h 1711963"/>
              <a:gd name="csX159" fmla="*/ 89413 w 650776"/>
              <a:gd name="csY159" fmla="*/ 641759 h 1711963"/>
              <a:gd name="csX160" fmla="*/ 120564 w 650776"/>
              <a:gd name="csY160" fmla="*/ 620833 h 1711963"/>
              <a:gd name="csX161" fmla="*/ 116727 w 650776"/>
              <a:gd name="csY161" fmla="*/ 591995 h 1711963"/>
              <a:gd name="csX162" fmla="*/ 104677 w 650776"/>
              <a:gd name="csY162" fmla="*/ 585897 h 1711963"/>
              <a:gd name="csX163" fmla="*/ 100731 w 650776"/>
              <a:gd name="csY163" fmla="*/ 573725 h 1711963"/>
              <a:gd name="csX164" fmla="*/ 109734 w 650776"/>
              <a:gd name="csY164" fmla="*/ 559791 h 1711963"/>
              <a:gd name="csX165" fmla="*/ 104238 w 650776"/>
              <a:gd name="csY165" fmla="*/ 547949 h 1711963"/>
              <a:gd name="csX166" fmla="*/ 63613 w 650776"/>
              <a:gd name="csY166" fmla="*/ 475539 h 1711963"/>
              <a:gd name="csX167" fmla="*/ 48318 w 650776"/>
              <a:gd name="csY167" fmla="*/ 384825 h 1711963"/>
              <a:gd name="csX168" fmla="*/ 76866 w 650776"/>
              <a:gd name="csY168" fmla="*/ 288770 h 1711963"/>
              <a:gd name="csX169" fmla="*/ 125552 w 650776"/>
              <a:gd name="csY169" fmla="*/ 209759 h 1711963"/>
              <a:gd name="csX170" fmla="*/ 204434 w 650776"/>
              <a:gd name="csY170" fmla="*/ 112886 h 1711963"/>
              <a:gd name="csX171" fmla="*/ 205534 w 650776"/>
              <a:gd name="csY171" fmla="*/ 86373 h 1711963"/>
              <a:gd name="csX172" fmla="*/ 194323 w 650776"/>
              <a:gd name="csY172" fmla="*/ 63642 h 1711963"/>
              <a:gd name="csX173" fmla="*/ 229496 w 650776"/>
              <a:gd name="csY173" fmla="*/ 4864 h 1711963"/>
              <a:gd name="csX174" fmla="*/ 258428 w 650776"/>
              <a:gd name="csY174" fmla="*/ 0 h 171196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  <a:cxn ang="0">
                <a:pos x="csX170" y="csY170"/>
              </a:cxn>
              <a:cxn ang="0">
                <a:pos x="csX171" y="csY171"/>
              </a:cxn>
              <a:cxn ang="0">
                <a:pos x="csX172" y="csY172"/>
              </a:cxn>
              <a:cxn ang="0">
                <a:pos x="csX173" y="csY173"/>
              </a:cxn>
              <a:cxn ang="0">
                <a:pos x="csX174" y="csY174"/>
              </a:cxn>
            </a:cxnLst>
            <a:rect l="l" t="t" r="r" b="b"/>
            <a:pathLst>
              <a:path w="650776" h="1711963">
                <a:moveTo>
                  <a:pt x="590040" y="1595274"/>
                </a:moveTo>
                <a:cubicBezTo>
                  <a:pt x="580267" y="1596761"/>
                  <a:pt x="570388" y="1597539"/>
                  <a:pt x="560602" y="1598948"/>
                </a:cubicBezTo>
                <a:cubicBezTo>
                  <a:pt x="494167" y="1608518"/>
                  <a:pt x="427222" y="1611648"/>
                  <a:pt x="360274" y="1614204"/>
                </a:cubicBezTo>
                <a:cubicBezTo>
                  <a:pt x="327896" y="1615440"/>
                  <a:pt x="295441" y="1614621"/>
                  <a:pt x="263020" y="1614728"/>
                </a:cubicBezTo>
                <a:cubicBezTo>
                  <a:pt x="258254" y="1614743"/>
                  <a:pt x="253487" y="1614730"/>
                  <a:pt x="249011" y="1614730"/>
                </a:cubicBezTo>
                <a:cubicBezTo>
                  <a:pt x="246381" y="1633898"/>
                  <a:pt x="247496" y="1660404"/>
                  <a:pt x="251471" y="1671054"/>
                </a:cubicBezTo>
                <a:cubicBezTo>
                  <a:pt x="288208" y="1671908"/>
                  <a:pt x="325487" y="1672773"/>
                  <a:pt x="365464" y="1673624"/>
                </a:cubicBezTo>
                <a:cubicBezTo>
                  <a:pt x="450377" y="1671573"/>
                  <a:pt x="534821" y="1665493"/>
                  <a:pt x="617663" y="1646160"/>
                </a:cubicBezTo>
                <a:cubicBezTo>
                  <a:pt x="616344" y="1629876"/>
                  <a:pt x="611149" y="1614479"/>
                  <a:pt x="604329" y="1602332"/>
                </a:cubicBezTo>
                <a:cubicBezTo>
                  <a:pt x="600956" y="1596323"/>
                  <a:pt x="596692" y="1594262"/>
                  <a:pt x="590040" y="1595274"/>
                </a:cubicBezTo>
                <a:close/>
                <a:moveTo>
                  <a:pt x="488481" y="1342065"/>
                </a:moveTo>
                <a:cubicBezTo>
                  <a:pt x="477880" y="1342065"/>
                  <a:pt x="468079" y="1341614"/>
                  <a:pt x="458330" y="1342142"/>
                </a:cubicBezTo>
                <a:cubicBezTo>
                  <a:pt x="415693" y="1344452"/>
                  <a:pt x="373082" y="1347245"/>
                  <a:pt x="330440" y="1349459"/>
                </a:cubicBezTo>
                <a:cubicBezTo>
                  <a:pt x="306195" y="1350719"/>
                  <a:pt x="281907" y="1351163"/>
                  <a:pt x="257645" y="1352096"/>
                </a:cubicBezTo>
                <a:cubicBezTo>
                  <a:pt x="255561" y="1352176"/>
                  <a:pt x="253513" y="1353166"/>
                  <a:pt x="251654" y="1353678"/>
                </a:cubicBezTo>
                <a:cubicBezTo>
                  <a:pt x="253036" y="1388444"/>
                  <a:pt x="255375" y="1422541"/>
                  <a:pt x="255467" y="1456644"/>
                </a:cubicBezTo>
                <a:cubicBezTo>
                  <a:pt x="255559" y="1490982"/>
                  <a:pt x="253416" y="1525325"/>
                  <a:pt x="252252" y="1559654"/>
                </a:cubicBezTo>
                <a:cubicBezTo>
                  <a:pt x="310705" y="1559654"/>
                  <a:pt x="368678" y="1559654"/>
                  <a:pt x="429174" y="1559444"/>
                </a:cubicBezTo>
                <a:cubicBezTo>
                  <a:pt x="431393" y="1559079"/>
                  <a:pt x="433601" y="1558578"/>
                  <a:pt x="435834" y="1558370"/>
                </a:cubicBezTo>
                <a:cubicBezTo>
                  <a:pt x="476987" y="1554542"/>
                  <a:pt x="518180" y="1551098"/>
                  <a:pt x="559275" y="1546734"/>
                </a:cubicBezTo>
                <a:cubicBezTo>
                  <a:pt x="571464" y="1545440"/>
                  <a:pt x="584233" y="1545821"/>
                  <a:pt x="595574" y="1540698"/>
                </a:cubicBezTo>
                <a:cubicBezTo>
                  <a:pt x="595917" y="1538369"/>
                  <a:pt x="596246" y="1537057"/>
                  <a:pt x="596274" y="1535739"/>
                </a:cubicBezTo>
                <a:cubicBezTo>
                  <a:pt x="596324" y="1533493"/>
                  <a:pt x="596271" y="1531235"/>
                  <a:pt x="596112" y="1528994"/>
                </a:cubicBezTo>
                <a:cubicBezTo>
                  <a:pt x="593459" y="1491733"/>
                  <a:pt x="579099" y="1460566"/>
                  <a:pt x="549380" y="1436862"/>
                </a:cubicBezTo>
                <a:cubicBezTo>
                  <a:pt x="538863" y="1428472"/>
                  <a:pt x="529531" y="1418599"/>
                  <a:pt x="519646" y="1409414"/>
                </a:cubicBezTo>
                <a:cubicBezTo>
                  <a:pt x="500386" y="1391520"/>
                  <a:pt x="488650" y="1369991"/>
                  <a:pt x="488481" y="1342065"/>
                </a:cubicBezTo>
                <a:close/>
                <a:moveTo>
                  <a:pt x="365657" y="777116"/>
                </a:moveTo>
                <a:cubicBezTo>
                  <a:pt x="332387" y="778716"/>
                  <a:pt x="300239" y="780260"/>
                  <a:pt x="267579" y="781830"/>
                </a:cubicBezTo>
                <a:cubicBezTo>
                  <a:pt x="267230" y="785895"/>
                  <a:pt x="266850" y="788515"/>
                  <a:pt x="266804" y="791141"/>
                </a:cubicBezTo>
                <a:cubicBezTo>
                  <a:pt x="266056" y="833439"/>
                  <a:pt x="265458" y="875742"/>
                  <a:pt x="264604" y="918039"/>
                </a:cubicBezTo>
                <a:cubicBezTo>
                  <a:pt x="263824" y="956738"/>
                  <a:pt x="262868" y="995435"/>
                  <a:pt x="261826" y="1034129"/>
                </a:cubicBezTo>
                <a:cubicBezTo>
                  <a:pt x="260710" y="1075524"/>
                  <a:pt x="259403" y="1116914"/>
                  <a:pt x="258174" y="1158306"/>
                </a:cubicBezTo>
                <a:cubicBezTo>
                  <a:pt x="258121" y="1160105"/>
                  <a:pt x="257993" y="1161904"/>
                  <a:pt x="257918" y="1163703"/>
                </a:cubicBezTo>
                <a:cubicBezTo>
                  <a:pt x="256287" y="1202809"/>
                  <a:pt x="254618" y="1241916"/>
                  <a:pt x="253106" y="1281027"/>
                </a:cubicBezTo>
                <a:cubicBezTo>
                  <a:pt x="252994" y="1283943"/>
                  <a:pt x="253997" y="1286902"/>
                  <a:pt x="254475" y="1289802"/>
                </a:cubicBezTo>
                <a:cubicBezTo>
                  <a:pt x="322712" y="1291058"/>
                  <a:pt x="390003" y="1292298"/>
                  <a:pt x="459084" y="1293569"/>
                </a:cubicBezTo>
                <a:cubicBezTo>
                  <a:pt x="428508" y="1203614"/>
                  <a:pt x="402019" y="1114958"/>
                  <a:pt x="385634" y="1021220"/>
                </a:cubicBezTo>
                <a:cubicBezTo>
                  <a:pt x="380256" y="980682"/>
                  <a:pt x="373287" y="940274"/>
                  <a:pt x="369949" y="899569"/>
                </a:cubicBezTo>
                <a:cubicBezTo>
                  <a:pt x="366625" y="859033"/>
                  <a:pt x="366946" y="818199"/>
                  <a:pt x="365657" y="777116"/>
                </a:cubicBezTo>
                <a:close/>
                <a:moveTo>
                  <a:pt x="417141" y="698289"/>
                </a:moveTo>
                <a:cubicBezTo>
                  <a:pt x="400072" y="698533"/>
                  <a:pt x="383000" y="698601"/>
                  <a:pt x="363336" y="698794"/>
                </a:cubicBezTo>
                <a:cubicBezTo>
                  <a:pt x="334377" y="700295"/>
                  <a:pt x="305418" y="701798"/>
                  <a:pt x="275649" y="703342"/>
                </a:cubicBezTo>
                <a:cubicBezTo>
                  <a:pt x="275649" y="716736"/>
                  <a:pt x="275649" y="728167"/>
                  <a:pt x="275649" y="740527"/>
                </a:cubicBezTo>
                <a:cubicBezTo>
                  <a:pt x="280569" y="740747"/>
                  <a:pt x="284962" y="741250"/>
                  <a:pt x="289332" y="741090"/>
                </a:cubicBezTo>
                <a:cubicBezTo>
                  <a:pt x="338674" y="739290"/>
                  <a:pt x="388017" y="737464"/>
                  <a:pt x="437347" y="735395"/>
                </a:cubicBezTo>
                <a:cubicBezTo>
                  <a:pt x="442172" y="735193"/>
                  <a:pt x="447208" y="733980"/>
                  <a:pt x="451647" y="732073"/>
                </a:cubicBezTo>
                <a:cubicBezTo>
                  <a:pt x="458264" y="729232"/>
                  <a:pt x="460012" y="724014"/>
                  <a:pt x="456284" y="717779"/>
                </a:cubicBezTo>
                <a:cubicBezTo>
                  <a:pt x="453841" y="713695"/>
                  <a:pt x="450306" y="709776"/>
                  <a:pt x="446344" y="707185"/>
                </a:cubicBezTo>
                <a:cubicBezTo>
                  <a:pt x="437598" y="701465"/>
                  <a:pt x="427863" y="698136"/>
                  <a:pt x="417141" y="698289"/>
                </a:cubicBezTo>
                <a:close/>
                <a:moveTo>
                  <a:pt x="375529" y="589918"/>
                </a:moveTo>
                <a:cubicBezTo>
                  <a:pt x="370259" y="589918"/>
                  <a:pt x="365367" y="589745"/>
                  <a:pt x="360490" y="589948"/>
                </a:cubicBezTo>
                <a:cubicBezTo>
                  <a:pt x="338052" y="590875"/>
                  <a:pt x="315621" y="591951"/>
                  <a:pt x="293183" y="592877"/>
                </a:cubicBezTo>
                <a:cubicBezTo>
                  <a:pt x="287347" y="593118"/>
                  <a:pt x="281462" y="592669"/>
                  <a:pt x="275666" y="593234"/>
                </a:cubicBezTo>
                <a:cubicBezTo>
                  <a:pt x="273514" y="593444"/>
                  <a:pt x="271557" y="595648"/>
                  <a:pt x="269580" y="599331"/>
                </a:cubicBezTo>
                <a:cubicBezTo>
                  <a:pt x="275713" y="621380"/>
                  <a:pt x="271111" y="642834"/>
                  <a:pt x="263989" y="666197"/>
                </a:cubicBezTo>
                <a:cubicBezTo>
                  <a:pt x="313774" y="664633"/>
                  <a:pt x="361519" y="663135"/>
                  <a:pt x="410016" y="661613"/>
                </a:cubicBezTo>
                <a:cubicBezTo>
                  <a:pt x="409749" y="650205"/>
                  <a:pt x="404578" y="642672"/>
                  <a:pt x="397604" y="637217"/>
                </a:cubicBezTo>
                <a:cubicBezTo>
                  <a:pt x="383685" y="626330"/>
                  <a:pt x="377657" y="612262"/>
                  <a:pt x="377206" y="595129"/>
                </a:cubicBezTo>
                <a:cubicBezTo>
                  <a:pt x="377163" y="593481"/>
                  <a:pt x="376180" y="591859"/>
                  <a:pt x="375529" y="589918"/>
                </a:cubicBezTo>
                <a:close/>
                <a:moveTo>
                  <a:pt x="269699" y="111819"/>
                </a:moveTo>
                <a:cubicBezTo>
                  <a:pt x="268766" y="128662"/>
                  <a:pt x="267750" y="143896"/>
                  <a:pt x="267123" y="159144"/>
                </a:cubicBezTo>
                <a:cubicBezTo>
                  <a:pt x="266533" y="173534"/>
                  <a:pt x="266182" y="187940"/>
                  <a:pt x="266021" y="202341"/>
                </a:cubicBezTo>
                <a:cubicBezTo>
                  <a:pt x="265551" y="244173"/>
                  <a:pt x="263733" y="286061"/>
                  <a:pt x="265241" y="327824"/>
                </a:cubicBezTo>
                <a:cubicBezTo>
                  <a:pt x="266991" y="376311"/>
                  <a:pt x="271399" y="424717"/>
                  <a:pt x="275281" y="473106"/>
                </a:cubicBezTo>
                <a:cubicBezTo>
                  <a:pt x="277112" y="495934"/>
                  <a:pt x="280255" y="518666"/>
                  <a:pt x="283226" y="541386"/>
                </a:cubicBezTo>
                <a:cubicBezTo>
                  <a:pt x="283606" y="544288"/>
                  <a:pt x="286542" y="546858"/>
                  <a:pt x="290752" y="549715"/>
                </a:cubicBezTo>
                <a:cubicBezTo>
                  <a:pt x="315906" y="548655"/>
                  <a:pt x="341061" y="547646"/>
                  <a:pt x="366211" y="546509"/>
                </a:cubicBezTo>
                <a:cubicBezTo>
                  <a:pt x="377351" y="546006"/>
                  <a:pt x="386989" y="542708"/>
                  <a:pt x="394620" y="533605"/>
                </a:cubicBezTo>
                <a:cubicBezTo>
                  <a:pt x="424136" y="498392"/>
                  <a:pt x="441955" y="458300"/>
                  <a:pt x="444847" y="412312"/>
                </a:cubicBezTo>
                <a:cubicBezTo>
                  <a:pt x="447631" y="368014"/>
                  <a:pt x="436134" y="326745"/>
                  <a:pt x="415542" y="287808"/>
                </a:cubicBezTo>
                <a:cubicBezTo>
                  <a:pt x="413346" y="283656"/>
                  <a:pt x="410349" y="279930"/>
                  <a:pt x="406917" y="274800"/>
                </a:cubicBezTo>
                <a:cubicBezTo>
                  <a:pt x="403286" y="279633"/>
                  <a:pt x="400701" y="282685"/>
                  <a:pt x="398542" y="286011"/>
                </a:cubicBezTo>
                <a:cubicBezTo>
                  <a:pt x="386540" y="304507"/>
                  <a:pt x="374759" y="323144"/>
                  <a:pt x="362665" y="341576"/>
                </a:cubicBezTo>
                <a:cubicBezTo>
                  <a:pt x="355760" y="352098"/>
                  <a:pt x="349037" y="362844"/>
                  <a:pt x="341075" y="372539"/>
                </a:cubicBezTo>
                <a:cubicBezTo>
                  <a:pt x="332529" y="382944"/>
                  <a:pt x="318422" y="384660"/>
                  <a:pt x="308114" y="378081"/>
                </a:cubicBezTo>
                <a:cubicBezTo>
                  <a:pt x="297823" y="371513"/>
                  <a:pt x="294872" y="360279"/>
                  <a:pt x="300099" y="347173"/>
                </a:cubicBezTo>
                <a:cubicBezTo>
                  <a:pt x="301097" y="344673"/>
                  <a:pt x="302484" y="342331"/>
                  <a:pt x="303659" y="339900"/>
                </a:cubicBezTo>
                <a:cubicBezTo>
                  <a:pt x="322833" y="300190"/>
                  <a:pt x="341794" y="260375"/>
                  <a:pt x="361336" y="220847"/>
                </a:cubicBezTo>
                <a:cubicBezTo>
                  <a:pt x="365530" y="212366"/>
                  <a:pt x="364870" y="205891"/>
                  <a:pt x="359159" y="198656"/>
                </a:cubicBezTo>
                <a:cubicBezTo>
                  <a:pt x="335130" y="168214"/>
                  <a:pt x="310415" y="138491"/>
                  <a:pt x="278229" y="116078"/>
                </a:cubicBezTo>
                <a:cubicBezTo>
                  <a:pt x="275961" y="114498"/>
                  <a:pt x="273244" y="113563"/>
                  <a:pt x="269699" y="111819"/>
                </a:cubicBezTo>
                <a:close/>
                <a:moveTo>
                  <a:pt x="258428" y="0"/>
                </a:moveTo>
                <a:cubicBezTo>
                  <a:pt x="268143" y="14"/>
                  <a:pt x="277868" y="1857"/>
                  <a:pt x="287424" y="6106"/>
                </a:cubicBezTo>
                <a:cubicBezTo>
                  <a:pt x="298827" y="11177"/>
                  <a:pt x="307670" y="19536"/>
                  <a:pt x="314780" y="29456"/>
                </a:cubicBezTo>
                <a:cubicBezTo>
                  <a:pt x="320714" y="37738"/>
                  <a:pt x="319153" y="45743"/>
                  <a:pt x="311758" y="50657"/>
                </a:cubicBezTo>
                <a:cubicBezTo>
                  <a:pt x="310216" y="45061"/>
                  <a:pt x="308983" y="39434"/>
                  <a:pt x="307078" y="34046"/>
                </a:cubicBezTo>
                <a:cubicBezTo>
                  <a:pt x="305624" y="29938"/>
                  <a:pt x="303351" y="31325"/>
                  <a:pt x="300771" y="33397"/>
                </a:cubicBezTo>
                <a:cubicBezTo>
                  <a:pt x="286913" y="17585"/>
                  <a:pt x="278770" y="15944"/>
                  <a:pt x="260793" y="25036"/>
                </a:cubicBezTo>
                <a:cubicBezTo>
                  <a:pt x="253107" y="25044"/>
                  <a:pt x="251532" y="29894"/>
                  <a:pt x="250865" y="34910"/>
                </a:cubicBezTo>
                <a:cubicBezTo>
                  <a:pt x="250279" y="39336"/>
                  <a:pt x="250551" y="43889"/>
                  <a:pt x="250598" y="48386"/>
                </a:cubicBezTo>
                <a:cubicBezTo>
                  <a:pt x="250842" y="71411"/>
                  <a:pt x="273657" y="85927"/>
                  <a:pt x="294094" y="75638"/>
                </a:cubicBezTo>
                <a:cubicBezTo>
                  <a:pt x="298703" y="73319"/>
                  <a:pt x="302417" y="68892"/>
                  <a:pt x="305976" y="64928"/>
                </a:cubicBezTo>
                <a:cubicBezTo>
                  <a:pt x="308479" y="62140"/>
                  <a:pt x="310257" y="58750"/>
                  <a:pt x="314610" y="61365"/>
                </a:cubicBezTo>
                <a:cubicBezTo>
                  <a:pt x="318928" y="63960"/>
                  <a:pt x="317423" y="67482"/>
                  <a:pt x="315499" y="70682"/>
                </a:cubicBezTo>
                <a:cubicBezTo>
                  <a:pt x="311589" y="77187"/>
                  <a:pt x="307598" y="83651"/>
                  <a:pt x="303428" y="89992"/>
                </a:cubicBezTo>
                <a:cubicBezTo>
                  <a:pt x="298159" y="98007"/>
                  <a:pt x="297850" y="103435"/>
                  <a:pt x="303310" y="107892"/>
                </a:cubicBezTo>
                <a:cubicBezTo>
                  <a:pt x="334898" y="133671"/>
                  <a:pt x="359934" y="165092"/>
                  <a:pt x="382781" y="198577"/>
                </a:cubicBezTo>
                <a:cubicBezTo>
                  <a:pt x="388067" y="206326"/>
                  <a:pt x="388558" y="213057"/>
                  <a:pt x="384934" y="221016"/>
                </a:cubicBezTo>
                <a:cubicBezTo>
                  <a:pt x="381218" y="229181"/>
                  <a:pt x="377830" y="237496"/>
                  <a:pt x="374074" y="245642"/>
                </a:cubicBezTo>
                <a:cubicBezTo>
                  <a:pt x="372222" y="249662"/>
                  <a:pt x="373324" y="251567"/>
                  <a:pt x="377567" y="251992"/>
                </a:cubicBezTo>
                <a:cubicBezTo>
                  <a:pt x="375908" y="256949"/>
                  <a:pt x="374249" y="261907"/>
                  <a:pt x="372590" y="266865"/>
                </a:cubicBezTo>
                <a:cubicBezTo>
                  <a:pt x="388294" y="255781"/>
                  <a:pt x="396670" y="238630"/>
                  <a:pt x="410668" y="225213"/>
                </a:cubicBezTo>
                <a:cubicBezTo>
                  <a:pt x="427123" y="248491"/>
                  <a:pt x="441317" y="272156"/>
                  <a:pt x="451824" y="298056"/>
                </a:cubicBezTo>
                <a:cubicBezTo>
                  <a:pt x="477544" y="361450"/>
                  <a:pt x="480275" y="425619"/>
                  <a:pt x="458677" y="490585"/>
                </a:cubicBezTo>
                <a:cubicBezTo>
                  <a:pt x="451646" y="511737"/>
                  <a:pt x="440925" y="530939"/>
                  <a:pt x="424729" y="546617"/>
                </a:cubicBezTo>
                <a:cubicBezTo>
                  <a:pt x="419834" y="551355"/>
                  <a:pt x="417037" y="555673"/>
                  <a:pt x="419932" y="563083"/>
                </a:cubicBezTo>
                <a:cubicBezTo>
                  <a:pt x="422640" y="570016"/>
                  <a:pt x="420578" y="576842"/>
                  <a:pt x="416210" y="583415"/>
                </a:cubicBezTo>
                <a:cubicBezTo>
                  <a:pt x="409204" y="593957"/>
                  <a:pt x="410581" y="603791"/>
                  <a:pt x="420275" y="612101"/>
                </a:cubicBezTo>
                <a:cubicBezTo>
                  <a:pt x="432452" y="622538"/>
                  <a:pt x="440093" y="635313"/>
                  <a:pt x="442756" y="650963"/>
                </a:cubicBezTo>
                <a:cubicBezTo>
                  <a:pt x="444563" y="661590"/>
                  <a:pt x="449882" y="668832"/>
                  <a:pt x="459766" y="673491"/>
                </a:cubicBezTo>
                <a:cubicBezTo>
                  <a:pt x="474695" y="680528"/>
                  <a:pt x="484519" y="692476"/>
                  <a:pt x="490559" y="707785"/>
                </a:cubicBezTo>
                <a:cubicBezTo>
                  <a:pt x="498084" y="726854"/>
                  <a:pt x="492125" y="746070"/>
                  <a:pt x="474787" y="757321"/>
                </a:cubicBezTo>
                <a:cubicBezTo>
                  <a:pt x="460764" y="766421"/>
                  <a:pt x="444969" y="769422"/>
                  <a:pt x="428635" y="770612"/>
                </a:cubicBezTo>
                <a:cubicBezTo>
                  <a:pt x="420179" y="771227"/>
                  <a:pt x="411744" y="772147"/>
                  <a:pt x="401444" y="773103"/>
                </a:cubicBezTo>
                <a:cubicBezTo>
                  <a:pt x="401444" y="779407"/>
                  <a:pt x="401548" y="784652"/>
                  <a:pt x="401428" y="789894"/>
                </a:cubicBezTo>
                <a:cubicBezTo>
                  <a:pt x="398942" y="899147"/>
                  <a:pt x="416574" y="1005751"/>
                  <a:pt x="443247" y="1111233"/>
                </a:cubicBezTo>
                <a:cubicBezTo>
                  <a:pt x="456708" y="1164473"/>
                  <a:pt x="472385" y="1216980"/>
                  <a:pt x="491014" y="1268649"/>
                </a:cubicBezTo>
                <a:cubicBezTo>
                  <a:pt x="494690" y="1278849"/>
                  <a:pt x="500136" y="1285614"/>
                  <a:pt x="510158" y="1289390"/>
                </a:cubicBezTo>
                <a:cubicBezTo>
                  <a:pt x="517285" y="1292078"/>
                  <a:pt x="524348" y="1295194"/>
                  <a:pt x="530944" y="1298980"/>
                </a:cubicBezTo>
                <a:cubicBezTo>
                  <a:pt x="542933" y="1305861"/>
                  <a:pt x="544683" y="1312224"/>
                  <a:pt x="538770" y="1324686"/>
                </a:cubicBezTo>
                <a:cubicBezTo>
                  <a:pt x="536652" y="1329147"/>
                  <a:pt x="534084" y="1333395"/>
                  <a:pt x="529915" y="1338436"/>
                </a:cubicBezTo>
                <a:cubicBezTo>
                  <a:pt x="526795" y="1340182"/>
                  <a:pt x="524469" y="1341108"/>
                  <a:pt x="524324" y="1342300"/>
                </a:cubicBezTo>
                <a:cubicBezTo>
                  <a:pt x="522436" y="1357873"/>
                  <a:pt x="523450" y="1372669"/>
                  <a:pt x="535661" y="1384625"/>
                </a:cubicBezTo>
                <a:cubicBezTo>
                  <a:pt x="558421" y="1406910"/>
                  <a:pt x="580999" y="1429382"/>
                  <a:pt x="603638" y="1451791"/>
                </a:cubicBezTo>
                <a:cubicBezTo>
                  <a:pt x="604874" y="1453014"/>
                  <a:pt x="606411" y="1454186"/>
                  <a:pt x="607073" y="1455703"/>
                </a:cubicBezTo>
                <a:cubicBezTo>
                  <a:pt x="618218" y="1481214"/>
                  <a:pt x="628282" y="1507034"/>
                  <a:pt x="626274" y="1535675"/>
                </a:cubicBezTo>
                <a:cubicBezTo>
                  <a:pt x="625807" y="1542319"/>
                  <a:pt x="624433" y="1548896"/>
                  <a:pt x="623721" y="1555529"/>
                </a:cubicBezTo>
                <a:cubicBezTo>
                  <a:pt x="623295" y="1559484"/>
                  <a:pt x="624449" y="1562691"/>
                  <a:pt x="629177" y="1563139"/>
                </a:cubicBezTo>
                <a:cubicBezTo>
                  <a:pt x="629109" y="1564371"/>
                  <a:pt x="629043" y="1565602"/>
                  <a:pt x="627818" y="1567709"/>
                </a:cubicBezTo>
                <a:cubicBezTo>
                  <a:pt x="625121" y="1569584"/>
                  <a:pt x="623583" y="1570585"/>
                  <a:pt x="622046" y="1571586"/>
                </a:cubicBezTo>
                <a:cubicBezTo>
                  <a:pt x="624241" y="1571482"/>
                  <a:pt x="626438" y="1571380"/>
                  <a:pt x="628632" y="1571276"/>
                </a:cubicBezTo>
                <a:cubicBezTo>
                  <a:pt x="629603" y="1572373"/>
                  <a:pt x="630575" y="1573470"/>
                  <a:pt x="631437" y="1576151"/>
                </a:cubicBezTo>
                <a:cubicBezTo>
                  <a:pt x="631526" y="1580576"/>
                  <a:pt x="630825" y="1583903"/>
                  <a:pt x="632057" y="1586187"/>
                </a:cubicBezTo>
                <a:cubicBezTo>
                  <a:pt x="644440" y="1609138"/>
                  <a:pt x="651408" y="1633351"/>
                  <a:pt x="650731" y="1659627"/>
                </a:cubicBezTo>
                <a:cubicBezTo>
                  <a:pt x="650379" y="1673283"/>
                  <a:pt x="648834" y="1675709"/>
                  <a:pt x="635724" y="1679177"/>
                </a:cubicBezTo>
                <a:cubicBezTo>
                  <a:pt x="592411" y="1690630"/>
                  <a:pt x="548236" y="1697567"/>
                  <a:pt x="503916" y="1703415"/>
                </a:cubicBezTo>
                <a:cubicBezTo>
                  <a:pt x="482216" y="1706278"/>
                  <a:pt x="460287" y="1707703"/>
                  <a:pt x="438414" y="1708897"/>
                </a:cubicBezTo>
                <a:cubicBezTo>
                  <a:pt x="411981" y="1710342"/>
                  <a:pt x="385499" y="1711614"/>
                  <a:pt x="359038" y="1711621"/>
                </a:cubicBezTo>
                <a:cubicBezTo>
                  <a:pt x="283926" y="1711639"/>
                  <a:pt x="208786" y="1713305"/>
                  <a:pt x="133715" y="1709124"/>
                </a:cubicBezTo>
                <a:cubicBezTo>
                  <a:pt x="125184" y="1708649"/>
                  <a:pt x="116585" y="1709254"/>
                  <a:pt x="108069" y="1708637"/>
                </a:cubicBezTo>
                <a:cubicBezTo>
                  <a:pt x="88455" y="1707217"/>
                  <a:pt x="68883" y="1705222"/>
                  <a:pt x="49275" y="1703711"/>
                </a:cubicBezTo>
                <a:cubicBezTo>
                  <a:pt x="34095" y="1702541"/>
                  <a:pt x="18867" y="1701966"/>
                  <a:pt x="3696" y="1700700"/>
                </a:cubicBezTo>
                <a:lnTo>
                  <a:pt x="0" y="1700188"/>
                </a:lnTo>
                <a:lnTo>
                  <a:pt x="0" y="1300965"/>
                </a:lnTo>
                <a:lnTo>
                  <a:pt x="12759" y="1295952"/>
                </a:lnTo>
                <a:cubicBezTo>
                  <a:pt x="25698" y="1292765"/>
                  <a:pt x="32543" y="1283601"/>
                  <a:pt x="36218" y="1272036"/>
                </a:cubicBezTo>
                <a:cubicBezTo>
                  <a:pt x="47218" y="1237411"/>
                  <a:pt x="57881" y="1202673"/>
                  <a:pt x="68241" y="1167850"/>
                </a:cubicBezTo>
                <a:cubicBezTo>
                  <a:pt x="74373" y="1147240"/>
                  <a:pt x="80256" y="1126519"/>
                  <a:pt x="85211" y="1105602"/>
                </a:cubicBezTo>
                <a:cubicBezTo>
                  <a:pt x="90564" y="1083005"/>
                  <a:pt x="95029" y="1060181"/>
                  <a:pt x="99280" y="1037344"/>
                </a:cubicBezTo>
                <a:cubicBezTo>
                  <a:pt x="103283" y="1015838"/>
                  <a:pt x="106800" y="994231"/>
                  <a:pt x="109967" y="972584"/>
                </a:cubicBezTo>
                <a:cubicBezTo>
                  <a:pt x="112359" y="956231"/>
                  <a:pt x="113944" y="939757"/>
                  <a:pt x="115739" y="923320"/>
                </a:cubicBezTo>
                <a:cubicBezTo>
                  <a:pt x="117534" y="906891"/>
                  <a:pt x="120197" y="890467"/>
                  <a:pt x="120605" y="873993"/>
                </a:cubicBezTo>
                <a:cubicBezTo>
                  <a:pt x="121386" y="842483"/>
                  <a:pt x="120878" y="810939"/>
                  <a:pt x="120784" y="779410"/>
                </a:cubicBezTo>
                <a:cubicBezTo>
                  <a:pt x="120774" y="776012"/>
                  <a:pt x="119963" y="772616"/>
                  <a:pt x="119508" y="769099"/>
                </a:cubicBezTo>
                <a:cubicBezTo>
                  <a:pt x="104317" y="766852"/>
                  <a:pt x="90036" y="765414"/>
                  <a:pt x="76082" y="762444"/>
                </a:cubicBezTo>
                <a:cubicBezTo>
                  <a:pt x="66084" y="760317"/>
                  <a:pt x="56033" y="757136"/>
                  <a:pt x="46873" y="752652"/>
                </a:cubicBezTo>
                <a:cubicBezTo>
                  <a:pt x="30422" y="744600"/>
                  <a:pt x="26001" y="731268"/>
                  <a:pt x="32863" y="714675"/>
                </a:cubicBezTo>
                <a:cubicBezTo>
                  <a:pt x="38591" y="700822"/>
                  <a:pt x="49005" y="691009"/>
                  <a:pt x="61261" y="683107"/>
                </a:cubicBezTo>
                <a:cubicBezTo>
                  <a:pt x="69232" y="677968"/>
                  <a:pt x="74478" y="672216"/>
                  <a:pt x="75429" y="661843"/>
                </a:cubicBezTo>
                <a:cubicBezTo>
                  <a:pt x="76195" y="653504"/>
                  <a:pt x="80838" y="646389"/>
                  <a:pt x="89413" y="641759"/>
                </a:cubicBezTo>
                <a:cubicBezTo>
                  <a:pt x="100390" y="635833"/>
                  <a:pt x="111137" y="628952"/>
                  <a:pt x="120564" y="620833"/>
                </a:cubicBezTo>
                <a:cubicBezTo>
                  <a:pt x="130915" y="611918"/>
                  <a:pt x="128514" y="598613"/>
                  <a:pt x="116727" y="591995"/>
                </a:cubicBezTo>
                <a:cubicBezTo>
                  <a:pt x="112804" y="589794"/>
                  <a:pt x="108761" y="587786"/>
                  <a:pt x="104677" y="585897"/>
                </a:cubicBezTo>
                <a:cubicBezTo>
                  <a:pt x="98883" y="583216"/>
                  <a:pt x="97945" y="578849"/>
                  <a:pt x="100731" y="573725"/>
                </a:cubicBezTo>
                <a:cubicBezTo>
                  <a:pt x="103263" y="569065"/>
                  <a:pt x="106475" y="564775"/>
                  <a:pt x="109734" y="559791"/>
                </a:cubicBezTo>
                <a:cubicBezTo>
                  <a:pt x="107988" y="555914"/>
                  <a:pt x="106919" y="551282"/>
                  <a:pt x="104238" y="547949"/>
                </a:cubicBezTo>
                <a:cubicBezTo>
                  <a:pt x="86632" y="526054"/>
                  <a:pt x="73881" y="501557"/>
                  <a:pt x="63613" y="475539"/>
                </a:cubicBezTo>
                <a:cubicBezTo>
                  <a:pt x="52084" y="446323"/>
                  <a:pt x="45455" y="416005"/>
                  <a:pt x="48318" y="384825"/>
                </a:cubicBezTo>
                <a:cubicBezTo>
                  <a:pt x="51404" y="351192"/>
                  <a:pt x="61158" y="318909"/>
                  <a:pt x="76866" y="288770"/>
                </a:cubicBezTo>
                <a:cubicBezTo>
                  <a:pt x="91192" y="261282"/>
                  <a:pt x="106943" y="234695"/>
                  <a:pt x="125552" y="209759"/>
                </a:cubicBezTo>
                <a:cubicBezTo>
                  <a:pt x="150492" y="176341"/>
                  <a:pt x="174891" y="142551"/>
                  <a:pt x="204434" y="112886"/>
                </a:cubicBezTo>
                <a:cubicBezTo>
                  <a:pt x="212319" y="104967"/>
                  <a:pt x="211916" y="96295"/>
                  <a:pt x="205534" y="86373"/>
                </a:cubicBezTo>
                <a:cubicBezTo>
                  <a:pt x="200969" y="79278"/>
                  <a:pt x="195894" y="71665"/>
                  <a:pt x="194323" y="63642"/>
                </a:cubicBezTo>
                <a:cubicBezTo>
                  <a:pt x="188844" y="35666"/>
                  <a:pt x="209982" y="11147"/>
                  <a:pt x="229496" y="4864"/>
                </a:cubicBezTo>
                <a:cubicBezTo>
                  <a:pt x="239009" y="1801"/>
                  <a:pt x="248714" y="-14"/>
                  <a:pt x="258428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 wrap="squar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" name="Free-form: Shape 6">
            <a:extLst>
              <a:ext uri="{FF2B5EF4-FFF2-40B4-BE49-F238E27FC236}">
                <a16:creationId xmlns:a16="http://schemas.microsoft.com/office/drawing/2014/main" id="{0F35E11A-928F-A18E-532E-DE63BB174ECB}"/>
              </a:ext>
            </a:extLst>
          </p:cNvPr>
          <p:cNvSpPr/>
          <p:nvPr/>
        </p:nvSpPr>
        <p:spPr>
          <a:xfrm>
            <a:off x="-153750" y="4510932"/>
            <a:ext cx="805241" cy="1728763"/>
          </a:xfrm>
          <a:custGeom>
            <a:avLst/>
            <a:gdLst>
              <a:gd name="csX0" fmla="*/ 406842 w 732037"/>
              <a:gd name="csY0" fmla="*/ 38347 h 1571603"/>
              <a:gd name="csX1" fmla="*/ 411944 w 732037"/>
              <a:gd name="csY1" fmla="*/ 38343 h 1571603"/>
              <a:gd name="csX2" fmla="*/ 416198 w 732037"/>
              <a:gd name="csY2" fmla="*/ 53444 h 1571603"/>
              <a:gd name="csX3" fmla="*/ 418945 w 732037"/>
              <a:gd name="csY3" fmla="*/ 34170 h 1571603"/>
              <a:gd name="csX4" fmla="*/ 394077 w 732037"/>
              <a:gd name="csY4" fmla="*/ 12943 h 1571603"/>
              <a:gd name="csX5" fmla="*/ 341415 w 732037"/>
              <a:gd name="csY5" fmla="*/ 11814 h 1571603"/>
              <a:gd name="csX6" fmla="*/ 309440 w 732037"/>
              <a:gd name="csY6" fmla="*/ 65249 h 1571603"/>
              <a:gd name="csX7" fmla="*/ 319632 w 732037"/>
              <a:gd name="csY7" fmla="*/ 85914 h 1571603"/>
              <a:gd name="csX8" fmla="*/ 318632 w 732037"/>
              <a:gd name="csY8" fmla="*/ 110015 h 1571603"/>
              <a:gd name="csX9" fmla="*/ 246921 w 732037"/>
              <a:gd name="csY9" fmla="*/ 198083 h 1571603"/>
              <a:gd name="csX10" fmla="*/ 202660 w 732037"/>
              <a:gd name="csY10" fmla="*/ 269911 h 1571603"/>
              <a:gd name="csX11" fmla="*/ 176707 w 732037"/>
              <a:gd name="csY11" fmla="*/ 357233 h 1571603"/>
              <a:gd name="csX12" fmla="*/ 190612 w 732037"/>
              <a:gd name="csY12" fmla="*/ 439700 h 1571603"/>
              <a:gd name="csX13" fmla="*/ 227544 w 732037"/>
              <a:gd name="csY13" fmla="*/ 505527 h 1571603"/>
              <a:gd name="csX14" fmla="*/ 232541 w 732037"/>
              <a:gd name="csY14" fmla="*/ 516294 h 1571603"/>
              <a:gd name="csX15" fmla="*/ 224356 w 732037"/>
              <a:gd name="csY15" fmla="*/ 528960 h 1571603"/>
              <a:gd name="csX16" fmla="*/ 227944 w 732037"/>
              <a:gd name="csY16" fmla="*/ 540026 h 1571603"/>
              <a:gd name="csX17" fmla="*/ 238897 w 732037"/>
              <a:gd name="csY17" fmla="*/ 545570 h 1571603"/>
              <a:gd name="csX18" fmla="*/ 242386 w 732037"/>
              <a:gd name="csY18" fmla="*/ 571785 h 1571603"/>
              <a:gd name="csX19" fmla="*/ 214067 w 732037"/>
              <a:gd name="csY19" fmla="*/ 590809 h 1571603"/>
              <a:gd name="csX20" fmla="*/ 201355 w 732037"/>
              <a:gd name="csY20" fmla="*/ 609067 h 1571603"/>
              <a:gd name="csX21" fmla="*/ 188474 w 732037"/>
              <a:gd name="csY21" fmla="*/ 628398 h 1571603"/>
              <a:gd name="csX22" fmla="*/ 162658 w 732037"/>
              <a:gd name="csY22" fmla="*/ 657096 h 1571603"/>
              <a:gd name="csX23" fmla="*/ 175395 w 732037"/>
              <a:gd name="csY23" fmla="*/ 691621 h 1571603"/>
              <a:gd name="csX24" fmla="*/ 201948 w 732037"/>
              <a:gd name="csY24" fmla="*/ 700523 h 1571603"/>
              <a:gd name="csX25" fmla="*/ 241426 w 732037"/>
              <a:gd name="csY25" fmla="*/ 706574 h 1571603"/>
              <a:gd name="csX26" fmla="*/ 242586 w 732037"/>
              <a:gd name="csY26" fmla="*/ 715946 h 1571603"/>
              <a:gd name="csX27" fmla="*/ 242424 w 732037"/>
              <a:gd name="csY27" fmla="*/ 801932 h 1571603"/>
              <a:gd name="csX28" fmla="*/ 238000 w 732037"/>
              <a:gd name="csY28" fmla="*/ 846774 h 1571603"/>
              <a:gd name="csX29" fmla="*/ 232752 w 732037"/>
              <a:gd name="csY29" fmla="*/ 891559 h 1571603"/>
              <a:gd name="csX30" fmla="*/ 223037 w 732037"/>
              <a:gd name="csY30" fmla="*/ 950433 h 1571603"/>
              <a:gd name="csX31" fmla="*/ 210247 w 732037"/>
              <a:gd name="csY31" fmla="*/ 1012485 h 1571603"/>
              <a:gd name="csX32" fmla="*/ 194820 w 732037"/>
              <a:gd name="csY32" fmla="*/ 1069074 h 1571603"/>
              <a:gd name="csX33" fmla="*/ 165707 w 732037"/>
              <a:gd name="csY33" fmla="*/ 1163788 h 1571603"/>
              <a:gd name="csX34" fmla="*/ 144382 w 732037"/>
              <a:gd name="csY34" fmla="*/ 1185530 h 1571603"/>
              <a:gd name="csX35" fmla="*/ 129590 w 732037"/>
              <a:gd name="csY35" fmla="*/ 1191342 h 1571603"/>
              <a:gd name="csX36" fmla="*/ 122255 w 732037"/>
              <a:gd name="csY36" fmla="*/ 1208476 h 1571603"/>
              <a:gd name="csX37" fmla="*/ 127491 w 732037"/>
              <a:gd name="csY37" fmla="*/ 1222193 h 1571603"/>
              <a:gd name="csX38" fmla="*/ 118348 w 732037"/>
              <a:gd name="csY38" fmla="*/ 1261470 h 1571603"/>
              <a:gd name="csX39" fmla="*/ 58232 w 732037"/>
              <a:gd name="csY39" fmla="*/ 1319224 h 1571603"/>
              <a:gd name="csX40" fmla="*/ 28815 w 732037"/>
              <a:gd name="csY40" fmla="*/ 1389717 h 1571603"/>
              <a:gd name="csX41" fmla="*/ 32634 w 732037"/>
              <a:gd name="csY41" fmla="*/ 1426050 h 1571603"/>
              <a:gd name="csX42" fmla="*/ 30331 w 732037"/>
              <a:gd name="csY42" fmla="*/ 1441003 h 1571603"/>
              <a:gd name="csX43" fmla="*/ 9180 w 732037"/>
              <a:gd name="csY43" fmla="*/ 1516655 h 1571603"/>
              <a:gd name="csX44" fmla="*/ 20082 w 732037"/>
              <a:gd name="csY44" fmla="*/ 1531402 h 1571603"/>
              <a:gd name="csX45" fmla="*/ 74798 w 732037"/>
              <a:gd name="csY45" fmla="*/ 1543794 h 1571603"/>
              <a:gd name="csX46" fmla="*/ 113225 w 732037"/>
              <a:gd name="csY46" fmla="*/ 1550305 h 1571603"/>
              <a:gd name="csX47" fmla="*/ 136142 w 732037"/>
              <a:gd name="csY47" fmla="*/ 1553484 h 1571603"/>
              <a:gd name="csX48" fmla="*/ 177578 w 732037"/>
              <a:gd name="csY48" fmla="*/ 1556220 h 1571603"/>
              <a:gd name="csX49" fmla="*/ 231027 w 732037"/>
              <a:gd name="csY49" fmla="*/ 1560698 h 1571603"/>
              <a:gd name="csX50" fmla="*/ 254342 w 732037"/>
              <a:gd name="csY50" fmla="*/ 1561142 h 1571603"/>
              <a:gd name="csX51" fmla="*/ 459180 w 732037"/>
              <a:gd name="csY51" fmla="*/ 1563411 h 1571603"/>
              <a:gd name="csX52" fmla="*/ 531340 w 732037"/>
              <a:gd name="csY52" fmla="*/ 1560936 h 1571603"/>
              <a:gd name="csX53" fmla="*/ 590888 w 732037"/>
              <a:gd name="csY53" fmla="*/ 1555951 h 1571603"/>
              <a:gd name="csX54" fmla="*/ 710712 w 732037"/>
              <a:gd name="csY54" fmla="*/ 1533916 h 1571603"/>
              <a:gd name="csX55" fmla="*/ 724356 w 732037"/>
              <a:gd name="csY55" fmla="*/ 1516144 h 1571603"/>
              <a:gd name="csX56" fmla="*/ 707380 w 732037"/>
              <a:gd name="csY56" fmla="*/ 1449380 h 1571603"/>
              <a:gd name="csX57" fmla="*/ 707050 w 732037"/>
              <a:gd name="csY57" fmla="*/ 1440881 h 1571603"/>
              <a:gd name="csX58" fmla="*/ 731479 w 732037"/>
              <a:gd name="csY58" fmla="*/ 1500017 h 1571603"/>
              <a:gd name="csX59" fmla="*/ 731163 w 732037"/>
              <a:gd name="csY59" fmla="*/ 1513759 h 1571603"/>
              <a:gd name="csX60" fmla="*/ 731650 w 732037"/>
              <a:gd name="csY60" fmla="*/ 1521766 h 1571603"/>
              <a:gd name="csX61" fmla="*/ 721896 w 732037"/>
              <a:gd name="csY61" fmla="*/ 1537319 h 1571603"/>
              <a:gd name="csX62" fmla="*/ 657740 w 732037"/>
              <a:gd name="csY62" fmla="*/ 1553265 h 1571603"/>
              <a:gd name="csX63" fmla="*/ 507791 w 732037"/>
              <a:gd name="csY63" fmla="*/ 1568943 h 1571603"/>
              <a:gd name="csX64" fmla="*/ 264676 w 732037"/>
              <a:gd name="csY64" fmla="*/ 1569724 h 1571603"/>
              <a:gd name="csX65" fmla="*/ 82743 w 732037"/>
              <a:gd name="csY65" fmla="*/ 1553254 h 1571603"/>
              <a:gd name="csX66" fmla="*/ 17072 w 732037"/>
              <a:gd name="csY66" fmla="*/ 1538153 h 1571603"/>
              <a:gd name="csX67" fmla="*/ 275 w 732037"/>
              <a:gd name="csY67" fmla="*/ 1513030 h 1571603"/>
              <a:gd name="csX68" fmla="*/ 20923 w 732037"/>
              <a:gd name="csY68" fmla="*/ 1441861 h 1571603"/>
              <a:gd name="csX69" fmla="*/ 23045 w 732037"/>
              <a:gd name="csY69" fmla="*/ 1423105 h 1571603"/>
              <a:gd name="csX70" fmla="*/ 30564 w 732037"/>
              <a:gd name="csY70" fmla="*/ 1346289 h 1571603"/>
              <a:gd name="csX71" fmla="*/ 71350 w 732037"/>
              <a:gd name="csY71" fmla="*/ 1295039 h 1571603"/>
              <a:gd name="csX72" fmla="*/ 112257 w 732037"/>
              <a:gd name="csY72" fmla="*/ 1255093 h 1571603"/>
              <a:gd name="csX73" fmla="*/ 115864 w 732037"/>
              <a:gd name="csY73" fmla="*/ 1217271 h 1571603"/>
              <a:gd name="csX74" fmla="*/ 112256 w 732037"/>
              <a:gd name="csY74" fmla="*/ 1210870 h 1571603"/>
              <a:gd name="csX75" fmla="*/ 121141 w 732037"/>
              <a:gd name="csY75" fmla="*/ 1186548 h 1571603"/>
              <a:gd name="csX76" fmla="*/ 136571 w 732037"/>
              <a:gd name="csY76" fmla="*/ 1179850 h 1571603"/>
              <a:gd name="csX77" fmla="*/ 158281 w 732037"/>
              <a:gd name="csY77" fmla="*/ 1157879 h 1571603"/>
              <a:gd name="csX78" fmla="*/ 187986 w 732037"/>
              <a:gd name="csY78" fmla="*/ 1059736 h 1571603"/>
              <a:gd name="csX79" fmla="*/ 217119 w 732037"/>
              <a:gd name="csY79" fmla="*/ 938896 h 1571603"/>
              <a:gd name="csX80" fmla="*/ 225792 w 732037"/>
              <a:gd name="csY80" fmla="*/ 893236 h 1571603"/>
              <a:gd name="csX81" fmla="*/ 226150 w 732037"/>
              <a:gd name="csY81" fmla="*/ 887970 h 1571603"/>
              <a:gd name="csX82" fmla="*/ 230782 w 732037"/>
              <a:gd name="csY82" fmla="*/ 853969 h 1571603"/>
              <a:gd name="csX83" fmla="*/ 230786 w 732037"/>
              <a:gd name="csY83" fmla="*/ 848558 h 1571603"/>
              <a:gd name="csX84" fmla="*/ 233315 w 732037"/>
              <a:gd name="csY84" fmla="*/ 824438 h 1571603"/>
              <a:gd name="csX85" fmla="*/ 233199 w 732037"/>
              <a:gd name="csY85" fmla="*/ 819050 h 1571603"/>
              <a:gd name="csX86" fmla="*/ 235848 w 732037"/>
              <a:gd name="csY86" fmla="*/ 782380 h 1571603"/>
              <a:gd name="csX87" fmla="*/ 237465 w 732037"/>
              <a:gd name="csY87" fmla="*/ 719113 h 1571603"/>
              <a:gd name="csX88" fmla="*/ 233057 w 732037"/>
              <a:gd name="csY88" fmla="*/ 713160 h 1571603"/>
              <a:gd name="csX89" fmla="*/ 203056 w 732037"/>
              <a:gd name="csY89" fmla="*/ 708405 h 1571603"/>
              <a:gd name="csX90" fmla="*/ 169628 w 732037"/>
              <a:gd name="csY90" fmla="*/ 698106 h 1571603"/>
              <a:gd name="csX91" fmla="*/ 153237 w 732037"/>
              <a:gd name="csY91" fmla="*/ 659111 h 1571603"/>
              <a:gd name="csX92" fmla="*/ 178365 w 732037"/>
              <a:gd name="csY92" fmla="*/ 626008 h 1571603"/>
              <a:gd name="csX93" fmla="*/ 191885 w 732037"/>
              <a:gd name="csY93" fmla="*/ 617513 h 1571603"/>
              <a:gd name="csX94" fmla="*/ 193681 w 732037"/>
              <a:gd name="csY94" fmla="*/ 610098 h 1571603"/>
              <a:gd name="csX95" fmla="*/ 213301 w 732037"/>
              <a:gd name="csY95" fmla="*/ 579885 h 1571603"/>
              <a:gd name="csX96" fmla="*/ 229635 w 732037"/>
              <a:gd name="csY96" fmla="*/ 571429 h 1571603"/>
              <a:gd name="csX97" fmla="*/ 237351 w 732037"/>
              <a:gd name="csY97" fmla="*/ 565882 h 1571603"/>
              <a:gd name="csX98" fmla="*/ 233673 w 732037"/>
              <a:gd name="csY98" fmla="*/ 550926 h 1571603"/>
              <a:gd name="csX99" fmla="*/ 226799 w 732037"/>
              <a:gd name="csY99" fmla="*/ 548359 h 1571603"/>
              <a:gd name="csX100" fmla="*/ 218639 w 732037"/>
              <a:gd name="csY100" fmla="*/ 522664 h 1571603"/>
              <a:gd name="csX101" fmla="*/ 218264 w 732037"/>
              <a:gd name="csY101" fmla="*/ 505463 h 1571603"/>
              <a:gd name="csX102" fmla="*/ 181762 w 732037"/>
              <a:gd name="csY102" fmla="*/ 437574 h 1571603"/>
              <a:gd name="csX103" fmla="*/ 185971 w 732037"/>
              <a:gd name="csY103" fmla="*/ 289069 h 1571603"/>
              <a:gd name="csX104" fmla="*/ 253787 w 732037"/>
              <a:gd name="csY104" fmla="*/ 175580 h 1571603"/>
              <a:gd name="csX105" fmla="*/ 309639 w 732037"/>
              <a:gd name="csY105" fmla="*/ 108695 h 1571603"/>
              <a:gd name="csX106" fmla="*/ 318061 w 732037"/>
              <a:gd name="csY106" fmla="*/ 98855 h 1571603"/>
              <a:gd name="csX107" fmla="*/ 304967 w 732037"/>
              <a:gd name="csY107" fmla="*/ 70056 h 1571603"/>
              <a:gd name="csX108" fmla="*/ 317012 w 732037"/>
              <a:gd name="csY108" fmla="*/ 19436 h 1571603"/>
              <a:gd name="csX109" fmla="*/ 415542 w 732037"/>
              <a:gd name="csY109" fmla="*/ 18221 h 1571603"/>
              <a:gd name="csX110" fmla="*/ 423203 w 732037"/>
              <a:gd name="csY110" fmla="*/ 82660 h 1571603"/>
              <a:gd name="csX111" fmla="*/ 413361 w 732037"/>
              <a:gd name="csY111" fmla="*/ 97975 h 1571603"/>
              <a:gd name="csX112" fmla="*/ 421654 w 732037"/>
              <a:gd name="csY112" fmla="*/ 106676 h 1571603"/>
              <a:gd name="csX113" fmla="*/ 487032 w 732037"/>
              <a:gd name="csY113" fmla="*/ 184632 h 1571603"/>
              <a:gd name="csX114" fmla="*/ 489213 w 732037"/>
              <a:gd name="csY114" fmla="*/ 208238 h 1571603"/>
              <a:gd name="csX115" fmla="*/ 476520 w 732037"/>
              <a:gd name="csY115" fmla="*/ 235738 h 1571603"/>
              <a:gd name="csX116" fmla="*/ 472850 w 732037"/>
              <a:gd name="csY116" fmla="*/ 230703 h 1571603"/>
              <a:gd name="csX117" fmla="*/ 482723 w 732037"/>
              <a:gd name="csY117" fmla="*/ 208315 h 1571603"/>
              <a:gd name="csX118" fmla="*/ 480764 w 732037"/>
              <a:gd name="csY118" fmla="*/ 187916 h 1571603"/>
              <a:gd name="csX119" fmla="*/ 408519 w 732037"/>
              <a:gd name="csY119" fmla="*/ 105475 h 1571603"/>
              <a:gd name="csX120" fmla="*/ 408625 w 732037"/>
              <a:gd name="csY120" fmla="*/ 89203 h 1571603"/>
              <a:gd name="csX121" fmla="*/ 419600 w 732037"/>
              <a:gd name="csY121" fmla="*/ 71648 h 1571603"/>
              <a:gd name="csX122" fmla="*/ 418792 w 732037"/>
              <a:gd name="csY122" fmla="*/ 63179 h 1571603"/>
              <a:gd name="csX123" fmla="*/ 410943 w 732037"/>
              <a:gd name="csY123" fmla="*/ 66417 h 1571603"/>
              <a:gd name="csX124" fmla="*/ 400140 w 732037"/>
              <a:gd name="csY124" fmla="*/ 76155 h 1571603"/>
              <a:gd name="csX125" fmla="*/ 360599 w 732037"/>
              <a:gd name="csY125" fmla="*/ 51379 h 1571603"/>
              <a:gd name="csX126" fmla="*/ 360842 w 732037"/>
              <a:gd name="csY126" fmla="*/ 39128 h 1571603"/>
              <a:gd name="csX127" fmla="*/ 369470 w 732037"/>
              <a:gd name="csY127" fmla="*/ 30960 h 1571603"/>
              <a:gd name="csX128" fmla="*/ 365613 w 732037"/>
              <a:gd name="csY128" fmla="*/ 49108 h 1571603"/>
              <a:gd name="csX129" fmla="*/ 389468 w 732037"/>
              <a:gd name="csY129" fmla="*/ 71608 h 1571603"/>
              <a:gd name="csX130" fmla="*/ 408822 w 732037"/>
              <a:gd name="csY130" fmla="*/ 46613 h 1571603"/>
              <a:gd name="csX131" fmla="*/ 406842 w 732037"/>
              <a:gd name="csY131" fmla="*/ 38347 h 157160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</a:cxnLst>
            <a:rect l="l" t="t" r="r" b="b"/>
            <a:pathLst>
              <a:path w="732037" h="1571603">
                <a:moveTo>
                  <a:pt x="406842" y="38347"/>
                </a:moveTo>
                <a:cubicBezTo>
                  <a:pt x="408555" y="35869"/>
                  <a:pt x="410622" y="34608"/>
                  <a:pt x="411944" y="38343"/>
                </a:cubicBezTo>
                <a:cubicBezTo>
                  <a:pt x="413676" y="43242"/>
                  <a:pt x="414797" y="48356"/>
                  <a:pt x="416198" y="53444"/>
                </a:cubicBezTo>
                <a:cubicBezTo>
                  <a:pt x="422922" y="48977"/>
                  <a:pt x="424340" y="41699"/>
                  <a:pt x="418945" y="34170"/>
                </a:cubicBezTo>
                <a:cubicBezTo>
                  <a:pt x="412483" y="25152"/>
                  <a:pt x="404444" y="17554"/>
                  <a:pt x="394077" y="12943"/>
                </a:cubicBezTo>
                <a:cubicBezTo>
                  <a:pt x="376702" y="5216"/>
                  <a:pt x="358713" y="6244"/>
                  <a:pt x="341415" y="11814"/>
                </a:cubicBezTo>
                <a:cubicBezTo>
                  <a:pt x="323675" y="17525"/>
                  <a:pt x="304459" y="39816"/>
                  <a:pt x="309440" y="65249"/>
                </a:cubicBezTo>
                <a:cubicBezTo>
                  <a:pt x="310868" y="72543"/>
                  <a:pt x="315482" y="79463"/>
                  <a:pt x="319632" y="85914"/>
                </a:cubicBezTo>
                <a:cubicBezTo>
                  <a:pt x="325434" y="94933"/>
                  <a:pt x="325800" y="102817"/>
                  <a:pt x="318632" y="110015"/>
                </a:cubicBezTo>
                <a:cubicBezTo>
                  <a:pt x="291775" y="136984"/>
                  <a:pt x="269594" y="167702"/>
                  <a:pt x="246921" y="198083"/>
                </a:cubicBezTo>
                <a:cubicBezTo>
                  <a:pt x="230003" y="220751"/>
                  <a:pt x="215685" y="244921"/>
                  <a:pt x="202660" y="269911"/>
                </a:cubicBezTo>
                <a:cubicBezTo>
                  <a:pt x="188381" y="297309"/>
                  <a:pt x="179513" y="326657"/>
                  <a:pt x="176707" y="357233"/>
                </a:cubicBezTo>
                <a:cubicBezTo>
                  <a:pt x="174106" y="385578"/>
                  <a:pt x="180131" y="413140"/>
                  <a:pt x="190612" y="439700"/>
                </a:cubicBezTo>
                <a:cubicBezTo>
                  <a:pt x="199946" y="463353"/>
                  <a:pt x="211538" y="485623"/>
                  <a:pt x="227544" y="505527"/>
                </a:cubicBezTo>
                <a:cubicBezTo>
                  <a:pt x="229982" y="508558"/>
                  <a:pt x="230954" y="512768"/>
                  <a:pt x="232541" y="516294"/>
                </a:cubicBezTo>
                <a:cubicBezTo>
                  <a:pt x="229578" y="520824"/>
                  <a:pt x="226658" y="524724"/>
                  <a:pt x="224356" y="528960"/>
                </a:cubicBezTo>
                <a:cubicBezTo>
                  <a:pt x="221823" y="533618"/>
                  <a:pt x="222675" y="537588"/>
                  <a:pt x="227944" y="540026"/>
                </a:cubicBezTo>
                <a:cubicBezTo>
                  <a:pt x="231656" y="541743"/>
                  <a:pt x="235331" y="543568"/>
                  <a:pt x="238897" y="545570"/>
                </a:cubicBezTo>
                <a:cubicBezTo>
                  <a:pt x="249613" y="551585"/>
                  <a:pt x="251795" y="563681"/>
                  <a:pt x="242386" y="571785"/>
                </a:cubicBezTo>
                <a:cubicBezTo>
                  <a:pt x="233816" y="579166"/>
                  <a:pt x="224045" y="585423"/>
                  <a:pt x="214067" y="590809"/>
                </a:cubicBezTo>
                <a:cubicBezTo>
                  <a:pt x="206271" y="595018"/>
                  <a:pt x="202051" y="601487"/>
                  <a:pt x="201355" y="609067"/>
                </a:cubicBezTo>
                <a:cubicBezTo>
                  <a:pt x="200489" y="618497"/>
                  <a:pt x="195720" y="623726"/>
                  <a:pt x="188474" y="628398"/>
                </a:cubicBezTo>
                <a:cubicBezTo>
                  <a:pt x="177332" y="635582"/>
                  <a:pt x="167866" y="644503"/>
                  <a:pt x="162658" y="657096"/>
                </a:cubicBezTo>
                <a:cubicBezTo>
                  <a:pt x="156420" y="672181"/>
                  <a:pt x="160439" y="684301"/>
                  <a:pt x="175395" y="691621"/>
                </a:cubicBezTo>
                <a:cubicBezTo>
                  <a:pt x="183722" y="695697"/>
                  <a:pt x="192859" y="698589"/>
                  <a:pt x="201948" y="700523"/>
                </a:cubicBezTo>
                <a:cubicBezTo>
                  <a:pt x="214634" y="703224"/>
                  <a:pt x="227616" y="704530"/>
                  <a:pt x="241426" y="706574"/>
                </a:cubicBezTo>
                <a:cubicBezTo>
                  <a:pt x="241839" y="709770"/>
                  <a:pt x="242576" y="712857"/>
                  <a:pt x="242586" y="715946"/>
                </a:cubicBezTo>
                <a:cubicBezTo>
                  <a:pt x="242672" y="744610"/>
                  <a:pt x="243133" y="773285"/>
                  <a:pt x="242424" y="801932"/>
                </a:cubicBezTo>
                <a:cubicBezTo>
                  <a:pt x="242053" y="816907"/>
                  <a:pt x="239631" y="831838"/>
                  <a:pt x="238000" y="846774"/>
                </a:cubicBezTo>
                <a:cubicBezTo>
                  <a:pt x="236368" y="861717"/>
                  <a:pt x="234927" y="876693"/>
                  <a:pt x="232752" y="891559"/>
                </a:cubicBezTo>
                <a:cubicBezTo>
                  <a:pt x="229873" y="911238"/>
                  <a:pt x="226675" y="930882"/>
                  <a:pt x="223037" y="950433"/>
                </a:cubicBezTo>
                <a:cubicBezTo>
                  <a:pt x="219173" y="971193"/>
                  <a:pt x="215113" y="991942"/>
                  <a:pt x="210247" y="1012485"/>
                </a:cubicBezTo>
                <a:cubicBezTo>
                  <a:pt x="205743" y="1031500"/>
                  <a:pt x="200395" y="1050337"/>
                  <a:pt x="194820" y="1069074"/>
                </a:cubicBezTo>
                <a:cubicBezTo>
                  <a:pt x="185401" y="1100731"/>
                  <a:pt x="175708" y="1132311"/>
                  <a:pt x="165707" y="1163788"/>
                </a:cubicBezTo>
                <a:cubicBezTo>
                  <a:pt x="162367" y="1174302"/>
                  <a:pt x="156145" y="1182634"/>
                  <a:pt x="144382" y="1185530"/>
                </a:cubicBezTo>
                <a:cubicBezTo>
                  <a:pt x="139281" y="1186787"/>
                  <a:pt x="134434" y="1189193"/>
                  <a:pt x="129590" y="1191342"/>
                </a:cubicBezTo>
                <a:cubicBezTo>
                  <a:pt x="120028" y="1195581"/>
                  <a:pt x="118779" y="1198539"/>
                  <a:pt x="122255" y="1208476"/>
                </a:cubicBezTo>
                <a:cubicBezTo>
                  <a:pt x="123870" y="1213094"/>
                  <a:pt x="125990" y="1217542"/>
                  <a:pt x="127491" y="1222193"/>
                </a:cubicBezTo>
                <a:cubicBezTo>
                  <a:pt x="132294" y="1237066"/>
                  <a:pt x="129961" y="1250353"/>
                  <a:pt x="118348" y="1261470"/>
                </a:cubicBezTo>
                <a:cubicBezTo>
                  <a:pt x="98275" y="1280686"/>
                  <a:pt x="78038" y="1299737"/>
                  <a:pt x="58232" y="1319224"/>
                </a:cubicBezTo>
                <a:cubicBezTo>
                  <a:pt x="38634" y="1338507"/>
                  <a:pt x="29913" y="1362564"/>
                  <a:pt x="28815" y="1389717"/>
                </a:cubicBezTo>
                <a:cubicBezTo>
                  <a:pt x="28318" y="1402031"/>
                  <a:pt x="29110" y="1414206"/>
                  <a:pt x="32634" y="1426050"/>
                </a:cubicBezTo>
                <a:cubicBezTo>
                  <a:pt x="34273" y="1431554"/>
                  <a:pt x="33300" y="1435929"/>
                  <a:pt x="30331" y="1441003"/>
                </a:cubicBezTo>
                <a:cubicBezTo>
                  <a:pt x="16698" y="1464298"/>
                  <a:pt x="8890" y="1489397"/>
                  <a:pt x="9180" y="1516655"/>
                </a:cubicBezTo>
                <a:cubicBezTo>
                  <a:pt x="9291" y="1527012"/>
                  <a:pt x="9917" y="1528771"/>
                  <a:pt x="20082" y="1531402"/>
                </a:cubicBezTo>
                <a:cubicBezTo>
                  <a:pt x="38179" y="1536086"/>
                  <a:pt x="56480" y="1540035"/>
                  <a:pt x="74798" y="1543794"/>
                </a:cubicBezTo>
                <a:cubicBezTo>
                  <a:pt x="87517" y="1546403"/>
                  <a:pt x="100396" y="1548250"/>
                  <a:pt x="113225" y="1550305"/>
                </a:cubicBezTo>
                <a:cubicBezTo>
                  <a:pt x="120841" y="1551524"/>
                  <a:pt x="128467" y="1552843"/>
                  <a:pt x="136142" y="1553484"/>
                </a:cubicBezTo>
                <a:cubicBezTo>
                  <a:pt x="149934" y="1554635"/>
                  <a:pt x="163778" y="1555156"/>
                  <a:pt x="177578" y="1556220"/>
                </a:cubicBezTo>
                <a:cubicBezTo>
                  <a:pt x="195403" y="1557595"/>
                  <a:pt x="213196" y="1559407"/>
                  <a:pt x="231027" y="1560698"/>
                </a:cubicBezTo>
                <a:cubicBezTo>
                  <a:pt x="238768" y="1561259"/>
                  <a:pt x="246585" y="1560709"/>
                  <a:pt x="254342" y="1561142"/>
                </a:cubicBezTo>
                <a:cubicBezTo>
                  <a:pt x="322588" y="1564942"/>
                  <a:pt x="390896" y="1563427"/>
                  <a:pt x="459180" y="1563411"/>
                </a:cubicBezTo>
                <a:cubicBezTo>
                  <a:pt x="483236" y="1563406"/>
                  <a:pt x="507311" y="1562248"/>
                  <a:pt x="531340" y="1560936"/>
                </a:cubicBezTo>
                <a:cubicBezTo>
                  <a:pt x="551225" y="1559849"/>
                  <a:pt x="571160" y="1558554"/>
                  <a:pt x="590888" y="1555951"/>
                </a:cubicBezTo>
                <a:cubicBezTo>
                  <a:pt x="631179" y="1550635"/>
                  <a:pt x="671338" y="1544328"/>
                  <a:pt x="710712" y="1533916"/>
                </a:cubicBezTo>
                <a:cubicBezTo>
                  <a:pt x="722630" y="1530764"/>
                  <a:pt x="724036" y="1528558"/>
                  <a:pt x="724356" y="1516144"/>
                </a:cubicBezTo>
                <a:cubicBezTo>
                  <a:pt x="724970" y="1492256"/>
                  <a:pt x="718637" y="1470245"/>
                  <a:pt x="707380" y="1449380"/>
                </a:cubicBezTo>
                <a:cubicBezTo>
                  <a:pt x="706259" y="1447304"/>
                  <a:pt x="706896" y="1444279"/>
                  <a:pt x="707050" y="1440881"/>
                </a:cubicBezTo>
                <a:cubicBezTo>
                  <a:pt x="722747" y="1457101"/>
                  <a:pt x="728653" y="1477963"/>
                  <a:pt x="731479" y="1500017"/>
                </a:cubicBezTo>
                <a:cubicBezTo>
                  <a:pt x="731992" y="1504029"/>
                  <a:pt x="731781" y="1508135"/>
                  <a:pt x="731163" y="1513759"/>
                </a:cubicBezTo>
                <a:cubicBezTo>
                  <a:pt x="730831" y="1517468"/>
                  <a:pt x="731241" y="1519618"/>
                  <a:pt x="731650" y="1521766"/>
                </a:cubicBezTo>
                <a:cubicBezTo>
                  <a:pt x="733191" y="1529956"/>
                  <a:pt x="730165" y="1535242"/>
                  <a:pt x="721896" y="1537319"/>
                </a:cubicBezTo>
                <a:cubicBezTo>
                  <a:pt x="700520" y="1542690"/>
                  <a:pt x="679367" y="1549248"/>
                  <a:pt x="657740" y="1553265"/>
                </a:cubicBezTo>
                <a:cubicBezTo>
                  <a:pt x="608220" y="1562464"/>
                  <a:pt x="558146" y="1566701"/>
                  <a:pt x="507791" y="1568943"/>
                </a:cubicBezTo>
                <a:cubicBezTo>
                  <a:pt x="426738" y="1572552"/>
                  <a:pt x="345677" y="1572161"/>
                  <a:pt x="264676" y="1569724"/>
                </a:cubicBezTo>
                <a:cubicBezTo>
                  <a:pt x="203800" y="1567891"/>
                  <a:pt x="142882" y="1563907"/>
                  <a:pt x="82743" y="1553254"/>
                </a:cubicBezTo>
                <a:cubicBezTo>
                  <a:pt x="60647" y="1549341"/>
                  <a:pt x="38739" y="1544032"/>
                  <a:pt x="17072" y="1538153"/>
                </a:cubicBezTo>
                <a:cubicBezTo>
                  <a:pt x="1381" y="1533894"/>
                  <a:pt x="-938" y="1529341"/>
                  <a:pt x="275" y="1513030"/>
                </a:cubicBezTo>
                <a:cubicBezTo>
                  <a:pt x="2146" y="1487871"/>
                  <a:pt x="7321" y="1463566"/>
                  <a:pt x="20923" y="1441861"/>
                </a:cubicBezTo>
                <a:cubicBezTo>
                  <a:pt x="24812" y="1435656"/>
                  <a:pt x="24566" y="1429699"/>
                  <a:pt x="23045" y="1423105"/>
                </a:cubicBezTo>
                <a:cubicBezTo>
                  <a:pt x="16952" y="1396684"/>
                  <a:pt x="19689" y="1370924"/>
                  <a:pt x="30564" y="1346289"/>
                </a:cubicBezTo>
                <a:cubicBezTo>
                  <a:pt x="39621" y="1325774"/>
                  <a:pt x="54481" y="1309709"/>
                  <a:pt x="71350" y="1295039"/>
                </a:cubicBezTo>
                <a:cubicBezTo>
                  <a:pt x="85712" y="1282550"/>
                  <a:pt x="99164" y="1268932"/>
                  <a:pt x="112257" y="1255093"/>
                </a:cubicBezTo>
                <a:cubicBezTo>
                  <a:pt x="122891" y="1243852"/>
                  <a:pt x="124955" y="1230879"/>
                  <a:pt x="115864" y="1217271"/>
                </a:cubicBezTo>
                <a:cubicBezTo>
                  <a:pt x="114506" y="1215239"/>
                  <a:pt x="113304" y="1213078"/>
                  <a:pt x="112256" y="1210870"/>
                </a:cubicBezTo>
                <a:cubicBezTo>
                  <a:pt x="106526" y="1198808"/>
                  <a:pt x="109052" y="1191969"/>
                  <a:pt x="121141" y="1186548"/>
                </a:cubicBezTo>
                <a:cubicBezTo>
                  <a:pt x="126274" y="1184246"/>
                  <a:pt x="131201" y="1180803"/>
                  <a:pt x="136571" y="1179850"/>
                </a:cubicBezTo>
                <a:cubicBezTo>
                  <a:pt x="149372" y="1177579"/>
                  <a:pt x="154892" y="1168948"/>
                  <a:pt x="158281" y="1157879"/>
                </a:cubicBezTo>
                <a:cubicBezTo>
                  <a:pt x="168288" y="1125194"/>
                  <a:pt x="179178" y="1092742"/>
                  <a:pt x="187986" y="1059736"/>
                </a:cubicBezTo>
                <a:cubicBezTo>
                  <a:pt x="198666" y="1019713"/>
                  <a:pt x="207813" y="979272"/>
                  <a:pt x="217119" y="938896"/>
                </a:cubicBezTo>
                <a:cubicBezTo>
                  <a:pt x="220491" y="924267"/>
                  <a:pt x="222410" y="909302"/>
                  <a:pt x="225792" y="893236"/>
                </a:cubicBezTo>
                <a:cubicBezTo>
                  <a:pt x="226444" y="890644"/>
                  <a:pt x="226297" y="889307"/>
                  <a:pt x="226150" y="887970"/>
                </a:cubicBezTo>
                <a:cubicBezTo>
                  <a:pt x="227450" y="877085"/>
                  <a:pt x="228750" y="866198"/>
                  <a:pt x="230782" y="853969"/>
                </a:cubicBezTo>
                <a:cubicBezTo>
                  <a:pt x="231271" y="851270"/>
                  <a:pt x="231029" y="849914"/>
                  <a:pt x="230786" y="848558"/>
                </a:cubicBezTo>
                <a:cubicBezTo>
                  <a:pt x="231390" y="840967"/>
                  <a:pt x="231993" y="833375"/>
                  <a:pt x="233315" y="824438"/>
                </a:cubicBezTo>
                <a:cubicBezTo>
                  <a:pt x="233755" y="821744"/>
                  <a:pt x="233477" y="820397"/>
                  <a:pt x="233199" y="819050"/>
                </a:cubicBezTo>
                <a:cubicBezTo>
                  <a:pt x="233786" y="807422"/>
                  <a:pt x="234374" y="795794"/>
                  <a:pt x="235848" y="782380"/>
                </a:cubicBezTo>
                <a:cubicBezTo>
                  <a:pt x="237047" y="760099"/>
                  <a:pt x="237488" y="739606"/>
                  <a:pt x="237465" y="719113"/>
                </a:cubicBezTo>
                <a:cubicBezTo>
                  <a:pt x="237463" y="717127"/>
                  <a:pt x="234595" y="715144"/>
                  <a:pt x="233057" y="713160"/>
                </a:cubicBezTo>
                <a:cubicBezTo>
                  <a:pt x="223043" y="711630"/>
                  <a:pt x="212881" y="710731"/>
                  <a:pt x="203056" y="708405"/>
                </a:cubicBezTo>
                <a:cubicBezTo>
                  <a:pt x="191716" y="705720"/>
                  <a:pt x="180144" y="702931"/>
                  <a:pt x="169628" y="698106"/>
                </a:cubicBezTo>
                <a:cubicBezTo>
                  <a:pt x="154505" y="691164"/>
                  <a:pt x="148867" y="675179"/>
                  <a:pt x="153237" y="659111"/>
                </a:cubicBezTo>
                <a:cubicBezTo>
                  <a:pt x="157196" y="644561"/>
                  <a:pt x="166649" y="634454"/>
                  <a:pt x="178365" y="626008"/>
                </a:cubicBezTo>
                <a:cubicBezTo>
                  <a:pt x="182258" y="623202"/>
                  <a:pt x="186579" y="620992"/>
                  <a:pt x="191885" y="617513"/>
                </a:cubicBezTo>
                <a:cubicBezTo>
                  <a:pt x="194882" y="614532"/>
                  <a:pt x="197062" y="612583"/>
                  <a:pt x="193681" y="610098"/>
                </a:cubicBezTo>
                <a:cubicBezTo>
                  <a:pt x="193381" y="595591"/>
                  <a:pt x="202034" y="586776"/>
                  <a:pt x="213301" y="579885"/>
                </a:cubicBezTo>
                <a:cubicBezTo>
                  <a:pt x="218517" y="576695"/>
                  <a:pt x="224270" y="574393"/>
                  <a:pt x="229635" y="571429"/>
                </a:cubicBezTo>
                <a:cubicBezTo>
                  <a:pt x="232401" y="569901"/>
                  <a:pt x="235344" y="568225"/>
                  <a:pt x="237351" y="565882"/>
                </a:cubicBezTo>
                <a:cubicBezTo>
                  <a:pt x="243193" y="559063"/>
                  <a:pt x="242021" y="554779"/>
                  <a:pt x="233673" y="550926"/>
                </a:cubicBezTo>
                <a:cubicBezTo>
                  <a:pt x="231458" y="549904"/>
                  <a:pt x="229049" y="549314"/>
                  <a:pt x="226799" y="548359"/>
                </a:cubicBezTo>
                <a:cubicBezTo>
                  <a:pt x="215108" y="543398"/>
                  <a:pt x="211118" y="532802"/>
                  <a:pt x="218639" y="522664"/>
                </a:cubicBezTo>
                <a:cubicBezTo>
                  <a:pt x="223647" y="515913"/>
                  <a:pt x="222661" y="511633"/>
                  <a:pt x="218264" y="505463"/>
                </a:cubicBezTo>
                <a:cubicBezTo>
                  <a:pt x="203255" y="484407"/>
                  <a:pt x="190650" y="461993"/>
                  <a:pt x="181762" y="437574"/>
                </a:cubicBezTo>
                <a:cubicBezTo>
                  <a:pt x="163530" y="387483"/>
                  <a:pt x="165826" y="338057"/>
                  <a:pt x="185971" y="289069"/>
                </a:cubicBezTo>
                <a:cubicBezTo>
                  <a:pt x="202921" y="247851"/>
                  <a:pt x="226229" y="210377"/>
                  <a:pt x="253787" y="175580"/>
                </a:cubicBezTo>
                <a:cubicBezTo>
                  <a:pt x="271814" y="152817"/>
                  <a:pt x="290973" y="130951"/>
                  <a:pt x="309639" y="108695"/>
                </a:cubicBezTo>
                <a:cubicBezTo>
                  <a:pt x="312744" y="104993"/>
                  <a:pt x="315922" y="101352"/>
                  <a:pt x="318061" y="98855"/>
                </a:cubicBezTo>
                <a:cubicBezTo>
                  <a:pt x="313257" y="88362"/>
                  <a:pt x="308695" y="79376"/>
                  <a:pt x="304967" y="70056"/>
                </a:cubicBezTo>
                <a:cubicBezTo>
                  <a:pt x="297146" y="50504"/>
                  <a:pt x="303366" y="33481"/>
                  <a:pt x="317012" y="19436"/>
                </a:cubicBezTo>
                <a:cubicBezTo>
                  <a:pt x="344741" y="-9105"/>
                  <a:pt x="393463" y="-3345"/>
                  <a:pt x="415542" y="18221"/>
                </a:cubicBezTo>
                <a:cubicBezTo>
                  <a:pt x="429559" y="31914"/>
                  <a:pt x="438373" y="56968"/>
                  <a:pt x="423203" y="82660"/>
                </a:cubicBezTo>
                <a:cubicBezTo>
                  <a:pt x="420306" y="87568"/>
                  <a:pt x="417047" y="92262"/>
                  <a:pt x="413361" y="97975"/>
                </a:cubicBezTo>
                <a:cubicBezTo>
                  <a:pt x="416167" y="100932"/>
                  <a:pt x="418781" y="103940"/>
                  <a:pt x="421654" y="106676"/>
                </a:cubicBezTo>
                <a:cubicBezTo>
                  <a:pt x="446372" y="130213"/>
                  <a:pt x="467902" y="156374"/>
                  <a:pt x="487032" y="184632"/>
                </a:cubicBezTo>
                <a:cubicBezTo>
                  <a:pt x="492374" y="192525"/>
                  <a:pt x="493990" y="199495"/>
                  <a:pt x="489213" y="208238"/>
                </a:cubicBezTo>
                <a:cubicBezTo>
                  <a:pt x="484525" y="216819"/>
                  <a:pt x="481033" y="226053"/>
                  <a:pt x="476520" y="235738"/>
                </a:cubicBezTo>
                <a:cubicBezTo>
                  <a:pt x="472168" y="236089"/>
                  <a:pt x="471165" y="234358"/>
                  <a:pt x="472850" y="230703"/>
                </a:cubicBezTo>
                <a:cubicBezTo>
                  <a:pt x="476263" y="223297"/>
                  <a:pt x="479344" y="215738"/>
                  <a:pt x="482723" y="208315"/>
                </a:cubicBezTo>
                <a:cubicBezTo>
                  <a:pt x="486016" y="201080"/>
                  <a:pt x="485571" y="194961"/>
                  <a:pt x="480764" y="187916"/>
                </a:cubicBezTo>
                <a:cubicBezTo>
                  <a:pt x="459995" y="157475"/>
                  <a:pt x="437234" y="128912"/>
                  <a:pt x="408519" y="105475"/>
                </a:cubicBezTo>
                <a:cubicBezTo>
                  <a:pt x="403555" y="101425"/>
                  <a:pt x="403835" y="96489"/>
                  <a:pt x="408625" y="89203"/>
                </a:cubicBezTo>
                <a:cubicBezTo>
                  <a:pt x="412416" y="83438"/>
                  <a:pt x="416045" y="77562"/>
                  <a:pt x="419600" y="71648"/>
                </a:cubicBezTo>
                <a:cubicBezTo>
                  <a:pt x="421349" y="68739"/>
                  <a:pt x="422717" y="65537"/>
                  <a:pt x="418792" y="63179"/>
                </a:cubicBezTo>
                <a:cubicBezTo>
                  <a:pt x="414834" y="60801"/>
                  <a:pt x="413218" y="63883"/>
                  <a:pt x="410943" y="66417"/>
                </a:cubicBezTo>
                <a:cubicBezTo>
                  <a:pt x="407706" y="70022"/>
                  <a:pt x="404330" y="74045"/>
                  <a:pt x="400140" y="76155"/>
                </a:cubicBezTo>
                <a:cubicBezTo>
                  <a:pt x="381561" y="85507"/>
                  <a:pt x="360821" y="72312"/>
                  <a:pt x="360599" y="51379"/>
                </a:cubicBezTo>
                <a:cubicBezTo>
                  <a:pt x="360556" y="47292"/>
                  <a:pt x="360308" y="43152"/>
                  <a:pt x="360842" y="39128"/>
                </a:cubicBezTo>
                <a:cubicBezTo>
                  <a:pt x="361447" y="34568"/>
                  <a:pt x="362880" y="30159"/>
                  <a:pt x="369470" y="30960"/>
                </a:cubicBezTo>
                <a:cubicBezTo>
                  <a:pt x="368501" y="37551"/>
                  <a:pt x="365745" y="43300"/>
                  <a:pt x="365613" y="49108"/>
                </a:cubicBezTo>
                <a:cubicBezTo>
                  <a:pt x="365328" y="61659"/>
                  <a:pt x="377498" y="72522"/>
                  <a:pt x="389468" y="71608"/>
                </a:cubicBezTo>
                <a:cubicBezTo>
                  <a:pt x="401478" y="70690"/>
                  <a:pt x="410127" y="59637"/>
                  <a:pt x="408822" y="46613"/>
                </a:cubicBezTo>
                <a:cubicBezTo>
                  <a:pt x="408542" y="43819"/>
                  <a:pt x="407521" y="41100"/>
                  <a:pt x="406842" y="38347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" name="Free-form: Shape 7">
            <a:extLst>
              <a:ext uri="{FF2B5EF4-FFF2-40B4-BE49-F238E27FC236}">
                <a16:creationId xmlns:a16="http://schemas.microsoft.com/office/drawing/2014/main" id="{B838CB39-FFEF-DBBA-6725-244760BA2EAA}"/>
              </a:ext>
            </a:extLst>
          </p:cNvPr>
          <p:cNvSpPr/>
          <p:nvPr/>
        </p:nvSpPr>
        <p:spPr>
          <a:xfrm>
            <a:off x="515891" y="5858134"/>
            <a:ext cx="110769" cy="223239"/>
          </a:xfrm>
          <a:custGeom>
            <a:avLst/>
            <a:gdLst>
              <a:gd name="csX0" fmla="*/ 96534 w 100699"/>
              <a:gd name="csY0" fmla="*/ 202912 h 202945"/>
              <a:gd name="csX1" fmla="*/ 91036 w 100699"/>
              <a:gd name="csY1" fmla="*/ 196780 h 202945"/>
              <a:gd name="csX2" fmla="*/ 93357 w 100699"/>
              <a:gd name="csY2" fmla="*/ 178731 h 202945"/>
              <a:gd name="csX3" fmla="*/ 75903 w 100699"/>
              <a:gd name="csY3" fmla="*/ 106029 h 202945"/>
              <a:gd name="csX4" fmla="*/ 72780 w 100699"/>
              <a:gd name="csY4" fmla="*/ 102473 h 202945"/>
              <a:gd name="csX5" fmla="*/ 10982 w 100699"/>
              <a:gd name="csY5" fmla="*/ 41414 h 202945"/>
              <a:gd name="csX6" fmla="*/ 676 w 100699"/>
              <a:gd name="csY6" fmla="*/ 2936 h 202945"/>
              <a:gd name="csX7" fmla="*/ 5198 w 100699"/>
              <a:gd name="csY7" fmla="*/ 0 h 202945"/>
              <a:gd name="csX8" fmla="*/ 15435 w 100699"/>
              <a:gd name="csY8" fmla="*/ 35855 h 202945"/>
              <a:gd name="csX9" fmla="*/ 44498 w 100699"/>
              <a:gd name="csY9" fmla="*/ 63833 h 202945"/>
              <a:gd name="csX10" fmla="*/ 81385 w 100699"/>
              <a:gd name="csY10" fmla="*/ 106005 h 202945"/>
              <a:gd name="csX11" fmla="*/ 98950 w 100699"/>
              <a:gd name="csY11" fmla="*/ 190063 h 202945"/>
              <a:gd name="csX12" fmla="*/ 96534 w 100699"/>
              <a:gd name="csY12" fmla="*/ 202912 h 20294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</a:cxnLst>
            <a:rect l="l" t="t" r="r" b="b"/>
            <a:pathLst>
              <a:path w="100699" h="202945">
                <a:moveTo>
                  <a:pt x="96534" y="202912"/>
                </a:moveTo>
                <a:cubicBezTo>
                  <a:pt x="91699" y="203291"/>
                  <a:pt x="90650" y="200377"/>
                  <a:pt x="91036" y="196780"/>
                </a:cubicBezTo>
                <a:cubicBezTo>
                  <a:pt x="91685" y="190750"/>
                  <a:pt x="92933" y="184771"/>
                  <a:pt x="93357" y="178731"/>
                </a:cubicBezTo>
                <a:cubicBezTo>
                  <a:pt x="95183" y="152694"/>
                  <a:pt x="86034" y="129222"/>
                  <a:pt x="75903" y="106029"/>
                </a:cubicBezTo>
                <a:cubicBezTo>
                  <a:pt x="75300" y="104650"/>
                  <a:pt x="73904" y="103585"/>
                  <a:pt x="72780" y="102473"/>
                </a:cubicBezTo>
                <a:cubicBezTo>
                  <a:pt x="52199" y="82101"/>
                  <a:pt x="31673" y="61673"/>
                  <a:pt x="10982" y="41414"/>
                </a:cubicBezTo>
                <a:cubicBezTo>
                  <a:pt x="-119" y="30544"/>
                  <a:pt x="-1041" y="17093"/>
                  <a:pt x="676" y="2936"/>
                </a:cubicBezTo>
                <a:cubicBezTo>
                  <a:pt x="808" y="1852"/>
                  <a:pt x="2922" y="1010"/>
                  <a:pt x="5198" y="0"/>
                </a:cubicBezTo>
                <a:cubicBezTo>
                  <a:pt x="2043" y="13772"/>
                  <a:pt x="5665" y="25821"/>
                  <a:pt x="15435" y="35855"/>
                </a:cubicBezTo>
                <a:cubicBezTo>
                  <a:pt x="24811" y="45486"/>
                  <a:pt x="35301" y="54047"/>
                  <a:pt x="44498" y="63833"/>
                </a:cubicBezTo>
                <a:cubicBezTo>
                  <a:pt x="57293" y="77447"/>
                  <a:pt x="70760" y="90773"/>
                  <a:pt x="81385" y="106005"/>
                </a:cubicBezTo>
                <a:cubicBezTo>
                  <a:pt x="98896" y="131109"/>
                  <a:pt x="103759" y="159808"/>
                  <a:pt x="98950" y="190063"/>
                </a:cubicBezTo>
                <a:cubicBezTo>
                  <a:pt x="98311" y="194082"/>
                  <a:pt x="97697" y="198105"/>
                  <a:pt x="96534" y="202912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" name="Free-form: Shape 9">
            <a:extLst>
              <a:ext uri="{FF2B5EF4-FFF2-40B4-BE49-F238E27FC236}">
                <a16:creationId xmlns:a16="http://schemas.microsoft.com/office/drawing/2014/main" id="{18DA1218-4F2C-DE74-66C8-1922698F9969}"/>
              </a:ext>
            </a:extLst>
          </p:cNvPr>
          <p:cNvSpPr/>
          <p:nvPr/>
        </p:nvSpPr>
        <p:spPr>
          <a:xfrm>
            <a:off x="102937" y="5296651"/>
            <a:ext cx="4524" cy="73732"/>
          </a:xfrm>
          <a:custGeom>
            <a:avLst/>
            <a:gdLst>
              <a:gd name="csX0" fmla="*/ 0 w 4113"/>
              <a:gd name="csY0" fmla="*/ 0 h 67029"/>
              <a:gd name="csX1" fmla="*/ 4113 w 4113"/>
              <a:gd name="csY1" fmla="*/ 4824 h 67029"/>
              <a:gd name="csX2" fmla="*/ 2662 w 4113"/>
              <a:gd name="csY2" fmla="*/ 67030 h 67029"/>
              <a:gd name="csX3" fmla="*/ 631 w 4113"/>
              <a:gd name="csY3" fmla="*/ 55883 h 67029"/>
              <a:gd name="csX4" fmla="*/ 0 w 4113"/>
              <a:gd name="csY4" fmla="*/ 0 h 6702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4113" h="67029">
                <a:moveTo>
                  <a:pt x="0" y="0"/>
                </a:moveTo>
                <a:cubicBezTo>
                  <a:pt x="1242" y="855"/>
                  <a:pt x="4111" y="2838"/>
                  <a:pt x="4113" y="4824"/>
                </a:cubicBezTo>
                <a:cubicBezTo>
                  <a:pt x="4135" y="25317"/>
                  <a:pt x="3695" y="45810"/>
                  <a:pt x="2662" y="67030"/>
                </a:cubicBezTo>
                <a:cubicBezTo>
                  <a:pt x="1483" y="63799"/>
                  <a:pt x="680" y="59846"/>
                  <a:pt x="631" y="55883"/>
                </a:cubicBezTo>
                <a:cubicBezTo>
                  <a:pt x="404" y="37633"/>
                  <a:pt x="388" y="19381"/>
                  <a:pt x="0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" name="Free-form: Shape 10">
            <a:extLst>
              <a:ext uri="{FF2B5EF4-FFF2-40B4-BE49-F238E27FC236}">
                <a16:creationId xmlns:a16="http://schemas.microsoft.com/office/drawing/2014/main" id="{C694A643-4484-7D66-6435-6FA941512711}"/>
              </a:ext>
            </a:extLst>
          </p:cNvPr>
          <p:cNvSpPr/>
          <p:nvPr/>
        </p:nvSpPr>
        <p:spPr>
          <a:xfrm>
            <a:off x="650328" y="6177289"/>
            <a:ext cx="1282" cy="7022"/>
          </a:xfrm>
          <a:custGeom>
            <a:avLst/>
            <a:gdLst>
              <a:gd name="csX0" fmla="*/ 1130 w 1165"/>
              <a:gd name="csY0" fmla="*/ 6385 h 6384"/>
              <a:gd name="csX1" fmla="*/ 49 w 1165"/>
              <a:gd name="csY1" fmla="*/ 0 h 6384"/>
              <a:gd name="csX2" fmla="*/ 1130 w 1165"/>
              <a:gd name="csY2" fmla="*/ 6385 h 638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165" h="6384">
                <a:moveTo>
                  <a:pt x="1130" y="6385"/>
                </a:moveTo>
                <a:cubicBezTo>
                  <a:pt x="260" y="4748"/>
                  <a:pt x="-149" y="2599"/>
                  <a:pt x="49" y="0"/>
                </a:cubicBezTo>
                <a:cubicBezTo>
                  <a:pt x="969" y="1658"/>
                  <a:pt x="1279" y="3765"/>
                  <a:pt x="1130" y="6385"/>
                </a:cubicBezTo>
                <a:close/>
              </a:path>
            </a:pathLst>
          </a:custGeom>
          <a:solidFill>
            <a:srgbClr val="939B9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" name="Free-form: Shape 11">
            <a:extLst>
              <a:ext uri="{FF2B5EF4-FFF2-40B4-BE49-F238E27FC236}">
                <a16:creationId xmlns:a16="http://schemas.microsoft.com/office/drawing/2014/main" id="{726AAD47-8130-59EC-B2A6-EC1F41B49CDB}"/>
              </a:ext>
            </a:extLst>
          </p:cNvPr>
          <p:cNvSpPr/>
          <p:nvPr/>
        </p:nvSpPr>
        <p:spPr>
          <a:xfrm>
            <a:off x="614356" y="6087634"/>
            <a:ext cx="6582" cy="3014"/>
          </a:xfrm>
          <a:custGeom>
            <a:avLst/>
            <a:gdLst>
              <a:gd name="csX0" fmla="*/ 5985 w 5984"/>
              <a:gd name="csY0" fmla="*/ 1832 h 2740"/>
              <a:gd name="csX1" fmla="*/ 0 w 5984"/>
              <a:gd name="csY1" fmla="*/ 2740 h 2740"/>
              <a:gd name="csX2" fmla="*/ 4930 w 5984"/>
              <a:gd name="csY2" fmla="*/ 0 h 2740"/>
              <a:gd name="csX3" fmla="*/ 5985 w 5984"/>
              <a:gd name="csY3" fmla="*/ 1832 h 274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</a:cxnLst>
            <a:rect l="l" t="t" r="r" b="b"/>
            <a:pathLst>
              <a:path w="5984" h="2740">
                <a:moveTo>
                  <a:pt x="5985" y="1832"/>
                </a:moveTo>
                <a:cubicBezTo>
                  <a:pt x="3992" y="2553"/>
                  <a:pt x="1996" y="2646"/>
                  <a:pt x="0" y="2740"/>
                </a:cubicBezTo>
                <a:cubicBezTo>
                  <a:pt x="1398" y="1830"/>
                  <a:pt x="2796" y="920"/>
                  <a:pt x="4930" y="0"/>
                </a:cubicBezTo>
                <a:cubicBezTo>
                  <a:pt x="5772" y="394"/>
                  <a:pt x="5877" y="799"/>
                  <a:pt x="5985" y="1832"/>
                </a:cubicBezTo>
                <a:close/>
              </a:path>
            </a:pathLst>
          </a:custGeom>
          <a:solidFill>
            <a:srgbClr val="8E9395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3" name="Free-form: Shape 12">
            <a:extLst>
              <a:ext uri="{FF2B5EF4-FFF2-40B4-BE49-F238E27FC236}">
                <a16:creationId xmlns:a16="http://schemas.microsoft.com/office/drawing/2014/main" id="{E48C30E1-24FD-78A3-BAC6-6A3E2BA68CC4}"/>
              </a:ext>
            </a:extLst>
          </p:cNvPr>
          <p:cNvSpPr/>
          <p:nvPr/>
        </p:nvSpPr>
        <p:spPr>
          <a:xfrm>
            <a:off x="57892" y="5182693"/>
            <a:ext cx="3201" cy="6806"/>
          </a:xfrm>
          <a:custGeom>
            <a:avLst/>
            <a:gdLst>
              <a:gd name="csX0" fmla="*/ 815 w 2910"/>
              <a:gd name="csY0" fmla="*/ 0 h 6187"/>
              <a:gd name="csX1" fmla="*/ 113 w 2910"/>
              <a:gd name="csY1" fmla="*/ 6187 h 6187"/>
              <a:gd name="csX2" fmla="*/ 815 w 2910"/>
              <a:gd name="csY2" fmla="*/ 0 h 618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2910" h="6187">
                <a:moveTo>
                  <a:pt x="815" y="0"/>
                </a:moveTo>
                <a:cubicBezTo>
                  <a:pt x="4660" y="1891"/>
                  <a:pt x="2480" y="3840"/>
                  <a:pt x="113" y="6187"/>
                </a:cubicBezTo>
                <a:cubicBezTo>
                  <a:pt x="-172" y="4565"/>
                  <a:pt x="89" y="2579"/>
                  <a:pt x="815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4" name="Free-form: Shape 13">
            <a:extLst>
              <a:ext uri="{FF2B5EF4-FFF2-40B4-BE49-F238E27FC236}">
                <a16:creationId xmlns:a16="http://schemas.microsoft.com/office/drawing/2014/main" id="{834D1A00-C95B-0321-7E49-D688D5011A40}"/>
              </a:ext>
            </a:extLst>
          </p:cNvPr>
          <p:cNvSpPr/>
          <p:nvPr/>
        </p:nvSpPr>
        <p:spPr>
          <a:xfrm>
            <a:off x="99534" y="5444748"/>
            <a:ext cx="932" cy="4433"/>
          </a:xfrm>
          <a:custGeom>
            <a:avLst/>
            <a:gdLst>
              <a:gd name="csX0" fmla="*/ 106 w 847"/>
              <a:gd name="csY0" fmla="*/ 0 h 4030"/>
              <a:gd name="csX1" fmla="*/ 732 w 847"/>
              <a:gd name="csY1" fmla="*/ 4031 h 4030"/>
              <a:gd name="csX2" fmla="*/ 106 w 847"/>
              <a:gd name="csY2" fmla="*/ 0 h 403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7" h="4030">
                <a:moveTo>
                  <a:pt x="106" y="0"/>
                </a:moveTo>
                <a:cubicBezTo>
                  <a:pt x="770" y="990"/>
                  <a:pt x="1013" y="2346"/>
                  <a:pt x="732" y="4031"/>
                </a:cubicBezTo>
                <a:cubicBezTo>
                  <a:pt x="34" y="3029"/>
                  <a:pt x="-141" y="1697"/>
                  <a:pt x="106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5" name="Free-form: Shape 14">
            <a:extLst>
              <a:ext uri="{FF2B5EF4-FFF2-40B4-BE49-F238E27FC236}">
                <a16:creationId xmlns:a16="http://schemas.microsoft.com/office/drawing/2014/main" id="{A3C9C6F5-F5F3-86F9-E460-332AD1C4218D}"/>
              </a:ext>
            </a:extLst>
          </p:cNvPr>
          <p:cNvSpPr/>
          <p:nvPr/>
        </p:nvSpPr>
        <p:spPr>
          <a:xfrm>
            <a:off x="94302" y="5488059"/>
            <a:ext cx="851" cy="4393"/>
          </a:xfrm>
          <a:custGeom>
            <a:avLst/>
            <a:gdLst>
              <a:gd name="csX0" fmla="*/ 195 w 774"/>
              <a:gd name="csY0" fmla="*/ 0 h 3994"/>
              <a:gd name="csX1" fmla="*/ 575 w 774"/>
              <a:gd name="csY1" fmla="*/ 3994 h 3994"/>
              <a:gd name="csX2" fmla="*/ 195 w 774"/>
              <a:gd name="csY2" fmla="*/ 0 h 399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774" h="3994">
                <a:moveTo>
                  <a:pt x="195" y="0"/>
                </a:moveTo>
                <a:cubicBezTo>
                  <a:pt x="794" y="1011"/>
                  <a:pt x="941" y="2348"/>
                  <a:pt x="575" y="3994"/>
                </a:cubicBezTo>
                <a:cubicBezTo>
                  <a:pt x="-44" y="2978"/>
                  <a:pt x="-151" y="1652"/>
                  <a:pt x="195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" name="Free-form: Shape 15">
            <a:extLst>
              <a:ext uri="{FF2B5EF4-FFF2-40B4-BE49-F238E27FC236}">
                <a16:creationId xmlns:a16="http://schemas.microsoft.com/office/drawing/2014/main" id="{5BD72706-AEAD-53EF-30D5-0E2886451693}"/>
              </a:ext>
            </a:extLst>
          </p:cNvPr>
          <p:cNvSpPr/>
          <p:nvPr/>
        </p:nvSpPr>
        <p:spPr>
          <a:xfrm>
            <a:off x="102261" y="5412308"/>
            <a:ext cx="952" cy="4394"/>
          </a:xfrm>
          <a:custGeom>
            <a:avLst/>
            <a:gdLst>
              <a:gd name="csX0" fmla="*/ 71 w 865"/>
              <a:gd name="csY0" fmla="*/ 0 h 3995"/>
              <a:gd name="csX1" fmla="*/ 783 w 865"/>
              <a:gd name="csY1" fmla="*/ 3996 h 3995"/>
              <a:gd name="csX2" fmla="*/ 71 w 865"/>
              <a:gd name="csY2" fmla="*/ 0 h 399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65" h="3995">
                <a:moveTo>
                  <a:pt x="71" y="0"/>
                </a:moveTo>
                <a:cubicBezTo>
                  <a:pt x="740" y="963"/>
                  <a:pt x="1018" y="2311"/>
                  <a:pt x="783" y="3996"/>
                </a:cubicBezTo>
                <a:cubicBezTo>
                  <a:pt x="73" y="3017"/>
                  <a:pt x="-124" y="1701"/>
                  <a:pt x="71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7" name="Free-form: Shape 16">
            <a:extLst>
              <a:ext uri="{FF2B5EF4-FFF2-40B4-BE49-F238E27FC236}">
                <a16:creationId xmlns:a16="http://schemas.microsoft.com/office/drawing/2014/main" id="{41E8B779-B7F3-DB6A-CF93-67B51E1515E0}"/>
              </a:ext>
            </a:extLst>
          </p:cNvPr>
          <p:cNvSpPr/>
          <p:nvPr/>
        </p:nvSpPr>
        <p:spPr>
          <a:xfrm>
            <a:off x="245408" y="5296179"/>
            <a:ext cx="205986" cy="516453"/>
          </a:xfrm>
          <a:custGeom>
            <a:avLst/>
            <a:gdLst>
              <a:gd name="csX0" fmla="*/ 120604 w 187260"/>
              <a:gd name="csY0" fmla="*/ 222968 h 469503"/>
              <a:gd name="csX1" fmla="*/ 187261 w 187260"/>
              <a:gd name="csY1" fmla="*/ 469503 h 469503"/>
              <a:gd name="csX2" fmla="*/ 1253 w 187260"/>
              <a:gd name="csY2" fmla="*/ 466078 h 469503"/>
              <a:gd name="csX3" fmla="*/ 8 w 187260"/>
              <a:gd name="csY3" fmla="*/ 458101 h 469503"/>
              <a:gd name="csX4" fmla="*/ 4383 w 187260"/>
              <a:gd name="csY4" fmla="*/ 351443 h 469503"/>
              <a:gd name="csX5" fmla="*/ 4615 w 187260"/>
              <a:gd name="csY5" fmla="*/ 346536 h 469503"/>
              <a:gd name="csX6" fmla="*/ 7935 w 187260"/>
              <a:gd name="csY6" fmla="*/ 233648 h 469503"/>
              <a:gd name="csX7" fmla="*/ 10461 w 187260"/>
              <a:gd name="csY7" fmla="*/ 128112 h 469503"/>
              <a:gd name="csX8" fmla="*/ 12461 w 187260"/>
              <a:gd name="csY8" fmla="*/ 12750 h 469503"/>
              <a:gd name="csX9" fmla="*/ 13165 w 187260"/>
              <a:gd name="csY9" fmla="*/ 4285 h 469503"/>
              <a:gd name="csX10" fmla="*/ 102327 w 187260"/>
              <a:gd name="csY10" fmla="*/ 0 h 469503"/>
              <a:gd name="csX11" fmla="*/ 106229 w 187260"/>
              <a:gd name="csY11" fmla="*/ 111321 h 469503"/>
              <a:gd name="csX12" fmla="*/ 120604 w 187260"/>
              <a:gd name="csY12" fmla="*/ 222968 h 46950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</a:cxnLst>
            <a:rect l="l" t="t" r="r" b="b"/>
            <a:pathLst>
              <a:path w="187260" h="469503">
                <a:moveTo>
                  <a:pt x="120604" y="222968"/>
                </a:moveTo>
                <a:cubicBezTo>
                  <a:pt x="135383" y="307129"/>
                  <a:pt x="159464" y="387725"/>
                  <a:pt x="187261" y="469503"/>
                </a:cubicBezTo>
                <a:cubicBezTo>
                  <a:pt x="124460" y="468347"/>
                  <a:pt x="63286" y="467220"/>
                  <a:pt x="1253" y="466078"/>
                </a:cubicBezTo>
                <a:cubicBezTo>
                  <a:pt x="818" y="463442"/>
                  <a:pt x="-95" y="460752"/>
                  <a:pt x="8" y="458101"/>
                </a:cubicBezTo>
                <a:cubicBezTo>
                  <a:pt x="1383" y="422545"/>
                  <a:pt x="2900" y="386994"/>
                  <a:pt x="4383" y="351443"/>
                </a:cubicBezTo>
                <a:cubicBezTo>
                  <a:pt x="4451" y="349807"/>
                  <a:pt x="4566" y="348172"/>
                  <a:pt x="4615" y="346536"/>
                </a:cubicBezTo>
                <a:cubicBezTo>
                  <a:pt x="5732" y="308907"/>
                  <a:pt x="6921" y="271280"/>
                  <a:pt x="7935" y="233648"/>
                </a:cubicBezTo>
                <a:cubicBezTo>
                  <a:pt x="8883" y="198472"/>
                  <a:pt x="9752" y="163293"/>
                  <a:pt x="10461" y="128112"/>
                </a:cubicBezTo>
                <a:cubicBezTo>
                  <a:pt x="11237" y="89660"/>
                  <a:pt x="11781" y="51204"/>
                  <a:pt x="12461" y="12750"/>
                </a:cubicBezTo>
                <a:cubicBezTo>
                  <a:pt x="12503" y="10363"/>
                  <a:pt x="12848" y="7981"/>
                  <a:pt x="13165" y="4285"/>
                </a:cubicBezTo>
                <a:cubicBezTo>
                  <a:pt x="42856" y="2858"/>
                  <a:pt x="72082" y="1454"/>
                  <a:pt x="102327" y="0"/>
                </a:cubicBezTo>
                <a:cubicBezTo>
                  <a:pt x="103499" y="37348"/>
                  <a:pt x="103207" y="74470"/>
                  <a:pt x="106229" y="111321"/>
                </a:cubicBezTo>
                <a:cubicBezTo>
                  <a:pt x="109263" y="148326"/>
                  <a:pt x="115599" y="185060"/>
                  <a:pt x="120604" y="222968"/>
                </a:cubicBezTo>
                <a:close/>
              </a:path>
            </a:pathLst>
          </a:custGeom>
          <a:solidFill>
            <a:srgbClr val="FDFDFD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8" name="Free-form: Shape 17">
            <a:extLst>
              <a:ext uri="{FF2B5EF4-FFF2-40B4-BE49-F238E27FC236}">
                <a16:creationId xmlns:a16="http://schemas.microsoft.com/office/drawing/2014/main" id="{50FA5B9B-709D-00F7-D5A8-0D94746719BA}"/>
              </a:ext>
            </a:extLst>
          </p:cNvPr>
          <p:cNvSpPr/>
          <p:nvPr/>
        </p:nvSpPr>
        <p:spPr>
          <a:xfrm>
            <a:off x="243965" y="5860949"/>
            <a:ext cx="344637" cy="217768"/>
          </a:xfrm>
          <a:custGeom>
            <a:avLst/>
            <a:gdLst>
              <a:gd name="csX0" fmla="*/ 160234 w 313306"/>
              <a:gd name="csY0" fmla="*/ 197876 h 197971"/>
              <a:gd name="csX1" fmla="*/ 544 w 313306"/>
              <a:gd name="csY1" fmla="*/ 197972 h 197971"/>
              <a:gd name="csX2" fmla="*/ 3466 w 313306"/>
              <a:gd name="csY2" fmla="*/ 104326 h 197971"/>
              <a:gd name="csX3" fmla="*/ 0 w 313306"/>
              <a:gd name="csY3" fmla="*/ 10720 h 197971"/>
              <a:gd name="csX4" fmla="*/ 5445 w 313306"/>
              <a:gd name="csY4" fmla="*/ 9282 h 197971"/>
              <a:gd name="csX5" fmla="*/ 71623 w 313306"/>
              <a:gd name="csY5" fmla="*/ 6885 h 197971"/>
              <a:gd name="csX6" fmla="*/ 187887 w 313306"/>
              <a:gd name="csY6" fmla="*/ 233 h 197971"/>
              <a:gd name="csX7" fmla="*/ 215297 w 313306"/>
              <a:gd name="csY7" fmla="*/ 163 h 197971"/>
              <a:gd name="csX8" fmla="*/ 243629 w 313306"/>
              <a:gd name="csY8" fmla="*/ 61389 h 197971"/>
              <a:gd name="csX9" fmla="*/ 270660 w 313306"/>
              <a:gd name="csY9" fmla="*/ 86342 h 197971"/>
              <a:gd name="csX10" fmla="*/ 313142 w 313306"/>
              <a:gd name="csY10" fmla="*/ 170098 h 197971"/>
              <a:gd name="csX11" fmla="*/ 313291 w 313306"/>
              <a:gd name="csY11" fmla="*/ 176231 h 197971"/>
              <a:gd name="csX12" fmla="*/ 312654 w 313306"/>
              <a:gd name="csY12" fmla="*/ 180738 h 197971"/>
              <a:gd name="csX13" fmla="*/ 279655 w 313306"/>
              <a:gd name="csY13" fmla="*/ 186226 h 197971"/>
              <a:gd name="csX14" fmla="*/ 167436 w 313306"/>
              <a:gd name="csY14" fmla="*/ 196805 h 197971"/>
              <a:gd name="csX15" fmla="*/ 160234 w 313306"/>
              <a:gd name="csY15" fmla="*/ 197876 h 19797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</a:cxnLst>
            <a:rect l="l" t="t" r="r" b="b"/>
            <a:pathLst>
              <a:path w="313306" h="197971">
                <a:moveTo>
                  <a:pt x="160234" y="197876"/>
                </a:moveTo>
                <a:cubicBezTo>
                  <a:pt x="106384" y="197972"/>
                  <a:pt x="53682" y="197972"/>
                  <a:pt x="544" y="197972"/>
                </a:cubicBezTo>
                <a:cubicBezTo>
                  <a:pt x="1602" y="166763"/>
                  <a:pt x="3550" y="135542"/>
                  <a:pt x="3466" y="104326"/>
                </a:cubicBezTo>
                <a:cubicBezTo>
                  <a:pt x="3383" y="73323"/>
                  <a:pt x="1255" y="42326"/>
                  <a:pt x="0" y="10720"/>
                </a:cubicBezTo>
                <a:cubicBezTo>
                  <a:pt x="1689" y="10255"/>
                  <a:pt x="3551" y="9355"/>
                  <a:pt x="5445" y="9282"/>
                </a:cubicBezTo>
                <a:cubicBezTo>
                  <a:pt x="27503" y="8435"/>
                  <a:pt x="49582" y="8030"/>
                  <a:pt x="71623" y="6885"/>
                </a:cubicBezTo>
                <a:cubicBezTo>
                  <a:pt x="110388" y="4872"/>
                  <a:pt x="149126" y="2333"/>
                  <a:pt x="187887" y="233"/>
                </a:cubicBezTo>
                <a:cubicBezTo>
                  <a:pt x="196749" y="-247"/>
                  <a:pt x="205660" y="163"/>
                  <a:pt x="215297" y="163"/>
                </a:cubicBezTo>
                <a:cubicBezTo>
                  <a:pt x="215450" y="25550"/>
                  <a:pt x="226120" y="45122"/>
                  <a:pt x="243629" y="61389"/>
                </a:cubicBezTo>
                <a:cubicBezTo>
                  <a:pt x="252615" y="69739"/>
                  <a:pt x="261099" y="78715"/>
                  <a:pt x="270660" y="86342"/>
                </a:cubicBezTo>
                <a:cubicBezTo>
                  <a:pt x="297676" y="107892"/>
                  <a:pt x="310731" y="136225"/>
                  <a:pt x="313142" y="170098"/>
                </a:cubicBezTo>
                <a:cubicBezTo>
                  <a:pt x="313287" y="172136"/>
                  <a:pt x="313335" y="174188"/>
                  <a:pt x="313291" y="176231"/>
                </a:cubicBezTo>
                <a:cubicBezTo>
                  <a:pt x="313265" y="177429"/>
                  <a:pt x="312966" y="178621"/>
                  <a:pt x="312654" y="180738"/>
                </a:cubicBezTo>
                <a:cubicBezTo>
                  <a:pt x="302343" y="185396"/>
                  <a:pt x="290736" y="185049"/>
                  <a:pt x="279655" y="186226"/>
                </a:cubicBezTo>
                <a:cubicBezTo>
                  <a:pt x="242295" y="190193"/>
                  <a:pt x="204847" y="193324"/>
                  <a:pt x="167436" y="196805"/>
                </a:cubicBezTo>
                <a:cubicBezTo>
                  <a:pt x="165405" y="196994"/>
                  <a:pt x="163399" y="197449"/>
                  <a:pt x="160234" y="197876"/>
                </a:cubicBezTo>
                <a:close/>
              </a:path>
            </a:pathLst>
          </a:custGeom>
          <a:solidFill>
            <a:srgbClr val="FDFEFE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9" name="Free-form: Shape 18">
            <a:extLst>
              <a:ext uri="{FF2B5EF4-FFF2-40B4-BE49-F238E27FC236}">
                <a16:creationId xmlns:a16="http://schemas.microsoft.com/office/drawing/2014/main" id="{897AD08E-9DFD-4AB9-F9F2-FAF1C39D930C}"/>
              </a:ext>
            </a:extLst>
          </p:cNvPr>
          <p:cNvSpPr/>
          <p:nvPr/>
        </p:nvSpPr>
        <p:spPr>
          <a:xfrm>
            <a:off x="256964" y="4630883"/>
            <a:ext cx="180605" cy="437829"/>
          </a:xfrm>
          <a:custGeom>
            <a:avLst/>
            <a:gdLst>
              <a:gd name="csX0" fmla="*/ 22609 w 164186"/>
              <a:gd name="csY0" fmla="*/ 398026 h 398026"/>
              <a:gd name="csX1" fmla="*/ 16884 w 164186"/>
              <a:gd name="csY1" fmla="*/ 390515 h 398026"/>
              <a:gd name="csX2" fmla="*/ 9661 w 164186"/>
              <a:gd name="csY2" fmla="*/ 328443 h 398026"/>
              <a:gd name="csX3" fmla="*/ 534 w 164186"/>
              <a:gd name="csY3" fmla="*/ 196369 h 398026"/>
              <a:gd name="csX4" fmla="*/ 1243 w 164186"/>
              <a:gd name="csY4" fmla="*/ 82293 h 398026"/>
              <a:gd name="csX5" fmla="*/ 2245 w 164186"/>
              <a:gd name="csY5" fmla="*/ 43023 h 398026"/>
              <a:gd name="csX6" fmla="*/ 4587 w 164186"/>
              <a:gd name="csY6" fmla="*/ 0 h 398026"/>
              <a:gd name="csX7" fmla="*/ 12341 w 164186"/>
              <a:gd name="csY7" fmla="*/ 3872 h 398026"/>
              <a:gd name="csX8" fmla="*/ 85914 w 164186"/>
              <a:gd name="csY8" fmla="*/ 78943 h 398026"/>
              <a:gd name="csX9" fmla="*/ 87893 w 164186"/>
              <a:gd name="csY9" fmla="*/ 99117 h 398026"/>
              <a:gd name="csX10" fmla="*/ 35459 w 164186"/>
              <a:gd name="csY10" fmla="*/ 207346 h 398026"/>
              <a:gd name="csX11" fmla="*/ 32223 w 164186"/>
              <a:gd name="csY11" fmla="*/ 213959 h 398026"/>
              <a:gd name="csX12" fmla="*/ 39509 w 164186"/>
              <a:gd name="csY12" fmla="*/ 242056 h 398026"/>
              <a:gd name="csX13" fmla="*/ 69474 w 164186"/>
              <a:gd name="csY13" fmla="*/ 237019 h 398026"/>
              <a:gd name="csX14" fmla="*/ 89101 w 164186"/>
              <a:gd name="csY14" fmla="*/ 208870 h 398026"/>
              <a:gd name="csX15" fmla="*/ 121716 w 164186"/>
              <a:gd name="csY15" fmla="*/ 158357 h 398026"/>
              <a:gd name="csX16" fmla="*/ 129330 w 164186"/>
              <a:gd name="csY16" fmla="*/ 148165 h 398026"/>
              <a:gd name="csX17" fmla="*/ 137171 w 164186"/>
              <a:gd name="csY17" fmla="*/ 159989 h 398026"/>
              <a:gd name="csX18" fmla="*/ 163812 w 164186"/>
              <a:gd name="csY18" fmla="*/ 273175 h 398026"/>
              <a:gd name="csX19" fmla="*/ 118151 w 164186"/>
              <a:gd name="csY19" fmla="*/ 383442 h 398026"/>
              <a:gd name="csX20" fmla="*/ 92325 w 164186"/>
              <a:gd name="csY20" fmla="*/ 395173 h 398026"/>
              <a:gd name="csX21" fmla="*/ 22609 w 164186"/>
              <a:gd name="csY21" fmla="*/ 398026 h 39802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</a:cxnLst>
            <a:rect l="l" t="t" r="r" b="b"/>
            <a:pathLst>
              <a:path w="164186" h="398026">
                <a:moveTo>
                  <a:pt x="22609" y="398026"/>
                </a:moveTo>
                <a:cubicBezTo>
                  <a:pt x="19898" y="395489"/>
                  <a:pt x="17229" y="393154"/>
                  <a:pt x="16884" y="390515"/>
                </a:cubicBezTo>
                <a:cubicBezTo>
                  <a:pt x="14183" y="369861"/>
                  <a:pt x="11326" y="349196"/>
                  <a:pt x="9661" y="328443"/>
                </a:cubicBezTo>
                <a:cubicBezTo>
                  <a:pt x="6132" y="284452"/>
                  <a:pt x="2125" y="240448"/>
                  <a:pt x="534" y="196369"/>
                </a:cubicBezTo>
                <a:cubicBezTo>
                  <a:pt x="-837" y="158401"/>
                  <a:pt x="816" y="120322"/>
                  <a:pt x="1243" y="82293"/>
                </a:cubicBezTo>
                <a:cubicBezTo>
                  <a:pt x="1389" y="69201"/>
                  <a:pt x="1708" y="56105"/>
                  <a:pt x="2245" y="43023"/>
                </a:cubicBezTo>
                <a:cubicBezTo>
                  <a:pt x="2815" y="29160"/>
                  <a:pt x="3738" y="15312"/>
                  <a:pt x="4587" y="0"/>
                </a:cubicBezTo>
                <a:cubicBezTo>
                  <a:pt x="7809" y="1586"/>
                  <a:pt x="10279" y="2436"/>
                  <a:pt x="12341" y="3872"/>
                </a:cubicBezTo>
                <a:cubicBezTo>
                  <a:pt x="41601" y="24248"/>
                  <a:pt x="64069" y="51269"/>
                  <a:pt x="85914" y="78943"/>
                </a:cubicBezTo>
                <a:cubicBezTo>
                  <a:pt x="91106" y="85520"/>
                  <a:pt x="91706" y="91406"/>
                  <a:pt x="87893" y="99117"/>
                </a:cubicBezTo>
                <a:cubicBezTo>
                  <a:pt x="70127" y="135051"/>
                  <a:pt x="52890" y="171246"/>
                  <a:pt x="35459" y="207346"/>
                </a:cubicBezTo>
                <a:cubicBezTo>
                  <a:pt x="34391" y="209557"/>
                  <a:pt x="33130" y="211686"/>
                  <a:pt x="32223" y="213959"/>
                </a:cubicBezTo>
                <a:cubicBezTo>
                  <a:pt x="27471" y="225873"/>
                  <a:pt x="30154" y="236086"/>
                  <a:pt x="39509" y="242056"/>
                </a:cubicBezTo>
                <a:cubicBezTo>
                  <a:pt x="48880" y="248038"/>
                  <a:pt x="61705" y="246477"/>
                  <a:pt x="69474" y="237019"/>
                </a:cubicBezTo>
                <a:cubicBezTo>
                  <a:pt x="76712" y="228205"/>
                  <a:pt x="82824" y="218436"/>
                  <a:pt x="89101" y="208870"/>
                </a:cubicBezTo>
                <a:cubicBezTo>
                  <a:pt x="100096" y="192114"/>
                  <a:pt x="110806" y="175170"/>
                  <a:pt x="121716" y="158357"/>
                </a:cubicBezTo>
                <a:cubicBezTo>
                  <a:pt x="123679" y="155333"/>
                  <a:pt x="126029" y="152559"/>
                  <a:pt x="129330" y="148165"/>
                </a:cubicBezTo>
                <a:cubicBezTo>
                  <a:pt x="132450" y="152828"/>
                  <a:pt x="135175" y="156216"/>
                  <a:pt x="137171" y="159989"/>
                </a:cubicBezTo>
                <a:cubicBezTo>
                  <a:pt x="155891" y="195388"/>
                  <a:pt x="166343" y="232905"/>
                  <a:pt x="163812" y="273175"/>
                </a:cubicBezTo>
                <a:cubicBezTo>
                  <a:pt x="161183" y="314982"/>
                  <a:pt x="144984" y="351430"/>
                  <a:pt x="118151" y="383442"/>
                </a:cubicBezTo>
                <a:cubicBezTo>
                  <a:pt x="111214" y="391718"/>
                  <a:pt x="102452" y="394716"/>
                  <a:pt x="92325" y="395173"/>
                </a:cubicBezTo>
                <a:cubicBezTo>
                  <a:pt x="69461" y="396207"/>
                  <a:pt x="46593" y="397123"/>
                  <a:pt x="22609" y="398026"/>
                </a:cubicBezTo>
                <a:close/>
              </a:path>
            </a:pathLst>
          </a:custGeom>
          <a:solidFill>
            <a:srgbClr val="FCFDFD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" name="Free-form: Shape 19">
            <a:extLst>
              <a:ext uri="{FF2B5EF4-FFF2-40B4-BE49-F238E27FC236}">
                <a16:creationId xmlns:a16="http://schemas.microsoft.com/office/drawing/2014/main" id="{07537B66-B10E-EDE0-C905-64F28D4F39E0}"/>
              </a:ext>
            </a:extLst>
          </p:cNvPr>
          <p:cNvSpPr/>
          <p:nvPr/>
        </p:nvSpPr>
        <p:spPr>
          <a:xfrm>
            <a:off x="239895" y="6114090"/>
            <a:ext cx="370078" cy="78603"/>
          </a:xfrm>
          <a:custGeom>
            <a:avLst/>
            <a:gdLst>
              <a:gd name="csX0" fmla="*/ 105937 w 336434"/>
              <a:gd name="csY0" fmla="*/ 71458 h 71457"/>
              <a:gd name="csX1" fmla="*/ 3534 w 336434"/>
              <a:gd name="csY1" fmla="*/ 69115 h 71457"/>
              <a:gd name="csX2" fmla="*/ 1296 w 336434"/>
              <a:gd name="csY2" fmla="*/ 17910 h 71457"/>
              <a:gd name="csX3" fmla="*/ 14032 w 336434"/>
              <a:gd name="csY3" fmla="*/ 17908 h 71457"/>
              <a:gd name="csX4" fmla="*/ 102444 w 336434"/>
              <a:gd name="csY4" fmla="*/ 17433 h 71457"/>
              <a:gd name="csX5" fmla="*/ 284561 w 336434"/>
              <a:gd name="csY5" fmla="*/ 3564 h 71457"/>
              <a:gd name="csX6" fmla="*/ 311323 w 336434"/>
              <a:gd name="csY6" fmla="*/ 224 h 71457"/>
              <a:gd name="csX7" fmla="*/ 324313 w 336434"/>
              <a:gd name="csY7" fmla="*/ 6639 h 71457"/>
              <a:gd name="csX8" fmla="*/ 336434 w 336434"/>
              <a:gd name="csY8" fmla="*/ 46484 h 71457"/>
              <a:gd name="csX9" fmla="*/ 105937 w 336434"/>
              <a:gd name="csY9" fmla="*/ 71458 h 7145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336434" h="71457">
                <a:moveTo>
                  <a:pt x="105937" y="71458"/>
                </a:moveTo>
                <a:cubicBezTo>
                  <a:pt x="70820" y="70678"/>
                  <a:pt x="36930" y="69891"/>
                  <a:pt x="3534" y="69115"/>
                </a:cubicBezTo>
                <a:cubicBezTo>
                  <a:pt x="-81" y="59433"/>
                  <a:pt x="-1094" y="35337"/>
                  <a:pt x="1296" y="17910"/>
                </a:cubicBezTo>
                <a:cubicBezTo>
                  <a:pt x="5366" y="17910"/>
                  <a:pt x="9699" y="17923"/>
                  <a:pt x="14032" y="17908"/>
                </a:cubicBezTo>
                <a:cubicBezTo>
                  <a:pt x="43505" y="17812"/>
                  <a:pt x="73011" y="18557"/>
                  <a:pt x="102444" y="17433"/>
                </a:cubicBezTo>
                <a:cubicBezTo>
                  <a:pt x="163306" y="15109"/>
                  <a:pt x="224166" y="12264"/>
                  <a:pt x="284561" y="3564"/>
                </a:cubicBezTo>
                <a:cubicBezTo>
                  <a:pt x="293458" y="2283"/>
                  <a:pt x="302438" y="1575"/>
                  <a:pt x="311323" y="224"/>
                </a:cubicBezTo>
                <a:cubicBezTo>
                  <a:pt x="317371" y="-696"/>
                  <a:pt x="321247" y="1177"/>
                  <a:pt x="324313" y="6639"/>
                </a:cubicBezTo>
                <a:cubicBezTo>
                  <a:pt x="330512" y="17683"/>
                  <a:pt x="335236" y="31679"/>
                  <a:pt x="336434" y="46484"/>
                </a:cubicBezTo>
                <a:cubicBezTo>
                  <a:pt x="261124" y="64059"/>
                  <a:pt x="184356" y="69587"/>
                  <a:pt x="105937" y="71458"/>
                </a:cubicBezTo>
                <a:close/>
              </a:path>
            </a:pathLst>
          </a:custGeom>
          <a:solidFill>
            <a:srgbClr val="FCFCFC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" name="Free-form: Shape 20">
            <a:extLst>
              <a:ext uri="{FF2B5EF4-FFF2-40B4-BE49-F238E27FC236}">
                <a16:creationId xmlns:a16="http://schemas.microsoft.com/office/drawing/2014/main" id="{9D6AA1B1-FA11-6E52-254A-5D595E4508F2}"/>
              </a:ext>
            </a:extLst>
          </p:cNvPr>
          <p:cNvSpPr/>
          <p:nvPr/>
        </p:nvSpPr>
        <p:spPr>
          <a:xfrm>
            <a:off x="256299" y="5108913"/>
            <a:ext cx="146026" cy="76347"/>
          </a:xfrm>
          <a:custGeom>
            <a:avLst/>
            <a:gdLst>
              <a:gd name="csX0" fmla="*/ 5051 w 132751"/>
              <a:gd name="csY0" fmla="*/ 7534 h 69406"/>
              <a:gd name="csX1" fmla="*/ 10615 w 132751"/>
              <a:gd name="csY1" fmla="*/ 3077 h 69406"/>
              <a:gd name="csX2" fmla="*/ 26541 w 132751"/>
              <a:gd name="csY2" fmla="*/ 2752 h 69406"/>
              <a:gd name="csX3" fmla="*/ 87728 w 132751"/>
              <a:gd name="csY3" fmla="*/ 89 h 69406"/>
              <a:gd name="csX4" fmla="*/ 101400 w 132751"/>
              <a:gd name="csY4" fmla="*/ 62 h 69406"/>
              <a:gd name="csX5" fmla="*/ 102924 w 132751"/>
              <a:gd name="csY5" fmla="*/ 4800 h 69406"/>
              <a:gd name="csX6" fmla="*/ 121469 w 132751"/>
              <a:gd name="csY6" fmla="*/ 43062 h 69406"/>
              <a:gd name="csX7" fmla="*/ 132751 w 132751"/>
              <a:gd name="csY7" fmla="*/ 65240 h 69406"/>
              <a:gd name="csX8" fmla="*/ 0 w 132751"/>
              <a:gd name="csY8" fmla="*/ 69406 h 69406"/>
              <a:gd name="csX9" fmla="*/ 5051 w 132751"/>
              <a:gd name="csY9" fmla="*/ 7534 h 6940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132751" h="69406">
                <a:moveTo>
                  <a:pt x="5051" y="7534"/>
                </a:moveTo>
                <a:cubicBezTo>
                  <a:pt x="6880" y="5272"/>
                  <a:pt x="8659" y="3268"/>
                  <a:pt x="10615" y="3077"/>
                </a:cubicBezTo>
                <a:cubicBezTo>
                  <a:pt x="15884" y="2564"/>
                  <a:pt x="21234" y="2972"/>
                  <a:pt x="26541" y="2752"/>
                </a:cubicBezTo>
                <a:cubicBezTo>
                  <a:pt x="46938" y="1911"/>
                  <a:pt x="67330" y="933"/>
                  <a:pt x="87728" y="89"/>
                </a:cubicBezTo>
                <a:cubicBezTo>
                  <a:pt x="92161" y="-94"/>
                  <a:pt x="96609" y="62"/>
                  <a:pt x="101400" y="62"/>
                </a:cubicBezTo>
                <a:cubicBezTo>
                  <a:pt x="101991" y="1827"/>
                  <a:pt x="102885" y="3302"/>
                  <a:pt x="102924" y="4800"/>
                </a:cubicBezTo>
                <a:cubicBezTo>
                  <a:pt x="103334" y="20376"/>
                  <a:pt x="108815" y="33165"/>
                  <a:pt x="121469" y="43062"/>
                </a:cubicBezTo>
                <a:cubicBezTo>
                  <a:pt x="127809" y="48021"/>
                  <a:pt x="132509" y="54869"/>
                  <a:pt x="132751" y="65240"/>
                </a:cubicBezTo>
                <a:cubicBezTo>
                  <a:pt x="88663" y="66624"/>
                  <a:pt x="45259" y="67986"/>
                  <a:pt x="0" y="69406"/>
                </a:cubicBezTo>
                <a:cubicBezTo>
                  <a:pt x="6474" y="48167"/>
                  <a:pt x="10658" y="28665"/>
                  <a:pt x="5051" y="7534"/>
                </a:cubicBezTo>
                <a:close/>
              </a:path>
            </a:pathLst>
          </a:custGeom>
          <a:solidFill>
            <a:srgbClr val="FBFCFB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2" name="Free-form: Shape 21">
            <a:extLst>
              <a:ext uri="{FF2B5EF4-FFF2-40B4-BE49-F238E27FC236}">
                <a16:creationId xmlns:a16="http://schemas.microsoft.com/office/drawing/2014/main" id="{18CA5859-E334-8D30-E552-26F5B7E8CA09}"/>
              </a:ext>
            </a:extLst>
          </p:cNvPr>
          <p:cNvSpPr/>
          <p:nvPr/>
        </p:nvSpPr>
        <p:spPr>
          <a:xfrm>
            <a:off x="267959" y="5217347"/>
            <a:ext cx="182562" cy="42836"/>
          </a:xfrm>
          <a:custGeom>
            <a:avLst/>
            <a:gdLst>
              <a:gd name="csX0" fmla="*/ 80894 w 165965"/>
              <a:gd name="csY0" fmla="*/ 440 h 38942"/>
              <a:gd name="csX1" fmla="*/ 128629 w 165965"/>
              <a:gd name="csY1" fmla="*/ 5 h 38942"/>
              <a:gd name="csX2" fmla="*/ 155177 w 165965"/>
              <a:gd name="csY2" fmla="*/ 8091 h 38942"/>
              <a:gd name="csX3" fmla="*/ 164213 w 165965"/>
              <a:gd name="csY3" fmla="*/ 17723 h 38942"/>
              <a:gd name="csX4" fmla="*/ 159998 w 165965"/>
              <a:gd name="csY4" fmla="*/ 30717 h 38942"/>
              <a:gd name="csX5" fmla="*/ 146998 w 165965"/>
              <a:gd name="csY5" fmla="*/ 33737 h 38942"/>
              <a:gd name="csX6" fmla="*/ 12439 w 165965"/>
              <a:gd name="csY6" fmla="*/ 38914 h 38942"/>
              <a:gd name="csX7" fmla="*/ 0 w 165965"/>
              <a:gd name="csY7" fmla="*/ 38402 h 38942"/>
              <a:gd name="csX8" fmla="*/ 0 w 165965"/>
              <a:gd name="csY8" fmla="*/ 4598 h 38942"/>
              <a:gd name="csX9" fmla="*/ 80894 w 165965"/>
              <a:gd name="csY9" fmla="*/ 440 h 3894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165965" h="38942">
                <a:moveTo>
                  <a:pt x="80894" y="440"/>
                </a:moveTo>
                <a:cubicBezTo>
                  <a:pt x="97591" y="288"/>
                  <a:pt x="113111" y="227"/>
                  <a:pt x="128629" y="5"/>
                </a:cubicBezTo>
                <a:cubicBezTo>
                  <a:pt x="138376" y="-135"/>
                  <a:pt x="147226" y="2891"/>
                  <a:pt x="155177" y="8091"/>
                </a:cubicBezTo>
                <a:cubicBezTo>
                  <a:pt x="158779" y="10447"/>
                  <a:pt x="161992" y="14009"/>
                  <a:pt x="164213" y="17723"/>
                </a:cubicBezTo>
                <a:cubicBezTo>
                  <a:pt x="167602" y="23390"/>
                  <a:pt x="166013" y="28134"/>
                  <a:pt x="159998" y="30717"/>
                </a:cubicBezTo>
                <a:cubicBezTo>
                  <a:pt x="155963" y="32450"/>
                  <a:pt x="151384" y="33554"/>
                  <a:pt x="146998" y="33737"/>
                </a:cubicBezTo>
                <a:cubicBezTo>
                  <a:pt x="102152" y="35619"/>
                  <a:pt x="57295" y="37279"/>
                  <a:pt x="12439" y="38914"/>
                </a:cubicBezTo>
                <a:cubicBezTo>
                  <a:pt x="8467" y="39059"/>
                  <a:pt x="4472" y="38602"/>
                  <a:pt x="0" y="38402"/>
                </a:cubicBezTo>
                <a:cubicBezTo>
                  <a:pt x="0" y="27166"/>
                  <a:pt x="0" y="16774"/>
                  <a:pt x="0" y="4598"/>
                </a:cubicBezTo>
                <a:cubicBezTo>
                  <a:pt x="27063" y="3194"/>
                  <a:pt x="53389" y="1829"/>
                  <a:pt x="80894" y="440"/>
                </a:cubicBezTo>
                <a:close/>
              </a:path>
            </a:pathLst>
          </a:custGeom>
          <a:solidFill>
            <a:srgbClr val="FBFCFB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3" name="Free-form: Shape 22">
            <a:extLst>
              <a:ext uri="{FF2B5EF4-FFF2-40B4-BE49-F238E27FC236}">
                <a16:creationId xmlns:a16="http://schemas.microsoft.com/office/drawing/2014/main" id="{6C78E006-F4F9-82B2-2469-DEB2EE16D9A1}"/>
              </a:ext>
            </a:extLst>
          </p:cNvPr>
          <p:cNvSpPr/>
          <p:nvPr/>
        </p:nvSpPr>
        <p:spPr>
          <a:xfrm>
            <a:off x="248419" y="4538750"/>
            <a:ext cx="47677" cy="51009"/>
          </a:xfrm>
          <a:custGeom>
            <a:avLst/>
            <a:gdLst>
              <a:gd name="csX0" fmla="*/ 40602 w 43343"/>
              <a:gd name="csY0" fmla="*/ 12465 h 46372"/>
              <a:gd name="csX1" fmla="*/ 43214 w 43343"/>
              <a:gd name="csY1" fmla="*/ 21324 h 46372"/>
              <a:gd name="csX2" fmla="*/ 23859 w 43343"/>
              <a:gd name="csY2" fmla="*/ 46319 h 46372"/>
              <a:gd name="csX3" fmla="*/ 5 w 43343"/>
              <a:gd name="csY3" fmla="*/ 23820 h 46372"/>
              <a:gd name="csX4" fmla="*/ 4855 w 43343"/>
              <a:gd name="csY4" fmla="*/ 5679 h 46372"/>
              <a:gd name="csX5" fmla="*/ 40602 w 43343"/>
              <a:gd name="csY5" fmla="*/ 12465 h 4637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</a:cxnLst>
            <a:rect l="l" t="t" r="r" b="b"/>
            <a:pathLst>
              <a:path w="43343" h="46372">
                <a:moveTo>
                  <a:pt x="40602" y="12465"/>
                </a:moveTo>
                <a:cubicBezTo>
                  <a:pt x="41913" y="15811"/>
                  <a:pt x="42933" y="18530"/>
                  <a:pt x="43214" y="21324"/>
                </a:cubicBezTo>
                <a:cubicBezTo>
                  <a:pt x="44519" y="34348"/>
                  <a:pt x="35870" y="45401"/>
                  <a:pt x="23859" y="46319"/>
                </a:cubicBezTo>
                <a:cubicBezTo>
                  <a:pt x="11890" y="47233"/>
                  <a:pt x="-280" y="36371"/>
                  <a:pt x="5" y="23820"/>
                </a:cubicBezTo>
                <a:cubicBezTo>
                  <a:pt x="136" y="18011"/>
                  <a:pt x="2893" y="12263"/>
                  <a:pt x="4855" y="5679"/>
                </a:cubicBezTo>
                <a:cubicBezTo>
                  <a:pt x="20601" y="-3403"/>
                  <a:pt x="28004" y="-1910"/>
                  <a:pt x="40602" y="12465"/>
                </a:cubicBezTo>
                <a:close/>
              </a:path>
            </a:pathLst>
          </a:custGeom>
          <a:solidFill>
            <a:srgbClr val="FBFCFB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95538A26-4203-8CFF-C210-CF5EBD4C84B3}"/>
              </a:ext>
            </a:extLst>
          </p:cNvPr>
          <p:cNvSpPr/>
          <p:nvPr/>
        </p:nvSpPr>
        <p:spPr>
          <a:xfrm>
            <a:off x="756759" y="5250920"/>
            <a:ext cx="739959" cy="152189"/>
          </a:xfrm>
          <a:prstGeom prst="ellipse">
            <a:avLst/>
          </a:prstGeom>
          <a:solidFill>
            <a:schemeClr val="tx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7" name="Free-form: Shape 26">
            <a:extLst>
              <a:ext uri="{FF2B5EF4-FFF2-40B4-BE49-F238E27FC236}">
                <a16:creationId xmlns:a16="http://schemas.microsoft.com/office/drawing/2014/main" id="{CC464C3C-AC49-C47D-34FF-81DBC2CB60F5}"/>
              </a:ext>
            </a:extLst>
          </p:cNvPr>
          <p:cNvSpPr/>
          <p:nvPr/>
        </p:nvSpPr>
        <p:spPr>
          <a:xfrm>
            <a:off x="860959" y="3899485"/>
            <a:ext cx="546751" cy="1468448"/>
          </a:xfrm>
          <a:custGeom>
            <a:avLst/>
            <a:gdLst>
              <a:gd name="csX0" fmla="*/ 898754 w 1315852"/>
              <a:gd name="csY0" fmla="*/ 1637125 h 3212801"/>
              <a:gd name="csX1" fmla="*/ 900426 w 1315852"/>
              <a:gd name="csY1" fmla="*/ 1643802 h 3212801"/>
              <a:gd name="csX2" fmla="*/ 903549 w 1315852"/>
              <a:gd name="csY2" fmla="*/ 1709345 h 3212801"/>
              <a:gd name="csX3" fmla="*/ 908512 w 1315852"/>
              <a:gd name="csY3" fmla="*/ 1750739 h 3212801"/>
              <a:gd name="csX4" fmla="*/ 911839 w 1315852"/>
              <a:gd name="csY4" fmla="*/ 1783999 h 3212801"/>
              <a:gd name="csX5" fmla="*/ 919775 w 1315852"/>
              <a:gd name="csY5" fmla="*/ 1846044 h 3212801"/>
              <a:gd name="csX6" fmla="*/ 928724 w 1315852"/>
              <a:gd name="csY6" fmla="*/ 1912212 h 3212801"/>
              <a:gd name="csX7" fmla="*/ 943556 w 1315852"/>
              <a:gd name="csY7" fmla="*/ 1998602 h 3212801"/>
              <a:gd name="csX8" fmla="*/ 967918 w 1315852"/>
              <a:gd name="csY8" fmla="*/ 2121455 h 3212801"/>
              <a:gd name="csX9" fmla="*/ 988236 w 1315852"/>
              <a:gd name="csY9" fmla="*/ 2216813 h 3212801"/>
              <a:gd name="csX10" fmla="*/ 1028961 w 1315852"/>
              <a:gd name="csY10" fmla="*/ 2386212 h 3212801"/>
              <a:gd name="csX11" fmla="*/ 1055369 w 1315852"/>
              <a:gd name="csY11" fmla="*/ 2485963 h 3212801"/>
              <a:gd name="csX12" fmla="*/ 1069125 w 1315852"/>
              <a:gd name="csY12" fmla="*/ 2501571 h 3212801"/>
              <a:gd name="csX13" fmla="*/ 1104775 w 1315852"/>
              <a:gd name="csY13" fmla="*/ 2517672 h 3212801"/>
              <a:gd name="csX14" fmla="*/ 1117910 w 1315852"/>
              <a:gd name="csY14" fmla="*/ 2527831 h 3212801"/>
              <a:gd name="csX15" fmla="*/ 1122737 w 1315852"/>
              <a:gd name="csY15" fmla="*/ 2552282 h 3212801"/>
              <a:gd name="csX16" fmla="*/ 1114779 w 1315852"/>
              <a:gd name="csY16" fmla="*/ 2570125 h 3212801"/>
              <a:gd name="csX17" fmla="*/ 1114207 w 1315852"/>
              <a:gd name="csY17" fmla="*/ 2618225 h 3212801"/>
              <a:gd name="csX18" fmla="*/ 1148150 w 1315852"/>
              <a:gd name="csY18" fmla="*/ 2663984 h 3212801"/>
              <a:gd name="csX19" fmla="*/ 1206600 w 1315852"/>
              <a:gd name="csY19" fmla="*/ 2720256 h 3212801"/>
              <a:gd name="csX20" fmla="*/ 1275524 w 1315852"/>
              <a:gd name="csY20" fmla="*/ 2850317 h 3212801"/>
              <a:gd name="csX21" fmla="*/ 1277353 w 1315852"/>
              <a:gd name="csY21" fmla="*/ 2897326 h 3212801"/>
              <a:gd name="csX22" fmla="*/ 1271355 w 1315852"/>
              <a:gd name="csY22" fmla="*/ 2935725 h 3212801"/>
              <a:gd name="csX23" fmla="*/ 1274691 w 1315852"/>
              <a:gd name="csY23" fmla="*/ 2954335 h 3212801"/>
              <a:gd name="csX24" fmla="*/ 1301797 w 1315852"/>
              <a:gd name="csY24" fmla="*/ 3028744 h 3212801"/>
              <a:gd name="csX25" fmla="*/ 1311943 w 1315852"/>
              <a:gd name="csY25" fmla="*/ 3082025 h 3212801"/>
              <a:gd name="csX26" fmla="*/ 1315801 w 1315852"/>
              <a:gd name="csY26" fmla="*/ 3133440 h 3212801"/>
              <a:gd name="csX27" fmla="*/ 1307182 w 1315852"/>
              <a:gd name="csY27" fmla="*/ 3146201 h 3212801"/>
              <a:gd name="csX28" fmla="*/ 1280933 w 1315852"/>
              <a:gd name="csY28" fmla="*/ 3155733 h 3212801"/>
              <a:gd name="csX29" fmla="*/ 1169576 w 1315852"/>
              <a:gd name="csY29" fmla="*/ 3181105 h 3212801"/>
              <a:gd name="csX30" fmla="*/ 1098129 w 1315852"/>
              <a:gd name="csY30" fmla="*/ 3192005 h 3212801"/>
              <a:gd name="csX31" fmla="*/ 1025959 w 1315852"/>
              <a:gd name="csY31" fmla="*/ 3198069 h 3212801"/>
              <a:gd name="csX32" fmla="*/ 969161 w 1315852"/>
              <a:gd name="csY32" fmla="*/ 3203391 h 3212801"/>
              <a:gd name="csX33" fmla="*/ 966367 w 1315852"/>
              <a:gd name="csY33" fmla="*/ 3203587 h 3212801"/>
              <a:gd name="csX34" fmla="*/ 890991 w 1315852"/>
              <a:gd name="csY34" fmla="*/ 3206415 h 3212801"/>
              <a:gd name="csX35" fmla="*/ 786197 w 1315852"/>
              <a:gd name="csY35" fmla="*/ 3209641 h 3212801"/>
              <a:gd name="csX36" fmla="*/ 618254 w 1315852"/>
              <a:gd name="csY36" fmla="*/ 3211234 h 3212801"/>
              <a:gd name="csX37" fmla="*/ 506392 w 1315852"/>
              <a:gd name="csY37" fmla="*/ 3209195 h 3212801"/>
              <a:gd name="csX38" fmla="*/ 443638 w 1315852"/>
              <a:gd name="csY38" fmla="*/ 3206415 h 3212801"/>
              <a:gd name="csX39" fmla="*/ 389301 w 1315852"/>
              <a:gd name="csY39" fmla="*/ 3203597 h 3212801"/>
              <a:gd name="csX40" fmla="*/ 305884 w 1315852"/>
              <a:gd name="csY40" fmla="*/ 3197747 h 3212801"/>
              <a:gd name="csX41" fmla="*/ 216151 w 1315852"/>
              <a:gd name="csY41" fmla="*/ 3186940 h 3212801"/>
              <a:gd name="csX42" fmla="*/ 141593 w 1315852"/>
              <a:gd name="csY42" fmla="*/ 3177824 h 3212801"/>
              <a:gd name="csX43" fmla="*/ 44929 w 1315852"/>
              <a:gd name="csY43" fmla="*/ 3157176 h 3212801"/>
              <a:gd name="csX44" fmla="*/ 10154 w 1315852"/>
              <a:gd name="csY44" fmla="*/ 3146750 h 3212801"/>
              <a:gd name="csX45" fmla="*/ 112 w 1315852"/>
              <a:gd name="csY45" fmla="*/ 3132149 h 3212801"/>
              <a:gd name="csX46" fmla="*/ 5263 w 1315852"/>
              <a:gd name="csY46" fmla="*/ 3080960 h 3212801"/>
              <a:gd name="csX47" fmla="*/ 13758 w 1315852"/>
              <a:gd name="csY47" fmla="*/ 3031612 h 3212801"/>
              <a:gd name="csX48" fmla="*/ 40996 w 1315852"/>
              <a:gd name="csY48" fmla="*/ 2960204 h 3212801"/>
              <a:gd name="csX49" fmla="*/ 43510 w 1315852"/>
              <a:gd name="csY49" fmla="*/ 2944616 h 3212801"/>
              <a:gd name="csX50" fmla="*/ 36916 w 1315852"/>
              <a:gd name="csY50" fmla="*/ 2875457 h 3212801"/>
              <a:gd name="csX51" fmla="*/ 46646 w 1315852"/>
              <a:gd name="csY51" fmla="*/ 2827778 h 3212801"/>
              <a:gd name="csX52" fmla="*/ 108895 w 1315852"/>
              <a:gd name="csY52" fmla="*/ 2723307 h 3212801"/>
              <a:gd name="csX53" fmla="*/ 188375 w 1315852"/>
              <a:gd name="csY53" fmla="*/ 2646399 h 3212801"/>
              <a:gd name="csX54" fmla="*/ 211535 w 1315852"/>
              <a:gd name="csY54" fmla="*/ 2605867 h 3212801"/>
              <a:gd name="csX55" fmla="*/ 205182 w 1315852"/>
              <a:gd name="csY55" fmla="*/ 2571418 h 3212801"/>
              <a:gd name="csX56" fmla="*/ 196651 w 1315852"/>
              <a:gd name="csY56" fmla="*/ 2557085 h 3212801"/>
              <a:gd name="csX57" fmla="*/ 209021 w 1315852"/>
              <a:gd name="csY57" fmla="*/ 2521560 h 3212801"/>
              <a:gd name="csX58" fmla="*/ 245764 w 1315852"/>
              <a:gd name="csY58" fmla="*/ 2504395 h 3212801"/>
              <a:gd name="csX59" fmla="*/ 263769 w 1315852"/>
              <a:gd name="csY59" fmla="*/ 2485128 h 3212801"/>
              <a:gd name="csX60" fmla="*/ 300045 w 1315852"/>
              <a:gd name="csY60" fmla="*/ 2354726 h 3212801"/>
              <a:gd name="csX61" fmla="*/ 326003 w 1315852"/>
              <a:gd name="csY61" fmla="*/ 2249117 h 3212801"/>
              <a:gd name="csX62" fmla="*/ 359250 w 1315852"/>
              <a:gd name="csY62" fmla="*/ 2092493 h 3212801"/>
              <a:gd name="csX63" fmla="*/ 378011 w 1315852"/>
              <a:gd name="csY63" fmla="*/ 1995496 h 3212801"/>
              <a:gd name="csX64" fmla="*/ 390230 w 1315852"/>
              <a:gd name="csY64" fmla="*/ 1915745 h 3212801"/>
              <a:gd name="csX65" fmla="*/ 400702 w 1315852"/>
              <a:gd name="csY65" fmla="*/ 1851249 h 3212801"/>
              <a:gd name="csX66" fmla="*/ 406954 w 1315852"/>
              <a:gd name="csY66" fmla="*/ 1788916 h 3212801"/>
              <a:gd name="csX67" fmla="*/ 412016 w 1315852"/>
              <a:gd name="csY67" fmla="*/ 1747526 h 3212801"/>
              <a:gd name="csX68" fmla="*/ 415185 w 1315852"/>
              <a:gd name="csY68" fmla="*/ 1712850 h 3212801"/>
              <a:gd name="csX69" fmla="*/ 418197 w 1315852"/>
              <a:gd name="csY69" fmla="*/ 1651507 h 3212801"/>
              <a:gd name="csX70" fmla="*/ 423324 w 1315852"/>
              <a:gd name="csY70" fmla="*/ 1583479 h 3212801"/>
              <a:gd name="csX71" fmla="*/ 426059 w 1315852"/>
              <a:gd name="csY71" fmla="*/ 1477299 h 3212801"/>
              <a:gd name="csX72" fmla="*/ 424204 w 1315852"/>
              <a:gd name="csY72" fmla="*/ 1473415 h 3212801"/>
              <a:gd name="csX73" fmla="*/ 390769 w 1315852"/>
              <a:gd name="csY73" fmla="*/ 1470003 h 3212801"/>
              <a:gd name="csX74" fmla="*/ 327487 w 1315852"/>
              <a:gd name="csY74" fmla="*/ 1460760 h 3212801"/>
              <a:gd name="csX75" fmla="*/ 289037 w 1315852"/>
              <a:gd name="csY75" fmla="*/ 1410705 h 3212801"/>
              <a:gd name="csX76" fmla="*/ 292610 w 1315852"/>
              <a:gd name="csY76" fmla="*/ 1374826 h 3212801"/>
              <a:gd name="csX77" fmla="*/ 335365 w 1315852"/>
              <a:gd name="csY77" fmla="*/ 1319956 h 3212801"/>
              <a:gd name="csX78" fmla="*/ 358966 w 1315852"/>
              <a:gd name="csY78" fmla="*/ 1286091 h 3212801"/>
              <a:gd name="csX79" fmla="*/ 390267 w 1315852"/>
              <a:gd name="csY79" fmla="*/ 1239202 h 3212801"/>
              <a:gd name="csX80" fmla="*/ 435898 w 1315852"/>
              <a:gd name="csY80" fmla="*/ 1202610 h 3212801"/>
              <a:gd name="csX81" fmla="*/ 443089 w 1315852"/>
              <a:gd name="csY81" fmla="*/ 1186662 h 3212801"/>
              <a:gd name="csX82" fmla="*/ 443336 w 1315852"/>
              <a:gd name="csY82" fmla="*/ 1174100 h 3212801"/>
              <a:gd name="csX83" fmla="*/ 432713 w 1315852"/>
              <a:gd name="csY83" fmla="*/ 1161284 h 3212801"/>
              <a:gd name="csX84" fmla="*/ 406712 w 1315852"/>
              <a:gd name="csY84" fmla="*/ 1151413 h 3212801"/>
              <a:gd name="csX85" fmla="*/ 399212 w 1315852"/>
              <a:gd name="csY85" fmla="*/ 1135845 h 3212801"/>
              <a:gd name="csX86" fmla="*/ 409719 w 1315852"/>
              <a:gd name="csY86" fmla="*/ 1113213 h 3212801"/>
              <a:gd name="csX87" fmla="*/ 414650 w 1315852"/>
              <a:gd name="csY87" fmla="*/ 1091062 h 3212801"/>
              <a:gd name="csX88" fmla="*/ 402048 w 1315852"/>
              <a:gd name="csY88" fmla="*/ 1042520 h 3212801"/>
              <a:gd name="csX89" fmla="*/ 366526 w 1315852"/>
              <a:gd name="csY89" fmla="*/ 932054 h 3212801"/>
              <a:gd name="csX90" fmla="*/ 304855 w 1315852"/>
              <a:gd name="csY90" fmla="*/ 733506 h 3212801"/>
              <a:gd name="csX91" fmla="*/ 273722 w 1315852"/>
              <a:gd name="csY91" fmla="*/ 639312 h 3212801"/>
              <a:gd name="csX92" fmla="*/ 242525 w 1315852"/>
              <a:gd name="csY92" fmla="*/ 527843 h 3212801"/>
              <a:gd name="csX93" fmla="*/ 245838 w 1315852"/>
              <a:gd name="csY93" fmla="*/ 485521 h 3212801"/>
              <a:gd name="csX94" fmla="*/ 258319 w 1315852"/>
              <a:gd name="csY94" fmla="*/ 473233 h 3212801"/>
              <a:gd name="csX95" fmla="*/ 291527 w 1315852"/>
              <a:gd name="csY95" fmla="*/ 463336 h 3212801"/>
              <a:gd name="csX96" fmla="*/ 373160 w 1315852"/>
              <a:gd name="csY96" fmla="*/ 454842 h 3212801"/>
              <a:gd name="csX97" fmla="*/ 427480 w 1315852"/>
              <a:gd name="csY97" fmla="*/ 451758 h 3212801"/>
              <a:gd name="csX98" fmla="*/ 477998 w 1315852"/>
              <a:gd name="csY98" fmla="*/ 447870 h 3212801"/>
              <a:gd name="csX99" fmla="*/ 479585 w 1315852"/>
              <a:gd name="csY99" fmla="*/ 442932 h 3212801"/>
              <a:gd name="csX100" fmla="*/ 488907 w 1315852"/>
              <a:gd name="csY100" fmla="*/ 421401 h 3212801"/>
              <a:gd name="csX101" fmla="*/ 492315 w 1315852"/>
              <a:gd name="csY101" fmla="*/ 409196 h 3212801"/>
              <a:gd name="csX102" fmla="*/ 498582 w 1315852"/>
              <a:gd name="csY102" fmla="*/ 396231 h 3212801"/>
              <a:gd name="csX103" fmla="*/ 531424 w 1315852"/>
              <a:gd name="csY103" fmla="*/ 365066 h 3212801"/>
              <a:gd name="csX104" fmla="*/ 567201 w 1315852"/>
              <a:gd name="csY104" fmla="*/ 305069 h 3212801"/>
              <a:gd name="csX105" fmla="*/ 580157 w 1315852"/>
              <a:gd name="csY105" fmla="*/ 281885 h 3212801"/>
              <a:gd name="csX106" fmla="*/ 575177 w 1315852"/>
              <a:gd name="csY106" fmla="*/ 258759 h 3212801"/>
              <a:gd name="csX107" fmla="*/ 472048 w 1315852"/>
              <a:gd name="csY107" fmla="*/ 283266 h 3212801"/>
              <a:gd name="csX108" fmla="*/ 473659 w 1315852"/>
              <a:gd name="csY108" fmla="*/ 112243 h 3212801"/>
              <a:gd name="csX109" fmla="*/ 487139 w 1315852"/>
              <a:gd name="csY109" fmla="*/ 114763 h 3212801"/>
              <a:gd name="csX110" fmla="*/ 569608 w 1315852"/>
              <a:gd name="csY110" fmla="*/ 140735 h 3212801"/>
              <a:gd name="csX111" fmla="*/ 585180 w 1315852"/>
              <a:gd name="csY111" fmla="*/ 124742 h 3212801"/>
              <a:gd name="csX112" fmla="*/ 563868 w 1315852"/>
              <a:gd name="csY112" fmla="*/ 70080 h 3212801"/>
              <a:gd name="csX113" fmla="*/ 546041 w 1315852"/>
              <a:gd name="csY113" fmla="*/ 26021 h 3212801"/>
              <a:gd name="csX114" fmla="*/ 568462 w 1315852"/>
              <a:gd name="csY114" fmla="*/ 18986 h 3212801"/>
              <a:gd name="csX115" fmla="*/ 637623 w 1315852"/>
              <a:gd name="csY115" fmla="*/ 2731 h 3212801"/>
              <a:gd name="csX116" fmla="*/ 692817 w 1315852"/>
              <a:gd name="csY116" fmla="*/ 4346 h 3212801"/>
              <a:gd name="csX117" fmla="*/ 759126 w 1315852"/>
              <a:gd name="csY117" fmla="*/ 20739 h 3212801"/>
              <a:gd name="csX118" fmla="*/ 774460 w 1315852"/>
              <a:gd name="csY118" fmla="*/ 24289 h 3212801"/>
              <a:gd name="csX119" fmla="*/ 751608 w 1315852"/>
              <a:gd name="csY119" fmla="*/ 81205 h 3212801"/>
              <a:gd name="csX120" fmla="*/ 731002 w 1315852"/>
              <a:gd name="csY120" fmla="*/ 141135 h 3212801"/>
              <a:gd name="csX121" fmla="*/ 749917 w 1315852"/>
              <a:gd name="csY121" fmla="*/ 137732 h 3212801"/>
              <a:gd name="csX122" fmla="*/ 836197 w 1315852"/>
              <a:gd name="csY122" fmla="*/ 114792 h 3212801"/>
              <a:gd name="csX123" fmla="*/ 843209 w 1315852"/>
              <a:gd name="csY123" fmla="*/ 113433 h 3212801"/>
              <a:gd name="csX124" fmla="*/ 844400 w 1315852"/>
              <a:gd name="csY124" fmla="*/ 119435 h 3212801"/>
              <a:gd name="csX125" fmla="*/ 847390 w 1315852"/>
              <a:gd name="csY125" fmla="*/ 232672 h 3212801"/>
              <a:gd name="csX126" fmla="*/ 850015 w 1315852"/>
              <a:gd name="csY126" fmla="*/ 261773 h 3212801"/>
              <a:gd name="csX127" fmla="*/ 850085 w 1315852"/>
              <a:gd name="csY127" fmla="*/ 280220 h 3212801"/>
              <a:gd name="csX128" fmla="*/ 815285 w 1315852"/>
              <a:gd name="csY128" fmla="*/ 272127 h 3212801"/>
              <a:gd name="csX129" fmla="*/ 757181 w 1315852"/>
              <a:gd name="csY129" fmla="*/ 257455 h 3212801"/>
              <a:gd name="csX130" fmla="*/ 732939 w 1315852"/>
              <a:gd name="csY130" fmla="*/ 263859 h 3212801"/>
              <a:gd name="csX131" fmla="*/ 739871 w 1315852"/>
              <a:gd name="csY131" fmla="*/ 279988 h 3212801"/>
              <a:gd name="csX132" fmla="*/ 725900 w 1315852"/>
              <a:gd name="csY132" fmla="*/ 292074 h 3212801"/>
              <a:gd name="csX133" fmla="*/ 747132 w 1315852"/>
              <a:gd name="csY133" fmla="*/ 298017 h 3212801"/>
              <a:gd name="csX134" fmla="*/ 768268 w 1315852"/>
              <a:gd name="csY134" fmla="*/ 327815 h 3212801"/>
              <a:gd name="csX135" fmla="*/ 785901 w 1315852"/>
              <a:gd name="csY135" fmla="*/ 362862 h 3212801"/>
              <a:gd name="csX136" fmla="*/ 798627 w 1315852"/>
              <a:gd name="csY136" fmla="*/ 374591 h 3212801"/>
              <a:gd name="csX137" fmla="*/ 815580 w 1315852"/>
              <a:gd name="csY137" fmla="*/ 387899 h 3212801"/>
              <a:gd name="csX138" fmla="*/ 813282 w 1315852"/>
              <a:gd name="csY138" fmla="*/ 390947 h 3212801"/>
              <a:gd name="csX139" fmla="*/ 776501 w 1315852"/>
              <a:gd name="csY139" fmla="*/ 393213 h 3212801"/>
              <a:gd name="csX140" fmla="*/ 702336 w 1315852"/>
              <a:gd name="csY140" fmla="*/ 381496 h 3212801"/>
              <a:gd name="csX141" fmla="*/ 662021 w 1315852"/>
              <a:gd name="csY141" fmla="*/ 378921 h 3212801"/>
              <a:gd name="csX142" fmla="*/ 651111 w 1315852"/>
              <a:gd name="csY142" fmla="*/ 386942 h 3212801"/>
              <a:gd name="csX143" fmla="*/ 648295 w 1315852"/>
              <a:gd name="csY143" fmla="*/ 437069 h 3212801"/>
              <a:gd name="csX144" fmla="*/ 659561 w 1315852"/>
              <a:gd name="csY144" fmla="*/ 448907 h 3212801"/>
              <a:gd name="csX145" fmla="*/ 799805 w 1315852"/>
              <a:gd name="csY145" fmla="*/ 449022 h 3212801"/>
              <a:gd name="csX146" fmla="*/ 811083 w 1315852"/>
              <a:gd name="csY146" fmla="*/ 439581 h 3212801"/>
              <a:gd name="csX147" fmla="*/ 817945 w 1315852"/>
              <a:gd name="csY147" fmla="*/ 425008 h 3212801"/>
              <a:gd name="csX148" fmla="*/ 828609 w 1315852"/>
              <a:gd name="csY148" fmla="*/ 403122 h 3212801"/>
              <a:gd name="csX149" fmla="*/ 838374 w 1315852"/>
              <a:gd name="csY149" fmla="*/ 406435 h 3212801"/>
              <a:gd name="csX150" fmla="*/ 844275 w 1315852"/>
              <a:gd name="csY150" fmla="*/ 430561 h 3212801"/>
              <a:gd name="csX151" fmla="*/ 865761 w 1315852"/>
              <a:gd name="csY151" fmla="*/ 447068 h 3212801"/>
              <a:gd name="csX152" fmla="*/ 885673 w 1315852"/>
              <a:gd name="csY152" fmla="*/ 449965 h 3212801"/>
              <a:gd name="csX153" fmla="*/ 904428 w 1315852"/>
              <a:gd name="csY153" fmla="*/ 454230 h 3212801"/>
              <a:gd name="csX154" fmla="*/ 930689 w 1315852"/>
              <a:gd name="csY154" fmla="*/ 457318 h 3212801"/>
              <a:gd name="csX155" fmla="*/ 1036296 w 1315852"/>
              <a:gd name="csY155" fmla="*/ 485877 h 3212801"/>
              <a:gd name="csX156" fmla="*/ 1076027 w 1315852"/>
              <a:gd name="csY156" fmla="*/ 535212 h 3212801"/>
              <a:gd name="csX157" fmla="*/ 1075403 w 1315852"/>
              <a:gd name="csY157" fmla="*/ 578208 h 3212801"/>
              <a:gd name="csX158" fmla="*/ 1028317 w 1315852"/>
              <a:gd name="csY158" fmla="*/ 728867 h 3212801"/>
              <a:gd name="csX159" fmla="*/ 983498 w 1315852"/>
              <a:gd name="csY159" fmla="*/ 858331 h 3212801"/>
              <a:gd name="csX160" fmla="*/ 948940 w 1315852"/>
              <a:gd name="csY160" fmla="*/ 961698 h 3212801"/>
              <a:gd name="csX161" fmla="*/ 911066 w 1315852"/>
              <a:gd name="csY161" fmla="*/ 1087385 h 3212801"/>
              <a:gd name="csX162" fmla="*/ 910828 w 1315852"/>
              <a:gd name="csY162" fmla="*/ 1098086 h 3212801"/>
              <a:gd name="csX163" fmla="*/ 911498 w 1315852"/>
              <a:gd name="csY163" fmla="*/ 1130209 h 3212801"/>
              <a:gd name="csX164" fmla="*/ 905716 w 1315852"/>
              <a:gd name="csY164" fmla="*/ 1140786 h 3212801"/>
              <a:gd name="csX165" fmla="*/ 904041 w 1315852"/>
              <a:gd name="csY165" fmla="*/ 1171694 h 3212801"/>
              <a:gd name="csX166" fmla="*/ 929797 w 1315852"/>
              <a:gd name="csY166" fmla="*/ 1202854 h 3212801"/>
              <a:gd name="csX167" fmla="*/ 956714 w 1315852"/>
              <a:gd name="csY167" fmla="*/ 1270749 h 3212801"/>
              <a:gd name="csX168" fmla="*/ 960074 w 1315852"/>
              <a:gd name="csY168" fmla="*/ 1289888 h 3212801"/>
              <a:gd name="csX169" fmla="*/ 975795 w 1315852"/>
              <a:gd name="csY169" fmla="*/ 1308746 h 3212801"/>
              <a:gd name="csX170" fmla="*/ 1002397 w 1315852"/>
              <a:gd name="csY170" fmla="*/ 1326635 h 3212801"/>
              <a:gd name="csX171" fmla="*/ 1018686 w 1315852"/>
              <a:gd name="csY171" fmla="*/ 1435905 h 3212801"/>
              <a:gd name="csX172" fmla="*/ 996257 w 1315852"/>
              <a:gd name="csY172" fmla="*/ 1454107 h 3212801"/>
              <a:gd name="csX173" fmla="*/ 970849 w 1315852"/>
              <a:gd name="csY173" fmla="*/ 1461303 h 3212801"/>
              <a:gd name="csX174" fmla="*/ 917943 w 1315852"/>
              <a:gd name="csY174" fmla="*/ 1464461 h 3212801"/>
              <a:gd name="csX175" fmla="*/ 905433 w 1315852"/>
              <a:gd name="csY175" fmla="*/ 1465358 h 3212801"/>
              <a:gd name="csX176" fmla="*/ 897863 w 1315852"/>
              <a:gd name="csY176" fmla="*/ 1474014 h 3212801"/>
              <a:gd name="csX177" fmla="*/ 897812 w 1315852"/>
              <a:gd name="csY177" fmla="*/ 1475415 h 3212801"/>
              <a:gd name="csX178" fmla="*/ 895549 w 1315852"/>
              <a:gd name="csY178" fmla="*/ 1519988 h 3212801"/>
              <a:gd name="csX179" fmla="*/ 895093 w 1315852"/>
              <a:gd name="csY179" fmla="*/ 1566174 h 3212801"/>
              <a:gd name="csX180" fmla="*/ 898754 w 1315852"/>
              <a:gd name="csY180" fmla="*/ 1637125 h 3212801"/>
              <a:gd name="csX181" fmla="*/ 654604 w 1315852"/>
              <a:gd name="csY181" fmla="*/ 2329281 h 3212801"/>
              <a:gd name="csX182" fmla="*/ 650429 w 1315852"/>
              <a:gd name="csY182" fmla="*/ 2271391 h 3212801"/>
              <a:gd name="csX183" fmla="*/ 648148 w 1315852"/>
              <a:gd name="csY183" fmla="*/ 2289942 h 3212801"/>
              <a:gd name="csX184" fmla="*/ 648156 w 1315852"/>
              <a:gd name="csY184" fmla="*/ 2367948 h 3212801"/>
              <a:gd name="csX185" fmla="*/ 655577 w 1315852"/>
              <a:gd name="csY185" fmla="*/ 2381454 h 3212801"/>
              <a:gd name="csX186" fmla="*/ 655485 w 1315852"/>
              <a:gd name="csY186" fmla="*/ 2404945 h 3212801"/>
              <a:gd name="csX187" fmla="*/ 651805 w 1315852"/>
              <a:gd name="csY187" fmla="*/ 2455510 h 3212801"/>
              <a:gd name="csX188" fmla="*/ 650902 w 1315852"/>
              <a:gd name="csY188" fmla="*/ 2395333 h 3212801"/>
              <a:gd name="csX189" fmla="*/ 649248 w 1315852"/>
              <a:gd name="csY189" fmla="*/ 2386025 h 3212801"/>
              <a:gd name="csX190" fmla="*/ 645333 w 1315852"/>
              <a:gd name="csY190" fmla="*/ 2386512 h 3212801"/>
              <a:gd name="csX191" fmla="*/ 645333 w 1315852"/>
              <a:gd name="csY191" fmla="*/ 2399858 h 3212801"/>
              <a:gd name="csX192" fmla="*/ 645232 w 1315852"/>
              <a:gd name="csY192" fmla="*/ 2471367 h 3212801"/>
              <a:gd name="csX193" fmla="*/ 643489 w 1315852"/>
              <a:gd name="csY193" fmla="*/ 2486535 h 3212801"/>
              <a:gd name="csX194" fmla="*/ 662548 w 1315852"/>
              <a:gd name="csY194" fmla="*/ 2510760 h 3212801"/>
              <a:gd name="csX195" fmla="*/ 942625 w 1315852"/>
              <a:gd name="csY195" fmla="*/ 2507990 h 3212801"/>
              <a:gd name="csX196" fmla="*/ 997309 w 1315852"/>
              <a:gd name="csY196" fmla="*/ 2507928 h 3212801"/>
              <a:gd name="csX197" fmla="*/ 1012693 w 1315852"/>
              <a:gd name="csY197" fmla="*/ 2507237 h 3212801"/>
              <a:gd name="csX198" fmla="*/ 1010948 w 1315852"/>
              <a:gd name="csY198" fmla="*/ 2493054 h 3212801"/>
              <a:gd name="csX199" fmla="*/ 982017 w 1315852"/>
              <a:gd name="csY199" fmla="*/ 2386719 h 3212801"/>
              <a:gd name="csX200" fmla="*/ 955543 w 1315852"/>
              <a:gd name="csY200" fmla="*/ 2275604 h 3212801"/>
              <a:gd name="csX201" fmla="*/ 922638 w 1315852"/>
              <a:gd name="csY201" fmla="*/ 2125997 h 3212801"/>
              <a:gd name="csX202" fmla="*/ 897474 w 1315852"/>
              <a:gd name="csY202" fmla="*/ 1994858 h 3212801"/>
              <a:gd name="csX203" fmla="*/ 878061 w 1315852"/>
              <a:gd name="csY203" fmla="*/ 1878280 h 3212801"/>
              <a:gd name="csX204" fmla="*/ 866965 w 1315852"/>
              <a:gd name="csY204" fmla="*/ 1791411 h 3212801"/>
              <a:gd name="csX205" fmla="*/ 863902 w 1315852"/>
              <a:gd name="csY205" fmla="*/ 1755335 h 3212801"/>
              <a:gd name="csX206" fmla="*/ 855983 w 1315852"/>
              <a:gd name="csY206" fmla="*/ 1677866 h 3212801"/>
              <a:gd name="csX207" fmla="*/ 852873 w 1315852"/>
              <a:gd name="csY207" fmla="*/ 1578685 h 3212801"/>
              <a:gd name="csX208" fmla="*/ 851635 w 1315852"/>
              <a:gd name="csY208" fmla="*/ 1535546 h 3212801"/>
              <a:gd name="csX209" fmla="*/ 850039 w 1315852"/>
              <a:gd name="csY209" fmla="*/ 1484182 h 3212801"/>
              <a:gd name="csX210" fmla="*/ 848486 w 1315852"/>
              <a:gd name="csY210" fmla="*/ 1472876 h 3212801"/>
              <a:gd name="csX211" fmla="*/ 832070 w 1315852"/>
              <a:gd name="csY211" fmla="*/ 1472888 h 3212801"/>
              <a:gd name="csX212" fmla="*/ 676784 w 1315852"/>
              <a:gd name="csY212" fmla="*/ 1475691 h 3212801"/>
              <a:gd name="csX213" fmla="*/ 662172 w 1315852"/>
              <a:gd name="csY213" fmla="*/ 1490031 h 3212801"/>
              <a:gd name="csX214" fmla="*/ 662153 w 1315852"/>
              <a:gd name="csY214" fmla="*/ 1497041 h 3212801"/>
              <a:gd name="csX215" fmla="*/ 659832 w 1315852"/>
              <a:gd name="csY215" fmla="*/ 1642548 h 3212801"/>
              <a:gd name="csX216" fmla="*/ 656544 w 1315852"/>
              <a:gd name="csY216" fmla="*/ 1761338 h 3212801"/>
              <a:gd name="csX217" fmla="*/ 654344 w 1315852"/>
              <a:gd name="csY217" fmla="*/ 1943296 h 3212801"/>
              <a:gd name="csX218" fmla="*/ 651002 w 1315852"/>
              <a:gd name="csY218" fmla="*/ 2137811 h 3212801"/>
              <a:gd name="csX219" fmla="*/ 650933 w 1315852"/>
              <a:gd name="csY219" fmla="*/ 2240168 h 3212801"/>
              <a:gd name="csX220" fmla="*/ 651273 w 1315852"/>
              <a:gd name="csY220" fmla="*/ 2249880 h 3212801"/>
              <a:gd name="csX221" fmla="*/ 658332 w 1315852"/>
              <a:gd name="csY221" fmla="*/ 2258024 h 3212801"/>
              <a:gd name="csX222" fmla="*/ 654604 w 1315852"/>
              <a:gd name="csY222" fmla="*/ 2329281 h 3212801"/>
              <a:gd name="csX223" fmla="*/ 999154 w 1315852"/>
              <a:gd name="csY223" fmla="*/ 2930680 h 3212801"/>
              <a:gd name="csX224" fmla="*/ 1224400 w 1315852"/>
              <a:gd name="csY224" fmla="*/ 2904672 h 3212801"/>
              <a:gd name="csX225" fmla="*/ 1225778 w 1315852"/>
              <a:gd name="csY225" fmla="*/ 2893948 h 3212801"/>
              <a:gd name="csX226" fmla="*/ 1197990 w 1315852"/>
              <a:gd name="csY226" fmla="*/ 2788499 h 3212801"/>
              <a:gd name="csX227" fmla="*/ 1156721 w 1315852"/>
              <a:gd name="csY227" fmla="*/ 2737429 h 3212801"/>
              <a:gd name="csX228" fmla="*/ 1096512 w 1315852"/>
              <a:gd name="csY228" fmla="*/ 2674794 h 3212801"/>
              <a:gd name="csX229" fmla="*/ 1056842 w 1315852"/>
              <a:gd name="csY229" fmla="*/ 2584575 h 3212801"/>
              <a:gd name="csX230" fmla="*/ 1055233 w 1315852"/>
              <a:gd name="csY230" fmla="*/ 2579758 h 3212801"/>
              <a:gd name="csX231" fmla="*/ 1017950 w 1315852"/>
              <a:gd name="csY231" fmla="*/ 2581956 h 3212801"/>
              <a:gd name="csX232" fmla="*/ 785764 w 1315852"/>
              <a:gd name="csY232" fmla="*/ 2595473 h 3212801"/>
              <a:gd name="csX233" fmla="*/ 665238 w 1315852"/>
              <a:gd name="csY233" fmla="*/ 2597498 h 3212801"/>
              <a:gd name="csX234" fmla="*/ 654332 w 1315852"/>
              <a:gd name="csY234" fmla="*/ 2598673 h 3212801"/>
              <a:gd name="csX235" fmla="*/ 653026 w 1315852"/>
              <a:gd name="csY235" fmla="*/ 2935427 h 3212801"/>
              <a:gd name="csX236" fmla="*/ 999154 w 1315852"/>
              <a:gd name="csY236" fmla="*/ 2930680 h 3212801"/>
              <a:gd name="csX237" fmla="*/ 947894 w 1315852"/>
              <a:gd name="csY237" fmla="*/ 3022480 h 3212801"/>
              <a:gd name="csX238" fmla="*/ 854096 w 1315852"/>
              <a:gd name="csY238" fmla="*/ 3026952 h 3212801"/>
              <a:gd name="csX239" fmla="*/ 676076 w 1315852"/>
              <a:gd name="csY239" fmla="*/ 3027217 h 3212801"/>
              <a:gd name="csX240" fmla="*/ 657155 w 1315852"/>
              <a:gd name="csY240" fmla="*/ 3027217 h 3212801"/>
              <a:gd name="csX241" fmla="*/ 650929 w 1315852"/>
              <a:gd name="csY241" fmla="*/ 3130009 h 3212801"/>
              <a:gd name="csX242" fmla="*/ 662475 w 1315852"/>
              <a:gd name="csY242" fmla="*/ 3131016 h 3212801"/>
              <a:gd name="csX243" fmla="*/ 775955 w 1315852"/>
              <a:gd name="csY243" fmla="*/ 3134982 h 3212801"/>
              <a:gd name="csX244" fmla="*/ 1061598 w 1315852"/>
              <a:gd name="csY244" fmla="*/ 3125377 h 3212801"/>
              <a:gd name="csX245" fmla="*/ 1249397 w 1315852"/>
              <a:gd name="csY245" fmla="*/ 3093967 h 3212801"/>
              <a:gd name="csX246" fmla="*/ 1262842 w 1315852"/>
              <a:gd name="csY246" fmla="*/ 3089764 h 3212801"/>
              <a:gd name="csX247" fmla="*/ 1244253 w 1315852"/>
              <a:gd name="csY247" fmla="*/ 3014005 h 3212801"/>
              <a:gd name="csX248" fmla="*/ 1237768 w 1315852"/>
              <a:gd name="csY248" fmla="*/ 3003206 h 3212801"/>
              <a:gd name="csX249" fmla="*/ 1217957 w 1315852"/>
              <a:gd name="csY249" fmla="*/ 2993424 h 3212801"/>
              <a:gd name="csX250" fmla="*/ 1163725 w 1315852"/>
              <a:gd name="csY250" fmla="*/ 3000119 h 3212801"/>
              <a:gd name="csX251" fmla="*/ 947894 w 1315852"/>
              <a:gd name="csY251" fmla="*/ 3022480 h 3212801"/>
              <a:gd name="csX252" fmla="*/ 784197 w 1315852"/>
              <a:gd name="csY252" fmla="*/ 1352777 h 3212801"/>
              <a:gd name="csX253" fmla="*/ 730991 w 1315852"/>
              <a:gd name="csY253" fmla="*/ 1354793 h 3212801"/>
              <a:gd name="csX254" fmla="*/ 676320 w 1315852"/>
              <a:gd name="csY254" fmla="*/ 1356902 h 3212801"/>
              <a:gd name="csX255" fmla="*/ 671906 w 1315852"/>
              <a:gd name="csY255" fmla="*/ 1418933 h 3212801"/>
              <a:gd name="csX256" fmla="*/ 685797 w 1315852"/>
              <a:gd name="csY256" fmla="*/ 1418917 h 3212801"/>
              <a:gd name="csX257" fmla="*/ 953300 w 1315852"/>
              <a:gd name="csY257" fmla="*/ 1410383 h 3212801"/>
              <a:gd name="csX258" fmla="*/ 968586 w 1315852"/>
              <a:gd name="csY258" fmla="*/ 1408564 h 3212801"/>
              <a:gd name="csX259" fmla="*/ 980375 w 1315852"/>
              <a:gd name="csY259" fmla="*/ 1394590 h 3212801"/>
              <a:gd name="csX260" fmla="*/ 965591 w 1315852"/>
              <a:gd name="csY260" fmla="*/ 1364447 h 3212801"/>
              <a:gd name="csX261" fmla="*/ 910211 w 1315852"/>
              <a:gd name="csY261" fmla="*/ 1348103 h 3212801"/>
              <a:gd name="csX262" fmla="*/ 784197 w 1315852"/>
              <a:gd name="csY262" fmla="*/ 1352777 h 3212801"/>
              <a:gd name="csX263" fmla="*/ 648129 w 1315852"/>
              <a:gd name="csY263" fmla="*/ 615881 h 3212801"/>
              <a:gd name="csX264" fmla="*/ 650869 w 1315852"/>
              <a:gd name="csY264" fmla="*/ 664591 h 3212801"/>
              <a:gd name="csX265" fmla="*/ 653223 w 1315852"/>
              <a:gd name="csY265" fmla="*/ 746994 h 3212801"/>
              <a:gd name="csX266" fmla="*/ 656163 w 1315852"/>
              <a:gd name="csY266" fmla="*/ 830737 h 3212801"/>
              <a:gd name="csX267" fmla="*/ 658740 w 1315852"/>
              <a:gd name="csY267" fmla="*/ 903281 h 3212801"/>
              <a:gd name="csX268" fmla="*/ 662209 w 1315852"/>
              <a:gd name="csY268" fmla="*/ 1019226 h 3212801"/>
              <a:gd name="csX269" fmla="*/ 665088 w 1315852"/>
              <a:gd name="csY269" fmla="*/ 1081942 h 3212801"/>
              <a:gd name="csX270" fmla="*/ 674628 w 1315852"/>
              <a:gd name="csY270" fmla="*/ 1090643 h 3212801"/>
              <a:gd name="csX271" fmla="*/ 762289 w 1315852"/>
              <a:gd name="csY271" fmla="*/ 1085865 h 3212801"/>
              <a:gd name="csX272" fmla="*/ 853046 w 1315852"/>
              <a:gd name="csY272" fmla="*/ 1082948 h 3212801"/>
              <a:gd name="csX273" fmla="*/ 854448 w 1315852"/>
              <a:gd name="csY273" fmla="*/ 1082924 h 3212801"/>
              <a:gd name="csX274" fmla="*/ 866364 w 1315852"/>
              <a:gd name="csY274" fmla="*/ 1074839 h 3212801"/>
              <a:gd name="csX275" fmla="*/ 891726 w 1315852"/>
              <a:gd name="csY275" fmla="*/ 1006797 h 3212801"/>
              <a:gd name="csX276" fmla="*/ 913720 w 1315852"/>
              <a:gd name="csY276" fmla="*/ 939278 h 3212801"/>
              <a:gd name="csX277" fmla="*/ 953952 w 1315852"/>
              <a:gd name="csY277" fmla="*/ 826060 h 3212801"/>
              <a:gd name="csX278" fmla="*/ 988796 w 1315852"/>
              <a:gd name="csY278" fmla="*/ 727233 h 3212801"/>
              <a:gd name="csX279" fmla="*/ 1036110 w 1315852"/>
              <a:gd name="csY279" fmla="*/ 592920 h 3212801"/>
              <a:gd name="csX280" fmla="*/ 1043677 w 1315852"/>
              <a:gd name="csY280" fmla="*/ 542152 h 3212801"/>
              <a:gd name="csX281" fmla="*/ 1030884 w 1315852"/>
              <a:gd name="csY281" fmla="*/ 517222 h 3212801"/>
              <a:gd name="csX282" fmla="*/ 1009162 w 1315852"/>
              <a:gd name="csY282" fmla="*/ 507963 h 3212801"/>
              <a:gd name="csX283" fmla="*/ 931266 w 1315852"/>
              <a:gd name="csY283" fmla="*/ 493552 h 3212801"/>
              <a:gd name="csX284" fmla="*/ 880100 w 1315852"/>
              <a:gd name="csY284" fmla="*/ 488348 h 3212801"/>
              <a:gd name="csX285" fmla="*/ 835610 w 1315852"/>
              <a:gd name="csY285" fmla="*/ 485330 h 3212801"/>
              <a:gd name="csX286" fmla="*/ 755014 w 1315852"/>
              <a:gd name="csY286" fmla="*/ 480162 h 3212801"/>
              <a:gd name="csX287" fmla="*/ 657249 w 1315852"/>
              <a:gd name="csY287" fmla="*/ 482686 h 3212801"/>
              <a:gd name="csX288" fmla="*/ 643184 w 1315852"/>
              <a:gd name="csY288" fmla="*/ 500211 h 3212801"/>
              <a:gd name="csX289" fmla="*/ 645220 w 1315852"/>
              <a:gd name="csY289" fmla="*/ 511112 h 3212801"/>
              <a:gd name="csX290" fmla="*/ 648129 w 1315852"/>
              <a:gd name="csY290" fmla="*/ 615881 h 3212801"/>
              <a:gd name="csX291" fmla="*/ 886495 w 1315852"/>
              <a:gd name="csY291" fmla="*/ 1207714 h 3212801"/>
              <a:gd name="csX292" fmla="*/ 881380 w 1315852"/>
              <a:gd name="csY292" fmla="*/ 1202980 h 3212801"/>
              <a:gd name="csX293" fmla="*/ 866913 w 1315852"/>
              <a:gd name="csY293" fmla="*/ 1175042 h 3212801"/>
              <a:gd name="csX294" fmla="*/ 866482 w 1315852"/>
              <a:gd name="csY294" fmla="*/ 1156869 h 3212801"/>
              <a:gd name="csX295" fmla="*/ 856429 w 1315852"/>
              <a:gd name="csY295" fmla="*/ 1147458 h 3212801"/>
              <a:gd name="csX296" fmla="*/ 790615 w 1315852"/>
              <a:gd name="csY296" fmla="*/ 1147813 h 3212801"/>
              <a:gd name="csX297" fmla="*/ 718484 w 1315852"/>
              <a:gd name="csY297" fmla="*/ 1153058 h 3212801"/>
              <a:gd name="csX298" fmla="*/ 671232 w 1315852"/>
              <a:gd name="csY298" fmla="*/ 1156034 h 3212801"/>
              <a:gd name="csX299" fmla="*/ 664146 w 1315852"/>
              <a:gd name="csY299" fmla="*/ 1168443 h 3212801"/>
              <a:gd name="csX300" fmla="*/ 667611 w 1315852"/>
              <a:gd name="csY300" fmla="*/ 1187354 h 3212801"/>
              <a:gd name="csX301" fmla="*/ 667803 w 1315852"/>
              <a:gd name="csY301" fmla="*/ 1283992 h 3212801"/>
              <a:gd name="csX302" fmla="*/ 683140 w 1315852"/>
              <a:gd name="csY302" fmla="*/ 1298850 h 3212801"/>
              <a:gd name="csX303" fmla="*/ 736011 w 1315852"/>
              <a:gd name="csY303" fmla="*/ 1296220 h 3212801"/>
              <a:gd name="csX304" fmla="*/ 830893 w 1315852"/>
              <a:gd name="csY304" fmla="*/ 1293324 h 3212801"/>
              <a:gd name="csX305" fmla="*/ 833691 w 1315852"/>
              <a:gd name="csY305" fmla="*/ 1293213 h 3212801"/>
              <a:gd name="csX306" fmla="*/ 903014 w 1315852"/>
              <a:gd name="csY306" fmla="*/ 1287831 h 3212801"/>
              <a:gd name="csX307" fmla="*/ 917225 w 1315852"/>
              <a:gd name="csY307" fmla="*/ 1271856 h 3212801"/>
              <a:gd name="csX308" fmla="*/ 886495 w 1315852"/>
              <a:gd name="csY308" fmla="*/ 1207714 h 321280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  <a:cxn ang="0">
                <a:pos x="csX170" y="csY170"/>
              </a:cxn>
              <a:cxn ang="0">
                <a:pos x="csX171" y="csY171"/>
              </a:cxn>
              <a:cxn ang="0">
                <a:pos x="csX172" y="csY172"/>
              </a:cxn>
              <a:cxn ang="0">
                <a:pos x="csX173" y="csY173"/>
              </a:cxn>
              <a:cxn ang="0">
                <a:pos x="csX174" y="csY174"/>
              </a:cxn>
              <a:cxn ang="0">
                <a:pos x="csX175" y="csY175"/>
              </a:cxn>
              <a:cxn ang="0">
                <a:pos x="csX176" y="csY176"/>
              </a:cxn>
              <a:cxn ang="0">
                <a:pos x="csX177" y="csY177"/>
              </a:cxn>
              <a:cxn ang="0">
                <a:pos x="csX178" y="csY178"/>
              </a:cxn>
              <a:cxn ang="0">
                <a:pos x="csX179" y="csY179"/>
              </a:cxn>
              <a:cxn ang="0">
                <a:pos x="csX180" y="csY180"/>
              </a:cxn>
              <a:cxn ang="0">
                <a:pos x="csX181" y="csY181"/>
              </a:cxn>
              <a:cxn ang="0">
                <a:pos x="csX182" y="csY182"/>
              </a:cxn>
              <a:cxn ang="0">
                <a:pos x="csX183" y="csY183"/>
              </a:cxn>
              <a:cxn ang="0">
                <a:pos x="csX184" y="csY184"/>
              </a:cxn>
              <a:cxn ang="0">
                <a:pos x="csX185" y="csY185"/>
              </a:cxn>
              <a:cxn ang="0">
                <a:pos x="csX186" y="csY186"/>
              </a:cxn>
              <a:cxn ang="0">
                <a:pos x="csX187" y="csY187"/>
              </a:cxn>
              <a:cxn ang="0">
                <a:pos x="csX188" y="csY188"/>
              </a:cxn>
              <a:cxn ang="0">
                <a:pos x="csX189" y="csY189"/>
              </a:cxn>
              <a:cxn ang="0">
                <a:pos x="csX190" y="csY190"/>
              </a:cxn>
              <a:cxn ang="0">
                <a:pos x="csX191" y="csY191"/>
              </a:cxn>
              <a:cxn ang="0">
                <a:pos x="csX192" y="csY192"/>
              </a:cxn>
              <a:cxn ang="0">
                <a:pos x="csX193" y="csY193"/>
              </a:cxn>
              <a:cxn ang="0">
                <a:pos x="csX194" y="csY194"/>
              </a:cxn>
              <a:cxn ang="0">
                <a:pos x="csX195" y="csY195"/>
              </a:cxn>
              <a:cxn ang="0">
                <a:pos x="csX196" y="csY196"/>
              </a:cxn>
              <a:cxn ang="0">
                <a:pos x="csX197" y="csY197"/>
              </a:cxn>
              <a:cxn ang="0">
                <a:pos x="csX198" y="csY198"/>
              </a:cxn>
              <a:cxn ang="0">
                <a:pos x="csX199" y="csY199"/>
              </a:cxn>
              <a:cxn ang="0">
                <a:pos x="csX200" y="csY200"/>
              </a:cxn>
              <a:cxn ang="0">
                <a:pos x="csX201" y="csY201"/>
              </a:cxn>
              <a:cxn ang="0">
                <a:pos x="csX202" y="csY202"/>
              </a:cxn>
              <a:cxn ang="0">
                <a:pos x="csX203" y="csY203"/>
              </a:cxn>
              <a:cxn ang="0">
                <a:pos x="csX204" y="csY204"/>
              </a:cxn>
              <a:cxn ang="0">
                <a:pos x="csX205" y="csY205"/>
              </a:cxn>
              <a:cxn ang="0">
                <a:pos x="csX206" y="csY206"/>
              </a:cxn>
              <a:cxn ang="0">
                <a:pos x="csX207" y="csY207"/>
              </a:cxn>
              <a:cxn ang="0">
                <a:pos x="csX208" y="csY208"/>
              </a:cxn>
              <a:cxn ang="0">
                <a:pos x="csX209" y="csY209"/>
              </a:cxn>
              <a:cxn ang="0">
                <a:pos x="csX210" y="csY210"/>
              </a:cxn>
              <a:cxn ang="0">
                <a:pos x="csX211" y="csY211"/>
              </a:cxn>
              <a:cxn ang="0">
                <a:pos x="csX212" y="csY212"/>
              </a:cxn>
              <a:cxn ang="0">
                <a:pos x="csX213" y="csY213"/>
              </a:cxn>
              <a:cxn ang="0">
                <a:pos x="csX214" y="csY214"/>
              </a:cxn>
              <a:cxn ang="0">
                <a:pos x="csX215" y="csY215"/>
              </a:cxn>
              <a:cxn ang="0">
                <a:pos x="csX216" y="csY216"/>
              </a:cxn>
              <a:cxn ang="0">
                <a:pos x="csX217" y="csY217"/>
              </a:cxn>
              <a:cxn ang="0">
                <a:pos x="csX218" y="csY218"/>
              </a:cxn>
              <a:cxn ang="0">
                <a:pos x="csX219" y="csY219"/>
              </a:cxn>
              <a:cxn ang="0">
                <a:pos x="csX220" y="csY220"/>
              </a:cxn>
              <a:cxn ang="0">
                <a:pos x="csX221" y="csY221"/>
              </a:cxn>
              <a:cxn ang="0">
                <a:pos x="csX222" y="csY222"/>
              </a:cxn>
              <a:cxn ang="0">
                <a:pos x="csX223" y="csY223"/>
              </a:cxn>
              <a:cxn ang="0">
                <a:pos x="csX224" y="csY224"/>
              </a:cxn>
              <a:cxn ang="0">
                <a:pos x="csX225" y="csY225"/>
              </a:cxn>
              <a:cxn ang="0">
                <a:pos x="csX226" y="csY226"/>
              </a:cxn>
              <a:cxn ang="0">
                <a:pos x="csX227" y="csY227"/>
              </a:cxn>
              <a:cxn ang="0">
                <a:pos x="csX228" y="csY228"/>
              </a:cxn>
              <a:cxn ang="0">
                <a:pos x="csX229" y="csY229"/>
              </a:cxn>
              <a:cxn ang="0">
                <a:pos x="csX230" y="csY230"/>
              </a:cxn>
              <a:cxn ang="0">
                <a:pos x="csX231" y="csY231"/>
              </a:cxn>
              <a:cxn ang="0">
                <a:pos x="csX232" y="csY232"/>
              </a:cxn>
              <a:cxn ang="0">
                <a:pos x="csX233" y="csY233"/>
              </a:cxn>
              <a:cxn ang="0">
                <a:pos x="csX234" y="csY234"/>
              </a:cxn>
              <a:cxn ang="0">
                <a:pos x="csX235" y="csY235"/>
              </a:cxn>
              <a:cxn ang="0">
                <a:pos x="csX236" y="csY236"/>
              </a:cxn>
              <a:cxn ang="0">
                <a:pos x="csX237" y="csY237"/>
              </a:cxn>
              <a:cxn ang="0">
                <a:pos x="csX238" y="csY238"/>
              </a:cxn>
              <a:cxn ang="0">
                <a:pos x="csX239" y="csY239"/>
              </a:cxn>
              <a:cxn ang="0">
                <a:pos x="csX240" y="csY240"/>
              </a:cxn>
              <a:cxn ang="0">
                <a:pos x="csX241" y="csY241"/>
              </a:cxn>
              <a:cxn ang="0">
                <a:pos x="csX242" y="csY242"/>
              </a:cxn>
              <a:cxn ang="0">
                <a:pos x="csX243" y="csY243"/>
              </a:cxn>
              <a:cxn ang="0">
                <a:pos x="csX244" y="csY244"/>
              </a:cxn>
              <a:cxn ang="0">
                <a:pos x="csX245" y="csY245"/>
              </a:cxn>
              <a:cxn ang="0">
                <a:pos x="csX246" y="csY246"/>
              </a:cxn>
              <a:cxn ang="0">
                <a:pos x="csX247" y="csY247"/>
              </a:cxn>
              <a:cxn ang="0">
                <a:pos x="csX248" y="csY248"/>
              </a:cxn>
              <a:cxn ang="0">
                <a:pos x="csX249" y="csY249"/>
              </a:cxn>
              <a:cxn ang="0">
                <a:pos x="csX250" y="csY250"/>
              </a:cxn>
              <a:cxn ang="0">
                <a:pos x="csX251" y="csY251"/>
              </a:cxn>
              <a:cxn ang="0">
                <a:pos x="csX252" y="csY252"/>
              </a:cxn>
              <a:cxn ang="0">
                <a:pos x="csX253" y="csY253"/>
              </a:cxn>
              <a:cxn ang="0">
                <a:pos x="csX254" y="csY254"/>
              </a:cxn>
              <a:cxn ang="0">
                <a:pos x="csX255" y="csY255"/>
              </a:cxn>
              <a:cxn ang="0">
                <a:pos x="csX256" y="csY256"/>
              </a:cxn>
              <a:cxn ang="0">
                <a:pos x="csX257" y="csY257"/>
              </a:cxn>
              <a:cxn ang="0">
                <a:pos x="csX258" y="csY258"/>
              </a:cxn>
              <a:cxn ang="0">
                <a:pos x="csX259" y="csY259"/>
              </a:cxn>
              <a:cxn ang="0">
                <a:pos x="csX260" y="csY260"/>
              </a:cxn>
              <a:cxn ang="0">
                <a:pos x="csX261" y="csY261"/>
              </a:cxn>
              <a:cxn ang="0">
                <a:pos x="csX262" y="csY262"/>
              </a:cxn>
              <a:cxn ang="0">
                <a:pos x="csX263" y="csY263"/>
              </a:cxn>
              <a:cxn ang="0">
                <a:pos x="csX264" y="csY264"/>
              </a:cxn>
              <a:cxn ang="0">
                <a:pos x="csX265" y="csY265"/>
              </a:cxn>
              <a:cxn ang="0">
                <a:pos x="csX266" y="csY266"/>
              </a:cxn>
              <a:cxn ang="0">
                <a:pos x="csX267" y="csY267"/>
              </a:cxn>
              <a:cxn ang="0">
                <a:pos x="csX268" y="csY268"/>
              </a:cxn>
              <a:cxn ang="0">
                <a:pos x="csX269" y="csY269"/>
              </a:cxn>
              <a:cxn ang="0">
                <a:pos x="csX270" y="csY270"/>
              </a:cxn>
              <a:cxn ang="0">
                <a:pos x="csX271" y="csY271"/>
              </a:cxn>
              <a:cxn ang="0">
                <a:pos x="csX272" y="csY272"/>
              </a:cxn>
              <a:cxn ang="0">
                <a:pos x="csX273" y="csY273"/>
              </a:cxn>
              <a:cxn ang="0">
                <a:pos x="csX274" y="csY274"/>
              </a:cxn>
              <a:cxn ang="0">
                <a:pos x="csX275" y="csY275"/>
              </a:cxn>
              <a:cxn ang="0">
                <a:pos x="csX276" y="csY276"/>
              </a:cxn>
              <a:cxn ang="0">
                <a:pos x="csX277" y="csY277"/>
              </a:cxn>
              <a:cxn ang="0">
                <a:pos x="csX278" y="csY278"/>
              </a:cxn>
              <a:cxn ang="0">
                <a:pos x="csX279" y="csY279"/>
              </a:cxn>
              <a:cxn ang="0">
                <a:pos x="csX280" y="csY280"/>
              </a:cxn>
              <a:cxn ang="0">
                <a:pos x="csX281" y="csY281"/>
              </a:cxn>
              <a:cxn ang="0">
                <a:pos x="csX282" y="csY282"/>
              </a:cxn>
              <a:cxn ang="0">
                <a:pos x="csX283" y="csY283"/>
              </a:cxn>
              <a:cxn ang="0">
                <a:pos x="csX284" y="csY284"/>
              </a:cxn>
              <a:cxn ang="0">
                <a:pos x="csX285" y="csY285"/>
              </a:cxn>
              <a:cxn ang="0">
                <a:pos x="csX286" y="csY286"/>
              </a:cxn>
              <a:cxn ang="0">
                <a:pos x="csX287" y="csY287"/>
              </a:cxn>
              <a:cxn ang="0">
                <a:pos x="csX288" y="csY288"/>
              </a:cxn>
              <a:cxn ang="0">
                <a:pos x="csX289" y="csY289"/>
              </a:cxn>
              <a:cxn ang="0">
                <a:pos x="csX290" y="csY290"/>
              </a:cxn>
              <a:cxn ang="0">
                <a:pos x="csX291" y="csY291"/>
              </a:cxn>
              <a:cxn ang="0">
                <a:pos x="csX292" y="csY292"/>
              </a:cxn>
              <a:cxn ang="0">
                <a:pos x="csX293" y="csY293"/>
              </a:cxn>
              <a:cxn ang="0">
                <a:pos x="csX294" y="csY294"/>
              </a:cxn>
              <a:cxn ang="0">
                <a:pos x="csX295" y="csY295"/>
              </a:cxn>
              <a:cxn ang="0">
                <a:pos x="csX296" y="csY296"/>
              </a:cxn>
              <a:cxn ang="0">
                <a:pos x="csX297" y="csY297"/>
              </a:cxn>
              <a:cxn ang="0">
                <a:pos x="csX298" y="csY298"/>
              </a:cxn>
              <a:cxn ang="0">
                <a:pos x="csX299" y="csY299"/>
              </a:cxn>
              <a:cxn ang="0">
                <a:pos x="csX300" y="csY300"/>
              </a:cxn>
              <a:cxn ang="0">
                <a:pos x="csX301" y="csY301"/>
              </a:cxn>
              <a:cxn ang="0">
                <a:pos x="csX302" y="csY302"/>
              </a:cxn>
              <a:cxn ang="0">
                <a:pos x="csX303" y="csY303"/>
              </a:cxn>
              <a:cxn ang="0">
                <a:pos x="csX304" y="csY304"/>
              </a:cxn>
              <a:cxn ang="0">
                <a:pos x="csX305" y="csY305"/>
              </a:cxn>
              <a:cxn ang="0">
                <a:pos x="csX306" y="csY306"/>
              </a:cxn>
              <a:cxn ang="0">
                <a:pos x="csX307" y="csY307"/>
              </a:cxn>
              <a:cxn ang="0">
                <a:pos x="csX308" y="csY308"/>
              </a:cxn>
            </a:cxnLst>
            <a:rect l="l" t="t" r="r" b="b"/>
            <a:pathLst>
              <a:path w="1315852" h="3212801">
                <a:moveTo>
                  <a:pt x="898754" y="1637125"/>
                </a:moveTo>
                <a:cubicBezTo>
                  <a:pt x="899614" y="1640179"/>
                  <a:pt x="900338" y="1641975"/>
                  <a:pt x="900426" y="1643802"/>
                </a:cubicBezTo>
                <a:cubicBezTo>
                  <a:pt x="901475" y="1665651"/>
                  <a:pt x="902040" y="1687530"/>
                  <a:pt x="903549" y="1709345"/>
                </a:cubicBezTo>
                <a:cubicBezTo>
                  <a:pt x="904508" y="1723191"/>
                  <a:pt x="906945" y="1736929"/>
                  <a:pt x="908512" y="1750739"/>
                </a:cubicBezTo>
                <a:cubicBezTo>
                  <a:pt x="909768" y="1761809"/>
                  <a:pt x="910504" y="1772940"/>
                  <a:pt x="911839" y="1783999"/>
                </a:cubicBezTo>
                <a:cubicBezTo>
                  <a:pt x="914339" y="1804698"/>
                  <a:pt x="917061" y="1825371"/>
                  <a:pt x="919775" y="1846044"/>
                </a:cubicBezTo>
                <a:cubicBezTo>
                  <a:pt x="922673" y="1868112"/>
                  <a:pt x="925267" y="1890230"/>
                  <a:pt x="928724" y="1912212"/>
                </a:cubicBezTo>
                <a:cubicBezTo>
                  <a:pt x="933262" y="1941073"/>
                  <a:pt x="938122" y="1969897"/>
                  <a:pt x="943556" y="1998602"/>
                </a:cubicBezTo>
                <a:cubicBezTo>
                  <a:pt x="951321" y="2039621"/>
                  <a:pt x="959572" y="2080549"/>
                  <a:pt x="967918" y="2121455"/>
                </a:cubicBezTo>
                <a:cubicBezTo>
                  <a:pt x="974414" y="2153298"/>
                  <a:pt x="980861" y="2185166"/>
                  <a:pt x="988236" y="2216813"/>
                </a:cubicBezTo>
                <a:cubicBezTo>
                  <a:pt x="1001417" y="2273372"/>
                  <a:pt x="1015007" y="2329839"/>
                  <a:pt x="1028961" y="2386212"/>
                </a:cubicBezTo>
                <a:cubicBezTo>
                  <a:pt x="1037223" y="2419597"/>
                  <a:pt x="1046464" y="2452740"/>
                  <a:pt x="1055369" y="2485963"/>
                </a:cubicBezTo>
                <a:cubicBezTo>
                  <a:pt x="1057341" y="2493320"/>
                  <a:pt x="1060485" y="2498788"/>
                  <a:pt x="1069125" y="2501571"/>
                </a:cubicBezTo>
                <a:cubicBezTo>
                  <a:pt x="1081467" y="2505544"/>
                  <a:pt x="1093147" y="2511758"/>
                  <a:pt x="1104775" y="2517672"/>
                </a:cubicBezTo>
                <a:cubicBezTo>
                  <a:pt x="1109642" y="2520148"/>
                  <a:pt x="1114279" y="2523752"/>
                  <a:pt x="1117910" y="2527831"/>
                </a:cubicBezTo>
                <a:cubicBezTo>
                  <a:pt x="1124099" y="2534784"/>
                  <a:pt x="1126976" y="2542950"/>
                  <a:pt x="1122737" y="2552282"/>
                </a:cubicBezTo>
                <a:cubicBezTo>
                  <a:pt x="1120041" y="2558217"/>
                  <a:pt x="1118208" y="2564666"/>
                  <a:pt x="1114779" y="2570125"/>
                </a:cubicBezTo>
                <a:cubicBezTo>
                  <a:pt x="1104671" y="2586210"/>
                  <a:pt x="1107442" y="2602158"/>
                  <a:pt x="1114207" y="2618225"/>
                </a:cubicBezTo>
                <a:cubicBezTo>
                  <a:pt x="1121782" y="2636214"/>
                  <a:pt x="1134908" y="2650364"/>
                  <a:pt x="1148150" y="2663984"/>
                </a:cubicBezTo>
                <a:cubicBezTo>
                  <a:pt x="1166992" y="2683364"/>
                  <a:pt x="1187718" y="2700911"/>
                  <a:pt x="1206600" y="2720256"/>
                </a:cubicBezTo>
                <a:cubicBezTo>
                  <a:pt x="1242228" y="2756756"/>
                  <a:pt x="1266941" y="2799706"/>
                  <a:pt x="1275524" y="2850317"/>
                </a:cubicBezTo>
                <a:cubicBezTo>
                  <a:pt x="1278084" y="2865409"/>
                  <a:pt x="1281110" y="2880935"/>
                  <a:pt x="1277353" y="2897326"/>
                </a:cubicBezTo>
                <a:cubicBezTo>
                  <a:pt x="1274514" y="2909711"/>
                  <a:pt x="1274674" y="2923014"/>
                  <a:pt x="1271355" y="2935725"/>
                </a:cubicBezTo>
                <a:cubicBezTo>
                  <a:pt x="1269750" y="2941870"/>
                  <a:pt x="1270927" y="2948063"/>
                  <a:pt x="1274691" y="2954335"/>
                </a:cubicBezTo>
                <a:cubicBezTo>
                  <a:pt x="1288477" y="2977303"/>
                  <a:pt x="1297024" y="3002358"/>
                  <a:pt x="1301797" y="3028744"/>
                </a:cubicBezTo>
                <a:cubicBezTo>
                  <a:pt x="1305016" y="3046537"/>
                  <a:pt x="1309526" y="3064135"/>
                  <a:pt x="1311943" y="3082025"/>
                </a:cubicBezTo>
                <a:cubicBezTo>
                  <a:pt x="1314240" y="3099026"/>
                  <a:pt x="1314491" y="3116299"/>
                  <a:pt x="1315801" y="3133440"/>
                </a:cubicBezTo>
                <a:cubicBezTo>
                  <a:pt x="1316312" y="3140137"/>
                  <a:pt x="1313007" y="3144001"/>
                  <a:pt x="1307182" y="3146201"/>
                </a:cubicBezTo>
                <a:cubicBezTo>
                  <a:pt x="1298468" y="3149492"/>
                  <a:pt x="1289929" y="3153581"/>
                  <a:pt x="1280933" y="3155733"/>
                </a:cubicBezTo>
                <a:cubicBezTo>
                  <a:pt x="1243908" y="3164594"/>
                  <a:pt x="1206866" y="3173472"/>
                  <a:pt x="1169576" y="3181105"/>
                </a:cubicBezTo>
                <a:cubicBezTo>
                  <a:pt x="1145999" y="3185932"/>
                  <a:pt x="1122051" y="3189224"/>
                  <a:pt x="1098129" y="3192005"/>
                </a:cubicBezTo>
                <a:cubicBezTo>
                  <a:pt x="1074162" y="3194791"/>
                  <a:pt x="1050013" y="3195993"/>
                  <a:pt x="1025959" y="3198069"/>
                </a:cubicBezTo>
                <a:cubicBezTo>
                  <a:pt x="1007015" y="3199703"/>
                  <a:pt x="988093" y="3201610"/>
                  <a:pt x="969161" y="3203391"/>
                </a:cubicBezTo>
                <a:cubicBezTo>
                  <a:pt x="968232" y="3203478"/>
                  <a:pt x="967299" y="3203552"/>
                  <a:pt x="966367" y="3203587"/>
                </a:cubicBezTo>
                <a:cubicBezTo>
                  <a:pt x="941242" y="3204545"/>
                  <a:pt x="916121" y="3205640"/>
                  <a:pt x="890991" y="3206415"/>
                </a:cubicBezTo>
                <a:cubicBezTo>
                  <a:pt x="856053" y="3207494"/>
                  <a:pt x="820973" y="3206720"/>
                  <a:pt x="786197" y="3209641"/>
                </a:cubicBezTo>
                <a:cubicBezTo>
                  <a:pt x="730188" y="3214346"/>
                  <a:pt x="674133" y="3212833"/>
                  <a:pt x="618254" y="3211234"/>
                </a:cubicBezTo>
                <a:cubicBezTo>
                  <a:pt x="580962" y="3210166"/>
                  <a:pt x="543663" y="3210429"/>
                  <a:pt x="506392" y="3209195"/>
                </a:cubicBezTo>
                <a:cubicBezTo>
                  <a:pt x="485466" y="3208502"/>
                  <a:pt x="464553" y="3207412"/>
                  <a:pt x="443638" y="3206415"/>
                </a:cubicBezTo>
                <a:cubicBezTo>
                  <a:pt x="425522" y="3205552"/>
                  <a:pt x="407401" y="3204739"/>
                  <a:pt x="389301" y="3203597"/>
                </a:cubicBezTo>
                <a:cubicBezTo>
                  <a:pt x="361481" y="3201842"/>
                  <a:pt x="333617" y="3200446"/>
                  <a:pt x="305884" y="3197747"/>
                </a:cubicBezTo>
                <a:cubicBezTo>
                  <a:pt x="275907" y="3194830"/>
                  <a:pt x="246063" y="3190549"/>
                  <a:pt x="216151" y="3186940"/>
                </a:cubicBezTo>
                <a:cubicBezTo>
                  <a:pt x="191288" y="3183939"/>
                  <a:pt x="166206" y="3182205"/>
                  <a:pt x="141593" y="3177824"/>
                </a:cubicBezTo>
                <a:cubicBezTo>
                  <a:pt x="109171" y="3172054"/>
                  <a:pt x="77055" y="3164497"/>
                  <a:pt x="44929" y="3157176"/>
                </a:cubicBezTo>
                <a:cubicBezTo>
                  <a:pt x="33156" y="3154493"/>
                  <a:pt x="21711" y="3150349"/>
                  <a:pt x="10154" y="3146750"/>
                </a:cubicBezTo>
                <a:cubicBezTo>
                  <a:pt x="3067" y="3144544"/>
                  <a:pt x="-715" y="3140051"/>
                  <a:pt x="112" y="3132149"/>
                </a:cubicBezTo>
                <a:cubicBezTo>
                  <a:pt x="1898" y="3115092"/>
                  <a:pt x="2952" y="3097941"/>
                  <a:pt x="5263" y="3080960"/>
                </a:cubicBezTo>
                <a:cubicBezTo>
                  <a:pt x="7512" y="3064431"/>
                  <a:pt x="11458" y="3048135"/>
                  <a:pt x="13758" y="3031612"/>
                </a:cubicBezTo>
                <a:cubicBezTo>
                  <a:pt x="17373" y="3005647"/>
                  <a:pt x="28643" y="2982695"/>
                  <a:pt x="40996" y="2960204"/>
                </a:cubicBezTo>
                <a:cubicBezTo>
                  <a:pt x="43921" y="2954879"/>
                  <a:pt x="44978" y="2950688"/>
                  <a:pt x="43510" y="2944616"/>
                </a:cubicBezTo>
                <a:cubicBezTo>
                  <a:pt x="38022" y="2921926"/>
                  <a:pt x="34351" y="2898766"/>
                  <a:pt x="36916" y="2875457"/>
                </a:cubicBezTo>
                <a:cubicBezTo>
                  <a:pt x="38685" y="2859391"/>
                  <a:pt x="42237" y="2843358"/>
                  <a:pt x="46646" y="2827778"/>
                </a:cubicBezTo>
                <a:cubicBezTo>
                  <a:pt x="58040" y="2787514"/>
                  <a:pt x="79014" y="2752619"/>
                  <a:pt x="108895" y="2723307"/>
                </a:cubicBezTo>
                <a:cubicBezTo>
                  <a:pt x="135212" y="2697491"/>
                  <a:pt x="162086" y="2672243"/>
                  <a:pt x="188375" y="2646399"/>
                </a:cubicBezTo>
                <a:cubicBezTo>
                  <a:pt x="199778" y="2635188"/>
                  <a:pt x="207849" y="2622209"/>
                  <a:pt x="211535" y="2605867"/>
                </a:cubicBezTo>
                <a:cubicBezTo>
                  <a:pt x="214510" y="2592678"/>
                  <a:pt x="211592" y="2582100"/>
                  <a:pt x="205182" y="2571418"/>
                </a:cubicBezTo>
                <a:cubicBezTo>
                  <a:pt x="202318" y="2566645"/>
                  <a:pt x="198777" y="2562163"/>
                  <a:pt x="196651" y="2557085"/>
                </a:cubicBezTo>
                <a:cubicBezTo>
                  <a:pt x="190347" y="2542031"/>
                  <a:pt x="194717" y="2529077"/>
                  <a:pt x="209021" y="2521560"/>
                </a:cubicBezTo>
                <a:cubicBezTo>
                  <a:pt x="220978" y="2515277"/>
                  <a:pt x="233317" y="2509655"/>
                  <a:pt x="245764" y="2504395"/>
                </a:cubicBezTo>
                <a:cubicBezTo>
                  <a:pt x="254856" y="2500554"/>
                  <a:pt x="261020" y="2495272"/>
                  <a:pt x="263769" y="2485128"/>
                </a:cubicBezTo>
                <a:cubicBezTo>
                  <a:pt x="275569" y="2441581"/>
                  <a:pt x="288425" y="2398319"/>
                  <a:pt x="300045" y="2354726"/>
                </a:cubicBezTo>
                <a:cubicBezTo>
                  <a:pt x="309381" y="2319703"/>
                  <a:pt x="318110" y="2284492"/>
                  <a:pt x="326003" y="2249117"/>
                </a:cubicBezTo>
                <a:cubicBezTo>
                  <a:pt x="337625" y="2197029"/>
                  <a:pt x="348457" y="2144762"/>
                  <a:pt x="359250" y="2092493"/>
                </a:cubicBezTo>
                <a:cubicBezTo>
                  <a:pt x="365909" y="2060243"/>
                  <a:pt x="372293" y="2027924"/>
                  <a:pt x="378011" y="1995496"/>
                </a:cubicBezTo>
                <a:cubicBezTo>
                  <a:pt x="382679" y="1969018"/>
                  <a:pt x="386061" y="1942315"/>
                  <a:pt x="390230" y="1915745"/>
                </a:cubicBezTo>
                <a:cubicBezTo>
                  <a:pt x="393606" y="1894227"/>
                  <a:pt x="397846" y="1872831"/>
                  <a:pt x="400702" y="1851249"/>
                </a:cubicBezTo>
                <a:cubicBezTo>
                  <a:pt x="403440" y="1830558"/>
                  <a:pt x="404754" y="1809683"/>
                  <a:pt x="406954" y="1788916"/>
                </a:cubicBezTo>
                <a:cubicBezTo>
                  <a:pt x="408419" y="1775096"/>
                  <a:pt x="410485" y="1761340"/>
                  <a:pt x="412016" y="1747526"/>
                </a:cubicBezTo>
                <a:cubicBezTo>
                  <a:pt x="413295" y="1735991"/>
                  <a:pt x="414503" y="1724431"/>
                  <a:pt x="415185" y="1712850"/>
                </a:cubicBezTo>
                <a:cubicBezTo>
                  <a:pt x="416387" y="1692414"/>
                  <a:pt x="416884" y="1671935"/>
                  <a:pt x="418197" y="1651507"/>
                </a:cubicBezTo>
                <a:cubicBezTo>
                  <a:pt x="419655" y="1628814"/>
                  <a:pt x="422378" y="1606186"/>
                  <a:pt x="423324" y="1583479"/>
                </a:cubicBezTo>
                <a:cubicBezTo>
                  <a:pt x="424797" y="1548109"/>
                  <a:pt x="425243" y="1512695"/>
                  <a:pt x="426059" y="1477299"/>
                </a:cubicBezTo>
                <a:cubicBezTo>
                  <a:pt x="426077" y="1476493"/>
                  <a:pt x="425310" y="1475668"/>
                  <a:pt x="424204" y="1473415"/>
                </a:cubicBezTo>
                <a:cubicBezTo>
                  <a:pt x="413635" y="1472358"/>
                  <a:pt x="402157" y="1471516"/>
                  <a:pt x="390769" y="1470003"/>
                </a:cubicBezTo>
                <a:cubicBezTo>
                  <a:pt x="369635" y="1467195"/>
                  <a:pt x="348419" y="1464707"/>
                  <a:pt x="327487" y="1460760"/>
                </a:cubicBezTo>
                <a:cubicBezTo>
                  <a:pt x="305605" y="1456634"/>
                  <a:pt x="286603" y="1433026"/>
                  <a:pt x="289037" y="1410705"/>
                </a:cubicBezTo>
                <a:cubicBezTo>
                  <a:pt x="290343" y="1398733"/>
                  <a:pt x="289247" y="1386137"/>
                  <a:pt x="292610" y="1374826"/>
                </a:cubicBezTo>
                <a:cubicBezTo>
                  <a:pt x="299584" y="1351367"/>
                  <a:pt x="313866" y="1331810"/>
                  <a:pt x="335365" y="1319956"/>
                </a:cubicBezTo>
                <a:cubicBezTo>
                  <a:pt x="349736" y="1312032"/>
                  <a:pt x="355513" y="1300196"/>
                  <a:pt x="358966" y="1286091"/>
                </a:cubicBezTo>
                <a:cubicBezTo>
                  <a:pt x="363751" y="1266546"/>
                  <a:pt x="376163" y="1252003"/>
                  <a:pt x="390267" y="1239202"/>
                </a:cubicBezTo>
                <a:cubicBezTo>
                  <a:pt x="404675" y="1226125"/>
                  <a:pt x="421167" y="1215364"/>
                  <a:pt x="435898" y="1202610"/>
                </a:cubicBezTo>
                <a:cubicBezTo>
                  <a:pt x="439929" y="1199120"/>
                  <a:pt x="441515" y="1192282"/>
                  <a:pt x="443089" y="1186662"/>
                </a:cubicBezTo>
                <a:cubicBezTo>
                  <a:pt x="444184" y="1182756"/>
                  <a:pt x="443471" y="1178302"/>
                  <a:pt x="443336" y="1174100"/>
                </a:cubicBezTo>
                <a:cubicBezTo>
                  <a:pt x="443002" y="1163708"/>
                  <a:pt x="442564" y="1164032"/>
                  <a:pt x="432713" y="1161284"/>
                </a:cubicBezTo>
                <a:cubicBezTo>
                  <a:pt x="423812" y="1158801"/>
                  <a:pt x="415102" y="1155322"/>
                  <a:pt x="406712" y="1151413"/>
                </a:cubicBezTo>
                <a:cubicBezTo>
                  <a:pt x="398571" y="1147621"/>
                  <a:pt x="396617" y="1143812"/>
                  <a:pt x="399212" y="1135845"/>
                </a:cubicBezTo>
                <a:cubicBezTo>
                  <a:pt x="401786" y="1127943"/>
                  <a:pt x="404616" y="1119485"/>
                  <a:pt x="409719" y="1113213"/>
                </a:cubicBezTo>
                <a:cubicBezTo>
                  <a:pt x="415540" y="1106060"/>
                  <a:pt x="416443" y="1098866"/>
                  <a:pt x="414650" y="1091062"/>
                </a:cubicBezTo>
                <a:cubicBezTo>
                  <a:pt x="410906" y="1074773"/>
                  <a:pt x="407015" y="1058465"/>
                  <a:pt x="402048" y="1042520"/>
                </a:cubicBezTo>
                <a:cubicBezTo>
                  <a:pt x="390546" y="1005592"/>
                  <a:pt x="378091" y="968962"/>
                  <a:pt x="366526" y="932054"/>
                </a:cubicBezTo>
                <a:cubicBezTo>
                  <a:pt x="345804" y="865923"/>
                  <a:pt x="325665" y="799609"/>
                  <a:pt x="304855" y="733506"/>
                </a:cubicBezTo>
                <a:cubicBezTo>
                  <a:pt x="294926" y="701966"/>
                  <a:pt x="283362" y="670934"/>
                  <a:pt x="273722" y="639312"/>
                </a:cubicBezTo>
                <a:cubicBezTo>
                  <a:pt x="262471" y="602404"/>
                  <a:pt x="251509" y="565342"/>
                  <a:pt x="242525" y="527843"/>
                </a:cubicBezTo>
                <a:cubicBezTo>
                  <a:pt x="239293" y="514353"/>
                  <a:pt x="237774" y="498828"/>
                  <a:pt x="245838" y="485521"/>
                </a:cubicBezTo>
                <a:cubicBezTo>
                  <a:pt x="248810" y="480617"/>
                  <a:pt x="253278" y="475342"/>
                  <a:pt x="258319" y="473233"/>
                </a:cubicBezTo>
                <a:cubicBezTo>
                  <a:pt x="268936" y="468788"/>
                  <a:pt x="280185" y="464871"/>
                  <a:pt x="291527" y="463336"/>
                </a:cubicBezTo>
                <a:cubicBezTo>
                  <a:pt x="318626" y="459667"/>
                  <a:pt x="345903" y="457192"/>
                  <a:pt x="373160" y="454842"/>
                </a:cubicBezTo>
                <a:cubicBezTo>
                  <a:pt x="391221" y="453285"/>
                  <a:pt x="409382" y="452934"/>
                  <a:pt x="427480" y="451758"/>
                </a:cubicBezTo>
                <a:cubicBezTo>
                  <a:pt x="444131" y="450676"/>
                  <a:pt x="460757" y="449212"/>
                  <a:pt x="477998" y="447870"/>
                </a:cubicBezTo>
                <a:cubicBezTo>
                  <a:pt x="478532" y="446298"/>
                  <a:pt x="479654" y="444590"/>
                  <a:pt x="479585" y="442932"/>
                </a:cubicBezTo>
                <a:cubicBezTo>
                  <a:pt x="479223" y="434201"/>
                  <a:pt x="480208" y="426475"/>
                  <a:pt x="488907" y="421401"/>
                </a:cubicBezTo>
                <a:cubicBezTo>
                  <a:pt x="493200" y="418897"/>
                  <a:pt x="494755" y="414446"/>
                  <a:pt x="492315" y="409196"/>
                </a:cubicBezTo>
                <a:cubicBezTo>
                  <a:pt x="489226" y="402552"/>
                  <a:pt x="492501" y="398939"/>
                  <a:pt x="498582" y="396231"/>
                </a:cubicBezTo>
                <a:cubicBezTo>
                  <a:pt x="513139" y="389749"/>
                  <a:pt x="523218" y="378073"/>
                  <a:pt x="531424" y="365066"/>
                </a:cubicBezTo>
                <a:cubicBezTo>
                  <a:pt x="543844" y="345378"/>
                  <a:pt x="555388" y="325136"/>
                  <a:pt x="567201" y="305069"/>
                </a:cubicBezTo>
                <a:cubicBezTo>
                  <a:pt x="571692" y="297440"/>
                  <a:pt x="576215" y="289801"/>
                  <a:pt x="580157" y="281885"/>
                </a:cubicBezTo>
                <a:cubicBezTo>
                  <a:pt x="585924" y="270307"/>
                  <a:pt x="585466" y="269028"/>
                  <a:pt x="575177" y="258759"/>
                </a:cubicBezTo>
                <a:cubicBezTo>
                  <a:pt x="540669" y="263385"/>
                  <a:pt x="508449" y="279582"/>
                  <a:pt x="472048" y="283266"/>
                </a:cubicBezTo>
                <a:cubicBezTo>
                  <a:pt x="468926" y="225961"/>
                  <a:pt x="477230" y="170326"/>
                  <a:pt x="473659" y="112243"/>
                </a:cubicBezTo>
                <a:cubicBezTo>
                  <a:pt x="479647" y="113333"/>
                  <a:pt x="483524" y="113631"/>
                  <a:pt x="487139" y="114763"/>
                </a:cubicBezTo>
                <a:cubicBezTo>
                  <a:pt x="514644" y="123375"/>
                  <a:pt x="541992" y="132503"/>
                  <a:pt x="569608" y="140735"/>
                </a:cubicBezTo>
                <a:cubicBezTo>
                  <a:pt x="584612" y="145208"/>
                  <a:pt x="590199" y="139652"/>
                  <a:pt x="585180" y="124742"/>
                </a:cubicBezTo>
                <a:cubicBezTo>
                  <a:pt x="578949" y="106227"/>
                  <a:pt x="571109" y="88251"/>
                  <a:pt x="563868" y="70080"/>
                </a:cubicBezTo>
                <a:cubicBezTo>
                  <a:pt x="558214" y="55891"/>
                  <a:pt x="552416" y="41758"/>
                  <a:pt x="546041" y="26021"/>
                </a:cubicBezTo>
                <a:cubicBezTo>
                  <a:pt x="554662" y="23284"/>
                  <a:pt x="561452" y="20680"/>
                  <a:pt x="568462" y="18986"/>
                </a:cubicBezTo>
                <a:cubicBezTo>
                  <a:pt x="591481" y="13422"/>
                  <a:pt x="614656" y="8495"/>
                  <a:pt x="637623" y="2731"/>
                </a:cubicBezTo>
                <a:cubicBezTo>
                  <a:pt x="656287" y="-1953"/>
                  <a:pt x="674559" y="-81"/>
                  <a:pt x="692817" y="4346"/>
                </a:cubicBezTo>
                <a:cubicBezTo>
                  <a:pt x="714944" y="9710"/>
                  <a:pt x="737021" y="15284"/>
                  <a:pt x="759126" y="20739"/>
                </a:cubicBezTo>
                <a:cubicBezTo>
                  <a:pt x="763594" y="21842"/>
                  <a:pt x="768092" y="22819"/>
                  <a:pt x="774460" y="24289"/>
                </a:cubicBezTo>
                <a:cubicBezTo>
                  <a:pt x="766727" y="43585"/>
                  <a:pt x="759317" y="62457"/>
                  <a:pt x="751608" y="81205"/>
                </a:cubicBezTo>
                <a:cubicBezTo>
                  <a:pt x="743947" y="99838"/>
                  <a:pt x="734803" y="117984"/>
                  <a:pt x="731002" y="141135"/>
                </a:cubicBezTo>
                <a:cubicBezTo>
                  <a:pt x="739490" y="139636"/>
                  <a:pt x="744805" y="139073"/>
                  <a:pt x="749917" y="137732"/>
                </a:cubicBezTo>
                <a:cubicBezTo>
                  <a:pt x="778702" y="130182"/>
                  <a:pt x="807436" y="122435"/>
                  <a:pt x="836197" y="114792"/>
                </a:cubicBezTo>
                <a:cubicBezTo>
                  <a:pt x="838352" y="114219"/>
                  <a:pt x="840584" y="113934"/>
                  <a:pt x="843209" y="113433"/>
                </a:cubicBezTo>
                <a:cubicBezTo>
                  <a:pt x="843710" y="115876"/>
                  <a:pt x="844352" y="117648"/>
                  <a:pt x="844400" y="119435"/>
                </a:cubicBezTo>
                <a:cubicBezTo>
                  <a:pt x="845405" y="157181"/>
                  <a:pt x="846208" y="194932"/>
                  <a:pt x="847390" y="232672"/>
                </a:cubicBezTo>
                <a:cubicBezTo>
                  <a:pt x="847695" y="242389"/>
                  <a:pt x="849334" y="252058"/>
                  <a:pt x="850015" y="261773"/>
                </a:cubicBezTo>
                <a:cubicBezTo>
                  <a:pt x="850401" y="267273"/>
                  <a:pt x="850085" y="272822"/>
                  <a:pt x="850085" y="280220"/>
                </a:cubicBezTo>
                <a:cubicBezTo>
                  <a:pt x="837463" y="277293"/>
                  <a:pt x="826347" y="274822"/>
                  <a:pt x="815285" y="272127"/>
                </a:cubicBezTo>
                <a:cubicBezTo>
                  <a:pt x="795873" y="267398"/>
                  <a:pt x="776299" y="263181"/>
                  <a:pt x="757181" y="257455"/>
                </a:cubicBezTo>
                <a:cubicBezTo>
                  <a:pt x="747363" y="254515"/>
                  <a:pt x="739983" y="255620"/>
                  <a:pt x="732939" y="263859"/>
                </a:cubicBezTo>
                <a:cubicBezTo>
                  <a:pt x="735150" y="269003"/>
                  <a:pt x="737509" y="274491"/>
                  <a:pt x="739871" y="279988"/>
                </a:cubicBezTo>
                <a:cubicBezTo>
                  <a:pt x="735196" y="284033"/>
                  <a:pt x="730592" y="288016"/>
                  <a:pt x="725900" y="292074"/>
                </a:cubicBezTo>
                <a:cubicBezTo>
                  <a:pt x="731987" y="302329"/>
                  <a:pt x="739718" y="300546"/>
                  <a:pt x="747132" y="298017"/>
                </a:cubicBezTo>
                <a:cubicBezTo>
                  <a:pt x="758463" y="305429"/>
                  <a:pt x="762190" y="317570"/>
                  <a:pt x="768268" y="327815"/>
                </a:cubicBezTo>
                <a:cubicBezTo>
                  <a:pt x="774924" y="339037"/>
                  <a:pt x="780217" y="351080"/>
                  <a:pt x="785901" y="362862"/>
                </a:cubicBezTo>
                <a:cubicBezTo>
                  <a:pt x="788639" y="368539"/>
                  <a:pt x="792017" y="372441"/>
                  <a:pt x="798627" y="374591"/>
                </a:cubicBezTo>
                <a:cubicBezTo>
                  <a:pt x="809488" y="378123"/>
                  <a:pt x="810054" y="379498"/>
                  <a:pt x="815580" y="387899"/>
                </a:cubicBezTo>
                <a:cubicBezTo>
                  <a:pt x="814864" y="388896"/>
                  <a:pt x="814194" y="390825"/>
                  <a:pt x="813282" y="390947"/>
                </a:cubicBezTo>
                <a:cubicBezTo>
                  <a:pt x="801085" y="392587"/>
                  <a:pt x="788983" y="395969"/>
                  <a:pt x="776501" y="393213"/>
                </a:cubicBezTo>
                <a:cubicBezTo>
                  <a:pt x="752021" y="387807"/>
                  <a:pt x="727631" y="382034"/>
                  <a:pt x="702336" y="381496"/>
                </a:cubicBezTo>
                <a:cubicBezTo>
                  <a:pt x="688886" y="381209"/>
                  <a:pt x="675464" y="379722"/>
                  <a:pt x="662021" y="378921"/>
                </a:cubicBezTo>
                <a:cubicBezTo>
                  <a:pt x="656307" y="378581"/>
                  <a:pt x="651557" y="380270"/>
                  <a:pt x="651111" y="386942"/>
                </a:cubicBezTo>
                <a:cubicBezTo>
                  <a:pt x="649994" y="403641"/>
                  <a:pt x="648739" y="420346"/>
                  <a:pt x="648295" y="437069"/>
                </a:cubicBezTo>
                <a:cubicBezTo>
                  <a:pt x="648034" y="446937"/>
                  <a:pt x="650047" y="448870"/>
                  <a:pt x="659561" y="448907"/>
                </a:cubicBezTo>
                <a:cubicBezTo>
                  <a:pt x="706308" y="449089"/>
                  <a:pt x="753056" y="448964"/>
                  <a:pt x="799805" y="449022"/>
                </a:cubicBezTo>
                <a:cubicBezTo>
                  <a:pt x="806377" y="449030"/>
                  <a:pt x="809905" y="446744"/>
                  <a:pt x="811083" y="439581"/>
                </a:cubicBezTo>
                <a:cubicBezTo>
                  <a:pt x="811941" y="434369"/>
                  <a:pt x="814063" y="427618"/>
                  <a:pt x="817945" y="425008"/>
                </a:cubicBezTo>
                <a:cubicBezTo>
                  <a:pt x="826399" y="419324"/>
                  <a:pt x="828426" y="411596"/>
                  <a:pt x="828609" y="403122"/>
                </a:cubicBezTo>
                <a:cubicBezTo>
                  <a:pt x="833858" y="400461"/>
                  <a:pt x="837181" y="402725"/>
                  <a:pt x="838374" y="406435"/>
                </a:cubicBezTo>
                <a:cubicBezTo>
                  <a:pt x="840905" y="414312"/>
                  <a:pt x="843515" y="422394"/>
                  <a:pt x="844275" y="430561"/>
                </a:cubicBezTo>
                <a:cubicBezTo>
                  <a:pt x="845704" y="445903"/>
                  <a:pt x="850511" y="450005"/>
                  <a:pt x="865761" y="447068"/>
                </a:cubicBezTo>
                <a:cubicBezTo>
                  <a:pt x="872626" y="445746"/>
                  <a:pt x="878915" y="445539"/>
                  <a:pt x="885673" y="449965"/>
                </a:cubicBezTo>
                <a:cubicBezTo>
                  <a:pt x="890708" y="453263"/>
                  <a:pt x="898041" y="453271"/>
                  <a:pt x="904428" y="454230"/>
                </a:cubicBezTo>
                <a:cubicBezTo>
                  <a:pt x="913142" y="455538"/>
                  <a:pt x="921904" y="456741"/>
                  <a:pt x="930689" y="457318"/>
                </a:cubicBezTo>
                <a:cubicBezTo>
                  <a:pt x="967829" y="459759"/>
                  <a:pt x="1003019" y="469066"/>
                  <a:pt x="1036296" y="485877"/>
                </a:cubicBezTo>
                <a:cubicBezTo>
                  <a:pt x="1057129" y="496401"/>
                  <a:pt x="1071673" y="512633"/>
                  <a:pt x="1076027" y="535212"/>
                </a:cubicBezTo>
                <a:cubicBezTo>
                  <a:pt x="1078694" y="549043"/>
                  <a:pt x="1078298" y="564366"/>
                  <a:pt x="1075403" y="578208"/>
                </a:cubicBezTo>
                <a:cubicBezTo>
                  <a:pt x="1064597" y="629873"/>
                  <a:pt x="1044688" y="678854"/>
                  <a:pt x="1028317" y="728867"/>
                </a:cubicBezTo>
                <a:cubicBezTo>
                  <a:pt x="1014112" y="772262"/>
                  <a:pt x="998310" y="815132"/>
                  <a:pt x="983498" y="858331"/>
                </a:cubicBezTo>
                <a:cubicBezTo>
                  <a:pt x="971714" y="892697"/>
                  <a:pt x="959865" y="927055"/>
                  <a:pt x="948940" y="961698"/>
                </a:cubicBezTo>
                <a:cubicBezTo>
                  <a:pt x="935780" y="1003426"/>
                  <a:pt x="923502" y="1045433"/>
                  <a:pt x="911066" y="1087385"/>
                </a:cubicBezTo>
                <a:cubicBezTo>
                  <a:pt x="910087" y="1090688"/>
                  <a:pt x="910738" y="1094511"/>
                  <a:pt x="910828" y="1098086"/>
                </a:cubicBezTo>
                <a:cubicBezTo>
                  <a:pt x="911096" y="1108800"/>
                  <a:pt x="911984" y="1119535"/>
                  <a:pt x="911498" y="1130209"/>
                </a:cubicBezTo>
                <a:cubicBezTo>
                  <a:pt x="911333" y="1133841"/>
                  <a:pt x="908325" y="1137771"/>
                  <a:pt x="905716" y="1140786"/>
                </a:cubicBezTo>
                <a:cubicBezTo>
                  <a:pt x="896689" y="1151217"/>
                  <a:pt x="895625" y="1160669"/>
                  <a:pt x="904041" y="1171694"/>
                </a:cubicBezTo>
                <a:cubicBezTo>
                  <a:pt x="912211" y="1182398"/>
                  <a:pt x="921368" y="1192341"/>
                  <a:pt x="929797" y="1202854"/>
                </a:cubicBezTo>
                <a:cubicBezTo>
                  <a:pt x="945705" y="1222696"/>
                  <a:pt x="952969" y="1246039"/>
                  <a:pt x="956714" y="1270749"/>
                </a:cubicBezTo>
                <a:cubicBezTo>
                  <a:pt x="957687" y="1277170"/>
                  <a:pt x="957779" y="1283963"/>
                  <a:pt x="960074" y="1289888"/>
                </a:cubicBezTo>
                <a:cubicBezTo>
                  <a:pt x="963075" y="1297631"/>
                  <a:pt x="967750" y="1304358"/>
                  <a:pt x="975795" y="1308746"/>
                </a:cubicBezTo>
                <a:cubicBezTo>
                  <a:pt x="985143" y="1313846"/>
                  <a:pt x="994116" y="1319926"/>
                  <a:pt x="1002397" y="1326635"/>
                </a:cubicBezTo>
                <a:cubicBezTo>
                  <a:pt x="1030424" y="1349343"/>
                  <a:pt x="1038408" y="1401530"/>
                  <a:pt x="1018686" y="1435905"/>
                </a:cubicBezTo>
                <a:cubicBezTo>
                  <a:pt x="1013500" y="1444943"/>
                  <a:pt x="1005098" y="1450152"/>
                  <a:pt x="996257" y="1454107"/>
                </a:cubicBezTo>
                <a:cubicBezTo>
                  <a:pt x="988281" y="1457674"/>
                  <a:pt x="979503" y="1460398"/>
                  <a:pt x="970849" y="1461303"/>
                </a:cubicBezTo>
                <a:cubicBezTo>
                  <a:pt x="953296" y="1463139"/>
                  <a:pt x="935587" y="1463487"/>
                  <a:pt x="917943" y="1464461"/>
                </a:cubicBezTo>
                <a:cubicBezTo>
                  <a:pt x="913762" y="1464691"/>
                  <a:pt x="909478" y="1464482"/>
                  <a:pt x="905433" y="1465358"/>
                </a:cubicBezTo>
                <a:cubicBezTo>
                  <a:pt x="901150" y="1466287"/>
                  <a:pt x="897709" y="1468792"/>
                  <a:pt x="897863" y="1474014"/>
                </a:cubicBezTo>
                <a:cubicBezTo>
                  <a:pt x="897877" y="1474480"/>
                  <a:pt x="897822" y="1474948"/>
                  <a:pt x="897812" y="1475415"/>
                </a:cubicBezTo>
                <a:cubicBezTo>
                  <a:pt x="897511" y="1490282"/>
                  <a:pt x="898056" y="1504999"/>
                  <a:pt x="895549" y="1519988"/>
                </a:cubicBezTo>
                <a:cubicBezTo>
                  <a:pt x="893039" y="1534995"/>
                  <a:pt x="894597" y="1550763"/>
                  <a:pt x="895093" y="1566174"/>
                </a:cubicBezTo>
                <a:cubicBezTo>
                  <a:pt x="895841" y="1589420"/>
                  <a:pt x="897215" y="1612646"/>
                  <a:pt x="898754" y="1637125"/>
                </a:cubicBezTo>
                <a:moveTo>
                  <a:pt x="654604" y="2329281"/>
                </a:moveTo>
                <a:cubicBezTo>
                  <a:pt x="652015" y="2310116"/>
                  <a:pt x="655822" y="2290495"/>
                  <a:pt x="650429" y="2271391"/>
                </a:cubicBezTo>
                <a:cubicBezTo>
                  <a:pt x="648307" y="2277580"/>
                  <a:pt x="648156" y="2283761"/>
                  <a:pt x="648148" y="2289942"/>
                </a:cubicBezTo>
                <a:cubicBezTo>
                  <a:pt x="648117" y="2315944"/>
                  <a:pt x="648093" y="2341946"/>
                  <a:pt x="648156" y="2367948"/>
                </a:cubicBezTo>
                <a:cubicBezTo>
                  <a:pt x="648168" y="2372820"/>
                  <a:pt x="646633" y="2378876"/>
                  <a:pt x="655577" y="2381454"/>
                </a:cubicBezTo>
                <a:cubicBezTo>
                  <a:pt x="655560" y="2389285"/>
                  <a:pt x="655756" y="2397123"/>
                  <a:pt x="655485" y="2404945"/>
                </a:cubicBezTo>
                <a:cubicBezTo>
                  <a:pt x="654880" y="2422378"/>
                  <a:pt x="654042" y="2439804"/>
                  <a:pt x="651805" y="2455510"/>
                </a:cubicBezTo>
                <a:cubicBezTo>
                  <a:pt x="651527" y="2435450"/>
                  <a:pt x="651319" y="2415390"/>
                  <a:pt x="650902" y="2395333"/>
                </a:cubicBezTo>
                <a:cubicBezTo>
                  <a:pt x="650837" y="2392220"/>
                  <a:pt x="649823" y="2389127"/>
                  <a:pt x="649248" y="2386025"/>
                </a:cubicBezTo>
                <a:cubicBezTo>
                  <a:pt x="647943" y="2386187"/>
                  <a:pt x="646638" y="2386350"/>
                  <a:pt x="645333" y="2386512"/>
                </a:cubicBezTo>
                <a:cubicBezTo>
                  <a:pt x="645333" y="2390961"/>
                  <a:pt x="645334" y="2395409"/>
                  <a:pt x="645333" y="2399858"/>
                </a:cubicBezTo>
                <a:cubicBezTo>
                  <a:pt x="645326" y="2423694"/>
                  <a:pt x="645418" y="2447532"/>
                  <a:pt x="645232" y="2471367"/>
                </a:cubicBezTo>
                <a:cubicBezTo>
                  <a:pt x="645193" y="2476432"/>
                  <a:pt x="644504" y="2481563"/>
                  <a:pt x="643489" y="2486535"/>
                </a:cubicBezTo>
                <a:cubicBezTo>
                  <a:pt x="639304" y="2507036"/>
                  <a:pt x="642157" y="2510950"/>
                  <a:pt x="662548" y="2510760"/>
                </a:cubicBezTo>
                <a:cubicBezTo>
                  <a:pt x="755908" y="2509888"/>
                  <a:pt x="849266" y="2508878"/>
                  <a:pt x="942625" y="2507990"/>
                </a:cubicBezTo>
                <a:cubicBezTo>
                  <a:pt x="960852" y="2507816"/>
                  <a:pt x="979082" y="2508002"/>
                  <a:pt x="997309" y="2507928"/>
                </a:cubicBezTo>
                <a:cubicBezTo>
                  <a:pt x="1001871" y="2507910"/>
                  <a:pt x="1006430" y="2507531"/>
                  <a:pt x="1012693" y="2507237"/>
                </a:cubicBezTo>
                <a:cubicBezTo>
                  <a:pt x="1012056" y="2501789"/>
                  <a:pt x="1012084" y="2497264"/>
                  <a:pt x="1010948" y="2493054"/>
                </a:cubicBezTo>
                <a:cubicBezTo>
                  <a:pt x="1001379" y="2457588"/>
                  <a:pt x="991103" y="2422306"/>
                  <a:pt x="982017" y="2386719"/>
                </a:cubicBezTo>
                <a:cubicBezTo>
                  <a:pt x="972598" y="2349832"/>
                  <a:pt x="963965" y="2312735"/>
                  <a:pt x="955543" y="2275604"/>
                </a:cubicBezTo>
                <a:cubicBezTo>
                  <a:pt x="944249" y="2225808"/>
                  <a:pt x="933022" y="2175988"/>
                  <a:pt x="922638" y="2125997"/>
                </a:cubicBezTo>
                <a:cubicBezTo>
                  <a:pt x="913587" y="2082421"/>
                  <a:pt x="905382" y="2038659"/>
                  <a:pt x="897474" y="1994858"/>
                </a:cubicBezTo>
                <a:cubicBezTo>
                  <a:pt x="890476" y="1956093"/>
                  <a:pt x="883980" y="1917224"/>
                  <a:pt x="878061" y="1878280"/>
                </a:cubicBezTo>
                <a:cubicBezTo>
                  <a:pt x="873675" y="1849428"/>
                  <a:pt x="870415" y="1820399"/>
                  <a:pt x="866965" y="1791411"/>
                </a:cubicBezTo>
                <a:cubicBezTo>
                  <a:pt x="865539" y="1779434"/>
                  <a:pt x="865114" y="1767342"/>
                  <a:pt x="863902" y="1755335"/>
                </a:cubicBezTo>
                <a:cubicBezTo>
                  <a:pt x="861296" y="1729506"/>
                  <a:pt x="857509" y="1703754"/>
                  <a:pt x="855983" y="1677866"/>
                </a:cubicBezTo>
                <a:cubicBezTo>
                  <a:pt x="854037" y="1644859"/>
                  <a:pt x="853904" y="1611748"/>
                  <a:pt x="852873" y="1578685"/>
                </a:cubicBezTo>
                <a:cubicBezTo>
                  <a:pt x="852423" y="1564271"/>
                  <a:pt x="849465" y="1549523"/>
                  <a:pt x="851635" y="1535546"/>
                </a:cubicBezTo>
                <a:cubicBezTo>
                  <a:pt x="854359" y="1517991"/>
                  <a:pt x="850206" y="1501278"/>
                  <a:pt x="850039" y="1484182"/>
                </a:cubicBezTo>
                <a:cubicBezTo>
                  <a:pt x="850005" y="1480667"/>
                  <a:pt x="849101" y="1477161"/>
                  <a:pt x="848486" y="1472876"/>
                </a:cubicBezTo>
                <a:cubicBezTo>
                  <a:pt x="842279" y="1472876"/>
                  <a:pt x="837173" y="1472798"/>
                  <a:pt x="832070" y="1472888"/>
                </a:cubicBezTo>
                <a:cubicBezTo>
                  <a:pt x="780308" y="1473806"/>
                  <a:pt x="728546" y="1474749"/>
                  <a:pt x="676784" y="1475691"/>
                </a:cubicBezTo>
                <a:cubicBezTo>
                  <a:pt x="663422" y="1475935"/>
                  <a:pt x="662442" y="1476899"/>
                  <a:pt x="662172" y="1490031"/>
                </a:cubicBezTo>
                <a:cubicBezTo>
                  <a:pt x="662124" y="1492367"/>
                  <a:pt x="662222" y="1494706"/>
                  <a:pt x="662153" y="1497041"/>
                </a:cubicBezTo>
                <a:cubicBezTo>
                  <a:pt x="660720" y="1545521"/>
                  <a:pt x="663794" y="1593996"/>
                  <a:pt x="659832" y="1642548"/>
                </a:cubicBezTo>
                <a:cubicBezTo>
                  <a:pt x="656616" y="1681972"/>
                  <a:pt x="657530" y="1721730"/>
                  <a:pt x="656544" y="1761338"/>
                </a:cubicBezTo>
                <a:cubicBezTo>
                  <a:pt x="655035" y="1821971"/>
                  <a:pt x="657667" y="1882583"/>
                  <a:pt x="654344" y="1943296"/>
                </a:cubicBezTo>
                <a:cubicBezTo>
                  <a:pt x="650802" y="2008002"/>
                  <a:pt x="651715" y="2072959"/>
                  <a:pt x="651002" y="2137811"/>
                </a:cubicBezTo>
                <a:cubicBezTo>
                  <a:pt x="650627" y="2171926"/>
                  <a:pt x="650929" y="2206049"/>
                  <a:pt x="650933" y="2240168"/>
                </a:cubicBezTo>
                <a:cubicBezTo>
                  <a:pt x="650933" y="2243439"/>
                  <a:pt x="650161" y="2247032"/>
                  <a:pt x="651273" y="2249880"/>
                </a:cubicBezTo>
                <a:cubicBezTo>
                  <a:pt x="652187" y="2252220"/>
                  <a:pt x="655368" y="2253675"/>
                  <a:pt x="658332" y="2258024"/>
                </a:cubicBezTo>
                <a:cubicBezTo>
                  <a:pt x="657587" y="2282352"/>
                  <a:pt x="656842" y="2306679"/>
                  <a:pt x="654604" y="2329281"/>
                </a:cubicBezTo>
                <a:moveTo>
                  <a:pt x="999154" y="2930680"/>
                </a:moveTo>
                <a:cubicBezTo>
                  <a:pt x="1074430" y="2924379"/>
                  <a:pt x="1149252" y="2914341"/>
                  <a:pt x="1224400" y="2904672"/>
                </a:cubicBezTo>
                <a:cubicBezTo>
                  <a:pt x="1224983" y="2900287"/>
                  <a:pt x="1225723" y="2897124"/>
                  <a:pt x="1225778" y="2893948"/>
                </a:cubicBezTo>
                <a:cubicBezTo>
                  <a:pt x="1226437" y="2856188"/>
                  <a:pt x="1218943" y="2820187"/>
                  <a:pt x="1197990" y="2788499"/>
                </a:cubicBezTo>
                <a:cubicBezTo>
                  <a:pt x="1185967" y="2770315"/>
                  <a:pt x="1171427" y="2753616"/>
                  <a:pt x="1156721" y="2737429"/>
                </a:cubicBezTo>
                <a:cubicBezTo>
                  <a:pt x="1137254" y="2716002"/>
                  <a:pt x="1115793" y="2696376"/>
                  <a:pt x="1096512" y="2674794"/>
                </a:cubicBezTo>
                <a:cubicBezTo>
                  <a:pt x="1073694" y="2649251"/>
                  <a:pt x="1056484" y="2620624"/>
                  <a:pt x="1056842" y="2584575"/>
                </a:cubicBezTo>
                <a:cubicBezTo>
                  <a:pt x="1056854" y="2583302"/>
                  <a:pt x="1056015" y="2582020"/>
                  <a:pt x="1055233" y="2579758"/>
                </a:cubicBezTo>
                <a:cubicBezTo>
                  <a:pt x="1042855" y="2580471"/>
                  <a:pt x="1030372" y="2580868"/>
                  <a:pt x="1017950" y="2581956"/>
                </a:cubicBezTo>
                <a:cubicBezTo>
                  <a:pt x="940684" y="2588728"/>
                  <a:pt x="863326" y="2593894"/>
                  <a:pt x="785764" y="2595473"/>
                </a:cubicBezTo>
                <a:cubicBezTo>
                  <a:pt x="745592" y="2596290"/>
                  <a:pt x="705413" y="2596778"/>
                  <a:pt x="665238" y="2597498"/>
                </a:cubicBezTo>
                <a:cubicBezTo>
                  <a:pt x="661698" y="2597562"/>
                  <a:pt x="658168" y="2598244"/>
                  <a:pt x="654332" y="2598673"/>
                </a:cubicBezTo>
                <a:cubicBezTo>
                  <a:pt x="664449" y="2711162"/>
                  <a:pt x="659668" y="2822547"/>
                  <a:pt x="653026" y="2935427"/>
                </a:cubicBezTo>
                <a:cubicBezTo>
                  <a:pt x="768837" y="2937973"/>
                  <a:pt x="882730" y="2939028"/>
                  <a:pt x="999154" y="2930680"/>
                </a:cubicBezTo>
                <a:moveTo>
                  <a:pt x="947894" y="3022480"/>
                </a:moveTo>
                <a:cubicBezTo>
                  <a:pt x="916629" y="3024040"/>
                  <a:pt x="885376" y="3026565"/>
                  <a:pt x="854096" y="3026952"/>
                </a:cubicBezTo>
                <a:cubicBezTo>
                  <a:pt x="794764" y="3027687"/>
                  <a:pt x="735417" y="3027198"/>
                  <a:pt x="676076" y="3027217"/>
                </a:cubicBezTo>
                <a:cubicBezTo>
                  <a:pt x="670121" y="3027219"/>
                  <a:pt x="664166" y="3027217"/>
                  <a:pt x="657155" y="3027217"/>
                </a:cubicBezTo>
                <a:cubicBezTo>
                  <a:pt x="655529" y="3062293"/>
                  <a:pt x="651846" y="3095886"/>
                  <a:pt x="650929" y="3130009"/>
                </a:cubicBezTo>
                <a:cubicBezTo>
                  <a:pt x="656057" y="3130467"/>
                  <a:pt x="659260" y="3130899"/>
                  <a:pt x="662475" y="3131016"/>
                </a:cubicBezTo>
                <a:cubicBezTo>
                  <a:pt x="700300" y="3132391"/>
                  <a:pt x="738118" y="3134111"/>
                  <a:pt x="775955" y="3134982"/>
                </a:cubicBezTo>
                <a:cubicBezTo>
                  <a:pt x="871340" y="3137178"/>
                  <a:pt x="966589" y="3135038"/>
                  <a:pt x="1061598" y="3125377"/>
                </a:cubicBezTo>
                <a:cubicBezTo>
                  <a:pt x="1124889" y="3118941"/>
                  <a:pt x="1187609" y="3109276"/>
                  <a:pt x="1249397" y="3093967"/>
                </a:cubicBezTo>
                <a:cubicBezTo>
                  <a:pt x="1253752" y="3092888"/>
                  <a:pt x="1257981" y="3091298"/>
                  <a:pt x="1262842" y="3089764"/>
                </a:cubicBezTo>
                <a:cubicBezTo>
                  <a:pt x="1259040" y="3062969"/>
                  <a:pt x="1254881" y="3037707"/>
                  <a:pt x="1244253" y="3014005"/>
                </a:cubicBezTo>
                <a:cubicBezTo>
                  <a:pt x="1242547" y="3010201"/>
                  <a:pt x="1239948" y="3006798"/>
                  <a:pt x="1237768" y="3003206"/>
                </a:cubicBezTo>
                <a:cubicBezTo>
                  <a:pt x="1233239" y="2995743"/>
                  <a:pt x="1227131" y="2992138"/>
                  <a:pt x="1217957" y="2993424"/>
                </a:cubicBezTo>
                <a:cubicBezTo>
                  <a:pt x="1199921" y="2995951"/>
                  <a:pt x="1181756" y="2997558"/>
                  <a:pt x="1163725" y="3000119"/>
                </a:cubicBezTo>
                <a:cubicBezTo>
                  <a:pt x="1092925" y="3010176"/>
                  <a:pt x="1021883" y="3017834"/>
                  <a:pt x="947894" y="3022480"/>
                </a:cubicBezTo>
                <a:moveTo>
                  <a:pt x="784197" y="1352777"/>
                </a:moveTo>
                <a:cubicBezTo>
                  <a:pt x="766462" y="1353462"/>
                  <a:pt x="748731" y="1354287"/>
                  <a:pt x="730991" y="1354793"/>
                </a:cubicBezTo>
                <a:cubicBezTo>
                  <a:pt x="712981" y="1355307"/>
                  <a:pt x="694940" y="1355183"/>
                  <a:pt x="676320" y="1356902"/>
                </a:cubicBezTo>
                <a:cubicBezTo>
                  <a:pt x="674799" y="1378289"/>
                  <a:pt x="673393" y="1398039"/>
                  <a:pt x="671906" y="1418933"/>
                </a:cubicBezTo>
                <a:cubicBezTo>
                  <a:pt x="677552" y="1418933"/>
                  <a:pt x="681678" y="1419046"/>
                  <a:pt x="685797" y="1418917"/>
                </a:cubicBezTo>
                <a:cubicBezTo>
                  <a:pt x="774966" y="1416107"/>
                  <a:pt x="864134" y="1413293"/>
                  <a:pt x="953300" y="1410383"/>
                </a:cubicBezTo>
                <a:cubicBezTo>
                  <a:pt x="958412" y="1410216"/>
                  <a:pt x="963542" y="1409471"/>
                  <a:pt x="968586" y="1408564"/>
                </a:cubicBezTo>
                <a:cubicBezTo>
                  <a:pt x="978218" y="1406833"/>
                  <a:pt x="980261" y="1404383"/>
                  <a:pt x="980375" y="1394590"/>
                </a:cubicBezTo>
                <a:cubicBezTo>
                  <a:pt x="980521" y="1382101"/>
                  <a:pt x="976026" y="1371666"/>
                  <a:pt x="965591" y="1364447"/>
                </a:cubicBezTo>
                <a:cubicBezTo>
                  <a:pt x="948967" y="1352947"/>
                  <a:pt x="930599" y="1347277"/>
                  <a:pt x="910211" y="1348103"/>
                </a:cubicBezTo>
                <a:cubicBezTo>
                  <a:pt x="869142" y="1349769"/>
                  <a:pt x="828062" y="1351175"/>
                  <a:pt x="784197" y="1352777"/>
                </a:cubicBezTo>
                <a:moveTo>
                  <a:pt x="648129" y="615881"/>
                </a:moveTo>
                <a:cubicBezTo>
                  <a:pt x="649058" y="632117"/>
                  <a:pt x="650192" y="648345"/>
                  <a:pt x="650869" y="664591"/>
                </a:cubicBezTo>
                <a:cubicBezTo>
                  <a:pt x="652013" y="692034"/>
                  <a:pt x="650274" y="719448"/>
                  <a:pt x="653223" y="746994"/>
                </a:cubicBezTo>
                <a:cubicBezTo>
                  <a:pt x="656187" y="774679"/>
                  <a:pt x="652958" y="802766"/>
                  <a:pt x="656163" y="830737"/>
                </a:cubicBezTo>
                <a:cubicBezTo>
                  <a:pt x="658910" y="854709"/>
                  <a:pt x="656763" y="879007"/>
                  <a:pt x="658740" y="903281"/>
                </a:cubicBezTo>
                <a:cubicBezTo>
                  <a:pt x="661875" y="941767"/>
                  <a:pt x="661060" y="980568"/>
                  <a:pt x="662209" y="1019226"/>
                </a:cubicBezTo>
                <a:cubicBezTo>
                  <a:pt x="662831" y="1040143"/>
                  <a:pt x="663923" y="1061048"/>
                  <a:pt x="665088" y="1081942"/>
                </a:cubicBezTo>
                <a:cubicBezTo>
                  <a:pt x="665498" y="1089302"/>
                  <a:pt x="668166" y="1091025"/>
                  <a:pt x="674628" y="1090643"/>
                </a:cubicBezTo>
                <a:cubicBezTo>
                  <a:pt x="703841" y="1088916"/>
                  <a:pt x="733054" y="1087111"/>
                  <a:pt x="762289" y="1085865"/>
                </a:cubicBezTo>
                <a:cubicBezTo>
                  <a:pt x="792528" y="1084574"/>
                  <a:pt x="822793" y="1083894"/>
                  <a:pt x="853046" y="1082948"/>
                </a:cubicBezTo>
                <a:cubicBezTo>
                  <a:pt x="853513" y="1082934"/>
                  <a:pt x="853981" y="1082919"/>
                  <a:pt x="854448" y="1082924"/>
                </a:cubicBezTo>
                <a:cubicBezTo>
                  <a:pt x="860299" y="1082998"/>
                  <a:pt x="864379" y="1080055"/>
                  <a:pt x="866364" y="1074839"/>
                </a:cubicBezTo>
                <a:cubicBezTo>
                  <a:pt x="874977" y="1052218"/>
                  <a:pt x="883766" y="1029650"/>
                  <a:pt x="891726" y="1006797"/>
                </a:cubicBezTo>
                <a:cubicBezTo>
                  <a:pt x="899510" y="984448"/>
                  <a:pt x="905967" y="961638"/>
                  <a:pt x="913720" y="939278"/>
                </a:cubicBezTo>
                <a:cubicBezTo>
                  <a:pt x="926840" y="901438"/>
                  <a:pt x="940566" y="863808"/>
                  <a:pt x="953952" y="826060"/>
                </a:cubicBezTo>
                <a:cubicBezTo>
                  <a:pt x="965626" y="793139"/>
                  <a:pt x="977165" y="760170"/>
                  <a:pt x="988796" y="727233"/>
                </a:cubicBezTo>
                <a:cubicBezTo>
                  <a:pt x="1004602" y="682474"/>
                  <a:pt x="1020729" y="637825"/>
                  <a:pt x="1036110" y="592920"/>
                </a:cubicBezTo>
                <a:cubicBezTo>
                  <a:pt x="1041693" y="576621"/>
                  <a:pt x="1044731" y="559627"/>
                  <a:pt x="1043677" y="542152"/>
                </a:cubicBezTo>
                <a:cubicBezTo>
                  <a:pt x="1043059" y="531887"/>
                  <a:pt x="1040345" y="522522"/>
                  <a:pt x="1030884" y="517222"/>
                </a:cubicBezTo>
                <a:cubicBezTo>
                  <a:pt x="1024045" y="513391"/>
                  <a:pt x="1016699" y="510004"/>
                  <a:pt x="1009162" y="507963"/>
                </a:cubicBezTo>
                <a:cubicBezTo>
                  <a:pt x="983620" y="501048"/>
                  <a:pt x="957981" y="494740"/>
                  <a:pt x="931266" y="493552"/>
                </a:cubicBezTo>
                <a:cubicBezTo>
                  <a:pt x="914169" y="492791"/>
                  <a:pt x="897177" y="489870"/>
                  <a:pt x="880100" y="488348"/>
                </a:cubicBezTo>
                <a:cubicBezTo>
                  <a:pt x="865298" y="487029"/>
                  <a:pt x="850441" y="486332"/>
                  <a:pt x="835610" y="485330"/>
                </a:cubicBezTo>
                <a:cubicBezTo>
                  <a:pt x="808745" y="483516"/>
                  <a:pt x="781896" y="480471"/>
                  <a:pt x="755014" y="480162"/>
                </a:cubicBezTo>
                <a:cubicBezTo>
                  <a:pt x="722439" y="479789"/>
                  <a:pt x="689836" y="481665"/>
                  <a:pt x="657249" y="482686"/>
                </a:cubicBezTo>
                <a:cubicBezTo>
                  <a:pt x="646583" y="483021"/>
                  <a:pt x="641424" y="489596"/>
                  <a:pt x="643184" y="500211"/>
                </a:cubicBezTo>
                <a:cubicBezTo>
                  <a:pt x="643789" y="503860"/>
                  <a:pt x="645104" y="507461"/>
                  <a:pt x="645220" y="511112"/>
                </a:cubicBezTo>
                <a:cubicBezTo>
                  <a:pt x="646298" y="545100"/>
                  <a:pt x="647185" y="579094"/>
                  <a:pt x="648129" y="615881"/>
                </a:cubicBezTo>
                <a:moveTo>
                  <a:pt x="886495" y="1207714"/>
                </a:moveTo>
                <a:cubicBezTo>
                  <a:pt x="884805" y="1206106"/>
                  <a:pt x="883380" y="1203949"/>
                  <a:pt x="881380" y="1202980"/>
                </a:cubicBezTo>
                <a:cubicBezTo>
                  <a:pt x="869508" y="1197225"/>
                  <a:pt x="866866" y="1186901"/>
                  <a:pt x="866913" y="1175042"/>
                </a:cubicBezTo>
                <a:cubicBezTo>
                  <a:pt x="866937" y="1168979"/>
                  <a:pt x="867225" y="1162853"/>
                  <a:pt x="866482" y="1156869"/>
                </a:cubicBezTo>
                <a:cubicBezTo>
                  <a:pt x="865810" y="1151447"/>
                  <a:pt x="863028" y="1147406"/>
                  <a:pt x="856429" y="1147458"/>
                </a:cubicBezTo>
                <a:cubicBezTo>
                  <a:pt x="834490" y="1147630"/>
                  <a:pt x="812519" y="1146897"/>
                  <a:pt x="790615" y="1147813"/>
                </a:cubicBezTo>
                <a:cubicBezTo>
                  <a:pt x="766540" y="1148819"/>
                  <a:pt x="742532" y="1151353"/>
                  <a:pt x="718484" y="1153058"/>
                </a:cubicBezTo>
                <a:cubicBezTo>
                  <a:pt x="702742" y="1154174"/>
                  <a:pt x="686965" y="1154817"/>
                  <a:pt x="671232" y="1156034"/>
                </a:cubicBezTo>
                <a:cubicBezTo>
                  <a:pt x="662945" y="1156675"/>
                  <a:pt x="661657" y="1159923"/>
                  <a:pt x="664146" y="1168443"/>
                </a:cubicBezTo>
                <a:cubicBezTo>
                  <a:pt x="665938" y="1174575"/>
                  <a:pt x="667544" y="1181027"/>
                  <a:pt x="667611" y="1187354"/>
                </a:cubicBezTo>
                <a:cubicBezTo>
                  <a:pt x="667956" y="1219564"/>
                  <a:pt x="667704" y="1251779"/>
                  <a:pt x="667803" y="1283992"/>
                </a:cubicBezTo>
                <a:cubicBezTo>
                  <a:pt x="667847" y="1297938"/>
                  <a:pt x="668871" y="1299219"/>
                  <a:pt x="683140" y="1298850"/>
                </a:cubicBezTo>
                <a:cubicBezTo>
                  <a:pt x="700774" y="1298393"/>
                  <a:pt x="718378" y="1296854"/>
                  <a:pt x="736011" y="1296220"/>
                </a:cubicBezTo>
                <a:cubicBezTo>
                  <a:pt x="767632" y="1295083"/>
                  <a:pt x="799265" y="1294272"/>
                  <a:pt x="830893" y="1293324"/>
                </a:cubicBezTo>
                <a:cubicBezTo>
                  <a:pt x="831826" y="1293296"/>
                  <a:pt x="832761" y="1293286"/>
                  <a:pt x="833691" y="1293213"/>
                </a:cubicBezTo>
                <a:cubicBezTo>
                  <a:pt x="856797" y="1291390"/>
                  <a:pt x="879886" y="1289299"/>
                  <a:pt x="903014" y="1287831"/>
                </a:cubicBezTo>
                <a:cubicBezTo>
                  <a:pt x="916073" y="1287002"/>
                  <a:pt x="919042" y="1284797"/>
                  <a:pt x="917225" y="1271856"/>
                </a:cubicBezTo>
                <a:cubicBezTo>
                  <a:pt x="913886" y="1248076"/>
                  <a:pt x="908472" y="1225007"/>
                  <a:pt x="886495" y="1207714"/>
                </a:cubicBezTo>
                <a:close/>
              </a:path>
            </a:pathLst>
          </a:custGeom>
          <a:solidFill>
            <a:srgbClr val="CDD9DF"/>
          </a:solidFill>
          <a:ln w="1401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" name="Free-form: Shape 27">
            <a:extLst>
              <a:ext uri="{FF2B5EF4-FFF2-40B4-BE49-F238E27FC236}">
                <a16:creationId xmlns:a16="http://schemas.microsoft.com/office/drawing/2014/main" id="{8E1074BA-2531-0CA8-855F-77199F4BB48C}"/>
              </a:ext>
            </a:extLst>
          </p:cNvPr>
          <p:cNvSpPr/>
          <p:nvPr/>
        </p:nvSpPr>
        <p:spPr>
          <a:xfrm>
            <a:off x="1133865" y="4076315"/>
            <a:ext cx="60119" cy="24090"/>
          </a:xfrm>
          <a:custGeom>
            <a:avLst/>
            <a:gdLst>
              <a:gd name="csX0" fmla="*/ 94424 w 144688"/>
              <a:gd name="csY0" fmla="*/ 9299 h 52707"/>
              <a:gd name="csX1" fmla="*/ 121261 w 144688"/>
              <a:gd name="csY1" fmla="*/ 16460 h 52707"/>
              <a:gd name="csX2" fmla="*/ 143563 w 144688"/>
              <a:gd name="csY2" fmla="*/ 43347 h 52707"/>
              <a:gd name="csX3" fmla="*/ 144689 w 144688"/>
              <a:gd name="csY3" fmla="*/ 52708 h 52707"/>
              <a:gd name="csX4" fmla="*/ 349 w 144688"/>
              <a:gd name="csY4" fmla="*/ 52708 h 52707"/>
              <a:gd name="csX5" fmla="*/ 738 w 144688"/>
              <a:gd name="csY5" fmla="*/ 572 h 52707"/>
              <a:gd name="csX6" fmla="*/ 94424 w 144688"/>
              <a:gd name="csY6" fmla="*/ 9299 h 5270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</a:cxnLst>
            <a:rect l="l" t="t" r="r" b="b"/>
            <a:pathLst>
              <a:path w="144688" h="52707">
                <a:moveTo>
                  <a:pt x="94424" y="9299"/>
                </a:moveTo>
                <a:cubicBezTo>
                  <a:pt x="104138" y="11826"/>
                  <a:pt x="112739" y="14007"/>
                  <a:pt x="121261" y="16460"/>
                </a:cubicBezTo>
                <a:cubicBezTo>
                  <a:pt x="134742" y="20340"/>
                  <a:pt x="143121" y="28544"/>
                  <a:pt x="143563" y="43347"/>
                </a:cubicBezTo>
                <a:cubicBezTo>
                  <a:pt x="143645" y="46090"/>
                  <a:pt x="144206" y="48818"/>
                  <a:pt x="144689" y="52708"/>
                </a:cubicBezTo>
                <a:cubicBezTo>
                  <a:pt x="96675" y="52708"/>
                  <a:pt x="49316" y="52708"/>
                  <a:pt x="349" y="52708"/>
                </a:cubicBezTo>
                <a:cubicBezTo>
                  <a:pt x="-379" y="35695"/>
                  <a:pt x="172" y="18742"/>
                  <a:pt x="738" y="572"/>
                </a:cubicBezTo>
                <a:cubicBezTo>
                  <a:pt x="32910" y="-1712"/>
                  <a:pt x="63133" y="3179"/>
                  <a:pt x="94424" y="9299"/>
                </a:cubicBezTo>
                <a:close/>
              </a:path>
            </a:pathLst>
          </a:custGeom>
          <a:solidFill>
            <a:srgbClr val="FBFCFB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9" name="Free-form: Shape 28">
            <a:extLst>
              <a:ext uri="{FF2B5EF4-FFF2-40B4-BE49-F238E27FC236}">
                <a16:creationId xmlns:a16="http://schemas.microsoft.com/office/drawing/2014/main" id="{B68EEAFB-553B-EEE3-5AC2-3E4FCAB3D7EA}"/>
              </a:ext>
            </a:extLst>
          </p:cNvPr>
          <p:cNvSpPr/>
          <p:nvPr/>
        </p:nvSpPr>
        <p:spPr>
          <a:xfrm>
            <a:off x="1132412" y="4576788"/>
            <a:ext cx="146173" cy="466072"/>
          </a:xfrm>
          <a:custGeom>
            <a:avLst/>
            <a:gdLst>
              <a:gd name="csX0" fmla="*/ 0 w 351791"/>
              <a:gd name="csY0" fmla="*/ 975370 h 1019713"/>
              <a:gd name="csX1" fmla="*/ 2187 w 351791"/>
              <a:gd name="csY1" fmla="*/ 923083 h 1019713"/>
              <a:gd name="csX2" fmla="*/ 2287 w 351791"/>
              <a:gd name="csY2" fmla="*/ 897079 h 1019713"/>
              <a:gd name="csX3" fmla="*/ 2799 w 351791"/>
              <a:gd name="csY3" fmla="*/ 849144 h 1019713"/>
              <a:gd name="csX4" fmla="*/ 5052 w 351791"/>
              <a:gd name="csY4" fmla="*/ 773650 h 1019713"/>
              <a:gd name="csX5" fmla="*/ 7113 w 351791"/>
              <a:gd name="csY5" fmla="*/ 630071 h 1019713"/>
              <a:gd name="csX6" fmla="*/ 9133 w 351791"/>
              <a:gd name="csY6" fmla="*/ 528600 h 1019713"/>
              <a:gd name="csX7" fmla="*/ 9163 w 351791"/>
              <a:gd name="csY7" fmla="*/ 497413 h 1019713"/>
              <a:gd name="csX8" fmla="*/ 11812 w 351791"/>
              <a:gd name="csY8" fmla="*/ 379910 h 1019713"/>
              <a:gd name="csX9" fmla="*/ 12024 w 351791"/>
              <a:gd name="csY9" fmla="*/ 348726 h 1019713"/>
              <a:gd name="csX10" fmla="*/ 14645 w 351791"/>
              <a:gd name="csY10" fmla="*/ 239691 h 1019713"/>
              <a:gd name="csX11" fmla="*/ 14784 w 351791"/>
              <a:gd name="csY11" fmla="*/ 214091 h 1019713"/>
              <a:gd name="csX12" fmla="*/ 17570 w 351791"/>
              <a:gd name="csY12" fmla="*/ 88165 h 1019713"/>
              <a:gd name="csX13" fmla="*/ 17615 w 351791"/>
              <a:gd name="csY13" fmla="*/ 37421 h 1019713"/>
              <a:gd name="csX14" fmla="*/ 18182 w 351791"/>
              <a:gd name="csY14" fmla="*/ 15484 h 1019713"/>
              <a:gd name="csX15" fmla="*/ 22091 w 351791"/>
              <a:gd name="csY15" fmla="*/ 2787 h 1019713"/>
              <a:gd name="csX16" fmla="*/ 54703 w 351791"/>
              <a:gd name="csY16" fmla="*/ 2968 h 1019713"/>
              <a:gd name="csX17" fmla="*/ 102677 w 351791"/>
              <a:gd name="csY17" fmla="*/ 2086 h 1019713"/>
              <a:gd name="csX18" fmla="*/ 175262 w 351791"/>
              <a:gd name="csY18" fmla="*/ 0 h 1019713"/>
              <a:gd name="csX19" fmla="*/ 189022 w 351791"/>
              <a:gd name="csY19" fmla="*/ 1595 h 1019713"/>
              <a:gd name="csX20" fmla="*/ 190628 w 351791"/>
              <a:gd name="csY20" fmla="*/ 112461 h 1019713"/>
              <a:gd name="csX21" fmla="*/ 191584 w 351791"/>
              <a:gd name="csY21" fmla="*/ 129605 h 1019713"/>
              <a:gd name="csX22" fmla="*/ 193429 w 351791"/>
              <a:gd name="csY22" fmla="*/ 173943 h 1019713"/>
              <a:gd name="csX23" fmla="*/ 194215 w 351791"/>
              <a:gd name="csY23" fmla="*/ 182908 h 1019713"/>
              <a:gd name="csX24" fmla="*/ 196316 w 351791"/>
              <a:gd name="csY24" fmla="*/ 215902 h 1019713"/>
              <a:gd name="csX25" fmla="*/ 196980 w 351791"/>
              <a:gd name="csY25" fmla="*/ 222182 h 1019713"/>
              <a:gd name="csX26" fmla="*/ 198972 w 351791"/>
              <a:gd name="csY26" fmla="*/ 249680 h 1019713"/>
              <a:gd name="csX27" fmla="*/ 199949 w 351791"/>
              <a:gd name="csY27" fmla="*/ 258553 h 1019713"/>
              <a:gd name="csX28" fmla="*/ 201912 w 351791"/>
              <a:gd name="csY28" fmla="*/ 280418 h 1019713"/>
              <a:gd name="csX29" fmla="*/ 202686 w 351791"/>
              <a:gd name="csY29" fmla="*/ 286632 h 1019713"/>
              <a:gd name="csX30" fmla="*/ 204600 w 351791"/>
              <a:gd name="csY30" fmla="*/ 308453 h 1019713"/>
              <a:gd name="csX31" fmla="*/ 205443 w 351791"/>
              <a:gd name="csY31" fmla="*/ 314650 h 1019713"/>
              <a:gd name="csX32" fmla="*/ 207431 w 351791"/>
              <a:gd name="csY32" fmla="*/ 333707 h 1019713"/>
              <a:gd name="csX33" fmla="*/ 208345 w 351791"/>
              <a:gd name="csY33" fmla="*/ 339842 h 1019713"/>
              <a:gd name="csX34" fmla="*/ 210218 w 351791"/>
              <a:gd name="csY34" fmla="*/ 356144 h 1019713"/>
              <a:gd name="csX35" fmla="*/ 211157 w 351791"/>
              <a:gd name="csY35" fmla="*/ 362375 h 1019713"/>
              <a:gd name="csX36" fmla="*/ 215820 w 351791"/>
              <a:gd name="csY36" fmla="*/ 398224 h 1019713"/>
              <a:gd name="csX37" fmla="*/ 216821 w 351791"/>
              <a:gd name="csY37" fmla="*/ 404425 h 1019713"/>
              <a:gd name="csX38" fmla="*/ 224187 w 351791"/>
              <a:gd name="csY38" fmla="*/ 451440 h 1019713"/>
              <a:gd name="csX39" fmla="*/ 225295 w 351791"/>
              <a:gd name="csY39" fmla="*/ 457691 h 1019713"/>
              <a:gd name="csX40" fmla="*/ 226831 w 351791"/>
              <a:gd name="csY40" fmla="*/ 468268 h 1019713"/>
              <a:gd name="csX41" fmla="*/ 228069 w 351791"/>
              <a:gd name="csY41" fmla="*/ 474360 h 1019713"/>
              <a:gd name="csX42" fmla="*/ 229778 w 351791"/>
              <a:gd name="csY42" fmla="*/ 485181 h 1019713"/>
              <a:gd name="csX43" fmla="*/ 230932 w 351791"/>
              <a:gd name="csY43" fmla="*/ 491348 h 1019713"/>
              <a:gd name="csX44" fmla="*/ 238095 w 351791"/>
              <a:gd name="csY44" fmla="*/ 532855 h 1019713"/>
              <a:gd name="csX45" fmla="*/ 239424 w 351791"/>
              <a:gd name="csY45" fmla="*/ 539021 h 1019713"/>
              <a:gd name="csX46" fmla="*/ 252120 w 351791"/>
              <a:gd name="csY46" fmla="*/ 605725 h 1019713"/>
              <a:gd name="csX47" fmla="*/ 253460 w 351791"/>
              <a:gd name="csY47" fmla="*/ 611945 h 1019713"/>
              <a:gd name="csX48" fmla="*/ 258622 w 351791"/>
              <a:gd name="csY48" fmla="*/ 639154 h 1019713"/>
              <a:gd name="csX49" fmla="*/ 285765 w 351791"/>
              <a:gd name="csY49" fmla="*/ 762817 h 1019713"/>
              <a:gd name="csX50" fmla="*/ 287284 w 351791"/>
              <a:gd name="csY50" fmla="*/ 768970 h 1019713"/>
              <a:gd name="csX51" fmla="*/ 351792 w 351791"/>
              <a:gd name="csY51" fmla="*/ 1017474 h 1019713"/>
              <a:gd name="csX52" fmla="*/ 308062 w 351791"/>
              <a:gd name="csY52" fmla="*/ 1016918 h 1019713"/>
              <a:gd name="csX53" fmla="*/ 241358 w 351791"/>
              <a:gd name="csY53" fmla="*/ 1016276 h 1019713"/>
              <a:gd name="csX54" fmla="*/ 229231 w 351791"/>
              <a:gd name="csY54" fmla="*/ 1017881 h 1019713"/>
              <a:gd name="csX55" fmla="*/ 0 w 351791"/>
              <a:gd name="csY55" fmla="*/ 1019714 h 1019713"/>
              <a:gd name="csX56" fmla="*/ 0 w 351791"/>
              <a:gd name="csY56" fmla="*/ 975370 h 101971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</a:cxnLst>
            <a:rect l="l" t="t" r="r" b="b"/>
            <a:pathLst>
              <a:path w="351791" h="1019713">
                <a:moveTo>
                  <a:pt x="0" y="975370"/>
                </a:moveTo>
                <a:cubicBezTo>
                  <a:pt x="743" y="957941"/>
                  <a:pt x="1582" y="940516"/>
                  <a:pt x="2187" y="923083"/>
                </a:cubicBezTo>
                <a:cubicBezTo>
                  <a:pt x="2458" y="915260"/>
                  <a:pt x="2262" y="907422"/>
                  <a:pt x="2287" y="897079"/>
                </a:cubicBezTo>
                <a:cubicBezTo>
                  <a:pt x="2463" y="879425"/>
                  <a:pt x="2631" y="864284"/>
                  <a:pt x="2799" y="849144"/>
                </a:cubicBezTo>
                <a:cubicBezTo>
                  <a:pt x="3544" y="824817"/>
                  <a:pt x="4289" y="800489"/>
                  <a:pt x="5052" y="773650"/>
                </a:cubicBezTo>
                <a:cubicBezTo>
                  <a:pt x="5751" y="724115"/>
                  <a:pt x="6432" y="677093"/>
                  <a:pt x="7113" y="630071"/>
                </a:cubicBezTo>
                <a:cubicBezTo>
                  <a:pt x="7598" y="596560"/>
                  <a:pt x="8084" y="563050"/>
                  <a:pt x="9133" y="528600"/>
                </a:cubicBezTo>
                <a:cubicBezTo>
                  <a:pt x="9465" y="518010"/>
                  <a:pt x="9234" y="508360"/>
                  <a:pt x="9163" y="497413"/>
                </a:cubicBezTo>
                <a:cubicBezTo>
                  <a:pt x="9957" y="457690"/>
                  <a:pt x="10592" y="419261"/>
                  <a:pt x="11812" y="379910"/>
                </a:cubicBezTo>
                <a:cubicBezTo>
                  <a:pt x="12221" y="369334"/>
                  <a:pt x="12045" y="359680"/>
                  <a:pt x="12024" y="348726"/>
                </a:cubicBezTo>
                <a:cubicBezTo>
                  <a:pt x="12813" y="311813"/>
                  <a:pt x="13446" y="276201"/>
                  <a:pt x="14645" y="239691"/>
                </a:cubicBezTo>
                <a:cubicBezTo>
                  <a:pt x="15021" y="230992"/>
                  <a:pt x="14832" y="223190"/>
                  <a:pt x="14784" y="214091"/>
                </a:cubicBezTo>
                <a:cubicBezTo>
                  <a:pt x="15615" y="171575"/>
                  <a:pt x="16305" y="130355"/>
                  <a:pt x="17570" y="88165"/>
                </a:cubicBezTo>
                <a:cubicBezTo>
                  <a:pt x="17924" y="71015"/>
                  <a:pt x="17703" y="54835"/>
                  <a:pt x="17615" y="37421"/>
                </a:cubicBezTo>
                <a:cubicBezTo>
                  <a:pt x="17715" y="29569"/>
                  <a:pt x="17682" y="22951"/>
                  <a:pt x="18182" y="15484"/>
                </a:cubicBezTo>
                <a:cubicBezTo>
                  <a:pt x="19427" y="10639"/>
                  <a:pt x="20141" y="6642"/>
                  <a:pt x="22091" y="2787"/>
                </a:cubicBezTo>
                <a:cubicBezTo>
                  <a:pt x="33455" y="2760"/>
                  <a:pt x="43581" y="2592"/>
                  <a:pt x="54703" y="2968"/>
                </a:cubicBezTo>
                <a:cubicBezTo>
                  <a:pt x="70921" y="2997"/>
                  <a:pt x="86144" y="2480"/>
                  <a:pt x="102677" y="2086"/>
                </a:cubicBezTo>
                <a:cubicBezTo>
                  <a:pt x="127444" y="1303"/>
                  <a:pt x="150901" y="399"/>
                  <a:pt x="175262" y="0"/>
                </a:cubicBezTo>
                <a:cubicBezTo>
                  <a:pt x="180415" y="388"/>
                  <a:pt x="184664" y="270"/>
                  <a:pt x="189022" y="1595"/>
                </a:cubicBezTo>
                <a:cubicBezTo>
                  <a:pt x="189796" y="39233"/>
                  <a:pt x="190459" y="75430"/>
                  <a:pt x="190628" y="112461"/>
                </a:cubicBezTo>
                <a:cubicBezTo>
                  <a:pt x="190659" y="118310"/>
                  <a:pt x="191185" y="123324"/>
                  <a:pt x="191584" y="129605"/>
                </a:cubicBezTo>
                <a:cubicBezTo>
                  <a:pt x="192268" y="145024"/>
                  <a:pt x="193079" y="159176"/>
                  <a:pt x="193429" y="173943"/>
                </a:cubicBezTo>
                <a:cubicBezTo>
                  <a:pt x="193407" y="176938"/>
                  <a:pt x="193846" y="179318"/>
                  <a:pt x="194215" y="182908"/>
                </a:cubicBezTo>
                <a:cubicBezTo>
                  <a:pt x="195008" y="194551"/>
                  <a:pt x="195871" y="204983"/>
                  <a:pt x="196316" y="215902"/>
                </a:cubicBezTo>
                <a:cubicBezTo>
                  <a:pt x="196287" y="217918"/>
                  <a:pt x="196676" y="219447"/>
                  <a:pt x="196980" y="222182"/>
                </a:cubicBezTo>
                <a:cubicBezTo>
                  <a:pt x="197737" y="231943"/>
                  <a:pt x="198578" y="240498"/>
                  <a:pt x="198972" y="249680"/>
                </a:cubicBezTo>
                <a:cubicBezTo>
                  <a:pt x="199023" y="252674"/>
                  <a:pt x="199521" y="255040"/>
                  <a:pt x="199949" y="258553"/>
                </a:cubicBezTo>
                <a:cubicBezTo>
                  <a:pt x="200695" y="266443"/>
                  <a:pt x="201512" y="273186"/>
                  <a:pt x="201912" y="280418"/>
                </a:cubicBezTo>
                <a:cubicBezTo>
                  <a:pt x="201915" y="282431"/>
                  <a:pt x="202335" y="283954"/>
                  <a:pt x="202686" y="286632"/>
                </a:cubicBezTo>
                <a:cubicBezTo>
                  <a:pt x="203420" y="294511"/>
                  <a:pt x="204221" y="301235"/>
                  <a:pt x="204600" y="308453"/>
                </a:cubicBezTo>
                <a:cubicBezTo>
                  <a:pt x="204617" y="310478"/>
                  <a:pt x="205056" y="312010"/>
                  <a:pt x="205443" y="314650"/>
                </a:cubicBezTo>
                <a:cubicBezTo>
                  <a:pt x="206209" y="321575"/>
                  <a:pt x="207026" y="327392"/>
                  <a:pt x="207431" y="333707"/>
                </a:cubicBezTo>
                <a:cubicBezTo>
                  <a:pt x="207477" y="335726"/>
                  <a:pt x="207935" y="337248"/>
                  <a:pt x="208345" y="339842"/>
                </a:cubicBezTo>
                <a:cubicBezTo>
                  <a:pt x="209075" y="345825"/>
                  <a:pt x="209853" y="350735"/>
                  <a:pt x="210218" y="356144"/>
                </a:cubicBezTo>
                <a:cubicBezTo>
                  <a:pt x="210268" y="358165"/>
                  <a:pt x="210732" y="359689"/>
                  <a:pt x="211157" y="362375"/>
                </a:cubicBezTo>
                <a:cubicBezTo>
                  <a:pt x="212820" y="374932"/>
                  <a:pt x="214522" y="386326"/>
                  <a:pt x="215820" y="398224"/>
                </a:cubicBezTo>
                <a:cubicBezTo>
                  <a:pt x="215896" y="400245"/>
                  <a:pt x="216376" y="401761"/>
                  <a:pt x="216821" y="404425"/>
                </a:cubicBezTo>
                <a:cubicBezTo>
                  <a:pt x="219381" y="420620"/>
                  <a:pt x="221974" y="435667"/>
                  <a:pt x="224187" y="451440"/>
                </a:cubicBezTo>
                <a:cubicBezTo>
                  <a:pt x="224310" y="453633"/>
                  <a:pt x="224814" y="455099"/>
                  <a:pt x="225295" y="457691"/>
                </a:cubicBezTo>
                <a:cubicBezTo>
                  <a:pt x="225916" y="461722"/>
                  <a:pt x="226560" y="464628"/>
                  <a:pt x="226831" y="468268"/>
                </a:cubicBezTo>
                <a:cubicBezTo>
                  <a:pt x="227002" y="470469"/>
                  <a:pt x="227545" y="471935"/>
                  <a:pt x="228069" y="474360"/>
                </a:cubicBezTo>
                <a:cubicBezTo>
                  <a:pt x="228757" y="478435"/>
                  <a:pt x="229465" y="481551"/>
                  <a:pt x="229778" y="485181"/>
                </a:cubicBezTo>
                <a:cubicBezTo>
                  <a:pt x="229895" y="487205"/>
                  <a:pt x="230405" y="488717"/>
                  <a:pt x="230932" y="491348"/>
                </a:cubicBezTo>
                <a:cubicBezTo>
                  <a:pt x="233462" y="505758"/>
                  <a:pt x="235976" y="519047"/>
                  <a:pt x="238095" y="532855"/>
                </a:cubicBezTo>
                <a:cubicBezTo>
                  <a:pt x="238266" y="534884"/>
                  <a:pt x="238832" y="536393"/>
                  <a:pt x="239424" y="539021"/>
                </a:cubicBezTo>
                <a:cubicBezTo>
                  <a:pt x="243794" y="561754"/>
                  <a:pt x="248139" y="583369"/>
                  <a:pt x="252120" y="605725"/>
                </a:cubicBezTo>
                <a:cubicBezTo>
                  <a:pt x="252314" y="607922"/>
                  <a:pt x="252872" y="609379"/>
                  <a:pt x="253460" y="611945"/>
                </a:cubicBezTo>
                <a:cubicBezTo>
                  <a:pt x="255190" y="621757"/>
                  <a:pt x="256700" y="630501"/>
                  <a:pt x="258622" y="639154"/>
                </a:cubicBezTo>
                <a:cubicBezTo>
                  <a:pt x="267724" y="680139"/>
                  <a:pt x="276939" y="721098"/>
                  <a:pt x="285765" y="762817"/>
                </a:cubicBezTo>
                <a:cubicBezTo>
                  <a:pt x="286023" y="765009"/>
                  <a:pt x="286629" y="766448"/>
                  <a:pt x="287284" y="768970"/>
                </a:cubicBezTo>
                <a:cubicBezTo>
                  <a:pt x="306160" y="852474"/>
                  <a:pt x="325237" y="934833"/>
                  <a:pt x="351792" y="1017474"/>
                </a:cubicBezTo>
                <a:cubicBezTo>
                  <a:pt x="335905" y="1017474"/>
                  <a:pt x="322480" y="1017474"/>
                  <a:pt x="308062" y="1016918"/>
                </a:cubicBezTo>
                <a:cubicBezTo>
                  <a:pt x="285165" y="1016306"/>
                  <a:pt x="263261" y="1016166"/>
                  <a:pt x="241358" y="1016276"/>
                </a:cubicBezTo>
                <a:cubicBezTo>
                  <a:pt x="237751" y="1016294"/>
                  <a:pt x="234149" y="1017408"/>
                  <a:pt x="229231" y="1017881"/>
                </a:cubicBezTo>
                <a:cubicBezTo>
                  <a:pt x="152375" y="1018399"/>
                  <a:pt x="76832" y="1019051"/>
                  <a:pt x="0" y="1019714"/>
                </a:cubicBezTo>
                <a:cubicBezTo>
                  <a:pt x="0" y="1004040"/>
                  <a:pt x="0" y="989705"/>
                  <a:pt x="0" y="975370"/>
                </a:cubicBezTo>
                <a:close/>
              </a:path>
            </a:pathLst>
          </a:custGeom>
          <a:solidFill>
            <a:srgbClr val="FEFEFD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0" name="Free-form: Shape 29">
            <a:extLst>
              <a:ext uri="{FF2B5EF4-FFF2-40B4-BE49-F238E27FC236}">
                <a16:creationId xmlns:a16="http://schemas.microsoft.com/office/drawing/2014/main" id="{87F6CCC1-E064-1B7A-7904-EC4A250CE296}"/>
              </a:ext>
            </a:extLst>
          </p:cNvPr>
          <p:cNvSpPr/>
          <p:nvPr/>
        </p:nvSpPr>
        <p:spPr>
          <a:xfrm>
            <a:off x="1132298" y="5078593"/>
            <a:ext cx="238001" cy="163404"/>
          </a:xfrm>
          <a:custGeom>
            <a:avLst/>
            <a:gdLst>
              <a:gd name="csX0" fmla="*/ 344821 w 572791"/>
              <a:gd name="csY0" fmla="*/ 351014 h 357509"/>
              <a:gd name="csX1" fmla="*/ 0 w 572791"/>
              <a:gd name="csY1" fmla="*/ 355669 h 357509"/>
              <a:gd name="csX2" fmla="*/ 1306 w 572791"/>
              <a:gd name="csY2" fmla="*/ 18915 h 357509"/>
              <a:gd name="csX3" fmla="*/ 12212 w 572791"/>
              <a:gd name="csY3" fmla="*/ 17740 h 357509"/>
              <a:gd name="csX4" fmla="*/ 132738 w 572791"/>
              <a:gd name="csY4" fmla="*/ 15715 h 357509"/>
              <a:gd name="csX5" fmla="*/ 364924 w 572791"/>
              <a:gd name="csY5" fmla="*/ 2198 h 357509"/>
              <a:gd name="csX6" fmla="*/ 402207 w 572791"/>
              <a:gd name="csY6" fmla="*/ 0 h 357509"/>
              <a:gd name="csX7" fmla="*/ 403816 w 572791"/>
              <a:gd name="csY7" fmla="*/ 4817 h 357509"/>
              <a:gd name="csX8" fmla="*/ 443486 w 572791"/>
              <a:gd name="csY8" fmla="*/ 95035 h 357509"/>
              <a:gd name="csX9" fmla="*/ 503695 w 572791"/>
              <a:gd name="csY9" fmla="*/ 157671 h 357509"/>
              <a:gd name="csX10" fmla="*/ 544964 w 572791"/>
              <a:gd name="csY10" fmla="*/ 208741 h 357509"/>
              <a:gd name="csX11" fmla="*/ 572752 w 572791"/>
              <a:gd name="csY11" fmla="*/ 314190 h 357509"/>
              <a:gd name="csX12" fmla="*/ 571373 w 572791"/>
              <a:gd name="csY12" fmla="*/ 324914 h 357509"/>
              <a:gd name="csX13" fmla="*/ 344821 w 572791"/>
              <a:gd name="csY13" fmla="*/ 351014 h 35750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</a:cxnLst>
            <a:rect l="l" t="t" r="r" b="b"/>
            <a:pathLst>
              <a:path w="572791" h="357509">
                <a:moveTo>
                  <a:pt x="344821" y="351014"/>
                </a:moveTo>
                <a:cubicBezTo>
                  <a:pt x="229704" y="359270"/>
                  <a:pt x="115810" y="358215"/>
                  <a:pt x="0" y="355669"/>
                </a:cubicBezTo>
                <a:cubicBezTo>
                  <a:pt x="6641" y="242789"/>
                  <a:pt x="11423" y="131403"/>
                  <a:pt x="1306" y="18915"/>
                </a:cubicBezTo>
                <a:cubicBezTo>
                  <a:pt x="5142" y="18486"/>
                  <a:pt x="8671" y="17803"/>
                  <a:pt x="12212" y="17740"/>
                </a:cubicBezTo>
                <a:cubicBezTo>
                  <a:pt x="52386" y="17019"/>
                  <a:pt x="92565" y="16532"/>
                  <a:pt x="132738" y="15715"/>
                </a:cubicBezTo>
                <a:cubicBezTo>
                  <a:pt x="210300" y="14136"/>
                  <a:pt x="287658" y="8969"/>
                  <a:pt x="364924" y="2198"/>
                </a:cubicBezTo>
                <a:cubicBezTo>
                  <a:pt x="377346" y="1110"/>
                  <a:pt x="389829" y="713"/>
                  <a:pt x="402207" y="0"/>
                </a:cubicBezTo>
                <a:cubicBezTo>
                  <a:pt x="402989" y="2261"/>
                  <a:pt x="403828" y="3543"/>
                  <a:pt x="403816" y="4817"/>
                </a:cubicBezTo>
                <a:cubicBezTo>
                  <a:pt x="403458" y="40866"/>
                  <a:pt x="420668" y="69493"/>
                  <a:pt x="443486" y="95035"/>
                </a:cubicBezTo>
                <a:cubicBezTo>
                  <a:pt x="462767" y="116618"/>
                  <a:pt x="484228" y="136244"/>
                  <a:pt x="503695" y="157671"/>
                </a:cubicBezTo>
                <a:cubicBezTo>
                  <a:pt x="518401" y="173858"/>
                  <a:pt x="532941" y="190557"/>
                  <a:pt x="544964" y="208741"/>
                </a:cubicBezTo>
                <a:cubicBezTo>
                  <a:pt x="565917" y="240429"/>
                  <a:pt x="573411" y="276430"/>
                  <a:pt x="572752" y="314190"/>
                </a:cubicBezTo>
                <a:cubicBezTo>
                  <a:pt x="572696" y="317365"/>
                  <a:pt x="571957" y="320529"/>
                  <a:pt x="571373" y="324914"/>
                </a:cubicBezTo>
                <a:cubicBezTo>
                  <a:pt x="496226" y="334583"/>
                  <a:pt x="421404" y="344621"/>
                  <a:pt x="344821" y="351014"/>
                </a:cubicBezTo>
                <a:close/>
              </a:path>
            </a:pathLst>
          </a:custGeom>
          <a:solidFill>
            <a:srgbClr val="FEFEFD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1" name="Free-form: Shape 30">
            <a:extLst>
              <a:ext uri="{FF2B5EF4-FFF2-40B4-BE49-F238E27FC236}">
                <a16:creationId xmlns:a16="http://schemas.microsoft.com/office/drawing/2014/main" id="{992AF66B-FFD2-F0E6-5D13-A9E4685C69E2}"/>
              </a:ext>
            </a:extLst>
          </p:cNvPr>
          <p:cNvSpPr/>
          <p:nvPr/>
        </p:nvSpPr>
        <p:spPr>
          <a:xfrm>
            <a:off x="1131427" y="5267547"/>
            <a:ext cx="254257" cy="65178"/>
          </a:xfrm>
          <a:custGeom>
            <a:avLst/>
            <a:gdLst>
              <a:gd name="csX0" fmla="*/ 298270 w 611913"/>
              <a:gd name="csY0" fmla="*/ 29215 h 142602"/>
              <a:gd name="csX1" fmla="*/ 512796 w 611913"/>
              <a:gd name="csY1" fmla="*/ 6951 h 142602"/>
              <a:gd name="csX2" fmla="*/ 567029 w 611913"/>
              <a:gd name="csY2" fmla="*/ 256 h 142602"/>
              <a:gd name="csX3" fmla="*/ 586840 w 611913"/>
              <a:gd name="csY3" fmla="*/ 10038 h 142602"/>
              <a:gd name="csX4" fmla="*/ 593324 w 611913"/>
              <a:gd name="csY4" fmla="*/ 20837 h 142602"/>
              <a:gd name="csX5" fmla="*/ 611914 w 611913"/>
              <a:gd name="csY5" fmla="*/ 96596 h 142602"/>
              <a:gd name="csX6" fmla="*/ 598468 w 611913"/>
              <a:gd name="csY6" fmla="*/ 100799 h 142602"/>
              <a:gd name="csX7" fmla="*/ 410669 w 611913"/>
              <a:gd name="csY7" fmla="*/ 132209 h 142602"/>
              <a:gd name="csX8" fmla="*/ 125026 w 611913"/>
              <a:gd name="csY8" fmla="*/ 141814 h 142602"/>
              <a:gd name="csX9" fmla="*/ 11546 w 611913"/>
              <a:gd name="csY9" fmla="*/ 137848 h 142602"/>
              <a:gd name="csX10" fmla="*/ 0 w 611913"/>
              <a:gd name="csY10" fmla="*/ 136841 h 142602"/>
              <a:gd name="csX11" fmla="*/ 6226 w 611913"/>
              <a:gd name="csY11" fmla="*/ 34049 h 142602"/>
              <a:gd name="csX12" fmla="*/ 25148 w 611913"/>
              <a:gd name="csY12" fmla="*/ 34049 h 142602"/>
              <a:gd name="csX13" fmla="*/ 203168 w 611913"/>
              <a:gd name="csY13" fmla="*/ 33784 h 142602"/>
              <a:gd name="csX14" fmla="*/ 298270 w 611913"/>
              <a:gd name="csY14" fmla="*/ 29215 h 14260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</a:cxnLst>
            <a:rect l="l" t="t" r="r" b="b"/>
            <a:pathLst>
              <a:path w="611913" h="142602">
                <a:moveTo>
                  <a:pt x="298270" y="29215"/>
                </a:moveTo>
                <a:cubicBezTo>
                  <a:pt x="370954" y="24666"/>
                  <a:pt x="441996" y="17008"/>
                  <a:pt x="512796" y="6951"/>
                </a:cubicBezTo>
                <a:cubicBezTo>
                  <a:pt x="530827" y="4390"/>
                  <a:pt x="548992" y="2783"/>
                  <a:pt x="567029" y="256"/>
                </a:cubicBezTo>
                <a:cubicBezTo>
                  <a:pt x="576202" y="-1030"/>
                  <a:pt x="582311" y="2575"/>
                  <a:pt x="586840" y="10038"/>
                </a:cubicBezTo>
                <a:cubicBezTo>
                  <a:pt x="589020" y="13630"/>
                  <a:pt x="591618" y="17033"/>
                  <a:pt x="593324" y="20837"/>
                </a:cubicBezTo>
                <a:cubicBezTo>
                  <a:pt x="603952" y="44539"/>
                  <a:pt x="608111" y="69801"/>
                  <a:pt x="611914" y="96596"/>
                </a:cubicBezTo>
                <a:cubicBezTo>
                  <a:pt x="607052" y="98130"/>
                  <a:pt x="602824" y="99720"/>
                  <a:pt x="598468" y="100799"/>
                </a:cubicBezTo>
                <a:cubicBezTo>
                  <a:pt x="536680" y="116108"/>
                  <a:pt x="473961" y="125773"/>
                  <a:pt x="410669" y="132209"/>
                </a:cubicBezTo>
                <a:cubicBezTo>
                  <a:pt x="315660" y="141870"/>
                  <a:pt x="220411" y="144010"/>
                  <a:pt x="125026" y="141814"/>
                </a:cubicBezTo>
                <a:cubicBezTo>
                  <a:pt x="87189" y="140943"/>
                  <a:pt x="49371" y="139223"/>
                  <a:pt x="11546" y="137848"/>
                </a:cubicBezTo>
                <a:cubicBezTo>
                  <a:pt x="8331" y="137731"/>
                  <a:pt x="5128" y="137299"/>
                  <a:pt x="0" y="136841"/>
                </a:cubicBezTo>
                <a:cubicBezTo>
                  <a:pt x="917" y="102718"/>
                  <a:pt x="4600" y="69125"/>
                  <a:pt x="6226" y="34049"/>
                </a:cubicBezTo>
                <a:cubicBezTo>
                  <a:pt x="13237" y="34049"/>
                  <a:pt x="19192" y="34051"/>
                  <a:pt x="25148" y="34049"/>
                </a:cubicBezTo>
                <a:cubicBezTo>
                  <a:pt x="84488" y="34030"/>
                  <a:pt x="143836" y="34519"/>
                  <a:pt x="203168" y="33784"/>
                </a:cubicBezTo>
                <a:cubicBezTo>
                  <a:pt x="234447" y="33397"/>
                  <a:pt x="265701" y="30872"/>
                  <a:pt x="298270" y="29215"/>
                </a:cubicBezTo>
                <a:close/>
              </a:path>
            </a:pathLst>
          </a:custGeom>
          <a:solidFill>
            <a:srgbClr val="FEFDFB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" name="Free-form: Shape 31">
            <a:extLst>
              <a:ext uri="{FF2B5EF4-FFF2-40B4-BE49-F238E27FC236}">
                <a16:creationId xmlns:a16="http://schemas.microsoft.com/office/drawing/2014/main" id="{B6F8BB31-7C37-5D9A-1B64-B1D3EBA5F961}"/>
              </a:ext>
            </a:extLst>
          </p:cNvPr>
          <p:cNvSpPr/>
          <p:nvPr/>
        </p:nvSpPr>
        <p:spPr>
          <a:xfrm>
            <a:off x="1140144" y="4515615"/>
            <a:ext cx="128174" cy="32430"/>
          </a:xfrm>
          <a:custGeom>
            <a:avLst/>
            <a:gdLst>
              <a:gd name="csX0" fmla="*/ 113686 w 308472"/>
              <a:gd name="csY0" fmla="*/ 4708 h 70954"/>
              <a:gd name="csX1" fmla="*/ 238304 w 308472"/>
              <a:gd name="csY1" fmla="*/ 79 h 70954"/>
              <a:gd name="csX2" fmla="*/ 293684 w 308472"/>
              <a:gd name="csY2" fmla="*/ 16423 h 70954"/>
              <a:gd name="csX3" fmla="*/ 308469 w 308472"/>
              <a:gd name="csY3" fmla="*/ 46566 h 70954"/>
              <a:gd name="csX4" fmla="*/ 296679 w 308472"/>
              <a:gd name="csY4" fmla="*/ 60539 h 70954"/>
              <a:gd name="csX5" fmla="*/ 281393 w 308472"/>
              <a:gd name="csY5" fmla="*/ 62359 h 70954"/>
              <a:gd name="csX6" fmla="*/ 13891 w 308472"/>
              <a:gd name="csY6" fmla="*/ 70892 h 70954"/>
              <a:gd name="csX7" fmla="*/ 0 w 308472"/>
              <a:gd name="csY7" fmla="*/ 70909 h 70954"/>
              <a:gd name="csX8" fmla="*/ 4414 w 308472"/>
              <a:gd name="csY8" fmla="*/ 8877 h 70954"/>
              <a:gd name="csX9" fmla="*/ 59085 w 308472"/>
              <a:gd name="csY9" fmla="*/ 6769 h 70954"/>
              <a:gd name="csX10" fmla="*/ 113686 w 308472"/>
              <a:gd name="csY10" fmla="*/ 4708 h 7095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</a:cxnLst>
            <a:rect l="l" t="t" r="r" b="b"/>
            <a:pathLst>
              <a:path w="308472" h="70954">
                <a:moveTo>
                  <a:pt x="113686" y="4708"/>
                </a:moveTo>
                <a:cubicBezTo>
                  <a:pt x="156156" y="3151"/>
                  <a:pt x="197235" y="1744"/>
                  <a:pt x="238304" y="79"/>
                </a:cubicBezTo>
                <a:cubicBezTo>
                  <a:pt x="258693" y="-748"/>
                  <a:pt x="277061" y="4922"/>
                  <a:pt x="293684" y="16423"/>
                </a:cubicBezTo>
                <a:cubicBezTo>
                  <a:pt x="304119" y="23641"/>
                  <a:pt x="308615" y="34077"/>
                  <a:pt x="308469" y="46566"/>
                </a:cubicBezTo>
                <a:cubicBezTo>
                  <a:pt x="308355" y="56359"/>
                  <a:pt x="306312" y="58808"/>
                  <a:pt x="296679" y="60539"/>
                </a:cubicBezTo>
                <a:cubicBezTo>
                  <a:pt x="291635" y="61446"/>
                  <a:pt x="286506" y="62192"/>
                  <a:pt x="281393" y="62359"/>
                </a:cubicBezTo>
                <a:cubicBezTo>
                  <a:pt x="192228" y="65269"/>
                  <a:pt x="103059" y="68083"/>
                  <a:pt x="13891" y="70892"/>
                </a:cubicBezTo>
                <a:cubicBezTo>
                  <a:pt x="9772" y="71022"/>
                  <a:pt x="5645" y="70909"/>
                  <a:pt x="0" y="70909"/>
                </a:cubicBezTo>
                <a:cubicBezTo>
                  <a:pt x="1487" y="50015"/>
                  <a:pt x="2892" y="30265"/>
                  <a:pt x="4414" y="8877"/>
                </a:cubicBezTo>
                <a:cubicBezTo>
                  <a:pt x="23034" y="7159"/>
                  <a:pt x="41075" y="7283"/>
                  <a:pt x="59085" y="6769"/>
                </a:cubicBezTo>
                <a:cubicBezTo>
                  <a:pt x="76825" y="6262"/>
                  <a:pt x="94556" y="5438"/>
                  <a:pt x="113686" y="4708"/>
                </a:cubicBezTo>
                <a:close/>
              </a:path>
            </a:pathLst>
          </a:custGeom>
          <a:solidFill>
            <a:srgbClr val="FEFDFB"/>
          </a:solidFill>
          <a:ln w="1401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" name="Free-form: Shape 32">
            <a:extLst>
              <a:ext uri="{FF2B5EF4-FFF2-40B4-BE49-F238E27FC236}">
                <a16:creationId xmlns:a16="http://schemas.microsoft.com/office/drawing/2014/main" id="{D6DB3B85-82C5-C11A-0DD2-BD3C7E62D9BF}"/>
              </a:ext>
            </a:extLst>
          </p:cNvPr>
          <p:cNvSpPr/>
          <p:nvPr/>
        </p:nvSpPr>
        <p:spPr>
          <a:xfrm>
            <a:off x="1132453" y="4123072"/>
            <a:ext cx="158898" cy="270313"/>
          </a:xfrm>
          <a:custGeom>
            <a:avLst/>
            <a:gdLst>
              <a:gd name="csX0" fmla="*/ 14188 w 382415"/>
              <a:gd name="csY0" fmla="*/ 447946 h 591415"/>
              <a:gd name="csX1" fmla="*/ 12298 w 382415"/>
              <a:gd name="csY1" fmla="*/ 381038 h 591415"/>
              <a:gd name="csX2" fmla="*/ 11200 w 382415"/>
              <a:gd name="csY2" fmla="*/ 363835 h 591415"/>
              <a:gd name="csX3" fmla="*/ 9378 w 382415"/>
              <a:gd name="csY3" fmla="*/ 305508 h 591415"/>
              <a:gd name="csX4" fmla="*/ 8516 w 382415"/>
              <a:gd name="csY4" fmla="*/ 296482 h 591415"/>
              <a:gd name="csX5" fmla="*/ 6728 w 382415"/>
              <a:gd name="csY5" fmla="*/ 223958 h 591415"/>
              <a:gd name="csX6" fmla="*/ 5645 w 382415"/>
              <a:gd name="csY6" fmla="*/ 206735 h 591415"/>
              <a:gd name="csX7" fmla="*/ 3964 w 382415"/>
              <a:gd name="csY7" fmla="*/ 137053 h 591415"/>
              <a:gd name="csX8" fmla="*/ 2902 w 382415"/>
              <a:gd name="csY8" fmla="*/ 122565 h 591415"/>
              <a:gd name="csX9" fmla="*/ 1011 w 382415"/>
              <a:gd name="csY9" fmla="*/ 47301 h 591415"/>
              <a:gd name="csX10" fmla="*/ 20 w 382415"/>
              <a:gd name="csY10" fmla="*/ 32821 h 591415"/>
              <a:gd name="csX11" fmla="*/ 512 w 382415"/>
              <a:gd name="csY11" fmla="*/ 4394 h 591415"/>
              <a:gd name="csX12" fmla="*/ 2417 w 382415"/>
              <a:gd name="csY12" fmla="*/ 1592 h 591415"/>
              <a:gd name="csX13" fmla="*/ 115794 w 382415"/>
              <a:gd name="csY13" fmla="*/ 4 h 591415"/>
              <a:gd name="csX14" fmla="*/ 162265 w 382415"/>
              <a:gd name="csY14" fmla="*/ 2117 h 591415"/>
              <a:gd name="csX15" fmla="*/ 168630 w 382415"/>
              <a:gd name="csY15" fmla="*/ 1773 h 591415"/>
              <a:gd name="csX16" fmla="*/ 314663 w 382415"/>
              <a:gd name="csY16" fmla="*/ 18731 h 591415"/>
              <a:gd name="csX17" fmla="*/ 367127 w 382415"/>
              <a:gd name="csY17" fmla="*/ 32924 h 591415"/>
              <a:gd name="csX18" fmla="*/ 382384 w 382415"/>
              <a:gd name="csY18" fmla="*/ 56466 h 591415"/>
              <a:gd name="csX19" fmla="*/ 368394 w 382415"/>
              <a:gd name="csY19" fmla="*/ 120544 h 591415"/>
              <a:gd name="csX20" fmla="*/ 314675 w 382415"/>
              <a:gd name="csY20" fmla="*/ 270961 h 591415"/>
              <a:gd name="csX21" fmla="*/ 213644 w 382415"/>
              <a:gd name="csY21" fmla="*/ 563667 h 591415"/>
              <a:gd name="csX22" fmla="*/ 205897 w 382415"/>
              <a:gd name="csY22" fmla="*/ 585758 h 591415"/>
              <a:gd name="csX23" fmla="*/ 138249 w 382415"/>
              <a:gd name="csY23" fmla="*/ 587362 h 591415"/>
              <a:gd name="csX24" fmla="*/ 118197 w 382415"/>
              <a:gd name="csY24" fmla="*/ 588344 h 591415"/>
              <a:gd name="csX25" fmla="*/ 59707 w 382415"/>
              <a:gd name="csY25" fmla="*/ 590000 h 591415"/>
              <a:gd name="csX26" fmla="*/ 42516 w 382415"/>
              <a:gd name="csY26" fmla="*/ 591416 h 591415"/>
              <a:gd name="csX27" fmla="*/ 20811 w 382415"/>
              <a:gd name="csY27" fmla="*/ 591416 h 591415"/>
              <a:gd name="csX28" fmla="*/ 17902 w 382415"/>
              <a:gd name="csY28" fmla="*/ 546518 h 591415"/>
              <a:gd name="csX29" fmla="*/ 16779 w 382415"/>
              <a:gd name="csY29" fmla="*/ 526538 h 591415"/>
              <a:gd name="csX30" fmla="*/ 15163 w 382415"/>
              <a:gd name="csY30" fmla="*/ 459741 h 591415"/>
              <a:gd name="csX31" fmla="*/ 14188 w 382415"/>
              <a:gd name="csY31" fmla="*/ 447946 h 59141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</a:cxnLst>
            <a:rect l="l" t="t" r="r" b="b"/>
            <a:pathLst>
              <a:path w="382415" h="591415">
                <a:moveTo>
                  <a:pt x="14188" y="447946"/>
                </a:moveTo>
                <a:cubicBezTo>
                  <a:pt x="13448" y="426344"/>
                  <a:pt x="12708" y="404741"/>
                  <a:pt x="12298" y="381038"/>
                </a:cubicBezTo>
                <a:cubicBezTo>
                  <a:pt x="12152" y="373904"/>
                  <a:pt x="11676" y="368869"/>
                  <a:pt x="11200" y="363835"/>
                </a:cubicBezTo>
                <a:cubicBezTo>
                  <a:pt x="10498" y="345020"/>
                  <a:pt x="9796" y="326206"/>
                  <a:pt x="9378" y="305508"/>
                </a:cubicBezTo>
                <a:cubicBezTo>
                  <a:pt x="9280" y="301244"/>
                  <a:pt x="8898" y="298863"/>
                  <a:pt x="8516" y="296482"/>
                </a:cubicBezTo>
                <a:cubicBezTo>
                  <a:pt x="7809" y="273008"/>
                  <a:pt x="7102" y="249535"/>
                  <a:pt x="6728" y="223958"/>
                </a:cubicBezTo>
                <a:cubicBezTo>
                  <a:pt x="6589" y="216815"/>
                  <a:pt x="6117" y="211775"/>
                  <a:pt x="5645" y="206735"/>
                </a:cubicBezTo>
                <a:cubicBezTo>
                  <a:pt x="4976" y="184187"/>
                  <a:pt x="4307" y="161639"/>
                  <a:pt x="3964" y="137053"/>
                </a:cubicBezTo>
                <a:cubicBezTo>
                  <a:pt x="3828" y="130865"/>
                  <a:pt x="3365" y="126715"/>
                  <a:pt x="2902" y="122565"/>
                </a:cubicBezTo>
                <a:cubicBezTo>
                  <a:pt x="2158" y="98167"/>
                  <a:pt x="1414" y="73768"/>
                  <a:pt x="1011" y="47301"/>
                </a:cubicBezTo>
                <a:cubicBezTo>
                  <a:pt x="908" y="41095"/>
                  <a:pt x="464" y="36958"/>
                  <a:pt x="20" y="32821"/>
                </a:cubicBezTo>
                <a:cubicBezTo>
                  <a:pt x="-19" y="23766"/>
                  <a:pt x="-59" y="14711"/>
                  <a:pt x="512" y="4394"/>
                </a:cubicBezTo>
                <a:cubicBezTo>
                  <a:pt x="1883" y="2894"/>
                  <a:pt x="2314" y="2381"/>
                  <a:pt x="2417" y="1592"/>
                </a:cubicBezTo>
                <a:cubicBezTo>
                  <a:pt x="40209" y="1024"/>
                  <a:pt x="78000" y="223"/>
                  <a:pt x="115794" y="4"/>
                </a:cubicBezTo>
                <a:cubicBezTo>
                  <a:pt x="130708" y="-82"/>
                  <a:pt x="145630" y="1128"/>
                  <a:pt x="162265" y="2117"/>
                </a:cubicBezTo>
                <a:cubicBezTo>
                  <a:pt x="165531" y="2247"/>
                  <a:pt x="167081" y="2010"/>
                  <a:pt x="168630" y="1773"/>
                </a:cubicBezTo>
                <a:cubicBezTo>
                  <a:pt x="217325" y="7297"/>
                  <a:pt x="266121" y="12088"/>
                  <a:pt x="314663" y="18731"/>
                </a:cubicBezTo>
                <a:cubicBezTo>
                  <a:pt x="332471" y="21168"/>
                  <a:pt x="349777" y="27666"/>
                  <a:pt x="367127" y="32924"/>
                </a:cubicBezTo>
                <a:cubicBezTo>
                  <a:pt x="378391" y="36339"/>
                  <a:pt x="382842" y="44413"/>
                  <a:pt x="382384" y="56466"/>
                </a:cubicBezTo>
                <a:cubicBezTo>
                  <a:pt x="381538" y="78749"/>
                  <a:pt x="375716" y="99822"/>
                  <a:pt x="368394" y="120544"/>
                </a:cubicBezTo>
                <a:cubicBezTo>
                  <a:pt x="350655" y="170742"/>
                  <a:pt x="332173" y="220680"/>
                  <a:pt x="314675" y="270961"/>
                </a:cubicBezTo>
                <a:cubicBezTo>
                  <a:pt x="280751" y="368444"/>
                  <a:pt x="247300" y="466091"/>
                  <a:pt x="213644" y="563667"/>
                </a:cubicBezTo>
                <a:cubicBezTo>
                  <a:pt x="211232" y="570661"/>
                  <a:pt x="208750" y="577629"/>
                  <a:pt x="205897" y="585758"/>
                </a:cubicBezTo>
                <a:cubicBezTo>
                  <a:pt x="184079" y="586417"/>
                  <a:pt x="162247" y="587077"/>
                  <a:pt x="138249" y="587362"/>
                </a:cubicBezTo>
                <a:cubicBezTo>
                  <a:pt x="130120" y="587439"/>
                  <a:pt x="124159" y="587891"/>
                  <a:pt x="118197" y="588344"/>
                </a:cubicBezTo>
                <a:cubicBezTo>
                  <a:pt x="99397" y="589004"/>
                  <a:pt x="80596" y="589663"/>
                  <a:pt x="59707" y="590000"/>
                </a:cubicBezTo>
                <a:cubicBezTo>
                  <a:pt x="52584" y="590258"/>
                  <a:pt x="47550" y="590837"/>
                  <a:pt x="42516" y="591416"/>
                </a:cubicBezTo>
                <a:cubicBezTo>
                  <a:pt x="35565" y="591416"/>
                  <a:pt x="28614" y="591416"/>
                  <a:pt x="20811" y="591416"/>
                </a:cubicBezTo>
                <a:cubicBezTo>
                  <a:pt x="16891" y="577297"/>
                  <a:pt x="18678" y="562841"/>
                  <a:pt x="17902" y="546518"/>
                </a:cubicBezTo>
                <a:cubicBezTo>
                  <a:pt x="17764" y="538425"/>
                  <a:pt x="17271" y="532482"/>
                  <a:pt x="16779" y="526538"/>
                </a:cubicBezTo>
                <a:cubicBezTo>
                  <a:pt x="16131" y="504937"/>
                  <a:pt x="15482" y="483336"/>
                  <a:pt x="15163" y="459741"/>
                </a:cubicBezTo>
                <a:cubicBezTo>
                  <a:pt x="15057" y="454480"/>
                  <a:pt x="14622" y="451213"/>
                  <a:pt x="14188" y="447946"/>
                </a:cubicBezTo>
                <a:close/>
              </a:path>
            </a:pathLst>
          </a:custGeom>
          <a:solidFill>
            <a:srgbClr val="FEFEFD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" name="Free-form: Shape 33">
            <a:extLst>
              <a:ext uri="{FF2B5EF4-FFF2-40B4-BE49-F238E27FC236}">
                <a16:creationId xmlns:a16="http://schemas.microsoft.com/office/drawing/2014/main" id="{AC1EF4CB-D977-B4A0-A478-A9619B7B9BB5}"/>
              </a:ext>
            </a:extLst>
          </p:cNvPr>
          <p:cNvSpPr/>
          <p:nvPr/>
        </p:nvSpPr>
        <p:spPr>
          <a:xfrm>
            <a:off x="1140482" y="4427712"/>
            <a:ext cx="98348" cy="61517"/>
          </a:xfrm>
          <a:custGeom>
            <a:avLst/>
            <a:gdLst>
              <a:gd name="csX0" fmla="*/ 105130 w 236692"/>
              <a:gd name="csY0" fmla="*/ 130054 h 134592"/>
              <a:gd name="csX1" fmla="*/ 4609 w 236692"/>
              <a:gd name="csY1" fmla="*/ 134592 h 134592"/>
              <a:gd name="csX2" fmla="*/ 3775 w 236692"/>
              <a:gd name="csY2" fmla="*/ 121667 h 134592"/>
              <a:gd name="csX3" fmla="*/ 3868 w 236692"/>
              <a:gd name="csY3" fmla="*/ 51573 h 134592"/>
              <a:gd name="csX4" fmla="*/ 0 w 236692"/>
              <a:gd name="csY4" fmla="*/ 9673 h 134592"/>
              <a:gd name="csX5" fmla="*/ 184850 w 236692"/>
              <a:gd name="csY5" fmla="*/ 471 h 134592"/>
              <a:gd name="csX6" fmla="*/ 185564 w 236692"/>
              <a:gd name="csY6" fmla="*/ 15071 h 134592"/>
              <a:gd name="csX7" fmla="*/ 204819 w 236692"/>
              <a:gd name="csY7" fmla="*/ 54944 h 134592"/>
              <a:gd name="csX8" fmla="*/ 236693 w 236692"/>
              <a:gd name="csY8" fmla="*/ 123534 h 134592"/>
              <a:gd name="csX9" fmla="*/ 170865 w 236692"/>
              <a:gd name="csY9" fmla="*/ 126995 h 134592"/>
              <a:gd name="csX10" fmla="*/ 105130 w 236692"/>
              <a:gd name="csY10" fmla="*/ 130054 h 13459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</a:cxnLst>
            <a:rect l="l" t="t" r="r" b="b"/>
            <a:pathLst>
              <a:path w="236692" h="134592">
                <a:moveTo>
                  <a:pt x="105130" y="130054"/>
                </a:moveTo>
                <a:cubicBezTo>
                  <a:pt x="71180" y="131586"/>
                  <a:pt x="38558" y="133059"/>
                  <a:pt x="4609" y="134592"/>
                </a:cubicBezTo>
                <a:cubicBezTo>
                  <a:pt x="4277" y="129680"/>
                  <a:pt x="3770" y="125673"/>
                  <a:pt x="3775" y="121667"/>
                </a:cubicBezTo>
                <a:cubicBezTo>
                  <a:pt x="3800" y="98301"/>
                  <a:pt x="4430" y="74923"/>
                  <a:pt x="3868" y="51573"/>
                </a:cubicBezTo>
                <a:cubicBezTo>
                  <a:pt x="3536" y="37759"/>
                  <a:pt x="1384" y="23989"/>
                  <a:pt x="0" y="9673"/>
                </a:cubicBezTo>
                <a:cubicBezTo>
                  <a:pt x="9728" y="5925"/>
                  <a:pt x="156314" y="-2008"/>
                  <a:pt x="184850" y="471"/>
                </a:cubicBezTo>
                <a:cubicBezTo>
                  <a:pt x="185096" y="5177"/>
                  <a:pt x="185626" y="10128"/>
                  <a:pt x="185564" y="15071"/>
                </a:cubicBezTo>
                <a:cubicBezTo>
                  <a:pt x="185359" y="31609"/>
                  <a:pt x="191283" y="44787"/>
                  <a:pt x="204819" y="54944"/>
                </a:cubicBezTo>
                <a:cubicBezTo>
                  <a:pt x="227073" y="71641"/>
                  <a:pt x="235149" y="95272"/>
                  <a:pt x="236693" y="123534"/>
                </a:cubicBezTo>
                <a:cubicBezTo>
                  <a:pt x="214423" y="127191"/>
                  <a:pt x="192555" y="125928"/>
                  <a:pt x="170865" y="126995"/>
                </a:cubicBezTo>
                <a:cubicBezTo>
                  <a:pt x="149400" y="128051"/>
                  <a:pt x="127929" y="128999"/>
                  <a:pt x="105130" y="130054"/>
                </a:cubicBezTo>
                <a:close/>
              </a:path>
            </a:pathLst>
          </a:custGeom>
          <a:solidFill>
            <a:srgbClr val="FEFDFB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" name="Free-form: Shape 8">
            <a:extLst>
              <a:ext uri="{FF2B5EF4-FFF2-40B4-BE49-F238E27FC236}">
                <a16:creationId xmlns:a16="http://schemas.microsoft.com/office/drawing/2014/main" id="{D6217C14-C0BC-C51A-E57B-8A2F0BC126F3}"/>
              </a:ext>
            </a:extLst>
          </p:cNvPr>
          <p:cNvSpPr/>
          <p:nvPr/>
        </p:nvSpPr>
        <p:spPr>
          <a:xfrm>
            <a:off x="-20234" y="2416267"/>
            <a:ext cx="1429088" cy="1583682"/>
          </a:xfrm>
          <a:custGeom>
            <a:avLst/>
            <a:gdLst>
              <a:gd name="csX0" fmla="*/ 703473 w 937252"/>
              <a:gd name="csY0" fmla="*/ 1681077 h 1984002"/>
              <a:gd name="csX1" fmla="*/ 657078 w 937252"/>
              <a:gd name="csY1" fmla="*/ 1946015 h 1984002"/>
              <a:gd name="csX2" fmla="*/ 614294 w 937252"/>
              <a:gd name="csY2" fmla="*/ 1983096 h 1984002"/>
              <a:gd name="csX3" fmla="*/ 3786 w 937252"/>
              <a:gd name="csY3" fmla="*/ 1879180 h 1984002"/>
              <a:gd name="csX4" fmla="*/ 0 w 937252"/>
              <a:gd name="csY4" fmla="*/ 16166 h 1984002"/>
              <a:gd name="csX5" fmla="*/ 58579 w 937252"/>
              <a:gd name="csY5" fmla="*/ 2278 h 1984002"/>
              <a:gd name="csX6" fmla="*/ 877273 w 937252"/>
              <a:gd name="csY6" fmla="*/ 137484 h 1984002"/>
              <a:gd name="csX7" fmla="*/ 936059 w 937252"/>
              <a:gd name="csY7" fmla="*/ 213675 h 1984002"/>
              <a:gd name="csX8" fmla="*/ 927768 w 937252"/>
              <a:gd name="csY8" fmla="*/ 274193 h 1984002"/>
              <a:gd name="csX9" fmla="*/ 720511 w 937252"/>
              <a:gd name="csY9" fmla="*/ 1622918 h 1984002"/>
              <a:gd name="csX10" fmla="*/ 703473 w 937252"/>
              <a:gd name="csY10" fmla="*/ 1681077 h 1984002"/>
              <a:gd name="csX0" fmla="*/ 1656637 w 1890416"/>
              <a:gd name="csY0" fmla="*/ 1797035 h 2099961"/>
              <a:gd name="csX1" fmla="*/ 1610242 w 1890416"/>
              <a:gd name="csY1" fmla="*/ 2061973 h 2099961"/>
              <a:gd name="csX2" fmla="*/ 1567458 w 1890416"/>
              <a:gd name="csY2" fmla="*/ 2099054 h 2099961"/>
              <a:gd name="csX3" fmla="*/ 956950 w 1890416"/>
              <a:gd name="csY3" fmla="*/ 1995138 h 2099961"/>
              <a:gd name="csX4" fmla="*/ 0 w 1890416"/>
              <a:gd name="csY4" fmla="*/ 2722 h 2099961"/>
              <a:gd name="csX5" fmla="*/ 1011743 w 1890416"/>
              <a:gd name="csY5" fmla="*/ 118236 h 2099961"/>
              <a:gd name="csX6" fmla="*/ 1830437 w 1890416"/>
              <a:gd name="csY6" fmla="*/ 253442 h 2099961"/>
              <a:gd name="csX7" fmla="*/ 1889223 w 1890416"/>
              <a:gd name="csY7" fmla="*/ 329633 h 2099961"/>
              <a:gd name="csX8" fmla="*/ 1880932 w 1890416"/>
              <a:gd name="csY8" fmla="*/ 390151 h 2099961"/>
              <a:gd name="csX9" fmla="*/ 1673675 w 1890416"/>
              <a:gd name="csY9" fmla="*/ 1738876 h 2099961"/>
              <a:gd name="csX10" fmla="*/ 1656637 w 1890416"/>
              <a:gd name="csY10" fmla="*/ 1797035 h 2099961"/>
              <a:gd name="csX0" fmla="*/ 1660371 w 1894150"/>
              <a:gd name="csY0" fmla="*/ 1797035 h 2106391"/>
              <a:gd name="csX1" fmla="*/ 1613976 w 1894150"/>
              <a:gd name="csY1" fmla="*/ 2061973 h 2106391"/>
              <a:gd name="csX2" fmla="*/ 1571192 w 1894150"/>
              <a:gd name="csY2" fmla="*/ 2099054 h 2106391"/>
              <a:gd name="csX3" fmla="*/ 1209 w 1894150"/>
              <a:gd name="csY3" fmla="*/ 1925703 h 2106391"/>
              <a:gd name="csX4" fmla="*/ 3734 w 1894150"/>
              <a:gd name="csY4" fmla="*/ 2722 h 2106391"/>
              <a:gd name="csX5" fmla="*/ 1015477 w 1894150"/>
              <a:gd name="csY5" fmla="*/ 118236 h 2106391"/>
              <a:gd name="csX6" fmla="*/ 1834171 w 1894150"/>
              <a:gd name="csY6" fmla="*/ 253442 h 2106391"/>
              <a:gd name="csX7" fmla="*/ 1892957 w 1894150"/>
              <a:gd name="csY7" fmla="*/ 329633 h 2106391"/>
              <a:gd name="csX8" fmla="*/ 1884666 w 1894150"/>
              <a:gd name="csY8" fmla="*/ 390151 h 2106391"/>
              <a:gd name="csX9" fmla="*/ 1677409 w 1894150"/>
              <a:gd name="csY9" fmla="*/ 1738876 h 2106391"/>
              <a:gd name="csX10" fmla="*/ 1660371 w 1894150"/>
              <a:gd name="csY10" fmla="*/ 1797035 h 2106391"/>
              <a:gd name="csX0" fmla="*/ 1660371 w 1894150"/>
              <a:gd name="csY0" fmla="*/ 1797035 h 2099053"/>
              <a:gd name="csX1" fmla="*/ 1613976 w 1894150"/>
              <a:gd name="csY1" fmla="*/ 2061973 h 2099053"/>
              <a:gd name="csX2" fmla="*/ 1571192 w 1894150"/>
              <a:gd name="csY2" fmla="*/ 2099054 h 2099053"/>
              <a:gd name="csX3" fmla="*/ 1209 w 1894150"/>
              <a:gd name="csY3" fmla="*/ 1925703 h 2099053"/>
              <a:gd name="csX4" fmla="*/ 3734 w 1894150"/>
              <a:gd name="csY4" fmla="*/ 2722 h 2099053"/>
              <a:gd name="csX5" fmla="*/ 1015477 w 1894150"/>
              <a:gd name="csY5" fmla="*/ 118236 h 2099053"/>
              <a:gd name="csX6" fmla="*/ 1834171 w 1894150"/>
              <a:gd name="csY6" fmla="*/ 253442 h 2099053"/>
              <a:gd name="csX7" fmla="*/ 1892957 w 1894150"/>
              <a:gd name="csY7" fmla="*/ 329633 h 2099053"/>
              <a:gd name="csX8" fmla="*/ 1884666 w 1894150"/>
              <a:gd name="csY8" fmla="*/ 390151 h 2099053"/>
              <a:gd name="csX9" fmla="*/ 1677409 w 1894150"/>
              <a:gd name="csY9" fmla="*/ 1738876 h 2099053"/>
              <a:gd name="csX10" fmla="*/ 1660371 w 1894150"/>
              <a:gd name="csY10" fmla="*/ 1797035 h 209905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</a:cxnLst>
            <a:rect l="l" t="t" r="r" b="b"/>
            <a:pathLst>
              <a:path w="1894150" h="2099053">
                <a:moveTo>
                  <a:pt x="1660371" y="1797035"/>
                </a:moveTo>
                <a:cubicBezTo>
                  <a:pt x="1635098" y="1886222"/>
                  <a:pt x="1629747" y="1974973"/>
                  <a:pt x="1613976" y="2061973"/>
                </a:cubicBezTo>
                <a:cubicBezTo>
                  <a:pt x="1609486" y="2086741"/>
                  <a:pt x="1619054" y="2064954"/>
                  <a:pt x="1571192" y="2099054"/>
                </a:cubicBezTo>
                <a:cubicBezTo>
                  <a:pt x="1302398" y="2076342"/>
                  <a:pt x="524537" y="1983487"/>
                  <a:pt x="1209" y="1925703"/>
                </a:cubicBezTo>
                <a:cubicBezTo>
                  <a:pt x="-2577" y="1305801"/>
                  <a:pt x="3734" y="626510"/>
                  <a:pt x="3734" y="2722"/>
                </a:cubicBezTo>
                <a:cubicBezTo>
                  <a:pt x="21292" y="-17105"/>
                  <a:pt x="710404" y="76449"/>
                  <a:pt x="1015477" y="118236"/>
                </a:cubicBezTo>
                <a:cubicBezTo>
                  <a:pt x="1320550" y="160023"/>
                  <a:pt x="1560949" y="210319"/>
                  <a:pt x="1834171" y="253442"/>
                </a:cubicBezTo>
                <a:cubicBezTo>
                  <a:pt x="1888587" y="262030"/>
                  <a:pt x="1898009" y="275897"/>
                  <a:pt x="1892957" y="329633"/>
                </a:cubicBezTo>
                <a:cubicBezTo>
                  <a:pt x="1891182" y="348512"/>
                  <a:pt x="1886970" y="367095"/>
                  <a:pt x="1884666" y="390151"/>
                </a:cubicBezTo>
                <a:cubicBezTo>
                  <a:pt x="1816729" y="842724"/>
                  <a:pt x="1749168" y="1291123"/>
                  <a:pt x="1677409" y="1738876"/>
                </a:cubicBezTo>
                <a:cubicBezTo>
                  <a:pt x="1674410" y="1757593"/>
                  <a:pt x="1672930" y="1776800"/>
                  <a:pt x="1660371" y="1797035"/>
                </a:cubicBezTo>
                <a:close/>
              </a:path>
            </a:pathLst>
          </a:custGeom>
          <a:solidFill>
            <a:schemeClr val="accent3"/>
          </a:solidFill>
          <a:ln w="9525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4" name="Free-form: Shape 23">
            <a:extLst>
              <a:ext uri="{FF2B5EF4-FFF2-40B4-BE49-F238E27FC236}">
                <a16:creationId xmlns:a16="http://schemas.microsoft.com/office/drawing/2014/main" id="{CE795B38-C5E8-52D7-B44A-DAADB6281F39}"/>
              </a:ext>
            </a:extLst>
          </p:cNvPr>
          <p:cNvSpPr/>
          <p:nvPr/>
        </p:nvSpPr>
        <p:spPr>
          <a:xfrm>
            <a:off x="1233225" y="2713039"/>
            <a:ext cx="3047196" cy="3105687"/>
          </a:xfrm>
          <a:custGeom>
            <a:avLst/>
            <a:gdLst>
              <a:gd name="csX0" fmla="*/ 210790 w 4038833"/>
              <a:gd name="csY0" fmla="*/ 8067 h 4116358"/>
              <a:gd name="csX1" fmla="*/ 427695 w 4038833"/>
              <a:gd name="csY1" fmla="*/ 38991 h 4116358"/>
              <a:gd name="csX2" fmla="*/ 470037 w 4038833"/>
              <a:gd name="csY2" fmla="*/ 94473 h 4116358"/>
              <a:gd name="csX3" fmla="*/ 537708 w 4038833"/>
              <a:gd name="csY3" fmla="*/ 186726 h 4116358"/>
              <a:gd name="csX4" fmla="*/ 822986 w 4038833"/>
              <a:gd name="csY4" fmla="*/ 237761 h 4116358"/>
              <a:gd name="csX5" fmla="*/ 1053871 w 4038833"/>
              <a:gd name="csY5" fmla="*/ 217558 h 4116358"/>
              <a:gd name="csX6" fmla="*/ 1104820 w 4038833"/>
              <a:gd name="csY6" fmla="*/ 207594 h 4116358"/>
              <a:gd name="csX7" fmla="*/ 2189264 w 4038833"/>
              <a:gd name="csY7" fmla="*/ 11559 h 4116358"/>
              <a:gd name="csX8" fmla="*/ 2456441 w 4038833"/>
              <a:gd name="csY8" fmla="*/ 66880 h 4116358"/>
              <a:gd name="csX9" fmla="*/ 2723656 w 4038833"/>
              <a:gd name="csY9" fmla="*/ 167155 h 4116358"/>
              <a:gd name="csX10" fmla="*/ 3512530 w 4038833"/>
              <a:gd name="csY10" fmla="*/ 281823 h 4116358"/>
              <a:gd name="csX11" fmla="*/ 3531207 w 4038833"/>
              <a:gd name="csY11" fmla="*/ 285407 h 4116358"/>
              <a:gd name="csX12" fmla="*/ 3608706 w 4038833"/>
              <a:gd name="csY12" fmla="*/ 307081 h 4116358"/>
              <a:gd name="csX13" fmla="*/ 3593351 w 4038833"/>
              <a:gd name="csY13" fmla="*/ 431171 h 4116358"/>
              <a:gd name="csX14" fmla="*/ 3551133 w 4038833"/>
              <a:gd name="csY14" fmla="*/ 500897 h 4116358"/>
              <a:gd name="csX15" fmla="*/ 3627940 w 4038833"/>
              <a:gd name="csY15" fmla="*/ 544622 h 4116358"/>
              <a:gd name="csX16" fmla="*/ 4014317 w 4038833"/>
              <a:gd name="csY16" fmla="*/ 759258 h 4116358"/>
              <a:gd name="csX17" fmla="*/ 4038833 w 4038833"/>
              <a:gd name="csY17" fmla="*/ 806296 h 4116358"/>
              <a:gd name="csX18" fmla="*/ 3888490 w 4038833"/>
              <a:gd name="csY18" fmla="*/ 971744 h 4116358"/>
              <a:gd name="csX19" fmla="*/ 3729903 w 4038833"/>
              <a:gd name="csY19" fmla="*/ 948141 h 4116358"/>
              <a:gd name="csX20" fmla="*/ 3523203 w 4038833"/>
              <a:gd name="csY20" fmla="*/ 852290 h 4116358"/>
              <a:gd name="csX21" fmla="*/ 3390668 w 4038833"/>
              <a:gd name="csY21" fmla="*/ 820687 h 4116358"/>
              <a:gd name="csX22" fmla="*/ 3375325 w 4038833"/>
              <a:gd name="csY22" fmla="*/ 851577 h 4116358"/>
              <a:gd name="csX23" fmla="*/ 3437054 w 4038833"/>
              <a:gd name="csY23" fmla="*/ 908356 h 4116358"/>
              <a:gd name="csX24" fmla="*/ 3454792 w 4038833"/>
              <a:gd name="csY24" fmla="*/ 942561 h 4116358"/>
              <a:gd name="csX25" fmla="*/ 3784169 w 4038833"/>
              <a:gd name="csY25" fmla="*/ 1403500 h 4116358"/>
              <a:gd name="csX26" fmla="*/ 3864848 w 4038833"/>
              <a:gd name="csY26" fmla="*/ 1520365 h 4116358"/>
              <a:gd name="csX27" fmla="*/ 3854717 w 4038833"/>
              <a:gd name="csY27" fmla="*/ 1602620 h 4116358"/>
              <a:gd name="csX28" fmla="*/ 3677187 w 4038833"/>
              <a:gd name="csY28" fmla="*/ 1647840 h 4116358"/>
              <a:gd name="csX29" fmla="*/ 3519439 w 4038833"/>
              <a:gd name="csY29" fmla="*/ 1567683 h 4116358"/>
              <a:gd name="csX30" fmla="*/ 3507390 w 4038833"/>
              <a:gd name="csY30" fmla="*/ 1555232 h 4116358"/>
              <a:gd name="csX31" fmla="*/ 3505696 w 4038833"/>
              <a:gd name="csY31" fmla="*/ 1553730 h 4116358"/>
              <a:gd name="csX32" fmla="*/ 3377037 w 4038833"/>
              <a:gd name="csY32" fmla="*/ 1402847 h 4116358"/>
              <a:gd name="csX33" fmla="*/ 3191674 w 4038833"/>
              <a:gd name="csY33" fmla="*/ 1247342 h 4116358"/>
              <a:gd name="csX34" fmla="*/ 3227325 w 4038833"/>
              <a:gd name="csY34" fmla="*/ 1409011 h 4116358"/>
              <a:gd name="csX35" fmla="*/ 3305697 w 4038833"/>
              <a:gd name="csY35" fmla="*/ 2008178 h 4116358"/>
              <a:gd name="csX36" fmla="*/ 3244622 w 4038833"/>
              <a:gd name="csY36" fmla="*/ 2068219 h 4116358"/>
              <a:gd name="csX37" fmla="*/ 3199960 w 4038833"/>
              <a:gd name="csY37" fmla="*/ 2120561 h 4116358"/>
              <a:gd name="csX38" fmla="*/ 3246521 w 4038833"/>
              <a:gd name="csY38" fmla="*/ 2232982 h 4116358"/>
              <a:gd name="csX39" fmla="*/ 3415442 w 4038833"/>
              <a:gd name="csY39" fmla="*/ 2455106 h 4116358"/>
              <a:gd name="csX40" fmla="*/ 3420790 w 4038833"/>
              <a:gd name="csY40" fmla="*/ 2462904 h 4116358"/>
              <a:gd name="csX41" fmla="*/ 3356848 w 4038833"/>
              <a:gd name="csY41" fmla="*/ 2677824 h 4116358"/>
              <a:gd name="csX42" fmla="*/ 3214345 w 4038833"/>
              <a:gd name="csY42" fmla="*/ 2707434 h 4116358"/>
              <a:gd name="csX43" fmla="*/ 3102202 w 4038833"/>
              <a:gd name="csY43" fmla="*/ 2624192 h 4116358"/>
              <a:gd name="csX44" fmla="*/ 2981386 w 4038833"/>
              <a:gd name="csY44" fmla="*/ 2533449 h 4116358"/>
              <a:gd name="csX45" fmla="*/ 2854479 w 4038833"/>
              <a:gd name="csY45" fmla="*/ 2522621 h 4116358"/>
              <a:gd name="csX46" fmla="*/ 2845918 w 4038833"/>
              <a:gd name="csY46" fmla="*/ 2524007 h 4116358"/>
              <a:gd name="csX47" fmla="*/ 2989559 w 4038833"/>
              <a:gd name="csY47" fmla="*/ 2805499 h 4116358"/>
              <a:gd name="csX48" fmla="*/ 3105409 w 4038833"/>
              <a:gd name="csY48" fmla="*/ 3148777 h 4116358"/>
              <a:gd name="csX49" fmla="*/ 3061991 w 4038833"/>
              <a:gd name="csY49" fmla="*/ 3336276 h 4116358"/>
              <a:gd name="csX50" fmla="*/ 2996713 w 4038833"/>
              <a:gd name="csY50" fmla="*/ 3504427 h 4116358"/>
              <a:gd name="csX51" fmla="*/ 3006710 w 4038833"/>
              <a:gd name="csY51" fmla="*/ 3664980 h 4116358"/>
              <a:gd name="csX52" fmla="*/ 3042113 w 4038833"/>
              <a:gd name="csY52" fmla="*/ 3732348 h 4116358"/>
              <a:gd name="csX53" fmla="*/ 3065522 w 4038833"/>
              <a:gd name="csY53" fmla="*/ 3900165 h 4116358"/>
              <a:gd name="csX54" fmla="*/ 3059441 w 4038833"/>
              <a:gd name="csY54" fmla="*/ 4050584 h 4116358"/>
              <a:gd name="csX55" fmla="*/ 2975814 w 4038833"/>
              <a:gd name="csY55" fmla="*/ 4110542 h 4116358"/>
              <a:gd name="csX56" fmla="*/ 2107425 w 4038833"/>
              <a:gd name="csY56" fmla="*/ 3920164 h 4116358"/>
              <a:gd name="csX57" fmla="*/ 2023265 w 4038833"/>
              <a:gd name="csY57" fmla="*/ 3905797 h 4116358"/>
              <a:gd name="csX58" fmla="*/ 1973874 w 4038833"/>
              <a:gd name="csY58" fmla="*/ 3851028 h 4116358"/>
              <a:gd name="csX59" fmla="*/ 2013832 w 4038833"/>
              <a:gd name="csY59" fmla="*/ 3751609 h 4116358"/>
              <a:gd name="csX60" fmla="*/ 2046485 w 4038833"/>
              <a:gd name="csY60" fmla="*/ 3669538 h 4116358"/>
              <a:gd name="csX61" fmla="*/ 2098658 w 4038833"/>
              <a:gd name="csY61" fmla="*/ 3568336 h 4116358"/>
              <a:gd name="csX62" fmla="*/ 2187699 w 4038833"/>
              <a:gd name="csY62" fmla="*/ 3496903 h 4116358"/>
              <a:gd name="csX63" fmla="*/ 2249197 w 4038833"/>
              <a:gd name="csY63" fmla="*/ 3342556 h 4116358"/>
              <a:gd name="csX64" fmla="*/ 2188127 w 4038833"/>
              <a:gd name="csY64" fmla="*/ 3254991 h 4116358"/>
              <a:gd name="csX65" fmla="*/ 2167646 w 4038833"/>
              <a:gd name="csY65" fmla="*/ 3177785 h 4116358"/>
              <a:gd name="csX66" fmla="*/ 2273061 w 4038833"/>
              <a:gd name="csY66" fmla="*/ 2753416 h 4116358"/>
              <a:gd name="csX67" fmla="*/ 2242070 w 4038833"/>
              <a:gd name="csY67" fmla="*/ 2493806 h 4116358"/>
              <a:gd name="csX68" fmla="*/ 2262026 w 4038833"/>
              <a:gd name="csY68" fmla="*/ 2229293 h 4116358"/>
              <a:gd name="csX69" fmla="*/ 2249692 w 4038833"/>
              <a:gd name="csY69" fmla="*/ 2184356 h 4116358"/>
              <a:gd name="csX70" fmla="*/ 1803477 w 4038833"/>
              <a:gd name="csY70" fmla="*/ 1868225 h 4116358"/>
              <a:gd name="csX71" fmla="*/ 1145402 w 4038833"/>
              <a:gd name="csY71" fmla="*/ 1603294 h 4116358"/>
              <a:gd name="csX72" fmla="*/ 639106 w 4038833"/>
              <a:gd name="csY72" fmla="*/ 1328476 h 4116358"/>
              <a:gd name="csX73" fmla="*/ 371499 w 4038833"/>
              <a:gd name="csY73" fmla="*/ 1209806 h 4116358"/>
              <a:gd name="csX74" fmla="*/ 312374 w 4038833"/>
              <a:gd name="csY74" fmla="*/ 1254720 h 4116358"/>
              <a:gd name="csX75" fmla="*/ 290014 w 4038833"/>
              <a:gd name="csY75" fmla="*/ 1405062 h 4116358"/>
              <a:gd name="csX76" fmla="*/ 233027 w 4038833"/>
              <a:gd name="csY76" fmla="*/ 1447531 h 4116358"/>
              <a:gd name="csX77" fmla="*/ 0 w 4038833"/>
              <a:gd name="csY77" fmla="*/ 1407874 h 4116358"/>
              <a:gd name="csX78" fmla="*/ 60890 w 4038833"/>
              <a:gd name="csY78" fmla="*/ 974759 h 4116358"/>
              <a:gd name="csX79" fmla="*/ 203835 w 4038833"/>
              <a:gd name="csY79" fmla="*/ 34517 h 4116358"/>
              <a:gd name="csX80" fmla="*/ 210790 w 4038833"/>
              <a:gd name="csY80" fmla="*/ 8067 h 4116358"/>
              <a:gd name="csX0" fmla="*/ 210790 w 4038833"/>
              <a:gd name="csY0" fmla="*/ 8067 h 4116358"/>
              <a:gd name="csX1" fmla="*/ 427695 w 4038833"/>
              <a:gd name="csY1" fmla="*/ 38991 h 4116358"/>
              <a:gd name="csX2" fmla="*/ 470037 w 4038833"/>
              <a:gd name="csY2" fmla="*/ 94473 h 4116358"/>
              <a:gd name="csX3" fmla="*/ 537708 w 4038833"/>
              <a:gd name="csY3" fmla="*/ 186726 h 4116358"/>
              <a:gd name="csX4" fmla="*/ 822986 w 4038833"/>
              <a:gd name="csY4" fmla="*/ 237761 h 4116358"/>
              <a:gd name="csX5" fmla="*/ 1053871 w 4038833"/>
              <a:gd name="csY5" fmla="*/ 217558 h 4116358"/>
              <a:gd name="csX6" fmla="*/ 1104820 w 4038833"/>
              <a:gd name="csY6" fmla="*/ 207594 h 4116358"/>
              <a:gd name="csX7" fmla="*/ 2189264 w 4038833"/>
              <a:gd name="csY7" fmla="*/ 11559 h 4116358"/>
              <a:gd name="csX8" fmla="*/ 2456441 w 4038833"/>
              <a:gd name="csY8" fmla="*/ 66880 h 4116358"/>
              <a:gd name="csX9" fmla="*/ 2723656 w 4038833"/>
              <a:gd name="csY9" fmla="*/ 167155 h 4116358"/>
              <a:gd name="csX10" fmla="*/ 3512530 w 4038833"/>
              <a:gd name="csY10" fmla="*/ 281823 h 4116358"/>
              <a:gd name="csX11" fmla="*/ 3531207 w 4038833"/>
              <a:gd name="csY11" fmla="*/ 285407 h 4116358"/>
              <a:gd name="csX12" fmla="*/ 3608706 w 4038833"/>
              <a:gd name="csY12" fmla="*/ 307081 h 4116358"/>
              <a:gd name="csX13" fmla="*/ 3593351 w 4038833"/>
              <a:gd name="csY13" fmla="*/ 431171 h 4116358"/>
              <a:gd name="csX14" fmla="*/ 3551133 w 4038833"/>
              <a:gd name="csY14" fmla="*/ 500897 h 4116358"/>
              <a:gd name="csX15" fmla="*/ 3627940 w 4038833"/>
              <a:gd name="csY15" fmla="*/ 544622 h 4116358"/>
              <a:gd name="csX16" fmla="*/ 4014317 w 4038833"/>
              <a:gd name="csY16" fmla="*/ 759258 h 4116358"/>
              <a:gd name="csX17" fmla="*/ 4038833 w 4038833"/>
              <a:gd name="csY17" fmla="*/ 806296 h 4116358"/>
              <a:gd name="csX18" fmla="*/ 3888490 w 4038833"/>
              <a:gd name="csY18" fmla="*/ 971744 h 4116358"/>
              <a:gd name="csX19" fmla="*/ 3729903 w 4038833"/>
              <a:gd name="csY19" fmla="*/ 948141 h 4116358"/>
              <a:gd name="csX20" fmla="*/ 3523203 w 4038833"/>
              <a:gd name="csY20" fmla="*/ 852290 h 4116358"/>
              <a:gd name="csX21" fmla="*/ 3390668 w 4038833"/>
              <a:gd name="csY21" fmla="*/ 820687 h 4116358"/>
              <a:gd name="csX22" fmla="*/ 3375325 w 4038833"/>
              <a:gd name="csY22" fmla="*/ 851577 h 4116358"/>
              <a:gd name="csX23" fmla="*/ 3454792 w 4038833"/>
              <a:gd name="csY23" fmla="*/ 942561 h 4116358"/>
              <a:gd name="csX24" fmla="*/ 3784169 w 4038833"/>
              <a:gd name="csY24" fmla="*/ 1403500 h 4116358"/>
              <a:gd name="csX25" fmla="*/ 3864848 w 4038833"/>
              <a:gd name="csY25" fmla="*/ 1520365 h 4116358"/>
              <a:gd name="csX26" fmla="*/ 3854717 w 4038833"/>
              <a:gd name="csY26" fmla="*/ 1602620 h 4116358"/>
              <a:gd name="csX27" fmla="*/ 3677187 w 4038833"/>
              <a:gd name="csY27" fmla="*/ 1647840 h 4116358"/>
              <a:gd name="csX28" fmla="*/ 3519439 w 4038833"/>
              <a:gd name="csY28" fmla="*/ 1567683 h 4116358"/>
              <a:gd name="csX29" fmla="*/ 3507390 w 4038833"/>
              <a:gd name="csY29" fmla="*/ 1555232 h 4116358"/>
              <a:gd name="csX30" fmla="*/ 3505696 w 4038833"/>
              <a:gd name="csY30" fmla="*/ 1553730 h 4116358"/>
              <a:gd name="csX31" fmla="*/ 3377037 w 4038833"/>
              <a:gd name="csY31" fmla="*/ 1402847 h 4116358"/>
              <a:gd name="csX32" fmla="*/ 3191674 w 4038833"/>
              <a:gd name="csY32" fmla="*/ 1247342 h 4116358"/>
              <a:gd name="csX33" fmla="*/ 3227325 w 4038833"/>
              <a:gd name="csY33" fmla="*/ 1409011 h 4116358"/>
              <a:gd name="csX34" fmla="*/ 3305697 w 4038833"/>
              <a:gd name="csY34" fmla="*/ 2008178 h 4116358"/>
              <a:gd name="csX35" fmla="*/ 3244622 w 4038833"/>
              <a:gd name="csY35" fmla="*/ 2068219 h 4116358"/>
              <a:gd name="csX36" fmla="*/ 3199960 w 4038833"/>
              <a:gd name="csY36" fmla="*/ 2120561 h 4116358"/>
              <a:gd name="csX37" fmla="*/ 3246521 w 4038833"/>
              <a:gd name="csY37" fmla="*/ 2232982 h 4116358"/>
              <a:gd name="csX38" fmla="*/ 3415442 w 4038833"/>
              <a:gd name="csY38" fmla="*/ 2455106 h 4116358"/>
              <a:gd name="csX39" fmla="*/ 3420790 w 4038833"/>
              <a:gd name="csY39" fmla="*/ 2462904 h 4116358"/>
              <a:gd name="csX40" fmla="*/ 3356848 w 4038833"/>
              <a:gd name="csY40" fmla="*/ 2677824 h 4116358"/>
              <a:gd name="csX41" fmla="*/ 3214345 w 4038833"/>
              <a:gd name="csY41" fmla="*/ 2707434 h 4116358"/>
              <a:gd name="csX42" fmla="*/ 3102202 w 4038833"/>
              <a:gd name="csY42" fmla="*/ 2624192 h 4116358"/>
              <a:gd name="csX43" fmla="*/ 2981386 w 4038833"/>
              <a:gd name="csY43" fmla="*/ 2533449 h 4116358"/>
              <a:gd name="csX44" fmla="*/ 2854479 w 4038833"/>
              <a:gd name="csY44" fmla="*/ 2522621 h 4116358"/>
              <a:gd name="csX45" fmla="*/ 2845918 w 4038833"/>
              <a:gd name="csY45" fmla="*/ 2524007 h 4116358"/>
              <a:gd name="csX46" fmla="*/ 2989559 w 4038833"/>
              <a:gd name="csY46" fmla="*/ 2805499 h 4116358"/>
              <a:gd name="csX47" fmla="*/ 3105409 w 4038833"/>
              <a:gd name="csY47" fmla="*/ 3148777 h 4116358"/>
              <a:gd name="csX48" fmla="*/ 3061991 w 4038833"/>
              <a:gd name="csY48" fmla="*/ 3336276 h 4116358"/>
              <a:gd name="csX49" fmla="*/ 2996713 w 4038833"/>
              <a:gd name="csY49" fmla="*/ 3504427 h 4116358"/>
              <a:gd name="csX50" fmla="*/ 3006710 w 4038833"/>
              <a:gd name="csY50" fmla="*/ 3664980 h 4116358"/>
              <a:gd name="csX51" fmla="*/ 3042113 w 4038833"/>
              <a:gd name="csY51" fmla="*/ 3732348 h 4116358"/>
              <a:gd name="csX52" fmla="*/ 3065522 w 4038833"/>
              <a:gd name="csY52" fmla="*/ 3900165 h 4116358"/>
              <a:gd name="csX53" fmla="*/ 3059441 w 4038833"/>
              <a:gd name="csY53" fmla="*/ 4050584 h 4116358"/>
              <a:gd name="csX54" fmla="*/ 2975814 w 4038833"/>
              <a:gd name="csY54" fmla="*/ 4110542 h 4116358"/>
              <a:gd name="csX55" fmla="*/ 2107425 w 4038833"/>
              <a:gd name="csY55" fmla="*/ 3920164 h 4116358"/>
              <a:gd name="csX56" fmla="*/ 2023265 w 4038833"/>
              <a:gd name="csY56" fmla="*/ 3905797 h 4116358"/>
              <a:gd name="csX57" fmla="*/ 1973874 w 4038833"/>
              <a:gd name="csY57" fmla="*/ 3851028 h 4116358"/>
              <a:gd name="csX58" fmla="*/ 2013832 w 4038833"/>
              <a:gd name="csY58" fmla="*/ 3751609 h 4116358"/>
              <a:gd name="csX59" fmla="*/ 2046485 w 4038833"/>
              <a:gd name="csY59" fmla="*/ 3669538 h 4116358"/>
              <a:gd name="csX60" fmla="*/ 2098658 w 4038833"/>
              <a:gd name="csY60" fmla="*/ 3568336 h 4116358"/>
              <a:gd name="csX61" fmla="*/ 2187699 w 4038833"/>
              <a:gd name="csY61" fmla="*/ 3496903 h 4116358"/>
              <a:gd name="csX62" fmla="*/ 2249197 w 4038833"/>
              <a:gd name="csY62" fmla="*/ 3342556 h 4116358"/>
              <a:gd name="csX63" fmla="*/ 2188127 w 4038833"/>
              <a:gd name="csY63" fmla="*/ 3254991 h 4116358"/>
              <a:gd name="csX64" fmla="*/ 2167646 w 4038833"/>
              <a:gd name="csY64" fmla="*/ 3177785 h 4116358"/>
              <a:gd name="csX65" fmla="*/ 2273061 w 4038833"/>
              <a:gd name="csY65" fmla="*/ 2753416 h 4116358"/>
              <a:gd name="csX66" fmla="*/ 2242070 w 4038833"/>
              <a:gd name="csY66" fmla="*/ 2493806 h 4116358"/>
              <a:gd name="csX67" fmla="*/ 2262026 w 4038833"/>
              <a:gd name="csY67" fmla="*/ 2229293 h 4116358"/>
              <a:gd name="csX68" fmla="*/ 2249692 w 4038833"/>
              <a:gd name="csY68" fmla="*/ 2184356 h 4116358"/>
              <a:gd name="csX69" fmla="*/ 1803477 w 4038833"/>
              <a:gd name="csY69" fmla="*/ 1868225 h 4116358"/>
              <a:gd name="csX70" fmla="*/ 1145402 w 4038833"/>
              <a:gd name="csY70" fmla="*/ 1603294 h 4116358"/>
              <a:gd name="csX71" fmla="*/ 639106 w 4038833"/>
              <a:gd name="csY71" fmla="*/ 1328476 h 4116358"/>
              <a:gd name="csX72" fmla="*/ 371499 w 4038833"/>
              <a:gd name="csY72" fmla="*/ 1209806 h 4116358"/>
              <a:gd name="csX73" fmla="*/ 312374 w 4038833"/>
              <a:gd name="csY73" fmla="*/ 1254720 h 4116358"/>
              <a:gd name="csX74" fmla="*/ 290014 w 4038833"/>
              <a:gd name="csY74" fmla="*/ 1405062 h 4116358"/>
              <a:gd name="csX75" fmla="*/ 233027 w 4038833"/>
              <a:gd name="csY75" fmla="*/ 1447531 h 4116358"/>
              <a:gd name="csX76" fmla="*/ 0 w 4038833"/>
              <a:gd name="csY76" fmla="*/ 1407874 h 4116358"/>
              <a:gd name="csX77" fmla="*/ 60890 w 4038833"/>
              <a:gd name="csY77" fmla="*/ 974759 h 4116358"/>
              <a:gd name="csX78" fmla="*/ 203835 w 4038833"/>
              <a:gd name="csY78" fmla="*/ 34517 h 4116358"/>
              <a:gd name="csX79" fmla="*/ 210790 w 4038833"/>
              <a:gd name="csY79" fmla="*/ 8067 h 411635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</a:cxnLst>
            <a:rect l="l" t="t" r="r" b="b"/>
            <a:pathLst>
              <a:path w="4038833" h="4116358">
                <a:moveTo>
                  <a:pt x="210790" y="8067"/>
                </a:moveTo>
                <a:cubicBezTo>
                  <a:pt x="283815" y="16317"/>
                  <a:pt x="355506" y="29555"/>
                  <a:pt x="427695" y="38991"/>
                </a:cubicBezTo>
                <a:cubicBezTo>
                  <a:pt x="463811" y="43712"/>
                  <a:pt x="476855" y="55896"/>
                  <a:pt x="470037" y="94473"/>
                </a:cubicBezTo>
                <a:cubicBezTo>
                  <a:pt x="458225" y="161292"/>
                  <a:pt x="469274" y="174076"/>
                  <a:pt x="537708" y="186726"/>
                </a:cubicBezTo>
                <a:lnTo>
                  <a:pt x="822986" y="237761"/>
                </a:lnTo>
                <a:cubicBezTo>
                  <a:pt x="901333" y="250719"/>
                  <a:pt x="977461" y="230767"/>
                  <a:pt x="1053871" y="217558"/>
                </a:cubicBezTo>
                <a:cubicBezTo>
                  <a:pt x="1069477" y="214860"/>
                  <a:pt x="1085032" y="211873"/>
                  <a:pt x="1104820" y="207594"/>
                </a:cubicBezTo>
                <a:cubicBezTo>
                  <a:pt x="1471989" y="157249"/>
                  <a:pt x="1833101" y="97202"/>
                  <a:pt x="2189264" y="11559"/>
                </a:cubicBezTo>
                <a:cubicBezTo>
                  <a:pt x="2290991" y="-12902"/>
                  <a:pt x="2382432" y="-384"/>
                  <a:pt x="2456441" y="66880"/>
                </a:cubicBezTo>
                <a:cubicBezTo>
                  <a:pt x="2534836" y="138132"/>
                  <a:pt x="2622799" y="159288"/>
                  <a:pt x="2723656" y="167155"/>
                </a:cubicBezTo>
                <a:cubicBezTo>
                  <a:pt x="2988942" y="187847"/>
                  <a:pt x="3253330" y="217827"/>
                  <a:pt x="3512530" y="281823"/>
                </a:cubicBezTo>
                <a:cubicBezTo>
                  <a:pt x="3518676" y="283340"/>
                  <a:pt x="3525038" y="283969"/>
                  <a:pt x="3531207" y="285407"/>
                </a:cubicBezTo>
                <a:cubicBezTo>
                  <a:pt x="3557922" y="291634"/>
                  <a:pt x="3597788" y="276648"/>
                  <a:pt x="3608706" y="307081"/>
                </a:cubicBezTo>
                <a:cubicBezTo>
                  <a:pt x="3623149" y="347339"/>
                  <a:pt x="3613570" y="391072"/>
                  <a:pt x="3593351" y="431171"/>
                </a:cubicBezTo>
                <a:cubicBezTo>
                  <a:pt x="3580523" y="456610"/>
                  <a:pt x="3535868" y="472207"/>
                  <a:pt x="3551133" y="500897"/>
                </a:cubicBezTo>
                <a:cubicBezTo>
                  <a:pt x="3562818" y="522858"/>
                  <a:pt x="3601648" y="530034"/>
                  <a:pt x="3627940" y="544622"/>
                </a:cubicBezTo>
                <a:lnTo>
                  <a:pt x="4014317" y="759258"/>
                </a:lnTo>
                <a:cubicBezTo>
                  <a:pt x="4034056" y="770143"/>
                  <a:pt x="4038901" y="785658"/>
                  <a:pt x="4038833" y="806296"/>
                </a:cubicBezTo>
                <a:cubicBezTo>
                  <a:pt x="4038529" y="897836"/>
                  <a:pt x="3979725" y="963578"/>
                  <a:pt x="3888490" y="971744"/>
                </a:cubicBezTo>
                <a:cubicBezTo>
                  <a:pt x="3833945" y="976627"/>
                  <a:pt x="3780618" y="968313"/>
                  <a:pt x="3729903" y="948141"/>
                </a:cubicBezTo>
                <a:cubicBezTo>
                  <a:pt x="3659281" y="920050"/>
                  <a:pt x="3587040" y="895255"/>
                  <a:pt x="3523203" y="852290"/>
                </a:cubicBezTo>
                <a:cubicBezTo>
                  <a:pt x="3483129" y="825317"/>
                  <a:pt x="3436579" y="823957"/>
                  <a:pt x="3390668" y="820687"/>
                </a:cubicBezTo>
                <a:cubicBezTo>
                  <a:pt x="3360686" y="818551"/>
                  <a:pt x="3364638" y="831265"/>
                  <a:pt x="3375325" y="851577"/>
                </a:cubicBezTo>
                <a:cubicBezTo>
                  <a:pt x="3386012" y="871889"/>
                  <a:pt x="3386651" y="850574"/>
                  <a:pt x="3454792" y="942561"/>
                </a:cubicBezTo>
                <a:cubicBezTo>
                  <a:pt x="3522933" y="1034548"/>
                  <a:pt x="3698143" y="1232541"/>
                  <a:pt x="3784169" y="1403500"/>
                </a:cubicBezTo>
                <a:cubicBezTo>
                  <a:pt x="3805251" y="1445398"/>
                  <a:pt x="3836727" y="1482246"/>
                  <a:pt x="3864848" y="1520365"/>
                </a:cubicBezTo>
                <a:cubicBezTo>
                  <a:pt x="3888148" y="1551949"/>
                  <a:pt x="3883414" y="1576855"/>
                  <a:pt x="3854717" y="1602620"/>
                </a:cubicBezTo>
                <a:cubicBezTo>
                  <a:pt x="3804415" y="1647782"/>
                  <a:pt x="3745689" y="1656139"/>
                  <a:pt x="3677187" y="1647840"/>
                </a:cubicBezTo>
                <a:cubicBezTo>
                  <a:pt x="3621136" y="1623658"/>
                  <a:pt x="3568623" y="1602091"/>
                  <a:pt x="3519439" y="1567683"/>
                </a:cubicBezTo>
                <a:cubicBezTo>
                  <a:pt x="3514393" y="1563246"/>
                  <a:pt x="3511952" y="1560239"/>
                  <a:pt x="3507390" y="1555232"/>
                </a:cubicBezTo>
                <a:cubicBezTo>
                  <a:pt x="3505339" y="1553173"/>
                  <a:pt x="3505408" y="1553746"/>
                  <a:pt x="3505696" y="1553730"/>
                </a:cubicBezTo>
                <a:cubicBezTo>
                  <a:pt x="3454097" y="1511054"/>
                  <a:pt x="3412731" y="1458400"/>
                  <a:pt x="3377037" y="1402847"/>
                </a:cubicBezTo>
                <a:cubicBezTo>
                  <a:pt x="3331502" y="1331975"/>
                  <a:pt x="3266879" y="1287591"/>
                  <a:pt x="3191674" y="1247342"/>
                </a:cubicBezTo>
                <a:cubicBezTo>
                  <a:pt x="3197844" y="1303804"/>
                  <a:pt x="3219451" y="1353406"/>
                  <a:pt x="3227325" y="1409011"/>
                </a:cubicBezTo>
                <a:cubicBezTo>
                  <a:pt x="3291940" y="1605730"/>
                  <a:pt x="3287081" y="1808480"/>
                  <a:pt x="3305697" y="2008178"/>
                </a:cubicBezTo>
                <a:cubicBezTo>
                  <a:pt x="3310139" y="2055827"/>
                  <a:pt x="3287412" y="2072785"/>
                  <a:pt x="3244622" y="2068219"/>
                </a:cubicBezTo>
                <a:cubicBezTo>
                  <a:pt x="3201850" y="2063654"/>
                  <a:pt x="3193625" y="2082257"/>
                  <a:pt x="3199960" y="2120561"/>
                </a:cubicBezTo>
                <a:cubicBezTo>
                  <a:pt x="3206851" y="2162223"/>
                  <a:pt x="3219849" y="2199788"/>
                  <a:pt x="3246521" y="2232982"/>
                </a:cubicBezTo>
                <a:cubicBezTo>
                  <a:pt x="3304790" y="2305500"/>
                  <a:pt x="3340470" y="2395215"/>
                  <a:pt x="3415442" y="2455106"/>
                </a:cubicBezTo>
                <a:cubicBezTo>
                  <a:pt x="3417800" y="2456990"/>
                  <a:pt x="3419213" y="2460169"/>
                  <a:pt x="3420790" y="2462904"/>
                </a:cubicBezTo>
                <a:cubicBezTo>
                  <a:pt x="3443815" y="2502835"/>
                  <a:pt x="3398594" y="2658760"/>
                  <a:pt x="3356848" y="2677824"/>
                </a:cubicBezTo>
                <a:cubicBezTo>
                  <a:pt x="3311917" y="2698342"/>
                  <a:pt x="3265345" y="2711619"/>
                  <a:pt x="3214345" y="2707434"/>
                </a:cubicBezTo>
                <a:cubicBezTo>
                  <a:pt x="3158545" y="2702855"/>
                  <a:pt x="3118949" y="2683470"/>
                  <a:pt x="3102202" y="2624192"/>
                </a:cubicBezTo>
                <a:cubicBezTo>
                  <a:pt x="3085757" y="2565983"/>
                  <a:pt x="3040799" y="2538433"/>
                  <a:pt x="2981386" y="2533449"/>
                </a:cubicBezTo>
                <a:lnTo>
                  <a:pt x="2854479" y="2522621"/>
                </a:lnTo>
                <a:cubicBezTo>
                  <a:pt x="2848666" y="2522419"/>
                  <a:pt x="2846898" y="2521885"/>
                  <a:pt x="2845918" y="2524007"/>
                </a:cubicBezTo>
                <a:cubicBezTo>
                  <a:pt x="2884027" y="2624895"/>
                  <a:pt x="2944338" y="2711355"/>
                  <a:pt x="2989559" y="2805499"/>
                </a:cubicBezTo>
                <a:cubicBezTo>
                  <a:pt x="3042181" y="2915051"/>
                  <a:pt x="3107252" y="3020224"/>
                  <a:pt x="3105409" y="3148777"/>
                </a:cubicBezTo>
                <a:cubicBezTo>
                  <a:pt x="3104461" y="3214966"/>
                  <a:pt x="3092888" y="3276190"/>
                  <a:pt x="3061991" y="3336276"/>
                </a:cubicBezTo>
                <a:cubicBezTo>
                  <a:pt x="3034645" y="3389457"/>
                  <a:pt x="3024354" y="3451449"/>
                  <a:pt x="2996713" y="3504427"/>
                </a:cubicBezTo>
                <a:cubicBezTo>
                  <a:pt x="2966088" y="3563126"/>
                  <a:pt x="2975065" y="3612910"/>
                  <a:pt x="3006710" y="3664980"/>
                </a:cubicBezTo>
                <a:cubicBezTo>
                  <a:pt x="3019862" y="3686619"/>
                  <a:pt x="3028384" y="3711144"/>
                  <a:pt x="3042113" y="3732348"/>
                </a:cubicBezTo>
                <a:cubicBezTo>
                  <a:pt x="3076245" y="3785060"/>
                  <a:pt x="3087941" y="3842015"/>
                  <a:pt x="3065522" y="3900165"/>
                </a:cubicBezTo>
                <a:cubicBezTo>
                  <a:pt x="3045981" y="3950852"/>
                  <a:pt x="3068929" y="4000367"/>
                  <a:pt x="3059441" y="4050584"/>
                </a:cubicBezTo>
                <a:cubicBezTo>
                  <a:pt x="3047195" y="4115401"/>
                  <a:pt x="3039604" y="4124917"/>
                  <a:pt x="2975814" y="4110542"/>
                </a:cubicBezTo>
                <a:cubicBezTo>
                  <a:pt x="2686722" y="4045394"/>
                  <a:pt x="2395248" y="3991119"/>
                  <a:pt x="2107425" y="3920164"/>
                </a:cubicBezTo>
                <a:cubicBezTo>
                  <a:pt x="2079807" y="3913356"/>
                  <a:pt x="2051437" y="3906492"/>
                  <a:pt x="2023265" y="3905797"/>
                </a:cubicBezTo>
                <a:cubicBezTo>
                  <a:pt x="1984631" y="3904845"/>
                  <a:pt x="1974216" y="3883822"/>
                  <a:pt x="1973874" y="3851028"/>
                </a:cubicBezTo>
                <a:cubicBezTo>
                  <a:pt x="1973470" y="3812368"/>
                  <a:pt x="1990042" y="3780093"/>
                  <a:pt x="2013832" y="3751609"/>
                </a:cubicBezTo>
                <a:cubicBezTo>
                  <a:pt x="2034026" y="3727430"/>
                  <a:pt x="2047840" y="3700440"/>
                  <a:pt x="2046485" y="3669538"/>
                </a:cubicBezTo>
                <a:cubicBezTo>
                  <a:pt x="2044517" y="3624666"/>
                  <a:pt x="2066513" y="3594416"/>
                  <a:pt x="2098658" y="3568336"/>
                </a:cubicBezTo>
                <a:cubicBezTo>
                  <a:pt x="2128215" y="3544356"/>
                  <a:pt x="2156623" y="3518727"/>
                  <a:pt x="2187699" y="3496903"/>
                </a:cubicBezTo>
                <a:cubicBezTo>
                  <a:pt x="2242595" y="3458353"/>
                  <a:pt x="2256287" y="3405442"/>
                  <a:pt x="2249197" y="3342556"/>
                </a:cubicBezTo>
                <a:cubicBezTo>
                  <a:pt x="2244583" y="3301632"/>
                  <a:pt x="2229709" y="3271776"/>
                  <a:pt x="2188127" y="3254991"/>
                </a:cubicBezTo>
                <a:cubicBezTo>
                  <a:pt x="2138532" y="3234971"/>
                  <a:pt x="2133454" y="3215928"/>
                  <a:pt x="2167646" y="3177785"/>
                </a:cubicBezTo>
                <a:cubicBezTo>
                  <a:pt x="2278165" y="3054496"/>
                  <a:pt x="2290597" y="2907787"/>
                  <a:pt x="2273061" y="2753416"/>
                </a:cubicBezTo>
                <a:cubicBezTo>
                  <a:pt x="2263224" y="2666818"/>
                  <a:pt x="2249715" y="2580578"/>
                  <a:pt x="2242070" y="2493806"/>
                </a:cubicBezTo>
                <a:cubicBezTo>
                  <a:pt x="2234242" y="2404948"/>
                  <a:pt x="2239329" y="2316170"/>
                  <a:pt x="2262026" y="2229293"/>
                </a:cubicBezTo>
                <a:cubicBezTo>
                  <a:pt x="2266812" y="2210976"/>
                  <a:pt x="2268715" y="2197083"/>
                  <a:pt x="2249692" y="2184356"/>
                </a:cubicBezTo>
                <a:cubicBezTo>
                  <a:pt x="2098163" y="2082982"/>
                  <a:pt x="1957852" y="1966041"/>
                  <a:pt x="1803477" y="1868225"/>
                </a:cubicBezTo>
                <a:cubicBezTo>
                  <a:pt x="1599856" y="1739205"/>
                  <a:pt x="1380723" y="1652087"/>
                  <a:pt x="1145402" y="1603294"/>
                </a:cubicBezTo>
                <a:cubicBezTo>
                  <a:pt x="949102" y="1562592"/>
                  <a:pt x="777027" y="1474610"/>
                  <a:pt x="639106" y="1328476"/>
                </a:cubicBezTo>
                <a:cubicBezTo>
                  <a:pt x="564742" y="1249684"/>
                  <a:pt x="471459" y="1225040"/>
                  <a:pt x="371499" y="1209806"/>
                </a:cubicBezTo>
                <a:cubicBezTo>
                  <a:pt x="336093" y="1204410"/>
                  <a:pt x="315355" y="1212284"/>
                  <a:pt x="312374" y="1254720"/>
                </a:cubicBezTo>
                <a:cubicBezTo>
                  <a:pt x="308835" y="1305102"/>
                  <a:pt x="295030" y="1354695"/>
                  <a:pt x="290014" y="1405062"/>
                </a:cubicBezTo>
                <a:cubicBezTo>
                  <a:pt x="286180" y="1443566"/>
                  <a:pt x="267640" y="1452817"/>
                  <a:pt x="233027" y="1447531"/>
                </a:cubicBezTo>
                <a:cubicBezTo>
                  <a:pt x="156267" y="1435809"/>
                  <a:pt x="79049" y="1426927"/>
                  <a:pt x="0" y="1407874"/>
                </a:cubicBezTo>
                <a:cubicBezTo>
                  <a:pt x="18008" y="1262968"/>
                  <a:pt x="39095" y="1118810"/>
                  <a:pt x="60890" y="974759"/>
                </a:cubicBezTo>
                <a:cubicBezTo>
                  <a:pt x="108314" y="661311"/>
                  <a:pt x="156082" y="347915"/>
                  <a:pt x="203835" y="34517"/>
                </a:cubicBezTo>
                <a:cubicBezTo>
                  <a:pt x="205023" y="26725"/>
                  <a:pt x="207687" y="19157"/>
                  <a:pt x="210790" y="8067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25" name="Free-form: Shape 3524">
            <a:extLst>
              <a:ext uri="{FF2B5EF4-FFF2-40B4-BE49-F238E27FC236}">
                <a16:creationId xmlns:a16="http://schemas.microsoft.com/office/drawing/2014/main" id="{94A22AE7-D712-C2D6-DD73-90EF49128CCB}"/>
              </a:ext>
            </a:extLst>
          </p:cNvPr>
          <p:cNvSpPr/>
          <p:nvPr/>
        </p:nvSpPr>
        <p:spPr>
          <a:xfrm>
            <a:off x="1503032" y="2768826"/>
            <a:ext cx="2593880" cy="1522583"/>
          </a:xfrm>
          <a:custGeom>
            <a:avLst/>
            <a:gdLst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21387 w 3437996"/>
              <a:gd name="csY47" fmla="*/ 708333 h 2018071"/>
              <a:gd name="csX48" fmla="*/ 22313 w 3437996"/>
              <a:gd name="csY48" fmla="*/ 700409 h 2018071"/>
              <a:gd name="csX49" fmla="*/ 30962 w 3437996"/>
              <a:gd name="csY49" fmla="*/ 642260 h 2018071"/>
              <a:gd name="csX50" fmla="*/ 32315 w 3437996"/>
              <a:gd name="csY50" fmla="*/ 633805 h 2018071"/>
              <a:gd name="csX51" fmla="*/ 40506 w 3437996"/>
              <a:gd name="csY51" fmla="*/ 584580 h 2018071"/>
              <a:gd name="csX52" fmla="*/ 42550 w 3437996"/>
              <a:gd name="csY52" fmla="*/ 567648 h 2018071"/>
              <a:gd name="csX53" fmla="*/ 49883 w 3437996"/>
              <a:gd name="csY53" fmla="*/ 529082 h 2018071"/>
              <a:gd name="csX54" fmla="*/ 51048 w 3437996"/>
              <a:gd name="csY54" fmla="*/ 526838 h 2018071"/>
              <a:gd name="csX55" fmla="*/ 59483 w 3437996"/>
              <a:gd name="csY55" fmla="*/ 460900 h 2018071"/>
              <a:gd name="csX56" fmla="*/ 60600 w 3437996"/>
              <a:gd name="csY56" fmla="*/ 452775 h 2018071"/>
              <a:gd name="csX57" fmla="*/ 69198 w 3437996"/>
              <a:gd name="csY57" fmla="*/ 402712 h 2018071"/>
              <a:gd name="csX58" fmla="*/ 70360 w 3437996"/>
              <a:gd name="csY58" fmla="*/ 386909 h 2018071"/>
              <a:gd name="csX59" fmla="*/ 78687 w 3437996"/>
              <a:gd name="csY59" fmla="*/ 336299 h 2018071"/>
              <a:gd name="csX60" fmla="*/ 80332 w 3437996"/>
              <a:gd name="csY60" fmla="*/ 320109 h 2018071"/>
              <a:gd name="csX61" fmla="*/ 88193 w 3437996"/>
              <a:gd name="csY61" fmla="*/ 269877 h 2018071"/>
              <a:gd name="csX62" fmla="*/ 89741 w 3437996"/>
              <a:gd name="csY62" fmla="*/ 253550 h 2018071"/>
              <a:gd name="csX63" fmla="*/ 98008 w 3437996"/>
              <a:gd name="csY63" fmla="*/ 233543 h 2018071"/>
              <a:gd name="csX64" fmla="*/ 99628 w 3437996"/>
              <a:gd name="csY64" fmla="*/ 231506 h 2018071"/>
              <a:gd name="csX65" fmla="*/ 182353 w 3437996"/>
              <a:gd name="csY65" fmla="*/ 229554 h 2018071"/>
              <a:gd name="csX66" fmla="*/ 185812 w 3437996"/>
              <a:gd name="csY66" fmla="*/ 231380 h 2018071"/>
              <a:gd name="csX67" fmla="*/ 213726 w 3437996"/>
              <a:gd name="csY67" fmla="*/ 239233 h 2018071"/>
              <a:gd name="csX68" fmla="*/ 416961 w 3437996"/>
              <a:gd name="csY68" fmla="*/ 299911 h 2018071"/>
              <a:gd name="csX69" fmla="*/ 622809 w 3437996"/>
              <a:gd name="csY69" fmla="*/ 305227 h 2018071"/>
              <a:gd name="csX70" fmla="*/ 1851374 w 3437996"/>
              <a:gd name="csY70" fmla="*/ 7502 h 2018071"/>
              <a:gd name="csX71" fmla="*/ 2119617 w 3437996"/>
              <a:gd name="csY71" fmla="*/ 86919 h 2018071"/>
              <a:gd name="csX72" fmla="*/ 2805452 w 3437996"/>
              <a:gd name="csY72" fmla="*/ 622669 h 2018071"/>
              <a:gd name="csX73" fmla="*/ 3047873 w 3437996"/>
              <a:gd name="csY73" fmla="*/ 889895 h 2018071"/>
              <a:gd name="csX74" fmla="*/ 3201337 w 3437996"/>
              <a:gd name="csY74" fmla="*/ 1065192 h 2018071"/>
              <a:gd name="csX75" fmla="*/ 3322212 w 3437996"/>
              <a:gd name="csY75" fmla="*/ 1262254 h 2018071"/>
              <a:gd name="csX76" fmla="*/ 3434603 w 3437996"/>
              <a:gd name="csY76" fmla="*/ 1463610 h 2018071"/>
              <a:gd name="csX77" fmla="*/ 3437317 w 3437996"/>
              <a:gd name="csY77" fmla="*/ 1496424 h 2018071"/>
              <a:gd name="csX78" fmla="*/ 3437173 w 3437996"/>
              <a:gd name="csY78" fmla="*/ 1502015 h 2018071"/>
              <a:gd name="csX79" fmla="*/ 3265778 w 3437996"/>
              <a:gd name="csY79" fmla="*/ 1437268 h 2018071"/>
              <a:gd name="csX80" fmla="*/ 3131933 w 3437996"/>
              <a:gd name="csY80" fmla="*/ 1283723 h 2018071"/>
              <a:gd name="csX81" fmla="*/ 2856351 w 3437996"/>
              <a:gd name="csY81" fmla="*/ 1004478 h 2018071"/>
              <a:gd name="csX82" fmla="*/ 2818150 w 3437996"/>
              <a:gd name="csY82" fmla="*/ 969213 h 2018071"/>
              <a:gd name="csX83" fmla="*/ 2654127 w 3437996"/>
              <a:gd name="csY83" fmla="*/ 825572 h 2018071"/>
              <a:gd name="csX84" fmla="*/ 2651783 w 3437996"/>
              <a:gd name="csY84" fmla="*/ 823279 h 2018071"/>
              <a:gd name="csX85" fmla="*/ 2644017 w 3437996"/>
              <a:gd name="csY85" fmla="*/ 814773 h 2018071"/>
              <a:gd name="csX86" fmla="*/ 2642551 w 3437996"/>
              <a:gd name="csY86" fmla="*/ 813746 h 2018071"/>
              <a:gd name="csX87" fmla="*/ 2634494 w 3437996"/>
              <a:gd name="csY87" fmla="*/ 805208 h 2018071"/>
              <a:gd name="csX88" fmla="*/ 2633053 w 3437996"/>
              <a:gd name="csY88" fmla="*/ 804210 h 2018071"/>
              <a:gd name="csX89" fmla="*/ 2624994 w 3437996"/>
              <a:gd name="csY89" fmla="*/ 795655 h 2018071"/>
              <a:gd name="csX90" fmla="*/ 2623570 w 3437996"/>
              <a:gd name="csY90" fmla="*/ 794675 h 2018071"/>
              <a:gd name="csX91" fmla="*/ 2615495 w 3437996"/>
              <a:gd name="csY91" fmla="*/ 786111 h 2018071"/>
              <a:gd name="csX92" fmla="*/ 2614082 w 3437996"/>
              <a:gd name="csY92" fmla="*/ 785113 h 2018071"/>
              <a:gd name="csX93" fmla="*/ 2606007 w 3437996"/>
              <a:gd name="csY93" fmla="*/ 776562 h 2018071"/>
              <a:gd name="csX94" fmla="*/ 2604609 w 3437996"/>
              <a:gd name="csY94" fmla="*/ 775538 h 2018071"/>
              <a:gd name="csX95" fmla="*/ 2596489 w 3437996"/>
              <a:gd name="csY95" fmla="*/ 767032 h 2018071"/>
              <a:gd name="csX96" fmla="*/ 2595095 w 3437996"/>
              <a:gd name="csY96" fmla="*/ 766006 h 2018071"/>
              <a:gd name="csX97" fmla="*/ 2586954 w 3437996"/>
              <a:gd name="csY97" fmla="*/ 757512 h 2018071"/>
              <a:gd name="csX98" fmla="*/ 2585558 w 3437996"/>
              <a:gd name="csY98" fmla="*/ 756496 h 2018071"/>
              <a:gd name="csX99" fmla="*/ 2577410 w 3437996"/>
              <a:gd name="csY99" fmla="*/ 748000 h 2018071"/>
              <a:gd name="csX100" fmla="*/ 2576006 w 3437996"/>
              <a:gd name="csY100" fmla="*/ 747002 h 2018071"/>
              <a:gd name="csX101" fmla="*/ 2567871 w 3437996"/>
              <a:gd name="csY101" fmla="*/ 738486 h 2018071"/>
              <a:gd name="csX102" fmla="*/ 2566459 w 3437996"/>
              <a:gd name="csY102" fmla="*/ 737499 h 2018071"/>
              <a:gd name="csX103" fmla="*/ 2558352 w 3437996"/>
              <a:gd name="csY103" fmla="*/ 728962 h 2018071"/>
              <a:gd name="csX104" fmla="*/ 2556937 w 3437996"/>
              <a:gd name="csY104" fmla="*/ 727967 h 2018071"/>
              <a:gd name="csX105" fmla="*/ 2548845 w 3437996"/>
              <a:gd name="csY105" fmla="*/ 719430 h 2018071"/>
              <a:gd name="csX106" fmla="*/ 2547432 w 3437996"/>
              <a:gd name="csY106" fmla="*/ 718414 h 2018071"/>
              <a:gd name="csX107" fmla="*/ 2539350 w 3437996"/>
              <a:gd name="csY107" fmla="*/ 709894 h 2018071"/>
              <a:gd name="csX108" fmla="*/ 2537942 w 3437996"/>
              <a:gd name="csY108" fmla="*/ 708842 h 2018071"/>
              <a:gd name="csX109" fmla="*/ 2529865 w 3437996"/>
              <a:gd name="csY109" fmla="*/ 700356 h 2018071"/>
              <a:gd name="csX110" fmla="*/ 2528460 w 3437996"/>
              <a:gd name="csY110" fmla="*/ 699259 h 2018071"/>
              <a:gd name="csX111" fmla="*/ 2520386 w 3437996"/>
              <a:gd name="csY111" fmla="*/ 690820 h 2018071"/>
              <a:gd name="csX112" fmla="*/ 2518981 w 3437996"/>
              <a:gd name="csY112" fmla="*/ 689668 h 2018071"/>
              <a:gd name="csX113" fmla="*/ 2510900 w 3437996"/>
              <a:gd name="csY113" fmla="*/ 681286 h 2018071"/>
              <a:gd name="csX114" fmla="*/ 2509493 w 3437996"/>
              <a:gd name="csY114" fmla="*/ 680082 h 2018071"/>
              <a:gd name="csX115" fmla="*/ 2501400 w 3437996"/>
              <a:gd name="csY115" fmla="*/ 671754 h 2018071"/>
              <a:gd name="csX116" fmla="*/ 2499991 w 3437996"/>
              <a:gd name="csY116" fmla="*/ 670520 h 2018071"/>
              <a:gd name="csX117" fmla="*/ 2491892 w 3437996"/>
              <a:gd name="csY117" fmla="*/ 662222 h 2018071"/>
              <a:gd name="csX118" fmla="*/ 2490482 w 3437996"/>
              <a:gd name="csY118" fmla="*/ 660967 h 2018071"/>
              <a:gd name="csX119" fmla="*/ 2482391 w 3437996"/>
              <a:gd name="csY119" fmla="*/ 652682 h 2018071"/>
              <a:gd name="csX120" fmla="*/ 2480984 w 3437996"/>
              <a:gd name="csY120" fmla="*/ 651408 h 2018071"/>
              <a:gd name="csX121" fmla="*/ 2472919 w 3437996"/>
              <a:gd name="csY121" fmla="*/ 643127 h 2018071"/>
              <a:gd name="csX122" fmla="*/ 2471515 w 3437996"/>
              <a:gd name="csY122" fmla="*/ 641819 h 2018071"/>
              <a:gd name="csX123" fmla="*/ 2463424 w 3437996"/>
              <a:gd name="csY123" fmla="*/ 633584 h 2018071"/>
              <a:gd name="csX124" fmla="*/ 2462020 w 3437996"/>
              <a:gd name="csY124" fmla="*/ 632257 h 2018071"/>
              <a:gd name="csX125" fmla="*/ 2453925 w 3437996"/>
              <a:gd name="csY125" fmla="*/ 624049 h 2018071"/>
              <a:gd name="csX126" fmla="*/ 2452516 w 3437996"/>
              <a:gd name="csY126" fmla="*/ 622702 h 2018071"/>
              <a:gd name="csX127" fmla="*/ 2444450 w 3437996"/>
              <a:gd name="csY127" fmla="*/ 614506 h 2018071"/>
              <a:gd name="csX128" fmla="*/ 2443026 w 3437996"/>
              <a:gd name="csY128" fmla="*/ 613123 h 2018071"/>
              <a:gd name="csX129" fmla="*/ 2434957 w 3437996"/>
              <a:gd name="csY129" fmla="*/ 604969 h 2018071"/>
              <a:gd name="csX130" fmla="*/ 2433519 w 3437996"/>
              <a:gd name="csY130" fmla="*/ 603563 h 2018071"/>
              <a:gd name="csX131" fmla="*/ 2425486 w 3437996"/>
              <a:gd name="csY131" fmla="*/ 595418 h 2018071"/>
              <a:gd name="csX132" fmla="*/ 2424029 w 3437996"/>
              <a:gd name="csY132" fmla="*/ 593985 h 2018071"/>
              <a:gd name="csX133" fmla="*/ 2416081 w 3437996"/>
              <a:gd name="csY133" fmla="*/ 585841 h 2018071"/>
              <a:gd name="csX134" fmla="*/ 2414563 w 3437996"/>
              <a:gd name="csY134" fmla="*/ 584358 h 2018071"/>
              <a:gd name="csX135" fmla="*/ 2406640 w 3437996"/>
              <a:gd name="csY135" fmla="*/ 576281 h 2018071"/>
              <a:gd name="csX136" fmla="*/ 2405068 w 3437996"/>
              <a:gd name="csY136" fmla="*/ 574761 h 2018071"/>
              <a:gd name="csX137" fmla="*/ 2397176 w 3437996"/>
              <a:gd name="csY137" fmla="*/ 566733 h 2018071"/>
              <a:gd name="csX138" fmla="*/ 2395561 w 3437996"/>
              <a:gd name="csY138" fmla="*/ 565186 h 2018071"/>
              <a:gd name="csX139" fmla="*/ 2387690 w 3437996"/>
              <a:gd name="csY139" fmla="*/ 557193 h 2018071"/>
              <a:gd name="csX140" fmla="*/ 2386050 w 3437996"/>
              <a:gd name="csY140" fmla="*/ 555624 h 2018071"/>
              <a:gd name="csX141" fmla="*/ 2378191 w 3437996"/>
              <a:gd name="csY141" fmla="*/ 547659 h 2018071"/>
              <a:gd name="csX142" fmla="*/ 2376534 w 3437996"/>
              <a:gd name="csY142" fmla="*/ 546075 h 2018071"/>
              <a:gd name="csX143" fmla="*/ 2368704 w 3437996"/>
              <a:gd name="csY143" fmla="*/ 538124 h 2018071"/>
              <a:gd name="csX144" fmla="*/ 2367021 w 3437996"/>
              <a:gd name="csY144" fmla="*/ 536517 h 2018071"/>
              <a:gd name="csX145" fmla="*/ 2360018 w 3437996"/>
              <a:gd name="csY145" fmla="*/ 529380 h 2018071"/>
              <a:gd name="csX146" fmla="*/ 2357514 w 3437996"/>
              <a:gd name="csY146" fmla="*/ 526933 h 2018071"/>
              <a:gd name="csX147" fmla="*/ 2350552 w 3437996"/>
              <a:gd name="csY147" fmla="*/ 519835 h 2018071"/>
              <a:gd name="csX148" fmla="*/ 2348016 w 3437996"/>
              <a:gd name="csY148" fmla="*/ 517342 h 2018071"/>
              <a:gd name="csX149" fmla="*/ 2341054 w 3437996"/>
              <a:gd name="csY149" fmla="*/ 510297 h 2018071"/>
              <a:gd name="csX150" fmla="*/ 2338508 w 3437996"/>
              <a:gd name="csY150" fmla="*/ 507777 h 2018071"/>
              <a:gd name="csX151" fmla="*/ 2331539 w 3437996"/>
              <a:gd name="csY151" fmla="*/ 500765 h 2018071"/>
              <a:gd name="csX152" fmla="*/ 2328991 w 3437996"/>
              <a:gd name="csY152" fmla="*/ 498236 h 2018071"/>
              <a:gd name="csX153" fmla="*/ 2322020 w 3437996"/>
              <a:gd name="csY153" fmla="*/ 491243 h 2018071"/>
              <a:gd name="csX154" fmla="*/ 2319465 w 3437996"/>
              <a:gd name="csY154" fmla="*/ 488702 h 2018071"/>
              <a:gd name="csX155" fmla="*/ 2312510 w 3437996"/>
              <a:gd name="csY155" fmla="*/ 481725 h 2018071"/>
              <a:gd name="csX156" fmla="*/ 2309941 w 3437996"/>
              <a:gd name="csY156" fmla="*/ 479158 h 2018071"/>
              <a:gd name="csX157" fmla="*/ 2303024 w 3437996"/>
              <a:gd name="csY157" fmla="*/ 472210 h 2018071"/>
              <a:gd name="csX158" fmla="*/ 2300428 w 3437996"/>
              <a:gd name="csY158" fmla="*/ 469578 h 2018071"/>
              <a:gd name="csX159" fmla="*/ 2293545 w 3437996"/>
              <a:gd name="csY159" fmla="*/ 462697 h 2018071"/>
              <a:gd name="csX160" fmla="*/ 2290922 w 3437996"/>
              <a:gd name="csY160" fmla="*/ 459984 h 2018071"/>
              <a:gd name="csX161" fmla="*/ 2284051 w 3437996"/>
              <a:gd name="csY161" fmla="*/ 453172 h 2018071"/>
              <a:gd name="csX162" fmla="*/ 2281414 w 3437996"/>
              <a:gd name="csY162" fmla="*/ 450403 h 2018071"/>
              <a:gd name="csX163" fmla="*/ 2274560 w 3437996"/>
              <a:gd name="csY163" fmla="*/ 443646 h 2018071"/>
              <a:gd name="csX164" fmla="*/ 2271906 w 3437996"/>
              <a:gd name="csY164" fmla="*/ 440826 h 2018071"/>
              <a:gd name="csX165" fmla="*/ 2265120 w 3437996"/>
              <a:gd name="csY165" fmla="*/ 434112 h 2018071"/>
              <a:gd name="csX166" fmla="*/ 2262409 w 3437996"/>
              <a:gd name="csY166" fmla="*/ 431189 h 2018071"/>
              <a:gd name="csX167" fmla="*/ 2255765 w 3437996"/>
              <a:gd name="csY167" fmla="*/ 424557 h 2018071"/>
              <a:gd name="csX168" fmla="*/ 2252962 w 3437996"/>
              <a:gd name="csY168" fmla="*/ 421458 h 2018071"/>
              <a:gd name="csX169" fmla="*/ 2246361 w 3437996"/>
              <a:gd name="csY169" fmla="*/ 414989 h 2018071"/>
              <a:gd name="csX170" fmla="*/ 2226101 w 3437996"/>
              <a:gd name="csY170" fmla="*/ 394472 h 2018071"/>
              <a:gd name="csX171" fmla="*/ 2204126 w 3437996"/>
              <a:gd name="csY171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21387 w 3437996"/>
              <a:gd name="csY47" fmla="*/ 708333 h 2018071"/>
              <a:gd name="csX48" fmla="*/ 22313 w 3437996"/>
              <a:gd name="csY48" fmla="*/ 700409 h 2018071"/>
              <a:gd name="csX49" fmla="*/ 30962 w 3437996"/>
              <a:gd name="csY49" fmla="*/ 642260 h 2018071"/>
              <a:gd name="csX50" fmla="*/ 32315 w 3437996"/>
              <a:gd name="csY50" fmla="*/ 633805 h 2018071"/>
              <a:gd name="csX51" fmla="*/ 40506 w 3437996"/>
              <a:gd name="csY51" fmla="*/ 584580 h 2018071"/>
              <a:gd name="csX52" fmla="*/ 42550 w 3437996"/>
              <a:gd name="csY52" fmla="*/ 567648 h 2018071"/>
              <a:gd name="csX53" fmla="*/ 49883 w 3437996"/>
              <a:gd name="csY53" fmla="*/ 529082 h 2018071"/>
              <a:gd name="csX54" fmla="*/ 51048 w 3437996"/>
              <a:gd name="csY54" fmla="*/ 526838 h 2018071"/>
              <a:gd name="csX55" fmla="*/ 59483 w 3437996"/>
              <a:gd name="csY55" fmla="*/ 460900 h 2018071"/>
              <a:gd name="csX56" fmla="*/ 60600 w 3437996"/>
              <a:gd name="csY56" fmla="*/ 452775 h 2018071"/>
              <a:gd name="csX57" fmla="*/ 70360 w 3437996"/>
              <a:gd name="csY57" fmla="*/ 386909 h 2018071"/>
              <a:gd name="csX58" fmla="*/ 78687 w 3437996"/>
              <a:gd name="csY58" fmla="*/ 336299 h 2018071"/>
              <a:gd name="csX59" fmla="*/ 80332 w 3437996"/>
              <a:gd name="csY59" fmla="*/ 320109 h 2018071"/>
              <a:gd name="csX60" fmla="*/ 88193 w 3437996"/>
              <a:gd name="csY60" fmla="*/ 269877 h 2018071"/>
              <a:gd name="csX61" fmla="*/ 89741 w 3437996"/>
              <a:gd name="csY61" fmla="*/ 253550 h 2018071"/>
              <a:gd name="csX62" fmla="*/ 98008 w 3437996"/>
              <a:gd name="csY62" fmla="*/ 233543 h 2018071"/>
              <a:gd name="csX63" fmla="*/ 99628 w 3437996"/>
              <a:gd name="csY63" fmla="*/ 231506 h 2018071"/>
              <a:gd name="csX64" fmla="*/ 182353 w 3437996"/>
              <a:gd name="csY64" fmla="*/ 229554 h 2018071"/>
              <a:gd name="csX65" fmla="*/ 185812 w 3437996"/>
              <a:gd name="csY65" fmla="*/ 231380 h 2018071"/>
              <a:gd name="csX66" fmla="*/ 213726 w 3437996"/>
              <a:gd name="csY66" fmla="*/ 239233 h 2018071"/>
              <a:gd name="csX67" fmla="*/ 416961 w 3437996"/>
              <a:gd name="csY67" fmla="*/ 299911 h 2018071"/>
              <a:gd name="csX68" fmla="*/ 622809 w 3437996"/>
              <a:gd name="csY68" fmla="*/ 305227 h 2018071"/>
              <a:gd name="csX69" fmla="*/ 1851374 w 3437996"/>
              <a:gd name="csY69" fmla="*/ 7502 h 2018071"/>
              <a:gd name="csX70" fmla="*/ 2119617 w 3437996"/>
              <a:gd name="csY70" fmla="*/ 86919 h 2018071"/>
              <a:gd name="csX71" fmla="*/ 2805452 w 3437996"/>
              <a:gd name="csY71" fmla="*/ 622669 h 2018071"/>
              <a:gd name="csX72" fmla="*/ 3047873 w 3437996"/>
              <a:gd name="csY72" fmla="*/ 889895 h 2018071"/>
              <a:gd name="csX73" fmla="*/ 3201337 w 3437996"/>
              <a:gd name="csY73" fmla="*/ 1065192 h 2018071"/>
              <a:gd name="csX74" fmla="*/ 3322212 w 3437996"/>
              <a:gd name="csY74" fmla="*/ 1262254 h 2018071"/>
              <a:gd name="csX75" fmla="*/ 3434603 w 3437996"/>
              <a:gd name="csY75" fmla="*/ 1463610 h 2018071"/>
              <a:gd name="csX76" fmla="*/ 3437317 w 3437996"/>
              <a:gd name="csY76" fmla="*/ 1496424 h 2018071"/>
              <a:gd name="csX77" fmla="*/ 3437173 w 3437996"/>
              <a:gd name="csY77" fmla="*/ 1502015 h 2018071"/>
              <a:gd name="csX78" fmla="*/ 3265778 w 3437996"/>
              <a:gd name="csY78" fmla="*/ 1437268 h 2018071"/>
              <a:gd name="csX79" fmla="*/ 3131933 w 3437996"/>
              <a:gd name="csY79" fmla="*/ 1283723 h 2018071"/>
              <a:gd name="csX80" fmla="*/ 2856351 w 3437996"/>
              <a:gd name="csY80" fmla="*/ 1004478 h 2018071"/>
              <a:gd name="csX81" fmla="*/ 2818150 w 3437996"/>
              <a:gd name="csY81" fmla="*/ 969213 h 2018071"/>
              <a:gd name="csX82" fmla="*/ 2654127 w 3437996"/>
              <a:gd name="csY82" fmla="*/ 825572 h 2018071"/>
              <a:gd name="csX83" fmla="*/ 2651783 w 3437996"/>
              <a:gd name="csY83" fmla="*/ 823279 h 2018071"/>
              <a:gd name="csX84" fmla="*/ 2644017 w 3437996"/>
              <a:gd name="csY84" fmla="*/ 814773 h 2018071"/>
              <a:gd name="csX85" fmla="*/ 2642551 w 3437996"/>
              <a:gd name="csY85" fmla="*/ 813746 h 2018071"/>
              <a:gd name="csX86" fmla="*/ 2634494 w 3437996"/>
              <a:gd name="csY86" fmla="*/ 805208 h 2018071"/>
              <a:gd name="csX87" fmla="*/ 2633053 w 3437996"/>
              <a:gd name="csY87" fmla="*/ 804210 h 2018071"/>
              <a:gd name="csX88" fmla="*/ 2624994 w 3437996"/>
              <a:gd name="csY88" fmla="*/ 795655 h 2018071"/>
              <a:gd name="csX89" fmla="*/ 2623570 w 3437996"/>
              <a:gd name="csY89" fmla="*/ 794675 h 2018071"/>
              <a:gd name="csX90" fmla="*/ 2615495 w 3437996"/>
              <a:gd name="csY90" fmla="*/ 786111 h 2018071"/>
              <a:gd name="csX91" fmla="*/ 2614082 w 3437996"/>
              <a:gd name="csY91" fmla="*/ 785113 h 2018071"/>
              <a:gd name="csX92" fmla="*/ 2606007 w 3437996"/>
              <a:gd name="csY92" fmla="*/ 776562 h 2018071"/>
              <a:gd name="csX93" fmla="*/ 2604609 w 3437996"/>
              <a:gd name="csY93" fmla="*/ 775538 h 2018071"/>
              <a:gd name="csX94" fmla="*/ 2596489 w 3437996"/>
              <a:gd name="csY94" fmla="*/ 767032 h 2018071"/>
              <a:gd name="csX95" fmla="*/ 2595095 w 3437996"/>
              <a:gd name="csY95" fmla="*/ 766006 h 2018071"/>
              <a:gd name="csX96" fmla="*/ 2586954 w 3437996"/>
              <a:gd name="csY96" fmla="*/ 757512 h 2018071"/>
              <a:gd name="csX97" fmla="*/ 2585558 w 3437996"/>
              <a:gd name="csY97" fmla="*/ 756496 h 2018071"/>
              <a:gd name="csX98" fmla="*/ 2577410 w 3437996"/>
              <a:gd name="csY98" fmla="*/ 748000 h 2018071"/>
              <a:gd name="csX99" fmla="*/ 2576006 w 3437996"/>
              <a:gd name="csY99" fmla="*/ 747002 h 2018071"/>
              <a:gd name="csX100" fmla="*/ 2567871 w 3437996"/>
              <a:gd name="csY100" fmla="*/ 738486 h 2018071"/>
              <a:gd name="csX101" fmla="*/ 2566459 w 3437996"/>
              <a:gd name="csY101" fmla="*/ 737499 h 2018071"/>
              <a:gd name="csX102" fmla="*/ 2558352 w 3437996"/>
              <a:gd name="csY102" fmla="*/ 728962 h 2018071"/>
              <a:gd name="csX103" fmla="*/ 2556937 w 3437996"/>
              <a:gd name="csY103" fmla="*/ 727967 h 2018071"/>
              <a:gd name="csX104" fmla="*/ 2548845 w 3437996"/>
              <a:gd name="csY104" fmla="*/ 719430 h 2018071"/>
              <a:gd name="csX105" fmla="*/ 2547432 w 3437996"/>
              <a:gd name="csY105" fmla="*/ 718414 h 2018071"/>
              <a:gd name="csX106" fmla="*/ 2539350 w 3437996"/>
              <a:gd name="csY106" fmla="*/ 709894 h 2018071"/>
              <a:gd name="csX107" fmla="*/ 2537942 w 3437996"/>
              <a:gd name="csY107" fmla="*/ 708842 h 2018071"/>
              <a:gd name="csX108" fmla="*/ 2529865 w 3437996"/>
              <a:gd name="csY108" fmla="*/ 700356 h 2018071"/>
              <a:gd name="csX109" fmla="*/ 2528460 w 3437996"/>
              <a:gd name="csY109" fmla="*/ 699259 h 2018071"/>
              <a:gd name="csX110" fmla="*/ 2520386 w 3437996"/>
              <a:gd name="csY110" fmla="*/ 690820 h 2018071"/>
              <a:gd name="csX111" fmla="*/ 2518981 w 3437996"/>
              <a:gd name="csY111" fmla="*/ 689668 h 2018071"/>
              <a:gd name="csX112" fmla="*/ 2510900 w 3437996"/>
              <a:gd name="csY112" fmla="*/ 681286 h 2018071"/>
              <a:gd name="csX113" fmla="*/ 2509493 w 3437996"/>
              <a:gd name="csY113" fmla="*/ 680082 h 2018071"/>
              <a:gd name="csX114" fmla="*/ 2501400 w 3437996"/>
              <a:gd name="csY114" fmla="*/ 671754 h 2018071"/>
              <a:gd name="csX115" fmla="*/ 2499991 w 3437996"/>
              <a:gd name="csY115" fmla="*/ 670520 h 2018071"/>
              <a:gd name="csX116" fmla="*/ 2491892 w 3437996"/>
              <a:gd name="csY116" fmla="*/ 662222 h 2018071"/>
              <a:gd name="csX117" fmla="*/ 2490482 w 3437996"/>
              <a:gd name="csY117" fmla="*/ 660967 h 2018071"/>
              <a:gd name="csX118" fmla="*/ 2482391 w 3437996"/>
              <a:gd name="csY118" fmla="*/ 652682 h 2018071"/>
              <a:gd name="csX119" fmla="*/ 2480984 w 3437996"/>
              <a:gd name="csY119" fmla="*/ 651408 h 2018071"/>
              <a:gd name="csX120" fmla="*/ 2472919 w 3437996"/>
              <a:gd name="csY120" fmla="*/ 643127 h 2018071"/>
              <a:gd name="csX121" fmla="*/ 2471515 w 3437996"/>
              <a:gd name="csY121" fmla="*/ 641819 h 2018071"/>
              <a:gd name="csX122" fmla="*/ 2463424 w 3437996"/>
              <a:gd name="csY122" fmla="*/ 633584 h 2018071"/>
              <a:gd name="csX123" fmla="*/ 2462020 w 3437996"/>
              <a:gd name="csY123" fmla="*/ 632257 h 2018071"/>
              <a:gd name="csX124" fmla="*/ 2453925 w 3437996"/>
              <a:gd name="csY124" fmla="*/ 624049 h 2018071"/>
              <a:gd name="csX125" fmla="*/ 2452516 w 3437996"/>
              <a:gd name="csY125" fmla="*/ 622702 h 2018071"/>
              <a:gd name="csX126" fmla="*/ 2444450 w 3437996"/>
              <a:gd name="csY126" fmla="*/ 614506 h 2018071"/>
              <a:gd name="csX127" fmla="*/ 2443026 w 3437996"/>
              <a:gd name="csY127" fmla="*/ 613123 h 2018071"/>
              <a:gd name="csX128" fmla="*/ 2434957 w 3437996"/>
              <a:gd name="csY128" fmla="*/ 604969 h 2018071"/>
              <a:gd name="csX129" fmla="*/ 2433519 w 3437996"/>
              <a:gd name="csY129" fmla="*/ 603563 h 2018071"/>
              <a:gd name="csX130" fmla="*/ 2425486 w 3437996"/>
              <a:gd name="csY130" fmla="*/ 595418 h 2018071"/>
              <a:gd name="csX131" fmla="*/ 2424029 w 3437996"/>
              <a:gd name="csY131" fmla="*/ 593985 h 2018071"/>
              <a:gd name="csX132" fmla="*/ 2416081 w 3437996"/>
              <a:gd name="csY132" fmla="*/ 585841 h 2018071"/>
              <a:gd name="csX133" fmla="*/ 2414563 w 3437996"/>
              <a:gd name="csY133" fmla="*/ 584358 h 2018071"/>
              <a:gd name="csX134" fmla="*/ 2406640 w 3437996"/>
              <a:gd name="csY134" fmla="*/ 576281 h 2018071"/>
              <a:gd name="csX135" fmla="*/ 2405068 w 3437996"/>
              <a:gd name="csY135" fmla="*/ 574761 h 2018071"/>
              <a:gd name="csX136" fmla="*/ 2397176 w 3437996"/>
              <a:gd name="csY136" fmla="*/ 566733 h 2018071"/>
              <a:gd name="csX137" fmla="*/ 2395561 w 3437996"/>
              <a:gd name="csY137" fmla="*/ 565186 h 2018071"/>
              <a:gd name="csX138" fmla="*/ 2387690 w 3437996"/>
              <a:gd name="csY138" fmla="*/ 557193 h 2018071"/>
              <a:gd name="csX139" fmla="*/ 2386050 w 3437996"/>
              <a:gd name="csY139" fmla="*/ 555624 h 2018071"/>
              <a:gd name="csX140" fmla="*/ 2378191 w 3437996"/>
              <a:gd name="csY140" fmla="*/ 547659 h 2018071"/>
              <a:gd name="csX141" fmla="*/ 2376534 w 3437996"/>
              <a:gd name="csY141" fmla="*/ 546075 h 2018071"/>
              <a:gd name="csX142" fmla="*/ 2368704 w 3437996"/>
              <a:gd name="csY142" fmla="*/ 538124 h 2018071"/>
              <a:gd name="csX143" fmla="*/ 2367021 w 3437996"/>
              <a:gd name="csY143" fmla="*/ 536517 h 2018071"/>
              <a:gd name="csX144" fmla="*/ 2360018 w 3437996"/>
              <a:gd name="csY144" fmla="*/ 529380 h 2018071"/>
              <a:gd name="csX145" fmla="*/ 2357514 w 3437996"/>
              <a:gd name="csY145" fmla="*/ 526933 h 2018071"/>
              <a:gd name="csX146" fmla="*/ 2350552 w 3437996"/>
              <a:gd name="csY146" fmla="*/ 519835 h 2018071"/>
              <a:gd name="csX147" fmla="*/ 2348016 w 3437996"/>
              <a:gd name="csY147" fmla="*/ 517342 h 2018071"/>
              <a:gd name="csX148" fmla="*/ 2341054 w 3437996"/>
              <a:gd name="csY148" fmla="*/ 510297 h 2018071"/>
              <a:gd name="csX149" fmla="*/ 2338508 w 3437996"/>
              <a:gd name="csY149" fmla="*/ 507777 h 2018071"/>
              <a:gd name="csX150" fmla="*/ 2331539 w 3437996"/>
              <a:gd name="csY150" fmla="*/ 500765 h 2018071"/>
              <a:gd name="csX151" fmla="*/ 2328991 w 3437996"/>
              <a:gd name="csY151" fmla="*/ 498236 h 2018071"/>
              <a:gd name="csX152" fmla="*/ 2322020 w 3437996"/>
              <a:gd name="csY152" fmla="*/ 491243 h 2018071"/>
              <a:gd name="csX153" fmla="*/ 2319465 w 3437996"/>
              <a:gd name="csY153" fmla="*/ 488702 h 2018071"/>
              <a:gd name="csX154" fmla="*/ 2312510 w 3437996"/>
              <a:gd name="csY154" fmla="*/ 481725 h 2018071"/>
              <a:gd name="csX155" fmla="*/ 2309941 w 3437996"/>
              <a:gd name="csY155" fmla="*/ 479158 h 2018071"/>
              <a:gd name="csX156" fmla="*/ 2303024 w 3437996"/>
              <a:gd name="csY156" fmla="*/ 472210 h 2018071"/>
              <a:gd name="csX157" fmla="*/ 2300428 w 3437996"/>
              <a:gd name="csY157" fmla="*/ 469578 h 2018071"/>
              <a:gd name="csX158" fmla="*/ 2293545 w 3437996"/>
              <a:gd name="csY158" fmla="*/ 462697 h 2018071"/>
              <a:gd name="csX159" fmla="*/ 2290922 w 3437996"/>
              <a:gd name="csY159" fmla="*/ 459984 h 2018071"/>
              <a:gd name="csX160" fmla="*/ 2284051 w 3437996"/>
              <a:gd name="csY160" fmla="*/ 453172 h 2018071"/>
              <a:gd name="csX161" fmla="*/ 2281414 w 3437996"/>
              <a:gd name="csY161" fmla="*/ 450403 h 2018071"/>
              <a:gd name="csX162" fmla="*/ 2274560 w 3437996"/>
              <a:gd name="csY162" fmla="*/ 443646 h 2018071"/>
              <a:gd name="csX163" fmla="*/ 2271906 w 3437996"/>
              <a:gd name="csY163" fmla="*/ 440826 h 2018071"/>
              <a:gd name="csX164" fmla="*/ 2265120 w 3437996"/>
              <a:gd name="csY164" fmla="*/ 434112 h 2018071"/>
              <a:gd name="csX165" fmla="*/ 2262409 w 3437996"/>
              <a:gd name="csY165" fmla="*/ 431189 h 2018071"/>
              <a:gd name="csX166" fmla="*/ 2255765 w 3437996"/>
              <a:gd name="csY166" fmla="*/ 424557 h 2018071"/>
              <a:gd name="csX167" fmla="*/ 2252962 w 3437996"/>
              <a:gd name="csY167" fmla="*/ 421458 h 2018071"/>
              <a:gd name="csX168" fmla="*/ 2246361 w 3437996"/>
              <a:gd name="csY168" fmla="*/ 414989 h 2018071"/>
              <a:gd name="csX169" fmla="*/ 2226101 w 3437996"/>
              <a:gd name="csY169" fmla="*/ 394472 h 2018071"/>
              <a:gd name="csX170" fmla="*/ 2204126 w 3437996"/>
              <a:gd name="csY170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21387 w 3437996"/>
              <a:gd name="csY47" fmla="*/ 708333 h 2018071"/>
              <a:gd name="csX48" fmla="*/ 22313 w 3437996"/>
              <a:gd name="csY48" fmla="*/ 700409 h 2018071"/>
              <a:gd name="csX49" fmla="*/ 30962 w 3437996"/>
              <a:gd name="csY49" fmla="*/ 642260 h 2018071"/>
              <a:gd name="csX50" fmla="*/ 32315 w 3437996"/>
              <a:gd name="csY50" fmla="*/ 633805 h 2018071"/>
              <a:gd name="csX51" fmla="*/ 40506 w 3437996"/>
              <a:gd name="csY51" fmla="*/ 584580 h 2018071"/>
              <a:gd name="csX52" fmla="*/ 42550 w 3437996"/>
              <a:gd name="csY52" fmla="*/ 567648 h 2018071"/>
              <a:gd name="csX53" fmla="*/ 49883 w 3437996"/>
              <a:gd name="csY53" fmla="*/ 529082 h 2018071"/>
              <a:gd name="csX54" fmla="*/ 51048 w 3437996"/>
              <a:gd name="csY54" fmla="*/ 526838 h 2018071"/>
              <a:gd name="csX55" fmla="*/ 59483 w 3437996"/>
              <a:gd name="csY55" fmla="*/ 460900 h 2018071"/>
              <a:gd name="csX56" fmla="*/ 60600 w 3437996"/>
              <a:gd name="csY56" fmla="*/ 452775 h 2018071"/>
              <a:gd name="csX57" fmla="*/ 78687 w 3437996"/>
              <a:gd name="csY57" fmla="*/ 336299 h 2018071"/>
              <a:gd name="csX58" fmla="*/ 80332 w 3437996"/>
              <a:gd name="csY58" fmla="*/ 320109 h 2018071"/>
              <a:gd name="csX59" fmla="*/ 88193 w 3437996"/>
              <a:gd name="csY59" fmla="*/ 269877 h 2018071"/>
              <a:gd name="csX60" fmla="*/ 89741 w 3437996"/>
              <a:gd name="csY60" fmla="*/ 253550 h 2018071"/>
              <a:gd name="csX61" fmla="*/ 98008 w 3437996"/>
              <a:gd name="csY61" fmla="*/ 233543 h 2018071"/>
              <a:gd name="csX62" fmla="*/ 99628 w 3437996"/>
              <a:gd name="csY62" fmla="*/ 231506 h 2018071"/>
              <a:gd name="csX63" fmla="*/ 182353 w 3437996"/>
              <a:gd name="csY63" fmla="*/ 229554 h 2018071"/>
              <a:gd name="csX64" fmla="*/ 185812 w 3437996"/>
              <a:gd name="csY64" fmla="*/ 231380 h 2018071"/>
              <a:gd name="csX65" fmla="*/ 213726 w 3437996"/>
              <a:gd name="csY65" fmla="*/ 239233 h 2018071"/>
              <a:gd name="csX66" fmla="*/ 416961 w 3437996"/>
              <a:gd name="csY66" fmla="*/ 299911 h 2018071"/>
              <a:gd name="csX67" fmla="*/ 622809 w 3437996"/>
              <a:gd name="csY67" fmla="*/ 305227 h 2018071"/>
              <a:gd name="csX68" fmla="*/ 1851374 w 3437996"/>
              <a:gd name="csY68" fmla="*/ 7502 h 2018071"/>
              <a:gd name="csX69" fmla="*/ 2119617 w 3437996"/>
              <a:gd name="csY69" fmla="*/ 86919 h 2018071"/>
              <a:gd name="csX70" fmla="*/ 2805452 w 3437996"/>
              <a:gd name="csY70" fmla="*/ 622669 h 2018071"/>
              <a:gd name="csX71" fmla="*/ 3047873 w 3437996"/>
              <a:gd name="csY71" fmla="*/ 889895 h 2018071"/>
              <a:gd name="csX72" fmla="*/ 3201337 w 3437996"/>
              <a:gd name="csY72" fmla="*/ 1065192 h 2018071"/>
              <a:gd name="csX73" fmla="*/ 3322212 w 3437996"/>
              <a:gd name="csY73" fmla="*/ 1262254 h 2018071"/>
              <a:gd name="csX74" fmla="*/ 3434603 w 3437996"/>
              <a:gd name="csY74" fmla="*/ 1463610 h 2018071"/>
              <a:gd name="csX75" fmla="*/ 3437317 w 3437996"/>
              <a:gd name="csY75" fmla="*/ 1496424 h 2018071"/>
              <a:gd name="csX76" fmla="*/ 3437173 w 3437996"/>
              <a:gd name="csY76" fmla="*/ 1502015 h 2018071"/>
              <a:gd name="csX77" fmla="*/ 3265778 w 3437996"/>
              <a:gd name="csY77" fmla="*/ 1437268 h 2018071"/>
              <a:gd name="csX78" fmla="*/ 3131933 w 3437996"/>
              <a:gd name="csY78" fmla="*/ 1283723 h 2018071"/>
              <a:gd name="csX79" fmla="*/ 2856351 w 3437996"/>
              <a:gd name="csY79" fmla="*/ 1004478 h 2018071"/>
              <a:gd name="csX80" fmla="*/ 2818150 w 3437996"/>
              <a:gd name="csY80" fmla="*/ 969213 h 2018071"/>
              <a:gd name="csX81" fmla="*/ 2654127 w 3437996"/>
              <a:gd name="csY81" fmla="*/ 825572 h 2018071"/>
              <a:gd name="csX82" fmla="*/ 2651783 w 3437996"/>
              <a:gd name="csY82" fmla="*/ 823279 h 2018071"/>
              <a:gd name="csX83" fmla="*/ 2644017 w 3437996"/>
              <a:gd name="csY83" fmla="*/ 814773 h 2018071"/>
              <a:gd name="csX84" fmla="*/ 2642551 w 3437996"/>
              <a:gd name="csY84" fmla="*/ 813746 h 2018071"/>
              <a:gd name="csX85" fmla="*/ 2634494 w 3437996"/>
              <a:gd name="csY85" fmla="*/ 805208 h 2018071"/>
              <a:gd name="csX86" fmla="*/ 2633053 w 3437996"/>
              <a:gd name="csY86" fmla="*/ 804210 h 2018071"/>
              <a:gd name="csX87" fmla="*/ 2624994 w 3437996"/>
              <a:gd name="csY87" fmla="*/ 795655 h 2018071"/>
              <a:gd name="csX88" fmla="*/ 2623570 w 3437996"/>
              <a:gd name="csY88" fmla="*/ 794675 h 2018071"/>
              <a:gd name="csX89" fmla="*/ 2615495 w 3437996"/>
              <a:gd name="csY89" fmla="*/ 786111 h 2018071"/>
              <a:gd name="csX90" fmla="*/ 2614082 w 3437996"/>
              <a:gd name="csY90" fmla="*/ 785113 h 2018071"/>
              <a:gd name="csX91" fmla="*/ 2606007 w 3437996"/>
              <a:gd name="csY91" fmla="*/ 776562 h 2018071"/>
              <a:gd name="csX92" fmla="*/ 2604609 w 3437996"/>
              <a:gd name="csY92" fmla="*/ 775538 h 2018071"/>
              <a:gd name="csX93" fmla="*/ 2596489 w 3437996"/>
              <a:gd name="csY93" fmla="*/ 767032 h 2018071"/>
              <a:gd name="csX94" fmla="*/ 2595095 w 3437996"/>
              <a:gd name="csY94" fmla="*/ 766006 h 2018071"/>
              <a:gd name="csX95" fmla="*/ 2586954 w 3437996"/>
              <a:gd name="csY95" fmla="*/ 757512 h 2018071"/>
              <a:gd name="csX96" fmla="*/ 2585558 w 3437996"/>
              <a:gd name="csY96" fmla="*/ 756496 h 2018071"/>
              <a:gd name="csX97" fmla="*/ 2577410 w 3437996"/>
              <a:gd name="csY97" fmla="*/ 748000 h 2018071"/>
              <a:gd name="csX98" fmla="*/ 2576006 w 3437996"/>
              <a:gd name="csY98" fmla="*/ 747002 h 2018071"/>
              <a:gd name="csX99" fmla="*/ 2567871 w 3437996"/>
              <a:gd name="csY99" fmla="*/ 738486 h 2018071"/>
              <a:gd name="csX100" fmla="*/ 2566459 w 3437996"/>
              <a:gd name="csY100" fmla="*/ 737499 h 2018071"/>
              <a:gd name="csX101" fmla="*/ 2558352 w 3437996"/>
              <a:gd name="csY101" fmla="*/ 728962 h 2018071"/>
              <a:gd name="csX102" fmla="*/ 2556937 w 3437996"/>
              <a:gd name="csY102" fmla="*/ 727967 h 2018071"/>
              <a:gd name="csX103" fmla="*/ 2548845 w 3437996"/>
              <a:gd name="csY103" fmla="*/ 719430 h 2018071"/>
              <a:gd name="csX104" fmla="*/ 2547432 w 3437996"/>
              <a:gd name="csY104" fmla="*/ 718414 h 2018071"/>
              <a:gd name="csX105" fmla="*/ 2539350 w 3437996"/>
              <a:gd name="csY105" fmla="*/ 709894 h 2018071"/>
              <a:gd name="csX106" fmla="*/ 2537942 w 3437996"/>
              <a:gd name="csY106" fmla="*/ 708842 h 2018071"/>
              <a:gd name="csX107" fmla="*/ 2529865 w 3437996"/>
              <a:gd name="csY107" fmla="*/ 700356 h 2018071"/>
              <a:gd name="csX108" fmla="*/ 2528460 w 3437996"/>
              <a:gd name="csY108" fmla="*/ 699259 h 2018071"/>
              <a:gd name="csX109" fmla="*/ 2520386 w 3437996"/>
              <a:gd name="csY109" fmla="*/ 690820 h 2018071"/>
              <a:gd name="csX110" fmla="*/ 2518981 w 3437996"/>
              <a:gd name="csY110" fmla="*/ 689668 h 2018071"/>
              <a:gd name="csX111" fmla="*/ 2510900 w 3437996"/>
              <a:gd name="csY111" fmla="*/ 681286 h 2018071"/>
              <a:gd name="csX112" fmla="*/ 2509493 w 3437996"/>
              <a:gd name="csY112" fmla="*/ 680082 h 2018071"/>
              <a:gd name="csX113" fmla="*/ 2501400 w 3437996"/>
              <a:gd name="csY113" fmla="*/ 671754 h 2018071"/>
              <a:gd name="csX114" fmla="*/ 2499991 w 3437996"/>
              <a:gd name="csY114" fmla="*/ 670520 h 2018071"/>
              <a:gd name="csX115" fmla="*/ 2491892 w 3437996"/>
              <a:gd name="csY115" fmla="*/ 662222 h 2018071"/>
              <a:gd name="csX116" fmla="*/ 2490482 w 3437996"/>
              <a:gd name="csY116" fmla="*/ 660967 h 2018071"/>
              <a:gd name="csX117" fmla="*/ 2482391 w 3437996"/>
              <a:gd name="csY117" fmla="*/ 652682 h 2018071"/>
              <a:gd name="csX118" fmla="*/ 2480984 w 3437996"/>
              <a:gd name="csY118" fmla="*/ 651408 h 2018071"/>
              <a:gd name="csX119" fmla="*/ 2472919 w 3437996"/>
              <a:gd name="csY119" fmla="*/ 643127 h 2018071"/>
              <a:gd name="csX120" fmla="*/ 2471515 w 3437996"/>
              <a:gd name="csY120" fmla="*/ 641819 h 2018071"/>
              <a:gd name="csX121" fmla="*/ 2463424 w 3437996"/>
              <a:gd name="csY121" fmla="*/ 633584 h 2018071"/>
              <a:gd name="csX122" fmla="*/ 2462020 w 3437996"/>
              <a:gd name="csY122" fmla="*/ 632257 h 2018071"/>
              <a:gd name="csX123" fmla="*/ 2453925 w 3437996"/>
              <a:gd name="csY123" fmla="*/ 624049 h 2018071"/>
              <a:gd name="csX124" fmla="*/ 2452516 w 3437996"/>
              <a:gd name="csY124" fmla="*/ 622702 h 2018071"/>
              <a:gd name="csX125" fmla="*/ 2444450 w 3437996"/>
              <a:gd name="csY125" fmla="*/ 614506 h 2018071"/>
              <a:gd name="csX126" fmla="*/ 2443026 w 3437996"/>
              <a:gd name="csY126" fmla="*/ 613123 h 2018071"/>
              <a:gd name="csX127" fmla="*/ 2434957 w 3437996"/>
              <a:gd name="csY127" fmla="*/ 604969 h 2018071"/>
              <a:gd name="csX128" fmla="*/ 2433519 w 3437996"/>
              <a:gd name="csY128" fmla="*/ 603563 h 2018071"/>
              <a:gd name="csX129" fmla="*/ 2425486 w 3437996"/>
              <a:gd name="csY129" fmla="*/ 595418 h 2018071"/>
              <a:gd name="csX130" fmla="*/ 2424029 w 3437996"/>
              <a:gd name="csY130" fmla="*/ 593985 h 2018071"/>
              <a:gd name="csX131" fmla="*/ 2416081 w 3437996"/>
              <a:gd name="csY131" fmla="*/ 585841 h 2018071"/>
              <a:gd name="csX132" fmla="*/ 2414563 w 3437996"/>
              <a:gd name="csY132" fmla="*/ 584358 h 2018071"/>
              <a:gd name="csX133" fmla="*/ 2406640 w 3437996"/>
              <a:gd name="csY133" fmla="*/ 576281 h 2018071"/>
              <a:gd name="csX134" fmla="*/ 2405068 w 3437996"/>
              <a:gd name="csY134" fmla="*/ 574761 h 2018071"/>
              <a:gd name="csX135" fmla="*/ 2397176 w 3437996"/>
              <a:gd name="csY135" fmla="*/ 566733 h 2018071"/>
              <a:gd name="csX136" fmla="*/ 2395561 w 3437996"/>
              <a:gd name="csY136" fmla="*/ 565186 h 2018071"/>
              <a:gd name="csX137" fmla="*/ 2387690 w 3437996"/>
              <a:gd name="csY137" fmla="*/ 557193 h 2018071"/>
              <a:gd name="csX138" fmla="*/ 2386050 w 3437996"/>
              <a:gd name="csY138" fmla="*/ 555624 h 2018071"/>
              <a:gd name="csX139" fmla="*/ 2378191 w 3437996"/>
              <a:gd name="csY139" fmla="*/ 547659 h 2018071"/>
              <a:gd name="csX140" fmla="*/ 2376534 w 3437996"/>
              <a:gd name="csY140" fmla="*/ 546075 h 2018071"/>
              <a:gd name="csX141" fmla="*/ 2368704 w 3437996"/>
              <a:gd name="csY141" fmla="*/ 538124 h 2018071"/>
              <a:gd name="csX142" fmla="*/ 2367021 w 3437996"/>
              <a:gd name="csY142" fmla="*/ 536517 h 2018071"/>
              <a:gd name="csX143" fmla="*/ 2360018 w 3437996"/>
              <a:gd name="csY143" fmla="*/ 529380 h 2018071"/>
              <a:gd name="csX144" fmla="*/ 2357514 w 3437996"/>
              <a:gd name="csY144" fmla="*/ 526933 h 2018071"/>
              <a:gd name="csX145" fmla="*/ 2350552 w 3437996"/>
              <a:gd name="csY145" fmla="*/ 519835 h 2018071"/>
              <a:gd name="csX146" fmla="*/ 2348016 w 3437996"/>
              <a:gd name="csY146" fmla="*/ 517342 h 2018071"/>
              <a:gd name="csX147" fmla="*/ 2341054 w 3437996"/>
              <a:gd name="csY147" fmla="*/ 510297 h 2018071"/>
              <a:gd name="csX148" fmla="*/ 2338508 w 3437996"/>
              <a:gd name="csY148" fmla="*/ 507777 h 2018071"/>
              <a:gd name="csX149" fmla="*/ 2331539 w 3437996"/>
              <a:gd name="csY149" fmla="*/ 500765 h 2018071"/>
              <a:gd name="csX150" fmla="*/ 2328991 w 3437996"/>
              <a:gd name="csY150" fmla="*/ 498236 h 2018071"/>
              <a:gd name="csX151" fmla="*/ 2322020 w 3437996"/>
              <a:gd name="csY151" fmla="*/ 491243 h 2018071"/>
              <a:gd name="csX152" fmla="*/ 2319465 w 3437996"/>
              <a:gd name="csY152" fmla="*/ 488702 h 2018071"/>
              <a:gd name="csX153" fmla="*/ 2312510 w 3437996"/>
              <a:gd name="csY153" fmla="*/ 481725 h 2018071"/>
              <a:gd name="csX154" fmla="*/ 2309941 w 3437996"/>
              <a:gd name="csY154" fmla="*/ 479158 h 2018071"/>
              <a:gd name="csX155" fmla="*/ 2303024 w 3437996"/>
              <a:gd name="csY155" fmla="*/ 472210 h 2018071"/>
              <a:gd name="csX156" fmla="*/ 2300428 w 3437996"/>
              <a:gd name="csY156" fmla="*/ 469578 h 2018071"/>
              <a:gd name="csX157" fmla="*/ 2293545 w 3437996"/>
              <a:gd name="csY157" fmla="*/ 462697 h 2018071"/>
              <a:gd name="csX158" fmla="*/ 2290922 w 3437996"/>
              <a:gd name="csY158" fmla="*/ 459984 h 2018071"/>
              <a:gd name="csX159" fmla="*/ 2284051 w 3437996"/>
              <a:gd name="csY159" fmla="*/ 453172 h 2018071"/>
              <a:gd name="csX160" fmla="*/ 2281414 w 3437996"/>
              <a:gd name="csY160" fmla="*/ 450403 h 2018071"/>
              <a:gd name="csX161" fmla="*/ 2274560 w 3437996"/>
              <a:gd name="csY161" fmla="*/ 443646 h 2018071"/>
              <a:gd name="csX162" fmla="*/ 2271906 w 3437996"/>
              <a:gd name="csY162" fmla="*/ 440826 h 2018071"/>
              <a:gd name="csX163" fmla="*/ 2265120 w 3437996"/>
              <a:gd name="csY163" fmla="*/ 434112 h 2018071"/>
              <a:gd name="csX164" fmla="*/ 2262409 w 3437996"/>
              <a:gd name="csY164" fmla="*/ 431189 h 2018071"/>
              <a:gd name="csX165" fmla="*/ 2255765 w 3437996"/>
              <a:gd name="csY165" fmla="*/ 424557 h 2018071"/>
              <a:gd name="csX166" fmla="*/ 2252962 w 3437996"/>
              <a:gd name="csY166" fmla="*/ 421458 h 2018071"/>
              <a:gd name="csX167" fmla="*/ 2246361 w 3437996"/>
              <a:gd name="csY167" fmla="*/ 414989 h 2018071"/>
              <a:gd name="csX168" fmla="*/ 2226101 w 3437996"/>
              <a:gd name="csY168" fmla="*/ 394472 h 2018071"/>
              <a:gd name="csX169" fmla="*/ 2204126 w 3437996"/>
              <a:gd name="csY169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21387 w 3437996"/>
              <a:gd name="csY47" fmla="*/ 708333 h 2018071"/>
              <a:gd name="csX48" fmla="*/ 22313 w 3437996"/>
              <a:gd name="csY48" fmla="*/ 700409 h 2018071"/>
              <a:gd name="csX49" fmla="*/ 30962 w 3437996"/>
              <a:gd name="csY49" fmla="*/ 642260 h 2018071"/>
              <a:gd name="csX50" fmla="*/ 32315 w 3437996"/>
              <a:gd name="csY50" fmla="*/ 633805 h 2018071"/>
              <a:gd name="csX51" fmla="*/ 40506 w 3437996"/>
              <a:gd name="csY51" fmla="*/ 584580 h 2018071"/>
              <a:gd name="csX52" fmla="*/ 42550 w 3437996"/>
              <a:gd name="csY52" fmla="*/ 567648 h 2018071"/>
              <a:gd name="csX53" fmla="*/ 49883 w 3437996"/>
              <a:gd name="csY53" fmla="*/ 529082 h 2018071"/>
              <a:gd name="csX54" fmla="*/ 51048 w 3437996"/>
              <a:gd name="csY54" fmla="*/ 526838 h 2018071"/>
              <a:gd name="csX55" fmla="*/ 59483 w 3437996"/>
              <a:gd name="csY55" fmla="*/ 460900 h 2018071"/>
              <a:gd name="csX56" fmla="*/ 60600 w 3437996"/>
              <a:gd name="csY56" fmla="*/ 452775 h 2018071"/>
              <a:gd name="csX57" fmla="*/ 80332 w 3437996"/>
              <a:gd name="csY57" fmla="*/ 320109 h 2018071"/>
              <a:gd name="csX58" fmla="*/ 88193 w 3437996"/>
              <a:gd name="csY58" fmla="*/ 269877 h 2018071"/>
              <a:gd name="csX59" fmla="*/ 89741 w 3437996"/>
              <a:gd name="csY59" fmla="*/ 253550 h 2018071"/>
              <a:gd name="csX60" fmla="*/ 98008 w 3437996"/>
              <a:gd name="csY60" fmla="*/ 233543 h 2018071"/>
              <a:gd name="csX61" fmla="*/ 99628 w 3437996"/>
              <a:gd name="csY61" fmla="*/ 231506 h 2018071"/>
              <a:gd name="csX62" fmla="*/ 182353 w 3437996"/>
              <a:gd name="csY62" fmla="*/ 229554 h 2018071"/>
              <a:gd name="csX63" fmla="*/ 185812 w 3437996"/>
              <a:gd name="csY63" fmla="*/ 231380 h 2018071"/>
              <a:gd name="csX64" fmla="*/ 213726 w 3437996"/>
              <a:gd name="csY64" fmla="*/ 239233 h 2018071"/>
              <a:gd name="csX65" fmla="*/ 416961 w 3437996"/>
              <a:gd name="csY65" fmla="*/ 299911 h 2018071"/>
              <a:gd name="csX66" fmla="*/ 622809 w 3437996"/>
              <a:gd name="csY66" fmla="*/ 305227 h 2018071"/>
              <a:gd name="csX67" fmla="*/ 1851374 w 3437996"/>
              <a:gd name="csY67" fmla="*/ 7502 h 2018071"/>
              <a:gd name="csX68" fmla="*/ 2119617 w 3437996"/>
              <a:gd name="csY68" fmla="*/ 86919 h 2018071"/>
              <a:gd name="csX69" fmla="*/ 2805452 w 3437996"/>
              <a:gd name="csY69" fmla="*/ 622669 h 2018071"/>
              <a:gd name="csX70" fmla="*/ 3047873 w 3437996"/>
              <a:gd name="csY70" fmla="*/ 889895 h 2018071"/>
              <a:gd name="csX71" fmla="*/ 3201337 w 3437996"/>
              <a:gd name="csY71" fmla="*/ 1065192 h 2018071"/>
              <a:gd name="csX72" fmla="*/ 3322212 w 3437996"/>
              <a:gd name="csY72" fmla="*/ 1262254 h 2018071"/>
              <a:gd name="csX73" fmla="*/ 3434603 w 3437996"/>
              <a:gd name="csY73" fmla="*/ 1463610 h 2018071"/>
              <a:gd name="csX74" fmla="*/ 3437317 w 3437996"/>
              <a:gd name="csY74" fmla="*/ 1496424 h 2018071"/>
              <a:gd name="csX75" fmla="*/ 3437173 w 3437996"/>
              <a:gd name="csY75" fmla="*/ 1502015 h 2018071"/>
              <a:gd name="csX76" fmla="*/ 3265778 w 3437996"/>
              <a:gd name="csY76" fmla="*/ 1437268 h 2018071"/>
              <a:gd name="csX77" fmla="*/ 3131933 w 3437996"/>
              <a:gd name="csY77" fmla="*/ 1283723 h 2018071"/>
              <a:gd name="csX78" fmla="*/ 2856351 w 3437996"/>
              <a:gd name="csY78" fmla="*/ 1004478 h 2018071"/>
              <a:gd name="csX79" fmla="*/ 2818150 w 3437996"/>
              <a:gd name="csY79" fmla="*/ 969213 h 2018071"/>
              <a:gd name="csX80" fmla="*/ 2654127 w 3437996"/>
              <a:gd name="csY80" fmla="*/ 825572 h 2018071"/>
              <a:gd name="csX81" fmla="*/ 2651783 w 3437996"/>
              <a:gd name="csY81" fmla="*/ 823279 h 2018071"/>
              <a:gd name="csX82" fmla="*/ 2644017 w 3437996"/>
              <a:gd name="csY82" fmla="*/ 814773 h 2018071"/>
              <a:gd name="csX83" fmla="*/ 2642551 w 3437996"/>
              <a:gd name="csY83" fmla="*/ 813746 h 2018071"/>
              <a:gd name="csX84" fmla="*/ 2634494 w 3437996"/>
              <a:gd name="csY84" fmla="*/ 805208 h 2018071"/>
              <a:gd name="csX85" fmla="*/ 2633053 w 3437996"/>
              <a:gd name="csY85" fmla="*/ 804210 h 2018071"/>
              <a:gd name="csX86" fmla="*/ 2624994 w 3437996"/>
              <a:gd name="csY86" fmla="*/ 795655 h 2018071"/>
              <a:gd name="csX87" fmla="*/ 2623570 w 3437996"/>
              <a:gd name="csY87" fmla="*/ 794675 h 2018071"/>
              <a:gd name="csX88" fmla="*/ 2615495 w 3437996"/>
              <a:gd name="csY88" fmla="*/ 786111 h 2018071"/>
              <a:gd name="csX89" fmla="*/ 2614082 w 3437996"/>
              <a:gd name="csY89" fmla="*/ 785113 h 2018071"/>
              <a:gd name="csX90" fmla="*/ 2606007 w 3437996"/>
              <a:gd name="csY90" fmla="*/ 776562 h 2018071"/>
              <a:gd name="csX91" fmla="*/ 2604609 w 3437996"/>
              <a:gd name="csY91" fmla="*/ 775538 h 2018071"/>
              <a:gd name="csX92" fmla="*/ 2596489 w 3437996"/>
              <a:gd name="csY92" fmla="*/ 767032 h 2018071"/>
              <a:gd name="csX93" fmla="*/ 2595095 w 3437996"/>
              <a:gd name="csY93" fmla="*/ 766006 h 2018071"/>
              <a:gd name="csX94" fmla="*/ 2586954 w 3437996"/>
              <a:gd name="csY94" fmla="*/ 757512 h 2018071"/>
              <a:gd name="csX95" fmla="*/ 2585558 w 3437996"/>
              <a:gd name="csY95" fmla="*/ 756496 h 2018071"/>
              <a:gd name="csX96" fmla="*/ 2577410 w 3437996"/>
              <a:gd name="csY96" fmla="*/ 748000 h 2018071"/>
              <a:gd name="csX97" fmla="*/ 2576006 w 3437996"/>
              <a:gd name="csY97" fmla="*/ 747002 h 2018071"/>
              <a:gd name="csX98" fmla="*/ 2567871 w 3437996"/>
              <a:gd name="csY98" fmla="*/ 738486 h 2018071"/>
              <a:gd name="csX99" fmla="*/ 2566459 w 3437996"/>
              <a:gd name="csY99" fmla="*/ 737499 h 2018071"/>
              <a:gd name="csX100" fmla="*/ 2558352 w 3437996"/>
              <a:gd name="csY100" fmla="*/ 728962 h 2018071"/>
              <a:gd name="csX101" fmla="*/ 2556937 w 3437996"/>
              <a:gd name="csY101" fmla="*/ 727967 h 2018071"/>
              <a:gd name="csX102" fmla="*/ 2548845 w 3437996"/>
              <a:gd name="csY102" fmla="*/ 719430 h 2018071"/>
              <a:gd name="csX103" fmla="*/ 2547432 w 3437996"/>
              <a:gd name="csY103" fmla="*/ 718414 h 2018071"/>
              <a:gd name="csX104" fmla="*/ 2539350 w 3437996"/>
              <a:gd name="csY104" fmla="*/ 709894 h 2018071"/>
              <a:gd name="csX105" fmla="*/ 2537942 w 3437996"/>
              <a:gd name="csY105" fmla="*/ 708842 h 2018071"/>
              <a:gd name="csX106" fmla="*/ 2529865 w 3437996"/>
              <a:gd name="csY106" fmla="*/ 700356 h 2018071"/>
              <a:gd name="csX107" fmla="*/ 2528460 w 3437996"/>
              <a:gd name="csY107" fmla="*/ 699259 h 2018071"/>
              <a:gd name="csX108" fmla="*/ 2520386 w 3437996"/>
              <a:gd name="csY108" fmla="*/ 690820 h 2018071"/>
              <a:gd name="csX109" fmla="*/ 2518981 w 3437996"/>
              <a:gd name="csY109" fmla="*/ 689668 h 2018071"/>
              <a:gd name="csX110" fmla="*/ 2510900 w 3437996"/>
              <a:gd name="csY110" fmla="*/ 681286 h 2018071"/>
              <a:gd name="csX111" fmla="*/ 2509493 w 3437996"/>
              <a:gd name="csY111" fmla="*/ 680082 h 2018071"/>
              <a:gd name="csX112" fmla="*/ 2501400 w 3437996"/>
              <a:gd name="csY112" fmla="*/ 671754 h 2018071"/>
              <a:gd name="csX113" fmla="*/ 2499991 w 3437996"/>
              <a:gd name="csY113" fmla="*/ 670520 h 2018071"/>
              <a:gd name="csX114" fmla="*/ 2491892 w 3437996"/>
              <a:gd name="csY114" fmla="*/ 662222 h 2018071"/>
              <a:gd name="csX115" fmla="*/ 2490482 w 3437996"/>
              <a:gd name="csY115" fmla="*/ 660967 h 2018071"/>
              <a:gd name="csX116" fmla="*/ 2482391 w 3437996"/>
              <a:gd name="csY116" fmla="*/ 652682 h 2018071"/>
              <a:gd name="csX117" fmla="*/ 2480984 w 3437996"/>
              <a:gd name="csY117" fmla="*/ 651408 h 2018071"/>
              <a:gd name="csX118" fmla="*/ 2472919 w 3437996"/>
              <a:gd name="csY118" fmla="*/ 643127 h 2018071"/>
              <a:gd name="csX119" fmla="*/ 2471515 w 3437996"/>
              <a:gd name="csY119" fmla="*/ 641819 h 2018071"/>
              <a:gd name="csX120" fmla="*/ 2463424 w 3437996"/>
              <a:gd name="csY120" fmla="*/ 633584 h 2018071"/>
              <a:gd name="csX121" fmla="*/ 2462020 w 3437996"/>
              <a:gd name="csY121" fmla="*/ 632257 h 2018071"/>
              <a:gd name="csX122" fmla="*/ 2453925 w 3437996"/>
              <a:gd name="csY122" fmla="*/ 624049 h 2018071"/>
              <a:gd name="csX123" fmla="*/ 2452516 w 3437996"/>
              <a:gd name="csY123" fmla="*/ 622702 h 2018071"/>
              <a:gd name="csX124" fmla="*/ 2444450 w 3437996"/>
              <a:gd name="csY124" fmla="*/ 614506 h 2018071"/>
              <a:gd name="csX125" fmla="*/ 2443026 w 3437996"/>
              <a:gd name="csY125" fmla="*/ 613123 h 2018071"/>
              <a:gd name="csX126" fmla="*/ 2434957 w 3437996"/>
              <a:gd name="csY126" fmla="*/ 604969 h 2018071"/>
              <a:gd name="csX127" fmla="*/ 2433519 w 3437996"/>
              <a:gd name="csY127" fmla="*/ 603563 h 2018071"/>
              <a:gd name="csX128" fmla="*/ 2425486 w 3437996"/>
              <a:gd name="csY128" fmla="*/ 595418 h 2018071"/>
              <a:gd name="csX129" fmla="*/ 2424029 w 3437996"/>
              <a:gd name="csY129" fmla="*/ 593985 h 2018071"/>
              <a:gd name="csX130" fmla="*/ 2416081 w 3437996"/>
              <a:gd name="csY130" fmla="*/ 585841 h 2018071"/>
              <a:gd name="csX131" fmla="*/ 2414563 w 3437996"/>
              <a:gd name="csY131" fmla="*/ 584358 h 2018071"/>
              <a:gd name="csX132" fmla="*/ 2406640 w 3437996"/>
              <a:gd name="csY132" fmla="*/ 576281 h 2018071"/>
              <a:gd name="csX133" fmla="*/ 2405068 w 3437996"/>
              <a:gd name="csY133" fmla="*/ 574761 h 2018071"/>
              <a:gd name="csX134" fmla="*/ 2397176 w 3437996"/>
              <a:gd name="csY134" fmla="*/ 566733 h 2018071"/>
              <a:gd name="csX135" fmla="*/ 2395561 w 3437996"/>
              <a:gd name="csY135" fmla="*/ 565186 h 2018071"/>
              <a:gd name="csX136" fmla="*/ 2387690 w 3437996"/>
              <a:gd name="csY136" fmla="*/ 557193 h 2018071"/>
              <a:gd name="csX137" fmla="*/ 2386050 w 3437996"/>
              <a:gd name="csY137" fmla="*/ 555624 h 2018071"/>
              <a:gd name="csX138" fmla="*/ 2378191 w 3437996"/>
              <a:gd name="csY138" fmla="*/ 547659 h 2018071"/>
              <a:gd name="csX139" fmla="*/ 2376534 w 3437996"/>
              <a:gd name="csY139" fmla="*/ 546075 h 2018071"/>
              <a:gd name="csX140" fmla="*/ 2368704 w 3437996"/>
              <a:gd name="csY140" fmla="*/ 538124 h 2018071"/>
              <a:gd name="csX141" fmla="*/ 2367021 w 3437996"/>
              <a:gd name="csY141" fmla="*/ 536517 h 2018071"/>
              <a:gd name="csX142" fmla="*/ 2360018 w 3437996"/>
              <a:gd name="csY142" fmla="*/ 529380 h 2018071"/>
              <a:gd name="csX143" fmla="*/ 2357514 w 3437996"/>
              <a:gd name="csY143" fmla="*/ 526933 h 2018071"/>
              <a:gd name="csX144" fmla="*/ 2350552 w 3437996"/>
              <a:gd name="csY144" fmla="*/ 519835 h 2018071"/>
              <a:gd name="csX145" fmla="*/ 2348016 w 3437996"/>
              <a:gd name="csY145" fmla="*/ 517342 h 2018071"/>
              <a:gd name="csX146" fmla="*/ 2341054 w 3437996"/>
              <a:gd name="csY146" fmla="*/ 510297 h 2018071"/>
              <a:gd name="csX147" fmla="*/ 2338508 w 3437996"/>
              <a:gd name="csY147" fmla="*/ 507777 h 2018071"/>
              <a:gd name="csX148" fmla="*/ 2331539 w 3437996"/>
              <a:gd name="csY148" fmla="*/ 500765 h 2018071"/>
              <a:gd name="csX149" fmla="*/ 2328991 w 3437996"/>
              <a:gd name="csY149" fmla="*/ 498236 h 2018071"/>
              <a:gd name="csX150" fmla="*/ 2322020 w 3437996"/>
              <a:gd name="csY150" fmla="*/ 491243 h 2018071"/>
              <a:gd name="csX151" fmla="*/ 2319465 w 3437996"/>
              <a:gd name="csY151" fmla="*/ 488702 h 2018071"/>
              <a:gd name="csX152" fmla="*/ 2312510 w 3437996"/>
              <a:gd name="csY152" fmla="*/ 481725 h 2018071"/>
              <a:gd name="csX153" fmla="*/ 2309941 w 3437996"/>
              <a:gd name="csY153" fmla="*/ 479158 h 2018071"/>
              <a:gd name="csX154" fmla="*/ 2303024 w 3437996"/>
              <a:gd name="csY154" fmla="*/ 472210 h 2018071"/>
              <a:gd name="csX155" fmla="*/ 2300428 w 3437996"/>
              <a:gd name="csY155" fmla="*/ 469578 h 2018071"/>
              <a:gd name="csX156" fmla="*/ 2293545 w 3437996"/>
              <a:gd name="csY156" fmla="*/ 462697 h 2018071"/>
              <a:gd name="csX157" fmla="*/ 2290922 w 3437996"/>
              <a:gd name="csY157" fmla="*/ 459984 h 2018071"/>
              <a:gd name="csX158" fmla="*/ 2284051 w 3437996"/>
              <a:gd name="csY158" fmla="*/ 453172 h 2018071"/>
              <a:gd name="csX159" fmla="*/ 2281414 w 3437996"/>
              <a:gd name="csY159" fmla="*/ 450403 h 2018071"/>
              <a:gd name="csX160" fmla="*/ 2274560 w 3437996"/>
              <a:gd name="csY160" fmla="*/ 443646 h 2018071"/>
              <a:gd name="csX161" fmla="*/ 2271906 w 3437996"/>
              <a:gd name="csY161" fmla="*/ 440826 h 2018071"/>
              <a:gd name="csX162" fmla="*/ 2265120 w 3437996"/>
              <a:gd name="csY162" fmla="*/ 434112 h 2018071"/>
              <a:gd name="csX163" fmla="*/ 2262409 w 3437996"/>
              <a:gd name="csY163" fmla="*/ 431189 h 2018071"/>
              <a:gd name="csX164" fmla="*/ 2255765 w 3437996"/>
              <a:gd name="csY164" fmla="*/ 424557 h 2018071"/>
              <a:gd name="csX165" fmla="*/ 2252962 w 3437996"/>
              <a:gd name="csY165" fmla="*/ 421458 h 2018071"/>
              <a:gd name="csX166" fmla="*/ 2246361 w 3437996"/>
              <a:gd name="csY166" fmla="*/ 414989 h 2018071"/>
              <a:gd name="csX167" fmla="*/ 2226101 w 3437996"/>
              <a:gd name="csY167" fmla="*/ 394472 h 2018071"/>
              <a:gd name="csX168" fmla="*/ 2204126 w 3437996"/>
              <a:gd name="csY168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21387 w 3437996"/>
              <a:gd name="csY47" fmla="*/ 708333 h 2018071"/>
              <a:gd name="csX48" fmla="*/ 22313 w 3437996"/>
              <a:gd name="csY48" fmla="*/ 700409 h 2018071"/>
              <a:gd name="csX49" fmla="*/ 30962 w 3437996"/>
              <a:gd name="csY49" fmla="*/ 642260 h 2018071"/>
              <a:gd name="csX50" fmla="*/ 32315 w 3437996"/>
              <a:gd name="csY50" fmla="*/ 633805 h 2018071"/>
              <a:gd name="csX51" fmla="*/ 40506 w 3437996"/>
              <a:gd name="csY51" fmla="*/ 584580 h 2018071"/>
              <a:gd name="csX52" fmla="*/ 42550 w 3437996"/>
              <a:gd name="csY52" fmla="*/ 567648 h 2018071"/>
              <a:gd name="csX53" fmla="*/ 49883 w 3437996"/>
              <a:gd name="csY53" fmla="*/ 529082 h 2018071"/>
              <a:gd name="csX54" fmla="*/ 51048 w 3437996"/>
              <a:gd name="csY54" fmla="*/ 526838 h 2018071"/>
              <a:gd name="csX55" fmla="*/ 59483 w 3437996"/>
              <a:gd name="csY55" fmla="*/ 460900 h 2018071"/>
              <a:gd name="csX56" fmla="*/ 60600 w 3437996"/>
              <a:gd name="csY56" fmla="*/ 452775 h 2018071"/>
              <a:gd name="csX57" fmla="*/ 88193 w 3437996"/>
              <a:gd name="csY57" fmla="*/ 269877 h 2018071"/>
              <a:gd name="csX58" fmla="*/ 89741 w 3437996"/>
              <a:gd name="csY58" fmla="*/ 253550 h 2018071"/>
              <a:gd name="csX59" fmla="*/ 98008 w 3437996"/>
              <a:gd name="csY59" fmla="*/ 233543 h 2018071"/>
              <a:gd name="csX60" fmla="*/ 99628 w 3437996"/>
              <a:gd name="csY60" fmla="*/ 231506 h 2018071"/>
              <a:gd name="csX61" fmla="*/ 182353 w 3437996"/>
              <a:gd name="csY61" fmla="*/ 229554 h 2018071"/>
              <a:gd name="csX62" fmla="*/ 185812 w 3437996"/>
              <a:gd name="csY62" fmla="*/ 231380 h 2018071"/>
              <a:gd name="csX63" fmla="*/ 213726 w 3437996"/>
              <a:gd name="csY63" fmla="*/ 239233 h 2018071"/>
              <a:gd name="csX64" fmla="*/ 416961 w 3437996"/>
              <a:gd name="csY64" fmla="*/ 299911 h 2018071"/>
              <a:gd name="csX65" fmla="*/ 622809 w 3437996"/>
              <a:gd name="csY65" fmla="*/ 305227 h 2018071"/>
              <a:gd name="csX66" fmla="*/ 1851374 w 3437996"/>
              <a:gd name="csY66" fmla="*/ 7502 h 2018071"/>
              <a:gd name="csX67" fmla="*/ 2119617 w 3437996"/>
              <a:gd name="csY67" fmla="*/ 86919 h 2018071"/>
              <a:gd name="csX68" fmla="*/ 2805452 w 3437996"/>
              <a:gd name="csY68" fmla="*/ 622669 h 2018071"/>
              <a:gd name="csX69" fmla="*/ 3047873 w 3437996"/>
              <a:gd name="csY69" fmla="*/ 889895 h 2018071"/>
              <a:gd name="csX70" fmla="*/ 3201337 w 3437996"/>
              <a:gd name="csY70" fmla="*/ 1065192 h 2018071"/>
              <a:gd name="csX71" fmla="*/ 3322212 w 3437996"/>
              <a:gd name="csY71" fmla="*/ 1262254 h 2018071"/>
              <a:gd name="csX72" fmla="*/ 3434603 w 3437996"/>
              <a:gd name="csY72" fmla="*/ 1463610 h 2018071"/>
              <a:gd name="csX73" fmla="*/ 3437317 w 3437996"/>
              <a:gd name="csY73" fmla="*/ 1496424 h 2018071"/>
              <a:gd name="csX74" fmla="*/ 3437173 w 3437996"/>
              <a:gd name="csY74" fmla="*/ 1502015 h 2018071"/>
              <a:gd name="csX75" fmla="*/ 3265778 w 3437996"/>
              <a:gd name="csY75" fmla="*/ 1437268 h 2018071"/>
              <a:gd name="csX76" fmla="*/ 3131933 w 3437996"/>
              <a:gd name="csY76" fmla="*/ 1283723 h 2018071"/>
              <a:gd name="csX77" fmla="*/ 2856351 w 3437996"/>
              <a:gd name="csY77" fmla="*/ 1004478 h 2018071"/>
              <a:gd name="csX78" fmla="*/ 2818150 w 3437996"/>
              <a:gd name="csY78" fmla="*/ 969213 h 2018071"/>
              <a:gd name="csX79" fmla="*/ 2654127 w 3437996"/>
              <a:gd name="csY79" fmla="*/ 825572 h 2018071"/>
              <a:gd name="csX80" fmla="*/ 2651783 w 3437996"/>
              <a:gd name="csY80" fmla="*/ 823279 h 2018071"/>
              <a:gd name="csX81" fmla="*/ 2644017 w 3437996"/>
              <a:gd name="csY81" fmla="*/ 814773 h 2018071"/>
              <a:gd name="csX82" fmla="*/ 2642551 w 3437996"/>
              <a:gd name="csY82" fmla="*/ 813746 h 2018071"/>
              <a:gd name="csX83" fmla="*/ 2634494 w 3437996"/>
              <a:gd name="csY83" fmla="*/ 805208 h 2018071"/>
              <a:gd name="csX84" fmla="*/ 2633053 w 3437996"/>
              <a:gd name="csY84" fmla="*/ 804210 h 2018071"/>
              <a:gd name="csX85" fmla="*/ 2624994 w 3437996"/>
              <a:gd name="csY85" fmla="*/ 795655 h 2018071"/>
              <a:gd name="csX86" fmla="*/ 2623570 w 3437996"/>
              <a:gd name="csY86" fmla="*/ 794675 h 2018071"/>
              <a:gd name="csX87" fmla="*/ 2615495 w 3437996"/>
              <a:gd name="csY87" fmla="*/ 786111 h 2018071"/>
              <a:gd name="csX88" fmla="*/ 2614082 w 3437996"/>
              <a:gd name="csY88" fmla="*/ 785113 h 2018071"/>
              <a:gd name="csX89" fmla="*/ 2606007 w 3437996"/>
              <a:gd name="csY89" fmla="*/ 776562 h 2018071"/>
              <a:gd name="csX90" fmla="*/ 2604609 w 3437996"/>
              <a:gd name="csY90" fmla="*/ 775538 h 2018071"/>
              <a:gd name="csX91" fmla="*/ 2596489 w 3437996"/>
              <a:gd name="csY91" fmla="*/ 767032 h 2018071"/>
              <a:gd name="csX92" fmla="*/ 2595095 w 3437996"/>
              <a:gd name="csY92" fmla="*/ 766006 h 2018071"/>
              <a:gd name="csX93" fmla="*/ 2586954 w 3437996"/>
              <a:gd name="csY93" fmla="*/ 757512 h 2018071"/>
              <a:gd name="csX94" fmla="*/ 2585558 w 3437996"/>
              <a:gd name="csY94" fmla="*/ 756496 h 2018071"/>
              <a:gd name="csX95" fmla="*/ 2577410 w 3437996"/>
              <a:gd name="csY95" fmla="*/ 748000 h 2018071"/>
              <a:gd name="csX96" fmla="*/ 2576006 w 3437996"/>
              <a:gd name="csY96" fmla="*/ 747002 h 2018071"/>
              <a:gd name="csX97" fmla="*/ 2567871 w 3437996"/>
              <a:gd name="csY97" fmla="*/ 738486 h 2018071"/>
              <a:gd name="csX98" fmla="*/ 2566459 w 3437996"/>
              <a:gd name="csY98" fmla="*/ 737499 h 2018071"/>
              <a:gd name="csX99" fmla="*/ 2558352 w 3437996"/>
              <a:gd name="csY99" fmla="*/ 728962 h 2018071"/>
              <a:gd name="csX100" fmla="*/ 2556937 w 3437996"/>
              <a:gd name="csY100" fmla="*/ 727967 h 2018071"/>
              <a:gd name="csX101" fmla="*/ 2548845 w 3437996"/>
              <a:gd name="csY101" fmla="*/ 719430 h 2018071"/>
              <a:gd name="csX102" fmla="*/ 2547432 w 3437996"/>
              <a:gd name="csY102" fmla="*/ 718414 h 2018071"/>
              <a:gd name="csX103" fmla="*/ 2539350 w 3437996"/>
              <a:gd name="csY103" fmla="*/ 709894 h 2018071"/>
              <a:gd name="csX104" fmla="*/ 2537942 w 3437996"/>
              <a:gd name="csY104" fmla="*/ 708842 h 2018071"/>
              <a:gd name="csX105" fmla="*/ 2529865 w 3437996"/>
              <a:gd name="csY105" fmla="*/ 700356 h 2018071"/>
              <a:gd name="csX106" fmla="*/ 2528460 w 3437996"/>
              <a:gd name="csY106" fmla="*/ 699259 h 2018071"/>
              <a:gd name="csX107" fmla="*/ 2520386 w 3437996"/>
              <a:gd name="csY107" fmla="*/ 690820 h 2018071"/>
              <a:gd name="csX108" fmla="*/ 2518981 w 3437996"/>
              <a:gd name="csY108" fmla="*/ 689668 h 2018071"/>
              <a:gd name="csX109" fmla="*/ 2510900 w 3437996"/>
              <a:gd name="csY109" fmla="*/ 681286 h 2018071"/>
              <a:gd name="csX110" fmla="*/ 2509493 w 3437996"/>
              <a:gd name="csY110" fmla="*/ 680082 h 2018071"/>
              <a:gd name="csX111" fmla="*/ 2501400 w 3437996"/>
              <a:gd name="csY111" fmla="*/ 671754 h 2018071"/>
              <a:gd name="csX112" fmla="*/ 2499991 w 3437996"/>
              <a:gd name="csY112" fmla="*/ 670520 h 2018071"/>
              <a:gd name="csX113" fmla="*/ 2491892 w 3437996"/>
              <a:gd name="csY113" fmla="*/ 662222 h 2018071"/>
              <a:gd name="csX114" fmla="*/ 2490482 w 3437996"/>
              <a:gd name="csY114" fmla="*/ 660967 h 2018071"/>
              <a:gd name="csX115" fmla="*/ 2482391 w 3437996"/>
              <a:gd name="csY115" fmla="*/ 652682 h 2018071"/>
              <a:gd name="csX116" fmla="*/ 2480984 w 3437996"/>
              <a:gd name="csY116" fmla="*/ 651408 h 2018071"/>
              <a:gd name="csX117" fmla="*/ 2472919 w 3437996"/>
              <a:gd name="csY117" fmla="*/ 643127 h 2018071"/>
              <a:gd name="csX118" fmla="*/ 2471515 w 3437996"/>
              <a:gd name="csY118" fmla="*/ 641819 h 2018071"/>
              <a:gd name="csX119" fmla="*/ 2463424 w 3437996"/>
              <a:gd name="csY119" fmla="*/ 633584 h 2018071"/>
              <a:gd name="csX120" fmla="*/ 2462020 w 3437996"/>
              <a:gd name="csY120" fmla="*/ 632257 h 2018071"/>
              <a:gd name="csX121" fmla="*/ 2453925 w 3437996"/>
              <a:gd name="csY121" fmla="*/ 624049 h 2018071"/>
              <a:gd name="csX122" fmla="*/ 2452516 w 3437996"/>
              <a:gd name="csY122" fmla="*/ 622702 h 2018071"/>
              <a:gd name="csX123" fmla="*/ 2444450 w 3437996"/>
              <a:gd name="csY123" fmla="*/ 614506 h 2018071"/>
              <a:gd name="csX124" fmla="*/ 2443026 w 3437996"/>
              <a:gd name="csY124" fmla="*/ 613123 h 2018071"/>
              <a:gd name="csX125" fmla="*/ 2434957 w 3437996"/>
              <a:gd name="csY125" fmla="*/ 604969 h 2018071"/>
              <a:gd name="csX126" fmla="*/ 2433519 w 3437996"/>
              <a:gd name="csY126" fmla="*/ 603563 h 2018071"/>
              <a:gd name="csX127" fmla="*/ 2425486 w 3437996"/>
              <a:gd name="csY127" fmla="*/ 595418 h 2018071"/>
              <a:gd name="csX128" fmla="*/ 2424029 w 3437996"/>
              <a:gd name="csY128" fmla="*/ 593985 h 2018071"/>
              <a:gd name="csX129" fmla="*/ 2416081 w 3437996"/>
              <a:gd name="csY129" fmla="*/ 585841 h 2018071"/>
              <a:gd name="csX130" fmla="*/ 2414563 w 3437996"/>
              <a:gd name="csY130" fmla="*/ 584358 h 2018071"/>
              <a:gd name="csX131" fmla="*/ 2406640 w 3437996"/>
              <a:gd name="csY131" fmla="*/ 576281 h 2018071"/>
              <a:gd name="csX132" fmla="*/ 2405068 w 3437996"/>
              <a:gd name="csY132" fmla="*/ 574761 h 2018071"/>
              <a:gd name="csX133" fmla="*/ 2397176 w 3437996"/>
              <a:gd name="csY133" fmla="*/ 566733 h 2018071"/>
              <a:gd name="csX134" fmla="*/ 2395561 w 3437996"/>
              <a:gd name="csY134" fmla="*/ 565186 h 2018071"/>
              <a:gd name="csX135" fmla="*/ 2387690 w 3437996"/>
              <a:gd name="csY135" fmla="*/ 557193 h 2018071"/>
              <a:gd name="csX136" fmla="*/ 2386050 w 3437996"/>
              <a:gd name="csY136" fmla="*/ 555624 h 2018071"/>
              <a:gd name="csX137" fmla="*/ 2378191 w 3437996"/>
              <a:gd name="csY137" fmla="*/ 547659 h 2018071"/>
              <a:gd name="csX138" fmla="*/ 2376534 w 3437996"/>
              <a:gd name="csY138" fmla="*/ 546075 h 2018071"/>
              <a:gd name="csX139" fmla="*/ 2368704 w 3437996"/>
              <a:gd name="csY139" fmla="*/ 538124 h 2018071"/>
              <a:gd name="csX140" fmla="*/ 2367021 w 3437996"/>
              <a:gd name="csY140" fmla="*/ 536517 h 2018071"/>
              <a:gd name="csX141" fmla="*/ 2360018 w 3437996"/>
              <a:gd name="csY141" fmla="*/ 529380 h 2018071"/>
              <a:gd name="csX142" fmla="*/ 2357514 w 3437996"/>
              <a:gd name="csY142" fmla="*/ 526933 h 2018071"/>
              <a:gd name="csX143" fmla="*/ 2350552 w 3437996"/>
              <a:gd name="csY143" fmla="*/ 519835 h 2018071"/>
              <a:gd name="csX144" fmla="*/ 2348016 w 3437996"/>
              <a:gd name="csY144" fmla="*/ 517342 h 2018071"/>
              <a:gd name="csX145" fmla="*/ 2341054 w 3437996"/>
              <a:gd name="csY145" fmla="*/ 510297 h 2018071"/>
              <a:gd name="csX146" fmla="*/ 2338508 w 3437996"/>
              <a:gd name="csY146" fmla="*/ 507777 h 2018071"/>
              <a:gd name="csX147" fmla="*/ 2331539 w 3437996"/>
              <a:gd name="csY147" fmla="*/ 500765 h 2018071"/>
              <a:gd name="csX148" fmla="*/ 2328991 w 3437996"/>
              <a:gd name="csY148" fmla="*/ 498236 h 2018071"/>
              <a:gd name="csX149" fmla="*/ 2322020 w 3437996"/>
              <a:gd name="csY149" fmla="*/ 491243 h 2018071"/>
              <a:gd name="csX150" fmla="*/ 2319465 w 3437996"/>
              <a:gd name="csY150" fmla="*/ 488702 h 2018071"/>
              <a:gd name="csX151" fmla="*/ 2312510 w 3437996"/>
              <a:gd name="csY151" fmla="*/ 481725 h 2018071"/>
              <a:gd name="csX152" fmla="*/ 2309941 w 3437996"/>
              <a:gd name="csY152" fmla="*/ 479158 h 2018071"/>
              <a:gd name="csX153" fmla="*/ 2303024 w 3437996"/>
              <a:gd name="csY153" fmla="*/ 472210 h 2018071"/>
              <a:gd name="csX154" fmla="*/ 2300428 w 3437996"/>
              <a:gd name="csY154" fmla="*/ 469578 h 2018071"/>
              <a:gd name="csX155" fmla="*/ 2293545 w 3437996"/>
              <a:gd name="csY155" fmla="*/ 462697 h 2018071"/>
              <a:gd name="csX156" fmla="*/ 2290922 w 3437996"/>
              <a:gd name="csY156" fmla="*/ 459984 h 2018071"/>
              <a:gd name="csX157" fmla="*/ 2284051 w 3437996"/>
              <a:gd name="csY157" fmla="*/ 453172 h 2018071"/>
              <a:gd name="csX158" fmla="*/ 2281414 w 3437996"/>
              <a:gd name="csY158" fmla="*/ 450403 h 2018071"/>
              <a:gd name="csX159" fmla="*/ 2274560 w 3437996"/>
              <a:gd name="csY159" fmla="*/ 443646 h 2018071"/>
              <a:gd name="csX160" fmla="*/ 2271906 w 3437996"/>
              <a:gd name="csY160" fmla="*/ 440826 h 2018071"/>
              <a:gd name="csX161" fmla="*/ 2265120 w 3437996"/>
              <a:gd name="csY161" fmla="*/ 434112 h 2018071"/>
              <a:gd name="csX162" fmla="*/ 2262409 w 3437996"/>
              <a:gd name="csY162" fmla="*/ 431189 h 2018071"/>
              <a:gd name="csX163" fmla="*/ 2255765 w 3437996"/>
              <a:gd name="csY163" fmla="*/ 424557 h 2018071"/>
              <a:gd name="csX164" fmla="*/ 2252962 w 3437996"/>
              <a:gd name="csY164" fmla="*/ 421458 h 2018071"/>
              <a:gd name="csX165" fmla="*/ 2246361 w 3437996"/>
              <a:gd name="csY165" fmla="*/ 414989 h 2018071"/>
              <a:gd name="csX166" fmla="*/ 2226101 w 3437996"/>
              <a:gd name="csY166" fmla="*/ 394472 h 2018071"/>
              <a:gd name="csX167" fmla="*/ 2204126 w 3437996"/>
              <a:gd name="csY167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21387 w 3437996"/>
              <a:gd name="csY47" fmla="*/ 708333 h 2018071"/>
              <a:gd name="csX48" fmla="*/ 22313 w 3437996"/>
              <a:gd name="csY48" fmla="*/ 700409 h 2018071"/>
              <a:gd name="csX49" fmla="*/ 30962 w 3437996"/>
              <a:gd name="csY49" fmla="*/ 642260 h 2018071"/>
              <a:gd name="csX50" fmla="*/ 32315 w 3437996"/>
              <a:gd name="csY50" fmla="*/ 633805 h 2018071"/>
              <a:gd name="csX51" fmla="*/ 40506 w 3437996"/>
              <a:gd name="csY51" fmla="*/ 584580 h 2018071"/>
              <a:gd name="csX52" fmla="*/ 42550 w 3437996"/>
              <a:gd name="csY52" fmla="*/ 567648 h 2018071"/>
              <a:gd name="csX53" fmla="*/ 49883 w 3437996"/>
              <a:gd name="csY53" fmla="*/ 529082 h 2018071"/>
              <a:gd name="csX54" fmla="*/ 51048 w 3437996"/>
              <a:gd name="csY54" fmla="*/ 526838 h 2018071"/>
              <a:gd name="csX55" fmla="*/ 59483 w 3437996"/>
              <a:gd name="csY55" fmla="*/ 460900 h 2018071"/>
              <a:gd name="csX56" fmla="*/ 88193 w 3437996"/>
              <a:gd name="csY56" fmla="*/ 269877 h 2018071"/>
              <a:gd name="csX57" fmla="*/ 89741 w 3437996"/>
              <a:gd name="csY57" fmla="*/ 253550 h 2018071"/>
              <a:gd name="csX58" fmla="*/ 98008 w 3437996"/>
              <a:gd name="csY58" fmla="*/ 233543 h 2018071"/>
              <a:gd name="csX59" fmla="*/ 99628 w 3437996"/>
              <a:gd name="csY59" fmla="*/ 231506 h 2018071"/>
              <a:gd name="csX60" fmla="*/ 182353 w 3437996"/>
              <a:gd name="csY60" fmla="*/ 229554 h 2018071"/>
              <a:gd name="csX61" fmla="*/ 185812 w 3437996"/>
              <a:gd name="csY61" fmla="*/ 231380 h 2018071"/>
              <a:gd name="csX62" fmla="*/ 213726 w 3437996"/>
              <a:gd name="csY62" fmla="*/ 239233 h 2018071"/>
              <a:gd name="csX63" fmla="*/ 416961 w 3437996"/>
              <a:gd name="csY63" fmla="*/ 299911 h 2018071"/>
              <a:gd name="csX64" fmla="*/ 622809 w 3437996"/>
              <a:gd name="csY64" fmla="*/ 305227 h 2018071"/>
              <a:gd name="csX65" fmla="*/ 1851374 w 3437996"/>
              <a:gd name="csY65" fmla="*/ 7502 h 2018071"/>
              <a:gd name="csX66" fmla="*/ 2119617 w 3437996"/>
              <a:gd name="csY66" fmla="*/ 86919 h 2018071"/>
              <a:gd name="csX67" fmla="*/ 2805452 w 3437996"/>
              <a:gd name="csY67" fmla="*/ 622669 h 2018071"/>
              <a:gd name="csX68" fmla="*/ 3047873 w 3437996"/>
              <a:gd name="csY68" fmla="*/ 889895 h 2018071"/>
              <a:gd name="csX69" fmla="*/ 3201337 w 3437996"/>
              <a:gd name="csY69" fmla="*/ 1065192 h 2018071"/>
              <a:gd name="csX70" fmla="*/ 3322212 w 3437996"/>
              <a:gd name="csY70" fmla="*/ 1262254 h 2018071"/>
              <a:gd name="csX71" fmla="*/ 3434603 w 3437996"/>
              <a:gd name="csY71" fmla="*/ 1463610 h 2018071"/>
              <a:gd name="csX72" fmla="*/ 3437317 w 3437996"/>
              <a:gd name="csY72" fmla="*/ 1496424 h 2018071"/>
              <a:gd name="csX73" fmla="*/ 3437173 w 3437996"/>
              <a:gd name="csY73" fmla="*/ 1502015 h 2018071"/>
              <a:gd name="csX74" fmla="*/ 3265778 w 3437996"/>
              <a:gd name="csY74" fmla="*/ 1437268 h 2018071"/>
              <a:gd name="csX75" fmla="*/ 3131933 w 3437996"/>
              <a:gd name="csY75" fmla="*/ 1283723 h 2018071"/>
              <a:gd name="csX76" fmla="*/ 2856351 w 3437996"/>
              <a:gd name="csY76" fmla="*/ 1004478 h 2018071"/>
              <a:gd name="csX77" fmla="*/ 2818150 w 3437996"/>
              <a:gd name="csY77" fmla="*/ 969213 h 2018071"/>
              <a:gd name="csX78" fmla="*/ 2654127 w 3437996"/>
              <a:gd name="csY78" fmla="*/ 825572 h 2018071"/>
              <a:gd name="csX79" fmla="*/ 2651783 w 3437996"/>
              <a:gd name="csY79" fmla="*/ 823279 h 2018071"/>
              <a:gd name="csX80" fmla="*/ 2644017 w 3437996"/>
              <a:gd name="csY80" fmla="*/ 814773 h 2018071"/>
              <a:gd name="csX81" fmla="*/ 2642551 w 3437996"/>
              <a:gd name="csY81" fmla="*/ 813746 h 2018071"/>
              <a:gd name="csX82" fmla="*/ 2634494 w 3437996"/>
              <a:gd name="csY82" fmla="*/ 805208 h 2018071"/>
              <a:gd name="csX83" fmla="*/ 2633053 w 3437996"/>
              <a:gd name="csY83" fmla="*/ 804210 h 2018071"/>
              <a:gd name="csX84" fmla="*/ 2624994 w 3437996"/>
              <a:gd name="csY84" fmla="*/ 795655 h 2018071"/>
              <a:gd name="csX85" fmla="*/ 2623570 w 3437996"/>
              <a:gd name="csY85" fmla="*/ 794675 h 2018071"/>
              <a:gd name="csX86" fmla="*/ 2615495 w 3437996"/>
              <a:gd name="csY86" fmla="*/ 786111 h 2018071"/>
              <a:gd name="csX87" fmla="*/ 2614082 w 3437996"/>
              <a:gd name="csY87" fmla="*/ 785113 h 2018071"/>
              <a:gd name="csX88" fmla="*/ 2606007 w 3437996"/>
              <a:gd name="csY88" fmla="*/ 776562 h 2018071"/>
              <a:gd name="csX89" fmla="*/ 2604609 w 3437996"/>
              <a:gd name="csY89" fmla="*/ 775538 h 2018071"/>
              <a:gd name="csX90" fmla="*/ 2596489 w 3437996"/>
              <a:gd name="csY90" fmla="*/ 767032 h 2018071"/>
              <a:gd name="csX91" fmla="*/ 2595095 w 3437996"/>
              <a:gd name="csY91" fmla="*/ 766006 h 2018071"/>
              <a:gd name="csX92" fmla="*/ 2586954 w 3437996"/>
              <a:gd name="csY92" fmla="*/ 757512 h 2018071"/>
              <a:gd name="csX93" fmla="*/ 2585558 w 3437996"/>
              <a:gd name="csY93" fmla="*/ 756496 h 2018071"/>
              <a:gd name="csX94" fmla="*/ 2577410 w 3437996"/>
              <a:gd name="csY94" fmla="*/ 748000 h 2018071"/>
              <a:gd name="csX95" fmla="*/ 2576006 w 3437996"/>
              <a:gd name="csY95" fmla="*/ 747002 h 2018071"/>
              <a:gd name="csX96" fmla="*/ 2567871 w 3437996"/>
              <a:gd name="csY96" fmla="*/ 738486 h 2018071"/>
              <a:gd name="csX97" fmla="*/ 2566459 w 3437996"/>
              <a:gd name="csY97" fmla="*/ 737499 h 2018071"/>
              <a:gd name="csX98" fmla="*/ 2558352 w 3437996"/>
              <a:gd name="csY98" fmla="*/ 728962 h 2018071"/>
              <a:gd name="csX99" fmla="*/ 2556937 w 3437996"/>
              <a:gd name="csY99" fmla="*/ 727967 h 2018071"/>
              <a:gd name="csX100" fmla="*/ 2548845 w 3437996"/>
              <a:gd name="csY100" fmla="*/ 719430 h 2018071"/>
              <a:gd name="csX101" fmla="*/ 2547432 w 3437996"/>
              <a:gd name="csY101" fmla="*/ 718414 h 2018071"/>
              <a:gd name="csX102" fmla="*/ 2539350 w 3437996"/>
              <a:gd name="csY102" fmla="*/ 709894 h 2018071"/>
              <a:gd name="csX103" fmla="*/ 2537942 w 3437996"/>
              <a:gd name="csY103" fmla="*/ 708842 h 2018071"/>
              <a:gd name="csX104" fmla="*/ 2529865 w 3437996"/>
              <a:gd name="csY104" fmla="*/ 700356 h 2018071"/>
              <a:gd name="csX105" fmla="*/ 2528460 w 3437996"/>
              <a:gd name="csY105" fmla="*/ 699259 h 2018071"/>
              <a:gd name="csX106" fmla="*/ 2520386 w 3437996"/>
              <a:gd name="csY106" fmla="*/ 690820 h 2018071"/>
              <a:gd name="csX107" fmla="*/ 2518981 w 3437996"/>
              <a:gd name="csY107" fmla="*/ 689668 h 2018071"/>
              <a:gd name="csX108" fmla="*/ 2510900 w 3437996"/>
              <a:gd name="csY108" fmla="*/ 681286 h 2018071"/>
              <a:gd name="csX109" fmla="*/ 2509493 w 3437996"/>
              <a:gd name="csY109" fmla="*/ 680082 h 2018071"/>
              <a:gd name="csX110" fmla="*/ 2501400 w 3437996"/>
              <a:gd name="csY110" fmla="*/ 671754 h 2018071"/>
              <a:gd name="csX111" fmla="*/ 2499991 w 3437996"/>
              <a:gd name="csY111" fmla="*/ 670520 h 2018071"/>
              <a:gd name="csX112" fmla="*/ 2491892 w 3437996"/>
              <a:gd name="csY112" fmla="*/ 662222 h 2018071"/>
              <a:gd name="csX113" fmla="*/ 2490482 w 3437996"/>
              <a:gd name="csY113" fmla="*/ 660967 h 2018071"/>
              <a:gd name="csX114" fmla="*/ 2482391 w 3437996"/>
              <a:gd name="csY114" fmla="*/ 652682 h 2018071"/>
              <a:gd name="csX115" fmla="*/ 2480984 w 3437996"/>
              <a:gd name="csY115" fmla="*/ 651408 h 2018071"/>
              <a:gd name="csX116" fmla="*/ 2472919 w 3437996"/>
              <a:gd name="csY116" fmla="*/ 643127 h 2018071"/>
              <a:gd name="csX117" fmla="*/ 2471515 w 3437996"/>
              <a:gd name="csY117" fmla="*/ 641819 h 2018071"/>
              <a:gd name="csX118" fmla="*/ 2463424 w 3437996"/>
              <a:gd name="csY118" fmla="*/ 633584 h 2018071"/>
              <a:gd name="csX119" fmla="*/ 2462020 w 3437996"/>
              <a:gd name="csY119" fmla="*/ 632257 h 2018071"/>
              <a:gd name="csX120" fmla="*/ 2453925 w 3437996"/>
              <a:gd name="csY120" fmla="*/ 624049 h 2018071"/>
              <a:gd name="csX121" fmla="*/ 2452516 w 3437996"/>
              <a:gd name="csY121" fmla="*/ 622702 h 2018071"/>
              <a:gd name="csX122" fmla="*/ 2444450 w 3437996"/>
              <a:gd name="csY122" fmla="*/ 614506 h 2018071"/>
              <a:gd name="csX123" fmla="*/ 2443026 w 3437996"/>
              <a:gd name="csY123" fmla="*/ 613123 h 2018071"/>
              <a:gd name="csX124" fmla="*/ 2434957 w 3437996"/>
              <a:gd name="csY124" fmla="*/ 604969 h 2018071"/>
              <a:gd name="csX125" fmla="*/ 2433519 w 3437996"/>
              <a:gd name="csY125" fmla="*/ 603563 h 2018071"/>
              <a:gd name="csX126" fmla="*/ 2425486 w 3437996"/>
              <a:gd name="csY126" fmla="*/ 595418 h 2018071"/>
              <a:gd name="csX127" fmla="*/ 2424029 w 3437996"/>
              <a:gd name="csY127" fmla="*/ 593985 h 2018071"/>
              <a:gd name="csX128" fmla="*/ 2416081 w 3437996"/>
              <a:gd name="csY128" fmla="*/ 585841 h 2018071"/>
              <a:gd name="csX129" fmla="*/ 2414563 w 3437996"/>
              <a:gd name="csY129" fmla="*/ 584358 h 2018071"/>
              <a:gd name="csX130" fmla="*/ 2406640 w 3437996"/>
              <a:gd name="csY130" fmla="*/ 576281 h 2018071"/>
              <a:gd name="csX131" fmla="*/ 2405068 w 3437996"/>
              <a:gd name="csY131" fmla="*/ 574761 h 2018071"/>
              <a:gd name="csX132" fmla="*/ 2397176 w 3437996"/>
              <a:gd name="csY132" fmla="*/ 566733 h 2018071"/>
              <a:gd name="csX133" fmla="*/ 2395561 w 3437996"/>
              <a:gd name="csY133" fmla="*/ 565186 h 2018071"/>
              <a:gd name="csX134" fmla="*/ 2387690 w 3437996"/>
              <a:gd name="csY134" fmla="*/ 557193 h 2018071"/>
              <a:gd name="csX135" fmla="*/ 2386050 w 3437996"/>
              <a:gd name="csY135" fmla="*/ 555624 h 2018071"/>
              <a:gd name="csX136" fmla="*/ 2378191 w 3437996"/>
              <a:gd name="csY136" fmla="*/ 547659 h 2018071"/>
              <a:gd name="csX137" fmla="*/ 2376534 w 3437996"/>
              <a:gd name="csY137" fmla="*/ 546075 h 2018071"/>
              <a:gd name="csX138" fmla="*/ 2368704 w 3437996"/>
              <a:gd name="csY138" fmla="*/ 538124 h 2018071"/>
              <a:gd name="csX139" fmla="*/ 2367021 w 3437996"/>
              <a:gd name="csY139" fmla="*/ 536517 h 2018071"/>
              <a:gd name="csX140" fmla="*/ 2360018 w 3437996"/>
              <a:gd name="csY140" fmla="*/ 529380 h 2018071"/>
              <a:gd name="csX141" fmla="*/ 2357514 w 3437996"/>
              <a:gd name="csY141" fmla="*/ 526933 h 2018071"/>
              <a:gd name="csX142" fmla="*/ 2350552 w 3437996"/>
              <a:gd name="csY142" fmla="*/ 519835 h 2018071"/>
              <a:gd name="csX143" fmla="*/ 2348016 w 3437996"/>
              <a:gd name="csY143" fmla="*/ 517342 h 2018071"/>
              <a:gd name="csX144" fmla="*/ 2341054 w 3437996"/>
              <a:gd name="csY144" fmla="*/ 510297 h 2018071"/>
              <a:gd name="csX145" fmla="*/ 2338508 w 3437996"/>
              <a:gd name="csY145" fmla="*/ 507777 h 2018071"/>
              <a:gd name="csX146" fmla="*/ 2331539 w 3437996"/>
              <a:gd name="csY146" fmla="*/ 500765 h 2018071"/>
              <a:gd name="csX147" fmla="*/ 2328991 w 3437996"/>
              <a:gd name="csY147" fmla="*/ 498236 h 2018071"/>
              <a:gd name="csX148" fmla="*/ 2322020 w 3437996"/>
              <a:gd name="csY148" fmla="*/ 491243 h 2018071"/>
              <a:gd name="csX149" fmla="*/ 2319465 w 3437996"/>
              <a:gd name="csY149" fmla="*/ 488702 h 2018071"/>
              <a:gd name="csX150" fmla="*/ 2312510 w 3437996"/>
              <a:gd name="csY150" fmla="*/ 481725 h 2018071"/>
              <a:gd name="csX151" fmla="*/ 2309941 w 3437996"/>
              <a:gd name="csY151" fmla="*/ 479158 h 2018071"/>
              <a:gd name="csX152" fmla="*/ 2303024 w 3437996"/>
              <a:gd name="csY152" fmla="*/ 472210 h 2018071"/>
              <a:gd name="csX153" fmla="*/ 2300428 w 3437996"/>
              <a:gd name="csY153" fmla="*/ 469578 h 2018071"/>
              <a:gd name="csX154" fmla="*/ 2293545 w 3437996"/>
              <a:gd name="csY154" fmla="*/ 462697 h 2018071"/>
              <a:gd name="csX155" fmla="*/ 2290922 w 3437996"/>
              <a:gd name="csY155" fmla="*/ 459984 h 2018071"/>
              <a:gd name="csX156" fmla="*/ 2284051 w 3437996"/>
              <a:gd name="csY156" fmla="*/ 453172 h 2018071"/>
              <a:gd name="csX157" fmla="*/ 2281414 w 3437996"/>
              <a:gd name="csY157" fmla="*/ 450403 h 2018071"/>
              <a:gd name="csX158" fmla="*/ 2274560 w 3437996"/>
              <a:gd name="csY158" fmla="*/ 443646 h 2018071"/>
              <a:gd name="csX159" fmla="*/ 2271906 w 3437996"/>
              <a:gd name="csY159" fmla="*/ 440826 h 2018071"/>
              <a:gd name="csX160" fmla="*/ 2265120 w 3437996"/>
              <a:gd name="csY160" fmla="*/ 434112 h 2018071"/>
              <a:gd name="csX161" fmla="*/ 2262409 w 3437996"/>
              <a:gd name="csY161" fmla="*/ 431189 h 2018071"/>
              <a:gd name="csX162" fmla="*/ 2255765 w 3437996"/>
              <a:gd name="csY162" fmla="*/ 424557 h 2018071"/>
              <a:gd name="csX163" fmla="*/ 2252962 w 3437996"/>
              <a:gd name="csY163" fmla="*/ 421458 h 2018071"/>
              <a:gd name="csX164" fmla="*/ 2246361 w 3437996"/>
              <a:gd name="csY164" fmla="*/ 414989 h 2018071"/>
              <a:gd name="csX165" fmla="*/ 2226101 w 3437996"/>
              <a:gd name="csY165" fmla="*/ 394472 h 2018071"/>
              <a:gd name="csX166" fmla="*/ 2204126 w 3437996"/>
              <a:gd name="csY166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21387 w 3437996"/>
              <a:gd name="csY47" fmla="*/ 708333 h 2018071"/>
              <a:gd name="csX48" fmla="*/ 22313 w 3437996"/>
              <a:gd name="csY48" fmla="*/ 700409 h 2018071"/>
              <a:gd name="csX49" fmla="*/ 30962 w 3437996"/>
              <a:gd name="csY49" fmla="*/ 642260 h 2018071"/>
              <a:gd name="csX50" fmla="*/ 32315 w 3437996"/>
              <a:gd name="csY50" fmla="*/ 633805 h 2018071"/>
              <a:gd name="csX51" fmla="*/ 40506 w 3437996"/>
              <a:gd name="csY51" fmla="*/ 584580 h 2018071"/>
              <a:gd name="csX52" fmla="*/ 42550 w 3437996"/>
              <a:gd name="csY52" fmla="*/ 567648 h 2018071"/>
              <a:gd name="csX53" fmla="*/ 49883 w 3437996"/>
              <a:gd name="csY53" fmla="*/ 529082 h 2018071"/>
              <a:gd name="csX54" fmla="*/ 51048 w 3437996"/>
              <a:gd name="csY54" fmla="*/ 526838 h 2018071"/>
              <a:gd name="csX55" fmla="*/ 88193 w 3437996"/>
              <a:gd name="csY55" fmla="*/ 269877 h 2018071"/>
              <a:gd name="csX56" fmla="*/ 89741 w 3437996"/>
              <a:gd name="csY56" fmla="*/ 253550 h 2018071"/>
              <a:gd name="csX57" fmla="*/ 98008 w 3437996"/>
              <a:gd name="csY57" fmla="*/ 233543 h 2018071"/>
              <a:gd name="csX58" fmla="*/ 99628 w 3437996"/>
              <a:gd name="csY58" fmla="*/ 231506 h 2018071"/>
              <a:gd name="csX59" fmla="*/ 182353 w 3437996"/>
              <a:gd name="csY59" fmla="*/ 229554 h 2018071"/>
              <a:gd name="csX60" fmla="*/ 185812 w 3437996"/>
              <a:gd name="csY60" fmla="*/ 231380 h 2018071"/>
              <a:gd name="csX61" fmla="*/ 213726 w 3437996"/>
              <a:gd name="csY61" fmla="*/ 239233 h 2018071"/>
              <a:gd name="csX62" fmla="*/ 416961 w 3437996"/>
              <a:gd name="csY62" fmla="*/ 299911 h 2018071"/>
              <a:gd name="csX63" fmla="*/ 622809 w 3437996"/>
              <a:gd name="csY63" fmla="*/ 305227 h 2018071"/>
              <a:gd name="csX64" fmla="*/ 1851374 w 3437996"/>
              <a:gd name="csY64" fmla="*/ 7502 h 2018071"/>
              <a:gd name="csX65" fmla="*/ 2119617 w 3437996"/>
              <a:gd name="csY65" fmla="*/ 86919 h 2018071"/>
              <a:gd name="csX66" fmla="*/ 2805452 w 3437996"/>
              <a:gd name="csY66" fmla="*/ 622669 h 2018071"/>
              <a:gd name="csX67" fmla="*/ 3047873 w 3437996"/>
              <a:gd name="csY67" fmla="*/ 889895 h 2018071"/>
              <a:gd name="csX68" fmla="*/ 3201337 w 3437996"/>
              <a:gd name="csY68" fmla="*/ 1065192 h 2018071"/>
              <a:gd name="csX69" fmla="*/ 3322212 w 3437996"/>
              <a:gd name="csY69" fmla="*/ 1262254 h 2018071"/>
              <a:gd name="csX70" fmla="*/ 3434603 w 3437996"/>
              <a:gd name="csY70" fmla="*/ 1463610 h 2018071"/>
              <a:gd name="csX71" fmla="*/ 3437317 w 3437996"/>
              <a:gd name="csY71" fmla="*/ 1496424 h 2018071"/>
              <a:gd name="csX72" fmla="*/ 3437173 w 3437996"/>
              <a:gd name="csY72" fmla="*/ 1502015 h 2018071"/>
              <a:gd name="csX73" fmla="*/ 3265778 w 3437996"/>
              <a:gd name="csY73" fmla="*/ 1437268 h 2018071"/>
              <a:gd name="csX74" fmla="*/ 3131933 w 3437996"/>
              <a:gd name="csY74" fmla="*/ 1283723 h 2018071"/>
              <a:gd name="csX75" fmla="*/ 2856351 w 3437996"/>
              <a:gd name="csY75" fmla="*/ 1004478 h 2018071"/>
              <a:gd name="csX76" fmla="*/ 2818150 w 3437996"/>
              <a:gd name="csY76" fmla="*/ 969213 h 2018071"/>
              <a:gd name="csX77" fmla="*/ 2654127 w 3437996"/>
              <a:gd name="csY77" fmla="*/ 825572 h 2018071"/>
              <a:gd name="csX78" fmla="*/ 2651783 w 3437996"/>
              <a:gd name="csY78" fmla="*/ 823279 h 2018071"/>
              <a:gd name="csX79" fmla="*/ 2644017 w 3437996"/>
              <a:gd name="csY79" fmla="*/ 814773 h 2018071"/>
              <a:gd name="csX80" fmla="*/ 2642551 w 3437996"/>
              <a:gd name="csY80" fmla="*/ 813746 h 2018071"/>
              <a:gd name="csX81" fmla="*/ 2634494 w 3437996"/>
              <a:gd name="csY81" fmla="*/ 805208 h 2018071"/>
              <a:gd name="csX82" fmla="*/ 2633053 w 3437996"/>
              <a:gd name="csY82" fmla="*/ 804210 h 2018071"/>
              <a:gd name="csX83" fmla="*/ 2624994 w 3437996"/>
              <a:gd name="csY83" fmla="*/ 795655 h 2018071"/>
              <a:gd name="csX84" fmla="*/ 2623570 w 3437996"/>
              <a:gd name="csY84" fmla="*/ 794675 h 2018071"/>
              <a:gd name="csX85" fmla="*/ 2615495 w 3437996"/>
              <a:gd name="csY85" fmla="*/ 786111 h 2018071"/>
              <a:gd name="csX86" fmla="*/ 2614082 w 3437996"/>
              <a:gd name="csY86" fmla="*/ 785113 h 2018071"/>
              <a:gd name="csX87" fmla="*/ 2606007 w 3437996"/>
              <a:gd name="csY87" fmla="*/ 776562 h 2018071"/>
              <a:gd name="csX88" fmla="*/ 2604609 w 3437996"/>
              <a:gd name="csY88" fmla="*/ 775538 h 2018071"/>
              <a:gd name="csX89" fmla="*/ 2596489 w 3437996"/>
              <a:gd name="csY89" fmla="*/ 767032 h 2018071"/>
              <a:gd name="csX90" fmla="*/ 2595095 w 3437996"/>
              <a:gd name="csY90" fmla="*/ 766006 h 2018071"/>
              <a:gd name="csX91" fmla="*/ 2586954 w 3437996"/>
              <a:gd name="csY91" fmla="*/ 757512 h 2018071"/>
              <a:gd name="csX92" fmla="*/ 2585558 w 3437996"/>
              <a:gd name="csY92" fmla="*/ 756496 h 2018071"/>
              <a:gd name="csX93" fmla="*/ 2577410 w 3437996"/>
              <a:gd name="csY93" fmla="*/ 748000 h 2018071"/>
              <a:gd name="csX94" fmla="*/ 2576006 w 3437996"/>
              <a:gd name="csY94" fmla="*/ 747002 h 2018071"/>
              <a:gd name="csX95" fmla="*/ 2567871 w 3437996"/>
              <a:gd name="csY95" fmla="*/ 738486 h 2018071"/>
              <a:gd name="csX96" fmla="*/ 2566459 w 3437996"/>
              <a:gd name="csY96" fmla="*/ 737499 h 2018071"/>
              <a:gd name="csX97" fmla="*/ 2558352 w 3437996"/>
              <a:gd name="csY97" fmla="*/ 728962 h 2018071"/>
              <a:gd name="csX98" fmla="*/ 2556937 w 3437996"/>
              <a:gd name="csY98" fmla="*/ 727967 h 2018071"/>
              <a:gd name="csX99" fmla="*/ 2548845 w 3437996"/>
              <a:gd name="csY99" fmla="*/ 719430 h 2018071"/>
              <a:gd name="csX100" fmla="*/ 2547432 w 3437996"/>
              <a:gd name="csY100" fmla="*/ 718414 h 2018071"/>
              <a:gd name="csX101" fmla="*/ 2539350 w 3437996"/>
              <a:gd name="csY101" fmla="*/ 709894 h 2018071"/>
              <a:gd name="csX102" fmla="*/ 2537942 w 3437996"/>
              <a:gd name="csY102" fmla="*/ 708842 h 2018071"/>
              <a:gd name="csX103" fmla="*/ 2529865 w 3437996"/>
              <a:gd name="csY103" fmla="*/ 700356 h 2018071"/>
              <a:gd name="csX104" fmla="*/ 2528460 w 3437996"/>
              <a:gd name="csY104" fmla="*/ 699259 h 2018071"/>
              <a:gd name="csX105" fmla="*/ 2520386 w 3437996"/>
              <a:gd name="csY105" fmla="*/ 690820 h 2018071"/>
              <a:gd name="csX106" fmla="*/ 2518981 w 3437996"/>
              <a:gd name="csY106" fmla="*/ 689668 h 2018071"/>
              <a:gd name="csX107" fmla="*/ 2510900 w 3437996"/>
              <a:gd name="csY107" fmla="*/ 681286 h 2018071"/>
              <a:gd name="csX108" fmla="*/ 2509493 w 3437996"/>
              <a:gd name="csY108" fmla="*/ 680082 h 2018071"/>
              <a:gd name="csX109" fmla="*/ 2501400 w 3437996"/>
              <a:gd name="csY109" fmla="*/ 671754 h 2018071"/>
              <a:gd name="csX110" fmla="*/ 2499991 w 3437996"/>
              <a:gd name="csY110" fmla="*/ 670520 h 2018071"/>
              <a:gd name="csX111" fmla="*/ 2491892 w 3437996"/>
              <a:gd name="csY111" fmla="*/ 662222 h 2018071"/>
              <a:gd name="csX112" fmla="*/ 2490482 w 3437996"/>
              <a:gd name="csY112" fmla="*/ 660967 h 2018071"/>
              <a:gd name="csX113" fmla="*/ 2482391 w 3437996"/>
              <a:gd name="csY113" fmla="*/ 652682 h 2018071"/>
              <a:gd name="csX114" fmla="*/ 2480984 w 3437996"/>
              <a:gd name="csY114" fmla="*/ 651408 h 2018071"/>
              <a:gd name="csX115" fmla="*/ 2472919 w 3437996"/>
              <a:gd name="csY115" fmla="*/ 643127 h 2018071"/>
              <a:gd name="csX116" fmla="*/ 2471515 w 3437996"/>
              <a:gd name="csY116" fmla="*/ 641819 h 2018071"/>
              <a:gd name="csX117" fmla="*/ 2463424 w 3437996"/>
              <a:gd name="csY117" fmla="*/ 633584 h 2018071"/>
              <a:gd name="csX118" fmla="*/ 2462020 w 3437996"/>
              <a:gd name="csY118" fmla="*/ 632257 h 2018071"/>
              <a:gd name="csX119" fmla="*/ 2453925 w 3437996"/>
              <a:gd name="csY119" fmla="*/ 624049 h 2018071"/>
              <a:gd name="csX120" fmla="*/ 2452516 w 3437996"/>
              <a:gd name="csY120" fmla="*/ 622702 h 2018071"/>
              <a:gd name="csX121" fmla="*/ 2444450 w 3437996"/>
              <a:gd name="csY121" fmla="*/ 614506 h 2018071"/>
              <a:gd name="csX122" fmla="*/ 2443026 w 3437996"/>
              <a:gd name="csY122" fmla="*/ 613123 h 2018071"/>
              <a:gd name="csX123" fmla="*/ 2434957 w 3437996"/>
              <a:gd name="csY123" fmla="*/ 604969 h 2018071"/>
              <a:gd name="csX124" fmla="*/ 2433519 w 3437996"/>
              <a:gd name="csY124" fmla="*/ 603563 h 2018071"/>
              <a:gd name="csX125" fmla="*/ 2425486 w 3437996"/>
              <a:gd name="csY125" fmla="*/ 595418 h 2018071"/>
              <a:gd name="csX126" fmla="*/ 2424029 w 3437996"/>
              <a:gd name="csY126" fmla="*/ 593985 h 2018071"/>
              <a:gd name="csX127" fmla="*/ 2416081 w 3437996"/>
              <a:gd name="csY127" fmla="*/ 585841 h 2018071"/>
              <a:gd name="csX128" fmla="*/ 2414563 w 3437996"/>
              <a:gd name="csY128" fmla="*/ 584358 h 2018071"/>
              <a:gd name="csX129" fmla="*/ 2406640 w 3437996"/>
              <a:gd name="csY129" fmla="*/ 576281 h 2018071"/>
              <a:gd name="csX130" fmla="*/ 2405068 w 3437996"/>
              <a:gd name="csY130" fmla="*/ 574761 h 2018071"/>
              <a:gd name="csX131" fmla="*/ 2397176 w 3437996"/>
              <a:gd name="csY131" fmla="*/ 566733 h 2018071"/>
              <a:gd name="csX132" fmla="*/ 2395561 w 3437996"/>
              <a:gd name="csY132" fmla="*/ 565186 h 2018071"/>
              <a:gd name="csX133" fmla="*/ 2387690 w 3437996"/>
              <a:gd name="csY133" fmla="*/ 557193 h 2018071"/>
              <a:gd name="csX134" fmla="*/ 2386050 w 3437996"/>
              <a:gd name="csY134" fmla="*/ 555624 h 2018071"/>
              <a:gd name="csX135" fmla="*/ 2378191 w 3437996"/>
              <a:gd name="csY135" fmla="*/ 547659 h 2018071"/>
              <a:gd name="csX136" fmla="*/ 2376534 w 3437996"/>
              <a:gd name="csY136" fmla="*/ 546075 h 2018071"/>
              <a:gd name="csX137" fmla="*/ 2368704 w 3437996"/>
              <a:gd name="csY137" fmla="*/ 538124 h 2018071"/>
              <a:gd name="csX138" fmla="*/ 2367021 w 3437996"/>
              <a:gd name="csY138" fmla="*/ 536517 h 2018071"/>
              <a:gd name="csX139" fmla="*/ 2360018 w 3437996"/>
              <a:gd name="csY139" fmla="*/ 529380 h 2018071"/>
              <a:gd name="csX140" fmla="*/ 2357514 w 3437996"/>
              <a:gd name="csY140" fmla="*/ 526933 h 2018071"/>
              <a:gd name="csX141" fmla="*/ 2350552 w 3437996"/>
              <a:gd name="csY141" fmla="*/ 519835 h 2018071"/>
              <a:gd name="csX142" fmla="*/ 2348016 w 3437996"/>
              <a:gd name="csY142" fmla="*/ 517342 h 2018071"/>
              <a:gd name="csX143" fmla="*/ 2341054 w 3437996"/>
              <a:gd name="csY143" fmla="*/ 510297 h 2018071"/>
              <a:gd name="csX144" fmla="*/ 2338508 w 3437996"/>
              <a:gd name="csY144" fmla="*/ 507777 h 2018071"/>
              <a:gd name="csX145" fmla="*/ 2331539 w 3437996"/>
              <a:gd name="csY145" fmla="*/ 500765 h 2018071"/>
              <a:gd name="csX146" fmla="*/ 2328991 w 3437996"/>
              <a:gd name="csY146" fmla="*/ 498236 h 2018071"/>
              <a:gd name="csX147" fmla="*/ 2322020 w 3437996"/>
              <a:gd name="csY147" fmla="*/ 491243 h 2018071"/>
              <a:gd name="csX148" fmla="*/ 2319465 w 3437996"/>
              <a:gd name="csY148" fmla="*/ 488702 h 2018071"/>
              <a:gd name="csX149" fmla="*/ 2312510 w 3437996"/>
              <a:gd name="csY149" fmla="*/ 481725 h 2018071"/>
              <a:gd name="csX150" fmla="*/ 2309941 w 3437996"/>
              <a:gd name="csY150" fmla="*/ 479158 h 2018071"/>
              <a:gd name="csX151" fmla="*/ 2303024 w 3437996"/>
              <a:gd name="csY151" fmla="*/ 472210 h 2018071"/>
              <a:gd name="csX152" fmla="*/ 2300428 w 3437996"/>
              <a:gd name="csY152" fmla="*/ 469578 h 2018071"/>
              <a:gd name="csX153" fmla="*/ 2293545 w 3437996"/>
              <a:gd name="csY153" fmla="*/ 462697 h 2018071"/>
              <a:gd name="csX154" fmla="*/ 2290922 w 3437996"/>
              <a:gd name="csY154" fmla="*/ 459984 h 2018071"/>
              <a:gd name="csX155" fmla="*/ 2284051 w 3437996"/>
              <a:gd name="csY155" fmla="*/ 453172 h 2018071"/>
              <a:gd name="csX156" fmla="*/ 2281414 w 3437996"/>
              <a:gd name="csY156" fmla="*/ 450403 h 2018071"/>
              <a:gd name="csX157" fmla="*/ 2274560 w 3437996"/>
              <a:gd name="csY157" fmla="*/ 443646 h 2018071"/>
              <a:gd name="csX158" fmla="*/ 2271906 w 3437996"/>
              <a:gd name="csY158" fmla="*/ 440826 h 2018071"/>
              <a:gd name="csX159" fmla="*/ 2265120 w 3437996"/>
              <a:gd name="csY159" fmla="*/ 434112 h 2018071"/>
              <a:gd name="csX160" fmla="*/ 2262409 w 3437996"/>
              <a:gd name="csY160" fmla="*/ 431189 h 2018071"/>
              <a:gd name="csX161" fmla="*/ 2255765 w 3437996"/>
              <a:gd name="csY161" fmla="*/ 424557 h 2018071"/>
              <a:gd name="csX162" fmla="*/ 2252962 w 3437996"/>
              <a:gd name="csY162" fmla="*/ 421458 h 2018071"/>
              <a:gd name="csX163" fmla="*/ 2246361 w 3437996"/>
              <a:gd name="csY163" fmla="*/ 414989 h 2018071"/>
              <a:gd name="csX164" fmla="*/ 2226101 w 3437996"/>
              <a:gd name="csY164" fmla="*/ 394472 h 2018071"/>
              <a:gd name="csX165" fmla="*/ 2204126 w 3437996"/>
              <a:gd name="csY165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21387 w 3437996"/>
              <a:gd name="csY47" fmla="*/ 708333 h 2018071"/>
              <a:gd name="csX48" fmla="*/ 22313 w 3437996"/>
              <a:gd name="csY48" fmla="*/ 700409 h 2018071"/>
              <a:gd name="csX49" fmla="*/ 30962 w 3437996"/>
              <a:gd name="csY49" fmla="*/ 642260 h 2018071"/>
              <a:gd name="csX50" fmla="*/ 32315 w 3437996"/>
              <a:gd name="csY50" fmla="*/ 633805 h 2018071"/>
              <a:gd name="csX51" fmla="*/ 40506 w 3437996"/>
              <a:gd name="csY51" fmla="*/ 584580 h 2018071"/>
              <a:gd name="csX52" fmla="*/ 42550 w 3437996"/>
              <a:gd name="csY52" fmla="*/ 567648 h 2018071"/>
              <a:gd name="csX53" fmla="*/ 49883 w 3437996"/>
              <a:gd name="csY53" fmla="*/ 529082 h 2018071"/>
              <a:gd name="csX54" fmla="*/ 88193 w 3437996"/>
              <a:gd name="csY54" fmla="*/ 269877 h 2018071"/>
              <a:gd name="csX55" fmla="*/ 89741 w 3437996"/>
              <a:gd name="csY55" fmla="*/ 253550 h 2018071"/>
              <a:gd name="csX56" fmla="*/ 98008 w 3437996"/>
              <a:gd name="csY56" fmla="*/ 233543 h 2018071"/>
              <a:gd name="csX57" fmla="*/ 99628 w 3437996"/>
              <a:gd name="csY57" fmla="*/ 231506 h 2018071"/>
              <a:gd name="csX58" fmla="*/ 182353 w 3437996"/>
              <a:gd name="csY58" fmla="*/ 229554 h 2018071"/>
              <a:gd name="csX59" fmla="*/ 185812 w 3437996"/>
              <a:gd name="csY59" fmla="*/ 231380 h 2018071"/>
              <a:gd name="csX60" fmla="*/ 213726 w 3437996"/>
              <a:gd name="csY60" fmla="*/ 239233 h 2018071"/>
              <a:gd name="csX61" fmla="*/ 416961 w 3437996"/>
              <a:gd name="csY61" fmla="*/ 299911 h 2018071"/>
              <a:gd name="csX62" fmla="*/ 622809 w 3437996"/>
              <a:gd name="csY62" fmla="*/ 305227 h 2018071"/>
              <a:gd name="csX63" fmla="*/ 1851374 w 3437996"/>
              <a:gd name="csY63" fmla="*/ 7502 h 2018071"/>
              <a:gd name="csX64" fmla="*/ 2119617 w 3437996"/>
              <a:gd name="csY64" fmla="*/ 86919 h 2018071"/>
              <a:gd name="csX65" fmla="*/ 2805452 w 3437996"/>
              <a:gd name="csY65" fmla="*/ 622669 h 2018071"/>
              <a:gd name="csX66" fmla="*/ 3047873 w 3437996"/>
              <a:gd name="csY66" fmla="*/ 889895 h 2018071"/>
              <a:gd name="csX67" fmla="*/ 3201337 w 3437996"/>
              <a:gd name="csY67" fmla="*/ 1065192 h 2018071"/>
              <a:gd name="csX68" fmla="*/ 3322212 w 3437996"/>
              <a:gd name="csY68" fmla="*/ 1262254 h 2018071"/>
              <a:gd name="csX69" fmla="*/ 3434603 w 3437996"/>
              <a:gd name="csY69" fmla="*/ 1463610 h 2018071"/>
              <a:gd name="csX70" fmla="*/ 3437317 w 3437996"/>
              <a:gd name="csY70" fmla="*/ 1496424 h 2018071"/>
              <a:gd name="csX71" fmla="*/ 3437173 w 3437996"/>
              <a:gd name="csY71" fmla="*/ 1502015 h 2018071"/>
              <a:gd name="csX72" fmla="*/ 3265778 w 3437996"/>
              <a:gd name="csY72" fmla="*/ 1437268 h 2018071"/>
              <a:gd name="csX73" fmla="*/ 3131933 w 3437996"/>
              <a:gd name="csY73" fmla="*/ 1283723 h 2018071"/>
              <a:gd name="csX74" fmla="*/ 2856351 w 3437996"/>
              <a:gd name="csY74" fmla="*/ 1004478 h 2018071"/>
              <a:gd name="csX75" fmla="*/ 2818150 w 3437996"/>
              <a:gd name="csY75" fmla="*/ 969213 h 2018071"/>
              <a:gd name="csX76" fmla="*/ 2654127 w 3437996"/>
              <a:gd name="csY76" fmla="*/ 825572 h 2018071"/>
              <a:gd name="csX77" fmla="*/ 2651783 w 3437996"/>
              <a:gd name="csY77" fmla="*/ 823279 h 2018071"/>
              <a:gd name="csX78" fmla="*/ 2644017 w 3437996"/>
              <a:gd name="csY78" fmla="*/ 814773 h 2018071"/>
              <a:gd name="csX79" fmla="*/ 2642551 w 3437996"/>
              <a:gd name="csY79" fmla="*/ 813746 h 2018071"/>
              <a:gd name="csX80" fmla="*/ 2634494 w 3437996"/>
              <a:gd name="csY80" fmla="*/ 805208 h 2018071"/>
              <a:gd name="csX81" fmla="*/ 2633053 w 3437996"/>
              <a:gd name="csY81" fmla="*/ 804210 h 2018071"/>
              <a:gd name="csX82" fmla="*/ 2624994 w 3437996"/>
              <a:gd name="csY82" fmla="*/ 795655 h 2018071"/>
              <a:gd name="csX83" fmla="*/ 2623570 w 3437996"/>
              <a:gd name="csY83" fmla="*/ 794675 h 2018071"/>
              <a:gd name="csX84" fmla="*/ 2615495 w 3437996"/>
              <a:gd name="csY84" fmla="*/ 786111 h 2018071"/>
              <a:gd name="csX85" fmla="*/ 2614082 w 3437996"/>
              <a:gd name="csY85" fmla="*/ 785113 h 2018071"/>
              <a:gd name="csX86" fmla="*/ 2606007 w 3437996"/>
              <a:gd name="csY86" fmla="*/ 776562 h 2018071"/>
              <a:gd name="csX87" fmla="*/ 2604609 w 3437996"/>
              <a:gd name="csY87" fmla="*/ 775538 h 2018071"/>
              <a:gd name="csX88" fmla="*/ 2596489 w 3437996"/>
              <a:gd name="csY88" fmla="*/ 767032 h 2018071"/>
              <a:gd name="csX89" fmla="*/ 2595095 w 3437996"/>
              <a:gd name="csY89" fmla="*/ 766006 h 2018071"/>
              <a:gd name="csX90" fmla="*/ 2586954 w 3437996"/>
              <a:gd name="csY90" fmla="*/ 757512 h 2018071"/>
              <a:gd name="csX91" fmla="*/ 2585558 w 3437996"/>
              <a:gd name="csY91" fmla="*/ 756496 h 2018071"/>
              <a:gd name="csX92" fmla="*/ 2577410 w 3437996"/>
              <a:gd name="csY92" fmla="*/ 748000 h 2018071"/>
              <a:gd name="csX93" fmla="*/ 2576006 w 3437996"/>
              <a:gd name="csY93" fmla="*/ 747002 h 2018071"/>
              <a:gd name="csX94" fmla="*/ 2567871 w 3437996"/>
              <a:gd name="csY94" fmla="*/ 738486 h 2018071"/>
              <a:gd name="csX95" fmla="*/ 2566459 w 3437996"/>
              <a:gd name="csY95" fmla="*/ 737499 h 2018071"/>
              <a:gd name="csX96" fmla="*/ 2558352 w 3437996"/>
              <a:gd name="csY96" fmla="*/ 728962 h 2018071"/>
              <a:gd name="csX97" fmla="*/ 2556937 w 3437996"/>
              <a:gd name="csY97" fmla="*/ 727967 h 2018071"/>
              <a:gd name="csX98" fmla="*/ 2548845 w 3437996"/>
              <a:gd name="csY98" fmla="*/ 719430 h 2018071"/>
              <a:gd name="csX99" fmla="*/ 2547432 w 3437996"/>
              <a:gd name="csY99" fmla="*/ 718414 h 2018071"/>
              <a:gd name="csX100" fmla="*/ 2539350 w 3437996"/>
              <a:gd name="csY100" fmla="*/ 709894 h 2018071"/>
              <a:gd name="csX101" fmla="*/ 2537942 w 3437996"/>
              <a:gd name="csY101" fmla="*/ 708842 h 2018071"/>
              <a:gd name="csX102" fmla="*/ 2529865 w 3437996"/>
              <a:gd name="csY102" fmla="*/ 700356 h 2018071"/>
              <a:gd name="csX103" fmla="*/ 2528460 w 3437996"/>
              <a:gd name="csY103" fmla="*/ 699259 h 2018071"/>
              <a:gd name="csX104" fmla="*/ 2520386 w 3437996"/>
              <a:gd name="csY104" fmla="*/ 690820 h 2018071"/>
              <a:gd name="csX105" fmla="*/ 2518981 w 3437996"/>
              <a:gd name="csY105" fmla="*/ 689668 h 2018071"/>
              <a:gd name="csX106" fmla="*/ 2510900 w 3437996"/>
              <a:gd name="csY106" fmla="*/ 681286 h 2018071"/>
              <a:gd name="csX107" fmla="*/ 2509493 w 3437996"/>
              <a:gd name="csY107" fmla="*/ 680082 h 2018071"/>
              <a:gd name="csX108" fmla="*/ 2501400 w 3437996"/>
              <a:gd name="csY108" fmla="*/ 671754 h 2018071"/>
              <a:gd name="csX109" fmla="*/ 2499991 w 3437996"/>
              <a:gd name="csY109" fmla="*/ 670520 h 2018071"/>
              <a:gd name="csX110" fmla="*/ 2491892 w 3437996"/>
              <a:gd name="csY110" fmla="*/ 662222 h 2018071"/>
              <a:gd name="csX111" fmla="*/ 2490482 w 3437996"/>
              <a:gd name="csY111" fmla="*/ 660967 h 2018071"/>
              <a:gd name="csX112" fmla="*/ 2482391 w 3437996"/>
              <a:gd name="csY112" fmla="*/ 652682 h 2018071"/>
              <a:gd name="csX113" fmla="*/ 2480984 w 3437996"/>
              <a:gd name="csY113" fmla="*/ 651408 h 2018071"/>
              <a:gd name="csX114" fmla="*/ 2472919 w 3437996"/>
              <a:gd name="csY114" fmla="*/ 643127 h 2018071"/>
              <a:gd name="csX115" fmla="*/ 2471515 w 3437996"/>
              <a:gd name="csY115" fmla="*/ 641819 h 2018071"/>
              <a:gd name="csX116" fmla="*/ 2463424 w 3437996"/>
              <a:gd name="csY116" fmla="*/ 633584 h 2018071"/>
              <a:gd name="csX117" fmla="*/ 2462020 w 3437996"/>
              <a:gd name="csY117" fmla="*/ 632257 h 2018071"/>
              <a:gd name="csX118" fmla="*/ 2453925 w 3437996"/>
              <a:gd name="csY118" fmla="*/ 624049 h 2018071"/>
              <a:gd name="csX119" fmla="*/ 2452516 w 3437996"/>
              <a:gd name="csY119" fmla="*/ 622702 h 2018071"/>
              <a:gd name="csX120" fmla="*/ 2444450 w 3437996"/>
              <a:gd name="csY120" fmla="*/ 614506 h 2018071"/>
              <a:gd name="csX121" fmla="*/ 2443026 w 3437996"/>
              <a:gd name="csY121" fmla="*/ 613123 h 2018071"/>
              <a:gd name="csX122" fmla="*/ 2434957 w 3437996"/>
              <a:gd name="csY122" fmla="*/ 604969 h 2018071"/>
              <a:gd name="csX123" fmla="*/ 2433519 w 3437996"/>
              <a:gd name="csY123" fmla="*/ 603563 h 2018071"/>
              <a:gd name="csX124" fmla="*/ 2425486 w 3437996"/>
              <a:gd name="csY124" fmla="*/ 595418 h 2018071"/>
              <a:gd name="csX125" fmla="*/ 2424029 w 3437996"/>
              <a:gd name="csY125" fmla="*/ 593985 h 2018071"/>
              <a:gd name="csX126" fmla="*/ 2416081 w 3437996"/>
              <a:gd name="csY126" fmla="*/ 585841 h 2018071"/>
              <a:gd name="csX127" fmla="*/ 2414563 w 3437996"/>
              <a:gd name="csY127" fmla="*/ 584358 h 2018071"/>
              <a:gd name="csX128" fmla="*/ 2406640 w 3437996"/>
              <a:gd name="csY128" fmla="*/ 576281 h 2018071"/>
              <a:gd name="csX129" fmla="*/ 2405068 w 3437996"/>
              <a:gd name="csY129" fmla="*/ 574761 h 2018071"/>
              <a:gd name="csX130" fmla="*/ 2397176 w 3437996"/>
              <a:gd name="csY130" fmla="*/ 566733 h 2018071"/>
              <a:gd name="csX131" fmla="*/ 2395561 w 3437996"/>
              <a:gd name="csY131" fmla="*/ 565186 h 2018071"/>
              <a:gd name="csX132" fmla="*/ 2387690 w 3437996"/>
              <a:gd name="csY132" fmla="*/ 557193 h 2018071"/>
              <a:gd name="csX133" fmla="*/ 2386050 w 3437996"/>
              <a:gd name="csY133" fmla="*/ 555624 h 2018071"/>
              <a:gd name="csX134" fmla="*/ 2378191 w 3437996"/>
              <a:gd name="csY134" fmla="*/ 547659 h 2018071"/>
              <a:gd name="csX135" fmla="*/ 2376534 w 3437996"/>
              <a:gd name="csY135" fmla="*/ 546075 h 2018071"/>
              <a:gd name="csX136" fmla="*/ 2368704 w 3437996"/>
              <a:gd name="csY136" fmla="*/ 538124 h 2018071"/>
              <a:gd name="csX137" fmla="*/ 2367021 w 3437996"/>
              <a:gd name="csY137" fmla="*/ 536517 h 2018071"/>
              <a:gd name="csX138" fmla="*/ 2360018 w 3437996"/>
              <a:gd name="csY138" fmla="*/ 529380 h 2018071"/>
              <a:gd name="csX139" fmla="*/ 2357514 w 3437996"/>
              <a:gd name="csY139" fmla="*/ 526933 h 2018071"/>
              <a:gd name="csX140" fmla="*/ 2350552 w 3437996"/>
              <a:gd name="csY140" fmla="*/ 519835 h 2018071"/>
              <a:gd name="csX141" fmla="*/ 2348016 w 3437996"/>
              <a:gd name="csY141" fmla="*/ 517342 h 2018071"/>
              <a:gd name="csX142" fmla="*/ 2341054 w 3437996"/>
              <a:gd name="csY142" fmla="*/ 510297 h 2018071"/>
              <a:gd name="csX143" fmla="*/ 2338508 w 3437996"/>
              <a:gd name="csY143" fmla="*/ 507777 h 2018071"/>
              <a:gd name="csX144" fmla="*/ 2331539 w 3437996"/>
              <a:gd name="csY144" fmla="*/ 500765 h 2018071"/>
              <a:gd name="csX145" fmla="*/ 2328991 w 3437996"/>
              <a:gd name="csY145" fmla="*/ 498236 h 2018071"/>
              <a:gd name="csX146" fmla="*/ 2322020 w 3437996"/>
              <a:gd name="csY146" fmla="*/ 491243 h 2018071"/>
              <a:gd name="csX147" fmla="*/ 2319465 w 3437996"/>
              <a:gd name="csY147" fmla="*/ 488702 h 2018071"/>
              <a:gd name="csX148" fmla="*/ 2312510 w 3437996"/>
              <a:gd name="csY148" fmla="*/ 481725 h 2018071"/>
              <a:gd name="csX149" fmla="*/ 2309941 w 3437996"/>
              <a:gd name="csY149" fmla="*/ 479158 h 2018071"/>
              <a:gd name="csX150" fmla="*/ 2303024 w 3437996"/>
              <a:gd name="csY150" fmla="*/ 472210 h 2018071"/>
              <a:gd name="csX151" fmla="*/ 2300428 w 3437996"/>
              <a:gd name="csY151" fmla="*/ 469578 h 2018071"/>
              <a:gd name="csX152" fmla="*/ 2293545 w 3437996"/>
              <a:gd name="csY152" fmla="*/ 462697 h 2018071"/>
              <a:gd name="csX153" fmla="*/ 2290922 w 3437996"/>
              <a:gd name="csY153" fmla="*/ 459984 h 2018071"/>
              <a:gd name="csX154" fmla="*/ 2284051 w 3437996"/>
              <a:gd name="csY154" fmla="*/ 453172 h 2018071"/>
              <a:gd name="csX155" fmla="*/ 2281414 w 3437996"/>
              <a:gd name="csY155" fmla="*/ 450403 h 2018071"/>
              <a:gd name="csX156" fmla="*/ 2274560 w 3437996"/>
              <a:gd name="csY156" fmla="*/ 443646 h 2018071"/>
              <a:gd name="csX157" fmla="*/ 2271906 w 3437996"/>
              <a:gd name="csY157" fmla="*/ 440826 h 2018071"/>
              <a:gd name="csX158" fmla="*/ 2265120 w 3437996"/>
              <a:gd name="csY158" fmla="*/ 434112 h 2018071"/>
              <a:gd name="csX159" fmla="*/ 2262409 w 3437996"/>
              <a:gd name="csY159" fmla="*/ 431189 h 2018071"/>
              <a:gd name="csX160" fmla="*/ 2255765 w 3437996"/>
              <a:gd name="csY160" fmla="*/ 424557 h 2018071"/>
              <a:gd name="csX161" fmla="*/ 2252962 w 3437996"/>
              <a:gd name="csY161" fmla="*/ 421458 h 2018071"/>
              <a:gd name="csX162" fmla="*/ 2246361 w 3437996"/>
              <a:gd name="csY162" fmla="*/ 414989 h 2018071"/>
              <a:gd name="csX163" fmla="*/ 2226101 w 3437996"/>
              <a:gd name="csY163" fmla="*/ 394472 h 2018071"/>
              <a:gd name="csX164" fmla="*/ 2204126 w 3437996"/>
              <a:gd name="csY164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21387 w 3437996"/>
              <a:gd name="csY47" fmla="*/ 708333 h 2018071"/>
              <a:gd name="csX48" fmla="*/ 22313 w 3437996"/>
              <a:gd name="csY48" fmla="*/ 700409 h 2018071"/>
              <a:gd name="csX49" fmla="*/ 30962 w 3437996"/>
              <a:gd name="csY49" fmla="*/ 642260 h 2018071"/>
              <a:gd name="csX50" fmla="*/ 32315 w 3437996"/>
              <a:gd name="csY50" fmla="*/ 633805 h 2018071"/>
              <a:gd name="csX51" fmla="*/ 40506 w 3437996"/>
              <a:gd name="csY51" fmla="*/ 584580 h 2018071"/>
              <a:gd name="csX52" fmla="*/ 49883 w 3437996"/>
              <a:gd name="csY52" fmla="*/ 529082 h 2018071"/>
              <a:gd name="csX53" fmla="*/ 88193 w 3437996"/>
              <a:gd name="csY53" fmla="*/ 269877 h 2018071"/>
              <a:gd name="csX54" fmla="*/ 89741 w 3437996"/>
              <a:gd name="csY54" fmla="*/ 253550 h 2018071"/>
              <a:gd name="csX55" fmla="*/ 98008 w 3437996"/>
              <a:gd name="csY55" fmla="*/ 233543 h 2018071"/>
              <a:gd name="csX56" fmla="*/ 99628 w 3437996"/>
              <a:gd name="csY56" fmla="*/ 231506 h 2018071"/>
              <a:gd name="csX57" fmla="*/ 182353 w 3437996"/>
              <a:gd name="csY57" fmla="*/ 229554 h 2018071"/>
              <a:gd name="csX58" fmla="*/ 185812 w 3437996"/>
              <a:gd name="csY58" fmla="*/ 231380 h 2018071"/>
              <a:gd name="csX59" fmla="*/ 213726 w 3437996"/>
              <a:gd name="csY59" fmla="*/ 239233 h 2018071"/>
              <a:gd name="csX60" fmla="*/ 416961 w 3437996"/>
              <a:gd name="csY60" fmla="*/ 299911 h 2018071"/>
              <a:gd name="csX61" fmla="*/ 622809 w 3437996"/>
              <a:gd name="csY61" fmla="*/ 305227 h 2018071"/>
              <a:gd name="csX62" fmla="*/ 1851374 w 3437996"/>
              <a:gd name="csY62" fmla="*/ 7502 h 2018071"/>
              <a:gd name="csX63" fmla="*/ 2119617 w 3437996"/>
              <a:gd name="csY63" fmla="*/ 86919 h 2018071"/>
              <a:gd name="csX64" fmla="*/ 2805452 w 3437996"/>
              <a:gd name="csY64" fmla="*/ 622669 h 2018071"/>
              <a:gd name="csX65" fmla="*/ 3047873 w 3437996"/>
              <a:gd name="csY65" fmla="*/ 889895 h 2018071"/>
              <a:gd name="csX66" fmla="*/ 3201337 w 3437996"/>
              <a:gd name="csY66" fmla="*/ 1065192 h 2018071"/>
              <a:gd name="csX67" fmla="*/ 3322212 w 3437996"/>
              <a:gd name="csY67" fmla="*/ 1262254 h 2018071"/>
              <a:gd name="csX68" fmla="*/ 3434603 w 3437996"/>
              <a:gd name="csY68" fmla="*/ 1463610 h 2018071"/>
              <a:gd name="csX69" fmla="*/ 3437317 w 3437996"/>
              <a:gd name="csY69" fmla="*/ 1496424 h 2018071"/>
              <a:gd name="csX70" fmla="*/ 3437173 w 3437996"/>
              <a:gd name="csY70" fmla="*/ 1502015 h 2018071"/>
              <a:gd name="csX71" fmla="*/ 3265778 w 3437996"/>
              <a:gd name="csY71" fmla="*/ 1437268 h 2018071"/>
              <a:gd name="csX72" fmla="*/ 3131933 w 3437996"/>
              <a:gd name="csY72" fmla="*/ 1283723 h 2018071"/>
              <a:gd name="csX73" fmla="*/ 2856351 w 3437996"/>
              <a:gd name="csY73" fmla="*/ 1004478 h 2018071"/>
              <a:gd name="csX74" fmla="*/ 2818150 w 3437996"/>
              <a:gd name="csY74" fmla="*/ 969213 h 2018071"/>
              <a:gd name="csX75" fmla="*/ 2654127 w 3437996"/>
              <a:gd name="csY75" fmla="*/ 825572 h 2018071"/>
              <a:gd name="csX76" fmla="*/ 2651783 w 3437996"/>
              <a:gd name="csY76" fmla="*/ 823279 h 2018071"/>
              <a:gd name="csX77" fmla="*/ 2644017 w 3437996"/>
              <a:gd name="csY77" fmla="*/ 814773 h 2018071"/>
              <a:gd name="csX78" fmla="*/ 2642551 w 3437996"/>
              <a:gd name="csY78" fmla="*/ 813746 h 2018071"/>
              <a:gd name="csX79" fmla="*/ 2634494 w 3437996"/>
              <a:gd name="csY79" fmla="*/ 805208 h 2018071"/>
              <a:gd name="csX80" fmla="*/ 2633053 w 3437996"/>
              <a:gd name="csY80" fmla="*/ 804210 h 2018071"/>
              <a:gd name="csX81" fmla="*/ 2624994 w 3437996"/>
              <a:gd name="csY81" fmla="*/ 795655 h 2018071"/>
              <a:gd name="csX82" fmla="*/ 2623570 w 3437996"/>
              <a:gd name="csY82" fmla="*/ 794675 h 2018071"/>
              <a:gd name="csX83" fmla="*/ 2615495 w 3437996"/>
              <a:gd name="csY83" fmla="*/ 786111 h 2018071"/>
              <a:gd name="csX84" fmla="*/ 2614082 w 3437996"/>
              <a:gd name="csY84" fmla="*/ 785113 h 2018071"/>
              <a:gd name="csX85" fmla="*/ 2606007 w 3437996"/>
              <a:gd name="csY85" fmla="*/ 776562 h 2018071"/>
              <a:gd name="csX86" fmla="*/ 2604609 w 3437996"/>
              <a:gd name="csY86" fmla="*/ 775538 h 2018071"/>
              <a:gd name="csX87" fmla="*/ 2596489 w 3437996"/>
              <a:gd name="csY87" fmla="*/ 767032 h 2018071"/>
              <a:gd name="csX88" fmla="*/ 2595095 w 3437996"/>
              <a:gd name="csY88" fmla="*/ 766006 h 2018071"/>
              <a:gd name="csX89" fmla="*/ 2586954 w 3437996"/>
              <a:gd name="csY89" fmla="*/ 757512 h 2018071"/>
              <a:gd name="csX90" fmla="*/ 2585558 w 3437996"/>
              <a:gd name="csY90" fmla="*/ 756496 h 2018071"/>
              <a:gd name="csX91" fmla="*/ 2577410 w 3437996"/>
              <a:gd name="csY91" fmla="*/ 748000 h 2018071"/>
              <a:gd name="csX92" fmla="*/ 2576006 w 3437996"/>
              <a:gd name="csY92" fmla="*/ 747002 h 2018071"/>
              <a:gd name="csX93" fmla="*/ 2567871 w 3437996"/>
              <a:gd name="csY93" fmla="*/ 738486 h 2018071"/>
              <a:gd name="csX94" fmla="*/ 2566459 w 3437996"/>
              <a:gd name="csY94" fmla="*/ 737499 h 2018071"/>
              <a:gd name="csX95" fmla="*/ 2558352 w 3437996"/>
              <a:gd name="csY95" fmla="*/ 728962 h 2018071"/>
              <a:gd name="csX96" fmla="*/ 2556937 w 3437996"/>
              <a:gd name="csY96" fmla="*/ 727967 h 2018071"/>
              <a:gd name="csX97" fmla="*/ 2548845 w 3437996"/>
              <a:gd name="csY97" fmla="*/ 719430 h 2018071"/>
              <a:gd name="csX98" fmla="*/ 2547432 w 3437996"/>
              <a:gd name="csY98" fmla="*/ 718414 h 2018071"/>
              <a:gd name="csX99" fmla="*/ 2539350 w 3437996"/>
              <a:gd name="csY99" fmla="*/ 709894 h 2018071"/>
              <a:gd name="csX100" fmla="*/ 2537942 w 3437996"/>
              <a:gd name="csY100" fmla="*/ 708842 h 2018071"/>
              <a:gd name="csX101" fmla="*/ 2529865 w 3437996"/>
              <a:gd name="csY101" fmla="*/ 700356 h 2018071"/>
              <a:gd name="csX102" fmla="*/ 2528460 w 3437996"/>
              <a:gd name="csY102" fmla="*/ 699259 h 2018071"/>
              <a:gd name="csX103" fmla="*/ 2520386 w 3437996"/>
              <a:gd name="csY103" fmla="*/ 690820 h 2018071"/>
              <a:gd name="csX104" fmla="*/ 2518981 w 3437996"/>
              <a:gd name="csY104" fmla="*/ 689668 h 2018071"/>
              <a:gd name="csX105" fmla="*/ 2510900 w 3437996"/>
              <a:gd name="csY105" fmla="*/ 681286 h 2018071"/>
              <a:gd name="csX106" fmla="*/ 2509493 w 3437996"/>
              <a:gd name="csY106" fmla="*/ 680082 h 2018071"/>
              <a:gd name="csX107" fmla="*/ 2501400 w 3437996"/>
              <a:gd name="csY107" fmla="*/ 671754 h 2018071"/>
              <a:gd name="csX108" fmla="*/ 2499991 w 3437996"/>
              <a:gd name="csY108" fmla="*/ 670520 h 2018071"/>
              <a:gd name="csX109" fmla="*/ 2491892 w 3437996"/>
              <a:gd name="csY109" fmla="*/ 662222 h 2018071"/>
              <a:gd name="csX110" fmla="*/ 2490482 w 3437996"/>
              <a:gd name="csY110" fmla="*/ 660967 h 2018071"/>
              <a:gd name="csX111" fmla="*/ 2482391 w 3437996"/>
              <a:gd name="csY111" fmla="*/ 652682 h 2018071"/>
              <a:gd name="csX112" fmla="*/ 2480984 w 3437996"/>
              <a:gd name="csY112" fmla="*/ 651408 h 2018071"/>
              <a:gd name="csX113" fmla="*/ 2472919 w 3437996"/>
              <a:gd name="csY113" fmla="*/ 643127 h 2018071"/>
              <a:gd name="csX114" fmla="*/ 2471515 w 3437996"/>
              <a:gd name="csY114" fmla="*/ 641819 h 2018071"/>
              <a:gd name="csX115" fmla="*/ 2463424 w 3437996"/>
              <a:gd name="csY115" fmla="*/ 633584 h 2018071"/>
              <a:gd name="csX116" fmla="*/ 2462020 w 3437996"/>
              <a:gd name="csY116" fmla="*/ 632257 h 2018071"/>
              <a:gd name="csX117" fmla="*/ 2453925 w 3437996"/>
              <a:gd name="csY117" fmla="*/ 624049 h 2018071"/>
              <a:gd name="csX118" fmla="*/ 2452516 w 3437996"/>
              <a:gd name="csY118" fmla="*/ 622702 h 2018071"/>
              <a:gd name="csX119" fmla="*/ 2444450 w 3437996"/>
              <a:gd name="csY119" fmla="*/ 614506 h 2018071"/>
              <a:gd name="csX120" fmla="*/ 2443026 w 3437996"/>
              <a:gd name="csY120" fmla="*/ 613123 h 2018071"/>
              <a:gd name="csX121" fmla="*/ 2434957 w 3437996"/>
              <a:gd name="csY121" fmla="*/ 604969 h 2018071"/>
              <a:gd name="csX122" fmla="*/ 2433519 w 3437996"/>
              <a:gd name="csY122" fmla="*/ 603563 h 2018071"/>
              <a:gd name="csX123" fmla="*/ 2425486 w 3437996"/>
              <a:gd name="csY123" fmla="*/ 595418 h 2018071"/>
              <a:gd name="csX124" fmla="*/ 2424029 w 3437996"/>
              <a:gd name="csY124" fmla="*/ 593985 h 2018071"/>
              <a:gd name="csX125" fmla="*/ 2416081 w 3437996"/>
              <a:gd name="csY125" fmla="*/ 585841 h 2018071"/>
              <a:gd name="csX126" fmla="*/ 2414563 w 3437996"/>
              <a:gd name="csY126" fmla="*/ 584358 h 2018071"/>
              <a:gd name="csX127" fmla="*/ 2406640 w 3437996"/>
              <a:gd name="csY127" fmla="*/ 576281 h 2018071"/>
              <a:gd name="csX128" fmla="*/ 2405068 w 3437996"/>
              <a:gd name="csY128" fmla="*/ 574761 h 2018071"/>
              <a:gd name="csX129" fmla="*/ 2397176 w 3437996"/>
              <a:gd name="csY129" fmla="*/ 566733 h 2018071"/>
              <a:gd name="csX130" fmla="*/ 2395561 w 3437996"/>
              <a:gd name="csY130" fmla="*/ 565186 h 2018071"/>
              <a:gd name="csX131" fmla="*/ 2387690 w 3437996"/>
              <a:gd name="csY131" fmla="*/ 557193 h 2018071"/>
              <a:gd name="csX132" fmla="*/ 2386050 w 3437996"/>
              <a:gd name="csY132" fmla="*/ 555624 h 2018071"/>
              <a:gd name="csX133" fmla="*/ 2378191 w 3437996"/>
              <a:gd name="csY133" fmla="*/ 547659 h 2018071"/>
              <a:gd name="csX134" fmla="*/ 2376534 w 3437996"/>
              <a:gd name="csY134" fmla="*/ 546075 h 2018071"/>
              <a:gd name="csX135" fmla="*/ 2368704 w 3437996"/>
              <a:gd name="csY135" fmla="*/ 538124 h 2018071"/>
              <a:gd name="csX136" fmla="*/ 2367021 w 3437996"/>
              <a:gd name="csY136" fmla="*/ 536517 h 2018071"/>
              <a:gd name="csX137" fmla="*/ 2360018 w 3437996"/>
              <a:gd name="csY137" fmla="*/ 529380 h 2018071"/>
              <a:gd name="csX138" fmla="*/ 2357514 w 3437996"/>
              <a:gd name="csY138" fmla="*/ 526933 h 2018071"/>
              <a:gd name="csX139" fmla="*/ 2350552 w 3437996"/>
              <a:gd name="csY139" fmla="*/ 519835 h 2018071"/>
              <a:gd name="csX140" fmla="*/ 2348016 w 3437996"/>
              <a:gd name="csY140" fmla="*/ 517342 h 2018071"/>
              <a:gd name="csX141" fmla="*/ 2341054 w 3437996"/>
              <a:gd name="csY141" fmla="*/ 510297 h 2018071"/>
              <a:gd name="csX142" fmla="*/ 2338508 w 3437996"/>
              <a:gd name="csY142" fmla="*/ 507777 h 2018071"/>
              <a:gd name="csX143" fmla="*/ 2331539 w 3437996"/>
              <a:gd name="csY143" fmla="*/ 500765 h 2018071"/>
              <a:gd name="csX144" fmla="*/ 2328991 w 3437996"/>
              <a:gd name="csY144" fmla="*/ 498236 h 2018071"/>
              <a:gd name="csX145" fmla="*/ 2322020 w 3437996"/>
              <a:gd name="csY145" fmla="*/ 491243 h 2018071"/>
              <a:gd name="csX146" fmla="*/ 2319465 w 3437996"/>
              <a:gd name="csY146" fmla="*/ 488702 h 2018071"/>
              <a:gd name="csX147" fmla="*/ 2312510 w 3437996"/>
              <a:gd name="csY147" fmla="*/ 481725 h 2018071"/>
              <a:gd name="csX148" fmla="*/ 2309941 w 3437996"/>
              <a:gd name="csY148" fmla="*/ 479158 h 2018071"/>
              <a:gd name="csX149" fmla="*/ 2303024 w 3437996"/>
              <a:gd name="csY149" fmla="*/ 472210 h 2018071"/>
              <a:gd name="csX150" fmla="*/ 2300428 w 3437996"/>
              <a:gd name="csY150" fmla="*/ 469578 h 2018071"/>
              <a:gd name="csX151" fmla="*/ 2293545 w 3437996"/>
              <a:gd name="csY151" fmla="*/ 462697 h 2018071"/>
              <a:gd name="csX152" fmla="*/ 2290922 w 3437996"/>
              <a:gd name="csY152" fmla="*/ 459984 h 2018071"/>
              <a:gd name="csX153" fmla="*/ 2284051 w 3437996"/>
              <a:gd name="csY153" fmla="*/ 453172 h 2018071"/>
              <a:gd name="csX154" fmla="*/ 2281414 w 3437996"/>
              <a:gd name="csY154" fmla="*/ 450403 h 2018071"/>
              <a:gd name="csX155" fmla="*/ 2274560 w 3437996"/>
              <a:gd name="csY155" fmla="*/ 443646 h 2018071"/>
              <a:gd name="csX156" fmla="*/ 2271906 w 3437996"/>
              <a:gd name="csY156" fmla="*/ 440826 h 2018071"/>
              <a:gd name="csX157" fmla="*/ 2265120 w 3437996"/>
              <a:gd name="csY157" fmla="*/ 434112 h 2018071"/>
              <a:gd name="csX158" fmla="*/ 2262409 w 3437996"/>
              <a:gd name="csY158" fmla="*/ 431189 h 2018071"/>
              <a:gd name="csX159" fmla="*/ 2255765 w 3437996"/>
              <a:gd name="csY159" fmla="*/ 424557 h 2018071"/>
              <a:gd name="csX160" fmla="*/ 2252962 w 3437996"/>
              <a:gd name="csY160" fmla="*/ 421458 h 2018071"/>
              <a:gd name="csX161" fmla="*/ 2246361 w 3437996"/>
              <a:gd name="csY161" fmla="*/ 414989 h 2018071"/>
              <a:gd name="csX162" fmla="*/ 2226101 w 3437996"/>
              <a:gd name="csY162" fmla="*/ 394472 h 2018071"/>
              <a:gd name="csX163" fmla="*/ 2204126 w 3437996"/>
              <a:gd name="csY163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21387 w 3437996"/>
              <a:gd name="csY47" fmla="*/ 708333 h 2018071"/>
              <a:gd name="csX48" fmla="*/ 22313 w 3437996"/>
              <a:gd name="csY48" fmla="*/ 700409 h 2018071"/>
              <a:gd name="csX49" fmla="*/ 30962 w 3437996"/>
              <a:gd name="csY49" fmla="*/ 642260 h 2018071"/>
              <a:gd name="csX50" fmla="*/ 40506 w 3437996"/>
              <a:gd name="csY50" fmla="*/ 584580 h 2018071"/>
              <a:gd name="csX51" fmla="*/ 49883 w 3437996"/>
              <a:gd name="csY51" fmla="*/ 529082 h 2018071"/>
              <a:gd name="csX52" fmla="*/ 88193 w 3437996"/>
              <a:gd name="csY52" fmla="*/ 269877 h 2018071"/>
              <a:gd name="csX53" fmla="*/ 89741 w 3437996"/>
              <a:gd name="csY53" fmla="*/ 253550 h 2018071"/>
              <a:gd name="csX54" fmla="*/ 98008 w 3437996"/>
              <a:gd name="csY54" fmla="*/ 233543 h 2018071"/>
              <a:gd name="csX55" fmla="*/ 99628 w 3437996"/>
              <a:gd name="csY55" fmla="*/ 231506 h 2018071"/>
              <a:gd name="csX56" fmla="*/ 182353 w 3437996"/>
              <a:gd name="csY56" fmla="*/ 229554 h 2018071"/>
              <a:gd name="csX57" fmla="*/ 185812 w 3437996"/>
              <a:gd name="csY57" fmla="*/ 231380 h 2018071"/>
              <a:gd name="csX58" fmla="*/ 213726 w 3437996"/>
              <a:gd name="csY58" fmla="*/ 239233 h 2018071"/>
              <a:gd name="csX59" fmla="*/ 416961 w 3437996"/>
              <a:gd name="csY59" fmla="*/ 299911 h 2018071"/>
              <a:gd name="csX60" fmla="*/ 622809 w 3437996"/>
              <a:gd name="csY60" fmla="*/ 305227 h 2018071"/>
              <a:gd name="csX61" fmla="*/ 1851374 w 3437996"/>
              <a:gd name="csY61" fmla="*/ 7502 h 2018071"/>
              <a:gd name="csX62" fmla="*/ 2119617 w 3437996"/>
              <a:gd name="csY62" fmla="*/ 86919 h 2018071"/>
              <a:gd name="csX63" fmla="*/ 2805452 w 3437996"/>
              <a:gd name="csY63" fmla="*/ 622669 h 2018071"/>
              <a:gd name="csX64" fmla="*/ 3047873 w 3437996"/>
              <a:gd name="csY64" fmla="*/ 889895 h 2018071"/>
              <a:gd name="csX65" fmla="*/ 3201337 w 3437996"/>
              <a:gd name="csY65" fmla="*/ 1065192 h 2018071"/>
              <a:gd name="csX66" fmla="*/ 3322212 w 3437996"/>
              <a:gd name="csY66" fmla="*/ 1262254 h 2018071"/>
              <a:gd name="csX67" fmla="*/ 3434603 w 3437996"/>
              <a:gd name="csY67" fmla="*/ 1463610 h 2018071"/>
              <a:gd name="csX68" fmla="*/ 3437317 w 3437996"/>
              <a:gd name="csY68" fmla="*/ 1496424 h 2018071"/>
              <a:gd name="csX69" fmla="*/ 3437173 w 3437996"/>
              <a:gd name="csY69" fmla="*/ 1502015 h 2018071"/>
              <a:gd name="csX70" fmla="*/ 3265778 w 3437996"/>
              <a:gd name="csY70" fmla="*/ 1437268 h 2018071"/>
              <a:gd name="csX71" fmla="*/ 3131933 w 3437996"/>
              <a:gd name="csY71" fmla="*/ 1283723 h 2018071"/>
              <a:gd name="csX72" fmla="*/ 2856351 w 3437996"/>
              <a:gd name="csY72" fmla="*/ 1004478 h 2018071"/>
              <a:gd name="csX73" fmla="*/ 2818150 w 3437996"/>
              <a:gd name="csY73" fmla="*/ 969213 h 2018071"/>
              <a:gd name="csX74" fmla="*/ 2654127 w 3437996"/>
              <a:gd name="csY74" fmla="*/ 825572 h 2018071"/>
              <a:gd name="csX75" fmla="*/ 2651783 w 3437996"/>
              <a:gd name="csY75" fmla="*/ 823279 h 2018071"/>
              <a:gd name="csX76" fmla="*/ 2644017 w 3437996"/>
              <a:gd name="csY76" fmla="*/ 814773 h 2018071"/>
              <a:gd name="csX77" fmla="*/ 2642551 w 3437996"/>
              <a:gd name="csY77" fmla="*/ 813746 h 2018071"/>
              <a:gd name="csX78" fmla="*/ 2634494 w 3437996"/>
              <a:gd name="csY78" fmla="*/ 805208 h 2018071"/>
              <a:gd name="csX79" fmla="*/ 2633053 w 3437996"/>
              <a:gd name="csY79" fmla="*/ 804210 h 2018071"/>
              <a:gd name="csX80" fmla="*/ 2624994 w 3437996"/>
              <a:gd name="csY80" fmla="*/ 795655 h 2018071"/>
              <a:gd name="csX81" fmla="*/ 2623570 w 3437996"/>
              <a:gd name="csY81" fmla="*/ 794675 h 2018071"/>
              <a:gd name="csX82" fmla="*/ 2615495 w 3437996"/>
              <a:gd name="csY82" fmla="*/ 786111 h 2018071"/>
              <a:gd name="csX83" fmla="*/ 2614082 w 3437996"/>
              <a:gd name="csY83" fmla="*/ 785113 h 2018071"/>
              <a:gd name="csX84" fmla="*/ 2606007 w 3437996"/>
              <a:gd name="csY84" fmla="*/ 776562 h 2018071"/>
              <a:gd name="csX85" fmla="*/ 2604609 w 3437996"/>
              <a:gd name="csY85" fmla="*/ 775538 h 2018071"/>
              <a:gd name="csX86" fmla="*/ 2596489 w 3437996"/>
              <a:gd name="csY86" fmla="*/ 767032 h 2018071"/>
              <a:gd name="csX87" fmla="*/ 2595095 w 3437996"/>
              <a:gd name="csY87" fmla="*/ 766006 h 2018071"/>
              <a:gd name="csX88" fmla="*/ 2586954 w 3437996"/>
              <a:gd name="csY88" fmla="*/ 757512 h 2018071"/>
              <a:gd name="csX89" fmla="*/ 2585558 w 3437996"/>
              <a:gd name="csY89" fmla="*/ 756496 h 2018071"/>
              <a:gd name="csX90" fmla="*/ 2577410 w 3437996"/>
              <a:gd name="csY90" fmla="*/ 748000 h 2018071"/>
              <a:gd name="csX91" fmla="*/ 2576006 w 3437996"/>
              <a:gd name="csY91" fmla="*/ 747002 h 2018071"/>
              <a:gd name="csX92" fmla="*/ 2567871 w 3437996"/>
              <a:gd name="csY92" fmla="*/ 738486 h 2018071"/>
              <a:gd name="csX93" fmla="*/ 2566459 w 3437996"/>
              <a:gd name="csY93" fmla="*/ 737499 h 2018071"/>
              <a:gd name="csX94" fmla="*/ 2558352 w 3437996"/>
              <a:gd name="csY94" fmla="*/ 728962 h 2018071"/>
              <a:gd name="csX95" fmla="*/ 2556937 w 3437996"/>
              <a:gd name="csY95" fmla="*/ 727967 h 2018071"/>
              <a:gd name="csX96" fmla="*/ 2548845 w 3437996"/>
              <a:gd name="csY96" fmla="*/ 719430 h 2018071"/>
              <a:gd name="csX97" fmla="*/ 2547432 w 3437996"/>
              <a:gd name="csY97" fmla="*/ 718414 h 2018071"/>
              <a:gd name="csX98" fmla="*/ 2539350 w 3437996"/>
              <a:gd name="csY98" fmla="*/ 709894 h 2018071"/>
              <a:gd name="csX99" fmla="*/ 2537942 w 3437996"/>
              <a:gd name="csY99" fmla="*/ 708842 h 2018071"/>
              <a:gd name="csX100" fmla="*/ 2529865 w 3437996"/>
              <a:gd name="csY100" fmla="*/ 700356 h 2018071"/>
              <a:gd name="csX101" fmla="*/ 2528460 w 3437996"/>
              <a:gd name="csY101" fmla="*/ 699259 h 2018071"/>
              <a:gd name="csX102" fmla="*/ 2520386 w 3437996"/>
              <a:gd name="csY102" fmla="*/ 690820 h 2018071"/>
              <a:gd name="csX103" fmla="*/ 2518981 w 3437996"/>
              <a:gd name="csY103" fmla="*/ 689668 h 2018071"/>
              <a:gd name="csX104" fmla="*/ 2510900 w 3437996"/>
              <a:gd name="csY104" fmla="*/ 681286 h 2018071"/>
              <a:gd name="csX105" fmla="*/ 2509493 w 3437996"/>
              <a:gd name="csY105" fmla="*/ 680082 h 2018071"/>
              <a:gd name="csX106" fmla="*/ 2501400 w 3437996"/>
              <a:gd name="csY106" fmla="*/ 671754 h 2018071"/>
              <a:gd name="csX107" fmla="*/ 2499991 w 3437996"/>
              <a:gd name="csY107" fmla="*/ 670520 h 2018071"/>
              <a:gd name="csX108" fmla="*/ 2491892 w 3437996"/>
              <a:gd name="csY108" fmla="*/ 662222 h 2018071"/>
              <a:gd name="csX109" fmla="*/ 2490482 w 3437996"/>
              <a:gd name="csY109" fmla="*/ 660967 h 2018071"/>
              <a:gd name="csX110" fmla="*/ 2482391 w 3437996"/>
              <a:gd name="csY110" fmla="*/ 652682 h 2018071"/>
              <a:gd name="csX111" fmla="*/ 2480984 w 3437996"/>
              <a:gd name="csY111" fmla="*/ 651408 h 2018071"/>
              <a:gd name="csX112" fmla="*/ 2472919 w 3437996"/>
              <a:gd name="csY112" fmla="*/ 643127 h 2018071"/>
              <a:gd name="csX113" fmla="*/ 2471515 w 3437996"/>
              <a:gd name="csY113" fmla="*/ 641819 h 2018071"/>
              <a:gd name="csX114" fmla="*/ 2463424 w 3437996"/>
              <a:gd name="csY114" fmla="*/ 633584 h 2018071"/>
              <a:gd name="csX115" fmla="*/ 2462020 w 3437996"/>
              <a:gd name="csY115" fmla="*/ 632257 h 2018071"/>
              <a:gd name="csX116" fmla="*/ 2453925 w 3437996"/>
              <a:gd name="csY116" fmla="*/ 624049 h 2018071"/>
              <a:gd name="csX117" fmla="*/ 2452516 w 3437996"/>
              <a:gd name="csY117" fmla="*/ 622702 h 2018071"/>
              <a:gd name="csX118" fmla="*/ 2444450 w 3437996"/>
              <a:gd name="csY118" fmla="*/ 614506 h 2018071"/>
              <a:gd name="csX119" fmla="*/ 2443026 w 3437996"/>
              <a:gd name="csY119" fmla="*/ 613123 h 2018071"/>
              <a:gd name="csX120" fmla="*/ 2434957 w 3437996"/>
              <a:gd name="csY120" fmla="*/ 604969 h 2018071"/>
              <a:gd name="csX121" fmla="*/ 2433519 w 3437996"/>
              <a:gd name="csY121" fmla="*/ 603563 h 2018071"/>
              <a:gd name="csX122" fmla="*/ 2425486 w 3437996"/>
              <a:gd name="csY122" fmla="*/ 595418 h 2018071"/>
              <a:gd name="csX123" fmla="*/ 2424029 w 3437996"/>
              <a:gd name="csY123" fmla="*/ 593985 h 2018071"/>
              <a:gd name="csX124" fmla="*/ 2416081 w 3437996"/>
              <a:gd name="csY124" fmla="*/ 585841 h 2018071"/>
              <a:gd name="csX125" fmla="*/ 2414563 w 3437996"/>
              <a:gd name="csY125" fmla="*/ 584358 h 2018071"/>
              <a:gd name="csX126" fmla="*/ 2406640 w 3437996"/>
              <a:gd name="csY126" fmla="*/ 576281 h 2018071"/>
              <a:gd name="csX127" fmla="*/ 2405068 w 3437996"/>
              <a:gd name="csY127" fmla="*/ 574761 h 2018071"/>
              <a:gd name="csX128" fmla="*/ 2397176 w 3437996"/>
              <a:gd name="csY128" fmla="*/ 566733 h 2018071"/>
              <a:gd name="csX129" fmla="*/ 2395561 w 3437996"/>
              <a:gd name="csY129" fmla="*/ 565186 h 2018071"/>
              <a:gd name="csX130" fmla="*/ 2387690 w 3437996"/>
              <a:gd name="csY130" fmla="*/ 557193 h 2018071"/>
              <a:gd name="csX131" fmla="*/ 2386050 w 3437996"/>
              <a:gd name="csY131" fmla="*/ 555624 h 2018071"/>
              <a:gd name="csX132" fmla="*/ 2378191 w 3437996"/>
              <a:gd name="csY132" fmla="*/ 547659 h 2018071"/>
              <a:gd name="csX133" fmla="*/ 2376534 w 3437996"/>
              <a:gd name="csY133" fmla="*/ 546075 h 2018071"/>
              <a:gd name="csX134" fmla="*/ 2368704 w 3437996"/>
              <a:gd name="csY134" fmla="*/ 538124 h 2018071"/>
              <a:gd name="csX135" fmla="*/ 2367021 w 3437996"/>
              <a:gd name="csY135" fmla="*/ 536517 h 2018071"/>
              <a:gd name="csX136" fmla="*/ 2360018 w 3437996"/>
              <a:gd name="csY136" fmla="*/ 529380 h 2018071"/>
              <a:gd name="csX137" fmla="*/ 2357514 w 3437996"/>
              <a:gd name="csY137" fmla="*/ 526933 h 2018071"/>
              <a:gd name="csX138" fmla="*/ 2350552 w 3437996"/>
              <a:gd name="csY138" fmla="*/ 519835 h 2018071"/>
              <a:gd name="csX139" fmla="*/ 2348016 w 3437996"/>
              <a:gd name="csY139" fmla="*/ 517342 h 2018071"/>
              <a:gd name="csX140" fmla="*/ 2341054 w 3437996"/>
              <a:gd name="csY140" fmla="*/ 510297 h 2018071"/>
              <a:gd name="csX141" fmla="*/ 2338508 w 3437996"/>
              <a:gd name="csY141" fmla="*/ 507777 h 2018071"/>
              <a:gd name="csX142" fmla="*/ 2331539 w 3437996"/>
              <a:gd name="csY142" fmla="*/ 500765 h 2018071"/>
              <a:gd name="csX143" fmla="*/ 2328991 w 3437996"/>
              <a:gd name="csY143" fmla="*/ 498236 h 2018071"/>
              <a:gd name="csX144" fmla="*/ 2322020 w 3437996"/>
              <a:gd name="csY144" fmla="*/ 491243 h 2018071"/>
              <a:gd name="csX145" fmla="*/ 2319465 w 3437996"/>
              <a:gd name="csY145" fmla="*/ 488702 h 2018071"/>
              <a:gd name="csX146" fmla="*/ 2312510 w 3437996"/>
              <a:gd name="csY146" fmla="*/ 481725 h 2018071"/>
              <a:gd name="csX147" fmla="*/ 2309941 w 3437996"/>
              <a:gd name="csY147" fmla="*/ 479158 h 2018071"/>
              <a:gd name="csX148" fmla="*/ 2303024 w 3437996"/>
              <a:gd name="csY148" fmla="*/ 472210 h 2018071"/>
              <a:gd name="csX149" fmla="*/ 2300428 w 3437996"/>
              <a:gd name="csY149" fmla="*/ 469578 h 2018071"/>
              <a:gd name="csX150" fmla="*/ 2293545 w 3437996"/>
              <a:gd name="csY150" fmla="*/ 462697 h 2018071"/>
              <a:gd name="csX151" fmla="*/ 2290922 w 3437996"/>
              <a:gd name="csY151" fmla="*/ 459984 h 2018071"/>
              <a:gd name="csX152" fmla="*/ 2284051 w 3437996"/>
              <a:gd name="csY152" fmla="*/ 453172 h 2018071"/>
              <a:gd name="csX153" fmla="*/ 2281414 w 3437996"/>
              <a:gd name="csY153" fmla="*/ 450403 h 2018071"/>
              <a:gd name="csX154" fmla="*/ 2274560 w 3437996"/>
              <a:gd name="csY154" fmla="*/ 443646 h 2018071"/>
              <a:gd name="csX155" fmla="*/ 2271906 w 3437996"/>
              <a:gd name="csY155" fmla="*/ 440826 h 2018071"/>
              <a:gd name="csX156" fmla="*/ 2265120 w 3437996"/>
              <a:gd name="csY156" fmla="*/ 434112 h 2018071"/>
              <a:gd name="csX157" fmla="*/ 2262409 w 3437996"/>
              <a:gd name="csY157" fmla="*/ 431189 h 2018071"/>
              <a:gd name="csX158" fmla="*/ 2255765 w 3437996"/>
              <a:gd name="csY158" fmla="*/ 424557 h 2018071"/>
              <a:gd name="csX159" fmla="*/ 2252962 w 3437996"/>
              <a:gd name="csY159" fmla="*/ 421458 h 2018071"/>
              <a:gd name="csX160" fmla="*/ 2246361 w 3437996"/>
              <a:gd name="csY160" fmla="*/ 414989 h 2018071"/>
              <a:gd name="csX161" fmla="*/ 2226101 w 3437996"/>
              <a:gd name="csY161" fmla="*/ 394472 h 2018071"/>
              <a:gd name="csX162" fmla="*/ 2204126 w 3437996"/>
              <a:gd name="csY162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21387 w 3437996"/>
              <a:gd name="csY47" fmla="*/ 708333 h 2018071"/>
              <a:gd name="csX48" fmla="*/ 30962 w 3437996"/>
              <a:gd name="csY48" fmla="*/ 642260 h 2018071"/>
              <a:gd name="csX49" fmla="*/ 40506 w 3437996"/>
              <a:gd name="csY49" fmla="*/ 584580 h 2018071"/>
              <a:gd name="csX50" fmla="*/ 49883 w 3437996"/>
              <a:gd name="csY50" fmla="*/ 529082 h 2018071"/>
              <a:gd name="csX51" fmla="*/ 88193 w 3437996"/>
              <a:gd name="csY51" fmla="*/ 269877 h 2018071"/>
              <a:gd name="csX52" fmla="*/ 89741 w 3437996"/>
              <a:gd name="csY52" fmla="*/ 253550 h 2018071"/>
              <a:gd name="csX53" fmla="*/ 98008 w 3437996"/>
              <a:gd name="csY53" fmla="*/ 233543 h 2018071"/>
              <a:gd name="csX54" fmla="*/ 99628 w 3437996"/>
              <a:gd name="csY54" fmla="*/ 231506 h 2018071"/>
              <a:gd name="csX55" fmla="*/ 182353 w 3437996"/>
              <a:gd name="csY55" fmla="*/ 229554 h 2018071"/>
              <a:gd name="csX56" fmla="*/ 185812 w 3437996"/>
              <a:gd name="csY56" fmla="*/ 231380 h 2018071"/>
              <a:gd name="csX57" fmla="*/ 213726 w 3437996"/>
              <a:gd name="csY57" fmla="*/ 239233 h 2018071"/>
              <a:gd name="csX58" fmla="*/ 416961 w 3437996"/>
              <a:gd name="csY58" fmla="*/ 299911 h 2018071"/>
              <a:gd name="csX59" fmla="*/ 622809 w 3437996"/>
              <a:gd name="csY59" fmla="*/ 305227 h 2018071"/>
              <a:gd name="csX60" fmla="*/ 1851374 w 3437996"/>
              <a:gd name="csY60" fmla="*/ 7502 h 2018071"/>
              <a:gd name="csX61" fmla="*/ 2119617 w 3437996"/>
              <a:gd name="csY61" fmla="*/ 86919 h 2018071"/>
              <a:gd name="csX62" fmla="*/ 2805452 w 3437996"/>
              <a:gd name="csY62" fmla="*/ 622669 h 2018071"/>
              <a:gd name="csX63" fmla="*/ 3047873 w 3437996"/>
              <a:gd name="csY63" fmla="*/ 889895 h 2018071"/>
              <a:gd name="csX64" fmla="*/ 3201337 w 3437996"/>
              <a:gd name="csY64" fmla="*/ 1065192 h 2018071"/>
              <a:gd name="csX65" fmla="*/ 3322212 w 3437996"/>
              <a:gd name="csY65" fmla="*/ 1262254 h 2018071"/>
              <a:gd name="csX66" fmla="*/ 3434603 w 3437996"/>
              <a:gd name="csY66" fmla="*/ 1463610 h 2018071"/>
              <a:gd name="csX67" fmla="*/ 3437317 w 3437996"/>
              <a:gd name="csY67" fmla="*/ 1496424 h 2018071"/>
              <a:gd name="csX68" fmla="*/ 3437173 w 3437996"/>
              <a:gd name="csY68" fmla="*/ 1502015 h 2018071"/>
              <a:gd name="csX69" fmla="*/ 3265778 w 3437996"/>
              <a:gd name="csY69" fmla="*/ 1437268 h 2018071"/>
              <a:gd name="csX70" fmla="*/ 3131933 w 3437996"/>
              <a:gd name="csY70" fmla="*/ 1283723 h 2018071"/>
              <a:gd name="csX71" fmla="*/ 2856351 w 3437996"/>
              <a:gd name="csY71" fmla="*/ 1004478 h 2018071"/>
              <a:gd name="csX72" fmla="*/ 2818150 w 3437996"/>
              <a:gd name="csY72" fmla="*/ 969213 h 2018071"/>
              <a:gd name="csX73" fmla="*/ 2654127 w 3437996"/>
              <a:gd name="csY73" fmla="*/ 825572 h 2018071"/>
              <a:gd name="csX74" fmla="*/ 2651783 w 3437996"/>
              <a:gd name="csY74" fmla="*/ 823279 h 2018071"/>
              <a:gd name="csX75" fmla="*/ 2644017 w 3437996"/>
              <a:gd name="csY75" fmla="*/ 814773 h 2018071"/>
              <a:gd name="csX76" fmla="*/ 2642551 w 3437996"/>
              <a:gd name="csY76" fmla="*/ 813746 h 2018071"/>
              <a:gd name="csX77" fmla="*/ 2634494 w 3437996"/>
              <a:gd name="csY77" fmla="*/ 805208 h 2018071"/>
              <a:gd name="csX78" fmla="*/ 2633053 w 3437996"/>
              <a:gd name="csY78" fmla="*/ 804210 h 2018071"/>
              <a:gd name="csX79" fmla="*/ 2624994 w 3437996"/>
              <a:gd name="csY79" fmla="*/ 795655 h 2018071"/>
              <a:gd name="csX80" fmla="*/ 2623570 w 3437996"/>
              <a:gd name="csY80" fmla="*/ 794675 h 2018071"/>
              <a:gd name="csX81" fmla="*/ 2615495 w 3437996"/>
              <a:gd name="csY81" fmla="*/ 786111 h 2018071"/>
              <a:gd name="csX82" fmla="*/ 2614082 w 3437996"/>
              <a:gd name="csY82" fmla="*/ 785113 h 2018071"/>
              <a:gd name="csX83" fmla="*/ 2606007 w 3437996"/>
              <a:gd name="csY83" fmla="*/ 776562 h 2018071"/>
              <a:gd name="csX84" fmla="*/ 2604609 w 3437996"/>
              <a:gd name="csY84" fmla="*/ 775538 h 2018071"/>
              <a:gd name="csX85" fmla="*/ 2596489 w 3437996"/>
              <a:gd name="csY85" fmla="*/ 767032 h 2018071"/>
              <a:gd name="csX86" fmla="*/ 2595095 w 3437996"/>
              <a:gd name="csY86" fmla="*/ 766006 h 2018071"/>
              <a:gd name="csX87" fmla="*/ 2586954 w 3437996"/>
              <a:gd name="csY87" fmla="*/ 757512 h 2018071"/>
              <a:gd name="csX88" fmla="*/ 2585558 w 3437996"/>
              <a:gd name="csY88" fmla="*/ 756496 h 2018071"/>
              <a:gd name="csX89" fmla="*/ 2577410 w 3437996"/>
              <a:gd name="csY89" fmla="*/ 748000 h 2018071"/>
              <a:gd name="csX90" fmla="*/ 2576006 w 3437996"/>
              <a:gd name="csY90" fmla="*/ 747002 h 2018071"/>
              <a:gd name="csX91" fmla="*/ 2567871 w 3437996"/>
              <a:gd name="csY91" fmla="*/ 738486 h 2018071"/>
              <a:gd name="csX92" fmla="*/ 2566459 w 3437996"/>
              <a:gd name="csY92" fmla="*/ 737499 h 2018071"/>
              <a:gd name="csX93" fmla="*/ 2558352 w 3437996"/>
              <a:gd name="csY93" fmla="*/ 728962 h 2018071"/>
              <a:gd name="csX94" fmla="*/ 2556937 w 3437996"/>
              <a:gd name="csY94" fmla="*/ 727967 h 2018071"/>
              <a:gd name="csX95" fmla="*/ 2548845 w 3437996"/>
              <a:gd name="csY95" fmla="*/ 719430 h 2018071"/>
              <a:gd name="csX96" fmla="*/ 2547432 w 3437996"/>
              <a:gd name="csY96" fmla="*/ 718414 h 2018071"/>
              <a:gd name="csX97" fmla="*/ 2539350 w 3437996"/>
              <a:gd name="csY97" fmla="*/ 709894 h 2018071"/>
              <a:gd name="csX98" fmla="*/ 2537942 w 3437996"/>
              <a:gd name="csY98" fmla="*/ 708842 h 2018071"/>
              <a:gd name="csX99" fmla="*/ 2529865 w 3437996"/>
              <a:gd name="csY99" fmla="*/ 700356 h 2018071"/>
              <a:gd name="csX100" fmla="*/ 2528460 w 3437996"/>
              <a:gd name="csY100" fmla="*/ 699259 h 2018071"/>
              <a:gd name="csX101" fmla="*/ 2520386 w 3437996"/>
              <a:gd name="csY101" fmla="*/ 690820 h 2018071"/>
              <a:gd name="csX102" fmla="*/ 2518981 w 3437996"/>
              <a:gd name="csY102" fmla="*/ 689668 h 2018071"/>
              <a:gd name="csX103" fmla="*/ 2510900 w 3437996"/>
              <a:gd name="csY103" fmla="*/ 681286 h 2018071"/>
              <a:gd name="csX104" fmla="*/ 2509493 w 3437996"/>
              <a:gd name="csY104" fmla="*/ 680082 h 2018071"/>
              <a:gd name="csX105" fmla="*/ 2501400 w 3437996"/>
              <a:gd name="csY105" fmla="*/ 671754 h 2018071"/>
              <a:gd name="csX106" fmla="*/ 2499991 w 3437996"/>
              <a:gd name="csY106" fmla="*/ 670520 h 2018071"/>
              <a:gd name="csX107" fmla="*/ 2491892 w 3437996"/>
              <a:gd name="csY107" fmla="*/ 662222 h 2018071"/>
              <a:gd name="csX108" fmla="*/ 2490482 w 3437996"/>
              <a:gd name="csY108" fmla="*/ 660967 h 2018071"/>
              <a:gd name="csX109" fmla="*/ 2482391 w 3437996"/>
              <a:gd name="csY109" fmla="*/ 652682 h 2018071"/>
              <a:gd name="csX110" fmla="*/ 2480984 w 3437996"/>
              <a:gd name="csY110" fmla="*/ 651408 h 2018071"/>
              <a:gd name="csX111" fmla="*/ 2472919 w 3437996"/>
              <a:gd name="csY111" fmla="*/ 643127 h 2018071"/>
              <a:gd name="csX112" fmla="*/ 2471515 w 3437996"/>
              <a:gd name="csY112" fmla="*/ 641819 h 2018071"/>
              <a:gd name="csX113" fmla="*/ 2463424 w 3437996"/>
              <a:gd name="csY113" fmla="*/ 633584 h 2018071"/>
              <a:gd name="csX114" fmla="*/ 2462020 w 3437996"/>
              <a:gd name="csY114" fmla="*/ 632257 h 2018071"/>
              <a:gd name="csX115" fmla="*/ 2453925 w 3437996"/>
              <a:gd name="csY115" fmla="*/ 624049 h 2018071"/>
              <a:gd name="csX116" fmla="*/ 2452516 w 3437996"/>
              <a:gd name="csY116" fmla="*/ 622702 h 2018071"/>
              <a:gd name="csX117" fmla="*/ 2444450 w 3437996"/>
              <a:gd name="csY117" fmla="*/ 614506 h 2018071"/>
              <a:gd name="csX118" fmla="*/ 2443026 w 3437996"/>
              <a:gd name="csY118" fmla="*/ 613123 h 2018071"/>
              <a:gd name="csX119" fmla="*/ 2434957 w 3437996"/>
              <a:gd name="csY119" fmla="*/ 604969 h 2018071"/>
              <a:gd name="csX120" fmla="*/ 2433519 w 3437996"/>
              <a:gd name="csY120" fmla="*/ 603563 h 2018071"/>
              <a:gd name="csX121" fmla="*/ 2425486 w 3437996"/>
              <a:gd name="csY121" fmla="*/ 595418 h 2018071"/>
              <a:gd name="csX122" fmla="*/ 2424029 w 3437996"/>
              <a:gd name="csY122" fmla="*/ 593985 h 2018071"/>
              <a:gd name="csX123" fmla="*/ 2416081 w 3437996"/>
              <a:gd name="csY123" fmla="*/ 585841 h 2018071"/>
              <a:gd name="csX124" fmla="*/ 2414563 w 3437996"/>
              <a:gd name="csY124" fmla="*/ 584358 h 2018071"/>
              <a:gd name="csX125" fmla="*/ 2406640 w 3437996"/>
              <a:gd name="csY125" fmla="*/ 576281 h 2018071"/>
              <a:gd name="csX126" fmla="*/ 2405068 w 3437996"/>
              <a:gd name="csY126" fmla="*/ 574761 h 2018071"/>
              <a:gd name="csX127" fmla="*/ 2397176 w 3437996"/>
              <a:gd name="csY127" fmla="*/ 566733 h 2018071"/>
              <a:gd name="csX128" fmla="*/ 2395561 w 3437996"/>
              <a:gd name="csY128" fmla="*/ 565186 h 2018071"/>
              <a:gd name="csX129" fmla="*/ 2387690 w 3437996"/>
              <a:gd name="csY129" fmla="*/ 557193 h 2018071"/>
              <a:gd name="csX130" fmla="*/ 2386050 w 3437996"/>
              <a:gd name="csY130" fmla="*/ 555624 h 2018071"/>
              <a:gd name="csX131" fmla="*/ 2378191 w 3437996"/>
              <a:gd name="csY131" fmla="*/ 547659 h 2018071"/>
              <a:gd name="csX132" fmla="*/ 2376534 w 3437996"/>
              <a:gd name="csY132" fmla="*/ 546075 h 2018071"/>
              <a:gd name="csX133" fmla="*/ 2368704 w 3437996"/>
              <a:gd name="csY133" fmla="*/ 538124 h 2018071"/>
              <a:gd name="csX134" fmla="*/ 2367021 w 3437996"/>
              <a:gd name="csY134" fmla="*/ 536517 h 2018071"/>
              <a:gd name="csX135" fmla="*/ 2360018 w 3437996"/>
              <a:gd name="csY135" fmla="*/ 529380 h 2018071"/>
              <a:gd name="csX136" fmla="*/ 2357514 w 3437996"/>
              <a:gd name="csY136" fmla="*/ 526933 h 2018071"/>
              <a:gd name="csX137" fmla="*/ 2350552 w 3437996"/>
              <a:gd name="csY137" fmla="*/ 519835 h 2018071"/>
              <a:gd name="csX138" fmla="*/ 2348016 w 3437996"/>
              <a:gd name="csY138" fmla="*/ 517342 h 2018071"/>
              <a:gd name="csX139" fmla="*/ 2341054 w 3437996"/>
              <a:gd name="csY139" fmla="*/ 510297 h 2018071"/>
              <a:gd name="csX140" fmla="*/ 2338508 w 3437996"/>
              <a:gd name="csY140" fmla="*/ 507777 h 2018071"/>
              <a:gd name="csX141" fmla="*/ 2331539 w 3437996"/>
              <a:gd name="csY141" fmla="*/ 500765 h 2018071"/>
              <a:gd name="csX142" fmla="*/ 2328991 w 3437996"/>
              <a:gd name="csY142" fmla="*/ 498236 h 2018071"/>
              <a:gd name="csX143" fmla="*/ 2322020 w 3437996"/>
              <a:gd name="csY143" fmla="*/ 491243 h 2018071"/>
              <a:gd name="csX144" fmla="*/ 2319465 w 3437996"/>
              <a:gd name="csY144" fmla="*/ 488702 h 2018071"/>
              <a:gd name="csX145" fmla="*/ 2312510 w 3437996"/>
              <a:gd name="csY145" fmla="*/ 481725 h 2018071"/>
              <a:gd name="csX146" fmla="*/ 2309941 w 3437996"/>
              <a:gd name="csY146" fmla="*/ 479158 h 2018071"/>
              <a:gd name="csX147" fmla="*/ 2303024 w 3437996"/>
              <a:gd name="csY147" fmla="*/ 472210 h 2018071"/>
              <a:gd name="csX148" fmla="*/ 2300428 w 3437996"/>
              <a:gd name="csY148" fmla="*/ 469578 h 2018071"/>
              <a:gd name="csX149" fmla="*/ 2293545 w 3437996"/>
              <a:gd name="csY149" fmla="*/ 462697 h 2018071"/>
              <a:gd name="csX150" fmla="*/ 2290922 w 3437996"/>
              <a:gd name="csY150" fmla="*/ 459984 h 2018071"/>
              <a:gd name="csX151" fmla="*/ 2284051 w 3437996"/>
              <a:gd name="csY151" fmla="*/ 453172 h 2018071"/>
              <a:gd name="csX152" fmla="*/ 2281414 w 3437996"/>
              <a:gd name="csY152" fmla="*/ 450403 h 2018071"/>
              <a:gd name="csX153" fmla="*/ 2274560 w 3437996"/>
              <a:gd name="csY153" fmla="*/ 443646 h 2018071"/>
              <a:gd name="csX154" fmla="*/ 2271906 w 3437996"/>
              <a:gd name="csY154" fmla="*/ 440826 h 2018071"/>
              <a:gd name="csX155" fmla="*/ 2265120 w 3437996"/>
              <a:gd name="csY155" fmla="*/ 434112 h 2018071"/>
              <a:gd name="csX156" fmla="*/ 2262409 w 3437996"/>
              <a:gd name="csY156" fmla="*/ 431189 h 2018071"/>
              <a:gd name="csX157" fmla="*/ 2255765 w 3437996"/>
              <a:gd name="csY157" fmla="*/ 424557 h 2018071"/>
              <a:gd name="csX158" fmla="*/ 2252962 w 3437996"/>
              <a:gd name="csY158" fmla="*/ 421458 h 2018071"/>
              <a:gd name="csX159" fmla="*/ 2246361 w 3437996"/>
              <a:gd name="csY159" fmla="*/ 414989 h 2018071"/>
              <a:gd name="csX160" fmla="*/ 2226101 w 3437996"/>
              <a:gd name="csY160" fmla="*/ 394472 h 2018071"/>
              <a:gd name="csX161" fmla="*/ 2204126 w 3437996"/>
              <a:gd name="csY161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30962 w 3437996"/>
              <a:gd name="csY47" fmla="*/ 642260 h 2018071"/>
              <a:gd name="csX48" fmla="*/ 40506 w 3437996"/>
              <a:gd name="csY48" fmla="*/ 584580 h 2018071"/>
              <a:gd name="csX49" fmla="*/ 49883 w 3437996"/>
              <a:gd name="csY49" fmla="*/ 529082 h 2018071"/>
              <a:gd name="csX50" fmla="*/ 88193 w 3437996"/>
              <a:gd name="csY50" fmla="*/ 269877 h 2018071"/>
              <a:gd name="csX51" fmla="*/ 89741 w 3437996"/>
              <a:gd name="csY51" fmla="*/ 253550 h 2018071"/>
              <a:gd name="csX52" fmla="*/ 98008 w 3437996"/>
              <a:gd name="csY52" fmla="*/ 233543 h 2018071"/>
              <a:gd name="csX53" fmla="*/ 99628 w 3437996"/>
              <a:gd name="csY53" fmla="*/ 231506 h 2018071"/>
              <a:gd name="csX54" fmla="*/ 182353 w 3437996"/>
              <a:gd name="csY54" fmla="*/ 229554 h 2018071"/>
              <a:gd name="csX55" fmla="*/ 185812 w 3437996"/>
              <a:gd name="csY55" fmla="*/ 231380 h 2018071"/>
              <a:gd name="csX56" fmla="*/ 213726 w 3437996"/>
              <a:gd name="csY56" fmla="*/ 239233 h 2018071"/>
              <a:gd name="csX57" fmla="*/ 416961 w 3437996"/>
              <a:gd name="csY57" fmla="*/ 299911 h 2018071"/>
              <a:gd name="csX58" fmla="*/ 622809 w 3437996"/>
              <a:gd name="csY58" fmla="*/ 305227 h 2018071"/>
              <a:gd name="csX59" fmla="*/ 1851374 w 3437996"/>
              <a:gd name="csY59" fmla="*/ 7502 h 2018071"/>
              <a:gd name="csX60" fmla="*/ 2119617 w 3437996"/>
              <a:gd name="csY60" fmla="*/ 86919 h 2018071"/>
              <a:gd name="csX61" fmla="*/ 2805452 w 3437996"/>
              <a:gd name="csY61" fmla="*/ 622669 h 2018071"/>
              <a:gd name="csX62" fmla="*/ 3047873 w 3437996"/>
              <a:gd name="csY62" fmla="*/ 889895 h 2018071"/>
              <a:gd name="csX63" fmla="*/ 3201337 w 3437996"/>
              <a:gd name="csY63" fmla="*/ 1065192 h 2018071"/>
              <a:gd name="csX64" fmla="*/ 3322212 w 3437996"/>
              <a:gd name="csY64" fmla="*/ 1262254 h 2018071"/>
              <a:gd name="csX65" fmla="*/ 3434603 w 3437996"/>
              <a:gd name="csY65" fmla="*/ 1463610 h 2018071"/>
              <a:gd name="csX66" fmla="*/ 3437317 w 3437996"/>
              <a:gd name="csY66" fmla="*/ 1496424 h 2018071"/>
              <a:gd name="csX67" fmla="*/ 3437173 w 3437996"/>
              <a:gd name="csY67" fmla="*/ 1502015 h 2018071"/>
              <a:gd name="csX68" fmla="*/ 3265778 w 3437996"/>
              <a:gd name="csY68" fmla="*/ 1437268 h 2018071"/>
              <a:gd name="csX69" fmla="*/ 3131933 w 3437996"/>
              <a:gd name="csY69" fmla="*/ 1283723 h 2018071"/>
              <a:gd name="csX70" fmla="*/ 2856351 w 3437996"/>
              <a:gd name="csY70" fmla="*/ 1004478 h 2018071"/>
              <a:gd name="csX71" fmla="*/ 2818150 w 3437996"/>
              <a:gd name="csY71" fmla="*/ 969213 h 2018071"/>
              <a:gd name="csX72" fmla="*/ 2654127 w 3437996"/>
              <a:gd name="csY72" fmla="*/ 825572 h 2018071"/>
              <a:gd name="csX73" fmla="*/ 2651783 w 3437996"/>
              <a:gd name="csY73" fmla="*/ 823279 h 2018071"/>
              <a:gd name="csX74" fmla="*/ 2644017 w 3437996"/>
              <a:gd name="csY74" fmla="*/ 814773 h 2018071"/>
              <a:gd name="csX75" fmla="*/ 2642551 w 3437996"/>
              <a:gd name="csY75" fmla="*/ 813746 h 2018071"/>
              <a:gd name="csX76" fmla="*/ 2634494 w 3437996"/>
              <a:gd name="csY76" fmla="*/ 805208 h 2018071"/>
              <a:gd name="csX77" fmla="*/ 2633053 w 3437996"/>
              <a:gd name="csY77" fmla="*/ 804210 h 2018071"/>
              <a:gd name="csX78" fmla="*/ 2624994 w 3437996"/>
              <a:gd name="csY78" fmla="*/ 795655 h 2018071"/>
              <a:gd name="csX79" fmla="*/ 2623570 w 3437996"/>
              <a:gd name="csY79" fmla="*/ 794675 h 2018071"/>
              <a:gd name="csX80" fmla="*/ 2615495 w 3437996"/>
              <a:gd name="csY80" fmla="*/ 786111 h 2018071"/>
              <a:gd name="csX81" fmla="*/ 2614082 w 3437996"/>
              <a:gd name="csY81" fmla="*/ 785113 h 2018071"/>
              <a:gd name="csX82" fmla="*/ 2606007 w 3437996"/>
              <a:gd name="csY82" fmla="*/ 776562 h 2018071"/>
              <a:gd name="csX83" fmla="*/ 2604609 w 3437996"/>
              <a:gd name="csY83" fmla="*/ 775538 h 2018071"/>
              <a:gd name="csX84" fmla="*/ 2596489 w 3437996"/>
              <a:gd name="csY84" fmla="*/ 767032 h 2018071"/>
              <a:gd name="csX85" fmla="*/ 2595095 w 3437996"/>
              <a:gd name="csY85" fmla="*/ 766006 h 2018071"/>
              <a:gd name="csX86" fmla="*/ 2586954 w 3437996"/>
              <a:gd name="csY86" fmla="*/ 757512 h 2018071"/>
              <a:gd name="csX87" fmla="*/ 2585558 w 3437996"/>
              <a:gd name="csY87" fmla="*/ 756496 h 2018071"/>
              <a:gd name="csX88" fmla="*/ 2577410 w 3437996"/>
              <a:gd name="csY88" fmla="*/ 748000 h 2018071"/>
              <a:gd name="csX89" fmla="*/ 2576006 w 3437996"/>
              <a:gd name="csY89" fmla="*/ 747002 h 2018071"/>
              <a:gd name="csX90" fmla="*/ 2567871 w 3437996"/>
              <a:gd name="csY90" fmla="*/ 738486 h 2018071"/>
              <a:gd name="csX91" fmla="*/ 2566459 w 3437996"/>
              <a:gd name="csY91" fmla="*/ 737499 h 2018071"/>
              <a:gd name="csX92" fmla="*/ 2558352 w 3437996"/>
              <a:gd name="csY92" fmla="*/ 728962 h 2018071"/>
              <a:gd name="csX93" fmla="*/ 2556937 w 3437996"/>
              <a:gd name="csY93" fmla="*/ 727967 h 2018071"/>
              <a:gd name="csX94" fmla="*/ 2548845 w 3437996"/>
              <a:gd name="csY94" fmla="*/ 719430 h 2018071"/>
              <a:gd name="csX95" fmla="*/ 2547432 w 3437996"/>
              <a:gd name="csY95" fmla="*/ 718414 h 2018071"/>
              <a:gd name="csX96" fmla="*/ 2539350 w 3437996"/>
              <a:gd name="csY96" fmla="*/ 709894 h 2018071"/>
              <a:gd name="csX97" fmla="*/ 2537942 w 3437996"/>
              <a:gd name="csY97" fmla="*/ 708842 h 2018071"/>
              <a:gd name="csX98" fmla="*/ 2529865 w 3437996"/>
              <a:gd name="csY98" fmla="*/ 700356 h 2018071"/>
              <a:gd name="csX99" fmla="*/ 2528460 w 3437996"/>
              <a:gd name="csY99" fmla="*/ 699259 h 2018071"/>
              <a:gd name="csX100" fmla="*/ 2520386 w 3437996"/>
              <a:gd name="csY100" fmla="*/ 690820 h 2018071"/>
              <a:gd name="csX101" fmla="*/ 2518981 w 3437996"/>
              <a:gd name="csY101" fmla="*/ 689668 h 2018071"/>
              <a:gd name="csX102" fmla="*/ 2510900 w 3437996"/>
              <a:gd name="csY102" fmla="*/ 681286 h 2018071"/>
              <a:gd name="csX103" fmla="*/ 2509493 w 3437996"/>
              <a:gd name="csY103" fmla="*/ 680082 h 2018071"/>
              <a:gd name="csX104" fmla="*/ 2501400 w 3437996"/>
              <a:gd name="csY104" fmla="*/ 671754 h 2018071"/>
              <a:gd name="csX105" fmla="*/ 2499991 w 3437996"/>
              <a:gd name="csY105" fmla="*/ 670520 h 2018071"/>
              <a:gd name="csX106" fmla="*/ 2491892 w 3437996"/>
              <a:gd name="csY106" fmla="*/ 662222 h 2018071"/>
              <a:gd name="csX107" fmla="*/ 2490482 w 3437996"/>
              <a:gd name="csY107" fmla="*/ 660967 h 2018071"/>
              <a:gd name="csX108" fmla="*/ 2482391 w 3437996"/>
              <a:gd name="csY108" fmla="*/ 652682 h 2018071"/>
              <a:gd name="csX109" fmla="*/ 2480984 w 3437996"/>
              <a:gd name="csY109" fmla="*/ 651408 h 2018071"/>
              <a:gd name="csX110" fmla="*/ 2472919 w 3437996"/>
              <a:gd name="csY110" fmla="*/ 643127 h 2018071"/>
              <a:gd name="csX111" fmla="*/ 2471515 w 3437996"/>
              <a:gd name="csY111" fmla="*/ 641819 h 2018071"/>
              <a:gd name="csX112" fmla="*/ 2463424 w 3437996"/>
              <a:gd name="csY112" fmla="*/ 633584 h 2018071"/>
              <a:gd name="csX113" fmla="*/ 2462020 w 3437996"/>
              <a:gd name="csY113" fmla="*/ 632257 h 2018071"/>
              <a:gd name="csX114" fmla="*/ 2453925 w 3437996"/>
              <a:gd name="csY114" fmla="*/ 624049 h 2018071"/>
              <a:gd name="csX115" fmla="*/ 2452516 w 3437996"/>
              <a:gd name="csY115" fmla="*/ 622702 h 2018071"/>
              <a:gd name="csX116" fmla="*/ 2444450 w 3437996"/>
              <a:gd name="csY116" fmla="*/ 614506 h 2018071"/>
              <a:gd name="csX117" fmla="*/ 2443026 w 3437996"/>
              <a:gd name="csY117" fmla="*/ 613123 h 2018071"/>
              <a:gd name="csX118" fmla="*/ 2434957 w 3437996"/>
              <a:gd name="csY118" fmla="*/ 604969 h 2018071"/>
              <a:gd name="csX119" fmla="*/ 2433519 w 3437996"/>
              <a:gd name="csY119" fmla="*/ 603563 h 2018071"/>
              <a:gd name="csX120" fmla="*/ 2425486 w 3437996"/>
              <a:gd name="csY120" fmla="*/ 595418 h 2018071"/>
              <a:gd name="csX121" fmla="*/ 2424029 w 3437996"/>
              <a:gd name="csY121" fmla="*/ 593985 h 2018071"/>
              <a:gd name="csX122" fmla="*/ 2416081 w 3437996"/>
              <a:gd name="csY122" fmla="*/ 585841 h 2018071"/>
              <a:gd name="csX123" fmla="*/ 2414563 w 3437996"/>
              <a:gd name="csY123" fmla="*/ 584358 h 2018071"/>
              <a:gd name="csX124" fmla="*/ 2406640 w 3437996"/>
              <a:gd name="csY124" fmla="*/ 576281 h 2018071"/>
              <a:gd name="csX125" fmla="*/ 2405068 w 3437996"/>
              <a:gd name="csY125" fmla="*/ 574761 h 2018071"/>
              <a:gd name="csX126" fmla="*/ 2397176 w 3437996"/>
              <a:gd name="csY126" fmla="*/ 566733 h 2018071"/>
              <a:gd name="csX127" fmla="*/ 2395561 w 3437996"/>
              <a:gd name="csY127" fmla="*/ 565186 h 2018071"/>
              <a:gd name="csX128" fmla="*/ 2387690 w 3437996"/>
              <a:gd name="csY128" fmla="*/ 557193 h 2018071"/>
              <a:gd name="csX129" fmla="*/ 2386050 w 3437996"/>
              <a:gd name="csY129" fmla="*/ 555624 h 2018071"/>
              <a:gd name="csX130" fmla="*/ 2378191 w 3437996"/>
              <a:gd name="csY130" fmla="*/ 547659 h 2018071"/>
              <a:gd name="csX131" fmla="*/ 2376534 w 3437996"/>
              <a:gd name="csY131" fmla="*/ 546075 h 2018071"/>
              <a:gd name="csX132" fmla="*/ 2368704 w 3437996"/>
              <a:gd name="csY132" fmla="*/ 538124 h 2018071"/>
              <a:gd name="csX133" fmla="*/ 2367021 w 3437996"/>
              <a:gd name="csY133" fmla="*/ 536517 h 2018071"/>
              <a:gd name="csX134" fmla="*/ 2360018 w 3437996"/>
              <a:gd name="csY134" fmla="*/ 529380 h 2018071"/>
              <a:gd name="csX135" fmla="*/ 2357514 w 3437996"/>
              <a:gd name="csY135" fmla="*/ 526933 h 2018071"/>
              <a:gd name="csX136" fmla="*/ 2350552 w 3437996"/>
              <a:gd name="csY136" fmla="*/ 519835 h 2018071"/>
              <a:gd name="csX137" fmla="*/ 2348016 w 3437996"/>
              <a:gd name="csY137" fmla="*/ 517342 h 2018071"/>
              <a:gd name="csX138" fmla="*/ 2341054 w 3437996"/>
              <a:gd name="csY138" fmla="*/ 510297 h 2018071"/>
              <a:gd name="csX139" fmla="*/ 2338508 w 3437996"/>
              <a:gd name="csY139" fmla="*/ 507777 h 2018071"/>
              <a:gd name="csX140" fmla="*/ 2331539 w 3437996"/>
              <a:gd name="csY140" fmla="*/ 500765 h 2018071"/>
              <a:gd name="csX141" fmla="*/ 2328991 w 3437996"/>
              <a:gd name="csY141" fmla="*/ 498236 h 2018071"/>
              <a:gd name="csX142" fmla="*/ 2322020 w 3437996"/>
              <a:gd name="csY142" fmla="*/ 491243 h 2018071"/>
              <a:gd name="csX143" fmla="*/ 2319465 w 3437996"/>
              <a:gd name="csY143" fmla="*/ 488702 h 2018071"/>
              <a:gd name="csX144" fmla="*/ 2312510 w 3437996"/>
              <a:gd name="csY144" fmla="*/ 481725 h 2018071"/>
              <a:gd name="csX145" fmla="*/ 2309941 w 3437996"/>
              <a:gd name="csY145" fmla="*/ 479158 h 2018071"/>
              <a:gd name="csX146" fmla="*/ 2303024 w 3437996"/>
              <a:gd name="csY146" fmla="*/ 472210 h 2018071"/>
              <a:gd name="csX147" fmla="*/ 2300428 w 3437996"/>
              <a:gd name="csY147" fmla="*/ 469578 h 2018071"/>
              <a:gd name="csX148" fmla="*/ 2293545 w 3437996"/>
              <a:gd name="csY148" fmla="*/ 462697 h 2018071"/>
              <a:gd name="csX149" fmla="*/ 2290922 w 3437996"/>
              <a:gd name="csY149" fmla="*/ 459984 h 2018071"/>
              <a:gd name="csX150" fmla="*/ 2284051 w 3437996"/>
              <a:gd name="csY150" fmla="*/ 453172 h 2018071"/>
              <a:gd name="csX151" fmla="*/ 2281414 w 3437996"/>
              <a:gd name="csY151" fmla="*/ 450403 h 2018071"/>
              <a:gd name="csX152" fmla="*/ 2274560 w 3437996"/>
              <a:gd name="csY152" fmla="*/ 443646 h 2018071"/>
              <a:gd name="csX153" fmla="*/ 2271906 w 3437996"/>
              <a:gd name="csY153" fmla="*/ 440826 h 2018071"/>
              <a:gd name="csX154" fmla="*/ 2265120 w 3437996"/>
              <a:gd name="csY154" fmla="*/ 434112 h 2018071"/>
              <a:gd name="csX155" fmla="*/ 2262409 w 3437996"/>
              <a:gd name="csY155" fmla="*/ 431189 h 2018071"/>
              <a:gd name="csX156" fmla="*/ 2255765 w 3437996"/>
              <a:gd name="csY156" fmla="*/ 424557 h 2018071"/>
              <a:gd name="csX157" fmla="*/ 2252962 w 3437996"/>
              <a:gd name="csY157" fmla="*/ 421458 h 2018071"/>
              <a:gd name="csX158" fmla="*/ 2246361 w 3437996"/>
              <a:gd name="csY158" fmla="*/ 414989 h 2018071"/>
              <a:gd name="csX159" fmla="*/ 2226101 w 3437996"/>
              <a:gd name="csY159" fmla="*/ 394472 h 2018071"/>
              <a:gd name="csX160" fmla="*/ 2204126 w 3437996"/>
              <a:gd name="csY160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40506 w 3437996"/>
              <a:gd name="csY47" fmla="*/ 584580 h 2018071"/>
              <a:gd name="csX48" fmla="*/ 49883 w 3437996"/>
              <a:gd name="csY48" fmla="*/ 529082 h 2018071"/>
              <a:gd name="csX49" fmla="*/ 88193 w 3437996"/>
              <a:gd name="csY49" fmla="*/ 269877 h 2018071"/>
              <a:gd name="csX50" fmla="*/ 89741 w 3437996"/>
              <a:gd name="csY50" fmla="*/ 253550 h 2018071"/>
              <a:gd name="csX51" fmla="*/ 98008 w 3437996"/>
              <a:gd name="csY51" fmla="*/ 233543 h 2018071"/>
              <a:gd name="csX52" fmla="*/ 99628 w 3437996"/>
              <a:gd name="csY52" fmla="*/ 231506 h 2018071"/>
              <a:gd name="csX53" fmla="*/ 182353 w 3437996"/>
              <a:gd name="csY53" fmla="*/ 229554 h 2018071"/>
              <a:gd name="csX54" fmla="*/ 185812 w 3437996"/>
              <a:gd name="csY54" fmla="*/ 231380 h 2018071"/>
              <a:gd name="csX55" fmla="*/ 213726 w 3437996"/>
              <a:gd name="csY55" fmla="*/ 239233 h 2018071"/>
              <a:gd name="csX56" fmla="*/ 416961 w 3437996"/>
              <a:gd name="csY56" fmla="*/ 299911 h 2018071"/>
              <a:gd name="csX57" fmla="*/ 622809 w 3437996"/>
              <a:gd name="csY57" fmla="*/ 305227 h 2018071"/>
              <a:gd name="csX58" fmla="*/ 1851374 w 3437996"/>
              <a:gd name="csY58" fmla="*/ 7502 h 2018071"/>
              <a:gd name="csX59" fmla="*/ 2119617 w 3437996"/>
              <a:gd name="csY59" fmla="*/ 86919 h 2018071"/>
              <a:gd name="csX60" fmla="*/ 2805452 w 3437996"/>
              <a:gd name="csY60" fmla="*/ 622669 h 2018071"/>
              <a:gd name="csX61" fmla="*/ 3047873 w 3437996"/>
              <a:gd name="csY61" fmla="*/ 889895 h 2018071"/>
              <a:gd name="csX62" fmla="*/ 3201337 w 3437996"/>
              <a:gd name="csY62" fmla="*/ 1065192 h 2018071"/>
              <a:gd name="csX63" fmla="*/ 3322212 w 3437996"/>
              <a:gd name="csY63" fmla="*/ 1262254 h 2018071"/>
              <a:gd name="csX64" fmla="*/ 3434603 w 3437996"/>
              <a:gd name="csY64" fmla="*/ 1463610 h 2018071"/>
              <a:gd name="csX65" fmla="*/ 3437317 w 3437996"/>
              <a:gd name="csY65" fmla="*/ 1496424 h 2018071"/>
              <a:gd name="csX66" fmla="*/ 3437173 w 3437996"/>
              <a:gd name="csY66" fmla="*/ 1502015 h 2018071"/>
              <a:gd name="csX67" fmla="*/ 3265778 w 3437996"/>
              <a:gd name="csY67" fmla="*/ 1437268 h 2018071"/>
              <a:gd name="csX68" fmla="*/ 3131933 w 3437996"/>
              <a:gd name="csY68" fmla="*/ 1283723 h 2018071"/>
              <a:gd name="csX69" fmla="*/ 2856351 w 3437996"/>
              <a:gd name="csY69" fmla="*/ 1004478 h 2018071"/>
              <a:gd name="csX70" fmla="*/ 2818150 w 3437996"/>
              <a:gd name="csY70" fmla="*/ 969213 h 2018071"/>
              <a:gd name="csX71" fmla="*/ 2654127 w 3437996"/>
              <a:gd name="csY71" fmla="*/ 825572 h 2018071"/>
              <a:gd name="csX72" fmla="*/ 2651783 w 3437996"/>
              <a:gd name="csY72" fmla="*/ 823279 h 2018071"/>
              <a:gd name="csX73" fmla="*/ 2644017 w 3437996"/>
              <a:gd name="csY73" fmla="*/ 814773 h 2018071"/>
              <a:gd name="csX74" fmla="*/ 2642551 w 3437996"/>
              <a:gd name="csY74" fmla="*/ 813746 h 2018071"/>
              <a:gd name="csX75" fmla="*/ 2634494 w 3437996"/>
              <a:gd name="csY75" fmla="*/ 805208 h 2018071"/>
              <a:gd name="csX76" fmla="*/ 2633053 w 3437996"/>
              <a:gd name="csY76" fmla="*/ 804210 h 2018071"/>
              <a:gd name="csX77" fmla="*/ 2624994 w 3437996"/>
              <a:gd name="csY77" fmla="*/ 795655 h 2018071"/>
              <a:gd name="csX78" fmla="*/ 2623570 w 3437996"/>
              <a:gd name="csY78" fmla="*/ 794675 h 2018071"/>
              <a:gd name="csX79" fmla="*/ 2615495 w 3437996"/>
              <a:gd name="csY79" fmla="*/ 786111 h 2018071"/>
              <a:gd name="csX80" fmla="*/ 2614082 w 3437996"/>
              <a:gd name="csY80" fmla="*/ 785113 h 2018071"/>
              <a:gd name="csX81" fmla="*/ 2606007 w 3437996"/>
              <a:gd name="csY81" fmla="*/ 776562 h 2018071"/>
              <a:gd name="csX82" fmla="*/ 2604609 w 3437996"/>
              <a:gd name="csY82" fmla="*/ 775538 h 2018071"/>
              <a:gd name="csX83" fmla="*/ 2596489 w 3437996"/>
              <a:gd name="csY83" fmla="*/ 767032 h 2018071"/>
              <a:gd name="csX84" fmla="*/ 2595095 w 3437996"/>
              <a:gd name="csY84" fmla="*/ 766006 h 2018071"/>
              <a:gd name="csX85" fmla="*/ 2586954 w 3437996"/>
              <a:gd name="csY85" fmla="*/ 757512 h 2018071"/>
              <a:gd name="csX86" fmla="*/ 2585558 w 3437996"/>
              <a:gd name="csY86" fmla="*/ 756496 h 2018071"/>
              <a:gd name="csX87" fmla="*/ 2577410 w 3437996"/>
              <a:gd name="csY87" fmla="*/ 748000 h 2018071"/>
              <a:gd name="csX88" fmla="*/ 2576006 w 3437996"/>
              <a:gd name="csY88" fmla="*/ 747002 h 2018071"/>
              <a:gd name="csX89" fmla="*/ 2567871 w 3437996"/>
              <a:gd name="csY89" fmla="*/ 738486 h 2018071"/>
              <a:gd name="csX90" fmla="*/ 2566459 w 3437996"/>
              <a:gd name="csY90" fmla="*/ 737499 h 2018071"/>
              <a:gd name="csX91" fmla="*/ 2558352 w 3437996"/>
              <a:gd name="csY91" fmla="*/ 728962 h 2018071"/>
              <a:gd name="csX92" fmla="*/ 2556937 w 3437996"/>
              <a:gd name="csY92" fmla="*/ 727967 h 2018071"/>
              <a:gd name="csX93" fmla="*/ 2548845 w 3437996"/>
              <a:gd name="csY93" fmla="*/ 719430 h 2018071"/>
              <a:gd name="csX94" fmla="*/ 2547432 w 3437996"/>
              <a:gd name="csY94" fmla="*/ 718414 h 2018071"/>
              <a:gd name="csX95" fmla="*/ 2539350 w 3437996"/>
              <a:gd name="csY95" fmla="*/ 709894 h 2018071"/>
              <a:gd name="csX96" fmla="*/ 2537942 w 3437996"/>
              <a:gd name="csY96" fmla="*/ 708842 h 2018071"/>
              <a:gd name="csX97" fmla="*/ 2529865 w 3437996"/>
              <a:gd name="csY97" fmla="*/ 700356 h 2018071"/>
              <a:gd name="csX98" fmla="*/ 2528460 w 3437996"/>
              <a:gd name="csY98" fmla="*/ 699259 h 2018071"/>
              <a:gd name="csX99" fmla="*/ 2520386 w 3437996"/>
              <a:gd name="csY99" fmla="*/ 690820 h 2018071"/>
              <a:gd name="csX100" fmla="*/ 2518981 w 3437996"/>
              <a:gd name="csY100" fmla="*/ 689668 h 2018071"/>
              <a:gd name="csX101" fmla="*/ 2510900 w 3437996"/>
              <a:gd name="csY101" fmla="*/ 681286 h 2018071"/>
              <a:gd name="csX102" fmla="*/ 2509493 w 3437996"/>
              <a:gd name="csY102" fmla="*/ 680082 h 2018071"/>
              <a:gd name="csX103" fmla="*/ 2501400 w 3437996"/>
              <a:gd name="csY103" fmla="*/ 671754 h 2018071"/>
              <a:gd name="csX104" fmla="*/ 2499991 w 3437996"/>
              <a:gd name="csY104" fmla="*/ 670520 h 2018071"/>
              <a:gd name="csX105" fmla="*/ 2491892 w 3437996"/>
              <a:gd name="csY105" fmla="*/ 662222 h 2018071"/>
              <a:gd name="csX106" fmla="*/ 2490482 w 3437996"/>
              <a:gd name="csY106" fmla="*/ 660967 h 2018071"/>
              <a:gd name="csX107" fmla="*/ 2482391 w 3437996"/>
              <a:gd name="csY107" fmla="*/ 652682 h 2018071"/>
              <a:gd name="csX108" fmla="*/ 2480984 w 3437996"/>
              <a:gd name="csY108" fmla="*/ 651408 h 2018071"/>
              <a:gd name="csX109" fmla="*/ 2472919 w 3437996"/>
              <a:gd name="csY109" fmla="*/ 643127 h 2018071"/>
              <a:gd name="csX110" fmla="*/ 2471515 w 3437996"/>
              <a:gd name="csY110" fmla="*/ 641819 h 2018071"/>
              <a:gd name="csX111" fmla="*/ 2463424 w 3437996"/>
              <a:gd name="csY111" fmla="*/ 633584 h 2018071"/>
              <a:gd name="csX112" fmla="*/ 2462020 w 3437996"/>
              <a:gd name="csY112" fmla="*/ 632257 h 2018071"/>
              <a:gd name="csX113" fmla="*/ 2453925 w 3437996"/>
              <a:gd name="csY113" fmla="*/ 624049 h 2018071"/>
              <a:gd name="csX114" fmla="*/ 2452516 w 3437996"/>
              <a:gd name="csY114" fmla="*/ 622702 h 2018071"/>
              <a:gd name="csX115" fmla="*/ 2444450 w 3437996"/>
              <a:gd name="csY115" fmla="*/ 614506 h 2018071"/>
              <a:gd name="csX116" fmla="*/ 2443026 w 3437996"/>
              <a:gd name="csY116" fmla="*/ 613123 h 2018071"/>
              <a:gd name="csX117" fmla="*/ 2434957 w 3437996"/>
              <a:gd name="csY117" fmla="*/ 604969 h 2018071"/>
              <a:gd name="csX118" fmla="*/ 2433519 w 3437996"/>
              <a:gd name="csY118" fmla="*/ 603563 h 2018071"/>
              <a:gd name="csX119" fmla="*/ 2425486 w 3437996"/>
              <a:gd name="csY119" fmla="*/ 595418 h 2018071"/>
              <a:gd name="csX120" fmla="*/ 2424029 w 3437996"/>
              <a:gd name="csY120" fmla="*/ 593985 h 2018071"/>
              <a:gd name="csX121" fmla="*/ 2416081 w 3437996"/>
              <a:gd name="csY121" fmla="*/ 585841 h 2018071"/>
              <a:gd name="csX122" fmla="*/ 2414563 w 3437996"/>
              <a:gd name="csY122" fmla="*/ 584358 h 2018071"/>
              <a:gd name="csX123" fmla="*/ 2406640 w 3437996"/>
              <a:gd name="csY123" fmla="*/ 576281 h 2018071"/>
              <a:gd name="csX124" fmla="*/ 2405068 w 3437996"/>
              <a:gd name="csY124" fmla="*/ 574761 h 2018071"/>
              <a:gd name="csX125" fmla="*/ 2397176 w 3437996"/>
              <a:gd name="csY125" fmla="*/ 566733 h 2018071"/>
              <a:gd name="csX126" fmla="*/ 2395561 w 3437996"/>
              <a:gd name="csY126" fmla="*/ 565186 h 2018071"/>
              <a:gd name="csX127" fmla="*/ 2387690 w 3437996"/>
              <a:gd name="csY127" fmla="*/ 557193 h 2018071"/>
              <a:gd name="csX128" fmla="*/ 2386050 w 3437996"/>
              <a:gd name="csY128" fmla="*/ 555624 h 2018071"/>
              <a:gd name="csX129" fmla="*/ 2378191 w 3437996"/>
              <a:gd name="csY129" fmla="*/ 547659 h 2018071"/>
              <a:gd name="csX130" fmla="*/ 2376534 w 3437996"/>
              <a:gd name="csY130" fmla="*/ 546075 h 2018071"/>
              <a:gd name="csX131" fmla="*/ 2368704 w 3437996"/>
              <a:gd name="csY131" fmla="*/ 538124 h 2018071"/>
              <a:gd name="csX132" fmla="*/ 2367021 w 3437996"/>
              <a:gd name="csY132" fmla="*/ 536517 h 2018071"/>
              <a:gd name="csX133" fmla="*/ 2360018 w 3437996"/>
              <a:gd name="csY133" fmla="*/ 529380 h 2018071"/>
              <a:gd name="csX134" fmla="*/ 2357514 w 3437996"/>
              <a:gd name="csY134" fmla="*/ 526933 h 2018071"/>
              <a:gd name="csX135" fmla="*/ 2350552 w 3437996"/>
              <a:gd name="csY135" fmla="*/ 519835 h 2018071"/>
              <a:gd name="csX136" fmla="*/ 2348016 w 3437996"/>
              <a:gd name="csY136" fmla="*/ 517342 h 2018071"/>
              <a:gd name="csX137" fmla="*/ 2341054 w 3437996"/>
              <a:gd name="csY137" fmla="*/ 510297 h 2018071"/>
              <a:gd name="csX138" fmla="*/ 2338508 w 3437996"/>
              <a:gd name="csY138" fmla="*/ 507777 h 2018071"/>
              <a:gd name="csX139" fmla="*/ 2331539 w 3437996"/>
              <a:gd name="csY139" fmla="*/ 500765 h 2018071"/>
              <a:gd name="csX140" fmla="*/ 2328991 w 3437996"/>
              <a:gd name="csY140" fmla="*/ 498236 h 2018071"/>
              <a:gd name="csX141" fmla="*/ 2322020 w 3437996"/>
              <a:gd name="csY141" fmla="*/ 491243 h 2018071"/>
              <a:gd name="csX142" fmla="*/ 2319465 w 3437996"/>
              <a:gd name="csY142" fmla="*/ 488702 h 2018071"/>
              <a:gd name="csX143" fmla="*/ 2312510 w 3437996"/>
              <a:gd name="csY143" fmla="*/ 481725 h 2018071"/>
              <a:gd name="csX144" fmla="*/ 2309941 w 3437996"/>
              <a:gd name="csY144" fmla="*/ 479158 h 2018071"/>
              <a:gd name="csX145" fmla="*/ 2303024 w 3437996"/>
              <a:gd name="csY145" fmla="*/ 472210 h 2018071"/>
              <a:gd name="csX146" fmla="*/ 2300428 w 3437996"/>
              <a:gd name="csY146" fmla="*/ 469578 h 2018071"/>
              <a:gd name="csX147" fmla="*/ 2293545 w 3437996"/>
              <a:gd name="csY147" fmla="*/ 462697 h 2018071"/>
              <a:gd name="csX148" fmla="*/ 2290922 w 3437996"/>
              <a:gd name="csY148" fmla="*/ 459984 h 2018071"/>
              <a:gd name="csX149" fmla="*/ 2284051 w 3437996"/>
              <a:gd name="csY149" fmla="*/ 453172 h 2018071"/>
              <a:gd name="csX150" fmla="*/ 2281414 w 3437996"/>
              <a:gd name="csY150" fmla="*/ 450403 h 2018071"/>
              <a:gd name="csX151" fmla="*/ 2274560 w 3437996"/>
              <a:gd name="csY151" fmla="*/ 443646 h 2018071"/>
              <a:gd name="csX152" fmla="*/ 2271906 w 3437996"/>
              <a:gd name="csY152" fmla="*/ 440826 h 2018071"/>
              <a:gd name="csX153" fmla="*/ 2265120 w 3437996"/>
              <a:gd name="csY153" fmla="*/ 434112 h 2018071"/>
              <a:gd name="csX154" fmla="*/ 2262409 w 3437996"/>
              <a:gd name="csY154" fmla="*/ 431189 h 2018071"/>
              <a:gd name="csX155" fmla="*/ 2255765 w 3437996"/>
              <a:gd name="csY155" fmla="*/ 424557 h 2018071"/>
              <a:gd name="csX156" fmla="*/ 2252962 w 3437996"/>
              <a:gd name="csY156" fmla="*/ 421458 h 2018071"/>
              <a:gd name="csX157" fmla="*/ 2246361 w 3437996"/>
              <a:gd name="csY157" fmla="*/ 414989 h 2018071"/>
              <a:gd name="csX158" fmla="*/ 2226101 w 3437996"/>
              <a:gd name="csY158" fmla="*/ 394472 h 2018071"/>
              <a:gd name="csX159" fmla="*/ 2204126 w 3437996"/>
              <a:gd name="csY159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49883 w 3437996"/>
              <a:gd name="csY47" fmla="*/ 529082 h 2018071"/>
              <a:gd name="csX48" fmla="*/ 88193 w 3437996"/>
              <a:gd name="csY48" fmla="*/ 269877 h 2018071"/>
              <a:gd name="csX49" fmla="*/ 89741 w 3437996"/>
              <a:gd name="csY49" fmla="*/ 253550 h 2018071"/>
              <a:gd name="csX50" fmla="*/ 98008 w 3437996"/>
              <a:gd name="csY50" fmla="*/ 233543 h 2018071"/>
              <a:gd name="csX51" fmla="*/ 99628 w 3437996"/>
              <a:gd name="csY51" fmla="*/ 231506 h 2018071"/>
              <a:gd name="csX52" fmla="*/ 182353 w 3437996"/>
              <a:gd name="csY52" fmla="*/ 229554 h 2018071"/>
              <a:gd name="csX53" fmla="*/ 185812 w 3437996"/>
              <a:gd name="csY53" fmla="*/ 231380 h 2018071"/>
              <a:gd name="csX54" fmla="*/ 213726 w 3437996"/>
              <a:gd name="csY54" fmla="*/ 239233 h 2018071"/>
              <a:gd name="csX55" fmla="*/ 416961 w 3437996"/>
              <a:gd name="csY55" fmla="*/ 299911 h 2018071"/>
              <a:gd name="csX56" fmla="*/ 622809 w 3437996"/>
              <a:gd name="csY56" fmla="*/ 305227 h 2018071"/>
              <a:gd name="csX57" fmla="*/ 1851374 w 3437996"/>
              <a:gd name="csY57" fmla="*/ 7502 h 2018071"/>
              <a:gd name="csX58" fmla="*/ 2119617 w 3437996"/>
              <a:gd name="csY58" fmla="*/ 86919 h 2018071"/>
              <a:gd name="csX59" fmla="*/ 2805452 w 3437996"/>
              <a:gd name="csY59" fmla="*/ 622669 h 2018071"/>
              <a:gd name="csX60" fmla="*/ 3047873 w 3437996"/>
              <a:gd name="csY60" fmla="*/ 889895 h 2018071"/>
              <a:gd name="csX61" fmla="*/ 3201337 w 3437996"/>
              <a:gd name="csY61" fmla="*/ 1065192 h 2018071"/>
              <a:gd name="csX62" fmla="*/ 3322212 w 3437996"/>
              <a:gd name="csY62" fmla="*/ 1262254 h 2018071"/>
              <a:gd name="csX63" fmla="*/ 3434603 w 3437996"/>
              <a:gd name="csY63" fmla="*/ 1463610 h 2018071"/>
              <a:gd name="csX64" fmla="*/ 3437317 w 3437996"/>
              <a:gd name="csY64" fmla="*/ 1496424 h 2018071"/>
              <a:gd name="csX65" fmla="*/ 3437173 w 3437996"/>
              <a:gd name="csY65" fmla="*/ 1502015 h 2018071"/>
              <a:gd name="csX66" fmla="*/ 3265778 w 3437996"/>
              <a:gd name="csY66" fmla="*/ 1437268 h 2018071"/>
              <a:gd name="csX67" fmla="*/ 3131933 w 3437996"/>
              <a:gd name="csY67" fmla="*/ 1283723 h 2018071"/>
              <a:gd name="csX68" fmla="*/ 2856351 w 3437996"/>
              <a:gd name="csY68" fmla="*/ 1004478 h 2018071"/>
              <a:gd name="csX69" fmla="*/ 2818150 w 3437996"/>
              <a:gd name="csY69" fmla="*/ 969213 h 2018071"/>
              <a:gd name="csX70" fmla="*/ 2654127 w 3437996"/>
              <a:gd name="csY70" fmla="*/ 825572 h 2018071"/>
              <a:gd name="csX71" fmla="*/ 2651783 w 3437996"/>
              <a:gd name="csY71" fmla="*/ 823279 h 2018071"/>
              <a:gd name="csX72" fmla="*/ 2644017 w 3437996"/>
              <a:gd name="csY72" fmla="*/ 814773 h 2018071"/>
              <a:gd name="csX73" fmla="*/ 2642551 w 3437996"/>
              <a:gd name="csY73" fmla="*/ 813746 h 2018071"/>
              <a:gd name="csX74" fmla="*/ 2634494 w 3437996"/>
              <a:gd name="csY74" fmla="*/ 805208 h 2018071"/>
              <a:gd name="csX75" fmla="*/ 2633053 w 3437996"/>
              <a:gd name="csY75" fmla="*/ 804210 h 2018071"/>
              <a:gd name="csX76" fmla="*/ 2624994 w 3437996"/>
              <a:gd name="csY76" fmla="*/ 795655 h 2018071"/>
              <a:gd name="csX77" fmla="*/ 2623570 w 3437996"/>
              <a:gd name="csY77" fmla="*/ 794675 h 2018071"/>
              <a:gd name="csX78" fmla="*/ 2615495 w 3437996"/>
              <a:gd name="csY78" fmla="*/ 786111 h 2018071"/>
              <a:gd name="csX79" fmla="*/ 2614082 w 3437996"/>
              <a:gd name="csY79" fmla="*/ 785113 h 2018071"/>
              <a:gd name="csX80" fmla="*/ 2606007 w 3437996"/>
              <a:gd name="csY80" fmla="*/ 776562 h 2018071"/>
              <a:gd name="csX81" fmla="*/ 2604609 w 3437996"/>
              <a:gd name="csY81" fmla="*/ 775538 h 2018071"/>
              <a:gd name="csX82" fmla="*/ 2596489 w 3437996"/>
              <a:gd name="csY82" fmla="*/ 767032 h 2018071"/>
              <a:gd name="csX83" fmla="*/ 2595095 w 3437996"/>
              <a:gd name="csY83" fmla="*/ 766006 h 2018071"/>
              <a:gd name="csX84" fmla="*/ 2586954 w 3437996"/>
              <a:gd name="csY84" fmla="*/ 757512 h 2018071"/>
              <a:gd name="csX85" fmla="*/ 2585558 w 3437996"/>
              <a:gd name="csY85" fmla="*/ 756496 h 2018071"/>
              <a:gd name="csX86" fmla="*/ 2577410 w 3437996"/>
              <a:gd name="csY86" fmla="*/ 748000 h 2018071"/>
              <a:gd name="csX87" fmla="*/ 2576006 w 3437996"/>
              <a:gd name="csY87" fmla="*/ 747002 h 2018071"/>
              <a:gd name="csX88" fmla="*/ 2567871 w 3437996"/>
              <a:gd name="csY88" fmla="*/ 738486 h 2018071"/>
              <a:gd name="csX89" fmla="*/ 2566459 w 3437996"/>
              <a:gd name="csY89" fmla="*/ 737499 h 2018071"/>
              <a:gd name="csX90" fmla="*/ 2558352 w 3437996"/>
              <a:gd name="csY90" fmla="*/ 728962 h 2018071"/>
              <a:gd name="csX91" fmla="*/ 2556937 w 3437996"/>
              <a:gd name="csY91" fmla="*/ 727967 h 2018071"/>
              <a:gd name="csX92" fmla="*/ 2548845 w 3437996"/>
              <a:gd name="csY92" fmla="*/ 719430 h 2018071"/>
              <a:gd name="csX93" fmla="*/ 2547432 w 3437996"/>
              <a:gd name="csY93" fmla="*/ 718414 h 2018071"/>
              <a:gd name="csX94" fmla="*/ 2539350 w 3437996"/>
              <a:gd name="csY94" fmla="*/ 709894 h 2018071"/>
              <a:gd name="csX95" fmla="*/ 2537942 w 3437996"/>
              <a:gd name="csY95" fmla="*/ 708842 h 2018071"/>
              <a:gd name="csX96" fmla="*/ 2529865 w 3437996"/>
              <a:gd name="csY96" fmla="*/ 700356 h 2018071"/>
              <a:gd name="csX97" fmla="*/ 2528460 w 3437996"/>
              <a:gd name="csY97" fmla="*/ 699259 h 2018071"/>
              <a:gd name="csX98" fmla="*/ 2520386 w 3437996"/>
              <a:gd name="csY98" fmla="*/ 690820 h 2018071"/>
              <a:gd name="csX99" fmla="*/ 2518981 w 3437996"/>
              <a:gd name="csY99" fmla="*/ 689668 h 2018071"/>
              <a:gd name="csX100" fmla="*/ 2510900 w 3437996"/>
              <a:gd name="csY100" fmla="*/ 681286 h 2018071"/>
              <a:gd name="csX101" fmla="*/ 2509493 w 3437996"/>
              <a:gd name="csY101" fmla="*/ 680082 h 2018071"/>
              <a:gd name="csX102" fmla="*/ 2501400 w 3437996"/>
              <a:gd name="csY102" fmla="*/ 671754 h 2018071"/>
              <a:gd name="csX103" fmla="*/ 2499991 w 3437996"/>
              <a:gd name="csY103" fmla="*/ 670520 h 2018071"/>
              <a:gd name="csX104" fmla="*/ 2491892 w 3437996"/>
              <a:gd name="csY104" fmla="*/ 662222 h 2018071"/>
              <a:gd name="csX105" fmla="*/ 2490482 w 3437996"/>
              <a:gd name="csY105" fmla="*/ 660967 h 2018071"/>
              <a:gd name="csX106" fmla="*/ 2482391 w 3437996"/>
              <a:gd name="csY106" fmla="*/ 652682 h 2018071"/>
              <a:gd name="csX107" fmla="*/ 2480984 w 3437996"/>
              <a:gd name="csY107" fmla="*/ 651408 h 2018071"/>
              <a:gd name="csX108" fmla="*/ 2472919 w 3437996"/>
              <a:gd name="csY108" fmla="*/ 643127 h 2018071"/>
              <a:gd name="csX109" fmla="*/ 2471515 w 3437996"/>
              <a:gd name="csY109" fmla="*/ 641819 h 2018071"/>
              <a:gd name="csX110" fmla="*/ 2463424 w 3437996"/>
              <a:gd name="csY110" fmla="*/ 633584 h 2018071"/>
              <a:gd name="csX111" fmla="*/ 2462020 w 3437996"/>
              <a:gd name="csY111" fmla="*/ 632257 h 2018071"/>
              <a:gd name="csX112" fmla="*/ 2453925 w 3437996"/>
              <a:gd name="csY112" fmla="*/ 624049 h 2018071"/>
              <a:gd name="csX113" fmla="*/ 2452516 w 3437996"/>
              <a:gd name="csY113" fmla="*/ 622702 h 2018071"/>
              <a:gd name="csX114" fmla="*/ 2444450 w 3437996"/>
              <a:gd name="csY114" fmla="*/ 614506 h 2018071"/>
              <a:gd name="csX115" fmla="*/ 2443026 w 3437996"/>
              <a:gd name="csY115" fmla="*/ 613123 h 2018071"/>
              <a:gd name="csX116" fmla="*/ 2434957 w 3437996"/>
              <a:gd name="csY116" fmla="*/ 604969 h 2018071"/>
              <a:gd name="csX117" fmla="*/ 2433519 w 3437996"/>
              <a:gd name="csY117" fmla="*/ 603563 h 2018071"/>
              <a:gd name="csX118" fmla="*/ 2425486 w 3437996"/>
              <a:gd name="csY118" fmla="*/ 595418 h 2018071"/>
              <a:gd name="csX119" fmla="*/ 2424029 w 3437996"/>
              <a:gd name="csY119" fmla="*/ 593985 h 2018071"/>
              <a:gd name="csX120" fmla="*/ 2416081 w 3437996"/>
              <a:gd name="csY120" fmla="*/ 585841 h 2018071"/>
              <a:gd name="csX121" fmla="*/ 2414563 w 3437996"/>
              <a:gd name="csY121" fmla="*/ 584358 h 2018071"/>
              <a:gd name="csX122" fmla="*/ 2406640 w 3437996"/>
              <a:gd name="csY122" fmla="*/ 576281 h 2018071"/>
              <a:gd name="csX123" fmla="*/ 2405068 w 3437996"/>
              <a:gd name="csY123" fmla="*/ 574761 h 2018071"/>
              <a:gd name="csX124" fmla="*/ 2397176 w 3437996"/>
              <a:gd name="csY124" fmla="*/ 566733 h 2018071"/>
              <a:gd name="csX125" fmla="*/ 2395561 w 3437996"/>
              <a:gd name="csY125" fmla="*/ 565186 h 2018071"/>
              <a:gd name="csX126" fmla="*/ 2387690 w 3437996"/>
              <a:gd name="csY126" fmla="*/ 557193 h 2018071"/>
              <a:gd name="csX127" fmla="*/ 2386050 w 3437996"/>
              <a:gd name="csY127" fmla="*/ 555624 h 2018071"/>
              <a:gd name="csX128" fmla="*/ 2378191 w 3437996"/>
              <a:gd name="csY128" fmla="*/ 547659 h 2018071"/>
              <a:gd name="csX129" fmla="*/ 2376534 w 3437996"/>
              <a:gd name="csY129" fmla="*/ 546075 h 2018071"/>
              <a:gd name="csX130" fmla="*/ 2368704 w 3437996"/>
              <a:gd name="csY130" fmla="*/ 538124 h 2018071"/>
              <a:gd name="csX131" fmla="*/ 2367021 w 3437996"/>
              <a:gd name="csY131" fmla="*/ 536517 h 2018071"/>
              <a:gd name="csX132" fmla="*/ 2360018 w 3437996"/>
              <a:gd name="csY132" fmla="*/ 529380 h 2018071"/>
              <a:gd name="csX133" fmla="*/ 2357514 w 3437996"/>
              <a:gd name="csY133" fmla="*/ 526933 h 2018071"/>
              <a:gd name="csX134" fmla="*/ 2350552 w 3437996"/>
              <a:gd name="csY134" fmla="*/ 519835 h 2018071"/>
              <a:gd name="csX135" fmla="*/ 2348016 w 3437996"/>
              <a:gd name="csY135" fmla="*/ 517342 h 2018071"/>
              <a:gd name="csX136" fmla="*/ 2341054 w 3437996"/>
              <a:gd name="csY136" fmla="*/ 510297 h 2018071"/>
              <a:gd name="csX137" fmla="*/ 2338508 w 3437996"/>
              <a:gd name="csY137" fmla="*/ 507777 h 2018071"/>
              <a:gd name="csX138" fmla="*/ 2331539 w 3437996"/>
              <a:gd name="csY138" fmla="*/ 500765 h 2018071"/>
              <a:gd name="csX139" fmla="*/ 2328991 w 3437996"/>
              <a:gd name="csY139" fmla="*/ 498236 h 2018071"/>
              <a:gd name="csX140" fmla="*/ 2322020 w 3437996"/>
              <a:gd name="csY140" fmla="*/ 491243 h 2018071"/>
              <a:gd name="csX141" fmla="*/ 2319465 w 3437996"/>
              <a:gd name="csY141" fmla="*/ 488702 h 2018071"/>
              <a:gd name="csX142" fmla="*/ 2312510 w 3437996"/>
              <a:gd name="csY142" fmla="*/ 481725 h 2018071"/>
              <a:gd name="csX143" fmla="*/ 2309941 w 3437996"/>
              <a:gd name="csY143" fmla="*/ 479158 h 2018071"/>
              <a:gd name="csX144" fmla="*/ 2303024 w 3437996"/>
              <a:gd name="csY144" fmla="*/ 472210 h 2018071"/>
              <a:gd name="csX145" fmla="*/ 2300428 w 3437996"/>
              <a:gd name="csY145" fmla="*/ 469578 h 2018071"/>
              <a:gd name="csX146" fmla="*/ 2293545 w 3437996"/>
              <a:gd name="csY146" fmla="*/ 462697 h 2018071"/>
              <a:gd name="csX147" fmla="*/ 2290922 w 3437996"/>
              <a:gd name="csY147" fmla="*/ 459984 h 2018071"/>
              <a:gd name="csX148" fmla="*/ 2284051 w 3437996"/>
              <a:gd name="csY148" fmla="*/ 453172 h 2018071"/>
              <a:gd name="csX149" fmla="*/ 2281414 w 3437996"/>
              <a:gd name="csY149" fmla="*/ 450403 h 2018071"/>
              <a:gd name="csX150" fmla="*/ 2274560 w 3437996"/>
              <a:gd name="csY150" fmla="*/ 443646 h 2018071"/>
              <a:gd name="csX151" fmla="*/ 2271906 w 3437996"/>
              <a:gd name="csY151" fmla="*/ 440826 h 2018071"/>
              <a:gd name="csX152" fmla="*/ 2265120 w 3437996"/>
              <a:gd name="csY152" fmla="*/ 434112 h 2018071"/>
              <a:gd name="csX153" fmla="*/ 2262409 w 3437996"/>
              <a:gd name="csY153" fmla="*/ 431189 h 2018071"/>
              <a:gd name="csX154" fmla="*/ 2255765 w 3437996"/>
              <a:gd name="csY154" fmla="*/ 424557 h 2018071"/>
              <a:gd name="csX155" fmla="*/ 2252962 w 3437996"/>
              <a:gd name="csY155" fmla="*/ 421458 h 2018071"/>
              <a:gd name="csX156" fmla="*/ 2246361 w 3437996"/>
              <a:gd name="csY156" fmla="*/ 414989 h 2018071"/>
              <a:gd name="csX157" fmla="*/ 2226101 w 3437996"/>
              <a:gd name="csY157" fmla="*/ 394472 h 2018071"/>
              <a:gd name="csX158" fmla="*/ 2204126 w 3437996"/>
              <a:gd name="csY158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89741 w 3437996"/>
              <a:gd name="csY48" fmla="*/ 253550 h 2018071"/>
              <a:gd name="csX49" fmla="*/ 98008 w 3437996"/>
              <a:gd name="csY49" fmla="*/ 233543 h 2018071"/>
              <a:gd name="csX50" fmla="*/ 99628 w 3437996"/>
              <a:gd name="csY50" fmla="*/ 231506 h 2018071"/>
              <a:gd name="csX51" fmla="*/ 182353 w 3437996"/>
              <a:gd name="csY51" fmla="*/ 229554 h 2018071"/>
              <a:gd name="csX52" fmla="*/ 185812 w 3437996"/>
              <a:gd name="csY52" fmla="*/ 231380 h 2018071"/>
              <a:gd name="csX53" fmla="*/ 213726 w 3437996"/>
              <a:gd name="csY53" fmla="*/ 239233 h 2018071"/>
              <a:gd name="csX54" fmla="*/ 416961 w 3437996"/>
              <a:gd name="csY54" fmla="*/ 299911 h 2018071"/>
              <a:gd name="csX55" fmla="*/ 622809 w 3437996"/>
              <a:gd name="csY55" fmla="*/ 305227 h 2018071"/>
              <a:gd name="csX56" fmla="*/ 1851374 w 3437996"/>
              <a:gd name="csY56" fmla="*/ 7502 h 2018071"/>
              <a:gd name="csX57" fmla="*/ 2119617 w 3437996"/>
              <a:gd name="csY57" fmla="*/ 86919 h 2018071"/>
              <a:gd name="csX58" fmla="*/ 2805452 w 3437996"/>
              <a:gd name="csY58" fmla="*/ 622669 h 2018071"/>
              <a:gd name="csX59" fmla="*/ 3047873 w 3437996"/>
              <a:gd name="csY59" fmla="*/ 889895 h 2018071"/>
              <a:gd name="csX60" fmla="*/ 3201337 w 3437996"/>
              <a:gd name="csY60" fmla="*/ 1065192 h 2018071"/>
              <a:gd name="csX61" fmla="*/ 3322212 w 3437996"/>
              <a:gd name="csY61" fmla="*/ 1262254 h 2018071"/>
              <a:gd name="csX62" fmla="*/ 3434603 w 3437996"/>
              <a:gd name="csY62" fmla="*/ 1463610 h 2018071"/>
              <a:gd name="csX63" fmla="*/ 3437317 w 3437996"/>
              <a:gd name="csY63" fmla="*/ 1496424 h 2018071"/>
              <a:gd name="csX64" fmla="*/ 3437173 w 3437996"/>
              <a:gd name="csY64" fmla="*/ 1502015 h 2018071"/>
              <a:gd name="csX65" fmla="*/ 3265778 w 3437996"/>
              <a:gd name="csY65" fmla="*/ 1437268 h 2018071"/>
              <a:gd name="csX66" fmla="*/ 3131933 w 3437996"/>
              <a:gd name="csY66" fmla="*/ 1283723 h 2018071"/>
              <a:gd name="csX67" fmla="*/ 2856351 w 3437996"/>
              <a:gd name="csY67" fmla="*/ 1004478 h 2018071"/>
              <a:gd name="csX68" fmla="*/ 2818150 w 3437996"/>
              <a:gd name="csY68" fmla="*/ 969213 h 2018071"/>
              <a:gd name="csX69" fmla="*/ 2654127 w 3437996"/>
              <a:gd name="csY69" fmla="*/ 825572 h 2018071"/>
              <a:gd name="csX70" fmla="*/ 2651783 w 3437996"/>
              <a:gd name="csY70" fmla="*/ 823279 h 2018071"/>
              <a:gd name="csX71" fmla="*/ 2644017 w 3437996"/>
              <a:gd name="csY71" fmla="*/ 814773 h 2018071"/>
              <a:gd name="csX72" fmla="*/ 2642551 w 3437996"/>
              <a:gd name="csY72" fmla="*/ 813746 h 2018071"/>
              <a:gd name="csX73" fmla="*/ 2634494 w 3437996"/>
              <a:gd name="csY73" fmla="*/ 805208 h 2018071"/>
              <a:gd name="csX74" fmla="*/ 2633053 w 3437996"/>
              <a:gd name="csY74" fmla="*/ 804210 h 2018071"/>
              <a:gd name="csX75" fmla="*/ 2624994 w 3437996"/>
              <a:gd name="csY75" fmla="*/ 795655 h 2018071"/>
              <a:gd name="csX76" fmla="*/ 2623570 w 3437996"/>
              <a:gd name="csY76" fmla="*/ 794675 h 2018071"/>
              <a:gd name="csX77" fmla="*/ 2615495 w 3437996"/>
              <a:gd name="csY77" fmla="*/ 786111 h 2018071"/>
              <a:gd name="csX78" fmla="*/ 2614082 w 3437996"/>
              <a:gd name="csY78" fmla="*/ 785113 h 2018071"/>
              <a:gd name="csX79" fmla="*/ 2606007 w 3437996"/>
              <a:gd name="csY79" fmla="*/ 776562 h 2018071"/>
              <a:gd name="csX80" fmla="*/ 2604609 w 3437996"/>
              <a:gd name="csY80" fmla="*/ 775538 h 2018071"/>
              <a:gd name="csX81" fmla="*/ 2596489 w 3437996"/>
              <a:gd name="csY81" fmla="*/ 767032 h 2018071"/>
              <a:gd name="csX82" fmla="*/ 2595095 w 3437996"/>
              <a:gd name="csY82" fmla="*/ 766006 h 2018071"/>
              <a:gd name="csX83" fmla="*/ 2586954 w 3437996"/>
              <a:gd name="csY83" fmla="*/ 757512 h 2018071"/>
              <a:gd name="csX84" fmla="*/ 2585558 w 3437996"/>
              <a:gd name="csY84" fmla="*/ 756496 h 2018071"/>
              <a:gd name="csX85" fmla="*/ 2577410 w 3437996"/>
              <a:gd name="csY85" fmla="*/ 748000 h 2018071"/>
              <a:gd name="csX86" fmla="*/ 2576006 w 3437996"/>
              <a:gd name="csY86" fmla="*/ 747002 h 2018071"/>
              <a:gd name="csX87" fmla="*/ 2567871 w 3437996"/>
              <a:gd name="csY87" fmla="*/ 738486 h 2018071"/>
              <a:gd name="csX88" fmla="*/ 2566459 w 3437996"/>
              <a:gd name="csY88" fmla="*/ 737499 h 2018071"/>
              <a:gd name="csX89" fmla="*/ 2558352 w 3437996"/>
              <a:gd name="csY89" fmla="*/ 728962 h 2018071"/>
              <a:gd name="csX90" fmla="*/ 2556937 w 3437996"/>
              <a:gd name="csY90" fmla="*/ 727967 h 2018071"/>
              <a:gd name="csX91" fmla="*/ 2548845 w 3437996"/>
              <a:gd name="csY91" fmla="*/ 719430 h 2018071"/>
              <a:gd name="csX92" fmla="*/ 2547432 w 3437996"/>
              <a:gd name="csY92" fmla="*/ 718414 h 2018071"/>
              <a:gd name="csX93" fmla="*/ 2539350 w 3437996"/>
              <a:gd name="csY93" fmla="*/ 709894 h 2018071"/>
              <a:gd name="csX94" fmla="*/ 2537942 w 3437996"/>
              <a:gd name="csY94" fmla="*/ 708842 h 2018071"/>
              <a:gd name="csX95" fmla="*/ 2529865 w 3437996"/>
              <a:gd name="csY95" fmla="*/ 700356 h 2018071"/>
              <a:gd name="csX96" fmla="*/ 2528460 w 3437996"/>
              <a:gd name="csY96" fmla="*/ 699259 h 2018071"/>
              <a:gd name="csX97" fmla="*/ 2520386 w 3437996"/>
              <a:gd name="csY97" fmla="*/ 690820 h 2018071"/>
              <a:gd name="csX98" fmla="*/ 2518981 w 3437996"/>
              <a:gd name="csY98" fmla="*/ 689668 h 2018071"/>
              <a:gd name="csX99" fmla="*/ 2510900 w 3437996"/>
              <a:gd name="csY99" fmla="*/ 681286 h 2018071"/>
              <a:gd name="csX100" fmla="*/ 2509493 w 3437996"/>
              <a:gd name="csY100" fmla="*/ 680082 h 2018071"/>
              <a:gd name="csX101" fmla="*/ 2501400 w 3437996"/>
              <a:gd name="csY101" fmla="*/ 671754 h 2018071"/>
              <a:gd name="csX102" fmla="*/ 2499991 w 3437996"/>
              <a:gd name="csY102" fmla="*/ 670520 h 2018071"/>
              <a:gd name="csX103" fmla="*/ 2491892 w 3437996"/>
              <a:gd name="csY103" fmla="*/ 662222 h 2018071"/>
              <a:gd name="csX104" fmla="*/ 2490482 w 3437996"/>
              <a:gd name="csY104" fmla="*/ 660967 h 2018071"/>
              <a:gd name="csX105" fmla="*/ 2482391 w 3437996"/>
              <a:gd name="csY105" fmla="*/ 652682 h 2018071"/>
              <a:gd name="csX106" fmla="*/ 2480984 w 3437996"/>
              <a:gd name="csY106" fmla="*/ 651408 h 2018071"/>
              <a:gd name="csX107" fmla="*/ 2472919 w 3437996"/>
              <a:gd name="csY107" fmla="*/ 643127 h 2018071"/>
              <a:gd name="csX108" fmla="*/ 2471515 w 3437996"/>
              <a:gd name="csY108" fmla="*/ 641819 h 2018071"/>
              <a:gd name="csX109" fmla="*/ 2463424 w 3437996"/>
              <a:gd name="csY109" fmla="*/ 633584 h 2018071"/>
              <a:gd name="csX110" fmla="*/ 2462020 w 3437996"/>
              <a:gd name="csY110" fmla="*/ 632257 h 2018071"/>
              <a:gd name="csX111" fmla="*/ 2453925 w 3437996"/>
              <a:gd name="csY111" fmla="*/ 624049 h 2018071"/>
              <a:gd name="csX112" fmla="*/ 2452516 w 3437996"/>
              <a:gd name="csY112" fmla="*/ 622702 h 2018071"/>
              <a:gd name="csX113" fmla="*/ 2444450 w 3437996"/>
              <a:gd name="csY113" fmla="*/ 614506 h 2018071"/>
              <a:gd name="csX114" fmla="*/ 2443026 w 3437996"/>
              <a:gd name="csY114" fmla="*/ 613123 h 2018071"/>
              <a:gd name="csX115" fmla="*/ 2434957 w 3437996"/>
              <a:gd name="csY115" fmla="*/ 604969 h 2018071"/>
              <a:gd name="csX116" fmla="*/ 2433519 w 3437996"/>
              <a:gd name="csY116" fmla="*/ 603563 h 2018071"/>
              <a:gd name="csX117" fmla="*/ 2425486 w 3437996"/>
              <a:gd name="csY117" fmla="*/ 595418 h 2018071"/>
              <a:gd name="csX118" fmla="*/ 2424029 w 3437996"/>
              <a:gd name="csY118" fmla="*/ 593985 h 2018071"/>
              <a:gd name="csX119" fmla="*/ 2416081 w 3437996"/>
              <a:gd name="csY119" fmla="*/ 585841 h 2018071"/>
              <a:gd name="csX120" fmla="*/ 2414563 w 3437996"/>
              <a:gd name="csY120" fmla="*/ 584358 h 2018071"/>
              <a:gd name="csX121" fmla="*/ 2406640 w 3437996"/>
              <a:gd name="csY121" fmla="*/ 576281 h 2018071"/>
              <a:gd name="csX122" fmla="*/ 2405068 w 3437996"/>
              <a:gd name="csY122" fmla="*/ 574761 h 2018071"/>
              <a:gd name="csX123" fmla="*/ 2397176 w 3437996"/>
              <a:gd name="csY123" fmla="*/ 566733 h 2018071"/>
              <a:gd name="csX124" fmla="*/ 2395561 w 3437996"/>
              <a:gd name="csY124" fmla="*/ 565186 h 2018071"/>
              <a:gd name="csX125" fmla="*/ 2387690 w 3437996"/>
              <a:gd name="csY125" fmla="*/ 557193 h 2018071"/>
              <a:gd name="csX126" fmla="*/ 2386050 w 3437996"/>
              <a:gd name="csY126" fmla="*/ 555624 h 2018071"/>
              <a:gd name="csX127" fmla="*/ 2378191 w 3437996"/>
              <a:gd name="csY127" fmla="*/ 547659 h 2018071"/>
              <a:gd name="csX128" fmla="*/ 2376534 w 3437996"/>
              <a:gd name="csY128" fmla="*/ 546075 h 2018071"/>
              <a:gd name="csX129" fmla="*/ 2368704 w 3437996"/>
              <a:gd name="csY129" fmla="*/ 538124 h 2018071"/>
              <a:gd name="csX130" fmla="*/ 2367021 w 3437996"/>
              <a:gd name="csY130" fmla="*/ 536517 h 2018071"/>
              <a:gd name="csX131" fmla="*/ 2360018 w 3437996"/>
              <a:gd name="csY131" fmla="*/ 529380 h 2018071"/>
              <a:gd name="csX132" fmla="*/ 2357514 w 3437996"/>
              <a:gd name="csY132" fmla="*/ 526933 h 2018071"/>
              <a:gd name="csX133" fmla="*/ 2350552 w 3437996"/>
              <a:gd name="csY133" fmla="*/ 519835 h 2018071"/>
              <a:gd name="csX134" fmla="*/ 2348016 w 3437996"/>
              <a:gd name="csY134" fmla="*/ 517342 h 2018071"/>
              <a:gd name="csX135" fmla="*/ 2341054 w 3437996"/>
              <a:gd name="csY135" fmla="*/ 510297 h 2018071"/>
              <a:gd name="csX136" fmla="*/ 2338508 w 3437996"/>
              <a:gd name="csY136" fmla="*/ 507777 h 2018071"/>
              <a:gd name="csX137" fmla="*/ 2331539 w 3437996"/>
              <a:gd name="csY137" fmla="*/ 500765 h 2018071"/>
              <a:gd name="csX138" fmla="*/ 2328991 w 3437996"/>
              <a:gd name="csY138" fmla="*/ 498236 h 2018071"/>
              <a:gd name="csX139" fmla="*/ 2322020 w 3437996"/>
              <a:gd name="csY139" fmla="*/ 491243 h 2018071"/>
              <a:gd name="csX140" fmla="*/ 2319465 w 3437996"/>
              <a:gd name="csY140" fmla="*/ 488702 h 2018071"/>
              <a:gd name="csX141" fmla="*/ 2312510 w 3437996"/>
              <a:gd name="csY141" fmla="*/ 481725 h 2018071"/>
              <a:gd name="csX142" fmla="*/ 2309941 w 3437996"/>
              <a:gd name="csY142" fmla="*/ 479158 h 2018071"/>
              <a:gd name="csX143" fmla="*/ 2303024 w 3437996"/>
              <a:gd name="csY143" fmla="*/ 472210 h 2018071"/>
              <a:gd name="csX144" fmla="*/ 2300428 w 3437996"/>
              <a:gd name="csY144" fmla="*/ 469578 h 2018071"/>
              <a:gd name="csX145" fmla="*/ 2293545 w 3437996"/>
              <a:gd name="csY145" fmla="*/ 462697 h 2018071"/>
              <a:gd name="csX146" fmla="*/ 2290922 w 3437996"/>
              <a:gd name="csY146" fmla="*/ 459984 h 2018071"/>
              <a:gd name="csX147" fmla="*/ 2284051 w 3437996"/>
              <a:gd name="csY147" fmla="*/ 453172 h 2018071"/>
              <a:gd name="csX148" fmla="*/ 2281414 w 3437996"/>
              <a:gd name="csY148" fmla="*/ 450403 h 2018071"/>
              <a:gd name="csX149" fmla="*/ 2274560 w 3437996"/>
              <a:gd name="csY149" fmla="*/ 443646 h 2018071"/>
              <a:gd name="csX150" fmla="*/ 2271906 w 3437996"/>
              <a:gd name="csY150" fmla="*/ 440826 h 2018071"/>
              <a:gd name="csX151" fmla="*/ 2265120 w 3437996"/>
              <a:gd name="csY151" fmla="*/ 434112 h 2018071"/>
              <a:gd name="csX152" fmla="*/ 2262409 w 3437996"/>
              <a:gd name="csY152" fmla="*/ 431189 h 2018071"/>
              <a:gd name="csX153" fmla="*/ 2255765 w 3437996"/>
              <a:gd name="csY153" fmla="*/ 424557 h 2018071"/>
              <a:gd name="csX154" fmla="*/ 2252962 w 3437996"/>
              <a:gd name="csY154" fmla="*/ 421458 h 2018071"/>
              <a:gd name="csX155" fmla="*/ 2246361 w 3437996"/>
              <a:gd name="csY155" fmla="*/ 414989 h 2018071"/>
              <a:gd name="csX156" fmla="*/ 2226101 w 3437996"/>
              <a:gd name="csY156" fmla="*/ 394472 h 2018071"/>
              <a:gd name="csX157" fmla="*/ 2204126 w 3437996"/>
              <a:gd name="csY157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98008 w 3437996"/>
              <a:gd name="csY48" fmla="*/ 233543 h 2018071"/>
              <a:gd name="csX49" fmla="*/ 99628 w 3437996"/>
              <a:gd name="csY49" fmla="*/ 231506 h 2018071"/>
              <a:gd name="csX50" fmla="*/ 182353 w 3437996"/>
              <a:gd name="csY50" fmla="*/ 229554 h 2018071"/>
              <a:gd name="csX51" fmla="*/ 185812 w 3437996"/>
              <a:gd name="csY51" fmla="*/ 231380 h 2018071"/>
              <a:gd name="csX52" fmla="*/ 213726 w 3437996"/>
              <a:gd name="csY52" fmla="*/ 239233 h 2018071"/>
              <a:gd name="csX53" fmla="*/ 416961 w 3437996"/>
              <a:gd name="csY53" fmla="*/ 299911 h 2018071"/>
              <a:gd name="csX54" fmla="*/ 622809 w 3437996"/>
              <a:gd name="csY54" fmla="*/ 305227 h 2018071"/>
              <a:gd name="csX55" fmla="*/ 1851374 w 3437996"/>
              <a:gd name="csY55" fmla="*/ 7502 h 2018071"/>
              <a:gd name="csX56" fmla="*/ 2119617 w 3437996"/>
              <a:gd name="csY56" fmla="*/ 86919 h 2018071"/>
              <a:gd name="csX57" fmla="*/ 2805452 w 3437996"/>
              <a:gd name="csY57" fmla="*/ 622669 h 2018071"/>
              <a:gd name="csX58" fmla="*/ 3047873 w 3437996"/>
              <a:gd name="csY58" fmla="*/ 889895 h 2018071"/>
              <a:gd name="csX59" fmla="*/ 3201337 w 3437996"/>
              <a:gd name="csY59" fmla="*/ 1065192 h 2018071"/>
              <a:gd name="csX60" fmla="*/ 3322212 w 3437996"/>
              <a:gd name="csY60" fmla="*/ 1262254 h 2018071"/>
              <a:gd name="csX61" fmla="*/ 3434603 w 3437996"/>
              <a:gd name="csY61" fmla="*/ 1463610 h 2018071"/>
              <a:gd name="csX62" fmla="*/ 3437317 w 3437996"/>
              <a:gd name="csY62" fmla="*/ 1496424 h 2018071"/>
              <a:gd name="csX63" fmla="*/ 3437173 w 3437996"/>
              <a:gd name="csY63" fmla="*/ 1502015 h 2018071"/>
              <a:gd name="csX64" fmla="*/ 3265778 w 3437996"/>
              <a:gd name="csY64" fmla="*/ 1437268 h 2018071"/>
              <a:gd name="csX65" fmla="*/ 3131933 w 3437996"/>
              <a:gd name="csY65" fmla="*/ 1283723 h 2018071"/>
              <a:gd name="csX66" fmla="*/ 2856351 w 3437996"/>
              <a:gd name="csY66" fmla="*/ 1004478 h 2018071"/>
              <a:gd name="csX67" fmla="*/ 2818150 w 3437996"/>
              <a:gd name="csY67" fmla="*/ 969213 h 2018071"/>
              <a:gd name="csX68" fmla="*/ 2654127 w 3437996"/>
              <a:gd name="csY68" fmla="*/ 825572 h 2018071"/>
              <a:gd name="csX69" fmla="*/ 2651783 w 3437996"/>
              <a:gd name="csY69" fmla="*/ 823279 h 2018071"/>
              <a:gd name="csX70" fmla="*/ 2644017 w 3437996"/>
              <a:gd name="csY70" fmla="*/ 814773 h 2018071"/>
              <a:gd name="csX71" fmla="*/ 2642551 w 3437996"/>
              <a:gd name="csY71" fmla="*/ 813746 h 2018071"/>
              <a:gd name="csX72" fmla="*/ 2634494 w 3437996"/>
              <a:gd name="csY72" fmla="*/ 805208 h 2018071"/>
              <a:gd name="csX73" fmla="*/ 2633053 w 3437996"/>
              <a:gd name="csY73" fmla="*/ 804210 h 2018071"/>
              <a:gd name="csX74" fmla="*/ 2624994 w 3437996"/>
              <a:gd name="csY74" fmla="*/ 795655 h 2018071"/>
              <a:gd name="csX75" fmla="*/ 2623570 w 3437996"/>
              <a:gd name="csY75" fmla="*/ 794675 h 2018071"/>
              <a:gd name="csX76" fmla="*/ 2615495 w 3437996"/>
              <a:gd name="csY76" fmla="*/ 786111 h 2018071"/>
              <a:gd name="csX77" fmla="*/ 2614082 w 3437996"/>
              <a:gd name="csY77" fmla="*/ 785113 h 2018071"/>
              <a:gd name="csX78" fmla="*/ 2606007 w 3437996"/>
              <a:gd name="csY78" fmla="*/ 776562 h 2018071"/>
              <a:gd name="csX79" fmla="*/ 2604609 w 3437996"/>
              <a:gd name="csY79" fmla="*/ 775538 h 2018071"/>
              <a:gd name="csX80" fmla="*/ 2596489 w 3437996"/>
              <a:gd name="csY80" fmla="*/ 767032 h 2018071"/>
              <a:gd name="csX81" fmla="*/ 2595095 w 3437996"/>
              <a:gd name="csY81" fmla="*/ 766006 h 2018071"/>
              <a:gd name="csX82" fmla="*/ 2586954 w 3437996"/>
              <a:gd name="csY82" fmla="*/ 757512 h 2018071"/>
              <a:gd name="csX83" fmla="*/ 2585558 w 3437996"/>
              <a:gd name="csY83" fmla="*/ 756496 h 2018071"/>
              <a:gd name="csX84" fmla="*/ 2577410 w 3437996"/>
              <a:gd name="csY84" fmla="*/ 748000 h 2018071"/>
              <a:gd name="csX85" fmla="*/ 2576006 w 3437996"/>
              <a:gd name="csY85" fmla="*/ 747002 h 2018071"/>
              <a:gd name="csX86" fmla="*/ 2567871 w 3437996"/>
              <a:gd name="csY86" fmla="*/ 738486 h 2018071"/>
              <a:gd name="csX87" fmla="*/ 2566459 w 3437996"/>
              <a:gd name="csY87" fmla="*/ 737499 h 2018071"/>
              <a:gd name="csX88" fmla="*/ 2558352 w 3437996"/>
              <a:gd name="csY88" fmla="*/ 728962 h 2018071"/>
              <a:gd name="csX89" fmla="*/ 2556937 w 3437996"/>
              <a:gd name="csY89" fmla="*/ 727967 h 2018071"/>
              <a:gd name="csX90" fmla="*/ 2548845 w 3437996"/>
              <a:gd name="csY90" fmla="*/ 719430 h 2018071"/>
              <a:gd name="csX91" fmla="*/ 2547432 w 3437996"/>
              <a:gd name="csY91" fmla="*/ 718414 h 2018071"/>
              <a:gd name="csX92" fmla="*/ 2539350 w 3437996"/>
              <a:gd name="csY92" fmla="*/ 709894 h 2018071"/>
              <a:gd name="csX93" fmla="*/ 2537942 w 3437996"/>
              <a:gd name="csY93" fmla="*/ 708842 h 2018071"/>
              <a:gd name="csX94" fmla="*/ 2529865 w 3437996"/>
              <a:gd name="csY94" fmla="*/ 700356 h 2018071"/>
              <a:gd name="csX95" fmla="*/ 2528460 w 3437996"/>
              <a:gd name="csY95" fmla="*/ 699259 h 2018071"/>
              <a:gd name="csX96" fmla="*/ 2520386 w 3437996"/>
              <a:gd name="csY96" fmla="*/ 690820 h 2018071"/>
              <a:gd name="csX97" fmla="*/ 2518981 w 3437996"/>
              <a:gd name="csY97" fmla="*/ 689668 h 2018071"/>
              <a:gd name="csX98" fmla="*/ 2510900 w 3437996"/>
              <a:gd name="csY98" fmla="*/ 681286 h 2018071"/>
              <a:gd name="csX99" fmla="*/ 2509493 w 3437996"/>
              <a:gd name="csY99" fmla="*/ 680082 h 2018071"/>
              <a:gd name="csX100" fmla="*/ 2501400 w 3437996"/>
              <a:gd name="csY100" fmla="*/ 671754 h 2018071"/>
              <a:gd name="csX101" fmla="*/ 2499991 w 3437996"/>
              <a:gd name="csY101" fmla="*/ 670520 h 2018071"/>
              <a:gd name="csX102" fmla="*/ 2491892 w 3437996"/>
              <a:gd name="csY102" fmla="*/ 662222 h 2018071"/>
              <a:gd name="csX103" fmla="*/ 2490482 w 3437996"/>
              <a:gd name="csY103" fmla="*/ 660967 h 2018071"/>
              <a:gd name="csX104" fmla="*/ 2482391 w 3437996"/>
              <a:gd name="csY104" fmla="*/ 652682 h 2018071"/>
              <a:gd name="csX105" fmla="*/ 2480984 w 3437996"/>
              <a:gd name="csY105" fmla="*/ 651408 h 2018071"/>
              <a:gd name="csX106" fmla="*/ 2472919 w 3437996"/>
              <a:gd name="csY106" fmla="*/ 643127 h 2018071"/>
              <a:gd name="csX107" fmla="*/ 2471515 w 3437996"/>
              <a:gd name="csY107" fmla="*/ 641819 h 2018071"/>
              <a:gd name="csX108" fmla="*/ 2463424 w 3437996"/>
              <a:gd name="csY108" fmla="*/ 633584 h 2018071"/>
              <a:gd name="csX109" fmla="*/ 2462020 w 3437996"/>
              <a:gd name="csY109" fmla="*/ 632257 h 2018071"/>
              <a:gd name="csX110" fmla="*/ 2453925 w 3437996"/>
              <a:gd name="csY110" fmla="*/ 624049 h 2018071"/>
              <a:gd name="csX111" fmla="*/ 2452516 w 3437996"/>
              <a:gd name="csY111" fmla="*/ 622702 h 2018071"/>
              <a:gd name="csX112" fmla="*/ 2444450 w 3437996"/>
              <a:gd name="csY112" fmla="*/ 614506 h 2018071"/>
              <a:gd name="csX113" fmla="*/ 2443026 w 3437996"/>
              <a:gd name="csY113" fmla="*/ 613123 h 2018071"/>
              <a:gd name="csX114" fmla="*/ 2434957 w 3437996"/>
              <a:gd name="csY114" fmla="*/ 604969 h 2018071"/>
              <a:gd name="csX115" fmla="*/ 2433519 w 3437996"/>
              <a:gd name="csY115" fmla="*/ 603563 h 2018071"/>
              <a:gd name="csX116" fmla="*/ 2425486 w 3437996"/>
              <a:gd name="csY116" fmla="*/ 595418 h 2018071"/>
              <a:gd name="csX117" fmla="*/ 2424029 w 3437996"/>
              <a:gd name="csY117" fmla="*/ 593985 h 2018071"/>
              <a:gd name="csX118" fmla="*/ 2416081 w 3437996"/>
              <a:gd name="csY118" fmla="*/ 585841 h 2018071"/>
              <a:gd name="csX119" fmla="*/ 2414563 w 3437996"/>
              <a:gd name="csY119" fmla="*/ 584358 h 2018071"/>
              <a:gd name="csX120" fmla="*/ 2406640 w 3437996"/>
              <a:gd name="csY120" fmla="*/ 576281 h 2018071"/>
              <a:gd name="csX121" fmla="*/ 2405068 w 3437996"/>
              <a:gd name="csY121" fmla="*/ 574761 h 2018071"/>
              <a:gd name="csX122" fmla="*/ 2397176 w 3437996"/>
              <a:gd name="csY122" fmla="*/ 566733 h 2018071"/>
              <a:gd name="csX123" fmla="*/ 2395561 w 3437996"/>
              <a:gd name="csY123" fmla="*/ 565186 h 2018071"/>
              <a:gd name="csX124" fmla="*/ 2387690 w 3437996"/>
              <a:gd name="csY124" fmla="*/ 557193 h 2018071"/>
              <a:gd name="csX125" fmla="*/ 2386050 w 3437996"/>
              <a:gd name="csY125" fmla="*/ 555624 h 2018071"/>
              <a:gd name="csX126" fmla="*/ 2378191 w 3437996"/>
              <a:gd name="csY126" fmla="*/ 547659 h 2018071"/>
              <a:gd name="csX127" fmla="*/ 2376534 w 3437996"/>
              <a:gd name="csY127" fmla="*/ 546075 h 2018071"/>
              <a:gd name="csX128" fmla="*/ 2368704 w 3437996"/>
              <a:gd name="csY128" fmla="*/ 538124 h 2018071"/>
              <a:gd name="csX129" fmla="*/ 2367021 w 3437996"/>
              <a:gd name="csY129" fmla="*/ 536517 h 2018071"/>
              <a:gd name="csX130" fmla="*/ 2360018 w 3437996"/>
              <a:gd name="csY130" fmla="*/ 529380 h 2018071"/>
              <a:gd name="csX131" fmla="*/ 2357514 w 3437996"/>
              <a:gd name="csY131" fmla="*/ 526933 h 2018071"/>
              <a:gd name="csX132" fmla="*/ 2350552 w 3437996"/>
              <a:gd name="csY132" fmla="*/ 519835 h 2018071"/>
              <a:gd name="csX133" fmla="*/ 2348016 w 3437996"/>
              <a:gd name="csY133" fmla="*/ 517342 h 2018071"/>
              <a:gd name="csX134" fmla="*/ 2341054 w 3437996"/>
              <a:gd name="csY134" fmla="*/ 510297 h 2018071"/>
              <a:gd name="csX135" fmla="*/ 2338508 w 3437996"/>
              <a:gd name="csY135" fmla="*/ 507777 h 2018071"/>
              <a:gd name="csX136" fmla="*/ 2331539 w 3437996"/>
              <a:gd name="csY136" fmla="*/ 500765 h 2018071"/>
              <a:gd name="csX137" fmla="*/ 2328991 w 3437996"/>
              <a:gd name="csY137" fmla="*/ 498236 h 2018071"/>
              <a:gd name="csX138" fmla="*/ 2322020 w 3437996"/>
              <a:gd name="csY138" fmla="*/ 491243 h 2018071"/>
              <a:gd name="csX139" fmla="*/ 2319465 w 3437996"/>
              <a:gd name="csY139" fmla="*/ 488702 h 2018071"/>
              <a:gd name="csX140" fmla="*/ 2312510 w 3437996"/>
              <a:gd name="csY140" fmla="*/ 481725 h 2018071"/>
              <a:gd name="csX141" fmla="*/ 2309941 w 3437996"/>
              <a:gd name="csY141" fmla="*/ 479158 h 2018071"/>
              <a:gd name="csX142" fmla="*/ 2303024 w 3437996"/>
              <a:gd name="csY142" fmla="*/ 472210 h 2018071"/>
              <a:gd name="csX143" fmla="*/ 2300428 w 3437996"/>
              <a:gd name="csY143" fmla="*/ 469578 h 2018071"/>
              <a:gd name="csX144" fmla="*/ 2293545 w 3437996"/>
              <a:gd name="csY144" fmla="*/ 462697 h 2018071"/>
              <a:gd name="csX145" fmla="*/ 2290922 w 3437996"/>
              <a:gd name="csY145" fmla="*/ 459984 h 2018071"/>
              <a:gd name="csX146" fmla="*/ 2284051 w 3437996"/>
              <a:gd name="csY146" fmla="*/ 453172 h 2018071"/>
              <a:gd name="csX147" fmla="*/ 2281414 w 3437996"/>
              <a:gd name="csY147" fmla="*/ 450403 h 2018071"/>
              <a:gd name="csX148" fmla="*/ 2274560 w 3437996"/>
              <a:gd name="csY148" fmla="*/ 443646 h 2018071"/>
              <a:gd name="csX149" fmla="*/ 2271906 w 3437996"/>
              <a:gd name="csY149" fmla="*/ 440826 h 2018071"/>
              <a:gd name="csX150" fmla="*/ 2265120 w 3437996"/>
              <a:gd name="csY150" fmla="*/ 434112 h 2018071"/>
              <a:gd name="csX151" fmla="*/ 2262409 w 3437996"/>
              <a:gd name="csY151" fmla="*/ 431189 h 2018071"/>
              <a:gd name="csX152" fmla="*/ 2255765 w 3437996"/>
              <a:gd name="csY152" fmla="*/ 424557 h 2018071"/>
              <a:gd name="csX153" fmla="*/ 2252962 w 3437996"/>
              <a:gd name="csY153" fmla="*/ 421458 h 2018071"/>
              <a:gd name="csX154" fmla="*/ 2246361 w 3437996"/>
              <a:gd name="csY154" fmla="*/ 414989 h 2018071"/>
              <a:gd name="csX155" fmla="*/ 2226101 w 3437996"/>
              <a:gd name="csY155" fmla="*/ 394472 h 2018071"/>
              <a:gd name="csX156" fmla="*/ 2204126 w 3437996"/>
              <a:gd name="csY156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98008 w 3437996"/>
              <a:gd name="csY48" fmla="*/ 233543 h 2018071"/>
              <a:gd name="csX49" fmla="*/ 99628 w 3437996"/>
              <a:gd name="csY49" fmla="*/ 231506 h 2018071"/>
              <a:gd name="csX50" fmla="*/ 182353 w 3437996"/>
              <a:gd name="csY50" fmla="*/ 229554 h 2018071"/>
              <a:gd name="csX51" fmla="*/ 213726 w 3437996"/>
              <a:gd name="csY51" fmla="*/ 239233 h 2018071"/>
              <a:gd name="csX52" fmla="*/ 416961 w 3437996"/>
              <a:gd name="csY52" fmla="*/ 299911 h 2018071"/>
              <a:gd name="csX53" fmla="*/ 622809 w 3437996"/>
              <a:gd name="csY53" fmla="*/ 305227 h 2018071"/>
              <a:gd name="csX54" fmla="*/ 1851374 w 3437996"/>
              <a:gd name="csY54" fmla="*/ 7502 h 2018071"/>
              <a:gd name="csX55" fmla="*/ 2119617 w 3437996"/>
              <a:gd name="csY55" fmla="*/ 86919 h 2018071"/>
              <a:gd name="csX56" fmla="*/ 2805452 w 3437996"/>
              <a:gd name="csY56" fmla="*/ 622669 h 2018071"/>
              <a:gd name="csX57" fmla="*/ 3047873 w 3437996"/>
              <a:gd name="csY57" fmla="*/ 889895 h 2018071"/>
              <a:gd name="csX58" fmla="*/ 3201337 w 3437996"/>
              <a:gd name="csY58" fmla="*/ 1065192 h 2018071"/>
              <a:gd name="csX59" fmla="*/ 3322212 w 3437996"/>
              <a:gd name="csY59" fmla="*/ 1262254 h 2018071"/>
              <a:gd name="csX60" fmla="*/ 3434603 w 3437996"/>
              <a:gd name="csY60" fmla="*/ 1463610 h 2018071"/>
              <a:gd name="csX61" fmla="*/ 3437317 w 3437996"/>
              <a:gd name="csY61" fmla="*/ 1496424 h 2018071"/>
              <a:gd name="csX62" fmla="*/ 3437173 w 3437996"/>
              <a:gd name="csY62" fmla="*/ 1502015 h 2018071"/>
              <a:gd name="csX63" fmla="*/ 3265778 w 3437996"/>
              <a:gd name="csY63" fmla="*/ 1437268 h 2018071"/>
              <a:gd name="csX64" fmla="*/ 3131933 w 3437996"/>
              <a:gd name="csY64" fmla="*/ 1283723 h 2018071"/>
              <a:gd name="csX65" fmla="*/ 2856351 w 3437996"/>
              <a:gd name="csY65" fmla="*/ 1004478 h 2018071"/>
              <a:gd name="csX66" fmla="*/ 2818150 w 3437996"/>
              <a:gd name="csY66" fmla="*/ 969213 h 2018071"/>
              <a:gd name="csX67" fmla="*/ 2654127 w 3437996"/>
              <a:gd name="csY67" fmla="*/ 825572 h 2018071"/>
              <a:gd name="csX68" fmla="*/ 2651783 w 3437996"/>
              <a:gd name="csY68" fmla="*/ 823279 h 2018071"/>
              <a:gd name="csX69" fmla="*/ 2644017 w 3437996"/>
              <a:gd name="csY69" fmla="*/ 814773 h 2018071"/>
              <a:gd name="csX70" fmla="*/ 2642551 w 3437996"/>
              <a:gd name="csY70" fmla="*/ 813746 h 2018071"/>
              <a:gd name="csX71" fmla="*/ 2634494 w 3437996"/>
              <a:gd name="csY71" fmla="*/ 805208 h 2018071"/>
              <a:gd name="csX72" fmla="*/ 2633053 w 3437996"/>
              <a:gd name="csY72" fmla="*/ 804210 h 2018071"/>
              <a:gd name="csX73" fmla="*/ 2624994 w 3437996"/>
              <a:gd name="csY73" fmla="*/ 795655 h 2018071"/>
              <a:gd name="csX74" fmla="*/ 2623570 w 3437996"/>
              <a:gd name="csY74" fmla="*/ 794675 h 2018071"/>
              <a:gd name="csX75" fmla="*/ 2615495 w 3437996"/>
              <a:gd name="csY75" fmla="*/ 786111 h 2018071"/>
              <a:gd name="csX76" fmla="*/ 2614082 w 3437996"/>
              <a:gd name="csY76" fmla="*/ 785113 h 2018071"/>
              <a:gd name="csX77" fmla="*/ 2606007 w 3437996"/>
              <a:gd name="csY77" fmla="*/ 776562 h 2018071"/>
              <a:gd name="csX78" fmla="*/ 2604609 w 3437996"/>
              <a:gd name="csY78" fmla="*/ 775538 h 2018071"/>
              <a:gd name="csX79" fmla="*/ 2596489 w 3437996"/>
              <a:gd name="csY79" fmla="*/ 767032 h 2018071"/>
              <a:gd name="csX80" fmla="*/ 2595095 w 3437996"/>
              <a:gd name="csY80" fmla="*/ 766006 h 2018071"/>
              <a:gd name="csX81" fmla="*/ 2586954 w 3437996"/>
              <a:gd name="csY81" fmla="*/ 757512 h 2018071"/>
              <a:gd name="csX82" fmla="*/ 2585558 w 3437996"/>
              <a:gd name="csY82" fmla="*/ 756496 h 2018071"/>
              <a:gd name="csX83" fmla="*/ 2577410 w 3437996"/>
              <a:gd name="csY83" fmla="*/ 748000 h 2018071"/>
              <a:gd name="csX84" fmla="*/ 2576006 w 3437996"/>
              <a:gd name="csY84" fmla="*/ 747002 h 2018071"/>
              <a:gd name="csX85" fmla="*/ 2567871 w 3437996"/>
              <a:gd name="csY85" fmla="*/ 738486 h 2018071"/>
              <a:gd name="csX86" fmla="*/ 2566459 w 3437996"/>
              <a:gd name="csY86" fmla="*/ 737499 h 2018071"/>
              <a:gd name="csX87" fmla="*/ 2558352 w 3437996"/>
              <a:gd name="csY87" fmla="*/ 728962 h 2018071"/>
              <a:gd name="csX88" fmla="*/ 2556937 w 3437996"/>
              <a:gd name="csY88" fmla="*/ 727967 h 2018071"/>
              <a:gd name="csX89" fmla="*/ 2548845 w 3437996"/>
              <a:gd name="csY89" fmla="*/ 719430 h 2018071"/>
              <a:gd name="csX90" fmla="*/ 2547432 w 3437996"/>
              <a:gd name="csY90" fmla="*/ 718414 h 2018071"/>
              <a:gd name="csX91" fmla="*/ 2539350 w 3437996"/>
              <a:gd name="csY91" fmla="*/ 709894 h 2018071"/>
              <a:gd name="csX92" fmla="*/ 2537942 w 3437996"/>
              <a:gd name="csY92" fmla="*/ 708842 h 2018071"/>
              <a:gd name="csX93" fmla="*/ 2529865 w 3437996"/>
              <a:gd name="csY93" fmla="*/ 700356 h 2018071"/>
              <a:gd name="csX94" fmla="*/ 2528460 w 3437996"/>
              <a:gd name="csY94" fmla="*/ 699259 h 2018071"/>
              <a:gd name="csX95" fmla="*/ 2520386 w 3437996"/>
              <a:gd name="csY95" fmla="*/ 690820 h 2018071"/>
              <a:gd name="csX96" fmla="*/ 2518981 w 3437996"/>
              <a:gd name="csY96" fmla="*/ 689668 h 2018071"/>
              <a:gd name="csX97" fmla="*/ 2510900 w 3437996"/>
              <a:gd name="csY97" fmla="*/ 681286 h 2018071"/>
              <a:gd name="csX98" fmla="*/ 2509493 w 3437996"/>
              <a:gd name="csY98" fmla="*/ 680082 h 2018071"/>
              <a:gd name="csX99" fmla="*/ 2501400 w 3437996"/>
              <a:gd name="csY99" fmla="*/ 671754 h 2018071"/>
              <a:gd name="csX100" fmla="*/ 2499991 w 3437996"/>
              <a:gd name="csY100" fmla="*/ 670520 h 2018071"/>
              <a:gd name="csX101" fmla="*/ 2491892 w 3437996"/>
              <a:gd name="csY101" fmla="*/ 662222 h 2018071"/>
              <a:gd name="csX102" fmla="*/ 2490482 w 3437996"/>
              <a:gd name="csY102" fmla="*/ 660967 h 2018071"/>
              <a:gd name="csX103" fmla="*/ 2482391 w 3437996"/>
              <a:gd name="csY103" fmla="*/ 652682 h 2018071"/>
              <a:gd name="csX104" fmla="*/ 2480984 w 3437996"/>
              <a:gd name="csY104" fmla="*/ 651408 h 2018071"/>
              <a:gd name="csX105" fmla="*/ 2472919 w 3437996"/>
              <a:gd name="csY105" fmla="*/ 643127 h 2018071"/>
              <a:gd name="csX106" fmla="*/ 2471515 w 3437996"/>
              <a:gd name="csY106" fmla="*/ 641819 h 2018071"/>
              <a:gd name="csX107" fmla="*/ 2463424 w 3437996"/>
              <a:gd name="csY107" fmla="*/ 633584 h 2018071"/>
              <a:gd name="csX108" fmla="*/ 2462020 w 3437996"/>
              <a:gd name="csY108" fmla="*/ 632257 h 2018071"/>
              <a:gd name="csX109" fmla="*/ 2453925 w 3437996"/>
              <a:gd name="csY109" fmla="*/ 624049 h 2018071"/>
              <a:gd name="csX110" fmla="*/ 2452516 w 3437996"/>
              <a:gd name="csY110" fmla="*/ 622702 h 2018071"/>
              <a:gd name="csX111" fmla="*/ 2444450 w 3437996"/>
              <a:gd name="csY111" fmla="*/ 614506 h 2018071"/>
              <a:gd name="csX112" fmla="*/ 2443026 w 3437996"/>
              <a:gd name="csY112" fmla="*/ 613123 h 2018071"/>
              <a:gd name="csX113" fmla="*/ 2434957 w 3437996"/>
              <a:gd name="csY113" fmla="*/ 604969 h 2018071"/>
              <a:gd name="csX114" fmla="*/ 2433519 w 3437996"/>
              <a:gd name="csY114" fmla="*/ 603563 h 2018071"/>
              <a:gd name="csX115" fmla="*/ 2425486 w 3437996"/>
              <a:gd name="csY115" fmla="*/ 595418 h 2018071"/>
              <a:gd name="csX116" fmla="*/ 2424029 w 3437996"/>
              <a:gd name="csY116" fmla="*/ 593985 h 2018071"/>
              <a:gd name="csX117" fmla="*/ 2416081 w 3437996"/>
              <a:gd name="csY117" fmla="*/ 585841 h 2018071"/>
              <a:gd name="csX118" fmla="*/ 2414563 w 3437996"/>
              <a:gd name="csY118" fmla="*/ 584358 h 2018071"/>
              <a:gd name="csX119" fmla="*/ 2406640 w 3437996"/>
              <a:gd name="csY119" fmla="*/ 576281 h 2018071"/>
              <a:gd name="csX120" fmla="*/ 2405068 w 3437996"/>
              <a:gd name="csY120" fmla="*/ 574761 h 2018071"/>
              <a:gd name="csX121" fmla="*/ 2397176 w 3437996"/>
              <a:gd name="csY121" fmla="*/ 566733 h 2018071"/>
              <a:gd name="csX122" fmla="*/ 2395561 w 3437996"/>
              <a:gd name="csY122" fmla="*/ 565186 h 2018071"/>
              <a:gd name="csX123" fmla="*/ 2387690 w 3437996"/>
              <a:gd name="csY123" fmla="*/ 557193 h 2018071"/>
              <a:gd name="csX124" fmla="*/ 2386050 w 3437996"/>
              <a:gd name="csY124" fmla="*/ 555624 h 2018071"/>
              <a:gd name="csX125" fmla="*/ 2378191 w 3437996"/>
              <a:gd name="csY125" fmla="*/ 547659 h 2018071"/>
              <a:gd name="csX126" fmla="*/ 2376534 w 3437996"/>
              <a:gd name="csY126" fmla="*/ 546075 h 2018071"/>
              <a:gd name="csX127" fmla="*/ 2368704 w 3437996"/>
              <a:gd name="csY127" fmla="*/ 538124 h 2018071"/>
              <a:gd name="csX128" fmla="*/ 2367021 w 3437996"/>
              <a:gd name="csY128" fmla="*/ 536517 h 2018071"/>
              <a:gd name="csX129" fmla="*/ 2360018 w 3437996"/>
              <a:gd name="csY129" fmla="*/ 529380 h 2018071"/>
              <a:gd name="csX130" fmla="*/ 2357514 w 3437996"/>
              <a:gd name="csY130" fmla="*/ 526933 h 2018071"/>
              <a:gd name="csX131" fmla="*/ 2350552 w 3437996"/>
              <a:gd name="csY131" fmla="*/ 519835 h 2018071"/>
              <a:gd name="csX132" fmla="*/ 2348016 w 3437996"/>
              <a:gd name="csY132" fmla="*/ 517342 h 2018071"/>
              <a:gd name="csX133" fmla="*/ 2341054 w 3437996"/>
              <a:gd name="csY133" fmla="*/ 510297 h 2018071"/>
              <a:gd name="csX134" fmla="*/ 2338508 w 3437996"/>
              <a:gd name="csY134" fmla="*/ 507777 h 2018071"/>
              <a:gd name="csX135" fmla="*/ 2331539 w 3437996"/>
              <a:gd name="csY135" fmla="*/ 500765 h 2018071"/>
              <a:gd name="csX136" fmla="*/ 2328991 w 3437996"/>
              <a:gd name="csY136" fmla="*/ 498236 h 2018071"/>
              <a:gd name="csX137" fmla="*/ 2322020 w 3437996"/>
              <a:gd name="csY137" fmla="*/ 491243 h 2018071"/>
              <a:gd name="csX138" fmla="*/ 2319465 w 3437996"/>
              <a:gd name="csY138" fmla="*/ 488702 h 2018071"/>
              <a:gd name="csX139" fmla="*/ 2312510 w 3437996"/>
              <a:gd name="csY139" fmla="*/ 481725 h 2018071"/>
              <a:gd name="csX140" fmla="*/ 2309941 w 3437996"/>
              <a:gd name="csY140" fmla="*/ 479158 h 2018071"/>
              <a:gd name="csX141" fmla="*/ 2303024 w 3437996"/>
              <a:gd name="csY141" fmla="*/ 472210 h 2018071"/>
              <a:gd name="csX142" fmla="*/ 2300428 w 3437996"/>
              <a:gd name="csY142" fmla="*/ 469578 h 2018071"/>
              <a:gd name="csX143" fmla="*/ 2293545 w 3437996"/>
              <a:gd name="csY143" fmla="*/ 462697 h 2018071"/>
              <a:gd name="csX144" fmla="*/ 2290922 w 3437996"/>
              <a:gd name="csY144" fmla="*/ 459984 h 2018071"/>
              <a:gd name="csX145" fmla="*/ 2284051 w 3437996"/>
              <a:gd name="csY145" fmla="*/ 453172 h 2018071"/>
              <a:gd name="csX146" fmla="*/ 2281414 w 3437996"/>
              <a:gd name="csY146" fmla="*/ 450403 h 2018071"/>
              <a:gd name="csX147" fmla="*/ 2274560 w 3437996"/>
              <a:gd name="csY147" fmla="*/ 443646 h 2018071"/>
              <a:gd name="csX148" fmla="*/ 2271906 w 3437996"/>
              <a:gd name="csY148" fmla="*/ 440826 h 2018071"/>
              <a:gd name="csX149" fmla="*/ 2265120 w 3437996"/>
              <a:gd name="csY149" fmla="*/ 434112 h 2018071"/>
              <a:gd name="csX150" fmla="*/ 2262409 w 3437996"/>
              <a:gd name="csY150" fmla="*/ 431189 h 2018071"/>
              <a:gd name="csX151" fmla="*/ 2255765 w 3437996"/>
              <a:gd name="csY151" fmla="*/ 424557 h 2018071"/>
              <a:gd name="csX152" fmla="*/ 2252962 w 3437996"/>
              <a:gd name="csY152" fmla="*/ 421458 h 2018071"/>
              <a:gd name="csX153" fmla="*/ 2246361 w 3437996"/>
              <a:gd name="csY153" fmla="*/ 414989 h 2018071"/>
              <a:gd name="csX154" fmla="*/ 2226101 w 3437996"/>
              <a:gd name="csY154" fmla="*/ 394472 h 2018071"/>
              <a:gd name="csX155" fmla="*/ 2204126 w 3437996"/>
              <a:gd name="csY155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98008 w 3437996"/>
              <a:gd name="csY48" fmla="*/ 233543 h 2018071"/>
              <a:gd name="csX49" fmla="*/ 182353 w 3437996"/>
              <a:gd name="csY49" fmla="*/ 229554 h 2018071"/>
              <a:gd name="csX50" fmla="*/ 213726 w 3437996"/>
              <a:gd name="csY50" fmla="*/ 239233 h 2018071"/>
              <a:gd name="csX51" fmla="*/ 416961 w 3437996"/>
              <a:gd name="csY51" fmla="*/ 299911 h 2018071"/>
              <a:gd name="csX52" fmla="*/ 622809 w 3437996"/>
              <a:gd name="csY52" fmla="*/ 305227 h 2018071"/>
              <a:gd name="csX53" fmla="*/ 1851374 w 3437996"/>
              <a:gd name="csY53" fmla="*/ 7502 h 2018071"/>
              <a:gd name="csX54" fmla="*/ 2119617 w 3437996"/>
              <a:gd name="csY54" fmla="*/ 86919 h 2018071"/>
              <a:gd name="csX55" fmla="*/ 2805452 w 3437996"/>
              <a:gd name="csY55" fmla="*/ 622669 h 2018071"/>
              <a:gd name="csX56" fmla="*/ 3047873 w 3437996"/>
              <a:gd name="csY56" fmla="*/ 889895 h 2018071"/>
              <a:gd name="csX57" fmla="*/ 3201337 w 3437996"/>
              <a:gd name="csY57" fmla="*/ 1065192 h 2018071"/>
              <a:gd name="csX58" fmla="*/ 3322212 w 3437996"/>
              <a:gd name="csY58" fmla="*/ 1262254 h 2018071"/>
              <a:gd name="csX59" fmla="*/ 3434603 w 3437996"/>
              <a:gd name="csY59" fmla="*/ 1463610 h 2018071"/>
              <a:gd name="csX60" fmla="*/ 3437317 w 3437996"/>
              <a:gd name="csY60" fmla="*/ 1496424 h 2018071"/>
              <a:gd name="csX61" fmla="*/ 3437173 w 3437996"/>
              <a:gd name="csY61" fmla="*/ 1502015 h 2018071"/>
              <a:gd name="csX62" fmla="*/ 3265778 w 3437996"/>
              <a:gd name="csY62" fmla="*/ 1437268 h 2018071"/>
              <a:gd name="csX63" fmla="*/ 3131933 w 3437996"/>
              <a:gd name="csY63" fmla="*/ 1283723 h 2018071"/>
              <a:gd name="csX64" fmla="*/ 2856351 w 3437996"/>
              <a:gd name="csY64" fmla="*/ 1004478 h 2018071"/>
              <a:gd name="csX65" fmla="*/ 2818150 w 3437996"/>
              <a:gd name="csY65" fmla="*/ 969213 h 2018071"/>
              <a:gd name="csX66" fmla="*/ 2654127 w 3437996"/>
              <a:gd name="csY66" fmla="*/ 825572 h 2018071"/>
              <a:gd name="csX67" fmla="*/ 2651783 w 3437996"/>
              <a:gd name="csY67" fmla="*/ 823279 h 2018071"/>
              <a:gd name="csX68" fmla="*/ 2644017 w 3437996"/>
              <a:gd name="csY68" fmla="*/ 814773 h 2018071"/>
              <a:gd name="csX69" fmla="*/ 2642551 w 3437996"/>
              <a:gd name="csY69" fmla="*/ 813746 h 2018071"/>
              <a:gd name="csX70" fmla="*/ 2634494 w 3437996"/>
              <a:gd name="csY70" fmla="*/ 805208 h 2018071"/>
              <a:gd name="csX71" fmla="*/ 2633053 w 3437996"/>
              <a:gd name="csY71" fmla="*/ 804210 h 2018071"/>
              <a:gd name="csX72" fmla="*/ 2624994 w 3437996"/>
              <a:gd name="csY72" fmla="*/ 795655 h 2018071"/>
              <a:gd name="csX73" fmla="*/ 2623570 w 3437996"/>
              <a:gd name="csY73" fmla="*/ 794675 h 2018071"/>
              <a:gd name="csX74" fmla="*/ 2615495 w 3437996"/>
              <a:gd name="csY74" fmla="*/ 786111 h 2018071"/>
              <a:gd name="csX75" fmla="*/ 2614082 w 3437996"/>
              <a:gd name="csY75" fmla="*/ 785113 h 2018071"/>
              <a:gd name="csX76" fmla="*/ 2606007 w 3437996"/>
              <a:gd name="csY76" fmla="*/ 776562 h 2018071"/>
              <a:gd name="csX77" fmla="*/ 2604609 w 3437996"/>
              <a:gd name="csY77" fmla="*/ 775538 h 2018071"/>
              <a:gd name="csX78" fmla="*/ 2596489 w 3437996"/>
              <a:gd name="csY78" fmla="*/ 767032 h 2018071"/>
              <a:gd name="csX79" fmla="*/ 2595095 w 3437996"/>
              <a:gd name="csY79" fmla="*/ 766006 h 2018071"/>
              <a:gd name="csX80" fmla="*/ 2586954 w 3437996"/>
              <a:gd name="csY80" fmla="*/ 757512 h 2018071"/>
              <a:gd name="csX81" fmla="*/ 2585558 w 3437996"/>
              <a:gd name="csY81" fmla="*/ 756496 h 2018071"/>
              <a:gd name="csX82" fmla="*/ 2577410 w 3437996"/>
              <a:gd name="csY82" fmla="*/ 748000 h 2018071"/>
              <a:gd name="csX83" fmla="*/ 2576006 w 3437996"/>
              <a:gd name="csY83" fmla="*/ 747002 h 2018071"/>
              <a:gd name="csX84" fmla="*/ 2567871 w 3437996"/>
              <a:gd name="csY84" fmla="*/ 738486 h 2018071"/>
              <a:gd name="csX85" fmla="*/ 2566459 w 3437996"/>
              <a:gd name="csY85" fmla="*/ 737499 h 2018071"/>
              <a:gd name="csX86" fmla="*/ 2558352 w 3437996"/>
              <a:gd name="csY86" fmla="*/ 728962 h 2018071"/>
              <a:gd name="csX87" fmla="*/ 2556937 w 3437996"/>
              <a:gd name="csY87" fmla="*/ 727967 h 2018071"/>
              <a:gd name="csX88" fmla="*/ 2548845 w 3437996"/>
              <a:gd name="csY88" fmla="*/ 719430 h 2018071"/>
              <a:gd name="csX89" fmla="*/ 2547432 w 3437996"/>
              <a:gd name="csY89" fmla="*/ 718414 h 2018071"/>
              <a:gd name="csX90" fmla="*/ 2539350 w 3437996"/>
              <a:gd name="csY90" fmla="*/ 709894 h 2018071"/>
              <a:gd name="csX91" fmla="*/ 2537942 w 3437996"/>
              <a:gd name="csY91" fmla="*/ 708842 h 2018071"/>
              <a:gd name="csX92" fmla="*/ 2529865 w 3437996"/>
              <a:gd name="csY92" fmla="*/ 700356 h 2018071"/>
              <a:gd name="csX93" fmla="*/ 2528460 w 3437996"/>
              <a:gd name="csY93" fmla="*/ 699259 h 2018071"/>
              <a:gd name="csX94" fmla="*/ 2520386 w 3437996"/>
              <a:gd name="csY94" fmla="*/ 690820 h 2018071"/>
              <a:gd name="csX95" fmla="*/ 2518981 w 3437996"/>
              <a:gd name="csY95" fmla="*/ 689668 h 2018071"/>
              <a:gd name="csX96" fmla="*/ 2510900 w 3437996"/>
              <a:gd name="csY96" fmla="*/ 681286 h 2018071"/>
              <a:gd name="csX97" fmla="*/ 2509493 w 3437996"/>
              <a:gd name="csY97" fmla="*/ 680082 h 2018071"/>
              <a:gd name="csX98" fmla="*/ 2501400 w 3437996"/>
              <a:gd name="csY98" fmla="*/ 671754 h 2018071"/>
              <a:gd name="csX99" fmla="*/ 2499991 w 3437996"/>
              <a:gd name="csY99" fmla="*/ 670520 h 2018071"/>
              <a:gd name="csX100" fmla="*/ 2491892 w 3437996"/>
              <a:gd name="csY100" fmla="*/ 662222 h 2018071"/>
              <a:gd name="csX101" fmla="*/ 2490482 w 3437996"/>
              <a:gd name="csY101" fmla="*/ 660967 h 2018071"/>
              <a:gd name="csX102" fmla="*/ 2482391 w 3437996"/>
              <a:gd name="csY102" fmla="*/ 652682 h 2018071"/>
              <a:gd name="csX103" fmla="*/ 2480984 w 3437996"/>
              <a:gd name="csY103" fmla="*/ 651408 h 2018071"/>
              <a:gd name="csX104" fmla="*/ 2472919 w 3437996"/>
              <a:gd name="csY104" fmla="*/ 643127 h 2018071"/>
              <a:gd name="csX105" fmla="*/ 2471515 w 3437996"/>
              <a:gd name="csY105" fmla="*/ 641819 h 2018071"/>
              <a:gd name="csX106" fmla="*/ 2463424 w 3437996"/>
              <a:gd name="csY106" fmla="*/ 633584 h 2018071"/>
              <a:gd name="csX107" fmla="*/ 2462020 w 3437996"/>
              <a:gd name="csY107" fmla="*/ 632257 h 2018071"/>
              <a:gd name="csX108" fmla="*/ 2453925 w 3437996"/>
              <a:gd name="csY108" fmla="*/ 624049 h 2018071"/>
              <a:gd name="csX109" fmla="*/ 2452516 w 3437996"/>
              <a:gd name="csY109" fmla="*/ 622702 h 2018071"/>
              <a:gd name="csX110" fmla="*/ 2444450 w 3437996"/>
              <a:gd name="csY110" fmla="*/ 614506 h 2018071"/>
              <a:gd name="csX111" fmla="*/ 2443026 w 3437996"/>
              <a:gd name="csY111" fmla="*/ 613123 h 2018071"/>
              <a:gd name="csX112" fmla="*/ 2434957 w 3437996"/>
              <a:gd name="csY112" fmla="*/ 604969 h 2018071"/>
              <a:gd name="csX113" fmla="*/ 2433519 w 3437996"/>
              <a:gd name="csY113" fmla="*/ 603563 h 2018071"/>
              <a:gd name="csX114" fmla="*/ 2425486 w 3437996"/>
              <a:gd name="csY114" fmla="*/ 595418 h 2018071"/>
              <a:gd name="csX115" fmla="*/ 2424029 w 3437996"/>
              <a:gd name="csY115" fmla="*/ 593985 h 2018071"/>
              <a:gd name="csX116" fmla="*/ 2416081 w 3437996"/>
              <a:gd name="csY116" fmla="*/ 585841 h 2018071"/>
              <a:gd name="csX117" fmla="*/ 2414563 w 3437996"/>
              <a:gd name="csY117" fmla="*/ 584358 h 2018071"/>
              <a:gd name="csX118" fmla="*/ 2406640 w 3437996"/>
              <a:gd name="csY118" fmla="*/ 576281 h 2018071"/>
              <a:gd name="csX119" fmla="*/ 2405068 w 3437996"/>
              <a:gd name="csY119" fmla="*/ 574761 h 2018071"/>
              <a:gd name="csX120" fmla="*/ 2397176 w 3437996"/>
              <a:gd name="csY120" fmla="*/ 566733 h 2018071"/>
              <a:gd name="csX121" fmla="*/ 2395561 w 3437996"/>
              <a:gd name="csY121" fmla="*/ 565186 h 2018071"/>
              <a:gd name="csX122" fmla="*/ 2387690 w 3437996"/>
              <a:gd name="csY122" fmla="*/ 557193 h 2018071"/>
              <a:gd name="csX123" fmla="*/ 2386050 w 3437996"/>
              <a:gd name="csY123" fmla="*/ 555624 h 2018071"/>
              <a:gd name="csX124" fmla="*/ 2378191 w 3437996"/>
              <a:gd name="csY124" fmla="*/ 547659 h 2018071"/>
              <a:gd name="csX125" fmla="*/ 2376534 w 3437996"/>
              <a:gd name="csY125" fmla="*/ 546075 h 2018071"/>
              <a:gd name="csX126" fmla="*/ 2368704 w 3437996"/>
              <a:gd name="csY126" fmla="*/ 538124 h 2018071"/>
              <a:gd name="csX127" fmla="*/ 2367021 w 3437996"/>
              <a:gd name="csY127" fmla="*/ 536517 h 2018071"/>
              <a:gd name="csX128" fmla="*/ 2360018 w 3437996"/>
              <a:gd name="csY128" fmla="*/ 529380 h 2018071"/>
              <a:gd name="csX129" fmla="*/ 2357514 w 3437996"/>
              <a:gd name="csY129" fmla="*/ 526933 h 2018071"/>
              <a:gd name="csX130" fmla="*/ 2350552 w 3437996"/>
              <a:gd name="csY130" fmla="*/ 519835 h 2018071"/>
              <a:gd name="csX131" fmla="*/ 2348016 w 3437996"/>
              <a:gd name="csY131" fmla="*/ 517342 h 2018071"/>
              <a:gd name="csX132" fmla="*/ 2341054 w 3437996"/>
              <a:gd name="csY132" fmla="*/ 510297 h 2018071"/>
              <a:gd name="csX133" fmla="*/ 2338508 w 3437996"/>
              <a:gd name="csY133" fmla="*/ 507777 h 2018071"/>
              <a:gd name="csX134" fmla="*/ 2331539 w 3437996"/>
              <a:gd name="csY134" fmla="*/ 500765 h 2018071"/>
              <a:gd name="csX135" fmla="*/ 2328991 w 3437996"/>
              <a:gd name="csY135" fmla="*/ 498236 h 2018071"/>
              <a:gd name="csX136" fmla="*/ 2322020 w 3437996"/>
              <a:gd name="csY136" fmla="*/ 491243 h 2018071"/>
              <a:gd name="csX137" fmla="*/ 2319465 w 3437996"/>
              <a:gd name="csY137" fmla="*/ 488702 h 2018071"/>
              <a:gd name="csX138" fmla="*/ 2312510 w 3437996"/>
              <a:gd name="csY138" fmla="*/ 481725 h 2018071"/>
              <a:gd name="csX139" fmla="*/ 2309941 w 3437996"/>
              <a:gd name="csY139" fmla="*/ 479158 h 2018071"/>
              <a:gd name="csX140" fmla="*/ 2303024 w 3437996"/>
              <a:gd name="csY140" fmla="*/ 472210 h 2018071"/>
              <a:gd name="csX141" fmla="*/ 2300428 w 3437996"/>
              <a:gd name="csY141" fmla="*/ 469578 h 2018071"/>
              <a:gd name="csX142" fmla="*/ 2293545 w 3437996"/>
              <a:gd name="csY142" fmla="*/ 462697 h 2018071"/>
              <a:gd name="csX143" fmla="*/ 2290922 w 3437996"/>
              <a:gd name="csY143" fmla="*/ 459984 h 2018071"/>
              <a:gd name="csX144" fmla="*/ 2284051 w 3437996"/>
              <a:gd name="csY144" fmla="*/ 453172 h 2018071"/>
              <a:gd name="csX145" fmla="*/ 2281414 w 3437996"/>
              <a:gd name="csY145" fmla="*/ 450403 h 2018071"/>
              <a:gd name="csX146" fmla="*/ 2274560 w 3437996"/>
              <a:gd name="csY146" fmla="*/ 443646 h 2018071"/>
              <a:gd name="csX147" fmla="*/ 2271906 w 3437996"/>
              <a:gd name="csY147" fmla="*/ 440826 h 2018071"/>
              <a:gd name="csX148" fmla="*/ 2265120 w 3437996"/>
              <a:gd name="csY148" fmla="*/ 434112 h 2018071"/>
              <a:gd name="csX149" fmla="*/ 2262409 w 3437996"/>
              <a:gd name="csY149" fmla="*/ 431189 h 2018071"/>
              <a:gd name="csX150" fmla="*/ 2255765 w 3437996"/>
              <a:gd name="csY150" fmla="*/ 424557 h 2018071"/>
              <a:gd name="csX151" fmla="*/ 2252962 w 3437996"/>
              <a:gd name="csY151" fmla="*/ 421458 h 2018071"/>
              <a:gd name="csX152" fmla="*/ 2246361 w 3437996"/>
              <a:gd name="csY152" fmla="*/ 414989 h 2018071"/>
              <a:gd name="csX153" fmla="*/ 2226101 w 3437996"/>
              <a:gd name="csY153" fmla="*/ 394472 h 2018071"/>
              <a:gd name="csX154" fmla="*/ 2204126 w 3437996"/>
              <a:gd name="csY154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44017 w 3437996"/>
              <a:gd name="csY67" fmla="*/ 814773 h 2018071"/>
              <a:gd name="csX68" fmla="*/ 2642551 w 3437996"/>
              <a:gd name="csY68" fmla="*/ 813746 h 2018071"/>
              <a:gd name="csX69" fmla="*/ 2634494 w 3437996"/>
              <a:gd name="csY69" fmla="*/ 805208 h 2018071"/>
              <a:gd name="csX70" fmla="*/ 2633053 w 3437996"/>
              <a:gd name="csY70" fmla="*/ 804210 h 2018071"/>
              <a:gd name="csX71" fmla="*/ 2624994 w 3437996"/>
              <a:gd name="csY71" fmla="*/ 795655 h 2018071"/>
              <a:gd name="csX72" fmla="*/ 2623570 w 3437996"/>
              <a:gd name="csY72" fmla="*/ 794675 h 2018071"/>
              <a:gd name="csX73" fmla="*/ 2615495 w 3437996"/>
              <a:gd name="csY73" fmla="*/ 786111 h 2018071"/>
              <a:gd name="csX74" fmla="*/ 2614082 w 3437996"/>
              <a:gd name="csY74" fmla="*/ 785113 h 2018071"/>
              <a:gd name="csX75" fmla="*/ 2606007 w 3437996"/>
              <a:gd name="csY75" fmla="*/ 776562 h 2018071"/>
              <a:gd name="csX76" fmla="*/ 2604609 w 3437996"/>
              <a:gd name="csY76" fmla="*/ 775538 h 2018071"/>
              <a:gd name="csX77" fmla="*/ 2596489 w 3437996"/>
              <a:gd name="csY77" fmla="*/ 767032 h 2018071"/>
              <a:gd name="csX78" fmla="*/ 2595095 w 3437996"/>
              <a:gd name="csY78" fmla="*/ 766006 h 2018071"/>
              <a:gd name="csX79" fmla="*/ 2586954 w 3437996"/>
              <a:gd name="csY79" fmla="*/ 757512 h 2018071"/>
              <a:gd name="csX80" fmla="*/ 2585558 w 3437996"/>
              <a:gd name="csY80" fmla="*/ 756496 h 2018071"/>
              <a:gd name="csX81" fmla="*/ 2577410 w 3437996"/>
              <a:gd name="csY81" fmla="*/ 748000 h 2018071"/>
              <a:gd name="csX82" fmla="*/ 2576006 w 3437996"/>
              <a:gd name="csY82" fmla="*/ 747002 h 2018071"/>
              <a:gd name="csX83" fmla="*/ 2567871 w 3437996"/>
              <a:gd name="csY83" fmla="*/ 738486 h 2018071"/>
              <a:gd name="csX84" fmla="*/ 2566459 w 3437996"/>
              <a:gd name="csY84" fmla="*/ 737499 h 2018071"/>
              <a:gd name="csX85" fmla="*/ 2558352 w 3437996"/>
              <a:gd name="csY85" fmla="*/ 728962 h 2018071"/>
              <a:gd name="csX86" fmla="*/ 2556937 w 3437996"/>
              <a:gd name="csY86" fmla="*/ 727967 h 2018071"/>
              <a:gd name="csX87" fmla="*/ 2548845 w 3437996"/>
              <a:gd name="csY87" fmla="*/ 719430 h 2018071"/>
              <a:gd name="csX88" fmla="*/ 2547432 w 3437996"/>
              <a:gd name="csY88" fmla="*/ 718414 h 2018071"/>
              <a:gd name="csX89" fmla="*/ 2539350 w 3437996"/>
              <a:gd name="csY89" fmla="*/ 709894 h 2018071"/>
              <a:gd name="csX90" fmla="*/ 2537942 w 3437996"/>
              <a:gd name="csY90" fmla="*/ 708842 h 2018071"/>
              <a:gd name="csX91" fmla="*/ 2529865 w 3437996"/>
              <a:gd name="csY91" fmla="*/ 700356 h 2018071"/>
              <a:gd name="csX92" fmla="*/ 2528460 w 3437996"/>
              <a:gd name="csY92" fmla="*/ 699259 h 2018071"/>
              <a:gd name="csX93" fmla="*/ 2520386 w 3437996"/>
              <a:gd name="csY93" fmla="*/ 690820 h 2018071"/>
              <a:gd name="csX94" fmla="*/ 2518981 w 3437996"/>
              <a:gd name="csY94" fmla="*/ 689668 h 2018071"/>
              <a:gd name="csX95" fmla="*/ 2510900 w 3437996"/>
              <a:gd name="csY95" fmla="*/ 681286 h 2018071"/>
              <a:gd name="csX96" fmla="*/ 2509493 w 3437996"/>
              <a:gd name="csY96" fmla="*/ 680082 h 2018071"/>
              <a:gd name="csX97" fmla="*/ 2501400 w 3437996"/>
              <a:gd name="csY97" fmla="*/ 671754 h 2018071"/>
              <a:gd name="csX98" fmla="*/ 2499991 w 3437996"/>
              <a:gd name="csY98" fmla="*/ 670520 h 2018071"/>
              <a:gd name="csX99" fmla="*/ 2491892 w 3437996"/>
              <a:gd name="csY99" fmla="*/ 662222 h 2018071"/>
              <a:gd name="csX100" fmla="*/ 2490482 w 3437996"/>
              <a:gd name="csY100" fmla="*/ 660967 h 2018071"/>
              <a:gd name="csX101" fmla="*/ 2482391 w 3437996"/>
              <a:gd name="csY101" fmla="*/ 652682 h 2018071"/>
              <a:gd name="csX102" fmla="*/ 2480984 w 3437996"/>
              <a:gd name="csY102" fmla="*/ 651408 h 2018071"/>
              <a:gd name="csX103" fmla="*/ 2472919 w 3437996"/>
              <a:gd name="csY103" fmla="*/ 643127 h 2018071"/>
              <a:gd name="csX104" fmla="*/ 2471515 w 3437996"/>
              <a:gd name="csY104" fmla="*/ 641819 h 2018071"/>
              <a:gd name="csX105" fmla="*/ 2463424 w 3437996"/>
              <a:gd name="csY105" fmla="*/ 633584 h 2018071"/>
              <a:gd name="csX106" fmla="*/ 2462020 w 3437996"/>
              <a:gd name="csY106" fmla="*/ 632257 h 2018071"/>
              <a:gd name="csX107" fmla="*/ 2453925 w 3437996"/>
              <a:gd name="csY107" fmla="*/ 624049 h 2018071"/>
              <a:gd name="csX108" fmla="*/ 2452516 w 3437996"/>
              <a:gd name="csY108" fmla="*/ 622702 h 2018071"/>
              <a:gd name="csX109" fmla="*/ 2444450 w 3437996"/>
              <a:gd name="csY109" fmla="*/ 614506 h 2018071"/>
              <a:gd name="csX110" fmla="*/ 2443026 w 3437996"/>
              <a:gd name="csY110" fmla="*/ 613123 h 2018071"/>
              <a:gd name="csX111" fmla="*/ 2434957 w 3437996"/>
              <a:gd name="csY111" fmla="*/ 604969 h 2018071"/>
              <a:gd name="csX112" fmla="*/ 2433519 w 3437996"/>
              <a:gd name="csY112" fmla="*/ 603563 h 2018071"/>
              <a:gd name="csX113" fmla="*/ 2425486 w 3437996"/>
              <a:gd name="csY113" fmla="*/ 595418 h 2018071"/>
              <a:gd name="csX114" fmla="*/ 2424029 w 3437996"/>
              <a:gd name="csY114" fmla="*/ 593985 h 2018071"/>
              <a:gd name="csX115" fmla="*/ 2416081 w 3437996"/>
              <a:gd name="csY115" fmla="*/ 585841 h 2018071"/>
              <a:gd name="csX116" fmla="*/ 2414563 w 3437996"/>
              <a:gd name="csY116" fmla="*/ 584358 h 2018071"/>
              <a:gd name="csX117" fmla="*/ 2406640 w 3437996"/>
              <a:gd name="csY117" fmla="*/ 576281 h 2018071"/>
              <a:gd name="csX118" fmla="*/ 2405068 w 3437996"/>
              <a:gd name="csY118" fmla="*/ 574761 h 2018071"/>
              <a:gd name="csX119" fmla="*/ 2397176 w 3437996"/>
              <a:gd name="csY119" fmla="*/ 566733 h 2018071"/>
              <a:gd name="csX120" fmla="*/ 2395561 w 3437996"/>
              <a:gd name="csY120" fmla="*/ 565186 h 2018071"/>
              <a:gd name="csX121" fmla="*/ 2387690 w 3437996"/>
              <a:gd name="csY121" fmla="*/ 557193 h 2018071"/>
              <a:gd name="csX122" fmla="*/ 2386050 w 3437996"/>
              <a:gd name="csY122" fmla="*/ 555624 h 2018071"/>
              <a:gd name="csX123" fmla="*/ 2378191 w 3437996"/>
              <a:gd name="csY123" fmla="*/ 547659 h 2018071"/>
              <a:gd name="csX124" fmla="*/ 2376534 w 3437996"/>
              <a:gd name="csY124" fmla="*/ 546075 h 2018071"/>
              <a:gd name="csX125" fmla="*/ 2368704 w 3437996"/>
              <a:gd name="csY125" fmla="*/ 538124 h 2018071"/>
              <a:gd name="csX126" fmla="*/ 2367021 w 3437996"/>
              <a:gd name="csY126" fmla="*/ 536517 h 2018071"/>
              <a:gd name="csX127" fmla="*/ 2360018 w 3437996"/>
              <a:gd name="csY127" fmla="*/ 529380 h 2018071"/>
              <a:gd name="csX128" fmla="*/ 2357514 w 3437996"/>
              <a:gd name="csY128" fmla="*/ 526933 h 2018071"/>
              <a:gd name="csX129" fmla="*/ 2350552 w 3437996"/>
              <a:gd name="csY129" fmla="*/ 519835 h 2018071"/>
              <a:gd name="csX130" fmla="*/ 2348016 w 3437996"/>
              <a:gd name="csY130" fmla="*/ 517342 h 2018071"/>
              <a:gd name="csX131" fmla="*/ 2341054 w 3437996"/>
              <a:gd name="csY131" fmla="*/ 510297 h 2018071"/>
              <a:gd name="csX132" fmla="*/ 2338508 w 3437996"/>
              <a:gd name="csY132" fmla="*/ 507777 h 2018071"/>
              <a:gd name="csX133" fmla="*/ 2331539 w 3437996"/>
              <a:gd name="csY133" fmla="*/ 500765 h 2018071"/>
              <a:gd name="csX134" fmla="*/ 2328991 w 3437996"/>
              <a:gd name="csY134" fmla="*/ 498236 h 2018071"/>
              <a:gd name="csX135" fmla="*/ 2322020 w 3437996"/>
              <a:gd name="csY135" fmla="*/ 491243 h 2018071"/>
              <a:gd name="csX136" fmla="*/ 2319465 w 3437996"/>
              <a:gd name="csY136" fmla="*/ 488702 h 2018071"/>
              <a:gd name="csX137" fmla="*/ 2312510 w 3437996"/>
              <a:gd name="csY137" fmla="*/ 481725 h 2018071"/>
              <a:gd name="csX138" fmla="*/ 2309941 w 3437996"/>
              <a:gd name="csY138" fmla="*/ 479158 h 2018071"/>
              <a:gd name="csX139" fmla="*/ 2303024 w 3437996"/>
              <a:gd name="csY139" fmla="*/ 472210 h 2018071"/>
              <a:gd name="csX140" fmla="*/ 2300428 w 3437996"/>
              <a:gd name="csY140" fmla="*/ 469578 h 2018071"/>
              <a:gd name="csX141" fmla="*/ 2293545 w 3437996"/>
              <a:gd name="csY141" fmla="*/ 462697 h 2018071"/>
              <a:gd name="csX142" fmla="*/ 2290922 w 3437996"/>
              <a:gd name="csY142" fmla="*/ 459984 h 2018071"/>
              <a:gd name="csX143" fmla="*/ 2284051 w 3437996"/>
              <a:gd name="csY143" fmla="*/ 453172 h 2018071"/>
              <a:gd name="csX144" fmla="*/ 2281414 w 3437996"/>
              <a:gd name="csY144" fmla="*/ 450403 h 2018071"/>
              <a:gd name="csX145" fmla="*/ 2274560 w 3437996"/>
              <a:gd name="csY145" fmla="*/ 443646 h 2018071"/>
              <a:gd name="csX146" fmla="*/ 2271906 w 3437996"/>
              <a:gd name="csY146" fmla="*/ 440826 h 2018071"/>
              <a:gd name="csX147" fmla="*/ 2265120 w 3437996"/>
              <a:gd name="csY147" fmla="*/ 434112 h 2018071"/>
              <a:gd name="csX148" fmla="*/ 2262409 w 3437996"/>
              <a:gd name="csY148" fmla="*/ 431189 h 2018071"/>
              <a:gd name="csX149" fmla="*/ 2255765 w 3437996"/>
              <a:gd name="csY149" fmla="*/ 424557 h 2018071"/>
              <a:gd name="csX150" fmla="*/ 2252962 w 3437996"/>
              <a:gd name="csY150" fmla="*/ 421458 h 2018071"/>
              <a:gd name="csX151" fmla="*/ 2246361 w 3437996"/>
              <a:gd name="csY151" fmla="*/ 414989 h 2018071"/>
              <a:gd name="csX152" fmla="*/ 2226101 w 3437996"/>
              <a:gd name="csY152" fmla="*/ 394472 h 2018071"/>
              <a:gd name="csX153" fmla="*/ 2204126 w 3437996"/>
              <a:gd name="csY153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44017 w 3437996"/>
              <a:gd name="csY67" fmla="*/ 814773 h 2018071"/>
              <a:gd name="csX68" fmla="*/ 2642551 w 3437996"/>
              <a:gd name="csY68" fmla="*/ 813746 h 2018071"/>
              <a:gd name="csX69" fmla="*/ 2634494 w 3437996"/>
              <a:gd name="csY69" fmla="*/ 805208 h 2018071"/>
              <a:gd name="csX70" fmla="*/ 2633053 w 3437996"/>
              <a:gd name="csY70" fmla="*/ 804210 h 2018071"/>
              <a:gd name="csX71" fmla="*/ 2624994 w 3437996"/>
              <a:gd name="csY71" fmla="*/ 795655 h 2018071"/>
              <a:gd name="csX72" fmla="*/ 2623570 w 3437996"/>
              <a:gd name="csY72" fmla="*/ 794675 h 2018071"/>
              <a:gd name="csX73" fmla="*/ 2615495 w 3437996"/>
              <a:gd name="csY73" fmla="*/ 786111 h 2018071"/>
              <a:gd name="csX74" fmla="*/ 2614082 w 3437996"/>
              <a:gd name="csY74" fmla="*/ 785113 h 2018071"/>
              <a:gd name="csX75" fmla="*/ 2606007 w 3437996"/>
              <a:gd name="csY75" fmla="*/ 776562 h 2018071"/>
              <a:gd name="csX76" fmla="*/ 2604609 w 3437996"/>
              <a:gd name="csY76" fmla="*/ 775538 h 2018071"/>
              <a:gd name="csX77" fmla="*/ 2596489 w 3437996"/>
              <a:gd name="csY77" fmla="*/ 767032 h 2018071"/>
              <a:gd name="csX78" fmla="*/ 2595095 w 3437996"/>
              <a:gd name="csY78" fmla="*/ 766006 h 2018071"/>
              <a:gd name="csX79" fmla="*/ 2586954 w 3437996"/>
              <a:gd name="csY79" fmla="*/ 757512 h 2018071"/>
              <a:gd name="csX80" fmla="*/ 2585558 w 3437996"/>
              <a:gd name="csY80" fmla="*/ 756496 h 2018071"/>
              <a:gd name="csX81" fmla="*/ 2577410 w 3437996"/>
              <a:gd name="csY81" fmla="*/ 748000 h 2018071"/>
              <a:gd name="csX82" fmla="*/ 2576006 w 3437996"/>
              <a:gd name="csY82" fmla="*/ 747002 h 2018071"/>
              <a:gd name="csX83" fmla="*/ 2567871 w 3437996"/>
              <a:gd name="csY83" fmla="*/ 738486 h 2018071"/>
              <a:gd name="csX84" fmla="*/ 2566459 w 3437996"/>
              <a:gd name="csY84" fmla="*/ 737499 h 2018071"/>
              <a:gd name="csX85" fmla="*/ 2558352 w 3437996"/>
              <a:gd name="csY85" fmla="*/ 728962 h 2018071"/>
              <a:gd name="csX86" fmla="*/ 2556937 w 3437996"/>
              <a:gd name="csY86" fmla="*/ 727967 h 2018071"/>
              <a:gd name="csX87" fmla="*/ 2548845 w 3437996"/>
              <a:gd name="csY87" fmla="*/ 719430 h 2018071"/>
              <a:gd name="csX88" fmla="*/ 2547432 w 3437996"/>
              <a:gd name="csY88" fmla="*/ 718414 h 2018071"/>
              <a:gd name="csX89" fmla="*/ 2539350 w 3437996"/>
              <a:gd name="csY89" fmla="*/ 709894 h 2018071"/>
              <a:gd name="csX90" fmla="*/ 2537942 w 3437996"/>
              <a:gd name="csY90" fmla="*/ 708842 h 2018071"/>
              <a:gd name="csX91" fmla="*/ 2529865 w 3437996"/>
              <a:gd name="csY91" fmla="*/ 700356 h 2018071"/>
              <a:gd name="csX92" fmla="*/ 2528460 w 3437996"/>
              <a:gd name="csY92" fmla="*/ 699259 h 2018071"/>
              <a:gd name="csX93" fmla="*/ 2520386 w 3437996"/>
              <a:gd name="csY93" fmla="*/ 690820 h 2018071"/>
              <a:gd name="csX94" fmla="*/ 2518981 w 3437996"/>
              <a:gd name="csY94" fmla="*/ 689668 h 2018071"/>
              <a:gd name="csX95" fmla="*/ 2510900 w 3437996"/>
              <a:gd name="csY95" fmla="*/ 681286 h 2018071"/>
              <a:gd name="csX96" fmla="*/ 2509493 w 3437996"/>
              <a:gd name="csY96" fmla="*/ 680082 h 2018071"/>
              <a:gd name="csX97" fmla="*/ 2501400 w 3437996"/>
              <a:gd name="csY97" fmla="*/ 671754 h 2018071"/>
              <a:gd name="csX98" fmla="*/ 2499991 w 3437996"/>
              <a:gd name="csY98" fmla="*/ 670520 h 2018071"/>
              <a:gd name="csX99" fmla="*/ 2491892 w 3437996"/>
              <a:gd name="csY99" fmla="*/ 662222 h 2018071"/>
              <a:gd name="csX100" fmla="*/ 2490482 w 3437996"/>
              <a:gd name="csY100" fmla="*/ 660967 h 2018071"/>
              <a:gd name="csX101" fmla="*/ 2482391 w 3437996"/>
              <a:gd name="csY101" fmla="*/ 652682 h 2018071"/>
              <a:gd name="csX102" fmla="*/ 2480984 w 3437996"/>
              <a:gd name="csY102" fmla="*/ 651408 h 2018071"/>
              <a:gd name="csX103" fmla="*/ 2472919 w 3437996"/>
              <a:gd name="csY103" fmla="*/ 643127 h 2018071"/>
              <a:gd name="csX104" fmla="*/ 2471515 w 3437996"/>
              <a:gd name="csY104" fmla="*/ 641819 h 2018071"/>
              <a:gd name="csX105" fmla="*/ 2463424 w 3437996"/>
              <a:gd name="csY105" fmla="*/ 633584 h 2018071"/>
              <a:gd name="csX106" fmla="*/ 2462020 w 3437996"/>
              <a:gd name="csY106" fmla="*/ 632257 h 2018071"/>
              <a:gd name="csX107" fmla="*/ 2453925 w 3437996"/>
              <a:gd name="csY107" fmla="*/ 624049 h 2018071"/>
              <a:gd name="csX108" fmla="*/ 2452516 w 3437996"/>
              <a:gd name="csY108" fmla="*/ 622702 h 2018071"/>
              <a:gd name="csX109" fmla="*/ 2444450 w 3437996"/>
              <a:gd name="csY109" fmla="*/ 614506 h 2018071"/>
              <a:gd name="csX110" fmla="*/ 2443026 w 3437996"/>
              <a:gd name="csY110" fmla="*/ 613123 h 2018071"/>
              <a:gd name="csX111" fmla="*/ 2434957 w 3437996"/>
              <a:gd name="csY111" fmla="*/ 604969 h 2018071"/>
              <a:gd name="csX112" fmla="*/ 2433519 w 3437996"/>
              <a:gd name="csY112" fmla="*/ 603563 h 2018071"/>
              <a:gd name="csX113" fmla="*/ 2425486 w 3437996"/>
              <a:gd name="csY113" fmla="*/ 595418 h 2018071"/>
              <a:gd name="csX114" fmla="*/ 2424029 w 3437996"/>
              <a:gd name="csY114" fmla="*/ 593985 h 2018071"/>
              <a:gd name="csX115" fmla="*/ 2416081 w 3437996"/>
              <a:gd name="csY115" fmla="*/ 585841 h 2018071"/>
              <a:gd name="csX116" fmla="*/ 2414563 w 3437996"/>
              <a:gd name="csY116" fmla="*/ 584358 h 2018071"/>
              <a:gd name="csX117" fmla="*/ 2406640 w 3437996"/>
              <a:gd name="csY117" fmla="*/ 576281 h 2018071"/>
              <a:gd name="csX118" fmla="*/ 2405068 w 3437996"/>
              <a:gd name="csY118" fmla="*/ 574761 h 2018071"/>
              <a:gd name="csX119" fmla="*/ 2397176 w 3437996"/>
              <a:gd name="csY119" fmla="*/ 566733 h 2018071"/>
              <a:gd name="csX120" fmla="*/ 2395561 w 3437996"/>
              <a:gd name="csY120" fmla="*/ 565186 h 2018071"/>
              <a:gd name="csX121" fmla="*/ 2387690 w 3437996"/>
              <a:gd name="csY121" fmla="*/ 557193 h 2018071"/>
              <a:gd name="csX122" fmla="*/ 2386050 w 3437996"/>
              <a:gd name="csY122" fmla="*/ 555624 h 2018071"/>
              <a:gd name="csX123" fmla="*/ 2378191 w 3437996"/>
              <a:gd name="csY123" fmla="*/ 547659 h 2018071"/>
              <a:gd name="csX124" fmla="*/ 2376534 w 3437996"/>
              <a:gd name="csY124" fmla="*/ 546075 h 2018071"/>
              <a:gd name="csX125" fmla="*/ 2368704 w 3437996"/>
              <a:gd name="csY125" fmla="*/ 538124 h 2018071"/>
              <a:gd name="csX126" fmla="*/ 2367021 w 3437996"/>
              <a:gd name="csY126" fmla="*/ 536517 h 2018071"/>
              <a:gd name="csX127" fmla="*/ 2360018 w 3437996"/>
              <a:gd name="csY127" fmla="*/ 529380 h 2018071"/>
              <a:gd name="csX128" fmla="*/ 2357514 w 3437996"/>
              <a:gd name="csY128" fmla="*/ 526933 h 2018071"/>
              <a:gd name="csX129" fmla="*/ 2350552 w 3437996"/>
              <a:gd name="csY129" fmla="*/ 519835 h 2018071"/>
              <a:gd name="csX130" fmla="*/ 2348016 w 3437996"/>
              <a:gd name="csY130" fmla="*/ 517342 h 2018071"/>
              <a:gd name="csX131" fmla="*/ 2341054 w 3437996"/>
              <a:gd name="csY131" fmla="*/ 510297 h 2018071"/>
              <a:gd name="csX132" fmla="*/ 2338508 w 3437996"/>
              <a:gd name="csY132" fmla="*/ 507777 h 2018071"/>
              <a:gd name="csX133" fmla="*/ 2331539 w 3437996"/>
              <a:gd name="csY133" fmla="*/ 500765 h 2018071"/>
              <a:gd name="csX134" fmla="*/ 2322020 w 3437996"/>
              <a:gd name="csY134" fmla="*/ 491243 h 2018071"/>
              <a:gd name="csX135" fmla="*/ 2319465 w 3437996"/>
              <a:gd name="csY135" fmla="*/ 488702 h 2018071"/>
              <a:gd name="csX136" fmla="*/ 2312510 w 3437996"/>
              <a:gd name="csY136" fmla="*/ 481725 h 2018071"/>
              <a:gd name="csX137" fmla="*/ 2309941 w 3437996"/>
              <a:gd name="csY137" fmla="*/ 479158 h 2018071"/>
              <a:gd name="csX138" fmla="*/ 2303024 w 3437996"/>
              <a:gd name="csY138" fmla="*/ 472210 h 2018071"/>
              <a:gd name="csX139" fmla="*/ 2300428 w 3437996"/>
              <a:gd name="csY139" fmla="*/ 469578 h 2018071"/>
              <a:gd name="csX140" fmla="*/ 2293545 w 3437996"/>
              <a:gd name="csY140" fmla="*/ 462697 h 2018071"/>
              <a:gd name="csX141" fmla="*/ 2290922 w 3437996"/>
              <a:gd name="csY141" fmla="*/ 459984 h 2018071"/>
              <a:gd name="csX142" fmla="*/ 2284051 w 3437996"/>
              <a:gd name="csY142" fmla="*/ 453172 h 2018071"/>
              <a:gd name="csX143" fmla="*/ 2281414 w 3437996"/>
              <a:gd name="csY143" fmla="*/ 450403 h 2018071"/>
              <a:gd name="csX144" fmla="*/ 2274560 w 3437996"/>
              <a:gd name="csY144" fmla="*/ 443646 h 2018071"/>
              <a:gd name="csX145" fmla="*/ 2271906 w 3437996"/>
              <a:gd name="csY145" fmla="*/ 440826 h 2018071"/>
              <a:gd name="csX146" fmla="*/ 2265120 w 3437996"/>
              <a:gd name="csY146" fmla="*/ 434112 h 2018071"/>
              <a:gd name="csX147" fmla="*/ 2262409 w 3437996"/>
              <a:gd name="csY147" fmla="*/ 431189 h 2018071"/>
              <a:gd name="csX148" fmla="*/ 2255765 w 3437996"/>
              <a:gd name="csY148" fmla="*/ 424557 h 2018071"/>
              <a:gd name="csX149" fmla="*/ 2252962 w 3437996"/>
              <a:gd name="csY149" fmla="*/ 421458 h 2018071"/>
              <a:gd name="csX150" fmla="*/ 2246361 w 3437996"/>
              <a:gd name="csY150" fmla="*/ 414989 h 2018071"/>
              <a:gd name="csX151" fmla="*/ 2226101 w 3437996"/>
              <a:gd name="csY151" fmla="*/ 394472 h 2018071"/>
              <a:gd name="csX152" fmla="*/ 2204126 w 3437996"/>
              <a:gd name="csY152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44017 w 3437996"/>
              <a:gd name="csY67" fmla="*/ 814773 h 2018071"/>
              <a:gd name="csX68" fmla="*/ 2642551 w 3437996"/>
              <a:gd name="csY68" fmla="*/ 813746 h 2018071"/>
              <a:gd name="csX69" fmla="*/ 2634494 w 3437996"/>
              <a:gd name="csY69" fmla="*/ 805208 h 2018071"/>
              <a:gd name="csX70" fmla="*/ 2633053 w 3437996"/>
              <a:gd name="csY70" fmla="*/ 804210 h 2018071"/>
              <a:gd name="csX71" fmla="*/ 2624994 w 3437996"/>
              <a:gd name="csY71" fmla="*/ 795655 h 2018071"/>
              <a:gd name="csX72" fmla="*/ 2623570 w 3437996"/>
              <a:gd name="csY72" fmla="*/ 794675 h 2018071"/>
              <a:gd name="csX73" fmla="*/ 2615495 w 3437996"/>
              <a:gd name="csY73" fmla="*/ 786111 h 2018071"/>
              <a:gd name="csX74" fmla="*/ 2614082 w 3437996"/>
              <a:gd name="csY74" fmla="*/ 785113 h 2018071"/>
              <a:gd name="csX75" fmla="*/ 2606007 w 3437996"/>
              <a:gd name="csY75" fmla="*/ 776562 h 2018071"/>
              <a:gd name="csX76" fmla="*/ 2604609 w 3437996"/>
              <a:gd name="csY76" fmla="*/ 775538 h 2018071"/>
              <a:gd name="csX77" fmla="*/ 2596489 w 3437996"/>
              <a:gd name="csY77" fmla="*/ 767032 h 2018071"/>
              <a:gd name="csX78" fmla="*/ 2595095 w 3437996"/>
              <a:gd name="csY78" fmla="*/ 766006 h 2018071"/>
              <a:gd name="csX79" fmla="*/ 2586954 w 3437996"/>
              <a:gd name="csY79" fmla="*/ 757512 h 2018071"/>
              <a:gd name="csX80" fmla="*/ 2585558 w 3437996"/>
              <a:gd name="csY80" fmla="*/ 756496 h 2018071"/>
              <a:gd name="csX81" fmla="*/ 2577410 w 3437996"/>
              <a:gd name="csY81" fmla="*/ 748000 h 2018071"/>
              <a:gd name="csX82" fmla="*/ 2576006 w 3437996"/>
              <a:gd name="csY82" fmla="*/ 747002 h 2018071"/>
              <a:gd name="csX83" fmla="*/ 2567871 w 3437996"/>
              <a:gd name="csY83" fmla="*/ 738486 h 2018071"/>
              <a:gd name="csX84" fmla="*/ 2566459 w 3437996"/>
              <a:gd name="csY84" fmla="*/ 737499 h 2018071"/>
              <a:gd name="csX85" fmla="*/ 2558352 w 3437996"/>
              <a:gd name="csY85" fmla="*/ 728962 h 2018071"/>
              <a:gd name="csX86" fmla="*/ 2556937 w 3437996"/>
              <a:gd name="csY86" fmla="*/ 727967 h 2018071"/>
              <a:gd name="csX87" fmla="*/ 2548845 w 3437996"/>
              <a:gd name="csY87" fmla="*/ 719430 h 2018071"/>
              <a:gd name="csX88" fmla="*/ 2547432 w 3437996"/>
              <a:gd name="csY88" fmla="*/ 718414 h 2018071"/>
              <a:gd name="csX89" fmla="*/ 2539350 w 3437996"/>
              <a:gd name="csY89" fmla="*/ 709894 h 2018071"/>
              <a:gd name="csX90" fmla="*/ 2537942 w 3437996"/>
              <a:gd name="csY90" fmla="*/ 708842 h 2018071"/>
              <a:gd name="csX91" fmla="*/ 2529865 w 3437996"/>
              <a:gd name="csY91" fmla="*/ 700356 h 2018071"/>
              <a:gd name="csX92" fmla="*/ 2528460 w 3437996"/>
              <a:gd name="csY92" fmla="*/ 699259 h 2018071"/>
              <a:gd name="csX93" fmla="*/ 2520386 w 3437996"/>
              <a:gd name="csY93" fmla="*/ 690820 h 2018071"/>
              <a:gd name="csX94" fmla="*/ 2518981 w 3437996"/>
              <a:gd name="csY94" fmla="*/ 689668 h 2018071"/>
              <a:gd name="csX95" fmla="*/ 2510900 w 3437996"/>
              <a:gd name="csY95" fmla="*/ 681286 h 2018071"/>
              <a:gd name="csX96" fmla="*/ 2509493 w 3437996"/>
              <a:gd name="csY96" fmla="*/ 680082 h 2018071"/>
              <a:gd name="csX97" fmla="*/ 2501400 w 3437996"/>
              <a:gd name="csY97" fmla="*/ 671754 h 2018071"/>
              <a:gd name="csX98" fmla="*/ 2499991 w 3437996"/>
              <a:gd name="csY98" fmla="*/ 670520 h 2018071"/>
              <a:gd name="csX99" fmla="*/ 2491892 w 3437996"/>
              <a:gd name="csY99" fmla="*/ 662222 h 2018071"/>
              <a:gd name="csX100" fmla="*/ 2490482 w 3437996"/>
              <a:gd name="csY100" fmla="*/ 660967 h 2018071"/>
              <a:gd name="csX101" fmla="*/ 2482391 w 3437996"/>
              <a:gd name="csY101" fmla="*/ 652682 h 2018071"/>
              <a:gd name="csX102" fmla="*/ 2480984 w 3437996"/>
              <a:gd name="csY102" fmla="*/ 651408 h 2018071"/>
              <a:gd name="csX103" fmla="*/ 2472919 w 3437996"/>
              <a:gd name="csY103" fmla="*/ 643127 h 2018071"/>
              <a:gd name="csX104" fmla="*/ 2471515 w 3437996"/>
              <a:gd name="csY104" fmla="*/ 641819 h 2018071"/>
              <a:gd name="csX105" fmla="*/ 2463424 w 3437996"/>
              <a:gd name="csY105" fmla="*/ 633584 h 2018071"/>
              <a:gd name="csX106" fmla="*/ 2462020 w 3437996"/>
              <a:gd name="csY106" fmla="*/ 632257 h 2018071"/>
              <a:gd name="csX107" fmla="*/ 2453925 w 3437996"/>
              <a:gd name="csY107" fmla="*/ 624049 h 2018071"/>
              <a:gd name="csX108" fmla="*/ 2452516 w 3437996"/>
              <a:gd name="csY108" fmla="*/ 622702 h 2018071"/>
              <a:gd name="csX109" fmla="*/ 2444450 w 3437996"/>
              <a:gd name="csY109" fmla="*/ 614506 h 2018071"/>
              <a:gd name="csX110" fmla="*/ 2443026 w 3437996"/>
              <a:gd name="csY110" fmla="*/ 613123 h 2018071"/>
              <a:gd name="csX111" fmla="*/ 2434957 w 3437996"/>
              <a:gd name="csY111" fmla="*/ 604969 h 2018071"/>
              <a:gd name="csX112" fmla="*/ 2433519 w 3437996"/>
              <a:gd name="csY112" fmla="*/ 603563 h 2018071"/>
              <a:gd name="csX113" fmla="*/ 2425486 w 3437996"/>
              <a:gd name="csY113" fmla="*/ 595418 h 2018071"/>
              <a:gd name="csX114" fmla="*/ 2424029 w 3437996"/>
              <a:gd name="csY114" fmla="*/ 593985 h 2018071"/>
              <a:gd name="csX115" fmla="*/ 2416081 w 3437996"/>
              <a:gd name="csY115" fmla="*/ 585841 h 2018071"/>
              <a:gd name="csX116" fmla="*/ 2414563 w 3437996"/>
              <a:gd name="csY116" fmla="*/ 584358 h 2018071"/>
              <a:gd name="csX117" fmla="*/ 2406640 w 3437996"/>
              <a:gd name="csY117" fmla="*/ 576281 h 2018071"/>
              <a:gd name="csX118" fmla="*/ 2405068 w 3437996"/>
              <a:gd name="csY118" fmla="*/ 574761 h 2018071"/>
              <a:gd name="csX119" fmla="*/ 2397176 w 3437996"/>
              <a:gd name="csY119" fmla="*/ 566733 h 2018071"/>
              <a:gd name="csX120" fmla="*/ 2395561 w 3437996"/>
              <a:gd name="csY120" fmla="*/ 565186 h 2018071"/>
              <a:gd name="csX121" fmla="*/ 2387690 w 3437996"/>
              <a:gd name="csY121" fmla="*/ 557193 h 2018071"/>
              <a:gd name="csX122" fmla="*/ 2386050 w 3437996"/>
              <a:gd name="csY122" fmla="*/ 555624 h 2018071"/>
              <a:gd name="csX123" fmla="*/ 2378191 w 3437996"/>
              <a:gd name="csY123" fmla="*/ 547659 h 2018071"/>
              <a:gd name="csX124" fmla="*/ 2376534 w 3437996"/>
              <a:gd name="csY124" fmla="*/ 546075 h 2018071"/>
              <a:gd name="csX125" fmla="*/ 2368704 w 3437996"/>
              <a:gd name="csY125" fmla="*/ 538124 h 2018071"/>
              <a:gd name="csX126" fmla="*/ 2367021 w 3437996"/>
              <a:gd name="csY126" fmla="*/ 536517 h 2018071"/>
              <a:gd name="csX127" fmla="*/ 2360018 w 3437996"/>
              <a:gd name="csY127" fmla="*/ 529380 h 2018071"/>
              <a:gd name="csX128" fmla="*/ 2357514 w 3437996"/>
              <a:gd name="csY128" fmla="*/ 526933 h 2018071"/>
              <a:gd name="csX129" fmla="*/ 2350552 w 3437996"/>
              <a:gd name="csY129" fmla="*/ 519835 h 2018071"/>
              <a:gd name="csX130" fmla="*/ 2348016 w 3437996"/>
              <a:gd name="csY130" fmla="*/ 517342 h 2018071"/>
              <a:gd name="csX131" fmla="*/ 2341054 w 3437996"/>
              <a:gd name="csY131" fmla="*/ 510297 h 2018071"/>
              <a:gd name="csX132" fmla="*/ 2338508 w 3437996"/>
              <a:gd name="csY132" fmla="*/ 507777 h 2018071"/>
              <a:gd name="csX133" fmla="*/ 2322020 w 3437996"/>
              <a:gd name="csY133" fmla="*/ 491243 h 2018071"/>
              <a:gd name="csX134" fmla="*/ 2319465 w 3437996"/>
              <a:gd name="csY134" fmla="*/ 488702 h 2018071"/>
              <a:gd name="csX135" fmla="*/ 2312510 w 3437996"/>
              <a:gd name="csY135" fmla="*/ 481725 h 2018071"/>
              <a:gd name="csX136" fmla="*/ 2309941 w 3437996"/>
              <a:gd name="csY136" fmla="*/ 479158 h 2018071"/>
              <a:gd name="csX137" fmla="*/ 2303024 w 3437996"/>
              <a:gd name="csY137" fmla="*/ 472210 h 2018071"/>
              <a:gd name="csX138" fmla="*/ 2300428 w 3437996"/>
              <a:gd name="csY138" fmla="*/ 469578 h 2018071"/>
              <a:gd name="csX139" fmla="*/ 2293545 w 3437996"/>
              <a:gd name="csY139" fmla="*/ 462697 h 2018071"/>
              <a:gd name="csX140" fmla="*/ 2290922 w 3437996"/>
              <a:gd name="csY140" fmla="*/ 459984 h 2018071"/>
              <a:gd name="csX141" fmla="*/ 2284051 w 3437996"/>
              <a:gd name="csY141" fmla="*/ 453172 h 2018071"/>
              <a:gd name="csX142" fmla="*/ 2281414 w 3437996"/>
              <a:gd name="csY142" fmla="*/ 450403 h 2018071"/>
              <a:gd name="csX143" fmla="*/ 2274560 w 3437996"/>
              <a:gd name="csY143" fmla="*/ 443646 h 2018071"/>
              <a:gd name="csX144" fmla="*/ 2271906 w 3437996"/>
              <a:gd name="csY144" fmla="*/ 440826 h 2018071"/>
              <a:gd name="csX145" fmla="*/ 2265120 w 3437996"/>
              <a:gd name="csY145" fmla="*/ 434112 h 2018071"/>
              <a:gd name="csX146" fmla="*/ 2262409 w 3437996"/>
              <a:gd name="csY146" fmla="*/ 431189 h 2018071"/>
              <a:gd name="csX147" fmla="*/ 2255765 w 3437996"/>
              <a:gd name="csY147" fmla="*/ 424557 h 2018071"/>
              <a:gd name="csX148" fmla="*/ 2252962 w 3437996"/>
              <a:gd name="csY148" fmla="*/ 421458 h 2018071"/>
              <a:gd name="csX149" fmla="*/ 2246361 w 3437996"/>
              <a:gd name="csY149" fmla="*/ 414989 h 2018071"/>
              <a:gd name="csX150" fmla="*/ 2226101 w 3437996"/>
              <a:gd name="csY150" fmla="*/ 394472 h 2018071"/>
              <a:gd name="csX151" fmla="*/ 2204126 w 3437996"/>
              <a:gd name="csY151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44017 w 3437996"/>
              <a:gd name="csY67" fmla="*/ 814773 h 2018071"/>
              <a:gd name="csX68" fmla="*/ 2642551 w 3437996"/>
              <a:gd name="csY68" fmla="*/ 813746 h 2018071"/>
              <a:gd name="csX69" fmla="*/ 2634494 w 3437996"/>
              <a:gd name="csY69" fmla="*/ 805208 h 2018071"/>
              <a:gd name="csX70" fmla="*/ 2633053 w 3437996"/>
              <a:gd name="csY70" fmla="*/ 804210 h 2018071"/>
              <a:gd name="csX71" fmla="*/ 2624994 w 3437996"/>
              <a:gd name="csY71" fmla="*/ 795655 h 2018071"/>
              <a:gd name="csX72" fmla="*/ 2623570 w 3437996"/>
              <a:gd name="csY72" fmla="*/ 794675 h 2018071"/>
              <a:gd name="csX73" fmla="*/ 2615495 w 3437996"/>
              <a:gd name="csY73" fmla="*/ 786111 h 2018071"/>
              <a:gd name="csX74" fmla="*/ 2614082 w 3437996"/>
              <a:gd name="csY74" fmla="*/ 785113 h 2018071"/>
              <a:gd name="csX75" fmla="*/ 2606007 w 3437996"/>
              <a:gd name="csY75" fmla="*/ 776562 h 2018071"/>
              <a:gd name="csX76" fmla="*/ 2604609 w 3437996"/>
              <a:gd name="csY76" fmla="*/ 775538 h 2018071"/>
              <a:gd name="csX77" fmla="*/ 2596489 w 3437996"/>
              <a:gd name="csY77" fmla="*/ 767032 h 2018071"/>
              <a:gd name="csX78" fmla="*/ 2595095 w 3437996"/>
              <a:gd name="csY78" fmla="*/ 766006 h 2018071"/>
              <a:gd name="csX79" fmla="*/ 2586954 w 3437996"/>
              <a:gd name="csY79" fmla="*/ 757512 h 2018071"/>
              <a:gd name="csX80" fmla="*/ 2585558 w 3437996"/>
              <a:gd name="csY80" fmla="*/ 756496 h 2018071"/>
              <a:gd name="csX81" fmla="*/ 2577410 w 3437996"/>
              <a:gd name="csY81" fmla="*/ 748000 h 2018071"/>
              <a:gd name="csX82" fmla="*/ 2576006 w 3437996"/>
              <a:gd name="csY82" fmla="*/ 747002 h 2018071"/>
              <a:gd name="csX83" fmla="*/ 2567871 w 3437996"/>
              <a:gd name="csY83" fmla="*/ 738486 h 2018071"/>
              <a:gd name="csX84" fmla="*/ 2566459 w 3437996"/>
              <a:gd name="csY84" fmla="*/ 737499 h 2018071"/>
              <a:gd name="csX85" fmla="*/ 2558352 w 3437996"/>
              <a:gd name="csY85" fmla="*/ 728962 h 2018071"/>
              <a:gd name="csX86" fmla="*/ 2556937 w 3437996"/>
              <a:gd name="csY86" fmla="*/ 727967 h 2018071"/>
              <a:gd name="csX87" fmla="*/ 2548845 w 3437996"/>
              <a:gd name="csY87" fmla="*/ 719430 h 2018071"/>
              <a:gd name="csX88" fmla="*/ 2547432 w 3437996"/>
              <a:gd name="csY88" fmla="*/ 718414 h 2018071"/>
              <a:gd name="csX89" fmla="*/ 2539350 w 3437996"/>
              <a:gd name="csY89" fmla="*/ 709894 h 2018071"/>
              <a:gd name="csX90" fmla="*/ 2537942 w 3437996"/>
              <a:gd name="csY90" fmla="*/ 708842 h 2018071"/>
              <a:gd name="csX91" fmla="*/ 2529865 w 3437996"/>
              <a:gd name="csY91" fmla="*/ 700356 h 2018071"/>
              <a:gd name="csX92" fmla="*/ 2528460 w 3437996"/>
              <a:gd name="csY92" fmla="*/ 699259 h 2018071"/>
              <a:gd name="csX93" fmla="*/ 2520386 w 3437996"/>
              <a:gd name="csY93" fmla="*/ 690820 h 2018071"/>
              <a:gd name="csX94" fmla="*/ 2518981 w 3437996"/>
              <a:gd name="csY94" fmla="*/ 689668 h 2018071"/>
              <a:gd name="csX95" fmla="*/ 2510900 w 3437996"/>
              <a:gd name="csY95" fmla="*/ 681286 h 2018071"/>
              <a:gd name="csX96" fmla="*/ 2509493 w 3437996"/>
              <a:gd name="csY96" fmla="*/ 680082 h 2018071"/>
              <a:gd name="csX97" fmla="*/ 2501400 w 3437996"/>
              <a:gd name="csY97" fmla="*/ 671754 h 2018071"/>
              <a:gd name="csX98" fmla="*/ 2499991 w 3437996"/>
              <a:gd name="csY98" fmla="*/ 670520 h 2018071"/>
              <a:gd name="csX99" fmla="*/ 2491892 w 3437996"/>
              <a:gd name="csY99" fmla="*/ 662222 h 2018071"/>
              <a:gd name="csX100" fmla="*/ 2490482 w 3437996"/>
              <a:gd name="csY100" fmla="*/ 660967 h 2018071"/>
              <a:gd name="csX101" fmla="*/ 2482391 w 3437996"/>
              <a:gd name="csY101" fmla="*/ 652682 h 2018071"/>
              <a:gd name="csX102" fmla="*/ 2480984 w 3437996"/>
              <a:gd name="csY102" fmla="*/ 651408 h 2018071"/>
              <a:gd name="csX103" fmla="*/ 2472919 w 3437996"/>
              <a:gd name="csY103" fmla="*/ 643127 h 2018071"/>
              <a:gd name="csX104" fmla="*/ 2471515 w 3437996"/>
              <a:gd name="csY104" fmla="*/ 641819 h 2018071"/>
              <a:gd name="csX105" fmla="*/ 2463424 w 3437996"/>
              <a:gd name="csY105" fmla="*/ 633584 h 2018071"/>
              <a:gd name="csX106" fmla="*/ 2462020 w 3437996"/>
              <a:gd name="csY106" fmla="*/ 632257 h 2018071"/>
              <a:gd name="csX107" fmla="*/ 2453925 w 3437996"/>
              <a:gd name="csY107" fmla="*/ 624049 h 2018071"/>
              <a:gd name="csX108" fmla="*/ 2452516 w 3437996"/>
              <a:gd name="csY108" fmla="*/ 622702 h 2018071"/>
              <a:gd name="csX109" fmla="*/ 2444450 w 3437996"/>
              <a:gd name="csY109" fmla="*/ 614506 h 2018071"/>
              <a:gd name="csX110" fmla="*/ 2443026 w 3437996"/>
              <a:gd name="csY110" fmla="*/ 613123 h 2018071"/>
              <a:gd name="csX111" fmla="*/ 2434957 w 3437996"/>
              <a:gd name="csY111" fmla="*/ 604969 h 2018071"/>
              <a:gd name="csX112" fmla="*/ 2433519 w 3437996"/>
              <a:gd name="csY112" fmla="*/ 603563 h 2018071"/>
              <a:gd name="csX113" fmla="*/ 2425486 w 3437996"/>
              <a:gd name="csY113" fmla="*/ 595418 h 2018071"/>
              <a:gd name="csX114" fmla="*/ 2424029 w 3437996"/>
              <a:gd name="csY114" fmla="*/ 593985 h 2018071"/>
              <a:gd name="csX115" fmla="*/ 2416081 w 3437996"/>
              <a:gd name="csY115" fmla="*/ 585841 h 2018071"/>
              <a:gd name="csX116" fmla="*/ 2414563 w 3437996"/>
              <a:gd name="csY116" fmla="*/ 584358 h 2018071"/>
              <a:gd name="csX117" fmla="*/ 2406640 w 3437996"/>
              <a:gd name="csY117" fmla="*/ 576281 h 2018071"/>
              <a:gd name="csX118" fmla="*/ 2405068 w 3437996"/>
              <a:gd name="csY118" fmla="*/ 574761 h 2018071"/>
              <a:gd name="csX119" fmla="*/ 2397176 w 3437996"/>
              <a:gd name="csY119" fmla="*/ 566733 h 2018071"/>
              <a:gd name="csX120" fmla="*/ 2395561 w 3437996"/>
              <a:gd name="csY120" fmla="*/ 565186 h 2018071"/>
              <a:gd name="csX121" fmla="*/ 2387690 w 3437996"/>
              <a:gd name="csY121" fmla="*/ 557193 h 2018071"/>
              <a:gd name="csX122" fmla="*/ 2386050 w 3437996"/>
              <a:gd name="csY122" fmla="*/ 555624 h 2018071"/>
              <a:gd name="csX123" fmla="*/ 2378191 w 3437996"/>
              <a:gd name="csY123" fmla="*/ 547659 h 2018071"/>
              <a:gd name="csX124" fmla="*/ 2376534 w 3437996"/>
              <a:gd name="csY124" fmla="*/ 546075 h 2018071"/>
              <a:gd name="csX125" fmla="*/ 2368704 w 3437996"/>
              <a:gd name="csY125" fmla="*/ 538124 h 2018071"/>
              <a:gd name="csX126" fmla="*/ 2367021 w 3437996"/>
              <a:gd name="csY126" fmla="*/ 536517 h 2018071"/>
              <a:gd name="csX127" fmla="*/ 2360018 w 3437996"/>
              <a:gd name="csY127" fmla="*/ 529380 h 2018071"/>
              <a:gd name="csX128" fmla="*/ 2350552 w 3437996"/>
              <a:gd name="csY128" fmla="*/ 519835 h 2018071"/>
              <a:gd name="csX129" fmla="*/ 2348016 w 3437996"/>
              <a:gd name="csY129" fmla="*/ 517342 h 2018071"/>
              <a:gd name="csX130" fmla="*/ 2341054 w 3437996"/>
              <a:gd name="csY130" fmla="*/ 510297 h 2018071"/>
              <a:gd name="csX131" fmla="*/ 2338508 w 3437996"/>
              <a:gd name="csY131" fmla="*/ 507777 h 2018071"/>
              <a:gd name="csX132" fmla="*/ 2322020 w 3437996"/>
              <a:gd name="csY132" fmla="*/ 491243 h 2018071"/>
              <a:gd name="csX133" fmla="*/ 2319465 w 3437996"/>
              <a:gd name="csY133" fmla="*/ 488702 h 2018071"/>
              <a:gd name="csX134" fmla="*/ 2312510 w 3437996"/>
              <a:gd name="csY134" fmla="*/ 481725 h 2018071"/>
              <a:gd name="csX135" fmla="*/ 2309941 w 3437996"/>
              <a:gd name="csY135" fmla="*/ 479158 h 2018071"/>
              <a:gd name="csX136" fmla="*/ 2303024 w 3437996"/>
              <a:gd name="csY136" fmla="*/ 472210 h 2018071"/>
              <a:gd name="csX137" fmla="*/ 2300428 w 3437996"/>
              <a:gd name="csY137" fmla="*/ 469578 h 2018071"/>
              <a:gd name="csX138" fmla="*/ 2293545 w 3437996"/>
              <a:gd name="csY138" fmla="*/ 462697 h 2018071"/>
              <a:gd name="csX139" fmla="*/ 2290922 w 3437996"/>
              <a:gd name="csY139" fmla="*/ 459984 h 2018071"/>
              <a:gd name="csX140" fmla="*/ 2284051 w 3437996"/>
              <a:gd name="csY140" fmla="*/ 453172 h 2018071"/>
              <a:gd name="csX141" fmla="*/ 2281414 w 3437996"/>
              <a:gd name="csY141" fmla="*/ 450403 h 2018071"/>
              <a:gd name="csX142" fmla="*/ 2274560 w 3437996"/>
              <a:gd name="csY142" fmla="*/ 443646 h 2018071"/>
              <a:gd name="csX143" fmla="*/ 2271906 w 3437996"/>
              <a:gd name="csY143" fmla="*/ 440826 h 2018071"/>
              <a:gd name="csX144" fmla="*/ 2265120 w 3437996"/>
              <a:gd name="csY144" fmla="*/ 434112 h 2018071"/>
              <a:gd name="csX145" fmla="*/ 2262409 w 3437996"/>
              <a:gd name="csY145" fmla="*/ 431189 h 2018071"/>
              <a:gd name="csX146" fmla="*/ 2255765 w 3437996"/>
              <a:gd name="csY146" fmla="*/ 424557 h 2018071"/>
              <a:gd name="csX147" fmla="*/ 2252962 w 3437996"/>
              <a:gd name="csY147" fmla="*/ 421458 h 2018071"/>
              <a:gd name="csX148" fmla="*/ 2246361 w 3437996"/>
              <a:gd name="csY148" fmla="*/ 414989 h 2018071"/>
              <a:gd name="csX149" fmla="*/ 2226101 w 3437996"/>
              <a:gd name="csY149" fmla="*/ 394472 h 2018071"/>
              <a:gd name="csX150" fmla="*/ 2204126 w 3437996"/>
              <a:gd name="csY150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44017 w 3437996"/>
              <a:gd name="csY67" fmla="*/ 814773 h 2018071"/>
              <a:gd name="csX68" fmla="*/ 2642551 w 3437996"/>
              <a:gd name="csY68" fmla="*/ 813746 h 2018071"/>
              <a:gd name="csX69" fmla="*/ 2634494 w 3437996"/>
              <a:gd name="csY69" fmla="*/ 805208 h 2018071"/>
              <a:gd name="csX70" fmla="*/ 2633053 w 3437996"/>
              <a:gd name="csY70" fmla="*/ 804210 h 2018071"/>
              <a:gd name="csX71" fmla="*/ 2624994 w 3437996"/>
              <a:gd name="csY71" fmla="*/ 795655 h 2018071"/>
              <a:gd name="csX72" fmla="*/ 2623570 w 3437996"/>
              <a:gd name="csY72" fmla="*/ 794675 h 2018071"/>
              <a:gd name="csX73" fmla="*/ 2615495 w 3437996"/>
              <a:gd name="csY73" fmla="*/ 786111 h 2018071"/>
              <a:gd name="csX74" fmla="*/ 2614082 w 3437996"/>
              <a:gd name="csY74" fmla="*/ 785113 h 2018071"/>
              <a:gd name="csX75" fmla="*/ 2606007 w 3437996"/>
              <a:gd name="csY75" fmla="*/ 776562 h 2018071"/>
              <a:gd name="csX76" fmla="*/ 2604609 w 3437996"/>
              <a:gd name="csY76" fmla="*/ 775538 h 2018071"/>
              <a:gd name="csX77" fmla="*/ 2596489 w 3437996"/>
              <a:gd name="csY77" fmla="*/ 767032 h 2018071"/>
              <a:gd name="csX78" fmla="*/ 2595095 w 3437996"/>
              <a:gd name="csY78" fmla="*/ 766006 h 2018071"/>
              <a:gd name="csX79" fmla="*/ 2586954 w 3437996"/>
              <a:gd name="csY79" fmla="*/ 757512 h 2018071"/>
              <a:gd name="csX80" fmla="*/ 2585558 w 3437996"/>
              <a:gd name="csY80" fmla="*/ 756496 h 2018071"/>
              <a:gd name="csX81" fmla="*/ 2577410 w 3437996"/>
              <a:gd name="csY81" fmla="*/ 748000 h 2018071"/>
              <a:gd name="csX82" fmla="*/ 2576006 w 3437996"/>
              <a:gd name="csY82" fmla="*/ 747002 h 2018071"/>
              <a:gd name="csX83" fmla="*/ 2567871 w 3437996"/>
              <a:gd name="csY83" fmla="*/ 738486 h 2018071"/>
              <a:gd name="csX84" fmla="*/ 2566459 w 3437996"/>
              <a:gd name="csY84" fmla="*/ 737499 h 2018071"/>
              <a:gd name="csX85" fmla="*/ 2558352 w 3437996"/>
              <a:gd name="csY85" fmla="*/ 728962 h 2018071"/>
              <a:gd name="csX86" fmla="*/ 2556937 w 3437996"/>
              <a:gd name="csY86" fmla="*/ 727967 h 2018071"/>
              <a:gd name="csX87" fmla="*/ 2548845 w 3437996"/>
              <a:gd name="csY87" fmla="*/ 719430 h 2018071"/>
              <a:gd name="csX88" fmla="*/ 2547432 w 3437996"/>
              <a:gd name="csY88" fmla="*/ 718414 h 2018071"/>
              <a:gd name="csX89" fmla="*/ 2539350 w 3437996"/>
              <a:gd name="csY89" fmla="*/ 709894 h 2018071"/>
              <a:gd name="csX90" fmla="*/ 2537942 w 3437996"/>
              <a:gd name="csY90" fmla="*/ 708842 h 2018071"/>
              <a:gd name="csX91" fmla="*/ 2529865 w 3437996"/>
              <a:gd name="csY91" fmla="*/ 700356 h 2018071"/>
              <a:gd name="csX92" fmla="*/ 2528460 w 3437996"/>
              <a:gd name="csY92" fmla="*/ 699259 h 2018071"/>
              <a:gd name="csX93" fmla="*/ 2520386 w 3437996"/>
              <a:gd name="csY93" fmla="*/ 690820 h 2018071"/>
              <a:gd name="csX94" fmla="*/ 2518981 w 3437996"/>
              <a:gd name="csY94" fmla="*/ 689668 h 2018071"/>
              <a:gd name="csX95" fmla="*/ 2510900 w 3437996"/>
              <a:gd name="csY95" fmla="*/ 681286 h 2018071"/>
              <a:gd name="csX96" fmla="*/ 2509493 w 3437996"/>
              <a:gd name="csY96" fmla="*/ 680082 h 2018071"/>
              <a:gd name="csX97" fmla="*/ 2501400 w 3437996"/>
              <a:gd name="csY97" fmla="*/ 671754 h 2018071"/>
              <a:gd name="csX98" fmla="*/ 2499991 w 3437996"/>
              <a:gd name="csY98" fmla="*/ 670520 h 2018071"/>
              <a:gd name="csX99" fmla="*/ 2491892 w 3437996"/>
              <a:gd name="csY99" fmla="*/ 662222 h 2018071"/>
              <a:gd name="csX100" fmla="*/ 2490482 w 3437996"/>
              <a:gd name="csY100" fmla="*/ 660967 h 2018071"/>
              <a:gd name="csX101" fmla="*/ 2482391 w 3437996"/>
              <a:gd name="csY101" fmla="*/ 652682 h 2018071"/>
              <a:gd name="csX102" fmla="*/ 2480984 w 3437996"/>
              <a:gd name="csY102" fmla="*/ 651408 h 2018071"/>
              <a:gd name="csX103" fmla="*/ 2472919 w 3437996"/>
              <a:gd name="csY103" fmla="*/ 643127 h 2018071"/>
              <a:gd name="csX104" fmla="*/ 2471515 w 3437996"/>
              <a:gd name="csY104" fmla="*/ 641819 h 2018071"/>
              <a:gd name="csX105" fmla="*/ 2463424 w 3437996"/>
              <a:gd name="csY105" fmla="*/ 633584 h 2018071"/>
              <a:gd name="csX106" fmla="*/ 2462020 w 3437996"/>
              <a:gd name="csY106" fmla="*/ 632257 h 2018071"/>
              <a:gd name="csX107" fmla="*/ 2453925 w 3437996"/>
              <a:gd name="csY107" fmla="*/ 624049 h 2018071"/>
              <a:gd name="csX108" fmla="*/ 2452516 w 3437996"/>
              <a:gd name="csY108" fmla="*/ 622702 h 2018071"/>
              <a:gd name="csX109" fmla="*/ 2444450 w 3437996"/>
              <a:gd name="csY109" fmla="*/ 614506 h 2018071"/>
              <a:gd name="csX110" fmla="*/ 2443026 w 3437996"/>
              <a:gd name="csY110" fmla="*/ 613123 h 2018071"/>
              <a:gd name="csX111" fmla="*/ 2434957 w 3437996"/>
              <a:gd name="csY111" fmla="*/ 604969 h 2018071"/>
              <a:gd name="csX112" fmla="*/ 2433519 w 3437996"/>
              <a:gd name="csY112" fmla="*/ 603563 h 2018071"/>
              <a:gd name="csX113" fmla="*/ 2425486 w 3437996"/>
              <a:gd name="csY113" fmla="*/ 595418 h 2018071"/>
              <a:gd name="csX114" fmla="*/ 2424029 w 3437996"/>
              <a:gd name="csY114" fmla="*/ 593985 h 2018071"/>
              <a:gd name="csX115" fmla="*/ 2416081 w 3437996"/>
              <a:gd name="csY115" fmla="*/ 585841 h 2018071"/>
              <a:gd name="csX116" fmla="*/ 2414563 w 3437996"/>
              <a:gd name="csY116" fmla="*/ 584358 h 2018071"/>
              <a:gd name="csX117" fmla="*/ 2406640 w 3437996"/>
              <a:gd name="csY117" fmla="*/ 576281 h 2018071"/>
              <a:gd name="csX118" fmla="*/ 2397176 w 3437996"/>
              <a:gd name="csY118" fmla="*/ 566733 h 2018071"/>
              <a:gd name="csX119" fmla="*/ 2395561 w 3437996"/>
              <a:gd name="csY119" fmla="*/ 565186 h 2018071"/>
              <a:gd name="csX120" fmla="*/ 2387690 w 3437996"/>
              <a:gd name="csY120" fmla="*/ 557193 h 2018071"/>
              <a:gd name="csX121" fmla="*/ 2386050 w 3437996"/>
              <a:gd name="csY121" fmla="*/ 555624 h 2018071"/>
              <a:gd name="csX122" fmla="*/ 2378191 w 3437996"/>
              <a:gd name="csY122" fmla="*/ 547659 h 2018071"/>
              <a:gd name="csX123" fmla="*/ 2376534 w 3437996"/>
              <a:gd name="csY123" fmla="*/ 546075 h 2018071"/>
              <a:gd name="csX124" fmla="*/ 2368704 w 3437996"/>
              <a:gd name="csY124" fmla="*/ 538124 h 2018071"/>
              <a:gd name="csX125" fmla="*/ 2367021 w 3437996"/>
              <a:gd name="csY125" fmla="*/ 536517 h 2018071"/>
              <a:gd name="csX126" fmla="*/ 2360018 w 3437996"/>
              <a:gd name="csY126" fmla="*/ 529380 h 2018071"/>
              <a:gd name="csX127" fmla="*/ 2350552 w 3437996"/>
              <a:gd name="csY127" fmla="*/ 519835 h 2018071"/>
              <a:gd name="csX128" fmla="*/ 2348016 w 3437996"/>
              <a:gd name="csY128" fmla="*/ 517342 h 2018071"/>
              <a:gd name="csX129" fmla="*/ 2341054 w 3437996"/>
              <a:gd name="csY129" fmla="*/ 510297 h 2018071"/>
              <a:gd name="csX130" fmla="*/ 2338508 w 3437996"/>
              <a:gd name="csY130" fmla="*/ 507777 h 2018071"/>
              <a:gd name="csX131" fmla="*/ 2322020 w 3437996"/>
              <a:gd name="csY131" fmla="*/ 491243 h 2018071"/>
              <a:gd name="csX132" fmla="*/ 2319465 w 3437996"/>
              <a:gd name="csY132" fmla="*/ 488702 h 2018071"/>
              <a:gd name="csX133" fmla="*/ 2312510 w 3437996"/>
              <a:gd name="csY133" fmla="*/ 481725 h 2018071"/>
              <a:gd name="csX134" fmla="*/ 2309941 w 3437996"/>
              <a:gd name="csY134" fmla="*/ 479158 h 2018071"/>
              <a:gd name="csX135" fmla="*/ 2303024 w 3437996"/>
              <a:gd name="csY135" fmla="*/ 472210 h 2018071"/>
              <a:gd name="csX136" fmla="*/ 2300428 w 3437996"/>
              <a:gd name="csY136" fmla="*/ 469578 h 2018071"/>
              <a:gd name="csX137" fmla="*/ 2293545 w 3437996"/>
              <a:gd name="csY137" fmla="*/ 462697 h 2018071"/>
              <a:gd name="csX138" fmla="*/ 2290922 w 3437996"/>
              <a:gd name="csY138" fmla="*/ 459984 h 2018071"/>
              <a:gd name="csX139" fmla="*/ 2284051 w 3437996"/>
              <a:gd name="csY139" fmla="*/ 453172 h 2018071"/>
              <a:gd name="csX140" fmla="*/ 2281414 w 3437996"/>
              <a:gd name="csY140" fmla="*/ 450403 h 2018071"/>
              <a:gd name="csX141" fmla="*/ 2274560 w 3437996"/>
              <a:gd name="csY141" fmla="*/ 443646 h 2018071"/>
              <a:gd name="csX142" fmla="*/ 2271906 w 3437996"/>
              <a:gd name="csY142" fmla="*/ 440826 h 2018071"/>
              <a:gd name="csX143" fmla="*/ 2265120 w 3437996"/>
              <a:gd name="csY143" fmla="*/ 434112 h 2018071"/>
              <a:gd name="csX144" fmla="*/ 2262409 w 3437996"/>
              <a:gd name="csY144" fmla="*/ 431189 h 2018071"/>
              <a:gd name="csX145" fmla="*/ 2255765 w 3437996"/>
              <a:gd name="csY145" fmla="*/ 424557 h 2018071"/>
              <a:gd name="csX146" fmla="*/ 2252962 w 3437996"/>
              <a:gd name="csY146" fmla="*/ 421458 h 2018071"/>
              <a:gd name="csX147" fmla="*/ 2246361 w 3437996"/>
              <a:gd name="csY147" fmla="*/ 414989 h 2018071"/>
              <a:gd name="csX148" fmla="*/ 2226101 w 3437996"/>
              <a:gd name="csY148" fmla="*/ 394472 h 2018071"/>
              <a:gd name="csX149" fmla="*/ 2204126 w 3437996"/>
              <a:gd name="csY149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44017 w 3437996"/>
              <a:gd name="csY67" fmla="*/ 814773 h 2018071"/>
              <a:gd name="csX68" fmla="*/ 2642551 w 3437996"/>
              <a:gd name="csY68" fmla="*/ 813746 h 2018071"/>
              <a:gd name="csX69" fmla="*/ 2634494 w 3437996"/>
              <a:gd name="csY69" fmla="*/ 805208 h 2018071"/>
              <a:gd name="csX70" fmla="*/ 2633053 w 3437996"/>
              <a:gd name="csY70" fmla="*/ 804210 h 2018071"/>
              <a:gd name="csX71" fmla="*/ 2624994 w 3437996"/>
              <a:gd name="csY71" fmla="*/ 795655 h 2018071"/>
              <a:gd name="csX72" fmla="*/ 2623570 w 3437996"/>
              <a:gd name="csY72" fmla="*/ 794675 h 2018071"/>
              <a:gd name="csX73" fmla="*/ 2615495 w 3437996"/>
              <a:gd name="csY73" fmla="*/ 786111 h 2018071"/>
              <a:gd name="csX74" fmla="*/ 2614082 w 3437996"/>
              <a:gd name="csY74" fmla="*/ 785113 h 2018071"/>
              <a:gd name="csX75" fmla="*/ 2606007 w 3437996"/>
              <a:gd name="csY75" fmla="*/ 776562 h 2018071"/>
              <a:gd name="csX76" fmla="*/ 2604609 w 3437996"/>
              <a:gd name="csY76" fmla="*/ 775538 h 2018071"/>
              <a:gd name="csX77" fmla="*/ 2596489 w 3437996"/>
              <a:gd name="csY77" fmla="*/ 767032 h 2018071"/>
              <a:gd name="csX78" fmla="*/ 2595095 w 3437996"/>
              <a:gd name="csY78" fmla="*/ 766006 h 2018071"/>
              <a:gd name="csX79" fmla="*/ 2586954 w 3437996"/>
              <a:gd name="csY79" fmla="*/ 757512 h 2018071"/>
              <a:gd name="csX80" fmla="*/ 2585558 w 3437996"/>
              <a:gd name="csY80" fmla="*/ 756496 h 2018071"/>
              <a:gd name="csX81" fmla="*/ 2577410 w 3437996"/>
              <a:gd name="csY81" fmla="*/ 748000 h 2018071"/>
              <a:gd name="csX82" fmla="*/ 2576006 w 3437996"/>
              <a:gd name="csY82" fmla="*/ 747002 h 2018071"/>
              <a:gd name="csX83" fmla="*/ 2567871 w 3437996"/>
              <a:gd name="csY83" fmla="*/ 738486 h 2018071"/>
              <a:gd name="csX84" fmla="*/ 2566459 w 3437996"/>
              <a:gd name="csY84" fmla="*/ 737499 h 2018071"/>
              <a:gd name="csX85" fmla="*/ 2558352 w 3437996"/>
              <a:gd name="csY85" fmla="*/ 728962 h 2018071"/>
              <a:gd name="csX86" fmla="*/ 2556937 w 3437996"/>
              <a:gd name="csY86" fmla="*/ 727967 h 2018071"/>
              <a:gd name="csX87" fmla="*/ 2548845 w 3437996"/>
              <a:gd name="csY87" fmla="*/ 719430 h 2018071"/>
              <a:gd name="csX88" fmla="*/ 2547432 w 3437996"/>
              <a:gd name="csY88" fmla="*/ 718414 h 2018071"/>
              <a:gd name="csX89" fmla="*/ 2539350 w 3437996"/>
              <a:gd name="csY89" fmla="*/ 709894 h 2018071"/>
              <a:gd name="csX90" fmla="*/ 2537942 w 3437996"/>
              <a:gd name="csY90" fmla="*/ 708842 h 2018071"/>
              <a:gd name="csX91" fmla="*/ 2529865 w 3437996"/>
              <a:gd name="csY91" fmla="*/ 700356 h 2018071"/>
              <a:gd name="csX92" fmla="*/ 2528460 w 3437996"/>
              <a:gd name="csY92" fmla="*/ 699259 h 2018071"/>
              <a:gd name="csX93" fmla="*/ 2520386 w 3437996"/>
              <a:gd name="csY93" fmla="*/ 690820 h 2018071"/>
              <a:gd name="csX94" fmla="*/ 2518981 w 3437996"/>
              <a:gd name="csY94" fmla="*/ 689668 h 2018071"/>
              <a:gd name="csX95" fmla="*/ 2510900 w 3437996"/>
              <a:gd name="csY95" fmla="*/ 681286 h 2018071"/>
              <a:gd name="csX96" fmla="*/ 2509493 w 3437996"/>
              <a:gd name="csY96" fmla="*/ 680082 h 2018071"/>
              <a:gd name="csX97" fmla="*/ 2501400 w 3437996"/>
              <a:gd name="csY97" fmla="*/ 671754 h 2018071"/>
              <a:gd name="csX98" fmla="*/ 2499991 w 3437996"/>
              <a:gd name="csY98" fmla="*/ 670520 h 2018071"/>
              <a:gd name="csX99" fmla="*/ 2491892 w 3437996"/>
              <a:gd name="csY99" fmla="*/ 662222 h 2018071"/>
              <a:gd name="csX100" fmla="*/ 2490482 w 3437996"/>
              <a:gd name="csY100" fmla="*/ 660967 h 2018071"/>
              <a:gd name="csX101" fmla="*/ 2482391 w 3437996"/>
              <a:gd name="csY101" fmla="*/ 652682 h 2018071"/>
              <a:gd name="csX102" fmla="*/ 2480984 w 3437996"/>
              <a:gd name="csY102" fmla="*/ 651408 h 2018071"/>
              <a:gd name="csX103" fmla="*/ 2472919 w 3437996"/>
              <a:gd name="csY103" fmla="*/ 643127 h 2018071"/>
              <a:gd name="csX104" fmla="*/ 2471515 w 3437996"/>
              <a:gd name="csY104" fmla="*/ 641819 h 2018071"/>
              <a:gd name="csX105" fmla="*/ 2463424 w 3437996"/>
              <a:gd name="csY105" fmla="*/ 633584 h 2018071"/>
              <a:gd name="csX106" fmla="*/ 2462020 w 3437996"/>
              <a:gd name="csY106" fmla="*/ 632257 h 2018071"/>
              <a:gd name="csX107" fmla="*/ 2453925 w 3437996"/>
              <a:gd name="csY107" fmla="*/ 624049 h 2018071"/>
              <a:gd name="csX108" fmla="*/ 2452516 w 3437996"/>
              <a:gd name="csY108" fmla="*/ 622702 h 2018071"/>
              <a:gd name="csX109" fmla="*/ 2444450 w 3437996"/>
              <a:gd name="csY109" fmla="*/ 614506 h 2018071"/>
              <a:gd name="csX110" fmla="*/ 2434957 w 3437996"/>
              <a:gd name="csY110" fmla="*/ 604969 h 2018071"/>
              <a:gd name="csX111" fmla="*/ 2433519 w 3437996"/>
              <a:gd name="csY111" fmla="*/ 603563 h 2018071"/>
              <a:gd name="csX112" fmla="*/ 2425486 w 3437996"/>
              <a:gd name="csY112" fmla="*/ 595418 h 2018071"/>
              <a:gd name="csX113" fmla="*/ 2424029 w 3437996"/>
              <a:gd name="csY113" fmla="*/ 593985 h 2018071"/>
              <a:gd name="csX114" fmla="*/ 2416081 w 3437996"/>
              <a:gd name="csY114" fmla="*/ 585841 h 2018071"/>
              <a:gd name="csX115" fmla="*/ 2414563 w 3437996"/>
              <a:gd name="csY115" fmla="*/ 584358 h 2018071"/>
              <a:gd name="csX116" fmla="*/ 2406640 w 3437996"/>
              <a:gd name="csY116" fmla="*/ 576281 h 2018071"/>
              <a:gd name="csX117" fmla="*/ 2397176 w 3437996"/>
              <a:gd name="csY117" fmla="*/ 566733 h 2018071"/>
              <a:gd name="csX118" fmla="*/ 2395561 w 3437996"/>
              <a:gd name="csY118" fmla="*/ 565186 h 2018071"/>
              <a:gd name="csX119" fmla="*/ 2387690 w 3437996"/>
              <a:gd name="csY119" fmla="*/ 557193 h 2018071"/>
              <a:gd name="csX120" fmla="*/ 2386050 w 3437996"/>
              <a:gd name="csY120" fmla="*/ 555624 h 2018071"/>
              <a:gd name="csX121" fmla="*/ 2378191 w 3437996"/>
              <a:gd name="csY121" fmla="*/ 547659 h 2018071"/>
              <a:gd name="csX122" fmla="*/ 2376534 w 3437996"/>
              <a:gd name="csY122" fmla="*/ 546075 h 2018071"/>
              <a:gd name="csX123" fmla="*/ 2368704 w 3437996"/>
              <a:gd name="csY123" fmla="*/ 538124 h 2018071"/>
              <a:gd name="csX124" fmla="*/ 2367021 w 3437996"/>
              <a:gd name="csY124" fmla="*/ 536517 h 2018071"/>
              <a:gd name="csX125" fmla="*/ 2360018 w 3437996"/>
              <a:gd name="csY125" fmla="*/ 529380 h 2018071"/>
              <a:gd name="csX126" fmla="*/ 2350552 w 3437996"/>
              <a:gd name="csY126" fmla="*/ 519835 h 2018071"/>
              <a:gd name="csX127" fmla="*/ 2348016 w 3437996"/>
              <a:gd name="csY127" fmla="*/ 517342 h 2018071"/>
              <a:gd name="csX128" fmla="*/ 2341054 w 3437996"/>
              <a:gd name="csY128" fmla="*/ 510297 h 2018071"/>
              <a:gd name="csX129" fmla="*/ 2338508 w 3437996"/>
              <a:gd name="csY129" fmla="*/ 507777 h 2018071"/>
              <a:gd name="csX130" fmla="*/ 2322020 w 3437996"/>
              <a:gd name="csY130" fmla="*/ 491243 h 2018071"/>
              <a:gd name="csX131" fmla="*/ 2319465 w 3437996"/>
              <a:gd name="csY131" fmla="*/ 488702 h 2018071"/>
              <a:gd name="csX132" fmla="*/ 2312510 w 3437996"/>
              <a:gd name="csY132" fmla="*/ 481725 h 2018071"/>
              <a:gd name="csX133" fmla="*/ 2309941 w 3437996"/>
              <a:gd name="csY133" fmla="*/ 479158 h 2018071"/>
              <a:gd name="csX134" fmla="*/ 2303024 w 3437996"/>
              <a:gd name="csY134" fmla="*/ 472210 h 2018071"/>
              <a:gd name="csX135" fmla="*/ 2300428 w 3437996"/>
              <a:gd name="csY135" fmla="*/ 469578 h 2018071"/>
              <a:gd name="csX136" fmla="*/ 2293545 w 3437996"/>
              <a:gd name="csY136" fmla="*/ 462697 h 2018071"/>
              <a:gd name="csX137" fmla="*/ 2290922 w 3437996"/>
              <a:gd name="csY137" fmla="*/ 459984 h 2018071"/>
              <a:gd name="csX138" fmla="*/ 2284051 w 3437996"/>
              <a:gd name="csY138" fmla="*/ 453172 h 2018071"/>
              <a:gd name="csX139" fmla="*/ 2281414 w 3437996"/>
              <a:gd name="csY139" fmla="*/ 450403 h 2018071"/>
              <a:gd name="csX140" fmla="*/ 2274560 w 3437996"/>
              <a:gd name="csY140" fmla="*/ 443646 h 2018071"/>
              <a:gd name="csX141" fmla="*/ 2271906 w 3437996"/>
              <a:gd name="csY141" fmla="*/ 440826 h 2018071"/>
              <a:gd name="csX142" fmla="*/ 2265120 w 3437996"/>
              <a:gd name="csY142" fmla="*/ 434112 h 2018071"/>
              <a:gd name="csX143" fmla="*/ 2262409 w 3437996"/>
              <a:gd name="csY143" fmla="*/ 431189 h 2018071"/>
              <a:gd name="csX144" fmla="*/ 2255765 w 3437996"/>
              <a:gd name="csY144" fmla="*/ 424557 h 2018071"/>
              <a:gd name="csX145" fmla="*/ 2252962 w 3437996"/>
              <a:gd name="csY145" fmla="*/ 421458 h 2018071"/>
              <a:gd name="csX146" fmla="*/ 2246361 w 3437996"/>
              <a:gd name="csY146" fmla="*/ 414989 h 2018071"/>
              <a:gd name="csX147" fmla="*/ 2226101 w 3437996"/>
              <a:gd name="csY147" fmla="*/ 394472 h 2018071"/>
              <a:gd name="csX148" fmla="*/ 2204126 w 3437996"/>
              <a:gd name="csY148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44017 w 3437996"/>
              <a:gd name="csY67" fmla="*/ 814773 h 2018071"/>
              <a:gd name="csX68" fmla="*/ 2642551 w 3437996"/>
              <a:gd name="csY68" fmla="*/ 813746 h 2018071"/>
              <a:gd name="csX69" fmla="*/ 2634494 w 3437996"/>
              <a:gd name="csY69" fmla="*/ 805208 h 2018071"/>
              <a:gd name="csX70" fmla="*/ 2633053 w 3437996"/>
              <a:gd name="csY70" fmla="*/ 804210 h 2018071"/>
              <a:gd name="csX71" fmla="*/ 2624994 w 3437996"/>
              <a:gd name="csY71" fmla="*/ 795655 h 2018071"/>
              <a:gd name="csX72" fmla="*/ 2623570 w 3437996"/>
              <a:gd name="csY72" fmla="*/ 794675 h 2018071"/>
              <a:gd name="csX73" fmla="*/ 2615495 w 3437996"/>
              <a:gd name="csY73" fmla="*/ 786111 h 2018071"/>
              <a:gd name="csX74" fmla="*/ 2614082 w 3437996"/>
              <a:gd name="csY74" fmla="*/ 785113 h 2018071"/>
              <a:gd name="csX75" fmla="*/ 2606007 w 3437996"/>
              <a:gd name="csY75" fmla="*/ 776562 h 2018071"/>
              <a:gd name="csX76" fmla="*/ 2604609 w 3437996"/>
              <a:gd name="csY76" fmla="*/ 775538 h 2018071"/>
              <a:gd name="csX77" fmla="*/ 2596489 w 3437996"/>
              <a:gd name="csY77" fmla="*/ 767032 h 2018071"/>
              <a:gd name="csX78" fmla="*/ 2595095 w 3437996"/>
              <a:gd name="csY78" fmla="*/ 766006 h 2018071"/>
              <a:gd name="csX79" fmla="*/ 2586954 w 3437996"/>
              <a:gd name="csY79" fmla="*/ 757512 h 2018071"/>
              <a:gd name="csX80" fmla="*/ 2585558 w 3437996"/>
              <a:gd name="csY80" fmla="*/ 756496 h 2018071"/>
              <a:gd name="csX81" fmla="*/ 2577410 w 3437996"/>
              <a:gd name="csY81" fmla="*/ 748000 h 2018071"/>
              <a:gd name="csX82" fmla="*/ 2576006 w 3437996"/>
              <a:gd name="csY82" fmla="*/ 747002 h 2018071"/>
              <a:gd name="csX83" fmla="*/ 2567871 w 3437996"/>
              <a:gd name="csY83" fmla="*/ 738486 h 2018071"/>
              <a:gd name="csX84" fmla="*/ 2566459 w 3437996"/>
              <a:gd name="csY84" fmla="*/ 737499 h 2018071"/>
              <a:gd name="csX85" fmla="*/ 2558352 w 3437996"/>
              <a:gd name="csY85" fmla="*/ 728962 h 2018071"/>
              <a:gd name="csX86" fmla="*/ 2556937 w 3437996"/>
              <a:gd name="csY86" fmla="*/ 727967 h 2018071"/>
              <a:gd name="csX87" fmla="*/ 2548845 w 3437996"/>
              <a:gd name="csY87" fmla="*/ 719430 h 2018071"/>
              <a:gd name="csX88" fmla="*/ 2547432 w 3437996"/>
              <a:gd name="csY88" fmla="*/ 718414 h 2018071"/>
              <a:gd name="csX89" fmla="*/ 2539350 w 3437996"/>
              <a:gd name="csY89" fmla="*/ 709894 h 2018071"/>
              <a:gd name="csX90" fmla="*/ 2537942 w 3437996"/>
              <a:gd name="csY90" fmla="*/ 708842 h 2018071"/>
              <a:gd name="csX91" fmla="*/ 2529865 w 3437996"/>
              <a:gd name="csY91" fmla="*/ 700356 h 2018071"/>
              <a:gd name="csX92" fmla="*/ 2528460 w 3437996"/>
              <a:gd name="csY92" fmla="*/ 699259 h 2018071"/>
              <a:gd name="csX93" fmla="*/ 2520386 w 3437996"/>
              <a:gd name="csY93" fmla="*/ 690820 h 2018071"/>
              <a:gd name="csX94" fmla="*/ 2518981 w 3437996"/>
              <a:gd name="csY94" fmla="*/ 689668 h 2018071"/>
              <a:gd name="csX95" fmla="*/ 2510900 w 3437996"/>
              <a:gd name="csY95" fmla="*/ 681286 h 2018071"/>
              <a:gd name="csX96" fmla="*/ 2509493 w 3437996"/>
              <a:gd name="csY96" fmla="*/ 680082 h 2018071"/>
              <a:gd name="csX97" fmla="*/ 2501400 w 3437996"/>
              <a:gd name="csY97" fmla="*/ 671754 h 2018071"/>
              <a:gd name="csX98" fmla="*/ 2499991 w 3437996"/>
              <a:gd name="csY98" fmla="*/ 670520 h 2018071"/>
              <a:gd name="csX99" fmla="*/ 2491892 w 3437996"/>
              <a:gd name="csY99" fmla="*/ 662222 h 2018071"/>
              <a:gd name="csX100" fmla="*/ 2490482 w 3437996"/>
              <a:gd name="csY100" fmla="*/ 660967 h 2018071"/>
              <a:gd name="csX101" fmla="*/ 2480984 w 3437996"/>
              <a:gd name="csY101" fmla="*/ 651408 h 2018071"/>
              <a:gd name="csX102" fmla="*/ 2472919 w 3437996"/>
              <a:gd name="csY102" fmla="*/ 643127 h 2018071"/>
              <a:gd name="csX103" fmla="*/ 2471515 w 3437996"/>
              <a:gd name="csY103" fmla="*/ 641819 h 2018071"/>
              <a:gd name="csX104" fmla="*/ 2463424 w 3437996"/>
              <a:gd name="csY104" fmla="*/ 633584 h 2018071"/>
              <a:gd name="csX105" fmla="*/ 2462020 w 3437996"/>
              <a:gd name="csY105" fmla="*/ 632257 h 2018071"/>
              <a:gd name="csX106" fmla="*/ 2453925 w 3437996"/>
              <a:gd name="csY106" fmla="*/ 624049 h 2018071"/>
              <a:gd name="csX107" fmla="*/ 2452516 w 3437996"/>
              <a:gd name="csY107" fmla="*/ 622702 h 2018071"/>
              <a:gd name="csX108" fmla="*/ 2444450 w 3437996"/>
              <a:gd name="csY108" fmla="*/ 614506 h 2018071"/>
              <a:gd name="csX109" fmla="*/ 2434957 w 3437996"/>
              <a:gd name="csY109" fmla="*/ 604969 h 2018071"/>
              <a:gd name="csX110" fmla="*/ 2433519 w 3437996"/>
              <a:gd name="csY110" fmla="*/ 603563 h 2018071"/>
              <a:gd name="csX111" fmla="*/ 2425486 w 3437996"/>
              <a:gd name="csY111" fmla="*/ 595418 h 2018071"/>
              <a:gd name="csX112" fmla="*/ 2424029 w 3437996"/>
              <a:gd name="csY112" fmla="*/ 593985 h 2018071"/>
              <a:gd name="csX113" fmla="*/ 2416081 w 3437996"/>
              <a:gd name="csY113" fmla="*/ 585841 h 2018071"/>
              <a:gd name="csX114" fmla="*/ 2414563 w 3437996"/>
              <a:gd name="csY114" fmla="*/ 584358 h 2018071"/>
              <a:gd name="csX115" fmla="*/ 2406640 w 3437996"/>
              <a:gd name="csY115" fmla="*/ 576281 h 2018071"/>
              <a:gd name="csX116" fmla="*/ 2397176 w 3437996"/>
              <a:gd name="csY116" fmla="*/ 566733 h 2018071"/>
              <a:gd name="csX117" fmla="*/ 2395561 w 3437996"/>
              <a:gd name="csY117" fmla="*/ 565186 h 2018071"/>
              <a:gd name="csX118" fmla="*/ 2387690 w 3437996"/>
              <a:gd name="csY118" fmla="*/ 557193 h 2018071"/>
              <a:gd name="csX119" fmla="*/ 2386050 w 3437996"/>
              <a:gd name="csY119" fmla="*/ 555624 h 2018071"/>
              <a:gd name="csX120" fmla="*/ 2378191 w 3437996"/>
              <a:gd name="csY120" fmla="*/ 547659 h 2018071"/>
              <a:gd name="csX121" fmla="*/ 2376534 w 3437996"/>
              <a:gd name="csY121" fmla="*/ 546075 h 2018071"/>
              <a:gd name="csX122" fmla="*/ 2368704 w 3437996"/>
              <a:gd name="csY122" fmla="*/ 538124 h 2018071"/>
              <a:gd name="csX123" fmla="*/ 2367021 w 3437996"/>
              <a:gd name="csY123" fmla="*/ 536517 h 2018071"/>
              <a:gd name="csX124" fmla="*/ 2360018 w 3437996"/>
              <a:gd name="csY124" fmla="*/ 529380 h 2018071"/>
              <a:gd name="csX125" fmla="*/ 2350552 w 3437996"/>
              <a:gd name="csY125" fmla="*/ 519835 h 2018071"/>
              <a:gd name="csX126" fmla="*/ 2348016 w 3437996"/>
              <a:gd name="csY126" fmla="*/ 517342 h 2018071"/>
              <a:gd name="csX127" fmla="*/ 2341054 w 3437996"/>
              <a:gd name="csY127" fmla="*/ 510297 h 2018071"/>
              <a:gd name="csX128" fmla="*/ 2338508 w 3437996"/>
              <a:gd name="csY128" fmla="*/ 507777 h 2018071"/>
              <a:gd name="csX129" fmla="*/ 2322020 w 3437996"/>
              <a:gd name="csY129" fmla="*/ 491243 h 2018071"/>
              <a:gd name="csX130" fmla="*/ 2319465 w 3437996"/>
              <a:gd name="csY130" fmla="*/ 488702 h 2018071"/>
              <a:gd name="csX131" fmla="*/ 2312510 w 3437996"/>
              <a:gd name="csY131" fmla="*/ 481725 h 2018071"/>
              <a:gd name="csX132" fmla="*/ 2309941 w 3437996"/>
              <a:gd name="csY132" fmla="*/ 479158 h 2018071"/>
              <a:gd name="csX133" fmla="*/ 2303024 w 3437996"/>
              <a:gd name="csY133" fmla="*/ 472210 h 2018071"/>
              <a:gd name="csX134" fmla="*/ 2300428 w 3437996"/>
              <a:gd name="csY134" fmla="*/ 469578 h 2018071"/>
              <a:gd name="csX135" fmla="*/ 2293545 w 3437996"/>
              <a:gd name="csY135" fmla="*/ 462697 h 2018071"/>
              <a:gd name="csX136" fmla="*/ 2290922 w 3437996"/>
              <a:gd name="csY136" fmla="*/ 459984 h 2018071"/>
              <a:gd name="csX137" fmla="*/ 2284051 w 3437996"/>
              <a:gd name="csY137" fmla="*/ 453172 h 2018071"/>
              <a:gd name="csX138" fmla="*/ 2281414 w 3437996"/>
              <a:gd name="csY138" fmla="*/ 450403 h 2018071"/>
              <a:gd name="csX139" fmla="*/ 2274560 w 3437996"/>
              <a:gd name="csY139" fmla="*/ 443646 h 2018071"/>
              <a:gd name="csX140" fmla="*/ 2271906 w 3437996"/>
              <a:gd name="csY140" fmla="*/ 440826 h 2018071"/>
              <a:gd name="csX141" fmla="*/ 2265120 w 3437996"/>
              <a:gd name="csY141" fmla="*/ 434112 h 2018071"/>
              <a:gd name="csX142" fmla="*/ 2262409 w 3437996"/>
              <a:gd name="csY142" fmla="*/ 431189 h 2018071"/>
              <a:gd name="csX143" fmla="*/ 2255765 w 3437996"/>
              <a:gd name="csY143" fmla="*/ 424557 h 2018071"/>
              <a:gd name="csX144" fmla="*/ 2252962 w 3437996"/>
              <a:gd name="csY144" fmla="*/ 421458 h 2018071"/>
              <a:gd name="csX145" fmla="*/ 2246361 w 3437996"/>
              <a:gd name="csY145" fmla="*/ 414989 h 2018071"/>
              <a:gd name="csX146" fmla="*/ 2226101 w 3437996"/>
              <a:gd name="csY146" fmla="*/ 394472 h 2018071"/>
              <a:gd name="csX147" fmla="*/ 2204126 w 3437996"/>
              <a:gd name="csY147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44017 w 3437996"/>
              <a:gd name="csY67" fmla="*/ 814773 h 2018071"/>
              <a:gd name="csX68" fmla="*/ 2642551 w 3437996"/>
              <a:gd name="csY68" fmla="*/ 813746 h 2018071"/>
              <a:gd name="csX69" fmla="*/ 2634494 w 3437996"/>
              <a:gd name="csY69" fmla="*/ 805208 h 2018071"/>
              <a:gd name="csX70" fmla="*/ 2633053 w 3437996"/>
              <a:gd name="csY70" fmla="*/ 804210 h 2018071"/>
              <a:gd name="csX71" fmla="*/ 2624994 w 3437996"/>
              <a:gd name="csY71" fmla="*/ 795655 h 2018071"/>
              <a:gd name="csX72" fmla="*/ 2623570 w 3437996"/>
              <a:gd name="csY72" fmla="*/ 794675 h 2018071"/>
              <a:gd name="csX73" fmla="*/ 2615495 w 3437996"/>
              <a:gd name="csY73" fmla="*/ 786111 h 2018071"/>
              <a:gd name="csX74" fmla="*/ 2614082 w 3437996"/>
              <a:gd name="csY74" fmla="*/ 785113 h 2018071"/>
              <a:gd name="csX75" fmla="*/ 2606007 w 3437996"/>
              <a:gd name="csY75" fmla="*/ 776562 h 2018071"/>
              <a:gd name="csX76" fmla="*/ 2604609 w 3437996"/>
              <a:gd name="csY76" fmla="*/ 775538 h 2018071"/>
              <a:gd name="csX77" fmla="*/ 2596489 w 3437996"/>
              <a:gd name="csY77" fmla="*/ 767032 h 2018071"/>
              <a:gd name="csX78" fmla="*/ 2595095 w 3437996"/>
              <a:gd name="csY78" fmla="*/ 766006 h 2018071"/>
              <a:gd name="csX79" fmla="*/ 2586954 w 3437996"/>
              <a:gd name="csY79" fmla="*/ 757512 h 2018071"/>
              <a:gd name="csX80" fmla="*/ 2585558 w 3437996"/>
              <a:gd name="csY80" fmla="*/ 756496 h 2018071"/>
              <a:gd name="csX81" fmla="*/ 2577410 w 3437996"/>
              <a:gd name="csY81" fmla="*/ 748000 h 2018071"/>
              <a:gd name="csX82" fmla="*/ 2576006 w 3437996"/>
              <a:gd name="csY82" fmla="*/ 747002 h 2018071"/>
              <a:gd name="csX83" fmla="*/ 2567871 w 3437996"/>
              <a:gd name="csY83" fmla="*/ 738486 h 2018071"/>
              <a:gd name="csX84" fmla="*/ 2566459 w 3437996"/>
              <a:gd name="csY84" fmla="*/ 737499 h 2018071"/>
              <a:gd name="csX85" fmla="*/ 2558352 w 3437996"/>
              <a:gd name="csY85" fmla="*/ 728962 h 2018071"/>
              <a:gd name="csX86" fmla="*/ 2556937 w 3437996"/>
              <a:gd name="csY86" fmla="*/ 727967 h 2018071"/>
              <a:gd name="csX87" fmla="*/ 2548845 w 3437996"/>
              <a:gd name="csY87" fmla="*/ 719430 h 2018071"/>
              <a:gd name="csX88" fmla="*/ 2547432 w 3437996"/>
              <a:gd name="csY88" fmla="*/ 718414 h 2018071"/>
              <a:gd name="csX89" fmla="*/ 2539350 w 3437996"/>
              <a:gd name="csY89" fmla="*/ 709894 h 2018071"/>
              <a:gd name="csX90" fmla="*/ 2537942 w 3437996"/>
              <a:gd name="csY90" fmla="*/ 708842 h 2018071"/>
              <a:gd name="csX91" fmla="*/ 2529865 w 3437996"/>
              <a:gd name="csY91" fmla="*/ 700356 h 2018071"/>
              <a:gd name="csX92" fmla="*/ 2528460 w 3437996"/>
              <a:gd name="csY92" fmla="*/ 699259 h 2018071"/>
              <a:gd name="csX93" fmla="*/ 2520386 w 3437996"/>
              <a:gd name="csY93" fmla="*/ 690820 h 2018071"/>
              <a:gd name="csX94" fmla="*/ 2510900 w 3437996"/>
              <a:gd name="csY94" fmla="*/ 681286 h 2018071"/>
              <a:gd name="csX95" fmla="*/ 2509493 w 3437996"/>
              <a:gd name="csY95" fmla="*/ 680082 h 2018071"/>
              <a:gd name="csX96" fmla="*/ 2501400 w 3437996"/>
              <a:gd name="csY96" fmla="*/ 671754 h 2018071"/>
              <a:gd name="csX97" fmla="*/ 2499991 w 3437996"/>
              <a:gd name="csY97" fmla="*/ 670520 h 2018071"/>
              <a:gd name="csX98" fmla="*/ 2491892 w 3437996"/>
              <a:gd name="csY98" fmla="*/ 662222 h 2018071"/>
              <a:gd name="csX99" fmla="*/ 2490482 w 3437996"/>
              <a:gd name="csY99" fmla="*/ 660967 h 2018071"/>
              <a:gd name="csX100" fmla="*/ 2480984 w 3437996"/>
              <a:gd name="csY100" fmla="*/ 651408 h 2018071"/>
              <a:gd name="csX101" fmla="*/ 2472919 w 3437996"/>
              <a:gd name="csY101" fmla="*/ 643127 h 2018071"/>
              <a:gd name="csX102" fmla="*/ 2471515 w 3437996"/>
              <a:gd name="csY102" fmla="*/ 641819 h 2018071"/>
              <a:gd name="csX103" fmla="*/ 2463424 w 3437996"/>
              <a:gd name="csY103" fmla="*/ 633584 h 2018071"/>
              <a:gd name="csX104" fmla="*/ 2462020 w 3437996"/>
              <a:gd name="csY104" fmla="*/ 632257 h 2018071"/>
              <a:gd name="csX105" fmla="*/ 2453925 w 3437996"/>
              <a:gd name="csY105" fmla="*/ 624049 h 2018071"/>
              <a:gd name="csX106" fmla="*/ 2452516 w 3437996"/>
              <a:gd name="csY106" fmla="*/ 622702 h 2018071"/>
              <a:gd name="csX107" fmla="*/ 2444450 w 3437996"/>
              <a:gd name="csY107" fmla="*/ 614506 h 2018071"/>
              <a:gd name="csX108" fmla="*/ 2434957 w 3437996"/>
              <a:gd name="csY108" fmla="*/ 604969 h 2018071"/>
              <a:gd name="csX109" fmla="*/ 2433519 w 3437996"/>
              <a:gd name="csY109" fmla="*/ 603563 h 2018071"/>
              <a:gd name="csX110" fmla="*/ 2425486 w 3437996"/>
              <a:gd name="csY110" fmla="*/ 595418 h 2018071"/>
              <a:gd name="csX111" fmla="*/ 2424029 w 3437996"/>
              <a:gd name="csY111" fmla="*/ 593985 h 2018071"/>
              <a:gd name="csX112" fmla="*/ 2416081 w 3437996"/>
              <a:gd name="csY112" fmla="*/ 585841 h 2018071"/>
              <a:gd name="csX113" fmla="*/ 2414563 w 3437996"/>
              <a:gd name="csY113" fmla="*/ 584358 h 2018071"/>
              <a:gd name="csX114" fmla="*/ 2406640 w 3437996"/>
              <a:gd name="csY114" fmla="*/ 576281 h 2018071"/>
              <a:gd name="csX115" fmla="*/ 2397176 w 3437996"/>
              <a:gd name="csY115" fmla="*/ 566733 h 2018071"/>
              <a:gd name="csX116" fmla="*/ 2395561 w 3437996"/>
              <a:gd name="csY116" fmla="*/ 565186 h 2018071"/>
              <a:gd name="csX117" fmla="*/ 2387690 w 3437996"/>
              <a:gd name="csY117" fmla="*/ 557193 h 2018071"/>
              <a:gd name="csX118" fmla="*/ 2386050 w 3437996"/>
              <a:gd name="csY118" fmla="*/ 555624 h 2018071"/>
              <a:gd name="csX119" fmla="*/ 2378191 w 3437996"/>
              <a:gd name="csY119" fmla="*/ 547659 h 2018071"/>
              <a:gd name="csX120" fmla="*/ 2376534 w 3437996"/>
              <a:gd name="csY120" fmla="*/ 546075 h 2018071"/>
              <a:gd name="csX121" fmla="*/ 2368704 w 3437996"/>
              <a:gd name="csY121" fmla="*/ 538124 h 2018071"/>
              <a:gd name="csX122" fmla="*/ 2367021 w 3437996"/>
              <a:gd name="csY122" fmla="*/ 536517 h 2018071"/>
              <a:gd name="csX123" fmla="*/ 2360018 w 3437996"/>
              <a:gd name="csY123" fmla="*/ 529380 h 2018071"/>
              <a:gd name="csX124" fmla="*/ 2350552 w 3437996"/>
              <a:gd name="csY124" fmla="*/ 519835 h 2018071"/>
              <a:gd name="csX125" fmla="*/ 2348016 w 3437996"/>
              <a:gd name="csY125" fmla="*/ 517342 h 2018071"/>
              <a:gd name="csX126" fmla="*/ 2341054 w 3437996"/>
              <a:gd name="csY126" fmla="*/ 510297 h 2018071"/>
              <a:gd name="csX127" fmla="*/ 2338508 w 3437996"/>
              <a:gd name="csY127" fmla="*/ 507777 h 2018071"/>
              <a:gd name="csX128" fmla="*/ 2322020 w 3437996"/>
              <a:gd name="csY128" fmla="*/ 491243 h 2018071"/>
              <a:gd name="csX129" fmla="*/ 2319465 w 3437996"/>
              <a:gd name="csY129" fmla="*/ 488702 h 2018071"/>
              <a:gd name="csX130" fmla="*/ 2312510 w 3437996"/>
              <a:gd name="csY130" fmla="*/ 481725 h 2018071"/>
              <a:gd name="csX131" fmla="*/ 2309941 w 3437996"/>
              <a:gd name="csY131" fmla="*/ 479158 h 2018071"/>
              <a:gd name="csX132" fmla="*/ 2303024 w 3437996"/>
              <a:gd name="csY132" fmla="*/ 472210 h 2018071"/>
              <a:gd name="csX133" fmla="*/ 2300428 w 3437996"/>
              <a:gd name="csY133" fmla="*/ 469578 h 2018071"/>
              <a:gd name="csX134" fmla="*/ 2293545 w 3437996"/>
              <a:gd name="csY134" fmla="*/ 462697 h 2018071"/>
              <a:gd name="csX135" fmla="*/ 2290922 w 3437996"/>
              <a:gd name="csY135" fmla="*/ 459984 h 2018071"/>
              <a:gd name="csX136" fmla="*/ 2284051 w 3437996"/>
              <a:gd name="csY136" fmla="*/ 453172 h 2018071"/>
              <a:gd name="csX137" fmla="*/ 2281414 w 3437996"/>
              <a:gd name="csY137" fmla="*/ 450403 h 2018071"/>
              <a:gd name="csX138" fmla="*/ 2274560 w 3437996"/>
              <a:gd name="csY138" fmla="*/ 443646 h 2018071"/>
              <a:gd name="csX139" fmla="*/ 2271906 w 3437996"/>
              <a:gd name="csY139" fmla="*/ 440826 h 2018071"/>
              <a:gd name="csX140" fmla="*/ 2265120 w 3437996"/>
              <a:gd name="csY140" fmla="*/ 434112 h 2018071"/>
              <a:gd name="csX141" fmla="*/ 2262409 w 3437996"/>
              <a:gd name="csY141" fmla="*/ 431189 h 2018071"/>
              <a:gd name="csX142" fmla="*/ 2255765 w 3437996"/>
              <a:gd name="csY142" fmla="*/ 424557 h 2018071"/>
              <a:gd name="csX143" fmla="*/ 2252962 w 3437996"/>
              <a:gd name="csY143" fmla="*/ 421458 h 2018071"/>
              <a:gd name="csX144" fmla="*/ 2246361 w 3437996"/>
              <a:gd name="csY144" fmla="*/ 414989 h 2018071"/>
              <a:gd name="csX145" fmla="*/ 2226101 w 3437996"/>
              <a:gd name="csY145" fmla="*/ 394472 h 2018071"/>
              <a:gd name="csX146" fmla="*/ 2204126 w 3437996"/>
              <a:gd name="csY146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44017 w 3437996"/>
              <a:gd name="csY67" fmla="*/ 814773 h 2018071"/>
              <a:gd name="csX68" fmla="*/ 2642551 w 3437996"/>
              <a:gd name="csY68" fmla="*/ 813746 h 2018071"/>
              <a:gd name="csX69" fmla="*/ 2634494 w 3437996"/>
              <a:gd name="csY69" fmla="*/ 805208 h 2018071"/>
              <a:gd name="csX70" fmla="*/ 2633053 w 3437996"/>
              <a:gd name="csY70" fmla="*/ 804210 h 2018071"/>
              <a:gd name="csX71" fmla="*/ 2624994 w 3437996"/>
              <a:gd name="csY71" fmla="*/ 795655 h 2018071"/>
              <a:gd name="csX72" fmla="*/ 2623570 w 3437996"/>
              <a:gd name="csY72" fmla="*/ 794675 h 2018071"/>
              <a:gd name="csX73" fmla="*/ 2615495 w 3437996"/>
              <a:gd name="csY73" fmla="*/ 786111 h 2018071"/>
              <a:gd name="csX74" fmla="*/ 2614082 w 3437996"/>
              <a:gd name="csY74" fmla="*/ 785113 h 2018071"/>
              <a:gd name="csX75" fmla="*/ 2606007 w 3437996"/>
              <a:gd name="csY75" fmla="*/ 776562 h 2018071"/>
              <a:gd name="csX76" fmla="*/ 2604609 w 3437996"/>
              <a:gd name="csY76" fmla="*/ 775538 h 2018071"/>
              <a:gd name="csX77" fmla="*/ 2596489 w 3437996"/>
              <a:gd name="csY77" fmla="*/ 767032 h 2018071"/>
              <a:gd name="csX78" fmla="*/ 2595095 w 3437996"/>
              <a:gd name="csY78" fmla="*/ 766006 h 2018071"/>
              <a:gd name="csX79" fmla="*/ 2586954 w 3437996"/>
              <a:gd name="csY79" fmla="*/ 757512 h 2018071"/>
              <a:gd name="csX80" fmla="*/ 2585558 w 3437996"/>
              <a:gd name="csY80" fmla="*/ 756496 h 2018071"/>
              <a:gd name="csX81" fmla="*/ 2577410 w 3437996"/>
              <a:gd name="csY81" fmla="*/ 748000 h 2018071"/>
              <a:gd name="csX82" fmla="*/ 2576006 w 3437996"/>
              <a:gd name="csY82" fmla="*/ 747002 h 2018071"/>
              <a:gd name="csX83" fmla="*/ 2567871 w 3437996"/>
              <a:gd name="csY83" fmla="*/ 738486 h 2018071"/>
              <a:gd name="csX84" fmla="*/ 2566459 w 3437996"/>
              <a:gd name="csY84" fmla="*/ 737499 h 2018071"/>
              <a:gd name="csX85" fmla="*/ 2558352 w 3437996"/>
              <a:gd name="csY85" fmla="*/ 728962 h 2018071"/>
              <a:gd name="csX86" fmla="*/ 2556937 w 3437996"/>
              <a:gd name="csY86" fmla="*/ 727967 h 2018071"/>
              <a:gd name="csX87" fmla="*/ 2547432 w 3437996"/>
              <a:gd name="csY87" fmla="*/ 718414 h 2018071"/>
              <a:gd name="csX88" fmla="*/ 2539350 w 3437996"/>
              <a:gd name="csY88" fmla="*/ 709894 h 2018071"/>
              <a:gd name="csX89" fmla="*/ 2537942 w 3437996"/>
              <a:gd name="csY89" fmla="*/ 708842 h 2018071"/>
              <a:gd name="csX90" fmla="*/ 2529865 w 3437996"/>
              <a:gd name="csY90" fmla="*/ 700356 h 2018071"/>
              <a:gd name="csX91" fmla="*/ 2528460 w 3437996"/>
              <a:gd name="csY91" fmla="*/ 699259 h 2018071"/>
              <a:gd name="csX92" fmla="*/ 2520386 w 3437996"/>
              <a:gd name="csY92" fmla="*/ 690820 h 2018071"/>
              <a:gd name="csX93" fmla="*/ 2510900 w 3437996"/>
              <a:gd name="csY93" fmla="*/ 681286 h 2018071"/>
              <a:gd name="csX94" fmla="*/ 2509493 w 3437996"/>
              <a:gd name="csY94" fmla="*/ 680082 h 2018071"/>
              <a:gd name="csX95" fmla="*/ 2501400 w 3437996"/>
              <a:gd name="csY95" fmla="*/ 671754 h 2018071"/>
              <a:gd name="csX96" fmla="*/ 2499991 w 3437996"/>
              <a:gd name="csY96" fmla="*/ 670520 h 2018071"/>
              <a:gd name="csX97" fmla="*/ 2491892 w 3437996"/>
              <a:gd name="csY97" fmla="*/ 662222 h 2018071"/>
              <a:gd name="csX98" fmla="*/ 2490482 w 3437996"/>
              <a:gd name="csY98" fmla="*/ 660967 h 2018071"/>
              <a:gd name="csX99" fmla="*/ 2480984 w 3437996"/>
              <a:gd name="csY99" fmla="*/ 651408 h 2018071"/>
              <a:gd name="csX100" fmla="*/ 2472919 w 3437996"/>
              <a:gd name="csY100" fmla="*/ 643127 h 2018071"/>
              <a:gd name="csX101" fmla="*/ 2471515 w 3437996"/>
              <a:gd name="csY101" fmla="*/ 641819 h 2018071"/>
              <a:gd name="csX102" fmla="*/ 2463424 w 3437996"/>
              <a:gd name="csY102" fmla="*/ 633584 h 2018071"/>
              <a:gd name="csX103" fmla="*/ 2462020 w 3437996"/>
              <a:gd name="csY103" fmla="*/ 632257 h 2018071"/>
              <a:gd name="csX104" fmla="*/ 2453925 w 3437996"/>
              <a:gd name="csY104" fmla="*/ 624049 h 2018071"/>
              <a:gd name="csX105" fmla="*/ 2452516 w 3437996"/>
              <a:gd name="csY105" fmla="*/ 622702 h 2018071"/>
              <a:gd name="csX106" fmla="*/ 2444450 w 3437996"/>
              <a:gd name="csY106" fmla="*/ 614506 h 2018071"/>
              <a:gd name="csX107" fmla="*/ 2434957 w 3437996"/>
              <a:gd name="csY107" fmla="*/ 604969 h 2018071"/>
              <a:gd name="csX108" fmla="*/ 2433519 w 3437996"/>
              <a:gd name="csY108" fmla="*/ 603563 h 2018071"/>
              <a:gd name="csX109" fmla="*/ 2425486 w 3437996"/>
              <a:gd name="csY109" fmla="*/ 595418 h 2018071"/>
              <a:gd name="csX110" fmla="*/ 2424029 w 3437996"/>
              <a:gd name="csY110" fmla="*/ 593985 h 2018071"/>
              <a:gd name="csX111" fmla="*/ 2416081 w 3437996"/>
              <a:gd name="csY111" fmla="*/ 585841 h 2018071"/>
              <a:gd name="csX112" fmla="*/ 2414563 w 3437996"/>
              <a:gd name="csY112" fmla="*/ 584358 h 2018071"/>
              <a:gd name="csX113" fmla="*/ 2406640 w 3437996"/>
              <a:gd name="csY113" fmla="*/ 576281 h 2018071"/>
              <a:gd name="csX114" fmla="*/ 2397176 w 3437996"/>
              <a:gd name="csY114" fmla="*/ 566733 h 2018071"/>
              <a:gd name="csX115" fmla="*/ 2395561 w 3437996"/>
              <a:gd name="csY115" fmla="*/ 565186 h 2018071"/>
              <a:gd name="csX116" fmla="*/ 2387690 w 3437996"/>
              <a:gd name="csY116" fmla="*/ 557193 h 2018071"/>
              <a:gd name="csX117" fmla="*/ 2386050 w 3437996"/>
              <a:gd name="csY117" fmla="*/ 555624 h 2018071"/>
              <a:gd name="csX118" fmla="*/ 2378191 w 3437996"/>
              <a:gd name="csY118" fmla="*/ 547659 h 2018071"/>
              <a:gd name="csX119" fmla="*/ 2376534 w 3437996"/>
              <a:gd name="csY119" fmla="*/ 546075 h 2018071"/>
              <a:gd name="csX120" fmla="*/ 2368704 w 3437996"/>
              <a:gd name="csY120" fmla="*/ 538124 h 2018071"/>
              <a:gd name="csX121" fmla="*/ 2367021 w 3437996"/>
              <a:gd name="csY121" fmla="*/ 536517 h 2018071"/>
              <a:gd name="csX122" fmla="*/ 2360018 w 3437996"/>
              <a:gd name="csY122" fmla="*/ 529380 h 2018071"/>
              <a:gd name="csX123" fmla="*/ 2350552 w 3437996"/>
              <a:gd name="csY123" fmla="*/ 519835 h 2018071"/>
              <a:gd name="csX124" fmla="*/ 2348016 w 3437996"/>
              <a:gd name="csY124" fmla="*/ 517342 h 2018071"/>
              <a:gd name="csX125" fmla="*/ 2341054 w 3437996"/>
              <a:gd name="csY125" fmla="*/ 510297 h 2018071"/>
              <a:gd name="csX126" fmla="*/ 2338508 w 3437996"/>
              <a:gd name="csY126" fmla="*/ 507777 h 2018071"/>
              <a:gd name="csX127" fmla="*/ 2322020 w 3437996"/>
              <a:gd name="csY127" fmla="*/ 491243 h 2018071"/>
              <a:gd name="csX128" fmla="*/ 2319465 w 3437996"/>
              <a:gd name="csY128" fmla="*/ 488702 h 2018071"/>
              <a:gd name="csX129" fmla="*/ 2312510 w 3437996"/>
              <a:gd name="csY129" fmla="*/ 481725 h 2018071"/>
              <a:gd name="csX130" fmla="*/ 2309941 w 3437996"/>
              <a:gd name="csY130" fmla="*/ 479158 h 2018071"/>
              <a:gd name="csX131" fmla="*/ 2303024 w 3437996"/>
              <a:gd name="csY131" fmla="*/ 472210 h 2018071"/>
              <a:gd name="csX132" fmla="*/ 2300428 w 3437996"/>
              <a:gd name="csY132" fmla="*/ 469578 h 2018071"/>
              <a:gd name="csX133" fmla="*/ 2293545 w 3437996"/>
              <a:gd name="csY133" fmla="*/ 462697 h 2018071"/>
              <a:gd name="csX134" fmla="*/ 2290922 w 3437996"/>
              <a:gd name="csY134" fmla="*/ 459984 h 2018071"/>
              <a:gd name="csX135" fmla="*/ 2284051 w 3437996"/>
              <a:gd name="csY135" fmla="*/ 453172 h 2018071"/>
              <a:gd name="csX136" fmla="*/ 2281414 w 3437996"/>
              <a:gd name="csY136" fmla="*/ 450403 h 2018071"/>
              <a:gd name="csX137" fmla="*/ 2274560 w 3437996"/>
              <a:gd name="csY137" fmla="*/ 443646 h 2018071"/>
              <a:gd name="csX138" fmla="*/ 2271906 w 3437996"/>
              <a:gd name="csY138" fmla="*/ 440826 h 2018071"/>
              <a:gd name="csX139" fmla="*/ 2265120 w 3437996"/>
              <a:gd name="csY139" fmla="*/ 434112 h 2018071"/>
              <a:gd name="csX140" fmla="*/ 2262409 w 3437996"/>
              <a:gd name="csY140" fmla="*/ 431189 h 2018071"/>
              <a:gd name="csX141" fmla="*/ 2255765 w 3437996"/>
              <a:gd name="csY141" fmla="*/ 424557 h 2018071"/>
              <a:gd name="csX142" fmla="*/ 2252962 w 3437996"/>
              <a:gd name="csY142" fmla="*/ 421458 h 2018071"/>
              <a:gd name="csX143" fmla="*/ 2246361 w 3437996"/>
              <a:gd name="csY143" fmla="*/ 414989 h 2018071"/>
              <a:gd name="csX144" fmla="*/ 2226101 w 3437996"/>
              <a:gd name="csY144" fmla="*/ 394472 h 2018071"/>
              <a:gd name="csX145" fmla="*/ 2204126 w 3437996"/>
              <a:gd name="csY145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44017 w 3437996"/>
              <a:gd name="csY67" fmla="*/ 814773 h 2018071"/>
              <a:gd name="csX68" fmla="*/ 2642551 w 3437996"/>
              <a:gd name="csY68" fmla="*/ 813746 h 2018071"/>
              <a:gd name="csX69" fmla="*/ 2634494 w 3437996"/>
              <a:gd name="csY69" fmla="*/ 805208 h 2018071"/>
              <a:gd name="csX70" fmla="*/ 2633053 w 3437996"/>
              <a:gd name="csY70" fmla="*/ 804210 h 2018071"/>
              <a:gd name="csX71" fmla="*/ 2624994 w 3437996"/>
              <a:gd name="csY71" fmla="*/ 795655 h 2018071"/>
              <a:gd name="csX72" fmla="*/ 2623570 w 3437996"/>
              <a:gd name="csY72" fmla="*/ 794675 h 2018071"/>
              <a:gd name="csX73" fmla="*/ 2615495 w 3437996"/>
              <a:gd name="csY73" fmla="*/ 786111 h 2018071"/>
              <a:gd name="csX74" fmla="*/ 2614082 w 3437996"/>
              <a:gd name="csY74" fmla="*/ 785113 h 2018071"/>
              <a:gd name="csX75" fmla="*/ 2606007 w 3437996"/>
              <a:gd name="csY75" fmla="*/ 776562 h 2018071"/>
              <a:gd name="csX76" fmla="*/ 2604609 w 3437996"/>
              <a:gd name="csY76" fmla="*/ 775538 h 2018071"/>
              <a:gd name="csX77" fmla="*/ 2596489 w 3437996"/>
              <a:gd name="csY77" fmla="*/ 767032 h 2018071"/>
              <a:gd name="csX78" fmla="*/ 2595095 w 3437996"/>
              <a:gd name="csY78" fmla="*/ 766006 h 2018071"/>
              <a:gd name="csX79" fmla="*/ 2586954 w 3437996"/>
              <a:gd name="csY79" fmla="*/ 757512 h 2018071"/>
              <a:gd name="csX80" fmla="*/ 2585558 w 3437996"/>
              <a:gd name="csY80" fmla="*/ 756496 h 2018071"/>
              <a:gd name="csX81" fmla="*/ 2576006 w 3437996"/>
              <a:gd name="csY81" fmla="*/ 747002 h 2018071"/>
              <a:gd name="csX82" fmla="*/ 2567871 w 3437996"/>
              <a:gd name="csY82" fmla="*/ 738486 h 2018071"/>
              <a:gd name="csX83" fmla="*/ 2566459 w 3437996"/>
              <a:gd name="csY83" fmla="*/ 737499 h 2018071"/>
              <a:gd name="csX84" fmla="*/ 2558352 w 3437996"/>
              <a:gd name="csY84" fmla="*/ 728962 h 2018071"/>
              <a:gd name="csX85" fmla="*/ 2556937 w 3437996"/>
              <a:gd name="csY85" fmla="*/ 727967 h 2018071"/>
              <a:gd name="csX86" fmla="*/ 2547432 w 3437996"/>
              <a:gd name="csY86" fmla="*/ 718414 h 2018071"/>
              <a:gd name="csX87" fmla="*/ 2539350 w 3437996"/>
              <a:gd name="csY87" fmla="*/ 709894 h 2018071"/>
              <a:gd name="csX88" fmla="*/ 2537942 w 3437996"/>
              <a:gd name="csY88" fmla="*/ 708842 h 2018071"/>
              <a:gd name="csX89" fmla="*/ 2529865 w 3437996"/>
              <a:gd name="csY89" fmla="*/ 700356 h 2018071"/>
              <a:gd name="csX90" fmla="*/ 2528460 w 3437996"/>
              <a:gd name="csY90" fmla="*/ 699259 h 2018071"/>
              <a:gd name="csX91" fmla="*/ 2520386 w 3437996"/>
              <a:gd name="csY91" fmla="*/ 690820 h 2018071"/>
              <a:gd name="csX92" fmla="*/ 2510900 w 3437996"/>
              <a:gd name="csY92" fmla="*/ 681286 h 2018071"/>
              <a:gd name="csX93" fmla="*/ 2509493 w 3437996"/>
              <a:gd name="csY93" fmla="*/ 680082 h 2018071"/>
              <a:gd name="csX94" fmla="*/ 2501400 w 3437996"/>
              <a:gd name="csY94" fmla="*/ 671754 h 2018071"/>
              <a:gd name="csX95" fmla="*/ 2499991 w 3437996"/>
              <a:gd name="csY95" fmla="*/ 670520 h 2018071"/>
              <a:gd name="csX96" fmla="*/ 2491892 w 3437996"/>
              <a:gd name="csY96" fmla="*/ 662222 h 2018071"/>
              <a:gd name="csX97" fmla="*/ 2490482 w 3437996"/>
              <a:gd name="csY97" fmla="*/ 660967 h 2018071"/>
              <a:gd name="csX98" fmla="*/ 2480984 w 3437996"/>
              <a:gd name="csY98" fmla="*/ 651408 h 2018071"/>
              <a:gd name="csX99" fmla="*/ 2472919 w 3437996"/>
              <a:gd name="csY99" fmla="*/ 643127 h 2018071"/>
              <a:gd name="csX100" fmla="*/ 2471515 w 3437996"/>
              <a:gd name="csY100" fmla="*/ 641819 h 2018071"/>
              <a:gd name="csX101" fmla="*/ 2463424 w 3437996"/>
              <a:gd name="csY101" fmla="*/ 633584 h 2018071"/>
              <a:gd name="csX102" fmla="*/ 2462020 w 3437996"/>
              <a:gd name="csY102" fmla="*/ 632257 h 2018071"/>
              <a:gd name="csX103" fmla="*/ 2453925 w 3437996"/>
              <a:gd name="csY103" fmla="*/ 624049 h 2018071"/>
              <a:gd name="csX104" fmla="*/ 2452516 w 3437996"/>
              <a:gd name="csY104" fmla="*/ 622702 h 2018071"/>
              <a:gd name="csX105" fmla="*/ 2444450 w 3437996"/>
              <a:gd name="csY105" fmla="*/ 614506 h 2018071"/>
              <a:gd name="csX106" fmla="*/ 2434957 w 3437996"/>
              <a:gd name="csY106" fmla="*/ 604969 h 2018071"/>
              <a:gd name="csX107" fmla="*/ 2433519 w 3437996"/>
              <a:gd name="csY107" fmla="*/ 603563 h 2018071"/>
              <a:gd name="csX108" fmla="*/ 2425486 w 3437996"/>
              <a:gd name="csY108" fmla="*/ 595418 h 2018071"/>
              <a:gd name="csX109" fmla="*/ 2424029 w 3437996"/>
              <a:gd name="csY109" fmla="*/ 593985 h 2018071"/>
              <a:gd name="csX110" fmla="*/ 2416081 w 3437996"/>
              <a:gd name="csY110" fmla="*/ 585841 h 2018071"/>
              <a:gd name="csX111" fmla="*/ 2414563 w 3437996"/>
              <a:gd name="csY111" fmla="*/ 584358 h 2018071"/>
              <a:gd name="csX112" fmla="*/ 2406640 w 3437996"/>
              <a:gd name="csY112" fmla="*/ 576281 h 2018071"/>
              <a:gd name="csX113" fmla="*/ 2397176 w 3437996"/>
              <a:gd name="csY113" fmla="*/ 566733 h 2018071"/>
              <a:gd name="csX114" fmla="*/ 2395561 w 3437996"/>
              <a:gd name="csY114" fmla="*/ 565186 h 2018071"/>
              <a:gd name="csX115" fmla="*/ 2387690 w 3437996"/>
              <a:gd name="csY115" fmla="*/ 557193 h 2018071"/>
              <a:gd name="csX116" fmla="*/ 2386050 w 3437996"/>
              <a:gd name="csY116" fmla="*/ 555624 h 2018071"/>
              <a:gd name="csX117" fmla="*/ 2378191 w 3437996"/>
              <a:gd name="csY117" fmla="*/ 547659 h 2018071"/>
              <a:gd name="csX118" fmla="*/ 2376534 w 3437996"/>
              <a:gd name="csY118" fmla="*/ 546075 h 2018071"/>
              <a:gd name="csX119" fmla="*/ 2368704 w 3437996"/>
              <a:gd name="csY119" fmla="*/ 538124 h 2018071"/>
              <a:gd name="csX120" fmla="*/ 2367021 w 3437996"/>
              <a:gd name="csY120" fmla="*/ 536517 h 2018071"/>
              <a:gd name="csX121" fmla="*/ 2360018 w 3437996"/>
              <a:gd name="csY121" fmla="*/ 529380 h 2018071"/>
              <a:gd name="csX122" fmla="*/ 2350552 w 3437996"/>
              <a:gd name="csY122" fmla="*/ 519835 h 2018071"/>
              <a:gd name="csX123" fmla="*/ 2348016 w 3437996"/>
              <a:gd name="csY123" fmla="*/ 517342 h 2018071"/>
              <a:gd name="csX124" fmla="*/ 2341054 w 3437996"/>
              <a:gd name="csY124" fmla="*/ 510297 h 2018071"/>
              <a:gd name="csX125" fmla="*/ 2338508 w 3437996"/>
              <a:gd name="csY125" fmla="*/ 507777 h 2018071"/>
              <a:gd name="csX126" fmla="*/ 2322020 w 3437996"/>
              <a:gd name="csY126" fmla="*/ 491243 h 2018071"/>
              <a:gd name="csX127" fmla="*/ 2319465 w 3437996"/>
              <a:gd name="csY127" fmla="*/ 488702 h 2018071"/>
              <a:gd name="csX128" fmla="*/ 2312510 w 3437996"/>
              <a:gd name="csY128" fmla="*/ 481725 h 2018071"/>
              <a:gd name="csX129" fmla="*/ 2309941 w 3437996"/>
              <a:gd name="csY129" fmla="*/ 479158 h 2018071"/>
              <a:gd name="csX130" fmla="*/ 2303024 w 3437996"/>
              <a:gd name="csY130" fmla="*/ 472210 h 2018071"/>
              <a:gd name="csX131" fmla="*/ 2300428 w 3437996"/>
              <a:gd name="csY131" fmla="*/ 469578 h 2018071"/>
              <a:gd name="csX132" fmla="*/ 2293545 w 3437996"/>
              <a:gd name="csY132" fmla="*/ 462697 h 2018071"/>
              <a:gd name="csX133" fmla="*/ 2290922 w 3437996"/>
              <a:gd name="csY133" fmla="*/ 459984 h 2018071"/>
              <a:gd name="csX134" fmla="*/ 2284051 w 3437996"/>
              <a:gd name="csY134" fmla="*/ 453172 h 2018071"/>
              <a:gd name="csX135" fmla="*/ 2281414 w 3437996"/>
              <a:gd name="csY135" fmla="*/ 450403 h 2018071"/>
              <a:gd name="csX136" fmla="*/ 2274560 w 3437996"/>
              <a:gd name="csY136" fmla="*/ 443646 h 2018071"/>
              <a:gd name="csX137" fmla="*/ 2271906 w 3437996"/>
              <a:gd name="csY137" fmla="*/ 440826 h 2018071"/>
              <a:gd name="csX138" fmla="*/ 2265120 w 3437996"/>
              <a:gd name="csY138" fmla="*/ 434112 h 2018071"/>
              <a:gd name="csX139" fmla="*/ 2262409 w 3437996"/>
              <a:gd name="csY139" fmla="*/ 431189 h 2018071"/>
              <a:gd name="csX140" fmla="*/ 2255765 w 3437996"/>
              <a:gd name="csY140" fmla="*/ 424557 h 2018071"/>
              <a:gd name="csX141" fmla="*/ 2252962 w 3437996"/>
              <a:gd name="csY141" fmla="*/ 421458 h 2018071"/>
              <a:gd name="csX142" fmla="*/ 2246361 w 3437996"/>
              <a:gd name="csY142" fmla="*/ 414989 h 2018071"/>
              <a:gd name="csX143" fmla="*/ 2226101 w 3437996"/>
              <a:gd name="csY143" fmla="*/ 394472 h 2018071"/>
              <a:gd name="csX144" fmla="*/ 2204126 w 3437996"/>
              <a:gd name="csY144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44017 w 3437996"/>
              <a:gd name="csY67" fmla="*/ 814773 h 2018071"/>
              <a:gd name="csX68" fmla="*/ 2642551 w 3437996"/>
              <a:gd name="csY68" fmla="*/ 813746 h 2018071"/>
              <a:gd name="csX69" fmla="*/ 2634494 w 3437996"/>
              <a:gd name="csY69" fmla="*/ 805208 h 2018071"/>
              <a:gd name="csX70" fmla="*/ 2633053 w 3437996"/>
              <a:gd name="csY70" fmla="*/ 804210 h 2018071"/>
              <a:gd name="csX71" fmla="*/ 2624994 w 3437996"/>
              <a:gd name="csY71" fmla="*/ 795655 h 2018071"/>
              <a:gd name="csX72" fmla="*/ 2623570 w 3437996"/>
              <a:gd name="csY72" fmla="*/ 794675 h 2018071"/>
              <a:gd name="csX73" fmla="*/ 2615495 w 3437996"/>
              <a:gd name="csY73" fmla="*/ 786111 h 2018071"/>
              <a:gd name="csX74" fmla="*/ 2614082 w 3437996"/>
              <a:gd name="csY74" fmla="*/ 785113 h 2018071"/>
              <a:gd name="csX75" fmla="*/ 2606007 w 3437996"/>
              <a:gd name="csY75" fmla="*/ 776562 h 2018071"/>
              <a:gd name="csX76" fmla="*/ 2604609 w 3437996"/>
              <a:gd name="csY76" fmla="*/ 775538 h 2018071"/>
              <a:gd name="csX77" fmla="*/ 2596489 w 3437996"/>
              <a:gd name="csY77" fmla="*/ 767032 h 2018071"/>
              <a:gd name="csX78" fmla="*/ 2595095 w 3437996"/>
              <a:gd name="csY78" fmla="*/ 766006 h 2018071"/>
              <a:gd name="csX79" fmla="*/ 2586954 w 3437996"/>
              <a:gd name="csY79" fmla="*/ 757512 h 2018071"/>
              <a:gd name="csX80" fmla="*/ 2585558 w 3437996"/>
              <a:gd name="csY80" fmla="*/ 756496 h 2018071"/>
              <a:gd name="csX81" fmla="*/ 2576006 w 3437996"/>
              <a:gd name="csY81" fmla="*/ 747002 h 2018071"/>
              <a:gd name="csX82" fmla="*/ 2567871 w 3437996"/>
              <a:gd name="csY82" fmla="*/ 738486 h 2018071"/>
              <a:gd name="csX83" fmla="*/ 2566459 w 3437996"/>
              <a:gd name="csY83" fmla="*/ 737499 h 2018071"/>
              <a:gd name="csX84" fmla="*/ 2558352 w 3437996"/>
              <a:gd name="csY84" fmla="*/ 728962 h 2018071"/>
              <a:gd name="csX85" fmla="*/ 2556937 w 3437996"/>
              <a:gd name="csY85" fmla="*/ 727967 h 2018071"/>
              <a:gd name="csX86" fmla="*/ 2547432 w 3437996"/>
              <a:gd name="csY86" fmla="*/ 718414 h 2018071"/>
              <a:gd name="csX87" fmla="*/ 2539350 w 3437996"/>
              <a:gd name="csY87" fmla="*/ 709894 h 2018071"/>
              <a:gd name="csX88" fmla="*/ 2537942 w 3437996"/>
              <a:gd name="csY88" fmla="*/ 708842 h 2018071"/>
              <a:gd name="csX89" fmla="*/ 2529865 w 3437996"/>
              <a:gd name="csY89" fmla="*/ 700356 h 2018071"/>
              <a:gd name="csX90" fmla="*/ 2528460 w 3437996"/>
              <a:gd name="csY90" fmla="*/ 699259 h 2018071"/>
              <a:gd name="csX91" fmla="*/ 2520386 w 3437996"/>
              <a:gd name="csY91" fmla="*/ 690820 h 2018071"/>
              <a:gd name="csX92" fmla="*/ 2510900 w 3437996"/>
              <a:gd name="csY92" fmla="*/ 681286 h 2018071"/>
              <a:gd name="csX93" fmla="*/ 2509493 w 3437996"/>
              <a:gd name="csY93" fmla="*/ 680082 h 2018071"/>
              <a:gd name="csX94" fmla="*/ 2501400 w 3437996"/>
              <a:gd name="csY94" fmla="*/ 671754 h 2018071"/>
              <a:gd name="csX95" fmla="*/ 2491892 w 3437996"/>
              <a:gd name="csY95" fmla="*/ 662222 h 2018071"/>
              <a:gd name="csX96" fmla="*/ 2490482 w 3437996"/>
              <a:gd name="csY96" fmla="*/ 660967 h 2018071"/>
              <a:gd name="csX97" fmla="*/ 2480984 w 3437996"/>
              <a:gd name="csY97" fmla="*/ 651408 h 2018071"/>
              <a:gd name="csX98" fmla="*/ 2472919 w 3437996"/>
              <a:gd name="csY98" fmla="*/ 643127 h 2018071"/>
              <a:gd name="csX99" fmla="*/ 2471515 w 3437996"/>
              <a:gd name="csY99" fmla="*/ 641819 h 2018071"/>
              <a:gd name="csX100" fmla="*/ 2463424 w 3437996"/>
              <a:gd name="csY100" fmla="*/ 633584 h 2018071"/>
              <a:gd name="csX101" fmla="*/ 2462020 w 3437996"/>
              <a:gd name="csY101" fmla="*/ 632257 h 2018071"/>
              <a:gd name="csX102" fmla="*/ 2453925 w 3437996"/>
              <a:gd name="csY102" fmla="*/ 624049 h 2018071"/>
              <a:gd name="csX103" fmla="*/ 2452516 w 3437996"/>
              <a:gd name="csY103" fmla="*/ 622702 h 2018071"/>
              <a:gd name="csX104" fmla="*/ 2444450 w 3437996"/>
              <a:gd name="csY104" fmla="*/ 614506 h 2018071"/>
              <a:gd name="csX105" fmla="*/ 2434957 w 3437996"/>
              <a:gd name="csY105" fmla="*/ 604969 h 2018071"/>
              <a:gd name="csX106" fmla="*/ 2433519 w 3437996"/>
              <a:gd name="csY106" fmla="*/ 603563 h 2018071"/>
              <a:gd name="csX107" fmla="*/ 2425486 w 3437996"/>
              <a:gd name="csY107" fmla="*/ 595418 h 2018071"/>
              <a:gd name="csX108" fmla="*/ 2424029 w 3437996"/>
              <a:gd name="csY108" fmla="*/ 593985 h 2018071"/>
              <a:gd name="csX109" fmla="*/ 2416081 w 3437996"/>
              <a:gd name="csY109" fmla="*/ 585841 h 2018071"/>
              <a:gd name="csX110" fmla="*/ 2414563 w 3437996"/>
              <a:gd name="csY110" fmla="*/ 584358 h 2018071"/>
              <a:gd name="csX111" fmla="*/ 2406640 w 3437996"/>
              <a:gd name="csY111" fmla="*/ 576281 h 2018071"/>
              <a:gd name="csX112" fmla="*/ 2397176 w 3437996"/>
              <a:gd name="csY112" fmla="*/ 566733 h 2018071"/>
              <a:gd name="csX113" fmla="*/ 2395561 w 3437996"/>
              <a:gd name="csY113" fmla="*/ 565186 h 2018071"/>
              <a:gd name="csX114" fmla="*/ 2387690 w 3437996"/>
              <a:gd name="csY114" fmla="*/ 557193 h 2018071"/>
              <a:gd name="csX115" fmla="*/ 2386050 w 3437996"/>
              <a:gd name="csY115" fmla="*/ 555624 h 2018071"/>
              <a:gd name="csX116" fmla="*/ 2378191 w 3437996"/>
              <a:gd name="csY116" fmla="*/ 547659 h 2018071"/>
              <a:gd name="csX117" fmla="*/ 2376534 w 3437996"/>
              <a:gd name="csY117" fmla="*/ 546075 h 2018071"/>
              <a:gd name="csX118" fmla="*/ 2368704 w 3437996"/>
              <a:gd name="csY118" fmla="*/ 538124 h 2018071"/>
              <a:gd name="csX119" fmla="*/ 2367021 w 3437996"/>
              <a:gd name="csY119" fmla="*/ 536517 h 2018071"/>
              <a:gd name="csX120" fmla="*/ 2360018 w 3437996"/>
              <a:gd name="csY120" fmla="*/ 529380 h 2018071"/>
              <a:gd name="csX121" fmla="*/ 2350552 w 3437996"/>
              <a:gd name="csY121" fmla="*/ 519835 h 2018071"/>
              <a:gd name="csX122" fmla="*/ 2348016 w 3437996"/>
              <a:gd name="csY122" fmla="*/ 517342 h 2018071"/>
              <a:gd name="csX123" fmla="*/ 2341054 w 3437996"/>
              <a:gd name="csY123" fmla="*/ 510297 h 2018071"/>
              <a:gd name="csX124" fmla="*/ 2338508 w 3437996"/>
              <a:gd name="csY124" fmla="*/ 507777 h 2018071"/>
              <a:gd name="csX125" fmla="*/ 2322020 w 3437996"/>
              <a:gd name="csY125" fmla="*/ 491243 h 2018071"/>
              <a:gd name="csX126" fmla="*/ 2319465 w 3437996"/>
              <a:gd name="csY126" fmla="*/ 488702 h 2018071"/>
              <a:gd name="csX127" fmla="*/ 2312510 w 3437996"/>
              <a:gd name="csY127" fmla="*/ 481725 h 2018071"/>
              <a:gd name="csX128" fmla="*/ 2309941 w 3437996"/>
              <a:gd name="csY128" fmla="*/ 479158 h 2018071"/>
              <a:gd name="csX129" fmla="*/ 2303024 w 3437996"/>
              <a:gd name="csY129" fmla="*/ 472210 h 2018071"/>
              <a:gd name="csX130" fmla="*/ 2300428 w 3437996"/>
              <a:gd name="csY130" fmla="*/ 469578 h 2018071"/>
              <a:gd name="csX131" fmla="*/ 2293545 w 3437996"/>
              <a:gd name="csY131" fmla="*/ 462697 h 2018071"/>
              <a:gd name="csX132" fmla="*/ 2290922 w 3437996"/>
              <a:gd name="csY132" fmla="*/ 459984 h 2018071"/>
              <a:gd name="csX133" fmla="*/ 2284051 w 3437996"/>
              <a:gd name="csY133" fmla="*/ 453172 h 2018071"/>
              <a:gd name="csX134" fmla="*/ 2281414 w 3437996"/>
              <a:gd name="csY134" fmla="*/ 450403 h 2018071"/>
              <a:gd name="csX135" fmla="*/ 2274560 w 3437996"/>
              <a:gd name="csY135" fmla="*/ 443646 h 2018071"/>
              <a:gd name="csX136" fmla="*/ 2271906 w 3437996"/>
              <a:gd name="csY136" fmla="*/ 440826 h 2018071"/>
              <a:gd name="csX137" fmla="*/ 2265120 w 3437996"/>
              <a:gd name="csY137" fmla="*/ 434112 h 2018071"/>
              <a:gd name="csX138" fmla="*/ 2262409 w 3437996"/>
              <a:gd name="csY138" fmla="*/ 431189 h 2018071"/>
              <a:gd name="csX139" fmla="*/ 2255765 w 3437996"/>
              <a:gd name="csY139" fmla="*/ 424557 h 2018071"/>
              <a:gd name="csX140" fmla="*/ 2252962 w 3437996"/>
              <a:gd name="csY140" fmla="*/ 421458 h 2018071"/>
              <a:gd name="csX141" fmla="*/ 2246361 w 3437996"/>
              <a:gd name="csY141" fmla="*/ 414989 h 2018071"/>
              <a:gd name="csX142" fmla="*/ 2226101 w 3437996"/>
              <a:gd name="csY142" fmla="*/ 394472 h 2018071"/>
              <a:gd name="csX143" fmla="*/ 2204126 w 3437996"/>
              <a:gd name="csY143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44017 w 3437996"/>
              <a:gd name="csY67" fmla="*/ 814773 h 2018071"/>
              <a:gd name="csX68" fmla="*/ 2642551 w 3437996"/>
              <a:gd name="csY68" fmla="*/ 813746 h 2018071"/>
              <a:gd name="csX69" fmla="*/ 2634494 w 3437996"/>
              <a:gd name="csY69" fmla="*/ 805208 h 2018071"/>
              <a:gd name="csX70" fmla="*/ 2633053 w 3437996"/>
              <a:gd name="csY70" fmla="*/ 804210 h 2018071"/>
              <a:gd name="csX71" fmla="*/ 2624994 w 3437996"/>
              <a:gd name="csY71" fmla="*/ 795655 h 2018071"/>
              <a:gd name="csX72" fmla="*/ 2623570 w 3437996"/>
              <a:gd name="csY72" fmla="*/ 794675 h 2018071"/>
              <a:gd name="csX73" fmla="*/ 2615495 w 3437996"/>
              <a:gd name="csY73" fmla="*/ 786111 h 2018071"/>
              <a:gd name="csX74" fmla="*/ 2614082 w 3437996"/>
              <a:gd name="csY74" fmla="*/ 785113 h 2018071"/>
              <a:gd name="csX75" fmla="*/ 2606007 w 3437996"/>
              <a:gd name="csY75" fmla="*/ 776562 h 2018071"/>
              <a:gd name="csX76" fmla="*/ 2604609 w 3437996"/>
              <a:gd name="csY76" fmla="*/ 775538 h 2018071"/>
              <a:gd name="csX77" fmla="*/ 2596489 w 3437996"/>
              <a:gd name="csY77" fmla="*/ 767032 h 2018071"/>
              <a:gd name="csX78" fmla="*/ 2595095 w 3437996"/>
              <a:gd name="csY78" fmla="*/ 766006 h 2018071"/>
              <a:gd name="csX79" fmla="*/ 2586954 w 3437996"/>
              <a:gd name="csY79" fmla="*/ 757512 h 2018071"/>
              <a:gd name="csX80" fmla="*/ 2585558 w 3437996"/>
              <a:gd name="csY80" fmla="*/ 756496 h 2018071"/>
              <a:gd name="csX81" fmla="*/ 2576006 w 3437996"/>
              <a:gd name="csY81" fmla="*/ 747002 h 2018071"/>
              <a:gd name="csX82" fmla="*/ 2567871 w 3437996"/>
              <a:gd name="csY82" fmla="*/ 738486 h 2018071"/>
              <a:gd name="csX83" fmla="*/ 2566459 w 3437996"/>
              <a:gd name="csY83" fmla="*/ 737499 h 2018071"/>
              <a:gd name="csX84" fmla="*/ 2558352 w 3437996"/>
              <a:gd name="csY84" fmla="*/ 728962 h 2018071"/>
              <a:gd name="csX85" fmla="*/ 2556937 w 3437996"/>
              <a:gd name="csY85" fmla="*/ 727967 h 2018071"/>
              <a:gd name="csX86" fmla="*/ 2547432 w 3437996"/>
              <a:gd name="csY86" fmla="*/ 718414 h 2018071"/>
              <a:gd name="csX87" fmla="*/ 2539350 w 3437996"/>
              <a:gd name="csY87" fmla="*/ 709894 h 2018071"/>
              <a:gd name="csX88" fmla="*/ 2537942 w 3437996"/>
              <a:gd name="csY88" fmla="*/ 708842 h 2018071"/>
              <a:gd name="csX89" fmla="*/ 2529865 w 3437996"/>
              <a:gd name="csY89" fmla="*/ 700356 h 2018071"/>
              <a:gd name="csX90" fmla="*/ 2528460 w 3437996"/>
              <a:gd name="csY90" fmla="*/ 699259 h 2018071"/>
              <a:gd name="csX91" fmla="*/ 2520386 w 3437996"/>
              <a:gd name="csY91" fmla="*/ 690820 h 2018071"/>
              <a:gd name="csX92" fmla="*/ 2510900 w 3437996"/>
              <a:gd name="csY92" fmla="*/ 681286 h 2018071"/>
              <a:gd name="csX93" fmla="*/ 2509493 w 3437996"/>
              <a:gd name="csY93" fmla="*/ 680082 h 2018071"/>
              <a:gd name="csX94" fmla="*/ 2501400 w 3437996"/>
              <a:gd name="csY94" fmla="*/ 671754 h 2018071"/>
              <a:gd name="csX95" fmla="*/ 2491892 w 3437996"/>
              <a:gd name="csY95" fmla="*/ 662222 h 2018071"/>
              <a:gd name="csX96" fmla="*/ 2490482 w 3437996"/>
              <a:gd name="csY96" fmla="*/ 660967 h 2018071"/>
              <a:gd name="csX97" fmla="*/ 2480984 w 3437996"/>
              <a:gd name="csY97" fmla="*/ 651408 h 2018071"/>
              <a:gd name="csX98" fmla="*/ 2472919 w 3437996"/>
              <a:gd name="csY98" fmla="*/ 643127 h 2018071"/>
              <a:gd name="csX99" fmla="*/ 2471515 w 3437996"/>
              <a:gd name="csY99" fmla="*/ 641819 h 2018071"/>
              <a:gd name="csX100" fmla="*/ 2463424 w 3437996"/>
              <a:gd name="csY100" fmla="*/ 633584 h 2018071"/>
              <a:gd name="csX101" fmla="*/ 2462020 w 3437996"/>
              <a:gd name="csY101" fmla="*/ 632257 h 2018071"/>
              <a:gd name="csX102" fmla="*/ 2453925 w 3437996"/>
              <a:gd name="csY102" fmla="*/ 624049 h 2018071"/>
              <a:gd name="csX103" fmla="*/ 2452516 w 3437996"/>
              <a:gd name="csY103" fmla="*/ 622702 h 2018071"/>
              <a:gd name="csX104" fmla="*/ 2444450 w 3437996"/>
              <a:gd name="csY104" fmla="*/ 614506 h 2018071"/>
              <a:gd name="csX105" fmla="*/ 2434957 w 3437996"/>
              <a:gd name="csY105" fmla="*/ 604969 h 2018071"/>
              <a:gd name="csX106" fmla="*/ 2433519 w 3437996"/>
              <a:gd name="csY106" fmla="*/ 603563 h 2018071"/>
              <a:gd name="csX107" fmla="*/ 2425486 w 3437996"/>
              <a:gd name="csY107" fmla="*/ 595418 h 2018071"/>
              <a:gd name="csX108" fmla="*/ 2424029 w 3437996"/>
              <a:gd name="csY108" fmla="*/ 593985 h 2018071"/>
              <a:gd name="csX109" fmla="*/ 2416081 w 3437996"/>
              <a:gd name="csY109" fmla="*/ 585841 h 2018071"/>
              <a:gd name="csX110" fmla="*/ 2406640 w 3437996"/>
              <a:gd name="csY110" fmla="*/ 576281 h 2018071"/>
              <a:gd name="csX111" fmla="*/ 2397176 w 3437996"/>
              <a:gd name="csY111" fmla="*/ 566733 h 2018071"/>
              <a:gd name="csX112" fmla="*/ 2395561 w 3437996"/>
              <a:gd name="csY112" fmla="*/ 565186 h 2018071"/>
              <a:gd name="csX113" fmla="*/ 2387690 w 3437996"/>
              <a:gd name="csY113" fmla="*/ 557193 h 2018071"/>
              <a:gd name="csX114" fmla="*/ 2386050 w 3437996"/>
              <a:gd name="csY114" fmla="*/ 555624 h 2018071"/>
              <a:gd name="csX115" fmla="*/ 2378191 w 3437996"/>
              <a:gd name="csY115" fmla="*/ 547659 h 2018071"/>
              <a:gd name="csX116" fmla="*/ 2376534 w 3437996"/>
              <a:gd name="csY116" fmla="*/ 546075 h 2018071"/>
              <a:gd name="csX117" fmla="*/ 2368704 w 3437996"/>
              <a:gd name="csY117" fmla="*/ 538124 h 2018071"/>
              <a:gd name="csX118" fmla="*/ 2367021 w 3437996"/>
              <a:gd name="csY118" fmla="*/ 536517 h 2018071"/>
              <a:gd name="csX119" fmla="*/ 2360018 w 3437996"/>
              <a:gd name="csY119" fmla="*/ 529380 h 2018071"/>
              <a:gd name="csX120" fmla="*/ 2350552 w 3437996"/>
              <a:gd name="csY120" fmla="*/ 519835 h 2018071"/>
              <a:gd name="csX121" fmla="*/ 2348016 w 3437996"/>
              <a:gd name="csY121" fmla="*/ 517342 h 2018071"/>
              <a:gd name="csX122" fmla="*/ 2341054 w 3437996"/>
              <a:gd name="csY122" fmla="*/ 510297 h 2018071"/>
              <a:gd name="csX123" fmla="*/ 2338508 w 3437996"/>
              <a:gd name="csY123" fmla="*/ 507777 h 2018071"/>
              <a:gd name="csX124" fmla="*/ 2322020 w 3437996"/>
              <a:gd name="csY124" fmla="*/ 491243 h 2018071"/>
              <a:gd name="csX125" fmla="*/ 2319465 w 3437996"/>
              <a:gd name="csY125" fmla="*/ 488702 h 2018071"/>
              <a:gd name="csX126" fmla="*/ 2312510 w 3437996"/>
              <a:gd name="csY126" fmla="*/ 481725 h 2018071"/>
              <a:gd name="csX127" fmla="*/ 2309941 w 3437996"/>
              <a:gd name="csY127" fmla="*/ 479158 h 2018071"/>
              <a:gd name="csX128" fmla="*/ 2303024 w 3437996"/>
              <a:gd name="csY128" fmla="*/ 472210 h 2018071"/>
              <a:gd name="csX129" fmla="*/ 2300428 w 3437996"/>
              <a:gd name="csY129" fmla="*/ 469578 h 2018071"/>
              <a:gd name="csX130" fmla="*/ 2293545 w 3437996"/>
              <a:gd name="csY130" fmla="*/ 462697 h 2018071"/>
              <a:gd name="csX131" fmla="*/ 2290922 w 3437996"/>
              <a:gd name="csY131" fmla="*/ 459984 h 2018071"/>
              <a:gd name="csX132" fmla="*/ 2284051 w 3437996"/>
              <a:gd name="csY132" fmla="*/ 453172 h 2018071"/>
              <a:gd name="csX133" fmla="*/ 2281414 w 3437996"/>
              <a:gd name="csY133" fmla="*/ 450403 h 2018071"/>
              <a:gd name="csX134" fmla="*/ 2274560 w 3437996"/>
              <a:gd name="csY134" fmla="*/ 443646 h 2018071"/>
              <a:gd name="csX135" fmla="*/ 2271906 w 3437996"/>
              <a:gd name="csY135" fmla="*/ 440826 h 2018071"/>
              <a:gd name="csX136" fmla="*/ 2265120 w 3437996"/>
              <a:gd name="csY136" fmla="*/ 434112 h 2018071"/>
              <a:gd name="csX137" fmla="*/ 2262409 w 3437996"/>
              <a:gd name="csY137" fmla="*/ 431189 h 2018071"/>
              <a:gd name="csX138" fmla="*/ 2255765 w 3437996"/>
              <a:gd name="csY138" fmla="*/ 424557 h 2018071"/>
              <a:gd name="csX139" fmla="*/ 2252962 w 3437996"/>
              <a:gd name="csY139" fmla="*/ 421458 h 2018071"/>
              <a:gd name="csX140" fmla="*/ 2246361 w 3437996"/>
              <a:gd name="csY140" fmla="*/ 414989 h 2018071"/>
              <a:gd name="csX141" fmla="*/ 2226101 w 3437996"/>
              <a:gd name="csY141" fmla="*/ 394472 h 2018071"/>
              <a:gd name="csX142" fmla="*/ 2204126 w 3437996"/>
              <a:gd name="csY142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44017 w 3437996"/>
              <a:gd name="csY67" fmla="*/ 814773 h 2018071"/>
              <a:gd name="csX68" fmla="*/ 2642551 w 3437996"/>
              <a:gd name="csY68" fmla="*/ 813746 h 2018071"/>
              <a:gd name="csX69" fmla="*/ 2634494 w 3437996"/>
              <a:gd name="csY69" fmla="*/ 805208 h 2018071"/>
              <a:gd name="csX70" fmla="*/ 2633053 w 3437996"/>
              <a:gd name="csY70" fmla="*/ 804210 h 2018071"/>
              <a:gd name="csX71" fmla="*/ 2624994 w 3437996"/>
              <a:gd name="csY71" fmla="*/ 795655 h 2018071"/>
              <a:gd name="csX72" fmla="*/ 2623570 w 3437996"/>
              <a:gd name="csY72" fmla="*/ 794675 h 2018071"/>
              <a:gd name="csX73" fmla="*/ 2615495 w 3437996"/>
              <a:gd name="csY73" fmla="*/ 786111 h 2018071"/>
              <a:gd name="csX74" fmla="*/ 2614082 w 3437996"/>
              <a:gd name="csY74" fmla="*/ 785113 h 2018071"/>
              <a:gd name="csX75" fmla="*/ 2606007 w 3437996"/>
              <a:gd name="csY75" fmla="*/ 776562 h 2018071"/>
              <a:gd name="csX76" fmla="*/ 2604609 w 3437996"/>
              <a:gd name="csY76" fmla="*/ 775538 h 2018071"/>
              <a:gd name="csX77" fmla="*/ 2596489 w 3437996"/>
              <a:gd name="csY77" fmla="*/ 767032 h 2018071"/>
              <a:gd name="csX78" fmla="*/ 2595095 w 3437996"/>
              <a:gd name="csY78" fmla="*/ 766006 h 2018071"/>
              <a:gd name="csX79" fmla="*/ 2586954 w 3437996"/>
              <a:gd name="csY79" fmla="*/ 757512 h 2018071"/>
              <a:gd name="csX80" fmla="*/ 2585558 w 3437996"/>
              <a:gd name="csY80" fmla="*/ 756496 h 2018071"/>
              <a:gd name="csX81" fmla="*/ 2576006 w 3437996"/>
              <a:gd name="csY81" fmla="*/ 747002 h 2018071"/>
              <a:gd name="csX82" fmla="*/ 2567871 w 3437996"/>
              <a:gd name="csY82" fmla="*/ 738486 h 2018071"/>
              <a:gd name="csX83" fmla="*/ 2566459 w 3437996"/>
              <a:gd name="csY83" fmla="*/ 737499 h 2018071"/>
              <a:gd name="csX84" fmla="*/ 2558352 w 3437996"/>
              <a:gd name="csY84" fmla="*/ 728962 h 2018071"/>
              <a:gd name="csX85" fmla="*/ 2556937 w 3437996"/>
              <a:gd name="csY85" fmla="*/ 727967 h 2018071"/>
              <a:gd name="csX86" fmla="*/ 2547432 w 3437996"/>
              <a:gd name="csY86" fmla="*/ 718414 h 2018071"/>
              <a:gd name="csX87" fmla="*/ 2539350 w 3437996"/>
              <a:gd name="csY87" fmla="*/ 709894 h 2018071"/>
              <a:gd name="csX88" fmla="*/ 2537942 w 3437996"/>
              <a:gd name="csY88" fmla="*/ 708842 h 2018071"/>
              <a:gd name="csX89" fmla="*/ 2529865 w 3437996"/>
              <a:gd name="csY89" fmla="*/ 700356 h 2018071"/>
              <a:gd name="csX90" fmla="*/ 2528460 w 3437996"/>
              <a:gd name="csY90" fmla="*/ 699259 h 2018071"/>
              <a:gd name="csX91" fmla="*/ 2520386 w 3437996"/>
              <a:gd name="csY91" fmla="*/ 690820 h 2018071"/>
              <a:gd name="csX92" fmla="*/ 2510900 w 3437996"/>
              <a:gd name="csY92" fmla="*/ 681286 h 2018071"/>
              <a:gd name="csX93" fmla="*/ 2509493 w 3437996"/>
              <a:gd name="csY93" fmla="*/ 680082 h 2018071"/>
              <a:gd name="csX94" fmla="*/ 2501400 w 3437996"/>
              <a:gd name="csY94" fmla="*/ 671754 h 2018071"/>
              <a:gd name="csX95" fmla="*/ 2491892 w 3437996"/>
              <a:gd name="csY95" fmla="*/ 662222 h 2018071"/>
              <a:gd name="csX96" fmla="*/ 2490482 w 3437996"/>
              <a:gd name="csY96" fmla="*/ 660967 h 2018071"/>
              <a:gd name="csX97" fmla="*/ 2480984 w 3437996"/>
              <a:gd name="csY97" fmla="*/ 651408 h 2018071"/>
              <a:gd name="csX98" fmla="*/ 2472919 w 3437996"/>
              <a:gd name="csY98" fmla="*/ 643127 h 2018071"/>
              <a:gd name="csX99" fmla="*/ 2471515 w 3437996"/>
              <a:gd name="csY99" fmla="*/ 641819 h 2018071"/>
              <a:gd name="csX100" fmla="*/ 2463424 w 3437996"/>
              <a:gd name="csY100" fmla="*/ 633584 h 2018071"/>
              <a:gd name="csX101" fmla="*/ 2462020 w 3437996"/>
              <a:gd name="csY101" fmla="*/ 632257 h 2018071"/>
              <a:gd name="csX102" fmla="*/ 2453925 w 3437996"/>
              <a:gd name="csY102" fmla="*/ 624049 h 2018071"/>
              <a:gd name="csX103" fmla="*/ 2452516 w 3437996"/>
              <a:gd name="csY103" fmla="*/ 622702 h 2018071"/>
              <a:gd name="csX104" fmla="*/ 2444450 w 3437996"/>
              <a:gd name="csY104" fmla="*/ 614506 h 2018071"/>
              <a:gd name="csX105" fmla="*/ 2434957 w 3437996"/>
              <a:gd name="csY105" fmla="*/ 604969 h 2018071"/>
              <a:gd name="csX106" fmla="*/ 2433519 w 3437996"/>
              <a:gd name="csY106" fmla="*/ 603563 h 2018071"/>
              <a:gd name="csX107" fmla="*/ 2425486 w 3437996"/>
              <a:gd name="csY107" fmla="*/ 595418 h 2018071"/>
              <a:gd name="csX108" fmla="*/ 2424029 w 3437996"/>
              <a:gd name="csY108" fmla="*/ 593985 h 2018071"/>
              <a:gd name="csX109" fmla="*/ 2416081 w 3437996"/>
              <a:gd name="csY109" fmla="*/ 585841 h 2018071"/>
              <a:gd name="csX110" fmla="*/ 2406640 w 3437996"/>
              <a:gd name="csY110" fmla="*/ 576281 h 2018071"/>
              <a:gd name="csX111" fmla="*/ 2397176 w 3437996"/>
              <a:gd name="csY111" fmla="*/ 566733 h 2018071"/>
              <a:gd name="csX112" fmla="*/ 2395561 w 3437996"/>
              <a:gd name="csY112" fmla="*/ 565186 h 2018071"/>
              <a:gd name="csX113" fmla="*/ 2387690 w 3437996"/>
              <a:gd name="csY113" fmla="*/ 557193 h 2018071"/>
              <a:gd name="csX114" fmla="*/ 2386050 w 3437996"/>
              <a:gd name="csY114" fmla="*/ 555624 h 2018071"/>
              <a:gd name="csX115" fmla="*/ 2378191 w 3437996"/>
              <a:gd name="csY115" fmla="*/ 547659 h 2018071"/>
              <a:gd name="csX116" fmla="*/ 2368704 w 3437996"/>
              <a:gd name="csY116" fmla="*/ 538124 h 2018071"/>
              <a:gd name="csX117" fmla="*/ 2367021 w 3437996"/>
              <a:gd name="csY117" fmla="*/ 536517 h 2018071"/>
              <a:gd name="csX118" fmla="*/ 2360018 w 3437996"/>
              <a:gd name="csY118" fmla="*/ 529380 h 2018071"/>
              <a:gd name="csX119" fmla="*/ 2350552 w 3437996"/>
              <a:gd name="csY119" fmla="*/ 519835 h 2018071"/>
              <a:gd name="csX120" fmla="*/ 2348016 w 3437996"/>
              <a:gd name="csY120" fmla="*/ 517342 h 2018071"/>
              <a:gd name="csX121" fmla="*/ 2341054 w 3437996"/>
              <a:gd name="csY121" fmla="*/ 510297 h 2018071"/>
              <a:gd name="csX122" fmla="*/ 2338508 w 3437996"/>
              <a:gd name="csY122" fmla="*/ 507777 h 2018071"/>
              <a:gd name="csX123" fmla="*/ 2322020 w 3437996"/>
              <a:gd name="csY123" fmla="*/ 491243 h 2018071"/>
              <a:gd name="csX124" fmla="*/ 2319465 w 3437996"/>
              <a:gd name="csY124" fmla="*/ 488702 h 2018071"/>
              <a:gd name="csX125" fmla="*/ 2312510 w 3437996"/>
              <a:gd name="csY125" fmla="*/ 481725 h 2018071"/>
              <a:gd name="csX126" fmla="*/ 2309941 w 3437996"/>
              <a:gd name="csY126" fmla="*/ 479158 h 2018071"/>
              <a:gd name="csX127" fmla="*/ 2303024 w 3437996"/>
              <a:gd name="csY127" fmla="*/ 472210 h 2018071"/>
              <a:gd name="csX128" fmla="*/ 2300428 w 3437996"/>
              <a:gd name="csY128" fmla="*/ 469578 h 2018071"/>
              <a:gd name="csX129" fmla="*/ 2293545 w 3437996"/>
              <a:gd name="csY129" fmla="*/ 462697 h 2018071"/>
              <a:gd name="csX130" fmla="*/ 2290922 w 3437996"/>
              <a:gd name="csY130" fmla="*/ 459984 h 2018071"/>
              <a:gd name="csX131" fmla="*/ 2284051 w 3437996"/>
              <a:gd name="csY131" fmla="*/ 453172 h 2018071"/>
              <a:gd name="csX132" fmla="*/ 2281414 w 3437996"/>
              <a:gd name="csY132" fmla="*/ 450403 h 2018071"/>
              <a:gd name="csX133" fmla="*/ 2274560 w 3437996"/>
              <a:gd name="csY133" fmla="*/ 443646 h 2018071"/>
              <a:gd name="csX134" fmla="*/ 2271906 w 3437996"/>
              <a:gd name="csY134" fmla="*/ 440826 h 2018071"/>
              <a:gd name="csX135" fmla="*/ 2265120 w 3437996"/>
              <a:gd name="csY135" fmla="*/ 434112 h 2018071"/>
              <a:gd name="csX136" fmla="*/ 2262409 w 3437996"/>
              <a:gd name="csY136" fmla="*/ 431189 h 2018071"/>
              <a:gd name="csX137" fmla="*/ 2255765 w 3437996"/>
              <a:gd name="csY137" fmla="*/ 424557 h 2018071"/>
              <a:gd name="csX138" fmla="*/ 2252962 w 3437996"/>
              <a:gd name="csY138" fmla="*/ 421458 h 2018071"/>
              <a:gd name="csX139" fmla="*/ 2246361 w 3437996"/>
              <a:gd name="csY139" fmla="*/ 414989 h 2018071"/>
              <a:gd name="csX140" fmla="*/ 2226101 w 3437996"/>
              <a:gd name="csY140" fmla="*/ 394472 h 2018071"/>
              <a:gd name="csX141" fmla="*/ 2204126 w 3437996"/>
              <a:gd name="csY141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44017 w 3437996"/>
              <a:gd name="csY67" fmla="*/ 814773 h 2018071"/>
              <a:gd name="csX68" fmla="*/ 2642551 w 3437996"/>
              <a:gd name="csY68" fmla="*/ 813746 h 2018071"/>
              <a:gd name="csX69" fmla="*/ 2634494 w 3437996"/>
              <a:gd name="csY69" fmla="*/ 805208 h 2018071"/>
              <a:gd name="csX70" fmla="*/ 2633053 w 3437996"/>
              <a:gd name="csY70" fmla="*/ 804210 h 2018071"/>
              <a:gd name="csX71" fmla="*/ 2624994 w 3437996"/>
              <a:gd name="csY71" fmla="*/ 795655 h 2018071"/>
              <a:gd name="csX72" fmla="*/ 2623570 w 3437996"/>
              <a:gd name="csY72" fmla="*/ 794675 h 2018071"/>
              <a:gd name="csX73" fmla="*/ 2615495 w 3437996"/>
              <a:gd name="csY73" fmla="*/ 786111 h 2018071"/>
              <a:gd name="csX74" fmla="*/ 2614082 w 3437996"/>
              <a:gd name="csY74" fmla="*/ 785113 h 2018071"/>
              <a:gd name="csX75" fmla="*/ 2606007 w 3437996"/>
              <a:gd name="csY75" fmla="*/ 776562 h 2018071"/>
              <a:gd name="csX76" fmla="*/ 2604609 w 3437996"/>
              <a:gd name="csY76" fmla="*/ 775538 h 2018071"/>
              <a:gd name="csX77" fmla="*/ 2596489 w 3437996"/>
              <a:gd name="csY77" fmla="*/ 767032 h 2018071"/>
              <a:gd name="csX78" fmla="*/ 2595095 w 3437996"/>
              <a:gd name="csY78" fmla="*/ 766006 h 2018071"/>
              <a:gd name="csX79" fmla="*/ 2586954 w 3437996"/>
              <a:gd name="csY79" fmla="*/ 757512 h 2018071"/>
              <a:gd name="csX80" fmla="*/ 2585558 w 3437996"/>
              <a:gd name="csY80" fmla="*/ 756496 h 2018071"/>
              <a:gd name="csX81" fmla="*/ 2576006 w 3437996"/>
              <a:gd name="csY81" fmla="*/ 747002 h 2018071"/>
              <a:gd name="csX82" fmla="*/ 2567871 w 3437996"/>
              <a:gd name="csY82" fmla="*/ 738486 h 2018071"/>
              <a:gd name="csX83" fmla="*/ 2566459 w 3437996"/>
              <a:gd name="csY83" fmla="*/ 737499 h 2018071"/>
              <a:gd name="csX84" fmla="*/ 2558352 w 3437996"/>
              <a:gd name="csY84" fmla="*/ 728962 h 2018071"/>
              <a:gd name="csX85" fmla="*/ 2556937 w 3437996"/>
              <a:gd name="csY85" fmla="*/ 727967 h 2018071"/>
              <a:gd name="csX86" fmla="*/ 2547432 w 3437996"/>
              <a:gd name="csY86" fmla="*/ 718414 h 2018071"/>
              <a:gd name="csX87" fmla="*/ 2539350 w 3437996"/>
              <a:gd name="csY87" fmla="*/ 709894 h 2018071"/>
              <a:gd name="csX88" fmla="*/ 2537942 w 3437996"/>
              <a:gd name="csY88" fmla="*/ 708842 h 2018071"/>
              <a:gd name="csX89" fmla="*/ 2529865 w 3437996"/>
              <a:gd name="csY89" fmla="*/ 700356 h 2018071"/>
              <a:gd name="csX90" fmla="*/ 2528460 w 3437996"/>
              <a:gd name="csY90" fmla="*/ 699259 h 2018071"/>
              <a:gd name="csX91" fmla="*/ 2520386 w 3437996"/>
              <a:gd name="csY91" fmla="*/ 690820 h 2018071"/>
              <a:gd name="csX92" fmla="*/ 2510900 w 3437996"/>
              <a:gd name="csY92" fmla="*/ 681286 h 2018071"/>
              <a:gd name="csX93" fmla="*/ 2509493 w 3437996"/>
              <a:gd name="csY93" fmla="*/ 680082 h 2018071"/>
              <a:gd name="csX94" fmla="*/ 2501400 w 3437996"/>
              <a:gd name="csY94" fmla="*/ 671754 h 2018071"/>
              <a:gd name="csX95" fmla="*/ 2491892 w 3437996"/>
              <a:gd name="csY95" fmla="*/ 662222 h 2018071"/>
              <a:gd name="csX96" fmla="*/ 2490482 w 3437996"/>
              <a:gd name="csY96" fmla="*/ 660967 h 2018071"/>
              <a:gd name="csX97" fmla="*/ 2480984 w 3437996"/>
              <a:gd name="csY97" fmla="*/ 651408 h 2018071"/>
              <a:gd name="csX98" fmla="*/ 2472919 w 3437996"/>
              <a:gd name="csY98" fmla="*/ 643127 h 2018071"/>
              <a:gd name="csX99" fmla="*/ 2471515 w 3437996"/>
              <a:gd name="csY99" fmla="*/ 641819 h 2018071"/>
              <a:gd name="csX100" fmla="*/ 2463424 w 3437996"/>
              <a:gd name="csY100" fmla="*/ 633584 h 2018071"/>
              <a:gd name="csX101" fmla="*/ 2462020 w 3437996"/>
              <a:gd name="csY101" fmla="*/ 632257 h 2018071"/>
              <a:gd name="csX102" fmla="*/ 2453925 w 3437996"/>
              <a:gd name="csY102" fmla="*/ 624049 h 2018071"/>
              <a:gd name="csX103" fmla="*/ 2452516 w 3437996"/>
              <a:gd name="csY103" fmla="*/ 622702 h 2018071"/>
              <a:gd name="csX104" fmla="*/ 2444450 w 3437996"/>
              <a:gd name="csY104" fmla="*/ 614506 h 2018071"/>
              <a:gd name="csX105" fmla="*/ 2434957 w 3437996"/>
              <a:gd name="csY105" fmla="*/ 604969 h 2018071"/>
              <a:gd name="csX106" fmla="*/ 2433519 w 3437996"/>
              <a:gd name="csY106" fmla="*/ 603563 h 2018071"/>
              <a:gd name="csX107" fmla="*/ 2425486 w 3437996"/>
              <a:gd name="csY107" fmla="*/ 595418 h 2018071"/>
              <a:gd name="csX108" fmla="*/ 2424029 w 3437996"/>
              <a:gd name="csY108" fmla="*/ 593985 h 2018071"/>
              <a:gd name="csX109" fmla="*/ 2416081 w 3437996"/>
              <a:gd name="csY109" fmla="*/ 585841 h 2018071"/>
              <a:gd name="csX110" fmla="*/ 2406640 w 3437996"/>
              <a:gd name="csY110" fmla="*/ 576281 h 2018071"/>
              <a:gd name="csX111" fmla="*/ 2397176 w 3437996"/>
              <a:gd name="csY111" fmla="*/ 566733 h 2018071"/>
              <a:gd name="csX112" fmla="*/ 2395561 w 3437996"/>
              <a:gd name="csY112" fmla="*/ 565186 h 2018071"/>
              <a:gd name="csX113" fmla="*/ 2387690 w 3437996"/>
              <a:gd name="csY113" fmla="*/ 557193 h 2018071"/>
              <a:gd name="csX114" fmla="*/ 2386050 w 3437996"/>
              <a:gd name="csY114" fmla="*/ 555624 h 2018071"/>
              <a:gd name="csX115" fmla="*/ 2378191 w 3437996"/>
              <a:gd name="csY115" fmla="*/ 547659 h 2018071"/>
              <a:gd name="csX116" fmla="*/ 2368704 w 3437996"/>
              <a:gd name="csY116" fmla="*/ 538124 h 2018071"/>
              <a:gd name="csX117" fmla="*/ 2367021 w 3437996"/>
              <a:gd name="csY117" fmla="*/ 536517 h 2018071"/>
              <a:gd name="csX118" fmla="*/ 2360018 w 3437996"/>
              <a:gd name="csY118" fmla="*/ 529380 h 2018071"/>
              <a:gd name="csX119" fmla="*/ 2350552 w 3437996"/>
              <a:gd name="csY119" fmla="*/ 519835 h 2018071"/>
              <a:gd name="csX120" fmla="*/ 2348016 w 3437996"/>
              <a:gd name="csY120" fmla="*/ 517342 h 2018071"/>
              <a:gd name="csX121" fmla="*/ 2341054 w 3437996"/>
              <a:gd name="csY121" fmla="*/ 510297 h 2018071"/>
              <a:gd name="csX122" fmla="*/ 2322020 w 3437996"/>
              <a:gd name="csY122" fmla="*/ 491243 h 2018071"/>
              <a:gd name="csX123" fmla="*/ 2319465 w 3437996"/>
              <a:gd name="csY123" fmla="*/ 488702 h 2018071"/>
              <a:gd name="csX124" fmla="*/ 2312510 w 3437996"/>
              <a:gd name="csY124" fmla="*/ 481725 h 2018071"/>
              <a:gd name="csX125" fmla="*/ 2309941 w 3437996"/>
              <a:gd name="csY125" fmla="*/ 479158 h 2018071"/>
              <a:gd name="csX126" fmla="*/ 2303024 w 3437996"/>
              <a:gd name="csY126" fmla="*/ 472210 h 2018071"/>
              <a:gd name="csX127" fmla="*/ 2300428 w 3437996"/>
              <a:gd name="csY127" fmla="*/ 469578 h 2018071"/>
              <a:gd name="csX128" fmla="*/ 2293545 w 3437996"/>
              <a:gd name="csY128" fmla="*/ 462697 h 2018071"/>
              <a:gd name="csX129" fmla="*/ 2290922 w 3437996"/>
              <a:gd name="csY129" fmla="*/ 459984 h 2018071"/>
              <a:gd name="csX130" fmla="*/ 2284051 w 3437996"/>
              <a:gd name="csY130" fmla="*/ 453172 h 2018071"/>
              <a:gd name="csX131" fmla="*/ 2281414 w 3437996"/>
              <a:gd name="csY131" fmla="*/ 450403 h 2018071"/>
              <a:gd name="csX132" fmla="*/ 2274560 w 3437996"/>
              <a:gd name="csY132" fmla="*/ 443646 h 2018071"/>
              <a:gd name="csX133" fmla="*/ 2271906 w 3437996"/>
              <a:gd name="csY133" fmla="*/ 440826 h 2018071"/>
              <a:gd name="csX134" fmla="*/ 2265120 w 3437996"/>
              <a:gd name="csY134" fmla="*/ 434112 h 2018071"/>
              <a:gd name="csX135" fmla="*/ 2262409 w 3437996"/>
              <a:gd name="csY135" fmla="*/ 431189 h 2018071"/>
              <a:gd name="csX136" fmla="*/ 2255765 w 3437996"/>
              <a:gd name="csY136" fmla="*/ 424557 h 2018071"/>
              <a:gd name="csX137" fmla="*/ 2252962 w 3437996"/>
              <a:gd name="csY137" fmla="*/ 421458 h 2018071"/>
              <a:gd name="csX138" fmla="*/ 2246361 w 3437996"/>
              <a:gd name="csY138" fmla="*/ 414989 h 2018071"/>
              <a:gd name="csX139" fmla="*/ 2226101 w 3437996"/>
              <a:gd name="csY139" fmla="*/ 394472 h 2018071"/>
              <a:gd name="csX140" fmla="*/ 2204126 w 3437996"/>
              <a:gd name="csY140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44017 w 3437996"/>
              <a:gd name="csY67" fmla="*/ 814773 h 2018071"/>
              <a:gd name="csX68" fmla="*/ 2642551 w 3437996"/>
              <a:gd name="csY68" fmla="*/ 813746 h 2018071"/>
              <a:gd name="csX69" fmla="*/ 2634494 w 3437996"/>
              <a:gd name="csY69" fmla="*/ 805208 h 2018071"/>
              <a:gd name="csX70" fmla="*/ 2633053 w 3437996"/>
              <a:gd name="csY70" fmla="*/ 804210 h 2018071"/>
              <a:gd name="csX71" fmla="*/ 2624994 w 3437996"/>
              <a:gd name="csY71" fmla="*/ 795655 h 2018071"/>
              <a:gd name="csX72" fmla="*/ 2623570 w 3437996"/>
              <a:gd name="csY72" fmla="*/ 794675 h 2018071"/>
              <a:gd name="csX73" fmla="*/ 2615495 w 3437996"/>
              <a:gd name="csY73" fmla="*/ 786111 h 2018071"/>
              <a:gd name="csX74" fmla="*/ 2614082 w 3437996"/>
              <a:gd name="csY74" fmla="*/ 785113 h 2018071"/>
              <a:gd name="csX75" fmla="*/ 2606007 w 3437996"/>
              <a:gd name="csY75" fmla="*/ 776562 h 2018071"/>
              <a:gd name="csX76" fmla="*/ 2604609 w 3437996"/>
              <a:gd name="csY76" fmla="*/ 775538 h 2018071"/>
              <a:gd name="csX77" fmla="*/ 2596489 w 3437996"/>
              <a:gd name="csY77" fmla="*/ 767032 h 2018071"/>
              <a:gd name="csX78" fmla="*/ 2595095 w 3437996"/>
              <a:gd name="csY78" fmla="*/ 766006 h 2018071"/>
              <a:gd name="csX79" fmla="*/ 2586954 w 3437996"/>
              <a:gd name="csY79" fmla="*/ 757512 h 2018071"/>
              <a:gd name="csX80" fmla="*/ 2585558 w 3437996"/>
              <a:gd name="csY80" fmla="*/ 756496 h 2018071"/>
              <a:gd name="csX81" fmla="*/ 2576006 w 3437996"/>
              <a:gd name="csY81" fmla="*/ 747002 h 2018071"/>
              <a:gd name="csX82" fmla="*/ 2567871 w 3437996"/>
              <a:gd name="csY82" fmla="*/ 738486 h 2018071"/>
              <a:gd name="csX83" fmla="*/ 2566459 w 3437996"/>
              <a:gd name="csY83" fmla="*/ 737499 h 2018071"/>
              <a:gd name="csX84" fmla="*/ 2558352 w 3437996"/>
              <a:gd name="csY84" fmla="*/ 728962 h 2018071"/>
              <a:gd name="csX85" fmla="*/ 2556937 w 3437996"/>
              <a:gd name="csY85" fmla="*/ 727967 h 2018071"/>
              <a:gd name="csX86" fmla="*/ 2547432 w 3437996"/>
              <a:gd name="csY86" fmla="*/ 718414 h 2018071"/>
              <a:gd name="csX87" fmla="*/ 2539350 w 3437996"/>
              <a:gd name="csY87" fmla="*/ 709894 h 2018071"/>
              <a:gd name="csX88" fmla="*/ 2537942 w 3437996"/>
              <a:gd name="csY88" fmla="*/ 708842 h 2018071"/>
              <a:gd name="csX89" fmla="*/ 2529865 w 3437996"/>
              <a:gd name="csY89" fmla="*/ 700356 h 2018071"/>
              <a:gd name="csX90" fmla="*/ 2528460 w 3437996"/>
              <a:gd name="csY90" fmla="*/ 699259 h 2018071"/>
              <a:gd name="csX91" fmla="*/ 2520386 w 3437996"/>
              <a:gd name="csY91" fmla="*/ 690820 h 2018071"/>
              <a:gd name="csX92" fmla="*/ 2510900 w 3437996"/>
              <a:gd name="csY92" fmla="*/ 681286 h 2018071"/>
              <a:gd name="csX93" fmla="*/ 2509493 w 3437996"/>
              <a:gd name="csY93" fmla="*/ 680082 h 2018071"/>
              <a:gd name="csX94" fmla="*/ 2501400 w 3437996"/>
              <a:gd name="csY94" fmla="*/ 671754 h 2018071"/>
              <a:gd name="csX95" fmla="*/ 2491892 w 3437996"/>
              <a:gd name="csY95" fmla="*/ 662222 h 2018071"/>
              <a:gd name="csX96" fmla="*/ 2490482 w 3437996"/>
              <a:gd name="csY96" fmla="*/ 660967 h 2018071"/>
              <a:gd name="csX97" fmla="*/ 2480984 w 3437996"/>
              <a:gd name="csY97" fmla="*/ 651408 h 2018071"/>
              <a:gd name="csX98" fmla="*/ 2472919 w 3437996"/>
              <a:gd name="csY98" fmla="*/ 643127 h 2018071"/>
              <a:gd name="csX99" fmla="*/ 2471515 w 3437996"/>
              <a:gd name="csY99" fmla="*/ 641819 h 2018071"/>
              <a:gd name="csX100" fmla="*/ 2463424 w 3437996"/>
              <a:gd name="csY100" fmla="*/ 633584 h 2018071"/>
              <a:gd name="csX101" fmla="*/ 2462020 w 3437996"/>
              <a:gd name="csY101" fmla="*/ 632257 h 2018071"/>
              <a:gd name="csX102" fmla="*/ 2453925 w 3437996"/>
              <a:gd name="csY102" fmla="*/ 624049 h 2018071"/>
              <a:gd name="csX103" fmla="*/ 2452516 w 3437996"/>
              <a:gd name="csY103" fmla="*/ 622702 h 2018071"/>
              <a:gd name="csX104" fmla="*/ 2444450 w 3437996"/>
              <a:gd name="csY104" fmla="*/ 614506 h 2018071"/>
              <a:gd name="csX105" fmla="*/ 2434957 w 3437996"/>
              <a:gd name="csY105" fmla="*/ 604969 h 2018071"/>
              <a:gd name="csX106" fmla="*/ 2433519 w 3437996"/>
              <a:gd name="csY106" fmla="*/ 603563 h 2018071"/>
              <a:gd name="csX107" fmla="*/ 2425486 w 3437996"/>
              <a:gd name="csY107" fmla="*/ 595418 h 2018071"/>
              <a:gd name="csX108" fmla="*/ 2424029 w 3437996"/>
              <a:gd name="csY108" fmla="*/ 593985 h 2018071"/>
              <a:gd name="csX109" fmla="*/ 2416081 w 3437996"/>
              <a:gd name="csY109" fmla="*/ 585841 h 2018071"/>
              <a:gd name="csX110" fmla="*/ 2406640 w 3437996"/>
              <a:gd name="csY110" fmla="*/ 576281 h 2018071"/>
              <a:gd name="csX111" fmla="*/ 2397176 w 3437996"/>
              <a:gd name="csY111" fmla="*/ 566733 h 2018071"/>
              <a:gd name="csX112" fmla="*/ 2395561 w 3437996"/>
              <a:gd name="csY112" fmla="*/ 565186 h 2018071"/>
              <a:gd name="csX113" fmla="*/ 2387690 w 3437996"/>
              <a:gd name="csY113" fmla="*/ 557193 h 2018071"/>
              <a:gd name="csX114" fmla="*/ 2386050 w 3437996"/>
              <a:gd name="csY114" fmla="*/ 555624 h 2018071"/>
              <a:gd name="csX115" fmla="*/ 2378191 w 3437996"/>
              <a:gd name="csY115" fmla="*/ 547659 h 2018071"/>
              <a:gd name="csX116" fmla="*/ 2368704 w 3437996"/>
              <a:gd name="csY116" fmla="*/ 538124 h 2018071"/>
              <a:gd name="csX117" fmla="*/ 2367021 w 3437996"/>
              <a:gd name="csY117" fmla="*/ 536517 h 2018071"/>
              <a:gd name="csX118" fmla="*/ 2360018 w 3437996"/>
              <a:gd name="csY118" fmla="*/ 529380 h 2018071"/>
              <a:gd name="csX119" fmla="*/ 2350552 w 3437996"/>
              <a:gd name="csY119" fmla="*/ 519835 h 2018071"/>
              <a:gd name="csX120" fmla="*/ 2348016 w 3437996"/>
              <a:gd name="csY120" fmla="*/ 517342 h 2018071"/>
              <a:gd name="csX121" fmla="*/ 2341054 w 3437996"/>
              <a:gd name="csY121" fmla="*/ 510297 h 2018071"/>
              <a:gd name="csX122" fmla="*/ 2322020 w 3437996"/>
              <a:gd name="csY122" fmla="*/ 491243 h 2018071"/>
              <a:gd name="csX123" fmla="*/ 2319465 w 3437996"/>
              <a:gd name="csY123" fmla="*/ 488702 h 2018071"/>
              <a:gd name="csX124" fmla="*/ 2312510 w 3437996"/>
              <a:gd name="csY124" fmla="*/ 481725 h 2018071"/>
              <a:gd name="csX125" fmla="*/ 2309941 w 3437996"/>
              <a:gd name="csY125" fmla="*/ 479158 h 2018071"/>
              <a:gd name="csX126" fmla="*/ 2303024 w 3437996"/>
              <a:gd name="csY126" fmla="*/ 472210 h 2018071"/>
              <a:gd name="csX127" fmla="*/ 2300428 w 3437996"/>
              <a:gd name="csY127" fmla="*/ 469578 h 2018071"/>
              <a:gd name="csX128" fmla="*/ 2293545 w 3437996"/>
              <a:gd name="csY128" fmla="*/ 462697 h 2018071"/>
              <a:gd name="csX129" fmla="*/ 2284051 w 3437996"/>
              <a:gd name="csY129" fmla="*/ 453172 h 2018071"/>
              <a:gd name="csX130" fmla="*/ 2281414 w 3437996"/>
              <a:gd name="csY130" fmla="*/ 450403 h 2018071"/>
              <a:gd name="csX131" fmla="*/ 2274560 w 3437996"/>
              <a:gd name="csY131" fmla="*/ 443646 h 2018071"/>
              <a:gd name="csX132" fmla="*/ 2271906 w 3437996"/>
              <a:gd name="csY132" fmla="*/ 440826 h 2018071"/>
              <a:gd name="csX133" fmla="*/ 2265120 w 3437996"/>
              <a:gd name="csY133" fmla="*/ 434112 h 2018071"/>
              <a:gd name="csX134" fmla="*/ 2262409 w 3437996"/>
              <a:gd name="csY134" fmla="*/ 431189 h 2018071"/>
              <a:gd name="csX135" fmla="*/ 2255765 w 3437996"/>
              <a:gd name="csY135" fmla="*/ 424557 h 2018071"/>
              <a:gd name="csX136" fmla="*/ 2252962 w 3437996"/>
              <a:gd name="csY136" fmla="*/ 421458 h 2018071"/>
              <a:gd name="csX137" fmla="*/ 2246361 w 3437996"/>
              <a:gd name="csY137" fmla="*/ 414989 h 2018071"/>
              <a:gd name="csX138" fmla="*/ 2226101 w 3437996"/>
              <a:gd name="csY138" fmla="*/ 394472 h 2018071"/>
              <a:gd name="csX139" fmla="*/ 2204126 w 3437996"/>
              <a:gd name="csY139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44017 w 3437996"/>
              <a:gd name="csY67" fmla="*/ 814773 h 2018071"/>
              <a:gd name="csX68" fmla="*/ 2642551 w 3437996"/>
              <a:gd name="csY68" fmla="*/ 813746 h 2018071"/>
              <a:gd name="csX69" fmla="*/ 2634494 w 3437996"/>
              <a:gd name="csY69" fmla="*/ 805208 h 2018071"/>
              <a:gd name="csX70" fmla="*/ 2633053 w 3437996"/>
              <a:gd name="csY70" fmla="*/ 804210 h 2018071"/>
              <a:gd name="csX71" fmla="*/ 2624994 w 3437996"/>
              <a:gd name="csY71" fmla="*/ 795655 h 2018071"/>
              <a:gd name="csX72" fmla="*/ 2623570 w 3437996"/>
              <a:gd name="csY72" fmla="*/ 794675 h 2018071"/>
              <a:gd name="csX73" fmla="*/ 2615495 w 3437996"/>
              <a:gd name="csY73" fmla="*/ 786111 h 2018071"/>
              <a:gd name="csX74" fmla="*/ 2614082 w 3437996"/>
              <a:gd name="csY74" fmla="*/ 785113 h 2018071"/>
              <a:gd name="csX75" fmla="*/ 2606007 w 3437996"/>
              <a:gd name="csY75" fmla="*/ 776562 h 2018071"/>
              <a:gd name="csX76" fmla="*/ 2604609 w 3437996"/>
              <a:gd name="csY76" fmla="*/ 775538 h 2018071"/>
              <a:gd name="csX77" fmla="*/ 2596489 w 3437996"/>
              <a:gd name="csY77" fmla="*/ 767032 h 2018071"/>
              <a:gd name="csX78" fmla="*/ 2595095 w 3437996"/>
              <a:gd name="csY78" fmla="*/ 766006 h 2018071"/>
              <a:gd name="csX79" fmla="*/ 2586954 w 3437996"/>
              <a:gd name="csY79" fmla="*/ 757512 h 2018071"/>
              <a:gd name="csX80" fmla="*/ 2585558 w 3437996"/>
              <a:gd name="csY80" fmla="*/ 756496 h 2018071"/>
              <a:gd name="csX81" fmla="*/ 2576006 w 3437996"/>
              <a:gd name="csY81" fmla="*/ 747002 h 2018071"/>
              <a:gd name="csX82" fmla="*/ 2567871 w 3437996"/>
              <a:gd name="csY82" fmla="*/ 738486 h 2018071"/>
              <a:gd name="csX83" fmla="*/ 2566459 w 3437996"/>
              <a:gd name="csY83" fmla="*/ 737499 h 2018071"/>
              <a:gd name="csX84" fmla="*/ 2558352 w 3437996"/>
              <a:gd name="csY84" fmla="*/ 728962 h 2018071"/>
              <a:gd name="csX85" fmla="*/ 2556937 w 3437996"/>
              <a:gd name="csY85" fmla="*/ 727967 h 2018071"/>
              <a:gd name="csX86" fmla="*/ 2547432 w 3437996"/>
              <a:gd name="csY86" fmla="*/ 718414 h 2018071"/>
              <a:gd name="csX87" fmla="*/ 2539350 w 3437996"/>
              <a:gd name="csY87" fmla="*/ 709894 h 2018071"/>
              <a:gd name="csX88" fmla="*/ 2537942 w 3437996"/>
              <a:gd name="csY88" fmla="*/ 708842 h 2018071"/>
              <a:gd name="csX89" fmla="*/ 2529865 w 3437996"/>
              <a:gd name="csY89" fmla="*/ 700356 h 2018071"/>
              <a:gd name="csX90" fmla="*/ 2528460 w 3437996"/>
              <a:gd name="csY90" fmla="*/ 699259 h 2018071"/>
              <a:gd name="csX91" fmla="*/ 2520386 w 3437996"/>
              <a:gd name="csY91" fmla="*/ 690820 h 2018071"/>
              <a:gd name="csX92" fmla="*/ 2510900 w 3437996"/>
              <a:gd name="csY92" fmla="*/ 681286 h 2018071"/>
              <a:gd name="csX93" fmla="*/ 2509493 w 3437996"/>
              <a:gd name="csY93" fmla="*/ 680082 h 2018071"/>
              <a:gd name="csX94" fmla="*/ 2501400 w 3437996"/>
              <a:gd name="csY94" fmla="*/ 671754 h 2018071"/>
              <a:gd name="csX95" fmla="*/ 2491892 w 3437996"/>
              <a:gd name="csY95" fmla="*/ 662222 h 2018071"/>
              <a:gd name="csX96" fmla="*/ 2490482 w 3437996"/>
              <a:gd name="csY96" fmla="*/ 660967 h 2018071"/>
              <a:gd name="csX97" fmla="*/ 2480984 w 3437996"/>
              <a:gd name="csY97" fmla="*/ 651408 h 2018071"/>
              <a:gd name="csX98" fmla="*/ 2472919 w 3437996"/>
              <a:gd name="csY98" fmla="*/ 643127 h 2018071"/>
              <a:gd name="csX99" fmla="*/ 2471515 w 3437996"/>
              <a:gd name="csY99" fmla="*/ 641819 h 2018071"/>
              <a:gd name="csX100" fmla="*/ 2463424 w 3437996"/>
              <a:gd name="csY100" fmla="*/ 633584 h 2018071"/>
              <a:gd name="csX101" fmla="*/ 2462020 w 3437996"/>
              <a:gd name="csY101" fmla="*/ 632257 h 2018071"/>
              <a:gd name="csX102" fmla="*/ 2453925 w 3437996"/>
              <a:gd name="csY102" fmla="*/ 624049 h 2018071"/>
              <a:gd name="csX103" fmla="*/ 2452516 w 3437996"/>
              <a:gd name="csY103" fmla="*/ 622702 h 2018071"/>
              <a:gd name="csX104" fmla="*/ 2444450 w 3437996"/>
              <a:gd name="csY104" fmla="*/ 614506 h 2018071"/>
              <a:gd name="csX105" fmla="*/ 2434957 w 3437996"/>
              <a:gd name="csY105" fmla="*/ 604969 h 2018071"/>
              <a:gd name="csX106" fmla="*/ 2433519 w 3437996"/>
              <a:gd name="csY106" fmla="*/ 603563 h 2018071"/>
              <a:gd name="csX107" fmla="*/ 2425486 w 3437996"/>
              <a:gd name="csY107" fmla="*/ 595418 h 2018071"/>
              <a:gd name="csX108" fmla="*/ 2424029 w 3437996"/>
              <a:gd name="csY108" fmla="*/ 593985 h 2018071"/>
              <a:gd name="csX109" fmla="*/ 2416081 w 3437996"/>
              <a:gd name="csY109" fmla="*/ 585841 h 2018071"/>
              <a:gd name="csX110" fmla="*/ 2406640 w 3437996"/>
              <a:gd name="csY110" fmla="*/ 576281 h 2018071"/>
              <a:gd name="csX111" fmla="*/ 2397176 w 3437996"/>
              <a:gd name="csY111" fmla="*/ 566733 h 2018071"/>
              <a:gd name="csX112" fmla="*/ 2395561 w 3437996"/>
              <a:gd name="csY112" fmla="*/ 565186 h 2018071"/>
              <a:gd name="csX113" fmla="*/ 2387690 w 3437996"/>
              <a:gd name="csY113" fmla="*/ 557193 h 2018071"/>
              <a:gd name="csX114" fmla="*/ 2386050 w 3437996"/>
              <a:gd name="csY114" fmla="*/ 555624 h 2018071"/>
              <a:gd name="csX115" fmla="*/ 2378191 w 3437996"/>
              <a:gd name="csY115" fmla="*/ 547659 h 2018071"/>
              <a:gd name="csX116" fmla="*/ 2368704 w 3437996"/>
              <a:gd name="csY116" fmla="*/ 538124 h 2018071"/>
              <a:gd name="csX117" fmla="*/ 2367021 w 3437996"/>
              <a:gd name="csY117" fmla="*/ 536517 h 2018071"/>
              <a:gd name="csX118" fmla="*/ 2360018 w 3437996"/>
              <a:gd name="csY118" fmla="*/ 529380 h 2018071"/>
              <a:gd name="csX119" fmla="*/ 2350552 w 3437996"/>
              <a:gd name="csY119" fmla="*/ 519835 h 2018071"/>
              <a:gd name="csX120" fmla="*/ 2348016 w 3437996"/>
              <a:gd name="csY120" fmla="*/ 517342 h 2018071"/>
              <a:gd name="csX121" fmla="*/ 2341054 w 3437996"/>
              <a:gd name="csY121" fmla="*/ 510297 h 2018071"/>
              <a:gd name="csX122" fmla="*/ 2322020 w 3437996"/>
              <a:gd name="csY122" fmla="*/ 491243 h 2018071"/>
              <a:gd name="csX123" fmla="*/ 2319465 w 3437996"/>
              <a:gd name="csY123" fmla="*/ 488702 h 2018071"/>
              <a:gd name="csX124" fmla="*/ 2312510 w 3437996"/>
              <a:gd name="csY124" fmla="*/ 481725 h 2018071"/>
              <a:gd name="csX125" fmla="*/ 2309941 w 3437996"/>
              <a:gd name="csY125" fmla="*/ 479158 h 2018071"/>
              <a:gd name="csX126" fmla="*/ 2303024 w 3437996"/>
              <a:gd name="csY126" fmla="*/ 472210 h 2018071"/>
              <a:gd name="csX127" fmla="*/ 2300428 w 3437996"/>
              <a:gd name="csY127" fmla="*/ 469578 h 2018071"/>
              <a:gd name="csX128" fmla="*/ 2293545 w 3437996"/>
              <a:gd name="csY128" fmla="*/ 462697 h 2018071"/>
              <a:gd name="csX129" fmla="*/ 2284051 w 3437996"/>
              <a:gd name="csY129" fmla="*/ 453172 h 2018071"/>
              <a:gd name="csX130" fmla="*/ 2281414 w 3437996"/>
              <a:gd name="csY130" fmla="*/ 450403 h 2018071"/>
              <a:gd name="csX131" fmla="*/ 2274560 w 3437996"/>
              <a:gd name="csY131" fmla="*/ 443646 h 2018071"/>
              <a:gd name="csX132" fmla="*/ 2265120 w 3437996"/>
              <a:gd name="csY132" fmla="*/ 434112 h 2018071"/>
              <a:gd name="csX133" fmla="*/ 2262409 w 3437996"/>
              <a:gd name="csY133" fmla="*/ 431189 h 2018071"/>
              <a:gd name="csX134" fmla="*/ 2255765 w 3437996"/>
              <a:gd name="csY134" fmla="*/ 424557 h 2018071"/>
              <a:gd name="csX135" fmla="*/ 2252962 w 3437996"/>
              <a:gd name="csY135" fmla="*/ 421458 h 2018071"/>
              <a:gd name="csX136" fmla="*/ 2246361 w 3437996"/>
              <a:gd name="csY136" fmla="*/ 414989 h 2018071"/>
              <a:gd name="csX137" fmla="*/ 2226101 w 3437996"/>
              <a:gd name="csY137" fmla="*/ 394472 h 2018071"/>
              <a:gd name="csX138" fmla="*/ 2204126 w 3437996"/>
              <a:gd name="csY138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44017 w 3437996"/>
              <a:gd name="csY67" fmla="*/ 814773 h 2018071"/>
              <a:gd name="csX68" fmla="*/ 2642551 w 3437996"/>
              <a:gd name="csY68" fmla="*/ 813746 h 2018071"/>
              <a:gd name="csX69" fmla="*/ 2634494 w 3437996"/>
              <a:gd name="csY69" fmla="*/ 805208 h 2018071"/>
              <a:gd name="csX70" fmla="*/ 2633053 w 3437996"/>
              <a:gd name="csY70" fmla="*/ 804210 h 2018071"/>
              <a:gd name="csX71" fmla="*/ 2624994 w 3437996"/>
              <a:gd name="csY71" fmla="*/ 795655 h 2018071"/>
              <a:gd name="csX72" fmla="*/ 2623570 w 3437996"/>
              <a:gd name="csY72" fmla="*/ 794675 h 2018071"/>
              <a:gd name="csX73" fmla="*/ 2615495 w 3437996"/>
              <a:gd name="csY73" fmla="*/ 786111 h 2018071"/>
              <a:gd name="csX74" fmla="*/ 2614082 w 3437996"/>
              <a:gd name="csY74" fmla="*/ 785113 h 2018071"/>
              <a:gd name="csX75" fmla="*/ 2606007 w 3437996"/>
              <a:gd name="csY75" fmla="*/ 776562 h 2018071"/>
              <a:gd name="csX76" fmla="*/ 2604609 w 3437996"/>
              <a:gd name="csY76" fmla="*/ 775538 h 2018071"/>
              <a:gd name="csX77" fmla="*/ 2596489 w 3437996"/>
              <a:gd name="csY77" fmla="*/ 767032 h 2018071"/>
              <a:gd name="csX78" fmla="*/ 2595095 w 3437996"/>
              <a:gd name="csY78" fmla="*/ 766006 h 2018071"/>
              <a:gd name="csX79" fmla="*/ 2586954 w 3437996"/>
              <a:gd name="csY79" fmla="*/ 757512 h 2018071"/>
              <a:gd name="csX80" fmla="*/ 2585558 w 3437996"/>
              <a:gd name="csY80" fmla="*/ 756496 h 2018071"/>
              <a:gd name="csX81" fmla="*/ 2576006 w 3437996"/>
              <a:gd name="csY81" fmla="*/ 747002 h 2018071"/>
              <a:gd name="csX82" fmla="*/ 2567871 w 3437996"/>
              <a:gd name="csY82" fmla="*/ 738486 h 2018071"/>
              <a:gd name="csX83" fmla="*/ 2566459 w 3437996"/>
              <a:gd name="csY83" fmla="*/ 737499 h 2018071"/>
              <a:gd name="csX84" fmla="*/ 2558352 w 3437996"/>
              <a:gd name="csY84" fmla="*/ 728962 h 2018071"/>
              <a:gd name="csX85" fmla="*/ 2556937 w 3437996"/>
              <a:gd name="csY85" fmla="*/ 727967 h 2018071"/>
              <a:gd name="csX86" fmla="*/ 2547432 w 3437996"/>
              <a:gd name="csY86" fmla="*/ 718414 h 2018071"/>
              <a:gd name="csX87" fmla="*/ 2539350 w 3437996"/>
              <a:gd name="csY87" fmla="*/ 709894 h 2018071"/>
              <a:gd name="csX88" fmla="*/ 2537942 w 3437996"/>
              <a:gd name="csY88" fmla="*/ 708842 h 2018071"/>
              <a:gd name="csX89" fmla="*/ 2529865 w 3437996"/>
              <a:gd name="csY89" fmla="*/ 700356 h 2018071"/>
              <a:gd name="csX90" fmla="*/ 2528460 w 3437996"/>
              <a:gd name="csY90" fmla="*/ 699259 h 2018071"/>
              <a:gd name="csX91" fmla="*/ 2520386 w 3437996"/>
              <a:gd name="csY91" fmla="*/ 690820 h 2018071"/>
              <a:gd name="csX92" fmla="*/ 2510900 w 3437996"/>
              <a:gd name="csY92" fmla="*/ 681286 h 2018071"/>
              <a:gd name="csX93" fmla="*/ 2509493 w 3437996"/>
              <a:gd name="csY93" fmla="*/ 680082 h 2018071"/>
              <a:gd name="csX94" fmla="*/ 2501400 w 3437996"/>
              <a:gd name="csY94" fmla="*/ 671754 h 2018071"/>
              <a:gd name="csX95" fmla="*/ 2491892 w 3437996"/>
              <a:gd name="csY95" fmla="*/ 662222 h 2018071"/>
              <a:gd name="csX96" fmla="*/ 2490482 w 3437996"/>
              <a:gd name="csY96" fmla="*/ 660967 h 2018071"/>
              <a:gd name="csX97" fmla="*/ 2480984 w 3437996"/>
              <a:gd name="csY97" fmla="*/ 651408 h 2018071"/>
              <a:gd name="csX98" fmla="*/ 2472919 w 3437996"/>
              <a:gd name="csY98" fmla="*/ 643127 h 2018071"/>
              <a:gd name="csX99" fmla="*/ 2471515 w 3437996"/>
              <a:gd name="csY99" fmla="*/ 641819 h 2018071"/>
              <a:gd name="csX100" fmla="*/ 2463424 w 3437996"/>
              <a:gd name="csY100" fmla="*/ 633584 h 2018071"/>
              <a:gd name="csX101" fmla="*/ 2462020 w 3437996"/>
              <a:gd name="csY101" fmla="*/ 632257 h 2018071"/>
              <a:gd name="csX102" fmla="*/ 2453925 w 3437996"/>
              <a:gd name="csY102" fmla="*/ 624049 h 2018071"/>
              <a:gd name="csX103" fmla="*/ 2452516 w 3437996"/>
              <a:gd name="csY103" fmla="*/ 622702 h 2018071"/>
              <a:gd name="csX104" fmla="*/ 2444450 w 3437996"/>
              <a:gd name="csY104" fmla="*/ 614506 h 2018071"/>
              <a:gd name="csX105" fmla="*/ 2434957 w 3437996"/>
              <a:gd name="csY105" fmla="*/ 604969 h 2018071"/>
              <a:gd name="csX106" fmla="*/ 2433519 w 3437996"/>
              <a:gd name="csY106" fmla="*/ 603563 h 2018071"/>
              <a:gd name="csX107" fmla="*/ 2425486 w 3437996"/>
              <a:gd name="csY107" fmla="*/ 595418 h 2018071"/>
              <a:gd name="csX108" fmla="*/ 2424029 w 3437996"/>
              <a:gd name="csY108" fmla="*/ 593985 h 2018071"/>
              <a:gd name="csX109" fmla="*/ 2416081 w 3437996"/>
              <a:gd name="csY109" fmla="*/ 585841 h 2018071"/>
              <a:gd name="csX110" fmla="*/ 2406640 w 3437996"/>
              <a:gd name="csY110" fmla="*/ 576281 h 2018071"/>
              <a:gd name="csX111" fmla="*/ 2397176 w 3437996"/>
              <a:gd name="csY111" fmla="*/ 566733 h 2018071"/>
              <a:gd name="csX112" fmla="*/ 2395561 w 3437996"/>
              <a:gd name="csY112" fmla="*/ 565186 h 2018071"/>
              <a:gd name="csX113" fmla="*/ 2387690 w 3437996"/>
              <a:gd name="csY113" fmla="*/ 557193 h 2018071"/>
              <a:gd name="csX114" fmla="*/ 2386050 w 3437996"/>
              <a:gd name="csY114" fmla="*/ 555624 h 2018071"/>
              <a:gd name="csX115" fmla="*/ 2378191 w 3437996"/>
              <a:gd name="csY115" fmla="*/ 547659 h 2018071"/>
              <a:gd name="csX116" fmla="*/ 2368704 w 3437996"/>
              <a:gd name="csY116" fmla="*/ 538124 h 2018071"/>
              <a:gd name="csX117" fmla="*/ 2367021 w 3437996"/>
              <a:gd name="csY117" fmla="*/ 536517 h 2018071"/>
              <a:gd name="csX118" fmla="*/ 2360018 w 3437996"/>
              <a:gd name="csY118" fmla="*/ 529380 h 2018071"/>
              <a:gd name="csX119" fmla="*/ 2350552 w 3437996"/>
              <a:gd name="csY119" fmla="*/ 519835 h 2018071"/>
              <a:gd name="csX120" fmla="*/ 2348016 w 3437996"/>
              <a:gd name="csY120" fmla="*/ 517342 h 2018071"/>
              <a:gd name="csX121" fmla="*/ 2341054 w 3437996"/>
              <a:gd name="csY121" fmla="*/ 510297 h 2018071"/>
              <a:gd name="csX122" fmla="*/ 2322020 w 3437996"/>
              <a:gd name="csY122" fmla="*/ 491243 h 2018071"/>
              <a:gd name="csX123" fmla="*/ 2319465 w 3437996"/>
              <a:gd name="csY123" fmla="*/ 488702 h 2018071"/>
              <a:gd name="csX124" fmla="*/ 2312510 w 3437996"/>
              <a:gd name="csY124" fmla="*/ 481725 h 2018071"/>
              <a:gd name="csX125" fmla="*/ 2309941 w 3437996"/>
              <a:gd name="csY125" fmla="*/ 479158 h 2018071"/>
              <a:gd name="csX126" fmla="*/ 2303024 w 3437996"/>
              <a:gd name="csY126" fmla="*/ 472210 h 2018071"/>
              <a:gd name="csX127" fmla="*/ 2300428 w 3437996"/>
              <a:gd name="csY127" fmla="*/ 469578 h 2018071"/>
              <a:gd name="csX128" fmla="*/ 2293545 w 3437996"/>
              <a:gd name="csY128" fmla="*/ 462697 h 2018071"/>
              <a:gd name="csX129" fmla="*/ 2284051 w 3437996"/>
              <a:gd name="csY129" fmla="*/ 453172 h 2018071"/>
              <a:gd name="csX130" fmla="*/ 2281414 w 3437996"/>
              <a:gd name="csY130" fmla="*/ 450403 h 2018071"/>
              <a:gd name="csX131" fmla="*/ 2274560 w 3437996"/>
              <a:gd name="csY131" fmla="*/ 443646 h 2018071"/>
              <a:gd name="csX132" fmla="*/ 2265120 w 3437996"/>
              <a:gd name="csY132" fmla="*/ 434112 h 2018071"/>
              <a:gd name="csX133" fmla="*/ 2262409 w 3437996"/>
              <a:gd name="csY133" fmla="*/ 431189 h 2018071"/>
              <a:gd name="csX134" fmla="*/ 2252962 w 3437996"/>
              <a:gd name="csY134" fmla="*/ 421458 h 2018071"/>
              <a:gd name="csX135" fmla="*/ 2246361 w 3437996"/>
              <a:gd name="csY135" fmla="*/ 414989 h 2018071"/>
              <a:gd name="csX136" fmla="*/ 2226101 w 3437996"/>
              <a:gd name="csY136" fmla="*/ 394472 h 2018071"/>
              <a:gd name="csX137" fmla="*/ 2204126 w 3437996"/>
              <a:gd name="csY137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44017 w 3437996"/>
              <a:gd name="csY67" fmla="*/ 814773 h 2018071"/>
              <a:gd name="csX68" fmla="*/ 2642551 w 3437996"/>
              <a:gd name="csY68" fmla="*/ 813746 h 2018071"/>
              <a:gd name="csX69" fmla="*/ 2634494 w 3437996"/>
              <a:gd name="csY69" fmla="*/ 805208 h 2018071"/>
              <a:gd name="csX70" fmla="*/ 2633053 w 3437996"/>
              <a:gd name="csY70" fmla="*/ 804210 h 2018071"/>
              <a:gd name="csX71" fmla="*/ 2624994 w 3437996"/>
              <a:gd name="csY71" fmla="*/ 795655 h 2018071"/>
              <a:gd name="csX72" fmla="*/ 2623570 w 3437996"/>
              <a:gd name="csY72" fmla="*/ 794675 h 2018071"/>
              <a:gd name="csX73" fmla="*/ 2615495 w 3437996"/>
              <a:gd name="csY73" fmla="*/ 786111 h 2018071"/>
              <a:gd name="csX74" fmla="*/ 2614082 w 3437996"/>
              <a:gd name="csY74" fmla="*/ 785113 h 2018071"/>
              <a:gd name="csX75" fmla="*/ 2606007 w 3437996"/>
              <a:gd name="csY75" fmla="*/ 776562 h 2018071"/>
              <a:gd name="csX76" fmla="*/ 2604609 w 3437996"/>
              <a:gd name="csY76" fmla="*/ 775538 h 2018071"/>
              <a:gd name="csX77" fmla="*/ 2596489 w 3437996"/>
              <a:gd name="csY77" fmla="*/ 767032 h 2018071"/>
              <a:gd name="csX78" fmla="*/ 2595095 w 3437996"/>
              <a:gd name="csY78" fmla="*/ 766006 h 2018071"/>
              <a:gd name="csX79" fmla="*/ 2586954 w 3437996"/>
              <a:gd name="csY79" fmla="*/ 757512 h 2018071"/>
              <a:gd name="csX80" fmla="*/ 2585558 w 3437996"/>
              <a:gd name="csY80" fmla="*/ 756496 h 2018071"/>
              <a:gd name="csX81" fmla="*/ 2576006 w 3437996"/>
              <a:gd name="csY81" fmla="*/ 747002 h 2018071"/>
              <a:gd name="csX82" fmla="*/ 2567871 w 3437996"/>
              <a:gd name="csY82" fmla="*/ 738486 h 2018071"/>
              <a:gd name="csX83" fmla="*/ 2566459 w 3437996"/>
              <a:gd name="csY83" fmla="*/ 737499 h 2018071"/>
              <a:gd name="csX84" fmla="*/ 2558352 w 3437996"/>
              <a:gd name="csY84" fmla="*/ 728962 h 2018071"/>
              <a:gd name="csX85" fmla="*/ 2556937 w 3437996"/>
              <a:gd name="csY85" fmla="*/ 727967 h 2018071"/>
              <a:gd name="csX86" fmla="*/ 2547432 w 3437996"/>
              <a:gd name="csY86" fmla="*/ 718414 h 2018071"/>
              <a:gd name="csX87" fmla="*/ 2539350 w 3437996"/>
              <a:gd name="csY87" fmla="*/ 709894 h 2018071"/>
              <a:gd name="csX88" fmla="*/ 2537942 w 3437996"/>
              <a:gd name="csY88" fmla="*/ 708842 h 2018071"/>
              <a:gd name="csX89" fmla="*/ 2529865 w 3437996"/>
              <a:gd name="csY89" fmla="*/ 700356 h 2018071"/>
              <a:gd name="csX90" fmla="*/ 2528460 w 3437996"/>
              <a:gd name="csY90" fmla="*/ 699259 h 2018071"/>
              <a:gd name="csX91" fmla="*/ 2520386 w 3437996"/>
              <a:gd name="csY91" fmla="*/ 690820 h 2018071"/>
              <a:gd name="csX92" fmla="*/ 2510900 w 3437996"/>
              <a:gd name="csY92" fmla="*/ 681286 h 2018071"/>
              <a:gd name="csX93" fmla="*/ 2509493 w 3437996"/>
              <a:gd name="csY93" fmla="*/ 680082 h 2018071"/>
              <a:gd name="csX94" fmla="*/ 2501400 w 3437996"/>
              <a:gd name="csY94" fmla="*/ 671754 h 2018071"/>
              <a:gd name="csX95" fmla="*/ 2491892 w 3437996"/>
              <a:gd name="csY95" fmla="*/ 662222 h 2018071"/>
              <a:gd name="csX96" fmla="*/ 2490482 w 3437996"/>
              <a:gd name="csY96" fmla="*/ 660967 h 2018071"/>
              <a:gd name="csX97" fmla="*/ 2480984 w 3437996"/>
              <a:gd name="csY97" fmla="*/ 651408 h 2018071"/>
              <a:gd name="csX98" fmla="*/ 2472919 w 3437996"/>
              <a:gd name="csY98" fmla="*/ 643127 h 2018071"/>
              <a:gd name="csX99" fmla="*/ 2471515 w 3437996"/>
              <a:gd name="csY99" fmla="*/ 641819 h 2018071"/>
              <a:gd name="csX100" fmla="*/ 2463424 w 3437996"/>
              <a:gd name="csY100" fmla="*/ 633584 h 2018071"/>
              <a:gd name="csX101" fmla="*/ 2462020 w 3437996"/>
              <a:gd name="csY101" fmla="*/ 632257 h 2018071"/>
              <a:gd name="csX102" fmla="*/ 2453925 w 3437996"/>
              <a:gd name="csY102" fmla="*/ 624049 h 2018071"/>
              <a:gd name="csX103" fmla="*/ 2452516 w 3437996"/>
              <a:gd name="csY103" fmla="*/ 622702 h 2018071"/>
              <a:gd name="csX104" fmla="*/ 2444450 w 3437996"/>
              <a:gd name="csY104" fmla="*/ 614506 h 2018071"/>
              <a:gd name="csX105" fmla="*/ 2434957 w 3437996"/>
              <a:gd name="csY105" fmla="*/ 604969 h 2018071"/>
              <a:gd name="csX106" fmla="*/ 2433519 w 3437996"/>
              <a:gd name="csY106" fmla="*/ 603563 h 2018071"/>
              <a:gd name="csX107" fmla="*/ 2425486 w 3437996"/>
              <a:gd name="csY107" fmla="*/ 595418 h 2018071"/>
              <a:gd name="csX108" fmla="*/ 2424029 w 3437996"/>
              <a:gd name="csY108" fmla="*/ 593985 h 2018071"/>
              <a:gd name="csX109" fmla="*/ 2416081 w 3437996"/>
              <a:gd name="csY109" fmla="*/ 585841 h 2018071"/>
              <a:gd name="csX110" fmla="*/ 2406640 w 3437996"/>
              <a:gd name="csY110" fmla="*/ 576281 h 2018071"/>
              <a:gd name="csX111" fmla="*/ 2397176 w 3437996"/>
              <a:gd name="csY111" fmla="*/ 566733 h 2018071"/>
              <a:gd name="csX112" fmla="*/ 2395561 w 3437996"/>
              <a:gd name="csY112" fmla="*/ 565186 h 2018071"/>
              <a:gd name="csX113" fmla="*/ 2387690 w 3437996"/>
              <a:gd name="csY113" fmla="*/ 557193 h 2018071"/>
              <a:gd name="csX114" fmla="*/ 2386050 w 3437996"/>
              <a:gd name="csY114" fmla="*/ 555624 h 2018071"/>
              <a:gd name="csX115" fmla="*/ 2378191 w 3437996"/>
              <a:gd name="csY115" fmla="*/ 547659 h 2018071"/>
              <a:gd name="csX116" fmla="*/ 2368704 w 3437996"/>
              <a:gd name="csY116" fmla="*/ 538124 h 2018071"/>
              <a:gd name="csX117" fmla="*/ 2367021 w 3437996"/>
              <a:gd name="csY117" fmla="*/ 536517 h 2018071"/>
              <a:gd name="csX118" fmla="*/ 2360018 w 3437996"/>
              <a:gd name="csY118" fmla="*/ 529380 h 2018071"/>
              <a:gd name="csX119" fmla="*/ 2350552 w 3437996"/>
              <a:gd name="csY119" fmla="*/ 519835 h 2018071"/>
              <a:gd name="csX120" fmla="*/ 2348016 w 3437996"/>
              <a:gd name="csY120" fmla="*/ 517342 h 2018071"/>
              <a:gd name="csX121" fmla="*/ 2341054 w 3437996"/>
              <a:gd name="csY121" fmla="*/ 510297 h 2018071"/>
              <a:gd name="csX122" fmla="*/ 2322020 w 3437996"/>
              <a:gd name="csY122" fmla="*/ 491243 h 2018071"/>
              <a:gd name="csX123" fmla="*/ 2319465 w 3437996"/>
              <a:gd name="csY123" fmla="*/ 488702 h 2018071"/>
              <a:gd name="csX124" fmla="*/ 2312510 w 3437996"/>
              <a:gd name="csY124" fmla="*/ 481725 h 2018071"/>
              <a:gd name="csX125" fmla="*/ 2309941 w 3437996"/>
              <a:gd name="csY125" fmla="*/ 479158 h 2018071"/>
              <a:gd name="csX126" fmla="*/ 2303024 w 3437996"/>
              <a:gd name="csY126" fmla="*/ 472210 h 2018071"/>
              <a:gd name="csX127" fmla="*/ 2300428 w 3437996"/>
              <a:gd name="csY127" fmla="*/ 469578 h 2018071"/>
              <a:gd name="csX128" fmla="*/ 2293545 w 3437996"/>
              <a:gd name="csY128" fmla="*/ 462697 h 2018071"/>
              <a:gd name="csX129" fmla="*/ 2284051 w 3437996"/>
              <a:gd name="csY129" fmla="*/ 453172 h 2018071"/>
              <a:gd name="csX130" fmla="*/ 2274560 w 3437996"/>
              <a:gd name="csY130" fmla="*/ 443646 h 2018071"/>
              <a:gd name="csX131" fmla="*/ 2265120 w 3437996"/>
              <a:gd name="csY131" fmla="*/ 434112 h 2018071"/>
              <a:gd name="csX132" fmla="*/ 2262409 w 3437996"/>
              <a:gd name="csY132" fmla="*/ 431189 h 2018071"/>
              <a:gd name="csX133" fmla="*/ 2252962 w 3437996"/>
              <a:gd name="csY133" fmla="*/ 421458 h 2018071"/>
              <a:gd name="csX134" fmla="*/ 2246361 w 3437996"/>
              <a:gd name="csY134" fmla="*/ 414989 h 2018071"/>
              <a:gd name="csX135" fmla="*/ 2226101 w 3437996"/>
              <a:gd name="csY135" fmla="*/ 394472 h 2018071"/>
              <a:gd name="csX136" fmla="*/ 2204126 w 3437996"/>
              <a:gd name="csY136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44017 w 3437996"/>
              <a:gd name="csY67" fmla="*/ 814773 h 2018071"/>
              <a:gd name="csX68" fmla="*/ 2642551 w 3437996"/>
              <a:gd name="csY68" fmla="*/ 813746 h 2018071"/>
              <a:gd name="csX69" fmla="*/ 2634494 w 3437996"/>
              <a:gd name="csY69" fmla="*/ 805208 h 2018071"/>
              <a:gd name="csX70" fmla="*/ 2633053 w 3437996"/>
              <a:gd name="csY70" fmla="*/ 804210 h 2018071"/>
              <a:gd name="csX71" fmla="*/ 2624994 w 3437996"/>
              <a:gd name="csY71" fmla="*/ 795655 h 2018071"/>
              <a:gd name="csX72" fmla="*/ 2623570 w 3437996"/>
              <a:gd name="csY72" fmla="*/ 794675 h 2018071"/>
              <a:gd name="csX73" fmla="*/ 2615495 w 3437996"/>
              <a:gd name="csY73" fmla="*/ 786111 h 2018071"/>
              <a:gd name="csX74" fmla="*/ 2614082 w 3437996"/>
              <a:gd name="csY74" fmla="*/ 785113 h 2018071"/>
              <a:gd name="csX75" fmla="*/ 2606007 w 3437996"/>
              <a:gd name="csY75" fmla="*/ 776562 h 2018071"/>
              <a:gd name="csX76" fmla="*/ 2604609 w 3437996"/>
              <a:gd name="csY76" fmla="*/ 775538 h 2018071"/>
              <a:gd name="csX77" fmla="*/ 2596489 w 3437996"/>
              <a:gd name="csY77" fmla="*/ 767032 h 2018071"/>
              <a:gd name="csX78" fmla="*/ 2595095 w 3437996"/>
              <a:gd name="csY78" fmla="*/ 766006 h 2018071"/>
              <a:gd name="csX79" fmla="*/ 2586954 w 3437996"/>
              <a:gd name="csY79" fmla="*/ 757512 h 2018071"/>
              <a:gd name="csX80" fmla="*/ 2585558 w 3437996"/>
              <a:gd name="csY80" fmla="*/ 756496 h 2018071"/>
              <a:gd name="csX81" fmla="*/ 2576006 w 3437996"/>
              <a:gd name="csY81" fmla="*/ 747002 h 2018071"/>
              <a:gd name="csX82" fmla="*/ 2567871 w 3437996"/>
              <a:gd name="csY82" fmla="*/ 738486 h 2018071"/>
              <a:gd name="csX83" fmla="*/ 2566459 w 3437996"/>
              <a:gd name="csY83" fmla="*/ 737499 h 2018071"/>
              <a:gd name="csX84" fmla="*/ 2558352 w 3437996"/>
              <a:gd name="csY84" fmla="*/ 728962 h 2018071"/>
              <a:gd name="csX85" fmla="*/ 2556937 w 3437996"/>
              <a:gd name="csY85" fmla="*/ 727967 h 2018071"/>
              <a:gd name="csX86" fmla="*/ 2547432 w 3437996"/>
              <a:gd name="csY86" fmla="*/ 718414 h 2018071"/>
              <a:gd name="csX87" fmla="*/ 2539350 w 3437996"/>
              <a:gd name="csY87" fmla="*/ 709894 h 2018071"/>
              <a:gd name="csX88" fmla="*/ 2537942 w 3437996"/>
              <a:gd name="csY88" fmla="*/ 708842 h 2018071"/>
              <a:gd name="csX89" fmla="*/ 2529865 w 3437996"/>
              <a:gd name="csY89" fmla="*/ 700356 h 2018071"/>
              <a:gd name="csX90" fmla="*/ 2528460 w 3437996"/>
              <a:gd name="csY90" fmla="*/ 699259 h 2018071"/>
              <a:gd name="csX91" fmla="*/ 2520386 w 3437996"/>
              <a:gd name="csY91" fmla="*/ 690820 h 2018071"/>
              <a:gd name="csX92" fmla="*/ 2510900 w 3437996"/>
              <a:gd name="csY92" fmla="*/ 681286 h 2018071"/>
              <a:gd name="csX93" fmla="*/ 2509493 w 3437996"/>
              <a:gd name="csY93" fmla="*/ 680082 h 2018071"/>
              <a:gd name="csX94" fmla="*/ 2501400 w 3437996"/>
              <a:gd name="csY94" fmla="*/ 671754 h 2018071"/>
              <a:gd name="csX95" fmla="*/ 2491892 w 3437996"/>
              <a:gd name="csY95" fmla="*/ 662222 h 2018071"/>
              <a:gd name="csX96" fmla="*/ 2490482 w 3437996"/>
              <a:gd name="csY96" fmla="*/ 660967 h 2018071"/>
              <a:gd name="csX97" fmla="*/ 2480984 w 3437996"/>
              <a:gd name="csY97" fmla="*/ 651408 h 2018071"/>
              <a:gd name="csX98" fmla="*/ 2472919 w 3437996"/>
              <a:gd name="csY98" fmla="*/ 643127 h 2018071"/>
              <a:gd name="csX99" fmla="*/ 2471515 w 3437996"/>
              <a:gd name="csY99" fmla="*/ 641819 h 2018071"/>
              <a:gd name="csX100" fmla="*/ 2463424 w 3437996"/>
              <a:gd name="csY100" fmla="*/ 633584 h 2018071"/>
              <a:gd name="csX101" fmla="*/ 2462020 w 3437996"/>
              <a:gd name="csY101" fmla="*/ 632257 h 2018071"/>
              <a:gd name="csX102" fmla="*/ 2453925 w 3437996"/>
              <a:gd name="csY102" fmla="*/ 624049 h 2018071"/>
              <a:gd name="csX103" fmla="*/ 2452516 w 3437996"/>
              <a:gd name="csY103" fmla="*/ 622702 h 2018071"/>
              <a:gd name="csX104" fmla="*/ 2444450 w 3437996"/>
              <a:gd name="csY104" fmla="*/ 614506 h 2018071"/>
              <a:gd name="csX105" fmla="*/ 2434957 w 3437996"/>
              <a:gd name="csY105" fmla="*/ 604969 h 2018071"/>
              <a:gd name="csX106" fmla="*/ 2433519 w 3437996"/>
              <a:gd name="csY106" fmla="*/ 603563 h 2018071"/>
              <a:gd name="csX107" fmla="*/ 2425486 w 3437996"/>
              <a:gd name="csY107" fmla="*/ 595418 h 2018071"/>
              <a:gd name="csX108" fmla="*/ 2424029 w 3437996"/>
              <a:gd name="csY108" fmla="*/ 593985 h 2018071"/>
              <a:gd name="csX109" fmla="*/ 2416081 w 3437996"/>
              <a:gd name="csY109" fmla="*/ 585841 h 2018071"/>
              <a:gd name="csX110" fmla="*/ 2406640 w 3437996"/>
              <a:gd name="csY110" fmla="*/ 576281 h 2018071"/>
              <a:gd name="csX111" fmla="*/ 2397176 w 3437996"/>
              <a:gd name="csY111" fmla="*/ 566733 h 2018071"/>
              <a:gd name="csX112" fmla="*/ 2395561 w 3437996"/>
              <a:gd name="csY112" fmla="*/ 565186 h 2018071"/>
              <a:gd name="csX113" fmla="*/ 2387690 w 3437996"/>
              <a:gd name="csY113" fmla="*/ 557193 h 2018071"/>
              <a:gd name="csX114" fmla="*/ 2386050 w 3437996"/>
              <a:gd name="csY114" fmla="*/ 555624 h 2018071"/>
              <a:gd name="csX115" fmla="*/ 2378191 w 3437996"/>
              <a:gd name="csY115" fmla="*/ 547659 h 2018071"/>
              <a:gd name="csX116" fmla="*/ 2368704 w 3437996"/>
              <a:gd name="csY116" fmla="*/ 538124 h 2018071"/>
              <a:gd name="csX117" fmla="*/ 2367021 w 3437996"/>
              <a:gd name="csY117" fmla="*/ 536517 h 2018071"/>
              <a:gd name="csX118" fmla="*/ 2360018 w 3437996"/>
              <a:gd name="csY118" fmla="*/ 529380 h 2018071"/>
              <a:gd name="csX119" fmla="*/ 2350552 w 3437996"/>
              <a:gd name="csY119" fmla="*/ 519835 h 2018071"/>
              <a:gd name="csX120" fmla="*/ 2348016 w 3437996"/>
              <a:gd name="csY120" fmla="*/ 517342 h 2018071"/>
              <a:gd name="csX121" fmla="*/ 2341054 w 3437996"/>
              <a:gd name="csY121" fmla="*/ 510297 h 2018071"/>
              <a:gd name="csX122" fmla="*/ 2322020 w 3437996"/>
              <a:gd name="csY122" fmla="*/ 491243 h 2018071"/>
              <a:gd name="csX123" fmla="*/ 2312510 w 3437996"/>
              <a:gd name="csY123" fmla="*/ 481725 h 2018071"/>
              <a:gd name="csX124" fmla="*/ 2309941 w 3437996"/>
              <a:gd name="csY124" fmla="*/ 479158 h 2018071"/>
              <a:gd name="csX125" fmla="*/ 2303024 w 3437996"/>
              <a:gd name="csY125" fmla="*/ 472210 h 2018071"/>
              <a:gd name="csX126" fmla="*/ 2300428 w 3437996"/>
              <a:gd name="csY126" fmla="*/ 469578 h 2018071"/>
              <a:gd name="csX127" fmla="*/ 2293545 w 3437996"/>
              <a:gd name="csY127" fmla="*/ 462697 h 2018071"/>
              <a:gd name="csX128" fmla="*/ 2284051 w 3437996"/>
              <a:gd name="csY128" fmla="*/ 453172 h 2018071"/>
              <a:gd name="csX129" fmla="*/ 2274560 w 3437996"/>
              <a:gd name="csY129" fmla="*/ 443646 h 2018071"/>
              <a:gd name="csX130" fmla="*/ 2265120 w 3437996"/>
              <a:gd name="csY130" fmla="*/ 434112 h 2018071"/>
              <a:gd name="csX131" fmla="*/ 2262409 w 3437996"/>
              <a:gd name="csY131" fmla="*/ 431189 h 2018071"/>
              <a:gd name="csX132" fmla="*/ 2252962 w 3437996"/>
              <a:gd name="csY132" fmla="*/ 421458 h 2018071"/>
              <a:gd name="csX133" fmla="*/ 2246361 w 3437996"/>
              <a:gd name="csY133" fmla="*/ 414989 h 2018071"/>
              <a:gd name="csX134" fmla="*/ 2226101 w 3437996"/>
              <a:gd name="csY134" fmla="*/ 394472 h 2018071"/>
              <a:gd name="csX135" fmla="*/ 2204126 w 3437996"/>
              <a:gd name="csY135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44017 w 3437996"/>
              <a:gd name="csY67" fmla="*/ 814773 h 2018071"/>
              <a:gd name="csX68" fmla="*/ 2642551 w 3437996"/>
              <a:gd name="csY68" fmla="*/ 813746 h 2018071"/>
              <a:gd name="csX69" fmla="*/ 2634494 w 3437996"/>
              <a:gd name="csY69" fmla="*/ 805208 h 2018071"/>
              <a:gd name="csX70" fmla="*/ 2633053 w 3437996"/>
              <a:gd name="csY70" fmla="*/ 804210 h 2018071"/>
              <a:gd name="csX71" fmla="*/ 2624994 w 3437996"/>
              <a:gd name="csY71" fmla="*/ 795655 h 2018071"/>
              <a:gd name="csX72" fmla="*/ 2623570 w 3437996"/>
              <a:gd name="csY72" fmla="*/ 794675 h 2018071"/>
              <a:gd name="csX73" fmla="*/ 2615495 w 3437996"/>
              <a:gd name="csY73" fmla="*/ 786111 h 2018071"/>
              <a:gd name="csX74" fmla="*/ 2614082 w 3437996"/>
              <a:gd name="csY74" fmla="*/ 785113 h 2018071"/>
              <a:gd name="csX75" fmla="*/ 2606007 w 3437996"/>
              <a:gd name="csY75" fmla="*/ 776562 h 2018071"/>
              <a:gd name="csX76" fmla="*/ 2604609 w 3437996"/>
              <a:gd name="csY76" fmla="*/ 775538 h 2018071"/>
              <a:gd name="csX77" fmla="*/ 2596489 w 3437996"/>
              <a:gd name="csY77" fmla="*/ 767032 h 2018071"/>
              <a:gd name="csX78" fmla="*/ 2595095 w 3437996"/>
              <a:gd name="csY78" fmla="*/ 766006 h 2018071"/>
              <a:gd name="csX79" fmla="*/ 2586954 w 3437996"/>
              <a:gd name="csY79" fmla="*/ 757512 h 2018071"/>
              <a:gd name="csX80" fmla="*/ 2585558 w 3437996"/>
              <a:gd name="csY80" fmla="*/ 756496 h 2018071"/>
              <a:gd name="csX81" fmla="*/ 2576006 w 3437996"/>
              <a:gd name="csY81" fmla="*/ 747002 h 2018071"/>
              <a:gd name="csX82" fmla="*/ 2567871 w 3437996"/>
              <a:gd name="csY82" fmla="*/ 738486 h 2018071"/>
              <a:gd name="csX83" fmla="*/ 2566459 w 3437996"/>
              <a:gd name="csY83" fmla="*/ 737499 h 2018071"/>
              <a:gd name="csX84" fmla="*/ 2558352 w 3437996"/>
              <a:gd name="csY84" fmla="*/ 728962 h 2018071"/>
              <a:gd name="csX85" fmla="*/ 2556937 w 3437996"/>
              <a:gd name="csY85" fmla="*/ 727967 h 2018071"/>
              <a:gd name="csX86" fmla="*/ 2547432 w 3437996"/>
              <a:gd name="csY86" fmla="*/ 718414 h 2018071"/>
              <a:gd name="csX87" fmla="*/ 2539350 w 3437996"/>
              <a:gd name="csY87" fmla="*/ 709894 h 2018071"/>
              <a:gd name="csX88" fmla="*/ 2537942 w 3437996"/>
              <a:gd name="csY88" fmla="*/ 708842 h 2018071"/>
              <a:gd name="csX89" fmla="*/ 2529865 w 3437996"/>
              <a:gd name="csY89" fmla="*/ 700356 h 2018071"/>
              <a:gd name="csX90" fmla="*/ 2528460 w 3437996"/>
              <a:gd name="csY90" fmla="*/ 699259 h 2018071"/>
              <a:gd name="csX91" fmla="*/ 2520386 w 3437996"/>
              <a:gd name="csY91" fmla="*/ 690820 h 2018071"/>
              <a:gd name="csX92" fmla="*/ 2510900 w 3437996"/>
              <a:gd name="csY92" fmla="*/ 681286 h 2018071"/>
              <a:gd name="csX93" fmla="*/ 2509493 w 3437996"/>
              <a:gd name="csY93" fmla="*/ 680082 h 2018071"/>
              <a:gd name="csX94" fmla="*/ 2501400 w 3437996"/>
              <a:gd name="csY94" fmla="*/ 671754 h 2018071"/>
              <a:gd name="csX95" fmla="*/ 2491892 w 3437996"/>
              <a:gd name="csY95" fmla="*/ 662222 h 2018071"/>
              <a:gd name="csX96" fmla="*/ 2490482 w 3437996"/>
              <a:gd name="csY96" fmla="*/ 660967 h 2018071"/>
              <a:gd name="csX97" fmla="*/ 2480984 w 3437996"/>
              <a:gd name="csY97" fmla="*/ 651408 h 2018071"/>
              <a:gd name="csX98" fmla="*/ 2472919 w 3437996"/>
              <a:gd name="csY98" fmla="*/ 643127 h 2018071"/>
              <a:gd name="csX99" fmla="*/ 2471515 w 3437996"/>
              <a:gd name="csY99" fmla="*/ 641819 h 2018071"/>
              <a:gd name="csX100" fmla="*/ 2463424 w 3437996"/>
              <a:gd name="csY100" fmla="*/ 633584 h 2018071"/>
              <a:gd name="csX101" fmla="*/ 2462020 w 3437996"/>
              <a:gd name="csY101" fmla="*/ 632257 h 2018071"/>
              <a:gd name="csX102" fmla="*/ 2453925 w 3437996"/>
              <a:gd name="csY102" fmla="*/ 624049 h 2018071"/>
              <a:gd name="csX103" fmla="*/ 2452516 w 3437996"/>
              <a:gd name="csY103" fmla="*/ 622702 h 2018071"/>
              <a:gd name="csX104" fmla="*/ 2444450 w 3437996"/>
              <a:gd name="csY104" fmla="*/ 614506 h 2018071"/>
              <a:gd name="csX105" fmla="*/ 2434957 w 3437996"/>
              <a:gd name="csY105" fmla="*/ 604969 h 2018071"/>
              <a:gd name="csX106" fmla="*/ 2433519 w 3437996"/>
              <a:gd name="csY106" fmla="*/ 603563 h 2018071"/>
              <a:gd name="csX107" fmla="*/ 2425486 w 3437996"/>
              <a:gd name="csY107" fmla="*/ 595418 h 2018071"/>
              <a:gd name="csX108" fmla="*/ 2424029 w 3437996"/>
              <a:gd name="csY108" fmla="*/ 593985 h 2018071"/>
              <a:gd name="csX109" fmla="*/ 2416081 w 3437996"/>
              <a:gd name="csY109" fmla="*/ 585841 h 2018071"/>
              <a:gd name="csX110" fmla="*/ 2406640 w 3437996"/>
              <a:gd name="csY110" fmla="*/ 576281 h 2018071"/>
              <a:gd name="csX111" fmla="*/ 2397176 w 3437996"/>
              <a:gd name="csY111" fmla="*/ 566733 h 2018071"/>
              <a:gd name="csX112" fmla="*/ 2395561 w 3437996"/>
              <a:gd name="csY112" fmla="*/ 565186 h 2018071"/>
              <a:gd name="csX113" fmla="*/ 2387690 w 3437996"/>
              <a:gd name="csY113" fmla="*/ 557193 h 2018071"/>
              <a:gd name="csX114" fmla="*/ 2386050 w 3437996"/>
              <a:gd name="csY114" fmla="*/ 555624 h 2018071"/>
              <a:gd name="csX115" fmla="*/ 2378191 w 3437996"/>
              <a:gd name="csY115" fmla="*/ 547659 h 2018071"/>
              <a:gd name="csX116" fmla="*/ 2368704 w 3437996"/>
              <a:gd name="csY116" fmla="*/ 538124 h 2018071"/>
              <a:gd name="csX117" fmla="*/ 2367021 w 3437996"/>
              <a:gd name="csY117" fmla="*/ 536517 h 2018071"/>
              <a:gd name="csX118" fmla="*/ 2350552 w 3437996"/>
              <a:gd name="csY118" fmla="*/ 519835 h 2018071"/>
              <a:gd name="csX119" fmla="*/ 2348016 w 3437996"/>
              <a:gd name="csY119" fmla="*/ 517342 h 2018071"/>
              <a:gd name="csX120" fmla="*/ 2341054 w 3437996"/>
              <a:gd name="csY120" fmla="*/ 510297 h 2018071"/>
              <a:gd name="csX121" fmla="*/ 2322020 w 3437996"/>
              <a:gd name="csY121" fmla="*/ 491243 h 2018071"/>
              <a:gd name="csX122" fmla="*/ 2312510 w 3437996"/>
              <a:gd name="csY122" fmla="*/ 481725 h 2018071"/>
              <a:gd name="csX123" fmla="*/ 2309941 w 3437996"/>
              <a:gd name="csY123" fmla="*/ 479158 h 2018071"/>
              <a:gd name="csX124" fmla="*/ 2303024 w 3437996"/>
              <a:gd name="csY124" fmla="*/ 472210 h 2018071"/>
              <a:gd name="csX125" fmla="*/ 2300428 w 3437996"/>
              <a:gd name="csY125" fmla="*/ 469578 h 2018071"/>
              <a:gd name="csX126" fmla="*/ 2293545 w 3437996"/>
              <a:gd name="csY126" fmla="*/ 462697 h 2018071"/>
              <a:gd name="csX127" fmla="*/ 2284051 w 3437996"/>
              <a:gd name="csY127" fmla="*/ 453172 h 2018071"/>
              <a:gd name="csX128" fmla="*/ 2274560 w 3437996"/>
              <a:gd name="csY128" fmla="*/ 443646 h 2018071"/>
              <a:gd name="csX129" fmla="*/ 2265120 w 3437996"/>
              <a:gd name="csY129" fmla="*/ 434112 h 2018071"/>
              <a:gd name="csX130" fmla="*/ 2262409 w 3437996"/>
              <a:gd name="csY130" fmla="*/ 431189 h 2018071"/>
              <a:gd name="csX131" fmla="*/ 2252962 w 3437996"/>
              <a:gd name="csY131" fmla="*/ 421458 h 2018071"/>
              <a:gd name="csX132" fmla="*/ 2246361 w 3437996"/>
              <a:gd name="csY132" fmla="*/ 414989 h 2018071"/>
              <a:gd name="csX133" fmla="*/ 2226101 w 3437996"/>
              <a:gd name="csY133" fmla="*/ 394472 h 2018071"/>
              <a:gd name="csX134" fmla="*/ 2204126 w 3437996"/>
              <a:gd name="csY134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44017 w 3437996"/>
              <a:gd name="csY67" fmla="*/ 814773 h 2018071"/>
              <a:gd name="csX68" fmla="*/ 2642551 w 3437996"/>
              <a:gd name="csY68" fmla="*/ 813746 h 2018071"/>
              <a:gd name="csX69" fmla="*/ 2634494 w 3437996"/>
              <a:gd name="csY69" fmla="*/ 805208 h 2018071"/>
              <a:gd name="csX70" fmla="*/ 2633053 w 3437996"/>
              <a:gd name="csY70" fmla="*/ 804210 h 2018071"/>
              <a:gd name="csX71" fmla="*/ 2624994 w 3437996"/>
              <a:gd name="csY71" fmla="*/ 795655 h 2018071"/>
              <a:gd name="csX72" fmla="*/ 2623570 w 3437996"/>
              <a:gd name="csY72" fmla="*/ 794675 h 2018071"/>
              <a:gd name="csX73" fmla="*/ 2615495 w 3437996"/>
              <a:gd name="csY73" fmla="*/ 786111 h 2018071"/>
              <a:gd name="csX74" fmla="*/ 2614082 w 3437996"/>
              <a:gd name="csY74" fmla="*/ 785113 h 2018071"/>
              <a:gd name="csX75" fmla="*/ 2606007 w 3437996"/>
              <a:gd name="csY75" fmla="*/ 776562 h 2018071"/>
              <a:gd name="csX76" fmla="*/ 2604609 w 3437996"/>
              <a:gd name="csY76" fmla="*/ 775538 h 2018071"/>
              <a:gd name="csX77" fmla="*/ 2596489 w 3437996"/>
              <a:gd name="csY77" fmla="*/ 767032 h 2018071"/>
              <a:gd name="csX78" fmla="*/ 2595095 w 3437996"/>
              <a:gd name="csY78" fmla="*/ 766006 h 2018071"/>
              <a:gd name="csX79" fmla="*/ 2586954 w 3437996"/>
              <a:gd name="csY79" fmla="*/ 757512 h 2018071"/>
              <a:gd name="csX80" fmla="*/ 2585558 w 3437996"/>
              <a:gd name="csY80" fmla="*/ 756496 h 2018071"/>
              <a:gd name="csX81" fmla="*/ 2576006 w 3437996"/>
              <a:gd name="csY81" fmla="*/ 747002 h 2018071"/>
              <a:gd name="csX82" fmla="*/ 2567871 w 3437996"/>
              <a:gd name="csY82" fmla="*/ 738486 h 2018071"/>
              <a:gd name="csX83" fmla="*/ 2566459 w 3437996"/>
              <a:gd name="csY83" fmla="*/ 737499 h 2018071"/>
              <a:gd name="csX84" fmla="*/ 2558352 w 3437996"/>
              <a:gd name="csY84" fmla="*/ 728962 h 2018071"/>
              <a:gd name="csX85" fmla="*/ 2556937 w 3437996"/>
              <a:gd name="csY85" fmla="*/ 727967 h 2018071"/>
              <a:gd name="csX86" fmla="*/ 2547432 w 3437996"/>
              <a:gd name="csY86" fmla="*/ 718414 h 2018071"/>
              <a:gd name="csX87" fmla="*/ 2539350 w 3437996"/>
              <a:gd name="csY87" fmla="*/ 709894 h 2018071"/>
              <a:gd name="csX88" fmla="*/ 2537942 w 3437996"/>
              <a:gd name="csY88" fmla="*/ 708842 h 2018071"/>
              <a:gd name="csX89" fmla="*/ 2529865 w 3437996"/>
              <a:gd name="csY89" fmla="*/ 700356 h 2018071"/>
              <a:gd name="csX90" fmla="*/ 2528460 w 3437996"/>
              <a:gd name="csY90" fmla="*/ 699259 h 2018071"/>
              <a:gd name="csX91" fmla="*/ 2520386 w 3437996"/>
              <a:gd name="csY91" fmla="*/ 690820 h 2018071"/>
              <a:gd name="csX92" fmla="*/ 2510900 w 3437996"/>
              <a:gd name="csY92" fmla="*/ 681286 h 2018071"/>
              <a:gd name="csX93" fmla="*/ 2509493 w 3437996"/>
              <a:gd name="csY93" fmla="*/ 680082 h 2018071"/>
              <a:gd name="csX94" fmla="*/ 2501400 w 3437996"/>
              <a:gd name="csY94" fmla="*/ 671754 h 2018071"/>
              <a:gd name="csX95" fmla="*/ 2491892 w 3437996"/>
              <a:gd name="csY95" fmla="*/ 662222 h 2018071"/>
              <a:gd name="csX96" fmla="*/ 2490482 w 3437996"/>
              <a:gd name="csY96" fmla="*/ 660967 h 2018071"/>
              <a:gd name="csX97" fmla="*/ 2480984 w 3437996"/>
              <a:gd name="csY97" fmla="*/ 651408 h 2018071"/>
              <a:gd name="csX98" fmla="*/ 2472919 w 3437996"/>
              <a:gd name="csY98" fmla="*/ 643127 h 2018071"/>
              <a:gd name="csX99" fmla="*/ 2471515 w 3437996"/>
              <a:gd name="csY99" fmla="*/ 641819 h 2018071"/>
              <a:gd name="csX100" fmla="*/ 2463424 w 3437996"/>
              <a:gd name="csY100" fmla="*/ 633584 h 2018071"/>
              <a:gd name="csX101" fmla="*/ 2462020 w 3437996"/>
              <a:gd name="csY101" fmla="*/ 632257 h 2018071"/>
              <a:gd name="csX102" fmla="*/ 2453925 w 3437996"/>
              <a:gd name="csY102" fmla="*/ 624049 h 2018071"/>
              <a:gd name="csX103" fmla="*/ 2452516 w 3437996"/>
              <a:gd name="csY103" fmla="*/ 622702 h 2018071"/>
              <a:gd name="csX104" fmla="*/ 2444450 w 3437996"/>
              <a:gd name="csY104" fmla="*/ 614506 h 2018071"/>
              <a:gd name="csX105" fmla="*/ 2434957 w 3437996"/>
              <a:gd name="csY105" fmla="*/ 604969 h 2018071"/>
              <a:gd name="csX106" fmla="*/ 2433519 w 3437996"/>
              <a:gd name="csY106" fmla="*/ 603563 h 2018071"/>
              <a:gd name="csX107" fmla="*/ 2425486 w 3437996"/>
              <a:gd name="csY107" fmla="*/ 595418 h 2018071"/>
              <a:gd name="csX108" fmla="*/ 2424029 w 3437996"/>
              <a:gd name="csY108" fmla="*/ 593985 h 2018071"/>
              <a:gd name="csX109" fmla="*/ 2416081 w 3437996"/>
              <a:gd name="csY109" fmla="*/ 585841 h 2018071"/>
              <a:gd name="csX110" fmla="*/ 2406640 w 3437996"/>
              <a:gd name="csY110" fmla="*/ 576281 h 2018071"/>
              <a:gd name="csX111" fmla="*/ 2397176 w 3437996"/>
              <a:gd name="csY111" fmla="*/ 566733 h 2018071"/>
              <a:gd name="csX112" fmla="*/ 2387690 w 3437996"/>
              <a:gd name="csY112" fmla="*/ 557193 h 2018071"/>
              <a:gd name="csX113" fmla="*/ 2386050 w 3437996"/>
              <a:gd name="csY113" fmla="*/ 555624 h 2018071"/>
              <a:gd name="csX114" fmla="*/ 2378191 w 3437996"/>
              <a:gd name="csY114" fmla="*/ 547659 h 2018071"/>
              <a:gd name="csX115" fmla="*/ 2368704 w 3437996"/>
              <a:gd name="csY115" fmla="*/ 538124 h 2018071"/>
              <a:gd name="csX116" fmla="*/ 2367021 w 3437996"/>
              <a:gd name="csY116" fmla="*/ 536517 h 2018071"/>
              <a:gd name="csX117" fmla="*/ 2350552 w 3437996"/>
              <a:gd name="csY117" fmla="*/ 519835 h 2018071"/>
              <a:gd name="csX118" fmla="*/ 2348016 w 3437996"/>
              <a:gd name="csY118" fmla="*/ 517342 h 2018071"/>
              <a:gd name="csX119" fmla="*/ 2341054 w 3437996"/>
              <a:gd name="csY119" fmla="*/ 510297 h 2018071"/>
              <a:gd name="csX120" fmla="*/ 2322020 w 3437996"/>
              <a:gd name="csY120" fmla="*/ 491243 h 2018071"/>
              <a:gd name="csX121" fmla="*/ 2312510 w 3437996"/>
              <a:gd name="csY121" fmla="*/ 481725 h 2018071"/>
              <a:gd name="csX122" fmla="*/ 2309941 w 3437996"/>
              <a:gd name="csY122" fmla="*/ 479158 h 2018071"/>
              <a:gd name="csX123" fmla="*/ 2303024 w 3437996"/>
              <a:gd name="csY123" fmla="*/ 472210 h 2018071"/>
              <a:gd name="csX124" fmla="*/ 2300428 w 3437996"/>
              <a:gd name="csY124" fmla="*/ 469578 h 2018071"/>
              <a:gd name="csX125" fmla="*/ 2293545 w 3437996"/>
              <a:gd name="csY125" fmla="*/ 462697 h 2018071"/>
              <a:gd name="csX126" fmla="*/ 2284051 w 3437996"/>
              <a:gd name="csY126" fmla="*/ 453172 h 2018071"/>
              <a:gd name="csX127" fmla="*/ 2274560 w 3437996"/>
              <a:gd name="csY127" fmla="*/ 443646 h 2018071"/>
              <a:gd name="csX128" fmla="*/ 2265120 w 3437996"/>
              <a:gd name="csY128" fmla="*/ 434112 h 2018071"/>
              <a:gd name="csX129" fmla="*/ 2262409 w 3437996"/>
              <a:gd name="csY129" fmla="*/ 431189 h 2018071"/>
              <a:gd name="csX130" fmla="*/ 2252962 w 3437996"/>
              <a:gd name="csY130" fmla="*/ 421458 h 2018071"/>
              <a:gd name="csX131" fmla="*/ 2246361 w 3437996"/>
              <a:gd name="csY131" fmla="*/ 414989 h 2018071"/>
              <a:gd name="csX132" fmla="*/ 2226101 w 3437996"/>
              <a:gd name="csY132" fmla="*/ 394472 h 2018071"/>
              <a:gd name="csX133" fmla="*/ 2204126 w 3437996"/>
              <a:gd name="csY133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44017 w 3437996"/>
              <a:gd name="csY67" fmla="*/ 814773 h 2018071"/>
              <a:gd name="csX68" fmla="*/ 2642551 w 3437996"/>
              <a:gd name="csY68" fmla="*/ 813746 h 2018071"/>
              <a:gd name="csX69" fmla="*/ 2634494 w 3437996"/>
              <a:gd name="csY69" fmla="*/ 805208 h 2018071"/>
              <a:gd name="csX70" fmla="*/ 2633053 w 3437996"/>
              <a:gd name="csY70" fmla="*/ 804210 h 2018071"/>
              <a:gd name="csX71" fmla="*/ 2624994 w 3437996"/>
              <a:gd name="csY71" fmla="*/ 795655 h 2018071"/>
              <a:gd name="csX72" fmla="*/ 2623570 w 3437996"/>
              <a:gd name="csY72" fmla="*/ 794675 h 2018071"/>
              <a:gd name="csX73" fmla="*/ 2615495 w 3437996"/>
              <a:gd name="csY73" fmla="*/ 786111 h 2018071"/>
              <a:gd name="csX74" fmla="*/ 2614082 w 3437996"/>
              <a:gd name="csY74" fmla="*/ 785113 h 2018071"/>
              <a:gd name="csX75" fmla="*/ 2606007 w 3437996"/>
              <a:gd name="csY75" fmla="*/ 776562 h 2018071"/>
              <a:gd name="csX76" fmla="*/ 2604609 w 3437996"/>
              <a:gd name="csY76" fmla="*/ 775538 h 2018071"/>
              <a:gd name="csX77" fmla="*/ 2596489 w 3437996"/>
              <a:gd name="csY77" fmla="*/ 767032 h 2018071"/>
              <a:gd name="csX78" fmla="*/ 2595095 w 3437996"/>
              <a:gd name="csY78" fmla="*/ 766006 h 2018071"/>
              <a:gd name="csX79" fmla="*/ 2586954 w 3437996"/>
              <a:gd name="csY79" fmla="*/ 757512 h 2018071"/>
              <a:gd name="csX80" fmla="*/ 2585558 w 3437996"/>
              <a:gd name="csY80" fmla="*/ 756496 h 2018071"/>
              <a:gd name="csX81" fmla="*/ 2576006 w 3437996"/>
              <a:gd name="csY81" fmla="*/ 747002 h 2018071"/>
              <a:gd name="csX82" fmla="*/ 2567871 w 3437996"/>
              <a:gd name="csY82" fmla="*/ 738486 h 2018071"/>
              <a:gd name="csX83" fmla="*/ 2566459 w 3437996"/>
              <a:gd name="csY83" fmla="*/ 737499 h 2018071"/>
              <a:gd name="csX84" fmla="*/ 2558352 w 3437996"/>
              <a:gd name="csY84" fmla="*/ 728962 h 2018071"/>
              <a:gd name="csX85" fmla="*/ 2556937 w 3437996"/>
              <a:gd name="csY85" fmla="*/ 727967 h 2018071"/>
              <a:gd name="csX86" fmla="*/ 2547432 w 3437996"/>
              <a:gd name="csY86" fmla="*/ 718414 h 2018071"/>
              <a:gd name="csX87" fmla="*/ 2539350 w 3437996"/>
              <a:gd name="csY87" fmla="*/ 709894 h 2018071"/>
              <a:gd name="csX88" fmla="*/ 2537942 w 3437996"/>
              <a:gd name="csY88" fmla="*/ 708842 h 2018071"/>
              <a:gd name="csX89" fmla="*/ 2529865 w 3437996"/>
              <a:gd name="csY89" fmla="*/ 700356 h 2018071"/>
              <a:gd name="csX90" fmla="*/ 2528460 w 3437996"/>
              <a:gd name="csY90" fmla="*/ 699259 h 2018071"/>
              <a:gd name="csX91" fmla="*/ 2520386 w 3437996"/>
              <a:gd name="csY91" fmla="*/ 690820 h 2018071"/>
              <a:gd name="csX92" fmla="*/ 2510900 w 3437996"/>
              <a:gd name="csY92" fmla="*/ 681286 h 2018071"/>
              <a:gd name="csX93" fmla="*/ 2509493 w 3437996"/>
              <a:gd name="csY93" fmla="*/ 680082 h 2018071"/>
              <a:gd name="csX94" fmla="*/ 2501400 w 3437996"/>
              <a:gd name="csY94" fmla="*/ 671754 h 2018071"/>
              <a:gd name="csX95" fmla="*/ 2491892 w 3437996"/>
              <a:gd name="csY95" fmla="*/ 662222 h 2018071"/>
              <a:gd name="csX96" fmla="*/ 2490482 w 3437996"/>
              <a:gd name="csY96" fmla="*/ 660967 h 2018071"/>
              <a:gd name="csX97" fmla="*/ 2480984 w 3437996"/>
              <a:gd name="csY97" fmla="*/ 651408 h 2018071"/>
              <a:gd name="csX98" fmla="*/ 2472919 w 3437996"/>
              <a:gd name="csY98" fmla="*/ 643127 h 2018071"/>
              <a:gd name="csX99" fmla="*/ 2471515 w 3437996"/>
              <a:gd name="csY99" fmla="*/ 641819 h 2018071"/>
              <a:gd name="csX100" fmla="*/ 2463424 w 3437996"/>
              <a:gd name="csY100" fmla="*/ 633584 h 2018071"/>
              <a:gd name="csX101" fmla="*/ 2462020 w 3437996"/>
              <a:gd name="csY101" fmla="*/ 632257 h 2018071"/>
              <a:gd name="csX102" fmla="*/ 2453925 w 3437996"/>
              <a:gd name="csY102" fmla="*/ 624049 h 2018071"/>
              <a:gd name="csX103" fmla="*/ 2452516 w 3437996"/>
              <a:gd name="csY103" fmla="*/ 622702 h 2018071"/>
              <a:gd name="csX104" fmla="*/ 2444450 w 3437996"/>
              <a:gd name="csY104" fmla="*/ 614506 h 2018071"/>
              <a:gd name="csX105" fmla="*/ 2434957 w 3437996"/>
              <a:gd name="csY105" fmla="*/ 604969 h 2018071"/>
              <a:gd name="csX106" fmla="*/ 2425486 w 3437996"/>
              <a:gd name="csY106" fmla="*/ 595418 h 2018071"/>
              <a:gd name="csX107" fmla="*/ 2424029 w 3437996"/>
              <a:gd name="csY107" fmla="*/ 593985 h 2018071"/>
              <a:gd name="csX108" fmla="*/ 2416081 w 3437996"/>
              <a:gd name="csY108" fmla="*/ 585841 h 2018071"/>
              <a:gd name="csX109" fmla="*/ 2406640 w 3437996"/>
              <a:gd name="csY109" fmla="*/ 576281 h 2018071"/>
              <a:gd name="csX110" fmla="*/ 2397176 w 3437996"/>
              <a:gd name="csY110" fmla="*/ 566733 h 2018071"/>
              <a:gd name="csX111" fmla="*/ 2387690 w 3437996"/>
              <a:gd name="csY111" fmla="*/ 557193 h 2018071"/>
              <a:gd name="csX112" fmla="*/ 2386050 w 3437996"/>
              <a:gd name="csY112" fmla="*/ 555624 h 2018071"/>
              <a:gd name="csX113" fmla="*/ 2378191 w 3437996"/>
              <a:gd name="csY113" fmla="*/ 547659 h 2018071"/>
              <a:gd name="csX114" fmla="*/ 2368704 w 3437996"/>
              <a:gd name="csY114" fmla="*/ 538124 h 2018071"/>
              <a:gd name="csX115" fmla="*/ 2367021 w 3437996"/>
              <a:gd name="csY115" fmla="*/ 536517 h 2018071"/>
              <a:gd name="csX116" fmla="*/ 2350552 w 3437996"/>
              <a:gd name="csY116" fmla="*/ 519835 h 2018071"/>
              <a:gd name="csX117" fmla="*/ 2348016 w 3437996"/>
              <a:gd name="csY117" fmla="*/ 517342 h 2018071"/>
              <a:gd name="csX118" fmla="*/ 2341054 w 3437996"/>
              <a:gd name="csY118" fmla="*/ 510297 h 2018071"/>
              <a:gd name="csX119" fmla="*/ 2322020 w 3437996"/>
              <a:gd name="csY119" fmla="*/ 491243 h 2018071"/>
              <a:gd name="csX120" fmla="*/ 2312510 w 3437996"/>
              <a:gd name="csY120" fmla="*/ 481725 h 2018071"/>
              <a:gd name="csX121" fmla="*/ 2309941 w 3437996"/>
              <a:gd name="csY121" fmla="*/ 479158 h 2018071"/>
              <a:gd name="csX122" fmla="*/ 2303024 w 3437996"/>
              <a:gd name="csY122" fmla="*/ 472210 h 2018071"/>
              <a:gd name="csX123" fmla="*/ 2300428 w 3437996"/>
              <a:gd name="csY123" fmla="*/ 469578 h 2018071"/>
              <a:gd name="csX124" fmla="*/ 2293545 w 3437996"/>
              <a:gd name="csY124" fmla="*/ 462697 h 2018071"/>
              <a:gd name="csX125" fmla="*/ 2284051 w 3437996"/>
              <a:gd name="csY125" fmla="*/ 453172 h 2018071"/>
              <a:gd name="csX126" fmla="*/ 2274560 w 3437996"/>
              <a:gd name="csY126" fmla="*/ 443646 h 2018071"/>
              <a:gd name="csX127" fmla="*/ 2265120 w 3437996"/>
              <a:gd name="csY127" fmla="*/ 434112 h 2018071"/>
              <a:gd name="csX128" fmla="*/ 2262409 w 3437996"/>
              <a:gd name="csY128" fmla="*/ 431189 h 2018071"/>
              <a:gd name="csX129" fmla="*/ 2252962 w 3437996"/>
              <a:gd name="csY129" fmla="*/ 421458 h 2018071"/>
              <a:gd name="csX130" fmla="*/ 2246361 w 3437996"/>
              <a:gd name="csY130" fmla="*/ 414989 h 2018071"/>
              <a:gd name="csX131" fmla="*/ 2226101 w 3437996"/>
              <a:gd name="csY131" fmla="*/ 394472 h 2018071"/>
              <a:gd name="csX132" fmla="*/ 2204126 w 3437996"/>
              <a:gd name="csY132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44017 w 3437996"/>
              <a:gd name="csY67" fmla="*/ 814773 h 2018071"/>
              <a:gd name="csX68" fmla="*/ 2642551 w 3437996"/>
              <a:gd name="csY68" fmla="*/ 813746 h 2018071"/>
              <a:gd name="csX69" fmla="*/ 2634494 w 3437996"/>
              <a:gd name="csY69" fmla="*/ 805208 h 2018071"/>
              <a:gd name="csX70" fmla="*/ 2633053 w 3437996"/>
              <a:gd name="csY70" fmla="*/ 804210 h 2018071"/>
              <a:gd name="csX71" fmla="*/ 2624994 w 3437996"/>
              <a:gd name="csY71" fmla="*/ 795655 h 2018071"/>
              <a:gd name="csX72" fmla="*/ 2623570 w 3437996"/>
              <a:gd name="csY72" fmla="*/ 794675 h 2018071"/>
              <a:gd name="csX73" fmla="*/ 2615495 w 3437996"/>
              <a:gd name="csY73" fmla="*/ 786111 h 2018071"/>
              <a:gd name="csX74" fmla="*/ 2614082 w 3437996"/>
              <a:gd name="csY74" fmla="*/ 785113 h 2018071"/>
              <a:gd name="csX75" fmla="*/ 2606007 w 3437996"/>
              <a:gd name="csY75" fmla="*/ 776562 h 2018071"/>
              <a:gd name="csX76" fmla="*/ 2604609 w 3437996"/>
              <a:gd name="csY76" fmla="*/ 775538 h 2018071"/>
              <a:gd name="csX77" fmla="*/ 2596489 w 3437996"/>
              <a:gd name="csY77" fmla="*/ 767032 h 2018071"/>
              <a:gd name="csX78" fmla="*/ 2595095 w 3437996"/>
              <a:gd name="csY78" fmla="*/ 766006 h 2018071"/>
              <a:gd name="csX79" fmla="*/ 2586954 w 3437996"/>
              <a:gd name="csY79" fmla="*/ 757512 h 2018071"/>
              <a:gd name="csX80" fmla="*/ 2585558 w 3437996"/>
              <a:gd name="csY80" fmla="*/ 756496 h 2018071"/>
              <a:gd name="csX81" fmla="*/ 2576006 w 3437996"/>
              <a:gd name="csY81" fmla="*/ 747002 h 2018071"/>
              <a:gd name="csX82" fmla="*/ 2567871 w 3437996"/>
              <a:gd name="csY82" fmla="*/ 738486 h 2018071"/>
              <a:gd name="csX83" fmla="*/ 2566459 w 3437996"/>
              <a:gd name="csY83" fmla="*/ 737499 h 2018071"/>
              <a:gd name="csX84" fmla="*/ 2558352 w 3437996"/>
              <a:gd name="csY84" fmla="*/ 728962 h 2018071"/>
              <a:gd name="csX85" fmla="*/ 2556937 w 3437996"/>
              <a:gd name="csY85" fmla="*/ 727967 h 2018071"/>
              <a:gd name="csX86" fmla="*/ 2547432 w 3437996"/>
              <a:gd name="csY86" fmla="*/ 718414 h 2018071"/>
              <a:gd name="csX87" fmla="*/ 2539350 w 3437996"/>
              <a:gd name="csY87" fmla="*/ 709894 h 2018071"/>
              <a:gd name="csX88" fmla="*/ 2537942 w 3437996"/>
              <a:gd name="csY88" fmla="*/ 708842 h 2018071"/>
              <a:gd name="csX89" fmla="*/ 2529865 w 3437996"/>
              <a:gd name="csY89" fmla="*/ 700356 h 2018071"/>
              <a:gd name="csX90" fmla="*/ 2528460 w 3437996"/>
              <a:gd name="csY90" fmla="*/ 699259 h 2018071"/>
              <a:gd name="csX91" fmla="*/ 2520386 w 3437996"/>
              <a:gd name="csY91" fmla="*/ 690820 h 2018071"/>
              <a:gd name="csX92" fmla="*/ 2510900 w 3437996"/>
              <a:gd name="csY92" fmla="*/ 681286 h 2018071"/>
              <a:gd name="csX93" fmla="*/ 2509493 w 3437996"/>
              <a:gd name="csY93" fmla="*/ 680082 h 2018071"/>
              <a:gd name="csX94" fmla="*/ 2501400 w 3437996"/>
              <a:gd name="csY94" fmla="*/ 671754 h 2018071"/>
              <a:gd name="csX95" fmla="*/ 2491892 w 3437996"/>
              <a:gd name="csY95" fmla="*/ 662222 h 2018071"/>
              <a:gd name="csX96" fmla="*/ 2480984 w 3437996"/>
              <a:gd name="csY96" fmla="*/ 651408 h 2018071"/>
              <a:gd name="csX97" fmla="*/ 2472919 w 3437996"/>
              <a:gd name="csY97" fmla="*/ 643127 h 2018071"/>
              <a:gd name="csX98" fmla="*/ 2471515 w 3437996"/>
              <a:gd name="csY98" fmla="*/ 641819 h 2018071"/>
              <a:gd name="csX99" fmla="*/ 2463424 w 3437996"/>
              <a:gd name="csY99" fmla="*/ 633584 h 2018071"/>
              <a:gd name="csX100" fmla="*/ 2462020 w 3437996"/>
              <a:gd name="csY100" fmla="*/ 632257 h 2018071"/>
              <a:gd name="csX101" fmla="*/ 2453925 w 3437996"/>
              <a:gd name="csY101" fmla="*/ 624049 h 2018071"/>
              <a:gd name="csX102" fmla="*/ 2452516 w 3437996"/>
              <a:gd name="csY102" fmla="*/ 622702 h 2018071"/>
              <a:gd name="csX103" fmla="*/ 2444450 w 3437996"/>
              <a:gd name="csY103" fmla="*/ 614506 h 2018071"/>
              <a:gd name="csX104" fmla="*/ 2434957 w 3437996"/>
              <a:gd name="csY104" fmla="*/ 604969 h 2018071"/>
              <a:gd name="csX105" fmla="*/ 2425486 w 3437996"/>
              <a:gd name="csY105" fmla="*/ 595418 h 2018071"/>
              <a:gd name="csX106" fmla="*/ 2424029 w 3437996"/>
              <a:gd name="csY106" fmla="*/ 593985 h 2018071"/>
              <a:gd name="csX107" fmla="*/ 2416081 w 3437996"/>
              <a:gd name="csY107" fmla="*/ 585841 h 2018071"/>
              <a:gd name="csX108" fmla="*/ 2406640 w 3437996"/>
              <a:gd name="csY108" fmla="*/ 576281 h 2018071"/>
              <a:gd name="csX109" fmla="*/ 2397176 w 3437996"/>
              <a:gd name="csY109" fmla="*/ 566733 h 2018071"/>
              <a:gd name="csX110" fmla="*/ 2387690 w 3437996"/>
              <a:gd name="csY110" fmla="*/ 557193 h 2018071"/>
              <a:gd name="csX111" fmla="*/ 2386050 w 3437996"/>
              <a:gd name="csY111" fmla="*/ 555624 h 2018071"/>
              <a:gd name="csX112" fmla="*/ 2378191 w 3437996"/>
              <a:gd name="csY112" fmla="*/ 547659 h 2018071"/>
              <a:gd name="csX113" fmla="*/ 2368704 w 3437996"/>
              <a:gd name="csY113" fmla="*/ 538124 h 2018071"/>
              <a:gd name="csX114" fmla="*/ 2367021 w 3437996"/>
              <a:gd name="csY114" fmla="*/ 536517 h 2018071"/>
              <a:gd name="csX115" fmla="*/ 2350552 w 3437996"/>
              <a:gd name="csY115" fmla="*/ 519835 h 2018071"/>
              <a:gd name="csX116" fmla="*/ 2348016 w 3437996"/>
              <a:gd name="csY116" fmla="*/ 517342 h 2018071"/>
              <a:gd name="csX117" fmla="*/ 2341054 w 3437996"/>
              <a:gd name="csY117" fmla="*/ 510297 h 2018071"/>
              <a:gd name="csX118" fmla="*/ 2322020 w 3437996"/>
              <a:gd name="csY118" fmla="*/ 491243 h 2018071"/>
              <a:gd name="csX119" fmla="*/ 2312510 w 3437996"/>
              <a:gd name="csY119" fmla="*/ 481725 h 2018071"/>
              <a:gd name="csX120" fmla="*/ 2309941 w 3437996"/>
              <a:gd name="csY120" fmla="*/ 479158 h 2018071"/>
              <a:gd name="csX121" fmla="*/ 2303024 w 3437996"/>
              <a:gd name="csY121" fmla="*/ 472210 h 2018071"/>
              <a:gd name="csX122" fmla="*/ 2300428 w 3437996"/>
              <a:gd name="csY122" fmla="*/ 469578 h 2018071"/>
              <a:gd name="csX123" fmla="*/ 2293545 w 3437996"/>
              <a:gd name="csY123" fmla="*/ 462697 h 2018071"/>
              <a:gd name="csX124" fmla="*/ 2284051 w 3437996"/>
              <a:gd name="csY124" fmla="*/ 453172 h 2018071"/>
              <a:gd name="csX125" fmla="*/ 2274560 w 3437996"/>
              <a:gd name="csY125" fmla="*/ 443646 h 2018071"/>
              <a:gd name="csX126" fmla="*/ 2265120 w 3437996"/>
              <a:gd name="csY126" fmla="*/ 434112 h 2018071"/>
              <a:gd name="csX127" fmla="*/ 2262409 w 3437996"/>
              <a:gd name="csY127" fmla="*/ 431189 h 2018071"/>
              <a:gd name="csX128" fmla="*/ 2252962 w 3437996"/>
              <a:gd name="csY128" fmla="*/ 421458 h 2018071"/>
              <a:gd name="csX129" fmla="*/ 2246361 w 3437996"/>
              <a:gd name="csY129" fmla="*/ 414989 h 2018071"/>
              <a:gd name="csX130" fmla="*/ 2226101 w 3437996"/>
              <a:gd name="csY130" fmla="*/ 394472 h 2018071"/>
              <a:gd name="csX131" fmla="*/ 2204126 w 3437996"/>
              <a:gd name="csY131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44017 w 3437996"/>
              <a:gd name="csY67" fmla="*/ 814773 h 2018071"/>
              <a:gd name="csX68" fmla="*/ 2642551 w 3437996"/>
              <a:gd name="csY68" fmla="*/ 813746 h 2018071"/>
              <a:gd name="csX69" fmla="*/ 2634494 w 3437996"/>
              <a:gd name="csY69" fmla="*/ 805208 h 2018071"/>
              <a:gd name="csX70" fmla="*/ 2633053 w 3437996"/>
              <a:gd name="csY70" fmla="*/ 804210 h 2018071"/>
              <a:gd name="csX71" fmla="*/ 2624994 w 3437996"/>
              <a:gd name="csY71" fmla="*/ 795655 h 2018071"/>
              <a:gd name="csX72" fmla="*/ 2623570 w 3437996"/>
              <a:gd name="csY72" fmla="*/ 794675 h 2018071"/>
              <a:gd name="csX73" fmla="*/ 2615495 w 3437996"/>
              <a:gd name="csY73" fmla="*/ 786111 h 2018071"/>
              <a:gd name="csX74" fmla="*/ 2614082 w 3437996"/>
              <a:gd name="csY74" fmla="*/ 785113 h 2018071"/>
              <a:gd name="csX75" fmla="*/ 2606007 w 3437996"/>
              <a:gd name="csY75" fmla="*/ 776562 h 2018071"/>
              <a:gd name="csX76" fmla="*/ 2604609 w 3437996"/>
              <a:gd name="csY76" fmla="*/ 775538 h 2018071"/>
              <a:gd name="csX77" fmla="*/ 2596489 w 3437996"/>
              <a:gd name="csY77" fmla="*/ 767032 h 2018071"/>
              <a:gd name="csX78" fmla="*/ 2595095 w 3437996"/>
              <a:gd name="csY78" fmla="*/ 766006 h 2018071"/>
              <a:gd name="csX79" fmla="*/ 2586954 w 3437996"/>
              <a:gd name="csY79" fmla="*/ 757512 h 2018071"/>
              <a:gd name="csX80" fmla="*/ 2585558 w 3437996"/>
              <a:gd name="csY80" fmla="*/ 756496 h 2018071"/>
              <a:gd name="csX81" fmla="*/ 2576006 w 3437996"/>
              <a:gd name="csY81" fmla="*/ 747002 h 2018071"/>
              <a:gd name="csX82" fmla="*/ 2567871 w 3437996"/>
              <a:gd name="csY82" fmla="*/ 738486 h 2018071"/>
              <a:gd name="csX83" fmla="*/ 2566459 w 3437996"/>
              <a:gd name="csY83" fmla="*/ 737499 h 2018071"/>
              <a:gd name="csX84" fmla="*/ 2558352 w 3437996"/>
              <a:gd name="csY84" fmla="*/ 728962 h 2018071"/>
              <a:gd name="csX85" fmla="*/ 2556937 w 3437996"/>
              <a:gd name="csY85" fmla="*/ 727967 h 2018071"/>
              <a:gd name="csX86" fmla="*/ 2547432 w 3437996"/>
              <a:gd name="csY86" fmla="*/ 718414 h 2018071"/>
              <a:gd name="csX87" fmla="*/ 2539350 w 3437996"/>
              <a:gd name="csY87" fmla="*/ 709894 h 2018071"/>
              <a:gd name="csX88" fmla="*/ 2529865 w 3437996"/>
              <a:gd name="csY88" fmla="*/ 700356 h 2018071"/>
              <a:gd name="csX89" fmla="*/ 2528460 w 3437996"/>
              <a:gd name="csY89" fmla="*/ 699259 h 2018071"/>
              <a:gd name="csX90" fmla="*/ 2520386 w 3437996"/>
              <a:gd name="csY90" fmla="*/ 690820 h 2018071"/>
              <a:gd name="csX91" fmla="*/ 2510900 w 3437996"/>
              <a:gd name="csY91" fmla="*/ 681286 h 2018071"/>
              <a:gd name="csX92" fmla="*/ 2509493 w 3437996"/>
              <a:gd name="csY92" fmla="*/ 680082 h 2018071"/>
              <a:gd name="csX93" fmla="*/ 2501400 w 3437996"/>
              <a:gd name="csY93" fmla="*/ 671754 h 2018071"/>
              <a:gd name="csX94" fmla="*/ 2491892 w 3437996"/>
              <a:gd name="csY94" fmla="*/ 662222 h 2018071"/>
              <a:gd name="csX95" fmla="*/ 2480984 w 3437996"/>
              <a:gd name="csY95" fmla="*/ 651408 h 2018071"/>
              <a:gd name="csX96" fmla="*/ 2472919 w 3437996"/>
              <a:gd name="csY96" fmla="*/ 643127 h 2018071"/>
              <a:gd name="csX97" fmla="*/ 2471515 w 3437996"/>
              <a:gd name="csY97" fmla="*/ 641819 h 2018071"/>
              <a:gd name="csX98" fmla="*/ 2463424 w 3437996"/>
              <a:gd name="csY98" fmla="*/ 633584 h 2018071"/>
              <a:gd name="csX99" fmla="*/ 2462020 w 3437996"/>
              <a:gd name="csY99" fmla="*/ 632257 h 2018071"/>
              <a:gd name="csX100" fmla="*/ 2453925 w 3437996"/>
              <a:gd name="csY100" fmla="*/ 624049 h 2018071"/>
              <a:gd name="csX101" fmla="*/ 2452516 w 3437996"/>
              <a:gd name="csY101" fmla="*/ 622702 h 2018071"/>
              <a:gd name="csX102" fmla="*/ 2444450 w 3437996"/>
              <a:gd name="csY102" fmla="*/ 614506 h 2018071"/>
              <a:gd name="csX103" fmla="*/ 2434957 w 3437996"/>
              <a:gd name="csY103" fmla="*/ 604969 h 2018071"/>
              <a:gd name="csX104" fmla="*/ 2425486 w 3437996"/>
              <a:gd name="csY104" fmla="*/ 595418 h 2018071"/>
              <a:gd name="csX105" fmla="*/ 2424029 w 3437996"/>
              <a:gd name="csY105" fmla="*/ 593985 h 2018071"/>
              <a:gd name="csX106" fmla="*/ 2416081 w 3437996"/>
              <a:gd name="csY106" fmla="*/ 585841 h 2018071"/>
              <a:gd name="csX107" fmla="*/ 2406640 w 3437996"/>
              <a:gd name="csY107" fmla="*/ 576281 h 2018071"/>
              <a:gd name="csX108" fmla="*/ 2397176 w 3437996"/>
              <a:gd name="csY108" fmla="*/ 566733 h 2018071"/>
              <a:gd name="csX109" fmla="*/ 2387690 w 3437996"/>
              <a:gd name="csY109" fmla="*/ 557193 h 2018071"/>
              <a:gd name="csX110" fmla="*/ 2386050 w 3437996"/>
              <a:gd name="csY110" fmla="*/ 555624 h 2018071"/>
              <a:gd name="csX111" fmla="*/ 2378191 w 3437996"/>
              <a:gd name="csY111" fmla="*/ 547659 h 2018071"/>
              <a:gd name="csX112" fmla="*/ 2368704 w 3437996"/>
              <a:gd name="csY112" fmla="*/ 538124 h 2018071"/>
              <a:gd name="csX113" fmla="*/ 2367021 w 3437996"/>
              <a:gd name="csY113" fmla="*/ 536517 h 2018071"/>
              <a:gd name="csX114" fmla="*/ 2350552 w 3437996"/>
              <a:gd name="csY114" fmla="*/ 519835 h 2018071"/>
              <a:gd name="csX115" fmla="*/ 2348016 w 3437996"/>
              <a:gd name="csY115" fmla="*/ 517342 h 2018071"/>
              <a:gd name="csX116" fmla="*/ 2341054 w 3437996"/>
              <a:gd name="csY116" fmla="*/ 510297 h 2018071"/>
              <a:gd name="csX117" fmla="*/ 2322020 w 3437996"/>
              <a:gd name="csY117" fmla="*/ 491243 h 2018071"/>
              <a:gd name="csX118" fmla="*/ 2312510 w 3437996"/>
              <a:gd name="csY118" fmla="*/ 481725 h 2018071"/>
              <a:gd name="csX119" fmla="*/ 2309941 w 3437996"/>
              <a:gd name="csY119" fmla="*/ 479158 h 2018071"/>
              <a:gd name="csX120" fmla="*/ 2303024 w 3437996"/>
              <a:gd name="csY120" fmla="*/ 472210 h 2018071"/>
              <a:gd name="csX121" fmla="*/ 2300428 w 3437996"/>
              <a:gd name="csY121" fmla="*/ 469578 h 2018071"/>
              <a:gd name="csX122" fmla="*/ 2293545 w 3437996"/>
              <a:gd name="csY122" fmla="*/ 462697 h 2018071"/>
              <a:gd name="csX123" fmla="*/ 2284051 w 3437996"/>
              <a:gd name="csY123" fmla="*/ 453172 h 2018071"/>
              <a:gd name="csX124" fmla="*/ 2274560 w 3437996"/>
              <a:gd name="csY124" fmla="*/ 443646 h 2018071"/>
              <a:gd name="csX125" fmla="*/ 2265120 w 3437996"/>
              <a:gd name="csY125" fmla="*/ 434112 h 2018071"/>
              <a:gd name="csX126" fmla="*/ 2262409 w 3437996"/>
              <a:gd name="csY126" fmla="*/ 431189 h 2018071"/>
              <a:gd name="csX127" fmla="*/ 2252962 w 3437996"/>
              <a:gd name="csY127" fmla="*/ 421458 h 2018071"/>
              <a:gd name="csX128" fmla="*/ 2246361 w 3437996"/>
              <a:gd name="csY128" fmla="*/ 414989 h 2018071"/>
              <a:gd name="csX129" fmla="*/ 2226101 w 3437996"/>
              <a:gd name="csY129" fmla="*/ 394472 h 2018071"/>
              <a:gd name="csX130" fmla="*/ 2204126 w 3437996"/>
              <a:gd name="csY130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44017 w 3437996"/>
              <a:gd name="csY67" fmla="*/ 814773 h 2018071"/>
              <a:gd name="csX68" fmla="*/ 2642551 w 3437996"/>
              <a:gd name="csY68" fmla="*/ 813746 h 2018071"/>
              <a:gd name="csX69" fmla="*/ 2634494 w 3437996"/>
              <a:gd name="csY69" fmla="*/ 805208 h 2018071"/>
              <a:gd name="csX70" fmla="*/ 2633053 w 3437996"/>
              <a:gd name="csY70" fmla="*/ 804210 h 2018071"/>
              <a:gd name="csX71" fmla="*/ 2624994 w 3437996"/>
              <a:gd name="csY71" fmla="*/ 795655 h 2018071"/>
              <a:gd name="csX72" fmla="*/ 2623570 w 3437996"/>
              <a:gd name="csY72" fmla="*/ 794675 h 2018071"/>
              <a:gd name="csX73" fmla="*/ 2615495 w 3437996"/>
              <a:gd name="csY73" fmla="*/ 786111 h 2018071"/>
              <a:gd name="csX74" fmla="*/ 2614082 w 3437996"/>
              <a:gd name="csY74" fmla="*/ 785113 h 2018071"/>
              <a:gd name="csX75" fmla="*/ 2606007 w 3437996"/>
              <a:gd name="csY75" fmla="*/ 776562 h 2018071"/>
              <a:gd name="csX76" fmla="*/ 2604609 w 3437996"/>
              <a:gd name="csY76" fmla="*/ 775538 h 2018071"/>
              <a:gd name="csX77" fmla="*/ 2596489 w 3437996"/>
              <a:gd name="csY77" fmla="*/ 767032 h 2018071"/>
              <a:gd name="csX78" fmla="*/ 2595095 w 3437996"/>
              <a:gd name="csY78" fmla="*/ 766006 h 2018071"/>
              <a:gd name="csX79" fmla="*/ 2586954 w 3437996"/>
              <a:gd name="csY79" fmla="*/ 757512 h 2018071"/>
              <a:gd name="csX80" fmla="*/ 2585558 w 3437996"/>
              <a:gd name="csY80" fmla="*/ 756496 h 2018071"/>
              <a:gd name="csX81" fmla="*/ 2567871 w 3437996"/>
              <a:gd name="csY81" fmla="*/ 738486 h 2018071"/>
              <a:gd name="csX82" fmla="*/ 2566459 w 3437996"/>
              <a:gd name="csY82" fmla="*/ 737499 h 2018071"/>
              <a:gd name="csX83" fmla="*/ 2558352 w 3437996"/>
              <a:gd name="csY83" fmla="*/ 728962 h 2018071"/>
              <a:gd name="csX84" fmla="*/ 2556937 w 3437996"/>
              <a:gd name="csY84" fmla="*/ 727967 h 2018071"/>
              <a:gd name="csX85" fmla="*/ 2547432 w 3437996"/>
              <a:gd name="csY85" fmla="*/ 718414 h 2018071"/>
              <a:gd name="csX86" fmla="*/ 2539350 w 3437996"/>
              <a:gd name="csY86" fmla="*/ 709894 h 2018071"/>
              <a:gd name="csX87" fmla="*/ 2529865 w 3437996"/>
              <a:gd name="csY87" fmla="*/ 700356 h 2018071"/>
              <a:gd name="csX88" fmla="*/ 2528460 w 3437996"/>
              <a:gd name="csY88" fmla="*/ 699259 h 2018071"/>
              <a:gd name="csX89" fmla="*/ 2520386 w 3437996"/>
              <a:gd name="csY89" fmla="*/ 690820 h 2018071"/>
              <a:gd name="csX90" fmla="*/ 2510900 w 3437996"/>
              <a:gd name="csY90" fmla="*/ 681286 h 2018071"/>
              <a:gd name="csX91" fmla="*/ 2509493 w 3437996"/>
              <a:gd name="csY91" fmla="*/ 680082 h 2018071"/>
              <a:gd name="csX92" fmla="*/ 2501400 w 3437996"/>
              <a:gd name="csY92" fmla="*/ 671754 h 2018071"/>
              <a:gd name="csX93" fmla="*/ 2491892 w 3437996"/>
              <a:gd name="csY93" fmla="*/ 662222 h 2018071"/>
              <a:gd name="csX94" fmla="*/ 2480984 w 3437996"/>
              <a:gd name="csY94" fmla="*/ 651408 h 2018071"/>
              <a:gd name="csX95" fmla="*/ 2472919 w 3437996"/>
              <a:gd name="csY95" fmla="*/ 643127 h 2018071"/>
              <a:gd name="csX96" fmla="*/ 2471515 w 3437996"/>
              <a:gd name="csY96" fmla="*/ 641819 h 2018071"/>
              <a:gd name="csX97" fmla="*/ 2463424 w 3437996"/>
              <a:gd name="csY97" fmla="*/ 633584 h 2018071"/>
              <a:gd name="csX98" fmla="*/ 2462020 w 3437996"/>
              <a:gd name="csY98" fmla="*/ 632257 h 2018071"/>
              <a:gd name="csX99" fmla="*/ 2453925 w 3437996"/>
              <a:gd name="csY99" fmla="*/ 624049 h 2018071"/>
              <a:gd name="csX100" fmla="*/ 2452516 w 3437996"/>
              <a:gd name="csY100" fmla="*/ 622702 h 2018071"/>
              <a:gd name="csX101" fmla="*/ 2444450 w 3437996"/>
              <a:gd name="csY101" fmla="*/ 614506 h 2018071"/>
              <a:gd name="csX102" fmla="*/ 2434957 w 3437996"/>
              <a:gd name="csY102" fmla="*/ 604969 h 2018071"/>
              <a:gd name="csX103" fmla="*/ 2425486 w 3437996"/>
              <a:gd name="csY103" fmla="*/ 595418 h 2018071"/>
              <a:gd name="csX104" fmla="*/ 2424029 w 3437996"/>
              <a:gd name="csY104" fmla="*/ 593985 h 2018071"/>
              <a:gd name="csX105" fmla="*/ 2416081 w 3437996"/>
              <a:gd name="csY105" fmla="*/ 585841 h 2018071"/>
              <a:gd name="csX106" fmla="*/ 2406640 w 3437996"/>
              <a:gd name="csY106" fmla="*/ 576281 h 2018071"/>
              <a:gd name="csX107" fmla="*/ 2397176 w 3437996"/>
              <a:gd name="csY107" fmla="*/ 566733 h 2018071"/>
              <a:gd name="csX108" fmla="*/ 2387690 w 3437996"/>
              <a:gd name="csY108" fmla="*/ 557193 h 2018071"/>
              <a:gd name="csX109" fmla="*/ 2386050 w 3437996"/>
              <a:gd name="csY109" fmla="*/ 555624 h 2018071"/>
              <a:gd name="csX110" fmla="*/ 2378191 w 3437996"/>
              <a:gd name="csY110" fmla="*/ 547659 h 2018071"/>
              <a:gd name="csX111" fmla="*/ 2368704 w 3437996"/>
              <a:gd name="csY111" fmla="*/ 538124 h 2018071"/>
              <a:gd name="csX112" fmla="*/ 2367021 w 3437996"/>
              <a:gd name="csY112" fmla="*/ 536517 h 2018071"/>
              <a:gd name="csX113" fmla="*/ 2350552 w 3437996"/>
              <a:gd name="csY113" fmla="*/ 519835 h 2018071"/>
              <a:gd name="csX114" fmla="*/ 2348016 w 3437996"/>
              <a:gd name="csY114" fmla="*/ 517342 h 2018071"/>
              <a:gd name="csX115" fmla="*/ 2341054 w 3437996"/>
              <a:gd name="csY115" fmla="*/ 510297 h 2018071"/>
              <a:gd name="csX116" fmla="*/ 2322020 w 3437996"/>
              <a:gd name="csY116" fmla="*/ 491243 h 2018071"/>
              <a:gd name="csX117" fmla="*/ 2312510 w 3437996"/>
              <a:gd name="csY117" fmla="*/ 481725 h 2018071"/>
              <a:gd name="csX118" fmla="*/ 2309941 w 3437996"/>
              <a:gd name="csY118" fmla="*/ 479158 h 2018071"/>
              <a:gd name="csX119" fmla="*/ 2303024 w 3437996"/>
              <a:gd name="csY119" fmla="*/ 472210 h 2018071"/>
              <a:gd name="csX120" fmla="*/ 2300428 w 3437996"/>
              <a:gd name="csY120" fmla="*/ 469578 h 2018071"/>
              <a:gd name="csX121" fmla="*/ 2293545 w 3437996"/>
              <a:gd name="csY121" fmla="*/ 462697 h 2018071"/>
              <a:gd name="csX122" fmla="*/ 2284051 w 3437996"/>
              <a:gd name="csY122" fmla="*/ 453172 h 2018071"/>
              <a:gd name="csX123" fmla="*/ 2274560 w 3437996"/>
              <a:gd name="csY123" fmla="*/ 443646 h 2018071"/>
              <a:gd name="csX124" fmla="*/ 2265120 w 3437996"/>
              <a:gd name="csY124" fmla="*/ 434112 h 2018071"/>
              <a:gd name="csX125" fmla="*/ 2262409 w 3437996"/>
              <a:gd name="csY125" fmla="*/ 431189 h 2018071"/>
              <a:gd name="csX126" fmla="*/ 2252962 w 3437996"/>
              <a:gd name="csY126" fmla="*/ 421458 h 2018071"/>
              <a:gd name="csX127" fmla="*/ 2246361 w 3437996"/>
              <a:gd name="csY127" fmla="*/ 414989 h 2018071"/>
              <a:gd name="csX128" fmla="*/ 2226101 w 3437996"/>
              <a:gd name="csY128" fmla="*/ 394472 h 2018071"/>
              <a:gd name="csX129" fmla="*/ 2204126 w 3437996"/>
              <a:gd name="csY129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44017 w 3437996"/>
              <a:gd name="csY67" fmla="*/ 814773 h 2018071"/>
              <a:gd name="csX68" fmla="*/ 2642551 w 3437996"/>
              <a:gd name="csY68" fmla="*/ 813746 h 2018071"/>
              <a:gd name="csX69" fmla="*/ 2634494 w 3437996"/>
              <a:gd name="csY69" fmla="*/ 805208 h 2018071"/>
              <a:gd name="csX70" fmla="*/ 2633053 w 3437996"/>
              <a:gd name="csY70" fmla="*/ 804210 h 2018071"/>
              <a:gd name="csX71" fmla="*/ 2624994 w 3437996"/>
              <a:gd name="csY71" fmla="*/ 795655 h 2018071"/>
              <a:gd name="csX72" fmla="*/ 2623570 w 3437996"/>
              <a:gd name="csY72" fmla="*/ 794675 h 2018071"/>
              <a:gd name="csX73" fmla="*/ 2615495 w 3437996"/>
              <a:gd name="csY73" fmla="*/ 786111 h 2018071"/>
              <a:gd name="csX74" fmla="*/ 2606007 w 3437996"/>
              <a:gd name="csY74" fmla="*/ 776562 h 2018071"/>
              <a:gd name="csX75" fmla="*/ 2604609 w 3437996"/>
              <a:gd name="csY75" fmla="*/ 775538 h 2018071"/>
              <a:gd name="csX76" fmla="*/ 2596489 w 3437996"/>
              <a:gd name="csY76" fmla="*/ 767032 h 2018071"/>
              <a:gd name="csX77" fmla="*/ 2595095 w 3437996"/>
              <a:gd name="csY77" fmla="*/ 766006 h 2018071"/>
              <a:gd name="csX78" fmla="*/ 2586954 w 3437996"/>
              <a:gd name="csY78" fmla="*/ 757512 h 2018071"/>
              <a:gd name="csX79" fmla="*/ 2585558 w 3437996"/>
              <a:gd name="csY79" fmla="*/ 756496 h 2018071"/>
              <a:gd name="csX80" fmla="*/ 2567871 w 3437996"/>
              <a:gd name="csY80" fmla="*/ 738486 h 2018071"/>
              <a:gd name="csX81" fmla="*/ 2566459 w 3437996"/>
              <a:gd name="csY81" fmla="*/ 737499 h 2018071"/>
              <a:gd name="csX82" fmla="*/ 2558352 w 3437996"/>
              <a:gd name="csY82" fmla="*/ 728962 h 2018071"/>
              <a:gd name="csX83" fmla="*/ 2556937 w 3437996"/>
              <a:gd name="csY83" fmla="*/ 727967 h 2018071"/>
              <a:gd name="csX84" fmla="*/ 2547432 w 3437996"/>
              <a:gd name="csY84" fmla="*/ 718414 h 2018071"/>
              <a:gd name="csX85" fmla="*/ 2539350 w 3437996"/>
              <a:gd name="csY85" fmla="*/ 709894 h 2018071"/>
              <a:gd name="csX86" fmla="*/ 2529865 w 3437996"/>
              <a:gd name="csY86" fmla="*/ 700356 h 2018071"/>
              <a:gd name="csX87" fmla="*/ 2528460 w 3437996"/>
              <a:gd name="csY87" fmla="*/ 699259 h 2018071"/>
              <a:gd name="csX88" fmla="*/ 2520386 w 3437996"/>
              <a:gd name="csY88" fmla="*/ 690820 h 2018071"/>
              <a:gd name="csX89" fmla="*/ 2510900 w 3437996"/>
              <a:gd name="csY89" fmla="*/ 681286 h 2018071"/>
              <a:gd name="csX90" fmla="*/ 2509493 w 3437996"/>
              <a:gd name="csY90" fmla="*/ 680082 h 2018071"/>
              <a:gd name="csX91" fmla="*/ 2501400 w 3437996"/>
              <a:gd name="csY91" fmla="*/ 671754 h 2018071"/>
              <a:gd name="csX92" fmla="*/ 2491892 w 3437996"/>
              <a:gd name="csY92" fmla="*/ 662222 h 2018071"/>
              <a:gd name="csX93" fmla="*/ 2480984 w 3437996"/>
              <a:gd name="csY93" fmla="*/ 651408 h 2018071"/>
              <a:gd name="csX94" fmla="*/ 2472919 w 3437996"/>
              <a:gd name="csY94" fmla="*/ 643127 h 2018071"/>
              <a:gd name="csX95" fmla="*/ 2471515 w 3437996"/>
              <a:gd name="csY95" fmla="*/ 641819 h 2018071"/>
              <a:gd name="csX96" fmla="*/ 2463424 w 3437996"/>
              <a:gd name="csY96" fmla="*/ 633584 h 2018071"/>
              <a:gd name="csX97" fmla="*/ 2462020 w 3437996"/>
              <a:gd name="csY97" fmla="*/ 632257 h 2018071"/>
              <a:gd name="csX98" fmla="*/ 2453925 w 3437996"/>
              <a:gd name="csY98" fmla="*/ 624049 h 2018071"/>
              <a:gd name="csX99" fmla="*/ 2452516 w 3437996"/>
              <a:gd name="csY99" fmla="*/ 622702 h 2018071"/>
              <a:gd name="csX100" fmla="*/ 2444450 w 3437996"/>
              <a:gd name="csY100" fmla="*/ 614506 h 2018071"/>
              <a:gd name="csX101" fmla="*/ 2434957 w 3437996"/>
              <a:gd name="csY101" fmla="*/ 604969 h 2018071"/>
              <a:gd name="csX102" fmla="*/ 2425486 w 3437996"/>
              <a:gd name="csY102" fmla="*/ 595418 h 2018071"/>
              <a:gd name="csX103" fmla="*/ 2424029 w 3437996"/>
              <a:gd name="csY103" fmla="*/ 593985 h 2018071"/>
              <a:gd name="csX104" fmla="*/ 2416081 w 3437996"/>
              <a:gd name="csY104" fmla="*/ 585841 h 2018071"/>
              <a:gd name="csX105" fmla="*/ 2406640 w 3437996"/>
              <a:gd name="csY105" fmla="*/ 576281 h 2018071"/>
              <a:gd name="csX106" fmla="*/ 2397176 w 3437996"/>
              <a:gd name="csY106" fmla="*/ 566733 h 2018071"/>
              <a:gd name="csX107" fmla="*/ 2387690 w 3437996"/>
              <a:gd name="csY107" fmla="*/ 557193 h 2018071"/>
              <a:gd name="csX108" fmla="*/ 2386050 w 3437996"/>
              <a:gd name="csY108" fmla="*/ 555624 h 2018071"/>
              <a:gd name="csX109" fmla="*/ 2378191 w 3437996"/>
              <a:gd name="csY109" fmla="*/ 547659 h 2018071"/>
              <a:gd name="csX110" fmla="*/ 2368704 w 3437996"/>
              <a:gd name="csY110" fmla="*/ 538124 h 2018071"/>
              <a:gd name="csX111" fmla="*/ 2367021 w 3437996"/>
              <a:gd name="csY111" fmla="*/ 536517 h 2018071"/>
              <a:gd name="csX112" fmla="*/ 2350552 w 3437996"/>
              <a:gd name="csY112" fmla="*/ 519835 h 2018071"/>
              <a:gd name="csX113" fmla="*/ 2348016 w 3437996"/>
              <a:gd name="csY113" fmla="*/ 517342 h 2018071"/>
              <a:gd name="csX114" fmla="*/ 2341054 w 3437996"/>
              <a:gd name="csY114" fmla="*/ 510297 h 2018071"/>
              <a:gd name="csX115" fmla="*/ 2322020 w 3437996"/>
              <a:gd name="csY115" fmla="*/ 491243 h 2018071"/>
              <a:gd name="csX116" fmla="*/ 2312510 w 3437996"/>
              <a:gd name="csY116" fmla="*/ 481725 h 2018071"/>
              <a:gd name="csX117" fmla="*/ 2309941 w 3437996"/>
              <a:gd name="csY117" fmla="*/ 479158 h 2018071"/>
              <a:gd name="csX118" fmla="*/ 2303024 w 3437996"/>
              <a:gd name="csY118" fmla="*/ 472210 h 2018071"/>
              <a:gd name="csX119" fmla="*/ 2300428 w 3437996"/>
              <a:gd name="csY119" fmla="*/ 469578 h 2018071"/>
              <a:gd name="csX120" fmla="*/ 2293545 w 3437996"/>
              <a:gd name="csY120" fmla="*/ 462697 h 2018071"/>
              <a:gd name="csX121" fmla="*/ 2284051 w 3437996"/>
              <a:gd name="csY121" fmla="*/ 453172 h 2018071"/>
              <a:gd name="csX122" fmla="*/ 2274560 w 3437996"/>
              <a:gd name="csY122" fmla="*/ 443646 h 2018071"/>
              <a:gd name="csX123" fmla="*/ 2265120 w 3437996"/>
              <a:gd name="csY123" fmla="*/ 434112 h 2018071"/>
              <a:gd name="csX124" fmla="*/ 2262409 w 3437996"/>
              <a:gd name="csY124" fmla="*/ 431189 h 2018071"/>
              <a:gd name="csX125" fmla="*/ 2252962 w 3437996"/>
              <a:gd name="csY125" fmla="*/ 421458 h 2018071"/>
              <a:gd name="csX126" fmla="*/ 2246361 w 3437996"/>
              <a:gd name="csY126" fmla="*/ 414989 h 2018071"/>
              <a:gd name="csX127" fmla="*/ 2226101 w 3437996"/>
              <a:gd name="csY127" fmla="*/ 394472 h 2018071"/>
              <a:gd name="csX128" fmla="*/ 2204126 w 3437996"/>
              <a:gd name="csY128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44017 w 3437996"/>
              <a:gd name="csY67" fmla="*/ 814773 h 2018071"/>
              <a:gd name="csX68" fmla="*/ 2642551 w 3437996"/>
              <a:gd name="csY68" fmla="*/ 813746 h 2018071"/>
              <a:gd name="csX69" fmla="*/ 2634494 w 3437996"/>
              <a:gd name="csY69" fmla="*/ 805208 h 2018071"/>
              <a:gd name="csX70" fmla="*/ 2633053 w 3437996"/>
              <a:gd name="csY70" fmla="*/ 804210 h 2018071"/>
              <a:gd name="csX71" fmla="*/ 2624994 w 3437996"/>
              <a:gd name="csY71" fmla="*/ 795655 h 2018071"/>
              <a:gd name="csX72" fmla="*/ 2623570 w 3437996"/>
              <a:gd name="csY72" fmla="*/ 794675 h 2018071"/>
              <a:gd name="csX73" fmla="*/ 2615495 w 3437996"/>
              <a:gd name="csY73" fmla="*/ 786111 h 2018071"/>
              <a:gd name="csX74" fmla="*/ 2606007 w 3437996"/>
              <a:gd name="csY74" fmla="*/ 776562 h 2018071"/>
              <a:gd name="csX75" fmla="*/ 2604609 w 3437996"/>
              <a:gd name="csY75" fmla="*/ 775538 h 2018071"/>
              <a:gd name="csX76" fmla="*/ 2596489 w 3437996"/>
              <a:gd name="csY76" fmla="*/ 767032 h 2018071"/>
              <a:gd name="csX77" fmla="*/ 2595095 w 3437996"/>
              <a:gd name="csY77" fmla="*/ 766006 h 2018071"/>
              <a:gd name="csX78" fmla="*/ 2586954 w 3437996"/>
              <a:gd name="csY78" fmla="*/ 757512 h 2018071"/>
              <a:gd name="csX79" fmla="*/ 2585558 w 3437996"/>
              <a:gd name="csY79" fmla="*/ 756496 h 2018071"/>
              <a:gd name="csX80" fmla="*/ 2566459 w 3437996"/>
              <a:gd name="csY80" fmla="*/ 737499 h 2018071"/>
              <a:gd name="csX81" fmla="*/ 2558352 w 3437996"/>
              <a:gd name="csY81" fmla="*/ 728962 h 2018071"/>
              <a:gd name="csX82" fmla="*/ 2556937 w 3437996"/>
              <a:gd name="csY82" fmla="*/ 727967 h 2018071"/>
              <a:gd name="csX83" fmla="*/ 2547432 w 3437996"/>
              <a:gd name="csY83" fmla="*/ 718414 h 2018071"/>
              <a:gd name="csX84" fmla="*/ 2539350 w 3437996"/>
              <a:gd name="csY84" fmla="*/ 709894 h 2018071"/>
              <a:gd name="csX85" fmla="*/ 2529865 w 3437996"/>
              <a:gd name="csY85" fmla="*/ 700356 h 2018071"/>
              <a:gd name="csX86" fmla="*/ 2528460 w 3437996"/>
              <a:gd name="csY86" fmla="*/ 699259 h 2018071"/>
              <a:gd name="csX87" fmla="*/ 2520386 w 3437996"/>
              <a:gd name="csY87" fmla="*/ 690820 h 2018071"/>
              <a:gd name="csX88" fmla="*/ 2510900 w 3437996"/>
              <a:gd name="csY88" fmla="*/ 681286 h 2018071"/>
              <a:gd name="csX89" fmla="*/ 2509493 w 3437996"/>
              <a:gd name="csY89" fmla="*/ 680082 h 2018071"/>
              <a:gd name="csX90" fmla="*/ 2501400 w 3437996"/>
              <a:gd name="csY90" fmla="*/ 671754 h 2018071"/>
              <a:gd name="csX91" fmla="*/ 2491892 w 3437996"/>
              <a:gd name="csY91" fmla="*/ 662222 h 2018071"/>
              <a:gd name="csX92" fmla="*/ 2480984 w 3437996"/>
              <a:gd name="csY92" fmla="*/ 651408 h 2018071"/>
              <a:gd name="csX93" fmla="*/ 2472919 w 3437996"/>
              <a:gd name="csY93" fmla="*/ 643127 h 2018071"/>
              <a:gd name="csX94" fmla="*/ 2471515 w 3437996"/>
              <a:gd name="csY94" fmla="*/ 641819 h 2018071"/>
              <a:gd name="csX95" fmla="*/ 2463424 w 3437996"/>
              <a:gd name="csY95" fmla="*/ 633584 h 2018071"/>
              <a:gd name="csX96" fmla="*/ 2462020 w 3437996"/>
              <a:gd name="csY96" fmla="*/ 632257 h 2018071"/>
              <a:gd name="csX97" fmla="*/ 2453925 w 3437996"/>
              <a:gd name="csY97" fmla="*/ 624049 h 2018071"/>
              <a:gd name="csX98" fmla="*/ 2452516 w 3437996"/>
              <a:gd name="csY98" fmla="*/ 622702 h 2018071"/>
              <a:gd name="csX99" fmla="*/ 2444450 w 3437996"/>
              <a:gd name="csY99" fmla="*/ 614506 h 2018071"/>
              <a:gd name="csX100" fmla="*/ 2434957 w 3437996"/>
              <a:gd name="csY100" fmla="*/ 604969 h 2018071"/>
              <a:gd name="csX101" fmla="*/ 2425486 w 3437996"/>
              <a:gd name="csY101" fmla="*/ 595418 h 2018071"/>
              <a:gd name="csX102" fmla="*/ 2424029 w 3437996"/>
              <a:gd name="csY102" fmla="*/ 593985 h 2018071"/>
              <a:gd name="csX103" fmla="*/ 2416081 w 3437996"/>
              <a:gd name="csY103" fmla="*/ 585841 h 2018071"/>
              <a:gd name="csX104" fmla="*/ 2406640 w 3437996"/>
              <a:gd name="csY104" fmla="*/ 576281 h 2018071"/>
              <a:gd name="csX105" fmla="*/ 2397176 w 3437996"/>
              <a:gd name="csY105" fmla="*/ 566733 h 2018071"/>
              <a:gd name="csX106" fmla="*/ 2387690 w 3437996"/>
              <a:gd name="csY106" fmla="*/ 557193 h 2018071"/>
              <a:gd name="csX107" fmla="*/ 2386050 w 3437996"/>
              <a:gd name="csY107" fmla="*/ 555624 h 2018071"/>
              <a:gd name="csX108" fmla="*/ 2378191 w 3437996"/>
              <a:gd name="csY108" fmla="*/ 547659 h 2018071"/>
              <a:gd name="csX109" fmla="*/ 2368704 w 3437996"/>
              <a:gd name="csY109" fmla="*/ 538124 h 2018071"/>
              <a:gd name="csX110" fmla="*/ 2367021 w 3437996"/>
              <a:gd name="csY110" fmla="*/ 536517 h 2018071"/>
              <a:gd name="csX111" fmla="*/ 2350552 w 3437996"/>
              <a:gd name="csY111" fmla="*/ 519835 h 2018071"/>
              <a:gd name="csX112" fmla="*/ 2348016 w 3437996"/>
              <a:gd name="csY112" fmla="*/ 517342 h 2018071"/>
              <a:gd name="csX113" fmla="*/ 2341054 w 3437996"/>
              <a:gd name="csY113" fmla="*/ 510297 h 2018071"/>
              <a:gd name="csX114" fmla="*/ 2322020 w 3437996"/>
              <a:gd name="csY114" fmla="*/ 491243 h 2018071"/>
              <a:gd name="csX115" fmla="*/ 2312510 w 3437996"/>
              <a:gd name="csY115" fmla="*/ 481725 h 2018071"/>
              <a:gd name="csX116" fmla="*/ 2309941 w 3437996"/>
              <a:gd name="csY116" fmla="*/ 479158 h 2018071"/>
              <a:gd name="csX117" fmla="*/ 2303024 w 3437996"/>
              <a:gd name="csY117" fmla="*/ 472210 h 2018071"/>
              <a:gd name="csX118" fmla="*/ 2300428 w 3437996"/>
              <a:gd name="csY118" fmla="*/ 469578 h 2018071"/>
              <a:gd name="csX119" fmla="*/ 2293545 w 3437996"/>
              <a:gd name="csY119" fmla="*/ 462697 h 2018071"/>
              <a:gd name="csX120" fmla="*/ 2284051 w 3437996"/>
              <a:gd name="csY120" fmla="*/ 453172 h 2018071"/>
              <a:gd name="csX121" fmla="*/ 2274560 w 3437996"/>
              <a:gd name="csY121" fmla="*/ 443646 h 2018071"/>
              <a:gd name="csX122" fmla="*/ 2265120 w 3437996"/>
              <a:gd name="csY122" fmla="*/ 434112 h 2018071"/>
              <a:gd name="csX123" fmla="*/ 2262409 w 3437996"/>
              <a:gd name="csY123" fmla="*/ 431189 h 2018071"/>
              <a:gd name="csX124" fmla="*/ 2252962 w 3437996"/>
              <a:gd name="csY124" fmla="*/ 421458 h 2018071"/>
              <a:gd name="csX125" fmla="*/ 2246361 w 3437996"/>
              <a:gd name="csY125" fmla="*/ 414989 h 2018071"/>
              <a:gd name="csX126" fmla="*/ 2226101 w 3437996"/>
              <a:gd name="csY126" fmla="*/ 394472 h 2018071"/>
              <a:gd name="csX127" fmla="*/ 2204126 w 3437996"/>
              <a:gd name="csY127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44017 w 3437996"/>
              <a:gd name="csY67" fmla="*/ 814773 h 2018071"/>
              <a:gd name="csX68" fmla="*/ 2642551 w 3437996"/>
              <a:gd name="csY68" fmla="*/ 813746 h 2018071"/>
              <a:gd name="csX69" fmla="*/ 2634494 w 3437996"/>
              <a:gd name="csY69" fmla="*/ 805208 h 2018071"/>
              <a:gd name="csX70" fmla="*/ 2633053 w 3437996"/>
              <a:gd name="csY70" fmla="*/ 804210 h 2018071"/>
              <a:gd name="csX71" fmla="*/ 2624994 w 3437996"/>
              <a:gd name="csY71" fmla="*/ 795655 h 2018071"/>
              <a:gd name="csX72" fmla="*/ 2623570 w 3437996"/>
              <a:gd name="csY72" fmla="*/ 794675 h 2018071"/>
              <a:gd name="csX73" fmla="*/ 2615495 w 3437996"/>
              <a:gd name="csY73" fmla="*/ 786111 h 2018071"/>
              <a:gd name="csX74" fmla="*/ 2606007 w 3437996"/>
              <a:gd name="csY74" fmla="*/ 776562 h 2018071"/>
              <a:gd name="csX75" fmla="*/ 2604609 w 3437996"/>
              <a:gd name="csY75" fmla="*/ 775538 h 2018071"/>
              <a:gd name="csX76" fmla="*/ 2596489 w 3437996"/>
              <a:gd name="csY76" fmla="*/ 767032 h 2018071"/>
              <a:gd name="csX77" fmla="*/ 2595095 w 3437996"/>
              <a:gd name="csY77" fmla="*/ 766006 h 2018071"/>
              <a:gd name="csX78" fmla="*/ 2586954 w 3437996"/>
              <a:gd name="csY78" fmla="*/ 757512 h 2018071"/>
              <a:gd name="csX79" fmla="*/ 2585558 w 3437996"/>
              <a:gd name="csY79" fmla="*/ 756496 h 2018071"/>
              <a:gd name="csX80" fmla="*/ 2566459 w 3437996"/>
              <a:gd name="csY80" fmla="*/ 737499 h 2018071"/>
              <a:gd name="csX81" fmla="*/ 2558352 w 3437996"/>
              <a:gd name="csY81" fmla="*/ 728962 h 2018071"/>
              <a:gd name="csX82" fmla="*/ 2547432 w 3437996"/>
              <a:gd name="csY82" fmla="*/ 718414 h 2018071"/>
              <a:gd name="csX83" fmla="*/ 2539350 w 3437996"/>
              <a:gd name="csY83" fmla="*/ 709894 h 2018071"/>
              <a:gd name="csX84" fmla="*/ 2529865 w 3437996"/>
              <a:gd name="csY84" fmla="*/ 700356 h 2018071"/>
              <a:gd name="csX85" fmla="*/ 2528460 w 3437996"/>
              <a:gd name="csY85" fmla="*/ 699259 h 2018071"/>
              <a:gd name="csX86" fmla="*/ 2520386 w 3437996"/>
              <a:gd name="csY86" fmla="*/ 690820 h 2018071"/>
              <a:gd name="csX87" fmla="*/ 2510900 w 3437996"/>
              <a:gd name="csY87" fmla="*/ 681286 h 2018071"/>
              <a:gd name="csX88" fmla="*/ 2509493 w 3437996"/>
              <a:gd name="csY88" fmla="*/ 680082 h 2018071"/>
              <a:gd name="csX89" fmla="*/ 2501400 w 3437996"/>
              <a:gd name="csY89" fmla="*/ 671754 h 2018071"/>
              <a:gd name="csX90" fmla="*/ 2491892 w 3437996"/>
              <a:gd name="csY90" fmla="*/ 662222 h 2018071"/>
              <a:gd name="csX91" fmla="*/ 2480984 w 3437996"/>
              <a:gd name="csY91" fmla="*/ 651408 h 2018071"/>
              <a:gd name="csX92" fmla="*/ 2472919 w 3437996"/>
              <a:gd name="csY92" fmla="*/ 643127 h 2018071"/>
              <a:gd name="csX93" fmla="*/ 2471515 w 3437996"/>
              <a:gd name="csY93" fmla="*/ 641819 h 2018071"/>
              <a:gd name="csX94" fmla="*/ 2463424 w 3437996"/>
              <a:gd name="csY94" fmla="*/ 633584 h 2018071"/>
              <a:gd name="csX95" fmla="*/ 2462020 w 3437996"/>
              <a:gd name="csY95" fmla="*/ 632257 h 2018071"/>
              <a:gd name="csX96" fmla="*/ 2453925 w 3437996"/>
              <a:gd name="csY96" fmla="*/ 624049 h 2018071"/>
              <a:gd name="csX97" fmla="*/ 2452516 w 3437996"/>
              <a:gd name="csY97" fmla="*/ 622702 h 2018071"/>
              <a:gd name="csX98" fmla="*/ 2444450 w 3437996"/>
              <a:gd name="csY98" fmla="*/ 614506 h 2018071"/>
              <a:gd name="csX99" fmla="*/ 2434957 w 3437996"/>
              <a:gd name="csY99" fmla="*/ 604969 h 2018071"/>
              <a:gd name="csX100" fmla="*/ 2425486 w 3437996"/>
              <a:gd name="csY100" fmla="*/ 595418 h 2018071"/>
              <a:gd name="csX101" fmla="*/ 2424029 w 3437996"/>
              <a:gd name="csY101" fmla="*/ 593985 h 2018071"/>
              <a:gd name="csX102" fmla="*/ 2416081 w 3437996"/>
              <a:gd name="csY102" fmla="*/ 585841 h 2018071"/>
              <a:gd name="csX103" fmla="*/ 2406640 w 3437996"/>
              <a:gd name="csY103" fmla="*/ 576281 h 2018071"/>
              <a:gd name="csX104" fmla="*/ 2397176 w 3437996"/>
              <a:gd name="csY104" fmla="*/ 566733 h 2018071"/>
              <a:gd name="csX105" fmla="*/ 2387690 w 3437996"/>
              <a:gd name="csY105" fmla="*/ 557193 h 2018071"/>
              <a:gd name="csX106" fmla="*/ 2386050 w 3437996"/>
              <a:gd name="csY106" fmla="*/ 555624 h 2018071"/>
              <a:gd name="csX107" fmla="*/ 2378191 w 3437996"/>
              <a:gd name="csY107" fmla="*/ 547659 h 2018071"/>
              <a:gd name="csX108" fmla="*/ 2368704 w 3437996"/>
              <a:gd name="csY108" fmla="*/ 538124 h 2018071"/>
              <a:gd name="csX109" fmla="*/ 2367021 w 3437996"/>
              <a:gd name="csY109" fmla="*/ 536517 h 2018071"/>
              <a:gd name="csX110" fmla="*/ 2350552 w 3437996"/>
              <a:gd name="csY110" fmla="*/ 519835 h 2018071"/>
              <a:gd name="csX111" fmla="*/ 2348016 w 3437996"/>
              <a:gd name="csY111" fmla="*/ 517342 h 2018071"/>
              <a:gd name="csX112" fmla="*/ 2341054 w 3437996"/>
              <a:gd name="csY112" fmla="*/ 510297 h 2018071"/>
              <a:gd name="csX113" fmla="*/ 2322020 w 3437996"/>
              <a:gd name="csY113" fmla="*/ 491243 h 2018071"/>
              <a:gd name="csX114" fmla="*/ 2312510 w 3437996"/>
              <a:gd name="csY114" fmla="*/ 481725 h 2018071"/>
              <a:gd name="csX115" fmla="*/ 2309941 w 3437996"/>
              <a:gd name="csY115" fmla="*/ 479158 h 2018071"/>
              <a:gd name="csX116" fmla="*/ 2303024 w 3437996"/>
              <a:gd name="csY116" fmla="*/ 472210 h 2018071"/>
              <a:gd name="csX117" fmla="*/ 2300428 w 3437996"/>
              <a:gd name="csY117" fmla="*/ 469578 h 2018071"/>
              <a:gd name="csX118" fmla="*/ 2293545 w 3437996"/>
              <a:gd name="csY118" fmla="*/ 462697 h 2018071"/>
              <a:gd name="csX119" fmla="*/ 2284051 w 3437996"/>
              <a:gd name="csY119" fmla="*/ 453172 h 2018071"/>
              <a:gd name="csX120" fmla="*/ 2274560 w 3437996"/>
              <a:gd name="csY120" fmla="*/ 443646 h 2018071"/>
              <a:gd name="csX121" fmla="*/ 2265120 w 3437996"/>
              <a:gd name="csY121" fmla="*/ 434112 h 2018071"/>
              <a:gd name="csX122" fmla="*/ 2262409 w 3437996"/>
              <a:gd name="csY122" fmla="*/ 431189 h 2018071"/>
              <a:gd name="csX123" fmla="*/ 2252962 w 3437996"/>
              <a:gd name="csY123" fmla="*/ 421458 h 2018071"/>
              <a:gd name="csX124" fmla="*/ 2246361 w 3437996"/>
              <a:gd name="csY124" fmla="*/ 414989 h 2018071"/>
              <a:gd name="csX125" fmla="*/ 2226101 w 3437996"/>
              <a:gd name="csY125" fmla="*/ 394472 h 2018071"/>
              <a:gd name="csX126" fmla="*/ 2204126 w 3437996"/>
              <a:gd name="csY126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44017 w 3437996"/>
              <a:gd name="csY67" fmla="*/ 814773 h 2018071"/>
              <a:gd name="csX68" fmla="*/ 2642551 w 3437996"/>
              <a:gd name="csY68" fmla="*/ 813746 h 2018071"/>
              <a:gd name="csX69" fmla="*/ 2634494 w 3437996"/>
              <a:gd name="csY69" fmla="*/ 805208 h 2018071"/>
              <a:gd name="csX70" fmla="*/ 2633053 w 3437996"/>
              <a:gd name="csY70" fmla="*/ 804210 h 2018071"/>
              <a:gd name="csX71" fmla="*/ 2624994 w 3437996"/>
              <a:gd name="csY71" fmla="*/ 795655 h 2018071"/>
              <a:gd name="csX72" fmla="*/ 2623570 w 3437996"/>
              <a:gd name="csY72" fmla="*/ 794675 h 2018071"/>
              <a:gd name="csX73" fmla="*/ 2615495 w 3437996"/>
              <a:gd name="csY73" fmla="*/ 786111 h 2018071"/>
              <a:gd name="csX74" fmla="*/ 2606007 w 3437996"/>
              <a:gd name="csY74" fmla="*/ 776562 h 2018071"/>
              <a:gd name="csX75" fmla="*/ 2604609 w 3437996"/>
              <a:gd name="csY75" fmla="*/ 775538 h 2018071"/>
              <a:gd name="csX76" fmla="*/ 2596489 w 3437996"/>
              <a:gd name="csY76" fmla="*/ 767032 h 2018071"/>
              <a:gd name="csX77" fmla="*/ 2595095 w 3437996"/>
              <a:gd name="csY77" fmla="*/ 766006 h 2018071"/>
              <a:gd name="csX78" fmla="*/ 2586954 w 3437996"/>
              <a:gd name="csY78" fmla="*/ 757512 h 2018071"/>
              <a:gd name="csX79" fmla="*/ 2585558 w 3437996"/>
              <a:gd name="csY79" fmla="*/ 756496 h 2018071"/>
              <a:gd name="csX80" fmla="*/ 2566459 w 3437996"/>
              <a:gd name="csY80" fmla="*/ 737499 h 2018071"/>
              <a:gd name="csX81" fmla="*/ 2558352 w 3437996"/>
              <a:gd name="csY81" fmla="*/ 728962 h 2018071"/>
              <a:gd name="csX82" fmla="*/ 2547432 w 3437996"/>
              <a:gd name="csY82" fmla="*/ 718414 h 2018071"/>
              <a:gd name="csX83" fmla="*/ 2539350 w 3437996"/>
              <a:gd name="csY83" fmla="*/ 709894 h 2018071"/>
              <a:gd name="csX84" fmla="*/ 2529865 w 3437996"/>
              <a:gd name="csY84" fmla="*/ 700356 h 2018071"/>
              <a:gd name="csX85" fmla="*/ 2528460 w 3437996"/>
              <a:gd name="csY85" fmla="*/ 699259 h 2018071"/>
              <a:gd name="csX86" fmla="*/ 2510900 w 3437996"/>
              <a:gd name="csY86" fmla="*/ 681286 h 2018071"/>
              <a:gd name="csX87" fmla="*/ 2509493 w 3437996"/>
              <a:gd name="csY87" fmla="*/ 680082 h 2018071"/>
              <a:gd name="csX88" fmla="*/ 2501400 w 3437996"/>
              <a:gd name="csY88" fmla="*/ 671754 h 2018071"/>
              <a:gd name="csX89" fmla="*/ 2491892 w 3437996"/>
              <a:gd name="csY89" fmla="*/ 662222 h 2018071"/>
              <a:gd name="csX90" fmla="*/ 2480984 w 3437996"/>
              <a:gd name="csY90" fmla="*/ 651408 h 2018071"/>
              <a:gd name="csX91" fmla="*/ 2472919 w 3437996"/>
              <a:gd name="csY91" fmla="*/ 643127 h 2018071"/>
              <a:gd name="csX92" fmla="*/ 2471515 w 3437996"/>
              <a:gd name="csY92" fmla="*/ 641819 h 2018071"/>
              <a:gd name="csX93" fmla="*/ 2463424 w 3437996"/>
              <a:gd name="csY93" fmla="*/ 633584 h 2018071"/>
              <a:gd name="csX94" fmla="*/ 2462020 w 3437996"/>
              <a:gd name="csY94" fmla="*/ 632257 h 2018071"/>
              <a:gd name="csX95" fmla="*/ 2453925 w 3437996"/>
              <a:gd name="csY95" fmla="*/ 624049 h 2018071"/>
              <a:gd name="csX96" fmla="*/ 2452516 w 3437996"/>
              <a:gd name="csY96" fmla="*/ 622702 h 2018071"/>
              <a:gd name="csX97" fmla="*/ 2444450 w 3437996"/>
              <a:gd name="csY97" fmla="*/ 614506 h 2018071"/>
              <a:gd name="csX98" fmla="*/ 2434957 w 3437996"/>
              <a:gd name="csY98" fmla="*/ 604969 h 2018071"/>
              <a:gd name="csX99" fmla="*/ 2425486 w 3437996"/>
              <a:gd name="csY99" fmla="*/ 595418 h 2018071"/>
              <a:gd name="csX100" fmla="*/ 2424029 w 3437996"/>
              <a:gd name="csY100" fmla="*/ 593985 h 2018071"/>
              <a:gd name="csX101" fmla="*/ 2416081 w 3437996"/>
              <a:gd name="csY101" fmla="*/ 585841 h 2018071"/>
              <a:gd name="csX102" fmla="*/ 2406640 w 3437996"/>
              <a:gd name="csY102" fmla="*/ 576281 h 2018071"/>
              <a:gd name="csX103" fmla="*/ 2397176 w 3437996"/>
              <a:gd name="csY103" fmla="*/ 566733 h 2018071"/>
              <a:gd name="csX104" fmla="*/ 2387690 w 3437996"/>
              <a:gd name="csY104" fmla="*/ 557193 h 2018071"/>
              <a:gd name="csX105" fmla="*/ 2386050 w 3437996"/>
              <a:gd name="csY105" fmla="*/ 555624 h 2018071"/>
              <a:gd name="csX106" fmla="*/ 2378191 w 3437996"/>
              <a:gd name="csY106" fmla="*/ 547659 h 2018071"/>
              <a:gd name="csX107" fmla="*/ 2368704 w 3437996"/>
              <a:gd name="csY107" fmla="*/ 538124 h 2018071"/>
              <a:gd name="csX108" fmla="*/ 2367021 w 3437996"/>
              <a:gd name="csY108" fmla="*/ 536517 h 2018071"/>
              <a:gd name="csX109" fmla="*/ 2350552 w 3437996"/>
              <a:gd name="csY109" fmla="*/ 519835 h 2018071"/>
              <a:gd name="csX110" fmla="*/ 2348016 w 3437996"/>
              <a:gd name="csY110" fmla="*/ 517342 h 2018071"/>
              <a:gd name="csX111" fmla="*/ 2341054 w 3437996"/>
              <a:gd name="csY111" fmla="*/ 510297 h 2018071"/>
              <a:gd name="csX112" fmla="*/ 2322020 w 3437996"/>
              <a:gd name="csY112" fmla="*/ 491243 h 2018071"/>
              <a:gd name="csX113" fmla="*/ 2312510 w 3437996"/>
              <a:gd name="csY113" fmla="*/ 481725 h 2018071"/>
              <a:gd name="csX114" fmla="*/ 2309941 w 3437996"/>
              <a:gd name="csY114" fmla="*/ 479158 h 2018071"/>
              <a:gd name="csX115" fmla="*/ 2303024 w 3437996"/>
              <a:gd name="csY115" fmla="*/ 472210 h 2018071"/>
              <a:gd name="csX116" fmla="*/ 2300428 w 3437996"/>
              <a:gd name="csY116" fmla="*/ 469578 h 2018071"/>
              <a:gd name="csX117" fmla="*/ 2293545 w 3437996"/>
              <a:gd name="csY117" fmla="*/ 462697 h 2018071"/>
              <a:gd name="csX118" fmla="*/ 2284051 w 3437996"/>
              <a:gd name="csY118" fmla="*/ 453172 h 2018071"/>
              <a:gd name="csX119" fmla="*/ 2274560 w 3437996"/>
              <a:gd name="csY119" fmla="*/ 443646 h 2018071"/>
              <a:gd name="csX120" fmla="*/ 2265120 w 3437996"/>
              <a:gd name="csY120" fmla="*/ 434112 h 2018071"/>
              <a:gd name="csX121" fmla="*/ 2262409 w 3437996"/>
              <a:gd name="csY121" fmla="*/ 431189 h 2018071"/>
              <a:gd name="csX122" fmla="*/ 2252962 w 3437996"/>
              <a:gd name="csY122" fmla="*/ 421458 h 2018071"/>
              <a:gd name="csX123" fmla="*/ 2246361 w 3437996"/>
              <a:gd name="csY123" fmla="*/ 414989 h 2018071"/>
              <a:gd name="csX124" fmla="*/ 2226101 w 3437996"/>
              <a:gd name="csY124" fmla="*/ 394472 h 2018071"/>
              <a:gd name="csX125" fmla="*/ 2204126 w 3437996"/>
              <a:gd name="csY125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44017 w 3437996"/>
              <a:gd name="csY67" fmla="*/ 814773 h 2018071"/>
              <a:gd name="csX68" fmla="*/ 2642551 w 3437996"/>
              <a:gd name="csY68" fmla="*/ 813746 h 2018071"/>
              <a:gd name="csX69" fmla="*/ 2634494 w 3437996"/>
              <a:gd name="csY69" fmla="*/ 805208 h 2018071"/>
              <a:gd name="csX70" fmla="*/ 2633053 w 3437996"/>
              <a:gd name="csY70" fmla="*/ 804210 h 2018071"/>
              <a:gd name="csX71" fmla="*/ 2624994 w 3437996"/>
              <a:gd name="csY71" fmla="*/ 795655 h 2018071"/>
              <a:gd name="csX72" fmla="*/ 2623570 w 3437996"/>
              <a:gd name="csY72" fmla="*/ 794675 h 2018071"/>
              <a:gd name="csX73" fmla="*/ 2615495 w 3437996"/>
              <a:gd name="csY73" fmla="*/ 786111 h 2018071"/>
              <a:gd name="csX74" fmla="*/ 2606007 w 3437996"/>
              <a:gd name="csY74" fmla="*/ 776562 h 2018071"/>
              <a:gd name="csX75" fmla="*/ 2604609 w 3437996"/>
              <a:gd name="csY75" fmla="*/ 775538 h 2018071"/>
              <a:gd name="csX76" fmla="*/ 2596489 w 3437996"/>
              <a:gd name="csY76" fmla="*/ 767032 h 2018071"/>
              <a:gd name="csX77" fmla="*/ 2595095 w 3437996"/>
              <a:gd name="csY77" fmla="*/ 766006 h 2018071"/>
              <a:gd name="csX78" fmla="*/ 2586954 w 3437996"/>
              <a:gd name="csY78" fmla="*/ 757512 h 2018071"/>
              <a:gd name="csX79" fmla="*/ 2585558 w 3437996"/>
              <a:gd name="csY79" fmla="*/ 756496 h 2018071"/>
              <a:gd name="csX80" fmla="*/ 2566459 w 3437996"/>
              <a:gd name="csY80" fmla="*/ 737499 h 2018071"/>
              <a:gd name="csX81" fmla="*/ 2558352 w 3437996"/>
              <a:gd name="csY81" fmla="*/ 728962 h 2018071"/>
              <a:gd name="csX82" fmla="*/ 2547432 w 3437996"/>
              <a:gd name="csY82" fmla="*/ 718414 h 2018071"/>
              <a:gd name="csX83" fmla="*/ 2539350 w 3437996"/>
              <a:gd name="csY83" fmla="*/ 709894 h 2018071"/>
              <a:gd name="csX84" fmla="*/ 2529865 w 3437996"/>
              <a:gd name="csY84" fmla="*/ 700356 h 2018071"/>
              <a:gd name="csX85" fmla="*/ 2528460 w 3437996"/>
              <a:gd name="csY85" fmla="*/ 699259 h 2018071"/>
              <a:gd name="csX86" fmla="*/ 2510900 w 3437996"/>
              <a:gd name="csY86" fmla="*/ 681286 h 2018071"/>
              <a:gd name="csX87" fmla="*/ 2509493 w 3437996"/>
              <a:gd name="csY87" fmla="*/ 680082 h 2018071"/>
              <a:gd name="csX88" fmla="*/ 2501400 w 3437996"/>
              <a:gd name="csY88" fmla="*/ 671754 h 2018071"/>
              <a:gd name="csX89" fmla="*/ 2480984 w 3437996"/>
              <a:gd name="csY89" fmla="*/ 651408 h 2018071"/>
              <a:gd name="csX90" fmla="*/ 2472919 w 3437996"/>
              <a:gd name="csY90" fmla="*/ 643127 h 2018071"/>
              <a:gd name="csX91" fmla="*/ 2471515 w 3437996"/>
              <a:gd name="csY91" fmla="*/ 641819 h 2018071"/>
              <a:gd name="csX92" fmla="*/ 2463424 w 3437996"/>
              <a:gd name="csY92" fmla="*/ 633584 h 2018071"/>
              <a:gd name="csX93" fmla="*/ 2462020 w 3437996"/>
              <a:gd name="csY93" fmla="*/ 632257 h 2018071"/>
              <a:gd name="csX94" fmla="*/ 2453925 w 3437996"/>
              <a:gd name="csY94" fmla="*/ 624049 h 2018071"/>
              <a:gd name="csX95" fmla="*/ 2452516 w 3437996"/>
              <a:gd name="csY95" fmla="*/ 622702 h 2018071"/>
              <a:gd name="csX96" fmla="*/ 2444450 w 3437996"/>
              <a:gd name="csY96" fmla="*/ 614506 h 2018071"/>
              <a:gd name="csX97" fmla="*/ 2434957 w 3437996"/>
              <a:gd name="csY97" fmla="*/ 604969 h 2018071"/>
              <a:gd name="csX98" fmla="*/ 2425486 w 3437996"/>
              <a:gd name="csY98" fmla="*/ 595418 h 2018071"/>
              <a:gd name="csX99" fmla="*/ 2424029 w 3437996"/>
              <a:gd name="csY99" fmla="*/ 593985 h 2018071"/>
              <a:gd name="csX100" fmla="*/ 2416081 w 3437996"/>
              <a:gd name="csY100" fmla="*/ 585841 h 2018071"/>
              <a:gd name="csX101" fmla="*/ 2406640 w 3437996"/>
              <a:gd name="csY101" fmla="*/ 576281 h 2018071"/>
              <a:gd name="csX102" fmla="*/ 2397176 w 3437996"/>
              <a:gd name="csY102" fmla="*/ 566733 h 2018071"/>
              <a:gd name="csX103" fmla="*/ 2387690 w 3437996"/>
              <a:gd name="csY103" fmla="*/ 557193 h 2018071"/>
              <a:gd name="csX104" fmla="*/ 2386050 w 3437996"/>
              <a:gd name="csY104" fmla="*/ 555624 h 2018071"/>
              <a:gd name="csX105" fmla="*/ 2378191 w 3437996"/>
              <a:gd name="csY105" fmla="*/ 547659 h 2018071"/>
              <a:gd name="csX106" fmla="*/ 2368704 w 3437996"/>
              <a:gd name="csY106" fmla="*/ 538124 h 2018071"/>
              <a:gd name="csX107" fmla="*/ 2367021 w 3437996"/>
              <a:gd name="csY107" fmla="*/ 536517 h 2018071"/>
              <a:gd name="csX108" fmla="*/ 2350552 w 3437996"/>
              <a:gd name="csY108" fmla="*/ 519835 h 2018071"/>
              <a:gd name="csX109" fmla="*/ 2348016 w 3437996"/>
              <a:gd name="csY109" fmla="*/ 517342 h 2018071"/>
              <a:gd name="csX110" fmla="*/ 2341054 w 3437996"/>
              <a:gd name="csY110" fmla="*/ 510297 h 2018071"/>
              <a:gd name="csX111" fmla="*/ 2322020 w 3437996"/>
              <a:gd name="csY111" fmla="*/ 491243 h 2018071"/>
              <a:gd name="csX112" fmla="*/ 2312510 w 3437996"/>
              <a:gd name="csY112" fmla="*/ 481725 h 2018071"/>
              <a:gd name="csX113" fmla="*/ 2309941 w 3437996"/>
              <a:gd name="csY113" fmla="*/ 479158 h 2018071"/>
              <a:gd name="csX114" fmla="*/ 2303024 w 3437996"/>
              <a:gd name="csY114" fmla="*/ 472210 h 2018071"/>
              <a:gd name="csX115" fmla="*/ 2300428 w 3437996"/>
              <a:gd name="csY115" fmla="*/ 469578 h 2018071"/>
              <a:gd name="csX116" fmla="*/ 2293545 w 3437996"/>
              <a:gd name="csY116" fmla="*/ 462697 h 2018071"/>
              <a:gd name="csX117" fmla="*/ 2284051 w 3437996"/>
              <a:gd name="csY117" fmla="*/ 453172 h 2018071"/>
              <a:gd name="csX118" fmla="*/ 2274560 w 3437996"/>
              <a:gd name="csY118" fmla="*/ 443646 h 2018071"/>
              <a:gd name="csX119" fmla="*/ 2265120 w 3437996"/>
              <a:gd name="csY119" fmla="*/ 434112 h 2018071"/>
              <a:gd name="csX120" fmla="*/ 2262409 w 3437996"/>
              <a:gd name="csY120" fmla="*/ 431189 h 2018071"/>
              <a:gd name="csX121" fmla="*/ 2252962 w 3437996"/>
              <a:gd name="csY121" fmla="*/ 421458 h 2018071"/>
              <a:gd name="csX122" fmla="*/ 2246361 w 3437996"/>
              <a:gd name="csY122" fmla="*/ 414989 h 2018071"/>
              <a:gd name="csX123" fmla="*/ 2226101 w 3437996"/>
              <a:gd name="csY123" fmla="*/ 394472 h 2018071"/>
              <a:gd name="csX124" fmla="*/ 2204126 w 3437996"/>
              <a:gd name="csY124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44017 w 3437996"/>
              <a:gd name="csY67" fmla="*/ 814773 h 2018071"/>
              <a:gd name="csX68" fmla="*/ 2642551 w 3437996"/>
              <a:gd name="csY68" fmla="*/ 813746 h 2018071"/>
              <a:gd name="csX69" fmla="*/ 2634494 w 3437996"/>
              <a:gd name="csY69" fmla="*/ 805208 h 2018071"/>
              <a:gd name="csX70" fmla="*/ 2633053 w 3437996"/>
              <a:gd name="csY70" fmla="*/ 804210 h 2018071"/>
              <a:gd name="csX71" fmla="*/ 2624994 w 3437996"/>
              <a:gd name="csY71" fmla="*/ 795655 h 2018071"/>
              <a:gd name="csX72" fmla="*/ 2623570 w 3437996"/>
              <a:gd name="csY72" fmla="*/ 794675 h 2018071"/>
              <a:gd name="csX73" fmla="*/ 2615495 w 3437996"/>
              <a:gd name="csY73" fmla="*/ 786111 h 2018071"/>
              <a:gd name="csX74" fmla="*/ 2606007 w 3437996"/>
              <a:gd name="csY74" fmla="*/ 776562 h 2018071"/>
              <a:gd name="csX75" fmla="*/ 2604609 w 3437996"/>
              <a:gd name="csY75" fmla="*/ 775538 h 2018071"/>
              <a:gd name="csX76" fmla="*/ 2596489 w 3437996"/>
              <a:gd name="csY76" fmla="*/ 767032 h 2018071"/>
              <a:gd name="csX77" fmla="*/ 2595095 w 3437996"/>
              <a:gd name="csY77" fmla="*/ 766006 h 2018071"/>
              <a:gd name="csX78" fmla="*/ 2586954 w 3437996"/>
              <a:gd name="csY78" fmla="*/ 757512 h 2018071"/>
              <a:gd name="csX79" fmla="*/ 2585558 w 3437996"/>
              <a:gd name="csY79" fmla="*/ 756496 h 2018071"/>
              <a:gd name="csX80" fmla="*/ 2566459 w 3437996"/>
              <a:gd name="csY80" fmla="*/ 737499 h 2018071"/>
              <a:gd name="csX81" fmla="*/ 2558352 w 3437996"/>
              <a:gd name="csY81" fmla="*/ 728962 h 2018071"/>
              <a:gd name="csX82" fmla="*/ 2547432 w 3437996"/>
              <a:gd name="csY82" fmla="*/ 718414 h 2018071"/>
              <a:gd name="csX83" fmla="*/ 2539350 w 3437996"/>
              <a:gd name="csY83" fmla="*/ 709894 h 2018071"/>
              <a:gd name="csX84" fmla="*/ 2529865 w 3437996"/>
              <a:gd name="csY84" fmla="*/ 700356 h 2018071"/>
              <a:gd name="csX85" fmla="*/ 2528460 w 3437996"/>
              <a:gd name="csY85" fmla="*/ 699259 h 2018071"/>
              <a:gd name="csX86" fmla="*/ 2510900 w 3437996"/>
              <a:gd name="csY86" fmla="*/ 681286 h 2018071"/>
              <a:gd name="csX87" fmla="*/ 2509493 w 3437996"/>
              <a:gd name="csY87" fmla="*/ 680082 h 2018071"/>
              <a:gd name="csX88" fmla="*/ 2501400 w 3437996"/>
              <a:gd name="csY88" fmla="*/ 671754 h 2018071"/>
              <a:gd name="csX89" fmla="*/ 2480984 w 3437996"/>
              <a:gd name="csY89" fmla="*/ 651408 h 2018071"/>
              <a:gd name="csX90" fmla="*/ 2472919 w 3437996"/>
              <a:gd name="csY90" fmla="*/ 643127 h 2018071"/>
              <a:gd name="csX91" fmla="*/ 2471515 w 3437996"/>
              <a:gd name="csY91" fmla="*/ 641819 h 2018071"/>
              <a:gd name="csX92" fmla="*/ 2462020 w 3437996"/>
              <a:gd name="csY92" fmla="*/ 632257 h 2018071"/>
              <a:gd name="csX93" fmla="*/ 2453925 w 3437996"/>
              <a:gd name="csY93" fmla="*/ 624049 h 2018071"/>
              <a:gd name="csX94" fmla="*/ 2452516 w 3437996"/>
              <a:gd name="csY94" fmla="*/ 622702 h 2018071"/>
              <a:gd name="csX95" fmla="*/ 2444450 w 3437996"/>
              <a:gd name="csY95" fmla="*/ 614506 h 2018071"/>
              <a:gd name="csX96" fmla="*/ 2434957 w 3437996"/>
              <a:gd name="csY96" fmla="*/ 604969 h 2018071"/>
              <a:gd name="csX97" fmla="*/ 2425486 w 3437996"/>
              <a:gd name="csY97" fmla="*/ 595418 h 2018071"/>
              <a:gd name="csX98" fmla="*/ 2424029 w 3437996"/>
              <a:gd name="csY98" fmla="*/ 593985 h 2018071"/>
              <a:gd name="csX99" fmla="*/ 2416081 w 3437996"/>
              <a:gd name="csY99" fmla="*/ 585841 h 2018071"/>
              <a:gd name="csX100" fmla="*/ 2406640 w 3437996"/>
              <a:gd name="csY100" fmla="*/ 576281 h 2018071"/>
              <a:gd name="csX101" fmla="*/ 2397176 w 3437996"/>
              <a:gd name="csY101" fmla="*/ 566733 h 2018071"/>
              <a:gd name="csX102" fmla="*/ 2387690 w 3437996"/>
              <a:gd name="csY102" fmla="*/ 557193 h 2018071"/>
              <a:gd name="csX103" fmla="*/ 2386050 w 3437996"/>
              <a:gd name="csY103" fmla="*/ 555624 h 2018071"/>
              <a:gd name="csX104" fmla="*/ 2378191 w 3437996"/>
              <a:gd name="csY104" fmla="*/ 547659 h 2018071"/>
              <a:gd name="csX105" fmla="*/ 2368704 w 3437996"/>
              <a:gd name="csY105" fmla="*/ 538124 h 2018071"/>
              <a:gd name="csX106" fmla="*/ 2367021 w 3437996"/>
              <a:gd name="csY106" fmla="*/ 536517 h 2018071"/>
              <a:gd name="csX107" fmla="*/ 2350552 w 3437996"/>
              <a:gd name="csY107" fmla="*/ 519835 h 2018071"/>
              <a:gd name="csX108" fmla="*/ 2348016 w 3437996"/>
              <a:gd name="csY108" fmla="*/ 517342 h 2018071"/>
              <a:gd name="csX109" fmla="*/ 2341054 w 3437996"/>
              <a:gd name="csY109" fmla="*/ 510297 h 2018071"/>
              <a:gd name="csX110" fmla="*/ 2322020 w 3437996"/>
              <a:gd name="csY110" fmla="*/ 491243 h 2018071"/>
              <a:gd name="csX111" fmla="*/ 2312510 w 3437996"/>
              <a:gd name="csY111" fmla="*/ 481725 h 2018071"/>
              <a:gd name="csX112" fmla="*/ 2309941 w 3437996"/>
              <a:gd name="csY112" fmla="*/ 479158 h 2018071"/>
              <a:gd name="csX113" fmla="*/ 2303024 w 3437996"/>
              <a:gd name="csY113" fmla="*/ 472210 h 2018071"/>
              <a:gd name="csX114" fmla="*/ 2300428 w 3437996"/>
              <a:gd name="csY114" fmla="*/ 469578 h 2018071"/>
              <a:gd name="csX115" fmla="*/ 2293545 w 3437996"/>
              <a:gd name="csY115" fmla="*/ 462697 h 2018071"/>
              <a:gd name="csX116" fmla="*/ 2284051 w 3437996"/>
              <a:gd name="csY116" fmla="*/ 453172 h 2018071"/>
              <a:gd name="csX117" fmla="*/ 2274560 w 3437996"/>
              <a:gd name="csY117" fmla="*/ 443646 h 2018071"/>
              <a:gd name="csX118" fmla="*/ 2265120 w 3437996"/>
              <a:gd name="csY118" fmla="*/ 434112 h 2018071"/>
              <a:gd name="csX119" fmla="*/ 2262409 w 3437996"/>
              <a:gd name="csY119" fmla="*/ 431189 h 2018071"/>
              <a:gd name="csX120" fmla="*/ 2252962 w 3437996"/>
              <a:gd name="csY120" fmla="*/ 421458 h 2018071"/>
              <a:gd name="csX121" fmla="*/ 2246361 w 3437996"/>
              <a:gd name="csY121" fmla="*/ 414989 h 2018071"/>
              <a:gd name="csX122" fmla="*/ 2226101 w 3437996"/>
              <a:gd name="csY122" fmla="*/ 394472 h 2018071"/>
              <a:gd name="csX123" fmla="*/ 2204126 w 3437996"/>
              <a:gd name="csY123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44017 w 3437996"/>
              <a:gd name="csY67" fmla="*/ 814773 h 2018071"/>
              <a:gd name="csX68" fmla="*/ 2642551 w 3437996"/>
              <a:gd name="csY68" fmla="*/ 813746 h 2018071"/>
              <a:gd name="csX69" fmla="*/ 2634494 w 3437996"/>
              <a:gd name="csY69" fmla="*/ 805208 h 2018071"/>
              <a:gd name="csX70" fmla="*/ 2633053 w 3437996"/>
              <a:gd name="csY70" fmla="*/ 804210 h 2018071"/>
              <a:gd name="csX71" fmla="*/ 2624994 w 3437996"/>
              <a:gd name="csY71" fmla="*/ 795655 h 2018071"/>
              <a:gd name="csX72" fmla="*/ 2623570 w 3437996"/>
              <a:gd name="csY72" fmla="*/ 794675 h 2018071"/>
              <a:gd name="csX73" fmla="*/ 2615495 w 3437996"/>
              <a:gd name="csY73" fmla="*/ 786111 h 2018071"/>
              <a:gd name="csX74" fmla="*/ 2606007 w 3437996"/>
              <a:gd name="csY74" fmla="*/ 776562 h 2018071"/>
              <a:gd name="csX75" fmla="*/ 2604609 w 3437996"/>
              <a:gd name="csY75" fmla="*/ 775538 h 2018071"/>
              <a:gd name="csX76" fmla="*/ 2596489 w 3437996"/>
              <a:gd name="csY76" fmla="*/ 767032 h 2018071"/>
              <a:gd name="csX77" fmla="*/ 2595095 w 3437996"/>
              <a:gd name="csY77" fmla="*/ 766006 h 2018071"/>
              <a:gd name="csX78" fmla="*/ 2586954 w 3437996"/>
              <a:gd name="csY78" fmla="*/ 757512 h 2018071"/>
              <a:gd name="csX79" fmla="*/ 2585558 w 3437996"/>
              <a:gd name="csY79" fmla="*/ 756496 h 2018071"/>
              <a:gd name="csX80" fmla="*/ 2566459 w 3437996"/>
              <a:gd name="csY80" fmla="*/ 737499 h 2018071"/>
              <a:gd name="csX81" fmla="*/ 2558352 w 3437996"/>
              <a:gd name="csY81" fmla="*/ 728962 h 2018071"/>
              <a:gd name="csX82" fmla="*/ 2547432 w 3437996"/>
              <a:gd name="csY82" fmla="*/ 718414 h 2018071"/>
              <a:gd name="csX83" fmla="*/ 2539350 w 3437996"/>
              <a:gd name="csY83" fmla="*/ 709894 h 2018071"/>
              <a:gd name="csX84" fmla="*/ 2529865 w 3437996"/>
              <a:gd name="csY84" fmla="*/ 700356 h 2018071"/>
              <a:gd name="csX85" fmla="*/ 2528460 w 3437996"/>
              <a:gd name="csY85" fmla="*/ 699259 h 2018071"/>
              <a:gd name="csX86" fmla="*/ 2510900 w 3437996"/>
              <a:gd name="csY86" fmla="*/ 681286 h 2018071"/>
              <a:gd name="csX87" fmla="*/ 2509493 w 3437996"/>
              <a:gd name="csY87" fmla="*/ 680082 h 2018071"/>
              <a:gd name="csX88" fmla="*/ 2501400 w 3437996"/>
              <a:gd name="csY88" fmla="*/ 671754 h 2018071"/>
              <a:gd name="csX89" fmla="*/ 2480984 w 3437996"/>
              <a:gd name="csY89" fmla="*/ 651408 h 2018071"/>
              <a:gd name="csX90" fmla="*/ 2472919 w 3437996"/>
              <a:gd name="csY90" fmla="*/ 643127 h 2018071"/>
              <a:gd name="csX91" fmla="*/ 2471515 w 3437996"/>
              <a:gd name="csY91" fmla="*/ 641819 h 2018071"/>
              <a:gd name="csX92" fmla="*/ 2462020 w 3437996"/>
              <a:gd name="csY92" fmla="*/ 632257 h 2018071"/>
              <a:gd name="csX93" fmla="*/ 2453925 w 3437996"/>
              <a:gd name="csY93" fmla="*/ 624049 h 2018071"/>
              <a:gd name="csX94" fmla="*/ 2452516 w 3437996"/>
              <a:gd name="csY94" fmla="*/ 622702 h 2018071"/>
              <a:gd name="csX95" fmla="*/ 2434957 w 3437996"/>
              <a:gd name="csY95" fmla="*/ 604969 h 2018071"/>
              <a:gd name="csX96" fmla="*/ 2425486 w 3437996"/>
              <a:gd name="csY96" fmla="*/ 595418 h 2018071"/>
              <a:gd name="csX97" fmla="*/ 2424029 w 3437996"/>
              <a:gd name="csY97" fmla="*/ 593985 h 2018071"/>
              <a:gd name="csX98" fmla="*/ 2416081 w 3437996"/>
              <a:gd name="csY98" fmla="*/ 585841 h 2018071"/>
              <a:gd name="csX99" fmla="*/ 2406640 w 3437996"/>
              <a:gd name="csY99" fmla="*/ 576281 h 2018071"/>
              <a:gd name="csX100" fmla="*/ 2397176 w 3437996"/>
              <a:gd name="csY100" fmla="*/ 566733 h 2018071"/>
              <a:gd name="csX101" fmla="*/ 2387690 w 3437996"/>
              <a:gd name="csY101" fmla="*/ 557193 h 2018071"/>
              <a:gd name="csX102" fmla="*/ 2386050 w 3437996"/>
              <a:gd name="csY102" fmla="*/ 555624 h 2018071"/>
              <a:gd name="csX103" fmla="*/ 2378191 w 3437996"/>
              <a:gd name="csY103" fmla="*/ 547659 h 2018071"/>
              <a:gd name="csX104" fmla="*/ 2368704 w 3437996"/>
              <a:gd name="csY104" fmla="*/ 538124 h 2018071"/>
              <a:gd name="csX105" fmla="*/ 2367021 w 3437996"/>
              <a:gd name="csY105" fmla="*/ 536517 h 2018071"/>
              <a:gd name="csX106" fmla="*/ 2350552 w 3437996"/>
              <a:gd name="csY106" fmla="*/ 519835 h 2018071"/>
              <a:gd name="csX107" fmla="*/ 2348016 w 3437996"/>
              <a:gd name="csY107" fmla="*/ 517342 h 2018071"/>
              <a:gd name="csX108" fmla="*/ 2341054 w 3437996"/>
              <a:gd name="csY108" fmla="*/ 510297 h 2018071"/>
              <a:gd name="csX109" fmla="*/ 2322020 w 3437996"/>
              <a:gd name="csY109" fmla="*/ 491243 h 2018071"/>
              <a:gd name="csX110" fmla="*/ 2312510 w 3437996"/>
              <a:gd name="csY110" fmla="*/ 481725 h 2018071"/>
              <a:gd name="csX111" fmla="*/ 2309941 w 3437996"/>
              <a:gd name="csY111" fmla="*/ 479158 h 2018071"/>
              <a:gd name="csX112" fmla="*/ 2303024 w 3437996"/>
              <a:gd name="csY112" fmla="*/ 472210 h 2018071"/>
              <a:gd name="csX113" fmla="*/ 2300428 w 3437996"/>
              <a:gd name="csY113" fmla="*/ 469578 h 2018071"/>
              <a:gd name="csX114" fmla="*/ 2293545 w 3437996"/>
              <a:gd name="csY114" fmla="*/ 462697 h 2018071"/>
              <a:gd name="csX115" fmla="*/ 2284051 w 3437996"/>
              <a:gd name="csY115" fmla="*/ 453172 h 2018071"/>
              <a:gd name="csX116" fmla="*/ 2274560 w 3437996"/>
              <a:gd name="csY116" fmla="*/ 443646 h 2018071"/>
              <a:gd name="csX117" fmla="*/ 2265120 w 3437996"/>
              <a:gd name="csY117" fmla="*/ 434112 h 2018071"/>
              <a:gd name="csX118" fmla="*/ 2262409 w 3437996"/>
              <a:gd name="csY118" fmla="*/ 431189 h 2018071"/>
              <a:gd name="csX119" fmla="*/ 2252962 w 3437996"/>
              <a:gd name="csY119" fmla="*/ 421458 h 2018071"/>
              <a:gd name="csX120" fmla="*/ 2246361 w 3437996"/>
              <a:gd name="csY120" fmla="*/ 414989 h 2018071"/>
              <a:gd name="csX121" fmla="*/ 2226101 w 3437996"/>
              <a:gd name="csY121" fmla="*/ 394472 h 2018071"/>
              <a:gd name="csX122" fmla="*/ 2204126 w 3437996"/>
              <a:gd name="csY122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44017 w 3437996"/>
              <a:gd name="csY67" fmla="*/ 814773 h 2018071"/>
              <a:gd name="csX68" fmla="*/ 2642551 w 3437996"/>
              <a:gd name="csY68" fmla="*/ 813746 h 2018071"/>
              <a:gd name="csX69" fmla="*/ 2634494 w 3437996"/>
              <a:gd name="csY69" fmla="*/ 805208 h 2018071"/>
              <a:gd name="csX70" fmla="*/ 2633053 w 3437996"/>
              <a:gd name="csY70" fmla="*/ 804210 h 2018071"/>
              <a:gd name="csX71" fmla="*/ 2624994 w 3437996"/>
              <a:gd name="csY71" fmla="*/ 795655 h 2018071"/>
              <a:gd name="csX72" fmla="*/ 2623570 w 3437996"/>
              <a:gd name="csY72" fmla="*/ 794675 h 2018071"/>
              <a:gd name="csX73" fmla="*/ 2615495 w 3437996"/>
              <a:gd name="csY73" fmla="*/ 786111 h 2018071"/>
              <a:gd name="csX74" fmla="*/ 2606007 w 3437996"/>
              <a:gd name="csY74" fmla="*/ 776562 h 2018071"/>
              <a:gd name="csX75" fmla="*/ 2604609 w 3437996"/>
              <a:gd name="csY75" fmla="*/ 775538 h 2018071"/>
              <a:gd name="csX76" fmla="*/ 2596489 w 3437996"/>
              <a:gd name="csY76" fmla="*/ 767032 h 2018071"/>
              <a:gd name="csX77" fmla="*/ 2595095 w 3437996"/>
              <a:gd name="csY77" fmla="*/ 766006 h 2018071"/>
              <a:gd name="csX78" fmla="*/ 2586954 w 3437996"/>
              <a:gd name="csY78" fmla="*/ 757512 h 2018071"/>
              <a:gd name="csX79" fmla="*/ 2585558 w 3437996"/>
              <a:gd name="csY79" fmla="*/ 756496 h 2018071"/>
              <a:gd name="csX80" fmla="*/ 2566459 w 3437996"/>
              <a:gd name="csY80" fmla="*/ 737499 h 2018071"/>
              <a:gd name="csX81" fmla="*/ 2558352 w 3437996"/>
              <a:gd name="csY81" fmla="*/ 728962 h 2018071"/>
              <a:gd name="csX82" fmla="*/ 2547432 w 3437996"/>
              <a:gd name="csY82" fmla="*/ 718414 h 2018071"/>
              <a:gd name="csX83" fmla="*/ 2539350 w 3437996"/>
              <a:gd name="csY83" fmla="*/ 709894 h 2018071"/>
              <a:gd name="csX84" fmla="*/ 2529865 w 3437996"/>
              <a:gd name="csY84" fmla="*/ 700356 h 2018071"/>
              <a:gd name="csX85" fmla="*/ 2528460 w 3437996"/>
              <a:gd name="csY85" fmla="*/ 699259 h 2018071"/>
              <a:gd name="csX86" fmla="*/ 2510900 w 3437996"/>
              <a:gd name="csY86" fmla="*/ 681286 h 2018071"/>
              <a:gd name="csX87" fmla="*/ 2509493 w 3437996"/>
              <a:gd name="csY87" fmla="*/ 680082 h 2018071"/>
              <a:gd name="csX88" fmla="*/ 2501400 w 3437996"/>
              <a:gd name="csY88" fmla="*/ 671754 h 2018071"/>
              <a:gd name="csX89" fmla="*/ 2480984 w 3437996"/>
              <a:gd name="csY89" fmla="*/ 651408 h 2018071"/>
              <a:gd name="csX90" fmla="*/ 2472919 w 3437996"/>
              <a:gd name="csY90" fmla="*/ 643127 h 2018071"/>
              <a:gd name="csX91" fmla="*/ 2471515 w 3437996"/>
              <a:gd name="csY91" fmla="*/ 641819 h 2018071"/>
              <a:gd name="csX92" fmla="*/ 2462020 w 3437996"/>
              <a:gd name="csY92" fmla="*/ 632257 h 2018071"/>
              <a:gd name="csX93" fmla="*/ 2453925 w 3437996"/>
              <a:gd name="csY93" fmla="*/ 624049 h 2018071"/>
              <a:gd name="csX94" fmla="*/ 2452516 w 3437996"/>
              <a:gd name="csY94" fmla="*/ 622702 h 2018071"/>
              <a:gd name="csX95" fmla="*/ 2425486 w 3437996"/>
              <a:gd name="csY95" fmla="*/ 595418 h 2018071"/>
              <a:gd name="csX96" fmla="*/ 2424029 w 3437996"/>
              <a:gd name="csY96" fmla="*/ 593985 h 2018071"/>
              <a:gd name="csX97" fmla="*/ 2416081 w 3437996"/>
              <a:gd name="csY97" fmla="*/ 585841 h 2018071"/>
              <a:gd name="csX98" fmla="*/ 2406640 w 3437996"/>
              <a:gd name="csY98" fmla="*/ 576281 h 2018071"/>
              <a:gd name="csX99" fmla="*/ 2397176 w 3437996"/>
              <a:gd name="csY99" fmla="*/ 566733 h 2018071"/>
              <a:gd name="csX100" fmla="*/ 2387690 w 3437996"/>
              <a:gd name="csY100" fmla="*/ 557193 h 2018071"/>
              <a:gd name="csX101" fmla="*/ 2386050 w 3437996"/>
              <a:gd name="csY101" fmla="*/ 555624 h 2018071"/>
              <a:gd name="csX102" fmla="*/ 2378191 w 3437996"/>
              <a:gd name="csY102" fmla="*/ 547659 h 2018071"/>
              <a:gd name="csX103" fmla="*/ 2368704 w 3437996"/>
              <a:gd name="csY103" fmla="*/ 538124 h 2018071"/>
              <a:gd name="csX104" fmla="*/ 2367021 w 3437996"/>
              <a:gd name="csY104" fmla="*/ 536517 h 2018071"/>
              <a:gd name="csX105" fmla="*/ 2350552 w 3437996"/>
              <a:gd name="csY105" fmla="*/ 519835 h 2018071"/>
              <a:gd name="csX106" fmla="*/ 2348016 w 3437996"/>
              <a:gd name="csY106" fmla="*/ 517342 h 2018071"/>
              <a:gd name="csX107" fmla="*/ 2341054 w 3437996"/>
              <a:gd name="csY107" fmla="*/ 510297 h 2018071"/>
              <a:gd name="csX108" fmla="*/ 2322020 w 3437996"/>
              <a:gd name="csY108" fmla="*/ 491243 h 2018071"/>
              <a:gd name="csX109" fmla="*/ 2312510 w 3437996"/>
              <a:gd name="csY109" fmla="*/ 481725 h 2018071"/>
              <a:gd name="csX110" fmla="*/ 2309941 w 3437996"/>
              <a:gd name="csY110" fmla="*/ 479158 h 2018071"/>
              <a:gd name="csX111" fmla="*/ 2303024 w 3437996"/>
              <a:gd name="csY111" fmla="*/ 472210 h 2018071"/>
              <a:gd name="csX112" fmla="*/ 2300428 w 3437996"/>
              <a:gd name="csY112" fmla="*/ 469578 h 2018071"/>
              <a:gd name="csX113" fmla="*/ 2293545 w 3437996"/>
              <a:gd name="csY113" fmla="*/ 462697 h 2018071"/>
              <a:gd name="csX114" fmla="*/ 2284051 w 3437996"/>
              <a:gd name="csY114" fmla="*/ 453172 h 2018071"/>
              <a:gd name="csX115" fmla="*/ 2274560 w 3437996"/>
              <a:gd name="csY115" fmla="*/ 443646 h 2018071"/>
              <a:gd name="csX116" fmla="*/ 2265120 w 3437996"/>
              <a:gd name="csY116" fmla="*/ 434112 h 2018071"/>
              <a:gd name="csX117" fmla="*/ 2262409 w 3437996"/>
              <a:gd name="csY117" fmla="*/ 431189 h 2018071"/>
              <a:gd name="csX118" fmla="*/ 2252962 w 3437996"/>
              <a:gd name="csY118" fmla="*/ 421458 h 2018071"/>
              <a:gd name="csX119" fmla="*/ 2246361 w 3437996"/>
              <a:gd name="csY119" fmla="*/ 414989 h 2018071"/>
              <a:gd name="csX120" fmla="*/ 2226101 w 3437996"/>
              <a:gd name="csY120" fmla="*/ 394472 h 2018071"/>
              <a:gd name="csX121" fmla="*/ 2204126 w 3437996"/>
              <a:gd name="csY121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44017 w 3437996"/>
              <a:gd name="csY67" fmla="*/ 814773 h 2018071"/>
              <a:gd name="csX68" fmla="*/ 2642551 w 3437996"/>
              <a:gd name="csY68" fmla="*/ 813746 h 2018071"/>
              <a:gd name="csX69" fmla="*/ 2634494 w 3437996"/>
              <a:gd name="csY69" fmla="*/ 805208 h 2018071"/>
              <a:gd name="csX70" fmla="*/ 2633053 w 3437996"/>
              <a:gd name="csY70" fmla="*/ 804210 h 2018071"/>
              <a:gd name="csX71" fmla="*/ 2624994 w 3437996"/>
              <a:gd name="csY71" fmla="*/ 795655 h 2018071"/>
              <a:gd name="csX72" fmla="*/ 2623570 w 3437996"/>
              <a:gd name="csY72" fmla="*/ 794675 h 2018071"/>
              <a:gd name="csX73" fmla="*/ 2615495 w 3437996"/>
              <a:gd name="csY73" fmla="*/ 786111 h 2018071"/>
              <a:gd name="csX74" fmla="*/ 2606007 w 3437996"/>
              <a:gd name="csY74" fmla="*/ 776562 h 2018071"/>
              <a:gd name="csX75" fmla="*/ 2604609 w 3437996"/>
              <a:gd name="csY75" fmla="*/ 775538 h 2018071"/>
              <a:gd name="csX76" fmla="*/ 2596489 w 3437996"/>
              <a:gd name="csY76" fmla="*/ 767032 h 2018071"/>
              <a:gd name="csX77" fmla="*/ 2595095 w 3437996"/>
              <a:gd name="csY77" fmla="*/ 766006 h 2018071"/>
              <a:gd name="csX78" fmla="*/ 2586954 w 3437996"/>
              <a:gd name="csY78" fmla="*/ 757512 h 2018071"/>
              <a:gd name="csX79" fmla="*/ 2585558 w 3437996"/>
              <a:gd name="csY79" fmla="*/ 756496 h 2018071"/>
              <a:gd name="csX80" fmla="*/ 2566459 w 3437996"/>
              <a:gd name="csY80" fmla="*/ 737499 h 2018071"/>
              <a:gd name="csX81" fmla="*/ 2558352 w 3437996"/>
              <a:gd name="csY81" fmla="*/ 728962 h 2018071"/>
              <a:gd name="csX82" fmla="*/ 2547432 w 3437996"/>
              <a:gd name="csY82" fmla="*/ 718414 h 2018071"/>
              <a:gd name="csX83" fmla="*/ 2539350 w 3437996"/>
              <a:gd name="csY83" fmla="*/ 709894 h 2018071"/>
              <a:gd name="csX84" fmla="*/ 2529865 w 3437996"/>
              <a:gd name="csY84" fmla="*/ 700356 h 2018071"/>
              <a:gd name="csX85" fmla="*/ 2528460 w 3437996"/>
              <a:gd name="csY85" fmla="*/ 699259 h 2018071"/>
              <a:gd name="csX86" fmla="*/ 2510900 w 3437996"/>
              <a:gd name="csY86" fmla="*/ 681286 h 2018071"/>
              <a:gd name="csX87" fmla="*/ 2509493 w 3437996"/>
              <a:gd name="csY87" fmla="*/ 680082 h 2018071"/>
              <a:gd name="csX88" fmla="*/ 2501400 w 3437996"/>
              <a:gd name="csY88" fmla="*/ 671754 h 2018071"/>
              <a:gd name="csX89" fmla="*/ 2480984 w 3437996"/>
              <a:gd name="csY89" fmla="*/ 651408 h 2018071"/>
              <a:gd name="csX90" fmla="*/ 2472919 w 3437996"/>
              <a:gd name="csY90" fmla="*/ 643127 h 2018071"/>
              <a:gd name="csX91" fmla="*/ 2471515 w 3437996"/>
              <a:gd name="csY91" fmla="*/ 641819 h 2018071"/>
              <a:gd name="csX92" fmla="*/ 2462020 w 3437996"/>
              <a:gd name="csY92" fmla="*/ 632257 h 2018071"/>
              <a:gd name="csX93" fmla="*/ 2453925 w 3437996"/>
              <a:gd name="csY93" fmla="*/ 624049 h 2018071"/>
              <a:gd name="csX94" fmla="*/ 2452516 w 3437996"/>
              <a:gd name="csY94" fmla="*/ 622702 h 2018071"/>
              <a:gd name="csX95" fmla="*/ 2425486 w 3437996"/>
              <a:gd name="csY95" fmla="*/ 595418 h 2018071"/>
              <a:gd name="csX96" fmla="*/ 2424029 w 3437996"/>
              <a:gd name="csY96" fmla="*/ 593985 h 2018071"/>
              <a:gd name="csX97" fmla="*/ 2406640 w 3437996"/>
              <a:gd name="csY97" fmla="*/ 576281 h 2018071"/>
              <a:gd name="csX98" fmla="*/ 2397176 w 3437996"/>
              <a:gd name="csY98" fmla="*/ 566733 h 2018071"/>
              <a:gd name="csX99" fmla="*/ 2387690 w 3437996"/>
              <a:gd name="csY99" fmla="*/ 557193 h 2018071"/>
              <a:gd name="csX100" fmla="*/ 2386050 w 3437996"/>
              <a:gd name="csY100" fmla="*/ 555624 h 2018071"/>
              <a:gd name="csX101" fmla="*/ 2378191 w 3437996"/>
              <a:gd name="csY101" fmla="*/ 547659 h 2018071"/>
              <a:gd name="csX102" fmla="*/ 2368704 w 3437996"/>
              <a:gd name="csY102" fmla="*/ 538124 h 2018071"/>
              <a:gd name="csX103" fmla="*/ 2367021 w 3437996"/>
              <a:gd name="csY103" fmla="*/ 536517 h 2018071"/>
              <a:gd name="csX104" fmla="*/ 2350552 w 3437996"/>
              <a:gd name="csY104" fmla="*/ 519835 h 2018071"/>
              <a:gd name="csX105" fmla="*/ 2348016 w 3437996"/>
              <a:gd name="csY105" fmla="*/ 517342 h 2018071"/>
              <a:gd name="csX106" fmla="*/ 2341054 w 3437996"/>
              <a:gd name="csY106" fmla="*/ 510297 h 2018071"/>
              <a:gd name="csX107" fmla="*/ 2322020 w 3437996"/>
              <a:gd name="csY107" fmla="*/ 491243 h 2018071"/>
              <a:gd name="csX108" fmla="*/ 2312510 w 3437996"/>
              <a:gd name="csY108" fmla="*/ 481725 h 2018071"/>
              <a:gd name="csX109" fmla="*/ 2309941 w 3437996"/>
              <a:gd name="csY109" fmla="*/ 479158 h 2018071"/>
              <a:gd name="csX110" fmla="*/ 2303024 w 3437996"/>
              <a:gd name="csY110" fmla="*/ 472210 h 2018071"/>
              <a:gd name="csX111" fmla="*/ 2300428 w 3437996"/>
              <a:gd name="csY111" fmla="*/ 469578 h 2018071"/>
              <a:gd name="csX112" fmla="*/ 2293545 w 3437996"/>
              <a:gd name="csY112" fmla="*/ 462697 h 2018071"/>
              <a:gd name="csX113" fmla="*/ 2284051 w 3437996"/>
              <a:gd name="csY113" fmla="*/ 453172 h 2018071"/>
              <a:gd name="csX114" fmla="*/ 2274560 w 3437996"/>
              <a:gd name="csY114" fmla="*/ 443646 h 2018071"/>
              <a:gd name="csX115" fmla="*/ 2265120 w 3437996"/>
              <a:gd name="csY115" fmla="*/ 434112 h 2018071"/>
              <a:gd name="csX116" fmla="*/ 2262409 w 3437996"/>
              <a:gd name="csY116" fmla="*/ 431189 h 2018071"/>
              <a:gd name="csX117" fmla="*/ 2252962 w 3437996"/>
              <a:gd name="csY117" fmla="*/ 421458 h 2018071"/>
              <a:gd name="csX118" fmla="*/ 2246361 w 3437996"/>
              <a:gd name="csY118" fmla="*/ 414989 h 2018071"/>
              <a:gd name="csX119" fmla="*/ 2226101 w 3437996"/>
              <a:gd name="csY119" fmla="*/ 394472 h 2018071"/>
              <a:gd name="csX120" fmla="*/ 2204126 w 3437996"/>
              <a:gd name="csY120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44017 w 3437996"/>
              <a:gd name="csY67" fmla="*/ 814773 h 2018071"/>
              <a:gd name="csX68" fmla="*/ 2642551 w 3437996"/>
              <a:gd name="csY68" fmla="*/ 813746 h 2018071"/>
              <a:gd name="csX69" fmla="*/ 2634494 w 3437996"/>
              <a:gd name="csY69" fmla="*/ 805208 h 2018071"/>
              <a:gd name="csX70" fmla="*/ 2633053 w 3437996"/>
              <a:gd name="csY70" fmla="*/ 804210 h 2018071"/>
              <a:gd name="csX71" fmla="*/ 2624994 w 3437996"/>
              <a:gd name="csY71" fmla="*/ 795655 h 2018071"/>
              <a:gd name="csX72" fmla="*/ 2623570 w 3437996"/>
              <a:gd name="csY72" fmla="*/ 794675 h 2018071"/>
              <a:gd name="csX73" fmla="*/ 2615495 w 3437996"/>
              <a:gd name="csY73" fmla="*/ 786111 h 2018071"/>
              <a:gd name="csX74" fmla="*/ 2606007 w 3437996"/>
              <a:gd name="csY74" fmla="*/ 776562 h 2018071"/>
              <a:gd name="csX75" fmla="*/ 2604609 w 3437996"/>
              <a:gd name="csY75" fmla="*/ 775538 h 2018071"/>
              <a:gd name="csX76" fmla="*/ 2596489 w 3437996"/>
              <a:gd name="csY76" fmla="*/ 767032 h 2018071"/>
              <a:gd name="csX77" fmla="*/ 2595095 w 3437996"/>
              <a:gd name="csY77" fmla="*/ 766006 h 2018071"/>
              <a:gd name="csX78" fmla="*/ 2586954 w 3437996"/>
              <a:gd name="csY78" fmla="*/ 757512 h 2018071"/>
              <a:gd name="csX79" fmla="*/ 2585558 w 3437996"/>
              <a:gd name="csY79" fmla="*/ 756496 h 2018071"/>
              <a:gd name="csX80" fmla="*/ 2566459 w 3437996"/>
              <a:gd name="csY80" fmla="*/ 737499 h 2018071"/>
              <a:gd name="csX81" fmla="*/ 2558352 w 3437996"/>
              <a:gd name="csY81" fmla="*/ 728962 h 2018071"/>
              <a:gd name="csX82" fmla="*/ 2547432 w 3437996"/>
              <a:gd name="csY82" fmla="*/ 718414 h 2018071"/>
              <a:gd name="csX83" fmla="*/ 2539350 w 3437996"/>
              <a:gd name="csY83" fmla="*/ 709894 h 2018071"/>
              <a:gd name="csX84" fmla="*/ 2529865 w 3437996"/>
              <a:gd name="csY84" fmla="*/ 700356 h 2018071"/>
              <a:gd name="csX85" fmla="*/ 2528460 w 3437996"/>
              <a:gd name="csY85" fmla="*/ 699259 h 2018071"/>
              <a:gd name="csX86" fmla="*/ 2510900 w 3437996"/>
              <a:gd name="csY86" fmla="*/ 681286 h 2018071"/>
              <a:gd name="csX87" fmla="*/ 2509493 w 3437996"/>
              <a:gd name="csY87" fmla="*/ 680082 h 2018071"/>
              <a:gd name="csX88" fmla="*/ 2501400 w 3437996"/>
              <a:gd name="csY88" fmla="*/ 671754 h 2018071"/>
              <a:gd name="csX89" fmla="*/ 2480984 w 3437996"/>
              <a:gd name="csY89" fmla="*/ 651408 h 2018071"/>
              <a:gd name="csX90" fmla="*/ 2472919 w 3437996"/>
              <a:gd name="csY90" fmla="*/ 643127 h 2018071"/>
              <a:gd name="csX91" fmla="*/ 2471515 w 3437996"/>
              <a:gd name="csY91" fmla="*/ 641819 h 2018071"/>
              <a:gd name="csX92" fmla="*/ 2462020 w 3437996"/>
              <a:gd name="csY92" fmla="*/ 632257 h 2018071"/>
              <a:gd name="csX93" fmla="*/ 2453925 w 3437996"/>
              <a:gd name="csY93" fmla="*/ 624049 h 2018071"/>
              <a:gd name="csX94" fmla="*/ 2452516 w 3437996"/>
              <a:gd name="csY94" fmla="*/ 622702 h 2018071"/>
              <a:gd name="csX95" fmla="*/ 2425486 w 3437996"/>
              <a:gd name="csY95" fmla="*/ 595418 h 2018071"/>
              <a:gd name="csX96" fmla="*/ 2424029 w 3437996"/>
              <a:gd name="csY96" fmla="*/ 593985 h 2018071"/>
              <a:gd name="csX97" fmla="*/ 2406640 w 3437996"/>
              <a:gd name="csY97" fmla="*/ 576281 h 2018071"/>
              <a:gd name="csX98" fmla="*/ 2397176 w 3437996"/>
              <a:gd name="csY98" fmla="*/ 566733 h 2018071"/>
              <a:gd name="csX99" fmla="*/ 2387690 w 3437996"/>
              <a:gd name="csY99" fmla="*/ 557193 h 2018071"/>
              <a:gd name="csX100" fmla="*/ 2378191 w 3437996"/>
              <a:gd name="csY100" fmla="*/ 547659 h 2018071"/>
              <a:gd name="csX101" fmla="*/ 2368704 w 3437996"/>
              <a:gd name="csY101" fmla="*/ 538124 h 2018071"/>
              <a:gd name="csX102" fmla="*/ 2367021 w 3437996"/>
              <a:gd name="csY102" fmla="*/ 536517 h 2018071"/>
              <a:gd name="csX103" fmla="*/ 2350552 w 3437996"/>
              <a:gd name="csY103" fmla="*/ 519835 h 2018071"/>
              <a:gd name="csX104" fmla="*/ 2348016 w 3437996"/>
              <a:gd name="csY104" fmla="*/ 517342 h 2018071"/>
              <a:gd name="csX105" fmla="*/ 2341054 w 3437996"/>
              <a:gd name="csY105" fmla="*/ 510297 h 2018071"/>
              <a:gd name="csX106" fmla="*/ 2322020 w 3437996"/>
              <a:gd name="csY106" fmla="*/ 491243 h 2018071"/>
              <a:gd name="csX107" fmla="*/ 2312510 w 3437996"/>
              <a:gd name="csY107" fmla="*/ 481725 h 2018071"/>
              <a:gd name="csX108" fmla="*/ 2309941 w 3437996"/>
              <a:gd name="csY108" fmla="*/ 479158 h 2018071"/>
              <a:gd name="csX109" fmla="*/ 2303024 w 3437996"/>
              <a:gd name="csY109" fmla="*/ 472210 h 2018071"/>
              <a:gd name="csX110" fmla="*/ 2300428 w 3437996"/>
              <a:gd name="csY110" fmla="*/ 469578 h 2018071"/>
              <a:gd name="csX111" fmla="*/ 2293545 w 3437996"/>
              <a:gd name="csY111" fmla="*/ 462697 h 2018071"/>
              <a:gd name="csX112" fmla="*/ 2284051 w 3437996"/>
              <a:gd name="csY112" fmla="*/ 453172 h 2018071"/>
              <a:gd name="csX113" fmla="*/ 2274560 w 3437996"/>
              <a:gd name="csY113" fmla="*/ 443646 h 2018071"/>
              <a:gd name="csX114" fmla="*/ 2265120 w 3437996"/>
              <a:gd name="csY114" fmla="*/ 434112 h 2018071"/>
              <a:gd name="csX115" fmla="*/ 2262409 w 3437996"/>
              <a:gd name="csY115" fmla="*/ 431189 h 2018071"/>
              <a:gd name="csX116" fmla="*/ 2252962 w 3437996"/>
              <a:gd name="csY116" fmla="*/ 421458 h 2018071"/>
              <a:gd name="csX117" fmla="*/ 2246361 w 3437996"/>
              <a:gd name="csY117" fmla="*/ 414989 h 2018071"/>
              <a:gd name="csX118" fmla="*/ 2226101 w 3437996"/>
              <a:gd name="csY118" fmla="*/ 394472 h 2018071"/>
              <a:gd name="csX119" fmla="*/ 2204126 w 3437996"/>
              <a:gd name="csY119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44017 w 3437996"/>
              <a:gd name="csY67" fmla="*/ 814773 h 2018071"/>
              <a:gd name="csX68" fmla="*/ 2642551 w 3437996"/>
              <a:gd name="csY68" fmla="*/ 813746 h 2018071"/>
              <a:gd name="csX69" fmla="*/ 2634494 w 3437996"/>
              <a:gd name="csY69" fmla="*/ 805208 h 2018071"/>
              <a:gd name="csX70" fmla="*/ 2633053 w 3437996"/>
              <a:gd name="csY70" fmla="*/ 804210 h 2018071"/>
              <a:gd name="csX71" fmla="*/ 2624994 w 3437996"/>
              <a:gd name="csY71" fmla="*/ 795655 h 2018071"/>
              <a:gd name="csX72" fmla="*/ 2623570 w 3437996"/>
              <a:gd name="csY72" fmla="*/ 794675 h 2018071"/>
              <a:gd name="csX73" fmla="*/ 2615495 w 3437996"/>
              <a:gd name="csY73" fmla="*/ 786111 h 2018071"/>
              <a:gd name="csX74" fmla="*/ 2606007 w 3437996"/>
              <a:gd name="csY74" fmla="*/ 776562 h 2018071"/>
              <a:gd name="csX75" fmla="*/ 2604609 w 3437996"/>
              <a:gd name="csY75" fmla="*/ 775538 h 2018071"/>
              <a:gd name="csX76" fmla="*/ 2596489 w 3437996"/>
              <a:gd name="csY76" fmla="*/ 767032 h 2018071"/>
              <a:gd name="csX77" fmla="*/ 2595095 w 3437996"/>
              <a:gd name="csY77" fmla="*/ 766006 h 2018071"/>
              <a:gd name="csX78" fmla="*/ 2586954 w 3437996"/>
              <a:gd name="csY78" fmla="*/ 757512 h 2018071"/>
              <a:gd name="csX79" fmla="*/ 2585558 w 3437996"/>
              <a:gd name="csY79" fmla="*/ 756496 h 2018071"/>
              <a:gd name="csX80" fmla="*/ 2566459 w 3437996"/>
              <a:gd name="csY80" fmla="*/ 737499 h 2018071"/>
              <a:gd name="csX81" fmla="*/ 2558352 w 3437996"/>
              <a:gd name="csY81" fmla="*/ 728962 h 2018071"/>
              <a:gd name="csX82" fmla="*/ 2547432 w 3437996"/>
              <a:gd name="csY82" fmla="*/ 718414 h 2018071"/>
              <a:gd name="csX83" fmla="*/ 2539350 w 3437996"/>
              <a:gd name="csY83" fmla="*/ 709894 h 2018071"/>
              <a:gd name="csX84" fmla="*/ 2529865 w 3437996"/>
              <a:gd name="csY84" fmla="*/ 700356 h 2018071"/>
              <a:gd name="csX85" fmla="*/ 2528460 w 3437996"/>
              <a:gd name="csY85" fmla="*/ 699259 h 2018071"/>
              <a:gd name="csX86" fmla="*/ 2510900 w 3437996"/>
              <a:gd name="csY86" fmla="*/ 681286 h 2018071"/>
              <a:gd name="csX87" fmla="*/ 2509493 w 3437996"/>
              <a:gd name="csY87" fmla="*/ 680082 h 2018071"/>
              <a:gd name="csX88" fmla="*/ 2501400 w 3437996"/>
              <a:gd name="csY88" fmla="*/ 671754 h 2018071"/>
              <a:gd name="csX89" fmla="*/ 2480984 w 3437996"/>
              <a:gd name="csY89" fmla="*/ 651408 h 2018071"/>
              <a:gd name="csX90" fmla="*/ 2472919 w 3437996"/>
              <a:gd name="csY90" fmla="*/ 643127 h 2018071"/>
              <a:gd name="csX91" fmla="*/ 2471515 w 3437996"/>
              <a:gd name="csY91" fmla="*/ 641819 h 2018071"/>
              <a:gd name="csX92" fmla="*/ 2462020 w 3437996"/>
              <a:gd name="csY92" fmla="*/ 632257 h 2018071"/>
              <a:gd name="csX93" fmla="*/ 2453925 w 3437996"/>
              <a:gd name="csY93" fmla="*/ 624049 h 2018071"/>
              <a:gd name="csX94" fmla="*/ 2452516 w 3437996"/>
              <a:gd name="csY94" fmla="*/ 622702 h 2018071"/>
              <a:gd name="csX95" fmla="*/ 2425486 w 3437996"/>
              <a:gd name="csY95" fmla="*/ 595418 h 2018071"/>
              <a:gd name="csX96" fmla="*/ 2424029 w 3437996"/>
              <a:gd name="csY96" fmla="*/ 593985 h 2018071"/>
              <a:gd name="csX97" fmla="*/ 2406640 w 3437996"/>
              <a:gd name="csY97" fmla="*/ 576281 h 2018071"/>
              <a:gd name="csX98" fmla="*/ 2397176 w 3437996"/>
              <a:gd name="csY98" fmla="*/ 566733 h 2018071"/>
              <a:gd name="csX99" fmla="*/ 2387690 w 3437996"/>
              <a:gd name="csY99" fmla="*/ 557193 h 2018071"/>
              <a:gd name="csX100" fmla="*/ 2378191 w 3437996"/>
              <a:gd name="csY100" fmla="*/ 547659 h 2018071"/>
              <a:gd name="csX101" fmla="*/ 2368704 w 3437996"/>
              <a:gd name="csY101" fmla="*/ 538124 h 2018071"/>
              <a:gd name="csX102" fmla="*/ 2350552 w 3437996"/>
              <a:gd name="csY102" fmla="*/ 519835 h 2018071"/>
              <a:gd name="csX103" fmla="*/ 2348016 w 3437996"/>
              <a:gd name="csY103" fmla="*/ 517342 h 2018071"/>
              <a:gd name="csX104" fmla="*/ 2341054 w 3437996"/>
              <a:gd name="csY104" fmla="*/ 510297 h 2018071"/>
              <a:gd name="csX105" fmla="*/ 2322020 w 3437996"/>
              <a:gd name="csY105" fmla="*/ 491243 h 2018071"/>
              <a:gd name="csX106" fmla="*/ 2312510 w 3437996"/>
              <a:gd name="csY106" fmla="*/ 481725 h 2018071"/>
              <a:gd name="csX107" fmla="*/ 2309941 w 3437996"/>
              <a:gd name="csY107" fmla="*/ 479158 h 2018071"/>
              <a:gd name="csX108" fmla="*/ 2303024 w 3437996"/>
              <a:gd name="csY108" fmla="*/ 472210 h 2018071"/>
              <a:gd name="csX109" fmla="*/ 2300428 w 3437996"/>
              <a:gd name="csY109" fmla="*/ 469578 h 2018071"/>
              <a:gd name="csX110" fmla="*/ 2293545 w 3437996"/>
              <a:gd name="csY110" fmla="*/ 462697 h 2018071"/>
              <a:gd name="csX111" fmla="*/ 2284051 w 3437996"/>
              <a:gd name="csY111" fmla="*/ 453172 h 2018071"/>
              <a:gd name="csX112" fmla="*/ 2274560 w 3437996"/>
              <a:gd name="csY112" fmla="*/ 443646 h 2018071"/>
              <a:gd name="csX113" fmla="*/ 2265120 w 3437996"/>
              <a:gd name="csY113" fmla="*/ 434112 h 2018071"/>
              <a:gd name="csX114" fmla="*/ 2262409 w 3437996"/>
              <a:gd name="csY114" fmla="*/ 431189 h 2018071"/>
              <a:gd name="csX115" fmla="*/ 2252962 w 3437996"/>
              <a:gd name="csY115" fmla="*/ 421458 h 2018071"/>
              <a:gd name="csX116" fmla="*/ 2246361 w 3437996"/>
              <a:gd name="csY116" fmla="*/ 414989 h 2018071"/>
              <a:gd name="csX117" fmla="*/ 2226101 w 3437996"/>
              <a:gd name="csY117" fmla="*/ 394472 h 2018071"/>
              <a:gd name="csX118" fmla="*/ 2204126 w 3437996"/>
              <a:gd name="csY118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44017 w 3437996"/>
              <a:gd name="csY67" fmla="*/ 814773 h 2018071"/>
              <a:gd name="csX68" fmla="*/ 2642551 w 3437996"/>
              <a:gd name="csY68" fmla="*/ 813746 h 2018071"/>
              <a:gd name="csX69" fmla="*/ 2634494 w 3437996"/>
              <a:gd name="csY69" fmla="*/ 805208 h 2018071"/>
              <a:gd name="csX70" fmla="*/ 2633053 w 3437996"/>
              <a:gd name="csY70" fmla="*/ 804210 h 2018071"/>
              <a:gd name="csX71" fmla="*/ 2624994 w 3437996"/>
              <a:gd name="csY71" fmla="*/ 795655 h 2018071"/>
              <a:gd name="csX72" fmla="*/ 2623570 w 3437996"/>
              <a:gd name="csY72" fmla="*/ 794675 h 2018071"/>
              <a:gd name="csX73" fmla="*/ 2615495 w 3437996"/>
              <a:gd name="csY73" fmla="*/ 786111 h 2018071"/>
              <a:gd name="csX74" fmla="*/ 2606007 w 3437996"/>
              <a:gd name="csY74" fmla="*/ 776562 h 2018071"/>
              <a:gd name="csX75" fmla="*/ 2604609 w 3437996"/>
              <a:gd name="csY75" fmla="*/ 775538 h 2018071"/>
              <a:gd name="csX76" fmla="*/ 2596489 w 3437996"/>
              <a:gd name="csY76" fmla="*/ 767032 h 2018071"/>
              <a:gd name="csX77" fmla="*/ 2595095 w 3437996"/>
              <a:gd name="csY77" fmla="*/ 766006 h 2018071"/>
              <a:gd name="csX78" fmla="*/ 2586954 w 3437996"/>
              <a:gd name="csY78" fmla="*/ 757512 h 2018071"/>
              <a:gd name="csX79" fmla="*/ 2585558 w 3437996"/>
              <a:gd name="csY79" fmla="*/ 756496 h 2018071"/>
              <a:gd name="csX80" fmla="*/ 2566459 w 3437996"/>
              <a:gd name="csY80" fmla="*/ 737499 h 2018071"/>
              <a:gd name="csX81" fmla="*/ 2558352 w 3437996"/>
              <a:gd name="csY81" fmla="*/ 728962 h 2018071"/>
              <a:gd name="csX82" fmla="*/ 2547432 w 3437996"/>
              <a:gd name="csY82" fmla="*/ 718414 h 2018071"/>
              <a:gd name="csX83" fmla="*/ 2539350 w 3437996"/>
              <a:gd name="csY83" fmla="*/ 709894 h 2018071"/>
              <a:gd name="csX84" fmla="*/ 2529865 w 3437996"/>
              <a:gd name="csY84" fmla="*/ 700356 h 2018071"/>
              <a:gd name="csX85" fmla="*/ 2528460 w 3437996"/>
              <a:gd name="csY85" fmla="*/ 699259 h 2018071"/>
              <a:gd name="csX86" fmla="*/ 2510900 w 3437996"/>
              <a:gd name="csY86" fmla="*/ 681286 h 2018071"/>
              <a:gd name="csX87" fmla="*/ 2509493 w 3437996"/>
              <a:gd name="csY87" fmla="*/ 680082 h 2018071"/>
              <a:gd name="csX88" fmla="*/ 2501400 w 3437996"/>
              <a:gd name="csY88" fmla="*/ 671754 h 2018071"/>
              <a:gd name="csX89" fmla="*/ 2480984 w 3437996"/>
              <a:gd name="csY89" fmla="*/ 651408 h 2018071"/>
              <a:gd name="csX90" fmla="*/ 2472919 w 3437996"/>
              <a:gd name="csY90" fmla="*/ 643127 h 2018071"/>
              <a:gd name="csX91" fmla="*/ 2471515 w 3437996"/>
              <a:gd name="csY91" fmla="*/ 641819 h 2018071"/>
              <a:gd name="csX92" fmla="*/ 2462020 w 3437996"/>
              <a:gd name="csY92" fmla="*/ 632257 h 2018071"/>
              <a:gd name="csX93" fmla="*/ 2453925 w 3437996"/>
              <a:gd name="csY93" fmla="*/ 624049 h 2018071"/>
              <a:gd name="csX94" fmla="*/ 2452516 w 3437996"/>
              <a:gd name="csY94" fmla="*/ 622702 h 2018071"/>
              <a:gd name="csX95" fmla="*/ 2425486 w 3437996"/>
              <a:gd name="csY95" fmla="*/ 595418 h 2018071"/>
              <a:gd name="csX96" fmla="*/ 2424029 w 3437996"/>
              <a:gd name="csY96" fmla="*/ 593985 h 2018071"/>
              <a:gd name="csX97" fmla="*/ 2406640 w 3437996"/>
              <a:gd name="csY97" fmla="*/ 576281 h 2018071"/>
              <a:gd name="csX98" fmla="*/ 2397176 w 3437996"/>
              <a:gd name="csY98" fmla="*/ 566733 h 2018071"/>
              <a:gd name="csX99" fmla="*/ 2387690 w 3437996"/>
              <a:gd name="csY99" fmla="*/ 557193 h 2018071"/>
              <a:gd name="csX100" fmla="*/ 2378191 w 3437996"/>
              <a:gd name="csY100" fmla="*/ 547659 h 2018071"/>
              <a:gd name="csX101" fmla="*/ 2368704 w 3437996"/>
              <a:gd name="csY101" fmla="*/ 538124 h 2018071"/>
              <a:gd name="csX102" fmla="*/ 2350552 w 3437996"/>
              <a:gd name="csY102" fmla="*/ 519835 h 2018071"/>
              <a:gd name="csX103" fmla="*/ 2348016 w 3437996"/>
              <a:gd name="csY103" fmla="*/ 517342 h 2018071"/>
              <a:gd name="csX104" fmla="*/ 2322020 w 3437996"/>
              <a:gd name="csY104" fmla="*/ 491243 h 2018071"/>
              <a:gd name="csX105" fmla="*/ 2312510 w 3437996"/>
              <a:gd name="csY105" fmla="*/ 481725 h 2018071"/>
              <a:gd name="csX106" fmla="*/ 2309941 w 3437996"/>
              <a:gd name="csY106" fmla="*/ 479158 h 2018071"/>
              <a:gd name="csX107" fmla="*/ 2303024 w 3437996"/>
              <a:gd name="csY107" fmla="*/ 472210 h 2018071"/>
              <a:gd name="csX108" fmla="*/ 2300428 w 3437996"/>
              <a:gd name="csY108" fmla="*/ 469578 h 2018071"/>
              <a:gd name="csX109" fmla="*/ 2293545 w 3437996"/>
              <a:gd name="csY109" fmla="*/ 462697 h 2018071"/>
              <a:gd name="csX110" fmla="*/ 2284051 w 3437996"/>
              <a:gd name="csY110" fmla="*/ 453172 h 2018071"/>
              <a:gd name="csX111" fmla="*/ 2274560 w 3437996"/>
              <a:gd name="csY111" fmla="*/ 443646 h 2018071"/>
              <a:gd name="csX112" fmla="*/ 2265120 w 3437996"/>
              <a:gd name="csY112" fmla="*/ 434112 h 2018071"/>
              <a:gd name="csX113" fmla="*/ 2262409 w 3437996"/>
              <a:gd name="csY113" fmla="*/ 431189 h 2018071"/>
              <a:gd name="csX114" fmla="*/ 2252962 w 3437996"/>
              <a:gd name="csY114" fmla="*/ 421458 h 2018071"/>
              <a:gd name="csX115" fmla="*/ 2246361 w 3437996"/>
              <a:gd name="csY115" fmla="*/ 414989 h 2018071"/>
              <a:gd name="csX116" fmla="*/ 2226101 w 3437996"/>
              <a:gd name="csY116" fmla="*/ 394472 h 2018071"/>
              <a:gd name="csX117" fmla="*/ 2204126 w 3437996"/>
              <a:gd name="csY117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44017 w 3437996"/>
              <a:gd name="csY67" fmla="*/ 814773 h 2018071"/>
              <a:gd name="csX68" fmla="*/ 2642551 w 3437996"/>
              <a:gd name="csY68" fmla="*/ 813746 h 2018071"/>
              <a:gd name="csX69" fmla="*/ 2634494 w 3437996"/>
              <a:gd name="csY69" fmla="*/ 805208 h 2018071"/>
              <a:gd name="csX70" fmla="*/ 2633053 w 3437996"/>
              <a:gd name="csY70" fmla="*/ 804210 h 2018071"/>
              <a:gd name="csX71" fmla="*/ 2624994 w 3437996"/>
              <a:gd name="csY71" fmla="*/ 795655 h 2018071"/>
              <a:gd name="csX72" fmla="*/ 2623570 w 3437996"/>
              <a:gd name="csY72" fmla="*/ 794675 h 2018071"/>
              <a:gd name="csX73" fmla="*/ 2615495 w 3437996"/>
              <a:gd name="csY73" fmla="*/ 786111 h 2018071"/>
              <a:gd name="csX74" fmla="*/ 2606007 w 3437996"/>
              <a:gd name="csY74" fmla="*/ 776562 h 2018071"/>
              <a:gd name="csX75" fmla="*/ 2604609 w 3437996"/>
              <a:gd name="csY75" fmla="*/ 775538 h 2018071"/>
              <a:gd name="csX76" fmla="*/ 2596489 w 3437996"/>
              <a:gd name="csY76" fmla="*/ 767032 h 2018071"/>
              <a:gd name="csX77" fmla="*/ 2595095 w 3437996"/>
              <a:gd name="csY77" fmla="*/ 766006 h 2018071"/>
              <a:gd name="csX78" fmla="*/ 2586954 w 3437996"/>
              <a:gd name="csY78" fmla="*/ 757512 h 2018071"/>
              <a:gd name="csX79" fmla="*/ 2585558 w 3437996"/>
              <a:gd name="csY79" fmla="*/ 756496 h 2018071"/>
              <a:gd name="csX80" fmla="*/ 2566459 w 3437996"/>
              <a:gd name="csY80" fmla="*/ 737499 h 2018071"/>
              <a:gd name="csX81" fmla="*/ 2558352 w 3437996"/>
              <a:gd name="csY81" fmla="*/ 728962 h 2018071"/>
              <a:gd name="csX82" fmla="*/ 2547432 w 3437996"/>
              <a:gd name="csY82" fmla="*/ 718414 h 2018071"/>
              <a:gd name="csX83" fmla="*/ 2539350 w 3437996"/>
              <a:gd name="csY83" fmla="*/ 709894 h 2018071"/>
              <a:gd name="csX84" fmla="*/ 2529865 w 3437996"/>
              <a:gd name="csY84" fmla="*/ 700356 h 2018071"/>
              <a:gd name="csX85" fmla="*/ 2528460 w 3437996"/>
              <a:gd name="csY85" fmla="*/ 699259 h 2018071"/>
              <a:gd name="csX86" fmla="*/ 2510900 w 3437996"/>
              <a:gd name="csY86" fmla="*/ 681286 h 2018071"/>
              <a:gd name="csX87" fmla="*/ 2509493 w 3437996"/>
              <a:gd name="csY87" fmla="*/ 680082 h 2018071"/>
              <a:gd name="csX88" fmla="*/ 2501400 w 3437996"/>
              <a:gd name="csY88" fmla="*/ 671754 h 2018071"/>
              <a:gd name="csX89" fmla="*/ 2480984 w 3437996"/>
              <a:gd name="csY89" fmla="*/ 651408 h 2018071"/>
              <a:gd name="csX90" fmla="*/ 2472919 w 3437996"/>
              <a:gd name="csY90" fmla="*/ 643127 h 2018071"/>
              <a:gd name="csX91" fmla="*/ 2471515 w 3437996"/>
              <a:gd name="csY91" fmla="*/ 641819 h 2018071"/>
              <a:gd name="csX92" fmla="*/ 2462020 w 3437996"/>
              <a:gd name="csY92" fmla="*/ 632257 h 2018071"/>
              <a:gd name="csX93" fmla="*/ 2453925 w 3437996"/>
              <a:gd name="csY93" fmla="*/ 624049 h 2018071"/>
              <a:gd name="csX94" fmla="*/ 2452516 w 3437996"/>
              <a:gd name="csY94" fmla="*/ 622702 h 2018071"/>
              <a:gd name="csX95" fmla="*/ 2425486 w 3437996"/>
              <a:gd name="csY95" fmla="*/ 595418 h 2018071"/>
              <a:gd name="csX96" fmla="*/ 2424029 w 3437996"/>
              <a:gd name="csY96" fmla="*/ 593985 h 2018071"/>
              <a:gd name="csX97" fmla="*/ 2406640 w 3437996"/>
              <a:gd name="csY97" fmla="*/ 576281 h 2018071"/>
              <a:gd name="csX98" fmla="*/ 2397176 w 3437996"/>
              <a:gd name="csY98" fmla="*/ 566733 h 2018071"/>
              <a:gd name="csX99" fmla="*/ 2387690 w 3437996"/>
              <a:gd name="csY99" fmla="*/ 557193 h 2018071"/>
              <a:gd name="csX100" fmla="*/ 2378191 w 3437996"/>
              <a:gd name="csY100" fmla="*/ 547659 h 2018071"/>
              <a:gd name="csX101" fmla="*/ 2368704 w 3437996"/>
              <a:gd name="csY101" fmla="*/ 538124 h 2018071"/>
              <a:gd name="csX102" fmla="*/ 2350552 w 3437996"/>
              <a:gd name="csY102" fmla="*/ 519835 h 2018071"/>
              <a:gd name="csX103" fmla="*/ 2348016 w 3437996"/>
              <a:gd name="csY103" fmla="*/ 517342 h 2018071"/>
              <a:gd name="csX104" fmla="*/ 2322020 w 3437996"/>
              <a:gd name="csY104" fmla="*/ 491243 h 2018071"/>
              <a:gd name="csX105" fmla="*/ 2312510 w 3437996"/>
              <a:gd name="csY105" fmla="*/ 481725 h 2018071"/>
              <a:gd name="csX106" fmla="*/ 2309941 w 3437996"/>
              <a:gd name="csY106" fmla="*/ 479158 h 2018071"/>
              <a:gd name="csX107" fmla="*/ 2303024 w 3437996"/>
              <a:gd name="csY107" fmla="*/ 472210 h 2018071"/>
              <a:gd name="csX108" fmla="*/ 2293545 w 3437996"/>
              <a:gd name="csY108" fmla="*/ 462697 h 2018071"/>
              <a:gd name="csX109" fmla="*/ 2284051 w 3437996"/>
              <a:gd name="csY109" fmla="*/ 453172 h 2018071"/>
              <a:gd name="csX110" fmla="*/ 2274560 w 3437996"/>
              <a:gd name="csY110" fmla="*/ 443646 h 2018071"/>
              <a:gd name="csX111" fmla="*/ 2265120 w 3437996"/>
              <a:gd name="csY111" fmla="*/ 434112 h 2018071"/>
              <a:gd name="csX112" fmla="*/ 2262409 w 3437996"/>
              <a:gd name="csY112" fmla="*/ 431189 h 2018071"/>
              <a:gd name="csX113" fmla="*/ 2252962 w 3437996"/>
              <a:gd name="csY113" fmla="*/ 421458 h 2018071"/>
              <a:gd name="csX114" fmla="*/ 2246361 w 3437996"/>
              <a:gd name="csY114" fmla="*/ 414989 h 2018071"/>
              <a:gd name="csX115" fmla="*/ 2226101 w 3437996"/>
              <a:gd name="csY115" fmla="*/ 394472 h 2018071"/>
              <a:gd name="csX116" fmla="*/ 2204126 w 3437996"/>
              <a:gd name="csY116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44017 w 3437996"/>
              <a:gd name="csY67" fmla="*/ 814773 h 2018071"/>
              <a:gd name="csX68" fmla="*/ 2642551 w 3437996"/>
              <a:gd name="csY68" fmla="*/ 813746 h 2018071"/>
              <a:gd name="csX69" fmla="*/ 2634494 w 3437996"/>
              <a:gd name="csY69" fmla="*/ 805208 h 2018071"/>
              <a:gd name="csX70" fmla="*/ 2633053 w 3437996"/>
              <a:gd name="csY70" fmla="*/ 804210 h 2018071"/>
              <a:gd name="csX71" fmla="*/ 2624994 w 3437996"/>
              <a:gd name="csY71" fmla="*/ 795655 h 2018071"/>
              <a:gd name="csX72" fmla="*/ 2623570 w 3437996"/>
              <a:gd name="csY72" fmla="*/ 794675 h 2018071"/>
              <a:gd name="csX73" fmla="*/ 2615495 w 3437996"/>
              <a:gd name="csY73" fmla="*/ 786111 h 2018071"/>
              <a:gd name="csX74" fmla="*/ 2606007 w 3437996"/>
              <a:gd name="csY74" fmla="*/ 776562 h 2018071"/>
              <a:gd name="csX75" fmla="*/ 2604609 w 3437996"/>
              <a:gd name="csY75" fmla="*/ 775538 h 2018071"/>
              <a:gd name="csX76" fmla="*/ 2596489 w 3437996"/>
              <a:gd name="csY76" fmla="*/ 767032 h 2018071"/>
              <a:gd name="csX77" fmla="*/ 2595095 w 3437996"/>
              <a:gd name="csY77" fmla="*/ 766006 h 2018071"/>
              <a:gd name="csX78" fmla="*/ 2586954 w 3437996"/>
              <a:gd name="csY78" fmla="*/ 757512 h 2018071"/>
              <a:gd name="csX79" fmla="*/ 2585558 w 3437996"/>
              <a:gd name="csY79" fmla="*/ 756496 h 2018071"/>
              <a:gd name="csX80" fmla="*/ 2566459 w 3437996"/>
              <a:gd name="csY80" fmla="*/ 737499 h 2018071"/>
              <a:gd name="csX81" fmla="*/ 2558352 w 3437996"/>
              <a:gd name="csY81" fmla="*/ 728962 h 2018071"/>
              <a:gd name="csX82" fmla="*/ 2547432 w 3437996"/>
              <a:gd name="csY82" fmla="*/ 718414 h 2018071"/>
              <a:gd name="csX83" fmla="*/ 2539350 w 3437996"/>
              <a:gd name="csY83" fmla="*/ 709894 h 2018071"/>
              <a:gd name="csX84" fmla="*/ 2529865 w 3437996"/>
              <a:gd name="csY84" fmla="*/ 700356 h 2018071"/>
              <a:gd name="csX85" fmla="*/ 2528460 w 3437996"/>
              <a:gd name="csY85" fmla="*/ 699259 h 2018071"/>
              <a:gd name="csX86" fmla="*/ 2510900 w 3437996"/>
              <a:gd name="csY86" fmla="*/ 681286 h 2018071"/>
              <a:gd name="csX87" fmla="*/ 2509493 w 3437996"/>
              <a:gd name="csY87" fmla="*/ 680082 h 2018071"/>
              <a:gd name="csX88" fmla="*/ 2501400 w 3437996"/>
              <a:gd name="csY88" fmla="*/ 671754 h 2018071"/>
              <a:gd name="csX89" fmla="*/ 2480984 w 3437996"/>
              <a:gd name="csY89" fmla="*/ 651408 h 2018071"/>
              <a:gd name="csX90" fmla="*/ 2472919 w 3437996"/>
              <a:gd name="csY90" fmla="*/ 643127 h 2018071"/>
              <a:gd name="csX91" fmla="*/ 2471515 w 3437996"/>
              <a:gd name="csY91" fmla="*/ 641819 h 2018071"/>
              <a:gd name="csX92" fmla="*/ 2462020 w 3437996"/>
              <a:gd name="csY92" fmla="*/ 632257 h 2018071"/>
              <a:gd name="csX93" fmla="*/ 2453925 w 3437996"/>
              <a:gd name="csY93" fmla="*/ 624049 h 2018071"/>
              <a:gd name="csX94" fmla="*/ 2452516 w 3437996"/>
              <a:gd name="csY94" fmla="*/ 622702 h 2018071"/>
              <a:gd name="csX95" fmla="*/ 2425486 w 3437996"/>
              <a:gd name="csY95" fmla="*/ 595418 h 2018071"/>
              <a:gd name="csX96" fmla="*/ 2424029 w 3437996"/>
              <a:gd name="csY96" fmla="*/ 593985 h 2018071"/>
              <a:gd name="csX97" fmla="*/ 2406640 w 3437996"/>
              <a:gd name="csY97" fmla="*/ 576281 h 2018071"/>
              <a:gd name="csX98" fmla="*/ 2397176 w 3437996"/>
              <a:gd name="csY98" fmla="*/ 566733 h 2018071"/>
              <a:gd name="csX99" fmla="*/ 2387690 w 3437996"/>
              <a:gd name="csY99" fmla="*/ 557193 h 2018071"/>
              <a:gd name="csX100" fmla="*/ 2378191 w 3437996"/>
              <a:gd name="csY100" fmla="*/ 547659 h 2018071"/>
              <a:gd name="csX101" fmla="*/ 2368704 w 3437996"/>
              <a:gd name="csY101" fmla="*/ 538124 h 2018071"/>
              <a:gd name="csX102" fmla="*/ 2350552 w 3437996"/>
              <a:gd name="csY102" fmla="*/ 519835 h 2018071"/>
              <a:gd name="csX103" fmla="*/ 2348016 w 3437996"/>
              <a:gd name="csY103" fmla="*/ 517342 h 2018071"/>
              <a:gd name="csX104" fmla="*/ 2322020 w 3437996"/>
              <a:gd name="csY104" fmla="*/ 491243 h 2018071"/>
              <a:gd name="csX105" fmla="*/ 2312510 w 3437996"/>
              <a:gd name="csY105" fmla="*/ 481725 h 2018071"/>
              <a:gd name="csX106" fmla="*/ 2309941 w 3437996"/>
              <a:gd name="csY106" fmla="*/ 479158 h 2018071"/>
              <a:gd name="csX107" fmla="*/ 2303024 w 3437996"/>
              <a:gd name="csY107" fmla="*/ 472210 h 2018071"/>
              <a:gd name="csX108" fmla="*/ 2293545 w 3437996"/>
              <a:gd name="csY108" fmla="*/ 462697 h 2018071"/>
              <a:gd name="csX109" fmla="*/ 2274560 w 3437996"/>
              <a:gd name="csY109" fmla="*/ 443646 h 2018071"/>
              <a:gd name="csX110" fmla="*/ 2265120 w 3437996"/>
              <a:gd name="csY110" fmla="*/ 434112 h 2018071"/>
              <a:gd name="csX111" fmla="*/ 2262409 w 3437996"/>
              <a:gd name="csY111" fmla="*/ 431189 h 2018071"/>
              <a:gd name="csX112" fmla="*/ 2252962 w 3437996"/>
              <a:gd name="csY112" fmla="*/ 421458 h 2018071"/>
              <a:gd name="csX113" fmla="*/ 2246361 w 3437996"/>
              <a:gd name="csY113" fmla="*/ 414989 h 2018071"/>
              <a:gd name="csX114" fmla="*/ 2226101 w 3437996"/>
              <a:gd name="csY114" fmla="*/ 394472 h 2018071"/>
              <a:gd name="csX115" fmla="*/ 2204126 w 3437996"/>
              <a:gd name="csY115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44017 w 3437996"/>
              <a:gd name="csY67" fmla="*/ 814773 h 2018071"/>
              <a:gd name="csX68" fmla="*/ 2642551 w 3437996"/>
              <a:gd name="csY68" fmla="*/ 813746 h 2018071"/>
              <a:gd name="csX69" fmla="*/ 2634494 w 3437996"/>
              <a:gd name="csY69" fmla="*/ 805208 h 2018071"/>
              <a:gd name="csX70" fmla="*/ 2633053 w 3437996"/>
              <a:gd name="csY70" fmla="*/ 804210 h 2018071"/>
              <a:gd name="csX71" fmla="*/ 2624994 w 3437996"/>
              <a:gd name="csY71" fmla="*/ 795655 h 2018071"/>
              <a:gd name="csX72" fmla="*/ 2623570 w 3437996"/>
              <a:gd name="csY72" fmla="*/ 794675 h 2018071"/>
              <a:gd name="csX73" fmla="*/ 2615495 w 3437996"/>
              <a:gd name="csY73" fmla="*/ 786111 h 2018071"/>
              <a:gd name="csX74" fmla="*/ 2606007 w 3437996"/>
              <a:gd name="csY74" fmla="*/ 776562 h 2018071"/>
              <a:gd name="csX75" fmla="*/ 2604609 w 3437996"/>
              <a:gd name="csY75" fmla="*/ 775538 h 2018071"/>
              <a:gd name="csX76" fmla="*/ 2596489 w 3437996"/>
              <a:gd name="csY76" fmla="*/ 767032 h 2018071"/>
              <a:gd name="csX77" fmla="*/ 2595095 w 3437996"/>
              <a:gd name="csY77" fmla="*/ 766006 h 2018071"/>
              <a:gd name="csX78" fmla="*/ 2586954 w 3437996"/>
              <a:gd name="csY78" fmla="*/ 757512 h 2018071"/>
              <a:gd name="csX79" fmla="*/ 2585558 w 3437996"/>
              <a:gd name="csY79" fmla="*/ 756496 h 2018071"/>
              <a:gd name="csX80" fmla="*/ 2566459 w 3437996"/>
              <a:gd name="csY80" fmla="*/ 737499 h 2018071"/>
              <a:gd name="csX81" fmla="*/ 2558352 w 3437996"/>
              <a:gd name="csY81" fmla="*/ 728962 h 2018071"/>
              <a:gd name="csX82" fmla="*/ 2547432 w 3437996"/>
              <a:gd name="csY82" fmla="*/ 718414 h 2018071"/>
              <a:gd name="csX83" fmla="*/ 2539350 w 3437996"/>
              <a:gd name="csY83" fmla="*/ 709894 h 2018071"/>
              <a:gd name="csX84" fmla="*/ 2529865 w 3437996"/>
              <a:gd name="csY84" fmla="*/ 700356 h 2018071"/>
              <a:gd name="csX85" fmla="*/ 2528460 w 3437996"/>
              <a:gd name="csY85" fmla="*/ 699259 h 2018071"/>
              <a:gd name="csX86" fmla="*/ 2510900 w 3437996"/>
              <a:gd name="csY86" fmla="*/ 681286 h 2018071"/>
              <a:gd name="csX87" fmla="*/ 2509493 w 3437996"/>
              <a:gd name="csY87" fmla="*/ 680082 h 2018071"/>
              <a:gd name="csX88" fmla="*/ 2501400 w 3437996"/>
              <a:gd name="csY88" fmla="*/ 671754 h 2018071"/>
              <a:gd name="csX89" fmla="*/ 2480984 w 3437996"/>
              <a:gd name="csY89" fmla="*/ 651408 h 2018071"/>
              <a:gd name="csX90" fmla="*/ 2472919 w 3437996"/>
              <a:gd name="csY90" fmla="*/ 643127 h 2018071"/>
              <a:gd name="csX91" fmla="*/ 2471515 w 3437996"/>
              <a:gd name="csY91" fmla="*/ 641819 h 2018071"/>
              <a:gd name="csX92" fmla="*/ 2462020 w 3437996"/>
              <a:gd name="csY92" fmla="*/ 632257 h 2018071"/>
              <a:gd name="csX93" fmla="*/ 2453925 w 3437996"/>
              <a:gd name="csY93" fmla="*/ 624049 h 2018071"/>
              <a:gd name="csX94" fmla="*/ 2452516 w 3437996"/>
              <a:gd name="csY94" fmla="*/ 622702 h 2018071"/>
              <a:gd name="csX95" fmla="*/ 2425486 w 3437996"/>
              <a:gd name="csY95" fmla="*/ 595418 h 2018071"/>
              <a:gd name="csX96" fmla="*/ 2424029 w 3437996"/>
              <a:gd name="csY96" fmla="*/ 593985 h 2018071"/>
              <a:gd name="csX97" fmla="*/ 2406640 w 3437996"/>
              <a:gd name="csY97" fmla="*/ 576281 h 2018071"/>
              <a:gd name="csX98" fmla="*/ 2397176 w 3437996"/>
              <a:gd name="csY98" fmla="*/ 566733 h 2018071"/>
              <a:gd name="csX99" fmla="*/ 2387690 w 3437996"/>
              <a:gd name="csY99" fmla="*/ 557193 h 2018071"/>
              <a:gd name="csX100" fmla="*/ 2378191 w 3437996"/>
              <a:gd name="csY100" fmla="*/ 547659 h 2018071"/>
              <a:gd name="csX101" fmla="*/ 2368704 w 3437996"/>
              <a:gd name="csY101" fmla="*/ 538124 h 2018071"/>
              <a:gd name="csX102" fmla="*/ 2350552 w 3437996"/>
              <a:gd name="csY102" fmla="*/ 519835 h 2018071"/>
              <a:gd name="csX103" fmla="*/ 2348016 w 3437996"/>
              <a:gd name="csY103" fmla="*/ 517342 h 2018071"/>
              <a:gd name="csX104" fmla="*/ 2322020 w 3437996"/>
              <a:gd name="csY104" fmla="*/ 491243 h 2018071"/>
              <a:gd name="csX105" fmla="*/ 2312510 w 3437996"/>
              <a:gd name="csY105" fmla="*/ 481725 h 2018071"/>
              <a:gd name="csX106" fmla="*/ 2309941 w 3437996"/>
              <a:gd name="csY106" fmla="*/ 479158 h 2018071"/>
              <a:gd name="csX107" fmla="*/ 2303024 w 3437996"/>
              <a:gd name="csY107" fmla="*/ 472210 h 2018071"/>
              <a:gd name="csX108" fmla="*/ 2293545 w 3437996"/>
              <a:gd name="csY108" fmla="*/ 462697 h 2018071"/>
              <a:gd name="csX109" fmla="*/ 2274560 w 3437996"/>
              <a:gd name="csY109" fmla="*/ 443646 h 2018071"/>
              <a:gd name="csX110" fmla="*/ 2265120 w 3437996"/>
              <a:gd name="csY110" fmla="*/ 434112 h 2018071"/>
              <a:gd name="csX111" fmla="*/ 2252962 w 3437996"/>
              <a:gd name="csY111" fmla="*/ 421458 h 2018071"/>
              <a:gd name="csX112" fmla="*/ 2246361 w 3437996"/>
              <a:gd name="csY112" fmla="*/ 414989 h 2018071"/>
              <a:gd name="csX113" fmla="*/ 2226101 w 3437996"/>
              <a:gd name="csY113" fmla="*/ 394472 h 2018071"/>
              <a:gd name="csX114" fmla="*/ 2204126 w 3437996"/>
              <a:gd name="csY114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44017 w 3437996"/>
              <a:gd name="csY67" fmla="*/ 814773 h 2018071"/>
              <a:gd name="csX68" fmla="*/ 2642551 w 3437996"/>
              <a:gd name="csY68" fmla="*/ 813746 h 2018071"/>
              <a:gd name="csX69" fmla="*/ 2634494 w 3437996"/>
              <a:gd name="csY69" fmla="*/ 805208 h 2018071"/>
              <a:gd name="csX70" fmla="*/ 2633053 w 3437996"/>
              <a:gd name="csY70" fmla="*/ 804210 h 2018071"/>
              <a:gd name="csX71" fmla="*/ 2624994 w 3437996"/>
              <a:gd name="csY71" fmla="*/ 795655 h 2018071"/>
              <a:gd name="csX72" fmla="*/ 2623570 w 3437996"/>
              <a:gd name="csY72" fmla="*/ 794675 h 2018071"/>
              <a:gd name="csX73" fmla="*/ 2615495 w 3437996"/>
              <a:gd name="csY73" fmla="*/ 786111 h 2018071"/>
              <a:gd name="csX74" fmla="*/ 2606007 w 3437996"/>
              <a:gd name="csY74" fmla="*/ 776562 h 2018071"/>
              <a:gd name="csX75" fmla="*/ 2604609 w 3437996"/>
              <a:gd name="csY75" fmla="*/ 775538 h 2018071"/>
              <a:gd name="csX76" fmla="*/ 2596489 w 3437996"/>
              <a:gd name="csY76" fmla="*/ 767032 h 2018071"/>
              <a:gd name="csX77" fmla="*/ 2595095 w 3437996"/>
              <a:gd name="csY77" fmla="*/ 766006 h 2018071"/>
              <a:gd name="csX78" fmla="*/ 2586954 w 3437996"/>
              <a:gd name="csY78" fmla="*/ 757512 h 2018071"/>
              <a:gd name="csX79" fmla="*/ 2585558 w 3437996"/>
              <a:gd name="csY79" fmla="*/ 756496 h 2018071"/>
              <a:gd name="csX80" fmla="*/ 2566459 w 3437996"/>
              <a:gd name="csY80" fmla="*/ 737499 h 2018071"/>
              <a:gd name="csX81" fmla="*/ 2558352 w 3437996"/>
              <a:gd name="csY81" fmla="*/ 728962 h 2018071"/>
              <a:gd name="csX82" fmla="*/ 2547432 w 3437996"/>
              <a:gd name="csY82" fmla="*/ 718414 h 2018071"/>
              <a:gd name="csX83" fmla="*/ 2539350 w 3437996"/>
              <a:gd name="csY83" fmla="*/ 709894 h 2018071"/>
              <a:gd name="csX84" fmla="*/ 2529865 w 3437996"/>
              <a:gd name="csY84" fmla="*/ 700356 h 2018071"/>
              <a:gd name="csX85" fmla="*/ 2528460 w 3437996"/>
              <a:gd name="csY85" fmla="*/ 699259 h 2018071"/>
              <a:gd name="csX86" fmla="*/ 2510900 w 3437996"/>
              <a:gd name="csY86" fmla="*/ 681286 h 2018071"/>
              <a:gd name="csX87" fmla="*/ 2509493 w 3437996"/>
              <a:gd name="csY87" fmla="*/ 680082 h 2018071"/>
              <a:gd name="csX88" fmla="*/ 2501400 w 3437996"/>
              <a:gd name="csY88" fmla="*/ 671754 h 2018071"/>
              <a:gd name="csX89" fmla="*/ 2480984 w 3437996"/>
              <a:gd name="csY89" fmla="*/ 651408 h 2018071"/>
              <a:gd name="csX90" fmla="*/ 2472919 w 3437996"/>
              <a:gd name="csY90" fmla="*/ 643127 h 2018071"/>
              <a:gd name="csX91" fmla="*/ 2471515 w 3437996"/>
              <a:gd name="csY91" fmla="*/ 641819 h 2018071"/>
              <a:gd name="csX92" fmla="*/ 2462020 w 3437996"/>
              <a:gd name="csY92" fmla="*/ 632257 h 2018071"/>
              <a:gd name="csX93" fmla="*/ 2453925 w 3437996"/>
              <a:gd name="csY93" fmla="*/ 624049 h 2018071"/>
              <a:gd name="csX94" fmla="*/ 2452516 w 3437996"/>
              <a:gd name="csY94" fmla="*/ 622702 h 2018071"/>
              <a:gd name="csX95" fmla="*/ 2425486 w 3437996"/>
              <a:gd name="csY95" fmla="*/ 595418 h 2018071"/>
              <a:gd name="csX96" fmla="*/ 2424029 w 3437996"/>
              <a:gd name="csY96" fmla="*/ 593985 h 2018071"/>
              <a:gd name="csX97" fmla="*/ 2406640 w 3437996"/>
              <a:gd name="csY97" fmla="*/ 576281 h 2018071"/>
              <a:gd name="csX98" fmla="*/ 2397176 w 3437996"/>
              <a:gd name="csY98" fmla="*/ 566733 h 2018071"/>
              <a:gd name="csX99" fmla="*/ 2387690 w 3437996"/>
              <a:gd name="csY99" fmla="*/ 557193 h 2018071"/>
              <a:gd name="csX100" fmla="*/ 2378191 w 3437996"/>
              <a:gd name="csY100" fmla="*/ 547659 h 2018071"/>
              <a:gd name="csX101" fmla="*/ 2368704 w 3437996"/>
              <a:gd name="csY101" fmla="*/ 538124 h 2018071"/>
              <a:gd name="csX102" fmla="*/ 2350552 w 3437996"/>
              <a:gd name="csY102" fmla="*/ 519835 h 2018071"/>
              <a:gd name="csX103" fmla="*/ 2348016 w 3437996"/>
              <a:gd name="csY103" fmla="*/ 517342 h 2018071"/>
              <a:gd name="csX104" fmla="*/ 2322020 w 3437996"/>
              <a:gd name="csY104" fmla="*/ 491243 h 2018071"/>
              <a:gd name="csX105" fmla="*/ 2312510 w 3437996"/>
              <a:gd name="csY105" fmla="*/ 481725 h 2018071"/>
              <a:gd name="csX106" fmla="*/ 2309941 w 3437996"/>
              <a:gd name="csY106" fmla="*/ 479158 h 2018071"/>
              <a:gd name="csX107" fmla="*/ 2293545 w 3437996"/>
              <a:gd name="csY107" fmla="*/ 462697 h 2018071"/>
              <a:gd name="csX108" fmla="*/ 2274560 w 3437996"/>
              <a:gd name="csY108" fmla="*/ 443646 h 2018071"/>
              <a:gd name="csX109" fmla="*/ 2265120 w 3437996"/>
              <a:gd name="csY109" fmla="*/ 434112 h 2018071"/>
              <a:gd name="csX110" fmla="*/ 2252962 w 3437996"/>
              <a:gd name="csY110" fmla="*/ 421458 h 2018071"/>
              <a:gd name="csX111" fmla="*/ 2246361 w 3437996"/>
              <a:gd name="csY111" fmla="*/ 414989 h 2018071"/>
              <a:gd name="csX112" fmla="*/ 2226101 w 3437996"/>
              <a:gd name="csY112" fmla="*/ 394472 h 2018071"/>
              <a:gd name="csX113" fmla="*/ 2204126 w 3437996"/>
              <a:gd name="csY113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44017 w 3437996"/>
              <a:gd name="csY67" fmla="*/ 814773 h 2018071"/>
              <a:gd name="csX68" fmla="*/ 2642551 w 3437996"/>
              <a:gd name="csY68" fmla="*/ 813746 h 2018071"/>
              <a:gd name="csX69" fmla="*/ 2634494 w 3437996"/>
              <a:gd name="csY69" fmla="*/ 805208 h 2018071"/>
              <a:gd name="csX70" fmla="*/ 2633053 w 3437996"/>
              <a:gd name="csY70" fmla="*/ 804210 h 2018071"/>
              <a:gd name="csX71" fmla="*/ 2624994 w 3437996"/>
              <a:gd name="csY71" fmla="*/ 795655 h 2018071"/>
              <a:gd name="csX72" fmla="*/ 2623570 w 3437996"/>
              <a:gd name="csY72" fmla="*/ 794675 h 2018071"/>
              <a:gd name="csX73" fmla="*/ 2615495 w 3437996"/>
              <a:gd name="csY73" fmla="*/ 786111 h 2018071"/>
              <a:gd name="csX74" fmla="*/ 2606007 w 3437996"/>
              <a:gd name="csY74" fmla="*/ 776562 h 2018071"/>
              <a:gd name="csX75" fmla="*/ 2604609 w 3437996"/>
              <a:gd name="csY75" fmla="*/ 775538 h 2018071"/>
              <a:gd name="csX76" fmla="*/ 2596489 w 3437996"/>
              <a:gd name="csY76" fmla="*/ 767032 h 2018071"/>
              <a:gd name="csX77" fmla="*/ 2595095 w 3437996"/>
              <a:gd name="csY77" fmla="*/ 766006 h 2018071"/>
              <a:gd name="csX78" fmla="*/ 2586954 w 3437996"/>
              <a:gd name="csY78" fmla="*/ 757512 h 2018071"/>
              <a:gd name="csX79" fmla="*/ 2585558 w 3437996"/>
              <a:gd name="csY79" fmla="*/ 756496 h 2018071"/>
              <a:gd name="csX80" fmla="*/ 2566459 w 3437996"/>
              <a:gd name="csY80" fmla="*/ 737499 h 2018071"/>
              <a:gd name="csX81" fmla="*/ 2558352 w 3437996"/>
              <a:gd name="csY81" fmla="*/ 728962 h 2018071"/>
              <a:gd name="csX82" fmla="*/ 2547432 w 3437996"/>
              <a:gd name="csY82" fmla="*/ 718414 h 2018071"/>
              <a:gd name="csX83" fmla="*/ 2539350 w 3437996"/>
              <a:gd name="csY83" fmla="*/ 709894 h 2018071"/>
              <a:gd name="csX84" fmla="*/ 2529865 w 3437996"/>
              <a:gd name="csY84" fmla="*/ 700356 h 2018071"/>
              <a:gd name="csX85" fmla="*/ 2528460 w 3437996"/>
              <a:gd name="csY85" fmla="*/ 699259 h 2018071"/>
              <a:gd name="csX86" fmla="*/ 2510900 w 3437996"/>
              <a:gd name="csY86" fmla="*/ 681286 h 2018071"/>
              <a:gd name="csX87" fmla="*/ 2509493 w 3437996"/>
              <a:gd name="csY87" fmla="*/ 680082 h 2018071"/>
              <a:gd name="csX88" fmla="*/ 2501400 w 3437996"/>
              <a:gd name="csY88" fmla="*/ 671754 h 2018071"/>
              <a:gd name="csX89" fmla="*/ 2480984 w 3437996"/>
              <a:gd name="csY89" fmla="*/ 651408 h 2018071"/>
              <a:gd name="csX90" fmla="*/ 2472919 w 3437996"/>
              <a:gd name="csY90" fmla="*/ 643127 h 2018071"/>
              <a:gd name="csX91" fmla="*/ 2471515 w 3437996"/>
              <a:gd name="csY91" fmla="*/ 641819 h 2018071"/>
              <a:gd name="csX92" fmla="*/ 2462020 w 3437996"/>
              <a:gd name="csY92" fmla="*/ 632257 h 2018071"/>
              <a:gd name="csX93" fmla="*/ 2453925 w 3437996"/>
              <a:gd name="csY93" fmla="*/ 624049 h 2018071"/>
              <a:gd name="csX94" fmla="*/ 2452516 w 3437996"/>
              <a:gd name="csY94" fmla="*/ 622702 h 2018071"/>
              <a:gd name="csX95" fmla="*/ 2425486 w 3437996"/>
              <a:gd name="csY95" fmla="*/ 595418 h 2018071"/>
              <a:gd name="csX96" fmla="*/ 2424029 w 3437996"/>
              <a:gd name="csY96" fmla="*/ 593985 h 2018071"/>
              <a:gd name="csX97" fmla="*/ 2406640 w 3437996"/>
              <a:gd name="csY97" fmla="*/ 576281 h 2018071"/>
              <a:gd name="csX98" fmla="*/ 2397176 w 3437996"/>
              <a:gd name="csY98" fmla="*/ 566733 h 2018071"/>
              <a:gd name="csX99" fmla="*/ 2387690 w 3437996"/>
              <a:gd name="csY99" fmla="*/ 557193 h 2018071"/>
              <a:gd name="csX100" fmla="*/ 2378191 w 3437996"/>
              <a:gd name="csY100" fmla="*/ 547659 h 2018071"/>
              <a:gd name="csX101" fmla="*/ 2368704 w 3437996"/>
              <a:gd name="csY101" fmla="*/ 538124 h 2018071"/>
              <a:gd name="csX102" fmla="*/ 2350552 w 3437996"/>
              <a:gd name="csY102" fmla="*/ 519835 h 2018071"/>
              <a:gd name="csX103" fmla="*/ 2348016 w 3437996"/>
              <a:gd name="csY103" fmla="*/ 517342 h 2018071"/>
              <a:gd name="csX104" fmla="*/ 2322020 w 3437996"/>
              <a:gd name="csY104" fmla="*/ 491243 h 2018071"/>
              <a:gd name="csX105" fmla="*/ 2312510 w 3437996"/>
              <a:gd name="csY105" fmla="*/ 481725 h 2018071"/>
              <a:gd name="csX106" fmla="*/ 2293545 w 3437996"/>
              <a:gd name="csY106" fmla="*/ 462697 h 2018071"/>
              <a:gd name="csX107" fmla="*/ 2274560 w 3437996"/>
              <a:gd name="csY107" fmla="*/ 443646 h 2018071"/>
              <a:gd name="csX108" fmla="*/ 2265120 w 3437996"/>
              <a:gd name="csY108" fmla="*/ 434112 h 2018071"/>
              <a:gd name="csX109" fmla="*/ 2252962 w 3437996"/>
              <a:gd name="csY109" fmla="*/ 421458 h 2018071"/>
              <a:gd name="csX110" fmla="*/ 2246361 w 3437996"/>
              <a:gd name="csY110" fmla="*/ 414989 h 2018071"/>
              <a:gd name="csX111" fmla="*/ 2226101 w 3437996"/>
              <a:gd name="csY111" fmla="*/ 394472 h 2018071"/>
              <a:gd name="csX112" fmla="*/ 2204126 w 3437996"/>
              <a:gd name="csY112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44017 w 3437996"/>
              <a:gd name="csY67" fmla="*/ 814773 h 2018071"/>
              <a:gd name="csX68" fmla="*/ 2642551 w 3437996"/>
              <a:gd name="csY68" fmla="*/ 813746 h 2018071"/>
              <a:gd name="csX69" fmla="*/ 2634494 w 3437996"/>
              <a:gd name="csY69" fmla="*/ 805208 h 2018071"/>
              <a:gd name="csX70" fmla="*/ 2633053 w 3437996"/>
              <a:gd name="csY70" fmla="*/ 804210 h 2018071"/>
              <a:gd name="csX71" fmla="*/ 2624994 w 3437996"/>
              <a:gd name="csY71" fmla="*/ 795655 h 2018071"/>
              <a:gd name="csX72" fmla="*/ 2623570 w 3437996"/>
              <a:gd name="csY72" fmla="*/ 794675 h 2018071"/>
              <a:gd name="csX73" fmla="*/ 2615495 w 3437996"/>
              <a:gd name="csY73" fmla="*/ 786111 h 2018071"/>
              <a:gd name="csX74" fmla="*/ 2606007 w 3437996"/>
              <a:gd name="csY74" fmla="*/ 776562 h 2018071"/>
              <a:gd name="csX75" fmla="*/ 2604609 w 3437996"/>
              <a:gd name="csY75" fmla="*/ 775538 h 2018071"/>
              <a:gd name="csX76" fmla="*/ 2596489 w 3437996"/>
              <a:gd name="csY76" fmla="*/ 767032 h 2018071"/>
              <a:gd name="csX77" fmla="*/ 2595095 w 3437996"/>
              <a:gd name="csY77" fmla="*/ 766006 h 2018071"/>
              <a:gd name="csX78" fmla="*/ 2586954 w 3437996"/>
              <a:gd name="csY78" fmla="*/ 757512 h 2018071"/>
              <a:gd name="csX79" fmla="*/ 2585558 w 3437996"/>
              <a:gd name="csY79" fmla="*/ 756496 h 2018071"/>
              <a:gd name="csX80" fmla="*/ 2566459 w 3437996"/>
              <a:gd name="csY80" fmla="*/ 737499 h 2018071"/>
              <a:gd name="csX81" fmla="*/ 2558352 w 3437996"/>
              <a:gd name="csY81" fmla="*/ 728962 h 2018071"/>
              <a:gd name="csX82" fmla="*/ 2547432 w 3437996"/>
              <a:gd name="csY82" fmla="*/ 718414 h 2018071"/>
              <a:gd name="csX83" fmla="*/ 2539350 w 3437996"/>
              <a:gd name="csY83" fmla="*/ 709894 h 2018071"/>
              <a:gd name="csX84" fmla="*/ 2529865 w 3437996"/>
              <a:gd name="csY84" fmla="*/ 700356 h 2018071"/>
              <a:gd name="csX85" fmla="*/ 2528460 w 3437996"/>
              <a:gd name="csY85" fmla="*/ 699259 h 2018071"/>
              <a:gd name="csX86" fmla="*/ 2510900 w 3437996"/>
              <a:gd name="csY86" fmla="*/ 681286 h 2018071"/>
              <a:gd name="csX87" fmla="*/ 2509493 w 3437996"/>
              <a:gd name="csY87" fmla="*/ 680082 h 2018071"/>
              <a:gd name="csX88" fmla="*/ 2501400 w 3437996"/>
              <a:gd name="csY88" fmla="*/ 671754 h 2018071"/>
              <a:gd name="csX89" fmla="*/ 2480984 w 3437996"/>
              <a:gd name="csY89" fmla="*/ 651408 h 2018071"/>
              <a:gd name="csX90" fmla="*/ 2472919 w 3437996"/>
              <a:gd name="csY90" fmla="*/ 643127 h 2018071"/>
              <a:gd name="csX91" fmla="*/ 2471515 w 3437996"/>
              <a:gd name="csY91" fmla="*/ 641819 h 2018071"/>
              <a:gd name="csX92" fmla="*/ 2462020 w 3437996"/>
              <a:gd name="csY92" fmla="*/ 632257 h 2018071"/>
              <a:gd name="csX93" fmla="*/ 2453925 w 3437996"/>
              <a:gd name="csY93" fmla="*/ 624049 h 2018071"/>
              <a:gd name="csX94" fmla="*/ 2452516 w 3437996"/>
              <a:gd name="csY94" fmla="*/ 622702 h 2018071"/>
              <a:gd name="csX95" fmla="*/ 2425486 w 3437996"/>
              <a:gd name="csY95" fmla="*/ 595418 h 2018071"/>
              <a:gd name="csX96" fmla="*/ 2424029 w 3437996"/>
              <a:gd name="csY96" fmla="*/ 593985 h 2018071"/>
              <a:gd name="csX97" fmla="*/ 2406640 w 3437996"/>
              <a:gd name="csY97" fmla="*/ 576281 h 2018071"/>
              <a:gd name="csX98" fmla="*/ 2397176 w 3437996"/>
              <a:gd name="csY98" fmla="*/ 566733 h 2018071"/>
              <a:gd name="csX99" fmla="*/ 2387690 w 3437996"/>
              <a:gd name="csY99" fmla="*/ 557193 h 2018071"/>
              <a:gd name="csX100" fmla="*/ 2378191 w 3437996"/>
              <a:gd name="csY100" fmla="*/ 547659 h 2018071"/>
              <a:gd name="csX101" fmla="*/ 2368704 w 3437996"/>
              <a:gd name="csY101" fmla="*/ 538124 h 2018071"/>
              <a:gd name="csX102" fmla="*/ 2350552 w 3437996"/>
              <a:gd name="csY102" fmla="*/ 519835 h 2018071"/>
              <a:gd name="csX103" fmla="*/ 2348016 w 3437996"/>
              <a:gd name="csY103" fmla="*/ 517342 h 2018071"/>
              <a:gd name="csX104" fmla="*/ 2322020 w 3437996"/>
              <a:gd name="csY104" fmla="*/ 491243 h 2018071"/>
              <a:gd name="csX105" fmla="*/ 2312510 w 3437996"/>
              <a:gd name="csY105" fmla="*/ 481725 h 2018071"/>
              <a:gd name="csX106" fmla="*/ 2274560 w 3437996"/>
              <a:gd name="csY106" fmla="*/ 443646 h 2018071"/>
              <a:gd name="csX107" fmla="*/ 2265120 w 3437996"/>
              <a:gd name="csY107" fmla="*/ 434112 h 2018071"/>
              <a:gd name="csX108" fmla="*/ 2252962 w 3437996"/>
              <a:gd name="csY108" fmla="*/ 421458 h 2018071"/>
              <a:gd name="csX109" fmla="*/ 2246361 w 3437996"/>
              <a:gd name="csY109" fmla="*/ 414989 h 2018071"/>
              <a:gd name="csX110" fmla="*/ 2226101 w 3437996"/>
              <a:gd name="csY110" fmla="*/ 394472 h 2018071"/>
              <a:gd name="csX111" fmla="*/ 2204126 w 3437996"/>
              <a:gd name="csY111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44017 w 3437996"/>
              <a:gd name="csY67" fmla="*/ 814773 h 2018071"/>
              <a:gd name="csX68" fmla="*/ 2642551 w 3437996"/>
              <a:gd name="csY68" fmla="*/ 813746 h 2018071"/>
              <a:gd name="csX69" fmla="*/ 2634494 w 3437996"/>
              <a:gd name="csY69" fmla="*/ 805208 h 2018071"/>
              <a:gd name="csX70" fmla="*/ 2633053 w 3437996"/>
              <a:gd name="csY70" fmla="*/ 804210 h 2018071"/>
              <a:gd name="csX71" fmla="*/ 2624994 w 3437996"/>
              <a:gd name="csY71" fmla="*/ 795655 h 2018071"/>
              <a:gd name="csX72" fmla="*/ 2623570 w 3437996"/>
              <a:gd name="csY72" fmla="*/ 794675 h 2018071"/>
              <a:gd name="csX73" fmla="*/ 2615495 w 3437996"/>
              <a:gd name="csY73" fmla="*/ 786111 h 2018071"/>
              <a:gd name="csX74" fmla="*/ 2606007 w 3437996"/>
              <a:gd name="csY74" fmla="*/ 776562 h 2018071"/>
              <a:gd name="csX75" fmla="*/ 2604609 w 3437996"/>
              <a:gd name="csY75" fmla="*/ 775538 h 2018071"/>
              <a:gd name="csX76" fmla="*/ 2596489 w 3437996"/>
              <a:gd name="csY76" fmla="*/ 767032 h 2018071"/>
              <a:gd name="csX77" fmla="*/ 2595095 w 3437996"/>
              <a:gd name="csY77" fmla="*/ 766006 h 2018071"/>
              <a:gd name="csX78" fmla="*/ 2586954 w 3437996"/>
              <a:gd name="csY78" fmla="*/ 757512 h 2018071"/>
              <a:gd name="csX79" fmla="*/ 2585558 w 3437996"/>
              <a:gd name="csY79" fmla="*/ 756496 h 2018071"/>
              <a:gd name="csX80" fmla="*/ 2566459 w 3437996"/>
              <a:gd name="csY80" fmla="*/ 737499 h 2018071"/>
              <a:gd name="csX81" fmla="*/ 2558352 w 3437996"/>
              <a:gd name="csY81" fmla="*/ 728962 h 2018071"/>
              <a:gd name="csX82" fmla="*/ 2547432 w 3437996"/>
              <a:gd name="csY82" fmla="*/ 718414 h 2018071"/>
              <a:gd name="csX83" fmla="*/ 2539350 w 3437996"/>
              <a:gd name="csY83" fmla="*/ 709894 h 2018071"/>
              <a:gd name="csX84" fmla="*/ 2529865 w 3437996"/>
              <a:gd name="csY84" fmla="*/ 700356 h 2018071"/>
              <a:gd name="csX85" fmla="*/ 2528460 w 3437996"/>
              <a:gd name="csY85" fmla="*/ 699259 h 2018071"/>
              <a:gd name="csX86" fmla="*/ 2510900 w 3437996"/>
              <a:gd name="csY86" fmla="*/ 681286 h 2018071"/>
              <a:gd name="csX87" fmla="*/ 2509493 w 3437996"/>
              <a:gd name="csY87" fmla="*/ 680082 h 2018071"/>
              <a:gd name="csX88" fmla="*/ 2501400 w 3437996"/>
              <a:gd name="csY88" fmla="*/ 671754 h 2018071"/>
              <a:gd name="csX89" fmla="*/ 2480984 w 3437996"/>
              <a:gd name="csY89" fmla="*/ 651408 h 2018071"/>
              <a:gd name="csX90" fmla="*/ 2472919 w 3437996"/>
              <a:gd name="csY90" fmla="*/ 643127 h 2018071"/>
              <a:gd name="csX91" fmla="*/ 2471515 w 3437996"/>
              <a:gd name="csY91" fmla="*/ 641819 h 2018071"/>
              <a:gd name="csX92" fmla="*/ 2462020 w 3437996"/>
              <a:gd name="csY92" fmla="*/ 632257 h 2018071"/>
              <a:gd name="csX93" fmla="*/ 2453925 w 3437996"/>
              <a:gd name="csY93" fmla="*/ 624049 h 2018071"/>
              <a:gd name="csX94" fmla="*/ 2452516 w 3437996"/>
              <a:gd name="csY94" fmla="*/ 622702 h 2018071"/>
              <a:gd name="csX95" fmla="*/ 2425486 w 3437996"/>
              <a:gd name="csY95" fmla="*/ 595418 h 2018071"/>
              <a:gd name="csX96" fmla="*/ 2424029 w 3437996"/>
              <a:gd name="csY96" fmla="*/ 593985 h 2018071"/>
              <a:gd name="csX97" fmla="*/ 2406640 w 3437996"/>
              <a:gd name="csY97" fmla="*/ 576281 h 2018071"/>
              <a:gd name="csX98" fmla="*/ 2397176 w 3437996"/>
              <a:gd name="csY98" fmla="*/ 566733 h 2018071"/>
              <a:gd name="csX99" fmla="*/ 2387690 w 3437996"/>
              <a:gd name="csY99" fmla="*/ 557193 h 2018071"/>
              <a:gd name="csX100" fmla="*/ 2378191 w 3437996"/>
              <a:gd name="csY100" fmla="*/ 547659 h 2018071"/>
              <a:gd name="csX101" fmla="*/ 2368704 w 3437996"/>
              <a:gd name="csY101" fmla="*/ 538124 h 2018071"/>
              <a:gd name="csX102" fmla="*/ 2350552 w 3437996"/>
              <a:gd name="csY102" fmla="*/ 519835 h 2018071"/>
              <a:gd name="csX103" fmla="*/ 2322020 w 3437996"/>
              <a:gd name="csY103" fmla="*/ 491243 h 2018071"/>
              <a:gd name="csX104" fmla="*/ 2312510 w 3437996"/>
              <a:gd name="csY104" fmla="*/ 481725 h 2018071"/>
              <a:gd name="csX105" fmla="*/ 2274560 w 3437996"/>
              <a:gd name="csY105" fmla="*/ 443646 h 2018071"/>
              <a:gd name="csX106" fmla="*/ 2265120 w 3437996"/>
              <a:gd name="csY106" fmla="*/ 434112 h 2018071"/>
              <a:gd name="csX107" fmla="*/ 2252962 w 3437996"/>
              <a:gd name="csY107" fmla="*/ 421458 h 2018071"/>
              <a:gd name="csX108" fmla="*/ 2246361 w 3437996"/>
              <a:gd name="csY108" fmla="*/ 414989 h 2018071"/>
              <a:gd name="csX109" fmla="*/ 2226101 w 3437996"/>
              <a:gd name="csY109" fmla="*/ 394472 h 2018071"/>
              <a:gd name="csX110" fmla="*/ 2204126 w 3437996"/>
              <a:gd name="csY110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44017 w 3437996"/>
              <a:gd name="csY67" fmla="*/ 814773 h 2018071"/>
              <a:gd name="csX68" fmla="*/ 2642551 w 3437996"/>
              <a:gd name="csY68" fmla="*/ 813746 h 2018071"/>
              <a:gd name="csX69" fmla="*/ 2634494 w 3437996"/>
              <a:gd name="csY69" fmla="*/ 805208 h 2018071"/>
              <a:gd name="csX70" fmla="*/ 2633053 w 3437996"/>
              <a:gd name="csY70" fmla="*/ 804210 h 2018071"/>
              <a:gd name="csX71" fmla="*/ 2624994 w 3437996"/>
              <a:gd name="csY71" fmla="*/ 795655 h 2018071"/>
              <a:gd name="csX72" fmla="*/ 2623570 w 3437996"/>
              <a:gd name="csY72" fmla="*/ 794675 h 2018071"/>
              <a:gd name="csX73" fmla="*/ 2615495 w 3437996"/>
              <a:gd name="csY73" fmla="*/ 786111 h 2018071"/>
              <a:gd name="csX74" fmla="*/ 2606007 w 3437996"/>
              <a:gd name="csY74" fmla="*/ 776562 h 2018071"/>
              <a:gd name="csX75" fmla="*/ 2604609 w 3437996"/>
              <a:gd name="csY75" fmla="*/ 775538 h 2018071"/>
              <a:gd name="csX76" fmla="*/ 2596489 w 3437996"/>
              <a:gd name="csY76" fmla="*/ 767032 h 2018071"/>
              <a:gd name="csX77" fmla="*/ 2595095 w 3437996"/>
              <a:gd name="csY77" fmla="*/ 766006 h 2018071"/>
              <a:gd name="csX78" fmla="*/ 2586954 w 3437996"/>
              <a:gd name="csY78" fmla="*/ 757512 h 2018071"/>
              <a:gd name="csX79" fmla="*/ 2585558 w 3437996"/>
              <a:gd name="csY79" fmla="*/ 756496 h 2018071"/>
              <a:gd name="csX80" fmla="*/ 2566459 w 3437996"/>
              <a:gd name="csY80" fmla="*/ 737499 h 2018071"/>
              <a:gd name="csX81" fmla="*/ 2558352 w 3437996"/>
              <a:gd name="csY81" fmla="*/ 728962 h 2018071"/>
              <a:gd name="csX82" fmla="*/ 2547432 w 3437996"/>
              <a:gd name="csY82" fmla="*/ 718414 h 2018071"/>
              <a:gd name="csX83" fmla="*/ 2539350 w 3437996"/>
              <a:gd name="csY83" fmla="*/ 709894 h 2018071"/>
              <a:gd name="csX84" fmla="*/ 2529865 w 3437996"/>
              <a:gd name="csY84" fmla="*/ 700356 h 2018071"/>
              <a:gd name="csX85" fmla="*/ 2528460 w 3437996"/>
              <a:gd name="csY85" fmla="*/ 699259 h 2018071"/>
              <a:gd name="csX86" fmla="*/ 2510900 w 3437996"/>
              <a:gd name="csY86" fmla="*/ 681286 h 2018071"/>
              <a:gd name="csX87" fmla="*/ 2509493 w 3437996"/>
              <a:gd name="csY87" fmla="*/ 680082 h 2018071"/>
              <a:gd name="csX88" fmla="*/ 2501400 w 3437996"/>
              <a:gd name="csY88" fmla="*/ 671754 h 2018071"/>
              <a:gd name="csX89" fmla="*/ 2480984 w 3437996"/>
              <a:gd name="csY89" fmla="*/ 651408 h 2018071"/>
              <a:gd name="csX90" fmla="*/ 2472919 w 3437996"/>
              <a:gd name="csY90" fmla="*/ 643127 h 2018071"/>
              <a:gd name="csX91" fmla="*/ 2471515 w 3437996"/>
              <a:gd name="csY91" fmla="*/ 641819 h 2018071"/>
              <a:gd name="csX92" fmla="*/ 2462020 w 3437996"/>
              <a:gd name="csY92" fmla="*/ 632257 h 2018071"/>
              <a:gd name="csX93" fmla="*/ 2453925 w 3437996"/>
              <a:gd name="csY93" fmla="*/ 624049 h 2018071"/>
              <a:gd name="csX94" fmla="*/ 2452516 w 3437996"/>
              <a:gd name="csY94" fmla="*/ 622702 h 2018071"/>
              <a:gd name="csX95" fmla="*/ 2425486 w 3437996"/>
              <a:gd name="csY95" fmla="*/ 595418 h 2018071"/>
              <a:gd name="csX96" fmla="*/ 2424029 w 3437996"/>
              <a:gd name="csY96" fmla="*/ 593985 h 2018071"/>
              <a:gd name="csX97" fmla="*/ 2406640 w 3437996"/>
              <a:gd name="csY97" fmla="*/ 576281 h 2018071"/>
              <a:gd name="csX98" fmla="*/ 2397176 w 3437996"/>
              <a:gd name="csY98" fmla="*/ 566733 h 2018071"/>
              <a:gd name="csX99" fmla="*/ 2387690 w 3437996"/>
              <a:gd name="csY99" fmla="*/ 557193 h 2018071"/>
              <a:gd name="csX100" fmla="*/ 2368704 w 3437996"/>
              <a:gd name="csY100" fmla="*/ 538124 h 2018071"/>
              <a:gd name="csX101" fmla="*/ 2350552 w 3437996"/>
              <a:gd name="csY101" fmla="*/ 519835 h 2018071"/>
              <a:gd name="csX102" fmla="*/ 2322020 w 3437996"/>
              <a:gd name="csY102" fmla="*/ 491243 h 2018071"/>
              <a:gd name="csX103" fmla="*/ 2312510 w 3437996"/>
              <a:gd name="csY103" fmla="*/ 481725 h 2018071"/>
              <a:gd name="csX104" fmla="*/ 2274560 w 3437996"/>
              <a:gd name="csY104" fmla="*/ 443646 h 2018071"/>
              <a:gd name="csX105" fmla="*/ 2265120 w 3437996"/>
              <a:gd name="csY105" fmla="*/ 434112 h 2018071"/>
              <a:gd name="csX106" fmla="*/ 2252962 w 3437996"/>
              <a:gd name="csY106" fmla="*/ 421458 h 2018071"/>
              <a:gd name="csX107" fmla="*/ 2246361 w 3437996"/>
              <a:gd name="csY107" fmla="*/ 414989 h 2018071"/>
              <a:gd name="csX108" fmla="*/ 2226101 w 3437996"/>
              <a:gd name="csY108" fmla="*/ 394472 h 2018071"/>
              <a:gd name="csX109" fmla="*/ 2204126 w 3437996"/>
              <a:gd name="csY109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44017 w 3437996"/>
              <a:gd name="csY67" fmla="*/ 814773 h 2018071"/>
              <a:gd name="csX68" fmla="*/ 2642551 w 3437996"/>
              <a:gd name="csY68" fmla="*/ 813746 h 2018071"/>
              <a:gd name="csX69" fmla="*/ 2634494 w 3437996"/>
              <a:gd name="csY69" fmla="*/ 805208 h 2018071"/>
              <a:gd name="csX70" fmla="*/ 2633053 w 3437996"/>
              <a:gd name="csY70" fmla="*/ 804210 h 2018071"/>
              <a:gd name="csX71" fmla="*/ 2624994 w 3437996"/>
              <a:gd name="csY71" fmla="*/ 795655 h 2018071"/>
              <a:gd name="csX72" fmla="*/ 2623570 w 3437996"/>
              <a:gd name="csY72" fmla="*/ 794675 h 2018071"/>
              <a:gd name="csX73" fmla="*/ 2615495 w 3437996"/>
              <a:gd name="csY73" fmla="*/ 786111 h 2018071"/>
              <a:gd name="csX74" fmla="*/ 2606007 w 3437996"/>
              <a:gd name="csY74" fmla="*/ 776562 h 2018071"/>
              <a:gd name="csX75" fmla="*/ 2604609 w 3437996"/>
              <a:gd name="csY75" fmla="*/ 775538 h 2018071"/>
              <a:gd name="csX76" fmla="*/ 2596489 w 3437996"/>
              <a:gd name="csY76" fmla="*/ 767032 h 2018071"/>
              <a:gd name="csX77" fmla="*/ 2595095 w 3437996"/>
              <a:gd name="csY77" fmla="*/ 766006 h 2018071"/>
              <a:gd name="csX78" fmla="*/ 2586954 w 3437996"/>
              <a:gd name="csY78" fmla="*/ 757512 h 2018071"/>
              <a:gd name="csX79" fmla="*/ 2585558 w 3437996"/>
              <a:gd name="csY79" fmla="*/ 756496 h 2018071"/>
              <a:gd name="csX80" fmla="*/ 2566459 w 3437996"/>
              <a:gd name="csY80" fmla="*/ 737499 h 2018071"/>
              <a:gd name="csX81" fmla="*/ 2558352 w 3437996"/>
              <a:gd name="csY81" fmla="*/ 728962 h 2018071"/>
              <a:gd name="csX82" fmla="*/ 2547432 w 3437996"/>
              <a:gd name="csY82" fmla="*/ 718414 h 2018071"/>
              <a:gd name="csX83" fmla="*/ 2539350 w 3437996"/>
              <a:gd name="csY83" fmla="*/ 709894 h 2018071"/>
              <a:gd name="csX84" fmla="*/ 2529865 w 3437996"/>
              <a:gd name="csY84" fmla="*/ 700356 h 2018071"/>
              <a:gd name="csX85" fmla="*/ 2528460 w 3437996"/>
              <a:gd name="csY85" fmla="*/ 699259 h 2018071"/>
              <a:gd name="csX86" fmla="*/ 2510900 w 3437996"/>
              <a:gd name="csY86" fmla="*/ 681286 h 2018071"/>
              <a:gd name="csX87" fmla="*/ 2509493 w 3437996"/>
              <a:gd name="csY87" fmla="*/ 680082 h 2018071"/>
              <a:gd name="csX88" fmla="*/ 2501400 w 3437996"/>
              <a:gd name="csY88" fmla="*/ 671754 h 2018071"/>
              <a:gd name="csX89" fmla="*/ 2480984 w 3437996"/>
              <a:gd name="csY89" fmla="*/ 651408 h 2018071"/>
              <a:gd name="csX90" fmla="*/ 2472919 w 3437996"/>
              <a:gd name="csY90" fmla="*/ 643127 h 2018071"/>
              <a:gd name="csX91" fmla="*/ 2471515 w 3437996"/>
              <a:gd name="csY91" fmla="*/ 641819 h 2018071"/>
              <a:gd name="csX92" fmla="*/ 2462020 w 3437996"/>
              <a:gd name="csY92" fmla="*/ 632257 h 2018071"/>
              <a:gd name="csX93" fmla="*/ 2453925 w 3437996"/>
              <a:gd name="csY93" fmla="*/ 624049 h 2018071"/>
              <a:gd name="csX94" fmla="*/ 2452516 w 3437996"/>
              <a:gd name="csY94" fmla="*/ 622702 h 2018071"/>
              <a:gd name="csX95" fmla="*/ 2425486 w 3437996"/>
              <a:gd name="csY95" fmla="*/ 595418 h 2018071"/>
              <a:gd name="csX96" fmla="*/ 2424029 w 3437996"/>
              <a:gd name="csY96" fmla="*/ 593985 h 2018071"/>
              <a:gd name="csX97" fmla="*/ 2406640 w 3437996"/>
              <a:gd name="csY97" fmla="*/ 576281 h 2018071"/>
              <a:gd name="csX98" fmla="*/ 2397176 w 3437996"/>
              <a:gd name="csY98" fmla="*/ 566733 h 2018071"/>
              <a:gd name="csX99" fmla="*/ 2368704 w 3437996"/>
              <a:gd name="csY99" fmla="*/ 538124 h 2018071"/>
              <a:gd name="csX100" fmla="*/ 2350552 w 3437996"/>
              <a:gd name="csY100" fmla="*/ 519835 h 2018071"/>
              <a:gd name="csX101" fmla="*/ 2322020 w 3437996"/>
              <a:gd name="csY101" fmla="*/ 491243 h 2018071"/>
              <a:gd name="csX102" fmla="*/ 2312510 w 3437996"/>
              <a:gd name="csY102" fmla="*/ 481725 h 2018071"/>
              <a:gd name="csX103" fmla="*/ 2274560 w 3437996"/>
              <a:gd name="csY103" fmla="*/ 443646 h 2018071"/>
              <a:gd name="csX104" fmla="*/ 2265120 w 3437996"/>
              <a:gd name="csY104" fmla="*/ 434112 h 2018071"/>
              <a:gd name="csX105" fmla="*/ 2252962 w 3437996"/>
              <a:gd name="csY105" fmla="*/ 421458 h 2018071"/>
              <a:gd name="csX106" fmla="*/ 2246361 w 3437996"/>
              <a:gd name="csY106" fmla="*/ 414989 h 2018071"/>
              <a:gd name="csX107" fmla="*/ 2226101 w 3437996"/>
              <a:gd name="csY107" fmla="*/ 394472 h 2018071"/>
              <a:gd name="csX108" fmla="*/ 2204126 w 3437996"/>
              <a:gd name="csY108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44017 w 3437996"/>
              <a:gd name="csY67" fmla="*/ 814773 h 2018071"/>
              <a:gd name="csX68" fmla="*/ 2642551 w 3437996"/>
              <a:gd name="csY68" fmla="*/ 813746 h 2018071"/>
              <a:gd name="csX69" fmla="*/ 2634494 w 3437996"/>
              <a:gd name="csY69" fmla="*/ 805208 h 2018071"/>
              <a:gd name="csX70" fmla="*/ 2633053 w 3437996"/>
              <a:gd name="csY70" fmla="*/ 804210 h 2018071"/>
              <a:gd name="csX71" fmla="*/ 2624994 w 3437996"/>
              <a:gd name="csY71" fmla="*/ 795655 h 2018071"/>
              <a:gd name="csX72" fmla="*/ 2623570 w 3437996"/>
              <a:gd name="csY72" fmla="*/ 794675 h 2018071"/>
              <a:gd name="csX73" fmla="*/ 2615495 w 3437996"/>
              <a:gd name="csY73" fmla="*/ 786111 h 2018071"/>
              <a:gd name="csX74" fmla="*/ 2606007 w 3437996"/>
              <a:gd name="csY74" fmla="*/ 776562 h 2018071"/>
              <a:gd name="csX75" fmla="*/ 2604609 w 3437996"/>
              <a:gd name="csY75" fmla="*/ 775538 h 2018071"/>
              <a:gd name="csX76" fmla="*/ 2596489 w 3437996"/>
              <a:gd name="csY76" fmla="*/ 767032 h 2018071"/>
              <a:gd name="csX77" fmla="*/ 2595095 w 3437996"/>
              <a:gd name="csY77" fmla="*/ 766006 h 2018071"/>
              <a:gd name="csX78" fmla="*/ 2586954 w 3437996"/>
              <a:gd name="csY78" fmla="*/ 757512 h 2018071"/>
              <a:gd name="csX79" fmla="*/ 2585558 w 3437996"/>
              <a:gd name="csY79" fmla="*/ 756496 h 2018071"/>
              <a:gd name="csX80" fmla="*/ 2566459 w 3437996"/>
              <a:gd name="csY80" fmla="*/ 737499 h 2018071"/>
              <a:gd name="csX81" fmla="*/ 2558352 w 3437996"/>
              <a:gd name="csY81" fmla="*/ 728962 h 2018071"/>
              <a:gd name="csX82" fmla="*/ 2547432 w 3437996"/>
              <a:gd name="csY82" fmla="*/ 718414 h 2018071"/>
              <a:gd name="csX83" fmla="*/ 2539350 w 3437996"/>
              <a:gd name="csY83" fmla="*/ 709894 h 2018071"/>
              <a:gd name="csX84" fmla="*/ 2529865 w 3437996"/>
              <a:gd name="csY84" fmla="*/ 700356 h 2018071"/>
              <a:gd name="csX85" fmla="*/ 2528460 w 3437996"/>
              <a:gd name="csY85" fmla="*/ 699259 h 2018071"/>
              <a:gd name="csX86" fmla="*/ 2510900 w 3437996"/>
              <a:gd name="csY86" fmla="*/ 681286 h 2018071"/>
              <a:gd name="csX87" fmla="*/ 2509493 w 3437996"/>
              <a:gd name="csY87" fmla="*/ 680082 h 2018071"/>
              <a:gd name="csX88" fmla="*/ 2501400 w 3437996"/>
              <a:gd name="csY88" fmla="*/ 671754 h 2018071"/>
              <a:gd name="csX89" fmla="*/ 2480984 w 3437996"/>
              <a:gd name="csY89" fmla="*/ 651408 h 2018071"/>
              <a:gd name="csX90" fmla="*/ 2472919 w 3437996"/>
              <a:gd name="csY90" fmla="*/ 643127 h 2018071"/>
              <a:gd name="csX91" fmla="*/ 2471515 w 3437996"/>
              <a:gd name="csY91" fmla="*/ 641819 h 2018071"/>
              <a:gd name="csX92" fmla="*/ 2462020 w 3437996"/>
              <a:gd name="csY92" fmla="*/ 632257 h 2018071"/>
              <a:gd name="csX93" fmla="*/ 2453925 w 3437996"/>
              <a:gd name="csY93" fmla="*/ 624049 h 2018071"/>
              <a:gd name="csX94" fmla="*/ 2452516 w 3437996"/>
              <a:gd name="csY94" fmla="*/ 622702 h 2018071"/>
              <a:gd name="csX95" fmla="*/ 2425486 w 3437996"/>
              <a:gd name="csY95" fmla="*/ 595418 h 2018071"/>
              <a:gd name="csX96" fmla="*/ 2424029 w 3437996"/>
              <a:gd name="csY96" fmla="*/ 593985 h 2018071"/>
              <a:gd name="csX97" fmla="*/ 2406640 w 3437996"/>
              <a:gd name="csY97" fmla="*/ 576281 h 2018071"/>
              <a:gd name="csX98" fmla="*/ 2368704 w 3437996"/>
              <a:gd name="csY98" fmla="*/ 538124 h 2018071"/>
              <a:gd name="csX99" fmla="*/ 2350552 w 3437996"/>
              <a:gd name="csY99" fmla="*/ 519835 h 2018071"/>
              <a:gd name="csX100" fmla="*/ 2322020 w 3437996"/>
              <a:gd name="csY100" fmla="*/ 491243 h 2018071"/>
              <a:gd name="csX101" fmla="*/ 2312510 w 3437996"/>
              <a:gd name="csY101" fmla="*/ 481725 h 2018071"/>
              <a:gd name="csX102" fmla="*/ 2274560 w 3437996"/>
              <a:gd name="csY102" fmla="*/ 443646 h 2018071"/>
              <a:gd name="csX103" fmla="*/ 2265120 w 3437996"/>
              <a:gd name="csY103" fmla="*/ 434112 h 2018071"/>
              <a:gd name="csX104" fmla="*/ 2252962 w 3437996"/>
              <a:gd name="csY104" fmla="*/ 421458 h 2018071"/>
              <a:gd name="csX105" fmla="*/ 2246361 w 3437996"/>
              <a:gd name="csY105" fmla="*/ 414989 h 2018071"/>
              <a:gd name="csX106" fmla="*/ 2226101 w 3437996"/>
              <a:gd name="csY106" fmla="*/ 394472 h 2018071"/>
              <a:gd name="csX107" fmla="*/ 2204126 w 3437996"/>
              <a:gd name="csY107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44017 w 3437996"/>
              <a:gd name="csY67" fmla="*/ 814773 h 2018071"/>
              <a:gd name="csX68" fmla="*/ 2642551 w 3437996"/>
              <a:gd name="csY68" fmla="*/ 813746 h 2018071"/>
              <a:gd name="csX69" fmla="*/ 2634494 w 3437996"/>
              <a:gd name="csY69" fmla="*/ 805208 h 2018071"/>
              <a:gd name="csX70" fmla="*/ 2633053 w 3437996"/>
              <a:gd name="csY70" fmla="*/ 804210 h 2018071"/>
              <a:gd name="csX71" fmla="*/ 2624994 w 3437996"/>
              <a:gd name="csY71" fmla="*/ 795655 h 2018071"/>
              <a:gd name="csX72" fmla="*/ 2623570 w 3437996"/>
              <a:gd name="csY72" fmla="*/ 794675 h 2018071"/>
              <a:gd name="csX73" fmla="*/ 2615495 w 3437996"/>
              <a:gd name="csY73" fmla="*/ 786111 h 2018071"/>
              <a:gd name="csX74" fmla="*/ 2606007 w 3437996"/>
              <a:gd name="csY74" fmla="*/ 776562 h 2018071"/>
              <a:gd name="csX75" fmla="*/ 2604609 w 3437996"/>
              <a:gd name="csY75" fmla="*/ 775538 h 2018071"/>
              <a:gd name="csX76" fmla="*/ 2596489 w 3437996"/>
              <a:gd name="csY76" fmla="*/ 767032 h 2018071"/>
              <a:gd name="csX77" fmla="*/ 2595095 w 3437996"/>
              <a:gd name="csY77" fmla="*/ 766006 h 2018071"/>
              <a:gd name="csX78" fmla="*/ 2586954 w 3437996"/>
              <a:gd name="csY78" fmla="*/ 757512 h 2018071"/>
              <a:gd name="csX79" fmla="*/ 2585558 w 3437996"/>
              <a:gd name="csY79" fmla="*/ 756496 h 2018071"/>
              <a:gd name="csX80" fmla="*/ 2566459 w 3437996"/>
              <a:gd name="csY80" fmla="*/ 737499 h 2018071"/>
              <a:gd name="csX81" fmla="*/ 2558352 w 3437996"/>
              <a:gd name="csY81" fmla="*/ 728962 h 2018071"/>
              <a:gd name="csX82" fmla="*/ 2547432 w 3437996"/>
              <a:gd name="csY82" fmla="*/ 718414 h 2018071"/>
              <a:gd name="csX83" fmla="*/ 2539350 w 3437996"/>
              <a:gd name="csY83" fmla="*/ 709894 h 2018071"/>
              <a:gd name="csX84" fmla="*/ 2529865 w 3437996"/>
              <a:gd name="csY84" fmla="*/ 700356 h 2018071"/>
              <a:gd name="csX85" fmla="*/ 2528460 w 3437996"/>
              <a:gd name="csY85" fmla="*/ 699259 h 2018071"/>
              <a:gd name="csX86" fmla="*/ 2510900 w 3437996"/>
              <a:gd name="csY86" fmla="*/ 681286 h 2018071"/>
              <a:gd name="csX87" fmla="*/ 2509493 w 3437996"/>
              <a:gd name="csY87" fmla="*/ 680082 h 2018071"/>
              <a:gd name="csX88" fmla="*/ 2501400 w 3437996"/>
              <a:gd name="csY88" fmla="*/ 671754 h 2018071"/>
              <a:gd name="csX89" fmla="*/ 2480984 w 3437996"/>
              <a:gd name="csY89" fmla="*/ 651408 h 2018071"/>
              <a:gd name="csX90" fmla="*/ 2472919 w 3437996"/>
              <a:gd name="csY90" fmla="*/ 643127 h 2018071"/>
              <a:gd name="csX91" fmla="*/ 2471515 w 3437996"/>
              <a:gd name="csY91" fmla="*/ 641819 h 2018071"/>
              <a:gd name="csX92" fmla="*/ 2453925 w 3437996"/>
              <a:gd name="csY92" fmla="*/ 624049 h 2018071"/>
              <a:gd name="csX93" fmla="*/ 2452516 w 3437996"/>
              <a:gd name="csY93" fmla="*/ 622702 h 2018071"/>
              <a:gd name="csX94" fmla="*/ 2425486 w 3437996"/>
              <a:gd name="csY94" fmla="*/ 595418 h 2018071"/>
              <a:gd name="csX95" fmla="*/ 2424029 w 3437996"/>
              <a:gd name="csY95" fmla="*/ 593985 h 2018071"/>
              <a:gd name="csX96" fmla="*/ 2406640 w 3437996"/>
              <a:gd name="csY96" fmla="*/ 576281 h 2018071"/>
              <a:gd name="csX97" fmla="*/ 2368704 w 3437996"/>
              <a:gd name="csY97" fmla="*/ 538124 h 2018071"/>
              <a:gd name="csX98" fmla="*/ 2350552 w 3437996"/>
              <a:gd name="csY98" fmla="*/ 519835 h 2018071"/>
              <a:gd name="csX99" fmla="*/ 2322020 w 3437996"/>
              <a:gd name="csY99" fmla="*/ 491243 h 2018071"/>
              <a:gd name="csX100" fmla="*/ 2312510 w 3437996"/>
              <a:gd name="csY100" fmla="*/ 481725 h 2018071"/>
              <a:gd name="csX101" fmla="*/ 2274560 w 3437996"/>
              <a:gd name="csY101" fmla="*/ 443646 h 2018071"/>
              <a:gd name="csX102" fmla="*/ 2265120 w 3437996"/>
              <a:gd name="csY102" fmla="*/ 434112 h 2018071"/>
              <a:gd name="csX103" fmla="*/ 2252962 w 3437996"/>
              <a:gd name="csY103" fmla="*/ 421458 h 2018071"/>
              <a:gd name="csX104" fmla="*/ 2246361 w 3437996"/>
              <a:gd name="csY104" fmla="*/ 414989 h 2018071"/>
              <a:gd name="csX105" fmla="*/ 2226101 w 3437996"/>
              <a:gd name="csY105" fmla="*/ 394472 h 2018071"/>
              <a:gd name="csX106" fmla="*/ 2204126 w 3437996"/>
              <a:gd name="csY106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44017 w 3437996"/>
              <a:gd name="csY67" fmla="*/ 814773 h 2018071"/>
              <a:gd name="csX68" fmla="*/ 2642551 w 3437996"/>
              <a:gd name="csY68" fmla="*/ 813746 h 2018071"/>
              <a:gd name="csX69" fmla="*/ 2634494 w 3437996"/>
              <a:gd name="csY69" fmla="*/ 805208 h 2018071"/>
              <a:gd name="csX70" fmla="*/ 2633053 w 3437996"/>
              <a:gd name="csY70" fmla="*/ 804210 h 2018071"/>
              <a:gd name="csX71" fmla="*/ 2624994 w 3437996"/>
              <a:gd name="csY71" fmla="*/ 795655 h 2018071"/>
              <a:gd name="csX72" fmla="*/ 2623570 w 3437996"/>
              <a:gd name="csY72" fmla="*/ 794675 h 2018071"/>
              <a:gd name="csX73" fmla="*/ 2615495 w 3437996"/>
              <a:gd name="csY73" fmla="*/ 786111 h 2018071"/>
              <a:gd name="csX74" fmla="*/ 2606007 w 3437996"/>
              <a:gd name="csY74" fmla="*/ 776562 h 2018071"/>
              <a:gd name="csX75" fmla="*/ 2604609 w 3437996"/>
              <a:gd name="csY75" fmla="*/ 775538 h 2018071"/>
              <a:gd name="csX76" fmla="*/ 2596489 w 3437996"/>
              <a:gd name="csY76" fmla="*/ 767032 h 2018071"/>
              <a:gd name="csX77" fmla="*/ 2595095 w 3437996"/>
              <a:gd name="csY77" fmla="*/ 766006 h 2018071"/>
              <a:gd name="csX78" fmla="*/ 2586954 w 3437996"/>
              <a:gd name="csY78" fmla="*/ 757512 h 2018071"/>
              <a:gd name="csX79" fmla="*/ 2585558 w 3437996"/>
              <a:gd name="csY79" fmla="*/ 756496 h 2018071"/>
              <a:gd name="csX80" fmla="*/ 2566459 w 3437996"/>
              <a:gd name="csY80" fmla="*/ 737499 h 2018071"/>
              <a:gd name="csX81" fmla="*/ 2558352 w 3437996"/>
              <a:gd name="csY81" fmla="*/ 728962 h 2018071"/>
              <a:gd name="csX82" fmla="*/ 2547432 w 3437996"/>
              <a:gd name="csY82" fmla="*/ 718414 h 2018071"/>
              <a:gd name="csX83" fmla="*/ 2539350 w 3437996"/>
              <a:gd name="csY83" fmla="*/ 709894 h 2018071"/>
              <a:gd name="csX84" fmla="*/ 2529865 w 3437996"/>
              <a:gd name="csY84" fmla="*/ 700356 h 2018071"/>
              <a:gd name="csX85" fmla="*/ 2528460 w 3437996"/>
              <a:gd name="csY85" fmla="*/ 699259 h 2018071"/>
              <a:gd name="csX86" fmla="*/ 2510900 w 3437996"/>
              <a:gd name="csY86" fmla="*/ 681286 h 2018071"/>
              <a:gd name="csX87" fmla="*/ 2509493 w 3437996"/>
              <a:gd name="csY87" fmla="*/ 680082 h 2018071"/>
              <a:gd name="csX88" fmla="*/ 2501400 w 3437996"/>
              <a:gd name="csY88" fmla="*/ 671754 h 2018071"/>
              <a:gd name="csX89" fmla="*/ 2480984 w 3437996"/>
              <a:gd name="csY89" fmla="*/ 651408 h 2018071"/>
              <a:gd name="csX90" fmla="*/ 2472919 w 3437996"/>
              <a:gd name="csY90" fmla="*/ 643127 h 2018071"/>
              <a:gd name="csX91" fmla="*/ 2453925 w 3437996"/>
              <a:gd name="csY91" fmla="*/ 624049 h 2018071"/>
              <a:gd name="csX92" fmla="*/ 2452516 w 3437996"/>
              <a:gd name="csY92" fmla="*/ 622702 h 2018071"/>
              <a:gd name="csX93" fmla="*/ 2425486 w 3437996"/>
              <a:gd name="csY93" fmla="*/ 595418 h 2018071"/>
              <a:gd name="csX94" fmla="*/ 2424029 w 3437996"/>
              <a:gd name="csY94" fmla="*/ 593985 h 2018071"/>
              <a:gd name="csX95" fmla="*/ 2406640 w 3437996"/>
              <a:gd name="csY95" fmla="*/ 576281 h 2018071"/>
              <a:gd name="csX96" fmla="*/ 2368704 w 3437996"/>
              <a:gd name="csY96" fmla="*/ 538124 h 2018071"/>
              <a:gd name="csX97" fmla="*/ 2350552 w 3437996"/>
              <a:gd name="csY97" fmla="*/ 519835 h 2018071"/>
              <a:gd name="csX98" fmla="*/ 2322020 w 3437996"/>
              <a:gd name="csY98" fmla="*/ 491243 h 2018071"/>
              <a:gd name="csX99" fmla="*/ 2312510 w 3437996"/>
              <a:gd name="csY99" fmla="*/ 481725 h 2018071"/>
              <a:gd name="csX100" fmla="*/ 2274560 w 3437996"/>
              <a:gd name="csY100" fmla="*/ 443646 h 2018071"/>
              <a:gd name="csX101" fmla="*/ 2265120 w 3437996"/>
              <a:gd name="csY101" fmla="*/ 434112 h 2018071"/>
              <a:gd name="csX102" fmla="*/ 2252962 w 3437996"/>
              <a:gd name="csY102" fmla="*/ 421458 h 2018071"/>
              <a:gd name="csX103" fmla="*/ 2246361 w 3437996"/>
              <a:gd name="csY103" fmla="*/ 414989 h 2018071"/>
              <a:gd name="csX104" fmla="*/ 2226101 w 3437996"/>
              <a:gd name="csY104" fmla="*/ 394472 h 2018071"/>
              <a:gd name="csX105" fmla="*/ 2204126 w 3437996"/>
              <a:gd name="csY105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44017 w 3437996"/>
              <a:gd name="csY67" fmla="*/ 814773 h 2018071"/>
              <a:gd name="csX68" fmla="*/ 2642551 w 3437996"/>
              <a:gd name="csY68" fmla="*/ 813746 h 2018071"/>
              <a:gd name="csX69" fmla="*/ 2634494 w 3437996"/>
              <a:gd name="csY69" fmla="*/ 805208 h 2018071"/>
              <a:gd name="csX70" fmla="*/ 2633053 w 3437996"/>
              <a:gd name="csY70" fmla="*/ 804210 h 2018071"/>
              <a:gd name="csX71" fmla="*/ 2624994 w 3437996"/>
              <a:gd name="csY71" fmla="*/ 795655 h 2018071"/>
              <a:gd name="csX72" fmla="*/ 2623570 w 3437996"/>
              <a:gd name="csY72" fmla="*/ 794675 h 2018071"/>
              <a:gd name="csX73" fmla="*/ 2615495 w 3437996"/>
              <a:gd name="csY73" fmla="*/ 786111 h 2018071"/>
              <a:gd name="csX74" fmla="*/ 2606007 w 3437996"/>
              <a:gd name="csY74" fmla="*/ 776562 h 2018071"/>
              <a:gd name="csX75" fmla="*/ 2604609 w 3437996"/>
              <a:gd name="csY75" fmla="*/ 775538 h 2018071"/>
              <a:gd name="csX76" fmla="*/ 2596489 w 3437996"/>
              <a:gd name="csY76" fmla="*/ 767032 h 2018071"/>
              <a:gd name="csX77" fmla="*/ 2595095 w 3437996"/>
              <a:gd name="csY77" fmla="*/ 766006 h 2018071"/>
              <a:gd name="csX78" fmla="*/ 2586954 w 3437996"/>
              <a:gd name="csY78" fmla="*/ 757512 h 2018071"/>
              <a:gd name="csX79" fmla="*/ 2585558 w 3437996"/>
              <a:gd name="csY79" fmla="*/ 756496 h 2018071"/>
              <a:gd name="csX80" fmla="*/ 2566459 w 3437996"/>
              <a:gd name="csY80" fmla="*/ 737499 h 2018071"/>
              <a:gd name="csX81" fmla="*/ 2558352 w 3437996"/>
              <a:gd name="csY81" fmla="*/ 728962 h 2018071"/>
              <a:gd name="csX82" fmla="*/ 2547432 w 3437996"/>
              <a:gd name="csY82" fmla="*/ 718414 h 2018071"/>
              <a:gd name="csX83" fmla="*/ 2539350 w 3437996"/>
              <a:gd name="csY83" fmla="*/ 709894 h 2018071"/>
              <a:gd name="csX84" fmla="*/ 2529865 w 3437996"/>
              <a:gd name="csY84" fmla="*/ 700356 h 2018071"/>
              <a:gd name="csX85" fmla="*/ 2510900 w 3437996"/>
              <a:gd name="csY85" fmla="*/ 681286 h 2018071"/>
              <a:gd name="csX86" fmla="*/ 2509493 w 3437996"/>
              <a:gd name="csY86" fmla="*/ 680082 h 2018071"/>
              <a:gd name="csX87" fmla="*/ 2501400 w 3437996"/>
              <a:gd name="csY87" fmla="*/ 671754 h 2018071"/>
              <a:gd name="csX88" fmla="*/ 2480984 w 3437996"/>
              <a:gd name="csY88" fmla="*/ 651408 h 2018071"/>
              <a:gd name="csX89" fmla="*/ 2472919 w 3437996"/>
              <a:gd name="csY89" fmla="*/ 643127 h 2018071"/>
              <a:gd name="csX90" fmla="*/ 2453925 w 3437996"/>
              <a:gd name="csY90" fmla="*/ 624049 h 2018071"/>
              <a:gd name="csX91" fmla="*/ 2452516 w 3437996"/>
              <a:gd name="csY91" fmla="*/ 622702 h 2018071"/>
              <a:gd name="csX92" fmla="*/ 2425486 w 3437996"/>
              <a:gd name="csY92" fmla="*/ 595418 h 2018071"/>
              <a:gd name="csX93" fmla="*/ 2424029 w 3437996"/>
              <a:gd name="csY93" fmla="*/ 593985 h 2018071"/>
              <a:gd name="csX94" fmla="*/ 2406640 w 3437996"/>
              <a:gd name="csY94" fmla="*/ 576281 h 2018071"/>
              <a:gd name="csX95" fmla="*/ 2368704 w 3437996"/>
              <a:gd name="csY95" fmla="*/ 538124 h 2018071"/>
              <a:gd name="csX96" fmla="*/ 2350552 w 3437996"/>
              <a:gd name="csY96" fmla="*/ 519835 h 2018071"/>
              <a:gd name="csX97" fmla="*/ 2322020 w 3437996"/>
              <a:gd name="csY97" fmla="*/ 491243 h 2018071"/>
              <a:gd name="csX98" fmla="*/ 2312510 w 3437996"/>
              <a:gd name="csY98" fmla="*/ 481725 h 2018071"/>
              <a:gd name="csX99" fmla="*/ 2274560 w 3437996"/>
              <a:gd name="csY99" fmla="*/ 443646 h 2018071"/>
              <a:gd name="csX100" fmla="*/ 2265120 w 3437996"/>
              <a:gd name="csY100" fmla="*/ 434112 h 2018071"/>
              <a:gd name="csX101" fmla="*/ 2252962 w 3437996"/>
              <a:gd name="csY101" fmla="*/ 421458 h 2018071"/>
              <a:gd name="csX102" fmla="*/ 2246361 w 3437996"/>
              <a:gd name="csY102" fmla="*/ 414989 h 2018071"/>
              <a:gd name="csX103" fmla="*/ 2226101 w 3437996"/>
              <a:gd name="csY103" fmla="*/ 394472 h 2018071"/>
              <a:gd name="csX104" fmla="*/ 2204126 w 3437996"/>
              <a:gd name="csY104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44017 w 3437996"/>
              <a:gd name="csY67" fmla="*/ 814773 h 2018071"/>
              <a:gd name="csX68" fmla="*/ 2642551 w 3437996"/>
              <a:gd name="csY68" fmla="*/ 813746 h 2018071"/>
              <a:gd name="csX69" fmla="*/ 2634494 w 3437996"/>
              <a:gd name="csY69" fmla="*/ 805208 h 2018071"/>
              <a:gd name="csX70" fmla="*/ 2633053 w 3437996"/>
              <a:gd name="csY70" fmla="*/ 804210 h 2018071"/>
              <a:gd name="csX71" fmla="*/ 2624994 w 3437996"/>
              <a:gd name="csY71" fmla="*/ 795655 h 2018071"/>
              <a:gd name="csX72" fmla="*/ 2623570 w 3437996"/>
              <a:gd name="csY72" fmla="*/ 794675 h 2018071"/>
              <a:gd name="csX73" fmla="*/ 2615495 w 3437996"/>
              <a:gd name="csY73" fmla="*/ 786111 h 2018071"/>
              <a:gd name="csX74" fmla="*/ 2606007 w 3437996"/>
              <a:gd name="csY74" fmla="*/ 776562 h 2018071"/>
              <a:gd name="csX75" fmla="*/ 2604609 w 3437996"/>
              <a:gd name="csY75" fmla="*/ 775538 h 2018071"/>
              <a:gd name="csX76" fmla="*/ 2596489 w 3437996"/>
              <a:gd name="csY76" fmla="*/ 767032 h 2018071"/>
              <a:gd name="csX77" fmla="*/ 2595095 w 3437996"/>
              <a:gd name="csY77" fmla="*/ 766006 h 2018071"/>
              <a:gd name="csX78" fmla="*/ 2586954 w 3437996"/>
              <a:gd name="csY78" fmla="*/ 757512 h 2018071"/>
              <a:gd name="csX79" fmla="*/ 2585558 w 3437996"/>
              <a:gd name="csY79" fmla="*/ 756496 h 2018071"/>
              <a:gd name="csX80" fmla="*/ 2566459 w 3437996"/>
              <a:gd name="csY80" fmla="*/ 737499 h 2018071"/>
              <a:gd name="csX81" fmla="*/ 2558352 w 3437996"/>
              <a:gd name="csY81" fmla="*/ 728962 h 2018071"/>
              <a:gd name="csX82" fmla="*/ 2547432 w 3437996"/>
              <a:gd name="csY82" fmla="*/ 718414 h 2018071"/>
              <a:gd name="csX83" fmla="*/ 2539350 w 3437996"/>
              <a:gd name="csY83" fmla="*/ 709894 h 2018071"/>
              <a:gd name="csX84" fmla="*/ 2529865 w 3437996"/>
              <a:gd name="csY84" fmla="*/ 700356 h 2018071"/>
              <a:gd name="csX85" fmla="*/ 2510900 w 3437996"/>
              <a:gd name="csY85" fmla="*/ 681286 h 2018071"/>
              <a:gd name="csX86" fmla="*/ 2509493 w 3437996"/>
              <a:gd name="csY86" fmla="*/ 680082 h 2018071"/>
              <a:gd name="csX87" fmla="*/ 2480984 w 3437996"/>
              <a:gd name="csY87" fmla="*/ 651408 h 2018071"/>
              <a:gd name="csX88" fmla="*/ 2472919 w 3437996"/>
              <a:gd name="csY88" fmla="*/ 643127 h 2018071"/>
              <a:gd name="csX89" fmla="*/ 2453925 w 3437996"/>
              <a:gd name="csY89" fmla="*/ 624049 h 2018071"/>
              <a:gd name="csX90" fmla="*/ 2452516 w 3437996"/>
              <a:gd name="csY90" fmla="*/ 622702 h 2018071"/>
              <a:gd name="csX91" fmla="*/ 2425486 w 3437996"/>
              <a:gd name="csY91" fmla="*/ 595418 h 2018071"/>
              <a:gd name="csX92" fmla="*/ 2424029 w 3437996"/>
              <a:gd name="csY92" fmla="*/ 593985 h 2018071"/>
              <a:gd name="csX93" fmla="*/ 2406640 w 3437996"/>
              <a:gd name="csY93" fmla="*/ 576281 h 2018071"/>
              <a:gd name="csX94" fmla="*/ 2368704 w 3437996"/>
              <a:gd name="csY94" fmla="*/ 538124 h 2018071"/>
              <a:gd name="csX95" fmla="*/ 2350552 w 3437996"/>
              <a:gd name="csY95" fmla="*/ 519835 h 2018071"/>
              <a:gd name="csX96" fmla="*/ 2322020 w 3437996"/>
              <a:gd name="csY96" fmla="*/ 491243 h 2018071"/>
              <a:gd name="csX97" fmla="*/ 2312510 w 3437996"/>
              <a:gd name="csY97" fmla="*/ 481725 h 2018071"/>
              <a:gd name="csX98" fmla="*/ 2274560 w 3437996"/>
              <a:gd name="csY98" fmla="*/ 443646 h 2018071"/>
              <a:gd name="csX99" fmla="*/ 2265120 w 3437996"/>
              <a:gd name="csY99" fmla="*/ 434112 h 2018071"/>
              <a:gd name="csX100" fmla="*/ 2252962 w 3437996"/>
              <a:gd name="csY100" fmla="*/ 421458 h 2018071"/>
              <a:gd name="csX101" fmla="*/ 2246361 w 3437996"/>
              <a:gd name="csY101" fmla="*/ 414989 h 2018071"/>
              <a:gd name="csX102" fmla="*/ 2226101 w 3437996"/>
              <a:gd name="csY102" fmla="*/ 394472 h 2018071"/>
              <a:gd name="csX103" fmla="*/ 2204126 w 3437996"/>
              <a:gd name="csY103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44017 w 3437996"/>
              <a:gd name="csY67" fmla="*/ 814773 h 2018071"/>
              <a:gd name="csX68" fmla="*/ 2642551 w 3437996"/>
              <a:gd name="csY68" fmla="*/ 813746 h 2018071"/>
              <a:gd name="csX69" fmla="*/ 2634494 w 3437996"/>
              <a:gd name="csY69" fmla="*/ 805208 h 2018071"/>
              <a:gd name="csX70" fmla="*/ 2633053 w 3437996"/>
              <a:gd name="csY70" fmla="*/ 804210 h 2018071"/>
              <a:gd name="csX71" fmla="*/ 2624994 w 3437996"/>
              <a:gd name="csY71" fmla="*/ 795655 h 2018071"/>
              <a:gd name="csX72" fmla="*/ 2623570 w 3437996"/>
              <a:gd name="csY72" fmla="*/ 794675 h 2018071"/>
              <a:gd name="csX73" fmla="*/ 2615495 w 3437996"/>
              <a:gd name="csY73" fmla="*/ 786111 h 2018071"/>
              <a:gd name="csX74" fmla="*/ 2606007 w 3437996"/>
              <a:gd name="csY74" fmla="*/ 776562 h 2018071"/>
              <a:gd name="csX75" fmla="*/ 2604609 w 3437996"/>
              <a:gd name="csY75" fmla="*/ 775538 h 2018071"/>
              <a:gd name="csX76" fmla="*/ 2596489 w 3437996"/>
              <a:gd name="csY76" fmla="*/ 767032 h 2018071"/>
              <a:gd name="csX77" fmla="*/ 2595095 w 3437996"/>
              <a:gd name="csY77" fmla="*/ 766006 h 2018071"/>
              <a:gd name="csX78" fmla="*/ 2586954 w 3437996"/>
              <a:gd name="csY78" fmla="*/ 757512 h 2018071"/>
              <a:gd name="csX79" fmla="*/ 2585558 w 3437996"/>
              <a:gd name="csY79" fmla="*/ 756496 h 2018071"/>
              <a:gd name="csX80" fmla="*/ 2566459 w 3437996"/>
              <a:gd name="csY80" fmla="*/ 737499 h 2018071"/>
              <a:gd name="csX81" fmla="*/ 2558352 w 3437996"/>
              <a:gd name="csY81" fmla="*/ 728962 h 2018071"/>
              <a:gd name="csX82" fmla="*/ 2547432 w 3437996"/>
              <a:gd name="csY82" fmla="*/ 718414 h 2018071"/>
              <a:gd name="csX83" fmla="*/ 2539350 w 3437996"/>
              <a:gd name="csY83" fmla="*/ 709894 h 2018071"/>
              <a:gd name="csX84" fmla="*/ 2529865 w 3437996"/>
              <a:gd name="csY84" fmla="*/ 700356 h 2018071"/>
              <a:gd name="csX85" fmla="*/ 2510900 w 3437996"/>
              <a:gd name="csY85" fmla="*/ 681286 h 2018071"/>
              <a:gd name="csX86" fmla="*/ 2509493 w 3437996"/>
              <a:gd name="csY86" fmla="*/ 680082 h 2018071"/>
              <a:gd name="csX87" fmla="*/ 2480984 w 3437996"/>
              <a:gd name="csY87" fmla="*/ 651408 h 2018071"/>
              <a:gd name="csX88" fmla="*/ 2453925 w 3437996"/>
              <a:gd name="csY88" fmla="*/ 624049 h 2018071"/>
              <a:gd name="csX89" fmla="*/ 2452516 w 3437996"/>
              <a:gd name="csY89" fmla="*/ 622702 h 2018071"/>
              <a:gd name="csX90" fmla="*/ 2425486 w 3437996"/>
              <a:gd name="csY90" fmla="*/ 595418 h 2018071"/>
              <a:gd name="csX91" fmla="*/ 2424029 w 3437996"/>
              <a:gd name="csY91" fmla="*/ 593985 h 2018071"/>
              <a:gd name="csX92" fmla="*/ 2406640 w 3437996"/>
              <a:gd name="csY92" fmla="*/ 576281 h 2018071"/>
              <a:gd name="csX93" fmla="*/ 2368704 w 3437996"/>
              <a:gd name="csY93" fmla="*/ 538124 h 2018071"/>
              <a:gd name="csX94" fmla="*/ 2350552 w 3437996"/>
              <a:gd name="csY94" fmla="*/ 519835 h 2018071"/>
              <a:gd name="csX95" fmla="*/ 2322020 w 3437996"/>
              <a:gd name="csY95" fmla="*/ 491243 h 2018071"/>
              <a:gd name="csX96" fmla="*/ 2312510 w 3437996"/>
              <a:gd name="csY96" fmla="*/ 481725 h 2018071"/>
              <a:gd name="csX97" fmla="*/ 2274560 w 3437996"/>
              <a:gd name="csY97" fmla="*/ 443646 h 2018071"/>
              <a:gd name="csX98" fmla="*/ 2265120 w 3437996"/>
              <a:gd name="csY98" fmla="*/ 434112 h 2018071"/>
              <a:gd name="csX99" fmla="*/ 2252962 w 3437996"/>
              <a:gd name="csY99" fmla="*/ 421458 h 2018071"/>
              <a:gd name="csX100" fmla="*/ 2246361 w 3437996"/>
              <a:gd name="csY100" fmla="*/ 414989 h 2018071"/>
              <a:gd name="csX101" fmla="*/ 2226101 w 3437996"/>
              <a:gd name="csY101" fmla="*/ 394472 h 2018071"/>
              <a:gd name="csX102" fmla="*/ 2204126 w 3437996"/>
              <a:gd name="csY102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44017 w 3437996"/>
              <a:gd name="csY67" fmla="*/ 814773 h 2018071"/>
              <a:gd name="csX68" fmla="*/ 2642551 w 3437996"/>
              <a:gd name="csY68" fmla="*/ 813746 h 2018071"/>
              <a:gd name="csX69" fmla="*/ 2634494 w 3437996"/>
              <a:gd name="csY69" fmla="*/ 805208 h 2018071"/>
              <a:gd name="csX70" fmla="*/ 2624994 w 3437996"/>
              <a:gd name="csY70" fmla="*/ 795655 h 2018071"/>
              <a:gd name="csX71" fmla="*/ 2623570 w 3437996"/>
              <a:gd name="csY71" fmla="*/ 794675 h 2018071"/>
              <a:gd name="csX72" fmla="*/ 2615495 w 3437996"/>
              <a:gd name="csY72" fmla="*/ 786111 h 2018071"/>
              <a:gd name="csX73" fmla="*/ 2606007 w 3437996"/>
              <a:gd name="csY73" fmla="*/ 776562 h 2018071"/>
              <a:gd name="csX74" fmla="*/ 2604609 w 3437996"/>
              <a:gd name="csY74" fmla="*/ 775538 h 2018071"/>
              <a:gd name="csX75" fmla="*/ 2596489 w 3437996"/>
              <a:gd name="csY75" fmla="*/ 767032 h 2018071"/>
              <a:gd name="csX76" fmla="*/ 2595095 w 3437996"/>
              <a:gd name="csY76" fmla="*/ 766006 h 2018071"/>
              <a:gd name="csX77" fmla="*/ 2586954 w 3437996"/>
              <a:gd name="csY77" fmla="*/ 757512 h 2018071"/>
              <a:gd name="csX78" fmla="*/ 2585558 w 3437996"/>
              <a:gd name="csY78" fmla="*/ 756496 h 2018071"/>
              <a:gd name="csX79" fmla="*/ 2566459 w 3437996"/>
              <a:gd name="csY79" fmla="*/ 737499 h 2018071"/>
              <a:gd name="csX80" fmla="*/ 2558352 w 3437996"/>
              <a:gd name="csY80" fmla="*/ 728962 h 2018071"/>
              <a:gd name="csX81" fmla="*/ 2547432 w 3437996"/>
              <a:gd name="csY81" fmla="*/ 718414 h 2018071"/>
              <a:gd name="csX82" fmla="*/ 2539350 w 3437996"/>
              <a:gd name="csY82" fmla="*/ 709894 h 2018071"/>
              <a:gd name="csX83" fmla="*/ 2529865 w 3437996"/>
              <a:gd name="csY83" fmla="*/ 700356 h 2018071"/>
              <a:gd name="csX84" fmla="*/ 2510900 w 3437996"/>
              <a:gd name="csY84" fmla="*/ 681286 h 2018071"/>
              <a:gd name="csX85" fmla="*/ 2509493 w 3437996"/>
              <a:gd name="csY85" fmla="*/ 680082 h 2018071"/>
              <a:gd name="csX86" fmla="*/ 2480984 w 3437996"/>
              <a:gd name="csY86" fmla="*/ 651408 h 2018071"/>
              <a:gd name="csX87" fmla="*/ 2453925 w 3437996"/>
              <a:gd name="csY87" fmla="*/ 624049 h 2018071"/>
              <a:gd name="csX88" fmla="*/ 2452516 w 3437996"/>
              <a:gd name="csY88" fmla="*/ 622702 h 2018071"/>
              <a:gd name="csX89" fmla="*/ 2425486 w 3437996"/>
              <a:gd name="csY89" fmla="*/ 595418 h 2018071"/>
              <a:gd name="csX90" fmla="*/ 2424029 w 3437996"/>
              <a:gd name="csY90" fmla="*/ 593985 h 2018071"/>
              <a:gd name="csX91" fmla="*/ 2406640 w 3437996"/>
              <a:gd name="csY91" fmla="*/ 576281 h 2018071"/>
              <a:gd name="csX92" fmla="*/ 2368704 w 3437996"/>
              <a:gd name="csY92" fmla="*/ 538124 h 2018071"/>
              <a:gd name="csX93" fmla="*/ 2350552 w 3437996"/>
              <a:gd name="csY93" fmla="*/ 519835 h 2018071"/>
              <a:gd name="csX94" fmla="*/ 2322020 w 3437996"/>
              <a:gd name="csY94" fmla="*/ 491243 h 2018071"/>
              <a:gd name="csX95" fmla="*/ 2312510 w 3437996"/>
              <a:gd name="csY95" fmla="*/ 481725 h 2018071"/>
              <a:gd name="csX96" fmla="*/ 2274560 w 3437996"/>
              <a:gd name="csY96" fmla="*/ 443646 h 2018071"/>
              <a:gd name="csX97" fmla="*/ 2265120 w 3437996"/>
              <a:gd name="csY97" fmla="*/ 434112 h 2018071"/>
              <a:gd name="csX98" fmla="*/ 2252962 w 3437996"/>
              <a:gd name="csY98" fmla="*/ 421458 h 2018071"/>
              <a:gd name="csX99" fmla="*/ 2246361 w 3437996"/>
              <a:gd name="csY99" fmla="*/ 414989 h 2018071"/>
              <a:gd name="csX100" fmla="*/ 2226101 w 3437996"/>
              <a:gd name="csY100" fmla="*/ 394472 h 2018071"/>
              <a:gd name="csX101" fmla="*/ 2204126 w 3437996"/>
              <a:gd name="csY101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44017 w 3437996"/>
              <a:gd name="csY67" fmla="*/ 814773 h 2018071"/>
              <a:gd name="csX68" fmla="*/ 2634494 w 3437996"/>
              <a:gd name="csY68" fmla="*/ 805208 h 2018071"/>
              <a:gd name="csX69" fmla="*/ 2624994 w 3437996"/>
              <a:gd name="csY69" fmla="*/ 795655 h 2018071"/>
              <a:gd name="csX70" fmla="*/ 2623570 w 3437996"/>
              <a:gd name="csY70" fmla="*/ 794675 h 2018071"/>
              <a:gd name="csX71" fmla="*/ 2615495 w 3437996"/>
              <a:gd name="csY71" fmla="*/ 786111 h 2018071"/>
              <a:gd name="csX72" fmla="*/ 2606007 w 3437996"/>
              <a:gd name="csY72" fmla="*/ 776562 h 2018071"/>
              <a:gd name="csX73" fmla="*/ 2604609 w 3437996"/>
              <a:gd name="csY73" fmla="*/ 775538 h 2018071"/>
              <a:gd name="csX74" fmla="*/ 2596489 w 3437996"/>
              <a:gd name="csY74" fmla="*/ 767032 h 2018071"/>
              <a:gd name="csX75" fmla="*/ 2595095 w 3437996"/>
              <a:gd name="csY75" fmla="*/ 766006 h 2018071"/>
              <a:gd name="csX76" fmla="*/ 2586954 w 3437996"/>
              <a:gd name="csY76" fmla="*/ 757512 h 2018071"/>
              <a:gd name="csX77" fmla="*/ 2585558 w 3437996"/>
              <a:gd name="csY77" fmla="*/ 756496 h 2018071"/>
              <a:gd name="csX78" fmla="*/ 2566459 w 3437996"/>
              <a:gd name="csY78" fmla="*/ 737499 h 2018071"/>
              <a:gd name="csX79" fmla="*/ 2558352 w 3437996"/>
              <a:gd name="csY79" fmla="*/ 728962 h 2018071"/>
              <a:gd name="csX80" fmla="*/ 2547432 w 3437996"/>
              <a:gd name="csY80" fmla="*/ 718414 h 2018071"/>
              <a:gd name="csX81" fmla="*/ 2539350 w 3437996"/>
              <a:gd name="csY81" fmla="*/ 709894 h 2018071"/>
              <a:gd name="csX82" fmla="*/ 2529865 w 3437996"/>
              <a:gd name="csY82" fmla="*/ 700356 h 2018071"/>
              <a:gd name="csX83" fmla="*/ 2510900 w 3437996"/>
              <a:gd name="csY83" fmla="*/ 681286 h 2018071"/>
              <a:gd name="csX84" fmla="*/ 2509493 w 3437996"/>
              <a:gd name="csY84" fmla="*/ 680082 h 2018071"/>
              <a:gd name="csX85" fmla="*/ 2480984 w 3437996"/>
              <a:gd name="csY85" fmla="*/ 651408 h 2018071"/>
              <a:gd name="csX86" fmla="*/ 2453925 w 3437996"/>
              <a:gd name="csY86" fmla="*/ 624049 h 2018071"/>
              <a:gd name="csX87" fmla="*/ 2452516 w 3437996"/>
              <a:gd name="csY87" fmla="*/ 622702 h 2018071"/>
              <a:gd name="csX88" fmla="*/ 2425486 w 3437996"/>
              <a:gd name="csY88" fmla="*/ 595418 h 2018071"/>
              <a:gd name="csX89" fmla="*/ 2424029 w 3437996"/>
              <a:gd name="csY89" fmla="*/ 593985 h 2018071"/>
              <a:gd name="csX90" fmla="*/ 2406640 w 3437996"/>
              <a:gd name="csY90" fmla="*/ 576281 h 2018071"/>
              <a:gd name="csX91" fmla="*/ 2368704 w 3437996"/>
              <a:gd name="csY91" fmla="*/ 538124 h 2018071"/>
              <a:gd name="csX92" fmla="*/ 2350552 w 3437996"/>
              <a:gd name="csY92" fmla="*/ 519835 h 2018071"/>
              <a:gd name="csX93" fmla="*/ 2322020 w 3437996"/>
              <a:gd name="csY93" fmla="*/ 491243 h 2018071"/>
              <a:gd name="csX94" fmla="*/ 2312510 w 3437996"/>
              <a:gd name="csY94" fmla="*/ 481725 h 2018071"/>
              <a:gd name="csX95" fmla="*/ 2274560 w 3437996"/>
              <a:gd name="csY95" fmla="*/ 443646 h 2018071"/>
              <a:gd name="csX96" fmla="*/ 2265120 w 3437996"/>
              <a:gd name="csY96" fmla="*/ 434112 h 2018071"/>
              <a:gd name="csX97" fmla="*/ 2252962 w 3437996"/>
              <a:gd name="csY97" fmla="*/ 421458 h 2018071"/>
              <a:gd name="csX98" fmla="*/ 2246361 w 3437996"/>
              <a:gd name="csY98" fmla="*/ 414989 h 2018071"/>
              <a:gd name="csX99" fmla="*/ 2226101 w 3437996"/>
              <a:gd name="csY99" fmla="*/ 394472 h 2018071"/>
              <a:gd name="csX100" fmla="*/ 2204126 w 3437996"/>
              <a:gd name="csY100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44017 w 3437996"/>
              <a:gd name="csY67" fmla="*/ 814773 h 2018071"/>
              <a:gd name="csX68" fmla="*/ 2634494 w 3437996"/>
              <a:gd name="csY68" fmla="*/ 805208 h 2018071"/>
              <a:gd name="csX69" fmla="*/ 2624994 w 3437996"/>
              <a:gd name="csY69" fmla="*/ 795655 h 2018071"/>
              <a:gd name="csX70" fmla="*/ 2623570 w 3437996"/>
              <a:gd name="csY70" fmla="*/ 794675 h 2018071"/>
              <a:gd name="csX71" fmla="*/ 2606007 w 3437996"/>
              <a:gd name="csY71" fmla="*/ 776562 h 2018071"/>
              <a:gd name="csX72" fmla="*/ 2604609 w 3437996"/>
              <a:gd name="csY72" fmla="*/ 775538 h 2018071"/>
              <a:gd name="csX73" fmla="*/ 2596489 w 3437996"/>
              <a:gd name="csY73" fmla="*/ 767032 h 2018071"/>
              <a:gd name="csX74" fmla="*/ 2595095 w 3437996"/>
              <a:gd name="csY74" fmla="*/ 766006 h 2018071"/>
              <a:gd name="csX75" fmla="*/ 2586954 w 3437996"/>
              <a:gd name="csY75" fmla="*/ 757512 h 2018071"/>
              <a:gd name="csX76" fmla="*/ 2585558 w 3437996"/>
              <a:gd name="csY76" fmla="*/ 756496 h 2018071"/>
              <a:gd name="csX77" fmla="*/ 2566459 w 3437996"/>
              <a:gd name="csY77" fmla="*/ 737499 h 2018071"/>
              <a:gd name="csX78" fmla="*/ 2558352 w 3437996"/>
              <a:gd name="csY78" fmla="*/ 728962 h 2018071"/>
              <a:gd name="csX79" fmla="*/ 2547432 w 3437996"/>
              <a:gd name="csY79" fmla="*/ 718414 h 2018071"/>
              <a:gd name="csX80" fmla="*/ 2539350 w 3437996"/>
              <a:gd name="csY80" fmla="*/ 709894 h 2018071"/>
              <a:gd name="csX81" fmla="*/ 2529865 w 3437996"/>
              <a:gd name="csY81" fmla="*/ 700356 h 2018071"/>
              <a:gd name="csX82" fmla="*/ 2510900 w 3437996"/>
              <a:gd name="csY82" fmla="*/ 681286 h 2018071"/>
              <a:gd name="csX83" fmla="*/ 2509493 w 3437996"/>
              <a:gd name="csY83" fmla="*/ 680082 h 2018071"/>
              <a:gd name="csX84" fmla="*/ 2480984 w 3437996"/>
              <a:gd name="csY84" fmla="*/ 651408 h 2018071"/>
              <a:gd name="csX85" fmla="*/ 2453925 w 3437996"/>
              <a:gd name="csY85" fmla="*/ 624049 h 2018071"/>
              <a:gd name="csX86" fmla="*/ 2452516 w 3437996"/>
              <a:gd name="csY86" fmla="*/ 622702 h 2018071"/>
              <a:gd name="csX87" fmla="*/ 2425486 w 3437996"/>
              <a:gd name="csY87" fmla="*/ 595418 h 2018071"/>
              <a:gd name="csX88" fmla="*/ 2424029 w 3437996"/>
              <a:gd name="csY88" fmla="*/ 593985 h 2018071"/>
              <a:gd name="csX89" fmla="*/ 2406640 w 3437996"/>
              <a:gd name="csY89" fmla="*/ 576281 h 2018071"/>
              <a:gd name="csX90" fmla="*/ 2368704 w 3437996"/>
              <a:gd name="csY90" fmla="*/ 538124 h 2018071"/>
              <a:gd name="csX91" fmla="*/ 2350552 w 3437996"/>
              <a:gd name="csY91" fmla="*/ 519835 h 2018071"/>
              <a:gd name="csX92" fmla="*/ 2322020 w 3437996"/>
              <a:gd name="csY92" fmla="*/ 491243 h 2018071"/>
              <a:gd name="csX93" fmla="*/ 2312510 w 3437996"/>
              <a:gd name="csY93" fmla="*/ 481725 h 2018071"/>
              <a:gd name="csX94" fmla="*/ 2274560 w 3437996"/>
              <a:gd name="csY94" fmla="*/ 443646 h 2018071"/>
              <a:gd name="csX95" fmla="*/ 2265120 w 3437996"/>
              <a:gd name="csY95" fmla="*/ 434112 h 2018071"/>
              <a:gd name="csX96" fmla="*/ 2252962 w 3437996"/>
              <a:gd name="csY96" fmla="*/ 421458 h 2018071"/>
              <a:gd name="csX97" fmla="*/ 2246361 w 3437996"/>
              <a:gd name="csY97" fmla="*/ 414989 h 2018071"/>
              <a:gd name="csX98" fmla="*/ 2226101 w 3437996"/>
              <a:gd name="csY98" fmla="*/ 394472 h 2018071"/>
              <a:gd name="csX99" fmla="*/ 2204126 w 3437996"/>
              <a:gd name="csY99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44017 w 3437996"/>
              <a:gd name="csY67" fmla="*/ 814773 h 2018071"/>
              <a:gd name="csX68" fmla="*/ 2634494 w 3437996"/>
              <a:gd name="csY68" fmla="*/ 805208 h 2018071"/>
              <a:gd name="csX69" fmla="*/ 2624994 w 3437996"/>
              <a:gd name="csY69" fmla="*/ 795655 h 2018071"/>
              <a:gd name="csX70" fmla="*/ 2623570 w 3437996"/>
              <a:gd name="csY70" fmla="*/ 794675 h 2018071"/>
              <a:gd name="csX71" fmla="*/ 2606007 w 3437996"/>
              <a:gd name="csY71" fmla="*/ 776562 h 2018071"/>
              <a:gd name="csX72" fmla="*/ 2604609 w 3437996"/>
              <a:gd name="csY72" fmla="*/ 775538 h 2018071"/>
              <a:gd name="csX73" fmla="*/ 2596489 w 3437996"/>
              <a:gd name="csY73" fmla="*/ 767032 h 2018071"/>
              <a:gd name="csX74" fmla="*/ 2595095 w 3437996"/>
              <a:gd name="csY74" fmla="*/ 766006 h 2018071"/>
              <a:gd name="csX75" fmla="*/ 2586954 w 3437996"/>
              <a:gd name="csY75" fmla="*/ 757512 h 2018071"/>
              <a:gd name="csX76" fmla="*/ 2566459 w 3437996"/>
              <a:gd name="csY76" fmla="*/ 737499 h 2018071"/>
              <a:gd name="csX77" fmla="*/ 2558352 w 3437996"/>
              <a:gd name="csY77" fmla="*/ 728962 h 2018071"/>
              <a:gd name="csX78" fmla="*/ 2547432 w 3437996"/>
              <a:gd name="csY78" fmla="*/ 718414 h 2018071"/>
              <a:gd name="csX79" fmla="*/ 2539350 w 3437996"/>
              <a:gd name="csY79" fmla="*/ 709894 h 2018071"/>
              <a:gd name="csX80" fmla="*/ 2529865 w 3437996"/>
              <a:gd name="csY80" fmla="*/ 700356 h 2018071"/>
              <a:gd name="csX81" fmla="*/ 2510900 w 3437996"/>
              <a:gd name="csY81" fmla="*/ 681286 h 2018071"/>
              <a:gd name="csX82" fmla="*/ 2509493 w 3437996"/>
              <a:gd name="csY82" fmla="*/ 680082 h 2018071"/>
              <a:gd name="csX83" fmla="*/ 2480984 w 3437996"/>
              <a:gd name="csY83" fmla="*/ 651408 h 2018071"/>
              <a:gd name="csX84" fmla="*/ 2453925 w 3437996"/>
              <a:gd name="csY84" fmla="*/ 624049 h 2018071"/>
              <a:gd name="csX85" fmla="*/ 2452516 w 3437996"/>
              <a:gd name="csY85" fmla="*/ 622702 h 2018071"/>
              <a:gd name="csX86" fmla="*/ 2425486 w 3437996"/>
              <a:gd name="csY86" fmla="*/ 595418 h 2018071"/>
              <a:gd name="csX87" fmla="*/ 2424029 w 3437996"/>
              <a:gd name="csY87" fmla="*/ 593985 h 2018071"/>
              <a:gd name="csX88" fmla="*/ 2406640 w 3437996"/>
              <a:gd name="csY88" fmla="*/ 576281 h 2018071"/>
              <a:gd name="csX89" fmla="*/ 2368704 w 3437996"/>
              <a:gd name="csY89" fmla="*/ 538124 h 2018071"/>
              <a:gd name="csX90" fmla="*/ 2350552 w 3437996"/>
              <a:gd name="csY90" fmla="*/ 519835 h 2018071"/>
              <a:gd name="csX91" fmla="*/ 2322020 w 3437996"/>
              <a:gd name="csY91" fmla="*/ 491243 h 2018071"/>
              <a:gd name="csX92" fmla="*/ 2312510 w 3437996"/>
              <a:gd name="csY92" fmla="*/ 481725 h 2018071"/>
              <a:gd name="csX93" fmla="*/ 2274560 w 3437996"/>
              <a:gd name="csY93" fmla="*/ 443646 h 2018071"/>
              <a:gd name="csX94" fmla="*/ 2265120 w 3437996"/>
              <a:gd name="csY94" fmla="*/ 434112 h 2018071"/>
              <a:gd name="csX95" fmla="*/ 2252962 w 3437996"/>
              <a:gd name="csY95" fmla="*/ 421458 h 2018071"/>
              <a:gd name="csX96" fmla="*/ 2246361 w 3437996"/>
              <a:gd name="csY96" fmla="*/ 414989 h 2018071"/>
              <a:gd name="csX97" fmla="*/ 2226101 w 3437996"/>
              <a:gd name="csY97" fmla="*/ 394472 h 2018071"/>
              <a:gd name="csX98" fmla="*/ 2204126 w 3437996"/>
              <a:gd name="csY98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44017 w 3437996"/>
              <a:gd name="csY67" fmla="*/ 814773 h 2018071"/>
              <a:gd name="csX68" fmla="*/ 2634494 w 3437996"/>
              <a:gd name="csY68" fmla="*/ 805208 h 2018071"/>
              <a:gd name="csX69" fmla="*/ 2623570 w 3437996"/>
              <a:gd name="csY69" fmla="*/ 794675 h 2018071"/>
              <a:gd name="csX70" fmla="*/ 2606007 w 3437996"/>
              <a:gd name="csY70" fmla="*/ 776562 h 2018071"/>
              <a:gd name="csX71" fmla="*/ 2604609 w 3437996"/>
              <a:gd name="csY71" fmla="*/ 775538 h 2018071"/>
              <a:gd name="csX72" fmla="*/ 2596489 w 3437996"/>
              <a:gd name="csY72" fmla="*/ 767032 h 2018071"/>
              <a:gd name="csX73" fmla="*/ 2595095 w 3437996"/>
              <a:gd name="csY73" fmla="*/ 766006 h 2018071"/>
              <a:gd name="csX74" fmla="*/ 2586954 w 3437996"/>
              <a:gd name="csY74" fmla="*/ 757512 h 2018071"/>
              <a:gd name="csX75" fmla="*/ 2566459 w 3437996"/>
              <a:gd name="csY75" fmla="*/ 737499 h 2018071"/>
              <a:gd name="csX76" fmla="*/ 2558352 w 3437996"/>
              <a:gd name="csY76" fmla="*/ 728962 h 2018071"/>
              <a:gd name="csX77" fmla="*/ 2547432 w 3437996"/>
              <a:gd name="csY77" fmla="*/ 718414 h 2018071"/>
              <a:gd name="csX78" fmla="*/ 2539350 w 3437996"/>
              <a:gd name="csY78" fmla="*/ 709894 h 2018071"/>
              <a:gd name="csX79" fmla="*/ 2529865 w 3437996"/>
              <a:gd name="csY79" fmla="*/ 700356 h 2018071"/>
              <a:gd name="csX80" fmla="*/ 2510900 w 3437996"/>
              <a:gd name="csY80" fmla="*/ 681286 h 2018071"/>
              <a:gd name="csX81" fmla="*/ 2509493 w 3437996"/>
              <a:gd name="csY81" fmla="*/ 680082 h 2018071"/>
              <a:gd name="csX82" fmla="*/ 2480984 w 3437996"/>
              <a:gd name="csY82" fmla="*/ 651408 h 2018071"/>
              <a:gd name="csX83" fmla="*/ 2453925 w 3437996"/>
              <a:gd name="csY83" fmla="*/ 624049 h 2018071"/>
              <a:gd name="csX84" fmla="*/ 2452516 w 3437996"/>
              <a:gd name="csY84" fmla="*/ 622702 h 2018071"/>
              <a:gd name="csX85" fmla="*/ 2425486 w 3437996"/>
              <a:gd name="csY85" fmla="*/ 595418 h 2018071"/>
              <a:gd name="csX86" fmla="*/ 2424029 w 3437996"/>
              <a:gd name="csY86" fmla="*/ 593985 h 2018071"/>
              <a:gd name="csX87" fmla="*/ 2406640 w 3437996"/>
              <a:gd name="csY87" fmla="*/ 576281 h 2018071"/>
              <a:gd name="csX88" fmla="*/ 2368704 w 3437996"/>
              <a:gd name="csY88" fmla="*/ 538124 h 2018071"/>
              <a:gd name="csX89" fmla="*/ 2350552 w 3437996"/>
              <a:gd name="csY89" fmla="*/ 519835 h 2018071"/>
              <a:gd name="csX90" fmla="*/ 2322020 w 3437996"/>
              <a:gd name="csY90" fmla="*/ 491243 h 2018071"/>
              <a:gd name="csX91" fmla="*/ 2312510 w 3437996"/>
              <a:gd name="csY91" fmla="*/ 481725 h 2018071"/>
              <a:gd name="csX92" fmla="*/ 2274560 w 3437996"/>
              <a:gd name="csY92" fmla="*/ 443646 h 2018071"/>
              <a:gd name="csX93" fmla="*/ 2265120 w 3437996"/>
              <a:gd name="csY93" fmla="*/ 434112 h 2018071"/>
              <a:gd name="csX94" fmla="*/ 2252962 w 3437996"/>
              <a:gd name="csY94" fmla="*/ 421458 h 2018071"/>
              <a:gd name="csX95" fmla="*/ 2246361 w 3437996"/>
              <a:gd name="csY95" fmla="*/ 414989 h 2018071"/>
              <a:gd name="csX96" fmla="*/ 2226101 w 3437996"/>
              <a:gd name="csY96" fmla="*/ 394472 h 2018071"/>
              <a:gd name="csX97" fmla="*/ 2204126 w 3437996"/>
              <a:gd name="csY97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44017 w 3437996"/>
              <a:gd name="csY67" fmla="*/ 814773 h 2018071"/>
              <a:gd name="csX68" fmla="*/ 2634494 w 3437996"/>
              <a:gd name="csY68" fmla="*/ 805208 h 2018071"/>
              <a:gd name="csX69" fmla="*/ 2623570 w 3437996"/>
              <a:gd name="csY69" fmla="*/ 794675 h 2018071"/>
              <a:gd name="csX70" fmla="*/ 2606007 w 3437996"/>
              <a:gd name="csY70" fmla="*/ 776562 h 2018071"/>
              <a:gd name="csX71" fmla="*/ 2604609 w 3437996"/>
              <a:gd name="csY71" fmla="*/ 775538 h 2018071"/>
              <a:gd name="csX72" fmla="*/ 2596489 w 3437996"/>
              <a:gd name="csY72" fmla="*/ 767032 h 2018071"/>
              <a:gd name="csX73" fmla="*/ 2586954 w 3437996"/>
              <a:gd name="csY73" fmla="*/ 757512 h 2018071"/>
              <a:gd name="csX74" fmla="*/ 2566459 w 3437996"/>
              <a:gd name="csY74" fmla="*/ 737499 h 2018071"/>
              <a:gd name="csX75" fmla="*/ 2558352 w 3437996"/>
              <a:gd name="csY75" fmla="*/ 728962 h 2018071"/>
              <a:gd name="csX76" fmla="*/ 2547432 w 3437996"/>
              <a:gd name="csY76" fmla="*/ 718414 h 2018071"/>
              <a:gd name="csX77" fmla="*/ 2539350 w 3437996"/>
              <a:gd name="csY77" fmla="*/ 709894 h 2018071"/>
              <a:gd name="csX78" fmla="*/ 2529865 w 3437996"/>
              <a:gd name="csY78" fmla="*/ 700356 h 2018071"/>
              <a:gd name="csX79" fmla="*/ 2510900 w 3437996"/>
              <a:gd name="csY79" fmla="*/ 681286 h 2018071"/>
              <a:gd name="csX80" fmla="*/ 2509493 w 3437996"/>
              <a:gd name="csY80" fmla="*/ 680082 h 2018071"/>
              <a:gd name="csX81" fmla="*/ 2480984 w 3437996"/>
              <a:gd name="csY81" fmla="*/ 651408 h 2018071"/>
              <a:gd name="csX82" fmla="*/ 2453925 w 3437996"/>
              <a:gd name="csY82" fmla="*/ 624049 h 2018071"/>
              <a:gd name="csX83" fmla="*/ 2452516 w 3437996"/>
              <a:gd name="csY83" fmla="*/ 622702 h 2018071"/>
              <a:gd name="csX84" fmla="*/ 2425486 w 3437996"/>
              <a:gd name="csY84" fmla="*/ 595418 h 2018071"/>
              <a:gd name="csX85" fmla="*/ 2424029 w 3437996"/>
              <a:gd name="csY85" fmla="*/ 593985 h 2018071"/>
              <a:gd name="csX86" fmla="*/ 2406640 w 3437996"/>
              <a:gd name="csY86" fmla="*/ 576281 h 2018071"/>
              <a:gd name="csX87" fmla="*/ 2368704 w 3437996"/>
              <a:gd name="csY87" fmla="*/ 538124 h 2018071"/>
              <a:gd name="csX88" fmla="*/ 2350552 w 3437996"/>
              <a:gd name="csY88" fmla="*/ 519835 h 2018071"/>
              <a:gd name="csX89" fmla="*/ 2322020 w 3437996"/>
              <a:gd name="csY89" fmla="*/ 491243 h 2018071"/>
              <a:gd name="csX90" fmla="*/ 2312510 w 3437996"/>
              <a:gd name="csY90" fmla="*/ 481725 h 2018071"/>
              <a:gd name="csX91" fmla="*/ 2274560 w 3437996"/>
              <a:gd name="csY91" fmla="*/ 443646 h 2018071"/>
              <a:gd name="csX92" fmla="*/ 2265120 w 3437996"/>
              <a:gd name="csY92" fmla="*/ 434112 h 2018071"/>
              <a:gd name="csX93" fmla="*/ 2252962 w 3437996"/>
              <a:gd name="csY93" fmla="*/ 421458 h 2018071"/>
              <a:gd name="csX94" fmla="*/ 2246361 w 3437996"/>
              <a:gd name="csY94" fmla="*/ 414989 h 2018071"/>
              <a:gd name="csX95" fmla="*/ 2226101 w 3437996"/>
              <a:gd name="csY95" fmla="*/ 394472 h 2018071"/>
              <a:gd name="csX96" fmla="*/ 2204126 w 3437996"/>
              <a:gd name="csY96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44017 w 3437996"/>
              <a:gd name="csY67" fmla="*/ 814773 h 2018071"/>
              <a:gd name="csX68" fmla="*/ 2623570 w 3437996"/>
              <a:gd name="csY68" fmla="*/ 794675 h 2018071"/>
              <a:gd name="csX69" fmla="*/ 2606007 w 3437996"/>
              <a:gd name="csY69" fmla="*/ 776562 h 2018071"/>
              <a:gd name="csX70" fmla="*/ 2604609 w 3437996"/>
              <a:gd name="csY70" fmla="*/ 775538 h 2018071"/>
              <a:gd name="csX71" fmla="*/ 2596489 w 3437996"/>
              <a:gd name="csY71" fmla="*/ 767032 h 2018071"/>
              <a:gd name="csX72" fmla="*/ 2586954 w 3437996"/>
              <a:gd name="csY72" fmla="*/ 757512 h 2018071"/>
              <a:gd name="csX73" fmla="*/ 2566459 w 3437996"/>
              <a:gd name="csY73" fmla="*/ 737499 h 2018071"/>
              <a:gd name="csX74" fmla="*/ 2558352 w 3437996"/>
              <a:gd name="csY74" fmla="*/ 728962 h 2018071"/>
              <a:gd name="csX75" fmla="*/ 2547432 w 3437996"/>
              <a:gd name="csY75" fmla="*/ 718414 h 2018071"/>
              <a:gd name="csX76" fmla="*/ 2539350 w 3437996"/>
              <a:gd name="csY76" fmla="*/ 709894 h 2018071"/>
              <a:gd name="csX77" fmla="*/ 2529865 w 3437996"/>
              <a:gd name="csY77" fmla="*/ 700356 h 2018071"/>
              <a:gd name="csX78" fmla="*/ 2510900 w 3437996"/>
              <a:gd name="csY78" fmla="*/ 681286 h 2018071"/>
              <a:gd name="csX79" fmla="*/ 2509493 w 3437996"/>
              <a:gd name="csY79" fmla="*/ 680082 h 2018071"/>
              <a:gd name="csX80" fmla="*/ 2480984 w 3437996"/>
              <a:gd name="csY80" fmla="*/ 651408 h 2018071"/>
              <a:gd name="csX81" fmla="*/ 2453925 w 3437996"/>
              <a:gd name="csY81" fmla="*/ 624049 h 2018071"/>
              <a:gd name="csX82" fmla="*/ 2452516 w 3437996"/>
              <a:gd name="csY82" fmla="*/ 622702 h 2018071"/>
              <a:gd name="csX83" fmla="*/ 2425486 w 3437996"/>
              <a:gd name="csY83" fmla="*/ 595418 h 2018071"/>
              <a:gd name="csX84" fmla="*/ 2424029 w 3437996"/>
              <a:gd name="csY84" fmla="*/ 593985 h 2018071"/>
              <a:gd name="csX85" fmla="*/ 2406640 w 3437996"/>
              <a:gd name="csY85" fmla="*/ 576281 h 2018071"/>
              <a:gd name="csX86" fmla="*/ 2368704 w 3437996"/>
              <a:gd name="csY86" fmla="*/ 538124 h 2018071"/>
              <a:gd name="csX87" fmla="*/ 2350552 w 3437996"/>
              <a:gd name="csY87" fmla="*/ 519835 h 2018071"/>
              <a:gd name="csX88" fmla="*/ 2322020 w 3437996"/>
              <a:gd name="csY88" fmla="*/ 491243 h 2018071"/>
              <a:gd name="csX89" fmla="*/ 2312510 w 3437996"/>
              <a:gd name="csY89" fmla="*/ 481725 h 2018071"/>
              <a:gd name="csX90" fmla="*/ 2274560 w 3437996"/>
              <a:gd name="csY90" fmla="*/ 443646 h 2018071"/>
              <a:gd name="csX91" fmla="*/ 2265120 w 3437996"/>
              <a:gd name="csY91" fmla="*/ 434112 h 2018071"/>
              <a:gd name="csX92" fmla="*/ 2252962 w 3437996"/>
              <a:gd name="csY92" fmla="*/ 421458 h 2018071"/>
              <a:gd name="csX93" fmla="*/ 2246361 w 3437996"/>
              <a:gd name="csY93" fmla="*/ 414989 h 2018071"/>
              <a:gd name="csX94" fmla="*/ 2226101 w 3437996"/>
              <a:gd name="csY94" fmla="*/ 394472 h 2018071"/>
              <a:gd name="csX95" fmla="*/ 2204126 w 3437996"/>
              <a:gd name="csY95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44017 w 3437996"/>
              <a:gd name="csY67" fmla="*/ 814773 h 2018071"/>
              <a:gd name="csX68" fmla="*/ 2623570 w 3437996"/>
              <a:gd name="csY68" fmla="*/ 794675 h 2018071"/>
              <a:gd name="csX69" fmla="*/ 2606007 w 3437996"/>
              <a:gd name="csY69" fmla="*/ 776562 h 2018071"/>
              <a:gd name="csX70" fmla="*/ 2604609 w 3437996"/>
              <a:gd name="csY70" fmla="*/ 775538 h 2018071"/>
              <a:gd name="csX71" fmla="*/ 2596489 w 3437996"/>
              <a:gd name="csY71" fmla="*/ 767032 h 2018071"/>
              <a:gd name="csX72" fmla="*/ 2566459 w 3437996"/>
              <a:gd name="csY72" fmla="*/ 737499 h 2018071"/>
              <a:gd name="csX73" fmla="*/ 2558352 w 3437996"/>
              <a:gd name="csY73" fmla="*/ 728962 h 2018071"/>
              <a:gd name="csX74" fmla="*/ 2547432 w 3437996"/>
              <a:gd name="csY74" fmla="*/ 718414 h 2018071"/>
              <a:gd name="csX75" fmla="*/ 2539350 w 3437996"/>
              <a:gd name="csY75" fmla="*/ 709894 h 2018071"/>
              <a:gd name="csX76" fmla="*/ 2529865 w 3437996"/>
              <a:gd name="csY76" fmla="*/ 700356 h 2018071"/>
              <a:gd name="csX77" fmla="*/ 2510900 w 3437996"/>
              <a:gd name="csY77" fmla="*/ 681286 h 2018071"/>
              <a:gd name="csX78" fmla="*/ 2509493 w 3437996"/>
              <a:gd name="csY78" fmla="*/ 680082 h 2018071"/>
              <a:gd name="csX79" fmla="*/ 2480984 w 3437996"/>
              <a:gd name="csY79" fmla="*/ 651408 h 2018071"/>
              <a:gd name="csX80" fmla="*/ 2453925 w 3437996"/>
              <a:gd name="csY80" fmla="*/ 624049 h 2018071"/>
              <a:gd name="csX81" fmla="*/ 2452516 w 3437996"/>
              <a:gd name="csY81" fmla="*/ 622702 h 2018071"/>
              <a:gd name="csX82" fmla="*/ 2425486 w 3437996"/>
              <a:gd name="csY82" fmla="*/ 595418 h 2018071"/>
              <a:gd name="csX83" fmla="*/ 2424029 w 3437996"/>
              <a:gd name="csY83" fmla="*/ 593985 h 2018071"/>
              <a:gd name="csX84" fmla="*/ 2406640 w 3437996"/>
              <a:gd name="csY84" fmla="*/ 576281 h 2018071"/>
              <a:gd name="csX85" fmla="*/ 2368704 w 3437996"/>
              <a:gd name="csY85" fmla="*/ 538124 h 2018071"/>
              <a:gd name="csX86" fmla="*/ 2350552 w 3437996"/>
              <a:gd name="csY86" fmla="*/ 519835 h 2018071"/>
              <a:gd name="csX87" fmla="*/ 2322020 w 3437996"/>
              <a:gd name="csY87" fmla="*/ 491243 h 2018071"/>
              <a:gd name="csX88" fmla="*/ 2312510 w 3437996"/>
              <a:gd name="csY88" fmla="*/ 481725 h 2018071"/>
              <a:gd name="csX89" fmla="*/ 2274560 w 3437996"/>
              <a:gd name="csY89" fmla="*/ 443646 h 2018071"/>
              <a:gd name="csX90" fmla="*/ 2265120 w 3437996"/>
              <a:gd name="csY90" fmla="*/ 434112 h 2018071"/>
              <a:gd name="csX91" fmla="*/ 2252962 w 3437996"/>
              <a:gd name="csY91" fmla="*/ 421458 h 2018071"/>
              <a:gd name="csX92" fmla="*/ 2246361 w 3437996"/>
              <a:gd name="csY92" fmla="*/ 414989 h 2018071"/>
              <a:gd name="csX93" fmla="*/ 2226101 w 3437996"/>
              <a:gd name="csY93" fmla="*/ 394472 h 2018071"/>
              <a:gd name="csX94" fmla="*/ 2204126 w 3437996"/>
              <a:gd name="csY94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44017 w 3437996"/>
              <a:gd name="csY67" fmla="*/ 814773 h 2018071"/>
              <a:gd name="csX68" fmla="*/ 2606007 w 3437996"/>
              <a:gd name="csY68" fmla="*/ 776562 h 2018071"/>
              <a:gd name="csX69" fmla="*/ 2604609 w 3437996"/>
              <a:gd name="csY69" fmla="*/ 775538 h 2018071"/>
              <a:gd name="csX70" fmla="*/ 2596489 w 3437996"/>
              <a:gd name="csY70" fmla="*/ 767032 h 2018071"/>
              <a:gd name="csX71" fmla="*/ 2566459 w 3437996"/>
              <a:gd name="csY71" fmla="*/ 737499 h 2018071"/>
              <a:gd name="csX72" fmla="*/ 2558352 w 3437996"/>
              <a:gd name="csY72" fmla="*/ 728962 h 2018071"/>
              <a:gd name="csX73" fmla="*/ 2547432 w 3437996"/>
              <a:gd name="csY73" fmla="*/ 718414 h 2018071"/>
              <a:gd name="csX74" fmla="*/ 2539350 w 3437996"/>
              <a:gd name="csY74" fmla="*/ 709894 h 2018071"/>
              <a:gd name="csX75" fmla="*/ 2529865 w 3437996"/>
              <a:gd name="csY75" fmla="*/ 700356 h 2018071"/>
              <a:gd name="csX76" fmla="*/ 2510900 w 3437996"/>
              <a:gd name="csY76" fmla="*/ 681286 h 2018071"/>
              <a:gd name="csX77" fmla="*/ 2509493 w 3437996"/>
              <a:gd name="csY77" fmla="*/ 680082 h 2018071"/>
              <a:gd name="csX78" fmla="*/ 2480984 w 3437996"/>
              <a:gd name="csY78" fmla="*/ 651408 h 2018071"/>
              <a:gd name="csX79" fmla="*/ 2453925 w 3437996"/>
              <a:gd name="csY79" fmla="*/ 624049 h 2018071"/>
              <a:gd name="csX80" fmla="*/ 2452516 w 3437996"/>
              <a:gd name="csY80" fmla="*/ 622702 h 2018071"/>
              <a:gd name="csX81" fmla="*/ 2425486 w 3437996"/>
              <a:gd name="csY81" fmla="*/ 595418 h 2018071"/>
              <a:gd name="csX82" fmla="*/ 2424029 w 3437996"/>
              <a:gd name="csY82" fmla="*/ 593985 h 2018071"/>
              <a:gd name="csX83" fmla="*/ 2406640 w 3437996"/>
              <a:gd name="csY83" fmla="*/ 576281 h 2018071"/>
              <a:gd name="csX84" fmla="*/ 2368704 w 3437996"/>
              <a:gd name="csY84" fmla="*/ 538124 h 2018071"/>
              <a:gd name="csX85" fmla="*/ 2350552 w 3437996"/>
              <a:gd name="csY85" fmla="*/ 519835 h 2018071"/>
              <a:gd name="csX86" fmla="*/ 2322020 w 3437996"/>
              <a:gd name="csY86" fmla="*/ 491243 h 2018071"/>
              <a:gd name="csX87" fmla="*/ 2312510 w 3437996"/>
              <a:gd name="csY87" fmla="*/ 481725 h 2018071"/>
              <a:gd name="csX88" fmla="*/ 2274560 w 3437996"/>
              <a:gd name="csY88" fmla="*/ 443646 h 2018071"/>
              <a:gd name="csX89" fmla="*/ 2265120 w 3437996"/>
              <a:gd name="csY89" fmla="*/ 434112 h 2018071"/>
              <a:gd name="csX90" fmla="*/ 2252962 w 3437996"/>
              <a:gd name="csY90" fmla="*/ 421458 h 2018071"/>
              <a:gd name="csX91" fmla="*/ 2246361 w 3437996"/>
              <a:gd name="csY91" fmla="*/ 414989 h 2018071"/>
              <a:gd name="csX92" fmla="*/ 2226101 w 3437996"/>
              <a:gd name="csY92" fmla="*/ 394472 h 2018071"/>
              <a:gd name="csX93" fmla="*/ 2204126 w 3437996"/>
              <a:gd name="csY93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44017 w 3437996"/>
              <a:gd name="csY67" fmla="*/ 814773 h 2018071"/>
              <a:gd name="csX68" fmla="*/ 2606007 w 3437996"/>
              <a:gd name="csY68" fmla="*/ 776562 h 2018071"/>
              <a:gd name="csX69" fmla="*/ 2604609 w 3437996"/>
              <a:gd name="csY69" fmla="*/ 775538 h 2018071"/>
              <a:gd name="csX70" fmla="*/ 2566459 w 3437996"/>
              <a:gd name="csY70" fmla="*/ 737499 h 2018071"/>
              <a:gd name="csX71" fmla="*/ 2558352 w 3437996"/>
              <a:gd name="csY71" fmla="*/ 728962 h 2018071"/>
              <a:gd name="csX72" fmla="*/ 2547432 w 3437996"/>
              <a:gd name="csY72" fmla="*/ 718414 h 2018071"/>
              <a:gd name="csX73" fmla="*/ 2539350 w 3437996"/>
              <a:gd name="csY73" fmla="*/ 709894 h 2018071"/>
              <a:gd name="csX74" fmla="*/ 2529865 w 3437996"/>
              <a:gd name="csY74" fmla="*/ 700356 h 2018071"/>
              <a:gd name="csX75" fmla="*/ 2510900 w 3437996"/>
              <a:gd name="csY75" fmla="*/ 681286 h 2018071"/>
              <a:gd name="csX76" fmla="*/ 2509493 w 3437996"/>
              <a:gd name="csY76" fmla="*/ 680082 h 2018071"/>
              <a:gd name="csX77" fmla="*/ 2480984 w 3437996"/>
              <a:gd name="csY77" fmla="*/ 651408 h 2018071"/>
              <a:gd name="csX78" fmla="*/ 2453925 w 3437996"/>
              <a:gd name="csY78" fmla="*/ 624049 h 2018071"/>
              <a:gd name="csX79" fmla="*/ 2452516 w 3437996"/>
              <a:gd name="csY79" fmla="*/ 622702 h 2018071"/>
              <a:gd name="csX80" fmla="*/ 2425486 w 3437996"/>
              <a:gd name="csY80" fmla="*/ 595418 h 2018071"/>
              <a:gd name="csX81" fmla="*/ 2424029 w 3437996"/>
              <a:gd name="csY81" fmla="*/ 593985 h 2018071"/>
              <a:gd name="csX82" fmla="*/ 2406640 w 3437996"/>
              <a:gd name="csY82" fmla="*/ 576281 h 2018071"/>
              <a:gd name="csX83" fmla="*/ 2368704 w 3437996"/>
              <a:gd name="csY83" fmla="*/ 538124 h 2018071"/>
              <a:gd name="csX84" fmla="*/ 2350552 w 3437996"/>
              <a:gd name="csY84" fmla="*/ 519835 h 2018071"/>
              <a:gd name="csX85" fmla="*/ 2322020 w 3437996"/>
              <a:gd name="csY85" fmla="*/ 491243 h 2018071"/>
              <a:gd name="csX86" fmla="*/ 2312510 w 3437996"/>
              <a:gd name="csY86" fmla="*/ 481725 h 2018071"/>
              <a:gd name="csX87" fmla="*/ 2274560 w 3437996"/>
              <a:gd name="csY87" fmla="*/ 443646 h 2018071"/>
              <a:gd name="csX88" fmla="*/ 2265120 w 3437996"/>
              <a:gd name="csY88" fmla="*/ 434112 h 2018071"/>
              <a:gd name="csX89" fmla="*/ 2252962 w 3437996"/>
              <a:gd name="csY89" fmla="*/ 421458 h 2018071"/>
              <a:gd name="csX90" fmla="*/ 2246361 w 3437996"/>
              <a:gd name="csY90" fmla="*/ 414989 h 2018071"/>
              <a:gd name="csX91" fmla="*/ 2226101 w 3437996"/>
              <a:gd name="csY91" fmla="*/ 394472 h 2018071"/>
              <a:gd name="csX92" fmla="*/ 2204126 w 3437996"/>
              <a:gd name="csY92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44017 w 3437996"/>
              <a:gd name="csY67" fmla="*/ 814773 h 2018071"/>
              <a:gd name="csX68" fmla="*/ 2606007 w 3437996"/>
              <a:gd name="csY68" fmla="*/ 776562 h 2018071"/>
              <a:gd name="csX69" fmla="*/ 2566459 w 3437996"/>
              <a:gd name="csY69" fmla="*/ 737499 h 2018071"/>
              <a:gd name="csX70" fmla="*/ 2558352 w 3437996"/>
              <a:gd name="csY70" fmla="*/ 728962 h 2018071"/>
              <a:gd name="csX71" fmla="*/ 2547432 w 3437996"/>
              <a:gd name="csY71" fmla="*/ 718414 h 2018071"/>
              <a:gd name="csX72" fmla="*/ 2539350 w 3437996"/>
              <a:gd name="csY72" fmla="*/ 709894 h 2018071"/>
              <a:gd name="csX73" fmla="*/ 2529865 w 3437996"/>
              <a:gd name="csY73" fmla="*/ 700356 h 2018071"/>
              <a:gd name="csX74" fmla="*/ 2510900 w 3437996"/>
              <a:gd name="csY74" fmla="*/ 681286 h 2018071"/>
              <a:gd name="csX75" fmla="*/ 2509493 w 3437996"/>
              <a:gd name="csY75" fmla="*/ 680082 h 2018071"/>
              <a:gd name="csX76" fmla="*/ 2480984 w 3437996"/>
              <a:gd name="csY76" fmla="*/ 651408 h 2018071"/>
              <a:gd name="csX77" fmla="*/ 2453925 w 3437996"/>
              <a:gd name="csY77" fmla="*/ 624049 h 2018071"/>
              <a:gd name="csX78" fmla="*/ 2452516 w 3437996"/>
              <a:gd name="csY78" fmla="*/ 622702 h 2018071"/>
              <a:gd name="csX79" fmla="*/ 2425486 w 3437996"/>
              <a:gd name="csY79" fmla="*/ 595418 h 2018071"/>
              <a:gd name="csX80" fmla="*/ 2424029 w 3437996"/>
              <a:gd name="csY80" fmla="*/ 593985 h 2018071"/>
              <a:gd name="csX81" fmla="*/ 2406640 w 3437996"/>
              <a:gd name="csY81" fmla="*/ 576281 h 2018071"/>
              <a:gd name="csX82" fmla="*/ 2368704 w 3437996"/>
              <a:gd name="csY82" fmla="*/ 538124 h 2018071"/>
              <a:gd name="csX83" fmla="*/ 2350552 w 3437996"/>
              <a:gd name="csY83" fmla="*/ 519835 h 2018071"/>
              <a:gd name="csX84" fmla="*/ 2322020 w 3437996"/>
              <a:gd name="csY84" fmla="*/ 491243 h 2018071"/>
              <a:gd name="csX85" fmla="*/ 2312510 w 3437996"/>
              <a:gd name="csY85" fmla="*/ 481725 h 2018071"/>
              <a:gd name="csX86" fmla="*/ 2274560 w 3437996"/>
              <a:gd name="csY86" fmla="*/ 443646 h 2018071"/>
              <a:gd name="csX87" fmla="*/ 2265120 w 3437996"/>
              <a:gd name="csY87" fmla="*/ 434112 h 2018071"/>
              <a:gd name="csX88" fmla="*/ 2252962 w 3437996"/>
              <a:gd name="csY88" fmla="*/ 421458 h 2018071"/>
              <a:gd name="csX89" fmla="*/ 2246361 w 3437996"/>
              <a:gd name="csY89" fmla="*/ 414989 h 2018071"/>
              <a:gd name="csX90" fmla="*/ 2226101 w 3437996"/>
              <a:gd name="csY90" fmla="*/ 394472 h 2018071"/>
              <a:gd name="csX91" fmla="*/ 2204126 w 3437996"/>
              <a:gd name="csY91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06007 w 3437996"/>
              <a:gd name="csY67" fmla="*/ 776562 h 2018071"/>
              <a:gd name="csX68" fmla="*/ 2566459 w 3437996"/>
              <a:gd name="csY68" fmla="*/ 737499 h 2018071"/>
              <a:gd name="csX69" fmla="*/ 2558352 w 3437996"/>
              <a:gd name="csY69" fmla="*/ 728962 h 2018071"/>
              <a:gd name="csX70" fmla="*/ 2547432 w 3437996"/>
              <a:gd name="csY70" fmla="*/ 718414 h 2018071"/>
              <a:gd name="csX71" fmla="*/ 2539350 w 3437996"/>
              <a:gd name="csY71" fmla="*/ 709894 h 2018071"/>
              <a:gd name="csX72" fmla="*/ 2529865 w 3437996"/>
              <a:gd name="csY72" fmla="*/ 700356 h 2018071"/>
              <a:gd name="csX73" fmla="*/ 2510900 w 3437996"/>
              <a:gd name="csY73" fmla="*/ 681286 h 2018071"/>
              <a:gd name="csX74" fmla="*/ 2509493 w 3437996"/>
              <a:gd name="csY74" fmla="*/ 680082 h 2018071"/>
              <a:gd name="csX75" fmla="*/ 2480984 w 3437996"/>
              <a:gd name="csY75" fmla="*/ 651408 h 2018071"/>
              <a:gd name="csX76" fmla="*/ 2453925 w 3437996"/>
              <a:gd name="csY76" fmla="*/ 624049 h 2018071"/>
              <a:gd name="csX77" fmla="*/ 2452516 w 3437996"/>
              <a:gd name="csY77" fmla="*/ 622702 h 2018071"/>
              <a:gd name="csX78" fmla="*/ 2425486 w 3437996"/>
              <a:gd name="csY78" fmla="*/ 595418 h 2018071"/>
              <a:gd name="csX79" fmla="*/ 2424029 w 3437996"/>
              <a:gd name="csY79" fmla="*/ 593985 h 2018071"/>
              <a:gd name="csX80" fmla="*/ 2406640 w 3437996"/>
              <a:gd name="csY80" fmla="*/ 576281 h 2018071"/>
              <a:gd name="csX81" fmla="*/ 2368704 w 3437996"/>
              <a:gd name="csY81" fmla="*/ 538124 h 2018071"/>
              <a:gd name="csX82" fmla="*/ 2350552 w 3437996"/>
              <a:gd name="csY82" fmla="*/ 519835 h 2018071"/>
              <a:gd name="csX83" fmla="*/ 2322020 w 3437996"/>
              <a:gd name="csY83" fmla="*/ 491243 h 2018071"/>
              <a:gd name="csX84" fmla="*/ 2312510 w 3437996"/>
              <a:gd name="csY84" fmla="*/ 481725 h 2018071"/>
              <a:gd name="csX85" fmla="*/ 2274560 w 3437996"/>
              <a:gd name="csY85" fmla="*/ 443646 h 2018071"/>
              <a:gd name="csX86" fmla="*/ 2265120 w 3437996"/>
              <a:gd name="csY86" fmla="*/ 434112 h 2018071"/>
              <a:gd name="csX87" fmla="*/ 2252962 w 3437996"/>
              <a:gd name="csY87" fmla="*/ 421458 h 2018071"/>
              <a:gd name="csX88" fmla="*/ 2246361 w 3437996"/>
              <a:gd name="csY88" fmla="*/ 414989 h 2018071"/>
              <a:gd name="csX89" fmla="*/ 2226101 w 3437996"/>
              <a:gd name="csY89" fmla="*/ 394472 h 2018071"/>
              <a:gd name="csX90" fmla="*/ 2204126 w 3437996"/>
              <a:gd name="csY90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06007 w 3437996"/>
              <a:gd name="csY67" fmla="*/ 776562 h 2018071"/>
              <a:gd name="csX68" fmla="*/ 2566459 w 3437996"/>
              <a:gd name="csY68" fmla="*/ 737499 h 2018071"/>
              <a:gd name="csX69" fmla="*/ 2547432 w 3437996"/>
              <a:gd name="csY69" fmla="*/ 718414 h 2018071"/>
              <a:gd name="csX70" fmla="*/ 2539350 w 3437996"/>
              <a:gd name="csY70" fmla="*/ 709894 h 2018071"/>
              <a:gd name="csX71" fmla="*/ 2529865 w 3437996"/>
              <a:gd name="csY71" fmla="*/ 700356 h 2018071"/>
              <a:gd name="csX72" fmla="*/ 2510900 w 3437996"/>
              <a:gd name="csY72" fmla="*/ 681286 h 2018071"/>
              <a:gd name="csX73" fmla="*/ 2509493 w 3437996"/>
              <a:gd name="csY73" fmla="*/ 680082 h 2018071"/>
              <a:gd name="csX74" fmla="*/ 2480984 w 3437996"/>
              <a:gd name="csY74" fmla="*/ 651408 h 2018071"/>
              <a:gd name="csX75" fmla="*/ 2453925 w 3437996"/>
              <a:gd name="csY75" fmla="*/ 624049 h 2018071"/>
              <a:gd name="csX76" fmla="*/ 2452516 w 3437996"/>
              <a:gd name="csY76" fmla="*/ 622702 h 2018071"/>
              <a:gd name="csX77" fmla="*/ 2425486 w 3437996"/>
              <a:gd name="csY77" fmla="*/ 595418 h 2018071"/>
              <a:gd name="csX78" fmla="*/ 2424029 w 3437996"/>
              <a:gd name="csY78" fmla="*/ 593985 h 2018071"/>
              <a:gd name="csX79" fmla="*/ 2406640 w 3437996"/>
              <a:gd name="csY79" fmla="*/ 576281 h 2018071"/>
              <a:gd name="csX80" fmla="*/ 2368704 w 3437996"/>
              <a:gd name="csY80" fmla="*/ 538124 h 2018071"/>
              <a:gd name="csX81" fmla="*/ 2350552 w 3437996"/>
              <a:gd name="csY81" fmla="*/ 519835 h 2018071"/>
              <a:gd name="csX82" fmla="*/ 2322020 w 3437996"/>
              <a:gd name="csY82" fmla="*/ 491243 h 2018071"/>
              <a:gd name="csX83" fmla="*/ 2312510 w 3437996"/>
              <a:gd name="csY83" fmla="*/ 481725 h 2018071"/>
              <a:gd name="csX84" fmla="*/ 2274560 w 3437996"/>
              <a:gd name="csY84" fmla="*/ 443646 h 2018071"/>
              <a:gd name="csX85" fmla="*/ 2265120 w 3437996"/>
              <a:gd name="csY85" fmla="*/ 434112 h 2018071"/>
              <a:gd name="csX86" fmla="*/ 2252962 w 3437996"/>
              <a:gd name="csY86" fmla="*/ 421458 h 2018071"/>
              <a:gd name="csX87" fmla="*/ 2246361 w 3437996"/>
              <a:gd name="csY87" fmla="*/ 414989 h 2018071"/>
              <a:gd name="csX88" fmla="*/ 2226101 w 3437996"/>
              <a:gd name="csY88" fmla="*/ 394472 h 2018071"/>
              <a:gd name="csX89" fmla="*/ 2204126 w 3437996"/>
              <a:gd name="csY89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06007 w 3437996"/>
              <a:gd name="csY67" fmla="*/ 776562 h 2018071"/>
              <a:gd name="csX68" fmla="*/ 2566459 w 3437996"/>
              <a:gd name="csY68" fmla="*/ 737499 h 2018071"/>
              <a:gd name="csX69" fmla="*/ 2547432 w 3437996"/>
              <a:gd name="csY69" fmla="*/ 718414 h 2018071"/>
              <a:gd name="csX70" fmla="*/ 2539350 w 3437996"/>
              <a:gd name="csY70" fmla="*/ 709894 h 2018071"/>
              <a:gd name="csX71" fmla="*/ 2510900 w 3437996"/>
              <a:gd name="csY71" fmla="*/ 681286 h 2018071"/>
              <a:gd name="csX72" fmla="*/ 2509493 w 3437996"/>
              <a:gd name="csY72" fmla="*/ 680082 h 2018071"/>
              <a:gd name="csX73" fmla="*/ 2480984 w 3437996"/>
              <a:gd name="csY73" fmla="*/ 651408 h 2018071"/>
              <a:gd name="csX74" fmla="*/ 2453925 w 3437996"/>
              <a:gd name="csY74" fmla="*/ 624049 h 2018071"/>
              <a:gd name="csX75" fmla="*/ 2452516 w 3437996"/>
              <a:gd name="csY75" fmla="*/ 622702 h 2018071"/>
              <a:gd name="csX76" fmla="*/ 2425486 w 3437996"/>
              <a:gd name="csY76" fmla="*/ 595418 h 2018071"/>
              <a:gd name="csX77" fmla="*/ 2424029 w 3437996"/>
              <a:gd name="csY77" fmla="*/ 593985 h 2018071"/>
              <a:gd name="csX78" fmla="*/ 2406640 w 3437996"/>
              <a:gd name="csY78" fmla="*/ 576281 h 2018071"/>
              <a:gd name="csX79" fmla="*/ 2368704 w 3437996"/>
              <a:gd name="csY79" fmla="*/ 538124 h 2018071"/>
              <a:gd name="csX80" fmla="*/ 2350552 w 3437996"/>
              <a:gd name="csY80" fmla="*/ 519835 h 2018071"/>
              <a:gd name="csX81" fmla="*/ 2322020 w 3437996"/>
              <a:gd name="csY81" fmla="*/ 491243 h 2018071"/>
              <a:gd name="csX82" fmla="*/ 2312510 w 3437996"/>
              <a:gd name="csY82" fmla="*/ 481725 h 2018071"/>
              <a:gd name="csX83" fmla="*/ 2274560 w 3437996"/>
              <a:gd name="csY83" fmla="*/ 443646 h 2018071"/>
              <a:gd name="csX84" fmla="*/ 2265120 w 3437996"/>
              <a:gd name="csY84" fmla="*/ 434112 h 2018071"/>
              <a:gd name="csX85" fmla="*/ 2252962 w 3437996"/>
              <a:gd name="csY85" fmla="*/ 421458 h 2018071"/>
              <a:gd name="csX86" fmla="*/ 2246361 w 3437996"/>
              <a:gd name="csY86" fmla="*/ 414989 h 2018071"/>
              <a:gd name="csX87" fmla="*/ 2226101 w 3437996"/>
              <a:gd name="csY87" fmla="*/ 394472 h 2018071"/>
              <a:gd name="csX88" fmla="*/ 2204126 w 3437996"/>
              <a:gd name="csY88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06007 w 3437996"/>
              <a:gd name="csY67" fmla="*/ 776562 h 2018071"/>
              <a:gd name="csX68" fmla="*/ 2566459 w 3437996"/>
              <a:gd name="csY68" fmla="*/ 737499 h 2018071"/>
              <a:gd name="csX69" fmla="*/ 2539350 w 3437996"/>
              <a:gd name="csY69" fmla="*/ 709894 h 2018071"/>
              <a:gd name="csX70" fmla="*/ 2510900 w 3437996"/>
              <a:gd name="csY70" fmla="*/ 681286 h 2018071"/>
              <a:gd name="csX71" fmla="*/ 2509493 w 3437996"/>
              <a:gd name="csY71" fmla="*/ 680082 h 2018071"/>
              <a:gd name="csX72" fmla="*/ 2480984 w 3437996"/>
              <a:gd name="csY72" fmla="*/ 651408 h 2018071"/>
              <a:gd name="csX73" fmla="*/ 2453925 w 3437996"/>
              <a:gd name="csY73" fmla="*/ 624049 h 2018071"/>
              <a:gd name="csX74" fmla="*/ 2452516 w 3437996"/>
              <a:gd name="csY74" fmla="*/ 622702 h 2018071"/>
              <a:gd name="csX75" fmla="*/ 2425486 w 3437996"/>
              <a:gd name="csY75" fmla="*/ 595418 h 2018071"/>
              <a:gd name="csX76" fmla="*/ 2424029 w 3437996"/>
              <a:gd name="csY76" fmla="*/ 593985 h 2018071"/>
              <a:gd name="csX77" fmla="*/ 2406640 w 3437996"/>
              <a:gd name="csY77" fmla="*/ 576281 h 2018071"/>
              <a:gd name="csX78" fmla="*/ 2368704 w 3437996"/>
              <a:gd name="csY78" fmla="*/ 538124 h 2018071"/>
              <a:gd name="csX79" fmla="*/ 2350552 w 3437996"/>
              <a:gd name="csY79" fmla="*/ 519835 h 2018071"/>
              <a:gd name="csX80" fmla="*/ 2322020 w 3437996"/>
              <a:gd name="csY80" fmla="*/ 491243 h 2018071"/>
              <a:gd name="csX81" fmla="*/ 2312510 w 3437996"/>
              <a:gd name="csY81" fmla="*/ 481725 h 2018071"/>
              <a:gd name="csX82" fmla="*/ 2274560 w 3437996"/>
              <a:gd name="csY82" fmla="*/ 443646 h 2018071"/>
              <a:gd name="csX83" fmla="*/ 2265120 w 3437996"/>
              <a:gd name="csY83" fmla="*/ 434112 h 2018071"/>
              <a:gd name="csX84" fmla="*/ 2252962 w 3437996"/>
              <a:gd name="csY84" fmla="*/ 421458 h 2018071"/>
              <a:gd name="csX85" fmla="*/ 2246361 w 3437996"/>
              <a:gd name="csY85" fmla="*/ 414989 h 2018071"/>
              <a:gd name="csX86" fmla="*/ 2226101 w 3437996"/>
              <a:gd name="csY86" fmla="*/ 394472 h 2018071"/>
              <a:gd name="csX87" fmla="*/ 2204126 w 3437996"/>
              <a:gd name="csY87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06007 w 3437996"/>
              <a:gd name="csY67" fmla="*/ 776562 h 2018071"/>
              <a:gd name="csX68" fmla="*/ 2566459 w 3437996"/>
              <a:gd name="csY68" fmla="*/ 737499 h 2018071"/>
              <a:gd name="csX69" fmla="*/ 2510900 w 3437996"/>
              <a:gd name="csY69" fmla="*/ 681286 h 2018071"/>
              <a:gd name="csX70" fmla="*/ 2509493 w 3437996"/>
              <a:gd name="csY70" fmla="*/ 680082 h 2018071"/>
              <a:gd name="csX71" fmla="*/ 2480984 w 3437996"/>
              <a:gd name="csY71" fmla="*/ 651408 h 2018071"/>
              <a:gd name="csX72" fmla="*/ 2453925 w 3437996"/>
              <a:gd name="csY72" fmla="*/ 624049 h 2018071"/>
              <a:gd name="csX73" fmla="*/ 2452516 w 3437996"/>
              <a:gd name="csY73" fmla="*/ 622702 h 2018071"/>
              <a:gd name="csX74" fmla="*/ 2425486 w 3437996"/>
              <a:gd name="csY74" fmla="*/ 595418 h 2018071"/>
              <a:gd name="csX75" fmla="*/ 2424029 w 3437996"/>
              <a:gd name="csY75" fmla="*/ 593985 h 2018071"/>
              <a:gd name="csX76" fmla="*/ 2406640 w 3437996"/>
              <a:gd name="csY76" fmla="*/ 576281 h 2018071"/>
              <a:gd name="csX77" fmla="*/ 2368704 w 3437996"/>
              <a:gd name="csY77" fmla="*/ 538124 h 2018071"/>
              <a:gd name="csX78" fmla="*/ 2350552 w 3437996"/>
              <a:gd name="csY78" fmla="*/ 519835 h 2018071"/>
              <a:gd name="csX79" fmla="*/ 2322020 w 3437996"/>
              <a:gd name="csY79" fmla="*/ 491243 h 2018071"/>
              <a:gd name="csX80" fmla="*/ 2312510 w 3437996"/>
              <a:gd name="csY80" fmla="*/ 481725 h 2018071"/>
              <a:gd name="csX81" fmla="*/ 2274560 w 3437996"/>
              <a:gd name="csY81" fmla="*/ 443646 h 2018071"/>
              <a:gd name="csX82" fmla="*/ 2265120 w 3437996"/>
              <a:gd name="csY82" fmla="*/ 434112 h 2018071"/>
              <a:gd name="csX83" fmla="*/ 2252962 w 3437996"/>
              <a:gd name="csY83" fmla="*/ 421458 h 2018071"/>
              <a:gd name="csX84" fmla="*/ 2246361 w 3437996"/>
              <a:gd name="csY84" fmla="*/ 414989 h 2018071"/>
              <a:gd name="csX85" fmla="*/ 2226101 w 3437996"/>
              <a:gd name="csY85" fmla="*/ 394472 h 2018071"/>
              <a:gd name="csX86" fmla="*/ 2204126 w 3437996"/>
              <a:gd name="csY86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06007 w 3437996"/>
              <a:gd name="csY67" fmla="*/ 776562 h 2018071"/>
              <a:gd name="csX68" fmla="*/ 2566459 w 3437996"/>
              <a:gd name="csY68" fmla="*/ 737499 h 2018071"/>
              <a:gd name="csX69" fmla="*/ 2510900 w 3437996"/>
              <a:gd name="csY69" fmla="*/ 681286 h 2018071"/>
              <a:gd name="csX70" fmla="*/ 2509493 w 3437996"/>
              <a:gd name="csY70" fmla="*/ 680082 h 2018071"/>
              <a:gd name="csX71" fmla="*/ 2453925 w 3437996"/>
              <a:gd name="csY71" fmla="*/ 624049 h 2018071"/>
              <a:gd name="csX72" fmla="*/ 2452516 w 3437996"/>
              <a:gd name="csY72" fmla="*/ 622702 h 2018071"/>
              <a:gd name="csX73" fmla="*/ 2425486 w 3437996"/>
              <a:gd name="csY73" fmla="*/ 595418 h 2018071"/>
              <a:gd name="csX74" fmla="*/ 2424029 w 3437996"/>
              <a:gd name="csY74" fmla="*/ 593985 h 2018071"/>
              <a:gd name="csX75" fmla="*/ 2406640 w 3437996"/>
              <a:gd name="csY75" fmla="*/ 576281 h 2018071"/>
              <a:gd name="csX76" fmla="*/ 2368704 w 3437996"/>
              <a:gd name="csY76" fmla="*/ 538124 h 2018071"/>
              <a:gd name="csX77" fmla="*/ 2350552 w 3437996"/>
              <a:gd name="csY77" fmla="*/ 519835 h 2018071"/>
              <a:gd name="csX78" fmla="*/ 2322020 w 3437996"/>
              <a:gd name="csY78" fmla="*/ 491243 h 2018071"/>
              <a:gd name="csX79" fmla="*/ 2312510 w 3437996"/>
              <a:gd name="csY79" fmla="*/ 481725 h 2018071"/>
              <a:gd name="csX80" fmla="*/ 2274560 w 3437996"/>
              <a:gd name="csY80" fmla="*/ 443646 h 2018071"/>
              <a:gd name="csX81" fmla="*/ 2265120 w 3437996"/>
              <a:gd name="csY81" fmla="*/ 434112 h 2018071"/>
              <a:gd name="csX82" fmla="*/ 2252962 w 3437996"/>
              <a:gd name="csY82" fmla="*/ 421458 h 2018071"/>
              <a:gd name="csX83" fmla="*/ 2246361 w 3437996"/>
              <a:gd name="csY83" fmla="*/ 414989 h 2018071"/>
              <a:gd name="csX84" fmla="*/ 2226101 w 3437996"/>
              <a:gd name="csY84" fmla="*/ 394472 h 2018071"/>
              <a:gd name="csX85" fmla="*/ 2204126 w 3437996"/>
              <a:gd name="csY85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06007 w 3437996"/>
              <a:gd name="csY67" fmla="*/ 776562 h 2018071"/>
              <a:gd name="csX68" fmla="*/ 2566459 w 3437996"/>
              <a:gd name="csY68" fmla="*/ 737499 h 2018071"/>
              <a:gd name="csX69" fmla="*/ 2510900 w 3437996"/>
              <a:gd name="csY69" fmla="*/ 681286 h 2018071"/>
              <a:gd name="csX70" fmla="*/ 2509493 w 3437996"/>
              <a:gd name="csY70" fmla="*/ 680082 h 2018071"/>
              <a:gd name="csX71" fmla="*/ 2453925 w 3437996"/>
              <a:gd name="csY71" fmla="*/ 624049 h 2018071"/>
              <a:gd name="csX72" fmla="*/ 2425486 w 3437996"/>
              <a:gd name="csY72" fmla="*/ 595418 h 2018071"/>
              <a:gd name="csX73" fmla="*/ 2424029 w 3437996"/>
              <a:gd name="csY73" fmla="*/ 593985 h 2018071"/>
              <a:gd name="csX74" fmla="*/ 2406640 w 3437996"/>
              <a:gd name="csY74" fmla="*/ 576281 h 2018071"/>
              <a:gd name="csX75" fmla="*/ 2368704 w 3437996"/>
              <a:gd name="csY75" fmla="*/ 538124 h 2018071"/>
              <a:gd name="csX76" fmla="*/ 2350552 w 3437996"/>
              <a:gd name="csY76" fmla="*/ 519835 h 2018071"/>
              <a:gd name="csX77" fmla="*/ 2322020 w 3437996"/>
              <a:gd name="csY77" fmla="*/ 491243 h 2018071"/>
              <a:gd name="csX78" fmla="*/ 2312510 w 3437996"/>
              <a:gd name="csY78" fmla="*/ 481725 h 2018071"/>
              <a:gd name="csX79" fmla="*/ 2274560 w 3437996"/>
              <a:gd name="csY79" fmla="*/ 443646 h 2018071"/>
              <a:gd name="csX80" fmla="*/ 2265120 w 3437996"/>
              <a:gd name="csY80" fmla="*/ 434112 h 2018071"/>
              <a:gd name="csX81" fmla="*/ 2252962 w 3437996"/>
              <a:gd name="csY81" fmla="*/ 421458 h 2018071"/>
              <a:gd name="csX82" fmla="*/ 2246361 w 3437996"/>
              <a:gd name="csY82" fmla="*/ 414989 h 2018071"/>
              <a:gd name="csX83" fmla="*/ 2226101 w 3437996"/>
              <a:gd name="csY83" fmla="*/ 394472 h 2018071"/>
              <a:gd name="csX84" fmla="*/ 2204126 w 3437996"/>
              <a:gd name="csY84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06007 w 3437996"/>
              <a:gd name="csY67" fmla="*/ 776562 h 2018071"/>
              <a:gd name="csX68" fmla="*/ 2566459 w 3437996"/>
              <a:gd name="csY68" fmla="*/ 737499 h 2018071"/>
              <a:gd name="csX69" fmla="*/ 2510900 w 3437996"/>
              <a:gd name="csY69" fmla="*/ 681286 h 2018071"/>
              <a:gd name="csX70" fmla="*/ 2509493 w 3437996"/>
              <a:gd name="csY70" fmla="*/ 680082 h 2018071"/>
              <a:gd name="csX71" fmla="*/ 2453925 w 3437996"/>
              <a:gd name="csY71" fmla="*/ 624049 h 2018071"/>
              <a:gd name="csX72" fmla="*/ 2425486 w 3437996"/>
              <a:gd name="csY72" fmla="*/ 595418 h 2018071"/>
              <a:gd name="csX73" fmla="*/ 2406640 w 3437996"/>
              <a:gd name="csY73" fmla="*/ 576281 h 2018071"/>
              <a:gd name="csX74" fmla="*/ 2368704 w 3437996"/>
              <a:gd name="csY74" fmla="*/ 538124 h 2018071"/>
              <a:gd name="csX75" fmla="*/ 2350552 w 3437996"/>
              <a:gd name="csY75" fmla="*/ 519835 h 2018071"/>
              <a:gd name="csX76" fmla="*/ 2322020 w 3437996"/>
              <a:gd name="csY76" fmla="*/ 491243 h 2018071"/>
              <a:gd name="csX77" fmla="*/ 2312510 w 3437996"/>
              <a:gd name="csY77" fmla="*/ 481725 h 2018071"/>
              <a:gd name="csX78" fmla="*/ 2274560 w 3437996"/>
              <a:gd name="csY78" fmla="*/ 443646 h 2018071"/>
              <a:gd name="csX79" fmla="*/ 2265120 w 3437996"/>
              <a:gd name="csY79" fmla="*/ 434112 h 2018071"/>
              <a:gd name="csX80" fmla="*/ 2252962 w 3437996"/>
              <a:gd name="csY80" fmla="*/ 421458 h 2018071"/>
              <a:gd name="csX81" fmla="*/ 2246361 w 3437996"/>
              <a:gd name="csY81" fmla="*/ 414989 h 2018071"/>
              <a:gd name="csX82" fmla="*/ 2226101 w 3437996"/>
              <a:gd name="csY82" fmla="*/ 394472 h 2018071"/>
              <a:gd name="csX83" fmla="*/ 2204126 w 3437996"/>
              <a:gd name="csY83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06007 w 3437996"/>
              <a:gd name="csY67" fmla="*/ 776562 h 2018071"/>
              <a:gd name="csX68" fmla="*/ 2566459 w 3437996"/>
              <a:gd name="csY68" fmla="*/ 737499 h 2018071"/>
              <a:gd name="csX69" fmla="*/ 2510900 w 3437996"/>
              <a:gd name="csY69" fmla="*/ 681286 h 2018071"/>
              <a:gd name="csX70" fmla="*/ 2509493 w 3437996"/>
              <a:gd name="csY70" fmla="*/ 680082 h 2018071"/>
              <a:gd name="csX71" fmla="*/ 2453925 w 3437996"/>
              <a:gd name="csY71" fmla="*/ 624049 h 2018071"/>
              <a:gd name="csX72" fmla="*/ 2425486 w 3437996"/>
              <a:gd name="csY72" fmla="*/ 595418 h 2018071"/>
              <a:gd name="csX73" fmla="*/ 2368704 w 3437996"/>
              <a:gd name="csY73" fmla="*/ 538124 h 2018071"/>
              <a:gd name="csX74" fmla="*/ 2350552 w 3437996"/>
              <a:gd name="csY74" fmla="*/ 519835 h 2018071"/>
              <a:gd name="csX75" fmla="*/ 2322020 w 3437996"/>
              <a:gd name="csY75" fmla="*/ 491243 h 2018071"/>
              <a:gd name="csX76" fmla="*/ 2312510 w 3437996"/>
              <a:gd name="csY76" fmla="*/ 481725 h 2018071"/>
              <a:gd name="csX77" fmla="*/ 2274560 w 3437996"/>
              <a:gd name="csY77" fmla="*/ 443646 h 2018071"/>
              <a:gd name="csX78" fmla="*/ 2265120 w 3437996"/>
              <a:gd name="csY78" fmla="*/ 434112 h 2018071"/>
              <a:gd name="csX79" fmla="*/ 2252962 w 3437996"/>
              <a:gd name="csY79" fmla="*/ 421458 h 2018071"/>
              <a:gd name="csX80" fmla="*/ 2246361 w 3437996"/>
              <a:gd name="csY80" fmla="*/ 414989 h 2018071"/>
              <a:gd name="csX81" fmla="*/ 2226101 w 3437996"/>
              <a:gd name="csY81" fmla="*/ 394472 h 2018071"/>
              <a:gd name="csX82" fmla="*/ 2204126 w 3437996"/>
              <a:gd name="csY82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06007 w 3437996"/>
              <a:gd name="csY67" fmla="*/ 776562 h 2018071"/>
              <a:gd name="csX68" fmla="*/ 2566459 w 3437996"/>
              <a:gd name="csY68" fmla="*/ 737499 h 2018071"/>
              <a:gd name="csX69" fmla="*/ 2510900 w 3437996"/>
              <a:gd name="csY69" fmla="*/ 681286 h 2018071"/>
              <a:gd name="csX70" fmla="*/ 2509493 w 3437996"/>
              <a:gd name="csY70" fmla="*/ 680082 h 2018071"/>
              <a:gd name="csX71" fmla="*/ 2453925 w 3437996"/>
              <a:gd name="csY71" fmla="*/ 624049 h 2018071"/>
              <a:gd name="csX72" fmla="*/ 2425486 w 3437996"/>
              <a:gd name="csY72" fmla="*/ 595418 h 2018071"/>
              <a:gd name="csX73" fmla="*/ 2350552 w 3437996"/>
              <a:gd name="csY73" fmla="*/ 519835 h 2018071"/>
              <a:gd name="csX74" fmla="*/ 2322020 w 3437996"/>
              <a:gd name="csY74" fmla="*/ 491243 h 2018071"/>
              <a:gd name="csX75" fmla="*/ 2312510 w 3437996"/>
              <a:gd name="csY75" fmla="*/ 481725 h 2018071"/>
              <a:gd name="csX76" fmla="*/ 2274560 w 3437996"/>
              <a:gd name="csY76" fmla="*/ 443646 h 2018071"/>
              <a:gd name="csX77" fmla="*/ 2265120 w 3437996"/>
              <a:gd name="csY77" fmla="*/ 434112 h 2018071"/>
              <a:gd name="csX78" fmla="*/ 2252962 w 3437996"/>
              <a:gd name="csY78" fmla="*/ 421458 h 2018071"/>
              <a:gd name="csX79" fmla="*/ 2246361 w 3437996"/>
              <a:gd name="csY79" fmla="*/ 414989 h 2018071"/>
              <a:gd name="csX80" fmla="*/ 2226101 w 3437996"/>
              <a:gd name="csY80" fmla="*/ 394472 h 2018071"/>
              <a:gd name="csX81" fmla="*/ 2204126 w 3437996"/>
              <a:gd name="csY81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06007 w 3437996"/>
              <a:gd name="csY67" fmla="*/ 776562 h 2018071"/>
              <a:gd name="csX68" fmla="*/ 2566459 w 3437996"/>
              <a:gd name="csY68" fmla="*/ 737499 h 2018071"/>
              <a:gd name="csX69" fmla="*/ 2510900 w 3437996"/>
              <a:gd name="csY69" fmla="*/ 681286 h 2018071"/>
              <a:gd name="csX70" fmla="*/ 2509493 w 3437996"/>
              <a:gd name="csY70" fmla="*/ 680082 h 2018071"/>
              <a:gd name="csX71" fmla="*/ 2453925 w 3437996"/>
              <a:gd name="csY71" fmla="*/ 624049 h 2018071"/>
              <a:gd name="csX72" fmla="*/ 2425486 w 3437996"/>
              <a:gd name="csY72" fmla="*/ 595418 h 2018071"/>
              <a:gd name="csX73" fmla="*/ 2350552 w 3437996"/>
              <a:gd name="csY73" fmla="*/ 519835 h 2018071"/>
              <a:gd name="csX74" fmla="*/ 2322020 w 3437996"/>
              <a:gd name="csY74" fmla="*/ 491243 h 2018071"/>
              <a:gd name="csX75" fmla="*/ 2274560 w 3437996"/>
              <a:gd name="csY75" fmla="*/ 443646 h 2018071"/>
              <a:gd name="csX76" fmla="*/ 2265120 w 3437996"/>
              <a:gd name="csY76" fmla="*/ 434112 h 2018071"/>
              <a:gd name="csX77" fmla="*/ 2252962 w 3437996"/>
              <a:gd name="csY77" fmla="*/ 421458 h 2018071"/>
              <a:gd name="csX78" fmla="*/ 2246361 w 3437996"/>
              <a:gd name="csY78" fmla="*/ 414989 h 2018071"/>
              <a:gd name="csX79" fmla="*/ 2226101 w 3437996"/>
              <a:gd name="csY79" fmla="*/ 394472 h 2018071"/>
              <a:gd name="csX80" fmla="*/ 2204126 w 3437996"/>
              <a:gd name="csY80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06007 w 3437996"/>
              <a:gd name="csY67" fmla="*/ 776562 h 2018071"/>
              <a:gd name="csX68" fmla="*/ 2566459 w 3437996"/>
              <a:gd name="csY68" fmla="*/ 737499 h 2018071"/>
              <a:gd name="csX69" fmla="*/ 2510900 w 3437996"/>
              <a:gd name="csY69" fmla="*/ 681286 h 2018071"/>
              <a:gd name="csX70" fmla="*/ 2509493 w 3437996"/>
              <a:gd name="csY70" fmla="*/ 680082 h 2018071"/>
              <a:gd name="csX71" fmla="*/ 2453925 w 3437996"/>
              <a:gd name="csY71" fmla="*/ 624049 h 2018071"/>
              <a:gd name="csX72" fmla="*/ 2425486 w 3437996"/>
              <a:gd name="csY72" fmla="*/ 595418 h 2018071"/>
              <a:gd name="csX73" fmla="*/ 2350552 w 3437996"/>
              <a:gd name="csY73" fmla="*/ 519835 h 2018071"/>
              <a:gd name="csX74" fmla="*/ 2322020 w 3437996"/>
              <a:gd name="csY74" fmla="*/ 491243 h 2018071"/>
              <a:gd name="csX75" fmla="*/ 2274560 w 3437996"/>
              <a:gd name="csY75" fmla="*/ 443646 h 2018071"/>
              <a:gd name="csX76" fmla="*/ 2252962 w 3437996"/>
              <a:gd name="csY76" fmla="*/ 421458 h 2018071"/>
              <a:gd name="csX77" fmla="*/ 2246361 w 3437996"/>
              <a:gd name="csY77" fmla="*/ 414989 h 2018071"/>
              <a:gd name="csX78" fmla="*/ 2226101 w 3437996"/>
              <a:gd name="csY78" fmla="*/ 394472 h 2018071"/>
              <a:gd name="csX79" fmla="*/ 2204126 w 3437996"/>
              <a:gd name="csY79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06007 w 3437996"/>
              <a:gd name="csY67" fmla="*/ 776562 h 2018071"/>
              <a:gd name="csX68" fmla="*/ 2566459 w 3437996"/>
              <a:gd name="csY68" fmla="*/ 737499 h 2018071"/>
              <a:gd name="csX69" fmla="*/ 2510900 w 3437996"/>
              <a:gd name="csY69" fmla="*/ 681286 h 2018071"/>
              <a:gd name="csX70" fmla="*/ 2509493 w 3437996"/>
              <a:gd name="csY70" fmla="*/ 680082 h 2018071"/>
              <a:gd name="csX71" fmla="*/ 2453925 w 3437996"/>
              <a:gd name="csY71" fmla="*/ 624049 h 2018071"/>
              <a:gd name="csX72" fmla="*/ 2425486 w 3437996"/>
              <a:gd name="csY72" fmla="*/ 595418 h 2018071"/>
              <a:gd name="csX73" fmla="*/ 2350552 w 3437996"/>
              <a:gd name="csY73" fmla="*/ 519835 h 2018071"/>
              <a:gd name="csX74" fmla="*/ 2322020 w 3437996"/>
              <a:gd name="csY74" fmla="*/ 491243 h 2018071"/>
              <a:gd name="csX75" fmla="*/ 2274560 w 3437996"/>
              <a:gd name="csY75" fmla="*/ 443646 h 2018071"/>
              <a:gd name="csX76" fmla="*/ 2252962 w 3437996"/>
              <a:gd name="csY76" fmla="*/ 421458 h 2018071"/>
              <a:gd name="csX77" fmla="*/ 2226101 w 3437996"/>
              <a:gd name="csY77" fmla="*/ 394472 h 2018071"/>
              <a:gd name="csX78" fmla="*/ 2204126 w 3437996"/>
              <a:gd name="csY78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06007 w 3437996"/>
              <a:gd name="csY67" fmla="*/ 776562 h 2018071"/>
              <a:gd name="csX68" fmla="*/ 2566459 w 3437996"/>
              <a:gd name="csY68" fmla="*/ 737499 h 2018071"/>
              <a:gd name="csX69" fmla="*/ 2510900 w 3437996"/>
              <a:gd name="csY69" fmla="*/ 681286 h 2018071"/>
              <a:gd name="csX70" fmla="*/ 2509493 w 3437996"/>
              <a:gd name="csY70" fmla="*/ 680082 h 2018071"/>
              <a:gd name="csX71" fmla="*/ 2453925 w 3437996"/>
              <a:gd name="csY71" fmla="*/ 624049 h 2018071"/>
              <a:gd name="csX72" fmla="*/ 2425486 w 3437996"/>
              <a:gd name="csY72" fmla="*/ 595418 h 2018071"/>
              <a:gd name="csX73" fmla="*/ 2350552 w 3437996"/>
              <a:gd name="csY73" fmla="*/ 519835 h 2018071"/>
              <a:gd name="csX74" fmla="*/ 2322020 w 3437996"/>
              <a:gd name="csY74" fmla="*/ 491243 h 2018071"/>
              <a:gd name="csX75" fmla="*/ 2274560 w 3437996"/>
              <a:gd name="csY75" fmla="*/ 443646 h 2018071"/>
              <a:gd name="csX76" fmla="*/ 2226101 w 3437996"/>
              <a:gd name="csY76" fmla="*/ 394472 h 2018071"/>
              <a:gd name="csX77" fmla="*/ 2204126 w 3437996"/>
              <a:gd name="csY77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06007 w 3437996"/>
              <a:gd name="csY67" fmla="*/ 776562 h 2018071"/>
              <a:gd name="csX68" fmla="*/ 2566459 w 3437996"/>
              <a:gd name="csY68" fmla="*/ 737499 h 2018071"/>
              <a:gd name="csX69" fmla="*/ 2510900 w 3437996"/>
              <a:gd name="csY69" fmla="*/ 681286 h 2018071"/>
              <a:gd name="csX70" fmla="*/ 2509493 w 3437996"/>
              <a:gd name="csY70" fmla="*/ 680082 h 2018071"/>
              <a:gd name="csX71" fmla="*/ 2453925 w 3437996"/>
              <a:gd name="csY71" fmla="*/ 624049 h 2018071"/>
              <a:gd name="csX72" fmla="*/ 2425486 w 3437996"/>
              <a:gd name="csY72" fmla="*/ 595418 h 2018071"/>
              <a:gd name="csX73" fmla="*/ 2350552 w 3437996"/>
              <a:gd name="csY73" fmla="*/ 519835 h 2018071"/>
              <a:gd name="csX74" fmla="*/ 2322020 w 3437996"/>
              <a:gd name="csY74" fmla="*/ 491243 h 2018071"/>
              <a:gd name="csX75" fmla="*/ 2226101 w 3437996"/>
              <a:gd name="csY75" fmla="*/ 394472 h 2018071"/>
              <a:gd name="csX76" fmla="*/ 2204126 w 3437996"/>
              <a:gd name="csY76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06007 w 3437996"/>
              <a:gd name="csY67" fmla="*/ 776562 h 2018071"/>
              <a:gd name="csX68" fmla="*/ 2566459 w 3437996"/>
              <a:gd name="csY68" fmla="*/ 737499 h 2018071"/>
              <a:gd name="csX69" fmla="*/ 2510900 w 3437996"/>
              <a:gd name="csY69" fmla="*/ 681286 h 2018071"/>
              <a:gd name="csX70" fmla="*/ 2509493 w 3437996"/>
              <a:gd name="csY70" fmla="*/ 680082 h 2018071"/>
              <a:gd name="csX71" fmla="*/ 2453925 w 3437996"/>
              <a:gd name="csY71" fmla="*/ 624049 h 2018071"/>
              <a:gd name="csX72" fmla="*/ 2425486 w 3437996"/>
              <a:gd name="csY72" fmla="*/ 595418 h 2018071"/>
              <a:gd name="csX73" fmla="*/ 2350552 w 3437996"/>
              <a:gd name="csY73" fmla="*/ 519835 h 2018071"/>
              <a:gd name="csX74" fmla="*/ 2322020 w 3437996"/>
              <a:gd name="csY74" fmla="*/ 491243 h 2018071"/>
              <a:gd name="csX75" fmla="*/ 2204126 w 3437996"/>
              <a:gd name="csY75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06007 w 3437996"/>
              <a:gd name="csY67" fmla="*/ 776562 h 2018071"/>
              <a:gd name="csX68" fmla="*/ 2566459 w 3437996"/>
              <a:gd name="csY68" fmla="*/ 737499 h 2018071"/>
              <a:gd name="csX69" fmla="*/ 2510900 w 3437996"/>
              <a:gd name="csY69" fmla="*/ 681286 h 2018071"/>
              <a:gd name="csX70" fmla="*/ 2509493 w 3437996"/>
              <a:gd name="csY70" fmla="*/ 680082 h 2018071"/>
              <a:gd name="csX71" fmla="*/ 2453925 w 3437996"/>
              <a:gd name="csY71" fmla="*/ 624049 h 2018071"/>
              <a:gd name="csX72" fmla="*/ 2425486 w 3437996"/>
              <a:gd name="csY72" fmla="*/ 595418 h 2018071"/>
              <a:gd name="csX73" fmla="*/ 2350552 w 3437996"/>
              <a:gd name="csY73" fmla="*/ 519835 h 2018071"/>
              <a:gd name="csX74" fmla="*/ 2204126 w 3437996"/>
              <a:gd name="csY74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06007 w 3437996"/>
              <a:gd name="csY67" fmla="*/ 776562 h 2018071"/>
              <a:gd name="csX68" fmla="*/ 2566459 w 3437996"/>
              <a:gd name="csY68" fmla="*/ 737499 h 2018071"/>
              <a:gd name="csX69" fmla="*/ 2510900 w 3437996"/>
              <a:gd name="csY69" fmla="*/ 681286 h 2018071"/>
              <a:gd name="csX70" fmla="*/ 2509493 w 3437996"/>
              <a:gd name="csY70" fmla="*/ 680082 h 2018071"/>
              <a:gd name="csX71" fmla="*/ 2453925 w 3437996"/>
              <a:gd name="csY71" fmla="*/ 624049 h 2018071"/>
              <a:gd name="csX72" fmla="*/ 2425486 w 3437996"/>
              <a:gd name="csY72" fmla="*/ 595418 h 2018071"/>
              <a:gd name="csX73" fmla="*/ 2204126 w 3437996"/>
              <a:gd name="csY73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06007 w 3437996"/>
              <a:gd name="csY67" fmla="*/ 776562 h 2018071"/>
              <a:gd name="csX68" fmla="*/ 2566459 w 3437996"/>
              <a:gd name="csY68" fmla="*/ 737499 h 2018071"/>
              <a:gd name="csX69" fmla="*/ 2510900 w 3437996"/>
              <a:gd name="csY69" fmla="*/ 681286 h 2018071"/>
              <a:gd name="csX70" fmla="*/ 2509493 w 3437996"/>
              <a:gd name="csY70" fmla="*/ 680082 h 2018071"/>
              <a:gd name="csX71" fmla="*/ 2425486 w 3437996"/>
              <a:gd name="csY71" fmla="*/ 595418 h 2018071"/>
              <a:gd name="csX72" fmla="*/ 2204126 w 3437996"/>
              <a:gd name="csY72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606007 w 3437996"/>
              <a:gd name="csY67" fmla="*/ 776562 h 2018071"/>
              <a:gd name="csX68" fmla="*/ 2566459 w 3437996"/>
              <a:gd name="csY68" fmla="*/ 737499 h 2018071"/>
              <a:gd name="csX69" fmla="*/ 2510900 w 3437996"/>
              <a:gd name="csY69" fmla="*/ 681286 h 2018071"/>
              <a:gd name="csX70" fmla="*/ 2425486 w 3437996"/>
              <a:gd name="csY70" fmla="*/ 595418 h 2018071"/>
              <a:gd name="csX71" fmla="*/ 2204126 w 3437996"/>
              <a:gd name="csY71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566459 w 3437996"/>
              <a:gd name="csY67" fmla="*/ 737499 h 2018071"/>
              <a:gd name="csX68" fmla="*/ 2510900 w 3437996"/>
              <a:gd name="csY68" fmla="*/ 681286 h 2018071"/>
              <a:gd name="csX69" fmla="*/ 2425486 w 3437996"/>
              <a:gd name="csY69" fmla="*/ 595418 h 2018071"/>
              <a:gd name="csX70" fmla="*/ 2204126 w 3437996"/>
              <a:gd name="csY70" fmla="*/ 367340 h 2018071"/>
              <a:gd name="csX0" fmla="*/ 2204126 w 3437996"/>
              <a:gd name="csY0" fmla="*/ 367340 h 2018071"/>
              <a:gd name="csX1" fmla="*/ 2092189 w 3437996"/>
              <a:gd name="csY1" fmla="*/ 253764 h 2018071"/>
              <a:gd name="csX2" fmla="*/ 1748351 w 3437996"/>
              <a:gd name="csY2" fmla="*/ 157374 h 2018071"/>
              <a:gd name="csX3" fmla="*/ 1713484 w 3437996"/>
              <a:gd name="csY3" fmla="*/ 175406 h 2018071"/>
              <a:gd name="csX4" fmla="*/ 1861094 w 3437996"/>
              <a:gd name="csY4" fmla="*/ 175152 h 2018071"/>
              <a:gd name="csX5" fmla="*/ 2014297 w 3437996"/>
              <a:gd name="csY5" fmla="*/ 237763 h 2018071"/>
              <a:gd name="csX6" fmla="*/ 2644946 w 3437996"/>
              <a:gd name="csY6" fmla="*/ 878435 h 2018071"/>
              <a:gd name="csX7" fmla="*/ 2707143 w 3437996"/>
              <a:gd name="csY7" fmla="*/ 983233 h 2018071"/>
              <a:gd name="csX8" fmla="*/ 2785162 w 3437996"/>
              <a:gd name="csY8" fmla="*/ 1262323 h 2018071"/>
              <a:gd name="csX9" fmla="*/ 2854807 w 3437996"/>
              <a:gd name="csY9" fmla="*/ 1442604 h 2018071"/>
              <a:gd name="csX10" fmla="*/ 2872452 w 3437996"/>
              <a:gd name="csY10" fmla="*/ 1674268 h 2018071"/>
              <a:gd name="csX11" fmla="*/ 2882558 w 3437996"/>
              <a:gd name="csY11" fmla="*/ 1882875 h 2018071"/>
              <a:gd name="csX12" fmla="*/ 2856954 w 3437996"/>
              <a:gd name="csY12" fmla="*/ 1937838 h 2018071"/>
              <a:gd name="csX13" fmla="*/ 2761603 w 3437996"/>
              <a:gd name="csY13" fmla="*/ 1862341 h 2018071"/>
              <a:gd name="csX14" fmla="*/ 2685405 w 3437996"/>
              <a:gd name="csY14" fmla="*/ 1635685 h 2018071"/>
              <a:gd name="csX15" fmla="*/ 2652160 w 3437996"/>
              <a:gd name="csY15" fmla="*/ 1507540 h 2018071"/>
              <a:gd name="csX16" fmla="*/ 2509087 w 3437996"/>
              <a:gd name="csY16" fmla="*/ 1165452 h 2018071"/>
              <a:gd name="csX17" fmla="*/ 2391927 w 3437996"/>
              <a:gd name="csY17" fmla="*/ 1019350 h 2018071"/>
              <a:gd name="csX18" fmla="*/ 2035704 w 3437996"/>
              <a:gd name="csY18" fmla="*/ 742390 h 2018071"/>
              <a:gd name="csX19" fmla="*/ 1974551 w 3437996"/>
              <a:gd name="csY19" fmla="*/ 725535 h 2018071"/>
              <a:gd name="csX20" fmla="*/ 1731788 w 3437996"/>
              <a:gd name="csY20" fmla="*/ 673777 h 2018071"/>
              <a:gd name="csX21" fmla="*/ 1679705 w 3437996"/>
              <a:gd name="csY21" fmla="*/ 687877 h 2018071"/>
              <a:gd name="csX22" fmla="*/ 1526835 w 3437996"/>
              <a:gd name="csY22" fmla="*/ 923084 h 2018071"/>
              <a:gd name="csX23" fmla="*/ 1462074 w 3437996"/>
              <a:gd name="csY23" fmla="*/ 978021 h 2018071"/>
              <a:gd name="csX24" fmla="*/ 1434944 w 3437996"/>
              <a:gd name="csY24" fmla="*/ 901156 h 2018071"/>
              <a:gd name="csX25" fmla="*/ 1577323 w 3437996"/>
              <a:gd name="csY25" fmla="*/ 1295803 h 2018071"/>
              <a:gd name="csX26" fmla="*/ 1900783 w 3437996"/>
              <a:gd name="csY26" fmla="*/ 1565972 h 2018071"/>
              <a:gd name="csX27" fmla="*/ 2127709 w 3437996"/>
              <a:gd name="csY27" fmla="*/ 1781152 h 2018071"/>
              <a:gd name="csX28" fmla="*/ 2206521 w 3437996"/>
              <a:gd name="csY28" fmla="*/ 1980536 h 2018071"/>
              <a:gd name="csX29" fmla="*/ 2199792 w 3437996"/>
              <a:gd name="csY29" fmla="*/ 2017096 h 2018071"/>
              <a:gd name="csX30" fmla="*/ 2186442 w 3437996"/>
              <a:gd name="csY30" fmla="*/ 2017335 h 2018071"/>
              <a:gd name="csX31" fmla="*/ 2170299 w 3437996"/>
              <a:gd name="csY31" fmla="*/ 2005190 h 2018071"/>
              <a:gd name="csX32" fmla="*/ 2126464 w 3437996"/>
              <a:gd name="csY32" fmla="*/ 1946051 h 2018071"/>
              <a:gd name="csX33" fmla="*/ 1971123 w 3437996"/>
              <a:gd name="csY33" fmla="*/ 1923401 h 2018071"/>
              <a:gd name="csX34" fmla="*/ 1956849 w 3437996"/>
              <a:gd name="csY34" fmla="*/ 1931980 h 2018071"/>
              <a:gd name="csX35" fmla="*/ 1942194 w 3437996"/>
              <a:gd name="csY35" fmla="*/ 1940716 h 2018071"/>
              <a:gd name="csX36" fmla="*/ 1928792 w 3437996"/>
              <a:gd name="csY36" fmla="*/ 1944639 h 2018071"/>
              <a:gd name="csX37" fmla="*/ 1884480 w 3437996"/>
              <a:gd name="csY37" fmla="*/ 1923176 h 2018071"/>
              <a:gd name="csX38" fmla="*/ 1636876 w 3437996"/>
              <a:gd name="csY38" fmla="*/ 1732838 h 2018071"/>
              <a:gd name="csX39" fmla="*/ 1370555 w 3437996"/>
              <a:gd name="csY39" fmla="*/ 1549842 h 2018071"/>
              <a:gd name="csX40" fmla="*/ 996942 w 3437996"/>
              <a:gd name="csY40" fmla="*/ 1382330 h 2018071"/>
              <a:gd name="csX41" fmla="*/ 732621 w 3437996"/>
              <a:gd name="csY41" fmla="*/ 1304553 h 2018071"/>
              <a:gd name="csX42" fmla="*/ 316929 w 3437996"/>
              <a:gd name="csY42" fmla="*/ 1038062 h 2018071"/>
              <a:gd name="csX43" fmla="*/ 81792 w 3437996"/>
              <a:gd name="csY43" fmla="*/ 914189 h 2018071"/>
              <a:gd name="csX44" fmla="*/ 36108 w 3437996"/>
              <a:gd name="csY44" fmla="*/ 901107 h 2018071"/>
              <a:gd name="csX45" fmla="*/ 2675 w 3437996"/>
              <a:gd name="csY45" fmla="*/ 840617 h 2018071"/>
              <a:gd name="csX46" fmla="*/ 2863 w 3437996"/>
              <a:gd name="csY46" fmla="*/ 833860 h 2018071"/>
              <a:gd name="csX47" fmla="*/ 88193 w 3437996"/>
              <a:gd name="csY47" fmla="*/ 269877 h 2018071"/>
              <a:gd name="csX48" fmla="*/ 182353 w 3437996"/>
              <a:gd name="csY48" fmla="*/ 229554 h 2018071"/>
              <a:gd name="csX49" fmla="*/ 213726 w 3437996"/>
              <a:gd name="csY49" fmla="*/ 239233 h 2018071"/>
              <a:gd name="csX50" fmla="*/ 416961 w 3437996"/>
              <a:gd name="csY50" fmla="*/ 299911 h 2018071"/>
              <a:gd name="csX51" fmla="*/ 622809 w 3437996"/>
              <a:gd name="csY51" fmla="*/ 305227 h 2018071"/>
              <a:gd name="csX52" fmla="*/ 1851374 w 3437996"/>
              <a:gd name="csY52" fmla="*/ 7502 h 2018071"/>
              <a:gd name="csX53" fmla="*/ 2119617 w 3437996"/>
              <a:gd name="csY53" fmla="*/ 86919 h 2018071"/>
              <a:gd name="csX54" fmla="*/ 2805452 w 3437996"/>
              <a:gd name="csY54" fmla="*/ 622669 h 2018071"/>
              <a:gd name="csX55" fmla="*/ 3047873 w 3437996"/>
              <a:gd name="csY55" fmla="*/ 889895 h 2018071"/>
              <a:gd name="csX56" fmla="*/ 3201337 w 3437996"/>
              <a:gd name="csY56" fmla="*/ 1065192 h 2018071"/>
              <a:gd name="csX57" fmla="*/ 3322212 w 3437996"/>
              <a:gd name="csY57" fmla="*/ 1262254 h 2018071"/>
              <a:gd name="csX58" fmla="*/ 3434603 w 3437996"/>
              <a:gd name="csY58" fmla="*/ 1463610 h 2018071"/>
              <a:gd name="csX59" fmla="*/ 3437317 w 3437996"/>
              <a:gd name="csY59" fmla="*/ 1496424 h 2018071"/>
              <a:gd name="csX60" fmla="*/ 3437173 w 3437996"/>
              <a:gd name="csY60" fmla="*/ 1502015 h 2018071"/>
              <a:gd name="csX61" fmla="*/ 3265778 w 3437996"/>
              <a:gd name="csY61" fmla="*/ 1437268 h 2018071"/>
              <a:gd name="csX62" fmla="*/ 3131933 w 3437996"/>
              <a:gd name="csY62" fmla="*/ 1283723 h 2018071"/>
              <a:gd name="csX63" fmla="*/ 2856351 w 3437996"/>
              <a:gd name="csY63" fmla="*/ 1004478 h 2018071"/>
              <a:gd name="csX64" fmla="*/ 2818150 w 3437996"/>
              <a:gd name="csY64" fmla="*/ 969213 h 2018071"/>
              <a:gd name="csX65" fmla="*/ 2654127 w 3437996"/>
              <a:gd name="csY65" fmla="*/ 825572 h 2018071"/>
              <a:gd name="csX66" fmla="*/ 2651783 w 3437996"/>
              <a:gd name="csY66" fmla="*/ 823279 h 2018071"/>
              <a:gd name="csX67" fmla="*/ 2510900 w 3437996"/>
              <a:gd name="csY67" fmla="*/ 681286 h 2018071"/>
              <a:gd name="csX68" fmla="*/ 2425486 w 3437996"/>
              <a:gd name="csY68" fmla="*/ 595418 h 2018071"/>
              <a:gd name="csX69" fmla="*/ 2204126 w 3437996"/>
              <a:gd name="csY69" fmla="*/ 367340 h 201807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</a:cxnLst>
            <a:rect l="l" t="t" r="r" b="b"/>
            <a:pathLst>
              <a:path w="3437996" h="2018071">
                <a:moveTo>
                  <a:pt x="2204126" y="367340"/>
                </a:moveTo>
                <a:cubicBezTo>
                  <a:pt x="2164898" y="328716"/>
                  <a:pt x="2125602" y="293701"/>
                  <a:pt x="2092189" y="253764"/>
                </a:cubicBezTo>
                <a:cubicBezTo>
                  <a:pt x="1998953" y="142320"/>
                  <a:pt x="1890018" y="93439"/>
                  <a:pt x="1748351" y="157374"/>
                </a:cubicBezTo>
                <a:cubicBezTo>
                  <a:pt x="1737148" y="162430"/>
                  <a:pt x="1724984" y="165359"/>
                  <a:pt x="1713484" y="175406"/>
                </a:cubicBezTo>
                <a:lnTo>
                  <a:pt x="1861094" y="175152"/>
                </a:lnTo>
                <a:cubicBezTo>
                  <a:pt x="1921710" y="173611"/>
                  <a:pt x="1971536" y="194108"/>
                  <a:pt x="2014297" y="237763"/>
                </a:cubicBezTo>
                <a:lnTo>
                  <a:pt x="2644946" y="878435"/>
                </a:lnTo>
                <a:cubicBezTo>
                  <a:pt x="2674436" y="908340"/>
                  <a:pt x="2695943" y="941968"/>
                  <a:pt x="2707143" y="983233"/>
                </a:cubicBezTo>
                <a:cubicBezTo>
                  <a:pt x="2732448" y="1076472"/>
                  <a:pt x="2763734" y="1168256"/>
                  <a:pt x="2785162" y="1262323"/>
                </a:cubicBezTo>
                <a:cubicBezTo>
                  <a:pt x="2799779" y="1326492"/>
                  <a:pt x="2844600" y="1376783"/>
                  <a:pt x="2854807" y="1442604"/>
                </a:cubicBezTo>
                <a:cubicBezTo>
                  <a:pt x="2866750" y="1519622"/>
                  <a:pt x="2877771" y="1596210"/>
                  <a:pt x="2872452" y="1674268"/>
                </a:cubicBezTo>
                <a:cubicBezTo>
                  <a:pt x="2867684" y="1744236"/>
                  <a:pt x="2873829" y="1813560"/>
                  <a:pt x="2882558" y="1882875"/>
                </a:cubicBezTo>
                <a:cubicBezTo>
                  <a:pt x="2885273" y="1904429"/>
                  <a:pt x="2890183" y="1928438"/>
                  <a:pt x="2856954" y="1937838"/>
                </a:cubicBezTo>
                <a:cubicBezTo>
                  <a:pt x="2809843" y="1927788"/>
                  <a:pt x="2783071" y="1900099"/>
                  <a:pt x="2761603" y="1862341"/>
                </a:cubicBezTo>
                <a:cubicBezTo>
                  <a:pt x="2721315" y="1791478"/>
                  <a:pt x="2685159" y="1720980"/>
                  <a:pt x="2685405" y="1635685"/>
                </a:cubicBezTo>
                <a:cubicBezTo>
                  <a:pt x="2685532" y="1591656"/>
                  <a:pt x="2672033" y="1547527"/>
                  <a:pt x="2652160" y="1507540"/>
                </a:cubicBezTo>
                <a:cubicBezTo>
                  <a:pt x="2597017" y="1396589"/>
                  <a:pt x="2556974" y="1279383"/>
                  <a:pt x="2509087" y="1165452"/>
                </a:cubicBezTo>
                <a:cubicBezTo>
                  <a:pt x="2483424" y="1104397"/>
                  <a:pt x="2444117" y="1057279"/>
                  <a:pt x="2391927" y="1019350"/>
                </a:cubicBezTo>
                <a:cubicBezTo>
                  <a:pt x="2270183" y="930871"/>
                  <a:pt x="2145737" y="845886"/>
                  <a:pt x="2035704" y="742390"/>
                </a:cubicBezTo>
                <a:cubicBezTo>
                  <a:pt x="2017929" y="725671"/>
                  <a:pt x="1998394" y="722118"/>
                  <a:pt x="1974551" y="725535"/>
                </a:cubicBezTo>
                <a:cubicBezTo>
                  <a:pt x="1887562" y="737998"/>
                  <a:pt x="1803403" y="734813"/>
                  <a:pt x="1731788" y="673777"/>
                </a:cubicBezTo>
                <a:cubicBezTo>
                  <a:pt x="1707819" y="653347"/>
                  <a:pt x="1693567" y="665145"/>
                  <a:pt x="1679705" y="687877"/>
                </a:cubicBezTo>
                <a:cubicBezTo>
                  <a:pt x="1631010" y="767727"/>
                  <a:pt x="1579938" y="846092"/>
                  <a:pt x="1526835" y="923084"/>
                </a:cubicBezTo>
                <a:cubicBezTo>
                  <a:pt x="1510879" y="946218"/>
                  <a:pt x="1496770" y="972363"/>
                  <a:pt x="1462074" y="978021"/>
                </a:cubicBezTo>
                <a:cubicBezTo>
                  <a:pt x="1451761" y="954831"/>
                  <a:pt x="1444842" y="932747"/>
                  <a:pt x="1434944" y="901156"/>
                </a:cubicBezTo>
                <a:cubicBezTo>
                  <a:pt x="1433074" y="1057705"/>
                  <a:pt x="1488517" y="1182183"/>
                  <a:pt x="1577323" y="1295803"/>
                </a:cubicBezTo>
                <a:cubicBezTo>
                  <a:pt x="1666027" y="1409292"/>
                  <a:pt x="1785857" y="1484965"/>
                  <a:pt x="1900783" y="1565972"/>
                </a:cubicBezTo>
                <a:cubicBezTo>
                  <a:pt x="1987439" y="1627053"/>
                  <a:pt x="2058867" y="1702616"/>
                  <a:pt x="2127709" y="1781152"/>
                </a:cubicBezTo>
                <a:cubicBezTo>
                  <a:pt x="2176033" y="1836280"/>
                  <a:pt x="2186401" y="1908896"/>
                  <a:pt x="2206521" y="1980536"/>
                </a:cubicBezTo>
                <a:cubicBezTo>
                  <a:pt x="2210411" y="1995439"/>
                  <a:pt x="2212310" y="2006369"/>
                  <a:pt x="2199792" y="2017096"/>
                </a:cubicBezTo>
                <a:cubicBezTo>
                  <a:pt x="2194301" y="2018343"/>
                  <a:pt x="2192011" y="2018363"/>
                  <a:pt x="2186442" y="2017335"/>
                </a:cubicBezTo>
                <a:cubicBezTo>
                  <a:pt x="2179253" y="2013889"/>
                  <a:pt x="2175688" y="2011058"/>
                  <a:pt x="2170299" y="2005190"/>
                </a:cubicBezTo>
                <a:cubicBezTo>
                  <a:pt x="2154959" y="1983220"/>
                  <a:pt x="2142674" y="1963289"/>
                  <a:pt x="2126464" y="1946051"/>
                </a:cubicBezTo>
                <a:cubicBezTo>
                  <a:pt x="2073358" y="1889574"/>
                  <a:pt x="2043536" y="1884645"/>
                  <a:pt x="1971123" y="1923401"/>
                </a:cubicBezTo>
                <a:cubicBezTo>
                  <a:pt x="1966348" y="1926156"/>
                  <a:pt x="1964439" y="1927270"/>
                  <a:pt x="1956849" y="1931980"/>
                </a:cubicBezTo>
                <a:cubicBezTo>
                  <a:pt x="1949216" y="1936773"/>
                  <a:pt x="1947265" y="1937971"/>
                  <a:pt x="1942194" y="1940716"/>
                </a:cubicBezTo>
                <a:cubicBezTo>
                  <a:pt x="1936824" y="1942935"/>
                  <a:pt x="1934574" y="1943607"/>
                  <a:pt x="1928792" y="1944639"/>
                </a:cubicBezTo>
                <a:cubicBezTo>
                  <a:pt x="1908045" y="1944507"/>
                  <a:pt x="1894304" y="1935503"/>
                  <a:pt x="1884480" y="1923176"/>
                </a:cubicBezTo>
                <a:cubicBezTo>
                  <a:pt x="1817624" y="1839285"/>
                  <a:pt x="1720986" y="1793984"/>
                  <a:pt x="1636876" y="1732838"/>
                </a:cubicBezTo>
                <a:cubicBezTo>
                  <a:pt x="1549808" y="1669543"/>
                  <a:pt x="1455940" y="1615455"/>
                  <a:pt x="1370555" y="1549842"/>
                </a:cubicBezTo>
                <a:cubicBezTo>
                  <a:pt x="1258782" y="1463951"/>
                  <a:pt x="1133301" y="1413117"/>
                  <a:pt x="996942" y="1382330"/>
                </a:cubicBezTo>
                <a:cubicBezTo>
                  <a:pt x="907442" y="1362124"/>
                  <a:pt x="819799" y="1333997"/>
                  <a:pt x="732621" y="1304553"/>
                </a:cubicBezTo>
                <a:cubicBezTo>
                  <a:pt x="571539" y="1250148"/>
                  <a:pt x="431770" y="1161260"/>
                  <a:pt x="316929" y="1038062"/>
                </a:cubicBezTo>
                <a:cubicBezTo>
                  <a:pt x="250795" y="967116"/>
                  <a:pt x="168511" y="939453"/>
                  <a:pt x="81792" y="914189"/>
                </a:cubicBezTo>
                <a:cubicBezTo>
                  <a:pt x="66585" y="909759"/>
                  <a:pt x="51261" y="905779"/>
                  <a:pt x="36108" y="901107"/>
                </a:cubicBezTo>
                <a:cubicBezTo>
                  <a:pt x="7275" y="892215"/>
                  <a:pt x="-6134" y="874705"/>
                  <a:pt x="2675" y="840617"/>
                </a:cubicBezTo>
                <a:cubicBezTo>
                  <a:pt x="3677" y="837195"/>
                  <a:pt x="2160" y="834996"/>
                  <a:pt x="2863" y="833860"/>
                </a:cubicBezTo>
                <a:cubicBezTo>
                  <a:pt x="17116" y="738737"/>
                  <a:pt x="73713" y="366595"/>
                  <a:pt x="88193" y="269877"/>
                </a:cubicBezTo>
                <a:cubicBezTo>
                  <a:pt x="118108" y="169159"/>
                  <a:pt x="161431" y="234661"/>
                  <a:pt x="182353" y="229554"/>
                </a:cubicBezTo>
                <a:cubicBezTo>
                  <a:pt x="203275" y="224447"/>
                  <a:pt x="174625" y="227507"/>
                  <a:pt x="213726" y="239233"/>
                </a:cubicBezTo>
                <a:cubicBezTo>
                  <a:pt x="252827" y="250959"/>
                  <a:pt x="350859" y="278265"/>
                  <a:pt x="416961" y="299911"/>
                </a:cubicBezTo>
                <a:cubicBezTo>
                  <a:pt x="485546" y="322369"/>
                  <a:pt x="553112" y="322198"/>
                  <a:pt x="622809" y="305227"/>
                </a:cubicBezTo>
                <a:lnTo>
                  <a:pt x="1851374" y="7502"/>
                </a:lnTo>
                <a:cubicBezTo>
                  <a:pt x="1957600" y="-18463"/>
                  <a:pt x="2044157" y="26609"/>
                  <a:pt x="2119617" y="86919"/>
                </a:cubicBezTo>
                <a:cubicBezTo>
                  <a:pt x="2346255" y="268054"/>
                  <a:pt x="2582891" y="436272"/>
                  <a:pt x="2805452" y="622669"/>
                </a:cubicBezTo>
                <a:cubicBezTo>
                  <a:pt x="2899009" y="701024"/>
                  <a:pt x="2968276" y="799778"/>
                  <a:pt x="3047873" y="889895"/>
                </a:cubicBezTo>
                <a:cubicBezTo>
                  <a:pt x="3099291" y="948109"/>
                  <a:pt x="3147658" y="1009181"/>
                  <a:pt x="3201337" y="1065192"/>
                </a:cubicBezTo>
                <a:cubicBezTo>
                  <a:pt x="3256365" y="1122610"/>
                  <a:pt x="3296570" y="1188343"/>
                  <a:pt x="3322212" y="1262254"/>
                </a:cubicBezTo>
                <a:cubicBezTo>
                  <a:pt x="3347657" y="1335602"/>
                  <a:pt x="3397449" y="1394057"/>
                  <a:pt x="3434603" y="1463610"/>
                </a:cubicBezTo>
                <a:cubicBezTo>
                  <a:pt x="3438853" y="1474948"/>
                  <a:pt x="3438266" y="1483581"/>
                  <a:pt x="3437317" y="1496424"/>
                </a:cubicBezTo>
                <a:cubicBezTo>
                  <a:pt x="3436642" y="1500671"/>
                  <a:pt x="3437238" y="1501506"/>
                  <a:pt x="3437173" y="1502015"/>
                </a:cubicBezTo>
                <a:cubicBezTo>
                  <a:pt x="3369245" y="1509023"/>
                  <a:pt x="3313560" y="1482365"/>
                  <a:pt x="3265778" y="1437268"/>
                </a:cubicBezTo>
                <a:cubicBezTo>
                  <a:pt x="3216239" y="1390513"/>
                  <a:pt x="3172313" y="1338372"/>
                  <a:pt x="3131933" y="1283723"/>
                </a:cubicBezTo>
                <a:cubicBezTo>
                  <a:pt x="3053326" y="1177337"/>
                  <a:pt x="2959073" y="1086814"/>
                  <a:pt x="2856351" y="1004478"/>
                </a:cubicBezTo>
                <a:cubicBezTo>
                  <a:pt x="2842741" y="993568"/>
                  <a:pt x="2827385" y="983872"/>
                  <a:pt x="2818150" y="969213"/>
                </a:cubicBezTo>
                <a:cubicBezTo>
                  <a:pt x="2778296" y="905949"/>
                  <a:pt x="2724612" y="858935"/>
                  <a:pt x="2654127" y="825572"/>
                </a:cubicBezTo>
                <a:cubicBezTo>
                  <a:pt x="2651245" y="823660"/>
                  <a:pt x="2651612" y="822886"/>
                  <a:pt x="2651783" y="823279"/>
                </a:cubicBezTo>
                <a:lnTo>
                  <a:pt x="2510900" y="681286"/>
                </a:lnTo>
                <a:cubicBezTo>
                  <a:pt x="2487405" y="657606"/>
                  <a:pt x="2476615" y="647742"/>
                  <a:pt x="2425486" y="595418"/>
                </a:cubicBezTo>
                <a:lnTo>
                  <a:pt x="2204126" y="367340"/>
                </a:lnTo>
                <a:close/>
              </a:path>
            </a:pathLst>
          </a:custGeom>
          <a:solidFill>
            <a:schemeClr val="accent3"/>
          </a:solidFill>
          <a:ln w="9525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26" name="Free-form: Shape 3525">
            <a:extLst>
              <a:ext uri="{FF2B5EF4-FFF2-40B4-BE49-F238E27FC236}">
                <a16:creationId xmlns:a16="http://schemas.microsoft.com/office/drawing/2014/main" id="{06C0B11A-B95C-609D-098E-3C7CD2BC7935}"/>
              </a:ext>
            </a:extLst>
          </p:cNvPr>
          <p:cNvSpPr/>
          <p:nvPr/>
        </p:nvSpPr>
        <p:spPr>
          <a:xfrm>
            <a:off x="3004329" y="4051054"/>
            <a:ext cx="771445" cy="1246516"/>
          </a:xfrm>
          <a:custGeom>
            <a:avLst/>
            <a:gdLst>
              <a:gd name="csX0" fmla="*/ 216582 w 1022493"/>
              <a:gd name="csY0" fmla="*/ 486949 h 1652165"/>
              <a:gd name="csX1" fmla="*/ 273854 w 1022493"/>
              <a:gd name="csY1" fmla="*/ 369372 h 1652165"/>
              <a:gd name="csX2" fmla="*/ 268878 w 1022493"/>
              <a:gd name="csY2" fmla="*/ 260366 h 1652165"/>
              <a:gd name="csX3" fmla="*/ 308916 w 1022493"/>
              <a:gd name="csY3" fmla="*/ 184989 h 1652165"/>
              <a:gd name="csX4" fmla="*/ 596295 w 1022493"/>
              <a:gd name="csY4" fmla="*/ 0 h 1652165"/>
              <a:gd name="csX5" fmla="*/ 587704 w 1022493"/>
              <a:gd name="csY5" fmla="*/ 127504 h 1652165"/>
              <a:gd name="csX6" fmla="*/ 615025 w 1022493"/>
              <a:gd name="csY6" fmla="*/ 178141 h 1652165"/>
              <a:gd name="csX7" fmla="*/ 789571 w 1022493"/>
              <a:gd name="csY7" fmla="*/ 314355 h 1652165"/>
              <a:gd name="csX8" fmla="*/ 800723 w 1022493"/>
              <a:gd name="csY8" fmla="*/ 334872 h 1652165"/>
              <a:gd name="csX9" fmla="*/ 1003096 w 1022493"/>
              <a:gd name="csY9" fmla="*/ 678057 h 1652165"/>
              <a:gd name="csX10" fmla="*/ 988840 w 1022493"/>
              <a:gd name="csY10" fmla="*/ 854515 h 1652165"/>
              <a:gd name="csX11" fmla="*/ 898193 w 1022493"/>
              <a:gd name="csY11" fmla="*/ 840769 h 1652165"/>
              <a:gd name="csX12" fmla="*/ 873551 w 1022493"/>
              <a:gd name="csY12" fmla="*/ 830353 h 1652165"/>
              <a:gd name="csX13" fmla="*/ 884716 w 1022493"/>
              <a:gd name="csY13" fmla="*/ 893252 h 1652165"/>
              <a:gd name="csX14" fmla="*/ 811064 w 1022493"/>
              <a:gd name="csY14" fmla="*/ 842752 h 1652165"/>
              <a:gd name="csX15" fmla="*/ 576315 w 1022493"/>
              <a:gd name="csY15" fmla="*/ 701540 h 1652165"/>
              <a:gd name="csX16" fmla="*/ 415196 w 1022493"/>
              <a:gd name="csY16" fmla="*/ 536274 h 1652165"/>
              <a:gd name="csX17" fmla="*/ 406764 w 1022493"/>
              <a:gd name="csY17" fmla="*/ 497863 h 1652165"/>
              <a:gd name="csX18" fmla="*/ 390315 w 1022493"/>
              <a:gd name="csY18" fmla="*/ 665779 h 1652165"/>
              <a:gd name="csX19" fmla="*/ 480128 w 1022493"/>
              <a:gd name="csY19" fmla="*/ 838772 h 1652165"/>
              <a:gd name="csX20" fmla="*/ 656185 w 1022493"/>
              <a:gd name="csY20" fmla="*/ 1165287 h 1652165"/>
              <a:gd name="csX21" fmla="*/ 638678 w 1022493"/>
              <a:gd name="csY21" fmla="*/ 1607879 h 1652165"/>
              <a:gd name="csX22" fmla="*/ 548059 w 1022493"/>
              <a:gd name="csY22" fmla="*/ 1649950 h 1652165"/>
              <a:gd name="csX23" fmla="*/ 31726 w 1022493"/>
              <a:gd name="csY23" fmla="*/ 1539556 h 1652165"/>
              <a:gd name="csX24" fmla="*/ 8296 w 1022493"/>
              <a:gd name="csY24" fmla="*/ 1501440 h 1652165"/>
              <a:gd name="csX25" fmla="*/ 96664 w 1022493"/>
              <a:gd name="csY25" fmla="*/ 1006813 h 1652165"/>
              <a:gd name="csX26" fmla="*/ 72468 w 1022493"/>
              <a:gd name="csY26" fmla="*/ 585504 h 1652165"/>
              <a:gd name="csX27" fmla="*/ 124014 w 1022493"/>
              <a:gd name="csY27" fmla="*/ 528765 h 1652165"/>
              <a:gd name="csX28" fmla="*/ 216582 w 1022493"/>
              <a:gd name="csY28" fmla="*/ 486949 h 165216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</a:cxnLst>
            <a:rect l="l" t="t" r="r" b="b"/>
            <a:pathLst>
              <a:path w="1022493" h="1652165">
                <a:moveTo>
                  <a:pt x="216582" y="486949"/>
                </a:moveTo>
                <a:cubicBezTo>
                  <a:pt x="258238" y="456111"/>
                  <a:pt x="275076" y="416912"/>
                  <a:pt x="273854" y="369372"/>
                </a:cubicBezTo>
                <a:cubicBezTo>
                  <a:pt x="272917" y="332920"/>
                  <a:pt x="276973" y="295210"/>
                  <a:pt x="268878" y="260366"/>
                </a:cubicBezTo>
                <a:cubicBezTo>
                  <a:pt x="259334" y="219289"/>
                  <a:pt x="269981" y="196369"/>
                  <a:pt x="308916" y="184989"/>
                </a:cubicBezTo>
                <a:cubicBezTo>
                  <a:pt x="421802" y="151996"/>
                  <a:pt x="528572" y="109064"/>
                  <a:pt x="596295" y="0"/>
                </a:cubicBezTo>
                <a:cubicBezTo>
                  <a:pt x="606080" y="48776"/>
                  <a:pt x="596174" y="88192"/>
                  <a:pt x="587704" y="127504"/>
                </a:cubicBezTo>
                <a:cubicBezTo>
                  <a:pt x="582122" y="153413"/>
                  <a:pt x="588056" y="169915"/>
                  <a:pt x="615025" y="178141"/>
                </a:cubicBezTo>
                <a:cubicBezTo>
                  <a:pt x="690411" y="201134"/>
                  <a:pt x="731318" y="268999"/>
                  <a:pt x="789571" y="314355"/>
                </a:cubicBezTo>
                <a:cubicBezTo>
                  <a:pt x="795263" y="318787"/>
                  <a:pt x="799635" y="327544"/>
                  <a:pt x="800723" y="334872"/>
                </a:cubicBezTo>
                <a:cubicBezTo>
                  <a:pt x="821784" y="476634"/>
                  <a:pt x="924972" y="570193"/>
                  <a:pt x="1003096" y="678057"/>
                </a:cubicBezTo>
                <a:cubicBezTo>
                  <a:pt x="1032633" y="718839"/>
                  <a:pt x="1028869" y="824004"/>
                  <a:pt x="988840" y="854515"/>
                </a:cubicBezTo>
                <a:cubicBezTo>
                  <a:pt x="955578" y="879868"/>
                  <a:pt x="926223" y="861216"/>
                  <a:pt x="898193" y="840769"/>
                </a:cubicBezTo>
                <a:cubicBezTo>
                  <a:pt x="891230" y="835690"/>
                  <a:pt x="885731" y="825863"/>
                  <a:pt x="873551" y="830353"/>
                </a:cubicBezTo>
                <a:cubicBezTo>
                  <a:pt x="866073" y="851802"/>
                  <a:pt x="887168" y="867958"/>
                  <a:pt x="884716" y="893252"/>
                </a:cubicBezTo>
                <a:cubicBezTo>
                  <a:pt x="849680" y="890607"/>
                  <a:pt x="826803" y="869982"/>
                  <a:pt x="811064" y="842752"/>
                </a:cubicBezTo>
                <a:cubicBezTo>
                  <a:pt x="758599" y="751984"/>
                  <a:pt x="686688" y="702023"/>
                  <a:pt x="576315" y="701540"/>
                </a:cubicBezTo>
                <a:cubicBezTo>
                  <a:pt x="478959" y="701114"/>
                  <a:pt x="420192" y="632676"/>
                  <a:pt x="415196" y="536274"/>
                </a:cubicBezTo>
                <a:cubicBezTo>
                  <a:pt x="414597" y="524732"/>
                  <a:pt x="419842" y="511739"/>
                  <a:pt x="406764" y="497863"/>
                </a:cubicBezTo>
                <a:cubicBezTo>
                  <a:pt x="376115" y="553337"/>
                  <a:pt x="363605" y="608618"/>
                  <a:pt x="390315" y="665779"/>
                </a:cubicBezTo>
                <a:cubicBezTo>
                  <a:pt x="417798" y="724593"/>
                  <a:pt x="449387" y="781526"/>
                  <a:pt x="480128" y="838772"/>
                </a:cubicBezTo>
                <a:cubicBezTo>
                  <a:pt x="538630" y="947713"/>
                  <a:pt x="599946" y="1055199"/>
                  <a:pt x="656185" y="1165287"/>
                </a:cubicBezTo>
                <a:cubicBezTo>
                  <a:pt x="732720" y="1315105"/>
                  <a:pt x="731394" y="1463187"/>
                  <a:pt x="638678" y="1607879"/>
                </a:cubicBezTo>
                <a:cubicBezTo>
                  <a:pt x="615970" y="1643316"/>
                  <a:pt x="590184" y="1658184"/>
                  <a:pt x="548059" y="1649950"/>
                </a:cubicBezTo>
                <a:cubicBezTo>
                  <a:pt x="375288" y="1616179"/>
                  <a:pt x="202813" y="1581099"/>
                  <a:pt x="31726" y="1539556"/>
                </a:cubicBezTo>
                <a:cubicBezTo>
                  <a:pt x="14007" y="1535253"/>
                  <a:pt x="-14094" y="1534965"/>
                  <a:pt x="8296" y="1501440"/>
                </a:cubicBezTo>
                <a:cubicBezTo>
                  <a:pt x="109663" y="1349658"/>
                  <a:pt x="116609" y="1180511"/>
                  <a:pt x="96664" y="1006813"/>
                </a:cubicBezTo>
                <a:cubicBezTo>
                  <a:pt x="80593" y="866853"/>
                  <a:pt x="53259" y="727656"/>
                  <a:pt x="72468" y="585504"/>
                </a:cubicBezTo>
                <a:cubicBezTo>
                  <a:pt x="76875" y="552891"/>
                  <a:pt x="81260" y="528206"/>
                  <a:pt x="124014" y="528765"/>
                </a:cubicBezTo>
                <a:cubicBezTo>
                  <a:pt x="157856" y="529208"/>
                  <a:pt x="187437" y="510542"/>
                  <a:pt x="216582" y="486949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27" name="Free-form: Shape 3526">
            <a:extLst>
              <a:ext uri="{FF2B5EF4-FFF2-40B4-BE49-F238E27FC236}">
                <a16:creationId xmlns:a16="http://schemas.microsoft.com/office/drawing/2014/main" id="{2F332651-1DFC-F2C2-69E5-5ED88B6A5584}"/>
              </a:ext>
            </a:extLst>
          </p:cNvPr>
          <p:cNvSpPr/>
          <p:nvPr/>
        </p:nvSpPr>
        <p:spPr>
          <a:xfrm>
            <a:off x="2697743" y="3433527"/>
            <a:ext cx="741124" cy="664157"/>
          </a:xfrm>
          <a:custGeom>
            <a:avLst/>
            <a:gdLst>
              <a:gd name="csX0" fmla="*/ 563448 w 982305"/>
              <a:gd name="csY0" fmla="*/ 142548 h 880291"/>
              <a:gd name="csX1" fmla="*/ 771100 w 982305"/>
              <a:gd name="csY1" fmla="*/ 290979 h 880291"/>
              <a:gd name="csX2" fmla="*/ 801526 w 982305"/>
              <a:gd name="csY2" fmla="*/ 326669 h 880291"/>
              <a:gd name="csX3" fmla="*/ 972881 w 982305"/>
              <a:gd name="csY3" fmla="*/ 723428 h 880291"/>
              <a:gd name="csX4" fmla="*/ 908066 w 982305"/>
              <a:gd name="csY4" fmla="*/ 817612 h 880291"/>
              <a:gd name="csX5" fmla="*/ 611913 w 982305"/>
              <a:gd name="csY5" fmla="*/ 875364 h 880291"/>
              <a:gd name="csX6" fmla="*/ 570312 w 982305"/>
              <a:gd name="csY6" fmla="*/ 867183 h 880291"/>
              <a:gd name="csX7" fmla="*/ 108894 w 982305"/>
              <a:gd name="csY7" fmla="*/ 467283 h 880291"/>
              <a:gd name="csX8" fmla="*/ 94286 w 982305"/>
              <a:gd name="csY8" fmla="*/ 455125 h 880291"/>
              <a:gd name="csX9" fmla="*/ 37591 w 982305"/>
              <a:gd name="csY9" fmla="*/ 200019 h 880291"/>
              <a:gd name="csX10" fmla="*/ 107124 w 982305"/>
              <a:gd name="csY10" fmla="*/ 33361 h 880291"/>
              <a:gd name="csX11" fmla="*/ 156031 w 982305"/>
              <a:gd name="csY11" fmla="*/ 499 h 880291"/>
              <a:gd name="csX12" fmla="*/ 411280 w 982305"/>
              <a:gd name="csY12" fmla="*/ 24551 h 880291"/>
              <a:gd name="csX13" fmla="*/ 470996 w 982305"/>
              <a:gd name="csY13" fmla="*/ 55959 h 880291"/>
              <a:gd name="csX14" fmla="*/ 563448 w 982305"/>
              <a:gd name="csY14" fmla="*/ 142548 h 88029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</a:cxnLst>
            <a:rect l="l" t="t" r="r" b="b"/>
            <a:pathLst>
              <a:path w="982305" h="880291">
                <a:moveTo>
                  <a:pt x="563448" y="142548"/>
                </a:moveTo>
                <a:cubicBezTo>
                  <a:pt x="634418" y="193445"/>
                  <a:pt x="702558" y="242496"/>
                  <a:pt x="771100" y="290979"/>
                </a:cubicBezTo>
                <a:cubicBezTo>
                  <a:pt x="784535" y="300483"/>
                  <a:pt x="794864" y="312045"/>
                  <a:pt x="801526" y="326669"/>
                </a:cubicBezTo>
                <a:cubicBezTo>
                  <a:pt x="861268" y="457796"/>
                  <a:pt x="926139" y="586803"/>
                  <a:pt x="972881" y="723428"/>
                </a:cubicBezTo>
                <a:cubicBezTo>
                  <a:pt x="995889" y="790681"/>
                  <a:pt x="977694" y="816944"/>
                  <a:pt x="908066" y="817612"/>
                </a:cubicBezTo>
                <a:cubicBezTo>
                  <a:pt x="805487" y="818597"/>
                  <a:pt x="705921" y="832459"/>
                  <a:pt x="611913" y="875364"/>
                </a:cubicBezTo>
                <a:cubicBezTo>
                  <a:pt x="594823" y="883163"/>
                  <a:pt x="581163" y="882591"/>
                  <a:pt x="570312" y="867183"/>
                </a:cubicBezTo>
                <a:cubicBezTo>
                  <a:pt x="449556" y="695714"/>
                  <a:pt x="262539" y="600755"/>
                  <a:pt x="108894" y="467283"/>
                </a:cubicBezTo>
                <a:cubicBezTo>
                  <a:pt x="104113" y="463129"/>
                  <a:pt x="98964" y="459387"/>
                  <a:pt x="94286" y="455125"/>
                </a:cubicBezTo>
                <a:cubicBezTo>
                  <a:pt x="-17648" y="353146"/>
                  <a:pt x="-20945" y="337860"/>
                  <a:pt x="37591" y="200019"/>
                </a:cubicBezTo>
                <a:cubicBezTo>
                  <a:pt x="61119" y="144613"/>
                  <a:pt x="84628" y="89189"/>
                  <a:pt x="107124" y="33361"/>
                </a:cubicBezTo>
                <a:cubicBezTo>
                  <a:pt x="116345" y="10480"/>
                  <a:pt x="127392" y="-2799"/>
                  <a:pt x="156031" y="499"/>
                </a:cubicBezTo>
                <a:cubicBezTo>
                  <a:pt x="240921" y="10274"/>
                  <a:pt x="326059" y="18311"/>
                  <a:pt x="411280" y="24551"/>
                </a:cubicBezTo>
                <a:cubicBezTo>
                  <a:pt x="437423" y="26465"/>
                  <a:pt x="455417" y="34998"/>
                  <a:pt x="470996" y="55959"/>
                </a:cubicBezTo>
                <a:cubicBezTo>
                  <a:pt x="495729" y="89234"/>
                  <a:pt x="528863" y="114389"/>
                  <a:pt x="563448" y="142548"/>
                </a:cubicBezTo>
                <a:close/>
              </a:path>
            </a:pathLst>
          </a:custGeom>
          <a:solidFill>
            <a:srgbClr val="4CA1A6"/>
          </a:solidFill>
          <a:ln w="9525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636" name="Free-form: Shape 5635">
            <a:extLst>
              <a:ext uri="{FF2B5EF4-FFF2-40B4-BE49-F238E27FC236}">
                <a16:creationId xmlns:a16="http://schemas.microsoft.com/office/drawing/2014/main" id="{83B89267-1A76-DFAB-7A0E-389263AE6AEF}"/>
              </a:ext>
            </a:extLst>
          </p:cNvPr>
          <p:cNvSpPr/>
          <p:nvPr/>
        </p:nvSpPr>
        <p:spPr>
          <a:xfrm>
            <a:off x="1479357" y="3402995"/>
            <a:ext cx="1666165" cy="1015286"/>
          </a:xfrm>
          <a:custGeom>
            <a:avLst/>
            <a:gdLst>
              <a:gd name="csX0" fmla="*/ 2071816 w 2208379"/>
              <a:gd name="csY0" fmla="*/ 1316259 h 1345687"/>
              <a:gd name="csX1" fmla="*/ 2073354 w 2208379"/>
              <a:gd name="csY1" fmla="*/ 1317416 h 1345687"/>
              <a:gd name="csX2" fmla="*/ 2075168 w 2208379"/>
              <a:gd name="csY2" fmla="*/ 1318662 h 1345687"/>
              <a:gd name="csX3" fmla="*/ 32755 w 2208379"/>
              <a:gd name="csY3" fmla="*/ 0 h 1345687"/>
              <a:gd name="csX4" fmla="*/ 79342 w 2208379"/>
              <a:gd name="csY4" fmla="*/ 52030 h 1345687"/>
              <a:gd name="csX5" fmla="*/ 233797 w 2208379"/>
              <a:gd name="csY5" fmla="*/ 97336 h 1345687"/>
              <a:gd name="csX6" fmla="*/ 309291 w 2208379"/>
              <a:gd name="csY6" fmla="*/ 144729 h 1345687"/>
              <a:gd name="csX7" fmla="*/ 538411 w 2208379"/>
              <a:gd name="csY7" fmla="*/ 342356 h 1345687"/>
              <a:gd name="csX8" fmla="*/ 941050 w 2208379"/>
              <a:gd name="csY8" fmla="*/ 505801 h 1345687"/>
              <a:gd name="csX9" fmla="*/ 1169504 w 2208379"/>
              <a:gd name="csY9" fmla="*/ 567374 h 1345687"/>
              <a:gd name="csX10" fmla="*/ 1447417 w 2208379"/>
              <a:gd name="csY10" fmla="*/ 726715 h 1345687"/>
              <a:gd name="csX11" fmla="*/ 1764384 w 2208379"/>
              <a:gd name="csY11" fmla="*/ 943142 h 1345687"/>
              <a:gd name="csX12" fmla="*/ 1921012 w 2208379"/>
              <a:gd name="csY12" fmla="*/ 1070920 h 1345687"/>
              <a:gd name="csX13" fmla="*/ 1967649 w 2208379"/>
              <a:gd name="csY13" fmla="*/ 1097423 h 1345687"/>
              <a:gd name="csX14" fmla="*/ 1972059 w 2208379"/>
              <a:gd name="csY14" fmla="*/ 1107216 h 1345687"/>
              <a:gd name="csX15" fmla="*/ 1975169 w 2208379"/>
              <a:gd name="csY15" fmla="*/ 1233134 h 1345687"/>
              <a:gd name="csX16" fmla="*/ 1974420 w 2208379"/>
              <a:gd name="csY16" fmla="*/ 1234067 h 1345687"/>
              <a:gd name="csX17" fmla="*/ 1986957 w 2208379"/>
              <a:gd name="csY17" fmla="*/ 1236530 h 1345687"/>
              <a:gd name="csX18" fmla="*/ 2056278 w 2208379"/>
              <a:gd name="csY18" fmla="*/ 1302771 h 1345687"/>
              <a:gd name="csX19" fmla="*/ 2060252 w 2208379"/>
              <a:gd name="csY19" fmla="*/ 1307187 h 1345687"/>
              <a:gd name="csX20" fmla="*/ 2130863 w 2208379"/>
              <a:gd name="csY20" fmla="*/ 1316897 h 1345687"/>
              <a:gd name="csX21" fmla="*/ 2204391 w 2208379"/>
              <a:gd name="csY21" fmla="*/ 1312877 h 1345687"/>
              <a:gd name="csX22" fmla="*/ 2208379 w 2208379"/>
              <a:gd name="csY22" fmla="*/ 1315952 h 1345687"/>
              <a:gd name="csX23" fmla="*/ 2097964 w 2208379"/>
              <a:gd name="csY23" fmla="*/ 1335003 h 1345687"/>
              <a:gd name="csX24" fmla="*/ 2089750 w 2208379"/>
              <a:gd name="csY24" fmla="*/ 1329115 h 1345687"/>
              <a:gd name="csX25" fmla="*/ 2058174 w 2208379"/>
              <a:gd name="csY25" fmla="*/ 1320987 h 1345687"/>
              <a:gd name="csX26" fmla="*/ 1961606 w 2208379"/>
              <a:gd name="csY26" fmla="*/ 1251772 h 1345687"/>
              <a:gd name="csX27" fmla="*/ 1958312 w 2208379"/>
              <a:gd name="csY27" fmla="*/ 1244343 h 1345687"/>
              <a:gd name="csX28" fmla="*/ 1715456 w 2208379"/>
              <a:gd name="csY28" fmla="*/ 1061882 h 1345687"/>
              <a:gd name="csX29" fmla="*/ 1461432 w 2208379"/>
              <a:gd name="csY29" fmla="*/ 886569 h 1345687"/>
              <a:gd name="csX30" fmla="*/ 795966 w 2208379"/>
              <a:gd name="csY30" fmla="*/ 629887 h 1345687"/>
              <a:gd name="csX31" fmla="*/ 388848 w 2208379"/>
              <a:gd name="csY31" fmla="*/ 416829 h 1345687"/>
              <a:gd name="csX32" fmla="*/ 317865 w 2208379"/>
              <a:gd name="csY32" fmla="*/ 353696 h 1345687"/>
              <a:gd name="csX33" fmla="*/ 115992 w 2208379"/>
              <a:gd name="csY33" fmla="*/ 258562 h 1345687"/>
              <a:gd name="csX34" fmla="*/ 32055 w 2208379"/>
              <a:gd name="csY34" fmla="*/ 242812 h 1345687"/>
              <a:gd name="csX35" fmla="*/ 1305 w 2208379"/>
              <a:gd name="csY35" fmla="*/ 195763 h 1345687"/>
              <a:gd name="csX36" fmla="*/ 32755 w 2208379"/>
              <a:gd name="csY36" fmla="*/ 0 h 1345687"/>
              <a:gd name="csX0" fmla="*/ 2071816 w 2208379"/>
              <a:gd name="csY0" fmla="*/ 1316259 h 1345687"/>
              <a:gd name="csX1" fmla="*/ 2073354 w 2208379"/>
              <a:gd name="csY1" fmla="*/ 1317416 h 1345687"/>
              <a:gd name="csX2" fmla="*/ 2075168 w 2208379"/>
              <a:gd name="csY2" fmla="*/ 1318662 h 1345687"/>
              <a:gd name="csX3" fmla="*/ 2071816 w 2208379"/>
              <a:gd name="csY3" fmla="*/ 1316259 h 1345687"/>
              <a:gd name="csX4" fmla="*/ 32755 w 2208379"/>
              <a:gd name="csY4" fmla="*/ 0 h 1345687"/>
              <a:gd name="csX5" fmla="*/ 79342 w 2208379"/>
              <a:gd name="csY5" fmla="*/ 52030 h 1345687"/>
              <a:gd name="csX6" fmla="*/ 233797 w 2208379"/>
              <a:gd name="csY6" fmla="*/ 97336 h 1345687"/>
              <a:gd name="csX7" fmla="*/ 309291 w 2208379"/>
              <a:gd name="csY7" fmla="*/ 144729 h 1345687"/>
              <a:gd name="csX8" fmla="*/ 538411 w 2208379"/>
              <a:gd name="csY8" fmla="*/ 342356 h 1345687"/>
              <a:gd name="csX9" fmla="*/ 941050 w 2208379"/>
              <a:gd name="csY9" fmla="*/ 505801 h 1345687"/>
              <a:gd name="csX10" fmla="*/ 1169504 w 2208379"/>
              <a:gd name="csY10" fmla="*/ 567374 h 1345687"/>
              <a:gd name="csX11" fmla="*/ 1447417 w 2208379"/>
              <a:gd name="csY11" fmla="*/ 726715 h 1345687"/>
              <a:gd name="csX12" fmla="*/ 1764384 w 2208379"/>
              <a:gd name="csY12" fmla="*/ 943142 h 1345687"/>
              <a:gd name="csX13" fmla="*/ 1921012 w 2208379"/>
              <a:gd name="csY13" fmla="*/ 1070920 h 1345687"/>
              <a:gd name="csX14" fmla="*/ 1967649 w 2208379"/>
              <a:gd name="csY14" fmla="*/ 1097423 h 1345687"/>
              <a:gd name="csX15" fmla="*/ 1972059 w 2208379"/>
              <a:gd name="csY15" fmla="*/ 1107216 h 1345687"/>
              <a:gd name="csX16" fmla="*/ 1975169 w 2208379"/>
              <a:gd name="csY16" fmla="*/ 1233134 h 1345687"/>
              <a:gd name="csX17" fmla="*/ 1974420 w 2208379"/>
              <a:gd name="csY17" fmla="*/ 1234067 h 1345687"/>
              <a:gd name="csX18" fmla="*/ 1986957 w 2208379"/>
              <a:gd name="csY18" fmla="*/ 1236530 h 1345687"/>
              <a:gd name="csX19" fmla="*/ 2056278 w 2208379"/>
              <a:gd name="csY19" fmla="*/ 1302771 h 1345687"/>
              <a:gd name="csX20" fmla="*/ 2060252 w 2208379"/>
              <a:gd name="csY20" fmla="*/ 1307187 h 1345687"/>
              <a:gd name="csX21" fmla="*/ 2130863 w 2208379"/>
              <a:gd name="csY21" fmla="*/ 1316897 h 1345687"/>
              <a:gd name="csX22" fmla="*/ 2204391 w 2208379"/>
              <a:gd name="csY22" fmla="*/ 1312877 h 1345687"/>
              <a:gd name="csX23" fmla="*/ 2208379 w 2208379"/>
              <a:gd name="csY23" fmla="*/ 1315952 h 1345687"/>
              <a:gd name="csX24" fmla="*/ 2097964 w 2208379"/>
              <a:gd name="csY24" fmla="*/ 1335003 h 1345687"/>
              <a:gd name="csX25" fmla="*/ 2089750 w 2208379"/>
              <a:gd name="csY25" fmla="*/ 1329115 h 1345687"/>
              <a:gd name="csX26" fmla="*/ 2058174 w 2208379"/>
              <a:gd name="csY26" fmla="*/ 1320987 h 1345687"/>
              <a:gd name="csX27" fmla="*/ 1961606 w 2208379"/>
              <a:gd name="csY27" fmla="*/ 1251772 h 1345687"/>
              <a:gd name="csX28" fmla="*/ 1715456 w 2208379"/>
              <a:gd name="csY28" fmla="*/ 1061882 h 1345687"/>
              <a:gd name="csX29" fmla="*/ 1461432 w 2208379"/>
              <a:gd name="csY29" fmla="*/ 886569 h 1345687"/>
              <a:gd name="csX30" fmla="*/ 795966 w 2208379"/>
              <a:gd name="csY30" fmla="*/ 629887 h 1345687"/>
              <a:gd name="csX31" fmla="*/ 388848 w 2208379"/>
              <a:gd name="csY31" fmla="*/ 416829 h 1345687"/>
              <a:gd name="csX32" fmla="*/ 317865 w 2208379"/>
              <a:gd name="csY32" fmla="*/ 353696 h 1345687"/>
              <a:gd name="csX33" fmla="*/ 115992 w 2208379"/>
              <a:gd name="csY33" fmla="*/ 258562 h 1345687"/>
              <a:gd name="csX34" fmla="*/ 32055 w 2208379"/>
              <a:gd name="csY34" fmla="*/ 242812 h 1345687"/>
              <a:gd name="csX35" fmla="*/ 1305 w 2208379"/>
              <a:gd name="csY35" fmla="*/ 195763 h 1345687"/>
              <a:gd name="csX36" fmla="*/ 32755 w 2208379"/>
              <a:gd name="csY36" fmla="*/ 0 h 1345687"/>
              <a:gd name="csX0" fmla="*/ 2071816 w 2208379"/>
              <a:gd name="csY0" fmla="*/ 1316259 h 1345687"/>
              <a:gd name="csX1" fmla="*/ 2073354 w 2208379"/>
              <a:gd name="csY1" fmla="*/ 1317416 h 1345687"/>
              <a:gd name="csX2" fmla="*/ 2075168 w 2208379"/>
              <a:gd name="csY2" fmla="*/ 1318662 h 1345687"/>
              <a:gd name="csX3" fmla="*/ 2071816 w 2208379"/>
              <a:gd name="csY3" fmla="*/ 1316259 h 1345687"/>
              <a:gd name="csX4" fmla="*/ 32755 w 2208379"/>
              <a:gd name="csY4" fmla="*/ 0 h 1345687"/>
              <a:gd name="csX5" fmla="*/ 79342 w 2208379"/>
              <a:gd name="csY5" fmla="*/ 52030 h 1345687"/>
              <a:gd name="csX6" fmla="*/ 233797 w 2208379"/>
              <a:gd name="csY6" fmla="*/ 97336 h 1345687"/>
              <a:gd name="csX7" fmla="*/ 309291 w 2208379"/>
              <a:gd name="csY7" fmla="*/ 144729 h 1345687"/>
              <a:gd name="csX8" fmla="*/ 538411 w 2208379"/>
              <a:gd name="csY8" fmla="*/ 342356 h 1345687"/>
              <a:gd name="csX9" fmla="*/ 941050 w 2208379"/>
              <a:gd name="csY9" fmla="*/ 505801 h 1345687"/>
              <a:gd name="csX10" fmla="*/ 1169504 w 2208379"/>
              <a:gd name="csY10" fmla="*/ 567374 h 1345687"/>
              <a:gd name="csX11" fmla="*/ 1447417 w 2208379"/>
              <a:gd name="csY11" fmla="*/ 726715 h 1345687"/>
              <a:gd name="csX12" fmla="*/ 1764384 w 2208379"/>
              <a:gd name="csY12" fmla="*/ 943142 h 1345687"/>
              <a:gd name="csX13" fmla="*/ 1921012 w 2208379"/>
              <a:gd name="csY13" fmla="*/ 1070920 h 1345687"/>
              <a:gd name="csX14" fmla="*/ 1967649 w 2208379"/>
              <a:gd name="csY14" fmla="*/ 1097423 h 1345687"/>
              <a:gd name="csX15" fmla="*/ 1972059 w 2208379"/>
              <a:gd name="csY15" fmla="*/ 1107216 h 1345687"/>
              <a:gd name="csX16" fmla="*/ 1975169 w 2208379"/>
              <a:gd name="csY16" fmla="*/ 1233134 h 1345687"/>
              <a:gd name="csX17" fmla="*/ 1974420 w 2208379"/>
              <a:gd name="csY17" fmla="*/ 1234067 h 1345687"/>
              <a:gd name="csX18" fmla="*/ 2056278 w 2208379"/>
              <a:gd name="csY18" fmla="*/ 1302771 h 1345687"/>
              <a:gd name="csX19" fmla="*/ 2060252 w 2208379"/>
              <a:gd name="csY19" fmla="*/ 1307187 h 1345687"/>
              <a:gd name="csX20" fmla="*/ 2130863 w 2208379"/>
              <a:gd name="csY20" fmla="*/ 1316897 h 1345687"/>
              <a:gd name="csX21" fmla="*/ 2204391 w 2208379"/>
              <a:gd name="csY21" fmla="*/ 1312877 h 1345687"/>
              <a:gd name="csX22" fmla="*/ 2208379 w 2208379"/>
              <a:gd name="csY22" fmla="*/ 1315952 h 1345687"/>
              <a:gd name="csX23" fmla="*/ 2097964 w 2208379"/>
              <a:gd name="csY23" fmla="*/ 1335003 h 1345687"/>
              <a:gd name="csX24" fmla="*/ 2089750 w 2208379"/>
              <a:gd name="csY24" fmla="*/ 1329115 h 1345687"/>
              <a:gd name="csX25" fmla="*/ 2058174 w 2208379"/>
              <a:gd name="csY25" fmla="*/ 1320987 h 1345687"/>
              <a:gd name="csX26" fmla="*/ 1961606 w 2208379"/>
              <a:gd name="csY26" fmla="*/ 1251772 h 1345687"/>
              <a:gd name="csX27" fmla="*/ 1715456 w 2208379"/>
              <a:gd name="csY27" fmla="*/ 1061882 h 1345687"/>
              <a:gd name="csX28" fmla="*/ 1461432 w 2208379"/>
              <a:gd name="csY28" fmla="*/ 886569 h 1345687"/>
              <a:gd name="csX29" fmla="*/ 795966 w 2208379"/>
              <a:gd name="csY29" fmla="*/ 629887 h 1345687"/>
              <a:gd name="csX30" fmla="*/ 388848 w 2208379"/>
              <a:gd name="csY30" fmla="*/ 416829 h 1345687"/>
              <a:gd name="csX31" fmla="*/ 317865 w 2208379"/>
              <a:gd name="csY31" fmla="*/ 353696 h 1345687"/>
              <a:gd name="csX32" fmla="*/ 115992 w 2208379"/>
              <a:gd name="csY32" fmla="*/ 258562 h 1345687"/>
              <a:gd name="csX33" fmla="*/ 32055 w 2208379"/>
              <a:gd name="csY33" fmla="*/ 242812 h 1345687"/>
              <a:gd name="csX34" fmla="*/ 1305 w 2208379"/>
              <a:gd name="csY34" fmla="*/ 195763 h 1345687"/>
              <a:gd name="csX35" fmla="*/ 32755 w 2208379"/>
              <a:gd name="csY35" fmla="*/ 0 h 1345687"/>
              <a:gd name="csX0" fmla="*/ 2071816 w 2208379"/>
              <a:gd name="csY0" fmla="*/ 1316259 h 1345687"/>
              <a:gd name="csX1" fmla="*/ 2073354 w 2208379"/>
              <a:gd name="csY1" fmla="*/ 1317416 h 1345687"/>
              <a:gd name="csX2" fmla="*/ 2075168 w 2208379"/>
              <a:gd name="csY2" fmla="*/ 1318662 h 1345687"/>
              <a:gd name="csX3" fmla="*/ 2071816 w 2208379"/>
              <a:gd name="csY3" fmla="*/ 1316259 h 1345687"/>
              <a:gd name="csX4" fmla="*/ 32755 w 2208379"/>
              <a:gd name="csY4" fmla="*/ 0 h 1345687"/>
              <a:gd name="csX5" fmla="*/ 79342 w 2208379"/>
              <a:gd name="csY5" fmla="*/ 52030 h 1345687"/>
              <a:gd name="csX6" fmla="*/ 233797 w 2208379"/>
              <a:gd name="csY6" fmla="*/ 97336 h 1345687"/>
              <a:gd name="csX7" fmla="*/ 309291 w 2208379"/>
              <a:gd name="csY7" fmla="*/ 144729 h 1345687"/>
              <a:gd name="csX8" fmla="*/ 538411 w 2208379"/>
              <a:gd name="csY8" fmla="*/ 342356 h 1345687"/>
              <a:gd name="csX9" fmla="*/ 941050 w 2208379"/>
              <a:gd name="csY9" fmla="*/ 505801 h 1345687"/>
              <a:gd name="csX10" fmla="*/ 1169504 w 2208379"/>
              <a:gd name="csY10" fmla="*/ 567374 h 1345687"/>
              <a:gd name="csX11" fmla="*/ 1447417 w 2208379"/>
              <a:gd name="csY11" fmla="*/ 726715 h 1345687"/>
              <a:gd name="csX12" fmla="*/ 1764384 w 2208379"/>
              <a:gd name="csY12" fmla="*/ 943142 h 1345687"/>
              <a:gd name="csX13" fmla="*/ 1921012 w 2208379"/>
              <a:gd name="csY13" fmla="*/ 1070920 h 1345687"/>
              <a:gd name="csX14" fmla="*/ 1967649 w 2208379"/>
              <a:gd name="csY14" fmla="*/ 1097423 h 1345687"/>
              <a:gd name="csX15" fmla="*/ 1972059 w 2208379"/>
              <a:gd name="csY15" fmla="*/ 1107216 h 1345687"/>
              <a:gd name="csX16" fmla="*/ 1975169 w 2208379"/>
              <a:gd name="csY16" fmla="*/ 1233134 h 1345687"/>
              <a:gd name="csX17" fmla="*/ 1974420 w 2208379"/>
              <a:gd name="csY17" fmla="*/ 1234067 h 1345687"/>
              <a:gd name="csX18" fmla="*/ 2056278 w 2208379"/>
              <a:gd name="csY18" fmla="*/ 1302771 h 1345687"/>
              <a:gd name="csX19" fmla="*/ 2130863 w 2208379"/>
              <a:gd name="csY19" fmla="*/ 1316897 h 1345687"/>
              <a:gd name="csX20" fmla="*/ 2204391 w 2208379"/>
              <a:gd name="csY20" fmla="*/ 1312877 h 1345687"/>
              <a:gd name="csX21" fmla="*/ 2208379 w 2208379"/>
              <a:gd name="csY21" fmla="*/ 1315952 h 1345687"/>
              <a:gd name="csX22" fmla="*/ 2097964 w 2208379"/>
              <a:gd name="csY22" fmla="*/ 1335003 h 1345687"/>
              <a:gd name="csX23" fmla="*/ 2089750 w 2208379"/>
              <a:gd name="csY23" fmla="*/ 1329115 h 1345687"/>
              <a:gd name="csX24" fmla="*/ 2058174 w 2208379"/>
              <a:gd name="csY24" fmla="*/ 1320987 h 1345687"/>
              <a:gd name="csX25" fmla="*/ 1961606 w 2208379"/>
              <a:gd name="csY25" fmla="*/ 1251772 h 1345687"/>
              <a:gd name="csX26" fmla="*/ 1715456 w 2208379"/>
              <a:gd name="csY26" fmla="*/ 1061882 h 1345687"/>
              <a:gd name="csX27" fmla="*/ 1461432 w 2208379"/>
              <a:gd name="csY27" fmla="*/ 886569 h 1345687"/>
              <a:gd name="csX28" fmla="*/ 795966 w 2208379"/>
              <a:gd name="csY28" fmla="*/ 629887 h 1345687"/>
              <a:gd name="csX29" fmla="*/ 388848 w 2208379"/>
              <a:gd name="csY29" fmla="*/ 416829 h 1345687"/>
              <a:gd name="csX30" fmla="*/ 317865 w 2208379"/>
              <a:gd name="csY30" fmla="*/ 353696 h 1345687"/>
              <a:gd name="csX31" fmla="*/ 115992 w 2208379"/>
              <a:gd name="csY31" fmla="*/ 258562 h 1345687"/>
              <a:gd name="csX32" fmla="*/ 32055 w 2208379"/>
              <a:gd name="csY32" fmla="*/ 242812 h 1345687"/>
              <a:gd name="csX33" fmla="*/ 1305 w 2208379"/>
              <a:gd name="csY33" fmla="*/ 195763 h 1345687"/>
              <a:gd name="csX34" fmla="*/ 32755 w 2208379"/>
              <a:gd name="csY34" fmla="*/ 0 h 1345687"/>
              <a:gd name="csX0" fmla="*/ 2071816 w 2208379"/>
              <a:gd name="csY0" fmla="*/ 1316259 h 1345687"/>
              <a:gd name="csX1" fmla="*/ 2073354 w 2208379"/>
              <a:gd name="csY1" fmla="*/ 1317416 h 1345687"/>
              <a:gd name="csX2" fmla="*/ 2075168 w 2208379"/>
              <a:gd name="csY2" fmla="*/ 1318662 h 1345687"/>
              <a:gd name="csX3" fmla="*/ 2071816 w 2208379"/>
              <a:gd name="csY3" fmla="*/ 1316259 h 1345687"/>
              <a:gd name="csX4" fmla="*/ 32755 w 2208379"/>
              <a:gd name="csY4" fmla="*/ 0 h 1345687"/>
              <a:gd name="csX5" fmla="*/ 79342 w 2208379"/>
              <a:gd name="csY5" fmla="*/ 52030 h 1345687"/>
              <a:gd name="csX6" fmla="*/ 233797 w 2208379"/>
              <a:gd name="csY6" fmla="*/ 97336 h 1345687"/>
              <a:gd name="csX7" fmla="*/ 309291 w 2208379"/>
              <a:gd name="csY7" fmla="*/ 144729 h 1345687"/>
              <a:gd name="csX8" fmla="*/ 538411 w 2208379"/>
              <a:gd name="csY8" fmla="*/ 342356 h 1345687"/>
              <a:gd name="csX9" fmla="*/ 941050 w 2208379"/>
              <a:gd name="csY9" fmla="*/ 505801 h 1345687"/>
              <a:gd name="csX10" fmla="*/ 1169504 w 2208379"/>
              <a:gd name="csY10" fmla="*/ 567374 h 1345687"/>
              <a:gd name="csX11" fmla="*/ 1447417 w 2208379"/>
              <a:gd name="csY11" fmla="*/ 726715 h 1345687"/>
              <a:gd name="csX12" fmla="*/ 1764384 w 2208379"/>
              <a:gd name="csY12" fmla="*/ 943142 h 1345687"/>
              <a:gd name="csX13" fmla="*/ 1921012 w 2208379"/>
              <a:gd name="csY13" fmla="*/ 1070920 h 1345687"/>
              <a:gd name="csX14" fmla="*/ 1967649 w 2208379"/>
              <a:gd name="csY14" fmla="*/ 1097423 h 1345687"/>
              <a:gd name="csX15" fmla="*/ 1972059 w 2208379"/>
              <a:gd name="csY15" fmla="*/ 1107216 h 1345687"/>
              <a:gd name="csX16" fmla="*/ 1975169 w 2208379"/>
              <a:gd name="csY16" fmla="*/ 1233134 h 1345687"/>
              <a:gd name="csX17" fmla="*/ 1974420 w 2208379"/>
              <a:gd name="csY17" fmla="*/ 1234067 h 1345687"/>
              <a:gd name="csX18" fmla="*/ 2056278 w 2208379"/>
              <a:gd name="csY18" fmla="*/ 1302771 h 1345687"/>
              <a:gd name="csX19" fmla="*/ 2130863 w 2208379"/>
              <a:gd name="csY19" fmla="*/ 1316897 h 1345687"/>
              <a:gd name="csX20" fmla="*/ 2204391 w 2208379"/>
              <a:gd name="csY20" fmla="*/ 1312877 h 1345687"/>
              <a:gd name="csX21" fmla="*/ 2208379 w 2208379"/>
              <a:gd name="csY21" fmla="*/ 1315952 h 1345687"/>
              <a:gd name="csX22" fmla="*/ 2097964 w 2208379"/>
              <a:gd name="csY22" fmla="*/ 1335003 h 1345687"/>
              <a:gd name="csX23" fmla="*/ 2058174 w 2208379"/>
              <a:gd name="csY23" fmla="*/ 1320987 h 1345687"/>
              <a:gd name="csX24" fmla="*/ 1961606 w 2208379"/>
              <a:gd name="csY24" fmla="*/ 1251772 h 1345687"/>
              <a:gd name="csX25" fmla="*/ 1715456 w 2208379"/>
              <a:gd name="csY25" fmla="*/ 1061882 h 1345687"/>
              <a:gd name="csX26" fmla="*/ 1461432 w 2208379"/>
              <a:gd name="csY26" fmla="*/ 886569 h 1345687"/>
              <a:gd name="csX27" fmla="*/ 795966 w 2208379"/>
              <a:gd name="csY27" fmla="*/ 629887 h 1345687"/>
              <a:gd name="csX28" fmla="*/ 388848 w 2208379"/>
              <a:gd name="csY28" fmla="*/ 416829 h 1345687"/>
              <a:gd name="csX29" fmla="*/ 317865 w 2208379"/>
              <a:gd name="csY29" fmla="*/ 353696 h 1345687"/>
              <a:gd name="csX30" fmla="*/ 115992 w 2208379"/>
              <a:gd name="csY30" fmla="*/ 258562 h 1345687"/>
              <a:gd name="csX31" fmla="*/ 32055 w 2208379"/>
              <a:gd name="csY31" fmla="*/ 242812 h 1345687"/>
              <a:gd name="csX32" fmla="*/ 1305 w 2208379"/>
              <a:gd name="csY32" fmla="*/ 195763 h 1345687"/>
              <a:gd name="csX33" fmla="*/ 32755 w 2208379"/>
              <a:gd name="csY33" fmla="*/ 0 h 1345687"/>
              <a:gd name="csX0" fmla="*/ 2075168 w 2208379"/>
              <a:gd name="csY0" fmla="*/ 1318662 h 1345687"/>
              <a:gd name="csX1" fmla="*/ 2073354 w 2208379"/>
              <a:gd name="csY1" fmla="*/ 1317416 h 1345687"/>
              <a:gd name="csX2" fmla="*/ 2075168 w 2208379"/>
              <a:gd name="csY2" fmla="*/ 1318662 h 1345687"/>
              <a:gd name="csX3" fmla="*/ 32755 w 2208379"/>
              <a:gd name="csY3" fmla="*/ 0 h 1345687"/>
              <a:gd name="csX4" fmla="*/ 79342 w 2208379"/>
              <a:gd name="csY4" fmla="*/ 52030 h 1345687"/>
              <a:gd name="csX5" fmla="*/ 233797 w 2208379"/>
              <a:gd name="csY5" fmla="*/ 97336 h 1345687"/>
              <a:gd name="csX6" fmla="*/ 309291 w 2208379"/>
              <a:gd name="csY6" fmla="*/ 144729 h 1345687"/>
              <a:gd name="csX7" fmla="*/ 538411 w 2208379"/>
              <a:gd name="csY7" fmla="*/ 342356 h 1345687"/>
              <a:gd name="csX8" fmla="*/ 941050 w 2208379"/>
              <a:gd name="csY8" fmla="*/ 505801 h 1345687"/>
              <a:gd name="csX9" fmla="*/ 1169504 w 2208379"/>
              <a:gd name="csY9" fmla="*/ 567374 h 1345687"/>
              <a:gd name="csX10" fmla="*/ 1447417 w 2208379"/>
              <a:gd name="csY10" fmla="*/ 726715 h 1345687"/>
              <a:gd name="csX11" fmla="*/ 1764384 w 2208379"/>
              <a:gd name="csY11" fmla="*/ 943142 h 1345687"/>
              <a:gd name="csX12" fmla="*/ 1921012 w 2208379"/>
              <a:gd name="csY12" fmla="*/ 1070920 h 1345687"/>
              <a:gd name="csX13" fmla="*/ 1967649 w 2208379"/>
              <a:gd name="csY13" fmla="*/ 1097423 h 1345687"/>
              <a:gd name="csX14" fmla="*/ 1972059 w 2208379"/>
              <a:gd name="csY14" fmla="*/ 1107216 h 1345687"/>
              <a:gd name="csX15" fmla="*/ 1975169 w 2208379"/>
              <a:gd name="csY15" fmla="*/ 1233134 h 1345687"/>
              <a:gd name="csX16" fmla="*/ 1974420 w 2208379"/>
              <a:gd name="csY16" fmla="*/ 1234067 h 1345687"/>
              <a:gd name="csX17" fmla="*/ 2056278 w 2208379"/>
              <a:gd name="csY17" fmla="*/ 1302771 h 1345687"/>
              <a:gd name="csX18" fmla="*/ 2130863 w 2208379"/>
              <a:gd name="csY18" fmla="*/ 1316897 h 1345687"/>
              <a:gd name="csX19" fmla="*/ 2204391 w 2208379"/>
              <a:gd name="csY19" fmla="*/ 1312877 h 1345687"/>
              <a:gd name="csX20" fmla="*/ 2208379 w 2208379"/>
              <a:gd name="csY20" fmla="*/ 1315952 h 1345687"/>
              <a:gd name="csX21" fmla="*/ 2097964 w 2208379"/>
              <a:gd name="csY21" fmla="*/ 1335003 h 1345687"/>
              <a:gd name="csX22" fmla="*/ 2058174 w 2208379"/>
              <a:gd name="csY22" fmla="*/ 1320987 h 1345687"/>
              <a:gd name="csX23" fmla="*/ 1961606 w 2208379"/>
              <a:gd name="csY23" fmla="*/ 1251772 h 1345687"/>
              <a:gd name="csX24" fmla="*/ 1715456 w 2208379"/>
              <a:gd name="csY24" fmla="*/ 1061882 h 1345687"/>
              <a:gd name="csX25" fmla="*/ 1461432 w 2208379"/>
              <a:gd name="csY25" fmla="*/ 886569 h 1345687"/>
              <a:gd name="csX26" fmla="*/ 795966 w 2208379"/>
              <a:gd name="csY26" fmla="*/ 629887 h 1345687"/>
              <a:gd name="csX27" fmla="*/ 388848 w 2208379"/>
              <a:gd name="csY27" fmla="*/ 416829 h 1345687"/>
              <a:gd name="csX28" fmla="*/ 317865 w 2208379"/>
              <a:gd name="csY28" fmla="*/ 353696 h 1345687"/>
              <a:gd name="csX29" fmla="*/ 115992 w 2208379"/>
              <a:gd name="csY29" fmla="*/ 258562 h 1345687"/>
              <a:gd name="csX30" fmla="*/ 32055 w 2208379"/>
              <a:gd name="csY30" fmla="*/ 242812 h 1345687"/>
              <a:gd name="csX31" fmla="*/ 1305 w 2208379"/>
              <a:gd name="csY31" fmla="*/ 195763 h 1345687"/>
              <a:gd name="csX32" fmla="*/ 32755 w 2208379"/>
              <a:gd name="csY32" fmla="*/ 0 h 1345687"/>
              <a:gd name="csX0" fmla="*/ 32755 w 2208379"/>
              <a:gd name="csY0" fmla="*/ 0 h 1345687"/>
              <a:gd name="csX1" fmla="*/ 79342 w 2208379"/>
              <a:gd name="csY1" fmla="*/ 52030 h 1345687"/>
              <a:gd name="csX2" fmla="*/ 233797 w 2208379"/>
              <a:gd name="csY2" fmla="*/ 97336 h 1345687"/>
              <a:gd name="csX3" fmla="*/ 309291 w 2208379"/>
              <a:gd name="csY3" fmla="*/ 144729 h 1345687"/>
              <a:gd name="csX4" fmla="*/ 538411 w 2208379"/>
              <a:gd name="csY4" fmla="*/ 342356 h 1345687"/>
              <a:gd name="csX5" fmla="*/ 941050 w 2208379"/>
              <a:gd name="csY5" fmla="*/ 505801 h 1345687"/>
              <a:gd name="csX6" fmla="*/ 1169504 w 2208379"/>
              <a:gd name="csY6" fmla="*/ 567374 h 1345687"/>
              <a:gd name="csX7" fmla="*/ 1447417 w 2208379"/>
              <a:gd name="csY7" fmla="*/ 726715 h 1345687"/>
              <a:gd name="csX8" fmla="*/ 1764384 w 2208379"/>
              <a:gd name="csY8" fmla="*/ 943142 h 1345687"/>
              <a:gd name="csX9" fmla="*/ 1921012 w 2208379"/>
              <a:gd name="csY9" fmla="*/ 1070920 h 1345687"/>
              <a:gd name="csX10" fmla="*/ 1967649 w 2208379"/>
              <a:gd name="csY10" fmla="*/ 1097423 h 1345687"/>
              <a:gd name="csX11" fmla="*/ 1972059 w 2208379"/>
              <a:gd name="csY11" fmla="*/ 1107216 h 1345687"/>
              <a:gd name="csX12" fmla="*/ 1975169 w 2208379"/>
              <a:gd name="csY12" fmla="*/ 1233134 h 1345687"/>
              <a:gd name="csX13" fmla="*/ 1974420 w 2208379"/>
              <a:gd name="csY13" fmla="*/ 1234067 h 1345687"/>
              <a:gd name="csX14" fmla="*/ 2056278 w 2208379"/>
              <a:gd name="csY14" fmla="*/ 1302771 h 1345687"/>
              <a:gd name="csX15" fmla="*/ 2130863 w 2208379"/>
              <a:gd name="csY15" fmla="*/ 1316897 h 1345687"/>
              <a:gd name="csX16" fmla="*/ 2204391 w 2208379"/>
              <a:gd name="csY16" fmla="*/ 1312877 h 1345687"/>
              <a:gd name="csX17" fmla="*/ 2208379 w 2208379"/>
              <a:gd name="csY17" fmla="*/ 1315952 h 1345687"/>
              <a:gd name="csX18" fmla="*/ 2097964 w 2208379"/>
              <a:gd name="csY18" fmla="*/ 1335003 h 1345687"/>
              <a:gd name="csX19" fmla="*/ 2058174 w 2208379"/>
              <a:gd name="csY19" fmla="*/ 1320987 h 1345687"/>
              <a:gd name="csX20" fmla="*/ 1961606 w 2208379"/>
              <a:gd name="csY20" fmla="*/ 1251772 h 1345687"/>
              <a:gd name="csX21" fmla="*/ 1715456 w 2208379"/>
              <a:gd name="csY21" fmla="*/ 1061882 h 1345687"/>
              <a:gd name="csX22" fmla="*/ 1461432 w 2208379"/>
              <a:gd name="csY22" fmla="*/ 886569 h 1345687"/>
              <a:gd name="csX23" fmla="*/ 795966 w 2208379"/>
              <a:gd name="csY23" fmla="*/ 629887 h 1345687"/>
              <a:gd name="csX24" fmla="*/ 388848 w 2208379"/>
              <a:gd name="csY24" fmla="*/ 416829 h 1345687"/>
              <a:gd name="csX25" fmla="*/ 317865 w 2208379"/>
              <a:gd name="csY25" fmla="*/ 353696 h 1345687"/>
              <a:gd name="csX26" fmla="*/ 115992 w 2208379"/>
              <a:gd name="csY26" fmla="*/ 258562 h 1345687"/>
              <a:gd name="csX27" fmla="*/ 32055 w 2208379"/>
              <a:gd name="csY27" fmla="*/ 242812 h 1345687"/>
              <a:gd name="csX28" fmla="*/ 1305 w 2208379"/>
              <a:gd name="csY28" fmla="*/ 195763 h 1345687"/>
              <a:gd name="csX29" fmla="*/ 32755 w 2208379"/>
              <a:gd name="csY29" fmla="*/ 0 h 134568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</a:cxnLst>
            <a:rect l="l" t="t" r="r" b="b"/>
            <a:pathLst>
              <a:path w="2208379" h="1345687">
                <a:moveTo>
                  <a:pt x="32755" y="0"/>
                </a:moveTo>
                <a:cubicBezTo>
                  <a:pt x="31606" y="29723"/>
                  <a:pt x="48740" y="44205"/>
                  <a:pt x="79342" y="52030"/>
                </a:cubicBezTo>
                <a:cubicBezTo>
                  <a:pt x="131293" y="65315"/>
                  <a:pt x="182467" y="81694"/>
                  <a:pt x="233797" y="97336"/>
                </a:cubicBezTo>
                <a:cubicBezTo>
                  <a:pt x="263114" y="106271"/>
                  <a:pt x="286473" y="124051"/>
                  <a:pt x="309291" y="144729"/>
                </a:cubicBezTo>
                <a:cubicBezTo>
                  <a:pt x="384038" y="212466"/>
                  <a:pt x="452520" y="287953"/>
                  <a:pt x="538411" y="342356"/>
                </a:cubicBezTo>
                <a:cubicBezTo>
                  <a:pt x="662570" y="420997"/>
                  <a:pt x="800177" y="467699"/>
                  <a:pt x="941050" y="505801"/>
                </a:cubicBezTo>
                <a:cubicBezTo>
                  <a:pt x="1017185" y="526394"/>
                  <a:pt x="1092956" y="548455"/>
                  <a:pt x="1169504" y="567374"/>
                </a:cubicBezTo>
                <a:cubicBezTo>
                  <a:pt x="1277553" y="594079"/>
                  <a:pt x="1357700" y="668987"/>
                  <a:pt x="1447417" y="726715"/>
                </a:cubicBezTo>
                <a:cubicBezTo>
                  <a:pt x="1554963" y="795916"/>
                  <a:pt x="1658481" y="871352"/>
                  <a:pt x="1764384" y="943142"/>
                </a:cubicBezTo>
                <a:cubicBezTo>
                  <a:pt x="1820448" y="981147"/>
                  <a:pt x="1879062" y="1015501"/>
                  <a:pt x="1921012" y="1070920"/>
                </a:cubicBezTo>
                <a:cubicBezTo>
                  <a:pt x="1931383" y="1084620"/>
                  <a:pt x="1944028" y="1097752"/>
                  <a:pt x="1967649" y="1097423"/>
                </a:cubicBezTo>
                <a:cubicBezTo>
                  <a:pt x="1972180" y="1101085"/>
                  <a:pt x="1973682" y="1105077"/>
                  <a:pt x="1972059" y="1107216"/>
                </a:cubicBezTo>
                <a:cubicBezTo>
                  <a:pt x="1940275" y="1149120"/>
                  <a:pt x="1954047" y="1189537"/>
                  <a:pt x="1975169" y="1233134"/>
                </a:cubicBezTo>
                <a:lnTo>
                  <a:pt x="1974420" y="1234067"/>
                </a:lnTo>
                <a:lnTo>
                  <a:pt x="2056278" y="1302771"/>
                </a:lnTo>
                <a:lnTo>
                  <a:pt x="2130863" y="1316897"/>
                </a:lnTo>
                <a:cubicBezTo>
                  <a:pt x="2154758" y="1319964"/>
                  <a:pt x="2178914" y="1320711"/>
                  <a:pt x="2204391" y="1312877"/>
                </a:cubicBezTo>
                <a:cubicBezTo>
                  <a:pt x="2207250" y="1314831"/>
                  <a:pt x="2208003" y="1315577"/>
                  <a:pt x="2208379" y="1315952"/>
                </a:cubicBezTo>
                <a:cubicBezTo>
                  <a:pt x="2180837" y="1347297"/>
                  <a:pt x="2138355" y="1354225"/>
                  <a:pt x="2097964" y="1335003"/>
                </a:cubicBezTo>
                <a:lnTo>
                  <a:pt x="2058174" y="1320987"/>
                </a:lnTo>
                <a:cubicBezTo>
                  <a:pt x="2023306" y="1304402"/>
                  <a:pt x="1985147" y="1268053"/>
                  <a:pt x="1961606" y="1251772"/>
                </a:cubicBezTo>
                <a:lnTo>
                  <a:pt x="1715456" y="1061882"/>
                </a:lnTo>
                <a:cubicBezTo>
                  <a:pt x="1632383" y="1001083"/>
                  <a:pt x="1548264" y="942088"/>
                  <a:pt x="1461432" y="886569"/>
                </a:cubicBezTo>
                <a:cubicBezTo>
                  <a:pt x="1256227" y="755363"/>
                  <a:pt x="1030367" y="683710"/>
                  <a:pt x="795966" y="629887"/>
                </a:cubicBezTo>
                <a:cubicBezTo>
                  <a:pt x="642546" y="594659"/>
                  <a:pt x="502424" y="530398"/>
                  <a:pt x="388848" y="416829"/>
                </a:cubicBezTo>
                <a:cubicBezTo>
                  <a:pt x="366493" y="394475"/>
                  <a:pt x="339826" y="376384"/>
                  <a:pt x="317865" y="353696"/>
                </a:cubicBezTo>
                <a:cubicBezTo>
                  <a:pt x="262289" y="296282"/>
                  <a:pt x="194106" y="267847"/>
                  <a:pt x="115992" y="258562"/>
                </a:cubicBezTo>
                <a:cubicBezTo>
                  <a:pt x="87790" y="255210"/>
                  <a:pt x="60159" y="247310"/>
                  <a:pt x="32055" y="242812"/>
                </a:cubicBezTo>
                <a:cubicBezTo>
                  <a:pt x="3645" y="238266"/>
                  <a:pt x="-3295" y="222900"/>
                  <a:pt x="1305" y="195763"/>
                </a:cubicBezTo>
                <a:cubicBezTo>
                  <a:pt x="12145" y="131815"/>
                  <a:pt x="20871" y="67509"/>
                  <a:pt x="32755" y="0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 w="9525" cap="flat">
            <a:noFill/>
            <a:prstDash val="solid"/>
            <a:miter/>
          </a:ln>
        </p:spPr>
        <p:txBody>
          <a:bodyPr wrap="squar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29" name="Free-form: Shape 3528">
            <a:extLst>
              <a:ext uri="{FF2B5EF4-FFF2-40B4-BE49-F238E27FC236}">
                <a16:creationId xmlns:a16="http://schemas.microsoft.com/office/drawing/2014/main" id="{3C9FBA3F-5F5B-F7D4-131C-7872B8073623}"/>
              </a:ext>
            </a:extLst>
          </p:cNvPr>
          <p:cNvSpPr/>
          <p:nvPr/>
        </p:nvSpPr>
        <p:spPr>
          <a:xfrm>
            <a:off x="2604091" y="3254273"/>
            <a:ext cx="1050052" cy="974518"/>
          </a:xfrm>
          <a:custGeom>
            <a:avLst/>
            <a:gdLst>
              <a:gd name="csX0" fmla="*/ 0 w 1391766"/>
              <a:gd name="csY0" fmla="*/ 337094 h 1291652"/>
              <a:gd name="csX1" fmla="*/ 52227 w 1391766"/>
              <a:gd name="csY1" fmla="*/ 280345 h 1291652"/>
              <a:gd name="csX2" fmla="*/ 219126 w 1391766"/>
              <a:gd name="csY2" fmla="*/ 21496 h 1291652"/>
              <a:gd name="csX3" fmla="*/ 270952 w 1391766"/>
              <a:gd name="csY3" fmla="*/ 13541 h 1291652"/>
              <a:gd name="csX4" fmla="*/ 519686 w 1391766"/>
              <a:gd name="csY4" fmla="*/ 68052 h 1291652"/>
              <a:gd name="csX5" fmla="*/ 572659 w 1391766"/>
              <a:gd name="csY5" fmla="*/ 77641 h 1291652"/>
              <a:gd name="csX6" fmla="*/ 895993 w 1391766"/>
              <a:gd name="csY6" fmla="*/ 331504 h 1291652"/>
              <a:gd name="csX7" fmla="*/ 1107673 w 1391766"/>
              <a:gd name="csY7" fmla="*/ 629674 h 1291652"/>
              <a:gd name="csX8" fmla="*/ 1200861 w 1391766"/>
              <a:gd name="csY8" fmla="*/ 852623 h 1291652"/>
              <a:gd name="csX9" fmla="*/ 1242364 w 1391766"/>
              <a:gd name="csY9" fmla="*/ 1026229 h 1291652"/>
              <a:gd name="csX10" fmla="*/ 1391766 w 1391766"/>
              <a:gd name="csY10" fmla="*/ 1291338 h 1291652"/>
              <a:gd name="csX11" fmla="*/ 1210703 w 1391766"/>
              <a:gd name="csY11" fmla="*/ 1117708 h 1291652"/>
              <a:gd name="csX12" fmla="*/ 1209905 w 1391766"/>
              <a:gd name="csY12" fmla="*/ 1055882 h 1291652"/>
              <a:gd name="csX13" fmla="*/ 1198736 w 1391766"/>
              <a:gd name="csY13" fmla="*/ 1027841 h 1291652"/>
              <a:gd name="csX14" fmla="*/ 1146206 w 1391766"/>
              <a:gd name="csY14" fmla="*/ 959585 h 1291652"/>
              <a:gd name="csX15" fmla="*/ 1045232 w 1391766"/>
              <a:gd name="csY15" fmla="*/ 723972 h 1291652"/>
              <a:gd name="csX16" fmla="*/ 773992 w 1391766"/>
              <a:gd name="csY16" fmla="*/ 389589 h 1291652"/>
              <a:gd name="csX17" fmla="*/ 670144 w 1391766"/>
              <a:gd name="csY17" fmla="*/ 306662 h 1291652"/>
              <a:gd name="csX18" fmla="*/ 569045 w 1391766"/>
              <a:gd name="csY18" fmla="*/ 120843 h 1291652"/>
              <a:gd name="csX19" fmla="*/ 557243 w 1391766"/>
              <a:gd name="csY19" fmla="*/ 126377 h 1291652"/>
              <a:gd name="csX20" fmla="*/ 465336 w 1391766"/>
              <a:gd name="csY20" fmla="*/ 205042 h 1291652"/>
              <a:gd name="csX21" fmla="*/ 294795 w 1391766"/>
              <a:gd name="csY21" fmla="*/ 190441 h 1291652"/>
              <a:gd name="csX22" fmla="*/ 257114 w 1391766"/>
              <a:gd name="csY22" fmla="*/ 153393 h 1291652"/>
              <a:gd name="csX23" fmla="*/ 239664 w 1391766"/>
              <a:gd name="csY23" fmla="*/ 43811 h 1291652"/>
              <a:gd name="csX24" fmla="*/ 74870 w 1391766"/>
              <a:gd name="csY24" fmla="*/ 516776 h 1291652"/>
              <a:gd name="csX25" fmla="*/ 0 w 1391766"/>
              <a:gd name="csY25" fmla="*/ 337094 h 129165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</a:cxnLst>
            <a:rect l="l" t="t" r="r" b="b"/>
            <a:pathLst>
              <a:path w="1391766" h="1291652">
                <a:moveTo>
                  <a:pt x="0" y="337094"/>
                </a:moveTo>
                <a:cubicBezTo>
                  <a:pt x="21861" y="320662"/>
                  <a:pt x="38285" y="302042"/>
                  <a:pt x="52227" y="280345"/>
                </a:cubicBezTo>
                <a:cubicBezTo>
                  <a:pt x="107730" y="193976"/>
                  <a:pt x="164618" y="108483"/>
                  <a:pt x="219126" y="21496"/>
                </a:cubicBezTo>
                <a:cubicBezTo>
                  <a:pt x="235448" y="-4551"/>
                  <a:pt x="248970" y="-6587"/>
                  <a:pt x="270952" y="13541"/>
                </a:cubicBezTo>
                <a:cubicBezTo>
                  <a:pt x="343090" y="79595"/>
                  <a:pt x="429199" y="85152"/>
                  <a:pt x="519686" y="68052"/>
                </a:cubicBezTo>
                <a:cubicBezTo>
                  <a:pt x="539159" y="64372"/>
                  <a:pt x="556987" y="61896"/>
                  <a:pt x="572659" y="77641"/>
                </a:cubicBezTo>
                <a:cubicBezTo>
                  <a:pt x="670036" y="175476"/>
                  <a:pt x="780278" y="258427"/>
                  <a:pt x="895993" y="331504"/>
                </a:cubicBezTo>
                <a:cubicBezTo>
                  <a:pt x="1010309" y="403697"/>
                  <a:pt x="1063414" y="511205"/>
                  <a:pt x="1107673" y="629674"/>
                </a:cubicBezTo>
                <a:cubicBezTo>
                  <a:pt x="1135843" y="705078"/>
                  <a:pt x="1165171" y="780094"/>
                  <a:pt x="1200861" y="852623"/>
                </a:cubicBezTo>
                <a:cubicBezTo>
                  <a:pt x="1227481" y="906719"/>
                  <a:pt x="1234916" y="966063"/>
                  <a:pt x="1242364" y="1026229"/>
                </a:cubicBezTo>
                <a:cubicBezTo>
                  <a:pt x="1255466" y="1132057"/>
                  <a:pt x="1295792" y="1226506"/>
                  <a:pt x="1391766" y="1291338"/>
                </a:cubicBezTo>
                <a:cubicBezTo>
                  <a:pt x="1307857" y="1297552"/>
                  <a:pt x="1217320" y="1210615"/>
                  <a:pt x="1210703" y="1117708"/>
                </a:cubicBezTo>
                <a:cubicBezTo>
                  <a:pt x="1209241" y="1097185"/>
                  <a:pt x="1210224" y="1076493"/>
                  <a:pt x="1209905" y="1055882"/>
                </a:cubicBezTo>
                <a:cubicBezTo>
                  <a:pt x="1209736" y="1044976"/>
                  <a:pt x="1211832" y="1028793"/>
                  <a:pt x="1198736" y="1027841"/>
                </a:cubicBezTo>
                <a:cubicBezTo>
                  <a:pt x="1154124" y="1024599"/>
                  <a:pt x="1153792" y="988888"/>
                  <a:pt x="1146206" y="959585"/>
                </a:cubicBezTo>
                <a:cubicBezTo>
                  <a:pt x="1124525" y="875824"/>
                  <a:pt x="1082073" y="800963"/>
                  <a:pt x="1045232" y="723972"/>
                </a:cubicBezTo>
                <a:cubicBezTo>
                  <a:pt x="932463" y="488304"/>
                  <a:pt x="990469" y="505661"/>
                  <a:pt x="773992" y="389589"/>
                </a:cubicBezTo>
                <a:cubicBezTo>
                  <a:pt x="735615" y="369012"/>
                  <a:pt x="706478" y="331914"/>
                  <a:pt x="670144" y="306662"/>
                </a:cubicBezTo>
                <a:cubicBezTo>
                  <a:pt x="605364" y="261641"/>
                  <a:pt x="581806" y="194463"/>
                  <a:pt x="569045" y="120843"/>
                </a:cubicBezTo>
                <a:cubicBezTo>
                  <a:pt x="561485" y="124295"/>
                  <a:pt x="557341" y="125173"/>
                  <a:pt x="557243" y="126377"/>
                </a:cubicBezTo>
                <a:cubicBezTo>
                  <a:pt x="550422" y="210951"/>
                  <a:pt x="550413" y="211422"/>
                  <a:pt x="465336" y="205042"/>
                </a:cubicBezTo>
                <a:cubicBezTo>
                  <a:pt x="408440" y="200776"/>
                  <a:pt x="351737" y="193540"/>
                  <a:pt x="294795" y="190441"/>
                </a:cubicBezTo>
                <a:cubicBezTo>
                  <a:pt x="268500" y="189009"/>
                  <a:pt x="258831" y="178574"/>
                  <a:pt x="257114" y="153393"/>
                </a:cubicBezTo>
                <a:cubicBezTo>
                  <a:pt x="254662" y="117410"/>
                  <a:pt x="249349" y="81621"/>
                  <a:pt x="239664" y="43811"/>
                </a:cubicBezTo>
                <a:cubicBezTo>
                  <a:pt x="227124" y="214929"/>
                  <a:pt x="145926" y="360485"/>
                  <a:pt x="74870" y="516776"/>
                </a:cubicBezTo>
                <a:cubicBezTo>
                  <a:pt x="36707" y="458256"/>
                  <a:pt x="16691" y="400340"/>
                  <a:pt x="0" y="337094"/>
                </a:cubicBezTo>
                <a:close/>
              </a:path>
            </a:pathLst>
          </a:custGeom>
          <a:solidFill>
            <a:srgbClr val="255264"/>
          </a:solidFill>
          <a:ln w="9525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30" name="Free-form: Shape 3529">
            <a:extLst>
              <a:ext uri="{FF2B5EF4-FFF2-40B4-BE49-F238E27FC236}">
                <a16:creationId xmlns:a16="http://schemas.microsoft.com/office/drawing/2014/main" id="{771B8499-8C9C-A2C8-CC38-1FD97FEA4FF2}"/>
              </a:ext>
            </a:extLst>
          </p:cNvPr>
          <p:cNvSpPr/>
          <p:nvPr/>
        </p:nvSpPr>
        <p:spPr>
          <a:xfrm>
            <a:off x="3262953" y="2895237"/>
            <a:ext cx="974707" cy="504677"/>
          </a:xfrm>
          <a:custGeom>
            <a:avLst/>
            <a:gdLst>
              <a:gd name="csX0" fmla="*/ 340101 w 1291902"/>
              <a:gd name="csY0" fmla="*/ 285686 h 668912"/>
              <a:gd name="csX1" fmla="*/ 0 w 1291902"/>
              <a:gd name="csY1" fmla="*/ 5272 h 668912"/>
              <a:gd name="csX2" fmla="*/ 36115 w 1291902"/>
              <a:gd name="csY2" fmla="*/ 7841 h 668912"/>
              <a:gd name="csX3" fmla="*/ 542727 w 1291902"/>
              <a:gd name="csY3" fmla="*/ 169068 h 668912"/>
              <a:gd name="csX4" fmla="*/ 617611 w 1291902"/>
              <a:gd name="csY4" fmla="*/ 198649 h 668912"/>
              <a:gd name="csX5" fmla="*/ 1070271 w 1291902"/>
              <a:gd name="csY5" fmla="*/ 438972 h 668912"/>
              <a:gd name="csX6" fmla="*/ 1276729 w 1291902"/>
              <a:gd name="csY6" fmla="*/ 564310 h 668912"/>
              <a:gd name="csX7" fmla="*/ 1254766 w 1291902"/>
              <a:gd name="csY7" fmla="*/ 652119 h 668912"/>
              <a:gd name="csX8" fmla="*/ 1159314 w 1291902"/>
              <a:gd name="csY8" fmla="*/ 647116 h 668912"/>
              <a:gd name="csX9" fmla="*/ 975400 w 1291902"/>
              <a:gd name="csY9" fmla="*/ 552752 h 668912"/>
              <a:gd name="csX10" fmla="*/ 923713 w 1291902"/>
              <a:gd name="csY10" fmla="*/ 529714 h 668912"/>
              <a:gd name="csX11" fmla="*/ 727443 w 1291902"/>
              <a:gd name="csY11" fmla="*/ 448159 h 668912"/>
              <a:gd name="csX12" fmla="*/ 628814 w 1291902"/>
              <a:gd name="csY12" fmla="*/ 414506 h 668912"/>
              <a:gd name="csX13" fmla="*/ 340101 w 1291902"/>
              <a:gd name="csY13" fmla="*/ 285686 h 66891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</a:cxnLst>
            <a:rect l="l" t="t" r="r" b="b"/>
            <a:pathLst>
              <a:path w="1291902" h="668912">
                <a:moveTo>
                  <a:pt x="340101" y="285686"/>
                </a:moveTo>
                <a:cubicBezTo>
                  <a:pt x="218826" y="198772"/>
                  <a:pt x="108284" y="104553"/>
                  <a:pt x="0" y="5272"/>
                </a:cubicBezTo>
                <a:cubicBezTo>
                  <a:pt x="15322" y="-6463"/>
                  <a:pt x="25815" y="4591"/>
                  <a:pt x="36115" y="7841"/>
                </a:cubicBezTo>
                <a:cubicBezTo>
                  <a:pt x="205122" y="61154"/>
                  <a:pt x="374000" y="114876"/>
                  <a:pt x="542727" y="169068"/>
                </a:cubicBezTo>
                <a:cubicBezTo>
                  <a:pt x="568285" y="177276"/>
                  <a:pt x="595402" y="184449"/>
                  <a:pt x="617611" y="198649"/>
                </a:cubicBezTo>
                <a:cubicBezTo>
                  <a:pt x="762068" y="291008"/>
                  <a:pt x="925208" y="347910"/>
                  <a:pt x="1070271" y="438972"/>
                </a:cubicBezTo>
                <a:cubicBezTo>
                  <a:pt x="1138394" y="481736"/>
                  <a:pt x="1198683" y="536852"/>
                  <a:pt x="1276729" y="564310"/>
                </a:cubicBezTo>
                <a:cubicBezTo>
                  <a:pt x="1303642" y="573779"/>
                  <a:pt x="1293800" y="613113"/>
                  <a:pt x="1254766" y="652119"/>
                </a:cubicBezTo>
                <a:cubicBezTo>
                  <a:pt x="1219178" y="679298"/>
                  <a:pt x="1192446" y="670461"/>
                  <a:pt x="1159314" y="647116"/>
                </a:cubicBezTo>
                <a:cubicBezTo>
                  <a:pt x="1103017" y="607450"/>
                  <a:pt x="1046951" y="564284"/>
                  <a:pt x="975400" y="552752"/>
                </a:cubicBezTo>
                <a:cubicBezTo>
                  <a:pt x="956455" y="549699"/>
                  <a:pt x="940190" y="539304"/>
                  <a:pt x="923713" y="529714"/>
                </a:cubicBezTo>
                <a:cubicBezTo>
                  <a:pt x="861965" y="493775"/>
                  <a:pt x="797666" y="463971"/>
                  <a:pt x="727443" y="448159"/>
                </a:cubicBezTo>
                <a:cubicBezTo>
                  <a:pt x="693442" y="440504"/>
                  <a:pt x="660630" y="428666"/>
                  <a:pt x="628814" y="414506"/>
                </a:cubicBezTo>
                <a:cubicBezTo>
                  <a:pt x="533649" y="372150"/>
                  <a:pt x="440852" y="324486"/>
                  <a:pt x="340101" y="285686"/>
                </a:cubicBezTo>
                <a:close/>
              </a:path>
            </a:pathLst>
          </a:custGeom>
          <a:solidFill>
            <a:srgbClr val="23637C"/>
          </a:solidFill>
          <a:ln w="9525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31" name="Free-form: Shape 3530">
            <a:extLst>
              <a:ext uri="{FF2B5EF4-FFF2-40B4-BE49-F238E27FC236}">
                <a16:creationId xmlns:a16="http://schemas.microsoft.com/office/drawing/2014/main" id="{81E95126-3953-BD74-6E47-4F9BF66F49FF}"/>
              </a:ext>
            </a:extLst>
          </p:cNvPr>
          <p:cNvSpPr/>
          <p:nvPr/>
        </p:nvSpPr>
        <p:spPr>
          <a:xfrm>
            <a:off x="3165029" y="5309877"/>
            <a:ext cx="355825" cy="340205"/>
          </a:xfrm>
          <a:custGeom>
            <a:avLst/>
            <a:gdLst>
              <a:gd name="csX0" fmla="*/ 81449 w 471620"/>
              <a:gd name="csY0" fmla="*/ 0 h 450917"/>
              <a:gd name="csX1" fmla="*/ 356315 w 471620"/>
              <a:gd name="csY1" fmla="*/ 45624 h 450917"/>
              <a:gd name="csX2" fmla="*/ 374385 w 471620"/>
              <a:gd name="csY2" fmla="*/ 81848 h 450917"/>
              <a:gd name="csX3" fmla="*/ 381021 w 471620"/>
              <a:gd name="csY3" fmla="*/ 190074 h 450917"/>
              <a:gd name="csX4" fmla="*/ 454179 w 471620"/>
              <a:gd name="csY4" fmla="*/ 323397 h 450917"/>
              <a:gd name="csX5" fmla="*/ 471292 w 471620"/>
              <a:gd name="csY5" fmla="*/ 396190 h 450917"/>
              <a:gd name="csX6" fmla="*/ 400102 w 471620"/>
              <a:gd name="csY6" fmla="*/ 448760 h 450917"/>
              <a:gd name="csX7" fmla="*/ 34019 w 471620"/>
              <a:gd name="csY7" fmla="*/ 366878 h 450917"/>
              <a:gd name="csX8" fmla="*/ 721 w 471620"/>
              <a:gd name="csY8" fmla="*/ 337200 h 450917"/>
              <a:gd name="csX9" fmla="*/ 81449 w 471620"/>
              <a:gd name="csY9" fmla="*/ 0 h 45091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471620" h="450917">
                <a:moveTo>
                  <a:pt x="81449" y="0"/>
                </a:moveTo>
                <a:cubicBezTo>
                  <a:pt x="175549" y="14941"/>
                  <a:pt x="264057" y="41868"/>
                  <a:pt x="356315" y="45624"/>
                </a:cubicBezTo>
                <a:cubicBezTo>
                  <a:pt x="388416" y="46931"/>
                  <a:pt x="387932" y="64869"/>
                  <a:pt x="374385" y="81848"/>
                </a:cubicBezTo>
                <a:cubicBezTo>
                  <a:pt x="342783" y="121453"/>
                  <a:pt x="361090" y="154810"/>
                  <a:pt x="381021" y="190074"/>
                </a:cubicBezTo>
                <a:cubicBezTo>
                  <a:pt x="405962" y="234202"/>
                  <a:pt x="429076" y="279365"/>
                  <a:pt x="454179" y="323397"/>
                </a:cubicBezTo>
                <a:cubicBezTo>
                  <a:pt x="467258" y="346338"/>
                  <a:pt x="473128" y="370254"/>
                  <a:pt x="471292" y="396190"/>
                </a:cubicBezTo>
                <a:cubicBezTo>
                  <a:pt x="468488" y="435794"/>
                  <a:pt x="438553" y="458224"/>
                  <a:pt x="400102" y="448760"/>
                </a:cubicBezTo>
                <a:cubicBezTo>
                  <a:pt x="278652" y="418867"/>
                  <a:pt x="157057" y="389715"/>
                  <a:pt x="34019" y="366878"/>
                </a:cubicBezTo>
                <a:cubicBezTo>
                  <a:pt x="18186" y="363939"/>
                  <a:pt x="-4320" y="363954"/>
                  <a:pt x="721" y="337200"/>
                </a:cubicBezTo>
                <a:cubicBezTo>
                  <a:pt x="22033" y="224078"/>
                  <a:pt x="42535" y="110748"/>
                  <a:pt x="81449" y="0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32" name="Free-form: Shape 3531">
            <a:extLst>
              <a:ext uri="{FF2B5EF4-FFF2-40B4-BE49-F238E27FC236}">
                <a16:creationId xmlns:a16="http://schemas.microsoft.com/office/drawing/2014/main" id="{36B11EA3-38BA-5B1F-EB3D-2600643656C1}"/>
              </a:ext>
            </a:extLst>
          </p:cNvPr>
          <p:cNvSpPr/>
          <p:nvPr/>
        </p:nvSpPr>
        <p:spPr>
          <a:xfrm>
            <a:off x="3518321" y="3111632"/>
            <a:ext cx="687006" cy="299543"/>
          </a:xfrm>
          <a:custGeom>
            <a:avLst/>
            <a:gdLst>
              <a:gd name="csX0" fmla="*/ 0 w 910576"/>
              <a:gd name="csY0" fmla="*/ 141 h 397022"/>
              <a:gd name="csX1" fmla="*/ 115251 w 910576"/>
              <a:gd name="csY1" fmla="*/ 31823 h 397022"/>
              <a:gd name="csX2" fmla="*/ 482060 w 910576"/>
              <a:gd name="csY2" fmla="*/ 181252 h 397022"/>
              <a:gd name="csX3" fmla="*/ 817169 w 910576"/>
              <a:gd name="csY3" fmla="*/ 339705 h 397022"/>
              <a:gd name="csX4" fmla="*/ 910576 w 910576"/>
              <a:gd name="csY4" fmla="*/ 368002 h 397022"/>
              <a:gd name="csX5" fmla="*/ 839487 w 910576"/>
              <a:gd name="csY5" fmla="*/ 397021 h 397022"/>
              <a:gd name="csX6" fmla="*/ 508671 w 910576"/>
              <a:gd name="csY6" fmla="*/ 290884 h 397022"/>
              <a:gd name="csX7" fmla="*/ 361999 w 910576"/>
              <a:gd name="csY7" fmla="*/ 243107 h 397022"/>
              <a:gd name="csX8" fmla="*/ 213955 w 910576"/>
              <a:gd name="csY8" fmla="*/ 178213 h 397022"/>
              <a:gd name="csX9" fmla="*/ 0 w 910576"/>
              <a:gd name="csY9" fmla="*/ 141 h 39702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910576" h="397022">
                <a:moveTo>
                  <a:pt x="0" y="141"/>
                </a:moveTo>
                <a:cubicBezTo>
                  <a:pt x="40350" y="-1620"/>
                  <a:pt x="79961" y="13380"/>
                  <a:pt x="115251" y="31823"/>
                </a:cubicBezTo>
                <a:cubicBezTo>
                  <a:pt x="233125" y="93429"/>
                  <a:pt x="359736" y="131811"/>
                  <a:pt x="482060" y="181252"/>
                </a:cubicBezTo>
                <a:cubicBezTo>
                  <a:pt x="595983" y="227297"/>
                  <a:pt x="715284" y="267202"/>
                  <a:pt x="817169" y="339705"/>
                </a:cubicBezTo>
                <a:cubicBezTo>
                  <a:pt x="845595" y="359933"/>
                  <a:pt x="867655" y="387645"/>
                  <a:pt x="910576" y="368002"/>
                </a:cubicBezTo>
                <a:cubicBezTo>
                  <a:pt x="897494" y="398541"/>
                  <a:pt x="867126" y="396955"/>
                  <a:pt x="839487" y="397021"/>
                </a:cubicBezTo>
                <a:cubicBezTo>
                  <a:pt x="718067" y="397311"/>
                  <a:pt x="610842" y="348251"/>
                  <a:pt x="508671" y="290884"/>
                </a:cubicBezTo>
                <a:cubicBezTo>
                  <a:pt x="461354" y="264317"/>
                  <a:pt x="414496" y="247286"/>
                  <a:pt x="361999" y="243107"/>
                </a:cubicBezTo>
                <a:cubicBezTo>
                  <a:pt x="304826" y="238555"/>
                  <a:pt x="257519" y="218414"/>
                  <a:pt x="213955" y="178213"/>
                </a:cubicBezTo>
                <a:cubicBezTo>
                  <a:pt x="146623" y="116079"/>
                  <a:pt x="72771" y="61012"/>
                  <a:pt x="0" y="141"/>
                </a:cubicBezTo>
                <a:close/>
              </a:path>
            </a:pathLst>
          </a:custGeom>
          <a:solidFill>
            <a:srgbClr val="265467"/>
          </a:solidFill>
          <a:ln w="9525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33" name="Free-form: Shape 3532">
            <a:extLst>
              <a:ext uri="{FF2B5EF4-FFF2-40B4-BE49-F238E27FC236}">
                <a16:creationId xmlns:a16="http://schemas.microsoft.com/office/drawing/2014/main" id="{64B2B741-B921-4D4A-E270-0F5489982F0F}"/>
              </a:ext>
            </a:extLst>
          </p:cNvPr>
          <p:cNvSpPr/>
          <p:nvPr/>
        </p:nvSpPr>
        <p:spPr>
          <a:xfrm>
            <a:off x="3503848" y="3392637"/>
            <a:ext cx="589467" cy="529486"/>
          </a:xfrm>
          <a:custGeom>
            <a:avLst/>
            <a:gdLst>
              <a:gd name="csX0" fmla="*/ 0 w 781295"/>
              <a:gd name="csY0" fmla="*/ 0 h 701795"/>
              <a:gd name="csX1" fmla="*/ 131698 w 781295"/>
              <a:gd name="csY1" fmla="*/ 77660 h 701795"/>
              <a:gd name="csX2" fmla="*/ 227313 w 781295"/>
              <a:gd name="csY2" fmla="*/ 181029 h 701795"/>
              <a:gd name="csX3" fmla="*/ 505635 w 781295"/>
              <a:gd name="csY3" fmla="*/ 470161 h 701795"/>
              <a:gd name="csX4" fmla="*/ 631033 w 781295"/>
              <a:gd name="csY4" fmla="*/ 611697 h 701795"/>
              <a:gd name="csX5" fmla="*/ 781296 w 781295"/>
              <a:gd name="csY5" fmla="*/ 674180 h 701795"/>
              <a:gd name="csX6" fmla="*/ 739791 w 781295"/>
              <a:gd name="csY6" fmla="*/ 700751 h 701795"/>
              <a:gd name="csX7" fmla="*/ 572074 w 781295"/>
              <a:gd name="csY7" fmla="*/ 648671 h 701795"/>
              <a:gd name="csX8" fmla="*/ 499649 w 781295"/>
              <a:gd name="csY8" fmla="*/ 580286 h 701795"/>
              <a:gd name="csX9" fmla="*/ 137371 w 781295"/>
              <a:gd name="csY9" fmla="*/ 218091 h 701795"/>
              <a:gd name="csX10" fmla="*/ 108942 w 781295"/>
              <a:gd name="csY10" fmla="*/ 180865 h 701795"/>
              <a:gd name="csX11" fmla="*/ 0 w 781295"/>
              <a:gd name="csY11" fmla="*/ 0 h 70179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781295" h="701795">
                <a:moveTo>
                  <a:pt x="0" y="0"/>
                </a:moveTo>
                <a:cubicBezTo>
                  <a:pt x="53621" y="7117"/>
                  <a:pt x="99413" y="32155"/>
                  <a:pt x="131698" y="77660"/>
                </a:cubicBezTo>
                <a:cubicBezTo>
                  <a:pt x="159184" y="116403"/>
                  <a:pt x="189753" y="150641"/>
                  <a:pt x="227313" y="181029"/>
                </a:cubicBezTo>
                <a:cubicBezTo>
                  <a:pt x="331862" y="265611"/>
                  <a:pt x="426288" y="360435"/>
                  <a:pt x="505635" y="470161"/>
                </a:cubicBezTo>
                <a:cubicBezTo>
                  <a:pt x="542466" y="521094"/>
                  <a:pt x="585169" y="568024"/>
                  <a:pt x="631033" y="611697"/>
                </a:cubicBezTo>
                <a:cubicBezTo>
                  <a:pt x="672286" y="650980"/>
                  <a:pt x="725941" y="658815"/>
                  <a:pt x="781296" y="674180"/>
                </a:cubicBezTo>
                <a:cubicBezTo>
                  <a:pt x="779070" y="700422"/>
                  <a:pt x="758724" y="699146"/>
                  <a:pt x="739791" y="700751"/>
                </a:cubicBezTo>
                <a:cubicBezTo>
                  <a:pt x="676811" y="706089"/>
                  <a:pt x="619989" y="691292"/>
                  <a:pt x="572074" y="648671"/>
                </a:cubicBezTo>
                <a:cubicBezTo>
                  <a:pt x="547217" y="626560"/>
                  <a:pt x="518186" y="606984"/>
                  <a:pt x="499649" y="580286"/>
                </a:cubicBezTo>
                <a:cubicBezTo>
                  <a:pt x="400549" y="437551"/>
                  <a:pt x="260675" y="336192"/>
                  <a:pt x="137371" y="218091"/>
                </a:cubicBezTo>
                <a:cubicBezTo>
                  <a:pt x="125700" y="206913"/>
                  <a:pt x="114026" y="196397"/>
                  <a:pt x="108942" y="180865"/>
                </a:cubicBezTo>
                <a:cubicBezTo>
                  <a:pt x="86765" y="113112"/>
                  <a:pt x="45143" y="57288"/>
                  <a:pt x="0" y="0"/>
                </a:cubicBezTo>
                <a:close/>
              </a:path>
            </a:pathLst>
          </a:custGeom>
          <a:solidFill>
            <a:srgbClr val="275464"/>
          </a:solidFill>
          <a:ln w="9525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34" name="Free-form: Shape 3533">
            <a:extLst>
              <a:ext uri="{FF2B5EF4-FFF2-40B4-BE49-F238E27FC236}">
                <a16:creationId xmlns:a16="http://schemas.microsoft.com/office/drawing/2014/main" id="{DB84A13C-7B34-C029-5BA9-ABDB1C7E4AE4}"/>
              </a:ext>
            </a:extLst>
          </p:cNvPr>
          <p:cNvSpPr/>
          <p:nvPr/>
        </p:nvSpPr>
        <p:spPr>
          <a:xfrm>
            <a:off x="3432406" y="2898247"/>
            <a:ext cx="489023" cy="159735"/>
          </a:xfrm>
          <a:custGeom>
            <a:avLst/>
            <a:gdLst>
              <a:gd name="csX0" fmla="*/ 513886 w 648164"/>
              <a:gd name="csY0" fmla="*/ 204096 h 211717"/>
              <a:gd name="csX1" fmla="*/ 0 w 648164"/>
              <a:gd name="csY1" fmla="*/ 0 h 211717"/>
              <a:gd name="csX2" fmla="*/ 136957 w 648164"/>
              <a:gd name="csY2" fmla="*/ 2589 h 211717"/>
              <a:gd name="csX3" fmla="*/ 277527 w 648164"/>
              <a:gd name="csY3" fmla="*/ 19184 h 211717"/>
              <a:gd name="csX4" fmla="*/ 622091 w 648164"/>
              <a:gd name="csY4" fmla="*/ 101761 h 211717"/>
              <a:gd name="csX5" fmla="*/ 647256 w 648164"/>
              <a:gd name="csY5" fmla="*/ 132656 h 211717"/>
              <a:gd name="csX6" fmla="*/ 513886 w 648164"/>
              <a:gd name="csY6" fmla="*/ 204096 h 21171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</a:cxnLst>
            <a:rect l="l" t="t" r="r" b="b"/>
            <a:pathLst>
              <a:path w="648164" h="211717">
                <a:moveTo>
                  <a:pt x="513886" y="204096"/>
                </a:moveTo>
                <a:cubicBezTo>
                  <a:pt x="353510" y="103047"/>
                  <a:pt x="171280" y="66901"/>
                  <a:pt x="0" y="0"/>
                </a:cubicBezTo>
                <a:cubicBezTo>
                  <a:pt x="46235" y="6318"/>
                  <a:pt x="91675" y="4769"/>
                  <a:pt x="136957" y="2589"/>
                </a:cubicBezTo>
                <a:cubicBezTo>
                  <a:pt x="185122" y="270"/>
                  <a:pt x="231252" y="17700"/>
                  <a:pt x="277527" y="19184"/>
                </a:cubicBezTo>
                <a:cubicBezTo>
                  <a:pt x="398895" y="23076"/>
                  <a:pt x="503903" y="88842"/>
                  <a:pt x="622091" y="101761"/>
                </a:cubicBezTo>
                <a:cubicBezTo>
                  <a:pt x="638655" y="103571"/>
                  <a:pt x="651800" y="109607"/>
                  <a:pt x="647256" y="132656"/>
                </a:cubicBezTo>
                <a:cubicBezTo>
                  <a:pt x="635352" y="193027"/>
                  <a:pt x="574057" y="228089"/>
                  <a:pt x="513886" y="204096"/>
                </a:cubicBezTo>
                <a:close/>
              </a:path>
            </a:pathLst>
          </a:custGeom>
          <a:solidFill>
            <a:srgbClr val="265D6F"/>
          </a:solidFill>
          <a:ln w="9525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35" name="Free-form: Shape 3534">
            <a:extLst>
              <a:ext uri="{FF2B5EF4-FFF2-40B4-BE49-F238E27FC236}">
                <a16:creationId xmlns:a16="http://schemas.microsoft.com/office/drawing/2014/main" id="{C94DBD11-88B2-41D6-2509-F11AE4A94D24}"/>
              </a:ext>
            </a:extLst>
          </p:cNvPr>
          <p:cNvSpPr/>
          <p:nvPr/>
        </p:nvSpPr>
        <p:spPr>
          <a:xfrm>
            <a:off x="3141069" y="5631634"/>
            <a:ext cx="368620" cy="138396"/>
          </a:xfrm>
          <a:custGeom>
            <a:avLst/>
            <a:gdLst>
              <a:gd name="csX0" fmla="*/ 436371 w 488578"/>
              <a:gd name="csY0" fmla="*/ 179983 h 183434"/>
              <a:gd name="csX1" fmla="*/ 38202 w 488578"/>
              <a:gd name="csY1" fmla="*/ 94654 h 183434"/>
              <a:gd name="csX2" fmla="*/ 2910 w 488578"/>
              <a:gd name="csY2" fmla="*/ 31980 h 183434"/>
              <a:gd name="csX3" fmla="*/ 56877 w 488578"/>
              <a:gd name="csY3" fmla="*/ 5593 h 183434"/>
              <a:gd name="csX4" fmla="*/ 359136 w 488578"/>
              <a:gd name="csY4" fmla="*/ 66346 h 183434"/>
              <a:gd name="csX5" fmla="*/ 463196 w 488578"/>
              <a:gd name="csY5" fmla="*/ 98564 h 183434"/>
              <a:gd name="csX6" fmla="*/ 485283 w 488578"/>
              <a:gd name="csY6" fmla="*/ 156405 h 183434"/>
              <a:gd name="csX7" fmla="*/ 436371 w 488578"/>
              <a:gd name="csY7" fmla="*/ 179983 h 18343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</a:cxnLst>
            <a:rect l="l" t="t" r="r" b="b"/>
            <a:pathLst>
              <a:path w="488578" h="183434">
                <a:moveTo>
                  <a:pt x="436371" y="179983"/>
                </a:moveTo>
                <a:cubicBezTo>
                  <a:pt x="300978" y="150834"/>
                  <a:pt x="170042" y="120431"/>
                  <a:pt x="38202" y="94654"/>
                </a:cubicBezTo>
                <a:cubicBezTo>
                  <a:pt x="-5194" y="86169"/>
                  <a:pt x="-2374" y="66441"/>
                  <a:pt x="2910" y="31980"/>
                </a:cubicBezTo>
                <a:cubicBezTo>
                  <a:pt x="9271" y="-9509"/>
                  <a:pt x="31444" y="-1191"/>
                  <a:pt x="56877" y="5593"/>
                </a:cubicBezTo>
                <a:cubicBezTo>
                  <a:pt x="156380" y="32133"/>
                  <a:pt x="258569" y="45238"/>
                  <a:pt x="359136" y="66346"/>
                </a:cubicBezTo>
                <a:cubicBezTo>
                  <a:pt x="394520" y="73772"/>
                  <a:pt x="428609" y="87452"/>
                  <a:pt x="463196" y="98564"/>
                </a:cubicBezTo>
                <a:cubicBezTo>
                  <a:pt x="494537" y="108633"/>
                  <a:pt x="489856" y="131304"/>
                  <a:pt x="485283" y="156405"/>
                </a:cubicBezTo>
                <a:cubicBezTo>
                  <a:pt x="479968" y="185582"/>
                  <a:pt x="463106" y="186848"/>
                  <a:pt x="436371" y="179983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36" name="Free-form: Shape 3535">
            <a:extLst>
              <a:ext uri="{FF2B5EF4-FFF2-40B4-BE49-F238E27FC236}">
                <a16:creationId xmlns:a16="http://schemas.microsoft.com/office/drawing/2014/main" id="{845FA1AD-505C-4B69-AE8E-9A700883CE7F}"/>
              </a:ext>
            </a:extLst>
          </p:cNvPr>
          <p:cNvSpPr/>
          <p:nvPr/>
        </p:nvSpPr>
        <p:spPr>
          <a:xfrm>
            <a:off x="3128660" y="4268627"/>
            <a:ext cx="50646" cy="139439"/>
          </a:xfrm>
          <a:custGeom>
            <a:avLst/>
            <a:gdLst>
              <a:gd name="csX0" fmla="*/ 3819 w 43314"/>
              <a:gd name="csY0" fmla="*/ 30419 h 165767"/>
              <a:gd name="csX1" fmla="*/ 27572 w 43314"/>
              <a:gd name="csY1" fmla="*/ 0 h 165767"/>
              <a:gd name="csX2" fmla="*/ 36648 w 43314"/>
              <a:gd name="csY2" fmla="*/ 129603 h 165767"/>
              <a:gd name="csX3" fmla="*/ 0 w 43314"/>
              <a:gd name="csY3" fmla="*/ 165767 h 165767"/>
              <a:gd name="csX4" fmla="*/ 3819 w 43314"/>
              <a:gd name="csY4" fmla="*/ 30419 h 165767"/>
              <a:gd name="csX0" fmla="*/ 18107 w 57602"/>
              <a:gd name="csY0" fmla="*/ 30419 h 170529"/>
              <a:gd name="csX1" fmla="*/ 41860 w 57602"/>
              <a:gd name="csY1" fmla="*/ 0 h 170529"/>
              <a:gd name="csX2" fmla="*/ 50936 w 57602"/>
              <a:gd name="csY2" fmla="*/ 129603 h 170529"/>
              <a:gd name="csX3" fmla="*/ 0 w 57602"/>
              <a:gd name="csY3" fmla="*/ 170529 h 170529"/>
              <a:gd name="csX4" fmla="*/ 18107 w 57602"/>
              <a:gd name="csY4" fmla="*/ 30419 h 170529"/>
              <a:gd name="csX0" fmla="*/ 27632 w 67127"/>
              <a:gd name="csY0" fmla="*/ 30419 h 184816"/>
              <a:gd name="csX1" fmla="*/ 51385 w 67127"/>
              <a:gd name="csY1" fmla="*/ 0 h 184816"/>
              <a:gd name="csX2" fmla="*/ 60461 w 67127"/>
              <a:gd name="csY2" fmla="*/ 129603 h 184816"/>
              <a:gd name="csX3" fmla="*/ 0 w 67127"/>
              <a:gd name="csY3" fmla="*/ 184816 h 184816"/>
              <a:gd name="csX4" fmla="*/ 27632 w 67127"/>
              <a:gd name="csY4" fmla="*/ 30419 h 18481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67127" h="184816">
                <a:moveTo>
                  <a:pt x="27632" y="30419"/>
                </a:moveTo>
                <a:cubicBezTo>
                  <a:pt x="46377" y="27957"/>
                  <a:pt x="50210" y="17341"/>
                  <a:pt x="51385" y="0"/>
                </a:cubicBezTo>
                <a:cubicBezTo>
                  <a:pt x="64193" y="40257"/>
                  <a:pt x="74346" y="83919"/>
                  <a:pt x="60461" y="129603"/>
                </a:cubicBezTo>
                <a:cubicBezTo>
                  <a:pt x="55082" y="147301"/>
                  <a:pt x="23364" y="180186"/>
                  <a:pt x="0" y="184816"/>
                </a:cubicBezTo>
                <a:cubicBezTo>
                  <a:pt x="3817" y="139488"/>
                  <a:pt x="27807" y="77035"/>
                  <a:pt x="27632" y="30419"/>
                </a:cubicBezTo>
                <a:close/>
              </a:path>
            </a:pathLst>
          </a:custGeom>
          <a:solidFill>
            <a:schemeClr val="accent3"/>
          </a:solidFill>
          <a:ln w="9525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105" name="Free-form: Shape 5104">
            <a:extLst>
              <a:ext uri="{FF2B5EF4-FFF2-40B4-BE49-F238E27FC236}">
                <a16:creationId xmlns:a16="http://schemas.microsoft.com/office/drawing/2014/main" id="{061836AA-FA75-E47A-1EF6-0001A63FE167}"/>
              </a:ext>
            </a:extLst>
          </p:cNvPr>
          <p:cNvSpPr/>
          <p:nvPr/>
        </p:nvSpPr>
        <p:spPr>
          <a:xfrm>
            <a:off x="2941187" y="4193092"/>
            <a:ext cx="218709" cy="214749"/>
          </a:xfrm>
          <a:custGeom>
            <a:avLst/>
            <a:gdLst>
              <a:gd name="csX0" fmla="*/ 121223 w 289882"/>
              <a:gd name="csY0" fmla="*/ 259351 h 284634"/>
              <a:gd name="csX1" fmla="*/ 39765 w 289882"/>
              <a:gd name="csY1" fmla="*/ 191462 h 284634"/>
              <a:gd name="csX2" fmla="*/ 32485 w 289882"/>
              <a:gd name="csY2" fmla="*/ 53800 h 284634"/>
              <a:gd name="csX3" fmla="*/ 33051 w 289882"/>
              <a:gd name="csY3" fmla="*/ 50286 h 284634"/>
              <a:gd name="csX4" fmla="*/ 40925 w 289882"/>
              <a:gd name="csY4" fmla="*/ 41448 h 284634"/>
              <a:gd name="csX5" fmla="*/ 42207 w 289882"/>
              <a:gd name="csY5" fmla="*/ 40466 h 284634"/>
              <a:gd name="csX6" fmla="*/ 51923 w 289882"/>
              <a:gd name="csY6" fmla="*/ 31913 h 284634"/>
              <a:gd name="csX7" fmla="*/ 269882 w 289882"/>
              <a:gd name="csY7" fmla="*/ 111985 h 284634"/>
              <a:gd name="csX8" fmla="*/ 276081 w 289882"/>
              <a:gd name="csY8" fmla="*/ 123374 h 284634"/>
              <a:gd name="csX9" fmla="*/ 278046 w 289882"/>
              <a:gd name="csY9" fmla="*/ 127145 h 284634"/>
              <a:gd name="csX10" fmla="*/ 270391 w 289882"/>
              <a:gd name="csY10" fmla="*/ 264071 h 284634"/>
              <a:gd name="csX11" fmla="*/ 121223 w 289882"/>
              <a:gd name="csY11" fmla="*/ 259351 h 284634"/>
              <a:gd name="csX0" fmla="*/ 121223 w 289882"/>
              <a:gd name="csY0" fmla="*/ 259351 h 284634"/>
              <a:gd name="csX1" fmla="*/ 39765 w 289882"/>
              <a:gd name="csY1" fmla="*/ 191462 h 284634"/>
              <a:gd name="csX2" fmla="*/ 32485 w 289882"/>
              <a:gd name="csY2" fmla="*/ 53800 h 284634"/>
              <a:gd name="csX3" fmla="*/ 33051 w 289882"/>
              <a:gd name="csY3" fmla="*/ 50286 h 284634"/>
              <a:gd name="csX4" fmla="*/ 40925 w 289882"/>
              <a:gd name="csY4" fmla="*/ 41448 h 284634"/>
              <a:gd name="csX5" fmla="*/ 42207 w 289882"/>
              <a:gd name="csY5" fmla="*/ 40466 h 284634"/>
              <a:gd name="csX6" fmla="*/ 51923 w 289882"/>
              <a:gd name="csY6" fmla="*/ 31913 h 284634"/>
              <a:gd name="csX7" fmla="*/ 269882 w 289882"/>
              <a:gd name="csY7" fmla="*/ 111985 h 284634"/>
              <a:gd name="csX8" fmla="*/ 276081 w 289882"/>
              <a:gd name="csY8" fmla="*/ 123374 h 284634"/>
              <a:gd name="csX9" fmla="*/ 278046 w 289882"/>
              <a:gd name="csY9" fmla="*/ 127145 h 284634"/>
              <a:gd name="csX10" fmla="*/ 270391 w 289882"/>
              <a:gd name="csY10" fmla="*/ 264071 h 284634"/>
              <a:gd name="csX11" fmla="*/ 121223 w 289882"/>
              <a:gd name="csY11" fmla="*/ 259351 h 28463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289882" h="284634">
                <a:moveTo>
                  <a:pt x="121223" y="259351"/>
                </a:moveTo>
                <a:cubicBezTo>
                  <a:pt x="92744" y="236429"/>
                  <a:pt x="77302" y="230687"/>
                  <a:pt x="39765" y="191462"/>
                </a:cubicBezTo>
                <a:cubicBezTo>
                  <a:pt x="-11973" y="114370"/>
                  <a:pt x="-11973" y="114370"/>
                  <a:pt x="32485" y="53800"/>
                </a:cubicBezTo>
                <a:cubicBezTo>
                  <a:pt x="33647" y="50785"/>
                  <a:pt x="33361" y="50218"/>
                  <a:pt x="33051" y="50286"/>
                </a:cubicBezTo>
                <a:cubicBezTo>
                  <a:pt x="34473" y="47565"/>
                  <a:pt x="36502" y="45010"/>
                  <a:pt x="40925" y="41448"/>
                </a:cubicBezTo>
                <a:cubicBezTo>
                  <a:pt x="43063" y="40240"/>
                  <a:pt x="42208" y="40025"/>
                  <a:pt x="42207" y="40466"/>
                </a:cubicBezTo>
                <a:cubicBezTo>
                  <a:pt x="43982" y="37678"/>
                  <a:pt x="46361" y="34981"/>
                  <a:pt x="51923" y="31913"/>
                </a:cubicBezTo>
                <a:cubicBezTo>
                  <a:pt x="144799" y="-26959"/>
                  <a:pt x="200853" y="-6678"/>
                  <a:pt x="269882" y="111985"/>
                </a:cubicBezTo>
                <a:cubicBezTo>
                  <a:pt x="271876" y="116919"/>
                  <a:pt x="273328" y="118608"/>
                  <a:pt x="276081" y="123374"/>
                </a:cubicBezTo>
                <a:cubicBezTo>
                  <a:pt x="277382" y="126451"/>
                  <a:pt x="277941" y="126827"/>
                  <a:pt x="278046" y="127145"/>
                </a:cubicBezTo>
                <a:cubicBezTo>
                  <a:pt x="286830" y="172404"/>
                  <a:pt x="302962" y="217741"/>
                  <a:pt x="270391" y="264071"/>
                </a:cubicBezTo>
                <a:cubicBezTo>
                  <a:pt x="219534" y="299545"/>
                  <a:pt x="171946" y="283215"/>
                  <a:pt x="121223" y="259351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106" name="Free-form: Shape 5105">
            <a:extLst>
              <a:ext uri="{FF2B5EF4-FFF2-40B4-BE49-F238E27FC236}">
                <a16:creationId xmlns:a16="http://schemas.microsoft.com/office/drawing/2014/main" id="{9D8F4302-67C0-B105-E592-0BC3817DFDD3}"/>
              </a:ext>
            </a:extLst>
          </p:cNvPr>
          <p:cNvSpPr/>
          <p:nvPr/>
        </p:nvSpPr>
        <p:spPr>
          <a:xfrm>
            <a:off x="3145218" y="4281805"/>
            <a:ext cx="4884" cy="5020"/>
          </a:xfrm>
          <a:custGeom>
            <a:avLst/>
            <a:gdLst>
              <a:gd name="csX0" fmla="*/ 6474 w 6474"/>
              <a:gd name="csY0" fmla="*/ 6650 h 6653"/>
              <a:gd name="csX1" fmla="*/ 0 w 6474"/>
              <a:gd name="csY1" fmla="*/ 95 h 6653"/>
              <a:gd name="csX2" fmla="*/ 6474 w 6474"/>
              <a:gd name="csY2" fmla="*/ 6650 h 665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6474" h="6653">
                <a:moveTo>
                  <a:pt x="6474" y="6650"/>
                </a:moveTo>
                <a:cubicBezTo>
                  <a:pt x="4637" y="6760"/>
                  <a:pt x="2321" y="4651"/>
                  <a:pt x="0" y="95"/>
                </a:cubicBezTo>
                <a:cubicBezTo>
                  <a:pt x="2466" y="-507"/>
                  <a:pt x="4465" y="1753"/>
                  <a:pt x="6474" y="6650"/>
                </a:cubicBezTo>
                <a:close/>
              </a:path>
            </a:pathLst>
          </a:custGeom>
          <a:solidFill>
            <a:srgbClr val="8D7630"/>
          </a:solidFill>
          <a:ln w="9525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107" name="Free-form: Shape 5106">
            <a:extLst>
              <a:ext uri="{FF2B5EF4-FFF2-40B4-BE49-F238E27FC236}">
                <a16:creationId xmlns:a16="http://schemas.microsoft.com/office/drawing/2014/main" id="{F5E0D8DD-D741-3DFB-D9DD-3B6F8CC494B4}"/>
              </a:ext>
            </a:extLst>
          </p:cNvPr>
          <p:cNvSpPr/>
          <p:nvPr/>
        </p:nvSpPr>
        <p:spPr>
          <a:xfrm>
            <a:off x="2967719" y="4224035"/>
            <a:ext cx="4227" cy="6629"/>
          </a:xfrm>
          <a:custGeom>
            <a:avLst/>
            <a:gdLst>
              <a:gd name="csX0" fmla="*/ 5413 w 5603"/>
              <a:gd name="csY0" fmla="*/ 0 h 8786"/>
              <a:gd name="csX1" fmla="*/ 204 w 5603"/>
              <a:gd name="csY1" fmla="*/ 8787 h 8786"/>
              <a:gd name="csX2" fmla="*/ 5413 w 5603"/>
              <a:gd name="csY2" fmla="*/ 0 h 878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5603" h="8786">
                <a:moveTo>
                  <a:pt x="5413" y="0"/>
                </a:moveTo>
                <a:cubicBezTo>
                  <a:pt x="6208" y="2228"/>
                  <a:pt x="4521" y="5229"/>
                  <a:pt x="204" y="8787"/>
                </a:cubicBezTo>
                <a:cubicBezTo>
                  <a:pt x="-640" y="6486"/>
                  <a:pt x="1144" y="3630"/>
                  <a:pt x="5413" y="0"/>
                </a:cubicBezTo>
                <a:close/>
              </a:path>
            </a:pathLst>
          </a:custGeom>
          <a:solidFill>
            <a:srgbClr val="225266"/>
          </a:solidFill>
          <a:ln w="9525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108" name="Free-form: Shape 5107">
            <a:extLst>
              <a:ext uri="{FF2B5EF4-FFF2-40B4-BE49-F238E27FC236}">
                <a16:creationId xmlns:a16="http://schemas.microsoft.com/office/drawing/2014/main" id="{624C60D5-5F5E-926A-C65A-3B7DCEDDC5AA}"/>
              </a:ext>
            </a:extLst>
          </p:cNvPr>
          <p:cNvSpPr/>
          <p:nvPr/>
        </p:nvSpPr>
        <p:spPr>
          <a:xfrm>
            <a:off x="2975047" y="4216929"/>
            <a:ext cx="5212" cy="6567"/>
          </a:xfrm>
          <a:custGeom>
            <a:avLst/>
            <a:gdLst>
              <a:gd name="csX0" fmla="*/ 6838 w 6908"/>
              <a:gd name="csY0" fmla="*/ 0 h 8704"/>
              <a:gd name="csX1" fmla="*/ 68 w 6908"/>
              <a:gd name="csY1" fmla="*/ 8705 h 8704"/>
              <a:gd name="csX2" fmla="*/ 6838 w 6908"/>
              <a:gd name="csY2" fmla="*/ 0 h 870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6908" h="8704">
                <a:moveTo>
                  <a:pt x="6838" y="0"/>
                </a:moveTo>
                <a:cubicBezTo>
                  <a:pt x="7351" y="2309"/>
                  <a:pt x="5081" y="5203"/>
                  <a:pt x="68" y="8705"/>
                </a:cubicBezTo>
                <a:cubicBezTo>
                  <a:pt x="-431" y="6403"/>
                  <a:pt x="1811" y="3494"/>
                  <a:pt x="6838" y="0"/>
                </a:cubicBezTo>
                <a:close/>
              </a:path>
            </a:pathLst>
          </a:custGeom>
          <a:solidFill>
            <a:srgbClr val="225266"/>
          </a:solidFill>
          <a:ln w="9525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112" name="Free-form: Shape 5111">
            <a:extLst>
              <a:ext uri="{FF2B5EF4-FFF2-40B4-BE49-F238E27FC236}">
                <a16:creationId xmlns:a16="http://schemas.microsoft.com/office/drawing/2014/main" id="{D228B707-04BE-E750-D35C-613E066C4B24}"/>
              </a:ext>
            </a:extLst>
          </p:cNvPr>
          <p:cNvSpPr/>
          <p:nvPr/>
        </p:nvSpPr>
        <p:spPr>
          <a:xfrm>
            <a:off x="3476933" y="4292930"/>
            <a:ext cx="92561" cy="71264"/>
          </a:xfrm>
          <a:custGeom>
            <a:avLst/>
            <a:gdLst>
              <a:gd name="csX0" fmla="*/ 122684 w 122683"/>
              <a:gd name="csY0" fmla="*/ 89420 h 94455"/>
              <a:gd name="csX1" fmla="*/ 12494 w 122683"/>
              <a:gd name="csY1" fmla="*/ 43893 h 94455"/>
              <a:gd name="csX2" fmla="*/ 4476 w 122683"/>
              <a:gd name="csY2" fmla="*/ 5819 h 94455"/>
              <a:gd name="csX3" fmla="*/ 45123 w 122683"/>
              <a:gd name="csY3" fmla="*/ 1858 h 94455"/>
              <a:gd name="csX4" fmla="*/ 122684 w 122683"/>
              <a:gd name="csY4" fmla="*/ 89420 h 9445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22683" h="94455">
                <a:moveTo>
                  <a:pt x="122684" y="89420"/>
                </a:moveTo>
                <a:cubicBezTo>
                  <a:pt x="70413" y="103687"/>
                  <a:pt x="32794" y="87363"/>
                  <a:pt x="12494" y="43893"/>
                </a:cubicBezTo>
                <a:cubicBezTo>
                  <a:pt x="6924" y="31966"/>
                  <a:pt x="-7158" y="16399"/>
                  <a:pt x="4476" y="5819"/>
                </a:cubicBezTo>
                <a:cubicBezTo>
                  <a:pt x="12661" y="-1626"/>
                  <a:pt x="31869" y="-695"/>
                  <a:pt x="45123" y="1858"/>
                </a:cubicBezTo>
                <a:cubicBezTo>
                  <a:pt x="90781" y="10650"/>
                  <a:pt x="115059" y="41304"/>
                  <a:pt x="122684" y="89420"/>
                </a:cubicBezTo>
                <a:close/>
              </a:path>
            </a:pathLst>
          </a:custGeom>
          <a:solidFill>
            <a:srgbClr val="DF971E"/>
          </a:solidFill>
          <a:ln w="9525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4451BFEB-9B5D-3A0C-AB9D-B29FAEF409CA}"/>
              </a:ext>
            </a:extLst>
          </p:cNvPr>
          <p:cNvSpPr/>
          <p:nvPr/>
        </p:nvSpPr>
        <p:spPr>
          <a:xfrm>
            <a:off x="1789855" y="5634835"/>
            <a:ext cx="672690" cy="125776"/>
          </a:xfrm>
          <a:prstGeom prst="ellipse">
            <a:avLst/>
          </a:prstGeom>
          <a:solidFill>
            <a:schemeClr val="tx1">
              <a:alpha val="6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8" name="Free-form: Shape 37">
            <a:extLst>
              <a:ext uri="{FF2B5EF4-FFF2-40B4-BE49-F238E27FC236}">
                <a16:creationId xmlns:a16="http://schemas.microsoft.com/office/drawing/2014/main" id="{6BD78D91-5EC4-0D79-5928-50A38F82BA1A}"/>
              </a:ext>
            </a:extLst>
          </p:cNvPr>
          <p:cNvSpPr/>
          <p:nvPr/>
        </p:nvSpPr>
        <p:spPr>
          <a:xfrm>
            <a:off x="1839207" y="4688452"/>
            <a:ext cx="576505" cy="1024899"/>
          </a:xfrm>
          <a:custGeom>
            <a:avLst/>
            <a:gdLst>
              <a:gd name="csX0" fmla="*/ 581793 w 697572"/>
              <a:gd name="csY0" fmla="*/ 1234401 h 1240128"/>
              <a:gd name="csX1" fmla="*/ 577427 w 697572"/>
              <a:gd name="csY1" fmla="*/ 1234156 h 1240128"/>
              <a:gd name="csX2" fmla="*/ 559133 w 697572"/>
              <a:gd name="csY2" fmla="*/ 1230909 h 1240128"/>
              <a:gd name="csX3" fmla="*/ 516706 w 697572"/>
              <a:gd name="csY3" fmla="*/ 1235117 h 1240128"/>
              <a:gd name="csX4" fmla="*/ 475244 w 697572"/>
              <a:gd name="csY4" fmla="*/ 1237506 h 1240128"/>
              <a:gd name="csX5" fmla="*/ 371154 w 697572"/>
              <a:gd name="csY5" fmla="*/ 1239428 h 1240128"/>
              <a:gd name="csX6" fmla="*/ 276813 w 697572"/>
              <a:gd name="csY6" fmla="*/ 1237654 h 1240128"/>
              <a:gd name="csX7" fmla="*/ 268212 w 697572"/>
              <a:gd name="csY7" fmla="*/ 1237635 h 1240128"/>
              <a:gd name="csX8" fmla="*/ 262072 w 697572"/>
              <a:gd name="csY8" fmla="*/ 1237523 h 1240128"/>
              <a:gd name="csX9" fmla="*/ 195111 w 697572"/>
              <a:gd name="csY9" fmla="*/ 1232775 h 1240128"/>
              <a:gd name="csX10" fmla="*/ 145060 w 697572"/>
              <a:gd name="csY10" fmla="*/ 1230076 h 1240128"/>
              <a:gd name="csX11" fmla="*/ 114933 w 697572"/>
              <a:gd name="csY11" fmla="*/ 1225832 h 1240128"/>
              <a:gd name="csX12" fmla="*/ 72642 w 697572"/>
              <a:gd name="csY12" fmla="*/ 1220237 h 1240128"/>
              <a:gd name="csX13" fmla="*/ 10894 w 697572"/>
              <a:gd name="csY13" fmla="*/ 1205737 h 1240128"/>
              <a:gd name="csX14" fmla="*/ 5856 w 697572"/>
              <a:gd name="csY14" fmla="*/ 1202799 h 1240128"/>
              <a:gd name="csX15" fmla="*/ 40 w 697572"/>
              <a:gd name="csY15" fmla="*/ 1174450 h 1240128"/>
              <a:gd name="csX16" fmla="*/ 19831 w 697572"/>
              <a:gd name="csY16" fmla="*/ 1118410 h 1240128"/>
              <a:gd name="csX17" fmla="*/ 22004 w 697572"/>
              <a:gd name="csY17" fmla="*/ 1107240 h 1240128"/>
              <a:gd name="csX18" fmla="*/ 25947 w 697572"/>
              <a:gd name="csY18" fmla="*/ 1038650 h 1240128"/>
              <a:gd name="csX19" fmla="*/ 58234 w 697572"/>
              <a:gd name="csY19" fmla="*/ 988567 h 1240128"/>
              <a:gd name="csX20" fmla="*/ 118645 w 697572"/>
              <a:gd name="csY20" fmla="*/ 928298 h 1240128"/>
              <a:gd name="csX21" fmla="*/ 126320 w 697572"/>
              <a:gd name="csY21" fmla="*/ 892015 h 1240128"/>
              <a:gd name="csX22" fmla="*/ 120345 w 697572"/>
              <a:gd name="csY22" fmla="*/ 872258 h 1240128"/>
              <a:gd name="csX23" fmla="*/ 125668 w 697572"/>
              <a:gd name="csY23" fmla="*/ 861640 h 1240128"/>
              <a:gd name="csX24" fmla="*/ 154237 w 697572"/>
              <a:gd name="csY24" fmla="*/ 850716 h 1240128"/>
              <a:gd name="csX25" fmla="*/ 170248 w 697572"/>
              <a:gd name="csY25" fmla="*/ 836767 h 1240128"/>
              <a:gd name="csX26" fmla="*/ 187840 w 697572"/>
              <a:gd name="csY26" fmla="*/ 796341 h 1240128"/>
              <a:gd name="csX27" fmla="*/ 209346 w 697572"/>
              <a:gd name="csY27" fmla="*/ 743126 h 1240128"/>
              <a:gd name="csX28" fmla="*/ 210630 w 697572"/>
              <a:gd name="csY28" fmla="*/ 737219 h 1240128"/>
              <a:gd name="csX29" fmla="*/ 213836 w 697572"/>
              <a:gd name="csY29" fmla="*/ 720505 h 1240128"/>
              <a:gd name="csX30" fmla="*/ 227791 w 697572"/>
              <a:gd name="csY30" fmla="*/ 667353 h 1240128"/>
              <a:gd name="csX31" fmla="*/ 241013 w 697572"/>
              <a:gd name="csY31" fmla="*/ 599151 h 1240128"/>
              <a:gd name="csX32" fmla="*/ 247322 w 697572"/>
              <a:gd name="csY32" fmla="*/ 542242 h 1240128"/>
              <a:gd name="csX33" fmla="*/ 247948 w 697572"/>
              <a:gd name="csY33" fmla="*/ 499296 h 1240128"/>
              <a:gd name="csX34" fmla="*/ 247577 w 697572"/>
              <a:gd name="csY34" fmla="*/ 470384 h 1240128"/>
              <a:gd name="csX35" fmla="*/ 238877 w 697572"/>
              <a:gd name="csY35" fmla="*/ 460987 h 1240128"/>
              <a:gd name="csX36" fmla="*/ 222040 w 697572"/>
              <a:gd name="csY36" fmla="*/ 458353 h 1240128"/>
              <a:gd name="csX37" fmla="*/ 172193 w 697572"/>
              <a:gd name="csY37" fmla="*/ 433714 h 1240128"/>
              <a:gd name="csX38" fmla="*/ 168410 w 697572"/>
              <a:gd name="csY38" fmla="*/ 396591 h 1240128"/>
              <a:gd name="csX39" fmla="*/ 209826 w 697572"/>
              <a:gd name="csY39" fmla="*/ 367773 h 1240128"/>
              <a:gd name="csX40" fmla="*/ 250732 w 697572"/>
              <a:gd name="csY40" fmla="*/ 355208 h 1240128"/>
              <a:gd name="csX41" fmla="*/ 258289 w 697572"/>
              <a:gd name="csY41" fmla="*/ 350426 h 1240128"/>
              <a:gd name="csX42" fmla="*/ 233274 w 697572"/>
              <a:gd name="csY42" fmla="*/ 333513 h 1240128"/>
              <a:gd name="csX43" fmla="*/ 229677 w 697572"/>
              <a:gd name="csY43" fmla="*/ 333922 h 1240128"/>
              <a:gd name="csX44" fmla="*/ 230149 w 697572"/>
              <a:gd name="csY44" fmla="*/ 332979 h 1240128"/>
              <a:gd name="csX45" fmla="*/ 227053 w 697572"/>
              <a:gd name="csY45" fmla="*/ 327076 h 1240128"/>
              <a:gd name="csX46" fmla="*/ 196769 w 697572"/>
              <a:gd name="csY46" fmla="*/ 291380 h 1240128"/>
              <a:gd name="csX47" fmla="*/ 184389 w 697572"/>
              <a:gd name="csY47" fmla="*/ 264042 h 1240128"/>
              <a:gd name="csX48" fmla="*/ 180630 w 697572"/>
              <a:gd name="csY48" fmla="*/ 257839 h 1240128"/>
              <a:gd name="csX49" fmla="*/ 176231 w 697572"/>
              <a:gd name="csY49" fmla="*/ 250643 h 1240128"/>
              <a:gd name="csX50" fmla="*/ 170073 w 697572"/>
              <a:gd name="csY50" fmla="*/ 146723 h 1240128"/>
              <a:gd name="csX51" fmla="*/ 180929 w 697572"/>
              <a:gd name="csY51" fmla="*/ 114280 h 1240128"/>
              <a:gd name="csX52" fmla="*/ 180839 w 697572"/>
              <a:gd name="csY52" fmla="*/ 101501 h 1240128"/>
              <a:gd name="csX53" fmla="*/ 233536 w 697572"/>
              <a:gd name="csY53" fmla="*/ 39653 h 1240128"/>
              <a:gd name="csX54" fmla="*/ 347618 w 697572"/>
              <a:gd name="csY54" fmla="*/ 35 h 1240128"/>
              <a:gd name="csX55" fmla="*/ 437139 w 697572"/>
              <a:gd name="csY55" fmla="*/ 22396 h 1240128"/>
              <a:gd name="csX56" fmla="*/ 529052 w 697572"/>
              <a:gd name="csY56" fmla="*/ 131093 h 1240128"/>
              <a:gd name="csX57" fmla="*/ 518497 w 697572"/>
              <a:gd name="csY57" fmla="*/ 271517 h 1240128"/>
              <a:gd name="csX58" fmla="*/ 500808 w 697572"/>
              <a:gd name="csY58" fmla="*/ 287385 h 1240128"/>
              <a:gd name="csX59" fmla="*/ 472948 w 697572"/>
              <a:gd name="csY59" fmla="*/ 323290 h 1240128"/>
              <a:gd name="csX60" fmla="*/ 469385 w 697572"/>
              <a:gd name="csY60" fmla="*/ 331565 h 1240128"/>
              <a:gd name="csX61" fmla="*/ 468293 w 697572"/>
              <a:gd name="csY61" fmla="*/ 331320 h 1240128"/>
              <a:gd name="csX62" fmla="*/ 459542 w 697572"/>
              <a:gd name="csY62" fmla="*/ 338942 h 1240128"/>
              <a:gd name="csX63" fmla="*/ 458492 w 697572"/>
              <a:gd name="csY63" fmla="*/ 338671 h 1240128"/>
              <a:gd name="csX64" fmla="*/ 436978 w 697572"/>
              <a:gd name="csY64" fmla="*/ 352226 h 1240128"/>
              <a:gd name="csX65" fmla="*/ 472329 w 697572"/>
              <a:gd name="csY65" fmla="*/ 362890 h 1240128"/>
              <a:gd name="csX66" fmla="*/ 523779 w 697572"/>
              <a:gd name="csY66" fmla="*/ 391962 h 1240128"/>
              <a:gd name="csX67" fmla="*/ 527344 w 697572"/>
              <a:gd name="csY67" fmla="*/ 430096 h 1240128"/>
              <a:gd name="csX68" fmla="*/ 504112 w 697572"/>
              <a:gd name="csY68" fmla="*/ 449628 h 1240128"/>
              <a:gd name="csX69" fmla="*/ 459430 w 697572"/>
              <a:gd name="csY69" fmla="*/ 461116 h 1240128"/>
              <a:gd name="csX70" fmla="*/ 446666 w 697572"/>
              <a:gd name="csY70" fmla="*/ 474229 h 1240128"/>
              <a:gd name="csX71" fmla="*/ 449133 w 697572"/>
              <a:gd name="csY71" fmla="*/ 531639 h 1240128"/>
              <a:gd name="csX72" fmla="*/ 454546 w 697572"/>
              <a:gd name="csY72" fmla="*/ 588688 h 1240128"/>
              <a:gd name="csX73" fmla="*/ 466126 w 697572"/>
              <a:gd name="csY73" fmla="*/ 649736 h 1240128"/>
              <a:gd name="csX74" fmla="*/ 512154 w 697572"/>
              <a:gd name="csY74" fmla="*/ 794006 h 1240128"/>
              <a:gd name="csX75" fmla="*/ 525763 w 697572"/>
              <a:gd name="csY75" fmla="*/ 834323 h 1240128"/>
              <a:gd name="csX76" fmla="*/ 530555 w 697572"/>
              <a:gd name="csY76" fmla="*/ 845114 h 1240128"/>
              <a:gd name="csX77" fmla="*/ 554424 w 697572"/>
              <a:gd name="csY77" fmla="*/ 856618 h 1240128"/>
              <a:gd name="csX78" fmla="*/ 572880 w 697572"/>
              <a:gd name="csY78" fmla="*/ 862546 h 1240128"/>
              <a:gd name="csX79" fmla="*/ 578643 w 697572"/>
              <a:gd name="csY79" fmla="*/ 880396 h 1240128"/>
              <a:gd name="csX80" fmla="*/ 572188 w 697572"/>
              <a:gd name="csY80" fmla="*/ 899820 h 1240128"/>
              <a:gd name="csX81" fmla="*/ 582698 w 697572"/>
              <a:gd name="csY81" fmla="*/ 930382 h 1240128"/>
              <a:gd name="csX82" fmla="*/ 604747 w 697572"/>
              <a:gd name="csY82" fmla="*/ 960852 h 1240128"/>
              <a:gd name="csX83" fmla="*/ 613863 w 697572"/>
              <a:gd name="csY83" fmla="*/ 968311 h 1240128"/>
              <a:gd name="csX84" fmla="*/ 629435 w 697572"/>
              <a:gd name="csY84" fmla="*/ 981186 h 1240128"/>
              <a:gd name="csX85" fmla="*/ 633611 w 697572"/>
              <a:gd name="csY85" fmla="*/ 985609 h 1240128"/>
              <a:gd name="csX86" fmla="*/ 673790 w 697572"/>
              <a:gd name="csY86" fmla="*/ 1049348 h 1240128"/>
              <a:gd name="csX87" fmla="*/ 675873 w 697572"/>
              <a:gd name="csY87" fmla="*/ 1092839 h 1240128"/>
              <a:gd name="csX88" fmla="*/ 681668 w 697572"/>
              <a:gd name="csY88" fmla="*/ 1129292 h 1240128"/>
              <a:gd name="csX89" fmla="*/ 697338 w 697572"/>
              <a:gd name="csY89" fmla="*/ 1196079 h 1240128"/>
              <a:gd name="csX90" fmla="*/ 690637 w 697572"/>
              <a:gd name="csY90" fmla="*/ 1205035 h 1240128"/>
              <a:gd name="csX91" fmla="*/ 639777 w 697572"/>
              <a:gd name="csY91" fmla="*/ 1217994 h 1240128"/>
              <a:gd name="csX92" fmla="*/ 587072 w 697572"/>
              <a:gd name="csY92" fmla="*/ 1227761 h 1240128"/>
              <a:gd name="csX93" fmla="*/ 581793 w 697572"/>
              <a:gd name="csY93" fmla="*/ 1234401 h 1240128"/>
              <a:gd name="csX94" fmla="*/ 357446 w 697572"/>
              <a:gd name="csY94" fmla="*/ 903795 h 1240128"/>
              <a:gd name="csX95" fmla="*/ 344445 w 697572"/>
              <a:gd name="csY95" fmla="*/ 903795 h 1240128"/>
              <a:gd name="csX96" fmla="*/ 349212 w 697572"/>
              <a:gd name="csY96" fmla="*/ 950515 h 1240128"/>
              <a:gd name="csX97" fmla="*/ 349538 w 697572"/>
              <a:gd name="csY97" fmla="*/ 1069392 h 1240128"/>
              <a:gd name="csX98" fmla="*/ 349415 w 697572"/>
              <a:gd name="csY98" fmla="*/ 1108925 h 1240128"/>
              <a:gd name="csX99" fmla="*/ 647726 w 697572"/>
              <a:gd name="csY99" fmla="*/ 1089872 h 1240128"/>
              <a:gd name="csX100" fmla="*/ 647654 w 697572"/>
              <a:gd name="csY100" fmla="*/ 1076267 h 1240128"/>
              <a:gd name="csX101" fmla="*/ 610267 w 697572"/>
              <a:gd name="csY101" fmla="*/ 994126 h 1240128"/>
              <a:gd name="csX102" fmla="*/ 571459 w 697572"/>
              <a:gd name="csY102" fmla="*/ 956568 h 1240128"/>
              <a:gd name="csX103" fmla="*/ 541653 w 697572"/>
              <a:gd name="csY103" fmla="*/ 901544 h 1240128"/>
              <a:gd name="csX104" fmla="*/ 539477 w 697572"/>
              <a:gd name="csY104" fmla="*/ 895908 h 1240128"/>
              <a:gd name="csX105" fmla="*/ 357446 w 697572"/>
              <a:gd name="csY105" fmla="*/ 903795 h 1240128"/>
              <a:gd name="csX106" fmla="*/ 300108 w 697572"/>
              <a:gd name="csY106" fmla="*/ 85260 h 1240128"/>
              <a:gd name="csX107" fmla="*/ 290213 w 697572"/>
              <a:gd name="csY107" fmla="*/ 127888 h 1240128"/>
              <a:gd name="csX108" fmla="*/ 331056 w 697572"/>
              <a:gd name="csY108" fmla="*/ 214168 h 1240128"/>
              <a:gd name="csX109" fmla="*/ 424717 w 697572"/>
              <a:gd name="csY109" fmla="*/ 245160 h 1240128"/>
              <a:gd name="csX110" fmla="*/ 496752 w 697572"/>
              <a:gd name="csY110" fmla="*/ 141256 h 1240128"/>
              <a:gd name="csX111" fmla="*/ 390320 w 697572"/>
              <a:gd name="csY111" fmla="*/ 43995 h 1240128"/>
              <a:gd name="csX112" fmla="*/ 300108 w 697572"/>
              <a:gd name="csY112" fmla="*/ 85260 h 1240128"/>
              <a:gd name="csX113" fmla="*/ 343360 w 697572"/>
              <a:gd name="csY113" fmla="*/ 634332 h 1240128"/>
              <a:gd name="csX114" fmla="*/ 340877 w 697572"/>
              <a:gd name="csY114" fmla="*/ 732259 h 1240128"/>
              <a:gd name="csX115" fmla="*/ 338360 w 697572"/>
              <a:gd name="csY115" fmla="*/ 810538 h 1240128"/>
              <a:gd name="csX116" fmla="*/ 337115 w 697572"/>
              <a:gd name="csY116" fmla="*/ 817736 h 1240128"/>
              <a:gd name="csX117" fmla="*/ 336516 w 697572"/>
              <a:gd name="csY117" fmla="*/ 863022 h 1240128"/>
              <a:gd name="csX118" fmla="*/ 343436 w 697572"/>
              <a:gd name="csY118" fmla="*/ 864027 h 1240128"/>
              <a:gd name="csX119" fmla="*/ 406718 w 697572"/>
              <a:gd name="csY119" fmla="*/ 862982 h 1240128"/>
              <a:gd name="csX120" fmla="*/ 456888 w 697572"/>
              <a:gd name="csY120" fmla="*/ 861794 h 1240128"/>
              <a:gd name="csX121" fmla="*/ 495873 w 697572"/>
              <a:gd name="csY121" fmla="*/ 863963 h 1240128"/>
              <a:gd name="csX122" fmla="*/ 509286 w 697572"/>
              <a:gd name="csY122" fmla="*/ 863595 h 1240128"/>
              <a:gd name="csX123" fmla="*/ 516956 w 697572"/>
              <a:gd name="csY123" fmla="*/ 856791 h 1240128"/>
              <a:gd name="csX124" fmla="*/ 513920 w 697572"/>
              <a:gd name="csY124" fmla="*/ 848709 h 1240128"/>
              <a:gd name="csX125" fmla="*/ 506683 w 697572"/>
              <a:gd name="csY125" fmla="*/ 839054 h 1240128"/>
              <a:gd name="csX126" fmla="*/ 488629 w 697572"/>
              <a:gd name="csY126" fmla="*/ 799037 h 1240128"/>
              <a:gd name="csX127" fmla="*/ 456922 w 697572"/>
              <a:gd name="csY127" fmla="*/ 696297 h 1240128"/>
              <a:gd name="csX128" fmla="*/ 441346 w 697572"/>
              <a:gd name="csY128" fmla="*/ 619885 h 1240128"/>
              <a:gd name="csX129" fmla="*/ 435963 w 697572"/>
              <a:gd name="csY129" fmla="*/ 582529 h 1240128"/>
              <a:gd name="csX130" fmla="*/ 429497 w 697572"/>
              <a:gd name="csY130" fmla="*/ 521990 h 1240128"/>
              <a:gd name="csX131" fmla="*/ 426887 w 697572"/>
              <a:gd name="csY131" fmla="*/ 471989 h 1240128"/>
              <a:gd name="csX132" fmla="*/ 413744 w 697572"/>
              <a:gd name="csY132" fmla="*/ 461077 h 1240128"/>
              <a:gd name="csX133" fmla="*/ 353573 w 697572"/>
              <a:gd name="csY133" fmla="*/ 461120 h 1240128"/>
              <a:gd name="csX134" fmla="*/ 344160 w 697572"/>
              <a:gd name="csY134" fmla="*/ 462286 h 1240128"/>
              <a:gd name="csX135" fmla="*/ 343404 w 697572"/>
              <a:gd name="csY135" fmla="*/ 469192 h 1240128"/>
              <a:gd name="csX136" fmla="*/ 343469 w 697572"/>
              <a:gd name="csY136" fmla="*/ 574797 h 1240128"/>
              <a:gd name="csX137" fmla="*/ 345522 w 697572"/>
              <a:gd name="csY137" fmla="*/ 591669 h 1240128"/>
              <a:gd name="csX138" fmla="*/ 343360 w 697572"/>
              <a:gd name="csY138" fmla="*/ 634332 h 1240128"/>
              <a:gd name="csX139" fmla="*/ 416946 w 697572"/>
              <a:gd name="csY139" fmla="*/ 385943 h 1240128"/>
              <a:gd name="csX140" fmla="*/ 401091 w 697572"/>
              <a:gd name="csY140" fmla="*/ 387162 h 1240128"/>
              <a:gd name="csX141" fmla="*/ 369218 w 697572"/>
              <a:gd name="csY141" fmla="*/ 387708 h 1240128"/>
              <a:gd name="csX142" fmla="*/ 351833 w 697572"/>
              <a:gd name="csY142" fmla="*/ 398991 h 1240128"/>
              <a:gd name="csX143" fmla="*/ 349778 w 697572"/>
              <a:gd name="csY143" fmla="*/ 426021 h 1240128"/>
              <a:gd name="csX144" fmla="*/ 361839 w 697572"/>
              <a:gd name="csY144" fmla="*/ 426538 h 1240128"/>
              <a:gd name="csX145" fmla="*/ 455022 w 697572"/>
              <a:gd name="csY145" fmla="*/ 426922 h 1240128"/>
              <a:gd name="csX146" fmla="*/ 481958 w 697572"/>
              <a:gd name="csY146" fmla="*/ 426527 h 1240128"/>
              <a:gd name="csX147" fmla="*/ 499817 w 697572"/>
              <a:gd name="csY147" fmla="*/ 419888 h 1240128"/>
              <a:gd name="csX148" fmla="*/ 499439 w 697572"/>
              <a:gd name="csY148" fmla="*/ 400719 h 1240128"/>
              <a:gd name="csX149" fmla="*/ 468062 w 697572"/>
              <a:gd name="csY149" fmla="*/ 387775 h 1240128"/>
              <a:gd name="csX150" fmla="*/ 416946 w 697572"/>
              <a:gd name="csY150" fmla="*/ 385943 h 1240128"/>
              <a:gd name="csX151" fmla="*/ 636802 w 697572"/>
              <a:gd name="csY151" fmla="*/ 1190940 h 1240128"/>
              <a:gd name="csX152" fmla="*/ 666492 w 697572"/>
              <a:gd name="csY152" fmla="*/ 1184186 h 1240128"/>
              <a:gd name="csX153" fmla="*/ 674465 w 697572"/>
              <a:gd name="csY153" fmla="*/ 1170880 h 1240128"/>
              <a:gd name="csX154" fmla="*/ 662462 w 697572"/>
              <a:gd name="csY154" fmla="*/ 1141464 h 1240128"/>
              <a:gd name="csX155" fmla="*/ 645564 w 697572"/>
              <a:gd name="csY155" fmla="*/ 1131937 h 1240128"/>
              <a:gd name="csX156" fmla="*/ 627387 w 697572"/>
              <a:gd name="csY156" fmla="*/ 1133618 h 1240128"/>
              <a:gd name="csX157" fmla="*/ 583917 w 697572"/>
              <a:gd name="csY157" fmla="*/ 1139222 h 1240128"/>
              <a:gd name="csX158" fmla="*/ 543741 w 697572"/>
              <a:gd name="csY158" fmla="*/ 1141869 h 1240128"/>
              <a:gd name="csX159" fmla="*/ 512146 w 697572"/>
              <a:gd name="csY159" fmla="*/ 1144418 h 1240128"/>
              <a:gd name="csX160" fmla="*/ 447711 w 697572"/>
              <a:gd name="csY160" fmla="*/ 1148973 h 1240128"/>
              <a:gd name="csX161" fmla="*/ 351979 w 697572"/>
              <a:gd name="csY161" fmla="*/ 1149200 h 1240128"/>
              <a:gd name="csX162" fmla="*/ 338443 w 697572"/>
              <a:gd name="csY162" fmla="*/ 1150040 h 1240128"/>
              <a:gd name="csX163" fmla="*/ 338451 w 697572"/>
              <a:gd name="csY163" fmla="*/ 1190780 h 1240128"/>
              <a:gd name="csX164" fmla="*/ 351082 w 697572"/>
              <a:gd name="csY164" fmla="*/ 1207015 h 1240128"/>
              <a:gd name="csX165" fmla="*/ 358298 w 697572"/>
              <a:gd name="csY165" fmla="*/ 1208094 h 1240128"/>
              <a:gd name="csX166" fmla="*/ 521229 w 697572"/>
              <a:gd name="csY166" fmla="*/ 1205646 h 1240128"/>
              <a:gd name="csX167" fmla="*/ 523675 w 697572"/>
              <a:gd name="csY167" fmla="*/ 1205490 h 1240128"/>
              <a:gd name="csX168" fmla="*/ 580423 w 697572"/>
              <a:gd name="csY168" fmla="*/ 1198350 h 1240128"/>
              <a:gd name="csX169" fmla="*/ 636802 w 697572"/>
              <a:gd name="csY169" fmla="*/ 1190940 h 124012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</a:cxnLst>
            <a:rect l="l" t="t" r="r" b="b"/>
            <a:pathLst>
              <a:path w="697572" h="1240128">
                <a:moveTo>
                  <a:pt x="581793" y="1234401"/>
                </a:moveTo>
                <a:cubicBezTo>
                  <a:pt x="580693" y="1234661"/>
                  <a:pt x="579594" y="1234922"/>
                  <a:pt x="577427" y="1234156"/>
                </a:cubicBezTo>
                <a:cubicBezTo>
                  <a:pt x="571216" y="1227899"/>
                  <a:pt x="564912" y="1230441"/>
                  <a:pt x="559133" y="1230909"/>
                </a:cubicBezTo>
                <a:cubicBezTo>
                  <a:pt x="544971" y="1232056"/>
                  <a:pt x="530869" y="1233971"/>
                  <a:pt x="516706" y="1235117"/>
                </a:cubicBezTo>
                <a:cubicBezTo>
                  <a:pt x="502910" y="1236232"/>
                  <a:pt x="489077" y="1237097"/>
                  <a:pt x="475244" y="1237506"/>
                </a:cubicBezTo>
                <a:cubicBezTo>
                  <a:pt x="440539" y="1238535"/>
                  <a:pt x="405696" y="1241458"/>
                  <a:pt x="371154" y="1239428"/>
                </a:cubicBezTo>
                <a:cubicBezTo>
                  <a:pt x="339645" y="1237575"/>
                  <a:pt x="308239" y="1238753"/>
                  <a:pt x="276813" y="1237654"/>
                </a:cubicBezTo>
                <a:cubicBezTo>
                  <a:pt x="273949" y="1237553"/>
                  <a:pt x="271079" y="1237652"/>
                  <a:pt x="268212" y="1237635"/>
                </a:cubicBezTo>
                <a:cubicBezTo>
                  <a:pt x="266165" y="1237623"/>
                  <a:pt x="264111" y="1237668"/>
                  <a:pt x="262072" y="1237523"/>
                </a:cubicBezTo>
                <a:cubicBezTo>
                  <a:pt x="239751" y="1235944"/>
                  <a:pt x="217441" y="1234201"/>
                  <a:pt x="195111" y="1232775"/>
                </a:cubicBezTo>
                <a:cubicBezTo>
                  <a:pt x="178437" y="1231710"/>
                  <a:pt x="161712" y="1231378"/>
                  <a:pt x="145060" y="1230076"/>
                </a:cubicBezTo>
                <a:cubicBezTo>
                  <a:pt x="134969" y="1229287"/>
                  <a:pt x="124987" y="1227177"/>
                  <a:pt x="114933" y="1225832"/>
                </a:cubicBezTo>
                <a:cubicBezTo>
                  <a:pt x="100834" y="1223946"/>
                  <a:pt x="86554" y="1223022"/>
                  <a:pt x="72642" y="1220237"/>
                </a:cubicBezTo>
                <a:cubicBezTo>
                  <a:pt x="51920" y="1216091"/>
                  <a:pt x="31443" y="1210723"/>
                  <a:pt x="10894" y="1205737"/>
                </a:cubicBezTo>
                <a:cubicBezTo>
                  <a:pt x="9027" y="1205284"/>
                  <a:pt x="6196" y="1204140"/>
                  <a:pt x="5856" y="1202799"/>
                </a:cubicBezTo>
                <a:cubicBezTo>
                  <a:pt x="3474" y="1193418"/>
                  <a:pt x="-438" y="1183796"/>
                  <a:pt x="40" y="1174450"/>
                </a:cubicBezTo>
                <a:cubicBezTo>
                  <a:pt x="1079" y="1154149"/>
                  <a:pt x="9757" y="1135843"/>
                  <a:pt x="19831" y="1118410"/>
                </a:cubicBezTo>
                <a:cubicBezTo>
                  <a:pt x="21968" y="1114713"/>
                  <a:pt x="22970" y="1111858"/>
                  <a:pt x="22004" y="1107240"/>
                </a:cubicBezTo>
                <a:cubicBezTo>
                  <a:pt x="17168" y="1084118"/>
                  <a:pt x="17717" y="1061168"/>
                  <a:pt x="25947" y="1038650"/>
                </a:cubicBezTo>
                <a:cubicBezTo>
                  <a:pt x="32954" y="1019481"/>
                  <a:pt x="44478" y="1003118"/>
                  <a:pt x="58234" y="988567"/>
                </a:cubicBezTo>
                <a:cubicBezTo>
                  <a:pt x="77769" y="967902"/>
                  <a:pt x="97978" y="947832"/>
                  <a:pt x="118645" y="928298"/>
                </a:cubicBezTo>
                <a:cubicBezTo>
                  <a:pt x="130104" y="917467"/>
                  <a:pt x="131835" y="905961"/>
                  <a:pt x="126320" y="892015"/>
                </a:cubicBezTo>
                <a:cubicBezTo>
                  <a:pt x="123798" y="885637"/>
                  <a:pt x="122123" y="878904"/>
                  <a:pt x="120345" y="872258"/>
                </a:cubicBezTo>
                <a:cubicBezTo>
                  <a:pt x="119029" y="867341"/>
                  <a:pt x="120162" y="863613"/>
                  <a:pt x="125668" y="861640"/>
                </a:cubicBezTo>
                <a:cubicBezTo>
                  <a:pt x="135266" y="858201"/>
                  <a:pt x="144535" y="853788"/>
                  <a:pt x="154237" y="850716"/>
                </a:cubicBezTo>
                <a:cubicBezTo>
                  <a:pt x="161882" y="848296"/>
                  <a:pt x="167110" y="843897"/>
                  <a:pt x="170248" y="836767"/>
                </a:cubicBezTo>
                <a:cubicBezTo>
                  <a:pt x="176168" y="823316"/>
                  <a:pt x="182193" y="809907"/>
                  <a:pt x="187840" y="796341"/>
                </a:cubicBezTo>
                <a:cubicBezTo>
                  <a:pt x="195194" y="778679"/>
                  <a:pt x="202250" y="760894"/>
                  <a:pt x="209346" y="743126"/>
                </a:cubicBezTo>
                <a:cubicBezTo>
                  <a:pt x="210083" y="741280"/>
                  <a:pt x="210252" y="739200"/>
                  <a:pt x="210630" y="737219"/>
                </a:cubicBezTo>
                <a:cubicBezTo>
                  <a:pt x="211694" y="731645"/>
                  <a:pt x="212425" y="725987"/>
                  <a:pt x="213836" y="720505"/>
                </a:cubicBezTo>
                <a:cubicBezTo>
                  <a:pt x="218406" y="702764"/>
                  <a:pt x="223811" y="685219"/>
                  <a:pt x="227791" y="667353"/>
                </a:cubicBezTo>
                <a:cubicBezTo>
                  <a:pt x="232826" y="644755"/>
                  <a:pt x="237367" y="622009"/>
                  <a:pt x="241013" y="599151"/>
                </a:cubicBezTo>
                <a:cubicBezTo>
                  <a:pt x="244018" y="580319"/>
                  <a:pt x="246001" y="561272"/>
                  <a:pt x="247322" y="542242"/>
                </a:cubicBezTo>
                <a:cubicBezTo>
                  <a:pt x="248312" y="527975"/>
                  <a:pt x="246344" y="513451"/>
                  <a:pt x="247948" y="499296"/>
                </a:cubicBezTo>
                <a:cubicBezTo>
                  <a:pt x="249066" y="489432"/>
                  <a:pt x="247923" y="480014"/>
                  <a:pt x="247577" y="470384"/>
                </a:cubicBezTo>
                <a:cubicBezTo>
                  <a:pt x="247364" y="464453"/>
                  <a:pt x="245121" y="461397"/>
                  <a:pt x="238877" y="460987"/>
                </a:cubicBezTo>
                <a:cubicBezTo>
                  <a:pt x="233224" y="460615"/>
                  <a:pt x="227461" y="459920"/>
                  <a:pt x="222040" y="458353"/>
                </a:cubicBezTo>
                <a:cubicBezTo>
                  <a:pt x="203991" y="453134"/>
                  <a:pt x="185737" y="448229"/>
                  <a:pt x="172193" y="433714"/>
                </a:cubicBezTo>
                <a:cubicBezTo>
                  <a:pt x="162702" y="423544"/>
                  <a:pt x="160887" y="408134"/>
                  <a:pt x="168410" y="396591"/>
                </a:cubicBezTo>
                <a:cubicBezTo>
                  <a:pt x="178294" y="381428"/>
                  <a:pt x="193736" y="373793"/>
                  <a:pt x="209826" y="367773"/>
                </a:cubicBezTo>
                <a:cubicBezTo>
                  <a:pt x="223159" y="362784"/>
                  <a:pt x="237124" y="359493"/>
                  <a:pt x="250732" y="355208"/>
                </a:cubicBezTo>
                <a:cubicBezTo>
                  <a:pt x="253085" y="354467"/>
                  <a:pt x="255058" y="352518"/>
                  <a:pt x="258289" y="350426"/>
                </a:cubicBezTo>
                <a:cubicBezTo>
                  <a:pt x="250173" y="342610"/>
                  <a:pt x="241833" y="337880"/>
                  <a:pt x="233274" y="333513"/>
                </a:cubicBezTo>
                <a:cubicBezTo>
                  <a:pt x="232377" y="333055"/>
                  <a:pt x="230890" y="333758"/>
                  <a:pt x="229677" y="333922"/>
                </a:cubicBezTo>
                <a:cubicBezTo>
                  <a:pt x="229677" y="333922"/>
                  <a:pt x="230323" y="333834"/>
                  <a:pt x="230149" y="332979"/>
                </a:cubicBezTo>
                <a:cubicBezTo>
                  <a:pt x="229023" y="330409"/>
                  <a:pt x="228502" y="328059"/>
                  <a:pt x="227053" y="327076"/>
                </a:cubicBezTo>
                <a:cubicBezTo>
                  <a:pt x="213615" y="317962"/>
                  <a:pt x="204643" y="305332"/>
                  <a:pt x="196769" y="291380"/>
                </a:cubicBezTo>
                <a:cubicBezTo>
                  <a:pt x="191792" y="282564"/>
                  <a:pt x="185421" y="274665"/>
                  <a:pt x="184389" y="264042"/>
                </a:cubicBezTo>
                <a:cubicBezTo>
                  <a:pt x="184179" y="261874"/>
                  <a:pt x="181925" y="259908"/>
                  <a:pt x="180630" y="257839"/>
                </a:cubicBezTo>
                <a:cubicBezTo>
                  <a:pt x="179137" y="255454"/>
                  <a:pt x="177317" y="253204"/>
                  <a:pt x="176231" y="250643"/>
                </a:cubicBezTo>
                <a:cubicBezTo>
                  <a:pt x="161865" y="216749"/>
                  <a:pt x="159606" y="182060"/>
                  <a:pt x="170073" y="146723"/>
                </a:cubicBezTo>
                <a:cubicBezTo>
                  <a:pt x="173311" y="135795"/>
                  <a:pt x="177248" y="125074"/>
                  <a:pt x="180929" y="114280"/>
                </a:cubicBezTo>
                <a:cubicBezTo>
                  <a:pt x="182396" y="109981"/>
                  <a:pt x="183922" y="105742"/>
                  <a:pt x="180839" y="101501"/>
                </a:cubicBezTo>
                <a:cubicBezTo>
                  <a:pt x="192473" y="75833"/>
                  <a:pt x="211344" y="56271"/>
                  <a:pt x="233536" y="39653"/>
                </a:cubicBezTo>
                <a:cubicBezTo>
                  <a:pt x="267321" y="14353"/>
                  <a:pt x="305621" y="873"/>
                  <a:pt x="347618" y="35"/>
                </a:cubicBezTo>
                <a:cubicBezTo>
                  <a:pt x="379125" y="-593"/>
                  <a:pt x="409214" y="7172"/>
                  <a:pt x="437139" y="22396"/>
                </a:cubicBezTo>
                <a:cubicBezTo>
                  <a:pt x="481844" y="46766"/>
                  <a:pt x="514077" y="82116"/>
                  <a:pt x="529052" y="131093"/>
                </a:cubicBezTo>
                <a:cubicBezTo>
                  <a:pt x="543544" y="178495"/>
                  <a:pt x="541630" y="225548"/>
                  <a:pt x="518497" y="271517"/>
                </a:cubicBezTo>
                <a:cubicBezTo>
                  <a:pt x="511428" y="277096"/>
                  <a:pt x="503848" y="281136"/>
                  <a:pt x="500808" y="287385"/>
                </a:cubicBezTo>
                <a:cubicBezTo>
                  <a:pt x="493932" y="301522"/>
                  <a:pt x="483805" y="312513"/>
                  <a:pt x="472948" y="323290"/>
                </a:cubicBezTo>
                <a:cubicBezTo>
                  <a:pt x="470972" y="325253"/>
                  <a:pt x="470533" y="328767"/>
                  <a:pt x="469385" y="331565"/>
                </a:cubicBezTo>
                <a:cubicBezTo>
                  <a:pt x="469385" y="331565"/>
                  <a:pt x="469172" y="331584"/>
                  <a:pt x="468293" y="331320"/>
                </a:cubicBezTo>
                <a:cubicBezTo>
                  <a:pt x="461937" y="330836"/>
                  <a:pt x="458618" y="332772"/>
                  <a:pt x="459542" y="338942"/>
                </a:cubicBezTo>
                <a:cubicBezTo>
                  <a:pt x="459542" y="338942"/>
                  <a:pt x="459473" y="338913"/>
                  <a:pt x="458492" y="338671"/>
                </a:cubicBezTo>
                <a:cubicBezTo>
                  <a:pt x="450936" y="342653"/>
                  <a:pt x="440712" y="341355"/>
                  <a:pt x="436978" y="352226"/>
                </a:cubicBezTo>
                <a:cubicBezTo>
                  <a:pt x="449178" y="355911"/>
                  <a:pt x="460733" y="359469"/>
                  <a:pt x="472329" y="362890"/>
                </a:cubicBezTo>
                <a:cubicBezTo>
                  <a:pt x="491728" y="368613"/>
                  <a:pt x="510182" y="375784"/>
                  <a:pt x="523779" y="391962"/>
                </a:cubicBezTo>
                <a:cubicBezTo>
                  <a:pt x="535849" y="406326"/>
                  <a:pt x="534845" y="420076"/>
                  <a:pt x="527344" y="430096"/>
                </a:cubicBezTo>
                <a:cubicBezTo>
                  <a:pt x="521323" y="438139"/>
                  <a:pt x="513928" y="445333"/>
                  <a:pt x="504112" y="449628"/>
                </a:cubicBezTo>
                <a:cubicBezTo>
                  <a:pt x="489776" y="455901"/>
                  <a:pt x="475173" y="460486"/>
                  <a:pt x="459430" y="461116"/>
                </a:cubicBezTo>
                <a:cubicBezTo>
                  <a:pt x="448415" y="461557"/>
                  <a:pt x="446384" y="463369"/>
                  <a:pt x="446666" y="474229"/>
                </a:cubicBezTo>
                <a:cubicBezTo>
                  <a:pt x="447164" y="493376"/>
                  <a:pt x="447839" y="512533"/>
                  <a:pt x="449133" y="531639"/>
                </a:cubicBezTo>
                <a:cubicBezTo>
                  <a:pt x="450424" y="550696"/>
                  <a:pt x="451783" y="569809"/>
                  <a:pt x="454546" y="588688"/>
                </a:cubicBezTo>
                <a:cubicBezTo>
                  <a:pt x="457543" y="609164"/>
                  <a:pt x="462165" y="629403"/>
                  <a:pt x="466126" y="649736"/>
                </a:cubicBezTo>
                <a:cubicBezTo>
                  <a:pt x="475845" y="699621"/>
                  <a:pt x="493414" y="746980"/>
                  <a:pt x="512154" y="794006"/>
                </a:cubicBezTo>
                <a:cubicBezTo>
                  <a:pt x="517387" y="807138"/>
                  <a:pt x="525145" y="819463"/>
                  <a:pt x="525763" y="834323"/>
                </a:cubicBezTo>
                <a:cubicBezTo>
                  <a:pt x="525919" y="838081"/>
                  <a:pt x="527739" y="843335"/>
                  <a:pt x="530555" y="845114"/>
                </a:cubicBezTo>
                <a:cubicBezTo>
                  <a:pt x="537981" y="849801"/>
                  <a:pt x="546243" y="853278"/>
                  <a:pt x="554424" y="856618"/>
                </a:cubicBezTo>
                <a:cubicBezTo>
                  <a:pt x="560391" y="859054"/>
                  <a:pt x="567041" y="859887"/>
                  <a:pt x="572880" y="862546"/>
                </a:cubicBezTo>
                <a:cubicBezTo>
                  <a:pt x="581470" y="866458"/>
                  <a:pt x="582467" y="871415"/>
                  <a:pt x="578643" y="880396"/>
                </a:cubicBezTo>
                <a:cubicBezTo>
                  <a:pt x="575969" y="886677"/>
                  <a:pt x="572900" y="893182"/>
                  <a:pt x="572188" y="899820"/>
                </a:cubicBezTo>
                <a:cubicBezTo>
                  <a:pt x="570960" y="911271"/>
                  <a:pt x="576506" y="920944"/>
                  <a:pt x="582698" y="930382"/>
                </a:cubicBezTo>
                <a:cubicBezTo>
                  <a:pt x="589569" y="940856"/>
                  <a:pt x="600933" y="947930"/>
                  <a:pt x="604747" y="960852"/>
                </a:cubicBezTo>
                <a:cubicBezTo>
                  <a:pt x="605684" y="964030"/>
                  <a:pt x="610294" y="967128"/>
                  <a:pt x="613863" y="968311"/>
                </a:cubicBezTo>
                <a:cubicBezTo>
                  <a:pt x="620963" y="970665"/>
                  <a:pt x="625924" y="974774"/>
                  <a:pt x="629435" y="981186"/>
                </a:cubicBezTo>
                <a:cubicBezTo>
                  <a:pt x="630381" y="982913"/>
                  <a:pt x="631977" y="984459"/>
                  <a:pt x="633611" y="985609"/>
                </a:cubicBezTo>
                <a:cubicBezTo>
                  <a:pt x="655878" y="1001272"/>
                  <a:pt x="668032" y="1023762"/>
                  <a:pt x="673790" y="1049348"/>
                </a:cubicBezTo>
                <a:cubicBezTo>
                  <a:pt x="676936" y="1063327"/>
                  <a:pt x="679769" y="1077802"/>
                  <a:pt x="675873" y="1092839"/>
                </a:cubicBezTo>
                <a:cubicBezTo>
                  <a:pt x="672677" y="1105174"/>
                  <a:pt x="673042" y="1116963"/>
                  <a:pt x="681668" y="1129292"/>
                </a:cubicBezTo>
                <a:cubicBezTo>
                  <a:pt x="695321" y="1148802"/>
                  <a:pt x="698550" y="1172235"/>
                  <a:pt x="697338" y="1196079"/>
                </a:cubicBezTo>
                <a:cubicBezTo>
                  <a:pt x="697087" y="1201014"/>
                  <a:pt x="694979" y="1203886"/>
                  <a:pt x="690637" y="1205035"/>
                </a:cubicBezTo>
                <a:cubicBezTo>
                  <a:pt x="673723" y="1209511"/>
                  <a:pt x="656856" y="1214241"/>
                  <a:pt x="639777" y="1217994"/>
                </a:cubicBezTo>
                <a:cubicBezTo>
                  <a:pt x="622334" y="1221827"/>
                  <a:pt x="604691" y="1224790"/>
                  <a:pt x="587072" y="1227761"/>
                </a:cubicBezTo>
                <a:cubicBezTo>
                  <a:pt x="582708" y="1228497"/>
                  <a:pt x="581724" y="1230736"/>
                  <a:pt x="581793" y="1234401"/>
                </a:cubicBezTo>
                <a:moveTo>
                  <a:pt x="357446" y="903795"/>
                </a:moveTo>
                <a:cubicBezTo>
                  <a:pt x="353141" y="903795"/>
                  <a:pt x="348835" y="903795"/>
                  <a:pt x="344445" y="903795"/>
                </a:cubicBezTo>
                <a:cubicBezTo>
                  <a:pt x="346169" y="920562"/>
                  <a:pt x="347908" y="935520"/>
                  <a:pt x="349212" y="950515"/>
                </a:cubicBezTo>
                <a:cubicBezTo>
                  <a:pt x="352656" y="990125"/>
                  <a:pt x="351941" y="1029743"/>
                  <a:pt x="349538" y="1069392"/>
                </a:cubicBezTo>
                <a:cubicBezTo>
                  <a:pt x="348759" y="1082241"/>
                  <a:pt x="349415" y="1095176"/>
                  <a:pt x="349415" y="1108925"/>
                </a:cubicBezTo>
                <a:cubicBezTo>
                  <a:pt x="449467" y="1111953"/>
                  <a:pt x="548509" y="1104712"/>
                  <a:pt x="647726" y="1089872"/>
                </a:cubicBezTo>
                <a:cubicBezTo>
                  <a:pt x="647726" y="1084313"/>
                  <a:pt x="648180" y="1080225"/>
                  <a:pt x="647654" y="1076267"/>
                </a:cubicBezTo>
                <a:cubicBezTo>
                  <a:pt x="643515" y="1045124"/>
                  <a:pt x="633172" y="1016714"/>
                  <a:pt x="610267" y="994126"/>
                </a:cubicBezTo>
                <a:cubicBezTo>
                  <a:pt x="597451" y="981485"/>
                  <a:pt x="584392" y="969090"/>
                  <a:pt x="571459" y="956568"/>
                </a:cubicBezTo>
                <a:cubicBezTo>
                  <a:pt x="555751" y="941359"/>
                  <a:pt x="544836" y="923558"/>
                  <a:pt x="541653" y="901544"/>
                </a:cubicBezTo>
                <a:cubicBezTo>
                  <a:pt x="541430" y="900007"/>
                  <a:pt x="540528" y="898570"/>
                  <a:pt x="539477" y="895908"/>
                </a:cubicBezTo>
                <a:cubicBezTo>
                  <a:pt x="479736" y="901652"/>
                  <a:pt x="419815" y="904536"/>
                  <a:pt x="357446" y="903795"/>
                </a:cubicBezTo>
                <a:moveTo>
                  <a:pt x="300108" y="85260"/>
                </a:moveTo>
                <a:cubicBezTo>
                  <a:pt x="293656" y="98745"/>
                  <a:pt x="289202" y="113094"/>
                  <a:pt x="290213" y="127888"/>
                </a:cubicBezTo>
                <a:cubicBezTo>
                  <a:pt x="292527" y="161736"/>
                  <a:pt x="304185" y="191723"/>
                  <a:pt x="331056" y="214168"/>
                </a:cubicBezTo>
                <a:cubicBezTo>
                  <a:pt x="358172" y="236816"/>
                  <a:pt x="388435" y="249934"/>
                  <a:pt x="424717" y="245160"/>
                </a:cubicBezTo>
                <a:cubicBezTo>
                  <a:pt x="468593" y="239387"/>
                  <a:pt x="509574" y="203365"/>
                  <a:pt x="496752" y="141256"/>
                </a:cubicBezTo>
                <a:cubicBezTo>
                  <a:pt x="487021" y="94124"/>
                  <a:pt x="447261" y="51874"/>
                  <a:pt x="390320" y="43995"/>
                </a:cubicBezTo>
                <a:cubicBezTo>
                  <a:pt x="353241" y="38865"/>
                  <a:pt x="321136" y="48750"/>
                  <a:pt x="300108" y="85260"/>
                </a:cubicBezTo>
                <a:moveTo>
                  <a:pt x="343360" y="634332"/>
                </a:moveTo>
                <a:cubicBezTo>
                  <a:pt x="342539" y="666975"/>
                  <a:pt x="341785" y="699619"/>
                  <a:pt x="340877" y="732259"/>
                </a:cubicBezTo>
                <a:cubicBezTo>
                  <a:pt x="340151" y="758355"/>
                  <a:pt x="339265" y="784447"/>
                  <a:pt x="338360" y="810538"/>
                </a:cubicBezTo>
                <a:cubicBezTo>
                  <a:pt x="338277" y="812948"/>
                  <a:pt x="337465" y="815325"/>
                  <a:pt x="337115" y="817736"/>
                </a:cubicBezTo>
                <a:cubicBezTo>
                  <a:pt x="334935" y="832710"/>
                  <a:pt x="336026" y="847647"/>
                  <a:pt x="336516" y="863022"/>
                </a:cubicBezTo>
                <a:cubicBezTo>
                  <a:pt x="339537" y="863479"/>
                  <a:pt x="341490" y="864053"/>
                  <a:pt x="343436" y="864027"/>
                </a:cubicBezTo>
                <a:cubicBezTo>
                  <a:pt x="364531" y="863739"/>
                  <a:pt x="385626" y="863422"/>
                  <a:pt x="406718" y="862982"/>
                </a:cubicBezTo>
                <a:cubicBezTo>
                  <a:pt x="423444" y="862634"/>
                  <a:pt x="440168" y="861675"/>
                  <a:pt x="456888" y="861794"/>
                </a:cubicBezTo>
                <a:cubicBezTo>
                  <a:pt x="469887" y="861886"/>
                  <a:pt x="482872" y="863302"/>
                  <a:pt x="495873" y="863963"/>
                </a:cubicBezTo>
                <a:cubicBezTo>
                  <a:pt x="500358" y="864191"/>
                  <a:pt x="505108" y="864773"/>
                  <a:pt x="509286" y="863595"/>
                </a:cubicBezTo>
                <a:cubicBezTo>
                  <a:pt x="512346" y="862732"/>
                  <a:pt x="515714" y="859703"/>
                  <a:pt x="516956" y="856791"/>
                </a:cubicBezTo>
                <a:cubicBezTo>
                  <a:pt x="517783" y="854851"/>
                  <a:pt x="515475" y="851192"/>
                  <a:pt x="513920" y="848709"/>
                </a:cubicBezTo>
                <a:cubicBezTo>
                  <a:pt x="511791" y="845308"/>
                  <a:pt x="508393" y="842606"/>
                  <a:pt x="506683" y="839054"/>
                </a:cubicBezTo>
                <a:cubicBezTo>
                  <a:pt x="500331" y="825864"/>
                  <a:pt x="493224" y="812855"/>
                  <a:pt x="488629" y="799037"/>
                </a:cubicBezTo>
                <a:cubicBezTo>
                  <a:pt x="477322" y="765031"/>
                  <a:pt x="466537" y="730814"/>
                  <a:pt x="456922" y="696297"/>
                </a:cubicBezTo>
                <a:cubicBezTo>
                  <a:pt x="449953" y="671276"/>
                  <a:pt x="443477" y="646020"/>
                  <a:pt x="441346" y="619885"/>
                </a:cubicBezTo>
                <a:cubicBezTo>
                  <a:pt x="440327" y="607371"/>
                  <a:pt x="437466" y="595018"/>
                  <a:pt x="435963" y="582529"/>
                </a:cubicBezTo>
                <a:cubicBezTo>
                  <a:pt x="433539" y="562380"/>
                  <a:pt x="431154" y="542212"/>
                  <a:pt x="429497" y="521990"/>
                </a:cubicBezTo>
                <a:cubicBezTo>
                  <a:pt x="428135" y="505363"/>
                  <a:pt x="428437" y="488593"/>
                  <a:pt x="426887" y="471989"/>
                </a:cubicBezTo>
                <a:cubicBezTo>
                  <a:pt x="425874" y="461140"/>
                  <a:pt x="424983" y="461120"/>
                  <a:pt x="413744" y="461077"/>
                </a:cubicBezTo>
                <a:cubicBezTo>
                  <a:pt x="393687" y="461000"/>
                  <a:pt x="373630" y="461011"/>
                  <a:pt x="353573" y="461120"/>
                </a:cubicBezTo>
                <a:cubicBezTo>
                  <a:pt x="350472" y="461137"/>
                  <a:pt x="347374" y="461869"/>
                  <a:pt x="344160" y="462286"/>
                </a:cubicBezTo>
                <a:cubicBezTo>
                  <a:pt x="343828" y="465198"/>
                  <a:pt x="343406" y="467195"/>
                  <a:pt x="343404" y="469192"/>
                </a:cubicBezTo>
                <a:cubicBezTo>
                  <a:pt x="343360" y="504394"/>
                  <a:pt x="343267" y="539596"/>
                  <a:pt x="343469" y="574797"/>
                </a:cubicBezTo>
                <a:cubicBezTo>
                  <a:pt x="343501" y="580426"/>
                  <a:pt x="345652" y="586065"/>
                  <a:pt x="345522" y="591669"/>
                </a:cubicBezTo>
                <a:cubicBezTo>
                  <a:pt x="345214" y="605082"/>
                  <a:pt x="344131" y="618478"/>
                  <a:pt x="343360" y="634332"/>
                </a:cubicBezTo>
                <a:moveTo>
                  <a:pt x="416946" y="385943"/>
                </a:moveTo>
                <a:cubicBezTo>
                  <a:pt x="411661" y="386365"/>
                  <a:pt x="406384" y="387006"/>
                  <a:pt x="401091" y="387162"/>
                </a:cubicBezTo>
                <a:cubicBezTo>
                  <a:pt x="390470" y="387477"/>
                  <a:pt x="379841" y="387447"/>
                  <a:pt x="369218" y="387708"/>
                </a:cubicBezTo>
                <a:cubicBezTo>
                  <a:pt x="361167" y="387906"/>
                  <a:pt x="354429" y="391368"/>
                  <a:pt x="351833" y="398991"/>
                </a:cubicBezTo>
                <a:cubicBezTo>
                  <a:pt x="348989" y="407342"/>
                  <a:pt x="347050" y="416214"/>
                  <a:pt x="349778" y="426021"/>
                </a:cubicBezTo>
                <a:cubicBezTo>
                  <a:pt x="353876" y="426204"/>
                  <a:pt x="357857" y="426517"/>
                  <a:pt x="361839" y="426538"/>
                </a:cubicBezTo>
                <a:cubicBezTo>
                  <a:pt x="392900" y="426701"/>
                  <a:pt x="423961" y="426826"/>
                  <a:pt x="455022" y="426922"/>
                </a:cubicBezTo>
                <a:cubicBezTo>
                  <a:pt x="464013" y="426950"/>
                  <a:pt x="473106" y="427654"/>
                  <a:pt x="481958" y="426527"/>
                </a:cubicBezTo>
                <a:cubicBezTo>
                  <a:pt x="488144" y="425740"/>
                  <a:pt x="494821" y="423501"/>
                  <a:pt x="499817" y="419888"/>
                </a:cubicBezTo>
                <a:cubicBezTo>
                  <a:pt x="507869" y="414066"/>
                  <a:pt x="507286" y="406755"/>
                  <a:pt x="499439" y="400719"/>
                </a:cubicBezTo>
                <a:cubicBezTo>
                  <a:pt x="490179" y="393597"/>
                  <a:pt x="479486" y="388885"/>
                  <a:pt x="468062" y="387775"/>
                </a:cubicBezTo>
                <a:cubicBezTo>
                  <a:pt x="451873" y="386202"/>
                  <a:pt x="435520" y="386321"/>
                  <a:pt x="416946" y="385943"/>
                </a:cubicBezTo>
                <a:moveTo>
                  <a:pt x="636802" y="1190940"/>
                </a:moveTo>
                <a:cubicBezTo>
                  <a:pt x="646709" y="1188723"/>
                  <a:pt x="656705" y="1186841"/>
                  <a:pt x="666492" y="1184186"/>
                </a:cubicBezTo>
                <a:cubicBezTo>
                  <a:pt x="674710" y="1181958"/>
                  <a:pt x="676989" y="1178509"/>
                  <a:pt x="674465" y="1170880"/>
                </a:cubicBezTo>
                <a:cubicBezTo>
                  <a:pt x="671144" y="1160843"/>
                  <a:pt x="667026" y="1151009"/>
                  <a:pt x="662462" y="1141464"/>
                </a:cubicBezTo>
                <a:cubicBezTo>
                  <a:pt x="659273" y="1134795"/>
                  <a:pt x="653671" y="1130908"/>
                  <a:pt x="645564" y="1131937"/>
                </a:cubicBezTo>
                <a:cubicBezTo>
                  <a:pt x="639532" y="1132703"/>
                  <a:pt x="633423" y="1132867"/>
                  <a:pt x="627387" y="1133618"/>
                </a:cubicBezTo>
                <a:cubicBezTo>
                  <a:pt x="612888" y="1135421"/>
                  <a:pt x="598449" y="1137770"/>
                  <a:pt x="583917" y="1139222"/>
                </a:cubicBezTo>
                <a:cubicBezTo>
                  <a:pt x="570571" y="1140557"/>
                  <a:pt x="557130" y="1140930"/>
                  <a:pt x="543741" y="1141869"/>
                </a:cubicBezTo>
                <a:cubicBezTo>
                  <a:pt x="533202" y="1142610"/>
                  <a:pt x="522682" y="1143623"/>
                  <a:pt x="512146" y="1144418"/>
                </a:cubicBezTo>
                <a:cubicBezTo>
                  <a:pt x="490671" y="1146038"/>
                  <a:pt x="469214" y="1148450"/>
                  <a:pt x="447711" y="1148973"/>
                </a:cubicBezTo>
                <a:cubicBezTo>
                  <a:pt x="415817" y="1149749"/>
                  <a:pt x="383891" y="1149136"/>
                  <a:pt x="351979" y="1149200"/>
                </a:cubicBezTo>
                <a:cubicBezTo>
                  <a:pt x="347698" y="1149209"/>
                  <a:pt x="343419" y="1149717"/>
                  <a:pt x="338443" y="1150040"/>
                </a:cubicBezTo>
                <a:cubicBezTo>
                  <a:pt x="338443" y="1164651"/>
                  <a:pt x="338413" y="1177715"/>
                  <a:pt x="338451" y="1190780"/>
                </a:cubicBezTo>
                <a:cubicBezTo>
                  <a:pt x="338490" y="1204031"/>
                  <a:pt x="338512" y="1204062"/>
                  <a:pt x="351082" y="1207015"/>
                </a:cubicBezTo>
                <a:cubicBezTo>
                  <a:pt x="353445" y="1207570"/>
                  <a:pt x="355895" y="1208128"/>
                  <a:pt x="358298" y="1208094"/>
                </a:cubicBezTo>
                <a:cubicBezTo>
                  <a:pt x="412608" y="1207329"/>
                  <a:pt x="466919" y="1206484"/>
                  <a:pt x="521229" y="1205646"/>
                </a:cubicBezTo>
                <a:cubicBezTo>
                  <a:pt x="522045" y="1205634"/>
                  <a:pt x="522865" y="1205591"/>
                  <a:pt x="523675" y="1205490"/>
                </a:cubicBezTo>
                <a:cubicBezTo>
                  <a:pt x="542593" y="1203123"/>
                  <a:pt x="561519" y="1200820"/>
                  <a:pt x="580423" y="1198350"/>
                </a:cubicBezTo>
                <a:cubicBezTo>
                  <a:pt x="598523" y="1195985"/>
                  <a:pt x="616599" y="1193446"/>
                  <a:pt x="636802" y="1190940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9" name="Free-form: Shape 38">
            <a:extLst>
              <a:ext uri="{FF2B5EF4-FFF2-40B4-BE49-F238E27FC236}">
                <a16:creationId xmlns:a16="http://schemas.microsoft.com/office/drawing/2014/main" id="{B1B5CA13-C304-A4FE-78C1-8E8778C119F9}"/>
              </a:ext>
            </a:extLst>
          </p:cNvPr>
          <p:cNvSpPr/>
          <p:nvPr/>
        </p:nvSpPr>
        <p:spPr>
          <a:xfrm>
            <a:off x="2174497" y="5715236"/>
            <a:ext cx="22871" cy="2417"/>
          </a:xfrm>
          <a:custGeom>
            <a:avLst/>
            <a:gdLst>
              <a:gd name="csX0" fmla="*/ 0 w 27674"/>
              <a:gd name="csY0" fmla="*/ 2915 h 2925"/>
              <a:gd name="csX1" fmla="*/ 27675 w 27674"/>
              <a:gd name="csY1" fmla="*/ 1550 h 2925"/>
              <a:gd name="csX2" fmla="*/ 0 w 27674"/>
              <a:gd name="csY2" fmla="*/ 2915 h 292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27674" h="2925">
                <a:moveTo>
                  <a:pt x="0" y="2915"/>
                </a:moveTo>
                <a:cubicBezTo>
                  <a:pt x="8211" y="-1939"/>
                  <a:pt x="17625" y="498"/>
                  <a:pt x="27675" y="1550"/>
                </a:cubicBezTo>
                <a:cubicBezTo>
                  <a:pt x="19225" y="2593"/>
                  <a:pt x="10029" y="2999"/>
                  <a:pt x="0" y="2915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" name="Free-form: Shape 39">
            <a:extLst>
              <a:ext uri="{FF2B5EF4-FFF2-40B4-BE49-F238E27FC236}">
                <a16:creationId xmlns:a16="http://schemas.microsoft.com/office/drawing/2014/main" id="{2509858C-95B4-649F-2517-4BE4DDBA70D5}"/>
              </a:ext>
            </a:extLst>
          </p:cNvPr>
          <p:cNvSpPr/>
          <p:nvPr/>
        </p:nvSpPr>
        <p:spPr>
          <a:xfrm>
            <a:off x="2111535" y="5716598"/>
            <a:ext cx="14879" cy="932"/>
          </a:xfrm>
          <a:custGeom>
            <a:avLst/>
            <a:gdLst>
              <a:gd name="csX0" fmla="*/ 0 w 18003"/>
              <a:gd name="csY0" fmla="*/ 1050 h 1128"/>
              <a:gd name="csX1" fmla="*/ 18004 w 18003"/>
              <a:gd name="csY1" fmla="*/ 93 h 1128"/>
              <a:gd name="csX2" fmla="*/ 0 w 18003"/>
              <a:gd name="csY2" fmla="*/ 1050 h 112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8003" h="1128">
                <a:moveTo>
                  <a:pt x="0" y="1050"/>
                </a:moveTo>
                <a:cubicBezTo>
                  <a:pt x="5276" y="182"/>
                  <a:pt x="11306" y="-189"/>
                  <a:pt x="18004" y="93"/>
                </a:cubicBezTo>
                <a:cubicBezTo>
                  <a:pt x="12699" y="1013"/>
                  <a:pt x="6726" y="1280"/>
                  <a:pt x="0" y="1050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1" name="Free-form: Shape 40">
            <a:extLst>
              <a:ext uri="{FF2B5EF4-FFF2-40B4-BE49-F238E27FC236}">
                <a16:creationId xmlns:a16="http://schemas.microsoft.com/office/drawing/2014/main" id="{ED99F9A4-CD2C-8748-6A5A-E1B7CD417A39}"/>
              </a:ext>
            </a:extLst>
          </p:cNvPr>
          <p:cNvSpPr/>
          <p:nvPr/>
        </p:nvSpPr>
        <p:spPr>
          <a:xfrm>
            <a:off x="2219303" y="4962188"/>
            <a:ext cx="6997" cy="6478"/>
          </a:xfrm>
          <a:custGeom>
            <a:avLst/>
            <a:gdLst>
              <a:gd name="csX0" fmla="*/ 473 w 8466"/>
              <a:gd name="csY0" fmla="*/ 7839 h 7838"/>
              <a:gd name="csX1" fmla="*/ 8466 w 8466"/>
              <a:gd name="csY1" fmla="*/ 61 h 7838"/>
              <a:gd name="csX2" fmla="*/ 473 w 8466"/>
              <a:gd name="csY2" fmla="*/ 7839 h 783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66" h="7838">
                <a:moveTo>
                  <a:pt x="473" y="7839"/>
                </a:moveTo>
                <a:cubicBezTo>
                  <a:pt x="-1298" y="1550"/>
                  <a:pt x="2020" y="-386"/>
                  <a:pt x="8466" y="61"/>
                </a:cubicBezTo>
                <a:cubicBezTo>
                  <a:pt x="6730" y="2845"/>
                  <a:pt x="4026" y="5401"/>
                  <a:pt x="473" y="7839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2" name="Free-form: Shape 41">
            <a:extLst>
              <a:ext uri="{FF2B5EF4-FFF2-40B4-BE49-F238E27FC236}">
                <a16:creationId xmlns:a16="http://schemas.microsoft.com/office/drawing/2014/main" id="{8C65739B-44AF-071F-4B71-2A5251F1710E}"/>
              </a:ext>
            </a:extLst>
          </p:cNvPr>
          <p:cNvSpPr/>
          <p:nvPr/>
        </p:nvSpPr>
        <p:spPr>
          <a:xfrm>
            <a:off x="2038292" y="5714583"/>
            <a:ext cx="7008" cy="823"/>
          </a:xfrm>
          <a:custGeom>
            <a:avLst/>
            <a:gdLst>
              <a:gd name="csX0" fmla="*/ 0 w 8480"/>
              <a:gd name="csY0" fmla="*/ 896 h 996"/>
              <a:gd name="csX1" fmla="*/ 8480 w 8480"/>
              <a:gd name="csY1" fmla="*/ 110 h 996"/>
              <a:gd name="csX2" fmla="*/ 0 w 8480"/>
              <a:gd name="csY2" fmla="*/ 896 h 99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80" h="996">
                <a:moveTo>
                  <a:pt x="0" y="896"/>
                </a:moveTo>
                <a:cubicBezTo>
                  <a:pt x="2285" y="115"/>
                  <a:pt x="5130" y="-182"/>
                  <a:pt x="8480" y="110"/>
                </a:cubicBezTo>
                <a:cubicBezTo>
                  <a:pt x="6177" y="927"/>
                  <a:pt x="3368" y="1153"/>
                  <a:pt x="0" y="896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3" name="Free-form: Shape 42">
            <a:extLst>
              <a:ext uri="{FF2B5EF4-FFF2-40B4-BE49-F238E27FC236}">
                <a16:creationId xmlns:a16="http://schemas.microsoft.com/office/drawing/2014/main" id="{662D6059-370A-F1AC-29D4-376D87627C96}"/>
              </a:ext>
            </a:extLst>
          </p:cNvPr>
          <p:cNvSpPr/>
          <p:nvPr/>
        </p:nvSpPr>
        <p:spPr>
          <a:xfrm>
            <a:off x="2419970" y="5679274"/>
            <a:ext cx="1016" cy="5502"/>
          </a:xfrm>
          <a:custGeom>
            <a:avLst/>
            <a:gdLst>
              <a:gd name="csX0" fmla="*/ 132 w 1229"/>
              <a:gd name="csY0" fmla="*/ 6659 h 6658"/>
              <a:gd name="csX1" fmla="*/ 1107 w 1229"/>
              <a:gd name="csY1" fmla="*/ 0 h 6658"/>
              <a:gd name="csX2" fmla="*/ 132 w 1229"/>
              <a:gd name="csY2" fmla="*/ 6659 h 665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229" h="6658">
                <a:moveTo>
                  <a:pt x="132" y="6659"/>
                </a:moveTo>
                <a:cubicBezTo>
                  <a:pt x="-219" y="4616"/>
                  <a:pt x="139" y="2560"/>
                  <a:pt x="1107" y="0"/>
                </a:cubicBezTo>
                <a:cubicBezTo>
                  <a:pt x="1425" y="1879"/>
                  <a:pt x="1133" y="4263"/>
                  <a:pt x="132" y="6659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4" name="Free-form: Shape 43">
            <a:extLst>
              <a:ext uri="{FF2B5EF4-FFF2-40B4-BE49-F238E27FC236}">
                <a16:creationId xmlns:a16="http://schemas.microsoft.com/office/drawing/2014/main" id="{BC912D80-BDF4-CA59-D2C1-1F6F06F75ADF}"/>
              </a:ext>
            </a:extLst>
          </p:cNvPr>
          <p:cNvSpPr/>
          <p:nvPr/>
        </p:nvSpPr>
        <p:spPr>
          <a:xfrm>
            <a:off x="2330532" y="5706263"/>
            <a:ext cx="3131" cy="1127"/>
          </a:xfrm>
          <a:custGeom>
            <a:avLst/>
            <a:gdLst>
              <a:gd name="csX0" fmla="*/ 0 w 3788"/>
              <a:gd name="csY0" fmla="*/ 1364 h 1364"/>
              <a:gd name="csX1" fmla="*/ 3788 w 3788"/>
              <a:gd name="csY1" fmla="*/ 0 h 1364"/>
              <a:gd name="csX2" fmla="*/ 0 w 3788"/>
              <a:gd name="csY2" fmla="*/ 1364 h 136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788" h="1364">
                <a:moveTo>
                  <a:pt x="0" y="1364"/>
                </a:moveTo>
                <a:cubicBezTo>
                  <a:pt x="856" y="517"/>
                  <a:pt x="2126" y="39"/>
                  <a:pt x="3788" y="0"/>
                </a:cubicBezTo>
                <a:cubicBezTo>
                  <a:pt x="2925" y="870"/>
                  <a:pt x="1670" y="1303"/>
                  <a:pt x="0" y="1364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5" name="Free-form: Shape 44">
            <a:extLst>
              <a:ext uri="{FF2B5EF4-FFF2-40B4-BE49-F238E27FC236}">
                <a16:creationId xmlns:a16="http://schemas.microsoft.com/office/drawing/2014/main" id="{80EF92E6-E38A-B99B-B45D-880FCEF2CAA0}"/>
              </a:ext>
            </a:extLst>
          </p:cNvPr>
          <p:cNvSpPr/>
          <p:nvPr/>
        </p:nvSpPr>
        <p:spPr>
          <a:xfrm>
            <a:off x="1969056" y="5710619"/>
            <a:ext cx="3298" cy="685"/>
          </a:xfrm>
          <a:custGeom>
            <a:avLst/>
            <a:gdLst>
              <a:gd name="csX0" fmla="*/ 0 w 3990"/>
              <a:gd name="csY0" fmla="*/ 719 h 829"/>
              <a:gd name="csX1" fmla="*/ 3990 w 3990"/>
              <a:gd name="csY1" fmla="*/ 119 h 829"/>
              <a:gd name="csX2" fmla="*/ 0 w 3990"/>
              <a:gd name="csY2" fmla="*/ 719 h 82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990" h="829">
                <a:moveTo>
                  <a:pt x="0" y="719"/>
                </a:moveTo>
                <a:cubicBezTo>
                  <a:pt x="982" y="66"/>
                  <a:pt x="2323" y="-163"/>
                  <a:pt x="3990" y="119"/>
                </a:cubicBezTo>
                <a:cubicBezTo>
                  <a:pt x="2998" y="800"/>
                  <a:pt x="1678" y="972"/>
                  <a:pt x="0" y="719"/>
                </a:cubicBezTo>
                <a:close/>
              </a:path>
            </a:pathLst>
          </a:custGeom>
          <a:solidFill>
            <a:srgbClr val="959DA0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6" name="Free-form: Shape 45">
            <a:extLst>
              <a:ext uri="{FF2B5EF4-FFF2-40B4-BE49-F238E27FC236}">
                <a16:creationId xmlns:a16="http://schemas.microsoft.com/office/drawing/2014/main" id="{EA73350E-BECE-87F5-3788-A1CF544DF014}"/>
              </a:ext>
            </a:extLst>
          </p:cNvPr>
          <p:cNvSpPr/>
          <p:nvPr/>
        </p:nvSpPr>
        <p:spPr>
          <a:xfrm>
            <a:off x="2249295" y="5714555"/>
            <a:ext cx="3217" cy="938"/>
          </a:xfrm>
          <a:custGeom>
            <a:avLst/>
            <a:gdLst>
              <a:gd name="csX0" fmla="*/ 0 w 3893"/>
              <a:gd name="csY0" fmla="*/ 1133 h 1135"/>
              <a:gd name="csX1" fmla="*/ 3893 w 3893"/>
              <a:gd name="csY1" fmla="*/ 7 h 1135"/>
              <a:gd name="csX2" fmla="*/ 0 w 3893"/>
              <a:gd name="csY2" fmla="*/ 1133 h 113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893" h="1135">
                <a:moveTo>
                  <a:pt x="0" y="1133"/>
                </a:moveTo>
                <a:cubicBezTo>
                  <a:pt x="902" y="349"/>
                  <a:pt x="2213" y="-60"/>
                  <a:pt x="3893" y="7"/>
                </a:cubicBezTo>
                <a:cubicBezTo>
                  <a:pt x="2978" y="825"/>
                  <a:pt x="1693" y="1167"/>
                  <a:pt x="0" y="1133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7" name="Free-form: Shape 46">
            <a:extLst>
              <a:ext uri="{FF2B5EF4-FFF2-40B4-BE49-F238E27FC236}">
                <a16:creationId xmlns:a16="http://schemas.microsoft.com/office/drawing/2014/main" id="{FC0800D0-96EB-ED7C-0622-FEB6EC344826}"/>
              </a:ext>
            </a:extLst>
          </p:cNvPr>
          <p:cNvSpPr/>
          <p:nvPr/>
        </p:nvSpPr>
        <p:spPr>
          <a:xfrm>
            <a:off x="2116732" y="5069466"/>
            <a:ext cx="149854" cy="333291"/>
          </a:xfrm>
          <a:custGeom>
            <a:avLst/>
            <a:gdLst>
              <a:gd name="csX0" fmla="*/ 7554 w 181323"/>
              <a:gd name="csY0" fmla="*/ 172079 h 403282"/>
              <a:gd name="csX1" fmla="*/ 9716 w 181323"/>
              <a:gd name="csY1" fmla="*/ 130641 h 403282"/>
              <a:gd name="csX2" fmla="*/ 7663 w 181323"/>
              <a:gd name="csY2" fmla="*/ 113770 h 403282"/>
              <a:gd name="csX3" fmla="*/ 7598 w 181323"/>
              <a:gd name="csY3" fmla="*/ 8165 h 403282"/>
              <a:gd name="csX4" fmla="*/ 8353 w 181323"/>
              <a:gd name="csY4" fmla="*/ 1259 h 403282"/>
              <a:gd name="csX5" fmla="*/ 17767 w 181323"/>
              <a:gd name="csY5" fmla="*/ 93 h 403282"/>
              <a:gd name="csX6" fmla="*/ 77938 w 181323"/>
              <a:gd name="csY6" fmla="*/ 50 h 403282"/>
              <a:gd name="csX7" fmla="*/ 91081 w 181323"/>
              <a:gd name="csY7" fmla="*/ 10962 h 403282"/>
              <a:gd name="csX8" fmla="*/ 93691 w 181323"/>
              <a:gd name="csY8" fmla="*/ 60963 h 403282"/>
              <a:gd name="csX9" fmla="*/ 100157 w 181323"/>
              <a:gd name="csY9" fmla="*/ 121501 h 403282"/>
              <a:gd name="csX10" fmla="*/ 105540 w 181323"/>
              <a:gd name="csY10" fmla="*/ 158857 h 403282"/>
              <a:gd name="csX11" fmla="*/ 121116 w 181323"/>
              <a:gd name="csY11" fmla="*/ 235269 h 403282"/>
              <a:gd name="csX12" fmla="*/ 152823 w 181323"/>
              <a:gd name="csY12" fmla="*/ 338010 h 403282"/>
              <a:gd name="csX13" fmla="*/ 170877 w 181323"/>
              <a:gd name="csY13" fmla="*/ 378027 h 403282"/>
              <a:gd name="csX14" fmla="*/ 178114 w 181323"/>
              <a:gd name="csY14" fmla="*/ 387682 h 403282"/>
              <a:gd name="csX15" fmla="*/ 181150 w 181323"/>
              <a:gd name="csY15" fmla="*/ 395764 h 403282"/>
              <a:gd name="csX16" fmla="*/ 173480 w 181323"/>
              <a:gd name="csY16" fmla="*/ 402568 h 403282"/>
              <a:gd name="csX17" fmla="*/ 160067 w 181323"/>
              <a:gd name="csY17" fmla="*/ 402936 h 403282"/>
              <a:gd name="csX18" fmla="*/ 121081 w 181323"/>
              <a:gd name="csY18" fmla="*/ 400766 h 403282"/>
              <a:gd name="csX19" fmla="*/ 70912 w 181323"/>
              <a:gd name="csY19" fmla="*/ 401955 h 403282"/>
              <a:gd name="csX20" fmla="*/ 7630 w 181323"/>
              <a:gd name="csY20" fmla="*/ 402999 h 403282"/>
              <a:gd name="csX21" fmla="*/ 710 w 181323"/>
              <a:gd name="csY21" fmla="*/ 401995 h 403282"/>
              <a:gd name="csX22" fmla="*/ 1308 w 181323"/>
              <a:gd name="csY22" fmla="*/ 356708 h 403282"/>
              <a:gd name="csX23" fmla="*/ 2554 w 181323"/>
              <a:gd name="csY23" fmla="*/ 349510 h 403282"/>
              <a:gd name="csX24" fmla="*/ 5071 w 181323"/>
              <a:gd name="csY24" fmla="*/ 271231 h 403282"/>
              <a:gd name="csX25" fmla="*/ 7554 w 181323"/>
              <a:gd name="csY25" fmla="*/ 172079 h 403282"/>
              <a:gd name="csX26" fmla="*/ 98286 w 181323"/>
              <a:gd name="csY26" fmla="*/ 163566 h 403282"/>
              <a:gd name="csX27" fmla="*/ 83497 w 181323"/>
              <a:gd name="csY27" fmla="*/ 8289 h 403282"/>
              <a:gd name="csX28" fmla="*/ 15161 w 181323"/>
              <a:gd name="csY28" fmla="*/ 9148 h 403282"/>
              <a:gd name="csX29" fmla="*/ 15058 w 181323"/>
              <a:gd name="csY29" fmla="*/ 137939 h 403282"/>
              <a:gd name="csX30" fmla="*/ 12252 w 181323"/>
              <a:gd name="csY30" fmla="*/ 266862 h 403282"/>
              <a:gd name="csX31" fmla="*/ 7068 w 181323"/>
              <a:gd name="csY31" fmla="*/ 395996 h 403282"/>
              <a:gd name="csX32" fmla="*/ 171647 w 181323"/>
              <a:gd name="csY32" fmla="*/ 395996 h 403282"/>
              <a:gd name="csX33" fmla="*/ 119950 w 181323"/>
              <a:gd name="csY33" fmla="*/ 259496 h 403282"/>
              <a:gd name="csX34" fmla="*/ 98286 w 181323"/>
              <a:gd name="csY34" fmla="*/ 163566 h 40328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</a:cxnLst>
            <a:rect l="l" t="t" r="r" b="b"/>
            <a:pathLst>
              <a:path w="181323" h="403282">
                <a:moveTo>
                  <a:pt x="7554" y="172079"/>
                </a:moveTo>
                <a:cubicBezTo>
                  <a:pt x="8325" y="157451"/>
                  <a:pt x="9408" y="144055"/>
                  <a:pt x="9716" y="130641"/>
                </a:cubicBezTo>
                <a:cubicBezTo>
                  <a:pt x="9846" y="125037"/>
                  <a:pt x="7695" y="119399"/>
                  <a:pt x="7663" y="113770"/>
                </a:cubicBezTo>
                <a:cubicBezTo>
                  <a:pt x="7461" y="78569"/>
                  <a:pt x="7554" y="43367"/>
                  <a:pt x="7598" y="8165"/>
                </a:cubicBezTo>
                <a:cubicBezTo>
                  <a:pt x="7600" y="6167"/>
                  <a:pt x="8022" y="4170"/>
                  <a:pt x="8353" y="1259"/>
                </a:cubicBezTo>
                <a:cubicBezTo>
                  <a:pt x="11568" y="842"/>
                  <a:pt x="14666" y="109"/>
                  <a:pt x="17767" y="93"/>
                </a:cubicBezTo>
                <a:cubicBezTo>
                  <a:pt x="37824" y="-17"/>
                  <a:pt x="57881" y="-27"/>
                  <a:pt x="77938" y="50"/>
                </a:cubicBezTo>
                <a:cubicBezTo>
                  <a:pt x="89177" y="93"/>
                  <a:pt x="90068" y="113"/>
                  <a:pt x="91081" y="10962"/>
                </a:cubicBezTo>
                <a:cubicBezTo>
                  <a:pt x="92631" y="27565"/>
                  <a:pt x="92329" y="44335"/>
                  <a:pt x="93691" y="60963"/>
                </a:cubicBezTo>
                <a:cubicBezTo>
                  <a:pt x="95348" y="81184"/>
                  <a:pt x="97732" y="101353"/>
                  <a:pt x="100157" y="121501"/>
                </a:cubicBezTo>
                <a:cubicBezTo>
                  <a:pt x="101660" y="133990"/>
                  <a:pt x="104521" y="146343"/>
                  <a:pt x="105540" y="158857"/>
                </a:cubicBezTo>
                <a:cubicBezTo>
                  <a:pt x="107671" y="184993"/>
                  <a:pt x="114147" y="210249"/>
                  <a:pt x="121116" y="235269"/>
                </a:cubicBezTo>
                <a:cubicBezTo>
                  <a:pt x="130731" y="269786"/>
                  <a:pt x="141516" y="304004"/>
                  <a:pt x="152823" y="338010"/>
                </a:cubicBezTo>
                <a:cubicBezTo>
                  <a:pt x="157418" y="351828"/>
                  <a:pt x="164524" y="364837"/>
                  <a:pt x="170877" y="378027"/>
                </a:cubicBezTo>
                <a:cubicBezTo>
                  <a:pt x="172587" y="381579"/>
                  <a:pt x="175985" y="384280"/>
                  <a:pt x="178114" y="387682"/>
                </a:cubicBezTo>
                <a:cubicBezTo>
                  <a:pt x="179669" y="390165"/>
                  <a:pt x="181977" y="393824"/>
                  <a:pt x="181150" y="395764"/>
                </a:cubicBezTo>
                <a:cubicBezTo>
                  <a:pt x="179907" y="398676"/>
                  <a:pt x="176540" y="401705"/>
                  <a:pt x="173480" y="402568"/>
                </a:cubicBezTo>
                <a:cubicBezTo>
                  <a:pt x="169302" y="403746"/>
                  <a:pt x="164551" y="403164"/>
                  <a:pt x="160067" y="402936"/>
                </a:cubicBezTo>
                <a:cubicBezTo>
                  <a:pt x="147066" y="402274"/>
                  <a:pt x="134081" y="400859"/>
                  <a:pt x="121081" y="400766"/>
                </a:cubicBezTo>
                <a:cubicBezTo>
                  <a:pt x="104362" y="400647"/>
                  <a:pt x="87638" y="401607"/>
                  <a:pt x="70912" y="401955"/>
                </a:cubicBezTo>
                <a:cubicBezTo>
                  <a:pt x="49820" y="402394"/>
                  <a:pt x="28725" y="402712"/>
                  <a:pt x="7630" y="402999"/>
                </a:cubicBezTo>
                <a:cubicBezTo>
                  <a:pt x="5684" y="403026"/>
                  <a:pt x="3731" y="402452"/>
                  <a:pt x="710" y="401995"/>
                </a:cubicBezTo>
                <a:cubicBezTo>
                  <a:pt x="219" y="386620"/>
                  <a:pt x="-871" y="371682"/>
                  <a:pt x="1308" y="356708"/>
                </a:cubicBezTo>
                <a:cubicBezTo>
                  <a:pt x="1659" y="354298"/>
                  <a:pt x="2471" y="351920"/>
                  <a:pt x="2554" y="349510"/>
                </a:cubicBezTo>
                <a:cubicBezTo>
                  <a:pt x="3459" y="323419"/>
                  <a:pt x="4345" y="297328"/>
                  <a:pt x="5071" y="271231"/>
                </a:cubicBezTo>
                <a:cubicBezTo>
                  <a:pt x="5979" y="238591"/>
                  <a:pt x="6733" y="205947"/>
                  <a:pt x="7554" y="172079"/>
                </a:cubicBezTo>
                <a:moveTo>
                  <a:pt x="98286" y="163566"/>
                </a:moveTo>
                <a:cubicBezTo>
                  <a:pt x="89288" y="112116"/>
                  <a:pt x="86355" y="60033"/>
                  <a:pt x="83497" y="8289"/>
                </a:cubicBezTo>
                <a:cubicBezTo>
                  <a:pt x="65606" y="5845"/>
                  <a:pt x="24110" y="6470"/>
                  <a:pt x="15161" y="9148"/>
                </a:cubicBezTo>
                <a:cubicBezTo>
                  <a:pt x="15161" y="52045"/>
                  <a:pt x="15527" y="94996"/>
                  <a:pt x="15058" y="137939"/>
                </a:cubicBezTo>
                <a:cubicBezTo>
                  <a:pt x="14587" y="180919"/>
                  <a:pt x="13597" y="223900"/>
                  <a:pt x="12252" y="266862"/>
                </a:cubicBezTo>
                <a:cubicBezTo>
                  <a:pt x="10912" y="309638"/>
                  <a:pt x="8849" y="352391"/>
                  <a:pt x="7068" y="395996"/>
                </a:cubicBezTo>
                <a:cubicBezTo>
                  <a:pt x="62774" y="395996"/>
                  <a:pt x="116821" y="395996"/>
                  <a:pt x="171647" y="395996"/>
                </a:cubicBezTo>
                <a:cubicBezTo>
                  <a:pt x="148550" y="352016"/>
                  <a:pt x="132566" y="306307"/>
                  <a:pt x="119950" y="259496"/>
                </a:cubicBezTo>
                <a:cubicBezTo>
                  <a:pt x="111608" y="228543"/>
                  <a:pt x="105493" y="196989"/>
                  <a:pt x="98286" y="163566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8" name="Free-form: Shape 47">
            <a:extLst>
              <a:ext uri="{FF2B5EF4-FFF2-40B4-BE49-F238E27FC236}">
                <a16:creationId xmlns:a16="http://schemas.microsoft.com/office/drawing/2014/main" id="{E19FBC65-99C4-07C9-0DE0-3C93F3868D81}"/>
              </a:ext>
            </a:extLst>
          </p:cNvPr>
          <p:cNvSpPr/>
          <p:nvPr/>
        </p:nvSpPr>
        <p:spPr>
          <a:xfrm>
            <a:off x="2118903" y="5623802"/>
            <a:ext cx="278519" cy="63075"/>
          </a:xfrm>
          <a:custGeom>
            <a:avLst/>
            <a:gdLst>
              <a:gd name="csX0" fmla="*/ 297312 w 337008"/>
              <a:gd name="csY0" fmla="*/ 59188 h 76321"/>
              <a:gd name="csX1" fmla="*/ 241991 w 337008"/>
              <a:gd name="csY1" fmla="*/ 66577 h 76321"/>
              <a:gd name="csX2" fmla="*/ 185243 w 337008"/>
              <a:gd name="csY2" fmla="*/ 73717 h 76321"/>
              <a:gd name="csX3" fmla="*/ 182797 w 337008"/>
              <a:gd name="csY3" fmla="*/ 73873 h 76321"/>
              <a:gd name="csX4" fmla="*/ 19866 w 337008"/>
              <a:gd name="csY4" fmla="*/ 76320 h 76321"/>
              <a:gd name="csX5" fmla="*/ 12650 w 337008"/>
              <a:gd name="csY5" fmla="*/ 75242 h 76321"/>
              <a:gd name="csX6" fmla="*/ 19 w 337008"/>
              <a:gd name="csY6" fmla="*/ 59006 h 76321"/>
              <a:gd name="csX7" fmla="*/ 11 w 337008"/>
              <a:gd name="csY7" fmla="*/ 18266 h 76321"/>
              <a:gd name="csX8" fmla="*/ 13547 w 337008"/>
              <a:gd name="csY8" fmla="*/ 17427 h 76321"/>
              <a:gd name="csX9" fmla="*/ 109279 w 337008"/>
              <a:gd name="csY9" fmla="*/ 17200 h 76321"/>
              <a:gd name="csX10" fmla="*/ 173714 w 337008"/>
              <a:gd name="csY10" fmla="*/ 12645 h 76321"/>
              <a:gd name="csX11" fmla="*/ 205309 w 337008"/>
              <a:gd name="csY11" fmla="*/ 10096 h 76321"/>
              <a:gd name="csX12" fmla="*/ 245485 w 337008"/>
              <a:gd name="csY12" fmla="*/ 7449 h 76321"/>
              <a:gd name="csX13" fmla="*/ 288955 w 337008"/>
              <a:gd name="csY13" fmla="*/ 1844 h 76321"/>
              <a:gd name="csX14" fmla="*/ 307132 w 337008"/>
              <a:gd name="csY14" fmla="*/ 164 h 76321"/>
              <a:gd name="csX15" fmla="*/ 324030 w 337008"/>
              <a:gd name="csY15" fmla="*/ 9691 h 76321"/>
              <a:gd name="csX16" fmla="*/ 336033 w 337008"/>
              <a:gd name="csY16" fmla="*/ 39107 h 76321"/>
              <a:gd name="csX17" fmla="*/ 328060 w 337008"/>
              <a:gd name="csY17" fmla="*/ 52413 h 76321"/>
              <a:gd name="csX18" fmla="*/ 297312 w 337008"/>
              <a:gd name="csY18" fmla="*/ 59188 h 76321"/>
              <a:gd name="csX19" fmla="*/ 207688 w 337008"/>
              <a:gd name="csY19" fmla="*/ 64284 h 76321"/>
              <a:gd name="csX20" fmla="*/ 330050 w 337008"/>
              <a:gd name="csY20" fmla="*/ 45606 h 76321"/>
              <a:gd name="csX21" fmla="*/ 317356 w 337008"/>
              <a:gd name="csY21" fmla="*/ 11297 h 76321"/>
              <a:gd name="csX22" fmla="*/ 304170 w 337008"/>
              <a:gd name="csY22" fmla="*/ 5545 h 76321"/>
              <a:gd name="csX23" fmla="*/ 273851 w 337008"/>
              <a:gd name="csY23" fmla="*/ 10014 h 76321"/>
              <a:gd name="csX24" fmla="*/ 163935 w 337008"/>
              <a:gd name="csY24" fmla="*/ 20274 h 76321"/>
              <a:gd name="csX25" fmla="*/ 17973 w 337008"/>
              <a:gd name="csY25" fmla="*/ 22950 h 76321"/>
              <a:gd name="csX26" fmla="*/ 7372 w 337008"/>
              <a:gd name="csY26" fmla="*/ 23601 h 76321"/>
              <a:gd name="csX27" fmla="*/ 7372 w 337008"/>
              <a:gd name="csY27" fmla="*/ 67898 h 76321"/>
              <a:gd name="csX28" fmla="*/ 207688 w 337008"/>
              <a:gd name="csY28" fmla="*/ 64284 h 7632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</a:cxnLst>
            <a:rect l="l" t="t" r="r" b="b"/>
            <a:pathLst>
              <a:path w="337008" h="76321">
                <a:moveTo>
                  <a:pt x="297312" y="59188"/>
                </a:moveTo>
                <a:cubicBezTo>
                  <a:pt x="278167" y="61672"/>
                  <a:pt x="260091" y="64212"/>
                  <a:pt x="241991" y="66577"/>
                </a:cubicBezTo>
                <a:cubicBezTo>
                  <a:pt x="223087" y="69047"/>
                  <a:pt x="204161" y="71350"/>
                  <a:pt x="185243" y="73717"/>
                </a:cubicBezTo>
                <a:cubicBezTo>
                  <a:pt x="184433" y="73818"/>
                  <a:pt x="183613" y="73861"/>
                  <a:pt x="182797" y="73873"/>
                </a:cubicBezTo>
                <a:cubicBezTo>
                  <a:pt x="128487" y="74710"/>
                  <a:pt x="74176" y="75556"/>
                  <a:pt x="19866" y="76320"/>
                </a:cubicBezTo>
                <a:cubicBezTo>
                  <a:pt x="17463" y="76354"/>
                  <a:pt x="15013" y="75797"/>
                  <a:pt x="12650" y="75242"/>
                </a:cubicBezTo>
                <a:cubicBezTo>
                  <a:pt x="80" y="72288"/>
                  <a:pt x="58" y="72258"/>
                  <a:pt x="19" y="59006"/>
                </a:cubicBezTo>
                <a:cubicBezTo>
                  <a:pt x="-19" y="45942"/>
                  <a:pt x="11" y="32877"/>
                  <a:pt x="11" y="18266"/>
                </a:cubicBezTo>
                <a:cubicBezTo>
                  <a:pt x="4987" y="17944"/>
                  <a:pt x="9266" y="17435"/>
                  <a:pt x="13547" y="17427"/>
                </a:cubicBezTo>
                <a:cubicBezTo>
                  <a:pt x="45459" y="17362"/>
                  <a:pt x="77385" y="17975"/>
                  <a:pt x="109279" y="17200"/>
                </a:cubicBezTo>
                <a:cubicBezTo>
                  <a:pt x="130782" y="16677"/>
                  <a:pt x="152239" y="14265"/>
                  <a:pt x="173714" y="12645"/>
                </a:cubicBezTo>
                <a:cubicBezTo>
                  <a:pt x="184250" y="11850"/>
                  <a:pt x="194770" y="10836"/>
                  <a:pt x="205309" y="10096"/>
                </a:cubicBezTo>
                <a:cubicBezTo>
                  <a:pt x="218698" y="9156"/>
                  <a:pt x="232139" y="8783"/>
                  <a:pt x="245485" y="7449"/>
                </a:cubicBezTo>
                <a:cubicBezTo>
                  <a:pt x="260017" y="5997"/>
                  <a:pt x="274456" y="3648"/>
                  <a:pt x="288955" y="1844"/>
                </a:cubicBezTo>
                <a:cubicBezTo>
                  <a:pt x="294991" y="1094"/>
                  <a:pt x="301100" y="930"/>
                  <a:pt x="307132" y="164"/>
                </a:cubicBezTo>
                <a:cubicBezTo>
                  <a:pt x="315239" y="-865"/>
                  <a:pt x="320841" y="3022"/>
                  <a:pt x="324030" y="9691"/>
                </a:cubicBezTo>
                <a:cubicBezTo>
                  <a:pt x="328594" y="19236"/>
                  <a:pt x="332712" y="29070"/>
                  <a:pt x="336033" y="39107"/>
                </a:cubicBezTo>
                <a:cubicBezTo>
                  <a:pt x="338557" y="46735"/>
                  <a:pt x="336278" y="50185"/>
                  <a:pt x="328060" y="52413"/>
                </a:cubicBezTo>
                <a:cubicBezTo>
                  <a:pt x="318273" y="55068"/>
                  <a:pt x="308277" y="56950"/>
                  <a:pt x="297312" y="59188"/>
                </a:cubicBezTo>
                <a:moveTo>
                  <a:pt x="207688" y="64284"/>
                </a:moveTo>
                <a:cubicBezTo>
                  <a:pt x="248681" y="60632"/>
                  <a:pt x="289317" y="54812"/>
                  <a:pt x="330050" y="45606"/>
                </a:cubicBezTo>
                <a:cubicBezTo>
                  <a:pt x="327603" y="32443"/>
                  <a:pt x="323777" y="21532"/>
                  <a:pt x="317356" y="11297"/>
                </a:cubicBezTo>
                <a:cubicBezTo>
                  <a:pt x="313908" y="5803"/>
                  <a:pt x="310145" y="4465"/>
                  <a:pt x="304170" y="5545"/>
                </a:cubicBezTo>
                <a:cubicBezTo>
                  <a:pt x="294121" y="7361"/>
                  <a:pt x="284007" y="9006"/>
                  <a:pt x="273851" y="10014"/>
                </a:cubicBezTo>
                <a:cubicBezTo>
                  <a:pt x="237233" y="13650"/>
                  <a:pt x="200632" y="17661"/>
                  <a:pt x="163935" y="20274"/>
                </a:cubicBezTo>
                <a:cubicBezTo>
                  <a:pt x="115360" y="23734"/>
                  <a:pt x="66701" y="25937"/>
                  <a:pt x="17973" y="22950"/>
                </a:cubicBezTo>
                <a:cubicBezTo>
                  <a:pt x="14492" y="22737"/>
                  <a:pt x="10959" y="23361"/>
                  <a:pt x="7372" y="23601"/>
                </a:cubicBezTo>
                <a:cubicBezTo>
                  <a:pt x="7372" y="38609"/>
                  <a:pt x="7372" y="52361"/>
                  <a:pt x="7372" y="67898"/>
                </a:cubicBezTo>
                <a:cubicBezTo>
                  <a:pt x="74001" y="69806"/>
                  <a:pt x="139746" y="71025"/>
                  <a:pt x="207688" y="64284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9" name="Free-form: Shape 48">
            <a:extLst>
              <a:ext uri="{FF2B5EF4-FFF2-40B4-BE49-F238E27FC236}">
                <a16:creationId xmlns:a16="http://schemas.microsoft.com/office/drawing/2014/main" id="{61FC8D08-BC74-F8AB-F1B1-8FD13F64E973}"/>
              </a:ext>
            </a:extLst>
          </p:cNvPr>
          <p:cNvSpPr/>
          <p:nvPr/>
        </p:nvSpPr>
        <p:spPr>
          <a:xfrm>
            <a:off x="2123871" y="5428872"/>
            <a:ext cx="250796" cy="176607"/>
          </a:xfrm>
          <a:custGeom>
            <a:avLst/>
            <a:gdLst>
              <a:gd name="csX0" fmla="*/ 14160 w 303463"/>
              <a:gd name="csY0" fmla="*/ 7889 h 213695"/>
              <a:gd name="csX1" fmla="*/ 195033 w 303463"/>
              <a:gd name="csY1" fmla="*/ 0 h 213695"/>
              <a:gd name="csX2" fmla="*/ 197208 w 303463"/>
              <a:gd name="csY2" fmla="*/ 5635 h 213695"/>
              <a:gd name="csX3" fmla="*/ 227014 w 303463"/>
              <a:gd name="csY3" fmla="*/ 60660 h 213695"/>
              <a:gd name="csX4" fmla="*/ 265823 w 303463"/>
              <a:gd name="csY4" fmla="*/ 98217 h 213695"/>
              <a:gd name="csX5" fmla="*/ 303210 w 303463"/>
              <a:gd name="csY5" fmla="*/ 180358 h 213695"/>
              <a:gd name="csX6" fmla="*/ 303282 w 303463"/>
              <a:gd name="csY6" fmla="*/ 193964 h 213695"/>
              <a:gd name="csX7" fmla="*/ 4971 w 303463"/>
              <a:gd name="csY7" fmla="*/ 213017 h 213695"/>
              <a:gd name="csX8" fmla="*/ 5093 w 303463"/>
              <a:gd name="csY8" fmla="*/ 173484 h 213695"/>
              <a:gd name="csX9" fmla="*/ 4767 w 303463"/>
              <a:gd name="csY9" fmla="*/ 54607 h 213695"/>
              <a:gd name="csX10" fmla="*/ 0 w 303463"/>
              <a:gd name="csY10" fmla="*/ 7887 h 213695"/>
              <a:gd name="csX11" fmla="*/ 14160 w 303463"/>
              <a:gd name="csY11" fmla="*/ 7889 h 21369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303463" h="213695">
                <a:moveTo>
                  <a:pt x="14160" y="7889"/>
                </a:moveTo>
                <a:cubicBezTo>
                  <a:pt x="75371" y="8627"/>
                  <a:pt x="135292" y="5744"/>
                  <a:pt x="195033" y="0"/>
                </a:cubicBezTo>
                <a:cubicBezTo>
                  <a:pt x="196084" y="2662"/>
                  <a:pt x="196986" y="4099"/>
                  <a:pt x="197208" y="5635"/>
                </a:cubicBezTo>
                <a:cubicBezTo>
                  <a:pt x="200391" y="27650"/>
                  <a:pt x="211307" y="45450"/>
                  <a:pt x="227014" y="60660"/>
                </a:cubicBezTo>
                <a:cubicBezTo>
                  <a:pt x="239947" y="73182"/>
                  <a:pt x="253006" y="85577"/>
                  <a:pt x="265823" y="98217"/>
                </a:cubicBezTo>
                <a:cubicBezTo>
                  <a:pt x="288727" y="120806"/>
                  <a:pt x="299071" y="149215"/>
                  <a:pt x="303210" y="180358"/>
                </a:cubicBezTo>
                <a:cubicBezTo>
                  <a:pt x="303735" y="184317"/>
                  <a:pt x="303282" y="188405"/>
                  <a:pt x="303282" y="193964"/>
                </a:cubicBezTo>
                <a:cubicBezTo>
                  <a:pt x="204065" y="208804"/>
                  <a:pt x="105022" y="216044"/>
                  <a:pt x="4971" y="213017"/>
                </a:cubicBezTo>
                <a:cubicBezTo>
                  <a:pt x="4971" y="199268"/>
                  <a:pt x="4314" y="186332"/>
                  <a:pt x="5093" y="173484"/>
                </a:cubicBezTo>
                <a:cubicBezTo>
                  <a:pt x="7497" y="133835"/>
                  <a:pt x="8211" y="94216"/>
                  <a:pt x="4767" y="54607"/>
                </a:cubicBezTo>
                <a:cubicBezTo>
                  <a:pt x="3464" y="39611"/>
                  <a:pt x="1725" y="24653"/>
                  <a:pt x="0" y="7887"/>
                </a:cubicBezTo>
                <a:cubicBezTo>
                  <a:pt x="4390" y="7887"/>
                  <a:pt x="8696" y="7887"/>
                  <a:pt x="14160" y="7889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0" name="Free-form: Shape 49">
            <a:extLst>
              <a:ext uri="{FF2B5EF4-FFF2-40B4-BE49-F238E27FC236}">
                <a16:creationId xmlns:a16="http://schemas.microsoft.com/office/drawing/2014/main" id="{CEC62BE5-05F2-5BF5-BCED-F8C3FAB8A919}"/>
              </a:ext>
            </a:extLst>
          </p:cNvPr>
          <p:cNvSpPr/>
          <p:nvPr/>
        </p:nvSpPr>
        <p:spPr>
          <a:xfrm>
            <a:off x="2078934" y="4723766"/>
            <a:ext cx="172783" cy="168104"/>
          </a:xfrm>
          <a:custGeom>
            <a:avLst/>
            <a:gdLst>
              <a:gd name="csX0" fmla="*/ 10475 w 209067"/>
              <a:gd name="csY0" fmla="*/ 41718 h 203406"/>
              <a:gd name="csX1" fmla="*/ 100250 w 209067"/>
              <a:gd name="csY1" fmla="*/ 1265 h 203406"/>
              <a:gd name="csX2" fmla="*/ 206681 w 209067"/>
              <a:gd name="csY2" fmla="*/ 98526 h 203406"/>
              <a:gd name="csX3" fmla="*/ 134647 w 209067"/>
              <a:gd name="csY3" fmla="*/ 202431 h 203406"/>
              <a:gd name="csX4" fmla="*/ 40986 w 209067"/>
              <a:gd name="csY4" fmla="*/ 171438 h 203406"/>
              <a:gd name="csX5" fmla="*/ 143 w 209067"/>
              <a:gd name="csY5" fmla="*/ 85158 h 203406"/>
              <a:gd name="csX6" fmla="*/ 10475 w 209067"/>
              <a:gd name="csY6" fmla="*/ 41718 h 20340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</a:cxnLst>
            <a:rect l="l" t="t" r="r" b="b"/>
            <a:pathLst>
              <a:path w="209067" h="203406">
                <a:moveTo>
                  <a:pt x="10475" y="41718"/>
                </a:moveTo>
                <a:cubicBezTo>
                  <a:pt x="31065" y="6021"/>
                  <a:pt x="63171" y="-3865"/>
                  <a:pt x="100250" y="1265"/>
                </a:cubicBezTo>
                <a:cubicBezTo>
                  <a:pt x="157191" y="9144"/>
                  <a:pt x="196951" y="51394"/>
                  <a:pt x="206681" y="98526"/>
                </a:cubicBezTo>
                <a:cubicBezTo>
                  <a:pt x="219504" y="160635"/>
                  <a:pt x="178523" y="196657"/>
                  <a:pt x="134647" y="202431"/>
                </a:cubicBezTo>
                <a:cubicBezTo>
                  <a:pt x="98365" y="207204"/>
                  <a:pt x="68101" y="194086"/>
                  <a:pt x="40986" y="171438"/>
                </a:cubicBezTo>
                <a:cubicBezTo>
                  <a:pt x="14115" y="148994"/>
                  <a:pt x="2457" y="119007"/>
                  <a:pt x="143" y="85158"/>
                </a:cubicBezTo>
                <a:cubicBezTo>
                  <a:pt x="-869" y="70364"/>
                  <a:pt x="3586" y="56015"/>
                  <a:pt x="10475" y="41718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1" name="Free-form: Shape 50">
            <a:extLst>
              <a:ext uri="{FF2B5EF4-FFF2-40B4-BE49-F238E27FC236}">
                <a16:creationId xmlns:a16="http://schemas.microsoft.com/office/drawing/2014/main" id="{10BFFFF7-8999-9767-A52E-9693DF2B27BB}"/>
              </a:ext>
            </a:extLst>
          </p:cNvPr>
          <p:cNvSpPr/>
          <p:nvPr/>
        </p:nvSpPr>
        <p:spPr>
          <a:xfrm>
            <a:off x="2127195" y="5007320"/>
            <a:ext cx="129859" cy="34160"/>
          </a:xfrm>
          <a:custGeom>
            <a:avLst/>
            <a:gdLst>
              <a:gd name="csX0" fmla="*/ 69625 w 157129"/>
              <a:gd name="csY0" fmla="*/ 0 h 41334"/>
              <a:gd name="csX1" fmla="*/ 119596 w 157129"/>
              <a:gd name="csY1" fmla="*/ 1945 h 41334"/>
              <a:gd name="csX2" fmla="*/ 150973 w 157129"/>
              <a:gd name="csY2" fmla="*/ 14889 h 41334"/>
              <a:gd name="csX3" fmla="*/ 151351 w 157129"/>
              <a:gd name="csY3" fmla="*/ 34058 h 41334"/>
              <a:gd name="csX4" fmla="*/ 133492 w 157129"/>
              <a:gd name="csY4" fmla="*/ 40697 h 41334"/>
              <a:gd name="csX5" fmla="*/ 106556 w 157129"/>
              <a:gd name="csY5" fmla="*/ 41092 h 41334"/>
              <a:gd name="csX6" fmla="*/ 13373 w 157129"/>
              <a:gd name="csY6" fmla="*/ 40708 h 41334"/>
              <a:gd name="csX7" fmla="*/ 1312 w 157129"/>
              <a:gd name="csY7" fmla="*/ 40191 h 41334"/>
              <a:gd name="csX8" fmla="*/ 3367 w 157129"/>
              <a:gd name="csY8" fmla="*/ 13162 h 41334"/>
              <a:gd name="csX9" fmla="*/ 20752 w 157129"/>
              <a:gd name="csY9" fmla="*/ 1879 h 41334"/>
              <a:gd name="csX10" fmla="*/ 52625 w 157129"/>
              <a:gd name="csY10" fmla="*/ 1332 h 41334"/>
              <a:gd name="csX11" fmla="*/ 69625 w 157129"/>
              <a:gd name="csY11" fmla="*/ 0 h 4133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157129" h="41334">
                <a:moveTo>
                  <a:pt x="69625" y="0"/>
                </a:moveTo>
                <a:cubicBezTo>
                  <a:pt x="87054" y="491"/>
                  <a:pt x="103407" y="373"/>
                  <a:pt x="119596" y="1945"/>
                </a:cubicBezTo>
                <a:cubicBezTo>
                  <a:pt x="131020" y="3055"/>
                  <a:pt x="141713" y="7767"/>
                  <a:pt x="150973" y="14889"/>
                </a:cubicBezTo>
                <a:cubicBezTo>
                  <a:pt x="158820" y="20925"/>
                  <a:pt x="159403" y="28236"/>
                  <a:pt x="151351" y="34058"/>
                </a:cubicBezTo>
                <a:cubicBezTo>
                  <a:pt x="146355" y="37671"/>
                  <a:pt x="139678" y="39910"/>
                  <a:pt x="133492" y="40697"/>
                </a:cubicBezTo>
                <a:cubicBezTo>
                  <a:pt x="124640" y="41824"/>
                  <a:pt x="115547" y="41120"/>
                  <a:pt x="106556" y="41092"/>
                </a:cubicBezTo>
                <a:cubicBezTo>
                  <a:pt x="75495" y="40996"/>
                  <a:pt x="44434" y="40872"/>
                  <a:pt x="13373" y="40708"/>
                </a:cubicBezTo>
                <a:cubicBezTo>
                  <a:pt x="9391" y="40687"/>
                  <a:pt x="5410" y="40374"/>
                  <a:pt x="1312" y="40191"/>
                </a:cubicBezTo>
                <a:cubicBezTo>
                  <a:pt x="-1416" y="30384"/>
                  <a:pt x="523" y="21512"/>
                  <a:pt x="3367" y="13162"/>
                </a:cubicBezTo>
                <a:cubicBezTo>
                  <a:pt x="5963" y="5538"/>
                  <a:pt x="12701" y="2077"/>
                  <a:pt x="20752" y="1879"/>
                </a:cubicBezTo>
                <a:cubicBezTo>
                  <a:pt x="31375" y="1617"/>
                  <a:pt x="42004" y="1647"/>
                  <a:pt x="52625" y="1332"/>
                </a:cubicBezTo>
                <a:cubicBezTo>
                  <a:pt x="57918" y="1176"/>
                  <a:pt x="63195" y="535"/>
                  <a:pt x="69625" y="0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2" name="Free-form: Shape 51">
            <a:extLst>
              <a:ext uri="{FF2B5EF4-FFF2-40B4-BE49-F238E27FC236}">
                <a16:creationId xmlns:a16="http://schemas.microsoft.com/office/drawing/2014/main" id="{3030C2BA-BD1B-A2AF-E8C2-B938CD711138}"/>
              </a:ext>
            </a:extLst>
          </p:cNvPr>
          <p:cNvSpPr/>
          <p:nvPr/>
        </p:nvSpPr>
        <p:spPr>
          <a:xfrm>
            <a:off x="2122574" y="5075051"/>
            <a:ext cx="136016" cy="321684"/>
          </a:xfrm>
          <a:custGeom>
            <a:avLst/>
            <a:gdLst>
              <a:gd name="csX0" fmla="*/ 91265 w 164579"/>
              <a:gd name="csY0" fmla="*/ 157878 h 389238"/>
              <a:gd name="csX1" fmla="*/ 112882 w 164579"/>
              <a:gd name="csY1" fmla="*/ 252738 h 389238"/>
              <a:gd name="csX2" fmla="*/ 164579 w 164579"/>
              <a:gd name="csY2" fmla="*/ 389238 h 389238"/>
              <a:gd name="csX3" fmla="*/ 0 w 164579"/>
              <a:gd name="csY3" fmla="*/ 389238 h 389238"/>
              <a:gd name="csX4" fmla="*/ 5184 w 164579"/>
              <a:gd name="csY4" fmla="*/ 260105 h 389238"/>
              <a:gd name="csX5" fmla="*/ 7989 w 164579"/>
              <a:gd name="csY5" fmla="*/ 131182 h 389238"/>
              <a:gd name="csX6" fmla="*/ 8093 w 164579"/>
              <a:gd name="csY6" fmla="*/ 2390 h 389238"/>
              <a:gd name="csX7" fmla="*/ 76429 w 164579"/>
              <a:gd name="csY7" fmla="*/ 1531 h 389238"/>
              <a:gd name="csX8" fmla="*/ 91265 w 164579"/>
              <a:gd name="csY8" fmla="*/ 157878 h 38923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</a:cxnLst>
            <a:rect l="l" t="t" r="r" b="b"/>
            <a:pathLst>
              <a:path w="164579" h="389238">
                <a:moveTo>
                  <a:pt x="91265" y="157878"/>
                </a:moveTo>
                <a:cubicBezTo>
                  <a:pt x="98425" y="190232"/>
                  <a:pt x="104539" y="221785"/>
                  <a:pt x="112882" y="252738"/>
                </a:cubicBezTo>
                <a:cubicBezTo>
                  <a:pt x="125498" y="299549"/>
                  <a:pt x="141482" y="345258"/>
                  <a:pt x="164579" y="389238"/>
                </a:cubicBezTo>
                <a:cubicBezTo>
                  <a:pt x="109753" y="389238"/>
                  <a:pt x="55706" y="389238"/>
                  <a:pt x="0" y="389238"/>
                </a:cubicBezTo>
                <a:cubicBezTo>
                  <a:pt x="1781" y="345633"/>
                  <a:pt x="3844" y="302880"/>
                  <a:pt x="5184" y="260105"/>
                </a:cubicBezTo>
                <a:cubicBezTo>
                  <a:pt x="6529" y="217143"/>
                  <a:pt x="7519" y="174162"/>
                  <a:pt x="7989" y="131182"/>
                </a:cubicBezTo>
                <a:cubicBezTo>
                  <a:pt x="8459" y="88239"/>
                  <a:pt x="8093" y="45287"/>
                  <a:pt x="8093" y="2390"/>
                </a:cubicBezTo>
                <a:cubicBezTo>
                  <a:pt x="17041" y="-288"/>
                  <a:pt x="58537" y="-913"/>
                  <a:pt x="76429" y="1531"/>
                </a:cubicBezTo>
                <a:cubicBezTo>
                  <a:pt x="79287" y="53276"/>
                  <a:pt x="82219" y="105359"/>
                  <a:pt x="91265" y="157878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3" name="Free-form: Shape 52">
            <a:extLst>
              <a:ext uri="{FF2B5EF4-FFF2-40B4-BE49-F238E27FC236}">
                <a16:creationId xmlns:a16="http://schemas.microsoft.com/office/drawing/2014/main" id="{23F122B6-26E6-EA49-5C03-AAFF87905C62}"/>
              </a:ext>
            </a:extLst>
          </p:cNvPr>
          <p:cNvSpPr/>
          <p:nvPr/>
        </p:nvSpPr>
        <p:spPr>
          <a:xfrm>
            <a:off x="2124994" y="5628098"/>
            <a:ext cx="266675" cy="53060"/>
          </a:xfrm>
          <a:custGeom>
            <a:avLst/>
            <a:gdLst>
              <a:gd name="csX0" fmla="*/ 199184 w 322677"/>
              <a:gd name="csY0" fmla="*/ 59136 h 64202"/>
              <a:gd name="csX1" fmla="*/ 0 w 322677"/>
              <a:gd name="csY1" fmla="*/ 62697 h 64202"/>
              <a:gd name="csX2" fmla="*/ 0 w 322677"/>
              <a:gd name="csY2" fmla="*/ 18400 h 64202"/>
              <a:gd name="csX3" fmla="*/ 10601 w 322677"/>
              <a:gd name="csY3" fmla="*/ 17750 h 64202"/>
              <a:gd name="csX4" fmla="*/ 156563 w 322677"/>
              <a:gd name="csY4" fmla="*/ 15074 h 64202"/>
              <a:gd name="csX5" fmla="*/ 266479 w 322677"/>
              <a:gd name="csY5" fmla="*/ 4814 h 64202"/>
              <a:gd name="csX6" fmla="*/ 296798 w 322677"/>
              <a:gd name="csY6" fmla="*/ 344 h 64202"/>
              <a:gd name="csX7" fmla="*/ 309983 w 322677"/>
              <a:gd name="csY7" fmla="*/ 6097 h 64202"/>
              <a:gd name="csX8" fmla="*/ 322678 w 322677"/>
              <a:gd name="csY8" fmla="*/ 40406 h 64202"/>
              <a:gd name="csX9" fmla="*/ 199184 w 322677"/>
              <a:gd name="csY9" fmla="*/ 59136 h 6420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322677" h="64202">
                <a:moveTo>
                  <a:pt x="199184" y="59136"/>
                </a:moveTo>
                <a:cubicBezTo>
                  <a:pt x="132374" y="65824"/>
                  <a:pt x="66629" y="64605"/>
                  <a:pt x="0" y="62697"/>
                </a:cubicBezTo>
                <a:cubicBezTo>
                  <a:pt x="0" y="47160"/>
                  <a:pt x="0" y="33409"/>
                  <a:pt x="0" y="18400"/>
                </a:cubicBezTo>
                <a:cubicBezTo>
                  <a:pt x="3587" y="18160"/>
                  <a:pt x="7120" y="17536"/>
                  <a:pt x="10601" y="17750"/>
                </a:cubicBezTo>
                <a:cubicBezTo>
                  <a:pt x="59329" y="20736"/>
                  <a:pt x="107987" y="18533"/>
                  <a:pt x="156563" y="15074"/>
                </a:cubicBezTo>
                <a:cubicBezTo>
                  <a:pt x="193260" y="12461"/>
                  <a:pt x="229860" y="8449"/>
                  <a:pt x="266479" y="4814"/>
                </a:cubicBezTo>
                <a:cubicBezTo>
                  <a:pt x="276635" y="3806"/>
                  <a:pt x="286748" y="2160"/>
                  <a:pt x="296798" y="344"/>
                </a:cubicBezTo>
                <a:cubicBezTo>
                  <a:pt x="302773" y="-735"/>
                  <a:pt x="306536" y="602"/>
                  <a:pt x="309983" y="6097"/>
                </a:cubicBezTo>
                <a:cubicBezTo>
                  <a:pt x="316405" y="16331"/>
                  <a:pt x="320231" y="27243"/>
                  <a:pt x="322678" y="40406"/>
                </a:cubicBezTo>
                <a:cubicBezTo>
                  <a:pt x="281944" y="49611"/>
                  <a:pt x="241309" y="55431"/>
                  <a:pt x="199184" y="59136"/>
                </a:cubicBezTo>
                <a:close/>
              </a:path>
            </a:pathLst>
          </a:custGeom>
          <a:solidFill>
            <a:schemeClr val="bg1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4" name="Arrow: Striped Right 53">
            <a:extLst>
              <a:ext uri="{FF2B5EF4-FFF2-40B4-BE49-F238E27FC236}">
                <a16:creationId xmlns:a16="http://schemas.microsoft.com/office/drawing/2014/main" id="{C05E1FF6-617F-9FBB-AB30-2E120F5819FE}"/>
              </a:ext>
            </a:extLst>
          </p:cNvPr>
          <p:cNvSpPr/>
          <p:nvPr/>
        </p:nvSpPr>
        <p:spPr>
          <a:xfrm rot="482918" flipH="1">
            <a:off x="4846447" y="5051823"/>
            <a:ext cx="1093848" cy="505039"/>
          </a:xfrm>
          <a:prstGeom prst="stripedRightArrow">
            <a:avLst>
              <a:gd name="adj1" fmla="val 65512"/>
              <a:gd name="adj2" fmla="val 50000"/>
            </a:avLst>
          </a:prstGeom>
          <a:solidFill>
            <a:srgbClr val="2C5E77"/>
          </a:solidFill>
          <a:ln>
            <a:noFill/>
          </a:ln>
          <a:scene3d>
            <a:camera prst="isometricOffAxis1Top"/>
            <a:lightRig rig="threePt" dir="t"/>
          </a:scene3d>
          <a:sp3d prstMaterial="matte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cene3d>
              <a:camera prst="isometricOffAxis2Top"/>
              <a:lightRig rig="threePt" dir="t"/>
            </a:scene3d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1861221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1AB33C5-97A5-EFB1-8581-C485449D99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E37E3D-B3A0-2C83-1144-1C7219A1B1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>
                <a:latin typeface="Aptos"/>
              </a:rPr>
              <a:t>DLBCL is a common and aggressive lymphoma, with a high burden of disease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2CE6B9D-C67F-5E49-6430-851000538F9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70645" y="6012065"/>
            <a:ext cx="10440000" cy="707885"/>
          </a:xfrm>
        </p:spPr>
        <p:txBody>
          <a:bodyPr/>
          <a:lstStyle/>
          <a:p>
            <a:pPr lvl="0"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*</a:t>
            </a:r>
            <a:r>
              <a:rPr lang="en-GB"/>
              <a:t>Voronoi chart </a:t>
            </a: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epresents the percentages for B- and T-cell derived NHL; T-cell derived types are not distinguished (shown in light grey).</a:t>
            </a:r>
            <a:r>
              <a:rPr kumimoji="0" lang="en-GB" sz="900" b="0" i="0" u="none" strike="noStrike" kern="1200" cap="none" spc="0" normalizeH="0" baseline="3000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  </a:t>
            </a:r>
            <a:r>
              <a:rPr kumimoji="0" lang="en-GB" sz="900" b="0" i="0" u="none" strike="noStrike" kern="1200" cap="none" spc="0" normalizeH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†Stratified by planned number of CHOP cycles and IPI score.</a:t>
            </a:r>
            <a:b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L, first line; BL, Burkitt lymphoma; CI, confidence interval; CHOP, cyclophosphamide, doxorubicin, vincristine and prednisolone; CLL, chronic lymphocytic leukaemia; DLBCL, diffuse large B-cell lymphoma; FL, follicular lymphoma; G, obinutuzumab; HR, hazard ratio; </a:t>
            </a:r>
            <a:r>
              <a:rPr kumimoji="0" lang="en-CH" sz="9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IPI, International Prognostic Index; </a:t>
            </a: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LPL, lymphoplasmacytic lymphoma; MALT, mucosa-associated lymphoid tissue lymphomas; MCL, mantle cell lymphoma; MZL, marginal zone lymphoma; </a:t>
            </a:r>
            <a:r>
              <a:rPr lang="en-GB"/>
              <a:t>NHL, non-Hodgkin lymphoma; </a:t>
            </a: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MZL, nodal marginal zone lymphoma; OS, overall survival; R, rituximab; SLL, small-cell lymphocytic lymphoma</a:t>
            </a:r>
            <a:r>
              <a:rPr lang="en-GB">
                <a:solidFill>
                  <a:srgbClr val="585854"/>
                </a:solidFill>
                <a:latin typeface="Aptos" panose="02110004020202020204"/>
              </a:rPr>
              <a:t>.</a:t>
            </a:r>
            <a:b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GB" sz="9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.</a:t>
            </a: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Ma et al. </a:t>
            </a:r>
            <a:r>
              <a:rPr kumimoji="0" lang="en-GB" sz="900" b="0" i="1" u="none" strike="noStrike" kern="1200" cap="none" spc="0" normalizeH="0" baseline="0" noProof="0" err="1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Haematologica</a:t>
            </a: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2022 </a:t>
            </a:r>
            <a:r>
              <a:rPr kumimoji="0" lang="en-GB" sz="9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. </a:t>
            </a:r>
            <a:r>
              <a:rPr kumimoji="0" lang="en-GB" sz="900" b="0" i="0" u="none" strike="noStrike" kern="1200" cap="none" spc="0" normalizeH="0" baseline="0" noProof="0" err="1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Leukemia</a:t>
            </a: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and Lymphoma Society 2024 </a:t>
            </a:r>
            <a:r>
              <a:rPr kumimoji="0" lang="en-GB" sz="9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3.</a:t>
            </a: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Sehn &amp; Salles </a:t>
            </a:r>
            <a:r>
              <a:rPr kumimoji="0" lang="en-GB" sz="900" b="0" i="1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 Engl J Med</a:t>
            </a: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2021 </a:t>
            </a:r>
            <a:r>
              <a:rPr kumimoji="0" lang="en-GB" sz="9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4. </a:t>
            </a: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ehn et al.</a:t>
            </a:r>
            <a:r>
              <a:rPr kumimoji="0" lang="en-GB" sz="9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r>
              <a:rPr kumimoji="0" lang="en-GB" sz="900" b="0" i="1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J </a:t>
            </a:r>
            <a:r>
              <a:rPr kumimoji="0" lang="en-GB" sz="900" b="0" i="1" u="none" strike="noStrike" kern="1200" cap="none" spc="0" normalizeH="0" baseline="0" noProof="0" err="1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Hematol</a:t>
            </a:r>
            <a:r>
              <a:rPr kumimoji="0" lang="en-GB" sz="900" b="0" i="1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Oncol</a:t>
            </a: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2020.</a:t>
            </a:r>
            <a:endParaRPr kumimoji="0" lang="en-GB" sz="900" b="1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07F06A6A-00DB-2FFA-A6BF-BBB58CB9E359}"/>
              </a:ext>
            </a:extLst>
          </p:cNvPr>
          <p:cNvSpPr/>
          <p:nvPr/>
        </p:nvSpPr>
        <p:spPr>
          <a:xfrm>
            <a:off x="6286500" y="1283216"/>
            <a:ext cx="5213150" cy="707886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 substantial proportion of DLBCL patients </a:t>
            </a:r>
            <a:b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re </a:t>
            </a: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ot cured with 1L R-CHOP</a:t>
            </a:r>
            <a:r>
              <a:rPr kumimoji="0" lang="en-GB" sz="2000" b="1" i="0" u="none" strike="noStrike" kern="1200" cap="none" spc="0" normalizeH="0" baseline="3000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3,4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7CFACA4-3B82-4BE9-EB90-30E82845C8F1}"/>
              </a:ext>
            </a:extLst>
          </p:cNvPr>
          <p:cNvSpPr txBox="1"/>
          <p:nvPr/>
        </p:nvSpPr>
        <p:spPr>
          <a:xfrm>
            <a:off x="634946" y="1321771"/>
            <a:ext cx="5374219" cy="630776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sv-SE"/>
            </a:defPPr>
            <a:lvl1pPr algn="ctr">
              <a:defRPr sz="2000">
                <a:solidFill>
                  <a:schemeClr val="tx2"/>
                </a:solidFill>
                <a:latin typeface="Aptos" panose="02110004020202020204"/>
              </a:defRPr>
            </a:lvl1pPr>
            <a:lvl2pPr marL="355600" indent="-173038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>
                <a:solidFill>
                  <a:schemeClr val="lt1"/>
                </a:solidFill>
              </a:defRPr>
            </a:lvl2pPr>
            <a:lvl3pPr marL="539750" indent="-18415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600">
                <a:solidFill>
                  <a:schemeClr val="lt1"/>
                </a:solidFill>
              </a:defRPr>
            </a:lvl3pPr>
            <a:lvl4pPr marL="722313" indent="-182563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400">
                <a:solidFill>
                  <a:schemeClr val="lt1"/>
                </a:solidFill>
              </a:defRPr>
            </a:lvl4pPr>
            <a:lvl5pPr marL="895350" indent="-173038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400">
                <a:solidFill>
                  <a:schemeClr val="lt1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lt1"/>
                </a:solidFill>
              </a:defRPr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lt1"/>
                </a:solidFill>
              </a:defRPr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lt1"/>
                </a:solidFill>
              </a:defRPr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LBCL is the </a:t>
            </a: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most common </a:t>
            </a:r>
            <a:b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B-cell lymphoma 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ubtype</a:t>
            </a:r>
            <a:r>
              <a:rPr kumimoji="0" lang="en-GB" sz="2000" b="0" i="0" u="none" strike="noStrike" kern="1200" cap="none" spc="0" normalizeH="0" baseline="3000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,2,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*</a:t>
            </a:r>
          </a:p>
        </p:txBody>
      </p:sp>
      <p:sp>
        <p:nvSpPr>
          <p:cNvPr id="7" name="Free-form: Shape 6">
            <a:extLst>
              <a:ext uri="{FF2B5EF4-FFF2-40B4-BE49-F238E27FC236}">
                <a16:creationId xmlns:a16="http://schemas.microsoft.com/office/drawing/2014/main" id="{30D8F70B-77E6-6BDE-1062-F766EE82E566}"/>
              </a:ext>
            </a:extLst>
          </p:cNvPr>
          <p:cNvSpPr/>
          <p:nvPr/>
        </p:nvSpPr>
        <p:spPr>
          <a:xfrm>
            <a:off x="1978781" y="3790569"/>
            <a:ext cx="1912660" cy="1913538"/>
          </a:xfrm>
          <a:custGeom>
            <a:avLst/>
            <a:gdLst>
              <a:gd name="csX0" fmla="*/ 820105 w 1912660"/>
              <a:gd name="csY0" fmla="*/ 375 h 1913538"/>
              <a:gd name="csX1" fmla="*/ 452940 w 1912660"/>
              <a:gd name="csY1" fmla="*/ 169852 h 1913538"/>
              <a:gd name="csX2" fmla="*/ 60497 w 1912660"/>
              <a:gd name="csY2" fmla="*/ 650324 h 1913538"/>
              <a:gd name="csX3" fmla="*/ 375 w 1912660"/>
              <a:gd name="csY3" fmla="*/ 981698 h 1913538"/>
              <a:gd name="csX4" fmla="*/ 107113 w 1912660"/>
              <a:gd name="csY4" fmla="*/ 1532516 h 1913538"/>
              <a:gd name="csX5" fmla="*/ 174702 w 1912660"/>
              <a:gd name="csY5" fmla="*/ 1585799 h 1913538"/>
              <a:gd name="csX6" fmla="*/ 286867 w 1912660"/>
              <a:gd name="csY6" fmla="*/ 1660745 h 1913538"/>
              <a:gd name="csX7" fmla="*/ 404565 w 1912660"/>
              <a:gd name="csY7" fmla="*/ 1726659 h 1913538"/>
              <a:gd name="csX8" fmla="*/ 527073 w 1912660"/>
              <a:gd name="csY8" fmla="*/ 1783136 h 1913538"/>
              <a:gd name="csX9" fmla="*/ 653634 w 1912660"/>
              <a:gd name="csY9" fmla="*/ 1829827 h 1913538"/>
              <a:gd name="csX10" fmla="*/ 783468 w 1912660"/>
              <a:gd name="csY10" fmla="*/ 1866444 h 1913538"/>
              <a:gd name="csX11" fmla="*/ 915775 w 1912660"/>
              <a:gd name="csY11" fmla="*/ 1892761 h 1913538"/>
              <a:gd name="csX12" fmla="*/ 1049739 w 1912660"/>
              <a:gd name="csY12" fmla="*/ 1908617 h 1913538"/>
              <a:gd name="csX13" fmla="*/ 1184534 w 1912660"/>
              <a:gd name="csY13" fmla="*/ 1913913 h 1913538"/>
              <a:gd name="csX14" fmla="*/ 1319329 w 1912660"/>
              <a:gd name="csY14" fmla="*/ 1908617 h 1913538"/>
              <a:gd name="csX15" fmla="*/ 1453293 w 1912660"/>
              <a:gd name="csY15" fmla="*/ 1892761 h 1913538"/>
              <a:gd name="csX16" fmla="*/ 1585600 w 1912660"/>
              <a:gd name="csY16" fmla="*/ 1866444 h 1913538"/>
              <a:gd name="csX17" fmla="*/ 1660535 w 1912660"/>
              <a:gd name="csY17" fmla="*/ 1845310 h 1913538"/>
              <a:gd name="csX18" fmla="*/ 1913035 w 1912660"/>
              <a:gd name="csY18" fmla="*/ 1406734 h 1913538"/>
              <a:gd name="csX19" fmla="*/ 1495079 w 1912660"/>
              <a:gd name="csY19" fmla="*/ 123756 h 191353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</a:cxnLst>
            <a:rect l="l" t="t" r="r" b="b"/>
            <a:pathLst>
              <a:path w="1912660" h="1913538">
                <a:moveTo>
                  <a:pt x="820105" y="375"/>
                </a:moveTo>
                <a:lnTo>
                  <a:pt x="452940" y="169852"/>
                </a:lnTo>
                <a:lnTo>
                  <a:pt x="60497" y="650324"/>
                </a:lnTo>
                <a:lnTo>
                  <a:pt x="375" y="981698"/>
                </a:lnTo>
                <a:lnTo>
                  <a:pt x="107113" y="1532516"/>
                </a:lnTo>
                <a:lnTo>
                  <a:pt x="174702" y="1585799"/>
                </a:lnTo>
                <a:lnTo>
                  <a:pt x="286867" y="1660745"/>
                </a:lnTo>
                <a:lnTo>
                  <a:pt x="404565" y="1726659"/>
                </a:lnTo>
                <a:lnTo>
                  <a:pt x="527073" y="1783136"/>
                </a:lnTo>
                <a:lnTo>
                  <a:pt x="653634" y="1829827"/>
                </a:lnTo>
                <a:lnTo>
                  <a:pt x="783468" y="1866444"/>
                </a:lnTo>
                <a:lnTo>
                  <a:pt x="915775" y="1892761"/>
                </a:lnTo>
                <a:lnTo>
                  <a:pt x="1049739" y="1908617"/>
                </a:lnTo>
                <a:lnTo>
                  <a:pt x="1184534" y="1913913"/>
                </a:lnTo>
                <a:lnTo>
                  <a:pt x="1319329" y="1908617"/>
                </a:lnTo>
                <a:lnTo>
                  <a:pt x="1453293" y="1892761"/>
                </a:lnTo>
                <a:lnTo>
                  <a:pt x="1585600" y="1866444"/>
                </a:lnTo>
                <a:lnTo>
                  <a:pt x="1660535" y="1845310"/>
                </a:lnTo>
                <a:lnTo>
                  <a:pt x="1913035" y="1406734"/>
                </a:lnTo>
                <a:lnTo>
                  <a:pt x="1495079" y="123756"/>
                </a:lnTo>
                <a:close/>
              </a:path>
            </a:pathLst>
          </a:custGeom>
          <a:solidFill>
            <a:srgbClr val="192C3A"/>
          </a:solidFill>
          <a:ln w="14707" cap="flat">
            <a:solidFill>
              <a:srgbClr val="FFFFFF"/>
            </a:solidFill>
            <a:prstDash val="solid"/>
            <a:miter/>
          </a:ln>
        </p:spPr>
        <p:txBody>
          <a:bodyPr lIns="0" tIns="0" rIns="0" bIns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" name="Free-form: Shape 7">
            <a:extLst>
              <a:ext uri="{FF2B5EF4-FFF2-40B4-BE49-F238E27FC236}">
                <a16:creationId xmlns:a16="http://schemas.microsoft.com/office/drawing/2014/main" id="{00476A42-4157-9B00-1F50-D66A41A8B48B}"/>
              </a:ext>
            </a:extLst>
          </p:cNvPr>
          <p:cNvSpPr/>
          <p:nvPr/>
        </p:nvSpPr>
        <p:spPr>
          <a:xfrm>
            <a:off x="2449517" y="2268049"/>
            <a:ext cx="1592007" cy="1645901"/>
          </a:xfrm>
          <a:custGeom>
            <a:avLst/>
            <a:gdLst>
              <a:gd name="csX0" fmla="*/ 349369 w 1592007"/>
              <a:gd name="csY0" fmla="*/ 1522895 h 1645901"/>
              <a:gd name="csX1" fmla="*/ 1024343 w 1592007"/>
              <a:gd name="csY1" fmla="*/ 1646276 h 1645901"/>
              <a:gd name="csX2" fmla="*/ 1399101 w 1592007"/>
              <a:gd name="csY2" fmla="*/ 1387795 h 1645901"/>
              <a:gd name="csX3" fmla="*/ 1592382 w 1592007"/>
              <a:gd name="csY3" fmla="*/ 242856 h 1645901"/>
              <a:gd name="csX4" fmla="*/ 1493767 w 1592007"/>
              <a:gd name="csY4" fmla="*/ 187629 h 1645901"/>
              <a:gd name="csX5" fmla="*/ 1371260 w 1592007"/>
              <a:gd name="csY5" fmla="*/ 131152 h 1645901"/>
              <a:gd name="csX6" fmla="*/ 1244699 w 1592007"/>
              <a:gd name="csY6" fmla="*/ 84461 h 1645901"/>
              <a:gd name="csX7" fmla="*/ 1114864 w 1592007"/>
              <a:gd name="csY7" fmla="*/ 47844 h 1645901"/>
              <a:gd name="csX8" fmla="*/ 982557 w 1592007"/>
              <a:gd name="csY8" fmla="*/ 21527 h 1645901"/>
              <a:gd name="csX9" fmla="*/ 848593 w 1592007"/>
              <a:gd name="csY9" fmla="*/ 5671 h 1645901"/>
              <a:gd name="csX10" fmla="*/ 713798 w 1592007"/>
              <a:gd name="csY10" fmla="*/ 375 h 1645901"/>
              <a:gd name="csX11" fmla="*/ 579003 w 1592007"/>
              <a:gd name="csY11" fmla="*/ 5671 h 1645901"/>
              <a:gd name="csX12" fmla="*/ 445039 w 1592007"/>
              <a:gd name="csY12" fmla="*/ 21527 h 1645901"/>
              <a:gd name="csX13" fmla="*/ 312732 w 1592007"/>
              <a:gd name="csY13" fmla="*/ 47844 h 1645901"/>
              <a:gd name="csX14" fmla="*/ 182898 w 1592007"/>
              <a:gd name="csY14" fmla="*/ 84461 h 1645901"/>
              <a:gd name="csX15" fmla="*/ 137656 w 1592007"/>
              <a:gd name="csY15" fmla="*/ 101152 h 1645901"/>
              <a:gd name="csX16" fmla="*/ 375 w 1592007"/>
              <a:gd name="csY16" fmla="*/ 682192 h 164590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</a:cxnLst>
            <a:rect l="l" t="t" r="r" b="b"/>
            <a:pathLst>
              <a:path w="1592007" h="1645901">
                <a:moveTo>
                  <a:pt x="349369" y="1522895"/>
                </a:moveTo>
                <a:lnTo>
                  <a:pt x="1024343" y="1646276"/>
                </a:lnTo>
                <a:lnTo>
                  <a:pt x="1399101" y="1387795"/>
                </a:lnTo>
                <a:lnTo>
                  <a:pt x="1592382" y="242856"/>
                </a:lnTo>
                <a:lnTo>
                  <a:pt x="1493767" y="187629"/>
                </a:lnTo>
                <a:lnTo>
                  <a:pt x="1371260" y="131152"/>
                </a:lnTo>
                <a:lnTo>
                  <a:pt x="1244699" y="84461"/>
                </a:lnTo>
                <a:lnTo>
                  <a:pt x="1114864" y="47844"/>
                </a:lnTo>
                <a:lnTo>
                  <a:pt x="982557" y="21527"/>
                </a:lnTo>
                <a:lnTo>
                  <a:pt x="848593" y="5671"/>
                </a:lnTo>
                <a:lnTo>
                  <a:pt x="713798" y="375"/>
                </a:lnTo>
                <a:lnTo>
                  <a:pt x="579003" y="5671"/>
                </a:lnTo>
                <a:lnTo>
                  <a:pt x="445039" y="21527"/>
                </a:lnTo>
                <a:lnTo>
                  <a:pt x="312732" y="47844"/>
                </a:lnTo>
                <a:lnTo>
                  <a:pt x="182898" y="84461"/>
                </a:lnTo>
                <a:lnTo>
                  <a:pt x="137656" y="101152"/>
                </a:lnTo>
                <a:lnTo>
                  <a:pt x="375" y="682192"/>
                </a:lnTo>
                <a:close/>
              </a:path>
            </a:pathLst>
          </a:custGeom>
          <a:solidFill>
            <a:srgbClr val="234255"/>
          </a:solidFill>
          <a:ln w="14707" cap="flat">
            <a:solidFill>
              <a:srgbClr val="FFFFFF"/>
            </a:solidFill>
            <a:prstDash val="solid"/>
            <a:miter/>
          </a:ln>
        </p:spPr>
        <p:txBody>
          <a:bodyPr lIns="0" tIns="0" rIns="0" bIns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" name="Free-form: Shape 8">
            <a:extLst>
              <a:ext uri="{FF2B5EF4-FFF2-40B4-BE49-F238E27FC236}">
                <a16:creationId xmlns:a16="http://schemas.microsoft.com/office/drawing/2014/main" id="{A5ADF379-F64F-630D-A12B-998643653833}"/>
              </a:ext>
            </a:extLst>
          </p:cNvPr>
          <p:cNvSpPr/>
          <p:nvPr/>
        </p:nvSpPr>
        <p:spPr>
          <a:xfrm>
            <a:off x="3473485" y="3655469"/>
            <a:ext cx="1404939" cy="1636466"/>
          </a:xfrm>
          <a:custGeom>
            <a:avLst/>
            <a:gdLst>
              <a:gd name="csX0" fmla="*/ 904661 w 1404939"/>
              <a:gd name="csY0" fmla="*/ 1545814 h 1636466"/>
              <a:gd name="csX1" fmla="*/ 996230 w 1404939"/>
              <a:gd name="csY1" fmla="*/ 1446755 h 1636466"/>
              <a:gd name="csX2" fmla="*/ 1079745 w 1404939"/>
              <a:gd name="csY2" fmla="*/ 1340816 h 1636466"/>
              <a:gd name="csX3" fmla="*/ 1154691 w 1404939"/>
              <a:gd name="csY3" fmla="*/ 1228652 h 1636466"/>
              <a:gd name="csX4" fmla="*/ 1220606 w 1404939"/>
              <a:gd name="csY4" fmla="*/ 1110953 h 1636466"/>
              <a:gd name="csX5" fmla="*/ 1277083 w 1404939"/>
              <a:gd name="csY5" fmla="*/ 988445 h 1636466"/>
              <a:gd name="csX6" fmla="*/ 1323773 w 1404939"/>
              <a:gd name="csY6" fmla="*/ 861884 h 1636466"/>
              <a:gd name="csX7" fmla="*/ 1360390 w 1404939"/>
              <a:gd name="csY7" fmla="*/ 732050 h 1636466"/>
              <a:gd name="csX8" fmla="*/ 1386708 w 1404939"/>
              <a:gd name="csY8" fmla="*/ 599743 h 1636466"/>
              <a:gd name="csX9" fmla="*/ 1402564 w 1404939"/>
              <a:gd name="csY9" fmla="*/ 465779 h 1636466"/>
              <a:gd name="csX10" fmla="*/ 1405314 w 1404939"/>
              <a:gd name="csY10" fmla="*/ 395772 h 1636466"/>
              <a:gd name="csX11" fmla="*/ 881881 w 1404939"/>
              <a:gd name="csY11" fmla="*/ 26913 h 1636466"/>
              <a:gd name="csX12" fmla="*/ 375133 w 1404939"/>
              <a:gd name="csY12" fmla="*/ 375 h 1636466"/>
              <a:gd name="csX13" fmla="*/ 375 w 1404939"/>
              <a:gd name="csY13" fmla="*/ 258856 h 1636466"/>
              <a:gd name="csX14" fmla="*/ 418332 w 1404939"/>
              <a:gd name="csY14" fmla="*/ 1541834 h 1636466"/>
              <a:gd name="csX15" fmla="*/ 806188 w 1404939"/>
              <a:gd name="csY15" fmla="*/ 1636841 h 163646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</a:cxnLst>
            <a:rect l="l" t="t" r="r" b="b"/>
            <a:pathLst>
              <a:path w="1404939" h="1636466">
                <a:moveTo>
                  <a:pt x="904661" y="1545814"/>
                </a:moveTo>
                <a:lnTo>
                  <a:pt x="996230" y="1446755"/>
                </a:lnTo>
                <a:lnTo>
                  <a:pt x="1079745" y="1340816"/>
                </a:lnTo>
                <a:lnTo>
                  <a:pt x="1154691" y="1228652"/>
                </a:lnTo>
                <a:lnTo>
                  <a:pt x="1220606" y="1110953"/>
                </a:lnTo>
                <a:lnTo>
                  <a:pt x="1277083" y="988445"/>
                </a:lnTo>
                <a:lnTo>
                  <a:pt x="1323773" y="861884"/>
                </a:lnTo>
                <a:lnTo>
                  <a:pt x="1360390" y="732050"/>
                </a:lnTo>
                <a:lnTo>
                  <a:pt x="1386708" y="599743"/>
                </a:lnTo>
                <a:lnTo>
                  <a:pt x="1402564" y="465779"/>
                </a:lnTo>
                <a:lnTo>
                  <a:pt x="1405314" y="395772"/>
                </a:lnTo>
                <a:lnTo>
                  <a:pt x="881881" y="26913"/>
                </a:lnTo>
                <a:lnTo>
                  <a:pt x="375133" y="375"/>
                </a:lnTo>
                <a:lnTo>
                  <a:pt x="375" y="258856"/>
                </a:lnTo>
                <a:lnTo>
                  <a:pt x="418332" y="1541834"/>
                </a:lnTo>
                <a:lnTo>
                  <a:pt x="806188" y="1636841"/>
                </a:lnTo>
                <a:close/>
              </a:path>
            </a:pathLst>
          </a:custGeom>
          <a:solidFill>
            <a:srgbClr val="ECECEC"/>
          </a:solidFill>
          <a:ln w="14707" cap="flat">
            <a:solidFill>
              <a:srgbClr val="FFFFFF"/>
            </a:solidFill>
            <a:prstDash val="solid"/>
            <a:miter/>
          </a:ln>
        </p:spPr>
        <p:txBody>
          <a:bodyPr lIns="0" tIns="0" rIns="0" bIns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" name="Free-form: Shape 9">
            <a:extLst>
              <a:ext uri="{FF2B5EF4-FFF2-40B4-BE49-F238E27FC236}">
                <a16:creationId xmlns:a16="http://schemas.microsoft.com/office/drawing/2014/main" id="{38FB4DC0-0C5B-32F6-CA69-FB5FD39C3803}"/>
              </a:ext>
            </a:extLst>
          </p:cNvPr>
          <p:cNvSpPr/>
          <p:nvPr/>
        </p:nvSpPr>
        <p:spPr>
          <a:xfrm>
            <a:off x="1444912" y="3203758"/>
            <a:ext cx="986435" cy="1236759"/>
          </a:xfrm>
          <a:custGeom>
            <a:avLst/>
            <a:gdLst>
              <a:gd name="csX0" fmla="*/ 187629 w 986435"/>
              <a:gd name="csY0" fmla="*/ 2726 h 1236759"/>
              <a:gd name="csX1" fmla="*/ 131152 w 986435"/>
              <a:gd name="csY1" fmla="*/ 125234 h 1236759"/>
              <a:gd name="csX2" fmla="*/ 84461 w 986435"/>
              <a:gd name="csY2" fmla="*/ 251795 h 1236759"/>
              <a:gd name="csX3" fmla="*/ 47844 w 986435"/>
              <a:gd name="csY3" fmla="*/ 381629 h 1236759"/>
              <a:gd name="csX4" fmla="*/ 21527 w 986435"/>
              <a:gd name="csY4" fmla="*/ 513936 h 1236759"/>
              <a:gd name="csX5" fmla="*/ 5671 w 986435"/>
              <a:gd name="csY5" fmla="*/ 647900 h 1236759"/>
              <a:gd name="csX6" fmla="*/ 375 w 986435"/>
              <a:gd name="csY6" fmla="*/ 782695 h 1236759"/>
              <a:gd name="csX7" fmla="*/ 5671 w 986435"/>
              <a:gd name="csY7" fmla="*/ 917490 h 1236759"/>
              <a:gd name="csX8" fmla="*/ 21527 w 986435"/>
              <a:gd name="csY8" fmla="*/ 1051454 h 1236759"/>
              <a:gd name="csX9" fmla="*/ 47844 w 986435"/>
              <a:gd name="csY9" fmla="*/ 1183761 h 1236759"/>
              <a:gd name="csX10" fmla="*/ 50705 w 986435"/>
              <a:gd name="csY10" fmla="*/ 1193906 h 1236759"/>
              <a:gd name="csX11" fmla="*/ 594367 w 986435"/>
              <a:gd name="csY11" fmla="*/ 1237135 h 1236759"/>
              <a:gd name="csX12" fmla="*/ 986810 w 986435"/>
              <a:gd name="csY12" fmla="*/ 756663 h 1236759"/>
              <a:gd name="csX13" fmla="*/ 188946 w 986435"/>
              <a:gd name="csY13" fmla="*/ 375 h 123675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</a:cxnLst>
            <a:rect l="l" t="t" r="r" b="b"/>
            <a:pathLst>
              <a:path w="986435" h="1236759">
                <a:moveTo>
                  <a:pt x="187629" y="2726"/>
                </a:moveTo>
                <a:lnTo>
                  <a:pt x="131152" y="125234"/>
                </a:lnTo>
                <a:lnTo>
                  <a:pt x="84461" y="251795"/>
                </a:lnTo>
                <a:lnTo>
                  <a:pt x="47844" y="381629"/>
                </a:lnTo>
                <a:lnTo>
                  <a:pt x="21527" y="513936"/>
                </a:lnTo>
                <a:lnTo>
                  <a:pt x="5671" y="647900"/>
                </a:lnTo>
                <a:lnTo>
                  <a:pt x="375" y="782695"/>
                </a:lnTo>
                <a:lnTo>
                  <a:pt x="5671" y="917490"/>
                </a:lnTo>
                <a:lnTo>
                  <a:pt x="21527" y="1051454"/>
                </a:lnTo>
                <a:lnTo>
                  <a:pt x="47844" y="1183761"/>
                </a:lnTo>
                <a:lnTo>
                  <a:pt x="50705" y="1193906"/>
                </a:lnTo>
                <a:lnTo>
                  <a:pt x="594367" y="1237135"/>
                </a:lnTo>
                <a:lnTo>
                  <a:pt x="986810" y="756663"/>
                </a:lnTo>
                <a:lnTo>
                  <a:pt x="188946" y="375"/>
                </a:lnTo>
                <a:close/>
              </a:path>
            </a:pathLst>
          </a:custGeom>
          <a:solidFill>
            <a:srgbClr val="315A72"/>
          </a:solidFill>
          <a:ln w="14707" cap="flat">
            <a:solidFill>
              <a:srgbClr val="FFFFFF"/>
            </a:solidFill>
            <a:prstDash val="solid"/>
            <a:miter/>
          </a:ln>
        </p:spPr>
        <p:txBody>
          <a:bodyPr lIns="0" tIns="0" rIns="0" bIns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" name="Free-form: Shape 10">
            <a:extLst>
              <a:ext uri="{FF2B5EF4-FFF2-40B4-BE49-F238E27FC236}">
                <a16:creationId xmlns:a16="http://schemas.microsoft.com/office/drawing/2014/main" id="{89BAA884-FE8A-4FB9-D656-27232CE05EEF}"/>
              </a:ext>
            </a:extLst>
          </p:cNvPr>
          <p:cNvSpPr/>
          <p:nvPr/>
        </p:nvSpPr>
        <p:spPr>
          <a:xfrm>
            <a:off x="3848243" y="2510530"/>
            <a:ext cx="904255" cy="1171476"/>
          </a:xfrm>
          <a:custGeom>
            <a:avLst/>
            <a:gdLst>
              <a:gd name="csX0" fmla="*/ 902325 w 904255"/>
              <a:gd name="csY0" fmla="*/ 818462 h 1171476"/>
              <a:gd name="csX1" fmla="*/ 845848 w 904255"/>
              <a:gd name="csY1" fmla="*/ 695954 h 1171476"/>
              <a:gd name="csX2" fmla="*/ 779933 w 904255"/>
              <a:gd name="csY2" fmla="*/ 578255 h 1171476"/>
              <a:gd name="csX3" fmla="*/ 704987 w 904255"/>
              <a:gd name="csY3" fmla="*/ 466091 h 1171476"/>
              <a:gd name="csX4" fmla="*/ 621472 w 904255"/>
              <a:gd name="csY4" fmla="*/ 360153 h 1171476"/>
              <a:gd name="csX5" fmla="*/ 529903 w 904255"/>
              <a:gd name="csY5" fmla="*/ 261093 h 1171476"/>
              <a:gd name="csX6" fmla="*/ 430843 w 904255"/>
              <a:gd name="csY6" fmla="*/ 169524 h 1171476"/>
              <a:gd name="csX7" fmla="*/ 324905 w 904255"/>
              <a:gd name="csY7" fmla="*/ 86008 h 1171476"/>
              <a:gd name="csX8" fmla="*/ 212740 w 904255"/>
              <a:gd name="csY8" fmla="*/ 11062 h 1171476"/>
              <a:gd name="csX9" fmla="*/ 193656 w 904255"/>
              <a:gd name="csY9" fmla="*/ 375 h 1171476"/>
              <a:gd name="csX10" fmla="*/ 375 w 904255"/>
              <a:gd name="csY10" fmla="*/ 1145314 h 1171476"/>
              <a:gd name="csX11" fmla="*/ 507123 w 904255"/>
              <a:gd name="csY11" fmla="*/ 1171852 h 1171476"/>
              <a:gd name="csX12" fmla="*/ 904631 w 904255"/>
              <a:gd name="csY12" fmla="*/ 824714 h 117147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</a:cxnLst>
            <a:rect l="l" t="t" r="r" b="b"/>
            <a:pathLst>
              <a:path w="904255" h="1171476">
                <a:moveTo>
                  <a:pt x="902325" y="818462"/>
                </a:moveTo>
                <a:lnTo>
                  <a:pt x="845848" y="695954"/>
                </a:lnTo>
                <a:lnTo>
                  <a:pt x="779933" y="578255"/>
                </a:lnTo>
                <a:lnTo>
                  <a:pt x="704987" y="466091"/>
                </a:lnTo>
                <a:lnTo>
                  <a:pt x="621472" y="360153"/>
                </a:lnTo>
                <a:lnTo>
                  <a:pt x="529903" y="261093"/>
                </a:lnTo>
                <a:lnTo>
                  <a:pt x="430843" y="169524"/>
                </a:lnTo>
                <a:lnTo>
                  <a:pt x="324905" y="86008"/>
                </a:lnTo>
                <a:lnTo>
                  <a:pt x="212740" y="11062"/>
                </a:lnTo>
                <a:lnTo>
                  <a:pt x="193656" y="375"/>
                </a:lnTo>
                <a:lnTo>
                  <a:pt x="375" y="1145314"/>
                </a:lnTo>
                <a:lnTo>
                  <a:pt x="507123" y="1171852"/>
                </a:lnTo>
                <a:lnTo>
                  <a:pt x="904631" y="824714"/>
                </a:lnTo>
                <a:close/>
              </a:path>
            </a:pathLst>
          </a:custGeom>
          <a:solidFill>
            <a:srgbClr val="679CBD"/>
          </a:solidFill>
          <a:ln w="14707" cap="flat">
            <a:solidFill>
              <a:srgbClr val="FFFFFF"/>
            </a:solidFill>
            <a:prstDash val="solid"/>
            <a:miter/>
          </a:ln>
        </p:spPr>
        <p:txBody>
          <a:bodyPr lIns="0" tIns="0" rIns="0" bIns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" name="Free-form: Shape 11">
            <a:extLst>
              <a:ext uri="{FF2B5EF4-FFF2-40B4-BE49-F238E27FC236}">
                <a16:creationId xmlns:a16="http://schemas.microsoft.com/office/drawing/2014/main" id="{F4C191AD-BE3A-E051-2B6C-77647FC64405}"/>
              </a:ext>
            </a:extLst>
          </p:cNvPr>
          <p:cNvSpPr/>
          <p:nvPr/>
        </p:nvSpPr>
        <p:spPr>
          <a:xfrm>
            <a:off x="1633482" y="2949866"/>
            <a:ext cx="1165029" cy="1010179"/>
          </a:xfrm>
          <a:custGeom>
            <a:avLst/>
            <a:gdLst>
              <a:gd name="csX0" fmla="*/ 1165404 w 1165029"/>
              <a:gd name="csY0" fmla="*/ 841078 h 1010179"/>
              <a:gd name="csX1" fmla="*/ 816410 w 1165029"/>
              <a:gd name="csY1" fmla="*/ 375 h 1010179"/>
              <a:gd name="csX2" fmla="*/ 89303 w 1165029"/>
              <a:gd name="csY2" fmla="*/ 102507 h 1010179"/>
              <a:gd name="csX3" fmla="*/ 64973 w 1165029"/>
              <a:gd name="csY3" fmla="*/ 138919 h 1010179"/>
              <a:gd name="csX4" fmla="*/ 375 w 1165029"/>
              <a:gd name="csY4" fmla="*/ 254267 h 1010179"/>
              <a:gd name="csX5" fmla="*/ 798239 w 1165029"/>
              <a:gd name="csY5" fmla="*/ 1010555 h 101017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</a:cxnLst>
            <a:rect l="l" t="t" r="r" b="b"/>
            <a:pathLst>
              <a:path w="1165029" h="1010179">
                <a:moveTo>
                  <a:pt x="1165404" y="841078"/>
                </a:moveTo>
                <a:lnTo>
                  <a:pt x="816410" y="375"/>
                </a:lnTo>
                <a:lnTo>
                  <a:pt x="89303" y="102507"/>
                </a:lnTo>
                <a:lnTo>
                  <a:pt x="64973" y="138919"/>
                </a:lnTo>
                <a:lnTo>
                  <a:pt x="375" y="254267"/>
                </a:lnTo>
                <a:lnTo>
                  <a:pt x="798239" y="1010555"/>
                </a:lnTo>
                <a:close/>
              </a:path>
            </a:pathLst>
          </a:custGeom>
          <a:solidFill>
            <a:srgbClr val="90BED4"/>
          </a:solidFill>
          <a:ln w="14707" cap="flat">
            <a:solidFill>
              <a:srgbClr val="FFFFFF"/>
            </a:solidFill>
            <a:prstDash val="solid"/>
            <a:miter/>
          </a:ln>
        </p:spPr>
        <p:txBody>
          <a:bodyPr lIns="0" tIns="0" rIns="0" bIns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3" name="Free-form: Shape 12">
            <a:extLst>
              <a:ext uri="{FF2B5EF4-FFF2-40B4-BE49-F238E27FC236}">
                <a16:creationId xmlns:a16="http://schemas.microsoft.com/office/drawing/2014/main" id="{751211FC-D756-69A5-B3FC-A34662EC048D}"/>
              </a:ext>
            </a:extLst>
          </p:cNvPr>
          <p:cNvSpPr/>
          <p:nvPr/>
        </p:nvSpPr>
        <p:spPr>
          <a:xfrm>
            <a:off x="1722410" y="2368826"/>
            <a:ext cx="864388" cy="683171"/>
          </a:xfrm>
          <a:custGeom>
            <a:avLst/>
            <a:gdLst>
              <a:gd name="csX0" fmla="*/ 783444 w 864388"/>
              <a:gd name="csY0" fmla="*/ 30375 h 683171"/>
              <a:gd name="csX1" fmla="*/ 660937 w 864388"/>
              <a:gd name="csY1" fmla="*/ 86852 h 683171"/>
              <a:gd name="csX2" fmla="*/ 543238 w 864388"/>
              <a:gd name="csY2" fmla="*/ 152767 h 683171"/>
              <a:gd name="csX3" fmla="*/ 431073 w 864388"/>
              <a:gd name="csY3" fmla="*/ 227712 h 683171"/>
              <a:gd name="csX4" fmla="*/ 325135 w 864388"/>
              <a:gd name="csY4" fmla="*/ 311228 h 683171"/>
              <a:gd name="csX5" fmla="*/ 226075 w 864388"/>
              <a:gd name="csY5" fmla="*/ 402797 h 683171"/>
              <a:gd name="csX6" fmla="*/ 134506 w 864388"/>
              <a:gd name="csY6" fmla="*/ 501857 h 683171"/>
              <a:gd name="csX7" fmla="*/ 50991 w 864388"/>
              <a:gd name="csY7" fmla="*/ 607795 h 683171"/>
              <a:gd name="csX8" fmla="*/ 375 w 864388"/>
              <a:gd name="csY8" fmla="*/ 683547 h 683171"/>
              <a:gd name="csX9" fmla="*/ 727482 w 864388"/>
              <a:gd name="csY9" fmla="*/ 581415 h 683171"/>
              <a:gd name="csX10" fmla="*/ 864763 w 864388"/>
              <a:gd name="csY10" fmla="*/ 375 h 68317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</a:cxnLst>
            <a:rect l="l" t="t" r="r" b="b"/>
            <a:pathLst>
              <a:path w="864388" h="683171">
                <a:moveTo>
                  <a:pt x="783444" y="30375"/>
                </a:moveTo>
                <a:lnTo>
                  <a:pt x="660937" y="86852"/>
                </a:lnTo>
                <a:lnTo>
                  <a:pt x="543238" y="152767"/>
                </a:lnTo>
                <a:lnTo>
                  <a:pt x="431073" y="227712"/>
                </a:lnTo>
                <a:lnTo>
                  <a:pt x="325135" y="311228"/>
                </a:lnTo>
                <a:lnTo>
                  <a:pt x="226075" y="402797"/>
                </a:lnTo>
                <a:lnTo>
                  <a:pt x="134506" y="501857"/>
                </a:lnTo>
                <a:lnTo>
                  <a:pt x="50991" y="607795"/>
                </a:lnTo>
                <a:lnTo>
                  <a:pt x="375" y="683547"/>
                </a:lnTo>
                <a:lnTo>
                  <a:pt x="727482" y="581415"/>
                </a:lnTo>
                <a:lnTo>
                  <a:pt x="864763" y="375"/>
                </a:lnTo>
                <a:close/>
              </a:path>
            </a:pathLst>
          </a:custGeom>
          <a:solidFill>
            <a:srgbClr val="CDE1EB"/>
          </a:solidFill>
          <a:ln w="14707" cap="flat">
            <a:solidFill>
              <a:srgbClr val="FFFFFF"/>
            </a:solidFill>
            <a:prstDash val="solid"/>
            <a:miter/>
          </a:ln>
        </p:spPr>
        <p:txBody>
          <a:bodyPr lIns="0" tIns="0" rIns="0" bIns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5" name="Free-form: Shape 14">
            <a:extLst>
              <a:ext uri="{FF2B5EF4-FFF2-40B4-BE49-F238E27FC236}">
                <a16:creationId xmlns:a16="http://schemas.microsoft.com/office/drawing/2014/main" id="{7AEEDE31-0A30-85E5-3D8F-8C7434273CAF}"/>
              </a:ext>
            </a:extLst>
          </p:cNvPr>
          <p:cNvSpPr/>
          <p:nvPr/>
        </p:nvSpPr>
        <p:spPr>
          <a:xfrm>
            <a:off x="4354991" y="3334869"/>
            <a:ext cx="525978" cy="715996"/>
          </a:xfrm>
          <a:custGeom>
            <a:avLst/>
            <a:gdLst>
              <a:gd name="csX0" fmla="*/ 523808 w 525978"/>
              <a:gd name="csY0" fmla="*/ 716372 h 715996"/>
              <a:gd name="csX1" fmla="*/ 526354 w 525978"/>
              <a:gd name="csY1" fmla="*/ 651585 h 715996"/>
              <a:gd name="csX2" fmla="*/ 521057 w 525978"/>
              <a:gd name="csY2" fmla="*/ 516789 h 715996"/>
              <a:gd name="csX3" fmla="*/ 505202 w 525978"/>
              <a:gd name="csY3" fmla="*/ 382826 h 715996"/>
              <a:gd name="csX4" fmla="*/ 478884 w 525978"/>
              <a:gd name="csY4" fmla="*/ 250519 h 715996"/>
              <a:gd name="csX5" fmla="*/ 442267 w 525978"/>
              <a:gd name="csY5" fmla="*/ 120684 h 715996"/>
              <a:gd name="csX6" fmla="*/ 397883 w 525978"/>
              <a:gd name="csY6" fmla="*/ 375 h 715996"/>
              <a:gd name="csX7" fmla="*/ 375 w 525978"/>
              <a:gd name="csY7" fmla="*/ 347513 h 71599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</a:cxnLst>
            <a:rect l="l" t="t" r="r" b="b"/>
            <a:pathLst>
              <a:path w="525978" h="715996">
                <a:moveTo>
                  <a:pt x="523808" y="716372"/>
                </a:moveTo>
                <a:lnTo>
                  <a:pt x="526354" y="651585"/>
                </a:lnTo>
                <a:lnTo>
                  <a:pt x="521057" y="516789"/>
                </a:lnTo>
                <a:lnTo>
                  <a:pt x="505202" y="382826"/>
                </a:lnTo>
                <a:lnTo>
                  <a:pt x="478884" y="250519"/>
                </a:lnTo>
                <a:lnTo>
                  <a:pt x="442267" y="120684"/>
                </a:lnTo>
                <a:lnTo>
                  <a:pt x="397883" y="375"/>
                </a:lnTo>
                <a:lnTo>
                  <a:pt x="375" y="347513"/>
                </a:lnTo>
                <a:close/>
              </a:path>
            </a:pathLst>
          </a:custGeom>
          <a:solidFill>
            <a:schemeClr val="accent6">
              <a:lumMod val="75000"/>
            </a:schemeClr>
          </a:solidFill>
          <a:ln w="14707" cap="flat">
            <a:solidFill>
              <a:srgbClr val="FFFFFF"/>
            </a:solidFill>
            <a:prstDash val="solid"/>
            <a:miter/>
          </a:ln>
        </p:spPr>
        <p:txBody>
          <a:bodyPr lIns="0" tIns="0" rIns="0" bIns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" name="Free-form: Shape 15">
            <a:extLst>
              <a:ext uri="{FF2B5EF4-FFF2-40B4-BE49-F238E27FC236}">
                <a16:creationId xmlns:a16="http://schemas.microsoft.com/office/drawing/2014/main" id="{EAD9B1F8-5C46-407A-6E08-AA25D3686096}"/>
              </a:ext>
            </a:extLst>
          </p:cNvPr>
          <p:cNvSpPr/>
          <p:nvPr/>
        </p:nvSpPr>
        <p:spPr>
          <a:xfrm>
            <a:off x="1495242" y="4397289"/>
            <a:ext cx="543661" cy="468346"/>
          </a:xfrm>
          <a:custGeom>
            <a:avLst/>
            <a:gdLst>
              <a:gd name="csX0" fmla="*/ 544037 w 543661"/>
              <a:gd name="csY0" fmla="*/ 43604 h 468346"/>
              <a:gd name="csX1" fmla="*/ 375 w 543661"/>
              <a:gd name="csY1" fmla="*/ 375 h 468346"/>
              <a:gd name="csX2" fmla="*/ 34131 w 543661"/>
              <a:gd name="csY2" fmla="*/ 120064 h 468346"/>
              <a:gd name="csX3" fmla="*/ 80822 w 543661"/>
              <a:gd name="csY3" fmla="*/ 246625 h 468346"/>
              <a:gd name="csX4" fmla="*/ 137298 w 543661"/>
              <a:gd name="csY4" fmla="*/ 369133 h 468346"/>
              <a:gd name="csX5" fmla="*/ 193071 w 543661"/>
              <a:gd name="csY5" fmla="*/ 468722 h 468346"/>
              <a:gd name="csX6" fmla="*/ 483914 w 543661"/>
              <a:gd name="csY6" fmla="*/ 374978 h 46834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</a:cxnLst>
            <a:rect l="l" t="t" r="r" b="b"/>
            <a:pathLst>
              <a:path w="543661" h="468346">
                <a:moveTo>
                  <a:pt x="544037" y="43604"/>
                </a:moveTo>
                <a:lnTo>
                  <a:pt x="375" y="375"/>
                </a:lnTo>
                <a:lnTo>
                  <a:pt x="34131" y="120064"/>
                </a:lnTo>
                <a:lnTo>
                  <a:pt x="80822" y="246625"/>
                </a:lnTo>
                <a:lnTo>
                  <a:pt x="137298" y="369133"/>
                </a:lnTo>
                <a:lnTo>
                  <a:pt x="193071" y="468722"/>
                </a:lnTo>
                <a:lnTo>
                  <a:pt x="483914" y="374978"/>
                </a:ln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14707" cap="flat">
            <a:solidFill>
              <a:srgbClr val="FFFFFF"/>
            </a:solidFill>
            <a:prstDash val="solid"/>
            <a:miter/>
          </a:ln>
        </p:spPr>
        <p:txBody>
          <a:bodyPr lIns="0" tIns="0" rIns="0" bIns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7" name="Free-form: Shape 16">
            <a:extLst>
              <a:ext uri="{FF2B5EF4-FFF2-40B4-BE49-F238E27FC236}">
                <a16:creationId xmlns:a16="http://schemas.microsoft.com/office/drawing/2014/main" id="{6DA0E8D1-C890-B337-C1D6-26582EF35A9A}"/>
              </a:ext>
            </a:extLst>
          </p:cNvPr>
          <p:cNvSpPr/>
          <p:nvPr/>
        </p:nvSpPr>
        <p:spPr>
          <a:xfrm>
            <a:off x="1687937" y="4771892"/>
            <a:ext cx="397581" cy="550818"/>
          </a:xfrm>
          <a:custGeom>
            <a:avLst/>
            <a:gdLst>
              <a:gd name="csX0" fmla="*/ 10517 w 397581"/>
              <a:gd name="csY0" fmla="*/ 112229 h 550818"/>
              <a:gd name="csX1" fmla="*/ 85463 w 397581"/>
              <a:gd name="csY1" fmla="*/ 224393 h 550818"/>
              <a:gd name="csX2" fmla="*/ 168978 w 397581"/>
              <a:gd name="csY2" fmla="*/ 330332 h 550818"/>
              <a:gd name="csX3" fmla="*/ 260548 w 397581"/>
              <a:gd name="csY3" fmla="*/ 429391 h 550818"/>
              <a:gd name="csX4" fmla="*/ 359607 w 397581"/>
              <a:gd name="csY4" fmla="*/ 520961 h 550818"/>
              <a:gd name="csX5" fmla="*/ 397957 w 397581"/>
              <a:gd name="csY5" fmla="*/ 551193 h 550818"/>
              <a:gd name="csX6" fmla="*/ 291218 w 397581"/>
              <a:gd name="csY6" fmla="*/ 375 h 550818"/>
              <a:gd name="csX7" fmla="*/ 375 w 397581"/>
              <a:gd name="csY7" fmla="*/ 94119 h 55081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</a:cxnLst>
            <a:rect l="l" t="t" r="r" b="b"/>
            <a:pathLst>
              <a:path w="397581" h="550818">
                <a:moveTo>
                  <a:pt x="10517" y="112229"/>
                </a:moveTo>
                <a:lnTo>
                  <a:pt x="85463" y="224393"/>
                </a:lnTo>
                <a:lnTo>
                  <a:pt x="168978" y="330332"/>
                </a:lnTo>
                <a:lnTo>
                  <a:pt x="260548" y="429391"/>
                </a:lnTo>
                <a:lnTo>
                  <a:pt x="359607" y="520961"/>
                </a:lnTo>
                <a:lnTo>
                  <a:pt x="397957" y="551193"/>
                </a:lnTo>
                <a:lnTo>
                  <a:pt x="291218" y="375"/>
                </a:lnTo>
                <a:lnTo>
                  <a:pt x="375" y="94119"/>
                </a:lnTo>
                <a:close/>
              </a:path>
            </a:pathLst>
          </a:custGeom>
          <a:solidFill>
            <a:srgbClr val="D9EDF5"/>
          </a:solidFill>
          <a:ln w="14707" cap="flat">
            <a:solidFill>
              <a:srgbClr val="FFFFFF"/>
            </a:solidFill>
            <a:prstDash val="solid"/>
            <a:miter/>
          </a:ln>
        </p:spPr>
        <p:txBody>
          <a:bodyPr lIns="0" tIns="0" rIns="0" bIns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8" name="Free-form: Shape 17">
            <a:extLst>
              <a:ext uri="{FF2B5EF4-FFF2-40B4-BE49-F238E27FC236}">
                <a16:creationId xmlns:a16="http://schemas.microsoft.com/office/drawing/2014/main" id="{235913AB-86D1-23AC-3325-39478805A195}"/>
              </a:ext>
            </a:extLst>
          </p:cNvPr>
          <p:cNvSpPr/>
          <p:nvPr/>
        </p:nvSpPr>
        <p:spPr>
          <a:xfrm>
            <a:off x="3638940" y="5196928"/>
            <a:ext cx="640357" cy="438576"/>
          </a:xfrm>
          <a:custGeom>
            <a:avLst/>
            <a:gdLst>
              <a:gd name="csX0" fmla="*/ 55275 w 640357"/>
              <a:gd name="csY0" fmla="*/ 423468 h 438576"/>
              <a:gd name="csX1" fmla="*/ 181836 w 640357"/>
              <a:gd name="csY1" fmla="*/ 376777 h 438576"/>
              <a:gd name="csX2" fmla="*/ 304343 w 640357"/>
              <a:gd name="csY2" fmla="*/ 320300 h 438576"/>
              <a:gd name="csX3" fmla="*/ 422042 w 640357"/>
              <a:gd name="csY3" fmla="*/ 254386 h 438576"/>
              <a:gd name="csX4" fmla="*/ 534207 w 640357"/>
              <a:gd name="csY4" fmla="*/ 179440 h 438576"/>
              <a:gd name="csX5" fmla="*/ 640145 w 640357"/>
              <a:gd name="csY5" fmla="*/ 95925 h 438576"/>
              <a:gd name="csX6" fmla="*/ 640732 w 640357"/>
              <a:gd name="csY6" fmla="*/ 95382 h 438576"/>
              <a:gd name="csX7" fmla="*/ 252876 w 640357"/>
              <a:gd name="csY7" fmla="*/ 375 h 438576"/>
              <a:gd name="csX8" fmla="*/ 375 w 640357"/>
              <a:gd name="csY8" fmla="*/ 438951 h 43857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</a:cxnLst>
            <a:rect l="l" t="t" r="r" b="b"/>
            <a:pathLst>
              <a:path w="640357" h="438576">
                <a:moveTo>
                  <a:pt x="55275" y="423468"/>
                </a:moveTo>
                <a:lnTo>
                  <a:pt x="181836" y="376777"/>
                </a:lnTo>
                <a:lnTo>
                  <a:pt x="304343" y="320300"/>
                </a:lnTo>
                <a:lnTo>
                  <a:pt x="422042" y="254386"/>
                </a:lnTo>
                <a:lnTo>
                  <a:pt x="534207" y="179440"/>
                </a:lnTo>
                <a:lnTo>
                  <a:pt x="640145" y="95925"/>
                </a:lnTo>
                <a:lnTo>
                  <a:pt x="640732" y="95382"/>
                </a:lnTo>
                <a:lnTo>
                  <a:pt x="252876" y="375"/>
                </a:lnTo>
                <a:lnTo>
                  <a:pt x="375" y="438951"/>
                </a:lnTo>
                <a:close/>
              </a:path>
            </a:pathLst>
          </a:custGeom>
          <a:solidFill>
            <a:srgbClr val="E6F5FA"/>
          </a:solidFill>
          <a:ln w="14707" cap="flat">
            <a:solidFill>
              <a:srgbClr val="FFFFFF"/>
            </a:solidFill>
            <a:prstDash val="solid"/>
            <a:miter/>
          </a:ln>
        </p:spPr>
        <p:txBody>
          <a:bodyPr lIns="0" tIns="0" rIns="0" bIns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0322E12-CAA1-27D7-3516-0A6E152C1062}"/>
              </a:ext>
            </a:extLst>
          </p:cNvPr>
          <p:cNvSpPr txBox="1"/>
          <p:nvPr/>
        </p:nvSpPr>
        <p:spPr>
          <a:xfrm>
            <a:off x="3608442" y="3999486"/>
            <a:ext cx="1239484" cy="60016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Other rare B-cell derived and T-cell derived form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C26570D-0E48-1173-E068-D219A993FBF9}"/>
              </a:ext>
            </a:extLst>
          </p:cNvPr>
          <p:cNvSpPr txBox="1"/>
          <p:nvPr/>
        </p:nvSpPr>
        <p:spPr>
          <a:xfrm>
            <a:off x="622864" y="4979402"/>
            <a:ext cx="923362" cy="30777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LPL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AE8C2C43-AD12-DBDD-F7B1-08497885A5B2}"/>
              </a:ext>
            </a:extLst>
          </p:cNvPr>
          <p:cNvSpPr txBox="1"/>
          <p:nvPr/>
        </p:nvSpPr>
        <p:spPr>
          <a:xfrm>
            <a:off x="4229524" y="3438138"/>
            <a:ext cx="923362" cy="46166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BL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%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A6E9150-EA1E-4DD6-2DE2-EB1DDD671DC8}"/>
              </a:ext>
            </a:extLst>
          </p:cNvPr>
          <p:cNvSpPr txBox="1"/>
          <p:nvPr/>
        </p:nvSpPr>
        <p:spPr>
          <a:xfrm>
            <a:off x="1767072" y="3104511"/>
            <a:ext cx="923362" cy="52322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LL/SLL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7%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AE31C65-C12D-AB4A-602C-B8B43B77C98C}"/>
              </a:ext>
            </a:extLst>
          </p:cNvPr>
          <p:cNvSpPr txBox="1"/>
          <p:nvPr/>
        </p:nvSpPr>
        <p:spPr>
          <a:xfrm>
            <a:off x="2800380" y="2723886"/>
            <a:ext cx="923362" cy="64633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sv-SE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b="1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FL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2%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C5C8B98-010A-BC90-D37C-F1667182914B}"/>
              </a:ext>
            </a:extLst>
          </p:cNvPr>
          <p:cNvSpPr txBox="1"/>
          <p:nvPr/>
        </p:nvSpPr>
        <p:spPr>
          <a:xfrm>
            <a:off x="3800607" y="2977101"/>
            <a:ext cx="923362" cy="52322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MZL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7%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C80489B-BEB6-BC38-5ACF-9789C0134C63}"/>
              </a:ext>
            </a:extLst>
          </p:cNvPr>
          <p:cNvSpPr txBox="1"/>
          <p:nvPr/>
        </p:nvSpPr>
        <p:spPr>
          <a:xfrm>
            <a:off x="1367757" y="3599504"/>
            <a:ext cx="876750" cy="73866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Gastric MAL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8%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0280834A-5084-0CD1-0C1A-959D9F0B9228}"/>
              </a:ext>
            </a:extLst>
          </p:cNvPr>
          <p:cNvSpPr txBox="1"/>
          <p:nvPr/>
        </p:nvSpPr>
        <p:spPr>
          <a:xfrm>
            <a:off x="2376362" y="4571798"/>
            <a:ext cx="1111248" cy="64633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LBCL</a:t>
            </a:r>
            <a:b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30%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6C0B137-33E8-4698-4175-25111B17E385}"/>
              </a:ext>
            </a:extLst>
          </p:cNvPr>
          <p:cNvSpPr txBox="1"/>
          <p:nvPr/>
        </p:nvSpPr>
        <p:spPr>
          <a:xfrm>
            <a:off x="1869873" y="2540497"/>
            <a:ext cx="923362" cy="46166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MCL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3%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AD612950-A5F3-6571-C4A3-9AD3FB3E21DD}"/>
              </a:ext>
            </a:extLst>
          </p:cNvPr>
          <p:cNvSpPr txBox="1"/>
          <p:nvPr/>
        </p:nvSpPr>
        <p:spPr>
          <a:xfrm>
            <a:off x="-334338" y="4504807"/>
            <a:ext cx="1624170" cy="30777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Lymphoblastic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703BF09A-9156-EF11-79B1-5B1D1000DDD3}"/>
              </a:ext>
            </a:extLst>
          </p:cNvPr>
          <p:cNvSpPr txBox="1"/>
          <p:nvPr/>
        </p:nvSpPr>
        <p:spPr>
          <a:xfrm>
            <a:off x="4236787" y="5358820"/>
            <a:ext cx="923362" cy="30777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MZL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082375EC-C2D1-0292-437A-63E5F5FE3105}"/>
              </a:ext>
            </a:extLst>
          </p:cNvPr>
          <p:cNvCxnSpPr>
            <a:cxnSpLocks/>
            <a:endCxn id="32" idx="1"/>
          </p:cNvCxnSpPr>
          <p:nvPr/>
        </p:nvCxnSpPr>
        <p:spPr>
          <a:xfrm flipV="1">
            <a:off x="1324695" y="4581204"/>
            <a:ext cx="221531" cy="65992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EED57E3C-EE38-80A3-EE9D-9EA6FBE11AE7}"/>
              </a:ext>
            </a:extLst>
          </p:cNvPr>
          <p:cNvSpPr txBox="1"/>
          <p:nvPr/>
        </p:nvSpPr>
        <p:spPr>
          <a:xfrm>
            <a:off x="3812939" y="4550918"/>
            <a:ext cx="923362" cy="3693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sv-SE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b="1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7%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8AC356DC-AF70-9109-9A5A-4FF033100FE9}"/>
              </a:ext>
            </a:extLst>
          </p:cNvPr>
          <p:cNvSpPr txBox="1"/>
          <p:nvPr/>
        </p:nvSpPr>
        <p:spPr>
          <a:xfrm>
            <a:off x="1546226" y="4427315"/>
            <a:ext cx="379035" cy="30777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%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6B4F9903-EEDA-5E13-3FD9-BE0E6F7A9E94}"/>
              </a:ext>
            </a:extLst>
          </p:cNvPr>
          <p:cNvSpPr txBox="1"/>
          <p:nvPr/>
        </p:nvSpPr>
        <p:spPr>
          <a:xfrm>
            <a:off x="1618303" y="4839670"/>
            <a:ext cx="379035" cy="26161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%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265A13FA-485D-8848-7A1B-C791E7BD4966}"/>
              </a:ext>
            </a:extLst>
          </p:cNvPr>
          <p:cNvCxnSpPr>
            <a:cxnSpLocks/>
            <a:stCxn id="20" idx="3"/>
          </p:cNvCxnSpPr>
          <p:nvPr/>
        </p:nvCxnSpPr>
        <p:spPr>
          <a:xfrm flipV="1">
            <a:off x="1546226" y="5040785"/>
            <a:ext cx="269081" cy="92506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34">
            <a:extLst>
              <a:ext uri="{FF2B5EF4-FFF2-40B4-BE49-F238E27FC236}">
                <a16:creationId xmlns:a16="http://schemas.microsoft.com/office/drawing/2014/main" id="{8CAE0F7C-26DA-8235-48AE-14F5D1AF27F9}"/>
              </a:ext>
            </a:extLst>
          </p:cNvPr>
          <p:cNvSpPr txBox="1"/>
          <p:nvPr/>
        </p:nvSpPr>
        <p:spPr>
          <a:xfrm>
            <a:off x="3660463" y="5213050"/>
            <a:ext cx="379035" cy="26161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%</a:t>
            </a: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7A9D6718-E1C3-3B20-B93C-A758F02DCC39}"/>
              </a:ext>
            </a:extLst>
          </p:cNvPr>
          <p:cNvCxnSpPr>
            <a:cxnSpLocks/>
          </p:cNvCxnSpPr>
          <p:nvPr/>
        </p:nvCxnSpPr>
        <p:spPr>
          <a:xfrm>
            <a:off x="4060826" y="5407611"/>
            <a:ext cx="95644" cy="77253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tangle 37">
            <a:extLst>
              <a:ext uri="{FF2B5EF4-FFF2-40B4-BE49-F238E27FC236}">
                <a16:creationId xmlns:a16="http://schemas.microsoft.com/office/drawing/2014/main" id="{D9A528A6-8A26-7517-C11C-413E551EBC41}"/>
              </a:ext>
            </a:extLst>
          </p:cNvPr>
          <p:cNvSpPr/>
          <p:nvPr/>
        </p:nvSpPr>
        <p:spPr>
          <a:xfrm>
            <a:off x="102742" y="1321771"/>
            <a:ext cx="5971163" cy="4469475"/>
          </a:xfrm>
          <a:prstGeom prst="rect">
            <a:avLst/>
          </a:prstGeom>
          <a:solidFill>
            <a:srgbClr val="FFFFFF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9" name="Slide Number Placeholder 2">
            <a:extLst>
              <a:ext uri="{FF2B5EF4-FFF2-40B4-BE49-F238E27FC236}">
                <a16:creationId xmlns:a16="http://schemas.microsoft.com/office/drawing/2014/main" id="{BE32645A-5AAD-33E0-0077-EDD31AE135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651" y="6356350"/>
            <a:ext cx="383694" cy="365125"/>
          </a:xfrm>
        </p:spPr>
        <p:txBody>
          <a:bodyPr vert="horz" lIns="0" tIns="0" rIns="0" bIns="0"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01CC8E-1CEF-6746-999E-CF29FF00B1DC}" type="slidenum"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82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24" name="Straight Connector 123">
            <a:extLst>
              <a:ext uri="{FF2B5EF4-FFF2-40B4-BE49-F238E27FC236}">
                <a16:creationId xmlns:a16="http://schemas.microsoft.com/office/drawing/2014/main" id="{1F6B4C28-21CD-6196-C6EB-940662F34E59}"/>
              </a:ext>
            </a:extLst>
          </p:cNvPr>
          <p:cNvCxnSpPr>
            <a:cxnSpLocks/>
          </p:cNvCxnSpPr>
          <p:nvPr/>
        </p:nvCxnSpPr>
        <p:spPr>
          <a:xfrm>
            <a:off x="6820598" y="4529617"/>
            <a:ext cx="4087756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Straight Connector 124">
            <a:extLst>
              <a:ext uri="{FF2B5EF4-FFF2-40B4-BE49-F238E27FC236}">
                <a16:creationId xmlns:a16="http://schemas.microsoft.com/office/drawing/2014/main" id="{1EC8866E-2A04-BD6A-5FD8-1525B680CC07}"/>
              </a:ext>
            </a:extLst>
          </p:cNvPr>
          <p:cNvCxnSpPr>
            <a:cxnSpLocks/>
          </p:cNvCxnSpPr>
          <p:nvPr/>
        </p:nvCxnSpPr>
        <p:spPr>
          <a:xfrm>
            <a:off x="6738569" y="4529703"/>
            <a:ext cx="95151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Straight Connector 125">
            <a:extLst>
              <a:ext uri="{FF2B5EF4-FFF2-40B4-BE49-F238E27FC236}">
                <a16:creationId xmlns:a16="http://schemas.microsoft.com/office/drawing/2014/main" id="{CC5B931D-FBEA-A163-3F14-690D6B0D39D9}"/>
              </a:ext>
            </a:extLst>
          </p:cNvPr>
          <p:cNvCxnSpPr>
            <a:cxnSpLocks/>
          </p:cNvCxnSpPr>
          <p:nvPr/>
        </p:nvCxnSpPr>
        <p:spPr>
          <a:xfrm>
            <a:off x="6822866" y="4531750"/>
            <a:ext cx="0" cy="7200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TextBox 126">
            <a:extLst>
              <a:ext uri="{FF2B5EF4-FFF2-40B4-BE49-F238E27FC236}">
                <a16:creationId xmlns:a16="http://schemas.microsoft.com/office/drawing/2014/main" id="{4D11C4DD-7296-3EC6-3909-468B7901152A}"/>
              </a:ext>
            </a:extLst>
          </p:cNvPr>
          <p:cNvSpPr txBox="1"/>
          <p:nvPr/>
        </p:nvSpPr>
        <p:spPr>
          <a:xfrm>
            <a:off x="6580417" y="4560985"/>
            <a:ext cx="48489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GB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0</a:t>
            </a:r>
          </a:p>
        </p:txBody>
      </p:sp>
      <p:cxnSp>
        <p:nvCxnSpPr>
          <p:cNvPr id="128" name="Straight Connector 127">
            <a:extLst>
              <a:ext uri="{FF2B5EF4-FFF2-40B4-BE49-F238E27FC236}">
                <a16:creationId xmlns:a16="http://schemas.microsoft.com/office/drawing/2014/main" id="{002CD6A4-AAC0-2A33-AB98-6C13701DF479}"/>
              </a:ext>
            </a:extLst>
          </p:cNvPr>
          <p:cNvCxnSpPr>
            <a:cxnSpLocks/>
          </p:cNvCxnSpPr>
          <p:nvPr/>
        </p:nvCxnSpPr>
        <p:spPr>
          <a:xfrm>
            <a:off x="7127936" y="4527559"/>
            <a:ext cx="0" cy="7200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9" name="TextBox 128">
            <a:extLst>
              <a:ext uri="{FF2B5EF4-FFF2-40B4-BE49-F238E27FC236}">
                <a16:creationId xmlns:a16="http://schemas.microsoft.com/office/drawing/2014/main" id="{78F35DB2-7436-54DC-9357-621D367882F0}"/>
              </a:ext>
            </a:extLst>
          </p:cNvPr>
          <p:cNvSpPr txBox="1"/>
          <p:nvPr/>
        </p:nvSpPr>
        <p:spPr>
          <a:xfrm>
            <a:off x="6902568" y="4560985"/>
            <a:ext cx="48489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GB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6</a:t>
            </a:r>
          </a:p>
        </p:txBody>
      </p:sp>
      <p:cxnSp>
        <p:nvCxnSpPr>
          <p:cNvPr id="130" name="Straight Connector 129">
            <a:extLst>
              <a:ext uri="{FF2B5EF4-FFF2-40B4-BE49-F238E27FC236}">
                <a16:creationId xmlns:a16="http://schemas.microsoft.com/office/drawing/2014/main" id="{D4AA2341-9D0C-1E33-C172-C64DAB3FE85C}"/>
              </a:ext>
            </a:extLst>
          </p:cNvPr>
          <p:cNvCxnSpPr>
            <a:cxnSpLocks/>
          </p:cNvCxnSpPr>
          <p:nvPr/>
        </p:nvCxnSpPr>
        <p:spPr>
          <a:xfrm>
            <a:off x="7442600" y="4527559"/>
            <a:ext cx="0" cy="7200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Straight Connector 130">
            <a:extLst>
              <a:ext uri="{FF2B5EF4-FFF2-40B4-BE49-F238E27FC236}">
                <a16:creationId xmlns:a16="http://schemas.microsoft.com/office/drawing/2014/main" id="{67700F1B-220B-12F6-9350-5ADD88940546}"/>
              </a:ext>
            </a:extLst>
          </p:cNvPr>
          <p:cNvCxnSpPr>
            <a:cxnSpLocks/>
          </p:cNvCxnSpPr>
          <p:nvPr/>
        </p:nvCxnSpPr>
        <p:spPr>
          <a:xfrm>
            <a:off x="7757263" y="4527559"/>
            <a:ext cx="0" cy="7200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Straight Connector 131">
            <a:extLst>
              <a:ext uri="{FF2B5EF4-FFF2-40B4-BE49-F238E27FC236}">
                <a16:creationId xmlns:a16="http://schemas.microsoft.com/office/drawing/2014/main" id="{D4E0643C-C8E1-3859-62F5-431AB2CF5972}"/>
              </a:ext>
            </a:extLst>
          </p:cNvPr>
          <p:cNvCxnSpPr>
            <a:cxnSpLocks/>
          </p:cNvCxnSpPr>
          <p:nvPr/>
        </p:nvCxnSpPr>
        <p:spPr>
          <a:xfrm>
            <a:off x="8071927" y="4527559"/>
            <a:ext cx="0" cy="7200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Straight Connector 132">
            <a:extLst>
              <a:ext uri="{FF2B5EF4-FFF2-40B4-BE49-F238E27FC236}">
                <a16:creationId xmlns:a16="http://schemas.microsoft.com/office/drawing/2014/main" id="{DF285C79-1AE8-7C1A-22C3-1F8AEBFBE182}"/>
              </a:ext>
            </a:extLst>
          </p:cNvPr>
          <p:cNvCxnSpPr>
            <a:cxnSpLocks/>
          </p:cNvCxnSpPr>
          <p:nvPr/>
        </p:nvCxnSpPr>
        <p:spPr>
          <a:xfrm>
            <a:off x="8386590" y="4527559"/>
            <a:ext cx="0" cy="7200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Straight Connector 133">
            <a:extLst>
              <a:ext uri="{FF2B5EF4-FFF2-40B4-BE49-F238E27FC236}">
                <a16:creationId xmlns:a16="http://schemas.microsoft.com/office/drawing/2014/main" id="{36B64F36-8313-B941-31F4-6496A9390AA6}"/>
              </a:ext>
            </a:extLst>
          </p:cNvPr>
          <p:cNvCxnSpPr>
            <a:cxnSpLocks/>
          </p:cNvCxnSpPr>
          <p:nvPr/>
        </p:nvCxnSpPr>
        <p:spPr>
          <a:xfrm>
            <a:off x="8701254" y="4527559"/>
            <a:ext cx="0" cy="7200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5" name="Straight Connector 134">
            <a:extLst>
              <a:ext uri="{FF2B5EF4-FFF2-40B4-BE49-F238E27FC236}">
                <a16:creationId xmlns:a16="http://schemas.microsoft.com/office/drawing/2014/main" id="{30AA70DC-5858-13BB-2912-CA96C42737CF}"/>
              </a:ext>
            </a:extLst>
          </p:cNvPr>
          <p:cNvCxnSpPr>
            <a:cxnSpLocks/>
          </p:cNvCxnSpPr>
          <p:nvPr/>
        </p:nvCxnSpPr>
        <p:spPr>
          <a:xfrm>
            <a:off x="9015917" y="4527559"/>
            <a:ext cx="0" cy="7200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6" name="Straight Connector 135">
            <a:extLst>
              <a:ext uri="{FF2B5EF4-FFF2-40B4-BE49-F238E27FC236}">
                <a16:creationId xmlns:a16="http://schemas.microsoft.com/office/drawing/2014/main" id="{971A27A1-6C96-F772-B8EB-C562EB7769C8}"/>
              </a:ext>
            </a:extLst>
          </p:cNvPr>
          <p:cNvCxnSpPr>
            <a:cxnSpLocks/>
          </p:cNvCxnSpPr>
          <p:nvPr/>
        </p:nvCxnSpPr>
        <p:spPr>
          <a:xfrm>
            <a:off x="9330581" y="4527559"/>
            <a:ext cx="0" cy="7200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7" name="Straight Connector 136">
            <a:extLst>
              <a:ext uri="{FF2B5EF4-FFF2-40B4-BE49-F238E27FC236}">
                <a16:creationId xmlns:a16="http://schemas.microsoft.com/office/drawing/2014/main" id="{55434654-15A1-4E30-CDF7-2F1ED4E10DCB}"/>
              </a:ext>
            </a:extLst>
          </p:cNvPr>
          <p:cNvCxnSpPr>
            <a:cxnSpLocks/>
          </p:cNvCxnSpPr>
          <p:nvPr/>
        </p:nvCxnSpPr>
        <p:spPr>
          <a:xfrm>
            <a:off x="10274571" y="4527559"/>
            <a:ext cx="0" cy="7200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Straight Connector 137">
            <a:extLst>
              <a:ext uri="{FF2B5EF4-FFF2-40B4-BE49-F238E27FC236}">
                <a16:creationId xmlns:a16="http://schemas.microsoft.com/office/drawing/2014/main" id="{812E3ACC-7F71-D948-FAC4-79B259E99F26}"/>
              </a:ext>
            </a:extLst>
          </p:cNvPr>
          <p:cNvCxnSpPr>
            <a:cxnSpLocks/>
          </p:cNvCxnSpPr>
          <p:nvPr/>
        </p:nvCxnSpPr>
        <p:spPr>
          <a:xfrm>
            <a:off x="10589235" y="4527559"/>
            <a:ext cx="0" cy="7200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9" name="Straight Connector 138">
            <a:extLst>
              <a:ext uri="{FF2B5EF4-FFF2-40B4-BE49-F238E27FC236}">
                <a16:creationId xmlns:a16="http://schemas.microsoft.com/office/drawing/2014/main" id="{AC33C255-B403-03DE-525B-C5FE4B1D968A}"/>
              </a:ext>
            </a:extLst>
          </p:cNvPr>
          <p:cNvCxnSpPr>
            <a:cxnSpLocks/>
          </p:cNvCxnSpPr>
          <p:nvPr/>
        </p:nvCxnSpPr>
        <p:spPr>
          <a:xfrm>
            <a:off x="10903894" y="4527559"/>
            <a:ext cx="0" cy="7200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TextBox 139">
            <a:extLst>
              <a:ext uri="{FF2B5EF4-FFF2-40B4-BE49-F238E27FC236}">
                <a16:creationId xmlns:a16="http://schemas.microsoft.com/office/drawing/2014/main" id="{F1A517AC-16AE-F4F0-68CF-15D05C8033B6}"/>
              </a:ext>
            </a:extLst>
          </p:cNvPr>
          <p:cNvSpPr txBox="1"/>
          <p:nvPr/>
        </p:nvSpPr>
        <p:spPr>
          <a:xfrm>
            <a:off x="10655542" y="4560985"/>
            <a:ext cx="48489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GB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78</a:t>
            </a:r>
          </a:p>
        </p:txBody>
      </p:sp>
      <p:sp>
        <p:nvSpPr>
          <p:cNvPr id="141" name="TextBox 140">
            <a:extLst>
              <a:ext uri="{FF2B5EF4-FFF2-40B4-BE49-F238E27FC236}">
                <a16:creationId xmlns:a16="http://schemas.microsoft.com/office/drawing/2014/main" id="{116D9EF4-0977-4AD6-CFF3-01F2A418D5C5}"/>
              </a:ext>
            </a:extLst>
          </p:cNvPr>
          <p:cNvSpPr txBox="1"/>
          <p:nvPr/>
        </p:nvSpPr>
        <p:spPr>
          <a:xfrm>
            <a:off x="6146774" y="2329059"/>
            <a:ext cx="6299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.0</a:t>
            </a: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BF6FDBD3-9D6D-DB7A-1939-82FA2EF36694}"/>
              </a:ext>
            </a:extLst>
          </p:cNvPr>
          <p:cNvSpPr txBox="1"/>
          <p:nvPr/>
        </p:nvSpPr>
        <p:spPr>
          <a:xfrm>
            <a:off x="6146774" y="2747907"/>
            <a:ext cx="6299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0.8</a:t>
            </a:r>
          </a:p>
        </p:txBody>
      </p:sp>
      <p:sp>
        <p:nvSpPr>
          <p:cNvPr id="143" name="TextBox 142">
            <a:extLst>
              <a:ext uri="{FF2B5EF4-FFF2-40B4-BE49-F238E27FC236}">
                <a16:creationId xmlns:a16="http://schemas.microsoft.com/office/drawing/2014/main" id="{B2DA38F9-A5E2-C20B-486F-53F788ACD31F}"/>
              </a:ext>
            </a:extLst>
          </p:cNvPr>
          <p:cNvSpPr txBox="1"/>
          <p:nvPr/>
        </p:nvSpPr>
        <p:spPr>
          <a:xfrm>
            <a:off x="6146774" y="3166755"/>
            <a:ext cx="6299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0.6</a:t>
            </a:r>
          </a:p>
        </p:txBody>
      </p:sp>
      <p:sp>
        <p:nvSpPr>
          <p:cNvPr id="144" name="TextBox 143">
            <a:extLst>
              <a:ext uri="{FF2B5EF4-FFF2-40B4-BE49-F238E27FC236}">
                <a16:creationId xmlns:a16="http://schemas.microsoft.com/office/drawing/2014/main" id="{E363EAA9-500C-0D1E-8DA4-B9F340E8557E}"/>
              </a:ext>
            </a:extLst>
          </p:cNvPr>
          <p:cNvSpPr txBox="1"/>
          <p:nvPr/>
        </p:nvSpPr>
        <p:spPr>
          <a:xfrm>
            <a:off x="6146774" y="3585603"/>
            <a:ext cx="6299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0.4</a:t>
            </a:r>
          </a:p>
        </p:txBody>
      </p:sp>
      <p:sp>
        <p:nvSpPr>
          <p:cNvPr id="145" name="TextBox 144">
            <a:extLst>
              <a:ext uri="{FF2B5EF4-FFF2-40B4-BE49-F238E27FC236}">
                <a16:creationId xmlns:a16="http://schemas.microsoft.com/office/drawing/2014/main" id="{4F2D3698-F912-362D-C930-1D8134C069D0}"/>
              </a:ext>
            </a:extLst>
          </p:cNvPr>
          <p:cNvSpPr txBox="1"/>
          <p:nvPr/>
        </p:nvSpPr>
        <p:spPr>
          <a:xfrm>
            <a:off x="6146774" y="4004450"/>
            <a:ext cx="6299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0.2</a:t>
            </a:r>
          </a:p>
        </p:txBody>
      </p:sp>
      <p:sp>
        <p:nvSpPr>
          <p:cNvPr id="146" name="TextBox 145">
            <a:extLst>
              <a:ext uri="{FF2B5EF4-FFF2-40B4-BE49-F238E27FC236}">
                <a16:creationId xmlns:a16="http://schemas.microsoft.com/office/drawing/2014/main" id="{E2E48F13-3833-C213-BBC3-A133DBFBE122}"/>
              </a:ext>
            </a:extLst>
          </p:cNvPr>
          <p:cNvSpPr txBox="1"/>
          <p:nvPr/>
        </p:nvSpPr>
        <p:spPr>
          <a:xfrm>
            <a:off x="6151532" y="4405772"/>
            <a:ext cx="6299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0</a:t>
            </a:r>
          </a:p>
        </p:txBody>
      </p:sp>
      <p:cxnSp>
        <p:nvCxnSpPr>
          <p:cNvPr id="147" name="Straight Connector 146">
            <a:extLst>
              <a:ext uri="{FF2B5EF4-FFF2-40B4-BE49-F238E27FC236}">
                <a16:creationId xmlns:a16="http://schemas.microsoft.com/office/drawing/2014/main" id="{DFB1A337-4812-24FA-1225-001854BB4EE5}"/>
              </a:ext>
            </a:extLst>
          </p:cNvPr>
          <p:cNvCxnSpPr>
            <a:cxnSpLocks/>
          </p:cNvCxnSpPr>
          <p:nvPr/>
        </p:nvCxnSpPr>
        <p:spPr>
          <a:xfrm>
            <a:off x="9645244" y="4527559"/>
            <a:ext cx="0" cy="7200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Straight Connector 147">
            <a:extLst>
              <a:ext uri="{FF2B5EF4-FFF2-40B4-BE49-F238E27FC236}">
                <a16:creationId xmlns:a16="http://schemas.microsoft.com/office/drawing/2014/main" id="{697962D4-6F04-49E0-4BE6-019040105088}"/>
              </a:ext>
            </a:extLst>
          </p:cNvPr>
          <p:cNvCxnSpPr>
            <a:cxnSpLocks/>
          </p:cNvCxnSpPr>
          <p:nvPr/>
        </p:nvCxnSpPr>
        <p:spPr>
          <a:xfrm>
            <a:off x="9959908" y="4527559"/>
            <a:ext cx="0" cy="7200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9" name="TextBox 148">
            <a:extLst>
              <a:ext uri="{FF2B5EF4-FFF2-40B4-BE49-F238E27FC236}">
                <a16:creationId xmlns:a16="http://schemas.microsoft.com/office/drawing/2014/main" id="{4C494CF5-0D36-CFA9-42C6-0C1464D673ED}"/>
              </a:ext>
            </a:extLst>
          </p:cNvPr>
          <p:cNvSpPr txBox="1"/>
          <p:nvPr/>
        </p:nvSpPr>
        <p:spPr>
          <a:xfrm>
            <a:off x="7203566" y="4560985"/>
            <a:ext cx="48489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GB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2</a:t>
            </a:r>
          </a:p>
        </p:txBody>
      </p:sp>
      <p:sp>
        <p:nvSpPr>
          <p:cNvPr id="150" name="TextBox 149">
            <a:extLst>
              <a:ext uri="{FF2B5EF4-FFF2-40B4-BE49-F238E27FC236}">
                <a16:creationId xmlns:a16="http://schemas.microsoft.com/office/drawing/2014/main" id="{DFDF2B10-0AF3-DAB8-5B79-A9B676801943}"/>
              </a:ext>
            </a:extLst>
          </p:cNvPr>
          <p:cNvSpPr txBox="1"/>
          <p:nvPr/>
        </p:nvSpPr>
        <p:spPr>
          <a:xfrm>
            <a:off x="7517382" y="4560985"/>
            <a:ext cx="48489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GB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8</a:t>
            </a:r>
          </a:p>
        </p:txBody>
      </p:sp>
      <p:sp>
        <p:nvSpPr>
          <p:cNvPr id="151" name="TextBox 150">
            <a:extLst>
              <a:ext uri="{FF2B5EF4-FFF2-40B4-BE49-F238E27FC236}">
                <a16:creationId xmlns:a16="http://schemas.microsoft.com/office/drawing/2014/main" id="{FC3A0810-C00B-D8A3-AC80-16747836E9C8}"/>
              </a:ext>
            </a:extLst>
          </p:cNvPr>
          <p:cNvSpPr txBox="1"/>
          <p:nvPr/>
        </p:nvSpPr>
        <p:spPr>
          <a:xfrm>
            <a:off x="7831199" y="4560985"/>
            <a:ext cx="48489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GB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24</a:t>
            </a:r>
          </a:p>
        </p:txBody>
      </p:sp>
      <p:sp>
        <p:nvSpPr>
          <p:cNvPr id="152" name="TextBox 151">
            <a:extLst>
              <a:ext uri="{FF2B5EF4-FFF2-40B4-BE49-F238E27FC236}">
                <a16:creationId xmlns:a16="http://schemas.microsoft.com/office/drawing/2014/main" id="{0605B0B8-7647-CB56-4511-47A1C015B1BF}"/>
              </a:ext>
            </a:extLst>
          </p:cNvPr>
          <p:cNvSpPr txBox="1"/>
          <p:nvPr/>
        </p:nvSpPr>
        <p:spPr>
          <a:xfrm>
            <a:off x="8145015" y="4560985"/>
            <a:ext cx="48489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GB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30</a:t>
            </a:r>
          </a:p>
        </p:txBody>
      </p:sp>
      <p:sp>
        <p:nvSpPr>
          <p:cNvPr id="153" name="TextBox 152">
            <a:extLst>
              <a:ext uri="{FF2B5EF4-FFF2-40B4-BE49-F238E27FC236}">
                <a16:creationId xmlns:a16="http://schemas.microsoft.com/office/drawing/2014/main" id="{F83720C9-15A7-2840-3BF0-A8EC6EC76893}"/>
              </a:ext>
            </a:extLst>
          </p:cNvPr>
          <p:cNvSpPr txBox="1"/>
          <p:nvPr/>
        </p:nvSpPr>
        <p:spPr>
          <a:xfrm>
            <a:off x="8458831" y="4560985"/>
            <a:ext cx="48489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GB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36</a:t>
            </a:r>
          </a:p>
        </p:txBody>
      </p:sp>
      <p:sp>
        <p:nvSpPr>
          <p:cNvPr id="154" name="TextBox 153">
            <a:extLst>
              <a:ext uri="{FF2B5EF4-FFF2-40B4-BE49-F238E27FC236}">
                <a16:creationId xmlns:a16="http://schemas.microsoft.com/office/drawing/2014/main" id="{53CAE166-8F4E-7B0A-D5C5-3EDF1BC4395A}"/>
              </a:ext>
            </a:extLst>
          </p:cNvPr>
          <p:cNvSpPr txBox="1"/>
          <p:nvPr/>
        </p:nvSpPr>
        <p:spPr>
          <a:xfrm>
            <a:off x="8772647" y="4560985"/>
            <a:ext cx="48489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GB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42</a:t>
            </a:r>
          </a:p>
        </p:txBody>
      </p:sp>
      <p:sp>
        <p:nvSpPr>
          <p:cNvPr id="155" name="TextBox 154">
            <a:extLst>
              <a:ext uri="{FF2B5EF4-FFF2-40B4-BE49-F238E27FC236}">
                <a16:creationId xmlns:a16="http://schemas.microsoft.com/office/drawing/2014/main" id="{EEDE9C72-A4D8-A6C8-436B-69C63C292FDF}"/>
              </a:ext>
            </a:extLst>
          </p:cNvPr>
          <p:cNvSpPr txBox="1"/>
          <p:nvPr/>
        </p:nvSpPr>
        <p:spPr>
          <a:xfrm>
            <a:off x="9086463" y="4560985"/>
            <a:ext cx="48489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GB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48</a:t>
            </a:r>
          </a:p>
        </p:txBody>
      </p:sp>
      <p:sp>
        <p:nvSpPr>
          <p:cNvPr id="156" name="TextBox 155">
            <a:extLst>
              <a:ext uri="{FF2B5EF4-FFF2-40B4-BE49-F238E27FC236}">
                <a16:creationId xmlns:a16="http://schemas.microsoft.com/office/drawing/2014/main" id="{1D8EA957-49D4-9BE8-FB57-1F7D1199E87B}"/>
              </a:ext>
            </a:extLst>
          </p:cNvPr>
          <p:cNvSpPr txBox="1"/>
          <p:nvPr/>
        </p:nvSpPr>
        <p:spPr>
          <a:xfrm>
            <a:off x="9400279" y="4560985"/>
            <a:ext cx="48489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GB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54</a:t>
            </a:r>
          </a:p>
        </p:txBody>
      </p:sp>
      <p:sp>
        <p:nvSpPr>
          <p:cNvPr id="157" name="TextBox 156">
            <a:extLst>
              <a:ext uri="{FF2B5EF4-FFF2-40B4-BE49-F238E27FC236}">
                <a16:creationId xmlns:a16="http://schemas.microsoft.com/office/drawing/2014/main" id="{461C9DDA-ED76-3016-892F-3DA0C65BDD32}"/>
              </a:ext>
            </a:extLst>
          </p:cNvPr>
          <p:cNvSpPr txBox="1"/>
          <p:nvPr/>
        </p:nvSpPr>
        <p:spPr>
          <a:xfrm>
            <a:off x="9714095" y="4560985"/>
            <a:ext cx="48489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GB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60</a:t>
            </a:r>
          </a:p>
        </p:txBody>
      </p:sp>
      <p:sp>
        <p:nvSpPr>
          <p:cNvPr id="158" name="TextBox 157">
            <a:extLst>
              <a:ext uri="{FF2B5EF4-FFF2-40B4-BE49-F238E27FC236}">
                <a16:creationId xmlns:a16="http://schemas.microsoft.com/office/drawing/2014/main" id="{2BAB1150-CA6A-F9A5-251A-9ADDA48669D2}"/>
              </a:ext>
            </a:extLst>
          </p:cNvPr>
          <p:cNvSpPr txBox="1"/>
          <p:nvPr/>
        </p:nvSpPr>
        <p:spPr>
          <a:xfrm>
            <a:off x="10027911" y="4560985"/>
            <a:ext cx="48489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GB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66</a:t>
            </a:r>
          </a:p>
        </p:txBody>
      </p:sp>
      <p:sp>
        <p:nvSpPr>
          <p:cNvPr id="159" name="TextBox 158">
            <a:extLst>
              <a:ext uri="{FF2B5EF4-FFF2-40B4-BE49-F238E27FC236}">
                <a16:creationId xmlns:a16="http://schemas.microsoft.com/office/drawing/2014/main" id="{B19300EB-A019-77AE-38C3-F6A116235CBE}"/>
              </a:ext>
            </a:extLst>
          </p:cNvPr>
          <p:cNvSpPr txBox="1"/>
          <p:nvPr/>
        </p:nvSpPr>
        <p:spPr>
          <a:xfrm>
            <a:off x="10341728" y="4560985"/>
            <a:ext cx="48489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GB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72</a:t>
            </a:r>
          </a:p>
        </p:txBody>
      </p:sp>
      <p:sp>
        <p:nvSpPr>
          <p:cNvPr id="160" name="TextBox 159">
            <a:extLst>
              <a:ext uri="{FF2B5EF4-FFF2-40B4-BE49-F238E27FC236}">
                <a16:creationId xmlns:a16="http://schemas.microsoft.com/office/drawing/2014/main" id="{42755976-D875-E3CC-E500-934E1663835B}"/>
              </a:ext>
            </a:extLst>
          </p:cNvPr>
          <p:cNvSpPr txBox="1"/>
          <p:nvPr/>
        </p:nvSpPr>
        <p:spPr>
          <a:xfrm>
            <a:off x="8411485" y="4780152"/>
            <a:ext cx="1431040" cy="254069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ime (months)</a:t>
            </a:r>
          </a:p>
        </p:txBody>
      </p:sp>
      <p:sp>
        <p:nvSpPr>
          <p:cNvPr id="161" name="TextBox 160">
            <a:extLst>
              <a:ext uri="{FF2B5EF4-FFF2-40B4-BE49-F238E27FC236}">
                <a16:creationId xmlns:a16="http://schemas.microsoft.com/office/drawing/2014/main" id="{22F9E355-E585-E06F-A619-AF6C0E4CFFDE}"/>
              </a:ext>
            </a:extLst>
          </p:cNvPr>
          <p:cNvSpPr txBox="1"/>
          <p:nvPr/>
        </p:nvSpPr>
        <p:spPr>
          <a:xfrm>
            <a:off x="6577849" y="5210377"/>
            <a:ext cx="48489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GB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ABBFC9">
                    <a:lumMod val="5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710</a:t>
            </a:r>
          </a:p>
        </p:txBody>
      </p:sp>
      <p:sp>
        <p:nvSpPr>
          <p:cNvPr id="162" name="TextBox 161">
            <a:extLst>
              <a:ext uri="{FF2B5EF4-FFF2-40B4-BE49-F238E27FC236}">
                <a16:creationId xmlns:a16="http://schemas.microsoft.com/office/drawing/2014/main" id="{8FCB9747-F45B-A33E-CC2E-8857DBA74FF6}"/>
              </a:ext>
            </a:extLst>
          </p:cNvPr>
          <p:cNvSpPr txBox="1"/>
          <p:nvPr/>
        </p:nvSpPr>
        <p:spPr>
          <a:xfrm>
            <a:off x="6900000" y="5210377"/>
            <a:ext cx="48489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GB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ABBFC9">
                    <a:lumMod val="5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656</a:t>
            </a:r>
          </a:p>
        </p:txBody>
      </p:sp>
      <p:sp>
        <p:nvSpPr>
          <p:cNvPr id="163" name="TextBox 162">
            <a:extLst>
              <a:ext uri="{FF2B5EF4-FFF2-40B4-BE49-F238E27FC236}">
                <a16:creationId xmlns:a16="http://schemas.microsoft.com/office/drawing/2014/main" id="{787EB555-AC70-DD7E-42B4-E7F61D873064}"/>
              </a:ext>
            </a:extLst>
          </p:cNvPr>
          <p:cNvSpPr txBox="1"/>
          <p:nvPr/>
        </p:nvSpPr>
        <p:spPr>
          <a:xfrm>
            <a:off x="10652974" y="5210377"/>
            <a:ext cx="48489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GB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ABBFC9">
                    <a:lumMod val="5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</a:t>
            </a:r>
          </a:p>
        </p:txBody>
      </p:sp>
      <p:sp>
        <p:nvSpPr>
          <p:cNvPr id="164" name="TextBox 163">
            <a:extLst>
              <a:ext uri="{FF2B5EF4-FFF2-40B4-BE49-F238E27FC236}">
                <a16:creationId xmlns:a16="http://schemas.microsoft.com/office/drawing/2014/main" id="{B2B5CDB6-F9ED-EEA4-CDB8-5C80C484276F}"/>
              </a:ext>
            </a:extLst>
          </p:cNvPr>
          <p:cNvSpPr txBox="1"/>
          <p:nvPr/>
        </p:nvSpPr>
        <p:spPr>
          <a:xfrm>
            <a:off x="7200998" y="5210377"/>
            <a:ext cx="48489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GB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ABBFC9">
                    <a:lumMod val="5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612</a:t>
            </a:r>
          </a:p>
        </p:txBody>
      </p:sp>
      <p:sp>
        <p:nvSpPr>
          <p:cNvPr id="165" name="TextBox 164">
            <a:extLst>
              <a:ext uri="{FF2B5EF4-FFF2-40B4-BE49-F238E27FC236}">
                <a16:creationId xmlns:a16="http://schemas.microsoft.com/office/drawing/2014/main" id="{911C89A9-94E8-5162-28D2-80B1CD770886}"/>
              </a:ext>
            </a:extLst>
          </p:cNvPr>
          <p:cNvSpPr txBox="1"/>
          <p:nvPr/>
        </p:nvSpPr>
        <p:spPr>
          <a:xfrm>
            <a:off x="7514814" y="5210377"/>
            <a:ext cx="48489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GB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ABBFC9">
                    <a:lumMod val="5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582</a:t>
            </a:r>
          </a:p>
        </p:txBody>
      </p:sp>
      <p:sp>
        <p:nvSpPr>
          <p:cNvPr id="166" name="TextBox 165">
            <a:extLst>
              <a:ext uri="{FF2B5EF4-FFF2-40B4-BE49-F238E27FC236}">
                <a16:creationId xmlns:a16="http://schemas.microsoft.com/office/drawing/2014/main" id="{9CA75074-1C9B-8FBE-1A59-B3449F9A4184}"/>
              </a:ext>
            </a:extLst>
          </p:cNvPr>
          <p:cNvSpPr txBox="1"/>
          <p:nvPr/>
        </p:nvSpPr>
        <p:spPr>
          <a:xfrm>
            <a:off x="7828630" y="5210377"/>
            <a:ext cx="48489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GB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ABBFC9">
                    <a:lumMod val="5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553</a:t>
            </a:r>
          </a:p>
        </p:txBody>
      </p:sp>
      <p:sp>
        <p:nvSpPr>
          <p:cNvPr id="167" name="TextBox 166">
            <a:extLst>
              <a:ext uri="{FF2B5EF4-FFF2-40B4-BE49-F238E27FC236}">
                <a16:creationId xmlns:a16="http://schemas.microsoft.com/office/drawing/2014/main" id="{7BDC242C-854C-DEFC-F3BE-CC8632220D6A}"/>
              </a:ext>
            </a:extLst>
          </p:cNvPr>
          <p:cNvSpPr txBox="1"/>
          <p:nvPr/>
        </p:nvSpPr>
        <p:spPr>
          <a:xfrm>
            <a:off x="8142447" y="5210377"/>
            <a:ext cx="48489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GB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ABBFC9">
                    <a:lumMod val="5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540</a:t>
            </a:r>
          </a:p>
        </p:txBody>
      </p:sp>
      <p:sp>
        <p:nvSpPr>
          <p:cNvPr id="168" name="TextBox 167">
            <a:extLst>
              <a:ext uri="{FF2B5EF4-FFF2-40B4-BE49-F238E27FC236}">
                <a16:creationId xmlns:a16="http://schemas.microsoft.com/office/drawing/2014/main" id="{E6F9B904-0ABB-697C-5BEF-915292283B33}"/>
              </a:ext>
            </a:extLst>
          </p:cNvPr>
          <p:cNvSpPr txBox="1"/>
          <p:nvPr/>
        </p:nvSpPr>
        <p:spPr>
          <a:xfrm>
            <a:off x="8456263" y="5210377"/>
            <a:ext cx="48489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GB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ABBFC9">
                    <a:lumMod val="5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522</a:t>
            </a:r>
          </a:p>
        </p:txBody>
      </p:sp>
      <p:sp>
        <p:nvSpPr>
          <p:cNvPr id="169" name="TextBox 168">
            <a:extLst>
              <a:ext uri="{FF2B5EF4-FFF2-40B4-BE49-F238E27FC236}">
                <a16:creationId xmlns:a16="http://schemas.microsoft.com/office/drawing/2014/main" id="{F4102F2C-7A24-DED2-5C51-F89230A7453B}"/>
              </a:ext>
            </a:extLst>
          </p:cNvPr>
          <p:cNvSpPr txBox="1"/>
          <p:nvPr/>
        </p:nvSpPr>
        <p:spPr>
          <a:xfrm>
            <a:off x="8770079" y="5210377"/>
            <a:ext cx="48489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GB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ABBFC9">
                    <a:lumMod val="5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493</a:t>
            </a:r>
          </a:p>
        </p:txBody>
      </p:sp>
      <p:sp>
        <p:nvSpPr>
          <p:cNvPr id="170" name="TextBox 169">
            <a:extLst>
              <a:ext uri="{FF2B5EF4-FFF2-40B4-BE49-F238E27FC236}">
                <a16:creationId xmlns:a16="http://schemas.microsoft.com/office/drawing/2014/main" id="{7D0572C0-E26D-9B5A-4A1F-7BF27F8E5F9A}"/>
              </a:ext>
            </a:extLst>
          </p:cNvPr>
          <p:cNvSpPr txBox="1"/>
          <p:nvPr/>
        </p:nvSpPr>
        <p:spPr>
          <a:xfrm>
            <a:off x="9083895" y="5210377"/>
            <a:ext cx="48489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GB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ABBFC9">
                    <a:lumMod val="5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342</a:t>
            </a:r>
          </a:p>
        </p:txBody>
      </p:sp>
      <p:sp>
        <p:nvSpPr>
          <p:cNvPr id="171" name="TextBox 170">
            <a:extLst>
              <a:ext uri="{FF2B5EF4-FFF2-40B4-BE49-F238E27FC236}">
                <a16:creationId xmlns:a16="http://schemas.microsoft.com/office/drawing/2014/main" id="{8616B643-D00F-7624-79AA-F90BD48801EE}"/>
              </a:ext>
            </a:extLst>
          </p:cNvPr>
          <p:cNvSpPr txBox="1"/>
          <p:nvPr/>
        </p:nvSpPr>
        <p:spPr>
          <a:xfrm>
            <a:off x="9397711" y="5210377"/>
            <a:ext cx="48489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GB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ABBFC9">
                    <a:lumMod val="5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212</a:t>
            </a:r>
          </a:p>
        </p:txBody>
      </p:sp>
      <p:sp>
        <p:nvSpPr>
          <p:cNvPr id="172" name="TextBox 171">
            <a:extLst>
              <a:ext uri="{FF2B5EF4-FFF2-40B4-BE49-F238E27FC236}">
                <a16:creationId xmlns:a16="http://schemas.microsoft.com/office/drawing/2014/main" id="{303CF590-31E3-EAE5-D454-9C8752AF02BA}"/>
              </a:ext>
            </a:extLst>
          </p:cNvPr>
          <p:cNvSpPr txBox="1"/>
          <p:nvPr/>
        </p:nvSpPr>
        <p:spPr>
          <a:xfrm>
            <a:off x="9711527" y="5210377"/>
            <a:ext cx="48489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GB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ABBFC9">
                    <a:lumMod val="5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36</a:t>
            </a:r>
          </a:p>
        </p:txBody>
      </p:sp>
      <p:sp>
        <p:nvSpPr>
          <p:cNvPr id="173" name="TextBox 172">
            <a:extLst>
              <a:ext uri="{FF2B5EF4-FFF2-40B4-BE49-F238E27FC236}">
                <a16:creationId xmlns:a16="http://schemas.microsoft.com/office/drawing/2014/main" id="{5EEE2D63-CC28-7FC3-C26A-3D8A2030062F}"/>
              </a:ext>
            </a:extLst>
          </p:cNvPr>
          <p:cNvSpPr txBox="1"/>
          <p:nvPr/>
        </p:nvSpPr>
        <p:spPr>
          <a:xfrm>
            <a:off x="10025343" y="5210377"/>
            <a:ext cx="48489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GB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ABBFC9">
                    <a:lumMod val="5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89</a:t>
            </a:r>
          </a:p>
        </p:txBody>
      </p:sp>
      <p:sp>
        <p:nvSpPr>
          <p:cNvPr id="174" name="TextBox 173">
            <a:extLst>
              <a:ext uri="{FF2B5EF4-FFF2-40B4-BE49-F238E27FC236}">
                <a16:creationId xmlns:a16="http://schemas.microsoft.com/office/drawing/2014/main" id="{A1D834DE-ADA0-11B0-1AF1-811E35F019DB}"/>
              </a:ext>
            </a:extLst>
          </p:cNvPr>
          <p:cNvSpPr txBox="1"/>
          <p:nvPr/>
        </p:nvSpPr>
        <p:spPr>
          <a:xfrm>
            <a:off x="10339160" y="5210377"/>
            <a:ext cx="48489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GB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ABBFC9">
                    <a:lumMod val="5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26</a:t>
            </a:r>
          </a:p>
        </p:txBody>
      </p:sp>
      <p:sp>
        <p:nvSpPr>
          <p:cNvPr id="175" name="TextBox 174">
            <a:extLst>
              <a:ext uri="{FF2B5EF4-FFF2-40B4-BE49-F238E27FC236}">
                <a16:creationId xmlns:a16="http://schemas.microsoft.com/office/drawing/2014/main" id="{F28BB6BB-5903-241B-4C66-4BA32B85FC21}"/>
              </a:ext>
            </a:extLst>
          </p:cNvPr>
          <p:cNvSpPr txBox="1"/>
          <p:nvPr/>
        </p:nvSpPr>
        <p:spPr>
          <a:xfrm>
            <a:off x="5580426" y="5221092"/>
            <a:ext cx="1037576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ABBFC9">
                    <a:lumMod val="7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R-CHOP</a:t>
            </a:r>
          </a:p>
        </p:txBody>
      </p:sp>
      <p:sp>
        <p:nvSpPr>
          <p:cNvPr id="176" name="TextBox 175">
            <a:extLst>
              <a:ext uri="{FF2B5EF4-FFF2-40B4-BE49-F238E27FC236}">
                <a16:creationId xmlns:a16="http://schemas.microsoft.com/office/drawing/2014/main" id="{94A3EA58-41F4-1774-3FBA-AD5FAEDC7620}"/>
              </a:ext>
            </a:extLst>
          </p:cNvPr>
          <p:cNvSpPr txBox="1"/>
          <p:nvPr/>
        </p:nvSpPr>
        <p:spPr>
          <a:xfrm>
            <a:off x="5580426" y="5412681"/>
            <a:ext cx="1037576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60000"/>
                    <a:lumOff val="4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G-CHOP</a:t>
            </a:r>
          </a:p>
        </p:txBody>
      </p:sp>
      <p:sp>
        <p:nvSpPr>
          <p:cNvPr id="177" name="TextBox 176">
            <a:extLst>
              <a:ext uri="{FF2B5EF4-FFF2-40B4-BE49-F238E27FC236}">
                <a16:creationId xmlns:a16="http://schemas.microsoft.com/office/drawing/2014/main" id="{00286DCB-BE3C-7BD4-2E72-5A26D53E7689}"/>
              </a:ext>
            </a:extLst>
          </p:cNvPr>
          <p:cNvSpPr txBox="1"/>
          <p:nvPr/>
        </p:nvSpPr>
        <p:spPr>
          <a:xfrm>
            <a:off x="6580391" y="5404583"/>
            <a:ext cx="48489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GB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60000"/>
                    <a:lumOff val="4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704</a:t>
            </a:r>
          </a:p>
        </p:txBody>
      </p:sp>
      <p:sp>
        <p:nvSpPr>
          <p:cNvPr id="178" name="TextBox 177">
            <a:extLst>
              <a:ext uri="{FF2B5EF4-FFF2-40B4-BE49-F238E27FC236}">
                <a16:creationId xmlns:a16="http://schemas.microsoft.com/office/drawing/2014/main" id="{585F6795-CE05-3EE7-2A73-CD242DCF5CF9}"/>
              </a:ext>
            </a:extLst>
          </p:cNvPr>
          <p:cNvSpPr txBox="1"/>
          <p:nvPr/>
        </p:nvSpPr>
        <p:spPr>
          <a:xfrm>
            <a:off x="6902542" y="5404583"/>
            <a:ext cx="48489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GB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60000"/>
                    <a:lumOff val="4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655</a:t>
            </a:r>
          </a:p>
        </p:txBody>
      </p:sp>
      <p:sp>
        <p:nvSpPr>
          <p:cNvPr id="179" name="TextBox 178">
            <a:extLst>
              <a:ext uri="{FF2B5EF4-FFF2-40B4-BE49-F238E27FC236}">
                <a16:creationId xmlns:a16="http://schemas.microsoft.com/office/drawing/2014/main" id="{3150D073-E363-84A4-D38C-2B5BA7551C56}"/>
              </a:ext>
            </a:extLst>
          </p:cNvPr>
          <p:cNvSpPr txBox="1"/>
          <p:nvPr/>
        </p:nvSpPr>
        <p:spPr>
          <a:xfrm>
            <a:off x="10655516" y="5404583"/>
            <a:ext cx="48489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GB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60000"/>
                    <a:lumOff val="4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-</a:t>
            </a:r>
          </a:p>
        </p:txBody>
      </p:sp>
      <p:sp>
        <p:nvSpPr>
          <p:cNvPr id="180" name="TextBox 179">
            <a:extLst>
              <a:ext uri="{FF2B5EF4-FFF2-40B4-BE49-F238E27FC236}">
                <a16:creationId xmlns:a16="http://schemas.microsoft.com/office/drawing/2014/main" id="{426898EC-6DB1-DA1C-B66E-CFB3B566474C}"/>
              </a:ext>
            </a:extLst>
          </p:cNvPr>
          <p:cNvSpPr txBox="1"/>
          <p:nvPr/>
        </p:nvSpPr>
        <p:spPr>
          <a:xfrm>
            <a:off x="7203540" y="5404583"/>
            <a:ext cx="48489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GB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60000"/>
                    <a:lumOff val="4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614</a:t>
            </a:r>
          </a:p>
        </p:txBody>
      </p:sp>
      <p:sp>
        <p:nvSpPr>
          <p:cNvPr id="181" name="TextBox 180">
            <a:extLst>
              <a:ext uri="{FF2B5EF4-FFF2-40B4-BE49-F238E27FC236}">
                <a16:creationId xmlns:a16="http://schemas.microsoft.com/office/drawing/2014/main" id="{AF853727-4CA8-0E9F-1E50-507D6DA7A541}"/>
              </a:ext>
            </a:extLst>
          </p:cNvPr>
          <p:cNvSpPr txBox="1"/>
          <p:nvPr/>
        </p:nvSpPr>
        <p:spPr>
          <a:xfrm>
            <a:off x="7517356" y="5404583"/>
            <a:ext cx="48489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GB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60000"/>
                    <a:lumOff val="4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582</a:t>
            </a:r>
          </a:p>
        </p:txBody>
      </p:sp>
      <p:sp>
        <p:nvSpPr>
          <p:cNvPr id="182" name="TextBox 181">
            <a:extLst>
              <a:ext uri="{FF2B5EF4-FFF2-40B4-BE49-F238E27FC236}">
                <a16:creationId xmlns:a16="http://schemas.microsoft.com/office/drawing/2014/main" id="{02560AC3-33D6-CA42-AA72-3F0794F4049B}"/>
              </a:ext>
            </a:extLst>
          </p:cNvPr>
          <p:cNvSpPr txBox="1"/>
          <p:nvPr/>
        </p:nvSpPr>
        <p:spPr>
          <a:xfrm>
            <a:off x="7831173" y="5404583"/>
            <a:ext cx="48489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GB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60000"/>
                    <a:lumOff val="4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564</a:t>
            </a:r>
          </a:p>
        </p:txBody>
      </p:sp>
      <p:sp>
        <p:nvSpPr>
          <p:cNvPr id="183" name="TextBox 182">
            <a:extLst>
              <a:ext uri="{FF2B5EF4-FFF2-40B4-BE49-F238E27FC236}">
                <a16:creationId xmlns:a16="http://schemas.microsoft.com/office/drawing/2014/main" id="{4CF220DA-0541-555D-E3B7-E70FEC23C234}"/>
              </a:ext>
            </a:extLst>
          </p:cNvPr>
          <p:cNvSpPr txBox="1"/>
          <p:nvPr/>
        </p:nvSpPr>
        <p:spPr>
          <a:xfrm>
            <a:off x="8144989" y="5404583"/>
            <a:ext cx="48489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GB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60000"/>
                    <a:lumOff val="4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546</a:t>
            </a:r>
          </a:p>
        </p:txBody>
      </p:sp>
      <p:sp>
        <p:nvSpPr>
          <p:cNvPr id="184" name="TextBox 183">
            <a:extLst>
              <a:ext uri="{FF2B5EF4-FFF2-40B4-BE49-F238E27FC236}">
                <a16:creationId xmlns:a16="http://schemas.microsoft.com/office/drawing/2014/main" id="{3063BCED-F35E-876D-4089-8E32FE889032}"/>
              </a:ext>
            </a:extLst>
          </p:cNvPr>
          <p:cNvSpPr txBox="1"/>
          <p:nvPr/>
        </p:nvSpPr>
        <p:spPr>
          <a:xfrm>
            <a:off x="8458805" y="5404583"/>
            <a:ext cx="48489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GB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60000"/>
                    <a:lumOff val="4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529</a:t>
            </a:r>
          </a:p>
        </p:txBody>
      </p:sp>
      <p:sp>
        <p:nvSpPr>
          <p:cNvPr id="185" name="TextBox 184">
            <a:extLst>
              <a:ext uri="{FF2B5EF4-FFF2-40B4-BE49-F238E27FC236}">
                <a16:creationId xmlns:a16="http://schemas.microsoft.com/office/drawing/2014/main" id="{B9B070AF-AB26-5143-50FF-B89F0F6AF364}"/>
              </a:ext>
            </a:extLst>
          </p:cNvPr>
          <p:cNvSpPr txBox="1"/>
          <p:nvPr/>
        </p:nvSpPr>
        <p:spPr>
          <a:xfrm>
            <a:off x="8772621" y="5404583"/>
            <a:ext cx="48489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GB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60000"/>
                    <a:lumOff val="4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499</a:t>
            </a:r>
          </a:p>
        </p:txBody>
      </p:sp>
      <p:sp>
        <p:nvSpPr>
          <p:cNvPr id="186" name="TextBox 185">
            <a:extLst>
              <a:ext uri="{FF2B5EF4-FFF2-40B4-BE49-F238E27FC236}">
                <a16:creationId xmlns:a16="http://schemas.microsoft.com/office/drawing/2014/main" id="{314993A5-813B-A25A-FA3C-B267C2096445}"/>
              </a:ext>
            </a:extLst>
          </p:cNvPr>
          <p:cNvSpPr txBox="1"/>
          <p:nvPr/>
        </p:nvSpPr>
        <p:spPr>
          <a:xfrm>
            <a:off x="9086437" y="5404583"/>
            <a:ext cx="48489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GB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60000"/>
                    <a:lumOff val="4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354</a:t>
            </a:r>
          </a:p>
        </p:txBody>
      </p:sp>
      <p:sp>
        <p:nvSpPr>
          <p:cNvPr id="187" name="TextBox 186">
            <a:extLst>
              <a:ext uri="{FF2B5EF4-FFF2-40B4-BE49-F238E27FC236}">
                <a16:creationId xmlns:a16="http://schemas.microsoft.com/office/drawing/2014/main" id="{A77C8ABF-CE1B-6798-A503-872FDA176F43}"/>
              </a:ext>
            </a:extLst>
          </p:cNvPr>
          <p:cNvSpPr txBox="1"/>
          <p:nvPr/>
        </p:nvSpPr>
        <p:spPr>
          <a:xfrm>
            <a:off x="9400253" y="5404583"/>
            <a:ext cx="48489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GB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60000"/>
                    <a:lumOff val="4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217</a:t>
            </a:r>
          </a:p>
        </p:txBody>
      </p:sp>
      <p:sp>
        <p:nvSpPr>
          <p:cNvPr id="188" name="TextBox 187">
            <a:extLst>
              <a:ext uri="{FF2B5EF4-FFF2-40B4-BE49-F238E27FC236}">
                <a16:creationId xmlns:a16="http://schemas.microsoft.com/office/drawing/2014/main" id="{F2D04C6C-C8E8-9AA7-BA6D-D0FF0A5C4A5F}"/>
              </a:ext>
            </a:extLst>
          </p:cNvPr>
          <p:cNvSpPr txBox="1"/>
          <p:nvPr/>
        </p:nvSpPr>
        <p:spPr>
          <a:xfrm>
            <a:off x="9714069" y="5404583"/>
            <a:ext cx="48489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GB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60000"/>
                    <a:lumOff val="4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41</a:t>
            </a:r>
          </a:p>
        </p:txBody>
      </p:sp>
      <p:sp>
        <p:nvSpPr>
          <p:cNvPr id="189" name="TextBox 188">
            <a:extLst>
              <a:ext uri="{FF2B5EF4-FFF2-40B4-BE49-F238E27FC236}">
                <a16:creationId xmlns:a16="http://schemas.microsoft.com/office/drawing/2014/main" id="{A34C83A1-9B7C-F291-316B-AB64488EE1B0}"/>
              </a:ext>
            </a:extLst>
          </p:cNvPr>
          <p:cNvSpPr txBox="1"/>
          <p:nvPr/>
        </p:nvSpPr>
        <p:spPr>
          <a:xfrm>
            <a:off x="10027885" y="5404583"/>
            <a:ext cx="48489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GB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60000"/>
                    <a:lumOff val="4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81</a:t>
            </a:r>
          </a:p>
        </p:txBody>
      </p:sp>
      <p:sp>
        <p:nvSpPr>
          <p:cNvPr id="190" name="TextBox 189">
            <a:extLst>
              <a:ext uri="{FF2B5EF4-FFF2-40B4-BE49-F238E27FC236}">
                <a16:creationId xmlns:a16="http://schemas.microsoft.com/office/drawing/2014/main" id="{8A217F0B-CF52-DD2E-754A-47217997A2EA}"/>
              </a:ext>
            </a:extLst>
          </p:cNvPr>
          <p:cNvSpPr txBox="1"/>
          <p:nvPr/>
        </p:nvSpPr>
        <p:spPr>
          <a:xfrm>
            <a:off x="10341702" y="5404583"/>
            <a:ext cx="48489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GB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60000"/>
                    <a:lumOff val="4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26</a:t>
            </a:r>
          </a:p>
        </p:txBody>
      </p:sp>
      <p:grpSp>
        <p:nvGrpSpPr>
          <p:cNvPr id="191" name="Group 190">
            <a:extLst>
              <a:ext uri="{FF2B5EF4-FFF2-40B4-BE49-F238E27FC236}">
                <a16:creationId xmlns:a16="http://schemas.microsoft.com/office/drawing/2014/main" id="{3F4833D5-3D77-AA65-A108-3A70E8861BD0}"/>
              </a:ext>
            </a:extLst>
          </p:cNvPr>
          <p:cNvGrpSpPr/>
          <p:nvPr/>
        </p:nvGrpSpPr>
        <p:grpSpPr>
          <a:xfrm>
            <a:off x="6827186" y="2452862"/>
            <a:ext cx="4087750" cy="651613"/>
            <a:chOff x="13609413" y="1860698"/>
            <a:chExt cx="6034238" cy="1228060"/>
          </a:xfrm>
        </p:grpSpPr>
        <p:sp>
          <p:nvSpPr>
            <p:cNvPr id="204" name="Free-form: Shape 203">
              <a:extLst>
                <a:ext uri="{FF2B5EF4-FFF2-40B4-BE49-F238E27FC236}">
                  <a16:creationId xmlns:a16="http://schemas.microsoft.com/office/drawing/2014/main" id="{34902970-10FC-C0BC-7EAD-B0013A136FDF}"/>
                </a:ext>
              </a:extLst>
            </p:cNvPr>
            <p:cNvSpPr/>
            <p:nvPr/>
          </p:nvSpPr>
          <p:spPr>
            <a:xfrm>
              <a:off x="13609413" y="1862459"/>
              <a:ext cx="5884697" cy="1060255"/>
            </a:xfrm>
            <a:custGeom>
              <a:avLst/>
              <a:gdLst>
                <a:gd name="csX0" fmla="*/ 0 w 5884697"/>
                <a:gd name="csY0" fmla="*/ 0 h 1060255"/>
                <a:gd name="csX1" fmla="*/ 61708 w 5884697"/>
                <a:gd name="csY1" fmla="*/ 0 h 1060255"/>
                <a:gd name="csX2" fmla="*/ 61708 w 5884697"/>
                <a:gd name="csY2" fmla="*/ 50488 h 1060255"/>
                <a:gd name="csX3" fmla="*/ 185124 w 5884697"/>
                <a:gd name="csY3" fmla="*/ 50488 h 1060255"/>
                <a:gd name="csX4" fmla="*/ 185124 w 5884697"/>
                <a:gd name="csY4" fmla="*/ 95367 h 1060255"/>
                <a:gd name="csX5" fmla="*/ 302931 w 5884697"/>
                <a:gd name="csY5" fmla="*/ 95367 h 1060255"/>
                <a:gd name="csX6" fmla="*/ 302931 w 5884697"/>
                <a:gd name="csY6" fmla="*/ 140245 h 1060255"/>
                <a:gd name="csX7" fmla="*/ 426347 w 5884697"/>
                <a:gd name="csY7" fmla="*/ 140245 h 1060255"/>
                <a:gd name="csX8" fmla="*/ 426347 w 5884697"/>
                <a:gd name="csY8" fmla="*/ 185124 h 1060255"/>
                <a:gd name="csX9" fmla="*/ 510494 w 5884697"/>
                <a:gd name="csY9" fmla="*/ 185124 h 1060255"/>
                <a:gd name="csX10" fmla="*/ 510494 w 5884697"/>
                <a:gd name="csY10" fmla="*/ 185124 h 1060255"/>
                <a:gd name="csX11" fmla="*/ 510494 w 5884697"/>
                <a:gd name="csY11" fmla="*/ 235612 h 1060255"/>
                <a:gd name="csX12" fmla="*/ 645129 w 5884697"/>
                <a:gd name="csY12" fmla="*/ 235612 h 1060255"/>
                <a:gd name="csX13" fmla="*/ 645129 w 5884697"/>
                <a:gd name="csY13" fmla="*/ 280491 h 1060255"/>
                <a:gd name="csX14" fmla="*/ 807814 w 5884697"/>
                <a:gd name="csY14" fmla="*/ 280491 h 1060255"/>
                <a:gd name="csX15" fmla="*/ 807814 w 5884697"/>
                <a:gd name="csY15" fmla="*/ 319759 h 1060255"/>
                <a:gd name="csX16" fmla="*/ 858302 w 5884697"/>
                <a:gd name="csY16" fmla="*/ 319759 h 1060255"/>
                <a:gd name="csX17" fmla="*/ 858302 w 5884697"/>
                <a:gd name="csY17" fmla="*/ 375858 h 1060255"/>
                <a:gd name="csX18" fmla="*/ 936840 w 5884697"/>
                <a:gd name="csY18" fmla="*/ 375858 h 1060255"/>
                <a:gd name="csX19" fmla="*/ 936840 w 5884697"/>
                <a:gd name="csY19" fmla="*/ 409516 h 1060255"/>
                <a:gd name="csX20" fmla="*/ 1060256 w 5884697"/>
                <a:gd name="csY20" fmla="*/ 409516 h 1060255"/>
                <a:gd name="csX21" fmla="*/ 1060256 w 5884697"/>
                <a:gd name="csY21" fmla="*/ 454395 h 1060255"/>
                <a:gd name="csX22" fmla="*/ 1183672 w 5884697"/>
                <a:gd name="csY22" fmla="*/ 454395 h 1060255"/>
                <a:gd name="csX23" fmla="*/ 1183672 w 5884697"/>
                <a:gd name="csY23" fmla="*/ 488054 h 1060255"/>
                <a:gd name="csX24" fmla="*/ 1351966 w 5884697"/>
                <a:gd name="csY24" fmla="*/ 488054 h 1060255"/>
                <a:gd name="csX25" fmla="*/ 1351966 w 5884697"/>
                <a:gd name="csY25" fmla="*/ 538542 h 1060255"/>
                <a:gd name="csX26" fmla="*/ 1514651 w 5884697"/>
                <a:gd name="csY26" fmla="*/ 538542 h 1060255"/>
                <a:gd name="csX27" fmla="*/ 1514651 w 5884697"/>
                <a:gd name="csY27" fmla="*/ 583421 h 1060255"/>
                <a:gd name="csX28" fmla="*/ 1593188 w 5884697"/>
                <a:gd name="csY28" fmla="*/ 583421 h 1060255"/>
                <a:gd name="csX29" fmla="*/ 1593188 w 5884697"/>
                <a:gd name="csY29" fmla="*/ 622689 h 1060255"/>
                <a:gd name="csX30" fmla="*/ 1716604 w 5884697"/>
                <a:gd name="csY30" fmla="*/ 622689 h 1060255"/>
                <a:gd name="csX31" fmla="*/ 1716604 w 5884697"/>
                <a:gd name="csY31" fmla="*/ 650739 h 1060255"/>
                <a:gd name="csX32" fmla="*/ 2092462 w 5884697"/>
                <a:gd name="csY32" fmla="*/ 650739 h 1060255"/>
                <a:gd name="csX33" fmla="*/ 2092462 w 5884697"/>
                <a:gd name="csY33" fmla="*/ 695617 h 1060255"/>
                <a:gd name="csX34" fmla="*/ 2558077 w 5884697"/>
                <a:gd name="csY34" fmla="*/ 695617 h 1060255"/>
                <a:gd name="csX35" fmla="*/ 2558077 w 5884697"/>
                <a:gd name="csY35" fmla="*/ 740496 h 1060255"/>
                <a:gd name="csX36" fmla="*/ 2776859 w 5884697"/>
                <a:gd name="csY36" fmla="*/ 740496 h 1060255"/>
                <a:gd name="csX37" fmla="*/ 2776859 w 5884697"/>
                <a:gd name="csY37" fmla="*/ 779764 h 1060255"/>
                <a:gd name="csX38" fmla="*/ 3152717 w 5884697"/>
                <a:gd name="csY38" fmla="*/ 779764 h 1060255"/>
                <a:gd name="csX39" fmla="*/ 3152717 w 5884697"/>
                <a:gd name="csY39" fmla="*/ 807813 h 1060255"/>
                <a:gd name="csX40" fmla="*/ 3405159 w 5884697"/>
                <a:gd name="csY40" fmla="*/ 807813 h 1060255"/>
                <a:gd name="csX41" fmla="*/ 3405159 w 5884697"/>
                <a:gd name="csY41" fmla="*/ 841472 h 1060255"/>
                <a:gd name="csX42" fmla="*/ 4257851 w 5884697"/>
                <a:gd name="csY42" fmla="*/ 841472 h 1060255"/>
                <a:gd name="csX43" fmla="*/ 4257851 w 5884697"/>
                <a:gd name="csY43" fmla="*/ 920010 h 1060255"/>
                <a:gd name="csX44" fmla="*/ 4768344 w 5884697"/>
                <a:gd name="csY44" fmla="*/ 920010 h 1060255"/>
                <a:gd name="csX45" fmla="*/ 4768344 w 5884697"/>
                <a:gd name="csY45" fmla="*/ 964888 h 1060255"/>
                <a:gd name="csX46" fmla="*/ 5132982 w 5884697"/>
                <a:gd name="csY46" fmla="*/ 964888 h 1060255"/>
                <a:gd name="csX47" fmla="*/ 5132982 w 5884697"/>
                <a:gd name="csY47" fmla="*/ 1009767 h 1060255"/>
                <a:gd name="csX48" fmla="*/ 5278837 w 5884697"/>
                <a:gd name="csY48" fmla="*/ 1009767 h 1060255"/>
                <a:gd name="csX49" fmla="*/ 5278837 w 5884697"/>
                <a:gd name="csY49" fmla="*/ 1060255 h 1060255"/>
                <a:gd name="csX50" fmla="*/ 5884697 w 5884697"/>
                <a:gd name="csY50" fmla="*/ 1060255 h 1060255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  <a:cxn ang="0">
                  <a:pos x="csX16" y="csY16"/>
                </a:cxn>
                <a:cxn ang="0">
                  <a:pos x="csX17" y="csY17"/>
                </a:cxn>
                <a:cxn ang="0">
                  <a:pos x="csX18" y="csY18"/>
                </a:cxn>
                <a:cxn ang="0">
                  <a:pos x="csX19" y="csY19"/>
                </a:cxn>
                <a:cxn ang="0">
                  <a:pos x="csX20" y="csY20"/>
                </a:cxn>
                <a:cxn ang="0">
                  <a:pos x="csX21" y="csY21"/>
                </a:cxn>
                <a:cxn ang="0">
                  <a:pos x="csX22" y="csY22"/>
                </a:cxn>
                <a:cxn ang="0">
                  <a:pos x="csX23" y="csY23"/>
                </a:cxn>
                <a:cxn ang="0">
                  <a:pos x="csX24" y="csY24"/>
                </a:cxn>
                <a:cxn ang="0">
                  <a:pos x="csX25" y="csY25"/>
                </a:cxn>
                <a:cxn ang="0">
                  <a:pos x="csX26" y="csY26"/>
                </a:cxn>
                <a:cxn ang="0">
                  <a:pos x="csX27" y="csY27"/>
                </a:cxn>
                <a:cxn ang="0">
                  <a:pos x="csX28" y="csY28"/>
                </a:cxn>
                <a:cxn ang="0">
                  <a:pos x="csX29" y="csY29"/>
                </a:cxn>
                <a:cxn ang="0">
                  <a:pos x="csX30" y="csY30"/>
                </a:cxn>
                <a:cxn ang="0">
                  <a:pos x="csX31" y="csY31"/>
                </a:cxn>
                <a:cxn ang="0">
                  <a:pos x="csX32" y="csY32"/>
                </a:cxn>
                <a:cxn ang="0">
                  <a:pos x="csX33" y="csY33"/>
                </a:cxn>
                <a:cxn ang="0">
                  <a:pos x="csX34" y="csY34"/>
                </a:cxn>
                <a:cxn ang="0">
                  <a:pos x="csX35" y="csY35"/>
                </a:cxn>
                <a:cxn ang="0">
                  <a:pos x="csX36" y="csY36"/>
                </a:cxn>
                <a:cxn ang="0">
                  <a:pos x="csX37" y="csY37"/>
                </a:cxn>
                <a:cxn ang="0">
                  <a:pos x="csX38" y="csY38"/>
                </a:cxn>
                <a:cxn ang="0">
                  <a:pos x="csX39" y="csY39"/>
                </a:cxn>
                <a:cxn ang="0">
                  <a:pos x="csX40" y="csY40"/>
                </a:cxn>
                <a:cxn ang="0">
                  <a:pos x="csX41" y="csY41"/>
                </a:cxn>
                <a:cxn ang="0">
                  <a:pos x="csX42" y="csY42"/>
                </a:cxn>
                <a:cxn ang="0">
                  <a:pos x="csX43" y="csY43"/>
                </a:cxn>
                <a:cxn ang="0">
                  <a:pos x="csX44" y="csY44"/>
                </a:cxn>
                <a:cxn ang="0">
                  <a:pos x="csX45" y="csY45"/>
                </a:cxn>
                <a:cxn ang="0">
                  <a:pos x="csX46" y="csY46"/>
                </a:cxn>
                <a:cxn ang="0">
                  <a:pos x="csX47" y="csY47"/>
                </a:cxn>
                <a:cxn ang="0">
                  <a:pos x="csX48" y="csY48"/>
                </a:cxn>
                <a:cxn ang="0">
                  <a:pos x="csX49" y="csY49"/>
                </a:cxn>
                <a:cxn ang="0">
                  <a:pos x="csX50" y="csY50"/>
                </a:cxn>
              </a:cxnLst>
              <a:rect l="l" t="t" r="r" b="b"/>
              <a:pathLst>
                <a:path w="5884697" h="1060255">
                  <a:moveTo>
                    <a:pt x="0" y="0"/>
                  </a:moveTo>
                  <a:lnTo>
                    <a:pt x="61708" y="0"/>
                  </a:lnTo>
                  <a:lnTo>
                    <a:pt x="61708" y="50488"/>
                  </a:lnTo>
                  <a:lnTo>
                    <a:pt x="185124" y="50488"/>
                  </a:lnTo>
                  <a:lnTo>
                    <a:pt x="185124" y="95367"/>
                  </a:lnTo>
                  <a:lnTo>
                    <a:pt x="302931" y="95367"/>
                  </a:lnTo>
                  <a:lnTo>
                    <a:pt x="302931" y="140245"/>
                  </a:lnTo>
                  <a:lnTo>
                    <a:pt x="426347" y="140245"/>
                  </a:lnTo>
                  <a:lnTo>
                    <a:pt x="426347" y="185124"/>
                  </a:lnTo>
                  <a:lnTo>
                    <a:pt x="510494" y="185124"/>
                  </a:lnTo>
                  <a:lnTo>
                    <a:pt x="510494" y="185124"/>
                  </a:lnTo>
                  <a:lnTo>
                    <a:pt x="510494" y="235612"/>
                  </a:lnTo>
                  <a:lnTo>
                    <a:pt x="645129" y="235612"/>
                  </a:lnTo>
                  <a:lnTo>
                    <a:pt x="645129" y="280491"/>
                  </a:lnTo>
                  <a:lnTo>
                    <a:pt x="807814" y="280491"/>
                  </a:lnTo>
                  <a:lnTo>
                    <a:pt x="807814" y="319759"/>
                  </a:lnTo>
                  <a:lnTo>
                    <a:pt x="858302" y="319759"/>
                  </a:lnTo>
                  <a:lnTo>
                    <a:pt x="858302" y="375858"/>
                  </a:lnTo>
                  <a:lnTo>
                    <a:pt x="936840" y="375858"/>
                  </a:lnTo>
                  <a:lnTo>
                    <a:pt x="936840" y="409516"/>
                  </a:lnTo>
                  <a:lnTo>
                    <a:pt x="1060256" y="409516"/>
                  </a:lnTo>
                  <a:lnTo>
                    <a:pt x="1060256" y="454395"/>
                  </a:lnTo>
                  <a:lnTo>
                    <a:pt x="1183672" y="454395"/>
                  </a:lnTo>
                  <a:lnTo>
                    <a:pt x="1183672" y="488054"/>
                  </a:lnTo>
                  <a:lnTo>
                    <a:pt x="1351966" y="488054"/>
                  </a:lnTo>
                  <a:lnTo>
                    <a:pt x="1351966" y="538542"/>
                  </a:lnTo>
                  <a:lnTo>
                    <a:pt x="1514651" y="538542"/>
                  </a:lnTo>
                  <a:lnTo>
                    <a:pt x="1514651" y="583421"/>
                  </a:lnTo>
                  <a:lnTo>
                    <a:pt x="1593188" y="583421"/>
                  </a:lnTo>
                  <a:lnTo>
                    <a:pt x="1593188" y="622689"/>
                  </a:lnTo>
                  <a:lnTo>
                    <a:pt x="1716604" y="622689"/>
                  </a:lnTo>
                  <a:lnTo>
                    <a:pt x="1716604" y="650739"/>
                  </a:lnTo>
                  <a:lnTo>
                    <a:pt x="2092462" y="650739"/>
                  </a:lnTo>
                  <a:lnTo>
                    <a:pt x="2092462" y="695617"/>
                  </a:lnTo>
                  <a:lnTo>
                    <a:pt x="2558077" y="695617"/>
                  </a:lnTo>
                  <a:lnTo>
                    <a:pt x="2558077" y="740496"/>
                  </a:lnTo>
                  <a:lnTo>
                    <a:pt x="2776859" y="740496"/>
                  </a:lnTo>
                  <a:lnTo>
                    <a:pt x="2776859" y="779764"/>
                  </a:lnTo>
                  <a:lnTo>
                    <a:pt x="3152717" y="779764"/>
                  </a:lnTo>
                  <a:lnTo>
                    <a:pt x="3152717" y="807813"/>
                  </a:lnTo>
                  <a:lnTo>
                    <a:pt x="3405159" y="807813"/>
                  </a:lnTo>
                  <a:lnTo>
                    <a:pt x="3405159" y="841472"/>
                  </a:lnTo>
                  <a:lnTo>
                    <a:pt x="4257851" y="841472"/>
                  </a:lnTo>
                  <a:lnTo>
                    <a:pt x="4257851" y="920010"/>
                  </a:lnTo>
                  <a:lnTo>
                    <a:pt x="4768344" y="920010"/>
                  </a:lnTo>
                  <a:lnTo>
                    <a:pt x="4768344" y="964888"/>
                  </a:lnTo>
                  <a:lnTo>
                    <a:pt x="5132982" y="964888"/>
                  </a:lnTo>
                  <a:lnTo>
                    <a:pt x="5132982" y="1009767"/>
                  </a:lnTo>
                  <a:lnTo>
                    <a:pt x="5278837" y="1009767"/>
                  </a:lnTo>
                  <a:lnTo>
                    <a:pt x="5278837" y="1060255"/>
                  </a:lnTo>
                  <a:lnTo>
                    <a:pt x="5884697" y="1060255"/>
                  </a:lnTo>
                </a:path>
              </a:pathLst>
            </a:custGeom>
            <a:noFill/>
            <a:ln w="19050"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205" name="Free-form: Shape 204">
              <a:extLst>
                <a:ext uri="{FF2B5EF4-FFF2-40B4-BE49-F238E27FC236}">
                  <a16:creationId xmlns:a16="http://schemas.microsoft.com/office/drawing/2014/main" id="{4D87F704-8067-CD26-AC2E-65B7B84FE12D}"/>
                </a:ext>
              </a:extLst>
            </p:cNvPr>
            <p:cNvSpPr/>
            <p:nvPr/>
          </p:nvSpPr>
          <p:spPr>
            <a:xfrm>
              <a:off x="13625623" y="1860698"/>
              <a:ext cx="6018028" cy="1228060"/>
            </a:xfrm>
            <a:custGeom>
              <a:avLst/>
              <a:gdLst>
                <a:gd name="csX0" fmla="*/ 0 w 6018028"/>
                <a:gd name="csY0" fmla="*/ 0 h 1228060"/>
                <a:gd name="csX1" fmla="*/ 58479 w 6018028"/>
                <a:gd name="csY1" fmla="*/ 0 h 1228060"/>
                <a:gd name="csX2" fmla="*/ 58479 w 6018028"/>
                <a:gd name="csY2" fmla="*/ 42530 h 1228060"/>
                <a:gd name="csX3" fmla="*/ 180754 w 6018028"/>
                <a:gd name="csY3" fmla="*/ 42530 h 1228060"/>
                <a:gd name="csX4" fmla="*/ 180754 w 6018028"/>
                <a:gd name="csY4" fmla="*/ 116958 h 1228060"/>
                <a:gd name="csX5" fmla="*/ 292396 w 6018028"/>
                <a:gd name="csY5" fmla="*/ 116958 h 1228060"/>
                <a:gd name="csX6" fmla="*/ 292396 w 6018028"/>
                <a:gd name="csY6" fmla="*/ 164804 h 1228060"/>
                <a:gd name="csX7" fmla="*/ 404037 w 6018028"/>
                <a:gd name="csY7" fmla="*/ 164804 h 1228060"/>
                <a:gd name="csX8" fmla="*/ 404037 w 6018028"/>
                <a:gd name="csY8" fmla="*/ 202018 h 1228060"/>
                <a:gd name="csX9" fmla="*/ 483782 w 6018028"/>
                <a:gd name="csY9" fmla="*/ 202018 h 1228060"/>
                <a:gd name="csX10" fmla="*/ 483782 w 6018028"/>
                <a:gd name="csY10" fmla="*/ 255181 h 1228060"/>
                <a:gd name="csX11" fmla="*/ 627321 w 6018028"/>
                <a:gd name="csY11" fmla="*/ 255181 h 1228060"/>
                <a:gd name="csX12" fmla="*/ 627321 w 6018028"/>
                <a:gd name="csY12" fmla="*/ 303028 h 1228060"/>
                <a:gd name="csX13" fmla="*/ 776177 w 6018028"/>
                <a:gd name="csY13" fmla="*/ 303028 h 1228060"/>
                <a:gd name="csX14" fmla="*/ 776177 w 6018028"/>
                <a:gd name="csY14" fmla="*/ 350874 h 1228060"/>
                <a:gd name="csX15" fmla="*/ 834656 w 6018028"/>
                <a:gd name="csY15" fmla="*/ 350874 h 1228060"/>
                <a:gd name="csX16" fmla="*/ 834656 w 6018028"/>
                <a:gd name="csY16" fmla="*/ 398721 h 1228060"/>
                <a:gd name="csX17" fmla="*/ 919717 w 6018028"/>
                <a:gd name="csY17" fmla="*/ 398721 h 1228060"/>
                <a:gd name="csX18" fmla="*/ 930349 w 6018028"/>
                <a:gd name="csY18" fmla="*/ 409353 h 1228060"/>
                <a:gd name="csX19" fmla="*/ 1041991 w 6018028"/>
                <a:gd name="csY19" fmla="*/ 409353 h 1228060"/>
                <a:gd name="csX20" fmla="*/ 1041991 w 6018028"/>
                <a:gd name="csY20" fmla="*/ 451883 h 1228060"/>
                <a:gd name="csX21" fmla="*/ 1164265 w 6018028"/>
                <a:gd name="csY21" fmla="*/ 451883 h 1228060"/>
                <a:gd name="csX22" fmla="*/ 1164265 w 6018028"/>
                <a:gd name="csY22" fmla="*/ 489097 h 1228060"/>
                <a:gd name="csX23" fmla="*/ 1339703 w 6018028"/>
                <a:gd name="csY23" fmla="*/ 489097 h 1228060"/>
                <a:gd name="csX24" fmla="*/ 1339703 w 6018028"/>
                <a:gd name="csY24" fmla="*/ 552893 h 1228060"/>
                <a:gd name="csX25" fmla="*/ 1515140 w 6018028"/>
                <a:gd name="csY25" fmla="*/ 552893 h 1228060"/>
                <a:gd name="csX26" fmla="*/ 1515140 w 6018028"/>
                <a:gd name="csY26" fmla="*/ 606055 h 1228060"/>
                <a:gd name="csX27" fmla="*/ 1589568 w 6018028"/>
                <a:gd name="csY27" fmla="*/ 606055 h 1228060"/>
                <a:gd name="csX28" fmla="*/ 1589568 w 6018028"/>
                <a:gd name="csY28" fmla="*/ 632637 h 1228060"/>
                <a:gd name="csX29" fmla="*/ 1701210 w 6018028"/>
                <a:gd name="csY29" fmla="*/ 632637 h 1228060"/>
                <a:gd name="csX30" fmla="*/ 1717158 w 6018028"/>
                <a:gd name="csY30" fmla="*/ 648585 h 1228060"/>
                <a:gd name="csX31" fmla="*/ 2078665 w 6018028"/>
                <a:gd name="csY31" fmla="*/ 648585 h 1228060"/>
                <a:gd name="csX32" fmla="*/ 2078665 w 6018028"/>
                <a:gd name="csY32" fmla="*/ 712381 h 1228060"/>
                <a:gd name="csX33" fmla="*/ 2541182 w 6018028"/>
                <a:gd name="csY33" fmla="*/ 712381 h 1228060"/>
                <a:gd name="csX34" fmla="*/ 2541182 w 6018028"/>
                <a:gd name="csY34" fmla="*/ 744279 h 1228060"/>
                <a:gd name="csX35" fmla="*/ 2775098 w 6018028"/>
                <a:gd name="csY35" fmla="*/ 744279 h 1228060"/>
                <a:gd name="csX36" fmla="*/ 2775098 w 6018028"/>
                <a:gd name="csY36" fmla="*/ 770860 h 1228060"/>
                <a:gd name="csX37" fmla="*/ 3173819 w 6018028"/>
                <a:gd name="csY37" fmla="*/ 770860 h 1228060"/>
                <a:gd name="csX38" fmla="*/ 3173819 w 6018028"/>
                <a:gd name="csY38" fmla="*/ 797442 h 1228060"/>
                <a:gd name="csX39" fmla="*/ 3413051 w 6018028"/>
                <a:gd name="csY39" fmla="*/ 797442 h 1228060"/>
                <a:gd name="csX40" fmla="*/ 3413051 w 6018028"/>
                <a:gd name="csY40" fmla="*/ 824023 h 1228060"/>
                <a:gd name="csX41" fmla="*/ 3822405 w 6018028"/>
                <a:gd name="csY41" fmla="*/ 824023 h 1228060"/>
                <a:gd name="csX42" fmla="*/ 3822405 w 6018028"/>
                <a:gd name="csY42" fmla="*/ 861237 h 1228060"/>
                <a:gd name="csX43" fmla="*/ 4518837 w 6018028"/>
                <a:gd name="csY43" fmla="*/ 861237 h 1228060"/>
                <a:gd name="csX44" fmla="*/ 4518837 w 6018028"/>
                <a:gd name="csY44" fmla="*/ 887818 h 1228060"/>
                <a:gd name="csX45" fmla="*/ 4731489 w 6018028"/>
                <a:gd name="csY45" fmla="*/ 887818 h 1228060"/>
                <a:gd name="csX46" fmla="*/ 4731489 w 6018028"/>
                <a:gd name="csY46" fmla="*/ 925032 h 1228060"/>
                <a:gd name="csX47" fmla="*/ 5183372 w 6018028"/>
                <a:gd name="csY47" fmla="*/ 925032 h 1228060"/>
                <a:gd name="csX48" fmla="*/ 5183372 w 6018028"/>
                <a:gd name="csY48" fmla="*/ 956930 h 1228060"/>
                <a:gd name="csX49" fmla="*/ 5725633 w 6018028"/>
                <a:gd name="csY49" fmla="*/ 956930 h 1228060"/>
                <a:gd name="csX50" fmla="*/ 5725633 w 6018028"/>
                <a:gd name="csY50" fmla="*/ 1228060 h 1228060"/>
                <a:gd name="csX51" fmla="*/ 6018028 w 6018028"/>
                <a:gd name="csY51" fmla="*/ 1228060 h 122806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  <a:cxn ang="0">
                  <a:pos x="csX16" y="csY16"/>
                </a:cxn>
                <a:cxn ang="0">
                  <a:pos x="csX17" y="csY17"/>
                </a:cxn>
                <a:cxn ang="0">
                  <a:pos x="csX18" y="csY18"/>
                </a:cxn>
                <a:cxn ang="0">
                  <a:pos x="csX19" y="csY19"/>
                </a:cxn>
                <a:cxn ang="0">
                  <a:pos x="csX20" y="csY20"/>
                </a:cxn>
                <a:cxn ang="0">
                  <a:pos x="csX21" y="csY21"/>
                </a:cxn>
                <a:cxn ang="0">
                  <a:pos x="csX22" y="csY22"/>
                </a:cxn>
                <a:cxn ang="0">
                  <a:pos x="csX23" y="csY23"/>
                </a:cxn>
                <a:cxn ang="0">
                  <a:pos x="csX24" y="csY24"/>
                </a:cxn>
                <a:cxn ang="0">
                  <a:pos x="csX25" y="csY25"/>
                </a:cxn>
                <a:cxn ang="0">
                  <a:pos x="csX26" y="csY26"/>
                </a:cxn>
                <a:cxn ang="0">
                  <a:pos x="csX27" y="csY27"/>
                </a:cxn>
                <a:cxn ang="0">
                  <a:pos x="csX28" y="csY28"/>
                </a:cxn>
                <a:cxn ang="0">
                  <a:pos x="csX29" y="csY29"/>
                </a:cxn>
                <a:cxn ang="0">
                  <a:pos x="csX30" y="csY30"/>
                </a:cxn>
                <a:cxn ang="0">
                  <a:pos x="csX31" y="csY31"/>
                </a:cxn>
                <a:cxn ang="0">
                  <a:pos x="csX32" y="csY32"/>
                </a:cxn>
                <a:cxn ang="0">
                  <a:pos x="csX33" y="csY33"/>
                </a:cxn>
                <a:cxn ang="0">
                  <a:pos x="csX34" y="csY34"/>
                </a:cxn>
                <a:cxn ang="0">
                  <a:pos x="csX35" y="csY35"/>
                </a:cxn>
                <a:cxn ang="0">
                  <a:pos x="csX36" y="csY36"/>
                </a:cxn>
                <a:cxn ang="0">
                  <a:pos x="csX37" y="csY37"/>
                </a:cxn>
                <a:cxn ang="0">
                  <a:pos x="csX38" y="csY38"/>
                </a:cxn>
                <a:cxn ang="0">
                  <a:pos x="csX39" y="csY39"/>
                </a:cxn>
                <a:cxn ang="0">
                  <a:pos x="csX40" y="csY40"/>
                </a:cxn>
                <a:cxn ang="0">
                  <a:pos x="csX41" y="csY41"/>
                </a:cxn>
                <a:cxn ang="0">
                  <a:pos x="csX42" y="csY42"/>
                </a:cxn>
                <a:cxn ang="0">
                  <a:pos x="csX43" y="csY43"/>
                </a:cxn>
                <a:cxn ang="0">
                  <a:pos x="csX44" y="csY44"/>
                </a:cxn>
                <a:cxn ang="0">
                  <a:pos x="csX45" y="csY45"/>
                </a:cxn>
                <a:cxn ang="0">
                  <a:pos x="csX46" y="csY46"/>
                </a:cxn>
                <a:cxn ang="0">
                  <a:pos x="csX47" y="csY47"/>
                </a:cxn>
                <a:cxn ang="0">
                  <a:pos x="csX48" y="csY48"/>
                </a:cxn>
                <a:cxn ang="0">
                  <a:pos x="csX49" y="csY49"/>
                </a:cxn>
                <a:cxn ang="0">
                  <a:pos x="csX50" y="csY50"/>
                </a:cxn>
                <a:cxn ang="0">
                  <a:pos x="csX51" y="csY51"/>
                </a:cxn>
              </a:cxnLst>
              <a:rect l="l" t="t" r="r" b="b"/>
              <a:pathLst>
                <a:path w="6018028" h="1228060">
                  <a:moveTo>
                    <a:pt x="0" y="0"/>
                  </a:moveTo>
                  <a:lnTo>
                    <a:pt x="58479" y="0"/>
                  </a:lnTo>
                  <a:lnTo>
                    <a:pt x="58479" y="42530"/>
                  </a:lnTo>
                  <a:lnTo>
                    <a:pt x="180754" y="42530"/>
                  </a:lnTo>
                  <a:lnTo>
                    <a:pt x="180754" y="116958"/>
                  </a:lnTo>
                  <a:lnTo>
                    <a:pt x="292396" y="116958"/>
                  </a:lnTo>
                  <a:lnTo>
                    <a:pt x="292396" y="164804"/>
                  </a:lnTo>
                  <a:lnTo>
                    <a:pt x="404037" y="164804"/>
                  </a:lnTo>
                  <a:lnTo>
                    <a:pt x="404037" y="202018"/>
                  </a:lnTo>
                  <a:lnTo>
                    <a:pt x="483782" y="202018"/>
                  </a:lnTo>
                  <a:lnTo>
                    <a:pt x="483782" y="255181"/>
                  </a:lnTo>
                  <a:lnTo>
                    <a:pt x="627321" y="255181"/>
                  </a:lnTo>
                  <a:lnTo>
                    <a:pt x="627321" y="303028"/>
                  </a:lnTo>
                  <a:lnTo>
                    <a:pt x="776177" y="303028"/>
                  </a:lnTo>
                  <a:lnTo>
                    <a:pt x="776177" y="350874"/>
                  </a:lnTo>
                  <a:lnTo>
                    <a:pt x="834656" y="350874"/>
                  </a:lnTo>
                  <a:lnTo>
                    <a:pt x="834656" y="398721"/>
                  </a:lnTo>
                  <a:lnTo>
                    <a:pt x="919717" y="398721"/>
                  </a:lnTo>
                  <a:lnTo>
                    <a:pt x="930349" y="409353"/>
                  </a:lnTo>
                  <a:lnTo>
                    <a:pt x="1041991" y="409353"/>
                  </a:lnTo>
                  <a:lnTo>
                    <a:pt x="1041991" y="451883"/>
                  </a:lnTo>
                  <a:lnTo>
                    <a:pt x="1164265" y="451883"/>
                  </a:lnTo>
                  <a:lnTo>
                    <a:pt x="1164265" y="489097"/>
                  </a:lnTo>
                  <a:lnTo>
                    <a:pt x="1339703" y="489097"/>
                  </a:lnTo>
                  <a:lnTo>
                    <a:pt x="1339703" y="552893"/>
                  </a:lnTo>
                  <a:lnTo>
                    <a:pt x="1515140" y="552893"/>
                  </a:lnTo>
                  <a:lnTo>
                    <a:pt x="1515140" y="606055"/>
                  </a:lnTo>
                  <a:lnTo>
                    <a:pt x="1589568" y="606055"/>
                  </a:lnTo>
                  <a:lnTo>
                    <a:pt x="1589568" y="632637"/>
                  </a:lnTo>
                  <a:lnTo>
                    <a:pt x="1701210" y="632637"/>
                  </a:lnTo>
                  <a:lnTo>
                    <a:pt x="1717158" y="648585"/>
                  </a:lnTo>
                  <a:lnTo>
                    <a:pt x="2078665" y="648585"/>
                  </a:lnTo>
                  <a:lnTo>
                    <a:pt x="2078665" y="712381"/>
                  </a:lnTo>
                  <a:lnTo>
                    <a:pt x="2541182" y="712381"/>
                  </a:lnTo>
                  <a:lnTo>
                    <a:pt x="2541182" y="744279"/>
                  </a:lnTo>
                  <a:lnTo>
                    <a:pt x="2775098" y="744279"/>
                  </a:lnTo>
                  <a:lnTo>
                    <a:pt x="2775098" y="770860"/>
                  </a:lnTo>
                  <a:lnTo>
                    <a:pt x="3173819" y="770860"/>
                  </a:lnTo>
                  <a:lnTo>
                    <a:pt x="3173819" y="797442"/>
                  </a:lnTo>
                  <a:lnTo>
                    <a:pt x="3413051" y="797442"/>
                  </a:lnTo>
                  <a:lnTo>
                    <a:pt x="3413051" y="824023"/>
                  </a:lnTo>
                  <a:lnTo>
                    <a:pt x="3822405" y="824023"/>
                  </a:lnTo>
                  <a:lnTo>
                    <a:pt x="3822405" y="861237"/>
                  </a:lnTo>
                  <a:lnTo>
                    <a:pt x="4518837" y="861237"/>
                  </a:lnTo>
                  <a:lnTo>
                    <a:pt x="4518837" y="887818"/>
                  </a:lnTo>
                  <a:lnTo>
                    <a:pt x="4731489" y="887818"/>
                  </a:lnTo>
                  <a:lnTo>
                    <a:pt x="4731489" y="925032"/>
                  </a:lnTo>
                  <a:lnTo>
                    <a:pt x="5183372" y="925032"/>
                  </a:lnTo>
                  <a:lnTo>
                    <a:pt x="5183372" y="956930"/>
                  </a:lnTo>
                  <a:lnTo>
                    <a:pt x="5725633" y="956930"/>
                  </a:lnTo>
                  <a:lnTo>
                    <a:pt x="5725633" y="1228060"/>
                  </a:lnTo>
                  <a:lnTo>
                    <a:pt x="6018028" y="1228060"/>
                  </a:lnTo>
                </a:path>
              </a:pathLst>
            </a:custGeom>
            <a:ln w="1905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</p:grpSp>
      <p:cxnSp>
        <p:nvCxnSpPr>
          <p:cNvPr id="192" name="Straight Connector 191">
            <a:extLst>
              <a:ext uri="{FF2B5EF4-FFF2-40B4-BE49-F238E27FC236}">
                <a16:creationId xmlns:a16="http://schemas.microsoft.com/office/drawing/2014/main" id="{FD470429-20D9-699A-123B-BF0C98EF3F34}"/>
              </a:ext>
            </a:extLst>
          </p:cNvPr>
          <p:cNvCxnSpPr>
            <a:cxnSpLocks/>
          </p:cNvCxnSpPr>
          <p:nvPr/>
        </p:nvCxnSpPr>
        <p:spPr>
          <a:xfrm>
            <a:off x="6822866" y="2445745"/>
            <a:ext cx="0" cy="2111421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Straight Connector 192">
            <a:extLst>
              <a:ext uri="{FF2B5EF4-FFF2-40B4-BE49-F238E27FC236}">
                <a16:creationId xmlns:a16="http://schemas.microsoft.com/office/drawing/2014/main" id="{309F0AAA-491C-403D-B68C-943E30810DD3}"/>
              </a:ext>
            </a:extLst>
          </p:cNvPr>
          <p:cNvCxnSpPr>
            <a:cxnSpLocks/>
          </p:cNvCxnSpPr>
          <p:nvPr/>
        </p:nvCxnSpPr>
        <p:spPr>
          <a:xfrm>
            <a:off x="6725448" y="2444518"/>
            <a:ext cx="95151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4" name="Straight Connector 193">
            <a:extLst>
              <a:ext uri="{FF2B5EF4-FFF2-40B4-BE49-F238E27FC236}">
                <a16:creationId xmlns:a16="http://schemas.microsoft.com/office/drawing/2014/main" id="{2D735251-03B2-62D0-4647-D57819D8D4EC}"/>
              </a:ext>
            </a:extLst>
          </p:cNvPr>
          <p:cNvCxnSpPr>
            <a:cxnSpLocks/>
          </p:cNvCxnSpPr>
          <p:nvPr/>
        </p:nvCxnSpPr>
        <p:spPr>
          <a:xfrm>
            <a:off x="6725448" y="2860405"/>
            <a:ext cx="95151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5" name="Straight Connector 194">
            <a:extLst>
              <a:ext uri="{FF2B5EF4-FFF2-40B4-BE49-F238E27FC236}">
                <a16:creationId xmlns:a16="http://schemas.microsoft.com/office/drawing/2014/main" id="{39EACF67-4E1C-341A-8296-B728BBC7DA25}"/>
              </a:ext>
            </a:extLst>
          </p:cNvPr>
          <p:cNvCxnSpPr>
            <a:cxnSpLocks/>
          </p:cNvCxnSpPr>
          <p:nvPr/>
        </p:nvCxnSpPr>
        <p:spPr>
          <a:xfrm>
            <a:off x="6725448" y="3276292"/>
            <a:ext cx="95151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6" name="Straight Connector 195">
            <a:extLst>
              <a:ext uri="{FF2B5EF4-FFF2-40B4-BE49-F238E27FC236}">
                <a16:creationId xmlns:a16="http://schemas.microsoft.com/office/drawing/2014/main" id="{D188B779-CBDE-9C27-2F45-96A88C47F87E}"/>
              </a:ext>
            </a:extLst>
          </p:cNvPr>
          <p:cNvCxnSpPr>
            <a:cxnSpLocks/>
          </p:cNvCxnSpPr>
          <p:nvPr/>
        </p:nvCxnSpPr>
        <p:spPr>
          <a:xfrm>
            <a:off x="6725448" y="3692179"/>
            <a:ext cx="95151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7" name="Straight Connector 196">
            <a:extLst>
              <a:ext uri="{FF2B5EF4-FFF2-40B4-BE49-F238E27FC236}">
                <a16:creationId xmlns:a16="http://schemas.microsoft.com/office/drawing/2014/main" id="{D9BDFDF3-DC95-6494-04F0-632257D962BF}"/>
              </a:ext>
            </a:extLst>
          </p:cNvPr>
          <p:cNvCxnSpPr>
            <a:cxnSpLocks/>
          </p:cNvCxnSpPr>
          <p:nvPr/>
        </p:nvCxnSpPr>
        <p:spPr>
          <a:xfrm>
            <a:off x="6725448" y="4108065"/>
            <a:ext cx="95151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8" name="TextBox 197">
            <a:extLst>
              <a:ext uri="{FF2B5EF4-FFF2-40B4-BE49-F238E27FC236}">
                <a16:creationId xmlns:a16="http://schemas.microsoft.com/office/drawing/2014/main" id="{BFC6DE3C-49B2-A5D5-FD05-90CF5F224EC6}"/>
              </a:ext>
            </a:extLst>
          </p:cNvPr>
          <p:cNvSpPr txBox="1"/>
          <p:nvPr/>
        </p:nvSpPr>
        <p:spPr>
          <a:xfrm rot="16200000">
            <a:off x="5441008" y="3294530"/>
            <a:ext cx="1611295" cy="398780"/>
          </a:xfrm>
          <a:prstGeom prst="rect">
            <a:avLst/>
          </a:prstGeom>
          <a:noFill/>
        </p:spPr>
        <p:txBody>
          <a:bodyPr wrap="none" rtlCol="0" anchor="ctr">
            <a:noAutofit/>
          </a:bodyPr>
          <a:lstStyle>
            <a:defPPr>
              <a:defRPr lang="en-GB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0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OS</a:t>
            </a:r>
          </a:p>
        </p:txBody>
      </p:sp>
      <p:sp>
        <p:nvSpPr>
          <p:cNvPr id="199" name="TextBox 198">
            <a:extLst>
              <a:ext uri="{FF2B5EF4-FFF2-40B4-BE49-F238E27FC236}">
                <a16:creationId xmlns:a16="http://schemas.microsoft.com/office/drawing/2014/main" id="{CCB2CF3D-9B71-D079-A35F-24DDF688899B}"/>
              </a:ext>
            </a:extLst>
          </p:cNvPr>
          <p:cNvSpPr txBox="1"/>
          <p:nvPr/>
        </p:nvSpPr>
        <p:spPr>
          <a:xfrm>
            <a:off x="6973627" y="3599504"/>
            <a:ext cx="3781697" cy="34453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Stratified HR</a:t>
            </a:r>
            <a:r>
              <a:rPr kumimoji="0" lang="en-GB" sz="1200" b="0" i="0" u="none" strike="noStrike" kern="1200" cap="none" spc="0" normalizeH="0" baseline="3000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†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: 1.02 (95% CI 0.81–1.29)</a:t>
            </a:r>
            <a:b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</a:br>
            <a:r>
              <a:rPr kumimoji="0" lang="en-GB" sz="1200" b="0" i="1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p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=0.84</a:t>
            </a:r>
          </a:p>
        </p:txBody>
      </p:sp>
      <p:sp>
        <p:nvSpPr>
          <p:cNvPr id="200" name="TextBox 199">
            <a:extLst>
              <a:ext uri="{FF2B5EF4-FFF2-40B4-BE49-F238E27FC236}">
                <a16:creationId xmlns:a16="http://schemas.microsoft.com/office/drawing/2014/main" id="{166606FE-67B6-7EEF-0C2F-A0EE3DE13BBB}"/>
              </a:ext>
            </a:extLst>
          </p:cNvPr>
          <p:cNvSpPr txBox="1"/>
          <p:nvPr/>
        </p:nvSpPr>
        <p:spPr>
          <a:xfrm>
            <a:off x="7237365" y="3948611"/>
            <a:ext cx="17454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ABBFC9">
                    <a:lumMod val="5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R-CHOP (n=710)</a:t>
            </a:r>
          </a:p>
        </p:txBody>
      </p:sp>
      <p:cxnSp>
        <p:nvCxnSpPr>
          <p:cNvPr id="201" name="Straight Connector 200">
            <a:extLst>
              <a:ext uri="{FF2B5EF4-FFF2-40B4-BE49-F238E27FC236}">
                <a16:creationId xmlns:a16="http://schemas.microsoft.com/office/drawing/2014/main" id="{BDB042BC-4AF7-139B-3482-F7DEBF23CAC1}"/>
              </a:ext>
            </a:extLst>
          </p:cNvPr>
          <p:cNvCxnSpPr>
            <a:cxnSpLocks/>
          </p:cNvCxnSpPr>
          <p:nvPr/>
        </p:nvCxnSpPr>
        <p:spPr>
          <a:xfrm>
            <a:off x="6997737" y="4089427"/>
            <a:ext cx="195114" cy="0"/>
          </a:xfrm>
          <a:prstGeom prst="line">
            <a:avLst/>
          </a:prstGeom>
          <a:ln w="19050">
            <a:solidFill>
              <a:srgbClr val="7395A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2" name="TextBox 201">
            <a:extLst>
              <a:ext uri="{FF2B5EF4-FFF2-40B4-BE49-F238E27FC236}">
                <a16:creationId xmlns:a16="http://schemas.microsoft.com/office/drawing/2014/main" id="{6DB9BC41-E38A-8567-BFD5-27C8FEF4D6FB}"/>
              </a:ext>
            </a:extLst>
          </p:cNvPr>
          <p:cNvSpPr txBox="1"/>
          <p:nvPr/>
        </p:nvSpPr>
        <p:spPr>
          <a:xfrm>
            <a:off x="7237365" y="4114550"/>
            <a:ext cx="17454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9D9C98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G-CHOP (n=704)</a:t>
            </a:r>
          </a:p>
        </p:txBody>
      </p:sp>
      <p:cxnSp>
        <p:nvCxnSpPr>
          <p:cNvPr id="203" name="Straight Connector 202">
            <a:extLst>
              <a:ext uri="{FF2B5EF4-FFF2-40B4-BE49-F238E27FC236}">
                <a16:creationId xmlns:a16="http://schemas.microsoft.com/office/drawing/2014/main" id="{BFF74295-4C62-5A9E-18BF-B9CABB8EA2FF}"/>
              </a:ext>
            </a:extLst>
          </p:cNvPr>
          <p:cNvCxnSpPr>
            <a:cxnSpLocks/>
          </p:cNvCxnSpPr>
          <p:nvPr/>
        </p:nvCxnSpPr>
        <p:spPr>
          <a:xfrm>
            <a:off x="6997737" y="4261716"/>
            <a:ext cx="195114" cy="0"/>
          </a:xfrm>
          <a:prstGeom prst="line">
            <a:avLst/>
          </a:prstGeom>
          <a:ln w="19050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0819438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EDF4B3-303F-2952-1A39-B522F268C4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0647" y="311857"/>
            <a:ext cx="9789459" cy="920971"/>
          </a:xfrm>
        </p:spPr>
        <p:txBody>
          <a:bodyPr/>
          <a:lstStyle/>
          <a:p>
            <a:r>
              <a:rPr lang="en-GB" sz="3200">
                <a:solidFill>
                  <a:srgbClr val="585854"/>
                </a:solidFill>
                <a:effectLst/>
                <a:latin typeface="Aptos" panose="020B0004020202020204" pitchFamily="34" charset="0"/>
              </a:rPr>
              <a:t>Use of Pola-R-CHP in 1L improved PFS, though </a:t>
            </a:r>
            <a:r>
              <a:rPr lang="en-GB">
                <a:solidFill>
                  <a:srgbClr val="585854"/>
                </a:solidFill>
                <a:effectLst/>
                <a:latin typeface="Aptos" panose="020B0004020202020204" pitchFamily="34" charset="0"/>
              </a:rPr>
              <a:t>long-term</a:t>
            </a:r>
            <a:r>
              <a:rPr lang="en-GB" sz="3200">
                <a:solidFill>
                  <a:srgbClr val="585854"/>
                </a:solidFill>
                <a:effectLst/>
                <a:latin typeface="Aptos" panose="020B0004020202020204" pitchFamily="34" charset="0"/>
              </a:rPr>
              <a:t> OS was not substantially changed</a:t>
            </a:r>
            <a:r>
              <a:rPr lang="en-GB" sz="3200" baseline="30000">
                <a:solidFill>
                  <a:srgbClr val="585854"/>
                </a:solidFill>
                <a:effectLst/>
                <a:latin typeface="Aptos" panose="020B0004020202020204" pitchFamily="34" charset="0"/>
              </a:rPr>
              <a:t>1</a:t>
            </a:r>
            <a:endParaRPr lang="en-GB" baseline="3000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A98C086-5E37-7CDC-D7CD-5C24741325E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70645" y="6085697"/>
            <a:ext cx="10440000" cy="634254"/>
          </a:xfrm>
        </p:spPr>
        <p:txBody>
          <a:bodyPr/>
          <a:lstStyle/>
          <a:p>
            <a:r>
              <a:rPr lang="en-GB"/>
              <a:t>1L, first line; CI, confidence interval; HR, hazard ratio; NE, no event; OS, overall survival; PFS, progression-free survival; Pola-R-CHP, polatuzumab vedotin, rituximab, cyclophosphamide, doxorubicin, prednisone; R-CHOP, rituximab, cyclophosphamide, doxorubicin, vincristine, prednisone.</a:t>
            </a:r>
            <a:br>
              <a:rPr lang="en-GB" b="1"/>
            </a:br>
            <a:r>
              <a:rPr lang="en-GB" b="1"/>
              <a:t>1.</a:t>
            </a:r>
            <a:r>
              <a:rPr lang="en-GB"/>
              <a:t> Morschhauser et al. </a:t>
            </a:r>
            <a:r>
              <a:rPr lang="en-GB" i="1"/>
              <a:t>J Clin Oncol</a:t>
            </a:r>
            <a:r>
              <a:rPr lang="en-GB"/>
              <a:t> 2025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4A1F577-8777-BA84-6571-F12EA17FD052}"/>
              </a:ext>
            </a:extLst>
          </p:cNvPr>
          <p:cNvSpPr txBox="1"/>
          <p:nvPr/>
        </p:nvSpPr>
        <p:spPr>
          <a:xfrm>
            <a:off x="1095430" y="1610913"/>
            <a:ext cx="4092427" cy="307777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5-year PFS</a:t>
            </a:r>
            <a:endParaRPr kumimoji="0" lang="en-GB" sz="2000" b="1" i="0" u="none" strike="noStrike" kern="1200" cap="none" spc="0" normalizeH="0" baseline="3000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959D167-8B4E-9EEE-24E1-BF6670B6915D}"/>
              </a:ext>
            </a:extLst>
          </p:cNvPr>
          <p:cNvSpPr txBox="1"/>
          <p:nvPr/>
        </p:nvSpPr>
        <p:spPr>
          <a:xfrm>
            <a:off x="1231202" y="5182717"/>
            <a:ext cx="397071" cy="406712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>
            <a:defPPr>
              <a:defRPr lang="en-GB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50" b="0" i="0" u="none" strike="noStrike" cap="none" spc="0" normalizeH="0" baseline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440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439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76AC975-11A0-8020-B2BB-8DDEADC8646D}"/>
              </a:ext>
            </a:extLst>
          </p:cNvPr>
          <p:cNvSpPr txBox="1"/>
          <p:nvPr/>
        </p:nvSpPr>
        <p:spPr>
          <a:xfrm>
            <a:off x="1528367" y="5182717"/>
            <a:ext cx="397071" cy="406712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>
            <a:defPPr>
              <a:defRPr lang="en-GB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50" b="0" i="0" u="none" strike="noStrike" cap="none" spc="0" normalizeH="0" baseline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407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391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C2910D1-57F5-5944-8F9A-F4157650622D}"/>
              </a:ext>
            </a:extLst>
          </p:cNvPr>
          <p:cNvSpPr txBox="1"/>
          <p:nvPr/>
        </p:nvSpPr>
        <p:spPr>
          <a:xfrm>
            <a:off x="1815443" y="5182717"/>
            <a:ext cx="397071" cy="406712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>
            <a:defPPr>
              <a:defRPr lang="en-GB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50" b="0" i="0" u="none" strike="noStrike" cap="none" spc="0" normalizeH="0" baseline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357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332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43A6706-51BB-23A2-E998-AA478F97F602}"/>
              </a:ext>
            </a:extLst>
          </p:cNvPr>
          <p:cNvSpPr txBox="1"/>
          <p:nvPr/>
        </p:nvSpPr>
        <p:spPr>
          <a:xfrm>
            <a:off x="2110076" y="5182717"/>
            <a:ext cx="397071" cy="406712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>
            <a:defPPr>
              <a:defRPr lang="en-GB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50" b="0" i="0" u="none" strike="noStrike" cap="none" spc="0" normalizeH="0" baseline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335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302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8383769-9AD1-76F5-CBA5-D0D760FDBE18}"/>
              </a:ext>
            </a:extLst>
          </p:cNvPr>
          <p:cNvSpPr txBox="1"/>
          <p:nvPr/>
        </p:nvSpPr>
        <p:spPr>
          <a:xfrm>
            <a:off x="2409525" y="5182717"/>
            <a:ext cx="397071" cy="406712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>
            <a:defPPr>
              <a:defRPr lang="en-GB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50" b="0" i="0" u="none" strike="noStrike" cap="none" spc="0" normalizeH="0" baseline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318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287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7E5E0BC-F1AF-3211-C3F5-28A12A8D2B42}"/>
              </a:ext>
            </a:extLst>
          </p:cNvPr>
          <p:cNvSpPr txBox="1"/>
          <p:nvPr/>
        </p:nvSpPr>
        <p:spPr>
          <a:xfrm>
            <a:off x="2686867" y="5182717"/>
            <a:ext cx="397071" cy="406712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>
            <a:defPPr>
              <a:defRPr lang="en-GB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50" b="0" i="0" u="none" strike="noStrike" cap="none" spc="0" normalizeH="0" baseline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303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274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0CFDA9B-5897-7669-74B6-4DFB73928EED}"/>
              </a:ext>
            </a:extLst>
          </p:cNvPr>
          <p:cNvSpPr txBox="1"/>
          <p:nvPr/>
        </p:nvSpPr>
        <p:spPr>
          <a:xfrm>
            <a:off x="2980716" y="5182717"/>
            <a:ext cx="397071" cy="406712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>
            <a:defPPr>
              <a:defRPr lang="en-GB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50" b="0" i="0" u="none" strike="noStrike" cap="none" spc="0" normalizeH="0" baseline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292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258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BCFA59A-F8BB-3818-8FA7-36097082501C}"/>
              </a:ext>
            </a:extLst>
          </p:cNvPr>
          <p:cNvSpPr txBox="1"/>
          <p:nvPr/>
        </p:nvSpPr>
        <p:spPr>
          <a:xfrm>
            <a:off x="3269470" y="5182717"/>
            <a:ext cx="397071" cy="406712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>
            <a:defPPr>
              <a:defRPr lang="en-GB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50" b="0" i="0" u="none" strike="noStrike" cap="none" spc="0" normalizeH="0" baseline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280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251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09020DF-0B0E-8DDA-8BEB-2F487E1BDC20}"/>
              </a:ext>
            </a:extLst>
          </p:cNvPr>
          <p:cNvSpPr txBox="1"/>
          <p:nvPr/>
        </p:nvSpPr>
        <p:spPr>
          <a:xfrm>
            <a:off x="3563799" y="5182717"/>
            <a:ext cx="397071" cy="406712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>
            <a:defPPr>
              <a:defRPr lang="en-GB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50" b="0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258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240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82990AF-4BF9-864B-9F23-68FE57064738}"/>
              </a:ext>
            </a:extLst>
          </p:cNvPr>
          <p:cNvSpPr txBox="1"/>
          <p:nvPr/>
        </p:nvSpPr>
        <p:spPr>
          <a:xfrm>
            <a:off x="3850207" y="5182717"/>
            <a:ext cx="397071" cy="406712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>
            <a:defPPr>
              <a:defRPr lang="en-GB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50" b="0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213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92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5DDDF88-71AA-E991-E73A-E6F310B39112}"/>
              </a:ext>
            </a:extLst>
          </p:cNvPr>
          <p:cNvSpPr txBox="1"/>
          <p:nvPr/>
        </p:nvSpPr>
        <p:spPr>
          <a:xfrm>
            <a:off x="4147702" y="5182717"/>
            <a:ext cx="397071" cy="406712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>
            <a:defPPr>
              <a:defRPr lang="en-GB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50" b="0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00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95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FF55904B-DB8D-7484-E329-BE3864305896}"/>
              </a:ext>
            </a:extLst>
          </p:cNvPr>
          <p:cNvSpPr txBox="1"/>
          <p:nvPr/>
        </p:nvSpPr>
        <p:spPr>
          <a:xfrm>
            <a:off x="4435577" y="5182717"/>
            <a:ext cx="397071" cy="406712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>
            <a:defPPr>
              <a:defRPr lang="en-GB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50" b="0" i="0" u="none" strike="noStrike" cap="none" spc="0" normalizeH="0" baseline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56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54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85A9C61-1496-2CAD-767E-9BC04A8302B2}"/>
              </a:ext>
            </a:extLst>
          </p:cNvPr>
          <p:cNvSpPr txBox="1"/>
          <p:nvPr/>
        </p:nvSpPr>
        <p:spPr>
          <a:xfrm>
            <a:off x="4723452" y="5182717"/>
            <a:ext cx="397071" cy="406712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>
            <a:defPPr>
              <a:defRPr lang="en-GB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50" b="0" i="0" u="none" strike="noStrike" cap="none" spc="0" normalizeH="0" baseline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N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NE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DB00BB1-A7EB-C279-8393-BB7DF116F48D}"/>
              </a:ext>
            </a:extLst>
          </p:cNvPr>
          <p:cNvSpPr txBox="1"/>
          <p:nvPr/>
        </p:nvSpPr>
        <p:spPr>
          <a:xfrm>
            <a:off x="1764238" y="3274111"/>
            <a:ext cx="118071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F15A22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Pola-R-CHP (n=440)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CC95A9D8-E757-6C96-B93E-AC806ECA7ECB}"/>
              </a:ext>
            </a:extLst>
          </p:cNvPr>
          <p:cNvCxnSpPr>
            <a:cxnSpLocks/>
          </p:cNvCxnSpPr>
          <p:nvPr/>
        </p:nvCxnSpPr>
        <p:spPr>
          <a:xfrm>
            <a:off x="1579293" y="3387087"/>
            <a:ext cx="150588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390FE9E3-7E40-0B05-0F8E-D1FD93A9A966}"/>
              </a:ext>
            </a:extLst>
          </p:cNvPr>
          <p:cNvSpPr txBox="1"/>
          <p:nvPr/>
        </p:nvSpPr>
        <p:spPr>
          <a:xfrm>
            <a:off x="1764238" y="3411678"/>
            <a:ext cx="118071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R-CHOP (n=439)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01F298BF-68DF-439C-89E6-5A132186A8F4}"/>
              </a:ext>
            </a:extLst>
          </p:cNvPr>
          <p:cNvCxnSpPr>
            <a:cxnSpLocks/>
          </p:cNvCxnSpPr>
          <p:nvPr/>
        </p:nvCxnSpPr>
        <p:spPr>
          <a:xfrm>
            <a:off x="1579293" y="3524654"/>
            <a:ext cx="150588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9B6DD70C-68F3-F25C-DB3D-D5CC00A747C4}"/>
              </a:ext>
            </a:extLst>
          </p:cNvPr>
          <p:cNvSpPr txBox="1"/>
          <p:nvPr/>
        </p:nvSpPr>
        <p:spPr>
          <a:xfrm>
            <a:off x="1764238" y="3549245"/>
            <a:ext cx="118071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Censored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6D4875EA-0DED-191B-AE15-921F01403EE2}"/>
              </a:ext>
            </a:extLst>
          </p:cNvPr>
          <p:cNvCxnSpPr>
            <a:cxnSpLocks/>
          </p:cNvCxnSpPr>
          <p:nvPr/>
        </p:nvCxnSpPr>
        <p:spPr>
          <a:xfrm>
            <a:off x="1579293" y="3662221"/>
            <a:ext cx="96625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6E4862A6-6E31-BE25-F987-1BB482085CDA}"/>
              </a:ext>
            </a:extLst>
          </p:cNvPr>
          <p:cNvCxnSpPr>
            <a:cxnSpLocks/>
          </p:cNvCxnSpPr>
          <p:nvPr/>
        </p:nvCxnSpPr>
        <p:spPr>
          <a:xfrm rot="16200000">
            <a:off x="1578374" y="3661767"/>
            <a:ext cx="94582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B05A6ACD-1516-F79C-201C-9DF07D69D8F7}"/>
              </a:ext>
            </a:extLst>
          </p:cNvPr>
          <p:cNvCxnSpPr>
            <a:cxnSpLocks/>
          </p:cNvCxnSpPr>
          <p:nvPr/>
        </p:nvCxnSpPr>
        <p:spPr>
          <a:xfrm>
            <a:off x="1432672" y="2296774"/>
            <a:ext cx="0" cy="2115912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A4655822-2A79-1D9C-F7A6-31801B4B6CED}"/>
              </a:ext>
            </a:extLst>
          </p:cNvPr>
          <p:cNvCxnSpPr>
            <a:cxnSpLocks/>
          </p:cNvCxnSpPr>
          <p:nvPr/>
        </p:nvCxnSpPr>
        <p:spPr>
          <a:xfrm flipV="1">
            <a:off x="1427910" y="4409031"/>
            <a:ext cx="3535017" cy="2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B27B51DB-36E3-464A-4F66-8BABB87DECF1}"/>
              </a:ext>
            </a:extLst>
          </p:cNvPr>
          <p:cNvCxnSpPr>
            <a:cxnSpLocks/>
          </p:cNvCxnSpPr>
          <p:nvPr/>
        </p:nvCxnSpPr>
        <p:spPr>
          <a:xfrm>
            <a:off x="1353842" y="2358289"/>
            <a:ext cx="73437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35">
            <a:extLst>
              <a:ext uri="{FF2B5EF4-FFF2-40B4-BE49-F238E27FC236}">
                <a16:creationId xmlns:a16="http://schemas.microsoft.com/office/drawing/2014/main" id="{0B721E24-9F5F-44FB-5BA6-3BF202B7B9ED}"/>
              </a:ext>
            </a:extLst>
          </p:cNvPr>
          <p:cNvSpPr txBox="1"/>
          <p:nvPr/>
        </p:nvSpPr>
        <p:spPr>
          <a:xfrm>
            <a:off x="828743" y="2213807"/>
            <a:ext cx="486207" cy="271142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GB"/>
            </a:defPPr>
            <a:lvl1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00</a:t>
            </a: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8F9E6953-00CE-E9A1-D895-C9CB91570D9D}"/>
              </a:ext>
            </a:extLst>
          </p:cNvPr>
          <p:cNvCxnSpPr>
            <a:cxnSpLocks/>
          </p:cNvCxnSpPr>
          <p:nvPr/>
        </p:nvCxnSpPr>
        <p:spPr>
          <a:xfrm>
            <a:off x="1353842" y="2763460"/>
            <a:ext cx="73437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7">
            <a:extLst>
              <a:ext uri="{FF2B5EF4-FFF2-40B4-BE49-F238E27FC236}">
                <a16:creationId xmlns:a16="http://schemas.microsoft.com/office/drawing/2014/main" id="{81F0DF77-86E4-194E-99B6-06C4F42B51F9}"/>
              </a:ext>
            </a:extLst>
          </p:cNvPr>
          <p:cNvSpPr txBox="1"/>
          <p:nvPr/>
        </p:nvSpPr>
        <p:spPr>
          <a:xfrm>
            <a:off x="828743" y="2618978"/>
            <a:ext cx="486207" cy="271142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GB"/>
            </a:defPPr>
            <a:lvl1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80</a:t>
            </a: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33E39333-D037-066E-DBC6-E5012809F0EF}"/>
              </a:ext>
            </a:extLst>
          </p:cNvPr>
          <p:cNvCxnSpPr>
            <a:cxnSpLocks/>
          </p:cNvCxnSpPr>
          <p:nvPr/>
        </p:nvCxnSpPr>
        <p:spPr>
          <a:xfrm>
            <a:off x="1353842" y="3174887"/>
            <a:ext cx="73437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>
            <a:extLst>
              <a:ext uri="{FF2B5EF4-FFF2-40B4-BE49-F238E27FC236}">
                <a16:creationId xmlns:a16="http://schemas.microsoft.com/office/drawing/2014/main" id="{88E5D617-2878-19F6-4624-A6FF6AE07195}"/>
              </a:ext>
            </a:extLst>
          </p:cNvPr>
          <p:cNvSpPr txBox="1"/>
          <p:nvPr/>
        </p:nvSpPr>
        <p:spPr>
          <a:xfrm>
            <a:off x="828743" y="3030405"/>
            <a:ext cx="486207" cy="271142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GB"/>
            </a:defPPr>
            <a:lvl1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60</a:t>
            </a:r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1D836BC3-5737-F2DD-2833-93D72FC141A4}"/>
              </a:ext>
            </a:extLst>
          </p:cNvPr>
          <p:cNvCxnSpPr>
            <a:cxnSpLocks/>
          </p:cNvCxnSpPr>
          <p:nvPr/>
        </p:nvCxnSpPr>
        <p:spPr>
          <a:xfrm>
            <a:off x="1353842" y="3586313"/>
            <a:ext cx="73437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Box 41">
            <a:extLst>
              <a:ext uri="{FF2B5EF4-FFF2-40B4-BE49-F238E27FC236}">
                <a16:creationId xmlns:a16="http://schemas.microsoft.com/office/drawing/2014/main" id="{810B96B5-D698-6039-56C8-13B0946CF008}"/>
              </a:ext>
            </a:extLst>
          </p:cNvPr>
          <p:cNvSpPr txBox="1"/>
          <p:nvPr/>
        </p:nvSpPr>
        <p:spPr>
          <a:xfrm>
            <a:off x="828743" y="3441831"/>
            <a:ext cx="486207" cy="271142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GB"/>
            </a:defPPr>
            <a:lvl1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40</a:t>
            </a:r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58311988-7502-806A-74EB-F67312B536E2}"/>
              </a:ext>
            </a:extLst>
          </p:cNvPr>
          <p:cNvCxnSpPr>
            <a:cxnSpLocks/>
          </p:cNvCxnSpPr>
          <p:nvPr/>
        </p:nvCxnSpPr>
        <p:spPr>
          <a:xfrm>
            <a:off x="1353842" y="3998253"/>
            <a:ext cx="73437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>
            <a:extLst>
              <a:ext uri="{FF2B5EF4-FFF2-40B4-BE49-F238E27FC236}">
                <a16:creationId xmlns:a16="http://schemas.microsoft.com/office/drawing/2014/main" id="{6536859A-4E8E-4F98-53CD-30D73948EFEB}"/>
              </a:ext>
            </a:extLst>
          </p:cNvPr>
          <p:cNvSpPr txBox="1"/>
          <p:nvPr/>
        </p:nvSpPr>
        <p:spPr>
          <a:xfrm>
            <a:off x="828743" y="3853771"/>
            <a:ext cx="486207" cy="271142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GB"/>
            </a:defPPr>
            <a:lvl1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20</a:t>
            </a:r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70ED6AC5-058A-B1B1-A869-FDCA337ED4FA}"/>
              </a:ext>
            </a:extLst>
          </p:cNvPr>
          <p:cNvCxnSpPr>
            <a:cxnSpLocks/>
          </p:cNvCxnSpPr>
          <p:nvPr/>
        </p:nvCxnSpPr>
        <p:spPr>
          <a:xfrm>
            <a:off x="1353842" y="4409165"/>
            <a:ext cx="73437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45">
            <a:extLst>
              <a:ext uri="{FF2B5EF4-FFF2-40B4-BE49-F238E27FC236}">
                <a16:creationId xmlns:a16="http://schemas.microsoft.com/office/drawing/2014/main" id="{EF9C8044-039E-670F-620E-97A9D78C247D}"/>
              </a:ext>
            </a:extLst>
          </p:cNvPr>
          <p:cNvSpPr txBox="1"/>
          <p:nvPr/>
        </p:nvSpPr>
        <p:spPr>
          <a:xfrm>
            <a:off x="828743" y="4264682"/>
            <a:ext cx="486207" cy="271142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GB"/>
            </a:defPPr>
            <a:lvl1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0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A4554E4C-008D-6BE0-A1E1-8AED3E7C85FE}"/>
              </a:ext>
            </a:extLst>
          </p:cNvPr>
          <p:cNvSpPr txBox="1"/>
          <p:nvPr/>
        </p:nvSpPr>
        <p:spPr>
          <a:xfrm rot="16200000">
            <a:off x="48629" y="3200842"/>
            <a:ext cx="1590715" cy="307777"/>
          </a:xfrm>
          <a:prstGeom prst="rect">
            <a:avLst/>
          </a:prstGeom>
          <a:noFill/>
        </p:spPr>
        <p:txBody>
          <a:bodyPr wrap="none" rtlCol="0" anchor="ctr">
            <a:noAutofit/>
          </a:bodyPr>
          <a:lstStyle>
            <a:defPPr>
              <a:defRPr lang="en-GB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0" i="0" u="none" strike="noStrike" cap="none" spc="0" normalizeH="0" baseline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PFS (%)</a:t>
            </a:r>
          </a:p>
        </p:txBody>
      </p: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A7353640-5ACD-5430-991A-EA95F3174595}"/>
              </a:ext>
            </a:extLst>
          </p:cNvPr>
          <p:cNvCxnSpPr>
            <a:cxnSpLocks/>
          </p:cNvCxnSpPr>
          <p:nvPr/>
        </p:nvCxnSpPr>
        <p:spPr>
          <a:xfrm>
            <a:off x="1429660" y="4412306"/>
            <a:ext cx="0" cy="73152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48">
            <a:extLst>
              <a:ext uri="{FF2B5EF4-FFF2-40B4-BE49-F238E27FC236}">
                <a16:creationId xmlns:a16="http://schemas.microsoft.com/office/drawing/2014/main" id="{72AF37AC-C344-A869-27D5-BF2AA08BFAE0}"/>
              </a:ext>
            </a:extLst>
          </p:cNvPr>
          <p:cNvSpPr txBox="1"/>
          <p:nvPr/>
        </p:nvSpPr>
        <p:spPr>
          <a:xfrm>
            <a:off x="1242539" y="4445732"/>
            <a:ext cx="374242" cy="271142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GB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0</a:t>
            </a:r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B3E7AFC2-59A4-11A1-41BE-0299C9D5D336}"/>
              </a:ext>
            </a:extLst>
          </p:cNvPr>
          <p:cNvCxnSpPr>
            <a:cxnSpLocks/>
          </p:cNvCxnSpPr>
          <p:nvPr/>
        </p:nvCxnSpPr>
        <p:spPr>
          <a:xfrm>
            <a:off x="1721603" y="4412306"/>
            <a:ext cx="0" cy="73152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Box 50">
            <a:extLst>
              <a:ext uri="{FF2B5EF4-FFF2-40B4-BE49-F238E27FC236}">
                <a16:creationId xmlns:a16="http://schemas.microsoft.com/office/drawing/2014/main" id="{5B0EF8D3-3CCA-7D16-A828-903FA44453B1}"/>
              </a:ext>
            </a:extLst>
          </p:cNvPr>
          <p:cNvSpPr txBox="1"/>
          <p:nvPr/>
        </p:nvSpPr>
        <p:spPr>
          <a:xfrm>
            <a:off x="1534482" y="4445732"/>
            <a:ext cx="374242" cy="271142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GB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6</a:t>
            </a:r>
          </a:p>
        </p:txBody>
      </p: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F9C5D5FC-AB25-C44E-FF40-9821122B1C40}"/>
              </a:ext>
            </a:extLst>
          </p:cNvPr>
          <p:cNvCxnSpPr>
            <a:cxnSpLocks/>
          </p:cNvCxnSpPr>
          <p:nvPr/>
        </p:nvCxnSpPr>
        <p:spPr>
          <a:xfrm>
            <a:off x="2013545" y="4412306"/>
            <a:ext cx="0" cy="73152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Box 52">
            <a:extLst>
              <a:ext uri="{FF2B5EF4-FFF2-40B4-BE49-F238E27FC236}">
                <a16:creationId xmlns:a16="http://schemas.microsoft.com/office/drawing/2014/main" id="{96D6215C-5875-B476-CA9A-E8E62935CDB5}"/>
              </a:ext>
            </a:extLst>
          </p:cNvPr>
          <p:cNvSpPr txBox="1"/>
          <p:nvPr/>
        </p:nvSpPr>
        <p:spPr>
          <a:xfrm>
            <a:off x="1826424" y="4445732"/>
            <a:ext cx="374242" cy="271142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GB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2</a:t>
            </a:r>
          </a:p>
        </p:txBody>
      </p: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9EEF2815-5B1B-89A8-53E9-FDCFEACB2C01}"/>
              </a:ext>
            </a:extLst>
          </p:cNvPr>
          <p:cNvCxnSpPr>
            <a:cxnSpLocks/>
          </p:cNvCxnSpPr>
          <p:nvPr/>
        </p:nvCxnSpPr>
        <p:spPr>
          <a:xfrm>
            <a:off x="2307076" y="4412306"/>
            <a:ext cx="0" cy="73152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Box 54">
            <a:extLst>
              <a:ext uri="{FF2B5EF4-FFF2-40B4-BE49-F238E27FC236}">
                <a16:creationId xmlns:a16="http://schemas.microsoft.com/office/drawing/2014/main" id="{D16B50A6-24CE-3935-9D63-7EB779AF61A6}"/>
              </a:ext>
            </a:extLst>
          </p:cNvPr>
          <p:cNvSpPr txBox="1"/>
          <p:nvPr/>
        </p:nvSpPr>
        <p:spPr>
          <a:xfrm>
            <a:off x="2119955" y="4445732"/>
            <a:ext cx="374242" cy="271142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GB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8</a:t>
            </a:r>
          </a:p>
        </p:txBody>
      </p: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863CA297-FE2E-4097-0245-E2F44192358E}"/>
              </a:ext>
            </a:extLst>
          </p:cNvPr>
          <p:cNvCxnSpPr>
            <a:cxnSpLocks/>
          </p:cNvCxnSpPr>
          <p:nvPr/>
        </p:nvCxnSpPr>
        <p:spPr>
          <a:xfrm>
            <a:off x="2596646" y="4412306"/>
            <a:ext cx="0" cy="73152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Box 56">
            <a:extLst>
              <a:ext uri="{FF2B5EF4-FFF2-40B4-BE49-F238E27FC236}">
                <a16:creationId xmlns:a16="http://schemas.microsoft.com/office/drawing/2014/main" id="{0DC6D918-AC5B-371D-9F57-FE6AA72203DA}"/>
              </a:ext>
            </a:extLst>
          </p:cNvPr>
          <p:cNvSpPr txBox="1"/>
          <p:nvPr/>
        </p:nvSpPr>
        <p:spPr>
          <a:xfrm>
            <a:off x="2409525" y="4445732"/>
            <a:ext cx="374242" cy="271142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GB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24</a:t>
            </a:r>
          </a:p>
        </p:txBody>
      </p: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C7B103E8-67AB-AE5C-6C5D-60A6ADBAE47D}"/>
              </a:ext>
            </a:extLst>
          </p:cNvPr>
          <p:cNvCxnSpPr>
            <a:cxnSpLocks/>
          </p:cNvCxnSpPr>
          <p:nvPr/>
        </p:nvCxnSpPr>
        <p:spPr>
          <a:xfrm>
            <a:off x="2886217" y="4412306"/>
            <a:ext cx="0" cy="73152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Box 58">
            <a:extLst>
              <a:ext uri="{FF2B5EF4-FFF2-40B4-BE49-F238E27FC236}">
                <a16:creationId xmlns:a16="http://schemas.microsoft.com/office/drawing/2014/main" id="{37182117-6310-896D-9E8D-28CF800B21DA}"/>
              </a:ext>
            </a:extLst>
          </p:cNvPr>
          <p:cNvSpPr txBox="1"/>
          <p:nvPr/>
        </p:nvSpPr>
        <p:spPr>
          <a:xfrm>
            <a:off x="2699096" y="4445732"/>
            <a:ext cx="374242" cy="271142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GB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30</a:t>
            </a:r>
          </a:p>
        </p:txBody>
      </p: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92908FD6-953E-A01C-42A4-F50E6955B06A}"/>
              </a:ext>
            </a:extLst>
          </p:cNvPr>
          <p:cNvCxnSpPr>
            <a:cxnSpLocks/>
          </p:cNvCxnSpPr>
          <p:nvPr/>
        </p:nvCxnSpPr>
        <p:spPr>
          <a:xfrm>
            <a:off x="3175787" y="4412306"/>
            <a:ext cx="0" cy="73152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TextBox 60">
            <a:extLst>
              <a:ext uri="{FF2B5EF4-FFF2-40B4-BE49-F238E27FC236}">
                <a16:creationId xmlns:a16="http://schemas.microsoft.com/office/drawing/2014/main" id="{BE6A83FF-0805-C3A4-0E8E-7FEE7118CDDA}"/>
              </a:ext>
            </a:extLst>
          </p:cNvPr>
          <p:cNvSpPr txBox="1"/>
          <p:nvPr/>
        </p:nvSpPr>
        <p:spPr>
          <a:xfrm>
            <a:off x="2988666" y="4445732"/>
            <a:ext cx="374242" cy="271142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GB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36</a:t>
            </a:r>
          </a:p>
        </p:txBody>
      </p: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8EF7688C-38BF-DAA2-DBD4-97EE1CA8134D}"/>
              </a:ext>
            </a:extLst>
          </p:cNvPr>
          <p:cNvCxnSpPr>
            <a:cxnSpLocks/>
          </p:cNvCxnSpPr>
          <p:nvPr/>
        </p:nvCxnSpPr>
        <p:spPr>
          <a:xfrm>
            <a:off x="3465356" y="4412306"/>
            <a:ext cx="0" cy="73152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>
            <a:extLst>
              <a:ext uri="{FF2B5EF4-FFF2-40B4-BE49-F238E27FC236}">
                <a16:creationId xmlns:a16="http://schemas.microsoft.com/office/drawing/2014/main" id="{9B1F3479-A28A-4B88-AA46-CE6ADF2644A1}"/>
              </a:ext>
            </a:extLst>
          </p:cNvPr>
          <p:cNvSpPr txBox="1"/>
          <p:nvPr/>
        </p:nvSpPr>
        <p:spPr>
          <a:xfrm>
            <a:off x="3278235" y="4445732"/>
            <a:ext cx="374242" cy="271142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GB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42</a:t>
            </a:r>
          </a:p>
        </p:txBody>
      </p: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769AB94A-1EB5-2D8F-A823-5FB8D35C071D}"/>
              </a:ext>
            </a:extLst>
          </p:cNvPr>
          <p:cNvCxnSpPr>
            <a:cxnSpLocks/>
          </p:cNvCxnSpPr>
          <p:nvPr/>
        </p:nvCxnSpPr>
        <p:spPr>
          <a:xfrm>
            <a:off x="3758870" y="4412306"/>
            <a:ext cx="0" cy="73152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TextBox 64">
            <a:extLst>
              <a:ext uri="{FF2B5EF4-FFF2-40B4-BE49-F238E27FC236}">
                <a16:creationId xmlns:a16="http://schemas.microsoft.com/office/drawing/2014/main" id="{03863864-12C7-E78C-5AC8-2F6B8135497F}"/>
              </a:ext>
            </a:extLst>
          </p:cNvPr>
          <p:cNvSpPr txBox="1"/>
          <p:nvPr/>
        </p:nvSpPr>
        <p:spPr>
          <a:xfrm>
            <a:off x="3571749" y="4445732"/>
            <a:ext cx="374242" cy="271142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GB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48</a:t>
            </a:r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91C0398C-161A-517F-0C53-BAB097539F27}"/>
              </a:ext>
            </a:extLst>
          </p:cNvPr>
          <p:cNvCxnSpPr>
            <a:cxnSpLocks/>
          </p:cNvCxnSpPr>
          <p:nvPr/>
        </p:nvCxnSpPr>
        <p:spPr>
          <a:xfrm>
            <a:off x="4052383" y="4412306"/>
            <a:ext cx="0" cy="73152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TextBox 66">
            <a:extLst>
              <a:ext uri="{FF2B5EF4-FFF2-40B4-BE49-F238E27FC236}">
                <a16:creationId xmlns:a16="http://schemas.microsoft.com/office/drawing/2014/main" id="{C51BAC39-39D4-0A5A-D5EE-7A793D6F73F3}"/>
              </a:ext>
            </a:extLst>
          </p:cNvPr>
          <p:cNvSpPr txBox="1"/>
          <p:nvPr/>
        </p:nvSpPr>
        <p:spPr>
          <a:xfrm>
            <a:off x="3865262" y="4445732"/>
            <a:ext cx="374242" cy="271142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GB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54</a:t>
            </a:r>
          </a:p>
        </p:txBody>
      </p: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9F8C268D-CF2B-BF86-061E-62844F884301}"/>
              </a:ext>
            </a:extLst>
          </p:cNvPr>
          <p:cNvCxnSpPr>
            <a:cxnSpLocks/>
          </p:cNvCxnSpPr>
          <p:nvPr/>
        </p:nvCxnSpPr>
        <p:spPr>
          <a:xfrm>
            <a:off x="4342773" y="4412306"/>
            <a:ext cx="0" cy="73152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TextBox 68">
            <a:extLst>
              <a:ext uri="{FF2B5EF4-FFF2-40B4-BE49-F238E27FC236}">
                <a16:creationId xmlns:a16="http://schemas.microsoft.com/office/drawing/2014/main" id="{AB1E3FC3-8303-9A52-40D7-3BC1D8D33F47}"/>
              </a:ext>
            </a:extLst>
          </p:cNvPr>
          <p:cNvSpPr txBox="1"/>
          <p:nvPr/>
        </p:nvSpPr>
        <p:spPr>
          <a:xfrm>
            <a:off x="4155652" y="4445732"/>
            <a:ext cx="374242" cy="271142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GB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60</a:t>
            </a:r>
          </a:p>
        </p:txBody>
      </p: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12E5648A-53A7-3464-2D96-6F8AB4373BAF}"/>
              </a:ext>
            </a:extLst>
          </p:cNvPr>
          <p:cNvCxnSpPr>
            <a:cxnSpLocks/>
          </p:cNvCxnSpPr>
          <p:nvPr/>
        </p:nvCxnSpPr>
        <p:spPr>
          <a:xfrm>
            <a:off x="4632343" y="4412306"/>
            <a:ext cx="0" cy="73152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TextBox 70">
            <a:extLst>
              <a:ext uri="{FF2B5EF4-FFF2-40B4-BE49-F238E27FC236}">
                <a16:creationId xmlns:a16="http://schemas.microsoft.com/office/drawing/2014/main" id="{D0286786-589D-59BD-3553-AB975A751872}"/>
              </a:ext>
            </a:extLst>
          </p:cNvPr>
          <p:cNvSpPr txBox="1"/>
          <p:nvPr/>
        </p:nvSpPr>
        <p:spPr>
          <a:xfrm>
            <a:off x="4445222" y="4445732"/>
            <a:ext cx="374242" cy="271142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GB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66</a:t>
            </a:r>
          </a:p>
        </p:txBody>
      </p: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6126237E-EF87-B2DC-25A9-5A3DCA21ABE0}"/>
              </a:ext>
            </a:extLst>
          </p:cNvPr>
          <p:cNvCxnSpPr>
            <a:cxnSpLocks/>
          </p:cNvCxnSpPr>
          <p:nvPr/>
        </p:nvCxnSpPr>
        <p:spPr>
          <a:xfrm>
            <a:off x="4921911" y="4412306"/>
            <a:ext cx="0" cy="73152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TextBox 72">
            <a:extLst>
              <a:ext uri="{FF2B5EF4-FFF2-40B4-BE49-F238E27FC236}">
                <a16:creationId xmlns:a16="http://schemas.microsoft.com/office/drawing/2014/main" id="{F5CA01ED-21DD-7C3B-F977-77A478232762}"/>
              </a:ext>
            </a:extLst>
          </p:cNvPr>
          <p:cNvSpPr txBox="1"/>
          <p:nvPr/>
        </p:nvSpPr>
        <p:spPr>
          <a:xfrm>
            <a:off x="4734790" y="4445732"/>
            <a:ext cx="374242" cy="271142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GB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72</a:t>
            </a:r>
          </a:p>
        </p:txBody>
      </p:sp>
      <p:sp>
        <p:nvSpPr>
          <p:cNvPr id="550" name="Free-form: Shape 611">
            <a:extLst>
              <a:ext uri="{FF2B5EF4-FFF2-40B4-BE49-F238E27FC236}">
                <a16:creationId xmlns:a16="http://schemas.microsoft.com/office/drawing/2014/main" id="{6A862ACF-D8A5-5864-5F26-21D137162902}"/>
              </a:ext>
            </a:extLst>
          </p:cNvPr>
          <p:cNvSpPr/>
          <p:nvPr/>
        </p:nvSpPr>
        <p:spPr>
          <a:xfrm>
            <a:off x="1446595" y="2356196"/>
            <a:ext cx="700625" cy="514603"/>
          </a:xfrm>
          <a:custGeom>
            <a:avLst/>
            <a:gdLst>
              <a:gd name="connsiteX0" fmla="*/ 0 w 1859756"/>
              <a:gd name="connsiteY0" fmla="*/ 0 h 892969"/>
              <a:gd name="connsiteX1" fmla="*/ 216693 w 1859756"/>
              <a:gd name="connsiteY1" fmla="*/ 0 h 892969"/>
              <a:gd name="connsiteX2" fmla="*/ 216693 w 1859756"/>
              <a:gd name="connsiteY2" fmla="*/ 61913 h 892969"/>
              <a:gd name="connsiteX3" fmla="*/ 266700 w 1859756"/>
              <a:gd name="connsiteY3" fmla="*/ 61913 h 892969"/>
              <a:gd name="connsiteX4" fmla="*/ 266700 w 1859756"/>
              <a:gd name="connsiteY4" fmla="*/ 97632 h 892969"/>
              <a:gd name="connsiteX5" fmla="*/ 314325 w 1859756"/>
              <a:gd name="connsiteY5" fmla="*/ 97632 h 892969"/>
              <a:gd name="connsiteX6" fmla="*/ 314325 w 1859756"/>
              <a:gd name="connsiteY6" fmla="*/ 121444 h 892969"/>
              <a:gd name="connsiteX7" fmla="*/ 445293 w 1859756"/>
              <a:gd name="connsiteY7" fmla="*/ 121444 h 892969"/>
              <a:gd name="connsiteX8" fmla="*/ 445293 w 1859756"/>
              <a:gd name="connsiteY8" fmla="*/ 159544 h 892969"/>
              <a:gd name="connsiteX9" fmla="*/ 557212 w 1859756"/>
              <a:gd name="connsiteY9" fmla="*/ 159544 h 892969"/>
              <a:gd name="connsiteX10" fmla="*/ 557212 w 1859756"/>
              <a:gd name="connsiteY10" fmla="*/ 183357 h 892969"/>
              <a:gd name="connsiteX11" fmla="*/ 638175 w 1859756"/>
              <a:gd name="connsiteY11" fmla="*/ 183357 h 892969"/>
              <a:gd name="connsiteX12" fmla="*/ 638175 w 1859756"/>
              <a:gd name="connsiteY12" fmla="*/ 226219 h 892969"/>
              <a:gd name="connsiteX13" fmla="*/ 695325 w 1859756"/>
              <a:gd name="connsiteY13" fmla="*/ 226219 h 892969"/>
              <a:gd name="connsiteX14" fmla="*/ 695325 w 1859756"/>
              <a:gd name="connsiteY14" fmla="*/ 254794 h 892969"/>
              <a:gd name="connsiteX15" fmla="*/ 747712 w 1859756"/>
              <a:gd name="connsiteY15" fmla="*/ 254794 h 892969"/>
              <a:gd name="connsiteX16" fmla="*/ 747712 w 1859756"/>
              <a:gd name="connsiteY16" fmla="*/ 316707 h 892969"/>
              <a:gd name="connsiteX17" fmla="*/ 788193 w 1859756"/>
              <a:gd name="connsiteY17" fmla="*/ 316707 h 892969"/>
              <a:gd name="connsiteX18" fmla="*/ 788193 w 1859756"/>
              <a:gd name="connsiteY18" fmla="*/ 435769 h 892969"/>
              <a:gd name="connsiteX19" fmla="*/ 845343 w 1859756"/>
              <a:gd name="connsiteY19" fmla="*/ 435769 h 892969"/>
              <a:gd name="connsiteX20" fmla="*/ 845343 w 1859756"/>
              <a:gd name="connsiteY20" fmla="*/ 533400 h 892969"/>
              <a:gd name="connsiteX21" fmla="*/ 931068 w 1859756"/>
              <a:gd name="connsiteY21" fmla="*/ 533400 h 892969"/>
              <a:gd name="connsiteX22" fmla="*/ 931068 w 1859756"/>
              <a:gd name="connsiteY22" fmla="*/ 554832 h 892969"/>
              <a:gd name="connsiteX23" fmla="*/ 1042987 w 1859756"/>
              <a:gd name="connsiteY23" fmla="*/ 554832 h 892969"/>
              <a:gd name="connsiteX24" fmla="*/ 1042987 w 1859756"/>
              <a:gd name="connsiteY24" fmla="*/ 566738 h 892969"/>
              <a:gd name="connsiteX25" fmla="*/ 1140618 w 1859756"/>
              <a:gd name="connsiteY25" fmla="*/ 566738 h 892969"/>
              <a:gd name="connsiteX26" fmla="*/ 1140618 w 1859756"/>
              <a:gd name="connsiteY26" fmla="*/ 604838 h 892969"/>
              <a:gd name="connsiteX27" fmla="*/ 1212056 w 1859756"/>
              <a:gd name="connsiteY27" fmla="*/ 604838 h 892969"/>
              <a:gd name="connsiteX28" fmla="*/ 1212056 w 1859756"/>
              <a:gd name="connsiteY28" fmla="*/ 654844 h 892969"/>
              <a:gd name="connsiteX29" fmla="*/ 1478756 w 1859756"/>
              <a:gd name="connsiteY29" fmla="*/ 654844 h 892969"/>
              <a:gd name="connsiteX30" fmla="*/ 1478756 w 1859756"/>
              <a:gd name="connsiteY30" fmla="*/ 704850 h 892969"/>
              <a:gd name="connsiteX31" fmla="*/ 1526381 w 1859756"/>
              <a:gd name="connsiteY31" fmla="*/ 704850 h 892969"/>
              <a:gd name="connsiteX32" fmla="*/ 1526381 w 1859756"/>
              <a:gd name="connsiteY32" fmla="*/ 778669 h 892969"/>
              <a:gd name="connsiteX33" fmla="*/ 1569243 w 1859756"/>
              <a:gd name="connsiteY33" fmla="*/ 778669 h 892969"/>
              <a:gd name="connsiteX34" fmla="*/ 1569243 w 1859756"/>
              <a:gd name="connsiteY34" fmla="*/ 814388 h 892969"/>
              <a:gd name="connsiteX35" fmla="*/ 1612106 w 1859756"/>
              <a:gd name="connsiteY35" fmla="*/ 814388 h 892969"/>
              <a:gd name="connsiteX36" fmla="*/ 1612106 w 1859756"/>
              <a:gd name="connsiteY36" fmla="*/ 847725 h 892969"/>
              <a:gd name="connsiteX37" fmla="*/ 1688306 w 1859756"/>
              <a:gd name="connsiteY37" fmla="*/ 847725 h 892969"/>
              <a:gd name="connsiteX38" fmla="*/ 1688306 w 1859756"/>
              <a:gd name="connsiteY38" fmla="*/ 892969 h 892969"/>
              <a:gd name="connsiteX39" fmla="*/ 1859756 w 1859756"/>
              <a:gd name="connsiteY39" fmla="*/ 892969 h 892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859756" h="892969">
                <a:moveTo>
                  <a:pt x="0" y="0"/>
                </a:moveTo>
                <a:lnTo>
                  <a:pt x="216693" y="0"/>
                </a:lnTo>
                <a:lnTo>
                  <a:pt x="216693" y="61913"/>
                </a:lnTo>
                <a:lnTo>
                  <a:pt x="266700" y="61913"/>
                </a:lnTo>
                <a:lnTo>
                  <a:pt x="266700" y="97632"/>
                </a:lnTo>
                <a:lnTo>
                  <a:pt x="314325" y="97632"/>
                </a:lnTo>
                <a:lnTo>
                  <a:pt x="314325" y="121444"/>
                </a:lnTo>
                <a:lnTo>
                  <a:pt x="445293" y="121444"/>
                </a:lnTo>
                <a:lnTo>
                  <a:pt x="445293" y="159544"/>
                </a:lnTo>
                <a:lnTo>
                  <a:pt x="557212" y="159544"/>
                </a:lnTo>
                <a:lnTo>
                  <a:pt x="557212" y="183357"/>
                </a:lnTo>
                <a:lnTo>
                  <a:pt x="638175" y="183357"/>
                </a:lnTo>
                <a:lnTo>
                  <a:pt x="638175" y="226219"/>
                </a:lnTo>
                <a:lnTo>
                  <a:pt x="695325" y="226219"/>
                </a:lnTo>
                <a:lnTo>
                  <a:pt x="695325" y="254794"/>
                </a:lnTo>
                <a:lnTo>
                  <a:pt x="747712" y="254794"/>
                </a:lnTo>
                <a:lnTo>
                  <a:pt x="747712" y="316707"/>
                </a:lnTo>
                <a:lnTo>
                  <a:pt x="788193" y="316707"/>
                </a:lnTo>
                <a:lnTo>
                  <a:pt x="788193" y="435769"/>
                </a:lnTo>
                <a:lnTo>
                  <a:pt x="845343" y="435769"/>
                </a:lnTo>
                <a:lnTo>
                  <a:pt x="845343" y="533400"/>
                </a:lnTo>
                <a:lnTo>
                  <a:pt x="931068" y="533400"/>
                </a:lnTo>
                <a:lnTo>
                  <a:pt x="931068" y="554832"/>
                </a:lnTo>
                <a:lnTo>
                  <a:pt x="1042987" y="554832"/>
                </a:lnTo>
                <a:lnTo>
                  <a:pt x="1042987" y="566738"/>
                </a:lnTo>
                <a:lnTo>
                  <a:pt x="1140618" y="566738"/>
                </a:lnTo>
                <a:lnTo>
                  <a:pt x="1140618" y="604838"/>
                </a:lnTo>
                <a:lnTo>
                  <a:pt x="1212056" y="604838"/>
                </a:lnTo>
                <a:lnTo>
                  <a:pt x="1212056" y="654844"/>
                </a:lnTo>
                <a:lnTo>
                  <a:pt x="1478756" y="654844"/>
                </a:lnTo>
                <a:lnTo>
                  <a:pt x="1478756" y="704850"/>
                </a:lnTo>
                <a:lnTo>
                  <a:pt x="1526381" y="704850"/>
                </a:lnTo>
                <a:lnTo>
                  <a:pt x="1526381" y="778669"/>
                </a:lnTo>
                <a:lnTo>
                  <a:pt x="1569243" y="778669"/>
                </a:lnTo>
                <a:lnTo>
                  <a:pt x="1569243" y="814388"/>
                </a:lnTo>
                <a:lnTo>
                  <a:pt x="1612106" y="814388"/>
                </a:lnTo>
                <a:lnTo>
                  <a:pt x="1612106" y="847725"/>
                </a:lnTo>
                <a:lnTo>
                  <a:pt x="1688306" y="847725"/>
                </a:lnTo>
                <a:lnTo>
                  <a:pt x="1688306" y="892969"/>
                </a:lnTo>
                <a:lnTo>
                  <a:pt x="1859756" y="892969"/>
                </a:lnTo>
              </a:path>
            </a:pathLst>
          </a:custGeom>
          <a:noFill/>
          <a:ln w="190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51" name="Free-form: Shape 612">
            <a:extLst>
              <a:ext uri="{FF2B5EF4-FFF2-40B4-BE49-F238E27FC236}">
                <a16:creationId xmlns:a16="http://schemas.microsoft.com/office/drawing/2014/main" id="{54734BBC-CF65-3173-73D4-9F258D2E8213}"/>
              </a:ext>
            </a:extLst>
          </p:cNvPr>
          <p:cNvSpPr/>
          <p:nvPr/>
        </p:nvSpPr>
        <p:spPr>
          <a:xfrm>
            <a:off x="2122101" y="2870799"/>
            <a:ext cx="1220936" cy="190746"/>
          </a:xfrm>
          <a:custGeom>
            <a:avLst/>
            <a:gdLst>
              <a:gd name="connsiteX0" fmla="*/ 0 w 3240882"/>
              <a:gd name="connsiteY0" fmla="*/ 0 h 330994"/>
              <a:gd name="connsiteX1" fmla="*/ 238125 w 3240882"/>
              <a:gd name="connsiteY1" fmla="*/ 0 h 330994"/>
              <a:gd name="connsiteX2" fmla="*/ 238125 w 3240882"/>
              <a:gd name="connsiteY2" fmla="*/ 23812 h 330994"/>
              <a:gd name="connsiteX3" fmla="*/ 361950 w 3240882"/>
              <a:gd name="connsiteY3" fmla="*/ 23812 h 330994"/>
              <a:gd name="connsiteX4" fmla="*/ 361950 w 3240882"/>
              <a:gd name="connsiteY4" fmla="*/ 42862 h 330994"/>
              <a:gd name="connsiteX5" fmla="*/ 516732 w 3240882"/>
              <a:gd name="connsiteY5" fmla="*/ 42862 h 330994"/>
              <a:gd name="connsiteX6" fmla="*/ 516732 w 3240882"/>
              <a:gd name="connsiteY6" fmla="*/ 114300 h 330994"/>
              <a:gd name="connsiteX7" fmla="*/ 600075 w 3240882"/>
              <a:gd name="connsiteY7" fmla="*/ 114300 h 330994"/>
              <a:gd name="connsiteX8" fmla="*/ 600075 w 3240882"/>
              <a:gd name="connsiteY8" fmla="*/ 150019 h 330994"/>
              <a:gd name="connsiteX9" fmla="*/ 821532 w 3240882"/>
              <a:gd name="connsiteY9" fmla="*/ 150019 h 330994"/>
              <a:gd name="connsiteX10" fmla="*/ 821532 w 3240882"/>
              <a:gd name="connsiteY10" fmla="*/ 166687 h 330994"/>
              <a:gd name="connsiteX11" fmla="*/ 1297782 w 3240882"/>
              <a:gd name="connsiteY11" fmla="*/ 166687 h 330994"/>
              <a:gd name="connsiteX12" fmla="*/ 1297782 w 3240882"/>
              <a:gd name="connsiteY12" fmla="*/ 195262 h 330994"/>
              <a:gd name="connsiteX13" fmla="*/ 1452563 w 3240882"/>
              <a:gd name="connsiteY13" fmla="*/ 195262 h 330994"/>
              <a:gd name="connsiteX14" fmla="*/ 1452563 w 3240882"/>
              <a:gd name="connsiteY14" fmla="*/ 207169 h 330994"/>
              <a:gd name="connsiteX15" fmla="*/ 1752600 w 3240882"/>
              <a:gd name="connsiteY15" fmla="*/ 207169 h 330994"/>
              <a:gd name="connsiteX16" fmla="*/ 1752600 w 3240882"/>
              <a:gd name="connsiteY16" fmla="*/ 223837 h 330994"/>
              <a:gd name="connsiteX17" fmla="*/ 1859757 w 3240882"/>
              <a:gd name="connsiteY17" fmla="*/ 223837 h 330994"/>
              <a:gd name="connsiteX18" fmla="*/ 1859757 w 3240882"/>
              <a:gd name="connsiteY18" fmla="*/ 245269 h 330994"/>
              <a:gd name="connsiteX19" fmla="*/ 2081213 w 3240882"/>
              <a:gd name="connsiteY19" fmla="*/ 245269 h 330994"/>
              <a:gd name="connsiteX20" fmla="*/ 2081213 w 3240882"/>
              <a:gd name="connsiteY20" fmla="*/ 292894 h 330994"/>
              <a:gd name="connsiteX21" fmla="*/ 2466975 w 3240882"/>
              <a:gd name="connsiteY21" fmla="*/ 292894 h 330994"/>
              <a:gd name="connsiteX22" fmla="*/ 2466975 w 3240882"/>
              <a:gd name="connsiteY22" fmla="*/ 314325 h 330994"/>
              <a:gd name="connsiteX23" fmla="*/ 3036094 w 3240882"/>
              <a:gd name="connsiteY23" fmla="*/ 314325 h 330994"/>
              <a:gd name="connsiteX24" fmla="*/ 3036094 w 3240882"/>
              <a:gd name="connsiteY24" fmla="*/ 330994 h 330994"/>
              <a:gd name="connsiteX25" fmla="*/ 3240882 w 3240882"/>
              <a:gd name="connsiteY25" fmla="*/ 330994 h 3309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3240882" h="330994">
                <a:moveTo>
                  <a:pt x="0" y="0"/>
                </a:moveTo>
                <a:lnTo>
                  <a:pt x="238125" y="0"/>
                </a:lnTo>
                <a:lnTo>
                  <a:pt x="238125" y="23812"/>
                </a:lnTo>
                <a:lnTo>
                  <a:pt x="361950" y="23812"/>
                </a:lnTo>
                <a:lnTo>
                  <a:pt x="361950" y="42862"/>
                </a:lnTo>
                <a:lnTo>
                  <a:pt x="516732" y="42862"/>
                </a:lnTo>
                <a:lnTo>
                  <a:pt x="516732" y="114300"/>
                </a:lnTo>
                <a:lnTo>
                  <a:pt x="600075" y="114300"/>
                </a:lnTo>
                <a:lnTo>
                  <a:pt x="600075" y="150019"/>
                </a:lnTo>
                <a:lnTo>
                  <a:pt x="821532" y="150019"/>
                </a:lnTo>
                <a:lnTo>
                  <a:pt x="821532" y="166687"/>
                </a:lnTo>
                <a:lnTo>
                  <a:pt x="1297782" y="166687"/>
                </a:lnTo>
                <a:lnTo>
                  <a:pt x="1297782" y="195262"/>
                </a:lnTo>
                <a:lnTo>
                  <a:pt x="1452563" y="195262"/>
                </a:lnTo>
                <a:lnTo>
                  <a:pt x="1452563" y="207169"/>
                </a:lnTo>
                <a:lnTo>
                  <a:pt x="1752600" y="207169"/>
                </a:lnTo>
                <a:lnTo>
                  <a:pt x="1752600" y="223837"/>
                </a:lnTo>
                <a:lnTo>
                  <a:pt x="1859757" y="223837"/>
                </a:lnTo>
                <a:lnTo>
                  <a:pt x="1859757" y="245269"/>
                </a:lnTo>
                <a:lnTo>
                  <a:pt x="2081213" y="245269"/>
                </a:lnTo>
                <a:lnTo>
                  <a:pt x="2081213" y="292894"/>
                </a:lnTo>
                <a:lnTo>
                  <a:pt x="2466975" y="292894"/>
                </a:lnTo>
                <a:lnTo>
                  <a:pt x="2466975" y="314325"/>
                </a:lnTo>
                <a:lnTo>
                  <a:pt x="3036094" y="314325"/>
                </a:lnTo>
                <a:lnTo>
                  <a:pt x="3036094" y="330994"/>
                </a:lnTo>
                <a:lnTo>
                  <a:pt x="3240882" y="330994"/>
                </a:lnTo>
              </a:path>
            </a:pathLst>
          </a:custGeom>
          <a:noFill/>
          <a:ln w="190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52" name="Free-form: Shape 613">
            <a:extLst>
              <a:ext uri="{FF2B5EF4-FFF2-40B4-BE49-F238E27FC236}">
                <a16:creationId xmlns:a16="http://schemas.microsoft.com/office/drawing/2014/main" id="{9B92B766-4043-A4C0-861F-18453FABEDCC}"/>
              </a:ext>
            </a:extLst>
          </p:cNvPr>
          <p:cNvSpPr/>
          <p:nvPr/>
        </p:nvSpPr>
        <p:spPr>
          <a:xfrm>
            <a:off x="3311639" y="3061545"/>
            <a:ext cx="1444310" cy="306017"/>
          </a:xfrm>
          <a:custGeom>
            <a:avLst/>
            <a:gdLst>
              <a:gd name="connsiteX0" fmla="*/ 0 w 3833812"/>
              <a:gd name="connsiteY0" fmla="*/ 0 h 531019"/>
              <a:gd name="connsiteX1" fmla="*/ 183356 w 3833812"/>
              <a:gd name="connsiteY1" fmla="*/ 0 h 531019"/>
              <a:gd name="connsiteX2" fmla="*/ 183356 w 3833812"/>
              <a:gd name="connsiteY2" fmla="*/ 23812 h 531019"/>
              <a:gd name="connsiteX3" fmla="*/ 323850 w 3833812"/>
              <a:gd name="connsiteY3" fmla="*/ 23812 h 531019"/>
              <a:gd name="connsiteX4" fmla="*/ 323850 w 3833812"/>
              <a:gd name="connsiteY4" fmla="*/ 42862 h 531019"/>
              <a:gd name="connsiteX5" fmla="*/ 909637 w 3833812"/>
              <a:gd name="connsiteY5" fmla="*/ 42862 h 531019"/>
              <a:gd name="connsiteX6" fmla="*/ 909637 w 3833812"/>
              <a:gd name="connsiteY6" fmla="*/ 57150 h 531019"/>
              <a:gd name="connsiteX7" fmla="*/ 1414462 w 3833812"/>
              <a:gd name="connsiteY7" fmla="*/ 57150 h 531019"/>
              <a:gd name="connsiteX8" fmla="*/ 1414462 w 3833812"/>
              <a:gd name="connsiteY8" fmla="*/ 76200 h 531019"/>
              <a:gd name="connsiteX9" fmla="*/ 2019300 w 3833812"/>
              <a:gd name="connsiteY9" fmla="*/ 76200 h 531019"/>
              <a:gd name="connsiteX10" fmla="*/ 2019300 w 3833812"/>
              <a:gd name="connsiteY10" fmla="*/ 114300 h 531019"/>
              <a:gd name="connsiteX11" fmla="*/ 2081212 w 3833812"/>
              <a:gd name="connsiteY11" fmla="*/ 114300 h 531019"/>
              <a:gd name="connsiteX12" fmla="*/ 2081212 w 3833812"/>
              <a:gd name="connsiteY12" fmla="*/ 150019 h 531019"/>
              <a:gd name="connsiteX13" fmla="*/ 2247900 w 3833812"/>
              <a:gd name="connsiteY13" fmla="*/ 150019 h 531019"/>
              <a:gd name="connsiteX14" fmla="*/ 2247900 w 3833812"/>
              <a:gd name="connsiteY14" fmla="*/ 183356 h 531019"/>
              <a:gd name="connsiteX15" fmla="*/ 2505075 w 3833812"/>
              <a:gd name="connsiteY15" fmla="*/ 183356 h 531019"/>
              <a:gd name="connsiteX16" fmla="*/ 2505075 w 3833812"/>
              <a:gd name="connsiteY16" fmla="*/ 216694 h 531019"/>
              <a:gd name="connsiteX17" fmla="*/ 2714625 w 3833812"/>
              <a:gd name="connsiteY17" fmla="*/ 216694 h 531019"/>
              <a:gd name="connsiteX18" fmla="*/ 2714625 w 3833812"/>
              <a:gd name="connsiteY18" fmla="*/ 235744 h 531019"/>
              <a:gd name="connsiteX19" fmla="*/ 2807494 w 3833812"/>
              <a:gd name="connsiteY19" fmla="*/ 235744 h 531019"/>
              <a:gd name="connsiteX20" fmla="*/ 2807494 w 3833812"/>
              <a:gd name="connsiteY20" fmla="*/ 261937 h 531019"/>
              <a:gd name="connsiteX21" fmla="*/ 3255169 w 3833812"/>
              <a:gd name="connsiteY21" fmla="*/ 261937 h 531019"/>
              <a:gd name="connsiteX22" fmla="*/ 3255169 w 3833812"/>
              <a:gd name="connsiteY22" fmla="*/ 285750 h 531019"/>
              <a:gd name="connsiteX23" fmla="*/ 3328987 w 3833812"/>
              <a:gd name="connsiteY23" fmla="*/ 285750 h 531019"/>
              <a:gd name="connsiteX24" fmla="*/ 3328987 w 3833812"/>
              <a:gd name="connsiteY24" fmla="*/ 321469 h 531019"/>
              <a:gd name="connsiteX25" fmla="*/ 3376612 w 3833812"/>
              <a:gd name="connsiteY25" fmla="*/ 321469 h 531019"/>
              <a:gd name="connsiteX26" fmla="*/ 3376612 w 3833812"/>
              <a:gd name="connsiteY26" fmla="*/ 340519 h 531019"/>
              <a:gd name="connsiteX27" fmla="*/ 3598069 w 3833812"/>
              <a:gd name="connsiteY27" fmla="*/ 340519 h 531019"/>
              <a:gd name="connsiteX28" fmla="*/ 3598069 w 3833812"/>
              <a:gd name="connsiteY28" fmla="*/ 426244 h 531019"/>
              <a:gd name="connsiteX29" fmla="*/ 3633787 w 3833812"/>
              <a:gd name="connsiteY29" fmla="*/ 426244 h 531019"/>
              <a:gd name="connsiteX30" fmla="*/ 3633787 w 3833812"/>
              <a:gd name="connsiteY30" fmla="*/ 531019 h 531019"/>
              <a:gd name="connsiteX31" fmla="*/ 3833812 w 3833812"/>
              <a:gd name="connsiteY31" fmla="*/ 531019 h 531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3833812" h="531019">
                <a:moveTo>
                  <a:pt x="0" y="0"/>
                </a:moveTo>
                <a:lnTo>
                  <a:pt x="183356" y="0"/>
                </a:lnTo>
                <a:lnTo>
                  <a:pt x="183356" y="23812"/>
                </a:lnTo>
                <a:lnTo>
                  <a:pt x="323850" y="23812"/>
                </a:lnTo>
                <a:lnTo>
                  <a:pt x="323850" y="42862"/>
                </a:lnTo>
                <a:lnTo>
                  <a:pt x="909637" y="42862"/>
                </a:lnTo>
                <a:lnTo>
                  <a:pt x="909637" y="57150"/>
                </a:lnTo>
                <a:lnTo>
                  <a:pt x="1414462" y="57150"/>
                </a:lnTo>
                <a:lnTo>
                  <a:pt x="1414462" y="76200"/>
                </a:lnTo>
                <a:lnTo>
                  <a:pt x="2019300" y="76200"/>
                </a:lnTo>
                <a:lnTo>
                  <a:pt x="2019300" y="114300"/>
                </a:lnTo>
                <a:lnTo>
                  <a:pt x="2081212" y="114300"/>
                </a:lnTo>
                <a:lnTo>
                  <a:pt x="2081212" y="150019"/>
                </a:lnTo>
                <a:lnTo>
                  <a:pt x="2247900" y="150019"/>
                </a:lnTo>
                <a:lnTo>
                  <a:pt x="2247900" y="183356"/>
                </a:lnTo>
                <a:lnTo>
                  <a:pt x="2505075" y="183356"/>
                </a:lnTo>
                <a:lnTo>
                  <a:pt x="2505075" y="216694"/>
                </a:lnTo>
                <a:lnTo>
                  <a:pt x="2714625" y="216694"/>
                </a:lnTo>
                <a:lnTo>
                  <a:pt x="2714625" y="235744"/>
                </a:lnTo>
                <a:lnTo>
                  <a:pt x="2807494" y="235744"/>
                </a:lnTo>
                <a:lnTo>
                  <a:pt x="2807494" y="261937"/>
                </a:lnTo>
                <a:lnTo>
                  <a:pt x="3255169" y="261937"/>
                </a:lnTo>
                <a:lnTo>
                  <a:pt x="3255169" y="285750"/>
                </a:lnTo>
                <a:lnTo>
                  <a:pt x="3328987" y="285750"/>
                </a:lnTo>
                <a:lnTo>
                  <a:pt x="3328987" y="321469"/>
                </a:lnTo>
                <a:lnTo>
                  <a:pt x="3376612" y="321469"/>
                </a:lnTo>
                <a:lnTo>
                  <a:pt x="3376612" y="340519"/>
                </a:lnTo>
                <a:lnTo>
                  <a:pt x="3598069" y="340519"/>
                </a:lnTo>
                <a:lnTo>
                  <a:pt x="3598069" y="426244"/>
                </a:lnTo>
                <a:lnTo>
                  <a:pt x="3633787" y="426244"/>
                </a:lnTo>
                <a:lnTo>
                  <a:pt x="3633787" y="531019"/>
                </a:lnTo>
                <a:lnTo>
                  <a:pt x="3833812" y="531019"/>
                </a:lnTo>
              </a:path>
            </a:pathLst>
          </a:custGeom>
          <a:noFill/>
          <a:ln w="190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53" name="Free-form: Shape 614">
            <a:extLst>
              <a:ext uri="{FF2B5EF4-FFF2-40B4-BE49-F238E27FC236}">
                <a16:creationId xmlns:a16="http://schemas.microsoft.com/office/drawing/2014/main" id="{7A0F1097-2BD1-6EEB-8DF0-B2D43A48FD53}"/>
              </a:ext>
            </a:extLst>
          </p:cNvPr>
          <p:cNvSpPr/>
          <p:nvPr/>
        </p:nvSpPr>
        <p:spPr>
          <a:xfrm>
            <a:off x="4711992" y="3367562"/>
            <a:ext cx="117518" cy="1026461"/>
          </a:xfrm>
          <a:custGeom>
            <a:avLst/>
            <a:gdLst>
              <a:gd name="connsiteX0" fmla="*/ 0 w 311944"/>
              <a:gd name="connsiteY0" fmla="*/ 0 h 1781175"/>
              <a:gd name="connsiteX1" fmla="*/ 311944 w 311944"/>
              <a:gd name="connsiteY1" fmla="*/ 0 h 1781175"/>
              <a:gd name="connsiteX2" fmla="*/ 311944 w 311944"/>
              <a:gd name="connsiteY2" fmla="*/ 1781175 h 1781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11944" h="1781175">
                <a:moveTo>
                  <a:pt x="0" y="0"/>
                </a:moveTo>
                <a:lnTo>
                  <a:pt x="311944" y="0"/>
                </a:lnTo>
                <a:lnTo>
                  <a:pt x="311944" y="1781175"/>
                </a:lnTo>
              </a:path>
            </a:pathLst>
          </a:custGeom>
          <a:noFill/>
          <a:ln w="190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grpSp>
        <p:nvGrpSpPr>
          <p:cNvPr id="544" name="Group 543">
            <a:extLst>
              <a:ext uri="{FF2B5EF4-FFF2-40B4-BE49-F238E27FC236}">
                <a16:creationId xmlns:a16="http://schemas.microsoft.com/office/drawing/2014/main" id="{3E4761A3-F37E-F06C-EF4D-FA2ECE2A80D4}"/>
              </a:ext>
            </a:extLst>
          </p:cNvPr>
          <p:cNvGrpSpPr/>
          <p:nvPr/>
        </p:nvGrpSpPr>
        <p:grpSpPr>
          <a:xfrm>
            <a:off x="1446595" y="2357569"/>
            <a:ext cx="3405344" cy="2040572"/>
            <a:chOff x="200025" y="481013"/>
            <a:chExt cx="9039226" cy="3540918"/>
          </a:xfrm>
        </p:grpSpPr>
        <p:sp>
          <p:nvSpPr>
            <p:cNvPr id="546" name="Free-form: Shape 607">
              <a:extLst>
                <a:ext uri="{FF2B5EF4-FFF2-40B4-BE49-F238E27FC236}">
                  <a16:creationId xmlns:a16="http://schemas.microsoft.com/office/drawing/2014/main" id="{40696D6F-0D85-9A05-B7E4-F9CB222FF3CC}"/>
                </a:ext>
              </a:extLst>
            </p:cNvPr>
            <p:cNvSpPr/>
            <p:nvPr/>
          </p:nvSpPr>
          <p:spPr>
            <a:xfrm>
              <a:off x="200025" y="481013"/>
              <a:ext cx="2074069" cy="666750"/>
            </a:xfrm>
            <a:custGeom>
              <a:avLst/>
              <a:gdLst>
                <a:gd name="connsiteX0" fmla="*/ 0 w 2074069"/>
                <a:gd name="connsiteY0" fmla="*/ 0 h 666750"/>
                <a:gd name="connsiteX1" fmla="*/ 102394 w 2074069"/>
                <a:gd name="connsiteY1" fmla="*/ 0 h 666750"/>
                <a:gd name="connsiteX2" fmla="*/ 102394 w 2074069"/>
                <a:gd name="connsiteY2" fmla="*/ 42862 h 666750"/>
                <a:gd name="connsiteX3" fmla="*/ 342900 w 2074069"/>
                <a:gd name="connsiteY3" fmla="*/ 42862 h 666750"/>
                <a:gd name="connsiteX4" fmla="*/ 342900 w 2074069"/>
                <a:gd name="connsiteY4" fmla="*/ 90487 h 666750"/>
                <a:gd name="connsiteX5" fmla="*/ 414338 w 2074069"/>
                <a:gd name="connsiteY5" fmla="*/ 90487 h 666750"/>
                <a:gd name="connsiteX6" fmla="*/ 414338 w 2074069"/>
                <a:gd name="connsiteY6" fmla="*/ 109537 h 666750"/>
                <a:gd name="connsiteX7" fmla="*/ 526256 w 2074069"/>
                <a:gd name="connsiteY7" fmla="*/ 109537 h 666750"/>
                <a:gd name="connsiteX8" fmla="*/ 526256 w 2074069"/>
                <a:gd name="connsiteY8" fmla="*/ 150018 h 666750"/>
                <a:gd name="connsiteX9" fmla="*/ 566738 w 2074069"/>
                <a:gd name="connsiteY9" fmla="*/ 150018 h 666750"/>
                <a:gd name="connsiteX10" fmla="*/ 566738 w 2074069"/>
                <a:gd name="connsiteY10" fmla="*/ 188118 h 666750"/>
                <a:gd name="connsiteX11" fmla="*/ 633413 w 2074069"/>
                <a:gd name="connsiteY11" fmla="*/ 188118 h 666750"/>
                <a:gd name="connsiteX12" fmla="*/ 633413 w 2074069"/>
                <a:gd name="connsiteY12" fmla="*/ 219075 h 666750"/>
                <a:gd name="connsiteX13" fmla="*/ 745331 w 2074069"/>
                <a:gd name="connsiteY13" fmla="*/ 219075 h 666750"/>
                <a:gd name="connsiteX14" fmla="*/ 745331 w 2074069"/>
                <a:gd name="connsiteY14" fmla="*/ 269081 h 666750"/>
                <a:gd name="connsiteX15" fmla="*/ 785813 w 2074069"/>
                <a:gd name="connsiteY15" fmla="*/ 269081 h 666750"/>
                <a:gd name="connsiteX16" fmla="*/ 785813 w 2074069"/>
                <a:gd name="connsiteY16" fmla="*/ 326231 h 666750"/>
                <a:gd name="connsiteX17" fmla="*/ 816769 w 2074069"/>
                <a:gd name="connsiteY17" fmla="*/ 326231 h 666750"/>
                <a:gd name="connsiteX18" fmla="*/ 816769 w 2074069"/>
                <a:gd name="connsiteY18" fmla="*/ 404812 h 666750"/>
                <a:gd name="connsiteX19" fmla="*/ 902494 w 2074069"/>
                <a:gd name="connsiteY19" fmla="*/ 404812 h 666750"/>
                <a:gd name="connsiteX20" fmla="*/ 902494 w 2074069"/>
                <a:gd name="connsiteY20" fmla="*/ 447675 h 666750"/>
                <a:gd name="connsiteX21" fmla="*/ 1207294 w 2074069"/>
                <a:gd name="connsiteY21" fmla="*/ 447675 h 666750"/>
                <a:gd name="connsiteX22" fmla="*/ 1207294 w 2074069"/>
                <a:gd name="connsiteY22" fmla="*/ 492918 h 666750"/>
                <a:gd name="connsiteX23" fmla="*/ 1364456 w 2074069"/>
                <a:gd name="connsiteY23" fmla="*/ 492918 h 666750"/>
                <a:gd name="connsiteX24" fmla="*/ 1364456 w 2074069"/>
                <a:gd name="connsiteY24" fmla="*/ 516731 h 666750"/>
                <a:gd name="connsiteX25" fmla="*/ 1421606 w 2074069"/>
                <a:gd name="connsiteY25" fmla="*/ 516731 h 666750"/>
                <a:gd name="connsiteX26" fmla="*/ 1421606 w 2074069"/>
                <a:gd name="connsiteY26" fmla="*/ 535781 h 666750"/>
                <a:gd name="connsiteX27" fmla="*/ 1519238 w 2074069"/>
                <a:gd name="connsiteY27" fmla="*/ 535781 h 666750"/>
                <a:gd name="connsiteX28" fmla="*/ 1519238 w 2074069"/>
                <a:gd name="connsiteY28" fmla="*/ 583406 h 666750"/>
                <a:gd name="connsiteX29" fmla="*/ 1552575 w 2074069"/>
                <a:gd name="connsiteY29" fmla="*/ 583406 h 666750"/>
                <a:gd name="connsiteX30" fmla="*/ 1552575 w 2074069"/>
                <a:gd name="connsiteY30" fmla="*/ 623887 h 666750"/>
                <a:gd name="connsiteX31" fmla="*/ 1671638 w 2074069"/>
                <a:gd name="connsiteY31" fmla="*/ 623887 h 666750"/>
                <a:gd name="connsiteX32" fmla="*/ 1671638 w 2074069"/>
                <a:gd name="connsiteY32" fmla="*/ 650081 h 666750"/>
                <a:gd name="connsiteX33" fmla="*/ 1914525 w 2074069"/>
                <a:gd name="connsiteY33" fmla="*/ 650081 h 666750"/>
                <a:gd name="connsiteX34" fmla="*/ 1914525 w 2074069"/>
                <a:gd name="connsiteY34" fmla="*/ 666750 h 666750"/>
                <a:gd name="connsiteX35" fmla="*/ 2074069 w 2074069"/>
                <a:gd name="connsiteY35" fmla="*/ 666750 h 666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2074069" h="666750">
                  <a:moveTo>
                    <a:pt x="0" y="0"/>
                  </a:moveTo>
                  <a:lnTo>
                    <a:pt x="102394" y="0"/>
                  </a:lnTo>
                  <a:lnTo>
                    <a:pt x="102394" y="42862"/>
                  </a:lnTo>
                  <a:lnTo>
                    <a:pt x="342900" y="42862"/>
                  </a:lnTo>
                  <a:lnTo>
                    <a:pt x="342900" y="90487"/>
                  </a:lnTo>
                  <a:lnTo>
                    <a:pt x="414338" y="90487"/>
                  </a:lnTo>
                  <a:lnTo>
                    <a:pt x="414338" y="109537"/>
                  </a:lnTo>
                  <a:lnTo>
                    <a:pt x="526256" y="109537"/>
                  </a:lnTo>
                  <a:lnTo>
                    <a:pt x="526256" y="150018"/>
                  </a:lnTo>
                  <a:lnTo>
                    <a:pt x="566738" y="150018"/>
                  </a:lnTo>
                  <a:lnTo>
                    <a:pt x="566738" y="188118"/>
                  </a:lnTo>
                  <a:lnTo>
                    <a:pt x="633413" y="188118"/>
                  </a:lnTo>
                  <a:lnTo>
                    <a:pt x="633413" y="219075"/>
                  </a:lnTo>
                  <a:lnTo>
                    <a:pt x="745331" y="219075"/>
                  </a:lnTo>
                  <a:lnTo>
                    <a:pt x="745331" y="269081"/>
                  </a:lnTo>
                  <a:lnTo>
                    <a:pt x="785813" y="269081"/>
                  </a:lnTo>
                  <a:lnTo>
                    <a:pt x="785813" y="326231"/>
                  </a:lnTo>
                  <a:lnTo>
                    <a:pt x="816769" y="326231"/>
                  </a:lnTo>
                  <a:lnTo>
                    <a:pt x="816769" y="404812"/>
                  </a:lnTo>
                  <a:lnTo>
                    <a:pt x="902494" y="404812"/>
                  </a:lnTo>
                  <a:lnTo>
                    <a:pt x="902494" y="447675"/>
                  </a:lnTo>
                  <a:lnTo>
                    <a:pt x="1207294" y="447675"/>
                  </a:lnTo>
                  <a:lnTo>
                    <a:pt x="1207294" y="492918"/>
                  </a:lnTo>
                  <a:lnTo>
                    <a:pt x="1364456" y="492918"/>
                  </a:lnTo>
                  <a:lnTo>
                    <a:pt x="1364456" y="516731"/>
                  </a:lnTo>
                  <a:lnTo>
                    <a:pt x="1421606" y="516731"/>
                  </a:lnTo>
                  <a:lnTo>
                    <a:pt x="1421606" y="535781"/>
                  </a:lnTo>
                  <a:lnTo>
                    <a:pt x="1519238" y="535781"/>
                  </a:lnTo>
                  <a:lnTo>
                    <a:pt x="1519238" y="583406"/>
                  </a:lnTo>
                  <a:lnTo>
                    <a:pt x="1552575" y="583406"/>
                  </a:lnTo>
                  <a:lnTo>
                    <a:pt x="1552575" y="623887"/>
                  </a:lnTo>
                  <a:lnTo>
                    <a:pt x="1671638" y="623887"/>
                  </a:lnTo>
                  <a:lnTo>
                    <a:pt x="1671638" y="650081"/>
                  </a:lnTo>
                  <a:lnTo>
                    <a:pt x="1914525" y="650081"/>
                  </a:lnTo>
                  <a:lnTo>
                    <a:pt x="1914525" y="666750"/>
                  </a:lnTo>
                  <a:lnTo>
                    <a:pt x="2074069" y="666750"/>
                  </a:lnTo>
                </a:path>
              </a:pathLst>
            </a:custGeom>
            <a:noFill/>
            <a:ln w="1905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highlight>
                  <a:srgbClr val="00FFFF"/>
                </a:highlight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547" name="Free-form: Shape 608">
              <a:extLst>
                <a:ext uri="{FF2B5EF4-FFF2-40B4-BE49-F238E27FC236}">
                  <a16:creationId xmlns:a16="http://schemas.microsoft.com/office/drawing/2014/main" id="{1C28475E-4705-AEC7-E1E8-1446E7A8E4C8}"/>
                </a:ext>
              </a:extLst>
            </p:cNvPr>
            <p:cNvSpPr/>
            <p:nvPr/>
          </p:nvSpPr>
          <p:spPr>
            <a:xfrm>
              <a:off x="2216944" y="1147763"/>
              <a:ext cx="2700337" cy="278606"/>
            </a:xfrm>
            <a:custGeom>
              <a:avLst/>
              <a:gdLst>
                <a:gd name="connsiteX0" fmla="*/ 0 w 2700337"/>
                <a:gd name="connsiteY0" fmla="*/ 0 h 278606"/>
                <a:gd name="connsiteX1" fmla="*/ 150019 w 2700337"/>
                <a:gd name="connsiteY1" fmla="*/ 0 h 278606"/>
                <a:gd name="connsiteX2" fmla="*/ 150019 w 2700337"/>
                <a:gd name="connsiteY2" fmla="*/ 28575 h 278606"/>
                <a:gd name="connsiteX3" fmla="*/ 273844 w 2700337"/>
                <a:gd name="connsiteY3" fmla="*/ 28575 h 278606"/>
                <a:gd name="connsiteX4" fmla="*/ 273844 w 2700337"/>
                <a:gd name="connsiteY4" fmla="*/ 57150 h 278606"/>
                <a:gd name="connsiteX5" fmla="*/ 366712 w 2700337"/>
                <a:gd name="connsiteY5" fmla="*/ 57150 h 278606"/>
                <a:gd name="connsiteX6" fmla="*/ 366712 w 2700337"/>
                <a:gd name="connsiteY6" fmla="*/ 85725 h 278606"/>
                <a:gd name="connsiteX7" fmla="*/ 550069 w 2700337"/>
                <a:gd name="connsiteY7" fmla="*/ 85725 h 278606"/>
                <a:gd name="connsiteX8" fmla="*/ 550069 w 2700337"/>
                <a:gd name="connsiteY8" fmla="*/ 109537 h 278606"/>
                <a:gd name="connsiteX9" fmla="*/ 607219 w 2700337"/>
                <a:gd name="connsiteY9" fmla="*/ 109537 h 278606"/>
                <a:gd name="connsiteX10" fmla="*/ 607219 w 2700337"/>
                <a:gd name="connsiteY10" fmla="*/ 126206 h 278606"/>
                <a:gd name="connsiteX11" fmla="*/ 907256 w 2700337"/>
                <a:gd name="connsiteY11" fmla="*/ 126206 h 278606"/>
                <a:gd name="connsiteX12" fmla="*/ 907256 w 2700337"/>
                <a:gd name="connsiteY12" fmla="*/ 154781 h 278606"/>
                <a:gd name="connsiteX13" fmla="*/ 1164431 w 2700337"/>
                <a:gd name="connsiteY13" fmla="*/ 154781 h 278606"/>
                <a:gd name="connsiteX14" fmla="*/ 1164431 w 2700337"/>
                <a:gd name="connsiteY14" fmla="*/ 180975 h 278606"/>
                <a:gd name="connsiteX15" fmla="*/ 1252537 w 2700337"/>
                <a:gd name="connsiteY15" fmla="*/ 180975 h 278606"/>
                <a:gd name="connsiteX16" fmla="*/ 1252537 w 2700337"/>
                <a:gd name="connsiteY16" fmla="*/ 211931 h 278606"/>
                <a:gd name="connsiteX17" fmla="*/ 1438275 w 2700337"/>
                <a:gd name="connsiteY17" fmla="*/ 211931 h 278606"/>
                <a:gd name="connsiteX18" fmla="*/ 1438275 w 2700337"/>
                <a:gd name="connsiteY18" fmla="*/ 226218 h 278606"/>
                <a:gd name="connsiteX19" fmla="*/ 1621631 w 2700337"/>
                <a:gd name="connsiteY19" fmla="*/ 226218 h 278606"/>
                <a:gd name="connsiteX20" fmla="*/ 1621631 w 2700337"/>
                <a:gd name="connsiteY20" fmla="*/ 245268 h 278606"/>
                <a:gd name="connsiteX21" fmla="*/ 2045494 w 2700337"/>
                <a:gd name="connsiteY21" fmla="*/ 245268 h 278606"/>
                <a:gd name="connsiteX22" fmla="*/ 2045494 w 2700337"/>
                <a:gd name="connsiteY22" fmla="*/ 259556 h 278606"/>
                <a:gd name="connsiteX23" fmla="*/ 2226469 w 2700337"/>
                <a:gd name="connsiteY23" fmla="*/ 259556 h 278606"/>
                <a:gd name="connsiteX24" fmla="*/ 2226469 w 2700337"/>
                <a:gd name="connsiteY24" fmla="*/ 264318 h 278606"/>
                <a:gd name="connsiteX25" fmla="*/ 2462212 w 2700337"/>
                <a:gd name="connsiteY25" fmla="*/ 264318 h 278606"/>
                <a:gd name="connsiteX26" fmla="*/ 2462212 w 2700337"/>
                <a:gd name="connsiteY26" fmla="*/ 278606 h 278606"/>
                <a:gd name="connsiteX27" fmla="*/ 2700337 w 2700337"/>
                <a:gd name="connsiteY27" fmla="*/ 278606 h 278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2700337" h="278606">
                  <a:moveTo>
                    <a:pt x="0" y="0"/>
                  </a:moveTo>
                  <a:lnTo>
                    <a:pt x="150019" y="0"/>
                  </a:lnTo>
                  <a:lnTo>
                    <a:pt x="150019" y="28575"/>
                  </a:lnTo>
                  <a:lnTo>
                    <a:pt x="273844" y="28575"/>
                  </a:lnTo>
                  <a:lnTo>
                    <a:pt x="273844" y="57150"/>
                  </a:lnTo>
                  <a:lnTo>
                    <a:pt x="366712" y="57150"/>
                  </a:lnTo>
                  <a:lnTo>
                    <a:pt x="366712" y="85725"/>
                  </a:lnTo>
                  <a:lnTo>
                    <a:pt x="550069" y="85725"/>
                  </a:lnTo>
                  <a:lnTo>
                    <a:pt x="550069" y="109537"/>
                  </a:lnTo>
                  <a:lnTo>
                    <a:pt x="607219" y="109537"/>
                  </a:lnTo>
                  <a:lnTo>
                    <a:pt x="607219" y="126206"/>
                  </a:lnTo>
                  <a:lnTo>
                    <a:pt x="907256" y="126206"/>
                  </a:lnTo>
                  <a:lnTo>
                    <a:pt x="907256" y="154781"/>
                  </a:lnTo>
                  <a:lnTo>
                    <a:pt x="1164431" y="154781"/>
                  </a:lnTo>
                  <a:lnTo>
                    <a:pt x="1164431" y="180975"/>
                  </a:lnTo>
                  <a:lnTo>
                    <a:pt x="1252537" y="180975"/>
                  </a:lnTo>
                  <a:lnTo>
                    <a:pt x="1252537" y="211931"/>
                  </a:lnTo>
                  <a:lnTo>
                    <a:pt x="1438275" y="211931"/>
                  </a:lnTo>
                  <a:lnTo>
                    <a:pt x="1438275" y="226218"/>
                  </a:lnTo>
                  <a:lnTo>
                    <a:pt x="1621631" y="226218"/>
                  </a:lnTo>
                  <a:lnTo>
                    <a:pt x="1621631" y="245268"/>
                  </a:lnTo>
                  <a:lnTo>
                    <a:pt x="2045494" y="245268"/>
                  </a:lnTo>
                  <a:lnTo>
                    <a:pt x="2045494" y="259556"/>
                  </a:lnTo>
                  <a:lnTo>
                    <a:pt x="2226469" y="259556"/>
                  </a:lnTo>
                  <a:lnTo>
                    <a:pt x="2226469" y="264318"/>
                  </a:lnTo>
                  <a:lnTo>
                    <a:pt x="2462212" y="264318"/>
                  </a:lnTo>
                  <a:lnTo>
                    <a:pt x="2462212" y="278606"/>
                  </a:lnTo>
                  <a:lnTo>
                    <a:pt x="2700337" y="278606"/>
                  </a:lnTo>
                </a:path>
              </a:pathLst>
            </a:custGeom>
            <a:noFill/>
            <a:ln w="1905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highlight>
                  <a:srgbClr val="00FFFF"/>
                </a:highlight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548" name="Free-form: Shape 609">
              <a:extLst>
                <a:ext uri="{FF2B5EF4-FFF2-40B4-BE49-F238E27FC236}">
                  <a16:creationId xmlns:a16="http://schemas.microsoft.com/office/drawing/2014/main" id="{4DB2E368-2CB0-99AA-CAB4-CFE63B164611}"/>
                </a:ext>
              </a:extLst>
            </p:cNvPr>
            <p:cNvSpPr/>
            <p:nvPr/>
          </p:nvSpPr>
          <p:spPr>
            <a:xfrm>
              <a:off x="4843463" y="1426369"/>
              <a:ext cx="3131343" cy="304800"/>
            </a:xfrm>
            <a:custGeom>
              <a:avLst/>
              <a:gdLst>
                <a:gd name="connsiteX0" fmla="*/ 0 w 3131343"/>
                <a:gd name="connsiteY0" fmla="*/ 0 h 304800"/>
                <a:gd name="connsiteX1" fmla="*/ 211931 w 3131343"/>
                <a:gd name="connsiteY1" fmla="*/ 0 h 304800"/>
                <a:gd name="connsiteX2" fmla="*/ 211931 w 3131343"/>
                <a:gd name="connsiteY2" fmla="*/ 21431 h 304800"/>
                <a:gd name="connsiteX3" fmla="*/ 354806 w 3131343"/>
                <a:gd name="connsiteY3" fmla="*/ 21431 h 304800"/>
                <a:gd name="connsiteX4" fmla="*/ 354806 w 3131343"/>
                <a:gd name="connsiteY4" fmla="*/ 42862 h 304800"/>
                <a:gd name="connsiteX5" fmla="*/ 550068 w 3131343"/>
                <a:gd name="connsiteY5" fmla="*/ 42862 h 304800"/>
                <a:gd name="connsiteX6" fmla="*/ 550068 w 3131343"/>
                <a:gd name="connsiteY6" fmla="*/ 71437 h 304800"/>
                <a:gd name="connsiteX7" fmla="*/ 640556 w 3131343"/>
                <a:gd name="connsiteY7" fmla="*/ 71437 h 304800"/>
                <a:gd name="connsiteX8" fmla="*/ 640556 w 3131343"/>
                <a:gd name="connsiteY8" fmla="*/ 88106 h 304800"/>
                <a:gd name="connsiteX9" fmla="*/ 1154906 w 3131343"/>
                <a:gd name="connsiteY9" fmla="*/ 88106 h 304800"/>
                <a:gd name="connsiteX10" fmla="*/ 1154906 w 3131343"/>
                <a:gd name="connsiteY10" fmla="*/ 111919 h 304800"/>
                <a:gd name="connsiteX11" fmla="*/ 1490662 w 3131343"/>
                <a:gd name="connsiteY11" fmla="*/ 111919 h 304800"/>
                <a:gd name="connsiteX12" fmla="*/ 1490662 w 3131343"/>
                <a:gd name="connsiteY12" fmla="*/ 123825 h 304800"/>
                <a:gd name="connsiteX13" fmla="*/ 2316956 w 3131343"/>
                <a:gd name="connsiteY13" fmla="*/ 123825 h 304800"/>
                <a:gd name="connsiteX14" fmla="*/ 2316956 w 3131343"/>
                <a:gd name="connsiteY14" fmla="*/ 166687 h 304800"/>
                <a:gd name="connsiteX15" fmla="*/ 2366962 w 3131343"/>
                <a:gd name="connsiteY15" fmla="*/ 166687 h 304800"/>
                <a:gd name="connsiteX16" fmla="*/ 2366962 w 3131343"/>
                <a:gd name="connsiteY16" fmla="*/ 197644 h 304800"/>
                <a:gd name="connsiteX17" fmla="*/ 2469356 w 3131343"/>
                <a:gd name="connsiteY17" fmla="*/ 197644 h 304800"/>
                <a:gd name="connsiteX18" fmla="*/ 2469356 w 3131343"/>
                <a:gd name="connsiteY18" fmla="*/ 221456 h 304800"/>
                <a:gd name="connsiteX19" fmla="*/ 2731293 w 3131343"/>
                <a:gd name="connsiteY19" fmla="*/ 221456 h 304800"/>
                <a:gd name="connsiteX20" fmla="*/ 2731293 w 3131343"/>
                <a:gd name="connsiteY20" fmla="*/ 254794 h 304800"/>
                <a:gd name="connsiteX21" fmla="*/ 2800350 w 3131343"/>
                <a:gd name="connsiteY21" fmla="*/ 254794 h 304800"/>
                <a:gd name="connsiteX22" fmla="*/ 2800350 w 3131343"/>
                <a:gd name="connsiteY22" fmla="*/ 283369 h 304800"/>
                <a:gd name="connsiteX23" fmla="*/ 2950368 w 3131343"/>
                <a:gd name="connsiteY23" fmla="*/ 283369 h 304800"/>
                <a:gd name="connsiteX24" fmla="*/ 2950368 w 3131343"/>
                <a:gd name="connsiteY24" fmla="*/ 304800 h 304800"/>
                <a:gd name="connsiteX25" fmla="*/ 3131343 w 3131343"/>
                <a:gd name="connsiteY25" fmla="*/ 304800 h 30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131343" h="304800">
                  <a:moveTo>
                    <a:pt x="0" y="0"/>
                  </a:moveTo>
                  <a:lnTo>
                    <a:pt x="211931" y="0"/>
                  </a:lnTo>
                  <a:lnTo>
                    <a:pt x="211931" y="21431"/>
                  </a:lnTo>
                  <a:lnTo>
                    <a:pt x="354806" y="21431"/>
                  </a:lnTo>
                  <a:lnTo>
                    <a:pt x="354806" y="42862"/>
                  </a:lnTo>
                  <a:lnTo>
                    <a:pt x="550068" y="42862"/>
                  </a:lnTo>
                  <a:lnTo>
                    <a:pt x="550068" y="71437"/>
                  </a:lnTo>
                  <a:lnTo>
                    <a:pt x="640556" y="71437"/>
                  </a:lnTo>
                  <a:lnTo>
                    <a:pt x="640556" y="88106"/>
                  </a:lnTo>
                  <a:lnTo>
                    <a:pt x="1154906" y="88106"/>
                  </a:lnTo>
                  <a:lnTo>
                    <a:pt x="1154906" y="111919"/>
                  </a:lnTo>
                  <a:lnTo>
                    <a:pt x="1490662" y="111919"/>
                  </a:lnTo>
                  <a:lnTo>
                    <a:pt x="1490662" y="123825"/>
                  </a:lnTo>
                  <a:lnTo>
                    <a:pt x="2316956" y="123825"/>
                  </a:lnTo>
                  <a:lnTo>
                    <a:pt x="2316956" y="166687"/>
                  </a:lnTo>
                  <a:lnTo>
                    <a:pt x="2366962" y="166687"/>
                  </a:lnTo>
                  <a:lnTo>
                    <a:pt x="2366962" y="197644"/>
                  </a:lnTo>
                  <a:lnTo>
                    <a:pt x="2469356" y="197644"/>
                  </a:lnTo>
                  <a:lnTo>
                    <a:pt x="2469356" y="221456"/>
                  </a:lnTo>
                  <a:lnTo>
                    <a:pt x="2731293" y="221456"/>
                  </a:lnTo>
                  <a:lnTo>
                    <a:pt x="2731293" y="254794"/>
                  </a:lnTo>
                  <a:lnTo>
                    <a:pt x="2800350" y="254794"/>
                  </a:lnTo>
                  <a:lnTo>
                    <a:pt x="2800350" y="283369"/>
                  </a:lnTo>
                  <a:lnTo>
                    <a:pt x="2950368" y="283369"/>
                  </a:lnTo>
                  <a:lnTo>
                    <a:pt x="2950368" y="304800"/>
                  </a:lnTo>
                  <a:lnTo>
                    <a:pt x="3131343" y="304800"/>
                  </a:lnTo>
                </a:path>
              </a:pathLst>
            </a:custGeom>
            <a:noFill/>
            <a:ln w="1905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highlight>
                  <a:srgbClr val="00FFFF"/>
                </a:highlight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549" name="Free-form: Shape 610">
              <a:extLst>
                <a:ext uri="{FF2B5EF4-FFF2-40B4-BE49-F238E27FC236}">
                  <a16:creationId xmlns:a16="http://schemas.microsoft.com/office/drawing/2014/main" id="{980E6417-6ADA-5372-4E04-6073FAC7291F}"/>
                </a:ext>
              </a:extLst>
            </p:cNvPr>
            <p:cNvSpPr/>
            <p:nvPr/>
          </p:nvSpPr>
          <p:spPr>
            <a:xfrm>
              <a:off x="9239251" y="2890838"/>
              <a:ext cx="0" cy="1131093"/>
            </a:xfrm>
            <a:custGeom>
              <a:avLst/>
              <a:gdLst>
                <a:gd name="connsiteX0" fmla="*/ 0 w 0"/>
                <a:gd name="connsiteY0" fmla="*/ 0 h 1131093"/>
                <a:gd name="connsiteX1" fmla="*/ 0 w 0"/>
                <a:gd name="connsiteY1" fmla="*/ 1131093 h 1131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131093">
                  <a:moveTo>
                    <a:pt x="0" y="0"/>
                  </a:moveTo>
                  <a:lnTo>
                    <a:pt x="0" y="1131093"/>
                  </a:lnTo>
                </a:path>
              </a:pathLst>
            </a:custGeom>
            <a:noFill/>
            <a:ln w="1905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highlight>
                  <a:srgbClr val="00FFFF"/>
                </a:highlight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</p:grpSp>
      <p:sp>
        <p:nvSpPr>
          <p:cNvPr id="545" name="Free-form: Shape 606">
            <a:extLst>
              <a:ext uri="{FF2B5EF4-FFF2-40B4-BE49-F238E27FC236}">
                <a16:creationId xmlns:a16="http://schemas.microsoft.com/office/drawing/2014/main" id="{C7C6C8B8-56F7-2977-AC32-AF49287763A7}"/>
              </a:ext>
            </a:extLst>
          </p:cNvPr>
          <p:cNvSpPr/>
          <p:nvPr/>
        </p:nvSpPr>
        <p:spPr>
          <a:xfrm>
            <a:off x="4354053" y="3078012"/>
            <a:ext cx="497883" cy="688881"/>
          </a:xfrm>
          <a:custGeom>
            <a:avLst/>
            <a:gdLst>
              <a:gd name="connsiteX0" fmla="*/ 0 w 1321594"/>
              <a:gd name="connsiteY0" fmla="*/ 0 h 1195387"/>
              <a:gd name="connsiteX1" fmla="*/ 178594 w 1321594"/>
              <a:gd name="connsiteY1" fmla="*/ 0 h 1195387"/>
              <a:gd name="connsiteX2" fmla="*/ 178594 w 1321594"/>
              <a:gd name="connsiteY2" fmla="*/ 30956 h 1195387"/>
              <a:gd name="connsiteX3" fmla="*/ 454819 w 1321594"/>
              <a:gd name="connsiteY3" fmla="*/ 30956 h 1195387"/>
              <a:gd name="connsiteX4" fmla="*/ 454819 w 1321594"/>
              <a:gd name="connsiteY4" fmla="*/ 52387 h 1195387"/>
              <a:gd name="connsiteX5" fmla="*/ 716757 w 1321594"/>
              <a:gd name="connsiteY5" fmla="*/ 52387 h 1195387"/>
              <a:gd name="connsiteX6" fmla="*/ 716757 w 1321594"/>
              <a:gd name="connsiteY6" fmla="*/ 85725 h 1195387"/>
              <a:gd name="connsiteX7" fmla="*/ 1321594 w 1321594"/>
              <a:gd name="connsiteY7" fmla="*/ 85725 h 1195387"/>
              <a:gd name="connsiteX8" fmla="*/ 1321594 w 1321594"/>
              <a:gd name="connsiteY8" fmla="*/ 1195387 h 11953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21594" h="1195387">
                <a:moveTo>
                  <a:pt x="0" y="0"/>
                </a:moveTo>
                <a:lnTo>
                  <a:pt x="178594" y="0"/>
                </a:lnTo>
                <a:lnTo>
                  <a:pt x="178594" y="30956"/>
                </a:lnTo>
                <a:lnTo>
                  <a:pt x="454819" y="30956"/>
                </a:lnTo>
                <a:lnTo>
                  <a:pt x="454819" y="52387"/>
                </a:lnTo>
                <a:lnTo>
                  <a:pt x="716757" y="52387"/>
                </a:lnTo>
                <a:lnTo>
                  <a:pt x="716757" y="85725"/>
                </a:lnTo>
                <a:lnTo>
                  <a:pt x="1321594" y="85725"/>
                </a:lnTo>
                <a:lnTo>
                  <a:pt x="1321594" y="1195387"/>
                </a:lnTo>
              </a:path>
            </a:pathLst>
          </a:cu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90D116D0-4254-9DDA-199F-C1F2DDD6D645}"/>
              </a:ext>
            </a:extLst>
          </p:cNvPr>
          <p:cNvCxnSpPr>
            <a:cxnSpLocks/>
          </p:cNvCxnSpPr>
          <p:nvPr/>
        </p:nvCxnSpPr>
        <p:spPr>
          <a:xfrm>
            <a:off x="4836686" y="3094479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CB92A39F-E9CC-9FC3-2E09-3CEC887D704B}"/>
              </a:ext>
            </a:extLst>
          </p:cNvPr>
          <p:cNvCxnSpPr>
            <a:cxnSpLocks/>
          </p:cNvCxnSpPr>
          <p:nvPr/>
        </p:nvCxnSpPr>
        <p:spPr>
          <a:xfrm>
            <a:off x="4830407" y="3094479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523E8CED-BB15-33BA-D251-3B1D47046311}"/>
              </a:ext>
            </a:extLst>
          </p:cNvPr>
          <p:cNvCxnSpPr>
            <a:cxnSpLocks/>
          </p:cNvCxnSpPr>
          <p:nvPr/>
        </p:nvCxnSpPr>
        <p:spPr>
          <a:xfrm>
            <a:off x="4807979" y="3094479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4B9FA86D-95E3-F1B1-7097-FBB513FFE5F2}"/>
              </a:ext>
            </a:extLst>
          </p:cNvPr>
          <p:cNvCxnSpPr>
            <a:cxnSpLocks/>
          </p:cNvCxnSpPr>
          <p:nvPr/>
        </p:nvCxnSpPr>
        <p:spPr>
          <a:xfrm>
            <a:off x="4802597" y="3094479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B45948A6-18F4-DE41-518A-F8F9A4F66C62}"/>
              </a:ext>
            </a:extLst>
          </p:cNvPr>
          <p:cNvCxnSpPr>
            <a:cxnSpLocks/>
          </p:cNvCxnSpPr>
          <p:nvPr/>
        </p:nvCxnSpPr>
        <p:spPr>
          <a:xfrm>
            <a:off x="4755948" y="3094479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CC69CE10-D446-C4FE-7F08-4A30C0BB482D}"/>
              </a:ext>
            </a:extLst>
          </p:cNvPr>
          <p:cNvCxnSpPr>
            <a:cxnSpLocks/>
          </p:cNvCxnSpPr>
          <p:nvPr/>
        </p:nvCxnSpPr>
        <p:spPr>
          <a:xfrm>
            <a:off x="4751463" y="3094479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7B1DD376-4244-00BE-1F63-31F7FE029DDA}"/>
              </a:ext>
            </a:extLst>
          </p:cNvPr>
          <p:cNvCxnSpPr>
            <a:cxnSpLocks/>
          </p:cNvCxnSpPr>
          <p:nvPr/>
        </p:nvCxnSpPr>
        <p:spPr>
          <a:xfrm>
            <a:off x="4746977" y="3094479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E987895B-ED05-6D2C-16DD-43EE7B5CA5C6}"/>
              </a:ext>
            </a:extLst>
          </p:cNvPr>
          <p:cNvCxnSpPr>
            <a:cxnSpLocks/>
          </p:cNvCxnSpPr>
          <p:nvPr/>
        </p:nvCxnSpPr>
        <p:spPr>
          <a:xfrm>
            <a:off x="4742492" y="3094479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>
            <a:extLst>
              <a:ext uri="{FF2B5EF4-FFF2-40B4-BE49-F238E27FC236}">
                <a16:creationId xmlns:a16="http://schemas.microsoft.com/office/drawing/2014/main" id="{84A06777-06D1-B568-2F1F-AAF359A54989}"/>
              </a:ext>
            </a:extLst>
          </p:cNvPr>
          <p:cNvCxnSpPr>
            <a:cxnSpLocks/>
          </p:cNvCxnSpPr>
          <p:nvPr/>
        </p:nvCxnSpPr>
        <p:spPr>
          <a:xfrm>
            <a:off x="4738006" y="3094479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1887FC26-B554-46E5-9711-5FFFA18DE983}"/>
              </a:ext>
            </a:extLst>
          </p:cNvPr>
          <p:cNvCxnSpPr>
            <a:cxnSpLocks/>
          </p:cNvCxnSpPr>
          <p:nvPr/>
        </p:nvCxnSpPr>
        <p:spPr>
          <a:xfrm>
            <a:off x="4733522" y="3094479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A8CC9C0D-7E1B-722F-7FE8-01F251607F3D}"/>
              </a:ext>
            </a:extLst>
          </p:cNvPr>
          <p:cNvCxnSpPr>
            <a:cxnSpLocks/>
          </p:cNvCxnSpPr>
          <p:nvPr/>
        </p:nvCxnSpPr>
        <p:spPr>
          <a:xfrm>
            <a:off x="4721859" y="3094479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75F39E49-4CF0-B68D-3640-015D68EC761D}"/>
              </a:ext>
            </a:extLst>
          </p:cNvPr>
          <p:cNvCxnSpPr>
            <a:cxnSpLocks/>
          </p:cNvCxnSpPr>
          <p:nvPr/>
        </p:nvCxnSpPr>
        <p:spPr>
          <a:xfrm>
            <a:off x="4717374" y="3094479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EAF32BBD-ABE5-B994-58E9-D3802FDEFE65}"/>
              </a:ext>
            </a:extLst>
          </p:cNvPr>
          <p:cNvCxnSpPr>
            <a:cxnSpLocks/>
          </p:cNvCxnSpPr>
          <p:nvPr/>
        </p:nvCxnSpPr>
        <p:spPr>
          <a:xfrm>
            <a:off x="4711991" y="3094479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C33B2AEF-93E0-4763-CB3B-004923E08F24}"/>
              </a:ext>
            </a:extLst>
          </p:cNvPr>
          <p:cNvCxnSpPr>
            <a:cxnSpLocks/>
          </p:cNvCxnSpPr>
          <p:nvPr/>
        </p:nvCxnSpPr>
        <p:spPr>
          <a:xfrm>
            <a:off x="4701226" y="3094479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id="{0F89CBA0-DE0B-3D3B-E84F-A52BC66D88E6}"/>
              </a:ext>
            </a:extLst>
          </p:cNvPr>
          <p:cNvCxnSpPr>
            <a:cxnSpLocks/>
          </p:cNvCxnSpPr>
          <p:nvPr/>
        </p:nvCxnSpPr>
        <p:spPr>
          <a:xfrm>
            <a:off x="4697637" y="3094479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299E807D-8C40-13B2-20BC-6F5818666282}"/>
              </a:ext>
            </a:extLst>
          </p:cNvPr>
          <p:cNvCxnSpPr>
            <a:cxnSpLocks/>
          </p:cNvCxnSpPr>
          <p:nvPr/>
        </p:nvCxnSpPr>
        <p:spPr>
          <a:xfrm>
            <a:off x="4693152" y="3094479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Straight Connector 92">
            <a:extLst>
              <a:ext uri="{FF2B5EF4-FFF2-40B4-BE49-F238E27FC236}">
                <a16:creationId xmlns:a16="http://schemas.microsoft.com/office/drawing/2014/main" id="{C37BDFFA-E726-755C-D852-4A4FCD7BF55F}"/>
              </a:ext>
            </a:extLst>
          </p:cNvPr>
          <p:cNvCxnSpPr>
            <a:cxnSpLocks/>
          </p:cNvCxnSpPr>
          <p:nvPr/>
        </p:nvCxnSpPr>
        <p:spPr>
          <a:xfrm>
            <a:off x="4689564" y="3094479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2B03AE46-5D0C-2CE7-3441-AF3CAB69BD63}"/>
              </a:ext>
            </a:extLst>
          </p:cNvPr>
          <p:cNvCxnSpPr>
            <a:cxnSpLocks/>
          </p:cNvCxnSpPr>
          <p:nvPr/>
        </p:nvCxnSpPr>
        <p:spPr>
          <a:xfrm>
            <a:off x="4685975" y="3094479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1AA6A9C7-AE06-BB99-2D7E-9C598DD1E7CA}"/>
              </a:ext>
            </a:extLst>
          </p:cNvPr>
          <p:cNvCxnSpPr>
            <a:cxnSpLocks/>
          </p:cNvCxnSpPr>
          <p:nvPr/>
        </p:nvCxnSpPr>
        <p:spPr>
          <a:xfrm>
            <a:off x="4682387" y="3094479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Straight Connector 95">
            <a:extLst>
              <a:ext uri="{FF2B5EF4-FFF2-40B4-BE49-F238E27FC236}">
                <a16:creationId xmlns:a16="http://schemas.microsoft.com/office/drawing/2014/main" id="{B5EEFA62-DD6D-144D-45B9-1235BFB43599}"/>
              </a:ext>
            </a:extLst>
          </p:cNvPr>
          <p:cNvCxnSpPr>
            <a:cxnSpLocks/>
          </p:cNvCxnSpPr>
          <p:nvPr/>
        </p:nvCxnSpPr>
        <p:spPr>
          <a:xfrm>
            <a:off x="4677901" y="3094479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Straight Connector 96">
            <a:extLst>
              <a:ext uri="{FF2B5EF4-FFF2-40B4-BE49-F238E27FC236}">
                <a16:creationId xmlns:a16="http://schemas.microsoft.com/office/drawing/2014/main" id="{6120C686-4551-55BF-E3F7-EF795B3C17E3}"/>
              </a:ext>
            </a:extLst>
          </p:cNvPr>
          <p:cNvCxnSpPr>
            <a:cxnSpLocks/>
          </p:cNvCxnSpPr>
          <p:nvPr/>
        </p:nvCxnSpPr>
        <p:spPr>
          <a:xfrm>
            <a:off x="4673415" y="3094479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Straight Connector 97">
            <a:extLst>
              <a:ext uri="{FF2B5EF4-FFF2-40B4-BE49-F238E27FC236}">
                <a16:creationId xmlns:a16="http://schemas.microsoft.com/office/drawing/2014/main" id="{4ACCAE2F-7091-568B-F8F3-46E71614A25A}"/>
              </a:ext>
            </a:extLst>
          </p:cNvPr>
          <p:cNvCxnSpPr>
            <a:cxnSpLocks/>
          </p:cNvCxnSpPr>
          <p:nvPr/>
        </p:nvCxnSpPr>
        <p:spPr>
          <a:xfrm>
            <a:off x="4668930" y="3094479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Straight Connector 98">
            <a:extLst>
              <a:ext uri="{FF2B5EF4-FFF2-40B4-BE49-F238E27FC236}">
                <a16:creationId xmlns:a16="http://schemas.microsoft.com/office/drawing/2014/main" id="{93A28320-EABD-3E71-A99A-2DE731A2645A}"/>
              </a:ext>
            </a:extLst>
          </p:cNvPr>
          <p:cNvCxnSpPr>
            <a:cxnSpLocks/>
          </p:cNvCxnSpPr>
          <p:nvPr/>
        </p:nvCxnSpPr>
        <p:spPr>
          <a:xfrm>
            <a:off x="4665342" y="3094479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Connector 99">
            <a:extLst>
              <a:ext uri="{FF2B5EF4-FFF2-40B4-BE49-F238E27FC236}">
                <a16:creationId xmlns:a16="http://schemas.microsoft.com/office/drawing/2014/main" id="{57FB310B-6026-C0CC-4269-5847BF5E35DA}"/>
              </a:ext>
            </a:extLst>
          </p:cNvPr>
          <p:cNvCxnSpPr>
            <a:cxnSpLocks/>
          </p:cNvCxnSpPr>
          <p:nvPr/>
        </p:nvCxnSpPr>
        <p:spPr>
          <a:xfrm>
            <a:off x="4661754" y="3094479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Straight Connector 100">
            <a:extLst>
              <a:ext uri="{FF2B5EF4-FFF2-40B4-BE49-F238E27FC236}">
                <a16:creationId xmlns:a16="http://schemas.microsoft.com/office/drawing/2014/main" id="{D2B0BA36-95AA-1FA3-207C-2BB1EE8DAD67}"/>
              </a:ext>
            </a:extLst>
          </p:cNvPr>
          <p:cNvCxnSpPr>
            <a:cxnSpLocks/>
          </p:cNvCxnSpPr>
          <p:nvPr/>
        </p:nvCxnSpPr>
        <p:spPr>
          <a:xfrm>
            <a:off x="4658165" y="3094479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id="{6C80FC10-A0C1-9633-AB93-AA8B9A82F97A}"/>
              </a:ext>
            </a:extLst>
          </p:cNvPr>
          <p:cNvCxnSpPr>
            <a:cxnSpLocks/>
          </p:cNvCxnSpPr>
          <p:nvPr/>
        </p:nvCxnSpPr>
        <p:spPr>
          <a:xfrm>
            <a:off x="4653680" y="3094479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Straight Connector 102">
            <a:extLst>
              <a:ext uri="{FF2B5EF4-FFF2-40B4-BE49-F238E27FC236}">
                <a16:creationId xmlns:a16="http://schemas.microsoft.com/office/drawing/2014/main" id="{777FF277-8F4C-B758-1B46-2A4CEA5A3CA4}"/>
              </a:ext>
            </a:extLst>
          </p:cNvPr>
          <p:cNvCxnSpPr>
            <a:cxnSpLocks/>
          </p:cNvCxnSpPr>
          <p:nvPr/>
        </p:nvCxnSpPr>
        <p:spPr>
          <a:xfrm>
            <a:off x="4649194" y="3094479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Connector 103">
            <a:extLst>
              <a:ext uri="{FF2B5EF4-FFF2-40B4-BE49-F238E27FC236}">
                <a16:creationId xmlns:a16="http://schemas.microsoft.com/office/drawing/2014/main" id="{A8CE8800-50B0-D6B4-6454-36511D6B9C6B}"/>
              </a:ext>
            </a:extLst>
          </p:cNvPr>
          <p:cNvCxnSpPr>
            <a:cxnSpLocks/>
          </p:cNvCxnSpPr>
          <p:nvPr/>
        </p:nvCxnSpPr>
        <p:spPr>
          <a:xfrm>
            <a:off x="4645606" y="3094479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Straight Connector 104">
            <a:extLst>
              <a:ext uri="{FF2B5EF4-FFF2-40B4-BE49-F238E27FC236}">
                <a16:creationId xmlns:a16="http://schemas.microsoft.com/office/drawing/2014/main" id="{4EF6E35E-EF33-5169-CB87-AD3EB08F8BD7}"/>
              </a:ext>
            </a:extLst>
          </p:cNvPr>
          <p:cNvCxnSpPr>
            <a:cxnSpLocks/>
          </p:cNvCxnSpPr>
          <p:nvPr/>
        </p:nvCxnSpPr>
        <p:spPr>
          <a:xfrm>
            <a:off x="4641121" y="3094479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Straight Connector 105">
            <a:extLst>
              <a:ext uri="{FF2B5EF4-FFF2-40B4-BE49-F238E27FC236}">
                <a16:creationId xmlns:a16="http://schemas.microsoft.com/office/drawing/2014/main" id="{F35A1B56-45CE-05A1-A37A-28CEF5FB9636}"/>
              </a:ext>
            </a:extLst>
          </p:cNvPr>
          <p:cNvCxnSpPr>
            <a:cxnSpLocks/>
          </p:cNvCxnSpPr>
          <p:nvPr/>
        </p:nvCxnSpPr>
        <p:spPr>
          <a:xfrm>
            <a:off x="4636635" y="3094479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DFE1A6B8-3694-A9A4-D4C5-8DCC77F5B45E}"/>
              </a:ext>
            </a:extLst>
          </p:cNvPr>
          <p:cNvCxnSpPr>
            <a:cxnSpLocks/>
          </p:cNvCxnSpPr>
          <p:nvPr/>
        </p:nvCxnSpPr>
        <p:spPr>
          <a:xfrm>
            <a:off x="4632150" y="3094479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Straight Connector 107">
            <a:extLst>
              <a:ext uri="{FF2B5EF4-FFF2-40B4-BE49-F238E27FC236}">
                <a16:creationId xmlns:a16="http://schemas.microsoft.com/office/drawing/2014/main" id="{5C308C19-AC5F-255F-DA2B-8784EE5EBA05}"/>
              </a:ext>
            </a:extLst>
          </p:cNvPr>
          <p:cNvCxnSpPr>
            <a:cxnSpLocks/>
          </p:cNvCxnSpPr>
          <p:nvPr/>
        </p:nvCxnSpPr>
        <p:spPr>
          <a:xfrm>
            <a:off x="4629459" y="3094479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Connector 108">
            <a:extLst>
              <a:ext uri="{FF2B5EF4-FFF2-40B4-BE49-F238E27FC236}">
                <a16:creationId xmlns:a16="http://schemas.microsoft.com/office/drawing/2014/main" id="{6670E99A-6978-7F64-F319-1E1F7BBC4165}"/>
              </a:ext>
            </a:extLst>
          </p:cNvPr>
          <p:cNvCxnSpPr>
            <a:cxnSpLocks/>
          </p:cNvCxnSpPr>
          <p:nvPr/>
        </p:nvCxnSpPr>
        <p:spPr>
          <a:xfrm>
            <a:off x="4616003" y="3078012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BAE552B8-4AAB-1E92-201F-AC8D963782AD}"/>
              </a:ext>
            </a:extLst>
          </p:cNvPr>
          <p:cNvCxnSpPr>
            <a:cxnSpLocks/>
          </p:cNvCxnSpPr>
          <p:nvPr/>
        </p:nvCxnSpPr>
        <p:spPr>
          <a:xfrm>
            <a:off x="4624974" y="3094479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2D6058C5-A5C5-1AA8-EE87-08E94192E196}"/>
              </a:ext>
            </a:extLst>
          </p:cNvPr>
          <p:cNvCxnSpPr>
            <a:cxnSpLocks/>
          </p:cNvCxnSpPr>
          <p:nvPr/>
        </p:nvCxnSpPr>
        <p:spPr>
          <a:xfrm>
            <a:off x="4621385" y="3094479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Connector 111">
            <a:extLst>
              <a:ext uri="{FF2B5EF4-FFF2-40B4-BE49-F238E27FC236}">
                <a16:creationId xmlns:a16="http://schemas.microsoft.com/office/drawing/2014/main" id="{AA434FA1-85C5-3F68-4AB1-EB6752444E76}"/>
              </a:ext>
            </a:extLst>
          </p:cNvPr>
          <p:cNvCxnSpPr>
            <a:cxnSpLocks/>
          </p:cNvCxnSpPr>
          <p:nvPr/>
        </p:nvCxnSpPr>
        <p:spPr>
          <a:xfrm>
            <a:off x="4616900" y="3094479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89EA98C7-216C-B60F-7988-2349DDA7D895}"/>
              </a:ext>
            </a:extLst>
          </p:cNvPr>
          <p:cNvCxnSpPr>
            <a:cxnSpLocks/>
          </p:cNvCxnSpPr>
          <p:nvPr/>
        </p:nvCxnSpPr>
        <p:spPr>
          <a:xfrm>
            <a:off x="4612414" y="3078012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Straight Connector 113">
            <a:extLst>
              <a:ext uri="{FF2B5EF4-FFF2-40B4-BE49-F238E27FC236}">
                <a16:creationId xmlns:a16="http://schemas.microsoft.com/office/drawing/2014/main" id="{D9F7BC46-8C01-7284-E96A-AF5EB7BEEB67}"/>
              </a:ext>
            </a:extLst>
          </p:cNvPr>
          <p:cNvCxnSpPr>
            <a:cxnSpLocks/>
          </p:cNvCxnSpPr>
          <p:nvPr/>
        </p:nvCxnSpPr>
        <p:spPr>
          <a:xfrm>
            <a:off x="4607929" y="3078012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2C0C69FC-5AFA-30AE-54FB-6B0B61DB1CB6}"/>
              </a:ext>
            </a:extLst>
          </p:cNvPr>
          <p:cNvCxnSpPr>
            <a:cxnSpLocks/>
          </p:cNvCxnSpPr>
          <p:nvPr/>
        </p:nvCxnSpPr>
        <p:spPr>
          <a:xfrm>
            <a:off x="4595370" y="3078012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Straight Connector 115">
            <a:extLst>
              <a:ext uri="{FF2B5EF4-FFF2-40B4-BE49-F238E27FC236}">
                <a16:creationId xmlns:a16="http://schemas.microsoft.com/office/drawing/2014/main" id="{04F02668-0CE9-BC80-1B7B-EE1ADB25FAB0}"/>
              </a:ext>
            </a:extLst>
          </p:cNvPr>
          <p:cNvCxnSpPr>
            <a:cxnSpLocks/>
          </p:cNvCxnSpPr>
          <p:nvPr/>
        </p:nvCxnSpPr>
        <p:spPr>
          <a:xfrm>
            <a:off x="4592678" y="3078012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Straight Connector 116">
            <a:extLst>
              <a:ext uri="{FF2B5EF4-FFF2-40B4-BE49-F238E27FC236}">
                <a16:creationId xmlns:a16="http://schemas.microsoft.com/office/drawing/2014/main" id="{36C5CFC9-2472-24E9-B958-828C63F3D45F}"/>
              </a:ext>
            </a:extLst>
          </p:cNvPr>
          <p:cNvCxnSpPr>
            <a:cxnSpLocks/>
          </p:cNvCxnSpPr>
          <p:nvPr/>
        </p:nvCxnSpPr>
        <p:spPr>
          <a:xfrm>
            <a:off x="4588193" y="3078012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Straight Connector 117">
            <a:extLst>
              <a:ext uri="{FF2B5EF4-FFF2-40B4-BE49-F238E27FC236}">
                <a16:creationId xmlns:a16="http://schemas.microsoft.com/office/drawing/2014/main" id="{5BE32311-A9AF-E575-67F9-56A25E00A305}"/>
              </a:ext>
            </a:extLst>
          </p:cNvPr>
          <p:cNvCxnSpPr>
            <a:cxnSpLocks/>
          </p:cNvCxnSpPr>
          <p:nvPr/>
        </p:nvCxnSpPr>
        <p:spPr>
          <a:xfrm>
            <a:off x="4584604" y="3078012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Straight Connector 118">
            <a:extLst>
              <a:ext uri="{FF2B5EF4-FFF2-40B4-BE49-F238E27FC236}">
                <a16:creationId xmlns:a16="http://schemas.microsoft.com/office/drawing/2014/main" id="{77A86AFB-F423-D4A2-E7B4-80E2A86353FC}"/>
              </a:ext>
            </a:extLst>
          </p:cNvPr>
          <p:cNvCxnSpPr>
            <a:cxnSpLocks/>
          </p:cNvCxnSpPr>
          <p:nvPr/>
        </p:nvCxnSpPr>
        <p:spPr>
          <a:xfrm>
            <a:off x="4580118" y="3078012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Straight Connector 119">
            <a:extLst>
              <a:ext uri="{FF2B5EF4-FFF2-40B4-BE49-F238E27FC236}">
                <a16:creationId xmlns:a16="http://schemas.microsoft.com/office/drawing/2014/main" id="{9BB2493E-B730-249D-4F37-27EF31473305}"/>
              </a:ext>
            </a:extLst>
          </p:cNvPr>
          <p:cNvCxnSpPr>
            <a:cxnSpLocks/>
          </p:cNvCxnSpPr>
          <p:nvPr/>
        </p:nvCxnSpPr>
        <p:spPr>
          <a:xfrm>
            <a:off x="4575633" y="3078012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Straight Connector 120">
            <a:extLst>
              <a:ext uri="{FF2B5EF4-FFF2-40B4-BE49-F238E27FC236}">
                <a16:creationId xmlns:a16="http://schemas.microsoft.com/office/drawing/2014/main" id="{A556FA42-0ADB-C7E7-64FB-81CE65CE37B5}"/>
              </a:ext>
            </a:extLst>
          </p:cNvPr>
          <p:cNvCxnSpPr>
            <a:cxnSpLocks/>
          </p:cNvCxnSpPr>
          <p:nvPr/>
        </p:nvCxnSpPr>
        <p:spPr>
          <a:xfrm>
            <a:off x="4572942" y="3078012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Straight Connector 121">
            <a:extLst>
              <a:ext uri="{FF2B5EF4-FFF2-40B4-BE49-F238E27FC236}">
                <a16:creationId xmlns:a16="http://schemas.microsoft.com/office/drawing/2014/main" id="{81C55A2E-CAA8-B265-DFE0-29FAA15E845F}"/>
              </a:ext>
            </a:extLst>
          </p:cNvPr>
          <p:cNvCxnSpPr>
            <a:cxnSpLocks/>
          </p:cNvCxnSpPr>
          <p:nvPr/>
        </p:nvCxnSpPr>
        <p:spPr>
          <a:xfrm>
            <a:off x="4568457" y="3078012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Straight Connector 122">
            <a:extLst>
              <a:ext uri="{FF2B5EF4-FFF2-40B4-BE49-F238E27FC236}">
                <a16:creationId xmlns:a16="http://schemas.microsoft.com/office/drawing/2014/main" id="{A46EA18E-7230-711F-023E-3EDB87FB95D0}"/>
              </a:ext>
            </a:extLst>
          </p:cNvPr>
          <p:cNvCxnSpPr/>
          <p:nvPr/>
        </p:nvCxnSpPr>
        <p:spPr>
          <a:xfrm>
            <a:off x="4556794" y="3076640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Straight Connector 123">
            <a:extLst>
              <a:ext uri="{FF2B5EF4-FFF2-40B4-BE49-F238E27FC236}">
                <a16:creationId xmlns:a16="http://schemas.microsoft.com/office/drawing/2014/main" id="{56465168-1AE3-3F71-6B1C-34878D397B65}"/>
              </a:ext>
            </a:extLst>
          </p:cNvPr>
          <p:cNvCxnSpPr/>
          <p:nvPr/>
        </p:nvCxnSpPr>
        <p:spPr>
          <a:xfrm>
            <a:off x="4553206" y="3076640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Straight Connector 124">
            <a:extLst>
              <a:ext uri="{FF2B5EF4-FFF2-40B4-BE49-F238E27FC236}">
                <a16:creationId xmlns:a16="http://schemas.microsoft.com/office/drawing/2014/main" id="{620ADF96-CF60-4C14-73FB-734309E4F5E1}"/>
              </a:ext>
            </a:extLst>
          </p:cNvPr>
          <p:cNvCxnSpPr/>
          <p:nvPr/>
        </p:nvCxnSpPr>
        <p:spPr>
          <a:xfrm>
            <a:off x="4549618" y="3076640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Straight Connector 125">
            <a:extLst>
              <a:ext uri="{FF2B5EF4-FFF2-40B4-BE49-F238E27FC236}">
                <a16:creationId xmlns:a16="http://schemas.microsoft.com/office/drawing/2014/main" id="{066569EF-F34B-1AFE-F60D-B65791A9C18C}"/>
              </a:ext>
            </a:extLst>
          </p:cNvPr>
          <p:cNvCxnSpPr/>
          <p:nvPr/>
        </p:nvCxnSpPr>
        <p:spPr>
          <a:xfrm>
            <a:off x="4546029" y="3076640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Straight Connector 126">
            <a:extLst>
              <a:ext uri="{FF2B5EF4-FFF2-40B4-BE49-F238E27FC236}">
                <a16:creationId xmlns:a16="http://schemas.microsoft.com/office/drawing/2014/main" id="{5AB52E01-A6F8-EE09-1A07-58000184DBE1}"/>
              </a:ext>
            </a:extLst>
          </p:cNvPr>
          <p:cNvCxnSpPr/>
          <p:nvPr/>
        </p:nvCxnSpPr>
        <p:spPr>
          <a:xfrm>
            <a:off x="4542440" y="3076640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Straight Connector 127">
            <a:extLst>
              <a:ext uri="{FF2B5EF4-FFF2-40B4-BE49-F238E27FC236}">
                <a16:creationId xmlns:a16="http://schemas.microsoft.com/office/drawing/2014/main" id="{C10B1870-5D3F-60C2-7C84-7E4C8F32D5DD}"/>
              </a:ext>
            </a:extLst>
          </p:cNvPr>
          <p:cNvCxnSpPr/>
          <p:nvPr/>
        </p:nvCxnSpPr>
        <p:spPr>
          <a:xfrm>
            <a:off x="4538851" y="3076640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Straight Connector 128">
            <a:extLst>
              <a:ext uri="{FF2B5EF4-FFF2-40B4-BE49-F238E27FC236}">
                <a16:creationId xmlns:a16="http://schemas.microsoft.com/office/drawing/2014/main" id="{E2192B3C-FFB4-4BCC-FC32-22B2B9459CB1}"/>
              </a:ext>
            </a:extLst>
          </p:cNvPr>
          <p:cNvCxnSpPr/>
          <p:nvPr/>
        </p:nvCxnSpPr>
        <p:spPr>
          <a:xfrm>
            <a:off x="4534365" y="3076640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Straight Connector 129">
            <a:extLst>
              <a:ext uri="{FF2B5EF4-FFF2-40B4-BE49-F238E27FC236}">
                <a16:creationId xmlns:a16="http://schemas.microsoft.com/office/drawing/2014/main" id="{8F28635C-1C52-DA64-D1D7-70180DFF40D0}"/>
              </a:ext>
            </a:extLst>
          </p:cNvPr>
          <p:cNvCxnSpPr/>
          <p:nvPr/>
        </p:nvCxnSpPr>
        <p:spPr>
          <a:xfrm>
            <a:off x="4524499" y="3060172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Straight Connector 130">
            <a:extLst>
              <a:ext uri="{FF2B5EF4-FFF2-40B4-BE49-F238E27FC236}">
                <a16:creationId xmlns:a16="http://schemas.microsoft.com/office/drawing/2014/main" id="{46FC0AD0-22E7-EF68-2499-7D8F2BB7B525}"/>
              </a:ext>
            </a:extLst>
          </p:cNvPr>
          <p:cNvCxnSpPr/>
          <p:nvPr/>
        </p:nvCxnSpPr>
        <p:spPr>
          <a:xfrm>
            <a:off x="4522705" y="3060172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Straight Connector 131">
            <a:extLst>
              <a:ext uri="{FF2B5EF4-FFF2-40B4-BE49-F238E27FC236}">
                <a16:creationId xmlns:a16="http://schemas.microsoft.com/office/drawing/2014/main" id="{C12FFB3D-AA5C-DDDA-8820-72889A9004C4}"/>
              </a:ext>
            </a:extLst>
          </p:cNvPr>
          <p:cNvCxnSpPr/>
          <p:nvPr/>
        </p:nvCxnSpPr>
        <p:spPr>
          <a:xfrm>
            <a:off x="4519115" y="3060172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Straight Connector 132">
            <a:extLst>
              <a:ext uri="{FF2B5EF4-FFF2-40B4-BE49-F238E27FC236}">
                <a16:creationId xmlns:a16="http://schemas.microsoft.com/office/drawing/2014/main" id="{9E4217AF-863D-265C-F783-128C0C925D64}"/>
              </a:ext>
            </a:extLst>
          </p:cNvPr>
          <p:cNvCxnSpPr/>
          <p:nvPr/>
        </p:nvCxnSpPr>
        <p:spPr>
          <a:xfrm>
            <a:off x="4514630" y="3060616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Straight Connector 133">
            <a:extLst>
              <a:ext uri="{FF2B5EF4-FFF2-40B4-BE49-F238E27FC236}">
                <a16:creationId xmlns:a16="http://schemas.microsoft.com/office/drawing/2014/main" id="{52836DE1-F98D-1140-8A7B-F770C232DAB6}"/>
              </a:ext>
            </a:extLst>
          </p:cNvPr>
          <p:cNvCxnSpPr/>
          <p:nvPr/>
        </p:nvCxnSpPr>
        <p:spPr>
          <a:xfrm>
            <a:off x="4510145" y="3060172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5" name="Straight Connector 134">
            <a:extLst>
              <a:ext uri="{FF2B5EF4-FFF2-40B4-BE49-F238E27FC236}">
                <a16:creationId xmlns:a16="http://schemas.microsoft.com/office/drawing/2014/main" id="{D9F88ED6-DA72-3BFF-FE44-39C8A8629FCA}"/>
              </a:ext>
            </a:extLst>
          </p:cNvPr>
          <p:cNvCxnSpPr/>
          <p:nvPr/>
        </p:nvCxnSpPr>
        <p:spPr>
          <a:xfrm>
            <a:off x="4505658" y="3060616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6" name="Straight Connector 135">
            <a:extLst>
              <a:ext uri="{FF2B5EF4-FFF2-40B4-BE49-F238E27FC236}">
                <a16:creationId xmlns:a16="http://schemas.microsoft.com/office/drawing/2014/main" id="{7F951A83-4991-03AC-7989-7C75E59F22A9}"/>
              </a:ext>
            </a:extLst>
          </p:cNvPr>
          <p:cNvCxnSpPr/>
          <p:nvPr/>
        </p:nvCxnSpPr>
        <p:spPr>
          <a:xfrm>
            <a:off x="4503860" y="3060172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7" name="Straight Connector 136">
            <a:extLst>
              <a:ext uri="{FF2B5EF4-FFF2-40B4-BE49-F238E27FC236}">
                <a16:creationId xmlns:a16="http://schemas.microsoft.com/office/drawing/2014/main" id="{B36E25AF-E398-43AF-8600-D6FADB6EF931}"/>
              </a:ext>
            </a:extLst>
          </p:cNvPr>
          <p:cNvCxnSpPr/>
          <p:nvPr/>
        </p:nvCxnSpPr>
        <p:spPr>
          <a:xfrm>
            <a:off x="4500272" y="3060172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Straight Connector 137">
            <a:extLst>
              <a:ext uri="{FF2B5EF4-FFF2-40B4-BE49-F238E27FC236}">
                <a16:creationId xmlns:a16="http://schemas.microsoft.com/office/drawing/2014/main" id="{D911B1E1-D243-AE79-D5EA-84C20DDF082A}"/>
              </a:ext>
            </a:extLst>
          </p:cNvPr>
          <p:cNvCxnSpPr/>
          <p:nvPr/>
        </p:nvCxnSpPr>
        <p:spPr>
          <a:xfrm>
            <a:off x="4496683" y="3060172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9" name="Straight Connector 138">
            <a:extLst>
              <a:ext uri="{FF2B5EF4-FFF2-40B4-BE49-F238E27FC236}">
                <a16:creationId xmlns:a16="http://schemas.microsoft.com/office/drawing/2014/main" id="{1DFC5DC9-FAC6-0647-16BB-4331040AA0AC}"/>
              </a:ext>
            </a:extLst>
          </p:cNvPr>
          <p:cNvCxnSpPr/>
          <p:nvPr/>
        </p:nvCxnSpPr>
        <p:spPr>
          <a:xfrm>
            <a:off x="4483227" y="3060172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Straight Connector 139">
            <a:extLst>
              <a:ext uri="{FF2B5EF4-FFF2-40B4-BE49-F238E27FC236}">
                <a16:creationId xmlns:a16="http://schemas.microsoft.com/office/drawing/2014/main" id="{B2C0D90A-5D82-4118-7A6D-3678289F19D7}"/>
              </a:ext>
            </a:extLst>
          </p:cNvPr>
          <p:cNvCxnSpPr/>
          <p:nvPr/>
        </p:nvCxnSpPr>
        <p:spPr>
          <a:xfrm>
            <a:off x="4478741" y="3060172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Straight Connector 140">
            <a:extLst>
              <a:ext uri="{FF2B5EF4-FFF2-40B4-BE49-F238E27FC236}">
                <a16:creationId xmlns:a16="http://schemas.microsoft.com/office/drawing/2014/main" id="{09018521-2A15-5E45-3E5E-DBC8EFB3BA74}"/>
              </a:ext>
            </a:extLst>
          </p:cNvPr>
          <p:cNvCxnSpPr/>
          <p:nvPr/>
        </p:nvCxnSpPr>
        <p:spPr>
          <a:xfrm>
            <a:off x="4475146" y="3060172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Straight Connector 141">
            <a:extLst>
              <a:ext uri="{FF2B5EF4-FFF2-40B4-BE49-F238E27FC236}">
                <a16:creationId xmlns:a16="http://schemas.microsoft.com/office/drawing/2014/main" id="{C737BF37-6E78-E08D-2E45-779B6BFDB1FE}"/>
              </a:ext>
            </a:extLst>
          </p:cNvPr>
          <p:cNvCxnSpPr/>
          <p:nvPr/>
        </p:nvCxnSpPr>
        <p:spPr>
          <a:xfrm>
            <a:off x="4450035" y="3060172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Straight Connector 142">
            <a:extLst>
              <a:ext uri="{FF2B5EF4-FFF2-40B4-BE49-F238E27FC236}">
                <a16:creationId xmlns:a16="http://schemas.microsoft.com/office/drawing/2014/main" id="{3952C62F-4141-A6DF-9A3C-A8561B8823C3}"/>
              </a:ext>
            </a:extLst>
          </p:cNvPr>
          <p:cNvCxnSpPr/>
          <p:nvPr/>
        </p:nvCxnSpPr>
        <p:spPr>
          <a:xfrm>
            <a:off x="4446446" y="3060172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Straight Connector 143">
            <a:extLst>
              <a:ext uri="{FF2B5EF4-FFF2-40B4-BE49-F238E27FC236}">
                <a16:creationId xmlns:a16="http://schemas.microsoft.com/office/drawing/2014/main" id="{3849BA50-C53D-4730-7055-7510C15F8D0F}"/>
              </a:ext>
            </a:extLst>
          </p:cNvPr>
          <p:cNvCxnSpPr/>
          <p:nvPr/>
        </p:nvCxnSpPr>
        <p:spPr>
          <a:xfrm>
            <a:off x="4441960" y="3060172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5" name="Straight Connector 144">
            <a:extLst>
              <a:ext uri="{FF2B5EF4-FFF2-40B4-BE49-F238E27FC236}">
                <a16:creationId xmlns:a16="http://schemas.microsoft.com/office/drawing/2014/main" id="{EE2E8BCC-182A-943B-4BEF-6C2A3F6613EB}"/>
              </a:ext>
            </a:extLst>
          </p:cNvPr>
          <p:cNvCxnSpPr/>
          <p:nvPr/>
        </p:nvCxnSpPr>
        <p:spPr>
          <a:xfrm>
            <a:off x="4422225" y="3057428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Straight Connector 145">
            <a:extLst>
              <a:ext uri="{FF2B5EF4-FFF2-40B4-BE49-F238E27FC236}">
                <a16:creationId xmlns:a16="http://schemas.microsoft.com/office/drawing/2014/main" id="{83DFFF64-CE0B-297B-8ECB-FDEBB2170970}"/>
              </a:ext>
            </a:extLst>
          </p:cNvPr>
          <p:cNvCxnSpPr/>
          <p:nvPr/>
        </p:nvCxnSpPr>
        <p:spPr>
          <a:xfrm>
            <a:off x="4418636" y="3057428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Straight Connector 146">
            <a:extLst>
              <a:ext uri="{FF2B5EF4-FFF2-40B4-BE49-F238E27FC236}">
                <a16:creationId xmlns:a16="http://schemas.microsoft.com/office/drawing/2014/main" id="{8E485EC7-5C85-5FF5-E041-010816A64EE8}"/>
              </a:ext>
            </a:extLst>
          </p:cNvPr>
          <p:cNvCxnSpPr/>
          <p:nvPr/>
        </p:nvCxnSpPr>
        <p:spPr>
          <a:xfrm>
            <a:off x="4414150" y="3057428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Straight Connector 147">
            <a:extLst>
              <a:ext uri="{FF2B5EF4-FFF2-40B4-BE49-F238E27FC236}">
                <a16:creationId xmlns:a16="http://schemas.microsoft.com/office/drawing/2014/main" id="{EE421AF3-5373-A1EA-A55B-D7177503DA11}"/>
              </a:ext>
            </a:extLst>
          </p:cNvPr>
          <p:cNvCxnSpPr/>
          <p:nvPr/>
        </p:nvCxnSpPr>
        <p:spPr>
          <a:xfrm>
            <a:off x="4410553" y="3057428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Straight Connector 148">
            <a:extLst>
              <a:ext uri="{FF2B5EF4-FFF2-40B4-BE49-F238E27FC236}">
                <a16:creationId xmlns:a16="http://schemas.microsoft.com/office/drawing/2014/main" id="{0AE64E1F-7FC5-CC6C-F6A2-D62FF0B04DD0}"/>
              </a:ext>
            </a:extLst>
          </p:cNvPr>
          <p:cNvCxnSpPr/>
          <p:nvPr/>
        </p:nvCxnSpPr>
        <p:spPr>
          <a:xfrm>
            <a:off x="4406964" y="3057428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0" name="Straight Connector 149">
            <a:extLst>
              <a:ext uri="{FF2B5EF4-FFF2-40B4-BE49-F238E27FC236}">
                <a16:creationId xmlns:a16="http://schemas.microsoft.com/office/drawing/2014/main" id="{8F8ED196-E2D7-A79F-143D-32F4BD797305}"/>
              </a:ext>
            </a:extLst>
          </p:cNvPr>
          <p:cNvCxnSpPr/>
          <p:nvPr/>
        </p:nvCxnSpPr>
        <p:spPr>
          <a:xfrm>
            <a:off x="4403359" y="3057428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1" name="Straight Connector 150">
            <a:extLst>
              <a:ext uri="{FF2B5EF4-FFF2-40B4-BE49-F238E27FC236}">
                <a16:creationId xmlns:a16="http://schemas.microsoft.com/office/drawing/2014/main" id="{EDE5ECD2-1F80-943D-9969-B214B2B9B11B}"/>
              </a:ext>
            </a:extLst>
          </p:cNvPr>
          <p:cNvCxnSpPr/>
          <p:nvPr/>
        </p:nvCxnSpPr>
        <p:spPr>
          <a:xfrm>
            <a:off x="4370184" y="3049195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Straight Connector 151">
            <a:extLst>
              <a:ext uri="{FF2B5EF4-FFF2-40B4-BE49-F238E27FC236}">
                <a16:creationId xmlns:a16="http://schemas.microsoft.com/office/drawing/2014/main" id="{6DCA102D-7FA6-82D4-CF53-ABC84D6DDB03}"/>
              </a:ext>
            </a:extLst>
          </p:cNvPr>
          <p:cNvCxnSpPr/>
          <p:nvPr/>
        </p:nvCxnSpPr>
        <p:spPr>
          <a:xfrm>
            <a:off x="4366595" y="3049637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3" name="Straight Connector 152">
            <a:extLst>
              <a:ext uri="{FF2B5EF4-FFF2-40B4-BE49-F238E27FC236}">
                <a16:creationId xmlns:a16="http://schemas.microsoft.com/office/drawing/2014/main" id="{F7FB2932-1187-C1A8-E7BB-5E81E7855D5D}"/>
              </a:ext>
            </a:extLst>
          </p:cNvPr>
          <p:cNvCxnSpPr/>
          <p:nvPr/>
        </p:nvCxnSpPr>
        <p:spPr>
          <a:xfrm>
            <a:off x="4346860" y="3049637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" name="Straight Connector 153">
            <a:extLst>
              <a:ext uri="{FF2B5EF4-FFF2-40B4-BE49-F238E27FC236}">
                <a16:creationId xmlns:a16="http://schemas.microsoft.com/office/drawing/2014/main" id="{822382C5-7C77-D88A-CF9F-60CC101C1E00}"/>
              </a:ext>
            </a:extLst>
          </p:cNvPr>
          <p:cNvCxnSpPr/>
          <p:nvPr/>
        </p:nvCxnSpPr>
        <p:spPr>
          <a:xfrm>
            <a:off x="4343271" y="3049195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5" name="Straight Connector 154">
            <a:extLst>
              <a:ext uri="{FF2B5EF4-FFF2-40B4-BE49-F238E27FC236}">
                <a16:creationId xmlns:a16="http://schemas.microsoft.com/office/drawing/2014/main" id="{D498C0CA-E322-F92C-E775-5668BA469B59}"/>
              </a:ext>
            </a:extLst>
          </p:cNvPr>
          <p:cNvCxnSpPr/>
          <p:nvPr/>
        </p:nvCxnSpPr>
        <p:spPr>
          <a:xfrm>
            <a:off x="4338786" y="3049637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Straight Connector 155">
            <a:extLst>
              <a:ext uri="{FF2B5EF4-FFF2-40B4-BE49-F238E27FC236}">
                <a16:creationId xmlns:a16="http://schemas.microsoft.com/office/drawing/2014/main" id="{002594B5-CB8B-5110-B313-399E61E4F878}"/>
              </a:ext>
            </a:extLst>
          </p:cNvPr>
          <p:cNvCxnSpPr/>
          <p:nvPr/>
        </p:nvCxnSpPr>
        <p:spPr>
          <a:xfrm>
            <a:off x="4334300" y="3049637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Straight Connector 156">
            <a:extLst>
              <a:ext uri="{FF2B5EF4-FFF2-40B4-BE49-F238E27FC236}">
                <a16:creationId xmlns:a16="http://schemas.microsoft.com/office/drawing/2014/main" id="{1DE04A6A-EB81-04BF-CF5D-F0FC4B6E9678}"/>
              </a:ext>
            </a:extLst>
          </p:cNvPr>
          <p:cNvCxnSpPr/>
          <p:nvPr/>
        </p:nvCxnSpPr>
        <p:spPr>
          <a:xfrm>
            <a:off x="4329815" y="3049637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Straight Connector 157">
            <a:extLst>
              <a:ext uri="{FF2B5EF4-FFF2-40B4-BE49-F238E27FC236}">
                <a16:creationId xmlns:a16="http://schemas.microsoft.com/office/drawing/2014/main" id="{3135C93A-BF08-1EB4-99FC-911D8CEDD5A1}"/>
              </a:ext>
            </a:extLst>
          </p:cNvPr>
          <p:cNvCxnSpPr/>
          <p:nvPr/>
        </p:nvCxnSpPr>
        <p:spPr>
          <a:xfrm>
            <a:off x="4326227" y="3049637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9" name="Straight Connector 158">
            <a:extLst>
              <a:ext uri="{FF2B5EF4-FFF2-40B4-BE49-F238E27FC236}">
                <a16:creationId xmlns:a16="http://schemas.microsoft.com/office/drawing/2014/main" id="{E0ABF74D-1D5B-27B2-24D4-9EF903783A45}"/>
              </a:ext>
            </a:extLst>
          </p:cNvPr>
          <p:cNvCxnSpPr/>
          <p:nvPr/>
        </p:nvCxnSpPr>
        <p:spPr>
          <a:xfrm>
            <a:off x="4321741" y="3049637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Straight Connector 159">
            <a:extLst>
              <a:ext uri="{FF2B5EF4-FFF2-40B4-BE49-F238E27FC236}">
                <a16:creationId xmlns:a16="http://schemas.microsoft.com/office/drawing/2014/main" id="{BBF27E9E-D81D-4BDC-DAAD-F9618FF03FFB}"/>
              </a:ext>
            </a:extLst>
          </p:cNvPr>
          <p:cNvCxnSpPr/>
          <p:nvPr/>
        </p:nvCxnSpPr>
        <p:spPr>
          <a:xfrm>
            <a:off x="4267916" y="3032241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1" name="Straight Connector 160">
            <a:extLst>
              <a:ext uri="{FF2B5EF4-FFF2-40B4-BE49-F238E27FC236}">
                <a16:creationId xmlns:a16="http://schemas.microsoft.com/office/drawing/2014/main" id="{DF803B8C-C3FB-D952-5A19-E35A1BA603D2}"/>
              </a:ext>
            </a:extLst>
          </p:cNvPr>
          <p:cNvCxnSpPr/>
          <p:nvPr/>
        </p:nvCxnSpPr>
        <p:spPr>
          <a:xfrm>
            <a:off x="4265225" y="3032241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2" name="Straight Connector 161">
            <a:extLst>
              <a:ext uri="{FF2B5EF4-FFF2-40B4-BE49-F238E27FC236}">
                <a16:creationId xmlns:a16="http://schemas.microsoft.com/office/drawing/2014/main" id="{03D3A6EC-CCA8-92C5-1EB6-D2B6EC803262}"/>
              </a:ext>
            </a:extLst>
          </p:cNvPr>
          <p:cNvCxnSpPr/>
          <p:nvPr/>
        </p:nvCxnSpPr>
        <p:spPr>
          <a:xfrm>
            <a:off x="4261636" y="3032241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3" name="Straight Connector 162">
            <a:extLst>
              <a:ext uri="{FF2B5EF4-FFF2-40B4-BE49-F238E27FC236}">
                <a16:creationId xmlns:a16="http://schemas.microsoft.com/office/drawing/2014/main" id="{D4CA37E3-75FC-8E99-B2C9-6669F1AAA958}"/>
              </a:ext>
            </a:extLst>
          </p:cNvPr>
          <p:cNvCxnSpPr/>
          <p:nvPr/>
        </p:nvCxnSpPr>
        <p:spPr>
          <a:xfrm>
            <a:off x="4258945" y="3032241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4" name="Straight Connector 163">
            <a:extLst>
              <a:ext uri="{FF2B5EF4-FFF2-40B4-BE49-F238E27FC236}">
                <a16:creationId xmlns:a16="http://schemas.microsoft.com/office/drawing/2014/main" id="{F0E08C3F-800E-D8A1-D8DE-98D8D9DE6108}"/>
              </a:ext>
            </a:extLst>
          </p:cNvPr>
          <p:cNvCxnSpPr/>
          <p:nvPr/>
        </p:nvCxnSpPr>
        <p:spPr>
          <a:xfrm>
            <a:off x="4254460" y="3032241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5" name="Straight Connector 164">
            <a:extLst>
              <a:ext uri="{FF2B5EF4-FFF2-40B4-BE49-F238E27FC236}">
                <a16:creationId xmlns:a16="http://schemas.microsoft.com/office/drawing/2014/main" id="{E0528B5D-88E7-FFA1-DB64-20F9F422401F}"/>
              </a:ext>
            </a:extLst>
          </p:cNvPr>
          <p:cNvCxnSpPr/>
          <p:nvPr/>
        </p:nvCxnSpPr>
        <p:spPr>
          <a:xfrm>
            <a:off x="4250871" y="3027681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6" name="Straight Connector 165">
            <a:extLst>
              <a:ext uri="{FF2B5EF4-FFF2-40B4-BE49-F238E27FC236}">
                <a16:creationId xmlns:a16="http://schemas.microsoft.com/office/drawing/2014/main" id="{67E8A7D4-E4E5-2E1C-844B-9163097E6AE5}"/>
              </a:ext>
            </a:extLst>
          </p:cNvPr>
          <p:cNvCxnSpPr/>
          <p:nvPr/>
        </p:nvCxnSpPr>
        <p:spPr>
          <a:xfrm>
            <a:off x="4247283" y="3026309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7" name="Straight Connector 166">
            <a:extLst>
              <a:ext uri="{FF2B5EF4-FFF2-40B4-BE49-F238E27FC236}">
                <a16:creationId xmlns:a16="http://schemas.microsoft.com/office/drawing/2014/main" id="{1AFB5221-AE88-EB2B-BB74-AF699B1B0DD7}"/>
              </a:ext>
            </a:extLst>
          </p:cNvPr>
          <p:cNvCxnSpPr/>
          <p:nvPr/>
        </p:nvCxnSpPr>
        <p:spPr>
          <a:xfrm>
            <a:off x="4243694" y="3018518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8" name="Straight Connector 167">
            <a:extLst>
              <a:ext uri="{FF2B5EF4-FFF2-40B4-BE49-F238E27FC236}">
                <a16:creationId xmlns:a16="http://schemas.microsoft.com/office/drawing/2014/main" id="{C610EBE1-E330-D203-54DC-4AA804F9F1B1}"/>
              </a:ext>
            </a:extLst>
          </p:cNvPr>
          <p:cNvCxnSpPr/>
          <p:nvPr/>
        </p:nvCxnSpPr>
        <p:spPr>
          <a:xfrm>
            <a:off x="4239209" y="3018518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9" name="Straight Connector 168">
            <a:extLst>
              <a:ext uri="{FF2B5EF4-FFF2-40B4-BE49-F238E27FC236}">
                <a16:creationId xmlns:a16="http://schemas.microsoft.com/office/drawing/2014/main" id="{F2E6765F-5452-AB64-5170-39A92800E2E4}"/>
              </a:ext>
            </a:extLst>
          </p:cNvPr>
          <p:cNvCxnSpPr/>
          <p:nvPr/>
        </p:nvCxnSpPr>
        <p:spPr>
          <a:xfrm>
            <a:off x="4236517" y="3018518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0" name="Straight Connector 169">
            <a:extLst>
              <a:ext uri="{FF2B5EF4-FFF2-40B4-BE49-F238E27FC236}">
                <a16:creationId xmlns:a16="http://schemas.microsoft.com/office/drawing/2014/main" id="{E04B4C04-4527-CEED-02D3-33F4FC98BBC3}"/>
              </a:ext>
            </a:extLst>
          </p:cNvPr>
          <p:cNvCxnSpPr/>
          <p:nvPr/>
        </p:nvCxnSpPr>
        <p:spPr>
          <a:xfrm>
            <a:off x="4232032" y="3019448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Straight Connector 170">
            <a:extLst>
              <a:ext uri="{FF2B5EF4-FFF2-40B4-BE49-F238E27FC236}">
                <a16:creationId xmlns:a16="http://schemas.microsoft.com/office/drawing/2014/main" id="{AB1DB3EC-19E6-E439-26A2-C6807AD44607}"/>
              </a:ext>
            </a:extLst>
          </p:cNvPr>
          <p:cNvCxnSpPr/>
          <p:nvPr/>
        </p:nvCxnSpPr>
        <p:spPr>
          <a:xfrm>
            <a:off x="4223958" y="3007540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2" name="Straight Connector 171">
            <a:extLst>
              <a:ext uri="{FF2B5EF4-FFF2-40B4-BE49-F238E27FC236}">
                <a16:creationId xmlns:a16="http://schemas.microsoft.com/office/drawing/2014/main" id="{F01955D8-6ADE-872F-FAEB-A3F4D4C5D829}"/>
              </a:ext>
            </a:extLst>
          </p:cNvPr>
          <p:cNvCxnSpPr/>
          <p:nvPr/>
        </p:nvCxnSpPr>
        <p:spPr>
          <a:xfrm>
            <a:off x="4219473" y="3007541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3" name="Straight Connector 172">
            <a:extLst>
              <a:ext uri="{FF2B5EF4-FFF2-40B4-BE49-F238E27FC236}">
                <a16:creationId xmlns:a16="http://schemas.microsoft.com/office/drawing/2014/main" id="{62FF182A-5650-CDCD-BAFE-E9DDCB9B2DB5}"/>
              </a:ext>
            </a:extLst>
          </p:cNvPr>
          <p:cNvCxnSpPr/>
          <p:nvPr/>
        </p:nvCxnSpPr>
        <p:spPr>
          <a:xfrm>
            <a:off x="4203325" y="2995190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4" name="Straight Connector 173">
            <a:extLst>
              <a:ext uri="{FF2B5EF4-FFF2-40B4-BE49-F238E27FC236}">
                <a16:creationId xmlns:a16="http://schemas.microsoft.com/office/drawing/2014/main" id="{9A74AE7C-736E-B0C3-9C29-5BFDAE43B946}"/>
              </a:ext>
            </a:extLst>
          </p:cNvPr>
          <p:cNvCxnSpPr/>
          <p:nvPr/>
        </p:nvCxnSpPr>
        <p:spPr>
          <a:xfrm>
            <a:off x="4199736" y="2995190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5" name="Straight Connector 174">
            <a:extLst>
              <a:ext uri="{FF2B5EF4-FFF2-40B4-BE49-F238E27FC236}">
                <a16:creationId xmlns:a16="http://schemas.microsoft.com/office/drawing/2014/main" id="{7DAB9209-D63C-4508-DF31-BCBE500CEC55}"/>
              </a:ext>
            </a:extLst>
          </p:cNvPr>
          <p:cNvCxnSpPr/>
          <p:nvPr/>
        </p:nvCxnSpPr>
        <p:spPr>
          <a:xfrm>
            <a:off x="4196148" y="2995190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6" name="Straight Connector 175">
            <a:extLst>
              <a:ext uri="{FF2B5EF4-FFF2-40B4-BE49-F238E27FC236}">
                <a16:creationId xmlns:a16="http://schemas.microsoft.com/office/drawing/2014/main" id="{BA597D72-A07D-8F58-BDCA-EC6B8B1769DA}"/>
              </a:ext>
            </a:extLst>
          </p:cNvPr>
          <p:cNvCxnSpPr/>
          <p:nvPr/>
        </p:nvCxnSpPr>
        <p:spPr>
          <a:xfrm>
            <a:off x="4192560" y="2995190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Straight Connector 176">
            <a:extLst>
              <a:ext uri="{FF2B5EF4-FFF2-40B4-BE49-F238E27FC236}">
                <a16:creationId xmlns:a16="http://schemas.microsoft.com/office/drawing/2014/main" id="{DDDD56E6-F939-4D85-021D-3FD6200884C9}"/>
              </a:ext>
            </a:extLst>
          </p:cNvPr>
          <p:cNvCxnSpPr/>
          <p:nvPr/>
        </p:nvCxnSpPr>
        <p:spPr>
          <a:xfrm>
            <a:off x="4188074" y="2995190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Straight Connector 177">
            <a:extLst>
              <a:ext uri="{FF2B5EF4-FFF2-40B4-BE49-F238E27FC236}">
                <a16:creationId xmlns:a16="http://schemas.microsoft.com/office/drawing/2014/main" id="{EBF3B5AD-838E-3D9D-925C-D52A58F08C42}"/>
              </a:ext>
            </a:extLst>
          </p:cNvPr>
          <p:cNvCxnSpPr/>
          <p:nvPr/>
        </p:nvCxnSpPr>
        <p:spPr>
          <a:xfrm>
            <a:off x="4184486" y="2995190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9" name="Straight Connector 178">
            <a:extLst>
              <a:ext uri="{FF2B5EF4-FFF2-40B4-BE49-F238E27FC236}">
                <a16:creationId xmlns:a16="http://schemas.microsoft.com/office/drawing/2014/main" id="{FF69D05D-14DF-3513-6496-470C3088886E}"/>
              </a:ext>
            </a:extLst>
          </p:cNvPr>
          <p:cNvCxnSpPr/>
          <p:nvPr/>
        </p:nvCxnSpPr>
        <p:spPr>
          <a:xfrm>
            <a:off x="4181795" y="2995190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0" name="Straight Connector 179">
            <a:extLst>
              <a:ext uri="{FF2B5EF4-FFF2-40B4-BE49-F238E27FC236}">
                <a16:creationId xmlns:a16="http://schemas.microsoft.com/office/drawing/2014/main" id="{69154D01-7ADC-DB8A-BCC2-6FACF7ACE91A}"/>
              </a:ext>
            </a:extLst>
          </p:cNvPr>
          <p:cNvCxnSpPr/>
          <p:nvPr/>
        </p:nvCxnSpPr>
        <p:spPr>
          <a:xfrm>
            <a:off x="4178207" y="2995190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1" name="Straight Connector 180">
            <a:extLst>
              <a:ext uri="{FF2B5EF4-FFF2-40B4-BE49-F238E27FC236}">
                <a16:creationId xmlns:a16="http://schemas.microsoft.com/office/drawing/2014/main" id="{41496614-B753-42C9-D8CD-B7CEECF1AB5C}"/>
              </a:ext>
            </a:extLst>
          </p:cNvPr>
          <p:cNvCxnSpPr/>
          <p:nvPr/>
        </p:nvCxnSpPr>
        <p:spPr>
          <a:xfrm>
            <a:off x="4174618" y="2995190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2" name="Straight Connector 181">
            <a:extLst>
              <a:ext uri="{FF2B5EF4-FFF2-40B4-BE49-F238E27FC236}">
                <a16:creationId xmlns:a16="http://schemas.microsoft.com/office/drawing/2014/main" id="{12BA28D5-917F-8450-29C2-14D531B8C2BE}"/>
              </a:ext>
            </a:extLst>
          </p:cNvPr>
          <p:cNvCxnSpPr/>
          <p:nvPr/>
        </p:nvCxnSpPr>
        <p:spPr>
          <a:xfrm>
            <a:off x="4171927" y="2995190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3" name="Straight Connector 182">
            <a:extLst>
              <a:ext uri="{FF2B5EF4-FFF2-40B4-BE49-F238E27FC236}">
                <a16:creationId xmlns:a16="http://schemas.microsoft.com/office/drawing/2014/main" id="{44B2203A-1A4D-7FF8-A45D-F7C5992D7522}"/>
              </a:ext>
            </a:extLst>
          </p:cNvPr>
          <p:cNvCxnSpPr/>
          <p:nvPr/>
        </p:nvCxnSpPr>
        <p:spPr>
          <a:xfrm>
            <a:off x="4167442" y="2995190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4" name="Straight Connector 183">
            <a:extLst>
              <a:ext uri="{FF2B5EF4-FFF2-40B4-BE49-F238E27FC236}">
                <a16:creationId xmlns:a16="http://schemas.microsoft.com/office/drawing/2014/main" id="{A7ECDA3A-FC22-12F0-821B-BCC30E328E06}"/>
              </a:ext>
            </a:extLst>
          </p:cNvPr>
          <p:cNvCxnSpPr/>
          <p:nvPr/>
        </p:nvCxnSpPr>
        <p:spPr>
          <a:xfrm>
            <a:off x="4162956" y="2995190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5" name="Straight Connector 184">
            <a:extLst>
              <a:ext uri="{FF2B5EF4-FFF2-40B4-BE49-F238E27FC236}">
                <a16:creationId xmlns:a16="http://schemas.microsoft.com/office/drawing/2014/main" id="{8E045E02-56CF-588C-F6B2-84A97E5C14E1}"/>
              </a:ext>
            </a:extLst>
          </p:cNvPr>
          <p:cNvCxnSpPr/>
          <p:nvPr/>
        </p:nvCxnSpPr>
        <p:spPr>
          <a:xfrm>
            <a:off x="4160265" y="2995190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Straight Connector 185">
            <a:extLst>
              <a:ext uri="{FF2B5EF4-FFF2-40B4-BE49-F238E27FC236}">
                <a16:creationId xmlns:a16="http://schemas.microsoft.com/office/drawing/2014/main" id="{7F52718C-10A3-346E-19B1-CFA11E41718B}"/>
              </a:ext>
            </a:extLst>
          </p:cNvPr>
          <p:cNvCxnSpPr/>
          <p:nvPr/>
        </p:nvCxnSpPr>
        <p:spPr>
          <a:xfrm>
            <a:off x="4155779" y="2995190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7" name="Straight Connector 186">
            <a:extLst>
              <a:ext uri="{FF2B5EF4-FFF2-40B4-BE49-F238E27FC236}">
                <a16:creationId xmlns:a16="http://schemas.microsoft.com/office/drawing/2014/main" id="{676CD8E1-14CE-9DBE-70B7-5F52228F1034}"/>
              </a:ext>
            </a:extLst>
          </p:cNvPr>
          <p:cNvCxnSpPr/>
          <p:nvPr/>
        </p:nvCxnSpPr>
        <p:spPr>
          <a:xfrm>
            <a:off x="4153088" y="2995190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8" name="Straight Connector 187">
            <a:extLst>
              <a:ext uri="{FF2B5EF4-FFF2-40B4-BE49-F238E27FC236}">
                <a16:creationId xmlns:a16="http://schemas.microsoft.com/office/drawing/2014/main" id="{1B5AE9A1-721C-BD17-5748-4699FAC82B59}"/>
              </a:ext>
            </a:extLst>
          </p:cNvPr>
          <p:cNvCxnSpPr/>
          <p:nvPr/>
        </p:nvCxnSpPr>
        <p:spPr>
          <a:xfrm>
            <a:off x="4151294" y="2995190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9" name="Straight Connector 188">
            <a:extLst>
              <a:ext uri="{FF2B5EF4-FFF2-40B4-BE49-F238E27FC236}">
                <a16:creationId xmlns:a16="http://schemas.microsoft.com/office/drawing/2014/main" id="{51DAABA3-0173-EC63-3E5F-4F796E71D867}"/>
              </a:ext>
            </a:extLst>
          </p:cNvPr>
          <p:cNvCxnSpPr/>
          <p:nvPr/>
        </p:nvCxnSpPr>
        <p:spPr>
          <a:xfrm>
            <a:off x="4147706" y="2995190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0" name="Straight Connector 189">
            <a:extLst>
              <a:ext uri="{FF2B5EF4-FFF2-40B4-BE49-F238E27FC236}">
                <a16:creationId xmlns:a16="http://schemas.microsoft.com/office/drawing/2014/main" id="{03E32CC0-3335-5C5C-AF08-64079C52CE73}"/>
              </a:ext>
            </a:extLst>
          </p:cNvPr>
          <p:cNvCxnSpPr/>
          <p:nvPr/>
        </p:nvCxnSpPr>
        <p:spPr>
          <a:xfrm>
            <a:off x="4144117" y="2995190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1" name="Straight Connector 190">
            <a:extLst>
              <a:ext uri="{FF2B5EF4-FFF2-40B4-BE49-F238E27FC236}">
                <a16:creationId xmlns:a16="http://schemas.microsoft.com/office/drawing/2014/main" id="{8F064249-176B-908D-9F04-39C6AC3CFD9E}"/>
              </a:ext>
            </a:extLst>
          </p:cNvPr>
          <p:cNvCxnSpPr/>
          <p:nvPr/>
        </p:nvCxnSpPr>
        <p:spPr>
          <a:xfrm>
            <a:off x="4140529" y="2995190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Straight Connector 191">
            <a:extLst>
              <a:ext uri="{FF2B5EF4-FFF2-40B4-BE49-F238E27FC236}">
                <a16:creationId xmlns:a16="http://schemas.microsoft.com/office/drawing/2014/main" id="{2AD40728-DD49-67EB-2C2D-8EE542BF4971}"/>
              </a:ext>
            </a:extLst>
          </p:cNvPr>
          <p:cNvCxnSpPr/>
          <p:nvPr/>
        </p:nvCxnSpPr>
        <p:spPr>
          <a:xfrm>
            <a:off x="4136941" y="2995190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Straight Connector 192">
            <a:extLst>
              <a:ext uri="{FF2B5EF4-FFF2-40B4-BE49-F238E27FC236}">
                <a16:creationId xmlns:a16="http://schemas.microsoft.com/office/drawing/2014/main" id="{41D5F2B9-86DC-8B49-A771-AB22CE491D37}"/>
              </a:ext>
            </a:extLst>
          </p:cNvPr>
          <p:cNvCxnSpPr/>
          <p:nvPr/>
        </p:nvCxnSpPr>
        <p:spPr>
          <a:xfrm>
            <a:off x="4132455" y="2995190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4" name="Straight Connector 193">
            <a:extLst>
              <a:ext uri="{FF2B5EF4-FFF2-40B4-BE49-F238E27FC236}">
                <a16:creationId xmlns:a16="http://schemas.microsoft.com/office/drawing/2014/main" id="{712D81FB-2C0E-96D8-1A86-C275682B786D}"/>
              </a:ext>
            </a:extLst>
          </p:cNvPr>
          <p:cNvCxnSpPr/>
          <p:nvPr/>
        </p:nvCxnSpPr>
        <p:spPr>
          <a:xfrm>
            <a:off x="4128867" y="2995190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5" name="Straight Connector 194">
            <a:extLst>
              <a:ext uri="{FF2B5EF4-FFF2-40B4-BE49-F238E27FC236}">
                <a16:creationId xmlns:a16="http://schemas.microsoft.com/office/drawing/2014/main" id="{A65E97F5-49A4-1B5D-7268-B4CA87E2E672}"/>
              </a:ext>
            </a:extLst>
          </p:cNvPr>
          <p:cNvCxnSpPr/>
          <p:nvPr/>
        </p:nvCxnSpPr>
        <p:spPr>
          <a:xfrm>
            <a:off x="4125279" y="2984212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6" name="Straight Connector 195">
            <a:extLst>
              <a:ext uri="{FF2B5EF4-FFF2-40B4-BE49-F238E27FC236}">
                <a16:creationId xmlns:a16="http://schemas.microsoft.com/office/drawing/2014/main" id="{C19C686A-5485-F475-F646-6D9DF2C3ED6B}"/>
              </a:ext>
            </a:extLst>
          </p:cNvPr>
          <p:cNvCxnSpPr/>
          <p:nvPr/>
        </p:nvCxnSpPr>
        <p:spPr>
          <a:xfrm>
            <a:off x="4121690" y="2984213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7" name="Straight Connector 196">
            <a:extLst>
              <a:ext uri="{FF2B5EF4-FFF2-40B4-BE49-F238E27FC236}">
                <a16:creationId xmlns:a16="http://schemas.microsoft.com/office/drawing/2014/main" id="{7B0D8D59-11FD-ADA7-85F8-A5615F840354}"/>
              </a:ext>
            </a:extLst>
          </p:cNvPr>
          <p:cNvCxnSpPr/>
          <p:nvPr/>
        </p:nvCxnSpPr>
        <p:spPr>
          <a:xfrm>
            <a:off x="4118999" y="2984212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8" name="Straight Connector 197">
            <a:extLst>
              <a:ext uri="{FF2B5EF4-FFF2-40B4-BE49-F238E27FC236}">
                <a16:creationId xmlns:a16="http://schemas.microsoft.com/office/drawing/2014/main" id="{5AA1CAA9-D2A9-977A-C882-311D35BD6DE8}"/>
              </a:ext>
            </a:extLst>
          </p:cNvPr>
          <p:cNvCxnSpPr/>
          <p:nvPr/>
        </p:nvCxnSpPr>
        <p:spPr>
          <a:xfrm>
            <a:off x="4114514" y="2984212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9" name="Straight Connector 198">
            <a:extLst>
              <a:ext uri="{FF2B5EF4-FFF2-40B4-BE49-F238E27FC236}">
                <a16:creationId xmlns:a16="http://schemas.microsoft.com/office/drawing/2014/main" id="{18B68455-6F9C-CAAB-E644-25227A7BD1E4}"/>
              </a:ext>
            </a:extLst>
          </p:cNvPr>
          <p:cNvCxnSpPr/>
          <p:nvPr/>
        </p:nvCxnSpPr>
        <p:spPr>
          <a:xfrm>
            <a:off x="4110925" y="2984212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0" name="Straight Connector 199">
            <a:extLst>
              <a:ext uri="{FF2B5EF4-FFF2-40B4-BE49-F238E27FC236}">
                <a16:creationId xmlns:a16="http://schemas.microsoft.com/office/drawing/2014/main" id="{67059108-6DBA-80B4-9FA4-F4C3064841B4}"/>
              </a:ext>
            </a:extLst>
          </p:cNvPr>
          <p:cNvCxnSpPr/>
          <p:nvPr/>
        </p:nvCxnSpPr>
        <p:spPr>
          <a:xfrm>
            <a:off x="4107337" y="2984212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1" name="Straight Connector 200">
            <a:extLst>
              <a:ext uri="{FF2B5EF4-FFF2-40B4-BE49-F238E27FC236}">
                <a16:creationId xmlns:a16="http://schemas.microsoft.com/office/drawing/2014/main" id="{0EA5D799-F77C-850E-32EC-FC9698BD6AB3}"/>
              </a:ext>
            </a:extLst>
          </p:cNvPr>
          <p:cNvCxnSpPr/>
          <p:nvPr/>
        </p:nvCxnSpPr>
        <p:spPr>
          <a:xfrm>
            <a:off x="4103749" y="2984211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2" name="Straight Connector 201">
            <a:extLst>
              <a:ext uri="{FF2B5EF4-FFF2-40B4-BE49-F238E27FC236}">
                <a16:creationId xmlns:a16="http://schemas.microsoft.com/office/drawing/2014/main" id="{4FAC409A-D60E-B765-0885-2040503EF401}"/>
              </a:ext>
            </a:extLst>
          </p:cNvPr>
          <p:cNvCxnSpPr/>
          <p:nvPr/>
        </p:nvCxnSpPr>
        <p:spPr>
          <a:xfrm>
            <a:off x="4099263" y="2984212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3" name="Straight Connector 202">
            <a:extLst>
              <a:ext uri="{FF2B5EF4-FFF2-40B4-BE49-F238E27FC236}">
                <a16:creationId xmlns:a16="http://schemas.microsoft.com/office/drawing/2014/main" id="{B4787C06-3563-3331-FB21-CCD8BE8AD909}"/>
              </a:ext>
            </a:extLst>
          </p:cNvPr>
          <p:cNvCxnSpPr/>
          <p:nvPr/>
        </p:nvCxnSpPr>
        <p:spPr>
          <a:xfrm>
            <a:off x="4094778" y="2984211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4" name="Straight Connector 203">
            <a:extLst>
              <a:ext uri="{FF2B5EF4-FFF2-40B4-BE49-F238E27FC236}">
                <a16:creationId xmlns:a16="http://schemas.microsoft.com/office/drawing/2014/main" id="{4D15BD1B-C496-1FB4-E504-CBA797043FFD}"/>
              </a:ext>
            </a:extLst>
          </p:cNvPr>
          <p:cNvCxnSpPr/>
          <p:nvPr/>
        </p:nvCxnSpPr>
        <p:spPr>
          <a:xfrm>
            <a:off x="4091190" y="2984212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5" name="Straight Connector 204">
            <a:extLst>
              <a:ext uri="{FF2B5EF4-FFF2-40B4-BE49-F238E27FC236}">
                <a16:creationId xmlns:a16="http://schemas.microsoft.com/office/drawing/2014/main" id="{E6479F05-23D3-A64F-5C7E-A0E75611DD1D}"/>
              </a:ext>
            </a:extLst>
          </p:cNvPr>
          <p:cNvCxnSpPr/>
          <p:nvPr/>
        </p:nvCxnSpPr>
        <p:spPr>
          <a:xfrm>
            <a:off x="4087601" y="2973233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" name="Straight Connector 205">
            <a:extLst>
              <a:ext uri="{FF2B5EF4-FFF2-40B4-BE49-F238E27FC236}">
                <a16:creationId xmlns:a16="http://schemas.microsoft.com/office/drawing/2014/main" id="{DBAFCFEA-24B4-CF59-F961-1EF2EE0AA5ED}"/>
              </a:ext>
            </a:extLst>
          </p:cNvPr>
          <p:cNvCxnSpPr/>
          <p:nvPr/>
        </p:nvCxnSpPr>
        <p:spPr>
          <a:xfrm>
            <a:off x="4084910" y="2973233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7" name="Straight Connector 206">
            <a:extLst>
              <a:ext uri="{FF2B5EF4-FFF2-40B4-BE49-F238E27FC236}">
                <a16:creationId xmlns:a16="http://schemas.microsoft.com/office/drawing/2014/main" id="{8466E23F-9F90-A585-16C6-9C0ECFBA05EF}"/>
              </a:ext>
            </a:extLst>
          </p:cNvPr>
          <p:cNvCxnSpPr/>
          <p:nvPr/>
        </p:nvCxnSpPr>
        <p:spPr>
          <a:xfrm>
            <a:off x="4080425" y="2973233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8" name="Straight Connector 207">
            <a:extLst>
              <a:ext uri="{FF2B5EF4-FFF2-40B4-BE49-F238E27FC236}">
                <a16:creationId xmlns:a16="http://schemas.microsoft.com/office/drawing/2014/main" id="{E78C7890-E0D1-3248-F47A-65EF0649D0D6}"/>
              </a:ext>
            </a:extLst>
          </p:cNvPr>
          <p:cNvCxnSpPr/>
          <p:nvPr/>
        </p:nvCxnSpPr>
        <p:spPr>
          <a:xfrm>
            <a:off x="4075939" y="2962255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9" name="Straight Connector 208">
            <a:extLst>
              <a:ext uri="{FF2B5EF4-FFF2-40B4-BE49-F238E27FC236}">
                <a16:creationId xmlns:a16="http://schemas.microsoft.com/office/drawing/2014/main" id="{BF2007D0-270E-294F-148C-97AA118AA1C6}"/>
              </a:ext>
            </a:extLst>
          </p:cNvPr>
          <p:cNvCxnSpPr/>
          <p:nvPr/>
        </p:nvCxnSpPr>
        <p:spPr>
          <a:xfrm>
            <a:off x="4072350" y="2958138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0" name="Straight Connector 209">
            <a:extLst>
              <a:ext uri="{FF2B5EF4-FFF2-40B4-BE49-F238E27FC236}">
                <a16:creationId xmlns:a16="http://schemas.microsoft.com/office/drawing/2014/main" id="{A0DEA0B0-38C7-5DD1-4B2F-1C921138440E}"/>
              </a:ext>
            </a:extLst>
          </p:cNvPr>
          <p:cNvCxnSpPr/>
          <p:nvPr/>
        </p:nvCxnSpPr>
        <p:spPr>
          <a:xfrm>
            <a:off x="4068762" y="2948533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1" name="Straight Connector 210">
            <a:extLst>
              <a:ext uri="{FF2B5EF4-FFF2-40B4-BE49-F238E27FC236}">
                <a16:creationId xmlns:a16="http://schemas.microsoft.com/office/drawing/2014/main" id="{A4DA6275-3FEA-7D51-744A-1968F4E66594}"/>
              </a:ext>
            </a:extLst>
          </p:cNvPr>
          <p:cNvCxnSpPr/>
          <p:nvPr/>
        </p:nvCxnSpPr>
        <p:spPr>
          <a:xfrm>
            <a:off x="4064277" y="2948532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2" name="Straight Connector 211">
            <a:extLst>
              <a:ext uri="{FF2B5EF4-FFF2-40B4-BE49-F238E27FC236}">
                <a16:creationId xmlns:a16="http://schemas.microsoft.com/office/drawing/2014/main" id="{3AE69A58-C7A8-243B-256D-EE27DA695FCC}"/>
              </a:ext>
            </a:extLst>
          </p:cNvPr>
          <p:cNvCxnSpPr/>
          <p:nvPr/>
        </p:nvCxnSpPr>
        <p:spPr>
          <a:xfrm>
            <a:off x="4061585" y="2948532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" name="Straight Connector 212">
            <a:extLst>
              <a:ext uri="{FF2B5EF4-FFF2-40B4-BE49-F238E27FC236}">
                <a16:creationId xmlns:a16="http://schemas.microsoft.com/office/drawing/2014/main" id="{CC425FFE-C7B1-089D-C669-207302B87DE2}"/>
              </a:ext>
            </a:extLst>
          </p:cNvPr>
          <p:cNvCxnSpPr/>
          <p:nvPr/>
        </p:nvCxnSpPr>
        <p:spPr>
          <a:xfrm>
            <a:off x="4057997" y="2948532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4" name="Straight Connector 213">
            <a:extLst>
              <a:ext uri="{FF2B5EF4-FFF2-40B4-BE49-F238E27FC236}">
                <a16:creationId xmlns:a16="http://schemas.microsoft.com/office/drawing/2014/main" id="{7505E4AB-E01B-5605-A27B-1C2331917531}"/>
              </a:ext>
            </a:extLst>
          </p:cNvPr>
          <p:cNvCxnSpPr/>
          <p:nvPr/>
        </p:nvCxnSpPr>
        <p:spPr>
          <a:xfrm>
            <a:off x="4054409" y="2948532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5" name="Straight Connector 214">
            <a:extLst>
              <a:ext uri="{FF2B5EF4-FFF2-40B4-BE49-F238E27FC236}">
                <a16:creationId xmlns:a16="http://schemas.microsoft.com/office/drawing/2014/main" id="{937415C6-E008-AFC7-B2D9-F5BCE72C0884}"/>
              </a:ext>
            </a:extLst>
          </p:cNvPr>
          <p:cNvCxnSpPr/>
          <p:nvPr/>
        </p:nvCxnSpPr>
        <p:spPr>
          <a:xfrm>
            <a:off x="4050820" y="2948532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Straight Connector 215">
            <a:extLst>
              <a:ext uri="{FF2B5EF4-FFF2-40B4-BE49-F238E27FC236}">
                <a16:creationId xmlns:a16="http://schemas.microsoft.com/office/drawing/2014/main" id="{5309CC1D-809D-69A4-39A5-B21C88576652}"/>
              </a:ext>
            </a:extLst>
          </p:cNvPr>
          <p:cNvCxnSpPr/>
          <p:nvPr/>
        </p:nvCxnSpPr>
        <p:spPr>
          <a:xfrm>
            <a:off x="4048129" y="2948532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Straight Connector 216">
            <a:extLst>
              <a:ext uri="{FF2B5EF4-FFF2-40B4-BE49-F238E27FC236}">
                <a16:creationId xmlns:a16="http://schemas.microsoft.com/office/drawing/2014/main" id="{4D88ACBC-8FD7-90D0-8235-5CBF99372277}"/>
              </a:ext>
            </a:extLst>
          </p:cNvPr>
          <p:cNvCxnSpPr/>
          <p:nvPr/>
        </p:nvCxnSpPr>
        <p:spPr>
          <a:xfrm>
            <a:off x="4044541" y="2948532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8" name="Straight Connector 217">
            <a:extLst>
              <a:ext uri="{FF2B5EF4-FFF2-40B4-BE49-F238E27FC236}">
                <a16:creationId xmlns:a16="http://schemas.microsoft.com/office/drawing/2014/main" id="{64FB1FF7-69F4-834B-507C-54879EF0410A}"/>
              </a:ext>
            </a:extLst>
          </p:cNvPr>
          <p:cNvCxnSpPr/>
          <p:nvPr/>
        </p:nvCxnSpPr>
        <p:spPr>
          <a:xfrm>
            <a:off x="4040055" y="2948532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9" name="Straight Connector 218">
            <a:extLst>
              <a:ext uri="{FF2B5EF4-FFF2-40B4-BE49-F238E27FC236}">
                <a16:creationId xmlns:a16="http://schemas.microsoft.com/office/drawing/2014/main" id="{DC93F526-1728-959E-BA83-56B4856D4456}"/>
              </a:ext>
            </a:extLst>
          </p:cNvPr>
          <p:cNvCxnSpPr/>
          <p:nvPr/>
        </p:nvCxnSpPr>
        <p:spPr>
          <a:xfrm>
            <a:off x="4035570" y="2948532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0" name="Straight Connector 219">
            <a:extLst>
              <a:ext uri="{FF2B5EF4-FFF2-40B4-BE49-F238E27FC236}">
                <a16:creationId xmlns:a16="http://schemas.microsoft.com/office/drawing/2014/main" id="{93CB2675-093A-E6BD-1B8E-CB2D9EF4030F}"/>
              </a:ext>
            </a:extLst>
          </p:cNvPr>
          <p:cNvCxnSpPr/>
          <p:nvPr/>
        </p:nvCxnSpPr>
        <p:spPr>
          <a:xfrm>
            <a:off x="4031084" y="2948532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1" name="Straight Connector 220">
            <a:extLst>
              <a:ext uri="{FF2B5EF4-FFF2-40B4-BE49-F238E27FC236}">
                <a16:creationId xmlns:a16="http://schemas.microsoft.com/office/drawing/2014/main" id="{31A85583-0224-4502-5545-89BCBE502619}"/>
              </a:ext>
            </a:extLst>
          </p:cNvPr>
          <p:cNvCxnSpPr/>
          <p:nvPr/>
        </p:nvCxnSpPr>
        <p:spPr>
          <a:xfrm>
            <a:off x="4026599" y="2948532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2" name="Straight Connector 221">
            <a:extLst>
              <a:ext uri="{FF2B5EF4-FFF2-40B4-BE49-F238E27FC236}">
                <a16:creationId xmlns:a16="http://schemas.microsoft.com/office/drawing/2014/main" id="{1D73CBA8-4420-746E-7B25-45DA81EBAA3B}"/>
              </a:ext>
            </a:extLst>
          </p:cNvPr>
          <p:cNvCxnSpPr/>
          <p:nvPr/>
        </p:nvCxnSpPr>
        <p:spPr>
          <a:xfrm>
            <a:off x="4021217" y="2948532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3" name="Straight Connector 222">
            <a:extLst>
              <a:ext uri="{FF2B5EF4-FFF2-40B4-BE49-F238E27FC236}">
                <a16:creationId xmlns:a16="http://schemas.microsoft.com/office/drawing/2014/main" id="{D5DA0270-B80E-4667-98E5-7D32B928BCAD}"/>
              </a:ext>
            </a:extLst>
          </p:cNvPr>
          <p:cNvCxnSpPr/>
          <p:nvPr/>
        </p:nvCxnSpPr>
        <p:spPr>
          <a:xfrm>
            <a:off x="4016731" y="2948532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4" name="Straight Connector 223">
            <a:extLst>
              <a:ext uri="{FF2B5EF4-FFF2-40B4-BE49-F238E27FC236}">
                <a16:creationId xmlns:a16="http://schemas.microsoft.com/office/drawing/2014/main" id="{C765A13B-94BD-03D0-68A7-E8990F33BC97}"/>
              </a:ext>
            </a:extLst>
          </p:cNvPr>
          <p:cNvCxnSpPr/>
          <p:nvPr/>
        </p:nvCxnSpPr>
        <p:spPr>
          <a:xfrm>
            <a:off x="4013143" y="2948532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5" name="Straight Connector 224">
            <a:extLst>
              <a:ext uri="{FF2B5EF4-FFF2-40B4-BE49-F238E27FC236}">
                <a16:creationId xmlns:a16="http://schemas.microsoft.com/office/drawing/2014/main" id="{EE2905C7-A49B-9F77-D2B7-387F2148FC4F}"/>
              </a:ext>
            </a:extLst>
          </p:cNvPr>
          <p:cNvCxnSpPr/>
          <p:nvPr/>
        </p:nvCxnSpPr>
        <p:spPr>
          <a:xfrm>
            <a:off x="4008657" y="2948532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6" name="Straight Connector 225">
            <a:extLst>
              <a:ext uri="{FF2B5EF4-FFF2-40B4-BE49-F238E27FC236}">
                <a16:creationId xmlns:a16="http://schemas.microsoft.com/office/drawing/2014/main" id="{EEC17338-A648-9AFF-549C-74FDDDEBC46A}"/>
              </a:ext>
            </a:extLst>
          </p:cNvPr>
          <p:cNvCxnSpPr/>
          <p:nvPr/>
        </p:nvCxnSpPr>
        <p:spPr>
          <a:xfrm>
            <a:off x="4005966" y="2948532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7" name="Straight Connector 226">
            <a:extLst>
              <a:ext uri="{FF2B5EF4-FFF2-40B4-BE49-F238E27FC236}">
                <a16:creationId xmlns:a16="http://schemas.microsoft.com/office/drawing/2014/main" id="{C133D36C-CECD-6E7B-F307-70706D99EEDD}"/>
              </a:ext>
            </a:extLst>
          </p:cNvPr>
          <p:cNvCxnSpPr/>
          <p:nvPr/>
        </p:nvCxnSpPr>
        <p:spPr>
          <a:xfrm>
            <a:off x="4001481" y="2948532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8" name="Straight Connector 227">
            <a:extLst>
              <a:ext uri="{FF2B5EF4-FFF2-40B4-BE49-F238E27FC236}">
                <a16:creationId xmlns:a16="http://schemas.microsoft.com/office/drawing/2014/main" id="{7E645514-85CF-0ADC-DC42-0B7F23C1EF58}"/>
              </a:ext>
            </a:extLst>
          </p:cNvPr>
          <p:cNvCxnSpPr/>
          <p:nvPr/>
        </p:nvCxnSpPr>
        <p:spPr>
          <a:xfrm>
            <a:off x="3996995" y="2948532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9" name="Straight Connector 228">
            <a:extLst>
              <a:ext uri="{FF2B5EF4-FFF2-40B4-BE49-F238E27FC236}">
                <a16:creationId xmlns:a16="http://schemas.microsoft.com/office/drawing/2014/main" id="{11E06F32-05B3-AE86-FD3F-9BDC22EED97B}"/>
              </a:ext>
            </a:extLst>
          </p:cNvPr>
          <p:cNvCxnSpPr/>
          <p:nvPr/>
        </p:nvCxnSpPr>
        <p:spPr>
          <a:xfrm>
            <a:off x="3992510" y="2948532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0" name="Straight Connector 229">
            <a:extLst>
              <a:ext uri="{FF2B5EF4-FFF2-40B4-BE49-F238E27FC236}">
                <a16:creationId xmlns:a16="http://schemas.microsoft.com/office/drawing/2014/main" id="{ACBFD30C-8A49-ECA2-BC00-1577183A08F9}"/>
              </a:ext>
            </a:extLst>
          </p:cNvPr>
          <p:cNvCxnSpPr/>
          <p:nvPr/>
        </p:nvCxnSpPr>
        <p:spPr>
          <a:xfrm>
            <a:off x="3988024" y="2948533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1" name="Straight Connector 230">
            <a:extLst>
              <a:ext uri="{FF2B5EF4-FFF2-40B4-BE49-F238E27FC236}">
                <a16:creationId xmlns:a16="http://schemas.microsoft.com/office/drawing/2014/main" id="{3F86AC0D-C28A-C126-5ACA-FC2975A0AB4B}"/>
              </a:ext>
            </a:extLst>
          </p:cNvPr>
          <p:cNvCxnSpPr/>
          <p:nvPr/>
        </p:nvCxnSpPr>
        <p:spPr>
          <a:xfrm>
            <a:off x="3984435" y="2948532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Straight Connector 231">
            <a:extLst>
              <a:ext uri="{FF2B5EF4-FFF2-40B4-BE49-F238E27FC236}">
                <a16:creationId xmlns:a16="http://schemas.microsoft.com/office/drawing/2014/main" id="{48AAAE0C-D03E-5C50-9873-1468A6A4596C}"/>
              </a:ext>
            </a:extLst>
          </p:cNvPr>
          <p:cNvCxnSpPr/>
          <p:nvPr/>
        </p:nvCxnSpPr>
        <p:spPr>
          <a:xfrm>
            <a:off x="3979951" y="2948533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Straight Connector 232">
            <a:extLst>
              <a:ext uri="{FF2B5EF4-FFF2-40B4-BE49-F238E27FC236}">
                <a16:creationId xmlns:a16="http://schemas.microsoft.com/office/drawing/2014/main" id="{B2C78C92-A413-9070-8DFB-4C85CBC530BC}"/>
              </a:ext>
            </a:extLst>
          </p:cNvPr>
          <p:cNvCxnSpPr/>
          <p:nvPr/>
        </p:nvCxnSpPr>
        <p:spPr>
          <a:xfrm>
            <a:off x="3849873" y="2937554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4" name="Straight Connector 233">
            <a:extLst>
              <a:ext uri="{FF2B5EF4-FFF2-40B4-BE49-F238E27FC236}">
                <a16:creationId xmlns:a16="http://schemas.microsoft.com/office/drawing/2014/main" id="{6BD8FFC4-DA5D-E36C-C13A-D89CC36A053E}"/>
              </a:ext>
            </a:extLst>
          </p:cNvPr>
          <p:cNvCxnSpPr/>
          <p:nvPr/>
        </p:nvCxnSpPr>
        <p:spPr>
          <a:xfrm>
            <a:off x="3855256" y="2937554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5" name="Straight Connector 234">
            <a:extLst>
              <a:ext uri="{FF2B5EF4-FFF2-40B4-BE49-F238E27FC236}">
                <a16:creationId xmlns:a16="http://schemas.microsoft.com/office/drawing/2014/main" id="{2FDBEE5C-F60F-FCC5-E1DE-02798D31FBAE}"/>
              </a:ext>
            </a:extLst>
          </p:cNvPr>
          <p:cNvCxnSpPr/>
          <p:nvPr/>
        </p:nvCxnSpPr>
        <p:spPr>
          <a:xfrm>
            <a:off x="3770929" y="2940298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6" name="Straight Connector 235">
            <a:extLst>
              <a:ext uri="{FF2B5EF4-FFF2-40B4-BE49-F238E27FC236}">
                <a16:creationId xmlns:a16="http://schemas.microsoft.com/office/drawing/2014/main" id="{3FD5291E-8212-EDE1-63BA-19EB90E2BB45}"/>
              </a:ext>
            </a:extLst>
          </p:cNvPr>
          <p:cNvCxnSpPr/>
          <p:nvPr/>
        </p:nvCxnSpPr>
        <p:spPr>
          <a:xfrm>
            <a:off x="3777209" y="2940298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7" name="Straight Connector 236">
            <a:extLst>
              <a:ext uri="{FF2B5EF4-FFF2-40B4-BE49-F238E27FC236}">
                <a16:creationId xmlns:a16="http://schemas.microsoft.com/office/drawing/2014/main" id="{A2CEFA74-8CAD-2894-51E6-A77AEDB2C9DF}"/>
              </a:ext>
            </a:extLst>
          </p:cNvPr>
          <p:cNvCxnSpPr/>
          <p:nvPr/>
        </p:nvCxnSpPr>
        <p:spPr>
          <a:xfrm>
            <a:off x="3786180" y="2940298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8" name="Straight Connector 237">
            <a:extLst>
              <a:ext uri="{FF2B5EF4-FFF2-40B4-BE49-F238E27FC236}">
                <a16:creationId xmlns:a16="http://schemas.microsoft.com/office/drawing/2014/main" id="{48ACD59D-231F-134D-9B80-6DAAFD10F86C}"/>
              </a:ext>
            </a:extLst>
          </p:cNvPr>
          <p:cNvCxnSpPr/>
          <p:nvPr/>
        </p:nvCxnSpPr>
        <p:spPr>
          <a:xfrm>
            <a:off x="3792459" y="2940298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9" name="Straight Connector 238">
            <a:extLst>
              <a:ext uri="{FF2B5EF4-FFF2-40B4-BE49-F238E27FC236}">
                <a16:creationId xmlns:a16="http://schemas.microsoft.com/office/drawing/2014/main" id="{741C056E-E3DA-FA93-C5DE-A79366215243}"/>
              </a:ext>
            </a:extLst>
          </p:cNvPr>
          <p:cNvCxnSpPr/>
          <p:nvPr/>
        </p:nvCxnSpPr>
        <p:spPr>
          <a:xfrm>
            <a:off x="3798739" y="2940299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0" name="Straight Connector 239">
            <a:extLst>
              <a:ext uri="{FF2B5EF4-FFF2-40B4-BE49-F238E27FC236}">
                <a16:creationId xmlns:a16="http://schemas.microsoft.com/office/drawing/2014/main" id="{4E1B1C9C-C85D-C002-62D8-B949A3EF533D}"/>
              </a:ext>
            </a:extLst>
          </p:cNvPr>
          <p:cNvCxnSpPr/>
          <p:nvPr/>
        </p:nvCxnSpPr>
        <p:spPr>
          <a:xfrm>
            <a:off x="3894727" y="2937554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1" name="Straight Connector 240">
            <a:extLst>
              <a:ext uri="{FF2B5EF4-FFF2-40B4-BE49-F238E27FC236}">
                <a16:creationId xmlns:a16="http://schemas.microsoft.com/office/drawing/2014/main" id="{7F3289EE-D78D-D5A1-B2D8-E4A362F1068A}"/>
              </a:ext>
            </a:extLst>
          </p:cNvPr>
          <p:cNvCxnSpPr/>
          <p:nvPr/>
        </p:nvCxnSpPr>
        <p:spPr>
          <a:xfrm>
            <a:off x="3901904" y="2937554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2" name="Straight Connector 241">
            <a:extLst>
              <a:ext uri="{FF2B5EF4-FFF2-40B4-BE49-F238E27FC236}">
                <a16:creationId xmlns:a16="http://schemas.microsoft.com/office/drawing/2014/main" id="{78DCD844-2A48-C70A-0C6E-BE094AE729F5}"/>
              </a:ext>
            </a:extLst>
          </p:cNvPr>
          <p:cNvCxnSpPr/>
          <p:nvPr/>
        </p:nvCxnSpPr>
        <p:spPr>
          <a:xfrm>
            <a:off x="3943170" y="2940298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3" name="Straight Connector 242">
            <a:extLst>
              <a:ext uri="{FF2B5EF4-FFF2-40B4-BE49-F238E27FC236}">
                <a16:creationId xmlns:a16="http://schemas.microsoft.com/office/drawing/2014/main" id="{ABBC9BAF-3EDF-F7BF-9366-6FA1E545649B}"/>
              </a:ext>
            </a:extLst>
          </p:cNvPr>
          <p:cNvCxnSpPr/>
          <p:nvPr/>
        </p:nvCxnSpPr>
        <p:spPr>
          <a:xfrm>
            <a:off x="3937788" y="2940298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4" name="Straight Connector 243">
            <a:extLst>
              <a:ext uri="{FF2B5EF4-FFF2-40B4-BE49-F238E27FC236}">
                <a16:creationId xmlns:a16="http://schemas.microsoft.com/office/drawing/2014/main" id="{92F29F32-B9FC-EEA6-BD2E-4F7367A4E35C}"/>
              </a:ext>
            </a:extLst>
          </p:cNvPr>
          <p:cNvCxnSpPr/>
          <p:nvPr/>
        </p:nvCxnSpPr>
        <p:spPr>
          <a:xfrm>
            <a:off x="3975465" y="2941671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5" name="Straight Connector 244">
            <a:extLst>
              <a:ext uri="{FF2B5EF4-FFF2-40B4-BE49-F238E27FC236}">
                <a16:creationId xmlns:a16="http://schemas.microsoft.com/office/drawing/2014/main" id="{546FF436-BB73-1CC3-2A46-3A6631BB7778}"/>
              </a:ext>
            </a:extLst>
          </p:cNvPr>
          <p:cNvCxnSpPr/>
          <p:nvPr/>
        </p:nvCxnSpPr>
        <p:spPr>
          <a:xfrm>
            <a:off x="3970979" y="2941671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6" name="Straight Connector 245">
            <a:extLst>
              <a:ext uri="{FF2B5EF4-FFF2-40B4-BE49-F238E27FC236}">
                <a16:creationId xmlns:a16="http://schemas.microsoft.com/office/drawing/2014/main" id="{9DFF2CCE-7D23-7AB1-DCCE-0DC89B7A02B1}"/>
              </a:ext>
            </a:extLst>
          </p:cNvPr>
          <p:cNvCxnSpPr/>
          <p:nvPr/>
        </p:nvCxnSpPr>
        <p:spPr>
          <a:xfrm>
            <a:off x="3966494" y="2941671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7" name="Straight Connector 246">
            <a:extLst>
              <a:ext uri="{FF2B5EF4-FFF2-40B4-BE49-F238E27FC236}">
                <a16:creationId xmlns:a16="http://schemas.microsoft.com/office/drawing/2014/main" id="{42ED2F95-6550-9161-011A-38206A4B0119}"/>
              </a:ext>
            </a:extLst>
          </p:cNvPr>
          <p:cNvCxnSpPr/>
          <p:nvPr/>
        </p:nvCxnSpPr>
        <p:spPr>
          <a:xfrm>
            <a:off x="3962009" y="2941670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8" name="Straight Connector 247">
            <a:extLst>
              <a:ext uri="{FF2B5EF4-FFF2-40B4-BE49-F238E27FC236}">
                <a16:creationId xmlns:a16="http://schemas.microsoft.com/office/drawing/2014/main" id="{A5C4DD19-BA62-BFC2-8221-5E175B9B40D9}"/>
              </a:ext>
            </a:extLst>
          </p:cNvPr>
          <p:cNvCxnSpPr/>
          <p:nvPr/>
        </p:nvCxnSpPr>
        <p:spPr>
          <a:xfrm>
            <a:off x="3957523" y="2941671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9" name="Straight Connector 248">
            <a:extLst>
              <a:ext uri="{FF2B5EF4-FFF2-40B4-BE49-F238E27FC236}">
                <a16:creationId xmlns:a16="http://schemas.microsoft.com/office/drawing/2014/main" id="{BDDE1D7B-1AB1-4BE4-3FA1-CEB7E0E45693}"/>
              </a:ext>
            </a:extLst>
          </p:cNvPr>
          <p:cNvCxnSpPr/>
          <p:nvPr/>
        </p:nvCxnSpPr>
        <p:spPr>
          <a:xfrm>
            <a:off x="3953038" y="2941671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0" name="Straight Connector 249">
            <a:extLst>
              <a:ext uri="{FF2B5EF4-FFF2-40B4-BE49-F238E27FC236}">
                <a16:creationId xmlns:a16="http://schemas.microsoft.com/office/drawing/2014/main" id="{6C37581F-0D74-7C1A-389E-A6BF7AB50103}"/>
              </a:ext>
            </a:extLst>
          </p:cNvPr>
          <p:cNvCxnSpPr/>
          <p:nvPr/>
        </p:nvCxnSpPr>
        <p:spPr>
          <a:xfrm>
            <a:off x="3931508" y="2940298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1" name="Straight Connector 250">
            <a:extLst>
              <a:ext uri="{FF2B5EF4-FFF2-40B4-BE49-F238E27FC236}">
                <a16:creationId xmlns:a16="http://schemas.microsoft.com/office/drawing/2014/main" id="{96287C0B-900E-3D7A-F48C-B9A914F98291}"/>
              </a:ext>
            </a:extLst>
          </p:cNvPr>
          <p:cNvCxnSpPr/>
          <p:nvPr/>
        </p:nvCxnSpPr>
        <p:spPr>
          <a:xfrm>
            <a:off x="3921640" y="2937554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2" name="Straight Connector 251">
            <a:extLst>
              <a:ext uri="{FF2B5EF4-FFF2-40B4-BE49-F238E27FC236}">
                <a16:creationId xmlns:a16="http://schemas.microsoft.com/office/drawing/2014/main" id="{C02EE214-66DB-D792-C355-96322396E8E7}"/>
              </a:ext>
            </a:extLst>
          </p:cNvPr>
          <p:cNvCxnSpPr/>
          <p:nvPr/>
        </p:nvCxnSpPr>
        <p:spPr>
          <a:xfrm>
            <a:off x="3917155" y="2937554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3" name="Straight Connector 252">
            <a:extLst>
              <a:ext uri="{FF2B5EF4-FFF2-40B4-BE49-F238E27FC236}">
                <a16:creationId xmlns:a16="http://schemas.microsoft.com/office/drawing/2014/main" id="{701DEFE8-CDE0-6B5F-C5AC-AF5992E7CA0D}"/>
              </a:ext>
            </a:extLst>
          </p:cNvPr>
          <p:cNvCxnSpPr/>
          <p:nvPr/>
        </p:nvCxnSpPr>
        <p:spPr>
          <a:xfrm>
            <a:off x="3914463" y="2937554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4" name="Straight Connector 253">
            <a:extLst>
              <a:ext uri="{FF2B5EF4-FFF2-40B4-BE49-F238E27FC236}">
                <a16:creationId xmlns:a16="http://schemas.microsoft.com/office/drawing/2014/main" id="{A257576B-9F3E-8929-6AEA-C196F64C814E}"/>
              </a:ext>
            </a:extLst>
          </p:cNvPr>
          <p:cNvCxnSpPr/>
          <p:nvPr/>
        </p:nvCxnSpPr>
        <p:spPr>
          <a:xfrm>
            <a:off x="3909978" y="2937554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5" name="Straight Connector 254">
            <a:extLst>
              <a:ext uri="{FF2B5EF4-FFF2-40B4-BE49-F238E27FC236}">
                <a16:creationId xmlns:a16="http://schemas.microsoft.com/office/drawing/2014/main" id="{5E4CC537-EB16-13CB-88B0-1F7C53B73F90}"/>
              </a:ext>
            </a:extLst>
          </p:cNvPr>
          <p:cNvCxnSpPr/>
          <p:nvPr/>
        </p:nvCxnSpPr>
        <p:spPr>
          <a:xfrm>
            <a:off x="3588821" y="2922459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6" name="Straight Connector 255">
            <a:extLst>
              <a:ext uri="{FF2B5EF4-FFF2-40B4-BE49-F238E27FC236}">
                <a16:creationId xmlns:a16="http://schemas.microsoft.com/office/drawing/2014/main" id="{ADBA93CB-E170-03D3-A3AD-D83B7AE58ABD}"/>
              </a:ext>
            </a:extLst>
          </p:cNvPr>
          <p:cNvCxnSpPr/>
          <p:nvPr/>
        </p:nvCxnSpPr>
        <p:spPr>
          <a:xfrm>
            <a:off x="3581644" y="2922459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7" name="Straight Connector 256">
            <a:extLst>
              <a:ext uri="{FF2B5EF4-FFF2-40B4-BE49-F238E27FC236}">
                <a16:creationId xmlns:a16="http://schemas.microsoft.com/office/drawing/2014/main" id="{02DAC021-1121-C047-DD71-09A72EF20F4C}"/>
              </a:ext>
            </a:extLst>
          </p:cNvPr>
          <p:cNvCxnSpPr/>
          <p:nvPr/>
        </p:nvCxnSpPr>
        <p:spPr>
          <a:xfrm>
            <a:off x="3546657" y="2923831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8" name="Straight Connector 257">
            <a:extLst>
              <a:ext uri="{FF2B5EF4-FFF2-40B4-BE49-F238E27FC236}">
                <a16:creationId xmlns:a16="http://schemas.microsoft.com/office/drawing/2014/main" id="{83789820-2BBE-8A9F-318C-D1BB14E311ED}"/>
              </a:ext>
            </a:extLst>
          </p:cNvPr>
          <p:cNvCxnSpPr/>
          <p:nvPr/>
        </p:nvCxnSpPr>
        <p:spPr>
          <a:xfrm>
            <a:off x="3540378" y="2923830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9" name="Straight Connector 258">
            <a:extLst>
              <a:ext uri="{FF2B5EF4-FFF2-40B4-BE49-F238E27FC236}">
                <a16:creationId xmlns:a16="http://schemas.microsoft.com/office/drawing/2014/main" id="{1B943076-F841-81E3-5838-41FC826EE45F}"/>
              </a:ext>
            </a:extLst>
          </p:cNvPr>
          <p:cNvCxnSpPr/>
          <p:nvPr/>
        </p:nvCxnSpPr>
        <p:spPr>
          <a:xfrm>
            <a:off x="3531407" y="2923830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0" name="Straight Connector 259">
            <a:extLst>
              <a:ext uri="{FF2B5EF4-FFF2-40B4-BE49-F238E27FC236}">
                <a16:creationId xmlns:a16="http://schemas.microsoft.com/office/drawing/2014/main" id="{193DB172-B6F0-0214-3AAE-DFCC494FC5E5}"/>
              </a:ext>
            </a:extLst>
          </p:cNvPr>
          <p:cNvCxnSpPr/>
          <p:nvPr/>
        </p:nvCxnSpPr>
        <p:spPr>
          <a:xfrm>
            <a:off x="3526922" y="2923830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1" name="Straight Connector 260">
            <a:extLst>
              <a:ext uri="{FF2B5EF4-FFF2-40B4-BE49-F238E27FC236}">
                <a16:creationId xmlns:a16="http://schemas.microsoft.com/office/drawing/2014/main" id="{A86308B4-8DE6-3B82-9229-738BE692BD1A}"/>
              </a:ext>
            </a:extLst>
          </p:cNvPr>
          <p:cNvCxnSpPr/>
          <p:nvPr/>
        </p:nvCxnSpPr>
        <p:spPr>
          <a:xfrm>
            <a:off x="3522436" y="2923830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2" name="Straight Connector 261">
            <a:extLst>
              <a:ext uri="{FF2B5EF4-FFF2-40B4-BE49-F238E27FC236}">
                <a16:creationId xmlns:a16="http://schemas.microsoft.com/office/drawing/2014/main" id="{2CA728B0-EE92-D80B-FF94-0E0D57F8147E}"/>
              </a:ext>
            </a:extLst>
          </p:cNvPr>
          <p:cNvCxnSpPr/>
          <p:nvPr/>
        </p:nvCxnSpPr>
        <p:spPr>
          <a:xfrm>
            <a:off x="3518848" y="2923830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3" name="Straight Connector 262">
            <a:extLst>
              <a:ext uri="{FF2B5EF4-FFF2-40B4-BE49-F238E27FC236}">
                <a16:creationId xmlns:a16="http://schemas.microsoft.com/office/drawing/2014/main" id="{45FF236E-4BEF-46FA-FF71-37E8B998939E}"/>
              </a:ext>
            </a:extLst>
          </p:cNvPr>
          <p:cNvCxnSpPr/>
          <p:nvPr/>
        </p:nvCxnSpPr>
        <p:spPr>
          <a:xfrm>
            <a:off x="3515260" y="2923830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4" name="Straight Connector 263">
            <a:extLst>
              <a:ext uri="{FF2B5EF4-FFF2-40B4-BE49-F238E27FC236}">
                <a16:creationId xmlns:a16="http://schemas.microsoft.com/office/drawing/2014/main" id="{60DF1D72-7814-9A12-335D-5C9F71EEF4AF}"/>
              </a:ext>
            </a:extLst>
          </p:cNvPr>
          <p:cNvCxnSpPr/>
          <p:nvPr/>
        </p:nvCxnSpPr>
        <p:spPr>
          <a:xfrm>
            <a:off x="3510774" y="2923830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5" name="Straight Connector 264">
            <a:extLst>
              <a:ext uri="{FF2B5EF4-FFF2-40B4-BE49-F238E27FC236}">
                <a16:creationId xmlns:a16="http://schemas.microsoft.com/office/drawing/2014/main" id="{94CDC39A-D788-BFAE-66E0-482952EFEFA0}"/>
              </a:ext>
            </a:extLst>
          </p:cNvPr>
          <p:cNvCxnSpPr/>
          <p:nvPr/>
        </p:nvCxnSpPr>
        <p:spPr>
          <a:xfrm>
            <a:off x="3506289" y="2923830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6" name="Straight Connector 265">
            <a:extLst>
              <a:ext uri="{FF2B5EF4-FFF2-40B4-BE49-F238E27FC236}">
                <a16:creationId xmlns:a16="http://schemas.microsoft.com/office/drawing/2014/main" id="{12E03036-00E2-CB24-67A4-238D7593CC9E}"/>
              </a:ext>
            </a:extLst>
          </p:cNvPr>
          <p:cNvCxnSpPr/>
          <p:nvPr/>
        </p:nvCxnSpPr>
        <p:spPr>
          <a:xfrm>
            <a:off x="3503598" y="2923830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7" name="Straight Connector 266">
            <a:extLst>
              <a:ext uri="{FF2B5EF4-FFF2-40B4-BE49-F238E27FC236}">
                <a16:creationId xmlns:a16="http://schemas.microsoft.com/office/drawing/2014/main" id="{48BDD28B-2746-468C-9260-AA632311EF5B}"/>
              </a:ext>
            </a:extLst>
          </p:cNvPr>
          <p:cNvCxnSpPr/>
          <p:nvPr/>
        </p:nvCxnSpPr>
        <p:spPr>
          <a:xfrm>
            <a:off x="3499112" y="2923830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8" name="Straight Connector 267">
            <a:extLst>
              <a:ext uri="{FF2B5EF4-FFF2-40B4-BE49-F238E27FC236}">
                <a16:creationId xmlns:a16="http://schemas.microsoft.com/office/drawing/2014/main" id="{4F2A5676-BE5D-4E57-BA31-CACC433929B1}"/>
              </a:ext>
            </a:extLst>
          </p:cNvPr>
          <p:cNvCxnSpPr/>
          <p:nvPr/>
        </p:nvCxnSpPr>
        <p:spPr>
          <a:xfrm>
            <a:off x="3494627" y="2923830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9" name="Straight Connector 268">
            <a:extLst>
              <a:ext uri="{FF2B5EF4-FFF2-40B4-BE49-F238E27FC236}">
                <a16:creationId xmlns:a16="http://schemas.microsoft.com/office/drawing/2014/main" id="{FBD80A9F-C373-07C6-E8B1-640B14A8A436}"/>
              </a:ext>
            </a:extLst>
          </p:cNvPr>
          <p:cNvCxnSpPr/>
          <p:nvPr/>
        </p:nvCxnSpPr>
        <p:spPr>
          <a:xfrm>
            <a:off x="3491039" y="2923830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0" name="Straight Connector 269">
            <a:extLst>
              <a:ext uri="{FF2B5EF4-FFF2-40B4-BE49-F238E27FC236}">
                <a16:creationId xmlns:a16="http://schemas.microsoft.com/office/drawing/2014/main" id="{8954C8A9-F0FA-2FF5-16F8-88797B10389E}"/>
              </a:ext>
            </a:extLst>
          </p:cNvPr>
          <p:cNvCxnSpPr/>
          <p:nvPr/>
        </p:nvCxnSpPr>
        <p:spPr>
          <a:xfrm>
            <a:off x="3486553" y="2923830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1" name="Straight Connector 270">
            <a:extLst>
              <a:ext uri="{FF2B5EF4-FFF2-40B4-BE49-F238E27FC236}">
                <a16:creationId xmlns:a16="http://schemas.microsoft.com/office/drawing/2014/main" id="{ABA267AA-DBA9-8073-8FD1-F9F7BB7B7893}"/>
              </a:ext>
            </a:extLst>
          </p:cNvPr>
          <p:cNvCxnSpPr/>
          <p:nvPr/>
        </p:nvCxnSpPr>
        <p:spPr>
          <a:xfrm>
            <a:off x="3482964" y="2923830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2" name="Straight Connector 271">
            <a:extLst>
              <a:ext uri="{FF2B5EF4-FFF2-40B4-BE49-F238E27FC236}">
                <a16:creationId xmlns:a16="http://schemas.microsoft.com/office/drawing/2014/main" id="{41C4FF99-5938-FC32-7CBB-4E99D354E3BA}"/>
              </a:ext>
            </a:extLst>
          </p:cNvPr>
          <p:cNvCxnSpPr/>
          <p:nvPr/>
        </p:nvCxnSpPr>
        <p:spPr>
          <a:xfrm>
            <a:off x="3479376" y="2923830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3" name="Straight Connector 272">
            <a:extLst>
              <a:ext uri="{FF2B5EF4-FFF2-40B4-BE49-F238E27FC236}">
                <a16:creationId xmlns:a16="http://schemas.microsoft.com/office/drawing/2014/main" id="{7F834067-67AF-C298-B51B-1CD5B336F7E5}"/>
              </a:ext>
            </a:extLst>
          </p:cNvPr>
          <p:cNvCxnSpPr/>
          <p:nvPr/>
        </p:nvCxnSpPr>
        <p:spPr>
          <a:xfrm>
            <a:off x="3474891" y="2923830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4" name="Straight Connector 273">
            <a:extLst>
              <a:ext uri="{FF2B5EF4-FFF2-40B4-BE49-F238E27FC236}">
                <a16:creationId xmlns:a16="http://schemas.microsoft.com/office/drawing/2014/main" id="{86A9FFEA-ECF7-0804-6864-503811F8E73A}"/>
              </a:ext>
            </a:extLst>
          </p:cNvPr>
          <p:cNvCxnSpPr/>
          <p:nvPr/>
        </p:nvCxnSpPr>
        <p:spPr>
          <a:xfrm>
            <a:off x="3472199" y="2923830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5" name="Straight Connector 274">
            <a:extLst>
              <a:ext uri="{FF2B5EF4-FFF2-40B4-BE49-F238E27FC236}">
                <a16:creationId xmlns:a16="http://schemas.microsoft.com/office/drawing/2014/main" id="{339F8DB0-8C02-E8E5-4F3F-4239CF390143}"/>
              </a:ext>
            </a:extLst>
          </p:cNvPr>
          <p:cNvCxnSpPr/>
          <p:nvPr/>
        </p:nvCxnSpPr>
        <p:spPr>
          <a:xfrm>
            <a:off x="3467714" y="2923830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6" name="Straight Connector 275">
            <a:extLst>
              <a:ext uri="{FF2B5EF4-FFF2-40B4-BE49-F238E27FC236}">
                <a16:creationId xmlns:a16="http://schemas.microsoft.com/office/drawing/2014/main" id="{74DD2CEE-66D0-25A2-29FF-C373A070BE18}"/>
              </a:ext>
            </a:extLst>
          </p:cNvPr>
          <p:cNvCxnSpPr/>
          <p:nvPr/>
        </p:nvCxnSpPr>
        <p:spPr>
          <a:xfrm>
            <a:off x="3463228" y="2923830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7" name="Straight Connector 276">
            <a:extLst>
              <a:ext uri="{FF2B5EF4-FFF2-40B4-BE49-F238E27FC236}">
                <a16:creationId xmlns:a16="http://schemas.microsoft.com/office/drawing/2014/main" id="{F896FAF1-4653-BA4D-C903-3D2ACD1C7D16}"/>
              </a:ext>
            </a:extLst>
          </p:cNvPr>
          <p:cNvCxnSpPr/>
          <p:nvPr/>
        </p:nvCxnSpPr>
        <p:spPr>
          <a:xfrm>
            <a:off x="3459640" y="2923830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8" name="Straight Connector 277">
            <a:extLst>
              <a:ext uri="{FF2B5EF4-FFF2-40B4-BE49-F238E27FC236}">
                <a16:creationId xmlns:a16="http://schemas.microsoft.com/office/drawing/2014/main" id="{1B12DC5C-8CCE-1EB1-5B29-8278B682271F}"/>
              </a:ext>
            </a:extLst>
          </p:cNvPr>
          <p:cNvCxnSpPr/>
          <p:nvPr/>
        </p:nvCxnSpPr>
        <p:spPr>
          <a:xfrm>
            <a:off x="3422860" y="2905991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9" name="Straight Connector 278">
            <a:extLst>
              <a:ext uri="{FF2B5EF4-FFF2-40B4-BE49-F238E27FC236}">
                <a16:creationId xmlns:a16="http://schemas.microsoft.com/office/drawing/2014/main" id="{3CF11DE8-9E23-DC23-FAC0-91F122A0F292}"/>
              </a:ext>
            </a:extLst>
          </p:cNvPr>
          <p:cNvCxnSpPr/>
          <p:nvPr/>
        </p:nvCxnSpPr>
        <p:spPr>
          <a:xfrm>
            <a:off x="3416580" y="2905991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0" name="Straight Connector 279">
            <a:extLst>
              <a:ext uri="{FF2B5EF4-FFF2-40B4-BE49-F238E27FC236}">
                <a16:creationId xmlns:a16="http://schemas.microsoft.com/office/drawing/2014/main" id="{42045777-E0D5-289B-B1B3-CDA0D6FB16CB}"/>
              </a:ext>
            </a:extLst>
          </p:cNvPr>
          <p:cNvCxnSpPr/>
          <p:nvPr/>
        </p:nvCxnSpPr>
        <p:spPr>
          <a:xfrm>
            <a:off x="3410301" y="2905990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1" name="Straight Connector 280">
            <a:extLst>
              <a:ext uri="{FF2B5EF4-FFF2-40B4-BE49-F238E27FC236}">
                <a16:creationId xmlns:a16="http://schemas.microsoft.com/office/drawing/2014/main" id="{9F132407-3B6E-94C1-DDF5-0E8FFDADAFD9}"/>
              </a:ext>
            </a:extLst>
          </p:cNvPr>
          <p:cNvCxnSpPr/>
          <p:nvPr/>
        </p:nvCxnSpPr>
        <p:spPr>
          <a:xfrm>
            <a:off x="2821812" y="2851100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2" name="Straight Connector 281">
            <a:extLst>
              <a:ext uri="{FF2B5EF4-FFF2-40B4-BE49-F238E27FC236}">
                <a16:creationId xmlns:a16="http://schemas.microsoft.com/office/drawing/2014/main" id="{E754EDF9-12DA-D6EF-6C24-CFDFFA780617}"/>
              </a:ext>
            </a:extLst>
          </p:cNvPr>
          <p:cNvCxnSpPr/>
          <p:nvPr/>
        </p:nvCxnSpPr>
        <p:spPr>
          <a:xfrm>
            <a:off x="2828988" y="2851101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3" name="Straight Connector 282">
            <a:extLst>
              <a:ext uri="{FF2B5EF4-FFF2-40B4-BE49-F238E27FC236}">
                <a16:creationId xmlns:a16="http://schemas.microsoft.com/office/drawing/2014/main" id="{8FED72A4-92AC-947A-405D-07B9D50D2048}"/>
              </a:ext>
            </a:extLst>
          </p:cNvPr>
          <p:cNvCxnSpPr/>
          <p:nvPr/>
        </p:nvCxnSpPr>
        <p:spPr>
          <a:xfrm>
            <a:off x="2857695" y="2851100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4" name="Straight Connector 283">
            <a:extLst>
              <a:ext uri="{FF2B5EF4-FFF2-40B4-BE49-F238E27FC236}">
                <a16:creationId xmlns:a16="http://schemas.microsoft.com/office/drawing/2014/main" id="{CA72DE73-A079-4F83-75AA-0C987F6ACCB7}"/>
              </a:ext>
            </a:extLst>
          </p:cNvPr>
          <p:cNvCxnSpPr/>
          <p:nvPr/>
        </p:nvCxnSpPr>
        <p:spPr>
          <a:xfrm>
            <a:off x="2864872" y="2851100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5" name="Straight Connector 284">
            <a:extLst>
              <a:ext uri="{FF2B5EF4-FFF2-40B4-BE49-F238E27FC236}">
                <a16:creationId xmlns:a16="http://schemas.microsoft.com/office/drawing/2014/main" id="{AA580D4D-3581-95F3-DB72-40BB8C9EE16E}"/>
              </a:ext>
            </a:extLst>
          </p:cNvPr>
          <p:cNvCxnSpPr/>
          <p:nvPr/>
        </p:nvCxnSpPr>
        <p:spPr>
          <a:xfrm>
            <a:off x="2900755" y="2852472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6" name="Straight Connector 285">
            <a:extLst>
              <a:ext uri="{FF2B5EF4-FFF2-40B4-BE49-F238E27FC236}">
                <a16:creationId xmlns:a16="http://schemas.microsoft.com/office/drawing/2014/main" id="{EE6267B0-EB0D-670A-D1C8-B38C90706E9D}"/>
              </a:ext>
            </a:extLst>
          </p:cNvPr>
          <p:cNvCxnSpPr/>
          <p:nvPr/>
        </p:nvCxnSpPr>
        <p:spPr>
          <a:xfrm>
            <a:off x="2906137" y="2852472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7" name="Straight Connector 286">
            <a:extLst>
              <a:ext uri="{FF2B5EF4-FFF2-40B4-BE49-F238E27FC236}">
                <a16:creationId xmlns:a16="http://schemas.microsoft.com/office/drawing/2014/main" id="{62D28C05-6352-2533-C8CE-EEAF972B78E6}"/>
              </a:ext>
            </a:extLst>
          </p:cNvPr>
          <p:cNvCxnSpPr/>
          <p:nvPr/>
        </p:nvCxnSpPr>
        <p:spPr>
          <a:xfrm>
            <a:off x="2913315" y="2852472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8" name="Straight Connector 287">
            <a:extLst>
              <a:ext uri="{FF2B5EF4-FFF2-40B4-BE49-F238E27FC236}">
                <a16:creationId xmlns:a16="http://schemas.microsoft.com/office/drawing/2014/main" id="{0E90C76E-9BEA-7D75-C4EF-37AC5787245D}"/>
              </a:ext>
            </a:extLst>
          </p:cNvPr>
          <p:cNvCxnSpPr/>
          <p:nvPr/>
        </p:nvCxnSpPr>
        <p:spPr>
          <a:xfrm>
            <a:off x="2933947" y="2852473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9" name="Straight Connector 288">
            <a:extLst>
              <a:ext uri="{FF2B5EF4-FFF2-40B4-BE49-F238E27FC236}">
                <a16:creationId xmlns:a16="http://schemas.microsoft.com/office/drawing/2014/main" id="{8D18B20E-1B8D-6FEC-4CC4-3C582B2119CD}"/>
              </a:ext>
            </a:extLst>
          </p:cNvPr>
          <p:cNvCxnSpPr/>
          <p:nvPr/>
        </p:nvCxnSpPr>
        <p:spPr>
          <a:xfrm>
            <a:off x="2941124" y="2852472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0" name="Straight Connector 289">
            <a:extLst>
              <a:ext uri="{FF2B5EF4-FFF2-40B4-BE49-F238E27FC236}">
                <a16:creationId xmlns:a16="http://schemas.microsoft.com/office/drawing/2014/main" id="{2B84E86B-1C23-094B-A520-FD20442DFF58}"/>
              </a:ext>
            </a:extLst>
          </p:cNvPr>
          <p:cNvCxnSpPr/>
          <p:nvPr/>
        </p:nvCxnSpPr>
        <p:spPr>
          <a:xfrm>
            <a:off x="2928565" y="2852472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1" name="Straight Connector 290">
            <a:extLst>
              <a:ext uri="{FF2B5EF4-FFF2-40B4-BE49-F238E27FC236}">
                <a16:creationId xmlns:a16="http://schemas.microsoft.com/office/drawing/2014/main" id="{64A8C2A4-0917-3743-8DEC-C0AC7B224DC5}"/>
              </a:ext>
            </a:extLst>
          </p:cNvPr>
          <p:cNvCxnSpPr/>
          <p:nvPr/>
        </p:nvCxnSpPr>
        <p:spPr>
          <a:xfrm>
            <a:off x="2994052" y="2860706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2" name="Straight Connector 291">
            <a:extLst>
              <a:ext uri="{FF2B5EF4-FFF2-40B4-BE49-F238E27FC236}">
                <a16:creationId xmlns:a16="http://schemas.microsoft.com/office/drawing/2014/main" id="{A6930C6D-56D1-4002-776F-5F84C30F887A}"/>
              </a:ext>
            </a:extLst>
          </p:cNvPr>
          <p:cNvCxnSpPr/>
          <p:nvPr/>
        </p:nvCxnSpPr>
        <p:spPr>
          <a:xfrm>
            <a:off x="2999435" y="2860706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3" name="Straight Connector 292">
            <a:extLst>
              <a:ext uri="{FF2B5EF4-FFF2-40B4-BE49-F238E27FC236}">
                <a16:creationId xmlns:a16="http://schemas.microsoft.com/office/drawing/2014/main" id="{F43F6B1E-ECBA-6A26-E065-FF88C5B59BB3}"/>
              </a:ext>
            </a:extLst>
          </p:cNvPr>
          <p:cNvCxnSpPr/>
          <p:nvPr/>
        </p:nvCxnSpPr>
        <p:spPr>
          <a:xfrm>
            <a:off x="3004817" y="2860706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4" name="Straight Connector 293">
            <a:extLst>
              <a:ext uri="{FF2B5EF4-FFF2-40B4-BE49-F238E27FC236}">
                <a16:creationId xmlns:a16="http://schemas.microsoft.com/office/drawing/2014/main" id="{6B932E9D-D013-FBC7-7BD2-09D34F5EEECB}"/>
              </a:ext>
            </a:extLst>
          </p:cNvPr>
          <p:cNvCxnSpPr/>
          <p:nvPr/>
        </p:nvCxnSpPr>
        <p:spPr>
          <a:xfrm>
            <a:off x="3011097" y="2860706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5" name="Straight Connector 294">
            <a:extLst>
              <a:ext uri="{FF2B5EF4-FFF2-40B4-BE49-F238E27FC236}">
                <a16:creationId xmlns:a16="http://schemas.microsoft.com/office/drawing/2014/main" id="{46744439-05E6-5424-73A9-55647B86C0E2}"/>
              </a:ext>
            </a:extLst>
          </p:cNvPr>
          <p:cNvCxnSpPr/>
          <p:nvPr/>
        </p:nvCxnSpPr>
        <p:spPr>
          <a:xfrm>
            <a:off x="2593952" y="2796209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6" name="Straight Connector 295">
            <a:extLst>
              <a:ext uri="{FF2B5EF4-FFF2-40B4-BE49-F238E27FC236}">
                <a16:creationId xmlns:a16="http://schemas.microsoft.com/office/drawing/2014/main" id="{5364240F-C8E0-22F4-DFF0-59E857837911}"/>
              </a:ext>
            </a:extLst>
          </p:cNvPr>
          <p:cNvCxnSpPr/>
          <p:nvPr/>
        </p:nvCxnSpPr>
        <p:spPr>
          <a:xfrm>
            <a:off x="2599334" y="2796209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7" name="Straight Connector 296">
            <a:extLst>
              <a:ext uri="{FF2B5EF4-FFF2-40B4-BE49-F238E27FC236}">
                <a16:creationId xmlns:a16="http://schemas.microsoft.com/office/drawing/2014/main" id="{3065FCD1-5990-D9C4-7D5E-D578A86DFE51}"/>
              </a:ext>
            </a:extLst>
          </p:cNvPr>
          <p:cNvCxnSpPr/>
          <p:nvPr/>
        </p:nvCxnSpPr>
        <p:spPr>
          <a:xfrm>
            <a:off x="2604717" y="2796210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8" name="Straight Connector 297">
            <a:extLst>
              <a:ext uri="{FF2B5EF4-FFF2-40B4-BE49-F238E27FC236}">
                <a16:creationId xmlns:a16="http://schemas.microsoft.com/office/drawing/2014/main" id="{E0BEC52A-7DB9-26A0-A920-AE5BB7F21850}"/>
              </a:ext>
            </a:extLst>
          </p:cNvPr>
          <p:cNvCxnSpPr/>
          <p:nvPr/>
        </p:nvCxnSpPr>
        <p:spPr>
          <a:xfrm>
            <a:off x="2608305" y="2796210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9" name="Straight Connector 298">
            <a:extLst>
              <a:ext uri="{FF2B5EF4-FFF2-40B4-BE49-F238E27FC236}">
                <a16:creationId xmlns:a16="http://schemas.microsoft.com/office/drawing/2014/main" id="{EE3213D1-7518-A303-0FA6-B391B88640DD}"/>
              </a:ext>
            </a:extLst>
          </p:cNvPr>
          <p:cNvCxnSpPr/>
          <p:nvPr/>
        </p:nvCxnSpPr>
        <p:spPr>
          <a:xfrm>
            <a:off x="2613688" y="2796210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0" name="Straight Connector 299">
            <a:extLst>
              <a:ext uri="{FF2B5EF4-FFF2-40B4-BE49-F238E27FC236}">
                <a16:creationId xmlns:a16="http://schemas.microsoft.com/office/drawing/2014/main" id="{186C8B29-70B9-1E0D-69B4-46A2316FABC6}"/>
              </a:ext>
            </a:extLst>
          </p:cNvPr>
          <p:cNvCxnSpPr/>
          <p:nvPr/>
        </p:nvCxnSpPr>
        <p:spPr>
          <a:xfrm>
            <a:off x="2619967" y="2796210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1" name="Straight Connector 300">
            <a:extLst>
              <a:ext uri="{FF2B5EF4-FFF2-40B4-BE49-F238E27FC236}">
                <a16:creationId xmlns:a16="http://schemas.microsoft.com/office/drawing/2014/main" id="{56D8E9E5-7181-E9DC-0358-272FF6E25048}"/>
              </a:ext>
            </a:extLst>
          </p:cNvPr>
          <p:cNvCxnSpPr/>
          <p:nvPr/>
        </p:nvCxnSpPr>
        <p:spPr>
          <a:xfrm>
            <a:off x="2626247" y="2796210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2" name="Straight Connector 301">
            <a:extLst>
              <a:ext uri="{FF2B5EF4-FFF2-40B4-BE49-F238E27FC236}">
                <a16:creationId xmlns:a16="http://schemas.microsoft.com/office/drawing/2014/main" id="{EF5E2C4B-2666-F9E9-4D1A-7F6E9A9EE414}"/>
              </a:ext>
            </a:extLst>
          </p:cNvPr>
          <p:cNvCxnSpPr/>
          <p:nvPr/>
        </p:nvCxnSpPr>
        <p:spPr>
          <a:xfrm>
            <a:off x="2446829" y="2774253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3" name="Straight Connector 302">
            <a:extLst>
              <a:ext uri="{FF2B5EF4-FFF2-40B4-BE49-F238E27FC236}">
                <a16:creationId xmlns:a16="http://schemas.microsoft.com/office/drawing/2014/main" id="{42768780-20DA-8729-2790-C4AF396A7FB5}"/>
              </a:ext>
            </a:extLst>
          </p:cNvPr>
          <p:cNvCxnSpPr/>
          <p:nvPr/>
        </p:nvCxnSpPr>
        <p:spPr>
          <a:xfrm>
            <a:off x="2452212" y="2774253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4" name="Straight Connector 303">
            <a:extLst>
              <a:ext uri="{FF2B5EF4-FFF2-40B4-BE49-F238E27FC236}">
                <a16:creationId xmlns:a16="http://schemas.microsoft.com/office/drawing/2014/main" id="{63DE6B52-6524-8C19-CC58-50BDD35932B1}"/>
              </a:ext>
            </a:extLst>
          </p:cNvPr>
          <p:cNvCxnSpPr/>
          <p:nvPr/>
        </p:nvCxnSpPr>
        <p:spPr>
          <a:xfrm>
            <a:off x="2470153" y="2782487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5" name="Straight Connector 304">
            <a:extLst>
              <a:ext uri="{FF2B5EF4-FFF2-40B4-BE49-F238E27FC236}">
                <a16:creationId xmlns:a16="http://schemas.microsoft.com/office/drawing/2014/main" id="{8526AACE-E70A-CA07-D88A-F3620F194DDF}"/>
              </a:ext>
            </a:extLst>
          </p:cNvPr>
          <p:cNvCxnSpPr/>
          <p:nvPr/>
        </p:nvCxnSpPr>
        <p:spPr>
          <a:xfrm>
            <a:off x="2476434" y="2782487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6" name="Straight Connector 305">
            <a:extLst>
              <a:ext uri="{FF2B5EF4-FFF2-40B4-BE49-F238E27FC236}">
                <a16:creationId xmlns:a16="http://schemas.microsoft.com/office/drawing/2014/main" id="{41D65384-AE94-0889-8138-F0BC0A15265E}"/>
              </a:ext>
            </a:extLst>
          </p:cNvPr>
          <p:cNvCxnSpPr/>
          <p:nvPr/>
        </p:nvCxnSpPr>
        <p:spPr>
          <a:xfrm>
            <a:off x="2481816" y="2782487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7" name="Straight Connector 306">
            <a:extLst>
              <a:ext uri="{FF2B5EF4-FFF2-40B4-BE49-F238E27FC236}">
                <a16:creationId xmlns:a16="http://schemas.microsoft.com/office/drawing/2014/main" id="{9FA8A992-2AC8-D1B8-7A9E-DC810F1391E4}"/>
              </a:ext>
            </a:extLst>
          </p:cNvPr>
          <p:cNvCxnSpPr/>
          <p:nvPr/>
        </p:nvCxnSpPr>
        <p:spPr>
          <a:xfrm>
            <a:off x="2488095" y="2782487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8" name="Straight Connector 307">
            <a:extLst>
              <a:ext uri="{FF2B5EF4-FFF2-40B4-BE49-F238E27FC236}">
                <a16:creationId xmlns:a16="http://schemas.microsoft.com/office/drawing/2014/main" id="{918F9C7C-BF9E-7C40-400B-236BA53C788D}"/>
              </a:ext>
            </a:extLst>
          </p:cNvPr>
          <p:cNvCxnSpPr/>
          <p:nvPr/>
        </p:nvCxnSpPr>
        <p:spPr>
          <a:xfrm>
            <a:off x="2300604" y="2730341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9" name="Straight Connector 308">
            <a:extLst>
              <a:ext uri="{FF2B5EF4-FFF2-40B4-BE49-F238E27FC236}">
                <a16:creationId xmlns:a16="http://schemas.microsoft.com/office/drawing/2014/main" id="{C614150E-40C4-C693-B47B-59892723892A}"/>
              </a:ext>
            </a:extLst>
          </p:cNvPr>
          <p:cNvCxnSpPr/>
          <p:nvPr/>
        </p:nvCxnSpPr>
        <p:spPr>
          <a:xfrm>
            <a:off x="2295221" y="2730341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0" name="Straight Connector 309">
            <a:extLst>
              <a:ext uri="{FF2B5EF4-FFF2-40B4-BE49-F238E27FC236}">
                <a16:creationId xmlns:a16="http://schemas.microsoft.com/office/drawing/2014/main" id="{3CB62CEB-09E3-6C84-1A79-9548A01F9296}"/>
              </a:ext>
            </a:extLst>
          </p:cNvPr>
          <p:cNvCxnSpPr/>
          <p:nvPr/>
        </p:nvCxnSpPr>
        <p:spPr>
          <a:xfrm>
            <a:off x="2288942" y="2730341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1" name="Straight Connector 310">
            <a:extLst>
              <a:ext uri="{FF2B5EF4-FFF2-40B4-BE49-F238E27FC236}">
                <a16:creationId xmlns:a16="http://schemas.microsoft.com/office/drawing/2014/main" id="{B838AC2E-E03C-56AB-902D-B2A5AE370E54}"/>
              </a:ext>
            </a:extLst>
          </p:cNvPr>
          <p:cNvCxnSpPr/>
          <p:nvPr/>
        </p:nvCxnSpPr>
        <p:spPr>
          <a:xfrm>
            <a:off x="2153482" y="2697406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2" name="Straight Connector 311">
            <a:extLst>
              <a:ext uri="{FF2B5EF4-FFF2-40B4-BE49-F238E27FC236}">
                <a16:creationId xmlns:a16="http://schemas.microsoft.com/office/drawing/2014/main" id="{3B89758F-B724-C3FA-20F4-1CD23AC80DAF}"/>
              </a:ext>
            </a:extLst>
          </p:cNvPr>
          <p:cNvCxnSpPr/>
          <p:nvPr/>
        </p:nvCxnSpPr>
        <p:spPr>
          <a:xfrm>
            <a:off x="2147202" y="2697406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3" name="Straight Connector 312">
            <a:extLst>
              <a:ext uri="{FF2B5EF4-FFF2-40B4-BE49-F238E27FC236}">
                <a16:creationId xmlns:a16="http://schemas.microsoft.com/office/drawing/2014/main" id="{DB336F2E-38E6-B063-8E8C-C1481314F8D7}"/>
              </a:ext>
            </a:extLst>
          </p:cNvPr>
          <p:cNvCxnSpPr/>
          <p:nvPr/>
        </p:nvCxnSpPr>
        <p:spPr>
          <a:xfrm>
            <a:off x="2105039" y="2697406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4" name="Straight Connector 313">
            <a:extLst>
              <a:ext uri="{FF2B5EF4-FFF2-40B4-BE49-F238E27FC236}">
                <a16:creationId xmlns:a16="http://schemas.microsoft.com/office/drawing/2014/main" id="{1F12F5F7-7021-C8F3-E04C-F57C422216EA}"/>
              </a:ext>
            </a:extLst>
          </p:cNvPr>
          <p:cNvCxnSpPr/>
          <p:nvPr/>
        </p:nvCxnSpPr>
        <p:spPr>
          <a:xfrm>
            <a:off x="2100554" y="2697406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5" name="Straight Connector 314">
            <a:extLst>
              <a:ext uri="{FF2B5EF4-FFF2-40B4-BE49-F238E27FC236}">
                <a16:creationId xmlns:a16="http://schemas.microsoft.com/office/drawing/2014/main" id="{6E8EA9E4-A9E0-9AE8-7A4C-34202FB3A60C}"/>
              </a:ext>
            </a:extLst>
          </p:cNvPr>
          <p:cNvCxnSpPr/>
          <p:nvPr/>
        </p:nvCxnSpPr>
        <p:spPr>
          <a:xfrm>
            <a:off x="2095171" y="2697406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6" name="Straight Connector 315">
            <a:extLst>
              <a:ext uri="{FF2B5EF4-FFF2-40B4-BE49-F238E27FC236}">
                <a16:creationId xmlns:a16="http://schemas.microsoft.com/office/drawing/2014/main" id="{FD178B8B-8CCC-2286-06FC-6A237880FA28}"/>
              </a:ext>
            </a:extLst>
          </p:cNvPr>
          <p:cNvCxnSpPr/>
          <p:nvPr/>
        </p:nvCxnSpPr>
        <p:spPr>
          <a:xfrm>
            <a:off x="2081715" y="2687800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7" name="Straight Connector 316">
            <a:extLst>
              <a:ext uri="{FF2B5EF4-FFF2-40B4-BE49-F238E27FC236}">
                <a16:creationId xmlns:a16="http://schemas.microsoft.com/office/drawing/2014/main" id="{61D5A768-FAA2-E86D-2913-9BE9AD34DB49}"/>
              </a:ext>
            </a:extLst>
          </p:cNvPr>
          <p:cNvCxnSpPr/>
          <p:nvPr/>
        </p:nvCxnSpPr>
        <p:spPr>
          <a:xfrm>
            <a:off x="2076332" y="2687800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8" name="Straight Connector 317">
            <a:extLst>
              <a:ext uri="{FF2B5EF4-FFF2-40B4-BE49-F238E27FC236}">
                <a16:creationId xmlns:a16="http://schemas.microsoft.com/office/drawing/2014/main" id="{BDE39C8C-FF7D-49C3-FB31-A7312CED0E32}"/>
              </a:ext>
            </a:extLst>
          </p:cNvPr>
          <p:cNvCxnSpPr/>
          <p:nvPr/>
        </p:nvCxnSpPr>
        <p:spPr>
          <a:xfrm>
            <a:off x="2032375" y="2672539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9" name="Straight Connector 318">
            <a:extLst>
              <a:ext uri="{FF2B5EF4-FFF2-40B4-BE49-F238E27FC236}">
                <a16:creationId xmlns:a16="http://schemas.microsoft.com/office/drawing/2014/main" id="{AE2DE272-B16C-357A-0262-7BFCA205B70F}"/>
              </a:ext>
            </a:extLst>
          </p:cNvPr>
          <p:cNvCxnSpPr/>
          <p:nvPr/>
        </p:nvCxnSpPr>
        <p:spPr>
          <a:xfrm>
            <a:off x="2026992" y="2672539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0" name="Straight Connector 319">
            <a:extLst>
              <a:ext uri="{FF2B5EF4-FFF2-40B4-BE49-F238E27FC236}">
                <a16:creationId xmlns:a16="http://schemas.microsoft.com/office/drawing/2014/main" id="{79E003F8-5E09-D5B7-F64A-52873DBF9942}"/>
              </a:ext>
            </a:extLst>
          </p:cNvPr>
          <p:cNvCxnSpPr/>
          <p:nvPr/>
        </p:nvCxnSpPr>
        <p:spPr>
          <a:xfrm>
            <a:off x="2021610" y="2654865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1" name="Straight Connector 320">
            <a:extLst>
              <a:ext uri="{FF2B5EF4-FFF2-40B4-BE49-F238E27FC236}">
                <a16:creationId xmlns:a16="http://schemas.microsoft.com/office/drawing/2014/main" id="{A9D3E267-CDDA-1E07-48D4-794A128C2246}"/>
              </a:ext>
            </a:extLst>
          </p:cNvPr>
          <p:cNvCxnSpPr/>
          <p:nvPr/>
        </p:nvCxnSpPr>
        <p:spPr>
          <a:xfrm>
            <a:off x="2016227" y="2654865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2" name="Straight Connector 321">
            <a:extLst>
              <a:ext uri="{FF2B5EF4-FFF2-40B4-BE49-F238E27FC236}">
                <a16:creationId xmlns:a16="http://schemas.microsoft.com/office/drawing/2014/main" id="{D9E5263D-6E49-AE75-8AB7-3A8ADD4F6A11}"/>
              </a:ext>
            </a:extLst>
          </p:cNvPr>
          <p:cNvCxnSpPr/>
          <p:nvPr/>
        </p:nvCxnSpPr>
        <p:spPr>
          <a:xfrm>
            <a:off x="1775808" y="2564295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3" name="Straight Connector 322">
            <a:extLst>
              <a:ext uri="{FF2B5EF4-FFF2-40B4-BE49-F238E27FC236}">
                <a16:creationId xmlns:a16="http://schemas.microsoft.com/office/drawing/2014/main" id="{54128657-3ECF-7596-B39B-75205F57B344}"/>
              </a:ext>
            </a:extLst>
          </p:cNvPr>
          <p:cNvCxnSpPr/>
          <p:nvPr/>
        </p:nvCxnSpPr>
        <p:spPr>
          <a:xfrm>
            <a:off x="1771323" y="2564296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4" name="Straight Connector 323">
            <a:extLst>
              <a:ext uri="{FF2B5EF4-FFF2-40B4-BE49-F238E27FC236}">
                <a16:creationId xmlns:a16="http://schemas.microsoft.com/office/drawing/2014/main" id="{38513CE9-78D5-A824-E7B8-A9E81C905D5D}"/>
              </a:ext>
            </a:extLst>
          </p:cNvPr>
          <p:cNvCxnSpPr/>
          <p:nvPr/>
        </p:nvCxnSpPr>
        <p:spPr>
          <a:xfrm>
            <a:off x="1765940" y="2564296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5" name="Straight Connector 324">
            <a:extLst>
              <a:ext uri="{FF2B5EF4-FFF2-40B4-BE49-F238E27FC236}">
                <a16:creationId xmlns:a16="http://schemas.microsoft.com/office/drawing/2014/main" id="{E1D75776-629C-8AD0-3E68-D14AF6A4C40E}"/>
              </a:ext>
            </a:extLst>
          </p:cNvPr>
          <p:cNvCxnSpPr/>
          <p:nvPr/>
        </p:nvCxnSpPr>
        <p:spPr>
          <a:xfrm>
            <a:off x="1761455" y="2564295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6" name="Straight Connector 325">
            <a:extLst>
              <a:ext uri="{FF2B5EF4-FFF2-40B4-BE49-F238E27FC236}">
                <a16:creationId xmlns:a16="http://schemas.microsoft.com/office/drawing/2014/main" id="{94BEEEB7-C7EB-8DEC-B3E4-6016E2ECB65E}"/>
              </a:ext>
            </a:extLst>
          </p:cNvPr>
          <p:cNvCxnSpPr/>
          <p:nvPr/>
        </p:nvCxnSpPr>
        <p:spPr>
          <a:xfrm>
            <a:off x="1444783" y="2325520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7" name="Straight Connector 326">
            <a:extLst>
              <a:ext uri="{FF2B5EF4-FFF2-40B4-BE49-F238E27FC236}">
                <a16:creationId xmlns:a16="http://schemas.microsoft.com/office/drawing/2014/main" id="{472CC57F-D1E8-4D39-0737-5C960B237D4B}"/>
              </a:ext>
            </a:extLst>
          </p:cNvPr>
          <p:cNvCxnSpPr/>
          <p:nvPr/>
        </p:nvCxnSpPr>
        <p:spPr>
          <a:xfrm>
            <a:off x="1541668" y="2358455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8" name="Straight Connector 327">
            <a:extLst>
              <a:ext uri="{FF2B5EF4-FFF2-40B4-BE49-F238E27FC236}">
                <a16:creationId xmlns:a16="http://schemas.microsoft.com/office/drawing/2014/main" id="{8E319260-7802-5A20-6B7F-B248EA06A9C6}"/>
              </a:ext>
            </a:extLst>
          </p:cNvPr>
          <p:cNvCxnSpPr/>
          <p:nvPr/>
        </p:nvCxnSpPr>
        <p:spPr>
          <a:xfrm>
            <a:off x="1547051" y="2358454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9" name="Straight Connector 328">
            <a:extLst>
              <a:ext uri="{FF2B5EF4-FFF2-40B4-BE49-F238E27FC236}">
                <a16:creationId xmlns:a16="http://schemas.microsoft.com/office/drawing/2014/main" id="{AAB6BC71-AB11-D29E-DCA3-10848AEEF15A}"/>
              </a:ext>
            </a:extLst>
          </p:cNvPr>
          <p:cNvCxnSpPr/>
          <p:nvPr/>
        </p:nvCxnSpPr>
        <p:spPr>
          <a:xfrm>
            <a:off x="1553330" y="2358455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0" name="Straight Connector 329">
            <a:extLst>
              <a:ext uri="{FF2B5EF4-FFF2-40B4-BE49-F238E27FC236}">
                <a16:creationId xmlns:a16="http://schemas.microsoft.com/office/drawing/2014/main" id="{88A9DE63-F481-A906-1371-1D779B2CB986}"/>
              </a:ext>
            </a:extLst>
          </p:cNvPr>
          <p:cNvCxnSpPr/>
          <p:nvPr/>
        </p:nvCxnSpPr>
        <p:spPr>
          <a:xfrm>
            <a:off x="1557816" y="2358454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1" name="Straight Connector 330">
            <a:extLst>
              <a:ext uri="{FF2B5EF4-FFF2-40B4-BE49-F238E27FC236}">
                <a16:creationId xmlns:a16="http://schemas.microsoft.com/office/drawing/2014/main" id="{C8D10451-FFFC-2185-2C21-4E382A914D11}"/>
              </a:ext>
            </a:extLst>
          </p:cNvPr>
          <p:cNvCxnSpPr/>
          <p:nvPr/>
        </p:nvCxnSpPr>
        <p:spPr>
          <a:xfrm>
            <a:off x="1563198" y="2358454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2" name="Straight Connector 331">
            <a:extLst>
              <a:ext uri="{FF2B5EF4-FFF2-40B4-BE49-F238E27FC236}">
                <a16:creationId xmlns:a16="http://schemas.microsoft.com/office/drawing/2014/main" id="{245B1FFE-4AF4-CD4D-2FF6-7BE94EF9037B}"/>
              </a:ext>
            </a:extLst>
          </p:cNvPr>
          <p:cNvCxnSpPr/>
          <p:nvPr/>
        </p:nvCxnSpPr>
        <p:spPr>
          <a:xfrm>
            <a:off x="1568581" y="2358454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3" name="Straight Connector 332">
            <a:extLst>
              <a:ext uri="{FF2B5EF4-FFF2-40B4-BE49-F238E27FC236}">
                <a16:creationId xmlns:a16="http://schemas.microsoft.com/office/drawing/2014/main" id="{BA361D27-C886-B19B-A860-96FA7FEB483B}"/>
              </a:ext>
            </a:extLst>
          </p:cNvPr>
          <p:cNvCxnSpPr/>
          <p:nvPr/>
        </p:nvCxnSpPr>
        <p:spPr>
          <a:xfrm>
            <a:off x="1575758" y="2362571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4" name="Straight Connector 333">
            <a:extLst>
              <a:ext uri="{FF2B5EF4-FFF2-40B4-BE49-F238E27FC236}">
                <a16:creationId xmlns:a16="http://schemas.microsoft.com/office/drawing/2014/main" id="{EEF3E699-A68C-1013-5891-30468A52316F}"/>
              </a:ext>
            </a:extLst>
          </p:cNvPr>
          <p:cNvCxnSpPr/>
          <p:nvPr/>
        </p:nvCxnSpPr>
        <p:spPr>
          <a:xfrm>
            <a:off x="1716600" y="2455885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5" name="Straight Connector 334">
            <a:extLst>
              <a:ext uri="{FF2B5EF4-FFF2-40B4-BE49-F238E27FC236}">
                <a16:creationId xmlns:a16="http://schemas.microsoft.com/office/drawing/2014/main" id="{2B3B4BAA-5931-76E4-E52D-31C3A2BA389B}"/>
              </a:ext>
            </a:extLst>
          </p:cNvPr>
          <p:cNvCxnSpPr/>
          <p:nvPr/>
        </p:nvCxnSpPr>
        <p:spPr>
          <a:xfrm>
            <a:off x="1721983" y="2455886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6" name="Straight Connector 335">
            <a:extLst>
              <a:ext uri="{FF2B5EF4-FFF2-40B4-BE49-F238E27FC236}">
                <a16:creationId xmlns:a16="http://schemas.microsoft.com/office/drawing/2014/main" id="{6149A12E-F7D8-ED42-9C10-8D0F11395FAF}"/>
              </a:ext>
            </a:extLst>
          </p:cNvPr>
          <p:cNvCxnSpPr/>
          <p:nvPr/>
        </p:nvCxnSpPr>
        <p:spPr>
          <a:xfrm>
            <a:off x="1731851" y="2475098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7" name="Straight Connector 336">
            <a:extLst>
              <a:ext uri="{FF2B5EF4-FFF2-40B4-BE49-F238E27FC236}">
                <a16:creationId xmlns:a16="http://schemas.microsoft.com/office/drawing/2014/main" id="{6A458DD5-E4E0-BEB4-16E8-1E345608CF98}"/>
              </a:ext>
            </a:extLst>
          </p:cNvPr>
          <p:cNvCxnSpPr/>
          <p:nvPr/>
        </p:nvCxnSpPr>
        <p:spPr>
          <a:xfrm>
            <a:off x="1737233" y="2475097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8" name="Straight Connector 337">
            <a:extLst>
              <a:ext uri="{FF2B5EF4-FFF2-40B4-BE49-F238E27FC236}">
                <a16:creationId xmlns:a16="http://schemas.microsoft.com/office/drawing/2014/main" id="{C9CC003C-C391-7BA1-2C2A-A59D31BD0CCC}"/>
              </a:ext>
            </a:extLst>
          </p:cNvPr>
          <p:cNvCxnSpPr/>
          <p:nvPr/>
        </p:nvCxnSpPr>
        <p:spPr>
          <a:xfrm>
            <a:off x="1749793" y="2512149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9" name="Straight Connector 338">
            <a:extLst>
              <a:ext uri="{FF2B5EF4-FFF2-40B4-BE49-F238E27FC236}">
                <a16:creationId xmlns:a16="http://schemas.microsoft.com/office/drawing/2014/main" id="{6A825D82-4667-75D5-C2E7-4E4DDEBEA8EE}"/>
              </a:ext>
            </a:extLst>
          </p:cNvPr>
          <p:cNvCxnSpPr/>
          <p:nvPr/>
        </p:nvCxnSpPr>
        <p:spPr>
          <a:xfrm>
            <a:off x="1755175" y="2512149"/>
            <a:ext cx="0" cy="6223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0" name="Straight Connector 339">
            <a:extLst>
              <a:ext uri="{FF2B5EF4-FFF2-40B4-BE49-F238E27FC236}">
                <a16:creationId xmlns:a16="http://schemas.microsoft.com/office/drawing/2014/main" id="{EC9F93ED-E8AD-CCBD-2966-84C28E619BF3}"/>
              </a:ext>
            </a:extLst>
          </p:cNvPr>
          <p:cNvCxnSpPr/>
          <p:nvPr/>
        </p:nvCxnSpPr>
        <p:spPr>
          <a:xfrm>
            <a:off x="2818223" y="2969603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1" name="Straight Connector 340">
            <a:extLst>
              <a:ext uri="{FF2B5EF4-FFF2-40B4-BE49-F238E27FC236}">
                <a16:creationId xmlns:a16="http://schemas.microsoft.com/office/drawing/2014/main" id="{303E663B-97FC-605B-6521-371C3BF90BEF}"/>
              </a:ext>
            </a:extLst>
          </p:cNvPr>
          <p:cNvCxnSpPr/>
          <p:nvPr/>
        </p:nvCxnSpPr>
        <p:spPr>
          <a:xfrm>
            <a:off x="2698910" y="2954508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2" name="Straight Connector 341">
            <a:extLst>
              <a:ext uri="{FF2B5EF4-FFF2-40B4-BE49-F238E27FC236}">
                <a16:creationId xmlns:a16="http://schemas.microsoft.com/office/drawing/2014/main" id="{A73C1AF8-BF97-72D9-1B13-B51DD18B1591}"/>
              </a:ext>
            </a:extLst>
          </p:cNvPr>
          <p:cNvCxnSpPr/>
          <p:nvPr/>
        </p:nvCxnSpPr>
        <p:spPr>
          <a:xfrm>
            <a:off x="2705190" y="2954508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3" name="Straight Connector 342">
            <a:extLst>
              <a:ext uri="{FF2B5EF4-FFF2-40B4-BE49-F238E27FC236}">
                <a16:creationId xmlns:a16="http://schemas.microsoft.com/office/drawing/2014/main" id="{A21CD2C9-3B26-CC72-ED73-A06651E0D272}"/>
              </a:ext>
            </a:extLst>
          </p:cNvPr>
          <p:cNvCxnSpPr/>
          <p:nvPr/>
        </p:nvCxnSpPr>
        <p:spPr>
          <a:xfrm>
            <a:off x="2620864" y="2947646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4" name="Straight Connector 343">
            <a:extLst>
              <a:ext uri="{FF2B5EF4-FFF2-40B4-BE49-F238E27FC236}">
                <a16:creationId xmlns:a16="http://schemas.microsoft.com/office/drawing/2014/main" id="{31A16D39-A070-3638-8BB2-811FCBBA6D4E}"/>
              </a:ext>
            </a:extLst>
          </p:cNvPr>
          <p:cNvCxnSpPr/>
          <p:nvPr/>
        </p:nvCxnSpPr>
        <p:spPr>
          <a:xfrm>
            <a:off x="2625349" y="2947646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5" name="Straight Connector 344">
            <a:extLst>
              <a:ext uri="{FF2B5EF4-FFF2-40B4-BE49-F238E27FC236}">
                <a16:creationId xmlns:a16="http://schemas.microsoft.com/office/drawing/2014/main" id="{1371C551-2957-38E2-14B2-F1156133AC8F}"/>
              </a:ext>
            </a:extLst>
          </p:cNvPr>
          <p:cNvCxnSpPr/>
          <p:nvPr/>
        </p:nvCxnSpPr>
        <p:spPr>
          <a:xfrm>
            <a:off x="2889093" y="2981953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6" name="Straight Connector 345">
            <a:extLst>
              <a:ext uri="{FF2B5EF4-FFF2-40B4-BE49-F238E27FC236}">
                <a16:creationId xmlns:a16="http://schemas.microsoft.com/office/drawing/2014/main" id="{109E60AA-F9EF-28DD-38D6-C58D8FEEF363}"/>
              </a:ext>
            </a:extLst>
          </p:cNvPr>
          <p:cNvCxnSpPr/>
          <p:nvPr/>
        </p:nvCxnSpPr>
        <p:spPr>
          <a:xfrm>
            <a:off x="2895372" y="2981953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7" name="Straight Connector 346">
            <a:extLst>
              <a:ext uri="{FF2B5EF4-FFF2-40B4-BE49-F238E27FC236}">
                <a16:creationId xmlns:a16="http://schemas.microsoft.com/office/drawing/2014/main" id="{647AC0D8-A6F3-57C5-7CC4-F17B09CF64C9}"/>
              </a:ext>
            </a:extLst>
          </p:cNvPr>
          <p:cNvCxnSpPr/>
          <p:nvPr/>
        </p:nvCxnSpPr>
        <p:spPr>
          <a:xfrm>
            <a:off x="2900755" y="2981954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8" name="Straight Connector 347">
            <a:extLst>
              <a:ext uri="{FF2B5EF4-FFF2-40B4-BE49-F238E27FC236}">
                <a16:creationId xmlns:a16="http://schemas.microsoft.com/office/drawing/2014/main" id="{23CD4DB9-CC33-A2BB-086F-EE62025E4664}"/>
              </a:ext>
            </a:extLst>
          </p:cNvPr>
          <p:cNvCxnSpPr/>
          <p:nvPr/>
        </p:nvCxnSpPr>
        <p:spPr>
          <a:xfrm>
            <a:off x="2907034" y="2986070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9" name="Straight Connector 348">
            <a:extLst>
              <a:ext uri="{FF2B5EF4-FFF2-40B4-BE49-F238E27FC236}">
                <a16:creationId xmlns:a16="http://schemas.microsoft.com/office/drawing/2014/main" id="{9955A83A-04E3-2DE6-AAC1-EB7FC0AE2933}"/>
              </a:ext>
            </a:extLst>
          </p:cNvPr>
          <p:cNvCxnSpPr/>
          <p:nvPr/>
        </p:nvCxnSpPr>
        <p:spPr>
          <a:xfrm>
            <a:off x="2910623" y="2986957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0" name="Straight Connector 349">
            <a:extLst>
              <a:ext uri="{FF2B5EF4-FFF2-40B4-BE49-F238E27FC236}">
                <a16:creationId xmlns:a16="http://schemas.microsoft.com/office/drawing/2014/main" id="{8ECF49B9-D354-90A7-2264-4B0421EBDA57}"/>
              </a:ext>
            </a:extLst>
          </p:cNvPr>
          <p:cNvCxnSpPr/>
          <p:nvPr/>
        </p:nvCxnSpPr>
        <p:spPr>
          <a:xfrm>
            <a:off x="2915109" y="2993818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1" name="Straight Connector 350">
            <a:extLst>
              <a:ext uri="{FF2B5EF4-FFF2-40B4-BE49-F238E27FC236}">
                <a16:creationId xmlns:a16="http://schemas.microsoft.com/office/drawing/2014/main" id="{C4CAAAA5-7CCB-F554-7413-9993B5232B9B}"/>
              </a:ext>
            </a:extLst>
          </p:cNvPr>
          <p:cNvCxnSpPr/>
          <p:nvPr/>
        </p:nvCxnSpPr>
        <p:spPr>
          <a:xfrm>
            <a:off x="2919594" y="2997934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2" name="Straight Connector 351">
            <a:extLst>
              <a:ext uri="{FF2B5EF4-FFF2-40B4-BE49-F238E27FC236}">
                <a16:creationId xmlns:a16="http://schemas.microsoft.com/office/drawing/2014/main" id="{8C8FEC75-117D-3974-8E88-2CF045BACDED}"/>
              </a:ext>
            </a:extLst>
          </p:cNvPr>
          <p:cNvCxnSpPr/>
          <p:nvPr/>
        </p:nvCxnSpPr>
        <p:spPr>
          <a:xfrm>
            <a:off x="2923183" y="2999306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3" name="Straight Connector 352">
            <a:extLst>
              <a:ext uri="{FF2B5EF4-FFF2-40B4-BE49-F238E27FC236}">
                <a16:creationId xmlns:a16="http://schemas.microsoft.com/office/drawing/2014/main" id="{6579E4EE-B64F-2F63-A820-68BA3952A5D7}"/>
              </a:ext>
            </a:extLst>
          </p:cNvPr>
          <p:cNvCxnSpPr/>
          <p:nvPr/>
        </p:nvCxnSpPr>
        <p:spPr>
          <a:xfrm>
            <a:off x="2927668" y="2999306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4" name="Straight Connector 353">
            <a:extLst>
              <a:ext uri="{FF2B5EF4-FFF2-40B4-BE49-F238E27FC236}">
                <a16:creationId xmlns:a16="http://schemas.microsoft.com/office/drawing/2014/main" id="{836E7C05-1D75-C4EA-2377-38EA735151F3}"/>
              </a:ext>
            </a:extLst>
          </p:cNvPr>
          <p:cNvCxnSpPr/>
          <p:nvPr/>
        </p:nvCxnSpPr>
        <p:spPr>
          <a:xfrm>
            <a:off x="2931257" y="2999306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5" name="Straight Connector 354">
            <a:extLst>
              <a:ext uri="{FF2B5EF4-FFF2-40B4-BE49-F238E27FC236}">
                <a16:creationId xmlns:a16="http://schemas.microsoft.com/office/drawing/2014/main" id="{5F5988B9-5339-2A83-7AD5-7ACDECA81D9A}"/>
              </a:ext>
            </a:extLst>
          </p:cNvPr>
          <p:cNvCxnSpPr/>
          <p:nvPr/>
        </p:nvCxnSpPr>
        <p:spPr>
          <a:xfrm>
            <a:off x="2935742" y="2999306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6" name="Straight Connector 355">
            <a:extLst>
              <a:ext uri="{FF2B5EF4-FFF2-40B4-BE49-F238E27FC236}">
                <a16:creationId xmlns:a16="http://schemas.microsoft.com/office/drawing/2014/main" id="{C59FA748-2378-6105-0626-E4629EEF16AB}"/>
              </a:ext>
            </a:extLst>
          </p:cNvPr>
          <p:cNvCxnSpPr/>
          <p:nvPr/>
        </p:nvCxnSpPr>
        <p:spPr>
          <a:xfrm>
            <a:off x="3172573" y="3017145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7" name="Straight Connector 356">
            <a:extLst>
              <a:ext uri="{FF2B5EF4-FFF2-40B4-BE49-F238E27FC236}">
                <a16:creationId xmlns:a16="http://schemas.microsoft.com/office/drawing/2014/main" id="{34C2ED69-9C8C-FDCF-66D5-4ABF3093A522}"/>
              </a:ext>
            </a:extLst>
          </p:cNvPr>
          <p:cNvCxnSpPr/>
          <p:nvPr/>
        </p:nvCxnSpPr>
        <p:spPr>
          <a:xfrm>
            <a:off x="3178853" y="3017145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8" name="Straight Connector 357">
            <a:extLst>
              <a:ext uri="{FF2B5EF4-FFF2-40B4-BE49-F238E27FC236}">
                <a16:creationId xmlns:a16="http://schemas.microsoft.com/office/drawing/2014/main" id="{329000AE-64E5-60A1-2F85-2282D2ACD132}"/>
              </a:ext>
            </a:extLst>
          </p:cNvPr>
          <p:cNvCxnSpPr/>
          <p:nvPr/>
        </p:nvCxnSpPr>
        <p:spPr>
          <a:xfrm>
            <a:off x="3395051" y="3043219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9" name="Straight Connector 358">
            <a:extLst>
              <a:ext uri="{FF2B5EF4-FFF2-40B4-BE49-F238E27FC236}">
                <a16:creationId xmlns:a16="http://schemas.microsoft.com/office/drawing/2014/main" id="{1A0B85EE-C705-57E7-339F-B6703A70091F}"/>
              </a:ext>
            </a:extLst>
          </p:cNvPr>
          <p:cNvCxnSpPr/>
          <p:nvPr/>
        </p:nvCxnSpPr>
        <p:spPr>
          <a:xfrm>
            <a:off x="3402228" y="3042776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0" name="Straight Connector 359">
            <a:extLst>
              <a:ext uri="{FF2B5EF4-FFF2-40B4-BE49-F238E27FC236}">
                <a16:creationId xmlns:a16="http://schemas.microsoft.com/office/drawing/2014/main" id="{ABD93B5F-4B64-83E7-9CCF-B6BCB0B3070B}"/>
              </a:ext>
            </a:extLst>
          </p:cNvPr>
          <p:cNvCxnSpPr/>
          <p:nvPr/>
        </p:nvCxnSpPr>
        <p:spPr>
          <a:xfrm>
            <a:off x="3451567" y="3050080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1" name="Straight Connector 360">
            <a:extLst>
              <a:ext uri="{FF2B5EF4-FFF2-40B4-BE49-F238E27FC236}">
                <a16:creationId xmlns:a16="http://schemas.microsoft.com/office/drawing/2014/main" id="{BAF5AD8C-A8DA-84E0-E83A-282FAF3F8F89}"/>
              </a:ext>
            </a:extLst>
          </p:cNvPr>
          <p:cNvCxnSpPr/>
          <p:nvPr/>
        </p:nvCxnSpPr>
        <p:spPr>
          <a:xfrm>
            <a:off x="3457847" y="3051009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2" name="Straight Connector 361">
            <a:extLst>
              <a:ext uri="{FF2B5EF4-FFF2-40B4-BE49-F238E27FC236}">
                <a16:creationId xmlns:a16="http://schemas.microsoft.com/office/drawing/2014/main" id="{4F74DCDD-7D85-342C-2F6B-E6AFA1B7CB53}"/>
              </a:ext>
            </a:extLst>
          </p:cNvPr>
          <p:cNvCxnSpPr/>
          <p:nvPr/>
        </p:nvCxnSpPr>
        <p:spPr>
          <a:xfrm>
            <a:off x="3486554" y="3057428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3" name="Straight Connector 362">
            <a:extLst>
              <a:ext uri="{FF2B5EF4-FFF2-40B4-BE49-F238E27FC236}">
                <a16:creationId xmlns:a16="http://schemas.microsoft.com/office/drawing/2014/main" id="{99AFF6C3-B760-E2DD-9B5B-5FC9DA377E06}"/>
              </a:ext>
            </a:extLst>
          </p:cNvPr>
          <p:cNvCxnSpPr/>
          <p:nvPr/>
        </p:nvCxnSpPr>
        <p:spPr>
          <a:xfrm>
            <a:off x="3491040" y="3057428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4" name="Straight Connector 363">
            <a:extLst>
              <a:ext uri="{FF2B5EF4-FFF2-40B4-BE49-F238E27FC236}">
                <a16:creationId xmlns:a16="http://schemas.microsoft.com/office/drawing/2014/main" id="{7C058A1E-A9C0-079F-EDC8-3069CCB6FA32}"/>
              </a:ext>
            </a:extLst>
          </p:cNvPr>
          <p:cNvCxnSpPr/>
          <p:nvPr/>
        </p:nvCxnSpPr>
        <p:spPr>
          <a:xfrm>
            <a:off x="3496422" y="3057871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5" name="Straight Connector 364">
            <a:extLst>
              <a:ext uri="{FF2B5EF4-FFF2-40B4-BE49-F238E27FC236}">
                <a16:creationId xmlns:a16="http://schemas.microsoft.com/office/drawing/2014/main" id="{D44C9EE5-37C6-AD5F-014C-D9505900B84D}"/>
              </a:ext>
            </a:extLst>
          </p:cNvPr>
          <p:cNvCxnSpPr/>
          <p:nvPr/>
        </p:nvCxnSpPr>
        <p:spPr>
          <a:xfrm>
            <a:off x="3501804" y="3057428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6" name="Straight Connector 365">
            <a:extLst>
              <a:ext uri="{FF2B5EF4-FFF2-40B4-BE49-F238E27FC236}">
                <a16:creationId xmlns:a16="http://schemas.microsoft.com/office/drawing/2014/main" id="{8DAB80F4-836F-01E5-F206-1FE90C9768DA}"/>
              </a:ext>
            </a:extLst>
          </p:cNvPr>
          <p:cNvCxnSpPr/>
          <p:nvPr/>
        </p:nvCxnSpPr>
        <p:spPr>
          <a:xfrm>
            <a:off x="3507187" y="3057428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7" name="Straight Connector 366">
            <a:extLst>
              <a:ext uri="{FF2B5EF4-FFF2-40B4-BE49-F238E27FC236}">
                <a16:creationId xmlns:a16="http://schemas.microsoft.com/office/drawing/2014/main" id="{5686321F-7F93-075C-5359-943A859A0B8A}"/>
              </a:ext>
            </a:extLst>
          </p:cNvPr>
          <p:cNvCxnSpPr/>
          <p:nvPr/>
        </p:nvCxnSpPr>
        <p:spPr>
          <a:xfrm>
            <a:off x="3512570" y="3057428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8" name="Straight Connector 367">
            <a:extLst>
              <a:ext uri="{FF2B5EF4-FFF2-40B4-BE49-F238E27FC236}">
                <a16:creationId xmlns:a16="http://schemas.microsoft.com/office/drawing/2014/main" id="{8BA22DC4-D00E-8B5E-0741-7E999094F932}"/>
              </a:ext>
            </a:extLst>
          </p:cNvPr>
          <p:cNvCxnSpPr/>
          <p:nvPr/>
        </p:nvCxnSpPr>
        <p:spPr>
          <a:xfrm>
            <a:off x="3517055" y="3057428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9" name="Straight Connector 368">
            <a:extLst>
              <a:ext uri="{FF2B5EF4-FFF2-40B4-BE49-F238E27FC236}">
                <a16:creationId xmlns:a16="http://schemas.microsoft.com/office/drawing/2014/main" id="{D6432E06-57F8-A996-F17F-23E4927F59CC}"/>
              </a:ext>
            </a:extLst>
          </p:cNvPr>
          <p:cNvCxnSpPr/>
          <p:nvPr/>
        </p:nvCxnSpPr>
        <p:spPr>
          <a:xfrm>
            <a:off x="3532305" y="3057428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0" name="Straight Connector 369">
            <a:extLst>
              <a:ext uri="{FF2B5EF4-FFF2-40B4-BE49-F238E27FC236}">
                <a16:creationId xmlns:a16="http://schemas.microsoft.com/office/drawing/2014/main" id="{A6D98B2C-AA29-BD2A-0C13-6770AA7CC76E}"/>
              </a:ext>
            </a:extLst>
          </p:cNvPr>
          <p:cNvCxnSpPr/>
          <p:nvPr/>
        </p:nvCxnSpPr>
        <p:spPr>
          <a:xfrm>
            <a:off x="3538585" y="3057428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1" name="Straight Connector 370">
            <a:extLst>
              <a:ext uri="{FF2B5EF4-FFF2-40B4-BE49-F238E27FC236}">
                <a16:creationId xmlns:a16="http://schemas.microsoft.com/office/drawing/2014/main" id="{C0B9487F-DC9F-C344-E02A-2B87420A46D2}"/>
              </a:ext>
            </a:extLst>
          </p:cNvPr>
          <p:cNvCxnSpPr/>
          <p:nvPr/>
        </p:nvCxnSpPr>
        <p:spPr>
          <a:xfrm>
            <a:off x="3571777" y="3057428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2" name="Straight Connector 371">
            <a:extLst>
              <a:ext uri="{FF2B5EF4-FFF2-40B4-BE49-F238E27FC236}">
                <a16:creationId xmlns:a16="http://schemas.microsoft.com/office/drawing/2014/main" id="{AD28ED56-2298-B05A-09B0-1250CEC4EFE4}"/>
              </a:ext>
            </a:extLst>
          </p:cNvPr>
          <p:cNvCxnSpPr/>
          <p:nvPr/>
        </p:nvCxnSpPr>
        <p:spPr>
          <a:xfrm>
            <a:off x="3577160" y="3057428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3" name="Straight Connector 372">
            <a:extLst>
              <a:ext uri="{FF2B5EF4-FFF2-40B4-BE49-F238E27FC236}">
                <a16:creationId xmlns:a16="http://schemas.microsoft.com/office/drawing/2014/main" id="{EF132A33-782D-5626-49EA-19FDB1AB7EA5}"/>
              </a:ext>
            </a:extLst>
          </p:cNvPr>
          <p:cNvCxnSpPr/>
          <p:nvPr/>
        </p:nvCxnSpPr>
        <p:spPr>
          <a:xfrm>
            <a:off x="3582542" y="3056499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4" name="Straight Connector 373">
            <a:extLst>
              <a:ext uri="{FF2B5EF4-FFF2-40B4-BE49-F238E27FC236}">
                <a16:creationId xmlns:a16="http://schemas.microsoft.com/office/drawing/2014/main" id="{D958A153-5B17-8CF3-E5A7-6AA79BEFBD0F}"/>
              </a:ext>
            </a:extLst>
          </p:cNvPr>
          <p:cNvCxnSpPr/>
          <p:nvPr/>
        </p:nvCxnSpPr>
        <p:spPr>
          <a:xfrm>
            <a:off x="3846286" y="3067476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5" name="Straight Connector 374">
            <a:extLst>
              <a:ext uri="{FF2B5EF4-FFF2-40B4-BE49-F238E27FC236}">
                <a16:creationId xmlns:a16="http://schemas.microsoft.com/office/drawing/2014/main" id="{C2B25A45-C3FA-D1DD-476E-C65B368BB027}"/>
              </a:ext>
            </a:extLst>
          </p:cNvPr>
          <p:cNvCxnSpPr/>
          <p:nvPr/>
        </p:nvCxnSpPr>
        <p:spPr>
          <a:xfrm>
            <a:off x="3850771" y="3067034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6" name="Straight Connector 375">
            <a:extLst>
              <a:ext uri="{FF2B5EF4-FFF2-40B4-BE49-F238E27FC236}">
                <a16:creationId xmlns:a16="http://schemas.microsoft.com/office/drawing/2014/main" id="{0DF3126D-6F8E-EEDB-A721-574808CBBAC5}"/>
              </a:ext>
            </a:extLst>
          </p:cNvPr>
          <p:cNvCxnSpPr/>
          <p:nvPr/>
        </p:nvCxnSpPr>
        <p:spPr>
          <a:xfrm>
            <a:off x="3855257" y="3067034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7" name="Straight Connector 376">
            <a:extLst>
              <a:ext uri="{FF2B5EF4-FFF2-40B4-BE49-F238E27FC236}">
                <a16:creationId xmlns:a16="http://schemas.microsoft.com/office/drawing/2014/main" id="{2E566117-8625-F285-674B-FF3D3DD015E2}"/>
              </a:ext>
            </a:extLst>
          </p:cNvPr>
          <p:cNvCxnSpPr/>
          <p:nvPr/>
        </p:nvCxnSpPr>
        <p:spPr>
          <a:xfrm>
            <a:off x="3884861" y="3076640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8" name="Straight Connector 377">
            <a:extLst>
              <a:ext uri="{FF2B5EF4-FFF2-40B4-BE49-F238E27FC236}">
                <a16:creationId xmlns:a16="http://schemas.microsoft.com/office/drawing/2014/main" id="{F1A1FBE0-C057-AE66-BCF9-B723BDE446CE}"/>
              </a:ext>
            </a:extLst>
          </p:cNvPr>
          <p:cNvCxnSpPr/>
          <p:nvPr/>
        </p:nvCxnSpPr>
        <p:spPr>
          <a:xfrm>
            <a:off x="3887552" y="3076640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9" name="Straight Connector 378">
            <a:extLst>
              <a:ext uri="{FF2B5EF4-FFF2-40B4-BE49-F238E27FC236}">
                <a16:creationId xmlns:a16="http://schemas.microsoft.com/office/drawing/2014/main" id="{77127F87-AD82-B378-FFF1-4B05D619C461}"/>
              </a:ext>
            </a:extLst>
          </p:cNvPr>
          <p:cNvCxnSpPr/>
          <p:nvPr/>
        </p:nvCxnSpPr>
        <p:spPr>
          <a:xfrm>
            <a:off x="3911773" y="3076640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0" name="Straight Connector 379">
            <a:extLst>
              <a:ext uri="{FF2B5EF4-FFF2-40B4-BE49-F238E27FC236}">
                <a16:creationId xmlns:a16="http://schemas.microsoft.com/office/drawing/2014/main" id="{E63907FE-A7D1-A4F3-D6C7-F4ECF61E14AC}"/>
              </a:ext>
            </a:extLst>
          </p:cNvPr>
          <p:cNvCxnSpPr/>
          <p:nvPr/>
        </p:nvCxnSpPr>
        <p:spPr>
          <a:xfrm>
            <a:off x="3917156" y="3076640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1" name="Straight Connector 380">
            <a:extLst>
              <a:ext uri="{FF2B5EF4-FFF2-40B4-BE49-F238E27FC236}">
                <a16:creationId xmlns:a16="http://schemas.microsoft.com/office/drawing/2014/main" id="{4938C66E-5A75-74BE-3C18-B1FEFA9DD216}"/>
              </a:ext>
            </a:extLst>
          </p:cNvPr>
          <p:cNvCxnSpPr/>
          <p:nvPr/>
        </p:nvCxnSpPr>
        <p:spPr>
          <a:xfrm>
            <a:off x="3971878" y="3076640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2" name="Straight Connector 381">
            <a:extLst>
              <a:ext uri="{FF2B5EF4-FFF2-40B4-BE49-F238E27FC236}">
                <a16:creationId xmlns:a16="http://schemas.microsoft.com/office/drawing/2014/main" id="{2CEE823D-E7C0-901B-6515-792518BE353D}"/>
              </a:ext>
            </a:extLst>
          </p:cNvPr>
          <p:cNvCxnSpPr/>
          <p:nvPr/>
        </p:nvCxnSpPr>
        <p:spPr>
          <a:xfrm>
            <a:off x="3976364" y="3076640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3" name="Straight Connector 382">
            <a:extLst>
              <a:ext uri="{FF2B5EF4-FFF2-40B4-BE49-F238E27FC236}">
                <a16:creationId xmlns:a16="http://schemas.microsoft.com/office/drawing/2014/main" id="{E2C4524A-5A42-A538-2B55-B09E22C35F66}"/>
              </a:ext>
            </a:extLst>
          </p:cNvPr>
          <p:cNvCxnSpPr/>
          <p:nvPr/>
        </p:nvCxnSpPr>
        <p:spPr>
          <a:xfrm>
            <a:off x="3979952" y="3076640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4" name="Straight Connector 383">
            <a:extLst>
              <a:ext uri="{FF2B5EF4-FFF2-40B4-BE49-F238E27FC236}">
                <a16:creationId xmlns:a16="http://schemas.microsoft.com/office/drawing/2014/main" id="{29248F6A-4CE2-3F7F-8082-5C251FB14AFA}"/>
              </a:ext>
            </a:extLst>
          </p:cNvPr>
          <p:cNvCxnSpPr/>
          <p:nvPr/>
        </p:nvCxnSpPr>
        <p:spPr>
          <a:xfrm>
            <a:off x="3983540" y="3076197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5" name="Straight Connector 384">
            <a:extLst>
              <a:ext uri="{FF2B5EF4-FFF2-40B4-BE49-F238E27FC236}">
                <a16:creationId xmlns:a16="http://schemas.microsoft.com/office/drawing/2014/main" id="{2DE6182E-9F42-49CD-64F2-F9FF4F372324}"/>
              </a:ext>
            </a:extLst>
          </p:cNvPr>
          <p:cNvCxnSpPr/>
          <p:nvPr/>
        </p:nvCxnSpPr>
        <p:spPr>
          <a:xfrm>
            <a:off x="3987129" y="3076640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6" name="Straight Connector 385">
            <a:extLst>
              <a:ext uri="{FF2B5EF4-FFF2-40B4-BE49-F238E27FC236}">
                <a16:creationId xmlns:a16="http://schemas.microsoft.com/office/drawing/2014/main" id="{F1130048-1E2A-56AB-C128-9A44EF4D28A4}"/>
              </a:ext>
            </a:extLst>
          </p:cNvPr>
          <p:cNvCxnSpPr/>
          <p:nvPr/>
        </p:nvCxnSpPr>
        <p:spPr>
          <a:xfrm>
            <a:off x="3991614" y="3076640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7" name="Straight Connector 386">
            <a:extLst>
              <a:ext uri="{FF2B5EF4-FFF2-40B4-BE49-F238E27FC236}">
                <a16:creationId xmlns:a16="http://schemas.microsoft.com/office/drawing/2014/main" id="{0DEA9E79-B6E8-7283-F82D-292C10A590E3}"/>
              </a:ext>
            </a:extLst>
          </p:cNvPr>
          <p:cNvCxnSpPr/>
          <p:nvPr/>
        </p:nvCxnSpPr>
        <p:spPr>
          <a:xfrm>
            <a:off x="3995203" y="3076640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8" name="Straight Connector 387">
            <a:extLst>
              <a:ext uri="{FF2B5EF4-FFF2-40B4-BE49-F238E27FC236}">
                <a16:creationId xmlns:a16="http://schemas.microsoft.com/office/drawing/2014/main" id="{12DD08F4-19D9-6B58-A7D8-F15C47F620D0}"/>
              </a:ext>
            </a:extLst>
          </p:cNvPr>
          <p:cNvCxnSpPr/>
          <p:nvPr/>
        </p:nvCxnSpPr>
        <p:spPr>
          <a:xfrm>
            <a:off x="3999688" y="3076640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9" name="Straight Connector 388">
            <a:extLst>
              <a:ext uri="{FF2B5EF4-FFF2-40B4-BE49-F238E27FC236}">
                <a16:creationId xmlns:a16="http://schemas.microsoft.com/office/drawing/2014/main" id="{4C877EDF-8665-B2D0-703B-B2260A3E11FF}"/>
              </a:ext>
            </a:extLst>
          </p:cNvPr>
          <p:cNvCxnSpPr/>
          <p:nvPr/>
        </p:nvCxnSpPr>
        <p:spPr>
          <a:xfrm>
            <a:off x="4004173" y="3076640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0" name="Straight Connector 389">
            <a:extLst>
              <a:ext uri="{FF2B5EF4-FFF2-40B4-BE49-F238E27FC236}">
                <a16:creationId xmlns:a16="http://schemas.microsoft.com/office/drawing/2014/main" id="{D6E8B9CF-7EA5-EA80-44BF-DAF245413A5B}"/>
              </a:ext>
            </a:extLst>
          </p:cNvPr>
          <p:cNvCxnSpPr/>
          <p:nvPr/>
        </p:nvCxnSpPr>
        <p:spPr>
          <a:xfrm>
            <a:off x="4006865" y="3076640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1" name="Straight Connector 390">
            <a:extLst>
              <a:ext uri="{FF2B5EF4-FFF2-40B4-BE49-F238E27FC236}">
                <a16:creationId xmlns:a16="http://schemas.microsoft.com/office/drawing/2014/main" id="{7A3C3D9A-B819-5797-C3EC-346B7B86E77F}"/>
              </a:ext>
            </a:extLst>
          </p:cNvPr>
          <p:cNvCxnSpPr/>
          <p:nvPr/>
        </p:nvCxnSpPr>
        <p:spPr>
          <a:xfrm>
            <a:off x="4010453" y="3076640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2" name="Straight Connector 391">
            <a:extLst>
              <a:ext uri="{FF2B5EF4-FFF2-40B4-BE49-F238E27FC236}">
                <a16:creationId xmlns:a16="http://schemas.microsoft.com/office/drawing/2014/main" id="{429A695E-663C-496A-C2DE-0B59FD09A9F6}"/>
              </a:ext>
            </a:extLst>
          </p:cNvPr>
          <p:cNvCxnSpPr/>
          <p:nvPr/>
        </p:nvCxnSpPr>
        <p:spPr>
          <a:xfrm>
            <a:off x="4014938" y="3076640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3" name="Straight Connector 392">
            <a:extLst>
              <a:ext uri="{FF2B5EF4-FFF2-40B4-BE49-F238E27FC236}">
                <a16:creationId xmlns:a16="http://schemas.microsoft.com/office/drawing/2014/main" id="{149A29D9-3FCC-234B-1CD0-F9DEF9F94108}"/>
              </a:ext>
            </a:extLst>
          </p:cNvPr>
          <p:cNvCxnSpPr/>
          <p:nvPr/>
        </p:nvCxnSpPr>
        <p:spPr>
          <a:xfrm>
            <a:off x="4019424" y="3076640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4" name="Straight Connector 393">
            <a:extLst>
              <a:ext uri="{FF2B5EF4-FFF2-40B4-BE49-F238E27FC236}">
                <a16:creationId xmlns:a16="http://schemas.microsoft.com/office/drawing/2014/main" id="{07CF5F18-8F3A-EEF3-D988-C9EFDA4611DC}"/>
              </a:ext>
            </a:extLst>
          </p:cNvPr>
          <p:cNvCxnSpPr/>
          <p:nvPr/>
        </p:nvCxnSpPr>
        <p:spPr>
          <a:xfrm>
            <a:off x="4023012" y="3076640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5" name="Straight Connector 394">
            <a:extLst>
              <a:ext uri="{FF2B5EF4-FFF2-40B4-BE49-F238E27FC236}">
                <a16:creationId xmlns:a16="http://schemas.microsoft.com/office/drawing/2014/main" id="{3F230A9D-4366-4D09-EBD9-121D08232914}"/>
              </a:ext>
            </a:extLst>
          </p:cNvPr>
          <p:cNvCxnSpPr/>
          <p:nvPr/>
        </p:nvCxnSpPr>
        <p:spPr>
          <a:xfrm>
            <a:off x="4025703" y="3076640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6" name="Straight Connector 395">
            <a:extLst>
              <a:ext uri="{FF2B5EF4-FFF2-40B4-BE49-F238E27FC236}">
                <a16:creationId xmlns:a16="http://schemas.microsoft.com/office/drawing/2014/main" id="{1F2B3810-D139-EA79-53C0-90A866C60641}"/>
              </a:ext>
            </a:extLst>
          </p:cNvPr>
          <p:cNvCxnSpPr/>
          <p:nvPr/>
        </p:nvCxnSpPr>
        <p:spPr>
          <a:xfrm>
            <a:off x="4028395" y="3076640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7" name="Straight Connector 396">
            <a:extLst>
              <a:ext uri="{FF2B5EF4-FFF2-40B4-BE49-F238E27FC236}">
                <a16:creationId xmlns:a16="http://schemas.microsoft.com/office/drawing/2014/main" id="{04C88870-52CB-BE5C-4892-8958806E059D}"/>
              </a:ext>
            </a:extLst>
          </p:cNvPr>
          <p:cNvCxnSpPr/>
          <p:nvPr/>
        </p:nvCxnSpPr>
        <p:spPr>
          <a:xfrm>
            <a:off x="4032880" y="3076640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8" name="Straight Connector 397">
            <a:extLst>
              <a:ext uri="{FF2B5EF4-FFF2-40B4-BE49-F238E27FC236}">
                <a16:creationId xmlns:a16="http://schemas.microsoft.com/office/drawing/2014/main" id="{6FA4F4D1-B411-6A7D-D71E-6EE05147E995}"/>
              </a:ext>
            </a:extLst>
          </p:cNvPr>
          <p:cNvCxnSpPr/>
          <p:nvPr/>
        </p:nvCxnSpPr>
        <p:spPr>
          <a:xfrm>
            <a:off x="4036469" y="3076640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9" name="Straight Connector 398">
            <a:extLst>
              <a:ext uri="{FF2B5EF4-FFF2-40B4-BE49-F238E27FC236}">
                <a16:creationId xmlns:a16="http://schemas.microsoft.com/office/drawing/2014/main" id="{04E74117-DBB8-3267-819F-C76C43932AF1}"/>
              </a:ext>
            </a:extLst>
          </p:cNvPr>
          <p:cNvCxnSpPr/>
          <p:nvPr/>
        </p:nvCxnSpPr>
        <p:spPr>
          <a:xfrm>
            <a:off x="4039160" y="3076640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0" name="Straight Connector 399">
            <a:extLst>
              <a:ext uri="{FF2B5EF4-FFF2-40B4-BE49-F238E27FC236}">
                <a16:creationId xmlns:a16="http://schemas.microsoft.com/office/drawing/2014/main" id="{B709E650-5101-9B10-560F-0FE03449AF6F}"/>
              </a:ext>
            </a:extLst>
          </p:cNvPr>
          <p:cNvCxnSpPr/>
          <p:nvPr/>
        </p:nvCxnSpPr>
        <p:spPr>
          <a:xfrm>
            <a:off x="4042748" y="3076640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1" name="Straight Connector 400">
            <a:extLst>
              <a:ext uri="{FF2B5EF4-FFF2-40B4-BE49-F238E27FC236}">
                <a16:creationId xmlns:a16="http://schemas.microsoft.com/office/drawing/2014/main" id="{10F67801-747F-143D-290A-A3B8B37E7B0F}"/>
              </a:ext>
            </a:extLst>
          </p:cNvPr>
          <p:cNvCxnSpPr/>
          <p:nvPr/>
        </p:nvCxnSpPr>
        <p:spPr>
          <a:xfrm>
            <a:off x="4047233" y="3076640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2" name="Straight Connector 401">
            <a:extLst>
              <a:ext uri="{FF2B5EF4-FFF2-40B4-BE49-F238E27FC236}">
                <a16:creationId xmlns:a16="http://schemas.microsoft.com/office/drawing/2014/main" id="{5994523D-CF66-DDF4-E218-F531CD0E1999}"/>
              </a:ext>
            </a:extLst>
          </p:cNvPr>
          <p:cNvCxnSpPr/>
          <p:nvPr/>
        </p:nvCxnSpPr>
        <p:spPr>
          <a:xfrm>
            <a:off x="4050822" y="3076640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3" name="Straight Connector 402">
            <a:extLst>
              <a:ext uri="{FF2B5EF4-FFF2-40B4-BE49-F238E27FC236}">
                <a16:creationId xmlns:a16="http://schemas.microsoft.com/office/drawing/2014/main" id="{D4D5A0C6-F571-A0EE-72B1-1AA0AAC3E891}"/>
              </a:ext>
            </a:extLst>
          </p:cNvPr>
          <p:cNvCxnSpPr/>
          <p:nvPr/>
        </p:nvCxnSpPr>
        <p:spPr>
          <a:xfrm>
            <a:off x="4054410" y="3076640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4" name="Straight Connector 403">
            <a:extLst>
              <a:ext uri="{FF2B5EF4-FFF2-40B4-BE49-F238E27FC236}">
                <a16:creationId xmlns:a16="http://schemas.microsoft.com/office/drawing/2014/main" id="{A9839C8A-A77C-82E8-32A7-90656E14A9A9}"/>
              </a:ext>
            </a:extLst>
          </p:cNvPr>
          <p:cNvCxnSpPr/>
          <p:nvPr/>
        </p:nvCxnSpPr>
        <p:spPr>
          <a:xfrm>
            <a:off x="4057101" y="3076640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5" name="Straight Connector 404">
            <a:extLst>
              <a:ext uri="{FF2B5EF4-FFF2-40B4-BE49-F238E27FC236}">
                <a16:creationId xmlns:a16="http://schemas.microsoft.com/office/drawing/2014/main" id="{E31D4A0D-E627-8DC4-D41B-0102BAE373FE}"/>
              </a:ext>
            </a:extLst>
          </p:cNvPr>
          <p:cNvCxnSpPr/>
          <p:nvPr/>
        </p:nvCxnSpPr>
        <p:spPr>
          <a:xfrm>
            <a:off x="4060690" y="3077569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6" name="Straight Connector 405">
            <a:extLst>
              <a:ext uri="{FF2B5EF4-FFF2-40B4-BE49-F238E27FC236}">
                <a16:creationId xmlns:a16="http://schemas.microsoft.com/office/drawing/2014/main" id="{13E4EBEC-2163-8961-45B9-D95F0F7DC787}"/>
              </a:ext>
            </a:extLst>
          </p:cNvPr>
          <p:cNvCxnSpPr/>
          <p:nvPr/>
        </p:nvCxnSpPr>
        <p:spPr>
          <a:xfrm>
            <a:off x="4063381" y="3081686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7" name="Straight Connector 406">
            <a:extLst>
              <a:ext uri="{FF2B5EF4-FFF2-40B4-BE49-F238E27FC236}">
                <a16:creationId xmlns:a16="http://schemas.microsoft.com/office/drawing/2014/main" id="{0FD80E13-8C17-D3F1-0E04-DB3D661BC2DF}"/>
              </a:ext>
            </a:extLst>
          </p:cNvPr>
          <p:cNvCxnSpPr/>
          <p:nvPr/>
        </p:nvCxnSpPr>
        <p:spPr>
          <a:xfrm>
            <a:off x="4065175" y="3081686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8" name="Straight Connector 407">
            <a:extLst>
              <a:ext uri="{FF2B5EF4-FFF2-40B4-BE49-F238E27FC236}">
                <a16:creationId xmlns:a16="http://schemas.microsoft.com/office/drawing/2014/main" id="{07C9E9CD-5D3C-27A1-4025-FE365AEE6C7B}"/>
              </a:ext>
            </a:extLst>
          </p:cNvPr>
          <p:cNvCxnSpPr/>
          <p:nvPr/>
        </p:nvCxnSpPr>
        <p:spPr>
          <a:xfrm>
            <a:off x="4092088" y="3107759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9" name="Straight Connector 408">
            <a:extLst>
              <a:ext uri="{FF2B5EF4-FFF2-40B4-BE49-F238E27FC236}">
                <a16:creationId xmlns:a16="http://schemas.microsoft.com/office/drawing/2014/main" id="{932D2EEB-AA33-7D2E-DE44-F6E02596E6DA}"/>
              </a:ext>
            </a:extLst>
          </p:cNvPr>
          <p:cNvCxnSpPr/>
          <p:nvPr/>
        </p:nvCxnSpPr>
        <p:spPr>
          <a:xfrm>
            <a:off x="4096573" y="3107759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0" name="Straight Connector 409">
            <a:extLst>
              <a:ext uri="{FF2B5EF4-FFF2-40B4-BE49-F238E27FC236}">
                <a16:creationId xmlns:a16="http://schemas.microsoft.com/office/drawing/2014/main" id="{FCE99FB7-479C-B9A2-FD17-CE3850363C18}"/>
              </a:ext>
            </a:extLst>
          </p:cNvPr>
          <p:cNvCxnSpPr/>
          <p:nvPr/>
        </p:nvCxnSpPr>
        <p:spPr>
          <a:xfrm>
            <a:off x="4101059" y="3107759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1" name="Straight Connector 410">
            <a:extLst>
              <a:ext uri="{FF2B5EF4-FFF2-40B4-BE49-F238E27FC236}">
                <a16:creationId xmlns:a16="http://schemas.microsoft.com/office/drawing/2014/main" id="{22F12C26-6C68-F640-6140-3FD2B65F8040}"/>
              </a:ext>
            </a:extLst>
          </p:cNvPr>
          <p:cNvCxnSpPr/>
          <p:nvPr/>
        </p:nvCxnSpPr>
        <p:spPr>
          <a:xfrm>
            <a:off x="4103750" y="3107759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2" name="Straight Connector 411">
            <a:extLst>
              <a:ext uri="{FF2B5EF4-FFF2-40B4-BE49-F238E27FC236}">
                <a16:creationId xmlns:a16="http://schemas.microsoft.com/office/drawing/2014/main" id="{A025C7D8-1B22-988E-1961-ECA3B4BC40CC}"/>
              </a:ext>
            </a:extLst>
          </p:cNvPr>
          <p:cNvCxnSpPr/>
          <p:nvPr/>
        </p:nvCxnSpPr>
        <p:spPr>
          <a:xfrm>
            <a:off x="4108235" y="3107759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3" name="Straight Connector 412">
            <a:extLst>
              <a:ext uri="{FF2B5EF4-FFF2-40B4-BE49-F238E27FC236}">
                <a16:creationId xmlns:a16="http://schemas.microsoft.com/office/drawing/2014/main" id="{AA03F637-B304-E26C-EA66-AC4814E7DCDF}"/>
              </a:ext>
            </a:extLst>
          </p:cNvPr>
          <p:cNvCxnSpPr/>
          <p:nvPr/>
        </p:nvCxnSpPr>
        <p:spPr>
          <a:xfrm>
            <a:off x="4110927" y="3107759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4" name="Straight Connector 413">
            <a:extLst>
              <a:ext uri="{FF2B5EF4-FFF2-40B4-BE49-F238E27FC236}">
                <a16:creationId xmlns:a16="http://schemas.microsoft.com/office/drawing/2014/main" id="{999AEC02-AD08-2944-5172-098FD2905628}"/>
              </a:ext>
            </a:extLst>
          </p:cNvPr>
          <p:cNvCxnSpPr/>
          <p:nvPr/>
        </p:nvCxnSpPr>
        <p:spPr>
          <a:xfrm>
            <a:off x="4113618" y="3107759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5" name="Straight Connector 414">
            <a:extLst>
              <a:ext uri="{FF2B5EF4-FFF2-40B4-BE49-F238E27FC236}">
                <a16:creationId xmlns:a16="http://schemas.microsoft.com/office/drawing/2014/main" id="{AC002244-E464-C774-836F-F11E5BDEFE3A}"/>
              </a:ext>
            </a:extLst>
          </p:cNvPr>
          <p:cNvCxnSpPr/>
          <p:nvPr/>
        </p:nvCxnSpPr>
        <p:spPr>
          <a:xfrm>
            <a:off x="4117206" y="3107759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6" name="Straight Connector 415">
            <a:extLst>
              <a:ext uri="{FF2B5EF4-FFF2-40B4-BE49-F238E27FC236}">
                <a16:creationId xmlns:a16="http://schemas.microsoft.com/office/drawing/2014/main" id="{891359FD-06D9-E82D-330F-25B4E4EC4096}"/>
              </a:ext>
            </a:extLst>
          </p:cNvPr>
          <p:cNvCxnSpPr/>
          <p:nvPr/>
        </p:nvCxnSpPr>
        <p:spPr>
          <a:xfrm>
            <a:off x="4120795" y="3107759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7" name="Straight Connector 416">
            <a:extLst>
              <a:ext uri="{FF2B5EF4-FFF2-40B4-BE49-F238E27FC236}">
                <a16:creationId xmlns:a16="http://schemas.microsoft.com/office/drawing/2014/main" id="{3E9F5AC0-4C06-C82B-AEFB-F28CD15EEAD6}"/>
              </a:ext>
            </a:extLst>
          </p:cNvPr>
          <p:cNvCxnSpPr/>
          <p:nvPr/>
        </p:nvCxnSpPr>
        <p:spPr>
          <a:xfrm>
            <a:off x="4125280" y="3107759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8" name="Straight Connector 417">
            <a:extLst>
              <a:ext uri="{FF2B5EF4-FFF2-40B4-BE49-F238E27FC236}">
                <a16:creationId xmlns:a16="http://schemas.microsoft.com/office/drawing/2014/main" id="{E9B19236-040C-E01E-7A4F-53A4323E479F}"/>
              </a:ext>
            </a:extLst>
          </p:cNvPr>
          <p:cNvCxnSpPr/>
          <p:nvPr/>
        </p:nvCxnSpPr>
        <p:spPr>
          <a:xfrm>
            <a:off x="4128869" y="3107759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9" name="Straight Connector 418">
            <a:extLst>
              <a:ext uri="{FF2B5EF4-FFF2-40B4-BE49-F238E27FC236}">
                <a16:creationId xmlns:a16="http://schemas.microsoft.com/office/drawing/2014/main" id="{BB41F019-410C-DB1D-FDA4-77B0218B1D2F}"/>
              </a:ext>
            </a:extLst>
          </p:cNvPr>
          <p:cNvCxnSpPr/>
          <p:nvPr/>
        </p:nvCxnSpPr>
        <p:spPr>
          <a:xfrm>
            <a:off x="4130663" y="3107759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0" name="Straight Connector 419">
            <a:extLst>
              <a:ext uri="{FF2B5EF4-FFF2-40B4-BE49-F238E27FC236}">
                <a16:creationId xmlns:a16="http://schemas.microsoft.com/office/drawing/2014/main" id="{0464F4DB-70AD-564F-F0C0-C157382EA5DA}"/>
              </a:ext>
            </a:extLst>
          </p:cNvPr>
          <p:cNvCxnSpPr/>
          <p:nvPr/>
        </p:nvCxnSpPr>
        <p:spPr>
          <a:xfrm>
            <a:off x="4134251" y="3107759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1" name="Straight Connector 420">
            <a:extLst>
              <a:ext uri="{FF2B5EF4-FFF2-40B4-BE49-F238E27FC236}">
                <a16:creationId xmlns:a16="http://schemas.microsoft.com/office/drawing/2014/main" id="{CC7ED901-4D50-66B3-36C9-71E135CF1116}"/>
              </a:ext>
            </a:extLst>
          </p:cNvPr>
          <p:cNvCxnSpPr/>
          <p:nvPr/>
        </p:nvCxnSpPr>
        <p:spPr>
          <a:xfrm>
            <a:off x="4137839" y="3107759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2" name="Straight Connector 421">
            <a:extLst>
              <a:ext uri="{FF2B5EF4-FFF2-40B4-BE49-F238E27FC236}">
                <a16:creationId xmlns:a16="http://schemas.microsoft.com/office/drawing/2014/main" id="{44E86AD4-98A8-9BDB-E601-A6BBE81E6C38}"/>
              </a:ext>
            </a:extLst>
          </p:cNvPr>
          <p:cNvCxnSpPr/>
          <p:nvPr/>
        </p:nvCxnSpPr>
        <p:spPr>
          <a:xfrm>
            <a:off x="4088499" y="3099083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3" name="Straight Connector 422">
            <a:extLst>
              <a:ext uri="{FF2B5EF4-FFF2-40B4-BE49-F238E27FC236}">
                <a16:creationId xmlns:a16="http://schemas.microsoft.com/office/drawing/2014/main" id="{7443EAE7-4652-F189-2FF5-409ABDFDAFB9}"/>
              </a:ext>
            </a:extLst>
          </p:cNvPr>
          <p:cNvCxnSpPr/>
          <p:nvPr/>
        </p:nvCxnSpPr>
        <p:spPr>
          <a:xfrm>
            <a:off x="4069661" y="3081687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4" name="Straight Connector 423">
            <a:extLst>
              <a:ext uri="{FF2B5EF4-FFF2-40B4-BE49-F238E27FC236}">
                <a16:creationId xmlns:a16="http://schemas.microsoft.com/office/drawing/2014/main" id="{2252B292-AD86-3123-1CCB-B2D370DD148A}"/>
              </a:ext>
            </a:extLst>
          </p:cNvPr>
          <p:cNvCxnSpPr/>
          <p:nvPr/>
        </p:nvCxnSpPr>
        <p:spPr>
          <a:xfrm>
            <a:off x="4073249" y="3085803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5" name="Straight Connector 424">
            <a:extLst>
              <a:ext uri="{FF2B5EF4-FFF2-40B4-BE49-F238E27FC236}">
                <a16:creationId xmlns:a16="http://schemas.microsoft.com/office/drawing/2014/main" id="{8A37BCFB-BF9B-4CF2-5524-665ECC6CE29B}"/>
              </a:ext>
            </a:extLst>
          </p:cNvPr>
          <p:cNvCxnSpPr/>
          <p:nvPr/>
        </p:nvCxnSpPr>
        <p:spPr>
          <a:xfrm>
            <a:off x="4076838" y="3094479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6" name="Straight Connector 425">
            <a:extLst>
              <a:ext uri="{FF2B5EF4-FFF2-40B4-BE49-F238E27FC236}">
                <a16:creationId xmlns:a16="http://schemas.microsoft.com/office/drawing/2014/main" id="{85F28E48-0E96-2027-E359-0D797FE5BC71}"/>
              </a:ext>
            </a:extLst>
          </p:cNvPr>
          <p:cNvCxnSpPr/>
          <p:nvPr/>
        </p:nvCxnSpPr>
        <p:spPr>
          <a:xfrm>
            <a:off x="4080426" y="3094479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7" name="Straight Connector 426">
            <a:extLst>
              <a:ext uri="{FF2B5EF4-FFF2-40B4-BE49-F238E27FC236}">
                <a16:creationId xmlns:a16="http://schemas.microsoft.com/office/drawing/2014/main" id="{25A4C62B-85F0-68DF-938E-F92E29A4D57A}"/>
              </a:ext>
            </a:extLst>
          </p:cNvPr>
          <p:cNvCxnSpPr/>
          <p:nvPr/>
        </p:nvCxnSpPr>
        <p:spPr>
          <a:xfrm>
            <a:off x="4084912" y="3095409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8" name="Straight Connector 427">
            <a:extLst>
              <a:ext uri="{FF2B5EF4-FFF2-40B4-BE49-F238E27FC236}">
                <a16:creationId xmlns:a16="http://schemas.microsoft.com/office/drawing/2014/main" id="{1914EDD9-056C-84A0-188D-43A28E930E63}"/>
              </a:ext>
            </a:extLst>
          </p:cNvPr>
          <p:cNvCxnSpPr/>
          <p:nvPr/>
        </p:nvCxnSpPr>
        <p:spPr>
          <a:xfrm>
            <a:off x="4429393" y="3174071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9" name="Straight Connector 428">
            <a:extLst>
              <a:ext uri="{FF2B5EF4-FFF2-40B4-BE49-F238E27FC236}">
                <a16:creationId xmlns:a16="http://schemas.microsoft.com/office/drawing/2014/main" id="{B7EBB52F-1ABC-898B-75BF-DB897B4E1845}"/>
              </a:ext>
            </a:extLst>
          </p:cNvPr>
          <p:cNvCxnSpPr/>
          <p:nvPr/>
        </p:nvCxnSpPr>
        <p:spPr>
          <a:xfrm>
            <a:off x="4774772" y="3334626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0" name="Straight Connector 429">
            <a:extLst>
              <a:ext uri="{FF2B5EF4-FFF2-40B4-BE49-F238E27FC236}">
                <a16:creationId xmlns:a16="http://schemas.microsoft.com/office/drawing/2014/main" id="{EE49D7E1-72F6-28A2-EA6E-C7F84661A47F}"/>
              </a:ext>
            </a:extLst>
          </p:cNvPr>
          <p:cNvCxnSpPr/>
          <p:nvPr/>
        </p:nvCxnSpPr>
        <p:spPr>
          <a:xfrm>
            <a:off x="4769389" y="3334627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1" name="Straight Connector 430">
            <a:extLst>
              <a:ext uri="{FF2B5EF4-FFF2-40B4-BE49-F238E27FC236}">
                <a16:creationId xmlns:a16="http://schemas.microsoft.com/office/drawing/2014/main" id="{3747EB13-7343-B576-E2E5-FC3280CFDD9F}"/>
              </a:ext>
            </a:extLst>
          </p:cNvPr>
          <p:cNvCxnSpPr/>
          <p:nvPr/>
        </p:nvCxnSpPr>
        <p:spPr>
          <a:xfrm>
            <a:off x="4746977" y="3334627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2" name="Straight Connector 431">
            <a:extLst>
              <a:ext uri="{FF2B5EF4-FFF2-40B4-BE49-F238E27FC236}">
                <a16:creationId xmlns:a16="http://schemas.microsoft.com/office/drawing/2014/main" id="{C962225F-32DC-1991-76DD-97310111DC3B}"/>
              </a:ext>
            </a:extLst>
          </p:cNvPr>
          <p:cNvCxnSpPr/>
          <p:nvPr/>
        </p:nvCxnSpPr>
        <p:spPr>
          <a:xfrm>
            <a:off x="4740682" y="3334628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3" name="Straight Connector 432">
            <a:extLst>
              <a:ext uri="{FF2B5EF4-FFF2-40B4-BE49-F238E27FC236}">
                <a16:creationId xmlns:a16="http://schemas.microsoft.com/office/drawing/2014/main" id="{F03DAD72-43D3-3B23-E2FB-44A8C898474C}"/>
              </a:ext>
            </a:extLst>
          </p:cNvPr>
          <p:cNvCxnSpPr/>
          <p:nvPr/>
        </p:nvCxnSpPr>
        <p:spPr>
          <a:xfrm>
            <a:off x="4733522" y="3334628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4" name="Straight Connector 433">
            <a:extLst>
              <a:ext uri="{FF2B5EF4-FFF2-40B4-BE49-F238E27FC236}">
                <a16:creationId xmlns:a16="http://schemas.microsoft.com/office/drawing/2014/main" id="{5DF5FE29-5077-1234-6B2D-D00CC0276E79}"/>
              </a:ext>
            </a:extLst>
          </p:cNvPr>
          <p:cNvCxnSpPr/>
          <p:nvPr/>
        </p:nvCxnSpPr>
        <p:spPr>
          <a:xfrm>
            <a:off x="4726329" y="3334628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5" name="Straight Connector 434">
            <a:extLst>
              <a:ext uri="{FF2B5EF4-FFF2-40B4-BE49-F238E27FC236}">
                <a16:creationId xmlns:a16="http://schemas.microsoft.com/office/drawing/2014/main" id="{D9039ECF-73BE-F53E-AE20-1DFDE617BD13}"/>
              </a:ext>
            </a:extLst>
          </p:cNvPr>
          <p:cNvCxnSpPr/>
          <p:nvPr/>
        </p:nvCxnSpPr>
        <p:spPr>
          <a:xfrm>
            <a:off x="4720946" y="3336000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6" name="Straight Connector 435">
            <a:extLst>
              <a:ext uri="{FF2B5EF4-FFF2-40B4-BE49-F238E27FC236}">
                <a16:creationId xmlns:a16="http://schemas.microsoft.com/office/drawing/2014/main" id="{855468A0-5457-65C0-7088-92426F2A4063}"/>
              </a:ext>
            </a:extLst>
          </p:cNvPr>
          <p:cNvCxnSpPr/>
          <p:nvPr/>
        </p:nvCxnSpPr>
        <p:spPr>
          <a:xfrm>
            <a:off x="4685975" y="3334628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7" name="Straight Connector 436">
            <a:extLst>
              <a:ext uri="{FF2B5EF4-FFF2-40B4-BE49-F238E27FC236}">
                <a16:creationId xmlns:a16="http://schemas.microsoft.com/office/drawing/2014/main" id="{4A5D5AC4-A304-70A9-21F7-68005FD1719C}"/>
              </a:ext>
            </a:extLst>
          </p:cNvPr>
          <p:cNvCxnSpPr/>
          <p:nvPr/>
        </p:nvCxnSpPr>
        <p:spPr>
          <a:xfrm>
            <a:off x="4711991" y="3336000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8" name="Straight Connector 437">
            <a:extLst>
              <a:ext uri="{FF2B5EF4-FFF2-40B4-BE49-F238E27FC236}">
                <a16:creationId xmlns:a16="http://schemas.microsoft.com/office/drawing/2014/main" id="{379E8BB8-BBED-CA0E-ED1A-7488AE2F6039}"/>
              </a:ext>
            </a:extLst>
          </p:cNvPr>
          <p:cNvCxnSpPr/>
          <p:nvPr/>
        </p:nvCxnSpPr>
        <p:spPr>
          <a:xfrm>
            <a:off x="4707505" y="3336000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9" name="Straight Connector 438">
            <a:extLst>
              <a:ext uri="{FF2B5EF4-FFF2-40B4-BE49-F238E27FC236}">
                <a16:creationId xmlns:a16="http://schemas.microsoft.com/office/drawing/2014/main" id="{4D91FF1E-B126-C5F8-0F5A-5065B255BBB6}"/>
              </a:ext>
            </a:extLst>
          </p:cNvPr>
          <p:cNvCxnSpPr/>
          <p:nvPr/>
        </p:nvCxnSpPr>
        <p:spPr>
          <a:xfrm>
            <a:off x="4702123" y="3336000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0" name="Straight Connector 439">
            <a:extLst>
              <a:ext uri="{FF2B5EF4-FFF2-40B4-BE49-F238E27FC236}">
                <a16:creationId xmlns:a16="http://schemas.microsoft.com/office/drawing/2014/main" id="{884AC06D-877F-42C3-3DEA-242E265120D8}"/>
              </a:ext>
            </a:extLst>
          </p:cNvPr>
          <p:cNvCxnSpPr/>
          <p:nvPr/>
        </p:nvCxnSpPr>
        <p:spPr>
          <a:xfrm>
            <a:off x="4696740" y="3336000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1" name="Straight Connector 440">
            <a:extLst>
              <a:ext uri="{FF2B5EF4-FFF2-40B4-BE49-F238E27FC236}">
                <a16:creationId xmlns:a16="http://schemas.microsoft.com/office/drawing/2014/main" id="{48F88705-275B-21EB-2B3F-E830C9FF8F59}"/>
              </a:ext>
            </a:extLst>
          </p:cNvPr>
          <p:cNvCxnSpPr/>
          <p:nvPr/>
        </p:nvCxnSpPr>
        <p:spPr>
          <a:xfrm>
            <a:off x="4691358" y="3336000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2" name="Straight Connector 441">
            <a:extLst>
              <a:ext uri="{FF2B5EF4-FFF2-40B4-BE49-F238E27FC236}">
                <a16:creationId xmlns:a16="http://schemas.microsoft.com/office/drawing/2014/main" id="{F02F01B0-B81A-16FC-EE30-D102ACB15E3C}"/>
              </a:ext>
            </a:extLst>
          </p:cNvPr>
          <p:cNvCxnSpPr/>
          <p:nvPr/>
        </p:nvCxnSpPr>
        <p:spPr>
          <a:xfrm>
            <a:off x="4435665" y="3174072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3" name="Straight Connector 442">
            <a:extLst>
              <a:ext uri="{FF2B5EF4-FFF2-40B4-BE49-F238E27FC236}">
                <a16:creationId xmlns:a16="http://schemas.microsoft.com/office/drawing/2014/main" id="{71E73141-837A-978E-7686-DE92DF801E2A}"/>
              </a:ext>
            </a:extLst>
          </p:cNvPr>
          <p:cNvCxnSpPr/>
          <p:nvPr/>
        </p:nvCxnSpPr>
        <p:spPr>
          <a:xfrm>
            <a:off x="4441937" y="3174072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4" name="Straight Connector 443">
            <a:extLst>
              <a:ext uri="{FF2B5EF4-FFF2-40B4-BE49-F238E27FC236}">
                <a16:creationId xmlns:a16="http://schemas.microsoft.com/office/drawing/2014/main" id="{64857A1A-5F47-FCEC-9266-5B770F24044D}"/>
              </a:ext>
            </a:extLst>
          </p:cNvPr>
          <p:cNvCxnSpPr/>
          <p:nvPr/>
        </p:nvCxnSpPr>
        <p:spPr>
          <a:xfrm>
            <a:off x="4447343" y="3174072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5" name="Straight Connector 444">
            <a:extLst>
              <a:ext uri="{FF2B5EF4-FFF2-40B4-BE49-F238E27FC236}">
                <a16:creationId xmlns:a16="http://schemas.microsoft.com/office/drawing/2014/main" id="{D6572EEB-7E08-2F19-FFBC-D30471DE2955}"/>
              </a:ext>
            </a:extLst>
          </p:cNvPr>
          <p:cNvCxnSpPr/>
          <p:nvPr/>
        </p:nvCxnSpPr>
        <p:spPr>
          <a:xfrm>
            <a:off x="4450035" y="3174072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6" name="Straight Connector 445">
            <a:extLst>
              <a:ext uri="{FF2B5EF4-FFF2-40B4-BE49-F238E27FC236}">
                <a16:creationId xmlns:a16="http://schemas.microsoft.com/office/drawing/2014/main" id="{47EDE188-CDC4-C482-2ED1-62D7B65F568F}"/>
              </a:ext>
            </a:extLst>
          </p:cNvPr>
          <p:cNvCxnSpPr/>
          <p:nvPr/>
        </p:nvCxnSpPr>
        <p:spPr>
          <a:xfrm>
            <a:off x="4457195" y="3174072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7" name="Straight Connector 446">
            <a:extLst>
              <a:ext uri="{FF2B5EF4-FFF2-40B4-BE49-F238E27FC236}">
                <a16:creationId xmlns:a16="http://schemas.microsoft.com/office/drawing/2014/main" id="{B2D4B569-22A5-4335-7C17-F3B2D426ED1D}"/>
              </a:ext>
            </a:extLst>
          </p:cNvPr>
          <p:cNvCxnSpPr/>
          <p:nvPr/>
        </p:nvCxnSpPr>
        <p:spPr>
          <a:xfrm>
            <a:off x="4475146" y="3174072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8" name="Straight Connector 447">
            <a:extLst>
              <a:ext uri="{FF2B5EF4-FFF2-40B4-BE49-F238E27FC236}">
                <a16:creationId xmlns:a16="http://schemas.microsoft.com/office/drawing/2014/main" id="{0AC0FCB1-02BF-A84A-B4B5-2231ECDC28CF}"/>
              </a:ext>
            </a:extLst>
          </p:cNvPr>
          <p:cNvCxnSpPr/>
          <p:nvPr/>
        </p:nvCxnSpPr>
        <p:spPr>
          <a:xfrm>
            <a:off x="4481433" y="3174072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9" name="Straight Connector 448">
            <a:extLst>
              <a:ext uri="{FF2B5EF4-FFF2-40B4-BE49-F238E27FC236}">
                <a16:creationId xmlns:a16="http://schemas.microsoft.com/office/drawing/2014/main" id="{A34D81C1-0CAF-F935-C650-CDC7A2DEFF38}"/>
              </a:ext>
            </a:extLst>
          </p:cNvPr>
          <p:cNvCxnSpPr/>
          <p:nvPr/>
        </p:nvCxnSpPr>
        <p:spPr>
          <a:xfrm>
            <a:off x="4498454" y="3174072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0" name="Straight Connector 449">
            <a:extLst>
              <a:ext uri="{FF2B5EF4-FFF2-40B4-BE49-F238E27FC236}">
                <a16:creationId xmlns:a16="http://schemas.microsoft.com/office/drawing/2014/main" id="{30276D2D-46F6-7DA5-59AC-F877A0279BB8}"/>
              </a:ext>
            </a:extLst>
          </p:cNvPr>
          <p:cNvCxnSpPr/>
          <p:nvPr/>
        </p:nvCxnSpPr>
        <p:spPr>
          <a:xfrm>
            <a:off x="4503860" y="3172700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1" name="Straight Connector 450">
            <a:extLst>
              <a:ext uri="{FF2B5EF4-FFF2-40B4-BE49-F238E27FC236}">
                <a16:creationId xmlns:a16="http://schemas.microsoft.com/office/drawing/2014/main" id="{5515CCE2-6B9C-C126-9CA1-7E48670331B2}"/>
              </a:ext>
            </a:extLst>
          </p:cNvPr>
          <p:cNvCxnSpPr/>
          <p:nvPr/>
        </p:nvCxnSpPr>
        <p:spPr>
          <a:xfrm>
            <a:off x="4510145" y="3174072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2" name="Straight Connector 451">
            <a:extLst>
              <a:ext uri="{FF2B5EF4-FFF2-40B4-BE49-F238E27FC236}">
                <a16:creationId xmlns:a16="http://schemas.microsoft.com/office/drawing/2014/main" id="{D0851FDE-3AD6-1746-7B5B-F5BC40868166}"/>
              </a:ext>
            </a:extLst>
          </p:cNvPr>
          <p:cNvCxnSpPr/>
          <p:nvPr/>
        </p:nvCxnSpPr>
        <p:spPr>
          <a:xfrm>
            <a:off x="4144111" y="3118295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3" name="Straight Connector 452">
            <a:extLst>
              <a:ext uri="{FF2B5EF4-FFF2-40B4-BE49-F238E27FC236}">
                <a16:creationId xmlns:a16="http://schemas.microsoft.com/office/drawing/2014/main" id="{2A1B1ECD-A22A-63D3-08C5-235FF3C581B2}"/>
              </a:ext>
            </a:extLst>
          </p:cNvPr>
          <p:cNvCxnSpPr/>
          <p:nvPr/>
        </p:nvCxnSpPr>
        <p:spPr>
          <a:xfrm>
            <a:off x="4151288" y="3125156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4" name="Straight Connector 453">
            <a:extLst>
              <a:ext uri="{FF2B5EF4-FFF2-40B4-BE49-F238E27FC236}">
                <a16:creationId xmlns:a16="http://schemas.microsoft.com/office/drawing/2014/main" id="{93B3C69E-D928-75E9-F6A8-0017FAC7AE1F}"/>
              </a:ext>
            </a:extLst>
          </p:cNvPr>
          <p:cNvCxnSpPr/>
          <p:nvPr/>
        </p:nvCxnSpPr>
        <p:spPr>
          <a:xfrm>
            <a:off x="4158465" y="3125598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5" name="Straight Connector 454">
            <a:extLst>
              <a:ext uri="{FF2B5EF4-FFF2-40B4-BE49-F238E27FC236}">
                <a16:creationId xmlns:a16="http://schemas.microsoft.com/office/drawing/2014/main" id="{838BABA8-35D3-C018-CF85-4745FEAF79F6}"/>
              </a:ext>
            </a:extLst>
          </p:cNvPr>
          <p:cNvCxnSpPr/>
          <p:nvPr/>
        </p:nvCxnSpPr>
        <p:spPr>
          <a:xfrm>
            <a:off x="4375560" y="3175444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6" name="Straight Connector 455">
            <a:extLst>
              <a:ext uri="{FF2B5EF4-FFF2-40B4-BE49-F238E27FC236}">
                <a16:creationId xmlns:a16="http://schemas.microsoft.com/office/drawing/2014/main" id="{2FF66123-660B-16EA-C720-BEC2A38BAB94}"/>
              </a:ext>
            </a:extLst>
          </p:cNvPr>
          <p:cNvCxnSpPr/>
          <p:nvPr/>
        </p:nvCxnSpPr>
        <p:spPr>
          <a:xfrm>
            <a:off x="4370178" y="3176817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7" name="Straight Connector 456">
            <a:extLst>
              <a:ext uri="{FF2B5EF4-FFF2-40B4-BE49-F238E27FC236}">
                <a16:creationId xmlns:a16="http://schemas.microsoft.com/office/drawing/2014/main" id="{86A61D55-98BF-FD33-7BE7-BDAA6DB4F3E2}"/>
              </a:ext>
            </a:extLst>
          </p:cNvPr>
          <p:cNvCxnSpPr/>
          <p:nvPr/>
        </p:nvCxnSpPr>
        <p:spPr>
          <a:xfrm>
            <a:off x="4351339" y="3160834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8" name="Straight Connector 457">
            <a:extLst>
              <a:ext uri="{FF2B5EF4-FFF2-40B4-BE49-F238E27FC236}">
                <a16:creationId xmlns:a16="http://schemas.microsoft.com/office/drawing/2014/main" id="{75AF82C0-219C-C799-6A69-40E65AD111F3}"/>
              </a:ext>
            </a:extLst>
          </p:cNvPr>
          <p:cNvCxnSpPr/>
          <p:nvPr/>
        </p:nvCxnSpPr>
        <p:spPr>
          <a:xfrm>
            <a:off x="4356721" y="3160834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9" name="Straight Connector 458">
            <a:extLst>
              <a:ext uri="{FF2B5EF4-FFF2-40B4-BE49-F238E27FC236}">
                <a16:creationId xmlns:a16="http://schemas.microsoft.com/office/drawing/2014/main" id="{3C9FFF87-05AF-325D-52B5-0719B75E8B6D}"/>
              </a:ext>
            </a:extLst>
          </p:cNvPr>
          <p:cNvCxnSpPr/>
          <p:nvPr/>
        </p:nvCxnSpPr>
        <p:spPr>
          <a:xfrm>
            <a:off x="4363898" y="3171328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0" name="Straight Connector 459">
            <a:extLst>
              <a:ext uri="{FF2B5EF4-FFF2-40B4-BE49-F238E27FC236}">
                <a16:creationId xmlns:a16="http://schemas.microsoft.com/office/drawing/2014/main" id="{AD9F4276-6986-7B77-C822-6359934130C9}"/>
              </a:ext>
            </a:extLst>
          </p:cNvPr>
          <p:cNvCxnSpPr/>
          <p:nvPr/>
        </p:nvCxnSpPr>
        <p:spPr>
          <a:xfrm>
            <a:off x="4309176" y="3155346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1" name="Straight Connector 460">
            <a:extLst>
              <a:ext uri="{FF2B5EF4-FFF2-40B4-BE49-F238E27FC236}">
                <a16:creationId xmlns:a16="http://schemas.microsoft.com/office/drawing/2014/main" id="{326E39FE-8A4E-BDA5-CAED-00204672DAA3}"/>
              </a:ext>
            </a:extLst>
          </p:cNvPr>
          <p:cNvCxnSpPr/>
          <p:nvPr/>
        </p:nvCxnSpPr>
        <p:spPr>
          <a:xfrm>
            <a:off x="4314558" y="3155346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2" name="Straight Connector 461">
            <a:extLst>
              <a:ext uri="{FF2B5EF4-FFF2-40B4-BE49-F238E27FC236}">
                <a16:creationId xmlns:a16="http://schemas.microsoft.com/office/drawing/2014/main" id="{4881E8FB-A9A3-6CE2-DED0-AB2E0DCBD335}"/>
              </a:ext>
            </a:extLst>
          </p:cNvPr>
          <p:cNvCxnSpPr/>
          <p:nvPr/>
        </p:nvCxnSpPr>
        <p:spPr>
          <a:xfrm>
            <a:off x="4319940" y="3155346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3" name="Straight Connector 462">
            <a:extLst>
              <a:ext uri="{FF2B5EF4-FFF2-40B4-BE49-F238E27FC236}">
                <a16:creationId xmlns:a16="http://schemas.microsoft.com/office/drawing/2014/main" id="{9BB00EB3-99ED-7D15-07C7-33151FDD80EB}"/>
              </a:ext>
            </a:extLst>
          </p:cNvPr>
          <p:cNvCxnSpPr/>
          <p:nvPr/>
        </p:nvCxnSpPr>
        <p:spPr>
          <a:xfrm>
            <a:off x="4288543" y="3155346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4" name="Straight Connector 463">
            <a:extLst>
              <a:ext uri="{FF2B5EF4-FFF2-40B4-BE49-F238E27FC236}">
                <a16:creationId xmlns:a16="http://schemas.microsoft.com/office/drawing/2014/main" id="{12C83A32-43AB-99ED-49F6-3A098C04305F}"/>
              </a:ext>
            </a:extLst>
          </p:cNvPr>
          <p:cNvCxnSpPr/>
          <p:nvPr/>
        </p:nvCxnSpPr>
        <p:spPr>
          <a:xfrm>
            <a:off x="4284057" y="3155346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5" name="Straight Connector 464">
            <a:extLst>
              <a:ext uri="{FF2B5EF4-FFF2-40B4-BE49-F238E27FC236}">
                <a16:creationId xmlns:a16="http://schemas.microsoft.com/office/drawing/2014/main" id="{F3B9B255-17A5-4D8E-6E7A-B97EDF13FEFC}"/>
              </a:ext>
            </a:extLst>
          </p:cNvPr>
          <p:cNvCxnSpPr/>
          <p:nvPr/>
        </p:nvCxnSpPr>
        <p:spPr>
          <a:xfrm>
            <a:off x="4279571" y="3155346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6" name="Straight Connector 465">
            <a:extLst>
              <a:ext uri="{FF2B5EF4-FFF2-40B4-BE49-F238E27FC236}">
                <a16:creationId xmlns:a16="http://schemas.microsoft.com/office/drawing/2014/main" id="{F66FBC3C-665D-8508-B398-1ED8E94F8FB8}"/>
              </a:ext>
            </a:extLst>
          </p:cNvPr>
          <p:cNvCxnSpPr/>
          <p:nvPr/>
        </p:nvCxnSpPr>
        <p:spPr>
          <a:xfrm>
            <a:off x="4275086" y="3155346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7" name="Straight Connector 466">
            <a:extLst>
              <a:ext uri="{FF2B5EF4-FFF2-40B4-BE49-F238E27FC236}">
                <a16:creationId xmlns:a16="http://schemas.microsoft.com/office/drawing/2014/main" id="{69C7DA9B-B205-1404-A1AC-24611A5DE712}"/>
              </a:ext>
            </a:extLst>
          </p:cNvPr>
          <p:cNvCxnSpPr/>
          <p:nvPr/>
        </p:nvCxnSpPr>
        <p:spPr>
          <a:xfrm>
            <a:off x="4270600" y="3155346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8" name="Straight Connector 467">
            <a:extLst>
              <a:ext uri="{FF2B5EF4-FFF2-40B4-BE49-F238E27FC236}">
                <a16:creationId xmlns:a16="http://schemas.microsoft.com/office/drawing/2014/main" id="{A84DD306-0A5A-C354-3204-1A044B2BB66D}"/>
              </a:ext>
            </a:extLst>
          </p:cNvPr>
          <p:cNvCxnSpPr/>
          <p:nvPr/>
        </p:nvCxnSpPr>
        <p:spPr>
          <a:xfrm>
            <a:off x="4247276" y="3138878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9" name="Straight Connector 468">
            <a:extLst>
              <a:ext uri="{FF2B5EF4-FFF2-40B4-BE49-F238E27FC236}">
                <a16:creationId xmlns:a16="http://schemas.microsoft.com/office/drawing/2014/main" id="{895B43B5-ACB6-B0D8-EE8F-028D4E245C67}"/>
              </a:ext>
            </a:extLst>
          </p:cNvPr>
          <p:cNvCxnSpPr/>
          <p:nvPr/>
        </p:nvCxnSpPr>
        <p:spPr>
          <a:xfrm>
            <a:off x="4241893" y="3137993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0" name="Straight Connector 469">
            <a:extLst>
              <a:ext uri="{FF2B5EF4-FFF2-40B4-BE49-F238E27FC236}">
                <a16:creationId xmlns:a16="http://schemas.microsoft.com/office/drawing/2014/main" id="{D3DB7B19-5D9C-F095-A922-1186ACD4F6E7}"/>
              </a:ext>
            </a:extLst>
          </p:cNvPr>
          <p:cNvCxnSpPr/>
          <p:nvPr/>
        </p:nvCxnSpPr>
        <p:spPr>
          <a:xfrm>
            <a:off x="4237408" y="3138878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1" name="Straight Connector 470">
            <a:extLst>
              <a:ext uri="{FF2B5EF4-FFF2-40B4-BE49-F238E27FC236}">
                <a16:creationId xmlns:a16="http://schemas.microsoft.com/office/drawing/2014/main" id="{CC554EAA-1F0E-CBDE-713F-40FC4F18EA10}"/>
              </a:ext>
            </a:extLst>
          </p:cNvPr>
          <p:cNvCxnSpPr/>
          <p:nvPr/>
        </p:nvCxnSpPr>
        <p:spPr>
          <a:xfrm>
            <a:off x="4222158" y="3138878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2" name="Straight Connector 471">
            <a:extLst>
              <a:ext uri="{FF2B5EF4-FFF2-40B4-BE49-F238E27FC236}">
                <a16:creationId xmlns:a16="http://schemas.microsoft.com/office/drawing/2014/main" id="{39EF8E43-B50B-438A-5C15-6A050785DE0F}"/>
              </a:ext>
            </a:extLst>
          </p:cNvPr>
          <p:cNvCxnSpPr/>
          <p:nvPr/>
        </p:nvCxnSpPr>
        <p:spPr>
          <a:xfrm>
            <a:off x="4219466" y="3138878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3" name="Straight Connector 472">
            <a:extLst>
              <a:ext uri="{FF2B5EF4-FFF2-40B4-BE49-F238E27FC236}">
                <a16:creationId xmlns:a16="http://schemas.microsoft.com/office/drawing/2014/main" id="{1CEE5CF6-7EDD-425E-6046-F9985290A831}"/>
              </a:ext>
            </a:extLst>
          </p:cNvPr>
          <p:cNvCxnSpPr/>
          <p:nvPr/>
        </p:nvCxnSpPr>
        <p:spPr>
          <a:xfrm>
            <a:off x="4215878" y="3138878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4" name="Straight Connector 473">
            <a:extLst>
              <a:ext uri="{FF2B5EF4-FFF2-40B4-BE49-F238E27FC236}">
                <a16:creationId xmlns:a16="http://schemas.microsoft.com/office/drawing/2014/main" id="{FA8024D6-9DFA-3B11-E970-702712B20CDB}"/>
              </a:ext>
            </a:extLst>
          </p:cNvPr>
          <p:cNvCxnSpPr/>
          <p:nvPr/>
        </p:nvCxnSpPr>
        <p:spPr>
          <a:xfrm>
            <a:off x="4211393" y="3138878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5" name="Straight Connector 474">
            <a:extLst>
              <a:ext uri="{FF2B5EF4-FFF2-40B4-BE49-F238E27FC236}">
                <a16:creationId xmlns:a16="http://schemas.microsoft.com/office/drawing/2014/main" id="{410731D0-B522-5FFD-B457-148356A736DA}"/>
              </a:ext>
            </a:extLst>
          </p:cNvPr>
          <p:cNvCxnSpPr/>
          <p:nvPr/>
        </p:nvCxnSpPr>
        <p:spPr>
          <a:xfrm>
            <a:off x="4183583" y="3138878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6" name="Straight Connector 475">
            <a:extLst>
              <a:ext uri="{FF2B5EF4-FFF2-40B4-BE49-F238E27FC236}">
                <a16:creationId xmlns:a16="http://schemas.microsoft.com/office/drawing/2014/main" id="{0B35BD20-01D6-00F3-9691-A880BBB55A0B}"/>
              </a:ext>
            </a:extLst>
          </p:cNvPr>
          <p:cNvCxnSpPr/>
          <p:nvPr/>
        </p:nvCxnSpPr>
        <p:spPr>
          <a:xfrm>
            <a:off x="4178201" y="3128343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7" name="Straight Connector 476">
            <a:extLst>
              <a:ext uri="{FF2B5EF4-FFF2-40B4-BE49-F238E27FC236}">
                <a16:creationId xmlns:a16="http://schemas.microsoft.com/office/drawing/2014/main" id="{FCECBA47-E157-1017-4D8A-061FDCEA755E}"/>
              </a:ext>
            </a:extLst>
          </p:cNvPr>
          <p:cNvCxnSpPr/>
          <p:nvPr/>
        </p:nvCxnSpPr>
        <p:spPr>
          <a:xfrm>
            <a:off x="4172818" y="3128386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8" name="Straight Connector 477">
            <a:extLst>
              <a:ext uri="{FF2B5EF4-FFF2-40B4-BE49-F238E27FC236}">
                <a16:creationId xmlns:a16="http://schemas.microsoft.com/office/drawing/2014/main" id="{99D9C1DB-2C7C-F7A6-8098-5E033873E6F4}"/>
              </a:ext>
            </a:extLst>
          </p:cNvPr>
          <p:cNvCxnSpPr/>
          <p:nvPr/>
        </p:nvCxnSpPr>
        <p:spPr>
          <a:xfrm>
            <a:off x="4166538" y="3129759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9" name="Straight Connector 478">
            <a:extLst>
              <a:ext uri="{FF2B5EF4-FFF2-40B4-BE49-F238E27FC236}">
                <a16:creationId xmlns:a16="http://schemas.microsoft.com/office/drawing/2014/main" id="{71BE4D06-38AC-9777-4B60-762473E57C6F}"/>
              </a:ext>
            </a:extLst>
          </p:cNvPr>
          <p:cNvCxnSpPr/>
          <p:nvPr/>
        </p:nvCxnSpPr>
        <p:spPr>
          <a:xfrm>
            <a:off x="4527166" y="3188280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0" name="Straight Connector 479">
            <a:extLst>
              <a:ext uri="{FF2B5EF4-FFF2-40B4-BE49-F238E27FC236}">
                <a16:creationId xmlns:a16="http://schemas.microsoft.com/office/drawing/2014/main" id="{F3E5610C-E0FA-E36E-5AC9-C2FC2EB3D754}"/>
              </a:ext>
            </a:extLst>
          </p:cNvPr>
          <p:cNvCxnSpPr/>
          <p:nvPr/>
        </p:nvCxnSpPr>
        <p:spPr>
          <a:xfrm>
            <a:off x="4531650" y="3188280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1" name="Straight Connector 480">
            <a:extLst>
              <a:ext uri="{FF2B5EF4-FFF2-40B4-BE49-F238E27FC236}">
                <a16:creationId xmlns:a16="http://schemas.microsoft.com/office/drawing/2014/main" id="{E913196A-559F-11DB-3579-CB19D752B3E8}"/>
              </a:ext>
            </a:extLst>
          </p:cNvPr>
          <p:cNvCxnSpPr/>
          <p:nvPr/>
        </p:nvCxnSpPr>
        <p:spPr>
          <a:xfrm>
            <a:off x="4679670" y="3336486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2" name="Straight Connector 481">
            <a:extLst>
              <a:ext uri="{FF2B5EF4-FFF2-40B4-BE49-F238E27FC236}">
                <a16:creationId xmlns:a16="http://schemas.microsoft.com/office/drawing/2014/main" id="{655527E6-1E04-4752-3342-9BCF174B6DD5}"/>
              </a:ext>
            </a:extLst>
          </p:cNvPr>
          <p:cNvCxnSpPr/>
          <p:nvPr/>
        </p:nvCxnSpPr>
        <p:spPr>
          <a:xfrm>
            <a:off x="4665342" y="3222587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3" name="Straight Connector 482">
            <a:extLst>
              <a:ext uri="{FF2B5EF4-FFF2-40B4-BE49-F238E27FC236}">
                <a16:creationId xmlns:a16="http://schemas.microsoft.com/office/drawing/2014/main" id="{F2F3A749-8EF8-2E6F-55EB-7EDECCAB7B59}"/>
              </a:ext>
            </a:extLst>
          </p:cNvPr>
          <p:cNvCxnSpPr/>
          <p:nvPr/>
        </p:nvCxnSpPr>
        <p:spPr>
          <a:xfrm>
            <a:off x="4659934" y="3222587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4" name="Straight Connector 483">
            <a:extLst>
              <a:ext uri="{FF2B5EF4-FFF2-40B4-BE49-F238E27FC236}">
                <a16:creationId xmlns:a16="http://schemas.microsoft.com/office/drawing/2014/main" id="{02639DC2-177E-55B2-2EA6-A0CD56931009}"/>
              </a:ext>
            </a:extLst>
          </p:cNvPr>
          <p:cNvCxnSpPr/>
          <p:nvPr/>
        </p:nvCxnSpPr>
        <p:spPr>
          <a:xfrm>
            <a:off x="4654552" y="3222587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5" name="Straight Connector 484">
            <a:extLst>
              <a:ext uri="{FF2B5EF4-FFF2-40B4-BE49-F238E27FC236}">
                <a16:creationId xmlns:a16="http://schemas.microsoft.com/office/drawing/2014/main" id="{B6B2DEDE-CC43-EAB5-641E-4984CBA47E70}"/>
              </a:ext>
            </a:extLst>
          </p:cNvPr>
          <p:cNvCxnSpPr/>
          <p:nvPr/>
        </p:nvCxnSpPr>
        <p:spPr>
          <a:xfrm>
            <a:off x="4650067" y="3222587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6" name="Straight Connector 485">
            <a:extLst>
              <a:ext uri="{FF2B5EF4-FFF2-40B4-BE49-F238E27FC236}">
                <a16:creationId xmlns:a16="http://schemas.microsoft.com/office/drawing/2014/main" id="{2A397385-A9A8-A305-53CB-F49B80A2ABD6}"/>
              </a:ext>
            </a:extLst>
          </p:cNvPr>
          <p:cNvCxnSpPr/>
          <p:nvPr/>
        </p:nvCxnSpPr>
        <p:spPr>
          <a:xfrm>
            <a:off x="4644684" y="3222587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7" name="Straight Connector 486">
            <a:extLst>
              <a:ext uri="{FF2B5EF4-FFF2-40B4-BE49-F238E27FC236}">
                <a16:creationId xmlns:a16="http://schemas.microsoft.com/office/drawing/2014/main" id="{FEE51F9C-DABD-ED00-17CC-E005347C0798}"/>
              </a:ext>
            </a:extLst>
          </p:cNvPr>
          <p:cNvCxnSpPr/>
          <p:nvPr/>
        </p:nvCxnSpPr>
        <p:spPr>
          <a:xfrm>
            <a:off x="4639302" y="3222587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8" name="Straight Connector 487">
            <a:extLst>
              <a:ext uri="{FF2B5EF4-FFF2-40B4-BE49-F238E27FC236}">
                <a16:creationId xmlns:a16="http://schemas.microsoft.com/office/drawing/2014/main" id="{A2C6FD08-CF15-531A-AF64-A243923CC076}"/>
              </a:ext>
            </a:extLst>
          </p:cNvPr>
          <p:cNvCxnSpPr/>
          <p:nvPr/>
        </p:nvCxnSpPr>
        <p:spPr>
          <a:xfrm>
            <a:off x="4634816" y="3222587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9" name="Straight Connector 488">
            <a:extLst>
              <a:ext uri="{FF2B5EF4-FFF2-40B4-BE49-F238E27FC236}">
                <a16:creationId xmlns:a16="http://schemas.microsoft.com/office/drawing/2014/main" id="{4B37653B-E75C-F8EC-730F-901DA2E36A33}"/>
              </a:ext>
            </a:extLst>
          </p:cNvPr>
          <p:cNvCxnSpPr/>
          <p:nvPr/>
        </p:nvCxnSpPr>
        <p:spPr>
          <a:xfrm>
            <a:off x="4537954" y="3189652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0" name="Straight Connector 489">
            <a:extLst>
              <a:ext uri="{FF2B5EF4-FFF2-40B4-BE49-F238E27FC236}">
                <a16:creationId xmlns:a16="http://schemas.microsoft.com/office/drawing/2014/main" id="{218A9FD2-E645-DFCA-E292-EC576FA5BB4F}"/>
              </a:ext>
            </a:extLst>
          </p:cNvPr>
          <p:cNvCxnSpPr/>
          <p:nvPr/>
        </p:nvCxnSpPr>
        <p:spPr>
          <a:xfrm>
            <a:off x="4542440" y="3189653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1" name="Straight Connector 490">
            <a:extLst>
              <a:ext uri="{FF2B5EF4-FFF2-40B4-BE49-F238E27FC236}">
                <a16:creationId xmlns:a16="http://schemas.microsoft.com/office/drawing/2014/main" id="{413F82A4-8EFE-D597-A51B-720F3FB6A027}"/>
              </a:ext>
            </a:extLst>
          </p:cNvPr>
          <p:cNvCxnSpPr/>
          <p:nvPr/>
        </p:nvCxnSpPr>
        <p:spPr>
          <a:xfrm>
            <a:off x="4546927" y="3200630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2" name="Straight Connector 491">
            <a:extLst>
              <a:ext uri="{FF2B5EF4-FFF2-40B4-BE49-F238E27FC236}">
                <a16:creationId xmlns:a16="http://schemas.microsoft.com/office/drawing/2014/main" id="{88521A50-6F2F-C7A3-8F60-158F7CCFAD10}"/>
              </a:ext>
            </a:extLst>
          </p:cNvPr>
          <p:cNvCxnSpPr/>
          <p:nvPr/>
        </p:nvCxnSpPr>
        <p:spPr>
          <a:xfrm>
            <a:off x="4551412" y="3200630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3" name="Straight Connector 492">
            <a:extLst>
              <a:ext uri="{FF2B5EF4-FFF2-40B4-BE49-F238E27FC236}">
                <a16:creationId xmlns:a16="http://schemas.microsoft.com/office/drawing/2014/main" id="{224CC363-8F7B-01BD-A7F1-3591E494C829}"/>
              </a:ext>
            </a:extLst>
          </p:cNvPr>
          <p:cNvCxnSpPr/>
          <p:nvPr/>
        </p:nvCxnSpPr>
        <p:spPr>
          <a:xfrm>
            <a:off x="4555897" y="3200630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4" name="Straight Connector 493">
            <a:extLst>
              <a:ext uri="{FF2B5EF4-FFF2-40B4-BE49-F238E27FC236}">
                <a16:creationId xmlns:a16="http://schemas.microsoft.com/office/drawing/2014/main" id="{5B88889F-CF7D-4E3C-1B0E-60BDBFC6E3E1}"/>
              </a:ext>
            </a:extLst>
          </p:cNvPr>
          <p:cNvCxnSpPr/>
          <p:nvPr/>
        </p:nvCxnSpPr>
        <p:spPr>
          <a:xfrm>
            <a:off x="4558588" y="3200630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5" name="Straight Connector 494">
            <a:extLst>
              <a:ext uri="{FF2B5EF4-FFF2-40B4-BE49-F238E27FC236}">
                <a16:creationId xmlns:a16="http://schemas.microsoft.com/office/drawing/2014/main" id="{751B6995-416C-875C-E5AC-0FC849A8C95F}"/>
              </a:ext>
            </a:extLst>
          </p:cNvPr>
          <p:cNvCxnSpPr/>
          <p:nvPr/>
        </p:nvCxnSpPr>
        <p:spPr>
          <a:xfrm>
            <a:off x="4561279" y="3200630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6" name="Straight Connector 495">
            <a:extLst>
              <a:ext uri="{FF2B5EF4-FFF2-40B4-BE49-F238E27FC236}">
                <a16:creationId xmlns:a16="http://schemas.microsoft.com/office/drawing/2014/main" id="{40340F3B-1C24-3329-A3B9-7719DAA87294}"/>
              </a:ext>
            </a:extLst>
          </p:cNvPr>
          <p:cNvCxnSpPr/>
          <p:nvPr/>
        </p:nvCxnSpPr>
        <p:spPr>
          <a:xfrm>
            <a:off x="4565766" y="3200630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7" name="Straight Connector 496">
            <a:extLst>
              <a:ext uri="{FF2B5EF4-FFF2-40B4-BE49-F238E27FC236}">
                <a16:creationId xmlns:a16="http://schemas.microsoft.com/office/drawing/2014/main" id="{4993F5B2-325C-5E7F-1897-BE267F6758ED}"/>
              </a:ext>
            </a:extLst>
          </p:cNvPr>
          <p:cNvCxnSpPr/>
          <p:nvPr/>
        </p:nvCxnSpPr>
        <p:spPr>
          <a:xfrm>
            <a:off x="4630355" y="3222586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8" name="Straight Connector 497">
            <a:extLst>
              <a:ext uri="{FF2B5EF4-FFF2-40B4-BE49-F238E27FC236}">
                <a16:creationId xmlns:a16="http://schemas.microsoft.com/office/drawing/2014/main" id="{4088BDE7-8B22-3232-7337-230AADAD05C6}"/>
              </a:ext>
            </a:extLst>
          </p:cNvPr>
          <p:cNvCxnSpPr/>
          <p:nvPr/>
        </p:nvCxnSpPr>
        <p:spPr>
          <a:xfrm>
            <a:off x="4625871" y="3222586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9" name="Straight Connector 498">
            <a:extLst>
              <a:ext uri="{FF2B5EF4-FFF2-40B4-BE49-F238E27FC236}">
                <a16:creationId xmlns:a16="http://schemas.microsoft.com/office/drawing/2014/main" id="{E10BE660-523E-03F0-CFF9-789264C6E9A9}"/>
              </a:ext>
            </a:extLst>
          </p:cNvPr>
          <p:cNvCxnSpPr/>
          <p:nvPr/>
        </p:nvCxnSpPr>
        <p:spPr>
          <a:xfrm>
            <a:off x="4621385" y="3222586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0" name="Straight Connector 499">
            <a:extLst>
              <a:ext uri="{FF2B5EF4-FFF2-40B4-BE49-F238E27FC236}">
                <a16:creationId xmlns:a16="http://schemas.microsoft.com/office/drawing/2014/main" id="{DF91FDF5-3F79-3ABF-C852-284E89578217}"/>
              </a:ext>
            </a:extLst>
          </p:cNvPr>
          <p:cNvCxnSpPr/>
          <p:nvPr/>
        </p:nvCxnSpPr>
        <p:spPr>
          <a:xfrm>
            <a:off x="4616900" y="3222586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1" name="Straight Connector 500">
            <a:extLst>
              <a:ext uri="{FF2B5EF4-FFF2-40B4-BE49-F238E27FC236}">
                <a16:creationId xmlns:a16="http://schemas.microsoft.com/office/drawing/2014/main" id="{F9285B9C-B83F-8B79-C3F3-9FCB29D3F531}"/>
              </a:ext>
            </a:extLst>
          </p:cNvPr>
          <p:cNvCxnSpPr/>
          <p:nvPr/>
        </p:nvCxnSpPr>
        <p:spPr>
          <a:xfrm>
            <a:off x="4612413" y="3222586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2" name="Straight Connector 501">
            <a:extLst>
              <a:ext uri="{FF2B5EF4-FFF2-40B4-BE49-F238E27FC236}">
                <a16:creationId xmlns:a16="http://schemas.microsoft.com/office/drawing/2014/main" id="{9B00292C-1687-ABFA-7245-C4D3068B597A}"/>
              </a:ext>
            </a:extLst>
          </p:cNvPr>
          <p:cNvCxnSpPr/>
          <p:nvPr/>
        </p:nvCxnSpPr>
        <p:spPr>
          <a:xfrm>
            <a:off x="4607032" y="3222587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3" name="Straight Connector 502">
            <a:extLst>
              <a:ext uri="{FF2B5EF4-FFF2-40B4-BE49-F238E27FC236}">
                <a16:creationId xmlns:a16="http://schemas.microsoft.com/office/drawing/2014/main" id="{27248073-5110-F804-8157-338CE52ABB4D}"/>
              </a:ext>
            </a:extLst>
          </p:cNvPr>
          <p:cNvCxnSpPr/>
          <p:nvPr/>
        </p:nvCxnSpPr>
        <p:spPr>
          <a:xfrm>
            <a:off x="4603442" y="3222586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4" name="Straight Connector 503">
            <a:extLst>
              <a:ext uri="{FF2B5EF4-FFF2-40B4-BE49-F238E27FC236}">
                <a16:creationId xmlns:a16="http://schemas.microsoft.com/office/drawing/2014/main" id="{08E3831C-2AD4-5E4C-9059-A84E8113B4EA}"/>
              </a:ext>
            </a:extLst>
          </p:cNvPr>
          <p:cNvCxnSpPr/>
          <p:nvPr/>
        </p:nvCxnSpPr>
        <p:spPr>
          <a:xfrm>
            <a:off x="4568457" y="3202003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5" name="Straight Connector 504">
            <a:extLst>
              <a:ext uri="{FF2B5EF4-FFF2-40B4-BE49-F238E27FC236}">
                <a16:creationId xmlns:a16="http://schemas.microsoft.com/office/drawing/2014/main" id="{53B1881C-205A-0E37-85C6-A5B84C8958C7}"/>
              </a:ext>
            </a:extLst>
          </p:cNvPr>
          <p:cNvCxnSpPr>
            <a:cxnSpLocks/>
          </p:cNvCxnSpPr>
          <p:nvPr/>
        </p:nvCxnSpPr>
        <p:spPr>
          <a:xfrm>
            <a:off x="4598958" y="3222586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6" name="Straight Connector 505">
            <a:extLst>
              <a:ext uri="{FF2B5EF4-FFF2-40B4-BE49-F238E27FC236}">
                <a16:creationId xmlns:a16="http://schemas.microsoft.com/office/drawing/2014/main" id="{5B07D115-FF96-C15F-F8A2-AE6F99E842AF}"/>
              </a:ext>
            </a:extLst>
          </p:cNvPr>
          <p:cNvCxnSpPr/>
          <p:nvPr/>
        </p:nvCxnSpPr>
        <p:spPr>
          <a:xfrm>
            <a:off x="4572941" y="3207491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7" name="Straight Connector 506">
            <a:extLst>
              <a:ext uri="{FF2B5EF4-FFF2-40B4-BE49-F238E27FC236}">
                <a16:creationId xmlns:a16="http://schemas.microsoft.com/office/drawing/2014/main" id="{D0507137-6177-82DD-000C-6CB5208AC577}"/>
              </a:ext>
            </a:extLst>
          </p:cNvPr>
          <p:cNvCxnSpPr/>
          <p:nvPr/>
        </p:nvCxnSpPr>
        <p:spPr>
          <a:xfrm>
            <a:off x="4577426" y="3212981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8" name="Straight Connector 507">
            <a:extLst>
              <a:ext uri="{FF2B5EF4-FFF2-40B4-BE49-F238E27FC236}">
                <a16:creationId xmlns:a16="http://schemas.microsoft.com/office/drawing/2014/main" id="{38CB364D-FFDA-B7FE-8BB7-CBEBA848EC36}"/>
              </a:ext>
            </a:extLst>
          </p:cNvPr>
          <p:cNvCxnSpPr/>
          <p:nvPr/>
        </p:nvCxnSpPr>
        <p:spPr>
          <a:xfrm>
            <a:off x="4593575" y="3222586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9" name="Straight Connector 508">
            <a:extLst>
              <a:ext uri="{FF2B5EF4-FFF2-40B4-BE49-F238E27FC236}">
                <a16:creationId xmlns:a16="http://schemas.microsoft.com/office/drawing/2014/main" id="{AFC384FA-F5C3-A681-7812-11248BC4C70C}"/>
              </a:ext>
            </a:extLst>
          </p:cNvPr>
          <p:cNvCxnSpPr/>
          <p:nvPr/>
        </p:nvCxnSpPr>
        <p:spPr>
          <a:xfrm>
            <a:off x="4589089" y="3222586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0" name="Straight Connector 509">
            <a:extLst>
              <a:ext uri="{FF2B5EF4-FFF2-40B4-BE49-F238E27FC236}">
                <a16:creationId xmlns:a16="http://schemas.microsoft.com/office/drawing/2014/main" id="{A18D11AC-04ED-91A5-06C1-BCA5ED3664DC}"/>
              </a:ext>
            </a:extLst>
          </p:cNvPr>
          <p:cNvCxnSpPr/>
          <p:nvPr/>
        </p:nvCxnSpPr>
        <p:spPr>
          <a:xfrm>
            <a:off x="4582810" y="3219841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1" name="Straight Connector 510">
            <a:extLst>
              <a:ext uri="{FF2B5EF4-FFF2-40B4-BE49-F238E27FC236}">
                <a16:creationId xmlns:a16="http://schemas.microsoft.com/office/drawing/2014/main" id="{01348311-0C93-2C1A-6D84-622179EA1B6F}"/>
              </a:ext>
            </a:extLst>
          </p:cNvPr>
          <p:cNvCxnSpPr>
            <a:cxnSpLocks/>
          </p:cNvCxnSpPr>
          <p:nvPr/>
        </p:nvCxnSpPr>
        <p:spPr>
          <a:xfrm rot="16200000">
            <a:off x="4663547" y="3227873"/>
            <a:ext cx="0" cy="40687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2" name="Straight Connector 511">
            <a:extLst>
              <a:ext uri="{FF2B5EF4-FFF2-40B4-BE49-F238E27FC236}">
                <a16:creationId xmlns:a16="http://schemas.microsoft.com/office/drawing/2014/main" id="{AD2E2030-0B08-D0C2-0EE8-3734E86C3074}"/>
              </a:ext>
            </a:extLst>
          </p:cNvPr>
          <p:cNvCxnSpPr>
            <a:cxnSpLocks/>
          </p:cNvCxnSpPr>
          <p:nvPr/>
        </p:nvCxnSpPr>
        <p:spPr>
          <a:xfrm rot="16200000">
            <a:off x="4662941" y="3236107"/>
            <a:ext cx="0" cy="40687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3" name="Straight Connector 512">
            <a:extLst>
              <a:ext uri="{FF2B5EF4-FFF2-40B4-BE49-F238E27FC236}">
                <a16:creationId xmlns:a16="http://schemas.microsoft.com/office/drawing/2014/main" id="{927F6B23-B467-E64B-34FB-1B1D2D034C22}"/>
              </a:ext>
            </a:extLst>
          </p:cNvPr>
          <p:cNvCxnSpPr>
            <a:cxnSpLocks/>
          </p:cNvCxnSpPr>
          <p:nvPr/>
        </p:nvCxnSpPr>
        <p:spPr>
          <a:xfrm rot="16200000">
            <a:off x="4669538" y="3280019"/>
            <a:ext cx="0" cy="40687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4" name="Straight Connector 513">
            <a:extLst>
              <a:ext uri="{FF2B5EF4-FFF2-40B4-BE49-F238E27FC236}">
                <a16:creationId xmlns:a16="http://schemas.microsoft.com/office/drawing/2014/main" id="{806DBA20-7FE3-EA13-12BF-591EC2D413C8}"/>
              </a:ext>
            </a:extLst>
          </p:cNvPr>
          <p:cNvCxnSpPr>
            <a:cxnSpLocks/>
          </p:cNvCxnSpPr>
          <p:nvPr/>
        </p:nvCxnSpPr>
        <p:spPr>
          <a:xfrm rot="16200000">
            <a:off x="4683282" y="3347261"/>
            <a:ext cx="0" cy="40687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5" name="Straight Connector 514">
            <a:extLst>
              <a:ext uri="{FF2B5EF4-FFF2-40B4-BE49-F238E27FC236}">
                <a16:creationId xmlns:a16="http://schemas.microsoft.com/office/drawing/2014/main" id="{29B0301F-64F9-C509-E251-19324DA9C1B8}"/>
              </a:ext>
            </a:extLst>
          </p:cNvPr>
          <p:cNvCxnSpPr/>
          <p:nvPr/>
        </p:nvCxnSpPr>
        <p:spPr>
          <a:xfrm>
            <a:off x="4661754" y="3262382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6" name="Straight Connector 515">
            <a:extLst>
              <a:ext uri="{FF2B5EF4-FFF2-40B4-BE49-F238E27FC236}">
                <a16:creationId xmlns:a16="http://schemas.microsoft.com/office/drawing/2014/main" id="{0A87C4C8-E8DF-B5D9-02CB-0CEF1BC91E81}"/>
              </a:ext>
            </a:extLst>
          </p:cNvPr>
          <p:cNvCxnSpPr/>
          <p:nvPr/>
        </p:nvCxnSpPr>
        <p:spPr>
          <a:xfrm>
            <a:off x="4667135" y="3262382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7" name="Straight Connector 516">
            <a:extLst>
              <a:ext uri="{FF2B5EF4-FFF2-40B4-BE49-F238E27FC236}">
                <a16:creationId xmlns:a16="http://schemas.microsoft.com/office/drawing/2014/main" id="{9F8FDE9F-6419-AE16-B53D-AC2CA9064818}"/>
              </a:ext>
            </a:extLst>
          </p:cNvPr>
          <p:cNvCxnSpPr/>
          <p:nvPr/>
        </p:nvCxnSpPr>
        <p:spPr>
          <a:xfrm>
            <a:off x="4673415" y="3277477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8" name="Straight Connector 517">
            <a:extLst>
              <a:ext uri="{FF2B5EF4-FFF2-40B4-BE49-F238E27FC236}">
                <a16:creationId xmlns:a16="http://schemas.microsoft.com/office/drawing/2014/main" id="{DD346451-3A79-8C59-FA11-037D83AF8C88}"/>
              </a:ext>
            </a:extLst>
          </p:cNvPr>
          <p:cNvCxnSpPr/>
          <p:nvPr/>
        </p:nvCxnSpPr>
        <p:spPr>
          <a:xfrm>
            <a:off x="2375062" y="2927062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9" name="Straight Connector 518">
            <a:extLst>
              <a:ext uri="{FF2B5EF4-FFF2-40B4-BE49-F238E27FC236}">
                <a16:creationId xmlns:a16="http://schemas.microsoft.com/office/drawing/2014/main" id="{9221C56A-086D-2467-BE96-5B56A17D68A6}"/>
              </a:ext>
            </a:extLst>
          </p:cNvPr>
          <p:cNvCxnSpPr/>
          <p:nvPr/>
        </p:nvCxnSpPr>
        <p:spPr>
          <a:xfrm>
            <a:off x="2368782" y="2927062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0" name="Straight Connector 519">
            <a:extLst>
              <a:ext uri="{FF2B5EF4-FFF2-40B4-BE49-F238E27FC236}">
                <a16:creationId xmlns:a16="http://schemas.microsoft.com/office/drawing/2014/main" id="{AC54A5CE-0D30-8BB3-B316-636F5E54A65D}"/>
              </a:ext>
            </a:extLst>
          </p:cNvPr>
          <p:cNvCxnSpPr/>
          <p:nvPr/>
        </p:nvCxnSpPr>
        <p:spPr>
          <a:xfrm>
            <a:off x="2358017" y="2927062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1" name="Straight Connector 520">
            <a:extLst>
              <a:ext uri="{FF2B5EF4-FFF2-40B4-BE49-F238E27FC236}">
                <a16:creationId xmlns:a16="http://schemas.microsoft.com/office/drawing/2014/main" id="{FE052A45-0669-F8C2-21BE-8872941BB104}"/>
              </a:ext>
            </a:extLst>
          </p:cNvPr>
          <p:cNvCxnSpPr/>
          <p:nvPr/>
        </p:nvCxnSpPr>
        <p:spPr>
          <a:xfrm>
            <a:off x="2353532" y="2927062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2" name="Straight Connector 521">
            <a:extLst>
              <a:ext uri="{FF2B5EF4-FFF2-40B4-BE49-F238E27FC236}">
                <a16:creationId xmlns:a16="http://schemas.microsoft.com/office/drawing/2014/main" id="{F158617E-92B0-B67F-CB5B-B3D785A52471}"/>
              </a:ext>
            </a:extLst>
          </p:cNvPr>
          <p:cNvCxnSpPr/>
          <p:nvPr/>
        </p:nvCxnSpPr>
        <p:spPr>
          <a:xfrm>
            <a:off x="2177703" y="2836492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3" name="Straight Connector 522">
            <a:extLst>
              <a:ext uri="{FF2B5EF4-FFF2-40B4-BE49-F238E27FC236}">
                <a16:creationId xmlns:a16="http://schemas.microsoft.com/office/drawing/2014/main" id="{4D77C8E6-7646-E853-8C9E-2F8B9AA0D658}"/>
              </a:ext>
            </a:extLst>
          </p:cNvPr>
          <p:cNvCxnSpPr/>
          <p:nvPr/>
        </p:nvCxnSpPr>
        <p:spPr>
          <a:xfrm>
            <a:off x="2172320" y="2836492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4" name="Straight Connector 523">
            <a:extLst>
              <a:ext uri="{FF2B5EF4-FFF2-40B4-BE49-F238E27FC236}">
                <a16:creationId xmlns:a16="http://schemas.microsoft.com/office/drawing/2014/main" id="{711087C5-6A4C-447B-AABB-56CCE99A10BC}"/>
              </a:ext>
            </a:extLst>
          </p:cNvPr>
          <p:cNvCxnSpPr/>
          <p:nvPr/>
        </p:nvCxnSpPr>
        <p:spPr>
          <a:xfrm>
            <a:off x="2166938" y="2836492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5" name="Straight Connector 524">
            <a:extLst>
              <a:ext uri="{FF2B5EF4-FFF2-40B4-BE49-F238E27FC236}">
                <a16:creationId xmlns:a16="http://schemas.microsoft.com/office/drawing/2014/main" id="{9D17B8B1-A430-990A-4B1E-81C87B1CDD1F}"/>
              </a:ext>
            </a:extLst>
          </p:cNvPr>
          <p:cNvCxnSpPr/>
          <p:nvPr/>
        </p:nvCxnSpPr>
        <p:spPr>
          <a:xfrm>
            <a:off x="2133746" y="2837865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6" name="Straight Connector 525">
            <a:extLst>
              <a:ext uri="{FF2B5EF4-FFF2-40B4-BE49-F238E27FC236}">
                <a16:creationId xmlns:a16="http://schemas.microsoft.com/office/drawing/2014/main" id="{A35E7721-D990-002E-78BE-6168E7CBF82E}"/>
              </a:ext>
            </a:extLst>
          </p:cNvPr>
          <p:cNvCxnSpPr/>
          <p:nvPr/>
        </p:nvCxnSpPr>
        <p:spPr>
          <a:xfrm>
            <a:off x="2128363" y="2837865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7" name="Straight Connector 526">
            <a:extLst>
              <a:ext uri="{FF2B5EF4-FFF2-40B4-BE49-F238E27FC236}">
                <a16:creationId xmlns:a16="http://schemas.microsoft.com/office/drawing/2014/main" id="{D5694529-C215-F1AF-6BF1-F64FB029BCED}"/>
              </a:ext>
            </a:extLst>
          </p:cNvPr>
          <p:cNvCxnSpPr/>
          <p:nvPr/>
        </p:nvCxnSpPr>
        <p:spPr>
          <a:xfrm>
            <a:off x="2077229" y="2813163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8" name="Straight Connector 527">
            <a:extLst>
              <a:ext uri="{FF2B5EF4-FFF2-40B4-BE49-F238E27FC236}">
                <a16:creationId xmlns:a16="http://schemas.microsoft.com/office/drawing/2014/main" id="{EAA327FB-6C38-4DF5-965D-0709A0C7C692}"/>
              </a:ext>
            </a:extLst>
          </p:cNvPr>
          <p:cNvCxnSpPr/>
          <p:nvPr/>
        </p:nvCxnSpPr>
        <p:spPr>
          <a:xfrm>
            <a:off x="2072743" y="2813164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9" name="Straight Connector 528">
            <a:extLst>
              <a:ext uri="{FF2B5EF4-FFF2-40B4-BE49-F238E27FC236}">
                <a16:creationId xmlns:a16="http://schemas.microsoft.com/office/drawing/2014/main" id="{C1C9C678-6DAC-7EAE-E911-EC43EEC1B8D4}"/>
              </a:ext>
            </a:extLst>
          </p:cNvPr>
          <p:cNvCxnSpPr/>
          <p:nvPr/>
        </p:nvCxnSpPr>
        <p:spPr>
          <a:xfrm>
            <a:off x="2104142" y="2832375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0" name="Straight Connector 529">
            <a:extLst>
              <a:ext uri="{FF2B5EF4-FFF2-40B4-BE49-F238E27FC236}">
                <a16:creationId xmlns:a16="http://schemas.microsoft.com/office/drawing/2014/main" id="{1ABCC55C-0F25-379C-5EDE-306F626B7959}"/>
              </a:ext>
            </a:extLst>
          </p:cNvPr>
          <p:cNvCxnSpPr/>
          <p:nvPr/>
        </p:nvCxnSpPr>
        <p:spPr>
          <a:xfrm>
            <a:off x="2099656" y="2832375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1" name="Straight Connector 530">
            <a:extLst>
              <a:ext uri="{FF2B5EF4-FFF2-40B4-BE49-F238E27FC236}">
                <a16:creationId xmlns:a16="http://schemas.microsoft.com/office/drawing/2014/main" id="{D1B1C140-BA05-DB38-EB15-73DE9FEFF3F9}"/>
              </a:ext>
            </a:extLst>
          </p:cNvPr>
          <p:cNvCxnSpPr/>
          <p:nvPr/>
        </p:nvCxnSpPr>
        <p:spPr>
          <a:xfrm>
            <a:off x="2093377" y="2831003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2" name="Straight Connector 531">
            <a:extLst>
              <a:ext uri="{FF2B5EF4-FFF2-40B4-BE49-F238E27FC236}">
                <a16:creationId xmlns:a16="http://schemas.microsoft.com/office/drawing/2014/main" id="{4051ED55-490C-D056-93B9-86E39E1A5797}"/>
              </a:ext>
            </a:extLst>
          </p:cNvPr>
          <p:cNvCxnSpPr/>
          <p:nvPr/>
        </p:nvCxnSpPr>
        <p:spPr>
          <a:xfrm>
            <a:off x="1997389" y="2714360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3" name="Straight Connector 532">
            <a:extLst>
              <a:ext uri="{FF2B5EF4-FFF2-40B4-BE49-F238E27FC236}">
                <a16:creationId xmlns:a16="http://schemas.microsoft.com/office/drawing/2014/main" id="{5E607A0E-2D00-5D88-49C9-3ADD0366888B}"/>
              </a:ext>
            </a:extLst>
          </p:cNvPr>
          <p:cNvCxnSpPr/>
          <p:nvPr/>
        </p:nvCxnSpPr>
        <p:spPr>
          <a:xfrm>
            <a:off x="1992006" y="2714360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4" name="Straight Connector 533">
            <a:extLst>
              <a:ext uri="{FF2B5EF4-FFF2-40B4-BE49-F238E27FC236}">
                <a16:creationId xmlns:a16="http://schemas.microsoft.com/office/drawing/2014/main" id="{4A285E01-30BA-1B60-C4B7-E008A78FC300}"/>
              </a:ext>
            </a:extLst>
          </p:cNvPr>
          <p:cNvCxnSpPr/>
          <p:nvPr/>
        </p:nvCxnSpPr>
        <p:spPr>
          <a:xfrm>
            <a:off x="1988417" y="2714359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5" name="Straight Connector 534">
            <a:extLst>
              <a:ext uri="{FF2B5EF4-FFF2-40B4-BE49-F238E27FC236}">
                <a16:creationId xmlns:a16="http://schemas.microsoft.com/office/drawing/2014/main" id="{DC1E082E-8D44-3EF5-3926-F73A3AD09634}"/>
              </a:ext>
            </a:extLst>
          </p:cNvPr>
          <p:cNvCxnSpPr/>
          <p:nvPr/>
        </p:nvCxnSpPr>
        <p:spPr>
          <a:xfrm>
            <a:off x="1771323" y="2628627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6" name="Straight Connector 535">
            <a:extLst>
              <a:ext uri="{FF2B5EF4-FFF2-40B4-BE49-F238E27FC236}">
                <a16:creationId xmlns:a16="http://schemas.microsoft.com/office/drawing/2014/main" id="{735444AC-AEC7-292C-88CE-CA96B518FE0A}"/>
              </a:ext>
            </a:extLst>
          </p:cNvPr>
          <p:cNvCxnSpPr/>
          <p:nvPr/>
        </p:nvCxnSpPr>
        <p:spPr>
          <a:xfrm>
            <a:off x="1705835" y="2456372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7" name="Straight Connector 536">
            <a:extLst>
              <a:ext uri="{FF2B5EF4-FFF2-40B4-BE49-F238E27FC236}">
                <a16:creationId xmlns:a16="http://schemas.microsoft.com/office/drawing/2014/main" id="{BF1A567E-ABE6-E85A-603C-0464CFAF68BC}"/>
              </a:ext>
            </a:extLst>
          </p:cNvPr>
          <p:cNvCxnSpPr/>
          <p:nvPr/>
        </p:nvCxnSpPr>
        <p:spPr>
          <a:xfrm>
            <a:off x="1701350" y="2456372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8" name="Straight Connector 537">
            <a:extLst>
              <a:ext uri="{FF2B5EF4-FFF2-40B4-BE49-F238E27FC236}">
                <a16:creationId xmlns:a16="http://schemas.microsoft.com/office/drawing/2014/main" id="{2A77782F-636D-9C1F-BE94-81F1812BA18C}"/>
              </a:ext>
            </a:extLst>
          </p:cNvPr>
          <p:cNvCxnSpPr/>
          <p:nvPr/>
        </p:nvCxnSpPr>
        <p:spPr>
          <a:xfrm>
            <a:off x="1695070" y="2456372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9" name="Straight Connector 538">
            <a:extLst>
              <a:ext uri="{FF2B5EF4-FFF2-40B4-BE49-F238E27FC236}">
                <a16:creationId xmlns:a16="http://schemas.microsoft.com/office/drawing/2014/main" id="{632EE986-CD9D-7AC0-B670-F9AD628BF218}"/>
              </a:ext>
            </a:extLst>
          </p:cNvPr>
          <p:cNvCxnSpPr/>
          <p:nvPr/>
        </p:nvCxnSpPr>
        <p:spPr>
          <a:xfrm>
            <a:off x="1589214" y="2395992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0" name="Straight Connector 539">
            <a:extLst>
              <a:ext uri="{FF2B5EF4-FFF2-40B4-BE49-F238E27FC236}">
                <a16:creationId xmlns:a16="http://schemas.microsoft.com/office/drawing/2014/main" id="{7436FCF0-3048-4640-E8BF-D82DD432FC07}"/>
              </a:ext>
            </a:extLst>
          </p:cNvPr>
          <p:cNvCxnSpPr/>
          <p:nvPr/>
        </p:nvCxnSpPr>
        <p:spPr>
          <a:xfrm>
            <a:off x="1584729" y="2395992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1" name="Straight Connector 540">
            <a:extLst>
              <a:ext uri="{FF2B5EF4-FFF2-40B4-BE49-F238E27FC236}">
                <a16:creationId xmlns:a16="http://schemas.microsoft.com/office/drawing/2014/main" id="{9B162408-5A6D-1FEE-A2E5-EC76AE2C52C4}"/>
              </a:ext>
            </a:extLst>
          </p:cNvPr>
          <p:cNvCxnSpPr/>
          <p:nvPr/>
        </p:nvCxnSpPr>
        <p:spPr>
          <a:xfrm>
            <a:off x="1579346" y="2395992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2" name="Straight Connector 541">
            <a:extLst>
              <a:ext uri="{FF2B5EF4-FFF2-40B4-BE49-F238E27FC236}">
                <a16:creationId xmlns:a16="http://schemas.microsoft.com/office/drawing/2014/main" id="{186ACFDB-6B3F-51ED-FD41-B2E9FA74D94E}"/>
              </a:ext>
            </a:extLst>
          </p:cNvPr>
          <p:cNvCxnSpPr/>
          <p:nvPr/>
        </p:nvCxnSpPr>
        <p:spPr>
          <a:xfrm>
            <a:off x="1573963" y="2395992"/>
            <a:ext cx="0" cy="6223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3" name="Straight Connector 542">
            <a:extLst>
              <a:ext uri="{FF2B5EF4-FFF2-40B4-BE49-F238E27FC236}">
                <a16:creationId xmlns:a16="http://schemas.microsoft.com/office/drawing/2014/main" id="{5ADFA24D-5E18-3B55-2267-2402F1756894}"/>
              </a:ext>
            </a:extLst>
          </p:cNvPr>
          <p:cNvCxnSpPr>
            <a:cxnSpLocks/>
          </p:cNvCxnSpPr>
          <p:nvPr/>
        </p:nvCxnSpPr>
        <p:spPr>
          <a:xfrm rot="16200000">
            <a:off x="1765043" y="2634565"/>
            <a:ext cx="0" cy="40687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4" name="TextBox 553">
            <a:extLst>
              <a:ext uri="{FF2B5EF4-FFF2-40B4-BE49-F238E27FC236}">
                <a16:creationId xmlns:a16="http://schemas.microsoft.com/office/drawing/2014/main" id="{656EAC39-E93A-C3E3-B982-78615C9966C2}"/>
              </a:ext>
            </a:extLst>
          </p:cNvPr>
          <p:cNvSpPr txBox="1"/>
          <p:nvPr/>
        </p:nvSpPr>
        <p:spPr>
          <a:xfrm>
            <a:off x="1503193" y="4074287"/>
            <a:ext cx="2918698" cy="33724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HR 0.77 (95% CI 0.62–0.97)</a:t>
            </a:r>
          </a:p>
        </p:txBody>
      </p:sp>
      <p:sp>
        <p:nvSpPr>
          <p:cNvPr id="555" name="TextBox 554">
            <a:extLst>
              <a:ext uri="{FF2B5EF4-FFF2-40B4-BE49-F238E27FC236}">
                <a16:creationId xmlns:a16="http://schemas.microsoft.com/office/drawing/2014/main" id="{301EB0CD-F66D-1432-4721-A93330B915A8}"/>
              </a:ext>
            </a:extLst>
          </p:cNvPr>
          <p:cNvSpPr txBox="1"/>
          <p:nvPr/>
        </p:nvSpPr>
        <p:spPr>
          <a:xfrm>
            <a:off x="4772116" y="2761284"/>
            <a:ext cx="1124610" cy="430887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15A22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ola-R-CHP</a:t>
            </a:r>
            <a:b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15A22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F15A22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65%</a:t>
            </a:r>
            <a:endParaRPr kumimoji="0" lang="en-GB" sz="1400" b="1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56" name="TextBox 555">
            <a:extLst>
              <a:ext uri="{FF2B5EF4-FFF2-40B4-BE49-F238E27FC236}">
                <a16:creationId xmlns:a16="http://schemas.microsoft.com/office/drawing/2014/main" id="{2B22B320-801F-28E7-2C50-998972396F92}"/>
              </a:ext>
            </a:extLst>
          </p:cNvPr>
          <p:cNvSpPr txBox="1"/>
          <p:nvPr/>
        </p:nvSpPr>
        <p:spPr>
          <a:xfrm>
            <a:off x="4791624" y="3370682"/>
            <a:ext cx="1075890" cy="430887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-CHOP </a:t>
            </a:r>
            <a:b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59%</a:t>
            </a:r>
          </a:p>
        </p:txBody>
      </p:sp>
      <p:sp>
        <p:nvSpPr>
          <p:cNvPr id="557" name="TextBox 556">
            <a:extLst>
              <a:ext uri="{FF2B5EF4-FFF2-40B4-BE49-F238E27FC236}">
                <a16:creationId xmlns:a16="http://schemas.microsoft.com/office/drawing/2014/main" id="{30FDB5F2-53F2-5EAD-3032-A8D715CB4CEF}"/>
              </a:ext>
            </a:extLst>
          </p:cNvPr>
          <p:cNvSpPr txBox="1"/>
          <p:nvPr/>
        </p:nvSpPr>
        <p:spPr>
          <a:xfrm>
            <a:off x="2589408" y="4756603"/>
            <a:ext cx="1104471" cy="248697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ime (months)</a:t>
            </a:r>
          </a:p>
        </p:txBody>
      </p:sp>
      <p:sp>
        <p:nvSpPr>
          <p:cNvPr id="558" name="TextBox 557">
            <a:extLst>
              <a:ext uri="{FF2B5EF4-FFF2-40B4-BE49-F238E27FC236}">
                <a16:creationId xmlns:a16="http://schemas.microsoft.com/office/drawing/2014/main" id="{6D5AC0A3-34F1-0ECC-1E64-41E477CAF745}"/>
              </a:ext>
            </a:extLst>
          </p:cNvPr>
          <p:cNvSpPr txBox="1"/>
          <p:nvPr/>
        </p:nvSpPr>
        <p:spPr>
          <a:xfrm>
            <a:off x="457443" y="5182717"/>
            <a:ext cx="721894" cy="406712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F15A22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Pola-R-CHP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R-CHOP</a:t>
            </a:r>
          </a:p>
        </p:txBody>
      </p:sp>
      <p:sp>
        <p:nvSpPr>
          <p:cNvPr id="559" name="TextBox 558">
            <a:extLst>
              <a:ext uri="{FF2B5EF4-FFF2-40B4-BE49-F238E27FC236}">
                <a16:creationId xmlns:a16="http://schemas.microsoft.com/office/drawing/2014/main" id="{8744FF79-D610-2354-A8B9-FA846ED11412}"/>
              </a:ext>
            </a:extLst>
          </p:cNvPr>
          <p:cNvSpPr txBox="1"/>
          <p:nvPr/>
        </p:nvSpPr>
        <p:spPr>
          <a:xfrm>
            <a:off x="210652" y="4992858"/>
            <a:ext cx="968685" cy="163896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>
            <a:defPPr>
              <a:defRPr lang="en-GB"/>
            </a:defPPr>
            <a:lvl1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50" b="0" i="0" u="none" strike="noStrike" cap="none" spc="0" normalizeH="0" baseline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No. at risk</a:t>
            </a:r>
          </a:p>
        </p:txBody>
      </p:sp>
      <p:sp>
        <p:nvSpPr>
          <p:cNvPr id="560" name="TextBox 559">
            <a:extLst>
              <a:ext uri="{FF2B5EF4-FFF2-40B4-BE49-F238E27FC236}">
                <a16:creationId xmlns:a16="http://schemas.microsoft.com/office/drawing/2014/main" id="{5C85450A-FDED-E8A8-2B54-B6ED353BBE00}"/>
              </a:ext>
            </a:extLst>
          </p:cNvPr>
          <p:cNvSpPr txBox="1"/>
          <p:nvPr/>
        </p:nvSpPr>
        <p:spPr>
          <a:xfrm>
            <a:off x="6579199" y="5178324"/>
            <a:ext cx="397071" cy="415498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>
            <a:defPPr>
              <a:defRPr lang="en-GB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50" b="0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440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439</a:t>
            </a:r>
          </a:p>
        </p:txBody>
      </p:sp>
      <p:sp>
        <p:nvSpPr>
          <p:cNvPr id="561" name="TextBox 560">
            <a:extLst>
              <a:ext uri="{FF2B5EF4-FFF2-40B4-BE49-F238E27FC236}">
                <a16:creationId xmlns:a16="http://schemas.microsoft.com/office/drawing/2014/main" id="{387A3957-4ADB-16CD-775E-9EED0DE3F8BC}"/>
              </a:ext>
            </a:extLst>
          </p:cNvPr>
          <p:cNvSpPr txBox="1"/>
          <p:nvPr/>
        </p:nvSpPr>
        <p:spPr>
          <a:xfrm>
            <a:off x="6876364" y="5178324"/>
            <a:ext cx="397071" cy="415498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>
            <a:defPPr>
              <a:defRPr lang="en-GB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50" b="0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424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415</a:t>
            </a:r>
          </a:p>
        </p:txBody>
      </p:sp>
      <p:sp>
        <p:nvSpPr>
          <p:cNvPr id="562" name="TextBox 561">
            <a:extLst>
              <a:ext uri="{FF2B5EF4-FFF2-40B4-BE49-F238E27FC236}">
                <a16:creationId xmlns:a16="http://schemas.microsoft.com/office/drawing/2014/main" id="{8E6AD9A1-6EC8-1504-3CBA-B4BB2D73D373}"/>
              </a:ext>
            </a:extLst>
          </p:cNvPr>
          <p:cNvSpPr txBox="1"/>
          <p:nvPr/>
        </p:nvSpPr>
        <p:spPr>
          <a:xfrm>
            <a:off x="7163440" y="5178324"/>
            <a:ext cx="397071" cy="415498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>
            <a:defPPr>
              <a:defRPr lang="en-GB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50" b="0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399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403</a:t>
            </a:r>
          </a:p>
        </p:txBody>
      </p:sp>
      <p:sp>
        <p:nvSpPr>
          <p:cNvPr id="563" name="TextBox 562">
            <a:extLst>
              <a:ext uri="{FF2B5EF4-FFF2-40B4-BE49-F238E27FC236}">
                <a16:creationId xmlns:a16="http://schemas.microsoft.com/office/drawing/2014/main" id="{F6575A06-6B02-3135-FA05-267BC457E718}"/>
              </a:ext>
            </a:extLst>
          </p:cNvPr>
          <p:cNvSpPr txBox="1"/>
          <p:nvPr/>
        </p:nvSpPr>
        <p:spPr>
          <a:xfrm>
            <a:off x="7458073" y="5178324"/>
            <a:ext cx="397071" cy="415498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>
            <a:defPPr>
              <a:defRPr lang="en-GB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50" b="0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389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382</a:t>
            </a:r>
          </a:p>
        </p:txBody>
      </p:sp>
      <p:sp>
        <p:nvSpPr>
          <p:cNvPr id="564" name="TextBox 563">
            <a:extLst>
              <a:ext uri="{FF2B5EF4-FFF2-40B4-BE49-F238E27FC236}">
                <a16:creationId xmlns:a16="http://schemas.microsoft.com/office/drawing/2014/main" id="{9193EFFC-CCF2-14E2-1549-78F2E887DF28}"/>
              </a:ext>
            </a:extLst>
          </p:cNvPr>
          <p:cNvSpPr txBox="1"/>
          <p:nvPr/>
        </p:nvSpPr>
        <p:spPr>
          <a:xfrm>
            <a:off x="7757522" y="5178324"/>
            <a:ext cx="397071" cy="415498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>
            <a:defPPr>
              <a:defRPr lang="en-GB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50" b="0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381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372</a:t>
            </a:r>
          </a:p>
        </p:txBody>
      </p:sp>
      <p:sp>
        <p:nvSpPr>
          <p:cNvPr id="565" name="TextBox 564">
            <a:extLst>
              <a:ext uri="{FF2B5EF4-FFF2-40B4-BE49-F238E27FC236}">
                <a16:creationId xmlns:a16="http://schemas.microsoft.com/office/drawing/2014/main" id="{526DFA98-354D-D075-AB7C-BB28C39CF347}"/>
              </a:ext>
            </a:extLst>
          </p:cNvPr>
          <p:cNvSpPr txBox="1"/>
          <p:nvPr/>
        </p:nvSpPr>
        <p:spPr>
          <a:xfrm>
            <a:off x="8034864" y="5178324"/>
            <a:ext cx="397071" cy="415498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>
            <a:defPPr>
              <a:defRPr lang="en-GB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50" b="0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373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361</a:t>
            </a:r>
          </a:p>
        </p:txBody>
      </p:sp>
      <p:sp>
        <p:nvSpPr>
          <p:cNvPr id="566" name="TextBox 565">
            <a:extLst>
              <a:ext uri="{FF2B5EF4-FFF2-40B4-BE49-F238E27FC236}">
                <a16:creationId xmlns:a16="http://schemas.microsoft.com/office/drawing/2014/main" id="{80956769-0C66-4E1C-5DD3-C13A9132C033}"/>
              </a:ext>
            </a:extLst>
          </p:cNvPr>
          <p:cNvSpPr txBox="1"/>
          <p:nvPr/>
        </p:nvSpPr>
        <p:spPr>
          <a:xfrm>
            <a:off x="8328713" y="5178324"/>
            <a:ext cx="397071" cy="415498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>
            <a:defPPr>
              <a:defRPr lang="en-GB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50" b="0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366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357</a:t>
            </a:r>
          </a:p>
        </p:txBody>
      </p:sp>
      <p:sp>
        <p:nvSpPr>
          <p:cNvPr id="567" name="TextBox 566">
            <a:extLst>
              <a:ext uri="{FF2B5EF4-FFF2-40B4-BE49-F238E27FC236}">
                <a16:creationId xmlns:a16="http://schemas.microsoft.com/office/drawing/2014/main" id="{15773D58-52FC-9D92-7D6D-E981E03BD5D7}"/>
              </a:ext>
            </a:extLst>
          </p:cNvPr>
          <p:cNvSpPr txBox="1"/>
          <p:nvPr/>
        </p:nvSpPr>
        <p:spPr>
          <a:xfrm>
            <a:off x="8617467" y="5178324"/>
            <a:ext cx="397071" cy="415498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>
            <a:defPPr>
              <a:defRPr lang="en-GB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50" b="0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355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347</a:t>
            </a:r>
          </a:p>
        </p:txBody>
      </p:sp>
      <p:sp>
        <p:nvSpPr>
          <p:cNvPr id="568" name="TextBox 567">
            <a:extLst>
              <a:ext uri="{FF2B5EF4-FFF2-40B4-BE49-F238E27FC236}">
                <a16:creationId xmlns:a16="http://schemas.microsoft.com/office/drawing/2014/main" id="{BAC8E7C5-5DF5-1FBB-10EB-8636EB5DA885}"/>
              </a:ext>
            </a:extLst>
          </p:cNvPr>
          <p:cNvSpPr txBox="1"/>
          <p:nvPr/>
        </p:nvSpPr>
        <p:spPr>
          <a:xfrm>
            <a:off x="8911796" y="5178324"/>
            <a:ext cx="397071" cy="415498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>
            <a:defPPr>
              <a:defRPr lang="en-GB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50" b="0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343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338</a:t>
            </a:r>
          </a:p>
        </p:txBody>
      </p:sp>
      <p:sp>
        <p:nvSpPr>
          <p:cNvPr id="569" name="TextBox 568">
            <a:extLst>
              <a:ext uri="{FF2B5EF4-FFF2-40B4-BE49-F238E27FC236}">
                <a16:creationId xmlns:a16="http://schemas.microsoft.com/office/drawing/2014/main" id="{48ED2579-A074-ACAF-C5AB-BEE8E80E913F}"/>
              </a:ext>
            </a:extLst>
          </p:cNvPr>
          <p:cNvSpPr txBox="1"/>
          <p:nvPr/>
        </p:nvSpPr>
        <p:spPr>
          <a:xfrm>
            <a:off x="9198204" y="5178324"/>
            <a:ext cx="397071" cy="415498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>
            <a:defPPr>
              <a:defRPr lang="en-GB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50" b="0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338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329</a:t>
            </a:r>
          </a:p>
        </p:txBody>
      </p:sp>
      <p:sp>
        <p:nvSpPr>
          <p:cNvPr id="570" name="TextBox 569">
            <a:extLst>
              <a:ext uri="{FF2B5EF4-FFF2-40B4-BE49-F238E27FC236}">
                <a16:creationId xmlns:a16="http://schemas.microsoft.com/office/drawing/2014/main" id="{E02B5A4B-28C8-3062-63FB-B6F76E132366}"/>
              </a:ext>
            </a:extLst>
          </p:cNvPr>
          <p:cNvSpPr txBox="1"/>
          <p:nvPr/>
        </p:nvSpPr>
        <p:spPr>
          <a:xfrm>
            <a:off x="9495699" y="5178324"/>
            <a:ext cx="397071" cy="415498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>
            <a:defPPr>
              <a:defRPr lang="en-GB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50" b="0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319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311</a:t>
            </a:r>
          </a:p>
        </p:txBody>
      </p:sp>
      <p:sp>
        <p:nvSpPr>
          <p:cNvPr id="571" name="TextBox 570">
            <a:extLst>
              <a:ext uri="{FF2B5EF4-FFF2-40B4-BE49-F238E27FC236}">
                <a16:creationId xmlns:a16="http://schemas.microsoft.com/office/drawing/2014/main" id="{252DFADB-0485-B519-21E6-6934D0D595B3}"/>
              </a:ext>
            </a:extLst>
          </p:cNvPr>
          <p:cNvSpPr txBox="1"/>
          <p:nvPr/>
        </p:nvSpPr>
        <p:spPr>
          <a:xfrm>
            <a:off x="9783574" y="5178324"/>
            <a:ext cx="397071" cy="415498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>
            <a:defPPr>
              <a:defRPr lang="en-GB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50" b="0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24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28</a:t>
            </a:r>
          </a:p>
        </p:txBody>
      </p:sp>
      <p:sp>
        <p:nvSpPr>
          <p:cNvPr id="572" name="TextBox 571">
            <a:extLst>
              <a:ext uri="{FF2B5EF4-FFF2-40B4-BE49-F238E27FC236}">
                <a16:creationId xmlns:a16="http://schemas.microsoft.com/office/drawing/2014/main" id="{E4097AC9-1C8F-7B79-0D5F-1833CA95A1F3}"/>
              </a:ext>
            </a:extLst>
          </p:cNvPr>
          <p:cNvSpPr txBox="1"/>
          <p:nvPr/>
        </p:nvSpPr>
        <p:spPr>
          <a:xfrm>
            <a:off x="10071373" y="5178324"/>
            <a:ext cx="397071" cy="415498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>
            <a:defPPr>
              <a:defRPr lang="en-GB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50" b="0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2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3</a:t>
            </a:r>
          </a:p>
        </p:txBody>
      </p:sp>
      <p:sp>
        <p:nvSpPr>
          <p:cNvPr id="573" name="TextBox 572">
            <a:extLst>
              <a:ext uri="{FF2B5EF4-FFF2-40B4-BE49-F238E27FC236}">
                <a16:creationId xmlns:a16="http://schemas.microsoft.com/office/drawing/2014/main" id="{12FD5D9F-C948-BA75-A4D6-C1A4D0E0DC82}"/>
              </a:ext>
            </a:extLst>
          </p:cNvPr>
          <p:cNvSpPr txBox="1"/>
          <p:nvPr/>
        </p:nvSpPr>
        <p:spPr>
          <a:xfrm>
            <a:off x="10363851" y="5178324"/>
            <a:ext cx="397071" cy="415498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>
            <a:defPPr>
              <a:defRPr lang="en-GB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50" b="0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</a:t>
            </a:r>
          </a:p>
        </p:txBody>
      </p:sp>
      <p:sp>
        <p:nvSpPr>
          <p:cNvPr id="574" name="TextBox 573">
            <a:extLst>
              <a:ext uri="{FF2B5EF4-FFF2-40B4-BE49-F238E27FC236}">
                <a16:creationId xmlns:a16="http://schemas.microsoft.com/office/drawing/2014/main" id="{41BA17E4-C42F-584B-81B7-FF9AB1D0651D}"/>
              </a:ext>
            </a:extLst>
          </p:cNvPr>
          <p:cNvSpPr txBox="1"/>
          <p:nvPr/>
        </p:nvSpPr>
        <p:spPr>
          <a:xfrm>
            <a:off x="10656893" y="5178324"/>
            <a:ext cx="397071" cy="415498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>
            <a:defPPr>
              <a:defRPr lang="en-GB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50" b="0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N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NE</a:t>
            </a:r>
          </a:p>
        </p:txBody>
      </p:sp>
      <p:sp>
        <p:nvSpPr>
          <p:cNvPr id="575" name="TextBox 574">
            <a:extLst>
              <a:ext uri="{FF2B5EF4-FFF2-40B4-BE49-F238E27FC236}">
                <a16:creationId xmlns:a16="http://schemas.microsoft.com/office/drawing/2014/main" id="{2855FF08-66DB-955A-A4EC-0D252D2A2890}"/>
              </a:ext>
            </a:extLst>
          </p:cNvPr>
          <p:cNvSpPr txBox="1"/>
          <p:nvPr/>
        </p:nvSpPr>
        <p:spPr>
          <a:xfrm>
            <a:off x="5806440" y="5178324"/>
            <a:ext cx="721894" cy="415498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F15A22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Pola-R-CHP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R-CHOP</a:t>
            </a:r>
          </a:p>
        </p:txBody>
      </p:sp>
      <p:sp>
        <p:nvSpPr>
          <p:cNvPr id="576" name="TextBox 575">
            <a:extLst>
              <a:ext uri="{FF2B5EF4-FFF2-40B4-BE49-F238E27FC236}">
                <a16:creationId xmlns:a16="http://schemas.microsoft.com/office/drawing/2014/main" id="{7F9C0200-E6CE-6A52-6153-ECC372BB3B96}"/>
              </a:ext>
            </a:extLst>
          </p:cNvPr>
          <p:cNvSpPr txBox="1"/>
          <p:nvPr/>
        </p:nvSpPr>
        <p:spPr>
          <a:xfrm>
            <a:off x="5620609" y="4992858"/>
            <a:ext cx="968685" cy="167437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>
            <a:defPPr>
              <a:defRPr lang="en-GB"/>
            </a:defPPr>
            <a:lvl1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50" b="0" i="0" u="none" strike="noStrike" cap="none" spc="0" normalizeH="0" baseline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No. at risk</a:t>
            </a:r>
          </a:p>
        </p:txBody>
      </p:sp>
      <p:sp>
        <p:nvSpPr>
          <p:cNvPr id="577" name="TextBox 576">
            <a:extLst>
              <a:ext uri="{FF2B5EF4-FFF2-40B4-BE49-F238E27FC236}">
                <a16:creationId xmlns:a16="http://schemas.microsoft.com/office/drawing/2014/main" id="{0094DE33-422A-16AF-A255-9F0FBF3A48E3}"/>
              </a:ext>
            </a:extLst>
          </p:cNvPr>
          <p:cNvSpPr txBox="1"/>
          <p:nvPr/>
        </p:nvSpPr>
        <p:spPr>
          <a:xfrm>
            <a:off x="8269254" y="4753917"/>
            <a:ext cx="1104471" cy="254069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ime (months)</a:t>
            </a:r>
          </a:p>
        </p:txBody>
      </p:sp>
      <p:sp>
        <p:nvSpPr>
          <p:cNvPr id="578" name="TextBox 577">
            <a:extLst>
              <a:ext uri="{FF2B5EF4-FFF2-40B4-BE49-F238E27FC236}">
                <a16:creationId xmlns:a16="http://schemas.microsoft.com/office/drawing/2014/main" id="{7C4DD43F-7E9F-E21E-E06F-B568D6386AC9}"/>
              </a:ext>
            </a:extLst>
          </p:cNvPr>
          <p:cNvSpPr txBox="1"/>
          <p:nvPr/>
        </p:nvSpPr>
        <p:spPr>
          <a:xfrm>
            <a:off x="10576942" y="2254089"/>
            <a:ext cx="1112135" cy="430887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15A22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ola-R-CHP </a:t>
            </a:r>
            <a:b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15A22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F15A22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82%</a:t>
            </a:r>
            <a:endParaRPr kumimoji="0" lang="en-GB" sz="1400" b="1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79" name="TextBox 578">
            <a:extLst>
              <a:ext uri="{FF2B5EF4-FFF2-40B4-BE49-F238E27FC236}">
                <a16:creationId xmlns:a16="http://schemas.microsoft.com/office/drawing/2014/main" id="{E54031BE-3AC0-F96A-B83D-41249A87CA17}"/>
              </a:ext>
            </a:extLst>
          </p:cNvPr>
          <p:cNvSpPr txBox="1"/>
          <p:nvPr/>
        </p:nvSpPr>
        <p:spPr>
          <a:xfrm>
            <a:off x="10576942" y="2767866"/>
            <a:ext cx="1112135" cy="430887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-CHOP </a:t>
            </a:r>
            <a:b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80%</a:t>
            </a:r>
          </a:p>
        </p:txBody>
      </p:sp>
      <p:cxnSp>
        <p:nvCxnSpPr>
          <p:cNvPr id="580" name="Straight Connector 579">
            <a:extLst>
              <a:ext uri="{FF2B5EF4-FFF2-40B4-BE49-F238E27FC236}">
                <a16:creationId xmlns:a16="http://schemas.microsoft.com/office/drawing/2014/main" id="{9ABB2F83-4DDC-67B0-3B0C-A6B619F9587F}"/>
              </a:ext>
            </a:extLst>
          </p:cNvPr>
          <p:cNvCxnSpPr>
            <a:cxnSpLocks/>
          </p:cNvCxnSpPr>
          <p:nvPr/>
        </p:nvCxnSpPr>
        <p:spPr>
          <a:xfrm>
            <a:off x="6775907" y="4414364"/>
            <a:ext cx="4140978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1" name="Straight Connector 580">
            <a:extLst>
              <a:ext uri="{FF2B5EF4-FFF2-40B4-BE49-F238E27FC236}">
                <a16:creationId xmlns:a16="http://schemas.microsoft.com/office/drawing/2014/main" id="{17EB3B48-F1B3-00B7-574D-870B04031FA4}"/>
              </a:ext>
            </a:extLst>
          </p:cNvPr>
          <p:cNvCxnSpPr>
            <a:cxnSpLocks/>
          </p:cNvCxnSpPr>
          <p:nvPr/>
        </p:nvCxnSpPr>
        <p:spPr>
          <a:xfrm>
            <a:off x="6712597" y="4414450"/>
            <a:ext cx="73437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2" name="Straight Connector 581">
            <a:extLst>
              <a:ext uri="{FF2B5EF4-FFF2-40B4-BE49-F238E27FC236}">
                <a16:creationId xmlns:a16="http://schemas.microsoft.com/office/drawing/2014/main" id="{BE60FB0B-AF4F-EF03-B35B-32C6434DC307}"/>
              </a:ext>
            </a:extLst>
          </p:cNvPr>
          <p:cNvCxnSpPr>
            <a:cxnSpLocks/>
          </p:cNvCxnSpPr>
          <p:nvPr/>
        </p:nvCxnSpPr>
        <p:spPr>
          <a:xfrm>
            <a:off x="6777657" y="4416497"/>
            <a:ext cx="0" cy="7200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3" name="TextBox 582">
            <a:extLst>
              <a:ext uri="{FF2B5EF4-FFF2-40B4-BE49-F238E27FC236}">
                <a16:creationId xmlns:a16="http://schemas.microsoft.com/office/drawing/2014/main" id="{5DE7CF7D-A8A5-089D-FBFE-5CB6E75B845A}"/>
              </a:ext>
            </a:extLst>
          </p:cNvPr>
          <p:cNvSpPr txBox="1"/>
          <p:nvPr/>
        </p:nvSpPr>
        <p:spPr>
          <a:xfrm>
            <a:off x="6590536" y="4445732"/>
            <a:ext cx="374242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GB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0</a:t>
            </a:r>
          </a:p>
        </p:txBody>
      </p:sp>
      <p:cxnSp>
        <p:nvCxnSpPr>
          <p:cNvPr id="584" name="Straight Connector 583">
            <a:extLst>
              <a:ext uri="{FF2B5EF4-FFF2-40B4-BE49-F238E27FC236}">
                <a16:creationId xmlns:a16="http://schemas.microsoft.com/office/drawing/2014/main" id="{3C1740EC-3F43-F858-D650-9838AFD02CFF}"/>
              </a:ext>
            </a:extLst>
          </p:cNvPr>
          <p:cNvCxnSpPr>
            <a:cxnSpLocks/>
          </p:cNvCxnSpPr>
          <p:nvPr/>
        </p:nvCxnSpPr>
        <p:spPr>
          <a:xfrm>
            <a:off x="7069600" y="4412306"/>
            <a:ext cx="0" cy="7200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5" name="TextBox 584">
            <a:extLst>
              <a:ext uri="{FF2B5EF4-FFF2-40B4-BE49-F238E27FC236}">
                <a16:creationId xmlns:a16="http://schemas.microsoft.com/office/drawing/2014/main" id="{99A1948E-412B-E84E-C23B-BA70D8D3443A}"/>
              </a:ext>
            </a:extLst>
          </p:cNvPr>
          <p:cNvSpPr txBox="1"/>
          <p:nvPr/>
        </p:nvSpPr>
        <p:spPr>
          <a:xfrm>
            <a:off x="6882479" y="4445732"/>
            <a:ext cx="374242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GB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6</a:t>
            </a:r>
          </a:p>
        </p:txBody>
      </p:sp>
      <p:cxnSp>
        <p:nvCxnSpPr>
          <p:cNvPr id="586" name="Straight Connector 585">
            <a:extLst>
              <a:ext uri="{FF2B5EF4-FFF2-40B4-BE49-F238E27FC236}">
                <a16:creationId xmlns:a16="http://schemas.microsoft.com/office/drawing/2014/main" id="{C60DD8CE-85D4-5612-C04D-79697175C4E4}"/>
              </a:ext>
            </a:extLst>
          </p:cNvPr>
          <p:cNvCxnSpPr>
            <a:cxnSpLocks/>
          </p:cNvCxnSpPr>
          <p:nvPr/>
        </p:nvCxnSpPr>
        <p:spPr>
          <a:xfrm>
            <a:off x="7361542" y="4416497"/>
            <a:ext cx="0" cy="7200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7" name="TextBox 586">
            <a:extLst>
              <a:ext uri="{FF2B5EF4-FFF2-40B4-BE49-F238E27FC236}">
                <a16:creationId xmlns:a16="http://schemas.microsoft.com/office/drawing/2014/main" id="{7BA5EE01-ECBA-7270-F5EA-C333877350A2}"/>
              </a:ext>
            </a:extLst>
          </p:cNvPr>
          <p:cNvSpPr txBox="1"/>
          <p:nvPr/>
        </p:nvSpPr>
        <p:spPr>
          <a:xfrm>
            <a:off x="7174421" y="4445732"/>
            <a:ext cx="374242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GB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2</a:t>
            </a:r>
          </a:p>
        </p:txBody>
      </p:sp>
      <p:cxnSp>
        <p:nvCxnSpPr>
          <p:cNvPr id="588" name="Straight Connector 587">
            <a:extLst>
              <a:ext uri="{FF2B5EF4-FFF2-40B4-BE49-F238E27FC236}">
                <a16:creationId xmlns:a16="http://schemas.microsoft.com/office/drawing/2014/main" id="{62F2693B-E5A8-DAD9-13EB-3D8143F0E30A}"/>
              </a:ext>
            </a:extLst>
          </p:cNvPr>
          <p:cNvCxnSpPr>
            <a:cxnSpLocks/>
          </p:cNvCxnSpPr>
          <p:nvPr/>
        </p:nvCxnSpPr>
        <p:spPr>
          <a:xfrm>
            <a:off x="7655073" y="4416497"/>
            <a:ext cx="0" cy="7200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9" name="TextBox 588">
            <a:extLst>
              <a:ext uri="{FF2B5EF4-FFF2-40B4-BE49-F238E27FC236}">
                <a16:creationId xmlns:a16="http://schemas.microsoft.com/office/drawing/2014/main" id="{6E6F7873-F107-D7AF-71D4-1F635CDC7829}"/>
              </a:ext>
            </a:extLst>
          </p:cNvPr>
          <p:cNvSpPr txBox="1"/>
          <p:nvPr/>
        </p:nvSpPr>
        <p:spPr>
          <a:xfrm>
            <a:off x="7467952" y="4445732"/>
            <a:ext cx="374242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GB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8</a:t>
            </a:r>
          </a:p>
        </p:txBody>
      </p:sp>
      <p:cxnSp>
        <p:nvCxnSpPr>
          <p:cNvPr id="590" name="Straight Connector 589">
            <a:extLst>
              <a:ext uri="{FF2B5EF4-FFF2-40B4-BE49-F238E27FC236}">
                <a16:creationId xmlns:a16="http://schemas.microsoft.com/office/drawing/2014/main" id="{3F0C6C8F-E759-CE97-37BC-A30DA8DF64F5}"/>
              </a:ext>
            </a:extLst>
          </p:cNvPr>
          <p:cNvCxnSpPr>
            <a:cxnSpLocks/>
          </p:cNvCxnSpPr>
          <p:nvPr/>
        </p:nvCxnSpPr>
        <p:spPr>
          <a:xfrm>
            <a:off x="7944643" y="4416497"/>
            <a:ext cx="0" cy="7200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1" name="TextBox 590">
            <a:extLst>
              <a:ext uri="{FF2B5EF4-FFF2-40B4-BE49-F238E27FC236}">
                <a16:creationId xmlns:a16="http://schemas.microsoft.com/office/drawing/2014/main" id="{ACCF8DFA-FBAA-D1B6-1BA2-4F1C0B99D2A4}"/>
              </a:ext>
            </a:extLst>
          </p:cNvPr>
          <p:cNvSpPr txBox="1"/>
          <p:nvPr/>
        </p:nvSpPr>
        <p:spPr>
          <a:xfrm>
            <a:off x="7757522" y="4445732"/>
            <a:ext cx="374242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GB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24</a:t>
            </a:r>
          </a:p>
        </p:txBody>
      </p:sp>
      <p:cxnSp>
        <p:nvCxnSpPr>
          <p:cNvPr id="592" name="Straight Connector 591">
            <a:extLst>
              <a:ext uri="{FF2B5EF4-FFF2-40B4-BE49-F238E27FC236}">
                <a16:creationId xmlns:a16="http://schemas.microsoft.com/office/drawing/2014/main" id="{B856833C-9041-4E3B-43DB-1A0A3B1AF831}"/>
              </a:ext>
            </a:extLst>
          </p:cNvPr>
          <p:cNvCxnSpPr>
            <a:cxnSpLocks/>
          </p:cNvCxnSpPr>
          <p:nvPr/>
        </p:nvCxnSpPr>
        <p:spPr>
          <a:xfrm>
            <a:off x="8234214" y="4416497"/>
            <a:ext cx="0" cy="7200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3" name="TextBox 592">
            <a:extLst>
              <a:ext uri="{FF2B5EF4-FFF2-40B4-BE49-F238E27FC236}">
                <a16:creationId xmlns:a16="http://schemas.microsoft.com/office/drawing/2014/main" id="{B90F8DB3-6D62-DC4B-9592-80FFE0DAFF15}"/>
              </a:ext>
            </a:extLst>
          </p:cNvPr>
          <p:cNvSpPr txBox="1"/>
          <p:nvPr/>
        </p:nvSpPr>
        <p:spPr>
          <a:xfrm>
            <a:off x="8047093" y="4445732"/>
            <a:ext cx="374242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GB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30</a:t>
            </a:r>
          </a:p>
        </p:txBody>
      </p:sp>
      <p:cxnSp>
        <p:nvCxnSpPr>
          <p:cNvPr id="594" name="Straight Connector 593">
            <a:extLst>
              <a:ext uri="{FF2B5EF4-FFF2-40B4-BE49-F238E27FC236}">
                <a16:creationId xmlns:a16="http://schemas.microsoft.com/office/drawing/2014/main" id="{8280D0B8-E978-09A8-2B2F-F75F666D5D08}"/>
              </a:ext>
            </a:extLst>
          </p:cNvPr>
          <p:cNvCxnSpPr>
            <a:cxnSpLocks/>
          </p:cNvCxnSpPr>
          <p:nvPr/>
        </p:nvCxnSpPr>
        <p:spPr>
          <a:xfrm>
            <a:off x="8523784" y="4416497"/>
            <a:ext cx="0" cy="7200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5" name="TextBox 594">
            <a:extLst>
              <a:ext uri="{FF2B5EF4-FFF2-40B4-BE49-F238E27FC236}">
                <a16:creationId xmlns:a16="http://schemas.microsoft.com/office/drawing/2014/main" id="{A620F032-E0D1-0818-63A0-0942E39207E8}"/>
              </a:ext>
            </a:extLst>
          </p:cNvPr>
          <p:cNvSpPr txBox="1"/>
          <p:nvPr/>
        </p:nvSpPr>
        <p:spPr>
          <a:xfrm>
            <a:off x="8336663" y="4445732"/>
            <a:ext cx="374242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GB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36</a:t>
            </a:r>
          </a:p>
        </p:txBody>
      </p:sp>
      <p:cxnSp>
        <p:nvCxnSpPr>
          <p:cNvPr id="596" name="Straight Connector 595">
            <a:extLst>
              <a:ext uri="{FF2B5EF4-FFF2-40B4-BE49-F238E27FC236}">
                <a16:creationId xmlns:a16="http://schemas.microsoft.com/office/drawing/2014/main" id="{E131B616-DFBA-C797-45A7-5431D755ED60}"/>
              </a:ext>
            </a:extLst>
          </p:cNvPr>
          <p:cNvCxnSpPr>
            <a:cxnSpLocks/>
          </p:cNvCxnSpPr>
          <p:nvPr/>
        </p:nvCxnSpPr>
        <p:spPr>
          <a:xfrm>
            <a:off x="8813353" y="4416497"/>
            <a:ext cx="0" cy="7200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7" name="TextBox 596">
            <a:extLst>
              <a:ext uri="{FF2B5EF4-FFF2-40B4-BE49-F238E27FC236}">
                <a16:creationId xmlns:a16="http://schemas.microsoft.com/office/drawing/2014/main" id="{82159AC4-414F-2E56-17F3-A5C19F78F2F0}"/>
              </a:ext>
            </a:extLst>
          </p:cNvPr>
          <p:cNvSpPr txBox="1"/>
          <p:nvPr/>
        </p:nvSpPr>
        <p:spPr>
          <a:xfrm>
            <a:off x="8626232" y="4445732"/>
            <a:ext cx="374242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GB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42</a:t>
            </a:r>
          </a:p>
        </p:txBody>
      </p:sp>
      <p:cxnSp>
        <p:nvCxnSpPr>
          <p:cNvPr id="598" name="Straight Connector 597">
            <a:extLst>
              <a:ext uri="{FF2B5EF4-FFF2-40B4-BE49-F238E27FC236}">
                <a16:creationId xmlns:a16="http://schemas.microsoft.com/office/drawing/2014/main" id="{0FDB6D1F-431B-6768-B107-CB69799D8633}"/>
              </a:ext>
            </a:extLst>
          </p:cNvPr>
          <p:cNvCxnSpPr>
            <a:cxnSpLocks/>
          </p:cNvCxnSpPr>
          <p:nvPr/>
        </p:nvCxnSpPr>
        <p:spPr>
          <a:xfrm>
            <a:off x="9106867" y="4416497"/>
            <a:ext cx="0" cy="7200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9" name="TextBox 598">
            <a:extLst>
              <a:ext uri="{FF2B5EF4-FFF2-40B4-BE49-F238E27FC236}">
                <a16:creationId xmlns:a16="http://schemas.microsoft.com/office/drawing/2014/main" id="{FE7F0E2A-3D4C-59CF-DCA2-D666ED2AA1A6}"/>
              </a:ext>
            </a:extLst>
          </p:cNvPr>
          <p:cNvSpPr txBox="1"/>
          <p:nvPr/>
        </p:nvSpPr>
        <p:spPr>
          <a:xfrm>
            <a:off x="8919746" y="4445732"/>
            <a:ext cx="374242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GB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48</a:t>
            </a:r>
          </a:p>
        </p:txBody>
      </p:sp>
      <p:cxnSp>
        <p:nvCxnSpPr>
          <p:cNvPr id="600" name="Straight Connector 599">
            <a:extLst>
              <a:ext uri="{FF2B5EF4-FFF2-40B4-BE49-F238E27FC236}">
                <a16:creationId xmlns:a16="http://schemas.microsoft.com/office/drawing/2014/main" id="{3944D444-1C11-9CC6-0224-C0745D39CA2E}"/>
              </a:ext>
            </a:extLst>
          </p:cNvPr>
          <p:cNvCxnSpPr>
            <a:cxnSpLocks/>
          </p:cNvCxnSpPr>
          <p:nvPr/>
        </p:nvCxnSpPr>
        <p:spPr>
          <a:xfrm>
            <a:off x="9400380" y="4416497"/>
            <a:ext cx="0" cy="7200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1" name="TextBox 600">
            <a:extLst>
              <a:ext uri="{FF2B5EF4-FFF2-40B4-BE49-F238E27FC236}">
                <a16:creationId xmlns:a16="http://schemas.microsoft.com/office/drawing/2014/main" id="{B30E120B-8415-5908-1BCD-D05A64810DFC}"/>
              </a:ext>
            </a:extLst>
          </p:cNvPr>
          <p:cNvSpPr txBox="1"/>
          <p:nvPr/>
        </p:nvSpPr>
        <p:spPr>
          <a:xfrm>
            <a:off x="9213259" y="4445732"/>
            <a:ext cx="374242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GB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54</a:t>
            </a:r>
          </a:p>
        </p:txBody>
      </p:sp>
      <p:cxnSp>
        <p:nvCxnSpPr>
          <p:cNvPr id="602" name="Straight Connector 601">
            <a:extLst>
              <a:ext uri="{FF2B5EF4-FFF2-40B4-BE49-F238E27FC236}">
                <a16:creationId xmlns:a16="http://schemas.microsoft.com/office/drawing/2014/main" id="{A2E50D74-EBF1-D88E-EC75-571E457DB1B7}"/>
              </a:ext>
            </a:extLst>
          </p:cNvPr>
          <p:cNvCxnSpPr>
            <a:cxnSpLocks/>
          </p:cNvCxnSpPr>
          <p:nvPr/>
        </p:nvCxnSpPr>
        <p:spPr>
          <a:xfrm>
            <a:off x="9690770" y="4416497"/>
            <a:ext cx="0" cy="7200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3" name="TextBox 602">
            <a:extLst>
              <a:ext uri="{FF2B5EF4-FFF2-40B4-BE49-F238E27FC236}">
                <a16:creationId xmlns:a16="http://schemas.microsoft.com/office/drawing/2014/main" id="{015A1896-6D40-6335-5854-0320BBA4AFF1}"/>
              </a:ext>
            </a:extLst>
          </p:cNvPr>
          <p:cNvSpPr txBox="1"/>
          <p:nvPr/>
        </p:nvSpPr>
        <p:spPr>
          <a:xfrm>
            <a:off x="9503649" y="4445732"/>
            <a:ext cx="374242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GB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60</a:t>
            </a:r>
          </a:p>
        </p:txBody>
      </p:sp>
      <p:cxnSp>
        <p:nvCxnSpPr>
          <p:cNvPr id="604" name="Straight Connector 603">
            <a:extLst>
              <a:ext uri="{FF2B5EF4-FFF2-40B4-BE49-F238E27FC236}">
                <a16:creationId xmlns:a16="http://schemas.microsoft.com/office/drawing/2014/main" id="{62BAD7B3-FA02-EE11-DC38-76BE3263D92F}"/>
              </a:ext>
            </a:extLst>
          </p:cNvPr>
          <p:cNvCxnSpPr>
            <a:cxnSpLocks/>
          </p:cNvCxnSpPr>
          <p:nvPr/>
        </p:nvCxnSpPr>
        <p:spPr>
          <a:xfrm>
            <a:off x="9980340" y="4416497"/>
            <a:ext cx="0" cy="7200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5" name="TextBox 604">
            <a:extLst>
              <a:ext uri="{FF2B5EF4-FFF2-40B4-BE49-F238E27FC236}">
                <a16:creationId xmlns:a16="http://schemas.microsoft.com/office/drawing/2014/main" id="{108988AA-B630-6F50-531E-274453670E4B}"/>
              </a:ext>
            </a:extLst>
          </p:cNvPr>
          <p:cNvSpPr txBox="1"/>
          <p:nvPr/>
        </p:nvSpPr>
        <p:spPr>
          <a:xfrm>
            <a:off x="9793219" y="4445732"/>
            <a:ext cx="374242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GB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66</a:t>
            </a:r>
          </a:p>
        </p:txBody>
      </p:sp>
      <p:cxnSp>
        <p:nvCxnSpPr>
          <p:cNvPr id="606" name="Straight Connector 605">
            <a:extLst>
              <a:ext uri="{FF2B5EF4-FFF2-40B4-BE49-F238E27FC236}">
                <a16:creationId xmlns:a16="http://schemas.microsoft.com/office/drawing/2014/main" id="{AE20DFC7-E927-2334-D1A9-D5D28887738C}"/>
              </a:ext>
            </a:extLst>
          </p:cNvPr>
          <p:cNvCxnSpPr>
            <a:cxnSpLocks/>
          </p:cNvCxnSpPr>
          <p:nvPr/>
        </p:nvCxnSpPr>
        <p:spPr>
          <a:xfrm>
            <a:off x="10269908" y="4416497"/>
            <a:ext cx="0" cy="7200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7" name="TextBox 606">
            <a:extLst>
              <a:ext uri="{FF2B5EF4-FFF2-40B4-BE49-F238E27FC236}">
                <a16:creationId xmlns:a16="http://schemas.microsoft.com/office/drawing/2014/main" id="{82582521-8D63-3639-AD12-B9C9D8B3394E}"/>
              </a:ext>
            </a:extLst>
          </p:cNvPr>
          <p:cNvSpPr txBox="1"/>
          <p:nvPr/>
        </p:nvSpPr>
        <p:spPr>
          <a:xfrm>
            <a:off x="10082787" y="4445732"/>
            <a:ext cx="374242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GB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72</a:t>
            </a:r>
          </a:p>
        </p:txBody>
      </p:sp>
      <p:sp>
        <p:nvSpPr>
          <p:cNvPr id="609" name="TextBox 608">
            <a:extLst>
              <a:ext uri="{FF2B5EF4-FFF2-40B4-BE49-F238E27FC236}">
                <a16:creationId xmlns:a16="http://schemas.microsoft.com/office/drawing/2014/main" id="{3F497FCB-64CC-027E-3E9B-7DD843932BFF}"/>
              </a:ext>
            </a:extLst>
          </p:cNvPr>
          <p:cNvSpPr txBox="1"/>
          <p:nvPr/>
        </p:nvSpPr>
        <p:spPr>
          <a:xfrm>
            <a:off x="7177537" y="3246672"/>
            <a:ext cx="118071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F15A22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Pola-R-CHP (n=440)</a:t>
            </a:r>
          </a:p>
        </p:txBody>
      </p:sp>
      <p:cxnSp>
        <p:nvCxnSpPr>
          <p:cNvPr id="610" name="Straight Connector 609">
            <a:extLst>
              <a:ext uri="{FF2B5EF4-FFF2-40B4-BE49-F238E27FC236}">
                <a16:creationId xmlns:a16="http://schemas.microsoft.com/office/drawing/2014/main" id="{99B18DF9-6AE1-AA11-1973-73149B110D65}"/>
              </a:ext>
            </a:extLst>
          </p:cNvPr>
          <p:cNvCxnSpPr>
            <a:cxnSpLocks/>
          </p:cNvCxnSpPr>
          <p:nvPr/>
        </p:nvCxnSpPr>
        <p:spPr>
          <a:xfrm>
            <a:off x="6992592" y="3362088"/>
            <a:ext cx="150588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2" name="TextBox 611">
            <a:extLst>
              <a:ext uri="{FF2B5EF4-FFF2-40B4-BE49-F238E27FC236}">
                <a16:creationId xmlns:a16="http://schemas.microsoft.com/office/drawing/2014/main" id="{F43522C0-4213-F085-9CE6-FE96B5FF62CB}"/>
              </a:ext>
            </a:extLst>
          </p:cNvPr>
          <p:cNvSpPr txBox="1"/>
          <p:nvPr/>
        </p:nvSpPr>
        <p:spPr>
          <a:xfrm>
            <a:off x="7177537" y="3387211"/>
            <a:ext cx="118071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9D9C98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R-CHOP (n=439)</a:t>
            </a:r>
          </a:p>
        </p:txBody>
      </p:sp>
      <p:cxnSp>
        <p:nvCxnSpPr>
          <p:cNvPr id="613" name="Straight Connector 612">
            <a:extLst>
              <a:ext uri="{FF2B5EF4-FFF2-40B4-BE49-F238E27FC236}">
                <a16:creationId xmlns:a16="http://schemas.microsoft.com/office/drawing/2014/main" id="{3C6DE0E0-4798-BE86-3BBF-E736844DAD14}"/>
              </a:ext>
            </a:extLst>
          </p:cNvPr>
          <p:cNvCxnSpPr>
            <a:cxnSpLocks/>
          </p:cNvCxnSpPr>
          <p:nvPr/>
        </p:nvCxnSpPr>
        <p:spPr>
          <a:xfrm>
            <a:off x="6992592" y="3502627"/>
            <a:ext cx="150588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7" name="TextBox 616">
            <a:extLst>
              <a:ext uri="{FF2B5EF4-FFF2-40B4-BE49-F238E27FC236}">
                <a16:creationId xmlns:a16="http://schemas.microsoft.com/office/drawing/2014/main" id="{17CD4076-9867-1384-E65A-3349D523AB2E}"/>
              </a:ext>
            </a:extLst>
          </p:cNvPr>
          <p:cNvSpPr txBox="1"/>
          <p:nvPr/>
        </p:nvSpPr>
        <p:spPr>
          <a:xfrm>
            <a:off x="7177537" y="3527750"/>
            <a:ext cx="118071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Censored</a:t>
            </a:r>
          </a:p>
        </p:txBody>
      </p:sp>
      <p:cxnSp>
        <p:nvCxnSpPr>
          <p:cNvPr id="618" name="Straight Connector 617">
            <a:extLst>
              <a:ext uri="{FF2B5EF4-FFF2-40B4-BE49-F238E27FC236}">
                <a16:creationId xmlns:a16="http://schemas.microsoft.com/office/drawing/2014/main" id="{3CA6F1EF-E392-0F7D-31F1-B4FA9301A63D}"/>
              </a:ext>
            </a:extLst>
          </p:cNvPr>
          <p:cNvCxnSpPr>
            <a:cxnSpLocks/>
          </p:cNvCxnSpPr>
          <p:nvPr/>
        </p:nvCxnSpPr>
        <p:spPr>
          <a:xfrm>
            <a:off x="6992592" y="3643166"/>
            <a:ext cx="96625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6" name="Straight Connector 615">
            <a:extLst>
              <a:ext uri="{FF2B5EF4-FFF2-40B4-BE49-F238E27FC236}">
                <a16:creationId xmlns:a16="http://schemas.microsoft.com/office/drawing/2014/main" id="{80F34356-24F4-E8B3-22F0-967650713055}"/>
              </a:ext>
            </a:extLst>
          </p:cNvPr>
          <p:cNvCxnSpPr>
            <a:cxnSpLocks/>
          </p:cNvCxnSpPr>
          <p:nvPr/>
        </p:nvCxnSpPr>
        <p:spPr>
          <a:xfrm rot="16200000">
            <a:off x="6990652" y="3642702"/>
            <a:ext cx="96625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9" name="Straight Connector 618">
            <a:extLst>
              <a:ext uri="{FF2B5EF4-FFF2-40B4-BE49-F238E27FC236}">
                <a16:creationId xmlns:a16="http://schemas.microsoft.com/office/drawing/2014/main" id="{20734539-88C6-CEA0-E5C3-D8EBF452389F}"/>
              </a:ext>
            </a:extLst>
          </p:cNvPr>
          <p:cNvCxnSpPr>
            <a:cxnSpLocks/>
          </p:cNvCxnSpPr>
          <p:nvPr/>
        </p:nvCxnSpPr>
        <p:spPr>
          <a:xfrm>
            <a:off x="10559766" y="4416497"/>
            <a:ext cx="0" cy="7200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0" name="TextBox 619">
            <a:extLst>
              <a:ext uri="{FF2B5EF4-FFF2-40B4-BE49-F238E27FC236}">
                <a16:creationId xmlns:a16="http://schemas.microsoft.com/office/drawing/2014/main" id="{E35898F3-536D-3865-3AE4-22F72702A964}"/>
              </a:ext>
            </a:extLst>
          </p:cNvPr>
          <p:cNvSpPr txBox="1"/>
          <p:nvPr/>
        </p:nvSpPr>
        <p:spPr>
          <a:xfrm>
            <a:off x="10375265" y="4445732"/>
            <a:ext cx="374242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GB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78</a:t>
            </a:r>
          </a:p>
        </p:txBody>
      </p:sp>
      <p:cxnSp>
        <p:nvCxnSpPr>
          <p:cNvPr id="621" name="Straight Connector 620">
            <a:extLst>
              <a:ext uri="{FF2B5EF4-FFF2-40B4-BE49-F238E27FC236}">
                <a16:creationId xmlns:a16="http://schemas.microsoft.com/office/drawing/2014/main" id="{4E98ABD8-3734-F477-BA73-D6541330853E}"/>
              </a:ext>
            </a:extLst>
          </p:cNvPr>
          <p:cNvCxnSpPr>
            <a:cxnSpLocks/>
          </p:cNvCxnSpPr>
          <p:nvPr/>
        </p:nvCxnSpPr>
        <p:spPr>
          <a:xfrm>
            <a:off x="10851029" y="4416497"/>
            <a:ext cx="0" cy="7200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2" name="TextBox 621">
            <a:extLst>
              <a:ext uri="{FF2B5EF4-FFF2-40B4-BE49-F238E27FC236}">
                <a16:creationId xmlns:a16="http://schemas.microsoft.com/office/drawing/2014/main" id="{0CE52B1B-8CBB-763F-383D-7B208470F62A}"/>
              </a:ext>
            </a:extLst>
          </p:cNvPr>
          <p:cNvSpPr txBox="1"/>
          <p:nvPr/>
        </p:nvSpPr>
        <p:spPr>
          <a:xfrm>
            <a:off x="10668307" y="4445732"/>
            <a:ext cx="374242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GB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84</a:t>
            </a:r>
          </a:p>
        </p:txBody>
      </p:sp>
      <p:cxnSp>
        <p:nvCxnSpPr>
          <p:cNvPr id="623" name="Straight Connector 622">
            <a:extLst>
              <a:ext uri="{FF2B5EF4-FFF2-40B4-BE49-F238E27FC236}">
                <a16:creationId xmlns:a16="http://schemas.microsoft.com/office/drawing/2014/main" id="{74AA752E-D81A-37BA-979D-84069BA5560C}"/>
              </a:ext>
            </a:extLst>
          </p:cNvPr>
          <p:cNvCxnSpPr>
            <a:cxnSpLocks/>
          </p:cNvCxnSpPr>
          <p:nvPr/>
        </p:nvCxnSpPr>
        <p:spPr>
          <a:xfrm>
            <a:off x="6777657" y="2298626"/>
            <a:ext cx="0" cy="2143287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4" name="Straight Connector 623">
            <a:extLst>
              <a:ext uri="{FF2B5EF4-FFF2-40B4-BE49-F238E27FC236}">
                <a16:creationId xmlns:a16="http://schemas.microsoft.com/office/drawing/2014/main" id="{A9646E6B-1B8E-47FF-FBF6-C497C13CFE86}"/>
              </a:ext>
            </a:extLst>
          </p:cNvPr>
          <p:cNvCxnSpPr>
            <a:cxnSpLocks/>
          </p:cNvCxnSpPr>
          <p:nvPr/>
        </p:nvCxnSpPr>
        <p:spPr>
          <a:xfrm>
            <a:off x="6705984" y="2360938"/>
            <a:ext cx="73437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5" name="TextBox 624">
            <a:extLst>
              <a:ext uri="{FF2B5EF4-FFF2-40B4-BE49-F238E27FC236}">
                <a16:creationId xmlns:a16="http://schemas.microsoft.com/office/drawing/2014/main" id="{A2893427-1ACC-6357-C8DE-A926052E7BDE}"/>
              </a:ext>
            </a:extLst>
          </p:cNvPr>
          <p:cNvSpPr txBox="1"/>
          <p:nvPr/>
        </p:nvSpPr>
        <p:spPr>
          <a:xfrm>
            <a:off x="6255852" y="2213806"/>
            <a:ext cx="48620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00</a:t>
            </a:r>
          </a:p>
        </p:txBody>
      </p:sp>
      <p:cxnSp>
        <p:nvCxnSpPr>
          <p:cNvPr id="626" name="Straight Connector 625">
            <a:extLst>
              <a:ext uri="{FF2B5EF4-FFF2-40B4-BE49-F238E27FC236}">
                <a16:creationId xmlns:a16="http://schemas.microsoft.com/office/drawing/2014/main" id="{78AD5D86-9AEE-16C7-24E4-448B700C22A9}"/>
              </a:ext>
            </a:extLst>
          </p:cNvPr>
          <p:cNvCxnSpPr>
            <a:cxnSpLocks/>
          </p:cNvCxnSpPr>
          <p:nvPr/>
        </p:nvCxnSpPr>
        <p:spPr>
          <a:xfrm>
            <a:off x="6705984" y="2771351"/>
            <a:ext cx="73437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7" name="TextBox 626">
            <a:extLst>
              <a:ext uri="{FF2B5EF4-FFF2-40B4-BE49-F238E27FC236}">
                <a16:creationId xmlns:a16="http://schemas.microsoft.com/office/drawing/2014/main" id="{8D458BB0-539D-5240-1FE2-32A557E0FD57}"/>
              </a:ext>
            </a:extLst>
          </p:cNvPr>
          <p:cNvSpPr txBox="1"/>
          <p:nvPr/>
        </p:nvSpPr>
        <p:spPr>
          <a:xfrm>
            <a:off x="6255852" y="2627730"/>
            <a:ext cx="48620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80</a:t>
            </a:r>
          </a:p>
        </p:txBody>
      </p:sp>
      <p:cxnSp>
        <p:nvCxnSpPr>
          <p:cNvPr id="628" name="Straight Connector 627">
            <a:extLst>
              <a:ext uri="{FF2B5EF4-FFF2-40B4-BE49-F238E27FC236}">
                <a16:creationId xmlns:a16="http://schemas.microsoft.com/office/drawing/2014/main" id="{AC34C3B6-8055-C342-2D1C-03E4DC6EF64C}"/>
              </a:ext>
            </a:extLst>
          </p:cNvPr>
          <p:cNvCxnSpPr>
            <a:cxnSpLocks/>
          </p:cNvCxnSpPr>
          <p:nvPr/>
        </p:nvCxnSpPr>
        <p:spPr>
          <a:xfrm>
            <a:off x="6705984" y="3188101"/>
            <a:ext cx="73437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9" name="TextBox 628">
            <a:extLst>
              <a:ext uri="{FF2B5EF4-FFF2-40B4-BE49-F238E27FC236}">
                <a16:creationId xmlns:a16="http://schemas.microsoft.com/office/drawing/2014/main" id="{6C23AB07-749E-F1EB-4928-CECE6D1D824E}"/>
              </a:ext>
            </a:extLst>
          </p:cNvPr>
          <p:cNvSpPr txBox="1"/>
          <p:nvPr/>
        </p:nvSpPr>
        <p:spPr>
          <a:xfrm>
            <a:off x="6255852" y="3048045"/>
            <a:ext cx="48620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60</a:t>
            </a:r>
          </a:p>
        </p:txBody>
      </p:sp>
      <p:cxnSp>
        <p:nvCxnSpPr>
          <p:cNvPr id="630" name="Straight Connector 629">
            <a:extLst>
              <a:ext uri="{FF2B5EF4-FFF2-40B4-BE49-F238E27FC236}">
                <a16:creationId xmlns:a16="http://schemas.microsoft.com/office/drawing/2014/main" id="{5C7AC332-53F2-748A-1483-72C4C7A6F2EB}"/>
              </a:ext>
            </a:extLst>
          </p:cNvPr>
          <p:cNvCxnSpPr>
            <a:cxnSpLocks/>
          </p:cNvCxnSpPr>
          <p:nvPr/>
        </p:nvCxnSpPr>
        <p:spPr>
          <a:xfrm>
            <a:off x="6705984" y="3604850"/>
            <a:ext cx="73437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1" name="TextBox 630">
            <a:extLst>
              <a:ext uri="{FF2B5EF4-FFF2-40B4-BE49-F238E27FC236}">
                <a16:creationId xmlns:a16="http://schemas.microsoft.com/office/drawing/2014/main" id="{439EEF92-75FA-A73D-379B-54A0170BD947}"/>
              </a:ext>
            </a:extLst>
          </p:cNvPr>
          <p:cNvSpPr txBox="1"/>
          <p:nvPr/>
        </p:nvSpPr>
        <p:spPr>
          <a:xfrm>
            <a:off x="6255852" y="3468358"/>
            <a:ext cx="48620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40</a:t>
            </a:r>
          </a:p>
        </p:txBody>
      </p:sp>
      <p:cxnSp>
        <p:nvCxnSpPr>
          <p:cNvPr id="632" name="Straight Connector 631">
            <a:extLst>
              <a:ext uri="{FF2B5EF4-FFF2-40B4-BE49-F238E27FC236}">
                <a16:creationId xmlns:a16="http://schemas.microsoft.com/office/drawing/2014/main" id="{5131E693-B9E1-3486-952C-508298EB683B}"/>
              </a:ext>
            </a:extLst>
          </p:cNvPr>
          <p:cNvCxnSpPr>
            <a:cxnSpLocks/>
          </p:cNvCxnSpPr>
          <p:nvPr/>
        </p:nvCxnSpPr>
        <p:spPr>
          <a:xfrm>
            <a:off x="6705984" y="4022119"/>
            <a:ext cx="73437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3" name="TextBox 632">
            <a:extLst>
              <a:ext uri="{FF2B5EF4-FFF2-40B4-BE49-F238E27FC236}">
                <a16:creationId xmlns:a16="http://schemas.microsoft.com/office/drawing/2014/main" id="{32B3C68E-EB01-9538-1A3A-94394D9FCC7B}"/>
              </a:ext>
            </a:extLst>
          </p:cNvPr>
          <p:cNvSpPr txBox="1"/>
          <p:nvPr/>
        </p:nvSpPr>
        <p:spPr>
          <a:xfrm>
            <a:off x="6255852" y="3889197"/>
            <a:ext cx="48620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20</a:t>
            </a:r>
          </a:p>
        </p:txBody>
      </p:sp>
      <p:sp>
        <p:nvSpPr>
          <p:cNvPr id="634" name="TextBox 633">
            <a:extLst>
              <a:ext uri="{FF2B5EF4-FFF2-40B4-BE49-F238E27FC236}">
                <a16:creationId xmlns:a16="http://schemas.microsoft.com/office/drawing/2014/main" id="{7F274C31-6902-C9F3-408A-8122F69D469A}"/>
              </a:ext>
            </a:extLst>
          </p:cNvPr>
          <p:cNvSpPr txBox="1"/>
          <p:nvPr/>
        </p:nvSpPr>
        <p:spPr>
          <a:xfrm>
            <a:off x="6255852" y="4239107"/>
            <a:ext cx="48620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0</a:t>
            </a:r>
          </a:p>
        </p:txBody>
      </p:sp>
      <p:sp>
        <p:nvSpPr>
          <p:cNvPr id="635" name="TextBox 634">
            <a:extLst>
              <a:ext uri="{FF2B5EF4-FFF2-40B4-BE49-F238E27FC236}">
                <a16:creationId xmlns:a16="http://schemas.microsoft.com/office/drawing/2014/main" id="{31BC130E-E787-55D1-0459-BB757CF0B85D}"/>
              </a:ext>
            </a:extLst>
          </p:cNvPr>
          <p:cNvSpPr txBox="1"/>
          <p:nvPr/>
        </p:nvSpPr>
        <p:spPr>
          <a:xfrm rot="16200000">
            <a:off x="5413905" y="3200842"/>
            <a:ext cx="1611295" cy="307777"/>
          </a:xfrm>
          <a:prstGeom prst="rect">
            <a:avLst/>
          </a:prstGeom>
          <a:noFill/>
        </p:spPr>
        <p:txBody>
          <a:bodyPr wrap="none" rtlCol="0" anchor="ctr">
            <a:noAutofit/>
          </a:bodyPr>
          <a:lstStyle>
            <a:defPPr>
              <a:defRPr lang="en-GB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0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OS (%)</a:t>
            </a:r>
          </a:p>
        </p:txBody>
      </p:sp>
      <p:sp>
        <p:nvSpPr>
          <p:cNvPr id="637" name="Free-form: Shape 633">
            <a:extLst>
              <a:ext uri="{FF2B5EF4-FFF2-40B4-BE49-F238E27FC236}">
                <a16:creationId xmlns:a16="http://schemas.microsoft.com/office/drawing/2014/main" id="{8F019F59-233C-224B-3DD2-6156C01D5DA5}"/>
              </a:ext>
            </a:extLst>
          </p:cNvPr>
          <p:cNvSpPr/>
          <p:nvPr/>
        </p:nvSpPr>
        <p:spPr>
          <a:xfrm>
            <a:off x="6779091" y="2338289"/>
            <a:ext cx="1152487" cy="251184"/>
          </a:xfrm>
          <a:custGeom>
            <a:avLst/>
            <a:gdLst>
              <a:gd name="connsiteX0" fmla="*/ 0 w 3263507"/>
              <a:gd name="connsiteY0" fmla="*/ 0 h 440457"/>
              <a:gd name="connsiteX1" fmla="*/ 234396 w 3263507"/>
              <a:gd name="connsiteY1" fmla="*/ 0 h 440457"/>
              <a:gd name="connsiteX2" fmla="*/ 234396 w 3263507"/>
              <a:gd name="connsiteY2" fmla="*/ 41212 h 440457"/>
              <a:gd name="connsiteX3" fmla="*/ 448185 w 3263507"/>
              <a:gd name="connsiteY3" fmla="*/ 41212 h 440457"/>
              <a:gd name="connsiteX4" fmla="*/ 448185 w 3263507"/>
              <a:gd name="connsiteY4" fmla="*/ 85000 h 440457"/>
              <a:gd name="connsiteX5" fmla="*/ 692883 w 3263507"/>
              <a:gd name="connsiteY5" fmla="*/ 85000 h 440457"/>
              <a:gd name="connsiteX6" fmla="*/ 692883 w 3263507"/>
              <a:gd name="connsiteY6" fmla="*/ 121061 h 440457"/>
              <a:gd name="connsiteX7" fmla="*/ 929855 w 3263507"/>
              <a:gd name="connsiteY7" fmla="*/ 121061 h 440457"/>
              <a:gd name="connsiteX8" fmla="*/ 929855 w 3263507"/>
              <a:gd name="connsiteY8" fmla="*/ 162274 h 440457"/>
              <a:gd name="connsiteX9" fmla="*/ 1223493 w 3263507"/>
              <a:gd name="connsiteY9" fmla="*/ 162274 h 440457"/>
              <a:gd name="connsiteX10" fmla="*/ 1223493 w 3263507"/>
              <a:gd name="connsiteY10" fmla="*/ 182880 h 440457"/>
              <a:gd name="connsiteX11" fmla="*/ 1370312 w 3263507"/>
              <a:gd name="connsiteY11" fmla="*/ 182880 h 440457"/>
              <a:gd name="connsiteX12" fmla="*/ 1370312 w 3263507"/>
              <a:gd name="connsiteY12" fmla="*/ 200910 h 440457"/>
              <a:gd name="connsiteX13" fmla="*/ 1499101 w 3263507"/>
              <a:gd name="connsiteY13" fmla="*/ 200910 h 440457"/>
              <a:gd name="connsiteX14" fmla="*/ 1499101 w 3263507"/>
              <a:gd name="connsiteY14" fmla="*/ 216365 h 440457"/>
              <a:gd name="connsiteX15" fmla="*/ 1648496 w 3263507"/>
              <a:gd name="connsiteY15" fmla="*/ 216365 h 440457"/>
              <a:gd name="connsiteX16" fmla="*/ 1648496 w 3263507"/>
              <a:gd name="connsiteY16" fmla="*/ 236971 h 440457"/>
              <a:gd name="connsiteX17" fmla="*/ 1720618 w 3263507"/>
              <a:gd name="connsiteY17" fmla="*/ 236971 h 440457"/>
              <a:gd name="connsiteX18" fmla="*/ 1720618 w 3263507"/>
              <a:gd name="connsiteY18" fmla="*/ 252426 h 440457"/>
              <a:gd name="connsiteX19" fmla="*/ 1833952 w 3263507"/>
              <a:gd name="connsiteY19" fmla="*/ 252426 h 440457"/>
              <a:gd name="connsiteX20" fmla="*/ 1833952 w 3263507"/>
              <a:gd name="connsiteY20" fmla="*/ 278184 h 440457"/>
              <a:gd name="connsiteX21" fmla="*/ 2027135 w 3263507"/>
              <a:gd name="connsiteY21" fmla="*/ 278184 h 440457"/>
              <a:gd name="connsiteX22" fmla="*/ 2027135 w 3263507"/>
              <a:gd name="connsiteY22" fmla="*/ 311669 h 440457"/>
              <a:gd name="connsiteX23" fmla="*/ 2119863 w 3263507"/>
              <a:gd name="connsiteY23" fmla="*/ 311669 h 440457"/>
              <a:gd name="connsiteX24" fmla="*/ 2119863 w 3263507"/>
              <a:gd name="connsiteY24" fmla="*/ 327123 h 440457"/>
              <a:gd name="connsiteX25" fmla="*/ 2287288 w 3263507"/>
              <a:gd name="connsiteY25" fmla="*/ 327123 h 440457"/>
              <a:gd name="connsiteX26" fmla="*/ 2287288 w 3263507"/>
              <a:gd name="connsiteY26" fmla="*/ 352881 h 440457"/>
              <a:gd name="connsiteX27" fmla="*/ 2392895 w 3263507"/>
              <a:gd name="connsiteY27" fmla="*/ 352881 h 440457"/>
              <a:gd name="connsiteX28" fmla="*/ 2392895 w 3263507"/>
              <a:gd name="connsiteY28" fmla="*/ 376063 h 440457"/>
              <a:gd name="connsiteX29" fmla="*/ 2488198 w 3263507"/>
              <a:gd name="connsiteY29" fmla="*/ 376063 h 440457"/>
              <a:gd name="connsiteX30" fmla="*/ 2488198 w 3263507"/>
              <a:gd name="connsiteY30" fmla="*/ 401821 h 440457"/>
              <a:gd name="connsiteX31" fmla="*/ 2805019 w 3263507"/>
              <a:gd name="connsiteY31" fmla="*/ 401821 h 440457"/>
              <a:gd name="connsiteX32" fmla="*/ 2805019 w 3263507"/>
              <a:gd name="connsiteY32" fmla="*/ 440457 h 440457"/>
              <a:gd name="connsiteX33" fmla="*/ 3263507 w 3263507"/>
              <a:gd name="connsiteY33" fmla="*/ 440457 h 4404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</a:cxnLst>
            <a:rect l="l" t="t" r="r" b="b"/>
            <a:pathLst>
              <a:path w="3263507" h="440457">
                <a:moveTo>
                  <a:pt x="0" y="0"/>
                </a:moveTo>
                <a:lnTo>
                  <a:pt x="234396" y="0"/>
                </a:lnTo>
                <a:lnTo>
                  <a:pt x="234396" y="41212"/>
                </a:lnTo>
                <a:lnTo>
                  <a:pt x="448185" y="41212"/>
                </a:lnTo>
                <a:lnTo>
                  <a:pt x="448185" y="85000"/>
                </a:lnTo>
                <a:lnTo>
                  <a:pt x="692883" y="85000"/>
                </a:lnTo>
                <a:lnTo>
                  <a:pt x="692883" y="121061"/>
                </a:lnTo>
                <a:lnTo>
                  <a:pt x="929855" y="121061"/>
                </a:lnTo>
                <a:lnTo>
                  <a:pt x="929855" y="162274"/>
                </a:lnTo>
                <a:lnTo>
                  <a:pt x="1223493" y="162274"/>
                </a:lnTo>
                <a:lnTo>
                  <a:pt x="1223493" y="182880"/>
                </a:lnTo>
                <a:lnTo>
                  <a:pt x="1370312" y="182880"/>
                </a:lnTo>
                <a:lnTo>
                  <a:pt x="1370312" y="200910"/>
                </a:lnTo>
                <a:lnTo>
                  <a:pt x="1499101" y="200910"/>
                </a:lnTo>
                <a:lnTo>
                  <a:pt x="1499101" y="216365"/>
                </a:lnTo>
                <a:lnTo>
                  <a:pt x="1648496" y="216365"/>
                </a:lnTo>
                <a:lnTo>
                  <a:pt x="1648496" y="236971"/>
                </a:lnTo>
                <a:lnTo>
                  <a:pt x="1720618" y="236971"/>
                </a:lnTo>
                <a:lnTo>
                  <a:pt x="1720618" y="252426"/>
                </a:lnTo>
                <a:lnTo>
                  <a:pt x="1833952" y="252426"/>
                </a:lnTo>
                <a:lnTo>
                  <a:pt x="1833952" y="278184"/>
                </a:lnTo>
                <a:lnTo>
                  <a:pt x="2027135" y="278184"/>
                </a:lnTo>
                <a:lnTo>
                  <a:pt x="2027135" y="311669"/>
                </a:lnTo>
                <a:lnTo>
                  <a:pt x="2119863" y="311669"/>
                </a:lnTo>
                <a:lnTo>
                  <a:pt x="2119863" y="327123"/>
                </a:lnTo>
                <a:lnTo>
                  <a:pt x="2287288" y="327123"/>
                </a:lnTo>
                <a:lnTo>
                  <a:pt x="2287288" y="352881"/>
                </a:lnTo>
                <a:lnTo>
                  <a:pt x="2392895" y="352881"/>
                </a:lnTo>
                <a:lnTo>
                  <a:pt x="2392895" y="376063"/>
                </a:lnTo>
                <a:lnTo>
                  <a:pt x="2488198" y="376063"/>
                </a:lnTo>
                <a:lnTo>
                  <a:pt x="2488198" y="401821"/>
                </a:lnTo>
                <a:lnTo>
                  <a:pt x="2805019" y="401821"/>
                </a:lnTo>
                <a:lnTo>
                  <a:pt x="2805019" y="440457"/>
                </a:lnTo>
                <a:lnTo>
                  <a:pt x="3263507" y="440457"/>
                </a:lnTo>
              </a:path>
            </a:pathLst>
          </a:custGeom>
          <a:noFill/>
          <a:ln w="190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38" name="Free-form: Shape 634">
            <a:extLst>
              <a:ext uri="{FF2B5EF4-FFF2-40B4-BE49-F238E27FC236}">
                <a16:creationId xmlns:a16="http://schemas.microsoft.com/office/drawing/2014/main" id="{F1F74704-5CFE-7155-BD79-7A34E7757A2D}"/>
              </a:ext>
            </a:extLst>
          </p:cNvPr>
          <p:cNvSpPr/>
          <p:nvPr/>
        </p:nvSpPr>
        <p:spPr>
          <a:xfrm>
            <a:off x="7897013" y="2589473"/>
            <a:ext cx="1427192" cy="161581"/>
          </a:xfrm>
          <a:custGeom>
            <a:avLst/>
            <a:gdLst>
              <a:gd name="connsiteX0" fmla="*/ 0 w 4041391"/>
              <a:gd name="connsiteY0" fmla="*/ 0 h 283336"/>
              <a:gd name="connsiteX1" fmla="*/ 213789 w 4041391"/>
              <a:gd name="connsiteY1" fmla="*/ 0 h 283336"/>
              <a:gd name="connsiteX2" fmla="*/ 213789 w 4041391"/>
              <a:gd name="connsiteY2" fmla="*/ 41213 h 283336"/>
              <a:gd name="connsiteX3" fmla="*/ 448185 w 4041391"/>
              <a:gd name="connsiteY3" fmla="*/ 41213 h 283336"/>
              <a:gd name="connsiteX4" fmla="*/ 448185 w 4041391"/>
              <a:gd name="connsiteY4" fmla="*/ 66970 h 283336"/>
              <a:gd name="connsiteX5" fmla="*/ 543489 w 4041391"/>
              <a:gd name="connsiteY5" fmla="*/ 66970 h 283336"/>
              <a:gd name="connsiteX6" fmla="*/ 736672 w 4041391"/>
              <a:gd name="connsiteY6" fmla="*/ 66970 h 283336"/>
              <a:gd name="connsiteX7" fmla="*/ 736672 w 4041391"/>
              <a:gd name="connsiteY7" fmla="*/ 92728 h 283336"/>
              <a:gd name="connsiteX8" fmla="*/ 1535162 w 4041391"/>
              <a:gd name="connsiteY8" fmla="*/ 92728 h 283336"/>
              <a:gd name="connsiteX9" fmla="*/ 1535162 w 4041391"/>
              <a:gd name="connsiteY9" fmla="*/ 131365 h 283336"/>
              <a:gd name="connsiteX10" fmla="*/ 1998801 w 4041391"/>
              <a:gd name="connsiteY10" fmla="*/ 131365 h 283336"/>
              <a:gd name="connsiteX11" fmla="*/ 1998801 w 4041391"/>
              <a:gd name="connsiteY11" fmla="*/ 154547 h 283336"/>
              <a:gd name="connsiteX12" fmla="*/ 2230621 w 4041391"/>
              <a:gd name="connsiteY12" fmla="*/ 154547 h 283336"/>
              <a:gd name="connsiteX13" fmla="*/ 2230621 w 4041391"/>
              <a:gd name="connsiteY13" fmla="*/ 177729 h 283336"/>
              <a:gd name="connsiteX14" fmla="*/ 2848807 w 4041391"/>
              <a:gd name="connsiteY14" fmla="*/ 177729 h 283336"/>
              <a:gd name="connsiteX15" fmla="*/ 2848807 w 4041391"/>
              <a:gd name="connsiteY15" fmla="*/ 198335 h 283336"/>
              <a:gd name="connsiteX16" fmla="*/ 3157900 w 4041391"/>
              <a:gd name="connsiteY16" fmla="*/ 198335 h 283336"/>
              <a:gd name="connsiteX17" fmla="*/ 3157900 w 4041391"/>
              <a:gd name="connsiteY17" fmla="*/ 218941 h 283336"/>
              <a:gd name="connsiteX18" fmla="*/ 3412902 w 4041391"/>
              <a:gd name="connsiteY18" fmla="*/ 218941 h 283336"/>
              <a:gd name="connsiteX19" fmla="*/ 3412902 w 4041391"/>
              <a:gd name="connsiteY19" fmla="*/ 252426 h 283336"/>
              <a:gd name="connsiteX20" fmla="*/ 3719419 w 4041391"/>
              <a:gd name="connsiteY20" fmla="*/ 252426 h 283336"/>
              <a:gd name="connsiteX21" fmla="*/ 3719419 w 4041391"/>
              <a:gd name="connsiteY21" fmla="*/ 252426 h 283336"/>
              <a:gd name="connsiteX22" fmla="*/ 3940935 w 4041391"/>
              <a:gd name="connsiteY22" fmla="*/ 252426 h 283336"/>
              <a:gd name="connsiteX23" fmla="*/ 3940935 w 4041391"/>
              <a:gd name="connsiteY23" fmla="*/ 283336 h 283336"/>
              <a:gd name="connsiteX24" fmla="*/ 4041391 w 4041391"/>
              <a:gd name="connsiteY24" fmla="*/ 283336 h 2833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4041391" h="283336">
                <a:moveTo>
                  <a:pt x="0" y="0"/>
                </a:moveTo>
                <a:lnTo>
                  <a:pt x="213789" y="0"/>
                </a:lnTo>
                <a:lnTo>
                  <a:pt x="213789" y="41213"/>
                </a:lnTo>
                <a:lnTo>
                  <a:pt x="448185" y="41213"/>
                </a:lnTo>
                <a:lnTo>
                  <a:pt x="448185" y="66970"/>
                </a:lnTo>
                <a:lnTo>
                  <a:pt x="543489" y="66970"/>
                </a:lnTo>
                <a:lnTo>
                  <a:pt x="736672" y="66970"/>
                </a:lnTo>
                <a:lnTo>
                  <a:pt x="736672" y="92728"/>
                </a:lnTo>
                <a:lnTo>
                  <a:pt x="1535162" y="92728"/>
                </a:lnTo>
                <a:lnTo>
                  <a:pt x="1535162" y="131365"/>
                </a:lnTo>
                <a:lnTo>
                  <a:pt x="1998801" y="131365"/>
                </a:lnTo>
                <a:lnTo>
                  <a:pt x="1998801" y="154547"/>
                </a:lnTo>
                <a:lnTo>
                  <a:pt x="2230621" y="154547"/>
                </a:lnTo>
                <a:lnTo>
                  <a:pt x="2230621" y="177729"/>
                </a:lnTo>
                <a:lnTo>
                  <a:pt x="2848807" y="177729"/>
                </a:lnTo>
                <a:lnTo>
                  <a:pt x="2848807" y="198335"/>
                </a:lnTo>
                <a:lnTo>
                  <a:pt x="3157900" y="198335"/>
                </a:lnTo>
                <a:lnTo>
                  <a:pt x="3157900" y="218941"/>
                </a:lnTo>
                <a:lnTo>
                  <a:pt x="3412902" y="218941"/>
                </a:lnTo>
                <a:lnTo>
                  <a:pt x="3412902" y="252426"/>
                </a:lnTo>
                <a:lnTo>
                  <a:pt x="3719419" y="252426"/>
                </a:lnTo>
                <a:lnTo>
                  <a:pt x="3719419" y="252426"/>
                </a:lnTo>
                <a:lnTo>
                  <a:pt x="3940935" y="252426"/>
                </a:lnTo>
                <a:lnTo>
                  <a:pt x="3940935" y="283336"/>
                </a:lnTo>
                <a:lnTo>
                  <a:pt x="4041391" y="283336"/>
                </a:lnTo>
              </a:path>
            </a:pathLst>
          </a:custGeom>
          <a:noFill/>
          <a:ln w="190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39" name="Free-form: Shape 635">
            <a:extLst>
              <a:ext uri="{FF2B5EF4-FFF2-40B4-BE49-F238E27FC236}">
                <a16:creationId xmlns:a16="http://schemas.microsoft.com/office/drawing/2014/main" id="{6002ED78-E180-AD00-785C-B93E0BEC5CEE}"/>
              </a:ext>
            </a:extLst>
          </p:cNvPr>
          <p:cNvSpPr/>
          <p:nvPr/>
        </p:nvSpPr>
        <p:spPr>
          <a:xfrm>
            <a:off x="9311470" y="2751054"/>
            <a:ext cx="1259822" cy="117512"/>
          </a:xfrm>
          <a:custGeom>
            <a:avLst/>
            <a:gdLst>
              <a:gd name="connsiteX0" fmla="*/ 0 w 3567448"/>
              <a:gd name="connsiteY0" fmla="*/ 0 h 206062"/>
              <a:gd name="connsiteX1" fmla="*/ 327123 w 3567448"/>
              <a:gd name="connsiteY1" fmla="*/ 0 h 206062"/>
              <a:gd name="connsiteX2" fmla="*/ 327123 w 3567448"/>
              <a:gd name="connsiteY2" fmla="*/ 20606 h 206062"/>
              <a:gd name="connsiteX3" fmla="*/ 618186 w 3567448"/>
              <a:gd name="connsiteY3" fmla="*/ 20606 h 206062"/>
              <a:gd name="connsiteX4" fmla="*/ 618186 w 3567448"/>
              <a:gd name="connsiteY4" fmla="*/ 51515 h 206062"/>
              <a:gd name="connsiteX5" fmla="*/ 1354857 w 3567448"/>
              <a:gd name="connsiteY5" fmla="*/ 51515 h 206062"/>
              <a:gd name="connsiteX6" fmla="*/ 1354857 w 3567448"/>
              <a:gd name="connsiteY6" fmla="*/ 74697 h 206062"/>
              <a:gd name="connsiteX7" fmla="*/ 1504252 w 3567448"/>
              <a:gd name="connsiteY7" fmla="*/ 74697 h 206062"/>
              <a:gd name="connsiteX8" fmla="*/ 1504252 w 3567448"/>
              <a:gd name="connsiteY8" fmla="*/ 74697 h 206062"/>
              <a:gd name="connsiteX9" fmla="*/ 1514555 w 3567448"/>
              <a:gd name="connsiteY9" fmla="*/ 74697 h 206062"/>
              <a:gd name="connsiteX10" fmla="*/ 1514555 w 3567448"/>
              <a:gd name="connsiteY10" fmla="*/ 95303 h 206062"/>
              <a:gd name="connsiteX11" fmla="*/ 1728345 w 3567448"/>
              <a:gd name="connsiteY11" fmla="*/ 95303 h 206062"/>
              <a:gd name="connsiteX12" fmla="*/ 1728345 w 3567448"/>
              <a:gd name="connsiteY12" fmla="*/ 115909 h 206062"/>
              <a:gd name="connsiteX13" fmla="*/ 1934406 w 3567448"/>
              <a:gd name="connsiteY13" fmla="*/ 115909 h 206062"/>
              <a:gd name="connsiteX14" fmla="*/ 1934406 w 3567448"/>
              <a:gd name="connsiteY14" fmla="*/ 133940 h 206062"/>
              <a:gd name="connsiteX15" fmla="*/ 2436683 w 3567448"/>
              <a:gd name="connsiteY15" fmla="*/ 133940 h 206062"/>
              <a:gd name="connsiteX16" fmla="*/ 2436683 w 3567448"/>
              <a:gd name="connsiteY16" fmla="*/ 206062 h 206062"/>
              <a:gd name="connsiteX17" fmla="*/ 3567448 w 3567448"/>
              <a:gd name="connsiteY17" fmla="*/ 206062 h 206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3567448" h="206062">
                <a:moveTo>
                  <a:pt x="0" y="0"/>
                </a:moveTo>
                <a:lnTo>
                  <a:pt x="327123" y="0"/>
                </a:lnTo>
                <a:lnTo>
                  <a:pt x="327123" y="20606"/>
                </a:lnTo>
                <a:lnTo>
                  <a:pt x="618186" y="20606"/>
                </a:lnTo>
                <a:lnTo>
                  <a:pt x="618186" y="51515"/>
                </a:lnTo>
                <a:lnTo>
                  <a:pt x="1354857" y="51515"/>
                </a:lnTo>
                <a:lnTo>
                  <a:pt x="1354857" y="74697"/>
                </a:lnTo>
                <a:lnTo>
                  <a:pt x="1504252" y="74697"/>
                </a:lnTo>
                <a:lnTo>
                  <a:pt x="1504252" y="74697"/>
                </a:lnTo>
                <a:lnTo>
                  <a:pt x="1514555" y="74697"/>
                </a:lnTo>
                <a:lnTo>
                  <a:pt x="1514555" y="95303"/>
                </a:lnTo>
                <a:lnTo>
                  <a:pt x="1728345" y="95303"/>
                </a:lnTo>
                <a:lnTo>
                  <a:pt x="1728345" y="115909"/>
                </a:lnTo>
                <a:lnTo>
                  <a:pt x="1934406" y="115909"/>
                </a:lnTo>
                <a:lnTo>
                  <a:pt x="1934406" y="133940"/>
                </a:lnTo>
                <a:lnTo>
                  <a:pt x="2436683" y="133940"/>
                </a:lnTo>
                <a:lnTo>
                  <a:pt x="2436683" y="206062"/>
                </a:lnTo>
                <a:lnTo>
                  <a:pt x="3567448" y="206062"/>
                </a:lnTo>
              </a:path>
            </a:pathLst>
          </a:custGeom>
          <a:noFill/>
          <a:ln w="190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40" name="Free-form: Shape 636">
            <a:extLst>
              <a:ext uri="{FF2B5EF4-FFF2-40B4-BE49-F238E27FC236}">
                <a16:creationId xmlns:a16="http://schemas.microsoft.com/office/drawing/2014/main" id="{D535FACB-7AC8-E998-1DC8-A35E0395B5EE}"/>
              </a:ext>
            </a:extLst>
          </p:cNvPr>
          <p:cNvSpPr/>
          <p:nvPr/>
        </p:nvSpPr>
        <p:spPr>
          <a:xfrm>
            <a:off x="6779041" y="2336105"/>
            <a:ext cx="1398400" cy="283908"/>
          </a:xfrm>
          <a:custGeom>
            <a:avLst/>
            <a:gdLst>
              <a:gd name="connsiteX0" fmla="*/ 0 w 3959860"/>
              <a:gd name="connsiteY0" fmla="*/ 0 h 497840"/>
              <a:gd name="connsiteX1" fmla="*/ 114300 w 3959860"/>
              <a:gd name="connsiteY1" fmla="*/ 0 h 497840"/>
              <a:gd name="connsiteX2" fmla="*/ 114300 w 3959860"/>
              <a:gd name="connsiteY2" fmla="*/ 48260 h 497840"/>
              <a:gd name="connsiteX3" fmla="*/ 469900 w 3959860"/>
              <a:gd name="connsiteY3" fmla="*/ 48260 h 497840"/>
              <a:gd name="connsiteX4" fmla="*/ 469900 w 3959860"/>
              <a:gd name="connsiteY4" fmla="*/ 81280 h 497840"/>
              <a:gd name="connsiteX5" fmla="*/ 629920 w 3959860"/>
              <a:gd name="connsiteY5" fmla="*/ 81280 h 497840"/>
              <a:gd name="connsiteX6" fmla="*/ 629920 w 3959860"/>
              <a:gd name="connsiteY6" fmla="*/ 127000 h 497840"/>
              <a:gd name="connsiteX7" fmla="*/ 883920 w 3959860"/>
              <a:gd name="connsiteY7" fmla="*/ 127000 h 497840"/>
              <a:gd name="connsiteX8" fmla="*/ 883920 w 3959860"/>
              <a:gd name="connsiteY8" fmla="*/ 157480 h 497840"/>
              <a:gd name="connsiteX9" fmla="*/ 1135380 w 3959860"/>
              <a:gd name="connsiteY9" fmla="*/ 157480 h 497840"/>
              <a:gd name="connsiteX10" fmla="*/ 1135380 w 3959860"/>
              <a:gd name="connsiteY10" fmla="*/ 210820 h 497840"/>
              <a:gd name="connsiteX11" fmla="*/ 1188720 w 3959860"/>
              <a:gd name="connsiteY11" fmla="*/ 210820 h 497840"/>
              <a:gd name="connsiteX12" fmla="*/ 1188720 w 3959860"/>
              <a:gd name="connsiteY12" fmla="*/ 238760 h 497840"/>
              <a:gd name="connsiteX13" fmla="*/ 1508760 w 3959860"/>
              <a:gd name="connsiteY13" fmla="*/ 238760 h 497840"/>
              <a:gd name="connsiteX14" fmla="*/ 1508760 w 3959860"/>
              <a:gd name="connsiteY14" fmla="*/ 287020 h 497840"/>
              <a:gd name="connsiteX15" fmla="*/ 1607820 w 3959860"/>
              <a:gd name="connsiteY15" fmla="*/ 287020 h 497840"/>
              <a:gd name="connsiteX16" fmla="*/ 1607820 w 3959860"/>
              <a:gd name="connsiteY16" fmla="*/ 312420 h 497840"/>
              <a:gd name="connsiteX17" fmla="*/ 1803400 w 3959860"/>
              <a:gd name="connsiteY17" fmla="*/ 312420 h 497840"/>
              <a:gd name="connsiteX18" fmla="*/ 1803400 w 3959860"/>
              <a:gd name="connsiteY18" fmla="*/ 342900 h 497840"/>
              <a:gd name="connsiteX19" fmla="*/ 1958340 w 3959860"/>
              <a:gd name="connsiteY19" fmla="*/ 342900 h 497840"/>
              <a:gd name="connsiteX20" fmla="*/ 1958340 w 3959860"/>
              <a:gd name="connsiteY20" fmla="*/ 355600 h 497840"/>
              <a:gd name="connsiteX21" fmla="*/ 2461260 w 3959860"/>
              <a:gd name="connsiteY21" fmla="*/ 355600 h 497840"/>
              <a:gd name="connsiteX22" fmla="*/ 2461260 w 3959860"/>
              <a:gd name="connsiteY22" fmla="*/ 403860 h 497840"/>
              <a:gd name="connsiteX23" fmla="*/ 2661920 w 3959860"/>
              <a:gd name="connsiteY23" fmla="*/ 403860 h 497840"/>
              <a:gd name="connsiteX24" fmla="*/ 2661920 w 3959860"/>
              <a:gd name="connsiteY24" fmla="*/ 426720 h 497840"/>
              <a:gd name="connsiteX25" fmla="*/ 3637280 w 3959860"/>
              <a:gd name="connsiteY25" fmla="*/ 426720 h 497840"/>
              <a:gd name="connsiteX26" fmla="*/ 3637280 w 3959860"/>
              <a:gd name="connsiteY26" fmla="*/ 469900 h 497840"/>
              <a:gd name="connsiteX27" fmla="*/ 3830320 w 3959860"/>
              <a:gd name="connsiteY27" fmla="*/ 469900 h 497840"/>
              <a:gd name="connsiteX28" fmla="*/ 3830320 w 3959860"/>
              <a:gd name="connsiteY28" fmla="*/ 497840 h 497840"/>
              <a:gd name="connsiteX29" fmla="*/ 3959860 w 3959860"/>
              <a:gd name="connsiteY29" fmla="*/ 497840 h 4978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3959860" h="497840">
                <a:moveTo>
                  <a:pt x="0" y="0"/>
                </a:moveTo>
                <a:lnTo>
                  <a:pt x="114300" y="0"/>
                </a:lnTo>
                <a:lnTo>
                  <a:pt x="114300" y="48260"/>
                </a:lnTo>
                <a:lnTo>
                  <a:pt x="469900" y="48260"/>
                </a:lnTo>
                <a:lnTo>
                  <a:pt x="469900" y="81280"/>
                </a:lnTo>
                <a:lnTo>
                  <a:pt x="629920" y="81280"/>
                </a:lnTo>
                <a:lnTo>
                  <a:pt x="629920" y="127000"/>
                </a:lnTo>
                <a:lnTo>
                  <a:pt x="883920" y="127000"/>
                </a:lnTo>
                <a:lnTo>
                  <a:pt x="883920" y="157480"/>
                </a:lnTo>
                <a:lnTo>
                  <a:pt x="1135380" y="157480"/>
                </a:lnTo>
                <a:lnTo>
                  <a:pt x="1135380" y="210820"/>
                </a:lnTo>
                <a:lnTo>
                  <a:pt x="1188720" y="210820"/>
                </a:lnTo>
                <a:lnTo>
                  <a:pt x="1188720" y="238760"/>
                </a:lnTo>
                <a:lnTo>
                  <a:pt x="1508760" y="238760"/>
                </a:lnTo>
                <a:lnTo>
                  <a:pt x="1508760" y="287020"/>
                </a:lnTo>
                <a:lnTo>
                  <a:pt x="1607820" y="287020"/>
                </a:lnTo>
                <a:lnTo>
                  <a:pt x="1607820" y="312420"/>
                </a:lnTo>
                <a:lnTo>
                  <a:pt x="1803400" y="312420"/>
                </a:lnTo>
                <a:lnTo>
                  <a:pt x="1803400" y="342900"/>
                </a:lnTo>
                <a:lnTo>
                  <a:pt x="1958340" y="342900"/>
                </a:lnTo>
                <a:lnTo>
                  <a:pt x="1958340" y="355600"/>
                </a:lnTo>
                <a:lnTo>
                  <a:pt x="2461260" y="355600"/>
                </a:lnTo>
                <a:lnTo>
                  <a:pt x="2461260" y="403860"/>
                </a:lnTo>
                <a:lnTo>
                  <a:pt x="2661920" y="403860"/>
                </a:lnTo>
                <a:lnTo>
                  <a:pt x="2661920" y="426720"/>
                </a:lnTo>
                <a:lnTo>
                  <a:pt x="3637280" y="426720"/>
                </a:lnTo>
                <a:lnTo>
                  <a:pt x="3637280" y="469900"/>
                </a:lnTo>
                <a:lnTo>
                  <a:pt x="3830320" y="469900"/>
                </a:lnTo>
                <a:lnTo>
                  <a:pt x="3830320" y="497840"/>
                </a:lnTo>
                <a:lnTo>
                  <a:pt x="3959860" y="497840"/>
                </a:lnTo>
              </a:path>
            </a:pathLst>
          </a:cu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41" name="Free-form: Shape 637">
            <a:extLst>
              <a:ext uri="{FF2B5EF4-FFF2-40B4-BE49-F238E27FC236}">
                <a16:creationId xmlns:a16="http://schemas.microsoft.com/office/drawing/2014/main" id="{46A65B9F-D3C5-3674-3177-2532150ECC62}"/>
              </a:ext>
            </a:extLst>
          </p:cNvPr>
          <p:cNvSpPr/>
          <p:nvPr/>
        </p:nvSpPr>
        <p:spPr>
          <a:xfrm>
            <a:off x="8152325" y="2620014"/>
            <a:ext cx="1446837" cy="108639"/>
          </a:xfrm>
          <a:custGeom>
            <a:avLst/>
            <a:gdLst>
              <a:gd name="connsiteX0" fmla="*/ 0 w 4097020"/>
              <a:gd name="connsiteY0" fmla="*/ 0 h 190500"/>
              <a:gd name="connsiteX1" fmla="*/ 330200 w 4097020"/>
              <a:gd name="connsiteY1" fmla="*/ 0 h 190500"/>
              <a:gd name="connsiteX2" fmla="*/ 330200 w 4097020"/>
              <a:gd name="connsiteY2" fmla="*/ 38100 h 190500"/>
              <a:gd name="connsiteX3" fmla="*/ 868680 w 4097020"/>
              <a:gd name="connsiteY3" fmla="*/ 38100 h 190500"/>
              <a:gd name="connsiteX4" fmla="*/ 868680 w 4097020"/>
              <a:gd name="connsiteY4" fmla="*/ 63500 h 190500"/>
              <a:gd name="connsiteX5" fmla="*/ 1272540 w 4097020"/>
              <a:gd name="connsiteY5" fmla="*/ 63500 h 190500"/>
              <a:gd name="connsiteX6" fmla="*/ 1272540 w 4097020"/>
              <a:gd name="connsiteY6" fmla="*/ 91440 h 190500"/>
              <a:gd name="connsiteX7" fmla="*/ 1607820 w 4097020"/>
              <a:gd name="connsiteY7" fmla="*/ 91440 h 190500"/>
              <a:gd name="connsiteX8" fmla="*/ 1607820 w 4097020"/>
              <a:gd name="connsiteY8" fmla="*/ 114300 h 190500"/>
              <a:gd name="connsiteX9" fmla="*/ 2151380 w 4097020"/>
              <a:gd name="connsiteY9" fmla="*/ 114300 h 190500"/>
              <a:gd name="connsiteX10" fmla="*/ 2151380 w 4097020"/>
              <a:gd name="connsiteY10" fmla="*/ 139700 h 190500"/>
              <a:gd name="connsiteX11" fmla="*/ 3980180 w 4097020"/>
              <a:gd name="connsiteY11" fmla="*/ 139700 h 190500"/>
              <a:gd name="connsiteX12" fmla="*/ 3980180 w 4097020"/>
              <a:gd name="connsiteY12" fmla="*/ 190500 h 190500"/>
              <a:gd name="connsiteX13" fmla="*/ 4097020 w 4097020"/>
              <a:gd name="connsiteY13" fmla="*/ 190500 h 190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4097020" h="190500">
                <a:moveTo>
                  <a:pt x="0" y="0"/>
                </a:moveTo>
                <a:lnTo>
                  <a:pt x="330200" y="0"/>
                </a:lnTo>
                <a:lnTo>
                  <a:pt x="330200" y="38100"/>
                </a:lnTo>
                <a:lnTo>
                  <a:pt x="868680" y="38100"/>
                </a:lnTo>
                <a:lnTo>
                  <a:pt x="868680" y="63500"/>
                </a:lnTo>
                <a:lnTo>
                  <a:pt x="1272540" y="63500"/>
                </a:lnTo>
                <a:lnTo>
                  <a:pt x="1272540" y="91440"/>
                </a:lnTo>
                <a:lnTo>
                  <a:pt x="1607820" y="91440"/>
                </a:lnTo>
                <a:lnTo>
                  <a:pt x="1607820" y="114300"/>
                </a:lnTo>
                <a:lnTo>
                  <a:pt x="2151380" y="114300"/>
                </a:lnTo>
                <a:lnTo>
                  <a:pt x="2151380" y="139700"/>
                </a:lnTo>
                <a:lnTo>
                  <a:pt x="3980180" y="139700"/>
                </a:lnTo>
                <a:lnTo>
                  <a:pt x="3980180" y="190500"/>
                </a:lnTo>
                <a:lnTo>
                  <a:pt x="4097020" y="190500"/>
                </a:lnTo>
              </a:path>
            </a:pathLst>
          </a:cu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42" name="Free-form: Shape 638">
            <a:extLst>
              <a:ext uri="{FF2B5EF4-FFF2-40B4-BE49-F238E27FC236}">
                <a16:creationId xmlns:a16="http://schemas.microsoft.com/office/drawing/2014/main" id="{5979DF57-0EA6-73C1-CE84-B1A406C8D492}"/>
              </a:ext>
            </a:extLst>
          </p:cNvPr>
          <p:cNvSpPr/>
          <p:nvPr/>
        </p:nvSpPr>
        <p:spPr>
          <a:xfrm>
            <a:off x="9578532" y="2728653"/>
            <a:ext cx="1072794" cy="84013"/>
          </a:xfrm>
          <a:custGeom>
            <a:avLst/>
            <a:gdLst>
              <a:gd name="connsiteX0" fmla="*/ 0 w 3037840"/>
              <a:gd name="connsiteY0" fmla="*/ 0 h 147320"/>
              <a:gd name="connsiteX1" fmla="*/ 924560 w 3037840"/>
              <a:gd name="connsiteY1" fmla="*/ 0 h 147320"/>
              <a:gd name="connsiteX2" fmla="*/ 924560 w 3037840"/>
              <a:gd name="connsiteY2" fmla="*/ 27940 h 147320"/>
              <a:gd name="connsiteX3" fmla="*/ 1099820 w 3037840"/>
              <a:gd name="connsiteY3" fmla="*/ 27940 h 147320"/>
              <a:gd name="connsiteX4" fmla="*/ 1099820 w 3037840"/>
              <a:gd name="connsiteY4" fmla="*/ 63500 h 147320"/>
              <a:gd name="connsiteX5" fmla="*/ 1752600 w 3037840"/>
              <a:gd name="connsiteY5" fmla="*/ 63500 h 147320"/>
              <a:gd name="connsiteX6" fmla="*/ 1752600 w 3037840"/>
              <a:gd name="connsiteY6" fmla="*/ 147320 h 147320"/>
              <a:gd name="connsiteX7" fmla="*/ 3037840 w 3037840"/>
              <a:gd name="connsiteY7" fmla="*/ 147320 h 1473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037840" h="147320">
                <a:moveTo>
                  <a:pt x="0" y="0"/>
                </a:moveTo>
                <a:lnTo>
                  <a:pt x="924560" y="0"/>
                </a:lnTo>
                <a:lnTo>
                  <a:pt x="924560" y="27940"/>
                </a:lnTo>
                <a:lnTo>
                  <a:pt x="1099820" y="27940"/>
                </a:lnTo>
                <a:lnTo>
                  <a:pt x="1099820" y="63500"/>
                </a:lnTo>
                <a:lnTo>
                  <a:pt x="1752600" y="63500"/>
                </a:lnTo>
                <a:lnTo>
                  <a:pt x="1752600" y="147320"/>
                </a:lnTo>
                <a:lnTo>
                  <a:pt x="3037840" y="147320"/>
                </a:lnTo>
              </a:path>
            </a:pathLst>
          </a:cu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643" name="Straight Connector 642">
            <a:extLst>
              <a:ext uri="{FF2B5EF4-FFF2-40B4-BE49-F238E27FC236}">
                <a16:creationId xmlns:a16="http://schemas.microsoft.com/office/drawing/2014/main" id="{5E7A13AC-ACAC-0139-C8CD-8C9F51783329}"/>
              </a:ext>
            </a:extLst>
          </p:cNvPr>
          <p:cNvCxnSpPr>
            <a:cxnSpLocks/>
          </p:cNvCxnSpPr>
          <p:nvPr/>
        </p:nvCxnSpPr>
        <p:spPr>
          <a:xfrm>
            <a:off x="10568697" y="2839798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4" name="Straight Connector 643">
            <a:extLst>
              <a:ext uri="{FF2B5EF4-FFF2-40B4-BE49-F238E27FC236}">
                <a16:creationId xmlns:a16="http://schemas.microsoft.com/office/drawing/2014/main" id="{B12536C0-A97E-EA5E-C0FB-AABA1CD95214}"/>
              </a:ext>
            </a:extLst>
          </p:cNvPr>
          <p:cNvCxnSpPr>
            <a:cxnSpLocks/>
          </p:cNvCxnSpPr>
          <p:nvPr/>
        </p:nvCxnSpPr>
        <p:spPr>
          <a:xfrm>
            <a:off x="10565478" y="2839798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5" name="Straight Connector 644">
            <a:extLst>
              <a:ext uri="{FF2B5EF4-FFF2-40B4-BE49-F238E27FC236}">
                <a16:creationId xmlns:a16="http://schemas.microsoft.com/office/drawing/2014/main" id="{C774D674-D42D-B58D-3000-F25ECC5C244B}"/>
              </a:ext>
            </a:extLst>
          </p:cNvPr>
          <p:cNvCxnSpPr>
            <a:cxnSpLocks/>
          </p:cNvCxnSpPr>
          <p:nvPr/>
        </p:nvCxnSpPr>
        <p:spPr>
          <a:xfrm>
            <a:off x="10560351" y="2839798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6" name="Straight Connector 645">
            <a:extLst>
              <a:ext uri="{FF2B5EF4-FFF2-40B4-BE49-F238E27FC236}">
                <a16:creationId xmlns:a16="http://schemas.microsoft.com/office/drawing/2014/main" id="{F2FED2F4-D3C2-5109-C1D7-14671EE174F8}"/>
              </a:ext>
            </a:extLst>
          </p:cNvPr>
          <p:cNvCxnSpPr>
            <a:cxnSpLocks/>
          </p:cNvCxnSpPr>
          <p:nvPr/>
        </p:nvCxnSpPr>
        <p:spPr>
          <a:xfrm>
            <a:off x="10554595" y="2839798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7" name="Straight Connector 646">
            <a:extLst>
              <a:ext uri="{FF2B5EF4-FFF2-40B4-BE49-F238E27FC236}">
                <a16:creationId xmlns:a16="http://schemas.microsoft.com/office/drawing/2014/main" id="{C55E4E3E-A831-7E3F-BA97-FC83DB1AFC71}"/>
              </a:ext>
            </a:extLst>
          </p:cNvPr>
          <p:cNvCxnSpPr>
            <a:cxnSpLocks/>
          </p:cNvCxnSpPr>
          <p:nvPr/>
        </p:nvCxnSpPr>
        <p:spPr>
          <a:xfrm>
            <a:off x="10550278" y="2839798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8" name="Straight Connector 647">
            <a:extLst>
              <a:ext uri="{FF2B5EF4-FFF2-40B4-BE49-F238E27FC236}">
                <a16:creationId xmlns:a16="http://schemas.microsoft.com/office/drawing/2014/main" id="{02AC95FE-821F-269D-BD0B-DFBBE0D11545}"/>
              </a:ext>
            </a:extLst>
          </p:cNvPr>
          <p:cNvCxnSpPr>
            <a:cxnSpLocks/>
          </p:cNvCxnSpPr>
          <p:nvPr/>
        </p:nvCxnSpPr>
        <p:spPr>
          <a:xfrm>
            <a:off x="10545961" y="2839798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9" name="Straight Connector 648">
            <a:extLst>
              <a:ext uri="{FF2B5EF4-FFF2-40B4-BE49-F238E27FC236}">
                <a16:creationId xmlns:a16="http://schemas.microsoft.com/office/drawing/2014/main" id="{87B2C21F-BD86-D04D-297A-9C06AD841D08}"/>
              </a:ext>
            </a:extLst>
          </p:cNvPr>
          <p:cNvCxnSpPr>
            <a:cxnSpLocks/>
          </p:cNvCxnSpPr>
          <p:nvPr/>
        </p:nvCxnSpPr>
        <p:spPr>
          <a:xfrm>
            <a:off x="10541643" y="2839771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0" name="Straight Connector 649">
            <a:extLst>
              <a:ext uri="{FF2B5EF4-FFF2-40B4-BE49-F238E27FC236}">
                <a16:creationId xmlns:a16="http://schemas.microsoft.com/office/drawing/2014/main" id="{110CE70F-5A22-AB54-A359-D3C31EC67305}"/>
              </a:ext>
            </a:extLst>
          </p:cNvPr>
          <p:cNvCxnSpPr>
            <a:cxnSpLocks/>
          </p:cNvCxnSpPr>
          <p:nvPr/>
        </p:nvCxnSpPr>
        <p:spPr>
          <a:xfrm>
            <a:off x="10536985" y="2839798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1" name="Straight Connector 650">
            <a:extLst>
              <a:ext uri="{FF2B5EF4-FFF2-40B4-BE49-F238E27FC236}">
                <a16:creationId xmlns:a16="http://schemas.microsoft.com/office/drawing/2014/main" id="{F5B53B52-4BCB-6CD2-9A65-C67E640433F6}"/>
              </a:ext>
            </a:extLst>
          </p:cNvPr>
          <p:cNvCxnSpPr>
            <a:cxnSpLocks/>
          </p:cNvCxnSpPr>
          <p:nvPr/>
        </p:nvCxnSpPr>
        <p:spPr>
          <a:xfrm>
            <a:off x="10532146" y="2839771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2" name="Straight Connector 651">
            <a:extLst>
              <a:ext uri="{FF2B5EF4-FFF2-40B4-BE49-F238E27FC236}">
                <a16:creationId xmlns:a16="http://schemas.microsoft.com/office/drawing/2014/main" id="{7932E7C0-E790-626B-8190-563A56B2C858}"/>
              </a:ext>
            </a:extLst>
          </p:cNvPr>
          <p:cNvCxnSpPr>
            <a:cxnSpLocks/>
          </p:cNvCxnSpPr>
          <p:nvPr/>
        </p:nvCxnSpPr>
        <p:spPr>
          <a:xfrm>
            <a:off x="10471708" y="2839798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3" name="Straight Connector 652">
            <a:extLst>
              <a:ext uri="{FF2B5EF4-FFF2-40B4-BE49-F238E27FC236}">
                <a16:creationId xmlns:a16="http://schemas.microsoft.com/office/drawing/2014/main" id="{F2F0ECDE-F300-FEEF-1C97-A2D8501CFDA1}"/>
              </a:ext>
            </a:extLst>
          </p:cNvPr>
          <p:cNvCxnSpPr>
            <a:cxnSpLocks/>
          </p:cNvCxnSpPr>
          <p:nvPr/>
        </p:nvCxnSpPr>
        <p:spPr>
          <a:xfrm>
            <a:off x="10465663" y="2839798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4" name="Straight Connector 653">
            <a:extLst>
              <a:ext uri="{FF2B5EF4-FFF2-40B4-BE49-F238E27FC236}">
                <a16:creationId xmlns:a16="http://schemas.microsoft.com/office/drawing/2014/main" id="{928709BA-9D72-0492-1CBA-1958378401E5}"/>
              </a:ext>
            </a:extLst>
          </p:cNvPr>
          <p:cNvCxnSpPr>
            <a:cxnSpLocks/>
          </p:cNvCxnSpPr>
          <p:nvPr/>
        </p:nvCxnSpPr>
        <p:spPr>
          <a:xfrm>
            <a:off x="10363782" y="2839798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5" name="Straight Connector 654">
            <a:extLst>
              <a:ext uri="{FF2B5EF4-FFF2-40B4-BE49-F238E27FC236}">
                <a16:creationId xmlns:a16="http://schemas.microsoft.com/office/drawing/2014/main" id="{0C8CF7EE-35E3-9793-5B8A-B80434F8139B}"/>
              </a:ext>
            </a:extLst>
          </p:cNvPr>
          <p:cNvCxnSpPr>
            <a:cxnSpLocks/>
          </p:cNvCxnSpPr>
          <p:nvPr/>
        </p:nvCxnSpPr>
        <p:spPr>
          <a:xfrm>
            <a:off x="10358601" y="2839798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6" name="Straight Connector 655">
            <a:extLst>
              <a:ext uri="{FF2B5EF4-FFF2-40B4-BE49-F238E27FC236}">
                <a16:creationId xmlns:a16="http://schemas.microsoft.com/office/drawing/2014/main" id="{0DC0B31C-EFA3-D337-D9EC-6503513D8AB7}"/>
              </a:ext>
            </a:extLst>
          </p:cNvPr>
          <p:cNvCxnSpPr>
            <a:cxnSpLocks/>
          </p:cNvCxnSpPr>
          <p:nvPr/>
        </p:nvCxnSpPr>
        <p:spPr>
          <a:xfrm>
            <a:off x="10340470" y="2839798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7" name="Straight Connector 656">
            <a:extLst>
              <a:ext uri="{FF2B5EF4-FFF2-40B4-BE49-F238E27FC236}">
                <a16:creationId xmlns:a16="http://schemas.microsoft.com/office/drawing/2014/main" id="{886B43C2-4BC7-6D66-916A-EB854CDE06F4}"/>
              </a:ext>
            </a:extLst>
          </p:cNvPr>
          <p:cNvCxnSpPr>
            <a:cxnSpLocks/>
          </p:cNvCxnSpPr>
          <p:nvPr/>
        </p:nvCxnSpPr>
        <p:spPr>
          <a:xfrm>
            <a:off x="10336675" y="2839798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8" name="Straight Connector 657">
            <a:extLst>
              <a:ext uri="{FF2B5EF4-FFF2-40B4-BE49-F238E27FC236}">
                <a16:creationId xmlns:a16="http://schemas.microsoft.com/office/drawing/2014/main" id="{33E742AF-1D07-C8BF-6651-86561015EFE7}"/>
              </a:ext>
            </a:extLst>
          </p:cNvPr>
          <p:cNvCxnSpPr>
            <a:cxnSpLocks/>
          </p:cNvCxnSpPr>
          <p:nvPr/>
        </p:nvCxnSpPr>
        <p:spPr>
          <a:xfrm>
            <a:off x="10331836" y="2839771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9" name="Straight Connector 658">
            <a:extLst>
              <a:ext uri="{FF2B5EF4-FFF2-40B4-BE49-F238E27FC236}">
                <a16:creationId xmlns:a16="http://schemas.microsoft.com/office/drawing/2014/main" id="{C70F8C07-EAFD-E7B5-53B8-CE26AEF24158}"/>
              </a:ext>
            </a:extLst>
          </p:cNvPr>
          <p:cNvCxnSpPr>
            <a:cxnSpLocks/>
          </p:cNvCxnSpPr>
          <p:nvPr/>
        </p:nvCxnSpPr>
        <p:spPr>
          <a:xfrm>
            <a:off x="10326655" y="2839798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0" name="Straight Connector 659">
            <a:extLst>
              <a:ext uri="{FF2B5EF4-FFF2-40B4-BE49-F238E27FC236}">
                <a16:creationId xmlns:a16="http://schemas.microsoft.com/office/drawing/2014/main" id="{D9F47514-3AA1-21FA-1121-E895C4EE350D}"/>
              </a:ext>
            </a:extLst>
          </p:cNvPr>
          <p:cNvCxnSpPr>
            <a:cxnSpLocks/>
          </p:cNvCxnSpPr>
          <p:nvPr/>
        </p:nvCxnSpPr>
        <p:spPr>
          <a:xfrm>
            <a:off x="10302480" y="2839798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1" name="Straight Connector 660">
            <a:extLst>
              <a:ext uri="{FF2B5EF4-FFF2-40B4-BE49-F238E27FC236}">
                <a16:creationId xmlns:a16="http://schemas.microsoft.com/office/drawing/2014/main" id="{B70A44E5-44A3-4800-36EF-0C19FD86BC6C}"/>
              </a:ext>
            </a:extLst>
          </p:cNvPr>
          <p:cNvCxnSpPr>
            <a:cxnSpLocks/>
          </p:cNvCxnSpPr>
          <p:nvPr/>
        </p:nvCxnSpPr>
        <p:spPr>
          <a:xfrm>
            <a:off x="10264490" y="2839771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2" name="Straight Connector 661">
            <a:extLst>
              <a:ext uri="{FF2B5EF4-FFF2-40B4-BE49-F238E27FC236}">
                <a16:creationId xmlns:a16="http://schemas.microsoft.com/office/drawing/2014/main" id="{77FB06CF-5321-B8F4-F7EA-4534FBF4D1F9}"/>
              </a:ext>
            </a:extLst>
          </p:cNvPr>
          <p:cNvCxnSpPr>
            <a:cxnSpLocks/>
          </p:cNvCxnSpPr>
          <p:nvPr/>
        </p:nvCxnSpPr>
        <p:spPr>
          <a:xfrm>
            <a:off x="10299548" y="2839798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3" name="Straight Connector 662">
            <a:extLst>
              <a:ext uri="{FF2B5EF4-FFF2-40B4-BE49-F238E27FC236}">
                <a16:creationId xmlns:a16="http://schemas.microsoft.com/office/drawing/2014/main" id="{C5616DD9-2B81-558B-1DC1-C5854D7C55E7}"/>
              </a:ext>
            </a:extLst>
          </p:cNvPr>
          <p:cNvCxnSpPr>
            <a:cxnSpLocks/>
          </p:cNvCxnSpPr>
          <p:nvPr/>
        </p:nvCxnSpPr>
        <p:spPr>
          <a:xfrm>
            <a:off x="10295572" y="2839798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4" name="Straight Connector 663">
            <a:extLst>
              <a:ext uri="{FF2B5EF4-FFF2-40B4-BE49-F238E27FC236}">
                <a16:creationId xmlns:a16="http://schemas.microsoft.com/office/drawing/2014/main" id="{FFE11996-7E6D-1CA7-7944-FA2BB0AE5550}"/>
              </a:ext>
            </a:extLst>
          </p:cNvPr>
          <p:cNvCxnSpPr>
            <a:cxnSpLocks/>
          </p:cNvCxnSpPr>
          <p:nvPr/>
        </p:nvCxnSpPr>
        <p:spPr>
          <a:xfrm>
            <a:off x="10292641" y="2839167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5" name="Straight Connector 664">
            <a:extLst>
              <a:ext uri="{FF2B5EF4-FFF2-40B4-BE49-F238E27FC236}">
                <a16:creationId xmlns:a16="http://schemas.microsoft.com/office/drawing/2014/main" id="{9962AE34-6CED-D15F-75CF-9A3DF1B206B4}"/>
              </a:ext>
            </a:extLst>
          </p:cNvPr>
          <p:cNvCxnSpPr>
            <a:cxnSpLocks/>
          </p:cNvCxnSpPr>
          <p:nvPr/>
        </p:nvCxnSpPr>
        <p:spPr>
          <a:xfrm>
            <a:off x="10287983" y="2839798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6" name="Straight Connector 665">
            <a:extLst>
              <a:ext uri="{FF2B5EF4-FFF2-40B4-BE49-F238E27FC236}">
                <a16:creationId xmlns:a16="http://schemas.microsoft.com/office/drawing/2014/main" id="{0ABCF681-CA27-72E5-647F-8C18B53ADC8E}"/>
              </a:ext>
            </a:extLst>
          </p:cNvPr>
          <p:cNvCxnSpPr>
            <a:cxnSpLocks/>
          </p:cNvCxnSpPr>
          <p:nvPr/>
        </p:nvCxnSpPr>
        <p:spPr>
          <a:xfrm>
            <a:off x="10283484" y="2839798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7" name="Straight Connector 666">
            <a:extLst>
              <a:ext uri="{FF2B5EF4-FFF2-40B4-BE49-F238E27FC236}">
                <a16:creationId xmlns:a16="http://schemas.microsoft.com/office/drawing/2014/main" id="{616FCCC3-6E55-D433-B5D1-8FB423510596}"/>
              </a:ext>
            </a:extLst>
          </p:cNvPr>
          <p:cNvCxnSpPr>
            <a:cxnSpLocks/>
          </p:cNvCxnSpPr>
          <p:nvPr/>
        </p:nvCxnSpPr>
        <p:spPr>
          <a:xfrm>
            <a:off x="10279690" y="2839167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8" name="Straight Connector 667">
            <a:extLst>
              <a:ext uri="{FF2B5EF4-FFF2-40B4-BE49-F238E27FC236}">
                <a16:creationId xmlns:a16="http://schemas.microsoft.com/office/drawing/2014/main" id="{F94C6B87-1D5F-06FD-4AE5-24112898F818}"/>
              </a:ext>
            </a:extLst>
          </p:cNvPr>
          <p:cNvCxnSpPr>
            <a:cxnSpLocks/>
          </p:cNvCxnSpPr>
          <p:nvPr/>
        </p:nvCxnSpPr>
        <p:spPr>
          <a:xfrm>
            <a:off x="10275373" y="2839798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9" name="Straight Connector 668">
            <a:extLst>
              <a:ext uri="{FF2B5EF4-FFF2-40B4-BE49-F238E27FC236}">
                <a16:creationId xmlns:a16="http://schemas.microsoft.com/office/drawing/2014/main" id="{51ABCA08-A323-7993-5651-A3864C8E39D0}"/>
              </a:ext>
            </a:extLst>
          </p:cNvPr>
          <p:cNvCxnSpPr>
            <a:cxnSpLocks/>
          </p:cNvCxnSpPr>
          <p:nvPr/>
        </p:nvCxnSpPr>
        <p:spPr>
          <a:xfrm>
            <a:off x="10271056" y="2839798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0" name="Straight Connector 669">
            <a:extLst>
              <a:ext uri="{FF2B5EF4-FFF2-40B4-BE49-F238E27FC236}">
                <a16:creationId xmlns:a16="http://schemas.microsoft.com/office/drawing/2014/main" id="{220CAA13-76E1-2FD4-A38C-8B52A0558C27}"/>
              </a:ext>
            </a:extLst>
          </p:cNvPr>
          <p:cNvCxnSpPr>
            <a:cxnSpLocks/>
          </p:cNvCxnSpPr>
          <p:nvPr/>
        </p:nvCxnSpPr>
        <p:spPr>
          <a:xfrm>
            <a:off x="10268124" y="2840261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1" name="Straight Connector 670">
            <a:extLst>
              <a:ext uri="{FF2B5EF4-FFF2-40B4-BE49-F238E27FC236}">
                <a16:creationId xmlns:a16="http://schemas.microsoft.com/office/drawing/2014/main" id="{9239EB30-9514-6268-FD97-6AAAE8B48C7E}"/>
              </a:ext>
            </a:extLst>
          </p:cNvPr>
          <p:cNvCxnSpPr>
            <a:cxnSpLocks/>
          </p:cNvCxnSpPr>
          <p:nvPr/>
        </p:nvCxnSpPr>
        <p:spPr>
          <a:xfrm>
            <a:off x="10251539" y="2840560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2" name="Straight Connector 671">
            <a:extLst>
              <a:ext uri="{FF2B5EF4-FFF2-40B4-BE49-F238E27FC236}">
                <a16:creationId xmlns:a16="http://schemas.microsoft.com/office/drawing/2014/main" id="{C9216DE6-7F63-9D37-716B-29D94E65457E}"/>
              </a:ext>
            </a:extLst>
          </p:cNvPr>
          <p:cNvCxnSpPr>
            <a:cxnSpLocks/>
          </p:cNvCxnSpPr>
          <p:nvPr/>
        </p:nvCxnSpPr>
        <p:spPr>
          <a:xfrm>
            <a:off x="10176422" y="2838377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3" name="Straight Connector 672">
            <a:extLst>
              <a:ext uri="{FF2B5EF4-FFF2-40B4-BE49-F238E27FC236}">
                <a16:creationId xmlns:a16="http://schemas.microsoft.com/office/drawing/2014/main" id="{C9276B06-E5AA-BEDC-1903-87635402580C}"/>
              </a:ext>
            </a:extLst>
          </p:cNvPr>
          <p:cNvCxnSpPr>
            <a:cxnSpLocks/>
          </p:cNvCxnSpPr>
          <p:nvPr/>
        </p:nvCxnSpPr>
        <p:spPr>
          <a:xfrm>
            <a:off x="10248607" y="2841193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4" name="Straight Connector 673">
            <a:extLst>
              <a:ext uri="{FF2B5EF4-FFF2-40B4-BE49-F238E27FC236}">
                <a16:creationId xmlns:a16="http://schemas.microsoft.com/office/drawing/2014/main" id="{1F4F356A-6D02-6D4A-5DE9-56556A965776}"/>
              </a:ext>
            </a:extLst>
          </p:cNvPr>
          <p:cNvCxnSpPr>
            <a:cxnSpLocks/>
          </p:cNvCxnSpPr>
          <p:nvPr/>
        </p:nvCxnSpPr>
        <p:spPr>
          <a:xfrm>
            <a:off x="10245676" y="2841193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5" name="Straight Connector 674">
            <a:extLst>
              <a:ext uri="{FF2B5EF4-FFF2-40B4-BE49-F238E27FC236}">
                <a16:creationId xmlns:a16="http://schemas.microsoft.com/office/drawing/2014/main" id="{9A3DA1BF-5585-EE7A-2C12-0A329F466192}"/>
              </a:ext>
            </a:extLst>
          </p:cNvPr>
          <p:cNvCxnSpPr>
            <a:cxnSpLocks/>
          </p:cNvCxnSpPr>
          <p:nvPr/>
        </p:nvCxnSpPr>
        <p:spPr>
          <a:xfrm>
            <a:off x="10241177" y="2841193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6" name="Straight Connector 675">
            <a:extLst>
              <a:ext uri="{FF2B5EF4-FFF2-40B4-BE49-F238E27FC236}">
                <a16:creationId xmlns:a16="http://schemas.microsoft.com/office/drawing/2014/main" id="{7D23767B-37D5-F5EB-2DC8-3D16E075FBE9}"/>
              </a:ext>
            </a:extLst>
          </p:cNvPr>
          <p:cNvCxnSpPr>
            <a:cxnSpLocks/>
          </p:cNvCxnSpPr>
          <p:nvPr/>
        </p:nvCxnSpPr>
        <p:spPr>
          <a:xfrm>
            <a:off x="10236861" y="2841166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7" name="Straight Connector 676">
            <a:extLst>
              <a:ext uri="{FF2B5EF4-FFF2-40B4-BE49-F238E27FC236}">
                <a16:creationId xmlns:a16="http://schemas.microsoft.com/office/drawing/2014/main" id="{A60650FD-A6C2-8844-DC30-EAEAFD77E7C3}"/>
              </a:ext>
            </a:extLst>
          </p:cNvPr>
          <p:cNvCxnSpPr>
            <a:cxnSpLocks/>
          </p:cNvCxnSpPr>
          <p:nvPr/>
        </p:nvCxnSpPr>
        <p:spPr>
          <a:xfrm>
            <a:off x="10232832" y="2841193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8" name="Straight Connector 677">
            <a:extLst>
              <a:ext uri="{FF2B5EF4-FFF2-40B4-BE49-F238E27FC236}">
                <a16:creationId xmlns:a16="http://schemas.microsoft.com/office/drawing/2014/main" id="{E431BDC1-DA75-7A3A-7282-8AC40B73EE36}"/>
              </a:ext>
            </a:extLst>
          </p:cNvPr>
          <p:cNvCxnSpPr>
            <a:cxnSpLocks/>
          </p:cNvCxnSpPr>
          <p:nvPr/>
        </p:nvCxnSpPr>
        <p:spPr>
          <a:xfrm>
            <a:off x="10229378" y="2841193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9" name="Straight Connector 678">
            <a:extLst>
              <a:ext uri="{FF2B5EF4-FFF2-40B4-BE49-F238E27FC236}">
                <a16:creationId xmlns:a16="http://schemas.microsoft.com/office/drawing/2014/main" id="{74139D48-3B05-4E12-E09A-691BB32B9534}"/>
              </a:ext>
            </a:extLst>
          </p:cNvPr>
          <p:cNvCxnSpPr>
            <a:cxnSpLocks/>
          </p:cNvCxnSpPr>
          <p:nvPr/>
        </p:nvCxnSpPr>
        <p:spPr>
          <a:xfrm>
            <a:off x="10225871" y="2841193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0" name="Straight Connector 679">
            <a:extLst>
              <a:ext uri="{FF2B5EF4-FFF2-40B4-BE49-F238E27FC236}">
                <a16:creationId xmlns:a16="http://schemas.microsoft.com/office/drawing/2014/main" id="{E8C8EFFD-7376-2F08-64BD-EEA4EA07ED84}"/>
              </a:ext>
            </a:extLst>
          </p:cNvPr>
          <p:cNvCxnSpPr>
            <a:cxnSpLocks/>
          </p:cNvCxnSpPr>
          <p:nvPr/>
        </p:nvCxnSpPr>
        <p:spPr>
          <a:xfrm>
            <a:off x="10221608" y="2841631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1" name="Straight Connector 680">
            <a:extLst>
              <a:ext uri="{FF2B5EF4-FFF2-40B4-BE49-F238E27FC236}">
                <a16:creationId xmlns:a16="http://schemas.microsoft.com/office/drawing/2014/main" id="{D2D4E986-5E64-AB25-DFC0-0E590E6589CA}"/>
              </a:ext>
            </a:extLst>
          </p:cNvPr>
          <p:cNvCxnSpPr>
            <a:cxnSpLocks/>
          </p:cNvCxnSpPr>
          <p:nvPr/>
        </p:nvCxnSpPr>
        <p:spPr>
          <a:xfrm>
            <a:off x="10217291" y="2841193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2" name="Straight Connector 681">
            <a:extLst>
              <a:ext uri="{FF2B5EF4-FFF2-40B4-BE49-F238E27FC236}">
                <a16:creationId xmlns:a16="http://schemas.microsoft.com/office/drawing/2014/main" id="{1239116E-64BA-09B2-D6EE-B4A5F46C0682}"/>
              </a:ext>
            </a:extLst>
          </p:cNvPr>
          <p:cNvCxnSpPr>
            <a:cxnSpLocks/>
          </p:cNvCxnSpPr>
          <p:nvPr/>
        </p:nvCxnSpPr>
        <p:spPr>
          <a:xfrm>
            <a:off x="10216427" y="2841193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3" name="Straight Connector 682">
            <a:extLst>
              <a:ext uri="{FF2B5EF4-FFF2-40B4-BE49-F238E27FC236}">
                <a16:creationId xmlns:a16="http://schemas.microsoft.com/office/drawing/2014/main" id="{7C616120-3B55-283A-218E-E3E98FC4B365}"/>
              </a:ext>
            </a:extLst>
          </p:cNvPr>
          <p:cNvCxnSpPr>
            <a:cxnSpLocks/>
          </p:cNvCxnSpPr>
          <p:nvPr/>
        </p:nvCxnSpPr>
        <p:spPr>
          <a:xfrm>
            <a:off x="10214647" y="2841193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4" name="Straight Connector 683">
            <a:extLst>
              <a:ext uri="{FF2B5EF4-FFF2-40B4-BE49-F238E27FC236}">
                <a16:creationId xmlns:a16="http://schemas.microsoft.com/office/drawing/2014/main" id="{F9CE1003-432A-A447-7963-35FEC44CB987}"/>
              </a:ext>
            </a:extLst>
          </p:cNvPr>
          <p:cNvCxnSpPr>
            <a:cxnSpLocks/>
          </p:cNvCxnSpPr>
          <p:nvPr/>
        </p:nvCxnSpPr>
        <p:spPr>
          <a:xfrm>
            <a:off x="10210277" y="2841193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5" name="Straight Connector 684">
            <a:extLst>
              <a:ext uri="{FF2B5EF4-FFF2-40B4-BE49-F238E27FC236}">
                <a16:creationId xmlns:a16="http://schemas.microsoft.com/office/drawing/2014/main" id="{E339E036-E75F-08ED-508A-914CC0AD12D6}"/>
              </a:ext>
            </a:extLst>
          </p:cNvPr>
          <p:cNvCxnSpPr>
            <a:cxnSpLocks/>
          </p:cNvCxnSpPr>
          <p:nvPr/>
        </p:nvCxnSpPr>
        <p:spPr>
          <a:xfrm>
            <a:off x="10205907" y="2841865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6" name="Straight Connector 685">
            <a:extLst>
              <a:ext uri="{FF2B5EF4-FFF2-40B4-BE49-F238E27FC236}">
                <a16:creationId xmlns:a16="http://schemas.microsoft.com/office/drawing/2014/main" id="{FD7FD444-0F84-A92A-59C2-0B8D5A886874}"/>
              </a:ext>
            </a:extLst>
          </p:cNvPr>
          <p:cNvCxnSpPr>
            <a:cxnSpLocks/>
          </p:cNvCxnSpPr>
          <p:nvPr/>
        </p:nvCxnSpPr>
        <p:spPr>
          <a:xfrm>
            <a:off x="10201749" y="2841193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7" name="Straight Connector 686">
            <a:extLst>
              <a:ext uri="{FF2B5EF4-FFF2-40B4-BE49-F238E27FC236}">
                <a16:creationId xmlns:a16="http://schemas.microsoft.com/office/drawing/2014/main" id="{CC14AE8A-2922-99F5-2F1E-EF9662B3232D}"/>
              </a:ext>
            </a:extLst>
          </p:cNvPr>
          <p:cNvCxnSpPr>
            <a:cxnSpLocks/>
          </p:cNvCxnSpPr>
          <p:nvPr/>
        </p:nvCxnSpPr>
        <p:spPr>
          <a:xfrm>
            <a:off x="10197432" y="2841865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8" name="Straight Connector 687">
            <a:extLst>
              <a:ext uri="{FF2B5EF4-FFF2-40B4-BE49-F238E27FC236}">
                <a16:creationId xmlns:a16="http://schemas.microsoft.com/office/drawing/2014/main" id="{F133222B-54A5-4FE0-547C-DBAB09B787CD}"/>
              </a:ext>
            </a:extLst>
          </p:cNvPr>
          <p:cNvCxnSpPr>
            <a:cxnSpLocks/>
          </p:cNvCxnSpPr>
          <p:nvPr/>
        </p:nvCxnSpPr>
        <p:spPr>
          <a:xfrm>
            <a:off x="10179823" y="2839798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9" name="Straight Connector 688">
            <a:extLst>
              <a:ext uri="{FF2B5EF4-FFF2-40B4-BE49-F238E27FC236}">
                <a16:creationId xmlns:a16="http://schemas.microsoft.com/office/drawing/2014/main" id="{773804A7-648A-4F9F-20D2-851C71A095D7}"/>
              </a:ext>
            </a:extLst>
          </p:cNvPr>
          <p:cNvCxnSpPr>
            <a:cxnSpLocks/>
          </p:cNvCxnSpPr>
          <p:nvPr/>
        </p:nvCxnSpPr>
        <p:spPr>
          <a:xfrm>
            <a:off x="10193925" y="2841865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0" name="Straight Connector 689">
            <a:extLst>
              <a:ext uri="{FF2B5EF4-FFF2-40B4-BE49-F238E27FC236}">
                <a16:creationId xmlns:a16="http://schemas.microsoft.com/office/drawing/2014/main" id="{420FBDAD-3F50-820D-4067-9451D2331E78}"/>
              </a:ext>
            </a:extLst>
          </p:cNvPr>
          <p:cNvCxnSpPr>
            <a:cxnSpLocks/>
          </p:cNvCxnSpPr>
          <p:nvPr/>
        </p:nvCxnSpPr>
        <p:spPr>
          <a:xfrm>
            <a:off x="10190024" y="2840707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1" name="Straight Connector 690">
            <a:extLst>
              <a:ext uri="{FF2B5EF4-FFF2-40B4-BE49-F238E27FC236}">
                <a16:creationId xmlns:a16="http://schemas.microsoft.com/office/drawing/2014/main" id="{6C31A56A-F6E8-8336-0571-603C693332F7}"/>
              </a:ext>
            </a:extLst>
          </p:cNvPr>
          <p:cNvCxnSpPr>
            <a:cxnSpLocks/>
          </p:cNvCxnSpPr>
          <p:nvPr/>
        </p:nvCxnSpPr>
        <p:spPr>
          <a:xfrm>
            <a:off x="10185601" y="2841171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2" name="Straight Connector 691">
            <a:extLst>
              <a:ext uri="{FF2B5EF4-FFF2-40B4-BE49-F238E27FC236}">
                <a16:creationId xmlns:a16="http://schemas.microsoft.com/office/drawing/2014/main" id="{FC291F27-CA6A-F8BC-679D-26F7612D3D53}"/>
              </a:ext>
            </a:extLst>
          </p:cNvPr>
          <p:cNvCxnSpPr>
            <a:cxnSpLocks/>
          </p:cNvCxnSpPr>
          <p:nvPr/>
        </p:nvCxnSpPr>
        <p:spPr>
          <a:xfrm>
            <a:off x="10181018" y="2841193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3" name="Straight Connector 692">
            <a:extLst>
              <a:ext uri="{FF2B5EF4-FFF2-40B4-BE49-F238E27FC236}">
                <a16:creationId xmlns:a16="http://schemas.microsoft.com/office/drawing/2014/main" id="{7D4591F5-9210-A1EE-8528-67C56D719C25}"/>
              </a:ext>
            </a:extLst>
          </p:cNvPr>
          <p:cNvCxnSpPr>
            <a:cxnSpLocks/>
          </p:cNvCxnSpPr>
          <p:nvPr/>
        </p:nvCxnSpPr>
        <p:spPr>
          <a:xfrm>
            <a:off x="10172181" y="2828010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4" name="Straight Connector 693">
            <a:extLst>
              <a:ext uri="{FF2B5EF4-FFF2-40B4-BE49-F238E27FC236}">
                <a16:creationId xmlns:a16="http://schemas.microsoft.com/office/drawing/2014/main" id="{8D159F0D-6CC3-45CD-9E22-8B54D260DEFE}"/>
              </a:ext>
            </a:extLst>
          </p:cNvPr>
          <p:cNvCxnSpPr>
            <a:cxnSpLocks/>
          </p:cNvCxnSpPr>
          <p:nvPr/>
        </p:nvCxnSpPr>
        <p:spPr>
          <a:xfrm>
            <a:off x="10167598" y="2828010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5" name="Straight Connector 694">
            <a:extLst>
              <a:ext uri="{FF2B5EF4-FFF2-40B4-BE49-F238E27FC236}">
                <a16:creationId xmlns:a16="http://schemas.microsoft.com/office/drawing/2014/main" id="{BD85BC74-37AB-1597-805D-7F306A404F07}"/>
              </a:ext>
            </a:extLst>
          </p:cNvPr>
          <p:cNvCxnSpPr>
            <a:cxnSpLocks/>
          </p:cNvCxnSpPr>
          <p:nvPr/>
        </p:nvCxnSpPr>
        <p:spPr>
          <a:xfrm>
            <a:off x="9997772" y="2791759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6" name="Straight Connector 695">
            <a:extLst>
              <a:ext uri="{FF2B5EF4-FFF2-40B4-BE49-F238E27FC236}">
                <a16:creationId xmlns:a16="http://schemas.microsoft.com/office/drawing/2014/main" id="{40CCD440-B3D2-E481-1546-386C52AC06D1}"/>
              </a:ext>
            </a:extLst>
          </p:cNvPr>
          <p:cNvCxnSpPr>
            <a:cxnSpLocks/>
          </p:cNvCxnSpPr>
          <p:nvPr/>
        </p:nvCxnSpPr>
        <p:spPr>
          <a:xfrm>
            <a:off x="10001226" y="2791759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7" name="Straight Connector 696">
            <a:extLst>
              <a:ext uri="{FF2B5EF4-FFF2-40B4-BE49-F238E27FC236}">
                <a16:creationId xmlns:a16="http://schemas.microsoft.com/office/drawing/2014/main" id="{EED3B679-6435-F191-2D15-62286CFDA051}"/>
              </a:ext>
            </a:extLst>
          </p:cNvPr>
          <p:cNvCxnSpPr>
            <a:cxnSpLocks/>
          </p:cNvCxnSpPr>
          <p:nvPr/>
        </p:nvCxnSpPr>
        <p:spPr>
          <a:xfrm>
            <a:off x="10005543" y="2793033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8" name="Straight Connector 697">
            <a:extLst>
              <a:ext uri="{FF2B5EF4-FFF2-40B4-BE49-F238E27FC236}">
                <a16:creationId xmlns:a16="http://schemas.microsoft.com/office/drawing/2014/main" id="{2D8A19D3-1D34-55F2-64A6-8F5E5B8BEB14}"/>
              </a:ext>
            </a:extLst>
          </p:cNvPr>
          <p:cNvCxnSpPr>
            <a:cxnSpLocks/>
          </p:cNvCxnSpPr>
          <p:nvPr/>
        </p:nvCxnSpPr>
        <p:spPr>
          <a:xfrm>
            <a:off x="10009860" y="2792709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9" name="Straight Connector 698">
            <a:extLst>
              <a:ext uri="{FF2B5EF4-FFF2-40B4-BE49-F238E27FC236}">
                <a16:creationId xmlns:a16="http://schemas.microsoft.com/office/drawing/2014/main" id="{71CAD9E9-CF71-7CFF-4D8E-4C6353E3C49A}"/>
              </a:ext>
            </a:extLst>
          </p:cNvPr>
          <p:cNvCxnSpPr>
            <a:cxnSpLocks/>
          </p:cNvCxnSpPr>
          <p:nvPr/>
        </p:nvCxnSpPr>
        <p:spPr>
          <a:xfrm>
            <a:off x="10014177" y="2792709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0" name="Straight Connector 699">
            <a:extLst>
              <a:ext uri="{FF2B5EF4-FFF2-40B4-BE49-F238E27FC236}">
                <a16:creationId xmlns:a16="http://schemas.microsoft.com/office/drawing/2014/main" id="{CD186EF3-623D-8A82-CE12-21ADB14E874E}"/>
              </a:ext>
            </a:extLst>
          </p:cNvPr>
          <p:cNvCxnSpPr>
            <a:cxnSpLocks/>
          </p:cNvCxnSpPr>
          <p:nvPr/>
        </p:nvCxnSpPr>
        <p:spPr>
          <a:xfrm>
            <a:off x="10018493" y="2792001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1" name="Straight Connector 700">
            <a:extLst>
              <a:ext uri="{FF2B5EF4-FFF2-40B4-BE49-F238E27FC236}">
                <a16:creationId xmlns:a16="http://schemas.microsoft.com/office/drawing/2014/main" id="{1EEF2FEB-915C-F17C-A542-F6BBB33DAAA2}"/>
              </a:ext>
            </a:extLst>
          </p:cNvPr>
          <p:cNvCxnSpPr>
            <a:cxnSpLocks/>
          </p:cNvCxnSpPr>
          <p:nvPr/>
        </p:nvCxnSpPr>
        <p:spPr>
          <a:xfrm>
            <a:off x="10022811" y="2791759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2" name="Straight Connector 701">
            <a:extLst>
              <a:ext uri="{FF2B5EF4-FFF2-40B4-BE49-F238E27FC236}">
                <a16:creationId xmlns:a16="http://schemas.microsoft.com/office/drawing/2014/main" id="{7281BD7A-5F41-6450-08D4-D2F3CC7CC06F}"/>
              </a:ext>
            </a:extLst>
          </p:cNvPr>
          <p:cNvCxnSpPr>
            <a:cxnSpLocks/>
          </p:cNvCxnSpPr>
          <p:nvPr/>
        </p:nvCxnSpPr>
        <p:spPr>
          <a:xfrm>
            <a:off x="10027128" y="2793033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3" name="Straight Connector 702">
            <a:extLst>
              <a:ext uri="{FF2B5EF4-FFF2-40B4-BE49-F238E27FC236}">
                <a16:creationId xmlns:a16="http://schemas.microsoft.com/office/drawing/2014/main" id="{8C9A8384-384D-C4AC-BA0F-F3B1C2EC79D7}"/>
              </a:ext>
            </a:extLst>
          </p:cNvPr>
          <p:cNvCxnSpPr>
            <a:cxnSpLocks/>
          </p:cNvCxnSpPr>
          <p:nvPr/>
        </p:nvCxnSpPr>
        <p:spPr>
          <a:xfrm>
            <a:off x="10031445" y="2792001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4" name="Straight Connector 703">
            <a:extLst>
              <a:ext uri="{FF2B5EF4-FFF2-40B4-BE49-F238E27FC236}">
                <a16:creationId xmlns:a16="http://schemas.microsoft.com/office/drawing/2014/main" id="{5EFF3A34-A278-75A1-6E50-C5544B2BA990}"/>
              </a:ext>
            </a:extLst>
          </p:cNvPr>
          <p:cNvCxnSpPr>
            <a:cxnSpLocks/>
          </p:cNvCxnSpPr>
          <p:nvPr/>
        </p:nvCxnSpPr>
        <p:spPr>
          <a:xfrm>
            <a:off x="10035496" y="2791759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5" name="Straight Connector 704">
            <a:extLst>
              <a:ext uri="{FF2B5EF4-FFF2-40B4-BE49-F238E27FC236}">
                <a16:creationId xmlns:a16="http://schemas.microsoft.com/office/drawing/2014/main" id="{5E7DE961-859C-9A91-1F20-75FDE7F3DFD7}"/>
              </a:ext>
            </a:extLst>
          </p:cNvPr>
          <p:cNvCxnSpPr>
            <a:cxnSpLocks/>
          </p:cNvCxnSpPr>
          <p:nvPr/>
        </p:nvCxnSpPr>
        <p:spPr>
          <a:xfrm>
            <a:off x="10039216" y="2791881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6" name="Straight Connector 705">
            <a:extLst>
              <a:ext uri="{FF2B5EF4-FFF2-40B4-BE49-F238E27FC236}">
                <a16:creationId xmlns:a16="http://schemas.microsoft.com/office/drawing/2014/main" id="{388C535E-8A2E-AED0-321B-151C2C6F256A}"/>
              </a:ext>
            </a:extLst>
          </p:cNvPr>
          <p:cNvCxnSpPr>
            <a:cxnSpLocks/>
          </p:cNvCxnSpPr>
          <p:nvPr/>
        </p:nvCxnSpPr>
        <p:spPr>
          <a:xfrm>
            <a:off x="10043532" y="2791879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7" name="Straight Connector 706">
            <a:extLst>
              <a:ext uri="{FF2B5EF4-FFF2-40B4-BE49-F238E27FC236}">
                <a16:creationId xmlns:a16="http://schemas.microsoft.com/office/drawing/2014/main" id="{F5C220F2-57DD-172A-6D35-928461F63402}"/>
              </a:ext>
            </a:extLst>
          </p:cNvPr>
          <p:cNvCxnSpPr>
            <a:cxnSpLocks/>
          </p:cNvCxnSpPr>
          <p:nvPr/>
        </p:nvCxnSpPr>
        <p:spPr>
          <a:xfrm>
            <a:off x="10047850" y="2792579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8" name="Straight Connector 707">
            <a:extLst>
              <a:ext uri="{FF2B5EF4-FFF2-40B4-BE49-F238E27FC236}">
                <a16:creationId xmlns:a16="http://schemas.microsoft.com/office/drawing/2014/main" id="{2DD9D777-0F72-720F-C33A-C550E2814795}"/>
              </a:ext>
            </a:extLst>
          </p:cNvPr>
          <p:cNvCxnSpPr>
            <a:cxnSpLocks/>
          </p:cNvCxnSpPr>
          <p:nvPr/>
        </p:nvCxnSpPr>
        <p:spPr>
          <a:xfrm>
            <a:off x="10052167" y="2792709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9" name="Straight Connector 708">
            <a:extLst>
              <a:ext uri="{FF2B5EF4-FFF2-40B4-BE49-F238E27FC236}">
                <a16:creationId xmlns:a16="http://schemas.microsoft.com/office/drawing/2014/main" id="{9B71D62C-005C-7B9D-A037-29E26E4D723E}"/>
              </a:ext>
            </a:extLst>
          </p:cNvPr>
          <p:cNvCxnSpPr>
            <a:cxnSpLocks/>
          </p:cNvCxnSpPr>
          <p:nvPr/>
        </p:nvCxnSpPr>
        <p:spPr>
          <a:xfrm>
            <a:off x="10056484" y="2793033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0" name="Straight Connector 709">
            <a:extLst>
              <a:ext uri="{FF2B5EF4-FFF2-40B4-BE49-F238E27FC236}">
                <a16:creationId xmlns:a16="http://schemas.microsoft.com/office/drawing/2014/main" id="{F38A9D57-4DC0-6E4F-2001-1C941CD8BC58}"/>
              </a:ext>
            </a:extLst>
          </p:cNvPr>
          <p:cNvCxnSpPr>
            <a:cxnSpLocks/>
          </p:cNvCxnSpPr>
          <p:nvPr/>
        </p:nvCxnSpPr>
        <p:spPr>
          <a:xfrm>
            <a:off x="10060800" y="2791683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1" name="Straight Connector 710">
            <a:extLst>
              <a:ext uri="{FF2B5EF4-FFF2-40B4-BE49-F238E27FC236}">
                <a16:creationId xmlns:a16="http://schemas.microsoft.com/office/drawing/2014/main" id="{B49B5E9C-E8C3-93A7-C038-31FDDA4361B4}"/>
              </a:ext>
            </a:extLst>
          </p:cNvPr>
          <p:cNvCxnSpPr>
            <a:cxnSpLocks/>
          </p:cNvCxnSpPr>
          <p:nvPr/>
        </p:nvCxnSpPr>
        <p:spPr>
          <a:xfrm>
            <a:off x="10065118" y="2793033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2" name="Straight Connector 711">
            <a:extLst>
              <a:ext uri="{FF2B5EF4-FFF2-40B4-BE49-F238E27FC236}">
                <a16:creationId xmlns:a16="http://schemas.microsoft.com/office/drawing/2014/main" id="{B66987ED-5B7C-4C82-C524-8A3EB4CCD818}"/>
              </a:ext>
            </a:extLst>
          </p:cNvPr>
          <p:cNvCxnSpPr>
            <a:cxnSpLocks/>
          </p:cNvCxnSpPr>
          <p:nvPr/>
        </p:nvCxnSpPr>
        <p:spPr>
          <a:xfrm>
            <a:off x="10069435" y="2792245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3" name="Straight Connector 712">
            <a:extLst>
              <a:ext uri="{FF2B5EF4-FFF2-40B4-BE49-F238E27FC236}">
                <a16:creationId xmlns:a16="http://schemas.microsoft.com/office/drawing/2014/main" id="{9954E43D-D659-045A-2FFB-BA5466EA4E7C}"/>
              </a:ext>
            </a:extLst>
          </p:cNvPr>
          <p:cNvCxnSpPr>
            <a:cxnSpLocks/>
          </p:cNvCxnSpPr>
          <p:nvPr/>
        </p:nvCxnSpPr>
        <p:spPr>
          <a:xfrm>
            <a:off x="10073752" y="2792709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4" name="Straight Connector 713">
            <a:extLst>
              <a:ext uri="{FF2B5EF4-FFF2-40B4-BE49-F238E27FC236}">
                <a16:creationId xmlns:a16="http://schemas.microsoft.com/office/drawing/2014/main" id="{36357BA5-AD48-71BC-3D9B-75E6A7F2794E}"/>
              </a:ext>
            </a:extLst>
          </p:cNvPr>
          <p:cNvCxnSpPr>
            <a:cxnSpLocks/>
          </p:cNvCxnSpPr>
          <p:nvPr/>
        </p:nvCxnSpPr>
        <p:spPr>
          <a:xfrm>
            <a:off x="10078069" y="2792364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5" name="Straight Connector 714">
            <a:extLst>
              <a:ext uri="{FF2B5EF4-FFF2-40B4-BE49-F238E27FC236}">
                <a16:creationId xmlns:a16="http://schemas.microsoft.com/office/drawing/2014/main" id="{29A111FB-0D4C-5806-8CF8-5A0431C8705D}"/>
              </a:ext>
            </a:extLst>
          </p:cNvPr>
          <p:cNvCxnSpPr>
            <a:cxnSpLocks/>
          </p:cNvCxnSpPr>
          <p:nvPr/>
        </p:nvCxnSpPr>
        <p:spPr>
          <a:xfrm>
            <a:off x="10082386" y="2793033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6" name="Straight Connector 715">
            <a:extLst>
              <a:ext uri="{FF2B5EF4-FFF2-40B4-BE49-F238E27FC236}">
                <a16:creationId xmlns:a16="http://schemas.microsoft.com/office/drawing/2014/main" id="{EFF8760A-303F-2AAA-4180-A4334A1EE463}"/>
              </a:ext>
            </a:extLst>
          </p:cNvPr>
          <p:cNvCxnSpPr>
            <a:cxnSpLocks/>
          </p:cNvCxnSpPr>
          <p:nvPr/>
        </p:nvCxnSpPr>
        <p:spPr>
          <a:xfrm>
            <a:off x="10086703" y="2791804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7" name="Straight Connector 716">
            <a:extLst>
              <a:ext uri="{FF2B5EF4-FFF2-40B4-BE49-F238E27FC236}">
                <a16:creationId xmlns:a16="http://schemas.microsoft.com/office/drawing/2014/main" id="{390E421C-73C4-EA55-78B7-BB2E67E9EA8B}"/>
              </a:ext>
            </a:extLst>
          </p:cNvPr>
          <p:cNvCxnSpPr>
            <a:cxnSpLocks/>
          </p:cNvCxnSpPr>
          <p:nvPr/>
        </p:nvCxnSpPr>
        <p:spPr>
          <a:xfrm>
            <a:off x="10091020" y="2791804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8" name="Straight Connector 717">
            <a:extLst>
              <a:ext uri="{FF2B5EF4-FFF2-40B4-BE49-F238E27FC236}">
                <a16:creationId xmlns:a16="http://schemas.microsoft.com/office/drawing/2014/main" id="{E41217A0-2CC3-5E51-9BB6-136FDB1435CE}"/>
              </a:ext>
            </a:extLst>
          </p:cNvPr>
          <p:cNvCxnSpPr>
            <a:cxnSpLocks/>
          </p:cNvCxnSpPr>
          <p:nvPr/>
        </p:nvCxnSpPr>
        <p:spPr>
          <a:xfrm>
            <a:off x="10095337" y="2793033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9" name="Straight Connector 718">
            <a:extLst>
              <a:ext uri="{FF2B5EF4-FFF2-40B4-BE49-F238E27FC236}">
                <a16:creationId xmlns:a16="http://schemas.microsoft.com/office/drawing/2014/main" id="{DBF8AF7B-B37E-5A88-B1A6-908FB8802B2A}"/>
              </a:ext>
            </a:extLst>
          </p:cNvPr>
          <p:cNvCxnSpPr>
            <a:cxnSpLocks/>
          </p:cNvCxnSpPr>
          <p:nvPr/>
        </p:nvCxnSpPr>
        <p:spPr>
          <a:xfrm>
            <a:off x="10099654" y="2791879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0" name="Straight Connector 719">
            <a:extLst>
              <a:ext uri="{FF2B5EF4-FFF2-40B4-BE49-F238E27FC236}">
                <a16:creationId xmlns:a16="http://schemas.microsoft.com/office/drawing/2014/main" id="{EB35CF47-5722-9457-374C-FF112F0C25B5}"/>
              </a:ext>
            </a:extLst>
          </p:cNvPr>
          <p:cNvCxnSpPr>
            <a:cxnSpLocks/>
          </p:cNvCxnSpPr>
          <p:nvPr/>
        </p:nvCxnSpPr>
        <p:spPr>
          <a:xfrm>
            <a:off x="10103971" y="2791924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1" name="Straight Connector 720">
            <a:extLst>
              <a:ext uri="{FF2B5EF4-FFF2-40B4-BE49-F238E27FC236}">
                <a16:creationId xmlns:a16="http://schemas.microsoft.com/office/drawing/2014/main" id="{930A7C8B-2CE5-864B-79D2-6BA7A70279EC}"/>
              </a:ext>
            </a:extLst>
          </p:cNvPr>
          <p:cNvCxnSpPr>
            <a:cxnSpLocks/>
          </p:cNvCxnSpPr>
          <p:nvPr/>
        </p:nvCxnSpPr>
        <p:spPr>
          <a:xfrm>
            <a:off x="10108885" y="2793033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2" name="Straight Connector 721">
            <a:extLst>
              <a:ext uri="{FF2B5EF4-FFF2-40B4-BE49-F238E27FC236}">
                <a16:creationId xmlns:a16="http://schemas.microsoft.com/office/drawing/2014/main" id="{24F43A48-D9F4-B520-037C-ECF78F32E6B8}"/>
              </a:ext>
            </a:extLst>
          </p:cNvPr>
          <p:cNvCxnSpPr>
            <a:cxnSpLocks/>
          </p:cNvCxnSpPr>
          <p:nvPr/>
        </p:nvCxnSpPr>
        <p:spPr>
          <a:xfrm>
            <a:off x="10112339" y="2792366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3" name="Straight Connector 722">
            <a:extLst>
              <a:ext uri="{FF2B5EF4-FFF2-40B4-BE49-F238E27FC236}">
                <a16:creationId xmlns:a16="http://schemas.microsoft.com/office/drawing/2014/main" id="{E5A093A0-7EA4-2EEE-9739-F9FCB0DA2D14}"/>
              </a:ext>
            </a:extLst>
          </p:cNvPr>
          <p:cNvCxnSpPr>
            <a:cxnSpLocks/>
          </p:cNvCxnSpPr>
          <p:nvPr/>
        </p:nvCxnSpPr>
        <p:spPr>
          <a:xfrm>
            <a:off x="10116390" y="2793033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4" name="Straight Connector 723">
            <a:extLst>
              <a:ext uri="{FF2B5EF4-FFF2-40B4-BE49-F238E27FC236}">
                <a16:creationId xmlns:a16="http://schemas.microsoft.com/office/drawing/2014/main" id="{A4301DBF-CA85-D6E1-F278-95AA7D07EDC6}"/>
              </a:ext>
            </a:extLst>
          </p:cNvPr>
          <p:cNvCxnSpPr>
            <a:cxnSpLocks/>
          </p:cNvCxnSpPr>
          <p:nvPr/>
        </p:nvCxnSpPr>
        <p:spPr>
          <a:xfrm>
            <a:off x="10120376" y="2791683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5" name="Straight Connector 724">
            <a:extLst>
              <a:ext uri="{FF2B5EF4-FFF2-40B4-BE49-F238E27FC236}">
                <a16:creationId xmlns:a16="http://schemas.microsoft.com/office/drawing/2014/main" id="{7F094CBB-AAFE-FA24-72D4-46F4FF4142E7}"/>
              </a:ext>
            </a:extLst>
          </p:cNvPr>
          <p:cNvCxnSpPr>
            <a:cxnSpLocks/>
          </p:cNvCxnSpPr>
          <p:nvPr/>
        </p:nvCxnSpPr>
        <p:spPr>
          <a:xfrm>
            <a:off x="10124693" y="2793033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6" name="Straight Connector 725">
            <a:extLst>
              <a:ext uri="{FF2B5EF4-FFF2-40B4-BE49-F238E27FC236}">
                <a16:creationId xmlns:a16="http://schemas.microsoft.com/office/drawing/2014/main" id="{9F7AD7D5-85F0-9C42-214B-BC3E9455D27C}"/>
              </a:ext>
            </a:extLst>
          </p:cNvPr>
          <p:cNvCxnSpPr>
            <a:cxnSpLocks/>
          </p:cNvCxnSpPr>
          <p:nvPr/>
        </p:nvCxnSpPr>
        <p:spPr>
          <a:xfrm>
            <a:off x="10129031" y="2792098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7" name="Straight Connector 726">
            <a:extLst>
              <a:ext uri="{FF2B5EF4-FFF2-40B4-BE49-F238E27FC236}">
                <a16:creationId xmlns:a16="http://schemas.microsoft.com/office/drawing/2014/main" id="{2FF02C0F-66B5-4521-B5FA-A0E31DD52840}"/>
              </a:ext>
            </a:extLst>
          </p:cNvPr>
          <p:cNvCxnSpPr>
            <a:cxnSpLocks/>
          </p:cNvCxnSpPr>
          <p:nvPr/>
        </p:nvCxnSpPr>
        <p:spPr>
          <a:xfrm>
            <a:off x="10133636" y="2793033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8" name="Straight Connector 727">
            <a:extLst>
              <a:ext uri="{FF2B5EF4-FFF2-40B4-BE49-F238E27FC236}">
                <a16:creationId xmlns:a16="http://schemas.microsoft.com/office/drawing/2014/main" id="{3F154946-7EF5-7336-7681-44C872B97970}"/>
              </a:ext>
            </a:extLst>
          </p:cNvPr>
          <p:cNvCxnSpPr>
            <a:cxnSpLocks/>
          </p:cNvCxnSpPr>
          <p:nvPr/>
        </p:nvCxnSpPr>
        <p:spPr>
          <a:xfrm>
            <a:off x="10138240" y="2791683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9" name="Straight Connector 728">
            <a:extLst>
              <a:ext uri="{FF2B5EF4-FFF2-40B4-BE49-F238E27FC236}">
                <a16:creationId xmlns:a16="http://schemas.microsoft.com/office/drawing/2014/main" id="{E54652D6-B1D6-BDE5-E270-314B72BAB253}"/>
              </a:ext>
            </a:extLst>
          </p:cNvPr>
          <p:cNvCxnSpPr>
            <a:cxnSpLocks/>
          </p:cNvCxnSpPr>
          <p:nvPr/>
        </p:nvCxnSpPr>
        <p:spPr>
          <a:xfrm>
            <a:off x="10142557" y="2791683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0" name="Straight Connector 729">
            <a:extLst>
              <a:ext uri="{FF2B5EF4-FFF2-40B4-BE49-F238E27FC236}">
                <a16:creationId xmlns:a16="http://schemas.microsoft.com/office/drawing/2014/main" id="{BB7E37FA-6A5F-1403-0244-FFC7F143F320}"/>
              </a:ext>
            </a:extLst>
          </p:cNvPr>
          <p:cNvCxnSpPr>
            <a:cxnSpLocks/>
          </p:cNvCxnSpPr>
          <p:nvPr/>
        </p:nvCxnSpPr>
        <p:spPr>
          <a:xfrm>
            <a:off x="10146875" y="2792932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1" name="Straight Connector 730">
            <a:extLst>
              <a:ext uri="{FF2B5EF4-FFF2-40B4-BE49-F238E27FC236}">
                <a16:creationId xmlns:a16="http://schemas.microsoft.com/office/drawing/2014/main" id="{7E7012A5-7327-136D-9219-BF7A8C062914}"/>
              </a:ext>
            </a:extLst>
          </p:cNvPr>
          <p:cNvCxnSpPr>
            <a:cxnSpLocks/>
          </p:cNvCxnSpPr>
          <p:nvPr/>
        </p:nvCxnSpPr>
        <p:spPr>
          <a:xfrm>
            <a:off x="10151191" y="2791683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2" name="Straight Connector 731">
            <a:extLst>
              <a:ext uri="{FF2B5EF4-FFF2-40B4-BE49-F238E27FC236}">
                <a16:creationId xmlns:a16="http://schemas.microsoft.com/office/drawing/2014/main" id="{F1018506-5CBB-7A4F-BEEA-4BFC8E99887D}"/>
              </a:ext>
            </a:extLst>
          </p:cNvPr>
          <p:cNvCxnSpPr>
            <a:cxnSpLocks/>
          </p:cNvCxnSpPr>
          <p:nvPr/>
        </p:nvCxnSpPr>
        <p:spPr>
          <a:xfrm>
            <a:off x="10155509" y="2792932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3" name="Straight Connector 732">
            <a:extLst>
              <a:ext uri="{FF2B5EF4-FFF2-40B4-BE49-F238E27FC236}">
                <a16:creationId xmlns:a16="http://schemas.microsoft.com/office/drawing/2014/main" id="{96310DFD-85FD-45B5-8BBF-02FDF58BCD80}"/>
              </a:ext>
            </a:extLst>
          </p:cNvPr>
          <p:cNvCxnSpPr>
            <a:cxnSpLocks/>
          </p:cNvCxnSpPr>
          <p:nvPr/>
        </p:nvCxnSpPr>
        <p:spPr>
          <a:xfrm>
            <a:off x="10159825" y="2792887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4" name="Straight Connector 733">
            <a:extLst>
              <a:ext uri="{FF2B5EF4-FFF2-40B4-BE49-F238E27FC236}">
                <a16:creationId xmlns:a16="http://schemas.microsoft.com/office/drawing/2014/main" id="{44AFEA4F-A2BD-2089-D017-69932A662615}"/>
              </a:ext>
            </a:extLst>
          </p:cNvPr>
          <p:cNvCxnSpPr>
            <a:cxnSpLocks/>
          </p:cNvCxnSpPr>
          <p:nvPr/>
        </p:nvCxnSpPr>
        <p:spPr>
          <a:xfrm>
            <a:off x="10163611" y="2802794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5" name="Straight Connector 734">
            <a:extLst>
              <a:ext uri="{FF2B5EF4-FFF2-40B4-BE49-F238E27FC236}">
                <a16:creationId xmlns:a16="http://schemas.microsoft.com/office/drawing/2014/main" id="{AADB158D-484A-2A76-ADFE-CC9D80E4D56A}"/>
              </a:ext>
            </a:extLst>
          </p:cNvPr>
          <p:cNvCxnSpPr>
            <a:cxnSpLocks/>
          </p:cNvCxnSpPr>
          <p:nvPr/>
        </p:nvCxnSpPr>
        <p:spPr>
          <a:xfrm>
            <a:off x="10167598" y="2802794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6" name="Straight Connector 735">
            <a:extLst>
              <a:ext uri="{FF2B5EF4-FFF2-40B4-BE49-F238E27FC236}">
                <a16:creationId xmlns:a16="http://schemas.microsoft.com/office/drawing/2014/main" id="{B4477398-84FA-EF6F-A834-E2CCD640C455}"/>
              </a:ext>
            </a:extLst>
          </p:cNvPr>
          <p:cNvCxnSpPr>
            <a:cxnSpLocks/>
          </p:cNvCxnSpPr>
          <p:nvPr/>
        </p:nvCxnSpPr>
        <p:spPr>
          <a:xfrm>
            <a:off x="10171648" y="2802794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7" name="Straight Connector 736">
            <a:extLst>
              <a:ext uri="{FF2B5EF4-FFF2-40B4-BE49-F238E27FC236}">
                <a16:creationId xmlns:a16="http://schemas.microsoft.com/office/drawing/2014/main" id="{BF382ABC-E8DC-191B-15D4-F2746F53AC96}"/>
              </a:ext>
            </a:extLst>
          </p:cNvPr>
          <p:cNvCxnSpPr>
            <a:cxnSpLocks/>
          </p:cNvCxnSpPr>
          <p:nvPr/>
        </p:nvCxnSpPr>
        <p:spPr>
          <a:xfrm>
            <a:off x="9993743" y="2785544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8" name="Straight Connector 737">
            <a:extLst>
              <a:ext uri="{FF2B5EF4-FFF2-40B4-BE49-F238E27FC236}">
                <a16:creationId xmlns:a16="http://schemas.microsoft.com/office/drawing/2014/main" id="{03D51CD3-3384-94CA-B880-FFC488782C7D}"/>
              </a:ext>
            </a:extLst>
          </p:cNvPr>
          <p:cNvCxnSpPr>
            <a:cxnSpLocks/>
          </p:cNvCxnSpPr>
          <p:nvPr/>
        </p:nvCxnSpPr>
        <p:spPr>
          <a:xfrm>
            <a:off x="9989447" y="2785443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9" name="Straight Connector 738">
            <a:extLst>
              <a:ext uri="{FF2B5EF4-FFF2-40B4-BE49-F238E27FC236}">
                <a16:creationId xmlns:a16="http://schemas.microsoft.com/office/drawing/2014/main" id="{EF13AA23-2B0F-B0AD-33B8-D344CC47DBC2}"/>
              </a:ext>
            </a:extLst>
          </p:cNvPr>
          <p:cNvCxnSpPr>
            <a:cxnSpLocks/>
          </p:cNvCxnSpPr>
          <p:nvPr/>
        </p:nvCxnSpPr>
        <p:spPr>
          <a:xfrm>
            <a:off x="9985418" y="2785220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0" name="Straight Connector 739">
            <a:extLst>
              <a:ext uri="{FF2B5EF4-FFF2-40B4-BE49-F238E27FC236}">
                <a16:creationId xmlns:a16="http://schemas.microsoft.com/office/drawing/2014/main" id="{6612239D-7E72-B6D3-6179-AB8A9DBEB040}"/>
              </a:ext>
            </a:extLst>
          </p:cNvPr>
          <p:cNvCxnSpPr>
            <a:cxnSpLocks/>
          </p:cNvCxnSpPr>
          <p:nvPr/>
        </p:nvCxnSpPr>
        <p:spPr>
          <a:xfrm>
            <a:off x="9980526" y="2784998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1" name="Straight Connector 740">
            <a:extLst>
              <a:ext uri="{FF2B5EF4-FFF2-40B4-BE49-F238E27FC236}">
                <a16:creationId xmlns:a16="http://schemas.microsoft.com/office/drawing/2014/main" id="{297FF8DC-206D-E1F0-D662-5F4E5C16E49E}"/>
              </a:ext>
            </a:extLst>
          </p:cNvPr>
          <p:cNvCxnSpPr>
            <a:cxnSpLocks/>
          </p:cNvCxnSpPr>
          <p:nvPr/>
        </p:nvCxnSpPr>
        <p:spPr>
          <a:xfrm>
            <a:off x="9977072" y="2785118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2" name="Straight Connector 741">
            <a:extLst>
              <a:ext uri="{FF2B5EF4-FFF2-40B4-BE49-F238E27FC236}">
                <a16:creationId xmlns:a16="http://schemas.microsoft.com/office/drawing/2014/main" id="{EA0114C5-3982-660E-B802-C7D7164DCC85}"/>
              </a:ext>
            </a:extLst>
          </p:cNvPr>
          <p:cNvCxnSpPr>
            <a:cxnSpLocks/>
          </p:cNvCxnSpPr>
          <p:nvPr/>
        </p:nvCxnSpPr>
        <p:spPr>
          <a:xfrm>
            <a:off x="9972755" y="2785073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3" name="Straight Connector 742">
            <a:extLst>
              <a:ext uri="{FF2B5EF4-FFF2-40B4-BE49-F238E27FC236}">
                <a16:creationId xmlns:a16="http://schemas.microsoft.com/office/drawing/2014/main" id="{47D0E688-BBBB-7CE7-6B79-377223A801C6}"/>
              </a:ext>
            </a:extLst>
          </p:cNvPr>
          <p:cNvCxnSpPr>
            <a:cxnSpLocks/>
          </p:cNvCxnSpPr>
          <p:nvPr/>
        </p:nvCxnSpPr>
        <p:spPr>
          <a:xfrm>
            <a:off x="9968438" y="2785118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4" name="Straight Connector 743">
            <a:extLst>
              <a:ext uri="{FF2B5EF4-FFF2-40B4-BE49-F238E27FC236}">
                <a16:creationId xmlns:a16="http://schemas.microsoft.com/office/drawing/2014/main" id="{1CCB196E-46A5-EE2A-E23C-8DF16DE76751}"/>
              </a:ext>
            </a:extLst>
          </p:cNvPr>
          <p:cNvCxnSpPr>
            <a:cxnSpLocks/>
          </p:cNvCxnSpPr>
          <p:nvPr/>
        </p:nvCxnSpPr>
        <p:spPr>
          <a:xfrm>
            <a:off x="9964121" y="2784998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5" name="Straight Connector 744">
            <a:extLst>
              <a:ext uri="{FF2B5EF4-FFF2-40B4-BE49-F238E27FC236}">
                <a16:creationId xmlns:a16="http://schemas.microsoft.com/office/drawing/2014/main" id="{D5999AEB-8FCB-2DCF-BC11-34A5C4D35A50}"/>
              </a:ext>
            </a:extLst>
          </p:cNvPr>
          <p:cNvCxnSpPr>
            <a:cxnSpLocks/>
          </p:cNvCxnSpPr>
          <p:nvPr/>
        </p:nvCxnSpPr>
        <p:spPr>
          <a:xfrm>
            <a:off x="9960668" y="2784712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6" name="Straight Connector 745">
            <a:extLst>
              <a:ext uri="{FF2B5EF4-FFF2-40B4-BE49-F238E27FC236}">
                <a16:creationId xmlns:a16="http://schemas.microsoft.com/office/drawing/2014/main" id="{56E6275F-99E4-92AA-5FAD-5F53A39AF188}"/>
              </a:ext>
            </a:extLst>
          </p:cNvPr>
          <p:cNvCxnSpPr>
            <a:cxnSpLocks/>
          </p:cNvCxnSpPr>
          <p:nvPr/>
        </p:nvCxnSpPr>
        <p:spPr>
          <a:xfrm>
            <a:off x="9956350" y="2785118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7" name="Straight Connector 746">
            <a:extLst>
              <a:ext uri="{FF2B5EF4-FFF2-40B4-BE49-F238E27FC236}">
                <a16:creationId xmlns:a16="http://schemas.microsoft.com/office/drawing/2014/main" id="{3928D3F4-0870-34D4-E4CB-B1EC9041D518}"/>
              </a:ext>
            </a:extLst>
          </p:cNvPr>
          <p:cNvCxnSpPr>
            <a:cxnSpLocks/>
          </p:cNvCxnSpPr>
          <p:nvPr/>
        </p:nvCxnSpPr>
        <p:spPr>
          <a:xfrm>
            <a:off x="9952033" y="2784712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8" name="Straight Connector 747">
            <a:extLst>
              <a:ext uri="{FF2B5EF4-FFF2-40B4-BE49-F238E27FC236}">
                <a16:creationId xmlns:a16="http://schemas.microsoft.com/office/drawing/2014/main" id="{6BC73AC4-EE4C-0BA9-3E48-FBB4B106B1CE}"/>
              </a:ext>
            </a:extLst>
          </p:cNvPr>
          <p:cNvCxnSpPr>
            <a:cxnSpLocks/>
          </p:cNvCxnSpPr>
          <p:nvPr/>
        </p:nvCxnSpPr>
        <p:spPr>
          <a:xfrm>
            <a:off x="9947716" y="2784712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9" name="Straight Connector 748">
            <a:extLst>
              <a:ext uri="{FF2B5EF4-FFF2-40B4-BE49-F238E27FC236}">
                <a16:creationId xmlns:a16="http://schemas.microsoft.com/office/drawing/2014/main" id="{739126FC-56F3-F507-72B2-B6C20DD3CF6D}"/>
              </a:ext>
            </a:extLst>
          </p:cNvPr>
          <p:cNvCxnSpPr>
            <a:cxnSpLocks/>
          </p:cNvCxnSpPr>
          <p:nvPr/>
        </p:nvCxnSpPr>
        <p:spPr>
          <a:xfrm>
            <a:off x="9943972" y="2784712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0" name="Straight Connector 749">
            <a:extLst>
              <a:ext uri="{FF2B5EF4-FFF2-40B4-BE49-F238E27FC236}">
                <a16:creationId xmlns:a16="http://schemas.microsoft.com/office/drawing/2014/main" id="{8DFD748F-96AF-72C6-FF10-DCB811B33B17}"/>
              </a:ext>
            </a:extLst>
          </p:cNvPr>
          <p:cNvCxnSpPr>
            <a:cxnSpLocks/>
          </p:cNvCxnSpPr>
          <p:nvPr/>
        </p:nvCxnSpPr>
        <p:spPr>
          <a:xfrm>
            <a:off x="9939654" y="2786062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1" name="Straight Connector 750">
            <a:extLst>
              <a:ext uri="{FF2B5EF4-FFF2-40B4-BE49-F238E27FC236}">
                <a16:creationId xmlns:a16="http://schemas.microsoft.com/office/drawing/2014/main" id="{D87C1528-D8EF-0021-0AF3-13F7BB00B9F5}"/>
              </a:ext>
            </a:extLst>
          </p:cNvPr>
          <p:cNvCxnSpPr>
            <a:cxnSpLocks/>
          </p:cNvCxnSpPr>
          <p:nvPr/>
        </p:nvCxnSpPr>
        <p:spPr>
          <a:xfrm>
            <a:off x="9934765" y="2785118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2" name="Straight Connector 751">
            <a:extLst>
              <a:ext uri="{FF2B5EF4-FFF2-40B4-BE49-F238E27FC236}">
                <a16:creationId xmlns:a16="http://schemas.microsoft.com/office/drawing/2014/main" id="{820FD3F0-128A-BC58-3228-61B6DF3B0249}"/>
              </a:ext>
            </a:extLst>
          </p:cNvPr>
          <p:cNvCxnSpPr>
            <a:cxnSpLocks/>
          </p:cNvCxnSpPr>
          <p:nvPr/>
        </p:nvCxnSpPr>
        <p:spPr>
          <a:xfrm>
            <a:off x="9930448" y="2785679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3" name="Straight Connector 752">
            <a:extLst>
              <a:ext uri="{FF2B5EF4-FFF2-40B4-BE49-F238E27FC236}">
                <a16:creationId xmlns:a16="http://schemas.microsoft.com/office/drawing/2014/main" id="{415F5D7C-645F-672B-9D4E-B61ED2550A00}"/>
              </a:ext>
            </a:extLst>
          </p:cNvPr>
          <p:cNvCxnSpPr>
            <a:cxnSpLocks/>
          </p:cNvCxnSpPr>
          <p:nvPr/>
        </p:nvCxnSpPr>
        <p:spPr>
          <a:xfrm>
            <a:off x="9926419" y="2785987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4" name="Straight Connector 753">
            <a:extLst>
              <a:ext uri="{FF2B5EF4-FFF2-40B4-BE49-F238E27FC236}">
                <a16:creationId xmlns:a16="http://schemas.microsoft.com/office/drawing/2014/main" id="{50DB573A-5A38-6C07-CE2F-5AF7F1937F07}"/>
              </a:ext>
            </a:extLst>
          </p:cNvPr>
          <p:cNvCxnSpPr>
            <a:cxnSpLocks/>
          </p:cNvCxnSpPr>
          <p:nvPr/>
        </p:nvCxnSpPr>
        <p:spPr>
          <a:xfrm>
            <a:off x="9922389" y="2779014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5" name="Straight Connector 754">
            <a:extLst>
              <a:ext uri="{FF2B5EF4-FFF2-40B4-BE49-F238E27FC236}">
                <a16:creationId xmlns:a16="http://schemas.microsoft.com/office/drawing/2014/main" id="{7C7704C1-C4CA-F24E-7608-B8B516B0E917}"/>
              </a:ext>
            </a:extLst>
          </p:cNvPr>
          <p:cNvCxnSpPr>
            <a:cxnSpLocks/>
          </p:cNvCxnSpPr>
          <p:nvPr/>
        </p:nvCxnSpPr>
        <p:spPr>
          <a:xfrm>
            <a:off x="9918072" y="2771998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6" name="Straight Connector 755">
            <a:extLst>
              <a:ext uri="{FF2B5EF4-FFF2-40B4-BE49-F238E27FC236}">
                <a16:creationId xmlns:a16="http://schemas.microsoft.com/office/drawing/2014/main" id="{BDBCF9D8-8282-EA40-D2FE-4AA5FE8DE180}"/>
              </a:ext>
            </a:extLst>
          </p:cNvPr>
          <p:cNvCxnSpPr>
            <a:cxnSpLocks/>
          </p:cNvCxnSpPr>
          <p:nvPr/>
        </p:nvCxnSpPr>
        <p:spPr>
          <a:xfrm>
            <a:off x="9913180" y="2771998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7" name="Straight Connector 756">
            <a:extLst>
              <a:ext uri="{FF2B5EF4-FFF2-40B4-BE49-F238E27FC236}">
                <a16:creationId xmlns:a16="http://schemas.microsoft.com/office/drawing/2014/main" id="{8815F049-CBB5-7792-BEA9-C7B35CC4FABB}"/>
              </a:ext>
            </a:extLst>
          </p:cNvPr>
          <p:cNvCxnSpPr>
            <a:cxnSpLocks/>
          </p:cNvCxnSpPr>
          <p:nvPr/>
        </p:nvCxnSpPr>
        <p:spPr>
          <a:xfrm>
            <a:off x="9909151" y="2771843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8" name="Straight Connector 757">
            <a:extLst>
              <a:ext uri="{FF2B5EF4-FFF2-40B4-BE49-F238E27FC236}">
                <a16:creationId xmlns:a16="http://schemas.microsoft.com/office/drawing/2014/main" id="{FDBAE19D-C9B5-F104-7621-A06F4791F859}"/>
              </a:ext>
            </a:extLst>
          </p:cNvPr>
          <p:cNvCxnSpPr>
            <a:cxnSpLocks/>
          </p:cNvCxnSpPr>
          <p:nvPr/>
        </p:nvCxnSpPr>
        <p:spPr>
          <a:xfrm>
            <a:off x="9905121" y="2771210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9" name="Straight Connector 758">
            <a:extLst>
              <a:ext uri="{FF2B5EF4-FFF2-40B4-BE49-F238E27FC236}">
                <a16:creationId xmlns:a16="http://schemas.microsoft.com/office/drawing/2014/main" id="{F99B5C26-A75E-02CF-023C-268107F67973}"/>
              </a:ext>
            </a:extLst>
          </p:cNvPr>
          <p:cNvCxnSpPr>
            <a:cxnSpLocks/>
          </p:cNvCxnSpPr>
          <p:nvPr/>
        </p:nvCxnSpPr>
        <p:spPr>
          <a:xfrm>
            <a:off x="9900804" y="2771317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0" name="Straight Connector 759">
            <a:extLst>
              <a:ext uri="{FF2B5EF4-FFF2-40B4-BE49-F238E27FC236}">
                <a16:creationId xmlns:a16="http://schemas.microsoft.com/office/drawing/2014/main" id="{0A4A25AF-9B3B-F893-FE2E-2C313C5925BA}"/>
              </a:ext>
            </a:extLst>
          </p:cNvPr>
          <p:cNvCxnSpPr>
            <a:cxnSpLocks/>
          </p:cNvCxnSpPr>
          <p:nvPr/>
        </p:nvCxnSpPr>
        <p:spPr>
          <a:xfrm>
            <a:off x="9895912" y="2770768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1" name="Straight Connector 760">
            <a:extLst>
              <a:ext uri="{FF2B5EF4-FFF2-40B4-BE49-F238E27FC236}">
                <a16:creationId xmlns:a16="http://schemas.microsoft.com/office/drawing/2014/main" id="{4104FD37-914B-9FF2-7F6F-B7499DCCAE1A}"/>
              </a:ext>
            </a:extLst>
          </p:cNvPr>
          <p:cNvCxnSpPr>
            <a:cxnSpLocks/>
          </p:cNvCxnSpPr>
          <p:nvPr/>
        </p:nvCxnSpPr>
        <p:spPr>
          <a:xfrm>
            <a:off x="9891883" y="2771210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2" name="Straight Connector 761">
            <a:extLst>
              <a:ext uri="{FF2B5EF4-FFF2-40B4-BE49-F238E27FC236}">
                <a16:creationId xmlns:a16="http://schemas.microsoft.com/office/drawing/2014/main" id="{20D84EC3-59D1-E57C-AD1A-0CFC52CBD0CE}"/>
              </a:ext>
            </a:extLst>
          </p:cNvPr>
          <p:cNvCxnSpPr>
            <a:cxnSpLocks/>
          </p:cNvCxnSpPr>
          <p:nvPr/>
        </p:nvCxnSpPr>
        <p:spPr>
          <a:xfrm>
            <a:off x="9887853" y="2771210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3" name="Straight Connector 762">
            <a:extLst>
              <a:ext uri="{FF2B5EF4-FFF2-40B4-BE49-F238E27FC236}">
                <a16:creationId xmlns:a16="http://schemas.microsoft.com/office/drawing/2014/main" id="{8979C417-6AF6-F72C-EE03-F2013FD41D7D}"/>
              </a:ext>
            </a:extLst>
          </p:cNvPr>
          <p:cNvCxnSpPr>
            <a:cxnSpLocks/>
          </p:cNvCxnSpPr>
          <p:nvPr/>
        </p:nvCxnSpPr>
        <p:spPr>
          <a:xfrm>
            <a:off x="9883536" y="2770768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4" name="Straight Connector 763">
            <a:extLst>
              <a:ext uri="{FF2B5EF4-FFF2-40B4-BE49-F238E27FC236}">
                <a16:creationId xmlns:a16="http://schemas.microsoft.com/office/drawing/2014/main" id="{9A3AB84A-4AD0-141B-C5E6-D7D1B3642B8B}"/>
              </a:ext>
            </a:extLst>
          </p:cNvPr>
          <p:cNvCxnSpPr>
            <a:cxnSpLocks/>
          </p:cNvCxnSpPr>
          <p:nvPr/>
        </p:nvCxnSpPr>
        <p:spPr>
          <a:xfrm>
            <a:off x="9879219" y="2772110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5" name="Straight Connector 764">
            <a:extLst>
              <a:ext uri="{FF2B5EF4-FFF2-40B4-BE49-F238E27FC236}">
                <a16:creationId xmlns:a16="http://schemas.microsoft.com/office/drawing/2014/main" id="{86EF10E4-BE0C-9851-2586-4BA62803336F}"/>
              </a:ext>
            </a:extLst>
          </p:cNvPr>
          <p:cNvCxnSpPr>
            <a:cxnSpLocks/>
          </p:cNvCxnSpPr>
          <p:nvPr/>
        </p:nvCxnSpPr>
        <p:spPr>
          <a:xfrm>
            <a:off x="9874614" y="2770768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6" name="Straight Connector 765">
            <a:extLst>
              <a:ext uri="{FF2B5EF4-FFF2-40B4-BE49-F238E27FC236}">
                <a16:creationId xmlns:a16="http://schemas.microsoft.com/office/drawing/2014/main" id="{46B6DC6D-C795-5F56-F843-31987490E8BC}"/>
              </a:ext>
            </a:extLst>
          </p:cNvPr>
          <p:cNvCxnSpPr>
            <a:cxnSpLocks/>
          </p:cNvCxnSpPr>
          <p:nvPr/>
        </p:nvCxnSpPr>
        <p:spPr>
          <a:xfrm>
            <a:off x="9870585" y="2772110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7" name="Straight Connector 766">
            <a:extLst>
              <a:ext uri="{FF2B5EF4-FFF2-40B4-BE49-F238E27FC236}">
                <a16:creationId xmlns:a16="http://schemas.microsoft.com/office/drawing/2014/main" id="{805DECB7-3779-DFAB-9598-F6909DF49608}"/>
              </a:ext>
            </a:extLst>
          </p:cNvPr>
          <p:cNvCxnSpPr>
            <a:cxnSpLocks/>
          </p:cNvCxnSpPr>
          <p:nvPr/>
        </p:nvCxnSpPr>
        <p:spPr>
          <a:xfrm>
            <a:off x="9866268" y="2771210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8" name="Straight Connector 767">
            <a:extLst>
              <a:ext uri="{FF2B5EF4-FFF2-40B4-BE49-F238E27FC236}">
                <a16:creationId xmlns:a16="http://schemas.microsoft.com/office/drawing/2014/main" id="{66FCFB69-2B4F-B4EC-9787-D38E01E30831}"/>
              </a:ext>
            </a:extLst>
          </p:cNvPr>
          <p:cNvCxnSpPr>
            <a:cxnSpLocks/>
          </p:cNvCxnSpPr>
          <p:nvPr/>
        </p:nvCxnSpPr>
        <p:spPr>
          <a:xfrm>
            <a:off x="9861951" y="2771210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9" name="Straight Connector 768">
            <a:extLst>
              <a:ext uri="{FF2B5EF4-FFF2-40B4-BE49-F238E27FC236}">
                <a16:creationId xmlns:a16="http://schemas.microsoft.com/office/drawing/2014/main" id="{403CEA94-8AAF-F7B1-386E-197A6A1872B5}"/>
              </a:ext>
            </a:extLst>
          </p:cNvPr>
          <p:cNvCxnSpPr>
            <a:cxnSpLocks/>
          </p:cNvCxnSpPr>
          <p:nvPr/>
        </p:nvCxnSpPr>
        <p:spPr>
          <a:xfrm>
            <a:off x="9857634" y="2771055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0" name="Straight Connector 769">
            <a:extLst>
              <a:ext uri="{FF2B5EF4-FFF2-40B4-BE49-F238E27FC236}">
                <a16:creationId xmlns:a16="http://schemas.microsoft.com/office/drawing/2014/main" id="{2D0E6ADF-273C-14A8-58D5-57358FAA7005}"/>
              </a:ext>
            </a:extLst>
          </p:cNvPr>
          <p:cNvCxnSpPr>
            <a:cxnSpLocks/>
          </p:cNvCxnSpPr>
          <p:nvPr/>
        </p:nvCxnSpPr>
        <p:spPr>
          <a:xfrm>
            <a:off x="9853317" y="2771210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1" name="Straight Connector 770">
            <a:extLst>
              <a:ext uri="{FF2B5EF4-FFF2-40B4-BE49-F238E27FC236}">
                <a16:creationId xmlns:a16="http://schemas.microsoft.com/office/drawing/2014/main" id="{7CDC84E2-0CA8-D1C7-810D-2F6C65603F76}"/>
              </a:ext>
            </a:extLst>
          </p:cNvPr>
          <p:cNvCxnSpPr>
            <a:cxnSpLocks/>
          </p:cNvCxnSpPr>
          <p:nvPr/>
        </p:nvCxnSpPr>
        <p:spPr>
          <a:xfrm>
            <a:off x="9849000" y="2771055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2" name="Straight Connector 771">
            <a:extLst>
              <a:ext uri="{FF2B5EF4-FFF2-40B4-BE49-F238E27FC236}">
                <a16:creationId xmlns:a16="http://schemas.microsoft.com/office/drawing/2014/main" id="{99D525FC-DFB0-B927-58C7-5385FABA47B9}"/>
              </a:ext>
            </a:extLst>
          </p:cNvPr>
          <p:cNvCxnSpPr>
            <a:cxnSpLocks/>
          </p:cNvCxnSpPr>
          <p:nvPr/>
        </p:nvCxnSpPr>
        <p:spPr>
          <a:xfrm>
            <a:off x="9844971" y="2771210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3" name="Straight Connector 772">
            <a:extLst>
              <a:ext uri="{FF2B5EF4-FFF2-40B4-BE49-F238E27FC236}">
                <a16:creationId xmlns:a16="http://schemas.microsoft.com/office/drawing/2014/main" id="{680EB084-1230-229F-82E1-BB740E7744E4}"/>
              </a:ext>
            </a:extLst>
          </p:cNvPr>
          <p:cNvCxnSpPr>
            <a:cxnSpLocks/>
          </p:cNvCxnSpPr>
          <p:nvPr/>
        </p:nvCxnSpPr>
        <p:spPr>
          <a:xfrm>
            <a:off x="9840654" y="2771210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4" name="Straight Connector 773">
            <a:extLst>
              <a:ext uri="{FF2B5EF4-FFF2-40B4-BE49-F238E27FC236}">
                <a16:creationId xmlns:a16="http://schemas.microsoft.com/office/drawing/2014/main" id="{61E632CF-5213-3863-EAC2-28C81DF9D2A2}"/>
              </a:ext>
            </a:extLst>
          </p:cNvPr>
          <p:cNvCxnSpPr>
            <a:cxnSpLocks/>
          </p:cNvCxnSpPr>
          <p:nvPr/>
        </p:nvCxnSpPr>
        <p:spPr>
          <a:xfrm>
            <a:off x="9836337" y="2771210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5" name="Straight Connector 774">
            <a:extLst>
              <a:ext uri="{FF2B5EF4-FFF2-40B4-BE49-F238E27FC236}">
                <a16:creationId xmlns:a16="http://schemas.microsoft.com/office/drawing/2014/main" id="{6922E152-6921-5D0F-F0E6-5A7E05B61FD4}"/>
              </a:ext>
            </a:extLst>
          </p:cNvPr>
          <p:cNvCxnSpPr>
            <a:cxnSpLocks/>
          </p:cNvCxnSpPr>
          <p:nvPr/>
        </p:nvCxnSpPr>
        <p:spPr>
          <a:xfrm>
            <a:off x="9832883" y="2755494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6" name="Straight Connector 775">
            <a:extLst>
              <a:ext uri="{FF2B5EF4-FFF2-40B4-BE49-F238E27FC236}">
                <a16:creationId xmlns:a16="http://schemas.microsoft.com/office/drawing/2014/main" id="{3AA4CE9E-0BA6-7444-1056-4C65C9E61E4B}"/>
              </a:ext>
            </a:extLst>
          </p:cNvPr>
          <p:cNvCxnSpPr>
            <a:cxnSpLocks/>
          </p:cNvCxnSpPr>
          <p:nvPr/>
        </p:nvCxnSpPr>
        <p:spPr>
          <a:xfrm>
            <a:off x="9829717" y="2756654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7" name="Straight Connector 776">
            <a:extLst>
              <a:ext uri="{FF2B5EF4-FFF2-40B4-BE49-F238E27FC236}">
                <a16:creationId xmlns:a16="http://schemas.microsoft.com/office/drawing/2014/main" id="{980EBB24-6759-99F9-DE09-65576BB36D16}"/>
              </a:ext>
            </a:extLst>
          </p:cNvPr>
          <p:cNvCxnSpPr>
            <a:cxnSpLocks/>
          </p:cNvCxnSpPr>
          <p:nvPr/>
        </p:nvCxnSpPr>
        <p:spPr>
          <a:xfrm>
            <a:off x="9825400" y="2756705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8" name="Straight Connector 777">
            <a:extLst>
              <a:ext uri="{FF2B5EF4-FFF2-40B4-BE49-F238E27FC236}">
                <a16:creationId xmlns:a16="http://schemas.microsoft.com/office/drawing/2014/main" id="{94E5BE2D-B96A-89EC-8E4E-B297DF9CD946}"/>
              </a:ext>
            </a:extLst>
          </p:cNvPr>
          <p:cNvCxnSpPr>
            <a:cxnSpLocks/>
          </p:cNvCxnSpPr>
          <p:nvPr/>
        </p:nvCxnSpPr>
        <p:spPr>
          <a:xfrm>
            <a:off x="9821083" y="2756705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9" name="Straight Connector 778">
            <a:extLst>
              <a:ext uri="{FF2B5EF4-FFF2-40B4-BE49-F238E27FC236}">
                <a16:creationId xmlns:a16="http://schemas.microsoft.com/office/drawing/2014/main" id="{76C2E217-1661-111D-7ADD-4686545FC701}"/>
              </a:ext>
            </a:extLst>
          </p:cNvPr>
          <p:cNvCxnSpPr>
            <a:cxnSpLocks/>
          </p:cNvCxnSpPr>
          <p:nvPr/>
        </p:nvCxnSpPr>
        <p:spPr>
          <a:xfrm>
            <a:off x="9816766" y="2756705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0" name="Straight Connector 779">
            <a:extLst>
              <a:ext uri="{FF2B5EF4-FFF2-40B4-BE49-F238E27FC236}">
                <a16:creationId xmlns:a16="http://schemas.microsoft.com/office/drawing/2014/main" id="{F522068C-DA52-79F4-BBFA-F57624C9259C}"/>
              </a:ext>
            </a:extLst>
          </p:cNvPr>
          <p:cNvCxnSpPr>
            <a:cxnSpLocks/>
          </p:cNvCxnSpPr>
          <p:nvPr/>
        </p:nvCxnSpPr>
        <p:spPr>
          <a:xfrm>
            <a:off x="9812737" y="2756660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1" name="Straight Connector 780">
            <a:extLst>
              <a:ext uri="{FF2B5EF4-FFF2-40B4-BE49-F238E27FC236}">
                <a16:creationId xmlns:a16="http://schemas.microsoft.com/office/drawing/2014/main" id="{AE1C58BE-C762-604E-2326-ACF300AAFB84}"/>
              </a:ext>
            </a:extLst>
          </p:cNvPr>
          <p:cNvCxnSpPr>
            <a:cxnSpLocks/>
          </p:cNvCxnSpPr>
          <p:nvPr/>
        </p:nvCxnSpPr>
        <p:spPr>
          <a:xfrm>
            <a:off x="9808420" y="2756483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2" name="Straight Connector 781">
            <a:extLst>
              <a:ext uri="{FF2B5EF4-FFF2-40B4-BE49-F238E27FC236}">
                <a16:creationId xmlns:a16="http://schemas.microsoft.com/office/drawing/2014/main" id="{47CC025B-B86B-4A81-3A1C-44604CFFD8C2}"/>
              </a:ext>
            </a:extLst>
          </p:cNvPr>
          <p:cNvCxnSpPr>
            <a:cxnSpLocks/>
          </p:cNvCxnSpPr>
          <p:nvPr/>
        </p:nvCxnSpPr>
        <p:spPr>
          <a:xfrm>
            <a:off x="9804103" y="2756705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3" name="Straight Connector 782">
            <a:extLst>
              <a:ext uri="{FF2B5EF4-FFF2-40B4-BE49-F238E27FC236}">
                <a16:creationId xmlns:a16="http://schemas.microsoft.com/office/drawing/2014/main" id="{8B346DC3-3020-D7FA-D347-F0D4D9AEC3DB}"/>
              </a:ext>
            </a:extLst>
          </p:cNvPr>
          <p:cNvCxnSpPr>
            <a:cxnSpLocks/>
          </p:cNvCxnSpPr>
          <p:nvPr/>
        </p:nvCxnSpPr>
        <p:spPr>
          <a:xfrm>
            <a:off x="9799786" y="2756705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4" name="Straight Connector 783">
            <a:extLst>
              <a:ext uri="{FF2B5EF4-FFF2-40B4-BE49-F238E27FC236}">
                <a16:creationId xmlns:a16="http://schemas.microsoft.com/office/drawing/2014/main" id="{7F79F32F-FAB4-2CE2-F3E5-5E49F1D001C8}"/>
              </a:ext>
            </a:extLst>
          </p:cNvPr>
          <p:cNvCxnSpPr>
            <a:cxnSpLocks/>
          </p:cNvCxnSpPr>
          <p:nvPr/>
        </p:nvCxnSpPr>
        <p:spPr>
          <a:xfrm>
            <a:off x="9795468" y="2755871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5" name="Straight Connector 784">
            <a:extLst>
              <a:ext uri="{FF2B5EF4-FFF2-40B4-BE49-F238E27FC236}">
                <a16:creationId xmlns:a16="http://schemas.microsoft.com/office/drawing/2014/main" id="{6238561E-B635-2A46-99AC-FDBF21B3D193}"/>
              </a:ext>
            </a:extLst>
          </p:cNvPr>
          <p:cNvCxnSpPr>
            <a:cxnSpLocks/>
          </p:cNvCxnSpPr>
          <p:nvPr/>
        </p:nvCxnSpPr>
        <p:spPr>
          <a:xfrm>
            <a:off x="9791151" y="2756705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6" name="Straight Connector 785">
            <a:extLst>
              <a:ext uri="{FF2B5EF4-FFF2-40B4-BE49-F238E27FC236}">
                <a16:creationId xmlns:a16="http://schemas.microsoft.com/office/drawing/2014/main" id="{8638D3F5-1CF0-22BC-B726-E6C068049C28}"/>
              </a:ext>
            </a:extLst>
          </p:cNvPr>
          <p:cNvCxnSpPr>
            <a:cxnSpLocks/>
          </p:cNvCxnSpPr>
          <p:nvPr/>
        </p:nvCxnSpPr>
        <p:spPr>
          <a:xfrm>
            <a:off x="9786835" y="2748287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7" name="Straight Connector 786">
            <a:extLst>
              <a:ext uri="{FF2B5EF4-FFF2-40B4-BE49-F238E27FC236}">
                <a16:creationId xmlns:a16="http://schemas.microsoft.com/office/drawing/2014/main" id="{E21046B4-1E75-A156-7886-524B130F20EE}"/>
              </a:ext>
            </a:extLst>
          </p:cNvPr>
          <p:cNvCxnSpPr>
            <a:cxnSpLocks/>
          </p:cNvCxnSpPr>
          <p:nvPr/>
        </p:nvCxnSpPr>
        <p:spPr>
          <a:xfrm>
            <a:off x="9782805" y="2748287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8" name="Straight Connector 787">
            <a:extLst>
              <a:ext uri="{FF2B5EF4-FFF2-40B4-BE49-F238E27FC236}">
                <a16:creationId xmlns:a16="http://schemas.microsoft.com/office/drawing/2014/main" id="{304CCBD2-466D-3809-6E31-1F5A95A1F2B1}"/>
              </a:ext>
            </a:extLst>
          </p:cNvPr>
          <p:cNvCxnSpPr>
            <a:cxnSpLocks/>
          </p:cNvCxnSpPr>
          <p:nvPr/>
        </p:nvCxnSpPr>
        <p:spPr>
          <a:xfrm>
            <a:off x="9778488" y="2748287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9" name="Straight Connector 788">
            <a:extLst>
              <a:ext uri="{FF2B5EF4-FFF2-40B4-BE49-F238E27FC236}">
                <a16:creationId xmlns:a16="http://schemas.microsoft.com/office/drawing/2014/main" id="{8D68A393-A546-39BB-2AED-7E26FFD98E45}"/>
              </a:ext>
            </a:extLst>
          </p:cNvPr>
          <p:cNvCxnSpPr>
            <a:cxnSpLocks/>
          </p:cNvCxnSpPr>
          <p:nvPr/>
        </p:nvCxnSpPr>
        <p:spPr>
          <a:xfrm>
            <a:off x="9774171" y="2748294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0" name="Straight Connector 789">
            <a:extLst>
              <a:ext uri="{FF2B5EF4-FFF2-40B4-BE49-F238E27FC236}">
                <a16:creationId xmlns:a16="http://schemas.microsoft.com/office/drawing/2014/main" id="{5899E1F0-F3D0-49CA-C3B6-707F24C44A8E}"/>
              </a:ext>
            </a:extLst>
          </p:cNvPr>
          <p:cNvCxnSpPr>
            <a:cxnSpLocks/>
          </p:cNvCxnSpPr>
          <p:nvPr/>
        </p:nvCxnSpPr>
        <p:spPr>
          <a:xfrm>
            <a:off x="9769854" y="2748339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1" name="Straight Connector 790">
            <a:extLst>
              <a:ext uri="{FF2B5EF4-FFF2-40B4-BE49-F238E27FC236}">
                <a16:creationId xmlns:a16="http://schemas.microsoft.com/office/drawing/2014/main" id="{8BF9E347-0862-0E7E-EAD6-B41DDAF72555}"/>
              </a:ext>
            </a:extLst>
          </p:cNvPr>
          <p:cNvCxnSpPr>
            <a:cxnSpLocks/>
          </p:cNvCxnSpPr>
          <p:nvPr/>
        </p:nvCxnSpPr>
        <p:spPr>
          <a:xfrm>
            <a:off x="9765537" y="2748339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2" name="Straight Connector 791">
            <a:extLst>
              <a:ext uri="{FF2B5EF4-FFF2-40B4-BE49-F238E27FC236}">
                <a16:creationId xmlns:a16="http://schemas.microsoft.com/office/drawing/2014/main" id="{C3ACD97C-0680-41DC-E979-027611B45C1E}"/>
              </a:ext>
            </a:extLst>
          </p:cNvPr>
          <p:cNvCxnSpPr>
            <a:cxnSpLocks/>
          </p:cNvCxnSpPr>
          <p:nvPr/>
        </p:nvCxnSpPr>
        <p:spPr>
          <a:xfrm>
            <a:off x="9761220" y="2748294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3" name="Straight Connector 792">
            <a:extLst>
              <a:ext uri="{FF2B5EF4-FFF2-40B4-BE49-F238E27FC236}">
                <a16:creationId xmlns:a16="http://schemas.microsoft.com/office/drawing/2014/main" id="{F3123EA3-ECC1-C6E5-EF92-616F11A031CF}"/>
              </a:ext>
            </a:extLst>
          </p:cNvPr>
          <p:cNvCxnSpPr>
            <a:cxnSpLocks/>
          </p:cNvCxnSpPr>
          <p:nvPr/>
        </p:nvCxnSpPr>
        <p:spPr>
          <a:xfrm>
            <a:off x="9756903" y="2748339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4" name="Straight Connector 793">
            <a:extLst>
              <a:ext uri="{FF2B5EF4-FFF2-40B4-BE49-F238E27FC236}">
                <a16:creationId xmlns:a16="http://schemas.microsoft.com/office/drawing/2014/main" id="{4DC0B606-8716-6A8D-BE7D-02492D239766}"/>
              </a:ext>
            </a:extLst>
          </p:cNvPr>
          <p:cNvCxnSpPr>
            <a:cxnSpLocks/>
          </p:cNvCxnSpPr>
          <p:nvPr/>
        </p:nvCxnSpPr>
        <p:spPr>
          <a:xfrm>
            <a:off x="9752586" y="2748339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5" name="Straight Connector 794">
            <a:extLst>
              <a:ext uri="{FF2B5EF4-FFF2-40B4-BE49-F238E27FC236}">
                <a16:creationId xmlns:a16="http://schemas.microsoft.com/office/drawing/2014/main" id="{2AC9E829-809E-04D2-9FE8-2741F3C70FBE}"/>
              </a:ext>
            </a:extLst>
          </p:cNvPr>
          <p:cNvCxnSpPr>
            <a:cxnSpLocks/>
          </p:cNvCxnSpPr>
          <p:nvPr/>
        </p:nvCxnSpPr>
        <p:spPr>
          <a:xfrm>
            <a:off x="9748269" y="2748064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6" name="Straight Connector 795">
            <a:extLst>
              <a:ext uri="{FF2B5EF4-FFF2-40B4-BE49-F238E27FC236}">
                <a16:creationId xmlns:a16="http://schemas.microsoft.com/office/drawing/2014/main" id="{DCE5E826-9F32-7198-76DA-39854FC6D19E}"/>
              </a:ext>
            </a:extLst>
          </p:cNvPr>
          <p:cNvCxnSpPr>
            <a:cxnSpLocks/>
          </p:cNvCxnSpPr>
          <p:nvPr/>
        </p:nvCxnSpPr>
        <p:spPr>
          <a:xfrm>
            <a:off x="9744240" y="2748339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7" name="Straight Connector 796">
            <a:extLst>
              <a:ext uri="{FF2B5EF4-FFF2-40B4-BE49-F238E27FC236}">
                <a16:creationId xmlns:a16="http://schemas.microsoft.com/office/drawing/2014/main" id="{D81AC5C0-5734-BF71-2143-8CB512C9EF39}"/>
              </a:ext>
            </a:extLst>
          </p:cNvPr>
          <p:cNvCxnSpPr>
            <a:cxnSpLocks/>
          </p:cNvCxnSpPr>
          <p:nvPr/>
        </p:nvCxnSpPr>
        <p:spPr>
          <a:xfrm>
            <a:off x="9739923" y="2748294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8" name="Straight Connector 797">
            <a:extLst>
              <a:ext uri="{FF2B5EF4-FFF2-40B4-BE49-F238E27FC236}">
                <a16:creationId xmlns:a16="http://schemas.microsoft.com/office/drawing/2014/main" id="{BFCC851F-E3F3-C455-DB4E-13E5869E079E}"/>
              </a:ext>
            </a:extLst>
          </p:cNvPr>
          <p:cNvCxnSpPr>
            <a:cxnSpLocks/>
          </p:cNvCxnSpPr>
          <p:nvPr/>
        </p:nvCxnSpPr>
        <p:spPr>
          <a:xfrm>
            <a:off x="9735606" y="2748294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9" name="Straight Connector 798">
            <a:extLst>
              <a:ext uri="{FF2B5EF4-FFF2-40B4-BE49-F238E27FC236}">
                <a16:creationId xmlns:a16="http://schemas.microsoft.com/office/drawing/2014/main" id="{64F8B21C-8B94-2B58-735B-7BE3CFB615C8}"/>
              </a:ext>
            </a:extLst>
          </p:cNvPr>
          <p:cNvCxnSpPr>
            <a:cxnSpLocks/>
          </p:cNvCxnSpPr>
          <p:nvPr/>
        </p:nvCxnSpPr>
        <p:spPr>
          <a:xfrm>
            <a:off x="9731289" y="2748071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0" name="Straight Connector 799">
            <a:extLst>
              <a:ext uri="{FF2B5EF4-FFF2-40B4-BE49-F238E27FC236}">
                <a16:creationId xmlns:a16="http://schemas.microsoft.com/office/drawing/2014/main" id="{59315DFE-A8CB-93F4-152F-BB083ABC1E56}"/>
              </a:ext>
            </a:extLst>
          </p:cNvPr>
          <p:cNvCxnSpPr>
            <a:cxnSpLocks/>
          </p:cNvCxnSpPr>
          <p:nvPr/>
        </p:nvCxnSpPr>
        <p:spPr>
          <a:xfrm>
            <a:off x="9726972" y="2748071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1" name="Straight Connector 800">
            <a:extLst>
              <a:ext uri="{FF2B5EF4-FFF2-40B4-BE49-F238E27FC236}">
                <a16:creationId xmlns:a16="http://schemas.microsoft.com/office/drawing/2014/main" id="{3FE0DE8E-46CE-521D-58A3-C45F5E733D88}"/>
              </a:ext>
            </a:extLst>
          </p:cNvPr>
          <p:cNvCxnSpPr>
            <a:cxnSpLocks/>
          </p:cNvCxnSpPr>
          <p:nvPr/>
        </p:nvCxnSpPr>
        <p:spPr>
          <a:xfrm>
            <a:off x="9722655" y="2748294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2" name="Straight Connector 801">
            <a:extLst>
              <a:ext uri="{FF2B5EF4-FFF2-40B4-BE49-F238E27FC236}">
                <a16:creationId xmlns:a16="http://schemas.microsoft.com/office/drawing/2014/main" id="{F863D5FA-9C12-AB00-4FB0-090E21D1C918}"/>
              </a:ext>
            </a:extLst>
          </p:cNvPr>
          <p:cNvCxnSpPr>
            <a:cxnSpLocks/>
          </p:cNvCxnSpPr>
          <p:nvPr/>
        </p:nvCxnSpPr>
        <p:spPr>
          <a:xfrm>
            <a:off x="9718338" y="2748294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3" name="Straight Connector 802">
            <a:extLst>
              <a:ext uri="{FF2B5EF4-FFF2-40B4-BE49-F238E27FC236}">
                <a16:creationId xmlns:a16="http://schemas.microsoft.com/office/drawing/2014/main" id="{ED86EF11-3ED7-EB74-7DF6-27809CA10E2A}"/>
              </a:ext>
            </a:extLst>
          </p:cNvPr>
          <p:cNvCxnSpPr>
            <a:cxnSpLocks/>
          </p:cNvCxnSpPr>
          <p:nvPr/>
        </p:nvCxnSpPr>
        <p:spPr>
          <a:xfrm>
            <a:off x="9714021" y="2748294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4" name="Straight Connector 803">
            <a:extLst>
              <a:ext uri="{FF2B5EF4-FFF2-40B4-BE49-F238E27FC236}">
                <a16:creationId xmlns:a16="http://schemas.microsoft.com/office/drawing/2014/main" id="{5E7F0CAB-2D62-0A11-6935-D470F5C0DCF5}"/>
              </a:ext>
            </a:extLst>
          </p:cNvPr>
          <p:cNvCxnSpPr>
            <a:cxnSpLocks/>
          </p:cNvCxnSpPr>
          <p:nvPr/>
        </p:nvCxnSpPr>
        <p:spPr>
          <a:xfrm>
            <a:off x="9709704" y="2748339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5" name="Straight Connector 804">
            <a:extLst>
              <a:ext uri="{FF2B5EF4-FFF2-40B4-BE49-F238E27FC236}">
                <a16:creationId xmlns:a16="http://schemas.microsoft.com/office/drawing/2014/main" id="{F8DF15BC-9BED-872E-5DA3-89D13AF2F230}"/>
              </a:ext>
            </a:extLst>
          </p:cNvPr>
          <p:cNvCxnSpPr>
            <a:cxnSpLocks/>
          </p:cNvCxnSpPr>
          <p:nvPr/>
        </p:nvCxnSpPr>
        <p:spPr>
          <a:xfrm>
            <a:off x="9705387" y="2747065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6" name="Straight Connector 805">
            <a:extLst>
              <a:ext uri="{FF2B5EF4-FFF2-40B4-BE49-F238E27FC236}">
                <a16:creationId xmlns:a16="http://schemas.microsoft.com/office/drawing/2014/main" id="{0222EDB0-DFF4-0571-5FB3-7260D02EEF7D}"/>
              </a:ext>
            </a:extLst>
          </p:cNvPr>
          <p:cNvCxnSpPr>
            <a:cxnSpLocks/>
          </p:cNvCxnSpPr>
          <p:nvPr/>
        </p:nvCxnSpPr>
        <p:spPr>
          <a:xfrm>
            <a:off x="9701069" y="2747506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7" name="Straight Connector 806">
            <a:extLst>
              <a:ext uri="{FF2B5EF4-FFF2-40B4-BE49-F238E27FC236}">
                <a16:creationId xmlns:a16="http://schemas.microsoft.com/office/drawing/2014/main" id="{F7ED1CB2-D070-32E4-119F-68AE3EA746D7}"/>
              </a:ext>
            </a:extLst>
          </p:cNvPr>
          <p:cNvCxnSpPr>
            <a:cxnSpLocks/>
          </p:cNvCxnSpPr>
          <p:nvPr/>
        </p:nvCxnSpPr>
        <p:spPr>
          <a:xfrm>
            <a:off x="9697040" y="2748294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8" name="Straight Connector 807">
            <a:extLst>
              <a:ext uri="{FF2B5EF4-FFF2-40B4-BE49-F238E27FC236}">
                <a16:creationId xmlns:a16="http://schemas.microsoft.com/office/drawing/2014/main" id="{05C42A13-1888-A3BC-DFF3-55DB7F6BEC2A}"/>
              </a:ext>
            </a:extLst>
          </p:cNvPr>
          <p:cNvCxnSpPr>
            <a:cxnSpLocks/>
          </p:cNvCxnSpPr>
          <p:nvPr/>
        </p:nvCxnSpPr>
        <p:spPr>
          <a:xfrm>
            <a:off x="9692724" y="2748294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9" name="Straight Connector 808">
            <a:extLst>
              <a:ext uri="{FF2B5EF4-FFF2-40B4-BE49-F238E27FC236}">
                <a16:creationId xmlns:a16="http://schemas.microsoft.com/office/drawing/2014/main" id="{7745FD31-5D68-F19D-CDB5-355A3DE46074}"/>
              </a:ext>
            </a:extLst>
          </p:cNvPr>
          <p:cNvCxnSpPr>
            <a:cxnSpLocks/>
          </p:cNvCxnSpPr>
          <p:nvPr/>
        </p:nvCxnSpPr>
        <p:spPr>
          <a:xfrm>
            <a:off x="9688406" y="2747065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0" name="Straight Connector 809">
            <a:extLst>
              <a:ext uri="{FF2B5EF4-FFF2-40B4-BE49-F238E27FC236}">
                <a16:creationId xmlns:a16="http://schemas.microsoft.com/office/drawing/2014/main" id="{101D8001-CB4C-733E-5435-813533FF25E4}"/>
              </a:ext>
            </a:extLst>
          </p:cNvPr>
          <p:cNvCxnSpPr>
            <a:cxnSpLocks/>
          </p:cNvCxnSpPr>
          <p:nvPr/>
        </p:nvCxnSpPr>
        <p:spPr>
          <a:xfrm>
            <a:off x="9684089" y="2748304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1" name="Straight Connector 810">
            <a:extLst>
              <a:ext uri="{FF2B5EF4-FFF2-40B4-BE49-F238E27FC236}">
                <a16:creationId xmlns:a16="http://schemas.microsoft.com/office/drawing/2014/main" id="{CA0F6683-7179-737E-26B2-3F27CD701041}"/>
              </a:ext>
            </a:extLst>
          </p:cNvPr>
          <p:cNvCxnSpPr>
            <a:cxnSpLocks/>
          </p:cNvCxnSpPr>
          <p:nvPr/>
        </p:nvCxnSpPr>
        <p:spPr>
          <a:xfrm>
            <a:off x="9679772" y="2747506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2" name="Straight Connector 811">
            <a:extLst>
              <a:ext uri="{FF2B5EF4-FFF2-40B4-BE49-F238E27FC236}">
                <a16:creationId xmlns:a16="http://schemas.microsoft.com/office/drawing/2014/main" id="{F3F6EC40-AEE8-E153-7BD7-3439D01A27D2}"/>
              </a:ext>
            </a:extLst>
          </p:cNvPr>
          <p:cNvCxnSpPr>
            <a:cxnSpLocks/>
          </p:cNvCxnSpPr>
          <p:nvPr/>
        </p:nvCxnSpPr>
        <p:spPr>
          <a:xfrm>
            <a:off x="9675455" y="2747065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3" name="Straight Connector 812">
            <a:extLst>
              <a:ext uri="{FF2B5EF4-FFF2-40B4-BE49-F238E27FC236}">
                <a16:creationId xmlns:a16="http://schemas.microsoft.com/office/drawing/2014/main" id="{103208F0-A0FF-C440-589F-3B77B94C3198}"/>
              </a:ext>
            </a:extLst>
          </p:cNvPr>
          <p:cNvCxnSpPr>
            <a:cxnSpLocks/>
          </p:cNvCxnSpPr>
          <p:nvPr/>
        </p:nvCxnSpPr>
        <p:spPr>
          <a:xfrm>
            <a:off x="9672001" y="2747065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4" name="Straight Connector 813">
            <a:extLst>
              <a:ext uri="{FF2B5EF4-FFF2-40B4-BE49-F238E27FC236}">
                <a16:creationId xmlns:a16="http://schemas.microsoft.com/office/drawing/2014/main" id="{F1BCF9FA-3425-F8CF-9163-A21752666FC6}"/>
              </a:ext>
            </a:extLst>
          </p:cNvPr>
          <p:cNvCxnSpPr>
            <a:cxnSpLocks/>
          </p:cNvCxnSpPr>
          <p:nvPr/>
        </p:nvCxnSpPr>
        <p:spPr>
          <a:xfrm>
            <a:off x="9667684" y="2748406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5" name="Straight Connector 814">
            <a:extLst>
              <a:ext uri="{FF2B5EF4-FFF2-40B4-BE49-F238E27FC236}">
                <a16:creationId xmlns:a16="http://schemas.microsoft.com/office/drawing/2014/main" id="{BE6E6679-7238-54DB-059A-189B6FBA3299}"/>
              </a:ext>
            </a:extLst>
          </p:cNvPr>
          <p:cNvCxnSpPr>
            <a:cxnSpLocks/>
          </p:cNvCxnSpPr>
          <p:nvPr/>
        </p:nvCxnSpPr>
        <p:spPr>
          <a:xfrm>
            <a:off x="9663655" y="2748414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6" name="Straight Connector 815">
            <a:extLst>
              <a:ext uri="{FF2B5EF4-FFF2-40B4-BE49-F238E27FC236}">
                <a16:creationId xmlns:a16="http://schemas.microsoft.com/office/drawing/2014/main" id="{BB16F30C-A55A-5B7C-272B-F67BD58EBD86}"/>
              </a:ext>
            </a:extLst>
          </p:cNvPr>
          <p:cNvCxnSpPr>
            <a:cxnSpLocks/>
          </p:cNvCxnSpPr>
          <p:nvPr/>
        </p:nvCxnSpPr>
        <p:spPr>
          <a:xfrm>
            <a:off x="9659338" y="2747065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7" name="Straight Connector 816">
            <a:extLst>
              <a:ext uri="{FF2B5EF4-FFF2-40B4-BE49-F238E27FC236}">
                <a16:creationId xmlns:a16="http://schemas.microsoft.com/office/drawing/2014/main" id="{7B2F9CC2-1432-FEC7-732F-CBFFAFC8D08E}"/>
              </a:ext>
            </a:extLst>
          </p:cNvPr>
          <p:cNvCxnSpPr>
            <a:cxnSpLocks/>
          </p:cNvCxnSpPr>
          <p:nvPr/>
        </p:nvCxnSpPr>
        <p:spPr>
          <a:xfrm>
            <a:off x="9655022" y="2748406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8" name="Straight Connector 817">
            <a:extLst>
              <a:ext uri="{FF2B5EF4-FFF2-40B4-BE49-F238E27FC236}">
                <a16:creationId xmlns:a16="http://schemas.microsoft.com/office/drawing/2014/main" id="{93AE5F9F-ABE3-4C34-C7CB-36E1E5E913F5}"/>
              </a:ext>
            </a:extLst>
          </p:cNvPr>
          <p:cNvCxnSpPr>
            <a:cxnSpLocks/>
          </p:cNvCxnSpPr>
          <p:nvPr/>
        </p:nvCxnSpPr>
        <p:spPr>
          <a:xfrm>
            <a:off x="9339878" y="2720258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9" name="Straight Connector 818">
            <a:extLst>
              <a:ext uri="{FF2B5EF4-FFF2-40B4-BE49-F238E27FC236}">
                <a16:creationId xmlns:a16="http://schemas.microsoft.com/office/drawing/2014/main" id="{77820A19-EC85-95C4-5BCE-429ED5C6DD31}"/>
              </a:ext>
            </a:extLst>
          </p:cNvPr>
          <p:cNvCxnSpPr>
            <a:cxnSpLocks/>
          </p:cNvCxnSpPr>
          <p:nvPr/>
        </p:nvCxnSpPr>
        <p:spPr>
          <a:xfrm>
            <a:off x="9348511" y="2720258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0" name="Straight Connector 819">
            <a:extLst>
              <a:ext uri="{FF2B5EF4-FFF2-40B4-BE49-F238E27FC236}">
                <a16:creationId xmlns:a16="http://schemas.microsoft.com/office/drawing/2014/main" id="{6D410554-358C-E630-4444-8E40AAA3400D}"/>
              </a:ext>
            </a:extLst>
          </p:cNvPr>
          <p:cNvCxnSpPr>
            <a:cxnSpLocks/>
          </p:cNvCxnSpPr>
          <p:nvPr/>
        </p:nvCxnSpPr>
        <p:spPr>
          <a:xfrm>
            <a:off x="9402906" y="2720258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1" name="Straight Connector 820">
            <a:extLst>
              <a:ext uri="{FF2B5EF4-FFF2-40B4-BE49-F238E27FC236}">
                <a16:creationId xmlns:a16="http://schemas.microsoft.com/office/drawing/2014/main" id="{4CA28731-2318-B425-CB72-3E57586C006E}"/>
              </a:ext>
            </a:extLst>
          </p:cNvPr>
          <p:cNvCxnSpPr>
            <a:cxnSpLocks/>
          </p:cNvCxnSpPr>
          <p:nvPr/>
        </p:nvCxnSpPr>
        <p:spPr>
          <a:xfrm>
            <a:off x="9397726" y="2720258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2" name="Straight Connector 821">
            <a:extLst>
              <a:ext uri="{FF2B5EF4-FFF2-40B4-BE49-F238E27FC236}">
                <a16:creationId xmlns:a16="http://schemas.microsoft.com/office/drawing/2014/main" id="{7C0337AB-1981-91A3-37D8-9BFA032DFC6E}"/>
              </a:ext>
            </a:extLst>
          </p:cNvPr>
          <p:cNvCxnSpPr>
            <a:cxnSpLocks/>
          </p:cNvCxnSpPr>
          <p:nvPr/>
        </p:nvCxnSpPr>
        <p:spPr>
          <a:xfrm>
            <a:off x="9344194" y="2720258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3" name="Straight Connector 822">
            <a:extLst>
              <a:ext uri="{FF2B5EF4-FFF2-40B4-BE49-F238E27FC236}">
                <a16:creationId xmlns:a16="http://schemas.microsoft.com/office/drawing/2014/main" id="{CDE07A78-56E5-B736-3A6C-5FE463135202}"/>
              </a:ext>
            </a:extLst>
          </p:cNvPr>
          <p:cNvCxnSpPr>
            <a:cxnSpLocks/>
          </p:cNvCxnSpPr>
          <p:nvPr/>
        </p:nvCxnSpPr>
        <p:spPr>
          <a:xfrm>
            <a:off x="9211229" y="2697857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4" name="Straight Connector 823">
            <a:extLst>
              <a:ext uri="{FF2B5EF4-FFF2-40B4-BE49-F238E27FC236}">
                <a16:creationId xmlns:a16="http://schemas.microsoft.com/office/drawing/2014/main" id="{3564B8BD-32E9-30EF-59AA-DC9D40D4D9F1}"/>
              </a:ext>
            </a:extLst>
          </p:cNvPr>
          <p:cNvCxnSpPr>
            <a:cxnSpLocks/>
          </p:cNvCxnSpPr>
          <p:nvPr/>
        </p:nvCxnSpPr>
        <p:spPr>
          <a:xfrm>
            <a:off x="9207200" y="2697857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5" name="Straight Connector 824">
            <a:extLst>
              <a:ext uri="{FF2B5EF4-FFF2-40B4-BE49-F238E27FC236}">
                <a16:creationId xmlns:a16="http://schemas.microsoft.com/office/drawing/2014/main" id="{E4D58C35-743F-46DC-FE22-798A360B0228}"/>
              </a:ext>
            </a:extLst>
          </p:cNvPr>
          <p:cNvCxnSpPr>
            <a:cxnSpLocks/>
          </p:cNvCxnSpPr>
          <p:nvPr/>
        </p:nvCxnSpPr>
        <p:spPr>
          <a:xfrm>
            <a:off x="9202020" y="2697857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6" name="Straight Connector 825">
            <a:extLst>
              <a:ext uri="{FF2B5EF4-FFF2-40B4-BE49-F238E27FC236}">
                <a16:creationId xmlns:a16="http://schemas.microsoft.com/office/drawing/2014/main" id="{C386049A-B7FC-30D0-FD2B-602ADB612C3B}"/>
              </a:ext>
            </a:extLst>
          </p:cNvPr>
          <p:cNvCxnSpPr>
            <a:cxnSpLocks/>
          </p:cNvCxnSpPr>
          <p:nvPr/>
        </p:nvCxnSpPr>
        <p:spPr>
          <a:xfrm>
            <a:off x="9141581" y="2697857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7" name="Straight Connector 826">
            <a:extLst>
              <a:ext uri="{FF2B5EF4-FFF2-40B4-BE49-F238E27FC236}">
                <a16:creationId xmlns:a16="http://schemas.microsoft.com/office/drawing/2014/main" id="{0BA1DD75-F284-D238-5760-3FCD2F776F5B}"/>
              </a:ext>
            </a:extLst>
          </p:cNvPr>
          <p:cNvCxnSpPr>
            <a:cxnSpLocks/>
          </p:cNvCxnSpPr>
          <p:nvPr/>
        </p:nvCxnSpPr>
        <p:spPr>
          <a:xfrm>
            <a:off x="9137264" y="2697857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8" name="Straight Connector 827">
            <a:extLst>
              <a:ext uri="{FF2B5EF4-FFF2-40B4-BE49-F238E27FC236}">
                <a16:creationId xmlns:a16="http://schemas.microsoft.com/office/drawing/2014/main" id="{77B49A3B-BF60-800A-9876-267D4D260EFF}"/>
              </a:ext>
            </a:extLst>
          </p:cNvPr>
          <p:cNvCxnSpPr>
            <a:cxnSpLocks/>
          </p:cNvCxnSpPr>
          <p:nvPr/>
        </p:nvCxnSpPr>
        <p:spPr>
          <a:xfrm>
            <a:off x="9131220" y="2697857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9" name="Straight Connector 828">
            <a:extLst>
              <a:ext uri="{FF2B5EF4-FFF2-40B4-BE49-F238E27FC236}">
                <a16:creationId xmlns:a16="http://schemas.microsoft.com/office/drawing/2014/main" id="{155E790B-9D31-0A3A-847C-97D553D648DB}"/>
              </a:ext>
            </a:extLst>
          </p:cNvPr>
          <p:cNvCxnSpPr>
            <a:cxnSpLocks/>
          </p:cNvCxnSpPr>
          <p:nvPr/>
        </p:nvCxnSpPr>
        <p:spPr>
          <a:xfrm>
            <a:off x="9080279" y="2683403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0" name="Straight Connector 829">
            <a:extLst>
              <a:ext uri="{FF2B5EF4-FFF2-40B4-BE49-F238E27FC236}">
                <a16:creationId xmlns:a16="http://schemas.microsoft.com/office/drawing/2014/main" id="{E8C18DDB-3472-D4FF-BF3F-0A77C913B632}"/>
              </a:ext>
            </a:extLst>
          </p:cNvPr>
          <p:cNvCxnSpPr>
            <a:cxnSpLocks/>
          </p:cNvCxnSpPr>
          <p:nvPr/>
        </p:nvCxnSpPr>
        <p:spPr>
          <a:xfrm>
            <a:off x="8971490" y="2674334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1" name="Straight Connector 830">
            <a:extLst>
              <a:ext uri="{FF2B5EF4-FFF2-40B4-BE49-F238E27FC236}">
                <a16:creationId xmlns:a16="http://schemas.microsoft.com/office/drawing/2014/main" id="{D4248320-722E-49AE-B10D-6EB5AA334BD0}"/>
              </a:ext>
            </a:extLst>
          </p:cNvPr>
          <p:cNvCxnSpPr>
            <a:cxnSpLocks/>
          </p:cNvCxnSpPr>
          <p:nvPr/>
        </p:nvCxnSpPr>
        <p:spPr>
          <a:xfrm>
            <a:off x="8966309" y="2672939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2" name="Straight Connector 831">
            <a:extLst>
              <a:ext uri="{FF2B5EF4-FFF2-40B4-BE49-F238E27FC236}">
                <a16:creationId xmlns:a16="http://schemas.microsoft.com/office/drawing/2014/main" id="{A662A644-2E11-ED41-AF39-65E273093954}"/>
              </a:ext>
            </a:extLst>
          </p:cNvPr>
          <p:cNvCxnSpPr>
            <a:cxnSpLocks/>
          </p:cNvCxnSpPr>
          <p:nvPr/>
        </p:nvCxnSpPr>
        <p:spPr>
          <a:xfrm>
            <a:off x="8888603" y="2665668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3" name="Straight Connector 832">
            <a:extLst>
              <a:ext uri="{FF2B5EF4-FFF2-40B4-BE49-F238E27FC236}">
                <a16:creationId xmlns:a16="http://schemas.microsoft.com/office/drawing/2014/main" id="{C0E218D2-7782-2A73-F570-8C1DB619A698}"/>
              </a:ext>
            </a:extLst>
          </p:cNvPr>
          <p:cNvCxnSpPr>
            <a:cxnSpLocks/>
          </p:cNvCxnSpPr>
          <p:nvPr/>
        </p:nvCxnSpPr>
        <p:spPr>
          <a:xfrm>
            <a:off x="8883559" y="2665668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4" name="Straight Connector 833">
            <a:extLst>
              <a:ext uri="{FF2B5EF4-FFF2-40B4-BE49-F238E27FC236}">
                <a16:creationId xmlns:a16="http://schemas.microsoft.com/office/drawing/2014/main" id="{00CE998F-8D6E-D072-F9C5-05A60168FE96}"/>
              </a:ext>
            </a:extLst>
          </p:cNvPr>
          <p:cNvCxnSpPr>
            <a:cxnSpLocks/>
          </p:cNvCxnSpPr>
          <p:nvPr/>
        </p:nvCxnSpPr>
        <p:spPr>
          <a:xfrm>
            <a:off x="8878334" y="2665668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5" name="Straight Connector 834">
            <a:extLst>
              <a:ext uri="{FF2B5EF4-FFF2-40B4-BE49-F238E27FC236}">
                <a16:creationId xmlns:a16="http://schemas.microsoft.com/office/drawing/2014/main" id="{57C2A4C6-970D-B9D4-781B-BB8CEB977F76}"/>
              </a:ext>
            </a:extLst>
          </p:cNvPr>
          <p:cNvCxnSpPr>
            <a:cxnSpLocks/>
          </p:cNvCxnSpPr>
          <p:nvPr/>
        </p:nvCxnSpPr>
        <p:spPr>
          <a:xfrm>
            <a:off x="8874017" y="2665668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6" name="Straight Connector 835">
            <a:extLst>
              <a:ext uri="{FF2B5EF4-FFF2-40B4-BE49-F238E27FC236}">
                <a16:creationId xmlns:a16="http://schemas.microsoft.com/office/drawing/2014/main" id="{1B92D81A-5401-6AB9-C78C-0E974B693573}"/>
              </a:ext>
            </a:extLst>
          </p:cNvPr>
          <p:cNvCxnSpPr>
            <a:cxnSpLocks/>
          </p:cNvCxnSpPr>
          <p:nvPr/>
        </p:nvCxnSpPr>
        <p:spPr>
          <a:xfrm>
            <a:off x="8843130" y="2667062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7" name="Straight Connector 836">
            <a:extLst>
              <a:ext uri="{FF2B5EF4-FFF2-40B4-BE49-F238E27FC236}">
                <a16:creationId xmlns:a16="http://schemas.microsoft.com/office/drawing/2014/main" id="{A60AF121-A6DA-518C-C7D7-2F6936038B71}"/>
              </a:ext>
            </a:extLst>
          </p:cNvPr>
          <p:cNvCxnSpPr>
            <a:cxnSpLocks/>
          </p:cNvCxnSpPr>
          <p:nvPr/>
        </p:nvCxnSpPr>
        <p:spPr>
          <a:xfrm>
            <a:off x="8836222" y="2667062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8" name="Straight Connector 837">
            <a:extLst>
              <a:ext uri="{FF2B5EF4-FFF2-40B4-BE49-F238E27FC236}">
                <a16:creationId xmlns:a16="http://schemas.microsoft.com/office/drawing/2014/main" id="{467E95FF-5806-BCAD-556C-04651776B1B4}"/>
              </a:ext>
            </a:extLst>
          </p:cNvPr>
          <p:cNvCxnSpPr>
            <a:cxnSpLocks/>
          </p:cNvCxnSpPr>
          <p:nvPr/>
        </p:nvCxnSpPr>
        <p:spPr>
          <a:xfrm>
            <a:off x="8743838" y="2667062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9" name="Straight Connector 838">
            <a:extLst>
              <a:ext uri="{FF2B5EF4-FFF2-40B4-BE49-F238E27FC236}">
                <a16:creationId xmlns:a16="http://schemas.microsoft.com/office/drawing/2014/main" id="{EE7BFF8E-F344-BD87-E008-1EC00CE9DE05}"/>
              </a:ext>
            </a:extLst>
          </p:cNvPr>
          <p:cNvCxnSpPr>
            <a:cxnSpLocks/>
          </p:cNvCxnSpPr>
          <p:nvPr/>
        </p:nvCxnSpPr>
        <p:spPr>
          <a:xfrm>
            <a:off x="8739521" y="2667062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0" name="Straight Connector 839">
            <a:extLst>
              <a:ext uri="{FF2B5EF4-FFF2-40B4-BE49-F238E27FC236}">
                <a16:creationId xmlns:a16="http://schemas.microsoft.com/office/drawing/2014/main" id="{C68A0F0D-1FBD-7427-F6A0-8260CD3B1AE7}"/>
              </a:ext>
            </a:extLst>
          </p:cNvPr>
          <p:cNvCxnSpPr>
            <a:cxnSpLocks/>
          </p:cNvCxnSpPr>
          <p:nvPr/>
        </p:nvCxnSpPr>
        <p:spPr>
          <a:xfrm>
            <a:off x="8733477" y="2667062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1" name="Straight Connector 840">
            <a:extLst>
              <a:ext uri="{FF2B5EF4-FFF2-40B4-BE49-F238E27FC236}">
                <a16:creationId xmlns:a16="http://schemas.microsoft.com/office/drawing/2014/main" id="{5E3767D8-4E23-E1FC-4F5D-04268D73ED77}"/>
              </a:ext>
            </a:extLst>
          </p:cNvPr>
          <p:cNvCxnSpPr>
            <a:cxnSpLocks/>
          </p:cNvCxnSpPr>
          <p:nvPr/>
        </p:nvCxnSpPr>
        <p:spPr>
          <a:xfrm>
            <a:off x="8550722" y="2633258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2" name="Straight Connector 841">
            <a:extLst>
              <a:ext uri="{FF2B5EF4-FFF2-40B4-BE49-F238E27FC236}">
                <a16:creationId xmlns:a16="http://schemas.microsoft.com/office/drawing/2014/main" id="{337DC43D-32E1-770F-DF2A-3F41BB2A9745}"/>
              </a:ext>
            </a:extLst>
          </p:cNvPr>
          <p:cNvCxnSpPr>
            <a:cxnSpLocks/>
          </p:cNvCxnSpPr>
          <p:nvPr/>
        </p:nvCxnSpPr>
        <p:spPr>
          <a:xfrm>
            <a:off x="8545542" y="2633146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3" name="Straight Connector 842">
            <a:extLst>
              <a:ext uri="{FF2B5EF4-FFF2-40B4-BE49-F238E27FC236}">
                <a16:creationId xmlns:a16="http://schemas.microsoft.com/office/drawing/2014/main" id="{9658F363-E405-AB08-24A7-9A891DEDC60E}"/>
              </a:ext>
            </a:extLst>
          </p:cNvPr>
          <p:cNvCxnSpPr>
            <a:cxnSpLocks/>
          </p:cNvCxnSpPr>
          <p:nvPr/>
        </p:nvCxnSpPr>
        <p:spPr>
          <a:xfrm>
            <a:off x="8367968" y="2612743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4" name="Straight Connector 843">
            <a:extLst>
              <a:ext uri="{FF2B5EF4-FFF2-40B4-BE49-F238E27FC236}">
                <a16:creationId xmlns:a16="http://schemas.microsoft.com/office/drawing/2014/main" id="{59F6FA26-365C-C8A1-E8E8-FCABEFD26540}"/>
              </a:ext>
            </a:extLst>
          </p:cNvPr>
          <p:cNvCxnSpPr>
            <a:cxnSpLocks/>
          </p:cNvCxnSpPr>
          <p:nvPr/>
        </p:nvCxnSpPr>
        <p:spPr>
          <a:xfrm>
            <a:off x="8362787" y="2612743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5" name="Straight Connector 844">
            <a:extLst>
              <a:ext uri="{FF2B5EF4-FFF2-40B4-BE49-F238E27FC236}">
                <a16:creationId xmlns:a16="http://schemas.microsoft.com/office/drawing/2014/main" id="{3D085B9B-041F-3E49-4E1E-4248853F0070}"/>
              </a:ext>
            </a:extLst>
          </p:cNvPr>
          <p:cNvCxnSpPr>
            <a:cxnSpLocks/>
          </p:cNvCxnSpPr>
          <p:nvPr/>
        </p:nvCxnSpPr>
        <p:spPr>
          <a:xfrm>
            <a:off x="8047643" y="2585344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6" name="Straight Connector 845">
            <a:extLst>
              <a:ext uri="{FF2B5EF4-FFF2-40B4-BE49-F238E27FC236}">
                <a16:creationId xmlns:a16="http://schemas.microsoft.com/office/drawing/2014/main" id="{71663C1B-DC99-168F-9270-42135549FFBD}"/>
              </a:ext>
            </a:extLst>
          </p:cNvPr>
          <p:cNvCxnSpPr>
            <a:cxnSpLocks/>
          </p:cNvCxnSpPr>
          <p:nvPr/>
        </p:nvCxnSpPr>
        <p:spPr>
          <a:xfrm>
            <a:off x="8042750" y="2586431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7" name="Straight Connector 846">
            <a:extLst>
              <a:ext uri="{FF2B5EF4-FFF2-40B4-BE49-F238E27FC236}">
                <a16:creationId xmlns:a16="http://schemas.microsoft.com/office/drawing/2014/main" id="{A55064A3-FF71-7AB0-8E04-AAD3E5B2B908}"/>
              </a:ext>
            </a:extLst>
          </p:cNvPr>
          <p:cNvCxnSpPr>
            <a:cxnSpLocks/>
          </p:cNvCxnSpPr>
          <p:nvPr/>
        </p:nvCxnSpPr>
        <p:spPr>
          <a:xfrm>
            <a:off x="8036707" y="2586431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8" name="Straight Connector 847">
            <a:extLst>
              <a:ext uri="{FF2B5EF4-FFF2-40B4-BE49-F238E27FC236}">
                <a16:creationId xmlns:a16="http://schemas.microsoft.com/office/drawing/2014/main" id="{5A44E384-2ACC-C7AD-CBDF-8CB278EE2B02}"/>
              </a:ext>
            </a:extLst>
          </p:cNvPr>
          <p:cNvCxnSpPr>
            <a:cxnSpLocks/>
          </p:cNvCxnSpPr>
          <p:nvPr/>
        </p:nvCxnSpPr>
        <p:spPr>
          <a:xfrm>
            <a:off x="7691343" y="2535555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9" name="Straight Connector 848">
            <a:extLst>
              <a:ext uri="{FF2B5EF4-FFF2-40B4-BE49-F238E27FC236}">
                <a16:creationId xmlns:a16="http://schemas.microsoft.com/office/drawing/2014/main" id="{F9851CF9-B035-6EBB-D701-244A7516BAAA}"/>
              </a:ext>
            </a:extLst>
          </p:cNvPr>
          <p:cNvCxnSpPr>
            <a:cxnSpLocks/>
          </p:cNvCxnSpPr>
          <p:nvPr/>
        </p:nvCxnSpPr>
        <p:spPr>
          <a:xfrm>
            <a:off x="7684724" y="2536248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0" name="Straight Connector 849">
            <a:extLst>
              <a:ext uri="{FF2B5EF4-FFF2-40B4-BE49-F238E27FC236}">
                <a16:creationId xmlns:a16="http://schemas.microsoft.com/office/drawing/2014/main" id="{8E8AD598-F57E-FDEA-C481-F5037EBD4A2E}"/>
              </a:ext>
            </a:extLst>
          </p:cNvPr>
          <p:cNvCxnSpPr>
            <a:cxnSpLocks/>
          </p:cNvCxnSpPr>
          <p:nvPr/>
        </p:nvCxnSpPr>
        <p:spPr>
          <a:xfrm>
            <a:off x="7679831" y="2534854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1" name="Straight Connector 850">
            <a:extLst>
              <a:ext uri="{FF2B5EF4-FFF2-40B4-BE49-F238E27FC236}">
                <a16:creationId xmlns:a16="http://schemas.microsoft.com/office/drawing/2014/main" id="{752E7C84-BFA2-AF4F-EF58-DB311D963E04}"/>
              </a:ext>
            </a:extLst>
          </p:cNvPr>
          <p:cNvCxnSpPr>
            <a:cxnSpLocks/>
          </p:cNvCxnSpPr>
          <p:nvPr/>
        </p:nvCxnSpPr>
        <p:spPr>
          <a:xfrm>
            <a:off x="7417643" y="2447265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2" name="Straight Connector 851">
            <a:extLst>
              <a:ext uri="{FF2B5EF4-FFF2-40B4-BE49-F238E27FC236}">
                <a16:creationId xmlns:a16="http://schemas.microsoft.com/office/drawing/2014/main" id="{E024052D-ED44-6D59-EDE1-805CA2677B7C}"/>
              </a:ext>
            </a:extLst>
          </p:cNvPr>
          <p:cNvCxnSpPr>
            <a:cxnSpLocks/>
          </p:cNvCxnSpPr>
          <p:nvPr/>
        </p:nvCxnSpPr>
        <p:spPr>
          <a:xfrm>
            <a:off x="7413326" y="2447265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3" name="Straight Connector 852">
            <a:extLst>
              <a:ext uri="{FF2B5EF4-FFF2-40B4-BE49-F238E27FC236}">
                <a16:creationId xmlns:a16="http://schemas.microsoft.com/office/drawing/2014/main" id="{F87C3DD6-C999-880B-7126-C13A38183820}"/>
              </a:ext>
            </a:extLst>
          </p:cNvPr>
          <p:cNvCxnSpPr>
            <a:cxnSpLocks/>
          </p:cNvCxnSpPr>
          <p:nvPr/>
        </p:nvCxnSpPr>
        <p:spPr>
          <a:xfrm>
            <a:off x="7409009" y="2447265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4" name="Straight Connector 853">
            <a:extLst>
              <a:ext uri="{FF2B5EF4-FFF2-40B4-BE49-F238E27FC236}">
                <a16:creationId xmlns:a16="http://schemas.microsoft.com/office/drawing/2014/main" id="{65E26F4B-AC8D-CA08-AD2A-7FB732D51B64}"/>
              </a:ext>
            </a:extLst>
          </p:cNvPr>
          <p:cNvCxnSpPr>
            <a:cxnSpLocks/>
          </p:cNvCxnSpPr>
          <p:nvPr/>
        </p:nvCxnSpPr>
        <p:spPr>
          <a:xfrm>
            <a:off x="7404692" y="2447265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5" name="Straight Connector 854">
            <a:extLst>
              <a:ext uri="{FF2B5EF4-FFF2-40B4-BE49-F238E27FC236}">
                <a16:creationId xmlns:a16="http://schemas.microsoft.com/office/drawing/2014/main" id="{5DB5A137-67F8-904E-5FBF-583B7D78F808}"/>
              </a:ext>
            </a:extLst>
          </p:cNvPr>
          <p:cNvCxnSpPr>
            <a:cxnSpLocks/>
          </p:cNvCxnSpPr>
          <p:nvPr/>
        </p:nvCxnSpPr>
        <p:spPr>
          <a:xfrm>
            <a:off x="7400375" y="2446883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6" name="Straight Connector 855">
            <a:extLst>
              <a:ext uri="{FF2B5EF4-FFF2-40B4-BE49-F238E27FC236}">
                <a16:creationId xmlns:a16="http://schemas.microsoft.com/office/drawing/2014/main" id="{ADDC3DCF-EE44-8E0E-82F6-758F9BD0ADCE}"/>
              </a:ext>
            </a:extLst>
          </p:cNvPr>
          <p:cNvCxnSpPr>
            <a:cxnSpLocks/>
          </p:cNvCxnSpPr>
          <p:nvPr/>
        </p:nvCxnSpPr>
        <p:spPr>
          <a:xfrm>
            <a:off x="7389151" y="2442462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7" name="Straight Connector 856">
            <a:extLst>
              <a:ext uri="{FF2B5EF4-FFF2-40B4-BE49-F238E27FC236}">
                <a16:creationId xmlns:a16="http://schemas.microsoft.com/office/drawing/2014/main" id="{984629DA-EF32-F148-394D-9AF0B219D049}"/>
              </a:ext>
            </a:extLst>
          </p:cNvPr>
          <p:cNvCxnSpPr>
            <a:cxnSpLocks/>
          </p:cNvCxnSpPr>
          <p:nvPr/>
        </p:nvCxnSpPr>
        <p:spPr>
          <a:xfrm>
            <a:off x="7384833" y="2442699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8" name="Straight Connector 857">
            <a:extLst>
              <a:ext uri="{FF2B5EF4-FFF2-40B4-BE49-F238E27FC236}">
                <a16:creationId xmlns:a16="http://schemas.microsoft.com/office/drawing/2014/main" id="{1C26F443-270E-71FC-49D5-8A6D82B114DA}"/>
              </a:ext>
            </a:extLst>
          </p:cNvPr>
          <p:cNvCxnSpPr>
            <a:cxnSpLocks/>
          </p:cNvCxnSpPr>
          <p:nvPr/>
        </p:nvCxnSpPr>
        <p:spPr>
          <a:xfrm>
            <a:off x="7380517" y="2443081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9" name="Straight Connector 858">
            <a:extLst>
              <a:ext uri="{FF2B5EF4-FFF2-40B4-BE49-F238E27FC236}">
                <a16:creationId xmlns:a16="http://schemas.microsoft.com/office/drawing/2014/main" id="{27834114-FFAF-DB8E-3E30-42764FB3FE14}"/>
              </a:ext>
            </a:extLst>
          </p:cNvPr>
          <p:cNvCxnSpPr>
            <a:cxnSpLocks/>
          </p:cNvCxnSpPr>
          <p:nvPr/>
        </p:nvCxnSpPr>
        <p:spPr>
          <a:xfrm>
            <a:off x="7376199" y="2442462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0" name="Straight Connector 859">
            <a:extLst>
              <a:ext uri="{FF2B5EF4-FFF2-40B4-BE49-F238E27FC236}">
                <a16:creationId xmlns:a16="http://schemas.microsoft.com/office/drawing/2014/main" id="{4C2CC317-2C2D-B895-8FD3-68FFE2ED1707}"/>
              </a:ext>
            </a:extLst>
          </p:cNvPr>
          <p:cNvCxnSpPr>
            <a:cxnSpLocks/>
          </p:cNvCxnSpPr>
          <p:nvPr/>
        </p:nvCxnSpPr>
        <p:spPr>
          <a:xfrm>
            <a:off x="7373609" y="2439674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1" name="Straight Connector 860">
            <a:extLst>
              <a:ext uri="{FF2B5EF4-FFF2-40B4-BE49-F238E27FC236}">
                <a16:creationId xmlns:a16="http://schemas.microsoft.com/office/drawing/2014/main" id="{10465484-157E-C14B-BBB0-598D7EA06F8D}"/>
              </a:ext>
            </a:extLst>
          </p:cNvPr>
          <p:cNvCxnSpPr>
            <a:cxnSpLocks/>
          </p:cNvCxnSpPr>
          <p:nvPr/>
        </p:nvCxnSpPr>
        <p:spPr>
          <a:xfrm>
            <a:off x="7370156" y="2439674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2" name="Straight Connector 861">
            <a:extLst>
              <a:ext uri="{FF2B5EF4-FFF2-40B4-BE49-F238E27FC236}">
                <a16:creationId xmlns:a16="http://schemas.microsoft.com/office/drawing/2014/main" id="{8849B3F8-B219-4A26-6553-2DC52C78DB58}"/>
              </a:ext>
            </a:extLst>
          </p:cNvPr>
          <p:cNvCxnSpPr>
            <a:cxnSpLocks/>
          </p:cNvCxnSpPr>
          <p:nvPr/>
        </p:nvCxnSpPr>
        <p:spPr>
          <a:xfrm>
            <a:off x="7365165" y="2438279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3" name="Straight Connector 862">
            <a:extLst>
              <a:ext uri="{FF2B5EF4-FFF2-40B4-BE49-F238E27FC236}">
                <a16:creationId xmlns:a16="http://schemas.microsoft.com/office/drawing/2014/main" id="{F6CDA40C-3BFB-785B-6423-D69C14A2557D}"/>
              </a:ext>
            </a:extLst>
          </p:cNvPr>
          <p:cNvCxnSpPr>
            <a:cxnSpLocks/>
          </p:cNvCxnSpPr>
          <p:nvPr/>
        </p:nvCxnSpPr>
        <p:spPr>
          <a:xfrm>
            <a:off x="7359121" y="2428902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4" name="Straight Connector 863">
            <a:extLst>
              <a:ext uri="{FF2B5EF4-FFF2-40B4-BE49-F238E27FC236}">
                <a16:creationId xmlns:a16="http://schemas.microsoft.com/office/drawing/2014/main" id="{5EAA9C1B-0BA1-33CB-221C-60AC185FB8F5}"/>
              </a:ext>
            </a:extLst>
          </p:cNvPr>
          <p:cNvCxnSpPr>
            <a:cxnSpLocks/>
          </p:cNvCxnSpPr>
          <p:nvPr/>
        </p:nvCxnSpPr>
        <p:spPr>
          <a:xfrm>
            <a:off x="7355335" y="2428890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5" name="Straight Connector 864">
            <a:extLst>
              <a:ext uri="{FF2B5EF4-FFF2-40B4-BE49-F238E27FC236}">
                <a16:creationId xmlns:a16="http://schemas.microsoft.com/office/drawing/2014/main" id="{19FD059B-1437-9BE1-E5CF-5CAEFD643DCE}"/>
              </a:ext>
            </a:extLst>
          </p:cNvPr>
          <p:cNvCxnSpPr>
            <a:cxnSpLocks/>
          </p:cNvCxnSpPr>
          <p:nvPr/>
        </p:nvCxnSpPr>
        <p:spPr>
          <a:xfrm>
            <a:off x="7351161" y="2428890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6" name="Straight Connector 865">
            <a:extLst>
              <a:ext uri="{FF2B5EF4-FFF2-40B4-BE49-F238E27FC236}">
                <a16:creationId xmlns:a16="http://schemas.microsoft.com/office/drawing/2014/main" id="{03E6E87E-BB32-FBDC-36CA-3C0718119D62}"/>
              </a:ext>
            </a:extLst>
          </p:cNvPr>
          <p:cNvCxnSpPr>
            <a:cxnSpLocks/>
          </p:cNvCxnSpPr>
          <p:nvPr/>
        </p:nvCxnSpPr>
        <p:spPr>
          <a:xfrm>
            <a:off x="7181932" y="2398096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7" name="Straight Connector 866">
            <a:extLst>
              <a:ext uri="{FF2B5EF4-FFF2-40B4-BE49-F238E27FC236}">
                <a16:creationId xmlns:a16="http://schemas.microsoft.com/office/drawing/2014/main" id="{7009C11B-407D-6299-E007-DB9D12047D22}"/>
              </a:ext>
            </a:extLst>
          </p:cNvPr>
          <p:cNvCxnSpPr>
            <a:cxnSpLocks/>
          </p:cNvCxnSpPr>
          <p:nvPr/>
        </p:nvCxnSpPr>
        <p:spPr>
          <a:xfrm>
            <a:off x="7177616" y="2398096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8" name="Straight Connector 867">
            <a:extLst>
              <a:ext uri="{FF2B5EF4-FFF2-40B4-BE49-F238E27FC236}">
                <a16:creationId xmlns:a16="http://schemas.microsoft.com/office/drawing/2014/main" id="{A7E2AF7F-47A9-493B-1CA3-1FB0B9C75886}"/>
              </a:ext>
            </a:extLst>
          </p:cNvPr>
          <p:cNvCxnSpPr>
            <a:cxnSpLocks/>
          </p:cNvCxnSpPr>
          <p:nvPr/>
        </p:nvCxnSpPr>
        <p:spPr>
          <a:xfrm>
            <a:off x="7173298" y="2398096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9" name="Straight Connector 868">
            <a:extLst>
              <a:ext uri="{FF2B5EF4-FFF2-40B4-BE49-F238E27FC236}">
                <a16:creationId xmlns:a16="http://schemas.microsoft.com/office/drawing/2014/main" id="{24E23F48-A37E-AE0E-8A90-827B171D9379}"/>
              </a:ext>
            </a:extLst>
          </p:cNvPr>
          <p:cNvCxnSpPr>
            <a:cxnSpLocks/>
          </p:cNvCxnSpPr>
          <p:nvPr/>
        </p:nvCxnSpPr>
        <p:spPr>
          <a:xfrm>
            <a:off x="6930681" y="2336105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0" name="Straight Connector 869">
            <a:extLst>
              <a:ext uri="{FF2B5EF4-FFF2-40B4-BE49-F238E27FC236}">
                <a16:creationId xmlns:a16="http://schemas.microsoft.com/office/drawing/2014/main" id="{357E6E32-1488-F3C4-083B-32BEB9A2EBFC}"/>
              </a:ext>
            </a:extLst>
          </p:cNvPr>
          <p:cNvCxnSpPr>
            <a:cxnSpLocks/>
          </p:cNvCxnSpPr>
          <p:nvPr/>
        </p:nvCxnSpPr>
        <p:spPr>
          <a:xfrm>
            <a:off x="6926364" y="2336105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1" name="Straight Connector 870">
            <a:extLst>
              <a:ext uri="{FF2B5EF4-FFF2-40B4-BE49-F238E27FC236}">
                <a16:creationId xmlns:a16="http://schemas.microsoft.com/office/drawing/2014/main" id="{BDD3668A-6BC4-8DE7-9588-2FA15C2F5DDE}"/>
              </a:ext>
            </a:extLst>
          </p:cNvPr>
          <p:cNvCxnSpPr>
            <a:cxnSpLocks/>
          </p:cNvCxnSpPr>
          <p:nvPr/>
        </p:nvCxnSpPr>
        <p:spPr>
          <a:xfrm>
            <a:off x="6922334" y="2336105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2" name="Straight Connector 871">
            <a:extLst>
              <a:ext uri="{FF2B5EF4-FFF2-40B4-BE49-F238E27FC236}">
                <a16:creationId xmlns:a16="http://schemas.microsoft.com/office/drawing/2014/main" id="{6D4C588C-666A-62FE-678B-F9A7AFE6BE75}"/>
              </a:ext>
            </a:extLst>
          </p:cNvPr>
          <p:cNvCxnSpPr>
            <a:cxnSpLocks/>
          </p:cNvCxnSpPr>
          <p:nvPr/>
        </p:nvCxnSpPr>
        <p:spPr>
          <a:xfrm>
            <a:off x="6918881" y="2336105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3" name="Straight Connector 872">
            <a:extLst>
              <a:ext uri="{FF2B5EF4-FFF2-40B4-BE49-F238E27FC236}">
                <a16:creationId xmlns:a16="http://schemas.microsoft.com/office/drawing/2014/main" id="{1935CE89-29D2-6906-F48E-557E8CB70508}"/>
              </a:ext>
            </a:extLst>
          </p:cNvPr>
          <p:cNvCxnSpPr>
            <a:cxnSpLocks/>
          </p:cNvCxnSpPr>
          <p:nvPr/>
        </p:nvCxnSpPr>
        <p:spPr>
          <a:xfrm>
            <a:off x="6914564" y="2336105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4" name="Straight Connector 873">
            <a:extLst>
              <a:ext uri="{FF2B5EF4-FFF2-40B4-BE49-F238E27FC236}">
                <a16:creationId xmlns:a16="http://schemas.microsoft.com/office/drawing/2014/main" id="{EEBA70A7-3A11-AD50-9E15-DCFA11EF47BE}"/>
              </a:ext>
            </a:extLst>
          </p:cNvPr>
          <p:cNvCxnSpPr>
            <a:cxnSpLocks/>
          </p:cNvCxnSpPr>
          <p:nvPr/>
        </p:nvCxnSpPr>
        <p:spPr>
          <a:xfrm>
            <a:off x="6911110" y="2336105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5" name="Straight Connector 874">
            <a:extLst>
              <a:ext uri="{FF2B5EF4-FFF2-40B4-BE49-F238E27FC236}">
                <a16:creationId xmlns:a16="http://schemas.microsoft.com/office/drawing/2014/main" id="{85B63E28-7439-1F1A-2F7C-2A62ABCAD95E}"/>
              </a:ext>
            </a:extLst>
          </p:cNvPr>
          <p:cNvCxnSpPr>
            <a:cxnSpLocks/>
          </p:cNvCxnSpPr>
          <p:nvPr/>
        </p:nvCxnSpPr>
        <p:spPr>
          <a:xfrm>
            <a:off x="6897295" y="2336105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6" name="Straight Connector 875">
            <a:extLst>
              <a:ext uri="{FF2B5EF4-FFF2-40B4-BE49-F238E27FC236}">
                <a16:creationId xmlns:a16="http://schemas.microsoft.com/office/drawing/2014/main" id="{6B9FB6AF-AFE8-22B3-0E3D-F480EC901744}"/>
              </a:ext>
            </a:extLst>
          </p:cNvPr>
          <p:cNvCxnSpPr>
            <a:cxnSpLocks/>
          </p:cNvCxnSpPr>
          <p:nvPr/>
        </p:nvCxnSpPr>
        <p:spPr>
          <a:xfrm>
            <a:off x="6892979" y="2336105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7" name="Straight Connector 876">
            <a:extLst>
              <a:ext uri="{FF2B5EF4-FFF2-40B4-BE49-F238E27FC236}">
                <a16:creationId xmlns:a16="http://schemas.microsoft.com/office/drawing/2014/main" id="{4CB750AE-D8DC-3247-C9A4-5D22CBDEA729}"/>
              </a:ext>
            </a:extLst>
          </p:cNvPr>
          <p:cNvCxnSpPr>
            <a:cxnSpLocks/>
          </p:cNvCxnSpPr>
          <p:nvPr/>
        </p:nvCxnSpPr>
        <p:spPr>
          <a:xfrm>
            <a:off x="6798004" y="2305310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8" name="Straight Connector 877">
            <a:extLst>
              <a:ext uri="{FF2B5EF4-FFF2-40B4-BE49-F238E27FC236}">
                <a16:creationId xmlns:a16="http://schemas.microsoft.com/office/drawing/2014/main" id="{09491FE4-BCFB-332B-E21C-B261B1CFC16C}"/>
              </a:ext>
            </a:extLst>
          </p:cNvPr>
          <p:cNvCxnSpPr>
            <a:cxnSpLocks/>
          </p:cNvCxnSpPr>
          <p:nvPr/>
        </p:nvCxnSpPr>
        <p:spPr>
          <a:xfrm>
            <a:off x="6889525" y="2336105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9" name="Straight Connector 878">
            <a:extLst>
              <a:ext uri="{FF2B5EF4-FFF2-40B4-BE49-F238E27FC236}">
                <a16:creationId xmlns:a16="http://schemas.microsoft.com/office/drawing/2014/main" id="{D4AFAF8C-4467-FC00-353C-49C9A5098240}"/>
              </a:ext>
            </a:extLst>
          </p:cNvPr>
          <p:cNvCxnSpPr>
            <a:cxnSpLocks/>
          </p:cNvCxnSpPr>
          <p:nvPr/>
        </p:nvCxnSpPr>
        <p:spPr>
          <a:xfrm>
            <a:off x="6886071" y="2336105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0" name="Straight Connector 879">
            <a:extLst>
              <a:ext uri="{FF2B5EF4-FFF2-40B4-BE49-F238E27FC236}">
                <a16:creationId xmlns:a16="http://schemas.microsoft.com/office/drawing/2014/main" id="{ECFAD9DC-5C4E-84A9-56A7-39E3E26D9CA0}"/>
              </a:ext>
            </a:extLst>
          </p:cNvPr>
          <p:cNvCxnSpPr>
            <a:cxnSpLocks/>
          </p:cNvCxnSpPr>
          <p:nvPr/>
        </p:nvCxnSpPr>
        <p:spPr>
          <a:xfrm>
            <a:off x="6881754" y="2324022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1" name="Straight Connector 880">
            <a:extLst>
              <a:ext uri="{FF2B5EF4-FFF2-40B4-BE49-F238E27FC236}">
                <a16:creationId xmlns:a16="http://schemas.microsoft.com/office/drawing/2014/main" id="{FDFBEDB8-F0D6-3519-A640-D7A14AA0D22B}"/>
              </a:ext>
            </a:extLst>
          </p:cNvPr>
          <p:cNvCxnSpPr>
            <a:cxnSpLocks/>
          </p:cNvCxnSpPr>
          <p:nvPr/>
        </p:nvCxnSpPr>
        <p:spPr>
          <a:xfrm>
            <a:off x="6877437" y="2324020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2" name="Straight Connector 881">
            <a:extLst>
              <a:ext uri="{FF2B5EF4-FFF2-40B4-BE49-F238E27FC236}">
                <a16:creationId xmlns:a16="http://schemas.microsoft.com/office/drawing/2014/main" id="{A309F475-4650-0424-B1FC-465A3FB4AB4A}"/>
              </a:ext>
            </a:extLst>
          </p:cNvPr>
          <p:cNvCxnSpPr>
            <a:cxnSpLocks/>
          </p:cNvCxnSpPr>
          <p:nvPr/>
        </p:nvCxnSpPr>
        <p:spPr>
          <a:xfrm>
            <a:off x="6802321" y="2305563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3" name="Straight Connector 882">
            <a:extLst>
              <a:ext uri="{FF2B5EF4-FFF2-40B4-BE49-F238E27FC236}">
                <a16:creationId xmlns:a16="http://schemas.microsoft.com/office/drawing/2014/main" id="{09A96C11-0711-1145-D375-BE2CC52263C5}"/>
              </a:ext>
            </a:extLst>
          </p:cNvPr>
          <p:cNvCxnSpPr>
            <a:cxnSpLocks/>
          </p:cNvCxnSpPr>
          <p:nvPr/>
        </p:nvCxnSpPr>
        <p:spPr>
          <a:xfrm>
            <a:off x="6806638" y="2305562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4" name="Straight Connector 883">
            <a:extLst>
              <a:ext uri="{FF2B5EF4-FFF2-40B4-BE49-F238E27FC236}">
                <a16:creationId xmlns:a16="http://schemas.microsoft.com/office/drawing/2014/main" id="{93370224-4588-F2B1-C824-46FF47A4D69F}"/>
              </a:ext>
            </a:extLst>
          </p:cNvPr>
          <p:cNvCxnSpPr>
            <a:cxnSpLocks/>
          </p:cNvCxnSpPr>
          <p:nvPr/>
        </p:nvCxnSpPr>
        <p:spPr>
          <a:xfrm>
            <a:off x="6810955" y="2305310"/>
            <a:ext cx="0" cy="6159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5" name="Straight Connector 884">
            <a:extLst>
              <a:ext uri="{FF2B5EF4-FFF2-40B4-BE49-F238E27FC236}">
                <a16:creationId xmlns:a16="http://schemas.microsoft.com/office/drawing/2014/main" id="{5B131CD6-102A-1D77-870F-903741FACEBB}"/>
              </a:ext>
            </a:extLst>
          </p:cNvPr>
          <p:cNvCxnSpPr>
            <a:cxnSpLocks/>
          </p:cNvCxnSpPr>
          <p:nvPr/>
        </p:nvCxnSpPr>
        <p:spPr>
          <a:xfrm>
            <a:off x="10636532" y="2782484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6" name="Straight Connector 885">
            <a:extLst>
              <a:ext uri="{FF2B5EF4-FFF2-40B4-BE49-F238E27FC236}">
                <a16:creationId xmlns:a16="http://schemas.microsoft.com/office/drawing/2014/main" id="{01AE16D5-2933-AD0F-D5FC-1DB41B425184}"/>
              </a:ext>
            </a:extLst>
          </p:cNvPr>
          <p:cNvCxnSpPr>
            <a:cxnSpLocks/>
          </p:cNvCxnSpPr>
          <p:nvPr/>
        </p:nvCxnSpPr>
        <p:spPr>
          <a:xfrm>
            <a:off x="10632503" y="2783198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7" name="Straight Connector 886">
            <a:extLst>
              <a:ext uri="{FF2B5EF4-FFF2-40B4-BE49-F238E27FC236}">
                <a16:creationId xmlns:a16="http://schemas.microsoft.com/office/drawing/2014/main" id="{A6B803CC-6CA5-7E03-886B-600E3A50877D}"/>
              </a:ext>
            </a:extLst>
          </p:cNvPr>
          <p:cNvCxnSpPr>
            <a:cxnSpLocks/>
          </p:cNvCxnSpPr>
          <p:nvPr/>
        </p:nvCxnSpPr>
        <p:spPr>
          <a:xfrm>
            <a:off x="10627322" y="2782262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8" name="Straight Connector 887">
            <a:extLst>
              <a:ext uri="{FF2B5EF4-FFF2-40B4-BE49-F238E27FC236}">
                <a16:creationId xmlns:a16="http://schemas.microsoft.com/office/drawing/2014/main" id="{2CB0CA5E-1C9F-0809-793D-529B6346B116}"/>
              </a:ext>
            </a:extLst>
          </p:cNvPr>
          <p:cNvCxnSpPr>
            <a:cxnSpLocks/>
          </p:cNvCxnSpPr>
          <p:nvPr/>
        </p:nvCxnSpPr>
        <p:spPr>
          <a:xfrm>
            <a:off x="10436509" y="2779014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9" name="Straight Connector 888">
            <a:extLst>
              <a:ext uri="{FF2B5EF4-FFF2-40B4-BE49-F238E27FC236}">
                <a16:creationId xmlns:a16="http://schemas.microsoft.com/office/drawing/2014/main" id="{AB5D16FC-4954-2107-6B47-0E0433E50187}"/>
              </a:ext>
            </a:extLst>
          </p:cNvPr>
          <p:cNvCxnSpPr>
            <a:cxnSpLocks/>
          </p:cNvCxnSpPr>
          <p:nvPr/>
        </p:nvCxnSpPr>
        <p:spPr>
          <a:xfrm>
            <a:off x="10433055" y="2779014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0" name="Straight Connector 889">
            <a:extLst>
              <a:ext uri="{FF2B5EF4-FFF2-40B4-BE49-F238E27FC236}">
                <a16:creationId xmlns:a16="http://schemas.microsoft.com/office/drawing/2014/main" id="{D5FF2AC2-32DC-6311-A828-BB611C2FD0BC}"/>
              </a:ext>
            </a:extLst>
          </p:cNvPr>
          <p:cNvCxnSpPr>
            <a:cxnSpLocks/>
          </p:cNvCxnSpPr>
          <p:nvPr/>
        </p:nvCxnSpPr>
        <p:spPr>
          <a:xfrm>
            <a:off x="10428738" y="2779014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1" name="Straight Connector 890">
            <a:extLst>
              <a:ext uri="{FF2B5EF4-FFF2-40B4-BE49-F238E27FC236}">
                <a16:creationId xmlns:a16="http://schemas.microsoft.com/office/drawing/2014/main" id="{55B77F10-4E73-4DA3-5F7C-25D81937F48C}"/>
              </a:ext>
            </a:extLst>
          </p:cNvPr>
          <p:cNvCxnSpPr>
            <a:cxnSpLocks/>
          </p:cNvCxnSpPr>
          <p:nvPr/>
        </p:nvCxnSpPr>
        <p:spPr>
          <a:xfrm>
            <a:off x="10424421" y="2779014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2" name="Straight Connector 891">
            <a:extLst>
              <a:ext uri="{FF2B5EF4-FFF2-40B4-BE49-F238E27FC236}">
                <a16:creationId xmlns:a16="http://schemas.microsoft.com/office/drawing/2014/main" id="{A49CE479-9AD7-1C36-746E-AA02E9AFC689}"/>
              </a:ext>
            </a:extLst>
          </p:cNvPr>
          <p:cNvCxnSpPr>
            <a:cxnSpLocks/>
          </p:cNvCxnSpPr>
          <p:nvPr/>
        </p:nvCxnSpPr>
        <p:spPr>
          <a:xfrm>
            <a:off x="10420967" y="2778181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3" name="Straight Connector 892">
            <a:extLst>
              <a:ext uri="{FF2B5EF4-FFF2-40B4-BE49-F238E27FC236}">
                <a16:creationId xmlns:a16="http://schemas.microsoft.com/office/drawing/2014/main" id="{C1D7A191-D543-30D5-0472-009863CBB5F5}"/>
              </a:ext>
            </a:extLst>
          </p:cNvPr>
          <p:cNvCxnSpPr>
            <a:cxnSpLocks/>
          </p:cNvCxnSpPr>
          <p:nvPr/>
        </p:nvCxnSpPr>
        <p:spPr>
          <a:xfrm>
            <a:off x="10333422" y="2779014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4" name="Straight Connector 893">
            <a:extLst>
              <a:ext uri="{FF2B5EF4-FFF2-40B4-BE49-F238E27FC236}">
                <a16:creationId xmlns:a16="http://schemas.microsoft.com/office/drawing/2014/main" id="{3759DDD2-044E-7EE1-305F-DBBB1E6480E9}"/>
              </a:ext>
            </a:extLst>
          </p:cNvPr>
          <p:cNvCxnSpPr>
            <a:cxnSpLocks/>
          </p:cNvCxnSpPr>
          <p:nvPr/>
        </p:nvCxnSpPr>
        <p:spPr>
          <a:xfrm>
            <a:off x="10327177" y="2779014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5" name="Straight Connector 894">
            <a:extLst>
              <a:ext uri="{FF2B5EF4-FFF2-40B4-BE49-F238E27FC236}">
                <a16:creationId xmlns:a16="http://schemas.microsoft.com/office/drawing/2014/main" id="{DCC3F085-0C9A-F445-04A9-D4286F8E0064}"/>
              </a:ext>
            </a:extLst>
          </p:cNvPr>
          <p:cNvCxnSpPr>
            <a:cxnSpLocks/>
          </p:cNvCxnSpPr>
          <p:nvPr/>
        </p:nvCxnSpPr>
        <p:spPr>
          <a:xfrm>
            <a:off x="10319694" y="2779014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6" name="Straight Connector 895">
            <a:extLst>
              <a:ext uri="{FF2B5EF4-FFF2-40B4-BE49-F238E27FC236}">
                <a16:creationId xmlns:a16="http://schemas.microsoft.com/office/drawing/2014/main" id="{44684190-6528-6D47-9124-1762F6A7D37D}"/>
              </a:ext>
            </a:extLst>
          </p:cNvPr>
          <p:cNvCxnSpPr>
            <a:cxnSpLocks/>
          </p:cNvCxnSpPr>
          <p:nvPr/>
        </p:nvCxnSpPr>
        <p:spPr>
          <a:xfrm>
            <a:off x="10315665" y="2778181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7" name="Straight Connector 896">
            <a:extLst>
              <a:ext uri="{FF2B5EF4-FFF2-40B4-BE49-F238E27FC236}">
                <a16:creationId xmlns:a16="http://schemas.microsoft.com/office/drawing/2014/main" id="{887A382C-E954-EC61-1AB2-EF4354DEC098}"/>
              </a:ext>
            </a:extLst>
          </p:cNvPr>
          <p:cNvCxnSpPr>
            <a:cxnSpLocks/>
          </p:cNvCxnSpPr>
          <p:nvPr/>
        </p:nvCxnSpPr>
        <p:spPr>
          <a:xfrm>
            <a:off x="10312211" y="2778181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8" name="Straight Connector 897">
            <a:extLst>
              <a:ext uri="{FF2B5EF4-FFF2-40B4-BE49-F238E27FC236}">
                <a16:creationId xmlns:a16="http://schemas.microsoft.com/office/drawing/2014/main" id="{04FA85D1-5069-EC33-0EEF-FE7598C9944B}"/>
              </a:ext>
            </a:extLst>
          </p:cNvPr>
          <p:cNvCxnSpPr>
            <a:cxnSpLocks/>
          </p:cNvCxnSpPr>
          <p:nvPr/>
        </p:nvCxnSpPr>
        <p:spPr>
          <a:xfrm>
            <a:off x="10307660" y="2779014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9" name="Straight Connector 898">
            <a:extLst>
              <a:ext uri="{FF2B5EF4-FFF2-40B4-BE49-F238E27FC236}">
                <a16:creationId xmlns:a16="http://schemas.microsoft.com/office/drawing/2014/main" id="{234A0191-0B14-21F9-9E8B-7E2D9C81F7DB}"/>
              </a:ext>
            </a:extLst>
          </p:cNvPr>
          <p:cNvCxnSpPr>
            <a:cxnSpLocks/>
          </p:cNvCxnSpPr>
          <p:nvPr/>
        </p:nvCxnSpPr>
        <p:spPr>
          <a:xfrm>
            <a:off x="10303290" y="2779014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0" name="Straight Connector 899">
            <a:extLst>
              <a:ext uri="{FF2B5EF4-FFF2-40B4-BE49-F238E27FC236}">
                <a16:creationId xmlns:a16="http://schemas.microsoft.com/office/drawing/2014/main" id="{5AE30980-0D28-9F42-797F-4AA65E406485}"/>
              </a:ext>
            </a:extLst>
          </p:cNvPr>
          <p:cNvCxnSpPr>
            <a:cxnSpLocks/>
          </p:cNvCxnSpPr>
          <p:nvPr/>
        </p:nvCxnSpPr>
        <p:spPr>
          <a:xfrm>
            <a:off x="10299548" y="2779014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1" name="Straight Connector 900">
            <a:extLst>
              <a:ext uri="{FF2B5EF4-FFF2-40B4-BE49-F238E27FC236}">
                <a16:creationId xmlns:a16="http://schemas.microsoft.com/office/drawing/2014/main" id="{60E994CB-C84E-B969-1FB5-0E6E51902879}"/>
              </a:ext>
            </a:extLst>
          </p:cNvPr>
          <p:cNvCxnSpPr>
            <a:cxnSpLocks/>
          </p:cNvCxnSpPr>
          <p:nvPr/>
        </p:nvCxnSpPr>
        <p:spPr>
          <a:xfrm>
            <a:off x="10295125" y="2779014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2" name="Straight Connector 901">
            <a:extLst>
              <a:ext uri="{FF2B5EF4-FFF2-40B4-BE49-F238E27FC236}">
                <a16:creationId xmlns:a16="http://schemas.microsoft.com/office/drawing/2014/main" id="{AABB8535-5C6E-84FF-8011-C2056D7A7173}"/>
              </a:ext>
            </a:extLst>
          </p:cNvPr>
          <p:cNvCxnSpPr>
            <a:cxnSpLocks/>
          </p:cNvCxnSpPr>
          <p:nvPr/>
        </p:nvCxnSpPr>
        <p:spPr>
          <a:xfrm>
            <a:off x="10291778" y="2779014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3" name="Straight Connector 902">
            <a:extLst>
              <a:ext uri="{FF2B5EF4-FFF2-40B4-BE49-F238E27FC236}">
                <a16:creationId xmlns:a16="http://schemas.microsoft.com/office/drawing/2014/main" id="{3DEEE86C-025E-E8CC-9F81-A9B49BA3C6E2}"/>
              </a:ext>
            </a:extLst>
          </p:cNvPr>
          <p:cNvCxnSpPr>
            <a:cxnSpLocks/>
          </p:cNvCxnSpPr>
          <p:nvPr/>
        </p:nvCxnSpPr>
        <p:spPr>
          <a:xfrm>
            <a:off x="10287983" y="2778889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4" name="Straight Connector 903">
            <a:extLst>
              <a:ext uri="{FF2B5EF4-FFF2-40B4-BE49-F238E27FC236}">
                <a16:creationId xmlns:a16="http://schemas.microsoft.com/office/drawing/2014/main" id="{C7FB4076-87EB-8276-B365-BADCA33155CE}"/>
              </a:ext>
            </a:extLst>
          </p:cNvPr>
          <p:cNvCxnSpPr>
            <a:cxnSpLocks/>
          </p:cNvCxnSpPr>
          <p:nvPr/>
        </p:nvCxnSpPr>
        <p:spPr>
          <a:xfrm>
            <a:off x="10284348" y="2779014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5" name="Straight Connector 904">
            <a:extLst>
              <a:ext uri="{FF2B5EF4-FFF2-40B4-BE49-F238E27FC236}">
                <a16:creationId xmlns:a16="http://schemas.microsoft.com/office/drawing/2014/main" id="{4ED4001F-0DB4-2463-88E8-CBA0EEE84EF0}"/>
              </a:ext>
            </a:extLst>
          </p:cNvPr>
          <p:cNvCxnSpPr>
            <a:cxnSpLocks/>
          </p:cNvCxnSpPr>
          <p:nvPr/>
        </p:nvCxnSpPr>
        <p:spPr>
          <a:xfrm>
            <a:off x="10281779" y="2779014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6" name="Straight Connector 905">
            <a:extLst>
              <a:ext uri="{FF2B5EF4-FFF2-40B4-BE49-F238E27FC236}">
                <a16:creationId xmlns:a16="http://schemas.microsoft.com/office/drawing/2014/main" id="{1B6E5FD3-669E-9EC8-2107-AE91A49F9E4F}"/>
              </a:ext>
            </a:extLst>
          </p:cNvPr>
          <p:cNvCxnSpPr>
            <a:cxnSpLocks/>
          </p:cNvCxnSpPr>
          <p:nvPr/>
        </p:nvCxnSpPr>
        <p:spPr>
          <a:xfrm>
            <a:off x="10278325" y="2778181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7" name="Straight Connector 906">
            <a:extLst>
              <a:ext uri="{FF2B5EF4-FFF2-40B4-BE49-F238E27FC236}">
                <a16:creationId xmlns:a16="http://schemas.microsoft.com/office/drawing/2014/main" id="{FD3748EC-E2C6-CC93-98DB-C5274B0D3938}"/>
              </a:ext>
            </a:extLst>
          </p:cNvPr>
          <p:cNvCxnSpPr>
            <a:cxnSpLocks/>
          </p:cNvCxnSpPr>
          <p:nvPr/>
        </p:nvCxnSpPr>
        <p:spPr>
          <a:xfrm>
            <a:off x="10275373" y="2778181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8" name="Straight Connector 907">
            <a:extLst>
              <a:ext uri="{FF2B5EF4-FFF2-40B4-BE49-F238E27FC236}">
                <a16:creationId xmlns:a16="http://schemas.microsoft.com/office/drawing/2014/main" id="{AF9338DA-CFFF-AFB8-2A27-20D75B4D9E6A}"/>
              </a:ext>
            </a:extLst>
          </p:cNvPr>
          <p:cNvCxnSpPr>
            <a:cxnSpLocks/>
          </p:cNvCxnSpPr>
          <p:nvPr/>
        </p:nvCxnSpPr>
        <p:spPr>
          <a:xfrm>
            <a:off x="10271419" y="2778181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9" name="Straight Connector 908">
            <a:extLst>
              <a:ext uri="{FF2B5EF4-FFF2-40B4-BE49-F238E27FC236}">
                <a16:creationId xmlns:a16="http://schemas.microsoft.com/office/drawing/2014/main" id="{48109F08-F763-99BB-4F98-92452D6A4F46}"/>
              </a:ext>
            </a:extLst>
          </p:cNvPr>
          <p:cNvCxnSpPr>
            <a:cxnSpLocks/>
          </p:cNvCxnSpPr>
          <p:nvPr/>
        </p:nvCxnSpPr>
        <p:spPr>
          <a:xfrm>
            <a:off x="10268828" y="2779014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0" name="Straight Connector 909">
            <a:extLst>
              <a:ext uri="{FF2B5EF4-FFF2-40B4-BE49-F238E27FC236}">
                <a16:creationId xmlns:a16="http://schemas.microsoft.com/office/drawing/2014/main" id="{60EB1D75-1E31-9C6E-CA42-9073A6891135}"/>
              </a:ext>
            </a:extLst>
          </p:cNvPr>
          <p:cNvCxnSpPr>
            <a:cxnSpLocks/>
          </p:cNvCxnSpPr>
          <p:nvPr/>
        </p:nvCxnSpPr>
        <p:spPr>
          <a:xfrm>
            <a:off x="10264852" y="2779014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1" name="Straight Connector 910">
            <a:extLst>
              <a:ext uri="{FF2B5EF4-FFF2-40B4-BE49-F238E27FC236}">
                <a16:creationId xmlns:a16="http://schemas.microsoft.com/office/drawing/2014/main" id="{D6372055-4C87-6BD1-4A52-F6F68868A545}"/>
              </a:ext>
            </a:extLst>
          </p:cNvPr>
          <p:cNvCxnSpPr>
            <a:cxnSpLocks/>
          </p:cNvCxnSpPr>
          <p:nvPr/>
        </p:nvCxnSpPr>
        <p:spPr>
          <a:xfrm>
            <a:off x="10261900" y="2779014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2" name="Straight Connector 911">
            <a:extLst>
              <a:ext uri="{FF2B5EF4-FFF2-40B4-BE49-F238E27FC236}">
                <a16:creationId xmlns:a16="http://schemas.microsoft.com/office/drawing/2014/main" id="{0686FF68-99C9-30D0-3F9A-26E06070CB6C}"/>
              </a:ext>
            </a:extLst>
          </p:cNvPr>
          <p:cNvCxnSpPr>
            <a:cxnSpLocks/>
          </p:cNvCxnSpPr>
          <p:nvPr/>
        </p:nvCxnSpPr>
        <p:spPr>
          <a:xfrm>
            <a:off x="10257583" y="2778913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3" name="Straight Connector 912">
            <a:extLst>
              <a:ext uri="{FF2B5EF4-FFF2-40B4-BE49-F238E27FC236}">
                <a16:creationId xmlns:a16="http://schemas.microsoft.com/office/drawing/2014/main" id="{5799C70C-3B48-204C-04C1-4065DD1E6AB7}"/>
              </a:ext>
            </a:extLst>
          </p:cNvPr>
          <p:cNvCxnSpPr>
            <a:cxnSpLocks/>
          </p:cNvCxnSpPr>
          <p:nvPr/>
        </p:nvCxnSpPr>
        <p:spPr>
          <a:xfrm>
            <a:off x="10253628" y="2779090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4" name="Straight Connector 913">
            <a:extLst>
              <a:ext uri="{FF2B5EF4-FFF2-40B4-BE49-F238E27FC236}">
                <a16:creationId xmlns:a16="http://schemas.microsoft.com/office/drawing/2014/main" id="{F10E21DC-1AEF-4753-A910-F6AE2AD6EE44}"/>
              </a:ext>
            </a:extLst>
          </p:cNvPr>
          <p:cNvCxnSpPr>
            <a:cxnSpLocks/>
          </p:cNvCxnSpPr>
          <p:nvPr/>
        </p:nvCxnSpPr>
        <p:spPr>
          <a:xfrm>
            <a:off x="10248970" y="2778868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5" name="Straight Connector 914">
            <a:extLst>
              <a:ext uri="{FF2B5EF4-FFF2-40B4-BE49-F238E27FC236}">
                <a16:creationId xmlns:a16="http://schemas.microsoft.com/office/drawing/2014/main" id="{BDB1AFA1-6015-B0A5-724F-46C6B6E9F3CD}"/>
              </a:ext>
            </a:extLst>
          </p:cNvPr>
          <p:cNvCxnSpPr>
            <a:cxnSpLocks/>
          </p:cNvCxnSpPr>
          <p:nvPr/>
        </p:nvCxnSpPr>
        <p:spPr>
          <a:xfrm>
            <a:off x="10244780" y="2777741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6" name="Straight Connector 915">
            <a:extLst>
              <a:ext uri="{FF2B5EF4-FFF2-40B4-BE49-F238E27FC236}">
                <a16:creationId xmlns:a16="http://schemas.microsoft.com/office/drawing/2014/main" id="{60097E17-F053-9365-0D58-E5E1F5F3BB15}"/>
              </a:ext>
            </a:extLst>
          </p:cNvPr>
          <p:cNvCxnSpPr>
            <a:cxnSpLocks/>
          </p:cNvCxnSpPr>
          <p:nvPr/>
        </p:nvCxnSpPr>
        <p:spPr>
          <a:xfrm>
            <a:off x="10240315" y="2777741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7" name="Straight Connector 916">
            <a:extLst>
              <a:ext uri="{FF2B5EF4-FFF2-40B4-BE49-F238E27FC236}">
                <a16:creationId xmlns:a16="http://schemas.microsoft.com/office/drawing/2014/main" id="{63A02362-3CA1-4883-D256-3A8263DEF85E}"/>
              </a:ext>
            </a:extLst>
          </p:cNvPr>
          <p:cNvCxnSpPr>
            <a:cxnSpLocks/>
          </p:cNvCxnSpPr>
          <p:nvPr/>
        </p:nvCxnSpPr>
        <p:spPr>
          <a:xfrm>
            <a:off x="10236253" y="2779090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8" name="Straight Connector 917">
            <a:extLst>
              <a:ext uri="{FF2B5EF4-FFF2-40B4-BE49-F238E27FC236}">
                <a16:creationId xmlns:a16="http://schemas.microsoft.com/office/drawing/2014/main" id="{85BB795C-3600-5D02-5BF7-908FEFC99163}"/>
              </a:ext>
            </a:extLst>
          </p:cNvPr>
          <p:cNvCxnSpPr>
            <a:cxnSpLocks/>
          </p:cNvCxnSpPr>
          <p:nvPr/>
        </p:nvCxnSpPr>
        <p:spPr>
          <a:xfrm>
            <a:off x="10231916" y="2778080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9" name="Straight Connector 918">
            <a:extLst>
              <a:ext uri="{FF2B5EF4-FFF2-40B4-BE49-F238E27FC236}">
                <a16:creationId xmlns:a16="http://schemas.microsoft.com/office/drawing/2014/main" id="{938DD957-A3E1-83CF-63F6-94B9A9BD8BE8}"/>
              </a:ext>
            </a:extLst>
          </p:cNvPr>
          <p:cNvCxnSpPr>
            <a:cxnSpLocks/>
          </p:cNvCxnSpPr>
          <p:nvPr/>
        </p:nvCxnSpPr>
        <p:spPr>
          <a:xfrm>
            <a:off x="10228429" y="2778080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0" name="Straight Connector 919">
            <a:extLst>
              <a:ext uri="{FF2B5EF4-FFF2-40B4-BE49-F238E27FC236}">
                <a16:creationId xmlns:a16="http://schemas.microsoft.com/office/drawing/2014/main" id="{39892844-144E-B60C-1283-8D2EFCE8555B}"/>
              </a:ext>
            </a:extLst>
          </p:cNvPr>
          <p:cNvCxnSpPr>
            <a:cxnSpLocks/>
          </p:cNvCxnSpPr>
          <p:nvPr/>
        </p:nvCxnSpPr>
        <p:spPr>
          <a:xfrm>
            <a:off x="10225871" y="2779014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1" name="Straight Connector 920">
            <a:extLst>
              <a:ext uri="{FF2B5EF4-FFF2-40B4-BE49-F238E27FC236}">
                <a16:creationId xmlns:a16="http://schemas.microsoft.com/office/drawing/2014/main" id="{B9BC3393-B888-6AE9-40F2-8B666409AD4C}"/>
              </a:ext>
            </a:extLst>
          </p:cNvPr>
          <p:cNvCxnSpPr>
            <a:cxnSpLocks/>
          </p:cNvCxnSpPr>
          <p:nvPr/>
        </p:nvCxnSpPr>
        <p:spPr>
          <a:xfrm>
            <a:off x="10221608" y="2778181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2" name="Straight Connector 921">
            <a:extLst>
              <a:ext uri="{FF2B5EF4-FFF2-40B4-BE49-F238E27FC236}">
                <a16:creationId xmlns:a16="http://schemas.microsoft.com/office/drawing/2014/main" id="{CBD37E8D-C274-5620-3118-39408196C718}"/>
              </a:ext>
            </a:extLst>
          </p:cNvPr>
          <p:cNvCxnSpPr>
            <a:cxnSpLocks/>
          </p:cNvCxnSpPr>
          <p:nvPr/>
        </p:nvCxnSpPr>
        <p:spPr>
          <a:xfrm>
            <a:off x="10217653" y="2778868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3" name="Straight Connector 922">
            <a:extLst>
              <a:ext uri="{FF2B5EF4-FFF2-40B4-BE49-F238E27FC236}">
                <a16:creationId xmlns:a16="http://schemas.microsoft.com/office/drawing/2014/main" id="{A3A6020D-915B-223D-4122-39A4FC3F8858}"/>
              </a:ext>
            </a:extLst>
          </p:cNvPr>
          <p:cNvCxnSpPr>
            <a:cxnSpLocks/>
          </p:cNvCxnSpPr>
          <p:nvPr/>
        </p:nvCxnSpPr>
        <p:spPr>
          <a:xfrm>
            <a:off x="10212868" y="2779014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4" name="Straight Connector 923">
            <a:extLst>
              <a:ext uri="{FF2B5EF4-FFF2-40B4-BE49-F238E27FC236}">
                <a16:creationId xmlns:a16="http://schemas.microsoft.com/office/drawing/2014/main" id="{CA22AF67-C201-07E4-F8CE-8EB754DC0F3C}"/>
              </a:ext>
            </a:extLst>
          </p:cNvPr>
          <p:cNvCxnSpPr>
            <a:cxnSpLocks/>
          </p:cNvCxnSpPr>
          <p:nvPr/>
        </p:nvCxnSpPr>
        <p:spPr>
          <a:xfrm>
            <a:off x="10208497" y="2779083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5" name="Straight Connector 924">
            <a:extLst>
              <a:ext uri="{FF2B5EF4-FFF2-40B4-BE49-F238E27FC236}">
                <a16:creationId xmlns:a16="http://schemas.microsoft.com/office/drawing/2014/main" id="{4BE87A59-AAFF-61A5-042C-3FA61F64FBB8}"/>
              </a:ext>
            </a:extLst>
          </p:cNvPr>
          <p:cNvCxnSpPr>
            <a:cxnSpLocks/>
          </p:cNvCxnSpPr>
          <p:nvPr/>
        </p:nvCxnSpPr>
        <p:spPr>
          <a:xfrm>
            <a:off x="10204702" y="2778181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6" name="Straight Connector 925">
            <a:extLst>
              <a:ext uri="{FF2B5EF4-FFF2-40B4-BE49-F238E27FC236}">
                <a16:creationId xmlns:a16="http://schemas.microsoft.com/office/drawing/2014/main" id="{F89E0DE8-43C7-FA48-EC3D-34E9B81BDBB2}"/>
              </a:ext>
            </a:extLst>
          </p:cNvPr>
          <p:cNvCxnSpPr>
            <a:cxnSpLocks/>
          </p:cNvCxnSpPr>
          <p:nvPr/>
        </p:nvCxnSpPr>
        <p:spPr>
          <a:xfrm>
            <a:off x="10201248" y="2778181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7" name="Straight Connector 926">
            <a:extLst>
              <a:ext uri="{FF2B5EF4-FFF2-40B4-BE49-F238E27FC236}">
                <a16:creationId xmlns:a16="http://schemas.microsoft.com/office/drawing/2014/main" id="{214C4CDC-DBA8-5852-1036-9EDB376AF8BB}"/>
              </a:ext>
            </a:extLst>
          </p:cNvPr>
          <p:cNvCxnSpPr>
            <a:cxnSpLocks/>
          </p:cNvCxnSpPr>
          <p:nvPr/>
        </p:nvCxnSpPr>
        <p:spPr>
          <a:xfrm>
            <a:off x="10197432" y="2728653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8" name="Straight Connector 927">
            <a:extLst>
              <a:ext uri="{FF2B5EF4-FFF2-40B4-BE49-F238E27FC236}">
                <a16:creationId xmlns:a16="http://schemas.microsoft.com/office/drawing/2014/main" id="{7D859CA3-F4F1-90D6-8DFB-05B387D5A628}"/>
              </a:ext>
            </a:extLst>
          </p:cNvPr>
          <p:cNvCxnSpPr>
            <a:cxnSpLocks/>
          </p:cNvCxnSpPr>
          <p:nvPr/>
        </p:nvCxnSpPr>
        <p:spPr>
          <a:xfrm>
            <a:off x="10193925" y="2728653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9" name="Straight Connector 928">
            <a:extLst>
              <a:ext uri="{FF2B5EF4-FFF2-40B4-BE49-F238E27FC236}">
                <a16:creationId xmlns:a16="http://schemas.microsoft.com/office/drawing/2014/main" id="{DC7E1A7E-A1F6-DC59-F467-031BFACF3F82}"/>
              </a:ext>
            </a:extLst>
          </p:cNvPr>
          <p:cNvCxnSpPr>
            <a:cxnSpLocks/>
          </p:cNvCxnSpPr>
          <p:nvPr/>
        </p:nvCxnSpPr>
        <p:spPr>
          <a:xfrm>
            <a:off x="10189971" y="2728700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0" name="Straight Connector 929">
            <a:extLst>
              <a:ext uri="{FF2B5EF4-FFF2-40B4-BE49-F238E27FC236}">
                <a16:creationId xmlns:a16="http://schemas.microsoft.com/office/drawing/2014/main" id="{277AE893-C208-25F5-66D9-F76A23E28F9A}"/>
              </a:ext>
            </a:extLst>
          </p:cNvPr>
          <p:cNvCxnSpPr>
            <a:cxnSpLocks/>
          </p:cNvCxnSpPr>
          <p:nvPr/>
        </p:nvCxnSpPr>
        <p:spPr>
          <a:xfrm>
            <a:off x="10185601" y="2728653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1" name="Straight Connector 930">
            <a:extLst>
              <a:ext uri="{FF2B5EF4-FFF2-40B4-BE49-F238E27FC236}">
                <a16:creationId xmlns:a16="http://schemas.microsoft.com/office/drawing/2014/main" id="{789CCF78-5C82-735C-7BB2-99FEAC94552D}"/>
              </a:ext>
            </a:extLst>
          </p:cNvPr>
          <p:cNvCxnSpPr>
            <a:cxnSpLocks/>
          </p:cNvCxnSpPr>
          <p:nvPr/>
        </p:nvCxnSpPr>
        <p:spPr>
          <a:xfrm>
            <a:off x="10181549" y="2728653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2" name="Straight Connector 931">
            <a:extLst>
              <a:ext uri="{FF2B5EF4-FFF2-40B4-BE49-F238E27FC236}">
                <a16:creationId xmlns:a16="http://schemas.microsoft.com/office/drawing/2014/main" id="{EE58F10F-78F3-05D9-E7C9-308418296F9D}"/>
              </a:ext>
            </a:extLst>
          </p:cNvPr>
          <p:cNvCxnSpPr>
            <a:cxnSpLocks/>
          </p:cNvCxnSpPr>
          <p:nvPr/>
        </p:nvCxnSpPr>
        <p:spPr>
          <a:xfrm>
            <a:off x="10178959" y="2728700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3" name="Straight Connector 932">
            <a:extLst>
              <a:ext uri="{FF2B5EF4-FFF2-40B4-BE49-F238E27FC236}">
                <a16:creationId xmlns:a16="http://schemas.microsoft.com/office/drawing/2014/main" id="{67569640-3B12-BAA0-4338-6C80B7D87B53}"/>
              </a:ext>
            </a:extLst>
          </p:cNvPr>
          <p:cNvCxnSpPr>
            <a:cxnSpLocks/>
          </p:cNvCxnSpPr>
          <p:nvPr/>
        </p:nvCxnSpPr>
        <p:spPr>
          <a:xfrm>
            <a:off x="10176422" y="2728700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4" name="Straight Connector 933">
            <a:extLst>
              <a:ext uri="{FF2B5EF4-FFF2-40B4-BE49-F238E27FC236}">
                <a16:creationId xmlns:a16="http://schemas.microsoft.com/office/drawing/2014/main" id="{8E84D684-8AAB-E61D-A9A0-9A5B4D53BC6F}"/>
              </a:ext>
            </a:extLst>
          </p:cNvPr>
          <p:cNvCxnSpPr>
            <a:cxnSpLocks/>
          </p:cNvCxnSpPr>
          <p:nvPr/>
        </p:nvCxnSpPr>
        <p:spPr>
          <a:xfrm>
            <a:off x="10172277" y="2728745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5" name="Straight Connector 934">
            <a:extLst>
              <a:ext uri="{FF2B5EF4-FFF2-40B4-BE49-F238E27FC236}">
                <a16:creationId xmlns:a16="http://schemas.microsoft.com/office/drawing/2014/main" id="{9CEAE18A-FD3F-F192-D4B2-78535C8E14A8}"/>
              </a:ext>
            </a:extLst>
          </p:cNvPr>
          <p:cNvCxnSpPr>
            <a:cxnSpLocks/>
          </p:cNvCxnSpPr>
          <p:nvPr/>
        </p:nvCxnSpPr>
        <p:spPr>
          <a:xfrm>
            <a:off x="10168461" y="2728700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6" name="Straight Connector 935">
            <a:extLst>
              <a:ext uri="{FF2B5EF4-FFF2-40B4-BE49-F238E27FC236}">
                <a16:creationId xmlns:a16="http://schemas.microsoft.com/office/drawing/2014/main" id="{F86F3384-9ED7-2F7B-221B-8FB4941D0F4D}"/>
              </a:ext>
            </a:extLst>
          </p:cNvPr>
          <p:cNvCxnSpPr>
            <a:cxnSpLocks/>
          </p:cNvCxnSpPr>
          <p:nvPr/>
        </p:nvCxnSpPr>
        <p:spPr>
          <a:xfrm>
            <a:off x="10164175" y="2728653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7" name="Straight Connector 936">
            <a:extLst>
              <a:ext uri="{FF2B5EF4-FFF2-40B4-BE49-F238E27FC236}">
                <a16:creationId xmlns:a16="http://schemas.microsoft.com/office/drawing/2014/main" id="{449FF961-AEA4-1F71-EA2E-EC5D1CD74D29}"/>
              </a:ext>
            </a:extLst>
          </p:cNvPr>
          <p:cNvCxnSpPr>
            <a:cxnSpLocks/>
          </p:cNvCxnSpPr>
          <p:nvPr/>
        </p:nvCxnSpPr>
        <p:spPr>
          <a:xfrm>
            <a:off x="10160721" y="2728653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8" name="Straight Connector 937">
            <a:extLst>
              <a:ext uri="{FF2B5EF4-FFF2-40B4-BE49-F238E27FC236}">
                <a16:creationId xmlns:a16="http://schemas.microsoft.com/office/drawing/2014/main" id="{D7E38CFE-66C2-00CD-B7D3-722E62708665}"/>
              </a:ext>
            </a:extLst>
          </p:cNvPr>
          <p:cNvCxnSpPr>
            <a:cxnSpLocks/>
          </p:cNvCxnSpPr>
          <p:nvPr/>
        </p:nvCxnSpPr>
        <p:spPr>
          <a:xfrm>
            <a:off x="10156404" y="2728700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9" name="Straight Connector 938">
            <a:extLst>
              <a:ext uri="{FF2B5EF4-FFF2-40B4-BE49-F238E27FC236}">
                <a16:creationId xmlns:a16="http://schemas.microsoft.com/office/drawing/2014/main" id="{3B84D78E-9FC7-D5FE-7877-D3DAE676AFC0}"/>
              </a:ext>
            </a:extLst>
          </p:cNvPr>
          <p:cNvCxnSpPr>
            <a:cxnSpLocks/>
          </p:cNvCxnSpPr>
          <p:nvPr/>
        </p:nvCxnSpPr>
        <p:spPr>
          <a:xfrm>
            <a:off x="10152087" y="2728700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0" name="Straight Connector 939">
            <a:extLst>
              <a:ext uri="{FF2B5EF4-FFF2-40B4-BE49-F238E27FC236}">
                <a16:creationId xmlns:a16="http://schemas.microsoft.com/office/drawing/2014/main" id="{F70284C2-6DFC-4154-7F98-22D1593EBE40}"/>
              </a:ext>
            </a:extLst>
          </p:cNvPr>
          <p:cNvCxnSpPr>
            <a:cxnSpLocks/>
          </p:cNvCxnSpPr>
          <p:nvPr/>
        </p:nvCxnSpPr>
        <p:spPr>
          <a:xfrm>
            <a:off x="10147194" y="2728653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1" name="Straight Connector 940">
            <a:extLst>
              <a:ext uri="{FF2B5EF4-FFF2-40B4-BE49-F238E27FC236}">
                <a16:creationId xmlns:a16="http://schemas.microsoft.com/office/drawing/2014/main" id="{4D508809-94A2-549F-B327-E3D1AB660BC9}"/>
              </a:ext>
            </a:extLst>
          </p:cNvPr>
          <p:cNvCxnSpPr>
            <a:cxnSpLocks/>
          </p:cNvCxnSpPr>
          <p:nvPr/>
        </p:nvCxnSpPr>
        <p:spPr>
          <a:xfrm>
            <a:off x="10142877" y="2728700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2" name="Straight Connector 941">
            <a:extLst>
              <a:ext uri="{FF2B5EF4-FFF2-40B4-BE49-F238E27FC236}">
                <a16:creationId xmlns:a16="http://schemas.microsoft.com/office/drawing/2014/main" id="{DA092D76-DFC5-96F8-709A-AAAC417CF1CD}"/>
              </a:ext>
            </a:extLst>
          </p:cNvPr>
          <p:cNvCxnSpPr>
            <a:cxnSpLocks/>
          </p:cNvCxnSpPr>
          <p:nvPr/>
        </p:nvCxnSpPr>
        <p:spPr>
          <a:xfrm>
            <a:off x="10138560" y="2728653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3" name="Straight Connector 942">
            <a:extLst>
              <a:ext uri="{FF2B5EF4-FFF2-40B4-BE49-F238E27FC236}">
                <a16:creationId xmlns:a16="http://schemas.microsoft.com/office/drawing/2014/main" id="{2D959D66-91F2-B52C-1614-A159B263F3B0}"/>
              </a:ext>
            </a:extLst>
          </p:cNvPr>
          <p:cNvCxnSpPr>
            <a:cxnSpLocks/>
          </p:cNvCxnSpPr>
          <p:nvPr/>
        </p:nvCxnSpPr>
        <p:spPr>
          <a:xfrm>
            <a:off x="10134243" y="2728700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4" name="Straight Connector 943">
            <a:extLst>
              <a:ext uri="{FF2B5EF4-FFF2-40B4-BE49-F238E27FC236}">
                <a16:creationId xmlns:a16="http://schemas.microsoft.com/office/drawing/2014/main" id="{7248A583-EBCD-992C-5553-D8010A8CB5F3}"/>
              </a:ext>
            </a:extLst>
          </p:cNvPr>
          <p:cNvCxnSpPr>
            <a:cxnSpLocks/>
          </p:cNvCxnSpPr>
          <p:nvPr/>
        </p:nvCxnSpPr>
        <p:spPr>
          <a:xfrm>
            <a:off x="10130214" y="2728653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5" name="Straight Connector 944">
            <a:extLst>
              <a:ext uri="{FF2B5EF4-FFF2-40B4-BE49-F238E27FC236}">
                <a16:creationId xmlns:a16="http://schemas.microsoft.com/office/drawing/2014/main" id="{7EF0EC2F-5262-73E6-BE6D-060A9B33DB0C}"/>
              </a:ext>
            </a:extLst>
          </p:cNvPr>
          <p:cNvCxnSpPr>
            <a:cxnSpLocks/>
          </p:cNvCxnSpPr>
          <p:nvPr/>
        </p:nvCxnSpPr>
        <p:spPr>
          <a:xfrm>
            <a:off x="10126185" y="2728233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6" name="Straight Connector 945">
            <a:extLst>
              <a:ext uri="{FF2B5EF4-FFF2-40B4-BE49-F238E27FC236}">
                <a16:creationId xmlns:a16="http://schemas.microsoft.com/office/drawing/2014/main" id="{801EFD22-8668-6300-4729-1E61FFA6D132}"/>
              </a:ext>
            </a:extLst>
          </p:cNvPr>
          <p:cNvCxnSpPr>
            <a:cxnSpLocks/>
          </p:cNvCxnSpPr>
          <p:nvPr/>
        </p:nvCxnSpPr>
        <p:spPr>
          <a:xfrm>
            <a:off x="10121867" y="2728653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7" name="Straight Connector 946">
            <a:extLst>
              <a:ext uri="{FF2B5EF4-FFF2-40B4-BE49-F238E27FC236}">
                <a16:creationId xmlns:a16="http://schemas.microsoft.com/office/drawing/2014/main" id="{149D4444-0087-65A3-7779-DF8CA1C5CC0F}"/>
              </a:ext>
            </a:extLst>
          </p:cNvPr>
          <p:cNvCxnSpPr>
            <a:cxnSpLocks/>
          </p:cNvCxnSpPr>
          <p:nvPr/>
        </p:nvCxnSpPr>
        <p:spPr>
          <a:xfrm>
            <a:off x="10117550" y="2728700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8" name="Straight Connector 947">
            <a:extLst>
              <a:ext uri="{FF2B5EF4-FFF2-40B4-BE49-F238E27FC236}">
                <a16:creationId xmlns:a16="http://schemas.microsoft.com/office/drawing/2014/main" id="{F681B640-1CE3-5D95-7B35-7BC84C1303FB}"/>
              </a:ext>
            </a:extLst>
          </p:cNvPr>
          <p:cNvCxnSpPr>
            <a:cxnSpLocks/>
          </p:cNvCxnSpPr>
          <p:nvPr/>
        </p:nvCxnSpPr>
        <p:spPr>
          <a:xfrm>
            <a:off x="10113233" y="2728233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9" name="Straight Connector 948">
            <a:extLst>
              <a:ext uri="{FF2B5EF4-FFF2-40B4-BE49-F238E27FC236}">
                <a16:creationId xmlns:a16="http://schemas.microsoft.com/office/drawing/2014/main" id="{F1964E6E-33E3-89F6-67FE-6D66CE5FA475}"/>
              </a:ext>
            </a:extLst>
          </p:cNvPr>
          <p:cNvCxnSpPr>
            <a:cxnSpLocks/>
          </p:cNvCxnSpPr>
          <p:nvPr/>
        </p:nvCxnSpPr>
        <p:spPr>
          <a:xfrm>
            <a:off x="10108916" y="2728625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0" name="Straight Connector 949">
            <a:extLst>
              <a:ext uri="{FF2B5EF4-FFF2-40B4-BE49-F238E27FC236}">
                <a16:creationId xmlns:a16="http://schemas.microsoft.com/office/drawing/2014/main" id="{9C7517F8-B0AB-17A5-B199-0D967FF1830E}"/>
              </a:ext>
            </a:extLst>
          </p:cNvPr>
          <p:cNvCxnSpPr>
            <a:cxnSpLocks/>
          </p:cNvCxnSpPr>
          <p:nvPr/>
        </p:nvCxnSpPr>
        <p:spPr>
          <a:xfrm>
            <a:off x="10104599" y="2728653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1" name="Straight Connector 950">
            <a:extLst>
              <a:ext uri="{FF2B5EF4-FFF2-40B4-BE49-F238E27FC236}">
                <a16:creationId xmlns:a16="http://schemas.microsoft.com/office/drawing/2014/main" id="{AE2B07EF-1EDA-7FF5-AF08-1A1604BF93D6}"/>
              </a:ext>
            </a:extLst>
          </p:cNvPr>
          <p:cNvCxnSpPr>
            <a:cxnSpLocks/>
          </p:cNvCxnSpPr>
          <p:nvPr/>
        </p:nvCxnSpPr>
        <p:spPr>
          <a:xfrm>
            <a:off x="10098555" y="2728233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2" name="Straight Connector 951">
            <a:extLst>
              <a:ext uri="{FF2B5EF4-FFF2-40B4-BE49-F238E27FC236}">
                <a16:creationId xmlns:a16="http://schemas.microsoft.com/office/drawing/2014/main" id="{506A7E4B-4092-3C37-2240-7A547D485724}"/>
              </a:ext>
            </a:extLst>
          </p:cNvPr>
          <p:cNvCxnSpPr>
            <a:cxnSpLocks/>
          </p:cNvCxnSpPr>
          <p:nvPr/>
        </p:nvCxnSpPr>
        <p:spPr>
          <a:xfrm>
            <a:off x="10094238" y="2728653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3" name="Straight Connector 952">
            <a:extLst>
              <a:ext uri="{FF2B5EF4-FFF2-40B4-BE49-F238E27FC236}">
                <a16:creationId xmlns:a16="http://schemas.microsoft.com/office/drawing/2014/main" id="{1D21BC06-2E02-96F4-79AB-42D34AAF3EC9}"/>
              </a:ext>
            </a:extLst>
          </p:cNvPr>
          <p:cNvCxnSpPr>
            <a:cxnSpLocks/>
          </p:cNvCxnSpPr>
          <p:nvPr/>
        </p:nvCxnSpPr>
        <p:spPr>
          <a:xfrm>
            <a:off x="10089921" y="2728653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4" name="Straight Connector 953">
            <a:extLst>
              <a:ext uri="{FF2B5EF4-FFF2-40B4-BE49-F238E27FC236}">
                <a16:creationId xmlns:a16="http://schemas.microsoft.com/office/drawing/2014/main" id="{F0A5E6A1-EC1C-6041-1663-722D1A1D2407}"/>
              </a:ext>
            </a:extLst>
          </p:cNvPr>
          <p:cNvCxnSpPr>
            <a:cxnSpLocks/>
          </p:cNvCxnSpPr>
          <p:nvPr/>
        </p:nvCxnSpPr>
        <p:spPr>
          <a:xfrm>
            <a:off x="10085605" y="2728700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5" name="Straight Connector 954">
            <a:extLst>
              <a:ext uri="{FF2B5EF4-FFF2-40B4-BE49-F238E27FC236}">
                <a16:creationId xmlns:a16="http://schemas.microsoft.com/office/drawing/2014/main" id="{A543372A-F5A8-AFB2-9EF3-F1F9E0CCFA02}"/>
              </a:ext>
            </a:extLst>
          </p:cNvPr>
          <p:cNvCxnSpPr>
            <a:cxnSpLocks/>
          </p:cNvCxnSpPr>
          <p:nvPr/>
        </p:nvCxnSpPr>
        <p:spPr>
          <a:xfrm>
            <a:off x="10081287" y="2728745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6" name="Straight Connector 955">
            <a:extLst>
              <a:ext uri="{FF2B5EF4-FFF2-40B4-BE49-F238E27FC236}">
                <a16:creationId xmlns:a16="http://schemas.microsoft.com/office/drawing/2014/main" id="{FBF3FD10-C95F-116E-E98C-E16718E81D32}"/>
              </a:ext>
            </a:extLst>
          </p:cNvPr>
          <p:cNvCxnSpPr>
            <a:cxnSpLocks/>
          </p:cNvCxnSpPr>
          <p:nvPr/>
        </p:nvCxnSpPr>
        <p:spPr>
          <a:xfrm>
            <a:off x="10076704" y="2728653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7" name="Straight Connector 956">
            <a:extLst>
              <a:ext uri="{FF2B5EF4-FFF2-40B4-BE49-F238E27FC236}">
                <a16:creationId xmlns:a16="http://schemas.microsoft.com/office/drawing/2014/main" id="{60C0BC24-5521-C540-7F91-4A8D48BC2CB4}"/>
              </a:ext>
            </a:extLst>
          </p:cNvPr>
          <p:cNvCxnSpPr>
            <a:cxnSpLocks/>
          </p:cNvCxnSpPr>
          <p:nvPr/>
        </p:nvCxnSpPr>
        <p:spPr>
          <a:xfrm>
            <a:off x="10072387" y="2728700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8" name="Straight Connector 957">
            <a:extLst>
              <a:ext uri="{FF2B5EF4-FFF2-40B4-BE49-F238E27FC236}">
                <a16:creationId xmlns:a16="http://schemas.microsoft.com/office/drawing/2014/main" id="{766EABD3-F938-154A-6453-0BDDBED6B2E3}"/>
              </a:ext>
            </a:extLst>
          </p:cNvPr>
          <p:cNvCxnSpPr>
            <a:cxnSpLocks/>
          </p:cNvCxnSpPr>
          <p:nvPr/>
        </p:nvCxnSpPr>
        <p:spPr>
          <a:xfrm>
            <a:off x="10068070" y="2728233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9" name="Straight Connector 958">
            <a:extLst>
              <a:ext uri="{FF2B5EF4-FFF2-40B4-BE49-F238E27FC236}">
                <a16:creationId xmlns:a16="http://schemas.microsoft.com/office/drawing/2014/main" id="{0C49E65D-C82C-B8FA-DEE3-29C6F2AC043B}"/>
              </a:ext>
            </a:extLst>
          </p:cNvPr>
          <p:cNvCxnSpPr>
            <a:cxnSpLocks/>
          </p:cNvCxnSpPr>
          <p:nvPr/>
        </p:nvCxnSpPr>
        <p:spPr>
          <a:xfrm>
            <a:off x="10063391" y="2728700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0" name="Straight Connector 959">
            <a:extLst>
              <a:ext uri="{FF2B5EF4-FFF2-40B4-BE49-F238E27FC236}">
                <a16:creationId xmlns:a16="http://schemas.microsoft.com/office/drawing/2014/main" id="{B8966594-9756-1A8C-6710-9DC381E3228D}"/>
              </a:ext>
            </a:extLst>
          </p:cNvPr>
          <p:cNvCxnSpPr>
            <a:cxnSpLocks/>
          </p:cNvCxnSpPr>
          <p:nvPr/>
        </p:nvCxnSpPr>
        <p:spPr>
          <a:xfrm>
            <a:off x="10059436" y="2728700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1" name="Straight Connector 960">
            <a:extLst>
              <a:ext uri="{FF2B5EF4-FFF2-40B4-BE49-F238E27FC236}">
                <a16:creationId xmlns:a16="http://schemas.microsoft.com/office/drawing/2014/main" id="{08EDE258-DC60-CED1-DF7A-39A9AEA37DFC}"/>
              </a:ext>
            </a:extLst>
          </p:cNvPr>
          <p:cNvCxnSpPr>
            <a:cxnSpLocks/>
          </p:cNvCxnSpPr>
          <p:nvPr/>
        </p:nvCxnSpPr>
        <p:spPr>
          <a:xfrm>
            <a:off x="10055620" y="2728700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2" name="Straight Connector 961">
            <a:extLst>
              <a:ext uri="{FF2B5EF4-FFF2-40B4-BE49-F238E27FC236}">
                <a16:creationId xmlns:a16="http://schemas.microsoft.com/office/drawing/2014/main" id="{03C7F222-2906-48AF-A25F-A3B90351CBA2}"/>
              </a:ext>
            </a:extLst>
          </p:cNvPr>
          <p:cNvCxnSpPr>
            <a:cxnSpLocks/>
          </p:cNvCxnSpPr>
          <p:nvPr/>
        </p:nvCxnSpPr>
        <p:spPr>
          <a:xfrm>
            <a:off x="10051666" y="2728745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3" name="Straight Connector 962">
            <a:extLst>
              <a:ext uri="{FF2B5EF4-FFF2-40B4-BE49-F238E27FC236}">
                <a16:creationId xmlns:a16="http://schemas.microsoft.com/office/drawing/2014/main" id="{6BC035D0-1B0C-CEC9-B1A5-16B4AACA3728}"/>
              </a:ext>
            </a:extLst>
          </p:cNvPr>
          <p:cNvCxnSpPr>
            <a:cxnSpLocks/>
          </p:cNvCxnSpPr>
          <p:nvPr/>
        </p:nvCxnSpPr>
        <p:spPr>
          <a:xfrm>
            <a:off x="10047348" y="2728233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4" name="Straight Connector 963">
            <a:extLst>
              <a:ext uri="{FF2B5EF4-FFF2-40B4-BE49-F238E27FC236}">
                <a16:creationId xmlns:a16="http://schemas.microsoft.com/office/drawing/2014/main" id="{38CF64EF-54D8-F662-1DF6-666D6D71B2F3}"/>
              </a:ext>
            </a:extLst>
          </p:cNvPr>
          <p:cNvCxnSpPr>
            <a:cxnSpLocks/>
          </p:cNvCxnSpPr>
          <p:nvPr/>
        </p:nvCxnSpPr>
        <p:spPr>
          <a:xfrm>
            <a:off x="10043532" y="2728700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5" name="Straight Connector 964">
            <a:extLst>
              <a:ext uri="{FF2B5EF4-FFF2-40B4-BE49-F238E27FC236}">
                <a16:creationId xmlns:a16="http://schemas.microsoft.com/office/drawing/2014/main" id="{73CA2D96-602B-40EF-5B18-50CF4DC13257}"/>
              </a:ext>
            </a:extLst>
          </p:cNvPr>
          <p:cNvCxnSpPr>
            <a:cxnSpLocks/>
          </p:cNvCxnSpPr>
          <p:nvPr/>
        </p:nvCxnSpPr>
        <p:spPr>
          <a:xfrm>
            <a:off x="10040079" y="2728653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6" name="Straight Connector 965">
            <a:extLst>
              <a:ext uri="{FF2B5EF4-FFF2-40B4-BE49-F238E27FC236}">
                <a16:creationId xmlns:a16="http://schemas.microsoft.com/office/drawing/2014/main" id="{905DA993-63FE-1FF7-DE56-888B5ECE77D9}"/>
              </a:ext>
            </a:extLst>
          </p:cNvPr>
          <p:cNvCxnSpPr>
            <a:cxnSpLocks/>
          </p:cNvCxnSpPr>
          <p:nvPr/>
        </p:nvCxnSpPr>
        <p:spPr>
          <a:xfrm>
            <a:off x="10035858" y="2728700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7" name="Straight Connector 966">
            <a:extLst>
              <a:ext uri="{FF2B5EF4-FFF2-40B4-BE49-F238E27FC236}">
                <a16:creationId xmlns:a16="http://schemas.microsoft.com/office/drawing/2014/main" id="{09A6FFC2-1FA2-358B-DCDE-DCAEA5AFA5E2}"/>
              </a:ext>
            </a:extLst>
          </p:cNvPr>
          <p:cNvCxnSpPr>
            <a:cxnSpLocks/>
          </p:cNvCxnSpPr>
          <p:nvPr/>
        </p:nvCxnSpPr>
        <p:spPr>
          <a:xfrm>
            <a:off x="10032308" y="2728700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8" name="Straight Connector 967">
            <a:extLst>
              <a:ext uri="{FF2B5EF4-FFF2-40B4-BE49-F238E27FC236}">
                <a16:creationId xmlns:a16="http://schemas.microsoft.com/office/drawing/2014/main" id="{EEF45308-2A35-3AFD-FBC5-E8A4F94E41BA}"/>
              </a:ext>
            </a:extLst>
          </p:cNvPr>
          <p:cNvCxnSpPr>
            <a:cxnSpLocks/>
          </p:cNvCxnSpPr>
          <p:nvPr/>
        </p:nvCxnSpPr>
        <p:spPr>
          <a:xfrm>
            <a:off x="10027991" y="2728700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9" name="Straight Connector 968">
            <a:extLst>
              <a:ext uri="{FF2B5EF4-FFF2-40B4-BE49-F238E27FC236}">
                <a16:creationId xmlns:a16="http://schemas.microsoft.com/office/drawing/2014/main" id="{1206FAD9-BF37-1196-DA71-55302C99E3F0}"/>
              </a:ext>
            </a:extLst>
          </p:cNvPr>
          <p:cNvCxnSpPr>
            <a:cxnSpLocks/>
          </p:cNvCxnSpPr>
          <p:nvPr/>
        </p:nvCxnSpPr>
        <p:spPr>
          <a:xfrm>
            <a:off x="10024036" y="2728653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0" name="Straight Connector 969">
            <a:extLst>
              <a:ext uri="{FF2B5EF4-FFF2-40B4-BE49-F238E27FC236}">
                <a16:creationId xmlns:a16="http://schemas.microsoft.com/office/drawing/2014/main" id="{2D262F73-2E8F-8867-3CE6-007B80C8E9ED}"/>
              </a:ext>
            </a:extLst>
          </p:cNvPr>
          <p:cNvCxnSpPr>
            <a:cxnSpLocks/>
          </p:cNvCxnSpPr>
          <p:nvPr/>
        </p:nvCxnSpPr>
        <p:spPr>
          <a:xfrm>
            <a:off x="10020220" y="2728653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1" name="Straight Connector 970">
            <a:extLst>
              <a:ext uri="{FF2B5EF4-FFF2-40B4-BE49-F238E27FC236}">
                <a16:creationId xmlns:a16="http://schemas.microsoft.com/office/drawing/2014/main" id="{F31D0FB0-0C64-E9AB-E598-B4917EB87917}"/>
              </a:ext>
            </a:extLst>
          </p:cNvPr>
          <p:cNvCxnSpPr>
            <a:cxnSpLocks/>
          </p:cNvCxnSpPr>
          <p:nvPr/>
        </p:nvCxnSpPr>
        <p:spPr>
          <a:xfrm>
            <a:off x="10017129" y="2728653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2" name="Straight Connector 971">
            <a:extLst>
              <a:ext uri="{FF2B5EF4-FFF2-40B4-BE49-F238E27FC236}">
                <a16:creationId xmlns:a16="http://schemas.microsoft.com/office/drawing/2014/main" id="{03F3C169-A0F7-15E5-98BA-1AB01813271E}"/>
              </a:ext>
            </a:extLst>
          </p:cNvPr>
          <p:cNvCxnSpPr>
            <a:cxnSpLocks/>
          </p:cNvCxnSpPr>
          <p:nvPr/>
        </p:nvCxnSpPr>
        <p:spPr>
          <a:xfrm>
            <a:off x="10012450" y="2728653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3" name="Straight Connector 972">
            <a:extLst>
              <a:ext uri="{FF2B5EF4-FFF2-40B4-BE49-F238E27FC236}">
                <a16:creationId xmlns:a16="http://schemas.microsoft.com/office/drawing/2014/main" id="{E4F5443E-ED13-ED05-F468-E6D7B6E14FC3}"/>
              </a:ext>
            </a:extLst>
          </p:cNvPr>
          <p:cNvCxnSpPr>
            <a:cxnSpLocks/>
          </p:cNvCxnSpPr>
          <p:nvPr/>
        </p:nvCxnSpPr>
        <p:spPr>
          <a:xfrm>
            <a:off x="10008133" y="2728653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4" name="Straight Connector 973">
            <a:extLst>
              <a:ext uri="{FF2B5EF4-FFF2-40B4-BE49-F238E27FC236}">
                <a16:creationId xmlns:a16="http://schemas.microsoft.com/office/drawing/2014/main" id="{B94A4AF8-4166-A9C0-11EE-077DEDBE3DEE}"/>
              </a:ext>
            </a:extLst>
          </p:cNvPr>
          <p:cNvCxnSpPr>
            <a:cxnSpLocks/>
          </p:cNvCxnSpPr>
          <p:nvPr/>
        </p:nvCxnSpPr>
        <p:spPr>
          <a:xfrm>
            <a:off x="10003816" y="2728233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5" name="Straight Connector 974">
            <a:extLst>
              <a:ext uri="{FF2B5EF4-FFF2-40B4-BE49-F238E27FC236}">
                <a16:creationId xmlns:a16="http://schemas.microsoft.com/office/drawing/2014/main" id="{16A31A64-125B-B8BE-2EA3-854EE0973D29}"/>
              </a:ext>
            </a:extLst>
          </p:cNvPr>
          <p:cNvCxnSpPr>
            <a:cxnSpLocks/>
          </p:cNvCxnSpPr>
          <p:nvPr/>
        </p:nvCxnSpPr>
        <p:spPr>
          <a:xfrm>
            <a:off x="9999861" y="2728653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6" name="Straight Connector 975">
            <a:extLst>
              <a:ext uri="{FF2B5EF4-FFF2-40B4-BE49-F238E27FC236}">
                <a16:creationId xmlns:a16="http://schemas.microsoft.com/office/drawing/2014/main" id="{7CC22493-747E-9767-46F3-A85704721AB4}"/>
              </a:ext>
            </a:extLst>
          </p:cNvPr>
          <p:cNvCxnSpPr>
            <a:cxnSpLocks/>
          </p:cNvCxnSpPr>
          <p:nvPr/>
        </p:nvCxnSpPr>
        <p:spPr>
          <a:xfrm>
            <a:off x="9995810" y="2728653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7" name="Straight Connector 976">
            <a:extLst>
              <a:ext uri="{FF2B5EF4-FFF2-40B4-BE49-F238E27FC236}">
                <a16:creationId xmlns:a16="http://schemas.microsoft.com/office/drawing/2014/main" id="{42663C75-D3E7-8BCB-FABE-C31378783601}"/>
              </a:ext>
            </a:extLst>
          </p:cNvPr>
          <p:cNvCxnSpPr>
            <a:cxnSpLocks/>
          </p:cNvCxnSpPr>
          <p:nvPr/>
        </p:nvCxnSpPr>
        <p:spPr>
          <a:xfrm>
            <a:off x="9991493" y="2728653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8" name="Straight Connector 977">
            <a:extLst>
              <a:ext uri="{FF2B5EF4-FFF2-40B4-BE49-F238E27FC236}">
                <a16:creationId xmlns:a16="http://schemas.microsoft.com/office/drawing/2014/main" id="{157F0A9A-4C35-22DA-6CAF-024BC1D82884}"/>
              </a:ext>
            </a:extLst>
          </p:cNvPr>
          <p:cNvCxnSpPr>
            <a:cxnSpLocks/>
          </p:cNvCxnSpPr>
          <p:nvPr/>
        </p:nvCxnSpPr>
        <p:spPr>
          <a:xfrm>
            <a:off x="9987176" y="2728653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9" name="Straight Connector 978">
            <a:extLst>
              <a:ext uri="{FF2B5EF4-FFF2-40B4-BE49-F238E27FC236}">
                <a16:creationId xmlns:a16="http://schemas.microsoft.com/office/drawing/2014/main" id="{22D943DB-BE75-06F5-DCC7-CBE446EBC3D9}"/>
              </a:ext>
            </a:extLst>
          </p:cNvPr>
          <p:cNvCxnSpPr>
            <a:cxnSpLocks/>
          </p:cNvCxnSpPr>
          <p:nvPr/>
        </p:nvCxnSpPr>
        <p:spPr>
          <a:xfrm>
            <a:off x="9982858" y="2728653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0" name="Straight Connector 979">
            <a:extLst>
              <a:ext uri="{FF2B5EF4-FFF2-40B4-BE49-F238E27FC236}">
                <a16:creationId xmlns:a16="http://schemas.microsoft.com/office/drawing/2014/main" id="{6A27C363-5671-FFFF-2033-97DBB486802C}"/>
              </a:ext>
            </a:extLst>
          </p:cNvPr>
          <p:cNvCxnSpPr>
            <a:cxnSpLocks/>
          </p:cNvCxnSpPr>
          <p:nvPr/>
        </p:nvCxnSpPr>
        <p:spPr>
          <a:xfrm>
            <a:off x="9978542" y="2728233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1" name="Straight Connector 980">
            <a:extLst>
              <a:ext uri="{FF2B5EF4-FFF2-40B4-BE49-F238E27FC236}">
                <a16:creationId xmlns:a16="http://schemas.microsoft.com/office/drawing/2014/main" id="{1CC0A88D-191E-A85C-1A10-7DBC31D54DF2}"/>
              </a:ext>
            </a:extLst>
          </p:cNvPr>
          <p:cNvCxnSpPr>
            <a:cxnSpLocks/>
          </p:cNvCxnSpPr>
          <p:nvPr/>
        </p:nvCxnSpPr>
        <p:spPr>
          <a:xfrm>
            <a:off x="9974224" y="2728653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2" name="Straight Connector 981">
            <a:extLst>
              <a:ext uri="{FF2B5EF4-FFF2-40B4-BE49-F238E27FC236}">
                <a16:creationId xmlns:a16="http://schemas.microsoft.com/office/drawing/2014/main" id="{50D7A915-4A3D-6859-5EBD-16B5A7146A03}"/>
              </a:ext>
            </a:extLst>
          </p:cNvPr>
          <p:cNvCxnSpPr>
            <a:cxnSpLocks/>
          </p:cNvCxnSpPr>
          <p:nvPr/>
        </p:nvCxnSpPr>
        <p:spPr>
          <a:xfrm>
            <a:off x="9969907" y="2728700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3" name="Straight Connector 982">
            <a:extLst>
              <a:ext uri="{FF2B5EF4-FFF2-40B4-BE49-F238E27FC236}">
                <a16:creationId xmlns:a16="http://schemas.microsoft.com/office/drawing/2014/main" id="{1571D934-E273-60A4-B636-DA648B4842E1}"/>
              </a:ext>
            </a:extLst>
          </p:cNvPr>
          <p:cNvCxnSpPr>
            <a:cxnSpLocks/>
          </p:cNvCxnSpPr>
          <p:nvPr/>
        </p:nvCxnSpPr>
        <p:spPr>
          <a:xfrm>
            <a:off x="9961274" y="2710406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4" name="Straight Connector 983">
            <a:extLst>
              <a:ext uri="{FF2B5EF4-FFF2-40B4-BE49-F238E27FC236}">
                <a16:creationId xmlns:a16="http://schemas.microsoft.com/office/drawing/2014/main" id="{CA2F0F3F-0C0F-63AD-F51E-F482FB975A3A}"/>
              </a:ext>
            </a:extLst>
          </p:cNvPr>
          <p:cNvCxnSpPr>
            <a:cxnSpLocks/>
          </p:cNvCxnSpPr>
          <p:nvPr/>
        </p:nvCxnSpPr>
        <p:spPr>
          <a:xfrm>
            <a:off x="9956956" y="2710016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5" name="Straight Connector 984">
            <a:extLst>
              <a:ext uri="{FF2B5EF4-FFF2-40B4-BE49-F238E27FC236}">
                <a16:creationId xmlns:a16="http://schemas.microsoft.com/office/drawing/2014/main" id="{1C1F7A5C-C274-AF9F-2317-050F1CD26457}"/>
              </a:ext>
            </a:extLst>
          </p:cNvPr>
          <p:cNvCxnSpPr>
            <a:cxnSpLocks/>
          </p:cNvCxnSpPr>
          <p:nvPr/>
        </p:nvCxnSpPr>
        <p:spPr>
          <a:xfrm>
            <a:off x="9952639" y="2710464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6" name="Straight Connector 985">
            <a:extLst>
              <a:ext uri="{FF2B5EF4-FFF2-40B4-BE49-F238E27FC236}">
                <a16:creationId xmlns:a16="http://schemas.microsoft.com/office/drawing/2014/main" id="{8B9AD8B7-B63F-CE9F-E446-06E40517784E}"/>
              </a:ext>
            </a:extLst>
          </p:cNvPr>
          <p:cNvCxnSpPr>
            <a:cxnSpLocks/>
          </p:cNvCxnSpPr>
          <p:nvPr/>
        </p:nvCxnSpPr>
        <p:spPr>
          <a:xfrm>
            <a:off x="9948289" y="2710464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7" name="Straight Connector 986">
            <a:extLst>
              <a:ext uri="{FF2B5EF4-FFF2-40B4-BE49-F238E27FC236}">
                <a16:creationId xmlns:a16="http://schemas.microsoft.com/office/drawing/2014/main" id="{B6847496-621D-D8DF-38AD-2FEF375C991F}"/>
              </a:ext>
            </a:extLst>
          </p:cNvPr>
          <p:cNvCxnSpPr>
            <a:cxnSpLocks/>
          </p:cNvCxnSpPr>
          <p:nvPr/>
        </p:nvCxnSpPr>
        <p:spPr>
          <a:xfrm>
            <a:off x="9943972" y="2710498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8" name="Straight Connector 987">
            <a:extLst>
              <a:ext uri="{FF2B5EF4-FFF2-40B4-BE49-F238E27FC236}">
                <a16:creationId xmlns:a16="http://schemas.microsoft.com/office/drawing/2014/main" id="{969775FA-BC9A-6BCB-26E3-0AA025552E94}"/>
              </a:ext>
            </a:extLst>
          </p:cNvPr>
          <p:cNvCxnSpPr>
            <a:cxnSpLocks/>
          </p:cNvCxnSpPr>
          <p:nvPr/>
        </p:nvCxnSpPr>
        <p:spPr>
          <a:xfrm>
            <a:off x="9939654" y="2710526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9" name="Straight Connector 988">
            <a:extLst>
              <a:ext uri="{FF2B5EF4-FFF2-40B4-BE49-F238E27FC236}">
                <a16:creationId xmlns:a16="http://schemas.microsoft.com/office/drawing/2014/main" id="{170570EE-9B3B-AB68-F429-173F0EEE3AB7}"/>
              </a:ext>
            </a:extLst>
          </p:cNvPr>
          <p:cNvCxnSpPr>
            <a:cxnSpLocks/>
          </p:cNvCxnSpPr>
          <p:nvPr/>
        </p:nvCxnSpPr>
        <p:spPr>
          <a:xfrm>
            <a:off x="9935372" y="2710498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0" name="Straight Connector 989">
            <a:extLst>
              <a:ext uri="{FF2B5EF4-FFF2-40B4-BE49-F238E27FC236}">
                <a16:creationId xmlns:a16="http://schemas.microsoft.com/office/drawing/2014/main" id="{25B094E9-651B-4C0E-7D6A-6664FD18C8F1}"/>
              </a:ext>
            </a:extLst>
          </p:cNvPr>
          <p:cNvCxnSpPr>
            <a:cxnSpLocks/>
          </p:cNvCxnSpPr>
          <p:nvPr/>
        </p:nvCxnSpPr>
        <p:spPr>
          <a:xfrm>
            <a:off x="9931054" y="2710108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1" name="Straight Connector 990">
            <a:extLst>
              <a:ext uri="{FF2B5EF4-FFF2-40B4-BE49-F238E27FC236}">
                <a16:creationId xmlns:a16="http://schemas.microsoft.com/office/drawing/2014/main" id="{49237065-26E2-D20E-6BBC-93278CF01011}"/>
              </a:ext>
            </a:extLst>
          </p:cNvPr>
          <p:cNvCxnSpPr>
            <a:cxnSpLocks/>
          </p:cNvCxnSpPr>
          <p:nvPr/>
        </p:nvCxnSpPr>
        <p:spPr>
          <a:xfrm>
            <a:off x="9926737" y="2710108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2" name="Straight Connector 991">
            <a:extLst>
              <a:ext uri="{FF2B5EF4-FFF2-40B4-BE49-F238E27FC236}">
                <a16:creationId xmlns:a16="http://schemas.microsoft.com/office/drawing/2014/main" id="{7D89A0C8-5727-D63D-11DC-E81E7758A311}"/>
              </a:ext>
            </a:extLst>
          </p:cNvPr>
          <p:cNvCxnSpPr>
            <a:cxnSpLocks/>
          </p:cNvCxnSpPr>
          <p:nvPr/>
        </p:nvCxnSpPr>
        <p:spPr>
          <a:xfrm>
            <a:off x="9922420" y="2710108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3" name="Straight Connector 992">
            <a:extLst>
              <a:ext uri="{FF2B5EF4-FFF2-40B4-BE49-F238E27FC236}">
                <a16:creationId xmlns:a16="http://schemas.microsoft.com/office/drawing/2014/main" id="{DAFB54F8-D603-4FF0-18CC-C9CE9514B2F0}"/>
              </a:ext>
            </a:extLst>
          </p:cNvPr>
          <p:cNvCxnSpPr>
            <a:cxnSpLocks/>
          </p:cNvCxnSpPr>
          <p:nvPr/>
        </p:nvCxnSpPr>
        <p:spPr>
          <a:xfrm>
            <a:off x="9918103" y="2710016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4" name="Straight Connector 993">
            <a:extLst>
              <a:ext uri="{FF2B5EF4-FFF2-40B4-BE49-F238E27FC236}">
                <a16:creationId xmlns:a16="http://schemas.microsoft.com/office/drawing/2014/main" id="{C1E8E033-C405-A639-0CC1-2BD539B15DF7}"/>
              </a:ext>
            </a:extLst>
          </p:cNvPr>
          <p:cNvCxnSpPr>
            <a:cxnSpLocks/>
          </p:cNvCxnSpPr>
          <p:nvPr/>
        </p:nvCxnSpPr>
        <p:spPr>
          <a:xfrm>
            <a:off x="9913786" y="2710108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5" name="Straight Connector 994">
            <a:extLst>
              <a:ext uri="{FF2B5EF4-FFF2-40B4-BE49-F238E27FC236}">
                <a16:creationId xmlns:a16="http://schemas.microsoft.com/office/drawing/2014/main" id="{3FD022B1-41B9-7509-4774-ED9E66265415}"/>
              </a:ext>
            </a:extLst>
          </p:cNvPr>
          <p:cNvCxnSpPr>
            <a:cxnSpLocks/>
          </p:cNvCxnSpPr>
          <p:nvPr/>
        </p:nvCxnSpPr>
        <p:spPr>
          <a:xfrm>
            <a:off x="9909469" y="2710016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6" name="Straight Connector 995">
            <a:extLst>
              <a:ext uri="{FF2B5EF4-FFF2-40B4-BE49-F238E27FC236}">
                <a16:creationId xmlns:a16="http://schemas.microsoft.com/office/drawing/2014/main" id="{48C9B428-29D6-E1BE-C08F-85B5699323D3}"/>
              </a:ext>
            </a:extLst>
          </p:cNvPr>
          <p:cNvCxnSpPr>
            <a:cxnSpLocks/>
          </p:cNvCxnSpPr>
          <p:nvPr/>
        </p:nvCxnSpPr>
        <p:spPr>
          <a:xfrm>
            <a:off x="9899108" y="2696463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7" name="Straight Connector 996">
            <a:extLst>
              <a:ext uri="{FF2B5EF4-FFF2-40B4-BE49-F238E27FC236}">
                <a16:creationId xmlns:a16="http://schemas.microsoft.com/office/drawing/2014/main" id="{C9564F9B-34F4-DFF0-A6BB-4C957C703233}"/>
              </a:ext>
            </a:extLst>
          </p:cNvPr>
          <p:cNvCxnSpPr>
            <a:cxnSpLocks/>
          </p:cNvCxnSpPr>
          <p:nvPr/>
        </p:nvCxnSpPr>
        <p:spPr>
          <a:xfrm>
            <a:off x="9894791" y="2696073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8" name="Straight Connector 997">
            <a:extLst>
              <a:ext uri="{FF2B5EF4-FFF2-40B4-BE49-F238E27FC236}">
                <a16:creationId xmlns:a16="http://schemas.microsoft.com/office/drawing/2014/main" id="{97A8A220-9DBA-71FB-11DA-06F549002637}"/>
              </a:ext>
            </a:extLst>
          </p:cNvPr>
          <p:cNvCxnSpPr>
            <a:cxnSpLocks/>
          </p:cNvCxnSpPr>
          <p:nvPr/>
        </p:nvCxnSpPr>
        <p:spPr>
          <a:xfrm>
            <a:off x="9890474" y="2696463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9" name="Straight Connector 998">
            <a:extLst>
              <a:ext uri="{FF2B5EF4-FFF2-40B4-BE49-F238E27FC236}">
                <a16:creationId xmlns:a16="http://schemas.microsoft.com/office/drawing/2014/main" id="{6E78EF1D-174F-8064-43AC-AD0B1C176AA1}"/>
              </a:ext>
            </a:extLst>
          </p:cNvPr>
          <p:cNvCxnSpPr>
            <a:cxnSpLocks/>
          </p:cNvCxnSpPr>
          <p:nvPr/>
        </p:nvCxnSpPr>
        <p:spPr>
          <a:xfrm>
            <a:off x="9886157" y="2696463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0" name="Straight Connector 999">
            <a:extLst>
              <a:ext uri="{FF2B5EF4-FFF2-40B4-BE49-F238E27FC236}">
                <a16:creationId xmlns:a16="http://schemas.microsoft.com/office/drawing/2014/main" id="{98AFB256-AEDA-473B-F191-B9B8B12AB982}"/>
              </a:ext>
            </a:extLst>
          </p:cNvPr>
          <p:cNvCxnSpPr>
            <a:cxnSpLocks/>
          </p:cNvCxnSpPr>
          <p:nvPr/>
        </p:nvCxnSpPr>
        <p:spPr>
          <a:xfrm>
            <a:off x="9881840" y="2696463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1" name="Straight Connector 1000">
            <a:extLst>
              <a:ext uri="{FF2B5EF4-FFF2-40B4-BE49-F238E27FC236}">
                <a16:creationId xmlns:a16="http://schemas.microsoft.com/office/drawing/2014/main" id="{ADEF15FF-2F1E-9CF8-AB5D-61E65CA115B0}"/>
              </a:ext>
            </a:extLst>
          </p:cNvPr>
          <p:cNvCxnSpPr>
            <a:cxnSpLocks/>
          </p:cNvCxnSpPr>
          <p:nvPr/>
        </p:nvCxnSpPr>
        <p:spPr>
          <a:xfrm>
            <a:off x="9877523" y="2696435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2" name="Straight Connector 1001">
            <a:extLst>
              <a:ext uri="{FF2B5EF4-FFF2-40B4-BE49-F238E27FC236}">
                <a16:creationId xmlns:a16="http://schemas.microsoft.com/office/drawing/2014/main" id="{1F82E9F5-B7F7-7F74-555E-194B96710C01}"/>
              </a:ext>
            </a:extLst>
          </p:cNvPr>
          <p:cNvCxnSpPr>
            <a:cxnSpLocks/>
          </p:cNvCxnSpPr>
          <p:nvPr/>
        </p:nvCxnSpPr>
        <p:spPr>
          <a:xfrm>
            <a:off x="9873206" y="2696520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3" name="Straight Connector 1002">
            <a:extLst>
              <a:ext uri="{FF2B5EF4-FFF2-40B4-BE49-F238E27FC236}">
                <a16:creationId xmlns:a16="http://schemas.microsoft.com/office/drawing/2014/main" id="{FEF20216-0449-5619-4B8F-4B85FAC70805}"/>
              </a:ext>
            </a:extLst>
          </p:cNvPr>
          <p:cNvCxnSpPr>
            <a:cxnSpLocks/>
          </p:cNvCxnSpPr>
          <p:nvPr/>
        </p:nvCxnSpPr>
        <p:spPr>
          <a:xfrm>
            <a:off x="9868889" y="2696463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4" name="Straight Connector 1003">
            <a:extLst>
              <a:ext uri="{FF2B5EF4-FFF2-40B4-BE49-F238E27FC236}">
                <a16:creationId xmlns:a16="http://schemas.microsoft.com/office/drawing/2014/main" id="{2B83DED7-1562-2857-94D6-F01FA40A50C6}"/>
              </a:ext>
            </a:extLst>
          </p:cNvPr>
          <p:cNvCxnSpPr>
            <a:cxnSpLocks/>
          </p:cNvCxnSpPr>
          <p:nvPr/>
        </p:nvCxnSpPr>
        <p:spPr>
          <a:xfrm>
            <a:off x="9864572" y="2696073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5" name="Straight Connector 1004">
            <a:extLst>
              <a:ext uri="{FF2B5EF4-FFF2-40B4-BE49-F238E27FC236}">
                <a16:creationId xmlns:a16="http://schemas.microsoft.com/office/drawing/2014/main" id="{A3D40048-E0ED-EEA4-EE60-C8AD1ECA4B31}"/>
              </a:ext>
            </a:extLst>
          </p:cNvPr>
          <p:cNvCxnSpPr>
            <a:cxnSpLocks/>
          </p:cNvCxnSpPr>
          <p:nvPr/>
        </p:nvCxnSpPr>
        <p:spPr>
          <a:xfrm>
            <a:off x="9860255" y="2696520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6" name="Straight Connector 1005">
            <a:extLst>
              <a:ext uri="{FF2B5EF4-FFF2-40B4-BE49-F238E27FC236}">
                <a16:creationId xmlns:a16="http://schemas.microsoft.com/office/drawing/2014/main" id="{DDB38315-99E1-986A-337E-F100B771FE96}"/>
              </a:ext>
            </a:extLst>
          </p:cNvPr>
          <p:cNvCxnSpPr>
            <a:cxnSpLocks/>
          </p:cNvCxnSpPr>
          <p:nvPr/>
        </p:nvCxnSpPr>
        <p:spPr>
          <a:xfrm>
            <a:off x="9855937" y="2696073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7" name="Straight Connector 1006">
            <a:extLst>
              <a:ext uri="{FF2B5EF4-FFF2-40B4-BE49-F238E27FC236}">
                <a16:creationId xmlns:a16="http://schemas.microsoft.com/office/drawing/2014/main" id="{67B011B5-0627-2D7E-F695-075E1E63CE3E}"/>
              </a:ext>
            </a:extLst>
          </p:cNvPr>
          <p:cNvCxnSpPr>
            <a:cxnSpLocks/>
          </p:cNvCxnSpPr>
          <p:nvPr/>
        </p:nvCxnSpPr>
        <p:spPr>
          <a:xfrm>
            <a:off x="9851621" y="2696463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8" name="Straight Connector 1007">
            <a:extLst>
              <a:ext uri="{FF2B5EF4-FFF2-40B4-BE49-F238E27FC236}">
                <a16:creationId xmlns:a16="http://schemas.microsoft.com/office/drawing/2014/main" id="{6403A6E3-D612-C31B-B9E9-F814497AB969}"/>
              </a:ext>
            </a:extLst>
          </p:cNvPr>
          <p:cNvCxnSpPr>
            <a:cxnSpLocks/>
          </p:cNvCxnSpPr>
          <p:nvPr/>
        </p:nvCxnSpPr>
        <p:spPr>
          <a:xfrm>
            <a:off x="9847303" y="2696463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9" name="Straight Connector 1008">
            <a:extLst>
              <a:ext uri="{FF2B5EF4-FFF2-40B4-BE49-F238E27FC236}">
                <a16:creationId xmlns:a16="http://schemas.microsoft.com/office/drawing/2014/main" id="{C48F12A8-1D4C-FD8B-DA3D-972449F5EA7D}"/>
              </a:ext>
            </a:extLst>
          </p:cNvPr>
          <p:cNvCxnSpPr>
            <a:cxnSpLocks/>
          </p:cNvCxnSpPr>
          <p:nvPr/>
        </p:nvCxnSpPr>
        <p:spPr>
          <a:xfrm>
            <a:off x="9842987" y="2696435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0" name="Straight Connector 1009">
            <a:extLst>
              <a:ext uri="{FF2B5EF4-FFF2-40B4-BE49-F238E27FC236}">
                <a16:creationId xmlns:a16="http://schemas.microsoft.com/office/drawing/2014/main" id="{7D7AF182-C782-FAC0-E139-FA262B7A7D46}"/>
              </a:ext>
            </a:extLst>
          </p:cNvPr>
          <p:cNvCxnSpPr>
            <a:cxnSpLocks/>
          </p:cNvCxnSpPr>
          <p:nvPr/>
        </p:nvCxnSpPr>
        <p:spPr>
          <a:xfrm>
            <a:off x="9838669" y="2696463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1" name="Straight Connector 1010">
            <a:extLst>
              <a:ext uri="{FF2B5EF4-FFF2-40B4-BE49-F238E27FC236}">
                <a16:creationId xmlns:a16="http://schemas.microsoft.com/office/drawing/2014/main" id="{2C106F54-4981-B495-BBFD-D43466E45A89}"/>
              </a:ext>
            </a:extLst>
          </p:cNvPr>
          <p:cNvCxnSpPr>
            <a:cxnSpLocks/>
          </p:cNvCxnSpPr>
          <p:nvPr/>
        </p:nvCxnSpPr>
        <p:spPr>
          <a:xfrm>
            <a:off x="9834353" y="2696073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2" name="Straight Connector 1011">
            <a:extLst>
              <a:ext uri="{FF2B5EF4-FFF2-40B4-BE49-F238E27FC236}">
                <a16:creationId xmlns:a16="http://schemas.microsoft.com/office/drawing/2014/main" id="{112388B7-2668-D23A-D594-43F4C93093AA}"/>
              </a:ext>
            </a:extLst>
          </p:cNvPr>
          <p:cNvCxnSpPr>
            <a:cxnSpLocks/>
          </p:cNvCxnSpPr>
          <p:nvPr/>
        </p:nvCxnSpPr>
        <p:spPr>
          <a:xfrm>
            <a:off x="9830035" y="2696463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3" name="Straight Connector 1012">
            <a:extLst>
              <a:ext uri="{FF2B5EF4-FFF2-40B4-BE49-F238E27FC236}">
                <a16:creationId xmlns:a16="http://schemas.microsoft.com/office/drawing/2014/main" id="{1ED3C975-BB85-B4E7-C531-CCC98DAC8FE7}"/>
              </a:ext>
            </a:extLst>
          </p:cNvPr>
          <p:cNvCxnSpPr>
            <a:cxnSpLocks/>
          </p:cNvCxnSpPr>
          <p:nvPr/>
        </p:nvCxnSpPr>
        <p:spPr>
          <a:xfrm>
            <a:off x="9825719" y="2696463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4" name="Straight Connector 1013">
            <a:extLst>
              <a:ext uri="{FF2B5EF4-FFF2-40B4-BE49-F238E27FC236}">
                <a16:creationId xmlns:a16="http://schemas.microsoft.com/office/drawing/2014/main" id="{D95C33DF-89D7-DDAE-8107-7B6B2C43444C}"/>
              </a:ext>
            </a:extLst>
          </p:cNvPr>
          <p:cNvCxnSpPr>
            <a:cxnSpLocks/>
          </p:cNvCxnSpPr>
          <p:nvPr/>
        </p:nvCxnSpPr>
        <p:spPr>
          <a:xfrm>
            <a:off x="9821401" y="2696435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5" name="Straight Connector 1014">
            <a:extLst>
              <a:ext uri="{FF2B5EF4-FFF2-40B4-BE49-F238E27FC236}">
                <a16:creationId xmlns:a16="http://schemas.microsoft.com/office/drawing/2014/main" id="{31CB5101-909F-D801-74DE-171567D4C416}"/>
              </a:ext>
            </a:extLst>
          </p:cNvPr>
          <p:cNvCxnSpPr>
            <a:cxnSpLocks/>
          </p:cNvCxnSpPr>
          <p:nvPr/>
        </p:nvCxnSpPr>
        <p:spPr>
          <a:xfrm>
            <a:off x="9817085" y="2696435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6" name="Straight Connector 1015">
            <a:extLst>
              <a:ext uri="{FF2B5EF4-FFF2-40B4-BE49-F238E27FC236}">
                <a16:creationId xmlns:a16="http://schemas.microsoft.com/office/drawing/2014/main" id="{19399456-A3CF-C20D-6AC1-58374A412D26}"/>
              </a:ext>
            </a:extLst>
          </p:cNvPr>
          <p:cNvCxnSpPr>
            <a:cxnSpLocks/>
          </p:cNvCxnSpPr>
          <p:nvPr/>
        </p:nvCxnSpPr>
        <p:spPr>
          <a:xfrm>
            <a:off x="9812767" y="2696463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7" name="Straight Connector 1016">
            <a:extLst>
              <a:ext uri="{FF2B5EF4-FFF2-40B4-BE49-F238E27FC236}">
                <a16:creationId xmlns:a16="http://schemas.microsoft.com/office/drawing/2014/main" id="{C60844F1-0A8C-02A1-2586-1137F4DE7D51}"/>
              </a:ext>
            </a:extLst>
          </p:cNvPr>
          <p:cNvCxnSpPr>
            <a:cxnSpLocks/>
          </p:cNvCxnSpPr>
          <p:nvPr/>
        </p:nvCxnSpPr>
        <p:spPr>
          <a:xfrm>
            <a:off x="9808450" y="2696073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8" name="Straight Connector 1017">
            <a:extLst>
              <a:ext uri="{FF2B5EF4-FFF2-40B4-BE49-F238E27FC236}">
                <a16:creationId xmlns:a16="http://schemas.microsoft.com/office/drawing/2014/main" id="{B959ABD9-11AA-30C6-3BC7-A76506FC7A1C}"/>
              </a:ext>
            </a:extLst>
          </p:cNvPr>
          <p:cNvCxnSpPr>
            <a:cxnSpLocks/>
          </p:cNvCxnSpPr>
          <p:nvPr/>
        </p:nvCxnSpPr>
        <p:spPr>
          <a:xfrm>
            <a:off x="9804133" y="2696463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9" name="Straight Connector 1018">
            <a:extLst>
              <a:ext uri="{FF2B5EF4-FFF2-40B4-BE49-F238E27FC236}">
                <a16:creationId xmlns:a16="http://schemas.microsoft.com/office/drawing/2014/main" id="{E31E59B4-D13A-887C-CA1E-B7582A6B8B0B}"/>
              </a:ext>
            </a:extLst>
          </p:cNvPr>
          <p:cNvCxnSpPr>
            <a:cxnSpLocks/>
          </p:cNvCxnSpPr>
          <p:nvPr/>
        </p:nvCxnSpPr>
        <p:spPr>
          <a:xfrm>
            <a:off x="9799241" y="2696435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0" name="Straight Connector 1019">
            <a:extLst>
              <a:ext uri="{FF2B5EF4-FFF2-40B4-BE49-F238E27FC236}">
                <a16:creationId xmlns:a16="http://schemas.microsoft.com/office/drawing/2014/main" id="{EBD5BFF6-CFF3-88F1-75C9-B266C4F59691}"/>
              </a:ext>
            </a:extLst>
          </p:cNvPr>
          <p:cNvCxnSpPr>
            <a:cxnSpLocks/>
          </p:cNvCxnSpPr>
          <p:nvPr/>
        </p:nvCxnSpPr>
        <p:spPr>
          <a:xfrm>
            <a:off x="9794923" y="2696463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1" name="Straight Connector 1020">
            <a:extLst>
              <a:ext uri="{FF2B5EF4-FFF2-40B4-BE49-F238E27FC236}">
                <a16:creationId xmlns:a16="http://schemas.microsoft.com/office/drawing/2014/main" id="{8E07986C-07D8-1C40-535C-09B03ED0A5EF}"/>
              </a:ext>
            </a:extLst>
          </p:cNvPr>
          <p:cNvCxnSpPr>
            <a:cxnSpLocks/>
          </p:cNvCxnSpPr>
          <p:nvPr/>
        </p:nvCxnSpPr>
        <p:spPr>
          <a:xfrm>
            <a:off x="9790607" y="2696463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2" name="Straight Connector 1021">
            <a:extLst>
              <a:ext uri="{FF2B5EF4-FFF2-40B4-BE49-F238E27FC236}">
                <a16:creationId xmlns:a16="http://schemas.microsoft.com/office/drawing/2014/main" id="{647E5F38-F252-E7C0-3970-348B4C71C7C7}"/>
              </a:ext>
            </a:extLst>
          </p:cNvPr>
          <p:cNvCxnSpPr>
            <a:cxnSpLocks/>
          </p:cNvCxnSpPr>
          <p:nvPr/>
        </p:nvCxnSpPr>
        <p:spPr>
          <a:xfrm>
            <a:off x="9786290" y="2696520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3" name="Straight Connector 1022">
            <a:extLst>
              <a:ext uri="{FF2B5EF4-FFF2-40B4-BE49-F238E27FC236}">
                <a16:creationId xmlns:a16="http://schemas.microsoft.com/office/drawing/2014/main" id="{6CF93112-6783-5039-D296-3B84D1D7CF30}"/>
              </a:ext>
            </a:extLst>
          </p:cNvPr>
          <p:cNvCxnSpPr>
            <a:cxnSpLocks/>
          </p:cNvCxnSpPr>
          <p:nvPr/>
        </p:nvCxnSpPr>
        <p:spPr>
          <a:xfrm>
            <a:off x="9781973" y="2696463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4" name="Straight Connector 1023">
            <a:extLst>
              <a:ext uri="{FF2B5EF4-FFF2-40B4-BE49-F238E27FC236}">
                <a16:creationId xmlns:a16="http://schemas.microsoft.com/office/drawing/2014/main" id="{0BDCC2D2-C56C-253A-FE92-EF02A70D43CF}"/>
              </a:ext>
            </a:extLst>
          </p:cNvPr>
          <p:cNvCxnSpPr>
            <a:cxnSpLocks/>
          </p:cNvCxnSpPr>
          <p:nvPr/>
        </p:nvCxnSpPr>
        <p:spPr>
          <a:xfrm>
            <a:off x="9777655" y="2696463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5" name="Straight Connector 1024">
            <a:extLst>
              <a:ext uri="{FF2B5EF4-FFF2-40B4-BE49-F238E27FC236}">
                <a16:creationId xmlns:a16="http://schemas.microsoft.com/office/drawing/2014/main" id="{7825D7D9-4514-869A-6CA6-12AD2D17DD17}"/>
              </a:ext>
            </a:extLst>
          </p:cNvPr>
          <p:cNvCxnSpPr>
            <a:cxnSpLocks/>
          </p:cNvCxnSpPr>
          <p:nvPr/>
        </p:nvCxnSpPr>
        <p:spPr>
          <a:xfrm>
            <a:off x="9773339" y="2696520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6" name="Straight Connector 1025">
            <a:extLst>
              <a:ext uri="{FF2B5EF4-FFF2-40B4-BE49-F238E27FC236}">
                <a16:creationId xmlns:a16="http://schemas.microsoft.com/office/drawing/2014/main" id="{E210BD49-68FE-1730-CCAA-03D3B3D2FBE1}"/>
              </a:ext>
            </a:extLst>
          </p:cNvPr>
          <p:cNvCxnSpPr>
            <a:cxnSpLocks/>
          </p:cNvCxnSpPr>
          <p:nvPr/>
        </p:nvCxnSpPr>
        <p:spPr>
          <a:xfrm>
            <a:off x="9769022" y="2696463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7" name="Straight Connector 1026">
            <a:extLst>
              <a:ext uri="{FF2B5EF4-FFF2-40B4-BE49-F238E27FC236}">
                <a16:creationId xmlns:a16="http://schemas.microsoft.com/office/drawing/2014/main" id="{03D1455E-11AE-D3AD-94D3-5D8FF49A8637}"/>
              </a:ext>
            </a:extLst>
          </p:cNvPr>
          <p:cNvCxnSpPr>
            <a:cxnSpLocks/>
          </p:cNvCxnSpPr>
          <p:nvPr/>
        </p:nvCxnSpPr>
        <p:spPr>
          <a:xfrm>
            <a:off x="9764705" y="2696463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8" name="Straight Connector 1027">
            <a:extLst>
              <a:ext uri="{FF2B5EF4-FFF2-40B4-BE49-F238E27FC236}">
                <a16:creationId xmlns:a16="http://schemas.microsoft.com/office/drawing/2014/main" id="{9790087B-6F39-6F3A-B278-B2A9525DB31D}"/>
              </a:ext>
            </a:extLst>
          </p:cNvPr>
          <p:cNvCxnSpPr>
            <a:cxnSpLocks/>
          </p:cNvCxnSpPr>
          <p:nvPr/>
        </p:nvCxnSpPr>
        <p:spPr>
          <a:xfrm>
            <a:off x="9760387" y="2696520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9" name="Straight Connector 1028">
            <a:extLst>
              <a:ext uri="{FF2B5EF4-FFF2-40B4-BE49-F238E27FC236}">
                <a16:creationId xmlns:a16="http://schemas.microsoft.com/office/drawing/2014/main" id="{1779B2F1-67F3-0A98-A749-553F87AE84EB}"/>
              </a:ext>
            </a:extLst>
          </p:cNvPr>
          <p:cNvCxnSpPr>
            <a:cxnSpLocks/>
          </p:cNvCxnSpPr>
          <p:nvPr/>
        </p:nvCxnSpPr>
        <p:spPr>
          <a:xfrm>
            <a:off x="9756071" y="2696520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0" name="Straight Connector 1029">
            <a:extLst>
              <a:ext uri="{FF2B5EF4-FFF2-40B4-BE49-F238E27FC236}">
                <a16:creationId xmlns:a16="http://schemas.microsoft.com/office/drawing/2014/main" id="{525367F5-0A21-69C5-DDEB-09211CBAB620}"/>
              </a:ext>
            </a:extLst>
          </p:cNvPr>
          <p:cNvCxnSpPr>
            <a:cxnSpLocks/>
          </p:cNvCxnSpPr>
          <p:nvPr/>
        </p:nvCxnSpPr>
        <p:spPr>
          <a:xfrm>
            <a:off x="9751753" y="2696463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1" name="Straight Connector 1030">
            <a:extLst>
              <a:ext uri="{FF2B5EF4-FFF2-40B4-BE49-F238E27FC236}">
                <a16:creationId xmlns:a16="http://schemas.microsoft.com/office/drawing/2014/main" id="{AF7F529A-539B-59C1-6A10-ADD7B409D1E7}"/>
              </a:ext>
            </a:extLst>
          </p:cNvPr>
          <p:cNvCxnSpPr>
            <a:cxnSpLocks/>
          </p:cNvCxnSpPr>
          <p:nvPr/>
        </p:nvCxnSpPr>
        <p:spPr>
          <a:xfrm>
            <a:off x="9747437" y="2695953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2" name="Straight Connector 1031">
            <a:extLst>
              <a:ext uri="{FF2B5EF4-FFF2-40B4-BE49-F238E27FC236}">
                <a16:creationId xmlns:a16="http://schemas.microsoft.com/office/drawing/2014/main" id="{B00238E5-FE25-20EF-DB3D-D0EF348F4197}"/>
              </a:ext>
            </a:extLst>
          </p:cNvPr>
          <p:cNvCxnSpPr>
            <a:cxnSpLocks/>
          </p:cNvCxnSpPr>
          <p:nvPr/>
        </p:nvCxnSpPr>
        <p:spPr>
          <a:xfrm>
            <a:off x="9743119" y="2696463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3" name="Straight Connector 1032">
            <a:extLst>
              <a:ext uri="{FF2B5EF4-FFF2-40B4-BE49-F238E27FC236}">
                <a16:creationId xmlns:a16="http://schemas.microsoft.com/office/drawing/2014/main" id="{0BDEEF3A-533F-9453-9440-9DB52B7F7212}"/>
              </a:ext>
            </a:extLst>
          </p:cNvPr>
          <p:cNvCxnSpPr>
            <a:cxnSpLocks/>
          </p:cNvCxnSpPr>
          <p:nvPr/>
        </p:nvCxnSpPr>
        <p:spPr>
          <a:xfrm>
            <a:off x="9738802" y="2696463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4" name="Straight Connector 1033">
            <a:extLst>
              <a:ext uri="{FF2B5EF4-FFF2-40B4-BE49-F238E27FC236}">
                <a16:creationId xmlns:a16="http://schemas.microsoft.com/office/drawing/2014/main" id="{A8DD97EE-4520-2CA4-E57C-31105BF8CEE0}"/>
              </a:ext>
            </a:extLst>
          </p:cNvPr>
          <p:cNvCxnSpPr>
            <a:cxnSpLocks/>
          </p:cNvCxnSpPr>
          <p:nvPr/>
        </p:nvCxnSpPr>
        <p:spPr>
          <a:xfrm>
            <a:off x="9734485" y="2696463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5" name="Straight Connector 1034">
            <a:extLst>
              <a:ext uri="{FF2B5EF4-FFF2-40B4-BE49-F238E27FC236}">
                <a16:creationId xmlns:a16="http://schemas.microsoft.com/office/drawing/2014/main" id="{912D4538-0314-183D-5C39-8BC24920E98F}"/>
              </a:ext>
            </a:extLst>
          </p:cNvPr>
          <p:cNvCxnSpPr>
            <a:cxnSpLocks/>
          </p:cNvCxnSpPr>
          <p:nvPr/>
        </p:nvCxnSpPr>
        <p:spPr>
          <a:xfrm>
            <a:off x="9730168" y="2696463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6" name="Straight Connector 1035">
            <a:extLst>
              <a:ext uri="{FF2B5EF4-FFF2-40B4-BE49-F238E27FC236}">
                <a16:creationId xmlns:a16="http://schemas.microsoft.com/office/drawing/2014/main" id="{18D70DEE-0685-1D1A-80B7-620CE30927FA}"/>
              </a:ext>
            </a:extLst>
          </p:cNvPr>
          <p:cNvCxnSpPr>
            <a:cxnSpLocks/>
          </p:cNvCxnSpPr>
          <p:nvPr/>
        </p:nvCxnSpPr>
        <p:spPr>
          <a:xfrm>
            <a:off x="9725851" y="2696435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7" name="Straight Connector 1036">
            <a:extLst>
              <a:ext uri="{FF2B5EF4-FFF2-40B4-BE49-F238E27FC236}">
                <a16:creationId xmlns:a16="http://schemas.microsoft.com/office/drawing/2014/main" id="{4FE5FA16-1961-EC88-EE96-0056D41F58F4}"/>
              </a:ext>
            </a:extLst>
          </p:cNvPr>
          <p:cNvCxnSpPr>
            <a:cxnSpLocks/>
          </p:cNvCxnSpPr>
          <p:nvPr/>
        </p:nvCxnSpPr>
        <p:spPr>
          <a:xfrm>
            <a:off x="9721534" y="2696435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8" name="Straight Connector 1037">
            <a:extLst>
              <a:ext uri="{FF2B5EF4-FFF2-40B4-BE49-F238E27FC236}">
                <a16:creationId xmlns:a16="http://schemas.microsoft.com/office/drawing/2014/main" id="{945025F1-6E4C-18E4-D8C1-908DB8351DA8}"/>
              </a:ext>
            </a:extLst>
          </p:cNvPr>
          <p:cNvCxnSpPr>
            <a:cxnSpLocks/>
          </p:cNvCxnSpPr>
          <p:nvPr/>
        </p:nvCxnSpPr>
        <p:spPr>
          <a:xfrm>
            <a:off x="9717217" y="2696463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9" name="Straight Connector 1038">
            <a:extLst>
              <a:ext uri="{FF2B5EF4-FFF2-40B4-BE49-F238E27FC236}">
                <a16:creationId xmlns:a16="http://schemas.microsoft.com/office/drawing/2014/main" id="{ED604E2C-5E66-6A3E-0AC1-5F89CDF29D6E}"/>
              </a:ext>
            </a:extLst>
          </p:cNvPr>
          <p:cNvCxnSpPr>
            <a:cxnSpLocks/>
          </p:cNvCxnSpPr>
          <p:nvPr/>
        </p:nvCxnSpPr>
        <p:spPr>
          <a:xfrm>
            <a:off x="9712900" y="2695953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0" name="Straight Connector 1039">
            <a:extLst>
              <a:ext uri="{FF2B5EF4-FFF2-40B4-BE49-F238E27FC236}">
                <a16:creationId xmlns:a16="http://schemas.microsoft.com/office/drawing/2014/main" id="{0FEC3A44-C2D0-A722-7C53-A77C646EC3AE}"/>
              </a:ext>
            </a:extLst>
          </p:cNvPr>
          <p:cNvCxnSpPr>
            <a:cxnSpLocks/>
          </p:cNvCxnSpPr>
          <p:nvPr/>
        </p:nvCxnSpPr>
        <p:spPr>
          <a:xfrm>
            <a:off x="9708583" y="2696435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1" name="Straight Connector 1040">
            <a:extLst>
              <a:ext uri="{FF2B5EF4-FFF2-40B4-BE49-F238E27FC236}">
                <a16:creationId xmlns:a16="http://schemas.microsoft.com/office/drawing/2014/main" id="{ABEF5C59-EACF-2738-565D-1FDA4E3C3B2A}"/>
              </a:ext>
            </a:extLst>
          </p:cNvPr>
          <p:cNvCxnSpPr>
            <a:cxnSpLocks/>
          </p:cNvCxnSpPr>
          <p:nvPr/>
        </p:nvCxnSpPr>
        <p:spPr>
          <a:xfrm>
            <a:off x="9704266" y="2695951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2" name="Straight Connector 1041">
            <a:extLst>
              <a:ext uri="{FF2B5EF4-FFF2-40B4-BE49-F238E27FC236}">
                <a16:creationId xmlns:a16="http://schemas.microsoft.com/office/drawing/2014/main" id="{D901F7C8-059B-4757-1D75-61789AF3508F}"/>
              </a:ext>
            </a:extLst>
          </p:cNvPr>
          <p:cNvCxnSpPr>
            <a:cxnSpLocks/>
          </p:cNvCxnSpPr>
          <p:nvPr/>
        </p:nvCxnSpPr>
        <p:spPr>
          <a:xfrm>
            <a:off x="9699949" y="2695953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3" name="Straight Connector 1042">
            <a:extLst>
              <a:ext uri="{FF2B5EF4-FFF2-40B4-BE49-F238E27FC236}">
                <a16:creationId xmlns:a16="http://schemas.microsoft.com/office/drawing/2014/main" id="{6BBF630A-F0F0-FD40-8C33-41456CAF6EB5}"/>
              </a:ext>
            </a:extLst>
          </p:cNvPr>
          <p:cNvCxnSpPr>
            <a:cxnSpLocks/>
          </p:cNvCxnSpPr>
          <p:nvPr/>
        </p:nvCxnSpPr>
        <p:spPr>
          <a:xfrm>
            <a:off x="9695632" y="2696463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4" name="Straight Connector 1043">
            <a:extLst>
              <a:ext uri="{FF2B5EF4-FFF2-40B4-BE49-F238E27FC236}">
                <a16:creationId xmlns:a16="http://schemas.microsoft.com/office/drawing/2014/main" id="{9C10FC16-4DDF-A9BF-AD32-0D4579599CF7}"/>
              </a:ext>
            </a:extLst>
          </p:cNvPr>
          <p:cNvCxnSpPr>
            <a:cxnSpLocks/>
          </p:cNvCxnSpPr>
          <p:nvPr/>
        </p:nvCxnSpPr>
        <p:spPr>
          <a:xfrm>
            <a:off x="9691315" y="2696463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5" name="Straight Connector 1044">
            <a:extLst>
              <a:ext uri="{FF2B5EF4-FFF2-40B4-BE49-F238E27FC236}">
                <a16:creationId xmlns:a16="http://schemas.microsoft.com/office/drawing/2014/main" id="{09351DAB-A31B-EDCC-25F2-8D735AB5D6A6}"/>
              </a:ext>
            </a:extLst>
          </p:cNvPr>
          <p:cNvCxnSpPr>
            <a:cxnSpLocks/>
          </p:cNvCxnSpPr>
          <p:nvPr/>
        </p:nvCxnSpPr>
        <p:spPr>
          <a:xfrm>
            <a:off x="9686998" y="2696463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6" name="Straight Connector 1045">
            <a:extLst>
              <a:ext uri="{FF2B5EF4-FFF2-40B4-BE49-F238E27FC236}">
                <a16:creationId xmlns:a16="http://schemas.microsoft.com/office/drawing/2014/main" id="{CBB0BC5C-3A6D-7BF7-A577-D09E4B34BC73}"/>
              </a:ext>
            </a:extLst>
          </p:cNvPr>
          <p:cNvCxnSpPr>
            <a:cxnSpLocks/>
          </p:cNvCxnSpPr>
          <p:nvPr/>
        </p:nvCxnSpPr>
        <p:spPr>
          <a:xfrm>
            <a:off x="9682969" y="2695951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7" name="Straight Connector 1046">
            <a:extLst>
              <a:ext uri="{FF2B5EF4-FFF2-40B4-BE49-F238E27FC236}">
                <a16:creationId xmlns:a16="http://schemas.microsoft.com/office/drawing/2014/main" id="{18926ACB-445F-03BD-56F0-7E15C7F5AF90}"/>
              </a:ext>
            </a:extLst>
          </p:cNvPr>
          <p:cNvCxnSpPr>
            <a:cxnSpLocks/>
          </p:cNvCxnSpPr>
          <p:nvPr/>
        </p:nvCxnSpPr>
        <p:spPr>
          <a:xfrm>
            <a:off x="9678652" y="2696463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8" name="Straight Connector 1047">
            <a:extLst>
              <a:ext uri="{FF2B5EF4-FFF2-40B4-BE49-F238E27FC236}">
                <a16:creationId xmlns:a16="http://schemas.microsoft.com/office/drawing/2014/main" id="{FBEC4EB9-C78D-D52D-2710-89179D6CFCAC}"/>
              </a:ext>
            </a:extLst>
          </p:cNvPr>
          <p:cNvCxnSpPr>
            <a:cxnSpLocks/>
          </p:cNvCxnSpPr>
          <p:nvPr/>
        </p:nvCxnSpPr>
        <p:spPr>
          <a:xfrm>
            <a:off x="9674334" y="2696463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9" name="Straight Connector 1048">
            <a:extLst>
              <a:ext uri="{FF2B5EF4-FFF2-40B4-BE49-F238E27FC236}">
                <a16:creationId xmlns:a16="http://schemas.microsoft.com/office/drawing/2014/main" id="{2FA0F21A-DAEF-BF3F-8FB5-4C829625112C}"/>
              </a:ext>
            </a:extLst>
          </p:cNvPr>
          <p:cNvCxnSpPr>
            <a:cxnSpLocks/>
          </p:cNvCxnSpPr>
          <p:nvPr/>
        </p:nvCxnSpPr>
        <p:spPr>
          <a:xfrm>
            <a:off x="9670018" y="2696463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0" name="Straight Connector 1049">
            <a:extLst>
              <a:ext uri="{FF2B5EF4-FFF2-40B4-BE49-F238E27FC236}">
                <a16:creationId xmlns:a16="http://schemas.microsoft.com/office/drawing/2014/main" id="{A3C9BC76-348A-B0F4-E626-4AB04F7894CC}"/>
              </a:ext>
            </a:extLst>
          </p:cNvPr>
          <p:cNvCxnSpPr>
            <a:cxnSpLocks/>
          </p:cNvCxnSpPr>
          <p:nvPr/>
        </p:nvCxnSpPr>
        <p:spPr>
          <a:xfrm>
            <a:off x="9665701" y="2696463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1" name="Straight Connector 1050">
            <a:extLst>
              <a:ext uri="{FF2B5EF4-FFF2-40B4-BE49-F238E27FC236}">
                <a16:creationId xmlns:a16="http://schemas.microsoft.com/office/drawing/2014/main" id="{C2D6FD28-0B21-132E-86B3-7DC7234B66B8}"/>
              </a:ext>
            </a:extLst>
          </p:cNvPr>
          <p:cNvCxnSpPr>
            <a:cxnSpLocks/>
          </p:cNvCxnSpPr>
          <p:nvPr/>
        </p:nvCxnSpPr>
        <p:spPr>
          <a:xfrm>
            <a:off x="9661383" y="2696463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2" name="Straight Connector 1051">
            <a:extLst>
              <a:ext uri="{FF2B5EF4-FFF2-40B4-BE49-F238E27FC236}">
                <a16:creationId xmlns:a16="http://schemas.microsoft.com/office/drawing/2014/main" id="{2C041B26-3072-D3FE-5C29-567AE43ABB7A}"/>
              </a:ext>
            </a:extLst>
          </p:cNvPr>
          <p:cNvCxnSpPr>
            <a:cxnSpLocks/>
          </p:cNvCxnSpPr>
          <p:nvPr/>
        </p:nvCxnSpPr>
        <p:spPr>
          <a:xfrm>
            <a:off x="9657066" y="2695951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3" name="Straight Connector 1052">
            <a:extLst>
              <a:ext uri="{FF2B5EF4-FFF2-40B4-BE49-F238E27FC236}">
                <a16:creationId xmlns:a16="http://schemas.microsoft.com/office/drawing/2014/main" id="{6D5CB106-276B-3447-C877-260D54021237}"/>
              </a:ext>
            </a:extLst>
          </p:cNvPr>
          <p:cNvCxnSpPr>
            <a:cxnSpLocks/>
          </p:cNvCxnSpPr>
          <p:nvPr/>
        </p:nvCxnSpPr>
        <p:spPr>
          <a:xfrm>
            <a:off x="9652749" y="2696463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4" name="Straight Connector 1053">
            <a:extLst>
              <a:ext uri="{FF2B5EF4-FFF2-40B4-BE49-F238E27FC236}">
                <a16:creationId xmlns:a16="http://schemas.microsoft.com/office/drawing/2014/main" id="{467F4369-0C0F-8E95-E1B6-FF4939D8F814}"/>
              </a:ext>
            </a:extLst>
          </p:cNvPr>
          <p:cNvCxnSpPr>
            <a:cxnSpLocks/>
          </p:cNvCxnSpPr>
          <p:nvPr/>
        </p:nvCxnSpPr>
        <p:spPr>
          <a:xfrm>
            <a:off x="9649295" y="2696463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5" name="Straight Connector 1054">
            <a:extLst>
              <a:ext uri="{FF2B5EF4-FFF2-40B4-BE49-F238E27FC236}">
                <a16:creationId xmlns:a16="http://schemas.microsoft.com/office/drawing/2014/main" id="{91A030BF-DB9B-A697-6612-491C998F362F}"/>
              </a:ext>
            </a:extLst>
          </p:cNvPr>
          <p:cNvCxnSpPr>
            <a:cxnSpLocks/>
          </p:cNvCxnSpPr>
          <p:nvPr/>
        </p:nvCxnSpPr>
        <p:spPr>
          <a:xfrm>
            <a:off x="9629437" y="2696463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6" name="Straight Connector 1055">
            <a:extLst>
              <a:ext uri="{FF2B5EF4-FFF2-40B4-BE49-F238E27FC236}">
                <a16:creationId xmlns:a16="http://schemas.microsoft.com/office/drawing/2014/main" id="{0943DC0C-CF26-8C8E-EF12-F1C7D277CFE4}"/>
              </a:ext>
            </a:extLst>
          </p:cNvPr>
          <p:cNvCxnSpPr>
            <a:cxnSpLocks/>
          </p:cNvCxnSpPr>
          <p:nvPr/>
        </p:nvCxnSpPr>
        <p:spPr>
          <a:xfrm>
            <a:off x="9625120" y="2695951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7" name="Straight Connector 1056">
            <a:extLst>
              <a:ext uri="{FF2B5EF4-FFF2-40B4-BE49-F238E27FC236}">
                <a16:creationId xmlns:a16="http://schemas.microsoft.com/office/drawing/2014/main" id="{5DB20026-2086-44F0-1351-75E6C39B064E}"/>
              </a:ext>
            </a:extLst>
          </p:cNvPr>
          <p:cNvCxnSpPr>
            <a:cxnSpLocks/>
          </p:cNvCxnSpPr>
          <p:nvPr/>
        </p:nvCxnSpPr>
        <p:spPr>
          <a:xfrm>
            <a:off x="9620803" y="2696463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8" name="Straight Connector 1057">
            <a:extLst>
              <a:ext uri="{FF2B5EF4-FFF2-40B4-BE49-F238E27FC236}">
                <a16:creationId xmlns:a16="http://schemas.microsoft.com/office/drawing/2014/main" id="{BC8FF002-1A0C-D9BF-0380-8AF7A8DF3640}"/>
              </a:ext>
            </a:extLst>
          </p:cNvPr>
          <p:cNvCxnSpPr>
            <a:cxnSpLocks/>
          </p:cNvCxnSpPr>
          <p:nvPr/>
        </p:nvCxnSpPr>
        <p:spPr>
          <a:xfrm>
            <a:off x="9616486" y="2696520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9" name="Straight Connector 1058">
            <a:extLst>
              <a:ext uri="{FF2B5EF4-FFF2-40B4-BE49-F238E27FC236}">
                <a16:creationId xmlns:a16="http://schemas.microsoft.com/office/drawing/2014/main" id="{E44AA56A-CF91-B28E-3BC4-7A02C63A9D0F}"/>
              </a:ext>
            </a:extLst>
          </p:cNvPr>
          <p:cNvCxnSpPr>
            <a:cxnSpLocks/>
          </p:cNvCxnSpPr>
          <p:nvPr/>
        </p:nvCxnSpPr>
        <p:spPr>
          <a:xfrm>
            <a:off x="9578532" y="2695953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0" name="Straight Connector 1059">
            <a:extLst>
              <a:ext uri="{FF2B5EF4-FFF2-40B4-BE49-F238E27FC236}">
                <a16:creationId xmlns:a16="http://schemas.microsoft.com/office/drawing/2014/main" id="{1FCA2ACC-1AF9-65B1-87EC-ECF339613232}"/>
              </a:ext>
            </a:extLst>
          </p:cNvPr>
          <p:cNvCxnSpPr>
            <a:cxnSpLocks/>
          </p:cNvCxnSpPr>
          <p:nvPr/>
        </p:nvCxnSpPr>
        <p:spPr>
          <a:xfrm>
            <a:off x="9574179" y="2695953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1" name="Straight Connector 1060">
            <a:extLst>
              <a:ext uri="{FF2B5EF4-FFF2-40B4-BE49-F238E27FC236}">
                <a16:creationId xmlns:a16="http://schemas.microsoft.com/office/drawing/2014/main" id="{BA831958-29B3-F1F8-041B-181824BF4247}"/>
              </a:ext>
            </a:extLst>
          </p:cNvPr>
          <p:cNvCxnSpPr>
            <a:cxnSpLocks/>
          </p:cNvCxnSpPr>
          <p:nvPr/>
        </p:nvCxnSpPr>
        <p:spPr>
          <a:xfrm>
            <a:off x="9569862" y="2696463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2" name="Straight Connector 1061">
            <a:extLst>
              <a:ext uri="{FF2B5EF4-FFF2-40B4-BE49-F238E27FC236}">
                <a16:creationId xmlns:a16="http://schemas.microsoft.com/office/drawing/2014/main" id="{7126A36C-9C4B-6F41-94B1-B09AA8CC5E78}"/>
              </a:ext>
            </a:extLst>
          </p:cNvPr>
          <p:cNvCxnSpPr>
            <a:cxnSpLocks/>
          </p:cNvCxnSpPr>
          <p:nvPr/>
        </p:nvCxnSpPr>
        <p:spPr>
          <a:xfrm>
            <a:off x="9565545" y="2696463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3" name="Straight Connector 1062">
            <a:extLst>
              <a:ext uri="{FF2B5EF4-FFF2-40B4-BE49-F238E27FC236}">
                <a16:creationId xmlns:a16="http://schemas.microsoft.com/office/drawing/2014/main" id="{4887AE8E-F228-799F-5876-05636F13D74B}"/>
              </a:ext>
            </a:extLst>
          </p:cNvPr>
          <p:cNvCxnSpPr>
            <a:cxnSpLocks/>
          </p:cNvCxnSpPr>
          <p:nvPr/>
        </p:nvCxnSpPr>
        <p:spPr>
          <a:xfrm>
            <a:off x="9509423" y="2674334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4" name="Straight Connector 1063">
            <a:extLst>
              <a:ext uri="{FF2B5EF4-FFF2-40B4-BE49-F238E27FC236}">
                <a16:creationId xmlns:a16="http://schemas.microsoft.com/office/drawing/2014/main" id="{C0474A05-CC7A-A88A-7D9D-7B62A885C1F2}"/>
              </a:ext>
            </a:extLst>
          </p:cNvPr>
          <p:cNvCxnSpPr>
            <a:cxnSpLocks/>
          </p:cNvCxnSpPr>
          <p:nvPr/>
        </p:nvCxnSpPr>
        <p:spPr>
          <a:xfrm>
            <a:off x="9504243" y="2674334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5" name="Straight Connector 1064">
            <a:extLst>
              <a:ext uri="{FF2B5EF4-FFF2-40B4-BE49-F238E27FC236}">
                <a16:creationId xmlns:a16="http://schemas.microsoft.com/office/drawing/2014/main" id="{E7C2303C-155C-FEFF-61FE-1D803C4E4322}"/>
              </a:ext>
            </a:extLst>
          </p:cNvPr>
          <p:cNvCxnSpPr>
            <a:cxnSpLocks/>
          </p:cNvCxnSpPr>
          <p:nvPr/>
        </p:nvCxnSpPr>
        <p:spPr>
          <a:xfrm>
            <a:off x="9493019" y="2674334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6" name="Straight Connector 1065">
            <a:extLst>
              <a:ext uri="{FF2B5EF4-FFF2-40B4-BE49-F238E27FC236}">
                <a16:creationId xmlns:a16="http://schemas.microsoft.com/office/drawing/2014/main" id="{CEDA94BB-D635-8E89-F22F-BA1BC408DC3F}"/>
              </a:ext>
            </a:extLst>
          </p:cNvPr>
          <p:cNvCxnSpPr>
            <a:cxnSpLocks/>
          </p:cNvCxnSpPr>
          <p:nvPr/>
        </p:nvCxnSpPr>
        <p:spPr>
          <a:xfrm>
            <a:off x="9487838" y="2674334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7" name="Straight Connector 1066">
            <a:extLst>
              <a:ext uri="{FF2B5EF4-FFF2-40B4-BE49-F238E27FC236}">
                <a16:creationId xmlns:a16="http://schemas.microsoft.com/office/drawing/2014/main" id="{F6365B59-8414-A37C-417B-6F1FDCBB452D}"/>
              </a:ext>
            </a:extLst>
          </p:cNvPr>
          <p:cNvCxnSpPr>
            <a:cxnSpLocks/>
          </p:cNvCxnSpPr>
          <p:nvPr/>
        </p:nvCxnSpPr>
        <p:spPr>
          <a:xfrm>
            <a:off x="9445531" y="2674334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8" name="Straight Connector 1067">
            <a:extLst>
              <a:ext uri="{FF2B5EF4-FFF2-40B4-BE49-F238E27FC236}">
                <a16:creationId xmlns:a16="http://schemas.microsoft.com/office/drawing/2014/main" id="{D71D9703-E887-BCCB-B093-829EFC4B1EA5}"/>
              </a:ext>
            </a:extLst>
          </p:cNvPr>
          <p:cNvCxnSpPr>
            <a:cxnSpLocks/>
          </p:cNvCxnSpPr>
          <p:nvPr/>
        </p:nvCxnSpPr>
        <p:spPr>
          <a:xfrm>
            <a:off x="9439182" y="2674334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9" name="Straight Connector 1068">
            <a:extLst>
              <a:ext uri="{FF2B5EF4-FFF2-40B4-BE49-F238E27FC236}">
                <a16:creationId xmlns:a16="http://schemas.microsoft.com/office/drawing/2014/main" id="{8BBC2C03-9ED3-55B4-B012-B2736F55F6A9}"/>
              </a:ext>
            </a:extLst>
          </p:cNvPr>
          <p:cNvCxnSpPr>
            <a:cxnSpLocks/>
          </p:cNvCxnSpPr>
          <p:nvPr/>
        </p:nvCxnSpPr>
        <p:spPr>
          <a:xfrm>
            <a:off x="9423082" y="2674334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0" name="Straight Connector 1069">
            <a:extLst>
              <a:ext uri="{FF2B5EF4-FFF2-40B4-BE49-F238E27FC236}">
                <a16:creationId xmlns:a16="http://schemas.microsoft.com/office/drawing/2014/main" id="{7FA4C9FF-E546-6C9A-173C-54EBAC9C2336}"/>
              </a:ext>
            </a:extLst>
          </p:cNvPr>
          <p:cNvCxnSpPr>
            <a:cxnSpLocks/>
          </p:cNvCxnSpPr>
          <p:nvPr/>
        </p:nvCxnSpPr>
        <p:spPr>
          <a:xfrm>
            <a:off x="9417902" y="2674334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1" name="Straight Connector 1070">
            <a:extLst>
              <a:ext uri="{FF2B5EF4-FFF2-40B4-BE49-F238E27FC236}">
                <a16:creationId xmlns:a16="http://schemas.microsoft.com/office/drawing/2014/main" id="{1CA56A04-8CF6-2B87-68BA-A29D2D645D6D}"/>
              </a:ext>
            </a:extLst>
          </p:cNvPr>
          <p:cNvCxnSpPr>
            <a:cxnSpLocks/>
          </p:cNvCxnSpPr>
          <p:nvPr/>
        </p:nvCxnSpPr>
        <p:spPr>
          <a:xfrm>
            <a:off x="9407541" y="2674334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2" name="Straight Connector 1071">
            <a:extLst>
              <a:ext uri="{FF2B5EF4-FFF2-40B4-BE49-F238E27FC236}">
                <a16:creationId xmlns:a16="http://schemas.microsoft.com/office/drawing/2014/main" id="{0FF8F284-2B1B-C805-938A-DB434F8A7849}"/>
              </a:ext>
            </a:extLst>
          </p:cNvPr>
          <p:cNvCxnSpPr>
            <a:cxnSpLocks/>
          </p:cNvCxnSpPr>
          <p:nvPr/>
        </p:nvCxnSpPr>
        <p:spPr>
          <a:xfrm>
            <a:off x="9324205" y="2674334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3" name="Straight Connector 1072">
            <a:extLst>
              <a:ext uri="{FF2B5EF4-FFF2-40B4-BE49-F238E27FC236}">
                <a16:creationId xmlns:a16="http://schemas.microsoft.com/office/drawing/2014/main" id="{070A6484-EDDA-E694-2CDA-93054D9A79F2}"/>
              </a:ext>
            </a:extLst>
          </p:cNvPr>
          <p:cNvCxnSpPr>
            <a:cxnSpLocks/>
          </p:cNvCxnSpPr>
          <p:nvPr/>
        </p:nvCxnSpPr>
        <p:spPr>
          <a:xfrm>
            <a:off x="9318740" y="2674334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4" name="Straight Connector 1073">
            <a:extLst>
              <a:ext uri="{FF2B5EF4-FFF2-40B4-BE49-F238E27FC236}">
                <a16:creationId xmlns:a16="http://schemas.microsoft.com/office/drawing/2014/main" id="{4ABD63BA-6645-E5F6-56DE-40C451FE67E3}"/>
              </a:ext>
            </a:extLst>
          </p:cNvPr>
          <p:cNvCxnSpPr>
            <a:cxnSpLocks/>
          </p:cNvCxnSpPr>
          <p:nvPr/>
        </p:nvCxnSpPr>
        <p:spPr>
          <a:xfrm>
            <a:off x="9313559" y="2674446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5" name="Straight Connector 1074">
            <a:extLst>
              <a:ext uri="{FF2B5EF4-FFF2-40B4-BE49-F238E27FC236}">
                <a16:creationId xmlns:a16="http://schemas.microsoft.com/office/drawing/2014/main" id="{97D91285-7954-7363-04BD-2C7DC2AFC4B7}"/>
              </a:ext>
            </a:extLst>
          </p:cNvPr>
          <p:cNvCxnSpPr>
            <a:cxnSpLocks/>
          </p:cNvCxnSpPr>
          <p:nvPr/>
        </p:nvCxnSpPr>
        <p:spPr>
          <a:xfrm>
            <a:off x="9308379" y="2674446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6" name="Straight Connector 1075">
            <a:extLst>
              <a:ext uri="{FF2B5EF4-FFF2-40B4-BE49-F238E27FC236}">
                <a16:creationId xmlns:a16="http://schemas.microsoft.com/office/drawing/2014/main" id="{B7832D6E-DFF8-C4AF-87B9-BC57F445A144}"/>
              </a:ext>
            </a:extLst>
          </p:cNvPr>
          <p:cNvCxnSpPr>
            <a:cxnSpLocks/>
          </p:cNvCxnSpPr>
          <p:nvPr/>
        </p:nvCxnSpPr>
        <p:spPr>
          <a:xfrm>
            <a:off x="9302493" y="2674334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7" name="Straight Connector 1076">
            <a:extLst>
              <a:ext uri="{FF2B5EF4-FFF2-40B4-BE49-F238E27FC236}">
                <a16:creationId xmlns:a16="http://schemas.microsoft.com/office/drawing/2014/main" id="{A056BBEC-3B1E-6290-71E2-B69743C2AFA3}"/>
              </a:ext>
            </a:extLst>
          </p:cNvPr>
          <p:cNvCxnSpPr>
            <a:cxnSpLocks/>
          </p:cNvCxnSpPr>
          <p:nvPr/>
        </p:nvCxnSpPr>
        <p:spPr>
          <a:xfrm>
            <a:off x="9169816" y="2670264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8" name="Straight Connector 1077">
            <a:extLst>
              <a:ext uri="{FF2B5EF4-FFF2-40B4-BE49-F238E27FC236}">
                <a16:creationId xmlns:a16="http://schemas.microsoft.com/office/drawing/2014/main" id="{85313D63-1F53-E2B0-DA42-EC65429CA049}"/>
              </a:ext>
            </a:extLst>
          </p:cNvPr>
          <p:cNvCxnSpPr>
            <a:cxnSpLocks/>
          </p:cNvCxnSpPr>
          <p:nvPr/>
        </p:nvCxnSpPr>
        <p:spPr>
          <a:xfrm>
            <a:off x="9164636" y="2670264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9" name="Straight Connector 1078">
            <a:extLst>
              <a:ext uri="{FF2B5EF4-FFF2-40B4-BE49-F238E27FC236}">
                <a16:creationId xmlns:a16="http://schemas.microsoft.com/office/drawing/2014/main" id="{C39B87F2-851C-DBB7-3E0B-591616A2D166}"/>
              </a:ext>
            </a:extLst>
          </p:cNvPr>
          <p:cNvCxnSpPr>
            <a:cxnSpLocks/>
          </p:cNvCxnSpPr>
          <p:nvPr/>
        </p:nvCxnSpPr>
        <p:spPr>
          <a:xfrm>
            <a:off x="9158879" y="2670264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0" name="Straight Connector 1079">
            <a:extLst>
              <a:ext uri="{FF2B5EF4-FFF2-40B4-BE49-F238E27FC236}">
                <a16:creationId xmlns:a16="http://schemas.microsoft.com/office/drawing/2014/main" id="{14FCD673-6C23-9BCF-5F01-4C69F593B05F}"/>
              </a:ext>
            </a:extLst>
          </p:cNvPr>
          <p:cNvCxnSpPr>
            <a:cxnSpLocks/>
          </p:cNvCxnSpPr>
          <p:nvPr/>
        </p:nvCxnSpPr>
        <p:spPr>
          <a:xfrm>
            <a:off x="9093548" y="2667063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1" name="Straight Connector 1080">
            <a:extLst>
              <a:ext uri="{FF2B5EF4-FFF2-40B4-BE49-F238E27FC236}">
                <a16:creationId xmlns:a16="http://schemas.microsoft.com/office/drawing/2014/main" id="{D2542D8A-02D7-B685-C678-46528A9536CC}"/>
              </a:ext>
            </a:extLst>
          </p:cNvPr>
          <p:cNvCxnSpPr>
            <a:cxnSpLocks/>
          </p:cNvCxnSpPr>
          <p:nvPr/>
        </p:nvCxnSpPr>
        <p:spPr>
          <a:xfrm>
            <a:off x="9088367" y="2667063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2" name="Straight Connector 1081">
            <a:extLst>
              <a:ext uri="{FF2B5EF4-FFF2-40B4-BE49-F238E27FC236}">
                <a16:creationId xmlns:a16="http://schemas.microsoft.com/office/drawing/2014/main" id="{D023808D-BBF3-0018-108D-ACA1A689A97F}"/>
              </a:ext>
            </a:extLst>
          </p:cNvPr>
          <p:cNvCxnSpPr>
            <a:cxnSpLocks/>
          </p:cNvCxnSpPr>
          <p:nvPr/>
        </p:nvCxnSpPr>
        <p:spPr>
          <a:xfrm>
            <a:off x="9082324" y="2667021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3" name="Straight Connector 1082">
            <a:extLst>
              <a:ext uri="{FF2B5EF4-FFF2-40B4-BE49-F238E27FC236}">
                <a16:creationId xmlns:a16="http://schemas.microsoft.com/office/drawing/2014/main" id="{FA885603-3B08-C4DD-3A18-4F135A8C054F}"/>
              </a:ext>
            </a:extLst>
          </p:cNvPr>
          <p:cNvCxnSpPr>
            <a:cxnSpLocks/>
          </p:cNvCxnSpPr>
          <p:nvPr/>
        </p:nvCxnSpPr>
        <p:spPr>
          <a:xfrm>
            <a:off x="8969217" y="2665668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4" name="Straight Connector 1083">
            <a:extLst>
              <a:ext uri="{FF2B5EF4-FFF2-40B4-BE49-F238E27FC236}">
                <a16:creationId xmlns:a16="http://schemas.microsoft.com/office/drawing/2014/main" id="{1522AA6E-DB99-BEAF-3F4A-FA5F7B82BDA6}"/>
              </a:ext>
            </a:extLst>
          </p:cNvPr>
          <p:cNvCxnSpPr>
            <a:cxnSpLocks/>
          </p:cNvCxnSpPr>
          <p:nvPr/>
        </p:nvCxnSpPr>
        <p:spPr>
          <a:xfrm>
            <a:off x="8963174" y="2665668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5" name="Straight Connector 1084">
            <a:extLst>
              <a:ext uri="{FF2B5EF4-FFF2-40B4-BE49-F238E27FC236}">
                <a16:creationId xmlns:a16="http://schemas.microsoft.com/office/drawing/2014/main" id="{C900B355-EC98-50DE-48CE-EBBA8EB9BB88}"/>
              </a:ext>
            </a:extLst>
          </p:cNvPr>
          <p:cNvCxnSpPr>
            <a:cxnSpLocks/>
          </p:cNvCxnSpPr>
          <p:nvPr/>
        </p:nvCxnSpPr>
        <p:spPr>
          <a:xfrm>
            <a:off x="8943315" y="2667063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6" name="Straight Connector 1085">
            <a:extLst>
              <a:ext uri="{FF2B5EF4-FFF2-40B4-BE49-F238E27FC236}">
                <a16:creationId xmlns:a16="http://schemas.microsoft.com/office/drawing/2014/main" id="{9C3FA46C-E7B3-7127-68B1-465F17A0DBA2}"/>
              </a:ext>
            </a:extLst>
          </p:cNvPr>
          <p:cNvCxnSpPr>
            <a:cxnSpLocks/>
          </p:cNvCxnSpPr>
          <p:nvPr/>
        </p:nvCxnSpPr>
        <p:spPr>
          <a:xfrm>
            <a:off x="8938135" y="2667063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7" name="Straight Connector 1086">
            <a:extLst>
              <a:ext uri="{FF2B5EF4-FFF2-40B4-BE49-F238E27FC236}">
                <a16:creationId xmlns:a16="http://schemas.microsoft.com/office/drawing/2014/main" id="{26C44387-B27F-68B2-5F38-32605B3AFA38}"/>
              </a:ext>
            </a:extLst>
          </p:cNvPr>
          <p:cNvCxnSpPr>
            <a:cxnSpLocks/>
          </p:cNvCxnSpPr>
          <p:nvPr/>
        </p:nvCxnSpPr>
        <p:spPr>
          <a:xfrm>
            <a:off x="8932954" y="2667475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8" name="Straight Connector 1087">
            <a:extLst>
              <a:ext uri="{FF2B5EF4-FFF2-40B4-BE49-F238E27FC236}">
                <a16:creationId xmlns:a16="http://schemas.microsoft.com/office/drawing/2014/main" id="{41ABBC5B-9FE8-A097-DE70-22A35D876BED}"/>
              </a:ext>
            </a:extLst>
          </p:cNvPr>
          <p:cNvCxnSpPr>
            <a:cxnSpLocks/>
          </p:cNvCxnSpPr>
          <p:nvPr/>
        </p:nvCxnSpPr>
        <p:spPr>
          <a:xfrm>
            <a:off x="8926910" y="2667063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9" name="Straight Connector 1088">
            <a:extLst>
              <a:ext uri="{FF2B5EF4-FFF2-40B4-BE49-F238E27FC236}">
                <a16:creationId xmlns:a16="http://schemas.microsoft.com/office/drawing/2014/main" id="{B81DA6B4-EC17-CCC3-7D56-C6959A1EEBD0}"/>
              </a:ext>
            </a:extLst>
          </p:cNvPr>
          <p:cNvCxnSpPr>
            <a:cxnSpLocks/>
          </p:cNvCxnSpPr>
          <p:nvPr/>
        </p:nvCxnSpPr>
        <p:spPr>
          <a:xfrm>
            <a:off x="8922593" y="2667063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0" name="Straight Connector 1089">
            <a:extLst>
              <a:ext uri="{FF2B5EF4-FFF2-40B4-BE49-F238E27FC236}">
                <a16:creationId xmlns:a16="http://schemas.microsoft.com/office/drawing/2014/main" id="{EA401BC7-76A2-C4E5-7396-3AAE0D6C3EB2}"/>
              </a:ext>
            </a:extLst>
          </p:cNvPr>
          <p:cNvCxnSpPr>
            <a:cxnSpLocks/>
          </p:cNvCxnSpPr>
          <p:nvPr/>
        </p:nvCxnSpPr>
        <p:spPr>
          <a:xfrm>
            <a:off x="8917413" y="2667063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1" name="Straight Connector 1090">
            <a:extLst>
              <a:ext uri="{FF2B5EF4-FFF2-40B4-BE49-F238E27FC236}">
                <a16:creationId xmlns:a16="http://schemas.microsoft.com/office/drawing/2014/main" id="{E81F45B8-4067-F235-34E8-1DF78C05B38D}"/>
              </a:ext>
            </a:extLst>
          </p:cNvPr>
          <p:cNvCxnSpPr>
            <a:cxnSpLocks/>
          </p:cNvCxnSpPr>
          <p:nvPr/>
        </p:nvCxnSpPr>
        <p:spPr>
          <a:xfrm>
            <a:off x="8867335" y="2665669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2" name="Straight Connector 1091">
            <a:extLst>
              <a:ext uri="{FF2B5EF4-FFF2-40B4-BE49-F238E27FC236}">
                <a16:creationId xmlns:a16="http://schemas.microsoft.com/office/drawing/2014/main" id="{758CA911-EA1B-EF2E-096C-5459558EEE52}"/>
              </a:ext>
            </a:extLst>
          </p:cNvPr>
          <p:cNvCxnSpPr>
            <a:cxnSpLocks/>
          </p:cNvCxnSpPr>
          <p:nvPr/>
        </p:nvCxnSpPr>
        <p:spPr>
          <a:xfrm>
            <a:off x="8861579" y="2665669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3" name="Straight Connector 1092">
            <a:extLst>
              <a:ext uri="{FF2B5EF4-FFF2-40B4-BE49-F238E27FC236}">
                <a16:creationId xmlns:a16="http://schemas.microsoft.com/office/drawing/2014/main" id="{B2338D83-8CEE-9B55-9518-0AEB67306FC7}"/>
              </a:ext>
            </a:extLst>
          </p:cNvPr>
          <p:cNvCxnSpPr>
            <a:cxnSpLocks/>
          </p:cNvCxnSpPr>
          <p:nvPr/>
        </p:nvCxnSpPr>
        <p:spPr>
          <a:xfrm>
            <a:off x="8855823" y="2665669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4" name="Straight Connector 1093">
            <a:extLst>
              <a:ext uri="{FF2B5EF4-FFF2-40B4-BE49-F238E27FC236}">
                <a16:creationId xmlns:a16="http://schemas.microsoft.com/office/drawing/2014/main" id="{3F12B7F6-7933-8ED2-3DD7-078D358EDB6C}"/>
              </a:ext>
            </a:extLst>
          </p:cNvPr>
          <p:cNvCxnSpPr>
            <a:cxnSpLocks/>
          </p:cNvCxnSpPr>
          <p:nvPr/>
        </p:nvCxnSpPr>
        <p:spPr>
          <a:xfrm>
            <a:off x="8850643" y="2665669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5" name="Straight Connector 1094">
            <a:extLst>
              <a:ext uri="{FF2B5EF4-FFF2-40B4-BE49-F238E27FC236}">
                <a16:creationId xmlns:a16="http://schemas.microsoft.com/office/drawing/2014/main" id="{CB94292A-4F2B-82EB-DE99-28E7249CAD7A}"/>
              </a:ext>
            </a:extLst>
          </p:cNvPr>
          <p:cNvCxnSpPr>
            <a:cxnSpLocks/>
          </p:cNvCxnSpPr>
          <p:nvPr/>
        </p:nvCxnSpPr>
        <p:spPr>
          <a:xfrm>
            <a:off x="8778980" y="2653584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6" name="Straight Connector 1095">
            <a:extLst>
              <a:ext uri="{FF2B5EF4-FFF2-40B4-BE49-F238E27FC236}">
                <a16:creationId xmlns:a16="http://schemas.microsoft.com/office/drawing/2014/main" id="{42C96850-EF30-B035-2461-368C447ED1F4}"/>
              </a:ext>
            </a:extLst>
          </p:cNvPr>
          <p:cNvCxnSpPr>
            <a:cxnSpLocks/>
          </p:cNvCxnSpPr>
          <p:nvPr/>
        </p:nvCxnSpPr>
        <p:spPr>
          <a:xfrm>
            <a:off x="8773799" y="2653584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7" name="Straight Connector 1096">
            <a:extLst>
              <a:ext uri="{FF2B5EF4-FFF2-40B4-BE49-F238E27FC236}">
                <a16:creationId xmlns:a16="http://schemas.microsoft.com/office/drawing/2014/main" id="{C89794FE-7290-FB1C-F54A-CD109D894BA7}"/>
              </a:ext>
            </a:extLst>
          </p:cNvPr>
          <p:cNvCxnSpPr>
            <a:cxnSpLocks/>
          </p:cNvCxnSpPr>
          <p:nvPr/>
        </p:nvCxnSpPr>
        <p:spPr>
          <a:xfrm>
            <a:off x="8768619" y="2652667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8" name="Straight Connector 1097">
            <a:extLst>
              <a:ext uri="{FF2B5EF4-FFF2-40B4-BE49-F238E27FC236}">
                <a16:creationId xmlns:a16="http://schemas.microsoft.com/office/drawing/2014/main" id="{3CA3D44C-A085-9D12-9F27-E9B1B6BF11C5}"/>
              </a:ext>
            </a:extLst>
          </p:cNvPr>
          <p:cNvCxnSpPr>
            <a:cxnSpLocks/>
          </p:cNvCxnSpPr>
          <p:nvPr/>
        </p:nvCxnSpPr>
        <p:spPr>
          <a:xfrm>
            <a:off x="8763438" y="2653584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9" name="Straight Connector 1098">
            <a:extLst>
              <a:ext uri="{FF2B5EF4-FFF2-40B4-BE49-F238E27FC236}">
                <a16:creationId xmlns:a16="http://schemas.microsoft.com/office/drawing/2014/main" id="{DB5F5418-58F1-4AD5-013A-2DCBA20F93A0}"/>
              </a:ext>
            </a:extLst>
          </p:cNvPr>
          <p:cNvCxnSpPr>
            <a:cxnSpLocks/>
          </p:cNvCxnSpPr>
          <p:nvPr/>
        </p:nvCxnSpPr>
        <p:spPr>
          <a:xfrm>
            <a:off x="8758258" y="2653298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0" name="Straight Connector 1099">
            <a:extLst>
              <a:ext uri="{FF2B5EF4-FFF2-40B4-BE49-F238E27FC236}">
                <a16:creationId xmlns:a16="http://schemas.microsoft.com/office/drawing/2014/main" id="{0233C727-E639-3974-D0E4-EBA07FC9B207}"/>
              </a:ext>
            </a:extLst>
          </p:cNvPr>
          <p:cNvCxnSpPr>
            <a:cxnSpLocks/>
          </p:cNvCxnSpPr>
          <p:nvPr/>
        </p:nvCxnSpPr>
        <p:spPr>
          <a:xfrm>
            <a:off x="8753078" y="2653584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1" name="Straight Connector 1100">
            <a:extLst>
              <a:ext uri="{FF2B5EF4-FFF2-40B4-BE49-F238E27FC236}">
                <a16:creationId xmlns:a16="http://schemas.microsoft.com/office/drawing/2014/main" id="{478E5BCB-8CEA-2FB3-C2EB-1D94F0768307}"/>
              </a:ext>
            </a:extLst>
          </p:cNvPr>
          <p:cNvCxnSpPr>
            <a:cxnSpLocks/>
          </p:cNvCxnSpPr>
          <p:nvPr/>
        </p:nvCxnSpPr>
        <p:spPr>
          <a:xfrm>
            <a:off x="8598527" y="2631864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2" name="Straight Connector 1101">
            <a:extLst>
              <a:ext uri="{FF2B5EF4-FFF2-40B4-BE49-F238E27FC236}">
                <a16:creationId xmlns:a16="http://schemas.microsoft.com/office/drawing/2014/main" id="{E0DE1254-E67A-D69C-DDAF-ACAB678CA9A3}"/>
              </a:ext>
            </a:extLst>
          </p:cNvPr>
          <p:cNvCxnSpPr>
            <a:cxnSpLocks/>
          </p:cNvCxnSpPr>
          <p:nvPr/>
        </p:nvCxnSpPr>
        <p:spPr>
          <a:xfrm>
            <a:off x="8593347" y="2632497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3" name="Straight Connector 1102">
            <a:extLst>
              <a:ext uri="{FF2B5EF4-FFF2-40B4-BE49-F238E27FC236}">
                <a16:creationId xmlns:a16="http://schemas.microsoft.com/office/drawing/2014/main" id="{59C505AB-58E7-0909-AE82-46DAB0104C85}"/>
              </a:ext>
            </a:extLst>
          </p:cNvPr>
          <p:cNvCxnSpPr>
            <a:cxnSpLocks/>
          </p:cNvCxnSpPr>
          <p:nvPr/>
        </p:nvCxnSpPr>
        <p:spPr>
          <a:xfrm>
            <a:off x="8588167" y="2631865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4" name="Straight Connector 1103">
            <a:extLst>
              <a:ext uri="{FF2B5EF4-FFF2-40B4-BE49-F238E27FC236}">
                <a16:creationId xmlns:a16="http://schemas.microsoft.com/office/drawing/2014/main" id="{26239E77-925E-96B8-C334-F0F01FA27F2A}"/>
              </a:ext>
            </a:extLst>
          </p:cNvPr>
          <p:cNvCxnSpPr>
            <a:cxnSpLocks/>
          </p:cNvCxnSpPr>
          <p:nvPr/>
        </p:nvCxnSpPr>
        <p:spPr>
          <a:xfrm>
            <a:off x="8402534" y="2612744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5" name="Straight Connector 1104">
            <a:extLst>
              <a:ext uri="{FF2B5EF4-FFF2-40B4-BE49-F238E27FC236}">
                <a16:creationId xmlns:a16="http://schemas.microsoft.com/office/drawing/2014/main" id="{FFE946D6-1788-3501-3AD8-8B67B9F3697D}"/>
              </a:ext>
            </a:extLst>
          </p:cNvPr>
          <p:cNvCxnSpPr>
            <a:cxnSpLocks/>
          </p:cNvCxnSpPr>
          <p:nvPr/>
        </p:nvCxnSpPr>
        <p:spPr>
          <a:xfrm>
            <a:off x="8398220" y="2612744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6" name="Straight Connector 1105">
            <a:extLst>
              <a:ext uri="{FF2B5EF4-FFF2-40B4-BE49-F238E27FC236}">
                <a16:creationId xmlns:a16="http://schemas.microsoft.com/office/drawing/2014/main" id="{47CF9070-159E-D096-246D-49907780AB7A}"/>
              </a:ext>
            </a:extLst>
          </p:cNvPr>
          <p:cNvCxnSpPr>
            <a:cxnSpLocks/>
          </p:cNvCxnSpPr>
          <p:nvPr/>
        </p:nvCxnSpPr>
        <p:spPr>
          <a:xfrm>
            <a:off x="8386993" y="2612856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7" name="Straight Connector 1106">
            <a:extLst>
              <a:ext uri="{FF2B5EF4-FFF2-40B4-BE49-F238E27FC236}">
                <a16:creationId xmlns:a16="http://schemas.microsoft.com/office/drawing/2014/main" id="{81B92A65-0838-6282-898D-CCC69C8759E8}"/>
              </a:ext>
            </a:extLst>
          </p:cNvPr>
          <p:cNvCxnSpPr>
            <a:cxnSpLocks/>
          </p:cNvCxnSpPr>
          <p:nvPr/>
        </p:nvCxnSpPr>
        <p:spPr>
          <a:xfrm>
            <a:off x="8382676" y="2612744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8" name="Straight Connector 1107">
            <a:extLst>
              <a:ext uri="{FF2B5EF4-FFF2-40B4-BE49-F238E27FC236}">
                <a16:creationId xmlns:a16="http://schemas.microsoft.com/office/drawing/2014/main" id="{597967DF-9917-1CAE-DEDC-BA7790356510}"/>
              </a:ext>
            </a:extLst>
          </p:cNvPr>
          <p:cNvCxnSpPr>
            <a:cxnSpLocks/>
          </p:cNvCxnSpPr>
          <p:nvPr/>
        </p:nvCxnSpPr>
        <p:spPr>
          <a:xfrm>
            <a:off x="8378359" y="2612744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9" name="Straight Connector 1108">
            <a:extLst>
              <a:ext uri="{FF2B5EF4-FFF2-40B4-BE49-F238E27FC236}">
                <a16:creationId xmlns:a16="http://schemas.microsoft.com/office/drawing/2014/main" id="{B861E89C-9713-D3E3-32BB-A6AEF48F2FE1}"/>
              </a:ext>
            </a:extLst>
          </p:cNvPr>
          <p:cNvCxnSpPr>
            <a:cxnSpLocks/>
          </p:cNvCxnSpPr>
          <p:nvPr/>
        </p:nvCxnSpPr>
        <p:spPr>
          <a:xfrm>
            <a:off x="7414872" y="2485032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0" name="Straight Connector 1109">
            <a:extLst>
              <a:ext uri="{FF2B5EF4-FFF2-40B4-BE49-F238E27FC236}">
                <a16:creationId xmlns:a16="http://schemas.microsoft.com/office/drawing/2014/main" id="{812A1552-DB9A-8E5E-0F4C-FD14C1A7DED5}"/>
              </a:ext>
            </a:extLst>
          </p:cNvPr>
          <p:cNvCxnSpPr>
            <a:cxnSpLocks/>
          </p:cNvCxnSpPr>
          <p:nvPr/>
        </p:nvCxnSpPr>
        <p:spPr>
          <a:xfrm>
            <a:off x="7409116" y="2485496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1" name="Straight Connector 1110">
            <a:extLst>
              <a:ext uri="{FF2B5EF4-FFF2-40B4-BE49-F238E27FC236}">
                <a16:creationId xmlns:a16="http://schemas.microsoft.com/office/drawing/2014/main" id="{0745B067-9D2A-88F3-DF98-6F0C3B510E70}"/>
              </a:ext>
            </a:extLst>
          </p:cNvPr>
          <p:cNvCxnSpPr>
            <a:cxnSpLocks/>
          </p:cNvCxnSpPr>
          <p:nvPr/>
        </p:nvCxnSpPr>
        <p:spPr>
          <a:xfrm>
            <a:off x="7403072" y="2485920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2" name="Straight Connector 1111">
            <a:extLst>
              <a:ext uri="{FF2B5EF4-FFF2-40B4-BE49-F238E27FC236}">
                <a16:creationId xmlns:a16="http://schemas.microsoft.com/office/drawing/2014/main" id="{3A7B5D64-6BFD-E8D4-72E5-099D7276CAC5}"/>
              </a:ext>
            </a:extLst>
          </p:cNvPr>
          <p:cNvCxnSpPr>
            <a:cxnSpLocks/>
          </p:cNvCxnSpPr>
          <p:nvPr/>
        </p:nvCxnSpPr>
        <p:spPr>
          <a:xfrm>
            <a:off x="7133113" y="2398096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3" name="Straight Connector 1112">
            <a:extLst>
              <a:ext uri="{FF2B5EF4-FFF2-40B4-BE49-F238E27FC236}">
                <a16:creationId xmlns:a16="http://schemas.microsoft.com/office/drawing/2014/main" id="{756841F9-106F-1120-44D5-1F7BD258B6B1}"/>
              </a:ext>
            </a:extLst>
          </p:cNvPr>
          <p:cNvCxnSpPr>
            <a:cxnSpLocks/>
          </p:cNvCxnSpPr>
          <p:nvPr/>
        </p:nvCxnSpPr>
        <p:spPr>
          <a:xfrm>
            <a:off x="7127933" y="2398096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4" name="Straight Connector 1113">
            <a:extLst>
              <a:ext uri="{FF2B5EF4-FFF2-40B4-BE49-F238E27FC236}">
                <a16:creationId xmlns:a16="http://schemas.microsoft.com/office/drawing/2014/main" id="{A04BB20B-E00C-5847-8790-EDE842381749}"/>
              </a:ext>
            </a:extLst>
          </p:cNvPr>
          <p:cNvCxnSpPr>
            <a:cxnSpLocks/>
          </p:cNvCxnSpPr>
          <p:nvPr/>
        </p:nvCxnSpPr>
        <p:spPr>
          <a:xfrm>
            <a:off x="7122752" y="2398096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5" name="Straight Connector 1114">
            <a:extLst>
              <a:ext uri="{FF2B5EF4-FFF2-40B4-BE49-F238E27FC236}">
                <a16:creationId xmlns:a16="http://schemas.microsoft.com/office/drawing/2014/main" id="{7F614C93-B012-8F1D-CD04-8A4C69EFE160}"/>
              </a:ext>
            </a:extLst>
          </p:cNvPr>
          <p:cNvCxnSpPr>
            <a:cxnSpLocks/>
          </p:cNvCxnSpPr>
          <p:nvPr/>
        </p:nvCxnSpPr>
        <p:spPr>
          <a:xfrm>
            <a:off x="7117572" y="2398096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6" name="Straight Connector 1115">
            <a:extLst>
              <a:ext uri="{FF2B5EF4-FFF2-40B4-BE49-F238E27FC236}">
                <a16:creationId xmlns:a16="http://schemas.microsoft.com/office/drawing/2014/main" id="{E53A2E18-9480-398B-484B-EEB6D4C5EBAD}"/>
              </a:ext>
            </a:extLst>
          </p:cNvPr>
          <p:cNvCxnSpPr>
            <a:cxnSpLocks/>
          </p:cNvCxnSpPr>
          <p:nvPr/>
        </p:nvCxnSpPr>
        <p:spPr>
          <a:xfrm>
            <a:off x="7088216" y="2384835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7" name="Straight Connector 1116">
            <a:extLst>
              <a:ext uri="{FF2B5EF4-FFF2-40B4-BE49-F238E27FC236}">
                <a16:creationId xmlns:a16="http://schemas.microsoft.com/office/drawing/2014/main" id="{1976DBEF-3E90-847B-FEFC-2BB935DC3A9F}"/>
              </a:ext>
            </a:extLst>
          </p:cNvPr>
          <p:cNvCxnSpPr>
            <a:cxnSpLocks/>
          </p:cNvCxnSpPr>
          <p:nvPr/>
        </p:nvCxnSpPr>
        <p:spPr>
          <a:xfrm>
            <a:off x="7083036" y="2385031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8" name="Straight Connector 1117">
            <a:extLst>
              <a:ext uri="{FF2B5EF4-FFF2-40B4-BE49-F238E27FC236}">
                <a16:creationId xmlns:a16="http://schemas.microsoft.com/office/drawing/2014/main" id="{08AA30BE-5909-7033-FD58-494302DC1D9E}"/>
              </a:ext>
            </a:extLst>
          </p:cNvPr>
          <p:cNvCxnSpPr>
            <a:cxnSpLocks/>
          </p:cNvCxnSpPr>
          <p:nvPr/>
        </p:nvCxnSpPr>
        <p:spPr>
          <a:xfrm>
            <a:off x="7078718" y="2385547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9" name="Straight Connector 1118">
            <a:extLst>
              <a:ext uri="{FF2B5EF4-FFF2-40B4-BE49-F238E27FC236}">
                <a16:creationId xmlns:a16="http://schemas.microsoft.com/office/drawing/2014/main" id="{7BEC4144-22DB-C12B-ED46-2378911605A1}"/>
              </a:ext>
            </a:extLst>
          </p:cNvPr>
          <p:cNvCxnSpPr>
            <a:cxnSpLocks/>
          </p:cNvCxnSpPr>
          <p:nvPr/>
        </p:nvCxnSpPr>
        <p:spPr>
          <a:xfrm>
            <a:off x="7071811" y="2384602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0" name="Straight Connector 1119">
            <a:extLst>
              <a:ext uri="{FF2B5EF4-FFF2-40B4-BE49-F238E27FC236}">
                <a16:creationId xmlns:a16="http://schemas.microsoft.com/office/drawing/2014/main" id="{4E8D2362-FD1E-CE35-97DF-09CC14BC3BDB}"/>
              </a:ext>
            </a:extLst>
          </p:cNvPr>
          <p:cNvCxnSpPr>
            <a:cxnSpLocks/>
          </p:cNvCxnSpPr>
          <p:nvPr/>
        </p:nvCxnSpPr>
        <p:spPr>
          <a:xfrm>
            <a:off x="7066631" y="2384602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1" name="Straight Connector 1120">
            <a:extLst>
              <a:ext uri="{FF2B5EF4-FFF2-40B4-BE49-F238E27FC236}">
                <a16:creationId xmlns:a16="http://schemas.microsoft.com/office/drawing/2014/main" id="{8C86DA0F-AA58-483B-D1B4-C96D0C211874}"/>
              </a:ext>
            </a:extLst>
          </p:cNvPr>
          <p:cNvCxnSpPr>
            <a:cxnSpLocks/>
          </p:cNvCxnSpPr>
          <p:nvPr/>
        </p:nvCxnSpPr>
        <p:spPr>
          <a:xfrm>
            <a:off x="7061450" y="2384602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2" name="Straight Connector 1121">
            <a:extLst>
              <a:ext uri="{FF2B5EF4-FFF2-40B4-BE49-F238E27FC236}">
                <a16:creationId xmlns:a16="http://schemas.microsoft.com/office/drawing/2014/main" id="{4E98A7FB-A723-1A2A-EBD0-8E5AD4450A6C}"/>
              </a:ext>
            </a:extLst>
          </p:cNvPr>
          <p:cNvCxnSpPr>
            <a:cxnSpLocks/>
          </p:cNvCxnSpPr>
          <p:nvPr/>
        </p:nvCxnSpPr>
        <p:spPr>
          <a:xfrm>
            <a:off x="7055406" y="2384602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3" name="Straight Connector 1122">
            <a:extLst>
              <a:ext uri="{FF2B5EF4-FFF2-40B4-BE49-F238E27FC236}">
                <a16:creationId xmlns:a16="http://schemas.microsoft.com/office/drawing/2014/main" id="{9674F0EA-2909-30CF-10C1-B01265D20DFB}"/>
              </a:ext>
            </a:extLst>
          </p:cNvPr>
          <p:cNvCxnSpPr>
            <a:cxnSpLocks/>
          </p:cNvCxnSpPr>
          <p:nvPr/>
        </p:nvCxnSpPr>
        <p:spPr>
          <a:xfrm>
            <a:off x="7006192" y="2367300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4" name="Straight Connector 1123">
            <a:extLst>
              <a:ext uri="{FF2B5EF4-FFF2-40B4-BE49-F238E27FC236}">
                <a16:creationId xmlns:a16="http://schemas.microsoft.com/office/drawing/2014/main" id="{D78663C1-BD6E-D692-00B6-C52F2D65CBEB}"/>
              </a:ext>
            </a:extLst>
          </p:cNvPr>
          <p:cNvCxnSpPr>
            <a:cxnSpLocks/>
          </p:cNvCxnSpPr>
          <p:nvPr/>
        </p:nvCxnSpPr>
        <p:spPr>
          <a:xfrm>
            <a:off x="7001012" y="2364511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5" name="Straight Connector 1124">
            <a:extLst>
              <a:ext uri="{FF2B5EF4-FFF2-40B4-BE49-F238E27FC236}">
                <a16:creationId xmlns:a16="http://schemas.microsoft.com/office/drawing/2014/main" id="{C955AAFB-602F-0E4B-E630-482C0C922406}"/>
              </a:ext>
            </a:extLst>
          </p:cNvPr>
          <p:cNvCxnSpPr>
            <a:cxnSpLocks/>
          </p:cNvCxnSpPr>
          <p:nvPr/>
        </p:nvCxnSpPr>
        <p:spPr>
          <a:xfrm>
            <a:off x="6994968" y="2353927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6" name="Straight Connector 1125">
            <a:extLst>
              <a:ext uri="{FF2B5EF4-FFF2-40B4-BE49-F238E27FC236}">
                <a16:creationId xmlns:a16="http://schemas.microsoft.com/office/drawing/2014/main" id="{9D4B2921-D765-F02F-65BB-BE6E05F55690}"/>
              </a:ext>
            </a:extLst>
          </p:cNvPr>
          <p:cNvCxnSpPr>
            <a:cxnSpLocks/>
          </p:cNvCxnSpPr>
          <p:nvPr/>
        </p:nvCxnSpPr>
        <p:spPr>
          <a:xfrm>
            <a:off x="6988060" y="2353927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7" name="Straight Connector 1126">
            <a:extLst>
              <a:ext uri="{FF2B5EF4-FFF2-40B4-BE49-F238E27FC236}">
                <a16:creationId xmlns:a16="http://schemas.microsoft.com/office/drawing/2014/main" id="{F583F747-F5FC-CA96-FAD4-121D37B61C1C}"/>
              </a:ext>
            </a:extLst>
          </p:cNvPr>
          <p:cNvCxnSpPr>
            <a:cxnSpLocks/>
          </p:cNvCxnSpPr>
          <p:nvPr/>
        </p:nvCxnSpPr>
        <p:spPr>
          <a:xfrm>
            <a:off x="6982017" y="2352534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8" name="Straight Connector 1127">
            <a:extLst>
              <a:ext uri="{FF2B5EF4-FFF2-40B4-BE49-F238E27FC236}">
                <a16:creationId xmlns:a16="http://schemas.microsoft.com/office/drawing/2014/main" id="{8EE8F5C7-ADA0-B5CB-08F9-58C7CD58F9D6}"/>
              </a:ext>
            </a:extLst>
          </p:cNvPr>
          <p:cNvCxnSpPr>
            <a:cxnSpLocks/>
          </p:cNvCxnSpPr>
          <p:nvPr/>
        </p:nvCxnSpPr>
        <p:spPr>
          <a:xfrm>
            <a:off x="7583813" y="2508693"/>
            <a:ext cx="0" cy="61591"/>
          </a:xfrm>
          <a:prstGeom prst="line">
            <a:avLst/>
          </a:prstGeom>
          <a:ln w="127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9" name="TextBox 1128">
            <a:extLst>
              <a:ext uri="{FF2B5EF4-FFF2-40B4-BE49-F238E27FC236}">
                <a16:creationId xmlns:a16="http://schemas.microsoft.com/office/drawing/2014/main" id="{F7D91E1C-5643-A3C8-585D-B3926346D2FB}"/>
              </a:ext>
            </a:extLst>
          </p:cNvPr>
          <p:cNvSpPr txBox="1"/>
          <p:nvPr/>
        </p:nvSpPr>
        <p:spPr>
          <a:xfrm>
            <a:off x="6851389" y="4065837"/>
            <a:ext cx="2918698" cy="34453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HR 0.85 (95% CI 0.63–1.15)</a:t>
            </a:r>
          </a:p>
        </p:txBody>
      </p:sp>
      <p:sp>
        <p:nvSpPr>
          <p:cNvPr id="1130" name="TextBox 1129">
            <a:extLst>
              <a:ext uri="{FF2B5EF4-FFF2-40B4-BE49-F238E27FC236}">
                <a16:creationId xmlns:a16="http://schemas.microsoft.com/office/drawing/2014/main" id="{16FC3D91-BA14-7A33-13DA-3D1C1E8D74D8}"/>
              </a:ext>
            </a:extLst>
          </p:cNvPr>
          <p:cNvSpPr txBox="1"/>
          <p:nvPr/>
        </p:nvSpPr>
        <p:spPr>
          <a:xfrm>
            <a:off x="6775276" y="1610913"/>
            <a:ext cx="4092427" cy="307777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5-year OS</a:t>
            </a:r>
            <a:endParaRPr kumimoji="0" lang="en-GB" sz="2000" b="1" i="0" u="none" strike="noStrike" kern="1200" cap="none" spc="0" normalizeH="0" baseline="3000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38A5376C-2C16-684B-93D2-E04EA58ECE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651" y="6356350"/>
            <a:ext cx="383694" cy="365125"/>
          </a:xfrm>
        </p:spPr>
        <p:txBody>
          <a:bodyPr vert="horz" lIns="0" tIns="0" rIns="0" bIns="0"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01CC8E-1CEF-6746-999E-CF29FF00B1DC}" type="slidenum"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82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0051402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A4A1417-7B08-4082-A600-847F5B8CE63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3">
            <a:extLst>
              <a:ext uri="{FF2B5EF4-FFF2-40B4-BE49-F238E27FC236}">
                <a16:creationId xmlns:a16="http://schemas.microsoft.com/office/drawing/2014/main" id="{C621530E-B313-1200-8135-2A475D6D7BC9}"/>
              </a:ext>
            </a:extLst>
          </p:cNvPr>
          <p:cNvSpPr/>
          <p:nvPr/>
        </p:nvSpPr>
        <p:spPr>
          <a:xfrm>
            <a:off x="842343" y="2855396"/>
            <a:ext cx="4067562" cy="1543336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atients receiving </a:t>
            </a: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later lines of therapy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have progressively </a:t>
            </a: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oorer survival with each additional line of therapy</a:t>
            </a:r>
            <a:endParaRPr kumimoji="0" lang="en-GB" sz="2000" b="1" i="0" u="none" strike="noStrike" kern="1200" cap="none" spc="0" normalizeH="0" baseline="3000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A5249B5-2846-97AB-B0EF-41357F1172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0" y="311150"/>
            <a:ext cx="9956053" cy="633413"/>
          </a:xfrm>
        </p:spPr>
        <p:txBody>
          <a:bodyPr/>
          <a:lstStyle/>
          <a:p>
            <a:r>
              <a:rPr lang="en-GB"/>
              <a:t>Outcomes are particularly poor as patients with R/R DLBCL progress to later lines of therapy</a:t>
            </a:r>
            <a:r>
              <a:rPr lang="en-GB" baseline="30000"/>
              <a:t>1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03E14ED-66E1-0DC2-EC34-7AC6D355377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70645" y="6233369"/>
            <a:ext cx="10440000" cy="486581"/>
          </a:xfrm>
        </p:spPr>
        <p:txBody>
          <a:bodyPr/>
          <a:lstStyle/>
          <a:p>
            <a:r>
              <a:rPr lang="en-GB"/>
              <a:t>1L, first line; 2L, second line; 3L, third line; 4L, fourth line; DLBCL, diffuse large B-cell lymphoma; OS, overall survival; R/R, relapsed or refractory.</a:t>
            </a:r>
            <a:br>
              <a:rPr lang="en-GB"/>
            </a:br>
            <a:r>
              <a:rPr lang="en-GB" b="1"/>
              <a:t>1. </a:t>
            </a:r>
            <a:r>
              <a:rPr lang="en-GB" err="1"/>
              <a:t>Sineshaw</a:t>
            </a:r>
            <a:r>
              <a:rPr lang="en-GB"/>
              <a:t> et al. </a:t>
            </a:r>
            <a:r>
              <a:rPr lang="en-GB" i="1"/>
              <a:t>Cancer Med </a:t>
            </a:r>
            <a:r>
              <a:rPr lang="en-GB"/>
              <a:t>2024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F279E91-A5F8-9C3D-6F6B-1243B08420A6}"/>
              </a:ext>
            </a:extLst>
          </p:cNvPr>
          <p:cNvSpPr txBox="1"/>
          <p:nvPr/>
        </p:nvSpPr>
        <p:spPr>
          <a:xfrm rot="16200000">
            <a:off x="4191571" y="3519342"/>
            <a:ext cx="275554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GB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Overall survival probability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FA1106A-D35B-F28A-A3A9-4B7275741359}"/>
              </a:ext>
            </a:extLst>
          </p:cNvPr>
          <p:cNvCxnSpPr>
            <a:cxnSpLocks/>
          </p:cNvCxnSpPr>
          <p:nvPr/>
        </p:nvCxnSpPr>
        <p:spPr>
          <a:xfrm>
            <a:off x="6178257" y="1827744"/>
            <a:ext cx="0" cy="3465516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9340AA2-52CA-EE0E-6909-AB36668A989D}"/>
              </a:ext>
            </a:extLst>
          </p:cNvPr>
          <p:cNvCxnSpPr>
            <a:cxnSpLocks/>
          </p:cNvCxnSpPr>
          <p:nvPr/>
        </p:nvCxnSpPr>
        <p:spPr>
          <a:xfrm>
            <a:off x="6106257" y="1979772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19AE5689-A3C2-93E7-CCA1-26B73A85B445}"/>
              </a:ext>
            </a:extLst>
          </p:cNvPr>
          <p:cNvSpPr txBox="1"/>
          <p:nvPr/>
        </p:nvSpPr>
        <p:spPr>
          <a:xfrm>
            <a:off x="5668023" y="1887439"/>
            <a:ext cx="403684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.00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E14CF815-A169-7089-8119-73AD53EBFB79}"/>
              </a:ext>
            </a:extLst>
          </p:cNvPr>
          <p:cNvCxnSpPr>
            <a:cxnSpLocks/>
          </p:cNvCxnSpPr>
          <p:nvPr/>
        </p:nvCxnSpPr>
        <p:spPr>
          <a:xfrm>
            <a:off x="6106257" y="2772328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CEF5160D-2B24-C80E-EEA1-CE930B7BAB59}"/>
              </a:ext>
            </a:extLst>
          </p:cNvPr>
          <p:cNvCxnSpPr>
            <a:cxnSpLocks/>
          </p:cNvCxnSpPr>
          <p:nvPr/>
        </p:nvCxnSpPr>
        <p:spPr>
          <a:xfrm>
            <a:off x="6106257" y="3560499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BD71F473-95C5-D76C-F1B8-A229B692C3A2}"/>
              </a:ext>
            </a:extLst>
          </p:cNvPr>
          <p:cNvCxnSpPr>
            <a:cxnSpLocks/>
          </p:cNvCxnSpPr>
          <p:nvPr/>
        </p:nvCxnSpPr>
        <p:spPr>
          <a:xfrm>
            <a:off x="6106257" y="4329464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7702C792-4214-1325-01E8-12C891B89BA8}"/>
              </a:ext>
            </a:extLst>
          </p:cNvPr>
          <p:cNvCxnSpPr>
            <a:cxnSpLocks/>
          </p:cNvCxnSpPr>
          <p:nvPr/>
        </p:nvCxnSpPr>
        <p:spPr>
          <a:xfrm>
            <a:off x="6106257" y="5126738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7139F20B-750F-D8D9-1436-4EFB1D3F8E81}"/>
              </a:ext>
            </a:extLst>
          </p:cNvPr>
          <p:cNvSpPr txBox="1"/>
          <p:nvPr/>
        </p:nvSpPr>
        <p:spPr>
          <a:xfrm>
            <a:off x="5697337" y="2674180"/>
            <a:ext cx="374370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0.75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38F0BF8-ED42-1AE7-11FA-2CCDE7316723}"/>
              </a:ext>
            </a:extLst>
          </p:cNvPr>
          <p:cNvSpPr txBox="1"/>
          <p:nvPr/>
        </p:nvSpPr>
        <p:spPr>
          <a:xfrm>
            <a:off x="5668022" y="3460921"/>
            <a:ext cx="40368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0.50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0B82156F-68B7-1FF2-3716-FAB68D33373E}"/>
              </a:ext>
            </a:extLst>
          </p:cNvPr>
          <p:cNvSpPr txBox="1"/>
          <p:nvPr/>
        </p:nvSpPr>
        <p:spPr>
          <a:xfrm>
            <a:off x="5680961" y="4247662"/>
            <a:ext cx="39074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0.25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3CB0B8BA-B469-9EDC-B946-891B5883D589}"/>
              </a:ext>
            </a:extLst>
          </p:cNvPr>
          <p:cNvSpPr txBox="1"/>
          <p:nvPr/>
        </p:nvSpPr>
        <p:spPr>
          <a:xfrm>
            <a:off x="5673924" y="5034405"/>
            <a:ext cx="397783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0.00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1FB85F6B-7663-D38A-7DCE-B2204C2478EE}"/>
              </a:ext>
            </a:extLst>
          </p:cNvPr>
          <p:cNvCxnSpPr>
            <a:cxnSpLocks/>
          </p:cNvCxnSpPr>
          <p:nvPr/>
        </p:nvCxnSpPr>
        <p:spPr>
          <a:xfrm>
            <a:off x="6178257" y="5288784"/>
            <a:ext cx="506443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B525D4CF-489B-D10E-D287-307E8A6C33F3}"/>
              </a:ext>
            </a:extLst>
          </p:cNvPr>
          <p:cNvCxnSpPr>
            <a:cxnSpLocks/>
          </p:cNvCxnSpPr>
          <p:nvPr/>
        </p:nvCxnSpPr>
        <p:spPr>
          <a:xfrm>
            <a:off x="6418215" y="5288784"/>
            <a:ext cx="0" cy="7200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2FEC227C-D6D8-E9E6-BE11-18A382328B7E}"/>
              </a:ext>
            </a:extLst>
          </p:cNvPr>
          <p:cNvCxnSpPr>
            <a:cxnSpLocks/>
          </p:cNvCxnSpPr>
          <p:nvPr/>
        </p:nvCxnSpPr>
        <p:spPr>
          <a:xfrm>
            <a:off x="7570177" y="5288784"/>
            <a:ext cx="0" cy="7200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8104D7CA-24F9-7473-5554-F254DA091398}"/>
              </a:ext>
            </a:extLst>
          </p:cNvPr>
          <p:cNvCxnSpPr>
            <a:cxnSpLocks/>
          </p:cNvCxnSpPr>
          <p:nvPr/>
        </p:nvCxnSpPr>
        <p:spPr>
          <a:xfrm>
            <a:off x="8717369" y="5288784"/>
            <a:ext cx="0" cy="7200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45A95B97-4B9F-8305-D7FD-A8D4F6DB02E0}"/>
              </a:ext>
            </a:extLst>
          </p:cNvPr>
          <p:cNvCxnSpPr>
            <a:cxnSpLocks/>
          </p:cNvCxnSpPr>
          <p:nvPr/>
        </p:nvCxnSpPr>
        <p:spPr>
          <a:xfrm>
            <a:off x="9867201" y="5288784"/>
            <a:ext cx="0" cy="7200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66FA8AA5-4604-0894-E820-DC953D5C68DA}"/>
              </a:ext>
            </a:extLst>
          </p:cNvPr>
          <p:cNvCxnSpPr>
            <a:cxnSpLocks/>
          </p:cNvCxnSpPr>
          <p:nvPr/>
        </p:nvCxnSpPr>
        <p:spPr>
          <a:xfrm>
            <a:off x="11012265" y="5288784"/>
            <a:ext cx="0" cy="7200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>
            <a:extLst>
              <a:ext uri="{FF2B5EF4-FFF2-40B4-BE49-F238E27FC236}">
                <a16:creationId xmlns:a16="http://schemas.microsoft.com/office/drawing/2014/main" id="{0787A169-B390-B7E6-394D-93C08FC6A04A}"/>
              </a:ext>
            </a:extLst>
          </p:cNvPr>
          <p:cNvSpPr txBox="1"/>
          <p:nvPr/>
        </p:nvSpPr>
        <p:spPr>
          <a:xfrm>
            <a:off x="6309502" y="5400802"/>
            <a:ext cx="23664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0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CE471F80-B749-D77A-12E6-F91AFED34854}"/>
              </a:ext>
            </a:extLst>
          </p:cNvPr>
          <p:cNvSpPr txBox="1"/>
          <p:nvPr/>
        </p:nvSpPr>
        <p:spPr>
          <a:xfrm>
            <a:off x="7377987" y="5400802"/>
            <a:ext cx="401373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20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840C3210-F2DE-CD89-AE41-9ED2765A1C6D}"/>
              </a:ext>
            </a:extLst>
          </p:cNvPr>
          <p:cNvSpPr txBox="1"/>
          <p:nvPr/>
        </p:nvSpPr>
        <p:spPr>
          <a:xfrm>
            <a:off x="8537332" y="5400802"/>
            <a:ext cx="37120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40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A5D56AD8-D6C0-944D-F33F-8481DD894809}"/>
              </a:ext>
            </a:extLst>
          </p:cNvPr>
          <p:cNvSpPr txBox="1"/>
          <p:nvPr/>
        </p:nvSpPr>
        <p:spPr>
          <a:xfrm>
            <a:off x="9692173" y="5400802"/>
            <a:ext cx="37120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60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FDEFB3C6-55E4-4A29-2864-03A10A05B086}"/>
              </a:ext>
            </a:extLst>
          </p:cNvPr>
          <p:cNvSpPr txBox="1"/>
          <p:nvPr/>
        </p:nvSpPr>
        <p:spPr>
          <a:xfrm>
            <a:off x="10835335" y="5400802"/>
            <a:ext cx="37120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80</a:t>
            </a:r>
          </a:p>
        </p:txBody>
      </p:sp>
      <p:sp>
        <p:nvSpPr>
          <p:cNvPr id="4967" name="TextBox 4966">
            <a:extLst>
              <a:ext uri="{FF2B5EF4-FFF2-40B4-BE49-F238E27FC236}">
                <a16:creationId xmlns:a16="http://schemas.microsoft.com/office/drawing/2014/main" id="{1EDDCCBA-8E7E-1FF6-6C6E-C21698B16570}"/>
              </a:ext>
            </a:extLst>
          </p:cNvPr>
          <p:cNvSpPr txBox="1"/>
          <p:nvPr/>
        </p:nvSpPr>
        <p:spPr>
          <a:xfrm>
            <a:off x="6987817" y="5616446"/>
            <a:ext cx="3412626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Time from Index (months)</a:t>
            </a:r>
          </a:p>
        </p:txBody>
      </p:sp>
      <p:sp>
        <p:nvSpPr>
          <p:cNvPr id="4983" name="TextBox 4982">
            <a:extLst>
              <a:ext uri="{FF2B5EF4-FFF2-40B4-BE49-F238E27FC236}">
                <a16:creationId xmlns:a16="http://schemas.microsoft.com/office/drawing/2014/main" id="{8E7009C5-0231-97CF-4A1D-671297C160A9}"/>
              </a:ext>
            </a:extLst>
          </p:cNvPr>
          <p:cNvSpPr txBox="1"/>
          <p:nvPr/>
        </p:nvSpPr>
        <p:spPr>
          <a:xfrm>
            <a:off x="10479223" y="2696849"/>
            <a:ext cx="110984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4CA1A6">
                    <a:lumMod val="5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L </a:t>
            </a: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4CA1A6">
                    <a:lumMod val="5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(N=1,347)</a:t>
            </a:r>
            <a:endParaRPr kumimoji="0" lang="en-GB" sz="1400" b="1" i="0" u="none" strike="noStrike" kern="1200" cap="none" spc="0" normalizeH="0" baseline="0" noProof="0">
              <a:ln>
                <a:noFill/>
              </a:ln>
              <a:solidFill>
                <a:srgbClr val="4CA1A6">
                  <a:lumMod val="50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4984" name="TextBox 4983">
            <a:extLst>
              <a:ext uri="{FF2B5EF4-FFF2-40B4-BE49-F238E27FC236}">
                <a16:creationId xmlns:a16="http://schemas.microsoft.com/office/drawing/2014/main" id="{E891BC98-1150-DFD6-2EAF-F2FB219A0466}"/>
              </a:ext>
            </a:extLst>
          </p:cNvPr>
          <p:cNvSpPr txBox="1"/>
          <p:nvPr/>
        </p:nvSpPr>
        <p:spPr>
          <a:xfrm>
            <a:off x="9808201" y="3632344"/>
            <a:ext cx="114368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4CA1A6">
                    <a:lumMod val="7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2L </a:t>
            </a: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4CA1A6">
                    <a:lumMod val="7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(N=340)</a:t>
            </a:r>
            <a:endParaRPr kumimoji="0" lang="en-GB" sz="1400" b="1" i="0" u="none" strike="noStrike" kern="1200" cap="none" spc="0" normalizeH="0" baseline="0" noProof="0">
              <a:ln>
                <a:noFill/>
              </a:ln>
              <a:solidFill>
                <a:srgbClr val="4CA1A6">
                  <a:lumMod val="75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4985" name="TextBox 4984">
            <a:extLst>
              <a:ext uri="{FF2B5EF4-FFF2-40B4-BE49-F238E27FC236}">
                <a16:creationId xmlns:a16="http://schemas.microsoft.com/office/drawing/2014/main" id="{F7B1CC06-0AB4-1F89-B317-29CBE4508028}"/>
              </a:ext>
            </a:extLst>
          </p:cNvPr>
          <p:cNvSpPr txBox="1"/>
          <p:nvPr/>
        </p:nvSpPr>
        <p:spPr>
          <a:xfrm>
            <a:off x="9595571" y="4157767"/>
            <a:ext cx="96306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4CA1A6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3L </a:t>
            </a: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4CA1A6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(N=141)</a:t>
            </a:r>
            <a:endParaRPr kumimoji="0" lang="en-GB" sz="1400" b="1" i="0" u="none" strike="noStrike" kern="1200" cap="none" spc="0" normalizeH="0" baseline="0" noProof="0">
              <a:ln>
                <a:noFill/>
              </a:ln>
              <a:solidFill>
                <a:srgbClr val="4CA1A6"/>
              </a:solidFill>
              <a:effectLst/>
              <a:uLnTx/>
              <a:uFillTx/>
              <a:latin typeface="Aptos" panose="021100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4986" name="TextBox 4985">
            <a:extLst>
              <a:ext uri="{FF2B5EF4-FFF2-40B4-BE49-F238E27FC236}">
                <a16:creationId xmlns:a16="http://schemas.microsoft.com/office/drawing/2014/main" id="{27D917F2-8D1E-83BD-3919-F191C1F31579}"/>
              </a:ext>
            </a:extLst>
          </p:cNvPr>
          <p:cNvSpPr txBox="1"/>
          <p:nvPr/>
        </p:nvSpPr>
        <p:spPr>
          <a:xfrm>
            <a:off x="7922215" y="4333693"/>
            <a:ext cx="102482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4CA1A6">
                    <a:lumMod val="60000"/>
                    <a:lumOff val="4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4L (N=51)</a:t>
            </a:r>
          </a:p>
        </p:txBody>
      </p:sp>
      <p:sp>
        <p:nvSpPr>
          <p:cNvPr id="4987" name="Freeform: Shape 84">
            <a:extLst>
              <a:ext uri="{FF2B5EF4-FFF2-40B4-BE49-F238E27FC236}">
                <a16:creationId xmlns:a16="http://schemas.microsoft.com/office/drawing/2014/main" id="{4287F82A-D03D-42FB-D536-F043884F7693}"/>
              </a:ext>
            </a:extLst>
          </p:cNvPr>
          <p:cNvSpPr/>
          <p:nvPr/>
        </p:nvSpPr>
        <p:spPr>
          <a:xfrm>
            <a:off x="6375323" y="1996521"/>
            <a:ext cx="1739028" cy="615885"/>
          </a:xfrm>
          <a:custGeom>
            <a:avLst/>
            <a:gdLst>
              <a:gd name="connsiteX0" fmla="*/ 0 w 2499851"/>
              <a:gd name="connsiteY0" fmla="*/ 0 h 1290484"/>
              <a:gd name="connsiteX1" fmla="*/ 100780 w 2499851"/>
              <a:gd name="connsiteY1" fmla="*/ 0 h 1290484"/>
              <a:gd name="connsiteX2" fmla="*/ 100780 w 2499851"/>
              <a:gd name="connsiteY2" fmla="*/ 76200 h 1290484"/>
              <a:gd name="connsiteX3" fmla="*/ 179439 w 2499851"/>
              <a:gd name="connsiteY3" fmla="*/ 76200 h 1290484"/>
              <a:gd name="connsiteX4" fmla="*/ 179439 w 2499851"/>
              <a:gd name="connsiteY4" fmla="*/ 120445 h 1290484"/>
              <a:gd name="connsiteX5" fmla="*/ 238432 w 2499851"/>
              <a:gd name="connsiteY5" fmla="*/ 120445 h 1290484"/>
              <a:gd name="connsiteX6" fmla="*/ 238432 w 2499851"/>
              <a:gd name="connsiteY6" fmla="*/ 169606 h 1290484"/>
              <a:gd name="connsiteX7" fmla="*/ 341671 w 2499851"/>
              <a:gd name="connsiteY7" fmla="*/ 169606 h 1290484"/>
              <a:gd name="connsiteX8" fmla="*/ 341671 w 2499851"/>
              <a:gd name="connsiteY8" fmla="*/ 221226 h 1290484"/>
              <a:gd name="connsiteX9" fmla="*/ 452284 w 2499851"/>
              <a:gd name="connsiteY9" fmla="*/ 221226 h 1290484"/>
              <a:gd name="connsiteX10" fmla="*/ 452284 w 2499851"/>
              <a:gd name="connsiteY10" fmla="*/ 282677 h 1290484"/>
              <a:gd name="connsiteX11" fmla="*/ 535858 w 2499851"/>
              <a:gd name="connsiteY11" fmla="*/ 282677 h 1290484"/>
              <a:gd name="connsiteX12" fmla="*/ 535858 w 2499851"/>
              <a:gd name="connsiteY12" fmla="*/ 344129 h 1290484"/>
              <a:gd name="connsiteX13" fmla="*/ 607142 w 2499851"/>
              <a:gd name="connsiteY13" fmla="*/ 344129 h 1290484"/>
              <a:gd name="connsiteX14" fmla="*/ 607142 w 2499851"/>
              <a:gd name="connsiteY14" fmla="*/ 398206 h 1290484"/>
              <a:gd name="connsiteX15" fmla="*/ 671051 w 2499851"/>
              <a:gd name="connsiteY15" fmla="*/ 398206 h 1290484"/>
              <a:gd name="connsiteX16" fmla="*/ 671051 w 2499851"/>
              <a:gd name="connsiteY16" fmla="*/ 447368 h 1290484"/>
              <a:gd name="connsiteX17" fmla="*/ 737419 w 2499851"/>
              <a:gd name="connsiteY17" fmla="*/ 447368 h 1290484"/>
              <a:gd name="connsiteX18" fmla="*/ 737419 w 2499851"/>
              <a:gd name="connsiteY18" fmla="*/ 516193 h 1290484"/>
              <a:gd name="connsiteX19" fmla="*/ 820993 w 2499851"/>
              <a:gd name="connsiteY19" fmla="*/ 516193 h 1290484"/>
              <a:gd name="connsiteX20" fmla="*/ 820993 w 2499851"/>
              <a:gd name="connsiteY20" fmla="*/ 621890 h 1290484"/>
              <a:gd name="connsiteX21" fmla="*/ 902109 w 2499851"/>
              <a:gd name="connsiteY21" fmla="*/ 621890 h 1290484"/>
              <a:gd name="connsiteX22" fmla="*/ 902109 w 2499851"/>
              <a:gd name="connsiteY22" fmla="*/ 710381 h 1290484"/>
              <a:gd name="connsiteX23" fmla="*/ 968477 w 2499851"/>
              <a:gd name="connsiteY23" fmla="*/ 710381 h 1290484"/>
              <a:gd name="connsiteX24" fmla="*/ 968477 w 2499851"/>
              <a:gd name="connsiteY24" fmla="*/ 762000 h 1290484"/>
              <a:gd name="connsiteX25" fmla="*/ 1054509 w 2499851"/>
              <a:gd name="connsiteY25" fmla="*/ 762000 h 1290484"/>
              <a:gd name="connsiteX26" fmla="*/ 1054509 w 2499851"/>
              <a:gd name="connsiteY26" fmla="*/ 835742 h 1290484"/>
              <a:gd name="connsiteX27" fmla="*/ 1147916 w 2499851"/>
              <a:gd name="connsiteY27" fmla="*/ 835742 h 1290484"/>
              <a:gd name="connsiteX28" fmla="*/ 1147916 w 2499851"/>
              <a:gd name="connsiteY28" fmla="*/ 889819 h 1290484"/>
              <a:gd name="connsiteX29" fmla="*/ 1243780 w 2499851"/>
              <a:gd name="connsiteY29" fmla="*/ 889819 h 1290484"/>
              <a:gd name="connsiteX30" fmla="*/ 1243780 w 2499851"/>
              <a:gd name="connsiteY30" fmla="*/ 943897 h 1290484"/>
              <a:gd name="connsiteX31" fmla="*/ 1428135 w 2499851"/>
              <a:gd name="connsiteY31" fmla="*/ 943897 h 1290484"/>
              <a:gd name="connsiteX32" fmla="*/ 1428135 w 2499851"/>
              <a:gd name="connsiteY32" fmla="*/ 985684 h 1290484"/>
              <a:gd name="connsiteX33" fmla="*/ 1528916 w 2499851"/>
              <a:gd name="connsiteY33" fmla="*/ 985684 h 1290484"/>
              <a:gd name="connsiteX34" fmla="*/ 1528916 w 2499851"/>
              <a:gd name="connsiteY34" fmla="*/ 1042219 h 1290484"/>
              <a:gd name="connsiteX35" fmla="*/ 1629697 w 2499851"/>
              <a:gd name="connsiteY35" fmla="*/ 1042219 h 1290484"/>
              <a:gd name="connsiteX36" fmla="*/ 1629697 w 2499851"/>
              <a:gd name="connsiteY36" fmla="*/ 1071716 h 1290484"/>
              <a:gd name="connsiteX37" fmla="*/ 1715729 w 2499851"/>
              <a:gd name="connsiteY37" fmla="*/ 1071716 h 1290484"/>
              <a:gd name="connsiteX38" fmla="*/ 1715729 w 2499851"/>
              <a:gd name="connsiteY38" fmla="*/ 1115961 h 1290484"/>
              <a:gd name="connsiteX39" fmla="*/ 1843548 w 2499851"/>
              <a:gd name="connsiteY39" fmla="*/ 1115961 h 1290484"/>
              <a:gd name="connsiteX40" fmla="*/ 1843548 w 2499851"/>
              <a:gd name="connsiteY40" fmla="*/ 1162664 h 1290484"/>
              <a:gd name="connsiteX41" fmla="*/ 1939413 w 2499851"/>
              <a:gd name="connsiteY41" fmla="*/ 1162664 h 1290484"/>
              <a:gd name="connsiteX42" fmla="*/ 1939413 w 2499851"/>
              <a:gd name="connsiteY42" fmla="*/ 1216742 h 1290484"/>
              <a:gd name="connsiteX43" fmla="*/ 2227006 w 2499851"/>
              <a:gd name="connsiteY43" fmla="*/ 1216742 h 1290484"/>
              <a:gd name="connsiteX44" fmla="*/ 2227006 w 2499851"/>
              <a:gd name="connsiteY44" fmla="*/ 1265903 h 1290484"/>
              <a:gd name="connsiteX45" fmla="*/ 2317955 w 2499851"/>
              <a:gd name="connsiteY45" fmla="*/ 1265903 h 1290484"/>
              <a:gd name="connsiteX46" fmla="*/ 2317955 w 2499851"/>
              <a:gd name="connsiteY46" fmla="*/ 1290484 h 1290484"/>
              <a:gd name="connsiteX47" fmla="*/ 2499851 w 2499851"/>
              <a:gd name="connsiteY47" fmla="*/ 1290484 h 12904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2499851" h="1290484">
                <a:moveTo>
                  <a:pt x="0" y="0"/>
                </a:moveTo>
                <a:lnTo>
                  <a:pt x="100780" y="0"/>
                </a:lnTo>
                <a:lnTo>
                  <a:pt x="100780" y="76200"/>
                </a:lnTo>
                <a:lnTo>
                  <a:pt x="179439" y="76200"/>
                </a:lnTo>
                <a:lnTo>
                  <a:pt x="179439" y="120445"/>
                </a:lnTo>
                <a:lnTo>
                  <a:pt x="238432" y="120445"/>
                </a:lnTo>
                <a:lnTo>
                  <a:pt x="238432" y="169606"/>
                </a:lnTo>
                <a:lnTo>
                  <a:pt x="341671" y="169606"/>
                </a:lnTo>
                <a:lnTo>
                  <a:pt x="341671" y="221226"/>
                </a:lnTo>
                <a:lnTo>
                  <a:pt x="452284" y="221226"/>
                </a:lnTo>
                <a:lnTo>
                  <a:pt x="452284" y="282677"/>
                </a:lnTo>
                <a:lnTo>
                  <a:pt x="535858" y="282677"/>
                </a:lnTo>
                <a:lnTo>
                  <a:pt x="535858" y="344129"/>
                </a:lnTo>
                <a:lnTo>
                  <a:pt x="607142" y="344129"/>
                </a:lnTo>
                <a:lnTo>
                  <a:pt x="607142" y="398206"/>
                </a:lnTo>
                <a:lnTo>
                  <a:pt x="671051" y="398206"/>
                </a:lnTo>
                <a:lnTo>
                  <a:pt x="671051" y="447368"/>
                </a:lnTo>
                <a:lnTo>
                  <a:pt x="737419" y="447368"/>
                </a:lnTo>
                <a:lnTo>
                  <a:pt x="737419" y="516193"/>
                </a:lnTo>
                <a:lnTo>
                  <a:pt x="820993" y="516193"/>
                </a:lnTo>
                <a:lnTo>
                  <a:pt x="820993" y="621890"/>
                </a:lnTo>
                <a:lnTo>
                  <a:pt x="902109" y="621890"/>
                </a:lnTo>
                <a:lnTo>
                  <a:pt x="902109" y="710381"/>
                </a:lnTo>
                <a:lnTo>
                  <a:pt x="968477" y="710381"/>
                </a:lnTo>
                <a:lnTo>
                  <a:pt x="968477" y="762000"/>
                </a:lnTo>
                <a:lnTo>
                  <a:pt x="1054509" y="762000"/>
                </a:lnTo>
                <a:lnTo>
                  <a:pt x="1054509" y="835742"/>
                </a:lnTo>
                <a:lnTo>
                  <a:pt x="1147916" y="835742"/>
                </a:lnTo>
                <a:lnTo>
                  <a:pt x="1147916" y="889819"/>
                </a:lnTo>
                <a:lnTo>
                  <a:pt x="1243780" y="889819"/>
                </a:lnTo>
                <a:lnTo>
                  <a:pt x="1243780" y="943897"/>
                </a:lnTo>
                <a:lnTo>
                  <a:pt x="1428135" y="943897"/>
                </a:lnTo>
                <a:lnTo>
                  <a:pt x="1428135" y="985684"/>
                </a:lnTo>
                <a:lnTo>
                  <a:pt x="1528916" y="985684"/>
                </a:lnTo>
                <a:lnTo>
                  <a:pt x="1528916" y="1042219"/>
                </a:lnTo>
                <a:lnTo>
                  <a:pt x="1629697" y="1042219"/>
                </a:lnTo>
                <a:lnTo>
                  <a:pt x="1629697" y="1071716"/>
                </a:lnTo>
                <a:lnTo>
                  <a:pt x="1715729" y="1071716"/>
                </a:lnTo>
                <a:lnTo>
                  <a:pt x="1715729" y="1115961"/>
                </a:lnTo>
                <a:lnTo>
                  <a:pt x="1843548" y="1115961"/>
                </a:lnTo>
                <a:lnTo>
                  <a:pt x="1843548" y="1162664"/>
                </a:lnTo>
                <a:lnTo>
                  <a:pt x="1939413" y="1162664"/>
                </a:lnTo>
                <a:lnTo>
                  <a:pt x="1939413" y="1216742"/>
                </a:lnTo>
                <a:lnTo>
                  <a:pt x="2227006" y="1216742"/>
                </a:lnTo>
                <a:lnTo>
                  <a:pt x="2227006" y="1265903"/>
                </a:lnTo>
                <a:lnTo>
                  <a:pt x="2317955" y="1265903"/>
                </a:lnTo>
                <a:lnTo>
                  <a:pt x="2317955" y="1290484"/>
                </a:lnTo>
                <a:lnTo>
                  <a:pt x="2499851" y="1290484"/>
                </a:lnTo>
              </a:path>
            </a:pathLst>
          </a:custGeom>
          <a:noFill/>
          <a:ln w="1905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988" name="Freeform: Shape 85">
            <a:extLst>
              <a:ext uri="{FF2B5EF4-FFF2-40B4-BE49-F238E27FC236}">
                <a16:creationId xmlns:a16="http://schemas.microsoft.com/office/drawing/2014/main" id="{1525CB09-6437-7EE4-C9AD-ADCAA60B2A74}"/>
              </a:ext>
            </a:extLst>
          </p:cNvPr>
          <p:cNvSpPr/>
          <p:nvPr/>
        </p:nvSpPr>
        <p:spPr>
          <a:xfrm>
            <a:off x="8052791" y="2612407"/>
            <a:ext cx="2407620" cy="252218"/>
          </a:xfrm>
          <a:custGeom>
            <a:avLst/>
            <a:gdLst>
              <a:gd name="connsiteX0" fmla="*/ 0 w 3460955"/>
              <a:gd name="connsiteY0" fmla="*/ 0 h 528484"/>
              <a:gd name="connsiteX1" fmla="*/ 204019 w 3460955"/>
              <a:gd name="connsiteY1" fmla="*/ 0 h 528484"/>
              <a:gd name="connsiteX2" fmla="*/ 204019 w 3460955"/>
              <a:gd name="connsiteY2" fmla="*/ 49161 h 528484"/>
              <a:gd name="connsiteX3" fmla="*/ 388374 w 3460955"/>
              <a:gd name="connsiteY3" fmla="*/ 49161 h 528484"/>
              <a:gd name="connsiteX4" fmla="*/ 388374 w 3460955"/>
              <a:gd name="connsiteY4" fmla="*/ 81116 h 528484"/>
              <a:gd name="connsiteX5" fmla="*/ 518652 w 3460955"/>
              <a:gd name="connsiteY5" fmla="*/ 81116 h 528484"/>
              <a:gd name="connsiteX6" fmla="*/ 518652 w 3460955"/>
              <a:gd name="connsiteY6" fmla="*/ 142567 h 528484"/>
              <a:gd name="connsiteX7" fmla="*/ 626807 w 3460955"/>
              <a:gd name="connsiteY7" fmla="*/ 142567 h 528484"/>
              <a:gd name="connsiteX8" fmla="*/ 626807 w 3460955"/>
              <a:gd name="connsiteY8" fmla="*/ 211393 h 528484"/>
              <a:gd name="connsiteX9" fmla="*/ 966019 w 3460955"/>
              <a:gd name="connsiteY9" fmla="*/ 211393 h 528484"/>
              <a:gd name="connsiteX10" fmla="*/ 966019 w 3460955"/>
              <a:gd name="connsiteY10" fmla="*/ 275303 h 528484"/>
              <a:gd name="connsiteX11" fmla="*/ 1113503 w 3460955"/>
              <a:gd name="connsiteY11" fmla="*/ 275303 h 528484"/>
              <a:gd name="connsiteX12" fmla="*/ 1113503 w 3460955"/>
              <a:gd name="connsiteY12" fmla="*/ 312174 h 528484"/>
              <a:gd name="connsiteX13" fmla="*/ 1418303 w 3460955"/>
              <a:gd name="connsiteY13" fmla="*/ 312174 h 528484"/>
              <a:gd name="connsiteX14" fmla="*/ 1418303 w 3460955"/>
              <a:gd name="connsiteY14" fmla="*/ 351503 h 528484"/>
              <a:gd name="connsiteX15" fmla="*/ 1531374 w 3460955"/>
              <a:gd name="connsiteY15" fmla="*/ 351503 h 528484"/>
              <a:gd name="connsiteX16" fmla="*/ 1531374 w 3460955"/>
              <a:gd name="connsiteY16" fmla="*/ 395748 h 528484"/>
              <a:gd name="connsiteX17" fmla="*/ 1723103 w 3460955"/>
              <a:gd name="connsiteY17" fmla="*/ 395748 h 528484"/>
              <a:gd name="connsiteX18" fmla="*/ 1723103 w 3460955"/>
              <a:gd name="connsiteY18" fmla="*/ 432619 h 528484"/>
              <a:gd name="connsiteX19" fmla="*/ 2010697 w 3460955"/>
              <a:gd name="connsiteY19" fmla="*/ 432619 h 528484"/>
              <a:gd name="connsiteX20" fmla="*/ 2010697 w 3460955"/>
              <a:gd name="connsiteY20" fmla="*/ 471948 h 528484"/>
              <a:gd name="connsiteX21" fmla="*/ 2106561 w 3460955"/>
              <a:gd name="connsiteY21" fmla="*/ 471948 h 528484"/>
              <a:gd name="connsiteX22" fmla="*/ 2639961 w 3460955"/>
              <a:gd name="connsiteY22" fmla="*/ 471948 h 528484"/>
              <a:gd name="connsiteX23" fmla="*/ 2639961 w 3460955"/>
              <a:gd name="connsiteY23" fmla="*/ 528484 h 528484"/>
              <a:gd name="connsiteX24" fmla="*/ 3460955 w 3460955"/>
              <a:gd name="connsiteY24" fmla="*/ 528484 h 5284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3460955" h="528484">
                <a:moveTo>
                  <a:pt x="0" y="0"/>
                </a:moveTo>
                <a:lnTo>
                  <a:pt x="204019" y="0"/>
                </a:lnTo>
                <a:lnTo>
                  <a:pt x="204019" y="49161"/>
                </a:lnTo>
                <a:lnTo>
                  <a:pt x="388374" y="49161"/>
                </a:lnTo>
                <a:lnTo>
                  <a:pt x="388374" y="81116"/>
                </a:lnTo>
                <a:lnTo>
                  <a:pt x="518652" y="81116"/>
                </a:lnTo>
                <a:lnTo>
                  <a:pt x="518652" y="142567"/>
                </a:lnTo>
                <a:lnTo>
                  <a:pt x="626807" y="142567"/>
                </a:lnTo>
                <a:lnTo>
                  <a:pt x="626807" y="211393"/>
                </a:lnTo>
                <a:lnTo>
                  <a:pt x="966019" y="211393"/>
                </a:lnTo>
                <a:lnTo>
                  <a:pt x="966019" y="275303"/>
                </a:lnTo>
                <a:lnTo>
                  <a:pt x="1113503" y="275303"/>
                </a:lnTo>
                <a:lnTo>
                  <a:pt x="1113503" y="312174"/>
                </a:lnTo>
                <a:lnTo>
                  <a:pt x="1418303" y="312174"/>
                </a:lnTo>
                <a:lnTo>
                  <a:pt x="1418303" y="351503"/>
                </a:lnTo>
                <a:lnTo>
                  <a:pt x="1531374" y="351503"/>
                </a:lnTo>
                <a:lnTo>
                  <a:pt x="1531374" y="395748"/>
                </a:lnTo>
                <a:lnTo>
                  <a:pt x="1723103" y="395748"/>
                </a:lnTo>
                <a:lnTo>
                  <a:pt x="1723103" y="432619"/>
                </a:lnTo>
                <a:lnTo>
                  <a:pt x="2010697" y="432619"/>
                </a:lnTo>
                <a:lnTo>
                  <a:pt x="2010697" y="471948"/>
                </a:lnTo>
                <a:lnTo>
                  <a:pt x="2106561" y="471948"/>
                </a:lnTo>
                <a:lnTo>
                  <a:pt x="2639961" y="471948"/>
                </a:lnTo>
                <a:lnTo>
                  <a:pt x="2639961" y="528484"/>
                </a:lnTo>
                <a:lnTo>
                  <a:pt x="3460955" y="528484"/>
                </a:lnTo>
              </a:path>
            </a:pathLst>
          </a:custGeom>
          <a:noFill/>
          <a:ln w="19050">
            <a:solidFill>
              <a:schemeClr val="accent4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4989" name="Straight Connector 4988">
            <a:extLst>
              <a:ext uri="{FF2B5EF4-FFF2-40B4-BE49-F238E27FC236}">
                <a16:creationId xmlns:a16="http://schemas.microsoft.com/office/drawing/2014/main" id="{0FF38C2A-2A79-835E-6546-B1BE3F1A0132}"/>
              </a:ext>
            </a:extLst>
          </p:cNvPr>
          <p:cNvCxnSpPr>
            <a:cxnSpLocks/>
          </p:cNvCxnSpPr>
          <p:nvPr/>
        </p:nvCxnSpPr>
        <p:spPr>
          <a:xfrm>
            <a:off x="9925195" y="2828848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90" name="Straight Connector 4989">
            <a:extLst>
              <a:ext uri="{FF2B5EF4-FFF2-40B4-BE49-F238E27FC236}">
                <a16:creationId xmlns:a16="http://schemas.microsoft.com/office/drawing/2014/main" id="{D45EB47D-BB9F-4C1A-F6C5-F2D663561B9C}"/>
              </a:ext>
            </a:extLst>
          </p:cNvPr>
          <p:cNvCxnSpPr>
            <a:cxnSpLocks/>
          </p:cNvCxnSpPr>
          <p:nvPr/>
        </p:nvCxnSpPr>
        <p:spPr>
          <a:xfrm>
            <a:off x="9947383" y="2828848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91" name="Straight Connector 4990">
            <a:extLst>
              <a:ext uri="{FF2B5EF4-FFF2-40B4-BE49-F238E27FC236}">
                <a16:creationId xmlns:a16="http://schemas.microsoft.com/office/drawing/2014/main" id="{859FC26D-5E29-3CA2-AF83-D45A14E565A7}"/>
              </a:ext>
            </a:extLst>
          </p:cNvPr>
          <p:cNvCxnSpPr>
            <a:cxnSpLocks/>
          </p:cNvCxnSpPr>
          <p:nvPr/>
        </p:nvCxnSpPr>
        <p:spPr>
          <a:xfrm>
            <a:off x="9958477" y="2828848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13" name="Straight Connector 3712">
            <a:extLst>
              <a:ext uri="{FF2B5EF4-FFF2-40B4-BE49-F238E27FC236}">
                <a16:creationId xmlns:a16="http://schemas.microsoft.com/office/drawing/2014/main" id="{9896EA5A-9F2D-D7BB-EE1E-80DD30EBC2BD}"/>
              </a:ext>
            </a:extLst>
          </p:cNvPr>
          <p:cNvCxnSpPr>
            <a:cxnSpLocks/>
          </p:cNvCxnSpPr>
          <p:nvPr/>
        </p:nvCxnSpPr>
        <p:spPr>
          <a:xfrm>
            <a:off x="9936289" y="2828848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14" name="Straight Connector 3713">
            <a:extLst>
              <a:ext uri="{FF2B5EF4-FFF2-40B4-BE49-F238E27FC236}">
                <a16:creationId xmlns:a16="http://schemas.microsoft.com/office/drawing/2014/main" id="{29987133-A4F9-D863-F172-DDB76528EBAE}"/>
              </a:ext>
            </a:extLst>
          </p:cNvPr>
          <p:cNvCxnSpPr>
            <a:cxnSpLocks/>
          </p:cNvCxnSpPr>
          <p:nvPr/>
        </p:nvCxnSpPr>
        <p:spPr>
          <a:xfrm>
            <a:off x="10380042" y="2828848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15" name="Straight Connector 3714">
            <a:extLst>
              <a:ext uri="{FF2B5EF4-FFF2-40B4-BE49-F238E27FC236}">
                <a16:creationId xmlns:a16="http://schemas.microsoft.com/office/drawing/2014/main" id="{C31E6CB9-E180-B65F-31FD-28295E012D88}"/>
              </a:ext>
            </a:extLst>
          </p:cNvPr>
          <p:cNvCxnSpPr>
            <a:cxnSpLocks/>
          </p:cNvCxnSpPr>
          <p:nvPr/>
        </p:nvCxnSpPr>
        <p:spPr>
          <a:xfrm>
            <a:off x="9980664" y="2828848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16" name="Straight Connector 3715">
            <a:extLst>
              <a:ext uri="{FF2B5EF4-FFF2-40B4-BE49-F238E27FC236}">
                <a16:creationId xmlns:a16="http://schemas.microsoft.com/office/drawing/2014/main" id="{0377C1EC-7E15-6752-BD4E-755C90AE9930}"/>
              </a:ext>
            </a:extLst>
          </p:cNvPr>
          <p:cNvCxnSpPr>
            <a:cxnSpLocks/>
          </p:cNvCxnSpPr>
          <p:nvPr/>
        </p:nvCxnSpPr>
        <p:spPr>
          <a:xfrm>
            <a:off x="9991756" y="2828848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17" name="Straight Connector 3716">
            <a:extLst>
              <a:ext uri="{FF2B5EF4-FFF2-40B4-BE49-F238E27FC236}">
                <a16:creationId xmlns:a16="http://schemas.microsoft.com/office/drawing/2014/main" id="{D32C25C8-5AEA-4B68-31BA-4774EAC3AAF7}"/>
              </a:ext>
            </a:extLst>
          </p:cNvPr>
          <p:cNvCxnSpPr>
            <a:cxnSpLocks/>
          </p:cNvCxnSpPr>
          <p:nvPr/>
        </p:nvCxnSpPr>
        <p:spPr>
          <a:xfrm>
            <a:off x="10002852" y="2828848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18" name="Straight Connector 3717">
            <a:extLst>
              <a:ext uri="{FF2B5EF4-FFF2-40B4-BE49-F238E27FC236}">
                <a16:creationId xmlns:a16="http://schemas.microsoft.com/office/drawing/2014/main" id="{AD4F679B-98FD-7D4D-125C-61F0E4FAEC64}"/>
              </a:ext>
            </a:extLst>
          </p:cNvPr>
          <p:cNvCxnSpPr>
            <a:cxnSpLocks/>
          </p:cNvCxnSpPr>
          <p:nvPr/>
        </p:nvCxnSpPr>
        <p:spPr>
          <a:xfrm>
            <a:off x="9969571" y="2828848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19" name="Straight Connector 3718">
            <a:extLst>
              <a:ext uri="{FF2B5EF4-FFF2-40B4-BE49-F238E27FC236}">
                <a16:creationId xmlns:a16="http://schemas.microsoft.com/office/drawing/2014/main" id="{1FD7DD90-F837-E78A-4CB4-D910976BC574}"/>
              </a:ext>
            </a:extLst>
          </p:cNvPr>
          <p:cNvCxnSpPr>
            <a:cxnSpLocks/>
          </p:cNvCxnSpPr>
          <p:nvPr/>
        </p:nvCxnSpPr>
        <p:spPr>
          <a:xfrm>
            <a:off x="10025040" y="2828848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20" name="Straight Connector 3719">
            <a:extLst>
              <a:ext uri="{FF2B5EF4-FFF2-40B4-BE49-F238E27FC236}">
                <a16:creationId xmlns:a16="http://schemas.microsoft.com/office/drawing/2014/main" id="{3C1F9CB6-62A2-7E67-0A88-B4C24551945A}"/>
              </a:ext>
            </a:extLst>
          </p:cNvPr>
          <p:cNvCxnSpPr>
            <a:cxnSpLocks/>
          </p:cNvCxnSpPr>
          <p:nvPr/>
        </p:nvCxnSpPr>
        <p:spPr>
          <a:xfrm>
            <a:off x="10036130" y="2828848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21" name="Straight Connector 3720">
            <a:extLst>
              <a:ext uri="{FF2B5EF4-FFF2-40B4-BE49-F238E27FC236}">
                <a16:creationId xmlns:a16="http://schemas.microsoft.com/office/drawing/2014/main" id="{EB9F3C62-03EF-1707-E43F-2BA6A4099F68}"/>
              </a:ext>
            </a:extLst>
          </p:cNvPr>
          <p:cNvCxnSpPr>
            <a:cxnSpLocks/>
          </p:cNvCxnSpPr>
          <p:nvPr/>
        </p:nvCxnSpPr>
        <p:spPr>
          <a:xfrm>
            <a:off x="10113785" y="2828848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22" name="Straight Connector 3721">
            <a:extLst>
              <a:ext uri="{FF2B5EF4-FFF2-40B4-BE49-F238E27FC236}">
                <a16:creationId xmlns:a16="http://schemas.microsoft.com/office/drawing/2014/main" id="{2E902433-F902-7F01-0A28-A7BC6201FBBD}"/>
              </a:ext>
            </a:extLst>
          </p:cNvPr>
          <p:cNvCxnSpPr>
            <a:cxnSpLocks/>
          </p:cNvCxnSpPr>
          <p:nvPr/>
        </p:nvCxnSpPr>
        <p:spPr>
          <a:xfrm>
            <a:off x="10302376" y="2828848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23" name="Straight Connector 3722">
            <a:extLst>
              <a:ext uri="{FF2B5EF4-FFF2-40B4-BE49-F238E27FC236}">
                <a16:creationId xmlns:a16="http://schemas.microsoft.com/office/drawing/2014/main" id="{895DFD80-1298-7C8C-3896-D90A8CC4FB30}"/>
              </a:ext>
            </a:extLst>
          </p:cNvPr>
          <p:cNvCxnSpPr>
            <a:cxnSpLocks/>
          </p:cNvCxnSpPr>
          <p:nvPr/>
        </p:nvCxnSpPr>
        <p:spPr>
          <a:xfrm>
            <a:off x="10280190" y="2828848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24" name="Straight Connector 3723">
            <a:extLst>
              <a:ext uri="{FF2B5EF4-FFF2-40B4-BE49-F238E27FC236}">
                <a16:creationId xmlns:a16="http://schemas.microsoft.com/office/drawing/2014/main" id="{4F63080B-DE7E-ADDB-35C4-709E82C3C849}"/>
              </a:ext>
            </a:extLst>
          </p:cNvPr>
          <p:cNvCxnSpPr>
            <a:cxnSpLocks/>
          </p:cNvCxnSpPr>
          <p:nvPr/>
        </p:nvCxnSpPr>
        <p:spPr>
          <a:xfrm>
            <a:off x="10246906" y="2828848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25" name="Straight Connector 3724">
            <a:extLst>
              <a:ext uri="{FF2B5EF4-FFF2-40B4-BE49-F238E27FC236}">
                <a16:creationId xmlns:a16="http://schemas.microsoft.com/office/drawing/2014/main" id="{85167A41-A39B-8621-8246-A0C848B57F76}"/>
              </a:ext>
            </a:extLst>
          </p:cNvPr>
          <p:cNvCxnSpPr>
            <a:cxnSpLocks/>
          </p:cNvCxnSpPr>
          <p:nvPr/>
        </p:nvCxnSpPr>
        <p:spPr>
          <a:xfrm>
            <a:off x="10313470" y="2828848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26" name="Straight Connector 3725">
            <a:extLst>
              <a:ext uri="{FF2B5EF4-FFF2-40B4-BE49-F238E27FC236}">
                <a16:creationId xmlns:a16="http://schemas.microsoft.com/office/drawing/2014/main" id="{ED62747A-8332-DCE3-1BE7-F8C10D5D20B2}"/>
              </a:ext>
            </a:extLst>
          </p:cNvPr>
          <p:cNvCxnSpPr>
            <a:cxnSpLocks/>
          </p:cNvCxnSpPr>
          <p:nvPr/>
        </p:nvCxnSpPr>
        <p:spPr>
          <a:xfrm>
            <a:off x="10324564" y="2828848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27" name="Straight Connector 3726">
            <a:extLst>
              <a:ext uri="{FF2B5EF4-FFF2-40B4-BE49-F238E27FC236}">
                <a16:creationId xmlns:a16="http://schemas.microsoft.com/office/drawing/2014/main" id="{A5A6EFBC-F59E-BD15-5324-35490A9F89FD}"/>
              </a:ext>
            </a:extLst>
          </p:cNvPr>
          <p:cNvCxnSpPr>
            <a:cxnSpLocks/>
          </p:cNvCxnSpPr>
          <p:nvPr/>
        </p:nvCxnSpPr>
        <p:spPr>
          <a:xfrm>
            <a:off x="10357843" y="2828848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28" name="Straight Connector 3727">
            <a:extLst>
              <a:ext uri="{FF2B5EF4-FFF2-40B4-BE49-F238E27FC236}">
                <a16:creationId xmlns:a16="http://schemas.microsoft.com/office/drawing/2014/main" id="{0E1EDB03-35A2-7C6B-F38A-291ECE9544B8}"/>
              </a:ext>
            </a:extLst>
          </p:cNvPr>
          <p:cNvCxnSpPr>
            <a:cxnSpLocks/>
          </p:cNvCxnSpPr>
          <p:nvPr/>
        </p:nvCxnSpPr>
        <p:spPr>
          <a:xfrm>
            <a:off x="10368939" y="2828848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29" name="Straight Connector 3728">
            <a:extLst>
              <a:ext uri="{FF2B5EF4-FFF2-40B4-BE49-F238E27FC236}">
                <a16:creationId xmlns:a16="http://schemas.microsoft.com/office/drawing/2014/main" id="{E0C7663A-83B2-D13C-DE7D-B4DFF8734D47}"/>
              </a:ext>
            </a:extLst>
          </p:cNvPr>
          <p:cNvCxnSpPr>
            <a:cxnSpLocks/>
          </p:cNvCxnSpPr>
          <p:nvPr/>
        </p:nvCxnSpPr>
        <p:spPr>
          <a:xfrm>
            <a:off x="10346751" y="2828848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30" name="Straight Connector 3729">
            <a:extLst>
              <a:ext uri="{FF2B5EF4-FFF2-40B4-BE49-F238E27FC236}">
                <a16:creationId xmlns:a16="http://schemas.microsoft.com/office/drawing/2014/main" id="{53BA387D-F693-38ED-0810-8A83D51A2FEE}"/>
              </a:ext>
            </a:extLst>
          </p:cNvPr>
          <p:cNvCxnSpPr>
            <a:cxnSpLocks/>
          </p:cNvCxnSpPr>
          <p:nvPr/>
        </p:nvCxnSpPr>
        <p:spPr>
          <a:xfrm>
            <a:off x="10335657" y="2828848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31" name="Straight Connector 3730">
            <a:extLst>
              <a:ext uri="{FF2B5EF4-FFF2-40B4-BE49-F238E27FC236}">
                <a16:creationId xmlns:a16="http://schemas.microsoft.com/office/drawing/2014/main" id="{5BEA8337-568D-B81D-F5E1-474A256B72C6}"/>
              </a:ext>
            </a:extLst>
          </p:cNvPr>
          <p:cNvCxnSpPr>
            <a:cxnSpLocks/>
          </p:cNvCxnSpPr>
          <p:nvPr/>
        </p:nvCxnSpPr>
        <p:spPr>
          <a:xfrm>
            <a:off x="10191439" y="2828848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32" name="Straight Connector 3731">
            <a:extLst>
              <a:ext uri="{FF2B5EF4-FFF2-40B4-BE49-F238E27FC236}">
                <a16:creationId xmlns:a16="http://schemas.microsoft.com/office/drawing/2014/main" id="{C50ADF5C-C867-6613-97F5-EBA4A59B0239}"/>
              </a:ext>
            </a:extLst>
          </p:cNvPr>
          <p:cNvCxnSpPr>
            <a:cxnSpLocks/>
          </p:cNvCxnSpPr>
          <p:nvPr/>
        </p:nvCxnSpPr>
        <p:spPr>
          <a:xfrm>
            <a:off x="10069410" y="2828848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33" name="Straight Connector 3732">
            <a:extLst>
              <a:ext uri="{FF2B5EF4-FFF2-40B4-BE49-F238E27FC236}">
                <a16:creationId xmlns:a16="http://schemas.microsoft.com/office/drawing/2014/main" id="{C93C54D6-6927-B789-B731-D23B7EE53743}"/>
              </a:ext>
            </a:extLst>
          </p:cNvPr>
          <p:cNvCxnSpPr>
            <a:cxnSpLocks/>
          </p:cNvCxnSpPr>
          <p:nvPr/>
        </p:nvCxnSpPr>
        <p:spPr>
          <a:xfrm>
            <a:off x="10080504" y="2828848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34" name="Straight Connector 3733">
            <a:extLst>
              <a:ext uri="{FF2B5EF4-FFF2-40B4-BE49-F238E27FC236}">
                <a16:creationId xmlns:a16="http://schemas.microsoft.com/office/drawing/2014/main" id="{6498AEA1-7102-B5E0-F94D-27134A256168}"/>
              </a:ext>
            </a:extLst>
          </p:cNvPr>
          <p:cNvCxnSpPr>
            <a:cxnSpLocks/>
          </p:cNvCxnSpPr>
          <p:nvPr/>
        </p:nvCxnSpPr>
        <p:spPr>
          <a:xfrm>
            <a:off x="10269094" y="2828848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35" name="Straight Connector 3734">
            <a:extLst>
              <a:ext uri="{FF2B5EF4-FFF2-40B4-BE49-F238E27FC236}">
                <a16:creationId xmlns:a16="http://schemas.microsoft.com/office/drawing/2014/main" id="{6170E7C5-2881-2FDC-D69B-8CEE0A55C4C1}"/>
              </a:ext>
            </a:extLst>
          </p:cNvPr>
          <p:cNvCxnSpPr>
            <a:cxnSpLocks/>
          </p:cNvCxnSpPr>
          <p:nvPr/>
        </p:nvCxnSpPr>
        <p:spPr>
          <a:xfrm>
            <a:off x="10047222" y="2828848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36" name="Straight Connector 3735">
            <a:extLst>
              <a:ext uri="{FF2B5EF4-FFF2-40B4-BE49-F238E27FC236}">
                <a16:creationId xmlns:a16="http://schemas.microsoft.com/office/drawing/2014/main" id="{92B36ACA-2E44-269F-11E3-E8DB536BD599}"/>
              </a:ext>
            </a:extLst>
          </p:cNvPr>
          <p:cNvCxnSpPr>
            <a:cxnSpLocks/>
          </p:cNvCxnSpPr>
          <p:nvPr/>
        </p:nvCxnSpPr>
        <p:spPr>
          <a:xfrm>
            <a:off x="10013944" y="2828848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37" name="Straight Connector 3736">
            <a:extLst>
              <a:ext uri="{FF2B5EF4-FFF2-40B4-BE49-F238E27FC236}">
                <a16:creationId xmlns:a16="http://schemas.microsoft.com/office/drawing/2014/main" id="{05B82F70-8D71-C3A4-5D98-BEAF656B6F9B}"/>
              </a:ext>
            </a:extLst>
          </p:cNvPr>
          <p:cNvCxnSpPr>
            <a:cxnSpLocks/>
          </p:cNvCxnSpPr>
          <p:nvPr/>
        </p:nvCxnSpPr>
        <p:spPr>
          <a:xfrm>
            <a:off x="10258002" y="2828848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38" name="Straight Connector 3737">
            <a:extLst>
              <a:ext uri="{FF2B5EF4-FFF2-40B4-BE49-F238E27FC236}">
                <a16:creationId xmlns:a16="http://schemas.microsoft.com/office/drawing/2014/main" id="{5D1D284F-1E0E-0DC9-241E-7F13F0F357D4}"/>
              </a:ext>
            </a:extLst>
          </p:cNvPr>
          <p:cNvCxnSpPr>
            <a:cxnSpLocks/>
          </p:cNvCxnSpPr>
          <p:nvPr/>
        </p:nvCxnSpPr>
        <p:spPr>
          <a:xfrm>
            <a:off x="10135971" y="2828848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39" name="Straight Connector 3738">
            <a:extLst>
              <a:ext uri="{FF2B5EF4-FFF2-40B4-BE49-F238E27FC236}">
                <a16:creationId xmlns:a16="http://schemas.microsoft.com/office/drawing/2014/main" id="{C9512731-97CA-6558-CB90-687F1D44156C}"/>
              </a:ext>
            </a:extLst>
          </p:cNvPr>
          <p:cNvCxnSpPr>
            <a:cxnSpLocks/>
          </p:cNvCxnSpPr>
          <p:nvPr/>
        </p:nvCxnSpPr>
        <p:spPr>
          <a:xfrm>
            <a:off x="10147067" y="2828848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40" name="Straight Connector 3739">
            <a:extLst>
              <a:ext uri="{FF2B5EF4-FFF2-40B4-BE49-F238E27FC236}">
                <a16:creationId xmlns:a16="http://schemas.microsoft.com/office/drawing/2014/main" id="{CFA1238A-9BF4-B84A-9E76-92F41785AD9E}"/>
              </a:ext>
            </a:extLst>
          </p:cNvPr>
          <p:cNvCxnSpPr>
            <a:cxnSpLocks/>
          </p:cNvCxnSpPr>
          <p:nvPr/>
        </p:nvCxnSpPr>
        <p:spPr>
          <a:xfrm>
            <a:off x="10091598" y="2828848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41" name="Straight Connector 3740">
            <a:extLst>
              <a:ext uri="{FF2B5EF4-FFF2-40B4-BE49-F238E27FC236}">
                <a16:creationId xmlns:a16="http://schemas.microsoft.com/office/drawing/2014/main" id="{F9A4DA8B-9463-F12A-EF67-DE5B605865BE}"/>
              </a:ext>
            </a:extLst>
          </p:cNvPr>
          <p:cNvCxnSpPr>
            <a:cxnSpLocks/>
          </p:cNvCxnSpPr>
          <p:nvPr/>
        </p:nvCxnSpPr>
        <p:spPr>
          <a:xfrm>
            <a:off x="10158159" y="2828848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42" name="Straight Connector 3741">
            <a:extLst>
              <a:ext uri="{FF2B5EF4-FFF2-40B4-BE49-F238E27FC236}">
                <a16:creationId xmlns:a16="http://schemas.microsoft.com/office/drawing/2014/main" id="{5B859162-77ED-61F9-798D-887A7E942F08}"/>
              </a:ext>
            </a:extLst>
          </p:cNvPr>
          <p:cNvCxnSpPr>
            <a:cxnSpLocks/>
          </p:cNvCxnSpPr>
          <p:nvPr/>
        </p:nvCxnSpPr>
        <p:spPr>
          <a:xfrm>
            <a:off x="10180347" y="2828848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43" name="Straight Connector 3742">
            <a:extLst>
              <a:ext uri="{FF2B5EF4-FFF2-40B4-BE49-F238E27FC236}">
                <a16:creationId xmlns:a16="http://schemas.microsoft.com/office/drawing/2014/main" id="{76D25CFC-1DDA-77FD-FCAE-BFA9C6E19EF7}"/>
              </a:ext>
            </a:extLst>
          </p:cNvPr>
          <p:cNvCxnSpPr>
            <a:cxnSpLocks/>
          </p:cNvCxnSpPr>
          <p:nvPr/>
        </p:nvCxnSpPr>
        <p:spPr>
          <a:xfrm>
            <a:off x="10224722" y="2828848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44" name="Straight Connector 3743">
            <a:extLst>
              <a:ext uri="{FF2B5EF4-FFF2-40B4-BE49-F238E27FC236}">
                <a16:creationId xmlns:a16="http://schemas.microsoft.com/office/drawing/2014/main" id="{FE2AEE05-7A6C-2FEB-3243-D42FB0D505FC}"/>
              </a:ext>
            </a:extLst>
          </p:cNvPr>
          <p:cNvCxnSpPr>
            <a:cxnSpLocks/>
          </p:cNvCxnSpPr>
          <p:nvPr/>
        </p:nvCxnSpPr>
        <p:spPr>
          <a:xfrm>
            <a:off x="10213627" y="2828848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45" name="Straight Connector 3744">
            <a:extLst>
              <a:ext uri="{FF2B5EF4-FFF2-40B4-BE49-F238E27FC236}">
                <a16:creationId xmlns:a16="http://schemas.microsoft.com/office/drawing/2014/main" id="{5CC38013-A777-DFBD-1D41-A244503B648A}"/>
              </a:ext>
            </a:extLst>
          </p:cNvPr>
          <p:cNvCxnSpPr>
            <a:cxnSpLocks/>
          </p:cNvCxnSpPr>
          <p:nvPr/>
        </p:nvCxnSpPr>
        <p:spPr>
          <a:xfrm>
            <a:off x="10291282" y="2828848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46" name="Straight Connector 3745">
            <a:extLst>
              <a:ext uri="{FF2B5EF4-FFF2-40B4-BE49-F238E27FC236}">
                <a16:creationId xmlns:a16="http://schemas.microsoft.com/office/drawing/2014/main" id="{CFEEC38D-F318-E9F5-AD7B-70B288C5291E}"/>
              </a:ext>
            </a:extLst>
          </p:cNvPr>
          <p:cNvCxnSpPr>
            <a:cxnSpLocks/>
          </p:cNvCxnSpPr>
          <p:nvPr/>
        </p:nvCxnSpPr>
        <p:spPr>
          <a:xfrm>
            <a:off x="10102692" y="2828848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47" name="Straight Connector 3746">
            <a:extLst>
              <a:ext uri="{FF2B5EF4-FFF2-40B4-BE49-F238E27FC236}">
                <a16:creationId xmlns:a16="http://schemas.microsoft.com/office/drawing/2014/main" id="{D3EC0850-DFD0-2E7B-9EA6-B41215474055}"/>
              </a:ext>
            </a:extLst>
          </p:cNvPr>
          <p:cNvCxnSpPr>
            <a:cxnSpLocks/>
          </p:cNvCxnSpPr>
          <p:nvPr/>
        </p:nvCxnSpPr>
        <p:spPr>
          <a:xfrm>
            <a:off x="10235814" y="2828848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48" name="Straight Connector 3747">
            <a:extLst>
              <a:ext uri="{FF2B5EF4-FFF2-40B4-BE49-F238E27FC236}">
                <a16:creationId xmlns:a16="http://schemas.microsoft.com/office/drawing/2014/main" id="{AE991290-11FA-1344-E011-3746389DBA12}"/>
              </a:ext>
            </a:extLst>
          </p:cNvPr>
          <p:cNvCxnSpPr>
            <a:cxnSpLocks/>
          </p:cNvCxnSpPr>
          <p:nvPr/>
        </p:nvCxnSpPr>
        <p:spPr>
          <a:xfrm>
            <a:off x="10058318" y="2828848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49" name="Straight Connector 3748">
            <a:extLst>
              <a:ext uri="{FF2B5EF4-FFF2-40B4-BE49-F238E27FC236}">
                <a16:creationId xmlns:a16="http://schemas.microsoft.com/office/drawing/2014/main" id="{C772C230-520D-4ED1-97D8-327E78844CCB}"/>
              </a:ext>
            </a:extLst>
          </p:cNvPr>
          <p:cNvCxnSpPr>
            <a:cxnSpLocks/>
          </p:cNvCxnSpPr>
          <p:nvPr/>
        </p:nvCxnSpPr>
        <p:spPr>
          <a:xfrm>
            <a:off x="10124879" y="2828848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50" name="Straight Connector 3749">
            <a:extLst>
              <a:ext uri="{FF2B5EF4-FFF2-40B4-BE49-F238E27FC236}">
                <a16:creationId xmlns:a16="http://schemas.microsoft.com/office/drawing/2014/main" id="{675EEA7C-AC31-F6A5-FF03-726B2AD53503}"/>
              </a:ext>
            </a:extLst>
          </p:cNvPr>
          <p:cNvCxnSpPr>
            <a:cxnSpLocks/>
          </p:cNvCxnSpPr>
          <p:nvPr/>
        </p:nvCxnSpPr>
        <p:spPr>
          <a:xfrm>
            <a:off x="10169255" y="2828848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51" name="Straight Connector 3750">
            <a:extLst>
              <a:ext uri="{FF2B5EF4-FFF2-40B4-BE49-F238E27FC236}">
                <a16:creationId xmlns:a16="http://schemas.microsoft.com/office/drawing/2014/main" id="{2715129A-1EC2-9A35-572F-51B50D4A8075}"/>
              </a:ext>
            </a:extLst>
          </p:cNvPr>
          <p:cNvCxnSpPr>
            <a:cxnSpLocks/>
          </p:cNvCxnSpPr>
          <p:nvPr/>
        </p:nvCxnSpPr>
        <p:spPr>
          <a:xfrm>
            <a:off x="10202535" y="2828848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52" name="Straight Connector 3751">
            <a:extLst>
              <a:ext uri="{FF2B5EF4-FFF2-40B4-BE49-F238E27FC236}">
                <a16:creationId xmlns:a16="http://schemas.microsoft.com/office/drawing/2014/main" id="{DCD8084F-2AE1-F143-C969-BAE2F9F9B396}"/>
              </a:ext>
            </a:extLst>
          </p:cNvPr>
          <p:cNvCxnSpPr>
            <a:cxnSpLocks/>
          </p:cNvCxnSpPr>
          <p:nvPr/>
        </p:nvCxnSpPr>
        <p:spPr>
          <a:xfrm>
            <a:off x="10424504" y="2828848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53" name="Straight Connector 3752">
            <a:extLst>
              <a:ext uri="{FF2B5EF4-FFF2-40B4-BE49-F238E27FC236}">
                <a16:creationId xmlns:a16="http://schemas.microsoft.com/office/drawing/2014/main" id="{FCD8E223-23B3-6561-81D5-E2751ECD8363}"/>
              </a:ext>
            </a:extLst>
          </p:cNvPr>
          <p:cNvCxnSpPr>
            <a:cxnSpLocks/>
          </p:cNvCxnSpPr>
          <p:nvPr/>
        </p:nvCxnSpPr>
        <p:spPr>
          <a:xfrm>
            <a:off x="10405691" y="2828848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54" name="Straight Connector 3753">
            <a:extLst>
              <a:ext uri="{FF2B5EF4-FFF2-40B4-BE49-F238E27FC236}">
                <a16:creationId xmlns:a16="http://schemas.microsoft.com/office/drawing/2014/main" id="{54BA76B0-A9B0-182E-EB56-8203AB3E5D0E}"/>
              </a:ext>
            </a:extLst>
          </p:cNvPr>
          <p:cNvCxnSpPr>
            <a:cxnSpLocks/>
          </p:cNvCxnSpPr>
          <p:nvPr/>
        </p:nvCxnSpPr>
        <p:spPr>
          <a:xfrm>
            <a:off x="9466783" y="2803867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55" name="Straight Connector 3754">
            <a:extLst>
              <a:ext uri="{FF2B5EF4-FFF2-40B4-BE49-F238E27FC236}">
                <a16:creationId xmlns:a16="http://schemas.microsoft.com/office/drawing/2014/main" id="{D5BC3932-D341-2513-26E4-8C6D5C4129BB}"/>
              </a:ext>
            </a:extLst>
          </p:cNvPr>
          <p:cNvCxnSpPr>
            <a:cxnSpLocks/>
          </p:cNvCxnSpPr>
          <p:nvPr/>
        </p:nvCxnSpPr>
        <p:spPr>
          <a:xfrm>
            <a:off x="9488971" y="2803867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56" name="Straight Connector 3755">
            <a:extLst>
              <a:ext uri="{FF2B5EF4-FFF2-40B4-BE49-F238E27FC236}">
                <a16:creationId xmlns:a16="http://schemas.microsoft.com/office/drawing/2014/main" id="{C325D15E-F74C-E2EA-1560-1DE76E887568}"/>
              </a:ext>
            </a:extLst>
          </p:cNvPr>
          <p:cNvCxnSpPr>
            <a:cxnSpLocks/>
          </p:cNvCxnSpPr>
          <p:nvPr/>
        </p:nvCxnSpPr>
        <p:spPr>
          <a:xfrm>
            <a:off x="9500063" y="2803867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57" name="Straight Connector 3756">
            <a:extLst>
              <a:ext uri="{FF2B5EF4-FFF2-40B4-BE49-F238E27FC236}">
                <a16:creationId xmlns:a16="http://schemas.microsoft.com/office/drawing/2014/main" id="{785835F0-8590-FF2F-4EEB-6168CC9B71D3}"/>
              </a:ext>
            </a:extLst>
          </p:cNvPr>
          <p:cNvCxnSpPr>
            <a:cxnSpLocks/>
          </p:cNvCxnSpPr>
          <p:nvPr/>
        </p:nvCxnSpPr>
        <p:spPr>
          <a:xfrm>
            <a:off x="9477875" y="2803867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58" name="Straight Connector 3757">
            <a:extLst>
              <a:ext uri="{FF2B5EF4-FFF2-40B4-BE49-F238E27FC236}">
                <a16:creationId xmlns:a16="http://schemas.microsoft.com/office/drawing/2014/main" id="{D3898788-E352-EE00-5773-4234430272C3}"/>
              </a:ext>
            </a:extLst>
          </p:cNvPr>
          <p:cNvCxnSpPr>
            <a:cxnSpLocks/>
          </p:cNvCxnSpPr>
          <p:nvPr/>
        </p:nvCxnSpPr>
        <p:spPr>
          <a:xfrm>
            <a:off x="9522250" y="2803867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59" name="Straight Connector 3758">
            <a:extLst>
              <a:ext uri="{FF2B5EF4-FFF2-40B4-BE49-F238E27FC236}">
                <a16:creationId xmlns:a16="http://schemas.microsoft.com/office/drawing/2014/main" id="{A6BF7BB4-AAE4-A478-B2DD-F96A531A418E}"/>
              </a:ext>
            </a:extLst>
          </p:cNvPr>
          <p:cNvCxnSpPr>
            <a:cxnSpLocks/>
          </p:cNvCxnSpPr>
          <p:nvPr/>
        </p:nvCxnSpPr>
        <p:spPr>
          <a:xfrm>
            <a:off x="9533342" y="2803867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60" name="Straight Connector 3759">
            <a:extLst>
              <a:ext uri="{FF2B5EF4-FFF2-40B4-BE49-F238E27FC236}">
                <a16:creationId xmlns:a16="http://schemas.microsoft.com/office/drawing/2014/main" id="{8D4944D9-3886-AB51-1AB9-C25D23B34104}"/>
              </a:ext>
            </a:extLst>
          </p:cNvPr>
          <p:cNvCxnSpPr>
            <a:cxnSpLocks/>
          </p:cNvCxnSpPr>
          <p:nvPr/>
        </p:nvCxnSpPr>
        <p:spPr>
          <a:xfrm>
            <a:off x="9544436" y="2803867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61" name="Straight Connector 3760">
            <a:extLst>
              <a:ext uri="{FF2B5EF4-FFF2-40B4-BE49-F238E27FC236}">
                <a16:creationId xmlns:a16="http://schemas.microsoft.com/office/drawing/2014/main" id="{9FE7F324-9CF9-32BC-A9FB-EAB4B7B7871E}"/>
              </a:ext>
            </a:extLst>
          </p:cNvPr>
          <p:cNvCxnSpPr>
            <a:cxnSpLocks/>
          </p:cNvCxnSpPr>
          <p:nvPr/>
        </p:nvCxnSpPr>
        <p:spPr>
          <a:xfrm>
            <a:off x="9511158" y="2803867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62" name="Straight Connector 3761">
            <a:extLst>
              <a:ext uri="{FF2B5EF4-FFF2-40B4-BE49-F238E27FC236}">
                <a16:creationId xmlns:a16="http://schemas.microsoft.com/office/drawing/2014/main" id="{C5F3BDCD-DD11-1715-0C67-3A6F751A175C}"/>
              </a:ext>
            </a:extLst>
          </p:cNvPr>
          <p:cNvCxnSpPr>
            <a:cxnSpLocks/>
          </p:cNvCxnSpPr>
          <p:nvPr/>
        </p:nvCxnSpPr>
        <p:spPr>
          <a:xfrm>
            <a:off x="9566624" y="2803867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63" name="Straight Connector 3762">
            <a:extLst>
              <a:ext uri="{FF2B5EF4-FFF2-40B4-BE49-F238E27FC236}">
                <a16:creationId xmlns:a16="http://schemas.microsoft.com/office/drawing/2014/main" id="{BAE4584D-AC2D-5FEE-6FD8-CFE014F91C58}"/>
              </a:ext>
            </a:extLst>
          </p:cNvPr>
          <p:cNvCxnSpPr>
            <a:cxnSpLocks/>
          </p:cNvCxnSpPr>
          <p:nvPr/>
        </p:nvCxnSpPr>
        <p:spPr>
          <a:xfrm>
            <a:off x="9577718" y="2803867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64" name="Straight Connector 3763">
            <a:extLst>
              <a:ext uri="{FF2B5EF4-FFF2-40B4-BE49-F238E27FC236}">
                <a16:creationId xmlns:a16="http://schemas.microsoft.com/office/drawing/2014/main" id="{339B029F-96BC-294B-BC7D-7487CA13F335}"/>
              </a:ext>
            </a:extLst>
          </p:cNvPr>
          <p:cNvCxnSpPr>
            <a:cxnSpLocks/>
          </p:cNvCxnSpPr>
          <p:nvPr/>
        </p:nvCxnSpPr>
        <p:spPr>
          <a:xfrm>
            <a:off x="9655373" y="2803867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65" name="Straight Connector 3764">
            <a:extLst>
              <a:ext uri="{FF2B5EF4-FFF2-40B4-BE49-F238E27FC236}">
                <a16:creationId xmlns:a16="http://schemas.microsoft.com/office/drawing/2014/main" id="{6D4C12AB-C69B-82A7-2E52-10A9C963CDA4}"/>
              </a:ext>
            </a:extLst>
          </p:cNvPr>
          <p:cNvCxnSpPr>
            <a:cxnSpLocks/>
          </p:cNvCxnSpPr>
          <p:nvPr/>
        </p:nvCxnSpPr>
        <p:spPr>
          <a:xfrm>
            <a:off x="9843964" y="2803867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66" name="Straight Connector 3765">
            <a:extLst>
              <a:ext uri="{FF2B5EF4-FFF2-40B4-BE49-F238E27FC236}">
                <a16:creationId xmlns:a16="http://schemas.microsoft.com/office/drawing/2014/main" id="{23292356-3098-8B96-C418-C1417B199663}"/>
              </a:ext>
            </a:extLst>
          </p:cNvPr>
          <p:cNvCxnSpPr>
            <a:cxnSpLocks/>
          </p:cNvCxnSpPr>
          <p:nvPr/>
        </p:nvCxnSpPr>
        <p:spPr>
          <a:xfrm>
            <a:off x="9821776" y="2803867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67" name="Straight Connector 3766">
            <a:extLst>
              <a:ext uri="{FF2B5EF4-FFF2-40B4-BE49-F238E27FC236}">
                <a16:creationId xmlns:a16="http://schemas.microsoft.com/office/drawing/2014/main" id="{C4AE3DCA-815F-17FC-463B-E23C8CC8F99C}"/>
              </a:ext>
            </a:extLst>
          </p:cNvPr>
          <p:cNvCxnSpPr>
            <a:cxnSpLocks/>
          </p:cNvCxnSpPr>
          <p:nvPr/>
        </p:nvCxnSpPr>
        <p:spPr>
          <a:xfrm>
            <a:off x="9788496" y="2803867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68" name="Straight Connector 3767">
            <a:extLst>
              <a:ext uri="{FF2B5EF4-FFF2-40B4-BE49-F238E27FC236}">
                <a16:creationId xmlns:a16="http://schemas.microsoft.com/office/drawing/2014/main" id="{9DAA1E2B-6AD2-AF21-064E-DAE225ADE785}"/>
              </a:ext>
            </a:extLst>
          </p:cNvPr>
          <p:cNvCxnSpPr>
            <a:cxnSpLocks/>
          </p:cNvCxnSpPr>
          <p:nvPr/>
        </p:nvCxnSpPr>
        <p:spPr>
          <a:xfrm>
            <a:off x="9855057" y="2803867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69" name="Straight Connector 3768">
            <a:extLst>
              <a:ext uri="{FF2B5EF4-FFF2-40B4-BE49-F238E27FC236}">
                <a16:creationId xmlns:a16="http://schemas.microsoft.com/office/drawing/2014/main" id="{1A34DEC5-0737-8953-EB8D-2FC5E86D8E2E}"/>
              </a:ext>
            </a:extLst>
          </p:cNvPr>
          <p:cNvCxnSpPr>
            <a:cxnSpLocks/>
          </p:cNvCxnSpPr>
          <p:nvPr/>
        </p:nvCxnSpPr>
        <p:spPr>
          <a:xfrm>
            <a:off x="9866151" y="2803867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70" name="Straight Connector 3769">
            <a:extLst>
              <a:ext uri="{FF2B5EF4-FFF2-40B4-BE49-F238E27FC236}">
                <a16:creationId xmlns:a16="http://schemas.microsoft.com/office/drawing/2014/main" id="{4D82941C-2CB9-1BDD-1E9C-067A75D5E805}"/>
              </a:ext>
            </a:extLst>
          </p:cNvPr>
          <p:cNvCxnSpPr>
            <a:cxnSpLocks/>
          </p:cNvCxnSpPr>
          <p:nvPr/>
        </p:nvCxnSpPr>
        <p:spPr>
          <a:xfrm>
            <a:off x="9899433" y="2803867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71" name="Straight Connector 3770">
            <a:extLst>
              <a:ext uri="{FF2B5EF4-FFF2-40B4-BE49-F238E27FC236}">
                <a16:creationId xmlns:a16="http://schemas.microsoft.com/office/drawing/2014/main" id="{21257DD9-C509-CF05-E6AA-664AA6F26142}"/>
              </a:ext>
            </a:extLst>
          </p:cNvPr>
          <p:cNvCxnSpPr>
            <a:cxnSpLocks/>
          </p:cNvCxnSpPr>
          <p:nvPr/>
        </p:nvCxnSpPr>
        <p:spPr>
          <a:xfrm>
            <a:off x="9888337" y="2803867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72" name="Straight Connector 3771">
            <a:extLst>
              <a:ext uri="{FF2B5EF4-FFF2-40B4-BE49-F238E27FC236}">
                <a16:creationId xmlns:a16="http://schemas.microsoft.com/office/drawing/2014/main" id="{A3B6FD57-3733-6A61-893D-629370FDA507}"/>
              </a:ext>
            </a:extLst>
          </p:cNvPr>
          <p:cNvCxnSpPr>
            <a:cxnSpLocks/>
          </p:cNvCxnSpPr>
          <p:nvPr/>
        </p:nvCxnSpPr>
        <p:spPr>
          <a:xfrm>
            <a:off x="9877245" y="2803867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73" name="Straight Connector 3772">
            <a:extLst>
              <a:ext uri="{FF2B5EF4-FFF2-40B4-BE49-F238E27FC236}">
                <a16:creationId xmlns:a16="http://schemas.microsoft.com/office/drawing/2014/main" id="{D77DD564-2B6D-BAD0-DA68-ABBC08ACD423}"/>
              </a:ext>
            </a:extLst>
          </p:cNvPr>
          <p:cNvCxnSpPr>
            <a:cxnSpLocks/>
          </p:cNvCxnSpPr>
          <p:nvPr/>
        </p:nvCxnSpPr>
        <p:spPr>
          <a:xfrm>
            <a:off x="9733028" y="2803867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74" name="Straight Connector 3773">
            <a:extLst>
              <a:ext uri="{FF2B5EF4-FFF2-40B4-BE49-F238E27FC236}">
                <a16:creationId xmlns:a16="http://schemas.microsoft.com/office/drawing/2014/main" id="{AAEFE6BC-23C1-429B-C217-DE94D197DF7D}"/>
              </a:ext>
            </a:extLst>
          </p:cNvPr>
          <p:cNvCxnSpPr>
            <a:cxnSpLocks/>
          </p:cNvCxnSpPr>
          <p:nvPr/>
        </p:nvCxnSpPr>
        <p:spPr>
          <a:xfrm>
            <a:off x="9610998" y="2803867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75" name="Straight Connector 3774">
            <a:extLst>
              <a:ext uri="{FF2B5EF4-FFF2-40B4-BE49-F238E27FC236}">
                <a16:creationId xmlns:a16="http://schemas.microsoft.com/office/drawing/2014/main" id="{A5E8287C-B66C-63C0-7F2C-2142B5D7DB73}"/>
              </a:ext>
            </a:extLst>
          </p:cNvPr>
          <p:cNvCxnSpPr>
            <a:cxnSpLocks/>
          </p:cNvCxnSpPr>
          <p:nvPr/>
        </p:nvCxnSpPr>
        <p:spPr>
          <a:xfrm>
            <a:off x="9622093" y="2803867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52" name="Straight Connector 4351">
            <a:extLst>
              <a:ext uri="{FF2B5EF4-FFF2-40B4-BE49-F238E27FC236}">
                <a16:creationId xmlns:a16="http://schemas.microsoft.com/office/drawing/2014/main" id="{65F1ACBE-604A-6F93-7E1F-98F3C70006BF}"/>
              </a:ext>
            </a:extLst>
          </p:cNvPr>
          <p:cNvCxnSpPr>
            <a:cxnSpLocks/>
          </p:cNvCxnSpPr>
          <p:nvPr/>
        </p:nvCxnSpPr>
        <p:spPr>
          <a:xfrm>
            <a:off x="9810682" y="2803867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53" name="Straight Connector 4352">
            <a:extLst>
              <a:ext uri="{FF2B5EF4-FFF2-40B4-BE49-F238E27FC236}">
                <a16:creationId xmlns:a16="http://schemas.microsoft.com/office/drawing/2014/main" id="{C899EBF4-3373-6AD6-C98D-F6973D64FB5E}"/>
              </a:ext>
            </a:extLst>
          </p:cNvPr>
          <p:cNvCxnSpPr>
            <a:cxnSpLocks/>
          </p:cNvCxnSpPr>
          <p:nvPr/>
        </p:nvCxnSpPr>
        <p:spPr>
          <a:xfrm>
            <a:off x="9588810" y="2803867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54" name="Straight Connector 4353">
            <a:extLst>
              <a:ext uri="{FF2B5EF4-FFF2-40B4-BE49-F238E27FC236}">
                <a16:creationId xmlns:a16="http://schemas.microsoft.com/office/drawing/2014/main" id="{749000F0-ABB3-DAB1-3130-9F13E3985684}"/>
              </a:ext>
            </a:extLst>
          </p:cNvPr>
          <p:cNvCxnSpPr>
            <a:cxnSpLocks/>
          </p:cNvCxnSpPr>
          <p:nvPr/>
        </p:nvCxnSpPr>
        <p:spPr>
          <a:xfrm>
            <a:off x="9555530" y="2803867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55" name="Straight Connector 4354">
            <a:extLst>
              <a:ext uri="{FF2B5EF4-FFF2-40B4-BE49-F238E27FC236}">
                <a16:creationId xmlns:a16="http://schemas.microsoft.com/office/drawing/2014/main" id="{9199F84E-D616-8F95-0A88-0BA4CC3FA4A4}"/>
              </a:ext>
            </a:extLst>
          </p:cNvPr>
          <p:cNvCxnSpPr>
            <a:cxnSpLocks/>
          </p:cNvCxnSpPr>
          <p:nvPr/>
        </p:nvCxnSpPr>
        <p:spPr>
          <a:xfrm>
            <a:off x="9799588" y="2803867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56" name="Straight Connector 4355">
            <a:extLst>
              <a:ext uri="{FF2B5EF4-FFF2-40B4-BE49-F238E27FC236}">
                <a16:creationId xmlns:a16="http://schemas.microsoft.com/office/drawing/2014/main" id="{D3912A76-B969-3C5C-2327-FECE5E8C2D06}"/>
              </a:ext>
            </a:extLst>
          </p:cNvPr>
          <p:cNvCxnSpPr>
            <a:cxnSpLocks/>
          </p:cNvCxnSpPr>
          <p:nvPr/>
        </p:nvCxnSpPr>
        <p:spPr>
          <a:xfrm>
            <a:off x="9677561" y="2803867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57" name="Straight Connector 4356">
            <a:extLst>
              <a:ext uri="{FF2B5EF4-FFF2-40B4-BE49-F238E27FC236}">
                <a16:creationId xmlns:a16="http://schemas.microsoft.com/office/drawing/2014/main" id="{DAE37234-CA78-C225-B934-02864DF9D37C}"/>
              </a:ext>
            </a:extLst>
          </p:cNvPr>
          <p:cNvCxnSpPr>
            <a:cxnSpLocks/>
          </p:cNvCxnSpPr>
          <p:nvPr/>
        </p:nvCxnSpPr>
        <p:spPr>
          <a:xfrm>
            <a:off x="9688653" y="2803867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58" name="Straight Connector 4357">
            <a:extLst>
              <a:ext uri="{FF2B5EF4-FFF2-40B4-BE49-F238E27FC236}">
                <a16:creationId xmlns:a16="http://schemas.microsoft.com/office/drawing/2014/main" id="{2544D100-04E9-A14F-B4CB-E46D5F871191}"/>
              </a:ext>
            </a:extLst>
          </p:cNvPr>
          <p:cNvCxnSpPr>
            <a:cxnSpLocks/>
          </p:cNvCxnSpPr>
          <p:nvPr/>
        </p:nvCxnSpPr>
        <p:spPr>
          <a:xfrm>
            <a:off x="9633185" y="2803867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59" name="Straight Connector 4358">
            <a:extLst>
              <a:ext uri="{FF2B5EF4-FFF2-40B4-BE49-F238E27FC236}">
                <a16:creationId xmlns:a16="http://schemas.microsoft.com/office/drawing/2014/main" id="{A6458B6F-E304-54CC-B66D-D7754B18894D}"/>
              </a:ext>
            </a:extLst>
          </p:cNvPr>
          <p:cNvCxnSpPr>
            <a:cxnSpLocks/>
          </p:cNvCxnSpPr>
          <p:nvPr/>
        </p:nvCxnSpPr>
        <p:spPr>
          <a:xfrm>
            <a:off x="9699745" y="2803867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60" name="Straight Connector 4359">
            <a:extLst>
              <a:ext uri="{FF2B5EF4-FFF2-40B4-BE49-F238E27FC236}">
                <a16:creationId xmlns:a16="http://schemas.microsoft.com/office/drawing/2014/main" id="{CC6D923A-0641-1F2F-2984-C3C64CF0400A}"/>
              </a:ext>
            </a:extLst>
          </p:cNvPr>
          <p:cNvCxnSpPr>
            <a:cxnSpLocks/>
          </p:cNvCxnSpPr>
          <p:nvPr/>
        </p:nvCxnSpPr>
        <p:spPr>
          <a:xfrm>
            <a:off x="9721933" y="2803867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61" name="Straight Connector 4360">
            <a:extLst>
              <a:ext uri="{FF2B5EF4-FFF2-40B4-BE49-F238E27FC236}">
                <a16:creationId xmlns:a16="http://schemas.microsoft.com/office/drawing/2014/main" id="{E04F3DD0-9529-E9FB-1124-4B6A2E004E19}"/>
              </a:ext>
            </a:extLst>
          </p:cNvPr>
          <p:cNvCxnSpPr>
            <a:cxnSpLocks/>
          </p:cNvCxnSpPr>
          <p:nvPr/>
        </p:nvCxnSpPr>
        <p:spPr>
          <a:xfrm>
            <a:off x="9766308" y="2803867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62" name="Straight Connector 4361">
            <a:extLst>
              <a:ext uri="{FF2B5EF4-FFF2-40B4-BE49-F238E27FC236}">
                <a16:creationId xmlns:a16="http://schemas.microsoft.com/office/drawing/2014/main" id="{E86C7045-8423-E6A8-F3DB-CB0FEEF519A2}"/>
              </a:ext>
            </a:extLst>
          </p:cNvPr>
          <p:cNvCxnSpPr>
            <a:cxnSpLocks/>
          </p:cNvCxnSpPr>
          <p:nvPr/>
        </p:nvCxnSpPr>
        <p:spPr>
          <a:xfrm>
            <a:off x="9755213" y="2803867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63" name="Straight Connector 4362">
            <a:extLst>
              <a:ext uri="{FF2B5EF4-FFF2-40B4-BE49-F238E27FC236}">
                <a16:creationId xmlns:a16="http://schemas.microsoft.com/office/drawing/2014/main" id="{068D9E72-7572-1512-1266-EA5C207F536F}"/>
              </a:ext>
            </a:extLst>
          </p:cNvPr>
          <p:cNvCxnSpPr>
            <a:cxnSpLocks/>
          </p:cNvCxnSpPr>
          <p:nvPr/>
        </p:nvCxnSpPr>
        <p:spPr>
          <a:xfrm>
            <a:off x="9832870" y="2803867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64" name="Straight Connector 4363">
            <a:extLst>
              <a:ext uri="{FF2B5EF4-FFF2-40B4-BE49-F238E27FC236}">
                <a16:creationId xmlns:a16="http://schemas.microsoft.com/office/drawing/2014/main" id="{16F77FE8-ED34-11FA-C8D1-8DA7042D53EA}"/>
              </a:ext>
            </a:extLst>
          </p:cNvPr>
          <p:cNvCxnSpPr>
            <a:cxnSpLocks/>
          </p:cNvCxnSpPr>
          <p:nvPr/>
        </p:nvCxnSpPr>
        <p:spPr>
          <a:xfrm>
            <a:off x="9644277" y="2803867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65" name="Straight Connector 4364">
            <a:extLst>
              <a:ext uri="{FF2B5EF4-FFF2-40B4-BE49-F238E27FC236}">
                <a16:creationId xmlns:a16="http://schemas.microsoft.com/office/drawing/2014/main" id="{ECCC1E8A-F26F-B619-8BB5-5DC6A984C67F}"/>
              </a:ext>
            </a:extLst>
          </p:cNvPr>
          <p:cNvCxnSpPr>
            <a:cxnSpLocks/>
          </p:cNvCxnSpPr>
          <p:nvPr/>
        </p:nvCxnSpPr>
        <p:spPr>
          <a:xfrm>
            <a:off x="9777400" y="2803867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66" name="Straight Connector 4365">
            <a:extLst>
              <a:ext uri="{FF2B5EF4-FFF2-40B4-BE49-F238E27FC236}">
                <a16:creationId xmlns:a16="http://schemas.microsoft.com/office/drawing/2014/main" id="{286BA569-D764-6D7D-0C60-696F8B546F1E}"/>
              </a:ext>
            </a:extLst>
          </p:cNvPr>
          <p:cNvCxnSpPr>
            <a:cxnSpLocks/>
          </p:cNvCxnSpPr>
          <p:nvPr/>
        </p:nvCxnSpPr>
        <p:spPr>
          <a:xfrm>
            <a:off x="9599906" y="2803867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67" name="Straight Connector 4366">
            <a:extLst>
              <a:ext uri="{FF2B5EF4-FFF2-40B4-BE49-F238E27FC236}">
                <a16:creationId xmlns:a16="http://schemas.microsoft.com/office/drawing/2014/main" id="{DCA9617B-3FD6-20EA-A011-CABBADAC07CF}"/>
              </a:ext>
            </a:extLst>
          </p:cNvPr>
          <p:cNvCxnSpPr>
            <a:cxnSpLocks/>
          </p:cNvCxnSpPr>
          <p:nvPr/>
        </p:nvCxnSpPr>
        <p:spPr>
          <a:xfrm>
            <a:off x="9666465" y="2803867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68" name="Straight Connector 4367">
            <a:extLst>
              <a:ext uri="{FF2B5EF4-FFF2-40B4-BE49-F238E27FC236}">
                <a16:creationId xmlns:a16="http://schemas.microsoft.com/office/drawing/2014/main" id="{CA37C44E-06BE-651C-7DEB-5B82136BE275}"/>
              </a:ext>
            </a:extLst>
          </p:cNvPr>
          <p:cNvCxnSpPr>
            <a:cxnSpLocks/>
          </p:cNvCxnSpPr>
          <p:nvPr/>
        </p:nvCxnSpPr>
        <p:spPr>
          <a:xfrm>
            <a:off x="9710841" y="2803867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69" name="Straight Connector 4368">
            <a:extLst>
              <a:ext uri="{FF2B5EF4-FFF2-40B4-BE49-F238E27FC236}">
                <a16:creationId xmlns:a16="http://schemas.microsoft.com/office/drawing/2014/main" id="{0CC7EF43-4A70-B746-9F40-CA670D2C3503}"/>
              </a:ext>
            </a:extLst>
          </p:cNvPr>
          <p:cNvCxnSpPr>
            <a:cxnSpLocks/>
          </p:cNvCxnSpPr>
          <p:nvPr/>
        </p:nvCxnSpPr>
        <p:spPr>
          <a:xfrm>
            <a:off x="9744120" y="2803867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70" name="Straight Connector 4369">
            <a:extLst>
              <a:ext uri="{FF2B5EF4-FFF2-40B4-BE49-F238E27FC236}">
                <a16:creationId xmlns:a16="http://schemas.microsoft.com/office/drawing/2014/main" id="{5B0383D3-C65E-AD94-57DE-50DE174AD8D3}"/>
              </a:ext>
            </a:extLst>
          </p:cNvPr>
          <p:cNvCxnSpPr>
            <a:cxnSpLocks/>
          </p:cNvCxnSpPr>
          <p:nvPr/>
        </p:nvCxnSpPr>
        <p:spPr>
          <a:xfrm>
            <a:off x="9913387" y="2824772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71" name="Straight Connector 4370">
            <a:extLst>
              <a:ext uri="{FF2B5EF4-FFF2-40B4-BE49-F238E27FC236}">
                <a16:creationId xmlns:a16="http://schemas.microsoft.com/office/drawing/2014/main" id="{C3231C82-7234-4221-FCDE-0995FD1D5C27}"/>
              </a:ext>
            </a:extLst>
          </p:cNvPr>
          <p:cNvCxnSpPr>
            <a:cxnSpLocks/>
          </p:cNvCxnSpPr>
          <p:nvPr/>
        </p:nvCxnSpPr>
        <p:spPr>
          <a:xfrm>
            <a:off x="9269504" y="2782594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72" name="Straight Connector 4371">
            <a:extLst>
              <a:ext uri="{FF2B5EF4-FFF2-40B4-BE49-F238E27FC236}">
                <a16:creationId xmlns:a16="http://schemas.microsoft.com/office/drawing/2014/main" id="{EAE4F122-F188-76BB-BB5C-774F32371B16}"/>
              </a:ext>
            </a:extLst>
          </p:cNvPr>
          <p:cNvCxnSpPr>
            <a:cxnSpLocks/>
          </p:cNvCxnSpPr>
          <p:nvPr/>
        </p:nvCxnSpPr>
        <p:spPr>
          <a:xfrm>
            <a:off x="9291692" y="2782594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73" name="Straight Connector 4372">
            <a:extLst>
              <a:ext uri="{FF2B5EF4-FFF2-40B4-BE49-F238E27FC236}">
                <a16:creationId xmlns:a16="http://schemas.microsoft.com/office/drawing/2014/main" id="{73510420-1DA6-43E5-EE50-A88DAB895504}"/>
              </a:ext>
            </a:extLst>
          </p:cNvPr>
          <p:cNvCxnSpPr>
            <a:cxnSpLocks/>
          </p:cNvCxnSpPr>
          <p:nvPr/>
        </p:nvCxnSpPr>
        <p:spPr>
          <a:xfrm>
            <a:off x="9302784" y="2782594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92" name="Straight Connector 4991">
            <a:extLst>
              <a:ext uri="{FF2B5EF4-FFF2-40B4-BE49-F238E27FC236}">
                <a16:creationId xmlns:a16="http://schemas.microsoft.com/office/drawing/2014/main" id="{DF92BF80-6644-FC14-2CFE-F73B3090CFD0}"/>
              </a:ext>
            </a:extLst>
          </p:cNvPr>
          <p:cNvCxnSpPr>
            <a:cxnSpLocks/>
          </p:cNvCxnSpPr>
          <p:nvPr/>
        </p:nvCxnSpPr>
        <p:spPr>
          <a:xfrm>
            <a:off x="9380441" y="2782594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93" name="Straight Connector 4992">
            <a:extLst>
              <a:ext uri="{FF2B5EF4-FFF2-40B4-BE49-F238E27FC236}">
                <a16:creationId xmlns:a16="http://schemas.microsoft.com/office/drawing/2014/main" id="{76D50229-A063-D312-472B-BD625842651D}"/>
              </a:ext>
            </a:extLst>
          </p:cNvPr>
          <p:cNvCxnSpPr>
            <a:cxnSpLocks/>
          </p:cNvCxnSpPr>
          <p:nvPr/>
        </p:nvCxnSpPr>
        <p:spPr>
          <a:xfrm>
            <a:off x="9336064" y="2782594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94" name="Straight Connector 4993">
            <a:extLst>
              <a:ext uri="{FF2B5EF4-FFF2-40B4-BE49-F238E27FC236}">
                <a16:creationId xmlns:a16="http://schemas.microsoft.com/office/drawing/2014/main" id="{50CD7AB9-44C7-58CC-B735-FBEDD7ED23CA}"/>
              </a:ext>
            </a:extLst>
          </p:cNvPr>
          <p:cNvCxnSpPr>
            <a:cxnSpLocks/>
          </p:cNvCxnSpPr>
          <p:nvPr/>
        </p:nvCxnSpPr>
        <p:spPr>
          <a:xfrm>
            <a:off x="9347160" y="2782594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95" name="Straight Connector 4994">
            <a:extLst>
              <a:ext uri="{FF2B5EF4-FFF2-40B4-BE49-F238E27FC236}">
                <a16:creationId xmlns:a16="http://schemas.microsoft.com/office/drawing/2014/main" id="{CBD93170-5FF9-E1B5-7EC5-3A8895D7B743}"/>
              </a:ext>
            </a:extLst>
          </p:cNvPr>
          <p:cNvCxnSpPr>
            <a:cxnSpLocks/>
          </p:cNvCxnSpPr>
          <p:nvPr/>
        </p:nvCxnSpPr>
        <p:spPr>
          <a:xfrm>
            <a:off x="9313880" y="2782594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96" name="Straight Connector 4995">
            <a:extLst>
              <a:ext uri="{FF2B5EF4-FFF2-40B4-BE49-F238E27FC236}">
                <a16:creationId xmlns:a16="http://schemas.microsoft.com/office/drawing/2014/main" id="{CC3C4C50-32A3-9A46-9B65-6761BB02E6E1}"/>
              </a:ext>
            </a:extLst>
          </p:cNvPr>
          <p:cNvCxnSpPr>
            <a:cxnSpLocks/>
          </p:cNvCxnSpPr>
          <p:nvPr/>
        </p:nvCxnSpPr>
        <p:spPr>
          <a:xfrm>
            <a:off x="9280596" y="2782594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97" name="Straight Connector 4996">
            <a:extLst>
              <a:ext uri="{FF2B5EF4-FFF2-40B4-BE49-F238E27FC236}">
                <a16:creationId xmlns:a16="http://schemas.microsoft.com/office/drawing/2014/main" id="{EC80982B-EF1C-1577-4A72-CBF87CBE6F31}"/>
              </a:ext>
            </a:extLst>
          </p:cNvPr>
          <p:cNvCxnSpPr>
            <a:cxnSpLocks/>
          </p:cNvCxnSpPr>
          <p:nvPr/>
        </p:nvCxnSpPr>
        <p:spPr>
          <a:xfrm>
            <a:off x="9402629" y="2782594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98" name="Straight Connector 4997">
            <a:extLst>
              <a:ext uri="{FF2B5EF4-FFF2-40B4-BE49-F238E27FC236}">
                <a16:creationId xmlns:a16="http://schemas.microsoft.com/office/drawing/2014/main" id="{062D590C-F86B-B3E1-C41C-7AC57DE076C8}"/>
              </a:ext>
            </a:extLst>
          </p:cNvPr>
          <p:cNvCxnSpPr>
            <a:cxnSpLocks/>
          </p:cNvCxnSpPr>
          <p:nvPr/>
        </p:nvCxnSpPr>
        <p:spPr>
          <a:xfrm>
            <a:off x="9413721" y="2782594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99" name="Straight Connector 4998">
            <a:extLst>
              <a:ext uri="{FF2B5EF4-FFF2-40B4-BE49-F238E27FC236}">
                <a16:creationId xmlns:a16="http://schemas.microsoft.com/office/drawing/2014/main" id="{247BF32C-7E4C-C84E-198F-E609893B71C5}"/>
              </a:ext>
            </a:extLst>
          </p:cNvPr>
          <p:cNvCxnSpPr>
            <a:cxnSpLocks/>
          </p:cNvCxnSpPr>
          <p:nvPr/>
        </p:nvCxnSpPr>
        <p:spPr>
          <a:xfrm>
            <a:off x="9358252" y="2782594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00" name="Straight Connector 4999">
            <a:extLst>
              <a:ext uri="{FF2B5EF4-FFF2-40B4-BE49-F238E27FC236}">
                <a16:creationId xmlns:a16="http://schemas.microsoft.com/office/drawing/2014/main" id="{2B2627A5-42E6-9CF1-10FB-2B7C4A33D072}"/>
              </a:ext>
            </a:extLst>
          </p:cNvPr>
          <p:cNvCxnSpPr>
            <a:cxnSpLocks/>
          </p:cNvCxnSpPr>
          <p:nvPr/>
        </p:nvCxnSpPr>
        <p:spPr>
          <a:xfrm>
            <a:off x="9424817" y="2782594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01" name="Straight Connector 5000">
            <a:extLst>
              <a:ext uri="{FF2B5EF4-FFF2-40B4-BE49-F238E27FC236}">
                <a16:creationId xmlns:a16="http://schemas.microsoft.com/office/drawing/2014/main" id="{2EFD0C97-E0FE-E453-CB51-D7008726CF9F}"/>
              </a:ext>
            </a:extLst>
          </p:cNvPr>
          <p:cNvCxnSpPr>
            <a:cxnSpLocks/>
          </p:cNvCxnSpPr>
          <p:nvPr/>
        </p:nvCxnSpPr>
        <p:spPr>
          <a:xfrm>
            <a:off x="9369347" y="2782594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02" name="Straight Connector 5001">
            <a:extLst>
              <a:ext uri="{FF2B5EF4-FFF2-40B4-BE49-F238E27FC236}">
                <a16:creationId xmlns:a16="http://schemas.microsoft.com/office/drawing/2014/main" id="{44D9713C-670D-6591-2680-AAAD44C3545E}"/>
              </a:ext>
            </a:extLst>
          </p:cNvPr>
          <p:cNvCxnSpPr>
            <a:cxnSpLocks/>
          </p:cNvCxnSpPr>
          <p:nvPr/>
        </p:nvCxnSpPr>
        <p:spPr>
          <a:xfrm>
            <a:off x="9324972" y="2782594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03" name="Straight Connector 5002">
            <a:extLst>
              <a:ext uri="{FF2B5EF4-FFF2-40B4-BE49-F238E27FC236}">
                <a16:creationId xmlns:a16="http://schemas.microsoft.com/office/drawing/2014/main" id="{365B3CF2-EEDB-64F2-9345-D670A4778540}"/>
              </a:ext>
            </a:extLst>
          </p:cNvPr>
          <p:cNvCxnSpPr>
            <a:cxnSpLocks/>
          </p:cNvCxnSpPr>
          <p:nvPr/>
        </p:nvCxnSpPr>
        <p:spPr>
          <a:xfrm>
            <a:off x="9391533" y="2782594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04" name="Straight Connector 5003">
            <a:extLst>
              <a:ext uri="{FF2B5EF4-FFF2-40B4-BE49-F238E27FC236}">
                <a16:creationId xmlns:a16="http://schemas.microsoft.com/office/drawing/2014/main" id="{4777B549-65F8-2551-A87D-DE7F1F67B79D}"/>
              </a:ext>
            </a:extLst>
          </p:cNvPr>
          <p:cNvCxnSpPr>
            <a:cxnSpLocks/>
          </p:cNvCxnSpPr>
          <p:nvPr/>
        </p:nvCxnSpPr>
        <p:spPr>
          <a:xfrm>
            <a:off x="9435909" y="2782594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05" name="Straight Connector 5004">
            <a:extLst>
              <a:ext uri="{FF2B5EF4-FFF2-40B4-BE49-F238E27FC236}">
                <a16:creationId xmlns:a16="http://schemas.microsoft.com/office/drawing/2014/main" id="{626E1684-D295-68AB-BFB8-C947D5D96F31}"/>
              </a:ext>
            </a:extLst>
          </p:cNvPr>
          <p:cNvCxnSpPr>
            <a:cxnSpLocks/>
          </p:cNvCxnSpPr>
          <p:nvPr/>
        </p:nvCxnSpPr>
        <p:spPr>
          <a:xfrm>
            <a:off x="8501867" y="2679777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06" name="Straight Connector 5005">
            <a:extLst>
              <a:ext uri="{FF2B5EF4-FFF2-40B4-BE49-F238E27FC236}">
                <a16:creationId xmlns:a16="http://schemas.microsoft.com/office/drawing/2014/main" id="{F7496241-8EE4-859D-FD09-19C3D8EA0DC1}"/>
              </a:ext>
            </a:extLst>
          </p:cNvPr>
          <p:cNvCxnSpPr>
            <a:cxnSpLocks/>
          </p:cNvCxnSpPr>
          <p:nvPr/>
        </p:nvCxnSpPr>
        <p:spPr>
          <a:xfrm>
            <a:off x="8512959" y="2679777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07" name="Straight Connector 5006">
            <a:extLst>
              <a:ext uri="{FF2B5EF4-FFF2-40B4-BE49-F238E27FC236}">
                <a16:creationId xmlns:a16="http://schemas.microsoft.com/office/drawing/2014/main" id="{D9EC170C-2428-CC4A-1ADD-D57465AA9B14}"/>
              </a:ext>
            </a:extLst>
          </p:cNvPr>
          <p:cNvCxnSpPr>
            <a:cxnSpLocks/>
          </p:cNvCxnSpPr>
          <p:nvPr/>
        </p:nvCxnSpPr>
        <p:spPr>
          <a:xfrm>
            <a:off x="8524055" y="2679777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08" name="Straight Connector 5007">
            <a:extLst>
              <a:ext uri="{FF2B5EF4-FFF2-40B4-BE49-F238E27FC236}">
                <a16:creationId xmlns:a16="http://schemas.microsoft.com/office/drawing/2014/main" id="{3C2B7868-C4CF-E9CF-44D8-D2530BBDF1D7}"/>
              </a:ext>
            </a:extLst>
          </p:cNvPr>
          <p:cNvCxnSpPr>
            <a:cxnSpLocks/>
          </p:cNvCxnSpPr>
          <p:nvPr/>
        </p:nvCxnSpPr>
        <p:spPr>
          <a:xfrm>
            <a:off x="8546240" y="2679777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09" name="Straight Connector 5008">
            <a:extLst>
              <a:ext uri="{FF2B5EF4-FFF2-40B4-BE49-F238E27FC236}">
                <a16:creationId xmlns:a16="http://schemas.microsoft.com/office/drawing/2014/main" id="{DECC7BE7-05D2-3B2F-A533-B38EA425CA4A}"/>
              </a:ext>
            </a:extLst>
          </p:cNvPr>
          <p:cNvCxnSpPr>
            <a:cxnSpLocks/>
          </p:cNvCxnSpPr>
          <p:nvPr/>
        </p:nvCxnSpPr>
        <p:spPr>
          <a:xfrm>
            <a:off x="8557334" y="2679777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10" name="Straight Connector 5009">
            <a:extLst>
              <a:ext uri="{FF2B5EF4-FFF2-40B4-BE49-F238E27FC236}">
                <a16:creationId xmlns:a16="http://schemas.microsoft.com/office/drawing/2014/main" id="{0F9A394A-C68F-F381-177E-39EA83926141}"/>
              </a:ext>
            </a:extLst>
          </p:cNvPr>
          <p:cNvCxnSpPr>
            <a:cxnSpLocks/>
          </p:cNvCxnSpPr>
          <p:nvPr/>
        </p:nvCxnSpPr>
        <p:spPr>
          <a:xfrm>
            <a:off x="8634990" y="2679777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11" name="Straight Connector 5010">
            <a:extLst>
              <a:ext uri="{FF2B5EF4-FFF2-40B4-BE49-F238E27FC236}">
                <a16:creationId xmlns:a16="http://schemas.microsoft.com/office/drawing/2014/main" id="{123DFC59-004C-7689-5708-6376B436B3CC}"/>
              </a:ext>
            </a:extLst>
          </p:cNvPr>
          <p:cNvCxnSpPr>
            <a:cxnSpLocks/>
          </p:cNvCxnSpPr>
          <p:nvPr/>
        </p:nvCxnSpPr>
        <p:spPr>
          <a:xfrm>
            <a:off x="8712645" y="2679777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12" name="Straight Connector 5011">
            <a:extLst>
              <a:ext uri="{FF2B5EF4-FFF2-40B4-BE49-F238E27FC236}">
                <a16:creationId xmlns:a16="http://schemas.microsoft.com/office/drawing/2014/main" id="{3996F2C8-B766-8359-9328-E0003FBEBE1C}"/>
              </a:ext>
            </a:extLst>
          </p:cNvPr>
          <p:cNvCxnSpPr>
            <a:cxnSpLocks/>
          </p:cNvCxnSpPr>
          <p:nvPr/>
        </p:nvCxnSpPr>
        <p:spPr>
          <a:xfrm>
            <a:off x="8590614" y="2679777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13" name="Straight Connector 5012">
            <a:extLst>
              <a:ext uri="{FF2B5EF4-FFF2-40B4-BE49-F238E27FC236}">
                <a16:creationId xmlns:a16="http://schemas.microsoft.com/office/drawing/2014/main" id="{545C4880-7CF9-3FE6-0FAA-1699BFA4E913}"/>
              </a:ext>
            </a:extLst>
          </p:cNvPr>
          <p:cNvCxnSpPr>
            <a:cxnSpLocks/>
          </p:cNvCxnSpPr>
          <p:nvPr/>
        </p:nvCxnSpPr>
        <p:spPr>
          <a:xfrm>
            <a:off x="8601710" y="2679777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14" name="Straight Connector 5013">
            <a:extLst>
              <a:ext uri="{FF2B5EF4-FFF2-40B4-BE49-F238E27FC236}">
                <a16:creationId xmlns:a16="http://schemas.microsoft.com/office/drawing/2014/main" id="{EAA59419-2BE9-E06A-F807-DD9D17E74F5B}"/>
              </a:ext>
            </a:extLst>
          </p:cNvPr>
          <p:cNvCxnSpPr>
            <a:cxnSpLocks/>
          </p:cNvCxnSpPr>
          <p:nvPr/>
        </p:nvCxnSpPr>
        <p:spPr>
          <a:xfrm>
            <a:off x="8568428" y="2679777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15" name="Straight Connector 5014">
            <a:extLst>
              <a:ext uri="{FF2B5EF4-FFF2-40B4-BE49-F238E27FC236}">
                <a16:creationId xmlns:a16="http://schemas.microsoft.com/office/drawing/2014/main" id="{20DF4616-66A7-19D2-3738-1D26AA323A08}"/>
              </a:ext>
            </a:extLst>
          </p:cNvPr>
          <p:cNvCxnSpPr>
            <a:cxnSpLocks/>
          </p:cNvCxnSpPr>
          <p:nvPr/>
        </p:nvCxnSpPr>
        <p:spPr>
          <a:xfrm>
            <a:off x="8535147" y="2679777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16" name="Straight Connector 5015">
            <a:extLst>
              <a:ext uri="{FF2B5EF4-FFF2-40B4-BE49-F238E27FC236}">
                <a16:creationId xmlns:a16="http://schemas.microsoft.com/office/drawing/2014/main" id="{4C1B8B51-F248-0C59-F1A8-0FB79E74F940}"/>
              </a:ext>
            </a:extLst>
          </p:cNvPr>
          <p:cNvCxnSpPr>
            <a:cxnSpLocks/>
          </p:cNvCxnSpPr>
          <p:nvPr/>
        </p:nvCxnSpPr>
        <p:spPr>
          <a:xfrm>
            <a:off x="8657177" y="2679777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17" name="Straight Connector 5016">
            <a:extLst>
              <a:ext uri="{FF2B5EF4-FFF2-40B4-BE49-F238E27FC236}">
                <a16:creationId xmlns:a16="http://schemas.microsoft.com/office/drawing/2014/main" id="{FA694D13-A720-3D00-B333-DAF6BBCBEB64}"/>
              </a:ext>
            </a:extLst>
          </p:cNvPr>
          <p:cNvCxnSpPr>
            <a:cxnSpLocks/>
          </p:cNvCxnSpPr>
          <p:nvPr/>
        </p:nvCxnSpPr>
        <p:spPr>
          <a:xfrm>
            <a:off x="8668271" y="2679777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18" name="Straight Connector 5017">
            <a:extLst>
              <a:ext uri="{FF2B5EF4-FFF2-40B4-BE49-F238E27FC236}">
                <a16:creationId xmlns:a16="http://schemas.microsoft.com/office/drawing/2014/main" id="{9ABECD6F-BC36-C656-1233-B1FE9F566BDD}"/>
              </a:ext>
            </a:extLst>
          </p:cNvPr>
          <p:cNvCxnSpPr>
            <a:cxnSpLocks/>
          </p:cNvCxnSpPr>
          <p:nvPr/>
        </p:nvCxnSpPr>
        <p:spPr>
          <a:xfrm>
            <a:off x="8612802" y="2679777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19" name="Straight Connector 5018">
            <a:extLst>
              <a:ext uri="{FF2B5EF4-FFF2-40B4-BE49-F238E27FC236}">
                <a16:creationId xmlns:a16="http://schemas.microsoft.com/office/drawing/2014/main" id="{CEE67451-521C-1694-4F81-1D0A9BC5F10D}"/>
              </a:ext>
            </a:extLst>
          </p:cNvPr>
          <p:cNvCxnSpPr>
            <a:cxnSpLocks/>
          </p:cNvCxnSpPr>
          <p:nvPr/>
        </p:nvCxnSpPr>
        <p:spPr>
          <a:xfrm>
            <a:off x="8679365" y="2679777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20" name="Straight Connector 5019">
            <a:extLst>
              <a:ext uri="{FF2B5EF4-FFF2-40B4-BE49-F238E27FC236}">
                <a16:creationId xmlns:a16="http://schemas.microsoft.com/office/drawing/2014/main" id="{452412C8-7936-C7AC-B565-3443F848B4DA}"/>
              </a:ext>
            </a:extLst>
          </p:cNvPr>
          <p:cNvCxnSpPr>
            <a:cxnSpLocks/>
          </p:cNvCxnSpPr>
          <p:nvPr/>
        </p:nvCxnSpPr>
        <p:spPr>
          <a:xfrm>
            <a:off x="8701553" y="2679777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21" name="Straight Connector 5020">
            <a:extLst>
              <a:ext uri="{FF2B5EF4-FFF2-40B4-BE49-F238E27FC236}">
                <a16:creationId xmlns:a16="http://schemas.microsoft.com/office/drawing/2014/main" id="{5E30D17F-DFD8-5AFF-A7C1-DEB91C9A307C}"/>
              </a:ext>
            </a:extLst>
          </p:cNvPr>
          <p:cNvCxnSpPr>
            <a:cxnSpLocks/>
          </p:cNvCxnSpPr>
          <p:nvPr/>
        </p:nvCxnSpPr>
        <p:spPr>
          <a:xfrm>
            <a:off x="8623898" y="2679777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22" name="Straight Connector 5021">
            <a:extLst>
              <a:ext uri="{FF2B5EF4-FFF2-40B4-BE49-F238E27FC236}">
                <a16:creationId xmlns:a16="http://schemas.microsoft.com/office/drawing/2014/main" id="{F8C03D40-EED7-DE72-297D-A5D08AFAF4D7}"/>
              </a:ext>
            </a:extLst>
          </p:cNvPr>
          <p:cNvCxnSpPr>
            <a:cxnSpLocks/>
          </p:cNvCxnSpPr>
          <p:nvPr/>
        </p:nvCxnSpPr>
        <p:spPr>
          <a:xfrm>
            <a:off x="8579522" y="2679777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23" name="Straight Connector 5022">
            <a:extLst>
              <a:ext uri="{FF2B5EF4-FFF2-40B4-BE49-F238E27FC236}">
                <a16:creationId xmlns:a16="http://schemas.microsoft.com/office/drawing/2014/main" id="{4C22A48F-7EFF-8218-5EE3-D16A881E6494}"/>
              </a:ext>
            </a:extLst>
          </p:cNvPr>
          <p:cNvCxnSpPr>
            <a:cxnSpLocks/>
          </p:cNvCxnSpPr>
          <p:nvPr/>
        </p:nvCxnSpPr>
        <p:spPr>
          <a:xfrm>
            <a:off x="8646083" y="2679777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24" name="Straight Connector 5023">
            <a:extLst>
              <a:ext uri="{FF2B5EF4-FFF2-40B4-BE49-F238E27FC236}">
                <a16:creationId xmlns:a16="http://schemas.microsoft.com/office/drawing/2014/main" id="{13C2F513-69D4-A3ED-B562-D7D039FBDA89}"/>
              </a:ext>
            </a:extLst>
          </p:cNvPr>
          <p:cNvCxnSpPr>
            <a:cxnSpLocks/>
          </p:cNvCxnSpPr>
          <p:nvPr/>
        </p:nvCxnSpPr>
        <p:spPr>
          <a:xfrm>
            <a:off x="8690457" y="2679777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25" name="Straight Connector 5024">
            <a:extLst>
              <a:ext uri="{FF2B5EF4-FFF2-40B4-BE49-F238E27FC236}">
                <a16:creationId xmlns:a16="http://schemas.microsoft.com/office/drawing/2014/main" id="{1E8398E4-331C-2A29-86C2-155387FD8FB2}"/>
              </a:ext>
            </a:extLst>
          </p:cNvPr>
          <p:cNvCxnSpPr>
            <a:cxnSpLocks/>
          </p:cNvCxnSpPr>
          <p:nvPr/>
        </p:nvCxnSpPr>
        <p:spPr>
          <a:xfrm>
            <a:off x="7743321" y="2542975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26" name="Straight Connector 5025">
            <a:extLst>
              <a:ext uri="{FF2B5EF4-FFF2-40B4-BE49-F238E27FC236}">
                <a16:creationId xmlns:a16="http://schemas.microsoft.com/office/drawing/2014/main" id="{40000FAB-BBA6-FB99-C6AD-27FB7CF39622}"/>
              </a:ext>
            </a:extLst>
          </p:cNvPr>
          <p:cNvCxnSpPr>
            <a:cxnSpLocks/>
          </p:cNvCxnSpPr>
          <p:nvPr/>
        </p:nvCxnSpPr>
        <p:spPr>
          <a:xfrm>
            <a:off x="7765509" y="2542975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27" name="Straight Connector 5026">
            <a:extLst>
              <a:ext uri="{FF2B5EF4-FFF2-40B4-BE49-F238E27FC236}">
                <a16:creationId xmlns:a16="http://schemas.microsoft.com/office/drawing/2014/main" id="{4C432A74-3BA7-87DC-EDD8-BC682AF6D538}"/>
              </a:ext>
            </a:extLst>
          </p:cNvPr>
          <p:cNvCxnSpPr>
            <a:cxnSpLocks/>
          </p:cNvCxnSpPr>
          <p:nvPr/>
        </p:nvCxnSpPr>
        <p:spPr>
          <a:xfrm>
            <a:off x="7776601" y="2542975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28" name="Straight Connector 5027">
            <a:extLst>
              <a:ext uri="{FF2B5EF4-FFF2-40B4-BE49-F238E27FC236}">
                <a16:creationId xmlns:a16="http://schemas.microsoft.com/office/drawing/2014/main" id="{CC71FC2B-F617-2920-6698-72FE739286FC}"/>
              </a:ext>
            </a:extLst>
          </p:cNvPr>
          <p:cNvCxnSpPr>
            <a:cxnSpLocks/>
          </p:cNvCxnSpPr>
          <p:nvPr/>
        </p:nvCxnSpPr>
        <p:spPr>
          <a:xfrm>
            <a:off x="7854257" y="2542975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29" name="Straight Connector 5028">
            <a:extLst>
              <a:ext uri="{FF2B5EF4-FFF2-40B4-BE49-F238E27FC236}">
                <a16:creationId xmlns:a16="http://schemas.microsoft.com/office/drawing/2014/main" id="{5DD386C0-E730-4449-1604-DE954DD54D90}"/>
              </a:ext>
            </a:extLst>
          </p:cNvPr>
          <p:cNvCxnSpPr>
            <a:cxnSpLocks/>
          </p:cNvCxnSpPr>
          <p:nvPr/>
        </p:nvCxnSpPr>
        <p:spPr>
          <a:xfrm>
            <a:off x="7809881" y="2542975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30" name="Straight Connector 5029">
            <a:extLst>
              <a:ext uri="{FF2B5EF4-FFF2-40B4-BE49-F238E27FC236}">
                <a16:creationId xmlns:a16="http://schemas.microsoft.com/office/drawing/2014/main" id="{704761E8-7852-D787-EA15-37D6F27D2F97}"/>
              </a:ext>
            </a:extLst>
          </p:cNvPr>
          <p:cNvCxnSpPr>
            <a:cxnSpLocks/>
          </p:cNvCxnSpPr>
          <p:nvPr/>
        </p:nvCxnSpPr>
        <p:spPr>
          <a:xfrm>
            <a:off x="7820977" y="2542975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31" name="Straight Connector 5030">
            <a:extLst>
              <a:ext uri="{FF2B5EF4-FFF2-40B4-BE49-F238E27FC236}">
                <a16:creationId xmlns:a16="http://schemas.microsoft.com/office/drawing/2014/main" id="{5EF0EF25-E7BC-E7D2-EFEA-6A6CE92867F5}"/>
              </a:ext>
            </a:extLst>
          </p:cNvPr>
          <p:cNvCxnSpPr>
            <a:cxnSpLocks/>
          </p:cNvCxnSpPr>
          <p:nvPr/>
        </p:nvCxnSpPr>
        <p:spPr>
          <a:xfrm>
            <a:off x="7787697" y="2542975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32" name="Straight Connector 5031">
            <a:extLst>
              <a:ext uri="{FF2B5EF4-FFF2-40B4-BE49-F238E27FC236}">
                <a16:creationId xmlns:a16="http://schemas.microsoft.com/office/drawing/2014/main" id="{77B3F75D-D3E1-F4D9-433F-48EA4AA095E8}"/>
              </a:ext>
            </a:extLst>
          </p:cNvPr>
          <p:cNvCxnSpPr>
            <a:cxnSpLocks/>
          </p:cNvCxnSpPr>
          <p:nvPr/>
        </p:nvCxnSpPr>
        <p:spPr>
          <a:xfrm>
            <a:off x="7754414" y="2542975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33" name="Straight Connector 5032">
            <a:extLst>
              <a:ext uri="{FF2B5EF4-FFF2-40B4-BE49-F238E27FC236}">
                <a16:creationId xmlns:a16="http://schemas.microsoft.com/office/drawing/2014/main" id="{9ABD5607-49C8-AFAA-0D7B-DD1BDE9CB95B}"/>
              </a:ext>
            </a:extLst>
          </p:cNvPr>
          <p:cNvCxnSpPr>
            <a:cxnSpLocks/>
          </p:cNvCxnSpPr>
          <p:nvPr/>
        </p:nvCxnSpPr>
        <p:spPr>
          <a:xfrm>
            <a:off x="7876444" y="2542975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34" name="Straight Connector 5033">
            <a:extLst>
              <a:ext uri="{FF2B5EF4-FFF2-40B4-BE49-F238E27FC236}">
                <a16:creationId xmlns:a16="http://schemas.microsoft.com/office/drawing/2014/main" id="{055032DA-00C2-A2FD-648F-A1BFB994BAE3}"/>
              </a:ext>
            </a:extLst>
          </p:cNvPr>
          <p:cNvCxnSpPr>
            <a:cxnSpLocks/>
          </p:cNvCxnSpPr>
          <p:nvPr/>
        </p:nvCxnSpPr>
        <p:spPr>
          <a:xfrm>
            <a:off x="7887538" y="2542975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35" name="Straight Connector 5034">
            <a:extLst>
              <a:ext uri="{FF2B5EF4-FFF2-40B4-BE49-F238E27FC236}">
                <a16:creationId xmlns:a16="http://schemas.microsoft.com/office/drawing/2014/main" id="{C0D57A40-8FF6-7F11-47A4-AC97818B8942}"/>
              </a:ext>
            </a:extLst>
          </p:cNvPr>
          <p:cNvCxnSpPr>
            <a:cxnSpLocks/>
          </p:cNvCxnSpPr>
          <p:nvPr/>
        </p:nvCxnSpPr>
        <p:spPr>
          <a:xfrm>
            <a:off x="7832069" y="2542975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36" name="Straight Connector 5035">
            <a:extLst>
              <a:ext uri="{FF2B5EF4-FFF2-40B4-BE49-F238E27FC236}">
                <a16:creationId xmlns:a16="http://schemas.microsoft.com/office/drawing/2014/main" id="{A9DEC3B8-EB30-56BB-060C-4ABB62375BB3}"/>
              </a:ext>
            </a:extLst>
          </p:cNvPr>
          <p:cNvCxnSpPr>
            <a:cxnSpLocks/>
          </p:cNvCxnSpPr>
          <p:nvPr/>
        </p:nvCxnSpPr>
        <p:spPr>
          <a:xfrm>
            <a:off x="7898632" y="2542975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37" name="Straight Connector 5036">
            <a:extLst>
              <a:ext uri="{FF2B5EF4-FFF2-40B4-BE49-F238E27FC236}">
                <a16:creationId xmlns:a16="http://schemas.microsoft.com/office/drawing/2014/main" id="{33CC81C9-A15A-6EF5-329C-7F2AD7B0F61B}"/>
              </a:ext>
            </a:extLst>
          </p:cNvPr>
          <p:cNvCxnSpPr>
            <a:cxnSpLocks/>
          </p:cNvCxnSpPr>
          <p:nvPr/>
        </p:nvCxnSpPr>
        <p:spPr>
          <a:xfrm>
            <a:off x="7843165" y="2542975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38" name="Straight Connector 5037">
            <a:extLst>
              <a:ext uri="{FF2B5EF4-FFF2-40B4-BE49-F238E27FC236}">
                <a16:creationId xmlns:a16="http://schemas.microsoft.com/office/drawing/2014/main" id="{AE4AA701-478C-98F4-E05B-CEFB98FE88AC}"/>
              </a:ext>
            </a:extLst>
          </p:cNvPr>
          <p:cNvCxnSpPr>
            <a:cxnSpLocks/>
          </p:cNvCxnSpPr>
          <p:nvPr/>
        </p:nvCxnSpPr>
        <p:spPr>
          <a:xfrm>
            <a:off x="7798789" y="2542975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39" name="Straight Connector 5038">
            <a:extLst>
              <a:ext uri="{FF2B5EF4-FFF2-40B4-BE49-F238E27FC236}">
                <a16:creationId xmlns:a16="http://schemas.microsoft.com/office/drawing/2014/main" id="{80A53062-7B60-369B-F7A8-12BDD17AEB46}"/>
              </a:ext>
            </a:extLst>
          </p:cNvPr>
          <p:cNvCxnSpPr>
            <a:cxnSpLocks/>
          </p:cNvCxnSpPr>
          <p:nvPr/>
        </p:nvCxnSpPr>
        <p:spPr>
          <a:xfrm>
            <a:off x="7865350" y="2542975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40" name="Straight Connector 5039">
            <a:extLst>
              <a:ext uri="{FF2B5EF4-FFF2-40B4-BE49-F238E27FC236}">
                <a16:creationId xmlns:a16="http://schemas.microsoft.com/office/drawing/2014/main" id="{E63B8EDE-B097-0C51-E34D-C720EA6B0D51}"/>
              </a:ext>
            </a:extLst>
          </p:cNvPr>
          <p:cNvCxnSpPr>
            <a:cxnSpLocks/>
          </p:cNvCxnSpPr>
          <p:nvPr/>
        </p:nvCxnSpPr>
        <p:spPr>
          <a:xfrm>
            <a:off x="7909724" y="2542975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41" name="Straight Connector 5040">
            <a:extLst>
              <a:ext uri="{FF2B5EF4-FFF2-40B4-BE49-F238E27FC236}">
                <a16:creationId xmlns:a16="http://schemas.microsoft.com/office/drawing/2014/main" id="{8A2FFE0F-B8C4-1D66-778C-757C66AD6E00}"/>
              </a:ext>
            </a:extLst>
          </p:cNvPr>
          <p:cNvCxnSpPr>
            <a:cxnSpLocks/>
          </p:cNvCxnSpPr>
          <p:nvPr/>
        </p:nvCxnSpPr>
        <p:spPr>
          <a:xfrm>
            <a:off x="9452467" y="2793069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42" name="Straight Connector 5041">
            <a:extLst>
              <a:ext uri="{FF2B5EF4-FFF2-40B4-BE49-F238E27FC236}">
                <a16:creationId xmlns:a16="http://schemas.microsoft.com/office/drawing/2014/main" id="{F0E195B9-E867-EEF4-DF26-158FCF7864B6}"/>
              </a:ext>
            </a:extLst>
          </p:cNvPr>
          <p:cNvCxnSpPr>
            <a:cxnSpLocks/>
          </p:cNvCxnSpPr>
          <p:nvPr/>
        </p:nvCxnSpPr>
        <p:spPr>
          <a:xfrm>
            <a:off x="9440370" y="2793069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43" name="Straight Connector 5042">
            <a:extLst>
              <a:ext uri="{FF2B5EF4-FFF2-40B4-BE49-F238E27FC236}">
                <a16:creationId xmlns:a16="http://schemas.microsoft.com/office/drawing/2014/main" id="{C3EFFC33-9C1A-D2F2-936D-7374BB91913C}"/>
              </a:ext>
            </a:extLst>
          </p:cNvPr>
          <p:cNvCxnSpPr>
            <a:cxnSpLocks/>
          </p:cNvCxnSpPr>
          <p:nvPr/>
        </p:nvCxnSpPr>
        <p:spPr>
          <a:xfrm>
            <a:off x="8011190" y="2579945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44" name="Straight Connector 5043">
            <a:extLst>
              <a:ext uri="{FF2B5EF4-FFF2-40B4-BE49-F238E27FC236}">
                <a16:creationId xmlns:a16="http://schemas.microsoft.com/office/drawing/2014/main" id="{0A3464C9-D2A9-88AD-9905-F2B18D94A52A}"/>
              </a:ext>
            </a:extLst>
          </p:cNvPr>
          <p:cNvCxnSpPr>
            <a:cxnSpLocks/>
          </p:cNvCxnSpPr>
          <p:nvPr/>
        </p:nvCxnSpPr>
        <p:spPr>
          <a:xfrm>
            <a:off x="8033378" y="2579945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45" name="Straight Connector 5044">
            <a:extLst>
              <a:ext uri="{FF2B5EF4-FFF2-40B4-BE49-F238E27FC236}">
                <a16:creationId xmlns:a16="http://schemas.microsoft.com/office/drawing/2014/main" id="{602B6ECE-D35A-2D7A-38A9-DEA1A0655D52}"/>
              </a:ext>
            </a:extLst>
          </p:cNvPr>
          <p:cNvCxnSpPr>
            <a:cxnSpLocks/>
          </p:cNvCxnSpPr>
          <p:nvPr/>
        </p:nvCxnSpPr>
        <p:spPr>
          <a:xfrm>
            <a:off x="8044470" y="2579945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46" name="Straight Connector 5045">
            <a:extLst>
              <a:ext uri="{FF2B5EF4-FFF2-40B4-BE49-F238E27FC236}">
                <a16:creationId xmlns:a16="http://schemas.microsoft.com/office/drawing/2014/main" id="{FD52D56B-2A7E-017A-F998-1787FACAEE7F}"/>
              </a:ext>
            </a:extLst>
          </p:cNvPr>
          <p:cNvCxnSpPr>
            <a:cxnSpLocks/>
          </p:cNvCxnSpPr>
          <p:nvPr/>
        </p:nvCxnSpPr>
        <p:spPr>
          <a:xfrm>
            <a:off x="8122127" y="2579945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47" name="Straight Connector 5046">
            <a:extLst>
              <a:ext uri="{FF2B5EF4-FFF2-40B4-BE49-F238E27FC236}">
                <a16:creationId xmlns:a16="http://schemas.microsoft.com/office/drawing/2014/main" id="{ECA8E15C-7A60-142A-91D7-CDC68BE6B068}"/>
              </a:ext>
            </a:extLst>
          </p:cNvPr>
          <p:cNvCxnSpPr>
            <a:cxnSpLocks/>
          </p:cNvCxnSpPr>
          <p:nvPr/>
        </p:nvCxnSpPr>
        <p:spPr>
          <a:xfrm>
            <a:off x="8077752" y="2579945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48" name="Straight Connector 5047">
            <a:extLst>
              <a:ext uri="{FF2B5EF4-FFF2-40B4-BE49-F238E27FC236}">
                <a16:creationId xmlns:a16="http://schemas.microsoft.com/office/drawing/2014/main" id="{B8EF1A35-04FB-D80A-DF02-E62E76D703E8}"/>
              </a:ext>
            </a:extLst>
          </p:cNvPr>
          <p:cNvCxnSpPr>
            <a:cxnSpLocks/>
          </p:cNvCxnSpPr>
          <p:nvPr/>
        </p:nvCxnSpPr>
        <p:spPr>
          <a:xfrm>
            <a:off x="8088846" y="2579945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49" name="Straight Connector 5048">
            <a:extLst>
              <a:ext uri="{FF2B5EF4-FFF2-40B4-BE49-F238E27FC236}">
                <a16:creationId xmlns:a16="http://schemas.microsoft.com/office/drawing/2014/main" id="{48690A37-E5C6-1E3B-17DA-543C9BCC4DF6}"/>
              </a:ext>
            </a:extLst>
          </p:cNvPr>
          <p:cNvCxnSpPr>
            <a:cxnSpLocks/>
          </p:cNvCxnSpPr>
          <p:nvPr/>
        </p:nvCxnSpPr>
        <p:spPr>
          <a:xfrm>
            <a:off x="8055566" y="2579945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50" name="Straight Connector 5049">
            <a:extLst>
              <a:ext uri="{FF2B5EF4-FFF2-40B4-BE49-F238E27FC236}">
                <a16:creationId xmlns:a16="http://schemas.microsoft.com/office/drawing/2014/main" id="{DBC36B41-F3F4-4C54-3F6B-0AF313D5D0B7}"/>
              </a:ext>
            </a:extLst>
          </p:cNvPr>
          <p:cNvCxnSpPr>
            <a:cxnSpLocks/>
          </p:cNvCxnSpPr>
          <p:nvPr/>
        </p:nvCxnSpPr>
        <p:spPr>
          <a:xfrm>
            <a:off x="8022282" y="2579945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51" name="Straight Connector 5050">
            <a:extLst>
              <a:ext uri="{FF2B5EF4-FFF2-40B4-BE49-F238E27FC236}">
                <a16:creationId xmlns:a16="http://schemas.microsoft.com/office/drawing/2014/main" id="{1FE0B04F-CFB9-EBD1-A3CD-F4E48B7E00A9}"/>
              </a:ext>
            </a:extLst>
          </p:cNvPr>
          <p:cNvCxnSpPr>
            <a:cxnSpLocks/>
          </p:cNvCxnSpPr>
          <p:nvPr/>
        </p:nvCxnSpPr>
        <p:spPr>
          <a:xfrm>
            <a:off x="8144313" y="2579945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52" name="Straight Connector 5051">
            <a:extLst>
              <a:ext uri="{FF2B5EF4-FFF2-40B4-BE49-F238E27FC236}">
                <a16:creationId xmlns:a16="http://schemas.microsoft.com/office/drawing/2014/main" id="{3D716CA3-261A-3226-7169-3084DBA3AB68}"/>
              </a:ext>
            </a:extLst>
          </p:cNvPr>
          <p:cNvCxnSpPr>
            <a:cxnSpLocks/>
          </p:cNvCxnSpPr>
          <p:nvPr/>
        </p:nvCxnSpPr>
        <p:spPr>
          <a:xfrm>
            <a:off x="8155405" y="2579945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53" name="Straight Connector 5052">
            <a:extLst>
              <a:ext uri="{FF2B5EF4-FFF2-40B4-BE49-F238E27FC236}">
                <a16:creationId xmlns:a16="http://schemas.microsoft.com/office/drawing/2014/main" id="{A660AA71-1466-7F8C-23FB-376ABE4784B3}"/>
              </a:ext>
            </a:extLst>
          </p:cNvPr>
          <p:cNvCxnSpPr>
            <a:cxnSpLocks/>
          </p:cNvCxnSpPr>
          <p:nvPr/>
        </p:nvCxnSpPr>
        <p:spPr>
          <a:xfrm>
            <a:off x="8099940" y="2579945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54" name="Straight Connector 5053">
            <a:extLst>
              <a:ext uri="{FF2B5EF4-FFF2-40B4-BE49-F238E27FC236}">
                <a16:creationId xmlns:a16="http://schemas.microsoft.com/office/drawing/2014/main" id="{BA2E7816-8B30-1F05-BB13-DF9501B7C526}"/>
              </a:ext>
            </a:extLst>
          </p:cNvPr>
          <p:cNvCxnSpPr>
            <a:cxnSpLocks/>
          </p:cNvCxnSpPr>
          <p:nvPr/>
        </p:nvCxnSpPr>
        <p:spPr>
          <a:xfrm>
            <a:off x="8166501" y="2579945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55" name="Straight Connector 5054">
            <a:extLst>
              <a:ext uri="{FF2B5EF4-FFF2-40B4-BE49-F238E27FC236}">
                <a16:creationId xmlns:a16="http://schemas.microsoft.com/office/drawing/2014/main" id="{C3DE94E5-4BF7-0CB0-17ED-99C2C223E8E5}"/>
              </a:ext>
            </a:extLst>
          </p:cNvPr>
          <p:cNvCxnSpPr>
            <a:cxnSpLocks/>
          </p:cNvCxnSpPr>
          <p:nvPr/>
        </p:nvCxnSpPr>
        <p:spPr>
          <a:xfrm>
            <a:off x="8111033" y="2579945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56" name="Straight Connector 5055">
            <a:extLst>
              <a:ext uri="{FF2B5EF4-FFF2-40B4-BE49-F238E27FC236}">
                <a16:creationId xmlns:a16="http://schemas.microsoft.com/office/drawing/2014/main" id="{D732A02F-8237-CB4E-1B89-E814CBD55896}"/>
              </a:ext>
            </a:extLst>
          </p:cNvPr>
          <p:cNvCxnSpPr>
            <a:cxnSpLocks/>
          </p:cNvCxnSpPr>
          <p:nvPr/>
        </p:nvCxnSpPr>
        <p:spPr>
          <a:xfrm>
            <a:off x="8066658" y="2579945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57" name="Straight Connector 5056">
            <a:extLst>
              <a:ext uri="{FF2B5EF4-FFF2-40B4-BE49-F238E27FC236}">
                <a16:creationId xmlns:a16="http://schemas.microsoft.com/office/drawing/2014/main" id="{3DEB65B1-3BCE-3A33-F74F-A2FDE532FCA3}"/>
              </a:ext>
            </a:extLst>
          </p:cNvPr>
          <p:cNvCxnSpPr>
            <a:cxnSpLocks/>
          </p:cNvCxnSpPr>
          <p:nvPr/>
        </p:nvCxnSpPr>
        <p:spPr>
          <a:xfrm>
            <a:off x="8133219" y="2579945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58" name="Straight Connector 5057">
            <a:extLst>
              <a:ext uri="{FF2B5EF4-FFF2-40B4-BE49-F238E27FC236}">
                <a16:creationId xmlns:a16="http://schemas.microsoft.com/office/drawing/2014/main" id="{2C84C631-853B-4159-0F7F-343384BC621D}"/>
              </a:ext>
            </a:extLst>
          </p:cNvPr>
          <p:cNvCxnSpPr>
            <a:cxnSpLocks/>
          </p:cNvCxnSpPr>
          <p:nvPr/>
        </p:nvCxnSpPr>
        <p:spPr>
          <a:xfrm>
            <a:off x="8177593" y="2579945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59" name="Straight Connector 5058">
            <a:extLst>
              <a:ext uri="{FF2B5EF4-FFF2-40B4-BE49-F238E27FC236}">
                <a16:creationId xmlns:a16="http://schemas.microsoft.com/office/drawing/2014/main" id="{5EA5A846-B3AA-3A3F-EF57-A2ADA87BA484}"/>
              </a:ext>
            </a:extLst>
          </p:cNvPr>
          <p:cNvCxnSpPr>
            <a:cxnSpLocks/>
          </p:cNvCxnSpPr>
          <p:nvPr/>
        </p:nvCxnSpPr>
        <p:spPr>
          <a:xfrm>
            <a:off x="8839139" y="2721510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60" name="Straight Connector 5059">
            <a:extLst>
              <a:ext uri="{FF2B5EF4-FFF2-40B4-BE49-F238E27FC236}">
                <a16:creationId xmlns:a16="http://schemas.microsoft.com/office/drawing/2014/main" id="{6E974DF0-3909-9990-1EBA-F12BB50F4D3B}"/>
              </a:ext>
            </a:extLst>
          </p:cNvPr>
          <p:cNvCxnSpPr>
            <a:cxnSpLocks/>
          </p:cNvCxnSpPr>
          <p:nvPr/>
        </p:nvCxnSpPr>
        <p:spPr>
          <a:xfrm>
            <a:off x="8850231" y="2721510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61" name="Straight Connector 5060">
            <a:extLst>
              <a:ext uri="{FF2B5EF4-FFF2-40B4-BE49-F238E27FC236}">
                <a16:creationId xmlns:a16="http://schemas.microsoft.com/office/drawing/2014/main" id="{3A42CC1C-52A6-E097-77C8-7968706A8D79}"/>
              </a:ext>
            </a:extLst>
          </p:cNvPr>
          <p:cNvCxnSpPr>
            <a:cxnSpLocks/>
          </p:cNvCxnSpPr>
          <p:nvPr/>
        </p:nvCxnSpPr>
        <p:spPr>
          <a:xfrm>
            <a:off x="8861325" y="2721510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62" name="Straight Connector 5061">
            <a:extLst>
              <a:ext uri="{FF2B5EF4-FFF2-40B4-BE49-F238E27FC236}">
                <a16:creationId xmlns:a16="http://schemas.microsoft.com/office/drawing/2014/main" id="{302BBD8B-52EE-65C8-13D1-2CB14D0F006D}"/>
              </a:ext>
            </a:extLst>
          </p:cNvPr>
          <p:cNvCxnSpPr>
            <a:cxnSpLocks/>
          </p:cNvCxnSpPr>
          <p:nvPr/>
        </p:nvCxnSpPr>
        <p:spPr>
          <a:xfrm>
            <a:off x="8883515" y="2721510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63" name="Straight Connector 5062">
            <a:extLst>
              <a:ext uri="{FF2B5EF4-FFF2-40B4-BE49-F238E27FC236}">
                <a16:creationId xmlns:a16="http://schemas.microsoft.com/office/drawing/2014/main" id="{361D1EE4-4313-4FC0-D557-8ACF8FB5208F}"/>
              </a:ext>
            </a:extLst>
          </p:cNvPr>
          <p:cNvCxnSpPr>
            <a:cxnSpLocks/>
          </p:cNvCxnSpPr>
          <p:nvPr/>
        </p:nvCxnSpPr>
        <p:spPr>
          <a:xfrm>
            <a:off x="8894607" y="2721510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64" name="Straight Connector 5063">
            <a:extLst>
              <a:ext uri="{FF2B5EF4-FFF2-40B4-BE49-F238E27FC236}">
                <a16:creationId xmlns:a16="http://schemas.microsoft.com/office/drawing/2014/main" id="{0CE3CF3E-27C2-4037-1038-4EC0774A0DC3}"/>
              </a:ext>
            </a:extLst>
          </p:cNvPr>
          <p:cNvCxnSpPr>
            <a:cxnSpLocks/>
          </p:cNvCxnSpPr>
          <p:nvPr/>
        </p:nvCxnSpPr>
        <p:spPr>
          <a:xfrm>
            <a:off x="8972262" y="2721510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65" name="Straight Connector 5064">
            <a:extLst>
              <a:ext uri="{FF2B5EF4-FFF2-40B4-BE49-F238E27FC236}">
                <a16:creationId xmlns:a16="http://schemas.microsoft.com/office/drawing/2014/main" id="{7BB828DD-61B3-2B9E-3E08-BE4DFB20AB39}"/>
              </a:ext>
            </a:extLst>
          </p:cNvPr>
          <p:cNvCxnSpPr>
            <a:cxnSpLocks/>
          </p:cNvCxnSpPr>
          <p:nvPr/>
        </p:nvCxnSpPr>
        <p:spPr>
          <a:xfrm>
            <a:off x="9049917" y="2721510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66" name="Straight Connector 5065">
            <a:extLst>
              <a:ext uri="{FF2B5EF4-FFF2-40B4-BE49-F238E27FC236}">
                <a16:creationId xmlns:a16="http://schemas.microsoft.com/office/drawing/2014/main" id="{1C390C97-31FA-7C78-63B5-494EEB4533A6}"/>
              </a:ext>
            </a:extLst>
          </p:cNvPr>
          <p:cNvCxnSpPr>
            <a:cxnSpLocks/>
          </p:cNvCxnSpPr>
          <p:nvPr/>
        </p:nvCxnSpPr>
        <p:spPr>
          <a:xfrm>
            <a:off x="8927886" y="2721510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67" name="Straight Connector 5066">
            <a:extLst>
              <a:ext uri="{FF2B5EF4-FFF2-40B4-BE49-F238E27FC236}">
                <a16:creationId xmlns:a16="http://schemas.microsoft.com/office/drawing/2014/main" id="{1D3EBEAA-A82E-9948-C2B3-03D646171EB3}"/>
              </a:ext>
            </a:extLst>
          </p:cNvPr>
          <p:cNvCxnSpPr>
            <a:cxnSpLocks/>
          </p:cNvCxnSpPr>
          <p:nvPr/>
        </p:nvCxnSpPr>
        <p:spPr>
          <a:xfrm>
            <a:off x="8938982" y="2721510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68" name="Straight Connector 5067">
            <a:extLst>
              <a:ext uri="{FF2B5EF4-FFF2-40B4-BE49-F238E27FC236}">
                <a16:creationId xmlns:a16="http://schemas.microsoft.com/office/drawing/2014/main" id="{92FEA79B-3F6A-8DE7-1B9F-8D30473DC6F1}"/>
              </a:ext>
            </a:extLst>
          </p:cNvPr>
          <p:cNvCxnSpPr>
            <a:cxnSpLocks/>
          </p:cNvCxnSpPr>
          <p:nvPr/>
        </p:nvCxnSpPr>
        <p:spPr>
          <a:xfrm>
            <a:off x="8905702" y="2721510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69" name="Straight Connector 5068">
            <a:extLst>
              <a:ext uri="{FF2B5EF4-FFF2-40B4-BE49-F238E27FC236}">
                <a16:creationId xmlns:a16="http://schemas.microsoft.com/office/drawing/2014/main" id="{C166A92F-03FD-AF1C-606D-B48B53CC56C9}"/>
              </a:ext>
            </a:extLst>
          </p:cNvPr>
          <p:cNvCxnSpPr>
            <a:cxnSpLocks/>
          </p:cNvCxnSpPr>
          <p:nvPr/>
        </p:nvCxnSpPr>
        <p:spPr>
          <a:xfrm>
            <a:off x="8872419" y="2721510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70" name="Straight Connector 5069">
            <a:extLst>
              <a:ext uri="{FF2B5EF4-FFF2-40B4-BE49-F238E27FC236}">
                <a16:creationId xmlns:a16="http://schemas.microsoft.com/office/drawing/2014/main" id="{83549484-C260-241E-8188-2964AACA8105}"/>
              </a:ext>
            </a:extLst>
          </p:cNvPr>
          <p:cNvCxnSpPr>
            <a:cxnSpLocks/>
          </p:cNvCxnSpPr>
          <p:nvPr/>
        </p:nvCxnSpPr>
        <p:spPr>
          <a:xfrm>
            <a:off x="8994450" y="2721510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71" name="Straight Connector 5070">
            <a:extLst>
              <a:ext uri="{FF2B5EF4-FFF2-40B4-BE49-F238E27FC236}">
                <a16:creationId xmlns:a16="http://schemas.microsoft.com/office/drawing/2014/main" id="{6A6B27EB-04A6-857E-37A7-F65212C12BAF}"/>
              </a:ext>
            </a:extLst>
          </p:cNvPr>
          <p:cNvCxnSpPr>
            <a:cxnSpLocks/>
          </p:cNvCxnSpPr>
          <p:nvPr/>
        </p:nvCxnSpPr>
        <p:spPr>
          <a:xfrm>
            <a:off x="9005542" y="2721510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72" name="Straight Connector 5071">
            <a:extLst>
              <a:ext uri="{FF2B5EF4-FFF2-40B4-BE49-F238E27FC236}">
                <a16:creationId xmlns:a16="http://schemas.microsoft.com/office/drawing/2014/main" id="{3C700505-5475-9472-FBD4-F26AED317E2E}"/>
              </a:ext>
            </a:extLst>
          </p:cNvPr>
          <p:cNvCxnSpPr>
            <a:cxnSpLocks/>
          </p:cNvCxnSpPr>
          <p:nvPr/>
        </p:nvCxnSpPr>
        <p:spPr>
          <a:xfrm>
            <a:off x="8950074" y="2721510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73" name="Straight Connector 5072">
            <a:extLst>
              <a:ext uri="{FF2B5EF4-FFF2-40B4-BE49-F238E27FC236}">
                <a16:creationId xmlns:a16="http://schemas.microsoft.com/office/drawing/2014/main" id="{1E14A6BE-0E62-F3AB-0783-3D3F63F5CABF}"/>
              </a:ext>
            </a:extLst>
          </p:cNvPr>
          <p:cNvCxnSpPr>
            <a:cxnSpLocks/>
          </p:cNvCxnSpPr>
          <p:nvPr/>
        </p:nvCxnSpPr>
        <p:spPr>
          <a:xfrm>
            <a:off x="9016637" y="2721510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74" name="Straight Connector 5073">
            <a:extLst>
              <a:ext uri="{FF2B5EF4-FFF2-40B4-BE49-F238E27FC236}">
                <a16:creationId xmlns:a16="http://schemas.microsoft.com/office/drawing/2014/main" id="{68D874D1-1007-8918-74A5-F39A188A0CAC}"/>
              </a:ext>
            </a:extLst>
          </p:cNvPr>
          <p:cNvCxnSpPr>
            <a:cxnSpLocks/>
          </p:cNvCxnSpPr>
          <p:nvPr/>
        </p:nvCxnSpPr>
        <p:spPr>
          <a:xfrm>
            <a:off x="9038825" y="2721510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75" name="Straight Connector 5074">
            <a:extLst>
              <a:ext uri="{FF2B5EF4-FFF2-40B4-BE49-F238E27FC236}">
                <a16:creationId xmlns:a16="http://schemas.microsoft.com/office/drawing/2014/main" id="{71D6156B-B868-BBB4-B1DC-B3C19EC64E16}"/>
              </a:ext>
            </a:extLst>
          </p:cNvPr>
          <p:cNvCxnSpPr>
            <a:cxnSpLocks/>
          </p:cNvCxnSpPr>
          <p:nvPr/>
        </p:nvCxnSpPr>
        <p:spPr>
          <a:xfrm>
            <a:off x="8961170" y="2721510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76" name="Straight Connector 5075">
            <a:extLst>
              <a:ext uri="{FF2B5EF4-FFF2-40B4-BE49-F238E27FC236}">
                <a16:creationId xmlns:a16="http://schemas.microsoft.com/office/drawing/2014/main" id="{A734C8D6-A577-985E-180D-F981A0EAEA9E}"/>
              </a:ext>
            </a:extLst>
          </p:cNvPr>
          <p:cNvCxnSpPr>
            <a:cxnSpLocks/>
          </p:cNvCxnSpPr>
          <p:nvPr/>
        </p:nvCxnSpPr>
        <p:spPr>
          <a:xfrm>
            <a:off x="8916794" y="2721510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77" name="Straight Connector 5076">
            <a:extLst>
              <a:ext uri="{FF2B5EF4-FFF2-40B4-BE49-F238E27FC236}">
                <a16:creationId xmlns:a16="http://schemas.microsoft.com/office/drawing/2014/main" id="{3253398B-18C5-AA40-1BFB-C30102C6BE94}"/>
              </a:ext>
            </a:extLst>
          </p:cNvPr>
          <p:cNvCxnSpPr>
            <a:cxnSpLocks/>
          </p:cNvCxnSpPr>
          <p:nvPr/>
        </p:nvCxnSpPr>
        <p:spPr>
          <a:xfrm>
            <a:off x="8983356" y="2721510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78" name="Straight Connector 5077">
            <a:extLst>
              <a:ext uri="{FF2B5EF4-FFF2-40B4-BE49-F238E27FC236}">
                <a16:creationId xmlns:a16="http://schemas.microsoft.com/office/drawing/2014/main" id="{F6EA64C7-52B4-BBE3-D5C2-B5854020D6E4}"/>
              </a:ext>
            </a:extLst>
          </p:cNvPr>
          <p:cNvCxnSpPr>
            <a:cxnSpLocks/>
          </p:cNvCxnSpPr>
          <p:nvPr/>
        </p:nvCxnSpPr>
        <p:spPr>
          <a:xfrm>
            <a:off x="9027729" y="2721510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79" name="Straight Connector 5078">
            <a:extLst>
              <a:ext uri="{FF2B5EF4-FFF2-40B4-BE49-F238E27FC236}">
                <a16:creationId xmlns:a16="http://schemas.microsoft.com/office/drawing/2014/main" id="{F1F1355E-F8A3-5845-A47E-31D85004E474}"/>
              </a:ext>
            </a:extLst>
          </p:cNvPr>
          <p:cNvCxnSpPr>
            <a:cxnSpLocks/>
          </p:cNvCxnSpPr>
          <p:nvPr/>
        </p:nvCxnSpPr>
        <p:spPr>
          <a:xfrm>
            <a:off x="9180526" y="2765071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80" name="Straight Connector 5079">
            <a:extLst>
              <a:ext uri="{FF2B5EF4-FFF2-40B4-BE49-F238E27FC236}">
                <a16:creationId xmlns:a16="http://schemas.microsoft.com/office/drawing/2014/main" id="{686830F0-4C01-B2E8-733F-248DA8EF0227}"/>
              </a:ext>
            </a:extLst>
          </p:cNvPr>
          <p:cNvCxnSpPr>
            <a:cxnSpLocks/>
          </p:cNvCxnSpPr>
          <p:nvPr/>
        </p:nvCxnSpPr>
        <p:spPr>
          <a:xfrm>
            <a:off x="9136150" y="2765071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81" name="Straight Connector 5080">
            <a:extLst>
              <a:ext uri="{FF2B5EF4-FFF2-40B4-BE49-F238E27FC236}">
                <a16:creationId xmlns:a16="http://schemas.microsoft.com/office/drawing/2014/main" id="{3972067B-092B-A463-5D0C-5653C9BB3E73}"/>
              </a:ext>
            </a:extLst>
          </p:cNvPr>
          <p:cNvCxnSpPr>
            <a:cxnSpLocks/>
          </p:cNvCxnSpPr>
          <p:nvPr/>
        </p:nvCxnSpPr>
        <p:spPr>
          <a:xfrm>
            <a:off x="9147242" y="2765071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82" name="Straight Connector 5081">
            <a:extLst>
              <a:ext uri="{FF2B5EF4-FFF2-40B4-BE49-F238E27FC236}">
                <a16:creationId xmlns:a16="http://schemas.microsoft.com/office/drawing/2014/main" id="{6A7AAAD6-DF0F-8CE2-E73C-45F0844B183D}"/>
              </a:ext>
            </a:extLst>
          </p:cNvPr>
          <p:cNvCxnSpPr>
            <a:cxnSpLocks/>
          </p:cNvCxnSpPr>
          <p:nvPr/>
        </p:nvCxnSpPr>
        <p:spPr>
          <a:xfrm>
            <a:off x="9202714" y="2765071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83" name="Straight Connector 5082">
            <a:extLst>
              <a:ext uri="{FF2B5EF4-FFF2-40B4-BE49-F238E27FC236}">
                <a16:creationId xmlns:a16="http://schemas.microsoft.com/office/drawing/2014/main" id="{810026FD-CBD5-26CA-6E61-42EE336BE885}"/>
              </a:ext>
            </a:extLst>
          </p:cNvPr>
          <p:cNvCxnSpPr>
            <a:cxnSpLocks/>
          </p:cNvCxnSpPr>
          <p:nvPr/>
        </p:nvCxnSpPr>
        <p:spPr>
          <a:xfrm>
            <a:off x="9213806" y="2765071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84" name="Straight Connector 5083">
            <a:extLst>
              <a:ext uri="{FF2B5EF4-FFF2-40B4-BE49-F238E27FC236}">
                <a16:creationId xmlns:a16="http://schemas.microsoft.com/office/drawing/2014/main" id="{3FE20F39-2226-E541-8186-2B85834DD3CA}"/>
              </a:ext>
            </a:extLst>
          </p:cNvPr>
          <p:cNvCxnSpPr>
            <a:cxnSpLocks/>
          </p:cNvCxnSpPr>
          <p:nvPr/>
        </p:nvCxnSpPr>
        <p:spPr>
          <a:xfrm>
            <a:off x="9158338" y="2765071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85" name="Straight Connector 5084">
            <a:extLst>
              <a:ext uri="{FF2B5EF4-FFF2-40B4-BE49-F238E27FC236}">
                <a16:creationId xmlns:a16="http://schemas.microsoft.com/office/drawing/2014/main" id="{45A20031-E6C4-940B-1350-DC1DAF4239F1}"/>
              </a:ext>
            </a:extLst>
          </p:cNvPr>
          <p:cNvCxnSpPr>
            <a:cxnSpLocks/>
          </p:cNvCxnSpPr>
          <p:nvPr/>
        </p:nvCxnSpPr>
        <p:spPr>
          <a:xfrm>
            <a:off x="9224902" y="2765071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86" name="Straight Connector 5085">
            <a:extLst>
              <a:ext uri="{FF2B5EF4-FFF2-40B4-BE49-F238E27FC236}">
                <a16:creationId xmlns:a16="http://schemas.microsoft.com/office/drawing/2014/main" id="{1FF8A439-2CCB-1CB9-7717-B89D32876E13}"/>
              </a:ext>
            </a:extLst>
          </p:cNvPr>
          <p:cNvCxnSpPr>
            <a:cxnSpLocks/>
          </p:cNvCxnSpPr>
          <p:nvPr/>
        </p:nvCxnSpPr>
        <p:spPr>
          <a:xfrm>
            <a:off x="9169430" y="2765071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87" name="Straight Connector 5086">
            <a:extLst>
              <a:ext uri="{FF2B5EF4-FFF2-40B4-BE49-F238E27FC236}">
                <a16:creationId xmlns:a16="http://schemas.microsoft.com/office/drawing/2014/main" id="{BCCE77C1-7746-0F33-350B-895B37BFD612}"/>
              </a:ext>
            </a:extLst>
          </p:cNvPr>
          <p:cNvCxnSpPr>
            <a:cxnSpLocks/>
          </p:cNvCxnSpPr>
          <p:nvPr/>
        </p:nvCxnSpPr>
        <p:spPr>
          <a:xfrm>
            <a:off x="9191618" y="2765071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88" name="Straight Connector 5087">
            <a:extLst>
              <a:ext uri="{FF2B5EF4-FFF2-40B4-BE49-F238E27FC236}">
                <a16:creationId xmlns:a16="http://schemas.microsoft.com/office/drawing/2014/main" id="{25AA419B-155C-BF07-8469-83D25E5CC668}"/>
              </a:ext>
            </a:extLst>
          </p:cNvPr>
          <p:cNvCxnSpPr>
            <a:cxnSpLocks/>
          </p:cNvCxnSpPr>
          <p:nvPr/>
        </p:nvCxnSpPr>
        <p:spPr>
          <a:xfrm>
            <a:off x="9235994" y="2765071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89" name="Straight Connector 5088">
            <a:extLst>
              <a:ext uri="{FF2B5EF4-FFF2-40B4-BE49-F238E27FC236}">
                <a16:creationId xmlns:a16="http://schemas.microsoft.com/office/drawing/2014/main" id="{7B6A4FF2-150B-D467-C651-064D29DA72B3}"/>
              </a:ext>
            </a:extLst>
          </p:cNvPr>
          <p:cNvCxnSpPr>
            <a:cxnSpLocks/>
          </p:cNvCxnSpPr>
          <p:nvPr/>
        </p:nvCxnSpPr>
        <p:spPr>
          <a:xfrm>
            <a:off x="8770345" y="2711038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90" name="Straight Connector 5089">
            <a:extLst>
              <a:ext uri="{FF2B5EF4-FFF2-40B4-BE49-F238E27FC236}">
                <a16:creationId xmlns:a16="http://schemas.microsoft.com/office/drawing/2014/main" id="{2BE184D9-6688-037C-63FA-060B22CF9AF0}"/>
              </a:ext>
            </a:extLst>
          </p:cNvPr>
          <p:cNvCxnSpPr>
            <a:cxnSpLocks/>
          </p:cNvCxnSpPr>
          <p:nvPr/>
        </p:nvCxnSpPr>
        <p:spPr>
          <a:xfrm>
            <a:off x="8725969" y="2711038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91" name="Straight Connector 5090">
            <a:extLst>
              <a:ext uri="{FF2B5EF4-FFF2-40B4-BE49-F238E27FC236}">
                <a16:creationId xmlns:a16="http://schemas.microsoft.com/office/drawing/2014/main" id="{21478B3E-6ACC-CF44-0A28-4E79AB289E34}"/>
              </a:ext>
            </a:extLst>
          </p:cNvPr>
          <p:cNvCxnSpPr>
            <a:cxnSpLocks/>
          </p:cNvCxnSpPr>
          <p:nvPr/>
        </p:nvCxnSpPr>
        <p:spPr>
          <a:xfrm>
            <a:off x="8737063" y="2711038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92" name="Straight Connector 5091">
            <a:extLst>
              <a:ext uri="{FF2B5EF4-FFF2-40B4-BE49-F238E27FC236}">
                <a16:creationId xmlns:a16="http://schemas.microsoft.com/office/drawing/2014/main" id="{BB37914D-81EE-708B-A280-40276AEBDEAA}"/>
              </a:ext>
            </a:extLst>
          </p:cNvPr>
          <p:cNvCxnSpPr>
            <a:cxnSpLocks/>
          </p:cNvCxnSpPr>
          <p:nvPr/>
        </p:nvCxnSpPr>
        <p:spPr>
          <a:xfrm>
            <a:off x="8792533" y="2711038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93" name="Straight Connector 5092">
            <a:extLst>
              <a:ext uri="{FF2B5EF4-FFF2-40B4-BE49-F238E27FC236}">
                <a16:creationId xmlns:a16="http://schemas.microsoft.com/office/drawing/2014/main" id="{78540719-5154-E4C8-69FA-8404226E32C9}"/>
              </a:ext>
            </a:extLst>
          </p:cNvPr>
          <p:cNvCxnSpPr>
            <a:cxnSpLocks/>
          </p:cNvCxnSpPr>
          <p:nvPr/>
        </p:nvCxnSpPr>
        <p:spPr>
          <a:xfrm>
            <a:off x="8803627" y="2711038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94" name="Straight Connector 5093">
            <a:extLst>
              <a:ext uri="{FF2B5EF4-FFF2-40B4-BE49-F238E27FC236}">
                <a16:creationId xmlns:a16="http://schemas.microsoft.com/office/drawing/2014/main" id="{7F66523E-A630-7622-D639-E1305391449E}"/>
              </a:ext>
            </a:extLst>
          </p:cNvPr>
          <p:cNvCxnSpPr>
            <a:cxnSpLocks/>
          </p:cNvCxnSpPr>
          <p:nvPr/>
        </p:nvCxnSpPr>
        <p:spPr>
          <a:xfrm>
            <a:off x="8748157" y="2711038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95" name="Straight Connector 5094">
            <a:extLst>
              <a:ext uri="{FF2B5EF4-FFF2-40B4-BE49-F238E27FC236}">
                <a16:creationId xmlns:a16="http://schemas.microsoft.com/office/drawing/2014/main" id="{890D6656-DA36-D908-4607-9903947A660F}"/>
              </a:ext>
            </a:extLst>
          </p:cNvPr>
          <p:cNvCxnSpPr>
            <a:cxnSpLocks/>
          </p:cNvCxnSpPr>
          <p:nvPr/>
        </p:nvCxnSpPr>
        <p:spPr>
          <a:xfrm>
            <a:off x="8814721" y="2711038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96" name="Straight Connector 5095">
            <a:extLst>
              <a:ext uri="{FF2B5EF4-FFF2-40B4-BE49-F238E27FC236}">
                <a16:creationId xmlns:a16="http://schemas.microsoft.com/office/drawing/2014/main" id="{5583CF37-9605-9700-4ADA-69A738A6C584}"/>
              </a:ext>
            </a:extLst>
          </p:cNvPr>
          <p:cNvCxnSpPr>
            <a:cxnSpLocks/>
          </p:cNvCxnSpPr>
          <p:nvPr/>
        </p:nvCxnSpPr>
        <p:spPr>
          <a:xfrm>
            <a:off x="8759251" y="2711038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97" name="Straight Connector 5096">
            <a:extLst>
              <a:ext uri="{FF2B5EF4-FFF2-40B4-BE49-F238E27FC236}">
                <a16:creationId xmlns:a16="http://schemas.microsoft.com/office/drawing/2014/main" id="{007A000A-1EE7-2399-E87A-240066D4FC61}"/>
              </a:ext>
            </a:extLst>
          </p:cNvPr>
          <p:cNvCxnSpPr>
            <a:cxnSpLocks/>
          </p:cNvCxnSpPr>
          <p:nvPr/>
        </p:nvCxnSpPr>
        <p:spPr>
          <a:xfrm>
            <a:off x="8781439" y="2711038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98" name="Straight Connector 5097">
            <a:extLst>
              <a:ext uri="{FF2B5EF4-FFF2-40B4-BE49-F238E27FC236}">
                <a16:creationId xmlns:a16="http://schemas.microsoft.com/office/drawing/2014/main" id="{0172E795-4FC1-3833-E229-FDD0EA8E7A5E}"/>
              </a:ext>
            </a:extLst>
          </p:cNvPr>
          <p:cNvCxnSpPr>
            <a:cxnSpLocks/>
          </p:cNvCxnSpPr>
          <p:nvPr/>
        </p:nvCxnSpPr>
        <p:spPr>
          <a:xfrm>
            <a:off x="8825814" y="2711038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99" name="Straight Connector 5098">
            <a:extLst>
              <a:ext uri="{FF2B5EF4-FFF2-40B4-BE49-F238E27FC236}">
                <a16:creationId xmlns:a16="http://schemas.microsoft.com/office/drawing/2014/main" id="{D8B4532B-6A09-3FC4-122C-ADAA8DE01E12}"/>
              </a:ext>
            </a:extLst>
          </p:cNvPr>
          <p:cNvCxnSpPr>
            <a:cxnSpLocks/>
          </p:cNvCxnSpPr>
          <p:nvPr/>
        </p:nvCxnSpPr>
        <p:spPr>
          <a:xfrm>
            <a:off x="8419748" y="2643018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00" name="Straight Connector 5099">
            <a:extLst>
              <a:ext uri="{FF2B5EF4-FFF2-40B4-BE49-F238E27FC236}">
                <a16:creationId xmlns:a16="http://schemas.microsoft.com/office/drawing/2014/main" id="{C6D0B77B-0250-1494-BE20-4B1D5B09A633}"/>
              </a:ext>
            </a:extLst>
          </p:cNvPr>
          <p:cNvCxnSpPr>
            <a:cxnSpLocks/>
          </p:cNvCxnSpPr>
          <p:nvPr/>
        </p:nvCxnSpPr>
        <p:spPr>
          <a:xfrm>
            <a:off x="8441936" y="2643018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01" name="Straight Connector 5100">
            <a:extLst>
              <a:ext uri="{FF2B5EF4-FFF2-40B4-BE49-F238E27FC236}">
                <a16:creationId xmlns:a16="http://schemas.microsoft.com/office/drawing/2014/main" id="{3EAB5AD8-F434-4888-2370-E18582757986}"/>
              </a:ext>
            </a:extLst>
          </p:cNvPr>
          <p:cNvCxnSpPr>
            <a:cxnSpLocks/>
          </p:cNvCxnSpPr>
          <p:nvPr/>
        </p:nvCxnSpPr>
        <p:spPr>
          <a:xfrm>
            <a:off x="8453028" y="2643018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02" name="Straight Connector 5101">
            <a:extLst>
              <a:ext uri="{FF2B5EF4-FFF2-40B4-BE49-F238E27FC236}">
                <a16:creationId xmlns:a16="http://schemas.microsoft.com/office/drawing/2014/main" id="{06070ECE-2016-9A53-DBFE-6DC5AEC0FB86}"/>
              </a:ext>
            </a:extLst>
          </p:cNvPr>
          <p:cNvCxnSpPr>
            <a:cxnSpLocks/>
          </p:cNvCxnSpPr>
          <p:nvPr/>
        </p:nvCxnSpPr>
        <p:spPr>
          <a:xfrm>
            <a:off x="8464124" y="2643018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03" name="Straight Connector 5102">
            <a:extLst>
              <a:ext uri="{FF2B5EF4-FFF2-40B4-BE49-F238E27FC236}">
                <a16:creationId xmlns:a16="http://schemas.microsoft.com/office/drawing/2014/main" id="{3DC8F467-79EE-CC5C-40E3-9146D9432B57}"/>
              </a:ext>
            </a:extLst>
          </p:cNvPr>
          <p:cNvCxnSpPr>
            <a:cxnSpLocks/>
          </p:cNvCxnSpPr>
          <p:nvPr/>
        </p:nvCxnSpPr>
        <p:spPr>
          <a:xfrm>
            <a:off x="8430840" y="2643018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04" name="Straight Connector 5103">
            <a:extLst>
              <a:ext uri="{FF2B5EF4-FFF2-40B4-BE49-F238E27FC236}">
                <a16:creationId xmlns:a16="http://schemas.microsoft.com/office/drawing/2014/main" id="{F5ECFD93-BE03-3CC3-A1F4-A100A20E5B96}"/>
              </a:ext>
            </a:extLst>
          </p:cNvPr>
          <p:cNvCxnSpPr>
            <a:cxnSpLocks/>
          </p:cNvCxnSpPr>
          <p:nvPr/>
        </p:nvCxnSpPr>
        <p:spPr>
          <a:xfrm>
            <a:off x="8475216" y="2643018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05" name="Straight Connector 5104">
            <a:extLst>
              <a:ext uri="{FF2B5EF4-FFF2-40B4-BE49-F238E27FC236}">
                <a16:creationId xmlns:a16="http://schemas.microsoft.com/office/drawing/2014/main" id="{C4360903-7122-4B84-5F58-4CE319F4BC2D}"/>
              </a:ext>
            </a:extLst>
          </p:cNvPr>
          <p:cNvCxnSpPr>
            <a:cxnSpLocks/>
          </p:cNvCxnSpPr>
          <p:nvPr/>
        </p:nvCxnSpPr>
        <p:spPr>
          <a:xfrm>
            <a:off x="8248884" y="2601611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06" name="Straight Connector 5105">
            <a:extLst>
              <a:ext uri="{FF2B5EF4-FFF2-40B4-BE49-F238E27FC236}">
                <a16:creationId xmlns:a16="http://schemas.microsoft.com/office/drawing/2014/main" id="{8688DC50-76E7-2491-74AE-CD84FD6B2455}"/>
              </a:ext>
            </a:extLst>
          </p:cNvPr>
          <p:cNvCxnSpPr>
            <a:cxnSpLocks/>
          </p:cNvCxnSpPr>
          <p:nvPr/>
        </p:nvCxnSpPr>
        <p:spPr>
          <a:xfrm>
            <a:off x="8204510" y="2601611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07" name="Straight Connector 5106">
            <a:extLst>
              <a:ext uri="{FF2B5EF4-FFF2-40B4-BE49-F238E27FC236}">
                <a16:creationId xmlns:a16="http://schemas.microsoft.com/office/drawing/2014/main" id="{EE51A996-056F-E63A-5566-EA82B19303CC}"/>
              </a:ext>
            </a:extLst>
          </p:cNvPr>
          <p:cNvCxnSpPr>
            <a:cxnSpLocks/>
          </p:cNvCxnSpPr>
          <p:nvPr/>
        </p:nvCxnSpPr>
        <p:spPr>
          <a:xfrm>
            <a:off x="8215601" y="2601611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08" name="Straight Connector 5107">
            <a:extLst>
              <a:ext uri="{FF2B5EF4-FFF2-40B4-BE49-F238E27FC236}">
                <a16:creationId xmlns:a16="http://schemas.microsoft.com/office/drawing/2014/main" id="{4E3C994E-0D44-B90D-6F35-0CDA2CB30604}"/>
              </a:ext>
            </a:extLst>
          </p:cNvPr>
          <p:cNvCxnSpPr>
            <a:cxnSpLocks/>
          </p:cNvCxnSpPr>
          <p:nvPr/>
        </p:nvCxnSpPr>
        <p:spPr>
          <a:xfrm>
            <a:off x="8271072" y="2601611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09" name="Straight Connector 5108">
            <a:extLst>
              <a:ext uri="{FF2B5EF4-FFF2-40B4-BE49-F238E27FC236}">
                <a16:creationId xmlns:a16="http://schemas.microsoft.com/office/drawing/2014/main" id="{895B77BB-71E5-4016-AD1D-D2901795D1C5}"/>
              </a:ext>
            </a:extLst>
          </p:cNvPr>
          <p:cNvCxnSpPr>
            <a:cxnSpLocks/>
          </p:cNvCxnSpPr>
          <p:nvPr/>
        </p:nvCxnSpPr>
        <p:spPr>
          <a:xfrm>
            <a:off x="8282164" y="2601611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10" name="Straight Connector 5109">
            <a:extLst>
              <a:ext uri="{FF2B5EF4-FFF2-40B4-BE49-F238E27FC236}">
                <a16:creationId xmlns:a16="http://schemas.microsoft.com/office/drawing/2014/main" id="{D5699737-BCEA-5D0B-E1CA-2026C84B2406}"/>
              </a:ext>
            </a:extLst>
          </p:cNvPr>
          <p:cNvCxnSpPr>
            <a:cxnSpLocks/>
          </p:cNvCxnSpPr>
          <p:nvPr/>
        </p:nvCxnSpPr>
        <p:spPr>
          <a:xfrm>
            <a:off x="8226696" y="2601611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11" name="Straight Connector 5110">
            <a:extLst>
              <a:ext uri="{FF2B5EF4-FFF2-40B4-BE49-F238E27FC236}">
                <a16:creationId xmlns:a16="http://schemas.microsoft.com/office/drawing/2014/main" id="{B5996F75-8090-9918-1D28-0A391C8E94CF}"/>
              </a:ext>
            </a:extLst>
          </p:cNvPr>
          <p:cNvCxnSpPr>
            <a:cxnSpLocks/>
          </p:cNvCxnSpPr>
          <p:nvPr/>
        </p:nvCxnSpPr>
        <p:spPr>
          <a:xfrm>
            <a:off x="8293260" y="2601611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12" name="Straight Connector 5111">
            <a:extLst>
              <a:ext uri="{FF2B5EF4-FFF2-40B4-BE49-F238E27FC236}">
                <a16:creationId xmlns:a16="http://schemas.microsoft.com/office/drawing/2014/main" id="{1836ACA3-0EAF-373E-82A7-A6EC60FFFC92}"/>
              </a:ext>
            </a:extLst>
          </p:cNvPr>
          <p:cNvCxnSpPr>
            <a:cxnSpLocks/>
          </p:cNvCxnSpPr>
          <p:nvPr/>
        </p:nvCxnSpPr>
        <p:spPr>
          <a:xfrm>
            <a:off x="8237788" y="2601611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13" name="Straight Connector 5112">
            <a:extLst>
              <a:ext uri="{FF2B5EF4-FFF2-40B4-BE49-F238E27FC236}">
                <a16:creationId xmlns:a16="http://schemas.microsoft.com/office/drawing/2014/main" id="{EBEF87B2-226C-75E7-2807-60E3C291B744}"/>
              </a:ext>
            </a:extLst>
          </p:cNvPr>
          <p:cNvCxnSpPr>
            <a:cxnSpLocks/>
          </p:cNvCxnSpPr>
          <p:nvPr/>
        </p:nvCxnSpPr>
        <p:spPr>
          <a:xfrm>
            <a:off x="8259976" y="2601611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14" name="Straight Connector 5113">
            <a:extLst>
              <a:ext uri="{FF2B5EF4-FFF2-40B4-BE49-F238E27FC236}">
                <a16:creationId xmlns:a16="http://schemas.microsoft.com/office/drawing/2014/main" id="{4B98D1E6-5E67-46C1-75E2-D39A6A31DDD1}"/>
              </a:ext>
            </a:extLst>
          </p:cNvPr>
          <p:cNvCxnSpPr>
            <a:cxnSpLocks/>
          </p:cNvCxnSpPr>
          <p:nvPr/>
        </p:nvCxnSpPr>
        <p:spPr>
          <a:xfrm>
            <a:off x="8304352" y="2601611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15" name="Straight Connector 5114">
            <a:extLst>
              <a:ext uri="{FF2B5EF4-FFF2-40B4-BE49-F238E27FC236}">
                <a16:creationId xmlns:a16="http://schemas.microsoft.com/office/drawing/2014/main" id="{F1A915BA-AA4F-9C7D-0CC0-0510D84CE82E}"/>
              </a:ext>
            </a:extLst>
          </p:cNvPr>
          <p:cNvCxnSpPr>
            <a:cxnSpLocks/>
          </p:cNvCxnSpPr>
          <p:nvPr/>
        </p:nvCxnSpPr>
        <p:spPr>
          <a:xfrm>
            <a:off x="8336469" y="2615728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16" name="Straight Connector 5115">
            <a:extLst>
              <a:ext uri="{FF2B5EF4-FFF2-40B4-BE49-F238E27FC236}">
                <a16:creationId xmlns:a16="http://schemas.microsoft.com/office/drawing/2014/main" id="{3211CF10-13FD-BB58-6F8D-175DB0D79458}"/>
              </a:ext>
            </a:extLst>
          </p:cNvPr>
          <p:cNvCxnSpPr>
            <a:cxnSpLocks/>
          </p:cNvCxnSpPr>
          <p:nvPr/>
        </p:nvCxnSpPr>
        <p:spPr>
          <a:xfrm>
            <a:off x="8358658" y="2615728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17" name="Straight Connector 5116">
            <a:extLst>
              <a:ext uri="{FF2B5EF4-FFF2-40B4-BE49-F238E27FC236}">
                <a16:creationId xmlns:a16="http://schemas.microsoft.com/office/drawing/2014/main" id="{BA931F84-B9E6-EEB9-3D24-AA5F8382031E}"/>
              </a:ext>
            </a:extLst>
          </p:cNvPr>
          <p:cNvCxnSpPr>
            <a:cxnSpLocks/>
          </p:cNvCxnSpPr>
          <p:nvPr/>
        </p:nvCxnSpPr>
        <p:spPr>
          <a:xfrm>
            <a:off x="8369750" y="2615728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18" name="Straight Connector 5117">
            <a:extLst>
              <a:ext uri="{FF2B5EF4-FFF2-40B4-BE49-F238E27FC236}">
                <a16:creationId xmlns:a16="http://schemas.microsoft.com/office/drawing/2014/main" id="{2370C799-0F7F-3729-354D-6FA5051F1675}"/>
              </a:ext>
            </a:extLst>
          </p:cNvPr>
          <p:cNvCxnSpPr>
            <a:cxnSpLocks/>
          </p:cNvCxnSpPr>
          <p:nvPr/>
        </p:nvCxnSpPr>
        <p:spPr>
          <a:xfrm>
            <a:off x="8380846" y="2615728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19" name="Straight Connector 5118">
            <a:extLst>
              <a:ext uri="{FF2B5EF4-FFF2-40B4-BE49-F238E27FC236}">
                <a16:creationId xmlns:a16="http://schemas.microsoft.com/office/drawing/2014/main" id="{A5AC5958-B1DE-1202-0408-F57933499CF2}"/>
              </a:ext>
            </a:extLst>
          </p:cNvPr>
          <p:cNvCxnSpPr>
            <a:cxnSpLocks/>
          </p:cNvCxnSpPr>
          <p:nvPr/>
        </p:nvCxnSpPr>
        <p:spPr>
          <a:xfrm>
            <a:off x="8347562" y="2615728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20" name="Straight Connector 5119">
            <a:extLst>
              <a:ext uri="{FF2B5EF4-FFF2-40B4-BE49-F238E27FC236}">
                <a16:creationId xmlns:a16="http://schemas.microsoft.com/office/drawing/2014/main" id="{88F4ED0C-4DAB-D17B-02B4-5517BABD5980}"/>
              </a:ext>
            </a:extLst>
          </p:cNvPr>
          <p:cNvCxnSpPr>
            <a:cxnSpLocks/>
          </p:cNvCxnSpPr>
          <p:nvPr/>
        </p:nvCxnSpPr>
        <p:spPr>
          <a:xfrm>
            <a:off x="8391938" y="2615728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21" name="Straight Connector 5120">
            <a:extLst>
              <a:ext uri="{FF2B5EF4-FFF2-40B4-BE49-F238E27FC236}">
                <a16:creationId xmlns:a16="http://schemas.microsoft.com/office/drawing/2014/main" id="{F1D31186-7A15-0D69-B710-C4C28E3A749E}"/>
              </a:ext>
            </a:extLst>
          </p:cNvPr>
          <p:cNvCxnSpPr>
            <a:cxnSpLocks/>
          </p:cNvCxnSpPr>
          <p:nvPr/>
        </p:nvCxnSpPr>
        <p:spPr>
          <a:xfrm>
            <a:off x="9065021" y="2751338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22" name="Straight Connector 5121">
            <a:extLst>
              <a:ext uri="{FF2B5EF4-FFF2-40B4-BE49-F238E27FC236}">
                <a16:creationId xmlns:a16="http://schemas.microsoft.com/office/drawing/2014/main" id="{4EFF414F-F7A6-6B17-9ADA-978BBF3583CC}"/>
              </a:ext>
            </a:extLst>
          </p:cNvPr>
          <p:cNvCxnSpPr>
            <a:cxnSpLocks/>
          </p:cNvCxnSpPr>
          <p:nvPr/>
        </p:nvCxnSpPr>
        <p:spPr>
          <a:xfrm>
            <a:off x="9087209" y="2751338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23" name="Straight Connector 5122">
            <a:extLst>
              <a:ext uri="{FF2B5EF4-FFF2-40B4-BE49-F238E27FC236}">
                <a16:creationId xmlns:a16="http://schemas.microsoft.com/office/drawing/2014/main" id="{40962BF9-C448-5C32-B7A2-5DE9EA8E5181}"/>
              </a:ext>
            </a:extLst>
          </p:cNvPr>
          <p:cNvCxnSpPr>
            <a:cxnSpLocks/>
          </p:cNvCxnSpPr>
          <p:nvPr/>
        </p:nvCxnSpPr>
        <p:spPr>
          <a:xfrm>
            <a:off x="9098301" y="2751338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24" name="Straight Connector 5123">
            <a:extLst>
              <a:ext uri="{FF2B5EF4-FFF2-40B4-BE49-F238E27FC236}">
                <a16:creationId xmlns:a16="http://schemas.microsoft.com/office/drawing/2014/main" id="{48E63FD6-C324-312E-F82E-000423674BFB}"/>
              </a:ext>
            </a:extLst>
          </p:cNvPr>
          <p:cNvCxnSpPr>
            <a:cxnSpLocks/>
          </p:cNvCxnSpPr>
          <p:nvPr/>
        </p:nvCxnSpPr>
        <p:spPr>
          <a:xfrm>
            <a:off x="9109397" y="2751338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25" name="Straight Connector 5124">
            <a:extLst>
              <a:ext uri="{FF2B5EF4-FFF2-40B4-BE49-F238E27FC236}">
                <a16:creationId xmlns:a16="http://schemas.microsoft.com/office/drawing/2014/main" id="{16BB41D6-D68A-11BB-1370-84E0535B6040}"/>
              </a:ext>
            </a:extLst>
          </p:cNvPr>
          <p:cNvCxnSpPr>
            <a:cxnSpLocks/>
          </p:cNvCxnSpPr>
          <p:nvPr/>
        </p:nvCxnSpPr>
        <p:spPr>
          <a:xfrm>
            <a:off x="9076113" y="2751338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26" name="Straight Connector 5125">
            <a:extLst>
              <a:ext uri="{FF2B5EF4-FFF2-40B4-BE49-F238E27FC236}">
                <a16:creationId xmlns:a16="http://schemas.microsoft.com/office/drawing/2014/main" id="{CF49EA40-8202-4673-6901-D33501F6EF2F}"/>
              </a:ext>
            </a:extLst>
          </p:cNvPr>
          <p:cNvCxnSpPr>
            <a:cxnSpLocks/>
          </p:cNvCxnSpPr>
          <p:nvPr/>
        </p:nvCxnSpPr>
        <p:spPr>
          <a:xfrm>
            <a:off x="9120489" y="2751338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27" name="Straight Connector 5126">
            <a:extLst>
              <a:ext uri="{FF2B5EF4-FFF2-40B4-BE49-F238E27FC236}">
                <a16:creationId xmlns:a16="http://schemas.microsoft.com/office/drawing/2014/main" id="{88D00176-52BD-F8DC-C96E-0FFC5C3AF9A3}"/>
              </a:ext>
            </a:extLst>
          </p:cNvPr>
          <p:cNvCxnSpPr>
            <a:cxnSpLocks/>
          </p:cNvCxnSpPr>
          <p:nvPr/>
        </p:nvCxnSpPr>
        <p:spPr>
          <a:xfrm>
            <a:off x="9256601" y="2775876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28" name="Straight Connector 5127">
            <a:extLst>
              <a:ext uri="{FF2B5EF4-FFF2-40B4-BE49-F238E27FC236}">
                <a16:creationId xmlns:a16="http://schemas.microsoft.com/office/drawing/2014/main" id="{B80568E6-6747-9C55-9E55-89093C56D68B}"/>
              </a:ext>
            </a:extLst>
          </p:cNvPr>
          <p:cNvCxnSpPr>
            <a:cxnSpLocks/>
          </p:cNvCxnSpPr>
          <p:nvPr/>
        </p:nvCxnSpPr>
        <p:spPr>
          <a:xfrm>
            <a:off x="9243910" y="2771789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29" name="Straight Connector 5128">
            <a:extLst>
              <a:ext uri="{FF2B5EF4-FFF2-40B4-BE49-F238E27FC236}">
                <a16:creationId xmlns:a16="http://schemas.microsoft.com/office/drawing/2014/main" id="{1631AE2A-28A1-FB41-8383-63881299F181}"/>
              </a:ext>
            </a:extLst>
          </p:cNvPr>
          <p:cNvCxnSpPr>
            <a:cxnSpLocks/>
          </p:cNvCxnSpPr>
          <p:nvPr/>
        </p:nvCxnSpPr>
        <p:spPr>
          <a:xfrm>
            <a:off x="9130878" y="2759174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30" name="Straight Connector 5129">
            <a:extLst>
              <a:ext uri="{FF2B5EF4-FFF2-40B4-BE49-F238E27FC236}">
                <a16:creationId xmlns:a16="http://schemas.microsoft.com/office/drawing/2014/main" id="{EF0D546E-F309-400B-A101-38D9AA7EC9C0}"/>
              </a:ext>
            </a:extLst>
          </p:cNvPr>
          <p:cNvCxnSpPr>
            <a:cxnSpLocks/>
          </p:cNvCxnSpPr>
          <p:nvPr/>
        </p:nvCxnSpPr>
        <p:spPr>
          <a:xfrm>
            <a:off x="9061829" y="2740095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31" name="Straight Connector 5130">
            <a:extLst>
              <a:ext uri="{FF2B5EF4-FFF2-40B4-BE49-F238E27FC236}">
                <a16:creationId xmlns:a16="http://schemas.microsoft.com/office/drawing/2014/main" id="{26F03BC1-8984-D88E-9B35-2CCBF8454A0E}"/>
              </a:ext>
            </a:extLst>
          </p:cNvPr>
          <p:cNvCxnSpPr>
            <a:cxnSpLocks/>
          </p:cNvCxnSpPr>
          <p:nvPr/>
        </p:nvCxnSpPr>
        <p:spPr>
          <a:xfrm>
            <a:off x="8405947" y="2633814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32" name="Straight Connector 5131">
            <a:extLst>
              <a:ext uri="{FF2B5EF4-FFF2-40B4-BE49-F238E27FC236}">
                <a16:creationId xmlns:a16="http://schemas.microsoft.com/office/drawing/2014/main" id="{5976A96F-4844-E938-CFC1-DD77366323E3}"/>
              </a:ext>
            </a:extLst>
          </p:cNvPr>
          <p:cNvCxnSpPr>
            <a:cxnSpLocks/>
          </p:cNvCxnSpPr>
          <p:nvPr/>
        </p:nvCxnSpPr>
        <p:spPr>
          <a:xfrm>
            <a:off x="8321728" y="2612407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33" name="Straight Connector 5132">
            <a:extLst>
              <a:ext uri="{FF2B5EF4-FFF2-40B4-BE49-F238E27FC236}">
                <a16:creationId xmlns:a16="http://schemas.microsoft.com/office/drawing/2014/main" id="{FE134A95-69B3-8B42-C79E-A17DC8876F15}"/>
              </a:ext>
            </a:extLst>
          </p:cNvPr>
          <p:cNvCxnSpPr>
            <a:cxnSpLocks/>
          </p:cNvCxnSpPr>
          <p:nvPr/>
        </p:nvCxnSpPr>
        <p:spPr>
          <a:xfrm>
            <a:off x="8315846" y="2607237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34" name="Straight Connector 5133">
            <a:extLst>
              <a:ext uri="{FF2B5EF4-FFF2-40B4-BE49-F238E27FC236}">
                <a16:creationId xmlns:a16="http://schemas.microsoft.com/office/drawing/2014/main" id="{487573D6-B952-FA04-1E88-35FC2EB8E0A7}"/>
              </a:ext>
            </a:extLst>
          </p:cNvPr>
          <p:cNvCxnSpPr>
            <a:cxnSpLocks/>
          </p:cNvCxnSpPr>
          <p:nvPr/>
        </p:nvCxnSpPr>
        <p:spPr>
          <a:xfrm>
            <a:off x="8196223" y="2595325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35" name="Straight Connector 5134">
            <a:extLst>
              <a:ext uri="{FF2B5EF4-FFF2-40B4-BE49-F238E27FC236}">
                <a16:creationId xmlns:a16="http://schemas.microsoft.com/office/drawing/2014/main" id="{7E343C43-6729-F3C3-086E-BD456BAC7E1B}"/>
              </a:ext>
            </a:extLst>
          </p:cNvPr>
          <p:cNvCxnSpPr>
            <a:cxnSpLocks/>
          </p:cNvCxnSpPr>
          <p:nvPr/>
        </p:nvCxnSpPr>
        <p:spPr>
          <a:xfrm>
            <a:off x="8187869" y="2589364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36" name="Straight Connector 5135">
            <a:extLst>
              <a:ext uri="{FF2B5EF4-FFF2-40B4-BE49-F238E27FC236}">
                <a16:creationId xmlns:a16="http://schemas.microsoft.com/office/drawing/2014/main" id="{EC5B3742-3448-994A-C1F1-D78D67D95CB3}"/>
              </a:ext>
            </a:extLst>
          </p:cNvPr>
          <p:cNvCxnSpPr>
            <a:cxnSpLocks/>
          </p:cNvCxnSpPr>
          <p:nvPr/>
        </p:nvCxnSpPr>
        <p:spPr>
          <a:xfrm>
            <a:off x="7298728" y="2405816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37" name="Straight Connector 5136">
            <a:extLst>
              <a:ext uri="{FF2B5EF4-FFF2-40B4-BE49-F238E27FC236}">
                <a16:creationId xmlns:a16="http://schemas.microsoft.com/office/drawing/2014/main" id="{5A50E8F2-2C18-2D5E-B757-3A5B04245E10}"/>
              </a:ext>
            </a:extLst>
          </p:cNvPr>
          <p:cNvCxnSpPr>
            <a:cxnSpLocks/>
          </p:cNvCxnSpPr>
          <p:nvPr/>
        </p:nvCxnSpPr>
        <p:spPr>
          <a:xfrm>
            <a:off x="7254354" y="2405816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38" name="Straight Connector 5137">
            <a:extLst>
              <a:ext uri="{FF2B5EF4-FFF2-40B4-BE49-F238E27FC236}">
                <a16:creationId xmlns:a16="http://schemas.microsoft.com/office/drawing/2014/main" id="{5BC0E1F6-C055-62F9-C823-34115E7F846E}"/>
              </a:ext>
            </a:extLst>
          </p:cNvPr>
          <p:cNvCxnSpPr>
            <a:cxnSpLocks/>
          </p:cNvCxnSpPr>
          <p:nvPr/>
        </p:nvCxnSpPr>
        <p:spPr>
          <a:xfrm>
            <a:off x="7265446" y="2405816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39" name="Straight Connector 5138">
            <a:extLst>
              <a:ext uri="{FF2B5EF4-FFF2-40B4-BE49-F238E27FC236}">
                <a16:creationId xmlns:a16="http://schemas.microsoft.com/office/drawing/2014/main" id="{B4C9A395-E080-345C-EBFC-0F2FCBB2117B}"/>
              </a:ext>
            </a:extLst>
          </p:cNvPr>
          <p:cNvCxnSpPr>
            <a:cxnSpLocks/>
          </p:cNvCxnSpPr>
          <p:nvPr/>
        </p:nvCxnSpPr>
        <p:spPr>
          <a:xfrm>
            <a:off x="7320915" y="2405816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40" name="Straight Connector 5139">
            <a:extLst>
              <a:ext uri="{FF2B5EF4-FFF2-40B4-BE49-F238E27FC236}">
                <a16:creationId xmlns:a16="http://schemas.microsoft.com/office/drawing/2014/main" id="{09928EBC-45E4-5922-A1BD-BD700AE94AF6}"/>
              </a:ext>
            </a:extLst>
          </p:cNvPr>
          <p:cNvCxnSpPr>
            <a:cxnSpLocks/>
          </p:cNvCxnSpPr>
          <p:nvPr/>
        </p:nvCxnSpPr>
        <p:spPr>
          <a:xfrm>
            <a:off x="7332009" y="2405816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41" name="Straight Connector 5140">
            <a:extLst>
              <a:ext uri="{FF2B5EF4-FFF2-40B4-BE49-F238E27FC236}">
                <a16:creationId xmlns:a16="http://schemas.microsoft.com/office/drawing/2014/main" id="{EC41BB22-63D1-2E48-9ADD-6DA6608E26B8}"/>
              </a:ext>
            </a:extLst>
          </p:cNvPr>
          <p:cNvCxnSpPr>
            <a:cxnSpLocks/>
          </p:cNvCxnSpPr>
          <p:nvPr/>
        </p:nvCxnSpPr>
        <p:spPr>
          <a:xfrm>
            <a:off x="7276540" y="2405816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42" name="Straight Connector 5141">
            <a:extLst>
              <a:ext uri="{FF2B5EF4-FFF2-40B4-BE49-F238E27FC236}">
                <a16:creationId xmlns:a16="http://schemas.microsoft.com/office/drawing/2014/main" id="{E83D5CB7-502D-F38B-E7F1-19E7C1B19696}"/>
              </a:ext>
            </a:extLst>
          </p:cNvPr>
          <p:cNvCxnSpPr>
            <a:cxnSpLocks/>
          </p:cNvCxnSpPr>
          <p:nvPr/>
        </p:nvCxnSpPr>
        <p:spPr>
          <a:xfrm>
            <a:off x="7343103" y="2405816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43" name="Straight Connector 5142">
            <a:extLst>
              <a:ext uri="{FF2B5EF4-FFF2-40B4-BE49-F238E27FC236}">
                <a16:creationId xmlns:a16="http://schemas.microsoft.com/office/drawing/2014/main" id="{16DF7596-6E74-E111-016B-5D892F05F453}"/>
              </a:ext>
            </a:extLst>
          </p:cNvPr>
          <p:cNvCxnSpPr>
            <a:cxnSpLocks/>
          </p:cNvCxnSpPr>
          <p:nvPr/>
        </p:nvCxnSpPr>
        <p:spPr>
          <a:xfrm>
            <a:off x="7287634" y="2405816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44" name="Straight Connector 5143">
            <a:extLst>
              <a:ext uri="{FF2B5EF4-FFF2-40B4-BE49-F238E27FC236}">
                <a16:creationId xmlns:a16="http://schemas.microsoft.com/office/drawing/2014/main" id="{9EF5BA0F-0C23-6C15-B697-17439EBD995F}"/>
              </a:ext>
            </a:extLst>
          </p:cNvPr>
          <p:cNvCxnSpPr>
            <a:cxnSpLocks/>
          </p:cNvCxnSpPr>
          <p:nvPr/>
        </p:nvCxnSpPr>
        <p:spPr>
          <a:xfrm>
            <a:off x="7309822" y="2405816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45" name="Straight Connector 5144">
            <a:extLst>
              <a:ext uri="{FF2B5EF4-FFF2-40B4-BE49-F238E27FC236}">
                <a16:creationId xmlns:a16="http://schemas.microsoft.com/office/drawing/2014/main" id="{2C16BCF2-4B6C-D355-B138-C6A9615981AC}"/>
              </a:ext>
            </a:extLst>
          </p:cNvPr>
          <p:cNvCxnSpPr>
            <a:cxnSpLocks/>
          </p:cNvCxnSpPr>
          <p:nvPr/>
        </p:nvCxnSpPr>
        <p:spPr>
          <a:xfrm>
            <a:off x="7354197" y="2405816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46" name="Straight Connector 5145">
            <a:extLst>
              <a:ext uri="{FF2B5EF4-FFF2-40B4-BE49-F238E27FC236}">
                <a16:creationId xmlns:a16="http://schemas.microsoft.com/office/drawing/2014/main" id="{A7B0AE89-95D8-A6C4-ADAA-107690575C44}"/>
              </a:ext>
            </a:extLst>
          </p:cNvPr>
          <p:cNvCxnSpPr>
            <a:cxnSpLocks/>
          </p:cNvCxnSpPr>
          <p:nvPr/>
        </p:nvCxnSpPr>
        <p:spPr>
          <a:xfrm>
            <a:off x="7714779" y="2517804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47" name="Straight Connector 5146">
            <a:extLst>
              <a:ext uri="{FF2B5EF4-FFF2-40B4-BE49-F238E27FC236}">
                <a16:creationId xmlns:a16="http://schemas.microsoft.com/office/drawing/2014/main" id="{0D7A5DDE-796D-B8A6-E017-5E7E19FA485B}"/>
              </a:ext>
            </a:extLst>
          </p:cNvPr>
          <p:cNvCxnSpPr>
            <a:cxnSpLocks/>
          </p:cNvCxnSpPr>
          <p:nvPr/>
        </p:nvCxnSpPr>
        <p:spPr>
          <a:xfrm>
            <a:off x="7670403" y="2517804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48" name="Straight Connector 5147">
            <a:extLst>
              <a:ext uri="{FF2B5EF4-FFF2-40B4-BE49-F238E27FC236}">
                <a16:creationId xmlns:a16="http://schemas.microsoft.com/office/drawing/2014/main" id="{4419BAF3-8341-FCB7-8388-9B7FB0536407}"/>
              </a:ext>
            </a:extLst>
          </p:cNvPr>
          <p:cNvCxnSpPr>
            <a:cxnSpLocks/>
          </p:cNvCxnSpPr>
          <p:nvPr/>
        </p:nvCxnSpPr>
        <p:spPr>
          <a:xfrm>
            <a:off x="7681497" y="2517804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49" name="Straight Connector 5148">
            <a:extLst>
              <a:ext uri="{FF2B5EF4-FFF2-40B4-BE49-F238E27FC236}">
                <a16:creationId xmlns:a16="http://schemas.microsoft.com/office/drawing/2014/main" id="{16013B1D-697D-9427-8A35-5562B65C85A2}"/>
              </a:ext>
            </a:extLst>
          </p:cNvPr>
          <p:cNvCxnSpPr>
            <a:cxnSpLocks/>
          </p:cNvCxnSpPr>
          <p:nvPr/>
        </p:nvCxnSpPr>
        <p:spPr>
          <a:xfrm>
            <a:off x="7692591" y="2517804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50" name="Straight Connector 5149">
            <a:extLst>
              <a:ext uri="{FF2B5EF4-FFF2-40B4-BE49-F238E27FC236}">
                <a16:creationId xmlns:a16="http://schemas.microsoft.com/office/drawing/2014/main" id="{15787F9C-48B9-5E2C-2D4E-A95960B4E65D}"/>
              </a:ext>
            </a:extLst>
          </p:cNvPr>
          <p:cNvCxnSpPr>
            <a:cxnSpLocks/>
          </p:cNvCxnSpPr>
          <p:nvPr/>
        </p:nvCxnSpPr>
        <p:spPr>
          <a:xfrm>
            <a:off x="7703685" y="2517804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51" name="Straight Connector 5150">
            <a:extLst>
              <a:ext uri="{FF2B5EF4-FFF2-40B4-BE49-F238E27FC236}">
                <a16:creationId xmlns:a16="http://schemas.microsoft.com/office/drawing/2014/main" id="{4726F14C-87FD-C04B-ADA0-A1A57A2750C2}"/>
              </a:ext>
            </a:extLst>
          </p:cNvPr>
          <p:cNvCxnSpPr>
            <a:cxnSpLocks/>
          </p:cNvCxnSpPr>
          <p:nvPr/>
        </p:nvCxnSpPr>
        <p:spPr>
          <a:xfrm>
            <a:off x="7982646" y="2565510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52" name="Straight Connector 5151">
            <a:extLst>
              <a:ext uri="{FF2B5EF4-FFF2-40B4-BE49-F238E27FC236}">
                <a16:creationId xmlns:a16="http://schemas.microsoft.com/office/drawing/2014/main" id="{9EF2A211-1D76-6D2A-A87A-295B6FCF340A}"/>
              </a:ext>
            </a:extLst>
          </p:cNvPr>
          <p:cNvCxnSpPr>
            <a:cxnSpLocks/>
          </p:cNvCxnSpPr>
          <p:nvPr/>
        </p:nvCxnSpPr>
        <p:spPr>
          <a:xfrm>
            <a:off x="7938272" y="2565510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53" name="Straight Connector 5152">
            <a:extLst>
              <a:ext uri="{FF2B5EF4-FFF2-40B4-BE49-F238E27FC236}">
                <a16:creationId xmlns:a16="http://schemas.microsoft.com/office/drawing/2014/main" id="{2B1029A1-EF56-30D8-EB11-8C7844BA42B8}"/>
              </a:ext>
            </a:extLst>
          </p:cNvPr>
          <p:cNvCxnSpPr>
            <a:cxnSpLocks/>
          </p:cNvCxnSpPr>
          <p:nvPr/>
        </p:nvCxnSpPr>
        <p:spPr>
          <a:xfrm>
            <a:off x="7949368" y="2565510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54" name="Straight Connector 5153">
            <a:extLst>
              <a:ext uri="{FF2B5EF4-FFF2-40B4-BE49-F238E27FC236}">
                <a16:creationId xmlns:a16="http://schemas.microsoft.com/office/drawing/2014/main" id="{C8715E74-020E-72DB-1527-E8D834B9DCD5}"/>
              </a:ext>
            </a:extLst>
          </p:cNvPr>
          <p:cNvCxnSpPr>
            <a:cxnSpLocks/>
          </p:cNvCxnSpPr>
          <p:nvPr/>
        </p:nvCxnSpPr>
        <p:spPr>
          <a:xfrm>
            <a:off x="7960458" y="2565510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55" name="Straight Connector 5154">
            <a:extLst>
              <a:ext uri="{FF2B5EF4-FFF2-40B4-BE49-F238E27FC236}">
                <a16:creationId xmlns:a16="http://schemas.microsoft.com/office/drawing/2014/main" id="{568F9FDA-9DFB-69AF-F04B-0248D66D244B}"/>
              </a:ext>
            </a:extLst>
          </p:cNvPr>
          <p:cNvCxnSpPr>
            <a:cxnSpLocks/>
          </p:cNvCxnSpPr>
          <p:nvPr/>
        </p:nvCxnSpPr>
        <p:spPr>
          <a:xfrm>
            <a:off x="7971554" y="2565510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56" name="Straight Connector 5155">
            <a:extLst>
              <a:ext uri="{FF2B5EF4-FFF2-40B4-BE49-F238E27FC236}">
                <a16:creationId xmlns:a16="http://schemas.microsoft.com/office/drawing/2014/main" id="{43354430-CD0F-1495-1F0B-008E571AC098}"/>
              </a:ext>
            </a:extLst>
          </p:cNvPr>
          <p:cNvCxnSpPr>
            <a:cxnSpLocks/>
          </p:cNvCxnSpPr>
          <p:nvPr/>
        </p:nvCxnSpPr>
        <p:spPr>
          <a:xfrm>
            <a:off x="7497642" y="2459377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57" name="Straight Connector 5156">
            <a:extLst>
              <a:ext uri="{FF2B5EF4-FFF2-40B4-BE49-F238E27FC236}">
                <a16:creationId xmlns:a16="http://schemas.microsoft.com/office/drawing/2014/main" id="{B0A5CDCB-3C09-AA76-4640-E88160CFF3B0}"/>
              </a:ext>
            </a:extLst>
          </p:cNvPr>
          <p:cNvCxnSpPr>
            <a:cxnSpLocks/>
          </p:cNvCxnSpPr>
          <p:nvPr/>
        </p:nvCxnSpPr>
        <p:spPr>
          <a:xfrm>
            <a:off x="7453267" y="2459377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58" name="Straight Connector 5157">
            <a:extLst>
              <a:ext uri="{FF2B5EF4-FFF2-40B4-BE49-F238E27FC236}">
                <a16:creationId xmlns:a16="http://schemas.microsoft.com/office/drawing/2014/main" id="{59EF13D6-3BB9-CA55-DCB7-9AB14B200209}"/>
              </a:ext>
            </a:extLst>
          </p:cNvPr>
          <p:cNvCxnSpPr>
            <a:cxnSpLocks/>
          </p:cNvCxnSpPr>
          <p:nvPr/>
        </p:nvCxnSpPr>
        <p:spPr>
          <a:xfrm>
            <a:off x="7464362" y="2459377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59" name="Straight Connector 5158">
            <a:extLst>
              <a:ext uri="{FF2B5EF4-FFF2-40B4-BE49-F238E27FC236}">
                <a16:creationId xmlns:a16="http://schemas.microsoft.com/office/drawing/2014/main" id="{B0B081CC-C8ED-C1C7-61DE-4F417120C317}"/>
              </a:ext>
            </a:extLst>
          </p:cNvPr>
          <p:cNvCxnSpPr>
            <a:cxnSpLocks/>
          </p:cNvCxnSpPr>
          <p:nvPr/>
        </p:nvCxnSpPr>
        <p:spPr>
          <a:xfrm>
            <a:off x="7475454" y="2459377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60" name="Straight Connector 5159">
            <a:extLst>
              <a:ext uri="{FF2B5EF4-FFF2-40B4-BE49-F238E27FC236}">
                <a16:creationId xmlns:a16="http://schemas.microsoft.com/office/drawing/2014/main" id="{346AB0E7-5F5B-4735-F6BE-0620AAC8E111}"/>
              </a:ext>
            </a:extLst>
          </p:cNvPr>
          <p:cNvCxnSpPr>
            <a:cxnSpLocks/>
          </p:cNvCxnSpPr>
          <p:nvPr/>
        </p:nvCxnSpPr>
        <p:spPr>
          <a:xfrm>
            <a:off x="7486550" y="2459377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61" name="Straight Connector 5160">
            <a:extLst>
              <a:ext uri="{FF2B5EF4-FFF2-40B4-BE49-F238E27FC236}">
                <a16:creationId xmlns:a16="http://schemas.microsoft.com/office/drawing/2014/main" id="{FE9F7F53-00C2-EF91-94A6-77B2022AEEB0}"/>
              </a:ext>
            </a:extLst>
          </p:cNvPr>
          <p:cNvCxnSpPr>
            <a:cxnSpLocks/>
          </p:cNvCxnSpPr>
          <p:nvPr/>
        </p:nvCxnSpPr>
        <p:spPr>
          <a:xfrm>
            <a:off x="7555579" y="2471414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62" name="Straight Connector 5161">
            <a:extLst>
              <a:ext uri="{FF2B5EF4-FFF2-40B4-BE49-F238E27FC236}">
                <a16:creationId xmlns:a16="http://schemas.microsoft.com/office/drawing/2014/main" id="{C8DABE2D-FF9F-47AF-E884-8BD77393A717}"/>
              </a:ext>
            </a:extLst>
          </p:cNvPr>
          <p:cNvCxnSpPr>
            <a:cxnSpLocks/>
          </p:cNvCxnSpPr>
          <p:nvPr/>
        </p:nvCxnSpPr>
        <p:spPr>
          <a:xfrm>
            <a:off x="7511205" y="2471414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63" name="Straight Connector 5162">
            <a:extLst>
              <a:ext uri="{FF2B5EF4-FFF2-40B4-BE49-F238E27FC236}">
                <a16:creationId xmlns:a16="http://schemas.microsoft.com/office/drawing/2014/main" id="{152B414A-EA3E-9CE9-9DB5-A45368722E6C}"/>
              </a:ext>
            </a:extLst>
          </p:cNvPr>
          <p:cNvCxnSpPr>
            <a:cxnSpLocks/>
          </p:cNvCxnSpPr>
          <p:nvPr/>
        </p:nvCxnSpPr>
        <p:spPr>
          <a:xfrm>
            <a:off x="7522299" y="2471414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64" name="Straight Connector 5163">
            <a:extLst>
              <a:ext uri="{FF2B5EF4-FFF2-40B4-BE49-F238E27FC236}">
                <a16:creationId xmlns:a16="http://schemas.microsoft.com/office/drawing/2014/main" id="{498A8963-48DA-781E-B7CB-2571ED4E6275}"/>
              </a:ext>
            </a:extLst>
          </p:cNvPr>
          <p:cNvCxnSpPr>
            <a:cxnSpLocks/>
          </p:cNvCxnSpPr>
          <p:nvPr/>
        </p:nvCxnSpPr>
        <p:spPr>
          <a:xfrm>
            <a:off x="7533393" y="2471414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65" name="Straight Connector 5164">
            <a:extLst>
              <a:ext uri="{FF2B5EF4-FFF2-40B4-BE49-F238E27FC236}">
                <a16:creationId xmlns:a16="http://schemas.microsoft.com/office/drawing/2014/main" id="{240D3DE3-D36A-1133-195E-06DECA1C22D4}"/>
              </a:ext>
            </a:extLst>
          </p:cNvPr>
          <p:cNvCxnSpPr>
            <a:cxnSpLocks/>
          </p:cNvCxnSpPr>
          <p:nvPr/>
        </p:nvCxnSpPr>
        <p:spPr>
          <a:xfrm>
            <a:off x="7544489" y="2471414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66" name="Straight Connector 5165">
            <a:extLst>
              <a:ext uri="{FF2B5EF4-FFF2-40B4-BE49-F238E27FC236}">
                <a16:creationId xmlns:a16="http://schemas.microsoft.com/office/drawing/2014/main" id="{E44758A0-20B5-BDBD-C07D-69DB9C8631C6}"/>
              </a:ext>
            </a:extLst>
          </p:cNvPr>
          <p:cNvCxnSpPr>
            <a:cxnSpLocks/>
          </p:cNvCxnSpPr>
          <p:nvPr/>
        </p:nvCxnSpPr>
        <p:spPr>
          <a:xfrm>
            <a:off x="7427674" y="2435635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67" name="Straight Connector 5166">
            <a:extLst>
              <a:ext uri="{FF2B5EF4-FFF2-40B4-BE49-F238E27FC236}">
                <a16:creationId xmlns:a16="http://schemas.microsoft.com/office/drawing/2014/main" id="{002DB542-31D3-C570-3040-5DB54D58B5EB}"/>
              </a:ext>
            </a:extLst>
          </p:cNvPr>
          <p:cNvCxnSpPr>
            <a:cxnSpLocks/>
          </p:cNvCxnSpPr>
          <p:nvPr/>
        </p:nvCxnSpPr>
        <p:spPr>
          <a:xfrm>
            <a:off x="7383299" y="2435635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68" name="Straight Connector 5167">
            <a:extLst>
              <a:ext uri="{FF2B5EF4-FFF2-40B4-BE49-F238E27FC236}">
                <a16:creationId xmlns:a16="http://schemas.microsoft.com/office/drawing/2014/main" id="{C64A6E0A-F791-6CBC-9E2E-5BC0F2FB7BD7}"/>
              </a:ext>
            </a:extLst>
          </p:cNvPr>
          <p:cNvCxnSpPr>
            <a:cxnSpLocks/>
          </p:cNvCxnSpPr>
          <p:nvPr/>
        </p:nvCxnSpPr>
        <p:spPr>
          <a:xfrm>
            <a:off x="7394394" y="2435635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69" name="Straight Connector 5168">
            <a:extLst>
              <a:ext uri="{FF2B5EF4-FFF2-40B4-BE49-F238E27FC236}">
                <a16:creationId xmlns:a16="http://schemas.microsoft.com/office/drawing/2014/main" id="{6F013401-8E2E-1218-C842-022DB9620682}"/>
              </a:ext>
            </a:extLst>
          </p:cNvPr>
          <p:cNvCxnSpPr>
            <a:cxnSpLocks/>
          </p:cNvCxnSpPr>
          <p:nvPr/>
        </p:nvCxnSpPr>
        <p:spPr>
          <a:xfrm>
            <a:off x="7405486" y="2435635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70" name="Straight Connector 5169">
            <a:extLst>
              <a:ext uri="{FF2B5EF4-FFF2-40B4-BE49-F238E27FC236}">
                <a16:creationId xmlns:a16="http://schemas.microsoft.com/office/drawing/2014/main" id="{CB729205-3845-B756-9580-5B309883DAD3}"/>
              </a:ext>
            </a:extLst>
          </p:cNvPr>
          <p:cNvCxnSpPr>
            <a:cxnSpLocks/>
          </p:cNvCxnSpPr>
          <p:nvPr/>
        </p:nvCxnSpPr>
        <p:spPr>
          <a:xfrm>
            <a:off x="7416582" y="2435635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71" name="Straight Connector 5170">
            <a:extLst>
              <a:ext uri="{FF2B5EF4-FFF2-40B4-BE49-F238E27FC236}">
                <a16:creationId xmlns:a16="http://schemas.microsoft.com/office/drawing/2014/main" id="{D618ADFC-958D-9EBB-0FD7-5DBFE5827E92}"/>
              </a:ext>
            </a:extLst>
          </p:cNvPr>
          <p:cNvCxnSpPr>
            <a:cxnSpLocks/>
          </p:cNvCxnSpPr>
          <p:nvPr/>
        </p:nvCxnSpPr>
        <p:spPr>
          <a:xfrm>
            <a:off x="7637122" y="2497208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72" name="Straight Connector 5171">
            <a:extLst>
              <a:ext uri="{FF2B5EF4-FFF2-40B4-BE49-F238E27FC236}">
                <a16:creationId xmlns:a16="http://schemas.microsoft.com/office/drawing/2014/main" id="{08527E11-507E-88E3-D5CE-370B7ADFA81E}"/>
              </a:ext>
            </a:extLst>
          </p:cNvPr>
          <p:cNvCxnSpPr>
            <a:cxnSpLocks/>
          </p:cNvCxnSpPr>
          <p:nvPr/>
        </p:nvCxnSpPr>
        <p:spPr>
          <a:xfrm>
            <a:off x="7592746" y="2497208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73" name="Straight Connector 5172">
            <a:extLst>
              <a:ext uri="{FF2B5EF4-FFF2-40B4-BE49-F238E27FC236}">
                <a16:creationId xmlns:a16="http://schemas.microsoft.com/office/drawing/2014/main" id="{F3A3DAE4-B308-CAAE-E24F-59F70EF73AB2}"/>
              </a:ext>
            </a:extLst>
          </p:cNvPr>
          <p:cNvCxnSpPr>
            <a:cxnSpLocks/>
          </p:cNvCxnSpPr>
          <p:nvPr/>
        </p:nvCxnSpPr>
        <p:spPr>
          <a:xfrm>
            <a:off x="7603842" y="2497208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74" name="Straight Connector 5173">
            <a:extLst>
              <a:ext uri="{FF2B5EF4-FFF2-40B4-BE49-F238E27FC236}">
                <a16:creationId xmlns:a16="http://schemas.microsoft.com/office/drawing/2014/main" id="{7AC6F903-167D-9977-972A-7C924567D121}"/>
              </a:ext>
            </a:extLst>
          </p:cNvPr>
          <p:cNvCxnSpPr>
            <a:cxnSpLocks/>
          </p:cNvCxnSpPr>
          <p:nvPr/>
        </p:nvCxnSpPr>
        <p:spPr>
          <a:xfrm>
            <a:off x="7614934" y="2497208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75" name="Straight Connector 5174">
            <a:extLst>
              <a:ext uri="{FF2B5EF4-FFF2-40B4-BE49-F238E27FC236}">
                <a16:creationId xmlns:a16="http://schemas.microsoft.com/office/drawing/2014/main" id="{1648A59F-3451-8EDD-D696-E75E16396406}"/>
              </a:ext>
            </a:extLst>
          </p:cNvPr>
          <p:cNvCxnSpPr>
            <a:cxnSpLocks/>
          </p:cNvCxnSpPr>
          <p:nvPr/>
        </p:nvCxnSpPr>
        <p:spPr>
          <a:xfrm>
            <a:off x="7626030" y="2497208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76" name="Straight Connector 5175">
            <a:extLst>
              <a:ext uri="{FF2B5EF4-FFF2-40B4-BE49-F238E27FC236}">
                <a16:creationId xmlns:a16="http://schemas.microsoft.com/office/drawing/2014/main" id="{C0F6BB4F-279C-7FA0-E21B-5C75651A64AC}"/>
              </a:ext>
            </a:extLst>
          </p:cNvPr>
          <p:cNvCxnSpPr>
            <a:cxnSpLocks/>
          </p:cNvCxnSpPr>
          <p:nvPr/>
        </p:nvCxnSpPr>
        <p:spPr>
          <a:xfrm>
            <a:off x="7234259" y="2383705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77" name="Straight Connector 5176">
            <a:extLst>
              <a:ext uri="{FF2B5EF4-FFF2-40B4-BE49-F238E27FC236}">
                <a16:creationId xmlns:a16="http://schemas.microsoft.com/office/drawing/2014/main" id="{224B9AC9-A959-49A8-CE94-5D8921AB75E1}"/>
              </a:ext>
            </a:extLst>
          </p:cNvPr>
          <p:cNvCxnSpPr>
            <a:cxnSpLocks/>
          </p:cNvCxnSpPr>
          <p:nvPr/>
        </p:nvCxnSpPr>
        <p:spPr>
          <a:xfrm>
            <a:off x="7189883" y="2383705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78" name="Straight Connector 5177">
            <a:extLst>
              <a:ext uri="{FF2B5EF4-FFF2-40B4-BE49-F238E27FC236}">
                <a16:creationId xmlns:a16="http://schemas.microsoft.com/office/drawing/2014/main" id="{93CCC1C4-CFD0-3FBC-31C0-679B0A346ACE}"/>
              </a:ext>
            </a:extLst>
          </p:cNvPr>
          <p:cNvCxnSpPr>
            <a:cxnSpLocks/>
          </p:cNvCxnSpPr>
          <p:nvPr/>
        </p:nvCxnSpPr>
        <p:spPr>
          <a:xfrm>
            <a:off x="7200979" y="2383705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79" name="Straight Connector 5178">
            <a:extLst>
              <a:ext uri="{FF2B5EF4-FFF2-40B4-BE49-F238E27FC236}">
                <a16:creationId xmlns:a16="http://schemas.microsoft.com/office/drawing/2014/main" id="{8501A37E-322E-006C-8E77-3BEE2962BDDE}"/>
              </a:ext>
            </a:extLst>
          </p:cNvPr>
          <p:cNvCxnSpPr>
            <a:cxnSpLocks/>
          </p:cNvCxnSpPr>
          <p:nvPr/>
        </p:nvCxnSpPr>
        <p:spPr>
          <a:xfrm>
            <a:off x="7212071" y="2383705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80" name="Straight Connector 5179">
            <a:extLst>
              <a:ext uri="{FF2B5EF4-FFF2-40B4-BE49-F238E27FC236}">
                <a16:creationId xmlns:a16="http://schemas.microsoft.com/office/drawing/2014/main" id="{0239B4FD-3973-A2D2-4776-66016DF540B3}"/>
              </a:ext>
            </a:extLst>
          </p:cNvPr>
          <p:cNvCxnSpPr>
            <a:cxnSpLocks/>
          </p:cNvCxnSpPr>
          <p:nvPr/>
        </p:nvCxnSpPr>
        <p:spPr>
          <a:xfrm>
            <a:off x="7223167" y="2383705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81" name="Straight Connector 5180">
            <a:extLst>
              <a:ext uri="{FF2B5EF4-FFF2-40B4-BE49-F238E27FC236}">
                <a16:creationId xmlns:a16="http://schemas.microsoft.com/office/drawing/2014/main" id="{6D5DE037-0D39-1FA0-B86A-2C69792683F5}"/>
              </a:ext>
            </a:extLst>
          </p:cNvPr>
          <p:cNvCxnSpPr>
            <a:cxnSpLocks/>
          </p:cNvCxnSpPr>
          <p:nvPr/>
        </p:nvCxnSpPr>
        <p:spPr>
          <a:xfrm>
            <a:off x="7168741" y="2364074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82" name="Straight Connector 5181">
            <a:extLst>
              <a:ext uri="{FF2B5EF4-FFF2-40B4-BE49-F238E27FC236}">
                <a16:creationId xmlns:a16="http://schemas.microsoft.com/office/drawing/2014/main" id="{98BAB287-EBC1-FEAC-A94E-D6473AF993F0}"/>
              </a:ext>
            </a:extLst>
          </p:cNvPr>
          <p:cNvCxnSpPr>
            <a:cxnSpLocks/>
          </p:cNvCxnSpPr>
          <p:nvPr/>
        </p:nvCxnSpPr>
        <p:spPr>
          <a:xfrm>
            <a:off x="7124366" y="2364074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83" name="Straight Connector 5182">
            <a:extLst>
              <a:ext uri="{FF2B5EF4-FFF2-40B4-BE49-F238E27FC236}">
                <a16:creationId xmlns:a16="http://schemas.microsoft.com/office/drawing/2014/main" id="{CA87CD65-CD45-36B8-2E1A-C7D012BBDECF}"/>
              </a:ext>
            </a:extLst>
          </p:cNvPr>
          <p:cNvCxnSpPr>
            <a:cxnSpLocks/>
          </p:cNvCxnSpPr>
          <p:nvPr/>
        </p:nvCxnSpPr>
        <p:spPr>
          <a:xfrm>
            <a:off x="7135461" y="2364074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84" name="Straight Connector 5183">
            <a:extLst>
              <a:ext uri="{FF2B5EF4-FFF2-40B4-BE49-F238E27FC236}">
                <a16:creationId xmlns:a16="http://schemas.microsoft.com/office/drawing/2014/main" id="{500A08D3-98E8-B33C-C75B-EE6DE5BD7094}"/>
              </a:ext>
            </a:extLst>
          </p:cNvPr>
          <p:cNvCxnSpPr>
            <a:cxnSpLocks/>
          </p:cNvCxnSpPr>
          <p:nvPr/>
        </p:nvCxnSpPr>
        <p:spPr>
          <a:xfrm>
            <a:off x="7146553" y="2364074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85" name="Straight Connector 5184">
            <a:extLst>
              <a:ext uri="{FF2B5EF4-FFF2-40B4-BE49-F238E27FC236}">
                <a16:creationId xmlns:a16="http://schemas.microsoft.com/office/drawing/2014/main" id="{A24E284F-35A0-7DEE-CE39-6C7A1FC11EDC}"/>
              </a:ext>
            </a:extLst>
          </p:cNvPr>
          <p:cNvCxnSpPr>
            <a:cxnSpLocks/>
          </p:cNvCxnSpPr>
          <p:nvPr/>
        </p:nvCxnSpPr>
        <p:spPr>
          <a:xfrm>
            <a:off x="7157649" y="2364074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86" name="Straight Connector 5185">
            <a:extLst>
              <a:ext uri="{FF2B5EF4-FFF2-40B4-BE49-F238E27FC236}">
                <a16:creationId xmlns:a16="http://schemas.microsoft.com/office/drawing/2014/main" id="{F84C9D41-9B97-1FAC-22AF-4ECAF8FDE22A}"/>
              </a:ext>
            </a:extLst>
          </p:cNvPr>
          <p:cNvCxnSpPr>
            <a:cxnSpLocks/>
          </p:cNvCxnSpPr>
          <p:nvPr/>
        </p:nvCxnSpPr>
        <p:spPr>
          <a:xfrm>
            <a:off x="7103229" y="2328295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87" name="Straight Connector 5186">
            <a:extLst>
              <a:ext uri="{FF2B5EF4-FFF2-40B4-BE49-F238E27FC236}">
                <a16:creationId xmlns:a16="http://schemas.microsoft.com/office/drawing/2014/main" id="{53FBBDDF-EAAA-F824-C5FC-76C76A24C7B8}"/>
              </a:ext>
            </a:extLst>
          </p:cNvPr>
          <p:cNvCxnSpPr>
            <a:cxnSpLocks/>
          </p:cNvCxnSpPr>
          <p:nvPr/>
        </p:nvCxnSpPr>
        <p:spPr>
          <a:xfrm>
            <a:off x="7058852" y="2328295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88" name="Straight Connector 5187">
            <a:extLst>
              <a:ext uri="{FF2B5EF4-FFF2-40B4-BE49-F238E27FC236}">
                <a16:creationId xmlns:a16="http://schemas.microsoft.com/office/drawing/2014/main" id="{198C3D28-CC44-AC25-DB57-2E063DF86D50}"/>
              </a:ext>
            </a:extLst>
          </p:cNvPr>
          <p:cNvCxnSpPr>
            <a:cxnSpLocks/>
          </p:cNvCxnSpPr>
          <p:nvPr/>
        </p:nvCxnSpPr>
        <p:spPr>
          <a:xfrm>
            <a:off x="7069947" y="2328295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89" name="Straight Connector 5188">
            <a:extLst>
              <a:ext uri="{FF2B5EF4-FFF2-40B4-BE49-F238E27FC236}">
                <a16:creationId xmlns:a16="http://schemas.microsoft.com/office/drawing/2014/main" id="{6FBAD4BB-4DC6-E255-70C9-99A22108D6A9}"/>
              </a:ext>
            </a:extLst>
          </p:cNvPr>
          <p:cNvCxnSpPr>
            <a:cxnSpLocks/>
          </p:cNvCxnSpPr>
          <p:nvPr/>
        </p:nvCxnSpPr>
        <p:spPr>
          <a:xfrm>
            <a:off x="7081039" y="2328295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90" name="Straight Connector 5189">
            <a:extLst>
              <a:ext uri="{FF2B5EF4-FFF2-40B4-BE49-F238E27FC236}">
                <a16:creationId xmlns:a16="http://schemas.microsoft.com/office/drawing/2014/main" id="{E9F72C56-6344-8494-69A9-3EF4B0A55796}"/>
              </a:ext>
            </a:extLst>
          </p:cNvPr>
          <p:cNvCxnSpPr>
            <a:cxnSpLocks/>
          </p:cNvCxnSpPr>
          <p:nvPr/>
        </p:nvCxnSpPr>
        <p:spPr>
          <a:xfrm>
            <a:off x="7092135" y="2328295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91" name="Straight Connector 5190">
            <a:extLst>
              <a:ext uri="{FF2B5EF4-FFF2-40B4-BE49-F238E27FC236}">
                <a16:creationId xmlns:a16="http://schemas.microsoft.com/office/drawing/2014/main" id="{D0B5377C-D697-D2AA-94ED-ECF5BD649BDD}"/>
              </a:ext>
            </a:extLst>
          </p:cNvPr>
          <p:cNvCxnSpPr>
            <a:cxnSpLocks/>
          </p:cNvCxnSpPr>
          <p:nvPr/>
        </p:nvCxnSpPr>
        <p:spPr>
          <a:xfrm>
            <a:off x="7051818" y="2293365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92" name="Straight Connector 5191">
            <a:extLst>
              <a:ext uri="{FF2B5EF4-FFF2-40B4-BE49-F238E27FC236}">
                <a16:creationId xmlns:a16="http://schemas.microsoft.com/office/drawing/2014/main" id="{2DCB643A-8666-3F0C-7EB4-539D1781DFD7}"/>
              </a:ext>
            </a:extLst>
          </p:cNvPr>
          <p:cNvCxnSpPr>
            <a:cxnSpLocks/>
          </p:cNvCxnSpPr>
          <p:nvPr/>
        </p:nvCxnSpPr>
        <p:spPr>
          <a:xfrm>
            <a:off x="7007443" y="2293365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93" name="Straight Connector 5192">
            <a:extLst>
              <a:ext uri="{FF2B5EF4-FFF2-40B4-BE49-F238E27FC236}">
                <a16:creationId xmlns:a16="http://schemas.microsoft.com/office/drawing/2014/main" id="{6E9F78F3-0D39-C33A-D8D5-EC9A27DDAC5C}"/>
              </a:ext>
            </a:extLst>
          </p:cNvPr>
          <p:cNvCxnSpPr>
            <a:cxnSpLocks/>
          </p:cNvCxnSpPr>
          <p:nvPr/>
        </p:nvCxnSpPr>
        <p:spPr>
          <a:xfrm>
            <a:off x="7018537" y="2293365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94" name="Straight Connector 5193">
            <a:extLst>
              <a:ext uri="{FF2B5EF4-FFF2-40B4-BE49-F238E27FC236}">
                <a16:creationId xmlns:a16="http://schemas.microsoft.com/office/drawing/2014/main" id="{9C4A407A-D8C5-6561-2583-B312FDCA8EE1}"/>
              </a:ext>
            </a:extLst>
          </p:cNvPr>
          <p:cNvCxnSpPr>
            <a:cxnSpLocks/>
          </p:cNvCxnSpPr>
          <p:nvPr/>
        </p:nvCxnSpPr>
        <p:spPr>
          <a:xfrm>
            <a:off x="7029631" y="2293365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95" name="Straight Connector 5194">
            <a:extLst>
              <a:ext uri="{FF2B5EF4-FFF2-40B4-BE49-F238E27FC236}">
                <a16:creationId xmlns:a16="http://schemas.microsoft.com/office/drawing/2014/main" id="{836028DE-BD54-50EF-8885-597CF79991C6}"/>
              </a:ext>
            </a:extLst>
          </p:cNvPr>
          <p:cNvCxnSpPr>
            <a:cxnSpLocks/>
          </p:cNvCxnSpPr>
          <p:nvPr/>
        </p:nvCxnSpPr>
        <p:spPr>
          <a:xfrm>
            <a:off x="7040725" y="2293365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96" name="Straight Connector 5195">
            <a:extLst>
              <a:ext uri="{FF2B5EF4-FFF2-40B4-BE49-F238E27FC236}">
                <a16:creationId xmlns:a16="http://schemas.microsoft.com/office/drawing/2014/main" id="{4BCEBD64-6DAC-5990-57CC-0FFEDADA5448}"/>
              </a:ext>
            </a:extLst>
          </p:cNvPr>
          <p:cNvCxnSpPr>
            <a:cxnSpLocks/>
          </p:cNvCxnSpPr>
          <p:nvPr/>
        </p:nvCxnSpPr>
        <p:spPr>
          <a:xfrm>
            <a:off x="8001940" y="2576777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97" name="Straight Connector 5196">
            <a:extLst>
              <a:ext uri="{FF2B5EF4-FFF2-40B4-BE49-F238E27FC236}">
                <a16:creationId xmlns:a16="http://schemas.microsoft.com/office/drawing/2014/main" id="{CC4DC4CD-7A62-C912-6002-C99F6AE2F9F8}"/>
              </a:ext>
            </a:extLst>
          </p:cNvPr>
          <p:cNvCxnSpPr>
            <a:cxnSpLocks/>
          </p:cNvCxnSpPr>
          <p:nvPr/>
        </p:nvCxnSpPr>
        <p:spPr>
          <a:xfrm>
            <a:off x="7989595" y="2574082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98" name="Straight Connector 5197">
            <a:extLst>
              <a:ext uri="{FF2B5EF4-FFF2-40B4-BE49-F238E27FC236}">
                <a16:creationId xmlns:a16="http://schemas.microsoft.com/office/drawing/2014/main" id="{3165A2E4-4DD9-ADDF-9B61-D1B684A33E25}"/>
              </a:ext>
            </a:extLst>
          </p:cNvPr>
          <p:cNvCxnSpPr>
            <a:cxnSpLocks/>
          </p:cNvCxnSpPr>
          <p:nvPr/>
        </p:nvCxnSpPr>
        <p:spPr>
          <a:xfrm>
            <a:off x="7930395" y="2557489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99" name="Straight Connector 5198">
            <a:extLst>
              <a:ext uri="{FF2B5EF4-FFF2-40B4-BE49-F238E27FC236}">
                <a16:creationId xmlns:a16="http://schemas.microsoft.com/office/drawing/2014/main" id="{AE3381E3-44AB-F242-F75B-2ECAE4FC4AB7}"/>
              </a:ext>
            </a:extLst>
          </p:cNvPr>
          <p:cNvCxnSpPr>
            <a:cxnSpLocks/>
          </p:cNvCxnSpPr>
          <p:nvPr/>
        </p:nvCxnSpPr>
        <p:spPr>
          <a:xfrm>
            <a:off x="7921763" y="2551526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00" name="Straight Connector 5199">
            <a:extLst>
              <a:ext uri="{FF2B5EF4-FFF2-40B4-BE49-F238E27FC236}">
                <a16:creationId xmlns:a16="http://schemas.microsoft.com/office/drawing/2014/main" id="{E32A4934-C505-07C3-BCC6-1FCCC6F1DB58}"/>
              </a:ext>
            </a:extLst>
          </p:cNvPr>
          <p:cNvCxnSpPr>
            <a:cxnSpLocks/>
          </p:cNvCxnSpPr>
          <p:nvPr/>
        </p:nvCxnSpPr>
        <p:spPr>
          <a:xfrm>
            <a:off x="7736313" y="2534934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01" name="Straight Connector 5200">
            <a:extLst>
              <a:ext uri="{FF2B5EF4-FFF2-40B4-BE49-F238E27FC236}">
                <a16:creationId xmlns:a16="http://schemas.microsoft.com/office/drawing/2014/main" id="{B2D42E9F-E2F1-CF7F-BECE-A5F1986680D8}"/>
              </a:ext>
            </a:extLst>
          </p:cNvPr>
          <p:cNvCxnSpPr>
            <a:cxnSpLocks/>
          </p:cNvCxnSpPr>
          <p:nvPr/>
        </p:nvCxnSpPr>
        <p:spPr>
          <a:xfrm>
            <a:off x="7727567" y="2528743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02" name="Straight Connector 5201">
            <a:extLst>
              <a:ext uri="{FF2B5EF4-FFF2-40B4-BE49-F238E27FC236}">
                <a16:creationId xmlns:a16="http://schemas.microsoft.com/office/drawing/2014/main" id="{262E4649-E0BD-A763-D82D-16F4DD388A47}"/>
              </a:ext>
            </a:extLst>
          </p:cNvPr>
          <p:cNvCxnSpPr>
            <a:cxnSpLocks/>
          </p:cNvCxnSpPr>
          <p:nvPr/>
        </p:nvCxnSpPr>
        <p:spPr>
          <a:xfrm>
            <a:off x="7656078" y="2512249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03" name="Straight Connector 5202">
            <a:extLst>
              <a:ext uri="{FF2B5EF4-FFF2-40B4-BE49-F238E27FC236}">
                <a16:creationId xmlns:a16="http://schemas.microsoft.com/office/drawing/2014/main" id="{F62600D4-B47D-07D9-A8F3-D11D66E5F558}"/>
              </a:ext>
            </a:extLst>
          </p:cNvPr>
          <p:cNvCxnSpPr>
            <a:cxnSpLocks/>
          </p:cNvCxnSpPr>
          <p:nvPr/>
        </p:nvCxnSpPr>
        <p:spPr>
          <a:xfrm>
            <a:off x="7649229" y="2507195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04" name="Straight Connector 5203">
            <a:extLst>
              <a:ext uri="{FF2B5EF4-FFF2-40B4-BE49-F238E27FC236}">
                <a16:creationId xmlns:a16="http://schemas.microsoft.com/office/drawing/2014/main" id="{C6FA2FF5-97E9-D7E4-0006-AED641F4613F}"/>
              </a:ext>
            </a:extLst>
          </p:cNvPr>
          <p:cNvCxnSpPr>
            <a:cxnSpLocks/>
          </p:cNvCxnSpPr>
          <p:nvPr/>
        </p:nvCxnSpPr>
        <p:spPr>
          <a:xfrm>
            <a:off x="7585797" y="2494152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05" name="Straight Connector 5204">
            <a:extLst>
              <a:ext uri="{FF2B5EF4-FFF2-40B4-BE49-F238E27FC236}">
                <a16:creationId xmlns:a16="http://schemas.microsoft.com/office/drawing/2014/main" id="{E8A63C80-5450-37ED-F851-8770A4A3E73C}"/>
              </a:ext>
            </a:extLst>
          </p:cNvPr>
          <p:cNvCxnSpPr>
            <a:cxnSpLocks/>
          </p:cNvCxnSpPr>
          <p:nvPr/>
        </p:nvCxnSpPr>
        <p:spPr>
          <a:xfrm>
            <a:off x="7576377" y="2489789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06" name="Straight Connector 5205">
            <a:extLst>
              <a:ext uri="{FF2B5EF4-FFF2-40B4-BE49-F238E27FC236}">
                <a16:creationId xmlns:a16="http://schemas.microsoft.com/office/drawing/2014/main" id="{A00B01CA-788F-CFBF-6213-74C853289BC3}"/>
              </a:ext>
            </a:extLst>
          </p:cNvPr>
          <p:cNvCxnSpPr>
            <a:cxnSpLocks/>
          </p:cNvCxnSpPr>
          <p:nvPr/>
        </p:nvCxnSpPr>
        <p:spPr>
          <a:xfrm>
            <a:off x="7565948" y="2480952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07" name="Straight Connector 5206">
            <a:extLst>
              <a:ext uri="{FF2B5EF4-FFF2-40B4-BE49-F238E27FC236}">
                <a16:creationId xmlns:a16="http://schemas.microsoft.com/office/drawing/2014/main" id="{9975CF79-2C55-5224-6690-8005E1396976}"/>
              </a:ext>
            </a:extLst>
          </p:cNvPr>
          <p:cNvCxnSpPr>
            <a:cxnSpLocks/>
          </p:cNvCxnSpPr>
          <p:nvPr/>
        </p:nvCxnSpPr>
        <p:spPr>
          <a:xfrm>
            <a:off x="7444575" y="2451396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08" name="Straight Connector 5207">
            <a:extLst>
              <a:ext uri="{FF2B5EF4-FFF2-40B4-BE49-F238E27FC236}">
                <a16:creationId xmlns:a16="http://schemas.microsoft.com/office/drawing/2014/main" id="{B93C2162-90C3-498A-FFF0-E0F6B3958D2F}"/>
              </a:ext>
            </a:extLst>
          </p:cNvPr>
          <p:cNvCxnSpPr>
            <a:cxnSpLocks/>
          </p:cNvCxnSpPr>
          <p:nvPr/>
        </p:nvCxnSpPr>
        <p:spPr>
          <a:xfrm>
            <a:off x="7437808" y="2445520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09" name="Straight Connector 5208">
            <a:extLst>
              <a:ext uri="{FF2B5EF4-FFF2-40B4-BE49-F238E27FC236}">
                <a16:creationId xmlns:a16="http://schemas.microsoft.com/office/drawing/2014/main" id="{683C8CA5-C1F7-CF87-ACA2-EAE3058D9006}"/>
              </a:ext>
            </a:extLst>
          </p:cNvPr>
          <p:cNvCxnSpPr>
            <a:cxnSpLocks/>
          </p:cNvCxnSpPr>
          <p:nvPr/>
        </p:nvCxnSpPr>
        <p:spPr>
          <a:xfrm>
            <a:off x="7365919" y="2420878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10" name="Straight Connector 5209">
            <a:extLst>
              <a:ext uri="{FF2B5EF4-FFF2-40B4-BE49-F238E27FC236}">
                <a16:creationId xmlns:a16="http://schemas.microsoft.com/office/drawing/2014/main" id="{995DEF8D-4B3E-E49B-05AB-AA47FA11A843}"/>
              </a:ext>
            </a:extLst>
          </p:cNvPr>
          <p:cNvCxnSpPr>
            <a:cxnSpLocks/>
          </p:cNvCxnSpPr>
          <p:nvPr/>
        </p:nvCxnSpPr>
        <p:spPr>
          <a:xfrm>
            <a:off x="7371135" y="2429225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11" name="Straight Connector 5210">
            <a:extLst>
              <a:ext uri="{FF2B5EF4-FFF2-40B4-BE49-F238E27FC236}">
                <a16:creationId xmlns:a16="http://schemas.microsoft.com/office/drawing/2014/main" id="{FC30E009-BF40-D65C-261E-B623FE5B4797}"/>
              </a:ext>
            </a:extLst>
          </p:cNvPr>
          <p:cNvCxnSpPr>
            <a:cxnSpLocks/>
          </p:cNvCxnSpPr>
          <p:nvPr/>
        </p:nvCxnSpPr>
        <p:spPr>
          <a:xfrm>
            <a:off x="7245664" y="2397974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12" name="Straight Connector 5211">
            <a:extLst>
              <a:ext uri="{FF2B5EF4-FFF2-40B4-BE49-F238E27FC236}">
                <a16:creationId xmlns:a16="http://schemas.microsoft.com/office/drawing/2014/main" id="{0A018416-19ED-F39C-2572-9F0703FF3BBB}"/>
              </a:ext>
            </a:extLst>
          </p:cNvPr>
          <p:cNvCxnSpPr>
            <a:cxnSpLocks/>
          </p:cNvCxnSpPr>
          <p:nvPr/>
        </p:nvCxnSpPr>
        <p:spPr>
          <a:xfrm>
            <a:off x="7180601" y="2373230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13" name="Straight Connector 5212">
            <a:extLst>
              <a:ext uri="{FF2B5EF4-FFF2-40B4-BE49-F238E27FC236}">
                <a16:creationId xmlns:a16="http://schemas.microsoft.com/office/drawing/2014/main" id="{A620A89D-AFEC-8B13-769D-8FAA62518A9E}"/>
              </a:ext>
            </a:extLst>
          </p:cNvPr>
          <p:cNvCxnSpPr>
            <a:cxnSpLocks/>
          </p:cNvCxnSpPr>
          <p:nvPr/>
        </p:nvCxnSpPr>
        <p:spPr>
          <a:xfrm>
            <a:off x="7117415" y="2357425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14" name="Straight Connector 5213">
            <a:extLst>
              <a:ext uri="{FF2B5EF4-FFF2-40B4-BE49-F238E27FC236}">
                <a16:creationId xmlns:a16="http://schemas.microsoft.com/office/drawing/2014/main" id="{EDF47D03-C133-A595-AF13-BBDE4B11395B}"/>
              </a:ext>
            </a:extLst>
          </p:cNvPr>
          <p:cNvCxnSpPr>
            <a:cxnSpLocks/>
          </p:cNvCxnSpPr>
          <p:nvPr/>
        </p:nvCxnSpPr>
        <p:spPr>
          <a:xfrm>
            <a:off x="7114608" y="2347285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15" name="Straight Connector 5214">
            <a:extLst>
              <a:ext uri="{FF2B5EF4-FFF2-40B4-BE49-F238E27FC236}">
                <a16:creationId xmlns:a16="http://schemas.microsoft.com/office/drawing/2014/main" id="{F5901BA4-6673-0F85-B4A3-831AB1292FF1}"/>
              </a:ext>
            </a:extLst>
          </p:cNvPr>
          <p:cNvCxnSpPr>
            <a:cxnSpLocks/>
          </p:cNvCxnSpPr>
          <p:nvPr/>
        </p:nvCxnSpPr>
        <p:spPr>
          <a:xfrm>
            <a:off x="7010918" y="2281460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16" name="Straight Connector 5215">
            <a:extLst>
              <a:ext uri="{FF2B5EF4-FFF2-40B4-BE49-F238E27FC236}">
                <a16:creationId xmlns:a16="http://schemas.microsoft.com/office/drawing/2014/main" id="{79416A09-5144-E30D-75A4-98C5FD477B3F}"/>
              </a:ext>
            </a:extLst>
          </p:cNvPr>
          <p:cNvCxnSpPr>
            <a:cxnSpLocks/>
          </p:cNvCxnSpPr>
          <p:nvPr/>
        </p:nvCxnSpPr>
        <p:spPr>
          <a:xfrm>
            <a:off x="7001172" y="2257437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17" name="Straight Connector 5216">
            <a:extLst>
              <a:ext uri="{FF2B5EF4-FFF2-40B4-BE49-F238E27FC236}">
                <a16:creationId xmlns:a16="http://schemas.microsoft.com/office/drawing/2014/main" id="{6D1B4C38-F203-F966-CE64-490E08261E66}"/>
              </a:ext>
            </a:extLst>
          </p:cNvPr>
          <p:cNvCxnSpPr>
            <a:cxnSpLocks/>
          </p:cNvCxnSpPr>
          <p:nvPr/>
        </p:nvCxnSpPr>
        <p:spPr>
          <a:xfrm>
            <a:off x="6956796" y="2257437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18" name="Straight Connector 5217">
            <a:extLst>
              <a:ext uri="{FF2B5EF4-FFF2-40B4-BE49-F238E27FC236}">
                <a16:creationId xmlns:a16="http://schemas.microsoft.com/office/drawing/2014/main" id="{9ACEDBF9-0DFF-0FC9-CED3-F2FA7DE693BB}"/>
              </a:ext>
            </a:extLst>
          </p:cNvPr>
          <p:cNvCxnSpPr>
            <a:cxnSpLocks/>
          </p:cNvCxnSpPr>
          <p:nvPr/>
        </p:nvCxnSpPr>
        <p:spPr>
          <a:xfrm>
            <a:off x="6967892" y="2257437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19" name="Straight Connector 5218">
            <a:extLst>
              <a:ext uri="{FF2B5EF4-FFF2-40B4-BE49-F238E27FC236}">
                <a16:creationId xmlns:a16="http://schemas.microsoft.com/office/drawing/2014/main" id="{BCB044A0-5399-703E-5CD7-7119FF3EFFFC}"/>
              </a:ext>
            </a:extLst>
          </p:cNvPr>
          <p:cNvCxnSpPr>
            <a:cxnSpLocks/>
          </p:cNvCxnSpPr>
          <p:nvPr/>
        </p:nvCxnSpPr>
        <p:spPr>
          <a:xfrm>
            <a:off x="6978984" y="2257437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20" name="Straight Connector 5219">
            <a:extLst>
              <a:ext uri="{FF2B5EF4-FFF2-40B4-BE49-F238E27FC236}">
                <a16:creationId xmlns:a16="http://schemas.microsoft.com/office/drawing/2014/main" id="{17A7CE8C-7B84-3420-FA75-7866C14B6C22}"/>
              </a:ext>
            </a:extLst>
          </p:cNvPr>
          <p:cNvCxnSpPr>
            <a:cxnSpLocks/>
          </p:cNvCxnSpPr>
          <p:nvPr/>
        </p:nvCxnSpPr>
        <p:spPr>
          <a:xfrm>
            <a:off x="6990080" y="2257437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21" name="Straight Connector 5220">
            <a:extLst>
              <a:ext uri="{FF2B5EF4-FFF2-40B4-BE49-F238E27FC236}">
                <a16:creationId xmlns:a16="http://schemas.microsoft.com/office/drawing/2014/main" id="{D20786FD-3CF5-B367-839A-0886E7EDEB84}"/>
              </a:ext>
            </a:extLst>
          </p:cNvPr>
          <p:cNvCxnSpPr>
            <a:cxnSpLocks/>
          </p:cNvCxnSpPr>
          <p:nvPr/>
        </p:nvCxnSpPr>
        <p:spPr>
          <a:xfrm>
            <a:off x="6943295" y="2209903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22" name="Straight Connector 5221">
            <a:extLst>
              <a:ext uri="{FF2B5EF4-FFF2-40B4-BE49-F238E27FC236}">
                <a16:creationId xmlns:a16="http://schemas.microsoft.com/office/drawing/2014/main" id="{F8BE6EBF-7B91-4284-6F66-823CE07B381A}"/>
              </a:ext>
            </a:extLst>
          </p:cNvPr>
          <p:cNvCxnSpPr>
            <a:cxnSpLocks/>
          </p:cNvCxnSpPr>
          <p:nvPr/>
        </p:nvCxnSpPr>
        <p:spPr>
          <a:xfrm>
            <a:off x="6898919" y="2209903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23" name="Straight Connector 5222">
            <a:extLst>
              <a:ext uri="{FF2B5EF4-FFF2-40B4-BE49-F238E27FC236}">
                <a16:creationId xmlns:a16="http://schemas.microsoft.com/office/drawing/2014/main" id="{782B482F-9842-CEC1-0DF3-329F92314B30}"/>
              </a:ext>
            </a:extLst>
          </p:cNvPr>
          <p:cNvCxnSpPr>
            <a:cxnSpLocks/>
          </p:cNvCxnSpPr>
          <p:nvPr/>
        </p:nvCxnSpPr>
        <p:spPr>
          <a:xfrm>
            <a:off x="6910015" y="2209903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24" name="Straight Connector 5223">
            <a:extLst>
              <a:ext uri="{FF2B5EF4-FFF2-40B4-BE49-F238E27FC236}">
                <a16:creationId xmlns:a16="http://schemas.microsoft.com/office/drawing/2014/main" id="{88128F99-EA08-5DBD-98CF-4718BC1000D8}"/>
              </a:ext>
            </a:extLst>
          </p:cNvPr>
          <p:cNvCxnSpPr>
            <a:cxnSpLocks/>
          </p:cNvCxnSpPr>
          <p:nvPr/>
        </p:nvCxnSpPr>
        <p:spPr>
          <a:xfrm>
            <a:off x="6921107" y="2209903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25" name="Straight Connector 5224">
            <a:extLst>
              <a:ext uri="{FF2B5EF4-FFF2-40B4-BE49-F238E27FC236}">
                <a16:creationId xmlns:a16="http://schemas.microsoft.com/office/drawing/2014/main" id="{8FC4F7AB-C592-37B0-942F-975E72E66183}"/>
              </a:ext>
            </a:extLst>
          </p:cNvPr>
          <p:cNvCxnSpPr>
            <a:cxnSpLocks/>
          </p:cNvCxnSpPr>
          <p:nvPr/>
        </p:nvCxnSpPr>
        <p:spPr>
          <a:xfrm>
            <a:off x="6932203" y="2209903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26" name="Straight Connector 5225">
            <a:extLst>
              <a:ext uri="{FF2B5EF4-FFF2-40B4-BE49-F238E27FC236}">
                <a16:creationId xmlns:a16="http://schemas.microsoft.com/office/drawing/2014/main" id="{4ECFCDE5-7616-D0E8-969E-D784050BC4DF}"/>
              </a:ext>
            </a:extLst>
          </p:cNvPr>
          <p:cNvCxnSpPr>
            <a:cxnSpLocks/>
          </p:cNvCxnSpPr>
          <p:nvPr/>
        </p:nvCxnSpPr>
        <p:spPr>
          <a:xfrm>
            <a:off x="6674677" y="2066821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27" name="Straight Connector 5226">
            <a:extLst>
              <a:ext uri="{FF2B5EF4-FFF2-40B4-BE49-F238E27FC236}">
                <a16:creationId xmlns:a16="http://schemas.microsoft.com/office/drawing/2014/main" id="{8FE47617-31DA-B390-60E9-5ABB146DF2B3}"/>
              </a:ext>
            </a:extLst>
          </p:cNvPr>
          <p:cNvCxnSpPr>
            <a:cxnSpLocks/>
          </p:cNvCxnSpPr>
          <p:nvPr/>
        </p:nvCxnSpPr>
        <p:spPr>
          <a:xfrm>
            <a:off x="6630301" y="2066821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28" name="Straight Connector 5227">
            <a:extLst>
              <a:ext uri="{FF2B5EF4-FFF2-40B4-BE49-F238E27FC236}">
                <a16:creationId xmlns:a16="http://schemas.microsoft.com/office/drawing/2014/main" id="{1E69470C-5604-D88A-4CCD-28C2AD199DE4}"/>
              </a:ext>
            </a:extLst>
          </p:cNvPr>
          <p:cNvCxnSpPr>
            <a:cxnSpLocks/>
          </p:cNvCxnSpPr>
          <p:nvPr/>
        </p:nvCxnSpPr>
        <p:spPr>
          <a:xfrm>
            <a:off x="6641395" y="2066821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29" name="Straight Connector 5228">
            <a:extLst>
              <a:ext uri="{FF2B5EF4-FFF2-40B4-BE49-F238E27FC236}">
                <a16:creationId xmlns:a16="http://schemas.microsoft.com/office/drawing/2014/main" id="{6E2F3BDA-39D4-90E6-6463-09C4137AB757}"/>
              </a:ext>
            </a:extLst>
          </p:cNvPr>
          <p:cNvCxnSpPr>
            <a:cxnSpLocks/>
          </p:cNvCxnSpPr>
          <p:nvPr/>
        </p:nvCxnSpPr>
        <p:spPr>
          <a:xfrm>
            <a:off x="6652489" y="2066821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30" name="Straight Connector 5229">
            <a:extLst>
              <a:ext uri="{FF2B5EF4-FFF2-40B4-BE49-F238E27FC236}">
                <a16:creationId xmlns:a16="http://schemas.microsoft.com/office/drawing/2014/main" id="{ACB346A0-3214-E277-7737-578258C697AF}"/>
              </a:ext>
            </a:extLst>
          </p:cNvPr>
          <p:cNvCxnSpPr>
            <a:cxnSpLocks/>
          </p:cNvCxnSpPr>
          <p:nvPr/>
        </p:nvCxnSpPr>
        <p:spPr>
          <a:xfrm>
            <a:off x="6663583" y="2066821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31" name="Straight Connector 5230">
            <a:extLst>
              <a:ext uri="{FF2B5EF4-FFF2-40B4-BE49-F238E27FC236}">
                <a16:creationId xmlns:a16="http://schemas.microsoft.com/office/drawing/2014/main" id="{DDC5321F-9DBA-DFCC-BC3C-4895284043CB}"/>
              </a:ext>
            </a:extLst>
          </p:cNvPr>
          <p:cNvCxnSpPr>
            <a:cxnSpLocks/>
          </p:cNvCxnSpPr>
          <p:nvPr/>
        </p:nvCxnSpPr>
        <p:spPr>
          <a:xfrm>
            <a:off x="6744196" y="2100460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32" name="Straight Connector 5231">
            <a:extLst>
              <a:ext uri="{FF2B5EF4-FFF2-40B4-BE49-F238E27FC236}">
                <a16:creationId xmlns:a16="http://schemas.microsoft.com/office/drawing/2014/main" id="{E922378F-8897-6F64-81FC-4ED89F21E4D4}"/>
              </a:ext>
            </a:extLst>
          </p:cNvPr>
          <p:cNvCxnSpPr>
            <a:cxnSpLocks/>
          </p:cNvCxnSpPr>
          <p:nvPr/>
        </p:nvCxnSpPr>
        <p:spPr>
          <a:xfrm>
            <a:off x="6699820" y="2100460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33" name="Straight Connector 5232">
            <a:extLst>
              <a:ext uri="{FF2B5EF4-FFF2-40B4-BE49-F238E27FC236}">
                <a16:creationId xmlns:a16="http://schemas.microsoft.com/office/drawing/2014/main" id="{40C793FF-18E5-C431-BA29-B3FB5F589E41}"/>
              </a:ext>
            </a:extLst>
          </p:cNvPr>
          <p:cNvCxnSpPr>
            <a:cxnSpLocks/>
          </p:cNvCxnSpPr>
          <p:nvPr/>
        </p:nvCxnSpPr>
        <p:spPr>
          <a:xfrm>
            <a:off x="6710916" y="2100460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34" name="Straight Connector 5233">
            <a:extLst>
              <a:ext uri="{FF2B5EF4-FFF2-40B4-BE49-F238E27FC236}">
                <a16:creationId xmlns:a16="http://schemas.microsoft.com/office/drawing/2014/main" id="{5FB4F193-A559-966C-2AE8-D82A78C6D5C8}"/>
              </a:ext>
            </a:extLst>
          </p:cNvPr>
          <p:cNvCxnSpPr>
            <a:cxnSpLocks/>
          </p:cNvCxnSpPr>
          <p:nvPr/>
        </p:nvCxnSpPr>
        <p:spPr>
          <a:xfrm>
            <a:off x="6722008" y="2100460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35" name="Straight Connector 5234">
            <a:extLst>
              <a:ext uri="{FF2B5EF4-FFF2-40B4-BE49-F238E27FC236}">
                <a16:creationId xmlns:a16="http://schemas.microsoft.com/office/drawing/2014/main" id="{ED6F7759-97E2-8C3A-F059-AA1F24064753}"/>
              </a:ext>
            </a:extLst>
          </p:cNvPr>
          <p:cNvCxnSpPr>
            <a:cxnSpLocks/>
          </p:cNvCxnSpPr>
          <p:nvPr/>
        </p:nvCxnSpPr>
        <p:spPr>
          <a:xfrm>
            <a:off x="6733104" y="2100460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36" name="Straight Connector 5235">
            <a:extLst>
              <a:ext uri="{FF2B5EF4-FFF2-40B4-BE49-F238E27FC236}">
                <a16:creationId xmlns:a16="http://schemas.microsoft.com/office/drawing/2014/main" id="{1A145FDF-CC4C-D953-4AE9-DD50D357EF48}"/>
              </a:ext>
            </a:extLst>
          </p:cNvPr>
          <p:cNvCxnSpPr>
            <a:cxnSpLocks/>
          </p:cNvCxnSpPr>
          <p:nvPr/>
        </p:nvCxnSpPr>
        <p:spPr>
          <a:xfrm>
            <a:off x="6841042" y="2150283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37" name="Straight Connector 5236">
            <a:extLst>
              <a:ext uri="{FF2B5EF4-FFF2-40B4-BE49-F238E27FC236}">
                <a16:creationId xmlns:a16="http://schemas.microsoft.com/office/drawing/2014/main" id="{1644D4BC-9E08-4A60-BC62-99CBC71FBB89}"/>
              </a:ext>
            </a:extLst>
          </p:cNvPr>
          <p:cNvCxnSpPr>
            <a:cxnSpLocks/>
          </p:cNvCxnSpPr>
          <p:nvPr/>
        </p:nvCxnSpPr>
        <p:spPr>
          <a:xfrm>
            <a:off x="6796667" y="2150283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38" name="Straight Connector 5237">
            <a:extLst>
              <a:ext uri="{FF2B5EF4-FFF2-40B4-BE49-F238E27FC236}">
                <a16:creationId xmlns:a16="http://schemas.microsoft.com/office/drawing/2014/main" id="{29DD34EE-8E35-5907-B0E8-7415A1A401B8}"/>
              </a:ext>
            </a:extLst>
          </p:cNvPr>
          <p:cNvCxnSpPr>
            <a:cxnSpLocks/>
          </p:cNvCxnSpPr>
          <p:nvPr/>
        </p:nvCxnSpPr>
        <p:spPr>
          <a:xfrm>
            <a:off x="6807762" y="2150283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39" name="Straight Connector 5238">
            <a:extLst>
              <a:ext uri="{FF2B5EF4-FFF2-40B4-BE49-F238E27FC236}">
                <a16:creationId xmlns:a16="http://schemas.microsoft.com/office/drawing/2014/main" id="{679993D4-3469-8291-4E28-5CF7FACA3F89}"/>
              </a:ext>
            </a:extLst>
          </p:cNvPr>
          <p:cNvCxnSpPr>
            <a:cxnSpLocks/>
          </p:cNvCxnSpPr>
          <p:nvPr/>
        </p:nvCxnSpPr>
        <p:spPr>
          <a:xfrm>
            <a:off x="6818854" y="2150283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40" name="Straight Connector 5239">
            <a:extLst>
              <a:ext uri="{FF2B5EF4-FFF2-40B4-BE49-F238E27FC236}">
                <a16:creationId xmlns:a16="http://schemas.microsoft.com/office/drawing/2014/main" id="{EFC484BA-CE74-648A-D055-93FE75AF0489}"/>
              </a:ext>
            </a:extLst>
          </p:cNvPr>
          <p:cNvCxnSpPr>
            <a:cxnSpLocks/>
          </p:cNvCxnSpPr>
          <p:nvPr/>
        </p:nvCxnSpPr>
        <p:spPr>
          <a:xfrm>
            <a:off x="6829950" y="2150283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41" name="Straight Connector 5240">
            <a:extLst>
              <a:ext uri="{FF2B5EF4-FFF2-40B4-BE49-F238E27FC236}">
                <a16:creationId xmlns:a16="http://schemas.microsoft.com/office/drawing/2014/main" id="{FFA01A5B-9F74-7894-8C08-B3C137CCE78F}"/>
              </a:ext>
            </a:extLst>
          </p:cNvPr>
          <p:cNvCxnSpPr>
            <a:cxnSpLocks/>
          </p:cNvCxnSpPr>
          <p:nvPr/>
        </p:nvCxnSpPr>
        <p:spPr>
          <a:xfrm>
            <a:off x="6798005" y="2126837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42" name="Straight Connector 5241">
            <a:extLst>
              <a:ext uri="{FF2B5EF4-FFF2-40B4-BE49-F238E27FC236}">
                <a16:creationId xmlns:a16="http://schemas.microsoft.com/office/drawing/2014/main" id="{4E86FBCF-B148-E79F-6E4C-23B921C92144}"/>
              </a:ext>
            </a:extLst>
          </p:cNvPr>
          <p:cNvCxnSpPr>
            <a:cxnSpLocks/>
          </p:cNvCxnSpPr>
          <p:nvPr/>
        </p:nvCxnSpPr>
        <p:spPr>
          <a:xfrm>
            <a:off x="6753629" y="2126837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43" name="Straight Connector 5242">
            <a:extLst>
              <a:ext uri="{FF2B5EF4-FFF2-40B4-BE49-F238E27FC236}">
                <a16:creationId xmlns:a16="http://schemas.microsoft.com/office/drawing/2014/main" id="{A972E3F7-7170-D5FD-3B43-A33D28C54B8D}"/>
              </a:ext>
            </a:extLst>
          </p:cNvPr>
          <p:cNvCxnSpPr>
            <a:cxnSpLocks/>
          </p:cNvCxnSpPr>
          <p:nvPr/>
        </p:nvCxnSpPr>
        <p:spPr>
          <a:xfrm>
            <a:off x="6764725" y="2126837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44" name="Straight Connector 5243">
            <a:extLst>
              <a:ext uri="{FF2B5EF4-FFF2-40B4-BE49-F238E27FC236}">
                <a16:creationId xmlns:a16="http://schemas.microsoft.com/office/drawing/2014/main" id="{CDA1ED3F-0D6C-336F-3A6E-30DFE09E2709}"/>
              </a:ext>
            </a:extLst>
          </p:cNvPr>
          <p:cNvCxnSpPr>
            <a:cxnSpLocks/>
          </p:cNvCxnSpPr>
          <p:nvPr/>
        </p:nvCxnSpPr>
        <p:spPr>
          <a:xfrm>
            <a:off x="6775817" y="2126837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45" name="Straight Connector 5244">
            <a:extLst>
              <a:ext uri="{FF2B5EF4-FFF2-40B4-BE49-F238E27FC236}">
                <a16:creationId xmlns:a16="http://schemas.microsoft.com/office/drawing/2014/main" id="{C39B9B84-7C8B-D811-760E-F7ACC89E6C5A}"/>
              </a:ext>
            </a:extLst>
          </p:cNvPr>
          <p:cNvCxnSpPr>
            <a:cxnSpLocks/>
          </p:cNvCxnSpPr>
          <p:nvPr/>
        </p:nvCxnSpPr>
        <p:spPr>
          <a:xfrm>
            <a:off x="6786913" y="2126837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46" name="Straight Connector 5245">
            <a:extLst>
              <a:ext uri="{FF2B5EF4-FFF2-40B4-BE49-F238E27FC236}">
                <a16:creationId xmlns:a16="http://schemas.microsoft.com/office/drawing/2014/main" id="{C89110F3-6B36-A218-A116-8A05A4B55929}"/>
              </a:ext>
            </a:extLst>
          </p:cNvPr>
          <p:cNvCxnSpPr>
            <a:cxnSpLocks/>
          </p:cNvCxnSpPr>
          <p:nvPr/>
        </p:nvCxnSpPr>
        <p:spPr>
          <a:xfrm>
            <a:off x="6891320" y="2177476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47" name="Straight Connector 5246">
            <a:extLst>
              <a:ext uri="{FF2B5EF4-FFF2-40B4-BE49-F238E27FC236}">
                <a16:creationId xmlns:a16="http://schemas.microsoft.com/office/drawing/2014/main" id="{993DA35F-6FA2-C479-5D81-5731A07E7E2B}"/>
              </a:ext>
            </a:extLst>
          </p:cNvPr>
          <p:cNvCxnSpPr>
            <a:cxnSpLocks/>
          </p:cNvCxnSpPr>
          <p:nvPr/>
        </p:nvCxnSpPr>
        <p:spPr>
          <a:xfrm>
            <a:off x="6846946" y="2177476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48" name="Straight Connector 5247">
            <a:extLst>
              <a:ext uri="{FF2B5EF4-FFF2-40B4-BE49-F238E27FC236}">
                <a16:creationId xmlns:a16="http://schemas.microsoft.com/office/drawing/2014/main" id="{88B92A28-D597-1F76-62DE-891F4284AAC7}"/>
              </a:ext>
            </a:extLst>
          </p:cNvPr>
          <p:cNvCxnSpPr>
            <a:cxnSpLocks/>
          </p:cNvCxnSpPr>
          <p:nvPr/>
        </p:nvCxnSpPr>
        <p:spPr>
          <a:xfrm>
            <a:off x="6858040" y="2177476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49" name="Straight Connector 5248">
            <a:extLst>
              <a:ext uri="{FF2B5EF4-FFF2-40B4-BE49-F238E27FC236}">
                <a16:creationId xmlns:a16="http://schemas.microsoft.com/office/drawing/2014/main" id="{60A25508-F312-05D2-4DA5-99D5120E172F}"/>
              </a:ext>
            </a:extLst>
          </p:cNvPr>
          <p:cNvCxnSpPr>
            <a:cxnSpLocks/>
          </p:cNvCxnSpPr>
          <p:nvPr/>
        </p:nvCxnSpPr>
        <p:spPr>
          <a:xfrm>
            <a:off x="6869134" y="2177476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50" name="Straight Connector 5249">
            <a:extLst>
              <a:ext uri="{FF2B5EF4-FFF2-40B4-BE49-F238E27FC236}">
                <a16:creationId xmlns:a16="http://schemas.microsoft.com/office/drawing/2014/main" id="{37E6BC94-BC6D-BED3-5B7C-0FB49E9B6DDB}"/>
              </a:ext>
            </a:extLst>
          </p:cNvPr>
          <p:cNvCxnSpPr>
            <a:cxnSpLocks/>
          </p:cNvCxnSpPr>
          <p:nvPr/>
        </p:nvCxnSpPr>
        <p:spPr>
          <a:xfrm>
            <a:off x="6880229" y="2177476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51" name="Straight Connector 5250">
            <a:extLst>
              <a:ext uri="{FF2B5EF4-FFF2-40B4-BE49-F238E27FC236}">
                <a16:creationId xmlns:a16="http://schemas.microsoft.com/office/drawing/2014/main" id="{A5A26353-B7C5-E6FF-AE2D-A3AFF00D8E2C}"/>
              </a:ext>
            </a:extLst>
          </p:cNvPr>
          <p:cNvCxnSpPr>
            <a:cxnSpLocks/>
          </p:cNvCxnSpPr>
          <p:nvPr/>
        </p:nvCxnSpPr>
        <p:spPr>
          <a:xfrm>
            <a:off x="6605156" y="2041782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52" name="Straight Connector 5251">
            <a:extLst>
              <a:ext uri="{FF2B5EF4-FFF2-40B4-BE49-F238E27FC236}">
                <a16:creationId xmlns:a16="http://schemas.microsoft.com/office/drawing/2014/main" id="{EB355065-8F69-76AB-3407-11A2C2B6673B}"/>
              </a:ext>
            </a:extLst>
          </p:cNvPr>
          <p:cNvCxnSpPr>
            <a:cxnSpLocks/>
          </p:cNvCxnSpPr>
          <p:nvPr/>
        </p:nvCxnSpPr>
        <p:spPr>
          <a:xfrm>
            <a:off x="6560781" y="2041782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53" name="Straight Connector 5252">
            <a:extLst>
              <a:ext uri="{FF2B5EF4-FFF2-40B4-BE49-F238E27FC236}">
                <a16:creationId xmlns:a16="http://schemas.microsoft.com/office/drawing/2014/main" id="{39BAB6C2-46B7-9CA3-6665-A2755E5D1781}"/>
              </a:ext>
            </a:extLst>
          </p:cNvPr>
          <p:cNvCxnSpPr>
            <a:cxnSpLocks/>
          </p:cNvCxnSpPr>
          <p:nvPr/>
        </p:nvCxnSpPr>
        <p:spPr>
          <a:xfrm>
            <a:off x="6571874" y="2041782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54" name="Straight Connector 5253">
            <a:extLst>
              <a:ext uri="{FF2B5EF4-FFF2-40B4-BE49-F238E27FC236}">
                <a16:creationId xmlns:a16="http://schemas.microsoft.com/office/drawing/2014/main" id="{537E0B5E-EC8D-4181-768F-166B825F83D8}"/>
              </a:ext>
            </a:extLst>
          </p:cNvPr>
          <p:cNvCxnSpPr>
            <a:cxnSpLocks/>
          </p:cNvCxnSpPr>
          <p:nvPr/>
        </p:nvCxnSpPr>
        <p:spPr>
          <a:xfrm>
            <a:off x="6582968" y="2041782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55" name="Straight Connector 5254">
            <a:extLst>
              <a:ext uri="{FF2B5EF4-FFF2-40B4-BE49-F238E27FC236}">
                <a16:creationId xmlns:a16="http://schemas.microsoft.com/office/drawing/2014/main" id="{8DDAFAA8-E8E0-690C-352C-A0D931CB3125}"/>
              </a:ext>
            </a:extLst>
          </p:cNvPr>
          <p:cNvCxnSpPr>
            <a:cxnSpLocks/>
          </p:cNvCxnSpPr>
          <p:nvPr/>
        </p:nvCxnSpPr>
        <p:spPr>
          <a:xfrm>
            <a:off x="6594062" y="2041782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56" name="Straight Connector 5255">
            <a:extLst>
              <a:ext uri="{FF2B5EF4-FFF2-40B4-BE49-F238E27FC236}">
                <a16:creationId xmlns:a16="http://schemas.microsoft.com/office/drawing/2014/main" id="{C3DA1F17-B0AC-971B-E0B9-64DCD45268B0}"/>
              </a:ext>
            </a:extLst>
          </p:cNvPr>
          <p:cNvCxnSpPr>
            <a:cxnSpLocks/>
          </p:cNvCxnSpPr>
          <p:nvPr/>
        </p:nvCxnSpPr>
        <p:spPr>
          <a:xfrm>
            <a:off x="6551345" y="2019128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57" name="Straight Connector 5256">
            <a:extLst>
              <a:ext uri="{FF2B5EF4-FFF2-40B4-BE49-F238E27FC236}">
                <a16:creationId xmlns:a16="http://schemas.microsoft.com/office/drawing/2014/main" id="{0899F88C-C031-44F1-5128-69932E76FDAB}"/>
              </a:ext>
            </a:extLst>
          </p:cNvPr>
          <p:cNvCxnSpPr>
            <a:cxnSpLocks/>
          </p:cNvCxnSpPr>
          <p:nvPr/>
        </p:nvCxnSpPr>
        <p:spPr>
          <a:xfrm>
            <a:off x="6506970" y="2019128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58" name="Straight Connector 5257">
            <a:extLst>
              <a:ext uri="{FF2B5EF4-FFF2-40B4-BE49-F238E27FC236}">
                <a16:creationId xmlns:a16="http://schemas.microsoft.com/office/drawing/2014/main" id="{2B65558D-C912-66A7-6A6D-1A9EFB8CBDD3}"/>
              </a:ext>
            </a:extLst>
          </p:cNvPr>
          <p:cNvCxnSpPr>
            <a:cxnSpLocks/>
          </p:cNvCxnSpPr>
          <p:nvPr/>
        </p:nvCxnSpPr>
        <p:spPr>
          <a:xfrm>
            <a:off x="6518065" y="2019128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59" name="Straight Connector 5258">
            <a:extLst>
              <a:ext uri="{FF2B5EF4-FFF2-40B4-BE49-F238E27FC236}">
                <a16:creationId xmlns:a16="http://schemas.microsoft.com/office/drawing/2014/main" id="{19F6C959-7E9D-6F24-0576-6917DE65B356}"/>
              </a:ext>
            </a:extLst>
          </p:cNvPr>
          <p:cNvCxnSpPr>
            <a:cxnSpLocks/>
          </p:cNvCxnSpPr>
          <p:nvPr/>
        </p:nvCxnSpPr>
        <p:spPr>
          <a:xfrm>
            <a:off x="6529157" y="2019128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60" name="Straight Connector 5259">
            <a:extLst>
              <a:ext uri="{FF2B5EF4-FFF2-40B4-BE49-F238E27FC236}">
                <a16:creationId xmlns:a16="http://schemas.microsoft.com/office/drawing/2014/main" id="{1AEBFDAA-5966-ACA7-B58A-85117C6EB8AC}"/>
              </a:ext>
            </a:extLst>
          </p:cNvPr>
          <p:cNvCxnSpPr>
            <a:cxnSpLocks/>
          </p:cNvCxnSpPr>
          <p:nvPr/>
        </p:nvCxnSpPr>
        <p:spPr>
          <a:xfrm>
            <a:off x="6540253" y="2019128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61" name="Straight Connector 5260">
            <a:extLst>
              <a:ext uri="{FF2B5EF4-FFF2-40B4-BE49-F238E27FC236}">
                <a16:creationId xmlns:a16="http://schemas.microsoft.com/office/drawing/2014/main" id="{8E2A8E3B-E4D1-0C15-C348-C4B57E1255CC}"/>
              </a:ext>
            </a:extLst>
          </p:cNvPr>
          <p:cNvCxnSpPr>
            <a:cxnSpLocks/>
          </p:cNvCxnSpPr>
          <p:nvPr/>
        </p:nvCxnSpPr>
        <p:spPr>
          <a:xfrm>
            <a:off x="6505315" y="1994395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62" name="Straight Connector 5261">
            <a:extLst>
              <a:ext uri="{FF2B5EF4-FFF2-40B4-BE49-F238E27FC236}">
                <a16:creationId xmlns:a16="http://schemas.microsoft.com/office/drawing/2014/main" id="{FC6AFDEE-7B1D-48C3-3F3A-1294A91CE78C}"/>
              </a:ext>
            </a:extLst>
          </p:cNvPr>
          <p:cNvCxnSpPr>
            <a:cxnSpLocks/>
          </p:cNvCxnSpPr>
          <p:nvPr/>
        </p:nvCxnSpPr>
        <p:spPr>
          <a:xfrm>
            <a:off x="6460939" y="1994395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63" name="Straight Connector 5262">
            <a:extLst>
              <a:ext uri="{FF2B5EF4-FFF2-40B4-BE49-F238E27FC236}">
                <a16:creationId xmlns:a16="http://schemas.microsoft.com/office/drawing/2014/main" id="{000A2AD7-A854-A8BE-FF6A-0C3ECB8B39F3}"/>
              </a:ext>
            </a:extLst>
          </p:cNvPr>
          <p:cNvCxnSpPr>
            <a:cxnSpLocks/>
          </p:cNvCxnSpPr>
          <p:nvPr/>
        </p:nvCxnSpPr>
        <p:spPr>
          <a:xfrm>
            <a:off x="6472035" y="1994395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64" name="Straight Connector 5263">
            <a:extLst>
              <a:ext uri="{FF2B5EF4-FFF2-40B4-BE49-F238E27FC236}">
                <a16:creationId xmlns:a16="http://schemas.microsoft.com/office/drawing/2014/main" id="{A9FBFD01-C99E-B1A0-1215-93F329E46735}"/>
              </a:ext>
            </a:extLst>
          </p:cNvPr>
          <p:cNvCxnSpPr>
            <a:cxnSpLocks/>
          </p:cNvCxnSpPr>
          <p:nvPr/>
        </p:nvCxnSpPr>
        <p:spPr>
          <a:xfrm>
            <a:off x="6483127" y="1994395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65" name="Straight Connector 5264">
            <a:extLst>
              <a:ext uri="{FF2B5EF4-FFF2-40B4-BE49-F238E27FC236}">
                <a16:creationId xmlns:a16="http://schemas.microsoft.com/office/drawing/2014/main" id="{1DFF4DBD-EFFB-5E21-FA4F-F0F7B4E9B9B7}"/>
              </a:ext>
            </a:extLst>
          </p:cNvPr>
          <p:cNvCxnSpPr>
            <a:cxnSpLocks/>
          </p:cNvCxnSpPr>
          <p:nvPr/>
        </p:nvCxnSpPr>
        <p:spPr>
          <a:xfrm>
            <a:off x="6494223" y="1994395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66" name="Straight Connector 5265">
            <a:extLst>
              <a:ext uri="{FF2B5EF4-FFF2-40B4-BE49-F238E27FC236}">
                <a16:creationId xmlns:a16="http://schemas.microsoft.com/office/drawing/2014/main" id="{51963098-0E78-4EE4-3940-0F1EFC2AD679}"/>
              </a:ext>
            </a:extLst>
          </p:cNvPr>
          <p:cNvCxnSpPr>
            <a:cxnSpLocks/>
          </p:cNvCxnSpPr>
          <p:nvPr/>
        </p:nvCxnSpPr>
        <p:spPr>
          <a:xfrm>
            <a:off x="6430977" y="1960595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67" name="Straight Connector 5266">
            <a:extLst>
              <a:ext uri="{FF2B5EF4-FFF2-40B4-BE49-F238E27FC236}">
                <a16:creationId xmlns:a16="http://schemas.microsoft.com/office/drawing/2014/main" id="{1A17DA9B-42D0-D959-ED76-E34EC8928565}"/>
              </a:ext>
            </a:extLst>
          </p:cNvPr>
          <p:cNvCxnSpPr>
            <a:cxnSpLocks/>
          </p:cNvCxnSpPr>
          <p:nvPr/>
        </p:nvCxnSpPr>
        <p:spPr>
          <a:xfrm>
            <a:off x="6386601" y="1960595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68" name="Straight Connector 5267">
            <a:extLst>
              <a:ext uri="{FF2B5EF4-FFF2-40B4-BE49-F238E27FC236}">
                <a16:creationId xmlns:a16="http://schemas.microsoft.com/office/drawing/2014/main" id="{FED85C47-D92F-AEDE-D532-0F9EECC8EEAB}"/>
              </a:ext>
            </a:extLst>
          </p:cNvPr>
          <p:cNvCxnSpPr>
            <a:cxnSpLocks/>
          </p:cNvCxnSpPr>
          <p:nvPr/>
        </p:nvCxnSpPr>
        <p:spPr>
          <a:xfrm>
            <a:off x="6397695" y="1960595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69" name="Straight Connector 5268">
            <a:extLst>
              <a:ext uri="{FF2B5EF4-FFF2-40B4-BE49-F238E27FC236}">
                <a16:creationId xmlns:a16="http://schemas.microsoft.com/office/drawing/2014/main" id="{540FDDE1-52AB-996F-B70F-9892A574CBE3}"/>
              </a:ext>
            </a:extLst>
          </p:cNvPr>
          <p:cNvCxnSpPr>
            <a:cxnSpLocks/>
          </p:cNvCxnSpPr>
          <p:nvPr/>
        </p:nvCxnSpPr>
        <p:spPr>
          <a:xfrm>
            <a:off x="6408789" y="1960595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70" name="Straight Connector 5269">
            <a:extLst>
              <a:ext uri="{FF2B5EF4-FFF2-40B4-BE49-F238E27FC236}">
                <a16:creationId xmlns:a16="http://schemas.microsoft.com/office/drawing/2014/main" id="{B2BAF472-80C4-73EE-EA45-64B71041CEF1}"/>
              </a:ext>
            </a:extLst>
          </p:cNvPr>
          <p:cNvCxnSpPr>
            <a:cxnSpLocks/>
          </p:cNvCxnSpPr>
          <p:nvPr/>
        </p:nvCxnSpPr>
        <p:spPr>
          <a:xfrm>
            <a:off x="6419883" y="1960595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71" name="Straight Connector 5270">
            <a:extLst>
              <a:ext uri="{FF2B5EF4-FFF2-40B4-BE49-F238E27FC236}">
                <a16:creationId xmlns:a16="http://schemas.microsoft.com/office/drawing/2014/main" id="{D6A13F62-EE7F-A996-9117-C03C69219EE0}"/>
              </a:ext>
            </a:extLst>
          </p:cNvPr>
          <p:cNvCxnSpPr>
            <a:cxnSpLocks/>
          </p:cNvCxnSpPr>
          <p:nvPr/>
        </p:nvCxnSpPr>
        <p:spPr>
          <a:xfrm>
            <a:off x="6956796" y="2232905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72" name="Straight Connector 5271">
            <a:extLst>
              <a:ext uri="{FF2B5EF4-FFF2-40B4-BE49-F238E27FC236}">
                <a16:creationId xmlns:a16="http://schemas.microsoft.com/office/drawing/2014/main" id="{553D0D16-EFBE-63CE-0296-B98D4AEC8827}"/>
              </a:ext>
            </a:extLst>
          </p:cNvPr>
          <p:cNvCxnSpPr>
            <a:cxnSpLocks/>
          </p:cNvCxnSpPr>
          <p:nvPr/>
        </p:nvCxnSpPr>
        <p:spPr>
          <a:xfrm>
            <a:off x="6697405" y="2091057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73" name="Straight Connector 5272">
            <a:extLst>
              <a:ext uri="{FF2B5EF4-FFF2-40B4-BE49-F238E27FC236}">
                <a16:creationId xmlns:a16="http://schemas.microsoft.com/office/drawing/2014/main" id="{67452E1F-1AE8-18C6-DBF7-63FE84F6F0A1}"/>
              </a:ext>
            </a:extLst>
          </p:cNvPr>
          <p:cNvCxnSpPr>
            <a:cxnSpLocks/>
          </p:cNvCxnSpPr>
          <p:nvPr/>
        </p:nvCxnSpPr>
        <p:spPr>
          <a:xfrm>
            <a:off x="6687616" y="2077708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74" name="Straight Connector 5273">
            <a:extLst>
              <a:ext uri="{FF2B5EF4-FFF2-40B4-BE49-F238E27FC236}">
                <a16:creationId xmlns:a16="http://schemas.microsoft.com/office/drawing/2014/main" id="{7796E39F-A387-5D58-6E12-D1026D1263B3}"/>
              </a:ext>
            </a:extLst>
          </p:cNvPr>
          <p:cNvCxnSpPr>
            <a:cxnSpLocks/>
          </p:cNvCxnSpPr>
          <p:nvPr/>
        </p:nvCxnSpPr>
        <p:spPr>
          <a:xfrm>
            <a:off x="6626824" y="2054907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75" name="Straight Connector 5274">
            <a:extLst>
              <a:ext uri="{FF2B5EF4-FFF2-40B4-BE49-F238E27FC236}">
                <a16:creationId xmlns:a16="http://schemas.microsoft.com/office/drawing/2014/main" id="{44336B31-5EF0-6A95-13B6-7BF211D893F2}"/>
              </a:ext>
            </a:extLst>
          </p:cNvPr>
          <p:cNvCxnSpPr>
            <a:cxnSpLocks/>
          </p:cNvCxnSpPr>
          <p:nvPr/>
        </p:nvCxnSpPr>
        <p:spPr>
          <a:xfrm>
            <a:off x="6616895" y="2050722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76" name="Straight Connector 5275">
            <a:extLst>
              <a:ext uri="{FF2B5EF4-FFF2-40B4-BE49-F238E27FC236}">
                <a16:creationId xmlns:a16="http://schemas.microsoft.com/office/drawing/2014/main" id="{2B8CDE88-3005-FF95-993E-BB8DFE95F609}"/>
              </a:ext>
            </a:extLst>
          </p:cNvPr>
          <p:cNvCxnSpPr>
            <a:cxnSpLocks/>
          </p:cNvCxnSpPr>
          <p:nvPr/>
        </p:nvCxnSpPr>
        <p:spPr>
          <a:xfrm>
            <a:off x="6453988" y="1984537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77" name="Straight Connector 5276">
            <a:extLst>
              <a:ext uri="{FF2B5EF4-FFF2-40B4-BE49-F238E27FC236}">
                <a16:creationId xmlns:a16="http://schemas.microsoft.com/office/drawing/2014/main" id="{319BFAE3-9B3B-57CC-56A5-5637829EB93F}"/>
              </a:ext>
            </a:extLst>
          </p:cNvPr>
          <p:cNvCxnSpPr>
            <a:cxnSpLocks/>
          </p:cNvCxnSpPr>
          <p:nvPr/>
        </p:nvCxnSpPr>
        <p:spPr>
          <a:xfrm>
            <a:off x="6442365" y="1972606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78" name="Straight Connector 5277">
            <a:extLst>
              <a:ext uri="{FF2B5EF4-FFF2-40B4-BE49-F238E27FC236}">
                <a16:creationId xmlns:a16="http://schemas.microsoft.com/office/drawing/2014/main" id="{C1B8DD95-9FBC-0F3D-7656-F82E92ABC47D}"/>
              </a:ext>
            </a:extLst>
          </p:cNvPr>
          <p:cNvCxnSpPr>
            <a:cxnSpLocks/>
          </p:cNvCxnSpPr>
          <p:nvPr/>
        </p:nvCxnSpPr>
        <p:spPr>
          <a:xfrm>
            <a:off x="6375323" y="1960361"/>
            <a:ext cx="0" cy="71561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79" name="Freeform: Shape 1830">
            <a:extLst>
              <a:ext uri="{FF2B5EF4-FFF2-40B4-BE49-F238E27FC236}">
                <a16:creationId xmlns:a16="http://schemas.microsoft.com/office/drawing/2014/main" id="{991699AE-B91D-53D9-0D67-5184CFF7FEF1}"/>
              </a:ext>
            </a:extLst>
          </p:cNvPr>
          <p:cNvSpPr/>
          <p:nvPr/>
        </p:nvSpPr>
        <p:spPr>
          <a:xfrm>
            <a:off x="6327444" y="1988310"/>
            <a:ext cx="314632" cy="604156"/>
          </a:xfrm>
          <a:custGeom>
            <a:avLst/>
            <a:gdLst>
              <a:gd name="connsiteX0" fmla="*/ 0 w 452284"/>
              <a:gd name="connsiteY0" fmla="*/ 0 h 1265904"/>
              <a:gd name="connsiteX1" fmla="*/ 71284 w 452284"/>
              <a:gd name="connsiteY1" fmla="*/ 0 h 1265904"/>
              <a:gd name="connsiteX2" fmla="*/ 71284 w 452284"/>
              <a:gd name="connsiteY2" fmla="*/ 113071 h 1265904"/>
              <a:gd name="connsiteX3" fmla="*/ 120445 w 452284"/>
              <a:gd name="connsiteY3" fmla="*/ 113071 h 1265904"/>
              <a:gd name="connsiteX4" fmla="*/ 120445 w 452284"/>
              <a:gd name="connsiteY4" fmla="*/ 201562 h 1265904"/>
              <a:gd name="connsiteX5" fmla="*/ 157316 w 452284"/>
              <a:gd name="connsiteY5" fmla="*/ 201562 h 1265904"/>
              <a:gd name="connsiteX6" fmla="*/ 157316 w 452284"/>
              <a:gd name="connsiteY6" fmla="*/ 309717 h 1265904"/>
              <a:gd name="connsiteX7" fmla="*/ 184355 w 452284"/>
              <a:gd name="connsiteY7" fmla="*/ 309717 h 1265904"/>
              <a:gd name="connsiteX8" fmla="*/ 184355 w 452284"/>
              <a:gd name="connsiteY8" fmla="*/ 388375 h 1265904"/>
              <a:gd name="connsiteX9" fmla="*/ 218768 w 452284"/>
              <a:gd name="connsiteY9" fmla="*/ 388375 h 1265904"/>
              <a:gd name="connsiteX10" fmla="*/ 218768 w 452284"/>
              <a:gd name="connsiteY10" fmla="*/ 462117 h 1265904"/>
              <a:gd name="connsiteX11" fmla="*/ 255639 w 452284"/>
              <a:gd name="connsiteY11" fmla="*/ 462117 h 1265904"/>
              <a:gd name="connsiteX12" fmla="*/ 255639 w 452284"/>
              <a:gd name="connsiteY12" fmla="*/ 565355 h 1265904"/>
              <a:gd name="connsiteX13" fmla="*/ 304800 w 452284"/>
              <a:gd name="connsiteY13" fmla="*/ 565355 h 1265904"/>
              <a:gd name="connsiteX14" fmla="*/ 304800 w 452284"/>
              <a:gd name="connsiteY14" fmla="*/ 656304 h 1265904"/>
              <a:gd name="connsiteX15" fmla="*/ 329381 w 452284"/>
              <a:gd name="connsiteY15" fmla="*/ 656304 h 1265904"/>
              <a:gd name="connsiteX16" fmla="*/ 329381 w 452284"/>
              <a:gd name="connsiteY16" fmla="*/ 732504 h 1265904"/>
              <a:gd name="connsiteX17" fmla="*/ 353961 w 452284"/>
              <a:gd name="connsiteY17" fmla="*/ 732504 h 1265904"/>
              <a:gd name="connsiteX18" fmla="*/ 353961 w 452284"/>
              <a:gd name="connsiteY18" fmla="*/ 840659 h 1265904"/>
              <a:gd name="connsiteX19" fmla="*/ 376084 w 452284"/>
              <a:gd name="connsiteY19" fmla="*/ 840659 h 1265904"/>
              <a:gd name="connsiteX20" fmla="*/ 376084 w 452284"/>
              <a:gd name="connsiteY20" fmla="*/ 980768 h 1265904"/>
              <a:gd name="connsiteX21" fmla="*/ 395748 w 452284"/>
              <a:gd name="connsiteY21" fmla="*/ 980768 h 1265904"/>
              <a:gd name="connsiteX22" fmla="*/ 395748 w 452284"/>
              <a:gd name="connsiteY22" fmla="*/ 1096297 h 1265904"/>
              <a:gd name="connsiteX23" fmla="*/ 430161 w 452284"/>
              <a:gd name="connsiteY23" fmla="*/ 1096297 h 1265904"/>
              <a:gd name="connsiteX24" fmla="*/ 430161 w 452284"/>
              <a:gd name="connsiteY24" fmla="*/ 1182330 h 1265904"/>
              <a:gd name="connsiteX25" fmla="*/ 452284 w 452284"/>
              <a:gd name="connsiteY25" fmla="*/ 1182330 h 1265904"/>
              <a:gd name="connsiteX26" fmla="*/ 452284 w 452284"/>
              <a:gd name="connsiteY26" fmla="*/ 1265904 h 12659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452284" h="1265904">
                <a:moveTo>
                  <a:pt x="0" y="0"/>
                </a:moveTo>
                <a:lnTo>
                  <a:pt x="71284" y="0"/>
                </a:lnTo>
                <a:lnTo>
                  <a:pt x="71284" y="113071"/>
                </a:lnTo>
                <a:lnTo>
                  <a:pt x="120445" y="113071"/>
                </a:lnTo>
                <a:lnTo>
                  <a:pt x="120445" y="201562"/>
                </a:lnTo>
                <a:lnTo>
                  <a:pt x="157316" y="201562"/>
                </a:lnTo>
                <a:lnTo>
                  <a:pt x="157316" y="309717"/>
                </a:lnTo>
                <a:lnTo>
                  <a:pt x="184355" y="309717"/>
                </a:lnTo>
                <a:lnTo>
                  <a:pt x="184355" y="388375"/>
                </a:lnTo>
                <a:lnTo>
                  <a:pt x="218768" y="388375"/>
                </a:lnTo>
                <a:lnTo>
                  <a:pt x="218768" y="462117"/>
                </a:lnTo>
                <a:lnTo>
                  <a:pt x="255639" y="462117"/>
                </a:lnTo>
                <a:lnTo>
                  <a:pt x="255639" y="565355"/>
                </a:lnTo>
                <a:lnTo>
                  <a:pt x="304800" y="565355"/>
                </a:lnTo>
                <a:lnTo>
                  <a:pt x="304800" y="656304"/>
                </a:lnTo>
                <a:lnTo>
                  <a:pt x="329381" y="656304"/>
                </a:lnTo>
                <a:lnTo>
                  <a:pt x="329381" y="732504"/>
                </a:lnTo>
                <a:lnTo>
                  <a:pt x="353961" y="732504"/>
                </a:lnTo>
                <a:lnTo>
                  <a:pt x="353961" y="840659"/>
                </a:lnTo>
                <a:lnTo>
                  <a:pt x="376084" y="840659"/>
                </a:lnTo>
                <a:lnTo>
                  <a:pt x="376084" y="980768"/>
                </a:lnTo>
                <a:lnTo>
                  <a:pt x="395748" y="980768"/>
                </a:lnTo>
                <a:lnTo>
                  <a:pt x="395748" y="1096297"/>
                </a:lnTo>
                <a:lnTo>
                  <a:pt x="430161" y="1096297"/>
                </a:lnTo>
                <a:lnTo>
                  <a:pt x="430161" y="1182330"/>
                </a:lnTo>
                <a:lnTo>
                  <a:pt x="452284" y="1182330"/>
                </a:lnTo>
                <a:lnTo>
                  <a:pt x="452284" y="1265904"/>
                </a:lnTo>
              </a:path>
            </a:pathLst>
          </a:custGeom>
          <a:noFill/>
          <a:ln w="19050"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280" name="Freeform: Shape 1831">
            <a:extLst>
              <a:ext uri="{FF2B5EF4-FFF2-40B4-BE49-F238E27FC236}">
                <a16:creationId xmlns:a16="http://schemas.microsoft.com/office/drawing/2014/main" id="{9B399DAE-B499-24E5-8627-0C2D33330EEC}"/>
              </a:ext>
            </a:extLst>
          </p:cNvPr>
          <p:cNvSpPr/>
          <p:nvPr/>
        </p:nvSpPr>
        <p:spPr>
          <a:xfrm>
            <a:off x="6642074" y="2576041"/>
            <a:ext cx="564286" cy="721466"/>
          </a:xfrm>
          <a:custGeom>
            <a:avLst/>
            <a:gdLst>
              <a:gd name="connsiteX0" fmla="*/ 0 w 811161"/>
              <a:gd name="connsiteY0" fmla="*/ 0 h 1511709"/>
              <a:gd name="connsiteX1" fmla="*/ 0 w 811161"/>
              <a:gd name="connsiteY1" fmla="*/ 117987 h 1511709"/>
              <a:gd name="connsiteX2" fmla="*/ 36871 w 811161"/>
              <a:gd name="connsiteY2" fmla="*/ 117987 h 1511709"/>
              <a:gd name="connsiteX3" fmla="*/ 36871 w 811161"/>
              <a:gd name="connsiteY3" fmla="*/ 243348 h 1511709"/>
              <a:gd name="connsiteX4" fmla="*/ 61451 w 811161"/>
              <a:gd name="connsiteY4" fmla="*/ 243348 h 1511709"/>
              <a:gd name="connsiteX5" fmla="*/ 61451 w 811161"/>
              <a:gd name="connsiteY5" fmla="*/ 368709 h 1511709"/>
              <a:gd name="connsiteX6" fmla="*/ 115529 w 811161"/>
              <a:gd name="connsiteY6" fmla="*/ 368709 h 1511709"/>
              <a:gd name="connsiteX7" fmla="*/ 115529 w 811161"/>
              <a:gd name="connsiteY7" fmla="*/ 439993 h 1511709"/>
              <a:gd name="connsiteX8" fmla="*/ 135193 w 811161"/>
              <a:gd name="connsiteY8" fmla="*/ 439993 h 1511709"/>
              <a:gd name="connsiteX9" fmla="*/ 135193 w 811161"/>
              <a:gd name="connsiteY9" fmla="*/ 538316 h 1511709"/>
              <a:gd name="connsiteX10" fmla="*/ 189271 w 811161"/>
              <a:gd name="connsiteY10" fmla="*/ 538316 h 1511709"/>
              <a:gd name="connsiteX11" fmla="*/ 189271 w 811161"/>
              <a:gd name="connsiteY11" fmla="*/ 656303 h 1511709"/>
              <a:gd name="connsiteX12" fmla="*/ 238432 w 811161"/>
              <a:gd name="connsiteY12" fmla="*/ 656303 h 1511709"/>
              <a:gd name="connsiteX13" fmla="*/ 238432 w 811161"/>
              <a:gd name="connsiteY13" fmla="*/ 848032 h 1511709"/>
              <a:gd name="connsiteX14" fmla="*/ 287593 w 811161"/>
              <a:gd name="connsiteY14" fmla="*/ 848032 h 1511709"/>
              <a:gd name="connsiteX15" fmla="*/ 287593 w 811161"/>
              <a:gd name="connsiteY15" fmla="*/ 941439 h 1511709"/>
              <a:gd name="connsiteX16" fmla="*/ 346587 w 811161"/>
              <a:gd name="connsiteY16" fmla="*/ 941439 h 1511709"/>
              <a:gd name="connsiteX17" fmla="*/ 346587 w 811161"/>
              <a:gd name="connsiteY17" fmla="*/ 1029929 h 1511709"/>
              <a:gd name="connsiteX18" fmla="*/ 393290 w 811161"/>
              <a:gd name="connsiteY18" fmla="*/ 1029929 h 1511709"/>
              <a:gd name="connsiteX19" fmla="*/ 393290 w 811161"/>
              <a:gd name="connsiteY19" fmla="*/ 1118419 h 1511709"/>
              <a:gd name="connsiteX20" fmla="*/ 459658 w 811161"/>
              <a:gd name="connsiteY20" fmla="*/ 1118419 h 1511709"/>
              <a:gd name="connsiteX21" fmla="*/ 459658 w 811161"/>
              <a:gd name="connsiteY21" fmla="*/ 1179871 h 1511709"/>
              <a:gd name="connsiteX22" fmla="*/ 516193 w 811161"/>
              <a:gd name="connsiteY22" fmla="*/ 1179871 h 1511709"/>
              <a:gd name="connsiteX23" fmla="*/ 516193 w 811161"/>
              <a:gd name="connsiteY23" fmla="*/ 1256071 h 1511709"/>
              <a:gd name="connsiteX24" fmla="*/ 572729 w 811161"/>
              <a:gd name="connsiteY24" fmla="*/ 1256071 h 1511709"/>
              <a:gd name="connsiteX25" fmla="*/ 572729 w 811161"/>
              <a:gd name="connsiteY25" fmla="*/ 1319980 h 1511709"/>
              <a:gd name="connsiteX26" fmla="*/ 639097 w 811161"/>
              <a:gd name="connsiteY26" fmla="*/ 1319980 h 1511709"/>
              <a:gd name="connsiteX27" fmla="*/ 639097 w 811161"/>
              <a:gd name="connsiteY27" fmla="*/ 1374058 h 1511709"/>
              <a:gd name="connsiteX28" fmla="*/ 683342 w 811161"/>
              <a:gd name="connsiteY28" fmla="*/ 1374058 h 1511709"/>
              <a:gd name="connsiteX29" fmla="*/ 683342 w 811161"/>
              <a:gd name="connsiteY29" fmla="*/ 1437968 h 1511709"/>
              <a:gd name="connsiteX30" fmla="*/ 747251 w 811161"/>
              <a:gd name="connsiteY30" fmla="*/ 1437968 h 1511709"/>
              <a:gd name="connsiteX31" fmla="*/ 747251 w 811161"/>
              <a:gd name="connsiteY31" fmla="*/ 1511709 h 1511709"/>
              <a:gd name="connsiteX32" fmla="*/ 811161 w 811161"/>
              <a:gd name="connsiteY32" fmla="*/ 1511709 h 15117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811161" h="1511709">
                <a:moveTo>
                  <a:pt x="0" y="0"/>
                </a:moveTo>
                <a:lnTo>
                  <a:pt x="0" y="117987"/>
                </a:lnTo>
                <a:lnTo>
                  <a:pt x="36871" y="117987"/>
                </a:lnTo>
                <a:lnTo>
                  <a:pt x="36871" y="243348"/>
                </a:lnTo>
                <a:lnTo>
                  <a:pt x="61451" y="243348"/>
                </a:lnTo>
                <a:lnTo>
                  <a:pt x="61451" y="368709"/>
                </a:lnTo>
                <a:lnTo>
                  <a:pt x="115529" y="368709"/>
                </a:lnTo>
                <a:lnTo>
                  <a:pt x="115529" y="439993"/>
                </a:lnTo>
                <a:lnTo>
                  <a:pt x="135193" y="439993"/>
                </a:lnTo>
                <a:lnTo>
                  <a:pt x="135193" y="538316"/>
                </a:lnTo>
                <a:lnTo>
                  <a:pt x="189271" y="538316"/>
                </a:lnTo>
                <a:lnTo>
                  <a:pt x="189271" y="656303"/>
                </a:lnTo>
                <a:lnTo>
                  <a:pt x="238432" y="656303"/>
                </a:lnTo>
                <a:lnTo>
                  <a:pt x="238432" y="848032"/>
                </a:lnTo>
                <a:lnTo>
                  <a:pt x="287593" y="848032"/>
                </a:lnTo>
                <a:lnTo>
                  <a:pt x="287593" y="941439"/>
                </a:lnTo>
                <a:lnTo>
                  <a:pt x="346587" y="941439"/>
                </a:lnTo>
                <a:lnTo>
                  <a:pt x="346587" y="1029929"/>
                </a:lnTo>
                <a:lnTo>
                  <a:pt x="393290" y="1029929"/>
                </a:lnTo>
                <a:lnTo>
                  <a:pt x="393290" y="1118419"/>
                </a:lnTo>
                <a:lnTo>
                  <a:pt x="459658" y="1118419"/>
                </a:lnTo>
                <a:lnTo>
                  <a:pt x="459658" y="1179871"/>
                </a:lnTo>
                <a:lnTo>
                  <a:pt x="516193" y="1179871"/>
                </a:lnTo>
                <a:lnTo>
                  <a:pt x="516193" y="1256071"/>
                </a:lnTo>
                <a:lnTo>
                  <a:pt x="572729" y="1256071"/>
                </a:lnTo>
                <a:lnTo>
                  <a:pt x="572729" y="1319980"/>
                </a:lnTo>
                <a:lnTo>
                  <a:pt x="639097" y="1319980"/>
                </a:lnTo>
                <a:lnTo>
                  <a:pt x="639097" y="1374058"/>
                </a:lnTo>
                <a:lnTo>
                  <a:pt x="683342" y="1374058"/>
                </a:lnTo>
                <a:lnTo>
                  <a:pt x="683342" y="1437968"/>
                </a:lnTo>
                <a:lnTo>
                  <a:pt x="747251" y="1437968"/>
                </a:lnTo>
                <a:lnTo>
                  <a:pt x="747251" y="1511709"/>
                </a:lnTo>
                <a:lnTo>
                  <a:pt x="811161" y="1511709"/>
                </a:lnTo>
              </a:path>
            </a:pathLst>
          </a:custGeom>
          <a:noFill/>
          <a:ln w="19050"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281" name="Freeform: Shape 1832">
            <a:extLst>
              <a:ext uri="{FF2B5EF4-FFF2-40B4-BE49-F238E27FC236}">
                <a16:creationId xmlns:a16="http://schemas.microsoft.com/office/drawing/2014/main" id="{B93A02A4-91A5-9776-7F14-CDAAA730A15F}"/>
              </a:ext>
            </a:extLst>
          </p:cNvPr>
          <p:cNvSpPr/>
          <p:nvPr/>
        </p:nvSpPr>
        <p:spPr>
          <a:xfrm>
            <a:off x="7182422" y="3297507"/>
            <a:ext cx="2176775" cy="480976"/>
          </a:xfrm>
          <a:custGeom>
            <a:avLst/>
            <a:gdLst>
              <a:gd name="connsiteX0" fmla="*/ 0 w 3129116"/>
              <a:gd name="connsiteY0" fmla="*/ 0 h 1007807"/>
              <a:gd name="connsiteX1" fmla="*/ 63910 w 3129116"/>
              <a:gd name="connsiteY1" fmla="*/ 0 h 1007807"/>
              <a:gd name="connsiteX2" fmla="*/ 63910 w 3129116"/>
              <a:gd name="connsiteY2" fmla="*/ 105697 h 1007807"/>
              <a:gd name="connsiteX3" fmla="*/ 120445 w 3129116"/>
              <a:gd name="connsiteY3" fmla="*/ 105697 h 1007807"/>
              <a:gd name="connsiteX4" fmla="*/ 120445 w 3129116"/>
              <a:gd name="connsiteY4" fmla="*/ 164691 h 1007807"/>
              <a:gd name="connsiteX5" fmla="*/ 238433 w 3129116"/>
              <a:gd name="connsiteY5" fmla="*/ 164691 h 1007807"/>
              <a:gd name="connsiteX6" fmla="*/ 238433 w 3129116"/>
              <a:gd name="connsiteY6" fmla="*/ 255639 h 1007807"/>
              <a:gd name="connsiteX7" fmla="*/ 299884 w 3129116"/>
              <a:gd name="connsiteY7" fmla="*/ 255639 h 1007807"/>
              <a:gd name="connsiteX8" fmla="*/ 299884 w 3129116"/>
              <a:gd name="connsiteY8" fmla="*/ 312175 h 1007807"/>
              <a:gd name="connsiteX9" fmla="*/ 523568 w 3129116"/>
              <a:gd name="connsiteY9" fmla="*/ 312175 h 1007807"/>
              <a:gd name="connsiteX10" fmla="*/ 523568 w 3129116"/>
              <a:gd name="connsiteY10" fmla="*/ 371168 h 1007807"/>
              <a:gd name="connsiteX11" fmla="*/ 781665 w 3129116"/>
              <a:gd name="connsiteY11" fmla="*/ 371168 h 1007807"/>
              <a:gd name="connsiteX12" fmla="*/ 781665 w 3129116"/>
              <a:gd name="connsiteY12" fmla="*/ 410497 h 1007807"/>
              <a:gd name="connsiteX13" fmla="*/ 1012723 w 3129116"/>
              <a:gd name="connsiteY13" fmla="*/ 410497 h 1007807"/>
              <a:gd name="connsiteX14" fmla="*/ 1012723 w 3129116"/>
              <a:gd name="connsiteY14" fmla="*/ 479323 h 1007807"/>
              <a:gd name="connsiteX15" fmla="*/ 1081549 w 3129116"/>
              <a:gd name="connsiteY15" fmla="*/ 479323 h 1007807"/>
              <a:gd name="connsiteX16" fmla="*/ 1081549 w 3129116"/>
              <a:gd name="connsiteY16" fmla="*/ 548149 h 1007807"/>
              <a:gd name="connsiteX17" fmla="*/ 1216742 w 3129116"/>
              <a:gd name="connsiteY17" fmla="*/ 548149 h 1007807"/>
              <a:gd name="connsiteX18" fmla="*/ 1216742 w 3129116"/>
              <a:gd name="connsiteY18" fmla="*/ 648929 h 1007807"/>
              <a:gd name="connsiteX19" fmla="*/ 1445342 w 3129116"/>
              <a:gd name="connsiteY19" fmla="*/ 648929 h 1007807"/>
              <a:gd name="connsiteX20" fmla="*/ 1445342 w 3129116"/>
              <a:gd name="connsiteY20" fmla="*/ 727588 h 1007807"/>
              <a:gd name="connsiteX21" fmla="*/ 1489587 w 3129116"/>
              <a:gd name="connsiteY21" fmla="*/ 727588 h 1007807"/>
              <a:gd name="connsiteX22" fmla="*/ 1489587 w 3129116"/>
              <a:gd name="connsiteY22" fmla="*/ 779207 h 1007807"/>
              <a:gd name="connsiteX23" fmla="*/ 1747684 w 3129116"/>
              <a:gd name="connsiteY23" fmla="*/ 779207 h 1007807"/>
              <a:gd name="connsiteX24" fmla="*/ 1747684 w 3129116"/>
              <a:gd name="connsiteY24" fmla="*/ 838200 h 1007807"/>
              <a:gd name="connsiteX25" fmla="*/ 1870587 w 3129116"/>
              <a:gd name="connsiteY25" fmla="*/ 838200 h 1007807"/>
              <a:gd name="connsiteX26" fmla="*/ 1870587 w 3129116"/>
              <a:gd name="connsiteY26" fmla="*/ 934065 h 1007807"/>
              <a:gd name="connsiteX27" fmla="*/ 2113936 w 3129116"/>
              <a:gd name="connsiteY27" fmla="*/ 934065 h 1007807"/>
              <a:gd name="connsiteX28" fmla="*/ 2113936 w 3129116"/>
              <a:gd name="connsiteY28" fmla="*/ 1007807 h 1007807"/>
              <a:gd name="connsiteX29" fmla="*/ 3129116 w 3129116"/>
              <a:gd name="connsiteY29" fmla="*/ 1007807 h 10078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3129116" h="1007807">
                <a:moveTo>
                  <a:pt x="0" y="0"/>
                </a:moveTo>
                <a:lnTo>
                  <a:pt x="63910" y="0"/>
                </a:lnTo>
                <a:lnTo>
                  <a:pt x="63910" y="105697"/>
                </a:lnTo>
                <a:lnTo>
                  <a:pt x="120445" y="105697"/>
                </a:lnTo>
                <a:lnTo>
                  <a:pt x="120445" y="164691"/>
                </a:lnTo>
                <a:lnTo>
                  <a:pt x="238433" y="164691"/>
                </a:lnTo>
                <a:lnTo>
                  <a:pt x="238433" y="255639"/>
                </a:lnTo>
                <a:lnTo>
                  <a:pt x="299884" y="255639"/>
                </a:lnTo>
                <a:lnTo>
                  <a:pt x="299884" y="312175"/>
                </a:lnTo>
                <a:lnTo>
                  <a:pt x="523568" y="312175"/>
                </a:lnTo>
                <a:lnTo>
                  <a:pt x="523568" y="371168"/>
                </a:lnTo>
                <a:lnTo>
                  <a:pt x="781665" y="371168"/>
                </a:lnTo>
                <a:lnTo>
                  <a:pt x="781665" y="410497"/>
                </a:lnTo>
                <a:lnTo>
                  <a:pt x="1012723" y="410497"/>
                </a:lnTo>
                <a:lnTo>
                  <a:pt x="1012723" y="479323"/>
                </a:lnTo>
                <a:lnTo>
                  <a:pt x="1081549" y="479323"/>
                </a:lnTo>
                <a:lnTo>
                  <a:pt x="1081549" y="548149"/>
                </a:lnTo>
                <a:lnTo>
                  <a:pt x="1216742" y="548149"/>
                </a:lnTo>
                <a:lnTo>
                  <a:pt x="1216742" y="648929"/>
                </a:lnTo>
                <a:lnTo>
                  <a:pt x="1445342" y="648929"/>
                </a:lnTo>
                <a:lnTo>
                  <a:pt x="1445342" y="727588"/>
                </a:lnTo>
                <a:lnTo>
                  <a:pt x="1489587" y="727588"/>
                </a:lnTo>
                <a:lnTo>
                  <a:pt x="1489587" y="779207"/>
                </a:lnTo>
                <a:lnTo>
                  <a:pt x="1747684" y="779207"/>
                </a:lnTo>
                <a:lnTo>
                  <a:pt x="1747684" y="838200"/>
                </a:lnTo>
                <a:lnTo>
                  <a:pt x="1870587" y="838200"/>
                </a:lnTo>
                <a:lnTo>
                  <a:pt x="1870587" y="934065"/>
                </a:lnTo>
                <a:lnTo>
                  <a:pt x="2113936" y="934065"/>
                </a:lnTo>
                <a:lnTo>
                  <a:pt x="2113936" y="1007807"/>
                </a:lnTo>
                <a:lnTo>
                  <a:pt x="3129116" y="1007807"/>
                </a:lnTo>
              </a:path>
            </a:pathLst>
          </a:custGeom>
          <a:noFill/>
          <a:ln w="19050"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5282" name="Straight Connector 5281">
            <a:extLst>
              <a:ext uri="{FF2B5EF4-FFF2-40B4-BE49-F238E27FC236}">
                <a16:creationId xmlns:a16="http://schemas.microsoft.com/office/drawing/2014/main" id="{6F49973A-333F-1411-7581-A0170F7D4A44}"/>
              </a:ext>
            </a:extLst>
          </p:cNvPr>
          <p:cNvCxnSpPr>
            <a:cxnSpLocks/>
            <a:stCxn id="5281" idx="29"/>
          </p:cNvCxnSpPr>
          <p:nvPr/>
        </p:nvCxnSpPr>
        <p:spPr>
          <a:xfrm>
            <a:off x="9359200" y="3778486"/>
            <a:ext cx="440390" cy="0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83" name="Straight Connector 5282">
            <a:extLst>
              <a:ext uri="{FF2B5EF4-FFF2-40B4-BE49-F238E27FC236}">
                <a16:creationId xmlns:a16="http://schemas.microsoft.com/office/drawing/2014/main" id="{D689FDDB-7D81-E041-BDC8-6AE4636A8B88}"/>
              </a:ext>
            </a:extLst>
          </p:cNvPr>
          <p:cNvCxnSpPr>
            <a:cxnSpLocks/>
          </p:cNvCxnSpPr>
          <p:nvPr/>
        </p:nvCxnSpPr>
        <p:spPr>
          <a:xfrm>
            <a:off x="9761662" y="3742706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84" name="Straight Connector 5283">
            <a:extLst>
              <a:ext uri="{FF2B5EF4-FFF2-40B4-BE49-F238E27FC236}">
                <a16:creationId xmlns:a16="http://schemas.microsoft.com/office/drawing/2014/main" id="{9EF2879F-3167-213E-FB88-67342C810A50}"/>
              </a:ext>
            </a:extLst>
          </p:cNvPr>
          <p:cNvCxnSpPr>
            <a:cxnSpLocks/>
          </p:cNvCxnSpPr>
          <p:nvPr/>
        </p:nvCxnSpPr>
        <p:spPr>
          <a:xfrm>
            <a:off x="9655373" y="3742706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85" name="Straight Connector 5284">
            <a:extLst>
              <a:ext uri="{FF2B5EF4-FFF2-40B4-BE49-F238E27FC236}">
                <a16:creationId xmlns:a16="http://schemas.microsoft.com/office/drawing/2014/main" id="{6E5500D0-71D2-5AAB-DBE1-AE005562888F}"/>
              </a:ext>
            </a:extLst>
          </p:cNvPr>
          <p:cNvCxnSpPr>
            <a:cxnSpLocks/>
          </p:cNvCxnSpPr>
          <p:nvPr/>
        </p:nvCxnSpPr>
        <p:spPr>
          <a:xfrm>
            <a:off x="9633185" y="3742706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86" name="Straight Connector 5285">
            <a:extLst>
              <a:ext uri="{FF2B5EF4-FFF2-40B4-BE49-F238E27FC236}">
                <a16:creationId xmlns:a16="http://schemas.microsoft.com/office/drawing/2014/main" id="{153D6403-D6B8-1E40-3703-F9AAAE802525}"/>
              </a:ext>
            </a:extLst>
          </p:cNvPr>
          <p:cNvCxnSpPr>
            <a:cxnSpLocks/>
          </p:cNvCxnSpPr>
          <p:nvPr/>
        </p:nvCxnSpPr>
        <p:spPr>
          <a:xfrm>
            <a:off x="9555530" y="3742706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87" name="Straight Connector 5286">
            <a:extLst>
              <a:ext uri="{FF2B5EF4-FFF2-40B4-BE49-F238E27FC236}">
                <a16:creationId xmlns:a16="http://schemas.microsoft.com/office/drawing/2014/main" id="{F4C2D1B5-2F8E-16CB-0305-08B80F1FAC88}"/>
              </a:ext>
            </a:extLst>
          </p:cNvPr>
          <p:cNvCxnSpPr>
            <a:cxnSpLocks/>
          </p:cNvCxnSpPr>
          <p:nvPr/>
        </p:nvCxnSpPr>
        <p:spPr>
          <a:xfrm>
            <a:off x="9522250" y="3742706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88" name="Straight Connector 5287">
            <a:extLst>
              <a:ext uri="{FF2B5EF4-FFF2-40B4-BE49-F238E27FC236}">
                <a16:creationId xmlns:a16="http://schemas.microsoft.com/office/drawing/2014/main" id="{8E4FFFC4-2728-E8C2-A3FF-ECC3EE490A84}"/>
              </a:ext>
            </a:extLst>
          </p:cNvPr>
          <p:cNvCxnSpPr>
            <a:cxnSpLocks/>
          </p:cNvCxnSpPr>
          <p:nvPr/>
        </p:nvCxnSpPr>
        <p:spPr>
          <a:xfrm>
            <a:off x="9408199" y="3742706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89" name="Straight Connector 5288">
            <a:extLst>
              <a:ext uri="{FF2B5EF4-FFF2-40B4-BE49-F238E27FC236}">
                <a16:creationId xmlns:a16="http://schemas.microsoft.com/office/drawing/2014/main" id="{A9CC64B8-A8C4-0BEA-B72D-161703EE45A7}"/>
              </a:ext>
            </a:extLst>
          </p:cNvPr>
          <p:cNvCxnSpPr>
            <a:cxnSpLocks/>
          </p:cNvCxnSpPr>
          <p:nvPr/>
        </p:nvCxnSpPr>
        <p:spPr>
          <a:xfrm>
            <a:off x="9452467" y="3742706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90" name="Straight Connector 5289">
            <a:extLst>
              <a:ext uri="{FF2B5EF4-FFF2-40B4-BE49-F238E27FC236}">
                <a16:creationId xmlns:a16="http://schemas.microsoft.com/office/drawing/2014/main" id="{92F35886-70AC-7736-75A5-4BE0AF6D7AC0}"/>
              </a:ext>
            </a:extLst>
          </p:cNvPr>
          <p:cNvCxnSpPr>
            <a:cxnSpLocks/>
          </p:cNvCxnSpPr>
          <p:nvPr/>
        </p:nvCxnSpPr>
        <p:spPr>
          <a:xfrm>
            <a:off x="9496252" y="3742706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91" name="Straight Connector 5290">
            <a:extLst>
              <a:ext uri="{FF2B5EF4-FFF2-40B4-BE49-F238E27FC236}">
                <a16:creationId xmlns:a16="http://schemas.microsoft.com/office/drawing/2014/main" id="{841D57E8-537C-BF50-3008-629A4404908F}"/>
              </a:ext>
            </a:extLst>
          </p:cNvPr>
          <p:cNvCxnSpPr>
            <a:cxnSpLocks/>
          </p:cNvCxnSpPr>
          <p:nvPr/>
        </p:nvCxnSpPr>
        <p:spPr>
          <a:xfrm>
            <a:off x="9243910" y="3742706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92" name="Straight Connector 5291">
            <a:extLst>
              <a:ext uri="{FF2B5EF4-FFF2-40B4-BE49-F238E27FC236}">
                <a16:creationId xmlns:a16="http://schemas.microsoft.com/office/drawing/2014/main" id="{6878A75E-27E0-4BB3-9091-7008DB5513EC}"/>
              </a:ext>
            </a:extLst>
          </p:cNvPr>
          <p:cNvCxnSpPr>
            <a:cxnSpLocks/>
          </p:cNvCxnSpPr>
          <p:nvPr/>
        </p:nvCxnSpPr>
        <p:spPr>
          <a:xfrm>
            <a:off x="9206575" y="3742706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93" name="Straight Connector 5292">
            <a:extLst>
              <a:ext uri="{FF2B5EF4-FFF2-40B4-BE49-F238E27FC236}">
                <a16:creationId xmlns:a16="http://schemas.microsoft.com/office/drawing/2014/main" id="{8EC9DE84-D6F2-DAF2-BE61-CD72463CED04}"/>
              </a:ext>
            </a:extLst>
          </p:cNvPr>
          <p:cNvCxnSpPr>
            <a:cxnSpLocks/>
          </p:cNvCxnSpPr>
          <p:nvPr/>
        </p:nvCxnSpPr>
        <p:spPr>
          <a:xfrm>
            <a:off x="9191229" y="3742706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94" name="Straight Connector 5293">
            <a:extLst>
              <a:ext uri="{FF2B5EF4-FFF2-40B4-BE49-F238E27FC236}">
                <a16:creationId xmlns:a16="http://schemas.microsoft.com/office/drawing/2014/main" id="{21956354-BDC5-CA3C-1004-43B261577FAA}"/>
              </a:ext>
            </a:extLst>
          </p:cNvPr>
          <p:cNvCxnSpPr>
            <a:cxnSpLocks/>
          </p:cNvCxnSpPr>
          <p:nvPr/>
        </p:nvCxnSpPr>
        <p:spPr>
          <a:xfrm>
            <a:off x="9169430" y="3742706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95" name="Straight Connector 5294">
            <a:extLst>
              <a:ext uri="{FF2B5EF4-FFF2-40B4-BE49-F238E27FC236}">
                <a16:creationId xmlns:a16="http://schemas.microsoft.com/office/drawing/2014/main" id="{B4D76C66-B16F-E304-F4DD-666BA59D3B93}"/>
              </a:ext>
            </a:extLst>
          </p:cNvPr>
          <p:cNvCxnSpPr>
            <a:cxnSpLocks/>
          </p:cNvCxnSpPr>
          <p:nvPr/>
        </p:nvCxnSpPr>
        <p:spPr>
          <a:xfrm>
            <a:off x="8690457" y="3742706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96" name="Straight Connector 5295">
            <a:extLst>
              <a:ext uri="{FF2B5EF4-FFF2-40B4-BE49-F238E27FC236}">
                <a16:creationId xmlns:a16="http://schemas.microsoft.com/office/drawing/2014/main" id="{7B43FC34-1EEA-65B1-14A6-1DDDA69CD4BB}"/>
              </a:ext>
            </a:extLst>
          </p:cNvPr>
          <p:cNvCxnSpPr>
            <a:cxnSpLocks/>
          </p:cNvCxnSpPr>
          <p:nvPr/>
        </p:nvCxnSpPr>
        <p:spPr>
          <a:xfrm>
            <a:off x="8701995" y="3742706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97" name="Straight Connector 5296">
            <a:extLst>
              <a:ext uri="{FF2B5EF4-FFF2-40B4-BE49-F238E27FC236}">
                <a16:creationId xmlns:a16="http://schemas.microsoft.com/office/drawing/2014/main" id="{1312B68C-8E93-B55F-17C7-1C526F6C528D}"/>
              </a:ext>
            </a:extLst>
          </p:cNvPr>
          <p:cNvCxnSpPr>
            <a:cxnSpLocks/>
          </p:cNvCxnSpPr>
          <p:nvPr/>
        </p:nvCxnSpPr>
        <p:spPr>
          <a:xfrm>
            <a:off x="8759251" y="3742706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98" name="Straight Connector 5297">
            <a:extLst>
              <a:ext uri="{FF2B5EF4-FFF2-40B4-BE49-F238E27FC236}">
                <a16:creationId xmlns:a16="http://schemas.microsoft.com/office/drawing/2014/main" id="{B2FFE57C-5095-7744-9F6F-D32F9FB6735A}"/>
              </a:ext>
            </a:extLst>
          </p:cNvPr>
          <p:cNvCxnSpPr>
            <a:cxnSpLocks/>
          </p:cNvCxnSpPr>
          <p:nvPr/>
        </p:nvCxnSpPr>
        <p:spPr>
          <a:xfrm>
            <a:off x="8782756" y="3742706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99" name="Straight Connector 5298">
            <a:extLst>
              <a:ext uri="{FF2B5EF4-FFF2-40B4-BE49-F238E27FC236}">
                <a16:creationId xmlns:a16="http://schemas.microsoft.com/office/drawing/2014/main" id="{721232AF-1306-5554-F4F3-E5E2A08F485E}"/>
              </a:ext>
            </a:extLst>
          </p:cNvPr>
          <p:cNvCxnSpPr>
            <a:cxnSpLocks/>
          </p:cNvCxnSpPr>
          <p:nvPr/>
        </p:nvCxnSpPr>
        <p:spPr>
          <a:xfrm>
            <a:off x="8864226" y="3742706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00" name="Straight Connector 5299">
            <a:extLst>
              <a:ext uri="{FF2B5EF4-FFF2-40B4-BE49-F238E27FC236}">
                <a16:creationId xmlns:a16="http://schemas.microsoft.com/office/drawing/2014/main" id="{B00DACE3-04F4-4CBA-BDB6-DB02B6E3C071}"/>
              </a:ext>
            </a:extLst>
          </p:cNvPr>
          <p:cNvCxnSpPr>
            <a:cxnSpLocks/>
          </p:cNvCxnSpPr>
          <p:nvPr/>
        </p:nvCxnSpPr>
        <p:spPr>
          <a:xfrm>
            <a:off x="9136150" y="3742706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01" name="Straight Connector 5300">
            <a:extLst>
              <a:ext uri="{FF2B5EF4-FFF2-40B4-BE49-F238E27FC236}">
                <a16:creationId xmlns:a16="http://schemas.microsoft.com/office/drawing/2014/main" id="{D6A346FA-B91D-99C6-718B-37638D4E4139}"/>
              </a:ext>
            </a:extLst>
          </p:cNvPr>
          <p:cNvCxnSpPr>
            <a:cxnSpLocks/>
          </p:cNvCxnSpPr>
          <p:nvPr/>
        </p:nvCxnSpPr>
        <p:spPr>
          <a:xfrm>
            <a:off x="8888125" y="3742706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02" name="Straight Connector 5301">
            <a:extLst>
              <a:ext uri="{FF2B5EF4-FFF2-40B4-BE49-F238E27FC236}">
                <a16:creationId xmlns:a16="http://schemas.microsoft.com/office/drawing/2014/main" id="{13810840-4092-EC20-7B1D-09009D4E7073}"/>
              </a:ext>
            </a:extLst>
          </p:cNvPr>
          <p:cNvCxnSpPr>
            <a:cxnSpLocks/>
          </p:cNvCxnSpPr>
          <p:nvPr/>
        </p:nvCxnSpPr>
        <p:spPr>
          <a:xfrm>
            <a:off x="8916792" y="3742706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03" name="Straight Connector 5302">
            <a:extLst>
              <a:ext uri="{FF2B5EF4-FFF2-40B4-BE49-F238E27FC236}">
                <a16:creationId xmlns:a16="http://schemas.microsoft.com/office/drawing/2014/main" id="{C0EAC485-5B33-9416-C1B2-92C90014D8F1}"/>
              </a:ext>
            </a:extLst>
          </p:cNvPr>
          <p:cNvCxnSpPr>
            <a:cxnSpLocks/>
          </p:cNvCxnSpPr>
          <p:nvPr/>
        </p:nvCxnSpPr>
        <p:spPr>
          <a:xfrm>
            <a:off x="8940300" y="3742706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04" name="Straight Connector 5303">
            <a:extLst>
              <a:ext uri="{FF2B5EF4-FFF2-40B4-BE49-F238E27FC236}">
                <a16:creationId xmlns:a16="http://schemas.microsoft.com/office/drawing/2014/main" id="{20E9B175-0CCA-F175-157C-60D5B8F433F2}"/>
              </a:ext>
            </a:extLst>
          </p:cNvPr>
          <p:cNvCxnSpPr>
            <a:cxnSpLocks/>
          </p:cNvCxnSpPr>
          <p:nvPr/>
        </p:nvCxnSpPr>
        <p:spPr>
          <a:xfrm>
            <a:off x="8961168" y="3742706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05" name="Straight Connector 5304">
            <a:extLst>
              <a:ext uri="{FF2B5EF4-FFF2-40B4-BE49-F238E27FC236}">
                <a16:creationId xmlns:a16="http://schemas.microsoft.com/office/drawing/2014/main" id="{F7D93E68-4844-BB22-80C7-501AF0AF4A13}"/>
              </a:ext>
            </a:extLst>
          </p:cNvPr>
          <p:cNvCxnSpPr>
            <a:cxnSpLocks/>
          </p:cNvCxnSpPr>
          <p:nvPr/>
        </p:nvCxnSpPr>
        <p:spPr>
          <a:xfrm>
            <a:off x="8979647" y="3742706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06" name="Straight Connector 5305">
            <a:extLst>
              <a:ext uri="{FF2B5EF4-FFF2-40B4-BE49-F238E27FC236}">
                <a16:creationId xmlns:a16="http://schemas.microsoft.com/office/drawing/2014/main" id="{A644C82D-B877-C793-3064-3654102F8697}"/>
              </a:ext>
            </a:extLst>
          </p:cNvPr>
          <p:cNvCxnSpPr>
            <a:cxnSpLocks/>
          </p:cNvCxnSpPr>
          <p:nvPr/>
        </p:nvCxnSpPr>
        <p:spPr>
          <a:xfrm>
            <a:off x="9114138" y="3742706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07" name="Straight Connector 5306">
            <a:extLst>
              <a:ext uri="{FF2B5EF4-FFF2-40B4-BE49-F238E27FC236}">
                <a16:creationId xmlns:a16="http://schemas.microsoft.com/office/drawing/2014/main" id="{A64AE72D-64D9-4A14-0050-7FB141142BD0}"/>
              </a:ext>
            </a:extLst>
          </p:cNvPr>
          <p:cNvCxnSpPr>
            <a:cxnSpLocks/>
          </p:cNvCxnSpPr>
          <p:nvPr/>
        </p:nvCxnSpPr>
        <p:spPr>
          <a:xfrm>
            <a:off x="9098305" y="3742706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08" name="Straight Connector 5307">
            <a:extLst>
              <a:ext uri="{FF2B5EF4-FFF2-40B4-BE49-F238E27FC236}">
                <a16:creationId xmlns:a16="http://schemas.microsoft.com/office/drawing/2014/main" id="{463C45ED-F51B-0E00-3EC4-135F8AE55D97}"/>
              </a:ext>
            </a:extLst>
          </p:cNvPr>
          <p:cNvCxnSpPr>
            <a:cxnSpLocks/>
          </p:cNvCxnSpPr>
          <p:nvPr/>
        </p:nvCxnSpPr>
        <p:spPr>
          <a:xfrm>
            <a:off x="9076117" y="3742706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09" name="Straight Connector 5308">
            <a:extLst>
              <a:ext uri="{FF2B5EF4-FFF2-40B4-BE49-F238E27FC236}">
                <a16:creationId xmlns:a16="http://schemas.microsoft.com/office/drawing/2014/main" id="{9952C9D7-DBE1-371A-BD91-0D0DE5D3A062}"/>
              </a:ext>
            </a:extLst>
          </p:cNvPr>
          <p:cNvCxnSpPr>
            <a:cxnSpLocks/>
          </p:cNvCxnSpPr>
          <p:nvPr/>
        </p:nvCxnSpPr>
        <p:spPr>
          <a:xfrm>
            <a:off x="9055150" y="3742706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10" name="Straight Connector 5309">
            <a:extLst>
              <a:ext uri="{FF2B5EF4-FFF2-40B4-BE49-F238E27FC236}">
                <a16:creationId xmlns:a16="http://schemas.microsoft.com/office/drawing/2014/main" id="{AF1F7444-58D0-83EA-4988-5FEBEBB51B51}"/>
              </a:ext>
            </a:extLst>
          </p:cNvPr>
          <p:cNvCxnSpPr>
            <a:cxnSpLocks/>
          </p:cNvCxnSpPr>
          <p:nvPr/>
        </p:nvCxnSpPr>
        <p:spPr>
          <a:xfrm>
            <a:off x="9762359" y="3742706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11" name="Straight Connector 5310">
            <a:extLst>
              <a:ext uri="{FF2B5EF4-FFF2-40B4-BE49-F238E27FC236}">
                <a16:creationId xmlns:a16="http://schemas.microsoft.com/office/drawing/2014/main" id="{96230495-8F31-75C4-35E5-97C504C80730}"/>
              </a:ext>
            </a:extLst>
          </p:cNvPr>
          <p:cNvCxnSpPr>
            <a:cxnSpLocks/>
          </p:cNvCxnSpPr>
          <p:nvPr/>
        </p:nvCxnSpPr>
        <p:spPr>
          <a:xfrm>
            <a:off x="8999683" y="3742706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12" name="Straight Connector 5311">
            <a:extLst>
              <a:ext uri="{FF2B5EF4-FFF2-40B4-BE49-F238E27FC236}">
                <a16:creationId xmlns:a16="http://schemas.microsoft.com/office/drawing/2014/main" id="{BBDAE219-9533-45FE-C4E3-C3025B63912E}"/>
              </a:ext>
            </a:extLst>
          </p:cNvPr>
          <p:cNvCxnSpPr>
            <a:cxnSpLocks/>
          </p:cNvCxnSpPr>
          <p:nvPr/>
        </p:nvCxnSpPr>
        <p:spPr>
          <a:xfrm>
            <a:off x="8803627" y="3742706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13" name="Straight Connector 5312">
            <a:extLst>
              <a:ext uri="{FF2B5EF4-FFF2-40B4-BE49-F238E27FC236}">
                <a16:creationId xmlns:a16="http://schemas.microsoft.com/office/drawing/2014/main" id="{AFD9D828-68D4-EF56-CB6D-A7AC9E399778}"/>
              </a:ext>
            </a:extLst>
          </p:cNvPr>
          <p:cNvCxnSpPr>
            <a:cxnSpLocks/>
          </p:cNvCxnSpPr>
          <p:nvPr/>
        </p:nvCxnSpPr>
        <p:spPr>
          <a:xfrm>
            <a:off x="8623898" y="3706927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14" name="Straight Connector 5313">
            <a:extLst>
              <a:ext uri="{FF2B5EF4-FFF2-40B4-BE49-F238E27FC236}">
                <a16:creationId xmlns:a16="http://schemas.microsoft.com/office/drawing/2014/main" id="{1C796430-A18C-ECCB-8081-3C1911A06244}"/>
              </a:ext>
            </a:extLst>
          </p:cNvPr>
          <p:cNvCxnSpPr>
            <a:cxnSpLocks/>
          </p:cNvCxnSpPr>
          <p:nvPr/>
        </p:nvCxnSpPr>
        <p:spPr>
          <a:xfrm>
            <a:off x="8607834" y="3706927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15" name="Straight Connector 5314">
            <a:extLst>
              <a:ext uri="{FF2B5EF4-FFF2-40B4-BE49-F238E27FC236}">
                <a16:creationId xmlns:a16="http://schemas.microsoft.com/office/drawing/2014/main" id="{5396978C-3CC5-D502-2A97-A34C3D212BEB}"/>
              </a:ext>
            </a:extLst>
          </p:cNvPr>
          <p:cNvCxnSpPr>
            <a:cxnSpLocks/>
          </p:cNvCxnSpPr>
          <p:nvPr/>
        </p:nvCxnSpPr>
        <p:spPr>
          <a:xfrm>
            <a:off x="8590614" y="3706927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16" name="Straight Connector 5315">
            <a:extLst>
              <a:ext uri="{FF2B5EF4-FFF2-40B4-BE49-F238E27FC236}">
                <a16:creationId xmlns:a16="http://schemas.microsoft.com/office/drawing/2014/main" id="{F1160C6F-B03D-DD31-9026-38043923802E}"/>
              </a:ext>
            </a:extLst>
          </p:cNvPr>
          <p:cNvCxnSpPr>
            <a:cxnSpLocks/>
          </p:cNvCxnSpPr>
          <p:nvPr/>
        </p:nvCxnSpPr>
        <p:spPr>
          <a:xfrm>
            <a:off x="8538730" y="3708097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17" name="Straight Connector 5316">
            <a:extLst>
              <a:ext uri="{FF2B5EF4-FFF2-40B4-BE49-F238E27FC236}">
                <a16:creationId xmlns:a16="http://schemas.microsoft.com/office/drawing/2014/main" id="{8A496D41-8E78-B2E2-6B37-701B96827F79}"/>
              </a:ext>
            </a:extLst>
          </p:cNvPr>
          <p:cNvCxnSpPr>
            <a:cxnSpLocks/>
          </p:cNvCxnSpPr>
          <p:nvPr/>
        </p:nvCxnSpPr>
        <p:spPr>
          <a:xfrm>
            <a:off x="8519962" y="3708097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18" name="Straight Connector 5317">
            <a:extLst>
              <a:ext uri="{FF2B5EF4-FFF2-40B4-BE49-F238E27FC236}">
                <a16:creationId xmlns:a16="http://schemas.microsoft.com/office/drawing/2014/main" id="{C544FC3C-8307-BEB8-FE63-CAB06187248E}"/>
              </a:ext>
            </a:extLst>
          </p:cNvPr>
          <p:cNvCxnSpPr>
            <a:cxnSpLocks/>
          </p:cNvCxnSpPr>
          <p:nvPr/>
        </p:nvCxnSpPr>
        <p:spPr>
          <a:xfrm>
            <a:off x="8419748" y="3662934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19" name="Straight Connector 5318">
            <a:extLst>
              <a:ext uri="{FF2B5EF4-FFF2-40B4-BE49-F238E27FC236}">
                <a16:creationId xmlns:a16="http://schemas.microsoft.com/office/drawing/2014/main" id="{BBAC1623-08F4-DF24-37FC-4AE8DEEB2DE7}"/>
              </a:ext>
            </a:extLst>
          </p:cNvPr>
          <p:cNvCxnSpPr>
            <a:cxnSpLocks/>
          </p:cNvCxnSpPr>
          <p:nvPr/>
        </p:nvCxnSpPr>
        <p:spPr>
          <a:xfrm>
            <a:off x="8315846" y="3640056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20" name="Straight Connector 5319">
            <a:extLst>
              <a:ext uri="{FF2B5EF4-FFF2-40B4-BE49-F238E27FC236}">
                <a16:creationId xmlns:a16="http://schemas.microsoft.com/office/drawing/2014/main" id="{9A941A59-21E4-30E6-FC11-A363D053AA18}"/>
              </a:ext>
            </a:extLst>
          </p:cNvPr>
          <p:cNvCxnSpPr>
            <a:cxnSpLocks/>
          </p:cNvCxnSpPr>
          <p:nvPr/>
        </p:nvCxnSpPr>
        <p:spPr>
          <a:xfrm>
            <a:off x="8436969" y="3662934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21" name="Straight Connector 5320">
            <a:extLst>
              <a:ext uri="{FF2B5EF4-FFF2-40B4-BE49-F238E27FC236}">
                <a16:creationId xmlns:a16="http://schemas.microsoft.com/office/drawing/2014/main" id="{F7D017B7-F8F3-1D72-5353-1E9437B5EDBE}"/>
              </a:ext>
            </a:extLst>
          </p:cNvPr>
          <p:cNvCxnSpPr>
            <a:cxnSpLocks/>
          </p:cNvCxnSpPr>
          <p:nvPr/>
        </p:nvCxnSpPr>
        <p:spPr>
          <a:xfrm>
            <a:off x="8501867" y="3706927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22" name="Straight Connector 5321">
            <a:extLst>
              <a:ext uri="{FF2B5EF4-FFF2-40B4-BE49-F238E27FC236}">
                <a16:creationId xmlns:a16="http://schemas.microsoft.com/office/drawing/2014/main" id="{68213C91-5B14-9521-A97B-1E16F6CDDE05}"/>
              </a:ext>
            </a:extLst>
          </p:cNvPr>
          <p:cNvCxnSpPr>
            <a:cxnSpLocks/>
          </p:cNvCxnSpPr>
          <p:nvPr/>
        </p:nvCxnSpPr>
        <p:spPr>
          <a:xfrm>
            <a:off x="8453032" y="3671144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23" name="Straight Connector 5322">
            <a:extLst>
              <a:ext uri="{FF2B5EF4-FFF2-40B4-BE49-F238E27FC236}">
                <a16:creationId xmlns:a16="http://schemas.microsoft.com/office/drawing/2014/main" id="{37615099-EDF1-D1E2-3A22-56904B41DA12}"/>
              </a:ext>
            </a:extLst>
          </p:cNvPr>
          <p:cNvCxnSpPr>
            <a:cxnSpLocks/>
          </p:cNvCxnSpPr>
          <p:nvPr/>
        </p:nvCxnSpPr>
        <p:spPr>
          <a:xfrm>
            <a:off x="8470249" y="3675839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24" name="Straight Connector 5323">
            <a:extLst>
              <a:ext uri="{FF2B5EF4-FFF2-40B4-BE49-F238E27FC236}">
                <a16:creationId xmlns:a16="http://schemas.microsoft.com/office/drawing/2014/main" id="{667CABFB-D6EE-818A-DEED-2CEB893CF3C8}"/>
              </a:ext>
            </a:extLst>
          </p:cNvPr>
          <p:cNvCxnSpPr>
            <a:cxnSpLocks/>
          </p:cNvCxnSpPr>
          <p:nvPr/>
        </p:nvCxnSpPr>
        <p:spPr>
          <a:xfrm>
            <a:off x="8248884" y="3640056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25" name="Straight Connector 5324">
            <a:extLst>
              <a:ext uri="{FF2B5EF4-FFF2-40B4-BE49-F238E27FC236}">
                <a16:creationId xmlns:a16="http://schemas.microsoft.com/office/drawing/2014/main" id="{100A28F6-B7E5-B2CD-007E-ADFEEBD2CC80}"/>
              </a:ext>
            </a:extLst>
          </p:cNvPr>
          <p:cNvCxnSpPr>
            <a:cxnSpLocks/>
          </p:cNvCxnSpPr>
          <p:nvPr/>
        </p:nvCxnSpPr>
        <p:spPr>
          <a:xfrm>
            <a:off x="8234533" y="3640056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26" name="Straight Connector 5325">
            <a:extLst>
              <a:ext uri="{FF2B5EF4-FFF2-40B4-BE49-F238E27FC236}">
                <a16:creationId xmlns:a16="http://schemas.microsoft.com/office/drawing/2014/main" id="{7B847E15-FC89-F97A-6B3D-2CFF716DF645}"/>
              </a:ext>
            </a:extLst>
          </p:cNvPr>
          <p:cNvCxnSpPr>
            <a:cxnSpLocks/>
          </p:cNvCxnSpPr>
          <p:nvPr/>
        </p:nvCxnSpPr>
        <p:spPr>
          <a:xfrm>
            <a:off x="8218308" y="3635366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27" name="Straight Connector 5326">
            <a:extLst>
              <a:ext uri="{FF2B5EF4-FFF2-40B4-BE49-F238E27FC236}">
                <a16:creationId xmlns:a16="http://schemas.microsoft.com/office/drawing/2014/main" id="{71027052-E88C-273D-C189-116691F10204}"/>
              </a:ext>
            </a:extLst>
          </p:cNvPr>
          <p:cNvCxnSpPr>
            <a:cxnSpLocks/>
          </p:cNvCxnSpPr>
          <p:nvPr/>
        </p:nvCxnSpPr>
        <p:spPr>
          <a:xfrm>
            <a:off x="8204510" y="3627155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28" name="Straight Connector 5327">
            <a:extLst>
              <a:ext uri="{FF2B5EF4-FFF2-40B4-BE49-F238E27FC236}">
                <a16:creationId xmlns:a16="http://schemas.microsoft.com/office/drawing/2014/main" id="{8839F7BE-CF4D-005E-F891-B0EE88E95FF6}"/>
              </a:ext>
            </a:extLst>
          </p:cNvPr>
          <p:cNvCxnSpPr>
            <a:cxnSpLocks/>
          </p:cNvCxnSpPr>
          <p:nvPr/>
        </p:nvCxnSpPr>
        <p:spPr>
          <a:xfrm>
            <a:off x="8191288" y="3608968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29" name="Straight Connector 5328">
            <a:extLst>
              <a:ext uri="{FF2B5EF4-FFF2-40B4-BE49-F238E27FC236}">
                <a16:creationId xmlns:a16="http://schemas.microsoft.com/office/drawing/2014/main" id="{A72C105C-96CB-F3BF-4F9B-6EA5BB7D052F}"/>
              </a:ext>
            </a:extLst>
          </p:cNvPr>
          <p:cNvCxnSpPr>
            <a:cxnSpLocks/>
          </p:cNvCxnSpPr>
          <p:nvPr/>
        </p:nvCxnSpPr>
        <p:spPr>
          <a:xfrm>
            <a:off x="8052791" y="3568499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30" name="Straight Connector 5329">
            <a:extLst>
              <a:ext uri="{FF2B5EF4-FFF2-40B4-BE49-F238E27FC236}">
                <a16:creationId xmlns:a16="http://schemas.microsoft.com/office/drawing/2014/main" id="{ECCECECB-477A-0883-3A71-5FE983C33431}"/>
              </a:ext>
            </a:extLst>
          </p:cNvPr>
          <p:cNvCxnSpPr>
            <a:cxnSpLocks/>
          </p:cNvCxnSpPr>
          <p:nvPr/>
        </p:nvCxnSpPr>
        <p:spPr>
          <a:xfrm>
            <a:off x="8069263" y="3568499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31" name="Straight Connector 5330">
            <a:extLst>
              <a:ext uri="{FF2B5EF4-FFF2-40B4-BE49-F238E27FC236}">
                <a16:creationId xmlns:a16="http://schemas.microsoft.com/office/drawing/2014/main" id="{93683512-45A5-DE76-CCB7-A63B5330C9DA}"/>
              </a:ext>
            </a:extLst>
          </p:cNvPr>
          <p:cNvCxnSpPr>
            <a:cxnSpLocks/>
          </p:cNvCxnSpPr>
          <p:nvPr/>
        </p:nvCxnSpPr>
        <p:spPr>
          <a:xfrm>
            <a:off x="8109323" y="3578970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32" name="Straight Connector 5331">
            <a:extLst>
              <a:ext uri="{FF2B5EF4-FFF2-40B4-BE49-F238E27FC236}">
                <a16:creationId xmlns:a16="http://schemas.microsoft.com/office/drawing/2014/main" id="{53E85435-A187-D4FA-6B91-CEF8042378EF}"/>
              </a:ext>
            </a:extLst>
          </p:cNvPr>
          <p:cNvCxnSpPr>
            <a:cxnSpLocks/>
          </p:cNvCxnSpPr>
          <p:nvPr/>
        </p:nvCxnSpPr>
        <p:spPr>
          <a:xfrm>
            <a:off x="8126380" y="3578970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33" name="Straight Connector 5332">
            <a:extLst>
              <a:ext uri="{FF2B5EF4-FFF2-40B4-BE49-F238E27FC236}">
                <a16:creationId xmlns:a16="http://schemas.microsoft.com/office/drawing/2014/main" id="{1F0729AC-0752-6ED6-ABCB-8E9B4CE7C81B}"/>
              </a:ext>
            </a:extLst>
          </p:cNvPr>
          <p:cNvCxnSpPr>
            <a:cxnSpLocks/>
          </p:cNvCxnSpPr>
          <p:nvPr/>
        </p:nvCxnSpPr>
        <p:spPr>
          <a:xfrm>
            <a:off x="8144313" y="3578970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34" name="Straight Connector 5333">
            <a:extLst>
              <a:ext uri="{FF2B5EF4-FFF2-40B4-BE49-F238E27FC236}">
                <a16:creationId xmlns:a16="http://schemas.microsoft.com/office/drawing/2014/main" id="{7138D333-AF73-346A-A634-CF4111F6588A}"/>
              </a:ext>
            </a:extLst>
          </p:cNvPr>
          <p:cNvCxnSpPr>
            <a:cxnSpLocks/>
          </p:cNvCxnSpPr>
          <p:nvPr/>
        </p:nvCxnSpPr>
        <p:spPr>
          <a:xfrm>
            <a:off x="8166501" y="3579056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35" name="Straight Connector 5334">
            <a:extLst>
              <a:ext uri="{FF2B5EF4-FFF2-40B4-BE49-F238E27FC236}">
                <a16:creationId xmlns:a16="http://schemas.microsoft.com/office/drawing/2014/main" id="{D9FAB219-7357-BCDE-E75F-A837DD2CFBD0}"/>
              </a:ext>
            </a:extLst>
          </p:cNvPr>
          <p:cNvCxnSpPr>
            <a:cxnSpLocks/>
          </p:cNvCxnSpPr>
          <p:nvPr/>
        </p:nvCxnSpPr>
        <p:spPr>
          <a:xfrm>
            <a:off x="8177593" y="3591376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36" name="Straight Connector 5335">
            <a:extLst>
              <a:ext uri="{FF2B5EF4-FFF2-40B4-BE49-F238E27FC236}">
                <a16:creationId xmlns:a16="http://schemas.microsoft.com/office/drawing/2014/main" id="{B3F84C20-9603-CBED-1921-98500AA79D08}"/>
              </a:ext>
            </a:extLst>
          </p:cNvPr>
          <p:cNvCxnSpPr>
            <a:cxnSpLocks/>
          </p:cNvCxnSpPr>
          <p:nvPr/>
        </p:nvCxnSpPr>
        <p:spPr>
          <a:xfrm>
            <a:off x="7949364" y="3519815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37" name="Straight Connector 5336">
            <a:extLst>
              <a:ext uri="{FF2B5EF4-FFF2-40B4-BE49-F238E27FC236}">
                <a16:creationId xmlns:a16="http://schemas.microsoft.com/office/drawing/2014/main" id="{C8FE9355-76B2-C59C-B7A5-F3C0EBD450F0}"/>
              </a:ext>
            </a:extLst>
          </p:cNvPr>
          <p:cNvCxnSpPr>
            <a:cxnSpLocks/>
          </p:cNvCxnSpPr>
          <p:nvPr/>
        </p:nvCxnSpPr>
        <p:spPr>
          <a:xfrm>
            <a:off x="7966006" y="3519815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38" name="Straight Connector 5337">
            <a:extLst>
              <a:ext uri="{FF2B5EF4-FFF2-40B4-BE49-F238E27FC236}">
                <a16:creationId xmlns:a16="http://schemas.microsoft.com/office/drawing/2014/main" id="{DBCEE706-B030-CAF3-6392-5351FCC2645A}"/>
              </a:ext>
            </a:extLst>
          </p:cNvPr>
          <p:cNvCxnSpPr>
            <a:cxnSpLocks/>
          </p:cNvCxnSpPr>
          <p:nvPr/>
        </p:nvCxnSpPr>
        <p:spPr>
          <a:xfrm>
            <a:off x="7982644" y="3532718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39" name="Straight Connector 5338">
            <a:extLst>
              <a:ext uri="{FF2B5EF4-FFF2-40B4-BE49-F238E27FC236}">
                <a16:creationId xmlns:a16="http://schemas.microsoft.com/office/drawing/2014/main" id="{1A12C5D8-2000-59BB-B80B-BE99A118D5BC}"/>
              </a:ext>
            </a:extLst>
          </p:cNvPr>
          <p:cNvCxnSpPr>
            <a:cxnSpLocks/>
          </p:cNvCxnSpPr>
          <p:nvPr/>
        </p:nvCxnSpPr>
        <p:spPr>
          <a:xfrm>
            <a:off x="7999286" y="3532718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40" name="Straight Connector 5339">
            <a:extLst>
              <a:ext uri="{FF2B5EF4-FFF2-40B4-BE49-F238E27FC236}">
                <a16:creationId xmlns:a16="http://schemas.microsoft.com/office/drawing/2014/main" id="{7823EB46-86E2-64B7-02FC-310C0AD1962D}"/>
              </a:ext>
            </a:extLst>
          </p:cNvPr>
          <p:cNvCxnSpPr>
            <a:cxnSpLocks/>
          </p:cNvCxnSpPr>
          <p:nvPr/>
        </p:nvCxnSpPr>
        <p:spPr>
          <a:xfrm>
            <a:off x="8012089" y="3532718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41" name="Straight Connector 5340">
            <a:extLst>
              <a:ext uri="{FF2B5EF4-FFF2-40B4-BE49-F238E27FC236}">
                <a16:creationId xmlns:a16="http://schemas.microsoft.com/office/drawing/2014/main" id="{A5C40122-9D84-8F53-1806-1C0F6C7C13D9}"/>
              </a:ext>
            </a:extLst>
          </p:cNvPr>
          <p:cNvCxnSpPr>
            <a:cxnSpLocks/>
          </p:cNvCxnSpPr>
          <p:nvPr/>
        </p:nvCxnSpPr>
        <p:spPr>
          <a:xfrm>
            <a:off x="8041951" y="3555593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42" name="Straight Connector 5341">
            <a:extLst>
              <a:ext uri="{FF2B5EF4-FFF2-40B4-BE49-F238E27FC236}">
                <a16:creationId xmlns:a16="http://schemas.microsoft.com/office/drawing/2014/main" id="{0FF2195B-1870-E7CC-AE51-DDE05BCD858D}"/>
              </a:ext>
            </a:extLst>
          </p:cNvPr>
          <p:cNvCxnSpPr>
            <a:cxnSpLocks/>
          </p:cNvCxnSpPr>
          <p:nvPr/>
        </p:nvCxnSpPr>
        <p:spPr>
          <a:xfrm>
            <a:off x="8025724" y="3543190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43" name="Straight Connector 5342">
            <a:extLst>
              <a:ext uri="{FF2B5EF4-FFF2-40B4-BE49-F238E27FC236}">
                <a16:creationId xmlns:a16="http://schemas.microsoft.com/office/drawing/2014/main" id="{CA21DC0F-4DD3-9250-DFDD-4F9257264519}"/>
              </a:ext>
            </a:extLst>
          </p:cNvPr>
          <p:cNvCxnSpPr>
            <a:cxnSpLocks/>
          </p:cNvCxnSpPr>
          <p:nvPr/>
        </p:nvCxnSpPr>
        <p:spPr>
          <a:xfrm>
            <a:off x="7936144" y="3507407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44" name="Straight Connector 5343">
            <a:extLst>
              <a:ext uri="{FF2B5EF4-FFF2-40B4-BE49-F238E27FC236}">
                <a16:creationId xmlns:a16="http://schemas.microsoft.com/office/drawing/2014/main" id="{9BFE8AB0-D356-8240-4B09-EA00FAB886D2}"/>
              </a:ext>
            </a:extLst>
          </p:cNvPr>
          <p:cNvCxnSpPr>
            <a:cxnSpLocks/>
          </p:cNvCxnSpPr>
          <p:nvPr/>
        </p:nvCxnSpPr>
        <p:spPr>
          <a:xfrm>
            <a:off x="7921631" y="3496939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45" name="Straight Connector 5344">
            <a:extLst>
              <a:ext uri="{FF2B5EF4-FFF2-40B4-BE49-F238E27FC236}">
                <a16:creationId xmlns:a16="http://schemas.microsoft.com/office/drawing/2014/main" id="{17000964-63DB-1C6A-AA8D-1E462B622A06}"/>
              </a:ext>
            </a:extLst>
          </p:cNvPr>
          <p:cNvCxnSpPr>
            <a:cxnSpLocks/>
          </p:cNvCxnSpPr>
          <p:nvPr/>
        </p:nvCxnSpPr>
        <p:spPr>
          <a:xfrm>
            <a:off x="7909724" y="3495763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46" name="Straight Connector 5345">
            <a:extLst>
              <a:ext uri="{FF2B5EF4-FFF2-40B4-BE49-F238E27FC236}">
                <a16:creationId xmlns:a16="http://schemas.microsoft.com/office/drawing/2014/main" id="{48ED189F-9D2C-50A7-BEE1-329011CE7FF2}"/>
              </a:ext>
            </a:extLst>
          </p:cNvPr>
          <p:cNvCxnSpPr>
            <a:cxnSpLocks/>
          </p:cNvCxnSpPr>
          <p:nvPr/>
        </p:nvCxnSpPr>
        <p:spPr>
          <a:xfrm>
            <a:off x="7898630" y="3481101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47" name="Straight Connector 5346">
            <a:extLst>
              <a:ext uri="{FF2B5EF4-FFF2-40B4-BE49-F238E27FC236}">
                <a16:creationId xmlns:a16="http://schemas.microsoft.com/office/drawing/2014/main" id="{74205BC5-69E4-7FFF-B480-7765C28D4AAA}"/>
              </a:ext>
            </a:extLst>
          </p:cNvPr>
          <p:cNvCxnSpPr>
            <a:cxnSpLocks/>
          </p:cNvCxnSpPr>
          <p:nvPr/>
        </p:nvCxnSpPr>
        <p:spPr>
          <a:xfrm>
            <a:off x="7883284" y="3468783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48" name="Straight Connector 5347">
            <a:extLst>
              <a:ext uri="{FF2B5EF4-FFF2-40B4-BE49-F238E27FC236}">
                <a16:creationId xmlns:a16="http://schemas.microsoft.com/office/drawing/2014/main" id="{CD1AAC77-CA69-0E31-1567-3F06B3829039}"/>
              </a:ext>
            </a:extLst>
          </p:cNvPr>
          <p:cNvCxnSpPr>
            <a:cxnSpLocks/>
          </p:cNvCxnSpPr>
          <p:nvPr/>
        </p:nvCxnSpPr>
        <p:spPr>
          <a:xfrm>
            <a:off x="7865350" y="3466438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49" name="Straight Connector 5348">
            <a:extLst>
              <a:ext uri="{FF2B5EF4-FFF2-40B4-BE49-F238E27FC236}">
                <a16:creationId xmlns:a16="http://schemas.microsoft.com/office/drawing/2014/main" id="{7A16087E-9DFB-78BD-E634-B7C32480D9F6}"/>
              </a:ext>
            </a:extLst>
          </p:cNvPr>
          <p:cNvCxnSpPr>
            <a:cxnSpLocks/>
          </p:cNvCxnSpPr>
          <p:nvPr/>
        </p:nvCxnSpPr>
        <p:spPr>
          <a:xfrm>
            <a:off x="7850002" y="3466438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50" name="Straight Connector 5349">
            <a:extLst>
              <a:ext uri="{FF2B5EF4-FFF2-40B4-BE49-F238E27FC236}">
                <a16:creationId xmlns:a16="http://schemas.microsoft.com/office/drawing/2014/main" id="{25C06A4C-3F0D-E465-83DA-2B30F74F6903}"/>
              </a:ext>
            </a:extLst>
          </p:cNvPr>
          <p:cNvCxnSpPr>
            <a:cxnSpLocks/>
          </p:cNvCxnSpPr>
          <p:nvPr/>
        </p:nvCxnSpPr>
        <p:spPr>
          <a:xfrm>
            <a:off x="7832069" y="3466438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51" name="Straight Connector 5350">
            <a:extLst>
              <a:ext uri="{FF2B5EF4-FFF2-40B4-BE49-F238E27FC236}">
                <a16:creationId xmlns:a16="http://schemas.microsoft.com/office/drawing/2014/main" id="{F21DD109-5284-83AF-D4C6-25C250A83153}"/>
              </a:ext>
            </a:extLst>
          </p:cNvPr>
          <p:cNvCxnSpPr>
            <a:cxnSpLocks/>
          </p:cNvCxnSpPr>
          <p:nvPr/>
        </p:nvCxnSpPr>
        <p:spPr>
          <a:xfrm>
            <a:off x="7843163" y="3466438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52" name="Straight Connector 5351">
            <a:extLst>
              <a:ext uri="{FF2B5EF4-FFF2-40B4-BE49-F238E27FC236}">
                <a16:creationId xmlns:a16="http://schemas.microsoft.com/office/drawing/2014/main" id="{E83B6538-6A6D-66A0-AD56-2F01014F0A46}"/>
              </a:ext>
            </a:extLst>
          </p:cNvPr>
          <p:cNvCxnSpPr>
            <a:cxnSpLocks/>
          </p:cNvCxnSpPr>
          <p:nvPr/>
        </p:nvCxnSpPr>
        <p:spPr>
          <a:xfrm>
            <a:off x="7855828" y="3466438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53" name="Straight Connector 5352">
            <a:extLst>
              <a:ext uri="{FF2B5EF4-FFF2-40B4-BE49-F238E27FC236}">
                <a16:creationId xmlns:a16="http://schemas.microsoft.com/office/drawing/2014/main" id="{B92A6F3A-6A9E-9AB5-B1B1-480169D9FD77}"/>
              </a:ext>
            </a:extLst>
          </p:cNvPr>
          <p:cNvCxnSpPr>
            <a:cxnSpLocks/>
          </p:cNvCxnSpPr>
          <p:nvPr/>
        </p:nvCxnSpPr>
        <p:spPr>
          <a:xfrm>
            <a:off x="7820977" y="3466438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54" name="Straight Connector 5353">
            <a:extLst>
              <a:ext uri="{FF2B5EF4-FFF2-40B4-BE49-F238E27FC236}">
                <a16:creationId xmlns:a16="http://schemas.microsoft.com/office/drawing/2014/main" id="{82459274-9C3A-CAAB-A40C-CE0DFED78D0C}"/>
              </a:ext>
            </a:extLst>
          </p:cNvPr>
          <p:cNvCxnSpPr>
            <a:cxnSpLocks/>
          </p:cNvCxnSpPr>
          <p:nvPr/>
        </p:nvCxnSpPr>
        <p:spPr>
          <a:xfrm>
            <a:off x="7808036" y="3466438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55" name="Straight Connector 5354">
            <a:extLst>
              <a:ext uri="{FF2B5EF4-FFF2-40B4-BE49-F238E27FC236}">
                <a16:creationId xmlns:a16="http://schemas.microsoft.com/office/drawing/2014/main" id="{5A4DA888-55AB-1901-B4A3-D635E5314A53}"/>
              </a:ext>
            </a:extLst>
          </p:cNvPr>
          <p:cNvCxnSpPr>
            <a:cxnSpLocks/>
          </p:cNvCxnSpPr>
          <p:nvPr/>
        </p:nvCxnSpPr>
        <p:spPr>
          <a:xfrm>
            <a:off x="7742142" y="3466438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56" name="Straight Connector 5355">
            <a:extLst>
              <a:ext uri="{FF2B5EF4-FFF2-40B4-BE49-F238E27FC236}">
                <a16:creationId xmlns:a16="http://schemas.microsoft.com/office/drawing/2014/main" id="{D2903AB9-5BE1-BC63-8A45-F7CFA7C25E59}"/>
              </a:ext>
            </a:extLst>
          </p:cNvPr>
          <p:cNvCxnSpPr>
            <a:cxnSpLocks/>
          </p:cNvCxnSpPr>
          <p:nvPr/>
        </p:nvCxnSpPr>
        <p:spPr>
          <a:xfrm>
            <a:off x="7754414" y="3466438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57" name="Straight Connector 5356">
            <a:extLst>
              <a:ext uri="{FF2B5EF4-FFF2-40B4-BE49-F238E27FC236}">
                <a16:creationId xmlns:a16="http://schemas.microsoft.com/office/drawing/2014/main" id="{C9B1379E-6AD4-1940-2B27-0A2B1875859E}"/>
              </a:ext>
            </a:extLst>
          </p:cNvPr>
          <p:cNvCxnSpPr>
            <a:cxnSpLocks/>
          </p:cNvCxnSpPr>
          <p:nvPr/>
        </p:nvCxnSpPr>
        <p:spPr>
          <a:xfrm>
            <a:off x="7770459" y="3466438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58" name="Straight Connector 5357">
            <a:extLst>
              <a:ext uri="{FF2B5EF4-FFF2-40B4-BE49-F238E27FC236}">
                <a16:creationId xmlns:a16="http://schemas.microsoft.com/office/drawing/2014/main" id="{BEE50667-45AA-7333-D09C-3BE88FD5A162}"/>
              </a:ext>
            </a:extLst>
          </p:cNvPr>
          <p:cNvCxnSpPr>
            <a:cxnSpLocks/>
          </p:cNvCxnSpPr>
          <p:nvPr/>
        </p:nvCxnSpPr>
        <p:spPr>
          <a:xfrm>
            <a:off x="7798789" y="3466438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59" name="Straight Connector 5358">
            <a:extLst>
              <a:ext uri="{FF2B5EF4-FFF2-40B4-BE49-F238E27FC236}">
                <a16:creationId xmlns:a16="http://schemas.microsoft.com/office/drawing/2014/main" id="{2FC50BEC-B878-B452-CA5F-BB2AF163576C}"/>
              </a:ext>
            </a:extLst>
          </p:cNvPr>
          <p:cNvCxnSpPr>
            <a:cxnSpLocks/>
          </p:cNvCxnSpPr>
          <p:nvPr/>
        </p:nvCxnSpPr>
        <p:spPr>
          <a:xfrm>
            <a:off x="7787693" y="3466438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60" name="Straight Connector 5359">
            <a:extLst>
              <a:ext uri="{FF2B5EF4-FFF2-40B4-BE49-F238E27FC236}">
                <a16:creationId xmlns:a16="http://schemas.microsoft.com/office/drawing/2014/main" id="{6EBD92F7-F93E-4B88-36F9-BF36D9E8E6D9}"/>
              </a:ext>
            </a:extLst>
          </p:cNvPr>
          <p:cNvCxnSpPr>
            <a:cxnSpLocks/>
          </p:cNvCxnSpPr>
          <p:nvPr/>
        </p:nvCxnSpPr>
        <p:spPr>
          <a:xfrm>
            <a:off x="7718892" y="3445320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61" name="Straight Connector 5360">
            <a:extLst>
              <a:ext uri="{FF2B5EF4-FFF2-40B4-BE49-F238E27FC236}">
                <a16:creationId xmlns:a16="http://schemas.microsoft.com/office/drawing/2014/main" id="{059EFF14-C324-9DAF-55A4-257A64B5F79C}"/>
              </a:ext>
            </a:extLst>
          </p:cNvPr>
          <p:cNvCxnSpPr>
            <a:cxnSpLocks/>
          </p:cNvCxnSpPr>
          <p:nvPr/>
        </p:nvCxnSpPr>
        <p:spPr>
          <a:xfrm>
            <a:off x="7704378" y="3445320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62" name="Straight Connector 5361">
            <a:extLst>
              <a:ext uri="{FF2B5EF4-FFF2-40B4-BE49-F238E27FC236}">
                <a16:creationId xmlns:a16="http://schemas.microsoft.com/office/drawing/2014/main" id="{5202B05E-6B3E-63F5-ECC0-3A80A8E698E4}"/>
              </a:ext>
            </a:extLst>
          </p:cNvPr>
          <p:cNvCxnSpPr>
            <a:cxnSpLocks/>
          </p:cNvCxnSpPr>
          <p:nvPr/>
        </p:nvCxnSpPr>
        <p:spPr>
          <a:xfrm>
            <a:off x="7653348" y="3441213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63" name="Straight Connector 5362">
            <a:extLst>
              <a:ext uri="{FF2B5EF4-FFF2-40B4-BE49-F238E27FC236}">
                <a16:creationId xmlns:a16="http://schemas.microsoft.com/office/drawing/2014/main" id="{8D125CB0-0510-90FC-84F1-3487455F1217}"/>
              </a:ext>
            </a:extLst>
          </p:cNvPr>
          <p:cNvCxnSpPr>
            <a:cxnSpLocks/>
          </p:cNvCxnSpPr>
          <p:nvPr/>
        </p:nvCxnSpPr>
        <p:spPr>
          <a:xfrm>
            <a:off x="7637122" y="3441213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64" name="Straight Connector 5363">
            <a:extLst>
              <a:ext uri="{FF2B5EF4-FFF2-40B4-BE49-F238E27FC236}">
                <a16:creationId xmlns:a16="http://schemas.microsoft.com/office/drawing/2014/main" id="{372DD30C-091F-653E-5B0C-2F3CB4A5A48D}"/>
              </a:ext>
            </a:extLst>
          </p:cNvPr>
          <p:cNvCxnSpPr>
            <a:cxnSpLocks/>
          </p:cNvCxnSpPr>
          <p:nvPr/>
        </p:nvCxnSpPr>
        <p:spPr>
          <a:xfrm>
            <a:off x="7626030" y="3441213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65" name="Straight Connector 5364">
            <a:extLst>
              <a:ext uri="{FF2B5EF4-FFF2-40B4-BE49-F238E27FC236}">
                <a16:creationId xmlns:a16="http://schemas.microsoft.com/office/drawing/2014/main" id="{3598B239-0189-ACA5-186C-58CF01BD62CB}"/>
              </a:ext>
            </a:extLst>
          </p:cNvPr>
          <p:cNvCxnSpPr>
            <a:cxnSpLocks/>
          </p:cNvCxnSpPr>
          <p:nvPr/>
        </p:nvCxnSpPr>
        <p:spPr>
          <a:xfrm>
            <a:off x="7646507" y="3441213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66" name="Straight Connector 5365">
            <a:extLst>
              <a:ext uri="{FF2B5EF4-FFF2-40B4-BE49-F238E27FC236}">
                <a16:creationId xmlns:a16="http://schemas.microsoft.com/office/drawing/2014/main" id="{1412968D-FF12-491E-93DE-E3ECC55E4E66}"/>
              </a:ext>
            </a:extLst>
          </p:cNvPr>
          <p:cNvCxnSpPr>
            <a:cxnSpLocks/>
          </p:cNvCxnSpPr>
          <p:nvPr/>
        </p:nvCxnSpPr>
        <p:spPr>
          <a:xfrm>
            <a:off x="7614934" y="3441213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67" name="Straight Connector 5366">
            <a:extLst>
              <a:ext uri="{FF2B5EF4-FFF2-40B4-BE49-F238E27FC236}">
                <a16:creationId xmlns:a16="http://schemas.microsoft.com/office/drawing/2014/main" id="{ECFA3FDE-A813-B83C-594D-61AD49393AC7}"/>
              </a:ext>
            </a:extLst>
          </p:cNvPr>
          <p:cNvCxnSpPr>
            <a:cxnSpLocks/>
          </p:cNvCxnSpPr>
          <p:nvPr/>
        </p:nvCxnSpPr>
        <p:spPr>
          <a:xfrm>
            <a:off x="7555577" y="3441213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68" name="Straight Connector 5367">
            <a:extLst>
              <a:ext uri="{FF2B5EF4-FFF2-40B4-BE49-F238E27FC236}">
                <a16:creationId xmlns:a16="http://schemas.microsoft.com/office/drawing/2014/main" id="{2867ECCA-44A1-EF5A-AE33-0DCCD29DC317}"/>
              </a:ext>
            </a:extLst>
          </p:cNvPr>
          <p:cNvCxnSpPr>
            <a:cxnSpLocks/>
          </p:cNvCxnSpPr>
          <p:nvPr/>
        </p:nvCxnSpPr>
        <p:spPr>
          <a:xfrm>
            <a:off x="7603842" y="3440628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69" name="Straight Connector 5368">
            <a:extLst>
              <a:ext uri="{FF2B5EF4-FFF2-40B4-BE49-F238E27FC236}">
                <a16:creationId xmlns:a16="http://schemas.microsoft.com/office/drawing/2014/main" id="{B9181A63-E3D3-E841-F86F-2972BB2C619D}"/>
              </a:ext>
            </a:extLst>
          </p:cNvPr>
          <p:cNvCxnSpPr>
            <a:cxnSpLocks/>
          </p:cNvCxnSpPr>
          <p:nvPr/>
        </p:nvCxnSpPr>
        <p:spPr>
          <a:xfrm>
            <a:off x="7592746" y="3440628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70" name="Straight Connector 5369">
            <a:extLst>
              <a:ext uri="{FF2B5EF4-FFF2-40B4-BE49-F238E27FC236}">
                <a16:creationId xmlns:a16="http://schemas.microsoft.com/office/drawing/2014/main" id="{D7191ADC-09AF-209A-8090-9A8535760C30}"/>
              </a:ext>
            </a:extLst>
          </p:cNvPr>
          <p:cNvCxnSpPr>
            <a:cxnSpLocks/>
          </p:cNvCxnSpPr>
          <p:nvPr/>
        </p:nvCxnSpPr>
        <p:spPr>
          <a:xfrm>
            <a:off x="7664257" y="3440628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71" name="Straight Connector 5370">
            <a:extLst>
              <a:ext uri="{FF2B5EF4-FFF2-40B4-BE49-F238E27FC236}">
                <a16:creationId xmlns:a16="http://schemas.microsoft.com/office/drawing/2014/main" id="{E8F7CECD-5F44-BF35-190D-F8F70ECF55E0}"/>
              </a:ext>
            </a:extLst>
          </p:cNvPr>
          <p:cNvCxnSpPr>
            <a:cxnSpLocks/>
          </p:cNvCxnSpPr>
          <p:nvPr/>
        </p:nvCxnSpPr>
        <p:spPr>
          <a:xfrm>
            <a:off x="7585797" y="3440628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72" name="Straight Connector 5371">
            <a:extLst>
              <a:ext uri="{FF2B5EF4-FFF2-40B4-BE49-F238E27FC236}">
                <a16:creationId xmlns:a16="http://schemas.microsoft.com/office/drawing/2014/main" id="{4ED47A1A-035D-B4C1-0ED4-41A0393D83A6}"/>
              </a:ext>
            </a:extLst>
          </p:cNvPr>
          <p:cNvCxnSpPr>
            <a:cxnSpLocks/>
          </p:cNvCxnSpPr>
          <p:nvPr/>
        </p:nvCxnSpPr>
        <p:spPr>
          <a:xfrm>
            <a:off x="7576377" y="3440628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73" name="Straight Connector 5372">
            <a:extLst>
              <a:ext uri="{FF2B5EF4-FFF2-40B4-BE49-F238E27FC236}">
                <a16:creationId xmlns:a16="http://schemas.microsoft.com/office/drawing/2014/main" id="{437D5324-39B5-CD95-BF1F-56FEFBE9BBD7}"/>
              </a:ext>
            </a:extLst>
          </p:cNvPr>
          <p:cNvCxnSpPr>
            <a:cxnSpLocks/>
          </p:cNvCxnSpPr>
          <p:nvPr/>
        </p:nvCxnSpPr>
        <p:spPr>
          <a:xfrm>
            <a:off x="7565948" y="3440628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74" name="Straight Connector 5373">
            <a:extLst>
              <a:ext uri="{FF2B5EF4-FFF2-40B4-BE49-F238E27FC236}">
                <a16:creationId xmlns:a16="http://schemas.microsoft.com/office/drawing/2014/main" id="{455E24A5-B86F-FB70-1EDC-73AC216F0F20}"/>
              </a:ext>
            </a:extLst>
          </p:cNvPr>
          <p:cNvCxnSpPr>
            <a:cxnSpLocks/>
          </p:cNvCxnSpPr>
          <p:nvPr/>
        </p:nvCxnSpPr>
        <p:spPr>
          <a:xfrm>
            <a:off x="7545180" y="3413645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75" name="Straight Connector 5374">
            <a:extLst>
              <a:ext uri="{FF2B5EF4-FFF2-40B4-BE49-F238E27FC236}">
                <a16:creationId xmlns:a16="http://schemas.microsoft.com/office/drawing/2014/main" id="{20800506-1AA2-30BC-6284-D2B4F3858EC3}"/>
              </a:ext>
            </a:extLst>
          </p:cNvPr>
          <p:cNvCxnSpPr>
            <a:cxnSpLocks/>
          </p:cNvCxnSpPr>
          <p:nvPr/>
        </p:nvCxnSpPr>
        <p:spPr>
          <a:xfrm>
            <a:off x="7532377" y="3413645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76" name="Straight Connector 5375">
            <a:extLst>
              <a:ext uri="{FF2B5EF4-FFF2-40B4-BE49-F238E27FC236}">
                <a16:creationId xmlns:a16="http://schemas.microsoft.com/office/drawing/2014/main" id="{285866BB-B3DF-F966-784E-1B189A2D5C58}"/>
              </a:ext>
            </a:extLst>
          </p:cNvPr>
          <p:cNvCxnSpPr>
            <a:cxnSpLocks/>
          </p:cNvCxnSpPr>
          <p:nvPr/>
        </p:nvCxnSpPr>
        <p:spPr>
          <a:xfrm>
            <a:off x="7522297" y="3413645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77" name="Straight Connector 5376">
            <a:extLst>
              <a:ext uri="{FF2B5EF4-FFF2-40B4-BE49-F238E27FC236}">
                <a16:creationId xmlns:a16="http://schemas.microsoft.com/office/drawing/2014/main" id="{DBD19ACE-EC4F-A09B-D72F-F7B0E902DA6A}"/>
              </a:ext>
            </a:extLst>
          </p:cNvPr>
          <p:cNvCxnSpPr>
            <a:cxnSpLocks/>
          </p:cNvCxnSpPr>
          <p:nvPr/>
        </p:nvCxnSpPr>
        <p:spPr>
          <a:xfrm>
            <a:off x="7511205" y="3413645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78" name="Straight Connector 5377">
            <a:extLst>
              <a:ext uri="{FF2B5EF4-FFF2-40B4-BE49-F238E27FC236}">
                <a16:creationId xmlns:a16="http://schemas.microsoft.com/office/drawing/2014/main" id="{7AC37E2F-1E6F-26FB-7C61-7D8AFE4018F7}"/>
              </a:ext>
            </a:extLst>
          </p:cNvPr>
          <p:cNvCxnSpPr>
            <a:cxnSpLocks/>
          </p:cNvCxnSpPr>
          <p:nvPr/>
        </p:nvCxnSpPr>
        <p:spPr>
          <a:xfrm>
            <a:off x="7497640" y="3413645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79" name="Straight Connector 5378">
            <a:extLst>
              <a:ext uri="{FF2B5EF4-FFF2-40B4-BE49-F238E27FC236}">
                <a16:creationId xmlns:a16="http://schemas.microsoft.com/office/drawing/2014/main" id="{1287D042-07EC-4921-36C2-96C5EFC5F40B}"/>
              </a:ext>
            </a:extLst>
          </p:cNvPr>
          <p:cNvCxnSpPr>
            <a:cxnSpLocks/>
          </p:cNvCxnSpPr>
          <p:nvPr/>
        </p:nvCxnSpPr>
        <p:spPr>
          <a:xfrm>
            <a:off x="7486548" y="3413645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80" name="Straight Connector 5379">
            <a:extLst>
              <a:ext uri="{FF2B5EF4-FFF2-40B4-BE49-F238E27FC236}">
                <a16:creationId xmlns:a16="http://schemas.microsoft.com/office/drawing/2014/main" id="{1443F583-A82F-972B-EDF1-E757F9755DF3}"/>
              </a:ext>
            </a:extLst>
          </p:cNvPr>
          <p:cNvCxnSpPr>
            <a:cxnSpLocks/>
          </p:cNvCxnSpPr>
          <p:nvPr/>
        </p:nvCxnSpPr>
        <p:spPr>
          <a:xfrm>
            <a:off x="7474439" y="3413645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81" name="Straight Connector 5380">
            <a:extLst>
              <a:ext uri="{FF2B5EF4-FFF2-40B4-BE49-F238E27FC236}">
                <a16:creationId xmlns:a16="http://schemas.microsoft.com/office/drawing/2014/main" id="{C3D552C5-4EC5-28DF-4A2F-359EE5B1BD2E}"/>
              </a:ext>
            </a:extLst>
          </p:cNvPr>
          <p:cNvCxnSpPr>
            <a:cxnSpLocks/>
          </p:cNvCxnSpPr>
          <p:nvPr/>
        </p:nvCxnSpPr>
        <p:spPr>
          <a:xfrm>
            <a:off x="7464361" y="3413645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82" name="Straight Connector 5381">
            <a:extLst>
              <a:ext uri="{FF2B5EF4-FFF2-40B4-BE49-F238E27FC236}">
                <a16:creationId xmlns:a16="http://schemas.microsoft.com/office/drawing/2014/main" id="{7E706318-940A-1FD6-FA05-B0D0E3023453}"/>
              </a:ext>
            </a:extLst>
          </p:cNvPr>
          <p:cNvCxnSpPr>
            <a:cxnSpLocks/>
          </p:cNvCxnSpPr>
          <p:nvPr/>
        </p:nvCxnSpPr>
        <p:spPr>
          <a:xfrm>
            <a:off x="7453267" y="3413645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83" name="Straight Connector 5382">
            <a:extLst>
              <a:ext uri="{FF2B5EF4-FFF2-40B4-BE49-F238E27FC236}">
                <a16:creationId xmlns:a16="http://schemas.microsoft.com/office/drawing/2014/main" id="{89A762E7-F617-4BDC-F8B0-3A2E04A69DC6}"/>
              </a:ext>
            </a:extLst>
          </p:cNvPr>
          <p:cNvCxnSpPr>
            <a:cxnSpLocks/>
          </p:cNvCxnSpPr>
          <p:nvPr/>
        </p:nvCxnSpPr>
        <p:spPr>
          <a:xfrm>
            <a:off x="7440143" y="3413645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84" name="Straight Connector 5383">
            <a:extLst>
              <a:ext uri="{FF2B5EF4-FFF2-40B4-BE49-F238E27FC236}">
                <a16:creationId xmlns:a16="http://schemas.microsoft.com/office/drawing/2014/main" id="{0A33CB14-A8A0-9C4E-7500-6D6ECDFF5593}"/>
              </a:ext>
            </a:extLst>
          </p:cNvPr>
          <p:cNvCxnSpPr>
            <a:cxnSpLocks/>
          </p:cNvCxnSpPr>
          <p:nvPr/>
        </p:nvCxnSpPr>
        <p:spPr>
          <a:xfrm>
            <a:off x="7431821" y="3413645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85" name="Straight Connector 5384">
            <a:extLst>
              <a:ext uri="{FF2B5EF4-FFF2-40B4-BE49-F238E27FC236}">
                <a16:creationId xmlns:a16="http://schemas.microsoft.com/office/drawing/2014/main" id="{1985A756-24CF-FF2A-C632-0D0D9747EBFB}"/>
              </a:ext>
            </a:extLst>
          </p:cNvPr>
          <p:cNvCxnSpPr>
            <a:cxnSpLocks/>
          </p:cNvCxnSpPr>
          <p:nvPr/>
        </p:nvCxnSpPr>
        <p:spPr>
          <a:xfrm>
            <a:off x="7422408" y="3413645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86" name="Straight Connector 5385">
            <a:extLst>
              <a:ext uri="{FF2B5EF4-FFF2-40B4-BE49-F238E27FC236}">
                <a16:creationId xmlns:a16="http://schemas.microsoft.com/office/drawing/2014/main" id="{3AF0F164-C02D-612B-4CB4-077E69DB1935}"/>
              </a:ext>
            </a:extLst>
          </p:cNvPr>
          <p:cNvCxnSpPr>
            <a:cxnSpLocks/>
          </p:cNvCxnSpPr>
          <p:nvPr/>
        </p:nvCxnSpPr>
        <p:spPr>
          <a:xfrm>
            <a:off x="7409495" y="3413645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87" name="Straight Connector 5386">
            <a:extLst>
              <a:ext uri="{FF2B5EF4-FFF2-40B4-BE49-F238E27FC236}">
                <a16:creationId xmlns:a16="http://schemas.microsoft.com/office/drawing/2014/main" id="{14DFA4F0-E8C4-3B94-7E05-344817FD1F79}"/>
              </a:ext>
            </a:extLst>
          </p:cNvPr>
          <p:cNvCxnSpPr>
            <a:cxnSpLocks/>
          </p:cNvCxnSpPr>
          <p:nvPr/>
        </p:nvCxnSpPr>
        <p:spPr>
          <a:xfrm>
            <a:off x="7398403" y="3406606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88" name="Straight Connector 5387">
            <a:extLst>
              <a:ext uri="{FF2B5EF4-FFF2-40B4-BE49-F238E27FC236}">
                <a16:creationId xmlns:a16="http://schemas.microsoft.com/office/drawing/2014/main" id="{4F0CCFCD-E81D-0ABF-6D88-7F182E189706}"/>
              </a:ext>
            </a:extLst>
          </p:cNvPr>
          <p:cNvCxnSpPr>
            <a:cxnSpLocks/>
          </p:cNvCxnSpPr>
          <p:nvPr/>
        </p:nvCxnSpPr>
        <p:spPr>
          <a:xfrm>
            <a:off x="7385600" y="3394877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89" name="Straight Connector 5388">
            <a:extLst>
              <a:ext uri="{FF2B5EF4-FFF2-40B4-BE49-F238E27FC236}">
                <a16:creationId xmlns:a16="http://schemas.microsoft.com/office/drawing/2014/main" id="{32EC22CD-06A2-ED04-4C54-04AAC49FCE33}"/>
              </a:ext>
            </a:extLst>
          </p:cNvPr>
          <p:cNvCxnSpPr>
            <a:cxnSpLocks/>
          </p:cNvCxnSpPr>
          <p:nvPr/>
        </p:nvCxnSpPr>
        <p:spPr>
          <a:xfrm>
            <a:off x="7378170" y="3386664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90" name="Straight Connector 5389">
            <a:extLst>
              <a:ext uri="{FF2B5EF4-FFF2-40B4-BE49-F238E27FC236}">
                <a16:creationId xmlns:a16="http://schemas.microsoft.com/office/drawing/2014/main" id="{B7E9774D-FE88-CEBF-C961-D81BBC62FAD5}"/>
              </a:ext>
            </a:extLst>
          </p:cNvPr>
          <p:cNvCxnSpPr>
            <a:cxnSpLocks/>
          </p:cNvCxnSpPr>
          <p:nvPr/>
        </p:nvCxnSpPr>
        <p:spPr>
          <a:xfrm>
            <a:off x="7368500" y="3373761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91" name="Straight Connector 5390">
            <a:extLst>
              <a:ext uri="{FF2B5EF4-FFF2-40B4-BE49-F238E27FC236}">
                <a16:creationId xmlns:a16="http://schemas.microsoft.com/office/drawing/2014/main" id="{4EFCD2A6-0B07-62BD-810A-FB59D3E64995}"/>
              </a:ext>
            </a:extLst>
          </p:cNvPr>
          <p:cNvCxnSpPr>
            <a:cxnSpLocks/>
          </p:cNvCxnSpPr>
          <p:nvPr/>
        </p:nvCxnSpPr>
        <p:spPr>
          <a:xfrm>
            <a:off x="7359081" y="3370826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92" name="Straight Connector 5391">
            <a:extLst>
              <a:ext uri="{FF2B5EF4-FFF2-40B4-BE49-F238E27FC236}">
                <a16:creationId xmlns:a16="http://schemas.microsoft.com/office/drawing/2014/main" id="{0895A069-49D9-8F59-4084-E92170ACCAB6}"/>
              </a:ext>
            </a:extLst>
          </p:cNvPr>
          <p:cNvCxnSpPr>
            <a:cxnSpLocks/>
          </p:cNvCxnSpPr>
          <p:nvPr/>
        </p:nvCxnSpPr>
        <p:spPr>
          <a:xfrm>
            <a:off x="7335142" y="3342086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93" name="Straight Connector 5392">
            <a:extLst>
              <a:ext uri="{FF2B5EF4-FFF2-40B4-BE49-F238E27FC236}">
                <a16:creationId xmlns:a16="http://schemas.microsoft.com/office/drawing/2014/main" id="{530047D3-5A5F-D0E8-C396-0A8C259825A0}"/>
              </a:ext>
            </a:extLst>
          </p:cNvPr>
          <p:cNvCxnSpPr>
            <a:cxnSpLocks/>
          </p:cNvCxnSpPr>
          <p:nvPr/>
        </p:nvCxnSpPr>
        <p:spPr>
          <a:xfrm>
            <a:off x="7320915" y="3342086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94" name="Straight Connector 5393">
            <a:extLst>
              <a:ext uri="{FF2B5EF4-FFF2-40B4-BE49-F238E27FC236}">
                <a16:creationId xmlns:a16="http://schemas.microsoft.com/office/drawing/2014/main" id="{DBCD5F8C-EFF6-386B-75E9-74ADDE84308B}"/>
              </a:ext>
            </a:extLst>
          </p:cNvPr>
          <p:cNvCxnSpPr>
            <a:cxnSpLocks/>
          </p:cNvCxnSpPr>
          <p:nvPr/>
        </p:nvCxnSpPr>
        <p:spPr>
          <a:xfrm>
            <a:off x="7309822" y="3342086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95" name="Straight Connector 5394">
            <a:extLst>
              <a:ext uri="{FF2B5EF4-FFF2-40B4-BE49-F238E27FC236}">
                <a16:creationId xmlns:a16="http://schemas.microsoft.com/office/drawing/2014/main" id="{122545A4-D2A1-B895-EEB7-7F15B1BF2EC9}"/>
              </a:ext>
            </a:extLst>
          </p:cNvPr>
          <p:cNvCxnSpPr>
            <a:cxnSpLocks/>
          </p:cNvCxnSpPr>
          <p:nvPr/>
        </p:nvCxnSpPr>
        <p:spPr>
          <a:xfrm>
            <a:off x="7298728" y="3342086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96" name="Straight Connector 5395">
            <a:extLst>
              <a:ext uri="{FF2B5EF4-FFF2-40B4-BE49-F238E27FC236}">
                <a16:creationId xmlns:a16="http://schemas.microsoft.com/office/drawing/2014/main" id="{F4D56DD1-7ED8-2B09-B41D-82A99CAE3079}"/>
              </a:ext>
            </a:extLst>
          </p:cNvPr>
          <p:cNvCxnSpPr>
            <a:cxnSpLocks/>
          </p:cNvCxnSpPr>
          <p:nvPr/>
        </p:nvCxnSpPr>
        <p:spPr>
          <a:xfrm>
            <a:off x="7291646" y="3330774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97" name="Straight Connector 5396">
            <a:extLst>
              <a:ext uri="{FF2B5EF4-FFF2-40B4-BE49-F238E27FC236}">
                <a16:creationId xmlns:a16="http://schemas.microsoft.com/office/drawing/2014/main" id="{177FB510-D4B8-6B42-26A9-4B4EDB8B2665}"/>
              </a:ext>
            </a:extLst>
          </p:cNvPr>
          <p:cNvCxnSpPr>
            <a:cxnSpLocks/>
          </p:cNvCxnSpPr>
          <p:nvPr/>
        </p:nvCxnSpPr>
        <p:spPr>
          <a:xfrm>
            <a:off x="7277967" y="3330774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98" name="Straight Connector 5397">
            <a:extLst>
              <a:ext uri="{FF2B5EF4-FFF2-40B4-BE49-F238E27FC236}">
                <a16:creationId xmlns:a16="http://schemas.microsoft.com/office/drawing/2014/main" id="{A0A48BA7-0FB3-BF0F-3008-83ECD602DB55}"/>
              </a:ext>
            </a:extLst>
          </p:cNvPr>
          <p:cNvCxnSpPr>
            <a:cxnSpLocks/>
          </p:cNvCxnSpPr>
          <p:nvPr/>
        </p:nvCxnSpPr>
        <p:spPr>
          <a:xfrm>
            <a:off x="7244835" y="3312170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99" name="Straight Connector 5398">
            <a:extLst>
              <a:ext uri="{FF2B5EF4-FFF2-40B4-BE49-F238E27FC236}">
                <a16:creationId xmlns:a16="http://schemas.microsoft.com/office/drawing/2014/main" id="{E1D4A892-338F-5276-654B-E0C71ECB4043}"/>
              </a:ext>
            </a:extLst>
          </p:cNvPr>
          <p:cNvCxnSpPr>
            <a:cxnSpLocks/>
          </p:cNvCxnSpPr>
          <p:nvPr/>
        </p:nvCxnSpPr>
        <p:spPr>
          <a:xfrm>
            <a:off x="7265450" y="3323314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00" name="Straight Connector 5399">
            <a:extLst>
              <a:ext uri="{FF2B5EF4-FFF2-40B4-BE49-F238E27FC236}">
                <a16:creationId xmlns:a16="http://schemas.microsoft.com/office/drawing/2014/main" id="{FB80C074-1453-BBDC-4395-4C232C3B1DE9}"/>
              </a:ext>
            </a:extLst>
          </p:cNvPr>
          <p:cNvCxnSpPr>
            <a:cxnSpLocks/>
          </p:cNvCxnSpPr>
          <p:nvPr/>
        </p:nvCxnSpPr>
        <p:spPr>
          <a:xfrm>
            <a:off x="7253974" y="3323901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01" name="Straight Connector 5400">
            <a:extLst>
              <a:ext uri="{FF2B5EF4-FFF2-40B4-BE49-F238E27FC236}">
                <a16:creationId xmlns:a16="http://schemas.microsoft.com/office/drawing/2014/main" id="{9F6A004A-3DA3-9EA9-B5EC-DC6DB9C90074}"/>
              </a:ext>
            </a:extLst>
          </p:cNvPr>
          <p:cNvCxnSpPr>
            <a:cxnSpLocks/>
          </p:cNvCxnSpPr>
          <p:nvPr/>
        </p:nvCxnSpPr>
        <p:spPr>
          <a:xfrm>
            <a:off x="7238268" y="3301449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02" name="Straight Connector 5401">
            <a:extLst>
              <a:ext uri="{FF2B5EF4-FFF2-40B4-BE49-F238E27FC236}">
                <a16:creationId xmlns:a16="http://schemas.microsoft.com/office/drawing/2014/main" id="{CD39C342-603B-3052-BCF5-BA80EC988D98}"/>
              </a:ext>
            </a:extLst>
          </p:cNvPr>
          <p:cNvCxnSpPr>
            <a:cxnSpLocks/>
          </p:cNvCxnSpPr>
          <p:nvPr/>
        </p:nvCxnSpPr>
        <p:spPr>
          <a:xfrm>
            <a:off x="7200976" y="3276389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03" name="Straight Connector 5402">
            <a:extLst>
              <a:ext uri="{FF2B5EF4-FFF2-40B4-BE49-F238E27FC236}">
                <a16:creationId xmlns:a16="http://schemas.microsoft.com/office/drawing/2014/main" id="{6E08A631-550F-682A-0AB7-F9CF12C81BC8}"/>
              </a:ext>
            </a:extLst>
          </p:cNvPr>
          <p:cNvCxnSpPr>
            <a:cxnSpLocks/>
          </p:cNvCxnSpPr>
          <p:nvPr/>
        </p:nvCxnSpPr>
        <p:spPr>
          <a:xfrm>
            <a:off x="7223163" y="3285774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04" name="Straight Connector 5403">
            <a:extLst>
              <a:ext uri="{FF2B5EF4-FFF2-40B4-BE49-F238E27FC236}">
                <a16:creationId xmlns:a16="http://schemas.microsoft.com/office/drawing/2014/main" id="{B800FC5E-C852-EAEA-5B3F-9B0C87E9B797}"/>
              </a:ext>
            </a:extLst>
          </p:cNvPr>
          <p:cNvCxnSpPr>
            <a:cxnSpLocks/>
          </p:cNvCxnSpPr>
          <p:nvPr/>
        </p:nvCxnSpPr>
        <p:spPr>
          <a:xfrm>
            <a:off x="7212071" y="3284017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05" name="Straight Connector 5404">
            <a:extLst>
              <a:ext uri="{FF2B5EF4-FFF2-40B4-BE49-F238E27FC236}">
                <a16:creationId xmlns:a16="http://schemas.microsoft.com/office/drawing/2014/main" id="{BFDBF01E-08FB-64F3-DEE8-B597E1114305}"/>
              </a:ext>
            </a:extLst>
          </p:cNvPr>
          <p:cNvCxnSpPr>
            <a:cxnSpLocks/>
          </p:cNvCxnSpPr>
          <p:nvPr/>
        </p:nvCxnSpPr>
        <p:spPr>
          <a:xfrm>
            <a:off x="7188763" y="3270526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06" name="Straight Connector 5405">
            <a:extLst>
              <a:ext uri="{FF2B5EF4-FFF2-40B4-BE49-F238E27FC236}">
                <a16:creationId xmlns:a16="http://schemas.microsoft.com/office/drawing/2014/main" id="{5F0B25AD-1C28-7A98-D17F-53CC8831898A}"/>
              </a:ext>
            </a:extLst>
          </p:cNvPr>
          <p:cNvCxnSpPr>
            <a:cxnSpLocks/>
          </p:cNvCxnSpPr>
          <p:nvPr/>
        </p:nvCxnSpPr>
        <p:spPr>
          <a:xfrm>
            <a:off x="7180601" y="3258042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07" name="Straight Connector 5406">
            <a:extLst>
              <a:ext uri="{FF2B5EF4-FFF2-40B4-BE49-F238E27FC236}">
                <a16:creationId xmlns:a16="http://schemas.microsoft.com/office/drawing/2014/main" id="{2D689AD4-7BD1-E6CE-DD0A-4AACE1711F13}"/>
              </a:ext>
            </a:extLst>
          </p:cNvPr>
          <p:cNvCxnSpPr>
            <a:cxnSpLocks/>
          </p:cNvCxnSpPr>
          <p:nvPr/>
        </p:nvCxnSpPr>
        <p:spPr>
          <a:xfrm>
            <a:off x="7176061" y="3251754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08" name="Straight Connector 5407">
            <a:extLst>
              <a:ext uri="{FF2B5EF4-FFF2-40B4-BE49-F238E27FC236}">
                <a16:creationId xmlns:a16="http://schemas.microsoft.com/office/drawing/2014/main" id="{891C7553-7C5C-9E48-F1D1-27924AA2DCC7}"/>
              </a:ext>
            </a:extLst>
          </p:cNvPr>
          <p:cNvCxnSpPr>
            <a:cxnSpLocks/>
          </p:cNvCxnSpPr>
          <p:nvPr/>
        </p:nvCxnSpPr>
        <p:spPr>
          <a:xfrm>
            <a:off x="7167621" y="3249406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09" name="Straight Connector 5408">
            <a:extLst>
              <a:ext uri="{FF2B5EF4-FFF2-40B4-BE49-F238E27FC236}">
                <a16:creationId xmlns:a16="http://schemas.microsoft.com/office/drawing/2014/main" id="{1EB5AC75-5239-349D-B2C2-5ABA41BA2449}"/>
              </a:ext>
            </a:extLst>
          </p:cNvPr>
          <p:cNvCxnSpPr>
            <a:cxnSpLocks/>
          </p:cNvCxnSpPr>
          <p:nvPr/>
        </p:nvCxnSpPr>
        <p:spPr>
          <a:xfrm>
            <a:off x="7157647" y="3244718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10" name="Straight Connector 5409">
            <a:extLst>
              <a:ext uri="{FF2B5EF4-FFF2-40B4-BE49-F238E27FC236}">
                <a16:creationId xmlns:a16="http://schemas.microsoft.com/office/drawing/2014/main" id="{4EAF5B4C-FD29-62E6-4053-D34C9DE4B49C}"/>
              </a:ext>
            </a:extLst>
          </p:cNvPr>
          <p:cNvCxnSpPr>
            <a:cxnSpLocks/>
          </p:cNvCxnSpPr>
          <p:nvPr/>
        </p:nvCxnSpPr>
        <p:spPr>
          <a:xfrm>
            <a:off x="7147144" y="3240607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11" name="Straight Connector 5410">
            <a:extLst>
              <a:ext uri="{FF2B5EF4-FFF2-40B4-BE49-F238E27FC236}">
                <a16:creationId xmlns:a16="http://schemas.microsoft.com/office/drawing/2014/main" id="{042666CE-BC7D-11AB-9A99-37F7507C0E25}"/>
              </a:ext>
            </a:extLst>
          </p:cNvPr>
          <p:cNvCxnSpPr>
            <a:cxnSpLocks/>
          </p:cNvCxnSpPr>
          <p:nvPr/>
        </p:nvCxnSpPr>
        <p:spPr>
          <a:xfrm>
            <a:off x="7135460" y="3234746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12" name="Straight Connector 5411">
            <a:extLst>
              <a:ext uri="{FF2B5EF4-FFF2-40B4-BE49-F238E27FC236}">
                <a16:creationId xmlns:a16="http://schemas.microsoft.com/office/drawing/2014/main" id="{C86F809D-651D-D82B-E1B2-D38F6F7E704F}"/>
              </a:ext>
            </a:extLst>
          </p:cNvPr>
          <p:cNvCxnSpPr>
            <a:cxnSpLocks/>
          </p:cNvCxnSpPr>
          <p:nvPr/>
        </p:nvCxnSpPr>
        <p:spPr>
          <a:xfrm>
            <a:off x="7114608" y="3208933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13" name="Straight Connector 5412">
            <a:extLst>
              <a:ext uri="{FF2B5EF4-FFF2-40B4-BE49-F238E27FC236}">
                <a16:creationId xmlns:a16="http://schemas.microsoft.com/office/drawing/2014/main" id="{18E125AC-DFBE-4BDF-8469-7CC2E17154CA}"/>
              </a:ext>
            </a:extLst>
          </p:cNvPr>
          <p:cNvCxnSpPr>
            <a:cxnSpLocks/>
          </p:cNvCxnSpPr>
          <p:nvPr/>
        </p:nvCxnSpPr>
        <p:spPr>
          <a:xfrm>
            <a:off x="7128408" y="3225946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14" name="Straight Connector 5413">
            <a:extLst>
              <a:ext uri="{FF2B5EF4-FFF2-40B4-BE49-F238E27FC236}">
                <a16:creationId xmlns:a16="http://schemas.microsoft.com/office/drawing/2014/main" id="{8F38BC09-BA29-D3C3-10B4-98109B4AEEFA}"/>
              </a:ext>
            </a:extLst>
          </p:cNvPr>
          <p:cNvCxnSpPr>
            <a:cxnSpLocks/>
          </p:cNvCxnSpPr>
          <p:nvPr/>
        </p:nvCxnSpPr>
        <p:spPr>
          <a:xfrm>
            <a:off x="7100426" y="3198967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15" name="Straight Connector 5414">
            <a:extLst>
              <a:ext uri="{FF2B5EF4-FFF2-40B4-BE49-F238E27FC236}">
                <a16:creationId xmlns:a16="http://schemas.microsoft.com/office/drawing/2014/main" id="{3F69C749-0003-7172-2A6B-63BE3F7E50B5}"/>
              </a:ext>
            </a:extLst>
          </p:cNvPr>
          <p:cNvCxnSpPr>
            <a:cxnSpLocks/>
          </p:cNvCxnSpPr>
          <p:nvPr/>
        </p:nvCxnSpPr>
        <p:spPr>
          <a:xfrm>
            <a:off x="7090547" y="3184720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16" name="Straight Connector 5415">
            <a:extLst>
              <a:ext uri="{FF2B5EF4-FFF2-40B4-BE49-F238E27FC236}">
                <a16:creationId xmlns:a16="http://schemas.microsoft.com/office/drawing/2014/main" id="{79BD939B-D7F2-3510-663C-817B1BB47DD2}"/>
              </a:ext>
            </a:extLst>
          </p:cNvPr>
          <p:cNvCxnSpPr>
            <a:cxnSpLocks/>
          </p:cNvCxnSpPr>
          <p:nvPr/>
        </p:nvCxnSpPr>
        <p:spPr>
          <a:xfrm>
            <a:off x="7081037" y="3175503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17" name="Straight Connector 5416">
            <a:extLst>
              <a:ext uri="{FF2B5EF4-FFF2-40B4-BE49-F238E27FC236}">
                <a16:creationId xmlns:a16="http://schemas.microsoft.com/office/drawing/2014/main" id="{A44A6971-FED8-80AB-3603-B70BA39A880E}"/>
              </a:ext>
            </a:extLst>
          </p:cNvPr>
          <p:cNvCxnSpPr>
            <a:cxnSpLocks/>
          </p:cNvCxnSpPr>
          <p:nvPr/>
        </p:nvCxnSpPr>
        <p:spPr>
          <a:xfrm>
            <a:off x="7069945" y="3171395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18" name="Straight Connector 5417">
            <a:extLst>
              <a:ext uri="{FF2B5EF4-FFF2-40B4-BE49-F238E27FC236}">
                <a16:creationId xmlns:a16="http://schemas.microsoft.com/office/drawing/2014/main" id="{0D58EA2D-67D8-DCA7-F4BE-F7460F44A1AA}"/>
              </a:ext>
            </a:extLst>
          </p:cNvPr>
          <p:cNvCxnSpPr>
            <a:cxnSpLocks/>
          </p:cNvCxnSpPr>
          <p:nvPr/>
        </p:nvCxnSpPr>
        <p:spPr>
          <a:xfrm>
            <a:off x="7058852" y="3167877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19" name="Straight Connector 5418">
            <a:extLst>
              <a:ext uri="{FF2B5EF4-FFF2-40B4-BE49-F238E27FC236}">
                <a16:creationId xmlns:a16="http://schemas.microsoft.com/office/drawing/2014/main" id="{9B55D48C-EFA2-972D-4D37-6AC776AD7BEB}"/>
              </a:ext>
            </a:extLst>
          </p:cNvPr>
          <p:cNvCxnSpPr>
            <a:cxnSpLocks/>
          </p:cNvCxnSpPr>
          <p:nvPr/>
        </p:nvCxnSpPr>
        <p:spPr>
          <a:xfrm>
            <a:off x="7051818" y="3163184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20" name="Straight Connector 5419">
            <a:extLst>
              <a:ext uri="{FF2B5EF4-FFF2-40B4-BE49-F238E27FC236}">
                <a16:creationId xmlns:a16="http://schemas.microsoft.com/office/drawing/2014/main" id="{E5C0F08D-E304-44FE-695F-5FC8F1B8A2B1}"/>
              </a:ext>
            </a:extLst>
          </p:cNvPr>
          <p:cNvCxnSpPr>
            <a:cxnSpLocks/>
          </p:cNvCxnSpPr>
          <p:nvPr/>
        </p:nvCxnSpPr>
        <p:spPr>
          <a:xfrm>
            <a:off x="7040723" y="3154386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21" name="Straight Connector 5420">
            <a:extLst>
              <a:ext uri="{FF2B5EF4-FFF2-40B4-BE49-F238E27FC236}">
                <a16:creationId xmlns:a16="http://schemas.microsoft.com/office/drawing/2014/main" id="{E9949523-45E7-2AA6-FDD5-2142385985E7}"/>
              </a:ext>
            </a:extLst>
          </p:cNvPr>
          <p:cNvCxnSpPr>
            <a:cxnSpLocks/>
          </p:cNvCxnSpPr>
          <p:nvPr/>
        </p:nvCxnSpPr>
        <p:spPr>
          <a:xfrm>
            <a:off x="7029631" y="3149103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22" name="Straight Connector 5421">
            <a:extLst>
              <a:ext uri="{FF2B5EF4-FFF2-40B4-BE49-F238E27FC236}">
                <a16:creationId xmlns:a16="http://schemas.microsoft.com/office/drawing/2014/main" id="{AC451CE5-AFDB-65D4-D99F-48BC47D91354}"/>
              </a:ext>
            </a:extLst>
          </p:cNvPr>
          <p:cNvCxnSpPr>
            <a:cxnSpLocks/>
          </p:cNvCxnSpPr>
          <p:nvPr/>
        </p:nvCxnSpPr>
        <p:spPr>
          <a:xfrm>
            <a:off x="7018537" y="3137961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23" name="Straight Connector 5422">
            <a:extLst>
              <a:ext uri="{FF2B5EF4-FFF2-40B4-BE49-F238E27FC236}">
                <a16:creationId xmlns:a16="http://schemas.microsoft.com/office/drawing/2014/main" id="{70BBC55A-CE1B-4766-FF87-4E19815570AC}"/>
              </a:ext>
            </a:extLst>
          </p:cNvPr>
          <p:cNvCxnSpPr>
            <a:cxnSpLocks/>
          </p:cNvCxnSpPr>
          <p:nvPr/>
        </p:nvCxnSpPr>
        <p:spPr>
          <a:xfrm>
            <a:off x="7007443" y="3127404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24" name="Straight Connector 5423">
            <a:extLst>
              <a:ext uri="{FF2B5EF4-FFF2-40B4-BE49-F238E27FC236}">
                <a16:creationId xmlns:a16="http://schemas.microsoft.com/office/drawing/2014/main" id="{82AE347A-ABAA-EDD6-7D76-57580A27A2A7}"/>
              </a:ext>
            </a:extLst>
          </p:cNvPr>
          <p:cNvCxnSpPr>
            <a:cxnSpLocks/>
          </p:cNvCxnSpPr>
          <p:nvPr/>
        </p:nvCxnSpPr>
        <p:spPr>
          <a:xfrm>
            <a:off x="6999247" y="3118608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25" name="Straight Connector 5424">
            <a:extLst>
              <a:ext uri="{FF2B5EF4-FFF2-40B4-BE49-F238E27FC236}">
                <a16:creationId xmlns:a16="http://schemas.microsoft.com/office/drawing/2014/main" id="{98A4D3BA-35D4-FD3F-1408-311812719764}"/>
              </a:ext>
            </a:extLst>
          </p:cNvPr>
          <p:cNvCxnSpPr>
            <a:cxnSpLocks/>
          </p:cNvCxnSpPr>
          <p:nvPr/>
        </p:nvCxnSpPr>
        <p:spPr>
          <a:xfrm>
            <a:off x="6990080" y="3109219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26" name="Straight Connector 5425">
            <a:extLst>
              <a:ext uri="{FF2B5EF4-FFF2-40B4-BE49-F238E27FC236}">
                <a16:creationId xmlns:a16="http://schemas.microsoft.com/office/drawing/2014/main" id="{16250BAB-3FBC-4A21-7A37-5A137B8DDFA3}"/>
              </a:ext>
            </a:extLst>
          </p:cNvPr>
          <p:cNvCxnSpPr>
            <a:cxnSpLocks/>
          </p:cNvCxnSpPr>
          <p:nvPr/>
        </p:nvCxnSpPr>
        <p:spPr>
          <a:xfrm>
            <a:off x="6978984" y="3102182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27" name="Straight Connector 5426">
            <a:extLst>
              <a:ext uri="{FF2B5EF4-FFF2-40B4-BE49-F238E27FC236}">
                <a16:creationId xmlns:a16="http://schemas.microsoft.com/office/drawing/2014/main" id="{FD0E2489-B6A0-7B73-C3CA-91E3BB092B1A}"/>
              </a:ext>
            </a:extLst>
          </p:cNvPr>
          <p:cNvCxnSpPr>
            <a:cxnSpLocks/>
          </p:cNvCxnSpPr>
          <p:nvPr/>
        </p:nvCxnSpPr>
        <p:spPr>
          <a:xfrm>
            <a:off x="6967892" y="3096316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28" name="Straight Connector 5427">
            <a:extLst>
              <a:ext uri="{FF2B5EF4-FFF2-40B4-BE49-F238E27FC236}">
                <a16:creationId xmlns:a16="http://schemas.microsoft.com/office/drawing/2014/main" id="{19E933D9-1819-80E1-D832-5A9C3C51834D}"/>
              </a:ext>
            </a:extLst>
          </p:cNvPr>
          <p:cNvCxnSpPr>
            <a:cxnSpLocks/>
          </p:cNvCxnSpPr>
          <p:nvPr/>
        </p:nvCxnSpPr>
        <p:spPr>
          <a:xfrm>
            <a:off x="6956796" y="3089277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29" name="Straight Connector 5428">
            <a:extLst>
              <a:ext uri="{FF2B5EF4-FFF2-40B4-BE49-F238E27FC236}">
                <a16:creationId xmlns:a16="http://schemas.microsoft.com/office/drawing/2014/main" id="{C2B78D02-59BE-F7F8-6F66-54A40CE03C87}"/>
              </a:ext>
            </a:extLst>
          </p:cNvPr>
          <p:cNvCxnSpPr>
            <a:cxnSpLocks/>
          </p:cNvCxnSpPr>
          <p:nvPr/>
        </p:nvCxnSpPr>
        <p:spPr>
          <a:xfrm>
            <a:off x="6943914" y="3077542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30" name="Straight Connector 5429">
            <a:extLst>
              <a:ext uri="{FF2B5EF4-FFF2-40B4-BE49-F238E27FC236}">
                <a16:creationId xmlns:a16="http://schemas.microsoft.com/office/drawing/2014/main" id="{356532D3-BA83-7B00-12B0-1E5B3C033EAD}"/>
              </a:ext>
            </a:extLst>
          </p:cNvPr>
          <p:cNvCxnSpPr>
            <a:cxnSpLocks/>
          </p:cNvCxnSpPr>
          <p:nvPr/>
        </p:nvCxnSpPr>
        <p:spPr>
          <a:xfrm>
            <a:off x="6932201" y="3073438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31" name="Straight Connector 5430">
            <a:extLst>
              <a:ext uri="{FF2B5EF4-FFF2-40B4-BE49-F238E27FC236}">
                <a16:creationId xmlns:a16="http://schemas.microsoft.com/office/drawing/2014/main" id="{395F80CE-CE28-CF6F-37AE-F49BED14A1E9}"/>
              </a:ext>
            </a:extLst>
          </p:cNvPr>
          <p:cNvCxnSpPr>
            <a:cxnSpLocks/>
          </p:cNvCxnSpPr>
          <p:nvPr/>
        </p:nvCxnSpPr>
        <p:spPr>
          <a:xfrm>
            <a:off x="6930274" y="3066400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32" name="Straight Connector 5431">
            <a:extLst>
              <a:ext uri="{FF2B5EF4-FFF2-40B4-BE49-F238E27FC236}">
                <a16:creationId xmlns:a16="http://schemas.microsoft.com/office/drawing/2014/main" id="{000B9485-8841-F083-DC9E-3DF6CABC886A}"/>
              </a:ext>
            </a:extLst>
          </p:cNvPr>
          <p:cNvCxnSpPr>
            <a:cxnSpLocks/>
          </p:cNvCxnSpPr>
          <p:nvPr/>
        </p:nvCxnSpPr>
        <p:spPr>
          <a:xfrm>
            <a:off x="6921728" y="3055841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33" name="Straight Connector 5432">
            <a:extLst>
              <a:ext uri="{FF2B5EF4-FFF2-40B4-BE49-F238E27FC236}">
                <a16:creationId xmlns:a16="http://schemas.microsoft.com/office/drawing/2014/main" id="{6CDE8BFA-B38C-2D5C-5AAB-F3CDCF1E6786}"/>
              </a:ext>
            </a:extLst>
          </p:cNvPr>
          <p:cNvCxnSpPr>
            <a:cxnSpLocks/>
          </p:cNvCxnSpPr>
          <p:nvPr/>
        </p:nvCxnSpPr>
        <p:spPr>
          <a:xfrm>
            <a:off x="6910013" y="3047043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34" name="Straight Connector 5433">
            <a:extLst>
              <a:ext uri="{FF2B5EF4-FFF2-40B4-BE49-F238E27FC236}">
                <a16:creationId xmlns:a16="http://schemas.microsoft.com/office/drawing/2014/main" id="{299A8079-AAEC-2AF0-D3E8-4BEC97BE7F11}"/>
              </a:ext>
            </a:extLst>
          </p:cNvPr>
          <p:cNvCxnSpPr>
            <a:cxnSpLocks/>
          </p:cNvCxnSpPr>
          <p:nvPr/>
        </p:nvCxnSpPr>
        <p:spPr>
          <a:xfrm>
            <a:off x="6899540" y="3030619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35" name="Straight Connector 5434">
            <a:extLst>
              <a:ext uri="{FF2B5EF4-FFF2-40B4-BE49-F238E27FC236}">
                <a16:creationId xmlns:a16="http://schemas.microsoft.com/office/drawing/2014/main" id="{F17E8BA5-309D-E496-F2AC-547FEA2B9F3F}"/>
              </a:ext>
            </a:extLst>
          </p:cNvPr>
          <p:cNvCxnSpPr>
            <a:cxnSpLocks/>
          </p:cNvCxnSpPr>
          <p:nvPr/>
        </p:nvCxnSpPr>
        <p:spPr>
          <a:xfrm>
            <a:off x="6891318" y="3017717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36" name="Straight Connector 5435">
            <a:extLst>
              <a:ext uri="{FF2B5EF4-FFF2-40B4-BE49-F238E27FC236}">
                <a16:creationId xmlns:a16="http://schemas.microsoft.com/office/drawing/2014/main" id="{A8D83F9F-2BF1-B4F3-9AD7-07622CE59FD1}"/>
              </a:ext>
            </a:extLst>
          </p:cNvPr>
          <p:cNvCxnSpPr>
            <a:cxnSpLocks/>
          </p:cNvCxnSpPr>
          <p:nvPr/>
        </p:nvCxnSpPr>
        <p:spPr>
          <a:xfrm>
            <a:off x="6880224" y="2999533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37" name="Straight Connector 5436">
            <a:extLst>
              <a:ext uri="{FF2B5EF4-FFF2-40B4-BE49-F238E27FC236}">
                <a16:creationId xmlns:a16="http://schemas.microsoft.com/office/drawing/2014/main" id="{C10D7558-77CC-D959-089A-2FDAADA0C081}"/>
              </a:ext>
            </a:extLst>
          </p:cNvPr>
          <p:cNvCxnSpPr>
            <a:cxnSpLocks/>
          </p:cNvCxnSpPr>
          <p:nvPr/>
        </p:nvCxnSpPr>
        <p:spPr>
          <a:xfrm>
            <a:off x="6868916" y="2994842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38" name="Straight Connector 5437">
            <a:extLst>
              <a:ext uri="{FF2B5EF4-FFF2-40B4-BE49-F238E27FC236}">
                <a16:creationId xmlns:a16="http://schemas.microsoft.com/office/drawing/2014/main" id="{1CA43B26-9E46-581F-FC12-67858561C4D3}"/>
              </a:ext>
            </a:extLst>
          </p:cNvPr>
          <p:cNvCxnSpPr>
            <a:cxnSpLocks/>
          </p:cNvCxnSpPr>
          <p:nvPr/>
        </p:nvCxnSpPr>
        <p:spPr>
          <a:xfrm>
            <a:off x="6818854" y="2912725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39" name="Straight Connector 5438">
            <a:extLst>
              <a:ext uri="{FF2B5EF4-FFF2-40B4-BE49-F238E27FC236}">
                <a16:creationId xmlns:a16="http://schemas.microsoft.com/office/drawing/2014/main" id="{293564C2-23A4-7EA1-C3A9-3A10730A20C9}"/>
              </a:ext>
            </a:extLst>
          </p:cNvPr>
          <p:cNvCxnSpPr>
            <a:cxnSpLocks/>
          </p:cNvCxnSpPr>
          <p:nvPr/>
        </p:nvCxnSpPr>
        <p:spPr>
          <a:xfrm>
            <a:off x="6858038" y="2981937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40" name="Straight Connector 5439">
            <a:extLst>
              <a:ext uri="{FF2B5EF4-FFF2-40B4-BE49-F238E27FC236}">
                <a16:creationId xmlns:a16="http://schemas.microsoft.com/office/drawing/2014/main" id="{CC1C7CB3-5A6E-55FB-8A3A-3D20EB6AB2A6}"/>
              </a:ext>
            </a:extLst>
          </p:cNvPr>
          <p:cNvCxnSpPr>
            <a:cxnSpLocks/>
          </p:cNvCxnSpPr>
          <p:nvPr/>
        </p:nvCxnSpPr>
        <p:spPr>
          <a:xfrm>
            <a:off x="6846946" y="2969615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41" name="Straight Connector 5440">
            <a:extLst>
              <a:ext uri="{FF2B5EF4-FFF2-40B4-BE49-F238E27FC236}">
                <a16:creationId xmlns:a16="http://schemas.microsoft.com/office/drawing/2014/main" id="{4390CF60-3C7D-A8F0-ECA9-5D95FAE7608B}"/>
              </a:ext>
            </a:extLst>
          </p:cNvPr>
          <p:cNvCxnSpPr>
            <a:cxnSpLocks/>
          </p:cNvCxnSpPr>
          <p:nvPr/>
        </p:nvCxnSpPr>
        <p:spPr>
          <a:xfrm>
            <a:off x="6818854" y="2876943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42" name="Straight Connector 5441">
            <a:extLst>
              <a:ext uri="{FF2B5EF4-FFF2-40B4-BE49-F238E27FC236}">
                <a16:creationId xmlns:a16="http://schemas.microsoft.com/office/drawing/2014/main" id="{E8AEA5CC-F806-DBF5-29FF-D01FADF981A5}"/>
              </a:ext>
            </a:extLst>
          </p:cNvPr>
          <p:cNvCxnSpPr>
            <a:cxnSpLocks/>
          </p:cNvCxnSpPr>
          <p:nvPr/>
        </p:nvCxnSpPr>
        <p:spPr>
          <a:xfrm>
            <a:off x="6807762" y="2865214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43" name="Straight Connector 5442">
            <a:extLst>
              <a:ext uri="{FF2B5EF4-FFF2-40B4-BE49-F238E27FC236}">
                <a16:creationId xmlns:a16="http://schemas.microsoft.com/office/drawing/2014/main" id="{EEB16844-8F22-B29A-F6C0-A758AED99EFB}"/>
              </a:ext>
            </a:extLst>
          </p:cNvPr>
          <p:cNvCxnSpPr>
            <a:cxnSpLocks/>
          </p:cNvCxnSpPr>
          <p:nvPr/>
        </p:nvCxnSpPr>
        <p:spPr>
          <a:xfrm>
            <a:off x="6796667" y="2860551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44" name="Straight Connector 5443">
            <a:extLst>
              <a:ext uri="{FF2B5EF4-FFF2-40B4-BE49-F238E27FC236}">
                <a16:creationId xmlns:a16="http://schemas.microsoft.com/office/drawing/2014/main" id="{A6A8A1FF-B8E7-CD5B-F89C-EF224B762AAF}"/>
              </a:ext>
            </a:extLst>
          </p:cNvPr>
          <p:cNvCxnSpPr>
            <a:cxnSpLocks/>
          </p:cNvCxnSpPr>
          <p:nvPr/>
        </p:nvCxnSpPr>
        <p:spPr>
          <a:xfrm>
            <a:off x="6786909" y="2847854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45" name="Straight Connector 5444">
            <a:extLst>
              <a:ext uri="{FF2B5EF4-FFF2-40B4-BE49-F238E27FC236}">
                <a16:creationId xmlns:a16="http://schemas.microsoft.com/office/drawing/2014/main" id="{6ECB5FFA-E9CE-3026-8A12-BA55069F8E96}"/>
              </a:ext>
            </a:extLst>
          </p:cNvPr>
          <p:cNvCxnSpPr>
            <a:cxnSpLocks/>
          </p:cNvCxnSpPr>
          <p:nvPr/>
        </p:nvCxnSpPr>
        <p:spPr>
          <a:xfrm>
            <a:off x="6775817" y="2822897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46" name="Straight Connector 5445">
            <a:extLst>
              <a:ext uri="{FF2B5EF4-FFF2-40B4-BE49-F238E27FC236}">
                <a16:creationId xmlns:a16="http://schemas.microsoft.com/office/drawing/2014/main" id="{D7BFAC45-3A86-FFF4-7F18-883DC3270F5C}"/>
              </a:ext>
            </a:extLst>
          </p:cNvPr>
          <p:cNvCxnSpPr>
            <a:cxnSpLocks/>
          </p:cNvCxnSpPr>
          <p:nvPr/>
        </p:nvCxnSpPr>
        <p:spPr>
          <a:xfrm>
            <a:off x="6761920" y="2818378"/>
            <a:ext cx="0" cy="71561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47" name="Straight Connector 5446">
            <a:extLst>
              <a:ext uri="{FF2B5EF4-FFF2-40B4-BE49-F238E27FC236}">
                <a16:creationId xmlns:a16="http://schemas.microsoft.com/office/drawing/2014/main" id="{E8D613B5-E501-03DA-81E1-653F902287C8}"/>
              </a:ext>
            </a:extLst>
          </p:cNvPr>
          <p:cNvCxnSpPr>
            <a:cxnSpLocks/>
          </p:cNvCxnSpPr>
          <p:nvPr/>
        </p:nvCxnSpPr>
        <p:spPr>
          <a:xfrm rot="16200000" flipH="1">
            <a:off x="6677427" y="2640397"/>
            <a:ext cx="0" cy="104308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48" name="Straight Connector 5447">
            <a:extLst>
              <a:ext uri="{FF2B5EF4-FFF2-40B4-BE49-F238E27FC236}">
                <a16:creationId xmlns:a16="http://schemas.microsoft.com/office/drawing/2014/main" id="{AAE2D4D4-D71D-1B0B-810B-17C7472101DE}"/>
              </a:ext>
            </a:extLst>
          </p:cNvPr>
          <p:cNvCxnSpPr>
            <a:cxnSpLocks/>
          </p:cNvCxnSpPr>
          <p:nvPr/>
        </p:nvCxnSpPr>
        <p:spPr>
          <a:xfrm rot="16200000" flipH="1">
            <a:off x="6646214" y="2532860"/>
            <a:ext cx="0" cy="104308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49" name="Straight Connector 5448">
            <a:extLst>
              <a:ext uri="{FF2B5EF4-FFF2-40B4-BE49-F238E27FC236}">
                <a16:creationId xmlns:a16="http://schemas.microsoft.com/office/drawing/2014/main" id="{B9D8E229-00D6-E88F-97E1-C0B2A2C6F88A}"/>
              </a:ext>
            </a:extLst>
          </p:cNvPr>
          <p:cNvCxnSpPr>
            <a:cxnSpLocks/>
          </p:cNvCxnSpPr>
          <p:nvPr/>
        </p:nvCxnSpPr>
        <p:spPr>
          <a:xfrm rot="16200000" flipH="1">
            <a:off x="6669051" y="2588890"/>
            <a:ext cx="0" cy="104308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50" name="Straight Connector 5449">
            <a:extLst>
              <a:ext uri="{FF2B5EF4-FFF2-40B4-BE49-F238E27FC236}">
                <a16:creationId xmlns:a16="http://schemas.microsoft.com/office/drawing/2014/main" id="{3B0B2A7B-0D35-EF16-B7E4-F1C706428462}"/>
              </a:ext>
            </a:extLst>
          </p:cNvPr>
          <p:cNvCxnSpPr>
            <a:cxnSpLocks/>
          </p:cNvCxnSpPr>
          <p:nvPr/>
        </p:nvCxnSpPr>
        <p:spPr>
          <a:xfrm rot="16200000" flipH="1">
            <a:off x="6602929" y="2394182"/>
            <a:ext cx="0" cy="104308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51" name="Straight Connector 5450">
            <a:extLst>
              <a:ext uri="{FF2B5EF4-FFF2-40B4-BE49-F238E27FC236}">
                <a16:creationId xmlns:a16="http://schemas.microsoft.com/office/drawing/2014/main" id="{B530AB4F-75F7-202A-1FB6-463BE797A67D}"/>
              </a:ext>
            </a:extLst>
          </p:cNvPr>
          <p:cNvCxnSpPr>
            <a:cxnSpLocks/>
          </p:cNvCxnSpPr>
          <p:nvPr/>
        </p:nvCxnSpPr>
        <p:spPr>
          <a:xfrm rot="16200000" flipH="1">
            <a:off x="6578147" y="2347291"/>
            <a:ext cx="0" cy="104308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52" name="Straight Connector 5451">
            <a:extLst>
              <a:ext uri="{FF2B5EF4-FFF2-40B4-BE49-F238E27FC236}">
                <a16:creationId xmlns:a16="http://schemas.microsoft.com/office/drawing/2014/main" id="{4B5C5B27-1074-CD68-29A6-1F4AF552AD8C}"/>
              </a:ext>
            </a:extLst>
          </p:cNvPr>
          <p:cNvCxnSpPr>
            <a:cxnSpLocks/>
          </p:cNvCxnSpPr>
          <p:nvPr/>
        </p:nvCxnSpPr>
        <p:spPr>
          <a:xfrm rot="16200000" flipH="1">
            <a:off x="6578147" y="2341051"/>
            <a:ext cx="0" cy="104308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53" name="Straight Connector 5452">
            <a:extLst>
              <a:ext uri="{FF2B5EF4-FFF2-40B4-BE49-F238E27FC236}">
                <a16:creationId xmlns:a16="http://schemas.microsoft.com/office/drawing/2014/main" id="{83A8511E-A50A-DBCB-E7D7-F3D43E130F72}"/>
              </a:ext>
            </a:extLst>
          </p:cNvPr>
          <p:cNvCxnSpPr>
            <a:cxnSpLocks/>
          </p:cNvCxnSpPr>
          <p:nvPr/>
        </p:nvCxnSpPr>
        <p:spPr>
          <a:xfrm rot="16200000" flipH="1">
            <a:off x="6559347" y="2294332"/>
            <a:ext cx="0" cy="104308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54" name="Straight Connector 5453">
            <a:extLst>
              <a:ext uri="{FF2B5EF4-FFF2-40B4-BE49-F238E27FC236}">
                <a16:creationId xmlns:a16="http://schemas.microsoft.com/office/drawing/2014/main" id="{BBE18BA6-C487-1BA0-81E5-792A7F91533D}"/>
              </a:ext>
            </a:extLst>
          </p:cNvPr>
          <p:cNvCxnSpPr>
            <a:cxnSpLocks/>
          </p:cNvCxnSpPr>
          <p:nvPr/>
        </p:nvCxnSpPr>
        <p:spPr>
          <a:xfrm rot="16200000" flipH="1">
            <a:off x="6559178" y="2285899"/>
            <a:ext cx="0" cy="104308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55" name="Freeform: Shape 2006">
            <a:extLst>
              <a:ext uri="{FF2B5EF4-FFF2-40B4-BE49-F238E27FC236}">
                <a16:creationId xmlns:a16="http://schemas.microsoft.com/office/drawing/2014/main" id="{73D866B1-974A-4270-79E9-B44253F6CD8C}"/>
              </a:ext>
            </a:extLst>
          </p:cNvPr>
          <p:cNvSpPr/>
          <p:nvPr/>
        </p:nvSpPr>
        <p:spPr>
          <a:xfrm>
            <a:off x="6330862" y="1984792"/>
            <a:ext cx="220586" cy="644042"/>
          </a:xfrm>
          <a:custGeom>
            <a:avLst/>
            <a:gdLst>
              <a:gd name="connsiteX0" fmla="*/ 0 w 317090"/>
              <a:gd name="connsiteY0" fmla="*/ 0 h 1349478"/>
              <a:gd name="connsiteX1" fmla="*/ 71284 w 317090"/>
              <a:gd name="connsiteY1" fmla="*/ 0 h 1349478"/>
              <a:gd name="connsiteX2" fmla="*/ 71284 w 317090"/>
              <a:gd name="connsiteY2" fmla="*/ 125362 h 1349478"/>
              <a:gd name="connsiteX3" fmla="*/ 120445 w 317090"/>
              <a:gd name="connsiteY3" fmla="*/ 125362 h 1349478"/>
              <a:gd name="connsiteX4" fmla="*/ 120445 w 317090"/>
              <a:gd name="connsiteY4" fmla="*/ 280220 h 1349478"/>
              <a:gd name="connsiteX5" fmla="*/ 169607 w 317090"/>
              <a:gd name="connsiteY5" fmla="*/ 280220 h 1349478"/>
              <a:gd name="connsiteX6" fmla="*/ 169607 w 317090"/>
              <a:gd name="connsiteY6" fmla="*/ 425245 h 1349478"/>
              <a:gd name="connsiteX7" fmla="*/ 211394 w 317090"/>
              <a:gd name="connsiteY7" fmla="*/ 425245 h 1349478"/>
              <a:gd name="connsiteX8" fmla="*/ 211394 w 317090"/>
              <a:gd name="connsiteY8" fmla="*/ 857865 h 1349478"/>
              <a:gd name="connsiteX9" fmla="*/ 245807 w 317090"/>
              <a:gd name="connsiteY9" fmla="*/ 857865 h 1349478"/>
              <a:gd name="connsiteX10" fmla="*/ 245807 w 317090"/>
              <a:gd name="connsiteY10" fmla="*/ 1022555 h 1349478"/>
              <a:gd name="connsiteX11" fmla="*/ 267929 w 317090"/>
              <a:gd name="connsiteY11" fmla="*/ 1022555 h 1349478"/>
              <a:gd name="connsiteX12" fmla="*/ 267929 w 317090"/>
              <a:gd name="connsiteY12" fmla="*/ 1199536 h 1349478"/>
              <a:gd name="connsiteX13" fmla="*/ 317090 w 317090"/>
              <a:gd name="connsiteY13" fmla="*/ 1199536 h 1349478"/>
              <a:gd name="connsiteX14" fmla="*/ 317090 w 317090"/>
              <a:gd name="connsiteY14" fmla="*/ 1349478 h 13494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317090" h="1349478">
                <a:moveTo>
                  <a:pt x="0" y="0"/>
                </a:moveTo>
                <a:lnTo>
                  <a:pt x="71284" y="0"/>
                </a:lnTo>
                <a:lnTo>
                  <a:pt x="71284" y="125362"/>
                </a:lnTo>
                <a:lnTo>
                  <a:pt x="120445" y="125362"/>
                </a:lnTo>
                <a:lnTo>
                  <a:pt x="120445" y="280220"/>
                </a:lnTo>
                <a:lnTo>
                  <a:pt x="169607" y="280220"/>
                </a:lnTo>
                <a:lnTo>
                  <a:pt x="169607" y="425245"/>
                </a:lnTo>
                <a:lnTo>
                  <a:pt x="211394" y="425245"/>
                </a:lnTo>
                <a:lnTo>
                  <a:pt x="211394" y="857865"/>
                </a:lnTo>
                <a:lnTo>
                  <a:pt x="245807" y="857865"/>
                </a:lnTo>
                <a:lnTo>
                  <a:pt x="245807" y="1022555"/>
                </a:lnTo>
                <a:lnTo>
                  <a:pt x="267929" y="1022555"/>
                </a:lnTo>
                <a:lnTo>
                  <a:pt x="267929" y="1199536"/>
                </a:lnTo>
                <a:lnTo>
                  <a:pt x="317090" y="1199536"/>
                </a:lnTo>
                <a:lnTo>
                  <a:pt x="317090" y="1349478"/>
                </a:lnTo>
              </a:path>
            </a:pathLst>
          </a:custGeom>
          <a:noFill/>
          <a:ln w="19050"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456" name="Freeform: Shape 2007">
            <a:extLst>
              <a:ext uri="{FF2B5EF4-FFF2-40B4-BE49-F238E27FC236}">
                <a16:creationId xmlns:a16="http://schemas.microsoft.com/office/drawing/2014/main" id="{2E0BF2E4-759E-F855-01EE-7A0207CA1B76}"/>
              </a:ext>
            </a:extLst>
          </p:cNvPr>
          <p:cNvSpPr/>
          <p:nvPr/>
        </p:nvSpPr>
        <p:spPr>
          <a:xfrm>
            <a:off x="6551448" y="2600679"/>
            <a:ext cx="424070" cy="893914"/>
          </a:xfrm>
          <a:custGeom>
            <a:avLst/>
            <a:gdLst>
              <a:gd name="connsiteX0" fmla="*/ 0 w 609600"/>
              <a:gd name="connsiteY0" fmla="*/ 0 h 1873045"/>
              <a:gd name="connsiteX1" fmla="*/ 0 w 609600"/>
              <a:gd name="connsiteY1" fmla="*/ 164690 h 1873045"/>
              <a:gd name="connsiteX2" fmla="*/ 44246 w 609600"/>
              <a:gd name="connsiteY2" fmla="*/ 164690 h 1873045"/>
              <a:gd name="connsiteX3" fmla="*/ 44246 w 609600"/>
              <a:gd name="connsiteY3" fmla="*/ 299884 h 1873045"/>
              <a:gd name="connsiteX4" fmla="*/ 73742 w 609600"/>
              <a:gd name="connsiteY4" fmla="*/ 299884 h 1873045"/>
              <a:gd name="connsiteX5" fmla="*/ 73742 w 609600"/>
              <a:gd name="connsiteY5" fmla="*/ 543232 h 1873045"/>
              <a:gd name="connsiteX6" fmla="*/ 164691 w 609600"/>
              <a:gd name="connsiteY6" fmla="*/ 543232 h 1873045"/>
              <a:gd name="connsiteX7" fmla="*/ 164691 w 609600"/>
              <a:gd name="connsiteY7" fmla="*/ 698090 h 1873045"/>
              <a:gd name="connsiteX8" fmla="*/ 194187 w 609600"/>
              <a:gd name="connsiteY8" fmla="*/ 698090 h 1873045"/>
              <a:gd name="connsiteX9" fmla="*/ 194187 w 609600"/>
              <a:gd name="connsiteY9" fmla="*/ 857865 h 1873045"/>
              <a:gd name="connsiteX10" fmla="*/ 238433 w 609600"/>
              <a:gd name="connsiteY10" fmla="*/ 857865 h 1873045"/>
              <a:gd name="connsiteX11" fmla="*/ 238433 w 609600"/>
              <a:gd name="connsiteY11" fmla="*/ 1108587 h 1873045"/>
              <a:gd name="connsiteX12" fmla="*/ 307258 w 609600"/>
              <a:gd name="connsiteY12" fmla="*/ 1108587 h 1873045"/>
              <a:gd name="connsiteX13" fmla="*/ 307258 w 609600"/>
              <a:gd name="connsiteY13" fmla="*/ 1423220 h 1873045"/>
              <a:gd name="connsiteX14" fmla="*/ 344129 w 609600"/>
              <a:gd name="connsiteY14" fmla="*/ 1423220 h 1873045"/>
              <a:gd name="connsiteX15" fmla="*/ 344129 w 609600"/>
              <a:gd name="connsiteY15" fmla="*/ 1700981 h 1873045"/>
              <a:gd name="connsiteX16" fmla="*/ 442452 w 609600"/>
              <a:gd name="connsiteY16" fmla="*/ 1700981 h 1873045"/>
              <a:gd name="connsiteX17" fmla="*/ 442452 w 609600"/>
              <a:gd name="connsiteY17" fmla="*/ 1833716 h 1873045"/>
              <a:gd name="connsiteX18" fmla="*/ 506362 w 609600"/>
              <a:gd name="connsiteY18" fmla="*/ 1833716 h 1873045"/>
              <a:gd name="connsiteX19" fmla="*/ 506362 w 609600"/>
              <a:gd name="connsiteY19" fmla="*/ 1873045 h 1873045"/>
              <a:gd name="connsiteX20" fmla="*/ 609600 w 609600"/>
              <a:gd name="connsiteY20" fmla="*/ 1873045 h 18730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609600" h="1873045">
                <a:moveTo>
                  <a:pt x="0" y="0"/>
                </a:moveTo>
                <a:lnTo>
                  <a:pt x="0" y="164690"/>
                </a:lnTo>
                <a:lnTo>
                  <a:pt x="44246" y="164690"/>
                </a:lnTo>
                <a:lnTo>
                  <a:pt x="44246" y="299884"/>
                </a:lnTo>
                <a:lnTo>
                  <a:pt x="73742" y="299884"/>
                </a:lnTo>
                <a:lnTo>
                  <a:pt x="73742" y="543232"/>
                </a:lnTo>
                <a:lnTo>
                  <a:pt x="164691" y="543232"/>
                </a:lnTo>
                <a:lnTo>
                  <a:pt x="164691" y="698090"/>
                </a:lnTo>
                <a:lnTo>
                  <a:pt x="194187" y="698090"/>
                </a:lnTo>
                <a:lnTo>
                  <a:pt x="194187" y="857865"/>
                </a:lnTo>
                <a:lnTo>
                  <a:pt x="238433" y="857865"/>
                </a:lnTo>
                <a:lnTo>
                  <a:pt x="238433" y="1108587"/>
                </a:lnTo>
                <a:lnTo>
                  <a:pt x="307258" y="1108587"/>
                </a:lnTo>
                <a:lnTo>
                  <a:pt x="307258" y="1423220"/>
                </a:lnTo>
                <a:lnTo>
                  <a:pt x="344129" y="1423220"/>
                </a:lnTo>
                <a:lnTo>
                  <a:pt x="344129" y="1700981"/>
                </a:lnTo>
                <a:lnTo>
                  <a:pt x="442452" y="1700981"/>
                </a:lnTo>
                <a:lnTo>
                  <a:pt x="442452" y="1833716"/>
                </a:lnTo>
                <a:lnTo>
                  <a:pt x="506362" y="1833716"/>
                </a:lnTo>
                <a:lnTo>
                  <a:pt x="506362" y="1873045"/>
                </a:lnTo>
                <a:lnTo>
                  <a:pt x="609600" y="1873045"/>
                </a:lnTo>
              </a:path>
            </a:pathLst>
          </a:cu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457" name="Freeform: Shape 2008">
            <a:extLst>
              <a:ext uri="{FF2B5EF4-FFF2-40B4-BE49-F238E27FC236}">
                <a16:creationId xmlns:a16="http://schemas.microsoft.com/office/drawing/2014/main" id="{980EB470-0FFE-A2DA-DCEF-19DB67AB2067}"/>
              </a:ext>
            </a:extLst>
          </p:cNvPr>
          <p:cNvSpPr/>
          <p:nvPr/>
        </p:nvSpPr>
        <p:spPr>
          <a:xfrm>
            <a:off x="6943028" y="3494593"/>
            <a:ext cx="1135415" cy="532595"/>
          </a:xfrm>
          <a:custGeom>
            <a:avLst/>
            <a:gdLst>
              <a:gd name="connsiteX0" fmla="*/ 0 w 1632155"/>
              <a:gd name="connsiteY0" fmla="*/ 0 h 1115962"/>
              <a:gd name="connsiteX1" fmla="*/ 88491 w 1632155"/>
              <a:gd name="connsiteY1" fmla="*/ 0 h 1115962"/>
              <a:gd name="connsiteX2" fmla="*/ 88491 w 1632155"/>
              <a:gd name="connsiteY2" fmla="*/ 204020 h 1115962"/>
              <a:gd name="connsiteX3" fmla="*/ 140110 w 1632155"/>
              <a:gd name="connsiteY3" fmla="*/ 204020 h 1115962"/>
              <a:gd name="connsiteX4" fmla="*/ 140110 w 1632155"/>
              <a:gd name="connsiteY4" fmla="*/ 258097 h 1115962"/>
              <a:gd name="connsiteX5" fmla="*/ 302342 w 1632155"/>
              <a:gd name="connsiteY5" fmla="*/ 258097 h 1115962"/>
              <a:gd name="connsiteX6" fmla="*/ 302342 w 1632155"/>
              <a:gd name="connsiteY6" fmla="*/ 449826 h 1115962"/>
              <a:gd name="connsiteX7" fmla="*/ 417871 w 1632155"/>
              <a:gd name="connsiteY7" fmla="*/ 449826 h 1115962"/>
              <a:gd name="connsiteX8" fmla="*/ 417871 w 1632155"/>
              <a:gd name="connsiteY8" fmla="*/ 707923 h 1115962"/>
              <a:gd name="connsiteX9" fmla="*/ 673510 w 1632155"/>
              <a:gd name="connsiteY9" fmla="*/ 707923 h 1115962"/>
              <a:gd name="connsiteX10" fmla="*/ 673510 w 1632155"/>
              <a:gd name="connsiteY10" fmla="*/ 830826 h 1115962"/>
              <a:gd name="connsiteX11" fmla="*/ 907026 w 1632155"/>
              <a:gd name="connsiteY11" fmla="*/ 830826 h 1115962"/>
              <a:gd name="connsiteX12" fmla="*/ 907026 w 1632155"/>
              <a:gd name="connsiteY12" fmla="*/ 963562 h 1115962"/>
              <a:gd name="connsiteX13" fmla="*/ 1135626 w 1632155"/>
              <a:gd name="connsiteY13" fmla="*/ 963562 h 1115962"/>
              <a:gd name="connsiteX14" fmla="*/ 1135626 w 1632155"/>
              <a:gd name="connsiteY14" fmla="*/ 1115962 h 1115962"/>
              <a:gd name="connsiteX15" fmla="*/ 1632155 w 1632155"/>
              <a:gd name="connsiteY15" fmla="*/ 1115962 h 1115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632155" h="1115962">
                <a:moveTo>
                  <a:pt x="0" y="0"/>
                </a:moveTo>
                <a:lnTo>
                  <a:pt x="88491" y="0"/>
                </a:lnTo>
                <a:lnTo>
                  <a:pt x="88491" y="204020"/>
                </a:lnTo>
                <a:lnTo>
                  <a:pt x="140110" y="204020"/>
                </a:lnTo>
                <a:lnTo>
                  <a:pt x="140110" y="258097"/>
                </a:lnTo>
                <a:lnTo>
                  <a:pt x="302342" y="258097"/>
                </a:lnTo>
                <a:lnTo>
                  <a:pt x="302342" y="449826"/>
                </a:lnTo>
                <a:lnTo>
                  <a:pt x="417871" y="449826"/>
                </a:lnTo>
                <a:lnTo>
                  <a:pt x="417871" y="707923"/>
                </a:lnTo>
                <a:lnTo>
                  <a:pt x="673510" y="707923"/>
                </a:lnTo>
                <a:lnTo>
                  <a:pt x="673510" y="830826"/>
                </a:lnTo>
                <a:lnTo>
                  <a:pt x="907026" y="830826"/>
                </a:lnTo>
                <a:lnTo>
                  <a:pt x="907026" y="963562"/>
                </a:lnTo>
                <a:lnTo>
                  <a:pt x="1135626" y="963562"/>
                </a:lnTo>
                <a:lnTo>
                  <a:pt x="1135626" y="1115962"/>
                </a:lnTo>
                <a:lnTo>
                  <a:pt x="1632155" y="1115962"/>
                </a:lnTo>
              </a:path>
            </a:pathLst>
          </a:cu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458" name="Freeform: Shape 2009">
            <a:extLst>
              <a:ext uri="{FF2B5EF4-FFF2-40B4-BE49-F238E27FC236}">
                <a16:creationId xmlns:a16="http://schemas.microsoft.com/office/drawing/2014/main" id="{DE50C56E-B8C1-3A2A-1A84-DEB85B198219}"/>
              </a:ext>
            </a:extLst>
          </p:cNvPr>
          <p:cNvSpPr/>
          <p:nvPr/>
        </p:nvSpPr>
        <p:spPr>
          <a:xfrm>
            <a:off x="8016882" y="4027188"/>
            <a:ext cx="1537254" cy="285067"/>
          </a:xfrm>
          <a:custGeom>
            <a:avLst/>
            <a:gdLst>
              <a:gd name="connsiteX0" fmla="*/ 0 w 2209800"/>
              <a:gd name="connsiteY0" fmla="*/ 0 h 597309"/>
              <a:gd name="connsiteX1" fmla="*/ 442451 w 2209800"/>
              <a:gd name="connsiteY1" fmla="*/ 0 h 597309"/>
              <a:gd name="connsiteX2" fmla="*/ 442451 w 2209800"/>
              <a:gd name="connsiteY2" fmla="*/ 302341 h 597309"/>
              <a:gd name="connsiteX3" fmla="*/ 720213 w 2209800"/>
              <a:gd name="connsiteY3" fmla="*/ 302341 h 597309"/>
              <a:gd name="connsiteX4" fmla="*/ 720213 w 2209800"/>
              <a:gd name="connsiteY4" fmla="*/ 597309 h 597309"/>
              <a:gd name="connsiteX5" fmla="*/ 2209800 w 2209800"/>
              <a:gd name="connsiteY5" fmla="*/ 597309 h 597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09800" h="597309">
                <a:moveTo>
                  <a:pt x="0" y="0"/>
                </a:moveTo>
                <a:lnTo>
                  <a:pt x="442451" y="0"/>
                </a:lnTo>
                <a:lnTo>
                  <a:pt x="442451" y="302341"/>
                </a:lnTo>
                <a:lnTo>
                  <a:pt x="720213" y="302341"/>
                </a:lnTo>
                <a:lnTo>
                  <a:pt x="720213" y="597309"/>
                </a:lnTo>
                <a:lnTo>
                  <a:pt x="2209800" y="597309"/>
                </a:lnTo>
              </a:path>
            </a:pathLst>
          </a:cu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5459" name="Straight Connector 5458">
            <a:extLst>
              <a:ext uri="{FF2B5EF4-FFF2-40B4-BE49-F238E27FC236}">
                <a16:creationId xmlns:a16="http://schemas.microsoft.com/office/drawing/2014/main" id="{6B6676FD-AA96-64FF-1CC4-C12934136C82}"/>
              </a:ext>
            </a:extLst>
          </p:cNvPr>
          <p:cNvCxnSpPr>
            <a:cxnSpLocks/>
          </p:cNvCxnSpPr>
          <p:nvPr/>
        </p:nvCxnSpPr>
        <p:spPr>
          <a:xfrm>
            <a:off x="9517487" y="4276473"/>
            <a:ext cx="0" cy="71561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60" name="Straight Connector 5459">
            <a:extLst>
              <a:ext uri="{FF2B5EF4-FFF2-40B4-BE49-F238E27FC236}">
                <a16:creationId xmlns:a16="http://schemas.microsoft.com/office/drawing/2014/main" id="{6E015E2D-4C06-C079-89BA-6EC8DA33D60C}"/>
              </a:ext>
            </a:extLst>
          </p:cNvPr>
          <p:cNvCxnSpPr>
            <a:cxnSpLocks/>
          </p:cNvCxnSpPr>
          <p:nvPr/>
        </p:nvCxnSpPr>
        <p:spPr>
          <a:xfrm>
            <a:off x="9353263" y="4276473"/>
            <a:ext cx="0" cy="71561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61" name="Straight Connector 5460">
            <a:extLst>
              <a:ext uri="{FF2B5EF4-FFF2-40B4-BE49-F238E27FC236}">
                <a16:creationId xmlns:a16="http://schemas.microsoft.com/office/drawing/2014/main" id="{A1E56D4E-673C-BE1A-BC55-9260CF79ED12}"/>
              </a:ext>
            </a:extLst>
          </p:cNvPr>
          <p:cNvCxnSpPr>
            <a:cxnSpLocks/>
          </p:cNvCxnSpPr>
          <p:nvPr/>
        </p:nvCxnSpPr>
        <p:spPr>
          <a:xfrm>
            <a:off x="9061251" y="4276473"/>
            <a:ext cx="0" cy="71561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62" name="Straight Connector 5461">
            <a:extLst>
              <a:ext uri="{FF2B5EF4-FFF2-40B4-BE49-F238E27FC236}">
                <a16:creationId xmlns:a16="http://schemas.microsoft.com/office/drawing/2014/main" id="{792A326E-D5F2-AE76-D547-556A3FB5D101}"/>
              </a:ext>
            </a:extLst>
          </p:cNvPr>
          <p:cNvCxnSpPr>
            <a:cxnSpLocks/>
          </p:cNvCxnSpPr>
          <p:nvPr/>
        </p:nvCxnSpPr>
        <p:spPr>
          <a:xfrm>
            <a:off x="8972260" y="4276473"/>
            <a:ext cx="0" cy="71561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63" name="Straight Connector 5462">
            <a:extLst>
              <a:ext uri="{FF2B5EF4-FFF2-40B4-BE49-F238E27FC236}">
                <a16:creationId xmlns:a16="http://schemas.microsoft.com/office/drawing/2014/main" id="{68F1D5D2-D59D-A8AF-57E1-75167D8B4B18}"/>
              </a:ext>
            </a:extLst>
          </p:cNvPr>
          <p:cNvCxnSpPr>
            <a:cxnSpLocks/>
          </p:cNvCxnSpPr>
          <p:nvPr/>
        </p:nvCxnSpPr>
        <p:spPr>
          <a:xfrm>
            <a:off x="8737063" y="4276473"/>
            <a:ext cx="0" cy="71561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64" name="Straight Connector 5463">
            <a:extLst>
              <a:ext uri="{FF2B5EF4-FFF2-40B4-BE49-F238E27FC236}">
                <a16:creationId xmlns:a16="http://schemas.microsoft.com/office/drawing/2014/main" id="{85B886F0-BD65-BF48-7B0C-005B249393F3}"/>
              </a:ext>
            </a:extLst>
          </p:cNvPr>
          <p:cNvCxnSpPr>
            <a:cxnSpLocks/>
          </p:cNvCxnSpPr>
          <p:nvPr/>
        </p:nvCxnSpPr>
        <p:spPr>
          <a:xfrm>
            <a:off x="8526067" y="4276473"/>
            <a:ext cx="0" cy="71561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65" name="Straight Connector 5464">
            <a:extLst>
              <a:ext uri="{FF2B5EF4-FFF2-40B4-BE49-F238E27FC236}">
                <a16:creationId xmlns:a16="http://schemas.microsoft.com/office/drawing/2014/main" id="{C1646CDE-1669-93F2-6306-8F2C4EEB593B}"/>
              </a:ext>
            </a:extLst>
          </p:cNvPr>
          <p:cNvCxnSpPr>
            <a:cxnSpLocks/>
          </p:cNvCxnSpPr>
          <p:nvPr/>
        </p:nvCxnSpPr>
        <p:spPr>
          <a:xfrm>
            <a:off x="7805589" y="3991407"/>
            <a:ext cx="0" cy="71561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66" name="Straight Connector 5465">
            <a:extLst>
              <a:ext uri="{FF2B5EF4-FFF2-40B4-BE49-F238E27FC236}">
                <a16:creationId xmlns:a16="http://schemas.microsoft.com/office/drawing/2014/main" id="{0136AA9D-91BD-C8E9-6669-13087E1F726F}"/>
              </a:ext>
            </a:extLst>
          </p:cNvPr>
          <p:cNvCxnSpPr>
            <a:cxnSpLocks/>
          </p:cNvCxnSpPr>
          <p:nvPr/>
        </p:nvCxnSpPr>
        <p:spPr>
          <a:xfrm>
            <a:off x="8315846" y="3992579"/>
            <a:ext cx="0" cy="71561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67" name="Straight Connector 5466">
            <a:extLst>
              <a:ext uri="{FF2B5EF4-FFF2-40B4-BE49-F238E27FC236}">
                <a16:creationId xmlns:a16="http://schemas.microsoft.com/office/drawing/2014/main" id="{3DC99910-4F41-FAE9-7D74-1046BE33F765}"/>
              </a:ext>
            </a:extLst>
          </p:cNvPr>
          <p:cNvCxnSpPr>
            <a:cxnSpLocks/>
          </p:cNvCxnSpPr>
          <p:nvPr/>
        </p:nvCxnSpPr>
        <p:spPr>
          <a:xfrm>
            <a:off x="8259976" y="3992579"/>
            <a:ext cx="0" cy="71561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68" name="Straight Connector 5467">
            <a:extLst>
              <a:ext uri="{FF2B5EF4-FFF2-40B4-BE49-F238E27FC236}">
                <a16:creationId xmlns:a16="http://schemas.microsoft.com/office/drawing/2014/main" id="{64A4B100-5A79-12CB-1BEB-0BD03DD10867}"/>
              </a:ext>
            </a:extLst>
          </p:cNvPr>
          <p:cNvCxnSpPr>
            <a:cxnSpLocks/>
          </p:cNvCxnSpPr>
          <p:nvPr/>
        </p:nvCxnSpPr>
        <p:spPr>
          <a:xfrm>
            <a:off x="8177593" y="3991407"/>
            <a:ext cx="0" cy="71561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69" name="Straight Connector 5468">
            <a:extLst>
              <a:ext uri="{FF2B5EF4-FFF2-40B4-BE49-F238E27FC236}">
                <a16:creationId xmlns:a16="http://schemas.microsoft.com/office/drawing/2014/main" id="{939F522D-595C-178F-3F7E-61BF63F6DAAE}"/>
              </a:ext>
            </a:extLst>
          </p:cNvPr>
          <p:cNvCxnSpPr>
            <a:cxnSpLocks/>
          </p:cNvCxnSpPr>
          <p:nvPr/>
        </p:nvCxnSpPr>
        <p:spPr>
          <a:xfrm>
            <a:off x="7880604" y="3991407"/>
            <a:ext cx="0" cy="71561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70" name="Straight Connector 5469">
            <a:extLst>
              <a:ext uri="{FF2B5EF4-FFF2-40B4-BE49-F238E27FC236}">
                <a16:creationId xmlns:a16="http://schemas.microsoft.com/office/drawing/2014/main" id="{A16354FF-FB59-E004-DCE2-C121E6CFCB3E}"/>
              </a:ext>
            </a:extLst>
          </p:cNvPr>
          <p:cNvCxnSpPr>
            <a:cxnSpLocks/>
          </p:cNvCxnSpPr>
          <p:nvPr/>
        </p:nvCxnSpPr>
        <p:spPr>
          <a:xfrm>
            <a:off x="7949364" y="3991407"/>
            <a:ext cx="0" cy="71561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71" name="Straight Connector 5470">
            <a:extLst>
              <a:ext uri="{FF2B5EF4-FFF2-40B4-BE49-F238E27FC236}">
                <a16:creationId xmlns:a16="http://schemas.microsoft.com/office/drawing/2014/main" id="{1E82E18C-FF0B-49AD-6F97-C5437346C530}"/>
              </a:ext>
            </a:extLst>
          </p:cNvPr>
          <p:cNvCxnSpPr>
            <a:cxnSpLocks/>
          </p:cNvCxnSpPr>
          <p:nvPr/>
        </p:nvCxnSpPr>
        <p:spPr>
          <a:xfrm>
            <a:off x="8033378" y="3991407"/>
            <a:ext cx="0" cy="71561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72" name="Straight Connector 5471">
            <a:extLst>
              <a:ext uri="{FF2B5EF4-FFF2-40B4-BE49-F238E27FC236}">
                <a16:creationId xmlns:a16="http://schemas.microsoft.com/office/drawing/2014/main" id="{79CC7445-2F0B-34D2-625D-047A588A6407}"/>
              </a:ext>
            </a:extLst>
          </p:cNvPr>
          <p:cNvCxnSpPr>
            <a:cxnSpLocks/>
          </p:cNvCxnSpPr>
          <p:nvPr/>
        </p:nvCxnSpPr>
        <p:spPr>
          <a:xfrm>
            <a:off x="7714775" y="3928057"/>
            <a:ext cx="0" cy="71561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73" name="Straight Connector 5472">
            <a:extLst>
              <a:ext uri="{FF2B5EF4-FFF2-40B4-BE49-F238E27FC236}">
                <a16:creationId xmlns:a16="http://schemas.microsoft.com/office/drawing/2014/main" id="{B0D792BE-BC30-D1D5-C905-EB88053E3B8C}"/>
              </a:ext>
            </a:extLst>
          </p:cNvPr>
          <p:cNvCxnSpPr>
            <a:cxnSpLocks/>
          </p:cNvCxnSpPr>
          <p:nvPr/>
        </p:nvCxnSpPr>
        <p:spPr>
          <a:xfrm>
            <a:off x="7630555" y="3919848"/>
            <a:ext cx="0" cy="71561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74" name="Straight Connector 5473">
            <a:extLst>
              <a:ext uri="{FF2B5EF4-FFF2-40B4-BE49-F238E27FC236}">
                <a16:creationId xmlns:a16="http://schemas.microsoft.com/office/drawing/2014/main" id="{29245C00-527C-6123-C84E-974D81FA6272}"/>
              </a:ext>
            </a:extLst>
          </p:cNvPr>
          <p:cNvCxnSpPr>
            <a:cxnSpLocks/>
          </p:cNvCxnSpPr>
          <p:nvPr/>
        </p:nvCxnSpPr>
        <p:spPr>
          <a:xfrm>
            <a:off x="7430488" y="3856497"/>
            <a:ext cx="0" cy="71561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75" name="Straight Connector 5474">
            <a:extLst>
              <a:ext uri="{FF2B5EF4-FFF2-40B4-BE49-F238E27FC236}">
                <a16:creationId xmlns:a16="http://schemas.microsoft.com/office/drawing/2014/main" id="{F6E0A45F-9AB6-F6DE-18F7-9E9684B1AE55}"/>
              </a:ext>
            </a:extLst>
          </p:cNvPr>
          <p:cNvCxnSpPr>
            <a:cxnSpLocks/>
          </p:cNvCxnSpPr>
          <p:nvPr/>
        </p:nvCxnSpPr>
        <p:spPr>
          <a:xfrm>
            <a:off x="7247136" y="3803710"/>
            <a:ext cx="0" cy="71561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76" name="Straight Connector 5475">
            <a:extLst>
              <a:ext uri="{FF2B5EF4-FFF2-40B4-BE49-F238E27FC236}">
                <a16:creationId xmlns:a16="http://schemas.microsoft.com/office/drawing/2014/main" id="{4C39F598-B1D6-842C-F709-836249B46059}"/>
              </a:ext>
            </a:extLst>
          </p:cNvPr>
          <p:cNvCxnSpPr>
            <a:cxnSpLocks/>
          </p:cNvCxnSpPr>
          <p:nvPr/>
        </p:nvCxnSpPr>
        <p:spPr>
          <a:xfrm>
            <a:off x="7320915" y="3803710"/>
            <a:ext cx="0" cy="71561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77" name="Straight Connector 5476">
            <a:extLst>
              <a:ext uri="{FF2B5EF4-FFF2-40B4-BE49-F238E27FC236}">
                <a16:creationId xmlns:a16="http://schemas.microsoft.com/office/drawing/2014/main" id="{27D74A38-E253-DBDA-1BF1-F210E67B2115}"/>
              </a:ext>
            </a:extLst>
          </p:cNvPr>
          <p:cNvCxnSpPr>
            <a:cxnSpLocks/>
          </p:cNvCxnSpPr>
          <p:nvPr/>
        </p:nvCxnSpPr>
        <p:spPr>
          <a:xfrm>
            <a:off x="7378170" y="3803710"/>
            <a:ext cx="0" cy="71561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78" name="Straight Connector 5477">
            <a:extLst>
              <a:ext uri="{FF2B5EF4-FFF2-40B4-BE49-F238E27FC236}">
                <a16:creationId xmlns:a16="http://schemas.microsoft.com/office/drawing/2014/main" id="{1AAF8D7C-3E11-F66F-7655-5E444260A771}"/>
              </a:ext>
            </a:extLst>
          </p:cNvPr>
          <p:cNvCxnSpPr>
            <a:cxnSpLocks/>
          </p:cNvCxnSpPr>
          <p:nvPr/>
        </p:nvCxnSpPr>
        <p:spPr>
          <a:xfrm>
            <a:off x="7133147" y="3586682"/>
            <a:ext cx="0" cy="71561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79" name="Straight Connector 5478">
            <a:extLst>
              <a:ext uri="{FF2B5EF4-FFF2-40B4-BE49-F238E27FC236}">
                <a16:creationId xmlns:a16="http://schemas.microsoft.com/office/drawing/2014/main" id="{97B769A8-5B8D-D679-3A9C-18AECDC5E342}"/>
              </a:ext>
            </a:extLst>
          </p:cNvPr>
          <p:cNvCxnSpPr>
            <a:cxnSpLocks/>
          </p:cNvCxnSpPr>
          <p:nvPr/>
        </p:nvCxnSpPr>
        <p:spPr>
          <a:xfrm>
            <a:off x="7123766" y="3586682"/>
            <a:ext cx="0" cy="71561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80" name="Straight Connector 5479">
            <a:extLst>
              <a:ext uri="{FF2B5EF4-FFF2-40B4-BE49-F238E27FC236}">
                <a16:creationId xmlns:a16="http://schemas.microsoft.com/office/drawing/2014/main" id="{C2B4A80D-C48F-3C02-BB00-3EA19D004E44}"/>
              </a:ext>
            </a:extLst>
          </p:cNvPr>
          <p:cNvCxnSpPr>
            <a:cxnSpLocks/>
          </p:cNvCxnSpPr>
          <p:nvPr/>
        </p:nvCxnSpPr>
        <p:spPr>
          <a:xfrm>
            <a:off x="7114004" y="3587181"/>
            <a:ext cx="0" cy="71561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81" name="Straight Connector 5480">
            <a:extLst>
              <a:ext uri="{FF2B5EF4-FFF2-40B4-BE49-F238E27FC236}">
                <a16:creationId xmlns:a16="http://schemas.microsoft.com/office/drawing/2014/main" id="{F5B7B1EA-C401-5E31-315C-C9C96338D7A4}"/>
              </a:ext>
            </a:extLst>
          </p:cNvPr>
          <p:cNvCxnSpPr>
            <a:cxnSpLocks/>
          </p:cNvCxnSpPr>
          <p:nvPr/>
        </p:nvCxnSpPr>
        <p:spPr>
          <a:xfrm>
            <a:off x="7069945" y="3586682"/>
            <a:ext cx="0" cy="71561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82" name="Straight Connector 5481">
            <a:extLst>
              <a:ext uri="{FF2B5EF4-FFF2-40B4-BE49-F238E27FC236}">
                <a16:creationId xmlns:a16="http://schemas.microsoft.com/office/drawing/2014/main" id="{BC3906AF-F917-C93E-312E-D9345602A706}"/>
              </a:ext>
            </a:extLst>
          </p:cNvPr>
          <p:cNvCxnSpPr>
            <a:cxnSpLocks/>
          </p:cNvCxnSpPr>
          <p:nvPr/>
        </p:nvCxnSpPr>
        <p:spPr>
          <a:xfrm>
            <a:off x="7081037" y="3586682"/>
            <a:ext cx="0" cy="71561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83" name="Straight Connector 5482">
            <a:extLst>
              <a:ext uri="{FF2B5EF4-FFF2-40B4-BE49-F238E27FC236}">
                <a16:creationId xmlns:a16="http://schemas.microsoft.com/office/drawing/2014/main" id="{1341B72A-DDA0-1797-41C6-7F9853A36FC3}"/>
              </a:ext>
            </a:extLst>
          </p:cNvPr>
          <p:cNvCxnSpPr>
            <a:cxnSpLocks/>
          </p:cNvCxnSpPr>
          <p:nvPr/>
        </p:nvCxnSpPr>
        <p:spPr>
          <a:xfrm>
            <a:off x="7090547" y="3586682"/>
            <a:ext cx="0" cy="71561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84" name="Straight Connector 5483">
            <a:extLst>
              <a:ext uri="{FF2B5EF4-FFF2-40B4-BE49-F238E27FC236}">
                <a16:creationId xmlns:a16="http://schemas.microsoft.com/office/drawing/2014/main" id="{97A70EFF-18D5-C238-C50E-7DEE66A23902}"/>
              </a:ext>
            </a:extLst>
          </p:cNvPr>
          <p:cNvCxnSpPr>
            <a:cxnSpLocks/>
          </p:cNvCxnSpPr>
          <p:nvPr/>
        </p:nvCxnSpPr>
        <p:spPr>
          <a:xfrm>
            <a:off x="7099820" y="3586682"/>
            <a:ext cx="0" cy="71561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85" name="Straight Connector 5484">
            <a:extLst>
              <a:ext uri="{FF2B5EF4-FFF2-40B4-BE49-F238E27FC236}">
                <a16:creationId xmlns:a16="http://schemas.microsoft.com/office/drawing/2014/main" id="{926C7C91-182B-4828-A28E-E8159E21CB49}"/>
              </a:ext>
            </a:extLst>
          </p:cNvPr>
          <p:cNvCxnSpPr>
            <a:cxnSpLocks/>
          </p:cNvCxnSpPr>
          <p:nvPr/>
        </p:nvCxnSpPr>
        <p:spPr>
          <a:xfrm>
            <a:off x="7217429" y="3667809"/>
            <a:ext cx="0" cy="71561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86" name="Straight Connector 5485">
            <a:extLst>
              <a:ext uri="{FF2B5EF4-FFF2-40B4-BE49-F238E27FC236}">
                <a16:creationId xmlns:a16="http://schemas.microsoft.com/office/drawing/2014/main" id="{AE4CA010-CC99-588A-5B32-DD23C198EFCF}"/>
              </a:ext>
            </a:extLst>
          </p:cNvPr>
          <p:cNvCxnSpPr>
            <a:cxnSpLocks/>
          </p:cNvCxnSpPr>
          <p:nvPr/>
        </p:nvCxnSpPr>
        <p:spPr>
          <a:xfrm>
            <a:off x="7165308" y="3662934"/>
            <a:ext cx="0" cy="71561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87" name="Straight Connector 5486">
            <a:extLst>
              <a:ext uri="{FF2B5EF4-FFF2-40B4-BE49-F238E27FC236}">
                <a16:creationId xmlns:a16="http://schemas.microsoft.com/office/drawing/2014/main" id="{FD4F253C-03CF-5897-EF47-CAD304B9992D}"/>
              </a:ext>
            </a:extLst>
          </p:cNvPr>
          <p:cNvCxnSpPr>
            <a:cxnSpLocks/>
          </p:cNvCxnSpPr>
          <p:nvPr/>
        </p:nvCxnSpPr>
        <p:spPr>
          <a:xfrm>
            <a:off x="6967892" y="3458809"/>
            <a:ext cx="0" cy="71561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88" name="Straight Connector 5487">
            <a:extLst>
              <a:ext uri="{FF2B5EF4-FFF2-40B4-BE49-F238E27FC236}">
                <a16:creationId xmlns:a16="http://schemas.microsoft.com/office/drawing/2014/main" id="{3FE314AD-80C0-2D91-C64A-A1A85956B48E}"/>
              </a:ext>
            </a:extLst>
          </p:cNvPr>
          <p:cNvCxnSpPr>
            <a:cxnSpLocks/>
          </p:cNvCxnSpPr>
          <p:nvPr/>
        </p:nvCxnSpPr>
        <p:spPr>
          <a:xfrm>
            <a:off x="6956796" y="3458222"/>
            <a:ext cx="0" cy="71561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89" name="Straight Connector 5488">
            <a:extLst>
              <a:ext uri="{FF2B5EF4-FFF2-40B4-BE49-F238E27FC236}">
                <a16:creationId xmlns:a16="http://schemas.microsoft.com/office/drawing/2014/main" id="{E86D23F3-C6FD-64B2-52BC-F4FDAB80D5EC}"/>
              </a:ext>
            </a:extLst>
          </p:cNvPr>
          <p:cNvCxnSpPr>
            <a:cxnSpLocks/>
          </p:cNvCxnSpPr>
          <p:nvPr/>
        </p:nvCxnSpPr>
        <p:spPr>
          <a:xfrm>
            <a:off x="6921107" y="3458222"/>
            <a:ext cx="0" cy="71561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90" name="Straight Connector 5489">
            <a:extLst>
              <a:ext uri="{FF2B5EF4-FFF2-40B4-BE49-F238E27FC236}">
                <a16:creationId xmlns:a16="http://schemas.microsoft.com/office/drawing/2014/main" id="{C259C54D-3E8E-8F27-F162-813AF13B0736}"/>
              </a:ext>
            </a:extLst>
          </p:cNvPr>
          <p:cNvCxnSpPr>
            <a:cxnSpLocks/>
          </p:cNvCxnSpPr>
          <p:nvPr/>
        </p:nvCxnSpPr>
        <p:spPr>
          <a:xfrm>
            <a:off x="6931385" y="3458222"/>
            <a:ext cx="0" cy="71561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91" name="Straight Connector 5490">
            <a:extLst>
              <a:ext uri="{FF2B5EF4-FFF2-40B4-BE49-F238E27FC236}">
                <a16:creationId xmlns:a16="http://schemas.microsoft.com/office/drawing/2014/main" id="{FAB5AA39-2341-FD47-83F5-9C530709FF43}"/>
              </a:ext>
            </a:extLst>
          </p:cNvPr>
          <p:cNvCxnSpPr>
            <a:cxnSpLocks/>
          </p:cNvCxnSpPr>
          <p:nvPr/>
        </p:nvCxnSpPr>
        <p:spPr>
          <a:xfrm>
            <a:off x="6943028" y="3458222"/>
            <a:ext cx="0" cy="71561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92" name="Straight Connector 5491">
            <a:extLst>
              <a:ext uri="{FF2B5EF4-FFF2-40B4-BE49-F238E27FC236}">
                <a16:creationId xmlns:a16="http://schemas.microsoft.com/office/drawing/2014/main" id="{92380B19-C87B-EEDE-7ECF-12DD3656B167}"/>
              </a:ext>
            </a:extLst>
          </p:cNvPr>
          <p:cNvCxnSpPr>
            <a:cxnSpLocks/>
          </p:cNvCxnSpPr>
          <p:nvPr/>
        </p:nvCxnSpPr>
        <p:spPr>
          <a:xfrm rot="16200000" flipH="1">
            <a:off x="6441139" y="2074312"/>
            <a:ext cx="0" cy="104308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93" name="Straight Connector 5492">
            <a:extLst>
              <a:ext uri="{FF2B5EF4-FFF2-40B4-BE49-F238E27FC236}">
                <a16:creationId xmlns:a16="http://schemas.microsoft.com/office/drawing/2014/main" id="{33A119CA-2E7C-32FB-F557-8F4508FF4005}"/>
              </a:ext>
            </a:extLst>
          </p:cNvPr>
          <p:cNvCxnSpPr>
            <a:cxnSpLocks/>
          </p:cNvCxnSpPr>
          <p:nvPr/>
        </p:nvCxnSpPr>
        <p:spPr>
          <a:xfrm rot="16200000" flipH="1">
            <a:off x="6449847" y="2105089"/>
            <a:ext cx="0" cy="104308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94" name="Straight Connector 5493">
            <a:extLst>
              <a:ext uri="{FF2B5EF4-FFF2-40B4-BE49-F238E27FC236}">
                <a16:creationId xmlns:a16="http://schemas.microsoft.com/office/drawing/2014/main" id="{71C7542E-7C68-8AD8-1E23-CA3139B337F0}"/>
              </a:ext>
            </a:extLst>
          </p:cNvPr>
          <p:cNvCxnSpPr>
            <a:cxnSpLocks/>
          </p:cNvCxnSpPr>
          <p:nvPr/>
        </p:nvCxnSpPr>
        <p:spPr>
          <a:xfrm rot="16200000" flipH="1">
            <a:off x="6546265" y="2237355"/>
            <a:ext cx="0" cy="104308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95" name="Straight Connector 5494">
            <a:extLst>
              <a:ext uri="{FF2B5EF4-FFF2-40B4-BE49-F238E27FC236}">
                <a16:creationId xmlns:a16="http://schemas.microsoft.com/office/drawing/2014/main" id="{C76FE65F-F6C2-8E5C-50F0-E38A42C8520A}"/>
              </a:ext>
            </a:extLst>
          </p:cNvPr>
          <p:cNvCxnSpPr>
            <a:cxnSpLocks/>
          </p:cNvCxnSpPr>
          <p:nvPr/>
        </p:nvCxnSpPr>
        <p:spPr>
          <a:xfrm rot="16200000" flipH="1">
            <a:off x="6598417" y="2732397"/>
            <a:ext cx="0" cy="104308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96" name="Straight Connector 5495">
            <a:extLst>
              <a:ext uri="{FF2B5EF4-FFF2-40B4-BE49-F238E27FC236}">
                <a16:creationId xmlns:a16="http://schemas.microsoft.com/office/drawing/2014/main" id="{4CBD4242-4A6E-FBA3-47CD-62AE65840F1A}"/>
              </a:ext>
            </a:extLst>
          </p:cNvPr>
          <p:cNvCxnSpPr>
            <a:cxnSpLocks/>
          </p:cNvCxnSpPr>
          <p:nvPr/>
        </p:nvCxnSpPr>
        <p:spPr>
          <a:xfrm rot="16200000" flipH="1">
            <a:off x="6709770" y="2953243"/>
            <a:ext cx="0" cy="104308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97" name="Straight Connector 5496">
            <a:extLst>
              <a:ext uri="{FF2B5EF4-FFF2-40B4-BE49-F238E27FC236}">
                <a16:creationId xmlns:a16="http://schemas.microsoft.com/office/drawing/2014/main" id="{686EA1F6-5F59-1262-16E4-FCEED194D4B5}"/>
              </a:ext>
            </a:extLst>
          </p:cNvPr>
          <p:cNvCxnSpPr>
            <a:cxnSpLocks/>
          </p:cNvCxnSpPr>
          <p:nvPr/>
        </p:nvCxnSpPr>
        <p:spPr>
          <a:xfrm rot="16200000" flipH="1">
            <a:off x="6749561" y="3085807"/>
            <a:ext cx="0" cy="104308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98" name="Straight Connector 5497">
            <a:extLst>
              <a:ext uri="{FF2B5EF4-FFF2-40B4-BE49-F238E27FC236}">
                <a16:creationId xmlns:a16="http://schemas.microsoft.com/office/drawing/2014/main" id="{F433A309-D899-C3E2-988A-0D9221526FB2}"/>
              </a:ext>
            </a:extLst>
          </p:cNvPr>
          <p:cNvCxnSpPr>
            <a:cxnSpLocks/>
          </p:cNvCxnSpPr>
          <p:nvPr/>
        </p:nvCxnSpPr>
        <p:spPr>
          <a:xfrm rot="16200000" flipH="1">
            <a:off x="7142427" y="3575001"/>
            <a:ext cx="0" cy="104308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99" name="Straight Connector 5498">
            <a:extLst>
              <a:ext uri="{FF2B5EF4-FFF2-40B4-BE49-F238E27FC236}">
                <a16:creationId xmlns:a16="http://schemas.microsoft.com/office/drawing/2014/main" id="{9C899DC8-D467-8324-D715-15CDB4591741}"/>
              </a:ext>
            </a:extLst>
          </p:cNvPr>
          <p:cNvCxnSpPr>
            <a:cxnSpLocks/>
          </p:cNvCxnSpPr>
          <p:nvPr/>
        </p:nvCxnSpPr>
        <p:spPr>
          <a:xfrm rot="16200000" flipH="1">
            <a:off x="7228217" y="3659463"/>
            <a:ext cx="0" cy="104308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00" name="Straight Connector 5499">
            <a:extLst>
              <a:ext uri="{FF2B5EF4-FFF2-40B4-BE49-F238E27FC236}">
                <a16:creationId xmlns:a16="http://schemas.microsoft.com/office/drawing/2014/main" id="{9841DB9B-BC83-8819-DA61-00CCA657C27A}"/>
              </a:ext>
            </a:extLst>
          </p:cNvPr>
          <p:cNvCxnSpPr>
            <a:cxnSpLocks/>
          </p:cNvCxnSpPr>
          <p:nvPr/>
        </p:nvCxnSpPr>
        <p:spPr>
          <a:xfrm rot="16200000" flipH="1">
            <a:off x="7229103" y="3735251"/>
            <a:ext cx="0" cy="104308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01" name="Straight Connector 5500">
            <a:extLst>
              <a:ext uri="{FF2B5EF4-FFF2-40B4-BE49-F238E27FC236}">
                <a16:creationId xmlns:a16="http://schemas.microsoft.com/office/drawing/2014/main" id="{53574158-40BC-04DA-03AD-15D1C0D3634C}"/>
              </a:ext>
            </a:extLst>
          </p:cNvPr>
          <p:cNvCxnSpPr>
            <a:cxnSpLocks/>
          </p:cNvCxnSpPr>
          <p:nvPr/>
        </p:nvCxnSpPr>
        <p:spPr>
          <a:xfrm rot="16200000" flipH="1">
            <a:off x="7241961" y="3780426"/>
            <a:ext cx="0" cy="104308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02" name="Straight Connector 5501">
            <a:extLst>
              <a:ext uri="{FF2B5EF4-FFF2-40B4-BE49-F238E27FC236}">
                <a16:creationId xmlns:a16="http://schemas.microsoft.com/office/drawing/2014/main" id="{6F2546A3-0556-F128-7A4E-B94848DA5C95}"/>
              </a:ext>
            </a:extLst>
          </p:cNvPr>
          <p:cNvCxnSpPr>
            <a:cxnSpLocks/>
          </p:cNvCxnSpPr>
          <p:nvPr/>
        </p:nvCxnSpPr>
        <p:spPr>
          <a:xfrm rot="16200000" flipH="1">
            <a:off x="7401113" y="3780426"/>
            <a:ext cx="0" cy="104308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03" name="Freeform: Shape 2054">
            <a:extLst>
              <a:ext uri="{FF2B5EF4-FFF2-40B4-BE49-F238E27FC236}">
                <a16:creationId xmlns:a16="http://schemas.microsoft.com/office/drawing/2014/main" id="{5037C962-139D-6A6E-F17D-7C3C2B489440}"/>
              </a:ext>
            </a:extLst>
          </p:cNvPr>
          <p:cNvSpPr/>
          <p:nvPr/>
        </p:nvSpPr>
        <p:spPr>
          <a:xfrm>
            <a:off x="6322313" y="1984792"/>
            <a:ext cx="261624" cy="702696"/>
          </a:xfrm>
          <a:custGeom>
            <a:avLst/>
            <a:gdLst>
              <a:gd name="connsiteX0" fmla="*/ 0 w 376084"/>
              <a:gd name="connsiteY0" fmla="*/ 0 h 1472381"/>
              <a:gd name="connsiteX1" fmla="*/ 86032 w 376084"/>
              <a:gd name="connsiteY1" fmla="*/ 0 h 1472381"/>
              <a:gd name="connsiteX2" fmla="*/ 86032 w 376084"/>
              <a:gd name="connsiteY2" fmla="*/ 132736 h 1472381"/>
              <a:gd name="connsiteX3" fmla="*/ 145026 w 376084"/>
              <a:gd name="connsiteY3" fmla="*/ 132736 h 1472381"/>
              <a:gd name="connsiteX4" fmla="*/ 145026 w 376084"/>
              <a:gd name="connsiteY4" fmla="*/ 400665 h 1472381"/>
              <a:gd name="connsiteX5" fmla="*/ 216309 w 376084"/>
              <a:gd name="connsiteY5" fmla="*/ 400665 h 1472381"/>
              <a:gd name="connsiteX6" fmla="*/ 216309 w 376084"/>
              <a:gd name="connsiteY6" fmla="*/ 875071 h 1472381"/>
              <a:gd name="connsiteX7" fmla="*/ 248264 w 376084"/>
              <a:gd name="connsiteY7" fmla="*/ 875071 h 1472381"/>
              <a:gd name="connsiteX8" fmla="*/ 248264 w 376084"/>
              <a:gd name="connsiteY8" fmla="*/ 1039761 h 1472381"/>
              <a:gd name="connsiteX9" fmla="*/ 302342 w 376084"/>
              <a:gd name="connsiteY9" fmla="*/ 1039761 h 1472381"/>
              <a:gd name="connsiteX10" fmla="*/ 302342 w 376084"/>
              <a:gd name="connsiteY10" fmla="*/ 1179871 h 1472381"/>
              <a:gd name="connsiteX11" fmla="*/ 339213 w 376084"/>
              <a:gd name="connsiteY11" fmla="*/ 1179871 h 1472381"/>
              <a:gd name="connsiteX12" fmla="*/ 339213 w 376084"/>
              <a:gd name="connsiteY12" fmla="*/ 1354394 h 1472381"/>
              <a:gd name="connsiteX13" fmla="*/ 376084 w 376084"/>
              <a:gd name="connsiteY13" fmla="*/ 1354394 h 1472381"/>
              <a:gd name="connsiteX14" fmla="*/ 376084 w 376084"/>
              <a:gd name="connsiteY14" fmla="*/ 1472381 h 1472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376084" h="1472381">
                <a:moveTo>
                  <a:pt x="0" y="0"/>
                </a:moveTo>
                <a:lnTo>
                  <a:pt x="86032" y="0"/>
                </a:lnTo>
                <a:lnTo>
                  <a:pt x="86032" y="132736"/>
                </a:lnTo>
                <a:lnTo>
                  <a:pt x="145026" y="132736"/>
                </a:lnTo>
                <a:lnTo>
                  <a:pt x="145026" y="400665"/>
                </a:lnTo>
                <a:lnTo>
                  <a:pt x="216309" y="400665"/>
                </a:lnTo>
                <a:lnTo>
                  <a:pt x="216309" y="875071"/>
                </a:lnTo>
                <a:lnTo>
                  <a:pt x="248264" y="875071"/>
                </a:lnTo>
                <a:lnTo>
                  <a:pt x="248264" y="1039761"/>
                </a:lnTo>
                <a:lnTo>
                  <a:pt x="302342" y="1039761"/>
                </a:lnTo>
                <a:lnTo>
                  <a:pt x="302342" y="1179871"/>
                </a:lnTo>
                <a:lnTo>
                  <a:pt x="339213" y="1179871"/>
                </a:lnTo>
                <a:lnTo>
                  <a:pt x="339213" y="1354394"/>
                </a:lnTo>
                <a:lnTo>
                  <a:pt x="376084" y="1354394"/>
                </a:lnTo>
                <a:lnTo>
                  <a:pt x="376084" y="1472381"/>
                </a:lnTo>
              </a:path>
            </a:pathLst>
          </a:custGeom>
          <a:noFill/>
          <a:ln w="1905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504" name="Freeform: Shape 2055">
            <a:extLst>
              <a:ext uri="{FF2B5EF4-FFF2-40B4-BE49-F238E27FC236}">
                <a16:creationId xmlns:a16="http://schemas.microsoft.com/office/drawing/2014/main" id="{940FFD42-81BA-BFD8-9F14-644FA3614F58}"/>
              </a:ext>
            </a:extLst>
          </p:cNvPr>
          <p:cNvSpPr/>
          <p:nvPr/>
        </p:nvSpPr>
        <p:spPr>
          <a:xfrm>
            <a:off x="6583937" y="2669892"/>
            <a:ext cx="229134" cy="767217"/>
          </a:xfrm>
          <a:custGeom>
            <a:avLst/>
            <a:gdLst>
              <a:gd name="connsiteX0" fmla="*/ 0 w 329380"/>
              <a:gd name="connsiteY0" fmla="*/ 0 h 1607574"/>
              <a:gd name="connsiteX1" fmla="*/ 0 w 329380"/>
              <a:gd name="connsiteY1" fmla="*/ 201561 h 1607574"/>
              <a:gd name="connsiteX2" fmla="*/ 36871 w 329380"/>
              <a:gd name="connsiteY2" fmla="*/ 201561 h 1607574"/>
              <a:gd name="connsiteX3" fmla="*/ 36871 w 329380"/>
              <a:gd name="connsiteY3" fmla="*/ 324464 h 1607574"/>
              <a:gd name="connsiteX4" fmla="*/ 71284 w 329380"/>
              <a:gd name="connsiteY4" fmla="*/ 324464 h 1607574"/>
              <a:gd name="connsiteX5" fmla="*/ 71284 w 329380"/>
              <a:gd name="connsiteY5" fmla="*/ 471948 h 1607574"/>
              <a:gd name="connsiteX6" fmla="*/ 105696 w 329380"/>
              <a:gd name="connsiteY6" fmla="*/ 471948 h 1607574"/>
              <a:gd name="connsiteX7" fmla="*/ 105696 w 329380"/>
              <a:gd name="connsiteY7" fmla="*/ 683342 h 1607574"/>
              <a:gd name="connsiteX8" fmla="*/ 145025 w 329380"/>
              <a:gd name="connsiteY8" fmla="*/ 683342 h 1607574"/>
              <a:gd name="connsiteX9" fmla="*/ 145025 w 329380"/>
              <a:gd name="connsiteY9" fmla="*/ 1248697 h 1607574"/>
              <a:gd name="connsiteX10" fmla="*/ 189271 w 329380"/>
              <a:gd name="connsiteY10" fmla="*/ 1248697 h 1607574"/>
              <a:gd name="connsiteX11" fmla="*/ 189271 w 329380"/>
              <a:gd name="connsiteY11" fmla="*/ 1607574 h 1607574"/>
              <a:gd name="connsiteX12" fmla="*/ 329380 w 329380"/>
              <a:gd name="connsiteY12" fmla="*/ 1607574 h 16075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29380" h="1607574">
                <a:moveTo>
                  <a:pt x="0" y="0"/>
                </a:moveTo>
                <a:lnTo>
                  <a:pt x="0" y="201561"/>
                </a:lnTo>
                <a:lnTo>
                  <a:pt x="36871" y="201561"/>
                </a:lnTo>
                <a:lnTo>
                  <a:pt x="36871" y="324464"/>
                </a:lnTo>
                <a:lnTo>
                  <a:pt x="71284" y="324464"/>
                </a:lnTo>
                <a:lnTo>
                  <a:pt x="71284" y="471948"/>
                </a:lnTo>
                <a:lnTo>
                  <a:pt x="105696" y="471948"/>
                </a:lnTo>
                <a:lnTo>
                  <a:pt x="105696" y="683342"/>
                </a:lnTo>
                <a:lnTo>
                  <a:pt x="145025" y="683342"/>
                </a:lnTo>
                <a:lnTo>
                  <a:pt x="145025" y="1248697"/>
                </a:lnTo>
                <a:lnTo>
                  <a:pt x="189271" y="1248697"/>
                </a:lnTo>
                <a:lnTo>
                  <a:pt x="189271" y="1607574"/>
                </a:lnTo>
                <a:lnTo>
                  <a:pt x="329380" y="1607574"/>
                </a:lnTo>
              </a:path>
            </a:pathLst>
          </a:custGeom>
          <a:noFill/>
          <a:ln w="1905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505" name="Freeform: Shape 2056">
            <a:extLst>
              <a:ext uri="{FF2B5EF4-FFF2-40B4-BE49-F238E27FC236}">
                <a16:creationId xmlns:a16="http://schemas.microsoft.com/office/drawing/2014/main" id="{29ED2AC1-EECE-CFAF-A20B-8E1346EFF3A2}"/>
              </a:ext>
            </a:extLst>
          </p:cNvPr>
          <p:cNvSpPr/>
          <p:nvPr/>
        </p:nvSpPr>
        <p:spPr>
          <a:xfrm>
            <a:off x="6766903" y="3437109"/>
            <a:ext cx="288981" cy="723812"/>
          </a:xfrm>
          <a:custGeom>
            <a:avLst/>
            <a:gdLst>
              <a:gd name="connsiteX0" fmla="*/ 0 w 415412"/>
              <a:gd name="connsiteY0" fmla="*/ 0 h 1516626"/>
              <a:gd name="connsiteX1" fmla="*/ 110612 w 415412"/>
              <a:gd name="connsiteY1" fmla="*/ 0 h 1516626"/>
              <a:gd name="connsiteX2" fmla="*/ 110612 w 415412"/>
              <a:gd name="connsiteY2" fmla="*/ 208936 h 1516626"/>
              <a:gd name="connsiteX3" fmla="*/ 162232 w 415412"/>
              <a:gd name="connsiteY3" fmla="*/ 208936 h 1516626"/>
              <a:gd name="connsiteX4" fmla="*/ 162232 w 415412"/>
              <a:gd name="connsiteY4" fmla="*/ 398207 h 1516626"/>
              <a:gd name="connsiteX5" fmla="*/ 206477 w 415412"/>
              <a:gd name="connsiteY5" fmla="*/ 398207 h 1516626"/>
              <a:gd name="connsiteX6" fmla="*/ 206477 w 415412"/>
              <a:gd name="connsiteY6" fmla="*/ 803787 h 1516626"/>
              <a:gd name="connsiteX7" fmla="*/ 250722 w 415412"/>
              <a:gd name="connsiteY7" fmla="*/ 803787 h 1516626"/>
              <a:gd name="connsiteX8" fmla="*/ 250722 w 415412"/>
              <a:gd name="connsiteY8" fmla="*/ 1005348 h 1516626"/>
              <a:gd name="connsiteX9" fmla="*/ 312174 w 415412"/>
              <a:gd name="connsiteY9" fmla="*/ 1005348 h 1516626"/>
              <a:gd name="connsiteX10" fmla="*/ 312174 w 415412"/>
              <a:gd name="connsiteY10" fmla="*/ 1221658 h 1516626"/>
              <a:gd name="connsiteX11" fmla="*/ 415412 w 415412"/>
              <a:gd name="connsiteY11" fmla="*/ 1221658 h 1516626"/>
              <a:gd name="connsiteX12" fmla="*/ 415412 w 415412"/>
              <a:gd name="connsiteY12" fmla="*/ 1516626 h 15166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15412" h="1516626">
                <a:moveTo>
                  <a:pt x="0" y="0"/>
                </a:moveTo>
                <a:lnTo>
                  <a:pt x="110612" y="0"/>
                </a:lnTo>
                <a:lnTo>
                  <a:pt x="110612" y="208936"/>
                </a:lnTo>
                <a:lnTo>
                  <a:pt x="162232" y="208936"/>
                </a:lnTo>
                <a:lnTo>
                  <a:pt x="162232" y="398207"/>
                </a:lnTo>
                <a:lnTo>
                  <a:pt x="206477" y="398207"/>
                </a:lnTo>
                <a:lnTo>
                  <a:pt x="206477" y="803787"/>
                </a:lnTo>
                <a:lnTo>
                  <a:pt x="250722" y="803787"/>
                </a:lnTo>
                <a:lnTo>
                  <a:pt x="250722" y="1005348"/>
                </a:lnTo>
                <a:lnTo>
                  <a:pt x="312174" y="1005348"/>
                </a:lnTo>
                <a:lnTo>
                  <a:pt x="312174" y="1221658"/>
                </a:lnTo>
                <a:lnTo>
                  <a:pt x="415412" y="1221658"/>
                </a:lnTo>
                <a:lnTo>
                  <a:pt x="415412" y="1516626"/>
                </a:lnTo>
              </a:path>
            </a:pathLst>
          </a:custGeom>
          <a:noFill/>
          <a:ln w="1905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506" name="Freeform: Shape 2057">
            <a:extLst>
              <a:ext uri="{FF2B5EF4-FFF2-40B4-BE49-F238E27FC236}">
                <a16:creationId xmlns:a16="http://schemas.microsoft.com/office/drawing/2014/main" id="{F30DB894-7222-489B-453D-AB6C4204E070}"/>
              </a:ext>
            </a:extLst>
          </p:cNvPr>
          <p:cNvSpPr/>
          <p:nvPr/>
        </p:nvSpPr>
        <p:spPr>
          <a:xfrm>
            <a:off x="7055885" y="4129248"/>
            <a:ext cx="873791" cy="362491"/>
          </a:xfrm>
          <a:custGeom>
            <a:avLst/>
            <a:gdLst>
              <a:gd name="connsiteX0" fmla="*/ 0 w 1256071"/>
              <a:gd name="connsiteY0" fmla="*/ 0 h 759542"/>
              <a:gd name="connsiteX1" fmla="*/ 0 w 1256071"/>
              <a:gd name="connsiteY1" fmla="*/ 204020 h 759542"/>
              <a:gd name="connsiteX2" fmla="*/ 63910 w 1256071"/>
              <a:gd name="connsiteY2" fmla="*/ 204020 h 759542"/>
              <a:gd name="connsiteX3" fmla="*/ 63910 w 1256071"/>
              <a:gd name="connsiteY3" fmla="*/ 464574 h 759542"/>
              <a:gd name="connsiteX4" fmla="*/ 122904 w 1256071"/>
              <a:gd name="connsiteY4" fmla="*/ 464574 h 759542"/>
              <a:gd name="connsiteX5" fmla="*/ 122904 w 1256071"/>
              <a:gd name="connsiteY5" fmla="*/ 759542 h 759542"/>
              <a:gd name="connsiteX6" fmla="*/ 1256071 w 1256071"/>
              <a:gd name="connsiteY6" fmla="*/ 759542 h 759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56071" h="759542">
                <a:moveTo>
                  <a:pt x="0" y="0"/>
                </a:moveTo>
                <a:lnTo>
                  <a:pt x="0" y="204020"/>
                </a:lnTo>
                <a:lnTo>
                  <a:pt x="63910" y="204020"/>
                </a:lnTo>
                <a:lnTo>
                  <a:pt x="63910" y="464574"/>
                </a:lnTo>
                <a:lnTo>
                  <a:pt x="122904" y="464574"/>
                </a:lnTo>
                <a:lnTo>
                  <a:pt x="122904" y="759542"/>
                </a:lnTo>
                <a:lnTo>
                  <a:pt x="1256071" y="759542"/>
                </a:lnTo>
              </a:path>
            </a:pathLst>
          </a:custGeom>
          <a:noFill/>
          <a:ln w="1905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5507" name="Straight Connector 5506">
            <a:extLst>
              <a:ext uri="{FF2B5EF4-FFF2-40B4-BE49-F238E27FC236}">
                <a16:creationId xmlns:a16="http://schemas.microsoft.com/office/drawing/2014/main" id="{F8230648-9A8D-1D45-E928-F8BEEF764668}"/>
              </a:ext>
            </a:extLst>
          </p:cNvPr>
          <p:cNvCxnSpPr>
            <a:cxnSpLocks/>
          </p:cNvCxnSpPr>
          <p:nvPr/>
        </p:nvCxnSpPr>
        <p:spPr>
          <a:xfrm>
            <a:off x="7883284" y="4455959"/>
            <a:ext cx="0" cy="71561"/>
          </a:xfrm>
          <a:prstGeom prst="line">
            <a:avLst/>
          </a:prstGeom>
          <a:ln w="1905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08" name="Straight Connector 5507">
            <a:extLst>
              <a:ext uri="{FF2B5EF4-FFF2-40B4-BE49-F238E27FC236}">
                <a16:creationId xmlns:a16="http://schemas.microsoft.com/office/drawing/2014/main" id="{EBEB25CC-DEAB-9BB4-6BD2-D68FC1C11401}"/>
              </a:ext>
            </a:extLst>
          </p:cNvPr>
          <p:cNvCxnSpPr>
            <a:cxnSpLocks/>
          </p:cNvCxnSpPr>
          <p:nvPr/>
        </p:nvCxnSpPr>
        <p:spPr>
          <a:xfrm>
            <a:off x="7798789" y="4455959"/>
            <a:ext cx="0" cy="71561"/>
          </a:xfrm>
          <a:prstGeom prst="line">
            <a:avLst/>
          </a:prstGeom>
          <a:ln w="1905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09" name="Straight Connector 5508">
            <a:extLst>
              <a:ext uri="{FF2B5EF4-FFF2-40B4-BE49-F238E27FC236}">
                <a16:creationId xmlns:a16="http://schemas.microsoft.com/office/drawing/2014/main" id="{53D3E2A0-FF87-711F-7098-CAB2DCFDB623}"/>
              </a:ext>
            </a:extLst>
          </p:cNvPr>
          <p:cNvCxnSpPr>
            <a:cxnSpLocks/>
          </p:cNvCxnSpPr>
          <p:nvPr/>
        </p:nvCxnSpPr>
        <p:spPr>
          <a:xfrm>
            <a:off x="7157647" y="4455959"/>
            <a:ext cx="0" cy="71561"/>
          </a:xfrm>
          <a:prstGeom prst="line">
            <a:avLst/>
          </a:prstGeom>
          <a:ln w="1905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10" name="Straight Connector 5509">
            <a:extLst>
              <a:ext uri="{FF2B5EF4-FFF2-40B4-BE49-F238E27FC236}">
                <a16:creationId xmlns:a16="http://schemas.microsoft.com/office/drawing/2014/main" id="{32BCEECE-0484-1214-B4F5-107209543E31}"/>
              </a:ext>
            </a:extLst>
          </p:cNvPr>
          <p:cNvCxnSpPr>
            <a:cxnSpLocks/>
          </p:cNvCxnSpPr>
          <p:nvPr/>
        </p:nvCxnSpPr>
        <p:spPr>
          <a:xfrm>
            <a:off x="6990080" y="3983193"/>
            <a:ext cx="0" cy="71561"/>
          </a:xfrm>
          <a:prstGeom prst="line">
            <a:avLst/>
          </a:prstGeom>
          <a:ln w="1905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11" name="Straight Connector 5510">
            <a:extLst>
              <a:ext uri="{FF2B5EF4-FFF2-40B4-BE49-F238E27FC236}">
                <a16:creationId xmlns:a16="http://schemas.microsoft.com/office/drawing/2014/main" id="{3E2053BE-0A64-B643-31F1-C874E8DE4430}"/>
              </a:ext>
            </a:extLst>
          </p:cNvPr>
          <p:cNvCxnSpPr>
            <a:cxnSpLocks/>
          </p:cNvCxnSpPr>
          <p:nvPr/>
        </p:nvCxnSpPr>
        <p:spPr>
          <a:xfrm>
            <a:off x="6744194" y="3408367"/>
            <a:ext cx="0" cy="71561"/>
          </a:xfrm>
          <a:prstGeom prst="line">
            <a:avLst/>
          </a:prstGeom>
          <a:ln w="1905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12" name="Straight Connector 5511">
            <a:extLst>
              <a:ext uri="{FF2B5EF4-FFF2-40B4-BE49-F238E27FC236}">
                <a16:creationId xmlns:a16="http://schemas.microsoft.com/office/drawing/2014/main" id="{DDE311BE-FF20-B810-8AC1-56652EA120DE}"/>
              </a:ext>
            </a:extLst>
          </p:cNvPr>
          <p:cNvCxnSpPr>
            <a:cxnSpLocks/>
          </p:cNvCxnSpPr>
          <p:nvPr/>
        </p:nvCxnSpPr>
        <p:spPr>
          <a:xfrm rot="16200000" flipH="1">
            <a:off x="6472033" y="2294332"/>
            <a:ext cx="0" cy="104308"/>
          </a:xfrm>
          <a:prstGeom prst="line">
            <a:avLst/>
          </a:prstGeom>
          <a:ln w="1905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13" name="Straight Connector 5512">
            <a:extLst>
              <a:ext uri="{FF2B5EF4-FFF2-40B4-BE49-F238E27FC236}">
                <a16:creationId xmlns:a16="http://schemas.microsoft.com/office/drawing/2014/main" id="{3EE869A1-FBF1-6369-1BF1-FF2C0BEE708C}"/>
              </a:ext>
            </a:extLst>
          </p:cNvPr>
          <p:cNvCxnSpPr>
            <a:cxnSpLocks/>
          </p:cNvCxnSpPr>
          <p:nvPr/>
        </p:nvCxnSpPr>
        <p:spPr>
          <a:xfrm rot="16200000" flipH="1">
            <a:off x="6497622" y="2398874"/>
            <a:ext cx="0" cy="104308"/>
          </a:xfrm>
          <a:prstGeom prst="line">
            <a:avLst/>
          </a:prstGeom>
          <a:ln w="1905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14" name="Straight Connector 5513">
            <a:extLst>
              <a:ext uri="{FF2B5EF4-FFF2-40B4-BE49-F238E27FC236}">
                <a16:creationId xmlns:a16="http://schemas.microsoft.com/office/drawing/2014/main" id="{45A81800-F875-1AEA-3764-A23565F1DEA6}"/>
              </a:ext>
            </a:extLst>
          </p:cNvPr>
          <p:cNvCxnSpPr>
            <a:cxnSpLocks/>
          </p:cNvCxnSpPr>
          <p:nvPr/>
        </p:nvCxnSpPr>
        <p:spPr>
          <a:xfrm rot="16200000" flipH="1">
            <a:off x="6540253" y="2570933"/>
            <a:ext cx="0" cy="104308"/>
          </a:xfrm>
          <a:prstGeom prst="line">
            <a:avLst/>
          </a:prstGeom>
          <a:ln w="1905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15" name="Straight Connector 5514">
            <a:extLst>
              <a:ext uri="{FF2B5EF4-FFF2-40B4-BE49-F238E27FC236}">
                <a16:creationId xmlns:a16="http://schemas.microsoft.com/office/drawing/2014/main" id="{1E51F9A8-5AA5-1A32-9801-C61EC627524A}"/>
              </a:ext>
            </a:extLst>
          </p:cNvPr>
          <p:cNvCxnSpPr>
            <a:cxnSpLocks/>
          </p:cNvCxnSpPr>
          <p:nvPr/>
        </p:nvCxnSpPr>
        <p:spPr>
          <a:xfrm rot="16200000" flipH="1">
            <a:off x="6573119" y="2705134"/>
            <a:ext cx="0" cy="104308"/>
          </a:xfrm>
          <a:prstGeom prst="line">
            <a:avLst/>
          </a:prstGeom>
          <a:ln w="1905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16" name="Straight Connector 5515">
            <a:extLst>
              <a:ext uri="{FF2B5EF4-FFF2-40B4-BE49-F238E27FC236}">
                <a16:creationId xmlns:a16="http://schemas.microsoft.com/office/drawing/2014/main" id="{F009BCF5-97DE-113A-3E6C-73208B6D39AE}"/>
              </a:ext>
            </a:extLst>
          </p:cNvPr>
          <p:cNvCxnSpPr>
            <a:cxnSpLocks/>
          </p:cNvCxnSpPr>
          <p:nvPr/>
        </p:nvCxnSpPr>
        <p:spPr>
          <a:xfrm rot="16200000" flipH="1">
            <a:off x="6695036" y="3212614"/>
            <a:ext cx="0" cy="104308"/>
          </a:xfrm>
          <a:prstGeom prst="line">
            <a:avLst/>
          </a:prstGeom>
          <a:ln w="1905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17" name="Straight Connector 5516">
            <a:extLst>
              <a:ext uri="{FF2B5EF4-FFF2-40B4-BE49-F238E27FC236}">
                <a16:creationId xmlns:a16="http://schemas.microsoft.com/office/drawing/2014/main" id="{03BD4281-9127-AC06-C267-73313C005FD3}"/>
              </a:ext>
            </a:extLst>
          </p:cNvPr>
          <p:cNvCxnSpPr>
            <a:cxnSpLocks/>
          </p:cNvCxnSpPr>
          <p:nvPr/>
        </p:nvCxnSpPr>
        <p:spPr>
          <a:xfrm rot="16200000" flipH="1">
            <a:off x="6714310" y="3312384"/>
            <a:ext cx="0" cy="104308"/>
          </a:xfrm>
          <a:prstGeom prst="line">
            <a:avLst/>
          </a:prstGeom>
          <a:ln w="1905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18" name="Straight Connector 5517">
            <a:extLst>
              <a:ext uri="{FF2B5EF4-FFF2-40B4-BE49-F238E27FC236}">
                <a16:creationId xmlns:a16="http://schemas.microsoft.com/office/drawing/2014/main" id="{6A2A1531-DC57-F3B2-87AB-89BBFE705BB2}"/>
              </a:ext>
            </a:extLst>
          </p:cNvPr>
          <p:cNvCxnSpPr>
            <a:cxnSpLocks/>
          </p:cNvCxnSpPr>
          <p:nvPr/>
        </p:nvCxnSpPr>
        <p:spPr>
          <a:xfrm rot="16200000" flipH="1">
            <a:off x="6990080" y="3966821"/>
            <a:ext cx="0" cy="104308"/>
          </a:xfrm>
          <a:prstGeom prst="line">
            <a:avLst/>
          </a:prstGeom>
          <a:ln w="1905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19" name="Straight Connector 5518">
            <a:extLst>
              <a:ext uri="{FF2B5EF4-FFF2-40B4-BE49-F238E27FC236}">
                <a16:creationId xmlns:a16="http://schemas.microsoft.com/office/drawing/2014/main" id="{F159D6E3-8270-33F9-23FA-816E0B42DDAC}"/>
              </a:ext>
            </a:extLst>
          </p:cNvPr>
          <p:cNvCxnSpPr>
            <a:cxnSpLocks/>
          </p:cNvCxnSpPr>
          <p:nvPr/>
        </p:nvCxnSpPr>
        <p:spPr>
          <a:xfrm rot="16200000" flipH="1">
            <a:off x="7069945" y="4175633"/>
            <a:ext cx="0" cy="104308"/>
          </a:xfrm>
          <a:prstGeom prst="line">
            <a:avLst/>
          </a:prstGeom>
          <a:ln w="1905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20" name="Straight Connector 5519">
            <a:extLst>
              <a:ext uri="{FF2B5EF4-FFF2-40B4-BE49-F238E27FC236}">
                <a16:creationId xmlns:a16="http://schemas.microsoft.com/office/drawing/2014/main" id="{99B5D208-19B6-1E93-390E-F79947FD5541}"/>
              </a:ext>
            </a:extLst>
          </p:cNvPr>
          <p:cNvCxnSpPr>
            <a:cxnSpLocks/>
          </p:cNvCxnSpPr>
          <p:nvPr/>
        </p:nvCxnSpPr>
        <p:spPr>
          <a:xfrm rot="16200000" flipH="1">
            <a:off x="7151975" y="4439586"/>
            <a:ext cx="0" cy="104308"/>
          </a:xfrm>
          <a:prstGeom prst="line">
            <a:avLst/>
          </a:prstGeom>
          <a:ln w="1905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31BB537B-24A9-0C98-71BF-9AC493129E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651" y="6356350"/>
            <a:ext cx="383694" cy="365125"/>
          </a:xfrm>
        </p:spPr>
        <p:txBody>
          <a:bodyPr vert="horz" lIns="0" tIns="0" rIns="0" bIns="0"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01CC8E-1CEF-6746-999E-CF29FF00B1DC}" type="slidenum"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82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3988801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7" name="Straight Connector 166">
            <a:extLst>
              <a:ext uri="{FF2B5EF4-FFF2-40B4-BE49-F238E27FC236}">
                <a16:creationId xmlns:a16="http://schemas.microsoft.com/office/drawing/2014/main" id="{56F680DA-8B50-DD62-1CB2-7C34AD866106}"/>
              </a:ext>
            </a:extLst>
          </p:cNvPr>
          <p:cNvCxnSpPr>
            <a:cxnSpLocks/>
          </p:cNvCxnSpPr>
          <p:nvPr/>
        </p:nvCxnSpPr>
        <p:spPr>
          <a:xfrm>
            <a:off x="4274344" y="1759297"/>
            <a:ext cx="6422357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5D78FD45-BBFB-36CA-A9C4-9D6176766D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0647" y="311857"/>
            <a:ext cx="9789459" cy="887619"/>
          </a:xfrm>
        </p:spPr>
        <p:txBody>
          <a:bodyPr/>
          <a:lstStyle/>
          <a:p>
            <a:r>
              <a:rPr lang="en-GB"/>
              <a:t>The treatment landscape for DLBCL has evolved and is constantly expanding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DFA0B0E-7585-12B0-ABB5-E9712D7531B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70645" y="5902711"/>
            <a:ext cx="10440000" cy="817239"/>
          </a:xfrm>
        </p:spPr>
        <p:txBody>
          <a:bodyPr/>
          <a:lstStyle/>
          <a:p>
            <a:r>
              <a:rPr lang="en-CH"/>
              <a:t>ADC, antibody-drug conjugate; a</a:t>
            </a:r>
            <a:r>
              <a:rPr lang="en-GB"/>
              <a:t>xi-cel, </a:t>
            </a:r>
            <a:r>
              <a:rPr lang="en-GB" err="1"/>
              <a:t>axicabtagene</a:t>
            </a:r>
            <a:r>
              <a:rPr lang="en-GB"/>
              <a:t> </a:t>
            </a:r>
            <a:r>
              <a:rPr lang="en-GB" err="1"/>
              <a:t>ciloleucel</a:t>
            </a:r>
            <a:r>
              <a:rPr lang="en-GB"/>
              <a:t>; BR, </a:t>
            </a:r>
            <a:r>
              <a:rPr lang="en-GB" err="1"/>
              <a:t>bendamustine</a:t>
            </a:r>
            <a:r>
              <a:rPr lang="en-GB"/>
              <a:t> and rituximab; </a:t>
            </a:r>
            <a:r>
              <a:rPr lang="en-CH"/>
              <a:t>CAR T, chimeric antigen receptor T-cell therapy; </a:t>
            </a: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LBCL, diffuse large B-cell lymphoma; </a:t>
            </a:r>
            <a:r>
              <a:rPr lang="en-CH" err="1"/>
              <a:t>Glofit+GemOx</a:t>
            </a:r>
            <a:r>
              <a:rPr lang="en-CH"/>
              <a:t>, </a:t>
            </a:r>
            <a:r>
              <a:rPr lang="en-CH" err="1"/>
              <a:t>glofitamab</a:t>
            </a:r>
            <a:r>
              <a:rPr lang="en-CH"/>
              <a:t>, gemcitabine and oxaliplatin; </a:t>
            </a:r>
            <a:r>
              <a:rPr lang="en-GB"/>
              <a:t>Len, lenalidomide; </a:t>
            </a:r>
            <a:r>
              <a:rPr lang="en-GB" err="1"/>
              <a:t>liso</a:t>
            </a:r>
            <a:r>
              <a:rPr lang="en-GB"/>
              <a:t>-cel, </a:t>
            </a:r>
            <a:r>
              <a:rPr lang="en-GB" err="1"/>
              <a:t>lisocabtagene</a:t>
            </a:r>
            <a:r>
              <a:rPr lang="en-GB"/>
              <a:t> </a:t>
            </a:r>
            <a:r>
              <a:rPr lang="en-GB" err="1"/>
              <a:t>maraleucel</a:t>
            </a:r>
            <a:r>
              <a:rPr lang="en-GB"/>
              <a:t>; </a:t>
            </a:r>
            <a:r>
              <a:rPr lang="en-GB" err="1"/>
              <a:t>pola</a:t>
            </a:r>
            <a:r>
              <a:rPr lang="en-GB"/>
              <a:t>, </a:t>
            </a:r>
            <a:r>
              <a:rPr lang="en-GB" err="1"/>
              <a:t>polatuzumab</a:t>
            </a:r>
            <a:r>
              <a:rPr lang="en-GB"/>
              <a:t> vedotin; R-CH</a:t>
            </a:r>
            <a:r>
              <a:rPr lang="en-CH"/>
              <a:t>(</a:t>
            </a:r>
            <a:r>
              <a:rPr lang="en-GB"/>
              <a:t>O</a:t>
            </a:r>
            <a:r>
              <a:rPr lang="en-CH"/>
              <a:t>)</a:t>
            </a:r>
            <a:r>
              <a:rPr lang="en-GB"/>
              <a:t>P, rituximab, cyclophosphamide, doxorubicin, </a:t>
            </a:r>
            <a:r>
              <a:rPr lang="en-CH"/>
              <a:t>(</a:t>
            </a:r>
            <a:r>
              <a:rPr lang="en-GB"/>
              <a:t>vincristine,</a:t>
            </a:r>
            <a:r>
              <a:rPr lang="en-CH"/>
              <a:t>)</a:t>
            </a:r>
            <a:r>
              <a:rPr lang="en-GB"/>
              <a:t> and prednisone; </a:t>
            </a:r>
            <a:r>
              <a:rPr lang="en-GB" err="1"/>
              <a:t>tafa</a:t>
            </a:r>
            <a:r>
              <a:rPr lang="en-GB"/>
              <a:t>, </a:t>
            </a:r>
            <a:r>
              <a:rPr lang="en-GB" err="1"/>
              <a:t>tafasitamab</a:t>
            </a:r>
            <a:r>
              <a:rPr lang="en-GB"/>
              <a:t>; </a:t>
            </a:r>
            <a:r>
              <a:rPr lang="en-GB" err="1"/>
              <a:t>tisa</a:t>
            </a:r>
            <a:r>
              <a:rPr lang="en-GB"/>
              <a:t>-cel, </a:t>
            </a:r>
            <a:r>
              <a:rPr lang="en-GB" err="1"/>
              <a:t>tisagenlecleucel</a:t>
            </a:r>
            <a:r>
              <a:rPr lang="en-GB"/>
              <a:t>. </a:t>
            </a:r>
            <a:r>
              <a:rPr lang="en-GB" b="1"/>
              <a:t>1. </a:t>
            </a:r>
            <a:r>
              <a:rPr lang="en-GB" err="1"/>
              <a:t>Coiffier</a:t>
            </a:r>
            <a:r>
              <a:rPr lang="en-GB"/>
              <a:t> et al. </a:t>
            </a:r>
            <a:r>
              <a:rPr lang="en-GB" i="1"/>
              <a:t>N Engl J Med </a:t>
            </a:r>
            <a:r>
              <a:rPr lang="en-GB"/>
              <a:t>2002 </a:t>
            </a:r>
            <a:r>
              <a:rPr lang="en-GB" b="1"/>
              <a:t>2.</a:t>
            </a:r>
            <a:r>
              <a:rPr lang="en-GB"/>
              <a:t> Habermann et al. </a:t>
            </a:r>
            <a:r>
              <a:rPr lang="en-GB" i="1"/>
              <a:t>J Clin Oncol </a:t>
            </a:r>
            <a:r>
              <a:rPr lang="en-GB"/>
              <a:t>2006 </a:t>
            </a:r>
            <a:r>
              <a:rPr lang="en-GB" b="1"/>
              <a:t>3. </a:t>
            </a:r>
            <a:r>
              <a:rPr lang="en-GB"/>
              <a:t>Clinicaltrials.gov NCT00400907 </a:t>
            </a:r>
            <a:r>
              <a:rPr lang="en-GB" b="1"/>
              <a:t>4. </a:t>
            </a:r>
            <a:r>
              <a:rPr lang="en-GB"/>
              <a:t>Clinicaltrials.gov NCT02399085 </a:t>
            </a:r>
            <a:endParaRPr lang="en-CH"/>
          </a:p>
          <a:p>
            <a:r>
              <a:rPr lang="en-GB" b="1"/>
              <a:t>5. </a:t>
            </a:r>
            <a:r>
              <a:rPr lang="en-GB"/>
              <a:t>Clinicaltrials.gov NCT02348216 </a:t>
            </a:r>
            <a:r>
              <a:rPr lang="en-GB" b="1"/>
              <a:t>6. </a:t>
            </a:r>
            <a:r>
              <a:rPr lang="en-GB"/>
              <a:t>Clinicaltrials.gov NCT02445248 </a:t>
            </a:r>
            <a:r>
              <a:rPr lang="en-GB" b="1"/>
              <a:t>7. </a:t>
            </a:r>
            <a:r>
              <a:rPr lang="en-GB"/>
              <a:t>Clinicaltrials.gov NCT02631044 </a:t>
            </a:r>
            <a:r>
              <a:rPr lang="en-GB" b="1"/>
              <a:t>8. </a:t>
            </a:r>
            <a:r>
              <a:rPr lang="en-GB"/>
              <a:t>Clinicaltrials.gov NCT03391466 </a:t>
            </a:r>
            <a:r>
              <a:rPr lang="en-GB" b="1"/>
              <a:t>9. </a:t>
            </a:r>
            <a:r>
              <a:rPr lang="en-GB"/>
              <a:t>Clinicaltrials.gov NCT03575351 </a:t>
            </a:r>
            <a:r>
              <a:rPr lang="en-GB" b="1"/>
              <a:t>10. </a:t>
            </a:r>
            <a:r>
              <a:rPr lang="en-GB"/>
              <a:t>Clinicaltrials.gov NCT03483103 </a:t>
            </a:r>
            <a:r>
              <a:rPr lang="en-GB" b="1"/>
              <a:t>11. </a:t>
            </a:r>
            <a:r>
              <a:rPr lang="en-GB"/>
              <a:t>Clinicaltrials.gov NCT02257567 </a:t>
            </a:r>
            <a:r>
              <a:rPr lang="en-GB" b="1"/>
              <a:t>12. </a:t>
            </a:r>
            <a:r>
              <a:rPr lang="en-GB"/>
              <a:t>Clinicaltrials.gov NCT03274492 </a:t>
            </a:r>
            <a:r>
              <a:rPr lang="en-GB" b="1"/>
              <a:t>13. </a:t>
            </a:r>
            <a:r>
              <a:rPr lang="en-GB"/>
              <a:t>Clinicaltrials.gov NCT03589469 </a:t>
            </a:r>
            <a:r>
              <a:rPr lang="en-GB" b="1"/>
              <a:t>14. </a:t>
            </a:r>
            <a:r>
              <a:rPr lang="en-GB"/>
              <a:t>Clinicaltrials.gov NCT03075696 </a:t>
            </a:r>
            <a:r>
              <a:rPr lang="en-GB" b="1"/>
              <a:t>15. </a:t>
            </a:r>
            <a:r>
              <a:rPr lang="en-GB"/>
              <a:t>Clinicaltrials.gov NCT03625037 </a:t>
            </a:r>
            <a:endParaRPr lang="en-CH"/>
          </a:p>
          <a:p>
            <a:r>
              <a:rPr lang="en-GB" b="1"/>
              <a:t>16. </a:t>
            </a:r>
            <a:r>
              <a:rPr lang="en-GB"/>
              <a:t>Clinicaltrials.gov NCT03888105 </a:t>
            </a:r>
            <a:r>
              <a:rPr lang="en-GB" b="1"/>
              <a:t>17. </a:t>
            </a:r>
            <a:r>
              <a:rPr lang="en-GB"/>
              <a:t>Abramson et al. </a:t>
            </a:r>
            <a:r>
              <a:rPr lang="en-GB" i="1"/>
              <a:t>Lancet</a:t>
            </a:r>
            <a:r>
              <a:rPr lang="en-GB"/>
              <a:t> 2024.</a:t>
            </a:r>
          </a:p>
        </p:txBody>
      </p:sp>
      <p:sp>
        <p:nvSpPr>
          <p:cNvPr id="5" name="Rectangle 1188">
            <a:extLst>
              <a:ext uri="{FF2B5EF4-FFF2-40B4-BE49-F238E27FC236}">
                <a16:creationId xmlns:a16="http://schemas.microsoft.com/office/drawing/2014/main" id="{D58321C3-DD92-9657-1BF1-88FA341A71B8}"/>
              </a:ext>
            </a:extLst>
          </p:cNvPr>
          <p:cNvSpPr/>
          <p:nvPr/>
        </p:nvSpPr>
        <p:spPr>
          <a:xfrm>
            <a:off x="1613647" y="4731991"/>
            <a:ext cx="10044953" cy="1069275"/>
          </a:xfrm>
          <a:prstGeom prst="stripedRightArrow">
            <a:avLst>
              <a:gd name="adj1" fmla="val 100000"/>
              <a:gd name="adj2" fmla="val 32394"/>
            </a:avLst>
          </a:prstGeom>
          <a:solidFill>
            <a:srgbClr val="F7F7F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 Display" panose="02110004020202020204"/>
              <a:ea typeface="+mn-ea"/>
              <a:cs typeface="+mn-cs"/>
            </a:endParaRPr>
          </a:p>
        </p:txBody>
      </p:sp>
      <p:sp>
        <p:nvSpPr>
          <p:cNvPr id="9" name="Arrow: Striped Right 8">
            <a:extLst>
              <a:ext uri="{FF2B5EF4-FFF2-40B4-BE49-F238E27FC236}">
                <a16:creationId xmlns:a16="http://schemas.microsoft.com/office/drawing/2014/main" id="{1F36E965-5920-C5EB-44E7-3904500A86CC}"/>
              </a:ext>
            </a:extLst>
          </p:cNvPr>
          <p:cNvSpPr/>
          <p:nvPr/>
        </p:nvSpPr>
        <p:spPr>
          <a:xfrm>
            <a:off x="1613647" y="3861081"/>
            <a:ext cx="10044953" cy="736131"/>
          </a:xfrm>
          <a:prstGeom prst="stripedRightArrow">
            <a:avLst>
              <a:gd name="adj1" fmla="val 100000"/>
              <a:gd name="adj2" fmla="val 50000"/>
            </a:avLst>
          </a:prstGeom>
          <a:solidFill>
            <a:srgbClr val="F7F7F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 Display" panose="02110004020202020204"/>
              <a:ea typeface="+mn-ea"/>
              <a:cs typeface="+mn-cs"/>
            </a:endParaRPr>
          </a:p>
        </p:txBody>
      </p:sp>
      <p:sp>
        <p:nvSpPr>
          <p:cNvPr id="12" name="Arrow: Striped Right 11">
            <a:extLst>
              <a:ext uri="{FF2B5EF4-FFF2-40B4-BE49-F238E27FC236}">
                <a16:creationId xmlns:a16="http://schemas.microsoft.com/office/drawing/2014/main" id="{057AA1E6-DC14-DA74-93E7-DA2878295072}"/>
              </a:ext>
            </a:extLst>
          </p:cNvPr>
          <p:cNvSpPr/>
          <p:nvPr/>
        </p:nvSpPr>
        <p:spPr>
          <a:xfrm>
            <a:off x="1482758" y="2951311"/>
            <a:ext cx="10175841" cy="783362"/>
          </a:xfrm>
          <a:prstGeom prst="stripedRightArrow">
            <a:avLst>
              <a:gd name="adj1" fmla="val 96182"/>
              <a:gd name="adj2" fmla="val 50000"/>
            </a:avLst>
          </a:prstGeom>
          <a:solidFill>
            <a:srgbClr val="F7F7F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 Display" panose="02110004020202020204"/>
              <a:ea typeface="+mn-ea"/>
              <a:cs typeface="+mn-cs"/>
            </a:endParaRPr>
          </a:p>
        </p:txBody>
      </p:sp>
      <p:sp>
        <p:nvSpPr>
          <p:cNvPr id="15" name="Arrow: Striped Right 14">
            <a:extLst>
              <a:ext uri="{FF2B5EF4-FFF2-40B4-BE49-F238E27FC236}">
                <a16:creationId xmlns:a16="http://schemas.microsoft.com/office/drawing/2014/main" id="{8E7DBB59-61C9-22EB-5D97-1CFCE436577C}"/>
              </a:ext>
            </a:extLst>
          </p:cNvPr>
          <p:cNvSpPr/>
          <p:nvPr/>
        </p:nvSpPr>
        <p:spPr>
          <a:xfrm>
            <a:off x="1613646" y="2131069"/>
            <a:ext cx="10044953" cy="688852"/>
          </a:xfrm>
          <a:prstGeom prst="stripedRightArrow">
            <a:avLst>
              <a:gd name="adj1" fmla="val 100000"/>
              <a:gd name="adj2" fmla="val 50000"/>
            </a:avLst>
          </a:prstGeom>
          <a:solidFill>
            <a:srgbClr val="F7F7F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 Display" panose="02110004020202020204"/>
              <a:ea typeface="+mn-ea"/>
              <a:cs typeface="+mn-cs"/>
            </a:endParaRP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AB819A61-3473-2289-B0C6-76B4F9020C10}"/>
              </a:ext>
            </a:extLst>
          </p:cNvPr>
          <p:cNvSpPr/>
          <p:nvPr/>
        </p:nvSpPr>
        <p:spPr>
          <a:xfrm>
            <a:off x="743685" y="2131069"/>
            <a:ext cx="1732815" cy="688852"/>
          </a:xfrm>
          <a:prstGeom prst="roundRect">
            <a:avLst>
              <a:gd name="adj" fmla="val 1781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 Display" panose="02110004020202020204"/>
              <a:ea typeface="+mn-ea"/>
              <a:cs typeface="+mn-cs"/>
            </a:endParaRPr>
          </a:p>
        </p:txBody>
      </p:sp>
      <p:sp>
        <p:nvSpPr>
          <p:cNvPr id="17" name="Flowchart: Connector 16">
            <a:extLst>
              <a:ext uri="{FF2B5EF4-FFF2-40B4-BE49-F238E27FC236}">
                <a16:creationId xmlns:a16="http://schemas.microsoft.com/office/drawing/2014/main" id="{B169903D-9788-29CA-CC38-1C0EFF6BBC23}"/>
              </a:ext>
            </a:extLst>
          </p:cNvPr>
          <p:cNvSpPr/>
          <p:nvPr/>
        </p:nvSpPr>
        <p:spPr>
          <a:xfrm>
            <a:off x="826068" y="2246895"/>
            <a:ext cx="457200" cy="457200"/>
          </a:xfrm>
          <a:prstGeom prst="flowChartConnector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 Display" panose="02110004020202020204"/>
              <a:ea typeface="+mn-ea"/>
              <a:cs typeface="+mn-cs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5AAB7F63-2F41-A784-38DF-9B83A89FC6EE}"/>
              </a:ext>
            </a:extLst>
          </p:cNvPr>
          <p:cNvSpPr/>
          <p:nvPr/>
        </p:nvSpPr>
        <p:spPr>
          <a:xfrm>
            <a:off x="11315962" y="1672116"/>
            <a:ext cx="159799" cy="159799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321504C-0A35-9085-BF2C-230F911A33F4}"/>
              </a:ext>
            </a:extLst>
          </p:cNvPr>
          <p:cNvSpPr txBox="1"/>
          <p:nvPr/>
        </p:nvSpPr>
        <p:spPr>
          <a:xfrm>
            <a:off x="10090548" y="1767597"/>
            <a:ext cx="204028" cy="3927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CB813"/>
              </a:buClr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026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4E74BB4-7AA6-179C-154C-69565C8F7040}"/>
              </a:ext>
            </a:extLst>
          </p:cNvPr>
          <p:cNvSpPr txBox="1"/>
          <p:nvPr/>
        </p:nvSpPr>
        <p:spPr>
          <a:xfrm>
            <a:off x="6204923" y="1767597"/>
            <a:ext cx="204028" cy="3927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CB813"/>
              </a:buClr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020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CB46294-D3AA-F25B-DDF2-4DFD4F509354}"/>
              </a:ext>
            </a:extLst>
          </p:cNvPr>
          <p:cNvSpPr txBox="1"/>
          <p:nvPr/>
        </p:nvSpPr>
        <p:spPr>
          <a:xfrm>
            <a:off x="4723375" y="1767597"/>
            <a:ext cx="204028" cy="3927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CB813"/>
              </a:buClr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018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2CC03EA-7737-5775-B5F1-9C084D5214E1}"/>
              </a:ext>
            </a:extLst>
          </p:cNvPr>
          <p:cNvSpPr txBox="1"/>
          <p:nvPr/>
        </p:nvSpPr>
        <p:spPr>
          <a:xfrm>
            <a:off x="3122471" y="1767597"/>
            <a:ext cx="455050" cy="3927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CB813"/>
              </a:buClr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002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D2D5E59D-967B-9C6E-DE01-C3DB39249824}"/>
              </a:ext>
            </a:extLst>
          </p:cNvPr>
          <p:cNvCxnSpPr>
            <a:cxnSpLocks/>
          </p:cNvCxnSpPr>
          <p:nvPr/>
        </p:nvCxnSpPr>
        <p:spPr>
          <a:xfrm>
            <a:off x="470645" y="1759297"/>
            <a:ext cx="3693040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65CB9A0D-1B45-C7F9-E4E0-39AA2CC5B318}"/>
              </a:ext>
            </a:extLst>
          </p:cNvPr>
          <p:cNvCxnSpPr>
            <a:cxnSpLocks/>
          </p:cNvCxnSpPr>
          <p:nvPr/>
        </p:nvCxnSpPr>
        <p:spPr>
          <a:xfrm>
            <a:off x="10744200" y="1759297"/>
            <a:ext cx="561975" cy="0"/>
          </a:xfrm>
          <a:prstGeom prst="line">
            <a:avLst/>
          </a:prstGeom>
          <a:ln w="28575">
            <a:solidFill>
              <a:schemeClr val="tx2"/>
            </a:solidFill>
            <a:prstDash val="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Oval 26">
            <a:extLst>
              <a:ext uri="{FF2B5EF4-FFF2-40B4-BE49-F238E27FC236}">
                <a16:creationId xmlns:a16="http://schemas.microsoft.com/office/drawing/2014/main" id="{5D6D99CB-866E-301F-778F-E2597F6EEEE7}"/>
              </a:ext>
            </a:extLst>
          </p:cNvPr>
          <p:cNvSpPr/>
          <p:nvPr/>
        </p:nvSpPr>
        <p:spPr>
          <a:xfrm>
            <a:off x="6329052" y="1672116"/>
            <a:ext cx="159799" cy="159799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2257A0A5-F422-A017-3DFA-2065C8D60498}"/>
              </a:ext>
            </a:extLst>
          </p:cNvPr>
          <p:cNvSpPr/>
          <p:nvPr/>
        </p:nvSpPr>
        <p:spPr>
          <a:xfrm>
            <a:off x="4847504" y="1672116"/>
            <a:ext cx="159799" cy="159799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E113F7F7-EC06-6412-B866-3C684F18B698}"/>
              </a:ext>
            </a:extLst>
          </p:cNvPr>
          <p:cNvSpPr/>
          <p:nvPr/>
        </p:nvSpPr>
        <p:spPr>
          <a:xfrm>
            <a:off x="3270097" y="1672116"/>
            <a:ext cx="159799" cy="159799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49941E73-E1F2-A0EE-5DF5-7FDA28EB05BF}"/>
              </a:ext>
            </a:extLst>
          </p:cNvPr>
          <p:cNvCxnSpPr>
            <a:cxnSpLocks/>
          </p:cNvCxnSpPr>
          <p:nvPr/>
        </p:nvCxnSpPr>
        <p:spPr>
          <a:xfrm flipV="1">
            <a:off x="4066308" y="1681694"/>
            <a:ext cx="162017" cy="162017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5E699132-526E-864E-4415-972C143F9EDB}"/>
              </a:ext>
            </a:extLst>
          </p:cNvPr>
          <p:cNvCxnSpPr>
            <a:cxnSpLocks/>
          </p:cNvCxnSpPr>
          <p:nvPr/>
        </p:nvCxnSpPr>
        <p:spPr>
          <a:xfrm flipV="1">
            <a:off x="4184768" y="1681694"/>
            <a:ext cx="162017" cy="162017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3276485E-0D06-E21E-C5C4-F9EA1E4DBEA5}"/>
              </a:ext>
            </a:extLst>
          </p:cNvPr>
          <p:cNvSpPr/>
          <p:nvPr/>
        </p:nvSpPr>
        <p:spPr>
          <a:xfrm>
            <a:off x="2863273" y="2228954"/>
            <a:ext cx="1060288" cy="493082"/>
          </a:xfrm>
          <a:prstGeom prst="roundRect">
            <a:avLst>
              <a:gd name="adj" fmla="val 24881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  <a:t>R-CHOP</a:t>
            </a:r>
            <a:br>
              <a:rPr kumimoji="0" lang="en-GB" sz="1400" b="1" i="0" u="none" strike="noStrike" kern="1200" cap="none" spc="0" normalizeH="0" baseline="3000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</a:b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  <a:t>GELA</a:t>
            </a:r>
            <a:r>
              <a:rPr kumimoji="0" lang="en-GB" sz="1050" b="0" i="0" u="none" strike="noStrike" kern="1200" cap="none" spc="0" normalizeH="0" baseline="3000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  <a:t>1</a:t>
            </a: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  <a:t>, E4494</a:t>
            </a:r>
            <a:r>
              <a:rPr kumimoji="0" lang="en-GB" sz="1050" b="0" i="0" u="none" strike="noStrike" kern="1200" cap="none" spc="0" normalizeH="0" baseline="3000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  <a:t>2</a:t>
            </a: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  <a:t>,MinT</a:t>
            </a:r>
            <a:r>
              <a:rPr kumimoji="0" lang="en-GB" sz="1050" b="0" i="0" u="none" strike="noStrike" kern="1200" cap="none" spc="0" normalizeH="0" baseline="3000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  <a:t>3</a:t>
            </a:r>
            <a:endParaRPr kumimoji="0" lang="en-GB" sz="1400" b="0" i="0" u="none" strike="noStrike" kern="1200" cap="none" spc="0" normalizeH="0" baseline="3000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 Display" panose="02110004020202020204"/>
              <a:ea typeface="+mn-ea"/>
              <a:cs typeface="+mn-cs"/>
            </a:endParaRPr>
          </a:p>
        </p:txBody>
      </p: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1556823B-8BED-8B19-BFB6-9D828A47245C}"/>
              </a:ext>
            </a:extLst>
          </p:cNvPr>
          <p:cNvSpPr/>
          <p:nvPr/>
        </p:nvSpPr>
        <p:spPr>
          <a:xfrm>
            <a:off x="6692999" y="2228954"/>
            <a:ext cx="990463" cy="493082"/>
          </a:xfrm>
          <a:prstGeom prst="roundRect">
            <a:avLst>
              <a:gd name="adj" fmla="val 24881"/>
            </a:avLst>
          </a:prstGeom>
          <a:solidFill>
            <a:srgbClr val="FCB81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  <a:t>Tafa + Len</a:t>
            </a:r>
            <a:endParaRPr kumimoji="0" lang="en-GB" sz="1400" b="1" i="0" u="none" strike="noStrike" kern="1200" cap="none" spc="0" normalizeH="0" baseline="3000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 Display" panose="021100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  <a:t>L-MIND</a:t>
            </a:r>
            <a:r>
              <a:rPr kumimoji="0" lang="en-GB" sz="1050" b="0" i="0" u="none" strike="noStrike" kern="1200" cap="none" spc="0" normalizeH="0" baseline="3000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  <a:t>4</a:t>
            </a: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 Display" panose="02110004020202020204"/>
              <a:ea typeface="+mn-ea"/>
              <a:cs typeface="+mn-cs"/>
            </a:endParaRPr>
          </a:p>
        </p:txBody>
      </p: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4382BD1D-0313-19B6-033F-2321DEA34CBE}"/>
              </a:ext>
            </a:extLst>
          </p:cNvPr>
          <p:cNvSpPr/>
          <p:nvPr/>
        </p:nvSpPr>
        <p:spPr>
          <a:xfrm>
            <a:off x="4869215" y="3096451"/>
            <a:ext cx="990463" cy="493082"/>
          </a:xfrm>
          <a:prstGeom prst="roundRect">
            <a:avLst>
              <a:gd name="adj" fmla="val 24881"/>
            </a:avLst>
          </a:prstGeom>
          <a:solidFill>
            <a:srgbClr val="2D5E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  <a:t> Tisa-cel </a:t>
            </a: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  <a:t>JULIET</a:t>
            </a:r>
            <a:r>
              <a:rPr kumimoji="0" lang="en-GB" sz="1050" b="0" i="0" u="none" strike="noStrike" kern="1200" cap="none" spc="0" normalizeH="0" baseline="3000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  <a:t>6</a:t>
            </a:r>
            <a:endParaRPr kumimoji="0" lang="en-GB" sz="1400" b="0" i="0" u="none" strike="noStrike" kern="1200" cap="none" spc="0" normalizeH="0" baseline="3000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 Display" panose="02110004020202020204"/>
              <a:ea typeface="+mn-ea"/>
              <a:cs typeface="+mn-cs"/>
            </a:endParaRPr>
          </a:p>
        </p:txBody>
      </p:sp>
      <p:sp>
        <p:nvSpPr>
          <p:cNvPr id="35" name="Rectangle: Rounded Corners 34">
            <a:extLst>
              <a:ext uri="{FF2B5EF4-FFF2-40B4-BE49-F238E27FC236}">
                <a16:creationId xmlns:a16="http://schemas.microsoft.com/office/drawing/2014/main" id="{438C39EB-70DF-4866-827B-BFE04EE4E43A}"/>
              </a:ext>
            </a:extLst>
          </p:cNvPr>
          <p:cNvSpPr/>
          <p:nvPr/>
        </p:nvSpPr>
        <p:spPr>
          <a:xfrm>
            <a:off x="7664740" y="3096451"/>
            <a:ext cx="990463" cy="493082"/>
          </a:xfrm>
          <a:prstGeom prst="roundRect">
            <a:avLst>
              <a:gd name="adj" fmla="val 24881"/>
            </a:avLst>
          </a:prstGeom>
          <a:solidFill>
            <a:srgbClr val="2D5E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  <a:t>Axi-cel</a:t>
            </a:r>
            <a:b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</a:b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  <a:t>ZUMA-7</a:t>
            </a:r>
            <a:r>
              <a:rPr kumimoji="0" lang="en-GB" sz="1050" b="0" i="0" u="none" strike="noStrike" kern="1200" cap="none" spc="0" normalizeH="0" baseline="3000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  <a:t>8</a:t>
            </a: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  <a:t> </a:t>
            </a: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 Display" panose="02110004020202020204"/>
              <a:ea typeface="+mn-ea"/>
              <a:cs typeface="+mn-cs"/>
            </a:endParaRPr>
          </a:p>
        </p:txBody>
      </p:sp>
      <p:sp>
        <p:nvSpPr>
          <p:cNvPr id="36" name="Rectangle: Rounded Corners 35">
            <a:extLst>
              <a:ext uri="{FF2B5EF4-FFF2-40B4-BE49-F238E27FC236}">
                <a16:creationId xmlns:a16="http://schemas.microsoft.com/office/drawing/2014/main" id="{0BAE260D-BB89-6EDF-87A9-BF407DA1C5F9}"/>
              </a:ext>
            </a:extLst>
          </p:cNvPr>
          <p:cNvSpPr/>
          <p:nvPr/>
        </p:nvSpPr>
        <p:spPr>
          <a:xfrm>
            <a:off x="8672507" y="3096451"/>
            <a:ext cx="990463" cy="493082"/>
          </a:xfrm>
          <a:prstGeom prst="roundRect">
            <a:avLst>
              <a:gd name="adj" fmla="val 24881"/>
            </a:avLst>
          </a:prstGeom>
          <a:solidFill>
            <a:srgbClr val="2D5E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  <a:t>Liso-cel</a:t>
            </a:r>
            <a:b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</a:b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  <a:t>TRANSFORM</a:t>
            </a:r>
            <a:r>
              <a:rPr kumimoji="0" lang="en-GB" sz="1050" b="0" i="0" u="none" strike="noStrike" kern="1200" cap="none" spc="0" normalizeH="0" baseline="3000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  <a:t>9</a:t>
            </a:r>
            <a:br>
              <a:rPr kumimoji="0" lang="en-GB" sz="1050" b="0" i="0" u="none" strike="noStrike" kern="1200" cap="none" spc="0" normalizeH="0" baseline="3000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</a:b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  <a:t>PILOT</a:t>
            </a:r>
            <a:r>
              <a:rPr kumimoji="0" lang="en-GB" sz="1050" b="0" i="0" u="none" strike="noStrike" kern="1200" cap="none" spc="0" normalizeH="0" baseline="3000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  <a:t>10</a:t>
            </a: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  <a:t> </a:t>
            </a: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 Display" panose="02110004020202020204"/>
              <a:ea typeface="+mn-ea"/>
              <a:cs typeface="+mn-cs"/>
            </a:endParaRPr>
          </a:p>
        </p:txBody>
      </p:sp>
      <p:sp>
        <p:nvSpPr>
          <p:cNvPr id="37" name="Rectangle: Rounded Corners 36">
            <a:extLst>
              <a:ext uri="{FF2B5EF4-FFF2-40B4-BE49-F238E27FC236}">
                <a16:creationId xmlns:a16="http://schemas.microsoft.com/office/drawing/2014/main" id="{21B5905E-52A1-CBDB-C9F5-2C94EE4341F9}"/>
              </a:ext>
            </a:extLst>
          </p:cNvPr>
          <p:cNvSpPr/>
          <p:nvPr/>
        </p:nvSpPr>
        <p:spPr>
          <a:xfrm>
            <a:off x="6656973" y="3096451"/>
            <a:ext cx="990463" cy="493082"/>
          </a:xfrm>
          <a:prstGeom prst="roundRect">
            <a:avLst>
              <a:gd name="adj" fmla="val 24881"/>
            </a:avLst>
          </a:prstGeom>
          <a:solidFill>
            <a:srgbClr val="2D5E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  <a:t>Liso-cel</a:t>
            </a:r>
            <a:b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</a:b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  <a:t>TRANSCEND</a:t>
            </a:r>
            <a:r>
              <a:rPr kumimoji="0" lang="en-GB" sz="1050" b="0" i="0" u="none" strike="noStrike" kern="1200" cap="none" spc="0" normalizeH="0" baseline="3000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  <a:t>7</a:t>
            </a: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  <a:t> </a:t>
            </a: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 Display" panose="02110004020202020204"/>
              <a:ea typeface="+mn-ea"/>
              <a:cs typeface="+mn-cs"/>
            </a:endParaRPr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42526676-FF07-4038-EDF2-20404CF0B437}"/>
              </a:ext>
            </a:extLst>
          </p:cNvPr>
          <p:cNvSpPr/>
          <p:nvPr/>
        </p:nvSpPr>
        <p:spPr>
          <a:xfrm>
            <a:off x="5812843" y="3982605"/>
            <a:ext cx="1032418" cy="493082"/>
          </a:xfrm>
          <a:prstGeom prst="roundRect">
            <a:avLst>
              <a:gd name="adj" fmla="val 24881"/>
            </a:avLst>
          </a:prstGeom>
          <a:solidFill>
            <a:srgbClr val="F15A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  <a:t>Pola-BR</a:t>
            </a:r>
            <a:b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</a:b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  <a:t>GO29365</a:t>
            </a:r>
            <a:r>
              <a:rPr kumimoji="0" lang="en-GB" sz="1050" b="0" i="0" u="none" strike="noStrike" kern="1200" cap="none" spc="0" normalizeH="0" baseline="3000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  <a:t>11</a:t>
            </a: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  <a:t> </a:t>
            </a: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 Display" panose="02110004020202020204"/>
              <a:ea typeface="+mn-ea"/>
              <a:cs typeface="+mn-cs"/>
            </a:endParaRPr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FE039690-7722-4B12-C754-5A7BD7AC4A1D}"/>
              </a:ext>
            </a:extLst>
          </p:cNvPr>
          <p:cNvSpPr/>
          <p:nvPr/>
        </p:nvSpPr>
        <p:spPr>
          <a:xfrm>
            <a:off x="7543800" y="3982605"/>
            <a:ext cx="1098667" cy="493082"/>
          </a:xfrm>
          <a:prstGeom prst="roundRect">
            <a:avLst>
              <a:gd name="adj" fmla="val 24881"/>
            </a:avLst>
          </a:prstGeom>
          <a:solidFill>
            <a:srgbClr val="F15A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  <a:t> Pola-R-CHP </a:t>
            </a: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  <a:t>POLARIX</a:t>
            </a:r>
            <a:r>
              <a:rPr kumimoji="0" lang="en-GB" sz="1050" b="0" i="0" u="none" strike="noStrike" kern="1200" cap="none" spc="0" normalizeH="0" baseline="3000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  <a:t>12</a:t>
            </a:r>
            <a:endParaRPr kumimoji="0" lang="en-GB" sz="1400" b="0" i="0" u="none" strike="noStrike" kern="1200" cap="none" spc="0" normalizeH="0" baseline="3000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 Display" panose="02110004020202020204"/>
              <a:ea typeface="+mn-ea"/>
              <a:cs typeface="+mn-cs"/>
            </a:endParaRPr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CC6FB9D2-3718-6CFF-E4EB-1F7BC1AFB145}"/>
              </a:ext>
            </a:extLst>
          </p:cNvPr>
          <p:cNvSpPr/>
          <p:nvPr/>
        </p:nvSpPr>
        <p:spPr>
          <a:xfrm>
            <a:off x="8672507" y="3982605"/>
            <a:ext cx="1408622" cy="493082"/>
          </a:xfrm>
          <a:prstGeom prst="roundRect">
            <a:avLst>
              <a:gd name="adj" fmla="val 24881"/>
            </a:avLst>
          </a:prstGeom>
          <a:solidFill>
            <a:srgbClr val="EB92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  <a:t>Loncastuximab tesirine</a:t>
            </a:r>
            <a:b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</a:b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  <a:t>LOTIS-2</a:t>
            </a:r>
            <a:r>
              <a:rPr kumimoji="0" lang="en-GB" sz="1050" b="0" i="0" u="none" strike="noStrike" kern="1200" cap="none" spc="0" normalizeH="0" baseline="3000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  <a:t>13</a:t>
            </a: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 Display" panose="02110004020202020204"/>
              <a:ea typeface="+mn-ea"/>
              <a:cs typeface="+mn-cs"/>
            </a:endParaRPr>
          </a:p>
        </p:txBody>
      </p:sp>
      <p:sp>
        <p:nvSpPr>
          <p:cNvPr id="50" name="Parallelogram 49">
            <a:extLst>
              <a:ext uri="{FF2B5EF4-FFF2-40B4-BE49-F238E27FC236}">
                <a16:creationId xmlns:a16="http://schemas.microsoft.com/office/drawing/2014/main" id="{870953F8-B8B4-6626-6460-9BA49D86DB14}"/>
              </a:ext>
            </a:extLst>
          </p:cNvPr>
          <p:cNvSpPr/>
          <p:nvPr/>
        </p:nvSpPr>
        <p:spPr>
          <a:xfrm flipV="1">
            <a:off x="2193666" y="2131069"/>
            <a:ext cx="550914" cy="349318"/>
          </a:xfrm>
          <a:prstGeom prst="parallelogram">
            <a:avLst>
              <a:gd name="adj" fmla="val 52393"/>
            </a:avLst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 Display" panose="02110004020202020204"/>
              <a:ea typeface="+mn-ea"/>
              <a:cs typeface="+mn-cs"/>
            </a:endParaRPr>
          </a:p>
        </p:txBody>
      </p:sp>
      <p:sp>
        <p:nvSpPr>
          <p:cNvPr id="51" name="Parallelogram 50">
            <a:extLst>
              <a:ext uri="{FF2B5EF4-FFF2-40B4-BE49-F238E27FC236}">
                <a16:creationId xmlns:a16="http://schemas.microsoft.com/office/drawing/2014/main" id="{B1A0F0EF-2440-C616-1AAC-D61F27B53EB3}"/>
              </a:ext>
            </a:extLst>
          </p:cNvPr>
          <p:cNvSpPr/>
          <p:nvPr/>
        </p:nvSpPr>
        <p:spPr>
          <a:xfrm>
            <a:off x="2193666" y="2480388"/>
            <a:ext cx="550914" cy="339534"/>
          </a:xfrm>
          <a:prstGeom prst="parallelogram">
            <a:avLst>
              <a:gd name="adj" fmla="val 52393"/>
            </a:avLst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 Display" panose="02110004020202020204"/>
              <a:ea typeface="+mn-ea"/>
              <a:cs typeface="+mn-cs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E3421A23-86B4-104E-84E0-2BAF278BAFD5}"/>
              </a:ext>
            </a:extLst>
          </p:cNvPr>
          <p:cNvSpPr txBox="1"/>
          <p:nvPr/>
        </p:nvSpPr>
        <p:spPr>
          <a:xfrm>
            <a:off x="1308175" y="2341362"/>
            <a:ext cx="556592" cy="26826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CB813"/>
              </a:buClr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  <a:t>Immune </a:t>
            </a:r>
            <a:b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</a:b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  <a:t>activation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089D75F7-5B0F-374F-65AA-A51C62AE79DA}"/>
              </a:ext>
            </a:extLst>
          </p:cNvPr>
          <p:cNvSpPr/>
          <p:nvPr/>
        </p:nvSpPr>
        <p:spPr>
          <a:xfrm>
            <a:off x="743685" y="4731992"/>
            <a:ext cx="1903176" cy="1069274"/>
          </a:xfrm>
          <a:prstGeom prst="roundRect">
            <a:avLst>
              <a:gd name="adj" fmla="val 11474"/>
            </a:avLst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 Display" panose="02110004020202020204"/>
              <a:ea typeface="+mn-ea"/>
              <a:cs typeface="+mn-cs"/>
            </a:endParaRPr>
          </a:p>
        </p:txBody>
      </p:sp>
      <p:sp>
        <p:nvSpPr>
          <p:cNvPr id="7" name="Flowchart: Connector 6">
            <a:extLst>
              <a:ext uri="{FF2B5EF4-FFF2-40B4-BE49-F238E27FC236}">
                <a16:creationId xmlns:a16="http://schemas.microsoft.com/office/drawing/2014/main" id="{0438DC88-7A73-F519-CDA7-6720CA7A5D2E}"/>
              </a:ext>
            </a:extLst>
          </p:cNvPr>
          <p:cNvSpPr/>
          <p:nvPr/>
        </p:nvSpPr>
        <p:spPr>
          <a:xfrm>
            <a:off x="901733" y="5040620"/>
            <a:ext cx="457200" cy="457200"/>
          </a:xfrm>
          <a:prstGeom prst="flowChartConnector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 Display" panose="02110004020202020204"/>
              <a:ea typeface="+mn-ea"/>
              <a:cs typeface="+mn-cs"/>
            </a:endParaRPr>
          </a:p>
        </p:txBody>
      </p:sp>
      <p:sp>
        <p:nvSpPr>
          <p:cNvPr id="54" name="Parallelogram 53">
            <a:extLst>
              <a:ext uri="{FF2B5EF4-FFF2-40B4-BE49-F238E27FC236}">
                <a16:creationId xmlns:a16="http://schemas.microsoft.com/office/drawing/2014/main" id="{59A6C240-47F6-C25B-B989-0E917AD76BF6}"/>
              </a:ext>
            </a:extLst>
          </p:cNvPr>
          <p:cNvSpPr/>
          <p:nvPr/>
        </p:nvSpPr>
        <p:spPr>
          <a:xfrm flipV="1">
            <a:off x="2364027" y="4731991"/>
            <a:ext cx="550914" cy="542231"/>
          </a:xfrm>
          <a:prstGeom prst="parallelogram">
            <a:avLst>
              <a:gd name="adj" fmla="val 52393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 Display" panose="02110004020202020204"/>
              <a:ea typeface="+mn-ea"/>
              <a:cs typeface="+mn-cs"/>
            </a:endParaRPr>
          </a:p>
        </p:txBody>
      </p:sp>
      <p:sp>
        <p:nvSpPr>
          <p:cNvPr id="55" name="Parallelogram 54">
            <a:extLst>
              <a:ext uri="{FF2B5EF4-FFF2-40B4-BE49-F238E27FC236}">
                <a16:creationId xmlns:a16="http://schemas.microsoft.com/office/drawing/2014/main" id="{30B4F633-1A15-34A8-830B-5559BF9AA7ED}"/>
              </a:ext>
            </a:extLst>
          </p:cNvPr>
          <p:cNvSpPr/>
          <p:nvPr/>
        </p:nvSpPr>
        <p:spPr>
          <a:xfrm>
            <a:off x="2364027" y="5274223"/>
            <a:ext cx="550914" cy="527043"/>
          </a:xfrm>
          <a:prstGeom prst="parallelogram">
            <a:avLst>
              <a:gd name="adj" fmla="val 52393"/>
            </a:avLst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 Display" panose="02110004020202020204"/>
              <a:ea typeface="+mn-ea"/>
              <a:cs typeface="+mn-cs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E6ADA6F5-DDE8-4CD1-DB02-57071E0BEF59}"/>
              </a:ext>
            </a:extLst>
          </p:cNvPr>
          <p:cNvSpPr txBox="1"/>
          <p:nvPr/>
        </p:nvSpPr>
        <p:spPr>
          <a:xfrm>
            <a:off x="1482758" y="5121673"/>
            <a:ext cx="556592" cy="29509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CB813"/>
              </a:buClr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  <a:t>Bispecific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CB813"/>
              </a:buClr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  <a:t>antibodies</a:t>
            </a:r>
          </a:p>
        </p:txBody>
      </p:sp>
      <p:sp>
        <p:nvSpPr>
          <p:cNvPr id="62" name="Rectangle: Rounded Corners 61">
            <a:extLst>
              <a:ext uri="{FF2B5EF4-FFF2-40B4-BE49-F238E27FC236}">
                <a16:creationId xmlns:a16="http://schemas.microsoft.com/office/drawing/2014/main" id="{EFB3987A-09F5-8375-49E8-648C27D1C2F0}"/>
              </a:ext>
            </a:extLst>
          </p:cNvPr>
          <p:cNvSpPr/>
          <p:nvPr/>
        </p:nvSpPr>
        <p:spPr>
          <a:xfrm rot="2683786">
            <a:off x="1216428" y="5178354"/>
            <a:ext cx="38539" cy="109242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2700">
            <a:solidFill>
              <a:schemeClr val="accent4">
                <a:lumMod val="50000"/>
              </a:schemeClr>
            </a:solidFill>
          </a:ln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 Display" panose="02110004020202020204"/>
              <a:ea typeface="+mn-ea"/>
              <a:cs typeface="+mn-cs"/>
            </a:endParaRPr>
          </a:p>
        </p:txBody>
      </p:sp>
      <p:sp>
        <p:nvSpPr>
          <p:cNvPr id="63" name="Freeform: Shape 1210">
            <a:extLst>
              <a:ext uri="{FF2B5EF4-FFF2-40B4-BE49-F238E27FC236}">
                <a16:creationId xmlns:a16="http://schemas.microsoft.com/office/drawing/2014/main" id="{43039747-18D9-2EDE-35AB-F170778F7E77}"/>
              </a:ext>
            </a:extLst>
          </p:cNvPr>
          <p:cNvSpPr/>
          <p:nvPr/>
        </p:nvSpPr>
        <p:spPr>
          <a:xfrm rot="2700000">
            <a:off x="1119758" y="5149134"/>
            <a:ext cx="157450" cy="264452"/>
          </a:xfrm>
          <a:custGeom>
            <a:avLst/>
            <a:gdLst>
              <a:gd name="connsiteX0" fmla="*/ 61376 w 1712259"/>
              <a:gd name="connsiteY0" fmla="*/ 61376 h 2875858"/>
              <a:gd name="connsiteX1" fmla="*/ 209550 w 1712259"/>
              <a:gd name="connsiteY1" fmla="*/ 0 h 2875858"/>
              <a:gd name="connsiteX2" fmla="*/ 419100 w 1712259"/>
              <a:gd name="connsiteY2" fmla="*/ 209550 h 2875858"/>
              <a:gd name="connsiteX3" fmla="*/ 419100 w 1712259"/>
              <a:gd name="connsiteY3" fmla="*/ 1286350 h 2875858"/>
              <a:gd name="connsiteX4" fmla="*/ 1650884 w 1712259"/>
              <a:gd name="connsiteY4" fmla="*/ 2518134 h 2875858"/>
              <a:gd name="connsiteX5" fmla="*/ 1650884 w 1712259"/>
              <a:gd name="connsiteY5" fmla="*/ 2814482 h 2875858"/>
              <a:gd name="connsiteX6" fmla="*/ 1354535 w 1712259"/>
              <a:gd name="connsiteY6" fmla="*/ 2814482 h 2875858"/>
              <a:gd name="connsiteX7" fmla="*/ 68814 w 1712259"/>
              <a:gd name="connsiteY7" fmla="*/ 1528761 h 2875858"/>
              <a:gd name="connsiteX8" fmla="*/ 61376 w 1712259"/>
              <a:gd name="connsiteY8" fmla="*/ 1522624 h 2875858"/>
              <a:gd name="connsiteX9" fmla="*/ 0 w 1712259"/>
              <a:gd name="connsiteY9" fmla="*/ 1374450 h 2875858"/>
              <a:gd name="connsiteX10" fmla="*/ 0 w 1712259"/>
              <a:gd name="connsiteY10" fmla="*/ 209550 h 2875858"/>
              <a:gd name="connsiteX11" fmla="*/ 61376 w 1712259"/>
              <a:gd name="connsiteY11" fmla="*/ 61376 h 2875858"/>
              <a:gd name="connsiteX0" fmla="*/ 61376 w 1712259"/>
              <a:gd name="connsiteY0" fmla="*/ 61376 h 2875858"/>
              <a:gd name="connsiteX1" fmla="*/ 209550 w 1712259"/>
              <a:gd name="connsiteY1" fmla="*/ 0 h 2875858"/>
              <a:gd name="connsiteX2" fmla="*/ 419100 w 1712259"/>
              <a:gd name="connsiteY2" fmla="*/ 209550 h 2875858"/>
              <a:gd name="connsiteX3" fmla="*/ 419100 w 1712259"/>
              <a:gd name="connsiteY3" fmla="*/ 1286350 h 2875858"/>
              <a:gd name="connsiteX4" fmla="*/ 1650884 w 1712259"/>
              <a:gd name="connsiteY4" fmla="*/ 2518134 h 2875858"/>
              <a:gd name="connsiteX5" fmla="*/ 1650884 w 1712259"/>
              <a:gd name="connsiteY5" fmla="*/ 2814482 h 2875858"/>
              <a:gd name="connsiteX6" fmla="*/ 1354535 w 1712259"/>
              <a:gd name="connsiteY6" fmla="*/ 2814482 h 2875858"/>
              <a:gd name="connsiteX7" fmla="*/ 68814 w 1712259"/>
              <a:gd name="connsiteY7" fmla="*/ 1528761 h 2875858"/>
              <a:gd name="connsiteX8" fmla="*/ 0 w 1712259"/>
              <a:gd name="connsiteY8" fmla="*/ 1374450 h 2875858"/>
              <a:gd name="connsiteX9" fmla="*/ 0 w 1712259"/>
              <a:gd name="connsiteY9" fmla="*/ 209550 h 2875858"/>
              <a:gd name="connsiteX10" fmla="*/ 61376 w 1712259"/>
              <a:gd name="connsiteY10" fmla="*/ 61376 h 2875858"/>
              <a:gd name="connsiteX0" fmla="*/ 61376 w 1712259"/>
              <a:gd name="connsiteY0" fmla="*/ 61376 h 2875858"/>
              <a:gd name="connsiteX1" fmla="*/ 209550 w 1712259"/>
              <a:gd name="connsiteY1" fmla="*/ 0 h 2875858"/>
              <a:gd name="connsiteX2" fmla="*/ 419100 w 1712259"/>
              <a:gd name="connsiteY2" fmla="*/ 209550 h 2875858"/>
              <a:gd name="connsiteX3" fmla="*/ 419100 w 1712259"/>
              <a:gd name="connsiteY3" fmla="*/ 1286350 h 2875858"/>
              <a:gd name="connsiteX4" fmla="*/ 1650884 w 1712259"/>
              <a:gd name="connsiteY4" fmla="*/ 2518134 h 2875858"/>
              <a:gd name="connsiteX5" fmla="*/ 1650884 w 1712259"/>
              <a:gd name="connsiteY5" fmla="*/ 2814482 h 2875858"/>
              <a:gd name="connsiteX6" fmla="*/ 1354535 w 1712259"/>
              <a:gd name="connsiteY6" fmla="*/ 2814482 h 2875858"/>
              <a:gd name="connsiteX7" fmla="*/ 16616 w 1712259"/>
              <a:gd name="connsiteY7" fmla="*/ 1476564 h 2875858"/>
              <a:gd name="connsiteX8" fmla="*/ 0 w 1712259"/>
              <a:gd name="connsiteY8" fmla="*/ 1374450 h 2875858"/>
              <a:gd name="connsiteX9" fmla="*/ 0 w 1712259"/>
              <a:gd name="connsiteY9" fmla="*/ 209550 h 2875858"/>
              <a:gd name="connsiteX10" fmla="*/ 61376 w 1712259"/>
              <a:gd name="connsiteY10" fmla="*/ 61376 h 2875858"/>
              <a:gd name="connsiteX0" fmla="*/ 61376 w 1712259"/>
              <a:gd name="connsiteY0" fmla="*/ 61376 h 2875858"/>
              <a:gd name="connsiteX1" fmla="*/ 209550 w 1712259"/>
              <a:gd name="connsiteY1" fmla="*/ 0 h 2875858"/>
              <a:gd name="connsiteX2" fmla="*/ 419100 w 1712259"/>
              <a:gd name="connsiteY2" fmla="*/ 209550 h 2875858"/>
              <a:gd name="connsiteX3" fmla="*/ 419100 w 1712259"/>
              <a:gd name="connsiteY3" fmla="*/ 1286350 h 2875858"/>
              <a:gd name="connsiteX4" fmla="*/ 1650884 w 1712259"/>
              <a:gd name="connsiteY4" fmla="*/ 2518134 h 2875858"/>
              <a:gd name="connsiteX5" fmla="*/ 1650884 w 1712259"/>
              <a:gd name="connsiteY5" fmla="*/ 2814482 h 2875858"/>
              <a:gd name="connsiteX6" fmla="*/ 1354535 w 1712259"/>
              <a:gd name="connsiteY6" fmla="*/ 2814482 h 2875858"/>
              <a:gd name="connsiteX7" fmla="*/ 3146 w 1712259"/>
              <a:gd name="connsiteY7" fmla="*/ 1463094 h 2875858"/>
              <a:gd name="connsiteX8" fmla="*/ 0 w 1712259"/>
              <a:gd name="connsiteY8" fmla="*/ 1374450 h 2875858"/>
              <a:gd name="connsiteX9" fmla="*/ 0 w 1712259"/>
              <a:gd name="connsiteY9" fmla="*/ 209550 h 2875858"/>
              <a:gd name="connsiteX10" fmla="*/ 61376 w 1712259"/>
              <a:gd name="connsiteY10" fmla="*/ 61376 h 2875858"/>
              <a:gd name="connsiteX0" fmla="*/ 61376 w 1712259"/>
              <a:gd name="connsiteY0" fmla="*/ 61376 h 2875858"/>
              <a:gd name="connsiteX1" fmla="*/ 209550 w 1712259"/>
              <a:gd name="connsiteY1" fmla="*/ 0 h 2875858"/>
              <a:gd name="connsiteX2" fmla="*/ 419100 w 1712259"/>
              <a:gd name="connsiteY2" fmla="*/ 209550 h 2875858"/>
              <a:gd name="connsiteX3" fmla="*/ 419100 w 1712259"/>
              <a:gd name="connsiteY3" fmla="*/ 1286350 h 2875858"/>
              <a:gd name="connsiteX4" fmla="*/ 1650884 w 1712259"/>
              <a:gd name="connsiteY4" fmla="*/ 2518134 h 2875858"/>
              <a:gd name="connsiteX5" fmla="*/ 1650884 w 1712259"/>
              <a:gd name="connsiteY5" fmla="*/ 2814482 h 2875858"/>
              <a:gd name="connsiteX6" fmla="*/ 1354535 w 1712259"/>
              <a:gd name="connsiteY6" fmla="*/ 2814482 h 2875858"/>
              <a:gd name="connsiteX7" fmla="*/ 3146 w 1712259"/>
              <a:gd name="connsiteY7" fmla="*/ 1463094 h 2875858"/>
              <a:gd name="connsiteX8" fmla="*/ 0 w 1712259"/>
              <a:gd name="connsiteY8" fmla="*/ 209550 h 2875858"/>
              <a:gd name="connsiteX9" fmla="*/ 61376 w 1712259"/>
              <a:gd name="connsiteY9" fmla="*/ 61376 h 28758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712259" h="2875858">
                <a:moveTo>
                  <a:pt x="61376" y="61376"/>
                </a:moveTo>
                <a:cubicBezTo>
                  <a:pt x="99297" y="23455"/>
                  <a:pt x="151685" y="0"/>
                  <a:pt x="209550" y="0"/>
                </a:cubicBezTo>
                <a:cubicBezTo>
                  <a:pt x="325281" y="0"/>
                  <a:pt x="419100" y="93819"/>
                  <a:pt x="419100" y="209550"/>
                </a:cubicBezTo>
                <a:lnTo>
                  <a:pt x="419100" y="1286350"/>
                </a:lnTo>
                <a:lnTo>
                  <a:pt x="1650884" y="2518134"/>
                </a:lnTo>
                <a:cubicBezTo>
                  <a:pt x="1732718" y="2599968"/>
                  <a:pt x="1732718" y="2732648"/>
                  <a:pt x="1650884" y="2814482"/>
                </a:cubicBezTo>
                <a:cubicBezTo>
                  <a:pt x="1569050" y="2896317"/>
                  <a:pt x="1436370" y="2896317"/>
                  <a:pt x="1354535" y="2814482"/>
                </a:cubicBezTo>
                <a:lnTo>
                  <a:pt x="3146" y="1463094"/>
                </a:lnTo>
                <a:cubicBezTo>
                  <a:pt x="2097" y="1045246"/>
                  <a:pt x="1049" y="627398"/>
                  <a:pt x="0" y="209550"/>
                </a:cubicBezTo>
                <a:cubicBezTo>
                  <a:pt x="0" y="151685"/>
                  <a:pt x="23455" y="99297"/>
                  <a:pt x="61376" y="61376"/>
                </a:cubicBezTo>
                <a:close/>
              </a:path>
            </a:pathLst>
          </a:custGeom>
          <a:solidFill>
            <a:schemeClr val="bg1"/>
          </a:solidFill>
          <a:ln w="12700">
            <a:solidFill>
              <a:schemeClr val="accent4">
                <a:lumMod val="50000"/>
              </a:schemeClr>
            </a:solidFill>
          </a:ln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 Display" panose="02110004020202020204"/>
              <a:ea typeface="+mn-ea"/>
              <a:cs typeface="+mn-cs"/>
            </a:endParaRPr>
          </a:p>
        </p:txBody>
      </p:sp>
      <p:sp>
        <p:nvSpPr>
          <p:cNvPr id="60" name="Rectangle: Rounded Corners 59">
            <a:extLst>
              <a:ext uri="{FF2B5EF4-FFF2-40B4-BE49-F238E27FC236}">
                <a16:creationId xmlns:a16="http://schemas.microsoft.com/office/drawing/2014/main" id="{58687ABA-BBD8-B404-4816-735572678DF9}"/>
              </a:ext>
            </a:extLst>
          </p:cNvPr>
          <p:cNvSpPr/>
          <p:nvPr/>
        </p:nvSpPr>
        <p:spPr>
          <a:xfrm rot="18916214" flipH="1">
            <a:off x="1014017" y="5178354"/>
            <a:ext cx="38539" cy="109242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 Display" panose="02110004020202020204"/>
              <a:ea typeface="+mn-ea"/>
              <a:cs typeface="+mn-cs"/>
            </a:endParaRPr>
          </a:p>
        </p:txBody>
      </p:sp>
      <p:sp>
        <p:nvSpPr>
          <p:cNvPr id="61" name="Freeform: Shape 1208">
            <a:extLst>
              <a:ext uri="{FF2B5EF4-FFF2-40B4-BE49-F238E27FC236}">
                <a16:creationId xmlns:a16="http://schemas.microsoft.com/office/drawing/2014/main" id="{696A1DB8-8547-3A9E-09D6-4D5F1D4641CA}"/>
              </a:ext>
            </a:extLst>
          </p:cNvPr>
          <p:cNvSpPr/>
          <p:nvPr/>
        </p:nvSpPr>
        <p:spPr>
          <a:xfrm rot="18900000" flipH="1">
            <a:off x="991776" y="5149134"/>
            <a:ext cx="157450" cy="264452"/>
          </a:xfrm>
          <a:custGeom>
            <a:avLst/>
            <a:gdLst>
              <a:gd name="connsiteX0" fmla="*/ 61376 w 1712259"/>
              <a:gd name="connsiteY0" fmla="*/ 61376 h 2875858"/>
              <a:gd name="connsiteX1" fmla="*/ 209550 w 1712259"/>
              <a:gd name="connsiteY1" fmla="*/ 0 h 2875858"/>
              <a:gd name="connsiteX2" fmla="*/ 419100 w 1712259"/>
              <a:gd name="connsiteY2" fmla="*/ 209550 h 2875858"/>
              <a:gd name="connsiteX3" fmla="*/ 419100 w 1712259"/>
              <a:gd name="connsiteY3" fmla="*/ 1286350 h 2875858"/>
              <a:gd name="connsiteX4" fmla="*/ 1650884 w 1712259"/>
              <a:gd name="connsiteY4" fmla="*/ 2518134 h 2875858"/>
              <a:gd name="connsiteX5" fmla="*/ 1650884 w 1712259"/>
              <a:gd name="connsiteY5" fmla="*/ 2814482 h 2875858"/>
              <a:gd name="connsiteX6" fmla="*/ 1354535 w 1712259"/>
              <a:gd name="connsiteY6" fmla="*/ 2814482 h 2875858"/>
              <a:gd name="connsiteX7" fmla="*/ 68814 w 1712259"/>
              <a:gd name="connsiteY7" fmla="*/ 1528761 h 2875858"/>
              <a:gd name="connsiteX8" fmla="*/ 61376 w 1712259"/>
              <a:gd name="connsiteY8" fmla="*/ 1522624 h 2875858"/>
              <a:gd name="connsiteX9" fmla="*/ 0 w 1712259"/>
              <a:gd name="connsiteY9" fmla="*/ 1374450 h 2875858"/>
              <a:gd name="connsiteX10" fmla="*/ 0 w 1712259"/>
              <a:gd name="connsiteY10" fmla="*/ 209550 h 2875858"/>
              <a:gd name="connsiteX11" fmla="*/ 61376 w 1712259"/>
              <a:gd name="connsiteY11" fmla="*/ 61376 h 2875858"/>
              <a:gd name="connsiteX0" fmla="*/ 61376 w 1712259"/>
              <a:gd name="connsiteY0" fmla="*/ 61376 h 2875858"/>
              <a:gd name="connsiteX1" fmla="*/ 209550 w 1712259"/>
              <a:gd name="connsiteY1" fmla="*/ 0 h 2875858"/>
              <a:gd name="connsiteX2" fmla="*/ 419100 w 1712259"/>
              <a:gd name="connsiteY2" fmla="*/ 209550 h 2875858"/>
              <a:gd name="connsiteX3" fmla="*/ 419100 w 1712259"/>
              <a:gd name="connsiteY3" fmla="*/ 1286350 h 2875858"/>
              <a:gd name="connsiteX4" fmla="*/ 1650884 w 1712259"/>
              <a:gd name="connsiteY4" fmla="*/ 2518134 h 2875858"/>
              <a:gd name="connsiteX5" fmla="*/ 1650884 w 1712259"/>
              <a:gd name="connsiteY5" fmla="*/ 2814482 h 2875858"/>
              <a:gd name="connsiteX6" fmla="*/ 1354535 w 1712259"/>
              <a:gd name="connsiteY6" fmla="*/ 2814482 h 2875858"/>
              <a:gd name="connsiteX7" fmla="*/ 68814 w 1712259"/>
              <a:gd name="connsiteY7" fmla="*/ 1528761 h 2875858"/>
              <a:gd name="connsiteX8" fmla="*/ 0 w 1712259"/>
              <a:gd name="connsiteY8" fmla="*/ 1374450 h 2875858"/>
              <a:gd name="connsiteX9" fmla="*/ 0 w 1712259"/>
              <a:gd name="connsiteY9" fmla="*/ 209550 h 2875858"/>
              <a:gd name="connsiteX10" fmla="*/ 61376 w 1712259"/>
              <a:gd name="connsiteY10" fmla="*/ 61376 h 2875858"/>
              <a:gd name="connsiteX0" fmla="*/ 61376 w 1712259"/>
              <a:gd name="connsiteY0" fmla="*/ 61376 h 2875858"/>
              <a:gd name="connsiteX1" fmla="*/ 209550 w 1712259"/>
              <a:gd name="connsiteY1" fmla="*/ 0 h 2875858"/>
              <a:gd name="connsiteX2" fmla="*/ 419100 w 1712259"/>
              <a:gd name="connsiteY2" fmla="*/ 209550 h 2875858"/>
              <a:gd name="connsiteX3" fmla="*/ 419100 w 1712259"/>
              <a:gd name="connsiteY3" fmla="*/ 1286350 h 2875858"/>
              <a:gd name="connsiteX4" fmla="*/ 1650884 w 1712259"/>
              <a:gd name="connsiteY4" fmla="*/ 2518134 h 2875858"/>
              <a:gd name="connsiteX5" fmla="*/ 1650884 w 1712259"/>
              <a:gd name="connsiteY5" fmla="*/ 2814482 h 2875858"/>
              <a:gd name="connsiteX6" fmla="*/ 1354535 w 1712259"/>
              <a:gd name="connsiteY6" fmla="*/ 2814482 h 2875858"/>
              <a:gd name="connsiteX7" fmla="*/ 16616 w 1712259"/>
              <a:gd name="connsiteY7" fmla="*/ 1476564 h 2875858"/>
              <a:gd name="connsiteX8" fmla="*/ 0 w 1712259"/>
              <a:gd name="connsiteY8" fmla="*/ 1374450 h 2875858"/>
              <a:gd name="connsiteX9" fmla="*/ 0 w 1712259"/>
              <a:gd name="connsiteY9" fmla="*/ 209550 h 2875858"/>
              <a:gd name="connsiteX10" fmla="*/ 61376 w 1712259"/>
              <a:gd name="connsiteY10" fmla="*/ 61376 h 2875858"/>
              <a:gd name="connsiteX0" fmla="*/ 61376 w 1712259"/>
              <a:gd name="connsiteY0" fmla="*/ 61376 h 2875858"/>
              <a:gd name="connsiteX1" fmla="*/ 209550 w 1712259"/>
              <a:gd name="connsiteY1" fmla="*/ 0 h 2875858"/>
              <a:gd name="connsiteX2" fmla="*/ 419100 w 1712259"/>
              <a:gd name="connsiteY2" fmla="*/ 209550 h 2875858"/>
              <a:gd name="connsiteX3" fmla="*/ 419100 w 1712259"/>
              <a:gd name="connsiteY3" fmla="*/ 1286350 h 2875858"/>
              <a:gd name="connsiteX4" fmla="*/ 1650884 w 1712259"/>
              <a:gd name="connsiteY4" fmla="*/ 2518134 h 2875858"/>
              <a:gd name="connsiteX5" fmla="*/ 1650884 w 1712259"/>
              <a:gd name="connsiteY5" fmla="*/ 2814482 h 2875858"/>
              <a:gd name="connsiteX6" fmla="*/ 1354535 w 1712259"/>
              <a:gd name="connsiteY6" fmla="*/ 2814482 h 2875858"/>
              <a:gd name="connsiteX7" fmla="*/ 3146 w 1712259"/>
              <a:gd name="connsiteY7" fmla="*/ 1463094 h 2875858"/>
              <a:gd name="connsiteX8" fmla="*/ 0 w 1712259"/>
              <a:gd name="connsiteY8" fmla="*/ 1374450 h 2875858"/>
              <a:gd name="connsiteX9" fmla="*/ 0 w 1712259"/>
              <a:gd name="connsiteY9" fmla="*/ 209550 h 2875858"/>
              <a:gd name="connsiteX10" fmla="*/ 61376 w 1712259"/>
              <a:gd name="connsiteY10" fmla="*/ 61376 h 2875858"/>
              <a:gd name="connsiteX0" fmla="*/ 61376 w 1712259"/>
              <a:gd name="connsiteY0" fmla="*/ 61376 h 2875858"/>
              <a:gd name="connsiteX1" fmla="*/ 209550 w 1712259"/>
              <a:gd name="connsiteY1" fmla="*/ 0 h 2875858"/>
              <a:gd name="connsiteX2" fmla="*/ 419100 w 1712259"/>
              <a:gd name="connsiteY2" fmla="*/ 209550 h 2875858"/>
              <a:gd name="connsiteX3" fmla="*/ 419100 w 1712259"/>
              <a:gd name="connsiteY3" fmla="*/ 1286350 h 2875858"/>
              <a:gd name="connsiteX4" fmla="*/ 1650884 w 1712259"/>
              <a:gd name="connsiteY4" fmla="*/ 2518134 h 2875858"/>
              <a:gd name="connsiteX5" fmla="*/ 1650884 w 1712259"/>
              <a:gd name="connsiteY5" fmla="*/ 2814482 h 2875858"/>
              <a:gd name="connsiteX6" fmla="*/ 1354535 w 1712259"/>
              <a:gd name="connsiteY6" fmla="*/ 2814482 h 2875858"/>
              <a:gd name="connsiteX7" fmla="*/ 3146 w 1712259"/>
              <a:gd name="connsiteY7" fmla="*/ 1463094 h 2875858"/>
              <a:gd name="connsiteX8" fmla="*/ 0 w 1712259"/>
              <a:gd name="connsiteY8" fmla="*/ 209550 h 2875858"/>
              <a:gd name="connsiteX9" fmla="*/ 61376 w 1712259"/>
              <a:gd name="connsiteY9" fmla="*/ 61376 h 28758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712259" h="2875858">
                <a:moveTo>
                  <a:pt x="61376" y="61376"/>
                </a:moveTo>
                <a:cubicBezTo>
                  <a:pt x="99297" y="23455"/>
                  <a:pt x="151685" y="0"/>
                  <a:pt x="209550" y="0"/>
                </a:cubicBezTo>
                <a:cubicBezTo>
                  <a:pt x="325281" y="0"/>
                  <a:pt x="419100" y="93819"/>
                  <a:pt x="419100" y="209550"/>
                </a:cubicBezTo>
                <a:lnTo>
                  <a:pt x="419100" y="1286350"/>
                </a:lnTo>
                <a:lnTo>
                  <a:pt x="1650884" y="2518134"/>
                </a:lnTo>
                <a:cubicBezTo>
                  <a:pt x="1732718" y="2599968"/>
                  <a:pt x="1732718" y="2732648"/>
                  <a:pt x="1650884" y="2814482"/>
                </a:cubicBezTo>
                <a:cubicBezTo>
                  <a:pt x="1569050" y="2896317"/>
                  <a:pt x="1436370" y="2896317"/>
                  <a:pt x="1354535" y="2814482"/>
                </a:cubicBezTo>
                <a:lnTo>
                  <a:pt x="3146" y="1463094"/>
                </a:lnTo>
                <a:cubicBezTo>
                  <a:pt x="2097" y="1045246"/>
                  <a:pt x="1049" y="627398"/>
                  <a:pt x="0" y="209550"/>
                </a:cubicBezTo>
                <a:cubicBezTo>
                  <a:pt x="0" y="151685"/>
                  <a:pt x="23455" y="99297"/>
                  <a:pt x="61376" y="61376"/>
                </a:cubicBezTo>
                <a:close/>
              </a:path>
            </a:pathLst>
          </a:custGeom>
          <a:solidFill>
            <a:schemeClr val="bg1"/>
          </a:solidFill>
          <a:ln w="12700">
            <a:solidFill>
              <a:schemeClr val="accent4"/>
            </a:solidFill>
          </a:ln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 Display" panose="02110004020202020204"/>
              <a:ea typeface="+mn-ea"/>
              <a:cs typeface="+mn-cs"/>
            </a:endParaRPr>
          </a:p>
        </p:txBody>
      </p:sp>
      <p:sp>
        <p:nvSpPr>
          <p:cNvPr id="64" name="Rectangle: Rounded Corners 63">
            <a:extLst>
              <a:ext uri="{FF2B5EF4-FFF2-40B4-BE49-F238E27FC236}">
                <a16:creationId xmlns:a16="http://schemas.microsoft.com/office/drawing/2014/main" id="{626E6F61-3445-DEB2-795D-60BD7D168BE1}"/>
              </a:ext>
            </a:extLst>
          </p:cNvPr>
          <p:cNvSpPr/>
          <p:nvPr/>
        </p:nvSpPr>
        <p:spPr>
          <a:xfrm>
            <a:off x="7666857" y="5009561"/>
            <a:ext cx="1032418" cy="493082"/>
          </a:xfrm>
          <a:prstGeom prst="roundRect">
            <a:avLst>
              <a:gd name="adj" fmla="val 24881"/>
            </a:avLst>
          </a:prstGeom>
          <a:solidFill>
            <a:srgbClr val="4CA1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  <a:t>Glofitamab</a:t>
            </a:r>
            <a:b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</a:b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  <a:t>NP30179</a:t>
            </a:r>
            <a:r>
              <a:rPr kumimoji="0" lang="en-GB" sz="1050" b="0" i="0" u="none" strike="noStrike" kern="1200" cap="none" spc="0" normalizeH="0" baseline="3000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  <a:t>14</a:t>
            </a: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 Display" panose="02110004020202020204"/>
              <a:ea typeface="+mn-ea"/>
              <a:cs typeface="+mn-cs"/>
            </a:endParaRPr>
          </a:p>
        </p:txBody>
      </p:sp>
      <p:cxnSp>
        <p:nvCxnSpPr>
          <p:cNvPr id="127" name="Straight Connector 126">
            <a:extLst>
              <a:ext uri="{FF2B5EF4-FFF2-40B4-BE49-F238E27FC236}">
                <a16:creationId xmlns:a16="http://schemas.microsoft.com/office/drawing/2014/main" id="{CDA91A86-5CA2-3177-305B-E6C73842DC56}"/>
              </a:ext>
            </a:extLst>
          </p:cNvPr>
          <p:cNvCxnSpPr>
            <a:cxnSpLocks/>
          </p:cNvCxnSpPr>
          <p:nvPr/>
        </p:nvCxnSpPr>
        <p:spPr bwMode="auto">
          <a:xfrm>
            <a:off x="934314" y="2402022"/>
            <a:ext cx="213231" cy="0"/>
          </a:xfrm>
          <a:prstGeom prst="line">
            <a:avLst/>
          </a:prstGeom>
          <a:solidFill>
            <a:schemeClr val="bg1"/>
          </a:solidFill>
          <a:ln w="12700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Straight Connector 127">
            <a:extLst>
              <a:ext uri="{FF2B5EF4-FFF2-40B4-BE49-F238E27FC236}">
                <a16:creationId xmlns:a16="http://schemas.microsoft.com/office/drawing/2014/main" id="{01D36D67-1196-428C-6089-C2D0F8CB3B7B}"/>
              </a:ext>
            </a:extLst>
          </p:cNvPr>
          <p:cNvCxnSpPr>
            <a:cxnSpLocks/>
          </p:cNvCxnSpPr>
          <p:nvPr/>
        </p:nvCxnSpPr>
        <p:spPr bwMode="auto">
          <a:xfrm rot="5400000">
            <a:off x="919987" y="2402022"/>
            <a:ext cx="28654" cy="0"/>
          </a:xfrm>
          <a:prstGeom prst="line">
            <a:avLst/>
          </a:prstGeom>
          <a:solidFill>
            <a:schemeClr val="bg1"/>
          </a:solidFill>
          <a:ln w="12700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Straight Connector 128">
            <a:extLst>
              <a:ext uri="{FF2B5EF4-FFF2-40B4-BE49-F238E27FC236}">
                <a16:creationId xmlns:a16="http://schemas.microsoft.com/office/drawing/2014/main" id="{436FB3B0-A7EB-FE0A-9F2F-3B193B4149D5}"/>
              </a:ext>
            </a:extLst>
          </p:cNvPr>
          <p:cNvCxnSpPr>
            <a:cxnSpLocks/>
          </p:cNvCxnSpPr>
          <p:nvPr/>
        </p:nvCxnSpPr>
        <p:spPr bwMode="auto">
          <a:xfrm rot="5400000">
            <a:off x="1133246" y="2402022"/>
            <a:ext cx="28654" cy="0"/>
          </a:xfrm>
          <a:prstGeom prst="line">
            <a:avLst/>
          </a:prstGeom>
          <a:solidFill>
            <a:schemeClr val="bg1"/>
          </a:solidFill>
          <a:ln w="12700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Straight Connector 123">
            <a:extLst>
              <a:ext uri="{FF2B5EF4-FFF2-40B4-BE49-F238E27FC236}">
                <a16:creationId xmlns:a16="http://schemas.microsoft.com/office/drawing/2014/main" id="{ADA07868-D4A3-B9EE-B316-C46F4FE93DD4}"/>
              </a:ext>
            </a:extLst>
          </p:cNvPr>
          <p:cNvCxnSpPr>
            <a:cxnSpLocks/>
          </p:cNvCxnSpPr>
          <p:nvPr/>
        </p:nvCxnSpPr>
        <p:spPr bwMode="auto">
          <a:xfrm rot="8100000">
            <a:off x="934338" y="2402012"/>
            <a:ext cx="213231" cy="0"/>
          </a:xfrm>
          <a:prstGeom prst="line">
            <a:avLst/>
          </a:prstGeom>
          <a:solidFill>
            <a:schemeClr val="bg1"/>
          </a:solidFill>
          <a:ln w="12700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Straight Connector 124">
            <a:extLst>
              <a:ext uri="{FF2B5EF4-FFF2-40B4-BE49-F238E27FC236}">
                <a16:creationId xmlns:a16="http://schemas.microsoft.com/office/drawing/2014/main" id="{0233D454-EFD9-B440-812D-B569DC9201D8}"/>
              </a:ext>
            </a:extLst>
          </p:cNvPr>
          <p:cNvCxnSpPr>
            <a:cxnSpLocks/>
          </p:cNvCxnSpPr>
          <p:nvPr/>
        </p:nvCxnSpPr>
        <p:spPr bwMode="auto">
          <a:xfrm rot="13500000">
            <a:off x="1102015" y="2326624"/>
            <a:ext cx="28654" cy="0"/>
          </a:xfrm>
          <a:prstGeom prst="line">
            <a:avLst/>
          </a:prstGeom>
          <a:solidFill>
            <a:schemeClr val="bg1"/>
          </a:solidFill>
          <a:ln w="12700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Straight Connector 125">
            <a:extLst>
              <a:ext uri="{FF2B5EF4-FFF2-40B4-BE49-F238E27FC236}">
                <a16:creationId xmlns:a16="http://schemas.microsoft.com/office/drawing/2014/main" id="{D386FCC7-2E96-4F4B-C460-ADBBF2279378}"/>
              </a:ext>
            </a:extLst>
          </p:cNvPr>
          <p:cNvCxnSpPr>
            <a:cxnSpLocks/>
          </p:cNvCxnSpPr>
          <p:nvPr/>
        </p:nvCxnSpPr>
        <p:spPr bwMode="auto">
          <a:xfrm rot="13500000">
            <a:off x="951218" y="2477420"/>
            <a:ext cx="28654" cy="0"/>
          </a:xfrm>
          <a:prstGeom prst="line">
            <a:avLst/>
          </a:prstGeom>
          <a:solidFill>
            <a:schemeClr val="bg1"/>
          </a:solidFill>
          <a:ln w="12700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Straight Connector 120">
            <a:extLst>
              <a:ext uri="{FF2B5EF4-FFF2-40B4-BE49-F238E27FC236}">
                <a16:creationId xmlns:a16="http://schemas.microsoft.com/office/drawing/2014/main" id="{2724D3FD-B042-C971-38BB-868C8007AB06}"/>
              </a:ext>
            </a:extLst>
          </p:cNvPr>
          <p:cNvCxnSpPr>
            <a:cxnSpLocks/>
          </p:cNvCxnSpPr>
          <p:nvPr/>
        </p:nvCxnSpPr>
        <p:spPr bwMode="auto">
          <a:xfrm rot="2700000">
            <a:off x="934320" y="2402013"/>
            <a:ext cx="213228" cy="0"/>
          </a:xfrm>
          <a:prstGeom prst="line">
            <a:avLst/>
          </a:prstGeom>
          <a:solidFill>
            <a:schemeClr val="bg1"/>
          </a:solidFill>
          <a:ln w="12700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Straight Connector 121">
            <a:extLst>
              <a:ext uri="{FF2B5EF4-FFF2-40B4-BE49-F238E27FC236}">
                <a16:creationId xmlns:a16="http://schemas.microsoft.com/office/drawing/2014/main" id="{0A48DF6B-D211-3FBC-D651-6632237436DA}"/>
              </a:ext>
            </a:extLst>
          </p:cNvPr>
          <p:cNvCxnSpPr>
            <a:cxnSpLocks/>
          </p:cNvCxnSpPr>
          <p:nvPr/>
        </p:nvCxnSpPr>
        <p:spPr bwMode="auto">
          <a:xfrm rot="8100000">
            <a:off x="951219" y="2326625"/>
            <a:ext cx="28655" cy="0"/>
          </a:xfrm>
          <a:prstGeom prst="line">
            <a:avLst/>
          </a:prstGeom>
          <a:solidFill>
            <a:schemeClr val="bg1"/>
          </a:solidFill>
          <a:ln w="12700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Straight Connector 122">
            <a:extLst>
              <a:ext uri="{FF2B5EF4-FFF2-40B4-BE49-F238E27FC236}">
                <a16:creationId xmlns:a16="http://schemas.microsoft.com/office/drawing/2014/main" id="{34986784-44BD-D690-79AC-A16C74269134}"/>
              </a:ext>
            </a:extLst>
          </p:cNvPr>
          <p:cNvCxnSpPr>
            <a:cxnSpLocks/>
          </p:cNvCxnSpPr>
          <p:nvPr/>
        </p:nvCxnSpPr>
        <p:spPr bwMode="auto">
          <a:xfrm rot="8100000">
            <a:off x="1102014" y="2477420"/>
            <a:ext cx="28655" cy="0"/>
          </a:xfrm>
          <a:prstGeom prst="line">
            <a:avLst/>
          </a:prstGeom>
          <a:solidFill>
            <a:schemeClr val="bg1"/>
          </a:solidFill>
          <a:ln w="12700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Straight Connector 117">
            <a:extLst>
              <a:ext uri="{FF2B5EF4-FFF2-40B4-BE49-F238E27FC236}">
                <a16:creationId xmlns:a16="http://schemas.microsoft.com/office/drawing/2014/main" id="{227C02AF-1897-1AE8-68ED-78EDE10CFBEC}"/>
              </a:ext>
            </a:extLst>
          </p:cNvPr>
          <p:cNvCxnSpPr>
            <a:cxnSpLocks/>
          </p:cNvCxnSpPr>
          <p:nvPr/>
        </p:nvCxnSpPr>
        <p:spPr bwMode="auto">
          <a:xfrm rot="16200000">
            <a:off x="934438" y="2402144"/>
            <a:ext cx="213228" cy="0"/>
          </a:xfrm>
          <a:prstGeom prst="line">
            <a:avLst/>
          </a:prstGeom>
          <a:solidFill>
            <a:schemeClr val="bg1"/>
          </a:solidFill>
          <a:ln w="12700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Straight Connector 118">
            <a:extLst>
              <a:ext uri="{FF2B5EF4-FFF2-40B4-BE49-F238E27FC236}">
                <a16:creationId xmlns:a16="http://schemas.microsoft.com/office/drawing/2014/main" id="{DE6D9FF6-C28A-1BC3-DF5D-13E082FB2BE6}"/>
              </a:ext>
            </a:extLst>
          </p:cNvPr>
          <p:cNvCxnSpPr>
            <a:cxnSpLocks/>
          </p:cNvCxnSpPr>
          <p:nvPr/>
        </p:nvCxnSpPr>
        <p:spPr bwMode="auto">
          <a:xfrm>
            <a:off x="1026725" y="2508759"/>
            <a:ext cx="28655" cy="0"/>
          </a:xfrm>
          <a:prstGeom prst="line">
            <a:avLst/>
          </a:prstGeom>
          <a:solidFill>
            <a:schemeClr val="bg1"/>
          </a:solidFill>
          <a:ln w="12700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Straight Connector 119">
            <a:extLst>
              <a:ext uri="{FF2B5EF4-FFF2-40B4-BE49-F238E27FC236}">
                <a16:creationId xmlns:a16="http://schemas.microsoft.com/office/drawing/2014/main" id="{654AA886-EC4C-D3EF-C886-28F03E7538F0}"/>
              </a:ext>
            </a:extLst>
          </p:cNvPr>
          <p:cNvCxnSpPr>
            <a:cxnSpLocks/>
          </p:cNvCxnSpPr>
          <p:nvPr/>
        </p:nvCxnSpPr>
        <p:spPr bwMode="auto">
          <a:xfrm>
            <a:off x="1026725" y="2295503"/>
            <a:ext cx="28655" cy="0"/>
          </a:xfrm>
          <a:prstGeom prst="line">
            <a:avLst/>
          </a:prstGeom>
          <a:solidFill>
            <a:schemeClr val="bg1"/>
          </a:solidFill>
          <a:ln w="12700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Oval 110">
            <a:extLst>
              <a:ext uri="{FF2B5EF4-FFF2-40B4-BE49-F238E27FC236}">
                <a16:creationId xmlns:a16="http://schemas.microsoft.com/office/drawing/2014/main" id="{66B82FD7-3F40-DCE0-4C8A-46938FCFCD73}"/>
              </a:ext>
            </a:extLst>
          </p:cNvPr>
          <p:cNvSpPr/>
          <p:nvPr/>
        </p:nvSpPr>
        <p:spPr>
          <a:xfrm>
            <a:off x="957827" y="2318907"/>
            <a:ext cx="166232" cy="166230"/>
          </a:xfrm>
          <a:prstGeom prst="ellipse">
            <a:avLst/>
          </a:prstGeom>
          <a:solidFill>
            <a:schemeClr val="bg1"/>
          </a:solidFill>
          <a:ln w="12700" cap="rnd">
            <a:solidFill>
              <a:schemeClr val="tx2"/>
            </a:solidFill>
            <a:round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 Display" panose="02110004020202020204"/>
              <a:ea typeface="+mn-ea"/>
              <a:cs typeface="+mn-cs"/>
            </a:endParaRPr>
          </a:p>
        </p:txBody>
      </p:sp>
      <p:sp>
        <p:nvSpPr>
          <p:cNvPr id="112" name="Oval 111">
            <a:extLst>
              <a:ext uri="{FF2B5EF4-FFF2-40B4-BE49-F238E27FC236}">
                <a16:creationId xmlns:a16="http://schemas.microsoft.com/office/drawing/2014/main" id="{70E696BC-32A9-CBA6-DBBD-6A139EBA1066}"/>
              </a:ext>
            </a:extLst>
          </p:cNvPr>
          <p:cNvSpPr/>
          <p:nvPr/>
        </p:nvSpPr>
        <p:spPr>
          <a:xfrm>
            <a:off x="980875" y="2377319"/>
            <a:ext cx="50743" cy="50742"/>
          </a:xfrm>
          <a:prstGeom prst="ellipse">
            <a:avLst/>
          </a:prstGeom>
          <a:solidFill>
            <a:schemeClr val="bg1"/>
          </a:solidFill>
          <a:ln w="12700" cap="rnd">
            <a:solidFill>
              <a:schemeClr val="tx2"/>
            </a:solidFill>
            <a:round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 Display" panose="02110004020202020204"/>
              <a:ea typeface="+mn-ea"/>
              <a:cs typeface="+mn-cs"/>
            </a:endParaRPr>
          </a:p>
        </p:txBody>
      </p:sp>
      <p:sp>
        <p:nvSpPr>
          <p:cNvPr id="113" name="Oval 112">
            <a:extLst>
              <a:ext uri="{FF2B5EF4-FFF2-40B4-BE49-F238E27FC236}">
                <a16:creationId xmlns:a16="http://schemas.microsoft.com/office/drawing/2014/main" id="{79E721B8-063D-5E16-D82A-711F710725D7}"/>
              </a:ext>
            </a:extLst>
          </p:cNvPr>
          <p:cNvSpPr/>
          <p:nvPr/>
        </p:nvSpPr>
        <p:spPr>
          <a:xfrm>
            <a:off x="1047118" y="2368363"/>
            <a:ext cx="31246" cy="31246"/>
          </a:xfrm>
          <a:prstGeom prst="ellipse">
            <a:avLst/>
          </a:prstGeom>
          <a:solidFill>
            <a:schemeClr val="bg1"/>
          </a:solidFill>
          <a:ln w="12700" cap="rnd">
            <a:solidFill>
              <a:schemeClr val="tx2"/>
            </a:solidFill>
            <a:round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 Display" panose="02110004020202020204"/>
              <a:ea typeface="+mn-ea"/>
              <a:cs typeface="+mn-cs"/>
            </a:endParaRPr>
          </a:p>
        </p:txBody>
      </p: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6D7D18D1-758B-6DB6-874B-95105C436577}"/>
              </a:ext>
            </a:extLst>
          </p:cNvPr>
          <p:cNvCxnSpPr>
            <a:cxnSpLocks/>
          </p:cNvCxnSpPr>
          <p:nvPr/>
        </p:nvCxnSpPr>
        <p:spPr bwMode="auto">
          <a:xfrm>
            <a:off x="1021082" y="2495465"/>
            <a:ext cx="213231" cy="0"/>
          </a:xfrm>
          <a:prstGeom prst="line">
            <a:avLst/>
          </a:prstGeom>
          <a:solidFill>
            <a:schemeClr val="bg1"/>
          </a:solidFill>
          <a:ln w="12700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Straight Connector 107">
            <a:extLst>
              <a:ext uri="{FF2B5EF4-FFF2-40B4-BE49-F238E27FC236}">
                <a16:creationId xmlns:a16="http://schemas.microsoft.com/office/drawing/2014/main" id="{91D4F1AF-B9D8-6621-46C1-F198B8652BFB}"/>
              </a:ext>
            </a:extLst>
          </p:cNvPr>
          <p:cNvCxnSpPr>
            <a:cxnSpLocks/>
          </p:cNvCxnSpPr>
          <p:nvPr/>
        </p:nvCxnSpPr>
        <p:spPr bwMode="auto">
          <a:xfrm rot="5400000">
            <a:off x="1006755" y="2495465"/>
            <a:ext cx="28654" cy="0"/>
          </a:xfrm>
          <a:prstGeom prst="line">
            <a:avLst/>
          </a:prstGeom>
          <a:solidFill>
            <a:schemeClr val="bg1"/>
          </a:solidFill>
          <a:ln w="12700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Connector 108">
            <a:extLst>
              <a:ext uri="{FF2B5EF4-FFF2-40B4-BE49-F238E27FC236}">
                <a16:creationId xmlns:a16="http://schemas.microsoft.com/office/drawing/2014/main" id="{1D6A2D17-7638-AC4B-7C20-1AD8549E66B5}"/>
              </a:ext>
            </a:extLst>
          </p:cNvPr>
          <p:cNvCxnSpPr>
            <a:cxnSpLocks/>
          </p:cNvCxnSpPr>
          <p:nvPr/>
        </p:nvCxnSpPr>
        <p:spPr bwMode="auto">
          <a:xfrm rot="5400000">
            <a:off x="1220014" y="2495465"/>
            <a:ext cx="28654" cy="0"/>
          </a:xfrm>
          <a:prstGeom prst="line">
            <a:avLst/>
          </a:prstGeom>
          <a:solidFill>
            <a:schemeClr val="bg1"/>
          </a:solidFill>
          <a:ln w="12700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Connector 103">
            <a:extLst>
              <a:ext uri="{FF2B5EF4-FFF2-40B4-BE49-F238E27FC236}">
                <a16:creationId xmlns:a16="http://schemas.microsoft.com/office/drawing/2014/main" id="{39D971B5-3C98-A180-95D0-CE156FB6B8CE}"/>
              </a:ext>
            </a:extLst>
          </p:cNvPr>
          <p:cNvCxnSpPr>
            <a:cxnSpLocks/>
          </p:cNvCxnSpPr>
          <p:nvPr/>
        </p:nvCxnSpPr>
        <p:spPr bwMode="auto">
          <a:xfrm rot="8100000">
            <a:off x="1021106" y="2495455"/>
            <a:ext cx="213231" cy="0"/>
          </a:xfrm>
          <a:prstGeom prst="line">
            <a:avLst/>
          </a:prstGeom>
          <a:solidFill>
            <a:schemeClr val="bg1"/>
          </a:solidFill>
          <a:ln w="12700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Straight Connector 104">
            <a:extLst>
              <a:ext uri="{FF2B5EF4-FFF2-40B4-BE49-F238E27FC236}">
                <a16:creationId xmlns:a16="http://schemas.microsoft.com/office/drawing/2014/main" id="{A21FEB17-04DE-8EE0-323A-32FC2F352528}"/>
              </a:ext>
            </a:extLst>
          </p:cNvPr>
          <p:cNvCxnSpPr>
            <a:cxnSpLocks/>
          </p:cNvCxnSpPr>
          <p:nvPr/>
        </p:nvCxnSpPr>
        <p:spPr bwMode="auto">
          <a:xfrm rot="13500000">
            <a:off x="1188783" y="2420067"/>
            <a:ext cx="28654" cy="0"/>
          </a:xfrm>
          <a:prstGeom prst="line">
            <a:avLst/>
          </a:prstGeom>
          <a:solidFill>
            <a:schemeClr val="bg1"/>
          </a:solidFill>
          <a:ln w="12700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Straight Connector 105">
            <a:extLst>
              <a:ext uri="{FF2B5EF4-FFF2-40B4-BE49-F238E27FC236}">
                <a16:creationId xmlns:a16="http://schemas.microsoft.com/office/drawing/2014/main" id="{BCDAEAB6-B69C-96B9-4C92-23630A50450D}"/>
              </a:ext>
            </a:extLst>
          </p:cNvPr>
          <p:cNvCxnSpPr>
            <a:cxnSpLocks/>
          </p:cNvCxnSpPr>
          <p:nvPr/>
        </p:nvCxnSpPr>
        <p:spPr bwMode="auto">
          <a:xfrm rot="13500000">
            <a:off x="1037986" y="2570863"/>
            <a:ext cx="28654" cy="0"/>
          </a:xfrm>
          <a:prstGeom prst="line">
            <a:avLst/>
          </a:prstGeom>
          <a:solidFill>
            <a:schemeClr val="bg1"/>
          </a:solidFill>
          <a:ln w="12700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Straight Connector 100">
            <a:extLst>
              <a:ext uri="{FF2B5EF4-FFF2-40B4-BE49-F238E27FC236}">
                <a16:creationId xmlns:a16="http://schemas.microsoft.com/office/drawing/2014/main" id="{D082A09B-CA22-8275-220B-91D7FFBC8525}"/>
              </a:ext>
            </a:extLst>
          </p:cNvPr>
          <p:cNvCxnSpPr>
            <a:cxnSpLocks/>
          </p:cNvCxnSpPr>
          <p:nvPr/>
        </p:nvCxnSpPr>
        <p:spPr bwMode="auto">
          <a:xfrm rot="2700000">
            <a:off x="1021088" y="2495456"/>
            <a:ext cx="213228" cy="0"/>
          </a:xfrm>
          <a:prstGeom prst="line">
            <a:avLst/>
          </a:prstGeom>
          <a:solidFill>
            <a:schemeClr val="bg1"/>
          </a:solidFill>
          <a:ln w="12700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id="{6D9931BE-2444-7971-4965-B6A34E64917C}"/>
              </a:ext>
            </a:extLst>
          </p:cNvPr>
          <p:cNvCxnSpPr>
            <a:cxnSpLocks/>
          </p:cNvCxnSpPr>
          <p:nvPr/>
        </p:nvCxnSpPr>
        <p:spPr bwMode="auto">
          <a:xfrm rot="8100000">
            <a:off x="1037987" y="2420068"/>
            <a:ext cx="28655" cy="0"/>
          </a:xfrm>
          <a:prstGeom prst="line">
            <a:avLst/>
          </a:prstGeom>
          <a:solidFill>
            <a:schemeClr val="bg1"/>
          </a:solidFill>
          <a:ln w="12700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Straight Connector 102">
            <a:extLst>
              <a:ext uri="{FF2B5EF4-FFF2-40B4-BE49-F238E27FC236}">
                <a16:creationId xmlns:a16="http://schemas.microsoft.com/office/drawing/2014/main" id="{A04F55A3-B25A-DE58-66BE-089D07047CA6}"/>
              </a:ext>
            </a:extLst>
          </p:cNvPr>
          <p:cNvCxnSpPr>
            <a:cxnSpLocks/>
          </p:cNvCxnSpPr>
          <p:nvPr/>
        </p:nvCxnSpPr>
        <p:spPr bwMode="auto">
          <a:xfrm rot="8100000">
            <a:off x="1188782" y="2570863"/>
            <a:ext cx="28655" cy="0"/>
          </a:xfrm>
          <a:prstGeom prst="line">
            <a:avLst/>
          </a:prstGeom>
          <a:solidFill>
            <a:schemeClr val="bg1"/>
          </a:solidFill>
          <a:ln w="12700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Straight Connector 97">
            <a:extLst>
              <a:ext uri="{FF2B5EF4-FFF2-40B4-BE49-F238E27FC236}">
                <a16:creationId xmlns:a16="http://schemas.microsoft.com/office/drawing/2014/main" id="{EB8DD19B-D141-2F76-C3B8-36AB8F290B62}"/>
              </a:ext>
            </a:extLst>
          </p:cNvPr>
          <p:cNvCxnSpPr>
            <a:cxnSpLocks/>
          </p:cNvCxnSpPr>
          <p:nvPr/>
        </p:nvCxnSpPr>
        <p:spPr bwMode="auto">
          <a:xfrm rot="16200000">
            <a:off x="1021206" y="2495587"/>
            <a:ext cx="213228" cy="0"/>
          </a:xfrm>
          <a:prstGeom prst="line">
            <a:avLst/>
          </a:prstGeom>
          <a:solidFill>
            <a:schemeClr val="bg1"/>
          </a:solidFill>
          <a:ln w="12700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Straight Connector 98">
            <a:extLst>
              <a:ext uri="{FF2B5EF4-FFF2-40B4-BE49-F238E27FC236}">
                <a16:creationId xmlns:a16="http://schemas.microsoft.com/office/drawing/2014/main" id="{46DC64DE-6413-44CE-4447-2CD35F32DE0E}"/>
              </a:ext>
            </a:extLst>
          </p:cNvPr>
          <p:cNvCxnSpPr>
            <a:cxnSpLocks/>
          </p:cNvCxnSpPr>
          <p:nvPr/>
        </p:nvCxnSpPr>
        <p:spPr bwMode="auto">
          <a:xfrm>
            <a:off x="1113493" y="2602202"/>
            <a:ext cx="28655" cy="0"/>
          </a:xfrm>
          <a:prstGeom prst="line">
            <a:avLst/>
          </a:prstGeom>
          <a:solidFill>
            <a:schemeClr val="bg1"/>
          </a:solidFill>
          <a:ln w="12700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Connector 99">
            <a:extLst>
              <a:ext uri="{FF2B5EF4-FFF2-40B4-BE49-F238E27FC236}">
                <a16:creationId xmlns:a16="http://schemas.microsoft.com/office/drawing/2014/main" id="{4030EA22-9E6D-75E7-A31D-C4473134A5E6}"/>
              </a:ext>
            </a:extLst>
          </p:cNvPr>
          <p:cNvCxnSpPr>
            <a:cxnSpLocks/>
          </p:cNvCxnSpPr>
          <p:nvPr/>
        </p:nvCxnSpPr>
        <p:spPr bwMode="auto">
          <a:xfrm>
            <a:off x="1113493" y="2388946"/>
            <a:ext cx="28655" cy="0"/>
          </a:xfrm>
          <a:prstGeom prst="line">
            <a:avLst/>
          </a:prstGeom>
          <a:solidFill>
            <a:schemeClr val="bg1"/>
          </a:solidFill>
          <a:ln w="12700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Oval 90">
            <a:extLst>
              <a:ext uri="{FF2B5EF4-FFF2-40B4-BE49-F238E27FC236}">
                <a16:creationId xmlns:a16="http://schemas.microsoft.com/office/drawing/2014/main" id="{A241D59C-6B6E-AF73-968C-51F82AFB55EF}"/>
              </a:ext>
            </a:extLst>
          </p:cNvPr>
          <p:cNvSpPr/>
          <p:nvPr/>
        </p:nvSpPr>
        <p:spPr>
          <a:xfrm>
            <a:off x="1044595" y="2412350"/>
            <a:ext cx="166232" cy="166230"/>
          </a:xfrm>
          <a:prstGeom prst="ellipse">
            <a:avLst/>
          </a:prstGeom>
          <a:solidFill>
            <a:schemeClr val="bg1"/>
          </a:solidFill>
          <a:ln w="12700" cap="rnd">
            <a:solidFill>
              <a:schemeClr val="tx2"/>
            </a:solidFill>
            <a:round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 Display" panose="02110004020202020204"/>
              <a:ea typeface="+mn-ea"/>
              <a:cs typeface="+mn-cs"/>
            </a:endParaRPr>
          </a:p>
        </p:txBody>
      </p:sp>
      <p:sp>
        <p:nvSpPr>
          <p:cNvPr id="92" name="Oval 91">
            <a:extLst>
              <a:ext uri="{FF2B5EF4-FFF2-40B4-BE49-F238E27FC236}">
                <a16:creationId xmlns:a16="http://schemas.microsoft.com/office/drawing/2014/main" id="{498CF4A5-CEFE-B59C-F49E-314141876BA8}"/>
              </a:ext>
            </a:extLst>
          </p:cNvPr>
          <p:cNvSpPr/>
          <p:nvPr/>
        </p:nvSpPr>
        <p:spPr>
          <a:xfrm>
            <a:off x="1067643" y="2470762"/>
            <a:ext cx="50743" cy="50742"/>
          </a:xfrm>
          <a:prstGeom prst="ellipse">
            <a:avLst/>
          </a:prstGeom>
          <a:solidFill>
            <a:schemeClr val="bg1"/>
          </a:solidFill>
          <a:ln w="12700" cap="rnd">
            <a:solidFill>
              <a:schemeClr val="tx2"/>
            </a:solidFill>
            <a:round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 Display" panose="02110004020202020204"/>
              <a:ea typeface="+mn-ea"/>
              <a:cs typeface="+mn-cs"/>
            </a:endParaRPr>
          </a:p>
        </p:txBody>
      </p:sp>
      <p:sp>
        <p:nvSpPr>
          <p:cNvPr id="93" name="Oval 92">
            <a:extLst>
              <a:ext uri="{FF2B5EF4-FFF2-40B4-BE49-F238E27FC236}">
                <a16:creationId xmlns:a16="http://schemas.microsoft.com/office/drawing/2014/main" id="{2418E9FA-1467-B279-9B48-A0C1E6DC829A}"/>
              </a:ext>
            </a:extLst>
          </p:cNvPr>
          <p:cNvSpPr/>
          <p:nvPr/>
        </p:nvSpPr>
        <p:spPr>
          <a:xfrm>
            <a:off x="1133886" y="2461806"/>
            <a:ext cx="31246" cy="31246"/>
          </a:xfrm>
          <a:prstGeom prst="ellipse">
            <a:avLst/>
          </a:prstGeom>
          <a:solidFill>
            <a:schemeClr val="bg1"/>
          </a:solidFill>
          <a:ln w="12700" cap="rnd">
            <a:solidFill>
              <a:schemeClr val="tx2"/>
            </a:solidFill>
            <a:round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 Display" panose="02110004020202020204"/>
              <a:ea typeface="+mn-ea"/>
              <a:cs typeface="+mn-cs"/>
            </a:endParaRPr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F87344A4-4D36-DC8B-12A7-0C24F23BD23F}"/>
              </a:ext>
            </a:extLst>
          </p:cNvPr>
          <p:cNvCxnSpPr>
            <a:cxnSpLocks/>
          </p:cNvCxnSpPr>
          <p:nvPr/>
        </p:nvCxnSpPr>
        <p:spPr bwMode="auto">
          <a:xfrm>
            <a:off x="907616" y="2548860"/>
            <a:ext cx="213231" cy="0"/>
          </a:xfrm>
          <a:prstGeom prst="line">
            <a:avLst/>
          </a:prstGeom>
          <a:solidFill>
            <a:schemeClr val="bg1"/>
          </a:solidFill>
          <a:ln w="12700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ECF156BE-9C24-E0F2-178E-3D0E025FC946}"/>
              </a:ext>
            </a:extLst>
          </p:cNvPr>
          <p:cNvCxnSpPr>
            <a:cxnSpLocks/>
          </p:cNvCxnSpPr>
          <p:nvPr/>
        </p:nvCxnSpPr>
        <p:spPr bwMode="auto">
          <a:xfrm rot="5400000">
            <a:off x="893289" y="2548860"/>
            <a:ext cx="28654" cy="0"/>
          </a:xfrm>
          <a:prstGeom prst="line">
            <a:avLst/>
          </a:prstGeom>
          <a:solidFill>
            <a:schemeClr val="bg1"/>
          </a:solidFill>
          <a:ln w="12700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E5D43323-3C32-8B81-1775-CE74A7487834}"/>
              </a:ext>
            </a:extLst>
          </p:cNvPr>
          <p:cNvCxnSpPr>
            <a:cxnSpLocks/>
          </p:cNvCxnSpPr>
          <p:nvPr/>
        </p:nvCxnSpPr>
        <p:spPr bwMode="auto">
          <a:xfrm rot="5400000">
            <a:off x="1106548" y="2548860"/>
            <a:ext cx="28654" cy="0"/>
          </a:xfrm>
          <a:prstGeom prst="line">
            <a:avLst/>
          </a:prstGeom>
          <a:solidFill>
            <a:schemeClr val="bg1"/>
          </a:solidFill>
          <a:ln w="12700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1C80C20B-811F-2F14-2E9B-01F65DE4CFD5}"/>
              </a:ext>
            </a:extLst>
          </p:cNvPr>
          <p:cNvCxnSpPr>
            <a:cxnSpLocks/>
          </p:cNvCxnSpPr>
          <p:nvPr/>
        </p:nvCxnSpPr>
        <p:spPr bwMode="auto">
          <a:xfrm rot="8100000">
            <a:off x="907640" y="2548850"/>
            <a:ext cx="213231" cy="0"/>
          </a:xfrm>
          <a:prstGeom prst="line">
            <a:avLst/>
          </a:prstGeom>
          <a:solidFill>
            <a:schemeClr val="bg1"/>
          </a:solidFill>
          <a:ln w="12700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>
            <a:extLst>
              <a:ext uri="{FF2B5EF4-FFF2-40B4-BE49-F238E27FC236}">
                <a16:creationId xmlns:a16="http://schemas.microsoft.com/office/drawing/2014/main" id="{EDA6CD1A-4B6E-2D13-F730-C3B491DC2E99}"/>
              </a:ext>
            </a:extLst>
          </p:cNvPr>
          <p:cNvCxnSpPr>
            <a:cxnSpLocks/>
          </p:cNvCxnSpPr>
          <p:nvPr/>
        </p:nvCxnSpPr>
        <p:spPr bwMode="auto">
          <a:xfrm rot="13500000">
            <a:off x="1075317" y="2473462"/>
            <a:ext cx="28654" cy="0"/>
          </a:xfrm>
          <a:prstGeom prst="line">
            <a:avLst/>
          </a:prstGeom>
          <a:solidFill>
            <a:schemeClr val="bg1"/>
          </a:solidFill>
          <a:ln w="12700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46667F2A-BDB0-F405-869D-4E90E3ED997E}"/>
              </a:ext>
            </a:extLst>
          </p:cNvPr>
          <p:cNvCxnSpPr>
            <a:cxnSpLocks/>
          </p:cNvCxnSpPr>
          <p:nvPr/>
        </p:nvCxnSpPr>
        <p:spPr bwMode="auto">
          <a:xfrm rot="13500000">
            <a:off x="924520" y="2624258"/>
            <a:ext cx="28654" cy="0"/>
          </a:xfrm>
          <a:prstGeom prst="line">
            <a:avLst/>
          </a:prstGeom>
          <a:solidFill>
            <a:schemeClr val="bg1"/>
          </a:solidFill>
          <a:ln w="12700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73E0C46B-D258-053A-A108-7669C1CD2226}"/>
              </a:ext>
            </a:extLst>
          </p:cNvPr>
          <p:cNvCxnSpPr>
            <a:cxnSpLocks/>
          </p:cNvCxnSpPr>
          <p:nvPr/>
        </p:nvCxnSpPr>
        <p:spPr bwMode="auto">
          <a:xfrm rot="2700000">
            <a:off x="907622" y="2548851"/>
            <a:ext cx="213228" cy="0"/>
          </a:xfrm>
          <a:prstGeom prst="line">
            <a:avLst/>
          </a:prstGeom>
          <a:solidFill>
            <a:schemeClr val="bg1"/>
          </a:solidFill>
          <a:ln w="12700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293BFCBF-7D31-EC41-22C4-151074953FF5}"/>
              </a:ext>
            </a:extLst>
          </p:cNvPr>
          <p:cNvCxnSpPr>
            <a:cxnSpLocks/>
          </p:cNvCxnSpPr>
          <p:nvPr/>
        </p:nvCxnSpPr>
        <p:spPr bwMode="auto">
          <a:xfrm rot="8100000">
            <a:off x="924521" y="2473463"/>
            <a:ext cx="28655" cy="0"/>
          </a:xfrm>
          <a:prstGeom prst="line">
            <a:avLst/>
          </a:prstGeom>
          <a:solidFill>
            <a:schemeClr val="bg1"/>
          </a:solidFill>
          <a:ln w="12700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0F62A7B0-2DC1-18CE-4C69-DFEF02575562}"/>
              </a:ext>
            </a:extLst>
          </p:cNvPr>
          <p:cNvCxnSpPr>
            <a:cxnSpLocks/>
          </p:cNvCxnSpPr>
          <p:nvPr/>
        </p:nvCxnSpPr>
        <p:spPr bwMode="auto">
          <a:xfrm rot="8100000">
            <a:off x="1075316" y="2624258"/>
            <a:ext cx="28655" cy="0"/>
          </a:xfrm>
          <a:prstGeom prst="line">
            <a:avLst/>
          </a:prstGeom>
          <a:solidFill>
            <a:schemeClr val="bg1"/>
          </a:solidFill>
          <a:ln w="12700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743AF27C-8767-5D26-5E65-FC3F63D5848A}"/>
              </a:ext>
            </a:extLst>
          </p:cNvPr>
          <p:cNvCxnSpPr>
            <a:cxnSpLocks/>
          </p:cNvCxnSpPr>
          <p:nvPr/>
        </p:nvCxnSpPr>
        <p:spPr bwMode="auto">
          <a:xfrm rot="16200000">
            <a:off x="907740" y="2548982"/>
            <a:ext cx="213228" cy="0"/>
          </a:xfrm>
          <a:prstGeom prst="line">
            <a:avLst/>
          </a:prstGeom>
          <a:solidFill>
            <a:schemeClr val="bg1"/>
          </a:solidFill>
          <a:ln w="12700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B4C302E3-918F-F865-404A-851303264AEC}"/>
              </a:ext>
            </a:extLst>
          </p:cNvPr>
          <p:cNvCxnSpPr>
            <a:cxnSpLocks/>
          </p:cNvCxnSpPr>
          <p:nvPr/>
        </p:nvCxnSpPr>
        <p:spPr bwMode="auto">
          <a:xfrm>
            <a:off x="1000027" y="2655597"/>
            <a:ext cx="28655" cy="0"/>
          </a:xfrm>
          <a:prstGeom prst="line">
            <a:avLst/>
          </a:prstGeom>
          <a:solidFill>
            <a:schemeClr val="bg1"/>
          </a:solidFill>
          <a:ln w="12700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7BC65DC6-84D7-5A12-9E1D-1A817CB76FE7}"/>
              </a:ext>
            </a:extLst>
          </p:cNvPr>
          <p:cNvCxnSpPr>
            <a:cxnSpLocks/>
          </p:cNvCxnSpPr>
          <p:nvPr/>
        </p:nvCxnSpPr>
        <p:spPr bwMode="auto">
          <a:xfrm>
            <a:off x="1000027" y="2442341"/>
            <a:ext cx="28655" cy="0"/>
          </a:xfrm>
          <a:prstGeom prst="line">
            <a:avLst/>
          </a:prstGeom>
          <a:solidFill>
            <a:schemeClr val="bg1"/>
          </a:solidFill>
          <a:ln w="12700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Oval 70">
            <a:extLst>
              <a:ext uri="{FF2B5EF4-FFF2-40B4-BE49-F238E27FC236}">
                <a16:creationId xmlns:a16="http://schemas.microsoft.com/office/drawing/2014/main" id="{8290B669-A6D0-5850-5557-4303762E996C}"/>
              </a:ext>
            </a:extLst>
          </p:cNvPr>
          <p:cNvSpPr/>
          <p:nvPr/>
        </p:nvSpPr>
        <p:spPr>
          <a:xfrm>
            <a:off x="931129" y="2465745"/>
            <a:ext cx="166232" cy="166230"/>
          </a:xfrm>
          <a:prstGeom prst="ellipse">
            <a:avLst/>
          </a:prstGeom>
          <a:solidFill>
            <a:schemeClr val="bg1"/>
          </a:solidFill>
          <a:ln w="12700" cap="rnd">
            <a:solidFill>
              <a:schemeClr val="tx2"/>
            </a:solidFill>
            <a:round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 Display" panose="02110004020202020204"/>
              <a:ea typeface="+mn-ea"/>
              <a:cs typeface="+mn-cs"/>
            </a:endParaRPr>
          </a:p>
        </p:txBody>
      </p:sp>
      <p:sp>
        <p:nvSpPr>
          <p:cNvPr id="72" name="Oval 71">
            <a:extLst>
              <a:ext uri="{FF2B5EF4-FFF2-40B4-BE49-F238E27FC236}">
                <a16:creationId xmlns:a16="http://schemas.microsoft.com/office/drawing/2014/main" id="{8EF8BAEE-AD2F-B74E-5F17-ED248F8B3626}"/>
              </a:ext>
            </a:extLst>
          </p:cNvPr>
          <p:cNvSpPr/>
          <p:nvPr/>
        </p:nvSpPr>
        <p:spPr>
          <a:xfrm>
            <a:off x="954177" y="2524157"/>
            <a:ext cx="50743" cy="50742"/>
          </a:xfrm>
          <a:prstGeom prst="ellipse">
            <a:avLst/>
          </a:prstGeom>
          <a:solidFill>
            <a:schemeClr val="bg1"/>
          </a:solidFill>
          <a:ln w="12700" cap="rnd">
            <a:solidFill>
              <a:schemeClr val="tx2"/>
            </a:solidFill>
            <a:round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 Display" panose="02110004020202020204"/>
              <a:ea typeface="+mn-ea"/>
              <a:cs typeface="+mn-cs"/>
            </a:endParaRPr>
          </a:p>
        </p:txBody>
      </p:sp>
      <p:sp>
        <p:nvSpPr>
          <p:cNvPr id="73" name="Oval 72">
            <a:extLst>
              <a:ext uri="{FF2B5EF4-FFF2-40B4-BE49-F238E27FC236}">
                <a16:creationId xmlns:a16="http://schemas.microsoft.com/office/drawing/2014/main" id="{12FBF5F5-7231-2440-65E1-603587DD46D3}"/>
              </a:ext>
            </a:extLst>
          </p:cNvPr>
          <p:cNvSpPr/>
          <p:nvPr/>
        </p:nvSpPr>
        <p:spPr>
          <a:xfrm>
            <a:off x="1020420" y="2515201"/>
            <a:ext cx="31246" cy="31246"/>
          </a:xfrm>
          <a:prstGeom prst="ellipse">
            <a:avLst/>
          </a:prstGeom>
          <a:solidFill>
            <a:schemeClr val="bg1"/>
          </a:solidFill>
          <a:ln w="12700" cap="rnd">
            <a:solidFill>
              <a:schemeClr val="tx2"/>
            </a:solidFill>
            <a:round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 Display" panose="02110004020202020204"/>
              <a:ea typeface="+mn-ea"/>
              <a:cs typeface="+mn-cs"/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DC63AAD8-DED7-9B22-9140-AEFF570DD715}"/>
              </a:ext>
            </a:extLst>
          </p:cNvPr>
          <p:cNvSpPr/>
          <p:nvPr/>
        </p:nvSpPr>
        <p:spPr>
          <a:xfrm>
            <a:off x="743685" y="3861081"/>
            <a:ext cx="1732814" cy="736131"/>
          </a:xfrm>
          <a:prstGeom prst="roundRect">
            <a:avLst>
              <a:gd name="adj" fmla="val 16667"/>
            </a:avLst>
          </a:prstGeom>
          <a:gradFill>
            <a:gsLst>
              <a:gs pos="0">
                <a:srgbClr val="F16222"/>
              </a:gs>
              <a:gs pos="100000">
                <a:srgbClr val="EB920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 Display" panose="02110004020202020204"/>
              <a:ea typeface="+mn-ea"/>
              <a:cs typeface="+mn-cs"/>
            </a:endParaRPr>
          </a:p>
        </p:txBody>
      </p:sp>
      <p:sp>
        <p:nvSpPr>
          <p:cNvPr id="11" name="Flowchart: Connector 10">
            <a:extLst>
              <a:ext uri="{FF2B5EF4-FFF2-40B4-BE49-F238E27FC236}">
                <a16:creationId xmlns:a16="http://schemas.microsoft.com/office/drawing/2014/main" id="{5763FE84-7884-A81B-D3D0-C1969FAA9BE0}"/>
              </a:ext>
            </a:extLst>
          </p:cNvPr>
          <p:cNvSpPr/>
          <p:nvPr/>
        </p:nvSpPr>
        <p:spPr>
          <a:xfrm>
            <a:off x="873662" y="4000546"/>
            <a:ext cx="457200" cy="457200"/>
          </a:xfrm>
          <a:prstGeom prst="flowChartConnector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 Display" panose="02110004020202020204"/>
              <a:ea typeface="+mn-ea"/>
              <a:cs typeface="+mn-cs"/>
            </a:endParaRPr>
          </a:p>
        </p:txBody>
      </p:sp>
      <p:sp>
        <p:nvSpPr>
          <p:cNvPr id="46" name="Parallelogram 45">
            <a:extLst>
              <a:ext uri="{FF2B5EF4-FFF2-40B4-BE49-F238E27FC236}">
                <a16:creationId xmlns:a16="http://schemas.microsoft.com/office/drawing/2014/main" id="{875FF14A-5CE9-9A3E-9318-980D51BF1919}"/>
              </a:ext>
            </a:extLst>
          </p:cNvPr>
          <p:cNvSpPr/>
          <p:nvPr/>
        </p:nvSpPr>
        <p:spPr>
          <a:xfrm flipV="1">
            <a:off x="2193665" y="3861080"/>
            <a:ext cx="550914" cy="373294"/>
          </a:xfrm>
          <a:prstGeom prst="parallelogram">
            <a:avLst>
              <a:gd name="adj" fmla="val 52393"/>
            </a:avLst>
          </a:prstGeom>
          <a:solidFill>
            <a:srgbClr val="E661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 Display" panose="02110004020202020204"/>
              <a:ea typeface="+mn-ea"/>
              <a:cs typeface="+mn-cs"/>
            </a:endParaRPr>
          </a:p>
        </p:txBody>
      </p:sp>
      <p:sp>
        <p:nvSpPr>
          <p:cNvPr id="47" name="Parallelogram 46">
            <a:extLst>
              <a:ext uri="{FF2B5EF4-FFF2-40B4-BE49-F238E27FC236}">
                <a16:creationId xmlns:a16="http://schemas.microsoft.com/office/drawing/2014/main" id="{8A3B9093-7BC5-7313-C654-E0742C2FA593}"/>
              </a:ext>
            </a:extLst>
          </p:cNvPr>
          <p:cNvSpPr/>
          <p:nvPr/>
        </p:nvSpPr>
        <p:spPr>
          <a:xfrm>
            <a:off x="2193665" y="4234375"/>
            <a:ext cx="550914" cy="362838"/>
          </a:xfrm>
          <a:prstGeom prst="parallelogram">
            <a:avLst>
              <a:gd name="adj" fmla="val 52393"/>
            </a:avLst>
          </a:prstGeom>
          <a:solidFill>
            <a:srgbClr val="EB920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 Display" panose="02110004020202020204"/>
              <a:ea typeface="+mn-ea"/>
              <a:cs typeface="+mn-cs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C6B23007-F1C1-AE02-CC97-DD6517F94A90}"/>
              </a:ext>
            </a:extLst>
          </p:cNvPr>
          <p:cNvSpPr txBox="1"/>
          <p:nvPr/>
        </p:nvSpPr>
        <p:spPr>
          <a:xfrm>
            <a:off x="1655296" y="4095013"/>
            <a:ext cx="556592" cy="26826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CB813"/>
              </a:buClr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  <a:t>ADC</a:t>
            </a:r>
          </a:p>
        </p:txBody>
      </p:sp>
      <p:sp>
        <p:nvSpPr>
          <p:cNvPr id="131" name="Free-form: Shape 34">
            <a:extLst>
              <a:ext uri="{FF2B5EF4-FFF2-40B4-BE49-F238E27FC236}">
                <a16:creationId xmlns:a16="http://schemas.microsoft.com/office/drawing/2014/main" id="{B981AD60-25F3-F205-14A7-8B89B06EEAD3}"/>
              </a:ext>
            </a:extLst>
          </p:cNvPr>
          <p:cNvSpPr/>
          <p:nvPr/>
        </p:nvSpPr>
        <p:spPr>
          <a:xfrm rot="9190874" flipH="1">
            <a:off x="1152624" y="4278028"/>
            <a:ext cx="85381" cy="63191"/>
          </a:xfrm>
          <a:custGeom>
            <a:avLst/>
            <a:gdLst>
              <a:gd name="connsiteX0" fmla="*/ 184925 w 420041"/>
              <a:gd name="connsiteY0" fmla="*/ 340000 h 381715"/>
              <a:gd name="connsiteX1" fmla="*/ 316126 w 420041"/>
              <a:gd name="connsiteY1" fmla="*/ 273671 h 381715"/>
              <a:gd name="connsiteX2" fmla="*/ 344968 w 420041"/>
              <a:gd name="connsiteY2" fmla="*/ 248147 h 381715"/>
              <a:gd name="connsiteX3" fmla="*/ 346982 w 420041"/>
              <a:gd name="connsiteY3" fmla="*/ 230164 h 381715"/>
              <a:gd name="connsiteX4" fmla="*/ 398451 w 420041"/>
              <a:gd name="connsiteY4" fmla="*/ 204144 h 381715"/>
              <a:gd name="connsiteX5" fmla="*/ 418346 w 420041"/>
              <a:gd name="connsiteY5" fmla="*/ 170842 h 381715"/>
              <a:gd name="connsiteX6" fmla="*/ 417908 w 420041"/>
              <a:gd name="connsiteY6" fmla="*/ 169976 h 381715"/>
              <a:gd name="connsiteX7" fmla="*/ 420041 w 420041"/>
              <a:gd name="connsiteY7" fmla="*/ 164827 h 381715"/>
              <a:gd name="connsiteX8" fmla="*/ 420041 w 420041"/>
              <a:gd name="connsiteY8" fmla="*/ 29057 h 381715"/>
              <a:gd name="connsiteX9" fmla="*/ 390984 w 420041"/>
              <a:gd name="connsiteY9" fmla="*/ 0 h 381715"/>
              <a:gd name="connsiteX10" fmla="*/ 374813 w 420041"/>
              <a:gd name="connsiteY10" fmla="*/ 0 h 381715"/>
              <a:gd name="connsiteX11" fmla="*/ 345756 w 420041"/>
              <a:gd name="connsiteY11" fmla="*/ 29057 h 381715"/>
              <a:gd name="connsiteX12" fmla="*/ 345756 w 420041"/>
              <a:gd name="connsiteY12" fmla="*/ 141140 h 381715"/>
              <a:gd name="connsiteX13" fmla="*/ 310171 w 420041"/>
              <a:gd name="connsiteY13" fmla="*/ 159129 h 381715"/>
              <a:gd name="connsiteX14" fmla="*/ 295765 w 420041"/>
              <a:gd name="connsiteY14" fmla="*/ 150821 h 381715"/>
              <a:gd name="connsiteX15" fmla="*/ 258111 w 420041"/>
              <a:gd name="connsiteY15" fmla="*/ 158914 h 381715"/>
              <a:gd name="connsiteX16" fmla="*/ 126910 w 420041"/>
              <a:gd name="connsiteY16" fmla="*/ 225243 h 381715"/>
              <a:gd name="connsiteX17" fmla="*/ 98067 w 420041"/>
              <a:gd name="connsiteY17" fmla="*/ 250767 h 381715"/>
              <a:gd name="connsiteX18" fmla="*/ 96216 w 420041"/>
              <a:gd name="connsiteY18" fmla="*/ 267294 h 381715"/>
              <a:gd name="connsiteX19" fmla="*/ 21363 w 420041"/>
              <a:gd name="connsiteY19" fmla="*/ 305136 h 381715"/>
              <a:gd name="connsiteX20" fmla="*/ 1468 w 420041"/>
              <a:gd name="connsiteY20" fmla="*/ 338437 h 381715"/>
              <a:gd name="connsiteX21" fmla="*/ 18845 w 420041"/>
              <a:gd name="connsiteY21" fmla="*/ 372809 h 381715"/>
              <a:gd name="connsiteX22" fmla="*/ 57458 w 420041"/>
              <a:gd name="connsiteY22" fmla="*/ 376532 h 381715"/>
              <a:gd name="connsiteX23" fmla="*/ 131594 w 420041"/>
              <a:gd name="connsiteY23" fmla="*/ 339053 h 381715"/>
              <a:gd name="connsiteX24" fmla="*/ 147270 w 420041"/>
              <a:gd name="connsiteY24" fmla="*/ 348093 h 381715"/>
              <a:gd name="connsiteX25" fmla="*/ 184925 w 420041"/>
              <a:gd name="connsiteY25" fmla="*/ 340000 h 381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420041" h="381715">
                <a:moveTo>
                  <a:pt x="184925" y="340000"/>
                </a:moveTo>
                <a:lnTo>
                  <a:pt x="316126" y="273671"/>
                </a:lnTo>
                <a:cubicBezTo>
                  <a:pt x="329110" y="267107"/>
                  <a:pt x="339181" y="257834"/>
                  <a:pt x="344968" y="248147"/>
                </a:cubicBezTo>
                <a:lnTo>
                  <a:pt x="346982" y="230164"/>
                </a:lnTo>
                <a:lnTo>
                  <a:pt x="398451" y="204144"/>
                </a:lnTo>
                <a:cubicBezTo>
                  <a:pt x="414608" y="195976"/>
                  <a:pt x="423515" y="181066"/>
                  <a:pt x="418346" y="170842"/>
                </a:cubicBezTo>
                <a:lnTo>
                  <a:pt x="417908" y="169976"/>
                </a:lnTo>
                <a:lnTo>
                  <a:pt x="420041" y="164827"/>
                </a:lnTo>
                <a:lnTo>
                  <a:pt x="420041" y="29057"/>
                </a:lnTo>
                <a:cubicBezTo>
                  <a:pt x="420041" y="13009"/>
                  <a:pt x="407032" y="0"/>
                  <a:pt x="390984" y="0"/>
                </a:cubicBezTo>
                <a:lnTo>
                  <a:pt x="374813" y="0"/>
                </a:lnTo>
                <a:cubicBezTo>
                  <a:pt x="358765" y="0"/>
                  <a:pt x="345756" y="13009"/>
                  <a:pt x="345756" y="29057"/>
                </a:cubicBezTo>
                <a:lnTo>
                  <a:pt x="345756" y="141140"/>
                </a:lnTo>
                <a:lnTo>
                  <a:pt x="310171" y="159129"/>
                </a:lnTo>
                <a:lnTo>
                  <a:pt x="295765" y="150821"/>
                </a:lnTo>
                <a:cubicBezTo>
                  <a:pt x="284534" y="149738"/>
                  <a:pt x="271095" y="152350"/>
                  <a:pt x="258111" y="158914"/>
                </a:cubicBezTo>
                <a:lnTo>
                  <a:pt x="126910" y="225243"/>
                </a:lnTo>
                <a:cubicBezTo>
                  <a:pt x="113925" y="231807"/>
                  <a:pt x="103853" y="241080"/>
                  <a:pt x="98067" y="250767"/>
                </a:cubicBezTo>
                <a:lnTo>
                  <a:pt x="96216" y="267294"/>
                </a:lnTo>
                <a:lnTo>
                  <a:pt x="21363" y="305136"/>
                </a:lnTo>
                <a:cubicBezTo>
                  <a:pt x="5207" y="313303"/>
                  <a:pt x="-3701" y="328213"/>
                  <a:pt x="1468" y="338437"/>
                </a:cubicBezTo>
                <a:lnTo>
                  <a:pt x="18845" y="372809"/>
                </a:lnTo>
                <a:cubicBezTo>
                  <a:pt x="24013" y="383033"/>
                  <a:pt x="41301" y="384700"/>
                  <a:pt x="57458" y="376532"/>
                </a:cubicBezTo>
                <a:lnTo>
                  <a:pt x="131594" y="339053"/>
                </a:lnTo>
                <a:lnTo>
                  <a:pt x="147270" y="348093"/>
                </a:lnTo>
                <a:cubicBezTo>
                  <a:pt x="158501" y="349176"/>
                  <a:pt x="171940" y="346564"/>
                  <a:pt x="184925" y="340000"/>
                </a:cubicBezTo>
                <a:close/>
              </a:path>
            </a:pathLst>
          </a:custGeom>
          <a:solidFill>
            <a:schemeClr val="bg1"/>
          </a:solidFill>
          <a:ln w="9525">
            <a:solidFill>
              <a:srgbClr val="F1692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13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 Display" panose="02110004020202020204"/>
              <a:ea typeface="+mn-ea"/>
              <a:cs typeface="+mn-cs"/>
            </a:endParaRPr>
          </a:p>
        </p:txBody>
      </p:sp>
      <p:sp>
        <p:nvSpPr>
          <p:cNvPr id="132" name="Free-form: Shape 32">
            <a:extLst>
              <a:ext uri="{FF2B5EF4-FFF2-40B4-BE49-F238E27FC236}">
                <a16:creationId xmlns:a16="http://schemas.microsoft.com/office/drawing/2014/main" id="{34FB8AC5-33BE-07B1-CC8E-0AF8935F3D80}"/>
              </a:ext>
            </a:extLst>
          </p:cNvPr>
          <p:cNvSpPr/>
          <p:nvPr/>
        </p:nvSpPr>
        <p:spPr>
          <a:xfrm rot="21235192">
            <a:off x="1173093" y="4316801"/>
            <a:ext cx="91323" cy="29254"/>
          </a:xfrm>
          <a:custGeom>
            <a:avLst/>
            <a:gdLst>
              <a:gd name="connsiteX0" fmla="*/ 107157 w 564357"/>
              <a:gd name="connsiteY0" fmla="*/ 0 h 214314"/>
              <a:gd name="connsiteX1" fmla="*/ 205893 w 564357"/>
              <a:gd name="connsiteY1" fmla="*/ 65447 h 214314"/>
              <a:gd name="connsiteX2" fmla="*/ 209453 w 564357"/>
              <a:gd name="connsiteY2" fmla="*/ 83080 h 214314"/>
              <a:gd name="connsiteX3" fmla="*/ 352417 w 564357"/>
              <a:gd name="connsiteY3" fmla="*/ 83080 h 214314"/>
              <a:gd name="connsiteX4" fmla="*/ 354712 w 564357"/>
              <a:gd name="connsiteY4" fmla="*/ 84030 h 214314"/>
              <a:gd name="connsiteX5" fmla="*/ 358464 w 564357"/>
              <a:gd name="connsiteY5" fmla="*/ 65447 h 214314"/>
              <a:gd name="connsiteX6" fmla="*/ 457200 w 564357"/>
              <a:gd name="connsiteY6" fmla="*/ 0 h 214314"/>
              <a:gd name="connsiteX7" fmla="*/ 564357 w 564357"/>
              <a:gd name="connsiteY7" fmla="*/ 107157 h 214314"/>
              <a:gd name="connsiteX8" fmla="*/ 457200 w 564357"/>
              <a:gd name="connsiteY8" fmla="*/ 214314 h 214314"/>
              <a:gd name="connsiteX9" fmla="*/ 358464 w 564357"/>
              <a:gd name="connsiteY9" fmla="*/ 148867 h 214314"/>
              <a:gd name="connsiteX10" fmla="*/ 356437 w 564357"/>
              <a:gd name="connsiteY10" fmla="*/ 138825 h 214314"/>
              <a:gd name="connsiteX11" fmla="*/ 352417 w 564357"/>
              <a:gd name="connsiteY11" fmla="*/ 140491 h 214314"/>
              <a:gd name="connsiteX12" fmla="*/ 207584 w 564357"/>
              <a:gd name="connsiteY12" fmla="*/ 140491 h 214314"/>
              <a:gd name="connsiteX13" fmla="*/ 205893 w 564357"/>
              <a:gd name="connsiteY13" fmla="*/ 148867 h 214314"/>
              <a:gd name="connsiteX14" fmla="*/ 107157 w 564357"/>
              <a:gd name="connsiteY14" fmla="*/ 214314 h 214314"/>
              <a:gd name="connsiteX15" fmla="*/ 0 w 564357"/>
              <a:gd name="connsiteY15" fmla="*/ 107157 h 214314"/>
              <a:gd name="connsiteX16" fmla="*/ 107157 w 564357"/>
              <a:gd name="connsiteY16" fmla="*/ 0 h 2143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564357" h="214314">
                <a:moveTo>
                  <a:pt x="107157" y="0"/>
                </a:moveTo>
                <a:cubicBezTo>
                  <a:pt x="151543" y="0"/>
                  <a:pt x="189626" y="26987"/>
                  <a:pt x="205893" y="65447"/>
                </a:cubicBezTo>
                <a:lnTo>
                  <a:pt x="209453" y="83080"/>
                </a:lnTo>
                <a:lnTo>
                  <a:pt x="352417" y="83080"/>
                </a:lnTo>
                <a:lnTo>
                  <a:pt x="354712" y="84030"/>
                </a:lnTo>
                <a:lnTo>
                  <a:pt x="358464" y="65447"/>
                </a:lnTo>
                <a:cubicBezTo>
                  <a:pt x="374731" y="26987"/>
                  <a:pt x="412814" y="0"/>
                  <a:pt x="457200" y="0"/>
                </a:cubicBezTo>
                <a:cubicBezTo>
                  <a:pt x="516381" y="0"/>
                  <a:pt x="564357" y="47976"/>
                  <a:pt x="564357" y="107157"/>
                </a:cubicBezTo>
                <a:cubicBezTo>
                  <a:pt x="564357" y="166338"/>
                  <a:pt x="516381" y="214314"/>
                  <a:pt x="457200" y="214314"/>
                </a:cubicBezTo>
                <a:cubicBezTo>
                  <a:pt x="412814" y="214314"/>
                  <a:pt x="374731" y="187328"/>
                  <a:pt x="358464" y="148867"/>
                </a:cubicBezTo>
                <a:lnTo>
                  <a:pt x="356437" y="138825"/>
                </a:lnTo>
                <a:lnTo>
                  <a:pt x="352417" y="140491"/>
                </a:lnTo>
                <a:lnTo>
                  <a:pt x="207584" y="140491"/>
                </a:lnTo>
                <a:lnTo>
                  <a:pt x="205893" y="148867"/>
                </a:lnTo>
                <a:cubicBezTo>
                  <a:pt x="189626" y="187328"/>
                  <a:pt x="151543" y="214314"/>
                  <a:pt x="107157" y="214314"/>
                </a:cubicBezTo>
                <a:cubicBezTo>
                  <a:pt x="47976" y="214314"/>
                  <a:pt x="0" y="166338"/>
                  <a:pt x="0" y="107157"/>
                </a:cubicBezTo>
                <a:cubicBezTo>
                  <a:pt x="0" y="47976"/>
                  <a:pt x="47976" y="0"/>
                  <a:pt x="107157" y="0"/>
                </a:cubicBezTo>
                <a:close/>
              </a:path>
            </a:pathLst>
          </a:custGeom>
          <a:solidFill>
            <a:schemeClr val="bg1"/>
          </a:solidFill>
          <a:ln w="9525">
            <a:solidFill>
              <a:srgbClr val="F1692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13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 Display" panose="02110004020202020204"/>
              <a:ea typeface="+mn-ea"/>
              <a:cs typeface="+mn-cs"/>
            </a:endParaRPr>
          </a:p>
        </p:txBody>
      </p:sp>
      <p:sp>
        <p:nvSpPr>
          <p:cNvPr id="133" name="Free-form: Shape 37">
            <a:extLst>
              <a:ext uri="{FF2B5EF4-FFF2-40B4-BE49-F238E27FC236}">
                <a16:creationId xmlns:a16="http://schemas.microsoft.com/office/drawing/2014/main" id="{AB8D44EC-1295-C15B-80C3-EFFE15E1DB01}"/>
              </a:ext>
            </a:extLst>
          </p:cNvPr>
          <p:cNvSpPr/>
          <p:nvPr/>
        </p:nvSpPr>
        <p:spPr>
          <a:xfrm rot="12409126">
            <a:off x="984427" y="4278816"/>
            <a:ext cx="85381" cy="63191"/>
          </a:xfrm>
          <a:custGeom>
            <a:avLst/>
            <a:gdLst>
              <a:gd name="connsiteX0" fmla="*/ 184925 w 420041"/>
              <a:gd name="connsiteY0" fmla="*/ 340000 h 381715"/>
              <a:gd name="connsiteX1" fmla="*/ 316126 w 420041"/>
              <a:gd name="connsiteY1" fmla="*/ 273671 h 381715"/>
              <a:gd name="connsiteX2" fmla="*/ 344968 w 420041"/>
              <a:gd name="connsiteY2" fmla="*/ 248147 h 381715"/>
              <a:gd name="connsiteX3" fmla="*/ 346982 w 420041"/>
              <a:gd name="connsiteY3" fmla="*/ 230164 h 381715"/>
              <a:gd name="connsiteX4" fmla="*/ 398451 w 420041"/>
              <a:gd name="connsiteY4" fmla="*/ 204144 h 381715"/>
              <a:gd name="connsiteX5" fmla="*/ 418346 w 420041"/>
              <a:gd name="connsiteY5" fmla="*/ 170842 h 381715"/>
              <a:gd name="connsiteX6" fmla="*/ 417908 w 420041"/>
              <a:gd name="connsiteY6" fmla="*/ 169976 h 381715"/>
              <a:gd name="connsiteX7" fmla="*/ 420041 w 420041"/>
              <a:gd name="connsiteY7" fmla="*/ 164827 h 381715"/>
              <a:gd name="connsiteX8" fmla="*/ 420041 w 420041"/>
              <a:gd name="connsiteY8" fmla="*/ 29057 h 381715"/>
              <a:gd name="connsiteX9" fmla="*/ 390984 w 420041"/>
              <a:gd name="connsiteY9" fmla="*/ 0 h 381715"/>
              <a:gd name="connsiteX10" fmla="*/ 374813 w 420041"/>
              <a:gd name="connsiteY10" fmla="*/ 0 h 381715"/>
              <a:gd name="connsiteX11" fmla="*/ 345756 w 420041"/>
              <a:gd name="connsiteY11" fmla="*/ 29057 h 381715"/>
              <a:gd name="connsiteX12" fmla="*/ 345756 w 420041"/>
              <a:gd name="connsiteY12" fmla="*/ 141140 h 381715"/>
              <a:gd name="connsiteX13" fmla="*/ 310171 w 420041"/>
              <a:gd name="connsiteY13" fmla="*/ 159129 h 381715"/>
              <a:gd name="connsiteX14" fmla="*/ 295765 w 420041"/>
              <a:gd name="connsiteY14" fmla="*/ 150821 h 381715"/>
              <a:gd name="connsiteX15" fmla="*/ 258111 w 420041"/>
              <a:gd name="connsiteY15" fmla="*/ 158914 h 381715"/>
              <a:gd name="connsiteX16" fmla="*/ 126910 w 420041"/>
              <a:gd name="connsiteY16" fmla="*/ 225243 h 381715"/>
              <a:gd name="connsiteX17" fmla="*/ 98067 w 420041"/>
              <a:gd name="connsiteY17" fmla="*/ 250767 h 381715"/>
              <a:gd name="connsiteX18" fmla="*/ 96216 w 420041"/>
              <a:gd name="connsiteY18" fmla="*/ 267294 h 381715"/>
              <a:gd name="connsiteX19" fmla="*/ 21363 w 420041"/>
              <a:gd name="connsiteY19" fmla="*/ 305136 h 381715"/>
              <a:gd name="connsiteX20" fmla="*/ 1468 w 420041"/>
              <a:gd name="connsiteY20" fmla="*/ 338437 h 381715"/>
              <a:gd name="connsiteX21" fmla="*/ 18845 w 420041"/>
              <a:gd name="connsiteY21" fmla="*/ 372809 h 381715"/>
              <a:gd name="connsiteX22" fmla="*/ 57458 w 420041"/>
              <a:gd name="connsiteY22" fmla="*/ 376532 h 381715"/>
              <a:gd name="connsiteX23" fmla="*/ 131594 w 420041"/>
              <a:gd name="connsiteY23" fmla="*/ 339053 h 381715"/>
              <a:gd name="connsiteX24" fmla="*/ 147270 w 420041"/>
              <a:gd name="connsiteY24" fmla="*/ 348093 h 381715"/>
              <a:gd name="connsiteX25" fmla="*/ 184925 w 420041"/>
              <a:gd name="connsiteY25" fmla="*/ 340000 h 381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420041" h="381715">
                <a:moveTo>
                  <a:pt x="184925" y="340000"/>
                </a:moveTo>
                <a:lnTo>
                  <a:pt x="316126" y="273671"/>
                </a:lnTo>
                <a:cubicBezTo>
                  <a:pt x="329110" y="267107"/>
                  <a:pt x="339181" y="257834"/>
                  <a:pt x="344968" y="248147"/>
                </a:cubicBezTo>
                <a:lnTo>
                  <a:pt x="346982" y="230164"/>
                </a:lnTo>
                <a:lnTo>
                  <a:pt x="398451" y="204144"/>
                </a:lnTo>
                <a:cubicBezTo>
                  <a:pt x="414608" y="195976"/>
                  <a:pt x="423515" y="181066"/>
                  <a:pt x="418346" y="170842"/>
                </a:cubicBezTo>
                <a:lnTo>
                  <a:pt x="417908" y="169976"/>
                </a:lnTo>
                <a:lnTo>
                  <a:pt x="420041" y="164827"/>
                </a:lnTo>
                <a:lnTo>
                  <a:pt x="420041" y="29057"/>
                </a:lnTo>
                <a:cubicBezTo>
                  <a:pt x="420041" y="13009"/>
                  <a:pt x="407032" y="0"/>
                  <a:pt x="390984" y="0"/>
                </a:cubicBezTo>
                <a:lnTo>
                  <a:pt x="374813" y="0"/>
                </a:lnTo>
                <a:cubicBezTo>
                  <a:pt x="358765" y="0"/>
                  <a:pt x="345756" y="13009"/>
                  <a:pt x="345756" y="29057"/>
                </a:cubicBezTo>
                <a:lnTo>
                  <a:pt x="345756" y="141140"/>
                </a:lnTo>
                <a:lnTo>
                  <a:pt x="310171" y="159129"/>
                </a:lnTo>
                <a:lnTo>
                  <a:pt x="295765" y="150821"/>
                </a:lnTo>
                <a:cubicBezTo>
                  <a:pt x="284534" y="149738"/>
                  <a:pt x="271095" y="152350"/>
                  <a:pt x="258111" y="158914"/>
                </a:cubicBezTo>
                <a:lnTo>
                  <a:pt x="126910" y="225243"/>
                </a:lnTo>
                <a:cubicBezTo>
                  <a:pt x="113925" y="231807"/>
                  <a:pt x="103853" y="241080"/>
                  <a:pt x="98067" y="250767"/>
                </a:cubicBezTo>
                <a:lnTo>
                  <a:pt x="96216" y="267294"/>
                </a:lnTo>
                <a:lnTo>
                  <a:pt x="21363" y="305136"/>
                </a:lnTo>
                <a:cubicBezTo>
                  <a:pt x="5207" y="313303"/>
                  <a:pt x="-3701" y="328213"/>
                  <a:pt x="1468" y="338437"/>
                </a:cubicBezTo>
                <a:lnTo>
                  <a:pt x="18845" y="372809"/>
                </a:lnTo>
                <a:cubicBezTo>
                  <a:pt x="24013" y="383033"/>
                  <a:pt x="41301" y="384700"/>
                  <a:pt x="57458" y="376532"/>
                </a:cubicBezTo>
                <a:lnTo>
                  <a:pt x="131594" y="339053"/>
                </a:lnTo>
                <a:lnTo>
                  <a:pt x="147270" y="348093"/>
                </a:lnTo>
                <a:cubicBezTo>
                  <a:pt x="158501" y="349176"/>
                  <a:pt x="171940" y="346564"/>
                  <a:pt x="184925" y="340000"/>
                </a:cubicBezTo>
                <a:close/>
              </a:path>
            </a:pathLst>
          </a:custGeom>
          <a:solidFill>
            <a:schemeClr val="bg1"/>
          </a:solidFill>
          <a:ln w="9525">
            <a:solidFill>
              <a:srgbClr val="F1692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13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 Display" panose="02110004020202020204"/>
              <a:ea typeface="+mn-ea"/>
              <a:cs typeface="+mn-cs"/>
            </a:endParaRPr>
          </a:p>
        </p:txBody>
      </p:sp>
      <p:sp>
        <p:nvSpPr>
          <p:cNvPr id="134" name="Free-form: Shape 38">
            <a:extLst>
              <a:ext uri="{FF2B5EF4-FFF2-40B4-BE49-F238E27FC236}">
                <a16:creationId xmlns:a16="http://schemas.microsoft.com/office/drawing/2014/main" id="{938E64B7-9750-873E-D8FC-ABC47D7A0E19}"/>
              </a:ext>
            </a:extLst>
          </p:cNvPr>
          <p:cNvSpPr/>
          <p:nvPr/>
        </p:nvSpPr>
        <p:spPr>
          <a:xfrm rot="364808" flipH="1">
            <a:off x="965928" y="4317589"/>
            <a:ext cx="91323" cy="29254"/>
          </a:xfrm>
          <a:custGeom>
            <a:avLst/>
            <a:gdLst>
              <a:gd name="connsiteX0" fmla="*/ 107157 w 564357"/>
              <a:gd name="connsiteY0" fmla="*/ 0 h 214314"/>
              <a:gd name="connsiteX1" fmla="*/ 205893 w 564357"/>
              <a:gd name="connsiteY1" fmla="*/ 65447 h 214314"/>
              <a:gd name="connsiteX2" fmla="*/ 209453 w 564357"/>
              <a:gd name="connsiteY2" fmla="*/ 83080 h 214314"/>
              <a:gd name="connsiteX3" fmla="*/ 352417 w 564357"/>
              <a:gd name="connsiteY3" fmla="*/ 83080 h 214314"/>
              <a:gd name="connsiteX4" fmla="*/ 354712 w 564357"/>
              <a:gd name="connsiteY4" fmla="*/ 84030 h 214314"/>
              <a:gd name="connsiteX5" fmla="*/ 358464 w 564357"/>
              <a:gd name="connsiteY5" fmla="*/ 65447 h 214314"/>
              <a:gd name="connsiteX6" fmla="*/ 457200 w 564357"/>
              <a:gd name="connsiteY6" fmla="*/ 0 h 214314"/>
              <a:gd name="connsiteX7" fmla="*/ 564357 w 564357"/>
              <a:gd name="connsiteY7" fmla="*/ 107157 h 214314"/>
              <a:gd name="connsiteX8" fmla="*/ 457200 w 564357"/>
              <a:gd name="connsiteY8" fmla="*/ 214314 h 214314"/>
              <a:gd name="connsiteX9" fmla="*/ 358464 w 564357"/>
              <a:gd name="connsiteY9" fmla="*/ 148867 h 214314"/>
              <a:gd name="connsiteX10" fmla="*/ 356437 w 564357"/>
              <a:gd name="connsiteY10" fmla="*/ 138825 h 214314"/>
              <a:gd name="connsiteX11" fmla="*/ 352417 w 564357"/>
              <a:gd name="connsiteY11" fmla="*/ 140491 h 214314"/>
              <a:gd name="connsiteX12" fmla="*/ 207584 w 564357"/>
              <a:gd name="connsiteY12" fmla="*/ 140491 h 214314"/>
              <a:gd name="connsiteX13" fmla="*/ 205893 w 564357"/>
              <a:gd name="connsiteY13" fmla="*/ 148867 h 214314"/>
              <a:gd name="connsiteX14" fmla="*/ 107157 w 564357"/>
              <a:gd name="connsiteY14" fmla="*/ 214314 h 214314"/>
              <a:gd name="connsiteX15" fmla="*/ 0 w 564357"/>
              <a:gd name="connsiteY15" fmla="*/ 107157 h 214314"/>
              <a:gd name="connsiteX16" fmla="*/ 107157 w 564357"/>
              <a:gd name="connsiteY16" fmla="*/ 0 h 2143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564357" h="214314">
                <a:moveTo>
                  <a:pt x="107157" y="0"/>
                </a:moveTo>
                <a:cubicBezTo>
                  <a:pt x="151543" y="0"/>
                  <a:pt x="189626" y="26987"/>
                  <a:pt x="205893" y="65447"/>
                </a:cubicBezTo>
                <a:lnTo>
                  <a:pt x="209453" y="83080"/>
                </a:lnTo>
                <a:lnTo>
                  <a:pt x="352417" y="83080"/>
                </a:lnTo>
                <a:lnTo>
                  <a:pt x="354712" y="84030"/>
                </a:lnTo>
                <a:lnTo>
                  <a:pt x="358464" y="65447"/>
                </a:lnTo>
                <a:cubicBezTo>
                  <a:pt x="374731" y="26987"/>
                  <a:pt x="412814" y="0"/>
                  <a:pt x="457200" y="0"/>
                </a:cubicBezTo>
                <a:cubicBezTo>
                  <a:pt x="516381" y="0"/>
                  <a:pt x="564357" y="47976"/>
                  <a:pt x="564357" y="107157"/>
                </a:cubicBezTo>
                <a:cubicBezTo>
                  <a:pt x="564357" y="166338"/>
                  <a:pt x="516381" y="214314"/>
                  <a:pt x="457200" y="214314"/>
                </a:cubicBezTo>
                <a:cubicBezTo>
                  <a:pt x="412814" y="214314"/>
                  <a:pt x="374731" y="187328"/>
                  <a:pt x="358464" y="148867"/>
                </a:cubicBezTo>
                <a:lnTo>
                  <a:pt x="356437" y="138825"/>
                </a:lnTo>
                <a:lnTo>
                  <a:pt x="352417" y="140491"/>
                </a:lnTo>
                <a:lnTo>
                  <a:pt x="207584" y="140491"/>
                </a:lnTo>
                <a:lnTo>
                  <a:pt x="205893" y="148867"/>
                </a:lnTo>
                <a:cubicBezTo>
                  <a:pt x="189626" y="187328"/>
                  <a:pt x="151543" y="214314"/>
                  <a:pt x="107157" y="214314"/>
                </a:cubicBezTo>
                <a:cubicBezTo>
                  <a:pt x="47976" y="214314"/>
                  <a:pt x="0" y="166338"/>
                  <a:pt x="0" y="107157"/>
                </a:cubicBezTo>
                <a:cubicBezTo>
                  <a:pt x="0" y="47976"/>
                  <a:pt x="47976" y="0"/>
                  <a:pt x="107157" y="0"/>
                </a:cubicBezTo>
                <a:close/>
              </a:path>
            </a:pathLst>
          </a:custGeom>
          <a:solidFill>
            <a:schemeClr val="bg1"/>
          </a:solidFill>
          <a:ln w="9525">
            <a:solidFill>
              <a:srgbClr val="F1692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13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 Display" panose="02110004020202020204"/>
              <a:ea typeface="+mn-ea"/>
              <a:cs typeface="+mn-cs"/>
            </a:endParaRPr>
          </a:p>
        </p:txBody>
      </p:sp>
      <p:sp>
        <p:nvSpPr>
          <p:cNvPr id="136" name="Rectangle: Rounded Corners 135">
            <a:extLst>
              <a:ext uri="{FF2B5EF4-FFF2-40B4-BE49-F238E27FC236}">
                <a16:creationId xmlns:a16="http://schemas.microsoft.com/office/drawing/2014/main" id="{6A3270D4-3547-C826-85E3-C5587980190F}"/>
              </a:ext>
            </a:extLst>
          </p:cNvPr>
          <p:cNvSpPr/>
          <p:nvPr/>
        </p:nvSpPr>
        <p:spPr>
          <a:xfrm rot="19938000">
            <a:off x="1011945" y="4098080"/>
            <a:ext cx="28274" cy="117408"/>
          </a:xfrm>
          <a:prstGeom prst="roundRect">
            <a:avLst>
              <a:gd name="adj" fmla="val 39116"/>
            </a:avLst>
          </a:prstGeom>
          <a:solidFill>
            <a:schemeClr val="bg1"/>
          </a:solidFill>
          <a:ln w="9525">
            <a:solidFill>
              <a:srgbClr val="F1692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13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 Display" panose="02110004020202020204"/>
              <a:ea typeface="+mn-ea"/>
              <a:cs typeface="+mn-cs"/>
            </a:endParaRPr>
          </a:p>
        </p:txBody>
      </p:sp>
      <p:sp>
        <p:nvSpPr>
          <p:cNvPr id="137" name="Free-form: Shape 18">
            <a:extLst>
              <a:ext uri="{FF2B5EF4-FFF2-40B4-BE49-F238E27FC236}">
                <a16:creationId xmlns:a16="http://schemas.microsoft.com/office/drawing/2014/main" id="{0F8B04F1-F83E-74E0-3D1D-CC0B54996EAC}"/>
              </a:ext>
            </a:extLst>
          </p:cNvPr>
          <p:cNvSpPr/>
          <p:nvPr/>
        </p:nvSpPr>
        <p:spPr>
          <a:xfrm>
            <a:off x="1019709" y="4087927"/>
            <a:ext cx="85875" cy="282439"/>
          </a:xfrm>
          <a:custGeom>
            <a:avLst/>
            <a:gdLst>
              <a:gd name="connsiteX0" fmla="*/ 230713 w 1000623"/>
              <a:gd name="connsiteY0" fmla="*/ 5856 h 3725897"/>
              <a:gd name="connsiteX1" fmla="*/ 306490 w 1000623"/>
              <a:gd name="connsiteY1" fmla="*/ 68991 h 3725897"/>
              <a:gd name="connsiteX2" fmla="*/ 986272 w 1000623"/>
              <a:gd name="connsiteY2" fmla="*/ 1363785 h 3725897"/>
              <a:gd name="connsiteX3" fmla="*/ 1000623 w 1000623"/>
              <a:gd name="connsiteY3" fmla="*/ 1412905 h 3725897"/>
              <a:gd name="connsiteX4" fmla="*/ 998578 w 1000623"/>
              <a:gd name="connsiteY4" fmla="*/ 1431462 h 3725897"/>
              <a:gd name="connsiteX5" fmla="*/ 998742 w 1000623"/>
              <a:gd name="connsiteY5" fmla="*/ 1432275 h 3725897"/>
              <a:gd name="connsiteX6" fmla="*/ 998742 w 1000623"/>
              <a:gd name="connsiteY6" fmla="*/ 3597028 h 3725897"/>
              <a:gd name="connsiteX7" fmla="*/ 869873 w 1000623"/>
              <a:gd name="connsiteY7" fmla="*/ 3725897 h 3725897"/>
              <a:gd name="connsiteX8" fmla="*/ 798158 w 1000623"/>
              <a:gd name="connsiteY8" fmla="*/ 3725897 h 3725897"/>
              <a:gd name="connsiteX9" fmla="*/ 669289 w 1000623"/>
              <a:gd name="connsiteY9" fmla="*/ 3597028 h 3725897"/>
              <a:gd name="connsiteX10" fmla="*/ 669289 w 1000623"/>
              <a:gd name="connsiteY10" fmla="*/ 1468762 h 3725897"/>
              <a:gd name="connsiteX11" fmla="*/ 14795 w 1000623"/>
              <a:gd name="connsiteY11" fmla="*/ 222135 h 3725897"/>
              <a:gd name="connsiteX12" fmla="*/ 68991 w 1000623"/>
              <a:gd name="connsiteY12" fmla="*/ 48131 h 3725897"/>
              <a:gd name="connsiteX13" fmla="*/ 132487 w 1000623"/>
              <a:gd name="connsiteY13" fmla="*/ 14795 h 3725897"/>
              <a:gd name="connsiteX14" fmla="*/ 230713 w 1000623"/>
              <a:gd name="connsiteY14" fmla="*/ 5856 h 37258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000623" h="3725897">
                <a:moveTo>
                  <a:pt x="230713" y="5856"/>
                </a:moveTo>
                <a:cubicBezTo>
                  <a:pt x="262201" y="15663"/>
                  <a:pt x="289948" y="37483"/>
                  <a:pt x="306490" y="68991"/>
                </a:cubicBezTo>
                <a:lnTo>
                  <a:pt x="986272" y="1363785"/>
                </a:lnTo>
                <a:cubicBezTo>
                  <a:pt x="994543" y="1379538"/>
                  <a:pt x="999230" y="1396223"/>
                  <a:pt x="1000623" y="1412905"/>
                </a:cubicBezTo>
                <a:lnTo>
                  <a:pt x="998578" y="1431462"/>
                </a:lnTo>
                <a:lnTo>
                  <a:pt x="998742" y="1432275"/>
                </a:lnTo>
                <a:lnTo>
                  <a:pt x="998742" y="3597028"/>
                </a:lnTo>
                <a:cubicBezTo>
                  <a:pt x="998742" y="3668200"/>
                  <a:pt x="941045" y="3725897"/>
                  <a:pt x="869873" y="3725897"/>
                </a:cubicBezTo>
                <a:lnTo>
                  <a:pt x="798158" y="3725897"/>
                </a:lnTo>
                <a:cubicBezTo>
                  <a:pt x="726986" y="3725897"/>
                  <a:pt x="669289" y="3668200"/>
                  <a:pt x="669289" y="3597028"/>
                </a:cubicBezTo>
                <a:lnTo>
                  <a:pt x="669289" y="1468762"/>
                </a:lnTo>
                <a:lnTo>
                  <a:pt x="14795" y="222135"/>
                </a:lnTo>
                <a:cubicBezTo>
                  <a:pt x="-18289" y="159119"/>
                  <a:pt x="5976" y="81215"/>
                  <a:pt x="68991" y="48131"/>
                </a:cubicBezTo>
                <a:lnTo>
                  <a:pt x="132487" y="14795"/>
                </a:lnTo>
                <a:cubicBezTo>
                  <a:pt x="163994" y="-1747"/>
                  <a:pt x="199224" y="-3952"/>
                  <a:pt x="230713" y="5856"/>
                </a:cubicBezTo>
                <a:close/>
              </a:path>
            </a:pathLst>
          </a:custGeom>
          <a:solidFill>
            <a:schemeClr val="bg1"/>
          </a:solidFill>
          <a:ln w="9525">
            <a:solidFill>
              <a:srgbClr val="F1692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13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 Display" panose="02110004020202020204"/>
              <a:ea typeface="+mn-ea"/>
              <a:cs typeface="+mn-cs"/>
            </a:endParaRPr>
          </a:p>
        </p:txBody>
      </p:sp>
      <p:sp>
        <p:nvSpPr>
          <p:cNvPr id="138" name="Rectangle: Rounded Corners 137">
            <a:extLst>
              <a:ext uri="{FF2B5EF4-FFF2-40B4-BE49-F238E27FC236}">
                <a16:creationId xmlns:a16="http://schemas.microsoft.com/office/drawing/2014/main" id="{0539E4AF-2393-E2EC-7EF6-C1F68DD99A00}"/>
              </a:ext>
            </a:extLst>
          </p:cNvPr>
          <p:cNvSpPr/>
          <p:nvPr/>
        </p:nvSpPr>
        <p:spPr>
          <a:xfrm rot="1662000" flipH="1">
            <a:off x="1181590" y="4098080"/>
            <a:ext cx="28274" cy="117408"/>
          </a:xfrm>
          <a:prstGeom prst="roundRect">
            <a:avLst>
              <a:gd name="adj" fmla="val 39116"/>
            </a:avLst>
          </a:prstGeom>
          <a:solidFill>
            <a:schemeClr val="bg1"/>
          </a:solidFill>
          <a:ln w="9525">
            <a:solidFill>
              <a:srgbClr val="F1692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13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 Display" panose="02110004020202020204"/>
              <a:ea typeface="+mn-ea"/>
              <a:cs typeface="+mn-cs"/>
            </a:endParaRPr>
          </a:p>
        </p:txBody>
      </p:sp>
      <p:sp>
        <p:nvSpPr>
          <p:cNvPr id="139" name="Free-form: Shape 20">
            <a:extLst>
              <a:ext uri="{FF2B5EF4-FFF2-40B4-BE49-F238E27FC236}">
                <a16:creationId xmlns:a16="http://schemas.microsoft.com/office/drawing/2014/main" id="{4A023D84-0F9A-A015-0EAF-4E9F5B1659E5}"/>
              </a:ext>
            </a:extLst>
          </p:cNvPr>
          <p:cNvSpPr/>
          <p:nvPr/>
        </p:nvSpPr>
        <p:spPr>
          <a:xfrm flipH="1">
            <a:off x="1116649" y="4087927"/>
            <a:ext cx="85875" cy="282439"/>
          </a:xfrm>
          <a:custGeom>
            <a:avLst/>
            <a:gdLst>
              <a:gd name="connsiteX0" fmla="*/ 230713 w 1000623"/>
              <a:gd name="connsiteY0" fmla="*/ 5856 h 3725897"/>
              <a:gd name="connsiteX1" fmla="*/ 306490 w 1000623"/>
              <a:gd name="connsiteY1" fmla="*/ 68991 h 3725897"/>
              <a:gd name="connsiteX2" fmla="*/ 986272 w 1000623"/>
              <a:gd name="connsiteY2" fmla="*/ 1363785 h 3725897"/>
              <a:gd name="connsiteX3" fmla="*/ 1000623 w 1000623"/>
              <a:gd name="connsiteY3" fmla="*/ 1412905 h 3725897"/>
              <a:gd name="connsiteX4" fmla="*/ 998578 w 1000623"/>
              <a:gd name="connsiteY4" fmla="*/ 1431462 h 3725897"/>
              <a:gd name="connsiteX5" fmla="*/ 998742 w 1000623"/>
              <a:gd name="connsiteY5" fmla="*/ 1432275 h 3725897"/>
              <a:gd name="connsiteX6" fmla="*/ 998742 w 1000623"/>
              <a:gd name="connsiteY6" fmla="*/ 3597028 h 3725897"/>
              <a:gd name="connsiteX7" fmla="*/ 869873 w 1000623"/>
              <a:gd name="connsiteY7" fmla="*/ 3725897 h 3725897"/>
              <a:gd name="connsiteX8" fmla="*/ 798158 w 1000623"/>
              <a:gd name="connsiteY8" fmla="*/ 3725897 h 3725897"/>
              <a:gd name="connsiteX9" fmla="*/ 669289 w 1000623"/>
              <a:gd name="connsiteY9" fmla="*/ 3597028 h 3725897"/>
              <a:gd name="connsiteX10" fmla="*/ 669289 w 1000623"/>
              <a:gd name="connsiteY10" fmla="*/ 1468762 h 3725897"/>
              <a:gd name="connsiteX11" fmla="*/ 14795 w 1000623"/>
              <a:gd name="connsiteY11" fmla="*/ 222135 h 3725897"/>
              <a:gd name="connsiteX12" fmla="*/ 68991 w 1000623"/>
              <a:gd name="connsiteY12" fmla="*/ 48131 h 3725897"/>
              <a:gd name="connsiteX13" fmla="*/ 132487 w 1000623"/>
              <a:gd name="connsiteY13" fmla="*/ 14795 h 3725897"/>
              <a:gd name="connsiteX14" fmla="*/ 230713 w 1000623"/>
              <a:gd name="connsiteY14" fmla="*/ 5856 h 37258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000623" h="3725897">
                <a:moveTo>
                  <a:pt x="230713" y="5856"/>
                </a:moveTo>
                <a:cubicBezTo>
                  <a:pt x="262201" y="15663"/>
                  <a:pt x="289948" y="37483"/>
                  <a:pt x="306490" y="68991"/>
                </a:cubicBezTo>
                <a:lnTo>
                  <a:pt x="986272" y="1363785"/>
                </a:lnTo>
                <a:cubicBezTo>
                  <a:pt x="994543" y="1379538"/>
                  <a:pt x="999230" y="1396223"/>
                  <a:pt x="1000623" y="1412905"/>
                </a:cubicBezTo>
                <a:lnTo>
                  <a:pt x="998578" y="1431462"/>
                </a:lnTo>
                <a:lnTo>
                  <a:pt x="998742" y="1432275"/>
                </a:lnTo>
                <a:lnTo>
                  <a:pt x="998742" y="3597028"/>
                </a:lnTo>
                <a:cubicBezTo>
                  <a:pt x="998742" y="3668200"/>
                  <a:pt x="941045" y="3725897"/>
                  <a:pt x="869873" y="3725897"/>
                </a:cubicBezTo>
                <a:lnTo>
                  <a:pt x="798158" y="3725897"/>
                </a:lnTo>
                <a:cubicBezTo>
                  <a:pt x="726986" y="3725897"/>
                  <a:pt x="669289" y="3668200"/>
                  <a:pt x="669289" y="3597028"/>
                </a:cubicBezTo>
                <a:lnTo>
                  <a:pt x="669289" y="1468762"/>
                </a:lnTo>
                <a:lnTo>
                  <a:pt x="14795" y="222135"/>
                </a:lnTo>
                <a:cubicBezTo>
                  <a:pt x="-18289" y="159119"/>
                  <a:pt x="5976" y="81215"/>
                  <a:pt x="68991" y="48131"/>
                </a:cubicBezTo>
                <a:lnTo>
                  <a:pt x="132487" y="14795"/>
                </a:lnTo>
                <a:cubicBezTo>
                  <a:pt x="163994" y="-1747"/>
                  <a:pt x="199224" y="-3952"/>
                  <a:pt x="230713" y="5856"/>
                </a:cubicBezTo>
                <a:close/>
              </a:path>
            </a:pathLst>
          </a:custGeom>
          <a:solidFill>
            <a:schemeClr val="bg1"/>
          </a:solidFill>
          <a:ln w="9525">
            <a:solidFill>
              <a:srgbClr val="F1692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13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 Display" panose="02110004020202020204"/>
              <a:ea typeface="+mn-ea"/>
              <a:cs typeface="+mn-cs"/>
            </a:endParaRPr>
          </a:p>
        </p:txBody>
      </p:sp>
      <p:sp>
        <p:nvSpPr>
          <p:cNvPr id="140" name="Rectangle: Rounded Corners 139">
            <a:extLst>
              <a:ext uri="{FF2B5EF4-FFF2-40B4-BE49-F238E27FC236}">
                <a16:creationId xmlns:a16="http://schemas.microsoft.com/office/drawing/2014/main" id="{B17FB85D-3311-936E-EE93-761A4C7341DC}"/>
              </a:ext>
            </a:extLst>
          </p:cNvPr>
          <p:cNvSpPr/>
          <p:nvPr/>
        </p:nvSpPr>
        <p:spPr>
          <a:xfrm>
            <a:off x="3856385" y="3096451"/>
            <a:ext cx="990463" cy="493082"/>
          </a:xfrm>
          <a:prstGeom prst="roundRect">
            <a:avLst>
              <a:gd name="adj" fmla="val 24881"/>
            </a:avLst>
          </a:prstGeom>
          <a:solidFill>
            <a:srgbClr val="2D5E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  <a:t>Axi-cel</a:t>
            </a:r>
            <a:b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</a:b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  <a:t>ZUMA-1</a:t>
            </a:r>
            <a:r>
              <a:rPr kumimoji="0" lang="en-GB" sz="1050" b="0" i="0" u="none" strike="noStrike" kern="1200" cap="none" spc="0" normalizeH="0" baseline="3000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  <a:t>5</a:t>
            </a: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  <a:t> </a:t>
            </a: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 Display" panose="02110004020202020204"/>
              <a:ea typeface="+mn-ea"/>
              <a:cs typeface="+mn-cs"/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A5984265-0EDB-9853-8F3B-A2FE0092DBF6}"/>
              </a:ext>
            </a:extLst>
          </p:cNvPr>
          <p:cNvSpPr/>
          <p:nvPr/>
        </p:nvSpPr>
        <p:spPr>
          <a:xfrm>
            <a:off x="743685" y="2962471"/>
            <a:ext cx="1732814" cy="761042"/>
          </a:xfrm>
          <a:prstGeom prst="roundRect">
            <a:avLst>
              <a:gd name="adj" fmla="val 16121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 Display" panose="02110004020202020204"/>
              <a:ea typeface="+mn-ea"/>
              <a:cs typeface="+mn-cs"/>
            </a:endParaRPr>
          </a:p>
        </p:txBody>
      </p:sp>
      <p:sp>
        <p:nvSpPr>
          <p:cNvPr id="14" name="Flowchart: Connector 13">
            <a:extLst>
              <a:ext uri="{FF2B5EF4-FFF2-40B4-BE49-F238E27FC236}">
                <a16:creationId xmlns:a16="http://schemas.microsoft.com/office/drawing/2014/main" id="{83C4B328-EC0A-84E9-BA66-F2EAB3B31BDE}"/>
              </a:ext>
            </a:extLst>
          </p:cNvPr>
          <p:cNvSpPr/>
          <p:nvPr/>
        </p:nvSpPr>
        <p:spPr>
          <a:xfrm>
            <a:off x="962717" y="3114392"/>
            <a:ext cx="457200" cy="457200"/>
          </a:xfrm>
          <a:prstGeom prst="flowChartConnector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 Display" panose="02110004020202020204"/>
              <a:ea typeface="+mn-ea"/>
              <a:cs typeface="+mn-cs"/>
            </a:endParaRPr>
          </a:p>
        </p:txBody>
      </p:sp>
      <p:sp>
        <p:nvSpPr>
          <p:cNvPr id="42" name="Parallelogram 41">
            <a:extLst>
              <a:ext uri="{FF2B5EF4-FFF2-40B4-BE49-F238E27FC236}">
                <a16:creationId xmlns:a16="http://schemas.microsoft.com/office/drawing/2014/main" id="{04DE5FEE-C3B4-290D-438E-E9B671D38E1B}"/>
              </a:ext>
            </a:extLst>
          </p:cNvPr>
          <p:cNvSpPr/>
          <p:nvPr/>
        </p:nvSpPr>
        <p:spPr>
          <a:xfrm flipV="1">
            <a:off x="2193665" y="2962470"/>
            <a:ext cx="550914" cy="385926"/>
          </a:xfrm>
          <a:prstGeom prst="parallelogram">
            <a:avLst>
              <a:gd name="adj" fmla="val 52393"/>
            </a:avLst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 Display" panose="02110004020202020204"/>
              <a:ea typeface="+mn-ea"/>
              <a:cs typeface="+mn-cs"/>
            </a:endParaRPr>
          </a:p>
        </p:txBody>
      </p:sp>
      <p:sp>
        <p:nvSpPr>
          <p:cNvPr id="43" name="Parallelogram 42">
            <a:extLst>
              <a:ext uri="{FF2B5EF4-FFF2-40B4-BE49-F238E27FC236}">
                <a16:creationId xmlns:a16="http://schemas.microsoft.com/office/drawing/2014/main" id="{32A1F1C8-72CA-06CF-D847-32A21EE46C8B}"/>
              </a:ext>
            </a:extLst>
          </p:cNvPr>
          <p:cNvSpPr/>
          <p:nvPr/>
        </p:nvSpPr>
        <p:spPr>
          <a:xfrm>
            <a:off x="2193665" y="3348397"/>
            <a:ext cx="550914" cy="375117"/>
          </a:xfrm>
          <a:prstGeom prst="parallelogram">
            <a:avLst>
              <a:gd name="adj" fmla="val 52393"/>
            </a:avLst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 Display" panose="02110004020202020204"/>
              <a:ea typeface="+mn-ea"/>
              <a:cs typeface="+mn-cs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E0583F4F-3269-1AE8-4C86-DFD91FFD6833}"/>
              </a:ext>
            </a:extLst>
          </p:cNvPr>
          <p:cNvSpPr txBox="1"/>
          <p:nvPr/>
        </p:nvSpPr>
        <p:spPr>
          <a:xfrm>
            <a:off x="1557800" y="3208859"/>
            <a:ext cx="556592" cy="26826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CB813"/>
              </a:buClr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  <a:t>CAR T</a:t>
            </a:r>
          </a:p>
        </p:txBody>
      </p:sp>
      <p:sp>
        <p:nvSpPr>
          <p:cNvPr id="143" name="Rectangle 142">
            <a:extLst>
              <a:ext uri="{FF2B5EF4-FFF2-40B4-BE49-F238E27FC236}">
                <a16:creationId xmlns:a16="http://schemas.microsoft.com/office/drawing/2014/main" id="{E8E17B20-EC85-880C-39E7-4C8C58F6B05B}"/>
              </a:ext>
            </a:extLst>
          </p:cNvPr>
          <p:cNvSpPr/>
          <p:nvPr/>
        </p:nvSpPr>
        <p:spPr>
          <a:xfrm rot="21170666">
            <a:off x="1183503" y="3163991"/>
            <a:ext cx="9950" cy="40327"/>
          </a:xfrm>
          <a:prstGeom prst="rect">
            <a:avLst/>
          </a:prstGeom>
          <a:noFill/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 Display" panose="02110004020202020204"/>
              <a:ea typeface="+mn-ea"/>
              <a:cs typeface="+mn-cs"/>
            </a:endParaRPr>
          </a:p>
        </p:txBody>
      </p:sp>
      <p:sp>
        <p:nvSpPr>
          <p:cNvPr id="144" name="Rectangle 143">
            <a:extLst>
              <a:ext uri="{FF2B5EF4-FFF2-40B4-BE49-F238E27FC236}">
                <a16:creationId xmlns:a16="http://schemas.microsoft.com/office/drawing/2014/main" id="{F460FC10-529C-E905-BA1B-2B858F2898EB}"/>
              </a:ext>
            </a:extLst>
          </p:cNvPr>
          <p:cNvSpPr/>
          <p:nvPr/>
        </p:nvSpPr>
        <p:spPr>
          <a:xfrm rot="349634">
            <a:off x="1207211" y="3165409"/>
            <a:ext cx="9950" cy="40327"/>
          </a:xfrm>
          <a:prstGeom prst="rect">
            <a:avLst/>
          </a:prstGeom>
          <a:noFill/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 Display" panose="02110004020202020204"/>
              <a:ea typeface="+mn-ea"/>
              <a:cs typeface="+mn-cs"/>
            </a:endParaRPr>
          </a:p>
        </p:txBody>
      </p:sp>
      <p:sp>
        <p:nvSpPr>
          <p:cNvPr id="145" name="Rectangle 144">
            <a:extLst>
              <a:ext uri="{FF2B5EF4-FFF2-40B4-BE49-F238E27FC236}">
                <a16:creationId xmlns:a16="http://schemas.microsoft.com/office/drawing/2014/main" id="{DE76B48E-1B6B-BAA3-B2AE-E63C659B7A6B}"/>
              </a:ext>
            </a:extLst>
          </p:cNvPr>
          <p:cNvSpPr/>
          <p:nvPr/>
        </p:nvSpPr>
        <p:spPr>
          <a:xfrm rot="429334" flipH="1">
            <a:off x="1186377" y="3481667"/>
            <a:ext cx="9950" cy="40327"/>
          </a:xfrm>
          <a:prstGeom prst="rect">
            <a:avLst/>
          </a:prstGeom>
          <a:noFill/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 Display" panose="02110004020202020204"/>
              <a:ea typeface="+mn-ea"/>
              <a:cs typeface="+mn-cs"/>
            </a:endParaRPr>
          </a:p>
        </p:txBody>
      </p:sp>
      <p:sp>
        <p:nvSpPr>
          <p:cNvPr id="146" name="Rectangle 145">
            <a:extLst>
              <a:ext uri="{FF2B5EF4-FFF2-40B4-BE49-F238E27FC236}">
                <a16:creationId xmlns:a16="http://schemas.microsoft.com/office/drawing/2014/main" id="{3A581AE6-4BD7-0DBB-A287-A602A46776E7}"/>
              </a:ext>
            </a:extLst>
          </p:cNvPr>
          <p:cNvSpPr/>
          <p:nvPr/>
        </p:nvSpPr>
        <p:spPr>
          <a:xfrm rot="21250366" flipH="1">
            <a:off x="1210085" y="3480249"/>
            <a:ext cx="9950" cy="40327"/>
          </a:xfrm>
          <a:prstGeom prst="rect">
            <a:avLst/>
          </a:prstGeom>
          <a:noFill/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 Display" panose="02110004020202020204"/>
              <a:ea typeface="+mn-ea"/>
              <a:cs typeface="+mn-cs"/>
            </a:endParaRPr>
          </a:p>
        </p:txBody>
      </p:sp>
      <p:sp>
        <p:nvSpPr>
          <p:cNvPr id="147" name="Rectangle 146">
            <a:extLst>
              <a:ext uri="{FF2B5EF4-FFF2-40B4-BE49-F238E27FC236}">
                <a16:creationId xmlns:a16="http://schemas.microsoft.com/office/drawing/2014/main" id="{8509E326-2CE5-7E15-3782-27AD206EF729}"/>
              </a:ext>
            </a:extLst>
          </p:cNvPr>
          <p:cNvSpPr/>
          <p:nvPr/>
        </p:nvSpPr>
        <p:spPr>
          <a:xfrm rot="18470666">
            <a:off x="1067411" y="3222569"/>
            <a:ext cx="9821" cy="40858"/>
          </a:xfrm>
          <a:prstGeom prst="rect">
            <a:avLst/>
          </a:prstGeom>
          <a:noFill/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 Display" panose="02110004020202020204"/>
              <a:ea typeface="+mn-ea"/>
              <a:cs typeface="+mn-cs"/>
            </a:endParaRP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6F8CAE57-B4A2-89C8-843C-0E3922FF320B}"/>
              </a:ext>
            </a:extLst>
          </p:cNvPr>
          <p:cNvSpPr/>
          <p:nvPr/>
        </p:nvSpPr>
        <p:spPr>
          <a:xfrm rot="19249634">
            <a:off x="1085127" y="3207290"/>
            <a:ext cx="9950" cy="40327"/>
          </a:xfrm>
          <a:prstGeom prst="rect">
            <a:avLst/>
          </a:prstGeom>
          <a:noFill/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 Display" panose="02110004020202020204"/>
              <a:ea typeface="+mn-ea"/>
              <a:cs typeface="+mn-cs"/>
            </a:endParaRP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93211F8B-BCA0-1F8E-5A6E-1CE00373316E}"/>
              </a:ext>
            </a:extLst>
          </p:cNvPr>
          <p:cNvSpPr/>
          <p:nvPr/>
        </p:nvSpPr>
        <p:spPr>
          <a:xfrm rot="19329334" flipH="1">
            <a:off x="1297685" y="3444041"/>
            <a:ext cx="9950" cy="40327"/>
          </a:xfrm>
          <a:prstGeom prst="rect">
            <a:avLst/>
          </a:prstGeom>
          <a:noFill/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 Display" panose="02110004020202020204"/>
              <a:ea typeface="+mn-ea"/>
              <a:cs typeface="+mn-cs"/>
            </a:endParaRPr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AE4F33F0-3289-7860-C58A-960FFA8E8100}"/>
              </a:ext>
            </a:extLst>
          </p:cNvPr>
          <p:cNvSpPr/>
          <p:nvPr/>
        </p:nvSpPr>
        <p:spPr>
          <a:xfrm rot="18550366" flipH="1">
            <a:off x="1314093" y="3426814"/>
            <a:ext cx="9821" cy="40858"/>
          </a:xfrm>
          <a:prstGeom prst="rect">
            <a:avLst/>
          </a:prstGeom>
          <a:noFill/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 Display" panose="02110004020202020204"/>
              <a:ea typeface="+mn-ea"/>
              <a:cs typeface="+mn-cs"/>
            </a:endParaRP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BE768D01-EB7C-918C-FAAE-8E64A5587BCC}"/>
              </a:ext>
            </a:extLst>
          </p:cNvPr>
          <p:cNvSpPr/>
          <p:nvPr/>
        </p:nvSpPr>
        <p:spPr>
          <a:xfrm rot="15770666">
            <a:off x="1034738" y="3334973"/>
            <a:ext cx="9821" cy="40858"/>
          </a:xfrm>
          <a:prstGeom prst="rect">
            <a:avLst/>
          </a:prstGeom>
          <a:noFill/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 Display" panose="02110004020202020204"/>
              <a:ea typeface="+mn-ea"/>
              <a:cs typeface="+mn-cs"/>
            </a:endParaRPr>
          </a:p>
        </p:txBody>
      </p:sp>
      <p:sp>
        <p:nvSpPr>
          <p:cNvPr id="152" name="Rectangle 151">
            <a:extLst>
              <a:ext uri="{FF2B5EF4-FFF2-40B4-BE49-F238E27FC236}">
                <a16:creationId xmlns:a16="http://schemas.microsoft.com/office/drawing/2014/main" id="{6F6F55F0-DA28-B613-73EB-FC2D35832D87}"/>
              </a:ext>
            </a:extLst>
          </p:cNvPr>
          <p:cNvSpPr/>
          <p:nvPr/>
        </p:nvSpPr>
        <p:spPr>
          <a:xfrm rot="16549634">
            <a:off x="1034738" y="3311573"/>
            <a:ext cx="9821" cy="40858"/>
          </a:xfrm>
          <a:prstGeom prst="rect">
            <a:avLst/>
          </a:prstGeom>
          <a:noFill/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 Display" panose="02110004020202020204"/>
              <a:ea typeface="+mn-ea"/>
              <a:cs typeface="+mn-cs"/>
            </a:endParaRPr>
          </a:p>
        </p:txBody>
      </p:sp>
      <p:sp>
        <p:nvSpPr>
          <p:cNvPr id="153" name="Rectangle 152">
            <a:extLst>
              <a:ext uri="{FF2B5EF4-FFF2-40B4-BE49-F238E27FC236}">
                <a16:creationId xmlns:a16="http://schemas.microsoft.com/office/drawing/2014/main" id="{B69003BB-71B9-52CB-222F-E39C2031C804}"/>
              </a:ext>
            </a:extLst>
          </p:cNvPr>
          <p:cNvSpPr/>
          <p:nvPr/>
        </p:nvSpPr>
        <p:spPr>
          <a:xfrm rot="16629334" flipH="1">
            <a:off x="1352759" y="3332136"/>
            <a:ext cx="9821" cy="40858"/>
          </a:xfrm>
          <a:prstGeom prst="rect">
            <a:avLst/>
          </a:prstGeom>
          <a:noFill/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 Display" panose="02110004020202020204"/>
              <a:ea typeface="+mn-ea"/>
              <a:cs typeface="+mn-cs"/>
            </a:endParaRPr>
          </a:p>
        </p:txBody>
      </p:sp>
      <p:sp>
        <p:nvSpPr>
          <p:cNvPr id="154" name="Rectangle 153">
            <a:extLst>
              <a:ext uri="{FF2B5EF4-FFF2-40B4-BE49-F238E27FC236}">
                <a16:creationId xmlns:a16="http://schemas.microsoft.com/office/drawing/2014/main" id="{6E0A527C-CC13-D166-B8F1-1D87FD3C69E6}"/>
              </a:ext>
            </a:extLst>
          </p:cNvPr>
          <p:cNvSpPr/>
          <p:nvPr/>
        </p:nvSpPr>
        <p:spPr>
          <a:xfrm rot="15850366" flipH="1">
            <a:off x="1352759" y="3308736"/>
            <a:ext cx="9821" cy="40858"/>
          </a:xfrm>
          <a:prstGeom prst="rect">
            <a:avLst/>
          </a:prstGeom>
          <a:noFill/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 Display" panose="02110004020202020204"/>
              <a:ea typeface="+mn-ea"/>
              <a:cs typeface="+mn-cs"/>
            </a:endParaRPr>
          </a:p>
        </p:txBody>
      </p:sp>
      <p:sp>
        <p:nvSpPr>
          <p:cNvPr id="155" name="Rectangle 154">
            <a:extLst>
              <a:ext uri="{FF2B5EF4-FFF2-40B4-BE49-F238E27FC236}">
                <a16:creationId xmlns:a16="http://schemas.microsoft.com/office/drawing/2014/main" id="{69FB4081-8BCF-2D33-CEF7-16EB7131CB85}"/>
              </a:ext>
            </a:extLst>
          </p:cNvPr>
          <p:cNvSpPr/>
          <p:nvPr/>
        </p:nvSpPr>
        <p:spPr>
          <a:xfrm rot="13070666">
            <a:off x="1092609" y="3447758"/>
            <a:ext cx="9950" cy="40327"/>
          </a:xfrm>
          <a:prstGeom prst="rect">
            <a:avLst/>
          </a:prstGeom>
          <a:noFill/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 Display" panose="02110004020202020204"/>
              <a:ea typeface="+mn-ea"/>
              <a:cs typeface="+mn-cs"/>
            </a:endParaRPr>
          </a:p>
        </p:txBody>
      </p:sp>
      <p:sp>
        <p:nvSpPr>
          <p:cNvPr id="156" name="Rectangle 155">
            <a:extLst>
              <a:ext uri="{FF2B5EF4-FFF2-40B4-BE49-F238E27FC236}">
                <a16:creationId xmlns:a16="http://schemas.microsoft.com/office/drawing/2014/main" id="{9748E2C5-5338-84E1-6298-A9B7E4FF2EB3}"/>
              </a:ext>
            </a:extLst>
          </p:cNvPr>
          <p:cNvSpPr/>
          <p:nvPr/>
        </p:nvSpPr>
        <p:spPr>
          <a:xfrm rot="13849634">
            <a:off x="1076925" y="3429944"/>
            <a:ext cx="9821" cy="40858"/>
          </a:xfrm>
          <a:prstGeom prst="rect">
            <a:avLst/>
          </a:prstGeom>
          <a:noFill/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 Display" panose="02110004020202020204"/>
              <a:ea typeface="+mn-ea"/>
              <a:cs typeface="+mn-cs"/>
            </a:endParaRPr>
          </a:p>
        </p:txBody>
      </p:sp>
      <p:sp>
        <p:nvSpPr>
          <p:cNvPr id="157" name="Rectangle 156">
            <a:extLst>
              <a:ext uri="{FF2B5EF4-FFF2-40B4-BE49-F238E27FC236}">
                <a16:creationId xmlns:a16="http://schemas.microsoft.com/office/drawing/2014/main" id="{4D1E7243-C74A-9807-0C51-45F71EDD35AC}"/>
              </a:ext>
            </a:extLst>
          </p:cNvPr>
          <p:cNvSpPr/>
          <p:nvPr/>
        </p:nvSpPr>
        <p:spPr>
          <a:xfrm rot="13929334" flipH="1">
            <a:off x="1316792" y="3221565"/>
            <a:ext cx="9821" cy="40858"/>
          </a:xfrm>
          <a:prstGeom prst="rect">
            <a:avLst/>
          </a:prstGeom>
          <a:noFill/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 Display" panose="02110004020202020204"/>
              <a:ea typeface="+mn-ea"/>
              <a:cs typeface="+mn-cs"/>
            </a:endParaRPr>
          </a:p>
        </p:txBody>
      </p:sp>
      <p:sp>
        <p:nvSpPr>
          <p:cNvPr id="158" name="Rectangle 157">
            <a:extLst>
              <a:ext uri="{FF2B5EF4-FFF2-40B4-BE49-F238E27FC236}">
                <a16:creationId xmlns:a16="http://schemas.microsoft.com/office/drawing/2014/main" id="{BF38D8BC-81BD-8663-A73D-D7526C500B9C}"/>
              </a:ext>
            </a:extLst>
          </p:cNvPr>
          <p:cNvSpPr/>
          <p:nvPr/>
        </p:nvSpPr>
        <p:spPr>
          <a:xfrm rot="13150366" flipH="1">
            <a:off x="1300980" y="3204282"/>
            <a:ext cx="9950" cy="40327"/>
          </a:xfrm>
          <a:prstGeom prst="rect">
            <a:avLst/>
          </a:prstGeom>
          <a:noFill/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 Display" panose="02110004020202020204"/>
              <a:ea typeface="+mn-ea"/>
              <a:cs typeface="+mn-cs"/>
            </a:endParaRPr>
          </a:p>
        </p:txBody>
      </p:sp>
      <p:sp>
        <p:nvSpPr>
          <p:cNvPr id="159" name="Oval 158">
            <a:extLst>
              <a:ext uri="{FF2B5EF4-FFF2-40B4-BE49-F238E27FC236}">
                <a16:creationId xmlns:a16="http://schemas.microsoft.com/office/drawing/2014/main" id="{0EF31398-BCBD-6C51-0135-E3D37598A1AF}"/>
              </a:ext>
            </a:extLst>
          </p:cNvPr>
          <p:cNvSpPr/>
          <p:nvPr/>
        </p:nvSpPr>
        <p:spPr>
          <a:xfrm>
            <a:off x="1066703" y="3211060"/>
            <a:ext cx="265097" cy="265095"/>
          </a:xfrm>
          <a:prstGeom prst="ellipse">
            <a:avLst/>
          </a:prstGeom>
          <a:noFill/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 Display" panose="02110004020202020204"/>
              <a:ea typeface="+mn-ea"/>
              <a:cs typeface="+mn-cs"/>
            </a:endParaRPr>
          </a:p>
        </p:txBody>
      </p:sp>
      <p:sp>
        <p:nvSpPr>
          <p:cNvPr id="160" name="Oval 159">
            <a:extLst>
              <a:ext uri="{FF2B5EF4-FFF2-40B4-BE49-F238E27FC236}">
                <a16:creationId xmlns:a16="http://schemas.microsoft.com/office/drawing/2014/main" id="{262CB42E-295D-300A-5F90-57C344F5C559}"/>
              </a:ext>
            </a:extLst>
          </p:cNvPr>
          <p:cNvSpPr/>
          <p:nvPr/>
        </p:nvSpPr>
        <p:spPr>
          <a:xfrm>
            <a:off x="1138257" y="3284474"/>
            <a:ext cx="121991" cy="118267"/>
          </a:xfrm>
          <a:prstGeom prst="ellipse">
            <a:avLst/>
          </a:prstGeom>
          <a:noFill/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 Display" panose="02110004020202020204"/>
              <a:ea typeface="+mn-ea"/>
              <a:cs typeface="+mn-cs"/>
            </a:endParaRPr>
          </a:p>
        </p:txBody>
      </p:sp>
      <p:sp>
        <p:nvSpPr>
          <p:cNvPr id="161" name="TextBox 160">
            <a:extLst>
              <a:ext uri="{FF2B5EF4-FFF2-40B4-BE49-F238E27FC236}">
                <a16:creationId xmlns:a16="http://schemas.microsoft.com/office/drawing/2014/main" id="{930F2367-8F4E-25D2-B0CD-18D2AEF22389}"/>
              </a:ext>
            </a:extLst>
          </p:cNvPr>
          <p:cNvSpPr txBox="1"/>
          <p:nvPr/>
        </p:nvSpPr>
        <p:spPr>
          <a:xfrm>
            <a:off x="547997" y="1313198"/>
            <a:ext cx="4514098" cy="3927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CB813"/>
              </a:buClr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pproval dates by the European Medicines Agency</a:t>
            </a:r>
          </a:p>
        </p:txBody>
      </p:sp>
      <p:sp>
        <p:nvSpPr>
          <p:cNvPr id="65" name="Rectangle: Rounded Corners 64">
            <a:extLst>
              <a:ext uri="{FF2B5EF4-FFF2-40B4-BE49-F238E27FC236}">
                <a16:creationId xmlns:a16="http://schemas.microsoft.com/office/drawing/2014/main" id="{BD4CD7FA-D3A9-561E-1B15-21D33CFFF891}"/>
              </a:ext>
            </a:extLst>
          </p:cNvPr>
          <p:cNvSpPr/>
          <p:nvPr/>
        </p:nvSpPr>
        <p:spPr>
          <a:xfrm>
            <a:off x="8778849" y="4820664"/>
            <a:ext cx="1262182" cy="407505"/>
          </a:xfrm>
          <a:prstGeom prst="roundRect">
            <a:avLst>
              <a:gd name="adj" fmla="val 24175"/>
            </a:avLst>
          </a:prstGeom>
          <a:solidFill>
            <a:srgbClr val="4CA1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  <a:t> Epcoritamab </a:t>
            </a: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  <a:t>EPCORE NHL-1</a:t>
            </a:r>
            <a:r>
              <a:rPr kumimoji="0" lang="en-GB" sz="1050" b="0" i="0" u="none" strike="noStrike" kern="1200" cap="none" spc="0" normalizeH="0" baseline="3000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  <a:t>15</a:t>
            </a:r>
            <a:endParaRPr kumimoji="0" lang="en-GB" sz="1400" b="0" i="0" u="none" strike="noStrike" kern="1200" cap="none" spc="0" normalizeH="0" baseline="3000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 Display" panose="02110004020202020204"/>
              <a:ea typeface="+mn-ea"/>
              <a:cs typeface="+mn-cs"/>
            </a:endParaRPr>
          </a:p>
        </p:txBody>
      </p:sp>
      <p:sp>
        <p:nvSpPr>
          <p:cNvPr id="141" name="Rectangle: Rounded Corners 140">
            <a:extLst>
              <a:ext uri="{FF2B5EF4-FFF2-40B4-BE49-F238E27FC236}">
                <a16:creationId xmlns:a16="http://schemas.microsoft.com/office/drawing/2014/main" id="{19C58915-568F-7AA9-843C-BC6CB83C67BE}"/>
              </a:ext>
            </a:extLst>
          </p:cNvPr>
          <p:cNvSpPr/>
          <p:nvPr/>
        </p:nvSpPr>
        <p:spPr>
          <a:xfrm>
            <a:off x="9021322" y="5284035"/>
            <a:ext cx="1372358" cy="407505"/>
          </a:xfrm>
          <a:prstGeom prst="roundRect">
            <a:avLst>
              <a:gd name="adj" fmla="val 24175"/>
            </a:avLst>
          </a:prstGeom>
          <a:solidFill>
            <a:srgbClr val="4CA1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  <a:t> </a:t>
            </a:r>
            <a:r>
              <a:rPr kumimoji="0" lang="en-GB" sz="1400" b="1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  <a:t>Odronextamab</a:t>
            </a: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  <a:t> </a:t>
            </a: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  <a:t>ELM-2</a:t>
            </a:r>
            <a:r>
              <a:rPr kumimoji="0" lang="en-GB" sz="1050" b="0" i="0" u="none" strike="noStrike" kern="1200" cap="none" spc="0" normalizeH="0" baseline="3000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  <a:t>16</a:t>
            </a:r>
            <a:endParaRPr kumimoji="0" lang="en-GB" sz="1400" b="0" i="0" u="none" strike="noStrike" kern="1200" cap="none" spc="0" normalizeH="0" baseline="3000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 Display" panose="02110004020202020204"/>
              <a:ea typeface="+mn-ea"/>
              <a:cs typeface="+mn-cs"/>
            </a:endParaRPr>
          </a:p>
        </p:txBody>
      </p:sp>
      <p:sp>
        <p:nvSpPr>
          <p:cNvPr id="162" name="Rectangle: Rounded Corners 161">
            <a:extLst>
              <a:ext uri="{FF2B5EF4-FFF2-40B4-BE49-F238E27FC236}">
                <a16:creationId xmlns:a16="http://schemas.microsoft.com/office/drawing/2014/main" id="{2AA8C210-122C-3EB8-2B39-51D99B264B28}"/>
              </a:ext>
            </a:extLst>
          </p:cNvPr>
          <p:cNvSpPr/>
          <p:nvPr/>
        </p:nvSpPr>
        <p:spPr>
          <a:xfrm>
            <a:off x="10090548" y="4820664"/>
            <a:ext cx="1215627" cy="407505"/>
          </a:xfrm>
          <a:prstGeom prst="roundRect">
            <a:avLst>
              <a:gd name="adj" fmla="val 24175"/>
            </a:avLst>
          </a:prstGeom>
          <a:solidFill>
            <a:srgbClr val="4CA1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90" b="1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  <a:t>Glofit+GemOx</a:t>
            </a:r>
            <a:r>
              <a:rPr kumimoji="0" lang="en-GB" sz="139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  <a:t> </a:t>
            </a: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  <a:t>STARGLO</a:t>
            </a:r>
            <a:r>
              <a:rPr kumimoji="0" lang="en-GB" sz="1050" b="0" i="0" u="none" strike="noStrike" kern="1200" cap="none" spc="0" normalizeH="0" baseline="3000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  <a:t>17</a:t>
            </a:r>
          </a:p>
        </p:txBody>
      </p:sp>
      <p:sp>
        <p:nvSpPr>
          <p:cNvPr id="165" name="TextBox 164">
            <a:extLst>
              <a:ext uri="{FF2B5EF4-FFF2-40B4-BE49-F238E27FC236}">
                <a16:creationId xmlns:a16="http://schemas.microsoft.com/office/drawing/2014/main" id="{81D49589-935A-E192-CC1E-D26A66E3F9B6}"/>
              </a:ext>
            </a:extLst>
          </p:cNvPr>
          <p:cNvSpPr txBox="1"/>
          <p:nvPr/>
        </p:nvSpPr>
        <p:spPr>
          <a:xfrm>
            <a:off x="9226482" y="1767597"/>
            <a:ext cx="204028" cy="3927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CB813"/>
              </a:buClr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024</a:t>
            </a:r>
          </a:p>
        </p:txBody>
      </p:sp>
      <p:sp>
        <p:nvSpPr>
          <p:cNvPr id="166" name="Oval 165">
            <a:extLst>
              <a:ext uri="{FF2B5EF4-FFF2-40B4-BE49-F238E27FC236}">
                <a16:creationId xmlns:a16="http://schemas.microsoft.com/office/drawing/2014/main" id="{116C8D93-24A4-84A9-26C1-6DD80B6F40E1}"/>
              </a:ext>
            </a:extLst>
          </p:cNvPr>
          <p:cNvSpPr/>
          <p:nvPr/>
        </p:nvSpPr>
        <p:spPr>
          <a:xfrm>
            <a:off x="9350611" y="1672116"/>
            <a:ext cx="159799" cy="159799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4347493F-3613-6906-379E-EA9ED3EF6844}"/>
              </a:ext>
            </a:extLst>
          </p:cNvPr>
          <p:cNvSpPr/>
          <p:nvPr/>
        </p:nvSpPr>
        <p:spPr>
          <a:xfrm>
            <a:off x="10214677" y="1672116"/>
            <a:ext cx="159799" cy="159799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FB10E0EE-92E7-4F3C-3CC3-A57E5AA7BB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651" y="6356350"/>
            <a:ext cx="383694" cy="365125"/>
          </a:xfrm>
        </p:spPr>
        <p:txBody>
          <a:bodyPr vert="horz" lIns="0" tIns="0" rIns="0" bIns="0"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01CC8E-1CEF-6746-999E-CF29FF00B1DC}" type="slidenum"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82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740865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1" fill="hold">
                      <p:stCondLst>
                        <p:cond delay="indefinite"/>
                      </p:stCondLst>
                      <p:childTnLst>
                        <p:par>
                          <p:cTn id="112" fill="hold">
                            <p:stCondLst>
                              <p:cond delay="0"/>
                            </p:stCondLst>
                            <p:childTnLst>
                              <p:par>
                                <p:cTn id="1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1" fill="hold">
                      <p:stCondLst>
                        <p:cond delay="indefinite"/>
                      </p:stCondLst>
                      <p:childTnLst>
                        <p:par>
                          <p:cTn id="172" fill="hold">
                            <p:stCondLst>
                              <p:cond delay="0"/>
                            </p:stCondLst>
                            <p:childTnLst>
                              <p:par>
                                <p:cTn id="17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7" fill="hold">
                      <p:stCondLst>
                        <p:cond delay="indefinite"/>
                      </p:stCondLst>
                      <p:childTnLst>
                        <p:par>
                          <p:cTn id="208" fill="hold">
                            <p:stCondLst>
                              <p:cond delay="0"/>
                            </p:stCondLst>
                            <p:childTnLst>
                              <p:par>
                                <p:cTn id="20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9" grpId="0" animBg="1"/>
      <p:bldP spid="12" grpId="0" animBg="1"/>
      <p:bldP spid="15" grpId="0" animBg="1"/>
      <p:bldP spid="16" grpId="0" animBg="1"/>
      <p:bldP spid="17" grpId="0" animBg="1"/>
      <p:bldP spid="32" grpId="0" animBg="1"/>
      <p:bldP spid="33" grpId="0" animBg="1"/>
      <p:bldP spid="34" grpId="0" animBg="1"/>
      <p:bldP spid="35" grpId="0" animBg="1"/>
      <p:bldP spid="36" grpId="0" animBg="1"/>
      <p:bldP spid="37" grpId="0" animBg="1"/>
      <p:bldP spid="38" grpId="0" animBg="1"/>
      <p:bldP spid="39" grpId="0" animBg="1"/>
      <p:bldP spid="40" grpId="0" animBg="1"/>
      <p:bldP spid="50" grpId="0" animBg="1"/>
      <p:bldP spid="51" grpId="0" animBg="1"/>
      <p:bldP spid="52" grpId="0"/>
      <p:bldP spid="6" grpId="0" animBg="1"/>
      <p:bldP spid="7" grpId="0" animBg="1"/>
      <p:bldP spid="54" grpId="0" animBg="1"/>
      <p:bldP spid="55" grpId="0" animBg="1"/>
      <p:bldP spid="56" grpId="0"/>
      <p:bldP spid="62" grpId="0" animBg="1"/>
      <p:bldP spid="63" grpId="0" animBg="1"/>
      <p:bldP spid="60" grpId="0" animBg="1"/>
      <p:bldP spid="61" grpId="0" animBg="1"/>
      <p:bldP spid="64" grpId="0" animBg="1"/>
      <p:bldP spid="111" grpId="0" animBg="1"/>
      <p:bldP spid="112" grpId="0" animBg="1"/>
      <p:bldP spid="113" grpId="0" animBg="1"/>
      <p:bldP spid="91" grpId="0" animBg="1"/>
      <p:bldP spid="92" grpId="0" animBg="1"/>
      <p:bldP spid="93" grpId="0" animBg="1"/>
      <p:bldP spid="71" grpId="0" animBg="1"/>
      <p:bldP spid="72" grpId="0" animBg="1"/>
      <p:bldP spid="73" grpId="0" animBg="1"/>
      <p:bldP spid="10" grpId="0" animBg="1"/>
      <p:bldP spid="11" grpId="0" animBg="1"/>
      <p:bldP spid="46" grpId="0" animBg="1"/>
      <p:bldP spid="47" grpId="0" animBg="1"/>
      <p:bldP spid="48" grpId="0"/>
      <p:bldP spid="131" grpId="0" animBg="1"/>
      <p:bldP spid="132" grpId="0" animBg="1"/>
      <p:bldP spid="133" grpId="0" animBg="1"/>
      <p:bldP spid="134" grpId="0" animBg="1"/>
      <p:bldP spid="136" grpId="0" animBg="1"/>
      <p:bldP spid="137" grpId="0" animBg="1"/>
      <p:bldP spid="138" grpId="0" animBg="1"/>
      <p:bldP spid="139" grpId="0" animBg="1"/>
      <p:bldP spid="140" grpId="0" animBg="1"/>
      <p:bldP spid="13" grpId="0" animBg="1"/>
      <p:bldP spid="14" grpId="0" animBg="1"/>
      <p:bldP spid="42" grpId="0" animBg="1"/>
      <p:bldP spid="43" grpId="0" animBg="1"/>
      <p:bldP spid="44" grpId="0"/>
      <p:bldP spid="143" grpId="0" animBg="1"/>
      <p:bldP spid="144" grpId="0" animBg="1"/>
      <p:bldP spid="145" grpId="0" animBg="1"/>
      <p:bldP spid="146" grpId="0" animBg="1"/>
      <p:bldP spid="147" grpId="0" animBg="1"/>
      <p:bldP spid="148" grpId="0" animBg="1"/>
      <p:bldP spid="149" grpId="0" animBg="1"/>
      <p:bldP spid="150" grpId="0" animBg="1"/>
      <p:bldP spid="151" grpId="0" animBg="1"/>
      <p:bldP spid="152" grpId="0" animBg="1"/>
      <p:bldP spid="153" grpId="0" animBg="1"/>
      <p:bldP spid="154" grpId="0" animBg="1"/>
      <p:bldP spid="155" grpId="0" animBg="1"/>
      <p:bldP spid="156" grpId="0" animBg="1"/>
      <p:bldP spid="157" grpId="0" animBg="1"/>
      <p:bldP spid="158" grpId="0" animBg="1"/>
      <p:bldP spid="159" grpId="0" animBg="1"/>
      <p:bldP spid="160" grpId="0" animBg="1"/>
      <p:bldP spid="65" grpId="0" animBg="1"/>
      <p:bldP spid="141" grpId="0" animBg="1"/>
      <p:bldP spid="162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DCC4537-BE92-AE56-1B57-27C619A187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C17468-C87C-B843-7A94-5C8DDBA0F9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0647" y="311858"/>
            <a:ext cx="9563721" cy="632402"/>
          </a:xfrm>
        </p:spPr>
        <p:txBody>
          <a:bodyPr/>
          <a:lstStyle/>
          <a:p>
            <a:r>
              <a:rPr lang="en-GB"/>
              <a:t>As our treatment choice evolve, so do the challenges we face</a:t>
            </a:r>
            <a:r>
              <a:rPr lang="en-GB" baseline="30000"/>
              <a:t>1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025F75A-1A41-8BF2-40AB-C675056148C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70645" y="6356349"/>
            <a:ext cx="10440000" cy="363601"/>
          </a:xfrm>
        </p:spPr>
        <p:txBody>
          <a:bodyPr/>
          <a:lstStyle/>
          <a:p>
            <a:r>
              <a:rPr lang="en-GB"/>
              <a:t>ADC, antibody-drug conjugate; DLBCL, diffuse large B-cell lymphoma; R/R, relapsed or refractory.</a:t>
            </a:r>
            <a:br>
              <a:rPr lang="en-GB"/>
            </a:br>
            <a:r>
              <a:rPr lang="en-GB" b="1"/>
              <a:t>1.</a:t>
            </a:r>
            <a:r>
              <a:rPr lang="en-GB"/>
              <a:t> Brooks &amp; Caimi. </a:t>
            </a:r>
            <a:r>
              <a:rPr lang="en-GB" i="1"/>
              <a:t>Blood Rev </a:t>
            </a:r>
            <a:r>
              <a:rPr lang="en-GB"/>
              <a:t>2023.</a:t>
            </a:r>
          </a:p>
        </p:txBody>
      </p:sp>
      <p:sp>
        <p:nvSpPr>
          <p:cNvPr id="384" name="Rectangle: Rounded Corners 383">
            <a:extLst>
              <a:ext uri="{FF2B5EF4-FFF2-40B4-BE49-F238E27FC236}">
                <a16:creationId xmlns:a16="http://schemas.microsoft.com/office/drawing/2014/main" id="{CC4584E3-CED5-DB1A-ECEB-8E83CF30851A}"/>
              </a:ext>
            </a:extLst>
          </p:cNvPr>
          <p:cNvSpPr/>
          <p:nvPr/>
        </p:nvSpPr>
        <p:spPr>
          <a:xfrm>
            <a:off x="5940145" y="2413006"/>
            <a:ext cx="5855023" cy="3644894"/>
          </a:xfrm>
          <a:prstGeom prst="roundRect">
            <a:avLst>
              <a:gd name="adj" fmla="val 6963"/>
            </a:avLst>
          </a:prstGeom>
          <a:solidFill>
            <a:schemeClr val="bg1"/>
          </a:solidFill>
          <a:ln>
            <a:solidFill>
              <a:srgbClr val="2D5E7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58" name="Rectangle: Rounded Corners 557">
            <a:extLst>
              <a:ext uri="{FF2B5EF4-FFF2-40B4-BE49-F238E27FC236}">
                <a16:creationId xmlns:a16="http://schemas.microsoft.com/office/drawing/2014/main" id="{6630BD1B-0D4D-21A4-8D91-160C053847AF}"/>
              </a:ext>
            </a:extLst>
          </p:cNvPr>
          <p:cNvSpPr/>
          <p:nvPr/>
        </p:nvSpPr>
        <p:spPr>
          <a:xfrm>
            <a:off x="5940144" y="1755366"/>
            <a:ext cx="5855023" cy="2042242"/>
          </a:xfrm>
          <a:prstGeom prst="roundRect">
            <a:avLst>
              <a:gd name="adj" fmla="val 13576"/>
            </a:avLst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2D5E7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288000" rIns="91440" bIns="4572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Many factors, including patient and disease characteristics and prior therapies, </a:t>
            </a:r>
            <a:b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hould be considered during the treatment journey</a:t>
            </a:r>
            <a:endParaRPr kumimoji="0" lang="en-GB" sz="1800" b="1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Calibri"/>
            </a:endParaRPr>
          </a:p>
        </p:txBody>
      </p:sp>
      <p:sp>
        <p:nvSpPr>
          <p:cNvPr id="382" name="Parallelogram 381">
            <a:extLst>
              <a:ext uri="{FF2B5EF4-FFF2-40B4-BE49-F238E27FC236}">
                <a16:creationId xmlns:a16="http://schemas.microsoft.com/office/drawing/2014/main" id="{9D27358C-DAA2-7936-0E7D-81CE6E1E0835}"/>
              </a:ext>
            </a:extLst>
          </p:cNvPr>
          <p:cNvSpPr/>
          <p:nvPr/>
        </p:nvSpPr>
        <p:spPr>
          <a:xfrm flipV="1">
            <a:off x="5463632" y="3495143"/>
            <a:ext cx="376282" cy="339358"/>
          </a:xfrm>
          <a:prstGeom prst="parallelogram">
            <a:avLst>
              <a:gd name="adj" fmla="val 52393"/>
            </a:avLst>
          </a:prstGeom>
          <a:solidFill>
            <a:srgbClr val="2C5E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83" name="Parallelogram 382">
            <a:extLst>
              <a:ext uri="{FF2B5EF4-FFF2-40B4-BE49-F238E27FC236}">
                <a16:creationId xmlns:a16="http://schemas.microsoft.com/office/drawing/2014/main" id="{72289D83-7D85-6BAD-6C07-7C6FB2209C9F}"/>
              </a:ext>
            </a:extLst>
          </p:cNvPr>
          <p:cNvSpPr/>
          <p:nvPr/>
        </p:nvSpPr>
        <p:spPr>
          <a:xfrm>
            <a:off x="5463632" y="3829863"/>
            <a:ext cx="376282" cy="329853"/>
          </a:xfrm>
          <a:prstGeom prst="parallelogram">
            <a:avLst>
              <a:gd name="adj" fmla="val 52393"/>
            </a:avLst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10" name="Arrow: Left-Right 509">
            <a:extLst>
              <a:ext uri="{FF2B5EF4-FFF2-40B4-BE49-F238E27FC236}">
                <a16:creationId xmlns:a16="http://schemas.microsoft.com/office/drawing/2014/main" id="{187CA34E-E95A-AE06-F42D-3CD32F71AAE5}"/>
              </a:ext>
            </a:extLst>
          </p:cNvPr>
          <p:cNvSpPr/>
          <p:nvPr/>
        </p:nvSpPr>
        <p:spPr>
          <a:xfrm>
            <a:off x="7468405" y="4726209"/>
            <a:ext cx="652062" cy="361166"/>
          </a:xfrm>
          <a:prstGeom prst="leftRightArrow">
            <a:avLst/>
          </a:prstGeom>
          <a:solidFill>
            <a:srgbClr val="4CA1A6"/>
          </a:solidFill>
          <a:ln>
            <a:solidFill>
              <a:srgbClr val="4CA1A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 fontScale="40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11" name="Content Placeholder 2">
            <a:extLst>
              <a:ext uri="{FF2B5EF4-FFF2-40B4-BE49-F238E27FC236}">
                <a16:creationId xmlns:a16="http://schemas.microsoft.com/office/drawing/2014/main" id="{A5C4EB49-D273-B0DD-DB5B-705803161143}"/>
              </a:ext>
            </a:extLst>
          </p:cNvPr>
          <p:cNvSpPr txBox="1">
            <a:spLocks/>
          </p:cNvSpPr>
          <p:nvPr/>
        </p:nvSpPr>
        <p:spPr>
          <a:xfrm>
            <a:off x="5867542" y="5456551"/>
            <a:ext cx="1866900" cy="4123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Calibri" panose="020F0502020204030204"/>
              </a:rPr>
              <a:t>More choice</a:t>
            </a:r>
          </a:p>
        </p:txBody>
      </p:sp>
      <p:sp>
        <p:nvSpPr>
          <p:cNvPr id="512" name="Content Placeholder 2">
            <a:extLst>
              <a:ext uri="{FF2B5EF4-FFF2-40B4-BE49-F238E27FC236}">
                <a16:creationId xmlns:a16="http://schemas.microsoft.com/office/drawing/2014/main" id="{DDAA19B5-1138-B454-D74C-02E835CA5B06}"/>
              </a:ext>
            </a:extLst>
          </p:cNvPr>
          <p:cNvSpPr txBox="1">
            <a:spLocks/>
          </p:cNvSpPr>
          <p:nvPr/>
        </p:nvSpPr>
        <p:spPr>
          <a:xfrm>
            <a:off x="7739195" y="5456551"/>
            <a:ext cx="2047609" cy="32159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Calibri" panose="020F0502020204030204"/>
              </a:rPr>
              <a:t>More treatment </a:t>
            </a:r>
            <a:b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Calibri" panose="020F0502020204030204"/>
              </a:rPr>
            </a:b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Calibri" panose="020F0502020204030204"/>
              </a:rPr>
              <a:t>options</a:t>
            </a:r>
          </a:p>
        </p:txBody>
      </p:sp>
      <p:sp>
        <p:nvSpPr>
          <p:cNvPr id="513" name="Arrow: Left-Right 512">
            <a:extLst>
              <a:ext uri="{FF2B5EF4-FFF2-40B4-BE49-F238E27FC236}">
                <a16:creationId xmlns:a16="http://schemas.microsoft.com/office/drawing/2014/main" id="{40BC5506-3867-7601-E1E5-5028FE3AFCB3}"/>
              </a:ext>
            </a:extLst>
          </p:cNvPr>
          <p:cNvSpPr/>
          <p:nvPr/>
        </p:nvSpPr>
        <p:spPr>
          <a:xfrm>
            <a:off x="9436063" y="4726209"/>
            <a:ext cx="652062" cy="361166"/>
          </a:xfrm>
          <a:prstGeom prst="leftRightArrow">
            <a:avLst/>
          </a:prstGeom>
          <a:solidFill>
            <a:srgbClr val="F15A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14" name="Content Placeholder 2">
            <a:extLst>
              <a:ext uri="{FF2B5EF4-FFF2-40B4-BE49-F238E27FC236}">
                <a16:creationId xmlns:a16="http://schemas.microsoft.com/office/drawing/2014/main" id="{77FEFF10-62AD-9BE8-72EE-F6EE9DFCA99C}"/>
              </a:ext>
            </a:extLst>
          </p:cNvPr>
          <p:cNvSpPr txBox="1">
            <a:spLocks/>
          </p:cNvSpPr>
          <p:nvPr/>
        </p:nvSpPr>
        <p:spPr>
          <a:xfrm>
            <a:off x="9798168" y="5456551"/>
            <a:ext cx="1895032" cy="4123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Calibri" panose="020F0502020204030204"/>
              </a:rPr>
              <a:t>More challenging to </a:t>
            </a:r>
            <a:b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Calibri" panose="020F0502020204030204"/>
              </a:rPr>
            </a:b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Calibri" panose="020F0502020204030204"/>
              </a:rPr>
              <a:t>manage </a:t>
            </a: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Calibri"/>
                <a:cs typeface="Calibri"/>
              </a:rPr>
              <a:t>R/R DLBCL </a:t>
            </a:r>
            <a:endParaRPr kumimoji="0" lang="en-GB" sz="1600" b="1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Calibri" panose="020F0502020204030204"/>
            </a:endParaRPr>
          </a:p>
        </p:txBody>
      </p:sp>
      <p:sp>
        <p:nvSpPr>
          <p:cNvPr id="515" name="Rectangle: Rounded Corners 14">
            <a:extLst>
              <a:ext uri="{FF2B5EF4-FFF2-40B4-BE49-F238E27FC236}">
                <a16:creationId xmlns:a16="http://schemas.microsoft.com/office/drawing/2014/main" id="{2254EF48-881E-94BF-436B-239F15E629C1}"/>
              </a:ext>
            </a:extLst>
          </p:cNvPr>
          <p:cNvSpPr>
            <a:spLocks noChangeAspect="1"/>
          </p:cNvSpPr>
          <p:nvPr/>
        </p:nvSpPr>
        <p:spPr bwMode="auto">
          <a:xfrm rot="7346324">
            <a:off x="8714813" y="4702807"/>
            <a:ext cx="255354" cy="103940"/>
          </a:xfrm>
          <a:prstGeom prst="roundRect">
            <a:avLst>
              <a:gd name="adj" fmla="val 50000"/>
            </a:avLst>
          </a:prstGeom>
          <a:noFill/>
          <a:ln w="12700" cap="rnd" cmpd="sng" algn="ctr">
            <a:solidFill>
              <a:schemeClr val="accent6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16" name="Freeform: Shape 153">
            <a:extLst>
              <a:ext uri="{FF2B5EF4-FFF2-40B4-BE49-F238E27FC236}">
                <a16:creationId xmlns:a16="http://schemas.microsoft.com/office/drawing/2014/main" id="{D982FDDC-41BC-D1EB-7DE9-C041A76C1512}"/>
              </a:ext>
            </a:extLst>
          </p:cNvPr>
          <p:cNvSpPr>
            <a:spLocks noChangeAspect="1"/>
          </p:cNvSpPr>
          <p:nvPr/>
        </p:nvSpPr>
        <p:spPr bwMode="auto">
          <a:xfrm rot="7346324">
            <a:off x="8744198" y="4756301"/>
            <a:ext cx="128586" cy="103940"/>
          </a:xfrm>
          <a:custGeom>
            <a:avLst/>
            <a:gdLst>
              <a:gd name="connsiteX0" fmla="*/ 128586 w 128586"/>
              <a:gd name="connsiteY0" fmla="*/ 51970 h 103940"/>
              <a:gd name="connsiteX1" fmla="*/ 76616 w 128586"/>
              <a:gd name="connsiteY1" fmla="*/ 103940 h 103940"/>
              <a:gd name="connsiteX2" fmla="*/ 0 w 128586"/>
              <a:gd name="connsiteY2" fmla="*/ 103940 h 103940"/>
              <a:gd name="connsiteX3" fmla="*/ 0 w 128586"/>
              <a:gd name="connsiteY3" fmla="*/ 0 h 103940"/>
              <a:gd name="connsiteX4" fmla="*/ 76616 w 128586"/>
              <a:gd name="connsiteY4" fmla="*/ 0 h 103940"/>
              <a:gd name="connsiteX5" fmla="*/ 128586 w 128586"/>
              <a:gd name="connsiteY5" fmla="*/ 51970 h 103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8586" h="103940">
                <a:moveTo>
                  <a:pt x="128586" y="51970"/>
                </a:moveTo>
                <a:cubicBezTo>
                  <a:pt x="128586" y="80672"/>
                  <a:pt x="105318" y="103940"/>
                  <a:pt x="76616" y="103940"/>
                </a:cubicBezTo>
                <a:lnTo>
                  <a:pt x="0" y="103940"/>
                </a:lnTo>
                <a:lnTo>
                  <a:pt x="0" y="0"/>
                </a:lnTo>
                <a:lnTo>
                  <a:pt x="76616" y="0"/>
                </a:lnTo>
                <a:cubicBezTo>
                  <a:pt x="105318" y="0"/>
                  <a:pt x="128586" y="23268"/>
                  <a:pt x="128586" y="51970"/>
                </a:cubicBezTo>
                <a:close/>
              </a:path>
            </a:pathLst>
          </a:custGeom>
          <a:solidFill>
            <a:schemeClr val="bg1"/>
          </a:solidFill>
          <a:ln w="12700" cap="rnd" cmpd="sng" algn="ctr">
            <a:solidFill>
              <a:schemeClr val="accent6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17" name="Freeform: Shape 606">
            <a:extLst>
              <a:ext uri="{FF2B5EF4-FFF2-40B4-BE49-F238E27FC236}">
                <a16:creationId xmlns:a16="http://schemas.microsoft.com/office/drawing/2014/main" id="{5475BA3C-D22D-DA6C-7F03-AABFD1BC963E}"/>
              </a:ext>
            </a:extLst>
          </p:cNvPr>
          <p:cNvSpPr/>
          <p:nvPr/>
        </p:nvSpPr>
        <p:spPr>
          <a:xfrm>
            <a:off x="8942153" y="4883637"/>
            <a:ext cx="191254" cy="302847"/>
          </a:xfrm>
          <a:custGeom>
            <a:avLst/>
            <a:gdLst>
              <a:gd name="connsiteX0" fmla="*/ 112712 w 676274"/>
              <a:gd name="connsiteY0" fmla="*/ 0 h 1070868"/>
              <a:gd name="connsiteX1" fmla="*/ 563562 w 676274"/>
              <a:gd name="connsiteY1" fmla="*/ 0 h 1070868"/>
              <a:gd name="connsiteX2" fmla="*/ 563562 w 676274"/>
              <a:gd name="connsiteY2" fmla="*/ 112564 h 1070868"/>
              <a:gd name="connsiteX3" fmla="*/ 567364 w 676274"/>
              <a:gd name="connsiteY3" fmla="*/ 113332 h 1070868"/>
              <a:gd name="connsiteX4" fmla="*/ 676274 w 676274"/>
              <a:gd name="connsiteY4" fmla="*/ 277638 h 1070868"/>
              <a:gd name="connsiteX5" fmla="*/ 676274 w 676274"/>
              <a:gd name="connsiteY5" fmla="*/ 662006 h 1070868"/>
              <a:gd name="connsiteX6" fmla="*/ 676132 w 676274"/>
              <a:gd name="connsiteY6" fmla="*/ 662709 h 1070868"/>
              <a:gd name="connsiteX7" fmla="*/ 676274 w 676274"/>
              <a:gd name="connsiteY7" fmla="*/ 663411 h 1070868"/>
              <a:gd name="connsiteX8" fmla="*/ 676274 w 676274"/>
              <a:gd name="connsiteY8" fmla="*/ 989375 h 1070868"/>
              <a:gd name="connsiteX9" fmla="*/ 594781 w 676274"/>
              <a:gd name="connsiteY9" fmla="*/ 1070868 h 1070868"/>
              <a:gd name="connsiteX10" fmla="*/ 81493 w 676274"/>
              <a:gd name="connsiteY10" fmla="*/ 1070868 h 1070868"/>
              <a:gd name="connsiteX11" fmla="*/ 0 w 676274"/>
              <a:gd name="connsiteY11" fmla="*/ 989375 h 1070868"/>
              <a:gd name="connsiteX12" fmla="*/ 0 w 676274"/>
              <a:gd name="connsiteY12" fmla="*/ 663411 h 1070868"/>
              <a:gd name="connsiteX13" fmla="*/ 142 w 676274"/>
              <a:gd name="connsiteY13" fmla="*/ 662709 h 1070868"/>
              <a:gd name="connsiteX14" fmla="*/ 0 w 676274"/>
              <a:gd name="connsiteY14" fmla="*/ 662006 h 1070868"/>
              <a:gd name="connsiteX15" fmla="*/ 0 w 676274"/>
              <a:gd name="connsiteY15" fmla="*/ 277638 h 1070868"/>
              <a:gd name="connsiteX16" fmla="*/ 108910 w 676274"/>
              <a:gd name="connsiteY16" fmla="*/ 113332 h 1070868"/>
              <a:gd name="connsiteX17" fmla="*/ 112712 w 676274"/>
              <a:gd name="connsiteY17" fmla="*/ 112564 h 10708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676274" h="1070868">
                <a:moveTo>
                  <a:pt x="112712" y="0"/>
                </a:moveTo>
                <a:lnTo>
                  <a:pt x="563562" y="0"/>
                </a:lnTo>
                <a:lnTo>
                  <a:pt x="563562" y="112564"/>
                </a:lnTo>
                <a:lnTo>
                  <a:pt x="567364" y="113332"/>
                </a:lnTo>
                <a:cubicBezTo>
                  <a:pt x="631366" y="140402"/>
                  <a:pt x="676274" y="203776"/>
                  <a:pt x="676274" y="277638"/>
                </a:cubicBezTo>
                <a:lnTo>
                  <a:pt x="676274" y="662006"/>
                </a:lnTo>
                <a:lnTo>
                  <a:pt x="676132" y="662709"/>
                </a:lnTo>
                <a:lnTo>
                  <a:pt x="676274" y="663411"/>
                </a:lnTo>
                <a:lnTo>
                  <a:pt x="676274" y="989375"/>
                </a:lnTo>
                <a:cubicBezTo>
                  <a:pt x="676274" y="1034382"/>
                  <a:pt x="639788" y="1070868"/>
                  <a:pt x="594781" y="1070868"/>
                </a:cubicBezTo>
                <a:lnTo>
                  <a:pt x="81493" y="1070868"/>
                </a:lnTo>
                <a:cubicBezTo>
                  <a:pt x="36486" y="1070868"/>
                  <a:pt x="0" y="1034382"/>
                  <a:pt x="0" y="989375"/>
                </a:cubicBezTo>
                <a:lnTo>
                  <a:pt x="0" y="663411"/>
                </a:lnTo>
                <a:lnTo>
                  <a:pt x="142" y="662709"/>
                </a:lnTo>
                <a:lnTo>
                  <a:pt x="0" y="662006"/>
                </a:lnTo>
                <a:lnTo>
                  <a:pt x="0" y="277638"/>
                </a:lnTo>
                <a:cubicBezTo>
                  <a:pt x="0" y="203776"/>
                  <a:pt x="44908" y="140402"/>
                  <a:pt x="108910" y="113332"/>
                </a:cubicBezTo>
                <a:lnTo>
                  <a:pt x="112712" y="112564"/>
                </a:lnTo>
                <a:close/>
              </a:path>
            </a:pathLst>
          </a:custGeom>
          <a:noFill/>
          <a:ln w="12700" cap="rnd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18" name="Rectangle: Rounded Corners 517">
            <a:extLst>
              <a:ext uri="{FF2B5EF4-FFF2-40B4-BE49-F238E27FC236}">
                <a16:creationId xmlns:a16="http://schemas.microsoft.com/office/drawing/2014/main" id="{2CDB4A69-C20E-CBC4-D85E-FCEE27498F47}"/>
              </a:ext>
            </a:extLst>
          </p:cNvPr>
          <p:cNvSpPr/>
          <p:nvPr/>
        </p:nvSpPr>
        <p:spPr>
          <a:xfrm>
            <a:off x="8951581" y="4831138"/>
            <a:ext cx="172398" cy="52499"/>
          </a:xfrm>
          <a:prstGeom prst="roundRect">
            <a:avLst>
              <a:gd name="adj" fmla="val 37191"/>
            </a:avLst>
          </a:prstGeom>
          <a:noFill/>
          <a:ln w="12700" cap="rnd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19" name="Freeform: Shape 609">
            <a:extLst>
              <a:ext uri="{FF2B5EF4-FFF2-40B4-BE49-F238E27FC236}">
                <a16:creationId xmlns:a16="http://schemas.microsoft.com/office/drawing/2014/main" id="{B7252EA0-5215-B733-323F-4A97BAC1F899}"/>
              </a:ext>
            </a:extLst>
          </p:cNvPr>
          <p:cNvSpPr/>
          <p:nvPr/>
        </p:nvSpPr>
        <p:spPr>
          <a:xfrm>
            <a:off x="8942153" y="4962156"/>
            <a:ext cx="191254" cy="224329"/>
          </a:xfrm>
          <a:custGeom>
            <a:avLst/>
            <a:gdLst>
              <a:gd name="connsiteX0" fmla="*/ 112712 w 676274"/>
              <a:gd name="connsiteY0" fmla="*/ 0 h 1070868"/>
              <a:gd name="connsiteX1" fmla="*/ 563562 w 676274"/>
              <a:gd name="connsiteY1" fmla="*/ 0 h 1070868"/>
              <a:gd name="connsiteX2" fmla="*/ 563562 w 676274"/>
              <a:gd name="connsiteY2" fmla="*/ 112564 h 1070868"/>
              <a:gd name="connsiteX3" fmla="*/ 567364 w 676274"/>
              <a:gd name="connsiteY3" fmla="*/ 113332 h 1070868"/>
              <a:gd name="connsiteX4" fmla="*/ 676274 w 676274"/>
              <a:gd name="connsiteY4" fmla="*/ 277638 h 1070868"/>
              <a:gd name="connsiteX5" fmla="*/ 676274 w 676274"/>
              <a:gd name="connsiteY5" fmla="*/ 662006 h 1070868"/>
              <a:gd name="connsiteX6" fmla="*/ 676132 w 676274"/>
              <a:gd name="connsiteY6" fmla="*/ 662709 h 1070868"/>
              <a:gd name="connsiteX7" fmla="*/ 676274 w 676274"/>
              <a:gd name="connsiteY7" fmla="*/ 663411 h 1070868"/>
              <a:gd name="connsiteX8" fmla="*/ 676274 w 676274"/>
              <a:gd name="connsiteY8" fmla="*/ 989375 h 1070868"/>
              <a:gd name="connsiteX9" fmla="*/ 594781 w 676274"/>
              <a:gd name="connsiteY9" fmla="*/ 1070868 h 1070868"/>
              <a:gd name="connsiteX10" fmla="*/ 81493 w 676274"/>
              <a:gd name="connsiteY10" fmla="*/ 1070868 h 1070868"/>
              <a:gd name="connsiteX11" fmla="*/ 0 w 676274"/>
              <a:gd name="connsiteY11" fmla="*/ 989375 h 1070868"/>
              <a:gd name="connsiteX12" fmla="*/ 0 w 676274"/>
              <a:gd name="connsiteY12" fmla="*/ 663411 h 1070868"/>
              <a:gd name="connsiteX13" fmla="*/ 142 w 676274"/>
              <a:gd name="connsiteY13" fmla="*/ 662709 h 1070868"/>
              <a:gd name="connsiteX14" fmla="*/ 0 w 676274"/>
              <a:gd name="connsiteY14" fmla="*/ 662006 h 1070868"/>
              <a:gd name="connsiteX15" fmla="*/ 0 w 676274"/>
              <a:gd name="connsiteY15" fmla="*/ 277638 h 1070868"/>
              <a:gd name="connsiteX16" fmla="*/ 108910 w 676274"/>
              <a:gd name="connsiteY16" fmla="*/ 113332 h 1070868"/>
              <a:gd name="connsiteX17" fmla="*/ 112712 w 676274"/>
              <a:gd name="connsiteY17" fmla="*/ 112564 h 1070868"/>
              <a:gd name="connsiteX0" fmla="*/ 112712 w 676274"/>
              <a:gd name="connsiteY0" fmla="*/ 0 h 1070868"/>
              <a:gd name="connsiteX1" fmla="*/ 563562 w 676274"/>
              <a:gd name="connsiteY1" fmla="*/ 0 h 1070868"/>
              <a:gd name="connsiteX2" fmla="*/ 563562 w 676274"/>
              <a:gd name="connsiteY2" fmla="*/ 112564 h 1070868"/>
              <a:gd name="connsiteX3" fmla="*/ 567364 w 676274"/>
              <a:gd name="connsiteY3" fmla="*/ 113332 h 1070868"/>
              <a:gd name="connsiteX4" fmla="*/ 676274 w 676274"/>
              <a:gd name="connsiteY4" fmla="*/ 277638 h 1070868"/>
              <a:gd name="connsiteX5" fmla="*/ 676274 w 676274"/>
              <a:gd name="connsiteY5" fmla="*/ 662006 h 1070868"/>
              <a:gd name="connsiteX6" fmla="*/ 676132 w 676274"/>
              <a:gd name="connsiteY6" fmla="*/ 662709 h 1070868"/>
              <a:gd name="connsiteX7" fmla="*/ 676274 w 676274"/>
              <a:gd name="connsiteY7" fmla="*/ 663411 h 1070868"/>
              <a:gd name="connsiteX8" fmla="*/ 676274 w 676274"/>
              <a:gd name="connsiteY8" fmla="*/ 989375 h 1070868"/>
              <a:gd name="connsiteX9" fmla="*/ 594781 w 676274"/>
              <a:gd name="connsiteY9" fmla="*/ 1070868 h 1070868"/>
              <a:gd name="connsiteX10" fmla="*/ 81493 w 676274"/>
              <a:gd name="connsiteY10" fmla="*/ 1070868 h 1070868"/>
              <a:gd name="connsiteX11" fmla="*/ 0 w 676274"/>
              <a:gd name="connsiteY11" fmla="*/ 989375 h 1070868"/>
              <a:gd name="connsiteX12" fmla="*/ 0 w 676274"/>
              <a:gd name="connsiteY12" fmla="*/ 663411 h 1070868"/>
              <a:gd name="connsiteX13" fmla="*/ 142 w 676274"/>
              <a:gd name="connsiteY13" fmla="*/ 662709 h 1070868"/>
              <a:gd name="connsiteX14" fmla="*/ 0 w 676274"/>
              <a:gd name="connsiteY14" fmla="*/ 662006 h 1070868"/>
              <a:gd name="connsiteX15" fmla="*/ 0 w 676274"/>
              <a:gd name="connsiteY15" fmla="*/ 277638 h 1070868"/>
              <a:gd name="connsiteX16" fmla="*/ 108910 w 676274"/>
              <a:gd name="connsiteY16" fmla="*/ 113332 h 1070868"/>
              <a:gd name="connsiteX17" fmla="*/ 112712 w 676274"/>
              <a:gd name="connsiteY17" fmla="*/ 0 h 1070868"/>
              <a:gd name="connsiteX0" fmla="*/ 108910 w 676274"/>
              <a:gd name="connsiteY0" fmla="*/ 113332 h 1070868"/>
              <a:gd name="connsiteX1" fmla="*/ 563562 w 676274"/>
              <a:gd name="connsiteY1" fmla="*/ 0 h 1070868"/>
              <a:gd name="connsiteX2" fmla="*/ 563562 w 676274"/>
              <a:gd name="connsiteY2" fmla="*/ 112564 h 1070868"/>
              <a:gd name="connsiteX3" fmla="*/ 567364 w 676274"/>
              <a:gd name="connsiteY3" fmla="*/ 113332 h 1070868"/>
              <a:gd name="connsiteX4" fmla="*/ 676274 w 676274"/>
              <a:gd name="connsiteY4" fmla="*/ 277638 h 1070868"/>
              <a:gd name="connsiteX5" fmla="*/ 676274 w 676274"/>
              <a:gd name="connsiteY5" fmla="*/ 662006 h 1070868"/>
              <a:gd name="connsiteX6" fmla="*/ 676132 w 676274"/>
              <a:gd name="connsiteY6" fmla="*/ 662709 h 1070868"/>
              <a:gd name="connsiteX7" fmla="*/ 676274 w 676274"/>
              <a:gd name="connsiteY7" fmla="*/ 663411 h 1070868"/>
              <a:gd name="connsiteX8" fmla="*/ 676274 w 676274"/>
              <a:gd name="connsiteY8" fmla="*/ 989375 h 1070868"/>
              <a:gd name="connsiteX9" fmla="*/ 594781 w 676274"/>
              <a:gd name="connsiteY9" fmla="*/ 1070868 h 1070868"/>
              <a:gd name="connsiteX10" fmla="*/ 81493 w 676274"/>
              <a:gd name="connsiteY10" fmla="*/ 1070868 h 1070868"/>
              <a:gd name="connsiteX11" fmla="*/ 0 w 676274"/>
              <a:gd name="connsiteY11" fmla="*/ 989375 h 1070868"/>
              <a:gd name="connsiteX12" fmla="*/ 0 w 676274"/>
              <a:gd name="connsiteY12" fmla="*/ 663411 h 1070868"/>
              <a:gd name="connsiteX13" fmla="*/ 142 w 676274"/>
              <a:gd name="connsiteY13" fmla="*/ 662709 h 1070868"/>
              <a:gd name="connsiteX14" fmla="*/ 0 w 676274"/>
              <a:gd name="connsiteY14" fmla="*/ 662006 h 1070868"/>
              <a:gd name="connsiteX15" fmla="*/ 0 w 676274"/>
              <a:gd name="connsiteY15" fmla="*/ 277638 h 1070868"/>
              <a:gd name="connsiteX16" fmla="*/ 108910 w 676274"/>
              <a:gd name="connsiteY16" fmla="*/ 113332 h 1070868"/>
              <a:gd name="connsiteX0" fmla="*/ 0 w 676274"/>
              <a:gd name="connsiteY0" fmla="*/ 277638 h 1070868"/>
              <a:gd name="connsiteX1" fmla="*/ 563562 w 676274"/>
              <a:gd name="connsiteY1" fmla="*/ 0 h 1070868"/>
              <a:gd name="connsiteX2" fmla="*/ 563562 w 676274"/>
              <a:gd name="connsiteY2" fmla="*/ 112564 h 1070868"/>
              <a:gd name="connsiteX3" fmla="*/ 567364 w 676274"/>
              <a:gd name="connsiteY3" fmla="*/ 113332 h 1070868"/>
              <a:gd name="connsiteX4" fmla="*/ 676274 w 676274"/>
              <a:gd name="connsiteY4" fmla="*/ 277638 h 1070868"/>
              <a:gd name="connsiteX5" fmla="*/ 676274 w 676274"/>
              <a:gd name="connsiteY5" fmla="*/ 662006 h 1070868"/>
              <a:gd name="connsiteX6" fmla="*/ 676132 w 676274"/>
              <a:gd name="connsiteY6" fmla="*/ 662709 h 1070868"/>
              <a:gd name="connsiteX7" fmla="*/ 676274 w 676274"/>
              <a:gd name="connsiteY7" fmla="*/ 663411 h 1070868"/>
              <a:gd name="connsiteX8" fmla="*/ 676274 w 676274"/>
              <a:gd name="connsiteY8" fmla="*/ 989375 h 1070868"/>
              <a:gd name="connsiteX9" fmla="*/ 594781 w 676274"/>
              <a:gd name="connsiteY9" fmla="*/ 1070868 h 1070868"/>
              <a:gd name="connsiteX10" fmla="*/ 81493 w 676274"/>
              <a:gd name="connsiteY10" fmla="*/ 1070868 h 1070868"/>
              <a:gd name="connsiteX11" fmla="*/ 0 w 676274"/>
              <a:gd name="connsiteY11" fmla="*/ 989375 h 1070868"/>
              <a:gd name="connsiteX12" fmla="*/ 0 w 676274"/>
              <a:gd name="connsiteY12" fmla="*/ 663411 h 1070868"/>
              <a:gd name="connsiteX13" fmla="*/ 142 w 676274"/>
              <a:gd name="connsiteY13" fmla="*/ 662709 h 1070868"/>
              <a:gd name="connsiteX14" fmla="*/ 0 w 676274"/>
              <a:gd name="connsiteY14" fmla="*/ 662006 h 1070868"/>
              <a:gd name="connsiteX15" fmla="*/ 0 w 676274"/>
              <a:gd name="connsiteY15" fmla="*/ 277638 h 1070868"/>
              <a:gd name="connsiteX0" fmla="*/ 0 w 676274"/>
              <a:gd name="connsiteY0" fmla="*/ 165073 h 958303"/>
              <a:gd name="connsiteX1" fmla="*/ 563562 w 676274"/>
              <a:gd name="connsiteY1" fmla="*/ -1 h 958303"/>
              <a:gd name="connsiteX2" fmla="*/ 567364 w 676274"/>
              <a:gd name="connsiteY2" fmla="*/ 767 h 958303"/>
              <a:gd name="connsiteX3" fmla="*/ 676274 w 676274"/>
              <a:gd name="connsiteY3" fmla="*/ 165073 h 958303"/>
              <a:gd name="connsiteX4" fmla="*/ 676274 w 676274"/>
              <a:gd name="connsiteY4" fmla="*/ 549441 h 958303"/>
              <a:gd name="connsiteX5" fmla="*/ 676132 w 676274"/>
              <a:gd name="connsiteY5" fmla="*/ 550144 h 958303"/>
              <a:gd name="connsiteX6" fmla="*/ 676274 w 676274"/>
              <a:gd name="connsiteY6" fmla="*/ 550846 h 958303"/>
              <a:gd name="connsiteX7" fmla="*/ 676274 w 676274"/>
              <a:gd name="connsiteY7" fmla="*/ 876810 h 958303"/>
              <a:gd name="connsiteX8" fmla="*/ 594781 w 676274"/>
              <a:gd name="connsiteY8" fmla="*/ 958303 h 958303"/>
              <a:gd name="connsiteX9" fmla="*/ 81493 w 676274"/>
              <a:gd name="connsiteY9" fmla="*/ 958303 h 958303"/>
              <a:gd name="connsiteX10" fmla="*/ 0 w 676274"/>
              <a:gd name="connsiteY10" fmla="*/ 876810 h 958303"/>
              <a:gd name="connsiteX11" fmla="*/ 0 w 676274"/>
              <a:gd name="connsiteY11" fmla="*/ 550846 h 958303"/>
              <a:gd name="connsiteX12" fmla="*/ 142 w 676274"/>
              <a:gd name="connsiteY12" fmla="*/ 550144 h 958303"/>
              <a:gd name="connsiteX13" fmla="*/ 0 w 676274"/>
              <a:gd name="connsiteY13" fmla="*/ 549441 h 958303"/>
              <a:gd name="connsiteX14" fmla="*/ 0 w 676274"/>
              <a:gd name="connsiteY14" fmla="*/ 165073 h 958303"/>
              <a:gd name="connsiteX0" fmla="*/ 0 w 676274"/>
              <a:gd name="connsiteY0" fmla="*/ 165073 h 958303"/>
              <a:gd name="connsiteX1" fmla="*/ 563562 w 676274"/>
              <a:gd name="connsiteY1" fmla="*/ -1 h 958303"/>
              <a:gd name="connsiteX2" fmla="*/ 676274 w 676274"/>
              <a:gd name="connsiteY2" fmla="*/ 165073 h 958303"/>
              <a:gd name="connsiteX3" fmla="*/ 676274 w 676274"/>
              <a:gd name="connsiteY3" fmla="*/ 549441 h 958303"/>
              <a:gd name="connsiteX4" fmla="*/ 676132 w 676274"/>
              <a:gd name="connsiteY4" fmla="*/ 550144 h 958303"/>
              <a:gd name="connsiteX5" fmla="*/ 676274 w 676274"/>
              <a:gd name="connsiteY5" fmla="*/ 550846 h 958303"/>
              <a:gd name="connsiteX6" fmla="*/ 676274 w 676274"/>
              <a:gd name="connsiteY6" fmla="*/ 876810 h 958303"/>
              <a:gd name="connsiteX7" fmla="*/ 594781 w 676274"/>
              <a:gd name="connsiteY7" fmla="*/ 958303 h 958303"/>
              <a:gd name="connsiteX8" fmla="*/ 81493 w 676274"/>
              <a:gd name="connsiteY8" fmla="*/ 958303 h 958303"/>
              <a:gd name="connsiteX9" fmla="*/ 0 w 676274"/>
              <a:gd name="connsiteY9" fmla="*/ 876810 h 958303"/>
              <a:gd name="connsiteX10" fmla="*/ 0 w 676274"/>
              <a:gd name="connsiteY10" fmla="*/ 550846 h 958303"/>
              <a:gd name="connsiteX11" fmla="*/ 142 w 676274"/>
              <a:gd name="connsiteY11" fmla="*/ 550144 h 958303"/>
              <a:gd name="connsiteX12" fmla="*/ 0 w 676274"/>
              <a:gd name="connsiteY12" fmla="*/ 549441 h 958303"/>
              <a:gd name="connsiteX13" fmla="*/ 0 w 676274"/>
              <a:gd name="connsiteY13" fmla="*/ 165073 h 958303"/>
              <a:gd name="connsiteX0" fmla="*/ 0 w 676274"/>
              <a:gd name="connsiteY0" fmla="*/ 165073 h 958303"/>
              <a:gd name="connsiteX1" fmla="*/ 563562 w 676274"/>
              <a:gd name="connsiteY1" fmla="*/ -1 h 958303"/>
              <a:gd name="connsiteX2" fmla="*/ 676274 w 676274"/>
              <a:gd name="connsiteY2" fmla="*/ 549441 h 958303"/>
              <a:gd name="connsiteX3" fmla="*/ 676132 w 676274"/>
              <a:gd name="connsiteY3" fmla="*/ 550144 h 958303"/>
              <a:gd name="connsiteX4" fmla="*/ 676274 w 676274"/>
              <a:gd name="connsiteY4" fmla="*/ 550846 h 958303"/>
              <a:gd name="connsiteX5" fmla="*/ 676274 w 676274"/>
              <a:gd name="connsiteY5" fmla="*/ 876810 h 958303"/>
              <a:gd name="connsiteX6" fmla="*/ 594781 w 676274"/>
              <a:gd name="connsiteY6" fmla="*/ 958303 h 958303"/>
              <a:gd name="connsiteX7" fmla="*/ 81493 w 676274"/>
              <a:gd name="connsiteY7" fmla="*/ 958303 h 958303"/>
              <a:gd name="connsiteX8" fmla="*/ 0 w 676274"/>
              <a:gd name="connsiteY8" fmla="*/ 876810 h 958303"/>
              <a:gd name="connsiteX9" fmla="*/ 0 w 676274"/>
              <a:gd name="connsiteY9" fmla="*/ 550846 h 958303"/>
              <a:gd name="connsiteX10" fmla="*/ 142 w 676274"/>
              <a:gd name="connsiteY10" fmla="*/ 550144 h 958303"/>
              <a:gd name="connsiteX11" fmla="*/ 0 w 676274"/>
              <a:gd name="connsiteY11" fmla="*/ 549441 h 958303"/>
              <a:gd name="connsiteX12" fmla="*/ 0 w 676274"/>
              <a:gd name="connsiteY12" fmla="*/ 165073 h 958303"/>
              <a:gd name="connsiteX0" fmla="*/ 0 w 676274"/>
              <a:gd name="connsiteY0" fmla="*/ 2 h 793232"/>
              <a:gd name="connsiteX1" fmla="*/ 676274 w 676274"/>
              <a:gd name="connsiteY1" fmla="*/ 384370 h 793232"/>
              <a:gd name="connsiteX2" fmla="*/ 676132 w 676274"/>
              <a:gd name="connsiteY2" fmla="*/ 385073 h 793232"/>
              <a:gd name="connsiteX3" fmla="*/ 676274 w 676274"/>
              <a:gd name="connsiteY3" fmla="*/ 385775 h 793232"/>
              <a:gd name="connsiteX4" fmla="*/ 676274 w 676274"/>
              <a:gd name="connsiteY4" fmla="*/ 711739 h 793232"/>
              <a:gd name="connsiteX5" fmla="*/ 594781 w 676274"/>
              <a:gd name="connsiteY5" fmla="*/ 793232 h 793232"/>
              <a:gd name="connsiteX6" fmla="*/ 81493 w 676274"/>
              <a:gd name="connsiteY6" fmla="*/ 793232 h 793232"/>
              <a:gd name="connsiteX7" fmla="*/ 0 w 676274"/>
              <a:gd name="connsiteY7" fmla="*/ 711739 h 793232"/>
              <a:gd name="connsiteX8" fmla="*/ 0 w 676274"/>
              <a:gd name="connsiteY8" fmla="*/ 385775 h 793232"/>
              <a:gd name="connsiteX9" fmla="*/ 142 w 676274"/>
              <a:gd name="connsiteY9" fmla="*/ 385073 h 793232"/>
              <a:gd name="connsiteX10" fmla="*/ 0 w 676274"/>
              <a:gd name="connsiteY10" fmla="*/ 384370 h 793232"/>
              <a:gd name="connsiteX11" fmla="*/ 0 w 676274"/>
              <a:gd name="connsiteY11" fmla="*/ 2 h 793232"/>
              <a:gd name="connsiteX0" fmla="*/ 0 w 676274"/>
              <a:gd name="connsiteY0" fmla="*/ -2 h 793228"/>
              <a:gd name="connsiteX1" fmla="*/ 676274 w 676274"/>
              <a:gd name="connsiteY1" fmla="*/ 384366 h 793228"/>
              <a:gd name="connsiteX2" fmla="*/ 676132 w 676274"/>
              <a:gd name="connsiteY2" fmla="*/ 385069 h 793228"/>
              <a:gd name="connsiteX3" fmla="*/ 676274 w 676274"/>
              <a:gd name="connsiteY3" fmla="*/ 385771 h 793228"/>
              <a:gd name="connsiteX4" fmla="*/ 676274 w 676274"/>
              <a:gd name="connsiteY4" fmla="*/ 711735 h 793228"/>
              <a:gd name="connsiteX5" fmla="*/ 594781 w 676274"/>
              <a:gd name="connsiteY5" fmla="*/ 793228 h 793228"/>
              <a:gd name="connsiteX6" fmla="*/ 81493 w 676274"/>
              <a:gd name="connsiteY6" fmla="*/ 793228 h 793228"/>
              <a:gd name="connsiteX7" fmla="*/ 0 w 676274"/>
              <a:gd name="connsiteY7" fmla="*/ 711735 h 793228"/>
              <a:gd name="connsiteX8" fmla="*/ 0 w 676274"/>
              <a:gd name="connsiteY8" fmla="*/ 385771 h 793228"/>
              <a:gd name="connsiteX9" fmla="*/ 142 w 676274"/>
              <a:gd name="connsiteY9" fmla="*/ 385069 h 793228"/>
              <a:gd name="connsiteX10" fmla="*/ 0 w 676274"/>
              <a:gd name="connsiteY10" fmla="*/ 384366 h 793228"/>
              <a:gd name="connsiteX11" fmla="*/ 0 w 676274"/>
              <a:gd name="connsiteY11" fmla="*/ -2 h 793228"/>
              <a:gd name="connsiteX0" fmla="*/ 0 w 676274"/>
              <a:gd name="connsiteY0" fmla="*/ 2 h 793232"/>
              <a:gd name="connsiteX1" fmla="*/ 676274 w 676274"/>
              <a:gd name="connsiteY1" fmla="*/ 384370 h 793232"/>
              <a:gd name="connsiteX2" fmla="*/ 676132 w 676274"/>
              <a:gd name="connsiteY2" fmla="*/ 385073 h 793232"/>
              <a:gd name="connsiteX3" fmla="*/ 676274 w 676274"/>
              <a:gd name="connsiteY3" fmla="*/ 385775 h 793232"/>
              <a:gd name="connsiteX4" fmla="*/ 676274 w 676274"/>
              <a:gd name="connsiteY4" fmla="*/ 711739 h 793232"/>
              <a:gd name="connsiteX5" fmla="*/ 594781 w 676274"/>
              <a:gd name="connsiteY5" fmla="*/ 793232 h 793232"/>
              <a:gd name="connsiteX6" fmla="*/ 81493 w 676274"/>
              <a:gd name="connsiteY6" fmla="*/ 793232 h 793232"/>
              <a:gd name="connsiteX7" fmla="*/ 0 w 676274"/>
              <a:gd name="connsiteY7" fmla="*/ 711739 h 793232"/>
              <a:gd name="connsiteX8" fmla="*/ 0 w 676274"/>
              <a:gd name="connsiteY8" fmla="*/ 385775 h 793232"/>
              <a:gd name="connsiteX9" fmla="*/ 142 w 676274"/>
              <a:gd name="connsiteY9" fmla="*/ 385073 h 793232"/>
              <a:gd name="connsiteX10" fmla="*/ 0 w 676274"/>
              <a:gd name="connsiteY10" fmla="*/ 384370 h 793232"/>
              <a:gd name="connsiteX11" fmla="*/ 0 w 676274"/>
              <a:gd name="connsiteY11" fmla="*/ 2 h 793232"/>
              <a:gd name="connsiteX0" fmla="*/ 0 w 676274"/>
              <a:gd name="connsiteY0" fmla="*/ -2 h 793228"/>
              <a:gd name="connsiteX1" fmla="*/ 676274 w 676274"/>
              <a:gd name="connsiteY1" fmla="*/ 384366 h 793228"/>
              <a:gd name="connsiteX2" fmla="*/ 676132 w 676274"/>
              <a:gd name="connsiteY2" fmla="*/ 385069 h 793228"/>
              <a:gd name="connsiteX3" fmla="*/ 676274 w 676274"/>
              <a:gd name="connsiteY3" fmla="*/ 385771 h 793228"/>
              <a:gd name="connsiteX4" fmla="*/ 676274 w 676274"/>
              <a:gd name="connsiteY4" fmla="*/ 711735 h 793228"/>
              <a:gd name="connsiteX5" fmla="*/ 594781 w 676274"/>
              <a:gd name="connsiteY5" fmla="*/ 793228 h 793228"/>
              <a:gd name="connsiteX6" fmla="*/ 81493 w 676274"/>
              <a:gd name="connsiteY6" fmla="*/ 793228 h 793228"/>
              <a:gd name="connsiteX7" fmla="*/ 0 w 676274"/>
              <a:gd name="connsiteY7" fmla="*/ 711735 h 793228"/>
              <a:gd name="connsiteX8" fmla="*/ 0 w 676274"/>
              <a:gd name="connsiteY8" fmla="*/ 385771 h 793228"/>
              <a:gd name="connsiteX9" fmla="*/ 142 w 676274"/>
              <a:gd name="connsiteY9" fmla="*/ 385069 h 793228"/>
              <a:gd name="connsiteX10" fmla="*/ 0 w 676274"/>
              <a:gd name="connsiteY10" fmla="*/ 384366 h 793228"/>
              <a:gd name="connsiteX11" fmla="*/ 0 w 676274"/>
              <a:gd name="connsiteY11" fmla="*/ -2 h 793228"/>
              <a:gd name="connsiteX0" fmla="*/ 0 w 676274"/>
              <a:gd name="connsiteY0" fmla="*/ 2 h 793232"/>
              <a:gd name="connsiteX1" fmla="*/ 676274 w 676274"/>
              <a:gd name="connsiteY1" fmla="*/ 384370 h 793232"/>
              <a:gd name="connsiteX2" fmla="*/ 676132 w 676274"/>
              <a:gd name="connsiteY2" fmla="*/ 385073 h 793232"/>
              <a:gd name="connsiteX3" fmla="*/ 676274 w 676274"/>
              <a:gd name="connsiteY3" fmla="*/ 385775 h 793232"/>
              <a:gd name="connsiteX4" fmla="*/ 676274 w 676274"/>
              <a:gd name="connsiteY4" fmla="*/ 711739 h 793232"/>
              <a:gd name="connsiteX5" fmla="*/ 594781 w 676274"/>
              <a:gd name="connsiteY5" fmla="*/ 793232 h 793232"/>
              <a:gd name="connsiteX6" fmla="*/ 81493 w 676274"/>
              <a:gd name="connsiteY6" fmla="*/ 793232 h 793232"/>
              <a:gd name="connsiteX7" fmla="*/ 0 w 676274"/>
              <a:gd name="connsiteY7" fmla="*/ 711739 h 793232"/>
              <a:gd name="connsiteX8" fmla="*/ 0 w 676274"/>
              <a:gd name="connsiteY8" fmla="*/ 385775 h 793232"/>
              <a:gd name="connsiteX9" fmla="*/ 142 w 676274"/>
              <a:gd name="connsiteY9" fmla="*/ 385073 h 793232"/>
              <a:gd name="connsiteX10" fmla="*/ 0 w 676274"/>
              <a:gd name="connsiteY10" fmla="*/ 384370 h 793232"/>
              <a:gd name="connsiteX11" fmla="*/ 0 w 676274"/>
              <a:gd name="connsiteY11" fmla="*/ 2 h 793232"/>
              <a:gd name="connsiteX0" fmla="*/ 0 w 676274"/>
              <a:gd name="connsiteY0" fmla="*/ -2 h 793228"/>
              <a:gd name="connsiteX1" fmla="*/ 676274 w 676274"/>
              <a:gd name="connsiteY1" fmla="*/ 384366 h 793228"/>
              <a:gd name="connsiteX2" fmla="*/ 676132 w 676274"/>
              <a:gd name="connsiteY2" fmla="*/ 385069 h 793228"/>
              <a:gd name="connsiteX3" fmla="*/ 676274 w 676274"/>
              <a:gd name="connsiteY3" fmla="*/ 385771 h 793228"/>
              <a:gd name="connsiteX4" fmla="*/ 676274 w 676274"/>
              <a:gd name="connsiteY4" fmla="*/ 711735 h 793228"/>
              <a:gd name="connsiteX5" fmla="*/ 594781 w 676274"/>
              <a:gd name="connsiteY5" fmla="*/ 793228 h 793228"/>
              <a:gd name="connsiteX6" fmla="*/ 81493 w 676274"/>
              <a:gd name="connsiteY6" fmla="*/ 793228 h 793228"/>
              <a:gd name="connsiteX7" fmla="*/ 0 w 676274"/>
              <a:gd name="connsiteY7" fmla="*/ 711735 h 793228"/>
              <a:gd name="connsiteX8" fmla="*/ 0 w 676274"/>
              <a:gd name="connsiteY8" fmla="*/ 385771 h 793228"/>
              <a:gd name="connsiteX9" fmla="*/ 142 w 676274"/>
              <a:gd name="connsiteY9" fmla="*/ 385069 h 793228"/>
              <a:gd name="connsiteX10" fmla="*/ 0 w 676274"/>
              <a:gd name="connsiteY10" fmla="*/ 384366 h 793228"/>
              <a:gd name="connsiteX11" fmla="*/ 0 w 676274"/>
              <a:gd name="connsiteY11" fmla="*/ -2 h 793228"/>
              <a:gd name="connsiteX0" fmla="*/ 0 w 682264"/>
              <a:gd name="connsiteY0" fmla="*/ 2 h 793232"/>
              <a:gd name="connsiteX1" fmla="*/ 676274 w 682264"/>
              <a:gd name="connsiteY1" fmla="*/ 384370 h 793232"/>
              <a:gd name="connsiteX2" fmla="*/ 676132 w 682264"/>
              <a:gd name="connsiteY2" fmla="*/ 385073 h 793232"/>
              <a:gd name="connsiteX3" fmla="*/ 676274 w 682264"/>
              <a:gd name="connsiteY3" fmla="*/ 711739 h 793232"/>
              <a:gd name="connsiteX4" fmla="*/ 594781 w 682264"/>
              <a:gd name="connsiteY4" fmla="*/ 793232 h 793232"/>
              <a:gd name="connsiteX5" fmla="*/ 81493 w 682264"/>
              <a:gd name="connsiteY5" fmla="*/ 793232 h 793232"/>
              <a:gd name="connsiteX6" fmla="*/ 0 w 682264"/>
              <a:gd name="connsiteY6" fmla="*/ 711739 h 793232"/>
              <a:gd name="connsiteX7" fmla="*/ 0 w 682264"/>
              <a:gd name="connsiteY7" fmla="*/ 385775 h 793232"/>
              <a:gd name="connsiteX8" fmla="*/ 142 w 682264"/>
              <a:gd name="connsiteY8" fmla="*/ 385073 h 793232"/>
              <a:gd name="connsiteX9" fmla="*/ 0 w 682264"/>
              <a:gd name="connsiteY9" fmla="*/ 384370 h 793232"/>
              <a:gd name="connsiteX10" fmla="*/ 0 w 682264"/>
              <a:gd name="connsiteY10" fmla="*/ 2 h 793232"/>
              <a:gd name="connsiteX0" fmla="*/ 0 w 729526"/>
              <a:gd name="connsiteY0" fmla="*/ -2 h 793228"/>
              <a:gd name="connsiteX1" fmla="*/ 676274 w 729526"/>
              <a:gd name="connsiteY1" fmla="*/ 384366 h 793228"/>
              <a:gd name="connsiteX2" fmla="*/ 676274 w 729526"/>
              <a:gd name="connsiteY2" fmla="*/ 711735 h 793228"/>
              <a:gd name="connsiteX3" fmla="*/ 594781 w 729526"/>
              <a:gd name="connsiteY3" fmla="*/ 793228 h 793228"/>
              <a:gd name="connsiteX4" fmla="*/ 81493 w 729526"/>
              <a:gd name="connsiteY4" fmla="*/ 793228 h 793228"/>
              <a:gd name="connsiteX5" fmla="*/ 0 w 729526"/>
              <a:gd name="connsiteY5" fmla="*/ 711735 h 793228"/>
              <a:gd name="connsiteX6" fmla="*/ 0 w 729526"/>
              <a:gd name="connsiteY6" fmla="*/ 385771 h 793228"/>
              <a:gd name="connsiteX7" fmla="*/ 142 w 729526"/>
              <a:gd name="connsiteY7" fmla="*/ 385069 h 793228"/>
              <a:gd name="connsiteX8" fmla="*/ 0 w 729526"/>
              <a:gd name="connsiteY8" fmla="*/ 384366 h 793228"/>
              <a:gd name="connsiteX9" fmla="*/ 0 w 729526"/>
              <a:gd name="connsiteY9" fmla="*/ -2 h 793228"/>
              <a:gd name="connsiteX0" fmla="*/ 0 w 676274"/>
              <a:gd name="connsiteY0" fmla="*/ 2 h 793232"/>
              <a:gd name="connsiteX1" fmla="*/ 676274 w 676274"/>
              <a:gd name="connsiteY1" fmla="*/ 384370 h 793232"/>
              <a:gd name="connsiteX2" fmla="*/ 676274 w 676274"/>
              <a:gd name="connsiteY2" fmla="*/ 711739 h 793232"/>
              <a:gd name="connsiteX3" fmla="*/ 594781 w 676274"/>
              <a:gd name="connsiteY3" fmla="*/ 793232 h 793232"/>
              <a:gd name="connsiteX4" fmla="*/ 81493 w 676274"/>
              <a:gd name="connsiteY4" fmla="*/ 793232 h 793232"/>
              <a:gd name="connsiteX5" fmla="*/ 0 w 676274"/>
              <a:gd name="connsiteY5" fmla="*/ 711739 h 793232"/>
              <a:gd name="connsiteX6" fmla="*/ 0 w 676274"/>
              <a:gd name="connsiteY6" fmla="*/ 385775 h 793232"/>
              <a:gd name="connsiteX7" fmla="*/ 142 w 676274"/>
              <a:gd name="connsiteY7" fmla="*/ 385073 h 793232"/>
              <a:gd name="connsiteX8" fmla="*/ 0 w 676274"/>
              <a:gd name="connsiteY8" fmla="*/ 384370 h 793232"/>
              <a:gd name="connsiteX9" fmla="*/ 0 w 676274"/>
              <a:gd name="connsiteY9" fmla="*/ 2 h 793232"/>
              <a:gd name="connsiteX0" fmla="*/ 0 w 676274"/>
              <a:gd name="connsiteY0" fmla="*/ -2 h 793228"/>
              <a:gd name="connsiteX1" fmla="*/ 676274 w 676274"/>
              <a:gd name="connsiteY1" fmla="*/ 384366 h 793228"/>
              <a:gd name="connsiteX2" fmla="*/ 676274 w 676274"/>
              <a:gd name="connsiteY2" fmla="*/ 711735 h 793228"/>
              <a:gd name="connsiteX3" fmla="*/ 594781 w 676274"/>
              <a:gd name="connsiteY3" fmla="*/ 793228 h 793228"/>
              <a:gd name="connsiteX4" fmla="*/ 81493 w 676274"/>
              <a:gd name="connsiteY4" fmla="*/ 793228 h 793228"/>
              <a:gd name="connsiteX5" fmla="*/ 0 w 676274"/>
              <a:gd name="connsiteY5" fmla="*/ 711735 h 793228"/>
              <a:gd name="connsiteX6" fmla="*/ 0 w 676274"/>
              <a:gd name="connsiteY6" fmla="*/ 385771 h 793228"/>
              <a:gd name="connsiteX7" fmla="*/ 142 w 676274"/>
              <a:gd name="connsiteY7" fmla="*/ 385069 h 793228"/>
              <a:gd name="connsiteX8" fmla="*/ 0 w 676274"/>
              <a:gd name="connsiteY8" fmla="*/ 384366 h 793228"/>
              <a:gd name="connsiteX9" fmla="*/ 0 w 676274"/>
              <a:gd name="connsiteY9" fmla="*/ -2 h 7932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76274" h="793228">
                <a:moveTo>
                  <a:pt x="0" y="-2"/>
                </a:moveTo>
                <a:cubicBezTo>
                  <a:pt x="272696" y="8416"/>
                  <a:pt x="327822" y="353869"/>
                  <a:pt x="676274" y="384366"/>
                </a:cubicBezTo>
                <a:lnTo>
                  <a:pt x="676274" y="711735"/>
                </a:lnTo>
                <a:cubicBezTo>
                  <a:pt x="676274" y="756742"/>
                  <a:pt x="639788" y="793228"/>
                  <a:pt x="594781" y="793228"/>
                </a:cubicBezTo>
                <a:lnTo>
                  <a:pt x="81493" y="793228"/>
                </a:lnTo>
                <a:cubicBezTo>
                  <a:pt x="36486" y="793228"/>
                  <a:pt x="0" y="756742"/>
                  <a:pt x="0" y="711735"/>
                </a:cubicBezTo>
                <a:lnTo>
                  <a:pt x="0" y="385771"/>
                </a:lnTo>
                <a:cubicBezTo>
                  <a:pt x="47" y="385537"/>
                  <a:pt x="95" y="385303"/>
                  <a:pt x="142" y="385069"/>
                </a:cubicBezTo>
                <a:cubicBezTo>
                  <a:pt x="95" y="384835"/>
                  <a:pt x="47" y="384600"/>
                  <a:pt x="0" y="384366"/>
                </a:cubicBezTo>
                <a:lnTo>
                  <a:pt x="0" y="-2"/>
                </a:lnTo>
                <a:close/>
              </a:path>
            </a:pathLst>
          </a:custGeom>
          <a:solidFill>
            <a:schemeClr val="bg1"/>
          </a:solidFill>
          <a:ln w="12700" cap="rnd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520" name="Straight Connector 519">
            <a:extLst>
              <a:ext uri="{FF2B5EF4-FFF2-40B4-BE49-F238E27FC236}">
                <a16:creationId xmlns:a16="http://schemas.microsoft.com/office/drawing/2014/main" id="{6F61FB77-57B5-973C-2944-31E8B6DA6014}"/>
              </a:ext>
            </a:extLst>
          </p:cNvPr>
          <p:cNvCxnSpPr>
            <a:cxnSpLocks/>
          </p:cNvCxnSpPr>
          <p:nvPr/>
        </p:nvCxnSpPr>
        <p:spPr bwMode="auto">
          <a:xfrm rot="18659533" flipH="1">
            <a:off x="8529488" y="4937633"/>
            <a:ext cx="39853" cy="0"/>
          </a:xfrm>
          <a:prstGeom prst="line">
            <a:avLst/>
          </a:prstGeom>
          <a:noFill/>
          <a:ln w="12700" cap="rnd" cmpd="sng" algn="ctr">
            <a:solidFill>
              <a:schemeClr val="accent6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21" name="Straight Connector 520">
            <a:extLst>
              <a:ext uri="{FF2B5EF4-FFF2-40B4-BE49-F238E27FC236}">
                <a16:creationId xmlns:a16="http://schemas.microsoft.com/office/drawing/2014/main" id="{BD6D6FA4-6D23-2DD1-3CF7-09369D745C89}"/>
              </a:ext>
            </a:extLst>
          </p:cNvPr>
          <p:cNvCxnSpPr>
            <a:cxnSpLocks/>
          </p:cNvCxnSpPr>
          <p:nvPr/>
        </p:nvCxnSpPr>
        <p:spPr bwMode="auto">
          <a:xfrm rot="18659533" flipH="1">
            <a:off x="8556515" y="4961122"/>
            <a:ext cx="39853" cy="0"/>
          </a:xfrm>
          <a:prstGeom prst="line">
            <a:avLst/>
          </a:prstGeom>
          <a:noFill/>
          <a:ln w="12700" cap="rnd" cmpd="sng" algn="ctr">
            <a:solidFill>
              <a:schemeClr val="accent6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22" name="Straight Connector 521">
            <a:extLst>
              <a:ext uri="{FF2B5EF4-FFF2-40B4-BE49-F238E27FC236}">
                <a16:creationId xmlns:a16="http://schemas.microsoft.com/office/drawing/2014/main" id="{3D790DB5-D958-4F23-229D-1162FC362620}"/>
              </a:ext>
            </a:extLst>
          </p:cNvPr>
          <p:cNvCxnSpPr>
            <a:cxnSpLocks/>
          </p:cNvCxnSpPr>
          <p:nvPr/>
        </p:nvCxnSpPr>
        <p:spPr bwMode="auto">
          <a:xfrm rot="18659533" flipH="1">
            <a:off x="8583543" y="4984610"/>
            <a:ext cx="39853" cy="0"/>
          </a:xfrm>
          <a:prstGeom prst="line">
            <a:avLst/>
          </a:prstGeom>
          <a:noFill/>
          <a:ln w="12700" cap="rnd" cmpd="sng" algn="ctr">
            <a:solidFill>
              <a:schemeClr val="accent6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23" name="Freeform: Shape 20">
            <a:extLst>
              <a:ext uri="{FF2B5EF4-FFF2-40B4-BE49-F238E27FC236}">
                <a16:creationId xmlns:a16="http://schemas.microsoft.com/office/drawing/2014/main" id="{5209194B-B7B8-7D93-D6FC-1AFA6265A266}"/>
              </a:ext>
            </a:extLst>
          </p:cNvPr>
          <p:cNvSpPr/>
          <p:nvPr/>
        </p:nvSpPr>
        <p:spPr bwMode="auto">
          <a:xfrm rot="18659533">
            <a:off x="8431154" y="4876904"/>
            <a:ext cx="66421" cy="33211"/>
          </a:xfrm>
          <a:custGeom>
            <a:avLst/>
            <a:gdLst>
              <a:gd name="connsiteX0" fmla="*/ 32611 w 114066"/>
              <a:gd name="connsiteY0" fmla="*/ 0 h 105783"/>
              <a:gd name="connsiteX1" fmla="*/ 81455 w 114066"/>
              <a:gd name="connsiteY1" fmla="*/ 0 h 105783"/>
              <a:gd name="connsiteX2" fmla="*/ 114066 w 114066"/>
              <a:gd name="connsiteY2" fmla="*/ 32611 h 105783"/>
              <a:gd name="connsiteX3" fmla="*/ 114066 w 114066"/>
              <a:gd name="connsiteY3" fmla="*/ 89884 h 105783"/>
              <a:gd name="connsiteX4" fmla="*/ 107481 w 114066"/>
              <a:gd name="connsiteY4" fmla="*/ 105783 h 105783"/>
              <a:gd name="connsiteX5" fmla="*/ 6585 w 114066"/>
              <a:gd name="connsiteY5" fmla="*/ 105783 h 105783"/>
              <a:gd name="connsiteX6" fmla="*/ 0 w 114066"/>
              <a:gd name="connsiteY6" fmla="*/ 89884 h 105783"/>
              <a:gd name="connsiteX7" fmla="*/ 0 w 114066"/>
              <a:gd name="connsiteY7" fmla="*/ 32611 h 105783"/>
              <a:gd name="connsiteX8" fmla="*/ 32611 w 114066"/>
              <a:gd name="connsiteY8" fmla="*/ 0 h 105783"/>
              <a:gd name="connsiteX0" fmla="*/ 6585 w 114066"/>
              <a:gd name="connsiteY0" fmla="*/ 105783 h 197223"/>
              <a:gd name="connsiteX1" fmla="*/ 0 w 114066"/>
              <a:gd name="connsiteY1" fmla="*/ 89884 h 197223"/>
              <a:gd name="connsiteX2" fmla="*/ 0 w 114066"/>
              <a:gd name="connsiteY2" fmla="*/ 32611 h 197223"/>
              <a:gd name="connsiteX3" fmla="*/ 32611 w 114066"/>
              <a:gd name="connsiteY3" fmla="*/ 0 h 197223"/>
              <a:gd name="connsiteX4" fmla="*/ 81455 w 114066"/>
              <a:gd name="connsiteY4" fmla="*/ 0 h 197223"/>
              <a:gd name="connsiteX5" fmla="*/ 114066 w 114066"/>
              <a:gd name="connsiteY5" fmla="*/ 32611 h 197223"/>
              <a:gd name="connsiteX6" fmla="*/ 114066 w 114066"/>
              <a:gd name="connsiteY6" fmla="*/ 89884 h 197223"/>
              <a:gd name="connsiteX7" fmla="*/ 107481 w 114066"/>
              <a:gd name="connsiteY7" fmla="*/ 105783 h 197223"/>
              <a:gd name="connsiteX8" fmla="*/ 98025 w 114066"/>
              <a:gd name="connsiteY8" fmla="*/ 197223 h 197223"/>
              <a:gd name="connsiteX0" fmla="*/ 6585 w 114066"/>
              <a:gd name="connsiteY0" fmla="*/ 105783 h 105783"/>
              <a:gd name="connsiteX1" fmla="*/ 0 w 114066"/>
              <a:gd name="connsiteY1" fmla="*/ 89884 h 105783"/>
              <a:gd name="connsiteX2" fmla="*/ 0 w 114066"/>
              <a:gd name="connsiteY2" fmla="*/ 32611 h 105783"/>
              <a:gd name="connsiteX3" fmla="*/ 32611 w 114066"/>
              <a:gd name="connsiteY3" fmla="*/ 0 h 105783"/>
              <a:gd name="connsiteX4" fmla="*/ 81455 w 114066"/>
              <a:gd name="connsiteY4" fmla="*/ 0 h 105783"/>
              <a:gd name="connsiteX5" fmla="*/ 114066 w 114066"/>
              <a:gd name="connsiteY5" fmla="*/ 32611 h 105783"/>
              <a:gd name="connsiteX6" fmla="*/ 114066 w 114066"/>
              <a:gd name="connsiteY6" fmla="*/ 89884 h 105783"/>
              <a:gd name="connsiteX7" fmla="*/ 107481 w 114066"/>
              <a:gd name="connsiteY7" fmla="*/ 105783 h 1057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4066" h="105783">
                <a:moveTo>
                  <a:pt x="6585" y="105783"/>
                </a:moveTo>
                <a:lnTo>
                  <a:pt x="0" y="89884"/>
                </a:lnTo>
                <a:lnTo>
                  <a:pt x="0" y="32611"/>
                </a:lnTo>
                <a:cubicBezTo>
                  <a:pt x="0" y="14600"/>
                  <a:pt x="14600" y="0"/>
                  <a:pt x="32611" y="0"/>
                </a:cubicBezTo>
                <a:lnTo>
                  <a:pt x="81455" y="0"/>
                </a:lnTo>
                <a:cubicBezTo>
                  <a:pt x="99466" y="0"/>
                  <a:pt x="114066" y="14600"/>
                  <a:pt x="114066" y="32611"/>
                </a:cubicBezTo>
                <a:lnTo>
                  <a:pt x="114066" y="89884"/>
                </a:lnTo>
                <a:lnTo>
                  <a:pt x="107481" y="105783"/>
                </a:lnTo>
              </a:path>
            </a:pathLst>
          </a:custGeom>
          <a:noFill/>
          <a:ln w="12700" cap="flat" cmpd="sng" algn="ctr">
            <a:solidFill>
              <a:schemeClr val="accent6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24" name="Freeform: Shape 21">
            <a:extLst>
              <a:ext uri="{FF2B5EF4-FFF2-40B4-BE49-F238E27FC236}">
                <a16:creationId xmlns:a16="http://schemas.microsoft.com/office/drawing/2014/main" id="{23F182D2-351B-3E3D-D7A4-9D2A7D5FC1AC}"/>
              </a:ext>
            </a:extLst>
          </p:cNvPr>
          <p:cNvSpPr/>
          <p:nvPr/>
        </p:nvSpPr>
        <p:spPr bwMode="auto">
          <a:xfrm rot="18659533">
            <a:off x="8703936" y="5094026"/>
            <a:ext cx="30612" cy="28389"/>
          </a:xfrm>
          <a:custGeom>
            <a:avLst/>
            <a:gdLst>
              <a:gd name="connsiteX0" fmla="*/ 6586 w 114064"/>
              <a:gd name="connsiteY0" fmla="*/ 0 h 105782"/>
              <a:gd name="connsiteX1" fmla="*/ 107479 w 114064"/>
              <a:gd name="connsiteY1" fmla="*/ 0 h 105782"/>
              <a:gd name="connsiteX2" fmla="*/ 114064 w 114064"/>
              <a:gd name="connsiteY2" fmla="*/ 15899 h 105782"/>
              <a:gd name="connsiteX3" fmla="*/ 114064 w 114064"/>
              <a:gd name="connsiteY3" fmla="*/ 73171 h 105782"/>
              <a:gd name="connsiteX4" fmla="*/ 81453 w 114064"/>
              <a:gd name="connsiteY4" fmla="*/ 105782 h 105782"/>
              <a:gd name="connsiteX5" fmla="*/ 32611 w 114064"/>
              <a:gd name="connsiteY5" fmla="*/ 105782 h 105782"/>
              <a:gd name="connsiteX6" fmla="*/ 0 w 114064"/>
              <a:gd name="connsiteY6" fmla="*/ 73171 h 105782"/>
              <a:gd name="connsiteX7" fmla="*/ 0 w 114064"/>
              <a:gd name="connsiteY7" fmla="*/ 15899 h 105782"/>
              <a:gd name="connsiteX0" fmla="*/ 107479 w 198919"/>
              <a:gd name="connsiteY0" fmla="*/ 0 h 105782"/>
              <a:gd name="connsiteX1" fmla="*/ 114064 w 198919"/>
              <a:gd name="connsiteY1" fmla="*/ 15899 h 105782"/>
              <a:gd name="connsiteX2" fmla="*/ 114064 w 198919"/>
              <a:gd name="connsiteY2" fmla="*/ 73171 h 105782"/>
              <a:gd name="connsiteX3" fmla="*/ 81453 w 198919"/>
              <a:gd name="connsiteY3" fmla="*/ 105782 h 105782"/>
              <a:gd name="connsiteX4" fmla="*/ 32611 w 198919"/>
              <a:gd name="connsiteY4" fmla="*/ 105782 h 105782"/>
              <a:gd name="connsiteX5" fmla="*/ 0 w 198919"/>
              <a:gd name="connsiteY5" fmla="*/ 73171 h 105782"/>
              <a:gd name="connsiteX6" fmla="*/ 0 w 198919"/>
              <a:gd name="connsiteY6" fmla="*/ 15899 h 105782"/>
              <a:gd name="connsiteX7" fmla="*/ 6586 w 198919"/>
              <a:gd name="connsiteY7" fmla="*/ 0 h 105782"/>
              <a:gd name="connsiteX8" fmla="*/ 198919 w 198919"/>
              <a:gd name="connsiteY8" fmla="*/ 91440 h 105782"/>
              <a:gd name="connsiteX0" fmla="*/ 107479 w 114064"/>
              <a:gd name="connsiteY0" fmla="*/ 0 h 105782"/>
              <a:gd name="connsiteX1" fmla="*/ 114064 w 114064"/>
              <a:gd name="connsiteY1" fmla="*/ 15899 h 105782"/>
              <a:gd name="connsiteX2" fmla="*/ 114064 w 114064"/>
              <a:gd name="connsiteY2" fmla="*/ 73171 h 105782"/>
              <a:gd name="connsiteX3" fmla="*/ 81453 w 114064"/>
              <a:gd name="connsiteY3" fmla="*/ 105782 h 105782"/>
              <a:gd name="connsiteX4" fmla="*/ 32611 w 114064"/>
              <a:gd name="connsiteY4" fmla="*/ 105782 h 105782"/>
              <a:gd name="connsiteX5" fmla="*/ 0 w 114064"/>
              <a:gd name="connsiteY5" fmla="*/ 73171 h 105782"/>
              <a:gd name="connsiteX6" fmla="*/ 0 w 114064"/>
              <a:gd name="connsiteY6" fmla="*/ 15899 h 105782"/>
              <a:gd name="connsiteX7" fmla="*/ 6586 w 114064"/>
              <a:gd name="connsiteY7" fmla="*/ 0 h 1057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4064" h="105782">
                <a:moveTo>
                  <a:pt x="107479" y="0"/>
                </a:moveTo>
                <a:lnTo>
                  <a:pt x="114064" y="15899"/>
                </a:lnTo>
                <a:lnTo>
                  <a:pt x="114064" y="73171"/>
                </a:lnTo>
                <a:cubicBezTo>
                  <a:pt x="114064" y="91182"/>
                  <a:pt x="99464" y="105782"/>
                  <a:pt x="81453" y="105782"/>
                </a:cubicBezTo>
                <a:lnTo>
                  <a:pt x="32611" y="105782"/>
                </a:lnTo>
                <a:cubicBezTo>
                  <a:pt x="14600" y="105782"/>
                  <a:pt x="0" y="91182"/>
                  <a:pt x="0" y="73171"/>
                </a:cubicBezTo>
                <a:lnTo>
                  <a:pt x="0" y="15899"/>
                </a:lnTo>
                <a:lnTo>
                  <a:pt x="6586" y="0"/>
                </a:lnTo>
              </a:path>
            </a:pathLst>
          </a:custGeom>
          <a:noFill/>
          <a:ln w="12700" cap="flat" cmpd="sng" algn="ctr">
            <a:solidFill>
              <a:schemeClr val="accent6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525" name="Straight Connector 524">
            <a:extLst>
              <a:ext uri="{FF2B5EF4-FFF2-40B4-BE49-F238E27FC236}">
                <a16:creationId xmlns:a16="http://schemas.microsoft.com/office/drawing/2014/main" id="{E041C9A3-99A0-2E55-B2C0-0181A1F35124}"/>
              </a:ext>
            </a:extLst>
          </p:cNvPr>
          <p:cNvCxnSpPr>
            <a:cxnSpLocks/>
          </p:cNvCxnSpPr>
          <p:nvPr/>
        </p:nvCxnSpPr>
        <p:spPr bwMode="auto">
          <a:xfrm rot="2459533" flipH="1">
            <a:off x="8726943" y="5148179"/>
            <a:ext cx="72000" cy="0"/>
          </a:xfrm>
          <a:prstGeom prst="line">
            <a:avLst/>
          </a:prstGeom>
          <a:noFill/>
          <a:ln w="12700" cap="rnd" cmpd="sng" algn="ctr">
            <a:solidFill>
              <a:schemeClr val="accent6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26" name="Rectangle: Rounded Corners 525">
            <a:extLst>
              <a:ext uri="{FF2B5EF4-FFF2-40B4-BE49-F238E27FC236}">
                <a16:creationId xmlns:a16="http://schemas.microsoft.com/office/drawing/2014/main" id="{99F52E45-A90B-4604-7EA7-437A7389A424}"/>
              </a:ext>
            </a:extLst>
          </p:cNvPr>
          <p:cNvSpPr/>
          <p:nvPr/>
        </p:nvSpPr>
        <p:spPr bwMode="auto">
          <a:xfrm rot="2459533">
            <a:off x="8438376" y="4930571"/>
            <a:ext cx="302754" cy="132843"/>
          </a:xfrm>
          <a:prstGeom prst="roundRect">
            <a:avLst>
              <a:gd name="adj" fmla="val 34412"/>
            </a:avLst>
          </a:prstGeom>
          <a:noFill/>
          <a:ln w="12700" cap="flat" cmpd="sng" algn="ctr">
            <a:solidFill>
              <a:schemeClr val="accent6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27" name="Rectangle: Rounded Corners 526">
            <a:extLst>
              <a:ext uri="{FF2B5EF4-FFF2-40B4-BE49-F238E27FC236}">
                <a16:creationId xmlns:a16="http://schemas.microsoft.com/office/drawing/2014/main" id="{80840F51-B900-43BE-5D48-FB00E8560804}"/>
              </a:ext>
            </a:extLst>
          </p:cNvPr>
          <p:cNvSpPr/>
          <p:nvPr/>
        </p:nvSpPr>
        <p:spPr bwMode="auto">
          <a:xfrm rot="2459533">
            <a:off x="8392594" y="4792781"/>
            <a:ext cx="66421" cy="132843"/>
          </a:xfrm>
          <a:prstGeom prst="roundRect">
            <a:avLst>
              <a:gd name="adj" fmla="val 34412"/>
            </a:avLst>
          </a:prstGeom>
          <a:noFill/>
          <a:ln w="12700" cap="flat" cmpd="sng" algn="ctr">
            <a:solidFill>
              <a:schemeClr val="accent6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28" name="Rectangle: Rounded Corners 14">
            <a:extLst>
              <a:ext uri="{FF2B5EF4-FFF2-40B4-BE49-F238E27FC236}">
                <a16:creationId xmlns:a16="http://schemas.microsoft.com/office/drawing/2014/main" id="{F237EECD-C4F9-7160-C4EE-1EB00759A060}"/>
              </a:ext>
            </a:extLst>
          </p:cNvPr>
          <p:cNvSpPr>
            <a:spLocks noChangeAspect="1"/>
          </p:cNvSpPr>
          <p:nvPr/>
        </p:nvSpPr>
        <p:spPr bwMode="auto">
          <a:xfrm rot="2062484">
            <a:off x="8459426" y="4657844"/>
            <a:ext cx="196867" cy="80133"/>
          </a:xfrm>
          <a:prstGeom prst="roundRect">
            <a:avLst>
              <a:gd name="adj" fmla="val 50000"/>
            </a:avLst>
          </a:prstGeom>
          <a:noFill/>
          <a:ln w="12700" cap="rnd" cmpd="sng" algn="ctr">
            <a:solidFill>
              <a:schemeClr val="accent6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29" name="Freeform: Shape 153">
            <a:extLst>
              <a:ext uri="{FF2B5EF4-FFF2-40B4-BE49-F238E27FC236}">
                <a16:creationId xmlns:a16="http://schemas.microsoft.com/office/drawing/2014/main" id="{9B4A6E0D-3E51-B49C-3E2D-7692C8DEAD66}"/>
              </a:ext>
            </a:extLst>
          </p:cNvPr>
          <p:cNvSpPr>
            <a:spLocks noChangeAspect="1"/>
          </p:cNvSpPr>
          <p:nvPr/>
        </p:nvSpPr>
        <p:spPr bwMode="auto">
          <a:xfrm rot="2062484">
            <a:off x="8548625" y="4685434"/>
            <a:ext cx="99134" cy="80133"/>
          </a:xfrm>
          <a:custGeom>
            <a:avLst/>
            <a:gdLst>
              <a:gd name="connsiteX0" fmla="*/ 128586 w 128586"/>
              <a:gd name="connsiteY0" fmla="*/ 51970 h 103940"/>
              <a:gd name="connsiteX1" fmla="*/ 76616 w 128586"/>
              <a:gd name="connsiteY1" fmla="*/ 103940 h 103940"/>
              <a:gd name="connsiteX2" fmla="*/ 0 w 128586"/>
              <a:gd name="connsiteY2" fmla="*/ 103940 h 103940"/>
              <a:gd name="connsiteX3" fmla="*/ 0 w 128586"/>
              <a:gd name="connsiteY3" fmla="*/ 0 h 103940"/>
              <a:gd name="connsiteX4" fmla="*/ 76616 w 128586"/>
              <a:gd name="connsiteY4" fmla="*/ 0 h 103940"/>
              <a:gd name="connsiteX5" fmla="*/ 128586 w 128586"/>
              <a:gd name="connsiteY5" fmla="*/ 51970 h 103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8586" h="103940">
                <a:moveTo>
                  <a:pt x="128586" y="51970"/>
                </a:moveTo>
                <a:cubicBezTo>
                  <a:pt x="128586" y="80672"/>
                  <a:pt x="105318" y="103940"/>
                  <a:pt x="76616" y="103940"/>
                </a:cubicBezTo>
                <a:lnTo>
                  <a:pt x="0" y="103940"/>
                </a:lnTo>
                <a:lnTo>
                  <a:pt x="0" y="0"/>
                </a:lnTo>
                <a:lnTo>
                  <a:pt x="76616" y="0"/>
                </a:lnTo>
                <a:cubicBezTo>
                  <a:pt x="105318" y="0"/>
                  <a:pt x="128586" y="23268"/>
                  <a:pt x="128586" y="51970"/>
                </a:cubicBezTo>
                <a:close/>
              </a:path>
            </a:pathLst>
          </a:custGeom>
          <a:solidFill>
            <a:schemeClr val="bg1"/>
          </a:solidFill>
          <a:ln w="12700" cap="rnd" cmpd="sng" algn="ctr">
            <a:solidFill>
              <a:schemeClr val="accent6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30" name="Ellipse 148">
            <a:extLst>
              <a:ext uri="{FF2B5EF4-FFF2-40B4-BE49-F238E27FC236}">
                <a16:creationId xmlns:a16="http://schemas.microsoft.com/office/drawing/2014/main" id="{CE24C86C-6583-1086-36F8-7EB0001CE143}"/>
              </a:ext>
            </a:extLst>
          </p:cNvPr>
          <p:cNvSpPr/>
          <p:nvPr/>
        </p:nvSpPr>
        <p:spPr bwMode="auto">
          <a:xfrm rot="18887447">
            <a:off x="6180322" y="4902574"/>
            <a:ext cx="186457" cy="186455"/>
          </a:xfrm>
          <a:prstGeom prst="ellipse">
            <a:avLst/>
          </a:prstGeom>
          <a:noFill/>
          <a:ln w="19050" cap="flat" cmpd="sng" algn="ctr">
            <a:solidFill>
              <a:srgbClr val="4CA1A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5pPr>
            <a:lvl6pPr marL="2286000" algn="l" defTabSz="457200" rtl="0" eaLnBrk="1" latinLnBrk="0" hangingPunct="1"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6pPr>
            <a:lvl7pPr marL="2743200" algn="l" defTabSz="457200" rtl="0" eaLnBrk="1" latinLnBrk="0" hangingPunct="1"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7pPr>
            <a:lvl8pPr marL="3200400" algn="l" defTabSz="457200" rtl="0" eaLnBrk="1" latinLnBrk="0" hangingPunct="1"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8pPr>
            <a:lvl9pPr marL="3657600" algn="l" defTabSz="457200" rtl="0" eaLnBrk="1" latinLnBrk="0" hangingPunct="1"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EC8A00"/>
              </a:solidFill>
              <a:effectLst/>
              <a:uLnTx/>
              <a:uFillTx/>
              <a:latin typeface="Aptos" panose="02110004020202020204"/>
              <a:ea typeface="ＭＳ Ｐゴシック" charset="0"/>
            </a:endParaRPr>
          </a:p>
        </p:txBody>
      </p:sp>
      <p:sp>
        <p:nvSpPr>
          <p:cNvPr id="531" name="Ellipse 148">
            <a:extLst>
              <a:ext uri="{FF2B5EF4-FFF2-40B4-BE49-F238E27FC236}">
                <a16:creationId xmlns:a16="http://schemas.microsoft.com/office/drawing/2014/main" id="{256E07A8-2C6F-D9B2-AC62-FE0E9190E2E1}"/>
              </a:ext>
            </a:extLst>
          </p:cNvPr>
          <p:cNvSpPr/>
          <p:nvPr/>
        </p:nvSpPr>
        <p:spPr bwMode="auto">
          <a:xfrm rot="18887447">
            <a:off x="6456727" y="4776114"/>
            <a:ext cx="112093" cy="112091"/>
          </a:xfrm>
          <a:prstGeom prst="ellipse">
            <a:avLst/>
          </a:prstGeom>
          <a:noFill/>
          <a:ln w="19050" cap="flat" cmpd="sng" algn="ctr">
            <a:solidFill>
              <a:srgbClr val="4CA1A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5pPr>
            <a:lvl6pPr marL="2286000" algn="l" defTabSz="457200" rtl="0" eaLnBrk="1" latinLnBrk="0" hangingPunct="1"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6pPr>
            <a:lvl7pPr marL="2743200" algn="l" defTabSz="457200" rtl="0" eaLnBrk="1" latinLnBrk="0" hangingPunct="1"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7pPr>
            <a:lvl8pPr marL="3200400" algn="l" defTabSz="457200" rtl="0" eaLnBrk="1" latinLnBrk="0" hangingPunct="1"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8pPr>
            <a:lvl9pPr marL="3657600" algn="l" defTabSz="457200" rtl="0" eaLnBrk="1" latinLnBrk="0" hangingPunct="1"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EC8A00"/>
              </a:solidFill>
              <a:effectLst/>
              <a:uLnTx/>
              <a:uFillTx/>
              <a:latin typeface="Aptos" panose="02110004020202020204"/>
              <a:ea typeface="ＭＳ Ｐゴシック" charset="0"/>
            </a:endParaRPr>
          </a:p>
        </p:txBody>
      </p:sp>
      <p:cxnSp>
        <p:nvCxnSpPr>
          <p:cNvPr id="532" name="Straight Connector 531">
            <a:extLst>
              <a:ext uri="{FF2B5EF4-FFF2-40B4-BE49-F238E27FC236}">
                <a16:creationId xmlns:a16="http://schemas.microsoft.com/office/drawing/2014/main" id="{2B0D4D01-FA88-8CE9-7270-D5E2CFE16E34}"/>
              </a:ext>
            </a:extLst>
          </p:cNvPr>
          <p:cNvCxnSpPr>
            <a:cxnSpLocks/>
          </p:cNvCxnSpPr>
          <p:nvPr/>
        </p:nvCxnSpPr>
        <p:spPr bwMode="auto">
          <a:xfrm rot="14306158" flipV="1">
            <a:off x="6356512" y="5063033"/>
            <a:ext cx="119195" cy="55650"/>
          </a:xfrm>
          <a:prstGeom prst="line">
            <a:avLst/>
          </a:prstGeom>
          <a:noFill/>
          <a:ln w="19050" cap="rnd" cmpd="sng" algn="ctr">
            <a:solidFill>
              <a:srgbClr val="4CA1A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33" name="Straight Connector 532">
            <a:extLst>
              <a:ext uri="{FF2B5EF4-FFF2-40B4-BE49-F238E27FC236}">
                <a16:creationId xmlns:a16="http://schemas.microsoft.com/office/drawing/2014/main" id="{60B68C8F-22AA-FF7C-36E1-2AFE7845103A}"/>
              </a:ext>
            </a:extLst>
          </p:cNvPr>
          <p:cNvCxnSpPr>
            <a:cxnSpLocks/>
          </p:cNvCxnSpPr>
          <p:nvPr/>
        </p:nvCxnSpPr>
        <p:spPr bwMode="auto">
          <a:xfrm rot="14306158" flipH="1" flipV="1">
            <a:off x="6478473" y="4947139"/>
            <a:ext cx="154720" cy="38123"/>
          </a:xfrm>
          <a:prstGeom prst="line">
            <a:avLst/>
          </a:prstGeom>
          <a:noFill/>
          <a:ln w="19050" cap="rnd" cmpd="sng" algn="ctr">
            <a:solidFill>
              <a:srgbClr val="4CA1A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34" name="Straight Connector 533">
            <a:extLst>
              <a:ext uri="{FF2B5EF4-FFF2-40B4-BE49-F238E27FC236}">
                <a16:creationId xmlns:a16="http://schemas.microsoft.com/office/drawing/2014/main" id="{B9BB75D5-28EF-3F3E-C21C-21463CBA481F}"/>
              </a:ext>
            </a:extLst>
          </p:cNvPr>
          <p:cNvCxnSpPr>
            <a:cxnSpLocks/>
            <a:stCxn id="542" idx="1"/>
            <a:endCxn id="535" idx="2"/>
          </p:cNvCxnSpPr>
          <p:nvPr/>
        </p:nvCxnSpPr>
        <p:spPr bwMode="auto">
          <a:xfrm flipH="1">
            <a:off x="6683463" y="5037696"/>
            <a:ext cx="27365" cy="53461"/>
          </a:xfrm>
          <a:prstGeom prst="line">
            <a:avLst/>
          </a:prstGeom>
          <a:noFill/>
          <a:ln w="19050" cap="rnd" cmpd="sng" algn="ctr">
            <a:solidFill>
              <a:srgbClr val="4CA1A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35" name="Oval 534">
            <a:extLst>
              <a:ext uri="{FF2B5EF4-FFF2-40B4-BE49-F238E27FC236}">
                <a16:creationId xmlns:a16="http://schemas.microsoft.com/office/drawing/2014/main" id="{B689E735-B044-DDAA-60BA-7B5EC1447A11}"/>
              </a:ext>
            </a:extLst>
          </p:cNvPr>
          <p:cNvSpPr>
            <a:spLocks noChangeAspect="1"/>
          </p:cNvSpPr>
          <p:nvPr/>
        </p:nvSpPr>
        <p:spPr bwMode="auto">
          <a:xfrm rot="8196765">
            <a:off x="6467071" y="5051939"/>
            <a:ext cx="250632" cy="250631"/>
          </a:xfrm>
          <a:prstGeom prst="ellipse">
            <a:avLst/>
          </a:prstGeom>
          <a:noFill/>
          <a:ln w="19050" cap="rnd" cmpd="sng" algn="ctr">
            <a:solidFill>
              <a:srgbClr val="4CA1A6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36" name="Ellipse 148">
            <a:extLst>
              <a:ext uri="{FF2B5EF4-FFF2-40B4-BE49-F238E27FC236}">
                <a16:creationId xmlns:a16="http://schemas.microsoft.com/office/drawing/2014/main" id="{044BF15B-F36D-2511-84EF-E77735962C73}"/>
              </a:ext>
            </a:extLst>
          </p:cNvPr>
          <p:cNvSpPr/>
          <p:nvPr/>
        </p:nvSpPr>
        <p:spPr bwMode="auto">
          <a:xfrm rot="4968569">
            <a:off x="7055598" y="5034968"/>
            <a:ext cx="112093" cy="112091"/>
          </a:xfrm>
          <a:prstGeom prst="ellipse">
            <a:avLst/>
          </a:prstGeom>
          <a:noFill/>
          <a:ln w="19050" cap="flat" cmpd="sng" algn="ctr">
            <a:solidFill>
              <a:srgbClr val="4CA1A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5pPr>
            <a:lvl6pPr marL="2286000" algn="l" defTabSz="457200" rtl="0" eaLnBrk="1" latinLnBrk="0" hangingPunct="1"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6pPr>
            <a:lvl7pPr marL="2743200" algn="l" defTabSz="457200" rtl="0" eaLnBrk="1" latinLnBrk="0" hangingPunct="1"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7pPr>
            <a:lvl8pPr marL="3200400" algn="l" defTabSz="457200" rtl="0" eaLnBrk="1" latinLnBrk="0" hangingPunct="1"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8pPr>
            <a:lvl9pPr marL="3657600" algn="l" defTabSz="457200" rtl="0" eaLnBrk="1" latinLnBrk="0" hangingPunct="1"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EC8A00"/>
              </a:solidFill>
              <a:effectLst/>
              <a:uLnTx/>
              <a:uFillTx/>
              <a:latin typeface="Aptos" panose="02110004020202020204"/>
              <a:ea typeface="ＭＳ Ｐゴシック" charset="0"/>
            </a:endParaRPr>
          </a:p>
        </p:txBody>
      </p:sp>
      <p:sp>
        <p:nvSpPr>
          <p:cNvPr id="537" name="Ellipse 148">
            <a:extLst>
              <a:ext uri="{FF2B5EF4-FFF2-40B4-BE49-F238E27FC236}">
                <a16:creationId xmlns:a16="http://schemas.microsoft.com/office/drawing/2014/main" id="{DB1C5CC7-D0B9-8815-A175-2E8F88634C11}"/>
              </a:ext>
            </a:extLst>
          </p:cNvPr>
          <p:cNvSpPr/>
          <p:nvPr/>
        </p:nvSpPr>
        <p:spPr bwMode="auto">
          <a:xfrm rot="4260909">
            <a:off x="7138331" y="4659954"/>
            <a:ext cx="201655" cy="201650"/>
          </a:xfrm>
          <a:prstGeom prst="ellipse">
            <a:avLst/>
          </a:prstGeom>
          <a:noFill/>
          <a:ln w="19050" cap="flat" cmpd="sng" algn="ctr">
            <a:solidFill>
              <a:srgbClr val="4CA1A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5pPr>
            <a:lvl6pPr marL="2286000" algn="l" defTabSz="457200" rtl="0" eaLnBrk="1" latinLnBrk="0" hangingPunct="1"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6pPr>
            <a:lvl7pPr marL="2743200" algn="l" defTabSz="457200" rtl="0" eaLnBrk="1" latinLnBrk="0" hangingPunct="1"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7pPr>
            <a:lvl8pPr marL="3200400" algn="l" defTabSz="457200" rtl="0" eaLnBrk="1" latinLnBrk="0" hangingPunct="1"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8pPr>
            <a:lvl9pPr marL="3657600" algn="l" defTabSz="457200" rtl="0" eaLnBrk="1" latinLnBrk="0" hangingPunct="1"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EC8A00"/>
              </a:solidFill>
              <a:effectLst/>
              <a:uLnTx/>
              <a:uFillTx/>
              <a:latin typeface="Aptos" panose="02110004020202020204"/>
              <a:ea typeface="ＭＳ Ｐゴシック" charset="0"/>
            </a:endParaRPr>
          </a:p>
        </p:txBody>
      </p:sp>
      <p:cxnSp>
        <p:nvCxnSpPr>
          <p:cNvPr id="538" name="Straight Connector 537">
            <a:extLst>
              <a:ext uri="{FF2B5EF4-FFF2-40B4-BE49-F238E27FC236}">
                <a16:creationId xmlns:a16="http://schemas.microsoft.com/office/drawing/2014/main" id="{4DB90390-3F4F-3319-DEEF-2FAE17AAF7E5}"/>
              </a:ext>
            </a:extLst>
          </p:cNvPr>
          <p:cNvCxnSpPr>
            <a:cxnSpLocks/>
            <a:endCxn id="537" idx="4"/>
          </p:cNvCxnSpPr>
          <p:nvPr/>
        </p:nvCxnSpPr>
        <p:spPr bwMode="auto">
          <a:xfrm flipV="1">
            <a:off x="6903665" y="4793580"/>
            <a:ext cx="240153" cy="74366"/>
          </a:xfrm>
          <a:prstGeom prst="line">
            <a:avLst/>
          </a:prstGeom>
          <a:noFill/>
          <a:ln w="19050" cap="rnd" cmpd="sng" algn="ctr">
            <a:solidFill>
              <a:srgbClr val="4CA1A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39" name="Straight Connector 538">
            <a:extLst>
              <a:ext uri="{FF2B5EF4-FFF2-40B4-BE49-F238E27FC236}">
                <a16:creationId xmlns:a16="http://schemas.microsoft.com/office/drawing/2014/main" id="{B9DB95D1-8FAD-FA29-1BD4-89A622EF5066}"/>
              </a:ext>
            </a:extLst>
          </p:cNvPr>
          <p:cNvCxnSpPr>
            <a:cxnSpLocks/>
          </p:cNvCxnSpPr>
          <p:nvPr/>
        </p:nvCxnSpPr>
        <p:spPr bwMode="auto">
          <a:xfrm rot="387280" flipH="1" flipV="1">
            <a:off x="6902165" y="5023318"/>
            <a:ext cx="154722" cy="38123"/>
          </a:xfrm>
          <a:prstGeom prst="line">
            <a:avLst/>
          </a:prstGeom>
          <a:noFill/>
          <a:ln w="19050" cap="rnd" cmpd="sng" algn="ctr">
            <a:solidFill>
              <a:srgbClr val="4CA1A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40" name="Ellipse 148">
            <a:extLst>
              <a:ext uri="{FF2B5EF4-FFF2-40B4-BE49-F238E27FC236}">
                <a16:creationId xmlns:a16="http://schemas.microsoft.com/office/drawing/2014/main" id="{BDD694CF-223C-CB50-39FE-4155515BF8FE}"/>
              </a:ext>
            </a:extLst>
          </p:cNvPr>
          <p:cNvSpPr/>
          <p:nvPr/>
        </p:nvSpPr>
        <p:spPr bwMode="auto">
          <a:xfrm rot="1585767">
            <a:off x="6773264" y="4474582"/>
            <a:ext cx="186457" cy="186454"/>
          </a:xfrm>
          <a:prstGeom prst="ellipse">
            <a:avLst/>
          </a:prstGeom>
          <a:noFill/>
          <a:ln w="19050" cap="flat" cmpd="sng" algn="ctr">
            <a:solidFill>
              <a:srgbClr val="4CA1A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5pPr>
            <a:lvl6pPr marL="2286000" algn="l" defTabSz="457200" rtl="0" eaLnBrk="1" latinLnBrk="0" hangingPunct="1"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6pPr>
            <a:lvl7pPr marL="2743200" algn="l" defTabSz="457200" rtl="0" eaLnBrk="1" latinLnBrk="0" hangingPunct="1"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7pPr>
            <a:lvl8pPr marL="3200400" algn="l" defTabSz="457200" rtl="0" eaLnBrk="1" latinLnBrk="0" hangingPunct="1"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8pPr>
            <a:lvl9pPr marL="3657600" algn="l" defTabSz="457200" rtl="0" eaLnBrk="1" latinLnBrk="0" hangingPunct="1"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EC8A00"/>
              </a:solidFill>
              <a:effectLst/>
              <a:uLnTx/>
              <a:uFillTx/>
              <a:latin typeface="Aptos" panose="02110004020202020204"/>
              <a:ea typeface="ＭＳ Ｐゴシック" charset="0"/>
            </a:endParaRPr>
          </a:p>
        </p:txBody>
      </p:sp>
      <p:cxnSp>
        <p:nvCxnSpPr>
          <p:cNvPr id="541" name="Straight Connector 540">
            <a:extLst>
              <a:ext uri="{FF2B5EF4-FFF2-40B4-BE49-F238E27FC236}">
                <a16:creationId xmlns:a16="http://schemas.microsoft.com/office/drawing/2014/main" id="{CF60E84A-AA57-3F33-1BC5-15D6D3CBB627}"/>
              </a:ext>
            </a:extLst>
          </p:cNvPr>
          <p:cNvCxnSpPr>
            <a:cxnSpLocks/>
          </p:cNvCxnSpPr>
          <p:nvPr/>
        </p:nvCxnSpPr>
        <p:spPr bwMode="auto">
          <a:xfrm rot="18604478" flipV="1">
            <a:off x="6761571" y="4705244"/>
            <a:ext cx="119195" cy="55650"/>
          </a:xfrm>
          <a:prstGeom prst="line">
            <a:avLst/>
          </a:prstGeom>
          <a:noFill/>
          <a:ln w="19050" cap="rnd" cmpd="sng" algn="ctr">
            <a:solidFill>
              <a:srgbClr val="4CA1A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42" name="Oval 541">
            <a:extLst>
              <a:ext uri="{FF2B5EF4-FFF2-40B4-BE49-F238E27FC236}">
                <a16:creationId xmlns:a16="http://schemas.microsoft.com/office/drawing/2014/main" id="{CBD0AD96-A399-D9C5-43A6-6FD67FC80176}"/>
              </a:ext>
            </a:extLst>
          </p:cNvPr>
          <p:cNvSpPr>
            <a:spLocks noChangeAspect="1"/>
          </p:cNvSpPr>
          <p:nvPr/>
        </p:nvSpPr>
        <p:spPr bwMode="auto">
          <a:xfrm rot="15877887">
            <a:off x="6665431" y="4815877"/>
            <a:ext cx="250630" cy="250631"/>
          </a:xfrm>
          <a:prstGeom prst="ellipse">
            <a:avLst/>
          </a:prstGeom>
          <a:noFill/>
          <a:ln w="19050" cap="rnd" cmpd="sng" algn="ctr">
            <a:solidFill>
              <a:srgbClr val="4CA1A6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43" name="Rectangle: Rounded Corners 8">
            <a:extLst>
              <a:ext uri="{FF2B5EF4-FFF2-40B4-BE49-F238E27FC236}">
                <a16:creationId xmlns:a16="http://schemas.microsoft.com/office/drawing/2014/main" id="{3019D9C7-1159-7ED9-73D2-08A219007A78}"/>
              </a:ext>
            </a:extLst>
          </p:cNvPr>
          <p:cNvSpPr>
            <a:spLocks noChangeAspect="1"/>
          </p:cNvSpPr>
          <p:nvPr/>
        </p:nvSpPr>
        <p:spPr bwMode="auto">
          <a:xfrm>
            <a:off x="10467393" y="4510984"/>
            <a:ext cx="218262" cy="157959"/>
          </a:xfrm>
          <a:prstGeom prst="roundRect">
            <a:avLst>
              <a:gd name="adj" fmla="val 8599"/>
            </a:avLst>
          </a:prstGeom>
          <a:noFill/>
          <a:ln w="12700" cap="rnd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544" name="Straight Connector 543">
            <a:extLst>
              <a:ext uri="{FF2B5EF4-FFF2-40B4-BE49-F238E27FC236}">
                <a16:creationId xmlns:a16="http://schemas.microsoft.com/office/drawing/2014/main" id="{367B1215-8137-E626-901C-365AE6B57EC4}"/>
              </a:ext>
            </a:extLst>
          </p:cNvPr>
          <p:cNvCxnSpPr>
            <a:cxnSpLocks/>
          </p:cNvCxnSpPr>
          <p:nvPr/>
        </p:nvCxnSpPr>
        <p:spPr bwMode="auto">
          <a:xfrm>
            <a:off x="10612259" y="4680893"/>
            <a:ext cx="0" cy="66854"/>
          </a:xfrm>
          <a:prstGeom prst="line">
            <a:avLst/>
          </a:prstGeom>
          <a:noFill/>
          <a:ln w="12700" cap="rnd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45" name="Straight Connector 544">
            <a:extLst>
              <a:ext uri="{FF2B5EF4-FFF2-40B4-BE49-F238E27FC236}">
                <a16:creationId xmlns:a16="http://schemas.microsoft.com/office/drawing/2014/main" id="{F9DB7A83-5B81-2060-4293-1F01CE5E6241}"/>
              </a:ext>
            </a:extLst>
          </p:cNvPr>
          <p:cNvCxnSpPr>
            <a:cxnSpLocks/>
          </p:cNvCxnSpPr>
          <p:nvPr/>
        </p:nvCxnSpPr>
        <p:spPr bwMode="auto">
          <a:xfrm flipV="1">
            <a:off x="10432676" y="4742030"/>
            <a:ext cx="308998" cy="6743"/>
          </a:xfrm>
          <a:prstGeom prst="line">
            <a:avLst/>
          </a:prstGeom>
          <a:noFill/>
          <a:ln w="12700" cap="rnd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46" name="Straight Connector 545">
            <a:extLst>
              <a:ext uri="{FF2B5EF4-FFF2-40B4-BE49-F238E27FC236}">
                <a16:creationId xmlns:a16="http://schemas.microsoft.com/office/drawing/2014/main" id="{C88C4234-607F-08A0-3E00-99E86F11C996}"/>
              </a:ext>
            </a:extLst>
          </p:cNvPr>
          <p:cNvCxnSpPr>
            <a:cxnSpLocks/>
          </p:cNvCxnSpPr>
          <p:nvPr/>
        </p:nvCxnSpPr>
        <p:spPr bwMode="auto">
          <a:xfrm>
            <a:off x="10720829" y="4748772"/>
            <a:ext cx="0" cy="66854"/>
          </a:xfrm>
          <a:prstGeom prst="line">
            <a:avLst/>
          </a:prstGeom>
          <a:noFill/>
          <a:ln w="12700" cap="rnd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47" name="Straight Connector 546">
            <a:extLst>
              <a:ext uri="{FF2B5EF4-FFF2-40B4-BE49-F238E27FC236}">
                <a16:creationId xmlns:a16="http://schemas.microsoft.com/office/drawing/2014/main" id="{178A0326-39DD-E49F-6F32-E3DCB859D6CB}"/>
              </a:ext>
            </a:extLst>
          </p:cNvPr>
          <p:cNvCxnSpPr>
            <a:cxnSpLocks/>
          </p:cNvCxnSpPr>
          <p:nvPr/>
        </p:nvCxnSpPr>
        <p:spPr bwMode="auto">
          <a:xfrm>
            <a:off x="10432654" y="4748772"/>
            <a:ext cx="0" cy="66854"/>
          </a:xfrm>
          <a:prstGeom prst="line">
            <a:avLst/>
          </a:prstGeom>
          <a:noFill/>
          <a:ln w="12700" cap="rnd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48" name="Rectangle: Rounded Corners 8">
            <a:extLst>
              <a:ext uri="{FF2B5EF4-FFF2-40B4-BE49-F238E27FC236}">
                <a16:creationId xmlns:a16="http://schemas.microsoft.com/office/drawing/2014/main" id="{FCF3294D-6D86-64F6-E8F6-A3E5077EEB01}"/>
              </a:ext>
            </a:extLst>
          </p:cNvPr>
          <p:cNvSpPr>
            <a:spLocks noChangeAspect="1"/>
          </p:cNvSpPr>
          <p:nvPr/>
        </p:nvSpPr>
        <p:spPr bwMode="auto">
          <a:xfrm>
            <a:off x="10612260" y="4827758"/>
            <a:ext cx="218262" cy="157959"/>
          </a:xfrm>
          <a:prstGeom prst="roundRect">
            <a:avLst>
              <a:gd name="adj" fmla="val 8599"/>
            </a:avLst>
          </a:prstGeom>
          <a:noFill/>
          <a:ln w="12700" cap="rnd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549" name="Straight Connector 548">
            <a:extLst>
              <a:ext uri="{FF2B5EF4-FFF2-40B4-BE49-F238E27FC236}">
                <a16:creationId xmlns:a16="http://schemas.microsoft.com/office/drawing/2014/main" id="{CD9B5FAD-1D90-9008-A7C9-66B96883CBA0}"/>
              </a:ext>
            </a:extLst>
          </p:cNvPr>
          <p:cNvCxnSpPr>
            <a:cxnSpLocks/>
          </p:cNvCxnSpPr>
          <p:nvPr/>
        </p:nvCxnSpPr>
        <p:spPr bwMode="auto">
          <a:xfrm>
            <a:off x="10741645" y="4985985"/>
            <a:ext cx="0" cy="66852"/>
          </a:xfrm>
          <a:prstGeom prst="line">
            <a:avLst/>
          </a:prstGeom>
          <a:noFill/>
          <a:ln w="12700" cap="rnd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50" name="Straight Connector 549">
            <a:extLst>
              <a:ext uri="{FF2B5EF4-FFF2-40B4-BE49-F238E27FC236}">
                <a16:creationId xmlns:a16="http://schemas.microsoft.com/office/drawing/2014/main" id="{08BE7DB5-8896-7B02-5EF1-5589A7404F45}"/>
              </a:ext>
            </a:extLst>
          </p:cNvPr>
          <p:cNvCxnSpPr>
            <a:cxnSpLocks/>
          </p:cNvCxnSpPr>
          <p:nvPr/>
        </p:nvCxnSpPr>
        <p:spPr bwMode="auto">
          <a:xfrm>
            <a:off x="10580881" y="5052840"/>
            <a:ext cx="286418" cy="0"/>
          </a:xfrm>
          <a:prstGeom prst="line">
            <a:avLst/>
          </a:prstGeom>
          <a:noFill/>
          <a:ln w="12700" cap="rnd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51" name="Straight Connector 550">
            <a:extLst>
              <a:ext uri="{FF2B5EF4-FFF2-40B4-BE49-F238E27FC236}">
                <a16:creationId xmlns:a16="http://schemas.microsoft.com/office/drawing/2014/main" id="{31CF96AA-1490-56F7-FE9C-411ED8DCAED9}"/>
              </a:ext>
            </a:extLst>
          </p:cNvPr>
          <p:cNvCxnSpPr>
            <a:cxnSpLocks/>
          </p:cNvCxnSpPr>
          <p:nvPr/>
        </p:nvCxnSpPr>
        <p:spPr bwMode="auto">
          <a:xfrm>
            <a:off x="10867299" y="5065665"/>
            <a:ext cx="0" cy="66852"/>
          </a:xfrm>
          <a:prstGeom prst="line">
            <a:avLst/>
          </a:prstGeom>
          <a:noFill/>
          <a:ln w="12700" cap="rnd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52" name="Straight Connector 551">
            <a:extLst>
              <a:ext uri="{FF2B5EF4-FFF2-40B4-BE49-F238E27FC236}">
                <a16:creationId xmlns:a16="http://schemas.microsoft.com/office/drawing/2014/main" id="{CB800ABC-1DA5-417B-451F-844CA76EA429}"/>
              </a:ext>
            </a:extLst>
          </p:cNvPr>
          <p:cNvCxnSpPr>
            <a:cxnSpLocks/>
          </p:cNvCxnSpPr>
          <p:nvPr/>
        </p:nvCxnSpPr>
        <p:spPr bwMode="auto">
          <a:xfrm>
            <a:off x="10579125" y="5065665"/>
            <a:ext cx="0" cy="66852"/>
          </a:xfrm>
          <a:prstGeom prst="line">
            <a:avLst/>
          </a:prstGeom>
          <a:noFill/>
          <a:ln w="12700" cap="rnd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53" name="Rectangle: Rounded Corners 8">
            <a:extLst>
              <a:ext uri="{FF2B5EF4-FFF2-40B4-BE49-F238E27FC236}">
                <a16:creationId xmlns:a16="http://schemas.microsoft.com/office/drawing/2014/main" id="{03BCF510-21C4-D724-BD30-FED9C81556C6}"/>
              </a:ext>
            </a:extLst>
          </p:cNvPr>
          <p:cNvSpPr>
            <a:spLocks noChangeAspect="1"/>
          </p:cNvSpPr>
          <p:nvPr/>
        </p:nvSpPr>
        <p:spPr bwMode="auto">
          <a:xfrm>
            <a:off x="10758729" y="5144648"/>
            <a:ext cx="218261" cy="157953"/>
          </a:xfrm>
          <a:prstGeom prst="roundRect">
            <a:avLst>
              <a:gd name="adj" fmla="val 8599"/>
            </a:avLst>
          </a:prstGeom>
          <a:noFill/>
          <a:ln w="12700" cap="rnd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554" name="Straight Connector 553">
            <a:extLst>
              <a:ext uri="{FF2B5EF4-FFF2-40B4-BE49-F238E27FC236}">
                <a16:creationId xmlns:a16="http://schemas.microsoft.com/office/drawing/2014/main" id="{2CD2495E-2481-975B-B110-84A766FF2E72}"/>
              </a:ext>
            </a:extLst>
          </p:cNvPr>
          <p:cNvCxnSpPr>
            <a:cxnSpLocks/>
          </p:cNvCxnSpPr>
          <p:nvPr/>
        </p:nvCxnSpPr>
        <p:spPr bwMode="auto">
          <a:xfrm rot="5400000">
            <a:off x="11009281" y="5192334"/>
            <a:ext cx="0" cy="62582"/>
          </a:xfrm>
          <a:prstGeom prst="line">
            <a:avLst/>
          </a:prstGeom>
          <a:noFill/>
          <a:ln w="12700" cap="rnd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55" name="Freeform: Shape 867">
            <a:extLst>
              <a:ext uri="{FF2B5EF4-FFF2-40B4-BE49-F238E27FC236}">
                <a16:creationId xmlns:a16="http://schemas.microsoft.com/office/drawing/2014/main" id="{B0C5884A-FDCA-0EEA-ABD6-A7DA166714E6}"/>
              </a:ext>
            </a:extLst>
          </p:cNvPr>
          <p:cNvSpPr/>
          <p:nvPr/>
        </p:nvSpPr>
        <p:spPr>
          <a:xfrm rot="2700000">
            <a:off x="10355687" y="4774205"/>
            <a:ext cx="152780" cy="151443"/>
          </a:xfrm>
          <a:custGeom>
            <a:avLst/>
            <a:gdLst/>
            <a:ahLst/>
            <a:cxnLst/>
            <a:rect l="l" t="t" r="r" b="b"/>
            <a:pathLst>
              <a:path w="75867" h="80339">
                <a:moveTo>
                  <a:pt x="27872" y="0"/>
                </a:moveTo>
                <a:lnTo>
                  <a:pt x="48142" y="0"/>
                </a:lnTo>
                <a:lnTo>
                  <a:pt x="48142" y="29550"/>
                </a:lnTo>
                <a:lnTo>
                  <a:pt x="75867" y="29550"/>
                </a:lnTo>
                <a:lnTo>
                  <a:pt x="75867" y="48748"/>
                </a:lnTo>
                <a:lnTo>
                  <a:pt x="48142" y="48748"/>
                </a:lnTo>
                <a:lnTo>
                  <a:pt x="48142" y="80339"/>
                </a:lnTo>
                <a:lnTo>
                  <a:pt x="27872" y="80339"/>
                </a:lnTo>
                <a:lnTo>
                  <a:pt x="27872" y="48748"/>
                </a:lnTo>
                <a:lnTo>
                  <a:pt x="0" y="48748"/>
                </a:lnTo>
                <a:lnTo>
                  <a:pt x="0" y="29550"/>
                </a:lnTo>
                <a:lnTo>
                  <a:pt x="27872" y="29550"/>
                </a:lnTo>
                <a:close/>
              </a:path>
            </a:pathLst>
          </a:custGeom>
          <a:solidFill>
            <a:schemeClr val="accent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56" name="Freeform: Shape 868">
            <a:extLst>
              <a:ext uri="{FF2B5EF4-FFF2-40B4-BE49-F238E27FC236}">
                <a16:creationId xmlns:a16="http://schemas.microsoft.com/office/drawing/2014/main" id="{DF3C178E-6721-8785-72B0-B690F502776B}"/>
              </a:ext>
            </a:extLst>
          </p:cNvPr>
          <p:cNvSpPr/>
          <p:nvPr/>
        </p:nvSpPr>
        <p:spPr>
          <a:xfrm rot="2700000">
            <a:off x="10502040" y="5092035"/>
            <a:ext cx="152780" cy="151443"/>
          </a:xfrm>
          <a:custGeom>
            <a:avLst/>
            <a:gdLst/>
            <a:ahLst/>
            <a:cxnLst/>
            <a:rect l="l" t="t" r="r" b="b"/>
            <a:pathLst>
              <a:path w="75867" h="80339">
                <a:moveTo>
                  <a:pt x="27872" y="0"/>
                </a:moveTo>
                <a:lnTo>
                  <a:pt x="48142" y="0"/>
                </a:lnTo>
                <a:lnTo>
                  <a:pt x="48142" y="29550"/>
                </a:lnTo>
                <a:lnTo>
                  <a:pt x="75867" y="29550"/>
                </a:lnTo>
                <a:lnTo>
                  <a:pt x="75867" y="48748"/>
                </a:lnTo>
                <a:lnTo>
                  <a:pt x="48142" y="48748"/>
                </a:lnTo>
                <a:lnTo>
                  <a:pt x="48142" y="80339"/>
                </a:lnTo>
                <a:lnTo>
                  <a:pt x="27872" y="80339"/>
                </a:lnTo>
                <a:lnTo>
                  <a:pt x="27872" y="48748"/>
                </a:lnTo>
                <a:lnTo>
                  <a:pt x="0" y="48748"/>
                </a:lnTo>
                <a:lnTo>
                  <a:pt x="0" y="29550"/>
                </a:lnTo>
                <a:lnTo>
                  <a:pt x="27872" y="29550"/>
                </a:lnTo>
                <a:close/>
              </a:path>
            </a:pathLst>
          </a:custGeom>
          <a:solidFill>
            <a:schemeClr val="accent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57" name="Freeform: Shape 864">
            <a:extLst>
              <a:ext uri="{FF2B5EF4-FFF2-40B4-BE49-F238E27FC236}">
                <a16:creationId xmlns:a16="http://schemas.microsoft.com/office/drawing/2014/main" id="{6C62294A-09A2-595B-388B-A5A446417826}"/>
              </a:ext>
            </a:extLst>
          </p:cNvPr>
          <p:cNvSpPr>
            <a:spLocks noChangeAspect="1"/>
          </p:cNvSpPr>
          <p:nvPr/>
        </p:nvSpPr>
        <p:spPr>
          <a:xfrm rot="18720000" flipH="1">
            <a:off x="11035923" y="5161752"/>
            <a:ext cx="118648" cy="79530"/>
          </a:xfrm>
          <a:custGeom>
            <a:avLst/>
            <a:gdLst>
              <a:gd name="connsiteX0" fmla="*/ 0 w 308881"/>
              <a:gd name="connsiteY0" fmla="*/ 109980 h 221181"/>
              <a:gd name="connsiteX1" fmla="*/ 197681 w 308881"/>
              <a:gd name="connsiteY1" fmla="*/ 109980 h 221181"/>
              <a:gd name="connsiteX2" fmla="*/ 197681 w 308881"/>
              <a:gd name="connsiteY2" fmla="*/ 0 h 221181"/>
              <a:gd name="connsiteX3" fmla="*/ 308881 w 308881"/>
              <a:gd name="connsiteY3" fmla="*/ 0 h 221181"/>
              <a:gd name="connsiteX4" fmla="*/ 308881 w 308881"/>
              <a:gd name="connsiteY4" fmla="*/ 221181 h 221181"/>
              <a:gd name="connsiteX5" fmla="*/ 0 w 308881"/>
              <a:gd name="connsiteY5" fmla="*/ 221181 h 2211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8881" h="221181">
                <a:moveTo>
                  <a:pt x="0" y="109980"/>
                </a:moveTo>
                <a:lnTo>
                  <a:pt x="197681" y="109980"/>
                </a:lnTo>
                <a:lnTo>
                  <a:pt x="197681" y="0"/>
                </a:lnTo>
                <a:lnTo>
                  <a:pt x="308881" y="0"/>
                </a:lnTo>
                <a:lnTo>
                  <a:pt x="308881" y="221181"/>
                </a:lnTo>
                <a:lnTo>
                  <a:pt x="0" y="221181"/>
                </a:lnTo>
                <a:close/>
              </a:path>
            </a:pathLst>
          </a:custGeom>
          <a:solidFill>
            <a:schemeClr val="accent1"/>
          </a:solidFill>
          <a:ln w="12700">
            <a:solidFill>
              <a:srgbClr val="C00000"/>
            </a:solidFill>
            <a:miter lim="800000"/>
          </a:ln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59" name="TextBox 558">
            <a:extLst>
              <a:ext uri="{FF2B5EF4-FFF2-40B4-BE49-F238E27FC236}">
                <a16:creationId xmlns:a16="http://schemas.microsoft.com/office/drawing/2014/main" id="{29A86AEA-28A7-8412-29D5-4F106FA03CC9}"/>
              </a:ext>
            </a:extLst>
          </p:cNvPr>
          <p:cNvSpPr txBox="1"/>
          <p:nvPr/>
        </p:nvSpPr>
        <p:spPr>
          <a:xfrm>
            <a:off x="5949265" y="3212145"/>
            <a:ext cx="5845903" cy="1099660"/>
          </a:xfrm>
          <a:prstGeom prst="rect">
            <a:avLst/>
          </a:prstGeom>
          <a:solidFill>
            <a:schemeClr val="accent3"/>
          </a:solidFill>
          <a:ln>
            <a:solidFill>
              <a:srgbClr val="2D5E77"/>
            </a:solidFill>
          </a:ln>
        </p:spPr>
        <p:txBody>
          <a:bodyPr wrap="square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Calibri"/>
                <a:cs typeface="Calibri"/>
              </a:rPr>
              <a:t>An optimal sequence is yet to be established</a:t>
            </a:r>
            <a:endParaRPr kumimoji="0" lang="en-GB" sz="1800" b="1" i="0" u="none" strike="noStrike" kern="1200" cap="none" spc="0" normalizeH="0" baseline="30000" noProof="0">
              <a:ln>
                <a:noFill/>
              </a:ln>
              <a:solidFill>
                <a:prstClr val="white"/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Calibri"/>
              <a:cs typeface="Calibri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Calibri"/>
                <a:cs typeface="Calibri"/>
              </a:rPr>
              <a:t>No evidence-based consensus </a:t>
            </a:r>
            <a:b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Calibri"/>
                <a:cs typeface="Calibri"/>
              </a:rPr>
            </a:b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Calibri"/>
                <a:cs typeface="Calibri"/>
              </a:rPr>
              <a:t>on how to best order these agents</a:t>
            </a:r>
            <a:endParaRPr kumimoji="0" lang="en-GB" sz="1800" b="0" i="0" u="none" strike="noStrike" kern="1200" cap="none" spc="0" normalizeH="0" baseline="30000" noProof="0">
              <a:ln>
                <a:noFill/>
              </a:ln>
              <a:solidFill>
                <a:prstClr val="white"/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74" name="Rectangle: Rounded Corners 573">
            <a:extLst>
              <a:ext uri="{FF2B5EF4-FFF2-40B4-BE49-F238E27FC236}">
                <a16:creationId xmlns:a16="http://schemas.microsoft.com/office/drawing/2014/main" id="{99CCB9A6-041E-9AC3-24BF-AA66937CC2EE}"/>
              </a:ext>
            </a:extLst>
          </p:cNvPr>
          <p:cNvSpPr/>
          <p:nvPr/>
        </p:nvSpPr>
        <p:spPr>
          <a:xfrm>
            <a:off x="7261563" y="1561927"/>
            <a:ext cx="3212183" cy="382544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omplex decisions</a:t>
            </a:r>
          </a:p>
        </p:txBody>
      </p:sp>
      <p:sp>
        <p:nvSpPr>
          <p:cNvPr id="7" name="!!Rectangle: Rounded Corners 559">
            <a:extLst>
              <a:ext uri="{FF2B5EF4-FFF2-40B4-BE49-F238E27FC236}">
                <a16:creationId xmlns:a16="http://schemas.microsoft.com/office/drawing/2014/main" id="{FF2DE2DB-4E6F-F0E3-DDC2-C08CAF2083BF}"/>
              </a:ext>
            </a:extLst>
          </p:cNvPr>
          <p:cNvSpPr/>
          <p:nvPr/>
        </p:nvSpPr>
        <p:spPr>
          <a:xfrm>
            <a:off x="497895" y="1755366"/>
            <a:ext cx="4852330" cy="4302534"/>
          </a:xfrm>
          <a:prstGeom prst="roundRect">
            <a:avLst>
              <a:gd name="adj" fmla="val 6754"/>
            </a:avLst>
          </a:prstGeom>
          <a:solidFill>
            <a:schemeClr val="bg1"/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29F58287-E12B-C606-A76C-5FE9C866E4E3}"/>
              </a:ext>
            </a:extLst>
          </p:cNvPr>
          <p:cNvSpPr/>
          <p:nvPr/>
        </p:nvSpPr>
        <p:spPr>
          <a:xfrm>
            <a:off x="2954250" y="2260606"/>
            <a:ext cx="2226025" cy="1697264"/>
          </a:xfrm>
          <a:prstGeom prst="roundRect">
            <a:avLst>
              <a:gd name="adj" fmla="val 16121"/>
            </a:avLst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2A042A7C-A111-0BCC-33B6-DE48D14A8E8E}"/>
              </a:ext>
            </a:extLst>
          </p:cNvPr>
          <p:cNvSpPr/>
          <p:nvPr/>
        </p:nvSpPr>
        <p:spPr>
          <a:xfrm>
            <a:off x="1436949" y="1561927"/>
            <a:ext cx="3009901" cy="382544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 diverse toolkit</a:t>
            </a: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EE2D2CF6-F5EE-632A-7553-FE119A114182}"/>
              </a:ext>
            </a:extLst>
          </p:cNvPr>
          <p:cNvSpPr/>
          <p:nvPr/>
        </p:nvSpPr>
        <p:spPr>
          <a:xfrm>
            <a:off x="665742" y="4111081"/>
            <a:ext cx="2166262" cy="1697264"/>
          </a:xfrm>
          <a:prstGeom prst="roundRect">
            <a:avLst>
              <a:gd name="adj" fmla="val 16667"/>
            </a:avLst>
          </a:prstGeom>
          <a:gradFill>
            <a:gsLst>
              <a:gs pos="0">
                <a:srgbClr val="F16222"/>
              </a:gs>
              <a:gs pos="100000">
                <a:srgbClr val="EB920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" name="Flowchart: Connector 15">
            <a:extLst>
              <a:ext uri="{FF2B5EF4-FFF2-40B4-BE49-F238E27FC236}">
                <a16:creationId xmlns:a16="http://schemas.microsoft.com/office/drawing/2014/main" id="{70D43613-7362-2CEE-50AC-9F30AA5DC82B}"/>
              </a:ext>
            </a:extLst>
          </p:cNvPr>
          <p:cNvSpPr/>
          <p:nvPr/>
        </p:nvSpPr>
        <p:spPr>
          <a:xfrm>
            <a:off x="764338" y="4211556"/>
            <a:ext cx="457200" cy="457200"/>
          </a:xfrm>
          <a:prstGeom prst="flowChartConnector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28F5E1AD-AD90-BFE4-7BA4-F1E7AECEBF66}"/>
              </a:ext>
            </a:extLst>
          </p:cNvPr>
          <p:cNvSpPr/>
          <p:nvPr/>
        </p:nvSpPr>
        <p:spPr>
          <a:xfrm>
            <a:off x="2954250" y="4111081"/>
            <a:ext cx="2226025" cy="1697264"/>
          </a:xfrm>
          <a:prstGeom prst="roundRect">
            <a:avLst>
              <a:gd name="adj" fmla="val 16121"/>
            </a:avLst>
          </a:prstGeom>
          <a:gradFill>
            <a:gsLst>
              <a:gs pos="0">
                <a:schemeClr val="accent3"/>
              </a:gs>
              <a:gs pos="100000">
                <a:schemeClr val="accent4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49ECE87-5225-33A0-BBE4-EF25D6402BBA}"/>
              </a:ext>
            </a:extLst>
          </p:cNvPr>
          <p:cNvSpPr txBox="1"/>
          <p:nvPr/>
        </p:nvSpPr>
        <p:spPr>
          <a:xfrm>
            <a:off x="1328911" y="4306022"/>
            <a:ext cx="556592" cy="26826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CB813"/>
              </a:buClr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DCs</a:t>
            </a:r>
          </a:p>
        </p:txBody>
      </p:sp>
      <p:sp>
        <p:nvSpPr>
          <p:cNvPr id="19" name="Free-form: Shape 34">
            <a:extLst>
              <a:ext uri="{FF2B5EF4-FFF2-40B4-BE49-F238E27FC236}">
                <a16:creationId xmlns:a16="http://schemas.microsoft.com/office/drawing/2014/main" id="{7B1B2AF0-AEF0-30A6-20B1-3ECF30305E6E}"/>
              </a:ext>
            </a:extLst>
          </p:cNvPr>
          <p:cNvSpPr/>
          <p:nvPr/>
        </p:nvSpPr>
        <p:spPr>
          <a:xfrm rot="9190874" flipH="1">
            <a:off x="1043300" y="4489038"/>
            <a:ext cx="85381" cy="63191"/>
          </a:xfrm>
          <a:custGeom>
            <a:avLst/>
            <a:gdLst>
              <a:gd name="connsiteX0" fmla="*/ 184925 w 420041"/>
              <a:gd name="connsiteY0" fmla="*/ 340000 h 381715"/>
              <a:gd name="connsiteX1" fmla="*/ 316126 w 420041"/>
              <a:gd name="connsiteY1" fmla="*/ 273671 h 381715"/>
              <a:gd name="connsiteX2" fmla="*/ 344968 w 420041"/>
              <a:gd name="connsiteY2" fmla="*/ 248147 h 381715"/>
              <a:gd name="connsiteX3" fmla="*/ 346982 w 420041"/>
              <a:gd name="connsiteY3" fmla="*/ 230164 h 381715"/>
              <a:gd name="connsiteX4" fmla="*/ 398451 w 420041"/>
              <a:gd name="connsiteY4" fmla="*/ 204144 h 381715"/>
              <a:gd name="connsiteX5" fmla="*/ 418346 w 420041"/>
              <a:gd name="connsiteY5" fmla="*/ 170842 h 381715"/>
              <a:gd name="connsiteX6" fmla="*/ 417908 w 420041"/>
              <a:gd name="connsiteY6" fmla="*/ 169976 h 381715"/>
              <a:gd name="connsiteX7" fmla="*/ 420041 w 420041"/>
              <a:gd name="connsiteY7" fmla="*/ 164827 h 381715"/>
              <a:gd name="connsiteX8" fmla="*/ 420041 w 420041"/>
              <a:gd name="connsiteY8" fmla="*/ 29057 h 381715"/>
              <a:gd name="connsiteX9" fmla="*/ 390984 w 420041"/>
              <a:gd name="connsiteY9" fmla="*/ 0 h 381715"/>
              <a:gd name="connsiteX10" fmla="*/ 374813 w 420041"/>
              <a:gd name="connsiteY10" fmla="*/ 0 h 381715"/>
              <a:gd name="connsiteX11" fmla="*/ 345756 w 420041"/>
              <a:gd name="connsiteY11" fmla="*/ 29057 h 381715"/>
              <a:gd name="connsiteX12" fmla="*/ 345756 w 420041"/>
              <a:gd name="connsiteY12" fmla="*/ 141140 h 381715"/>
              <a:gd name="connsiteX13" fmla="*/ 310171 w 420041"/>
              <a:gd name="connsiteY13" fmla="*/ 159129 h 381715"/>
              <a:gd name="connsiteX14" fmla="*/ 295765 w 420041"/>
              <a:gd name="connsiteY14" fmla="*/ 150821 h 381715"/>
              <a:gd name="connsiteX15" fmla="*/ 258111 w 420041"/>
              <a:gd name="connsiteY15" fmla="*/ 158914 h 381715"/>
              <a:gd name="connsiteX16" fmla="*/ 126910 w 420041"/>
              <a:gd name="connsiteY16" fmla="*/ 225243 h 381715"/>
              <a:gd name="connsiteX17" fmla="*/ 98067 w 420041"/>
              <a:gd name="connsiteY17" fmla="*/ 250767 h 381715"/>
              <a:gd name="connsiteX18" fmla="*/ 96216 w 420041"/>
              <a:gd name="connsiteY18" fmla="*/ 267294 h 381715"/>
              <a:gd name="connsiteX19" fmla="*/ 21363 w 420041"/>
              <a:gd name="connsiteY19" fmla="*/ 305136 h 381715"/>
              <a:gd name="connsiteX20" fmla="*/ 1468 w 420041"/>
              <a:gd name="connsiteY20" fmla="*/ 338437 h 381715"/>
              <a:gd name="connsiteX21" fmla="*/ 18845 w 420041"/>
              <a:gd name="connsiteY21" fmla="*/ 372809 h 381715"/>
              <a:gd name="connsiteX22" fmla="*/ 57458 w 420041"/>
              <a:gd name="connsiteY22" fmla="*/ 376532 h 381715"/>
              <a:gd name="connsiteX23" fmla="*/ 131594 w 420041"/>
              <a:gd name="connsiteY23" fmla="*/ 339053 h 381715"/>
              <a:gd name="connsiteX24" fmla="*/ 147270 w 420041"/>
              <a:gd name="connsiteY24" fmla="*/ 348093 h 381715"/>
              <a:gd name="connsiteX25" fmla="*/ 184925 w 420041"/>
              <a:gd name="connsiteY25" fmla="*/ 340000 h 381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420041" h="381715">
                <a:moveTo>
                  <a:pt x="184925" y="340000"/>
                </a:moveTo>
                <a:lnTo>
                  <a:pt x="316126" y="273671"/>
                </a:lnTo>
                <a:cubicBezTo>
                  <a:pt x="329110" y="267107"/>
                  <a:pt x="339181" y="257834"/>
                  <a:pt x="344968" y="248147"/>
                </a:cubicBezTo>
                <a:lnTo>
                  <a:pt x="346982" y="230164"/>
                </a:lnTo>
                <a:lnTo>
                  <a:pt x="398451" y="204144"/>
                </a:lnTo>
                <a:cubicBezTo>
                  <a:pt x="414608" y="195976"/>
                  <a:pt x="423515" y="181066"/>
                  <a:pt x="418346" y="170842"/>
                </a:cubicBezTo>
                <a:lnTo>
                  <a:pt x="417908" y="169976"/>
                </a:lnTo>
                <a:lnTo>
                  <a:pt x="420041" y="164827"/>
                </a:lnTo>
                <a:lnTo>
                  <a:pt x="420041" y="29057"/>
                </a:lnTo>
                <a:cubicBezTo>
                  <a:pt x="420041" y="13009"/>
                  <a:pt x="407032" y="0"/>
                  <a:pt x="390984" y="0"/>
                </a:cubicBezTo>
                <a:lnTo>
                  <a:pt x="374813" y="0"/>
                </a:lnTo>
                <a:cubicBezTo>
                  <a:pt x="358765" y="0"/>
                  <a:pt x="345756" y="13009"/>
                  <a:pt x="345756" y="29057"/>
                </a:cubicBezTo>
                <a:lnTo>
                  <a:pt x="345756" y="141140"/>
                </a:lnTo>
                <a:lnTo>
                  <a:pt x="310171" y="159129"/>
                </a:lnTo>
                <a:lnTo>
                  <a:pt x="295765" y="150821"/>
                </a:lnTo>
                <a:cubicBezTo>
                  <a:pt x="284534" y="149738"/>
                  <a:pt x="271095" y="152350"/>
                  <a:pt x="258111" y="158914"/>
                </a:cubicBezTo>
                <a:lnTo>
                  <a:pt x="126910" y="225243"/>
                </a:lnTo>
                <a:cubicBezTo>
                  <a:pt x="113925" y="231807"/>
                  <a:pt x="103853" y="241080"/>
                  <a:pt x="98067" y="250767"/>
                </a:cubicBezTo>
                <a:lnTo>
                  <a:pt x="96216" y="267294"/>
                </a:lnTo>
                <a:lnTo>
                  <a:pt x="21363" y="305136"/>
                </a:lnTo>
                <a:cubicBezTo>
                  <a:pt x="5207" y="313303"/>
                  <a:pt x="-3701" y="328213"/>
                  <a:pt x="1468" y="338437"/>
                </a:cubicBezTo>
                <a:lnTo>
                  <a:pt x="18845" y="372809"/>
                </a:lnTo>
                <a:cubicBezTo>
                  <a:pt x="24013" y="383033"/>
                  <a:pt x="41301" y="384700"/>
                  <a:pt x="57458" y="376532"/>
                </a:cubicBezTo>
                <a:lnTo>
                  <a:pt x="131594" y="339053"/>
                </a:lnTo>
                <a:lnTo>
                  <a:pt x="147270" y="348093"/>
                </a:lnTo>
                <a:cubicBezTo>
                  <a:pt x="158501" y="349176"/>
                  <a:pt x="171940" y="346564"/>
                  <a:pt x="184925" y="340000"/>
                </a:cubicBezTo>
                <a:close/>
              </a:path>
            </a:pathLst>
          </a:custGeom>
          <a:solidFill>
            <a:schemeClr val="bg1"/>
          </a:solidFill>
          <a:ln w="9525">
            <a:solidFill>
              <a:srgbClr val="F1692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13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" name="Free-form: Shape 32">
            <a:extLst>
              <a:ext uri="{FF2B5EF4-FFF2-40B4-BE49-F238E27FC236}">
                <a16:creationId xmlns:a16="http://schemas.microsoft.com/office/drawing/2014/main" id="{12F90B84-99D1-BFFB-20EE-74C937CDF6DB}"/>
              </a:ext>
            </a:extLst>
          </p:cNvPr>
          <p:cNvSpPr/>
          <p:nvPr/>
        </p:nvSpPr>
        <p:spPr>
          <a:xfrm rot="21235192">
            <a:off x="1063769" y="4527811"/>
            <a:ext cx="91323" cy="29254"/>
          </a:xfrm>
          <a:custGeom>
            <a:avLst/>
            <a:gdLst>
              <a:gd name="connsiteX0" fmla="*/ 107157 w 564357"/>
              <a:gd name="connsiteY0" fmla="*/ 0 h 214314"/>
              <a:gd name="connsiteX1" fmla="*/ 205893 w 564357"/>
              <a:gd name="connsiteY1" fmla="*/ 65447 h 214314"/>
              <a:gd name="connsiteX2" fmla="*/ 209453 w 564357"/>
              <a:gd name="connsiteY2" fmla="*/ 83080 h 214314"/>
              <a:gd name="connsiteX3" fmla="*/ 352417 w 564357"/>
              <a:gd name="connsiteY3" fmla="*/ 83080 h 214314"/>
              <a:gd name="connsiteX4" fmla="*/ 354712 w 564357"/>
              <a:gd name="connsiteY4" fmla="*/ 84030 h 214314"/>
              <a:gd name="connsiteX5" fmla="*/ 358464 w 564357"/>
              <a:gd name="connsiteY5" fmla="*/ 65447 h 214314"/>
              <a:gd name="connsiteX6" fmla="*/ 457200 w 564357"/>
              <a:gd name="connsiteY6" fmla="*/ 0 h 214314"/>
              <a:gd name="connsiteX7" fmla="*/ 564357 w 564357"/>
              <a:gd name="connsiteY7" fmla="*/ 107157 h 214314"/>
              <a:gd name="connsiteX8" fmla="*/ 457200 w 564357"/>
              <a:gd name="connsiteY8" fmla="*/ 214314 h 214314"/>
              <a:gd name="connsiteX9" fmla="*/ 358464 w 564357"/>
              <a:gd name="connsiteY9" fmla="*/ 148867 h 214314"/>
              <a:gd name="connsiteX10" fmla="*/ 356437 w 564357"/>
              <a:gd name="connsiteY10" fmla="*/ 138825 h 214314"/>
              <a:gd name="connsiteX11" fmla="*/ 352417 w 564357"/>
              <a:gd name="connsiteY11" fmla="*/ 140491 h 214314"/>
              <a:gd name="connsiteX12" fmla="*/ 207584 w 564357"/>
              <a:gd name="connsiteY12" fmla="*/ 140491 h 214314"/>
              <a:gd name="connsiteX13" fmla="*/ 205893 w 564357"/>
              <a:gd name="connsiteY13" fmla="*/ 148867 h 214314"/>
              <a:gd name="connsiteX14" fmla="*/ 107157 w 564357"/>
              <a:gd name="connsiteY14" fmla="*/ 214314 h 214314"/>
              <a:gd name="connsiteX15" fmla="*/ 0 w 564357"/>
              <a:gd name="connsiteY15" fmla="*/ 107157 h 214314"/>
              <a:gd name="connsiteX16" fmla="*/ 107157 w 564357"/>
              <a:gd name="connsiteY16" fmla="*/ 0 h 2143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564357" h="214314">
                <a:moveTo>
                  <a:pt x="107157" y="0"/>
                </a:moveTo>
                <a:cubicBezTo>
                  <a:pt x="151543" y="0"/>
                  <a:pt x="189626" y="26987"/>
                  <a:pt x="205893" y="65447"/>
                </a:cubicBezTo>
                <a:lnTo>
                  <a:pt x="209453" y="83080"/>
                </a:lnTo>
                <a:lnTo>
                  <a:pt x="352417" y="83080"/>
                </a:lnTo>
                <a:lnTo>
                  <a:pt x="354712" y="84030"/>
                </a:lnTo>
                <a:lnTo>
                  <a:pt x="358464" y="65447"/>
                </a:lnTo>
                <a:cubicBezTo>
                  <a:pt x="374731" y="26987"/>
                  <a:pt x="412814" y="0"/>
                  <a:pt x="457200" y="0"/>
                </a:cubicBezTo>
                <a:cubicBezTo>
                  <a:pt x="516381" y="0"/>
                  <a:pt x="564357" y="47976"/>
                  <a:pt x="564357" y="107157"/>
                </a:cubicBezTo>
                <a:cubicBezTo>
                  <a:pt x="564357" y="166338"/>
                  <a:pt x="516381" y="214314"/>
                  <a:pt x="457200" y="214314"/>
                </a:cubicBezTo>
                <a:cubicBezTo>
                  <a:pt x="412814" y="214314"/>
                  <a:pt x="374731" y="187328"/>
                  <a:pt x="358464" y="148867"/>
                </a:cubicBezTo>
                <a:lnTo>
                  <a:pt x="356437" y="138825"/>
                </a:lnTo>
                <a:lnTo>
                  <a:pt x="352417" y="140491"/>
                </a:lnTo>
                <a:lnTo>
                  <a:pt x="207584" y="140491"/>
                </a:lnTo>
                <a:lnTo>
                  <a:pt x="205893" y="148867"/>
                </a:lnTo>
                <a:cubicBezTo>
                  <a:pt x="189626" y="187328"/>
                  <a:pt x="151543" y="214314"/>
                  <a:pt x="107157" y="214314"/>
                </a:cubicBezTo>
                <a:cubicBezTo>
                  <a:pt x="47976" y="214314"/>
                  <a:pt x="0" y="166338"/>
                  <a:pt x="0" y="107157"/>
                </a:cubicBezTo>
                <a:cubicBezTo>
                  <a:pt x="0" y="47976"/>
                  <a:pt x="47976" y="0"/>
                  <a:pt x="107157" y="0"/>
                </a:cubicBezTo>
                <a:close/>
              </a:path>
            </a:pathLst>
          </a:custGeom>
          <a:solidFill>
            <a:schemeClr val="bg1"/>
          </a:solidFill>
          <a:ln w="9525">
            <a:solidFill>
              <a:srgbClr val="F1692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13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" name="Free-form: Shape 37">
            <a:extLst>
              <a:ext uri="{FF2B5EF4-FFF2-40B4-BE49-F238E27FC236}">
                <a16:creationId xmlns:a16="http://schemas.microsoft.com/office/drawing/2014/main" id="{8F89F209-EB82-8FAB-1FB2-DC1FDD375CC1}"/>
              </a:ext>
            </a:extLst>
          </p:cNvPr>
          <p:cNvSpPr/>
          <p:nvPr/>
        </p:nvSpPr>
        <p:spPr>
          <a:xfrm rot="12409126">
            <a:off x="875103" y="4489826"/>
            <a:ext cx="85381" cy="63191"/>
          </a:xfrm>
          <a:custGeom>
            <a:avLst/>
            <a:gdLst>
              <a:gd name="connsiteX0" fmla="*/ 184925 w 420041"/>
              <a:gd name="connsiteY0" fmla="*/ 340000 h 381715"/>
              <a:gd name="connsiteX1" fmla="*/ 316126 w 420041"/>
              <a:gd name="connsiteY1" fmla="*/ 273671 h 381715"/>
              <a:gd name="connsiteX2" fmla="*/ 344968 w 420041"/>
              <a:gd name="connsiteY2" fmla="*/ 248147 h 381715"/>
              <a:gd name="connsiteX3" fmla="*/ 346982 w 420041"/>
              <a:gd name="connsiteY3" fmla="*/ 230164 h 381715"/>
              <a:gd name="connsiteX4" fmla="*/ 398451 w 420041"/>
              <a:gd name="connsiteY4" fmla="*/ 204144 h 381715"/>
              <a:gd name="connsiteX5" fmla="*/ 418346 w 420041"/>
              <a:gd name="connsiteY5" fmla="*/ 170842 h 381715"/>
              <a:gd name="connsiteX6" fmla="*/ 417908 w 420041"/>
              <a:gd name="connsiteY6" fmla="*/ 169976 h 381715"/>
              <a:gd name="connsiteX7" fmla="*/ 420041 w 420041"/>
              <a:gd name="connsiteY7" fmla="*/ 164827 h 381715"/>
              <a:gd name="connsiteX8" fmla="*/ 420041 w 420041"/>
              <a:gd name="connsiteY8" fmla="*/ 29057 h 381715"/>
              <a:gd name="connsiteX9" fmla="*/ 390984 w 420041"/>
              <a:gd name="connsiteY9" fmla="*/ 0 h 381715"/>
              <a:gd name="connsiteX10" fmla="*/ 374813 w 420041"/>
              <a:gd name="connsiteY10" fmla="*/ 0 h 381715"/>
              <a:gd name="connsiteX11" fmla="*/ 345756 w 420041"/>
              <a:gd name="connsiteY11" fmla="*/ 29057 h 381715"/>
              <a:gd name="connsiteX12" fmla="*/ 345756 w 420041"/>
              <a:gd name="connsiteY12" fmla="*/ 141140 h 381715"/>
              <a:gd name="connsiteX13" fmla="*/ 310171 w 420041"/>
              <a:gd name="connsiteY13" fmla="*/ 159129 h 381715"/>
              <a:gd name="connsiteX14" fmla="*/ 295765 w 420041"/>
              <a:gd name="connsiteY14" fmla="*/ 150821 h 381715"/>
              <a:gd name="connsiteX15" fmla="*/ 258111 w 420041"/>
              <a:gd name="connsiteY15" fmla="*/ 158914 h 381715"/>
              <a:gd name="connsiteX16" fmla="*/ 126910 w 420041"/>
              <a:gd name="connsiteY16" fmla="*/ 225243 h 381715"/>
              <a:gd name="connsiteX17" fmla="*/ 98067 w 420041"/>
              <a:gd name="connsiteY17" fmla="*/ 250767 h 381715"/>
              <a:gd name="connsiteX18" fmla="*/ 96216 w 420041"/>
              <a:gd name="connsiteY18" fmla="*/ 267294 h 381715"/>
              <a:gd name="connsiteX19" fmla="*/ 21363 w 420041"/>
              <a:gd name="connsiteY19" fmla="*/ 305136 h 381715"/>
              <a:gd name="connsiteX20" fmla="*/ 1468 w 420041"/>
              <a:gd name="connsiteY20" fmla="*/ 338437 h 381715"/>
              <a:gd name="connsiteX21" fmla="*/ 18845 w 420041"/>
              <a:gd name="connsiteY21" fmla="*/ 372809 h 381715"/>
              <a:gd name="connsiteX22" fmla="*/ 57458 w 420041"/>
              <a:gd name="connsiteY22" fmla="*/ 376532 h 381715"/>
              <a:gd name="connsiteX23" fmla="*/ 131594 w 420041"/>
              <a:gd name="connsiteY23" fmla="*/ 339053 h 381715"/>
              <a:gd name="connsiteX24" fmla="*/ 147270 w 420041"/>
              <a:gd name="connsiteY24" fmla="*/ 348093 h 381715"/>
              <a:gd name="connsiteX25" fmla="*/ 184925 w 420041"/>
              <a:gd name="connsiteY25" fmla="*/ 340000 h 381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420041" h="381715">
                <a:moveTo>
                  <a:pt x="184925" y="340000"/>
                </a:moveTo>
                <a:lnTo>
                  <a:pt x="316126" y="273671"/>
                </a:lnTo>
                <a:cubicBezTo>
                  <a:pt x="329110" y="267107"/>
                  <a:pt x="339181" y="257834"/>
                  <a:pt x="344968" y="248147"/>
                </a:cubicBezTo>
                <a:lnTo>
                  <a:pt x="346982" y="230164"/>
                </a:lnTo>
                <a:lnTo>
                  <a:pt x="398451" y="204144"/>
                </a:lnTo>
                <a:cubicBezTo>
                  <a:pt x="414608" y="195976"/>
                  <a:pt x="423515" y="181066"/>
                  <a:pt x="418346" y="170842"/>
                </a:cubicBezTo>
                <a:lnTo>
                  <a:pt x="417908" y="169976"/>
                </a:lnTo>
                <a:lnTo>
                  <a:pt x="420041" y="164827"/>
                </a:lnTo>
                <a:lnTo>
                  <a:pt x="420041" y="29057"/>
                </a:lnTo>
                <a:cubicBezTo>
                  <a:pt x="420041" y="13009"/>
                  <a:pt x="407032" y="0"/>
                  <a:pt x="390984" y="0"/>
                </a:cubicBezTo>
                <a:lnTo>
                  <a:pt x="374813" y="0"/>
                </a:lnTo>
                <a:cubicBezTo>
                  <a:pt x="358765" y="0"/>
                  <a:pt x="345756" y="13009"/>
                  <a:pt x="345756" y="29057"/>
                </a:cubicBezTo>
                <a:lnTo>
                  <a:pt x="345756" y="141140"/>
                </a:lnTo>
                <a:lnTo>
                  <a:pt x="310171" y="159129"/>
                </a:lnTo>
                <a:lnTo>
                  <a:pt x="295765" y="150821"/>
                </a:lnTo>
                <a:cubicBezTo>
                  <a:pt x="284534" y="149738"/>
                  <a:pt x="271095" y="152350"/>
                  <a:pt x="258111" y="158914"/>
                </a:cubicBezTo>
                <a:lnTo>
                  <a:pt x="126910" y="225243"/>
                </a:lnTo>
                <a:cubicBezTo>
                  <a:pt x="113925" y="231807"/>
                  <a:pt x="103853" y="241080"/>
                  <a:pt x="98067" y="250767"/>
                </a:cubicBezTo>
                <a:lnTo>
                  <a:pt x="96216" y="267294"/>
                </a:lnTo>
                <a:lnTo>
                  <a:pt x="21363" y="305136"/>
                </a:lnTo>
                <a:cubicBezTo>
                  <a:pt x="5207" y="313303"/>
                  <a:pt x="-3701" y="328213"/>
                  <a:pt x="1468" y="338437"/>
                </a:cubicBezTo>
                <a:lnTo>
                  <a:pt x="18845" y="372809"/>
                </a:lnTo>
                <a:cubicBezTo>
                  <a:pt x="24013" y="383033"/>
                  <a:pt x="41301" y="384700"/>
                  <a:pt x="57458" y="376532"/>
                </a:cubicBezTo>
                <a:lnTo>
                  <a:pt x="131594" y="339053"/>
                </a:lnTo>
                <a:lnTo>
                  <a:pt x="147270" y="348093"/>
                </a:lnTo>
                <a:cubicBezTo>
                  <a:pt x="158501" y="349176"/>
                  <a:pt x="171940" y="346564"/>
                  <a:pt x="184925" y="340000"/>
                </a:cubicBezTo>
                <a:close/>
              </a:path>
            </a:pathLst>
          </a:custGeom>
          <a:solidFill>
            <a:schemeClr val="bg1"/>
          </a:solidFill>
          <a:ln w="9525">
            <a:solidFill>
              <a:srgbClr val="F1692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13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3" name="Free-form: Shape 38">
            <a:extLst>
              <a:ext uri="{FF2B5EF4-FFF2-40B4-BE49-F238E27FC236}">
                <a16:creationId xmlns:a16="http://schemas.microsoft.com/office/drawing/2014/main" id="{8E269DEE-B84C-E7D3-EC77-434A303C0857}"/>
              </a:ext>
            </a:extLst>
          </p:cNvPr>
          <p:cNvSpPr/>
          <p:nvPr/>
        </p:nvSpPr>
        <p:spPr>
          <a:xfrm rot="364808" flipH="1">
            <a:off x="856604" y="4528599"/>
            <a:ext cx="91323" cy="29254"/>
          </a:xfrm>
          <a:custGeom>
            <a:avLst/>
            <a:gdLst>
              <a:gd name="connsiteX0" fmla="*/ 107157 w 564357"/>
              <a:gd name="connsiteY0" fmla="*/ 0 h 214314"/>
              <a:gd name="connsiteX1" fmla="*/ 205893 w 564357"/>
              <a:gd name="connsiteY1" fmla="*/ 65447 h 214314"/>
              <a:gd name="connsiteX2" fmla="*/ 209453 w 564357"/>
              <a:gd name="connsiteY2" fmla="*/ 83080 h 214314"/>
              <a:gd name="connsiteX3" fmla="*/ 352417 w 564357"/>
              <a:gd name="connsiteY3" fmla="*/ 83080 h 214314"/>
              <a:gd name="connsiteX4" fmla="*/ 354712 w 564357"/>
              <a:gd name="connsiteY4" fmla="*/ 84030 h 214314"/>
              <a:gd name="connsiteX5" fmla="*/ 358464 w 564357"/>
              <a:gd name="connsiteY5" fmla="*/ 65447 h 214314"/>
              <a:gd name="connsiteX6" fmla="*/ 457200 w 564357"/>
              <a:gd name="connsiteY6" fmla="*/ 0 h 214314"/>
              <a:gd name="connsiteX7" fmla="*/ 564357 w 564357"/>
              <a:gd name="connsiteY7" fmla="*/ 107157 h 214314"/>
              <a:gd name="connsiteX8" fmla="*/ 457200 w 564357"/>
              <a:gd name="connsiteY8" fmla="*/ 214314 h 214314"/>
              <a:gd name="connsiteX9" fmla="*/ 358464 w 564357"/>
              <a:gd name="connsiteY9" fmla="*/ 148867 h 214314"/>
              <a:gd name="connsiteX10" fmla="*/ 356437 w 564357"/>
              <a:gd name="connsiteY10" fmla="*/ 138825 h 214314"/>
              <a:gd name="connsiteX11" fmla="*/ 352417 w 564357"/>
              <a:gd name="connsiteY11" fmla="*/ 140491 h 214314"/>
              <a:gd name="connsiteX12" fmla="*/ 207584 w 564357"/>
              <a:gd name="connsiteY12" fmla="*/ 140491 h 214314"/>
              <a:gd name="connsiteX13" fmla="*/ 205893 w 564357"/>
              <a:gd name="connsiteY13" fmla="*/ 148867 h 214314"/>
              <a:gd name="connsiteX14" fmla="*/ 107157 w 564357"/>
              <a:gd name="connsiteY14" fmla="*/ 214314 h 214314"/>
              <a:gd name="connsiteX15" fmla="*/ 0 w 564357"/>
              <a:gd name="connsiteY15" fmla="*/ 107157 h 214314"/>
              <a:gd name="connsiteX16" fmla="*/ 107157 w 564357"/>
              <a:gd name="connsiteY16" fmla="*/ 0 h 2143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564357" h="214314">
                <a:moveTo>
                  <a:pt x="107157" y="0"/>
                </a:moveTo>
                <a:cubicBezTo>
                  <a:pt x="151543" y="0"/>
                  <a:pt x="189626" y="26987"/>
                  <a:pt x="205893" y="65447"/>
                </a:cubicBezTo>
                <a:lnTo>
                  <a:pt x="209453" y="83080"/>
                </a:lnTo>
                <a:lnTo>
                  <a:pt x="352417" y="83080"/>
                </a:lnTo>
                <a:lnTo>
                  <a:pt x="354712" y="84030"/>
                </a:lnTo>
                <a:lnTo>
                  <a:pt x="358464" y="65447"/>
                </a:lnTo>
                <a:cubicBezTo>
                  <a:pt x="374731" y="26987"/>
                  <a:pt x="412814" y="0"/>
                  <a:pt x="457200" y="0"/>
                </a:cubicBezTo>
                <a:cubicBezTo>
                  <a:pt x="516381" y="0"/>
                  <a:pt x="564357" y="47976"/>
                  <a:pt x="564357" y="107157"/>
                </a:cubicBezTo>
                <a:cubicBezTo>
                  <a:pt x="564357" y="166338"/>
                  <a:pt x="516381" y="214314"/>
                  <a:pt x="457200" y="214314"/>
                </a:cubicBezTo>
                <a:cubicBezTo>
                  <a:pt x="412814" y="214314"/>
                  <a:pt x="374731" y="187328"/>
                  <a:pt x="358464" y="148867"/>
                </a:cubicBezTo>
                <a:lnTo>
                  <a:pt x="356437" y="138825"/>
                </a:lnTo>
                <a:lnTo>
                  <a:pt x="352417" y="140491"/>
                </a:lnTo>
                <a:lnTo>
                  <a:pt x="207584" y="140491"/>
                </a:lnTo>
                <a:lnTo>
                  <a:pt x="205893" y="148867"/>
                </a:lnTo>
                <a:cubicBezTo>
                  <a:pt x="189626" y="187328"/>
                  <a:pt x="151543" y="214314"/>
                  <a:pt x="107157" y="214314"/>
                </a:cubicBezTo>
                <a:cubicBezTo>
                  <a:pt x="47976" y="214314"/>
                  <a:pt x="0" y="166338"/>
                  <a:pt x="0" y="107157"/>
                </a:cubicBezTo>
                <a:cubicBezTo>
                  <a:pt x="0" y="47976"/>
                  <a:pt x="47976" y="0"/>
                  <a:pt x="107157" y="0"/>
                </a:cubicBezTo>
                <a:close/>
              </a:path>
            </a:pathLst>
          </a:custGeom>
          <a:solidFill>
            <a:schemeClr val="bg1"/>
          </a:solidFill>
          <a:ln w="9525">
            <a:solidFill>
              <a:srgbClr val="F1692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13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853DFC2B-9046-54A9-A43E-E2830375F051}"/>
              </a:ext>
            </a:extLst>
          </p:cNvPr>
          <p:cNvSpPr/>
          <p:nvPr/>
        </p:nvSpPr>
        <p:spPr>
          <a:xfrm rot="19938000">
            <a:off x="902621" y="4309090"/>
            <a:ext cx="28274" cy="117408"/>
          </a:xfrm>
          <a:prstGeom prst="roundRect">
            <a:avLst>
              <a:gd name="adj" fmla="val 39116"/>
            </a:avLst>
          </a:prstGeom>
          <a:solidFill>
            <a:schemeClr val="bg1"/>
          </a:solidFill>
          <a:ln w="9525">
            <a:solidFill>
              <a:srgbClr val="F1692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13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6" name="Free-form: Shape 25">
            <a:extLst>
              <a:ext uri="{FF2B5EF4-FFF2-40B4-BE49-F238E27FC236}">
                <a16:creationId xmlns:a16="http://schemas.microsoft.com/office/drawing/2014/main" id="{C943BFED-2C8D-A8ED-E13D-4B77E02D702A}"/>
              </a:ext>
            </a:extLst>
          </p:cNvPr>
          <p:cNvSpPr/>
          <p:nvPr/>
        </p:nvSpPr>
        <p:spPr>
          <a:xfrm>
            <a:off x="910385" y="4298937"/>
            <a:ext cx="85875" cy="282439"/>
          </a:xfrm>
          <a:custGeom>
            <a:avLst/>
            <a:gdLst>
              <a:gd name="connsiteX0" fmla="*/ 230713 w 1000623"/>
              <a:gd name="connsiteY0" fmla="*/ 5856 h 3725897"/>
              <a:gd name="connsiteX1" fmla="*/ 306490 w 1000623"/>
              <a:gd name="connsiteY1" fmla="*/ 68991 h 3725897"/>
              <a:gd name="connsiteX2" fmla="*/ 986272 w 1000623"/>
              <a:gd name="connsiteY2" fmla="*/ 1363785 h 3725897"/>
              <a:gd name="connsiteX3" fmla="*/ 1000623 w 1000623"/>
              <a:gd name="connsiteY3" fmla="*/ 1412905 h 3725897"/>
              <a:gd name="connsiteX4" fmla="*/ 998578 w 1000623"/>
              <a:gd name="connsiteY4" fmla="*/ 1431462 h 3725897"/>
              <a:gd name="connsiteX5" fmla="*/ 998742 w 1000623"/>
              <a:gd name="connsiteY5" fmla="*/ 1432275 h 3725897"/>
              <a:gd name="connsiteX6" fmla="*/ 998742 w 1000623"/>
              <a:gd name="connsiteY6" fmla="*/ 3597028 h 3725897"/>
              <a:gd name="connsiteX7" fmla="*/ 869873 w 1000623"/>
              <a:gd name="connsiteY7" fmla="*/ 3725897 h 3725897"/>
              <a:gd name="connsiteX8" fmla="*/ 798158 w 1000623"/>
              <a:gd name="connsiteY8" fmla="*/ 3725897 h 3725897"/>
              <a:gd name="connsiteX9" fmla="*/ 669289 w 1000623"/>
              <a:gd name="connsiteY9" fmla="*/ 3597028 h 3725897"/>
              <a:gd name="connsiteX10" fmla="*/ 669289 w 1000623"/>
              <a:gd name="connsiteY10" fmla="*/ 1468762 h 3725897"/>
              <a:gd name="connsiteX11" fmla="*/ 14795 w 1000623"/>
              <a:gd name="connsiteY11" fmla="*/ 222135 h 3725897"/>
              <a:gd name="connsiteX12" fmla="*/ 68991 w 1000623"/>
              <a:gd name="connsiteY12" fmla="*/ 48131 h 3725897"/>
              <a:gd name="connsiteX13" fmla="*/ 132487 w 1000623"/>
              <a:gd name="connsiteY13" fmla="*/ 14795 h 3725897"/>
              <a:gd name="connsiteX14" fmla="*/ 230713 w 1000623"/>
              <a:gd name="connsiteY14" fmla="*/ 5856 h 37258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000623" h="3725897">
                <a:moveTo>
                  <a:pt x="230713" y="5856"/>
                </a:moveTo>
                <a:cubicBezTo>
                  <a:pt x="262201" y="15663"/>
                  <a:pt x="289948" y="37483"/>
                  <a:pt x="306490" y="68991"/>
                </a:cubicBezTo>
                <a:lnTo>
                  <a:pt x="986272" y="1363785"/>
                </a:lnTo>
                <a:cubicBezTo>
                  <a:pt x="994543" y="1379538"/>
                  <a:pt x="999230" y="1396223"/>
                  <a:pt x="1000623" y="1412905"/>
                </a:cubicBezTo>
                <a:lnTo>
                  <a:pt x="998578" y="1431462"/>
                </a:lnTo>
                <a:lnTo>
                  <a:pt x="998742" y="1432275"/>
                </a:lnTo>
                <a:lnTo>
                  <a:pt x="998742" y="3597028"/>
                </a:lnTo>
                <a:cubicBezTo>
                  <a:pt x="998742" y="3668200"/>
                  <a:pt x="941045" y="3725897"/>
                  <a:pt x="869873" y="3725897"/>
                </a:cubicBezTo>
                <a:lnTo>
                  <a:pt x="798158" y="3725897"/>
                </a:lnTo>
                <a:cubicBezTo>
                  <a:pt x="726986" y="3725897"/>
                  <a:pt x="669289" y="3668200"/>
                  <a:pt x="669289" y="3597028"/>
                </a:cubicBezTo>
                <a:lnTo>
                  <a:pt x="669289" y="1468762"/>
                </a:lnTo>
                <a:lnTo>
                  <a:pt x="14795" y="222135"/>
                </a:lnTo>
                <a:cubicBezTo>
                  <a:pt x="-18289" y="159119"/>
                  <a:pt x="5976" y="81215"/>
                  <a:pt x="68991" y="48131"/>
                </a:cubicBezTo>
                <a:lnTo>
                  <a:pt x="132487" y="14795"/>
                </a:lnTo>
                <a:cubicBezTo>
                  <a:pt x="163994" y="-1747"/>
                  <a:pt x="199224" y="-3952"/>
                  <a:pt x="230713" y="5856"/>
                </a:cubicBezTo>
                <a:close/>
              </a:path>
            </a:pathLst>
          </a:custGeom>
          <a:solidFill>
            <a:schemeClr val="bg1"/>
          </a:solidFill>
          <a:ln w="9525">
            <a:solidFill>
              <a:srgbClr val="F1692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13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0E7908DA-BE1B-4AF8-5CD3-B9747165EA44}"/>
              </a:ext>
            </a:extLst>
          </p:cNvPr>
          <p:cNvSpPr/>
          <p:nvPr/>
        </p:nvSpPr>
        <p:spPr>
          <a:xfrm rot="1662000" flipH="1">
            <a:off x="1072266" y="4309090"/>
            <a:ext cx="28274" cy="117408"/>
          </a:xfrm>
          <a:prstGeom prst="roundRect">
            <a:avLst>
              <a:gd name="adj" fmla="val 39116"/>
            </a:avLst>
          </a:prstGeom>
          <a:solidFill>
            <a:schemeClr val="bg1"/>
          </a:solidFill>
          <a:ln w="9525">
            <a:solidFill>
              <a:srgbClr val="F1692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13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" name="Free-form: Shape 27">
            <a:extLst>
              <a:ext uri="{FF2B5EF4-FFF2-40B4-BE49-F238E27FC236}">
                <a16:creationId xmlns:a16="http://schemas.microsoft.com/office/drawing/2014/main" id="{CEF60A66-1327-9F81-FA16-73D0C56BC02D}"/>
              </a:ext>
            </a:extLst>
          </p:cNvPr>
          <p:cNvSpPr/>
          <p:nvPr/>
        </p:nvSpPr>
        <p:spPr>
          <a:xfrm flipH="1">
            <a:off x="1007325" y="4298937"/>
            <a:ext cx="85875" cy="282439"/>
          </a:xfrm>
          <a:custGeom>
            <a:avLst/>
            <a:gdLst>
              <a:gd name="connsiteX0" fmla="*/ 230713 w 1000623"/>
              <a:gd name="connsiteY0" fmla="*/ 5856 h 3725897"/>
              <a:gd name="connsiteX1" fmla="*/ 306490 w 1000623"/>
              <a:gd name="connsiteY1" fmla="*/ 68991 h 3725897"/>
              <a:gd name="connsiteX2" fmla="*/ 986272 w 1000623"/>
              <a:gd name="connsiteY2" fmla="*/ 1363785 h 3725897"/>
              <a:gd name="connsiteX3" fmla="*/ 1000623 w 1000623"/>
              <a:gd name="connsiteY3" fmla="*/ 1412905 h 3725897"/>
              <a:gd name="connsiteX4" fmla="*/ 998578 w 1000623"/>
              <a:gd name="connsiteY4" fmla="*/ 1431462 h 3725897"/>
              <a:gd name="connsiteX5" fmla="*/ 998742 w 1000623"/>
              <a:gd name="connsiteY5" fmla="*/ 1432275 h 3725897"/>
              <a:gd name="connsiteX6" fmla="*/ 998742 w 1000623"/>
              <a:gd name="connsiteY6" fmla="*/ 3597028 h 3725897"/>
              <a:gd name="connsiteX7" fmla="*/ 869873 w 1000623"/>
              <a:gd name="connsiteY7" fmla="*/ 3725897 h 3725897"/>
              <a:gd name="connsiteX8" fmla="*/ 798158 w 1000623"/>
              <a:gd name="connsiteY8" fmla="*/ 3725897 h 3725897"/>
              <a:gd name="connsiteX9" fmla="*/ 669289 w 1000623"/>
              <a:gd name="connsiteY9" fmla="*/ 3597028 h 3725897"/>
              <a:gd name="connsiteX10" fmla="*/ 669289 w 1000623"/>
              <a:gd name="connsiteY10" fmla="*/ 1468762 h 3725897"/>
              <a:gd name="connsiteX11" fmla="*/ 14795 w 1000623"/>
              <a:gd name="connsiteY11" fmla="*/ 222135 h 3725897"/>
              <a:gd name="connsiteX12" fmla="*/ 68991 w 1000623"/>
              <a:gd name="connsiteY12" fmla="*/ 48131 h 3725897"/>
              <a:gd name="connsiteX13" fmla="*/ 132487 w 1000623"/>
              <a:gd name="connsiteY13" fmla="*/ 14795 h 3725897"/>
              <a:gd name="connsiteX14" fmla="*/ 230713 w 1000623"/>
              <a:gd name="connsiteY14" fmla="*/ 5856 h 37258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000623" h="3725897">
                <a:moveTo>
                  <a:pt x="230713" y="5856"/>
                </a:moveTo>
                <a:cubicBezTo>
                  <a:pt x="262201" y="15663"/>
                  <a:pt x="289948" y="37483"/>
                  <a:pt x="306490" y="68991"/>
                </a:cubicBezTo>
                <a:lnTo>
                  <a:pt x="986272" y="1363785"/>
                </a:lnTo>
                <a:cubicBezTo>
                  <a:pt x="994543" y="1379538"/>
                  <a:pt x="999230" y="1396223"/>
                  <a:pt x="1000623" y="1412905"/>
                </a:cubicBezTo>
                <a:lnTo>
                  <a:pt x="998578" y="1431462"/>
                </a:lnTo>
                <a:lnTo>
                  <a:pt x="998742" y="1432275"/>
                </a:lnTo>
                <a:lnTo>
                  <a:pt x="998742" y="3597028"/>
                </a:lnTo>
                <a:cubicBezTo>
                  <a:pt x="998742" y="3668200"/>
                  <a:pt x="941045" y="3725897"/>
                  <a:pt x="869873" y="3725897"/>
                </a:cubicBezTo>
                <a:lnTo>
                  <a:pt x="798158" y="3725897"/>
                </a:lnTo>
                <a:cubicBezTo>
                  <a:pt x="726986" y="3725897"/>
                  <a:pt x="669289" y="3668200"/>
                  <a:pt x="669289" y="3597028"/>
                </a:cubicBezTo>
                <a:lnTo>
                  <a:pt x="669289" y="1468762"/>
                </a:lnTo>
                <a:lnTo>
                  <a:pt x="14795" y="222135"/>
                </a:lnTo>
                <a:cubicBezTo>
                  <a:pt x="-18289" y="159119"/>
                  <a:pt x="5976" y="81215"/>
                  <a:pt x="68991" y="48131"/>
                </a:cubicBezTo>
                <a:lnTo>
                  <a:pt x="132487" y="14795"/>
                </a:lnTo>
                <a:cubicBezTo>
                  <a:pt x="163994" y="-1747"/>
                  <a:pt x="199224" y="-3952"/>
                  <a:pt x="230713" y="5856"/>
                </a:cubicBezTo>
                <a:close/>
              </a:path>
            </a:pathLst>
          </a:custGeom>
          <a:solidFill>
            <a:schemeClr val="bg1"/>
          </a:solidFill>
          <a:ln w="9525">
            <a:solidFill>
              <a:srgbClr val="F1692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13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0" name="Flowchart: Connector 29">
            <a:extLst>
              <a:ext uri="{FF2B5EF4-FFF2-40B4-BE49-F238E27FC236}">
                <a16:creationId xmlns:a16="http://schemas.microsoft.com/office/drawing/2014/main" id="{3293EF82-4800-1E37-51FA-BF1BEA443372}"/>
              </a:ext>
            </a:extLst>
          </p:cNvPr>
          <p:cNvSpPr/>
          <p:nvPr/>
        </p:nvSpPr>
        <p:spPr>
          <a:xfrm>
            <a:off x="3033987" y="4211556"/>
            <a:ext cx="457200" cy="457200"/>
          </a:xfrm>
          <a:prstGeom prst="flowChartConnector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CEF9EAF2-0AF4-D919-4950-92C9B0BE4D29}"/>
              </a:ext>
            </a:extLst>
          </p:cNvPr>
          <p:cNvSpPr txBox="1"/>
          <p:nvPr/>
        </p:nvSpPr>
        <p:spPr>
          <a:xfrm>
            <a:off x="3620081" y="4292609"/>
            <a:ext cx="1360170" cy="29509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CB813"/>
              </a:buClr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-cell engaging </a:t>
            </a:r>
            <a:b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herapies</a:t>
            </a:r>
          </a:p>
        </p:txBody>
      </p:sp>
      <p:sp>
        <p:nvSpPr>
          <p:cNvPr id="344" name="Free-form: Shape 34">
            <a:extLst>
              <a:ext uri="{FF2B5EF4-FFF2-40B4-BE49-F238E27FC236}">
                <a16:creationId xmlns:a16="http://schemas.microsoft.com/office/drawing/2014/main" id="{4BAEBC00-276E-89C4-7C66-641633F4B207}"/>
              </a:ext>
            </a:extLst>
          </p:cNvPr>
          <p:cNvSpPr/>
          <p:nvPr/>
        </p:nvSpPr>
        <p:spPr>
          <a:xfrm rot="11241542">
            <a:off x="1189535" y="5401759"/>
            <a:ext cx="141410" cy="124066"/>
          </a:xfrm>
          <a:custGeom>
            <a:avLst/>
            <a:gdLst>
              <a:gd name="connsiteX0" fmla="*/ 184925 w 420041"/>
              <a:gd name="connsiteY0" fmla="*/ 340000 h 381715"/>
              <a:gd name="connsiteX1" fmla="*/ 316126 w 420041"/>
              <a:gd name="connsiteY1" fmla="*/ 273671 h 381715"/>
              <a:gd name="connsiteX2" fmla="*/ 344968 w 420041"/>
              <a:gd name="connsiteY2" fmla="*/ 248147 h 381715"/>
              <a:gd name="connsiteX3" fmla="*/ 346982 w 420041"/>
              <a:gd name="connsiteY3" fmla="*/ 230164 h 381715"/>
              <a:gd name="connsiteX4" fmla="*/ 398451 w 420041"/>
              <a:gd name="connsiteY4" fmla="*/ 204144 h 381715"/>
              <a:gd name="connsiteX5" fmla="*/ 418346 w 420041"/>
              <a:gd name="connsiteY5" fmla="*/ 170842 h 381715"/>
              <a:gd name="connsiteX6" fmla="*/ 417908 w 420041"/>
              <a:gd name="connsiteY6" fmla="*/ 169976 h 381715"/>
              <a:gd name="connsiteX7" fmla="*/ 420041 w 420041"/>
              <a:gd name="connsiteY7" fmla="*/ 164827 h 381715"/>
              <a:gd name="connsiteX8" fmla="*/ 420041 w 420041"/>
              <a:gd name="connsiteY8" fmla="*/ 29057 h 381715"/>
              <a:gd name="connsiteX9" fmla="*/ 390984 w 420041"/>
              <a:gd name="connsiteY9" fmla="*/ 0 h 381715"/>
              <a:gd name="connsiteX10" fmla="*/ 374813 w 420041"/>
              <a:gd name="connsiteY10" fmla="*/ 0 h 381715"/>
              <a:gd name="connsiteX11" fmla="*/ 345756 w 420041"/>
              <a:gd name="connsiteY11" fmla="*/ 29057 h 381715"/>
              <a:gd name="connsiteX12" fmla="*/ 345756 w 420041"/>
              <a:gd name="connsiteY12" fmla="*/ 141140 h 381715"/>
              <a:gd name="connsiteX13" fmla="*/ 310171 w 420041"/>
              <a:gd name="connsiteY13" fmla="*/ 159129 h 381715"/>
              <a:gd name="connsiteX14" fmla="*/ 295765 w 420041"/>
              <a:gd name="connsiteY14" fmla="*/ 150821 h 381715"/>
              <a:gd name="connsiteX15" fmla="*/ 258111 w 420041"/>
              <a:gd name="connsiteY15" fmla="*/ 158914 h 381715"/>
              <a:gd name="connsiteX16" fmla="*/ 126910 w 420041"/>
              <a:gd name="connsiteY16" fmla="*/ 225243 h 381715"/>
              <a:gd name="connsiteX17" fmla="*/ 98067 w 420041"/>
              <a:gd name="connsiteY17" fmla="*/ 250767 h 381715"/>
              <a:gd name="connsiteX18" fmla="*/ 96216 w 420041"/>
              <a:gd name="connsiteY18" fmla="*/ 267294 h 381715"/>
              <a:gd name="connsiteX19" fmla="*/ 21363 w 420041"/>
              <a:gd name="connsiteY19" fmla="*/ 305136 h 381715"/>
              <a:gd name="connsiteX20" fmla="*/ 1468 w 420041"/>
              <a:gd name="connsiteY20" fmla="*/ 338437 h 381715"/>
              <a:gd name="connsiteX21" fmla="*/ 18845 w 420041"/>
              <a:gd name="connsiteY21" fmla="*/ 372809 h 381715"/>
              <a:gd name="connsiteX22" fmla="*/ 57458 w 420041"/>
              <a:gd name="connsiteY22" fmla="*/ 376532 h 381715"/>
              <a:gd name="connsiteX23" fmla="*/ 131594 w 420041"/>
              <a:gd name="connsiteY23" fmla="*/ 339053 h 381715"/>
              <a:gd name="connsiteX24" fmla="*/ 147270 w 420041"/>
              <a:gd name="connsiteY24" fmla="*/ 348093 h 381715"/>
              <a:gd name="connsiteX25" fmla="*/ 184925 w 420041"/>
              <a:gd name="connsiteY25" fmla="*/ 340000 h 381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420041" h="381715">
                <a:moveTo>
                  <a:pt x="184925" y="340000"/>
                </a:moveTo>
                <a:lnTo>
                  <a:pt x="316126" y="273671"/>
                </a:lnTo>
                <a:cubicBezTo>
                  <a:pt x="329110" y="267107"/>
                  <a:pt x="339181" y="257834"/>
                  <a:pt x="344968" y="248147"/>
                </a:cubicBezTo>
                <a:lnTo>
                  <a:pt x="346982" y="230164"/>
                </a:lnTo>
                <a:lnTo>
                  <a:pt x="398451" y="204144"/>
                </a:lnTo>
                <a:cubicBezTo>
                  <a:pt x="414608" y="195976"/>
                  <a:pt x="423515" y="181066"/>
                  <a:pt x="418346" y="170842"/>
                </a:cubicBezTo>
                <a:lnTo>
                  <a:pt x="417908" y="169976"/>
                </a:lnTo>
                <a:lnTo>
                  <a:pt x="420041" y="164827"/>
                </a:lnTo>
                <a:lnTo>
                  <a:pt x="420041" y="29057"/>
                </a:lnTo>
                <a:cubicBezTo>
                  <a:pt x="420041" y="13009"/>
                  <a:pt x="407032" y="0"/>
                  <a:pt x="390984" y="0"/>
                </a:cubicBezTo>
                <a:lnTo>
                  <a:pt x="374813" y="0"/>
                </a:lnTo>
                <a:cubicBezTo>
                  <a:pt x="358765" y="0"/>
                  <a:pt x="345756" y="13009"/>
                  <a:pt x="345756" y="29057"/>
                </a:cubicBezTo>
                <a:lnTo>
                  <a:pt x="345756" y="141140"/>
                </a:lnTo>
                <a:lnTo>
                  <a:pt x="310171" y="159129"/>
                </a:lnTo>
                <a:lnTo>
                  <a:pt x="295765" y="150821"/>
                </a:lnTo>
                <a:cubicBezTo>
                  <a:pt x="284534" y="149738"/>
                  <a:pt x="271095" y="152350"/>
                  <a:pt x="258111" y="158914"/>
                </a:cubicBezTo>
                <a:lnTo>
                  <a:pt x="126910" y="225243"/>
                </a:lnTo>
                <a:cubicBezTo>
                  <a:pt x="113925" y="231807"/>
                  <a:pt x="103853" y="241080"/>
                  <a:pt x="98067" y="250767"/>
                </a:cubicBezTo>
                <a:lnTo>
                  <a:pt x="96216" y="267294"/>
                </a:lnTo>
                <a:lnTo>
                  <a:pt x="21363" y="305136"/>
                </a:lnTo>
                <a:cubicBezTo>
                  <a:pt x="5207" y="313303"/>
                  <a:pt x="-3701" y="328213"/>
                  <a:pt x="1468" y="338437"/>
                </a:cubicBezTo>
                <a:lnTo>
                  <a:pt x="18845" y="372809"/>
                </a:lnTo>
                <a:cubicBezTo>
                  <a:pt x="24013" y="383033"/>
                  <a:pt x="41301" y="384700"/>
                  <a:pt x="57458" y="376532"/>
                </a:cubicBezTo>
                <a:lnTo>
                  <a:pt x="131594" y="339053"/>
                </a:lnTo>
                <a:lnTo>
                  <a:pt x="147270" y="348093"/>
                </a:lnTo>
                <a:cubicBezTo>
                  <a:pt x="158501" y="349176"/>
                  <a:pt x="171940" y="346564"/>
                  <a:pt x="184925" y="340000"/>
                </a:cubicBezTo>
                <a:close/>
              </a:path>
            </a:pathLst>
          </a:cu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5" name="Free-form: Shape 32">
            <a:extLst>
              <a:ext uri="{FF2B5EF4-FFF2-40B4-BE49-F238E27FC236}">
                <a16:creationId xmlns:a16="http://schemas.microsoft.com/office/drawing/2014/main" id="{D29C6DF4-064A-39BB-925C-722278CDB6A5}"/>
              </a:ext>
            </a:extLst>
          </p:cNvPr>
          <p:cNvSpPr/>
          <p:nvPr/>
        </p:nvSpPr>
        <p:spPr>
          <a:xfrm rot="20797224" flipH="1">
            <a:off x="1162272" y="5488371"/>
            <a:ext cx="151250" cy="57437"/>
          </a:xfrm>
          <a:custGeom>
            <a:avLst/>
            <a:gdLst>
              <a:gd name="connsiteX0" fmla="*/ 107157 w 564357"/>
              <a:gd name="connsiteY0" fmla="*/ 0 h 214314"/>
              <a:gd name="connsiteX1" fmla="*/ 205893 w 564357"/>
              <a:gd name="connsiteY1" fmla="*/ 65447 h 214314"/>
              <a:gd name="connsiteX2" fmla="*/ 209453 w 564357"/>
              <a:gd name="connsiteY2" fmla="*/ 83080 h 214314"/>
              <a:gd name="connsiteX3" fmla="*/ 352417 w 564357"/>
              <a:gd name="connsiteY3" fmla="*/ 83080 h 214314"/>
              <a:gd name="connsiteX4" fmla="*/ 354712 w 564357"/>
              <a:gd name="connsiteY4" fmla="*/ 84030 h 214314"/>
              <a:gd name="connsiteX5" fmla="*/ 358464 w 564357"/>
              <a:gd name="connsiteY5" fmla="*/ 65447 h 214314"/>
              <a:gd name="connsiteX6" fmla="*/ 457200 w 564357"/>
              <a:gd name="connsiteY6" fmla="*/ 0 h 214314"/>
              <a:gd name="connsiteX7" fmla="*/ 564357 w 564357"/>
              <a:gd name="connsiteY7" fmla="*/ 107157 h 214314"/>
              <a:gd name="connsiteX8" fmla="*/ 457200 w 564357"/>
              <a:gd name="connsiteY8" fmla="*/ 214314 h 214314"/>
              <a:gd name="connsiteX9" fmla="*/ 358464 w 564357"/>
              <a:gd name="connsiteY9" fmla="*/ 148867 h 214314"/>
              <a:gd name="connsiteX10" fmla="*/ 356437 w 564357"/>
              <a:gd name="connsiteY10" fmla="*/ 138825 h 214314"/>
              <a:gd name="connsiteX11" fmla="*/ 352417 w 564357"/>
              <a:gd name="connsiteY11" fmla="*/ 140491 h 214314"/>
              <a:gd name="connsiteX12" fmla="*/ 207584 w 564357"/>
              <a:gd name="connsiteY12" fmla="*/ 140491 h 214314"/>
              <a:gd name="connsiteX13" fmla="*/ 205893 w 564357"/>
              <a:gd name="connsiteY13" fmla="*/ 148867 h 214314"/>
              <a:gd name="connsiteX14" fmla="*/ 107157 w 564357"/>
              <a:gd name="connsiteY14" fmla="*/ 214314 h 214314"/>
              <a:gd name="connsiteX15" fmla="*/ 0 w 564357"/>
              <a:gd name="connsiteY15" fmla="*/ 107157 h 214314"/>
              <a:gd name="connsiteX16" fmla="*/ 107157 w 564357"/>
              <a:gd name="connsiteY16" fmla="*/ 0 h 2143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564357" h="214314">
                <a:moveTo>
                  <a:pt x="107157" y="0"/>
                </a:moveTo>
                <a:cubicBezTo>
                  <a:pt x="151543" y="0"/>
                  <a:pt x="189626" y="26987"/>
                  <a:pt x="205893" y="65447"/>
                </a:cubicBezTo>
                <a:lnTo>
                  <a:pt x="209453" y="83080"/>
                </a:lnTo>
                <a:lnTo>
                  <a:pt x="352417" y="83080"/>
                </a:lnTo>
                <a:lnTo>
                  <a:pt x="354712" y="84030"/>
                </a:lnTo>
                <a:lnTo>
                  <a:pt x="358464" y="65447"/>
                </a:lnTo>
                <a:cubicBezTo>
                  <a:pt x="374731" y="26987"/>
                  <a:pt x="412814" y="0"/>
                  <a:pt x="457200" y="0"/>
                </a:cubicBezTo>
                <a:cubicBezTo>
                  <a:pt x="516381" y="0"/>
                  <a:pt x="564357" y="47976"/>
                  <a:pt x="564357" y="107157"/>
                </a:cubicBezTo>
                <a:cubicBezTo>
                  <a:pt x="564357" y="166338"/>
                  <a:pt x="516381" y="214314"/>
                  <a:pt x="457200" y="214314"/>
                </a:cubicBezTo>
                <a:cubicBezTo>
                  <a:pt x="412814" y="214314"/>
                  <a:pt x="374731" y="187328"/>
                  <a:pt x="358464" y="148867"/>
                </a:cubicBezTo>
                <a:lnTo>
                  <a:pt x="356437" y="138825"/>
                </a:lnTo>
                <a:lnTo>
                  <a:pt x="352417" y="140491"/>
                </a:lnTo>
                <a:lnTo>
                  <a:pt x="207584" y="140491"/>
                </a:lnTo>
                <a:lnTo>
                  <a:pt x="205893" y="148867"/>
                </a:lnTo>
                <a:cubicBezTo>
                  <a:pt x="189626" y="187328"/>
                  <a:pt x="151543" y="214314"/>
                  <a:pt x="107157" y="214314"/>
                </a:cubicBezTo>
                <a:cubicBezTo>
                  <a:pt x="47976" y="214314"/>
                  <a:pt x="0" y="166338"/>
                  <a:pt x="0" y="107157"/>
                </a:cubicBezTo>
                <a:cubicBezTo>
                  <a:pt x="0" y="47976"/>
                  <a:pt x="47976" y="0"/>
                  <a:pt x="107157" y="0"/>
                </a:cubicBezTo>
                <a:close/>
              </a:path>
            </a:pathLst>
          </a:cu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6" name="Free-form: Shape 37">
            <a:extLst>
              <a:ext uri="{FF2B5EF4-FFF2-40B4-BE49-F238E27FC236}">
                <a16:creationId xmlns:a16="http://schemas.microsoft.com/office/drawing/2014/main" id="{254B2549-C737-DFE7-86C9-80FCF89EDD05}"/>
              </a:ext>
            </a:extLst>
          </p:cNvPr>
          <p:cNvSpPr/>
          <p:nvPr/>
        </p:nvSpPr>
        <p:spPr>
          <a:xfrm rot="8023290" flipH="1">
            <a:off x="1452708" y="5310413"/>
            <a:ext cx="141410" cy="124066"/>
          </a:xfrm>
          <a:custGeom>
            <a:avLst/>
            <a:gdLst>
              <a:gd name="connsiteX0" fmla="*/ 184925 w 420041"/>
              <a:gd name="connsiteY0" fmla="*/ 340000 h 381715"/>
              <a:gd name="connsiteX1" fmla="*/ 316126 w 420041"/>
              <a:gd name="connsiteY1" fmla="*/ 273671 h 381715"/>
              <a:gd name="connsiteX2" fmla="*/ 344968 w 420041"/>
              <a:gd name="connsiteY2" fmla="*/ 248147 h 381715"/>
              <a:gd name="connsiteX3" fmla="*/ 346982 w 420041"/>
              <a:gd name="connsiteY3" fmla="*/ 230164 h 381715"/>
              <a:gd name="connsiteX4" fmla="*/ 398451 w 420041"/>
              <a:gd name="connsiteY4" fmla="*/ 204144 h 381715"/>
              <a:gd name="connsiteX5" fmla="*/ 418346 w 420041"/>
              <a:gd name="connsiteY5" fmla="*/ 170842 h 381715"/>
              <a:gd name="connsiteX6" fmla="*/ 417908 w 420041"/>
              <a:gd name="connsiteY6" fmla="*/ 169976 h 381715"/>
              <a:gd name="connsiteX7" fmla="*/ 420041 w 420041"/>
              <a:gd name="connsiteY7" fmla="*/ 164827 h 381715"/>
              <a:gd name="connsiteX8" fmla="*/ 420041 w 420041"/>
              <a:gd name="connsiteY8" fmla="*/ 29057 h 381715"/>
              <a:gd name="connsiteX9" fmla="*/ 390984 w 420041"/>
              <a:gd name="connsiteY9" fmla="*/ 0 h 381715"/>
              <a:gd name="connsiteX10" fmla="*/ 374813 w 420041"/>
              <a:gd name="connsiteY10" fmla="*/ 0 h 381715"/>
              <a:gd name="connsiteX11" fmla="*/ 345756 w 420041"/>
              <a:gd name="connsiteY11" fmla="*/ 29057 h 381715"/>
              <a:gd name="connsiteX12" fmla="*/ 345756 w 420041"/>
              <a:gd name="connsiteY12" fmla="*/ 141140 h 381715"/>
              <a:gd name="connsiteX13" fmla="*/ 310171 w 420041"/>
              <a:gd name="connsiteY13" fmla="*/ 159129 h 381715"/>
              <a:gd name="connsiteX14" fmla="*/ 295765 w 420041"/>
              <a:gd name="connsiteY14" fmla="*/ 150821 h 381715"/>
              <a:gd name="connsiteX15" fmla="*/ 258111 w 420041"/>
              <a:gd name="connsiteY15" fmla="*/ 158914 h 381715"/>
              <a:gd name="connsiteX16" fmla="*/ 126910 w 420041"/>
              <a:gd name="connsiteY16" fmla="*/ 225243 h 381715"/>
              <a:gd name="connsiteX17" fmla="*/ 98067 w 420041"/>
              <a:gd name="connsiteY17" fmla="*/ 250767 h 381715"/>
              <a:gd name="connsiteX18" fmla="*/ 96216 w 420041"/>
              <a:gd name="connsiteY18" fmla="*/ 267294 h 381715"/>
              <a:gd name="connsiteX19" fmla="*/ 21363 w 420041"/>
              <a:gd name="connsiteY19" fmla="*/ 305136 h 381715"/>
              <a:gd name="connsiteX20" fmla="*/ 1468 w 420041"/>
              <a:gd name="connsiteY20" fmla="*/ 338437 h 381715"/>
              <a:gd name="connsiteX21" fmla="*/ 18845 w 420041"/>
              <a:gd name="connsiteY21" fmla="*/ 372809 h 381715"/>
              <a:gd name="connsiteX22" fmla="*/ 57458 w 420041"/>
              <a:gd name="connsiteY22" fmla="*/ 376532 h 381715"/>
              <a:gd name="connsiteX23" fmla="*/ 131594 w 420041"/>
              <a:gd name="connsiteY23" fmla="*/ 339053 h 381715"/>
              <a:gd name="connsiteX24" fmla="*/ 147270 w 420041"/>
              <a:gd name="connsiteY24" fmla="*/ 348093 h 381715"/>
              <a:gd name="connsiteX25" fmla="*/ 184925 w 420041"/>
              <a:gd name="connsiteY25" fmla="*/ 340000 h 381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420041" h="381715">
                <a:moveTo>
                  <a:pt x="184925" y="340000"/>
                </a:moveTo>
                <a:lnTo>
                  <a:pt x="316126" y="273671"/>
                </a:lnTo>
                <a:cubicBezTo>
                  <a:pt x="329110" y="267107"/>
                  <a:pt x="339181" y="257834"/>
                  <a:pt x="344968" y="248147"/>
                </a:cubicBezTo>
                <a:lnTo>
                  <a:pt x="346982" y="230164"/>
                </a:lnTo>
                <a:lnTo>
                  <a:pt x="398451" y="204144"/>
                </a:lnTo>
                <a:cubicBezTo>
                  <a:pt x="414608" y="195976"/>
                  <a:pt x="423515" y="181066"/>
                  <a:pt x="418346" y="170842"/>
                </a:cubicBezTo>
                <a:lnTo>
                  <a:pt x="417908" y="169976"/>
                </a:lnTo>
                <a:lnTo>
                  <a:pt x="420041" y="164827"/>
                </a:lnTo>
                <a:lnTo>
                  <a:pt x="420041" y="29057"/>
                </a:lnTo>
                <a:cubicBezTo>
                  <a:pt x="420041" y="13009"/>
                  <a:pt x="407032" y="0"/>
                  <a:pt x="390984" y="0"/>
                </a:cubicBezTo>
                <a:lnTo>
                  <a:pt x="374813" y="0"/>
                </a:lnTo>
                <a:cubicBezTo>
                  <a:pt x="358765" y="0"/>
                  <a:pt x="345756" y="13009"/>
                  <a:pt x="345756" y="29057"/>
                </a:cubicBezTo>
                <a:lnTo>
                  <a:pt x="345756" y="141140"/>
                </a:lnTo>
                <a:lnTo>
                  <a:pt x="310171" y="159129"/>
                </a:lnTo>
                <a:lnTo>
                  <a:pt x="295765" y="150821"/>
                </a:lnTo>
                <a:cubicBezTo>
                  <a:pt x="284534" y="149738"/>
                  <a:pt x="271095" y="152350"/>
                  <a:pt x="258111" y="158914"/>
                </a:cubicBezTo>
                <a:lnTo>
                  <a:pt x="126910" y="225243"/>
                </a:lnTo>
                <a:cubicBezTo>
                  <a:pt x="113925" y="231807"/>
                  <a:pt x="103853" y="241080"/>
                  <a:pt x="98067" y="250767"/>
                </a:cubicBezTo>
                <a:lnTo>
                  <a:pt x="96216" y="267294"/>
                </a:lnTo>
                <a:lnTo>
                  <a:pt x="21363" y="305136"/>
                </a:lnTo>
                <a:cubicBezTo>
                  <a:pt x="5207" y="313303"/>
                  <a:pt x="-3701" y="328213"/>
                  <a:pt x="1468" y="338437"/>
                </a:cubicBezTo>
                <a:lnTo>
                  <a:pt x="18845" y="372809"/>
                </a:lnTo>
                <a:cubicBezTo>
                  <a:pt x="24013" y="383033"/>
                  <a:pt x="41301" y="384700"/>
                  <a:pt x="57458" y="376532"/>
                </a:cubicBezTo>
                <a:lnTo>
                  <a:pt x="131594" y="339053"/>
                </a:lnTo>
                <a:lnTo>
                  <a:pt x="147270" y="348093"/>
                </a:lnTo>
                <a:cubicBezTo>
                  <a:pt x="158501" y="349176"/>
                  <a:pt x="171940" y="346564"/>
                  <a:pt x="184925" y="340000"/>
                </a:cubicBezTo>
                <a:close/>
              </a:path>
            </a:pathLst>
          </a:cu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7" name="Free-form: Shape 38">
            <a:extLst>
              <a:ext uri="{FF2B5EF4-FFF2-40B4-BE49-F238E27FC236}">
                <a16:creationId xmlns:a16="http://schemas.microsoft.com/office/drawing/2014/main" id="{BBA3403E-8D9A-9515-3080-160EC27AA1CB}"/>
              </a:ext>
            </a:extLst>
          </p:cNvPr>
          <p:cNvSpPr/>
          <p:nvPr/>
        </p:nvSpPr>
        <p:spPr>
          <a:xfrm rot="20067608">
            <a:off x="1486298" y="5375524"/>
            <a:ext cx="151250" cy="57437"/>
          </a:xfrm>
          <a:custGeom>
            <a:avLst/>
            <a:gdLst>
              <a:gd name="connsiteX0" fmla="*/ 107157 w 564357"/>
              <a:gd name="connsiteY0" fmla="*/ 0 h 214314"/>
              <a:gd name="connsiteX1" fmla="*/ 205893 w 564357"/>
              <a:gd name="connsiteY1" fmla="*/ 65447 h 214314"/>
              <a:gd name="connsiteX2" fmla="*/ 209453 w 564357"/>
              <a:gd name="connsiteY2" fmla="*/ 83080 h 214314"/>
              <a:gd name="connsiteX3" fmla="*/ 352417 w 564357"/>
              <a:gd name="connsiteY3" fmla="*/ 83080 h 214314"/>
              <a:gd name="connsiteX4" fmla="*/ 354712 w 564357"/>
              <a:gd name="connsiteY4" fmla="*/ 84030 h 214314"/>
              <a:gd name="connsiteX5" fmla="*/ 358464 w 564357"/>
              <a:gd name="connsiteY5" fmla="*/ 65447 h 214314"/>
              <a:gd name="connsiteX6" fmla="*/ 457200 w 564357"/>
              <a:gd name="connsiteY6" fmla="*/ 0 h 214314"/>
              <a:gd name="connsiteX7" fmla="*/ 564357 w 564357"/>
              <a:gd name="connsiteY7" fmla="*/ 107157 h 214314"/>
              <a:gd name="connsiteX8" fmla="*/ 457200 w 564357"/>
              <a:gd name="connsiteY8" fmla="*/ 214314 h 214314"/>
              <a:gd name="connsiteX9" fmla="*/ 358464 w 564357"/>
              <a:gd name="connsiteY9" fmla="*/ 148867 h 214314"/>
              <a:gd name="connsiteX10" fmla="*/ 356437 w 564357"/>
              <a:gd name="connsiteY10" fmla="*/ 138825 h 214314"/>
              <a:gd name="connsiteX11" fmla="*/ 352417 w 564357"/>
              <a:gd name="connsiteY11" fmla="*/ 140491 h 214314"/>
              <a:gd name="connsiteX12" fmla="*/ 207584 w 564357"/>
              <a:gd name="connsiteY12" fmla="*/ 140491 h 214314"/>
              <a:gd name="connsiteX13" fmla="*/ 205893 w 564357"/>
              <a:gd name="connsiteY13" fmla="*/ 148867 h 214314"/>
              <a:gd name="connsiteX14" fmla="*/ 107157 w 564357"/>
              <a:gd name="connsiteY14" fmla="*/ 214314 h 214314"/>
              <a:gd name="connsiteX15" fmla="*/ 0 w 564357"/>
              <a:gd name="connsiteY15" fmla="*/ 107157 h 214314"/>
              <a:gd name="connsiteX16" fmla="*/ 107157 w 564357"/>
              <a:gd name="connsiteY16" fmla="*/ 0 h 2143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564357" h="214314">
                <a:moveTo>
                  <a:pt x="107157" y="0"/>
                </a:moveTo>
                <a:cubicBezTo>
                  <a:pt x="151543" y="0"/>
                  <a:pt x="189626" y="26987"/>
                  <a:pt x="205893" y="65447"/>
                </a:cubicBezTo>
                <a:lnTo>
                  <a:pt x="209453" y="83080"/>
                </a:lnTo>
                <a:lnTo>
                  <a:pt x="352417" y="83080"/>
                </a:lnTo>
                <a:lnTo>
                  <a:pt x="354712" y="84030"/>
                </a:lnTo>
                <a:lnTo>
                  <a:pt x="358464" y="65447"/>
                </a:lnTo>
                <a:cubicBezTo>
                  <a:pt x="374731" y="26987"/>
                  <a:pt x="412814" y="0"/>
                  <a:pt x="457200" y="0"/>
                </a:cubicBezTo>
                <a:cubicBezTo>
                  <a:pt x="516381" y="0"/>
                  <a:pt x="564357" y="47976"/>
                  <a:pt x="564357" y="107157"/>
                </a:cubicBezTo>
                <a:cubicBezTo>
                  <a:pt x="564357" y="166338"/>
                  <a:pt x="516381" y="214314"/>
                  <a:pt x="457200" y="214314"/>
                </a:cubicBezTo>
                <a:cubicBezTo>
                  <a:pt x="412814" y="214314"/>
                  <a:pt x="374731" y="187328"/>
                  <a:pt x="358464" y="148867"/>
                </a:cubicBezTo>
                <a:lnTo>
                  <a:pt x="356437" y="138825"/>
                </a:lnTo>
                <a:lnTo>
                  <a:pt x="352417" y="140491"/>
                </a:lnTo>
                <a:lnTo>
                  <a:pt x="207584" y="140491"/>
                </a:lnTo>
                <a:lnTo>
                  <a:pt x="205893" y="148867"/>
                </a:lnTo>
                <a:cubicBezTo>
                  <a:pt x="189626" y="187328"/>
                  <a:pt x="151543" y="214314"/>
                  <a:pt x="107157" y="214314"/>
                </a:cubicBezTo>
                <a:cubicBezTo>
                  <a:pt x="47976" y="214314"/>
                  <a:pt x="0" y="166338"/>
                  <a:pt x="0" y="107157"/>
                </a:cubicBezTo>
                <a:cubicBezTo>
                  <a:pt x="0" y="47976"/>
                  <a:pt x="47976" y="0"/>
                  <a:pt x="107157" y="0"/>
                </a:cubicBezTo>
                <a:close/>
              </a:path>
            </a:pathLst>
          </a:cu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9" name="Rectangle: Rounded Corners 348">
            <a:extLst>
              <a:ext uri="{FF2B5EF4-FFF2-40B4-BE49-F238E27FC236}">
                <a16:creationId xmlns:a16="http://schemas.microsoft.com/office/drawing/2014/main" id="{5D1331C7-7853-140B-FD94-E1466649EECF}"/>
              </a:ext>
            </a:extLst>
          </p:cNvPr>
          <p:cNvSpPr/>
          <p:nvPr/>
        </p:nvSpPr>
        <p:spPr>
          <a:xfrm rot="494416" flipH="1">
            <a:off x="1401130" y="4972223"/>
            <a:ext cx="46828" cy="230513"/>
          </a:xfrm>
          <a:prstGeom prst="roundRect">
            <a:avLst>
              <a:gd name="adj" fmla="val 39116"/>
            </a:avLst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0" name="Free-form: Shape 18">
            <a:extLst>
              <a:ext uri="{FF2B5EF4-FFF2-40B4-BE49-F238E27FC236}">
                <a16:creationId xmlns:a16="http://schemas.microsoft.com/office/drawing/2014/main" id="{9DAE77BD-BE43-4589-0573-4AE37BC12C42}"/>
              </a:ext>
            </a:extLst>
          </p:cNvPr>
          <p:cNvSpPr/>
          <p:nvPr/>
        </p:nvSpPr>
        <p:spPr>
          <a:xfrm rot="20432416" flipH="1">
            <a:off x="1343661" y="4964349"/>
            <a:ext cx="142228" cy="554527"/>
          </a:xfrm>
          <a:custGeom>
            <a:avLst/>
            <a:gdLst>
              <a:gd name="connsiteX0" fmla="*/ 230713 w 1000623"/>
              <a:gd name="connsiteY0" fmla="*/ 5856 h 3725897"/>
              <a:gd name="connsiteX1" fmla="*/ 306490 w 1000623"/>
              <a:gd name="connsiteY1" fmla="*/ 68991 h 3725897"/>
              <a:gd name="connsiteX2" fmla="*/ 986272 w 1000623"/>
              <a:gd name="connsiteY2" fmla="*/ 1363785 h 3725897"/>
              <a:gd name="connsiteX3" fmla="*/ 1000623 w 1000623"/>
              <a:gd name="connsiteY3" fmla="*/ 1412905 h 3725897"/>
              <a:gd name="connsiteX4" fmla="*/ 998578 w 1000623"/>
              <a:gd name="connsiteY4" fmla="*/ 1431462 h 3725897"/>
              <a:gd name="connsiteX5" fmla="*/ 998742 w 1000623"/>
              <a:gd name="connsiteY5" fmla="*/ 1432275 h 3725897"/>
              <a:gd name="connsiteX6" fmla="*/ 998742 w 1000623"/>
              <a:gd name="connsiteY6" fmla="*/ 3597028 h 3725897"/>
              <a:gd name="connsiteX7" fmla="*/ 869873 w 1000623"/>
              <a:gd name="connsiteY7" fmla="*/ 3725897 h 3725897"/>
              <a:gd name="connsiteX8" fmla="*/ 798158 w 1000623"/>
              <a:gd name="connsiteY8" fmla="*/ 3725897 h 3725897"/>
              <a:gd name="connsiteX9" fmla="*/ 669289 w 1000623"/>
              <a:gd name="connsiteY9" fmla="*/ 3597028 h 3725897"/>
              <a:gd name="connsiteX10" fmla="*/ 669289 w 1000623"/>
              <a:gd name="connsiteY10" fmla="*/ 1468762 h 3725897"/>
              <a:gd name="connsiteX11" fmla="*/ 14795 w 1000623"/>
              <a:gd name="connsiteY11" fmla="*/ 222135 h 3725897"/>
              <a:gd name="connsiteX12" fmla="*/ 68991 w 1000623"/>
              <a:gd name="connsiteY12" fmla="*/ 48131 h 3725897"/>
              <a:gd name="connsiteX13" fmla="*/ 132487 w 1000623"/>
              <a:gd name="connsiteY13" fmla="*/ 14795 h 3725897"/>
              <a:gd name="connsiteX14" fmla="*/ 230713 w 1000623"/>
              <a:gd name="connsiteY14" fmla="*/ 5856 h 37258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000623" h="3725897">
                <a:moveTo>
                  <a:pt x="230713" y="5856"/>
                </a:moveTo>
                <a:cubicBezTo>
                  <a:pt x="262201" y="15663"/>
                  <a:pt x="289948" y="37483"/>
                  <a:pt x="306490" y="68991"/>
                </a:cubicBezTo>
                <a:lnTo>
                  <a:pt x="986272" y="1363785"/>
                </a:lnTo>
                <a:cubicBezTo>
                  <a:pt x="994543" y="1379538"/>
                  <a:pt x="999230" y="1396223"/>
                  <a:pt x="1000623" y="1412905"/>
                </a:cubicBezTo>
                <a:lnTo>
                  <a:pt x="998578" y="1431462"/>
                </a:lnTo>
                <a:lnTo>
                  <a:pt x="998742" y="1432275"/>
                </a:lnTo>
                <a:lnTo>
                  <a:pt x="998742" y="3597028"/>
                </a:lnTo>
                <a:cubicBezTo>
                  <a:pt x="998742" y="3668200"/>
                  <a:pt x="941045" y="3725897"/>
                  <a:pt x="869873" y="3725897"/>
                </a:cubicBezTo>
                <a:lnTo>
                  <a:pt x="798158" y="3725897"/>
                </a:lnTo>
                <a:cubicBezTo>
                  <a:pt x="726986" y="3725897"/>
                  <a:pt x="669289" y="3668200"/>
                  <a:pt x="669289" y="3597028"/>
                </a:cubicBezTo>
                <a:lnTo>
                  <a:pt x="669289" y="1468762"/>
                </a:lnTo>
                <a:lnTo>
                  <a:pt x="14795" y="222135"/>
                </a:lnTo>
                <a:cubicBezTo>
                  <a:pt x="-18289" y="159119"/>
                  <a:pt x="5976" y="81215"/>
                  <a:pt x="68991" y="48131"/>
                </a:cubicBezTo>
                <a:lnTo>
                  <a:pt x="132487" y="14795"/>
                </a:lnTo>
                <a:cubicBezTo>
                  <a:pt x="163994" y="-1747"/>
                  <a:pt x="199224" y="-3952"/>
                  <a:pt x="230713" y="5856"/>
                </a:cubicBezTo>
                <a:close/>
              </a:path>
            </a:pathLst>
          </a:cu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1" name="Rectangle: Rounded Corners 350">
            <a:extLst>
              <a:ext uri="{FF2B5EF4-FFF2-40B4-BE49-F238E27FC236}">
                <a16:creationId xmlns:a16="http://schemas.microsoft.com/office/drawing/2014/main" id="{FD8D127F-F8DE-4F86-D85D-DACFA1D0A004}"/>
              </a:ext>
            </a:extLst>
          </p:cNvPr>
          <p:cNvSpPr/>
          <p:nvPr/>
        </p:nvSpPr>
        <p:spPr>
          <a:xfrm rot="18770416">
            <a:off x="1136211" y="5065827"/>
            <a:ext cx="46828" cy="230513"/>
          </a:xfrm>
          <a:prstGeom prst="roundRect">
            <a:avLst>
              <a:gd name="adj" fmla="val 39116"/>
            </a:avLst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2" name="Free-form: Shape 20">
            <a:extLst>
              <a:ext uri="{FF2B5EF4-FFF2-40B4-BE49-F238E27FC236}">
                <a16:creationId xmlns:a16="http://schemas.microsoft.com/office/drawing/2014/main" id="{158D841D-E3E0-564D-14E3-8B2AB9252C69}"/>
              </a:ext>
            </a:extLst>
          </p:cNvPr>
          <p:cNvSpPr/>
          <p:nvPr/>
        </p:nvSpPr>
        <p:spPr>
          <a:xfrm rot="20432416">
            <a:off x="1192280" y="5017837"/>
            <a:ext cx="142228" cy="554527"/>
          </a:xfrm>
          <a:custGeom>
            <a:avLst/>
            <a:gdLst>
              <a:gd name="connsiteX0" fmla="*/ 230713 w 1000623"/>
              <a:gd name="connsiteY0" fmla="*/ 5856 h 3725897"/>
              <a:gd name="connsiteX1" fmla="*/ 306490 w 1000623"/>
              <a:gd name="connsiteY1" fmla="*/ 68991 h 3725897"/>
              <a:gd name="connsiteX2" fmla="*/ 986272 w 1000623"/>
              <a:gd name="connsiteY2" fmla="*/ 1363785 h 3725897"/>
              <a:gd name="connsiteX3" fmla="*/ 1000623 w 1000623"/>
              <a:gd name="connsiteY3" fmla="*/ 1412905 h 3725897"/>
              <a:gd name="connsiteX4" fmla="*/ 998578 w 1000623"/>
              <a:gd name="connsiteY4" fmla="*/ 1431462 h 3725897"/>
              <a:gd name="connsiteX5" fmla="*/ 998742 w 1000623"/>
              <a:gd name="connsiteY5" fmla="*/ 1432275 h 3725897"/>
              <a:gd name="connsiteX6" fmla="*/ 998742 w 1000623"/>
              <a:gd name="connsiteY6" fmla="*/ 3597028 h 3725897"/>
              <a:gd name="connsiteX7" fmla="*/ 869873 w 1000623"/>
              <a:gd name="connsiteY7" fmla="*/ 3725897 h 3725897"/>
              <a:gd name="connsiteX8" fmla="*/ 798158 w 1000623"/>
              <a:gd name="connsiteY8" fmla="*/ 3725897 h 3725897"/>
              <a:gd name="connsiteX9" fmla="*/ 669289 w 1000623"/>
              <a:gd name="connsiteY9" fmla="*/ 3597028 h 3725897"/>
              <a:gd name="connsiteX10" fmla="*/ 669289 w 1000623"/>
              <a:gd name="connsiteY10" fmla="*/ 1468762 h 3725897"/>
              <a:gd name="connsiteX11" fmla="*/ 14795 w 1000623"/>
              <a:gd name="connsiteY11" fmla="*/ 222135 h 3725897"/>
              <a:gd name="connsiteX12" fmla="*/ 68991 w 1000623"/>
              <a:gd name="connsiteY12" fmla="*/ 48131 h 3725897"/>
              <a:gd name="connsiteX13" fmla="*/ 132487 w 1000623"/>
              <a:gd name="connsiteY13" fmla="*/ 14795 h 3725897"/>
              <a:gd name="connsiteX14" fmla="*/ 230713 w 1000623"/>
              <a:gd name="connsiteY14" fmla="*/ 5856 h 37258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000623" h="3725897">
                <a:moveTo>
                  <a:pt x="230713" y="5856"/>
                </a:moveTo>
                <a:cubicBezTo>
                  <a:pt x="262201" y="15663"/>
                  <a:pt x="289948" y="37483"/>
                  <a:pt x="306490" y="68991"/>
                </a:cubicBezTo>
                <a:lnTo>
                  <a:pt x="986272" y="1363785"/>
                </a:lnTo>
                <a:cubicBezTo>
                  <a:pt x="994543" y="1379538"/>
                  <a:pt x="999230" y="1396223"/>
                  <a:pt x="1000623" y="1412905"/>
                </a:cubicBezTo>
                <a:lnTo>
                  <a:pt x="998578" y="1431462"/>
                </a:lnTo>
                <a:lnTo>
                  <a:pt x="998742" y="1432275"/>
                </a:lnTo>
                <a:lnTo>
                  <a:pt x="998742" y="3597028"/>
                </a:lnTo>
                <a:cubicBezTo>
                  <a:pt x="998742" y="3668200"/>
                  <a:pt x="941045" y="3725897"/>
                  <a:pt x="869873" y="3725897"/>
                </a:cubicBezTo>
                <a:lnTo>
                  <a:pt x="798158" y="3725897"/>
                </a:lnTo>
                <a:cubicBezTo>
                  <a:pt x="726986" y="3725897"/>
                  <a:pt x="669289" y="3668200"/>
                  <a:pt x="669289" y="3597028"/>
                </a:cubicBezTo>
                <a:lnTo>
                  <a:pt x="669289" y="1468762"/>
                </a:lnTo>
                <a:lnTo>
                  <a:pt x="14795" y="222135"/>
                </a:lnTo>
                <a:cubicBezTo>
                  <a:pt x="-18289" y="159119"/>
                  <a:pt x="5976" y="81215"/>
                  <a:pt x="68991" y="48131"/>
                </a:cubicBezTo>
                <a:lnTo>
                  <a:pt x="132487" y="14795"/>
                </a:lnTo>
                <a:cubicBezTo>
                  <a:pt x="163994" y="-1747"/>
                  <a:pt x="199224" y="-3952"/>
                  <a:pt x="230713" y="5856"/>
                </a:cubicBezTo>
                <a:close/>
              </a:path>
            </a:pathLst>
          </a:cu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2" name="Rectangle: Rounded Corners 331">
            <a:extLst>
              <a:ext uri="{FF2B5EF4-FFF2-40B4-BE49-F238E27FC236}">
                <a16:creationId xmlns:a16="http://schemas.microsoft.com/office/drawing/2014/main" id="{D59E72C9-A9BF-0067-8DDD-380DDDB0714D}"/>
              </a:ext>
            </a:extLst>
          </p:cNvPr>
          <p:cNvSpPr/>
          <p:nvPr/>
        </p:nvSpPr>
        <p:spPr>
          <a:xfrm rot="2951856">
            <a:off x="2285831" y="5015172"/>
            <a:ext cx="50866" cy="175842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3" name="Freeform: Shape 1298">
            <a:extLst>
              <a:ext uri="{FF2B5EF4-FFF2-40B4-BE49-F238E27FC236}">
                <a16:creationId xmlns:a16="http://schemas.microsoft.com/office/drawing/2014/main" id="{A870A4F7-8901-0CF0-A869-F8F8F7BCC477}"/>
              </a:ext>
            </a:extLst>
          </p:cNvPr>
          <p:cNvSpPr/>
          <p:nvPr/>
        </p:nvSpPr>
        <p:spPr>
          <a:xfrm rot="2968070">
            <a:off x="2152208" y="4964149"/>
            <a:ext cx="207812" cy="425676"/>
          </a:xfrm>
          <a:custGeom>
            <a:avLst/>
            <a:gdLst>
              <a:gd name="connsiteX0" fmla="*/ 61376 w 1712259"/>
              <a:gd name="connsiteY0" fmla="*/ 61376 h 2875858"/>
              <a:gd name="connsiteX1" fmla="*/ 209550 w 1712259"/>
              <a:gd name="connsiteY1" fmla="*/ 0 h 2875858"/>
              <a:gd name="connsiteX2" fmla="*/ 419100 w 1712259"/>
              <a:gd name="connsiteY2" fmla="*/ 209550 h 2875858"/>
              <a:gd name="connsiteX3" fmla="*/ 419100 w 1712259"/>
              <a:gd name="connsiteY3" fmla="*/ 1286350 h 2875858"/>
              <a:gd name="connsiteX4" fmla="*/ 1650884 w 1712259"/>
              <a:gd name="connsiteY4" fmla="*/ 2518134 h 2875858"/>
              <a:gd name="connsiteX5" fmla="*/ 1650884 w 1712259"/>
              <a:gd name="connsiteY5" fmla="*/ 2814482 h 2875858"/>
              <a:gd name="connsiteX6" fmla="*/ 1354535 w 1712259"/>
              <a:gd name="connsiteY6" fmla="*/ 2814482 h 2875858"/>
              <a:gd name="connsiteX7" fmla="*/ 68814 w 1712259"/>
              <a:gd name="connsiteY7" fmla="*/ 1528761 h 2875858"/>
              <a:gd name="connsiteX8" fmla="*/ 61376 w 1712259"/>
              <a:gd name="connsiteY8" fmla="*/ 1522624 h 2875858"/>
              <a:gd name="connsiteX9" fmla="*/ 0 w 1712259"/>
              <a:gd name="connsiteY9" fmla="*/ 1374450 h 2875858"/>
              <a:gd name="connsiteX10" fmla="*/ 0 w 1712259"/>
              <a:gd name="connsiteY10" fmla="*/ 209550 h 2875858"/>
              <a:gd name="connsiteX11" fmla="*/ 61376 w 1712259"/>
              <a:gd name="connsiteY11" fmla="*/ 61376 h 2875858"/>
              <a:gd name="connsiteX0" fmla="*/ 61376 w 1712259"/>
              <a:gd name="connsiteY0" fmla="*/ 61376 h 2875858"/>
              <a:gd name="connsiteX1" fmla="*/ 209550 w 1712259"/>
              <a:gd name="connsiteY1" fmla="*/ 0 h 2875858"/>
              <a:gd name="connsiteX2" fmla="*/ 419100 w 1712259"/>
              <a:gd name="connsiteY2" fmla="*/ 209550 h 2875858"/>
              <a:gd name="connsiteX3" fmla="*/ 419100 w 1712259"/>
              <a:gd name="connsiteY3" fmla="*/ 1286350 h 2875858"/>
              <a:gd name="connsiteX4" fmla="*/ 1650884 w 1712259"/>
              <a:gd name="connsiteY4" fmla="*/ 2518134 h 2875858"/>
              <a:gd name="connsiteX5" fmla="*/ 1650884 w 1712259"/>
              <a:gd name="connsiteY5" fmla="*/ 2814482 h 2875858"/>
              <a:gd name="connsiteX6" fmla="*/ 1354535 w 1712259"/>
              <a:gd name="connsiteY6" fmla="*/ 2814482 h 2875858"/>
              <a:gd name="connsiteX7" fmla="*/ 68814 w 1712259"/>
              <a:gd name="connsiteY7" fmla="*/ 1528761 h 2875858"/>
              <a:gd name="connsiteX8" fmla="*/ 0 w 1712259"/>
              <a:gd name="connsiteY8" fmla="*/ 1374450 h 2875858"/>
              <a:gd name="connsiteX9" fmla="*/ 0 w 1712259"/>
              <a:gd name="connsiteY9" fmla="*/ 209550 h 2875858"/>
              <a:gd name="connsiteX10" fmla="*/ 61376 w 1712259"/>
              <a:gd name="connsiteY10" fmla="*/ 61376 h 2875858"/>
              <a:gd name="connsiteX0" fmla="*/ 61376 w 1712259"/>
              <a:gd name="connsiteY0" fmla="*/ 61376 h 2875858"/>
              <a:gd name="connsiteX1" fmla="*/ 209550 w 1712259"/>
              <a:gd name="connsiteY1" fmla="*/ 0 h 2875858"/>
              <a:gd name="connsiteX2" fmla="*/ 419100 w 1712259"/>
              <a:gd name="connsiteY2" fmla="*/ 209550 h 2875858"/>
              <a:gd name="connsiteX3" fmla="*/ 419100 w 1712259"/>
              <a:gd name="connsiteY3" fmla="*/ 1286350 h 2875858"/>
              <a:gd name="connsiteX4" fmla="*/ 1650884 w 1712259"/>
              <a:gd name="connsiteY4" fmla="*/ 2518134 h 2875858"/>
              <a:gd name="connsiteX5" fmla="*/ 1650884 w 1712259"/>
              <a:gd name="connsiteY5" fmla="*/ 2814482 h 2875858"/>
              <a:gd name="connsiteX6" fmla="*/ 1354535 w 1712259"/>
              <a:gd name="connsiteY6" fmla="*/ 2814482 h 2875858"/>
              <a:gd name="connsiteX7" fmla="*/ 16616 w 1712259"/>
              <a:gd name="connsiteY7" fmla="*/ 1476564 h 2875858"/>
              <a:gd name="connsiteX8" fmla="*/ 0 w 1712259"/>
              <a:gd name="connsiteY8" fmla="*/ 1374450 h 2875858"/>
              <a:gd name="connsiteX9" fmla="*/ 0 w 1712259"/>
              <a:gd name="connsiteY9" fmla="*/ 209550 h 2875858"/>
              <a:gd name="connsiteX10" fmla="*/ 61376 w 1712259"/>
              <a:gd name="connsiteY10" fmla="*/ 61376 h 2875858"/>
              <a:gd name="connsiteX0" fmla="*/ 61376 w 1712259"/>
              <a:gd name="connsiteY0" fmla="*/ 61376 h 2875858"/>
              <a:gd name="connsiteX1" fmla="*/ 209550 w 1712259"/>
              <a:gd name="connsiteY1" fmla="*/ 0 h 2875858"/>
              <a:gd name="connsiteX2" fmla="*/ 419100 w 1712259"/>
              <a:gd name="connsiteY2" fmla="*/ 209550 h 2875858"/>
              <a:gd name="connsiteX3" fmla="*/ 419100 w 1712259"/>
              <a:gd name="connsiteY3" fmla="*/ 1286350 h 2875858"/>
              <a:gd name="connsiteX4" fmla="*/ 1650884 w 1712259"/>
              <a:gd name="connsiteY4" fmla="*/ 2518134 h 2875858"/>
              <a:gd name="connsiteX5" fmla="*/ 1650884 w 1712259"/>
              <a:gd name="connsiteY5" fmla="*/ 2814482 h 2875858"/>
              <a:gd name="connsiteX6" fmla="*/ 1354535 w 1712259"/>
              <a:gd name="connsiteY6" fmla="*/ 2814482 h 2875858"/>
              <a:gd name="connsiteX7" fmla="*/ 3146 w 1712259"/>
              <a:gd name="connsiteY7" fmla="*/ 1463094 h 2875858"/>
              <a:gd name="connsiteX8" fmla="*/ 0 w 1712259"/>
              <a:gd name="connsiteY8" fmla="*/ 1374450 h 2875858"/>
              <a:gd name="connsiteX9" fmla="*/ 0 w 1712259"/>
              <a:gd name="connsiteY9" fmla="*/ 209550 h 2875858"/>
              <a:gd name="connsiteX10" fmla="*/ 61376 w 1712259"/>
              <a:gd name="connsiteY10" fmla="*/ 61376 h 2875858"/>
              <a:gd name="connsiteX0" fmla="*/ 61376 w 1712259"/>
              <a:gd name="connsiteY0" fmla="*/ 61376 h 2875858"/>
              <a:gd name="connsiteX1" fmla="*/ 209550 w 1712259"/>
              <a:gd name="connsiteY1" fmla="*/ 0 h 2875858"/>
              <a:gd name="connsiteX2" fmla="*/ 419100 w 1712259"/>
              <a:gd name="connsiteY2" fmla="*/ 209550 h 2875858"/>
              <a:gd name="connsiteX3" fmla="*/ 419100 w 1712259"/>
              <a:gd name="connsiteY3" fmla="*/ 1286350 h 2875858"/>
              <a:gd name="connsiteX4" fmla="*/ 1650884 w 1712259"/>
              <a:gd name="connsiteY4" fmla="*/ 2518134 h 2875858"/>
              <a:gd name="connsiteX5" fmla="*/ 1650884 w 1712259"/>
              <a:gd name="connsiteY5" fmla="*/ 2814482 h 2875858"/>
              <a:gd name="connsiteX6" fmla="*/ 1354535 w 1712259"/>
              <a:gd name="connsiteY6" fmla="*/ 2814482 h 2875858"/>
              <a:gd name="connsiteX7" fmla="*/ 3146 w 1712259"/>
              <a:gd name="connsiteY7" fmla="*/ 1463094 h 2875858"/>
              <a:gd name="connsiteX8" fmla="*/ 0 w 1712259"/>
              <a:gd name="connsiteY8" fmla="*/ 209550 h 2875858"/>
              <a:gd name="connsiteX9" fmla="*/ 61376 w 1712259"/>
              <a:gd name="connsiteY9" fmla="*/ 61376 h 28758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712259" h="2875858">
                <a:moveTo>
                  <a:pt x="61376" y="61376"/>
                </a:moveTo>
                <a:cubicBezTo>
                  <a:pt x="99297" y="23455"/>
                  <a:pt x="151685" y="0"/>
                  <a:pt x="209550" y="0"/>
                </a:cubicBezTo>
                <a:cubicBezTo>
                  <a:pt x="325281" y="0"/>
                  <a:pt x="419100" y="93819"/>
                  <a:pt x="419100" y="209550"/>
                </a:cubicBezTo>
                <a:lnTo>
                  <a:pt x="419100" y="1286350"/>
                </a:lnTo>
                <a:lnTo>
                  <a:pt x="1650884" y="2518134"/>
                </a:lnTo>
                <a:cubicBezTo>
                  <a:pt x="1732718" y="2599968"/>
                  <a:pt x="1732718" y="2732648"/>
                  <a:pt x="1650884" y="2814482"/>
                </a:cubicBezTo>
                <a:cubicBezTo>
                  <a:pt x="1569050" y="2896317"/>
                  <a:pt x="1436370" y="2896317"/>
                  <a:pt x="1354535" y="2814482"/>
                </a:cubicBezTo>
                <a:lnTo>
                  <a:pt x="3146" y="1463094"/>
                </a:lnTo>
                <a:cubicBezTo>
                  <a:pt x="2097" y="1045246"/>
                  <a:pt x="1049" y="627398"/>
                  <a:pt x="0" y="209550"/>
                </a:cubicBezTo>
                <a:cubicBezTo>
                  <a:pt x="0" y="151685"/>
                  <a:pt x="23455" y="99297"/>
                  <a:pt x="61376" y="61376"/>
                </a:cubicBezTo>
                <a:close/>
              </a:path>
            </a:pathLst>
          </a:cu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4" name="Rectangle: Rounded Corners 333">
            <a:extLst>
              <a:ext uri="{FF2B5EF4-FFF2-40B4-BE49-F238E27FC236}">
                <a16:creationId xmlns:a16="http://schemas.microsoft.com/office/drawing/2014/main" id="{B28FFCF9-45D4-61E6-E3FD-BE828E0848AA}"/>
              </a:ext>
            </a:extLst>
          </p:cNvPr>
          <p:cNvSpPr/>
          <p:nvPr/>
        </p:nvSpPr>
        <p:spPr>
          <a:xfrm rot="19184284" flipH="1">
            <a:off x="2013928" y="5010642"/>
            <a:ext cx="62034" cy="144184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5" name="Freeform: Shape 1300">
            <a:extLst>
              <a:ext uri="{FF2B5EF4-FFF2-40B4-BE49-F238E27FC236}">
                <a16:creationId xmlns:a16="http://schemas.microsoft.com/office/drawing/2014/main" id="{ECBF6C31-BE0D-5C17-6BFD-2E16E4302DAD}"/>
              </a:ext>
            </a:extLst>
          </p:cNvPr>
          <p:cNvSpPr/>
          <p:nvPr/>
        </p:nvSpPr>
        <p:spPr>
          <a:xfrm rot="19168070" flipH="1">
            <a:off x="1961028" y="4989596"/>
            <a:ext cx="253440" cy="349039"/>
          </a:xfrm>
          <a:custGeom>
            <a:avLst/>
            <a:gdLst>
              <a:gd name="connsiteX0" fmla="*/ 61376 w 1712259"/>
              <a:gd name="connsiteY0" fmla="*/ 61376 h 2875858"/>
              <a:gd name="connsiteX1" fmla="*/ 209550 w 1712259"/>
              <a:gd name="connsiteY1" fmla="*/ 0 h 2875858"/>
              <a:gd name="connsiteX2" fmla="*/ 419100 w 1712259"/>
              <a:gd name="connsiteY2" fmla="*/ 209550 h 2875858"/>
              <a:gd name="connsiteX3" fmla="*/ 419100 w 1712259"/>
              <a:gd name="connsiteY3" fmla="*/ 1286350 h 2875858"/>
              <a:gd name="connsiteX4" fmla="*/ 1650884 w 1712259"/>
              <a:gd name="connsiteY4" fmla="*/ 2518134 h 2875858"/>
              <a:gd name="connsiteX5" fmla="*/ 1650884 w 1712259"/>
              <a:gd name="connsiteY5" fmla="*/ 2814482 h 2875858"/>
              <a:gd name="connsiteX6" fmla="*/ 1354535 w 1712259"/>
              <a:gd name="connsiteY6" fmla="*/ 2814482 h 2875858"/>
              <a:gd name="connsiteX7" fmla="*/ 68814 w 1712259"/>
              <a:gd name="connsiteY7" fmla="*/ 1528761 h 2875858"/>
              <a:gd name="connsiteX8" fmla="*/ 61376 w 1712259"/>
              <a:gd name="connsiteY8" fmla="*/ 1522624 h 2875858"/>
              <a:gd name="connsiteX9" fmla="*/ 0 w 1712259"/>
              <a:gd name="connsiteY9" fmla="*/ 1374450 h 2875858"/>
              <a:gd name="connsiteX10" fmla="*/ 0 w 1712259"/>
              <a:gd name="connsiteY10" fmla="*/ 209550 h 2875858"/>
              <a:gd name="connsiteX11" fmla="*/ 61376 w 1712259"/>
              <a:gd name="connsiteY11" fmla="*/ 61376 h 2875858"/>
              <a:gd name="connsiteX0" fmla="*/ 61376 w 1712259"/>
              <a:gd name="connsiteY0" fmla="*/ 61376 h 2875858"/>
              <a:gd name="connsiteX1" fmla="*/ 209550 w 1712259"/>
              <a:gd name="connsiteY1" fmla="*/ 0 h 2875858"/>
              <a:gd name="connsiteX2" fmla="*/ 419100 w 1712259"/>
              <a:gd name="connsiteY2" fmla="*/ 209550 h 2875858"/>
              <a:gd name="connsiteX3" fmla="*/ 419100 w 1712259"/>
              <a:gd name="connsiteY3" fmla="*/ 1286350 h 2875858"/>
              <a:gd name="connsiteX4" fmla="*/ 1650884 w 1712259"/>
              <a:gd name="connsiteY4" fmla="*/ 2518134 h 2875858"/>
              <a:gd name="connsiteX5" fmla="*/ 1650884 w 1712259"/>
              <a:gd name="connsiteY5" fmla="*/ 2814482 h 2875858"/>
              <a:gd name="connsiteX6" fmla="*/ 1354535 w 1712259"/>
              <a:gd name="connsiteY6" fmla="*/ 2814482 h 2875858"/>
              <a:gd name="connsiteX7" fmla="*/ 68814 w 1712259"/>
              <a:gd name="connsiteY7" fmla="*/ 1528761 h 2875858"/>
              <a:gd name="connsiteX8" fmla="*/ 0 w 1712259"/>
              <a:gd name="connsiteY8" fmla="*/ 1374450 h 2875858"/>
              <a:gd name="connsiteX9" fmla="*/ 0 w 1712259"/>
              <a:gd name="connsiteY9" fmla="*/ 209550 h 2875858"/>
              <a:gd name="connsiteX10" fmla="*/ 61376 w 1712259"/>
              <a:gd name="connsiteY10" fmla="*/ 61376 h 2875858"/>
              <a:gd name="connsiteX0" fmla="*/ 61376 w 1712259"/>
              <a:gd name="connsiteY0" fmla="*/ 61376 h 2875858"/>
              <a:gd name="connsiteX1" fmla="*/ 209550 w 1712259"/>
              <a:gd name="connsiteY1" fmla="*/ 0 h 2875858"/>
              <a:gd name="connsiteX2" fmla="*/ 419100 w 1712259"/>
              <a:gd name="connsiteY2" fmla="*/ 209550 h 2875858"/>
              <a:gd name="connsiteX3" fmla="*/ 419100 w 1712259"/>
              <a:gd name="connsiteY3" fmla="*/ 1286350 h 2875858"/>
              <a:gd name="connsiteX4" fmla="*/ 1650884 w 1712259"/>
              <a:gd name="connsiteY4" fmla="*/ 2518134 h 2875858"/>
              <a:gd name="connsiteX5" fmla="*/ 1650884 w 1712259"/>
              <a:gd name="connsiteY5" fmla="*/ 2814482 h 2875858"/>
              <a:gd name="connsiteX6" fmla="*/ 1354535 w 1712259"/>
              <a:gd name="connsiteY6" fmla="*/ 2814482 h 2875858"/>
              <a:gd name="connsiteX7" fmla="*/ 16616 w 1712259"/>
              <a:gd name="connsiteY7" fmla="*/ 1476564 h 2875858"/>
              <a:gd name="connsiteX8" fmla="*/ 0 w 1712259"/>
              <a:gd name="connsiteY8" fmla="*/ 1374450 h 2875858"/>
              <a:gd name="connsiteX9" fmla="*/ 0 w 1712259"/>
              <a:gd name="connsiteY9" fmla="*/ 209550 h 2875858"/>
              <a:gd name="connsiteX10" fmla="*/ 61376 w 1712259"/>
              <a:gd name="connsiteY10" fmla="*/ 61376 h 2875858"/>
              <a:gd name="connsiteX0" fmla="*/ 61376 w 1712259"/>
              <a:gd name="connsiteY0" fmla="*/ 61376 h 2875858"/>
              <a:gd name="connsiteX1" fmla="*/ 209550 w 1712259"/>
              <a:gd name="connsiteY1" fmla="*/ 0 h 2875858"/>
              <a:gd name="connsiteX2" fmla="*/ 419100 w 1712259"/>
              <a:gd name="connsiteY2" fmla="*/ 209550 h 2875858"/>
              <a:gd name="connsiteX3" fmla="*/ 419100 w 1712259"/>
              <a:gd name="connsiteY3" fmla="*/ 1286350 h 2875858"/>
              <a:gd name="connsiteX4" fmla="*/ 1650884 w 1712259"/>
              <a:gd name="connsiteY4" fmla="*/ 2518134 h 2875858"/>
              <a:gd name="connsiteX5" fmla="*/ 1650884 w 1712259"/>
              <a:gd name="connsiteY5" fmla="*/ 2814482 h 2875858"/>
              <a:gd name="connsiteX6" fmla="*/ 1354535 w 1712259"/>
              <a:gd name="connsiteY6" fmla="*/ 2814482 h 2875858"/>
              <a:gd name="connsiteX7" fmla="*/ 3146 w 1712259"/>
              <a:gd name="connsiteY7" fmla="*/ 1463094 h 2875858"/>
              <a:gd name="connsiteX8" fmla="*/ 0 w 1712259"/>
              <a:gd name="connsiteY8" fmla="*/ 1374450 h 2875858"/>
              <a:gd name="connsiteX9" fmla="*/ 0 w 1712259"/>
              <a:gd name="connsiteY9" fmla="*/ 209550 h 2875858"/>
              <a:gd name="connsiteX10" fmla="*/ 61376 w 1712259"/>
              <a:gd name="connsiteY10" fmla="*/ 61376 h 2875858"/>
              <a:gd name="connsiteX0" fmla="*/ 61376 w 1712259"/>
              <a:gd name="connsiteY0" fmla="*/ 61376 h 2875858"/>
              <a:gd name="connsiteX1" fmla="*/ 209550 w 1712259"/>
              <a:gd name="connsiteY1" fmla="*/ 0 h 2875858"/>
              <a:gd name="connsiteX2" fmla="*/ 419100 w 1712259"/>
              <a:gd name="connsiteY2" fmla="*/ 209550 h 2875858"/>
              <a:gd name="connsiteX3" fmla="*/ 419100 w 1712259"/>
              <a:gd name="connsiteY3" fmla="*/ 1286350 h 2875858"/>
              <a:gd name="connsiteX4" fmla="*/ 1650884 w 1712259"/>
              <a:gd name="connsiteY4" fmla="*/ 2518134 h 2875858"/>
              <a:gd name="connsiteX5" fmla="*/ 1650884 w 1712259"/>
              <a:gd name="connsiteY5" fmla="*/ 2814482 h 2875858"/>
              <a:gd name="connsiteX6" fmla="*/ 1354535 w 1712259"/>
              <a:gd name="connsiteY6" fmla="*/ 2814482 h 2875858"/>
              <a:gd name="connsiteX7" fmla="*/ 3146 w 1712259"/>
              <a:gd name="connsiteY7" fmla="*/ 1463094 h 2875858"/>
              <a:gd name="connsiteX8" fmla="*/ 0 w 1712259"/>
              <a:gd name="connsiteY8" fmla="*/ 209550 h 2875858"/>
              <a:gd name="connsiteX9" fmla="*/ 61376 w 1712259"/>
              <a:gd name="connsiteY9" fmla="*/ 61376 h 28758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712259" h="2875858">
                <a:moveTo>
                  <a:pt x="61376" y="61376"/>
                </a:moveTo>
                <a:cubicBezTo>
                  <a:pt x="99297" y="23455"/>
                  <a:pt x="151685" y="0"/>
                  <a:pt x="209550" y="0"/>
                </a:cubicBezTo>
                <a:cubicBezTo>
                  <a:pt x="325281" y="0"/>
                  <a:pt x="419100" y="93819"/>
                  <a:pt x="419100" y="209550"/>
                </a:cubicBezTo>
                <a:lnTo>
                  <a:pt x="419100" y="1286350"/>
                </a:lnTo>
                <a:lnTo>
                  <a:pt x="1650884" y="2518134"/>
                </a:lnTo>
                <a:cubicBezTo>
                  <a:pt x="1732718" y="2599968"/>
                  <a:pt x="1732718" y="2732648"/>
                  <a:pt x="1650884" y="2814482"/>
                </a:cubicBezTo>
                <a:cubicBezTo>
                  <a:pt x="1569050" y="2896317"/>
                  <a:pt x="1436370" y="2896317"/>
                  <a:pt x="1354535" y="2814482"/>
                </a:cubicBezTo>
                <a:lnTo>
                  <a:pt x="3146" y="1463094"/>
                </a:lnTo>
                <a:cubicBezTo>
                  <a:pt x="2097" y="1045246"/>
                  <a:pt x="1049" y="627398"/>
                  <a:pt x="0" y="209550"/>
                </a:cubicBezTo>
                <a:cubicBezTo>
                  <a:pt x="0" y="151685"/>
                  <a:pt x="23455" y="99297"/>
                  <a:pt x="61376" y="61376"/>
                </a:cubicBezTo>
                <a:close/>
              </a:path>
            </a:pathLst>
          </a:cu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6" name="Freeform: Shape 1301">
            <a:extLst>
              <a:ext uri="{FF2B5EF4-FFF2-40B4-BE49-F238E27FC236}">
                <a16:creationId xmlns:a16="http://schemas.microsoft.com/office/drawing/2014/main" id="{F0BC6044-8F57-3C72-55B6-94CD68FC3D16}"/>
              </a:ext>
            </a:extLst>
          </p:cNvPr>
          <p:cNvSpPr/>
          <p:nvPr/>
        </p:nvSpPr>
        <p:spPr>
          <a:xfrm rot="6265901" flipV="1">
            <a:off x="1921990" y="5404502"/>
            <a:ext cx="227006" cy="67054"/>
          </a:xfrm>
          <a:custGeom>
            <a:avLst/>
            <a:gdLst>
              <a:gd name="connsiteX0" fmla="*/ 0 w 238125"/>
              <a:gd name="connsiteY0" fmla="*/ 85782 h 85782"/>
              <a:gd name="connsiteX1" fmla="*/ 95250 w 238125"/>
              <a:gd name="connsiteY1" fmla="*/ 57 h 85782"/>
              <a:gd name="connsiteX2" fmla="*/ 166688 w 238125"/>
              <a:gd name="connsiteY2" fmla="*/ 71494 h 85782"/>
              <a:gd name="connsiteX3" fmla="*/ 238125 w 238125"/>
              <a:gd name="connsiteY3" fmla="*/ 9582 h 857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38125" h="85782">
                <a:moveTo>
                  <a:pt x="0" y="85782"/>
                </a:moveTo>
                <a:cubicBezTo>
                  <a:pt x="33734" y="44110"/>
                  <a:pt x="67469" y="2438"/>
                  <a:pt x="95250" y="57"/>
                </a:cubicBezTo>
                <a:cubicBezTo>
                  <a:pt x="123031" y="-2324"/>
                  <a:pt x="142875" y="69906"/>
                  <a:pt x="166688" y="71494"/>
                </a:cubicBezTo>
                <a:cubicBezTo>
                  <a:pt x="190501" y="73082"/>
                  <a:pt x="214313" y="41332"/>
                  <a:pt x="238125" y="9582"/>
                </a:cubicBezTo>
              </a:path>
            </a:pathLst>
          </a:cu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7" name="Star: 5 Points 336">
            <a:extLst>
              <a:ext uri="{FF2B5EF4-FFF2-40B4-BE49-F238E27FC236}">
                <a16:creationId xmlns:a16="http://schemas.microsoft.com/office/drawing/2014/main" id="{6398623A-ACCB-0AFA-5CA0-C3EF377FED10}"/>
              </a:ext>
            </a:extLst>
          </p:cNvPr>
          <p:cNvSpPr/>
          <p:nvPr/>
        </p:nvSpPr>
        <p:spPr>
          <a:xfrm rot="14203480">
            <a:off x="1856274" y="5496135"/>
            <a:ext cx="186994" cy="153328"/>
          </a:xfrm>
          <a:prstGeom prst="star5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8" name="Freeform: Shape 1303">
            <a:extLst>
              <a:ext uri="{FF2B5EF4-FFF2-40B4-BE49-F238E27FC236}">
                <a16:creationId xmlns:a16="http://schemas.microsoft.com/office/drawing/2014/main" id="{C0BF7831-EDE7-8206-2D00-DE937B2AEDC6}"/>
              </a:ext>
            </a:extLst>
          </p:cNvPr>
          <p:cNvSpPr/>
          <p:nvPr/>
        </p:nvSpPr>
        <p:spPr>
          <a:xfrm rot="7418382" flipV="1">
            <a:off x="1916646" y="5260032"/>
            <a:ext cx="227006" cy="67054"/>
          </a:xfrm>
          <a:custGeom>
            <a:avLst/>
            <a:gdLst>
              <a:gd name="connsiteX0" fmla="*/ 0 w 238125"/>
              <a:gd name="connsiteY0" fmla="*/ 85782 h 85782"/>
              <a:gd name="connsiteX1" fmla="*/ 95250 w 238125"/>
              <a:gd name="connsiteY1" fmla="*/ 57 h 85782"/>
              <a:gd name="connsiteX2" fmla="*/ 166688 w 238125"/>
              <a:gd name="connsiteY2" fmla="*/ 71494 h 85782"/>
              <a:gd name="connsiteX3" fmla="*/ 238125 w 238125"/>
              <a:gd name="connsiteY3" fmla="*/ 9582 h 857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38125" h="85782">
                <a:moveTo>
                  <a:pt x="0" y="85782"/>
                </a:moveTo>
                <a:cubicBezTo>
                  <a:pt x="33734" y="44110"/>
                  <a:pt x="67469" y="2438"/>
                  <a:pt x="95250" y="57"/>
                </a:cubicBezTo>
                <a:cubicBezTo>
                  <a:pt x="123031" y="-2324"/>
                  <a:pt x="142875" y="69906"/>
                  <a:pt x="166688" y="71494"/>
                </a:cubicBezTo>
                <a:cubicBezTo>
                  <a:pt x="190501" y="73082"/>
                  <a:pt x="214313" y="41332"/>
                  <a:pt x="238125" y="9582"/>
                </a:cubicBezTo>
              </a:path>
            </a:pathLst>
          </a:cu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9" name="Star: 5 Points 338">
            <a:extLst>
              <a:ext uri="{FF2B5EF4-FFF2-40B4-BE49-F238E27FC236}">
                <a16:creationId xmlns:a16="http://schemas.microsoft.com/office/drawing/2014/main" id="{75764FE4-0FA5-B213-C8AA-BAEF3977D077}"/>
              </a:ext>
            </a:extLst>
          </p:cNvPr>
          <p:cNvSpPr/>
          <p:nvPr/>
        </p:nvSpPr>
        <p:spPr>
          <a:xfrm rot="15355961">
            <a:off x="1820176" y="5311359"/>
            <a:ext cx="186994" cy="153328"/>
          </a:xfrm>
          <a:prstGeom prst="star5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0" name="Freeform: Shape 1305">
            <a:extLst>
              <a:ext uri="{FF2B5EF4-FFF2-40B4-BE49-F238E27FC236}">
                <a16:creationId xmlns:a16="http://schemas.microsoft.com/office/drawing/2014/main" id="{F03D7703-ED1D-949C-CCDC-A35B5D94E36C}"/>
              </a:ext>
            </a:extLst>
          </p:cNvPr>
          <p:cNvSpPr/>
          <p:nvPr/>
        </p:nvSpPr>
        <p:spPr>
          <a:xfrm rot="2988578">
            <a:off x="2227327" y="5247578"/>
            <a:ext cx="186137" cy="81776"/>
          </a:xfrm>
          <a:custGeom>
            <a:avLst/>
            <a:gdLst>
              <a:gd name="connsiteX0" fmla="*/ 0 w 238125"/>
              <a:gd name="connsiteY0" fmla="*/ 85782 h 85782"/>
              <a:gd name="connsiteX1" fmla="*/ 95250 w 238125"/>
              <a:gd name="connsiteY1" fmla="*/ 57 h 85782"/>
              <a:gd name="connsiteX2" fmla="*/ 166688 w 238125"/>
              <a:gd name="connsiteY2" fmla="*/ 71494 h 85782"/>
              <a:gd name="connsiteX3" fmla="*/ 238125 w 238125"/>
              <a:gd name="connsiteY3" fmla="*/ 9582 h 857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38125" h="85782">
                <a:moveTo>
                  <a:pt x="0" y="85782"/>
                </a:moveTo>
                <a:cubicBezTo>
                  <a:pt x="33734" y="44110"/>
                  <a:pt x="67469" y="2438"/>
                  <a:pt x="95250" y="57"/>
                </a:cubicBezTo>
                <a:cubicBezTo>
                  <a:pt x="123031" y="-2324"/>
                  <a:pt x="142875" y="69906"/>
                  <a:pt x="166688" y="71494"/>
                </a:cubicBezTo>
                <a:cubicBezTo>
                  <a:pt x="190501" y="73082"/>
                  <a:pt x="214313" y="41332"/>
                  <a:pt x="238125" y="9582"/>
                </a:cubicBezTo>
              </a:path>
            </a:pathLst>
          </a:cu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1" name="Star: 5 Points 340">
            <a:extLst>
              <a:ext uri="{FF2B5EF4-FFF2-40B4-BE49-F238E27FC236}">
                <a16:creationId xmlns:a16="http://schemas.microsoft.com/office/drawing/2014/main" id="{49B30947-A5E0-4A27-E3C9-8FDD681D809C}"/>
              </a:ext>
            </a:extLst>
          </p:cNvPr>
          <p:cNvSpPr/>
          <p:nvPr/>
        </p:nvSpPr>
        <p:spPr>
          <a:xfrm rot="16650999" flipV="1">
            <a:off x="2348703" y="5285256"/>
            <a:ext cx="186994" cy="153328"/>
          </a:xfrm>
          <a:prstGeom prst="star5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2" name="Freeform: Shape 1307">
            <a:extLst>
              <a:ext uri="{FF2B5EF4-FFF2-40B4-BE49-F238E27FC236}">
                <a16:creationId xmlns:a16="http://schemas.microsoft.com/office/drawing/2014/main" id="{AE67F935-847C-F63C-BBC6-432F46E274F4}"/>
              </a:ext>
            </a:extLst>
          </p:cNvPr>
          <p:cNvSpPr/>
          <p:nvPr/>
        </p:nvSpPr>
        <p:spPr>
          <a:xfrm rot="4141059">
            <a:off x="2171065" y="5360984"/>
            <a:ext cx="227006" cy="67054"/>
          </a:xfrm>
          <a:custGeom>
            <a:avLst/>
            <a:gdLst>
              <a:gd name="connsiteX0" fmla="*/ 0 w 238125"/>
              <a:gd name="connsiteY0" fmla="*/ 85782 h 85782"/>
              <a:gd name="connsiteX1" fmla="*/ 95250 w 238125"/>
              <a:gd name="connsiteY1" fmla="*/ 57 h 85782"/>
              <a:gd name="connsiteX2" fmla="*/ 166688 w 238125"/>
              <a:gd name="connsiteY2" fmla="*/ 71494 h 85782"/>
              <a:gd name="connsiteX3" fmla="*/ 238125 w 238125"/>
              <a:gd name="connsiteY3" fmla="*/ 9582 h 857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38125" h="85782">
                <a:moveTo>
                  <a:pt x="0" y="85782"/>
                </a:moveTo>
                <a:cubicBezTo>
                  <a:pt x="33734" y="44110"/>
                  <a:pt x="67469" y="2438"/>
                  <a:pt x="95250" y="57"/>
                </a:cubicBezTo>
                <a:cubicBezTo>
                  <a:pt x="123031" y="-2324"/>
                  <a:pt x="142875" y="69906"/>
                  <a:pt x="166688" y="71494"/>
                </a:cubicBezTo>
                <a:cubicBezTo>
                  <a:pt x="190501" y="73082"/>
                  <a:pt x="214313" y="41332"/>
                  <a:pt x="238125" y="9582"/>
                </a:cubicBezTo>
              </a:path>
            </a:pathLst>
          </a:cu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3" name="Star: 5 Points 342">
            <a:extLst>
              <a:ext uri="{FF2B5EF4-FFF2-40B4-BE49-F238E27FC236}">
                <a16:creationId xmlns:a16="http://schemas.microsoft.com/office/drawing/2014/main" id="{5C06DBE6-13EA-4E6B-3C39-B1F25D00837A}"/>
              </a:ext>
            </a:extLst>
          </p:cNvPr>
          <p:cNvSpPr/>
          <p:nvPr/>
        </p:nvSpPr>
        <p:spPr>
          <a:xfrm rot="17803480" flipV="1">
            <a:off x="2284843" y="5436790"/>
            <a:ext cx="186994" cy="153328"/>
          </a:xfrm>
          <a:prstGeom prst="star5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26" name="Straight Connector 325">
            <a:extLst>
              <a:ext uri="{FF2B5EF4-FFF2-40B4-BE49-F238E27FC236}">
                <a16:creationId xmlns:a16="http://schemas.microsoft.com/office/drawing/2014/main" id="{BD3740F5-F9C4-89CD-C852-C27881132519}"/>
              </a:ext>
            </a:extLst>
          </p:cNvPr>
          <p:cNvCxnSpPr>
            <a:cxnSpLocks/>
          </p:cNvCxnSpPr>
          <p:nvPr/>
        </p:nvCxnSpPr>
        <p:spPr>
          <a:xfrm rot="13500000">
            <a:off x="4773065" y="5182160"/>
            <a:ext cx="0" cy="470198"/>
          </a:xfrm>
          <a:prstGeom prst="line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7" name="Straight Connector 326">
            <a:extLst>
              <a:ext uri="{FF2B5EF4-FFF2-40B4-BE49-F238E27FC236}">
                <a16:creationId xmlns:a16="http://schemas.microsoft.com/office/drawing/2014/main" id="{1D25A2E6-4C43-686F-42FD-ABCA9B201599}"/>
              </a:ext>
            </a:extLst>
          </p:cNvPr>
          <p:cNvCxnSpPr>
            <a:cxnSpLocks/>
          </p:cNvCxnSpPr>
          <p:nvPr/>
        </p:nvCxnSpPr>
        <p:spPr>
          <a:xfrm>
            <a:off x="4768765" y="5159102"/>
            <a:ext cx="0" cy="521073"/>
          </a:xfrm>
          <a:prstGeom prst="line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8" name="Straight Connector 327">
            <a:extLst>
              <a:ext uri="{FF2B5EF4-FFF2-40B4-BE49-F238E27FC236}">
                <a16:creationId xmlns:a16="http://schemas.microsoft.com/office/drawing/2014/main" id="{4AD1AD98-5750-BB67-84F0-D9411F41AC68}"/>
              </a:ext>
            </a:extLst>
          </p:cNvPr>
          <p:cNvCxnSpPr>
            <a:cxnSpLocks/>
          </p:cNvCxnSpPr>
          <p:nvPr/>
        </p:nvCxnSpPr>
        <p:spPr>
          <a:xfrm rot="18900000">
            <a:off x="4770914" y="5159103"/>
            <a:ext cx="0" cy="521073"/>
          </a:xfrm>
          <a:prstGeom prst="line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9" name="Straight Connector 328">
            <a:extLst>
              <a:ext uri="{FF2B5EF4-FFF2-40B4-BE49-F238E27FC236}">
                <a16:creationId xmlns:a16="http://schemas.microsoft.com/office/drawing/2014/main" id="{C768719B-738C-6CF1-7627-419E701083C7}"/>
              </a:ext>
            </a:extLst>
          </p:cNvPr>
          <p:cNvCxnSpPr>
            <a:cxnSpLocks/>
          </p:cNvCxnSpPr>
          <p:nvPr/>
        </p:nvCxnSpPr>
        <p:spPr>
          <a:xfrm rot="16200000">
            <a:off x="4768767" y="5179778"/>
            <a:ext cx="0" cy="470198"/>
          </a:xfrm>
          <a:prstGeom prst="line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0" name="Oval 329">
            <a:extLst>
              <a:ext uri="{FF2B5EF4-FFF2-40B4-BE49-F238E27FC236}">
                <a16:creationId xmlns:a16="http://schemas.microsoft.com/office/drawing/2014/main" id="{8F4EE13C-B589-29C2-74D3-B3D0FAEF2BF9}"/>
              </a:ext>
            </a:extLst>
          </p:cNvPr>
          <p:cNvSpPr/>
          <p:nvPr/>
        </p:nvSpPr>
        <p:spPr>
          <a:xfrm>
            <a:off x="4595662" y="5231550"/>
            <a:ext cx="348174" cy="385846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1" name="Oval 330">
            <a:extLst>
              <a:ext uri="{FF2B5EF4-FFF2-40B4-BE49-F238E27FC236}">
                <a16:creationId xmlns:a16="http://schemas.microsoft.com/office/drawing/2014/main" id="{A2130E2B-52B8-B17F-D2A8-5ED100D2B0C0}"/>
              </a:ext>
            </a:extLst>
          </p:cNvPr>
          <p:cNvSpPr/>
          <p:nvPr/>
        </p:nvSpPr>
        <p:spPr>
          <a:xfrm>
            <a:off x="4688536" y="5334473"/>
            <a:ext cx="162426" cy="180000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67" name="Rectangle 666">
            <a:extLst>
              <a:ext uri="{FF2B5EF4-FFF2-40B4-BE49-F238E27FC236}">
                <a16:creationId xmlns:a16="http://schemas.microsoft.com/office/drawing/2014/main" id="{18190646-4F58-CE8E-318F-645B5242531E}"/>
              </a:ext>
            </a:extLst>
          </p:cNvPr>
          <p:cNvSpPr/>
          <p:nvPr/>
        </p:nvSpPr>
        <p:spPr>
          <a:xfrm rot="21170666">
            <a:off x="3361648" y="4874888"/>
            <a:ext cx="13556" cy="54944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68" name="Rectangle 667">
            <a:extLst>
              <a:ext uri="{FF2B5EF4-FFF2-40B4-BE49-F238E27FC236}">
                <a16:creationId xmlns:a16="http://schemas.microsoft.com/office/drawing/2014/main" id="{53611943-2987-F20C-7CF9-85BE399B0F9B}"/>
              </a:ext>
            </a:extLst>
          </p:cNvPr>
          <p:cNvSpPr/>
          <p:nvPr/>
        </p:nvSpPr>
        <p:spPr>
          <a:xfrm rot="349634">
            <a:off x="3393949" y="4876820"/>
            <a:ext cx="13556" cy="54944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69" name="Rectangle 668">
            <a:extLst>
              <a:ext uri="{FF2B5EF4-FFF2-40B4-BE49-F238E27FC236}">
                <a16:creationId xmlns:a16="http://schemas.microsoft.com/office/drawing/2014/main" id="{47A33125-86EE-422D-114A-05040B4AC185}"/>
              </a:ext>
            </a:extLst>
          </p:cNvPr>
          <p:cNvSpPr/>
          <p:nvPr/>
        </p:nvSpPr>
        <p:spPr>
          <a:xfrm rot="429334" flipH="1">
            <a:off x="3365563" y="5307709"/>
            <a:ext cx="13556" cy="54944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70" name="Rectangle 669">
            <a:extLst>
              <a:ext uri="{FF2B5EF4-FFF2-40B4-BE49-F238E27FC236}">
                <a16:creationId xmlns:a16="http://schemas.microsoft.com/office/drawing/2014/main" id="{DD011858-00D5-EFAD-8580-4EE577B55F12}"/>
              </a:ext>
            </a:extLst>
          </p:cNvPr>
          <p:cNvSpPr/>
          <p:nvPr/>
        </p:nvSpPr>
        <p:spPr>
          <a:xfrm rot="21250366" flipH="1">
            <a:off x="3397864" y="5305777"/>
            <a:ext cx="13556" cy="54944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71" name="Rectangle 670">
            <a:extLst>
              <a:ext uri="{FF2B5EF4-FFF2-40B4-BE49-F238E27FC236}">
                <a16:creationId xmlns:a16="http://schemas.microsoft.com/office/drawing/2014/main" id="{FF73CCF3-61F5-2CF3-FE45-ED70F3F75A7F}"/>
              </a:ext>
            </a:extLst>
          </p:cNvPr>
          <p:cNvSpPr/>
          <p:nvPr/>
        </p:nvSpPr>
        <p:spPr>
          <a:xfrm rot="18470666">
            <a:off x="3203478" y="4954698"/>
            <a:ext cx="13380" cy="55667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72" name="Rectangle 671">
            <a:extLst>
              <a:ext uri="{FF2B5EF4-FFF2-40B4-BE49-F238E27FC236}">
                <a16:creationId xmlns:a16="http://schemas.microsoft.com/office/drawing/2014/main" id="{BA372F1C-A108-0995-1266-390CBB07C7C9}"/>
              </a:ext>
            </a:extLst>
          </p:cNvPr>
          <p:cNvSpPr/>
          <p:nvPr/>
        </p:nvSpPr>
        <p:spPr>
          <a:xfrm rot="19249634">
            <a:off x="3227615" y="4933881"/>
            <a:ext cx="13556" cy="54944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73" name="Rectangle 672">
            <a:extLst>
              <a:ext uri="{FF2B5EF4-FFF2-40B4-BE49-F238E27FC236}">
                <a16:creationId xmlns:a16="http://schemas.microsoft.com/office/drawing/2014/main" id="{B143E49D-1488-F19F-9254-6448737FF709}"/>
              </a:ext>
            </a:extLst>
          </p:cNvPr>
          <p:cNvSpPr/>
          <p:nvPr/>
        </p:nvSpPr>
        <p:spPr>
          <a:xfrm rot="19329334" flipH="1">
            <a:off x="3517215" y="5256445"/>
            <a:ext cx="13556" cy="54944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74" name="Rectangle 673">
            <a:extLst>
              <a:ext uri="{FF2B5EF4-FFF2-40B4-BE49-F238E27FC236}">
                <a16:creationId xmlns:a16="http://schemas.microsoft.com/office/drawing/2014/main" id="{BDF69EAD-ACAD-A4E0-B7DE-1F7696AA3042}"/>
              </a:ext>
            </a:extLst>
          </p:cNvPr>
          <p:cNvSpPr/>
          <p:nvPr/>
        </p:nvSpPr>
        <p:spPr>
          <a:xfrm rot="18550366" flipH="1">
            <a:off x="3539570" y="5232974"/>
            <a:ext cx="13380" cy="55667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75" name="Rectangle 674">
            <a:extLst>
              <a:ext uri="{FF2B5EF4-FFF2-40B4-BE49-F238E27FC236}">
                <a16:creationId xmlns:a16="http://schemas.microsoft.com/office/drawing/2014/main" id="{0C8A9C62-74D1-E653-1C5E-B2D2C738CEBA}"/>
              </a:ext>
            </a:extLst>
          </p:cNvPr>
          <p:cNvSpPr/>
          <p:nvPr/>
        </p:nvSpPr>
        <p:spPr>
          <a:xfrm rot="15770666">
            <a:off x="3158962" y="5107845"/>
            <a:ext cx="13380" cy="55667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76" name="Rectangle 675">
            <a:extLst>
              <a:ext uri="{FF2B5EF4-FFF2-40B4-BE49-F238E27FC236}">
                <a16:creationId xmlns:a16="http://schemas.microsoft.com/office/drawing/2014/main" id="{863F96A2-636C-59EE-ABE2-CF6CE3F11A27}"/>
              </a:ext>
            </a:extLst>
          </p:cNvPr>
          <p:cNvSpPr/>
          <p:nvPr/>
        </p:nvSpPr>
        <p:spPr>
          <a:xfrm rot="16549634">
            <a:off x="3158962" y="5075963"/>
            <a:ext cx="13380" cy="55667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77" name="Rectangle 676">
            <a:extLst>
              <a:ext uri="{FF2B5EF4-FFF2-40B4-BE49-F238E27FC236}">
                <a16:creationId xmlns:a16="http://schemas.microsoft.com/office/drawing/2014/main" id="{64AB90C1-32C2-3147-EE2E-3B8A8D5651AF}"/>
              </a:ext>
            </a:extLst>
          </p:cNvPr>
          <p:cNvSpPr/>
          <p:nvPr/>
        </p:nvSpPr>
        <p:spPr>
          <a:xfrm rot="16629334" flipH="1">
            <a:off x="3592251" y="5103979"/>
            <a:ext cx="13380" cy="55667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78" name="Rectangle 677">
            <a:extLst>
              <a:ext uri="{FF2B5EF4-FFF2-40B4-BE49-F238E27FC236}">
                <a16:creationId xmlns:a16="http://schemas.microsoft.com/office/drawing/2014/main" id="{FA60CEBF-C54F-C482-7ABA-5C10A512F02B}"/>
              </a:ext>
            </a:extLst>
          </p:cNvPr>
          <p:cNvSpPr/>
          <p:nvPr/>
        </p:nvSpPr>
        <p:spPr>
          <a:xfrm rot="15850366" flipH="1">
            <a:off x="3592251" y="5072098"/>
            <a:ext cx="13380" cy="55667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0" name="Rectangle 319">
            <a:extLst>
              <a:ext uri="{FF2B5EF4-FFF2-40B4-BE49-F238E27FC236}">
                <a16:creationId xmlns:a16="http://schemas.microsoft.com/office/drawing/2014/main" id="{483DB60D-CD74-CD0E-FBAB-309B18A38856}"/>
              </a:ext>
            </a:extLst>
          </p:cNvPr>
          <p:cNvSpPr/>
          <p:nvPr/>
        </p:nvSpPr>
        <p:spPr>
          <a:xfrm rot="13070666">
            <a:off x="3237809" y="5261510"/>
            <a:ext cx="13556" cy="54944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1" name="Rectangle 320">
            <a:extLst>
              <a:ext uri="{FF2B5EF4-FFF2-40B4-BE49-F238E27FC236}">
                <a16:creationId xmlns:a16="http://schemas.microsoft.com/office/drawing/2014/main" id="{B29EF2DE-14A7-37E9-7FC6-00B98D742FFC}"/>
              </a:ext>
            </a:extLst>
          </p:cNvPr>
          <p:cNvSpPr/>
          <p:nvPr/>
        </p:nvSpPr>
        <p:spPr>
          <a:xfrm rot="13849634">
            <a:off x="3216440" y="5237238"/>
            <a:ext cx="13380" cy="55667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2" name="Rectangle 321">
            <a:extLst>
              <a:ext uri="{FF2B5EF4-FFF2-40B4-BE49-F238E27FC236}">
                <a16:creationId xmlns:a16="http://schemas.microsoft.com/office/drawing/2014/main" id="{598CCDB4-F74E-6B61-91AF-070C5DF8799C}"/>
              </a:ext>
            </a:extLst>
          </p:cNvPr>
          <p:cNvSpPr/>
          <p:nvPr/>
        </p:nvSpPr>
        <p:spPr>
          <a:xfrm rot="13929334" flipH="1">
            <a:off x="3543248" y="4953331"/>
            <a:ext cx="13380" cy="55667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3" name="Rectangle 322">
            <a:extLst>
              <a:ext uri="{FF2B5EF4-FFF2-40B4-BE49-F238E27FC236}">
                <a16:creationId xmlns:a16="http://schemas.microsoft.com/office/drawing/2014/main" id="{F465CF49-271C-164B-EEDF-085C916E5227}"/>
              </a:ext>
            </a:extLst>
          </p:cNvPr>
          <p:cNvSpPr/>
          <p:nvPr/>
        </p:nvSpPr>
        <p:spPr>
          <a:xfrm rot="13150366" flipH="1">
            <a:off x="3521704" y="4929782"/>
            <a:ext cx="13556" cy="54944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4" name="Oval 323">
            <a:extLst>
              <a:ext uri="{FF2B5EF4-FFF2-40B4-BE49-F238E27FC236}">
                <a16:creationId xmlns:a16="http://schemas.microsoft.com/office/drawing/2014/main" id="{8A60054D-2924-955B-9F34-349E1389A947}"/>
              </a:ext>
            </a:extLst>
          </p:cNvPr>
          <p:cNvSpPr/>
          <p:nvPr/>
        </p:nvSpPr>
        <p:spPr>
          <a:xfrm>
            <a:off x="3202514" y="4939018"/>
            <a:ext cx="361182" cy="361181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5" name="Oval 324">
            <a:extLst>
              <a:ext uri="{FF2B5EF4-FFF2-40B4-BE49-F238E27FC236}">
                <a16:creationId xmlns:a16="http://schemas.microsoft.com/office/drawing/2014/main" id="{5183130F-2235-C2FF-FBA4-F4EAF73D6487}"/>
              </a:ext>
            </a:extLst>
          </p:cNvPr>
          <p:cNvSpPr/>
          <p:nvPr/>
        </p:nvSpPr>
        <p:spPr>
          <a:xfrm>
            <a:off x="3300002" y="5039041"/>
            <a:ext cx="166206" cy="161134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47" name="Rectangle: Rounded Corners 646">
            <a:extLst>
              <a:ext uri="{FF2B5EF4-FFF2-40B4-BE49-F238E27FC236}">
                <a16:creationId xmlns:a16="http://schemas.microsoft.com/office/drawing/2014/main" id="{7C337E8A-FA65-87A8-E0A0-06CE49420286}"/>
              </a:ext>
            </a:extLst>
          </p:cNvPr>
          <p:cNvSpPr/>
          <p:nvPr/>
        </p:nvSpPr>
        <p:spPr>
          <a:xfrm rot="1711328" flipH="1">
            <a:off x="3869298" y="5416998"/>
            <a:ext cx="41507" cy="141625"/>
          </a:xfrm>
          <a:prstGeom prst="round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48" name="Rectangle: Rounded Corners 647">
            <a:extLst>
              <a:ext uri="{FF2B5EF4-FFF2-40B4-BE49-F238E27FC236}">
                <a16:creationId xmlns:a16="http://schemas.microsoft.com/office/drawing/2014/main" id="{393B4733-7F71-1E16-B395-A0C46D924AE2}"/>
              </a:ext>
            </a:extLst>
          </p:cNvPr>
          <p:cNvSpPr/>
          <p:nvPr/>
        </p:nvSpPr>
        <p:spPr>
          <a:xfrm rot="1711328" flipH="1">
            <a:off x="3827468" y="5394265"/>
            <a:ext cx="41507" cy="141625"/>
          </a:xfrm>
          <a:prstGeom prst="round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49" name="Rectangle: Rounded Corners 648">
            <a:extLst>
              <a:ext uri="{FF2B5EF4-FFF2-40B4-BE49-F238E27FC236}">
                <a16:creationId xmlns:a16="http://schemas.microsoft.com/office/drawing/2014/main" id="{09B63DC2-7734-E130-26B6-A53743E7E7B6}"/>
              </a:ext>
            </a:extLst>
          </p:cNvPr>
          <p:cNvSpPr/>
          <p:nvPr/>
        </p:nvSpPr>
        <p:spPr>
          <a:xfrm rot="1711328" flipH="1">
            <a:off x="3759842" y="5518701"/>
            <a:ext cx="41507" cy="141625"/>
          </a:xfrm>
          <a:prstGeom prst="round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50" name="Rectangle: Rounded Corners 649">
            <a:extLst>
              <a:ext uri="{FF2B5EF4-FFF2-40B4-BE49-F238E27FC236}">
                <a16:creationId xmlns:a16="http://schemas.microsoft.com/office/drawing/2014/main" id="{6616FBD9-D11D-0233-6C7E-EDF909ABBB52}"/>
              </a:ext>
            </a:extLst>
          </p:cNvPr>
          <p:cNvSpPr/>
          <p:nvPr/>
        </p:nvSpPr>
        <p:spPr>
          <a:xfrm rot="1711328" flipH="1">
            <a:off x="3801673" y="5541434"/>
            <a:ext cx="41507" cy="141625"/>
          </a:xfrm>
          <a:prstGeom prst="round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65" name="Rectangle: Rounded Corners 664">
            <a:extLst>
              <a:ext uri="{FF2B5EF4-FFF2-40B4-BE49-F238E27FC236}">
                <a16:creationId xmlns:a16="http://schemas.microsoft.com/office/drawing/2014/main" id="{435245E7-E343-3229-BD71-A48FADDF6022}"/>
              </a:ext>
            </a:extLst>
          </p:cNvPr>
          <p:cNvSpPr/>
          <p:nvPr/>
        </p:nvSpPr>
        <p:spPr>
          <a:xfrm rot="20955953" flipH="1">
            <a:off x="3853366" y="5209568"/>
            <a:ext cx="38948" cy="132894"/>
          </a:xfrm>
          <a:prstGeom prst="round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66" name="Rectangle: Rounded Corners 665">
            <a:extLst>
              <a:ext uri="{FF2B5EF4-FFF2-40B4-BE49-F238E27FC236}">
                <a16:creationId xmlns:a16="http://schemas.microsoft.com/office/drawing/2014/main" id="{FAF40E62-A659-43D7-0C9A-A86E6ECF63E3}"/>
              </a:ext>
            </a:extLst>
          </p:cNvPr>
          <p:cNvSpPr/>
          <p:nvPr/>
        </p:nvSpPr>
        <p:spPr>
          <a:xfrm rot="20955953" flipH="1">
            <a:off x="3809471" y="5217890"/>
            <a:ext cx="38948" cy="132894"/>
          </a:xfrm>
          <a:prstGeom prst="round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63" name="Rectangle: Rounded Corners 662">
            <a:extLst>
              <a:ext uri="{FF2B5EF4-FFF2-40B4-BE49-F238E27FC236}">
                <a16:creationId xmlns:a16="http://schemas.microsoft.com/office/drawing/2014/main" id="{CC925F27-7998-DED1-9B87-04FF37B6B280}"/>
              </a:ext>
            </a:extLst>
          </p:cNvPr>
          <p:cNvSpPr/>
          <p:nvPr/>
        </p:nvSpPr>
        <p:spPr>
          <a:xfrm rot="20845034" flipH="1">
            <a:off x="3823720" y="5061568"/>
            <a:ext cx="38948" cy="132894"/>
          </a:xfrm>
          <a:prstGeom prst="round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64" name="Rectangle: Rounded Corners 663">
            <a:extLst>
              <a:ext uri="{FF2B5EF4-FFF2-40B4-BE49-F238E27FC236}">
                <a16:creationId xmlns:a16="http://schemas.microsoft.com/office/drawing/2014/main" id="{8C7A35E0-5E3F-8771-A3B5-2CC2A6636D3F}"/>
              </a:ext>
            </a:extLst>
          </p:cNvPr>
          <p:cNvSpPr/>
          <p:nvPr/>
        </p:nvSpPr>
        <p:spPr>
          <a:xfrm rot="20845034" flipH="1">
            <a:off x="3780117" y="5071300"/>
            <a:ext cx="38948" cy="132894"/>
          </a:xfrm>
          <a:prstGeom prst="round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61" name="Rectangle: Rounded Corners 660">
            <a:extLst>
              <a:ext uri="{FF2B5EF4-FFF2-40B4-BE49-F238E27FC236}">
                <a16:creationId xmlns:a16="http://schemas.microsoft.com/office/drawing/2014/main" id="{C1353366-66BF-CA65-1263-FF1671C54FD9}"/>
              </a:ext>
            </a:extLst>
          </p:cNvPr>
          <p:cNvSpPr/>
          <p:nvPr/>
        </p:nvSpPr>
        <p:spPr>
          <a:xfrm rot="4312288" flipH="1">
            <a:off x="4031076" y="5341951"/>
            <a:ext cx="38948" cy="132894"/>
          </a:xfrm>
          <a:prstGeom prst="round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62" name="Rectangle: Rounded Corners 661">
            <a:extLst>
              <a:ext uri="{FF2B5EF4-FFF2-40B4-BE49-F238E27FC236}">
                <a16:creationId xmlns:a16="http://schemas.microsoft.com/office/drawing/2014/main" id="{30B3C723-0F80-B6B8-C018-B6614F1D2FCC}"/>
              </a:ext>
            </a:extLst>
          </p:cNvPr>
          <p:cNvSpPr/>
          <p:nvPr/>
        </p:nvSpPr>
        <p:spPr>
          <a:xfrm rot="4312288" flipH="1">
            <a:off x="4017175" y="5299491"/>
            <a:ext cx="38948" cy="132894"/>
          </a:xfrm>
          <a:prstGeom prst="round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654" name="Straight Connector 653">
            <a:extLst>
              <a:ext uri="{FF2B5EF4-FFF2-40B4-BE49-F238E27FC236}">
                <a16:creationId xmlns:a16="http://schemas.microsoft.com/office/drawing/2014/main" id="{073590F1-F80A-508D-3E4E-06893D14A9EA}"/>
              </a:ext>
            </a:extLst>
          </p:cNvPr>
          <p:cNvCxnSpPr/>
          <p:nvPr/>
        </p:nvCxnSpPr>
        <p:spPr>
          <a:xfrm rot="1711328" flipH="1">
            <a:off x="3890386" y="5374101"/>
            <a:ext cx="0" cy="28723"/>
          </a:xfrm>
          <a:prstGeom prst="line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55" name="Straight Connector 654">
            <a:extLst>
              <a:ext uri="{FF2B5EF4-FFF2-40B4-BE49-F238E27FC236}">
                <a16:creationId xmlns:a16="http://schemas.microsoft.com/office/drawing/2014/main" id="{37564C11-A679-2762-6012-FBCC1F25D8F7}"/>
              </a:ext>
            </a:extLst>
          </p:cNvPr>
          <p:cNvCxnSpPr/>
          <p:nvPr/>
        </p:nvCxnSpPr>
        <p:spPr>
          <a:xfrm rot="1711328" flipH="1">
            <a:off x="3931232" y="5396299"/>
            <a:ext cx="0" cy="28723"/>
          </a:xfrm>
          <a:prstGeom prst="line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56" name="Straight Connector 655">
            <a:extLst>
              <a:ext uri="{FF2B5EF4-FFF2-40B4-BE49-F238E27FC236}">
                <a16:creationId xmlns:a16="http://schemas.microsoft.com/office/drawing/2014/main" id="{C73DBF08-0877-65FC-149B-5DE566087224}"/>
              </a:ext>
            </a:extLst>
          </p:cNvPr>
          <p:cNvCxnSpPr>
            <a:cxnSpLocks/>
          </p:cNvCxnSpPr>
          <p:nvPr/>
        </p:nvCxnSpPr>
        <p:spPr>
          <a:xfrm rot="20611328" flipH="1">
            <a:off x="3890460" y="5340663"/>
            <a:ext cx="0" cy="40400"/>
          </a:xfrm>
          <a:prstGeom prst="line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57" name="Straight Connector 656">
            <a:extLst>
              <a:ext uri="{FF2B5EF4-FFF2-40B4-BE49-F238E27FC236}">
                <a16:creationId xmlns:a16="http://schemas.microsoft.com/office/drawing/2014/main" id="{3F45E919-B4AC-3957-08A4-A901DEBE06BE}"/>
              </a:ext>
            </a:extLst>
          </p:cNvPr>
          <p:cNvCxnSpPr>
            <a:cxnSpLocks/>
          </p:cNvCxnSpPr>
          <p:nvPr/>
        </p:nvCxnSpPr>
        <p:spPr>
          <a:xfrm rot="1711328">
            <a:off x="3854166" y="5195652"/>
            <a:ext cx="10144" cy="11244"/>
          </a:xfrm>
          <a:prstGeom prst="line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58" name="Straight Connector 657">
            <a:extLst>
              <a:ext uri="{FF2B5EF4-FFF2-40B4-BE49-F238E27FC236}">
                <a16:creationId xmlns:a16="http://schemas.microsoft.com/office/drawing/2014/main" id="{B688C5DA-EC1E-5663-EC8E-B627E3893A40}"/>
              </a:ext>
            </a:extLst>
          </p:cNvPr>
          <p:cNvCxnSpPr>
            <a:cxnSpLocks/>
          </p:cNvCxnSpPr>
          <p:nvPr/>
        </p:nvCxnSpPr>
        <p:spPr>
          <a:xfrm rot="4411328">
            <a:off x="3954101" y="5375268"/>
            <a:ext cx="0" cy="40400"/>
          </a:xfrm>
          <a:prstGeom prst="line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59" name="Straight Connector 658">
            <a:extLst>
              <a:ext uri="{FF2B5EF4-FFF2-40B4-BE49-F238E27FC236}">
                <a16:creationId xmlns:a16="http://schemas.microsoft.com/office/drawing/2014/main" id="{A9C3CA60-63D5-22D0-A4FF-04570FFE7395}"/>
              </a:ext>
            </a:extLst>
          </p:cNvPr>
          <p:cNvCxnSpPr>
            <a:cxnSpLocks/>
          </p:cNvCxnSpPr>
          <p:nvPr/>
        </p:nvCxnSpPr>
        <p:spPr>
          <a:xfrm rot="1711328" flipH="1">
            <a:off x="3891080" y="5391013"/>
            <a:ext cx="49409" cy="0"/>
          </a:xfrm>
          <a:prstGeom prst="line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60" name="Straight Connector 659">
            <a:extLst>
              <a:ext uri="{FF2B5EF4-FFF2-40B4-BE49-F238E27FC236}">
                <a16:creationId xmlns:a16="http://schemas.microsoft.com/office/drawing/2014/main" id="{ACA39ED3-7D3B-C4BF-B33A-BFAA38ADD31E}"/>
              </a:ext>
            </a:extLst>
          </p:cNvPr>
          <p:cNvCxnSpPr>
            <a:cxnSpLocks/>
          </p:cNvCxnSpPr>
          <p:nvPr/>
        </p:nvCxnSpPr>
        <p:spPr>
          <a:xfrm rot="1711328" flipH="1">
            <a:off x="3887293" y="5402884"/>
            <a:ext cx="49409" cy="0"/>
          </a:xfrm>
          <a:prstGeom prst="line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49" name="Freeform: Shape 1295">
            <a:extLst>
              <a:ext uri="{FF2B5EF4-FFF2-40B4-BE49-F238E27FC236}">
                <a16:creationId xmlns:a16="http://schemas.microsoft.com/office/drawing/2014/main" id="{572093DC-93D3-CAF7-D51C-47640736593C}"/>
              </a:ext>
            </a:extLst>
          </p:cNvPr>
          <p:cNvSpPr/>
          <p:nvPr/>
        </p:nvSpPr>
        <p:spPr>
          <a:xfrm rot="19340584" flipH="1">
            <a:off x="4100242" y="4765981"/>
            <a:ext cx="432941" cy="468576"/>
          </a:xfrm>
          <a:custGeom>
            <a:avLst/>
            <a:gdLst>
              <a:gd name="connsiteX0" fmla="*/ 223406 w 344872"/>
              <a:gd name="connsiteY0" fmla="*/ 172295 h 373258"/>
              <a:gd name="connsiteX1" fmla="*/ 230274 w 344872"/>
              <a:gd name="connsiteY1" fmla="*/ 177712 h 373258"/>
              <a:gd name="connsiteX2" fmla="*/ 219033 w 344872"/>
              <a:gd name="connsiteY2" fmla="*/ 176939 h 373258"/>
              <a:gd name="connsiteX3" fmla="*/ 202006 w 344872"/>
              <a:gd name="connsiteY3" fmla="*/ 5766 h 373258"/>
              <a:gd name="connsiteX4" fmla="*/ 176598 w 344872"/>
              <a:gd name="connsiteY4" fmla="*/ 34822 h 373258"/>
              <a:gd name="connsiteX5" fmla="*/ 170991 w 344872"/>
              <a:gd name="connsiteY5" fmla="*/ 86974 h 373258"/>
              <a:gd name="connsiteX6" fmla="*/ 176467 w 344872"/>
              <a:gd name="connsiteY6" fmla="*/ 92722 h 373258"/>
              <a:gd name="connsiteX7" fmla="*/ 172374 w 344872"/>
              <a:gd name="connsiteY7" fmla="*/ 99946 h 373258"/>
              <a:gd name="connsiteX8" fmla="*/ 170954 w 344872"/>
              <a:gd name="connsiteY8" fmla="*/ 138518 h 373258"/>
              <a:gd name="connsiteX9" fmla="*/ 187455 w 344872"/>
              <a:gd name="connsiteY9" fmla="*/ 173410 h 373258"/>
              <a:gd name="connsiteX10" fmla="*/ 191159 w 344872"/>
              <a:gd name="connsiteY10" fmla="*/ 175023 h 373258"/>
              <a:gd name="connsiteX11" fmla="*/ 191124 w 344872"/>
              <a:gd name="connsiteY11" fmla="*/ 175020 h 373258"/>
              <a:gd name="connsiteX12" fmla="*/ 202035 w 344872"/>
              <a:gd name="connsiteY12" fmla="*/ 204650 h 373258"/>
              <a:gd name="connsiteX13" fmla="*/ 216592 w 344872"/>
              <a:gd name="connsiteY13" fmla="*/ 212094 h 373258"/>
              <a:gd name="connsiteX14" fmla="*/ 220804 w 344872"/>
              <a:gd name="connsiteY14" fmla="*/ 236140 h 373258"/>
              <a:gd name="connsiteX15" fmla="*/ 250992 w 344872"/>
              <a:gd name="connsiteY15" fmla="*/ 260262 h 373258"/>
              <a:gd name="connsiteX16" fmla="*/ 288946 w 344872"/>
              <a:gd name="connsiteY16" fmla="*/ 267419 h 373258"/>
              <a:gd name="connsiteX17" fmla="*/ 281144 w 344872"/>
              <a:gd name="connsiteY17" fmla="*/ 294390 h 373258"/>
              <a:gd name="connsiteX18" fmla="*/ 286765 w 344872"/>
              <a:gd name="connsiteY18" fmla="*/ 321272 h 373258"/>
              <a:gd name="connsiteX19" fmla="*/ 260544 w 344872"/>
              <a:gd name="connsiteY19" fmla="*/ 309122 h 373258"/>
              <a:gd name="connsiteX20" fmla="*/ 234893 w 344872"/>
              <a:gd name="connsiteY20" fmla="*/ 310503 h 373258"/>
              <a:gd name="connsiteX21" fmla="*/ 235340 w 344872"/>
              <a:gd name="connsiteY21" fmla="*/ 310038 h 373258"/>
              <a:gd name="connsiteX22" fmla="*/ 236939 w 344872"/>
              <a:gd name="connsiteY22" fmla="*/ 271429 h 373258"/>
              <a:gd name="connsiteX23" fmla="*/ 220259 w 344872"/>
              <a:gd name="connsiteY23" fmla="*/ 236574 h 373258"/>
              <a:gd name="connsiteX24" fmla="*/ 199603 w 344872"/>
              <a:gd name="connsiteY24" fmla="*/ 227810 h 373258"/>
              <a:gd name="connsiteX25" fmla="*/ 200777 w 344872"/>
              <a:gd name="connsiteY25" fmla="*/ 227960 h 373258"/>
              <a:gd name="connsiteX26" fmla="*/ 192774 w 344872"/>
              <a:gd name="connsiteY26" fmla="*/ 195942 h 373258"/>
              <a:gd name="connsiteX27" fmla="*/ 179089 w 344872"/>
              <a:gd name="connsiteY27" fmla="*/ 186962 h 373258"/>
              <a:gd name="connsiteX28" fmla="*/ 178053 w 344872"/>
              <a:gd name="connsiteY28" fmla="*/ 181053 h 373258"/>
              <a:gd name="connsiteX29" fmla="*/ 147865 w 344872"/>
              <a:gd name="connsiteY29" fmla="*/ 156932 h 373258"/>
              <a:gd name="connsiteX30" fmla="*/ 109894 w 344872"/>
              <a:gd name="connsiteY30" fmla="*/ 149770 h 373258"/>
              <a:gd name="connsiteX31" fmla="*/ 103034 w 344872"/>
              <a:gd name="connsiteY31" fmla="*/ 153852 h 373258"/>
              <a:gd name="connsiteX32" fmla="*/ 97741 w 344872"/>
              <a:gd name="connsiteY32" fmla="*/ 145698 h 373258"/>
              <a:gd name="connsiteX33" fmla="*/ 45575 w 344872"/>
              <a:gd name="connsiteY33" fmla="*/ 139012 h 373258"/>
              <a:gd name="connsiteX34" fmla="*/ 11577 w 344872"/>
              <a:gd name="connsiteY34" fmla="*/ 157379 h 373258"/>
              <a:gd name="connsiteX35" fmla="*/ 2139 w 344872"/>
              <a:gd name="connsiteY35" fmla="*/ 183060 h 373258"/>
              <a:gd name="connsiteX36" fmla="*/ 2652 w 344872"/>
              <a:gd name="connsiteY36" fmla="*/ 184217 h 373258"/>
              <a:gd name="connsiteX37" fmla="*/ 3818 w 344872"/>
              <a:gd name="connsiteY37" fmla="*/ 181417 h 373258"/>
              <a:gd name="connsiteX38" fmla="*/ 65668 w 344872"/>
              <a:gd name="connsiteY38" fmla="*/ 182657 h 373258"/>
              <a:gd name="connsiteX39" fmla="*/ 79320 w 344872"/>
              <a:gd name="connsiteY39" fmla="*/ 193734 h 373258"/>
              <a:gd name="connsiteX40" fmla="*/ 80796 w 344872"/>
              <a:gd name="connsiteY40" fmla="*/ 193157 h 373258"/>
              <a:gd name="connsiteX41" fmla="*/ 90124 w 344872"/>
              <a:gd name="connsiteY41" fmla="*/ 185126 h 373258"/>
              <a:gd name="connsiteX42" fmla="*/ 91102 w 344872"/>
              <a:gd name="connsiteY42" fmla="*/ 190714 h 373258"/>
              <a:gd name="connsiteX43" fmla="*/ 107133 w 344872"/>
              <a:gd name="connsiteY43" fmla="*/ 203523 h 373258"/>
              <a:gd name="connsiteX44" fmla="*/ 87953 w 344872"/>
              <a:gd name="connsiteY44" fmla="*/ 210600 h 373258"/>
              <a:gd name="connsiteX45" fmla="*/ 64953 w 344872"/>
              <a:gd name="connsiteY45" fmla="*/ 186689 h 373258"/>
              <a:gd name="connsiteX46" fmla="*/ 3104 w 344872"/>
              <a:gd name="connsiteY46" fmla="*/ 185450 h 373258"/>
              <a:gd name="connsiteX47" fmla="*/ 31059 w 344872"/>
              <a:gd name="connsiteY47" fmla="*/ 240635 h 373258"/>
              <a:gd name="connsiteX48" fmla="*/ 67774 w 344872"/>
              <a:gd name="connsiteY48" fmla="*/ 252684 h 373258"/>
              <a:gd name="connsiteX49" fmla="*/ 74441 w 344872"/>
              <a:gd name="connsiteY49" fmla="*/ 249817 h 373258"/>
              <a:gd name="connsiteX50" fmla="*/ 85892 w 344872"/>
              <a:gd name="connsiteY50" fmla="*/ 257960 h 373258"/>
              <a:gd name="connsiteX51" fmla="*/ 124186 w 344872"/>
              <a:gd name="connsiteY51" fmla="*/ 263130 h 373258"/>
              <a:gd name="connsiteX52" fmla="*/ 173411 w 344872"/>
              <a:gd name="connsiteY52" fmla="*/ 225663 h 373258"/>
              <a:gd name="connsiteX53" fmla="*/ 172828 w 344872"/>
              <a:gd name="connsiteY53" fmla="*/ 224403 h 373258"/>
              <a:gd name="connsiteX54" fmla="*/ 193920 w 344872"/>
              <a:gd name="connsiteY54" fmla="*/ 227087 h 373258"/>
              <a:gd name="connsiteX55" fmla="*/ 176130 w 344872"/>
              <a:gd name="connsiteY55" fmla="*/ 245632 h 373258"/>
              <a:gd name="connsiteX56" fmla="*/ 174531 w 344872"/>
              <a:gd name="connsiteY56" fmla="*/ 284241 h 373258"/>
              <a:gd name="connsiteX57" fmla="*/ 191210 w 344872"/>
              <a:gd name="connsiteY57" fmla="*/ 319096 h 373258"/>
              <a:gd name="connsiteX58" fmla="*/ 207083 w 344872"/>
              <a:gd name="connsiteY58" fmla="*/ 325830 h 373258"/>
              <a:gd name="connsiteX59" fmla="*/ 202451 w 344872"/>
              <a:gd name="connsiteY59" fmla="*/ 330385 h 373258"/>
              <a:gd name="connsiteX60" fmla="*/ 248508 w 344872"/>
              <a:gd name="connsiteY60" fmla="*/ 371685 h 373258"/>
              <a:gd name="connsiteX61" fmla="*/ 306601 w 344872"/>
              <a:gd name="connsiteY61" fmla="*/ 350422 h 373258"/>
              <a:gd name="connsiteX62" fmla="*/ 303268 w 344872"/>
              <a:gd name="connsiteY62" fmla="*/ 342829 h 373258"/>
              <a:gd name="connsiteX63" fmla="*/ 310975 w 344872"/>
              <a:gd name="connsiteY63" fmla="*/ 348584 h 373258"/>
              <a:gd name="connsiteX64" fmla="*/ 344808 w 344872"/>
              <a:gd name="connsiteY64" fmla="*/ 296794 h 373258"/>
              <a:gd name="connsiteX65" fmla="*/ 314977 w 344872"/>
              <a:gd name="connsiteY65" fmla="*/ 242599 h 373258"/>
              <a:gd name="connsiteX66" fmla="*/ 311019 w 344872"/>
              <a:gd name="connsiteY66" fmla="*/ 245114 h 373258"/>
              <a:gd name="connsiteX67" fmla="*/ 307755 w 344872"/>
              <a:gd name="connsiteY67" fmla="*/ 226479 h 373258"/>
              <a:gd name="connsiteX68" fmla="*/ 277567 w 344872"/>
              <a:gd name="connsiteY68" fmla="*/ 202359 h 373258"/>
              <a:gd name="connsiteX69" fmla="*/ 239595 w 344872"/>
              <a:gd name="connsiteY69" fmla="*/ 195197 h 373258"/>
              <a:gd name="connsiteX70" fmla="*/ 233723 w 344872"/>
              <a:gd name="connsiteY70" fmla="*/ 196997 h 373258"/>
              <a:gd name="connsiteX71" fmla="*/ 235645 w 344872"/>
              <a:gd name="connsiteY71" fmla="*/ 178081 h 373258"/>
              <a:gd name="connsiteX72" fmla="*/ 234165 w 344872"/>
              <a:gd name="connsiteY72" fmla="*/ 177979 h 373258"/>
              <a:gd name="connsiteX73" fmla="*/ 257531 w 344872"/>
              <a:gd name="connsiteY73" fmla="*/ 171374 h 373258"/>
              <a:gd name="connsiteX74" fmla="*/ 278577 w 344872"/>
              <a:gd name="connsiteY74" fmla="*/ 139020 h 373258"/>
              <a:gd name="connsiteX75" fmla="*/ 282362 w 344872"/>
              <a:gd name="connsiteY75" fmla="*/ 100608 h 373258"/>
              <a:gd name="connsiteX76" fmla="*/ 278190 w 344872"/>
              <a:gd name="connsiteY76" fmla="*/ 90178 h 373258"/>
              <a:gd name="connsiteX77" fmla="*/ 281312 w 344872"/>
              <a:gd name="connsiteY77" fmla="*/ 82469 h 373258"/>
              <a:gd name="connsiteX78" fmla="*/ 277693 w 344872"/>
              <a:gd name="connsiteY78" fmla="*/ 44041 h 373258"/>
              <a:gd name="connsiteX79" fmla="*/ 230838 w 344872"/>
              <a:gd name="connsiteY79" fmla="*/ 4140 h 373258"/>
              <a:gd name="connsiteX80" fmla="*/ 218667 w 344872"/>
              <a:gd name="connsiteY80" fmla="*/ 64468 h 373258"/>
              <a:gd name="connsiteX81" fmla="*/ 236591 w 344872"/>
              <a:gd name="connsiteY81" fmla="*/ 92282 h 373258"/>
              <a:gd name="connsiteX82" fmla="*/ 224791 w 344872"/>
              <a:gd name="connsiteY82" fmla="*/ 110421 h 373258"/>
              <a:gd name="connsiteX83" fmla="*/ 215638 w 344872"/>
              <a:gd name="connsiteY83" fmla="*/ 91065 h 373258"/>
              <a:gd name="connsiteX84" fmla="*/ 209901 w 344872"/>
              <a:gd name="connsiteY84" fmla="*/ 88568 h 373258"/>
              <a:gd name="connsiteX85" fmla="*/ 220324 w 344872"/>
              <a:gd name="connsiteY85" fmla="*/ 80808 h 373258"/>
              <a:gd name="connsiteX86" fmla="*/ 221215 w 344872"/>
              <a:gd name="connsiteY86" fmla="*/ 79498 h 373258"/>
              <a:gd name="connsiteX87" fmla="*/ 213754 w 344872"/>
              <a:gd name="connsiteY87" fmla="*/ 63825 h 373258"/>
              <a:gd name="connsiteX88" fmla="*/ 226803 w 344872"/>
              <a:gd name="connsiteY88" fmla="*/ 3444 h 373258"/>
              <a:gd name="connsiteX89" fmla="*/ 229753 w 344872"/>
              <a:gd name="connsiteY89" fmla="*/ 2918 h 373258"/>
              <a:gd name="connsiteX90" fmla="*/ 228763 w 344872"/>
              <a:gd name="connsiteY90" fmla="*/ 2167 h 373258"/>
              <a:gd name="connsiteX91" fmla="*/ 202006 w 344872"/>
              <a:gd name="connsiteY91" fmla="*/ 5766 h 3732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</a:cxnLst>
            <a:rect l="l" t="t" r="r" b="b"/>
            <a:pathLst>
              <a:path w="344872" h="373258">
                <a:moveTo>
                  <a:pt x="223406" y="172295"/>
                </a:moveTo>
                <a:lnTo>
                  <a:pt x="230274" y="177712"/>
                </a:lnTo>
                <a:lnTo>
                  <a:pt x="219033" y="176939"/>
                </a:lnTo>
                <a:close/>
                <a:moveTo>
                  <a:pt x="202006" y="5766"/>
                </a:moveTo>
                <a:cubicBezTo>
                  <a:pt x="192566" y="11676"/>
                  <a:pt x="183351" y="21828"/>
                  <a:pt x="176598" y="34822"/>
                </a:cubicBezTo>
                <a:cubicBezTo>
                  <a:pt x="166469" y="54313"/>
                  <a:pt x="164757" y="74662"/>
                  <a:pt x="170991" y="86974"/>
                </a:cubicBezTo>
                <a:lnTo>
                  <a:pt x="176467" y="92722"/>
                </a:lnTo>
                <a:lnTo>
                  <a:pt x="172374" y="99946"/>
                </a:lnTo>
                <a:cubicBezTo>
                  <a:pt x="168768" y="110483"/>
                  <a:pt x="168010" y="124173"/>
                  <a:pt x="170954" y="138518"/>
                </a:cubicBezTo>
                <a:cubicBezTo>
                  <a:pt x="173899" y="152863"/>
                  <a:pt x="179989" y="165147"/>
                  <a:pt x="187455" y="173410"/>
                </a:cubicBezTo>
                <a:lnTo>
                  <a:pt x="191159" y="175023"/>
                </a:lnTo>
                <a:lnTo>
                  <a:pt x="191124" y="175020"/>
                </a:lnTo>
                <a:cubicBezTo>
                  <a:pt x="190613" y="186145"/>
                  <a:pt x="194785" y="196615"/>
                  <a:pt x="202035" y="204650"/>
                </a:cubicBezTo>
                <a:lnTo>
                  <a:pt x="216592" y="212094"/>
                </a:lnTo>
                <a:lnTo>
                  <a:pt x="220804" y="236140"/>
                </a:lnTo>
                <a:cubicBezTo>
                  <a:pt x="227121" y="245383"/>
                  <a:pt x="237683" y="254153"/>
                  <a:pt x="250992" y="260262"/>
                </a:cubicBezTo>
                <a:lnTo>
                  <a:pt x="288946" y="267419"/>
                </a:lnTo>
                <a:lnTo>
                  <a:pt x="281144" y="294390"/>
                </a:lnTo>
                <a:lnTo>
                  <a:pt x="286765" y="321272"/>
                </a:lnTo>
                <a:lnTo>
                  <a:pt x="260544" y="309122"/>
                </a:lnTo>
                <a:lnTo>
                  <a:pt x="234893" y="310503"/>
                </a:lnTo>
                <a:lnTo>
                  <a:pt x="235340" y="310038"/>
                </a:lnTo>
                <a:cubicBezTo>
                  <a:pt x="239057" y="299478"/>
                  <a:pt x="239884" y="285774"/>
                  <a:pt x="236939" y="271429"/>
                </a:cubicBezTo>
                <a:cubicBezTo>
                  <a:pt x="233994" y="257085"/>
                  <a:pt x="227836" y="244815"/>
                  <a:pt x="220259" y="236574"/>
                </a:cubicBezTo>
                <a:lnTo>
                  <a:pt x="199603" y="227810"/>
                </a:lnTo>
                <a:lnTo>
                  <a:pt x="200777" y="227960"/>
                </a:lnTo>
                <a:cubicBezTo>
                  <a:pt x="202089" y="216147"/>
                  <a:pt x="198965" y="204820"/>
                  <a:pt x="192774" y="195942"/>
                </a:cubicBezTo>
                <a:lnTo>
                  <a:pt x="179089" y="186962"/>
                </a:lnTo>
                <a:lnTo>
                  <a:pt x="178053" y="181053"/>
                </a:lnTo>
                <a:cubicBezTo>
                  <a:pt x="171736" y="171811"/>
                  <a:pt x="161175" y="163040"/>
                  <a:pt x="147865" y="156932"/>
                </a:cubicBezTo>
                <a:cubicBezTo>
                  <a:pt x="134556" y="150823"/>
                  <a:pt x="121020" y="148534"/>
                  <a:pt x="109894" y="149770"/>
                </a:cubicBezTo>
                <a:lnTo>
                  <a:pt x="103034" y="153852"/>
                </a:lnTo>
                <a:lnTo>
                  <a:pt x="97741" y="145698"/>
                </a:lnTo>
                <a:cubicBezTo>
                  <a:pt x="87099" y="136627"/>
                  <a:pt x="66849" y="133547"/>
                  <a:pt x="45575" y="139012"/>
                </a:cubicBezTo>
                <a:cubicBezTo>
                  <a:pt x="31391" y="142656"/>
                  <a:pt x="19438" y="149408"/>
                  <a:pt x="11577" y="157379"/>
                </a:cubicBezTo>
                <a:cubicBezTo>
                  <a:pt x="3717" y="165350"/>
                  <a:pt x="-50" y="174540"/>
                  <a:pt x="2139" y="183060"/>
                </a:cubicBezTo>
                <a:lnTo>
                  <a:pt x="2652" y="184217"/>
                </a:lnTo>
                <a:lnTo>
                  <a:pt x="3818" y="181417"/>
                </a:lnTo>
                <a:cubicBezTo>
                  <a:pt x="13178" y="166521"/>
                  <a:pt x="40869" y="167075"/>
                  <a:pt x="65668" y="182657"/>
                </a:cubicBezTo>
                <a:lnTo>
                  <a:pt x="79320" y="193734"/>
                </a:lnTo>
                <a:lnTo>
                  <a:pt x="80796" y="193157"/>
                </a:lnTo>
                <a:lnTo>
                  <a:pt x="90124" y="185126"/>
                </a:lnTo>
                <a:lnTo>
                  <a:pt x="91102" y="190714"/>
                </a:lnTo>
                <a:lnTo>
                  <a:pt x="107133" y="203523"/>
                </a:lnTo>
                <a:lnTo>
                  <a:pt x="87953" y="210600"/>
                </a:lnTo>
                <a:lnTo>
                  <a:pt x="64953" y="186689"/>
                </a:lnTo>
                <a:cubicBezTo>
                  <a:pt x="40154" y="171108"/>
                  <a:pt x="12463" y="170553"/>
                  <a:pt x="3104" y="185450"/>
                </a:cubicBezTo>
                <a:cubicBezTo>
                  <a:pt x="-6256" y="200346"/>
                  <a:pt x="6260" y="225054"/>
                  <a:pt x="31059" y="240635"/>
                </a:cubicBezTo>
                <a:cubicBezTo>
                  <a:pt x="43459" y="248426"/>
                  <a:pt x="56582" y="252460"/>
                  <a:pt x="67774" y="252684"/>
                </a:cubicBezTo>
                <a:lnTo>
                  <a:pt x="74441" y="249817"/>
                </a:lnTo>
                <a:lnTo>
                  <a:pt x="85892" y="257960"/>
                </a:lnTo>
                <a:cubicBezTo>
                  <a:pt x="96062" y="262639"/>
                  <a:pt x="109630" y="264732"/>
                  <a:pt x="124186" y="263130"/>
                </a:cubicBezTo>
                <a:cubicBezTo>
                  <a:pt x="153298" y="259925"/>
                  <a:pt x="175337" y="243150"/>
                  <a:pt x="173411" y="225663"/>
                </a:cubicBezTo>
                <a:lnTo>
                  <a:pt x="172828" y="224403"/>
                </a:lnTo>
                <a:lnTo>
                  <a:pt x="193920" y="227087"/>
                </a:lnTo>
                <a:lnTo>
                  <a:pt x="176130" y="245632"/>
                </a:lnTo>
                <a:cubicBezTo>
                  <a:pt x="172412" y="256192"/>
                  <a:pt x="171586" y="269896"/>
                  <a:pt x="174531" y="284241"/>
                </a:cubicBezTo>
                <a:cubicBezTo>
                  <a:pt x="177475" y="298585"/>
                  <a:pt x="183634" y="310855"/>
                  <a:pt x="191210" y="319096"/>
                </a:cubicBezTo>
                <a:lnTo>
                  <a:pt x="207083" y="325830"/>
                </a:lnTo>
                <a:lnTo>
                  <a:pt x="202451" y="330385"/>
                </a:lnTo>
                <a:cubicBezTo>
                  <a:pt x="199127" y="347661"/>
                  <a:pt x="219747" y="366152"/>
                  <a:pt x="248508" y="371685"/>
                </a:cubicBezTo>
                <a:cubicBezTo>
                  <a:pt x="277269" y="377218"/>
                  <a:pt x="303277" y="367698"/>
                  <a:pt x="306601" y="350422"/>
                </a:cubicBezTo>
                <a:lnTo>
                  <a:pt x="303268" y="342829"/>
                </a:lnTo>
                <a:lnTo>
                  <a:pt x="310975" y="348584"/>
                </a:lnTo>
                <a:cubicBezTo>
                  <a:pt x="328555" y="349248"/>
                  <a:pt x="343703" y="326061"/>
                  <a:pt x="344808" y="296794"/>
                </a:cubicBezTo>
                <a:cubicBezTo>
                  <a:pt x="345914" y="267526"/>
                  <a:pt x="332557" y="243263"/>
                  <a:pt x="314977" y="242599"/>
                </a:cubicBezTo>
                <a:lnTo>
                  <a:pt x="311019" y="245114"/>
                </a:lnTo>
                <a:lnTo>
                  <a:pt x="307755" y="226479"/>
                </a:lnTo>
                <a:cubicBezTo>
                  <a:pt x="301438" y="217238"/>
                  <a:pt x="290876" y="208467"/>
                  <a:pt x="277567" y="202359"/>
                </a:cubicBezTo>
                <a:cubicBezTo>
                  <a:pt x="264258" y="196250"/>
                  <a:pt x="250721" y="193961"/>
                  <a:pt x="239595" y="195197"/>
                </a:cubicBezTo>
                <a:lnTo>
                  <a:pt x="233723" y="196997"/>
                </a:lnTo>
                <a:lnTo>
                  <a:pt x="235645" y="178081"/>
                </a:lnTo>
                <a:lnTo>
                  <a:pt x="234165" y="177979"/>
                </a:lnTo>
                <a:lnTo>
                  <a:pt x="257531" y="171374"/>
                </a:lnTo>
                <a:cubicBezTo>
                  <a:pt x="266041" y="164190"/>
                  <a:pt x="273729" y="152838"/>
                  <a:pt x="278577" y="139020"/>
                </a:cubicBezTo>
                <a:cubicBezTo>
                  <a:pt x="283426" y="125202"/>
                  <a:pt x="284517" y="111535"/>
                  <a:pt x="282362" y="100608"/>
                </a:cubicBezTo>
                <a:lnTo>
                  <a:pt x="278190" y="90178"/>
                </a:lnTo>
                <a:lnTo>
                  <a:pt x="281312" y="82469"/>
                </a:lnTo>
                <a:cubicBezTo>
                  <a:pt x="283514" y="71552"/>
                  <a:pt x="282482" y="57880"/>
                  <a:pt x="277693" y="44041"/>
                </a:cubicBezTo>
                <a:cubicBezTo>
                  <a:pt x="268115" y="16364"/>
                  <a:pt x="247137" y="-1500"/>
                  <a:pt x="230838" y="4140"/>
                </a:cubicBezTo>
                <a:cubicBezTo>
                  <a:pt x="214538" y="9781"/>
                  <a:pt x="209089" y="36790"/>
                  <a:pt x="218667" y="64468"/>
                </a:cubicBezTo>
                <a:lnTo>
                  <a:pt x="236591" y="92282"/>
                </a:lnTo>
                <a:lnTo>
                  <a:pt x="224791" y="110421"/>
                </a:lnTo>
                <a:lnTo>
                  <a:pt x="215638" y="91065"/>
                </a:lnTo>
                <a:lnTo>
                  <a:pt x="209901" y="88568"/>
                </a:lnTo>
                <a:lnTo>
                  <a:pt x="220324" y="80808"/>
                </a:lnTo>
                <a:lnTo>
                  <a:pt x="221215" y="79498"/>
                </a:lnTo>
                <a:lnTo>
                  <a:pt x="213754" y="63825"/>
                </a:lnTo>
                <a:cubicBezTo>
                  <a:pt x="204546" y="36341"/>
                  <a:pt x="210389" y="9307"/>
                  <a:pt x="226803" y="3444"/>
                </a:cubicBezTo>
                <a:lnTo>
                  <a:pt x="229753" y="2918"/>
                </a:lnTo>
                <a:lnTo>
                  <a:pt x="228763" y="2167"/>
                </a:lnTo>
                <a:cubicBezTo>
                  <a:pt x="221111" y="-1809"/>
                  <a:pt x="211446" y="-143"/>
                  <a:pt x="202006" y="5766"/>
                </a:cubicBezTo>
                <a:close/>
              </a:path>
            </a:pathLst>
          </a:cu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50" name="Rectangle: Rounded Corners 449">
            <a:extLst>
              <a:ext uri="{FF2B5EF4-FFF2-40B4-BE49-F238E27FC236}">
                <a16:creationId xmlns:a16="http://schemas.microsoft.com/office/drawing/2014/main" id="{57AA15A7-2D4E-6879-BB03-1385CB52B50E}"/>
              </a:ext>
            </a:extLst>
          </p:cNvPr>
          <p:cNvSpPr/>
          <p:nvPr/>
        </p:nvSpPr>
        <p:spPr>
          <a:xfrm>
            <a:off x="665742" y="2260606"/>
            <a:ext cx="2166262" cy="1697264"/>
          </a:xfrm>
          <a:prstGeom prst="roundRect">
            <a:avLst>
              <a:gd name="adj" fmla="val 16667"/>
            </a:avLst>
          </a:prstGeom>
          <a:gradFill>
            <a:gsLst>
              <a:gs pos="0">
                <a:srgbClr val="A1A09C"/>
              </a:gs>
              <a:gs pos="100000">
                <a:srgbClr val="D8D7D6"/>
              </a:gs>
            </a:gsLst>
            <a:lin ang="5400000" scaled="1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51" name="Flowchart: Connector 450">
            <a:extLst>
              <a:ext uri="{FF2B5EF4-FFF2-40B4-BE49-F238E27FC236}">
                <a16:creationId xmlns:a16="http://schemas.microsoft.com/office/drawing/2014/main" id="{D0FA9793-B78A-2E5C-83DF-E5B78EA01D26}"/>
              </a:ext>
            </a:extLst>
          </p:cNvPr>
          <p:cNvSpPr/>
          <p:nvPr/>
        </p:nvSpPr>
        <p:spPr>
          <a:xfrm>
            <a:off x="750090" y="2343510"/>
            <a:ext cx="457200" cy="457200"/>
          </a:xfrm>
          <a:prstGeom prst="flowChartConnector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52" name="TextBox 451">
            <a:extLst>
              <a:ext uri="{FF2B5EF4-FFF2-40B4-BE49-F238E27FC236}">
                <a16:creationId xmlns:a16="http://schemas.microsoft.com/office/drawing/2014/main" id="{8FD462AE-1DFD-6FFD-E5CE-6EDE7486A420}"/>
              </a:ext>
            </a:extLst>
          </p:cNvPr>
          <p:cNvSpPr txBox="1"/>
          <p:nvPr/>
        </p:nvSpPr>
        <p:spPr>
          <a:xfrm>
            <a:off x="1264581" y="2437977"/>
            <a:ext cx="1384509" cy="26826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CB813"/>
              </a:buClr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hemo-</a:t>
            </a:r>
            <a:b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immunotherapy</a:t>
            </a:r>
          </a:p>
        </p:txBody>
      </p:sp>
      <p:cxnSp>
        <p:nvCxnSpPr>
          <p:cNvPr id="453" name="Straight Connector 452">
            <a:extLst>
              <a:ext uri="{FF2B5EF4-FFF2-40B4-BE49-F238E27FC236}">
                <a16:creationId xmlns:a16="http://schemas.microsoft.com/office/drawing/2014/main" id="{6FABD91F-2FDF-7980-F9B6-A97014448510}"/>
              </a:ext>
            </a:extLst>
          </p:cNvPr>
          <p:cNvCxnSpPr>
            <a:cxnSpLocks/>
          </p:cNvCxnSpPr>
          <p:nvPr/>
        </p:nvCxnSpPr>
        <p:spPr bwMode="auto">
          <a:xfrm>
            <a:off x="3148211" y="4367118"/>
            <a:ext cx="213231" cy="0"/>
          </a:xfrm>
          <a:prstGeom prst="line">
            <a:avLst/>
          </a:prstGeom>
          <a:solidFill>
            <a:schemeClr val="bg1"/>
          </a:solidFill>
          <a:ln w="12700" cap="rnd" cmpd="sng" algn="ctr">
            <a:solidFill>
              <a:schemeClr val="accent4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4" name="Straight Connector 453">
            <a:extLst>
              <a:ext uri="{FF2B5EF4-FFF2-40B4-BE49-F238E27FC236}">
                <a16:creationId xmlns:a16="http://schemas.microsoft.com/office/drawing/2014/main" id="{17E979F3-7582-2CBE-AAFB-5F31C77A1EF6}"/>
              </a:ext>
            </a:extLst>
          </p:cNvPr>
          <p:cNvCxnSpPr>
            <a:cxnSpLocks/>
          </p:cNvCxnSpPr>
          <p:nvPr/>
        </p:nvCxnSpPr>
        <p:spPr bwMode="auto">
          <a:xfrm rot="5400000">
            <a:off x="3133884" y="4367118"/>
            <a:ext cx="28654" cy="0"/>
          </a:xfrm>
          <a:prstGeom prst="line">
            <a:avLst/>
          </a:prstGeom>
          <a:solidFill>
            <a:schemeClr val="bg1"/>
          </a:solidFill>
          <a:ln w="12700" cap="rnd" cmpd="sng" algn="ctr">
            <a:solidFill>
              <a:schemeClr val="accent4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5" name="Straight Connector 454">
            <a:extLst>
              <a:ext uri="{FF2B5EF4-FFF2-40B4-BE49-F238E27FC236}">
                <a16:creationId xmlns:a16="http://schemas.microsoft.com/office/drawing/2014/main" id="{A696D092-02CE-8DF8-67AE-BFE71ABC7B00}"/>
              </a:ext>
            </a:extLst>
          </p:cNvPr>
          <p:cNvCxnSpPr>
            <a:cxnSpLocks/>
          </p:cNvCxnSpPr>
          <p:nvPr/>
        </p:nvCxnSpPr>
        <p:spPr bwMode="auto">
          <a:xfrm rot="5400000">
            <a:off x="3347143" y="4367118"/>
            <a:ext cx="28654" cy="0"/>
          </a:xfrm>
          <a:prstGeom prst="line">
            <a:avLst/>
          </a:prstGeom>
          <a:solidFill>
            <a:schemeClr val="bg1"/>
          </a:solidFill>
          <a:ln w="12700" cap="rnd" cmpd="sng" algn="ctr">
            <a:solidFill>
              <a:schemeClr val="accent4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6" name="Straight Connector 455">
            <a:extLst>
              <a:ext uri="{FF2B5EF4-FFF2-40B4-BE49-F238E27FC236}">
                <a16:creationId xmlns:a16="http://schemas.microsoft.com/office/drawing/2014/main" id="{657A7AB5-E9DB-707F-C3B3-AD6882B20BBF}"/>
              </a:ext>
            </a:extLst>
          </p:cNvPr>
          <p:cNvCxnSpPr>
            <a:cxnSpLocks/>
          </p:cNvCxnSpPr>
          <p:nvPr/>
        </p:nvCxnSpPr>
        <p:spPr bwMode="auto">
          <a:xfrm rot="8100000">
            <a:off x="3148235" y="4367108"/>
            <a:ext cx="213231" cy="0"/>
          </a:xfrm>
          <a:prstGeom prst="line">
            <a:avLst/>
          </a:prstGeom>
          <a:solidFill>
            <a:schemeClr val="bg1"/>
          </a:solidFill>
          <a:ln w="12700" cap="rnd" cmpd="sng" algn="ctr">
            <a:solidFill>
              <a:schemeClr val="accent4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7" name="Straight Connector 456">
            <a:extLst>
              <a:ext uri="{FF2B5EF4-FFF2-40B4-BE49-F238E27FC236}">
                <a16:creationId xmlns:a16="http://schemas.microsoft.com/office/drawing/2014/main" id="{0822A570-5FFE-68FD-84B9-A4C869A5534B}"/>
              </a:ext>
            </a:extLst>
          </p:cNvPr>
          <p:cNvCxnSpPr>
            <a:cxnSpLocks/>
          </p:cNvCxnSpPr>
          <p:nvPr/>
        </p:nvCxnSpPr>
        <p:spPr bwMode="auto">
          <a:xfrm rot="13500000">
            <a:off x="3315912" y="4291720"/>
            <a:ext cx="28654" cy="0"/>
          </a:xfrm>
          <a:prstGeom prst="line">
            <a:avLst/>
          </a:prstGeom>
          <a:solidFill>
            <a:schemeClr val="bg1"/>
          </a:solidFill>
          <a:ln w="12700" cap="rnd" cmpd="sng" algn="ctr">
            <a:solidFill>
              <a:schemeClr val="accent4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8" name="Straight Connector 457">
            <a:extLst>
              <a:ext uri="{FF2B5EF4-FFF2-40B4-BE49-F238E27FC236}">
                <a16:creationId xmlns:a16="http://schemas.microsoft.com/office/drawing/2014/main" id="{7B85F72E-BD34-0139-15F5-8012010B158E}"/>
              </a:ext>
            </a:extLst>
          </p:cNvPr>
          <p:cNvCxnSpPr>
            <a:cxnSpLocks/>
          </p:cNvCxnSpPr>
          <p:nvPr/>
        </p:nvCxnSpPr>
        <p:spPr bwMode="auto">
          <a:xfrm rot="13500000">
            <a:off x="3165115" y="4442516"/>
            <a:ext cx="28654" cy="0"/>
          </a:xfrm>
          <a:prstGeom prst="line">
            <a:avLst/>
          </a:prstGeom>
          <a:solidFill>
            <a:schemeClr val="bg1"/>
          </a:solidFill>
          <a:ln w="12700" cap="rnd" cmpd="sng" algn="ctr">
            <a:solidFill>
              <a:schemeClr val="accent4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9" name="Straight Connector 458">
            <a:extLst>
              <a:ext uri="{FF2B5EF4-FFF2-40B4-BE49-F238E27FC236}">
                <a16:creationId xmlns:a16="http://schemas.microsoft.com/office/drawing/2014/main" id="{E14D9FAC-4DEB-AD55-CD92-12B6902C2A5B}"/>
              </a:ext>
            </a:extLst>
          </p:cNvPr>
          <p:cNvCxnSpPr>
            <a:cxnSpLocks/>
          </p:cNvCxnSpPr>
          <p:nvPr/>
        </p:nvCxnSpPr>
        <p:spPr bwMode="auto">
          <a:xfrm rot="2700000">
            <a:off x="3148217" y="4367109"/>
            <a:ext cx="213228" cy="0"/>
          </a:xfrm>
          <a:prstGeom prst="line">
            <a:avLst/>
          </a:prstGeom>
          <a:solidFill>
            <a:schemeClr val="bg1"/>
          </a:solidFill>
          <a:ln w="12700" cap="rnd" cmpd="sng" algn="ctr">
            <a:solidFill>
              <a:schemeClr val="accent4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0" name="Straight Connector 459">
            <a:extLst>
              <a:ext uri="{FF2B5EF4-FFF2-40B4-BE49-F238E27FC236}">
                <a16:creationId xmlns:a16="http://schemas.microsoft.com/office/drawing/2014/main" id="{66BF46DD-FDA6-E4B6-1F0D-F316781A2D52}"/>
              </a:ext>
            </a:extLst>
          </p:cNvPr>
          <p:cNvCxnSpPr>
            <a:cxnSpLocks/>
          </p:cNvCxnSpPr>
          <p:nvPr/>
        </p:nvCxnSpPr>
        <p:spPr bwMode="auto">
          <a:xfrm rot="8100000">
            <a:off x="3165116" y="4291721"/>
            <a:ext cx="28655" cy="0"/>
          </a:xfrm>
          <a:prstGeom prst="line">
            <a:avLst/>
          </a:prstGeom>
          <a:solidFill>
            <a:schemeClr val="bg1"/>
          </a:solidFill>
          <a:ln w="12700" cap="rnd" cmpd="sng" algn="ctr">
            <a:solidFill>
              <a:schemeClr val="accent4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1" name="Straight Connector 460">
            <a:extLst>
              <a:ext uri="{FF2B5EF4-FFF2-40B4-BE49-F238E27FC236}">
                <a16:creationId xmlns:a16="http://schemas.microsoft.com/office/drawing/2014/main" id="{90545AC5-5AD3-46B2-18BC-5C991C3D3CA5}"/>
              </a:ext>
            </a:extLst>
          </p:cNvPr>
          <p:cNvCxnSpPr>
            <a:cxnSpLocks/>
          </p:cNvCxnSpPr>
          <p:nvPr/>
        </p:nvCxnSpPr>
        <p:spPr bwMode="auto">
          <a:xfrm rot="8100000">
            <a:off x="3315911" y="4442516"/>
            <a:ext cx="28655" cy="0"/>
          </a:xfrm>
          <a:prstGeom prst="line">
            <a:avLst/>
          </a:prstGeom>
          <a:solidFill>
            <a:schemeClr val="bg1"/>
          </a:solidFill>
          <a:ln w="12700" cap="rnd" cmpd="sng" algn="ctr">
            <a:solidFill>
              <a:schemeClr val="accent4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2" name="Straight Connector 461">
            <a:extLst>
              <a:ext uri="{FF2B5EF4-FFF2-40B4-BE49-F238E27FC236}">
                <a16:creationId xmlns:a16="http://schemas.microsoft.com/office/drawing/2014/main" id="{91AE142A-C1BB-99E8-31B9-26A92DE90F49}"/>
              </a:ext>
            </a:extLst>
          </p:cNvPr>
          <p:cNvCxnSpPr>
            <a:cxnSpLocks/>
          </p:cNvCxnSpPr>
          <p:nvPr/>
        </p:nvCxnSpPr>
        <p:spPr bwMode="auto">
          <a:xfrm rot="16200000">
            <a:off x="3148335" y="4367240"/>
            <a:ext cx="213228" cy="0"/>
          </a:xfrm>
          <a:prstGeom prst="line">
            <a:avLst/>
          </a:prstGeom>
          <a:solidFill>
            <a:schemeClr val="bg1"/>
          </a:solidFill>
          <a:ln w="12700" cap="rnd" cmpd="sng" algn="ctr">
            <a:solidFill>
              <a:schemeClr val="accent4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3" name="Straight Connector 462">
            <a:extLst>
              <a:ext uri="{FF2B5EF4-FFF2-40B4-BE49-F238E27FC236}">
                <a16:creationId xmlns:a16="http://schemas.microsoft.com/office/drawing/2014/main" id="{3B5FC417-E378-35E7-BBE3-A6AF0F18FE42}"/>
              </a:ext>
            </a:extLst>
          </p:cNvPr>
          <p:cNvCxnSpPr>
            <a:cxnSpLocks/>
          </p:cNvCxnSpPr>
          <p:nvPr/>
        </p:nvCxnSpPr>
        <p:spPr bwMode="auto">
          <a:xfrm>
            <a:off x="3240622" y="4473855"/>
            <a:ext cx="28655" cy="0"/>
          </a:xfrm>
          <a:prstGeom prst="line">
            <a:avLst/>
          </a:prstGeom>
          <a:solidFill>
            <a:schemeClr val="bg1"/>
          </a:solidFill>
          <a:ln w="12700" cap="rnd" cmpd="sng" algn="ctr">
            <a:solidFill>
              <a:schemeClr val="accent4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4" name="Straight Connector 463">
            <a:extLst>
              <a:ext uri="{FF2B5EF4-FFF2-40B4-BE49-F238E27FC236}">
                <a16:creationId xmlns:a16="http://schemas.microsoft.com/office/drawing/2014/main" id="{54055A81-8316-B883-4103-0D540A6FC757}"/>
              </a:ext>
            </a:extLst>
          </p:cNvPr>
          <p:cNvCxnSpPr>
            <a:cxnSpLocks/>
          </p:cNvCxnSpPr>
          <p:nvPr/>
        </p:nvCxnSpPr>
        <p:spPr bwMode="auto">
          <a:xfrm>
            <a:off x="3240622" y="4260599"/>
            <a:ext cx="28655" cy="0"/>
          </a:xfrm>
          <a:prstGeom prst="line">
            <a:avLst/>
          </a:prstGeom>
          <a:solidFill>
            <a:schemeClr val="bg1"/>
          </a:solidFill>
          <a:ln w="12700" cap="rnd" cmpd="sng" algn="ctr">
            <a:solidFill>
              <a:schemeClr val="accent4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5" name="Oval 464">
            <a:extLst>
              <a:ext uri="{FF2B5EF4-FFF2-40B4-BE49-F238E27FC236}">
                <a16:creationId xmlns:a16="http://schemas.microsoft.com/office/drawing/2014/main" id="{CE3543FD-44D1-7AC9-B171-0BC61CCDA274}"/>
              </a:ext>
            </a:extLst>
          </p:cNvPr>
          <p:cNvSpPr/>
          <p:nvPr/>
        </p:nvSpPr>
        <p:spPr>
          <a:xfrm>
            <a:off x="3171724" y="4284003"/>
            <a:ext cx="166232" cy="166230"/>
          </a:xfrm>
          <a:prstGeom prst="ellipse">
            <a:avLst/>
          </a:prstGeom>
          <a:solidFill>
            <a:schemeClr val="bg1"/>
          </a:solidFill>
          <a:ln w="12700" cap="rnd">
            <a:solidFill>
              <a:schemeClr val="accent4">
                <a:lumMod val="75000"/>
              </a:schemeClr>
            </a:solidFill>
            <a:round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66" name="Oval 465">
            <a:extLst>
              <a:ext uri="{FF2B5EF4-FFF2-40B4-BE49-F238E27FC236}">
                <a16:creationId xmlns:a16="http://schemas.microsoft.com/office/drawing/2014/main" id="{0B2D0A13-7786-75A4-6F04-E47E2677209F}"/>
              </a:ext>
            </a:extLst>
          </p:cNvPr>
          <p:cNvSpPr/>
          <p:nvPr/>
        </p:nvSpPr>
        <p:spPr>
          <a:xfrm>
            <a:off x="3194772" y="4342415"/>
            <a:ext cx="50743" cy="50742"/>
          </a:xfrm>
          <a:prstGeom prst="ellipse">
            <a:avLst/>
          </a:prstGeom>
          <a:solidFill>
            <a:schemeClr val="bg1"/>
          </a:solidFill>
          <a:ln w="12700" cap="rnd">
            <a:solidFill>
              <a:schemeClr val="accent4">
                <a:lumMod val="75000"/>
              </a:schemeClr>
            </a:solidFill>
            <a:round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67" name="Oval 466">
            <a:extLst>
              <a:ext uri="{FF2B5EF4-FFF2-40B4-BE49-F238E27FC236}">
                <a16:creationId xmlns:a16="http://schemas.microsoft.com/office/drawing/2014/main" id="{56626339-E07B-98A9-1BF4-34025BE000C9}"/>
              </a:ext>
            </a:extLst>
          </p:cNvPr>
          <p:cNvSpPr/>
          <p:nvPr/>
        </p:nvSpPr>
        <p:spPr>
          <a:xfrm>
            <a:off x="3261015" y="4333459"/>
            <a:ext cx="31246" cy="31246"/>
          </a:xfrm>
          <a:prstGeom prst="ellipse">
            <a:avLst/>
          </a:prstGeom>
          <a:solidFill>
            <a:schemeClr val="bg1"/>
          </a:solidFill>
          <a:ln w="12700" cap="rnd">
            <a:solidFill>
              <a:schemeClr val="accent4">
                <a:lumMod val="75000"/>
              </a:schemeClr>
            </a:solidFill>
            <a:round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468" name="Straight Connector 467">
            <a:extLst>
              <a:ext uri="{FF2B5EF4-FFF2-40B4-BE49-F238E27FC236}">
                <a16:creationId xmlns:a16="http://schemas.microsoft.com/office/drawing/2014/main" id="{DE5088C0-C8FD-60A5-2FB9-AD65FE19A569}"/>
              </a:ext>
            </a:extLst>
          </p:cNvPr>
          <p:cNvCxnSpPr>
            <a:cxnSpLocks/>
          </p:cNvCxnSpPr>
          <p:nvPr/>
        </p:nvCxnSpPr>
        <p:spPr bwMode="auto">
          <a:xfrm>
            <a:off x="3234979" y="4460561"/>
            <a:ext cx="213231" cy="0"/>
          </a:xfrm>
          <a:prstGeom prst="line">
            <a:avLst/>
          </a:prstGeom>
          <a:solidFill>
            <a:schemeClr val="bg1"/>
          </a:solidFill>
          <a:ln w="12700" cap="rnd" cmpd="sng" algn="ctr">
            <a:solidFill>
              <a:schemeClr val="accent4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9" name="Straight Connector 468">
            <a:extLst>
              <a:ext uri="{FF2B5EF4-FFF2-40B4-BE49-F238E27FC236}">
                <a16:creationId xmlns:a16="http://schemas.microsoft.com/office/drawing/2014/main" id="{05C6830C-DC9C-BD96-C454-DF13FCFC0AF6}"/>
              </a:ext>
            </a:extLst>
          </p:cNvPr>
          <p:cNvCxnSpPr>
            <a:cxnSpLocks/>
          </p:cNvCxnSpPr>
          <p:nvPr/>
        </p:nvCxnSpPr>
        <p:spPr bwMode="auto">
          <a:xfrm rot="5400000">
            <a:off x="3220652" y="4460561"/>
            <a:ext cx="28654" cy="0"/>
          </a:xfrm>
          <a:prstGeom prst="line">
            <a:avLst/>
          </a:prstGeom>
          <a:solidFill>
            <a:schemeClr val="bg1"/>
          </a:solidFill>
          <a:ln w="12700" cap="rnd" cmpd="sng" algn="ctr">
            <a:solidFill>
              <a:schemeClr val="accent4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0" name="Straight Connector 469">
            <a:extLst>
              <a:ext uri="{FF2B5EF4-FFF2-40B4-BE49-F238E27FC236}">
                <a16:creationId xmlns:a16="http://schemas.microsoft.com/office/drawing/2014/main" id="{1AA951AC-E566-3CE8-6287-DF8840637F2C}"/>
              </a:ext>
            </a:extLst>
          </p:cNvPr>
          <p:cNvCxnSpPr>
            <a:cxnSpLocks/>
          </p:cNvCxnSpPr>
          <p:nvPr/>
        </p:nvCxnSpPr>
        <p:spPr bwMode="auto">
          <a:xfrm rot="5400000">
            <a:off x="3433911" y="4460561"/>
            <a:ext cx="28654" cy="0"/>
          </a:xfrm>
          <a:prstGeom prst="line">
            <a:avLst/>
          </a:prstGeom>
          <a:solidFill>
            <a:schemeClr val="bg1"/>
          </a:solidFill>
          <a:ln w="12700" cap="rnd" cmpd="sng" algn="ctr">
            <a:solidFill>
              <a:schemeClr val="accent4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1" name="Straight Connector 470">
            <a:extLst>
              <a:ext uri="{FF2B5EF4-FFF2-40B4-BE49-F238E27FC236}">
                <a16:creationId xmlns:a16="http://schemas.microsoft.com/office/drawing/2014/main" id="{41E8A82F-0BC0-ECA8-88DC-58BC3B7F61A1}"/>
              </a:ext>
            </a:extLst>
          </p:cNvPr>
          <p:cNvCxnSpPr>
            <a:cxnSpLocks/>
          </p:cNvCxnSpPr>
          <p:nvPr/>
        </p:nvCxnSpPr>
        <p:spPr bwMode="auto">
          <a:xfrm rot="8100000">
            <a:off x="3235003" y="4460551"/>
            <a:ext cx="213231" cy="0"/>
          </a:xfrm>
          <a:prstGeom prst="line">
            <a:avLst/>
          </a:prstGeom>
          <a:solidFill>
            <a:schemeClr val="bg1"/>
          </a:solidFill>
          <a:ln w="12700" cap="rnd" cmpd="sng" algn="ctr">
            <a:solidFill>
              <a:schemeClr val="accent4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2" name="Straight Connector 471">
            <a:extLst>
              <a:ext uri="{FF2B5EF4-FFF2-40B4-BE49-F238E27FC236}">
                <a16:creationId xmlns:a16="http://schemas.microsoft.com/office/drawing/2014/main" id="{8070D34E-5C86-DBB6-9CB6-509F858F12C8}"/>
              </a:ext>
            </a:extLst>
          </p:cNvPr>
          <p:cNvCxnSpPr>
            <a:cxnSpLocks/>
          </p:cNvCxnSpPr>
          <p:nvPr/>
        </p:nvCxnSpPr>
        <p:spPr bwMode="auto">
          <a:xfrm rot="13500000">
            <a:off x="3402680" y="4385163"/>
            <a:ext cx="28654" cy="0"/>
          </a:xfrm>
          <a:prstGeom prst="line">
            <a:avLst/>
          </a:prstGeom>
          <a:solidFill>
            <a:schemeClr val="bg1"/>
          </a:solidFill>
          <a:ln w="12700" cap="rnd" cmpd="sng" algn="ctr">
            <a:solidFill>
              <a:schemeClr val="accent4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3" name="Straight Connector 472">
            <a:extLst>
              <a:ext uri="{FF2B5EF4-FFF2-40B4-BE49-F238E27FC236}">
                <a16:creationId xmlns:a16="http://schemas.microsoft.com/office/drawing/2014/main" id="{6D765C01-D58E-26BB-95BE-652751591AAF}"/>
              </a:ext>
            </a:extLst>
          </p:cNvPr>
          <p:cNvCxnSpPr>
            <a:cxnSpLocks/>
          </p:cNvCxnSpPr>
          <p:nvPr/>
        </p:nvCxnSpPr>
        <p:spPr bwMode="auto">
          <a:xfrm rot="13500000">
            <a:off x="3251883" y="4535959"/>
            <a:ext cx="28654" cy="0"/>
          </a:xfrm>
          <a:prstGeom prst="line">
            <a:avLst/>
          </a:prstGeom>
          <a:solidFill>
            <a:schemeClr val="bg1"/>
          </a:solidFill>
          <a:ln w="12700" cap="rnd" cmpd="sng" algn="ctr">
            <a:solidFill>
              <a:schemeClr val="accent4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4" name="Straight Connector 473">
            <a:extLst>
              <a:ext uri="{FF2B5EF4-FFF2-40B4-BE49-F238E27FC236}">
                <a16:creationId xmlns:a16="http://schemas.microsoft.com/office/drawing/2014/main" id="{B135EE58-304D-E63C-08DE-74D9AF7FB3E6}"/>
              </a:ext>
            </a:extLst>
          </p:cNvPr>
          <p:cNvCxnSpPr>
            <a:cxnSpLocks/>
          </p:cNvCxnSpPr>
          <p:nvPr/>
        </p:nvCxnSpPr>
        <p:spPr bwMode="auto">
          <a:xfrm rot="2700000">
            <a:off x="3234985" y="4460552"/>
            <a:ext cx="213228" cy="0"/>
          </a:xfrm>
          <a:prstGeom prst="line">
            <a:avLst/>
          </a:prstGeom>
          <a:solidFill>
            <a:schemeClr val="bg1"/>
          </a:solidFill>
          <a:ln w="12700" cap="rnd" cmpd="sng" algn="ctr">
            <a:solidFill>
              <a:schemeClr val="accent4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5" name="Straight Connector 474">
            <a:extLst>
              <a:ext uri="{FF2B5EF4-FFF2-40B4-BE49-F238E27FC236}">
                <a16:creationId xmlns:a16="http://schemas.microsoft.com/office/drawing/2014/main" id="{7786BC90-B7DB-1596-E02A-67446EB7A989}"/>
              </a:ext>
            </a:extLst>
          </p:cNvPr>
          <p:cNvCxnSpPr>
            <a:cxnSpLocks/>
          </p:cNvCxnSpPr>
          <p:nvPr/>
        </p:nvCxnSpPr>
        <p:spPr bwMode="auto">
          <a:xfrm rot="8100000">
            <a:off x="3251884" y="4385164"/>
            <a:ext cx="28655" cy="0"/>
          </a:xfrm>
          <a:prstGeom prst="line">
            <a:avLst/>
          </a:prstGeom>
          <a:solidFill>
            <a:schemeClr val="bg1"/>
          </a:solidFill>
          <a:ln w="12700" cap="rnd" cmpd="sng" algn="ctr">
            <a:solidFill>
              <a:schemeClr val="accent4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6" name="Straight Connector 475">
            <a:extLst>
              <a:ext uri="{FF2B5EF4-FFF2-40B4-BE49-F238E27FC236}">
                <a16:creationId xmlns:a16="http://schemas.microsoft.com/office/drawing/2014/main" id="{CDF67E4E-059B-6515-154E-729263DFD3A5}"/>
              </a:ext>
            </a:extLst>
          </p:cNvPr>
          <p:cNvCxnSpPr>
            <a:cxnSpLocks/>
          </p:cNvCxnSpPr>
          <p:nvPr/>
        </p:nvCxnSpPr>
        <p:spPr bwMode="auto">
          <a:xfrm rot="8100000">
            <a:off x="3402679" y="4535959"/>
            <a:ext cx="28655" cy="0"/>
          </a:xfrm>
          <a:prstGeom prst="line">
            <a:avLst/>
          </a:prstGeom>
          <a:solidFill>
            <a:schemeClr val="bg1"/>
          </a:solidFill>
          <a:ln w="12700" cap="rnd" cmpd="sng" algn="ctr">
            <a:solidFill>
              <a:schemeClr val="accent4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7" name="Straight Connector 476">
            <a:extLst>
              <a:ext uri="{FF2B5EF4-FFF2-40B4-BE49-F238E27FC236}">
                <a16:creationId xmlns:a16="http://schemas.microsoft.com/office/drawing/2014/main" id="{50D5064E-E4DB-B829-D3AB-891D90E29671}"/>
              </a:ext>
            </a:extLst>
          </p:cNvPr>
          <p:cNvCxnSpPr>
            <a:cxnSpLocks/>
          </p:cNvCxnSpPr>
          <p:nvPr/>
        </p:nvCxnSpPr>
        <p:spPr bwMode="auto">
          <a:xfrm rot="16200000">
            <a:off x="3235103" y="4460683"/>
            <a:ext cx="213228" cy="0"/>
          </a:xfrm>
          <a:prstGeom prst="line">
            <a:avLst/>
          </a:prstGeom>
          <a:solidFill>
            <a:schemeClr val="bg1"/>
          </a:solidFill>
          <a:ln w="12700" cap="rnd" cmpd="sng" algn="ctr">
            <a:solidFill>
              <a:schemeClr val="accent4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8" name="Straight Connector 477">
            <a:extLst>
              <a:ext uri="{FF2B5EF4-FFF2-40B4-BE49-F238E27FC236}">
                <a16:creationId xmlns:a16="http://schemas.microsoft.com/office/drawing/2014/main" id="{32466738-ED93-46DD-94BD-905AC91C5187}"/>
              </a:ext>
            </a:extLst>
          </p:cNvPr>
          <p:cNvCxnSpPr>
            <a:cxnSpLocks/>
          </p:cNvCxnSpPr>
          <p:nvPr/>
        </p:nvCxnSpPr>
        <p:spPr bwMode="auto">
          <a:xfrm>
            <a:off x="3327390" y="4567298"/>
            <a:ext cx="28655" cy="0"/>
          </a:xfrm>
          <a:prstGeom prst="line">
            <a:avLst/>
          </a:prstGeom>
          <a:solidFill>
            <a:schemeClr val="bg1"/>
          </a:solidFill>
          <a:ln w="12700" cap="rnd" cmpd="sng" algn="ctr">
            <a:solidFill>
              <a:schemeClr val="accent4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9" name="Straight Connector 478">
            <a:extLst>
              <a:ext uri="{FF2B5EF4-FFF2-40B4-BE49-F238E27FC236}">
                <a16:creationId xmlns:a16="http://schemas.microsoft.com/office/drawing/2014/main" id="{4C57B78D-BC5A-437E-6758-4BBEA4C6D75D}"/>
              </a:ext>
            </a:extLst>
          </p:cNvPr>
          <p:cNvCxnSpPr>
            <a:cxnSpLocks/>
          </p:cNvCxnSpPr>
          <p:nvPr/>
        </p:nvCxnSpPr>
        <p:spPr bwMode="auto">
          <a:xfrm>
            <a:off x="3327390" y="4354042"/>
            <a:ext cx="28655" cy="0"/>
          </a:xfrm>
          <a:prstGeom prst="line">
            <a:avLst/>
          </a:prstGeom>
          <a:solidFill>
            <a:schemeClr val="bg1"/>
          </a:solidFill>
          <a:ln w="12700" cap="rnd" cmpd="sng" algn="ctr">
            <a:solidFill>
              <a:schemeClr val="accent4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0" name="Oval 479">
            <a:extLst>
              <a:ext uri="{FF2B5EF4-FFF2-40B4-BE49-F238E27FC236}">
                <a16:creationId xmlns:a16="http://schemas.microsoft.com/office/drawing/2014/main" id="{67796AEA-9E3F-243D-3336-61360453582F}"/>
              </a:ext>
            </a:extLst>
          </p:cNvPr>
          <p:cNvSpPr/>
          <p:nvPr/>
        </p:nvSpPr>
        <p:spPr>
          <a:xfrm>
            <a:off x="3258492" y="4377446"/>
            <a:ext cx="166232" cy="166230"/>
          </a:xfrm>
          <a:prstGeom prst="ellipse">
            <a:avLst/>
          </a:prstGeom>
          <a:solidFill>
            <a:schemeClr val="bg1"/>
          </a:solidFill>
          <a:ln w="12700" cap="rnd">
            <a:solidFill>
              <a:schemeClr val="accent4">
                <a:lumMod val="75000"/>
              </a:schemeClr>
            </a:solidFill>
            <a:round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81" name="Oval 480">
            <a:extLst>
              <a:ext uri="{FF2B5EF4-FFF2-40B4-BE49-F238E27FC236}">
                <a16:creationId xmlns:a16="http://schemas.microsoft.com/office/drawing/2014/main" id="{AA0279FA-E2F9-A19B-DB68-9AFAC83BDFB5}"/>
              </a:ext>
            </a:extLst>
          </p:cNvPr>
          <p:cNvSpPr/>
          <p:nvPr/>
        </p:nvSpPr>
        <p:spPr>
          <a:xfrm>
            <a:off x="3281540" y="4435858"/>
            <a:ext cx="50743" cy="50742"/>
          </a:xfrm>
          <a:prstGeom prst="ellipse">
            <a:avLst/>
          </a:prstGeom>
          <a:solidFill>
            <a:schemeClr val="bg1"/>
          </a:solidFill>
          <a:ln w="12700" cap="rnd">
            <a:solidFill>
              <a:schemeClr val="accent4">
                <a:lumMod val="75000"/>
              </a:schemeClr>
            </a:solidFill>
            <a:round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82" name="Oval 481">
            <a:extLst>
              <a:ext uri="{FF2B5EF4-FFF2-40B4-BE49-F238E27FC236}">
                <a16:creationId xmlns:a16="http://schemas.microsoft.com/office/drawing/2014/main" id="{6EAD4D61-4516-C675-425A-A0EE2570F2FF}"/>
              </a:ext>
            </a:extLst>
          </p:cNvPr>
          <p:cNvSpPr/>
          <p:nvPr/>
        </p:nvSpPr>
        <p:spPr>
          <a:xfrm>
            <a:off x="3347783" y="4426902"/>
            <a:ext cx="31246" cy="31246"/>
          </a:xfrm>
          <a:prstGeom prst="ellipse">
            <a:avLst/>
          </a:prstGeom>
          <a:solidFill>
            <a:schemeClr val="bg1"/>
          </a:solidFill>
          <a:ln w="12700" cap="rnd">
            <a:solidFill>
              <a:schemeClr val="accent4">
                <a:lumMod val="75000"/>
              </a:schemeClr>
            </a:solidFill>
            <a:round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483" name="Straight Connector 482">
            <a:extLst>
              <a:ext uri="{FF2B5EF4-FFF2-40B4-BE49-F238E27FC236}">
                <a16:creationId xmlns:a16="http://schemas.microsoft.com/office/drawing/2014/main" id="{D503D2A2-BB1A-C44B-FDA0-3589174CEAE5}"/>
              </a:ext>
            </a:extLst>
          </p:cNvPr>
          <p:cNvCxnSpPr>
            <a:cxnSpLocks/>
          </p:cNvCxnSpPr>
          <p:nvPr/>
        </p:nvCxnSpPr>
        <p:spPr bwMode="auto">
          <a:xfrm>
            <a:off x="3121513" y="4513956"/>
            <a:ext cx="213231" cy="0"/>
          </a:xfrm>
          <a:prstGeom prst="line">
            <a:avLst/>
          </a:prstGeom>
          <a:solidFill>
            <a:schemeClr val="bg1"/>
          </a:solidFill>
          <a:ln w="12700" cap="rnd" cmpd="sng" algn="ctr">
            <a:solidFill>
              <a:schemeClr val="accent4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4" name="Straight Connector 483">
            <a:extLst>
              <a:ext uri="{FF2B5EF4-FFF2-40B4-BE49-F238E27FC236}">
                <a16:creationId xmlns:a16="http://schemas.microsoft.com/office/drawing/2014/main" id="{6275AA83-74EC-FE4D-747C-B81FC441A8A2}"/>
              </a:ext>
            </a:extLst>
          </p:cNvPr>
          <p:cNvCxnSpPr>
            <a:cxnSpLocks/>
          </p:cNvCxnSpPr>
          <p:nvPr/>
        </p:nvCxnSpPr>
        <p:spPr bwMode="auto">
          <a:xfrm rot="5400000">
            <a:off x="3107186" y="4513956"/>
            <a:ext cx="28654" cy="0"/>
          </a:xfrm>
          <a:prstGeom prst="line">
            <a:avLst/>
          </a:prstGeom>
          <a:solidFill>
            <a:schemeClr val="bg1"/>
          </a:solidFill>
          <a:ln w="12700" cap="rnd" cmpd="sng" algn="ctr">
            <a:solidFill>
              <a:schemeClr val="accent4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5" name="Straight Connector 484">
            <a:extLst>
              <a:ext uri="{FF2B5EF4-FFF2-40B4-BE49-F238E27FC236}">
                <a16:creationId xmlns:a16="http://schemas.microsoft.com/office/drawing/2014/main" id="{C38EE3CA-E415-AEEA-B0E9-882B43EC719A}"/>
              </a:ext>
            </a:extLst>
          </p:cNvPr>
          <p:cNvCxnSpPr>
            <a:cxnSpLocks/>
          </p:cNvCxnSpPr>
          <p:nvPr/>
        </p:nvCxnSpPr>
        <p:spPr bwMode="auto">
          <a:xfrm rot="5400000">
            <a:off x="3320445" y="4513956"/>
            <a:ext cx="28654" cy="0"/>
          </a:xfrm>
          <a:prstGeom prst="line">
            <a:avLst/>
          </a:prstGeom>
          <a:solidFill>
            <a:schemeClr val="bg1"/>
          </a:solidFill>
          <a:ln w="12700" cap="rnd" cmpd="sng" algn="ctr">
            <a:solidFill>
              <a:schemeClr val="accent4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6" name="Straight Connector 485">
            <a:extLst>
              <a:ext uri="{FF2B5EF4-FFF2-40B4-BE49-F238E27FC236}">
                <a16:creationId xmlns:a16="http://schemas.microsoft.com/office/drawing/2014/main" id="{7A017CF3-2945-96A4-A106-82101C945F1D}"/>
              </a:ext>
            </a:extLst>
          </p:cNvPr>
          <p:cNvCxnSpPr>
            <a:cxnSpLocks/>
          </p:cNvCxnSpPr>
          <p:nvPr/>
        </p:nvCxnSpPr>
        <p:spPr bwMode="auto">
          <a:xfrm rot="8100000">
            <a:off x="3121537" y="4513946"/>
            <a:ext cx="213231" cy="0"/>
          </a:xfrm>
          <a:prstGeom prst="line">
            <a:avLst/>
          </a:prstGeom>
          <a:solidFill>
            <a:schemeClr val="bg1"/>
          </a:solidFill>
          <a:ln w="12700" cap="rnd" cmpd="sng" algn="ctr">
            <a:solidFill>
              <a:schemeClr val="accent4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7" name="Straight Connector 486">
            <a:extLst>
              <a:ext uri="{FF2B5EF4-FFF2-40B4-BE49-F238E27FC236}">
                <a16:creationId xmlns:a16="http://schemas.microsoft.com/office/drawing/2014/main" id="{7477E33C-925B-94AA-1BE4-296DF9636C7D}"/>
              </a:ext>
            </a:extLst>
          </p:cNvPr>
          <p:cNvCxnSpPr>
            <a:cxnSpLocks/>
          </p:cNvCxnSpPr>
          <p:nvPr/>
        </p:nvCxnSpPr>
        <p:spPr bwMode="auto">
          <a:xfrm rot="13500000">
            <a:off x="3289214" y="4438558"/>
            <a:ext cx="28654" cy="0"/>
          </a:xfrm>
          <a:prstGeom prst="line">
            <a:avLst/>
          </a:prstGeom>
          <a:solidFill>
            <a:schemeClr val="bg1"/>
          </a:solidFill>
          <a:ln w="12700" cap="rnd" cmpd="sng" algn="ctr">
            <a:solidFill>
              <a:schemeClr val="accent4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8" name="Straight Connector 487">
            <a:extLst>
              <a:ext uri="{FF2B5EF4-FFF2-40B4-BE49-F238E27FC236}">
                <a16:creationId xmlns:a16="http://schemas.microsoft.com/office/drawing/2014/main" id="{CAE64931-F9E3-D74B-FC06-5FADF55C1B7F}"/>
              </a:ext>
            </a:extLst>
          </p:cNvPr>
          <p:cNvCxnSpPr>
            <a:cxnSpLocks/>
          </p:cNvCxnSpPr>
          <p:nvPr/>
        </p:nvCxnSpPr>
        <p:spPr bwMode="auto">
          <a:xfrm rot="13500000">
            <a:off x="3138417" y="4589354"/>
            <a:ext cx="28654" cy="0"/>
          </a:xfrm>
          <a:prstGeom prst="line">
            <a:avLst/>
          </a:prstGeom>
          <a:solidFill>
            <a:schemeClr val="bg1"/>
          </a:solidFill>
          <a:ln w="12700" cap="rnd" cmpd="sng" algn="ctr">
            <a:solidFill>
              <a:schemeClr val="accent4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9" name="Straight Connector 488">
            <a:extLst>
              <a:ext uri="{FF2B5EF4-FFF2-40B4-BE49-F238E27FC236}">
                <a16:creationId xmlns:a16="http://schemas.microsoft.com/office/drawing/2014/main" id="{953015EB-C0FB-0796-6233-F0CDBC0B5B9A}"/>
              </a:ext>
            </a:extLst>
          </p:cNvPr>
          <p:cNvCxnSpPr>
            <a:cxnSpLocks/>
          </p:cNvCxnSpPr>
          <p:nvPr/>
        </p:nvCxnSpPr>
        <p:spPr bwMode="auto">
          <a:xfrm rot="2700000">
            <a:off x="3121519" y="4513947"/>
            <a:ext cx="213228" cy="0"/>
          </a:xfrm>
          <a:prstGeom prst="line">
            <a:avLst/>
          </a:prstGeom>
          <a:solidFill>
            <a:schemeClr val="bg1"/>
          </a:solidFill>
          <a:ln w="12700" cap="rnd" cmpd="sng" algn="ctr">
            <a:solidFill>
              <a:schemeClr val="accent4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0" name="Straight Connector 489">
            <a:extLst>
              <a:ext uri="{FF2B5EF4-FFF2-40B4-BE49-F238E27FC236}">
                <a16:creationId xmlns:a16="http://schemas.microsoft.com/office/drawing/2014/main" id="{ED5E6587-C8B9-04BB-C668-DEF8A724ABD3}"/>
              </a:ext>
            </a:extLst>
          </p:cNvPr>
          <p:cNvCxnSpPr>
            <a:cxnSpLocks/>
          </p:cNvCxnSpPr>
          <p:nvPr/>
        </p:nvCxnSpPr>
        <p:spPr bwMode="auto">
          <a:xfrm rot="8100000">
            <a:off x="3138418" y="4438559"/>
            <a:ext cx="28655" cy="0"/>
          </a:xfrm>
          <a:prstGeom prst="line">
            <a:avLst/>
          </a:prstGeom>
          <a:solidFill>
            <a:schemeClr val="bg1"/>
          </a:solidFill>
          <a:ln w="12700" cap="rnd" cmpd="sng" algn="ctr">
            <a:solidFill>
              <a:schemeClr val="accent4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1" name="Straight Connector 490">
            <a:extLst>
              <a:ext uri="{FF2B5EF4-FFF2-40B4-BE49-F238E27FC236}">
                <a16:creationId xmlns:a16="http://schemas.microsoft.com/office/drawing/2014/main" id="{0F101564-F1BF-20A3-70BC-38F2F426E499}"/>
              </a:ext>
            </a:extLst>
          </p:cNvPr>
          <p:cNvCxnSpPr>
            <a:cxnSpLocks/>
          </p:cNvCxnSpPr>
          <p:nvPr/>
        </p:nvCxnSpPr>
        <p:spPr bwMode="auto">
          <a:xfrm rot="8100000">
            <a:off x="3289213" y="4589354"/>
            <a:ext cx="28655" cy="0"/>
          </a:xfrm>
          <a:prstGeom prst="line">
            <a:avLst/>
          </a:prstGeom>
          <a:solidFill>
            <a:schemeClr val="bg1"/>
          </a:solidFill>
          <a:ln w="12700" cap="rnd" cmpd="sng" algn="ctr">
            <a:solidFill>
              <a:schemeClr val="accent4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2" name="Straight Connector 491">
            <a:extLst>
              <a:ext uri="{FF2B5EF4-FFF2-40B4-BE49-F238E27FC236}">
                <a16:creationId xmlns:a16="http://schemas.microsoft.com/office/drawing/2014/main" id="{D2FA997B-412F-61E7-18F4-32E26C9CF62C}"/>
              </a:ext>
            </a:extLst>
          </p:cNvPr>
          <p:cNvCxnSpPr>
            <a:cxnSpLocks/>
          </p:cNvCxnSpPr>
          <p:nvPr/>
        </p:nvCxnSpPr>
        <p:spPr bwMode="auto">
          <a:xfrm rot="16200000">
            <a:off x="3121637" y="4514078"/>
            <a:ext cx="213228" cy="0"/>
          </a:xfrm>
          <a:prstGeom prst="line">
            <a:avLst/>
          </a:prstGeom>
          <a:solidFill>
            <a:schemeClr val="bg1"/>
          </a:solidFill>
          <a:ln w="12700" cap="rnd" cmpd="sng" algn="ctr">
            <a:solidFill>
              <a:schemeClr val="accent4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3" name="Straight Connector 492">
            <a:extLst>
              <a:ext uri="{FF2B5EF4-FFF2-40B4-BE49-F238E27FC236}">
                <a16:creationId xmlns:a16="http://schemas.microsoft.com/office/drawing/2014/main" id="{749218A1-7BD7-6B51-4870-FBFE387C7519}"/>
              </a:ext>
            </a:extLst>
          </p:cNvPr>
          <p:cNvCxnSpPr>
            <a:cxnSpLocks/>
          </p:cNvCxnSpPr>
          <p:nvPr/>
        </p:nvCxnSpPr>
        <p:spPr bwMode="auto">
          <a:xfrm>
            <a:off x="3213924" y="4620693"/>
            <a:ext cx="28655" cy="0"/>
          </a:xfrm>
          <a:prstGeom prst="line">
            <a:avLst/>
          </a:prstGeom>
          <a:solidFill>
            <a:schemeClr val="bg1"/>
          </a:solidFill>
          <a:ln w="12700" cap="rnd" cmpd="sng" algn="ctr">
            <a:solidFill>
              <a:schemeClr val="accent4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4" name="Straight Connector 493">
            <a:extLst>
              <a:ext uri="{FF2B5EF4-FFF2-40B4-BE49-F238E27FC236}">
                <a16:creationId xmlns:a16="http://schemas.microsoft.com/office/drawing/2014/main" id="{DFFDDE8E-719E-68F3-7FF1-51B7621E78C6}"/>
              </a:ext>
            </a:extLst>
          </p:cNvPr>
          <p:cNvCxnSpPr>
            <a:cxnSpLocks/>
          </p:cNvCxnSpPr>
          <p:nvPr/>
        </p:nvCxnSpPr>
        <p:spPr bwMode="auto">
          <a:xfrm>
            <a:off x="3213924" y="4407437"/>
            <a:ext cx="28655" cy="0"/>
          </a:xfrm>
          <a:prstGeom prst="line">
            <a:avLst/>
          </a:prstGeom>
          <a:solidFill>
            <a:schemeClr val="bg1"/>
          </a:solidFill>
          <a:ln w="12700" cap="rnd" cmpd="sng" algn="ctr">
            <a:solidFill>
              <a:schemeClr val="accent4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5" name="Oval 494">
            <a:extLst>
              <a:ext uri="{FF2B5EF4-FFF2-40B4-BE49-F238E27FC236}">
                <a16:creationId xmlns:a16="http://schemas.microsoft.com/office/drawing/2014/main" id="{6D8C7F40-DA93-8686-4EFA-C559A107761C}"/>
              </a:ext>
            </a:extLst>
          </p:cNvPr>
          <p:cNvSpPr/>
          <p:nvPr/>
        </p:nvSpPr>
        <p:spPr>
          <a:xfrm>
            <a:off x="3145026" y="4430841"/>
            <a:ext cx="166232" cy="166230"/>
          </a:xfrm>
          <a:prstGeom prst="ellipse">
            <a:avLst/>
          </a:prstGeom>
          <a:solidFill>
            <a:schemeClr val="bg1"/>
          </a:solidFill>
          <a:ln w="12700" cap="rnd">
            <a:solidFill>
              <a:schemeClr val="accent4">
                <a:lumMod val="75000"/>
              </a:schemeClr>
            </a:solidFill>
            <a:round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96" name="Oval 495">
            <a:extLst>
              <a:ext uri="{FF2B5EF4-FFF2-40B4-BE49-F238E27FC236}">
                <a16:creationId xmlns:a16="http://schemas.microsoft.com/office/drawing/2014/main" id="{4FD58465-3858-778A-7ED9-18EC3C431DD8}"/>
              </a:ext>
            </a:extLst>
          </p:cNvPr>
          <p:cNvSpPr/>
          <p:nvPr/>
        </p:nvSpPr>
        <p:spPr>
          <a:xfrm>
            <a:off x="3168074" y="4489253"/>
            <a:ext cx="50743" cy="50742"/>
          </a:xfrm>
          <a:prstGeom prst="ellipse">
            <a:avLst/>
          </a:prstGeom>
          <a:solidFill>
            <a:schemeClr val="bg1"/>
          </a:solidFill>
          <a:ln w="12700" cap="rnd">
            <a:solidFill>
              <a:schemeClr val="accent4">
                <a:lumMod val="75000"/>
              </a:schemeClr>
            </a:solidFill>
            <a:round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97" name="Oval 496">
            <a:extLst>
              <a:ext uri="{FF2B5EF4-FFF2-40B4-BE49-F238E27FC236}">
                <a16:creationId xmlns:a16="http://schemas.microsoft.com/office/drawing/2014/main" id="{EBD45BC7-5EF5-6FBD-8820-BBACB1315AC7}"/>
              </a:ext>
            </a:extLst>
          </p:cNvPr>
          <p:cNvSpPr/>
          <p:nvPr/>
        </p:nvSpPr>
        <p:spPr>
          <a:xfrm>
            <a:off x="3234317" y="4480297"/>
            <a:ext cx="31246" cy="31246"/>
          </a:xfrm>
          <a:prstGeom prst="ellipse">
            <a:avLst/>
          </a:prstGeom>
          <a:solidFill>
            <a:schemeClr val="bg1"/>
          </a:solidFill>
          <a:ln w="12700" cap="rnd">
            <a:solidFill>
              <a:schemeClr val="accent4">
                <a:lumMod val="75000"/>
              </a:schemeClr>
            </a:solidFill>
            <a:round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45" name="Rectangle: Rounded Corners 644">
            <a:extLst>
              <a:ext uri="{FF2B5EF4-FFF2-40B4-BE49-F238E27FC236}">
                <a16:creationId xmlns:a16="http://schemas.microsoft.com/office/drawing/2014/main" id="{BC921D81-21BA-F8E1-3768-1FEB786FD7EA}"/>
              </a:ext>
            </a:extLst>
          </p:cNvPr>
          <p:cNvSpPr/>
          <p:nvPr/>
        </p:nvSpPr>
        <p:spPr>
          <a:xfrm rot="4668654">
            <a:off x="1364442" y="3336026"/>
            <a:ext cx="61481" cy="174274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2700">
            <a:solidFill>
              <a:schemeClr val="bg1"/>
            </a:solidFill>
          </a:ln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46" name="Freeform: Shape 340">
            <a:extLst>
              <a:ext uri="{FF2B5EF4-FFF2-40B4-BE49-F238E27FC236}">
                <a16:creationId xmlns:a16="http://schemas.microsoft.com/office/drawing/2014/main" id="{EDE552EB-F473-C581-676D-DDF62DE0CF7C}"/>
              </a:ext>
            </a:extLst>
          </p:cNvPr>
          <p:cNvSpPr/>
          <p:nvPr/>
        </p:nvSpPr>
        <p:spPr>
          <a:xfrm rot="4684868">
            <a:off x="1177715" y="3244498"/>
            <a:ext cx="251180" cy="421877"/>
          </a:xfrm>
          <a:custGeom>
            <a:avLst/>
            <a:gdLst>
              <a:gd name="connsiteX0" fmla="*/ 61376 w 1712259"/>
              <a:gd name="connsiteY0" fmla="*/ 61376 h 2875858"/>
              <a:gd name="connsiteX1" fmla="*/ 209550 w 1712259"/>
              <a:gd name="connsiteY1" fmla="*/ 0 h 2875858"/>
              <a:gd name="connsiteX2" fmla="*/ 419100 w 1712259"/>
              <a:gd name="connsiteY2" fmla="*/ 209550 h 2875858"/>
              <a:gd name="connsiteX3" fmla="*/ 419100 w 1712259"/>
              <a:gd name="connsiteY3" fmla="*/ 1286350 h 2875858"/>
              <a:gd name="connsiteX4" fmla="*/ 1650884 w 1712259"/>
              <a:gd name="connsiteY4" fmla="*/ 2518134 h 2875858"/>
              <a:gd name="connsiteX5" fmla="*/ 1650884 w 1712259"/>
              <a:gd name="connsiteY5" fmla="*/ 2814482 h 2875858"/>
              <a:gd name="connsiteX6" fmla="*/ 1354535 w 1712259"/>
              <a:gd name="connsiteY6" fmla="*/ 2814482 h 2875858"/>
              <a:gd name="connsiteX7" fmla="*/ 68814 w 1712259"/>
              <a:gd name="connsiteY7" fmla="*/ 1528761 h 2875858"/>
              <a:gd name="connsiteX8" fmla="*/ 61376 w 1712259"/>
              <a:gd name="connsiteY8" fmla="*/ 1522624 h 2875858"/>
              <a:gd name="connsiteX9" fmla="*/ 0 w 1712259"/>
              <a:gd name="connsiteY9" fmla="*/ 1374450 h 2875858"/>
              <a:gd name="connsiteX10" fmla="*/ 0 w 1712259"/>
              <a:gd name="connsiteY10" fmla="*/ 209550 h 2875858"/>
              <a:gd name="connsiteX11" fmla="*/ 61376 w 1712259"/>
              <a:gd name="connsiteY11" fmla="*/ 61376 h 2875858"/>
              <a:gd name="connsiteX0" fmla="*/ 61376 w 1712259"/>
              <a:gd name="connsiteY0" fmla="*/ 61376 h 2875858"/>
              <a:gd name="connsiteX1" fmla="*/ 209550 w 1712259"/>
              <a:gd name="connsiteY1" fmla="*/ 0 h 2875858"/>
              <a:gd name="connsiteX2" fmla="*/ 419100 w 1712259"/>
              <a:gd name="connsiteY2" fmla="*/ 209550 h 2875858"/>
              <a:gd name="connsiteX3" fmla="*/ 419100 w 1712259"/>
              <a:gd name="connsiteY3" fmla="*/ 1286350 h 2875858"/>
              <a:gd name="connsiteX4" fmla="*/ 1650884 w 1712259"/>
              <a:gd name="connsiteY4" fmla="*/ 2518134 h 2875858"/>
              <a:gd name="connsiteX5" fmla="*/ 1650884 w 1712259"/>
              <a:gd name="connsiteY5" fmla="*/ 2814482 h 2875858"/>
              <a:gd name="connsiteX6" fmla="*/ 1354535 w 1712259"/>
              <a:gd name="connsiteY6" fmla="*/ 2814482 h 2875858"/>
              <a:gd name="connsiteX7" fmla="*/ 68814 w 1712259"/>
              <a:gd name="connsiteY7" fmla="*/ 1528761 h 2875858"/>
              <a:gd name="connsiteX8" fmla="*/ 0 w 1712259"/>
              <a:gd name="connsiteY8" fmla="*/ 1374450 h 2875858"/>
              <a:gd name="connsiteX9" fmla="*/ 0 w 1712259"/>
              <a:gd name="connsiteY9" fmla="*/ 209550 h 2875858"/>
              <a:gd name="connsiteX10" fmla="*/ 61376 w 1712259"/>
              <a:gd name="connsiteY10" fmla="*/ 61376 h 2875858"/>
              <a:gd name="connsiteX0" fmla="*/ 61376 w 1712259"/>
              <a:gd name="connsiteY0" fmla="*/ 61376 h 2875858"/>
              <a:gd name="connsiteX1" fmla="*/ 209550 w 1712259"/>
              <a:gd name="connsiteY1" fmla="*/ 0 h 2875858"/>
              <a:gd name="connsiteX2" fmla="*/ 419100 w 1712259"/>
              <a:gd name="connsiteY2" fmla="*/ 209550 h 2875858"/>
              <a:gd name="connsiteX3" fmla="*/ 419100 w 1712259"/>
              <a:gd name="connsiteY3" fmla="*/ 1286350 h 2875858"/>
              <a:gd name="connsiteX4" fmla="*/ 1650884 w 1712259"/>
              <a:gd name="connsiteY4" fmla="*/ 2518134 h 2875858"/>
              <a:gd name="connsiteX5" fmla="*/ 1650884 w 1712259"/>
              <a:gd name="connsiteY5" fmla="*/ 2814482 h 2875858"/>
              <a:gd name="connsiteX6" fmla="*/ 1354535 w 1712259"/>
              <a:gd name="connsiteY6" fmla="*/ 2814482 h 2875858"/>
              <a:gd name="connsiteX7" fmla="*/ 16616 w 1712259"/>
              <a:gd name="connsiteY7" fmla="*/ 1476564 h 2875858"/>
              <a:gd name="connsiteX8" fmla="*/ 0 w 1712259"/>
              <a:gd name="connsiteY8" fmla="*/ 1374450 h 2875858"/>
              <a:gd name="connsiteX9" fmla="*/ 0 w 1712259"/>
              <a:gd name="connsiteY9" fmla="*/ 209550 h 2875858"/>
              <a:gd name="connsiteX10" fmla="*/ 61376 w 1712259"/>
              <a:gd name="connsiteY10" fmla="*/ 61376 h 2875858"/>
              <a:gd name="connsiteX0" fmla="*/ 61376 w 1712259"/>
              <a:gd name="connsiteY0" fmla="*/ 61376 h 2875858"/>
              <a:gd name="connsiteX1" fmla="*/ 209550 w 1712259"/>
              <a:gd name="connsiteY1" fmla="*/ 0 h 2875858"/>
              <a:gd name="connsiteX2" fmla="*/ 419100 w 1712259"/>
              <a:gd name="connsiteY2" fmla="*/ 209550 h 2875858"/>
              <a:gd name="connsiteX3" fmla="*/ 419100 w 1712259"/>
              <a:gd name="connsiteY3" fmla="*/ 1286350 h 2875858"/>
              <a:gd name="connsiteX4" fmla="*/ 1650884 w 1712259"/>
              <a:gd name="connsiteY4" fmla="*/ 2518134 h 2875858"/>
              <a:gd name="connsiteX5" fmla="*/ 1650884 w 1712259"/>
              <a:gd name="connsiteY5" fmla="*/ 2814482 h 2875858"/>
              <a:gd name="connsiteX6" fmla="*/ 1354535 w 1712259"/>
              <a:gd name="connsiteY6" fmla="*/ 2814482 h 2875858"/>
              <a:gd name="connsiteX7" fmla="*/ 3146 w 1712259"/>
              <a:gd name="connsiteY7" fmla="*/ 1463094 h 2875858"/>
              <a:gd name="connsiteX8" fmla="*/ 0 w 1712259"/>
              <a:gd name="connsiteY8" fmla="*/ 1374450 h 2875858"/>
              <a:gd name="connsiteX9" fmla="*/ 0 w 1712259"/>
              <a:gd name="connsiteY9" fmla="*/ 209550 h 2875858"/>
              <a:gd name="connsiteX10" fmla="*/ 61376 w 1712259"/>
              <a:gd name="connsiteY10" fmla="*/ 61376 h 2875858"/>
              <a:gd name="connsiteX0" fmla="*/ 61376 w 1712259"/>
              <a:gd name="connsiteY0" fmla="*/ 61376 h 2875858"/>
              <a:gd name="connsiteX1" fmla="*/ 209550 w 1712259"/>
              <a:gd name="connsiteY1" fmla="*/ 0 h 2875858"/>
              <a:gd name="connsiteX2" fmla="*/ 419100 w 1712259"/>
              <a:gd name="connsiteY2" fmla="*/ 209550 h 2875858"/>
              <a:gd name="connsiteX3" fmla="*/ 419100 w 1712259"/>
              <a:gd name="connsiteY3" fmla="*/ 1286350 h 2875858"/>
              <a:gd name="connsiteX4" fmla="*/ 1650884 w 1712259"/>
              <a:gd name="connsiteY4" fmla="*/ 2518134 h 2875858"/>
              <a:gd name="connsiteX5" fmla="*/ 1650884 w 1712259"/>
              <a:gd name="connsiteY5" fmla="*/ 2814482 h 2875858"/>
              <a:gd name="connsiteX6" fmla="*/ 1354535 w 1712259"/>
              <a:gd name="connsiteY6" fmla="*/ 2814482 h 2875858"/>
              <a:gd name="connsiteX7" fmla="*/ 3146 w 1712259"/>
              <a:gd name="connsiteY7" fmla="*/ 1463094 h 2875858"/>
              <a:gd name="connsiteX8" fmla="*/ 0 w 1712259"/>
              <a:gd name="connsiteY8" fmla="*/ 209550 h 2875858"/>
              <a:gd name="connsiteX9" fmla="*/ 61376 w 1712259"/>
              <a:gd name="connsiteY9" fmla="*/ 61376 h 28758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712259" h="2875858">
                <a:moveTo>
                  <a:pt x="61376" y="61376"/>
                </a:moveTo>
                <a:cubicBezTo>
                  <a:pt x="99297" y="23455"/>
                  <a:pt x="151685" y="0"/>
                  <a:pt x="209550" y="0"/>
                </a:cubicBezTo>
                <a:cubicBezTo>
                  <a:pt x="325281" y="0"/>
                  <a:pt x="419100" y="93819"/>
                  <a:pt x="419100" y="209550"/>
                </a:cubicBezTo>
                <a:lnTo>
                  <a:pt x="419100" y="1286350"/>
                </a:lnTo>
                <a:lnTo>
                  <a:pt x="1650884" y="2518134"/>
                </a:lnTo>
                <a:cubicBezTo>
                  <a:pt x="1732718" y="2599968"/>
                  <a:pt x="1732718" y="2732648"/>
                  <a:pt x="1650884" y="2814482"/>
                </a:cubicBezTo>
                <a:cubicBezTo>
                  <a:pt x="1569050" y="2896317"/>
                  <a:pt x="1436370" y="2896317"/>
                  <a:pt x="1354535" y="2814482"/>
                </a:cubicBezTo>
                <a:lnTo>
                  <a:pt x="3146" y="1463094"/>
                </a:lnTo>
                <a:cubicBezTo>
                  <a:pt x="2097" y="1045246"/>
                  <a:pt x="1049" y="627398"/>
                  <a:pt x="0" y="209550"/>
                </a:cubicBezTo>
                <a:cubicBezTo>
                  <a:pt x="0" y="151685"/>
                  <a:pt x="23455" y="99297"/>
                  <a:pt x="61376" y="61376"/>
                </a:cubicBezTo>
                <a:close/>
              </a:path>
            </a:pathLst>
          </a:custGeom>
          <a:solidFill>
            <a:schemeClr val="bg1"/>
          </a:solidFill>
          <a:ln w="12700">
            <a:solidFill>
              <a:schemeClr val="bg1"/>
            </a:solidFill>
          </a:ln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43" name="Rectangle: Rounded Corners 642">
            <a:extLst>
              <a:ext uri="{FF2B5EF4-FFF2-40B4-BE49-F238E27FC236}">
                <a16:creationId xmlns:a16="http://schemas.microsoft.com/office/drawing/2014/main" id="{DD2791E8-4689-903E-E463-0A915BB4BD71}"/>
              </a:ext>
            </a:extLst>
          </p:cNvPr>
          <p:cNvSpPr/>
          <p:nvPr/>
        </p:nvSpPr>
        <p:spPr>
          <a:xfrm rot="20901082" flipH="1">
            <a:off x="1093961" y="3159828"/>
            <a:ext cx="61481" cy="174274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2700">
            <a:solidFill>
              <a:schemeClr val="bg1"/>
            </a:solidFill>
          </a:ln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44" name="Freeform: Shape 338">
            <a:extLst>
              <a:ext uri="{FF2B5EF4-FFF2-40B4-BE49-F238E27FC236}">
                <a16:creationId xmlns:a16="http://schemas.microsoft.com/office/drawing/2014/main" id="{9452943D-2352-C16D-7522-E4B3C60D7A8A}"/>
              </a:ext>
            </a:extLst>
          </p:cNvPr>
          <p:cNvSpPr/>
          <p:nvPr/>
        </p:nvSpPr>
        <p:spPr>
          <a:xfrm rot="20884868" flipH="1">
            <a:off x="1006723" y="3133110"/>
            <a:ext cx="251180" cy="421877"/>
          </a:xfrm>
          <a:custGeom>
            <a:avLst/>
            <a:gdLst>
              <a:gd name="connsiteX0" fmla="*/ 61376 w 1712259"/>
              <a:gd name="connsiteY0" fmla="*/ 61376 h 2875858"/>
              <a:gd name="connsiteX1" fmla="*/ 209550 w 1712259"/>
              <a:gd name="connsiteY1" fmla="*/ 0 h 2875858"/>
              <a:gd name="connsiteX2" fmla="*/ 419100 w 1712259"/>
              <a:gd name="connsiteY2" fmla="*/ 209550 h 2875858"/>
              <a:gd name="connsiteX3" fmla="*/ 419100 w 1712259"/>
              <a:gd name="connsiteY3" fmla="*/ 1286350 h 2875858"/>
              <a:gd name="connsiteX4" fmla="*/ 1650884 w 1712259"/>
              <a:gd name="connsiteY4" fmla="*/ 2518134 h 2875858"/>
              <a:gd name="connsiteX5" fmla="*/ 1650884 w 1712259"/>
              <a:gd name="connsiteY5" fmla="*/ 2814482 h 2875858"/>
              <a:gd name="connsiteX6" fmla="*/ 1354535 w 1712259"/>
              <a:gd name="connsiteY6" fmla="*/ 2814482 h 2875858"/>
              <a:gd name="connsiteX7" fmla="*/ 68814 w 1712259"/>
              <a:gd name="connsiteY7" fmla="*/ 1528761 h 2875858"/>
              <a:gd name="connsiteX8" fmla="*/ 61376 w 1712259"/>
              <a:gd name="connsiteY8" fmla="*/ 1522624 h 2875858"/>
              <a:gd name="connsiteX9" fmla="*/ 0 w 1712259"/>
              <a:gd name="connsiteY9" fmla="*/ 1374450 h 2875858"/>
              <a:gd name="connsiteX10" fmla="*/ 0 w 1712259"/>
              <a:gd name="connsiteY10" fmla="*/ 209550 h 2875858"/>
              <a:gd name="connsiteX11" fmla="*/ 61376 w 1712259"/>
              <a:gd name="connsiteY11" fmla="*/ 61376 h 2875858"/>
              <a:gd name="connsiteX0" fmla="*/ 61376 w 1712259"/>
              <a:gd name="connsiteY0" fmla="*/ 61376 h 2875858"/>
              <a:gd name="connsiteX1" fmla="*/ 209550 w 1712259"/>
              <a:gd name="connsiteY1" fmla="*/ 0 h 2875858"/>
              <a:gd name="connsiteX2" fmla="*/ 419100 w 1712259"/>
              <a:gd name="connsiteY2" fmla="*/ 209550 h 2875858"/>
              <a:gd name="connsiteX3" fmla="*/ 419100 w 1712259"/>
              <a:gd name="connsiteY3" fmla="*/ 1286350 h 2875858"/>
              <a:gd name="connsiteX4" fmla="*/ 1650884 w 1712259"/>
              <a:gd name="connsiteY4" fmla="*/ 2518134 h 2875858"/>
              <a:gd name="connsiteX5" fmla="*/ 1650884 w 1712259"/>
              <a:gd name="connsiteY5" fmla="*/ 2814482 h 2875858"/>
              <a:gd name="connsiteX6" fmla="*/ 1354535 w 1712259"/>
              <a:gd name="connsiteY6" fmla="*/ 2814482 h 2875858"/>
              <a:gd name="connsiteX7" fmla="*/ 68814 w 1712259"/>
              <a:gd name="connsiteY7" fmla="*/ 1528761 h 2875858"/>
              <a:gd name="connsiteX8" fmla="*/ 0 w 1712259"/>
              <a:gd name="connsiteY8" fmla="*/ 1374450 h 2875858"/>
              <a:gd name="connsiteX9" fmla="*/ 0 w 1712259"/>
              <a:gd name="connsiteY9" fmla="*/ 209550 h 2875858"/>
              <a:gd name="connsiteX10" fmla="*/ 61376 w 1712259"/>
              <a:gd name="connsiteY10" fmla="*/ 61376 h 2875858"/>
              <a:gd name="connsiteX0" fmla="*/ 61376 w 1712259"/>
              <a:gd name="connsiteY0" fmla="*/ 61376 h 2875858"/>
              <a:gd name="connsiteX1" fmla="*/ 209550 w 1712259"/>
              <a:gd name="connsiteY1" fmla="*/ 0 h 2875858"/>
              <a:gd name="connsiteX2" fmla="*/ 419100 w 1712259"/>
              <a:gd name="connsiteY2" fmla="*/ 209550 h 2875858"/>
              <a:gd name="connsiteX3" fmla="*/ 419100 w 1712259"/>
              <a:gd name="connsiteY3" fmla="*/ 1286350 h 2875858"/>
              <a:gd name="connsiteX4" fmla="*/ 1650884 w 1712259"/>
              <a:gd name="connsiteY4" fmla="*/ 2518134 h 2875858"/>
              <a:gd name="connsiteX5" fmla="*/ 1650884 w 1712259"/>
              <a:gd name="connsiteY5" fmla="*/ 2814482 h 2875858"/>
              <a:gd name="connsiteX6" fmla="*/ 1354535 w 1712259"/>
              <a:gd name="connsiteY6" fmla="*/ 2814482 h 2875858"/>
              <a:gd name="connsiteX7" fmla="*/ 16616 w 1712259"/>
              <a:gd name="connsiteY7" fmla="*/ 1476564 h 2875858"/>
              <a:gd name="connsiteX8" fmla="*/ 0 w 1712259"/>
              <a:gd name="connsiteY8" fmla="*/ 1374450 h 2875858"/>
              <a:gd name="connsiteX9" fmla="*/ 0 w 1712259"/>
              <a:gd name="connsiteY9" fmla="*/ 209550 h 2875858"/>
              <a:gd name="connsiteX10" fmla="*/ 61376 w 1712259"/>
              <a:gd name="connsiteY10" fmla="*/ 61376 h 2875858"/>
              <a:gd name="connsiteX0" fmla="*/ 61376 w 1712259"/>
              <a:gd name="connsiteY0" fmla="*/ 61376 h 2875858"/>
              <a:gd name="connsiteX1" fmla="*/ 209550 w 1712259"/>
              <a:gd name="connsiteY1" fmla="*/ 0 h 2875858"/>
              <a:gd name="connsiteX2" fmla="*/ 419100 w 1712259"/>
              <a:gd name="connsiteY2" fmla="*/ 209550 h 2875858"/>
              <a:gd name="connsiteX3" fmla="*/ 419100 w 1712259"/>
              <a:gd name="connsiteY3" fmla="*/ 1286350 h 2875858"/>
              <a:gd name="connsiteX4" fmla="*/ 1650884 w 1712259"/>
              <a:gd name="connsiteY4" fmla="*/ 2518134 h 2875858"/>
              <a:gd name="connsiteX5" fmla="*/ 1650884 w 1712259"/>
              <a:gd name="connsiteY5" fmla="*/ 2814482 h 2875858"/>
              <a:gd name="connsiteX6" fmla="*/ 1354535 w 1712259"/>
              <a:gd name="connsiteY6" fmla="*/ 2814482 h 2875858"/>
              <a:gd name="connsiteX7" fmla="*/ 3146 w 1712259"/>
              <a:gd name="connsiteY7" fmla="*/ 1463094 h 2875858"/>
              <a:gd name="connsiteX8" fmla="*/ 0 w 1712259"/>
              <a:gd name="connsiteY8" fmla="*/ 1374450 h 2875858"/>
              <a:gd name="connsiteX9" fmla="*/ 0 w 1712259"/>
              <a:gd name="connsiteY9" fmla="*/ 209550 h 2875858"/>
              <a:gd name="connsiteX10" fmla="*/ 61376 w 1712259"/>
              <a:gd name="connsiteY10" fmla="*/ 61376 h 2875858"/>
              <a:gd name="connsiteX0" fmla="*/ 61376 w 1712259"/>
              <a:gd name="connsiteY0" fmla="*/ 61376 h 2875858"/>
              <a:gd name="connsiteX1" fmla="*/ 209550 w 1712259"/>
              <a:gd name="connsiteY1" fmla="*/ 0 h 2875858"/>
              <a:gd name="connsiteX2" fmla="*/ 419100 w 1712259"/>
              <a:gd name="connsiteY2" fmla="*/ 209550 h 2875858"/>
              <a:gd name="connsiteX3" fmla="*/ 419100 w 1712259"/>
              <a:gd name="connsiteY3" fmla="*/ 1286350 h 2875858"/>
              <a:gd name="connsiteX4" fmla="*/ 1650884 w 1712259"/>
              <a:gd name="connsiteY4" fmla="*/ 2518134 h 2875858"/>
              <a:gd name="connsiteX5" fmla="*/ 1650884 w 1712259"/>
              <a:gd name="connsiteY5" fmla="*/ 2814482 h 2875858"/>
              <a:gd name="connsiteX6" fmla="*/ 1354535 w 1712259"/>
              <a:gd name="connsiteY6" fmla="*/ 2814482 h 2875858"/>
              <a:gd name="connsiteX7" fmla="*/ 3146 w 1712259"/>
              <a:gd name="connsiteY7" fmla="*/ 1463094 h 2875858"/>
              <a:gd name="connsiteX8" fmla="*/ 0 w 1712259"/>
              <a:gd name="connsiteY8" fmla="*/ 209550 h 2875858"/>
              <a:gd name="connsiteX9" fmla="*/ 61376 w 1712259"/>
              <a:gd name="connsiteY9" fmla="*/ 61376 h 28758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712259" h="2875858">
                <a:moveTo>
                  <a:pt x="61376" y="61376"/>
                </a:moveTo>
                <a:cubicBezTo>
                  <a:pt x="99297" y="23455"/>
                  <a:pt x="151685" y="0"/>
                  <a:pt x="209550" y="0"/>
                </a:cubicBezTo>
                <a:cubicBezTo>
                  <a:pt x="325281" y="0"/>
                  <a:pt x="419100" y="93819"/>
                  <a:pt x="419100" y="209550"/>
                </a:cubicBezTo>
                <a:lnTo>
                  <a:pt x="419100" y="1286350"/>
                </a:lnTo>
                <a:lnTo>
                  <a:pt x="1650884" y="2518134"/>
                </a:lnTo>
                <a:cubicBezTo>
                  <a:pt x="1732718" y="2599968"/>
                  <a:pt x="1732718" y="2732648"/>
                  <a:pt x="1650884" y="2814482"/>
                </a:cubicBezTo>
                <a:cubicBezTo>
                  <a:pt x="1569050" y="2896317"/>
                  <a:pt x="1436370" y="2896317"/>
                  <a:pt x="1354535" y="2814482"/>
                </a:cubicBezTo>
                <a:lnTo>
                  <a:pt x="3146" y="1463094"/>
                </a:lnTo>
                <a:cubicBezTo>
                  <a:pt x="2097" y="1045246"/>
                  <a:pt x="1049" y="627398"/>
                  <a:pt x="0" y="209550"/>
                </a:cubicBezTo>
                <a:cubicBezTo>
                  <a:pt x="0" y="151685"/>
                  <a:pt x="23455" y="99297"/>
                  <a:pt x="61376" y="61376"/>
                </a:cubicBezTo>
                <a:close/>
              </a:path>
            </a:pathLst>
          </a:custGeom>
          <a:solidFill>
            <a:schemeClr val="bg1"/>
          </a:solidFill>
          <a:ln w="12700">
            <a:solidFill>
              <a:schemeClr val="bg1"/>
            </a:solidFill>
          </a:ln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29" name="Ellipse 148">
            <a:extLst>
              <a:ext uri="{FF2B5EF4-FFF2-40B4-BE49-F238E27FC236}">
                <a16:creationId xmlns:a16="http://schemas.microsoft.com/office/drawing/2014/main" id="{144A8127-B0A4-C404-629C-C57E8AC3B545}"/>
              </a:ext>
            </a:extLst>
          </p:cNvPr>
          <p:cNvSpPr/>
          <p:nvPr/>
        </p:nvSpPr>
        <p:spPr bwMode="auto">
          <a:xfrm rot="7785844">
            <a:off x="1604902" y="3638679"/>
            <a:ext cx="146032" cy="146033"/>
          </a:xfrm>
          <a:prstGeom prst="ellipse">
            <a:avLst/>
          </a:prstGeom>
          <a:noFill/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5pPr>
            <a:lvl6pPr marL="2286000" algn="l" defTabSz="457200" rtl="0" eaLnBrk="1" latinLnBrk="0" hangingPunct="1"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6pPr>
            <a:lvl7pPr marL="2743200" algn="l" defTabSz="457200" rtl="0" eaLnBrk="1" latinLnBrk="0" hangingPunct="1"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7pPr>
            <a:lvl8pPr marL="3200400" algn="l" defTabSz="457200" rtl="0" eaLnBrk="1" latinLnBrk="0" hangingPunct="1"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8pPr>
            <a:lvl9pPr marL="3657600" algn="l" defTabSz="457200" rtl="0" eaLnBrk="1" latinLnBrk="0" hangingPunct="1"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EC8A00"/>
              </a:solidFill>
              <a:effectLst/>
              <a:uLnTx/>
              <a:uFillTx/>
              <a:latin typeface="Aptos" panose="02110004020202020204"/>
              <a:ea typeface="ＭＳ Ｐゴシック" charset="0"/>
            </a:endParaRPr>
          </a:p>
        </p:txBody>
      </p:sp>
      <p:sp>
        <p:nvSpPr>
          <p:cNvPr id="640" name="Freeform: Shape 157">
            <a:extLst>
              <a:ext uri="{FF2B5EF4-FFF2-40B4-BE49-F238E27FC236}">
                <a16:creationId xmlns:a16="http://schemas.microsoft.com/office/drawing/2014/main" id="{9029A1C9-FB0A-0AFD-74A7-7BD052BA703F}"/>
              </a:ext>
            </a:extLst>
          </p:cNvPr>
          <p:cNvSpPr/>
          <p:nvPr/>
        </p:nvSpPr>
        <p:spPr bwMode="auto">
          <a:xfrm rot="7785844">
            <a:off x="1576710" y="3651962"/>
            <a:ext cx="145749" cy="72315"/>
          </a:xfrm>
          <a:custGeom>
            <a:avLst/>
            <a:gdLst>
              <a:gd name="connsiteX0" fmla="*/ 0 w 183556"/>
              <a:gd name="connsiteY0" fmla="*/ 0 h 91073"/>
              <a:gd name="connsiteX1" fmla="*/ 183556 w 183556"/>
              <a:gd name="connsiteY1" fmla="*/ 0 h 91073"/>
              <a:gd name="connsiteX2" fmla="*/ 176508 w 183556"/>
              <a:gd name="connsiteY2" fmla="*/ 34911 h 91073"/>
              <a:gd name="connsiteX3" fmla="*/ 91778 w 183556"/>
              <a:gd name="connsiteY3" fmla="*/ 91073 h 91073"/>
              <a:gd name="connsiteX4" fmla="*/ 7048 w 183556"/>
              <a:gd name="connsiteY4" fmla="*/ 34911 h 910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3556" h="91073">
                <a:moveTo>
                  <a:pt x="0" y="0"/>
                </a:moveTo>
                <a:lnTo>
                  <a:pt x="183556" y="0"/>
                </a:lnTo>
                <a:lnTo>
                  <a:pt x="176508" y="34911"/>
                </a:lnTo>
                <a:cubicBezTo>
                  <a:pt x="162548" y="67915"/>
                  <a:pt x="129868" y="91073"/>
                  <a:pt x="91778" y="91073"/>
                </a:cubicBezTo>
                <a:cubicBezTo>
                  <a:pt x="53689" y="91073"/>
                  <a:pt x="21008" y="67915"/>
                  <a:pt x="7048" y="34911"/>
                </a:cubicBezTo>
                <a:close/>
              </a:path>
            </a:pathLst>
          </a:cu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5pPr>
            <a:lvl6pPr marL="2286000" algn="l" defTabSz="457200" rtl="0" eaLnBrk="1" latinLnBrk="0" hangingPunct="1"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6pPr>
            <a:lvl7pPr marL="2743200" algn="l" defTabSz="457200" rtl="0" eaLnBrk="1" latinLnBrk="0" hangingPunct="1"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7pPr>
            <a:lvl8pPr marL="3200400" algn="l" defTabSz="457200" rtl="0" eaLnBrk="1" latinLnBrk="0" hangingPunct="1"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8pPr>
            <a:lvl9pPr marL="3657600" algn="l" defTabSz="457200" rtl="0" eaLnBrk="1" latinLnBrk="0" hangingPunct="1"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EC8A00"/>
              </a:solidFill>
              <a:effectLst/>
              <a:uLnTx/>
              <a:uFillTx/>
              <a:latin typeface="Aptos" panose="02110004020202020204"/>
              <a:ea typeface="ＭＳ Ｐゴシック" charset="0"/>
            </a:endParaRPr>
          </a:p>
        </p:txBody>
      </p:sp>
      <p:sp>
        <p:nvSpPr>
          <p:cNvPr id="222" name="Freeform: Shape 615">
            <a:extLst>
              <a:ext uri="{FF2B5EF4-FFF2-40B4-BE49-F238E27FC236}">
                <a16:creationId xmlns:a16="http://schemas.microsoft.com/office/drawing/2014/main" id="{DDB19481-528A-5AA9-1AFE-9E89195661EB}"/>
              </a:ext>
            </a:extLst>
          </p:cNvPr>
          <p:cNvSpPr/>
          <p:nvPr/>
        </p:nvSpPr>
        <p:spPr>
          <a:xfrm>
            <a:off x="2135551" y="3126650"/>
            <a:ext cx="188892" cy="262363"/>
          </a:xfrm>
          <a:custGeom>
            <a:avLst/>
            <a:gdLst>
              <a:gd name="connsiteX0" fmla="*/ 33735 w 288132"/>
              <a:gd name="connsiteY0" fmla="*/ 0 h 400204"/>
              <a:gd name="connsiteX1" fmla="*/ 254397 w 288132"/>
              <a:gd name="connsiteY1" fmla="*/ 0 h 400204"/>
              <a:gd name="connsiteX2" fmla="*/ 288132 w 288132"/>
              <a:gd name="connsiteY2" fmla="*/ 33735 h 400204"/>
              <a:gd name="connsiteX3" fmla="*/ 288132 w 288132"/>
              <a:gd name="connsiteY3" fmla="*/ 142656 h 400204"/>
              <a:gd name="connsiteX4" fmla="*/ 288132 w 288132"/>
              <a:gd name="connsiteY4" fmla="*/ 168671 h 400204"/>
              <a:gd name="connsiteX5" fmla="*/ 288132 w 288132"/>
              <a:gd name="connsiteY5" fmla="*/ 299793 h 400204"/>
              <a:gd name="connsiteX6" fmla="*/ 187721 w 288132"/>
              <a:gd name="connsiteY6" fmla="*/ 400204 h 400204"/>
              <a:gd name="connsiteX7" fmla="*/ 100411 w 288132"/>
              <a:gd name="connsiteY7" fmla="*/ 400204 h 400204"/>
              <a:gd name="connsiteX8" fmla="*/ 0 w 288132"/>
              <a:gd name="connsiteY8" fmla="*/ 299793 h 400204"/>
              <a:gd name="connsiteX9" fmla="*/ 0 w 288132"/>
              <a:gd name="connsiteY9" fmla="*/ 168671 h 400204"/>
              <a:gd name="connsiteX10" fmla="*/ 0 w 288132"/>
              <a:gd name="connsiteY10" fmla="*/ 142656 h 400204"/>
              <a:gd name="connsiteX11" fmla="*/ 0 w 288132"/>
              <a:gd name="connsiteY11" fmla="*/ 33735 h 400204"/>
              <a:gd name="connsiteX12" fmla="*/ 33735 w 288132"/>
              <a:gd name="connsiteY12" fmla="*/ 0 h 4002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88132" h="400204">
                <a:moveTo>
                  <a:pt x="33735" y="0"/>
                </a:moveTo>
                <a:lnTo>
                  <a:pt x="254397" y="0"/>
                </a:lnTo>
                <a:cubicBezTo>
                  <a:pt x="273028" y="0"/>
                  <a:pt x="288132" y="15104"/>
                  <a:pt x="288132" y="33735"/>
                </a:cubicBezTo>
                <a:lnTo>
                  <a:pt x="288132" y="142656"/>
                </a:lnTo>
                <a:lnTo>
                  <a:pt x="288132" y="168671"/>
                </a:lnTo>
                <a:lnTo>
                  <a:pt x="288132" y="299793"/>
                </a:lnTo>
                <a:cubicBezTo>
                  <a:pt x="288132" y="355248"/>
                  <a:pt x="243176" y="400204"/>
                  <a:pt x="187721" y="400204"/>
                </a:cubicBezTo>
                <a:lnTo>
                  <a:pt x="100411" y="400204"/>
                </a:lnTo>
                <a:cubicBezTo>
                  <a:pt x="44956" y="400204"/>
                  <a:pt x="0" y="355248"/>
                  <a:pt x="0" y="299793"/>
                </a:cubicBezTo>
                <a:lnTo>
                  <a:pt x="0" y="168671"/>
                </a:lnTo>
                <a:lnTo>
                  <a:pt x="0" y="142656"/>
                </a:lnTo>
                <a:lnTo>
                  <a:pt x="0" y="33735"/>
                </a:lnTo>
                <a:cubicBezTo>
                  <a:pt x="0" y="15104"/>
                  <a:pt x="15104" y="0"/>
                  <a:pt x="33735" y="0"/>
                </a:cubicBezTo>
                <a:close/>
              </a:path>
            </a:pathLst>
          </a:custGeom>
          <a:noFill/>
          <a:ln w="12700" cap="rnd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23" name="Arc 222">
            <a:extLst>
              <a:ext uri="{FF2B5EF4-FFF2-40B4-BE49-F238E27FC236}">
                <a16:creationId xmlns:a16="http://schemas.microsoft.com/office/drawing/2014/main" id="{94F3022F-A06E-2E02-B264-E3F8DEF3A96F}"/>
              </a:ext>
            </a:extLst>
          </p:cNvPr>
          <p:cNvSpPr/>
          <p:nvPr/>
        </p:nvSpPr>
        <p:spPr>
          <a:xfrm>
            <a:off x="2194872" y="3061802"/>
            <a:ext cx="70249" cy="70249"/>
          </a:xfrm>
          <a:prstGeom prst="arc">
            <a:avLst>
              <a:gd name="adj1" fmla="val 7473412"/>
              <a:gd name="adj2" fmla="val 3221541"/>
            </a:avLst>
          </a:prstGeom>
          <a:ln w="12700" cap="rnd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24" name="Rectangle 223">
            <a:extLst>
              <a:ext uri="{FF2B5EF4-FFF2-40B4-BE49-F238E27FC236}">
                <a16:creationId xmlns:a16="http://schemas.microsoft.com/office/drawing/2014/main" id="{4CDF85D8-F5A8-64B4-A295-C26AA327FFFF}"/>
              </a:ext>
            </a:extLst>
          </p:cNvPr>
          <p:cNvSpPr/>
          <p:nvPr/>
        </p:nvSpPr>
        <p:spPr>
          <a:xfrm>
            <a:off x="2201506" y="3389013"/>
            <a:ext cx="56982" cy="64848"/>
          </a:xfrm>
          <a:prstGeom prst="rect">
            <a:avLst/>
          </a:prstGeom>
          <a:noFill/>
          <a:ln w="12700" cap="rnd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25" name="Flowchart: Manual Operation 224">
            <a:extLst>
              <a:ext uri="{FF2B5EF4-FFF2-40B4-BE49-F238E27FC236}">
                <a16:creationId xmlns:a16="http://schemas.microsoft.com/office/drawing/2014/main" id="{AB72E91E-8965-590C-6D79-1C27140D1C7F}"/>
              </a:ext>
            </a:extLst>
          </p:cNvPr>
          <p:cNvSpPr/>
          <p:nvPr/>
        </p:nvSpPr>
        <p:spPr>
          <a:xfrm rot="5400000">
            <a:off x="1946177" y="3565901"/>
            <a:ext cx="53076" cy="67724"/>
          </a:xfrm>
          <a:prstGeom prst="flowChartManualOperation">
            <a:avLst/>
          </a:prstGeom>
          <a:noFill/>
          <a:ln w="12700" cap="rnd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26" name="Straight Connector 225">
            <a:extLst>
              <a:ext uri="{FF2B5EF4-FFF2-40B4-BE49-F238E27FC236}">
                <a16:creationId xmlns:a16="http://schemas.microsoft.com/office/drawing/2014/main" id="{8BA70F50-4667-8CB5-6D1C-03413478E128}"/>
              </a:ext>
            </a:extLst>
          </p:cNvPr>
          <p:cNvCxnSpPr>
            <a:cxnSpLocks/>
          </p:cNvCxnSpPr>
          <p:nvPr/>
        </p:nvCxnSpPr>
        <p:spPr>
          <a:xfrm>
            <a:off x="1898265" y="3599762"/>
            <a:ext cx="40588" cy="0"/>
          </a:xfrm>
          <a:prstGeom prst="line">
            <a:avLst/>
          </a:prstGeom>
          <a:ln w="12700" cap="rnd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7" name="Freeform: Shape 620">
            <a:extLst>
              <a:ext uri="{FF2B5EF4-FFF2-40B4-BE49-F238E27FC236}">
                <a16:creationId xmlns:a16="http://schemas.microsoft.com/office/drawing/2014/main" id="{5063A029-D09A-056A-25D4-8139E8639771}"/>
              </a:ext>
            </a:extLst>
          </p:cNvPr>
          <p:cNvSpPr/>
          <p:nvPr/>
        </p:nvSpPr>
        <p:spPr>
          <a:xfrm>
            <a:off x="2009100" y="3456141"/>
            <a:ext cx="220395" cy="145181"/>
          </a:xfrm>
          <a:custGeom>
            <a:avLst/>
            <a:gdLst>
              <a:gd name="connsiteX0" fmla="*/ 335756 w 335756"/>
              <a:gd name="connsiteY0" fmla="*/ 0 h 221456"/>
              <a:gd name="connsiteX1" fmla="*/ 283369 w 335756"/>
              <a:gd name="connsiteY1" fmla="*/ 166687 h 221456"/>
              <a:gd name="connsiteX2" fmla="*/ 166688 w 335756"/>
              <a:gd name="connsiteY2" fmla="*/ 16668 h 221456"/>
              <a:gd name="connsiteX3" fmla="*/ 0 w 335756"/>
              <a:gd name="connsiteY3" fmla="*/ 221456 h 221456"/>
              <a:gd name="connsiteX0" fmla="*/ 335756 w 335756"/>
              <a:gd name="connsiteY0" fmla="*/ 0 h 221456"/>
              <a:gd name="connsiteX1" fmla="*/ 283369 w 335756"/>
              <a:gd name="connsiteY1" fmla="*/ 166687 h 221456"/>
              <a:gd name="connsiteX2" fmla="*/ 166688 w 335756"/>
              <a:gd name="connsiteY2" fmla="*/ 16668 h 221456"/>
              <a:gd name="connsiteX3" fmla="*/ 0 w 335756"/>
              <a:gd name="connsiteY3" fmla="*/ 221456 h 221456"/>
              <a:gd name="connsiteX0" fmla="*/ 335756 w 335756"/>
              <a:gd name="connsiteY0" fmla="*/ 0 h 221456"/>
              <a:gd name="connsiteX1" fmla="*/ 283369 w 335756"/>
              <a:gd name="connsiteY1" fmla="*/ 166687 h 221456"/>
              <a:gd name="connsiteX2" fmla="*/ 166688 w 335756"/>
              <a:gd name="connsiteY2" fmla="*/ 16668 h 221456"/>
              <a:gd name="connsiteX3" fmla="*/ 0 w 335756"/>
              <a:gd name="connsiteY3" fmla="*/ 221456 h 221456"/>
              <a:gd name="connsiteX0" fmla="*/ 335756 w 335756"/>
              <a:gd name="connsiteY0" fmla="*/ 0 h 221456"/>
              <a:gd name="connsiteX1" fmla="*/ 283369 w 335756"/>
              <a:gd name="connsiteY1" fmla="*/ 166687 h 221456"/>
              <a:gd name="connsiteX2" fmla="*/ 166688 w 335756"/>
              <a:gd name="connsiteY2" fmla="*/ 16668 h 221456"/>
              <a:gd name="connsiteX3" fmla="*/ 0 w 335756"/>
              <a:gd name="connsiteY3" fmla="*/ 221456 h 221456"/>
              <a:gd name="connsiteX0" fmla="*/ 335756 w 335756"/>
              <a:gd name="connsiteY0" fmla="*/ 0 h 221456"/>
              <a:gd name="connsiteX1" fmla="*/ 283369 w 335756"/>
              <a:gd name="connsiteY1" fmla="*/ 166687 h 221456"/>
              <a:gd name="connsiteX2" fmla="*/ 166688 w 335756"/>
              <a:gd name="connsiteY2" fmla="*/ 16668 h 221456"/>
              <a:gd name="connsiteX3" fmla="*/ 0 w 335756"/>
              <a:gd name="connsiteY3" fmla="*/ 221456 h 221456"/>
              <a:gd name="connsiteX0" fmla="*/ 335756 w 336014"/>
              <a:gd name="connsiteY0" fmla="*/ 0 h 221456"/>
              <a:gd name="connsiteX1" fmla="*/ 283369 w 336014"/>
              <a:gd name="connsiteY1" fmla="*/ 166687 h 221456"/>
              <a:gd name="connsiteX2" fmla="*/ 166688 w 336014"/>
              <a:gd name="connsiteY2" fmla="*/ 16668 h 221456"/>
              <a:gd name="connsiteX3" fmla="*/ 0 w 336014"/>
              <a:gd name="connsiteY3" fmla="*/ 221456 h 221456"/>
              <a:gd name="connsiteX0" fmla="*/ 335756 w 336014"/>
              <a:gd name="connsiteY0" fmla="*/ 0 h 221456"/>
              <a:gd name="connsiteX1" fmla="*/ 283369 w 336014"/>
              <a:gd name="connsiteY1" fmla="*/ 166687 h 221456"/>
              <a:gd name="connsiteX2" fmla="*/ 166688 w 336014"/>
              <a:gd name="connsiteY2" fmla="*/ 16668 h 221456"/>
              <a:gd name="connsiteX3" fmla="*/ 0 w 336014"/>
              <a:gd name="connsiteY3" fmla="*/ 221456 h 221456"/>
              <a:gd name="connsiteX0" fmla="*/ 335756 w 336014"/>
              <a:gd name="connsiteY0" fmla="*/ 0 h 221456"/>
              <a:gd name="connsiteX1" fmla="*/ 283369 w 336014"/>
              <a:gd name="connsiteY1" fmla="*/ 166687 h 221456"/>
              <a:gd name="connsiteX2" fmla="*/ 166688 w 336014"/>
              <a:gd name="connsiteY2" fmla="*/ 16668 h 221456"/>
              <a:gd name="connsiteX3" fmla="*/ 0 w 336014"/>
              <a:gd name="connsiteY3" fmla="*/ 221456 h 221456"/>
              <a:gd name="connsiteX0" fmla="*/ 335756 w 336014"/>
              <a:gd name="connsiteY0" fmla="*/ 0 h 221456"/>
              <a:gd name="connsiteX1" fmla="*/ 283369 w 336014"/>
              <a:gd name="connsiteY1" fmla="*/ 166687 h 221456"/>
              <a:gd name="connsiteX2" fmla="*/ 226219 w 336014"/>
              <a:gd name="connsiteY2" fmla="*/ 88106 h 221456"/>
              <a:gd name="connsiteX3" fmla="*/ 166688 w 336014"/>
              <a:gd name="connsiteY3" fmla="*/ 16668 h 221456"/>
              <a:gd name="connsiteX4" fmla="*/ 0 w 336014"/>
              <a:gd name="connsiteY4" fmla="*/ 221456 h 221456"/>
              <a:gd name="connsiteX0" fmla="*/ 335756 w 336014"/>
              <a:gd name="connsiteY0" fmla="*/ 0 h 221456"/>
              <a:gd name="connsiteX1" fmla="*/ 283369 w 336014"/>
              <a:gd name="connsiteY1" fmla="*/ 166687 h 221456"/>
              <a:gd name="connsiteX2" fmla="*/ 226219 w 336014"/>
              <a:gd name="connsiteY2" fmla="*/ 88106 h 221456"/>
              <a:gd name="connsiteX3" fmla="*/ 166688 w 336014"/>
              <a:gd name="connsiteY3" fmla="*/ 16668 h 221456"/>
              <a:gd name="connsiteX4" fmla="*/ 0 w 336014"/>
              <a:gd name="connsiteY4" fmla="*/ 221456 h 221456"/>
              <a:gd name="connsiteX0" fmla="*/ 335756 w 336014"/>
              <a:gd name="connsiteY0" fmla="*/ 0 h 221456"/>
              <a:gd name="connsiteX1" fmla="*/ 283369 w 336014"/>
              <a:gd name="connsiteY1" fmla="*/ 166687 h 221456"/>
              <a:gd name="connsiteX2" fmla="*/ 226219 w 336014"/>
              <a:gd name="connsiteY2" fmla="*/ 88106 h 221456"/>
              <a:gd name="connsiteX3" fmla="*/ 166688 w 336014"/>
              <a:gd name="connsiteY3" fmla="*/ 16668 h 221456"/>
              <a:gd name="connsiteX4" fmla="*/ 0 w 336014"/>
              <a:gd name="connsiteY4" fmla="*/ 221456 h 221456"/>
              <a:gd name="connsiteX0" fmla="*/ 335756 w 336014"/>
              <a:gd name="connsiteY0" fmla="*/ 0 h 221456"/>
              <a:gd name="connsiteX1" fmla="*/ 283369 w 336014"/>
              <a:gd name="connsiteY1" fmla="*/ 166687 h 221456"/>
              <a:gd name="connsiteX2" fmla="*/ 226219 w 336014"/>
              <a:gd name="connsiteY2" fmla="*/ 88106 h 221456"/>
              <a:gd name="connsiteX3" fmla="*/ 166688 w 336014"/>
              <a:gd name="connsiteY3" fmla="*/ 16668 h 221456"/>
              <a:gd name="connsiteX4" fmla="*/ 0 w 336014"/>
              <a:gd name="connsiteY4" fmla="*/ 221456 h 221456"/>
              <a:gd name="connsiteX0" fmla="*/ 335756 w 336014"/>
              <a:gd name="connsiteY0" fmla="*/ 0 h 221456"/>
              <a:gd name="connsiteX1" fmla="*/ 283369 w 336014"/>
              <a:gd name="connsiteY1" fmla="*/ 166687 h 221456"/>
              <a:gd name="connsiteX2" fmla="*/ 226219 w 336014"/>
              <a:gd name="connsiteY2" fmla="*/ 88106 h 221456"/>
              <a:gd name="connsiteX3" fmla="*/ 166688 w 336014"/>
              <a:gd name="connsiteY3" fmla="*/ 16668 h 221456"/>
              <a:gd name="connsiteX4" fmla="*/ 0 w 336014"/>
              <a:gd name="connsiteY4" fmla="*/ 221456 h 221456"/>
              <a:gd name="connsiteX0" fmla="*/ 335756 w 336014"/>
              <a:gd name="connsiteY0" fmla="*/ 0 h 221456"/>
              <a:gd name="connsiteX1" fmla="*/ 283369 w 336014"/>
              <a:gd name="connsiteY1" fmla="*/ 166687 h 221456"/>
              <a:gd name="connsiteX2" fmla="*/ 226219 w 336014"/>
              <a:gd name="connsiteY2" fmla="*/ 88106 h 221456"/>
              <a:gd name="connsiteX3" fmla="*/ 166688 w 336014"/>
              <a:gd name="connsiteY3" fmla="*/ 16668 h 221456"/>
              <a:gd name="connsiteX4" fmla="*/ 0 w 336014"/>
              <a:gd name="connsiteY4" fmla="*/ 221456 h 221456"/>
              <a:gd name="connsiteX0" fmla="*/ 335756 w 336014"/>
              <a:gd name="connsiteY0" fmla="*/ 0 h 221456"/>
              <a:gd name="connsiteX1" fmla="*/ 283369 w 336014"/>
              <a:gd name="connsiteY1" fmla="*/ 166687 h 221456"/>
              <a:gd name="connsiteX2" fmla="*/ 226219 w 336014"/>
              <a:gd name="connsiteY2" fmla="*/ 88106 h 221456"/>
              <a:gd name="connsiteX3" fmla="*/ 166688 w 336014"/>
              <a:gd name="connsiteY3" fmla="*/ 16668 h 221456"/>
              <a:gd name="connsiteX4" fmla="*/ 100013 w 336014"/>
              <a:gd name="connsiteY4" fmla="*/ 92868 h 221456"/>
              <a:gd name="connsiteX5" fmla="*/ 0 w 336014"/>
              <a:gd name="connsiteY5" fmla="*/ 221456 h 221456"/>
              <a:gd name="connsiteX0" fmla="*/ 335756 w 336014"/>
              <a:gd name="connsiteY0" fmla="*/ 0 h 221456"/>
              <a:gd name="connsiteX1" fmla="*/ 283369 w 336014"/>
              <a:gd name="connsiteY1" fmla="*/ 166687 h 221456"/>
              <a:gd name="connsiteX2" fmla="*/ 226219 w 336014"/>
              <a:gd name="connsiteY2" fmla="*/ 88106 h 221456"/>
              <a:gd name="connsiteX3" fmla="*/ 166688 w 336014"/>
              <a:gd name="connsiteY3" fmla="*/ 16668 h 221456"/>
              <a:gd name="connsiteX4" fmla="*/ 107157 w 336014"/>
              <a:gd name="connsiteY4" fmla="*/ 92868 h 221456"/>
              <a:gd name="connsiteX5" fmla="*/ 0 w 336014"/>
              <a:gd name="connsiteY5" fmla="*/ 221456 h 221456"/>
              <a:gd name="connsiteX0" fmla="*/ 335756 w 336014"/>
              <a:gd name="connsiteY0" fmla="*/ 0 h 221456"/>
              <a:gd name="connsiteX1" fmla="*/ 283369 w 336014"/>
              <a:gd name="connsiteY1" fmla="*/ 166687 h 221456"/>
              <a:gd name="connsiteX2" fmla="*/ 226219 w 336014"/>
              <a:gd name="connsiteY2" fmla="*/ 88106 h 221456"/>
              <a:gd name="connsiteX3" fmla="*/ 166688 w 336014"/>
              <a:gd name="connsiteY3" fmla="*/ 16668 h 221456"/>
              <a:gd name="connsiteX4" fmla="*/ 107157 w 336014"/>
              <a:gd name="connsiteY4" fmla="*/ 92868 h 221456"/>
              <a:gd name="connsiteX5" fmla="*/ 0 w 336014"/>
              <a:gd name="connsiteY5" fmla="*/ 221456 h 221456"/>
              <a:gd name="connsiteX0" fmla="*/ 335756 w 336014"/>
              <a:gd name="connsiteY0" fmla="*/ 0 h 221456"/>
              <a:gd name="connsiteX1" fmla="*/ 283369 w 336014"/>
              <a:gd name="connsiteY1" fmla="*/ 166687 h 221456"/>
              <a:gd name="connsiteX2" fmla="*/ 226219 w 336014"/>
              <a:gd name="connsiteY2" fmla="*/ 88106 h 221456"/>
              <a:gd name="connsiteX3" fmla="*/ 166688 w 336014"/>
              <a:gd name="connsiteY3" fmla="*/ 16668 h 221456"/>
              <a:gd name="connsiteX4" fmla="*/ 107157 w 336014"/>
              <a:gd name="connsiteY4" fmla="*/ 92868 h 221456"/>
              <a:gd name="connsiteX5" fmla="*/ 0 w 336014"/>
              <a:gd name="connsiteY5" fmla="*/ 221456 h 221456"/>
              <a:gd name="connsiteX0" fmla="*/ 335756 w 336014"/>
              <a:gd name="connsiteY0" fmla="*/ 0 h 221605"/>
              <a:gd name="connsiteX1" fmla="*/ 283369 w 336014"/>
              <a:gd name="connsiteY1" fmla="*/ 166687 h 221605"/>
              <a:gd name="connsiteX2" fmla="*/ 226219 w 336014"/>
              <a:gd name="connsiteY2" fmla="*/ 88106 h 221605"/>
              <a:gd name="connsiteX3" fmla="*/ 166688 w 336014"/>
              <a:gd name="connsiteY3" fmla="*/ 16668 h 221605"/>
              <a:gd name="connsiteX4" fmla="*/ 107157 w 336014"/>
              <a:gd name="connsiteY4" fmla="*/ 92868 h 221605"/>
              <a:gd name="connsiteX5" fmla="*/ 0 w 336014"/>
              <a:gd name="connsiteY5" fmla="*/ 221456 h 221605"/>
              <a:gd name="connsiteX0" fmla="*/ 335756 w 336014"/>
              <a:gd name="connsiteY0" fmla="*/ 0 h 221605"/>
              <a:gd name="connsiteX1" fmla="*/ 283369 w 336014"/>
              <a:gd name="connsiteY1" fmla="*/ 166687 h 221605"/>
              <a:gd name="connsiteX2" fmla="*/ 226219 w 336014"/>
              <a:gd name="connsiteY2" fmla="*/ 88106 h 221605"/>
              <a:gd name="connsiteX3" fmla="*/ 166688 w 336014"/>
              <a:gd name="connsiteY3" fmla="*/ 16668 h 221605"/>
              <a:gd name="connsiteX4" fmla="*/ 107157 w 336014"/>
              <a:gd name="connsiteY4" fmla="*/ 92868 h 221605"/>
              <a:gd name="connsiteX5" fmla="*/ 0 w 336014"/>
              <a:gd name="connsiteY5" fmla="*/ 221456 h 221605"/>
              <a:gd name="connsiteX0" fmla="*/ 335756 w 336014"/>
              <a:gd name="connsiteY0" fmla="*/ 0 h 221605"/>
              <a:gd name="connsiteX1" fmla="*/ 283369 w 336014"/>
              <a:gd name="connsiteY1" fmla="*/ 166687 h 221605"/>
              <a:gd name="connsiteX2" fmla="*/ 226219 w 336014"/>
              <a:gd name="connsiteY2" fmla="*/ 88106 h 221605"/>
              <a:gd name="connsiteX3" fmla="*/ 166688 w 336014"/>
              <a:gd name="connsiteY3" fmla="*/ 16668 h 221605"/>
              <a:gd name="connsiteX4" fmla="*/ 107157 w 336014"/>
              <a:gd name="connsiteY4" fmla="*/ 92868 h 221605"/>
              <a:gd name="connsiteX5" fmla="*/ 0 w 336014"/>
              <a:gd name="connsiteY5" fmla="*/ 221456 h 221605"/>
              <a:gd name="connsiteX0" fmla="*/ 335756 w 336014"/>
              <a:gd name="connsiteY0" fmla="*/ 0 h 221605"/>
              <a:gd name="connsiteX1" fmla="*/ 283369 w 336014"/>
              <a:gd name="connsiteY1" fmla="*/ 166687 h 221605"/>
              <a:gd name="connsiteX2" fmla="*/ 226219 w 336014"/>
              <a:gd name="connsiteY2" fmla="*/ 88106 h 221605"/>
              <a:gd name="connsiteX3" fmla="*/ 166688 w 336014"/>
              <a:gd name="connsiteY3" fmla="*/ 16668 h 221605"/>
              <a:gd name="connsiteX4" fmla="*/ 107157 w 336014"/>
              <a:gd name="connsiteY4" fmla="*/ 92868 h 221605"/>
              <a:gd name="connsiteX5" fmla="*/ 0 w 336014"/>
              <a:gd name="connsiteY5" fmla="*/ 221456 h 221605"/>
              <a:gd name="connsiteX0" fmla="*/ 335756 w 336014"/>
              <a:gd name="connsiteY0" fmla="*/ 0 h 221605"/>
              <a:gd name="connsiteX1" fmla="*/ 283369 w 336014"/>
              <a:gd name="connsiteY1" fmla="*/ 166687 h 221605"/>
              <a:gd name="connsiteX2" fmla="*/ 226219 w 336014"/>
              <a:gd name="connsiteY2" fmla="*/ 88106 h 221605"/>
              <a:gd name="connsiteX3" fmla="*/ 166688 w 336014"/>
              <a:gd name="connsiteY3" fmla="*/ 16668 h 221605"/>
              <a:gd name="connsiteX4" fmla="*/ 107157 w 336014"/>
              <a:gd name="connsiteY4" fmla="*/ 92868 h 221605"/>
              <a:gd name="connsiteX5" fmla="*/ 0 w 336014"/>
              <a:gd name="connsiteY5" fmla="*/ 221456 h 221605"/>
              <a:gd name="connsiteX0" fmla="*/ 335756 w 336014"/>
              <a:gd name="connsiteY0" fmla="*/ 0 h 221605"/>
              <a:gd name="connsiteX1" fmla="*/ 283369 w 336014"/>
              <a:gd name="connsiteY1" fmla="*/ 166687 h 221605"/>
              <a:gd name="connsiteX2" fmla="*/ 226219 w 336014"/>
              <a:gd name="connsiteY2" fmla="*/ 88106 h 221605"/>
              <a:gd name="connsiteX3" fmla="*/ 166688 w 336014"/>
              <a:gd name="connsiteY3" fmla="*/ 16668 h 221605"/>
              <a:gd name="connsiteX4" fmla="*/ 107157 w 336014"/>
              <a:gd name="connsiteY4" fmla="*/ 92868 h 221605"/>
              <a:gd name="connsiteX5" fmla="*/ 0 w 336014"/>
              <a:gd name="connsiteY5" fmla="*/ 221456 h 221605"/>
              <a:gd name="connsiteX0" fmla="*/ 335756 w 336014"/>
              <a:gd name="connsiteY0" fmla="*/ 0 h 221605"/>
              <a:gd name="connsiteX1" fmla="*/ 283369 w 336014"/>
              <a:gd name="connsiteY1" fmla="*/ 166687 h 221605"/>
              <a:gd name="connsiteX2" fmla="*/ 226219 w 336014"/>
              <a:gd name="connsiteY2" fmla="*/ 88106 h 221605"/>
              <a:gd name="connsiteX3" fmla="*/ 166688 w 336014"/>
              <a:gd name="connsiteY3" fmla="*/ 16668 h 221605"/>
              <a:gd name="connsiteX4" fmla="*/ 107157 w 336014"/>
              <a:gd name="connsiteY4" fmla="*/ 92868 h 221605"/>
              <a:gd name="connsiteX5" fmla="*/ 0 w 336014"/>
              <a:gd name="connsiteY5" fmla="*/ 221456 h 221605"/>
              <a:gd name="connsiteX0" fmla="*/ 335756 w 336014"/>
              <a:gd name="connsiteY0" fmla="*/ 0 h 221605"/>
              <a:gd name="connsiteX1" fmla="*/ 283369 w 336014"/>
              <a:gd name="connsiteY1" fmla="*/ 166687 h 221605"/>
              <a:gd name="connsiteX2" fmla="*/ 226219 w 336014"/>
              <a:gd name="connsiteY2" fmla="*/ 88106 h 221605"/>
              <a:gd name="connsiteX3" fmla="*/ 166688 w 336014"/>
              <a:gd name="connsiteY3" fmla="*/ 16668 h 221605"/>
              <a:gd name="connsiteX4" fmla="*/ 107157 w 336014"/>
              <a:gd name="connsiteY4" fmla="*/ 92868 h 221605"/>
              <a:gd name="connsiteX5" fmla="*/ 0 w 336014"/>
              <a:gd name="connsiteY5" fmla="*/ 221456 h 221605"/>
              <a:gd name="connsiteX0" fmla="*/ 335756 w 336186"/>
              <a:gd name="connsiteY0" fmla="*/ 0 h 221605"/>
              <a:gd name="connsiteX1" fmla="*/ 283369 w 336186"/>
              <a:gd name="connsiteY1" fmla="*/ 166687 h 221605"/>
              <a:gd name="connsiteX2" fmla="*/ 226219 w 336186"/>
              <a:gd name="connsiteY2" fmla="*/ 88106 h 221605"/>
              <a:gd name="connsiteX3" fmla="*/ 166688 w 336186"/>
              <a:gd name="connsiteY3" fmla="*/ 16668 h 221605"/>
              <a:gd name="connsiteX4" fmla="*/ 107157 w 336186"/>
              <a:gd name="connsiteY4" fmla="*/ 92868 h 221605"/>
              <a:gd name="connsiteX5" fmla="*/ 0 w 336186"/>
              <a:gd name="connsiteY5" fmla="*/ 221456 h 221605"/>
              <a:gd name="connsiteX0" fmla="*/ 335756 w 336186"/>
              <a:gd name="connsiteY0" fmla="*/ 0 h 221617"/>
              <a:gd name="connsiteX1" fmla="*/ 283369 w 336186"/>
              <a:gd name="connsiteY1" fmla="*/ 166687 h 221617"/>
              <a:gd name="connsiteX2" fmla="*/ 226219 w 336186"/>
              <a:gd name="connsiteY2" fmla="*/ 88106 h 221617"/>
              <a:gd name="connsiteX3" fmla="*/ 166688 w 336186"/>
              <a:gd name="connsiteY3" fmla="*/ 16668 h 221617"/>
              <a:gd name="connsiteX4" fmla="*/ 107157 w 336186"/>
              <a:gd name="connsiteY4" fmla="*/ 92868 h 221617"/>
              <a:gd name="connsiteX5" fmla="*/ 0 w 336186"/>
              <a:gd name="connsiteY5" fmla="*/ 221456 h 221617"/>
              <a:gd name="connsiteX0" fmla="*/ 335756 w 336186"/>
              <a:gd name="connsiteY0" fmla="*/ 0 h 221514"/>
              <a:gd name="connsiteX1" fmla="*/ 283369 w 336186"/>
              <a:gd name="connsiteY1" fmla="*/ 166687 h 221514"/>
              <a:gd name="connsiteX2" fmla="*/ 226219 w 336186"/>
              <a:gd name="connsiteY2" fmla="*/ 88106 h 221514"/>
              <a:gd name="connsiteX3" fmla="*/ 166688 w 336186"/>
              <a:gd name="connsiteY3" fmla="*/ 16668 h 221514"/>
              <a:gd name="connsiteX4" fmla="*/ 107157 w 336186"/>
              <a:gd name="connsiteY4" fmla="*/ 92868 h 221514"/>
              <a:gd name="connsiteX5" fmla="*/ 0 w 336186"/>
              <a:gd name="connsiteY5" fmla="*/ 221456 h 221514"/>
              <a:gd name="connsiteX0" fmla="*/ 335756 w 336186"/>
              <a:gd name="connsiteY0" fmla="*/ 0 h 221456"/>
              <a:gd name="connsiteX1" fmla="*/ 283369 w 336186"/>
              <a:gd name="connsiteY1" fmla="*/ 166687 h 221456"/>
              <a:gd name="connsiteX2" fmla="*/ 226219 w 336186"/>
              <a:gd name="connsiteY2" fmla="*/ 88106 h 221456"/>
              <a:gd name="connsiteX3" fmla="*/ 166688 w 336186"/>
              <a:gd name="connsiteY3" fmla="*/ 16668 h 221456"/>
              <a:gd name="connsiteX4" fmla="*/ 107157 w 336186"/>
              <a:gd name="connsiteY4" fmla="*/ 92868 h 221456"/>
              <a:gd name="connsiteX5" fmla="*/ 0 w 336186"/>
              <a:gd name="connsiteY5" fmla="*/ 221456 h 2214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6186" h="221456">
                <a:moveTo>
                  <a:pt x="335756" y="0"/>
                </a:moveTo>
                <a:cubicBezTo>
                  <a:pt x="337344" y="112712"/>
                  <a:pt x="337344" y="163910"/>
                  <a:pt x="283369" y="166687"/>
                </a:cubicBezTo>
                <a:cubicBezTo>
                  <a:pt x="229394" y="169464"/>
                  <a:pt x="226616" y="127396"/>
                  <a:pt x="226219" y="88106"/>
                </a:cubicBezTo>
                <a:cubicBezTo>
                  <a:pt x="225822" y="44053"/>
                  <a:pt x="207963" y="15874"/>
                  <a:pt x="166688" y="16668"/>
                </a:cubicBezTo>
                <a:cubicBezTo>
                  <a:pt x="125413" y="17462"/>
                  <a:pt x="108745" y="44449"/>
                  <a:pt x="107157" y="92868"/>
                </a:cubicBezTo>
                <a:cubicBezTo>
                  <a:pt x="103188" y="153193"/>
                  <a:pt x="111919" y="214313"/>
                  <a:pt x="0" y="221456"/>
                </a:cubicBezTo>
              </a:path>
            </a:pathLst>
          </a:custGeom>
          <a:noFill/>
          <a:ln w="12700" cap="rnd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28" name="Straight Connector 227">
            <a:extLst>
              <a:ext uri="{FF2B5EF4-FFF2-40B4-BE49-F238E27FC236}">
                <a16:creationId xmlns:a16="http://schemas.microsoft.com/office/drawing/2014/main" id="{7999129C-C59C-2C9E-4227-68C77901DBC7}"/>
              </a:ext>
            </a:extLst>
          </p:cNvPr>
          <p:cNvCxnSpPr>
            <a:cxnSpLocks/>
          </p:cNvCxnSpPr>
          <p:nvPr/>
        </p:nvCxnSpPr>
        <p:spPr>
          <a:xfrm>
            <a:off x="2135556" y="5201675"/>
            <a:ext cx="188892" cy="0"/>
          </a:xfrm>
          <a:prstGeom prst="line">
            <a:avLst/>
          </a:prstGeom>
          <a:ln w="12700" cap="rnd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1" name="Freeform: Shape 614">
            <a:extLst>
              <a:ext uri="{FF2B5EF4-FFF2-40B4-BE49-F238E27FC236}">
                <a16:creationId xmlns:a16="http://schemas.microsoft.com/office/drawing/2014/main" id="{E4CBA685-CB77-1BC1-187B-A464DC3D0AB4}"/>
              </a:ext>
            </a:extLst>
          </p:cNvPr>
          <p:cNvSpPr/>
          <p:nvPr/>
        </p:nvSpPr>
        <p:spPr>
          <a:xfrm>
            <a:off x="2138162" y="3296958"/>
            <a:ext cx="185789" cy="91919"/>
          </a:xfrm>
          <a:custGeom>
            <a:avLst/>
            <a:gdLst>
              <a:gd name="connsiteX0" fmla="*/ 0 w 250134"/>
              <a:gd name="connsiteY0" fmla="*/ 0 h 121721"/>
              <a:gd name="connsiteX1" fmla="*/ 250134 w 250134"/>
              <a:gd name="connsiteY1" fmla="*/ 0 h 121721"/>
              <a:gd name="connsiteX2" fmla="*/ 250134 w 250134"/>
              <a:gd name="connsiteY2" fmla="*/ 34552 h 121721"/>
              <a:gd name="connsiteX3" fmla="*/ 162965 w 250134"/>
              <a:gd name="connsiteY3" fmla="*/ 121721 h 121721"/>
              <a:gd name="connsiteX4" fmla="*/ 87169 w 250134"/>
              <a:gd name="connsiteY4" fmla="*/ 121721 h 121721"/>
              <a:gd name="connsiteX5" fmla="*/ 0 w 250134"/>
              <a:gd name="connsiteY5" fmla="*/ 34552 h 1217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0134" h="121721">
                <a:moveTo>
                  <a:pt x="0" y="0"/>
                </a:moveTo>
                <a:lnTo>
                  <a:pt x="250134" y="0"/>
                </a:lnTo>
                <a:lnTo>
                  <a:pt x="250134" y="34552"/>
                </a:lnTo>
                <a:cubicBezTo>
                  <a:pt x="250134" y="82694"/>
                  <a:pt x="211107" y="121721"/>
                  <a:pt x="162965" y="121721"/>
                </a:cubicBezTo>
                <a:lnTo>
                  <a:pt x="87169" y="121721"/>
                </a:lnTo>
                <a:cubicBezTo>
                  <a:pt x="39027" y="121721"/>
                  <a:pt x="0" y="82694"/>
                  <a:pt x="0" y="34552"/>
                </a:cubicBezTo>
                <a:close/>
              </a:path>
            </a:pathLst>
          </a:custGeom>
          <a:solidFill>
            <a:schemeClr val="bg1"/>
          </a:solidFill>
          <a:ln w="12700" cap="rnd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8" name="Ellipse 148">
            <a:extLst>
              <a:ext uri="{FF2B5EF4-FFF2-40B4-BE49-F238E27FC236}">
                <a16:creationId xmlns:a16="http://schemas.microsoft.com/office/drawing/2014/main" id="{825A86F9-89B3-781D-E60A-225A36F359E3}"/>
              </a:ext>
            </a:extLst>
          </p:cNvPr>
          <p:cNvSpPr/>
          <p:nvPr/>
        </p:nvSpPr>
        <p:spPr bwMode="auto">
          <a:xfrm rot="7785844">
            <a:off x="2463759" y="3548669"/>
            <a:ext cx="146032" cy="146033"/>
          </a:xfrm>
          <a:prstGeom prst="ellipse">
            <a:avLst/>
          </a:prstGeom>
          <a:noFill/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5pPr>
            <a:lvl6pPr marL="2286000" algn="l" defTabSz="457200" rtl="0" eaLnBrk="1" latinLnBrk="0" hangingPunct="1"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6pPr>
            <a:lvl7pPr marL="2743200" algn="l" defTabSz="457200" rtl="0" eaLnBrk="1" latinLnBrk="0" hangingPunct="1"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7pPr>
            <a:lvl8pPr marL="3200400" algn="l" defTabSz="457200" rtl="0" eaLnBrk="1" latinLnBrk="0" hangingPunct="1"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8pPr>
            <a:lvl9pPr marL="3657600" algn="l" defTabSz="457200" rtl="0" eaLnBrk="1" latinLnBrk="0" hangingPunct="1"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EC8A00"/>
              </a:solidFill>
              <a:effectLst/>
              <a:uLnTx/>
              <a:uFillTx/>
              <a:latin typeface="Aptos" panose="02110004020202020204"/>
              <a:ea typeface="ＭＳ Ｐゴシック" charset="0"/>
            </a:endParaRPr>
          </a:p>
        </p:txBody>
      </p:sp>
      <p:sp>
        <p:nvSpPr>
          <p:cNvPr id="219" name="Freeform: Shape 157">
            <a:extLst>
              <a:ext uri="{FF2B5EF4-FFF2-40B4-BE49-F238E27FC236}">
                <a16:creationId xmlns:a16="http://schemas.microsoft.com/office/drawing/2014/main" id="{9D5FF4B8-C731-F70B-D922-EF90B379E1D1}"/>
              </a:ext>
            </a:extLst>
          </p:cNvPr>
          <p:cNvSpPr/>
          <p:nvPr/>
        </p:nvSpPr>
        <p:spPr bwMode="auto">
          <a:xfrm rot="7785844">
            <a:off x="2435567" y="3561952"/>
            <a:ext cx="145749" cy="72315"/>
          </a:xfrm>
          <a:custGeom>
            <a:avLst/>
            <a:gdLst>
              <a:gd name="connsiteX0" fmla="*/ 0 w 183556"/>
              <a:gd name="connsiteY0" fmla="*/ 0 h 91073"/>
              <a:gd name="connsiteX1" fmla="*/ 183556 w 183556"/>
              <a:gd name="connsiteY1" fmla="*/ 0 h 91073"/>
              <a:gd name="connsiteX2" fmla="*/ 176508 w 183556"/>
              <a:gd name="connsiteY2" fmla="*/ 34911 h 91073"/>
              <a:gd name="connsiteX3" fmla="*/ 91778 w 183556"/>
              <a:gd name="connsiteY3" fmla="*/ 91073 h 91073"/>
              <a:gd name="connsiteX4" fmla="*/ 7048 w 183556"/>
              <a:gd name="connsiteY4" fmla="*/ 34911 h 910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3556" h="91073">
                <a:moveTo>
                  <a:pt x="0" y="0"/>
                </a:moveTo>
                <a:lnTo>
                  <a:pt x="183556" y="0"/>
                </a:lnTo>
                <a:lnTo>
                  <a:pt x="176508" y="34911"/>
                </a:lnTo>
                <a:cubicBezTo>
                  <a:pt x="162548" y="67915"/>
                  <a:pt x="129868" y="91073"/>
                  <a:pt x="91778" y="91073"/>
                </a:cubicBezTo>
                <a:cubicBezTo>
                  <a:pt x="53689" y="91073"/>
                  <a:pt x="21008" y="67915"/>
                  <a:pt x="7048" y="34911"/>
                </a:cubicBezTo>
                <a:close/>
              </a:path>
            </a:pathLst>
          </a:custGeom>
          <a:noFill/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5pPr>
            <a:lvl6pPr marL="2286000" algn="l" defTabSz="457200" rtl="0" eaLnBrk="1" latinLnBrk="0" hangingPunct="1"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6pPr>
            <a:lvl7pPr marL="2743200" algn="l" defTabSz="457200" rtl="0" eaLnBrk="1" latinLnBrk="0" hangingPunct="1"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7pPr>
            <a:lvl8pPr marL="3200400" algn="l" defTabSz="457200" rtl="0" eaLnBrk="1" latinLnBrk="0" hangingPunct="1"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8pPr>
            <a:lvl9pPr marL="3657600" algn="l" defTabSz="457200" rtl="0" eaLnBrk="1" latinLnBrk="0" hangingPunct="1"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EC8A00"/>
              </a:solidFill>
              <a:effectLst/>
              <a:uLnTx/>
              <a:uFillTx/>
              <a:latin typeface="Aptos" panose="02110004020202020204"/>
              <a:ea typeface="ＭＳ Ｐゴシック" charset="0"/>
            </a:endParaRPr>
          </a:p>
        </p:txBody>
      </p:sp>
      <p:sp>
        <p:nvSpPr>
          <p:cNvPr id="216" name="Rectangle: Rounded Corners 14">
            <a:extLst>
              <a:ext uri="{FF2B5EF4-FFF2-40B4-BE49-F238E27FC236}">
                <a16:creationId xmlns:a16="http://schemas.microsoft.com/office/drawing/2014/main" id="{C30DE161-EEBE-4238-EFCC-EF7D0046452E}"/>
              </a:ext>
            </a:extLst>
          </p:cNvPr>
          <p:cNvSpPr>
            <a:spLocks noChangeAspect="1"/>
          </p:cNvSpPr>
          <p:nvPr/>
        </p:nvSpPr>
        <p:spPr bwMode="auto">
          <a:xfrm rot="18642604">
            <a:off x="1622723" y="3160135"/>
            <a:ext cx="252299" cy="102696"/>
          </a:xfrm>
          <a:prstGeom prst="roundRect">
            <a:avLst>
              <a:gd name="adj" fmla="val 50000"/>
            </a:avLst>
          </a:prstGeom>
          <a:noFill/>
          <a:ln w="12700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7" name="Freeform: Shape 153">
            <a:extLst>
              <a:ext uri="{FF2B5EF4-FFF2-40B4-BE49-F238E27FC236}">
                <a16:creationId xmlns:a16="http://schemas.microsoft.com/office/drawing/2014/main" id="{C1508A51-6DF9-22A6-5AE0-8EFE2115A2CA}"/>
              </a:ext>
            </a:extLst>
          </p:cNvPr>
          <p:cNvSpPr>
            <a:spLocks noChangeAspect="1"/>
          </p:cNvSpPr>
          <p:nvPr/>
        </p:nvSpPr>
        <p:spPr bwMode="auto">
          <a:xfrm rot="18642604">
            <a:off x="1726196" y="3112664"/>
            <a:ext cx="127048" cy="102696"/>
          </a:xfrm>
          <a:custGeom>
            <a:avLst/>
            <a:gdLst>
              <a:gd name="connsiteX0" fmla="*/ 128586 w 128586"/>
              <a:gd name="connsiteY0" fmla="*/ 51970 h 103940"/>
              <a:gd name="connsiteX1" fmla="*/ 76616 w 128586"/>
              <a:gd name="connsiteY1" fmla="*/ 103940 h 103940"/>
              <a:gd name="connsiteX2" fmla="*/ 0 w 128586"/>
              <a:gd name="connsiteY2" fmla="*/ 103940 h 103940"/>
              <a:gd name="connsiteX3" fmla="*/ 0 w 128586"/>
              <a:gd name="connsiteY3" fmla="*/ 0 h 103940"/>
              <a:gd name="connsiteX4" fmla="*/ 76616 w 128586"/>
              <a:gd name="connsiteY4" fmla="*/ 0 h 103940"/>
              <a:gd name="connsiteX5" fmla="*/ 128586 w 128586"/>
              <a:gd name="connsiteY5" fmla="*/ 51970 h 103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8586" h="103940">
                <a:moveTo>
                  <a:pt x="128586" y="51970"/>
                </a:moveTo>
                <a:cubicBezTo>
                  <a:pt x="128586" y="80672"/>
                  <a:pt x="105318" y="103940"/>
                  <a:pt x="76616" y="103940"/>
                </a:cubicBezTo>
                <a:lnTo>
                  <a:pt x="0" y="103940"/>
                </a:lnTo>
                <a:lnTo>
                  <a:pt x="0" y="0"/>
                </a:lnTo>
                <a:lnTo>
                  <a:pt x="76616" y="0"/>
                </a:lnTo>
                <a:cubicBezTo>
                  <a:pt x="105318" y="0"/>
                  <a:pt x="128586" y="23268"/>
                  <a:pt x="128586" y="51970"/>
                </a:cubicBezTo>
                <a:close/>
              </a:path>
            </a:pathLst>
          </a:custGeom>
          <a:solidFill>
            <a:schemeClr val="bg1"/>
          </a:solidFill>
          <a:ln w="12700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4" name="Rectangle: Rounded Corners 213">
            <a:extLst>
              <a:ext uri="{FF2B5EF4-FFF2-40B4-BE49-F238E27FC236}">
                <a16:creationId xmlns:a16="http://schemas.microsoft.com/office/drawing/2014/main" id="{D4830578-32CC-3F6E-8C83-C7C38B698C7C}"/>
              </a:ext>
            </a:extLst>
          </p:cNvPr>
          <p:cNvSpPr/>
          <p:nvPr/>
        </p:nvSpPr>
        <p:spPr>
          <a:xfrm rot="983023">
            <a:off x="3623429" y="3096462"/>
            <a:ext cx="61481" cy="174274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2700">
            <a:solidFill>
              <a:schemeClr val="accent2"/>
            </a:solidFill>
          </a:ln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5" name="Freeform: Shape 340">
            <a:extLst>
              <a:ext uri="{FF2B5EF4-FFF2-40B4-BE49-F238E27FC236}">
                <a16:creationId xmlns:a16="http://schemas.microsoft.com/office/drawing/2014/main" id="{F039ACE8-05CC-1304-1599-5CD9FED71A31}"/>
              </a:ext>
            </a:extLst>
          </p:cNvPr>
          <p:cNvSpPr/>
          <p:nvPr/>
        </p:nvSpPr>
        <p:spPr>
          <a:xfrm rot="999237">
            <a:off x="3512980" y="3068784"/>
            <a:ext cx="251180" cy="421877"/>
          </a:xfrm>
          <a:custGeom>
            <a:avLst/>
            <a:gdLst>
              <a:gd name="connsiteX0" fmla="*/ 61376 w 1712259"/>
              <a:gd name="connsiteY0" fmla="*/ 61376 h 2875858"/>
              <a:gd name="connsiteX1" fmla="*/ 209550 w 1712259"/>
              <a:gd name="connsiteY1" fmla="*/ 0 h 2875858"/>
              <a:gd name="connsiteX2" fmla="*/ 419100 w 1712259"/>
              <a:gd name="connsiteY2" fmla="*/ 209550 h 2875858"/>
              <a:gd name="connsiteX3" fmla="*/ 419100 w 1712259"/>
              <a:gd name="connsiteY3" fmla="*/ 1286350 h 2875858"/>
              <a:gd name="connsiteX4" fmla="*/ 1650884 w 1712259"/>
              <a:gd name="connsiteY4" fmla="*/ 2518134 h 2875858"/>
              <a:gd name="connsiteX5" fmla="*/ 1650884 w 1712259"/>
              <a:gd name="connsiteY5" fmla="*/ 2814482 h 2875858"/>
              <a:gd name="connsiteX6" fmla="*/ 1354535 w 1712259"/>
              <a:gd name="connsiteY6" fmla="*/ 2814482 h 2875858"/>
              <a:gd name="connsiteX7" fmla="*/ 68814 w 1712259"/>
              <a:gd name="connsiteY7" fmla="*/ 1528761 h 2875858"/>
              <a:gd name="connsiteX8" fmla="*/ 61376 w 1712259"/>
              <a:gd name="connsiteY8" fmla="*/ 1522624 h 2875858"/>
              <a:gd name="connsiteX9" fmla="*/ 0 w 1712259"/>
              <a:gd name="connsiteY9" fmla="*/ 1374450 h 2875858"/>
              <a:gd name="connsiteX10" fmla="*/ 0 w 1712259"/>
              <a:gd name="connsiteY10" fmla="*/ 209550 h 2875858"/>
              <a:gd name="connsiteX11" fmla="*/ 61376 w 1712259"/>
              <a:gd name="connsiteY11" fmla="*/ 61376 h 2875858"/>
              <a:gd name="connsiteX0" fmla="*/ 61376 w 1712259"/>
              <a:gd name="connsiteY0" fmla="*/ 61376 h 2875858"/>
              <a:gd name="connsiteX1" fmla="*/ 209550 w 1712259"/>
              <a:gd name="connsiteY1" fmla="*/ 0 h 2875858"/>
              <a:gd name="connsiteX2" fmla="*/ 419100 w 1712259"/>
              <a:gd name="connsiteY2" fmla="*/ 209550 h 2875858"/>
              <a:gd name="connsiteX3" fmla="*/ 419100 w 1712259"/>
              <a:gd name="connsiteY3" fmla="*/ 1286350 h 2875858"/>
              <a:gd name="connsiteX4" fmla="*/ 1650884 w 1712259"/>
              <a:gd name="connsiteY4" fmla="*/ 2518134 h 2875858"/>
              <a:gd name="connsiteX5" fmla="*/ 1650884 w 1712259"/>
              <a:gd name="connsiteY5" fmla="*/ 2814482 h 2875858"/>
              <a:gd name="connsiteX6" fmla="*/ 1354535 w 1712259"/>
              <a:gd name="connsiteY6" fmla="*/ 2814482 h 2875858"/>
              <a:gd name="connsiteX7" fmla="*/ 68814 w 1712259"/>
              <a:gd name="connsiteY7" fmla="*/ 1528761 h 2875858"/>
              <a:gd name="connsiteX8" fmla="*/ 0 w 1712259"/>
              <a:gd name="connsiteY8" fmla="*/ 1374450 h 2875858"/>
              <a:gd name="connsiteX9" fmla="*/ 0 w 1712259"/>
              <a:gd name="connsiteY9" fmla="*/ 209550 h 2875858"/>
              <a:gd name="connsiteX10" fmla="*/ 61376 w 1712259"/>
              <a:gd name="connsiteY10" fmla="*/ 61376 h 2875858"/>
              <a:gd name="connsiteX0" fmla="*/ 61376 w 1712259"/>
              <a:gd name="connsiteY0" fmla="*/ 61376 h 2875858"/>
              <a:gd name="connsiteX1" fmla="*/ 209550 w 1712259"/>
              <a:gd name="connsiteY1" fmla="*/ 0 h 2875858"/>
              <a:gd name="connsiteX2" fmla="*/ 419100 w 1712259"/>
              <a:gd name="connsiteY2" fmla="*/ 209550 h 2875858"/>
              <a:gd name="connsiteX3" fmla="*/ 419100 w 1712259"/>
              <a:gd name="connsiteY3" fmla="*/ 1286350 h 2875858"/>
              <a:gd name="connsiteX4" fmla="*/ 1650884 w 1712259"/>
              <a:gd name="connsiteY4" fmla="*/ 2518134 h 2875858"/>
              <a:gd name="connsiteX5" fmla="*/ 1650884 w 1712259"/>
              <a:gd name="connsiteY5" fmla="*/ 2814482 h 2875858"/>
              <a:gd name="connsiteX6" fmla="*/ 1354535 w 1712259"/>
              <a:gd name="connsiteY6" fmla="*/ 2814482 h 2875858"/>
              <a:gd name="connsiteX7" fmla="*/ 16616 w 1712259"/>
              <a:gd name="connsiteY7" fmla="*/ 1476564 h 2875858"/>
              <a:gd name="connsiteX8" fmla="*/ 0 w 1712259"/>
              <a:gd name="connsiteY8" fmla="*/ 1374450 h 2875858"/>
              <a:gd name="connsiteX9" fmla="*/ 0 w 1712259"/>
              <a:gd name="connsiteY9" fmla="*/ 209550 h 2875858"/>
              <a:gd name="connsiteX10" fmla="*/ 61376 w 1712259"/>
              <a:gd name="connsiteY10" fmla="*/ 61376 h 2875858"/>
              <a:gd name="connsiteX0" fmla="*/ 61376 w 1712259"/>
              <a:gd name="connsiteY0" fmla="*/ 61376 h 2875858"/>
              <a:gd name="connsiteX1" fmla="*/ 209550 w 1712259"/>
              <a:gd name="connsiteY1" fmla="*/ 0 h 2875858"/>
              <a:gd name="connsiteX2" fmla="*/ 419100 w 1712259"/>
              <a:gd name="connsiteY2" fmla="*/ 209550 h 2875858"/>
              <a:gd name="connsiteX3" fmla="*/ 419100 w 1712259"/>
              <a:gd name="connsiteY3" fmla="*/ 1286350 h 2875858"/>
              <a:gd name="connsiteX4" fmla="*/ 1650884 w 1712259"/>
              <a:gd name="connsiteY4" fmla="*/ 2518134 h 2875858"/>
              <a:gd name="connsiteX5" fmla="*/ 1650884 w 1712259"/>
              <a:gd name="connsiteY5" fmla="*/ 2814482 h 2875858"/>
              <a:gd name="connsiteX6" fmla="*/ 1354535 w 1712259"/>
              <a:gd name="connsiteY6" fmla="*/ 2814482 h 2875858"/>
              <a:gd name="connsiteX7" fmla="*/ 3146 w 1712259"/>
              <a:gd name="connsiteY7" fmla="*/ 1463094 h 2875858"/>
              <a:gd name="connsiteX8" fmla="*/ 0 w 1712259"/>
              <a:gd name="connsiteY8" fmla="*/ 1374450 h 2875858"/>
              <a:gd name="connsiteX9" fmla="*/ 0 w 1712259"/>
              <a:gd name="connsiteY9" fmla="*/ 209550 h 2875858"/>
              <a:gd name="connsiteX10" fmla="*/ 61376 w 1712259"/>
              <a:gd name="connsiteY10" fmla="*/ 61376 h 2875858"/>
              <a:gd name="connsiteX0" fmla="*/ 61376 w 1712259"/>
              <a:gd name="connsiteY0" fmla="*/ 61376 h 2875858"/>
              <a:gd name="connsiteX1" fmla="*/ 209550 w 1712259"/>
              <a:gd name="connsiteY1" fmla="*/ 0 h 2875858"/>
              <a:gd name="connsiteX2" fmla="*/ 419100 w 1712259"/>
              <a:gd name="connsiteY2" fmla="*/ 209550 h 2875858"/>
              <a:gd name="connsiteX3" fmla="*/ 419100 w 1712259"/>
              <a:gd name="connsiteY3" fmla="*/ 1286350 h 2875858"/>
              <a:gd name="connsiteX4" fmla="*/ 1650884 w 1712259"/>
              <a:gd name="connsiteY4" fmla="*/ 2518134 h 2875858"/>
              <a:gd name="connsiteX5" fmla="*/ 1650884 w 1712259"/>
              <a:gd name="connsiteY5" fmla="*/ 2814482 h 2875858"/>
              <a:gd name="connsiteX6" fmla="*/ 1354535 w 1712259"/>
              <a:gd name="connsiteY6" fmla="*/ 2814482 h 2875858"/>
              <a:gd name="connsiteX7" fmla="*/ 3146 w 1712259"/>
              <a:gd name="connsiteY7" fmla="*/ 1463094 h 2875858"/>
              <a:gd name="connsiteX8" fmla="*/ 0 w 1712259"/>
              <a:gd name="connsiteY8" fmla="*/ 209550 h 2875858"/>
              <a:gd name="connsiteX9" fmla="*/ 61376 w 1712259"/>
              <a:gd name="connsiteY9" fmla="*/ 61376 h 28758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712259" h="2875858">
                <a:moveTo>
                  <a:pt x="61376" y="61376"/>
                </a:moveTo>
                <a:cubicBezTo>
                  <a:pt x="99297" y="23455"/>
                  <a:pt x="151685" y="0"/>
                  <a:pt x="209550" y="0"/>
                </a:cubicBezTo>
                <a:cubicBezTo>
                  <a:pt x="325281" y="0"/>
                  <a:pt x="419100" y="93819"/>
                  <a:pt x="419100" y="209550"/>
                </a:cubicBezTo>
                <a:lnTo>
                  <a:pt x="419100" y="1286350"/>
                </a:lnTo>
                <a:lnTo>
                  <a:pt x="1650884" y="2518134"/>
                </a:lnTo>
                <a:cubicBezTo>
                  <a:pt x="1732718" y="2599968"/>
                  <a:pt x="1732718" y="2732648"/>
                  <a:pt x="1650884" y="2814482"/>
                </a:cubicBezTo>
                <a:cubicBezTo>
                  <a:pt x="1569050" y="2896317"/>
                  <a:pt x="1436370" y="2896317"/>
                  <a:pt x="1354535" y="2814482"/>
                </a:cubicBezTo>
                <a:lnTo>
                  <a:pt x="3146" y="1463094"/>
                </a:lnTo>
                <a:cubicBezTo>
                  <a:pt x="2097" y="1045246"/>
                  <a:pt x="1049" y="627398"/>
                  <a:pt x="0" y="209550"/>
                </a:cubicBezTo>
                <a:cubicBezTo>
                  <a:pt x="0" y="151685"/>
                  <a:pt x="23455" y="99297"/>
                  <a:pt x="61376" y="61376"/>
                </a:cubicBezTo>
                <a:close/>
              </a:path>
            </a:pathLst>
          </a:custGeom>
          <a:solidFill>
            <a:schemeClr val="bg1"/>
          </a:solidFill>
          <a:ln w="12700">
            <a:solidFill>
              <a:schemeClr val="accent2"/>
            </a:solidFill>
          </a:ln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2" name="Rectangle: Rounded Corners 211">
            <a:extLst>
              <a:ext uri="{FF2B5EF4-FFF2-40B4-BE49-F238E27FC236}">
                <a16:creationId xmlns:a16="http://schemas.microsoft.com/office/drawing/2014/main" id="{97899DCD-CE67-F1E7-91B7-C40948F732A1}"/>
              </a:ext>
            </a:extLst>
          </p:cNvPr>
          <p:cNvSpPr/>
          <p:nvPr/>
        </p:nvSpPr>
        <p:spPr>
          <a:xfrm rot="17215451" flipH="1">
            <a:off x="3339325" y="3249730"/>
            <a:ext cx="61481" cy="174274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2700">
            <a:solidFill>
              <a:schemeClr val="accent2"/>
            </a:solidFill>
          </a:ln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3" name="Freeform: Shape 338">
            <a:extLst>
              <a:ext uri="{FF2B5EF4-FFF2-40B4-BE49-F238E27FC236}">
                <a16:creationId xmlns:a16="http://schemas.microsoft.com/office/drawing/2014/main" id="{0B5E92F8-5EE1-3078-CDD9-B929A30F5030}"/>
              </a:ext>
            </a:extLst>
          </p:cNvPr>
          <p:cNvSpPr/>
          <p:nvPr/>
        </p:nvSpPr>
        <p:spPr>
          <a:xfrm rot="17199237" flipH="1">
            <a:off x="3333376" y="3165677"/>
            <a:ext cx="251180" cy="421877"/>
          </a:xfrm>
          <a:custGeom>
            <a:avLst/>
            <a:gdLst>
              <a:gd name="connsiteX0" fmla="*/ 61376 w 1712259"/>
              <a:gd name="connsiteY0" fmla="*/ 61376 h 2875858"/>
              <a:gd name="connsiteX1" fmla="*/ 209550 w 1712259"/>
              <a:gd name="connsiteY1" fmla="*/ 0 h 2875858"/>
              <a:gd name="connsiteX2" fmla="*/ 419100 w 1712259"/>
              <a:gd name="connsiteY2" fmla="*/ 209550 h 2875858"/>
              <a:gd name="connsiteX3" fmla="*/ 419100 w 1712259"/>
              <a:gd name="connsiteY3" fmla="*/ 1286350 h 2875858"/>
              <a:gd name="connsiteX4" fmla="*/ 1650884 w 1712259"/>
              <a:gd name="connsiteY4" fmla="*/ 2518134 h 2875858"/>
              <a:gd name="connsiteX5" fmla="*/ 1650884 w 1712259"/>
              <a:gd name="connsiteY5" fmla="*/ 2814482 h 2875858"/>
              <a:gd name="connsiteX6" fmla="*/ 1354535 w 1712259"/>
              <a:gd name="connsiteY6" fmla="*/ 2814482 h 2875858"/>
              <a:gd name="connsiteX7" fmla="*/ 68814 w 1712259"/>
              <a:gd name="connsiteY7" fmla="*/ 1528761 h 2875858"/>
              <a:gd name="connsiteX8" fmla="*/ 61376 w 1712259"/>
              <a:gd name="connsiteY8" fmla="*/ 1522624 h 2875858"/>
              <a:gd name="connsiteX9" fmla="*/ 0 w 1712259"/>
              <a:gd name="connsiteY9" fmla="*/ 1374450 h 2875858"/>
              <a:gd name="connsiteX10" fmla="*/ 0 w 1712259"/>
              <a:gd name="connsiteY10" fmla="*/ 209550 h 2875858"/>
              <a:gd name="connsiteX11" fmla="*/ 61376 w 1712259"/>
              <a:gd name="connsiteY11" fmla="*/ 61376 h 2875858"/>
              <a:gd name="connsiteX0" fmla="*/ 61376 w 1712259"/>
              <a:gd name="connsiteY0" fmla="*/ 61376 h 2875858"/>
              <a:gd name="connsiteX1" fmla="*/ 209550 w 1712259"/>
              <a:gd name="connsiteY1" fmla="*/ 0 h 2875858"/>
              <a:gd name="connsiteX2" fmla="*/ 419100 w 1712259"/>
              <a:gd name="connsiteY2" fmla="*/ 209550 h 2875858"/>
              <a:gd name="connsiteX3" fmla="*/ 419100 w 1712259"/>
              <a:gd name="connsiteY3" fmla="*/ 1286350 h 2875858"/>
              <a:gd name="connsiteX4" fmla="*/ 1650884 w 1712259"/>
              <a:gd name="connsiteY4" fmla="*/ 2518134 h 2875858"/>
              <a:gd name="connsiteX5" fmla="*/ 1650884 w 1712259"/>
              <a:gd name="connsiteY5" fmla="*/ 2814482 h 2875858"/>
              <a:gd name="connsiteX6" fmla="*/ 1354535 w 1712259"/>
              <a:gd name="connsiteY6" fmla="*/ 2814482 h 2875858"/>
              <a:gd name="connsiteX7" fmla="*/ 68814 w 1712259"/>
              <a:gd name="connsiteY7" fmla="*/ 1528761 h 2875858"/>
              <a:gd name="connsiteX8" fmla="*/ 0 w 1712259"/>
              <a:gd name="connsiteY8" fmla="*/ 1374450 h 2875858"/>
              <a:gd name="connsiteX9" fmla="*/ 0 w 1712259"/>
              <a:gd name="connsiteY9" fmla="*/ 209550 h 2875858"/>
              <a:gd name="connsiteX10" fmla="*/ 61376 w 1712259"/>
              <a:gd name="connsiteY10" fmla="*/ 61376 h 2875858"/>
              <a:gd name="connsiteX0" fmla="*/ 61376 w 1712259"/>
              <a:gd name="connsiteY0" fmla="*/ 61376 h 2875858"/>
              <a:gd name="connsiteX1" fmla="*/ 209550 w 1712259"/>
              <a:gd name="connsiteY1" fmla="*/ 0 h 2875858"/>
              <a:gd name="connsiteX2" fmla="*/ 419100 w 1712259"/>
              <a:gd name="connsiteY2" fmla="*/ 209550 h 2875858"/>
              <a:gd name="connsiteX3" fmla="*/ 419100 w 1712259"/>
              <a:gd name="connsiteY3" fmla="*/ 1286350 h 2875858"/>
              <a:gd name="connsiteX4" fmla="*/ 1650884 w 1712259"/>
              <a:gd name="connsiteY4" fmla="*/ 2518134 h 2875858"/>
              <a:gd name="connsiteX5" fmla="*/ 1650884 w 1712259"/>
              <a:gd name="connsiteY5" fmla="*/ 2814482 h 2875858"/>
              <a:gd name="connsiteX6" fmla="*/ 1354535 w 1712259"/>
              <a:gd name="connsiteY6" fmla="*/ 2814482 h 2875858"/>
              <a:gd name="connsiteX7" fmla="*/ 16616 w 1712259"/>
              <a:gd name="connsiteY7" fmla="*/ 1476564 h 2875858"/>
              <a:gd name="connsiteX8" fmla="*/ 0 w 1712259"/>
              <a:gd name="connsiteY8" fmla="*/ 1374450 h 2875858"/>
              <a:gd name="connsiteX9" fmla="*/ 0 w 1712259"/>
              <a:gd name="connsiteY9" fmla="*/ 209550 h 2875858"/>
              <a:gd name="connsiteX10" fmla="*/ 61376 w 1712259"/>
              <a:gd name="connsiteY10" fmla="*/ 61376 h 2875858"/>
              <a:gd name="connsiteX0" fmla="*/ 61376 w 1712259"/>
              <a:gd name="connsiteY0" fmla="*/ 61376 h 2875858"/>
              <a:gd name="connsiteX1" fmla="*/ 209550 w 1712259"/>
              <a:gd name="connsiteY1" fmla="*/ 0 h 2875858"/>
              <a:gd name="connsiteX2" fmla="*/ 419100 w 1712259"/>
              <a:gd name="connsiteY2" fmla="*/ 209550 h 2875858"/>
              <a:gd name="connsiteX3" fmla="*/ 419100 w 1712259"/>
              <a:gd name="connsiteY3" fmla="*/ 1286350 h 2875858"/>
              <a:gd name="connsiteX4" fmla="*/ 1650884 w 1712259"/>
              <a:gd name="connsiteY4" fmla="*/ 2518134 h 2875858"/>
              <a:gd name="connsiteX5" fmla="*/ 1650884 w 1712259"/>
              <a:gd name="connsiteY5" fmla="*/ 2814482 h 2875858"/>
              <a:gd name="connsiteX6" fmla="*/ 1354535 w 1712259"/>
              <a:gd name="connsiteY6" fmla="*/ 2814482 h 2875858"/>
              <a:gd name="connsiteX7" fmla="*/ 3146 w 1712259"/>
              <a:gd name="connsiteY7" fmla="*/ 1463094 h 2875858"/>
              <a:gd name="connsiteX8" fmla="*/ 0 w 1712259"/>
              <a:gd name="connsiteY8" fmla="*/ 1374450 h 2875858"/>
              <a:gd name="connsiteX9" fmla="*/ 0 w 1712259"/>
              <a:gd name="connsiteY9" fmla="*/ 209550 h 2875858"/>
              <a:gd name="connsiteX10" fmla="*/ 61376 w 1712259"/>
              <a:gd name="connsiteY10" fmla="*/ 61376 h 2875858"/>
              <a:gd name="connsiteX0" fmla="*/ 61376 w 1712259"/>
              <a:gd name="connsiteY0" fmla="*/ 61376 h 2875858"/>
              <a:gd name="connsiteX1" fmla="*/ 209550 w 1712259"/>
              <a:gd name="connsiteY1" fmla="*/ 0 h 2875858"/>
              <a:gd name="connsiteX2" fmla="*/ 419100 w 1712259"/>
              <a:gd name="connsiteY2" fmla="*/ 209550 h 2875858"/>
              <a:gd name="connsiteX3" fmla="*/ 419100 w 1712259"/>
              <a:gd name="connsiteY3" fmla="*/ 1286350 h 2875858"/>
              <a:gd name="connsiteX4" fmla="*/ 1650884 w 1712259"/>
              <a:gd name="connsiteY4" fmla="*/ 2518134 h 2875858"/>
              <a:gd name="connsiteX5" fmla="*/ 1650884 w 1712259"/>
              <a:gd name="connsiteY5" fmla="*/ 2814482 h 2875858"/>
              <a:gd name="connsiteX6" fmla="*/ 1354535 w 1712259"/>
              <a:gd name="connsiteY6" fmla="*/ 2814482 h 2875858"/>
              <a:gd name="connsiteX7" fmla="*/ 3146 w 1712259"/>
              <a:gd name="connsiteY7" fmla="*/ 1463094 h 2875858"/>
              <a:gd name="connsiteX8" fmla="*/ 0 w 1712259"/>
              <a:gd name="connsiteY8" fmla="*/ 209550 h 2875858"/>
              <a:gd name="connsiteX9" fmla="*/ 61376 w 1712259"/>
              <a:gd name="connsiteY9" fmla="*/ 61376 h 28758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712259" h="2875858">
                <a:moveTo>
                  <a:pt x="61376" y="61376"/>
                </a:moveTo>
                <a:cubicBezTo>
                  <a:pt x="99297" y="23455"/>
                  <a:pt x="151685" y="0"/>
                  <a:pt x="209550" y="0"/>
                </a:cubicBezTo>
                <a:cubicBezTo>
                  <a:pt x="325281" y="0"/>
                  <a:pt x="419100" y="93819"/>
                  <a:pt x="419100" y="209550"/>
                </a:cubicBezTo>
                <a:lnTo>
                  <a:pt x="419100" y="1286350"/>
                </a:lnTo>
                <a:lnTo>
                  <a:pt x="1650884" y="2518134"/>
                </a:lnTo>
                <a:cubicBezTo>
                  <a:pt x="1732718" y="2599968"/>
                  <a:pt x="1732718" y="2732648"/>
                  <a:pt x="1650884" y="2814482"/>
                </a:cubicBezTo>
                <a:cubicBezTo>
                  <a:pt x="1569050" y="2896317"/>
                  <a:pt x="1436370" y="2896317"/>
                  <a:pt x="1354535" y="2814482"/>
                </a:cubicBezTo>
                <a:lnTo>
                  <a:pt x="3146" y="1463094"/>
                </a:lnTo>
                <a:cubicBezTo>
                  <a:pt x="2097" y="1045246"/>
                  <a:pt x="1049" y="627398"/>
                  <a:pt x="0" y="209550"/>
                </a:cubicBezTo>
                <a:cubicBezTo>
                  <a:pt x="0" y="151685"/>
                  <a:pt x="23455" y="99297"/>
                  <a:pt x="61376" y="61376"/>
                </a:cubicBezTo>
                <a:close/>
              </a:path>
            </a:pathLst>
          </a:custGeom>
          <a:solidFill>
            <a:schemeClr val="bg1"/>
          </a:solidFill>
          <a:ln w="12700">
            <a:solidFill>
              <a:schemeClr val="accent2"/>
            </a:solidFill>
          </a:ln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8" name="Rectangle: Rounded Corners 207">
            <a:extLst>
              <a:ext uri="{FF2B5EF4-FFF2-40B4-BE49-F238E27FC236}">
                <a16:creationId xmlns:a16="http://schemas.microsoft.com/office/drawing/2014/main" id="{E79849D3-ABCF-1E6E-8652-AF4E808C47EF}"/>
              </a:ext>
            </a:extLst>
          </p:cNvPr>
          <p:cNvSpPr/>
          <p:nvPr/>
        </p:nvSpPr>
        <p:spPr>
          <a:xfrm rot="6396853">
            <a:off x="4578859" y="3346713"/>
            <a:ext cx="61481" cy="174274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2700">
            <a:solidFill>
              <a:schemeClr val="accent2"/>
            </a:solidFill>
          </a:ln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9" name="Freeform: Shape 340">
            <a:extLst>
              <a:ext uri="{FF2B5EF4-FFF2-40B4-BE49-F238E27FC236}">
                <a16:creationId xmlns:a16="http://schemas.microsoft.com/office/drawing/2014/main" id="{1E05C3A5-4D02-3C4F-A59E-0DAB93742316}"/>
              </a:ext>
            </a:extLst>
          </p:cNvPr>
          <p:cNvSpPr/>
          <p:nvPr/>
        </p:nvSpPr>
        <p:spPr>
          <a:xfrm rot="6413067">
            <a:off x="4387949" y="3206926"/>
            <a:ext cx="251180" cy="421877"/>
          </a:xfrm>
          <a:custGeom>
            <a:avLst/>
            <a:gdLst>
              <a:gd name="connsiteX0" fmla="*/ 61376 w 1712259"/>
              <a:gd name="connsiteY0" fmla="*/ 61376 h 2875858"/>
              <a:gd name="connsiteX1" fmla="*/ 209550 w 1712259"/>
              <a:gd name="connsiteY1" fmla="*/ 0 h 2875858"/>
              <a:gd name="connsiteX2" fmla="*/ 419100 w 1712259"/>
              <a:gd name="connsiteY2" fmla="*/ 209550 h 2875858"/>
              <a:gd name="connsiteX3" fmla="*/ 419100 w 1712259"/>
              <a:gd name="connsiteY3" fmla="*/ 1286350 h 2875858"/>
              <a:gd name="connsiteX4" fmla="*/ 1650884 w 1712259"/>
              <a:gd name="connsiteY4" fmla="*/ 2518134 h 2875858"/>
              <a:gd name="connsiteX5" fmla="*/ 1650884 w 1712259"/>
              <a:gd name="connsiteY5" fmla="*/ 2814482 h 2875858"/>
              <a:gd name="connsiteX6" fmla="*/ 1354535 w 1712259"/>
              <a:gd name="connsiteY6" fmla="*/ 2814482 h 2875858"/>
              <a:gd name="connsiteX7" fmla="*/ 68814 w 1712259"/>
              <a:gd name="connsiteY7" fmla="*/ 1528761 h 2875858"/>
              <a:gd name="connsiteX8" fmla="*/ 61376 w 1712259"/>
              <a:gd name="connsiteY8" fmla="*/ 1522624 h 2875858"/>
              <a:gd name="connsiteX9" fmla="*/ 0 w 1712259"/>
              <a:gd name="connsiteY9" fmla="*/ 1374450 h 2875858"/>
              <a:gd name="connsiteX10" fmla="*/ 0 w 1712259"/>
              <a:gd name="connsiteY10" fmla="*/ 209550 h 2875858"/>
              <a:gd name="connsiteX11" fmla="*/ 61376 w 1712259"/>
              <a:gd name="connsiteY11" fmla="*/ 61376 h 2875858"/>
              <a:gd name="connsiteX0" fmla="*/ 61376 w 1712259"/>
              <a:gd name="connsiteY0" fmla="*/ 61376 h 2875858"/>
              <a:gd name="connsiteX1" fmla="*/ 209550 w 1712259"/>
              <a:gd name="connsiteY1" fmla="*/ 0 h 2875858"/>
              <a:gd name="connsiteX2" fmla="*/ 419100 w 1712259"/>
              <a:gd name="connsiteY2" fmla="*/ 209550 h 2875858"/>
              <a:gd name="connsiteX3" fmla="*/ 419100 w 1712259"/>
              <a:gd name="connsiteY3" fmla="*/ 1286350 h 2875858"/>
              <a:gd name="connsiteX4" fmla="*/ 1650884 w 1712259"/>
              <a:gd name="connsiteY4" fmla="*/ 2518134 h 2875858"/>
              <a:gd name="connsiteX5" fmla="*/ 1650884 w 1712259"/>
              <a:gd name="connsiteY5" fmla="*/ 2814482 h 2875858"/>
              <a:gd name="connsiteX6" fmla="*/ 1354535 w 1712259"/>
              <a:gd name="connsiteY6" fmla="*/ 2814482 h 2875858"/>
              <a:gd name="connsiteX7" fmla="*/ 68814 w 1712259"/>
              <a:gd name="connsiteY7" fmla="*/ 1528761 h 2875858"/>
              <a:gd name="connsiteX8" fmla="*/ 0 w 1712259"/>
              <a:gd name="connsiteY8" fmla="*/ 1374450 h 2875858"/>
              <a:gd name="connsiteX9" fmla="*/ 0 w 1712259"/>
              <a:gd name="connsiteY9" fmla="*/ 209550 h 2875858"/>
              <a:gd name="connsiteX10" fmla="*/ 61376 w 1712259"/>
              <a:gd name="connsiteY10" fmla="*/ 61376 h 2875858"/>
              <a:gd name="connsiteX0" fmla="*/ 61376 w 1712259"/>
              <a:gd name="connsiteY0" fmla="*/ 61376 h 2875858"/>
              <a:gd name="connsiteX1" fmla="*/ 209550 w 1712259"/>
              <a:gd name="connsiteY1" fmla="*/ 0 h 2875858"/>
              <a:gd name="connsiteX2" fmla="*/ 419100 w 1712259"/>
              <a:gd name="connsiteY2" fmla="*/ 209550 h 2875858"/>
              <a:gd name="connsiteX3" fmla="*/ 419100 w 1712259"/>
              <a:gd name="connsiteY3" fmla="*/ 1286350 h 2875858"/>
              <a:gd name="connsiteX4" fmla="*/ 1650884 w 1712259"/>
              <a:gd name="connsiteY4" fmla="*/ 2518134 h 2875858"/>
              <a:gd name="connsiteX5" fmla="*/ 1650884 w 1712259"/>
              <a:gd name="connsiteY5" fmla="*/ 2814482 h 2875858"/>
              <a:gd name="connsiteX6" fmla="*/ 1354535 w 1712259"/>
              <a:gd name="connsiteY6" fmla="*/ 2814482 h 2875858"/>
              <a:gd name="connsiteX7" fmla="*/ 16616 w 1712259"/>
              <a:gd name="connsiteY7" fmla="*/ 1476564 h 2875858"/>
              <a:gd name="connsiteX8" fmla="*/ 0 w 1712259"/>
              <a:gd name="connsiteY8" fmla="*/ 1374450 h 2875858"/>
              <a:gd name="connsiteX9" fmla="*/ 0 w 1712259"/>
              <a:gd name="connsiteY9" fmla="*/ 209550 h 2875858"/>
              <a:gd name="connsiteX10" fmla="*/ 61376 w 1712259"/>
              <a:gd name="connsiteY10" fmla="*/ 61376 h 2875858"/>
              <a:gd name="connsiteX0" fmla="*/ 61376 w 1712259"/>
              <a:gd name="connsiteY0" fmla="*/ 61376 h 2875858"/>
              <a:gd name="connsiteX1" fmla="*/ 209550 w 1712259"/>
              <a:gd name="connsiteY1" fmla="*/ 0 h 2875858"/>
              <a:gd name="connsiteX2" fmla="*/ 419100 w 1712259"/>
              <a:gd name="connsiteY2" fmla="*/ 209550 h 2875858"/>
              <a:gd name="connsiteX3" fmla="*/ 419100 w 1712259"/>
              <a:gd name="connsiteY3" fmla="*/ 1286350 h 2875858"/>
              <a:gd name="connsiteX4" fmla="*/ 1650884 w 1712259"/>
              <a:gd name="connsiteY4" fmla="*/ 2518134 h 2875858"/>
              <a:gd name="connsiteX5" fmla="*/ 1650884 w 1712259"/>
              <a:gd name="connsiteY5" fmla="*/ 2814482 h 2875858"/>
              <a:gd name="connsiteX6" fmla="*/ 1354535 w 1712259"/>
              <a:gd name="connsiteY6" fmla="*/ 2814482 h 2875858"/>
              <a:gd name="connsiteX7" fmla="*/ 3146 w 1712259"/>
              <a:gd name="connsiteY7" fmla="*/ 1463094 h 2875858"/>
              <a:gd name="connsiteX8" fmla="*/ 0 w 1712259"/>
              <a:gd name="connsiteY8" fmla="*/ 1374450 h 2875858"/>
              <a:gd name="connsiteX9" fmla="*/ 0 w 1712259"/>
              <a:gd name="connsiteY9" fmla="*/ 209550 h 2875858"/>
              <a:gd name="connsiteX10" fmla="*/ 61376 w 1712259"/>
              <a:gd name="connsiteY10" fmla="*/ 61376 h 2875858"/>
              <a:gd name="connsiteX0" fmla="*/ 61376 w 1712259"/>
              <a:gd name="connsiteY0" fmla="*/ 61376 h 2875858"/>
              <a:gd name="connsiteX1" fmla="*/ 209550 w 1712259"/>
              <a:gd name="connsiteY1" fmla="*/ 0 h 2875858"/>
              <a:gd name="connsiteX2" fmla="*/ 419100 w 1712259"/>
              <a:gd name="connsiteY2" fmla="*/ 209550 h 2875858"/>
              <a:gd name="connsiteX3" fmla="*/ 419100 w 1712259"/>
              <a:gd name="connsiteY3" fmla="*/ 1286350 h 2875858"/>
              <a:gd name="connsiteX4" fmla="*/ 1650884 w 1712259"/>
              <a:gd name="connsiteY4" fmla="*/ 2518134 h 2875858"/>
              <a:gd name="connsiteX5" fmla="*/ 1650884 w 1712259"/>
              <a:gd name="connsiteY5" fmla="*/ 2814482 h 2875858"/>
              <a:gd name="connsiteX6" fmla="*/ 1354535 w 1712259"/>
              <a:gd name="connsiteY6" fmla="*/ 2814482 h 2875858"/>
              <a:gd name="connsiteX7" fmla="*/ 3146 w 1712259"/>
              <a:gd name="connsiteY7" fmla="*/ 1463094 h 2875858"/>
              <a:gd name="connsiteX8" fmla="*/ 0 w 1712259"/>
              <a:gd name="connsiteY8" fmla="*/ 209550 h 2875858"/>
              <a:gd name="connsiteX9" fmla="*/ 61376 w 1712259"/>
              <a:gd name="connsiteY9" fmla="*/ 61376 h 28758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712259" h="2875858">
                <a:moveTo>
                  <a:pt x="61376" y="61376"/>
                </a:moveTo>
                <a:cubicBezTo>
                  <a:pt x="99297" y="23455"/>
                  <a:pt x="151685" y="0"/>
                  <a:pt x="209550" y="0"/>
                </a:cubicBezTo>
                <a:cubicBezTo>
                  <a:pt x="325281" y="0"/>
                  <a:pt x="419100" y="93819"/>
                  <a:pt x="419100" y="209550"/>
                </a:cubicBezTo>
                <a:lnTo>
                  <a:pt x="419100" y="1286350"/>
                </a:lnTo>
                <a:lnTo>
                  <a:pt x="1650884" y="2518134"/>
                </a:lnTo>
                <a:cubicBezTo>
                  <a:pt x="1732718" y="2599968"/>
                  <a:pt x="1732718" y="2732648"/>
                  <a:pt x="1650884" y="2814482"/>
                </a:cubicBezTo>
                <a:cubicBezTo>
                  <a:pt x="1569050" y="2896317"/>
                  <a:pt x="1436370" y="2896317"/>
                  <a:pt x="1354535" y="2814482"/>
                </a:cubicBezTo>
                <a:lnTo>
                  <a:pt x="3146" y="1463094"/>
                </a:lnTo>
                <a:cubicBezTo>
                  <a:pt x="2097" y="1045246"/>
                  <a:pt x="1049" y="627398"/>
                  <a:pt x="0" y="209550"/>
                </a:cubicBezTo>
                <a:cubicBezTo>
                  <a:pt x="0" y="151685"/>
                  <a:pt x="23455" y="99297"/>
                  <a:pt x="61376" y="61376"/>
                </a:cubicBezTo>
                <a:close/>
              </a:path>
            </a:pathLst>
          </a:custGeom>
          <a:solidFill>
            <a:schemeClr val="bg1"/>
          </a:solidFill>
          <a:ln w="12700">
            <a:solidFill>
              <a:schemeClr val="accent2"/>
            </a:solidFill>
          </a:ln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3" name="Rectangle: Rounded Corners 202">
            <a:extLst>
              <a:ext uri="{FF2B5EF4-FFF2-40B4-BE49-F238E27FC236}">
                <a16:creationId xmlns:a16="http://schemas.microsoft.com/office/drawing/2014/main" id="{49F63657-352D-B07C-4C2B-BBC2D5159960}"/>
              </a:ext>
            </a:extLst>
          </p:cNvPr>
          <p:cNvSpPr/>
          <p:nvPr/>
        </p:nvSpPr>
        <p:spPr>
          <a:xfrm rot="1029281" flipH="1">
            <a:off x="4426732" y="3061998"/>
            <a:ext cx="61481" cy="174274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2700">
            <a:solidFill>
              <a:schemeClr val="accent2"/>
            </a:solidFill>
          </a:ln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4" name="Freeform: Shape 338">
            <a:extLst>
              <a:ext uri="{FF2B5EF4-FFF2-40B4-BE49-F238E27FC236}">
                <a16:creationId xmlns:a16="http://schemas.microsoft.com/office/drawing/2014/main" id="{E41FBDC3-109F-7AC5-E103-34FB0CB6A650}"/>
              </a:ext>
            </a:extLst>
          </p:cNvPr>
          <p:cNvSpPr/>
          <p:nvPr/>
        </p:nvSpPr>
        <p:spPr>
          <a:xfrm rot="1013067" flipH="1">
            <a:off x="4291777" y="3026936"/>
            <a:ext cx="251180" cy="421877"/>
          </a:xfrm>
          <a:custGeom>
            <a:avLst/>
            <a:gdLst>
              <a:gd name="connsiteX0" fmla="*/ 61376 w 1712259"/>
              <a:gd name="connsiteY0" fmla="*/ 61376 h 2875858"/>
              <a:gd name="connsiteX1" fmla="*/ 209550 w 1712259"/>
              <a:gd name="connsiteY1" fmla="*/ 0 h 2875858"/>
              <a:gd name="connsiteX2" fmla="*/ 419100 w 1712259"/>
              <a:gd name="connsiteY2" fmla="*/ 209550 h 2875858"/>
              <a:gd name="connsiteX3" fmla="*/ 419100 w 1712259"/>
              <a:gd name="connsiteY3" fmla="*/ 1286350 h 2875858"/>
              <a:gd name="connsiteX4" fmla="*/ 1650884 w 1712259"/>
              <a:gd name="connsiteY4" fmla="*/ 2518134 h 2875858"/>
              <a:gd name="connsiteX5" fmla="*/ 1650884 w 1712259"/>
              <a:gd name="connsiteY5" fmla="*/ 2814482 h 2875858"/>
              <a:gd name="connsiteX6" fmla="*/ 1354535 w 1712259"/>
              <a:gd name="connsiteY6" fmla="*/ 2814482 h 2875858"/>
              <a:gd name="connsiteX7" fmla="*/ 68814 w 1712259"/>
              <a:gd name="connsiteY7" fmla="*/ 1528761 h 2875858"/>
              <a:gd name="connsiteX8" fmla="*/ 61376 w 1712259"/>
              <a:gd name="connsiteY8" fmla="*/ 1522624 h 2875858"/>
              <a:gd name="connsiteX9" fmla="*/ 0 w 1712259"/>
              <a:gd name="connsiteY9" fmla="*/ 1374450 h 2875858"/>
              <a:gd name="connsiteX10" fmla="*/ 0 w 1712259"/>
              <a:gd name="connsiteY10" fmla="*/ 209550 h 2875858"/>
              <a:gd name="connsiteX11" fmla="*/ 61376 w 1712259"/>
              <a:gd name="connsiteY11" fmla="*/ 61376 h 2875858"/>
              <a:gd name="connsiteX0" fmla="*/ 61376 w 1712259"/>
              <a:gd name="connsiteY0" fmla="*/ 61376 h 2875858"/>
              <a:gd name="connsiteX1" fmla="*/ 209550 w 1712259"/>
              <a:gd name="connsiteY1" fmla="*/ 0 h 2875858"/>
              <a:gd name="connsiteX2" fmla="*/ 419100 w 1712259"/>
              <a:gd name="connsiteY2" fmla="*/ 209550 h 2875858"/>
              <a:gd name="connsiteX3" fmla="*/ 419100 w 1712259"/>
              <a:gd name="connsiteY3" fmla="*/ 1286350 h 2875858"/>
              <a:gd name="connsiteX4" fmla="*/ 1650884 w 1712259"/>
              <a:gd name="connsiteY4" fmla="*/ 2518134 h 2875858"/>
              <a:gd name="connsiteX5" fmla="*/ 1650884 w 1712259"/>
              <a:gd name="connsiteY5" fmla="*/ 2814482 h 2875858"/>
              <a:gd name="connsiteX6" fmla="*/ 1354535 w 1712259"/>
              <a:gd name="connsiteY6" fmla="*/ 2814482 h 2875858"/>
              <a:gd name="connsiteX7" fmla="*/ 68814 w 1712259"/>
              <a:gd name="connsiteY7" fmla="*/ 1528761 h 2875858"/>
              <a:gd name="connsiteX8" fmla="*/ 0 w 1712259"/>
              <a:gd name="connsiteY8" fmla="*/ 1374450 h 2875858"/>
              <a:gd name="connsiteX9" fmla="*/ 0 w 1712259"/>
              <a:gd name="connsiteY9" fmla="*/ 209550 h 2875858"/>
              <a:gd name="connsiteX10" fmla="*/ 61376 w 1712259"/>
              <a:gd name="connsiteY10" fmla="*/ 61376 h 2875858"/>
              <a:gd name="connsiteX0" fmla="*/ 61376 w 1712259"/>
              <a:gd name="connsiteY0" fmla="*/ 61376 h 2875858"/>
              <a:gd name="connsiteX1" fmla="*/ 209550 w 1712259"/>
              <a:gd name="connsiteY1" fmla="*/ 0 h 2875858"/>
              <a:gd name="connsiteX2" fmla="*/ 419100 w 1712259"/>
              <a:gd name="connsiteY2" fmla="*/ 209550 h 2875858"/>
              <a:gd name="connsiteX3" fmla="*/ 419100 w 1712259"/>
              <a:gd name="connsiteY3" fmla="*/ 1286350 h 2875858"/>
              <a:gd name="connsiteX4" fmla="*/ 1650884 w 1712259"/>
              <a:gd name="connsiteY4" fmla="*/ 2518134 h 2875858"/>
              <a:gd name="connsiteX5" fmla="*/ 1650884 w 1712259"/>
              <a:gd name="connsiteY5" fmla="*/ 2814482 h 2875858"/>
              <a:gd name="connsiteX6" fmla="*/ 1354535 w 1712259"/>
              <a:gd name="connsiteY6" fmla="*/ 2814482 h 2875858"/>
              <a:gd name="connsiteX7" fmla="*/ 16616 w 1712259"/>
              <a:gd name="connsiteY7" fmla="*/ 1476564 h 2875858"/>
              <a:gd name="connsiteX8" fmla="*/ 0 w 1712259"/>
              <a:gd name="connsiteY8" fmla="*/ 1374450 h 2875858"/>
              <a:gd name="connsiteX9" fmla="*/ 0 w 1712259"/>
              <a:gd name="connsiteY9" fmla="*/ 209550 h 2875858"/>
              <a:gd name="connsiteX10" fmla="*/ 61376 w 1712259"/>
              <a:gd name="connsiteY10" fmla="*/ 61376 h 2875858"/>
              <a:gd name="connsiteX0" fmla="*/ 61376 w 1712259"/>
              <a:gd name="connsiteY0" fmla="*/ 61376 h 2875858"/>
              <a:gd name="connsiteX1" fmla="*/ 209550 w 1712259"/>
              <a:gd name="connsiteY1" fmla="*/ 0 h 2875858"/>
              <a:gd name="connsiteX2" fmla="*/ 419100 w 1712259"/>
              <a:gd name="connsiteY2" fmla="*/ 209550 h 2875858"/>
              <a:gd name="connsiteX3" fmla="*/ 419100 w 1712259"/>
              <a:gd name="connsiteY3" fmla="*/ 1286350 h 2875858"/>
              <a:gd name="connsiteX4" fmla="*/ 1650884 w 1712259"/>
              <a:gd name="connsiteY4" fmla="*/ 2518134 h 2875858"/>
              <a:gd name="connsiteX5" fmla="*/ 1650884 w 1712259"/>
              <a:gd name="connsiteY5" fmla="*/ 2814482 h 2875858"/>
              <a:gd name="connsiteX6" fmla="*/ 1354535 w 1712259"/>
              <a:gd name="connsiteY6" fmla="*/ 2814482 h 2875858"/>
              <a:gd name="connsiteX7" fmla="*/ 3146 w 1712259"/>
              <a:gd name="connsiteY7" fmla="*/ 1463094 h 2875858"/>
              <a:gd name="connsiteX8" fmla="*/ 0 w 1712259"/>
              <a:gd name="connsiteY8" fmla="*/ 1374450 h 2875858"/>
              <a:gd name="connsiteX9" fmla="*/ 0 w 1712259"/>
              <a:gd name="connsiteY9" fmla="*/ 209550 h 2875858"/>
              <a:gd name="connsiteX10" fmla="*/ 61376 w 1712259"/>
              <a:gd name="connsiteY10" fmla="*/ 61376 h 2875858"/>
              <a:gd name="connsiteX0" fmla="*/ 61376 w 1712259"/>
              <a:gd name="connsiteY0" fmla="*/ 61376 h 2875858"/>
              <a:gd name="connsiteX1" fmla="*/ 209550 w 1712259"/>
              <a:gd name="connsiteY1" fmla="*/ 0 h 2875858"/>
              <a:gd name="connsiteX2" fmla="*/ 419100 w 1712259"/>
              <a:gd name="connsiteY2" fmla="*/ 209550 h 2875858"/>
              <a:gd name="connsiteX3" fmla="*/ 419100 w 1712259"/>
              <a:gd name="connsiteY3" fmla="*/ 1286350 h 2875858"/>
              <a:gd name="connsiteX4" fmla="*/ 1650884 w 1712259"/>
              <a:gd name="connsiteY4" fmla="*/ 2518134 h 2875858"/>
              <a:gd name="connsiteX5" fmla="*/ 1650884 w 1712259"/>
              <a:gd name="connsiteY5" fmla="*/ 2814482 h 2875858"/>
              <a:gd name="connsiteX6" fmla="*/ 1354535 w 1712259"/>
              <a:gd name="connsiteY6" fmla="*/ 2814482 h 2875858"/>
              <a:gd name="connsiteX7" fmla="*/ 3146 w 1712259"/>
              <a:gd name="connsiteY7" fmla="*/ 1463094 h 2875858"/>
              <a:gd name="connsiteX8" fmla="*/ 0 w 1712259"/>
              <a:gd name="connsiteY8" fmla="*/ 209550 h 2875858"/>
              <a:gd name="connsiteX9" fmla="*/ 61376 w 1712259"/>
              <a:gd name="connsiteY9" fmla="*/ 61376 h 28758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712259" h="2875858">
                <a:moveTo>
                  <a:pt x="61376" y="61376"/>
                </a:moveTo>
                <a:cubicBezTo>
                  <a:pt x="99297" y="23455"/>
                  <a:pt x="151685" y="0"/>
                  <a:pt x="209550" y="0"/>
                </a:cubicBezTo>
                <a:cubicBezTo>
                  <a:pt x="325281" y="0"/>
                  <a:pt x="419100" y="93819"/>
                  <a:pt x="419100" y="209550"/>
                </a:cubicBezTo>
                <a:lnTo>
                  <a:pt x="419100" y="1286350"/>
                </a:lnTo>
                <a:lnTo>
                  <a:pt x="1650884" y="2518134"/>
                </a:lnTo>
                <a:cubicBezTo>
                  <a:pt x="1732718" y="2599968"/>
                  <a:pt x="1732718" y="2732648"/>
                  <a:pt x="1650884" y="2814482"/>
                </a:cubicBezTo>
                <a:cubicBezTo>
                  <a:pt x="1569050" y="2896317"/>
                  <a:pt x="1436370" y="2896317"/>
                  <a:pt x="1354535" y="2814482"/>
                </a:cubicBezTo>
                <a:lnTo>
                  <a:pt x="3146" y="1463094"/>
                </a:lnTo>
                <a:cubicBezTo>
                  <a:pt x="2097" y="1045246"/>
                  <a:pt x="1049" y="627398"/>
                  <a:pt x="0" y="209550"/>
                </a:cubicBezTo>
                <a:cubicBezTo>
                  <a:pt x="0" y="151685"/>
                  <a:pt x="23455" y="99297"/>
                  <a:pt x="61376" y="61376"/>
                </a:cubicBezTo>
                <a:close/>
              </a:path>
            </a:pathLst>
          </a:custGeom>
          <a:solidFill>
            <a:schemeClr val="bg1"/>
          </a:solidFill>
          <a:ln w="12700">
            <a:solidFill>
              <a:schemeClr val="accent2"/>
            </a:solidFill>
          </a:ln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05" name="Flowchart: Connector 504">
            <a:extLst>
              <a:ext uri="{FF2B5EF4-FFF2-40B4-BE49-F238E27FC236}">
                <a16:creationId xmlns:a16="http://schemas.microsoft.com/office/drawing/2014/main" id="{8DF3B3CE-0684-A793-5888-81326276864E}"/>
              </a:ext>
            </a:extLst>
          </p:cNvPr>
          <p:cNvSpPr/>
          <p:nvPr/>
        </p:nvSpPr>
        <p:spPr>
          <a:xfrm>
            <a:off x="3047747" y="2343510"/>
            <a:ext cx="457200" cy="457200"/>
          </a:xfrm>
          <a:prstGeom prst="flowChartConnector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06" name="TextBox 505">
            <a:extLst>
              <a:ext uri="{FF2B5EF4-FFF2-40B4-BE49-F238E27FC236}">
                <a16:creationId xmlns:a16="http://schemas.microsoft.com/office/drawing/2014/main" id="{E4625825-CDFE-AC7E-84F1-DEC9F7C2A311}"/>
              </a:ext>
            </a:extLst>
          </p:cNvPr>
          <p:cNvSpPr txBox="1"/>
          <p:nvPr/>
        </p:nvSpPr>
        <p:spPr>
          <a:xfrm>
            <a:off x="3562238" y="2437977"/>
            <a:ext cx="1384509" cy="26826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CB813"/>
              </a:buClr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Monocloncal </a:t>
            </a:r>
            <a:b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ntibodies</a:t>
            </a:r>
          </a:p>
        </p:txBody>
      </p:sp>
      <p:sp>
        <p:nvSpPr>
          <p:cNvPr id="196" name="Rectangle: Rounded Corners 195">
            <a:extLst>
              <a:ext uri="{FF2B5EF4-FFF2-40B4-BE49-F238E27FC236}">
                <a16:creationId xmlns:a16="http://schemas.microsoft.com/office/drawing/2014/main" id="{E3033B16-1C06-C505-7AAF-098427557258}"/>
              </a:ext>
            </a:extLst>
          </p:cNvPr>
          <p:cNvSpPr/>
          <p:nvPr/>
        </p:nvSpPr>
        <p:spPr>
          <a:xfrm rot="4668654">
            <a:off x="3357479" y="2562193"/>
            <a:ext cx="36552" cy="103610"/>
          </a:xfrm>
          <a:prstGeom prst="roundRect">
            <a:avLst>
              <a:gd name="adj" fmla="val 50000"/>
            </a:avLst>
          </a:prstGeom>
          <a:ln w="12700">
            <a:solidFill>
              <a:schemeClr val="accent1"/>
            </a:solidFill>
          </a:ln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97" name="Freeform: Shape 340">
            <a:extLst>
              <a:ext uri="{FF2B5EF4-FFF2-40B4-BE49-F238E27FC236}">
                <a16:creationId xmlns:a16="http://schemas.microsoft.com/office/drawing/2014/main" id="{AB74B1AF-29D6-71CE-DE5C-6D1FD5DE296E}"/>
              </a:ext>
            </a:extLst>
          </p:cNvPr>
          <p:cNvSpPr/>
          <p:nvPr/>
        </p:nvSpPr>
        <p:spPr>
          <a:xfrm rot="4684868">
            <a:off x="3246469" y="2507772"/>
            <a:ext cx="149333" cy="250817"/>
          </a:xfrm>
          <a:custGeom>
            <a:avLst/>
            <a:gdLst>
              <a:gd name="connsiteX0" fmla="*/ 61376 w 1712259"/>
              <a:gd name="connsiteY0" fmla="*/ 61376 h 2875858"/>
              <a:gd name="connsiteX1" fmla="*/ 209550 w 1712259"/>
              <a:gd name="connsiteY1" fmla="*/ 0 h 2875858"/>
              <a:gd name="connsiteX2" fmla="*/ 419100 w 1712259"/>
              <a:gd name="connsiteY2" fmla="*/ 209550 h 2875858"/>
              <a:gd name="connsiteX3" fmla="*/ 419100 w 1712259"/>
              <a:gd name="connsiteY3" fmla="*/ 1286350 h 2875858"/>
              <a:gd name="connsiteX4" fmla="*/ 1650884 w 1712259"/>
              <a:gd name="connsiteY4" fmla="*/ 2518134 h 2875858"/>
              <a:gd name="connsiteX5" fmla="*/ 1650884 w 1712259"/>
              <a:gd name="connsiteY5" fmla="*/ 2814482 h 2875858"/>
              <a:gd name="connsiteX6" fmla="*/ 1354535 w 1712259"/>
              <a:gd name="connsiteY6" fmla="*/ 2814482 h 2875858"/>
              <a:gd name="connsiteX7" fmla="*/ 68814 w 1712259"/>
              <a:gd name="connsiteY7" fmla="*/ 1528761 h 2875858"/>
              <a:gd name="connsiteX8" fmla="*/ 61376 w 1712259"/>
              <a:gd name="connsiteY8" fmla="*/ 1522624 h 2875858"/>
              <a:gd name="connsiteX9" fmla="*/ 0 w 1712259"/>
              <a:gd name="connsiteY9" fmla="*/ 1374450 h 2875858"/>
              <a:gd name="connsiteX10" fmla="*/ 0 w 1712259"/>
              <a:gd name="connsiteY10" fmla="*/ 209550 h 2875858"/>
              <a:gd name="connsiteX11" fmla="*/ 61376 w 1712259"/>
              <a:gd name="connsiteY11" fmla="*/ 61376 h 2875858"/>
              <a:gd name="connsiteX0" fmla="*/ 61376 w 1712259"/>
              <a:gd name="connsiteY0" fmla="*/ 61376 h 2875858"/>
              <a:gd name="connsiteX1" fmla="*/ 209550 w 1712259"/>
              <a:gd name="connsiteY1" fmla="*/ 0 h 2875858"/>
              <a:gd name="connsiteX2" fmla="*/ 419100 w 1712259"/>
              <a:gd name="connsiteY2" fmla="*/ 209550 h 2875858"/>
              <a:gd name="connsiteX3" fmla="*/ 419100 w 1712259"/>
              <a:gd name="connsiteY3" fmla="*/ 1286350 h 2875858"/>
              <a:gd name="connsiteX4" fmla="*/ 1650884 w 1712259"/>
              <a:gd name="connsiteY4" fmla="*/ 2518134 h 2875858"/>
              <a:gd name="connsiteX5" fmla="*/ 1650884 w 1712259"/>
              <a:gd name="connsiteY5" fmla="*/ 2814482 h 2875858"/>
              <a:gd name="connsiteX6" fmla="*/ 1354535 w 1712259"/>
              <a:gd name="connsiteY6" fmla="*/ 2814482 h 2875858"/>
              <a:gd name="connsiteX7" fmla="*/ 68814 w 1712259"/>
              <a:gd name="connsiteY7" fmla="*/ 1528761 h 2875858"/>
              <a:gd name="connsiteX8" fmla="*/ 0 w 1712259"/>
              <a:gd name="connsiteY8" fmla="*/ 1374450 h 2875858"/>
              <a:gd name="connsiteX9" fmla="*/ 0 w 1712259"/>
              <a:gd name="connsiteY9" fmla="*/ 209550 h 2875858"/>
              <a:gd name="connsiteX10" fmla="*/ 61376 w 1712259"/>
              <a:gd name="connsiteY10" fmla="*/ 61376 h 2875858"/>
              <a:gd name="connsiteX0" fmla="*/ 61376 w 1712259"/>
              <a:gd name="connsiteY0" fmla="*/ 61376 h 2875858"/>
              <a:gd name="connsiteX1" fmla="*/ 209550 w 1712259"/>
              <a:gd name="connsiteY1" fmla="*/ 0 h 2875858"/>
              <a:gd name="connsiteX2" fmla="*/ 419100 w 1712259"/>
              <a:gd name="connsiteY2" fmla="*/ 209550 h 2875858"/>
              <a:gd name="connsiteX3" fmla="*/ 419100 w 1712259"/>
              <a:gd name="connsiteY3" fmla="*/ 1286350 h 2875858"/>
              <a:gd name="connsiteX4" fmla="*/ 1650884 w 1712259"/>
              <a:gd name="connsiteY4" fmla="*/ 2518134 h 2875858"/>
              <a:gd name="connsiteX5" fmla="*/ 1650884 w 1712259"/>
              <a:gd name="connsiteY5" fmla="*/ 2814482 h 2875858"/>
              <a:gd name="connsiteX6" fmla="*/ 1354535 w 1712259"/>
              <a:gd name="connsiteY6" fmla="*/ 2814482 h 2875858"/>
              <a:gd name="connsiteX7" fmla="*/ 16616 w 1712259"/>
              <a:gd name="connsiteY7" fmla="*/ 1476564 h 2875858"/>
              <a:gd name="connsiteX8" fmla="*/ 0 w 1712259"/>
              <a:gd name="connsiteY8" fmla="*/ 1374450 h 2875858"/>
              <a:gd name="connsiteX9" fmla="*/ 0 w 1712259"/>
              <a:gd name="connsiteY9" fmla="*/ 209550 h 2875858"/>
              <a:gd name="connsiteX10" fmla="*/ 61376 w 1712259"/>
              <a:gd name="connsiteY10" fmla="*/ 61376 h 2875858"/>
              <a:gd name="connsiteX0" fmla="*/ 61376 w 1712259"/>
              <a:gd name="connsiteY0" fmla="*/ 61376 h 2875858"/>
              <a:gd name="connsiteX1" fmla="*/ 209550 w 1712259"/>
              <a:gd name="connsiteY1" fmla="*/ 0 h 2875858"/>
              <a:gd name="connsiteX2" fmla="*/ 419100 w 1712259"/>
              <a:gd name="connsiteY2" fmla="*/ 209550 h 2875858"/>
              <a:gd name="connsiteX3" fmla="*/ 419100 w 1712259"/>
              <a:gd name="connsiteY3" fmla="*/ 1286350 h 2875858"/>
              <a:gd name="connsiteX4" fmla="*/ 1650884 w 1712259"/>
              <a:gd name="connsiteY4" fmla="*/ 2518134 h 2875858"/>
              <a:gd name="connsiteX5" fmla="*/ 1650884 w 1712259"/>
              <a:gd name="connsiteY5" fmla="*/ 2814482 h 2875858"/>
              <a:gd name="connsiteX6" fmla="*/ 1354535 w 1712259"/>
              <a:gd name="connsiteY6" fmla="*/ 2814482 h 2875858"/>
              <a:gd name="connsiteX7" fmla="*/ 3146 w 1712259"/>
              <a:gd name="connsiteY7" fmla="*/ 1463094 h 2875858"/>
              <a:gd name="connsiteX8" fmla="*/ 0 w 1712259"/>
              <a:gd name="connsiteY8" fmla="*/ 1374450 h 2875858"/>
              <a:gd name="connsiteX9" fmla="*/ 0 w 1712259"/>
              <a:gd name="connsiteY9" fmla="*/ 209550 h 2875858"/>
              <a:gd name="connsiteX10" fmla="*/ 61376 w 1712259"/>
              <a:gd name="connsiteY10" fmla="*/ 61376 h 2875858"/>
              <a:gd name="connsiteX0" fmla="*/ 61376 w 1712259"/>
              <a:gd name="connsiteY0" fmla="*/ 61376 h 2875858"/>
              <a:gd name="connsiteX1" fmla="*/ 209550 w 1712259"/>
              <a:gd name="connsiteY1" fmla="*/ 0 h 2875858"/>
              <a:gd name="connsiteX2" fmla="*/ 419100 w 1712259"/>
              <a:gd name="connsiteY2" fmla="*/ 209550 h 2875858"/>
              <a:gd name="connsiteX3" fmla="*/ 419100 w 1712259"/>
              <a:gd name="connsiteY3" fmla="*/ 1286350 h 2875858"/>
              <a:gd name="connsiteX4" fmla="*/ 1650884 w 1712259"/>
              <a:gd name="connsiteY4" fmla="*/ 2518134 h 2875858"/>
              <a:gd name="connsiteX5" fmla="*/ 1650884 w 1712259"/>
              <a:gd name="connsiteY5" fmla="*/ 2814482 h 2875858"/>
              <a:gd name="connsiteX6" fmla="*/ 1354535 w 1712259"/>
              <a:gd name="connsiteY6" fmla="*/ 2814482 h 2875858"/>
              <a:gd name="connsiteX7" fmla="*/ 3146 w 1712259"/>
              <a:gd name="connsiteY7" fmla="*/ 1463094 h 2875858"/>
              <a:gd name="connsiteX8" fmla="*/ 0 w 1712259"/>
              <a:gd name="connsiteY8" fmla="*/ 209550 h 2875858"/>
              <a:gd name="connsiteX9" fmla="*/ 61376 w 1712259"/>
              <a:gd name="connsiteY9" fmla="*/ 61376 h 28758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712259" h="2875858">
                <a:moveTo>
                  <a:pt x="61376" y="61376"/>
                </a:moveTo>
                <a:cubicBezTo>
                  <a:pt x="99297" y="23455"/>
                  <a:pt x="151685" y="0"/>
                  <a:pt x="209550" y="0"/>
                </a:cubicBezTo>
                <a:cubicBezTo>
                  <a:pt x="325281" y="0"/>
                  <a:pt x="419100" y="93819"/>
                  <a:pt x="419100" y="209550"/>
                </a:cubicBezTo>
                <a:lnTo>
                  <a:pt x="419100" y="1286350"/>
                </a:lnTo>
                <a:lnTo>
                  <a:pt x="1650884" y="2518134"/>
                </a:lnTo>
                <a:cubicBezTo>
                  <a:pt x="1732718" y="2599968"/>
                  <a:pt x="1732718" y="2732648"/>
                  <a:pt x="1650884" y="2814482"/>
                </a:cubicBezTo>
                <a:cubicBezTo>
                  <a:pt x="1569050" y="2896317"/>
                  <a:pt x="1436370" y="2896317"/>
                  <a:pt x="1354535" y="2814482"/>
                </a:cubicBezTo>
                <a:lnTo>
                  <a:pt x="3146" y="1463094"/>
                </a:lnTo>
                <a:cubicBezTo>
                  <a:pt x="2097" y="1045246"/>
                  <a:pt x="1049" y="627398"/>
                  <a:pt x="0" y="209550"/>
                </a:cubicBezTo>
                <a:cubicBezTo>
                  <a:pt x="0" y="151685"/>
                  <a:pt x="23455" y="99297"/>
                  <a:pt x="61376" y="61376"/>
                </a:cubicBezTo>
                <a:close/>
              </a:path>
            </a:pathLst>
          </a:custGeom>
          <a:ln w="12700">
            <a:solidFill>
              <a:schemeClr val="accent1"/>
            </a:solidFill>
          </a:ln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8" name="Rectangle: Rounded Corners 107">
            <a:extLst>
              <a:ext uri="{FF2B5EF4-FFF2-40B4-BE49-F238E27FC236}">
                <a16:creationId xmlns:a16="http://schemas.microsoft.com/office/drawing/2014/main" id="{CD022C39-7593-2346-877F-D5A0B6450857}"/>
              </a:ext>
            </a:extLst>
          </p:cNvPr>
          <p:cNvSpPr/>
          <p:nvPr/>
        </p:nvSpPr>
        <p:spPr>
          <a:xfrm rot="20901082" flipH="1">
            <a:off x="3196672" y="2457440"/>
            <a:ext cx="36552" cy="103610"/>
          </a:xfrm>
          <a:prstGeom prst="roundRect">
            <a:avLst>
              <a:gd name="adj" fmla="val 50000"/>
            </a:avLst>
          </a:prstGeom>
          <a:ln w="12700">
            <a:solidFill>
              <a:schemeClr val="accent1"/>
            </a:solidFill>
          </a:ln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9" name="Freeform: Shape 338">
            <a:extLst>
              <a:ext uri="{FF2B5EF4-FFF2-40B4-BE49-F238E27FC236}">
                <a16:creationId xmlns:a16="http://schemas.microsoft.com/office/drawing/2014/main" id="{2A29C0AD-B70E-E069-58D3-DBE0BF4FE288}"/>
              </a:ext>
            </a:extLst>
          </p:cNvPr>
          <p:cNvSpPr/>
          <p:nvPr/>
        </p:nvSpPr>
        <p:spPr>
          <a:xfrm rot="20884868" flipH="1">
            <a:off x="3144810" y="2441549"/>
            <a:ext cx="149333" cy="250817"/>
          </a:xfrm>
          <a:custGeom>
            <a:avLst/>
            <a:gdLst>
              <a:gd name="connsiteX0" fmla="*/ 61376 w 1712259"/>
              <a:gd name="connsiteY0" fmla="*/ 61376 h 2875858"/>
              <a:gd name="connsiteX1" fmla="*/ 209550 w 1712259"/>
              <a:gd name="connsiteY1" fmla="*/ 0 h 2875858"/>
              <a:gd name="connsiteX2" fmla="*/ 419100 w 1712259"/>
              <a:gd name="connsiteY2" fmla="*/ 209550 h 2875858"/>
              <a:gd name="connsiteX3" fmla="*/ 419100 w 1712259"/>
              <a:gd name="connsiteY3" fmla="*/ 1286350 h 2875858"/>
              <a:gd name="connsiteX4" fmla="*/ 1650884 w 1712259"/>
              <a:gd name="connsiteY4" fmla="*/ 2518134 h 2875858"/>
              <a:gd name="connsiteX5" fmla="*/ 1650884 w 1712259"/>
              <a:gd name="connsiteY5" fmla="*/ 2814482 h 2875858"/>
              <a:gd name="connsiteX6" fmla="*/ 1354535 w 1712259"/>
              <a:gd name="connsiteY6" fmla="*/ 2814482 h 2875858"/>
              <a:gd name="connsiteX7" fmla="*/ 68814 w 1712259"/>
              <a:gd name="connsiteY7" fmla="*/ 1528761 h 2875858"/>
              <a:gd name="connsiteX8" fmla="*/ 61376 w 1712259"/>
              <a:gd name="connsiteY8" fmla="*/ 1522624 h 2875858"/>
              <a:gd name="connsiteX9" fmla="*/ 0 w 1712259"/>
              <a:gd name="connsiteY9" fmla="*/ 1374450 h 2875858"/>
              <a:gd name="connsiteX10" fmla="*/ 0 w 1712259"/>
              <a:gd name="connsiteY10" fmla="*/ 209550 h 2875858"/>
              <a:gd name="connsiteX11" fmla="*/ 61376 w 1712259"/>
              <a:gd name="connsiteY11" fmla="*/ 61376 h 2875858"/>
              <a:gd name="connsiteX0" fmla="*/ 61376 w 1712259"/>
              <a:gd name="connsiteY0" fmla="*/ 61376 h 2875858"/>
              <a:gd name="connsiteX1" fmla="*/ 209550 w 1712259"/>
              <a:gd name="connsiteY1" fmla="*/ 0 h 2875858"/>
              <a:gd name="connsiteX2" fmla="*/ 419100 w 1712259"/>
              <a:gd name="connsiteY2" fmla="*/ 209550 h 2875858"/>
              <a:gd name="connsiteX3" fmla="*/ 419100 w 1712259"/>
              <a:gd name="connsiteY3" fmla="*/ 1286350 h 2875858"/>
              <a:gd name="connsiteX4" fmla="*/ 1650884 w 1712259"/>
              <a:gd name="connsiteY4" fmla="*/ 2518134 h 2875858"/>
              <a:gd name="connsiteX5" fmla="*/ 1650884 w 1712259"/>
              <a:gd name="connsiteY5" fmla="*/ 2814482 h 2875858"/>
              <a:gd name="connsiteX6" fmla="*/ 1354535 w 1712259"/>
              <a:gd name="connsiteY6" fmla="*/ 2814482 h 2875858"/>
              <a:gd name="connsiteX7" fmla="*/ 68814 w 1712259"/>
              <a:gd name="connsiteY7" fmla="*/ 1528761 h 2875858"/>
              <a:gd name="connsiteX8" fmla="*/ 0 w 1712259"/>
              <a:gd name="connsiteY8" fmla="*/ 1374450 h 2875858"/>
              <a:gd name="connsiteX9" fmla="*/ 0 w 1712259"/>
              <a:gd name="connsiteY9" fmla="*/ 209550 h 2875858"/>
              <a:gd name="connsiteX10" fmla="*/ 61376 w 1712259"/>
              <a:gd name="connsiteY10" fmla="*/ 61376 h 2875858"/>
              <a:gd name="connsiteX0" fmla="*/ 61376 w 1712259"/>
              <a:gd name="connsiteY0" fmla="*/ 61376 h 2875858"/>
              <a:gd name="connsiteX1" fmla="*/ 209550 w 1712259"/>
              <a:gd name="connsiteY1" fmla="*/ 0 h 2875858"/>
              <a:gd name="connsiteX2" fmla="*/ 419100 w 1712259"/>
              <a:gd name="connsiteY2" fmla="*/ 209550 h 2875858"/>
              <a:gd name="connsiteX3" fmla="*/ 419100 w 1712259"/>
              <a:gd name="connsiteY3" fmla="*/ 1286350 h 2875858"/>
              <a:gd name="connsiteX4" fmla="*/ 1650884 w 1712259"/>
              <a:gd name="connsiteY4" fmla="*/ 2518134 h 2875858"/>
              <a:gd name="connsiteX5" fmla="*/ 1650884 w 1712259"/>
              <a:gd name="connsiteY5" fmla="*/ 2814482 h 2875858"/>
              <a:gd name="connsiteX6" fmla="*/ 1354535 w 1712259"/>
              <a:gd name="connsiteY6" fmla="*/ 2814482 h 2875858"/>
              <a:gd name="connsiteX7" fmla="*/ 16616 w 1712259"/>
              <a:gd name="connsiteY7" fmla="*/ 1476564 h 2875858"/>
              <a:gd name="connsiteX8" fmla="*/ 0 w 1712259"/>
              <a:gd name="connsiteY8" fmla="*/ 1374450 h 2875858"/>
              <a:gd name="connsiteX9" fmla="*/ 0 w 1712259"/>
              <a:gd name="connsiteY9" fmla="*/ 209550 h 2875858"/>
              <a:gd name="connsiteX10" fmla="*/ 61376 w 1712259"/>
              <a:gd name="connsiteY10" fmla="*/ 61376 h 2875858"/>
              <a:gd name="connsiteX0" fmla="*/ 61376 w 1712259"/>
              <a:gd name="connsiteY0" fmla="*/ 61376 h 2875858"/>
              <a:gd name="connsiteX1" fmla="*/ 209550 w 1712259"/>
              <a:gd name="connsiteY1" fmla="*/ 0 h 2875858"/>
              <a:gd name="connsiteX2" fmla="*/ 419100 w 1712259"/>
              <a:gd name="connsiteY2" fmla="*/ 209550 h 2875858"/>
              <a:gd name="connsiteX3" fmla="*/ 419100 w 1712259"/>
              <a:gd name="connsiteY3" fmla="*/ 1286350 h 2875858"/>
              <a:gd name="connsiteX4" fmla="*/ 1650884 w 1712259"/>
              <a:gd name="connsiteY4" fmla="*/ 2518134 h 2875858"/>
              <a:gd name="connsiteX5" fmla="*/ 1650884 w 1712259"/>
              <a:gd name="connsiteY5" fmla="*/ 2814482 h 2875858"/>
              <a:gd name="connsiteX6" fmla="*/ 1354535 w 1712259"/>
              <a:gd name="connsiteY6" fmla="*/ 2814482 h 2875858"/>
              <a:gd name="connsiteX7" fmla="*/ 3146 w 1712259"/>
              <a:gd name="connsiteY7" fmla="*/ 1463094 h 2875858"/>
              <a:gd name="connsiteX8" fmla="*/ 0 w 1712259"/>
              <a:gd name="connsiteY8" fmla="*/ 1374450 h 2875858"/>
              <a:gd name="connsiteX9" fmla="*/ 0 w 1712259"/>
              <a:gd name="connsiteY9" fmla="*/ 209550 h 2875858"/>
              <a:gd name="connsiteX10" fmla="*/ 61376 w 1712259"/>
              <a:gd name="connsiteY10" fmla="*/ 61376 h 2875858"/>
              <a:gd name="connsiteX0" fmla="*/ 61376 w 1712259"/>
              <a:gd name="connsiteY0" fmla="*/ 61376 h 2875858"/>
              <a:gd name="connsiteX1" fmla="*/ 209550 w 1712259"/>
              <a:gd name="connsiteY1" fmla="*/ 0 h 2875858"/>
              <a:gd name="connsiteX2" fmla="*/ 419100 w 1712259"/>
              <a:gd name="connsiteY2" fmla="*/ 209550 h 2875858"/>
              <a:gd name="connsiteX3" fmla="*/ 419100 w 1712259"/>
              <a:gd name="connsiteY3" fmla="*/ 1286350 h 2875858"/>
              <a:gd name="connsiteX4" fmla="*/ 1650884 w 1712259"/>
              <a:gd name="connsiteY4" fmla="*/ 2518134 h 2875858"/>
              <a:gd name="connsiteX5" fmla="*/ 1650884 w 1712259"/>
              <a:gd name="connsiteY5" fmla="*/ 2814482 h 2875858"/>
              <a:gd name="connsiteX6" fmla="*/ 1354535 w 1712259"/>
              <a:gd name="connsiteY6" fmla="*/ 2814482 h 2875858"/>
              <a:gd name="connsiteX7" fmla="*/ 3146 w 1712259"/>
              <a:gd name="connsiteY7" fmla="*/ 1463094 h 2875858"/>
              <a:gd name="connsiteX8" fmla="*/ 0 w 1712259"/>
              <a:gd name="connsiteY8" fmla="*/ 209550 h 2875858"/>
              <a:gd name="connsiteX9" fmla="*/ 61376 w 1712259"/>
              <a:gd name="connsiteY9" fmla="*/ 61376 h 28758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712259" h="2875858">
                <a:moveTo>
                  <a:pt x="61376" y="61376"/>
                </a:moveTo>
                <a:cubicBezTo>
                  <a:pt x="99297" y="23455"/>
                  <a:pt x="151685" y="0"/>
                  <a:pt x="209550" y="0"/>
                </a:cubicBezTo>
                <a:cubicBezTo>
                  <a:pt x="325281" y="0"/>
                  <a:pt x="419100" y="93819"/>
                  <a:pt x="419100" y="209550"/>
                </a:cubicBezTo>
                <a:lnTo>
                  <a:pt x="419100" y="1286350"/>
                </a:lnTo>
                <a:lnTo>
                  <a:pt x="1650884" y="2518134"/>
                </a:lnTo>
                <a:cubicBezTo>
                  <a:pt x="1732718" y="2599968"/>
                  <a:pt x="1732718" y="2732648"/>
                  <a:pt x="1650884" y="2814482"/>
                </a:cubicBezTo>
                <a:cubicBezTo>
                  <a:pt x="1569050" y="2896317"/>
                  <a:pt x="1436370" y="2896317"/>
                  <a:pt x="1354535" y="2814482"/>
                </a:cubicBezTo>
                <a:lnTo>
                  <a:pt x="3146" y="1463094"/>
                </a:lnTo>
                <a:cubicBezTo>
                  <a:pt x="2097" y="1045246"/>
                  <a:pt x="1049" y="627398"/>
                  <a:pt x="0" y="209550"/>
                </a:cubicBezTo>
                <a:cubicBezTo>
                  <a:pt x="0" y="151685"/>
                  <a:pt x="23455" y="99297"/>
                  <a:pt x="61376" y="61376"/>
                </a:cubicBezTo>
                <a:close/>
              </a:path>
            </a:pathLst>
          </a:custGeom>
          <a:ln w="12700">
            <a:solidFill>
              <a:schemeClr val="accent1"/>
            </a:solidFill>
          </a:ln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4" name="Freeform: Shape 1221">
            <a:extLst>
              <a:ext uri="{FF2B5EF4-FFF2-40B4-BE49-F238E27FC236}">
                <a16:creationId xmlns:a16="http://schemas.microsoft.com/office/drawing/2014/main" id="{119B921D-7EBA-B3B6-1D63-ECC40645A9D4}"/>
              </a:ext>
            </a:extLst>
          </p:cNvPr>
          <p:cNvSpPr/>
          <p:nvPr/>
        </p:nvSpPr>
        <p:spPr>
          <a:xfrm>
            <a:off x="866055" y="2576534"/>
            <a:ext cx="259921" cy="125649"/>
          </a:xfrm>
          <a:custGeom>
            <a:avLst/>
            <a:gdLst>
              <a:gd name="connsiteX0" fmla="*/ 0 w 3649980"/>
              <a:gd name="connsiteY0" fmla="*/ 1790700 h 1790700"/>
              <a:gd name="connsiteX1" fmla="*/ 342900 w 3649980"/>
              <a:gd name="connsiteY1" fmla="*/ 1440180 h 1790700"/>
              <a:gd name="connsiteX2" fmla="*/ 1859280 w 3649980"/>
              <a:gd name="connsiteY2" fmla="*/ 1440180 h 1790700"/>
              <a:gd name="connsiteX3" fmla="*/ 3589020 w 3649980"/>
              <a:gd name="connsiteY3" fmla="*/ 480060 h 1790700"/>
              <a:gd name="connsiteX4" fmla="*/ 3649980 w 3649980"/>
              <a:gd name="connsiteY4" fmla="*/ 129540 h 1790700"/>
              <a:gd name="connsiteX5" fmla="*/ 3360420 w 3649980"/>
              <a:gd name="connsiteY5" fmla="*/ 0 h 1790700"/>
              <a:gd name="connsiteX6" fmla="*/ 2461260 w 3649980"/>
              <a:gd name="connsiteY6" fmla="*/ 472440 h 1790700"/>
              <a:gd name="connsiteX0" fmla="*/ 0 w 3649980"/>
              <a:gd name="connsiteY0" fmla="*/ 1790700 h 1790700"/>
              <a:gd name="connsiteX1" fmla="*/ 342900 w 3649980"/>
              <a:gd name="connsiteY1" fmla="*/ 1440180 h 1790700"/>
              <a:gd name="connsiteX2" fmla="*/ 1859280 w 3649980"/>
              <a:gd name="connsiteY2" fmla="*/ 1440180 h 1790700"/>
              <a:gd name="connsiteX3" fmla="*/ 3589020 w 3649980"/>
              <a:gd name="connsiteY3" fmla="*/ 480060 h 1790700"/>
              <a:gd name="connsiteX4" fmla="*/ 3649980 w 3649980"/>
              <a:gd name="connsiteY4" fmla="*/ 129540 h 1790700"/>
              <a:gd name="connsiteX5" fmla="*/ 3360420 w 3649980"/>
              <a:gd name="connsiteY5" fmla="*/ 0 h 1790700"/>
              <a:gd name="connsiteX6" fmla="*/ 2461260 w 3649980"/>
              <a:gd name="connsiteY6" fmla="*/ 472440 h 1790700"/>
              <a:gd name="connsiteX0" fmla="*/ 0 w 3670250"/>
              <a:gd name="connsiteY0" fmla="*/ 1790700 h 1790700"/>
              <a:gd name="connsiteX1" fmla="*/ 342900 w 3670250"/>
              <a:gd name="connsiteY1" fmla="*/ 1440180 h 1790700"/>
              <a:gd name="connsiteX2" fmla="*/ 1859280 w 3670250"/>
              <a:gd name="connsiteY2" fmla="*/ 1440180 h 1790700"/>
              <a:gd name="connsiteX3" fmla="*/ 3589020 w 3670250"/>
              <a:gd name="connsiteY3" fmla="*/ 480060 h 1790700"/>
              <a:gd name="connsiteX4" fmla="*/ 3649980 w 3670250"/>
              <a:gd name="connsiteY4" fmla="*/ 129540 h 1790700"/>
              <a:gd name="connsiteX5" fmla="*/ 3360420 w 3670250"/>
              <a:gd name="connsiteY5" fmla="*/ 0 h 1790700"/>
              <a:gd name="connsiteX6" fmla="*/ 2461260 w 3670250"/>
              <a:gd name="connsiteY6" fmla="*/ 472440 h 1790700"/>
              <a:gd name="connsiteX0" fmla="*/ 0 w 3680460"/>
              <a:gd name="connsiteY0" fmla="*/ 1790700 h 1790700"/>
              <a:gd name="connsiteX1" fmla="*/ 342900 w 3680460"/>
              <a:gd name="connsiteY1" fmla="*/ 1440180 h 1790700"/>
              <a:gd name="connsiteX2" fmla="*/ 1859280 w 3680460"/>
              <a:gd name="connsiteY2" fmla="*/ 1440180 h 1790700"/>
              <a:gd name="connsiteX3" fmla="*/ 3589020 w 3680460"/>
              <a:gd name="connsiteY3" fmla="*/ 480060 h 1790700"/>
              <a:gd name="connsiteX4" fmla="*/ 3649980 w 3680460"/>
              <a:gd name="connsiteY4" fmla="*/ 129540 h 1790700"/>
              <a:gd name="connsiteX5" fmla="*/ 3360420 w 3680460"/>
              <a:gd name="connsiteY5" fmla="*/ 0 h 1790700"/>
              <a:gd name="connsiteX6" fmla="*/ 2461260 w 3680460"/>
              <a:gd name="connsiteY6" fmla="*/ 472440 h 1790700"/>
              <a:gd name="connsiteX0" fmla="*/ 0 w 3680460"/>
              <a:gd name="connsiteY0" fmla="*/ 1794613 h 1794613"/>
              <a:gd name="connsiteX1" fmla="*/ 342900 w 3680460"/>
              <a:gd name="connsiteY1" fmla="*/ 1444093 h 1794613"/>
              <a:gd name="connsiteX2" fmla="*/ 1859280 w 3680460"/>
              <a:gd name="connsiteY2" fmla="*/ 1444093 h 1794613"/>
              <a:gd name="connsiteX3" fmla="*/ 3589020 w 3680460"/>
              <a:gd name="connsiteY3" fmla="*/ 483973 h 1794613"/>
              <a:gd name="connsiteX4" fmla="*/ 3649980 w 3680460"/>
              <a:gd name="connsiteY4" fmla="*/ 133453 h 1794613"/>
              <a:gd name="connsiteX5" fmla="*/ 3360420 w 3680460"/>
              <a:gd name="connsiteY5" fmla="*/ 3913 h 1794613"/>
              <a:gd name="connsiteX6" fmla="*/ 2461260 w 3680460"/>
              <a:gd name="connsiteY6" fmla="*/ 476353 h 1794613"/>
              <a:gd name="connsiteX0" fmla="*/ 0 w 3670229"/>
              <a:gd name="connsiteY0" fmla="*/ 1781012 h 1781012"/>
              <a:gd name="connsiteX1" fmla="*/ 342900 w 3670229"/>
              <a:gd name="connsiteY1" fmla="*/ 1430492 h 1781012"/>
              <a:gd name="connsiteX2" fmla="*/ 1859280 w 3670229"/>
              <a:gd name="connsiteY2" fmla="*/ 1430492 h 1781012"/>
              <a:gd name="connsiteX3" fmla="*/ 3589020 w 3670229"/>
              <a:gd name="connsiteY3" fmla="*/ 470372 h 1781012"/>
              <a:gd name="connsiteX4" fmla="*/ 3649980 w 3670229"/>
              <a:gd name="connsiteY4" fmla="*/ 119852 h 1781012"/>
              <a:gd name="connsiteX5" fmla="*/ 3346132 w 3670229"/>
              <a:gd name="connsiteY5" fmla="*/ 2218 h 1781012"/>
              <a:gd name="connsiteX6" fmla="*/ 2461260 w 3670229"/>
              <a:gd name="connsiteY6" fmla="*/ 462752 h 1781012"/>
              <a:gd name="connsiteX0" fmla="*/ 0 w 3670229"/>
              <a:gd name="connsiteY0" fmla="*/ 1786138 h 1786138"/>
              <a:gd name="connsiteX1" fmla="*/ 342900 w 3670229"/>
              <a:gd name="connsiteY1" fmla="*/ 1435618 h 1786138"/>
              <a:gd name="connsiteX2" fmla="*/ 1859280 w 3670229"/>
              <a:gd name="connsiteY2" fmla="*/ 1435618 h 1786138"/>
              <a:gd name="connsiteX3" fmla="*/ 3589020 w 3670229"/>
              <a:gd name="connsiteY3" fmla="*/ 475498 h 1786138"/>
              <a:gd name="connsiteX4" fmla="*/ 3649980 w 3670229"/>
              <a:gd name="connsiteY4" fmla="*/ 124978 h 1786138"/>
              <a:gd name="connsiteX5" fmla="*/ 3346132 w 3670229"/>
              <a:gd name="connsiteY5" fmla="*/ 7344 h 1786138"/>
              <a:gd name="connsiteX6" fmla="*/ 2461260 w 3670229"/>
              <a:gd name="connsiteY6" fmla="*/ 467878 h 1786138"/>
              <a:gd name="connsiteX0" fmla="*/ 0 w 3657088"/>
              <a:gd name="connsiteY0" fmla="*/ 1785508 h 1785508"/>
              <a:gd name="connsiteX1" fmla="*/ 342900 w 3657088"/>
              <a:gd name="connsiteY1" fmla="*/ 1434988 h 1785508"/>
              <a:gd name="connsiteX2" fmla="*/ 1859280 w 3657088"/>
              <a:gd name="connsiteY2" fmla="*/ 1434988 h 1785508"/>
              <a:gd name="connsiteX3" fmla="*/ 3589020 w 3657088"/>
              <a:gd name="connsiteY3" fmla="*/ 474868 h 1785508"/>
              <a:gd name="connsiteX4" fmla="*/ 3630930 w 3657088"/>
              <a:gd name="connsiteY4" fmla="*/ 133873 h 1785508"/>
              <a:gd name="connsiteX5" fmla="*/ 3346132 w 3657088"/>
              <a:gd name="connsiteY5" fmla="*/ 6714 h 1785508"/>
              <a:gd name="connsiteX6" fmla="*/ 2461260 w 3657088"/>
              <a:gd name="connsiteY6" fmla="*/ 467248 h 1785508"/>
              <a:gd name="connsiteX0" fmla="*/ 0 w 3673639"/>
              <a:gd name="connsiteY0" fmla="*/ 1788509 h 1788509"/>
              <a:gd name="connsiteX1" fmla="*/ 342900 w 3673639"/>
              <a:gd name="connsiteY1" fmla="*/ 1437989 h 1788509"/>
              <a:gd name="connsiteX2" fmla="*/ 1859280 w 3673639"/>
              <a:gd name="connsiteY2" fmla="*/ 1437989 h 1788509"/>
              <a:gd name="connsiteX3" fmla="*/ 3589020 w 3673639"/>
              <a:gd name="connsiteY3" fmla="*/ 477869 h 1788509"/>
              <a:gd name="connsiteX4" fmla="*/ 3630930 w 3673639"/>
              <a:gd name="connsiteY4" fmla="*/ 136874 h 1788509"/>
              <a:gd name="connsiteX5" fmla="*/ 3346132 w 3673639"/>
              <a:gd name="connsiteY5" fmla="*/ 9715 h 1788509"/>
              <a:gd name="connsiteX6" fmla="*/ 2461260 w 3673639"/>
              <a:gd name="connsiteY6" fmla="*/ 470249 h 1788509"/>
              <a:gd name="connsiteX0" fmla="*/ 0 w 3653181"/>
              <a:gd name="connsiteY0" fmla="*/ 1785767 h 1785767"/>
              <a:gd name="connsiteX1" fmla="*/ 342900 w 3653181"/>
              <a:gd name="connsiteY1" fmla="*/ 1435247 h 1785767"/>
              <a:gd name="connsiteX2" fmla="*/ 1859280 w 3653181"/>
              <a:gd name="connsiteY2" fmla="*/ 1435247 h 1785767"/>
              <a:gd name="connsiteX3" fmla="*/ 3579495 w 3653181"/>
              <a:gd name="connsiteY3" fmla="*/ 501320 h 1785767"/>
              <a:gd name="connsiteX4" fmla="*/ 3630930 w 3653181"/>
              <a:gd name="connsiteY4" fmla="*/ 134132 h 1785767"/>
              <a:gd name="connsiteX5" fmla="*/ 3346132 w 3653181"/>
              <a:gd name="connsiteY5" fmla="*/ 6973 h 1785767"/>
              <a:gd name="connsiteX6" fmla="*/ 2461260 w 3653181"/>
              <a:gd name="connsiteY6" fmla="*/ 467507 h 1785767"/>
              <a:gd name="connsiteX0" fmla="*/ 0 w 3657884"/>
              <a:gd name="connsiteY0" fmla="*/ 1785767 h 1785767"/>
              <a:gd name="connsiteX1" fmla="*/ 342900 w 3657884"/>
              <a:gd name="connsiteY1" fmla="*/ 1435247 h 1785767"/>
              <a:gd name="connsiteX2" fmla="*/ 1859280 w 3657884"/>
              <a:gd name="connsiteY2" fmla="*/ 1435247 h 1785767"/>
              <a:gd name="connsiteX3" fmla="*/ 3579495 w 3657884"/>
              <a:gd name="connsiteY3" fmla="*/ 501320 h 1785767"/>
              <a:gd name="connsiteX4" fmla="*/ 3630930 w 3657884"/>
              <a:gd name="connsiteY4" fmla="*/ 134132 h 1785767"/>
              <a:gd name="connsiteX5" fmla="*/ 3346132 w 3657884"/>
              <a:gd name="connsiteY5" fmla="*/ 6973 h 1785767"/>
              <a:gd name="connsiteX6" fmla="*/ 2461260 w 3657884"/>
              <a:gd name="connsiteY6" fmla="*/ 467507 h 1785767"/>
              <a:gd name="connsiteX0" fmla="*/ 0 w 3668129"/>
              <a:gd name="connsiteY0" fmla="*/ 1788468 h 1788468"/>
              <a:gd name="connsiteX1" fmla="*/ 342900 w 3668129"/>
              <a:gd name="connsiteY1" fmla="*/ 1437948 h 1788468"/>
              <a:gd name="connsiteX2" fmla="*/ 1859280 w 3668129"/>
              <a:gd name="connsiteY2" fmla="*/ 1437948 h 1788468"/>
              <a:gd name="connsiteX3" fmla="*/ 3579495 w 3668129"/>
              <a:gd name="connsiteY3" fmla="*/ 504021 h 1788468"/>
              <a:gd name="connsiteX4" fmla="*/ 3630930 w 3668129"/>
              <a:gd name="connsiteY4" fmla="*/ 136833 h 1788468"/>
              <a:gd name="connsiteX5" fmla="*/ 3346132 w 3668129"/>
              <a:gd name="connsiteY5" fmla="*/ 9674 h 1788468"/>
              <a:gd name="connsiteX6" fmla="*/ 2461260 w 3668129"/>
              <a:gd name="connsiteY6" fmla="*/ 470208 h 1788468"/>
              <a:gd name="connsiteX0" fmla="*/ 0 w 3668129"/>
              <a:gd name="connsiteY0" fmla="*/ 1788468 h 1788468"/>
              <a:gd name="connsiteX1" fmla="*/ 342900 w 3668129"/>
              <a:gd name="connsiteY1" fmla="*/ 1437948 h 1788468"/>
              <a:gd name="connsiteX2" fmla="*/ 1859280 w 3668129"/>
              <a:gd name="connsiteY2" fmla="*/ 1437948 h 1788468"/>
              <a:gd name="connsiteX3" fmla="*/ 3579495 w 3668129"/>
              <a:gd name="connsiteY3" fmla="*/ 504021 h 1788468"/>
              <a:gd name="connsiteX4" fmla="*/ 3630930 w 3668129"/>
              <a:gd name="connsiteY4" fmla="*/ 136833 h 1788468"/>
              <a:gd name="connsiteX5" fmla="*/ 3346132 w 3668129"/>
              <a:gd name="connsiteY5" fmla="*/ 9674 h 1788468"/>
              <a:gd name="connsiteX6" fmla="*/ 2461260 w 3668129"/>
              <a:gd name="connsiteY6" fmla="*/ 470208 h 1788468"/>
              <a:gd name="connsiteX0" fmla="*/ 0 w 3674565"/>
              <a:gd name="connsiteY0" fmla="*/ 1789038 h 1789038"/>
              <a:gd name="connsiteX1" fmla="*/ 342900 w 3674565"/>
              <a:gd name="connsiteY1" fmla="*/ 1438518 h 1789038"/>
              <a:gd name="connsiteX2" fmla="*/ 1859280 w 3674565"/>
              <a:gd name="connsiteY2" fmla="*/ 1438518 h 1789038"/>
              <a:gd name="connsiteX3" fmla="*/ 3579495 w 3674565"/>
              <a:gd name="connsiteY3" fmla="*/ 504591 h 1789038"/>
              <a:gd name="connsiteX4" fmla="*/ 3640455 w 3674565"/>
              <a:gd name="connsiteY4" fmla="*/ 132641 h 1789038"/>
              <a:gd name="connsiteX5" fmla="*/ 3346132 w 3674565"/>
              <a:gd name="connsiteY5" fmla="*/ 10244 h 1789038"/>
              <a:gd name="connsiteX6" fmla="*/ 2461260 w 3674565"/>
              <a:gd name="connsiteY6" fmla="*/ 470778 h 1789038"/>
              <a:gd name="connsiteX0" fmla="*/ 0 w 3673723"/>
              <a:gd name="connsiteY0" fmla="*/ 1785885 h 1785885"/>
              <a:gd name="connsiteX1" fmla="*/ 342900 w 3673723"/>
              <a:gd name="connsiteY1" fmla="*/ 1435365 h 1785885"/>
              <a:gd name="connsiteX2" fmla="*/ 1859280 w 3673723"/>
              <a:gd name="connsiteY2" fmla="*/ 1435365 h 1785885"/>
              <a:gd name="connsiteX3" fmla="*/ 3600926 w 3673723"/>
              <a:gd name="connsiteY3" fmla="*/ 482388 h 1785885"/>
              <a:gd name="connsiteX4" fmla="*/ 3640455 w 3673723"/>
              <a:gd name="connsiteY4" fmla="*/ 129488 h 1785885"/>
              <a:gd name="connsiteX5" fmla="*/ 3346132 w 3673723"/>
              <a:gd name="connsiteY5" fmla="*/ 7091 h 1785885"/>
              <a:gd name="connsiteX6" fmla="*/ 2461260 w 3673723"/>
              <a:gd name="connsiteY6" fmla="*/ 467625 h 1785885"/>
              <a:gd name="connsiteX0" fmla="*/ 0 w 3673723"/>
              <a:gd name="connsiteY0" fmla="*/ 1785885 h 1785885"/>
              <a:gd name="connsiteX1" fmla="*/ 361950 w 3673723"/>
              <a:gd name="connsiteY1" fmla="*/ 1430603 h 1785885"/>
              <a:gd name="connsiteX2" fmla="*/ 1859280 w 3673723"/>
              <a:gd name="connsiteY2" fmla="*/ 1435365 h 1785885"/>
              <a:gd name="connsiteX3" fmla="*/ 3600926 w 3673723"/>
              <a:gd name="connsiteY3" fmla="*/ 482388 h 1785885"/>
              <a:gd name="connsiteX4" fmla="*/ 3640455 w 3673723"/>
              <a:gd name="connsiteY4" fmla="*/ 129488 h 1785885"/>
              <a:gd name="connsiteX5" fmla="*/ 3346132 w 3673723"/>
              <a:gd name="connsiteY5" fmla="*/ 7091 h 1785885"/>
              <a:gd name="connsiteX6" fmla="*/ 2461260 w 3673723"/>
              <a:gd name="connsiteY6" fmla="*/ 467625 h 1785885"/>
              <a:gd name="connsiteX0" fmla="*/ 0 w 3673723"/>
              <a:gd name="connsiteY0" fmla="*/ 1785885 h 1785885"/>
              <a:gd name="connsiteX1" fmla="*/ 361950 w 3673723"/>
              <a:gd name="connsiteY1" fmla="*/ 1430603 h 1785885"/>
              <a:gd name="connsiteX2" fmla="*/ 1859280 w 3673723"/>
              <a:gd name="connsiteY2" fmla="*/ 1435365 h 1785885"/>
              <a:gd name="connsiteX3" fmla="*/ 3600926 w 3673723"/>
              <a:gd name="connsiteY3" fmla="*/ 482388 h 1785885"/>
              <a:gd name="connsiteX4" fmla="*/ 3640455 w 3673723"/>
              <a:gd name="connsiteY4" fmla="*/ 129488 h 1785885"/>
              <a:gd name="connsiteX5" fmla="*/ 3346132 w 3673723"/>
              <a:gd name="connsiteY5" fmla="*/ 7091 h 1785885"/>
              <a:gd name="connsiteX6" fmla="*/ 2461260 w 3673723"/>
              <a:gd name="connsiteY6" fmla="*/ 467625 h 1785885"/>
              <a:gd name="connsiteX0" fmla="*/ 0 w 3673723"/>
              <a:gd name="connsiteY0" fmla="*/ 1785885 h 1785885"/>
              <a:gd name="connsiteX1" fmla="*/ 361950 w 3673723"/>
              <a:gd name="connsiteY1" fmla="*/ 1430603 h 1785885"/>
              <a:gd name="connsiteX2" fmla="*/ 1859280 w 3673723"/>
              <a:gd name="connsiteY2" fmla="*/ 1435365 h 1785885"/>
              <a:gd name="connsiteX3" fmla="*/ 3600926 w 3673723"/>
              <a:gd name="connsiteY3" fmla="*/ 482388 h 1785885"/>
              <a:gd name="connsiteX4" fmla="*/ 3640455 w 3673723"/>
              <a:gd name="connsiteY4" fmla="*/ 129488 h 1785885"/>
              <a:gd name="connsiteX5" fmla="*/ 3346132 w 3673723"/>
              <a:gd name="connsiteY5" fmla="*/ 7091 h 1785885"/>
              <a:gd name="connsiteX6" fmla="*/ 2461260 w 3673723"/>
              <a:gd name="connsiteY6" fmla="*/ 467625 h 1785885"/>
              <a:gd name="connsiteX0" fmla="*/ 0 w 3673723"/>
              <a:gd name="connsiteY0" fmla="*/ 1785885 h 1785885"/>
              <a:gd name="connsiteX1" fmla="*/ 361950 w 3673723"/>
              <a:gd name="connsiteY1" fmla="*/ 1430603 h 1785885"/>
              <a:gd name="connsiteX2" fmla="*/ 1859280 w 3673723"/>
              <a:gd name="connsiteY2" fmla="*/ 1435365 h 1785885"/>
              <a:gd name="connsiteX3" fmla="*/ 3600926 w 3673723"/>
              <a:gd name="connsiteY3" fmla="*/ 482388 h 1785885"/>
              <a:gd name="connsiteX4" fmla="*/ 3640455 w 3673723"/>
              <a:gd name="connsiteY4" fmla="*/ 129488 h 1785885"/>
              <a:gd name="connsiteX5" fmla="*/ 3346132 w 3673723"/>
              <a:gd name="connsiteY5" fmla="*/ 7091 h 1785885"/>
              <a:gd name="connsiteX6" fmla="*/ 2461260 w 3673723"/>
              <a:gd name="connsiteY6" fmla="*/ 467625 h 1785885"/>
              <a:gd name="connsiteX0" fmla="*/ 0 w 3693687"/>
              <a:gd name="connsiteY0" fmla="*/ 1789806 h 1789806"/>
              <a:gd name="connsiteX1" fmla="*/ 361950 w 3693687"/>
              <a:gd name="connsiteY1" fmla="*/ 1434524 h 1789806"/>
              <a:gd name="connsiteX2" fmla="*/ 1859280 w 3693687"/>
              <a:gd name="connsiteY2" fmla="*/ 1439286 h 1789806"/>
              <a:gd name="connsiteX3" fmla="*/ 3600926 w 3693687"/>
              <a:gd name="connsiteY3" fmla="*/ 486309 h 1789806"/>
              <a:gd name="connsiteX4" fmla="*/ 3640455 w 3693687"/>
              <a:gd name="connsiteY4" fmla="*/ 133409 h 1789806"/>
              <a:gd name="connsiteX5" fmla="*/ 3346132 w 3693687"/>
              <a:gd name="connsiteY5" fmla="*/ 11012 h 1789806"/>
              <a:gd name="connsiteX6" fmla="*/ 2461260 w 3693687"/>
              <a:gd name="connsiteY6" fmla="*/ 471546 h 1789806"/>
              <a:gd name="connsiteX0" fmla="*/ 0 w 3689230"/>
              <a:gd name="connsiteY0" fmla="*/ 1788874 h 1788874"/>
              <a:gd name="connsiteX1" fmla="*/ 361950 w 3689230"/>
              <a:gd name="connsiteY1" fmla="*/ 1433592 h 1788874"/>
              <a:gd name="connsiteX2" fmla="*/ 1859280 w 3689230"/>
              <a:gd name="connsiteY2" fmla="*/ 1438354 h 1788874"/>
              <a:gd name="connsiteX3" fmla="*/ 3600926 w 3689230"/>
              <a:gd name="connsiteY3" fmla="*/ 485377 h 1788874"/>
              <a:gd name="connsiteX4" fmla="*/ 3633311 w 3689230"/>
              <a:gd name="connsiteY4" fmla="*/ 139621 h 1788874"/>
              <a:gd name="connsiteX5" fmla="*/ 3346132 w 3689230"/>
              <a:gd name="connsiteY5" fmla="*/ 10080 h 1788874"/>
              <a:gd name="connsiteX6" fmla="*/ 2461260 w 3689230"/>
              <a:gd name="connsiteY6" fmla="*/ 470614 h 1788874"/>
              <a:gd name="connsiteX0" fmla="*/ 0 w 3686231"/>
              <a:gd name="connsiteY0" fmla="*/ 1789714 h 1789714"/>
              <a:gd name="connsiteX1" fmla="*/ 361950 w 3686231"/>
              <a:gd name="connsiteY1" fmla="*/ 1434432 h 1789714"/>
              <a:gd name="connsiteX2" fmla="*/ 1859280 w 3686231"/>
              <a:gd name="connsiteY2" fmla="*/ 1439194 h 1789714"/>
              <a:gd name="connsiteX3" fmla="*/ 3600926 w 3686231"/>
              <a:gd name="connsiteY3" fmla="*/ 486217 h 1789714"/>
              <a:gd name="connsiteX4" fmla="*/ 3633311 w 3686231"/>
              <a:gd name="connsiteY4" fmla="*/ 140461 h 1789714"/>
              <a:gd name="connsiteX5" fmla="*/ 3346132 w 3686231"/>
              <a:gd name="connsiteY5" fmla="*/ 10920 h 1789714"/>
              <a:gd name="connsiteX6" fmla="*/ 2461260 w 3686231"/>
              <a:gd name="connsiteY6" fmla="*/ 471454 h 1789714"/>
              <a:gd name="connsiteX0" fmla="*/ 0 w 3656422"/>
              <a:gd name="connsiteY0" fmla="*/ 1785568 h 1785568"/>
              <a:gd name="connsiteX1" fmla="*/ 361950 w 3656422"/>
              <a:gd name="connsiteY1" fmla="*/ 1430286 h 1785568"/>
              <a:gd name="connsiteX2" fmla="*/ 1859280 w 3656422"/>
              <a:gd name="connsiteY2" fmla="*/ 1435048 h 1785568"/>
              <a:gd name="connsiteX3" fmla="*/ 3572351 w 3656422"/>
              <a:gd name="connsiteY3" fmla="*/ 496358 h 1785568"/>
              <a:gd name="connsiteX4" fmla="*/ 3633311 w 3656422"/>
              <a:gd name="connsiteY4" fmla="*/ 136315 h 1785568"/>
              <a:gd name="connsiteX5" fmla="*/ 3346132 w 3656422"/>
              <a:gd name="connsiteY5" fmla="*/ 6774 h 1785568"/>
              <a:gd name="connsiteX6" fmla="*/ 2461260 w 3656422"/>
              <a:gd name="connsiteY6" fmla="*/ 467308 h 1785568"/>
              <a:gd name="connsiteX0" fmla="*/ 0 w 3649015"/>
              <a:gd name="connsiteY0" fmla="*/ 1785568 h 1785568"/>
              <a:gd name="connsiteX1" fmla="*/ 361950 w 3649015"/>
              <a:gd name="connsiteY1" fmla="*/ 1430286 h 1785568"/>
              <a:gd name="connsiteX2" fmla="*/ 1859280 w 3649015"/>
              <a:gd name="connsiteY2" fmla="*/ 1435048 h 1785568"/>
              <a:gd name="connsiteX3" fmla="*/ 3572351 w 3649015"/>
              <a:gd name="connsiteY3" fmla="*/ 496358 h 1785568"/>
              <a:gd name="connsiteX4" fmla="*/ 3633311 w 3649015"/>
              <a:gd name="connsiteY4" fmla="*/ 136315 h 1785568"/>
              <a:gd name="connsiteX5" fmla="*/ 3346132 w 3649015"/>
              <a:gd name="connsiteY5" fmla="*/ 6774 h 1785568"/>
              <a:gd name="connsiteX6" fmla="*/ 2461260 w 3649015"/>
              <a:gd name="connsiteY6" fmla="*/ 467308 h 1785568"/>
              <a:gd name="connsiteX0" fmla="*/ 0 w 3651972"/>
              <a:gd name="connsiteY0" fmla="*/ 1767671 h 1767671"/>
              <a:gd name="connsiteX1" fmla="*/ 361950 w 3651972"/>
              <a:gd name="connsiteY1" fmla="*/ 1412389 h 1767671"/>
              <a:gd name="connsiteX2" fmla="*/ 1859280 w 3651972"/>
              <a:gd name="connsiteY2" fmla="*/ 1417151 h 1767671"/>
              <a:gd name="connsiteX3" fmla="*/ 3572351 w 3651972"/>
              <a:gd name="connsiteY3" fmla="*/ 478461 h 1767671"/>
              <a:gd name="connsiteX4" fmla="*/ 3633311 w 3651972"/>
              <a:gd name="connsiteY4" fmla="*/ 118418 h 1767671"/>
              <a:gd name="connsiteX5" fmla="*/ 3305651 w 3651972"/>
              <a:gd name="connsiteY5" fmla="*/ 7927 h 1767671"/>
              <a:gd name="connsiteX6" fmla="*/ 2461260 w 3651972"/>
              <a:gd name="connsiteY6" fmla="*/ 449411 h 1767671"/>
              <a:gd name="connsiteX0" fmla="*/ 0 w 3651972"/>
              <a:gd name="connsiteY0" fmla="*/ 1775850 h 1775850"/>
              <a:gd name="connsiteX1" fmla="*/ 361950 w 3651972"/>
              <a:gd name="connsiteY1" fmla="*/ 1420568 h 1775850"/>
              <a:gd name="connsiteX2" fmla="*/ 1859280 w 3651972"/>
              <a:gd name="connsiteY2" fmla="*/ 1425330 h 1775850"/>
              <a:gd name="connsiteX3" fmla="*/ 3572351 w 3651972"/>
              <a:gd name="connsiteY3" fmla="*/ 486640 h 1775850"/>
              <a:gd name="connsiteX4" fmla="*/ 3633311 w 3651972"/>
              <a:gd name="connsiteY4" fmla="*/ 126597 h 1775850"/>
              <a:gd name="connsiteX5" fmla="*/ 3305651 w 3651972"/>
              <a:gd name="connsiteY5" fmla="*/ 16106 h 1775850"/>
              <a:gd name="connsiteX6" fmla="*/ 2461260 w 3651972"/>
              <a:gd name="connsiteY6" fmla="*/ 457590 h 1775850"/>
              <a:gd name="connsiteX0" fmla="*/ 0 w 3651972"/>
              <a:gd name="connsiteY0" fmla="*/ 1775850 h 1775850"/>
              <a:gd name="connsiteX1" fmla="*/ 361950 w 3651972"/>
              <a:gd name="connsiteY1" fmla="*/ 1420568 h 1775850"/>
              <a:gd name="connsiteX2" fmla="*/ 1859280 w 3651972"/>
              <a:gd name="connsiteY2" fmla="*/ 1425330 h 1775850"/>
              <a:gd name="connsiteX3" fmla="*/ 3572351 w 3651972"/>
              <a:gd name="connsiteY3" fmla="*/ 486640 h 1775850"/>
              <a:gd name="connsiteX4" fmla="*/ 3633311 w 3651972"/>
              <a:gd name="connsiteY4" fmla="*/ 126597 h 1775850"/>
              <a:gd name="connsiteX5" fmla="*/ 3305651 w 3651972"/>
              <a:gd name="connsiteY5" fmla="*/ 16106 h 1775850"/>
              <a:gd name="connsiteX6" fmla="*/ 2461260 w 3651972"/>
              <a:gd name="connsiteY6" fmla="*/ 457590 h 1775850"/>
              <a:gd name="connsiteX0" fmla="*/ 0 w 3667722"/>
              <a:gd name="connsiteY0" fmla="*/ 1784978 h 1784978"/>
              <a:gd name="connsiteX1" fmla="*/ 361950 w 3667722"/>
              <a:gd name="connsiteY1" fmla="*/ 1429696 h 1784978"/>
              <a:gd name="connsiteX2" fmla="*/ 1859280 w 3667722"/>
              <a:gd name="connsiteY2" fmla="*/ 1434458 h 1784978"/>
              <a:gd name="connsiteX3" fmla="*/ 3572351 w 3667722"/>
              <a:gd name="connsiteY3" fmla="*/ 495768 h 1784978"/>
              <a:gd name="connsiteX4" fmla="*/ 3633311 w 3667722"/>
              <a:gd name="connsiteY4" fmla="*/ 135725 h 1784978"/>
              <a:gd name="connsiteX5" fmla="*/ 3305651 w 3667722"/>
              <a:gd name="connsiteY5" fmla="*/ 25234 h 1784978"/>
              <a:gd name="connsiteX6" fmla="*/ 2461260 w 3667722"/>
              <a:gd name="connsiteY6" fmla="*/ 466718 h 1784978"/>
              <a:gd name="connsiteX0" fmla="*/ 0 w 3680988"/>
              <a:gd name="connsiteY0" fmla="*/ 1781456 h 1781456"/>
              <a:gd name="connsiteX1" fmla="*/ 361950 w 3680988"/>
              <a:gd name="connsiteY1" fmla="*/ 1426174 h 1781456"/>
              <a:gd name="connsiteX2" fmla="*/ 1859280 w 3680988"/>
              <a:gd name="connsiteY2" fmla="*/ 1430936 h 1781456"/>
              <a:gd name="connsiteX3" fmla="*/ 3572351 w 3680988"/>
              <a:gd name="connsiteY3" fmla="*/ 492246 h 1781456"/>
              <a:gd name="connsiteX4" fmla="*/ 3649980 w 3680988"/>
              <a:gd name="connsiteY4" fmla="*/ 148872 h 1781456"/>
              <a:gd name="connsiteX5" fmla="*/ 3305651 w 3680988"/>
              <a:gd name="connsiteY5" fmla="*/ 21712 h 1781456"/>
              <a:gd name="connsiteX6" fmla="*/ 2461260 w 3680988"/>
              <a:gd name="connsiteY6" fmla="*/ 463196 h 1781456"/>
              <a:gd name="connsiteX0" fmla="*/ 0 w 3677895"/>
              <a:gd name="connsiteY0" fmla="*/ 1778568 h 1778568"/>
              <a:gd name="connsiteX1" fmla="*/ 361950 w 3677895"/>
              <a:gd name="connsiteY1" fmla="*/ 1423286 h 1778568"/>
              <a:gd name="connsiteX2" fmla="*/ 1859280 w 3677895"/>
              <a:gd name="connsiteY2" fmla="*/ 1428048 h 1778568"/>
              <a:gd name="connsiteX3" fmla="*/ 3572351 w 3677895"/>
              <a:gd name="connsiteY3" fmla="*/ 489358 h 1778568"/>
              <a:gd name="connsiteX4" fmla="*/ 3649980 w 3677895"/>
              <a:gd name="connsiteY4" fmla="*/ 145984 h 1778568"/>
              <a:gd name="connsiteX5" fmla="*/ 3305651 w 3677895"/>
              <a:gd name="connsiteY5" fmla="*/ 18824 h 1778568"/>
              <a:gd name="connsiteX6" fmla="*/ 2461260 w 3677895"/>
              <a:gd name="connsiteY6" fmla="*/ 460308 h 1778568"/>
              <a:gd name="connsiteX0" fmla="*/ 0 w 3677895"/>
              <a:gd name="connsiteY0" fmla="*/ 1778568 h 1778568"/>
              <a:gd name="connsiteX1" fmla="*/ 361950 w 3677895"/>
              <a:gd name="connsiteY1" fmla="*/ 1423286 h 1778568"/>
              <a:gd name="connsiteX2" fmla="*/ 1859280 w 3677895"/>
              <a:gd name="connsiteY2" fmla="*/ 1428048 h 1778568"/>
              <a:gd name="connsiteX3" fmla="*/ 3572351 w 3677895"/>
              <a:gd name="connsiteY3" fmla="*/ 489358 h 1778568"/>
              <a:gd name="connsiteX4" fmla="*/ 3649980 w 3677895"/>
              <a:gd name="connsiteY4" fmla="*/ 145984 h 1778568"/>
              <a:gd name="connsiteX5" fmla="*/ 3305651 w 3677895"/>
              <a:gd name="connsiteY5" fmla="*/ 18824 h 1778568"/>
              <a:gd name="connsiteX6" fmla="*/ 2461260 w 3677895"/>
              <a:gd name="connsiteY6" fmla="*/ 460308 h 1778568"/>
              <a:gd name="connsiteX0" fmla="*/ 0 w 3677895"/>
              <a:gd name="connsiteY0" fmla="*/ 1819703 h 1819703"/>
              <a:gd name="connsiteX1" fmla="*/ 361950 w 3677895"/>
              <a:gd name="connsiteY1" fmla="*/ 1464421 h 1819703"/>
              <a:gd name="connsiteX2" fmla="*/ 1859280 w 3677895"/>
              <a:gd name="connsiteY2" fmla="*/ 1469183 h 1819703"/>
              <a:gd name="connsiteX3" fmla="*/ 3572351 w 3677895"/>
              <a:gd name="connsiteY3" fmla="*/ 530493 h 1819703"/>
              <a:gd name="connsiteX4" fmla="*/ 3649980 w 3677895"/>
              <a:gd name="connsiteY4" fmla="*/ 187119 h 1819703"/>
              <a:gd name="connsiteX5" fmla="*/ 3305651 w 3677895"/>
              <a:gd name="connsiteY5" fmla="*/ 59959 h 1819703"/>
              <a:gd name="connsiteX6" fmla="*/ 2461260 w 3677895"/>
              <a:gd name="connsiteY6" fmla="*/ 501443 h 1819703"/>
              <a:gd name="connsiteX0" fmla="*/ 0 w 3677895"/>
              <a:gd name="connsiteY0" fmla="*/ 1776510 h 1776510"/>
              <a:gd name="connsiteX1" fmla="*/ 361950 w 3677895"/>
              <a:gd name="connsiteY1" fmla="*/ 1421228 h 1776510"/>
              <a:gd name="connsiteX2" fmla="*/ 1859280 w 3677895"/>
              <a:gd name="connsiteY2" fmla="*/ 1425990 h 1776510"/>
              <a:gd name="connsiteX3" fmla="*/ 3572351 w 3677895"/>
              <a:gd name="connsiteY3" fmla="*/ 487300 h 1776510"/>
              <a:gd name="connsiteX4" fmla="*/ 3649980 w 3677895"/>
              <a:gd name="connsiteY4" fmla="*/ 143926 h 1776510"/>
              <a:gd name="connsiteX5" fmla="*/ 3305651 w 3677895"/>
              <a:gd name="connsiteY5" fmla="*/ 16766 h 1776510"/>
              <a:gd name="connsiteX6" fmla="*/ 2461260 w 3677895"/>
              <a:gd name="connsiteY6" fmla="*/ 458250 h 1776510"/>
              <a:gd name="connsiteX0" fmla="*/ 0 w 3679956"/>
              <a:gd name="connsiteY0" fmla="*/ 1778935 h 1778935"/>
              <a:gd name="connsiteX1" fmla="*/ 361950 w 3679956"/>
              <a:gd name="connsiteY1" fmla="*/ 1423653 h 1778935"/>
              <a:gd name="connsiteX2" fmla="*/ 1859280 w 3679956"/>
              <a:gd name="connsiteY2" fmla="*/ 1428415 h 1778935"/>
              <a:gd name="connsiteX3" fmla="*/ 3572351 w 3679956"/>
              <a:gd name="connsiteY3" fmla="*/ 489725 h 1778935"/>
              <a:gd name="connsiteX4" fmla="*/ 3649980 w 3679956"/>
              <a:gd name="connsiteY4" fmla="*/ 146351 h 1778935"/>
              <a:gd name="connsiteX5" fmla="*/ 3305651 w 3679956"/>
              <a:gd name="connsiteY5" fmla="*/ 19191 h 1778935"/>
              <a:gd name="connsiteX6" fmla="*/ 2461260 w 3679956"/>
              <a:gd name="connsiteY6" fmla="*/ 460675 h 17789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679956" h="1778935">
                <a:moveTo>
                  <a:pt x="0" y="1778935"/>
                </a:moveTo>
                <a:cubicBezTo>
                  <a:pt x="120650" y="1660508"/>
                  <a:pt x="317500" y="1437305"/>
                  <a:pt x="361950" y="1423653"/>
                </a:cubicBezTo>
                <a:cubicBezTo>
                  <a:pt x="427673" y="1363327"/>
                  <a:pt x="1360170" y="1426828"/>
                  <a:pt x="1859280" y="1428415"/>
                </a:cubicBezTo>
                <a:cubicBezTo>
                  <a:pt x="1986280" y="1420795"/>
                  <a:pt x="3507741" y="535128"/>
                  <a:pt x="3572351" y="489725"/>
                </a:cubicBezTo>
                <a:cubicBezTo>
                  <a:pt x="3636961" y="444322"/>
                  <a:pt x="3727768" y="281923"/>
                  <a:pt x="3649980" y="146351"/>
                </a:cubicBezTo>
                <a:cubicBezTo>
                  <a:pt x="3572192" y="10779"/>
                  <a:pt x="3387090" y="-27957"/>
                  <a:pt x="3305651" y="19191"/>
                </a:cubicBezTo>
                <a:cubicBezTo>
                  <a:pt x="3224212" y="66339"/>
                  <a:pt x="2742724" y="313514"/>
                  <a:pt x="2461260" y="460675"/>
                </a:cubicBezTo>
              </a:path>
            </a:pathLst>
          </a:custGeom>
          <a:solidFill>
            <a:schemeClr val="bg1"/>
          </a:solidFill>
          <a:ln w="12700" cap="rnd">
            <a:solidFill>
              <a:schemeClr val="bg2"/>
            </a:solidFill>
            <a:rou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5" name="Rectangle: Rounded Corners 23">
            <a:extLst>
              <a:ext uri="{FF2B5EF4-FFF2-40B4-BE49-F238E27FC236}">
                <a16:creationId xmlns:a16="http://schemas.microsoft.com/office/drawing/2014/main" id="{BE4CEBFB-C50C-3166-0A89-3C2F28A5CBEC}"/>
              </a:ext>
            </a:extLst>
          </p:cNvPr>
          <p:cNvSpPr/>
          <p:nvPr/>
        </p:nvSpPr>
        <p:spPr>
          <a:xfrm>
            <a:off x="830673" y="2588866"/>
            <a:ext cx="190279" cy="51672"/>
          </a:xfrm>
          <a:custGeom>
            <a:avLst/>
            <a:gdLst>
              <a:gd name="connsiteX0" fmla="*/ 0 w 1892087"/>
              <a:gd name="connsiteY0" fmla="*/ 331373 h 662746"/>
              <a:gd name="connsiteX1" fmla="*/ 331373 w 1892087"/>
              <a:gd name="connsiteY1" fmla="*/ 0 h 662746"/>
              <a:gd name="connsiteX2" fmla="*/ 1560714 w 1892087"/>
              <a:gd name="connsiteY2" fmla="*/ 0 h 662746"/>
              <a:gd name="connsiteX3" fmla="*/ 1892087 w 1892087"/>
              <a:gd name="connsiteY3" fmla="*/ 331373 h 662746"/>
              <a:gd name="connsiteX4" fmla="*/ 1892087 w 1892087"/>
              <a:gd name="connsiteY4" fmla="*/ 331373 h 662746"/>
              <a:gd name="connsiteX5" fmla="*/ 1560714 w 1892087"/>
              <a:gd name="connsiteY5" fmla="*/ 662746 h 662746"/>
              <a:gd name="connsiteX6" fmla="*/ 331373 w 1892087"/>
              <a:gd name="connsiteY6" fmla="*/ 662746 h 662746"/>
              <a:gd name="connsiteX7" fmla="*/ 0 w 1892087"/>
              <a:gd name="connsiteY7" fmla="*/ 331373 h 662746"/>
              <a:gd name="connsiteX0" fmla="*/ 25923 w 1918010"/>
              <a:gd name="connsiteY0" fmla="*/ 331373 h 667509"/>
              <a:gd name="connsiteX1" fmla="*/ 357296 w 1918010"/>
              <a:gd name="connsiteY1" fmla="*/ 0 h 667509"/>
              <a:gd name="connsiteX2" fmla="*/ 1586637 w 1918010"/>
              <a:gd name="connsiteY2" fmla="*/ 0 h 667509"/>
              <a:gd name="connsiteX3" fmla="*/ 1918010 w 1918010"/>
              <a:gd name="connsiteY3" fmla="*/ 331373 h 667509"/>
              <a:gd name="connsiteX4" fmla="*/ 1918010 w 1918010"/>
              <a:gd name="connsiteY4" fmla="*/ 331373 h 667509"/>
              <a:gd name="connsiteX5" fmla="*/ 1586637 w 1918010"/>
              <a:gd name="connsiteY5" fmla="*/ 662746 h 667509"/>
              <a:gd name="connsiteX6" fmla="*/ 1009759 w 1918010"/>
              <a:gd name="connsiteY6" fmla="*/ 667509 h 667509"/>
              <a:gd name="connsiteX7" fmla="*/ 25923 w 1918010"/>
              <a:gd name="connsiteY7" fmla="*/ 331373 h 667509"/>
              <a:gd name="connsiteX0" fmla="*/ 25923 w 1918010"/>
              <a:gd name="connsiteY0" fmla="*/ 331373 h 667509"/>
              <a:gd name="connsiteX1" fmla="*/ 357296 w 1918010"/>
              <a:gd name="connsiteY1" fmla="*/ 0 h 667509"/>
              <a:gd name="connsiteX2" fmla="*/ 1586637 w 1918010"/>
              <a:gd name="connsiteY2" fmla="*/ 0 h 667509"/>
              <a:gd name="connsiteX3" fmla="*/ 1918010 w 1918010"/>
              <a:gd name="connsiteY3" fmla="*/ 331373 h 667509"/>
              <a:gd name="connsiteX4" fmla="*/ 1918010 w 1918010"/>
              <a:gd name="connsiteY4" fmla="*/ 331373 h 667509"/>
              <a:gd name="connsiteX5" fmla="*/ 1586637 w 1918010"/>
              <a:gd name="connsiteY5" fmla="*/ 662746 h 667509"/>
              <a:gd name="connsiteX6" fmla="*/ 1009759 w 1918010"/>
              <a:gd name="connsiteY6" fmla="*/ 667509 h 667509"/>
              <a:gd name="connsiteX7" fmla="*/ 117363 w 1918010"/>
              <a:gd name="connsiteY7" fmla="*/ 422813 h 667509"/>
              <a:gd name="connsiteX0" fmla="*/ 25923 w 1918010"/>
              <a:gd name="connsiteY0" fmla="*/ 331373 h 667509"/>
              <a:gd name="connsiteX1" fmla="*/ 357296 w 1918010"/>
              <a:gd name="connsiteY1" fmla="*/ 0 h 667509"/>
              <a:gd name="connsiteX2" fmla="*/ 1586637 w 1918010"/>
              <a:gd name="connsiteY2" fmla="*/ 0 h 667509"/>
              <a:gd name="connsiteX3" fmla="*/ 1918010 w 1918010"/>
              <a:gd name="connsiteY3" fmla="*/ 331373 h 667509"/>
              <a:gd name="connsiteX4" fmla="*/ 1918010 w 1918010"/>
              <a:gd name="connsiteY4" fmla="*/ 331373 h 667509"/>
              <a:gd name="connsiteX5" fmla="*/ 1586637 w 1918010"/>
              <a:gd name="connsiteY5" fmla="*/ 662746 h 667509"/>
              <a:gd name="connsiteX6" fmla="*/ 1009759 w 1918010"/>
              <a:gd name="connsiteY6" fmla="*/ 667509 h 667509"/>
              <a:gd name="connsiteX0" fmla="*/ 6927 w 2846752"/>
              <a:gd name="connsiteY0" fmla="*/ 707610 h 707610"/>
              <a:gd name="connsiteX1" fmla="*/ 1286038 w 2846752"/>
              <a:gd name="connsiteY1" fmla="*/ 0 h 707610"/>
              <a:gd name="connsiteX2" fmla="*/ 2515379 w 2846752"/>
              <a:gd name="connsiteY2" fmla="*/ 0 h 707610"/>
              <a:gd name="connsiteX3" fmla="*/ 2846752 w 2846752"/>
              <a:gd name="connsiteY3" fmla="*/ 331373 h 707610"/>
              <a:gd name="connsiteX4" fmla="*/ 2846752 w 2846752"/>
              <a:gd name="connsiteY4" fmla="*/ 331373 h 707610"/>
              <a:gd name="connsiteX5" fmla="*/ 2515379 w 2846752"/>
              <a:gd name="connsiteY5" fmla="*/ 662746 h 707610"/>
              <a:gd name="connsiteX6" fmla="*/ 1938501 w 2846752"/>
              <a:gd name="connsiteY6" fmla="*/ 667509 h 707610"/>
              <a:gd name="connsiteX0" fmla="*/ 0 w 2839825"/>
              <a:gd name="connsiteY0" fmla="*/ 707610 h 707610"/>
              <a:gd name="connsiteX1" fmla="*/ 1279111 w 2839825"/>
              <a:gd name="connsiteY1" fmla="*/ 0 h 707610"/>
              <a:gd name="connsiteX2" fmla="*/ 2508452 w 2839825"/>
              <a:gd name="connsiteY2" fmla="*/ 0 h 707610"/>
              <a:gd name="connsiteX3" fmla="*/ 2839825 w 2839825"/>
              <a:gd name="connsiteY3" fmla="*/ 331373 h 707610"/>
              <a:gd name="connsiteX4" fmla="*/ 2839825 w 2839825"/>
              <a:gd name="connsiteY4" fmla="*/ 331373 h 707610"/>
              <a:gd name="connsiteX5" fmla="*/ 2508452 w 2839825"/>
              <a:gd name="connsiteY5" fmla="*/ 662746 h 707610"/>
              <a:gd name="connsiteX6" fmla="*/ 1931574 w 2839825"/>
              <a:gd name="connsiteY6" fmla="*/ 667509 h 707610"/>
              <a:gd name="connsiteX0" fmla="*/ 0 w 2839825"/>
              <a:gd name="connsiteY0" fmla="*/ 707610 h 707610"/>
              <a:gd name="connsiteX1" fmla="*/ 1564861 w 2839825"/>
              <a:gd name="connsiteY1" fmla="*/ 0 h 707610"/>
              <a:gd name="connsiteX2" fmla="*/ 2508452 w 2839825"/>
              <a:gd name="connsiteY2" fmla="*/ 0 h 707610"/>
              <a:gd name="connsiteX3" fmla="*/ 2839825 w 2839825"/>
              <a:gd name="connsiteY3" fmla="*/ 331373 h 707610"/>
              <a:gd name="connsiteX4" fmla="*/ 2839825 w 2839825"/>
              <a:gd name="connsiteY4" fmla="*/ 331373 h 707610"/>
              <a:gd name="connsiteX5" fmla="*/ 2508452 w 2839825"/>
              <a:gd name="connsiteY5" fmla="*/ 662746 h 707610"/>
              <a:gd name="connsiteX6" fmla="*/ 1931574 w 2839825"/>
              <a:gd name="connsiteY6" fmla="*/ 667509 h 707610"/>
              <a:gd name="connsiteX0" fmla="*/ 0 w 2839825"/>
              <a:gd name="connsiteY0" fmla="*/ 771178 h 771178"/>
              <a:gd name="connsiteX1" fmla="*/ 860665 w 2839825"/>
              <a:gd name="connsiteY1" fmla="*/ 41509 h 771178"/>
              <a:gd name="connsiteX2" fmla="*/ 1564861 w 2839825"/>
              <a:gd name="connsiteY2" fmla="*/ 63568 h 771178"/>
              <a:gd name="connsiteX3" fmla="*/ 2508452 w 2839825"/>
              <a:gd name="connsiteY3" fmla="*/ 63568 h 771178"/>
              <a:gd name="connsiteX4" fmla="*/ 2839825 w 2839825"/>
              <a:gd name="connsiteY4" fmla="*/ 394941 h 771178"/>
              <a:gd name="connsiteX5" fmla="*/ 2839825 w 2839825"/>
              <a:gd name="connsiteY5" fmla="*/ 394941 h 771178"/>
              <a:gd name="connsiteX6" fmla="*/ 2508452 w 2839825"/>
              <a:gd name="connsiteY6" fmla="*/ 726314 h 771178"/>
              <a:gd name="connsiteX7" fmla="*/ 1931574 w 2839825"/>
              <a:gd name="connsiteY7" fmla="*/ 731077 h 771178"/>
              <a:gd name="connsiteX0" fmla="*/ 0 w 2839825"/>
              <a:gd name="connsiteY0" fmla="*/ 771178 h 771178"/>
              <a:gd name="connsiteX1" fmla="*/ 860665 w 2839825"/>
              <a:gd name="connsiteY1" fmla="*/ 41509 h 771178"/>
              <a:gd name="connsiteX2" fmla="*/ 1564861 w 2839825"/>
              <a:gd name="connsiteY2" fmla="*/ 63568 h 771178"/>
              <a:gd name="connsiteX3" fmla="*/ 2508452 w 2839825"/>
              <a:gd name="connsiteY3" fmla="*/ 63568 h 771178"/>
              <a:gd name="connsiteX4" fmla="*/ 2839825 w 2839825"/>
              <a:gd name="connsiteY4" fmla="*/ 394941 h 771178"/>
              <a:gd name="connsiteX5" fmla="*/ 2839825 w 2839825"/>
              <a:gd name="connsiteY5" fmla="*/ 394941 h 771178"/>
              <a:gd name="connsiteX6" fmla="*/ 2508452 w 2839825"/>
              <a:gd name="connsiteY6" fmla="*/ 726314 h 771178"/>
              <a:gd name="connsiteX7" fmla="*/ 1769649 w 2839825"/>
              <a:gd name="connsiteY7" fmla="*/ 728696 h 7711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839825" h="771178">
                <a:moveTo>
                  <a:pt x="0" y="771178"/>
                </a:moveTo>
                <a:cubicBezTo>
                  <a:pt x="162494" y="687666"/>
                  <a:pt x="599855" y="159444"/>
                  <a:pt x="860665" y="41509"/>
                </a:cubicBezTo>
                <a:cubicBezTo>
                  <a:pt x="1121475" y="-76426"/>
                  <a:pt x="1309280" y="97991"/>
                  <a:pt x="1564861" y="63568"/>
                </a:cubicBezTo>
                <a:lnTo>
                  <a:pt x="2508452" y="63568"/>
                </a:lnTo>
                <a:cubicBezTo>
                  <a:pt x="2691464" y="63568"/>
                  <a:pt x="2839825" y="211929"/>
                  <a:pt x="2839825" y="394941"/>
                </a:cubicBezTo>
                <a:lnTo>
                  <a:pt x="2839825" y="394941"/>
                </a:lnTo>
                <a:cubicBezTo>
                  <a:pt x="2839825" y="577953"/>
                  <a:pt x="2691464" y="726314"/>
                  <a:pt x="2508452" y="726314"/>
                </a:cubicBezTo>
                <a:lnTo>
                  <a:pt x="1769649" y="728696"/>
                </a:lnTo>
              </a:path>
            </a:pathLst>
          </a:custGeom>
          <a:solidFill>
            <a:schemeClr val="bg1"/>
          </a:solidFill>
          <a:ln w="12700" cap="rnd">
            <a:solidFill>
              <a:schemeClr val="bg2"/>
            </a:solidFill>
            <a:rou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2" name="Ellipse 148">
            <a:extLst>
              <a:ext uri="{FF2B5EF4-FFF2-40B4-BE49-F238E27FC236}">
                <a16:creationId xmlns:a16="http://schemas.microsoft.com/office/drawing/2014/main" id="{19AC5CA8-D4EB-DC6A-8D18-6A0F86EC3DF9}"/>
              </a:ext>
            </a:extLst>
          </p:cNvPr>
          <p:cNvSpPr/>
          <p:nvPr/>
        </p:nvSpPr>
        <p:spPr bwMode="auto">
          <a:xfrm rot="10002339">
            <a:off x="936492" y="2470363"/>
            <a:ext cx="56956" cy="56956"/>
          </a:xfrm>
          <a:prstGeom prst="ellipse">
            <a:avLst/>
          </a:prstGeom>
          <a:solidFill>
            <a:schemeClr val="bg1"/>
          </a:solidFill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5pPr>
            <a:lvl6pPr marL="2286000" algn="l" defTabSz="457200" rtl="0" eaLnBrk="1" latinLnBrk="0" hangingPunct="1"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6pPr>
            <a:lvl7pPr marL="2743200" algn="l" defTabSz="457200" rtl="0" eaLnBrk="1" latinLnBrk="0" hangingPunct="1"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7pPr>
            <a:lvl8pPr marL="3200400" algn="l" defTabSz="457200" rtl="0" eaLnBrk="1" latinLnBrk="0" hangingPunct="1"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8pPr>
            <a:lvl9pPr marL="3657600" algn="l" defTabSz="457200" rtl="0" eaLnBrk="1" latinLnBrk="0" hangingPunct="1"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EC8A00"/>
              </a:solidFill>
              <a:effectLst/>
              <a:uLnTx/>
              <a:uFillTx/>
              <a:latin typeface="Aptos" panose="02110004020202020204"/>
              <a:ea typeface="ＭＳ Ｐゴシック" charset="0"/>
            </a:endParaRPr>
          </a:p>
        </p:txBody>
      </p:sp>
      <p:sp>
        <p:nvSpPr>
          <p:cNvPr id="103" name="Freeform: Shape 1225">
            <a:extLst>
              <a:ext uri="{FF2B5EF4-FFF2-40B4-BE49-F238E27FC236}">
                <a16:creationId xmlns:a16="http://schemas.microsoft.com/office/drawing/2014/main" id="{8113051D-3E2A-D519-B613-0DC6C5C0FD38}"/>
              </a:ext>
            </a:extLst>
          </p:cNvPr>
          <p:cNvSpPr/>
          <p:nvPr/>
        </p:nvSpPr>
        <p:spPr bwMode="auto">
          <a:xfrm rot="10002339">
            <a:off x="933241" y="2470745"/>
            <a:ext cx="56846" cy="28204"/>
          </a:xfrm>
          <a:custGeom>
            <a:avLst/>
            <a:gdLst>
              <a:gd name="connsiteX0" fmla="*/ 0 w 183556"/>
              <a:gd name="connsiteY0" fmla="*/ 0 h 91073"/>
              <a:gd name="connsiteX1" fmla="*/ 183556 w 183556"/>
              <a:gd name="connsiteY1" fmla="*/ 0 h 91073"/>
              <a:gd name="connsiteX2" fmla="*/ 176508 w 183556"/>
              <a:gd name="connsiteY2" fmla="*/ 34911 h 91073"/>
              <a:gd name="connsiteX3" fmla="*/ 91778 w 183556"/>
              <a:gd name="connsiteY3" fmla="*/ 91073 h 91073"/>
              <a:gd name="connsiteX4" fmla="*/ 7048 w 183556"/>
              <a:gd name="connsiteY4" fmla="*/ 34911 h 910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3556" h="91073">
                <a:moveTo>
                  <a:pt x="0" y="0"/>
                </a:moveTo>
                <a:lnTo>
                  <a:pt x="183556" y="0"/>
                </a:lnTo>
                <a:lnTo>
                  <a:pt x="176508" y="34911"/>
                </a:lnTo>
                <a:cubicBezTo>
                  <a:pt x="162548" y="67915"/>
                  <a:pt x="129868" y="91073"/>
                  <a:pt x="91778" y="91073"/>
                </a:cubicBezTo>
                <a:cubicBezTo>
                  <a:pt x="53689" y="91073"/>
                  <a:pt x="21008" y="67915"/>
                  <a:pt x="7048" y="34911"/>
                </a:cubicBezTo>
                <a:close/>
              </a:path>
            </a:pathLst>
          </a:custGeom>
          <a:solidFill>
            <a:schemeClr val="bg1"/>
          </a:solidFill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5pPr>
            <a:lvl6pPr marL="2286000" algn="l" defTabSz="457200" rtl="0" eaLnBrk="1" latinLnBrk="0" hangingPunct="1"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6pPr>
            <a:lvl7pPr marL="2743200" algn="l" defTabSz="457200" rtl="0" eaLnBrk="1" latinLnBrk="0" hangingPunct="1"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7pPr>
            <a:lvl8pPr marL="3200400" algn="l" defTabSz="457200" rtl="0" eaLnBrk="1" latinLnBrk="0" hangingPunct="1"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8pPr>
            <a:lvl9pPr marL="3657600" algn="l" defTabSz="457200" rtl="0" eaLnBrk="1" latinLnBrk="0" hangingPunct="1"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EC8A00"/>
              </a:solidFill>
              <a:effectLst/>
              <a:uLnTx/>
              <a:uFillTx/>
              <a:latin typeface="Aptos" panose="02110004020202020204"/>
              <a:ea typeface="ＭＳ Ｐゴシック" charset="0"/>
            </a:endParaRPr>
          </a:p>
        </p:txBody>
      </p:sp>
      <p:sp>
        <p:nvSpPr>
          <p:cNvPr id="100" name="Ellipse 148">
            <a:extLst>
              <a:ext uri="{FF2B5EF4-FFF2-40B4-BE49-F238E27FC236}">
                <a16:creationId xmlns:a16="http://schemas.microsoft.com/office/drawing/2014/main" id="{E7CD5B8B-C544-F201-A76E-1BE8ED2F10EA}"/>
              </a:ext>
            </a:extLst>
          </p:cNvPr>
          <p:cNvSpPr/>
          <p:nvPr/>
        </p:nvSpPr>
        <p:spPr bwMode="auto">
          <a:xfrm rot="13375340">
            <a:off x="1029252" y="2467021"/>
            <a:ext cx="47486" cy="97411"/>
          </a:xfrm>
          <a:prstGeom prst="ellipse">
            <a:avLst/>
          </a:prstGeom>
          <a:solidFill>
            <a:schemeClr val="bg1"/>
          </a:solidFill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5pPr>
            <a:lvl6pPr marL="2286000" algn="l" defTabSz="457200" rtl="0" eaLnBrk="1" latinLnBrk="0" hangingPunct="1"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6pPr>
            <a:lvl7pPr marL="2743200" algn="l" defTabSz="457200" rtl="0" eaLnBrk="1" latinLnBrk="0" hangingPunct="1"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7pPr>
            <a:lvl8pPr marL="3200400" algn="l" defTabSz="457200" rtl="0" eaLnBrk="1" latinLnBrk="0" hangingPunct="1"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8pPr>
            <a:lvl9pPr marL="3657600" algn="l" defTabSz="457200" rtl="0" eaLnBrk="1" latinLnBrk="0" hangingPunct="1"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EC8A00"/>
              </a:solidFill>
              <a:effectLst/>
              <a:uLnTx/>
              <a:uFillTx/>
              <a:latin typeface="Aptos" panose="02110004020202020204"/>
              <a:ea typeface="ＭＳ Ｐゴシック" charset="0"/>
            </a:endParaRPr>
          </a:p>
        </p:txBody>
      </p:sp>
      <p:sp>
        <p:nvSpPr>
          <p:cNvPr id="101" name="Freeform: Shape 1228">
            <a:extLst>
              <a:ext uri="{FF2B5EF4-FFF2-40B4-BE49-F238E27FC236}">
                <a16:creationId xmlns:a16="http://schemas.microsoft.com/office/drawing/2014/main" id="{23371372-8EAA-9437-B1D3-7C59169F8ABC}"/>
              </a:ext>
            </a:extLst>
          </p:cNvPr>
          <p:cNvSpPr/>
          <p:nvPr/>
        </p:nvSpPr>
        <p:spPr bwMode="auto">
          <a:xfrm rot="13375340">
            <a:off x="1012526" y="2509719"/>
            <a:ext cx="47370" cy="48113"/>
          </a:xfrm>
          <a:custGeom>
            <a:avLst/>
            <a:gdLst>
              <a:gd name="connsiteX0" fmla="*/ 61462 w 122925"/>
              <a:gd name="connsiteY0" fmla="*/ 0 h 124853"/>
              <a:gd name="connsiteX1" fmla="*/ 118234 w 122925"/>
              <a:gd name="connsiteY1" fmla="*/ 77194 h 124853"/>
              <a:gd name="connsiteX2" fmla="*/ 122925 w 122925"/>
              <a:gd name="connsiteY2" fmla="*/ 124853 h 124853"/>
              <a:gd name="connsiteX3" fmla="*/ 0 w 122925"/>
              <a:gd name="connsiteY3" fmla="*/ 124853 h 124853"/>
              <a:gd name="connsiteX4" fmla="*/ 4690 w 122925"/>
              <a:gd name="connsiteY4" fmla="*/ 77194 h 124853"/>
              <a:gd name="connsiteX5" fmla="*/ 61462 w 122925"/>
              <a:gd name="connsiteY5" fmla="*/ 0 h 1248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2925" h="124853">
                <a:moveTo>
                  <a:pt x="61462" y="0"/>
                </a:moveTo>
                <a:cubicBezTo>
                  <a:pt x="86983" y="0"/>
                  <a:pt x="108881" y="31830"/>
                  <a:pt x="118234" y="77194"/>
                </a:cubicBezTo>
                <a:lnTo>
                  <a:pt x="122925" y="124853"/>
                </a:lnTo>
                <a:lnTo>
                  <a:pt x="0" y="124853"/>
                </a:lnTo>
                <a:lnTo>
                  <a:pt x="4690" y="77194"/>
                </a:lnTo>
                <a:cubicBezTo>
                  <a:pt x="14044" y="31830"/>
                  <a:pt x="35941" y="0"/>
                  <a:pt x="61462" y="0"/>
                </a:cubicBezTo>
                <a:close/>
              </a:path>
            </a:pathLst>
          </a:custGeom>
          <a:solidFill>
            <a:schemeClr val="bg1"/>
          </a:solidFill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5pPr>
            <a:lvl6pPr marL="2286000" algn="l" defTabSz="457200" rtl="0" eaLnBrk="1" latinLnBrk="0" hangingPunct="1"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6pPr>
            <a:lvl7pPr marL="2743200" algn="l" defTabSz="457200" rtl="0" eaLnBrk="1" latinLnBrk="0" hangingPunct="1"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7pPr>
            <a:lvl8pPr marL="3200400" algn="l" defTabSz="457200" rtl="0" eaLnBrk="1" latinLnBrk="0" hangingPunct="1"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8pPr>
            <a:lvl9pPr marL="3657600" algn="l" defTabSz="457200" rtl="0" eaLnBrk="1" latinLnBrk="0" hangingPunct="1"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EC8A00"/>
              </a:solidFill>
              <a:effectLst/>
              <a:uLnTx/>
              <a:uFillTx/>
              <a:latin typeface="Aptos" panose="02110004020202020204"/>
              <a:ea typeface="ＭＳ Ｐゴシック" charset="0"/>
            </a:endParaRPr>
          </a:p>
        </p:txBody>
      </p:sp>
      <p:cxnSp>
        <p:nvCxnSpPr>
          <p:cNvPr id="509" name="Straight Connector 508">
            <a:extLst>
              <a:ext uri="{FF2B5EF4-FFF2-40B4-BE49-F238E27FC236}">
                <a16:creationId xmlns:a16="http://schemas.microsoft.com/office/drawing/2014/main" id="{00D62FC7-23FD-EDAC-AE67-D88ADFB82A54}"/>
              </a:ext>
            </a:extLst>
          </p:cNvPr>
          <p:cNvCxnSpPr>
            <a:cxnSpLocks/>
          </p:cNvCxnSpPr>
          <p:nvPr/>
        </p:nvCxnSpPr>
        <p:spPr>
          <a:xfrm>
            <a:off x="812110" y="2888579"/>
            <a:ext cx="180594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61" name="Straight Connector 560">
            <a:extLst>
              <a:ext uri="{FF2B5EF4-FFF2-40B4-BE49-F238E27FC236}">
                <a16:creationId xmlns:a16="http://schemas.microsoft.com/office/drawing/2014/main" id="{AFAA9AAF-6AA4-E281-1B94-C5739E9555D0}"/>
              </a:ext>
            </a:extLst>
          </p:cNvPr>
          <p:cNvCxnSpPr>
            <a:cxnSpLocks/>
          </p:cNvCxnSpPr>
          <p:nvPr/>
        </p:nvCxnSpPr>
        <p:spPr>
          <a:xfrm>
            <a:off x="3174310" y="2888579"/>
            <a:ext cx="180594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63" name="Straight Connector 562">
            <a:extLst>
              <a:ext uri="{FF2B5EF4-FFF2-40B4-BE49-F238E27FC236}">
                <a16:creationId xmlns:a16="http://schemas.microsoft.com/office/drawing/2014/main" id="{59CABAEB-FE95-EA0F-037E-19CD8B94E4A5}"/>
              </a:ext>
            </a:extLst>
          </p:cNvPr>
          <p:cNvCxnSpPr>
            <a:cxnSpLocks/>
          </p:cNvCxnSpPr>
          <p:nvPr/>
        </p:nvCxnSpPr>
        <p:spPr>
          <a:xfrm>
            <a:off x="812110" y="4770719"/>
            <a:ext cx="180594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00E64FAE-A4EE-339F-0F87-EF96EFB8BF2D}"/>
              </a:ext>
            </a:extLst>
          </p:cNvPr>
          <p:cNvCxnSpPr>
            <a:cxnSpLocks/>
          </p:cNvCxnSpPr>
          <p:nvPr/>
        </p:nvCxnSpPr>
        <p:spPr>
          <a:xfrm>
            <a:off x="3174310" y="4770719"/>
            <a:ext cx="180594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5" name="Rectangle: Rounded Corners 94">
            <a:extLst>
              <a:ext uri="{FF2B5EF4-FFF2-40B4-BE49-F238E27FC236}">
                <a16:creationId xmlns:a16="http://schemas.microsoft.com/office/drawing/2014/main" id="{2BBCBC9A-CBDE-1E3F-389E-7978A41911BE}"/>
              </a:ext>
            </a:extLst>
          </p:cNvPr>
          <p:cNvSpPr/>
          <p:nvPr/>
        </p:nvSpPr>
        <p:spPr>
          <a:xfrm rot="6199793">
            <a:off x="4102712" y="3652352"/>
            <a:ext cx="42444" cy="120312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2700">
            <a:solidFill>
              <a:schemeClr val="accent2"/>
            </a:solidFill>
          </a:ln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6" name="Freeform: Shape 340">
            <a:extLst>
              <a:ext uri="{FF2B5EF4-FFF2-40B4-BE49-F238E27FC236}">
                <a16:creationId xmlns:a16="http://schemas.microsoft.com/office/drawing/2014/main" id="{394AA2D6-4802-4684-0E54-063756FA2875}"/>
              </a:ext>
            </a:extLst>
          </p:cNvPr>
          <p:cNvSpPr/>
          <p:nvPr/>
        </p:nvSpPr>
        <p:spPr>
          <a:xfrm rot="6216007">
            <a:off x="3970392" y="3559665"/>
            <a:ext cx="173406" cy="291249"/>
          </a:xfrm>
          <a:custGeom>
            <a:avLst/>
            <a:gdLst>
              <a:gd name="connsiteX0" fmla="*/ 61376 w 1712259"/>
              <a:gd name="connsiteY0" fmla="*/ 61376 h 2875858"/>
              <a:gd name="connsiteX1" fmla="*/ 209550 w 1712259"/>
              <a:gd name="connsiteY1" fmla="*/ 0 h 2875858"/>
              <a:gd name="connsiteX2" fmla="*/ 419100 w 1712259"/>
              <a:gd name="connsiteY2" fmla="*/ 209550 h 2875858"/>
              <a:gd name="connsiteX3" fmla="*/ 419100 w 1712259"/>
              <a:gd name="connsiteY3" fmla="*/ 1286350 h 2875858"/>
              <a:gd name="connsiteX4" fmla="*/ 1650884 w 1712259"/>
              <a:gd name="connsiteY4" fmla="*/ 2518134 h 2875858"/>
              <a:gd name="connsiteX5" fmla="*/ 1650884 w 1712259"/>
              <a:gd name="connsiteY5" fmla="*/ 2814482 h 2875858"/>
              <a:gd name="connsiteX6" fmla="*/ 1354535 w 1712259"/>
              <a:gd name="connsiteY6" fmla="*/ 2814482 h 2875858"/>
              <a:gd name="connsiteX7" fmla="*/ 68814 w 1712259"/>
              <a:gd name="connsiteY7" fmla="*/ 1528761 h 2875858"/>
              <a:gd name="connsiteX8" fmla="*/ 61376 w 1712259"/>
              <a:gd name="connsiteY8" fmla="*/ 1522624 h 2875858"/>
              <a:gd name="connsiteX9" fmla="*/ 0 w 1712259"/>
              <a:gd name="connsiteY9" fmla="*/ 1374450 h 2875858"/>
              <a:gd name="connsiteX10" fmla="*/ 0 w 1712259"/>
              <a:gd name="connsiteY10" fmla="*/ 209550 h 2875858"/>
              <a:gd name="connsiteX11" fmla="*/ 61376 w 1712259"/>
              <a:gd name="connsiteY11" fmla="*/ 61376 h 2875858"/>
              <a:gd name="connsiteX0" fmla="*/ 61376 w 1712259"/>
              <a:gd name="connsiteY0" fmla="*/ 61376 h 2875858"/>
              <a:gd name="connsiteX1" fmla="*/ 209550 w 1712259"/>
              <a:gd name="connsiteY1" fmla="*/ 0 h 2875858"/>
              <a:gd name="connsiteX2" fmla="*/ 419100 w 1712259"/>
              <a:gd name="connsiteY2" fmla="*/ 209550 h 2875858"/>
              <a:gd name="connsiteX3" fmla="*/ 419100 w 1712259"/>
              <a:gd name="connsiteY3" fmla="*/ 1286350 h 2875858"/>
              <a:gd name="connsiteX4" fmla="*/ 1650884 w 1712259"/>
              <a:gd name="connsiteY4" fmla="*/ 2518134 h 2875858"/>
              <a:gd name="connsiteX5" fmla="*/ 1650884 w 1712259"/>
              <a:gd name="connsiteY5" fmla="*/ 2814482 h 2875858"/>
              <a:gd name="connsiteX6" fmla="*/ 1354535 w 1712259"/>
              <a:gd name="connsiteY6" fmla="*/ 2814482 h 2875858"/>
              <a:gd name="connsiteX7" fmla="*/ 68814 w 1712259"/>
              <a:gd name="connsiteY7" fmla="*/ 1528761 h 2875858"/>
              <a:gd name="connsiteX8" fmla="*/ 0 w 1712259"/>
              <a:gd name="connsiteY8" fmla="*/ 1374450 h 2875858"/>
              <a:gd name="connsiteX9" fmla="*/ 0 w 1712259"/>
              <a:gd name="connsiteY9" fmla="*/ 209550 h 2875858"/>
              <a:gd name="connsiteX10" fmla="*/ 61376 w 1712259"/>
              <a:gd name="connsiteY10" fmla="*/ 61376 h 2875858"/>
              <a:gd name="connsiteX0" fmla="*/ 61376 w 1712259"/>
              <a:gd name="connsiteY0" fmla="*/ 61376 h 2875858"/>
              <a:gd name="connsiteX1" fmla="*/ 209550 w 1712259"/>
              <a:gd name="connsiteY1" fmla="*/ 0 h 2875858"/>
              <a:gd name="connsiteX2" fmla="*/ 419100 w 1712259"/>
              <a:gd name="connsiteY2" fmla="*/ 209550 h 2875858"/>
              <a:gd name="connsiteX3" fmla="*/ 419100 w 1712259"/>
              <a:gd name="connsiteY3" fmla="*/ 1286350 h 2875858"/>
              <a:gd name="connsiteX4" fmla="*/ 1650884 w 1712259"/>
              <a:gd name="connsiteY4" fmla="*/ 2518134 h 2875858"/>
              <a:gd name="connsiteX5" fmla="*/ 1650884 w 1712259"/>
              <a:gd name="connsiteY5" fmla="*/ 2814482 h 2875858"/>
              <a:gd name="connsiteX6" fmla="*/ 1354535 w 1712259"/>
              <a:gd name="connsiteY6" fmla="*/ 2814482 h 2875858"/>
              <a:gd name="connsiteX7" fmla="*/ 16616 w 1712259"/>
              <a:gd name="connsiteY7" fmla="*/ 1476564 h 2875858"/>
              <a:gd name="connsiteX8" fmla="*/ 0 w 1712259"/>
              <a:gd name="connsiteY8" fmla="*/ 1374450 h 2875858"/>
              <a:gd name="connsiteX9" fmla="*/ 0 w 1712259"/>
              <a:gd name="connsiteY9" fmla="*/ 209550 h 2875858"/>
              <a:gd name="connsiteX10" fmla="*/ 61376 w 1712259"/>
              <a:gd name="connsiteY10" fmla="*/ 61376 h 2875858"/>
              <a:gd name="connsiteX0" fmla="*/ 61376 w 1712259"/>
              <a:gd name="connsiteY0" fmla="*/ 61376 h 2875858"/>
              <a:gd name="connsiteX1" fmla="*/ 209550 w 1712259"/>
              <a:gd name="connsiteY1" fmla="*/ 0 h 2875858"/>
              <a:gd name="connsiteX2" fmla="*/ 419100 w 1712259"/>
              <a:gd name="connsiteY2" fmla="*/ 209550 h 2875858"/>
              <a:gd name="connsiteX3" fmla="*/ 419100 w 1712259"/>
              <a:gd name="connsiteY3" fmla="*/ 1286350 h 2875858"/>
              <a:gd name="connsiteX4" fmla="*/ 1650884 w 1712259"/>
              <a:gd name="connsiteY4" fmla="*/ 2518134 h 2875858"/>
              <a:gd name="connsiteX5" fmla="*/ 1650884 w 1712259"/>
              <a:gd name="connsiteY5" fmla="*/ 2814482 h 2875858"/>
              <a:gd name="connsiteX6" fmla="*/ 1354535 w 1712259"/>
              <a:gd name="connsiteY6" fmla="*/ 2814482 h 2875858"/>
              <a:gd name="connsiteX7" fmla="*/ 3146 w 1712259"/>
              <a:gd name="connsiteY7" fmla="*/ 1463094 h 2875858"/>
              <a:gd name="connsiteX8" fmla="*/ 0 w 1712259"/>
              <a:gd name="connsiteY8" fmla="*/ 1374450 h 2875858"/>
              <a:gd name="connsiteX9" fmla="*/ 0 w 1712259"/>
              <a:gd name="connsiteY9" fmla="*/ 209550 h 2875858"/>
              <a:gd name="connsiteX10" fmla="*/ 61376 w 1712259"/>
              <a:gd name="connsiteY10" fmla="*/ 61376 h 2875858"/>
              <a:gd name="connsiteX0" fmla="*/ 61376 w 1712259"/>
              <a:gd name="connsiteY0" fmla="*/ 61376 h 2875858"/>
              <a:gd name="connsiteX1" fmla="*/ 209550 w 1712259"/>
              <a:gd name="connsiteY1" fmla="*/ 0 h 2875858"/>
              <a:gd name="connsiteX2" fmla="*/ 419100 w 1712259"/>
              <a:gd name="connsiteY2" fmla="*/ 209550 h 2875858"/>
              <a:gd name="connsiteX3" fmla="*/ 419100 w 1712259"/>
              <a:gd name="connsiteY3" fmla="*/ 1286350 h 2875858"/>
              <a:gd name="connsiteX4" fmla="*/ 1650884 w 1712259"/>
              <a:gd name="connsiteY4" fmla="*/ 2518134 h 2875858"/>
              <a:gd name="connsiteX5" fmla="*/ 1650884 w 1712259"/>
              <a:gd name="connsiteY5" fmla="*/ 2814482 h 2875858"/>
              <a:gd name="connsiteX6" fmla="*/ 1354535 w 1712259"/>
              <a:gd name="connsiteY6" fmla="*/ 2814482 h 2875858"/>
              <a:gd name="connsiteX7" fmla="*/ 3146 w 1712259"/>
              <a:gd name="connsiteY7" fmla="*/ 1463094 h 2875858"/>
              <a:gd name="connsiteX8" fmla="*/ 0 w 1712259"/>
              <a:gd name="connsiteY8" fmla="*/ 209550 h 2875858"/>
              <a:gd name="connsiteX9" fmla="*/ 61376 w 1712259"/>
              <a:gd name="connsiteY9" fmla="*/ 61376 h 28758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712259" h="2875858">
                <a:moveTo>
                  <a:pt x="61376" y="61376"/>
                </a:moveTo>
                <a:cubicBezTo>
                  <a:pt x="99297" y="23455"/>
                  <a:pt x="151685" y="0"/>
                  <a:pt x="209550" y="0"/>
                </a:cubicBezTo>
                <a:cubicBezTo>
                  <a:pt x="325281" y="0"/>
                  <a:pt x="419100" y="93819"/>
                  <a:pt x="419100" y="209550"/>
                </a:cubicBezTo>
                <a:lnTo>
                  <a:pt x="419100" y="1286350"/>
                </a:lnTo>
                <a:lnTo>
                  <a:pt x="1650884" y="2518134"/>
                </a:lnTo>
                <a:cubicBezTo>
                  <a:pt x="1732718" y="2599968"/>
                  <a:pt x="1732718" y="2732648"/>
                  <a:pt x="1650884" y="2814482"/>
                </a:cubicBezTo>
                <a:cubicBezTo>
                  <a:pt x="1569050" y="2896317"/>
                  <a:pt x="1436370" y="2896317"/>
                  <a:pt x="1354535" y="2814482"/>
                </a:cubicBezTo>
                <a:lnTo>
                  <a:pt x="3146" y="1463094"/>
                </a:lnTo>
                <a:cubicBezTo>
                  <a:pt x="2097" y="1045246"/>
                  <a:pt x="1049" y="627398"/>
                  <a:pt x="0" y="209550"/>
                </a:cubicBezTo>
                <a:cubicBezTo>
                  <a:pt x="0" y="151685"/>
                  <a:pt x="23455" y="99297"/>
                  <a:pt x="61376" y="61376"/>
                </a:cubicBezTo>
                <a:close/>
              </a:path>
            </a:pathLst>
          </a:custGeom>
          <a:solidFill>
            <a:schemeClr val="bg1"/>
          </a:solidFill>
          <a:ln w="12700">
            <a:solidFill>
              <a:schemeClr val="accent2"/>
            </a:solidFill>
          </a:ln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3" name="Rectangle: Rounded Corners 92">
            <a:extLst>
              <a:ext uri="{FF2B5EF4-FFF2-40B4-BE49-F238E27FC236}">
                <a16:creationId xmlns:a16="http://schemas.microsoft.com/office/drawing/2014/main" id="{3B2A8676-E104-DE2A-5F7B-78FF9106A023}"/>
              </a:ext>
            </a:extLst>
          </p:cNvPr>
          <p:cNvSpPr/>
          <p:nvPr/>
        </p:nvSpPr>
        <p:spPr>
          <a:xfrm rot="832221" flipH="1">
            <a:off x="3986602" y="3462133"/>
            <a:ext cx="42444" cy="120312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2700">
            <a:solidFill>
              <a:schemeClr val="accent2"/>
            </a:solidFill>
          </a:ln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4" name="Freeform: Shape 338">
            <a:extLst>
              <a:ext uri="{FF2B5EF4-FFF2-40B4-BE49-F238E27FC236}">
                <a16:creationId xmlns:a16="http://schemas.microsoft.com/office/drawing/2014/main" id="{3461E278-665A-9FE4-E3B5-3C43D3FAA12A}"/>
              </a:ext>
            </a:extLst>
          </p:cNvPr>
          <p:cNvSpPr/>
          <p:nvPr/>
        </p:nvSpPr>
        <p:spPr>
          <a:xfrm rot="816007" flipH="1">
            <a:off x="3896989" y="3439412"/>
            <a:ext cx="173406" cy="291249"/>
          </a:xfrm>
          <a:custGeom>
            <a:avLst/>
            <a:gdLst>
              <a:gd name="connsiteX0" fmla="*/ 61376 w 1712259"/>
              <a:gd name="connsiteY0" fmla="*/ 61376 h 2875858"/>
              <a:gd name="connsiteX1" fmla="*/ 209550 w 1712259"/>
              <a:gd name="connsiteY1" fmla="*/ 0 h 2875858"/>
              <a:gd name="connsiteX2" fmla="*/ 419100 w 1712259"/>
              <a:gd name="connsiteY2" fmla="*/ 209550 h 2875858"/>
              <a:gd name="connsiteX3" fmla="*/ 419100 w 1712259"/>
              <a:gd name="connsiteY3" fmla="*/ 1286350 h 2875858"/>
              <a:gd name="connsiteX4" fmla="*/ 1650884 w 1712259"/>
              <a:gd name="connsiteY4" fmla="*/ 2518134 h 2875858"/>
              <a:gd name="connsiteX5" fmla="*/ 1650884 w 1712259"/>
              <a:gd name="connsiteY5" fmla="*/ 2814482 h 2875858"/>
              <a:gd name="connsiteX6" fmla="*/ 1354535 w 1712259"/>
              <a:gd name="connsiteY6" fmla="*/ 2814482 h 2875858"/>
              <a:gd name="connsiteX7" fmla="*/ 68814 w 1712259"/>
              <a:gd name="connsiteY7" fmla="*/ 1528761 h 2875858"/>
              <a:gd name="connsiteX8" fmla="*/ 61376 w 1712259"/>
              <a:gd name="connsiteY8" fmla="*/ 1522624 h 2875858"/>
              <a:gd name="connsiteX9" fmla="*/ 0 w 1712259"/>
              <a:gd name="connsiteY9" fmla="*/ 1374450 h 2875858"/>
              <a:gd name="connsiteX10" fmla="*/ 0 w 1712259"/>
              <a:gd name="connsiteY10" fmla="*/ 209550 h 2875858"/>
              <a:gd name="connsiteX11" fmla="*/ 61376 w 1712259"/>
              <a:gd name="connsiteY11" fmla="*/ 61376 h 2875858"/>
              <a:gd name="connsiteX0" fmla="*/ 61376 w 1712259"/>
              <a:gd name="connsiteY0" fmla="*/ 61376 h 2875858"/>
              <a:gd name="connsiteX1" fmla="*/ 209550 w 1712259"/>
              <a:gd name="connsiteY1" fmla="*/ 0 h 2875858"/>
              <a:gd name="connsiteX2" fmla="*/ 419100 w 1712259"/>
              <a:gd name="connsiteY2" fmla="*/ 209550 h 2875858"/>
              <a:gd name="connsiteX3" fmla="*/ 419100 w 1712259"/>
              <a:gd name="connsiteY3" fmla="*/ 1286350 h 2875858"/>
              <a:gd name="connsiteX4" fmla="*/ 1650884 w 1712259"/>
              <a:gd name="connsiteY4" fmla="*/ 2518134 h 2875858"/>
              <a:gd name="connsiteX5" fmla="*/ 1650884 w 1712259"/>
              <a:gd name="connsiteY5" fmla="*/ 2814482 h 2875858"/>
              <a:gd name="connsiteX6" fmla="*/ 1354535 w 1712259"/>
              <a:gd name="connsiteY6" fmla="*/ 2814482 h 2875858"/>
              <a:gd name="connsiteX7" fmla="*/ 68814 w 1712259"/>
              <a:gd name="connsiteY7" fmla="*/ 1528761 h 2875858"/>
              <a:gd name="connsiteX8" fmla="*/ 0 w 1712259"/>
              <a:gd name="connsiteY8" fmla="*/ 1374450 h 2875858"/>
              <a:gd name="connsiteX9" fmla="*/ 0 w 1712259"/>
              <a:gd name="connsiteY9" fmla="*/ 209550 h 2875858"/>
              <a:gd name="connsiteX10" fmla="*/ 61376 w 1712259"/>
              <a:gd name="connsiteY10" fmla="*/ 61376 h 2875858"/>
              <a:gd name="connsiteX0" fmla="*/ 61376 w 1712259"/>
              <a:gd name="connsiteY0" fmla="*/ 61376 h 2875858"/>
              <a:gd name="connsiteX1" fmla="*/ 209550 w 1712259"/>
              <a:gd name="connsiteY1" fmla="*/ 0 h 2875858"/>
              <a:gd name="connsiteX2" fmla="*/ 419100 w 1712259"/>
              <a:gd name="connsiteY2" fmla="*/ 209550 h 2875858"/>
              <a:gd name="connsiteX3" fmla="*/ 419100 w 1712259"/>
              <a:gd name="connsiteY3" fmla="*/ 1286350 h 2875858"/>
              <a:gd name="connsiteX4" fmla="*/ 1650884 w 1712259"/>
              <a:gd name="connsiteY4" fmla="*/ 2518134 h 2875858"/>
              <a:gd name="connsiteX5" fmla="*/ 1650884 w 1712259"/>
              <a:gd name="connsiteY5" fmla="*/ 2814482 h 2875858"/>
              <a:gd name="connsiteX6" fmla="*/ 1354535 w 1712259"/>
              <a:gd name="connsiteY6" fmla="*/ 2814482 h 2875858"/>
              <a:gd name="connsiteX7" fmla="*/ 16616 w 1712259"/>
              <a:gd name="connsiteY7" fmla="*/ 1476564 h 2875858"/>
              <a:gd name="connsiteX8" fmla="*/ 0 w 1712259"/>
              <a:gd name="connsiteY8" fmla="*/ 1374450 h 2875858"/>
              <a:gd name="connsiteX9" fmla="*/ 0 w 1712259"/>
              <a:gd name="connsiteY9" fmla="*/ 209550 h 2875858"/>
              <a:gd name="connsiteX10" fmla="*/ 61376 w 1712259"/>
              <a:gd name="connsiteY10" fmla="*/ 61376 h 2875858"/>
              <a:gd name="connsiteX0" fmla="*/ 61376 w 1712259"/>
              <a:gd name="connsiteY0" fmla="*/ 61376 h 2875858"/>
              <a:gd name="connsiteX1" fmla="*/ 209550 w 1712259"/>
              <a:gd name="connsiteY1" fmla="*/ 0 h 2875858"/>
              <a:gd name="connsiteX2" fmla="*/ 419100 w 1712259"/>
              <a:gd name="connsiteY2" fmla="*/ 209550 h 2875858"/>
              <a:gd name="connsiteX3" fmla="*/ 419100 w 1712259"/>
              <a:gd name="connsiteY3" fmla="*/ 1286350 h 2875858"/>
              <a:gd name="connsiteX4" fmla="*/ 1650884 w 1712259"/>
              <a:gd name="connsiteY4" fmla="*/ 2518134 h 2875858"/>
              <a:gd name="connsiteX5" fmla="*/ 1650884 w 1712259"/>
              <a:gd name="connsiteY5" fmla="*/ 2814482 h 2875858"/>
              <a:gd name="connsiteX6" fmla="*/ 1354535 w 1712259"/>
              <a:gd name="connsiteY6" fmla="*/ 2814482 h 2875858"/>
              <a:gd name="connsiteX7" fmla="*/ 3146 w 1712259"/>
              <a:gd name="connsiteY7" fmla="*/ 1463094 h 2875858"/>
              <a:gd name="connsiteX8" fmla="*/ 0 w 1712259"/>
              <a:gd name="connsiteY8" fmla="*/ 1374450 h 2875858"/>
              <a:gd name="connsiteX9" fmla="*/ 0 w 1712259"/>
              <a:gd name="connsiteY9" fmla="*/ 209550 h 2875858"/>
              <a:gd name="connsiteX10" fmla="*/ 61376 w 1712259"/>
              <a:gd name="connsiteY10" fmla="*/ 61376 h 2875858"/>
              <a:gd name="connsiteX0" fmla="*/ 61376 w 1712259"/>
              <a:gd name="connsiteY0" fmla="*/ 61376 h 2875858"/>
              <a:gd name="connsiteX1" fmla="*/ 209550 w 1712259"/>
              <a:gd name="connsiteY1" fmla="*/ 0 h 2875858"/>
              <a:gd name="connsiteX2" fmla="*/ 419100 w 1712259"/>
              <a:gd name="connsiteY2" fmla="*/ 209550 h 2875858"/>
              <a:gd name="connsiteX3" fmla="*/ 419100 w 1712259"/>
              <a:gd name="connsiteY3" fmla="*/ 1286350 h 2875858"/>
              <a:gd name="connsiteX4" fmla="*/ 1650884 w 1712259"/>
              <a:gd name="connsiteY4" fmla="*/ 2518134 h 2875858"/>
              <a:gd name="connsiteX5" fmla="*/ 1650884 w 1712259"/>
              <a:gd name="connsiteY5" fmla="*/ 2814482 h 2875858"/>
              <a:gd name="connsiteX6" fmla="*/ 1354535 w 1712259"/>
              <a:gd name="connsiteY6" fmla="*/ 2814482 h 2875858"/>
              <a:gd name="connsiteX7" fmla="*/ 3146 w 1712259"/>
              <a:gd name="connsiteY7" fmla="*/ 1463094 h 2875858"/>
              <a:gd name="connsiteX8" fmla="*/ 0 w 1712259"/>
              <a:gd name="connsiteY8" fmla="*/ 209550 h 2875858"/>
              <a:gd name="connsiteX9" fmla="*/ 61376 w 1712259"/>
              <a:gd name="connsiteY9" fmla="*/ 61376 h 28758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712259" h="2875858">
                <a:moveTo>
                  <a:pt x="61376" y="61376"/>
                </a:moveTo>
                <a:cubicBezTo>
                  <a:pt x="99297" y="23455"/>
                  <a:pt x="151685" y="0"/>
                  <a:pt x="209550" y="0"/>
                </a:cubicBezTo>
                <a:cubicBezTo>
                  <a:pt x="325281" y="0"/>
                  <a:pt x="419100" y="93819"/>
                  <a:pt x="419100" y="209550"/>
                </a:cubicBezTo>
                <a:lnTo>
                  <a:pt x="419100" y="1286350"/>
                </a:lnTo>
                <a:lnTo>
                  <a:pt x="1650884" y="2518134"/>
                </a:lnTo>
                <a:cubicBezTo>
                  <a:pt x="1732718" y="2599968"/>
                  <a:pt x="1732718" y="2732648"/>
                  <a:pt x="1650884" y="2814482"/>
                </a:cubicBezTo>
                <a:cubicBezTo>
                  <a:pt x="1569050" y="2896317"/>
                  <a:pt x="1436370" y="2896317"/>
                  <a:pt x="1354535" y="2814482"/>
                </a:cubicBezTo>
                <a:lnTo>
                  <a:pt x="3146" y="1463094"/>
                </a:lnTo>
                <a:cubicBezTo>
                  <a:pt x="2097" y="1045246"/>
                  <a:pt x="1049" y="627398"/>
                  <a:pt x="0" y="209550"/>
                </a:cubicBezTo>
                <a:cubicBezTo>
                  <a:pt x="0" y="151685"/>
                  <a:pt x="23455" y="99297"/>
                  <a:pt x="61376" y="61376"/>
                </a:cubicBezTo>
                <a:close/>
              </a:path>
            </a:pathLst>
          </a:custGeom>
          <a:solidFill>
            <a:schemeClr val="bg1"/>
          </a:solidFill>
          <a:ln w="12700">
            <a:solidFill>
              <a:schemeClr val="accent2"/>
            </a:solidFill>
          </a:ln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30" name="Rectangle 229">
            <a:extLst>
              <a:ext uri="{FF2B5EF4-FFF2-40B4-BE49-F238E27FC236}">
                <a16:creationId xmlns:a16="http://schemas.microsoft.com/office/drawing/2014/main" id="{F21629C5-7F41-A456-7CD1-E03164390935}"/>
              </a:ext>
            </a:extLst>
          </p:cNvPr>
          <p:cNvSpPr/>
          <p:nvPr/>
        </p:nvSpPr>
        <p:spPr>
          <a:xfrm>
            <a:off x="226879" y="1482082"/>
            <a:ext cx="5143757" cy="4816655"/>
          </a:xfrm>
          <a:prstGeom prst="rect">
            <a:avLst/>
          </a:prstGeom>
          <a:solidFill>
            <a:srgbClr val="FFFFFF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8" name="Slide Number Placeholder 2">
            <a:extLst>
              <a:ext uri="{FF2B5EF4-FFF2-40B4-BE49-F238E27FC236}">
                <a16:creationId xmlns:a16="http://schemas.microsoft.com/office/drawing/2014/main" id="{F5AC8B36-D11F-3BB8-A880-8D29950165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651" y="6356350"/>
            <a:ext cx="383694" cy="365125"/>
          </a:xfrm>
        </p:spPr>
        <p:txBody>
          <a:bodyPr vert="horz" lIns="0" tIns="0" rIns="0" bIns="0"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01CC8E-1CEF-6746-999E-CF29FF00B1DC}" type="slidenum"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82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291960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4" grpId="0" animBg="1"/>
      <p:bldP spid="558" grpId="0" animBg="1"/>
      <p:bldP spid="382" grpId="0" animBg="1"/>
      <p:bldP spid="383" grpId="0" animBg="1"/>
      <p:bldP spid="510" grpId="0" animBg="1"/>
      <p:bldP spid="511" grpId="0"/>
      <p:bldP spid="512" grpId="0"/>
      <p:bldP spid="513" grpId="0" animBg="1"/>
      <p:bldP spid="514" grpId="0"/>
      <p:bldP spid="515" grpId="0" animBg="1"/>
      <p:bldP spid="516" grpId="0" animBg="1"/>
      <p:bldP spid="517" grpId="0" animBg="1"/>
      <p:bldP spid="518" grpId="0" animBg="1"/>
      <p:bldP spid="519" grpId="0" animBg="1"/>
      <p:bldP spid="523" grpId="0" animBg="1"/>
      <p:bldP spid="524" grpId="0" animBg="1"/>
      <p:bldP spid="526" grpId="0" animBg="1"/>
      <p:bldP spid="527" grpId="0" animBg="1"/>
      <p:bldP spid="528" grpId="0" animBg="1"/>
      <p:bldP spid="529" grpId="0" animBg="1"/>
      <p:bldP spid="530" grpId="0" animBg="1"/>
      <p:bldP spid="531" grpId="0" animBg="1"/>
      <p:bldP spid="535" grpId="0" animBg="1"/>
      <p:bldP spid="536" grpId="0" animBg="1"/>
      <p:bldP spid="537" grpId="0" animBg="1"/>
      <p:bldP spid="540" grpId="0" animBg="1"/>
      <p:bldP spid="542" grpId="0" animBg="1"/>
      <p:bldP spid="543" grpId="0" animBg="1"/>
      <p:bldP spid="548" grpId="0" animBg="1"/>
      <p:bldP spid="553" grpId="0" animBg="1"/>
      <p:bldP spid="555" grpId="0" animBg="1"/>
      <p:bldP spid="556" grpId="0" animBg="1"/>
      <p:bldP spid="557" grpId="0" animBg="1"/>
      <p:bldP spid="559" grpId="0" animBg="1"/>
      <p:bldP spid="574" grpId="0" animBg="1"/>
      <p:bldP spid="230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D970E0E-B2D5-33B2-6AF5-4E84B36F2BB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18FCC12E-466A-5653-B19E-0AB107AFF4D0}"/>
              </a:ext>
            </a:extLst>
          </p:cNvPr>
          <p:cNvSpPr/>
          <p:nvPr/>
        </p:nvSpPr>
        <p:spPr>
          <a:xfrm>
            <a:off x="483790" y="2072641"/>
            <a:ext cx="5418254" cy="4084690"/>
          </a:xfrm>
          <a:prstGeom prst="roundRect">
            <a:avLst>
              <a:gd name="adj" fmla="val 1596"/>
            </a:avLst>
          </a:prstGeom>
          <a:noFill/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0E707D83-C74C-B0ED-48A9-84851328E1A1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4379" t="-1" r="3365" b="36492"/>
          <a:stretch>
            <a:fillRect/>
          </a:stretch>
        </p:blipFill>
        <p:spPr>
          <a:xfrm>
            <a:off x="1773815" y="2584138"/>
            <a:ext cx="3635095" cy="3446811"/>
          </a:xfrm>
          <a:prstGeom prst="rect">
            <a:avLst/>
          </a:prstGeom>
          <a:ln>
            <a:noFill/>
          </a:ln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F0A408D7-6545-98D7-4FF5-2AD0BAAF53B7}"/>
              </a:ext>
            </a:extLst>
          </p:cNvPr>
          <p:cNvSpPr/>
          <p:nvPr/>
        </p:nvSpPr>
        <p:spPr>
          <a:xfrm>
            <a:off x="873688" y="3699454"/>
            <a:ext cx="185941" cy="1093106"/>
          </a:xfrm>
          <a:prstGeom prst="rect">
            <a:avLst/>
          </a:prstGeom>
          <a:gradFill>
            <a:gsLst>
              <a:gs pos="100000">
                <a:srgbClr val="C1E5F5"/>
              </a:gs>
              <a:gs pos="0">
                <a:srgbClr val="0F466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6" name="Text 7">
            <a:extLst>
              <a:ext uri="{FF2B5EF4-FFF2-40B4-BE49-F238E27FC236}">
                <a16:creationId xmlns:a16="http://schemas.microsoft.com/office/drawing/2014/main" id="{493E0C88-514E-48A0-BFB8-634D3DF8669E}"/>
              </a:ext>
            </a:extLst>
          </p:cNvPr>
          <p:cNvSpPr/>
          <p:nvPr/>
        </p:nvSpPr>
        <p:spPr>
          <a:xfrm>
            <a:off x="721061" y="3422516"/>
            <a:ext cx="491194" cy="267755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Calibri" pitchFamily="34" charset="-122"/>
                <a:cs typeface="Calibri" pitchFamily="34" charset="-120"/>
              </a:rPr>
              <a:t>41</a:t>
            </a: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" name="Text 7">
            <a:extLst>
              <a:ext uri="{FF2B5EF4-FFF2-40B4-BE49-F238E27FC236}">
                <a16:creationId xmlns:a16="http://schemas.microsoft.com/office/drawing/2014/main" id="{362811D0-5B80-993E-DBC3-265986EA8FC4}"/>
              </a:ext>
            </a:extLst>
          </p:cNvPr>
          <p:cNvSpPr/>
          <p:nvPr/>
        </p:nvSpPr>
        <p:spPr>
          <a:xfrm>
            <a:off x="721061" y="4804394"/>
            <a:ext cx="491194" cy="267755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Calibri" pitchFamily="34" charset="-122"/>
                <a:cs typeface="Calibri" pitchFamily="34" charset="-120"/>
              </a:rPr>
              <a:t>0</a:t>
            </a: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9" name="Text 7">
            <a:extLst>
              <a:ext uri="{FF2B5EF4-FFF2-40B4-BE49-F238E27FC236}">
                <a16:creationId xmlns:a16="http://schemas.microsoft.com/office/drawing/2014/main" id="{34C3D83C-A488-8392-17FD-88A4CF55D39D}"/>
              </a:ext>
            </a:extLst>
          </p:cNvPr>
          <p:cNvSpPr/>
          <p:nvPr/>
        </p:nvSpPr>
        <p:spPr>
          <a:xfrm>
            <a:off x="560688" y="3124073"/>
            <a:ext cx="811940" cy="267755"/>
          </a:xfrm>
          <a:prstGeom prst="rect">
            <a:avLst/>
          </a:prstGeom>
          <a:noFill/>
          <a:ln/>
        </p:spPr>
        <p:txBody>
          <a:bodyPr wrap="square" lIns="0" tIns="0" rIns="0" bIns="0" rtlCol="0" anchor="b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Calibri" pitchFamily="34" charset="-122"/>
                <a:cs typeface="Calibri" pitchFamily="34" charset="-120"/>
              </a:rPr>
              <a:t>Number </a:t>
            </a:r>
            <a:b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Calibri" pitchFamily="34" charset="-122"/>
                <a:cs typeface="Calibri" pitchFamily="34" charset="-120"/>
              </a:rPr>
            </a:b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Calibri" pitchFamily="34" charset="-122"/>
                <a:cs typeface="Calibri" pitchFamily="34" charset="-120"/>
              </a:rPr>
              <a:t>of trials</a:t>
            </a:r>
            <a:endParaRPr kumimoji="0" lang="en-GB" sz="11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701EDA57-CF9E-9648-47D6-4E7704698F07}"/>
              </a:ext>
            </a:extLst>
          </p:cNvPr>
          <p:cNvSpPr/>
          <p:nvPr/>
        </p:nvSpPr>
        <p:spPr>
          <a:xfrm>
            <a:off x="5992884" y="2072641"/>
            <a:ext cx="5418254" cy="4084690"/>
          </a:xfrm>
          <a:prstGeom prst="roundRect">
            <a:avLst>
              <a:gd name="adj" fmla="val 1799"/>
            </a:avLst>
          </a:prstGeom>
          <a:noFill/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A2290720-E820-B54D-E42D-4AE5310B3357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306931" y="2639269"/>
            <a:ext cx="3707701" cy="3324774"/>
          </a:xfrm>
          <a:prstGeom prst="rect">
            <a:avLst/>
          </a:prstGeom>
          <a:ln>
            <a:noFill/>
          </a:ln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B7513C0C-EFC5-5EC6-7C4E-7AB3DF6E5D56}"/>
              </a:ext>
            </a:extLst>
          </p:cNvPr>
          <p:cNvSpPr/>
          <p:nvPr/>
        </p:nvSpPr>
        <p:spPr>
          <a:xfrm>
            <a:off x="6533074" y="3699454"/>
            <a:ext cx="185941" cy="1093106"/>
          </a:xfrm>
          <a:prstGeom prst="rect">
            <a:avLst/>
          </a:prstGeom>
          <a:gradFill>
            <a:gsLst>
              <a:gs pos="100000">
                <a:srgbClr val="D9F2D0"/>
              </a:gs>
              <a:gs pos="0">
                <a:srgbClr val="3A7D23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9" name="Text 7">
            <a:extLst>
              <a:ext uri="{FF2B5EF4-FFF2-40B4-BE49-F238E27FC236}">
                <a16:creationId xmlns:a16="http://schemas.microsoft.com/office/drawing/2014/main" id="{0816B16A-A74E-F21E-3ACA-47BBF74DB2E7}"/>
              </a:ext>
            </a:extLst>
          </p:cNvPr>
          <p:cNvSpPr/>
          <p:nvPr/>
        </p:nvSpPr>
        <p:spPr>
          <a:xfrm>
            <a:off x="6380447" y="3422516"/>
            <a:ext cx="491194" cy="267755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Calibri" pitchFamily="34" charset="-122"/>
                <a:cs typeface="Calibri" pitchFamily="34" charset="-120"/>
              </a:rPr>
              <a:t>11</a:t>
            </a: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" name="Text 7">
            <a:extLst>
              <a:ext uri="{FF2B5EF4-FFF2-40B4-BE49-F238E27FC236}">
                <a16:creationId xmlns:a16="http://schemas.microsoft.com/office/drawing/2014/main" id="{B5F558BB-454F-9548-2D2A-A0BEA55BF791}"/>
              </a:ext>
            </a:extLst>
          </p:cNvPr>
          <p:cNvSpPr/>
          <p:nvPr/>
        </p:nvSpPr>
        <p:spPr>
          <a:xfrm>
            <a:off x="6380447" y="4804394"/>
            <a:ext cx="491194" cy="267755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Calibri" pitchFamily="34" charset="-122"/>
                <a:cs typeface="Calibri" pitchFamily="34" charset="-120"/>
              </a:rPr>
              <a:t>0</a:t>
            </a: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7" name="Text 7">
            <a:extLst>
              <a:ext uri="{FF2B5EF4-FFF2-40B4-BE49-F238E27FC236}">
                <a16:creationId xmlns:a16="http://schemas.microsoft.com/office/drawing/2014/main" id="{6E086FDC-14C3-F0E0-17CF-0CD25AA900B8}"/>
              </a:ext>
            </a:extLst>
          </p:cNvPr>
          <p:cNvSpPr/>
          <p:nvPr/>
        </p:nvSpPr>
        <p:spPr>
          <a:xfrm>
            <a:off x="6076970" y="2898458"/>
            <a:ext cx="1101950" cy="493370"/>
          </a:xfrm>
          <a:prstGeom prst="rect">
            <a:avLst/>
          </a:prstGeom>
          <a:noFill/>
          <a:ln/>
        </p:spPr>
        <p:txBody>
          <a:bodyPr wrap="square" lIns="0" tIns="0" rIns="0" bIns="0" rtlCol="0" anchor="b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Calibri" pitchFamily="34" charset="-122"/>
                <a:cs typeface="Calibri" pitchFamily="34" charset="-120"/>
              </a:rPr>
              <a:t>Number of reimbursed drug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Calibri" pitchFamily="34" charset="-122"/>
                <a:cs typeface="Calibri" pitchFamily="34" charset="-120"/>
              </a:rPr>
              <a:t>2018–2025</a:t>
            </a:r>
            <a:endParaRPr kumimoji="0" lang="en-GB" sz="11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0D6974-6E6C-1878-3770-0C05C8F2FC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0" y="311150"/>
            <a:ext cx="9790113" cy="930910"/>
          </a:xfrm>
        </p:spPr>
        <p:txBody>
          <a:bodyPr/>
          <a:lstStyle/>
          <a:p>
            <a:r>
              <a:rPr lang="en-GB"/>
              <a:t>Access to new LBCL therapies is uneven across Europe limiting the application of the guidelines</a:t>
            </a:r>
            <a:r>
              <a:rPr lang="en-GB" baseline="30000"/>
              <a:t>1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118EFA8-BF11-894B-7631-9276C9DD717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70645" y="6291951"/>
            <a:ext cx="10440000" cy="428000"/>
          </a:xfrm>
        </p:spPr>
        <p:txBody>
          <a:bodyPr/>
          <a:lstStyle/>
          <a:p>
            <a:r>
              <a:rPr lang="en-GB"/>
              <a:t>Figures reproduced from </a:t>
            </a:r>
            <a:r>
              <a:rPr lang="en-GB" err="1"/>
              <a:t>Broussais</a:t>
            </a:r>
            <a:r>
              <a:rPr lang="en-GB"/>
              <a:t> et al. 2025</a:t>
            </a:r>
            <a:r>
              <a:rPr lang="en-GB" baseline="30000"/>
              <a:t>1 </a:t>
            </a:r>
            <a:r>
              <a:rPr lang="en-GB"/>
              <a:t>under the Creative Commons Attribution-Non-Commercial-No Derivatives (CC BY-NC-ND) License. </a:t>
            </a:r>
          </a:p>
          <a:p>
            <a:r>
              <a:rPr lang="en-GB"/>
              <a:t>*As of March 2025. LBCL, large B-cell lymphoma. </a:t>
            </a:r>
            <a:r>
              <a:rPr lang="en-GB" b="1"/>
              <a:t>1. </a:t>
            </a:r>
            <a:r>
              <a:rPr lang="en-GB" err="1"/>
              <a:t>Broussais</a:t>
            </a:r>
            <a:r>
              <a:rPr lang="en-GB"/>
              <a:t> et al. </a:t>
            </a:r>
            <a:r>
              <a:rPr lang="en-GB" i="1" err="1"/>
              <a:t>Hemasphere</a:t>
            </a:r>
            <a:r>
              <a:rPr lang="en-GB"/>
              <a:t> 2025.</a:t>
            </a:r>
          </a:p>
        </p:txBody>
      </p:sp>
      <p:sp>
        <p:nvSpPr>
          <p:cNvPr id="7" name="Text 7">
            <a:extLst>
              <a:ext uri="{FF2B5EF4-FFF2-40B4-BE49-F238E27FC236}">
                <a16:creationId xmlns:a16="http://schemas.microsoft.com/office/drawing/2014/main" id="{7896F25D-82F1-8A08-B0DD-62837CEC3074}"/>
              </a:ext>
            </a:extLst>
          </p:cNvPr>
          <p:cNvSpPr/>
          <p:nvPr/>
        </p:nvSpPr>
        <p:spPr>
          <a:xfrm>
            <a:off x="483792" y="2207260"/>
            <a:ext cx="5318872" cy="230128"/>
          </a:xfrm>
          <a:prstGeom prst="rect">
            <a:avLst/>
          </a:prstGeom>
          <a:noFill/>
          <a:ln/>
        </p:spPr>
        <p:txBody>
          <a:bodyPr wrap="square" lIns="9000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Calibri" pitchFamily="34" charset="-122"/>
                <a:cs typeface="Calibri" pitchFamily="34" charset="-120"/>
              </a:rPr>
              <a:t>Number of clinical trials by country*</a:t>
            </a: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3" name="Text 7">
            <a:extLst>
              <a:ext uri="{FF2B5EF4-FFF2-40B4-BE49-F238E27FC236}">
                <a16:creationId xmlns:a16="http://schemas.microsoft.com/office/drawing/2014/main" id="{D13AE165-D614-C721-6777-C351302D4CC2}"/>
              </a:ext>
            </a:extLst>
          </p:cNvPr>
          <p:cNvSpPr/>
          <p:nvPr/>
        </p:nvSpPr>
        <p:spPr>
          <a:xfrm>
            <a:off x="5992885" y="2207260"/>
            <a:ext cx="5418254" cy="230128"/>
          </a:xfrm>
          <a:prstGeom prst="rect">
            <a:avLst/>
          </a:prstGeom>
          <a:noFill/>
          <a:ln/>
        </p:spPr>
        <p:txBody>
          <a:bodyPr wrap="square" lIns="9000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Calibri" pitchFamily="34" charset="-122"/>
                <a:cs typeface="Calibri" pitchFamily="34" charset="-120"/>
              </a:rPr>
              <a:t>Reimbursement for 11 LBCL therapies approved*</a:t>
            </a: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" name="Shape 3">
            <a:extLst>
              <a:ext uri="{FF2B5EF4-FFF2-40B4-BE49-F238E27FC236}">
                <a16:creationId xmlns:a16="http://schemas.microsoft.com/office/drawing/2014/main" id="{F5BE8A26-D7FD-4BE9-E49E-945EDC4BCFAE}"/>
              </a:ext>
            </a:extLst>
          </p:cNvPr>
          <p:cNvSpPr/>
          <p:nvPr/>
        </p:nvSpPr>
        <p:spPr>
          <a:xfrm>
            <a:off x="469900" y="1327811"/>
            <a:ext cx="10941237" cy="6271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ome countries are </a:t>
            </a: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missing many options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, </a:t>
            </a:r>
            <a:b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with consequent </a:t>
            </a: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inequalities in treatment access across countries</a:t>
            </a: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90A550E7-1AE6-AAB1-6EFE-7C4B00AD13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651" y="6356350"/>
            <a:ext cx="383694" cy="365125"/>
          </a:xfrm>
        </p:spPr>
        <p:txBody>
          <a:bodyPr vert="horz" lIns="0" tIns="0" rIns="0" bIns="0"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01CC8E-1CEF-6746-999E-CF29FF00B1DC}" type="slidenum"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82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5946425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DDF4EB1-A358-3022-B27B-816BFC0300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4943C8C4-BFF5-4A58-3144-6398B77FF295}"/>
              </a:ext>
            </a:extLst>
          </p:cNvPr>
          <p:cNvSpPr/>
          <p:nvPr/>
        </p:nvSpPr>
        <p:spPr>
          <a:xfrm>
            <a:off x="3104147" y="3654931"/>
            <a:ext cx="5564068" cy="918469"/>
          </a:xfrm>
          <a:prstGeom prst="roundRect">
            <a:avLst>
              <a:gd name="adj" fmla="val 8884"/>
            </a:avLst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72000" rtlCol="0" anchor="ctr"/>
          <a:lstStyle/>
          <a:p>
            <a:pPr marL="144000" marR="0" lvl="0" indent="-144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101CB0B-D712-5AE6-1094-81EF1191A1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0647" y="311858"/>
            <a:ext cx="9789459" cy="632402"/>
          </a:xfrm>
        </p:spPr>
        <p:txBody>
          <a:bodyPr/>
          <a:lstStyle/>
          <a:p>
            <a:r>
              <a:rPr lang="en-GB"/>
              <a:t>Guidelines are in place to support high-level decision-making, but decisions are personalised</a:t>
            </a:r>
            <a:r>
              <a:rPr lang="en-GB" baseline="30000"/>
              <a:t>1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59BE4E1-611C-0C30-4E4B-422C0616FB0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70647" y="5883691"/>
            <a:ext cx="11027855" cy="837784"/>
          </a:xfrm>
        </p:spPr>
        <p:txBody>
          <a:bodyPr/>
          <a:lstStyle/>
          <a:p>
            <a:r>
              <a:rPr lang="en-GB"/>
              <a:t>*CAR-T cell therapy may not be appropriate in patients with PS&gt;2 or who have a large tumour volume and/or rapidly increasing LDH level. †2L immunochemotherapy before HDT/ASCT, in case of CMR, go to HDT/ASCT [IA]. 1L, first line; 2L, second line; 3L+, third line and beyond; ASCT, autologous stem cell transplantation; axi-cel, axicabtagene ciloleucel; CAR-T, chimeric antigen receptor T-cell therapy; C(M)R, complete (metabolic) response; Epcor, epcoritamab; GemOx, gemcitabine and oxaliplatin; Glofit, glofitamab; HDT, high-dose therapy; LDH, lactate dehydrogenase; len, lenalidomide; liso-cel, lisocabtagene maraleucel; Pola-BR, polatuzumab vedotin, bendamustine and rituximab; Pola-R-CHP, polatuzumab vedotin, rituximab, cyclophosphamide, doxorubicin, prednisone; PR, partial response; PS, performance status; R-CHOP, rituximab, cyclophosphamide, doxorubicin, vincristine, prednisone; Tafa, tafasitamab. </a:t>
            </a:r>
            <a:r>
              <a:rPr lang="en-GB" b="1"/>
              <a:t>1. </a:t>
            </a:r>
            <a:r>
              <a:rPr lang="en-GB" err="1"/>
              <a:t>Thieblemont</a:t>
            </a:r>
            <a:r>
              <a:rPr lang="en-GB"/>
              <a:t> et al. </a:t>
            </a:r>
            <a:r>
              <a:rPr lang="en-GB" i="1" err="1"/>
              <a:t>Hemasphere</a:t>
            </a:r>
            <a:r>
              <a:rPr lang="en-GB"/>
              <a:t> 2025.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65EA6901-0C9F-3FAA-7810-C1747BE23E2B}"/>
              </a:ext>
            </a:extLst>
          </p:cNvPr>
          <p:cNvSpPr/>
          <p:nvPr/>
        </p:nvSpPr>
        <p:spPr>
          <a:xfrm>
            <a:off x="573741" y="2665052"/>
            <a:ext cx="10924759" cy="1980000"/>
          </a:xfrm>
          <a:prstGeom prst="roundRect">
            <a:avLst>
              <a:gd name="adj" fmla="val 2875"/>
            </a:avLst>
          </a:prstGeom>
          <a:noFill/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8F3DCCA1-ED7E-5E6C-9266-A4FEDAFDB906}"/>
              </a:ext>
            </a:extLst>
          </p:cNvPr>
          <p:cNvSpPr/>
          <p:nvPr/>
        </p:nvSpPr>
        <p:spPr>
          <a:xfrm>
            <a:off x="1185838" y="2856113"/>
            <a:ext cx="3827932" cy="283039"/>
          </a:xfrm>
          <a:prstGeom prst="roundRect">
            <a:avLst>
              <a:gd name="adj" fmla="val 16664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imary refractory or relapse within 12 months</a:t>
            </a:r>
            <a:r>
              <a:rPr kumimoji="0" lang="en-GB" sz="1400" b="0" i="0" u="none" strike="noStrike" kern="1200" cap="none" spc="0" normalizeH="0" baseline="3000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498B2152-B9F7-31C1-99DE-F37CA130C4A3}"/>
              </a:ext>
            </a:extLst>
          </p:cNvPr>
          <p:cNvSpPr/>
          <p:nvPr/>
        </p:nvSpPr>
        <p:spPr>
          <a:xfrm>
            <a:off x="7437099" y="2856113"/>
            <a:ext cx="2353433" cy="283039"/>
          </a:xfrm>
          <a:prstGeom prst="roundRect">
            <a:avLst>
              <a:gd name="adj" fmla="val 16664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elapse after 12 months</a:t>
            </a:r>
            <a:r>
              <a:rPr kumimoji="0" lang="en-GB" sz="1400" b="0" i="0" u="none" strike="noStrike" kern="1200" cap="none" spc="0" normalizeH="0" baseline="3000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D3315B49-DAD5-B157-A723-C62B3ED30F33}"/>
              </a:ext>
            </a:extLst>
          </p:cNvPr>
          <p:cNvSpPr/>
          <p:nvPr/>
        </p:nvSpPr>
        <p:spPr>
          <a:xfrm>
            <a:off x="1185838" y="3654933"/>
            <a:ext cx="1764411" cy="918467"/>
          </a:xfrm>
          <a:prstGeom prst="roundRect">
            <a:avLst>
              <a:gd name="adj" fmla="val 8605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xi-cel [IA] or </a:t>
            </a:r>
            <a:b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liso-cel [IA]*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2D338F9A-D852-4ED9-AE0E-DE037EBCF5E7}"/>
              </a:ext>
            </a:extLst>
          </p:cNvPr>
          <p:cNvSpPr/>
          <p:nvPr/>
        </p:nvSpPr>
        <p:spPr>
          <a:xfrm>
            <a:off x="3101223" y="3701287"/>
            <a:ext cx="3359050" cy="1023219"/>
          </a:xfrm>
          <a:prstGeom prst="roundRect">
            <a:avLst>
              <a:gd name="adj" fmla="val 3218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72000" rtlCol="0" anchor="t"/>
          <a:lstStyle/>
          <a:p>
            <a:pPr marL="144000" marR="0" lvl="0" indent="-144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Glofit-GemOx [IA]</a:t>
            </a:r>
          </a:p>
          <a:p>
            <a:pPr marL="144000" marR="0" lvl="0" indent="-144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ituximab-chemotherapy [IB]</a:t>
            </a:r>
          </a:p>
          <a:p>
            <a:pPr marL="144000" marR="0" lvl="0" indent="-144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ola-BR [IIIB]</a:t>
            </a:r>
          </a:p>
          <a:p>
            <a:pPr marL="144000" marR="0" lvl="0" indent="-144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afa-len [IIIC] in non-refractory patient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127E80E-147C-5DC4-92B3-8BA796EC7531}"/>
              </a:ext>
            </a:extLst>
          </p:cNvPr>
          <p:cNvSpPr txBox="1"/>
          <p:nvPr/>
        </p:nvSpPr>
        <p:spPr>
          <a:xfrm>
            <a:off x="720762" y="2856113"/>
            <a:ext cx="312016" cy="2769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L</a:t>
            </a: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CDEBD8BC-5C1A-466A-9D4C-7D33782976E7}"/>
              </a:ext>
            </a:extLst>
          </p:cNvPr>
          <p:cNvSpPr/>
          <p:nvPr/>
        </p:nvSpPr>
        <p:spPr>
          <a:xfrm>
            <a:off x="8834818" y="3647498"/>
            <a:ext cx="2414011" cy="925902"/>
          </a:xfrm>
          <a:prstGeom prst="roundRect">
            <a:avLst>
              <a:gd name="adj" fmla="val 8605"/>
            </a:avLst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Immunochemotherapy</a:t>
            </a:r>
            <a:r>
              <a:rPr kumimoji="0" lang="en-GB" sz="1400" b="0" i="0" u="none" strike="noStrike" kern="1200" cap="none" spc="0" normalizeH="0" baseline="3000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† </a:t>
            </a: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followed by HDT/ASCT if CR/PR [IA]</a:t>
            </a:r>
          </a:p>
        </p:txBody>
      </p:sp>
      <p:cxnSp>
        <p:nvCxnSpPr>
          <p:cNvPr id="17" name="Connector: Elbow 16">
            <a:extLst>
              <a:ext uri="{FF2B5EF4-FFF2-40B4-BE49-F238E27FC236}">
                <a16:creationId xmlns:a16="http://schemas.microsoft.com/office/drawing/2014/main" id="{73FD25B9-AD4A-06C9-3210-4BEE9AD411CF}"/>
              </a:ext>
            </a:extLst>
          </p:cNvPr>
          <p:cNvCxnSpPr>
            <a:cxnSpLocks/>
            <a:stCxn id="11" idx="2"/>
            <a:endCxn id="13" idx="0"/>
          </p:cNvCxnSpPr>
          <p:nvPr/>
        </p:nvCxnSpPr>
        <p:spPr>
          <a:xfrm rot="5400000">
            <a:off x="2326034" y="2881162"/>
            <a:ext cx="515781" cy="1031760"/>
          </a:xfrm>
          <a:prstGeom prst="bentConnector3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nector: Elbow 17">
            <a:extLst>
              <a:ext uri="{FF2B5EF4-FFF2-40B4-BE49-F238E27FC236}">
                <a16:creationId xmlns:a16="http://schemas.microsoft.com/office/drawing/2014/main" id="{9766EAFF-ABED-6FA0-9440-2F16C629B4E6}"/>
              </a:ext>
            </a:extLst>
          </p:cNvPr>
          <p:cNvCxnSpPr>
            <a:cxnSpLocks/>
            <a:stCxn id="11" idx="2"/>
            <a:endCxn id="38" idx="0"/>
          </p:cNvCxnSpPr>
          <p:nvPr/>
        </p:nvCxnSpPr>
        <p:spPr>
          <a:xfrm rot="16200000" flipH="1">
            <a:off x="4235103" y="2003852"/>
            <a:ext cx="515779" cy="2786377"/>
          </a:xfrm>
          <a:prstGeom prst="bentConnector3">
            <a:avLst>
              <a:gd name="adj1" fmla="val 50000"/>
            </a:avLst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nector: Elbow 18">
            <a:extLst>
              <a:ext uri="{FF2B5EF4-FFF2-40B4-BE49-F238E27FC236}">
                <a16:creationId xmlns:a16="http://schemas.microsoft.com/office/drawing/2014/main" id="{218592DE-9626-1125-E374-0A2E88ECBEB0}"/>
              </a:ext>
            </a:extLst>
          </p:cNvPr>
          <p:cNvCxnSpPr>
            <a:cxnSpLocks/>
            <a:stCxn id="12" idx="2"/>
            <a:endCxn id="38" idx="0"/>
          </p:cNvCxnSpPr>
          <p:nvPr/>
        </p:nvCxnSpPr>
        <p:spPr>
          <a:xfrm rot="5400000">
            <a:off x="6992110" y="2033224"/>
            <a:ext cx="515779" cy="2727635"/>
          </a:xfrm>
          <a:prstGeom prst="bentConnector3">
            <a:avLst>
              <a:gd name="adj1" fmla="val 50000"/>
            </a:avLst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nector: Elbow 19">
            <a:extLst>
              <a:ext uri="{FF2B5EF4-FFF2-40B4-BE49-F238E27FC236}">
                <a16:creationId xmlns:a16="http://schemas.microsoft.com/office/drawing/2014/main" id="{7C35ED89-B39C-DD3C-5C78-E821CAA0F96C}"/>
              </a:ext>
            </a:extLst>
          </p:cNvPr>
          <p:cNvCxnSpPr>
            <a:cxnSpLocks/>
            <a:stCxn id="12" idx="2"/>
            <a:endCxn id="16" idx="0"/>
          </p:cNvCxnSpPr>
          <p:nvPr/>
        </p:nvCxnSpPr>
        <p:spPr>
          <a:xfrm rot="16200000" flipH="1">
            <a:off x="9073647" y="2679321"/>
            <a:ext cx="508346" cy="1428008"/>
          </a:xfrm>
          <a:prstGeom prst="bentConnector3">
            <a:avLst>
              <a:gd name="adj1" fmla="val 50468"/>
            </a:avLst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3D8029B4-70EA-945E-8D42-1D09EE46514F}"/>
              </a:ext>
            </a:extLst>
          </p:cNvPr>
          <p:cNvSpPr txBox="1"/>
          <p:nvPr/>
        </p:nvSpPr>
        <p:spPr>
          <a:xfrm>
            <a:off x="2144281" y="3210688"/>
            <a:ext cx="893597" cy="1692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AR-T eligible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1F19CB47-0D91-9102-BD83-7BFA7632324A}"/>
              </a:ext>
            </a:extLst>
          </p:cNvPr>
          <p:cNvSpPr txBox="1"/>
          <p:nvPr/>
        </p:nvSpPr>
        <p:spPr>
          <a:xfrm>
            <a:off x="3171953" y="3210688"/>
            <a:ext cx="2007079" cy="1692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o intention to proceed to CAR-T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CFF459A5-19ED-F5AD-AA29-3E4BB5C1E2AF}"/>
              </a:ext>
            </a:extLst>
          </p:cNvPr>
          <p:cNvSpPr txBox="1"/>
          <p:nvPr/>
        </p:nvSpPr>
        <p:spPr>
          <a:xfrm>
            <a:off x="8701116" y="3210688"/>
            <a:ext cx="1124590" cy="1692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ransplant eligible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1C157A2-22D3-8D32-3B07-EE5472C280B7}"/>
              </a:ext>
            </a:extLst>
          </p:cNvPr>
          <p:cNvSpPr txBox="1"/>
          <p:nvPr/>
        </p:nvSpPr>
        <p:spPr>
          <a:xfrm>
            <a:off x="6302290" y="3210688"/>
            <a:ext cx="2237983" cy="1692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o intention to proceed to transplant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6FBA28FA-5F02-1453-9146-01F2856AF05F}"/>
              </a:ext>
            </a:extLst>
          </p:cNvPr>
          <p:cNvSpPr txBox="1"/>
          <p:nvPr/>
        </p:nvSpPr>
        <p:spPr>
          <a:xfrm>
            <a:off x="720762" y="1728443"/>
            <a:ext cx="349644" cy="2769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L</a:t>
            </a: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05870206-31C4-7522-7EE0-6F9DFB0FFC11}"/>
              </a:ext>
            </a:extLst>
          </p:cNvPr>
          <p:cNvSpPr/>
          <p:nvPr/>
        </p:nvSpPr>
        <p:spPr>
          <a:xfrm>
            <a:off x="1185839" y="1728443"/>
            <a:ext cx="1819765" cy="684315"/>
          </a:xfrm>
          <a:prstGeom prst="roundRect">
            <a:avLst>
              <a:gd name="adj" fmla="val 7584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0 risk factors</a:t>
            </a:r>
          </a:p>
          <a:p>
            <a:pPr marL="0" marR="0" lvl="0" indent="0" algn="ctr" defTabSz="914400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tage I/II, &lt;80 years</a:t>
            </a:r>
          </a:p>
          <a:p>
            <a:pPr marL="0" marR="0" lvl="0" indent="0" algn="ctr" defTabSz="914400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-CHOP [IA]</a:t>
            </a: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B4FFB5A7-F202-C875-C2AC-42DE868AE67A}"/>
              </a:ext>
            </a:extLst>
          </p:cNvPr>
          <p:cNvSpPr/>
          <p:nvPr/>
        </p:nvSpPr>
        <p:spPr>
          <a:xfrm>
            <a:off x="573764" y="1534638"/>
            <a:ext cx="10924759" cy="937056"/>
          </a:xfrm>
          <a:prstGeom prst="roundRect">
            <a:avLst>
              <a:gd name="adj" fmla="val 6385"/>
            </a:avLst>
          </a:prstGeom>
          <a:noFill/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5E92568D-1EFD-7DC1-DA31-00D2B6DB6906}"/>
              </a:ext>
            </a:extLst>
          </p:cNvPr>
          <p:cNvSpPr/>
          <p:nvPr/>
        </p:nvSpPr>
        <p:spPr>
          <a:xfrm>
            <a:off x="3242596" y="1728443"/>
            <a:ext cx="3363172" cy="684315"/>
          </a:xfrm>
          <a:prstGeom prst="roundRect">
            <a:avLst>
              <a:gd name="adj" fmla="val 7584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36000" rIns="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 risk factor</a:t>
            </a:r>
          </a:p>
          <a:p>
            <a:pPr marL="0" marR="0" lvl="0" indent="0" algn="ctr" defTabSz="914400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tage III/IV or Stage I/II with high LDH or poor PS, &lt;80 years</a:t>
            </a:r>
          </a:p>
          <a:p>
            <a:pPr marL="0" marR="0" lvl="0" indent="0" algn="ctr" defTabSz="914400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-CHOP [IA]</a:t>
            </a:r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8D85E699-D905-8944-0A71-C8241C6702A6}"/>
              </a:ext>
            </a:extLst>
          </p:cNvPr>
          <p:cNvSpPr/>
          <p:nvPr/>
        </p:nvSpPr>
        <p:spPr>
          <a:xfrm>
            <a:off x="6842761" y="1728443"/>
            <a:ext cx="4407042" cy="684315"/>
          </a:xfrm>
          <a:prstGeom prst="roundRect">
            <a:avLst>
              <a:gd name="adj" fmla="val 7584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36000" rIns="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≥2 risk factors</a:t>
            </a:r>
          </a:p>
          <a:p>
            <a:pPr marL="0" marR="0" lvl="0" indent="0" algn="ctr" defTabSz="914400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tage III/IV and high LDH and/or poor PS and/or ≥2 extranodal sites, &lt;80 years</a:t>
            </a:r>
          </a:p>
          <a:p>
            <a:pPr marL="0" marR="0" lvl="0" indent="0" algn="ctr" defTabSz="914400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ola-R-CHP [IB]</a:t>
            </a: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E6005F75-617B-3105-DD97-94CEF9459513}"/>
              </a:ext>
            </a:extLst>
          </p:cNvPr>
          <p:cNvSpPr/>
          <p:nvPr/>
        </p:nvSpPr>
        <p:spPr>
          <a:xfrm>
            <a:off x="6587606" y="3647497"/>
            <a:ext cx="1971461" cy="1023219"/>
          </a:xfrm>
          <a:prstGeom prst="roundRect">
            <a:avLst>
              <a:gd name="adj" fmla="val 3218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72000" rtlCol="0" anchor="t"/>
          <a:lstStyle/>
          <a:p>
            <a:pPr marL="144000" marR="0" lvl="0" indent="-144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Epcor-GemOx [IIIC] when available</a:t>
            </a:r>
          </a:p>
          <a:p>
            <a:pPr marL="144000" marR="0" lvl="0" indent="-144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linical trial</a:t>
            </a:r>
          </a:p>
          <a:p>
            <a:pPr marL="144000" marR="0" lvl="0" indent="-144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Best supportive care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38589CE5-3AAE-3028-E9A6-5C1623595DC0}"/>
              </a:ext>
            </a:extLst>
          </p:cNvPr>
          <p:cNvSpPr/>
          <p:nvPr/>
        </p:nvSpPr>
        <p:spPr>
          <a:xfrm>
            <a:off x="4252027" y="2557453"/>
            <a:ext cx="4010025" cy="224241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r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Biopsy and CD19 testing recommended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2E5C15B4-DAD5-3AB0-398C-1D8E28B41993}"/>
              </a:ext>
            </a:extLst>
          </p:cNvPr>
          <p:cNvSpPr/>
          <p:nvPr/>
        </p:nvSpPr>
        <p:spPr>
          <a:xfrm>
            <a:off x="4252027" y="1418443"/>
            <a:ext cx="4010025" cy="224241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r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D20 assessment recommended</a:t>
            </a:r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3E0F1DE8-32BE-76EE-78A0-32E6FED84D24}"/>
              </a:ext>
            </a:extLst>
          </p:cNvPr>
          <p:cNvSpPr/>
          <p:nvPr/>
        </p:nvSpPr>
        <p:spPr>
          <a:xfrm>
            <a:off x="573741" y="4896987"/>
            <a:ext cx="10924759" cy="837784"/>
          </a:xfrm>
          <a:prstGeom prst="roundRect">
            <a:avLst>
              <a:gd name="adj" fmla="val 5385"/>
            </a:avLst>
          </a:prstGeom>
          <a:noFill/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B22D8561-4B53-F49C-0F44-13269EEEAED9}"/>
              </a:ext>
            </a:extLst>
          </p:cNvPr>
          <p:cNvSpPr txBox="1"/>
          <p:nvPr/>
        </p:nvSpPr>
        <p:spPr>
          <a:xfrm>
            <a:off x="720762" y="5113363"/>
            <a:ext cx="487095" cy="2769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3L+</a:t>
            </a:r>
          </a:p>
        </p:txBody>
      </p:sp>
      <p:sp>
        <p:nvSpPr>
          <p:cNvPr id="43" name="Rectangle: Rounded Corners 42">
            <a:extLst>
              <a:ext uri="{FF2B5EF4-FFF2-40B4-BE49-F238E27FC236}">
                <a16:creationId xmlns:a16="http://schemas.microsoft.com/office/drawing/2014/main" id="{54AB5636-D944-04A1-69D3-C9BA92C2391A}"/>
              </a:ext>
            </a:extLst>
          </p:cNvPr>
          <p:cNvSpPr/>
          <p:nvPr/>
        </p:nvSpPr>
        <p:spPr>
          <a:xfrm>
            <a:off x="1185838" y="5113363"/>
            <a:ext cx="4746611" cy="534826"/>
          </a:xfrm>
          <a:prstGeom prst="roundRect">
            <a:avLst>
              <a:gd name="adj" fmla="val 10195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CAR-T* [III, A], bispecific antibodies [III, C], loncastuximab tesirine [III, C], Tafa-len [III, C], Pola-BR [III, B]</a:t>
            </a:r>
          </a:p>
        </p:txBody>
      </p:sp>
      <p:sp>
        <p:nvSpPr>
          <p:cNvPr id="44" name="Rectangle: Rounded Corners 43">
            <a:extLst>
              <a:ext uri="{FF2B5EF4-FFF2-40B4-BE49-F238E27FC236}">
                <a16:creationId xmlns:a16="http://schemas.microsoft.com/office/drawing/2014/main" id="{FC718852-791B-18F6-37CD-19C7CC7C3A60}"/>
              </a:ext>
            </a:extLst>
          </p:cNvPr>
          <p:cNvSpPr/>
          <p:nvPr/>
        </p:nvSpPr>
        <p:spPr>
          <a:xfrm>
            <a:off x="6072469" y="5113363"/>
            <a:ext cx="2595745" cy="534826"/>
          </a:xfrm>
          <a:prstGeom prst="roundRect">
            <a:avLst>
              <a:gd name="adj" fmla="val 10195"/>
            </a:avLst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ts val="13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In limited stage: I</a:t>
            </a:r>
            <a:r>
              <a:rPr kumimoji="0" lang="en-CH" sz="1400" b="0" i="0" u="none" strike="noStrike" kern="1200" cap="none" spc="0" normalizeH="0" baseline="0" noProof="0" err="1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volved</a:t>
            </a:r>
            <a:r>
              <a:rPr kumimoji="0" lang="en-CH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site radiotherapy</a:t>
            </a: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5" name="Rectangle: Rounded Corners 44">
            <a:extLst>
              <a:ext uri="{FF2B5EF4-FFF2-40B4-BE49-F238E27FC236}">
                <a16:creationId xmlns:a16="http://schemas.microsoft.com/office/drawing/2014/main" id="{AC21F2A0-BD28-D633-E78E-2A0AC51127D2}"/>
              </a:ext>
            </a:extLst>
          </p:cNvPr>
          <p:cNvSpPr/>
          <p:nvPr/>
        </p:nvSpPr>
        <p:spPr>
          <a:xfrm>
            <a:off x="8834818" y="5113363"/>
            <a:ext cx="2414012" cy="534826"/>
          </a:xfrm>
          <a:prstGeom prst="roundRect">
            <a:avLst>
              <a:gd name="adj" fmla="val 14365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ts val="13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linical trials</a:t>
            </a:r>
            <a:b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Best supportive care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2876DF7E-E2DB-1F66-A636-24D4E2BAD7E8}"/>
              </a:ext>
            </a:extLst>
          </p:cNvPr>
          <p:cNvSpPr/>
          <p:nvPr/>
        </p:nvSpPr>
        <p:spPr>
          <a:xfrm>
            <a:off x="4252027" y="4782326"/>
            <a:ext cx="4010025" cy="242932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r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Biopsy strongly recommended before 3L</a:t>
            </a: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636B7922-F90C-AB88-F7CD-8ABACDCB1E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651" y="6356350"/>
            <a:ext cx="383694" cy="365125"/>
          </a:xfrm>
        </p:spPr>
        <p:txBody>
          <a:bodyPr vert="horz" lIns="0" tIns="0" rIns="0" bIns="0"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01CC8E-1CEF-6746-999E-CF29FF00B1DC}" type="slidenum"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82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1700840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D003C2-EC0D-6B31-FDB4-0DBB7CF6A2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In 2L DLBCL*, CAR-T and ASCT remain the key cornerstones for eligible patients</a:t>
            </a:r>
            <a:r>
              <a:rPr lang="en-GB" baseline="30000"/>
              <a:t>1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5A1B44A-CEA0-7BA7-B3A4-27EC9B54FE0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70645" y="5768341"/>
            <a:ext cx="10440000" cy="951610"/>
          </a:xfrm>
        </p:spPr>
        <p:txBody>
          <a:bodyPr anchor="b" anchorCtr="0"/>
          <a:lstStyle/>
          <a:p>
            <a:r>
              <a:rPr lang="en-GB"/>
              <a:t>2L, second line; ASCT, autologous stem cell transplantation; axi-cel, axicabtagene ciloleucel; CAR-T, chimeric antigen receptor T-cell therapy; C(M)R, complete (metabolic) response; DLBCL, diffuse large B-cell lymphoma; Epcor, epcoritamab; GemOx, gemcitabine and oxaliplatin; Glofit, glofitamab; HDT, high-dose therapy; LDH, lactate dehydrogenase; len, lenalidomide; liso-cel, lisocabtagene maraleucel; Pola-BR, polatuzumab vedotin, bendamustine and rituximab; Pola-R-CHP, polatuzumab vedotin, rituximab, cyclophosphamide, doxorubicin, prednisone; PR, partial response; PS, performance status; Tafa, tafasitamab.</a:t>
            </a:r>
            <a:r>
              <a:rPr lang="en-CH"/>
              <a:t> </a:t>
            </a:r>
            <a:r>
              <a:rPr lang="en-GB"/>
              <a:t> </a:t>
            </a:r>
            <a:r>
              <a:rPr lang="en-GB" b="1"/>
              <a:t>1. </a:t>
            </a:r>
            <a:r>
              <a:rPr lang="en-GB" err="1"/>
              <a:t>Thieblemont</a:t>
            </a:r>
            <a:r>
              <a:rPr lang="en-GB"/>
              <a:t> et al. </a:t>
            </a:r>
            <a:r>
              <a:rPr lang="en-GB" i="1" err="1"/>
              <a:t>Hemasphere</a:t>
            </a:r>
            <a:r>
              <a:rPr lang="en-GB"/>
              <a:t> 2025.</a:t>
            </a:r>
          </a:p>
        </p:txBody>
      </p:sp>
      <p:sp>
        <p:nvSpPr>
          <p:cNvPr id="37" name="Rectangle: Rounded Corners 36">
            <a:extLst>
              <a:ext uri="{FF2B5EF4-FFF2-40B4-BE49-F238E27FC236}">
                <a16:creationId xmlns:a16="http://schemas.microsoft.com/office/drawing/2014/main" id="{2BCD6197-879F-52E9-82A0-087A967692BC}"/>
              </a:ext>
            </a:extLst>
          </p:cNvPr>
          <p:cNvSpPr/>
          <p:nvPr/>
        </p:nvSpPr>
        <p:spPr>
          <a:xfrm>
            <a:off x="3104147" y="3654931"/>
            <a:ext cx="5564068" cy="918469"/>
          </a:xfrm>
          <a:prstGeom prst="roundRect">
            <a:avLst>
              <a:gd name="adj" fmla="val 8884"/>
            </a:avLst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72000" rtlCol="0" anchor="ctr"/>
          <a:lstStyle/>
          <a:p>
            <a:pPr marL="144000" marR="0" lvl="0" indent="-144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EFF3762E-9013-CD23-5711-F1FE526962B9}"/>
              </a:ext>
            </a:extLst>
          </p:cNvPr>
          <p:cNvSpPr/>
          <p:nvPr/>
        </p:nvSpPr>
        <p:spPr>
          <a:xfrm>
            <a:off x="1185838" y="2856113"/>
            <a:ext cx="3827932" cy="283039"/>
          </a:xfrm>
          <a:prstGeom prst="roundRect">
            <a:avLst>
              <a:gd name="adj" fmla="val 16664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imary refractory or relapse within 12 months</a:t>
            </a:r>
            <a:r>
              <a:rPr kumimoji="0" lang="en-GB" sz="1400" b="0" i="0" u="none" strike="noStrike" kern="1200" cap="none" spc="0" normalizeH="0" baseline="3000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</a:t>
            </a:r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265D7AB8-83E8-CC31-301C-6A60181962B3}"/>
              </a:ext>
            </a:extLst>
          </p:cNvPr>
          <p:cNvSpPr/>
          <p:nvPr/>
        </p:nvSpPr>
        <p:spPr>
          <a:xfrm>
            <a:off x="7437099" y="2856113"/>
            <a:ext cx="2353433" cy="283039"/>
          </a:xfrm>
          <a:prstGeom prst="roundRect">
            <a:avLst>
              <a:gd name="adj" fmla="val 16664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elapse after 12 months</a:t>
            </a:r>
            <a:r>
              <a:rPr kumimoji="0" lang="en-GB" sz="1400" b="0" i="0" u="none" strike="noStrike" kern="1200" cap="none" spc="0" normalizeH="0" baseline="3000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</a:t>
            </a:r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71A0EB02-E665-7A16-4862-7CF931F5B425}"/>
              </a:ext>
            </a:extLst>
          </p:cNvPr>
          <p:cNvSpPr/>
          <p:nvPr/>
        </p:nvSpPr>
        <p:spPr>
          <a:xfrm>
            <a:off x="1185838" y="3654933"/>
            <a:ext cx="1764411" cy="918467"/>
          </a:xfrm>
          <a:prstGeom prst="roundRect">
            <a:avLst>
              <a:gd name="adj" fmla="val 8605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xi-cel [IA] or </a:t>
            </a:r>
            <a:b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liso-cel [IA]</a:t>
            </a:r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1BDD9A20-B695-DB93-930F-7FD10D91DCB5}"/>
              </a:ext>
            </a:extLst>
          </p:cNvPr>
          <p:cNvSpPr/>
          <p:nvPr/>
        </p:nvSpPr>
        <p:spPr>
          <a:xfrm>
            <a:off x="8834818" y="3647498"/>
            <a:ext cx="2414011" cy="925902"/>
          </a:xfrm>
          <a:prstGeom prst="roundRect">
            <a:avLst>
              <a:gd name="adj" fmla="val 8605"/>
            </a:avLst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Immunochemotherapy</a:t>
            </a:r>
            <a:r>
              <a:rPr kumimoji="0" lang="en-GB" sz="1400" b="0" i="0" u="none" strike="noStrike" kern="1200" cap="none" spc="0" normalizeH="0" baseline="3000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followed by HDT/ASCT if CR/PR [IA]</a:t>
            </a:r>
          </a:p>
        </p:txBody>
      </p:sp>
      <p:cxnSp>
        <p:nvCxnSpPr>
          <p:cNvPr id="43" name="Connector: Elbow 42">
            <a:extLst>
              <a:ext uri="{FF2B5EF4-FFF2-40B4-BE49-F238E27FC236}">
                <a16:creationId xmlns:a16="http://schemas.microsoft.com/office/drawing/2014/main" id="{334E7865-A0BE-6D1F-017A-67F85410568E}"/>
              </a:ext>
            </a:extLst>
          </p:cNvPr>
          <p:cNvCxnSpPr>
            <a:cxnSpLocks/>
            <a:stCxn id="38" idx="2"/>
            <a:endCxn id="41" idx="0"/>
          </p:cNvCxnSpPr>
          <p:nvPr/>
        </p:nvCxnSpPr>
        <p:spPr>
          <a:xfrm rot="5400000">
            <a:off x="2326034" y="2881162"/>
            <a:ext cx="515781" cy="1031760"/>
          </a:xfrm>
          <a:prstGeom prst="bentConnector3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Connector: Elbow 43">
            <a:extLst>
              <a:ext uri="{FF2B5EF4-FFF2-40B4-BE49-F238E27FC236}">
                <a16:creationId xmlns:a16="http://schemas.microsoft.com/office/drawing/2014/main" id="{091E002B-EE56-EE8E-B637-AB1D01456B49}"/>
              </a:ext>
            </a:extLst>
          </p:cNvPr>
          <p:cNvCxnSpPr>
            <a:cxnSpLocks/>
            <a:stCxn id="38" idx="2"/>
            <a:endCxn id="37" idx="0"/>
          </p:cNvCxnSpPr>
          <p:nvPr/>
        </p:nvCxnSpPr>
        <p:spPr>
          <a:xfrm rot="16200000" flipH="1">
            <a:off x="4235103" y="2003852"/>
            <a:ext cx="515779" cy="2786377"/>
          </a:xfrm>
          <a:prstGeom prst="bentConnector3">
            <a:avLst>
              <a:gd name="adj1" fmla="val 50000"/>
            </a:avLst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Connector: Elbow 44">
            <a:extLst>
              <a:ext uri="{FF2B5EF4-FFF2-40B4-BE49-F238E27FC236}">
                <a16:creationId xmlns:a16="http://schemas.microsoft.com/office/drawing/2014/main" id="{08AC0985-F7F4-0C55-77F5-80E7AB92C896}"/>
              </a:ext>
            </a:extLst>
          </p:cNvPr>
          <p:cNvCxnSpPr>
            <a:cxnSpLocks/>
            <a:stCxn id="39" idx="2"/>
            <a:endCxn id="37" idx="0"/>
          </p:cNvCxnSpPr>
          <p:nvPr/>
        </p:nvCxnSpPr>
        <p:spPr>
          <a:xfrm rot="5400000">
            <a:off x="6992110" y="2033224"/>
            <a:ext cx="515779" cy="2727635"/>
          </a:xfrm>
          <a:prstGeom prst="bentConnector3">
            <a:avLst>
              <a:gd name="adj1" fmla="val 50000"/>
            </a:avLst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Connector: Elbow 46">
            <a:extLst>
              <a:ext uri="{FF2B5EF4-FFF2-40B4-BE49-F238E27FC236}">
                <a16:creationId xmlns:a16="http://schemas.microsoft.com/office/drawing/2014/main" id="{D512BA35-D379-5FE3-F668-8EEB97B55289}"/>
              </a:ext>
            </a:extLst>
          </p:cNvPr>
          <p:cNvCxnSpPr>
            <a:cxnSpLocks/>
            <a:stCxn id="39" idx="2"/>
            <a:endCxn id="42" idx="0"/>
          </p:cNvCxnSpPr>
          <p:nvPr/>
        </p:nvCxnSpPr>
        <p:spPr>
          <a:xfrm rot="16200000" flipH="1">
            <a:off x="9073647" y="2679321"/>
            <a:ext cx="508346" cy="1428008"/>
          </a:xfrm>
          <a:prstGeom prst="bentConnector3">
            <a:avLst>
              <a:gd name="adj1" fmla="val 50468"/>
            </a:avLst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Box 47">
            <a:extLst>
              <a:ext uri="{FF2B5EF4-FFF2-40B4-BE49-F238E27FC236}">
                <a16:creationId xmlns:a16="http://schemas.microsoft.com/office/drawing/2014/main" id="{486A6992-01DB-F7CB-D375-7111DDFCF605}"/>
              </a:ext>
            </a:extLst>
          </p:cNvPr>
          <p:cNvSpPr txBox="1"/>
          <p:nvPr/>
        </p:nvSpPr>
        <p:spPr>
          <a:xfrm>
            <a:off x="2144281" y="3210688"/>
            <a:ext cx="893597" cy="1692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AR-T eligible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DCCF5715-13B3-7AF8-F5B2-836910C27F8A}"/>
              </a:ext>
            </a:extLst>
          </p:cNvPr>
          <p:cNvSpPr txBox="1"/>
          <p:nvPr/>
        </p:nvSpPr>
        <p:spPr>
          <a:xfrm>
            <a:off x="3171953" y="3210688"/>
            <a:ext cx="2007079" cy="1692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o intention to proceed to CAR-T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137F68F2-6DF9-6402-FB2E-FEB132C5D27B}"/>
              </a:ext>
            </a:extLst>
          </p:cNvPr>
          <p:cNvSpPr txBox="1"/>
          <p:nvPr/>
        </p:nvSpPr>
        <p:spPr>
          <a:xfrm>
            <a:off x="8701116" y="3210688"/>
            <a:ext cx="1124590" cy="1692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ransplant eligible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D69B221E-5E42-2DAB-6950-77B9FFA3CD1A}"/>
              </a:ext>
            </a:extLst>
          </p:cNvPr>
          <p:cNvSpPr txBox="1"/>
          <p:nvPr/>
        </p:nvSpPr>
        <p:spPr>
          <a:xfrm>
            <a:off x="6302290" y="3210688"/>
            <a:ext cx="2237983" cy="1692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o intention to proceed to transplant</a:t>
            </a:r>
          </a:p>
        </p:txBody>
      </p:sp>
      <p:sp>
        <p:nvSpPr>
          <p:cNvPr id="52" name="Rectangle: Rounded Corners 51">
            <a:extLst>
              <a:ext uri="{FF2B5EF4-FFF2-40B4-BE49-F238E27FC236}">
                <a16:creationId xmlns:a16="http://schemas.microsoft.com/office/drawing/2014/main" id="{0D29A755-FFCA-86E6-3E8A-027EF23C0447}"/>
              </a:ext>
            </a:extLst>
          </p:cNvPr>
          <p:cNvSpPr/>
          <p:nvPr/>
        </p:nvSpPr>
        <p:spPr>
          <a:xfrm>
            <a:off x="6587606" y="3647497"/>
            <a:ext cx="1971461" cy="1023219"/>
          </a:xfrm>
          <a:prstGeom prst="roundRect">
            <a:avLst>
              <a:gd name="adj" fmla="val 3218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72000" rtlCol="0" anchor="t"/>
          <a:lstStyle/>
          <a:p>
            <a:pPr marL="144000" marR="0" lvl="0" indent="-144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Epcor-GemOx [IIIC] when available</a:t>
            </a:r>
          </a:p>
          <a:p>
            <a:pPr marL="144000" marR="0" lvl="0" indent="-144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linical trial</a:t>
            </a:r>
          </a:p>
          <a:p>
            <a:pPr marL="144000" marR="0" lvl="0" indent="-144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Best supportive care</a:t>
            </a:r>
          </a:p>
        </p:txBody>
      </p:sp>
      <p:sp>
        <p:nvSpPr>
          <p:cNvPr id="53" name="Rectangle: Rounded Corners 52">
            <a:extLst>
              <a:ext uri="{FF2B5EF4-FFF2-40B4-BE49-F238E27FC236}">
                <a16:creationId xmlns:a16="http://schemas.microsoft.com/office/drawing/2014/main" id="{5D2310CA-7472-79B4-AEB2-DFA779DFD4C4}"/>
              </a:ext>
            </a:extLst>
          </p:cNvPr>
          <p:cNvSpPr/>
          <p:nvPr/>
        </p:nvSpPr>
        <p:spPr>
          <a:xfrm>
            <a:off x="3101223" y="3701287"/>
            <a:ext cx="3359050" cy="1023219"/>
          </a:xfrm>
          <a:prstGeom prst="roundRect">
            <a:avLst>
              <a:gd name="adj" fmla="val 3218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72000" rtlCol="0" anchor="t"/>
          <a:lstStyle/>
          <a:p>
            <a:pPr marL="144000" marR="0" lvl="0" indent="-144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Glofit-GemOx [IA]</a:t>
            </a:r>
          </a:p>
          <a:p>
            <a:pPr marL="144000" marR="0" lvl="0" indent="-144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ituximab-chemotherapy [IB]</a:t>
            </a:r>
          </a:p>
          <a:p>
            <a:pPr marL="144000" marR="0" lvl="0" indent="-144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ola-BR [IIIB]</a:t>
            </a:r>
          </a:p>
          <a:p>
            <a:pPr marL="144000" marR="0" lvl="0" indent="-144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afa-len [IIIC] in non-refractory patient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D4FC01F-EA27-B8DF-2F8C-4B0F3B5DFF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651" y="6356350"/>
            <a:ext cx="383694" cy="365125"/>
          </a:xfrm>
        </p:spPr>
        <p:txBody>
          <a:bodyPr vert="horz" lIns="0" tIns="0" rIns="0" bIns="0"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01CC8E-1CEF-6746-999E-CF29FF00B1DC}" type="slidenum"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82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8A542F6-61B9-23DC-C780-DF0FCF7FB005}"/>
              </a:ext>
            </a:extLst>
          </p:cNvPr>
          <p:cNvSpPr txBox="1"/>
          <p:nvPr/>
        </p:nvSpPr>
        <p:spPr>
          <a:xfrm>
            <a:off x="7259996" y="8109064"/>
            <a:ext cx="2750419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ABBFC9">
                    <a:lumMod val="50000"/>
                  </a:srgbClr>
                </a:solidFill>
                <a:effectLst/>
                <a:uLnTx/>
                <a:uFillTx/>
                <a:latin typeface="Aptos" panose="02110004020202020204"/>
                <a:ea typeface="Roboto Medium" panose="02000000000000000000" pitchFamily="2" charset="0"/>
                <a:cs typeface="+mn-cs"/>
              </a:rPr>
              <a:t>Access barriers</a:t>
            </a:r>
            <a:r>
              <a:rPr kumimoji="0" lang="en-CH" sz="1600" b="1" i="0" u="none" strike="noStrike" kern="1200" cap="none" spc="0" normalizeH="0" baseline="30000" noProof="0">
                <a:ln>
                  <a:noFill/>
                </a:ln>
                <a:solidFill>
                  <a:srgbClr val="ABBFC9">
                    <a:lumMod val="5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8</a:t>
            </a:r>
            <a:r>
              <a:rPr kumimoji="0" lang="en-GB" sz="1600" b="1" i="0" u="none" strike="noStrike" kern="1200" cap="none" spc="0" normalizeH="0" baseline="30000" noProof="0">
                <a:ln>
                  <a:noFill/>
                </a:ln>
                <a:solidFill>
                  <a:srgbClr val="ABBFC9">
                    <a:lumMod val="5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–</a:t>
            </a:r>
            <a:r>
              <a:rPr kumimoji="0" lang="en-CH" sz="1600" b="1" i="0" u="none" strike="noStrike" kern="1200" cap="none" spc="0" normalizeH="0" baseline="30000" noProof="0">
                <a:ln>
                  <a:noFill/>
                </a:ln>
                <a:solidFill>
                  <a:srgbClr val="ABBFC9">
                    <a:lumMod val="5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1</a:t>
            </a:r>
            <a:endParaRPr kumimoji="0" lang="en-GB" sz="1600" b="1" i="0" u="none" strike="noStrike" kern="1200" cap="none" spc="0" normalizeH="0" baseline="30000" noProof="0">
              <a:ln>
                <a:noFill/>
              </a:ln>
              <a:solidFill>
                <a:srgbClr val="ABBFC9">
                  <a:lumMod val="50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" name="Text Placeholder 32">
            <a:extLst>
              <a:ext uri="{FF2B5EF4-FFF2-40B4-BE49-F238E27FC236}">
                <a16:creationId xmlns:a16="http://schemas.microsoft.com/office/drawing/2014/main" id="{F0B41DEE-5644-8D1E-7219-223FA02BB414}"/>
              </a:ext>
            </a:extLst>
          </p:cNvPr>
          <p:cNvSpPr txBox="1">
            <a:spLocks/>
          </p:cNvSpPr>
          <p:nvPr/>
        </p:nvSpPr>
        <p:spPr>
          <a:xfrm>
            <a:off x="7259995" y="8308678"/>
            <a:ext cx="4414941" cy="43752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Roboto Light" panose="02000000000000000000" pitchFamily="2" charset="0"/>
                <a:cs typeface="+mn-cs"/>
              </a:rPr>
              <a:t>(e.g., logistical or resource limitations, restricted reimbursement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A7CF9AE-B7F8-7610-FC3C-EA499B9C235D}"/>
              </a:ext>
            </a:extLst>
          </p:cNvPr>
          <p:cNvSpPr txBox="1"/>
          <p:nvPr/>
        </p:nvSpPr>
        <p:spPr>
          <a:xfrm>
            <a:off x="7645478" y="8872281"/>
            <a:ext cx="3431456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ABBFC9">
                    <a:lumMod val="50000"/>
                  </a:srgbClr>
                </a:solidFill>
                <a:effectLst/>
                <a:uLnTx/>
                <a:uFillTx/>
                <a:latin typeface="Aptos" panose="02110004020202020204"/>
                <a:ea typeface="Roboto Medium" panose="02000000000000000000" pitchFamily="2" charset="0"/>
                <a:cs typeface="+mn-cs"/>
              </a:rPr>
              <a:t>Toxicities</a:t>
            </a:r>
            <a:r>
              <a:rPr kumimoji="0" lang="en-CH" sz="1600" b="1" i="0" u="none" strike="noStrike" kern="1200" cap="none" spc="0" normalizeH="0" baseline="30000" noProof="0">
                <a:ln>
                  <a:noFill/>
                </a:ln>
                <a:solidFill>
                  <a:srgbClr val="ABBFC9">
                    <a:lumMod val="5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4</a:t>
            </a:r>
            <a:r>
              <a:rPr kumimoji="0" lang="en-GB" sz="1600" b="1" i="0" u="none" strike="noStrike" kern="1200" cap="none" spc="0" normalizeH="0" baseline="30000" noProof="0">
                <a:ln>
                  <a:noFill/>
                </a:ln>
                <a:solidFill>
                  <a:srgbClr val="ABBFC9">
                    <a:lumMod val="5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–</a:t>
            </a:r>
            <a:r>
              <a:rPr kumimoji="0" lang="en-CH" sz="1600" b="1" i="0" u="none" strike="noStrike" kern="1200" cap="none" spc="0" normalizeH="0" baseline="30000" noProof="0">
                <a:ln>
                  <a:noFill/>
                </a:ln>
                <a:solidFill>
                  <a:srgbClr val="ABBFC9">
                    <a:lumMod val="5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6,12</a:t>
            </a:r>
            <a:r>
              <a:rPr kumimoji="0" lang="en-GB" sz="1600" b="1" i="0" u="none" strike="noStrike" kern="1200" cap="none" spc="0" normalizeH="0" baseline="30000" noProof="0">
                <a:ln>
                  <a:noFill/>
                </a:ln>
                <a:solidFill>
                  <a:srgbClr val="ABBFC9">
                    <a:lumMod val="5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–</a:t>
            </a:r>
            <a:r>
              <a:rPr kumimoji="0" lang="en-CH" sz="1600" b="1" i="0" u="none" strike="noStrike" kern="1200" cap="none" spc="0" normalizeH="0" baseline="30000" noProof="0">
                <a:ln>
                  <a:noFill/>
                </a:ln>
                <a:solidFill>
                  <a:srgbClr val="ABBFC9">
                    <a:lumMod val="5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4</a:t>
            </a:r>
            <a:endParaRPr kumimoji="0" lang="en-GB" sz="1600" b="1" i="0" u="none" strike="noStrike" kern="1200" cap="none" spc="0" normalizeH="0" baseline="30000" noProof="0">
              <a:ln>
                <a:noFill/>
              </a:ln>
              <a:solidFill>
                <a:srgbClr val="ABBFC9">
                  <a:lumMod val="50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" name="Text Placeholder 32">
            <a:extLst>
              <a:ext uri="{FF2B5EF4-FFF2-40B4-BE49-F238E27FC236}">
                <a16:creationId xmlns:a16="http://schemas.microsoft.com/office/drawing/2014/main" id="{F7EC1DFB-33DB-BBF5-ECCF-4BD4F6B6DC85}"/>
              </a:ext>
            </a:extLst>
          </p:cNvPr>
          <p:cNvSpPr txBox="1">
            <a:spLocks/>
          </p:cNvSpPr>
          <p:nvPr/>
        </p:nvSpPr>
        <p:spPr>
          <a:xfrm>
            <a:off x="7645478" y="9071894"/>
            <a:ext cx="3519976" cy="43752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Roboto Light" panose="02000000000000000000" pitchFamily="2" charset="0"/>
                <a:cs typeface="+mn-cs"/>
              </a:rPr>
              <a:t>(e.g., CRS, ICANS, cytopenias, systemic chemo effects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8FD009C-324C-C7A8-6450-229162192318}"/>
              </a:ext>
            </a:extLst>
          </p:cNvPr>
          <p:cNvSpPr txBox="1"/>
          <p:nvPr/>
        </p:nvSpPr>
        <p:spPr>
          <a:xfrm>
            <a:off x="7259996" y="9603695"/>
            <a:ext cx="3000110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ABBFC9">
                    <a:lumMod val="50000"/>
                  </a:srgbClr>
                </a:solidFill>
                <a:effectLst/>
                <a:uLnTx/>
                <a:uFillTx/>
                <a:latin typeface="Aptos" panose="02110004020202020204"/>
                <a:ea typeface="Roboto Medium" panose="02000000000000000000" pitchFamily="2" charset="0"/>
                <a:cs typeface="+mn-cs"/>
              </a:rPr>
              <a:t>Administration burden</a:t>
            </a:r>
            <a:r>
              <a:rPr kumimoji="0" lang="en-GB" sz="1600" b="1" i="0" u="none" strike="noStrike" kern="1200" cap="none" spc="0" normalizeH="0" baseline="30000" noProof="0">
                <a:ln>
                  <a:noFill/>
                </a:ln>
                <a:solidFill>
                  <a:srgbClr val="ABBFC9">
                    <a:lumMod val="5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</a:t>
            </a:r>
            <a:r>
              <a:rPr kumimoji="0" lang="en-CH" sz="1600" b="1" i="0" u="none" strike="noStrike" kern="1200" cap="none" spc="0" normalizeH="0" baseline="30000" noProof="0">
                <a:ln>
                  <a:noFill/>
                </a:ln>
                <a:solidFill>
                  <a:srgbClr val="ABBFC9">
                    <a:lumMod val="5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0</a:t>
            </a:r>
            <a:r>
              <a:rPr kumimoji="0" lang="en-GB" sz="1600" b="1" i="0" u="none" strike="noStrike" kern="1200" cap="none" spc="0" normalizeH="0" baseline="30000" noProof="0">
                <a:ln>
                  <a:noFill/>
                </a:ln>
                <a:solidFill>
                  <a:srgbClr val="ABBFC9">
                    <a:lumMod val="5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,1</a:t>
            </a:r>
            <a:r>
              <a:rPr kumimoji="0" lang="en-CH" sz="1600" b="1" i="0" u="none" strike="noStrike" kern="1200" cap="none" spc="0" normalizeH="0" baseline="30000" noProof="0">
                <a:ln>
                  <a:noFill/>
                </a:ln>
                <a:solidFill>
                  <a:srgbClr val="ABBFC9">
                    <a:lumMod val="5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</a:t>
            </a:r>
            <a:r>
              <a:rPr kumimoji="0" lang="en-GB" sz="1600" b="1" i="0" u="none" strike="noStrike" kern="1200" cap="none" spc="0" normalizeH="0" baseline="30000" noProof="0">
                <a:ln>
                  <a:noFill/>
                </a:ln>
                <a:solidFill>
                  <a:srgbClr val="ABBFC9">
                    <a:lumMod val="5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,1</a:t>
            </a:r>
            <a:r>
              <a:rPr kumimoji="0" lang="en-CH" sz="1600" b="1" i="0" u="none" strike="noStrike" kern="1200" cap="none" spc="0" normalizeH="0" baseline="30000" noProof="0">
                <a:ln>
                  <a:noFill/>
                </a:ln>
                <a:solidFill>
                  <a:srgbClr val="ABBFC9">
                    <a:lumMod val="5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4</a:t>
            </a:r>
            <a:endParaRPr kumimoji="0" lang="en-GB" sz="1600" b="1" i="0" u="none" strike="noStrike" kern="1200" cap="none" spc="0" normalizeH="0" baseline="30000" noProof="0">
              <a:ln>
                <a:noFill/>
              </a:ln>
              <a:solidFill>
                <a:srgbClr val="ABBFC9">
                  <a:lumMod val="50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" name="Text Placeholder 32">
            <a:extLst>
              <a:ext uri="{FF2B5EF4-FFF2-40B4-BE49-F238E27FC236}">
                <a16:creationId xmlns:a16="http://schemas.microsoft.com/office/drawing/2014/main" id="{08F7A9B9-3B83-14E1-E5EF-E51C021425DE}"/>
              </a:ext>
            </a:extLst>
          </p:cNvPr>
          <p:cNvSpPr txBox="1">
            <a:spLocks/>
          </p:cNvSpPr>
          <p:nvPr/>
        </p:nvSpPr>
        <p:spPr>
          <a:xfrm>
            <a:off x="7259996" y="9803309"/>
            <a:ext cx="4551004" cy="43752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Roboto Light" panose="02000000000000000000" pitchFamily="2" charset="0"/>
                <a:cs typeface="+mn-cs"/>
              </a:rPr>
              <a:t>(e.g., hospitalisation, long infusion time, available caregiver, frequent travel)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97EFD4C-2394-59AE-9AC4-B43E67AD4C66}"/>
              </a:ext>
            </a:extLst>
          </p:cNvPr>
          <p:cNvSpPr txBox="1"/>
          <p:nvPr/>
        </p:nvSpPr>
        <p:spPr>
          <a:xfrm flipH="1">
            <a:off x="1482331" y="8109064"/>
            <a:ext cx="3533824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ABBFC9">
                    <a:lumMod val="50000"/>
                  </a:srgbClr>
                </a:solidFill>
                <a:effectLst/>
                <a:uLnTx/>
                <a:uFillTx/>
                <a:latin typeface="Aptos" panose="02110004020202020204"/>
                <a:ea typeface="Roboto Medium" panose="02000000000000000000" pitchFamily="2" charset="0"/>
                <a:cs typeface="+mn-cs"/>
              </a:rPr>
              <a:t>Planned treatment not received</a:t>
            </a:r>
            <a:r>
              <a:rPr kumimoji="0" lang="en-CH" sz="1600" b="1" i="0" u="none" strike="noStrike" kern="1200" cap="none" spc="0" normalizeH="0" baseline="30000" noProof="0">
                <a:ln>
                  <a:noFill/>
                </a:ln>
                <a:solidFill>
                  <a:srgbClr val="ABBFC9">
                    <a:lumMod val="5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3</a:t>
            </a:r>
            <a:r>
              <a:rPr kumimoji="0" lang="en-GB" sz="1600" b="1" i="0" u="none" strike="noStrike" kern="1200" cap="none" spc="0" normalizeH="0" baseline="30000" noProof="0">
                <a:ln>
                  <a:noFill/>
                </a:ln>
                <a:solidFill>
                  <a:srgbClr val="ABBFC9">
                    <a:lumMod val="5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–</a:t>
            </a:r>
            <a:r>
              <a:rPr kumimoji="0" lang="en-CH" sz="1600" b="1" i="0" u="none" strike="noStrike" kern="1200" cap="none" spc="0" normalizeH="0" baseline="30000" noProof="0">
                <a:ln>
                  <a:noFill/>
                </a:ln>
                <a:solidFill>
                  <a:srgbClr val="ABBFC9">
                    <a:lumMod val="5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6</a:t>
            </a:r>
            <a:endParaRPr kumimoji="0" lang="en-GB" sz="1600" b="1" i="0" u="none" strike="noStrike" kern="1200" cap="none" spc="0" normalizeH="0" baseline="30000" noProof="0">
              <a:ln>
                <a:noFill/>
              </a:ln>
              <a:solidFill>
                <a:srgbClr val="ABBFC9">
                  <a:lumMod val="50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" name="Text Placeholder 32">
            <a:extLst>
              <a:ext uri="{FF2B5EF4-FFF2-40B4-BE49-F238E27FC236}">
                <a16:creationId xmlns:a16="http://schemas.microsoft.com/office/drawing/2014/main" id="{5CB4F1EC-9CDA-D07B-BD59-D51191DF7EBE}"/>
              </a:ext>
            </a:extLst>
          </p:cNvPr>
          <p:cNvSpPr txBox="1">
            <a:spLocks/>
          </p:cNvSpPr>
          <p:nvPr/>
        </p:nvSpPr>
        <p:spPr>
          <a:xfrm flipH="1">
            <a:off x="1297983" y="8343008"/>
            <a:ext cx="3718172" cy="43752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58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Roboto Light" panose="02000000000000000000" pitchFamily="2" charset="0"/>
                <a:cs typeface="+mn-cs"/>
              </a:rPr>
              <a:t>(e.g., rapid disease progression, CAR-T manufacturing failure)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57B565D-76A0-D4E7-C1F8-F83088DFF9C2}"/>
              </a:ext>
            </a:extLst>
          </p:cNvPr>
          <p:cNvSpPr txBox="1"/>
          <p:nvPr/>
        </p:nvSpPr>
        <p:spPr>
          <a:xfrm flipH="1">
            <a:off x="2602295" y="8855289"/>
            <a:ext cx="2026510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ABBFC9">
                    <a:lumMod val="5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Limited efficacy</a:t>
            </a:r>
            <a:r>
              <a:rPr kumimoji="0" lang="en-GB" sz="1600" b="1" i="0" u="none" strike="noStrike" kern="1200" cap="none" spc="0" normalizeH="0" baseline="30000" noProof="0">
                <a:ln>
                  <a:noFill/>
                </a:ln>
                <a:solidFill>
                  <a:srgbClr val="ABBFC9">
                    <a:lumMod val="5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3,</a:t>
            </a:r>
            <a:r>
              <a:rPr kumimoji="0" lang="en-CH" sz="1600" b="1" i="0" u="none" strike="noStrike" kern="1200" cap="none" spc="0" normalizeH="0" baseline="30000" noProof="0">
                <a:ln>
                  <a:noFill/>
                </a:ln>
                <a:solidFill>
                  <a:srgbClr val="ABBFC9">
                    <a:lumMod val="5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4</a:t>
            </a:r>
            <a:r>
              <a:rPr kumimoji="0" lang="en-GB" sz="1600" b="1" i="0" u="none" strike="noStrike" kern="1200" cap="none" spc="0" normalizeH="0" baseline="30000" noProof="0">
                <a:ln>
                  <a:noFill/>
                </a:ln>
                <a:solidFill>
                  <a:srgbClr val="ABBFC9">
                    <a:lumMod val="5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–</a:t>
            </a:r>
            <a:r>
              <a:rPr kumimoji="0" lang="en-CH" sz="1600" b="1" i="0" u="none" strike="noStrike" kern="1200" cap="none" spc="0" normalizeH="0" baseline="30000" noProof="0">
                <a:ln>
                  <a:noFill/>
                </a:ln>
                <a:solidFill>
                  <a:srgbClr val="ABBFC9">
                    <a:lumMod val="5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6</a:t>
            </a:r>
            <a:endParaRPr kumimoji="0" lang="en-GB" sz="1600" b="1" i="0" u="none" strike="noStrike" kern="1200" cap="none" spc="0" normalizeH="0" baseline="30000" noProof="0">
              <a:ln>
                <a:noFill/>
              </a:ln>
              <a:solidFill>
                <a:srgbClr val="ABBFC9">
                  <a:lumMod val="50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4" name="Text Placeholder 32">
            <a:extLst>
              <a:ext uri="{FF2B5EF4-FFF2-40B4-BE49-F238E27FC236}">
                <a16:creationId xmlns:a16="http://schemas.microsoft.com/office/drawing/2014/main" id="{C12999ED-9FBF-F997-4B1B-D0935B2E8D2A}"/>
              </a:ext>
            </a:extLst>
          </p:cNvPr>
          <p:cNvSpPr txBox="1">
            <a:spLocks/>
          </p:cNvSpPr>
          <p:nvPr/>
        </p:nvSpPr>
        <p:spPr>
          <a:xfrm flipH="1">
            <a:off x="923365" y="9071894"/>
            <a:ext cx="3705440" cy="43752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58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Roboto Light" panose="02000000000000000000" pitchFamily="2" charset="0"/>
                <a:cs typeface="+mn-cs"/>
              </a:rPr>
              <a:t>(e.g., relapse/progression, low response in high-risk patients)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648A296-F7D0-076C-97FA-9BE0752DE6D4}"/>
              </a:ext>
            </a:extLst>
          </p:cNvPr>
          <p:cNvSpPr txBox="1"/>
          <p:nvPr/>
        </p:nvSpPr>
        <p:spPr>
          <a:xfrm flipH="1">
            <a:off x="1761067" y="9586703"/>
            <a:ext cx="3293188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ABBFC9">
                    <a:lumMod val="50000"/>
                  </a:srgbClr>
                </a:solidFill>
                <a:effectLst/>
                <a:uLnTx/>
                <a:uFillTx/>
                <a:latin typeface="Aptos" panose="02110004020202020204"/>
                <a:ea typeface="Roboto Medium" panose="02000000000000000000" pitchFamily="2" charset="0"/>
                <a:cs typeface="+mn-cs"/>
              </a:rPr>
              <a:t>Treatment sequencing impact</a:t>
            </a:r>
            <a:r>
              <a:rPr kumimoji="0" lang="en-CH" sz="1600" b="1" i="0" u="none" strike="noStrike" kern="1200" cap="none" spc="0" normalizeH="0" baseline="30000" noProof="0">
                <a:ln>
                  <a:noFill/>
                </a:ln>
                <a:solidFill>
                  <a:srgbClr val="ABBFC9">
                    <a:lumMod val="5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</a:t>
            </a:r>
            <a:r>
              <a:rPr kumimoji="0" lang="en-GB" sz="1600" b="1" i="0" u="none" strike="noStrike" kern="1200" cap="none" spc="0" normalizeH="0" baseline="30000" noProof="0">
                <a:ln>
                  <a:noFill/>
                </a:ln>
                <a:solidFill>
                  <a:srgbClr val="ABBFC9">
                    <a:lumMod val="5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,</a:t>
            </a:r>
            <a:r>
              <a:rPr kumimoji="0" lang="en-CH" sz="1600" b="1" i="0" u="none" strike="noStrike" kern="1200" cap="none" spc="0" normalizeH="0" baseline="30000" noProof="0">
                <a:ln>
                  <a:noFill/>
                </a:ln>
                <a:solidFill>
                  <a:srgbClr val="ABBFC9">
                    <a:lumMod val="5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7</a:t>
            </a:r>
            <a:endParaRPr kumimoji="0" lang="en-GB" sz="1600" b="1" i="0" u="none" strike="noStrike" kern="1200" cap="none" spc="0" normalizeH="0" baseline="30000" noProof="0">
              <a:ln>
                <a:noFill/>
              </a:ln>
              <a:solidFill>
                <a:srgbClr val="ABBFC9">
                  <a:lumMod val="50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" name="Text Placeholder 32">
            <a:extLst>
              <a:ext uri="{FF2B5EF4-FFF2-40B4-BE49-F238E27FC236}">
                <a16:creationId xmlns:a16="http://schemas.microsoft.com/office/drawing/2014/main" id="{DBBB42CB-1A85-8DC2-F405-4F5C485B785C}"/>
              </a:ext>
            </a:extLst>
          </p:cNvPr>
          <p:cNvSpPr txBox="1">
            <a:spLocks/>
          </p:cNvSpPr>
          <p:nvPr/>
        </p:nvSpPr>
        <p:spPr>
          <a:xfrm flipH="1">
            <a:off x="1408486" y="9803309"/>
            <a:ext cx="3645769" cy="43752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58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Roboto Light" panose="02000000000000000000" pitchFamily="2" charset="0"/>
                <a:cs typeface="+mn-cs"/>
              </a:rPr>
              <a:t>(e.g., limits future treatment choices)</a:t>
            </a:r>
          </a:p>
        </p:txBody>
      </p:sp>
      <p:sp>
        <p:nvSpPr>
          <p:cNvPr id="17" name="Freeform 88">
            <a:extLst>
              <a:ext uri="{FF2B5EF4-FFF2-40B4-BE49-F238E27FC236}">
                <a16:creationId xmlns:a16="http://schemas.microsoft.com/office/drawing/2014/main" id="{059075A1-E21B-B777-1F46-F118FE83F623}"/>
              </a:ext>
            </a:extLst>
          </p:cNvPr>
          <p:cNvSpPr>
            <a:spLocks/>
          </p:cNvSpPr>
          <p:nvPr/>
        </p:nvSpPr>
        <p:spPr bwMode="auto">
          <a:xfrm>
            <a:off x="6680328" y="8572377"/>
            <a:ext cx="353146" cy="513396"/>
          </a:xfrm>
          <a:custGeom>
            <a:avLst/>
            <a:gdLst>
              <a:gd name="T0" fmla="*/ 476 w 476"/>
              <a:gd name="T1" fmla="*/ 0 h 692"/>
              <a:gd name="T2" fmla="*/ 0 w 476"/>
              <a:gd name="T3" fmla="*/ 559 h 692"/>
              <a:gd name="T4" fmla="*/ 78 w 476"/>
              <a:gd name="T5" fmla="*/ 692 h 692"/>
              <a:gd name="T6" fmla="*/ 476 w 476"/>
              <a:gd name="T7" fmla="*/ 0 h 6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76" h="692">
                <a:moveTo>
                  <a:pt x="476" y="0"/>
                </a:moveTo>
                <a:lnTo>
                  <a:pt x="0" y="559"/>
                </a:lnTo>
                <a:lnTo>
                  <a:pt x="78" y="692"/>
                </a:lnTo>
                <a:lnTo>
                  <a:pt x="476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8" name="Freeform 89">
            <a:extLst>
              <a:ext uri="{FF2B5EF4-FFF2-40B4-BE49-F238E27FC236}">
                <a16:creationId xmlns:a16="http://schemas.microsoft.com/office/drawing/2014/main" id="{BDE8AE72-A5FC-B25C-54B9-0F9499CBB1F7}"/>
              </a:ext>
            </a:extLst>
          </p:cNvPr>
          <p:cNvSpPr>
            <a:spLocks/>
          </p:cNvSpPr>
          <p:nvPr/>
        </p:nvSpPr>
        <p:spPr bwMode="auto">
          <a:xfrm>
            <a:off x="6499304" y="9400340"/>
            <a:ext cx="56385" cy="100157"/>
          </a:xfrm>
          <a:custGeom>
            <a:avLst/>
            <a:gdLst>
              <a:gd name="T0" fmla="*/ 76 w 76"/>
              <a:gd name="T1" fmla="*/ 0 h 135"/>
              <a:gd name="T2" fmla="*/ 0 w 76"/>
              <a:gd name="T3" fmla="*/ 135 h 135"/>
              <a:gd name="T4" fmla="*/ 76 w 76"/>
              <a:gd name="T5" fmla="*/ 0 h 135"/>
              <a:gd name="T6" fmla="*/ 76 w 76"/>
              <a:gd name="T7" fmla="*/ 0 h 1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6" h="135">
                <a:moveTo>
                  <a:pt x="76" y="0"/>
                </a:moveTo>
                <a:lnTo>
                  <a:pt x="0" y="135"/>
                </a:lnTo>
                <a:lnTo>
                  <a:pt x="76" y="0"/>
                </a:lnTo>
                <a:lnTo>
                  <a:pt x="76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9" name="Freeform 90">
            <a:extLst>
              <a:ext uri="{FF2B5EF4-FFF2-40B4-BE49-F238E27FC236}">
                <a16:creationId xmlns:a16="http://schemas.microsoft.com/office/drawing/2014/main" id="{746130AA-F32D-E1D7-2809-E55B9BE8C773}"/>
              </a:ext>
            </a:extLst>
          </p:cNvPr>
          <p:cNvSpPr>
            <a:spLocks/>
          </p:cNvSpPr>
          <p:nvPr/>
        </p:nvSpPr>
        <p:spPr bwMode="auto">
          <a:xfrm>
            <a:off x="6499304" y="9400340"/>
            <a:ext cx="56385" cy="100157"/>
          </a:xfrm>
          <a:custGeom>
            <a:avLst/>
            <a:gdLst>
              <a:gd name="T0" fmla="*/ 76 w 76"/>
              <a:gd name="T1" fmla="*/ 0 h 135"/>
              <a:gd name="T2" fmla="*/ 0 w 76"/>
              <a:gd name="T3" fmla="*/ 135 h 135"/>
              <a:gd name="T4" fmla="*/ 76 w 76"/>
              <a:gd name="T5" fmla="*/ 0 h 135"/>
              <a:gd name="T6" fmla="*/ 76 w 76"/>
              <a:gd name="T7" fmla="*/ 0 h 1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6" h="135">
                <a:moveTo>
                  <a:pt x="76" y="0"/>
                </a:moveTo>
                <a:lnTo>
                  <a:pt x="0" y="135"/>
                </a:lnTo>
                <a:lnTo>
                  <a:pt x="76" y="0"/>
                </a:lnTo>
                <a:lnTo>
                  <a:pt x="76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" name="Freeform 91">
            <a:extLst>
              <a:ext uri="{FF2B5EF4-FFF2-40B4-BE49-F238E27FC236}">
                <a16:creationId xmlns:a16="http://schemas.microsoft.com/office/drawing/2014/main" id="{8374EE4C-46F8-038E-2E4B-EE5D249BADE5}"/>
              </a:ext>
            </a:extLst>
          </p:cNvPr>
          <p:cNvSpPr>
            <a:spLocks/>
          </p:cNvSpPr>
          <p:nvPr/>
        </p:nvSpPr>
        <p:spPr bwMode="auto">
          <a:xfrm>
            <a:off x="6499304" y="9400340"/>
            <a:ext cx="592038" cy="100157"/>
          </a:xfrm>
          <a:custGeom>
            <a:avLst/>
            <a:gdLst>
              <a:gd name="T0" fmla="*/ 76 w 798"/>
              <a:gd name="T1" fmla="*/ 0 h 135"/>
              <a:gd name="T2" fmla="*/ 0 w 798"/>
              <a:gd name="T3" fmla="*/ 135 h 135"/>
              <a:gd name="T4" fmla="*/ 798 w 798"/>
              <a:gd name="T5" fmla="*/ 135 h 135"/>
              <a:gd name="T6" fmla="*/ 76 w 798"/>
              <a:gd name="T7" fmla="*/ 0 h 1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98" h="135">
                <a:moveTo>
                  <a:pt x="76" y="0"/>
                </a:moveTo>
                <a:lnTo>
                  <a:pt x="0" y="135"/>
                </a:lnTo>
                <a:lnTo>
                  <a:pt x="798" y="135"/>
                </a:lnTo>
                <a:lnTo>
                  <a:pt x="76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" name="Freeform 92">
            <a:extLst>
              <a:ext uri="{FF2B5EF4-FFF2-40B4-BE49-F238E27FC236}">
                <a16:creationId xmlns:a16="http://schemas.microsoft.com/office/drawing/2014/main" id="{43A061E7-0321-E617-8F3C-D4F2D01E9BB6}"/>
              </a:ext>
            </a:extLst>
          </p:cNvPr>
          <p:cNvSpPr>
            <a:spLocks/>
          </p:cNvSpPr>
          <p:nvPr/>
        </p:nvSpPr>
        <p:spPr bwMode="auto">
          <a:xfrm>
            <a:off x="6021519" y="9500496"/>
            <a:ext cx="114253" cy="0"/>
          </a:xfrm>
          <a:custGeom>
            <a:avLst/>
            <a:gdLst>
              <a:gd name="T0" fmla="*/ 154 w 154"/>
              <a:gd name="T1" fmla="*/ 0 w 154"/>
              <a:gd name="T2" fmla="*/ 154 w 154"/>
              <a:gd name="T3" fmla="*/ 154 w 154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  <a:cxn ang="0">
                <a:pos x="T3" y="0"/>
              </a:cxn>
            </a:cxnLst>
            <a:rect l="0" t="0" r="r" b="b"/>
            <a:pathLst>
              <a:path w="154">
                <a:moveTo>
                  <a:pt x="154" y="0"/>
                </a:moveTo>
                <a:lnTo>
                  <a:pt x="0" y="0"/>
                </a:lnTo>
                <a:lnTo>
                  <a:pt x="154" y="0"/>
                </a:lnTo>
                <a:lnTo>
                  <a:pt x="154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2" name="Freeform 93">
            <a:extLst>
              <a:ext uri="{FF2B5EF4-FFF2-40B4-BE49-F238E27FC236}">
                <a16:creationId xmlns:a16="http://schemas.microsoft.com/office/drawing/2014/main" id="{53A2B2CD-4B26-DE64-AC2E-F2CA4A9939BE}"/>
              </a:ext>
            </a:extLst>
          </p:cNvPr>
          <p:cNvSpPr>
            <a:spLocks/>
          </p:cNvSpPr>
          <p:nvPr/>
        </p:nvSpPr>
        <p:spPr bwMode="auto">
          <a:xfrm>
            <a:off x="6021519" y="9500496"/>
            <a:ext cx="114253" cy="0"/>
          </a:xfrm>
          <a:custGeom>
            <a:avLst/>
            <a:gdLst>
              <a:gd name="T0" fmla="*/ 154 w 154"/>
              <a:gd name="T1" fmla="*/ 0 w 154"/>
              <a:gd name="T2" fmla="*/ 154 w 154"/>
              <a:gd name="T3" fmla="*/ 154 w 154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  <a:cxn ang="0">
                <a:pos x="T3" y="0"/>
              </a:cxn>
            </a:cxnLst>
            <a:rect l="0" t="0" r="r" b="b"/>
            <a:pathLst>
              <a:path w="154">
                <a:moveTo>
                  <a:pt x="154" y="0"/>
                </a:moveTo>
                <a:lnTo>
                  <a:pt x="0" y="0"/>
                </a:lnTo>
                <a:lnTo>
                  <a:pt x="154" y="0"/>
                </a:lnTo>
                <a:lnTo>
                  <a:pt x="154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3" name="Freeform 94">
            <a:extLst>
              <a:ext uri="{FF2B5EF4-FFF2-40B4-BE49-F238E27FC236}">
                <a16:creationId xmlns:a16="http://schemas.microsoft.com/office/drawing/2014/main" id="{669FD356-03AD-DB1E-8C51-405BA0157FEE}"/>
              </a:ext>
            </a:extLst>
          </p:cNvPr>
          <p:cNvSpPr>
            <a:spLocks/>
          </p:cNvSpPr>
          <p:nvPr/>
        </p:nvSpPr>
        <p:spPr bwMode="auto">
          <a:xfrm>
            <a:off x="6021519" y="9500496"/>
            <a:ext cx="295277" cy="512655"/>
          </a:xfrm>
          <a:custGeom>
            <a:avLst/>
            <a:gdLst>
              <a:gd name="T0" fmla="*/ 0 w 398"/>
              <a:gd name="T1" fmla="*/ 0 h 691"/>
              <a:gd name="T2" fmla="*/ 5 w 398"/>
              <a:gd name="T3" fmla="*/ 7 h 691"/>
              <a:gd name="T4" fmla="*/ 398 w 398"/>
              <a:gd name="T5" fmla="*/ 691 h 691"/>
              <a:gd name="T6" fmla="*/ 154 w 398"/>
              <a:gd name="T7" fmla="*/ 0 h 691"/>
              <a:gd name="T8" fmla="*/ 0 w 398"/>
              <a:gd name="T9" fmla="*/ 0 h 6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98" h="691">
                <a:moveTo>
                  <a:pt x="0" y="0"/>
                </a:moveTo>
                <a:lnTo>
                  <a:pt x="5" y="7"/>
                </a:lnTo>
                <a:lnTo>
                  <a:pt x="398" y="691"/>
                </a:lnTo>
                <a:lnTo>
                  <a:pt x="154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4" name="Freeform 95">
            <a:extLst>
              <a:ext uri="{FF2B5EF4-FFF2-40B4-BE49-F238E27FC236}">
                <a16:creationId xmlns:a16="http://schemas.microsoft.com/office/drawing/2014/main" id="{9BE142CE-BAB7-5213-6B61-715A94692FA1}"/>
              </a:ext>
            </a:extLst>
          </p:cNvPr>
          <p:cNvSpPr>
            <a:spLocks/>
          </p:cNvSpPr>
          <p:nvPr/>
        </p:nvSpPr>
        <p:spPr bwMode="auto">
          <a:xfrm>
            <a:off x="5485865" y="9085773"/>
            <a:ext cx="353146" cy="512655"/>
          </a:xfrm>
          <a:custGeom>
            <a:avLst/>
            <a:gdLst>
              <a:gd name="T0" fmla="*/ 400 w 476"/>
              <a:gd name="T1" fmla="*/ 0 h 691"/>
              <a:gd name="T2" fmla="*/ 0 w 476"/>
              <a:gd name="T3" fmla="*/ 691 h 691"/>
              <a:gd name="T4" fmla="*/ 400 w 476"/>
              <a:gd name="T5" fmla="*/ 0 h 691"/>
              <a:gd name="T6" fmla="*/ 476 w 476"/>
              <a:gd name="T7" fmla="*/ 132 h 691"/>
              <a:gd name="T8" fmla="*/ 476 w 476"/>
              <a:gd name="T9" fmla="*/ 132 h 691"/>
              <a:gd name="T10" fmla="*/ 400 w 476"/>
              <a:gd name="T11" fmla="*/ 0 h 6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76" h="691">
                <a:moveTo>
                  <a:pt x="400" y="0"/>
                </a:moveTo>
                <a:lnTo>
                  <a:pt x="0" y="691"/>
                </a:lnTo>
                <a:lnTo>
                  <a:pt x="400" y="0"/>
                </a:lnTo>
                <a:lnTo>
                  <a:pt x="476" y="132"/>
                </a:lnTo>
                <a:lnTo>
                  <a:pt x="476" y="132"/>
                </a:lnTo>
                <a:lnTo>
                  <a:pt x="400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5" name="Freeform 96">
            <a:extLst>
              <a:ext uri="{FF2B5EF4-FFF2-40B4-BE49-F238E27FC236}">
                <a16:creationId xmlns:a16="http://schemas.microsoft.com/office/drawing/2014/main" id="{FAAD7098-6C98-2D4E-1C4C-B05A0C987FAB}"/>
              </a:ext>
            </a:extLst>
          </p:cNvPr>
          <p:cNvSpPr>
            <a:spLocks/>
          </p:cNvSpPr>
          <p:nvPr/>
        </p:nvSpPr>
        <p:spPr bwMode="auto">
          <a:xfrm>
            <a:off x="5485865" y="9085773"/>
            <a:ext cx="353146" cy="512655"/>
          </a:xfrm>
          <a:custGeom>
            <a:avLst/>
            <a:gdLst>
              <a:gd name="T0" fmla="*/ 400 w 476"/>
              <a:gd name="T1" fmla="*/ 0 h 691"/>
              <a:gd name="T2" fmla="*/ 0 w 476"/>
              <a:gd name="T3" fmla="*/ 691 h 691"/>
              <a:gd name="T4" fmla="*/ 400 w 476"/>
              <a:gd name="T5" fmla="*/ 0 h 691"/>
              <a:gd name="T6" fmla="*/ 476 w 476"/>
              <a:gd name="T7" fmla="*/ 132 h 691"/>
              <a:gd name="T8" fmla="*/ 476 w 476"/>
              <a:gd name="T9" fmla="*/ 132 h 691"/>
              <a:gd name="T10" fmla="*/ 400 w 476"/>
              <a:gd name="T11" fmla="*/ 0 h 6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76" h="691">
                <a:moveTo>
                  <a:pt x="400" y="0"/>
                </a:moveTo>
                <a:lnTo>
                  <a:pt x="0" y="691"/>
                </a:lnTo>
                <a:lnTo>
                  <a:pt x="400" y="0"/>
                </a:lnTo>
                <a:lnTo>
                  <a:pt x="476" y="132"/>
                </a:lnTo>
                <a:lnTo>
                  <a:pt x="476" y="132"/>
                </a:lnTo>
                <a:lnTo>
                  <a:pt x="40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6" name="Freeform 97">
            <a:extLst>
              <a:ext uri="{FF2B5EF4-FFF2-40B4-BE49-F238E27FC236}">
                <a16:creationId xmlns:a16="http://schemas.microsoft.com/office/drawing/2014/main" id="{A0186C32-9FD7-7CD7-2A7D-1E27D3A8DACE}"/>
              </a:ext>
            </a:extLst>
          </p:cNvPr>
          <p:cNvSpPr>
            <a:spLocks/>
          </p:cNvSpPr>
          <p:nvPr/>
        </p:nvSpPr>
        <p:spPr bwMode="auto">
          <a:xfrm>
            <a:off x="5485865" y="9085773"/>
            <a:ext cx="353146" cy="512655"/>
          </a:xfrm>
          <a:custGeom>
            <a:avLst/>
            <a:gdLst>
              <a:gd name="T0" fmla="*/ 400 w 476"/>
              <a:gd name="T1" fmla="*/ 0 h 691"/>
              <a:gd name="T2" fmla="*/ 0 w 476"/>
              <a:gd name="T3" fmla="*/ 691 h 691"/>
              <a:gd name="T4" fmla="*/ 476 w 476"/>
              <a:gd name="T5" fmla="*/ 132 h 691"/>
              <a:gd name="T6" fmla="*/ 400 w 476"/>
              <a:gd name="T7" fmla="*/ 0 h 6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76" h="691">
                <a:moveTo>
                  <a:pt x="400" y="0"/>
                </a:moveTo>
                <a:lnTo>
                  <a:pt x="0" y="691"/>
                </a:lnTo>
                <a:lnTo>
                  <a:pt x="476" y="132"/>
                </a:lnTo>
                <a:lnTo>
                  <a:pt x="40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7" name="Freeform 98">
            <a:extLst>
              <a:ext uri="{FF2B5EF4-FFF2-40B4-BE49-F238E27FC236}">
                <a16:creationId xmlns:a16="http://schemas.microsoft.com/office/drawing/2014/main" id="{66ADBF93-E32E-8525-BC56-400CE8E7270D}"/>
              </a:ext>
            </a:extLst>
          </p:cNvPr>
          <p:cNvSpPr>
            <a:spLocks/>
          </p:cNvSpPr>
          <p:nvPr/>
        </p:nvSpPr>
        <p:spPr bwMode="auto">
          <a:xfrm>
            <a:off x="5963650" y="8672533"/>
            <a:ext cx="57868" cy="98673"/>
          </a:xfrm>
          <a:custGeom>
            <a:avLst/>
            <a:gdLst>
              <a:gd name="T0" fmla="*/ 78 w 78"/>
              <a:gd name="T1" fmla="*/ 0 h 133"/>
              <a:gd name="T2" fmla="*/ 0 w 78"/>
              <a:gd name="T3" fmla="*/ 133 h 133"/>
              <a:gd name="T4" fmla="*/ 0 w 78"/>
              <a:gd name="T5" fmla="*/ 133 h 133"/>
              <a:gd name="T6" fmla="*/ 78 w 78"/>
              <a:gd name="T7" fmla="*/ 0 h 1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8" h="133">
                <a:moveTo>
                  <a:pt x="78" y="0"/>
                </a:moveTo>
                <a:lnTo>
                  <a:pt x="0" y="133"/>
                </a:lnTo>
                <a:lnTo>
                  <a:pt x="0" y="133"/>
                </a:lnTo>
                <a:lnTo>
                  <a:pt x="78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" name="Freeform 99">
            <a:extLst>
              <a:ext uri="{FF2B5EF4-FFF2-40B4-BE49-F238E27FC236}">
                <a16:creationId xmlns:a16="http://schemas.microsoft.com/office/drawing/2014/main" id="{DDA2F257-7C1E-1050-0FF8-814E968CC931}"/>
              </a:ext>
            </a:extLst>
          </p:cNvPr>
          <p:cNvSpPr>
            <a:spLocks/>
          </p:cNvSpPr>
          <p:nvPr/>
        </p:nvSpPr>
        <p:spPr bwMode="auto">
          <a:xfrm>
            <a:off x="5963650" y="8672533"/>
            <a:ext cx="57868" cy="98673"/>
          </a:xfrm>
          <a:custGeom>
            <a:avLst/>
            <a:gdLst>
              <a:gd name="T0" fmla="*/ 78 w 78"/>
              <a:gd name="T1" fmla="*/ 0 h 133"/>
              <a:gd name="T2" fmla="*/ 0 w 78"/>
              <a:gd name="T3" fmla="*/ 133 h 133"/>
              <a:gd name="T4" fmla="*/ 0 w 78"/>
              <a:gd name="T5" fmla="*/ 133 h 133"/>
              <a:gd name="T6" fmla="*/ 78 w 78"/>
              <a:gd name="T7" fmla="*/ 0 h 1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8" h="133">
                <a:moveTo>
                  <a:pt x="78" y="0"/>
                </a:moveTo>
                <a:lnTo>
                  <a:pt x="0" y="133"/>
                </a:lnTo>
                <a:lnTo>
                  <a:pt x="0" y="133"/>
                </a:lnTo>
                <a:lnTo>
                  <a:pt x="78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9" name="Freeform 100">
            <a:extLst>
              <a:ext uri="{FF2B5EF4-FFF2-40B4-BE49-F238E27FC236}">
                <a16:creationId xmlns:a16="http://schemas.microsoft.com/office/drawing/2014/main" id="{608AB112-B039-D95F-659C-FF868285AE95}"/>
              </a:ext>
            </a:extLst>
          </p:cNvPr>
          <p:cNvSpPr>
            <a:spLocks/>
          </p:cNvSpPr>
          <p:nvPr/>
        </p:nvSpPr>
        <p:spPr bwMode="auto">
          <a:xfrm>
            <a:off x="5427997" y="8672533"/>
            <a:ext cx="593522" cy="98673"/>
          </a:xfrm>
          <a:custGeom>
            <a:avLst/>
            <a:gdLst>
              <a:gd name="T0" fmla="*/ 800 w 800"/>
              <a:gd name="T1" fmla="*/ 0 h 133"/>
              <a:gd name="T2" fmla="*/ 0 w 800"/>
              <a:gd name="T3" fmla="*/ 0 h 133"/>
              <a:gd name="T4" fmla="*/ 722 w 800"/>
              <a:gd name="T5" fmla="*/ 133 h 133"/>
              <a:gd name="T6" fmla="*/ 800 w 800"/>
              <a:gd name="T7" fmla="*/ 0 h 1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00" h="133">
                <a:moveTo>
                  <a:pt x="800" y="0"/>
                </a:moveTo>
                <a:lnTo>
                  <a:pt x="0" y="0"/>
                </a:lnTo>
                <a:lnTo>
                  <a:pt x="722" y="133"/>
                </a:lnTo>
                <a:lnTo>
                  <a:pt x="80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0" name="Freeform 101">
            <a:extLst>
              <a:ext uri="{FF2B5EF4-FFF2-40B4-BE49-F238E27FC236}">
                <a16:creationId xmlns:a16="http://schemas.microsoft.com/office/drawing/2014/main" id="{434D3E2C-A219-5211-92C4-68C4C3640C63}"/>
              </a:ext>
            </a:extLst>
          </p:cNvPr>
          <p:cNvSpPr>
            <a:spLocks/>
          </p:cNvSpPr>
          <p:nvPr/>
        </p:nvSpPr>
        <p:spPr bwMode="auto">
          <a:xfrm>
            <a:off x="6385051" y="8672533"/>
            <a:ext cx="114253" cy="0"/>
          </a:xfrm>
          <a:custGeom>
            <a:avLst/>
            <a:gdLst>
              <a:gd name="T0" fmla="*/ 0 w 154"/>
              <a:gd name="T1" fmla="*/ 0 w 154"/>
              <a:gd name="T2" fmla="*/ 154 w 154"/>
              <a:gd name="T3" fmla="*/ 0 w 154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  <a:cxn ang="0">
                <a:pos x="T3" y="0"/>
              </a:cxn>
            </a:cxnLst>
            <a:rect l="0" t="0" r="r" b="b"/>
            <a:pathLst>
              <a:path w="154">
                <a:moveTo>
                  <a:pt x="0" y="0"/>
                </a:moveTo>
                <a:lnTo>
                  <a:pt x="0" y="0"/>
                </a:lnTo>
                <a:lnTo>
                  <a:pt x="154" y="0"/>
                </a:lnTo>
                <a:lnTo>
                  <a:pt x="0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1" name="Freeform 102">
            <a:extLst>
              <a:ext uri="{FF2B5EF4-FFF2-40B4-BE49-F238E27FC236}">
                <a16:creationId xmlns:a16="http://schemas.microsoft.com/office/drawing/2014/main" id="{F27B2FB4-B701-ED0C-1CEF-6BE6D42F3A93}"/>
              </a:ext>
            </a:extLst>
          </p:cNvPr>
          <p:cNvSpPr>
            <a:spLocks/>
          </p:cNvSpPr>
          <p:nvPr/>
        </p:nvSpPr>
        <p:spPr bwMode="auto">
          <a:xfrm>
            <a:off x="6385051" y="8672533"/>
            <a:ext cx="114253" cy="0"/>
          </a:xfrm>
          <a:custGeom>
            <a:avLst/>
            <a:gdLst>
              <a:gd name="T0" fmla="*/ 0 w 154"/>
              <a:gd name="T1" fmla="*/ 0 w 154"/>
              <a:gd name="T2" fmla="*/ 154 w 154"/>
              <a:gd name="T3" fmla="*/ 0 w 154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  <a:cxn ang="0">
                <a:pos x="T3" y="0"/>
              </a:cxn>
            </a:cxnLst>
            <a:rect l="0" t="0" r="r" b="b"/>
            <a:pathLst>
              <a:path w="154">
                <a:moveTo>
                  <a:pt x="0" y="0"/>
                </a:moveTo>
                <a:lnTo>
                  <a:pt x="0" y="0"/>
                </a:lnTo>
                <a:lnTo>
                  <a:pt x="154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" name="Freeform 103">
            <a:extLst>
              <a:ext uri="{FF2B5EF4-FFF2-40B4-BE49-F238E27FC236}">
                <a16:creationId xmlns:a16="http://schemas.microsoft.com/office/drawing/2014/main" id="{E95CD88D-23B2-E957-3AC6-BF5466148BDE}"/>
              </a:ext>
            </a:extLst>
          </p:cNvPr>
          <p:cNvSpPr>
            <a:spLocks/>
          </p:cNvSpPr>
          <p:nvPr/>
        </p:nvSpPr>
        <p:spPr bwMode="auto">
          <a:xfrm>
            <a:off x="6202543" y="8159879"/>
            <a:ext cx="296761" cy="512655"/>
          </a:xfrm>
          <a:custGeom>
            <a:avLst/>
            <a:gdLst>
              <a:gd name="T0" fmla="*/ 0 w 400"/>
              <a:gd name="T1" fmla="*/ 0 h 691"/>
              <a:gd name="T2" fmla="*/ 246 w 400"/>
              <a:gd name="T3" fmla="*/ 691 h 691"/>
              <a:gd name="T4" fmla="*/ 400 w 400"/>
              <a:gd name="T5" fmla="*/ 691 h 691"/>
              <a:gd name="T6" fmla="*/ 182 w 400"/>
              <a:gd name="T7" fmla="*/ 315 h 691"/>
              <a:gd name="T8" fmla="*/ 0 w 400"/>
              <a:gd name="T9" fmla="*/ 0 h 6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00" h="691">
                <a:moveTo>
                  <a:pt x="0" y="0"/>
                </a:moveTo>
                <a:lnTo>
                  <a:pt x="246" y="691"/>
                </a:lnTo>
                <a:lnTo>
                  <a:pt x="400" y="691"/>
                </a:lnTo>
                <a:lnTo>
                  <a:pt x="182" y="315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" name="Freeform 107">
            <a:extLst>
              <a:ext uri="{FF2B5EF4-FFF2-40B4-BE49-F238E27FC236}">
                <a16:creationId xmlns:a16="http://schemas.microsoft.com/office/drawing/2014/main" id="{6205C56A-C952-81F5-01DD-B92E5398ABBA}"/>
              </a:ext>
            </a:extLst>
          </p:cNvPr>
          <p:cNvSpPr>
            <a:spLocks/>
          </p:cNvSpPr>
          <p:nvPr/>
        </p:nvSpPr>
        <p:spPr bwMode="auto">
          <a:xfrm>
            <a:off x="5072572" y="8075073"/>
            <a:ext cx="1296103" cy="776030"/>
          </a:xfrm>
          <a:custGeom>
            <a:avLst/>
            <a:gdLst>
              <a:gd name="T0" fmla="*/ 569 w 738"/>
              <a:gd name="T1" fmla="*/ 73 h 442"/>
              <a:gd name="T2" fmla="*/ 438 w 738"/>
              <a:gd name="T3" fmla="*/ 0 h 442"/>
              <a:gd name="T4" fmla="*/ 335 w 738"/>
              <a:gd name="T5" fmla="*/ 0 h 442"/>
              <a:gd name="T6" fmla="*/ 215 w 738"/>
              <a:gd name="T7" fmla="*/ 69 h 442"/>
              <a:gd name="T8" fmla="*/ 0 w 738"/>
              <a:gd name="T9" fmla="*/ 442 h 442"/>
              <a:gd name="T10" fmla="*/ 128 w 738"/>
              <a:gd name="T11" fmla="*/ 365 h 442"/>
              <a:gd name="T12" fmla="*/ 738 w 738"/>
              <a:gd name="T13" fmla="*/ 365 h 442"/>
              <a:gd name="T14" fmla="*/ 569 w 738"/>
              <a:gd name="T15" fmla="*/ 73 h 4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38" h="442">
                <a:moveTo>
                  <a:pt x="569" y="73"/>
                </a:moveTo>
                <a:cubicBezTo>
                  <a:pt x="542" y="29"/>
                  <a:pt x="493" y="0"/>
                  <a:pt x="438" y="0"/>
                </a:cubicBezTo>
                <a:cubicBezTo>
                  <a:pt x="335" y="0"/>
                  <a:pt x="335" y="0"/>
                  <a:pt x="335" y="0"/>
                </a:cubicBezTo>
                <a:cubicBezTo>
                  <a:pt x="291" y="0"/>
                  <a:pt x="237" y="31"/>
                  <a:pt x="215" y="69"/>
                </a:cubicBezTo>
                <a:cubicBezTo>
                  <a:pt x="0" y="442"/>
                  <a:pt x="0" y="442"/>
                  <a:pt x="0" y="442"/>
                </a:cubicBezTo>
                <a:cubicBezTo>
                  <a:pt x="28" y="394"/>
                  <a:pt x="77" y="367"/>
                  <a:pt x="128" y="365"/>
                </a:cubicBezTo>
                <a:cubicBezTo>
                  <a:pt x="738" y="365"/>
                  <a:pt x="738" y="365"/>
                  <a:pt x="738" y="365"/>
                </a:cubicBezTo>
                <a:cubicBezTo>
                  <a:pt x="569" y="73"/>
                  <a:pt x="569" y="73"/>
                  <a:pt x="569" y="73"/>
                </a:cubicBezTo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" name="Freeform 108">
            <a:extLst>
              <a:ext uri="{FF2B5EF4-FFF2-40B4-BE49-F238E27FC236}">
                <a16:creationId xmlns:a16="http://schemas.microsoft.com/office/drawing/2014/main" id="{20026101-588D-3BF2-0706-995645BF3618}"/>
              </a:ext>
            </a:extLst>
          </p:cNvPr>
          <p:cNvSpPr>
            <a:spLocks/>
          </p:cNvSpPr>
          <p:nvPr/>
        </p:nvSpPr>
        <p:spPr bwMode="auto">
          <a:xfrm>
            <a:off x="6071914" y="8203422"/>
            <a:ext cx="296761" cy="512655"/>
          </a:xfrm>
          <a:custGeom>
            <a:avLst/>
            <a:gdLst>
              <a:gd name="T0" fmla="*/ 0 w 400"/>
              <a:gd name="T1" fmla="*/ 0 h 691"/>
              <a:gd name="T2" fmla="*/ 246 w 400"/>
              <a:gd name="T3" fmla="*/ 691 h 691"/>
              <a:gd name="T4" fmla="*/ 400 w 400"/>
              <a:gd name="T5" fmla="*/ 691 h 691"/>
              <a:gd name="T6" fmla="*/ 182 w 400"/>
              <a:gd name="T7" fmla="*/ 315 h 691"/>
              <a:gd name="T8" fmla="*/ 0 w 400"/>
              <a:gd name="T9" fmla="*/ 0 h 6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00" h="691">
                <a:moveTo>
                  <a:pt x="0" y="0"/>
                </a:moveTo>
                <a:lnTo>
                  <a:pt x="246" y="691"/>
                </a:lnTo>
                <a:lnTo>
                  <a:pt x="400" y="691"/>
                </a:lnTo>
                <a:lnTo>
                  <a:pt x="182" y="315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lumMod val="95000"/>
              <a:lumOff val="5000"/>
              <a:alpha val="1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" name="Freeform 113">
            <a:extLst>
              <a:ext uri="{FF2B5EF4-FFF2-40B4-BE49-F238E27FC236}">
                <a16:creationId xmlns:a16="http://schemas.microsoft.com/office/drawing/2014/main" id="{5591A80F-7D8F-FBF2-49D9-352E3F22F166}"/>
              </a:ext>
            </a:extLst>
          </p:cNvPr>
          <p:cNvSpPr>
            <a:spLocks/>
          </p:cNvSpPr>
          <p:nvPr/>
        </p:nvSpPr>
        <p:spPr bwMode="auto">
          <a:xfrm>
            <a:off x="5841925" y="8075073"/>
            <a:ext cx="1104693" cy="1054244"/>
          </a:xfrm>
          <a:custGeom>
            <a:avLst/>
            <a:gdLst>
              <a:gd name="T0" fmla="*/ 604 w 629"/>
              <a:gd name="T1" fmla="*/ 308 h 600"/>
              <a:gd name="T2" fmla="*/ 602 w 629"/>
              <a:gd name="T3" fmla="*/ 158 h 600"/>
              <a:gd name="T4" fmla="*/ 550 w 629"/>
              <a:gd name="T5" fmla="*/ 69 h 600"/>
              <a:gd name="T6" fmla="*/ 430 w 629"/>
              <a:gd name="T7" fmla="*/ 0 h 600"/>
              <a:gd name="T8" fmla="*/ 0 w 629"/>
              <a:gd name="T9" fmla="*/ 0 h 600"/>
              <a:gd name="T10" fmla="*/ 131 w 629"/>
              <a:gd name="T11" fmla="*/ 73 h 600"/>
              <a:gd name="T12" fmla="*/ 436 w 629"/>
              <a:gd name="T13" fmla="*/ 600 h 600"/>
              <a:gd name="T14" fmla="*/ 604 w 629"/>
              <a:gd name="T15" fmla="*/ 308 h 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629" h="600">
                <a:moveTo>
                  <a:pt x="604" y="308"/>
                </a:moveTo>
                <a:cubicBezTo>
                  <a:pt x="628" y="262"/>
                  <a:pt x="629" y="206"/>
                  <a:pt x="602" y="158"/>
                </a:cubicBezTo>
                <a:cubicBezTo>
                  <a:pt x="550" y="69"/>
                  <a:pt x="550" y="69"/>
                  <a:pt x="550" y="69"/>
                </a:cubicBezTo>
                <a:cubicBezTo>
                  <a:pt x="528" y="31"/>
                  <a:pt x="474" y="0"/>
                  <a:pt x="430" y="0"/>
                </a:cubicBezTo>
                <a:cubicBezTo>
                  <a:pt x="0" y="0"/>
                  <a:pt x="0" y="0"/>
                  <a:pt x="0" y="0"/>
                </a:cubicBezTo>
                <a:cubicBezTo>
                  <a:pt x="55" y="0"/>
                  <a:pt x="104" y="29"/>
                  <a:pt x="131" y="73"/>
                </a:cubicBezTo>
                <a:cubicBezTo>
                  <a:pt x="436" y="600"/>
                  <a:pt x="436" y="600"/>
                  <a:pt x="436" y="600"/>
                </a:cubicBezTo>
                <a:cubicBezTo>
                  <a:pt x="604" y="308"/>
                  <a:pt x="604" y="308"/>
                  <a:pt x="604" y="308"/>
                </a:cubicBezTo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6" name="Freeform 114">
            <a:extLst>
              <a:ext uri="{FF2B5EF4-FFF2-40B4-BE49-F238E27FC236}">
                <a16:creationId xmlns:a16="http://schemas.microsoft.com/office/drawing/2014/main" id="{83C235AB-884A-121D-D507-7B5AAB9141A4}"/>
              </a:ext>
            </a:extLst>
          </p:cNvPr>
          <p:cNvSpPr>
            <a:spLocks/>
          </p:cNvSpPr>
          <p:nvPr/>
        </p:nvSpPr>
        <p:spPr bwMode="auto">
          <a:xfrm>
            <a:off x="6549699" y="8615920"/>
            <a:ext cx="353146" cy="513396"/>
          </a:xfrm>
          <a:custGeom>
            <a:avLst/>
            <a:gdLst>
              <a:gd name="T0" fmla="*/ 476 w 476"/>
              <a:gd name="T1" fmla="*/ 0 h 692"/>
              <a:gd name="T2" fmla="*/ 0 w 476"/>
              <a:gd name="T3" fmla="*/ 559 h 692"/>
              <a:gd name="T4" fmla="*/ 78 w 476"/>
              <a:gd name="T5" fmla="*/ 692 h 692"/>
              <a:gd name="T6" fmla="*/ 476 w 476"/>
              <a:gd name="T7" fmla="*/ 0 h 6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76" h="692">
                <a:moveTo>
                  <a:pt x="476" y="0"/>
                </a:moveTo>
                <a:lnTo>
                  <a:pt x="0" y="559"/>
                </a:lnTo>
                <a:lnTo>
                  <a:pt x="78" y="692"/>
                </a:lnTo>
                <a:lnTo>
                  <a:pt x="476" y="0"/>
                </a:lnTo>
                <a:close/>
              </a:path>
            </a:pathLst>
          </a:custGeom>
          <a:solidFill>
            <a:schemeClr val="tx1">
              <a:lumMod val="85000"/>
              <a:lumOff val="15000"/>
              <a:alpha val="9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" name="Freeform 118">
            <a:extLst>
              <a:ext uri="{FF2B5EF4-FFF2-40B4-BE49-F238E27FC236}">
                <a16:creationId xmlns:a16="http://schemas.microsoft.com/office/drawing/2014/main" id="{6D51C966-70B0-C49D-D1E6-F1957E6FD597}"/>
              </a:ext>
            </a:extLst>
          </p:cNvPr>
          <p:cNvSpPr>
            <a:spLocks/>
          </p:cNvSpPr>
          <p:nvPr/>
        </p:nvSpPr>
        <p:spPr bwMode="auto">
          <a:xfrm>
            <a:off x="6368675" y="8352544"/>
            <a:ext cx="946667" cy="1191495"/>
          </a:xfrm>
          <a:custGeom>
            <a:avLst/>
            <a:gdLst>
              <a:gd name="T0" fmla="*/ 337 w 539"/>
              <a:gd name="T1" fmla="*/ 678 h 678"/>
              <a:gd name="T2" fmla="*/ 466 w 539"/>
              <a:gd name="T3" fmla="*/ 600 h 678"/>
              <a:gd name="T4" fmla="*/ 517 w 539"/>
              <a:gd name="T5" fmla="*/ 511 h 678"/>
              <a:gd name="T6" fmla="*/ 517 w 539"/>
              <a:gd name="T7" fmla="*/ 373 h 678"/>
              <a:gd name="T8" fmla="*/ 302 w 539"/>
              <a:gd name="T9" fmla="*/ 0 h 678"/>
              <a:gd name="T10" fmla="*/ 304 w 539"/>
              <a:gd name="T11" fmla="*/ 150 h 678"/>
              <a:gd name="T12" fmla="*/ 0 w 539"/>
              <a:gd name="T13" fmla="*/ 678 h 678"/>
              <a:gd name="T14" fmla="*/ 337 w 539"/>
              <a:gd name="T15" fmla="*/ 678 h 6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39" h="678">
                <a:moveTo>
                  <a:pt x="337" y="678"/>
                </a:moveTo>
                <a:cubicBezTo>
                  <a:pt x="389" y="676"/>
                  <a:pt x="438" y="648"/>
                  <a:pt x="466" y="600"/>
                </a:cubicBezTo>
                <a:cubicBezTo>
                  <a:pt x="517" y="511"/>
                  <a:pt x="517" y="511"/>
                  <a:pt x="517" y="511"/>
                </a:cubicBezTo>
                <a:cubicBezTo>
                  <a:pt x="539" y="473"/>
                  <a:pt x="539" y="411"/>
                  <a:pt x="517" y="373"/>
                </a:cubicBezTo>
                <a:cubicBezTo>
                  <a:pt x="302" y="0"/>
                  <a:pt x="302" y="0"/>
                  <a:pt x="302" y="0"/>
                </a:cubicBezTo>
                <a:cubicBezTo>
                  <a:pt x="329" y="48"/>
                  <a:pt x="328" y="104"/>
                  <a:pt x="304" y="150"/>
                </a:cubicBezTo>
                <a:cubicBezTo>
                  <a:pt x="0" y="678"/>
                  <a:pt x="0" y="678"/>
                  <a:pt x="0" y="678"/>
                </a:cubicBezTo>
                <a:cubicBezTo>
                  <a:pt x="337" y="678"/>
                  <a:pt x="337" y="678"/>
                  <a:pt x="337" y="678"/>
                </a:cubicBezTo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6" name="Freeform 119">
            <a:extLst>
              <a:ext uri="{FF2B5EF4-FFF2-40B4-BE49-F238E27FC236}">
                <a16:creationId xmlns:a16="http://schemas.microsoft.com/office/drawing/2014/main" id="{942A4752-1795-FA47-840E-8B102F89E76B}"/>
              </a:ext>
            </a:extLst>
          </p:cNvPr>
          <p:cNvSpPr>
            <a:spLocks/>
          </p:cNvSpPr>
          <p:nvPr/>
        </p:nvSpPr>
        <p:spPr bwMode="auto">
          <a:xfrm>
            <a:off x="6368675" y="9443883"/>
            <a:ext cx="592038" cy="100157"/>
          </a:xfrm>
          <a:custGeom>
            <a:avLst/>
            <a:gdLst>
              <a:gd name="T0" fmla="*/ 76 w 798"/>
              <a:gd name="T1" fmla="*/ 0 h 135"/>
              <a:gd name="T2" fmla="*/ 0 w 798"/>
              <a:gd name="T3" fmla="*/ 135 h 135"/>
              <a:gd name="T4" fmla="*/ 798 w 798"/>
              <a:gd name="T5" fmla="*/ 135 h 135"/>
              <a:gd name="T6" fmla="*/ 76 w 798"/>
              <a:gd name="T7" fmla="*/ 0 h 1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98" h="135">
                <a:moveTo>
                  <a:pt x="76" y="0"/>
                </a:moveTo>
                <a:lnTo>
                  <a:pt x="0" y="135"/>
                </a:lnTo>
                <a:lnTo>
                  <a:pt x="798" y="135"/>
                </a:lnTo>
                <a:lnTo>
                  <a:pt x="76" y="0"/>
                </a:lnTo>
                <a:close/>
              </a:path>
            </a:pathLst>
          </a:custGeom>
          <a:solidFill>
            <a:schemeClr val="tx1">
              <a:lumMod val="95000"/>
              <a:lumOff val="5000"/>
              <a:alpha val="1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4" name="Freeform 123">
            <a:extLst>
              <a:ext uri="{FF2B5EF4-FFF2-40B4-BE49-F238E27FC236}">
                <a16:creationId xmlns:a16="http://schemas.microsoft.com/office/drawing/2014/main" id="{049ADBA6-F291-F4E0-F486-11F723C3C52C}"/>
              </a:ext>
            </a:extLst>
          </p:cNvPr>
          <p:cNvSpPr>
            <a:spLocks/>
          </p:cNvSpPr>
          <p:nvPr/>
        </p:nvSpPr>
        <p:spPr bwMode="auto">
          <a:xfrm>
            <a:off x="5890890" y="9406788"/>
            <a:ext cx="1296103" cy="776772"/>
          </a:xfrm>
          <a:custGeom>
            <a:avLst/>
            <a:gdLst>
              <a:gd name="T0" fmla="*/ 168 w 738"/>
              <a:gd name="T1" fmla="*/ 370 h 442"/>
              <a:gd name="T2" fmla="*/ 300 w 738"/>
              <a:gd name="T3" fmla="*/ 442 h 442"/>
              <a:gd name="T4" fmla="*/ 402 w 738"/>
              <a:gd name="T5" fmla="*/ 442 h 442"/>
              <a:gd name="T6" fmla="*/ 522 w 738"/>
              <a:gd name="T7" fmla="*/ 373 h 442"/>
              <a:gd name="T8" fmla="*/ 738 w 738"/>
              <a:gd name="T9" fmla="*/ 0 h 442"/>
              <a:gd name="T10" fmla="*/ 609 w 738"/>
              <a:gd name="T11" fmla="*/ 78 h 442"/>
              <a:gd name="T12" fmla="*/ 0 w 738"/>
              <a:gd name="T13" fmla="*/ 78 h 442"/>
              <a:gd name="T14" fmla="*/ 168 w 738"/>
              <a:gd name="T15" fmla="*/ 370 h 4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38" h="442">
                <a:moveTo>
                  <a:pt x="168" y="370"/>
                </a:moveTo>
                <a:cubicBezTo>
                  <a:pt x="196" y="413"/>
                  <a:pt x="244" y="442"/>
                  <a:pt x="300" y="442"/>
                </a:cubicBezTo>
                <a:cubicBezTo>
                  <a:pt x="402" y="442"/>
                  <a:pt x="402" y="442"/>
                  <a:pt x="402" y="442"/>
                </a:cubicBezTo>
                <a:cubicBezTo>
                  <a:pt x="446" y="442"/>
                  <a:pt x="500" y="411"/>
                  <a:pt x="522" y="373"/>
                </a:cubicBezTo>
                <a:cubicBezTo>
                  <a:pt x="738" y="0"/>
                  <a:pt x="738" y="0"/>
                  <a:pt x="738" y="0"/>
                </a:cubicBezTo>
                <a:cubicBezTo>
                  <a:pt x="710" y="48"/>
                  <a:pt x="661" y="76"/>
                  <a:pt x="609" y="78"/>
                </a:cubicBezTo>
                <a:cubicBezTo>
                  <a:pt x="0" y="78"/>
                  <a:pt x="0" y="78"/>
                  <a:pt x="0" y="78"/>
                </a:cubicBezTo>
                <a:cubicBezTo>
                  <a:pt x="168" y="370"/>
                  <a:pt x="168" y="370"/>
                  <a:pt x="168" y="370"/>
                </a:cubicBezTo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5" name="Freeform 124">
            <a:extLst>
              <a:ext uri="{FF2B5EF4-FFF2-40B4-BE49-F238E27FC236}">
                <a16:creationId xmlns:a16="http://schemas.microsoft.com/office/drawing/2014/main" id="{7A517C5D-BDB9-C096-A341-9A7B9730D9C0}"/>
              </a:ext>
            </a:extLst>
          </p:cNvPr>
          <p:cNvSpPr>
            <a:spLocks/>
          </p:cNvSpPr>
          <p:nvPr/>
        </p:nvSpPr>
        <p:spPr bwMode="auto">
          <a:xfrm>
            <a:off x="5890890" y="9544039"/>
            <a:ext cx="295277" cy="512655"/>
          </a:xfrm>
          <a:custGeom>
            <a:avLst/>
            <a:gdLst>
              <a:gd name="T0" fmla="*/ 0 w 398"/>
              <a:gd name="T1" fmla="*/ 0 h 691"/>
              <a:gd name="T2" fmla="*/ 5 w 398"/>
              <a:gd name="T3" fmla="*/ 7 h 691"/>
              <a:gd name="T4" fmla="*/ 398 w 398"/>
              <a:gd name="T5" fmla="*/ 691 h 691"/>
              <a:gd name="T6" fmla="*/ 154 w 398"/>
              <a:gd name="T7" fmla="*/ 0 h 691"/>
              <a:gd name="T8" fmla="*/ 0 w 398"/>
              <a:gd name="T9" fmla="*/ 0 h 6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98" h="691">
                <a:moveTo>
                  <a:pt x="0" y="0"/>
                </a:moveTo>
                <a:lnTo>
                  <a:pt x="5" y="7"/>
                </a:lnTo>
                <a:lnTo>
                  <a:pt x="398" y="691"/>
                </a:lnTo>
                <a:lnTo>
                  <a:pt x="154" y="0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lumMod val="85000"/>
              <a:lumOff val="15000"/>
              <a:alpha val="9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6" name="Freeform 128">
            <a:extLst>
              <a:ext uri="{FF2B5EF4-FFF2-40B4-BE49-F238E27FC236}">
                <a16:creationId xmlns:a16="http://schemas.microsoft.com/office/drawing/2014/main" id="{A030EFA6-6EB2-FB9C-BF83-4A26CD62DC51}"/>
              </a:ext>
            </a:extLst>
          </p:cNvPr>
          <p:cNvSpPr>
            <a:spLocks/>
          </p:cNvSpPr>
          <p:nvPr/>
        </p:nvSpPr>
        <p:spPr bwMode="auto">
          <a:xfrm>
            <a:off x="5311465" y="9129316"/>
            <a:ext cx="1106177" cy="1054244"/>
          </a:xfrm>
          <a:custGeom>
            <a:avLst/>
            <a:gdLst>
              <a:gd name="T0" fmla="*/ 25 w 630"/>
              <a:gd name="T1" fmla="*/ 292 h 600"/>
              <a:gd name="T2" fmla="*/ 28 w 630"/>
              <a:gd name="T3" fmla="*/ 442 h 600"/>
              <a:gd name="T4" fmla="*/ 79 w 630"/>
              <a:gd name="T5" fmla="*/ 531 h 600"/>
              <a:gd name="T6" fmla="*/ 199 w 630"/>
              <a:gd name="T7" fmla="*/ 600 h 600"/>
              <a:gd name="T8" fmla="*/ 630 w 630"/>
              <a:gd name="T9" fmla="*/ 600 h 600"/>
              <a:gd name="T10" fmla="*/ 498 w 630"/>
              <a:gd name="T11" fmla="*/ 528 h 600"/>
              <a:gd name="T12" fmla="*/ 194 w 630"/>
              <a:gd name="T13" fmla="*/ 0 h 600"/>
              <a:gd name="T14" fmla="*/ 25 w 630"/>
              <a:gd name="T15" fmla="*/ 292 h 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630" h="600">
                <a:moveTo>
                  <a:pt x="25" y="292"/>
                </a:moveTo>
                <a:cubicBezTo>
                  <a:pt x="1" y="338"/>
                  <a:pt x="0" y="394"/>
                  <a:pt x="28" y="442"/>
                </a:cubicBezTo>
                <a:cubicBezTo>
                  <a:pt x="79" y="531"/>
                  <a:pt x="79" y="531"/>
                  <a:pt x="79" y="531"/>
                </a:cubicBezTo>
                <a:cubicBezTo>
                  <a:pt x="101" y="569"/>
                  <a:pt x="155" y="600"/>
                  <a:pt x="199" y="600"/>
                </a:cubicBezTo>
                <a:cubicBezTo>
                  <a:pt x="630" y="600"/>
                  <a:pt x="630" y="600"/>
                  <a:pt x="630" y="600"/>
                </a:cubicBezTo>
                <a:cubicBezTo>
                  <a:pt x="574" y="600"/>
                  <a:pt x="526" y="571"/>
                  <a:pt x="498" y="528"/>
                </a:cubicBezTo>
                <a:cubicBezTo>
                  <a:pt x="194" y="0"/>
                  <a:pt x="194" y="0"/>
                  <a:pt x="194" y="0"/>
                </a:cubicBezTo>
                <a:cubicBezTo>
                  <a:pt x="25" y="292"/>
                  <a:pt x="25" y="292"/>
                  <a:pt x="25" y="292"/>
                </a:cubicBezTo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7" name="Freeform 129">
            <a:extLst>
              <a:ext uri="{FF2B5EF4-FFF2-40B4-BE49-F238E27FC236}">
                <a16:creationId xmlns:a16="http://schemas.microsoft.com/office/drawing/2014/main" id="{C813F4D6-60DE-67D2-F909-3F1726FC14E8}"/>
              </a:ext>
            </a:extLst>
          </p:cNvPr>
          <p:cNvSpPr>
            <a:spLocks/>
          </p:cNvSpPr>
          <p:nvPr/>
        </p:nvSpPr>
        <p:spPr bwMode="auto">
          <a:xfrm>
            <a:off x="5355236" y="9129316"/>
            <a:ext cx="353146" cy="512655"/>
          </a:xfrm>
          <a:custGeom>
            <a:avLst/>
            <a:gdLst>
              <a:gd name="T0" fmla="*/ 400 w 476"/>
              <a:gd name="T1" fmla="*/ 0 h 691"/>
              <a:gd name="T2" fmla="*/ 0 w 476"/>
              <a:gd name="T3" fmla="*/ 691 h 691"/>
              <a:gd name="T4" fmla="*/ 476 w 476"/>
              <a:gd name="T5" fmla="*/ 132 h 691"/>
              <a:gd name="T6" fmla="*/ 400 w 476"/>
              <a:gd name="T7" fmla="*/ 0 h 6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76" h="691">
                <a:moveTo>
                  <a:pt x="400" y="0"/>
                </a:moveTo>
                <a:lnTo>
                  <a:pt x="0" y="691"/>
                </a:lnTo>
                <a:lnTo>
                  <a:pt x="476" y="132"/>
                </a:lnTo>
                <a:lnTo>
                  <a:pt x="400" y="0"/>
                </a:lnTo>
                <a:close/>
              </a:path>
            </a:pathLst>
          </a:custGeom>
          <a:solidFill>
            <a:schemeClr val="tx1">
              <a:lumMod val="95000"/>
              <a:lumOff val="5000"/>
              <a:alpha val="1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8" name="Freeform 133">
            <a:extLst>
              <a:ext uri="{FF2B5EF4-FFF2-40B4-BE49-F238E27FC236}">
                <a16:creationId xmlns:a16="http://schemas.microsoft.com/office/drawing/2014/main" id="{29B45C35-633A-AD84-6D68-98C844C167F3}"/>
              </a:ext>
            </a:extLst>
          </p:cNvPr>
          <p:cNvSpPr>
            <a:spLocks/>
          </p:cNvSpPr>
          <p:nvPr/>
        </p:nvSpPr>
        <p:spPr bwMode="auto">
          <a:xfrm>
            <a:off x="4944222" y="8716076"/>
            <a:ext cx="946667" cy="1189269"/>
          </a:xfrm>
          <a:custGeom>
            <a:avLst/>
            <a:gdLst>
              <a:gd name="T0" fmla="*/ 201 w 539"/>
              <a:gd name="T1" fmla="*/ 0 h 677"/>
              <a:gd name="T2" fmla="*/ 73 w 539"/>
              <a:gd name="T3" fmla="*/ 77 h 677"/>
              <a:gd name="T4" fmla="*/ 22 w 539"/>
              <a:gd name="T5" fmla="*/ 166 h 677"/>
              <a:gd name="T6" fmla="*/ 22 w 539"/>
              <a:gd name="T7" fmla="*/ 304 h 677"/>
              <a:gd name="T8" fmla="*/ 237 w 539"/>
              <a:gd name="T9" fmla="*/ 677 h 677"/>
              <a:gd name="T10" fmla="*/ 234 w 539"/>
              <a:gd name="T11" fmla="*/ 527 h 677"/>
              <a:gd name="T12" fmla="*/ 539 w 539"/>
              <a:gd name="T13" fmla="*/ 0 h 677"/>
              <a:gd name="T14" fmla="*/ 201 w 539"/>
              <a:gd name="T15" fmla="*/ 0 h 6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39" h="677">
                <a:moveTo>
                  <a:pt x="201" y="0"/>
                </a:moveTo>
                <a:cubicBezTo>
                  <a:pt x="150" y="2"/>
                  <a:pt x="101" y="29"/>
                  <a:pt x="73" y="77"/>
                </a:cubicBezTo>
                <a:cubicBezTo>
                  <a:pt x="22" y="166"/>
                  <a:pt x="22" y="166"/>
                  <a:pt x="22" y="166"/>
                </a:cubicBezTo>
                <a:cubicBezTo>
                  <a:pt x="0" y="204"/>
                  <a:pt x="0" y="266"/>
                  <a:pt x="22" y="304"/>
                </a:cubicBezTo>
                <a:cubicBezTo>
                  <a:pt x="237" y="677"/>
                  <a:pt x="237" y="677"/>
                  <a:pt x="237" y="677"/>
                </a:cubicBezTo>
                <a:cubicBezTo>
                  <a:pt x="209" y="629"/>
                  <a:pt x="210" y="573"/>
                  <a:pt x="234" y="527"/>
                </a:cubicBezTo>
                <a:cubicBezTo>
                  <a:pt x="539" y="0"/>
                  <a:pt x="539" y="0"/>
                  <a:pt x="539" y="0"/>
                </a:cubicBezTo>
                <a:cubicBezTo>
                  <a:pt x="201" y="0"/>
                  <a:pt x="201" y="0"/>
                  <a:pt x="201" y="0"/>
                </a:cubicBezTo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9" name="Freeform 134">
            <a:extLst>
              <a:ext uri="{FF2B5EF4-FFF2-40B4-BE49-F238E27FC236}">
                <a16:creationId xmlns:a16="http://schemas.microsoft.com/office/drawing/2014/main" id="{49AEF237-279A-846F-FFDB-3DC23D77A24B}"/>
              </a:ext>
            </a:extLst>
          </p:cNvPr>
          <p:cNvSpPr>
            <a:spLocks/>
          </p:cNvSpPr>
          <p:nvPr/>
        </p:nvSpPr>
        <p:spPr bwMode="auto">
          <a:xfrm>
            <a:off x="5297368" y="8716076"/>
            <a:ext cx="593522" cy="98673"/>
          </a:xfrm>
          <a:custGeom>
            <a:avLst/>
            <a:gdLst>
              <a:gd name="T0" fmla="*/ 800 w 800"/>
              <a:gd name="T1" fmla="*/ 0 h 133"/>
              <a:gd name="T2" fmla="*/ 0 w 800"/>
              <a:gd name="T3" fmla="*/ 0 h 133"/>
              <a:gd name="T4" fmla="*/ 722 w 800"/>
              <a:gd name="T5" fmla="*/ 133 h 133"/>
              <a:gd name="T6" fmla="*/ 800 w 800"/>
              <a:gd name="T7" fmla="*/ 0 h 1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00" h="133">
                <a:moveTo>
                  <a:pt x="800" y="0"/>
                </a:moveTo>
                <a:lnTo>
                  <a:pt x="0" y="0"/>
                </a:lnTo>
                <a:lnTo>
                  <a:pt x="722" y="133"/>
                </a:lnTo>
                <a:lnTo>
                  <a:pt x="800" y="0"/>
                </a:lnTo>
                <a:close/>
              </a:path>
            </a:pathLst>
          </a:custGeom>
          <a:solidFill>
            <a:schemeClr val="tx1">
              <a:lumMod val="85000"/>
              <a:lumOff val="15000"/>
              <a:alpha val="9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0" name="Freeform: Shape 1221">
            <a:extLst>
              <a:ext uri="{FF2B5EF4-FFF2-40B4-BE49-F238E27FC236}">
                <a16:creationId xmlns:a16="http://schemas.microsoft.com/office/drawing/2014/main" id="{41D52AA6-4734-0A5A-E491-49DA2A5A42C8}"/>
              </a:ext>
            </a:extLst>
          </p:cNvPr>
          <p:cNvSpPr/>
          <p:nvPr/>
        </p:nvSpPr>
        <p:spPr>
          <a:xfrm>
            <a:off x="5585033" y="8394169"/>
            <a:ext cx="308706" cy="149232"/>
          </a:xfrm>
          <a:custGeom>
            <a:avLst/>
            <a:gdLst>
              <a:gd name="connsiteX0" fmla="*/ 0 w 3649980"/>
              <a:gd name="connsiteY0" fmla="*/ 1790700 h 1790700"/>
              <a:gd name="connsiteX1" fmla="*/ 342900 w 3649980"/>
              <a:gd name="connsiteY1" fmla="*/ 1440180 h 1790700"/>
              <a:gd name="connsiteX2" fmla="*/ 1859280 w 3649980"/>
              <a:gd name="connsiteY2" fmla="*/ 1440180 h 1790700"/>
              <a:gd name="connsiteX3" fmla="*/ 3589020 w 3649980"/>
              <a:gd name="connsiteY3" fmla="*/ 480060 h 1790700"/>
              <a:gd name="connsiteX4" fmla="*/ 3649980 w 3649980"/>
              <a:gd name="connsiteY4" fmla="*/ 129540 h 1790700"/>
              <a:gd name="connsiteX5" fmla="*/ 3360420 w 3649980"/>
              <a:gd name="connsiteY5" fmla="*/ 0 h 1790700"/>
              <a:gd name="connsiteX6" fmla="*/ 2461260 w 3649980"/>
              <a:gd name="connsiteY6" fmla="*/ 472440 h 1790700"/>
              <a:gd name="connsiteX0" fmla="*/ 0 w 3649980"/>
              <a:gd name="connsiteY0" fmla="*/ 1790700 h 1790700"/>
              <a:gd name="connsiteX1" fmla="*/ 342900 w 3649980"/>
              <a:gd name="connsiteY1" fmla="*/ 1440180 h 1790700"/>
              <a:gd name="connsiteX2" fmla="*/ 1859280 w 3649980"/>
              <a:gd name="connsiteY2" fmla="*/ 1440180 h 1790700"/>
              <a:gd name="connsiteX3" fmla="*/ 3589020 w 3649980"/>
              <a:gd name="connsiteY3" fmla="*/ 480060 h 1790700"/>
              <a:gd name="connsiteX4" fmla="*/ 3649980 w 3649980"/>
              <a:gd name="connsiteY4" fmla="*/ 129540 h 1790700"/>
              <a:gd name="connsiteX5" fmla="*/ 3360420 w 3649980"/>
              <a:gd name="connsiteY5" fmla="*/ 0 h 1790700"/>
              <a:gd name="connsiteX6" fmla="*/ 2461260 w 3649980"/>
              <a:gd name="connsiteY6" fmla="*/ 472440 h 1790700"/>
              <a:gd name="connsiteX0" fmla="*/ 0 w 3670250"/>
              <a:gd name="connsiteY0" fmla="*/ 1790700 h 1790700"/>
              <a:gd name="connsiteX1" fmla="*/ 342900 w 3670250"/>
              <a:gd name="connsiteY1" fmla="*/ 1440180 h 1790700"/>
              <a:gd name="connsiteX2" fmla="*/ 1859280 w 3670250"/>
              <a:gd name="connsiteY2" fmla="*/ 1440180 h 1790700"/>
              <a:gd name="connsiteX3" fmla="*/ 3589020 w 3670250"/>
              <a:gd name="connsiteY3" fmla="*/ 480060 h 1790700"/>
              <a:gd name="connsiteX4" fmla="*/ 3649980 w 3670250"/>
              <a:gd name="connsiteY4" fmla="*/ 129540 h 1790700"/>
              <a:gd name="connsiteX5" fmla="*/ 3360420 w 3670250"/>
              <a:gd name="connsiteY5" fmla="*/ 0 h 1790700"/>
              <a:gd name="connsiteX6" fmla="*/ 2461260 w 3670250"/>
              <a:gd name="connsiteY6" fmla="*/ 472440 h 1790700"/>
              <a:gd name="connsiteX0" fmla="*/ 0 w 3680460"/>
              <a:gd name="connsiteY0" fmla="*/ 1790700 h 1790700"/>
              <a:gd name="connsiteX1" fmla="*/ 342900 w 3680460"/>
              <a:gd name="connsiteY1" fmla="*/ 1440180 h 1790700"/>
              <a:gd name="connsiteX2" fmla="*/ 1859280 w 3680460"/>
              <a:gd name="connsiteY2" fmla="*/ 1440180 h 1790700"/>
              <a:gd name="connsiteX3" fmla="*/ 3589020 w 3680460"/>
              <a:gd name="connsiteY3" fmla="*/ 480060 h 1790700"/>
              <a:gd name="connsiteX4" fmla="*/ 3649980 w 3680460"/>
              <a:gd name="connsiteY4" fmla="*/ 129540 h 1790700"/>
              <a:gd name="connsiteX5" fmla="*/ 3360420 w 3680460"/>
              <a:gd name="connsiteY5" fmla="*/ 0 h 1790700"/>
              <a:gd name="connsiteX6" fmla="*/ 2461260 w 3680460"/>
              <a:gd name="connsiteY6" fmla="*/ 472440 h 1790700"/>
              <a:gd name="connsiteX0" fmla="*/ 0 w 3680460"/>
              <a:gd name="connsiteY0" fmla="*/ 1794613 h 1794613"/>
              <a:gd name="connsiteX1" fmla="*/ 342900 w 3680460"/>
              <a:gd name="connsiteY1" fmla="*/ 1444093 h 1794613"/>
              <a:gd name="connsiteX2" fmla="*/ 1859280 w 3680460"/>
              <a:gd name="connsiteY2" fmla="*/ 1444093 h 1794613"/>
              <a:gd name="connsiteX3" fmla="*/ 3589020 w 3680460"/>
              <a:gd name="connsiteY3" fmla="*/ 483973 h 1794613"/>
              <a:gd name="connsiteX4" fmla="*/ 3649980 w 3680460"/>
              <a:gd name="connsiteY4" fmla="*/ 133453 h 1794613"/>
              <a:gd name="connsiteX5" fmla="*/ 3360420 w 3680460"/>
              <a:gd name="connsiteY5" fmla="*/ 3913 h 1794613"/>
              <a:gd name="connsiteX6" fmla="*/ 2461260 w 3680460"/>
              <a:gd name="connsiteY6" fmla="*/ 476353 h 1794613"/>
              <a:gd name="connsiteX0" fmla="*/ 0 w 3670229"/>
              <a:gd name="connsiteY0" fmla="*/ 1781012 h 1781012"/>
              <a:gd name="connsiteX1" fmla="*/ 342900 w 3670229"/>
              <a:gd name="connsiteY1" fmla="*/ 1430492 h 1781012"/>
              <a:gd name="connsiteX2" fmla="*/ 1859280 w 3670229"/>
              <a:gd name="connsiteY2" fmla="*/ 1430492 h 1781012"/>
              <a:gd name="connsiteX3" fmla="*/ 3589020 w 3670229"/>
              <a:gd name="connsiteY3" fmla="*/ 470372 h 1781012"/>
              <a:gd name="connsiteX4" fmla="*/ 3649980 w 3670229"/>
              <a:gd name="connsiteY4" fmla="*/ 119852 h 1781012"/>
              <a:gd name="connsiteX5" fmla="*/ 3346132 w 3670229"/>
              <a:gd name="connsiteY5" fmla="*/ 2218 h 1781012"/>
              <a:gd name="connsiteX6" fmla="*/ 2461260 w 3670229"/>
              <a:gd name="connsiteY6" fmla="*/ 462752 h 1781012"/>
              <a:gd name="connsiteX0" fmla="*/ 0 w 3670229"/>
              <a:gd name="connsiteY0" fmla="*/ 1786138 h 1786138"/>
              <a:gd name="connsiteX1" fmla="*/ 342900 w 3670229"/>
              <a:gd name="connsiteY1" fmla="*/ 1435618 h 1786138"/>
              <a:gd name="connsiteX2" fmla="*/ 1859280 w 3670229"/>
              <a:gd name="connsiteY2" fmla="*/ 1435618 h 1786138"/>
              <a:gd name="connsiteX3" fmla="*/ 3589020 w 3670229"/>
              <a:gd name="connsiteY3" fmla="*/ 475498 h 1786138"/>
              <a:gd name="connsiteX4" fmla="*/ 3649980 w 3670229"/>
              <a:gd name="connsiteY4" fmla="*/ 124978 h 1786138"/>
              <a:gd name="connsiteX5" fmla="*/ 3346132 w 3670229"/>
              <a:gd name="connsiteY5" fmla="*/ 7344 h 1786138"/>
              <a:gd name="connsiteX6" fmla="*/ 2461260 w 3670229"/>
              <a:gd name="connsiteY6" fmla="*/ 467878 h 1786138"/>
              <a:gd name="connsiteX0" fmla="*/ 0 w 3657088"/>
              <a:gd name="connsiteY0" fmla="*/ 1785508 h 1785508"/>
              <a:gd name="connsiteX1" fmla="*/ 342900 w 3657088"/>
              <a:gd name="connsiteY1" fmla="*/ 1434988 h 1785508"/>
              <a:gd name="connsiteX2" fmla="*/ 1859280 w 3657088"/>
              <a:gd name="connsiteY2" fmla="*/ 1434988 h 1785508"/>
              <a:gd name="connsiteX3" fmla="*/ 3589020 w 3657088"/>
              <a:gd name="connsiteY3" fmla="*/ 474868 h 1785508"/>
              <a:gd name="connsiteX4" fmla="*/ 3630930 w 3657088"/>
              <a:gd name="connsiteY4" fmla="*/ 133873 h 1785508"/>
              <a:gd name="connsiteX5" fmla="*/ 3346132 w 3657088"/>
              <a:gd name="connsiteY5" fmla="*/ 6714 h 1785508"/>
              <a:gd name="connsiteX6" fmla="*/ 2461260 w 3657088"/>
              <a:gd name="connsiteY6" fmla="*/ 467248 h 1785508"/>
              <a:gd name="connsiteX0" fmla="*/ 0 w 3673639"/>
              <a:gd name="connsiteY0" fmla="*/ 1788509 h 1788509"/>
              <a:gd name="connsiteX1" fmla="*/ 342900 w 3673639"/>
              <a:gd name="connsiteY1" fmla="*/ 1437989 h 1788509"/>
              <a:gd name="connsiteX2" fmla="*/ 1859280 w 3673639"/>
              <a:gd name="connsiteY2" fmla="*/ 1437989 h 1788509"/>
              <a:gd name="connsiteX3" fmla="*/ 3589020 w 3673639"/>
              <a:gd name="connsiteY3" fmla="*/ 477869 h 1788509"/>
              <a:gd name="connsiteX4" fmla="*/ 3630930 w 3673639"/>
              <a:gd name="connsiteY4" fmla="*/ 136874 h 1788509"/>
              <a:gd name="connsiteX5" fmla="*/ 3346132 w 3673639"/>
              <a:gd name="connsiteY5" fmla="*/ 9715 h 1788509"/>
              <a:gd name="connsiteX6" fmla="*/ 2461260 w 3673639"/>
              <a:gd name="connsiteY6" fmla="*/ 470249 h 1788509"/>
              <a:gd name="connsiteX0" fmla="*/ 0 w 3653181"/>
              <a:gd name="connsiteY0" fmla="*/ 1785767 h 1785767"/>
              <a:gd name="connsiteX1" fmla="*/ 342900 w 3653181"/>
              <a:gd name="connsiteY1" fmla="*/ 1435247 h 1785767"/>
              <a:gd name="connsiteX2" fmla="*/ 1859280 w 3653181"/>
              <a:gd name="connsiteY2" fmla="*/ 1435247 h 1785767"/>
              <a:gd name="connsiteX3" fmla="*/ 3579495 w 3653181"/>
              <a:gd name="connsiteY3" fmla="*/ 501320 h 1785767"/>
              <a:gd name="connsiteX4" fmla="*/ 3630930 w 3653181"/>
              <a:gd name="connsiteY4" fmla="*/ 134132 h 1785767"/>
              <a:gd name="connsiteX5" fmla="*/ 3346132 w 3653181"/>
              <a:gd name="connsiteY5" fmla="*/ 6973 h 1785767"/>
              <a:gd name="connsiteX6" fmla="*/ 2461260 w 3653181"/>
              <a:gd name="connsiteY6" fmla="*/ 467507 h 1785767"/>
              <a:gd name="connsiteX0" fmla="*/ 0 w 3657884"/>
              <a:gd name="connsiteY0" fmla="*/ 1785767 h 1785767"/>
              <a:gd name="connsiteX1" fmla="*/ 342900 w 3657884"/>
              <a:gd name="connsiteY1" fmla="*/ 1435247 h 1785767"/>
              <a:gd name="connsiteX2" fmla="*/ 1859280 w 3657884"/>
              <a:gd name="connsiteY2" fmla="*/ 1435247 h 1785767"/>
              <a:gd name="connsiteX3" fmla="*/ 3579495 w 3657884"/>
              <a:gd name="connsiteY3" fmla="*/ 501320 h 1785767"/>
              <a:gd name="connsiteX4" fmla="*/ 3630930 w 3657884"/>
              <a:gd name="connsiteY4" fmla="*/ 134132 h 1785767"/>
              <a:gd name="connsiteX5" fmla="*/ 3346132 w 3657884"/>
              <a:gd name="connsiteY5" fmla="*/ 6973 h 1785767"/>
              <a:gd name="connsiteX6" fmla="*/ 2461260 w 3657884"/>
              <a:gd name="connsiteY6" fmla="*/ 467507 h 1785767"/>
              <a:gd name="connsiteX0" fmla="*/ 0 w 3668129"/>
              <a:gd name="connsiteY0" fmla="*/ 1788468 h 1788468"/>
              <a:gd name="connsiteX1" fmla="*/ 342900 w 3668129"/>
              <a:gd name="connsiteY1" fmla="*/ 1437948 h 1788468"/>
              <a:gd name="connsiteX2" fmla="*/ 1859280 w 3668129"/>
              <a:gd name="connsiteY2" fmla="*/ 1437948 h 1788468"/>
              <a:gd name="connsiteX3" fmla="*/ 3579495 w 3668129"/>
              <a:gd name="connsiteY3" fmla="*/ 504021 h 1788468"/>
              <a:gd name="connsiteX4" fmla="*/ 3630930 w 3668129"/>
              <a:gd name="connsiteY4" fmla="*/ 136833 h 1788468"/>
              <a:gd name="connsiteX5" fmla="*/ 3346132 w 3668129"/>
              <a:gd name="connsiteY5" fmla="*/ 9674 h 1788468"/>
              <a:gd name="connsiteX6" fmla="*/ 2461260 w 3668129"/>
              <a:gd name="connsiteY6" fmla="*/ 470208 h 1788468"/>
              <a:gd name="connsiteX0" fmla="*/ 0 w 3668129"/>
              <a:gd name="connsiteY0" fmla="*/ 1788468 h 1788468"/>
              <a:gd name="connsiteX1" fmla="*/ 342900 w 3668129"/>
              <a:gd name="connsiteY1" fmla="*/ 1437948 h 1788468"/>
              <a:gd name="connsiteX2" fmla="*/ 1859280 w 3668129"/>
              <a:gd name="connsiteY2" fmla="*/ 1437948 h 1788468"/>
              <a:gd name="connsiteX3" fmla="*/ 3579495 w 3668129"/>
              <a:gd name="connsiteY3" fmla="*/ 504021 h 1788468"/>
              <a:gd name="connsiteX4" fmla="*/ 3630930 w 3668129"/>
              <a:gd name="connsiteY4" fmla="*/ 136833 h 1788468"/>
              <a:gd name="connsiteX5" fmla="*/ 3346132 w 3668129"/>
              <a:gd name="connsiteY5" fmla="*/ 9674 h 1788468"/>
              <a:gd name="connsiteX6" fmla="*/ 2461260 w 3668129"/>
              <a:gd name="connsiteY6" fmla="*/ 470208 h 1788468"/>
              <a:gd name="connsiteX0" fmla="*/ 0 w 3674565"/>
              <a:gd name="connsiteY0" fmla="*/ 1789038 h 1789038"/>
              <a:gd name="connsiteX1" fmla="*/ 342900 w 3674565"/>
              <a:gd name="connsiteY1" fmla="*/ 1438518 h 1789038"/>
              <a:gd name="connsiteX2" fmla="*/ 1859280 w 3674565"/>
              <a:gd name="connsiteY2" fmla="*/ 1438518 h 1789038"/>
              <a:gd name="connsiteX3" fmla="*/ 3579495 w 3674565"/>
              <a:gd name="connsiteY3" fmla="*/ 504591 h 1789038"/>
              <a:gd name="connsiteX4" fmla="*/ 3640455 w 3674565"/>
              <a:gd name="connsiteY4" fmla="*/ 132641 h 1789038"/>
              <a:gd name="connsiteX5" fmla="*/ 3346132 w 3674565"/>
              <a:gd name="connsiteY5" fmla="*/ 10244 h 1789038"/>
              <a:gd name="connsiteX6" fmla="*/ 2461260 w 3674565"/>
              <a:gd name="connsiteY6" fmla="*/ 470778 h 1789038"/>
              <a:gd name="connsiteX0" fmla="*/ 0 w 3673723"/>
              <a:gd name="connsiteY0" fmla="*/ 1785885 h 1785885"/>
              <a:gd name="connsiteX1" fmla="*/ 342900 w 3673723"/>
              <a:gd name="connsiteY1" fmla="*/ 1435365 h 1785885"/>
              <a:gd name="connsiteX2" fmla="*/ 1859280 w 3673723"/>
              <a:gd name="connsiteY2" fmla="*/ 1435365 h 1785885"/>
              <a:gd name="connsiteX3" fmla="*/ 3600926 w 3673723"/>
              <a:gd name="connsiteY3" fmla="*/ 482388 h 1785885"/>
              <a:gd name="connsiteX4" fmla="*/ 3640455 w 3673723"/>
              <a:gd name="connsiteY4" fmla="*/ 129488 h 1785885"/>
              <a:gd name="connsiteX5" fmla="*/ 3346132 w 3673723"/>
              <a:gd name="connsiteY5" fmla="*/ 7091 h 1785885"/>
              <a:gd name="connsiteX6" fmla="*/ 2461260 w 3673723"/>
              <a:gd name="connsiteY6" fmla="*/ 467625 h 1785885"/>
              <a:gd name="connsiteX0" fmla="*/ 0 w 3673723"/>
              <a:gd name="connsiteY0" fmla="*/ 1785885 h 1785885"/>
              <a:gd name="connsiteX1" fmla="*/ 361950 w 3673723"/>
              <a:gd name="connsiteY1" fmla="*/ 1430603 h 1785885"/>
              <a:gd name="connsiteX2" fmla="*/ 1859280 w 3673723"/>
              <a:gd name="connsiteY2" fmla="*/ 1435365 h 1785885"/>
              <a:gd name="connsiteX3" fmla="*/ 3600926 w 3673723"/>
              <a:gd name="connsiteY3" fmla="*/ 482388 h 1785885"/>
              <a:gd name="connsiteX4" fmla="*/ 3640455 w 3673723"/>
              <a:gd name="connsiteY4" fmla="*/ 129488 h 1785885"/>
              <a:gd name="connsiteX5" fmla="*/ 3346132 w 3673723"/>
              <a:gd name="connsiteY5" fmla="*/ 7091 h 1785885"/>
              <a:gd name="connsiteX6" fmla="*/ 2461260 w 3673723"/>
              <a:gd name="connsiteY6" fmla="*/ 467625 h 1785885"/>
              <a:gd name="connsiteX0" fmla="*/ 0 w 3673723"/>
              <a:gd name="connsiteY0" fmla="*/ 1785885 h 1785885"/>
              <a:gd name="connsiteX1" fmla="*/ 361950 w 3673723"/>
              <a:gd name="connsiteY1" fmla="*/ 1430603 h 1785885"/>
              <a:gd name="connsiteX2" fmla="*/ 1859280 w 3673723"/>
              <a:gd name="connsiteY2" fmla="*/ 1435365 h 1785885"/>
              <a:gd name="connsiteX3" fmla="*/ 3600926 w 3673723"/>
              <a:gd name="connsiteY3" fmla="*/ 482388 h 1785885"/>
              <a:gd name="connsiteX4" fmla="*/ 3640455 w 3673723"/>
              <a:gd name="connsiteY4" fmla="*/ 129488 h 1785885"/>
              <a:gd name="connsiteX5" fmla="*/ 3346132 w 3673723"/>
              <a:gd name="connsiteY5" fmla="*/ 7091 h 1785885"/>
              <a:gd name="connsiteX6" fmla="*/ 2461260 w 3673723"/>
              <a:gd name="connsiteY6" fmla="*/ 467625 h 1785885"/>
              <a:gd name="connsiteX0" fmla="*/ 0 w 3673723"/>
              <a:gd name="connsiteY0" fmla="*/ 1785885 h 1785885"/>
              <a:gd name="connsiteX1" fmla="*/ 361950 w 3673723"/>
              <a:gd name="connsiteY1" fmla="*/ 1430603 h 1785885"/>
              <a:gd name="connsiteX2" fmla="*/ 1859280 w 3673723"/>
              <a:gd name="connsiteY2" fmla="*/ 1435365 h 1785885"/>
              <a:gd name="connsiteX3" fmla="*/ 3600926 w 3673723"/>
              <a:gd name="connsiteY3" fmla="*/ 482388 h 1785885"/>
              <a:gd name="connsiteX4" fmla="*/ 3640455 w 3673723"/>
              <a:gd name="connsiteY4" fmla="*/ 129488 h 1785885"/>
              <a:gd name="connsiteX5" fmla="*/ 3346132 w 3673723"/>
              <a:gd name="connsiteY5" fmla="*/ 7091 h 1785885"/>
              <a:gd name="connsiteX6" fmla="*/ 2461260 w 3673723"/>
              <a:gd name="connsiteY6" fmla="*/ 467625 h 1785885"/>
              <a:gd name="connsiteX0" fmla="*/ 0 w 3673723"/>
              <a:gd name="connsiteY0" fmla="*/ 1785885 h 1785885"/>
              <a:gd name="connsiteX1" fmla="*/ 361950 w 3673723"/>
              <a:gd name="connsiteY1" fmla="*/ 1430603 h 1785885"/>
              <a:gd name="connsiteX2" fmla="*/ 1859280 w 3673723"/>
              <a:gd name="connsiteY2" fmla="*/ 1435365 h 1785885"/>
              <a:gd name="connsiteX3" fmla="*/ 3600926 w 3673723"/>
              <a:gd name="connsiteY3" fmla="*/ 482388 h 1785885"/>
              <a:gd name="connsiteX4" fmla="*/ 3640455 w 3673723"/>
              <a:gd name="connsiteY4" fmla="*/ 129488 h 1785885"/>
              <a:gd name="connsiteX5" fmla="*/ 3346132 w 3673723"/>
              <a:gd name="connsiteY5" fmla="*/ 7091 h 1785885"/>
              <a:gd name="connsiteX6" fmla="*/ 2461260 w 3673723"/>
              <a:gd name="connsiteY6" fmla="*/ 467625 h 1785885"/>
              <a:gd name="connsiteX0" fmla="*/ 0 w 3693687"/>
              <a:gd name="connsiteY0" fmla="*/ 1789806 h 1789806"/>
              <a:gd name="connsiteX1" fmla="*/ 361950 w 3693687"/>
              <a:gd name="connsiteY1" fmla="*/ 1434524 h 1789806"/>
              <a:gd name="connsiteX2" fmla="*/ 1859280 w 3693687"/>
              <a:gd name="connsiteY2" fmla="*/ 1439286 h 1789806"/>
              <a:gd name="connsiteX3" fmla="*/ 3600926 w 3693687"/>
              <a:gd name="connsiteY3" fmla="*/ 486309 h 1789806"/>
              <a:gd name="connsiteX4" fmla="*/ 3640455 w 3693687"/>
              <a:gd name="connsiteY4" fmla="*/ 133409 h 1789806"/>
              <a:gd name="connsiteX5" fmla="*/ 3346132 w 3693687"/>
              <a:gd name="connsiteY5" fmla="*/ 11012 h 1789806"/>
              <a:gd name="connsiteX6" fmla="*/ 2461260 w 3693687"/>
              <a:gd name="connsiteY6" fmla="*/ 471546 h 1789806"/>
              <a:gd name="connsiteX0" fmla="*/ 0 w 3689230"/>
              <a:gd name="connsiteY0" fmla="*/ 1788874 h 1788874"/>
              <a:gd name="connsiteX1" fmla="*/ 361950 w 3689230"/>
              <a:gd name="connsiteY1" fmla="*/ 1433592 h 1788874"/>
              <a:gd name="connsiteX2" fmla="*/ 1859280 w 3689230"/>
              <a:gd name="connsiteY2" fmla="*/ 1438354 h 1788874"/>
              <a:gd name="connsiteX3" fmla="*/ 3600926 w 3689230"/>
              <a:gd name="connsiteY3" fmla="*/ 485377 h 1788874"/>
              <a:gd name="connsiteX4" fmla="*/ 3633311 w 3689230"/>
              <a:gd name="connsiteY4" fmla="*/ 139621 h 1788874"/>
              <a:gd name="connsiteX5" fmla="*/ 3346132 w 3689230"/>
              <a:gd name="connsiteY5" fmla="*/ 10080 h 1788874"/>
              <a:gd name="connsiteX6" fmla="*/ 2461260 w 3689230"/>
              <a:gd name="connsiteY6" fmla="*/ 470614 h 1788874"/>
              <a:gd name="connsiteX0" fmla="*/ 0 w 3686231"/>
              <a:gd name="connsiteY0" fmla="*/ 1789714 h 1789714"/>
              <a:gd name="connsiteX1" fmla="*/ 361950 w 3686231"/>
              <a:gd name="connsiteY1" fmla="*/ 1434432 h 1789714"/>
              <a:gd name="connsiteX2" fmla="*/ 1859280 w 3686231"/>
              <a:gd name="connsiteY2" fmla="*/ 1439194 h 1789714"/>
              <a:gd name="connsiteX3" fmla="*/ 3600926 w 3686231"/>
              <a:gd name="connsiteY3" fmla="*/ 486217 h 1789714"/>
              <a:gd name="connsiteX4" fmla="*/ 3633311 w 3686231"/>
              <a:gd name="connsiteY4" fmla="*/ 140461 h 1789714"/>
              <a:gd name="connsiteX5" fmla="*/ 3346132 w 3686231"/>
              <a:gd name="connsiteY5" fmla="*/ 10920 h 1789714"/>
              <a:gd name="connsiteX6" fmla="*/ 2461260 w 3686231"/>
              <a:gd name="connsiteY6" fmla="*/ 471454 h 1789714"/>
              <a:gd name="connsiteX0" fmla="*/ 0 w 3656422"/>
              <a:gd name="connsiteY0" fmla="*/ 1785568 h 1785568"/>
              <a:gd name="connsiteX1" fmla="*/ 361950 w 3656422"/>
              <a:gd name="connsiteY1" fmla="*/ 1430286 h 1785568"/>
              <a:gd name="connsiteX2" fmla="*/ 1859280 w 3656422"/>
              <a:gd name="connsiteY2" fmla="*/ 1435048 h 1785568"/>
              <a:gd name="connsiteX3" fmla="*/ 3572351 w 3656422"/>
              <a:gd name="connsiteY3" fmla="*/ 496358 h 1785568"/>
              <a:gd name="connsiteX4" fmla="*/ 3633311 w 3656422"/>
              <a:gd name="connsiteY4" fmla="*/ 136315 h 1785568"/>
              <a:gd name="connsiteX5" fmla="*/ 3346132 w 3656422"/>
              <a:gd name="connsiteY5" fmla="*/ 6774 h 1785568"/>
              <a:gd name="connsiteX6" fmla="*/ 2461260 w 3656422"/>
              <a:gd name="connsiteY6" fmla="*/ 467308 h 1785568"/>
              <a:gd name="connsiteX0" fmla="*/ 0 w 3649015"/>
              <a:gd name="connsiteY0" fmla="*/ 1785568 h 1785568"/>
              <a:gd name="connsiteX1" fmla="*/ 361950 w 3649015"/>
              <a:gd name="connsiteY1" fmla="*/ 1430286 h 1785568"/>
              <a:gd name="connsiteX2" fmla="*/ 1859280 w 3649015"/>
              <a:gd name="connsiteY2" fmla="*/ 1435048 h 1785568"/>
              <a:gd name="connsiteX3" fmla="*/ 3572351 w 3649015"/>
              <a:gd name="connsiteY3" fmla="*/ 496358 h 1785568"/>
              <a:gd name="connsiteX4" fmla="*/ 3633311 w 3649015"/>
              <a:gd name="connsiteY4" fmla="*/ 136315 h 1785568"/>
              <a:gd name="connsiteX5" fmla="*/ 3346132 w 3649015"/>
              <a:gd name="connsiteY5" fmla="*/ 6774 h 1785568"/>
              <a:gd name="connsiteX6" fmla="*/ 2461260 w 3649015"/>
              <a:gd name="connsiteY6" fmla="*/ 467308 h 1785568"/>
              <a:gd name="connsiteX0" fmla="*/ 0 w 3651972"/>
              <a:gd name="connsiteY0" fmla="*/ 1767671 h 1767671"/>
              <a:gd name="connsiteX1" fmla="*/ 361950 w 3651972"/>
              <a:gd name="connsiteY1" fmla="*/ 1412389 h 1767671"/>
              <a:gd name="connsiteX2" fmla="*/ 1859280 w 3651972"/>
              <a:gd name="connsiteY2" fmla="*/ 1417151 h 1767671"/>
              <a:gd name="connsiteX3" fmla="*/ 3572351 w 3651972"/>
              <a:gd name="connsiteY3" fmla="*/ 478461 h 1767671"/>
              <a:gd name="connsiteX4" fmla="*/ 3633311 w 3651972"/>
              <a:gd name="connsiteY4" fmla="*/ 118418 h 1767671"/>
              <a:gd name="connsiteX5" fmla="*/ 3305651 w 3651972"/>
              <a:gd name="connsiteY5" fmla="*/ 7927 h 1767671"/>
              <a:gd name="connsiteX6" fmla="*/ 2461260 w 3651972"/>
              <a:gd name="connsiteY6" fmla="*/ 449411 h 1767671"/>
              <a:gd name="connsiteX0" fmla="*/ 0 w 3651972"/>
              <a:gd name="connsiteY0" fmla="*/ 1775850 h 1775850"/>
              <a:gd name="connsiteX1" fmla="*/ 361950 w 3651972"/>
              <a:gd name="connsiteY1" fmla="*/ 1420568 h 1775850"/>
              <a:gd name="connsiteX2" fmla="*/ 1859280 w 3651972"/>
              <a:gd name="connsiteY2" fmla="*/ 1425330 h 1775850"/>
              <a:gd name="connsiteX3" fmla="*/ 3572351 w 3651972"/>
              <a:gd name="connsiteY3" fmla="*/ 486640 h 1775850"/>
              <a:gd name="connsiteX4" fmla="*/ 3633311 w 3651972"/>
              <a:gd name="connsiteY4" fmla="*/ 126597 h 1775850"/>
              <a:gd name="connsiteX5" fmla="*/ 3305651 w 3651972"/>
              <a:gd name="connsiteY5" fmla="*/ 16106 h 1775850"/>
              <a:gd name="connsiteX6" fmla="*/ 2461260 w 3651972"/>
              <a:gd name="connsiteY6" fmla="*/ 457590 h 1775850"/>
              <a:gd name="connsiteX0" fmla="*/ 0 w 3651972"/>
              <a:gd name="connsiteY0" fmla="*/ 1775850 h 1775850"/>
              <a:gd name="connsiteX1" fmla="*/ 361950 w 3651972"/>
              <a:gd name="connsiteY1" fmla="*/ 1420568 h 1775850"/>
              <a:gd name="connsiteX2" fmla="*/ 1859280 w 3651972"/>
              <a:gd name="connsiteY2" fmla="*/ 1425330 h 1775850"/>
              <a:gd name="connsiteX3" fmla="*/ 3572351 w 3651972"/>
              <a:gd name="connsiteY3" fmla="*/ 486640 h 1775850"/>
              <a:gd name="connsiteX4" fmla="*/ 3633311 w 3651972"/>
              <a:gd name="connsiteY4" fmla="*/ 126597 h 1775850"/>
              <a:gd name="connsiteX5" fmla="*/ 3305651 w 3651972"/>
              <a:gd name="connsiteY5" fmla="*/ 16106 h 1775850"/>
              <a:gd name="connsiteX6" fmla="*/ 2461260 w 3651972"/>
              <a:gd name="connsiteY6" fmla="*/ 457590 h 1775850"/>
              <a:gd name="connsiteX0" fmla="*/ 0 w 3667722"/>
              <a:gd name="connsiteY0" fmla="*/ 1784978 h 1784978"/>
              <a:gd name="connsiteX1" fmla="*/ 361950 w 3667722"/>
              <a:gd name="connsiteY1" fmla="*/ 1429696 h 1784978"/>
              <a:gd name="connsiteX2" fmla="*/ 1859280 w 3667722"/>
              <a:gd name="connsiteY2" fmla="*/ 1434458 h 1784978"/>
              <a:gd name="connsiteX3" fmla="*/ 3572351 w 3667722"/>
              <a:gd name="connsiteY3" fmla="*/ 495768 h 1784978"/>
              <a:gd name="connsiteX4" fmla="*/ 3633311 w 3667722"/>
              <a:gd name="connsiteY4" fmla="*/ 135725 h 1784978"/>
              <a:gd name="connsiteX5" fmla="*/ 3305651 w 3667722"/>
              <a:gd name="connsiteY5" fmla="*/ 25234 h 1784978"/>
              <a:gd name="connsiteX6" fmla="*/ 2461260 w 3667722"/>
              <a:gd name="connsiteY6" fmla="*/ 466718 h 1784978"/>
              <a:gd name="connsiteX0" fmla="*/ 0 w 3680988"/>
              <a:gd name="connsiteY0" fmla="*/ 1781456 h 1781456"/>
              <a:gd name="connsiteX1" fmla="*/ 361950 w 3680988"/>
              <a:gd name="connsiteY1" fmla="*/ 1426174 h 1781456"/>
              <a:gd name="connsiteX2" fmla="*/ 1859280 w 3680988"/>
              <a:gd name="connsiteY2" fmla="*/ 1430936 h 1781456"/>
              <a:gd name="connsiteX3" fmla="*/ 3572351 w 3680988"/>
              <a:gd name="connsiteY3" fmla="*/ 492246 h 1781456"/>
              <a:gd name="connsiteX4" fmla="*/ 3649980 w 3680988"/>
              <a:gd name="connsiteY4" fmla="*/ 148872 h 1781456"/>
              <a:gd name="connsiteX5" fmla="*/ 3305651 w 3680988"/>
              <a:gd name="connsiteY5" fmla="*/ 21712 h 1781456"/>
              <a:gd name="connsiteX6" fmla="*/ 2461260 w 3680988"/>
              <a:gd name="connsiteY6" fmla="*/ 463196 h 1781456"/>
              <a:gd name="connsiteX0" fmla="*/ 0 w 3677895"/>
              <a:gd name="connsiteY0" fmla="*/ 1778568 h 1778568"/>
              <a:gd name="connsiteX1" fmla="*/ 361950 w 3677895"/>
              <a:gd name="connsiteY1" fmla="*/ 1423286 h 1778568"/>
              <a:gd name="connsiteX2" fmla="*/ 1859280 w 3677895"/>
              <a:gd name="connsiteY2" fmla="*/ 1428048 h 1778568"/>
              <a:gd name="connsiteX3" fmla="*/ 3572351 w 3677895"/>
              <a:gd name="connsiteY3" fmla="*/ 489358 h 1778568"/>
              <a:gd name="connsiteX4" fmla="*/ 3649980 w 3677895"/>
              <a:gd name="connsiteY4" fmla="*/ 145984 h 1778568"/>
              <a:gd name="connsiteX5" fmla="*/ 3305651 w 3677895"/>
              <a:gd name="connsiteY5" fmla="*/ 18824 h 1778568"/>
              <a:gd name="connsiteX6" fmla="*/ 2461260 w 3677895"/>
              <a:gd name="connsiteY6" fmla="*/ 460308 h 1778568"/>
              <a:gd name="connsiteX0" fmla="*/ 0 w 3677895"/>
              <a:gd name="connsiteY0" fmla="*/ 1778568 h 1778568"/>
              <a:gd name="connsiteX1" fmla="*/ 361950 w 3677895"/>
              <a:gd name="connsiteY1" fmla="*/ 1423286 h 1778568"/>
              <a:gd name="connsiteX2" fmla="*/ 1859280 w 3677895"/>
              <a:gd name="connsiteY2" fmla="*/ 1428048 h 1778568"/>
              <a:gd name="connsiteX3" fmla="*/ 3572351 w 3677895"/>
              <a:gd name="connsiteY3" fmla="*/ 489358 h 1778568"/>
              <a:gd name="connsiteX4" fmla="*/ 3649980 w 3677895"/>
              <a:gd name="connsiteY4" fmla="*/ 145984 h 1778568"/>
              <a:gd name="connsiteX5" fmla="*/ 3305651 w 3677895"/>
              <a:gd name="connsiteY5" fmla="*/ 18824 h 1778568"/>
              <a:gd name="connsiteX6" fmla="*/ 2461260 w 3677895"/>
              <a:gd name="connsiteY6" fmla="*/ 460308 h 1778568"/>
              <a:gd name="connsiteX0" fmla="*/ 0 w 3677895"/>
              <a:gd name="connsiteY0" fmla="*/ 1819703 h 1819703"/>
              <a:gd name="connsiteX1" fmla="*/ 361950 w 3677895"/>
              <a:gd name="connsiteY1" fmla="*/ 1464421 h 1819703"/>
              <a:gd name="connsiteX2" fmla="*/ 1859280 w 3677895"/>
              <a:gd name="connsiteY2" fmla="*/ 1469183 h 1819703"/>
              <a:gd name="connsiteX3" fmla="*/ 3572351 w 3677895"/>
              <a:gd name="connsiteY3" fmla="*/ 530493 h 1819703"/>
              <a:gd name="connsiteX4" fmla="*/ 3649980 w 3677895"/>
              <a:gd name="connsiteY4" fmla="*/ 187119 h 1819703"/>
              <a:gd name="connsiteX5" fmla="*/ 3305651 w 3677895"/>
              <a:gd name="connsiteY5" fmla="*/ 59959 h 1819703"/>
              <a:gd name="connsiteX6" fmla="*/ 2461260 w 3677895"/>
              <a:gd name="connsiteY6" fmla="*/ 501443 h 1819703"/>
              <a:gd name="connsiteX0" fmla="*/ 0 w 3677895"/>
              <a:gd name="connsiteY0" fmla="*/ 1776510 h 1776510"/>
              <a:gd name="connsiteX1" fmla="*/ 361950 w 3677895"/>
              <a:gd name="connsiteY1" fmla="*/ 1421228 h 1776510"/>
              <a:gd name="connsiteX2" fmla="*/ 1859280 w 3677895"/>
              <a:gd name="connsiteY2" fmla="*/ 1425990 h 1776510"/>
              <a:gd name="connsiteX3" fmla="*/ 3572351 w 3677895"/>
              <a:gd name="connsiteY3" fmla="*/ 487300 h 1776510"/>
              <a:gd name="connsiteX4" fmla="*/ 3649980 w 3677895"/>
              <a:gd name="connsiteY4" fmla="*/ 143926 h 1776510"/>
              <a:gd name="connsiteX5" fmla="*/ 3305651 w 3677895"/>
              <a:gd name="connsiteY5" fmla="*/ 16766 h 1776510"/>
              <a:gd name="connsiteX6" fmla="*/ 2461260 w 3677895"/>
              <a:gd name="connsiteY6" fmla="*/ 458250 h 1776510"/>
              <a:gd name="connsiteX0" fmla="*/ 0 w 3679956"/>
              <a:gd name="connsiteY0" fmla="*/ 1778935 h 1778935"/>
              <a:gd name="connsiteX1" fmla="*/ 361950 w 3679956"/>
              <a:gd name="connsiteY1" fmla="*/ 1423653 h 1778935"/>
              <a:gd name="connsiteX2" fmla="*/ 1859280 w 3679956"/>
              <a:gd name="connsiteY2" fmla="*/ 1428415 h 1778935"/>
              <a:gd name="connsiteX3" fmla="*/ 3572351 w 3679956"/>
              <a:gd name="connsiteY3" fmla="*/ 489725 h 1778935"/>
              <a:gd name="connsiteX4" fmla="*/ 3649980 w 3679956"/>
              <a:gd name="connsiteY4" fmla="*/ 146351 h 1778935"/>
              <a:gd name="connsiteX5" fmla="*/ 3305651 w 3679956"/>
              <a:gd name="connsiteY5" fmla="*/ 19191 h 1778935"/>
              <a:gd name="connsiteX6" fmla="*/ 2461260 w 3679956"/>
              <a:gd name="connsiteY6" fmla="*/ 460675 h 17789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679956" h="1778935">
                <a:moveTo>
                  <a:pt x="0" y="1778935"/>
                </a:moveTo>
                <a:cubicBezTo>
                  <a:pt x="120650" y="1660508"/>
                  <a:pt x="317500" y="1437305"/>
                  <a:pt x="361950" y="1423653"/>
                </a:cubicBezTo>
                <a:cubicBezTo>
                  <a:pt x="427673" y="1363327"/>
                  <a:pt x="1360170" y="1426828"/>
                  <a:pt x="1859280" y="1428415"/>
                </a:cubicBezTo>
                <a:cubicBezTo>
                  <a:pt x="1986280" y="1420795"/>
                  <a:pt x="3507741" y="535128"/>
                  <a:pt x="3572351" y="489725"/>
                </a:cubicBezTo>
                <a:cubicBezTo>
                  <a:pt x="3636961" y="444322"/>
                  <a:pt x="3727768" y="281923"/>
                  <a:pt x="3649980" y="146351"/>
                </a:cubicBezTo>
                <a:cubicBezTo>
                  <a:pt x="3572192" y="10779"/>
                  <a:pt x="3387090" y="-27957"/>
                  <a:pt x="3305651" y="19191"/>
                </a:cubicBezTo>
                <a:cubicBezTo>
                  <a:pt x="3224212" y="66339"/>
                  <a:pt x="2742724" y="313514"/>
                  <a:pt x="2461260" y="460675"/>
                </a:cubicBezTo>
              </a:path>
            </a:pathLst>
          </a:custGeom>
          <a:noFill/>
          <a:ln w="9525" cap="rnd">
            <a:solidFill>
              <a:schemeClr val="accent6">
                <a:lumMod val="50000"/>
              </a:schemeClr>
            </a:solidFill>
            <a:rou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1" name="Rectangle: Rounded Corners 23">
            <a:extLst>
              <a:ext uri="{FF2B5EF4-FFF2-40B4-BE49-F238E27FC236}">
                <a16:creationId xmlns:a16="http://schemas.microsoft.com/office/drawing/2014/main" id="{208784C0-EB9E-1851-E055-F2BE02E0801B}"/>
              </a:ext>
            </a:extLst>
          </p:cNvPr>
          <p:cNvSpPr/>
          <p:nvPr/>
        </p:nvSpPr>
        <p:spPr>
          <a:xfrm>
            <a:off x="5543011" y="8408816"/>
            <a:ext cx="225992" cy="61370"/>
          </a:xfrm>
          <a:custGeom>
            <a:avLst/>
            <a:gdLst>
              <a:gd name="connsiteX0" fmla="*/ 0 w 1892087"/>
              <a:gd name="connsiteY0" fmla="*/ 331373 h 662746"/>
              <a:gd name="connsiteX1" fmla="*/ 331373 w 1892087"/>
              <a:gd name="connsiteY1" fmla="*/ 0 h 662746"/>
              <a:gd name="connsiteX2" fmla="*/ 1560714 w 1892087"/>
              <a:gd name="connsiteY2" fmla="*/ 0 h 662746"/>
              <a:gd name="connsiteX3" fmla="*/ 1892087 w 1892087"/>
              <a:gd name="connsiteY3" fmla="*/ 331373 h 662746"/>
              <a:gd name="connsiteX4" fmla="*/ 1892087 w 1892087"/>
              <a:gd name="connsiteY4" fmla="*/ 331373 h 662746"/>
              <a:gd name="connsiteX5" fmla="*/ 1560714 w 1892087"/>
              <a:gd name="connsiteY5" fmla="*/ 662746 h 662746"/>
              <a:gd name="connsiteX6" fmla="*/ 331373 w 1892087"/>
              <a:gd name="connsiteY6" fmla="*/ 662746 h 662746"/>
              <a:gd name="connsiteX7" fmla="*/ 0 w 1892087"/>
              <a:gd name="connsiteY7" fmla="*/ 331373 h 662746"/>
              <a:gd name="connsiteX0" fmla="*/ 25923 w 1918010"/>
              <a:gd name="connsiteY0" fmla="*/ 331373 h 667509"/>
              <a:gd name="connsiteX1" fmla="*/ 357296 w 1918010"/>
              <a:gd name="connsiteY1" fmla="*/ 0 h 667509"/>
              <a:gd name="connsiteX2" fmla="*/ 1586637 w 1918010"/>
              <a:gd name="connsiteY2" fmla="*/ 0 h 667509"/>
              <a:gd name="connsiteX3" fmla="*/ 1918010 w 1918010"/>
              <a:gd name="connsiteY3" fmla="*/ 331373 h 667509"/>
              <a:gd name="connsiteX4" fmla="*/ 1918010 w 1918010"/>
              <a:gd name="connsiteY4" fmla="*/ 331373 h 667509"/>
              <a:gd name="connsiteX5" fmla="*/ 1586637 w 1918010"/>
              <a:gd name="connsiteY5" fmla="*/ 662746 h 667509"/>
              <a:gd name="connsiteX6" fmla="*/ 1009759 w 1918010"/>
              <a:gd name="connsiteY6" fmla="*/ 667509 h 667509"/>
              <a:gd name="connsiteX7" fmla="*/ 25923 w 1918010"/>
              <a:gd name="connsiteY7" fmla="*/ 331373 h 667509"/>
              <a:gd name="connsiteX0" fmla="*/ 25923 w 1918010"/>
              <a:gd name="connsiteY0" fmla="*/ 331373 h 667509"/>
              <a:gd name="connsiteX1" fmla="*/ 357296 w 1918010"/>
              <a:gd name="connsiteY1" fmla="*/ 0 h 667509"/>
              <a:gd name="connsiteX2" fmla="*/ 1586637 w 1918010"/>
              <a:gd name="connsiteY2" fmla="*/ 0 h 667509"/>
              <a:gd name="connsiteX3" fmla="*/ 1918010 w 1918010"/>
              <a:gd name="connsiteY3" fmla="*/ 331373 h 667509"/>
              <a:gd name="connsiteX4" fmla="*/ 1918010 w 1918010"/>
              <a:gd name="connsiteY4" fmla="*/ 331373 h 667509"/>
              <a:gd name="connsiteX5" fmla="*/ 1586637 w 1918010"/>
              <a:gd name="connsiteY5" fmla="*/ 662746 h 667509"/>
              <a:gd name="connsiteX6" fmla="*/ 1009759 w 1918010"/>
              <a:gd name="connsiteY6" fmla="*/ 667509 h 667509"/>
              <a:gd name="connsiteX7" fmla="*/ 117363 w 1918010"/>
              <a:gd name="connsiteY7" fmla="*/ 422813 h 667509"/>
              <a:gd name="connsiteX0" fmla="*/ 25923 w 1918010"/>
              <a:gd name="connsiteY0" fmla="*/ 331373 h 667509"/>
              <a:gd name="connsiteX1" fmla="*/ 357296 w 1918010"/>
              <a:gd name="connsiteY1" fmla="*/ 0 h 667509"/>
              <a:gd name="connsiteX2" fmla="*/ 1586637 w 1918010"/>
              <a:gd name="connsiteY2" fmla="*/ 0 h 667509"/>
              <a:gd name="connsiteX3" fmla="*/ 1918010 w 1918010"/>
              <a:gd name="connsiteY3" fmla="*/ 331373 h 667509"/>
              <a:gd name="connsiteX4" fmla="*/ 1918010 w 1918010"/>
              <a:gd name="connsiteY4" fmla="*/ 331373 h 667509"/>
              <a:gd name="connsiteX5" fmla="*/ 1586637 w 1918010"/>
              <a:gd name="connsiteY5" fmla="*/ 662746 h 667509"/>
              <a:gd name="connsiteX6" fmla="*/ 1009759 w 1918010"/>
              <a:gd name="connsiteY6" fmla="*/ 667509 h 667509"/>
              <a:gd name="connsiteX0" fmla="*/ 6927 w 2846752"/>
              <a:gd name="connsiteY0" fmla="*/ 707610 h 707610"/>
              <a:gd name="connsiteX1" fmla="*/ 1286038 w 2846752"/>
              <a:gd name="connsiteY1" fmla="*/ 0 h 707610"/>
              <a:gd name="connsiteX2" fmla="*/ 2515379 w 2846752"/>
              <a:gd name="connsiteY2" fmla="*/ 0 h 707610"/>
              <a:gd name="connsiteX3" fmla="*/ 2846752 w 2846752"/>
              <a:gd name="connsiteY3" fmla="*/ 331373 h 707610"/>
              <a:gd name="connsiteX4" fmla="*/ 2846752 w 2846752"/>
              <a:gd name="connsiteY4" fmla="*/ 331373 h 707610"/>
              <a:gd name="connsiteX5" fmla="*/ 2515379 w 2846752"/>
              <a:gd name="connsiteY5" fmla="*/ 662746 h 707610"/>
              <a:gd name="connsiteX6" fmla="*/ 1938501 w 2846752"/>
              <a:gd name="connsiteY6" fmla="*/ 667509 h 707610"/>
              <a:gd name="connsiteX0" fmla="*/ 0 w 2839825"/>
              <a:gd name="connsiteY0" fmla="*/ 707610 h 707610"/>
              <a:gd name="connsiteX1" fmla="*/ 1279111 w 2839825"/>
              <a:gd name="connsiteY1" fmla="*/ 0 h 707610"/>
              <a:gd name="connsiteX2" fmla="*/ 2508452 w 2839825"/>
              <a:gd name="connsiteY2" fmla="*/ 0 h 707610"/>
              <a:gd name="connsiteX3" fmla="*/ 2839825 w 2839825"/>
              <a:gd name="connsiteY3" fmla="*/ 331373 h 707610"/>
              <a:gd name="connsiteX4" fmla="*/ 2839825 w 2839825"/>
              <a:gd name="connsiteY4" fmla="*/ 331373 h 707610"/>
              <a:gd name="connsiteX5" fmla="*/ 2508452 w 2839825"/>
              <a:gd name="connsiteY5" fmla="*/ 662746 h 707610"/>
              <a:gd name="connsiteX6" fmla="*/ 1931574 w 2839825"/>
              <a:gd name="connsiteY6" fmla="*/ 667509 h 707610"/>
              <a:gd name="connsiteX0" fmla="*/ 0 w 2839825"/>
              <a:gd name="connsiteY0" fmla="*/ 707610 h 707610"/>
              <a:gd name="connsiteX1" fmla="*/ 1564861 w 2839825"/>
              <a:gd name="connsiteY1" fmla="*/ 0 h 707610"/>
              <a:gd name="connsiteX2" fmla="*/ 2508452 w 2839825"/>
              <a:gd name="connsiteY2" fmla="*/ 0 h 707610"/>
              <a:gd name="connsiteX3" fmla="*/ 2839825 w 2839825"/>
              <a:gd name="connsiteY3" fmla="*/ 331373 h 707610"/>
              <a:gd name="connsiteX4" fmla="*/ 2839825 w 2839825"/>
              <a:gd name="connsiteY4" fmla="*/ 331373 h 707610"/>
              <a:gd name="connsiteX5" fmla="*/ 2508452 w 2839825"/>
              <a:gd name="connsiteY5" fmla="*/ 662746 h 707610"/>
              <a:gd name="connsiteX6" fmla="*/ 1931574 w 2839825"/>
              <a:gd name="connsiteY6" fmla="*/ 667509 h 707610"/>
              <a:gd name="connsiteX0" fmla="*/ 0 w 2839825"/>
              <a:gd name="connsiteY0" fmla="*/ 771178 h 771178"/>
              <a:gd name="connsiteX1" fmla="*/ 860665 w 2839825"/>
              <a:gd name="connsiteY1" fmla="*/ 41509 h 771178"/>
              <a:gd name="connsiteX2" fmla="*/ 1564861 w 2839825"/>
              <a:gd name="connsiteY2" fmla="*/ 63568 h 771178"/>
              <a:gd name="connsiteX3" fmla="*/ 2508452 w 2839825"/>
              <a:gd name="connsiteY3" fmla="*/ 63568 h 771178"/>
              <a:gd name="connsiteX4" fmla="*/ 2839825 w 2839825"/>
              <a:gd name="connsiteY4" fmla="*/ 394941 h 771178"/>
              <a:gd name="connsiteX5" fmla="*/ 2839825 w 2839825"/>
              <a:gd name="connsiteY5" fmla="*/ 394941 h 771178"/>
              <a:gd name="connsiteX6" fmla="*/ 2508452 w 2839825"/>
              <a:gd name="connsiteY6" fmla="*/ 726314 h 771178"/>
              <a:gd name="connsiteX7" fmla="*/ 1931574 w 2839825"/>
              <a:gd name="connsiteY7" fmla="*/ 731077 h 771178"/>
              <a:gd name="connsiteX0" fmla="*/ 0 w 2839825"/>
              <a:gd name="connsiteY0" fmla="*/ 771178 h 771178"/>
              <a:gd name="connsiteX1" fmla="*/ 860665 w 2839825"/>
              <a:gd name="connsiteY1" fmla="*/ 41509 h 771178"/>
              <a:gd name="connsiteX2" fmla="*/ 1564861 w 2839825"/>
              <a:gd name="connsiteY2" fmla="*/ 63568 h 771178"/>
              <a:gd name="connsiteX3" fmla="*/ 2508452 w 2839825"/>
              <a:gd name="connsiteY3" fmla="*/ 63568 h 771178"/>
              <a:gd name="connsiteX4" fmla="*/ 2839825 w 2839825"/>
              <a:gd name="connsiteY4" fmla="*/ 394941 h 771178"/>
              <a:gd name="connsiteX5" fmla="*/ 2839825 w 2839825"/>
              <a:gd name="connsiteY5" fmla="*/ 394941 h 771178"/>
              <a:gd name="connsiteX6" fmla="*/ 2508452 w 2839825"/>
              <a:gd name="connsiteY6" fmla="*/ 726314 h 771178"/>
              <a:gd name="connsiteX7" fmla="*/ 1769649 w 2839825"/>
              <a:gd name="connsiteY7" fmla="*/ 728696 h 7711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839825" h="771178">
                <a:moveTo>
                  <a:pt x="0" y="771178"/>
                </a:moveTo>
                <a:cubicBezTo>
                  <a:pt x="162494" y="687666"/>
                  <a:pt x="599855" y="159444"/>
                  <a:pt x="860665" y="41509"/>
                </a:cubicBezTo>
                <a:cubicBezTo>
                  <a:pt x="1121475" y="-76426"/>
                  <a:pt x="1309280" y="97991"/>
                  <a:pt x="1564861" y="63568"/>
                </a:cubicBezTo>
                <a:lnTo>
                  <a:pt x="2508452" y="63568"/>
                </a:lnTo>
                <a:cubicBezTo>
                  <a:pt x="2691464" y="63568"/>
                  <a:pt x="2839825" y="211929"/>
                  <a:pt x="2839825" y="394941"/>
                </a:cubicBezTo>
                <a:lnTo>
                  <a:pt x="2839825" y="394941"/>
                </a:lnTo>
                <a:cubicBezTo>
                  <a:pt x="2839825" y="577953"/>
                  <a:pt x="2691464" y="726314"/>
                  <a:pt x="2508452" y="726314"/>
                </a:cubicBezTo>
                <a:lnTo>
                  <a:pt x="1769649" y="728696"/>
                </a:lnTo>
              </a:path>
            </a:pathLst>
          </a:custGeom>
          <a:noFill/>
          <a:ln w="9525" cap="rnd">
            <a:solidFill>
              <a:schemeClr val="accent6">
                <a:lumMod val="50000"/>
              </a:schemeClr>
            </a:solidFill>
            <a:rou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2" name="Ellipse 148">
            <a:extLst>
              <a:ext uri="{FF2B5EF4-FFF2-40B4-BE49-F238E27FC236}">
                <a16:creationId xmlns:a16="http://schemas.microsoft.com/office/drawing/2014/main" id="{6741335E-EF42-843C-D5BB-D10C52FAA782}"/>
              </a:ext>
            </a:extLst>
          </p:cNvPr>
          <p:cNvSpPr/>
          <p:nvPr/>
        </p:nvSpPr>
        <p:spPr bwMode="auto">
          <a:xfrm rot="10002339">
            <a:off x="5668693" y="8268075"/>
            <a:ext cx="67646" cy="67646"/>
          </a:xfrm>
          <a:prstGeom prst="ellipse">
            <a:avLst/>
          </a:prstGeom>
          <a:noFill/>
          <a:ln w="9525" cap="flat" cmpd="sng" algn="ctr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5pPr>
            <a:lvl6pPr marL="2286000" algn="l" defTabSz="457200" rtl="0" eaLnBrk="1" latinLnBrk="0" hangingPunct="1"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6pPr>
            <a:lvl7pPr marL="2743200" algn="l" defTabSz="457200" rtl="0" eaLnBrk="1" latinLnBrk="0" hangingPunct="1"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7pPr>
            <a:lvl8pPr marL="3200400" algn="l" defTabSz="457200" rtl="0" eaLnBrk="1" latinLnBrk="0" hangingPunct="1"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8pPr>
            <a:lvl9pPr marL="3657600" algn="l" defTabSz="457200" rtl="0" eaLnBrk="1" latinLnBrk="0" hangingPunct="1"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EC8A00"/>
              </a:solidFill>
              <a:effectLst/>
              <a:uLnTx/>
              <a:uFillTx/>
              <a:latin typeface="Aptos" panose="02110004020202020204"/>
              <a:ea typeface="ＭＳ Ｐゴシック" charset="0"/>
            </a:endParaRPr>
          </a:p>
        </p:txBody>
      </p:sp>
      <p:sp>
        <p:nvSpPr>
          <p:cNvPr id="63" name="Freeform: Shape 1225">
            <a:extLst>
              <a:ext uri="{FF2B5EF4-FFF2-40B4-BE49-F238E27FC236}">
                <a16:creationId xmlns:a16="http://schemas.microsoft.com/office/drawing/2014/main" id="{E013F433-4867-64D4-FDD0-1F5640748849}"/>
              </a:ext>
            </a:extLst>
          </p:cNvPr>
          <p:cNvSpPr/>
          <p:nvPr/>
        </p:nvSpPr>
        <p:spPr bwMode="auto">
          <a:xfrm rot="10002339">
            <a:off x="5664832" y="8268533"/>
            <a:ext cx="67515" cy="33498"/>
          </a:xfrm>
          <a:custGeom>
            <a:avLst/>
            <a:gdLst>
              <a:gd name="connsiteX0" fmla="*/ 0 w 183556"/>
              <a:gd name="connsiteY0" fmla="*/ 0 h 91073"/>
              <a:gd name="connsiteX1" fmla="*/ 183556 w 183556"/>
              <a:gd name="connsiteY1" fmla="*/ 0 h 91073"/>
              <a:gd name="connsiteX2" fmla="*/ 176508 w 183556"/>
              <a:gd name="connsiteY2" fmla="*/ 34911 h 91073"/>
              <a:gd name="connsiteX3" fmla="*/ 91778 w 183556"/>
              <a:gd name="connsiteY3" fmla="*/ 91073 h 91073"/>
              <a:gd name="connsiteX4" fmla="*/ 7048 w 183556"/>
              <a:gd name="connsiteY4" fmla="*/ 34911 h 910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3556" h="91073">
                <a:moveTo>
                  <a:pt x="0" y="0"/>
                </a:moveTo>
                <a:lnTo>
                  <a:pt x="183556" y="0"/>
                </a:lnTo>
                <a:lnTo>
                  <a:pt x="176508" y="34911"/>
                </a:lnTo>
                <a:cubicBezTo>
                  <a:pt x="162548" y="67915"/>
                  <a:pt x="129868" y="91073"/>
                  <a:pt x="91778" y="91073"/>
                </a:cubicBezTo>
                <a:cubicBezTo>
                  <a:pt x="53689" y="91073"/>
                  <a:pt x="21008" y="67915"/>
                  <a:pt x="7048" y="34911"/>
                </a:cubicBezTo>
                <a:close/>
              </a:path>
            </a:pathLst>
          </a:custGeom>
          <a:noFill/>
          <a:ln w="9525" cap="flat" cmpd="sng" algn="ctr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5pPr>
            <a:lvl6pPr marL="2286000" algn="l" defTabSz="457200" rtl="0" eaLnBrk="1" latinLnBrk="0" hangingPunct="1"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6pPr>
            <a:lvl7pPr marL="2743200" algn="l" defTabSz="457200" rtl="0" eaLnBrk="1" latinLnBrk="0" hangingPunct="1"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7pPr>
            <a:lvl8pPr marL="3200400" algn="l" defTabSz="457200" rtl="0" eaLnBrk="1" latinLnBrk="0" hangingPunct="1"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8pPr>
            <a:lvl9pPr marL="3657600" algn="l" defTabSz="457200" rtl="0" eaLnBrk="1" latinLnBrk="0" hangingPunct="1"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EC8A00"/>
              </a:solidFill>
              <a:effectLst/>
              <a:uLnTx/>
              <a:uFillTx/>
              <a:latin typeface="Aptos" panose="02110004020202020204"/>
              <a:ea typeface="ＭＳ Ｐゴシック" charset="0"/>
            </a:endParaRPr>
          </a:p>
        </p:txBody>
      </p:sp>
      <p:sp>
        <p:nvSpPr>
          <p:cNvPr id="64" name="Ellipse 148">
            <a:extLst>
              <a:ext uri="{FF2B5EF4-FFF2-40B4-BE49-F238E27FC236}">
                <a16:creationId xmlns:a16="http://schemas.microsoft.com/office/drawing/2014/main" id="{74BE4881-8350-E7CB-9CFC-0119F75D679E}"/>
              </a:ext>
            </a:extLst>
          </p:cNvPr>
          <p:cNvSpPr/>
          <p:nvPr/>
        </p:nvSpPr>
        <p:spPr bwMode="auto">
          <a:xfrm rot="13375340">
            <a:off x="5778861" y="8264102"/>
            <a:ext cx="56399" cy="115694"/>
          </a:xfrm>
          <a:prstGeom prst="ellipse">
            <a:avLst/>
          </a:prstGeom>
          <a:noFill/>
          <a:ln w="9525" cap="flat" cmpd="sng" algn="ctr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5pPr>
            <a:lvl6pPr marL="2286000" algn="l" defTabSz="457200" rtl="0" eaLnBrk="1" latinLnBrk="0" hangingPunct="1"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6pPr>
            <a:lvl7pPr marL="2743200" algn="l" defTabSz="457200" rtl="0" eaLnBrk="1" latinLnBrk="0" hangingPunct="1"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7pPr>
            <a:lvl8pPr marL="3200400" algn="l" defTabSz="457200" rtl="0" eaLnBrk="1" latinLnBrk="0" hangingPunct="1"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8pPr>
            <a:lvl9pPr marL="3657600" algn="l" defTabSz="457200" rtl="0" eaLnBrk="1" latinLnBrk="0" hangingPunct="1"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EC8A00"/>
              </a:solidFill>
              <a:effectLst/>
              <a:uLnTx/>
              <a:uFillTx/>
              <a:latin typeface="Aptos" panose="02110004020202020204"/>
              <a:ea typeface="ＭＳ Ｐゴシック" charset="0"/>
            </a:endParaRPr>
          </a:p>
        </p:txBody>
      </p:sp>
      <p:sp>
        <p:nvSpPr>
          <p:cNvPr id="65" name="Freeform: Shape 1228">
            <a:extLst>
              <a:ext uri="{FF2B5EF4-FFF2-40B4-BE49-F238E27FC236}">
                <a16:creationId xmlns:a16="http://schemas.microsoft.com/office/drawing/2014/main" id="{A76A4CBD-757C-F0A8-BF2B-8D7642983FCD}"/>
              </a:ext>
            </a:extLst>
          </p:cNvPr>
          <p:cNvSpPr/>
          <p:nvPr/>
        </p:nvSpPr>
        <p:spPr bwMode="auto">
          <a:xfrm rot="13375340">
            <a:off x="5758993" y="8314815"/>
            <a:ext cx="56261" cy="57143"/>
          </a:xfrm>
          <a:custGeom>
            <a:avLst/>
            <a:gdLst>
              <a:gd name="connsiteX0" fmla="*/ 61462 w 122925"/>
              <a:gd name="connsiteY0" fmla="*/ 0 h 124853"/>
              <a:gd name="connsiteX1" fmla="*/ 118234 w 122925"/>
              <a:gd name="connsiteY1" fmla="*/ 77194 h 124853"/>
              <a:gd name="connsiteX2" fmla="*/ 122925 w 122925"/>
              <a:gd name="connsiteY2" fmla="*/ 124853 h 124853"/>
              <a:gd name="connsiteX3" fmla="*/ 0 w 122925"/>
              <a:gd name="connsiteY3" fmla="*/ 124853 h 124853"/>
              <a:gd name="connsiteX4" fmla="*/ 4690 w 122925"/>
              <a:gd name="connsiteY4" fmla="*/ 77194 h 124853"/>
              <a:gd name="connsiteX5" fmla="*/ 61462 w 122925"/>
              <a:gd name="connsiteY5" fmla="*/ 0 h 1248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2925" h="124853">
                <a:moveTo>
                  <a:pt x="61462" y="0"/>
                </a:moveTo>
                <a:cubicBezTo>
                  <a:pt x="86983" y="0"/>
                  <a:pt x="108881" y="31830"/>
                  <a:pt x="118234" y="77194"/>
                </a:cubicBezTo>
                <a:lnTo>
                  <a:pt x="122925" y="124853"/>
                </a:lnTo>
                <a:lnTo>
                  <a:pt x="0" y="124853"/>
                </a:lnTo>
                <a:lnTo>
                  <a:pt x="4690" y="77194"/>
                </a:lnTo>
                <a:cubicBezTo>
                  <a:pt x="14044" y="31830"/>
                  <a:pt x="35941" y="0"/>
                  <a:pt x="61462" y="0"/>
                </a:cubicBezTo>
                <a:close/>
              </a:path>
            </a:pathLst>
          </a:custGeom>
          <a:noFill/>
          <a:ln w="9525" cap="flat" cmpd="sng" algn="ctr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5pPr>
            <a:lvl6pPr marL="2286000" algn="l" defTabSz="457200" rtl="0" eaLnBrk="1" latinLnBrk="0" hangingPunct="1"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6pPr>
            <a:lvl7pPr marL="2743200" algn="l" defTabSz="457200" rtl="0" eaLnBrk="1" latinLnBrk="0" hangingPunct="1"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7pPr>
            <a:lvl8pPr marL="3200400" algn="l" defTabSz="457200" rtl="0" eaLnBrk="1" latinLnBrk="0" hangingPunct="1"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8pPr>
            <a:lvl9pPr marL="3657600" algn="l" defTabSz="457200" rtl="0" eaLnBrk="1" latinLnBrk="0" hangingPunct="1"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EC8A00"/>
              </a:solidFill>
              <a:effectLst/>
              <a:uLnTx/>
              <a:uFillTx/>
              <a:latin typeface="Aptos" panose="02110004020202020204"/>
              <a:ea typeface="ＭＳ Ｐゴシック" charset="0"/>
            </a:endParaRPr>
          </a:p>
        </p:txBody>
      </p:sp>
      <p:sp>
        <p:nvSpPr>
          <p:cNvPr id="66" name="Rectangle: Rounded Corners 65">
            <a:extLst>
              <a:ext uri="{FF2B5EF4-FFF2-40B4-BE49-F238E27FC236}">
                <a16:creationId xmlns:a16="http://schemas.microsoft.com/office/drawing/2014/main" id="{E3FD12D8-8399-3038-88AB-7676170A5903}"/>
              </a:ext>
            </a:extLst>
          </p:cNvPr>
          <p:cNvSpPr/>
          <p:nvPr/>
        </p:nvSpPr>
        <p:spPr>
          <a:xfrm rot="20997418">
            <a:off x="5209125" y="8959520"/>
            <a:ext cx="27873" cy="126659"/>
          </a:xfrm>
          <a:prstGeom prst="roundRect">
            <a:avLst>
              <a:gd name="adj" fmla="val 30693"/>
            </a:avLst>
          </a:prstGeom>
          <a:noFill/>
          <a:ln w="12700" cap="rnd">
            <a:solidFill>
              <a:schemeClr val="accent6">
                <a:lumMod val="50000"/>
              </a:schemeClr>
            </a:solidFill>
            <a:round/>
          </a:ln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7" name="Freeform: Shape 223">
            <a:extLst>
              <a:ext uri="{FF2B5EF4-FFF2-40B4-BE49-F238E27FC236}">
                <a16:creationId xmlns:a16="http://schemas.microsoft.com/office/drawing/2014/main" id="{8A74362C-A2BD-2FB6-801B-B55AD048A2FD}"/>
              </a:ext>
            </a:extLst>
          </p:cNvPr>
          <p:cNvSpPr/>
          <p:nvPr/>
        </p:nvSpPr>
        <p:spPr>
          <a:xfrm rot="20997418">
            <a:off x="5228812" y="8866993"/>
            <a:ext cx="172779" cy="201668"/>
          </a:xfrm>
          <a:custGeom>
            <a:avLst/>
            <a:gdLst>
              <a:gd name="connsiteX0" fmla="*/ 0 w 2376487"/>
              <a:gd name="connsiteY0" fmla="*/ 2633662 h 2838450"/>
              <a:gd name="connsiteX1" fmla="*/ 0 w 2376487"/>
              <a:gd name="connsiteY1" fmla="*/ 1295400 h 2838450"/>
              <a:gd name="connsiteX2" fmla="*/ 385762 w 2376487"/>
              <a:gd name="connsiteY2" fmla="*/ 1252537 h 2838450"/>
              <a:gd name="connsiteX3" fmla="*/ 576262 w 2376487"/>
              <a:gd name="connsiteY3" fmla="*/ 914400 h 2838450"/>
              <a:gd name="connsiteX4" fmla="*/ 981075 w 2376487"/>
              <a:gd name="connsiteY4" fmla="*/ 685800 h 2838450"/>
              <a:gd name="connsiteX5" fmla="*/ 1143000 w 2376487"/>
              <a:gd name="connsiteY5" fmla="*/ 128587 h 2838450"/>
              <a:gd name="connsiteX6" fmla="*/ 1323975 w 2376487"/>
              <a:gd name="connsiteY6" fmla="*/ 0 h 2838450"/>
              <a:gd name="connsiteX7" fmla="*/ 1585912 w 2376487"/>
              <a:gd name="connsiteY7" fmla="*/ 414337 h 2838450"/>
              <a:gd name="connsiteX8" fmla="*/ 1409700 w 2376487"/>
              <a:gd name="connsiteY8" fmla="*/ 1033462 h 2838450"/>
              <a:gd name="connsiteX9" fmla="*/ 2238375 w 2376487"/>
              <a:gd name="connsiteY9" fmla="*/ 1152525 h 2838450"/>
              <a:gd name="connsiteX10" fmla="*/ 2376487 w 2376487"/>
              <a:gd name="connsiteY10" fmla="*/ 1371600 h 2838450"/>
              <a:gd name="connsiteX11" fmla="*/ 2224087 w 2376487"/>
              <a:gd name="connsiteY11" fmla="*/ 1590675 h 2838450"/>
              <a:gd name="connsiteX12" fmla="*/ 2352675 w 2376487"/>
              <a:gd name="connsiteY12" fmla="*/ 1828800 h 2838450"/>
              <a:gd name="connsiteX13" fmla="*/ 2133600 w 2376487"/>
              <a:gd name="connsiteY13" fmla="*/ 2033587 h 2838450"/>
              <a:gd name="connsiteX14" fmla="*/ 2224087 w 2376487"/>
              <a:gd name="connsiteY14" fmla="*/ 2281237 h 2838450"/>
              <a:gd name="connsiteX15" fmla="*/ 1952625 w 2376487"/>
              <a:gd name="connsiteY15" fmla="*/ 2462212 h 2838450"/>
              <a:gd name="connsiteX16" fmla="*/ 2028825 w 2376487"/>
              <a:gd name="connsiteY16" fmla="*/ 2657475 h 2838450"/>
              <a:gd name="connsiteX17" fmla="*/ 1857375 w 2376487"/>
              <a:gd name="connsiteY17" fmla="*/ 2838450 h 2838450"/>
              <a:gd name="connsiteX18" fmla="*/ 923925 w 2376487"/>
              <a:gd name="connsiteY18" fmla="*/ 2809875 h 2838450"/>
              <a:gd name="connsiteX19" fmla="*/ 476250 w 2376487"/>
              <a:gd name="connsiteY19" fmla="*/ 2657475 h 2838450"/>
              <a:gd name="connsiteX20" fmla="*/ 0 w 2376487"/>
              <a:gd name="connsiteY20" fmla="*/ 2633662 h 2838450"/>
              <a:gd name="connsiteX0" fmla="*/ 0 w 2376487"/>
              <a:gd name="connsiteY0" fmla="*/ 2633662 h 2838450"/>
              <a:gd name="connsiteX1" fmla="*/ 0 w 2376487"/>
              <a:gd name="connsiteY1" fmla="*/ 1295400 h 2838450"/>
              <a:gd name="connsiteX2" fmla="*/ 385762 w 2376487"/>
              <a:gd name="connsiteY2" fmla="*/ 1252537 h 2838450"/>
              <a:gd name="connsiteX3" fmla="*/ 576262 w 2376487"/>
              <a:gd name="connsiteY3" fmla="*/ 914400 h 2838450"/>
              <a:gd name="connsiteX4" fmla="*/ 981075 w 2376487"/>
              <a:gd name="connsiteY4" fmla="*/ 685800 h 2838450"/>
              <a:gd name="connsiteX5" fmla="*/ 1143000 w 2376487"/>
              <a:gd name="connsiteY5" fmla="*/ 128587 h 2838450"/>
              <a:gd name="connsiteX6" fmla="*/ 1323975 w 2376487"/>
              <a:gd name="connsiteY6" fmla="*/ 0 h 2838450"/>
              <a:gd name="connsiteX7" fmla="*/ 1585912 w 2376487"/>
              <a:gd name="connsiteY7" fmla="*/ 414337 h 2838450"/>
              <a:gd name="connsiteX8" fmla="*/ 1409700 w 2376487"/>
              <a:gd name="connsiteY8" fmla="*/ 1033462 h 2838450"/>
              <a:gd name="connsiteX9" fmla="*/ 2238375 w 2376487"/>
              <a:gd name="connsiteY9" fmla="*/ 1152525 h 2838450"/>
              <a:gd name="connsiteX10" fmla="*/ 2376487 w 2376487"/>
              <a:gd name="connsiteY10" fmla="*/ 1371600 h 2838450"/>
              <a:gd name="connsiteX11" fmla="*/ 2224087 w 2376487"/>
              <a:gd name="connsiteY11" fmla="*/ 1590675 h 2838450"/>
              <a:gd name="connsiteX12" fmla="*/ 2352675 w 2376487"/>
              <a:gd name="connsiteY12" fmla="*/ 1828800 h 2838450"/>
              <a:gd name="connsiteX13" fmla="*/ 2133600 w 2376487"/>
              <a:gd name="connsiteY13" fmla="*/ 2033587 h 2838450"/>
              <a:gd name="connsiteX14" fmla="*/ 2224087 w 2376487"/>
              <a:gd name="connsiteY14" fmla="*/ 2281237 h 2838450"/>
              <a:gd name="connsiteX15" fmla="*/ 1952625 w 2376487"/>
              <a:gd name="connsiteY15" fmla="*/ 2462212 h 2838450"/>
              <a:gd name="connsiteX16" fmla="*/ 2028825 w 2376487"/>
              <a:gd name="connsiteY16" fmla="*/ 2657475 h 2838450"/>
              <a:gd name="connsiteX17" fmla="*/ 1857375 w 2376487"/>
              <a:gd name="connsiteY17" fmla="*/ 2838450 h 2838450"/>
              <a:gd name="connsiteX18" fmla="*/ 923925 w 2376487"/>
              <a:gd name="connsiteY18" fmla="*/ 2809875 h 2838450"/>
              <a:gd name="connsiteX19" fmla="*/ 476250 w 2376487"/>
              <a:gd name="connsiteY19" fmla="*/ 2657475 h 2838450"/>
              <a:gd name="connsiteX20" fmla="*/ 0 w 2376487"/>
              <a:gd name="connsiteY20" fmla="*/ 2633662 h 2838450"/>
              <a:gd name="connsiteX0" fmla="*/ 0 w 2376487"/>
              <a:gd name="connsiteY0" fmla="*/ 2633662 h 2838450"/>
              <a:gd name="connsiteX1" fmla="*/ 0 w 2376487"/>
              <a:gd name="connsiteY1" fmla="*/ 1295400 h 2838450"/>
              <a:gd name="connsiteX2" fmla="*/ 385762 w 2376487"/>
              <a:gd name="connsiteY2" fmla="*/ 1252537 h 2838450"/>
              <a:gd name="connsiteX3" fmla="*/ 616744 w 2376487"/>
              <a:gd name="connsiteY3" fmla="*/ 950118 h 2838450"/>
              <a:gd name="connsiteX4" fmla="*/ 981075 w 2376487"/>
              <a:gd name="connsiteY4" fmla="*/ 685800 h 2838450"/>
              <a:gd name="connsiteX5" fmla="*/ 1143000 w 2376487"/>
              <a:gd name="connsiteY5" fmla="*/ 128587 h 2838450"/>
              <a:gd name="connsiteX6" fmla="*/ 1323975 w 2376487"/>
              <a:gd name="connsiteY6" fmla="*/ 0 h 2838450"/>
              <a:gd name="connsiteX7" fmla="*/ 1585912 w 2376487"/>
              <a:gd name="connsiteY7" fmla="*/ 414337 h 2838450"/>
              <a:gd name="connsiteX8" fmla="*/ 1409700 w 2376487"/>
              <a:gd name="connsiteY8" fmla="*/ 1033462 h 2838450"/>
              <a:gd name="connsiteX9" fmla="*/ 2238375 w 2376487"/>
              <a:gd name="connsiteY9" fmla="*/ 1152525 h 2838450"/>
              <a:gd name="connsiteX10" fmla="*/ 2376487 w 2376487"/>
              <a:gd name="connsiteY10" fmla="*/ 1371600 h 2838450"/>
              <a:gd name="connsiteX11" fmla="*/ 2224087 w 2376487"/>
              <a:gd name="connsiteY11" fmla="*/ 1590675 h 2838450"/>
              <a:gd name="connsiteX12" fmla="*/ 2352675 w 2376487"/>
              <a:gd name="connsiteY12" fmla="*/ 1828800 h 2838450"/>
              <a:gd name="connsiteX13" fmla="*/ 2133600 w 2376487"/>
              <a:gd name="connsiteY13" fmla="*/ 2033587 h 2838450"/>
              <a:gd name="connsiteX14" fmla="*/ 2224087 w 2376487"/>
              <a:gd name="connsiteY14" fmla="*/ 2281237 h 2838450"/>
              <a:gd name="connsiteX15" fmla="*/ 1952625 w 2376487"/>
              <a:gd name="connsiteY15" fmla="*/ 2462212 h 2838450"/>
              <a:gd name="connsiteX16" fmla="*/ 2028825 w 2376487"/>
              <a:gd name="connsiteY16" fmla="*/ 2657475 h 2838450"/>
              <a:gd name="connsiteX17" fmla="*/ 1857375 w 2376487"/>
              <a:gd name="connsiteY17" fmla="*/ 2838450 h 2838450"/>
              <a:gd name="connsiteX18" fmla="*/ 923925 w 2376487"/>
              <a:gd name="connsiteY18" fmla="*/ 2809875 h 2838450"/>
              <a:gd name="connsiteX19" fmla="*/ 476250 w 2376487"/>
              <a:gd name="connsiteY19" fmla="*/ 2657475 h 2838450"/>
              <a:gd name="connsiteX20" fmla="*/ 0 w 2376487"/>
              <a:gd name="connsiteY20" fmla="*/ 2633662 h 2838450"/>
              <a:gd name="connsiteX0" fmla="*/ 0 w 2376487"/>
              <a:gd name="connsiteY0" fmla="*/ 2633662 h 2838450"/>
              <a:gd name="connsiteX1" fmla="*/ 0 w 2376487"/>
              <a:gd name="connsiteY1" fmla="*/ 1295400 h 2838450"/>
              <a:gd name="connsiteX2" fmla="*/ 385762 w 2376487"/>
              <a:gd name="connsiteY2" fmla="*/ 1252537 h 2838450"/>
              <a:gd name="connsiteX3" fmla="*/ 616744 w 2376487"/>
              <a:gd name="connsiteY3" fmla="*/ 950118 h 2838450"/>
              <a:gd name="connsiteX4" fmla="*/ 981075 w 2376487"/>
              <a:gd name="connsiteY4" fmla="*/ 685800 h 2838450"/>
              <a:gd name="connsiteX5" fmla="*/ 1143000 w 2376487"/>
              <a:gd name="connsiteY5" fmla="*/ 128587 h 2838450"/>
              <a:gd name="connsiteX6" fmla="*/ 1323975 w 2376487"/>
              <a:gd name="connsiteY6" fmla="*/ 0 h 2838450"/>
              <a:gd name="connsiteX7" fmla="*/ 1585912 w 2376487"/>
              <a:gd name="connsiteY7" fmla="*/ 414337 h 2838450"/>
              <a:gd name="connsiteX8" fmla="*/ 1409700 w 2376487"/>
              <a:gd name="connsiteY8" fmla="*/ 1033462 h 2838450"/>
              <a:gd name="connsiteX9" fmla="*/ 2238375 w 2376487"/>
              <a:gd name="connsiteY9" fmla="*/ 1152525 h 2838450"/>
              <a:gd name="connsiteX10" fmla="*/ 2376487 w 2376487"/>
              <a:gd name="connsiteY10" fmla="*/ 1371600 h 2838450"/>
              <a:gd name="connsiteX11" fmla="*/ 2224087 w 2376487"/>
              <a:gd name="connsiteY11" fmla="*/ 1590675 h 2838450"/>
              <a:gd name="connsiteX12" fmla="*/ 2352675 w 2376487"/>
              <a:gd name="connsiteY12" fmla="*/ 1828800 h 2838450"/>
              <a:gd name="connsiteX13" fmla="*/ 2133600 w 2376487"/>
              <a:gd name="connsiteY13" fmla="*/ 2033587 h 2838450"/>
              <a:gd name="connsiteX14" fmla="*/ 2224087 w 2376487"/>
              <a:gd name="connsiteY14" fmla="*/ 2281237 h 2838450"/>
              <a:gd name="connsiteX15" fmla="*/ 1952625 w 2376487"/>
              <a:gd name="connsiteY15" fmla="*/ 2462212 h 2838450"/>
              <a:gd name="connsiteX16" fmla="*/ 2028825 w 2376487"/>
              <a:gd name="connsiteY16" fmla="*/ 2657475 h 2838450"/>
              <a:gd name="connsiteX17" fmla="*/ 1857375 w 2376487"/>
              <a:gd name="connsiteY17" fmla="*/ 2838450 h 2838450"/>
              <a:gd name="connsiteX18" fmla="*/ 923925 w 2376487"/>
              <a:gd name="connsiteY18" fmla="*/ 2809875 h 2838450"/>
              <a:gd name="connsiteX19" fmla="*/ 476250 w 2376487"/>
              <a:gd name="connsiteY19" fmla="*/ 2657475 h 2838450"/>
              <a:gd name="connsiteX20" fmla="*/ 0 w 2376487"/>
              <a:gd name="connsiteY20" fmla="*/ 2633662 h 2838450"/>
              <a:gd name="connsiteX0" fmla="*/ 0 w 2376487"/>
              <a:gd name="connsiteY0" fmla="*/ 2633662 h 2838450"/>
              <a:gd name="connsiteX1" fmla="*/ 0 w 2376487"/>
              <a:gd name="connsiteY1" fmla="*/ 1295400 h 2838450"/>
              <a:gd name="connsiteX2" fmla="*/ 385762 w 2376487"/>
              <a:gd name="connsiteY2" fmla="*/ 1252537 h 2838450"/>
              <a:gd name="connsiteX3" fmla="*/ 616744 w 2376487"/>
              <a:gd name="connsiteY3" fmla="*/ 950118 h 2838450"/>
              <a:gd name="connsiteX4" fmla="*/ 981075 w 2376487"/>
              <a:gd name="connsiteY4" fmla="*/ 685800 h 2838450"/>
              <a:gd name="connsiteX5" fmla="*/ 1143000 w 2376487"/>
              <a:gd name="connsiteY5" fmla="*/ 128587 h 2838450"/>
              <a:gd name="connsiteX6" fmla="*/ 1323975 w 2376487"/>
              <a:gd name="connsiteY6" fmla="*/ 0 h 2838450"/>
              <a:gd name="connsiteX7" fmla="*/ 1585912 w 2376487"/>
              <a:gd name="connsiteY7" fmla="*/ 414337 h 2838450"/>
              <a:gd name="connsiteX8" fmla="*/ 1409700 w 2376487"/>
              <a:gd name="connsiteY8" fmla="*/ 1033462 h 2838450"/>
              <a:gd name="connsiteX9" fmla="*/ 2238375 w 2376487"/>
              <a:gd name="connsiteY9" fmla="*/ 1152525 h 2838450"/>
              <a:gd name="connsiteX10" fmla="*/ 2376487 w 2376487"/>
              <a:gd name="connsiteY10" fmla="*/ 1371600 h 2838450"/>
              <a:gd name="connsiteX11" fmla="*/ 2224087 w 2376487"/>
              <a:gd name="connsiteY11" fmla="*/ 1590675 h 2838450"/>
              <a:gd name="connsiteX12" fmla="*/ 2352675 w 2376487"/>
              <a:gd name="connsiteY12" fmla="*/ 1828800 h 2838450"/>
              <a:gd name="connsiteX13" fmla="*/ 2133600 w 2376487"/>
              <a:gd name="connsiteY13" fmla="*/ 2033587 h 2838450"/>
              <a:gd name="connsiteX14" fmla="*/ 2224087 w 2376487"/>
              <a:gd name="connsiteY14" fmla="*/ 2281237 h 2838450"/>
              <a:gd name="connsiteX15" fmla="*/ 1952625 w 2376487"/>
              <a:gd name="connsiteY15" fmla="*/ 2462212 h 2838450"/>
              <a:gd name="connsiteX16" fmla="*/ 2028825 w 2376487"/>
              <a:gd name="connsiteY16" fmla="*/ 2657475 h 2838450"/>
              <a:gd name="connsiteX17" fmla="*/ 1857375 w 2376487"/>
              <a:gd name="connsiteY17" fmla="*/ 2838450 h 2838450"/>
              <a:gd name="connsiteX18" fmla="*/ 923925 w 2376487"/>
              <a:gd name="connsiteY18" fmla="*/ 2809875 h 2838450"/>
              <a:gd name="connsiteX19" fmla="*/ 476250 w 2376487"/>
              <a:gd name="connsiteY19" fmla="*/ 2657475 h 2838450"/>
              <a:gd name="connsiteX20" fmla="*/ 0 w 2376487"/>
              <a:gd name="connsiteY20" fmla="*/ 2633662 h 2838450"/>
              <a:gd name="connsiteX0" fmla="*/ 0 w 2376487"/>
              <a:gd name="connsiteY0" fmla="*/ 2569368 h 2774156"/>
              <a:gd name="connsiteX1" fmla="*/ 0 w 2376487"/>
              <a:gd name="connsiteY1" fmla="*/ 1231106 h 2774156"/>
              <a:gd name="connsiteX2" fmla="*/ 385762 w 2376487"/>
              <a:gd name="connsiteY2" fmla="*/ 1188243 h 2774156"/>
              <a:gd name="connsiteX3" fmla="*/ 616744 w 2376487"/>
              <a:gd name="connsiteY3" fmla="*/ 885824 h 2774156"/>
              <a:gd name="connsiteX4" fmla="*/ 981075 w 2376487"/>
              <a:gd name="connsiteY4" fmla="*/ 621506 h 2774156"/>
              <a:gd name="connsiteX5" fmla="*/ 1143000 w 2376487"/>
              <a:gd name="connsiteY5" fmla="*/ 64293 h 2774156"/>
              <a:gd name="connsiteX6" fmla="*/ 1369219 w 2376487"/>
              <a:gd name="connsiteY6" fmla="*/ 0 h 2774156"/>
              <a:gd name="connsiteX7" fmla="*/ 1585912 w 2376487"/>
              <a:gd name="connsiteY7" fmla="*/ 350043 h 2774156"/>
              <a:gd name="connsiteX8" fmla="*/ 1409700 w 2376487"/>
              <a:gd name="connsiteY8" fmla="*/ 969168 h 2774156"/>
              <a:gd name="connsiteX9" fmla="*/ 2238375 w 2376487"/>
              <a:gd name="connsiteY9" fmla="*/ 1088231 h 2774156"/>
              <a:gd name="connsiteX10" fmla="*/ 2376487 w 2376487"/>
              <a:gd name="connsiteY10" fmla="*/ 1307306 h 2774156"/>
              <a:gd name="connsiteX11" fmla="*/ 2224087 w 2376487"/>
              <a:gd name="connsiteY11" fmla="*/ 1526381 h 2774156"/>
              <a:gd name="connsiteX12" fmla="*/ 2352675 w 2376487"/>
              <a:gd name="connsiteY12" fmla="*/ 1764506 h 2774156"/>
              <a:gd name="connsiteX13" fmla="*/ 2133600 w 2376487"/>
              <a:gd name="connsiteY13" fmla="*/ 1969293 h 2774156"/>
              <a:gd name="connsiteX14" fmla="*/ 2224087 w 2376487"/>
              <a:gd name="connsiteY14" fmla="*/ 2216943 h 2774156"/>
              <a:gd name="connsiteX15" fmla="*/ 1952625 w 2376487"/>
              <a:gd name="connsiteY15" fmla="*/ 2397918 h 2774156"/>
              <a:gd name="connsiteX16" fmla="*/ 2028825 w 2376487"/>
              <a:gd name="connsiteY16" fmla="*/ 2593181 h 2774156"/>
              <a:gd name="connsiteX17" fmla="*/ 1857375 w 2376487"/>
              <a:gd name="connsiteY17" fmla="*/ 2774156 h 2774156"/>
              <a:gd name="connsiteX18" fmla="*/ 923925 w 2376487"/>
              <a:gd name="connsiteY18" fmla="*/ 2745581 h 2774156"/>
              <a:gd name="connsiteX19" fmla="*/ 476250 w 2376487"/>
              <a:gd name="connsiteY19" fmla="*/ 2593181 h 2774156"/>
              <a:gd name="connsiteX20" fmla="*/ 0 w 2376487"/>
              <a:gd name="connsiteY20" fmla="*/ 2569368 h 2774156"/>
              <a:gd name="connsiteX0" fmla="*/ 0 w 2376487"/>
              <a:gd name="connsiteY0" fmla="*/ 2572274 h 2777062"/>
              <a:gd name="connsiteX1" fmla="*/ 0 w 2376487"/>
              <a:gd name="connsiteY1" fmla="*/ 1234012 h 2777062"/>
              <a:gd name="connsiteX2" fmla="*/ 385762 w 2376487"/>
              <a:gd name="connsiteY2" fmla="*/ 1191149 h 2777062"/>
              <a:gd name="connsiteX3" fmla="*/ 616744 w 2376487"/>
              <a:gd name="connsiteY3" fmla="*/ 888730 h 2777062"/>
              <a:gd name="connsiteX4" fmla="*/ 981075 w 2376487"/>
              <a:gd name="connsiteY4" fmla="*/ 624412 h 2777062"/>
              <a:gd name="connsiteX5" fmla="*/ 1143000 w 2376487"/>
              <a:gd name="connsiteY5" fmla="*/ 67199 h 2777062"/>
              <a:gd name="connsiteX6" fmla="*/ 1369219 w 2376487"/>
              <a:gd name="connsiteY6" fmla="*/ 2906 h 2777062"/>
              <a:gd name="connsiteX7" fmla="*/ 1585912 w 2376487"/>
              <a:gd name="connsiteY7" fmla="*/ 352949 h 2777062"/>
              <a:gd name="connsiteX8" fmla="*/ 1409700 w 2376487"/>
              <a:gd name="connsiteY8" fmla="*/ 972074 h 2777062"/>
              <a:gd name="connsiteX9" fmla="*/ 2238375 w 2376487"/>
              <a:gd name="connsiteY9" fmla="*/ 1091137 h 2777062"/>
              <a:gd name="connsiteX10" fmla="*/ 2376487 w 2376487"/>
              <a:gd name="connsiteY10" fmla="*/ 1310212 h 2777062"/>
              <a:gd name="connsiteX11" fmla="*/ 2224087 w 2376487"/>
              <a:gd name="connsiteY11" fmla="*/ 1529287 h 2777062"/>
              <a:gd name="connsiteX12" fmla="*/ 2352675 w 2376487"/>
              <a:gd name="connsiteY12" fmla="*/ 1767412 h 2777062"/>
              <a:gd name="connsiteX13" fmla="*/ 2133600 w 2376487"/>
              <a:gd name="connsiteY13" fmla="*/ 1972199 h 2777062"/>
              <a:gd name="connsiteX14" fmla="*/ 2224087 w 2376487"/>
              <a:gd name="connsiteY14" fmla="*/ 2219849 h 2777062"/>
              <a:gd name="connsiteX15" fmla="*/ 1952625 w 2376487"/>
              <a:gd name="connsiteY15" fmla="*/ 2400824 h 2777062"/>
              <a:gd name="connsiteX16" fmla="*/ 2028825 w 2376487"/>
              <a:gd name="connsiteY16" fmla="*/ 2596087 h 2777062"/>
              <a:gd name="connsiteX17" fmla="*/ 1857375 w 2376487"/>
              <a:gd name="connsiteY17" fmla="*/ 2777062 h 2777062"/>
              <a:gd name="connsiteX18" fmla="*/ 923925 w 2376487"/>
              <a:gd name="connsiteY18" fmla="*/ 2748487 h 2777062"/>
              <a:gd name="connsiteX19" fmla="*/ 476250 w 2376487"/>
              <a:gd name="connsiteY19" fmla="*/ 2596087 h 2777062"/>
              <a:gd name="connsiteX20" fmla="*/ 0 w 2376487"/>
              <a:gd name="connsiteY20" fmla="*/ 2572274 h 2777062"/>
              <a:gd name="connsiteX0" fmla="*/ 0 w 2376487"/>
              <a:gd name="connsiteY0" fmla="*/ 2573068 h 2777856"/>
              <a:gd name="connsiteX1" fmla="*/ 0 w 2376487"/>
              <a:gd name="connsiteY1" fmla="*/ 1234806 h 2777856"/>
              <a:gd name="connsiteX2" fmla="*/ 385762 w 2376487"/>
              <a:gd name="connsiteY2" fmla="*/ 1191943 h 2777856"/>
              <a:gd name="connsiteX3" fmla="*/ 616744 w 2376487"/>
              <a:gd name="connsiteY3" fmla="*/ 889524 h 2777856"/>
              <a:gd name="connsiteX4" fmla="*/ 981075 w 2376487"/>
              <a:gd name="connsiteY4" fmla="*/ 625206 h 2777856"/>
              <a:gd name="connsiteX5" fmla="*/ 1143000 w 2376487"/>
              <a:gd name="connsiteY5" fmla="*/ 67993 h 2777856"/>
              <a:gd name="connsiteX6" fmla="*/ 1369219 w 2376487"/>
              <a:gd name="connsiteY6" fmla="*/ 3700 h 2777856"/>
              <a:gd name="connsiteX7" fmla="*/ 1585912 w 2376487"/>
              <a:gd name="connsiteY7" fmla="*/ 353743 h 2777856"/>
              <a:gd name="connsiteX8" fmla="*/ 1409700 w 2376487"/>
              <a:gd name="connsiteY8" fmla="*/ 972868 h 2777856"/>
              <a:gd name="connsiteX9" fmla="*/ 2238375 w 2376487"/>
              <a:gd name="connsiteY9" fmla="*/ 1091931 h 2777856"/>
              <a:gd name="connsiteX10" fmla="*/ 2376487 w 2376487"/>
              <a:gd name="connsiteY10" fmla="*/ 1311006 h 2777856"/>
              <a:gd name="connsiteX11" fmla="*/ 2224087 w 2376487"/>
              <a:gd name="connsiteY11" fmla="*/ 1530081 h 2777856"/>
              <a:gd name="connsiteX12" fmla="*/ 2352675 w 2376487"/>
              <a:gd name="connsiteY12" fmla="*/ 1768206 h 2777856"/>
              <a:gd name="connsiteX13" fmla="*/ 2133600 w 2376487"/>
              <a:gd name="connsiteY13" fmla="*/ 1972993 h 2777856"/>
              <a:gd name="connsiteX14" fmla="*/ 2224087 w 2376487"/>
              <a:gd name="connsiteY14" fmla="*/ 2220643 h 2777856"/>
              <a:gd name="connsiteX15" fmla="*/ 1952625 w 2376487"/>
              <a:gd name="connsiteY15" fmla="*/ 2401618 h 2777856"/>
              <a:gd name="connsiteX16" fmla="*/ 2028825 w 2376487"/>
              <a:gd name="connsiteY16" fmla="*/ 2596881 h 2777856"/>
              <a:gd name="connsiteX17" fmla="*/ 1857375 w 2376487"/>
              <a:gd name="connsiteY17" fmla="*/ 2777856 h 2777856"/>
              <a:gd name="connsiteX18" fmla="*/ 923925 w 2376487"/>
              <a:gd name="connsiteY18" fmla="*/ 2749281 h 2777856"/>
              <a:gd name="connsiteX19" fmla="*/ 476250 w 2376487"/>
              <a:gd name="connsiteY19" fmla="*/ 2596881 h 2777856"/>
              <a:gd name="connsiteX20" fmla="*/ 0 w 2376487"/>
              <a:gd name="connsiteY20" fmla="*/ 2573068 h 2777856"/>
              <a:gd name="connsiteX0" fmla="*/ 0 w 2376487"/>
              <a:gd name="connsiteY0" fmla="*/ 2573068 h 2777856"/>
              <a:gd name="connsiteX1" fmla="*/ 0 w 2376487"/>
              <a:gd name="connsiteY1" fmla="*/ 1234806 h 2777856"/>
              <a:gd name="connsiteX2" fmla="*/ 385762 w 2376487"/>
              <a:gd name="connsiteY2" fmla="*/ 1191943 h 2777856"/>
              <a:gd name="connsiteX3" fmla="*/ 616744 w 2376487"/>
              <a:gd name="connsiteY3" fmla="*/ 889524 h 2777856"/>
              <a:gd name="connsiteX4" fmla="*/ 981075 w 2376487"/>
              <a:gd name="connsiteY4" fmla="*/ 625206 h 2777856"/>
              <a:gd name="connsiteX5" fmla="*/ 1143000 w 2376487"/>
              <a:gd name="connsiteY5" fmla="*/ 67993 h 2777856"/>
              <a:gd name="connsiteX6" fmla="*/ 1369219 w 2376487"/>
              <a:gd name="connsiteY6" fmla="*/ 3700 h 2777856"/>
              <a:gd name="connsiteX7" fmla="*/ 1585912 w 2376487"/>
              <a:gd name="connsiteY7" fmla="*/ 353743 h 2777856"/>
              <a:gd name="connsiteX8" fmla="*/ 1409700 w 2376487"/>
              <a:gd name="connsiteY8" fmla="*/ 972868 h 2777856"/>
              <a:gd name="connsiteX9" fmla="*/ 2238375 w 2376487"/>
              <a:gd name="connsiteY9" fmla="*/ 1091931 h 2777856"/>
              <a:gd name="connsiteX10" fmla="*/ 2376487 w 2376487"/>
              <a:gd name="connsiteY10" fmla="*/ 1311006 h 2777856"/>
              <a:gd name="connsiteX11" fmla="*/ 2224087 w 2376487"/>
              <a:gd name="connsiteY11" fmla="*/ 1530081 h 2777856"/>
              <a:gd name="connsiteX12" fmla="*/ 2352675 w 2376487"/>
              <a:gd name="connsiteY12" fmla="*/ 1768206 h 2777856"/>
              <a:gd name="connsiteX13" fmla="*/ 2133600 w 2376487"/>
              <a:gd name="connsiteY13" fmla="*/ 1972993 h 2777856"/>
              <a:gd name="connsiteX14" fmla="*/ 2224087 w 2376487"/>
              <a:gd name="connsiteY14" fmla="*/ 2220643 h 2777856"/>
              <a:gd name="connsiteX15" fmla="*/ 1952625 w 2376487"/>
              <a:gd name="connsiteY15" fmla="*/ 2401618 h 2777856"/>
              <a:gd name="connsiteX16" fmla="*/ 2028825 w 2376487"/>
              <a:gd name="connsiteY16" fmla="*/ 2596881 h 2777856"/>
              <a:gd name="connsiteX17" fmla="*/ 1857375 w 2376487"/>
              <a:gd name="connsiteY17" fmla="*/ 2777856 h 2777856"/>
              <a:gd name="connsiteX18" fmla="*/ 923925 w 2376487"/>
              <a:gd name="connsiteY18" fmla="*/ 2749281 h 2777856"/>
              <a:gd name="connsiteX19" fmla="*/ 476250 w 2376487"/>
              <a:gd name="connsiteY19" fmla="*/ 2596881 h 2777856"/>
              <a:gd name="connsiteX20" fmla="*/ 0 w 2376487"/>
              <a:gd name="connsiteY20" fmla="*/ 2573068 h 2777856"/>
              <a:gd name="connsiteX0" fmla="*/ 0 w 2376487"/>
              <a:gd name="connsiteY0" fmla="*/ 2584705 h 2789493"/>
              <a:gd name="connsiteX1" fmla="*/ 0 w 2376487"/>
              <a:gd name="connsiteY1" fmla="*/ 1246443 h 2789493"/>
              <a:gd name="connsiteX2" fmla="*/ 385762 w 2376487"/>
              <a:gd name="connsiteY2" fmla="*/ 1203580 h 2789493"/>
              <a:gd name="connsiteX3" fmla="*/ 616744 w 2376487"/>
              <a:gd name="connsiteY3" fmla="*/ 901161 h 2789493"/>
              <a:gd name="connsiteX4" fmla="*/ 981075 w 2376487"/>
              <a:gd name="connsiteY4" fmla="*/ 636843 h 2789493"/>
              <a:gd name="connsiteX5" fmla="*/ 1143000 w 2376487"/>
              <a:gd name="connsiteY5" fmla="*/ 79630 h 2789493"/>
              <a:gd name="connsiteX6" fmla="*/ 1369219 w 2376487"/>
              <a:gd name="connsiteY6" fmla="*/ 15337 h 2789493"/>
              <a:gd name="connsiteX7" fmla="*/ 1566862 w 2376487"/>
              <a:gd name="connsiteY7" fmla="*/ 362999 h 2789493"/>
              <a:gd name="connsiteX8" fmla="*/ 1409700 w 2376487"/>
              <a:gd name="connsiteY8" fmla="*/ 984505 h 2789493"/>
              <a:gd name="connsiteX9" fmla="*/ 2238375 w 2376487"/>
              <a:gd name="connsiteY9" fmla="*/ 1103568 h 2789493"/>
              <a:gd name="connsiteX10" fmla="*/ 2376487 w 2376487"/>
              <a:gd name="connsiteY10" fmla="*/ 1322643 h 2789493"/>
              <a:gd name="connsiteX11" fmla="*/ 2224087 w 2376487"/>
              <a:gd name="connsiteY11" fmla="*/ 1541718 h 2789493"/>
              <a:gd name="connsiteX12" fmla="*/ 2352675 w 2376487"/>
              <a:gd name="connsiteY12" fmla="*/ 1779843 h 2789493"/>
              <a:gd name="connsiteX13" fmla="*/ 2133600 w 2376487"/>
              <a:gd name="connsiteY13" fmla="*/ 1984630 h 2789493"/>
              <a:gd name="connsiteX14" fmla="*/ 2224087 w 2376487"/>
              <a:gd name="connsiteY14" fmla="*/ 2232280 h 2789493"/>
              <a:gd name="connsiteX15" fmla="*/ 1952625 w 2376487"/>
              <a:gd name="connsiteY15" fmla="*/ 2413255 h 2789493"/>
              <a:gd name="connsiteX16" fmla="*/ 2028825 w 2376487"/>
              <a:gd name="connsiteY16" fmla="*/ 2608518 h 2789493"/>
              <a:gd name="connsiteX17" fmla="*/ 1857375 w 2376487"/>
              <a:gd name="connsiteY17" fmla="*/ 2789493 h 2789493"/>
              <a:gd name="connsiteX18" fmla="*/ 923925 w 2376487"/>
              <a:gd name="connsiteY18" fmla="*/ 2760918 h 2789493"/>
              <a:gd name="connsiteX19" fmla="*/ 476250 w 2376487"/>
              <a:gd name="connsiteY19" fmla="*/ 2608518 h 2789493"/>
              <a:gd name="connsiteX20" fmla="*/ 0 w 2376487"/>
              <a:gd name="connsiteY20" fmla="*/ 2584705 h 2789493"/>
              <a:gd name="connsiteX0" fmla="*/ 0 w 2376487"/>
              <a:gd name="connsiteY0" fmla="*/ 2578074 h 2782862"/>
              <a:gd name="connsiteX1" fmla="*/ 0 w 2376487"/>
              <a:gd name="connsiteY1" fmla="*/ 1239812 h 2782862"/>
              <a:gd name="connsiteX2" fmla="*/ 385762 w 2376487"/>
              <a:gd name="connsiteY2" fmla="*/ 1196949 h 2782862"/>
              <a:gd name="connsiteX3" fmla="*/ 616744 w 2376487"/>
              <a:gd name="connsiteY3" fmla="*/ 894530 h 2782862"/>
              <a:gd name="connsiteX4" fmla="*/ 981075 w 2376487"/>
              <a:gd name="connsiteY4" fmla="*/ 630212 h 2782862"/>
              <a:gd name="connsiteX5" fmla="*/ 1143000 w 2376487"/>
              <a:gd name="connsiteY5" fmla="*/ 72999 h 2782862"/>
              <a:gd name="connsiteX6" fmla="*/ 1369219 w 2376487"/>
              <a:gd name="connsiteY6" fmla="*/ 8706 h 2782862"/>
              <a:gd name="connsiteX7" fmla="*/ 1566862 w 2376487"/>
              <a:gd name="connsiteY7" fmla="*/ 356368 h 2782862"/>
              <a:gd name="connsiteX8" fmla="*/ 1409700 w 2376487"/>
              <a:gd name="connsiteY8" fmla="*/ 977874 h 2782862"/>
              <a:gd name="connsiteX9" fmla="*/ 2238375 w 2376487"/>
              <a:gd name="connsiteY9" fmla="*/ 1096937 h 2782862"/>
              <a:gd name="connsiteX10" fmla="*/ 2376487 w 2376487"/>
              <a:gd name="connsiteY10" fmla="*/ 1316012 h 2782862"/>
              <a:gd name="connsiteX11" fmla="*/ 2224087 w 2376487"/>
              <a:gd name="connsiteY11" fmla="*/ 1535087 h 2782862"/>
              <a:gd name="connsiteX12" fmla="*/ 2352675 w 2376487"/>
              <a:gd name="connsiteY12" fmla="*/ 1773212 h 2782862"/>
              <a:gd name="connsiteX13" fmla="*/ 2133600 w 2376487"/>
              <a:gd name="connsiteY13" fmla="*/ 1977999 h 2782862"/>
              <a:gd name="connsiteX14" fmla="*/ 2224087 w 2376487"/>
              <a:gd name="connsiteY14" fmla="*/ 2225649 h 2782862"/>
              <a:gd name="connsiteX15" fmla="*/ 1952625 w 2376487"/>
              <a:gd name="connsiteY15" fmla="*/ 2406624 h 2782862"/>
              <a:gd name="connsiteX16" fmla="*/ 2028825 w 2376487"/>
              <a:gd name="connsiteY16" fmla="*/ 2601887 h 2782862"/>
              <a:gd name="connsiteX17" fmla="*/ 1857375 w 2376487"/>
              <a:gd name="connsiteY17" fmla="*/ 2782862 h 2782862"/>
              <a:gd name="connsiteX18" fmla="*/ 923925 w 2376487"/>
              <a:gd name="connsiteY18" fmla="*/ 2754287 h 2782862"/>
              <a:gd name="connsiteX19" fmla="*/ 476250 w 2376487"/>
              <a:gd name="connsiteY19" fmla="*/ 2601887 h 2782862"/>
              <a:gd name="connsiteX20" fmla="*/ 0 w 2376487"/>
              <a:gd name="connsiteY20" fmla="*/ 2578074 h 2782862"/>
              <a:gd name="connsiteX0" fmla="*/ 0 w 2376487"/>
              <a:gd name="connsiteY0" fmla="*/ 2578074 h 2782862"/>
              <a:gd name="connsiteX1" fmla="*/ 0 w 2376487"/>
              <a:gd name="connsiteY1" fmla="*/ 1239812 h 2782862"/>
              <a:gd name="connsiteX2" fmla="*/ 385762 w 2376487"/>
              <a:gd name="connsiteY2" fmla="*/ 1196949 h 2782862"/>
              <a:gd name="connsiteX3" fmla="*/ 616744 w 2376487"/>
              <a:gd name="connsiteY3" fmla="*/ 894530 h 2782862"/>
              <a:gd name="connsiteX4" fmla="*/ 981075 w 2376487"/>
              <a:gd name="connsiteY4" fmla="*/ 630212 h 2782862"/>
              <a:gd name="connsiteX5" fmla="*/ 1143000 w 2376487"/>
              <a:gd name="connsiteY5" fmla="*/ 72999 h 2782862"/>
              <a:gd name="connsiteX6" fmla="*/ 1369219 w 2376487"/>
              <a:gd name="connsiteY6" fmla="*/ 8706 h 2782862"/>
              <a:gd name="connsiteX7" fmla="*/ 1566862 w 2376487"/>
              <a:gd name="connsiteY7" fmla="*/ 356368 h 2782862"/>
              <a:gd name="connsiteX8" fmla="*/ 1402557 w 2376487"/>
              <a:gd name="connsiteY8" fmla="*/ 999305 h 2782862"/>
              <a:gd name="connsiteX9" fmla="*/ 2238375 w 2376487"/>
              <a:gd name="connsiteY9" fmla="*/ 1096937 h 2782862"/>
              <a:gd name="connsiteX10" fmla="*/ 2376487 w 2376487"/>
              <a:gd name="connsiteY10" fmla="*/ 1316012 h 2782862"/>
              <a:gd name="connsiteX11" fmla="*/ 2224087 w 2376487"/>
              <a:gd name="connsiteY11" fmla="*/ 1535087 h 2782862"/>
              <a:gd name="connsiteX12" fmla="*/ 2352675 w 2376487"/>
              <a:gd name="connsiteY12" fmla="*/ 1773212 h 2782862"/>
              <a:gd name="connsiteX13" fmla="*/ 2133600 w 2376487"/>
              <a:gd name="connsiteY13" fmla="*/ 1977999 h 2782862"/>
              <a:gd name="connsiteX14" fmla="*/ 2224087 w 2376487"/>
              <a:gd name="connsiteY14" fmla="*/ 2225649 h 2782862"/>
              <a:gd name="connsiteX15" fmla="*/ 1952625 w 2376487"/>
              <a:gd name="connsiteY15" fmla="*/ 2406624 h 2782862"/>
              <a:gd name="connsiteX16" fmla="*/ 2028825 w 2376487"/>
              <a:gd name="connsiteY16" fmla="*/ 2601887 h 2782862"/>
              <a:gd name="connsiteX17" fmla="*/ 1857375 w 2376487"/>
              <a:gd name="connsiteY17" fmla="*/ 2782862 h 2782862"/>
              <a:gd name="connsiteX18" fmla="*/ 923925 w 2376487"/>
              <a:gd name="connsiteY18" fmla="*/ 2754287 h 2782862"/>
              <a:gd name="connsiteX19" fmla="*/ 476250 w 2376487"/>
              <a:gd name="connsiteY19" fmla="*/ 2601887 h 2782862"/>
              <a:gd name="connsiteX20" fmla="*/ 0 w 2376487"/>
              <a:gd name="connsiteY20" fmla="*/ 2578074 h 2782862"/>
              <a:gd name="connsiteX0" fmla="*/ 0 w 2376487"/>
              <a:gd name="connsiteY0" fmla="*/ 2578074 h 2782862"/>
              <a:gd name="connsiteX1" fmla="*/ 0 w 2376487"/>
              <a:gd name="connsiteY1" fmla="*/ 1239812 h 2782862"/>
              <a:gd name="connsiteX2" fmla="*/ 385762 w 2376487"/>
              <a:gd name="connsiteY2" fmla="*/ 1196949 h 2782862"/>
              <a:gd name="connsiteX3" fmla="*/ 616744 w 2376487"/>
              <a:gd name="connsiteY3" fmla="*/ 894530 h 2782862"/>
              <a:gd name="connsiteX4" fmla="*/ 981075 w 2376487"/>
              <a:gd name="connsiteY4" fmla="*/ 630212 h 2782862"/>
              <a:gd name="connsiteX5" fmla="*/ 1143000 w 2376487"/>
              <a:gd name="connsiteY5" fmla="*/ 72999 h 2782862"/>
              <a:gd name="connsiteX6" fmla="*/ 1369219 w 2376487"/>
              <a:gd name="connsiteY6" fmla="*/ 8706 h 2782862"/>
              <a:gd name="connsiteX7" fmla="*/ 1566862 w 2376487"/>
              <a:gd name="connsiteY7" fmla="*/ 356368 h 2782862"/>
              <a:gd name="connsiteX8" fmla="*/ 1402557 w 2376487"/>
              <a:gd name="connsiteY8" fmla="*/ 999305 h 2782862"/>
              <a:gd name="connsiteX9" fmla="*/ 2238375 w 2376487"/>
              <a:gd name="connsiteY9" fmla="*/ 1096937 h 2782862"/>
              <a:gd name="connsiteX10" fmla="*/ 2376487 w 2376487"/>
              <a:gd name="connsiteY10" fmla="*/ 1316012 h 2782862"/>
              <a:gd name="connsiteX11" fmla="*/ 2224087 w 2376487"/>
              <a:gd name="connsiteY11" fmla="*/ 1535087 h 2782862"/>
              <a:gd name="connsiteX12" fmla="*/ 2352675 w 2376487"/>
              <a:gd name="connsiteY12" fmla="*/ 1773212 h 2782862"/>
              <a:gd name="connsiteX13" fmla="*/ 2133600 w 2376487"/>
              <a:gd name="connsiteY13" fmla="*/ 1977999 h 2782862"/>
              <a:gd name="connsiteX14" fmla="*/ 2224087 w 2376487"/>
              <a:gd name="connsiteY14" fmla="*/ 2225649 h 2782862"/>
              <a:gd name="connsiteX15" fmla="*/ 1952625 w 2376487"/>
              <a:gd name="connsiteY15" fmla="*/ 2406624 h 2782862"/>
              <a:gd name="connsiteX16" fmla="*/ 2028825 w 2376487"/>
              <a:gd name="connsiteY16" fmla="*/ 2601887 h 2782862"/>
              <a:gd name="connsiteX17" fmla="*/ 1857375 w 2376487"/>
              <a:gd name="connsiteY17" fmla="*/ 2782862 h 2782862"/>
              <a:gd name="connsiteX18" fmla="*/ 923925 w 2376487"/>
              <a:gd name="connsiteY18" fmla="*/ 2754287 h 2782862"/>
              <a:gd name="connsiteX19" fmla="*/ 476250 w 2376487"/>
              <a:gd name="connsiteY19" fmla="*/ 2601887 h 2782862"/>
              <a:gd name="connsiteX20" fmla="*/ 0 w 2376487"/>
              <a:gd name="connsiteY20" fmla="*/ 2578074 h 2782862"/>
              <a:gd name="connsiteX0" fmla="*/ 0 w 2378410"/>
              <a:gd name="connsiteY0" fmla="*/ 2578074 h 2782862"/>
              <a:gd name="connsiteX1" fmla="*/ 0 w 2378410"/>
              <a:gd name="connsiteY1" fmla="*/ 1239812 h 2782862"/>
              <a:gd name="connsiteX2" fmla="*/ 385762 w 2378410"/>
              <a:gd name="connsiteY2" fmla="*/ 1196949 h 2782862"/>
              <a:gd name="connsiteX3" fmla="*/ 616744 w 2378410"/>
              <a:gd name="connsiteY3" fmla="*/ 894530 h 2782862"/>
              <a:gd name="connsiteX4" fmla="*/ 981075 w 2378410"/>
              <a:gd name="connsiteY4" fmla="*/ 630212 h 2782862"/>
              <a:gd name="connsiteX5" fmla="*/ 1143000 w 2378410"/>
              <a:gd name="connsiteY5" fmla="*/ 72999 h 2782862"/>
              <a:gd name="connsiteX6" fmla="*/ 1369219 w 2378410"/>
              <a:gd name="connsiteY6" fmla="*/ 8706 h 2782862"/>
              <a:gd name="connsiteX7" fmla="*/ 1566862 w 2378410"/>
              <a:gd name="connsiteY7" fmla="*/ 356368 h 2782862"/>
              <a:gd name="connsiteX8" fmla="*/ 1402557 w 2378410"/>
              <a:gd name="connsiteY8" fmla="*/ 999305 h 2782862"/>
              <a:gd name="connsiteX9" fmla="*/ 2238375 w 2378410"/>
              <a:gd name="connsiteY9" fmla="*/ 1096937 h 2782862"/>
              <a:gd name="connsiteX10" fmla="*/ 2376487 w 2378410"/>
              <a:gd name="connsiteY10" fmla="*/ 1316012 h 2782862"/>
              <a:gd name="connsiteX11" fmla="*/ 2224087 w 2378410"/>
              <a:gd name="connsiteY11" fmla="*/ 1535087 h 2782862"/>
              <a:gd name="connsiteX12" fmla="*/ 2352675 w 2378410"/>
              <a:gd name="connsiteY12" fmla="*/ 1773212 h 2782862"/>
              <a:gd name="connsiteX13" fmla="*/ 2133600 w 2378410"/>
              <a:gd name="connsiteY13" fmla="*/ 1977999 h 2782862"/>
              <a:gd name="connsiteX14" fmla="*/ 2224087 w 2378410"/>
              <a:gd name="connsiteY14" fmla="*/ 2225649 h 2782862"/>
              <a:gd name="connsiteX15" fmla="*/ 1952625 w 2378410"/>
              <a:gd name="connsiteY15" fmla="*/ 2406624 h 2782862"/>
              <a:gd name="connsiteX16" fmla="*/ 2028825 w 2378410"/>
              <a:gd name="connsiteY16" fmla="*/ 2601887 h 2782862"/>
              <a:gd name="connsiteX17" fmla="*/ 1857375 w 2378410"/>
              <a:gd name="connsiteY17" fmla="*/ 2782862 h 2782862"/>
              <a:gd name="connsiteX18" fmla="*/ 923925 w 2378410"/>
              <a:gd name="connsiteY18" fmla="*/ 2754287 h 2782862"/>
              <a:gd name="connsiteX19" fmla="*/ 476250 w 2378410"/>
              <a:gd name="connsiteY19" fmla="*/ 2601887 h 2782862"/>
              <a:gd name="connsiteX20" fmla="*/ 0 w 2378410"/>
              <a:gd name="connsiteY20" fmla="*/ 2578074 h 2782862"/>
              <a:gd name="connsiteX0" fmla="*/ 0 w 2378410"/>
              <a:gd name="connsiteY0" fmla="*/ 2578074 h 2782862"/>
              <a:gd name="connsiteX1" fmla="*/ 0 w 2378410"/>
              <a:gd name="connsiteY1" fmla="*/ 1239812 h 2782862"/>
              <a:gd name="connsiteX2" fmla="*/ 385762 w 2378410"/>
              <a:gd name="connsiteY2" fmla="*/ 1196949 h 2782862"/>
              <a:gd name="connsiteX3" fmla="*/ 616744 w 2378410"/>
              <a:gd name="connsiteY3" fmla="*/ 894530 h 2782862"/>
              <a:gd name="connsiteX4" fmla="*/ 981075 w 2378410"/>
              <a:gd name="connsiteY4" fmla="*/ 630212 h 2782862"/>
              <a:gd name="connsiteX5" fmla="*/ 1143000 w 2378410"/>
              <a:gd name="connsiteY5" fmla="*/ 72999 h 2782862"/>
              <a:gd name="connsiteX6" fmla="*/ 1369219 w 2378410"/>
              <a:gd name="connsiteY6" fmla="*/ 8706 h 2782862"/>
              <a:gd name="connsiteX7" fmla="*/ 1566862 w 2378410"/>
              <a:gd name="connsiteY7" fmla="*/ 356368 h 2782862"/>
              <a:gd name="connsiteX8" fmla="*/ 1402557 w 2378410"/>
              <a:gd name="connsiteY8" fmla="*/ 999305 h 2782862"/>
              <a:gd name="connsiteX9" fmla="*/ 2238375 w 2378410"/>
              <a:gd name="connsiteY9" fmla="*/ 1096937 h 2782862"/>
              <a:gd name="connsiteX10" fmla="*/ 2376487 w 2378410"/>
              <a:gd name="connsiteY10" fmla="*/ 1316012 h 2782862"/>
              <a:gd name="connsiteX11" fmla="*/ 2224087 w 2378410"/>
              <a:gd name="connsiteY11" fmla="*/ 1535087 h 2782862"/>
              <a:gd name="connsiteX12" fmla="*/ 2352675 w 2378410"/>
              <a:gd name="connsiteY12" fmla="*/ 1773212 h 2782862"/>
              <a:gd name="connsiteX13" fmla="*/ 2133600 w 2378410"/>
              <a:gd name="connsiteY13" fmla="*/ 1977999 h 2782862"/>
              <a:gd name="connsiteX14" fmla="*/ 2224087 w 2378410"/>
              <a:gd name="connsiteY14" fmla="*/ 2225649 h 2782862"/>
              <a:gd name="connsiteX15" fmla="*/ 1952625 w 2378410"/>
              <a:gd name="connsiteY15" fmla="*/ 2406624 h 2782862"/>
              <a:gd name="connsiteX16" fmla="*/ 2028825 w 2378410"/>
              <a:gd name="connsiteY16" fmla="*/ 2601887 h 2782862"/>
              <a:gd name="connsiteX17" fmla="*/ 1857375 w 2378410"/>
              <a:gd name="connsiteY17" fmla="*/ 2782862 h 2782862"/>
              <a:gd name="connsiteX18" fmla="*/ 923925 w 2378410"/>
              <a:gd name="connsiteY18" fmla="*/ 2754287 h 2782862"/>
              <a:gd name="connsiteX19" fmla="*/ 476250 w 2378410"/>
              <a:gd name="connsiteY19" fmla="*/ 2601887 h 2782862"/>
              <a:gd name="connsiteX20" fmla="*/ 0 w 2378410"/>
              <a:gd name="connsiteY20" fmla="*/ 2578074 h 2782862"/>
              <a:gd name="connsiteX0" fmla="*/ 0 w 2378410"/>
              <a:gd name="connsiteY0" fmla="*/ 2578074 h 2782862"/>
              <a:gd name="connsiteX1" fmla="*/ 0 w 2378410"/>
              <a:gd name="connsiteY1" fmla="*/ 1239812 h 2782862"/>
              <a:gd name="connsiteX2" fmla="*/ 385762 w 2378410"/>
              <a:gd name="connsiteY2" fmla="*/ 1196949 h 2782862"/>
              <a:gd name="connsiteX3" fmla="*/ 616744 w 2378410"/>
              <a:gd name="connsiteY3" fmla="*/ 894530 h 2782862"/>
              <a:gd name="connsiteX4" fmla="*/ 981075 w 2378410"/>
              <a:gd name="connsiteY4" fmla="*/ 630212 h 2782862"/>
              <a:gd name="connsiteX5" fmla="*/ 1143000 w 2378410"/>
              <a:gd name="connsiteY5" fmla="*/ 72999 h 2782862"/>
              <a:gd name="connsiteX6" fmla="*/ 1369219 w 2378410"/>
              <a:gd name="connsiteY6" fmla="*/ 8706 h 2782862"/>
              <a:gd name="connsiteX7" fmla="*/ 1566862 w 2378410"/>
              <a:gd name="connsiteY7" fmla="*/ 356368 h 2782862"/>
              <a:gd name="connsiteX8" fmla="*/ 1402557 w 2378410"/>
              <a:gd name="connsiteY8" fmla="*/ 999305 h 2782862"/>
              <a:gd name="connsiteX9" fmla="*/ 2238375 w 2378410"/>
              <a:gd name="connsiteY9" fmla="*/ 1096937 h 2782862"/>
              <a:gd name="connsiteX10" fmla="*/ 2376487 w 2378410"/>
              <a:gd name="connsiteY10" fmla="*/ 1316012 h 2782862"/>
              <a:gd name="connsiteX11" fmla="*/ 2224087 w 2378410"/>
              <a:gd name="connsiteY11" fmla="*/ 1535087 h 2782862"/>
              <a:gd name="connsiteX12" fmla="*/ 2352675 w 2378410"/>
              <a:gd name="connsiteY12" fmla="*/ 1773212 h 2782862"/>
              <a:gd name="connsiteX13" fmla="*/ 2133600 w 2378410"/>
              <a:gd name="connsiteY13" fmla="*/ 1977999 h 2782862"/>
              <a:gd name="connsiteX14" fmla="*/ 2224087 w 2378410"/>
              <a:gd name="connsiteY14" fmla="*/ 2225649 h 2782862"/>
              <a:gd name="connsiteX15" fmla="*/ 1952625 w 2378410"/>
              <a:gd name="connsiteY15" fmla="*/ 2406624 h 2782862"/>
              <a:gd name="connsiteX16" fmla="*/ 2028825 w 2378410"/>
              <a:gd name="connsiteY16" fmla="*/ 2601887 h 2782862"/>
              <a:gd name="connsiteX17" fmla="*/ 1857375 w 2378410"/>
              <a:gd name="connsiteY17" fmla="*/ 2782862 h 2782862"/>
              <a:gd name="connsiteX18" fmla="*/ 923925 w 2378410"/>
              <a:gd name="connsiteY18" fmla="*/ 2754287 h 2782862"/>
              <a:gd name="connsiteX19" fmla="*/ 476250 w 2378410"/>
              <a:gd name="connsiteY19" fmla="*/ 2601887 h 2782862"/>
              <a:gd name="connsiteX20" fmla="*/ 0 w 2378410"/>
              <a:gd name="connsiteY20" fmla="*/ 2578074 h 2782862"/>
              <a:gd name="connsiteX0" fmla="*/ 0 w 2378410"/>
              <a:gd name="connsiteY0" fmla="*/ 2578074 h 2782862"/>
              <a:gd name="connsiteX1" fmla="*/ 0 w 2378410"/>
              <a:gd name="connsiteY1" fmla="*/ 1239812 h 2782862"/>
              <a:gd name="connsiteX2" fmla="*/ 385762 w 2378410"/>
              <a:gd name="connsiteY2" fmla="*/ 1196949 h 2782862"/>
              <a:gd name="connsiteX3" fmla="*/ 616744 w 2378410"/>
              <a:gd name="connsiteY3" fmla="*/ 894530 h 2782862"/>
              <a:gd name="connsiteX4" fmla="*/ 981075 w 2378410"/>
              <a:gd name="connsiteY4" fmla="*/ 630212 h 2782862"/>
              <a:gd name="connsiteX5" fmla="*/ 1143000 w 2378410"/>
              <a:gd name="connsiteY5" fmla="*/ 72999 h 2782862"/>
              <a:gd name="connsiteX6" fmla="*/ 1369219 w 2378410"/>
              <a:gd name="connsiteY6" fmla="*/ 8706 h 2782862"/>
              <a:gd name="connsiteX7" fmla="*/ 1566862 w 2378410"/>
              <a:gd name="connsiteY7" fmla="*/ 356368 h 2782862"/>
              <a:gd name="connsiteX8" fmla="*/ 1402557 w 2378410"/>
              <a:gd name="connsiteY8" fmla="*/ 999305 h 2782862"/>
              <a:gd name="connsiteX9" fmla="*/ 2238375 w 2378410"/>
              <a:gd name="connsiteY9" fmla="*/ 1096937 h 2782862"/>
              <a:gd name="connsiteX10" fmla="*/ 2376487 w 2378410"/>
              <a:gd name="connsiteY10" fmla="*/ 1316012 h 2782862"/>
              <a:gd name="connsiteX11" fmla="*/ 2224087 w 2378410"/>
              <a:gd name="connsiteY11" fmla="*/ 1535087 h 2782862"/>
              <a:gd name="connsiteX12" fmla="*/ 2352675 w 2378410"/>
              <a:gd name="connsiteY12" fmla="*/ 1773212 h 2782862"/>
              <a:gd name="connsiteX13" fmla="*/ 2133600 w 2378410"/>
              <a:gd name="connsiteY13" fmla="*/ 1977999 h 2782862"/>
              <a:gd name="connsiteX14" fmla="*/ 2224087 w 2378410"/>
              <a:gd name="connsiteY14" fmla="*/ 2225649 h 2782862"/>
              <a:gd name="connsiteX15" fmla="*/ 1952625 w 2378410"/>
              <a:gd name="connsiteY15" fmla="*/ 2406624 h 2782862"/>
              <a:gd name="connsiteX16" fmla="*/ 1962150 w 2378410"/>
              <a:gd name="connsiteY16" fmla="*/ 2582837 h 2782862"/>
              <a:gd name="connsiteX17" fmla="*/ 1857375 w 2378410"/>
              <a:gd name="connsiteY17" fmla="*/ 2782862 h 2782862"/>
              <a:gd name="connsiteX18" fmla="*/ 923925 w 2378410"/>
              <a:gd name="connsiteY18" fmla="*/ 2754287 h 2782862"/>
              <a:gd name="connsiteX19" fmla="*/ 476250 w 2378410"/>
              <a:gd name="connsiteY19" fmla="*/ 2601887 h 2782862"/>
              <a:gd name="connsiteX20" fmla="*/ 0 w 2378410"/>
              <a:gd name="connsiteY20" fmla="*/ 2578074 h 2782862"/>
              <a:gd name="connsiteX0" fmla="*/ 0 w 2378410"/>
              <a:gd name="connsiteY0" fmla="*/ 2578074 h 2782862"/>
              <a:gd name="connsiteX1" fmla="*/ 0 w 2378410"/>
              <a:gd name="connsiteY1" fmla="*/ 1239812 h 2782862"/>
              <a:gd name="connsiteX2" fmla="*/ 385762 w 2378410"/>
              <a:gd name="connsiteY2" fmla="*/ 1196949 h 2782862"/>
              <a:gd name="connsiteX3" fmla="*/ 616744 w 2378410"/>
              <a:gd name="connsiteY3" fmla="*/ 894530 h 2782862"/>
              <a:gd name="connsiteX4" fmla="*/ 981075 w 2378410"/>
              <a:gd name="connsiteY4" fmla="*/ 630212 h 2782862"/>
              <a:gd name="connsiteX5" fmla="*/ 1143000 w 2378410"/>
              <a:gd name="connsiteY5" fmla="*/ 72999 h 2782862"/>
              <a:gd name="connsiteX6" fmla="*/ 1369219 w 2378410"/>
              <a:gd name="connsiteY6" fmla="*/ 8706 h 2782862"/>
              <a:gd name="connsiteX7" fmla="*/ 1566862 w 2378410"/>
              <a:gd name="connsiteY7" fmla="*/ 356368 h 2782862"/>
              <a:gd name="connsiteX8" fmla="*/ 1402557 w 2378410"/>
              <a:gd name="connsiteY8" fmla="*/ 999305 h 2782862"/>
              <a:gd name="connsiteX9" fmla="*/ 2238375 w 2378410"/>
              <a:gd name="connsiteY9" fmla="*/ 1096937 h 2782862"/>
              <a:gd name="connsiteX10" fmla="*/ 2376487 w 2378410"/>
              <a:gd name="connsiteY10" fmla="*/ 1316012 h 2782862"/>
              <a:gd name="connsiteX11" fmla="*/ 2224087 w 2378410"/>
              <a:gd name="connsiteY11" fmla="*/ 1535087 h 2782862"/>
              <a:gd name="connsiteX12" fmla="*/ 2352675 w 2378410"/>
              <a:gd name="connsiteY12" fmla="*/ 1773212 h 2782862"/>
              <a:gd name="connsiteX13" fmla="*/ 2133600 w 2378410"/>
              <a:gd name="connsiteY13" fmla="*/ 1977999 h 2782862"/>
              <a:gd name="connsiteX14" fmla="*/ 2224087 w 2378410"/>
              <a:gd name="connsiteY14" fmla="*/ 2225649 h 2782862"/>
              <a:gd name="connsiteX15" fmla="*/ 1952625 w 2378410"/>
              <a:gd name="connsiteY15" fmla="*/ 2406624 h 2782862"/>
              <a:gd name="connsiteX16" fmla="*/ 1962150 w 2378410"/>
              <a:gd name="connsiteY16" fmla="*/ 2582837 h 2782862"/>
              <a:gd name="connsiteX17" fmla="*/ 1857375 w 2378410"/>
              <a:gd name="connsiteY17" fmla="*/ 2782862 h 2782862"/>
              <a:gd name="connsiteX18" fmla="*/ 923925 w 2378410"/>
              <a:gd name="connsiteY18" fmla="*/ 2754287 h 2782862"/>
              <a:gd name="connsiteX19" fmla="*/ 476250 w 2378410"/>
              <a:gd name="connsiteY19" fmla="*/ 2601887 h 2782862"/>
              <a:gd name="connsiteX20" fmla="*/ 0 w 2378410"/>
              <a:gd name="connsiteY20" fmla="*/ 2578074 h 2782862"/>
              <a:gd name="connsiteX0" fmla="*/ 0 w 2378410"/>
              <a:gd name="connsiteY0" fmla="*/ 2578074 h 2782862"/>
              <a:gd name="connsiteX1" fmla="*/ 0 w 2378410"/>
              <a:gd name="connsiteY1" fmla="*/ 1239812 h 2782862"/>
              <a:gd name="connsiteX2" fmla="*/ 385762 w 2378410"/>
              <a:gd name="connsiteY2" fmla="*/ 1196949 h 2782862"/>
              <a:gd name="connsiteX3" fmla="*/ 616744 w 2378410"/>
              <a:gd name="connsiteY3" fmla="*/ 894530 h 2782862"/>
              <a:gd name="connsiteX4" fmla="*/ 981075 w 2378410"/>
              <a:gd name="connsiteY4" fmla="*/ 630212 h 2782862"/>
              <a:gd name="connsiteX5" fmla="*/ 1143000 w 2378410"/>
              <a:gd name="connsiteY5" fmla="*/ 72999 h 2782862"/>
              <a:gd name="connsiteX6" fmla="*/ 1369219 w 2378410"/>
              <a:gd name="connsiteY6" fmla="*/ 8706 h 2782862"/>
              <a:gd name="connsiteX7" fmla="*/ 1566862 w 2378410"/>
              <a:gd name="connsiteY7" fmla="*/ 356368 h 2782862"/>
              <a:gd name="connsiteX8" fmla="*/ 1402557 w 2378410"/>
              <a:gd name="connsiteY8" fmla="*/ 999305 h 2782862"/>
              <a:gd name="connsiteX9" fmla="*/ 2238375 w 2378410"/>
              <a:gd name="connsiteY9" fmla="*/ 1096937 h 2782862"/>
              <a:gd name="connsiteX10" fmla="*/ 2376487 w 2378410"/>
              <a:gd name="connsiteY10" fmla="*/ 1316012 h 2782862"/>
              <a:gd name="connsiteX11" fmla="*/ 2224087 w 2378410"/>
              <a:gd name="connsiteY11" fmla="*/ 1535087 h 2782862"/>
              <a:gd name="connsiteX12" fmla="*/ 2352675 w 2378410"/>
              <a:gd name="connsiteY12" fmla="*/ 1773212 h 2782862"/>
              <a:gd name="connsiteX13" fmla="*/ 2133600 w 2378410"/>
              <a:gd name="connsiteY13" fmla="*/ 1977999 h 2782862"/>
              <a:gd name="connsiteX14" fmla="*/ 2224087 w 2378410"/>
              <a:gd name="connsiteY14" fmla="*/ 2225649 h 2782862"/>
              <a:gd name="connsiteX15" fmla="*/ 1952625 w 2378410"/>
              <a:gd name="connsiteY15" fmla="*/ 2406624 h 2782862"/>
              <a:gd name="connsiteX16" fmla="*/ 2026444 w 2378410"/>
              <a:gd name="connsiteY16" fmla="*/ 2575694 h 2782862"/>
              <a:gd name="connsiteX17" fmla="*/ 1857375 w 2378410"/>
              <a:gd name="connsiteY17" fmla="*/ 2782862 h 2782862"/>
              <a:gd name="connsiteX18" fmla="*/ 923925 w 2378410"/>
              <a:gd name="connsiteY18" fmla="*/ 2754287 h 2782862"/>
              <a:gd name="connsiteX19" fmla="*/ 476250 w 2378410"/>
              <a:gd name="connsiteY19" fmla="*/ 2601887 h 2782862"/>
              <a:gd name="connsiteX20" fmla="*/ 0 w 2378410"/>
              <a:gd name="connsiteY20" fmla="*/ 2578074 h 2782862"/>
              <a:gd name="connsiteX0" fmla="*/ 0 w 2378410"/>
              <a:gd name="connsiteY0" fmla="*/ 2578074 h 2782862"/>
              <a:gd name="connsiteX1" fmla="*/ 0 w 2378410"/>
              <a:gd name="connsiteY1" fmla="*/ 1239812 h 2782862"/>
              <a:gd name="connsiteX2" fmla="*/ 385762 w 2378410"/>
              <a:gd name="connsiteY2" fmla="*/ 1196949 h 2782862"/>
              <a:gd name="connsiteX3" fmla="*/ 616744 w 2378410"/>
              <a:gd name="connsiteY3" fmla="*/ 894530 h 2782862"/>
              <a:gd name="connsiteX4" fmla="*/ 981075 w 2378410"/>
              <a:gd name="connsiteY4" fmla="*/ 630212 h 2782862"/>
              <a:gd name="connsiteX5" fmla="*/ 1143000 w 2378410"/>
              <a:gd name="connsiteY5" fmla="*/ 72999 h 2782862"/>
              <a:gd name="connsiteX6" fmla="*/ 1369219 w 2378410"/>
              <a:gd name="connsiteY6" fmla="*/ 8706 h 2782862"/>
              <a:gd name="connsiteX7" fmla="*/ 1566862 w 2378410"/>
              <a:gd name="connsiteY7" fmla="*/ 356368 h 2782862"/>
              <a:gd name="connsiteX8" fmla="*/ 1402557 w 2378410"/>
              <a:gd name="connsiteY8" fmla="*/ 999305 h 2782862"/>
              <a:gd name="connsiteX9" fmla="*/ 2238375 w 2378410"/>
              <a:gd name="connsiteY9" fmla="*/ 1096937 h 2782862"/>
              <a:gd name="connsiteX10" fmla="*/ 2376487 w 2378410"/>
              <a:gd name="connsiteY10" fmla="*/ 1316012 h 2782862"/>
              <a:gd name="connsiteX11" fmla="*/ 2224087 w 2378410"/>
              <a:gd name="connsiteY11" fmla="*/ 1535087 h 2782862"/>
              <a:gd name="connsiteX12" fmla="*/ 2352675 w 2378410"/>
              <a:gd name="connsiteY12" fmla="*/ 1773212 h 2782862"/>
              <a:gd name="connsiteX13" fmla="*/ 2133600 w 2378410"/>
              <a:gd name="connsiteY13" fmla="*/ 1977999 h 2782862"/>
              <a:gd name="connsiteX14" fmla="*/ 2224087 w 2378410"/>
              <a:gd name="connsiteY14" fmla="*/ 2225649 h 2782862"/>
              <a:gd name="connsiteX15" fmla="*/ 1952625 w 2378410"/>
              <a:gd name="connsiteY15" fmla="*/ 2406624 h 2782862"/>
              <a:gd name="connsiteX16" fmla="*/ 2026444 w 2378410"/>
              <a:gd name="connsiteY16" fmla="*/ 2575694 h 2782862"/>
              <a:gd name="connsiteX17" fmla="*/ 1857375 w 2378410"/>
              <a:gd name="connsiteY17" fmla="*/ 2782862 h 2782862"/>
              <a:gd name="connsiteX18" fmla="*/ 923925 w 2378410"/>
              <a:gd name="connsiteY18" fmla="*/ 2754287 h 2782862"/>
              <a:gd name="connsiteX19" fmla="*/ 476250 w 2378410"/>
              <a:gd name="connsiteY19" fmla="*/ 2601887 h 2782862"/>
              <a:gd name="connsiteX20" fmla="*/ 0 w 2378410"/>
              <a:gd name="connsiteY20" fmla="*/ 2578074 h 2782862"/>
              <a:gd name="connsiteX0" fmla="*/ 0 w 2378410"/>
              <a:gd name="connsiteY0" fmla="*/ 2578074 h 2782862"/>
              <a:gd name="connsiteX1" fmla="*/ 0 w 2378410"/>
              <a:gd name="connsiteY1" fmla="*/ 1239812 h 2782862"/>
              <a:gd name="connsiteX2" fmla="*/ 385762 w 2378410"/>
              <a:gd name="connsiteY2" fmla="*/ 1196949 h 2782862"/>
              <a:gd name="connsiteX3" fmla="*/ 616744 w 2378410"/>
              <a:gd name="connsiteY3" fmla="*/ 894530 h 2782862"/>
              <a:gd name="connsiteX4" fmla="*/ 981075 w 2378410"/>
              <a:gd name="connsiteY4" fmla="*/ 630212 h 2782862"/>
              <a:gd name="connsiteX5" fmla="*/ 1143000 w 2378410"/>
              <a:gd name="connsiteY5" fmla="*/ 72999 h 2782862"/>
              <a:gd name="connsiteX6" fmla="*/ 1369219 w 2378410"/>
              <a:gd name="connsiteY6" fmla="*/ 8706 h 2782862"/>
              <a:gd name="connsiteX7" fmla="*/ 1566862 w 2378410"/>
              <a:gd name="connsiteY7" fmla="*/ 356368 h 2782862"/>
              <a:gd name="connsiteX8" fmla="*/ 1402557 w 2378410"/>
              <a:gd name="connsiteY8" fmla="*/ 999305 h 2782862"/>
              <a:gd name="connsiteX9" fmla="*/ 2238375 w 2378410"/>
              <a:gd name="connsiteY9" fmla="*/ 1096937 h 2782862"/>
              <a:gd name="connsiteX10" fmla="*/ 2376487 w 2378410"/>
              <a:gd name="connsiteY10" fmla="*/ 1316012 h 2782862"/>
              <a:gd name="connsiteX11" fmla="*/ 2224087 w 2378410"/>
              <a:gd name="connsiteY11" fmla="*/ 1535087 h 2782862"/>
              <a:gd name="connsiteX12" fmla="*/ 2352675 w 2378410"/>
              <a:gd name="connsiteY12" fmla="*/ 1773212 h 2782862"/>
              <a:gd name="connsiteX13" fmla="*/ 2133600 w 2378410"/>
              <a:gd name="connsiteY13" fmla="*/ 1977999 h 2782862"/>
              <a:gd name="connsiteX14" fmla="*/ 2224087 w 2378410"/>
              <a:gd name="connsiteY14" fmla="*/ 2225649 h 2782862"/>
              <a:gd name="connsiteX15" fmla="*/ 1952625 w 2378410"/>
              <a:gd name="connsiteY15" fmla="*/ 2406624 h 2782862"/>
              <a:gd name="connsiteX16" fmla="*/ 2026444 w 2378410"/>
              <a:gd name="connsiteY16" fmla="*/ 2575694 h 2782862"/>
              <a:gd name="connsiteX17" fmla="*/ 1857375 w 2378410"/>
              <a:gd name="connsiteY17" fmla="*/ 2782862 h 2782862"/>
              <a:gd name="connsiteX18" fmla="*/ 923925 w 2378410"/>
              <a:gd name="connsiteY18" fmla="*/ 2754287 h 2782862"/>
              <a:gd name="connsiteX19" fmla="*/ 476250 w 2378410"/>
              <a:gd name="connsiteY19" fmla="*/ 2601887 h 2782862"/>
              <a:gd name="connsiteX20" fmla="*/ 0 w 2378410"/>
              <a:gd name="connsiteY20" fmla="*/ 2578074 h 2782862"/>
              <a:gd name="connsiteX0" fmla="*/ 0 w 2378410"/>
              <a:gd name="connsiteY0" fmla="*/ 2578074 h 2768575"/>
              <a:gd name="connsiteX1" fmla="*/ 0 w 2378410"/>
              <a:gd name="connsiteY1" fmla="*/ 1239812 h 2768575"/>
              <a:gd name="connsiteX2" fmla="*/ 385762 w 2378410"/>
              <a:gd name="connsiteY2" fmla="*/ 1196949 h 2768575"/>
              <a:gd name="connsiteX3" fmla="*/ 616744 w 2378410"/>
              <a:gd name="connsiteY3" fmla="*/ 894530 h 2768575"/>
              <a:gd name="connsiteX4" fmla="*/ 981075 w 2378410"/>
              <a:gd name="connsiteY4" fmla="*/ 630212 h 2768575"/>
              <a:gd name="connsiteX5" fmla="*/ 1143000 w 2378410"/>
              <a:gd name="connsiteY5" fmla="*/ 72999 h 2768575"/>
              <a:gd name="connsiteX6" fmla="*/ 1369219 w 2378410"/>
              <a:gd name="connsiteY6" fmla="*/ 8706 h 2768575"/>
              <a:gd name="connsiteX7" fmla="*/ 1566862 w 2378410"/>
              <a:gd name="connsiteY7" fmla="*/ 356368 h 2768575"/>
              <a:gd name="connsiteX8" fmla="*/ 1402557 w 2378410"/>
              <a:gd name="connsiteY8" fmla="*/ 999305 h 2768575"/>
              <a:gd name="connsiteX9" fmla="*/ 2238375 w 2378410"/>
              <a:gd name="connsiteY9" fmla="*/ 1096937 h 2768575"/>
              <a:gd name="connsiteX10" fmla="*/ 2376487 w 2378410"/>
              <a:gd name="connsiteY10" fmla="*/ 1316012 h 2768575"/>
              <a:gd name="connsiteX11" fmla="*/ 2224087 w 2378410"/>
              <a:gd name="connsiteY11" fmla="*/ 1535087 h 2768575"/>
              <a:gd name="connsiteX12" fmla="*/ 2352675 w 2378410"/>
              <a:gd name="connsiteY12" fmla="*/ 1773212 h 2768575"/>
              <a:gd name="connsiteX13" fmla="*/ 2133600 w 2378410"/>
              <a:gd name="connsiteY13" fmla="*/ 1977999 h 2768575"/>
              <a:gd name="connsiteX14" fmla="*/ 2224087 w 2378410"/>
              <a:gd name="connsiteY14" fmla="*/ 2225649 h 2768575"/>
              <a:gd name="connsiteX15" fmla="*/ 1952625 w 2378410"/>
              <a:gd name="connsiteY15" fmla="*/ 2406624 h 2768575"/>
              <a:gd name="connsiteX16" fmla="*/ 2026444 w 2378410"/>
              <a:gd name="connsiteY16" fmla="*/ 2575694 h 2768575"/>
              <a:gd name="connsiteX17" fmla="*/ 1819275 w 2378410"/>
              <a:gd name="connsiteY17" fmla="*/ 2768575 h 2768575"/>
              <a:gd name="connsiteX18" fmla="*/ 923925 w 2378410"/>
              <a:gd name="connsiteY18" fmla="*/ 2754287 h 2768575"/>
              <a:gd name="connsiteX19" fmla="*/ 476250 w 2378410"/>
              <a:gd name="connsiteY19" fmla="*/ 2601887 h 2768575"/>
              <a:gd name="connsiteX20" fmla="*/ 0 w 2378410"/>
              <a:gd name="connsiteY20" fmla="*/ 2578074 h 2768575"/>
              <a:gd name="connsiteX0" fmla="*/ 0 w 2378410"/>
              <a:gd name="connsiteY0" fmla="*/ 2578074 h 2768575"/>
              <a:gd name="connsiteX1" fmla="*/ 0 w 2378410"/>
              <a:gd name="connsiteY1" fmla="*/ 1239812 h 2768575"/>
              <a:gd name="connsiteX2" fmla="*/ 385762 w 2378410"/>
              <a:gd name="connsiteY2" fmla="*/ 1196949 h 2768575"/>
              <a:gd name="connsiteX3" fmla="*/ 616744 w 2378410"/>
              <a:gd name="connsiteY3" fmla="*/ 894530 h 2768575"/>
              <a:gd name="connsiteX4" fmla="*/ 981075 w 2378410"/>
              <a:gd name="connsiteY4" fmla="*/ 630212 h 2768575"/>
              <a:gd name="connsiteX5" fmla="*/ 1143000 w 2378410"/>
              <a:gd name="connsiteY5" fmla="*/ 72999 h 2768575"/>
              <a:gd name="connsiteX6" fmla="*/ 1369219 w 2378410"/>
              <a:gd name="connsiteY6" fmla="*/ 8706 h 2768575"/>
              <a:gd name="connsiteX7" fmla="*/ 1566862 w 2378410"/>
              <a:gd name="connsiteY7" fmla="*/ 356368 h 2768575"/>
              <a:gd name="connsiteX8" fmla="*/ 1402557 w 2378410"/>
              <a:gd name="connsiteY8" fmla="*/ 999305 h 2768575"/>
              <a:gd name="connsiteX9" fmla="*/ 2238375 w 2378410"/>
              <a:gd name="connsiteY9" fmla="*/ 1096937 h 2768575"/>
              <a:gd name="connsiteX10" fmla="*/ 2376487 w 2378410"/>
              <a:gd name="connsiteY10" fmla="*/ 1316012 h 2768575"/>
              <a:gd name="connsiteX11" fmla="*/ 2224087 w 2378410"/>
              <a:gd name="connsiteY11" fmla="*/ 1535087 h 2768575"/>
              <a:gd name="connsiteX12" fmla="*/ 2352675 w 2378410"/>
              <a:gd name="connsiteY12" fmla="*/ 1773212 h 2768575"/>
              <a:gd name="connsiteX13" fmla="*/ 2133600 w 2378410"/>
              <a:gd name="connsiteY13" fmla="*/ 1977999 h 2768575"/>
              <a:gd name="connsiteX14" fmla="*/ 2224087 w 2378410"/>
              <a:gd name="connsiteY14" fmla="*/ 2225649 h 2768575"/>
              <a:gd name="connsiteX15" fmla="*/ 1952625 w 2378410"/>
              <a:gd name="connsiteY15" fmla="*/ 2406624 h 2768575"/>
              <a:gd name="connsiteX16" fmla="*/ 2026444 w 2378410"/>
              <a:gd name="connsiteY16" fmla="*/ 2575694 h 2768575"/>
              <a:gd name="connsiteX17" fmla="*/ 1819275 w 2378410"/>
              <a:gd name="connsiteY17" fmla="*/ 2768575 h 2768575"/>
              <a:gd name="connsiteX18" fmla="*/ 923925 w 2378410"/>
              <a:gd name="connsiteY18" fmla="*/ 2754287 h 2768575"/>
              <a:gd name="connsiteX19" fmla="*/ 476250 w 2378410"/>
              <a:gd name="connsiteY19" fmla="*/ 2601887 h 2768575"/>
              <a:gd name="connsiteX20" fmla="*/ 0 w 2378410"/>
              <a:gd name="connsiteY20" fmla="*/ 2578074 h 2768575"/>
              <a:gd name="connsiteX0" fmla="*/ 0 w 2378410"/>
              <a:gd name="connsiteY0" fmla="*/ 2578074 h 2768575"/>
              <a:gd name="connsiteX1" fmla="*/ 0 w 2378410"/>
              <a:gd name="connsiteY1" fmla="*/ 1239812 h 2768575"/>
              <a:gd name="connsiteX2" fmla="*/ 385762 w 2378410"/>
              <a:gd name="connsiteY2" fmla="*/ 1196949 h 2768575"/>
              <a:gd name="connsiteX3" fmla="*/ 616744 w 2378410"/>
              <a:gd name="connsiteY3" fmla="*/ 894530 h 2768575"/>
              <a:gd name="connsiteX4" fmla="*/ 981075 w 2378410"/>
              <a:gd name="connsiteY4" fmla="*/ 630212 h 2768575"/>
              <a:gd name="connsiteX5" fmla="*/ 1143000 w 2378410"/>
              <a:gd name="connsiteY5" fmla="*/ 72999 h 2768575"/>
              <a:gd name="connsiteX6" fmla="*/ 1369219 w 2378410"/>
              <a:gd name="connsiteY6" fmla="*/ 8706 h 2768575"/>
              <a:gd name="connsiteX7" fmla="*/ 1566862 w 2378410"/>
              <a:gd name="connsiteY7" fmla="*/ 356368 h 2768575"/>
              <a:gd name="connsiteX8" fmla="*/ 1402557 w 2378410"/>
              <a:gd name="connsiteY8" fmla="*/ 999305 h 2768575"/>
              <a:gd name="connsiteX9" fmla="*/ 2238375 w 2378410"/>
              <a:gd name="connsiteY9" fmla="*/ 1096937 h 2768575"/>
              <a:gd name="connsiteX10" fmla="*/ 2376487 w 2378410"/>
              <a:gd name="connsiteY10" fmla="*/ 1316012 h 2768575"/>
              <a:gd name="connsiteX11" fmla="*/ 2224087 w 2378410"/>
              <a:gd name="connsiteY11" fmla="*/ 1535087 h 2768575"/>
              <a:gd name="connsiteX12" fmla="*/ 2352675 w 2378410"/>
              <a:gd name="connsiteY12" fmla="*/ 1773212 h 2768575"/>
              <a:gd name="connsiteX13" fmla="*/ 2133600 w 2378410"/>
              <a:gd name="connsiteY13" fmla="*/ 1977999 h 2768575"/>
              <a:gd name="connsiteX14" fmla="*/ 2224087 w 2378410"/>
              <a:gd name="connsiteY14" fmla="*/ 2225649 h 2768575"/>
              <a:gd name="connsiteX15" fmla="*/ 1952625 w 2378410"/>
              <a:gd name="connsiteY15" fmla="*/ 2406624 h 2768575"/>
              <a:gd name="connsiteX16" fmla="*/ 2026444 w 2378410"/>
              <a:gd name="connsiteY16" fmla="*/ 2575694 h 2768575"/>
              <a:gd name="connsiteX17" fmla="*/ 1819275 w 2378410"/>
              <a:gd name="connsiteY17" fmla="*/ 2768575 h 2768575"/>
              <a:gd name="connsiteX18" fmla="*/ 923925 w 2378410"/>
              <a:gd name="connsiteY18" fmla="*/ 2754287 h 2768575"/>
              <a:gd name="connsiteX19" fmla="*/ 476250 w 2378410"/>
              <a:gd name="connsiteY19" fmla="*/ 2601887 h 2768575"/>
              <a:gd name="connsiteX20" fmla="*/ 0 w 2378410"/>
              <a:gd name="connsiteY20" fmla="*/ 2578074 h 2768575"/>
              <a:gd name="connsiteX0" fmla="*/ 0 w 2378410"/>
              <a:gd name="connsiteY0" fmla="*/ 2578074 h 2768575"/>
              <a:gd name="connsiteX1" fmla="*/ 0 w 2378410"/>
              <a:gd name="connsiteY1" fmla="*/ 1239812 h 2768575"/>
              <a:gd name="connsiteX2" fmla="*/ 385762 w 2378410"/>
              <a:gd name="connsiteY2" fmla="*/ 1196949 h 2768575"/>
              <a:gd name="connsiteX3" fmla="*/ 616744 w 2378410"/>
              <a:gd name="connsiteY3" fmla="*/ 894530 h 2768575"/>
              <a:gd name="connsiteX4" fmla="*/ 973931 w 2378410"/>
              <a:gd name="connsiteY4" fmla="*/ 608781 h 2768575"/>
              <a:gd name="connsiteX5" fmla="*/ 1143000 w 2378410"/>
              <a:gd name="connsiteY5" fmla="*/ 72999 h 2768575"/>
              <a:gd name="connsiteX6" fmla="*/ 1369219 w 2378410"/>
              <a:gd name="connsiteY6" fmla="*/ 8706 h 2768575"/>
              <a:gd name="connsiteX7" fmla="*/ 1566862 w 2378410"/>
              <a:gd name="connsiteY7" fmla="*/ 356368 h 2768575"/>
              <a:gd name="connsiteX8" fmla="*/ 1402557 w 2378410"/>
              <a:gd name="connsiteY8" fmla="*/ 999305 h 2768575"/>
              <a:gd name="connsiteX9" fmla="*/ 2238375 w 2378410"/>
              <a:gd name="connsiteY9" fmla="*/ 1096937 h 2768575"/>
              <a:gd name="connsiteX10" fmla="*/ 2376487 w 2378410"/>
              <a:gd name="connsiteY10" fmla="*/ 1316012 h 2768575"/>
              <a:gd name="connsiteX11" fmla="*/ 2224087 w 2378410"/>
              <a:gd name="connsiteY11" fmla="*/ 1535087 h 2768575"/>
              <a:gd name="connsiteX12" fmla="*/ 2352675 w 2378410"/>
              <a:gd name="connsiteY12" fmla="*/ 1773212 h 2768575"/>
              <a:gd name="connsiteX13" fmla="*/ 2133600 w 2378410"/>
              <a:gd name="connsiteY13" fmla="*/ 1977999 h 2768575"/>
              <a:gd name="connsiteX14" fmla="*/ 2224087 w 2378410"/>
              <a:gd name="connsiteY14" fmla="*/ 2225649 h 2768575"/>
              <a:gd name="connsiteX15" fmla="*/ 1952625 w 2378410"/>
              <a:gd name="connsiteY15" fmla="*/ 2406624 h 2768575"/>
              <a:gd name="connsiteX16" fmla="*/ 2026444 w 2378410"/>
              <a:gd name="connsiteY16" fmla="*/ 2575694 h 2768575"/>
              <a:gd name="connsiteX17" fmla="*/ 1819275 w 2378410"/>
              <a:gd name="connsiteY17" fmla="*/ 2768575 h 2768575"/>
              <a:gd name="connsiteX18" fmla="*/ 923925 w 2378410"/>
              <a:gd name="connsiteY18" fmla="*/ 2754287 h 2768575"/>
              <a:gd name="connsiteX19" fmla="*/ 476250 w 2378410"/>
              <a:gd name="connsiteY19" fmla="*/ 2601887 h 2768575"/>
              <a:gd name="connsiteX20" fmla="*/ 0 w 2378410"/>
              <a:gd name="connsiteY20" fmla="*/ 2578074 h 2768575"/>
              <a:gd name="connsiteX0" fmla="*/ 0 w 2376855"/>
              <a:gd name="connsiteY0" fmla="*/ 2578074 h 2768575"/>
              <a:gd name="connsiteX1" fmla="*/ 0 w 2376855"/>
              <a:gd name="connsiteY1" fmla="*/ 1239812 h 2768575"/>
              <a:gd name="connsiteX2" fmla="*/ 385762 w 2376855"/>
              <a:gd name="connsiteY2" fmla="*/ 1196949 h 2768575"/>
              <a:gd name="connsiteX3" fmla="*/ 616744 w 2376855"/>
              <a:gd name="connsiteY3" fmla="*/ 894530 h 2768575"/>
              <a:gd name="connsiteX4" fmla="*/ 973931 w 2376855"/>
              <a:gd name="connsiteY4" fmla="*/ 608781 h 2768575"/>
              <a:gd name="connsiteX5" fmla="*/ 1143000 w 2376855"/>
              <a:gd name="connsiteY5" fmla="*/ 72999 h 2768575"/>
              <a:gd name="connsiteX6" fmla="*/ 1369219 w 2376855"/>
              <a:gd name="connsiteY6" fmla="*/ 8706 h 2768575"/>
              <a:gd name="connsiteX7" fmla="*/ 1566862 w 2376855"/>
              <a:gd name="connsiteY7" fmla="*/ 356368 h 2768575"/>
              <a:gd name="connsiteX8" fmla="*/ 1402557 w 2376855"/>
              <a:gd name="connsiteY8" fmla="*/ 999305 h 2768575"/>
              <a:gd name="connsiteX9" fmla="*/ 2238375 w 2376855"/>
              <a:gd name="connsiteY9" fmla="*/ 1096937 h 2768575"/>
              <a:gd name="connsiteX10" fmla="*/ 2376487 w 2376855"/>
              <a:gd name="connsiteY10" fmla="*/ 1316012 h 2768575"/>
              <a:gd name="connsiteX11" fmla="*/ 2202655 w 2376855"/>
              <a:gd name="connsiteY11" fmla="*/ 1542231 h 2768575"/>
              <a:gd name="connsiteX12" fmla="*/ 2352675 w 2376855"/>
              <a:gd name="connsiteY12" fmla="*/ 1773212 h 2768575"/>
              <a:gd name="connsiteX13" fmla="*/ 2133600 w 2376855"/>
              <a:gd name="connsiteY13" fmla="*/ 1977999 h 2768575"/>
              <a:gd name="connsiteX14" fmla="*/ 2224087 w 2376855"/>
              <a:gd name="connsiteY14" fmla="*/ 2225649 h 2768575"/>
              <a:gd name="connsiteX15" fmla="*/ 1952625 w 2376855"/>
              <a:gd name="connsiteY15" fmla="*/ 2406624 h 2768575"/>
              <a:gd name="connsiteX16" fmla="*/ 2026444 w 2376855"/>
              <a:gd name="connsiteY16" fmla="*/ 2575694 h 2768575"/>
              <a:gd name="connsiteX17" fmla="*/ 1819275 w 2376855"/>
              <a:gd name="connsiteY17" fmla="*/ 2768575 h 2768575"/>
              <a:gd name="connsiteX18" fmla="*/ 923925 w 2376855"/>
              <a:gd name="connsiteY18" fmla="*/ 2754287 h 2768575"/>
              <a:gd name="connsiteX19" fmla="*/ 476250 w 2376855"/>
              <a:gd name="connsiteY19" fmla="*/ 2601887 h 2768575"/>
              <a:gd name="connsiteX20" fmla="*/ 0 w 2376855"/>
              <a:gd name="connsiteY20" fmla="*/ 2578074 h 2768575"/>
              <a:gd name="connsiteX0" fmla="*/ 0 w 2376855"/>
              <a:gd name="connsiteY0" fmla="*/ 2578074 h 2768575"/>
              <a:gd name="connsiteX1" fmla="*/ 0 w 2376855"/>
              <a:gd name="connsiteY1" fmla="*/ 1239812 h 2768575"/>
              <a:gd name="connsiteX2" fmla="*/ 385762 w 2376855"/>
              <a:gd name="connsiteY2" fmla="*/ 1196949 h 2768575"/>
              <a:gd name="connsiteX3" fmla="*/ 616744 w 2376855"/>
              <a:gd name="connsiteY3" fmla="*/ 894530 h 2768575"/>
              <a:gd name="connsiteX4" fmla="*/ 973931 w 2376855"/>
              <a:gd name="connsiteY4" fmla="*/ 608781 h 2768575"/>
              <a:gd name="connsiteX5" fmla="*/ 1143000 w 2376855"/>
              <a:gd name="connsiteY5" fmla="*/ 72999 h 2768575"/>
              <a:gd name="connsiteX6" fmla="*/ 1369219 w 2376855"/>
              <a:gd name="connsiteY6" fmla="*/ 8706 h 2768575"/>
              <a:gd name="connsiteX7" fmla="*/ 1566862 w 2376855"/>
              <a:gd name="connsiteY7" fmla="*/ 356368 h 2768575"/>
              <a:gd name="connsiteX8" fmla="*/ 1402557 w 2376855"/>
              <a:gd name="connsiteY8" fmla="*/ 999305 h 2768575"/>
              <a:gd name="connsiteX9" fmla="*/ 2238375 w 2376855"/>
              <a:gd name="connsiteY9" fmla="*/ 1096937 h 2768575"/>
              <a:gd name="connsiteX10" fmla="*/ 2376487 w 2376855"/>
              <a:gd name="connsiteY10" fmla="*/ 1316012 h 2768575"/>
              <a:gd name="connsiteX11" fmla="*/ 2202655 w 2376855"/>
              <a:gd name="connsiteY11" fmla="*/ 1542231 h 2768575"/>
              <a:gd name="connsiteX12" fmla="*/ 2352675 w 2376855"/>
              <a:gd name="connsiteY12" fmla="*/ 1773212 h 2768575"/>
              <a:gd name="connsiteX13" fmla="*/ 2133600 w 2376855"/>
              <a:gd name="connsiteY13" fmla="*/ 1977999 h 2768575"/>
              <a:gd name="connsiteX14" fmla="*/ 2224087 w 2376855"/>
              <a:gd name="connsiteY14" fmla="*/ 2225649 h 2768575"/>
              <a:gd name="connsiteX15" fmla="*/ 1952625 w 2376855"/>
              <a:gd name="connsiteY15" fmla="*/ 2406624 h 2768575"/>
              <a:gd name="connsiteX16" fmla="*/ 2026444 w 2376855"/>
              <a:gd name="connsiteY16" fmla="*/ 2575694 h 2768575"/>
              <a:gd name="connsiteX17" fmla="*/ 1819275 w 2376855"/>
              <a:gd name="connsiteY17" fmla="*/ 2768575 h 2768575"/>
              <a:gd name="connsiteX18" fmla="*/ 923925 w 2376855"/>
              <a:gd name="connsiteY18" fmla="*/ 2754287 h 2768575"/>
              <a:gd name="connsiteX19" fmla="*/ 476250 w 2376855"/>
              <a:gd name="connsiteY19" fmla="*/ 2601887 h 2768575"/>
              <a:gd name="connsiteX20" fmla="*/ 0 w 2376855"/>
              <a:gd name="connsiteY20" fmla="*/ 2578074 h 2768575"/>
              <a:gd name="connsiteX0" fmla="*/ 0 w 2376169"/>
              <a:gd name="connsiteY0" fmla="*/ 2578074 h 2768575"/>
              <a:gd name="connsiteX1" fmla="*/ 0 w 2376169"/>
              <a:gd name="connsiteY1" fmla="*/ 1239812 h 2768575"/>
              <a:gd name="connsiteX2" fmla="*/ 385762 w 2376169"/>
              <a:gd name="connsiteY2" fmla="*/ 1196949 h 2768575"/>
              <a:gd name="connsiteX3" fmla="*/ 616744 w 2376169"/>
              <a:gd name="connsiteY3" fmla="*/ 894530 h 2768575"/>
              <a:gd name="connsiteX4" fmla="*/ 973931 w 2376169"/>
              <a:gd name="connsiteY4" fmla="*/ 608781 h 2768575"/>
              <a:gd name="connsiteX5" fmla="*/ 1143000 w 2376169"/>
              <a:gd name="connsiteY5" fmla="*/ 72999 h 2768575"/>
              <a:gd name="connsiteX6" fmla="*/ 1369219 w 2376169"/>
              <a:gd name="connsiteY6" fmla="*/ 8706 h 2768575"/>
              <a:gd name="connsiteX7" fmla="*/ 1566862 w 2376169"/>
              <a:gd name="connsiteY7" fmla="*/ 356368 h 2768575"/>
              <a:gd name="connsiteX8" fmla="*/ 1402557 w 2376169"/>
              <a:gd name="connsiteY8" fmla="*/ 999305 h 2768575"/>
              <a:gd name="connsiteX9" fmla="*/ 2238375 w 2376169"/>
              <a:gd name="connsiteY9" fmla="*/ 1096937 h 2768575"/>
              <a:gd name="connsiteX10" fmla="*/ 2371725 w 2376169"/>
              <a:gd name="connsiteY10" fmla="*/ 1339825 h 2768575"/>
              <a:gd name="connsiteX11" fmla="*/ 2202655 w 2376169"/>
              <a:gd name="connsiteY11" fmla="*/ 1542231 h 2768575"/>
              <a:gd name="connsiteX12" fmla="*/ 2352675 w 2376169"/>
              <a:gd name="connsiteY12" fmla="*/ 1773212 h 2768575"/>
              <a:gd name="connsiteX13" fmla="*/ 2133600 w 2376169"/>
              <a:gd name="connsiteY13" fmla="*/ 1977999 h 2768575"/>
              <a:gd name="connsiteX14" fmla="*/ 2224087 w 2376169"/>
              <a:gd name="connsiteY14" fmla="*/ 2225649 h 2768575"/>
              <a:gd name="connsiteX15" fmla="*/ 1952625 w 2376169"/>
              <a:gd name="connsiteY15" fmla="*/ 2406624 h 2768575"/>
              <a:gd name="connsiteX16" fmla="*/ 2026444 w 2376169"/>
              <a:gd name="connsiteY16" fmla="*/ 2575694 h 2768575"/>
              <a:gd name="connsiteX17" fmla="*/ 1819275 w 2376169"/>
              <a:gd name="connsiteY17" fmla="*/ 2768575 h 2768575"/>
              <a:gd name="connsiteX18" fmla="*/ 923925 w 2376169"/>
              <a:gd name="connsiteY18" fmla="*/ 2754287 h 2768575"/>
              <a:gd name="connsiteX19" fmla="*/ 476250 w 2376169"/>
              <a:gd name="connsiteY19" fmla="*/ 2601887 h 2768575"/>
              <a:gd name="connsiteX20" fmla="*/ 0 w 2376169"/>
              <a:gd name="connsiteY20" fmla="*/ 2578074 h 2768575"/>
              <a:gd name="connsiteX0" fmla="*/ 0 w 2375039"/>
              <a:gd name="connsiteY0" fmla="*/ 2578074 h 2768575"/>
              <a:gd name="connsiteX1" fmla="*/ 0 w 2375039"/>
              <a:gd name="connsiteY1" fmla="*/ 1239812 h 2768575"/>
              <a:gd name="connsiteX2" fmla="*/ 385762 w 2375039"/>
              <a:gd name="connsiteY2" fmla="*/ 1196949 h 2768575"/>
              <a:gd name="connsiteX3" fmla="*/ 616744 w 2375039"/>
              <a:gd name="connsiteY3" fmla="*/ 894530 h 2768575"/>
              <a:gd name="connsiteX4" fmla="*/ 973931 w 2375039"/>
              <a:gd name="connsiteY4" fmla="*/ 608781 h 2768575"/>
              <a:gd name="connsiteX5" fmla="*/ 1143000 w 2375039"/>
              <a:gd name="connsiteY5" fmla="*/ 72999 h 2768575"/>
              <a:gd name="connsiteX6" fmla="*/ 1369219 w 2375039"/>
              <a:gd name="connsiteY6" fmla="*/ 8706 h 2768575"/>
              <a:gd name="connsiteX7" fmla="*/ 1566862 w 2375039"/>
              <a:gd name="connsiteY7" fmla="*/ 356368 h 2768575"/>
              <a:gd name="connsiteX8" fmla="*/ 1402557 w 2375039"/>
              <a:gd name="connsiteY8" fmla="*/ 999305 h 2768575"/>
              <a:gd name="connsiteX9" fmla="*/ 2233613 w 2375039"/>
              <a:gd name="connsiteY9" fmla="*/ 1096937 h 2768575"/>
              <a:gd name="connsiteX10" fmla="*/ 2371725 w 2375039"/>
              <a:gd name="connsiteY10" fmla="*/ 1339825 h 2768575"/>
              <a:gd name="connsiteX11" fmla="*/ 2202655 w 2375039"/>
              <a:gd name="connsiteY11" fmla="*/ 1542231 h 2768575"/>
              <a:gd name="connsiteX12" fmla="*/ 2352675 w 2375039"/>
              <a:gd name="connsiteY12" fmla="*/ 1773212 h 2768575"/>
              <a:gd name="connsiteX13" fmla="*/ 2133600 w 2375039"/>
              <a:gd name="connsiteY13" fmla="*/ 1977999 h 2768575"/>
              <a:gd name="connsiteX14" fmla="*/ 2224087 w 2375039"/>
              <a:gd name="connsiteY14" fmla="*/ 2225649 h 2768575"/>
              <a:gd name="connsiteX15" fmla="*/ 1952625 w 2375039"/>
              <a:gd name="connsiteY15" fmla="*/ 2406624 h 2768575"/>
              <a:gd name="connsiteX16" fmla="*/ 2026444 w 2375039"/>
              <a:gd name="connsiteY16" fmla="*/ 2575694 h 2768575"/>
              <a:gd name="connsiteX17" fmla="*/ 1819275 w 2375039"/>
              <a:gd name="connsiteY17" fmla="*/ 2768575 h 2768575"/>
              <a:gd name="connsiteX18" fmla="*/ 923925 w 2375039"/>
              <a:gd name="connsiteY18" fmla="*/ 2754287 h 2768575"/>
              <a:gd name="connsiteX19" fmla="*/ 476250 w 2375039"/>
              <a:gd name="connsiteY19" fmla="*/ 2601887 h 2768575"/>
              <a:gd name="connsiteX20" fmla="*/ 0 w 2375039"/>
              <a:gd name="connsiteY20" fmla="*/ 2578074 h 2768575"/>
              <a:gd name="connsiteX0" fmla="*/ 0 w 2372252"/>
              <a:gd name="connsiteY0" fmla="*/ 2578074 h 2768575"/>
              <a:gd name="connsiteX1" fmla="*/ 0 w 2372252"/>
              <a:gd name="connsiteY1" fmla="*/ 1239812 h 2768575"/>
              <a:gd name="connsiteX2" fmla="*/ 385762 w 2372252"/>
              <a:gd name="connsiteY2" fmla="*/ 1196949 h 2768575"/>
              <a:gd name="connsiteX3" fmla="*/ 616744 w 2372252"/>
              <a:gd name="connsiteY3" fmla="*/ 894530 h 2768575"/>
              <a:gd name="connsiteX4" fmla="*/ 973931 w 2372252"/>
              <a:gd name="connsiteY4" fmla="*/ 608781 h 2768575"/>
              <a:gd name="connsiteX5" fmla="*/ 1143000 w 2372252"/>
              <a:gd name="connsiteY5" fmla="*/ 72999 h 2768575"/>
              <a:gd name="connsiteX6" fmla="*/ 1369219 w 2372252"/>
              <a:gd name="connsiteY6" fmla="*/ 8706 h 2768575"/>
              <a:gd name="connsiteX7" fmla="*/ 1566862 w 2372252"/>
              <a:gd name="connsiteY7" fmla="*/ 356368 h 2768575"/>
              <a:gd name="connsiteX8" fmla="*/ 1402557 w 2372252"/>
              <a:gd name="connsiteY8" fmla="*/ 999305 h 2768575"/>
              <a:gd name="connsiteX9" fmla="*/ 2233613 w 2372252"/>
              <a:gd name="connsiteY9" fmla="*/ 1096937 h 2768575"/>
              <a:gd name="connsiteX10" fmla="*/ 2371725 w 2372252"/>
              <a:gd name="connsiteY10" fmla="*/ 1339825 h 2768575"/>
              <a:gd name="connsiteX11" fmla="*/ 2202655 w 2372252"/>
              <a:gd name="connsiteY11" fmla="*/ 1542231 h 2768575"/>
              <a:gd name="connsiteX12" fmla="*/ 2352675 w 2372252"/>
              <a:gd name="connsiteY12" fmla="*/ 1773212 h 2768575"/>
              <a:gd name="connsiteX13" fmla="*/ 2133600 w 2372252"/>
              <a:gd name="connsiteY13" fmla="*/ 1977999 h 2768575"/>
              <a:gd name="connsiteX14" fmla="*/ 2224087 w 2372252"/>
              <a:gd name="connsiteY14" fmla="*/ 2225649 h 2768575"/>
              <a:gd name="connsiteX15" fmla="*/ 1952625 w 2372252"/>
              <a:gd name="connsiteY15" fmla="*/ 2406624 h 2768575"/>
              <a:gd name="connsiteX16" fmla="*/ 2026444 w 2372252"/>
              <a:gd name="connsiteY16" fmla="*/ 2575694 h 2768575"/>
              <a:gd name="connsiteX17" fmla="*/ 1819275 w 2372252"/>
              <a:gd name="connsiteY17" fmla="*/ 2768575 h 2768575"/>
              <a:gd name="connsiteX18" fmla="*/ 923925 w 2372252"/>
              <a:gd name="connsiteY18" fmla="*/ 2754287 h 2768575"/>
              <a:gd name="connsiteX19" fmla="*/ 476250 w 2372252"/>
              <a:gd name="connsiteY19" fmla="*/ 2601887 h 2768575"/>
              <a:gd name="connsiteX20" fmla="*/ 0 w 2372252"/>
              <a:gd name="connsiteY20" fmla="*/ 2578074 h 2768575"/>
              <a:gd name="connsiteX0" fmla="*/ 0 w 2372252"/>
              <a:gd name="connsiteY0" fmla="*/ 2578074 h 2768575"/>
              <a:gd name="connsiteX1" fmla="*/ 0 w 2372252"/>
              <a:gd name="connsiteY1" fmla="*/ 1239812 h 2768575"/>
              <a:gd name="connsiteX2" fmla="*/ 385762 w 2372252"/>
              <a:gd name="connsiteY2" fmla="*/ 1196949 h 2768575"/>
              <a:gd name="connsiteX3" fmla="*/ 616744 w 2372252"/>
              <a:gd name="connsiteY3" fmla="*/ 894530 h 2768575"/>
              <a:gd name="connsiteX4" fmla="*/ 973931 w 2372252"/>
              <a:gd name="connsiteY4" fmla="*/ 608781 h 2768575"/>
              <a:gd name="connsiteX5" fmla="*/ 1143000 w 2372252"/>
              <a:gd name="connsiteY5" fmla="*/ 72999 h 2768575"/>
              <a:gd name="connsiteX6" fmla="*/ 1369219 w 2372252"/>
              <a:gd name="connsiteY6" fmla="*/ 8706 h 2768575"/>
              <a:gd name="connsiteX7" fmla="*/ 1566862 w 2372252"/>
              <a:gd name="connsiteY7" fmla="*/ 356368 h 2768575"/>
              <a:gd name="connsiteX8" fmla="*/ 1402557 w 2372252"/>
              <a:gd name="connsiteY8" fmla="*/ 999305 h 2768575"/>
              <a:gd name="connsiteX9" fmla="*/ 2233613 w 2372252"/>
              <a:gd name="connsiteY9" fmla="*/ 1096937 h 2768575"/>
              <a:gd name="connsiteX10" fmla="*/ 2371725 w 2372252"/>
              <a:gd name="connsiteY10" fmla="*/ 1339825 h 2768575"/>
              <a:gd name="connsiteX11" fmla="*/ 2202655 w 2372252"/>
              <a:gd name="connsiteY11" fmla="*/ 1542231 h 2768575"/>
              <a:gd name="connsiteX12" fmla="*/ 2352675 w 2372252"/>
              <a:gd name="connsiteY12" fmla="*/ 1773212 h 2768575"/>
              <a:gd name="connsiteX13" fmla="*/ 2133600 w 2372252"/>
              <a:gd name="connsiteY13" fmla="*/ 1977999 h 2768575"/>
              <a:gd name="connsiteX14" fmla="*/ 2224087 w 2372252"/>
              <a:gd name="connsiteY14" fmla="*/ 2225649 h 2768575"/>
              <a:gd name="connsiteX15" fmla="*/ 1952625 w 2372252"/>
              <a:gd name="connsiteY15" fmla="*/ 2406624 h 2768575"/>
              <a:gd name="connsiteX16" fmla="*/ 2026444 w 2372252"/>
              <a:gd name="connsiteY16" fmla="*/ 2575694 h 2768575"/>
              <a:gd name="connsiteX17" fmla="*/ 1819275 w 2372252"/>
              <a:gd name="connsiteY17" fmla="*/ 2768575 h 2768575"/>
              <a:gd name="connsiteX18" fmla="*/ 923925 w 2372252"/>
              <a:gd name="connsiteY18" fmla="*/ 2754287 h 2768575"/>
              <a:gd name="connsiteX19" fmla="*/ 476250 w 2372252"/>
              <a:gd name="connsiteY19" fmla="*/ 2601887 h 2768575"/>
              <a:gd name="connsiteX20" fmla="*/ 0 w 2372252"/>
              <a:gd name="connsiteY20" fmla="*/ 2578074 h 2768575"/>
              <a:gd name="connsiteX0" fmla="*/ 0 w 2372252"/>
              <a:gd name="connsiteY0" fmla="*/ 2578074 h 2768575"/>
              <a:gd name="connsiteX1" fmla="*/ 0 w 2372252"/>
              <a:gd name="connsiteY1" fmla="*/ 1239812 h 2768575"/>
              <a:gd name="connsiteX2" fmla="*/ 385762 w 2372252"/>
              <a:gd name="connsiteY2" fmla="*/ 1196949 h 2768575"/>
              <a:gd name="connsiteX3" fmla="*/ 616744 w 2372252"/>
              <a:gd name="connsiteY3" fmla="*/ 894530 h 2768575"/>
              <a:gd name="connsiteX4" fmla="*/ 973931 w 2372252"/>
              <a:gd name="connsiteY4" fmla="*/ 608781 h 2768575"/>
              <a:gd name="connsiteX5" fmla="*/ 1143000 w 2372252"/>
              <a:gd name="connsiteY5" fmla="*/ 72999 h 2768575"/>
              <a:gd name="connsiteX6" fmla="*/ 1369219 w 2372252"/>
              <a:gd name="connsiteY6" fmla="*/ 8706 h 2768575"/>
              <a:gd name="connsiteX7" fmla="*/ 1566862 w 2372252"/>
              <a:gd name="connsiteY7" fmla="*/ 356368 h 2768575"/>
              <a:gd name="connsiteX8" fmla="*/ 1402557 w 2372252"/>
              <a:gd name="connsiteY8" fmla="*/ 999305 h 2768575"/>
              <a:gd name="connsiteX9" fmla="*/ 2233613 w 2372252"/>
              <a:gd name="connsiteY9" fmla="*/ 1096937 h 2768575"/>
              <a:gd name="connsiteX10" fmla="*/ 2371725 w 2372252"/>
              <a:gd name="connsiteY10" fmla="*/ 1339825 h 2768575"/>
              <a:gd name="connsiteX11" fmla="*/ 2202655 w 2372252"/>
              <a:gd name="connsiteY11" fmla="*/ 1542231 h 2768575"/>
              <a:gd name="connsiteX12" fmla="*/ 2352675 w 2372252"/>
              <a:gd name="connsiteY12" fmla="*/ 1773212 h 2768575"/>
              <a:gd name="connsiteX13" fmla="*/ 2133600 w 2372252"/>
              <a:gd name="connsiteY13" fmla="*/ 1977999 h 2768575"/>
              <a:gd name="connsiteX14" fmla="*/ 2224087 w 2372252"/>
              <a:gd name="connsiteY14" fmla="*/ 2225649 h 2768575"/>
              <a:gd name="connsiteX15" fmla="*/ 1952625 w 2372252"/>
              <a:gd name="connsiteY15" fmla="*/ 2406624 h 2768575"/>
              <a:gd name="connsiteX16" fmla="*/ 2026444 w 2372252"/>
              <a:gd name="connsiteY16" fmla="*/ 2575694 h 2768575"/>
              <a:gd name="connsiteX17" fmla="*/ 1819275 w 2372252"/>
              <a:gd name="connsiteY17" fmla="*/ 2768575 h 2768575"/>
              <a:gd name="connsiteX18" fmla="*/ 923925 w 2372252"/>
              <a:gd name="connsiteY18" fmla="*/ 2754287 h 2768575"/>
              <a:gd name="connsiteX19" fmla="*/ 476250 w 2372252"/>
              <a:gd name="connsiteY19" fmla="*/ 2601887 h 2768575"/>
              <a:gd name="connsiteX20" fmla="*/ 0 w 2372252"/>
              <a:gd name="connsiteY20" fmla="*/ 2578074 h 2768575"/>
              <a:gd name="connsiteX0" fmla="*/ 0 w 2372252"/>
              <a:gd name="connsiteY0" fmla="*/ 2578074 h 2768575"/>
              <a:gd name="connsiteX1" fmla="*/ 0 w 2372252"/>
              <a:gd name="connsiteY1" fmla="*/ 1239812 h 2768575"/>
              <a:gd name="connsiteX2" fmla="*/ 385762 w 2372252"/>
              <a:gd name="connsiteY2" fmla="*/ 1196949 h 2768575"/>
              <a:gd name="connsiteX3" fmla="*/ 616744 w 2372252"/>
              <a:gd name="connsiteY3" fmla="*/ 894530 h 2768575"/>
              <a:gd name="connsiteX4" fmla="*/ 973931 w 2372252"/>
              <a:gd name="connsiteY4" fmla="*/ 608781 h 2768575"/>
              <a:gd name="connsiteX5" fmla="*/ 1143000 w 2372252"/>
              <a:gd name="connsiteY5" fmla="*/ 72999 h 2768575"/>
              <a:gd name="connsiteX6" fmla="*/ 1369219 w 2372252"/>
              <a:gd name="connsiteY6" fmla="*/ 8706 h 2768575"/>
              <a:gd name="connsiteX7" fmla="*/ 1566862 w 2372252"/>
              <a:gd name="connsiteY7" fmla="*/ 356368 h 2768575"/>
              <a:gd name="connsiteX8" fmla="*/ 1402557 w 2372252"/>
              <a:gd name="connsiteY8" fmla="*/ 999305 h 2768575"/>
              <a:gd name="connsiteX9" fmla="*/ 2233613 w 2372252"/>
              <a:gd name="connsiteY9" fmla="*/ 1096937 h 2768575"/>
              <a:gd name="connsiteX10" fmla="*/ 2371725 w 2372252"/>
              <a:gd name="connsiteY10" fmla="*/ 1339825 h 2768575"/>
              <a:gd name="connsiteX11" fmla="*/ 2202655 w 2372252"/>
              <a:gd name="connsiteY11" fmla="*/ 1542231 h 2768575"/>
              <a:gd name="connsiteX12" fmla="*/ 2352675 w 2372252"/>
              <a:gd name="connsiteY12" fmla="*/ 1773212 h 2768575"/>
              <a:gd name="connsiteX13" fmla="*/ 2133600 w 2372252"/>
              <a:gd name="connsiteY13" fmla="*/ 1977999 h 2768575"/>
              <a:gd name="connsiteX14" fmla="*/ 2224087 w 2372252"/>
              <a:gd name="connsiteY14" fmla="*/ 2225649 h 2768575"/>
              <a:gd name="connsiteX15" fmla="*/ 1952625 w 2372252"/>
              <a:gd name="connsiteY15" fmla="*/ 2406624 h 2768575"/>
              <a:gd name="connsiteX16" fmla="*/ 2026444 w 2372252"/>
              <a:gd name="connsiteY16" fmla="*/ 2575694 h 2768575"/>
              <a:gd name="connsiteX17" fmla="*/ 1819275 w 2372252"/>
              <a:gd name="connsiteY17" fmla="*/ 2768575 h 2768575"/>
              <a:gd name="connsiteX18" fmla="*/ 923925 w 2372252"/>
              <a:gd name="connsiteY18" fmla="*/ 2754287 h 2768575"/>
              <a:gd name="connsiteX19" fmla="*/ 476250 w 2372252"/>
              <a:gd name="connsiteY19" fmla="*/ 2601887 h 2768575"/>
              <a:gd name="connsiteX20" fmla="*/ 0 w 2372252"/>
              <a:gd name="connsiteY20" fmla="*/ 2578074 h 2768575"/>
              <a:gd name="connsiteX0" fmla="*/ 0 w 2371901"/>
              <a:gd name="connsiteY0" fmla="*/ 2578074 h 2768575"/>
              <a:gd name="connsiteX1" fmla="*/ 0 w 2371901"/>
              <a:gd name="connsiteY1" fmla="*/ 1239812 h 2768575"/>
              <a:gd name="connsiteX2" fmla="*/ 385762 w 2371901"/>
              <a:gd name="connsiteY2" fmla="*/ 1196949 h 2768575"/>
              <a:gd name="connsiteX3" fmla="*/ 616744 w 2371901"/>
              <a:gd name="connsiteY3" fmla="*/ 894530 h 2768575"/>
              <a:gd name="connsiteX4" fmla="*/ 973931 w 2371901"/>
              <a:gd name="connsiteY4" fmla="*/ 608781 h 2768575"/>
              <a:gd name="connsiteX5" fmla="*/ 1143000 w 2371901"/>
              <a:gd name="connsiteY5" fmla="*/ 72999 h 2768575"/>
              <a:gd name="connsiteX6" fmla="*/ 1369219 w 2371901"/>
              <a:gd name="connsiteY6" fmla="*/ 8706 h 2768575"/>
              <a:gd name="connsiteX7" fmla="*/ 1566862 w 2371901"/>
              <a:gd name="connsiteY7" fmla="*/ 356368 h 2768575"/>
              <a:gd name="connsiteX8" fmla="*/ 1402557 w 2371901"/>
              <a:gd name="connsiteY8" fmla="*/ 999305 h 2768575"/>
              <a:gd name="connsiteX9" fmla="*/ 2233613 w 2371901"/>
              <a:gd name="connsiteY9" fmla="*/ 1096937 h 2768575"/>
              <a:gd name="connsiteX10" fmla="*/ 2371725 w 2371901"/>
              <a:gd name="connsiteY10" fmla="*/ 1339825 h 2768575"/>
              <a:gd name="connsiteX11" fmla="*/ 2202655 w 2371901"/>
              <a:gd name="connsiteY11" fmla="*/ 1542231 h 2768575"/>
              <a:gd name="connsiteX12" fmla="*/ 2352675 w 2371901"/>
              <a:gd name="connsiteY12" fmla="*/ 1773212 h 2768575"/>
              <a:gd name="connsiteX13" fmla="*/ 2133600 w 2371901"/>
              <a:gd name="connsiteY13" fmla="*/ 1977999 h 2768575"/>
              <a:gd name="connsiteX14" fmla="*/ 2224087 w 2371901"/>
              <a:gd name="connsiteY14" fmla="*/ 2225649 h 2768575"/>
              <a:gd name="connsiteX15" fmla="*/ 1952625 w 2371901"/>
              <a:gd name="connsiteY15" fmla="*/ 2406624 h 2768575"/>
              <a:gd name="connsiteX16" fmla="*/ 2026444 w 2371901"/>
              <a:gd name="connsiteY16" fmla="*/ 2575694 h 2768575"/>
              <a:gd name="connsiteX17" fmla="*/ 1819275 w 2371901"/>
              <a:gd name="connsiteY17" fmla="*/ 2768575 h 2768575"/>
              <a:gd name="connsiteX18" fmla="*/ 923925 w 2371901"/>
              <a:gd name="connsiteY18" fmla="*/ 2754287 h 2768575"/>
              <a:gd name="connsiteX19" fmla="*/ 476250 w 2371901"/>
              <a:gd name="connsiteY19" fmla="*/ 2601887 h 2768575"/>
              <a:gd name="connsiteX20" fmla="*/ 0 w 2371901"/>
              <a:gd name="connsiteY20" fmla="*/ 2578074 h 2768575"/>
              <a:gd name="connsiteX0" fmla="*/ 0 w 2371901"/>
              <a:gd name="connsiteY0" fmla="*/ 2578074 h 2768575"/>
              <a:gd name="connsiteX1" fmla="*/ 0 w 2371901"/>
              <a:gd name="connsiteY1" fmla="*/ 1239812 h 2768575"/>
              <a:gd name="connsiteX2" fmla="*/ 385762 w 2371901"/>
              <a:gd name="connsiteY2" fmla="*/ 1196949 h 2768575"/>
              <a:gd name="connsiteX3" fmla="*/ 616744 w 2371901"/>
              <a:gd name="connsiteY3" fmla="*/ 894530 h 2768575"/>
              <a:gd name="connsiteX4" fmla="*/ 973931 w 2371901"/>
              <a:gd name="connsiteY4" fmla="*/ 608781 h 2768575"/>
              <a:gd name="connsiteX5" fmla="*/ 1143000 w 2371901"/>
              <a:gd name="connsiteY5" fmla="*/ 72999 h 2768575"/>
              <a:gd name="connsiteX6" fmla="*/ 1369219 w 2371901"/>
              <a:gd name="connsiteY6" fmla="*/ 8706 h 2768575"/>
              <a:gd name="connsiteX7" fmla="*/ 1566862 w 2371901"/>
              <a:gd name="connsiteY7" fmla="*/ 356368 h 2768575"/>
              <a:gd name="connsiteX8" fmla="*/ 1402557 w 2371901"/>
              <a:gd name="connsiteY8" fmla="*/ 999305 h 2768575"/>
              <a:gd name="connsiteX9" fmla="*/ 2233613 w 2371901"/>
              <a:gd name="connsiteY9" fmla="*/ 1096937 h 2768575"/>
              <a:gd name="connsiteX10" fmla="*/ 2371725 w 2371901"/>
              <a:gd name="connsiteY10" fmla="*/ 1339825 h 2768575"/>
              <a:gd name="connsiteX11" fmla="*/ 2202655 w 2371901"/>
              <a:gd name="connsiteY11" fmla="*/ 1542231 h 2768575"/>
              <a:gd name="connsiteX12" fmla="*/ 2352675 w 2371901"/>
              <a:gd name="connsiteY12" fmla="*/ 1773212 h 2768575"/>
              <a:gd name="connsiteX13" fmla="*/ 2133600 w 2371901"/>
              <a:gd name="connsiteY13" fmla="*/ 1977999 h 2768575"/>
              <a:gd name="connsiteX14" fmla="*/ 2224087 w 2371901"/>
              <a:gd name="connsiteY14" fmla="*/ 2225649 h 2768575"/>
              <a:gd name="connsiteX15" fmla="*/ 1952625 w 2371901"/>
              <a:gd name="connsiteY15" fmla="*/ 2406624 h 2768575"/>
              <a:gd name="connsiteX16" fmla="*/ 2026444 w 2371901"/>
              <a:gd name="connsiteY16" fmla="*/ 2575694 h 2768575"/>
              <a:gd name="connsiteX17" fmla="*/ 1819275 w 2371901"/>
              <a:gd name="connsiteY17" fmla="*/ 2768575 h 2768575"/>
              <a:gd name="connsiteX18" fmla="*/ 923925 w 2371901"/>
              <a:gd name="connsiteY18" fmla="*/ 2754287 h 2768575"/>
              <a:gd name="connsiteX19" fmla="*/ 476250 w 2371901"/>
              <a:gd name="connsiteY19" fmla="*/ 2601887 h 2768575"/>
              <a:gd name="connsiteX20" fmla="*/ 0 w 2371901"/>
              <a:gd name="connsiteY20" fmla="*/ 2578074 h 2768575"/>
              <a:gd name="connsiteX0" fmla="*/ 0 w 2371901"/>
              <a:gd name="connsiteY0" fmla="*/ 2578074 h 2768575"/>
              <a:gd name="connsiteX1" fmla="*/ 0 w 2371901"/>
              <a:gd name="connsiteY1" fmla="*/ 1239812 h 2768575"/>
              <a:gd name="connsiteX2" fmla="*/ 385762 w 2371901"/>
              <a:gd name="connsiteY2" fmla="*/ 1196949 h 2768575"/>
              <a:gd name="connsiteX3" fmla="*/ 616744 w 2371901"/>
              <a:gd name="connsiteY3" fmla="*/ 894530 h 2768575"/>
              <a:gd name="connsiteX4" fmla="*/ 973931 w 2371901"/>
              <a:gd name="connsiteY4" fmla="*/ 608781 h 2768575"/>
              <a:gd name="connsiteX5" fmla="*/ 1143000 w 2371901"/>
              <a:gd name="connsiteY5" fmla="*/ 72999 h 2768575"/>
              <a:gd name="connsiteX6" fmla="*/ 1369219 w 2371901"/>
              <a:gd name="connsiteY6" fmla="*/ 8706 h 2768575"/>
              <a:gd name="connsiteX7" fmla="*/ 1566862 w 2371901"/>
              <a:gd name="connsiteY7" fmla="*/ 356368 h 2768575"/>
              <a:gd name="connsiteX8" fmla="*/ 1402557 w 2371901"/>
              <a:gd name="connsiteY8" fmla="*/ 999305 h 2768575"/>
              <a:gd name="connsiteX9" fmla="*/ 2233613 w 2371901"/>
              <a:gd name="connsiteY9" fmla="*/ 1096937 h 2768575"/>
              <a:gd name="connsiteX10" fmla="*/ 2371725 w 2371901"/>
              <a:gd name="connsiteY10" fmla="*/ 1339825 h 2768575"/>
              <a:gd name="connsiteX11" fmla="*/ 2202655 w 2371901"/>
              <a:gd name="connsiteY11" fmla="*/ 1542231 h 2768575"/>
              <a:gd name="connsiteX12" fmla="*/ 2352675 w 2371901"/>
              <a:gd name="connsiteY12" fmla="*/ 1773212 h 2768575"/>
              <a:gd name="connsiteX13" fmla="*/ 2133600 w 2371901"/>
              <a:gd name="connsiteY13" fmla="*/ 1977999 h 2768575"/>
              <a:gd name="connsiteX14" fmla="*/ 2224087 w 2371901"/>
              <a:gd name="connsiteY14" fmla="*/ 2225649 h 2768575"/>
              <a:gd name="connsiteX15" fmla="*/ 1952625 w 2371901"/>
              <a:gd name="connsiteY15" fmla="*/ 2406624 h 2768575"/>
              <a:gd name="connsiteX16" fmla="*/ 2026444 w 2371901"/>
              <a:gd name="connsiteY16" fmla="*/ 2575694 h 2768575"/>
              <a:gd name="connsiteX17" fmla="*/ 1819275 w 2371901"/>
              <a:gd name="connsiteY17" fmla="*/ 2768575 h 2768575"/>
              <a:gd name="connsiteX18" fmla="*/ 923925 w 2371901"/>
              <a:gd name="connsiteY18" fmla="*/ 2754287 h 2768575"/>
              <a:gd name="connsiteX19" fmla="*/ 476250 w 2371901"/>
              <a:gd name="connsiteY19" fmla="*/ 2601887 h 2768575"/>
              <a:gd name="connsiteX20" fmla="*/ 0 w 2371901"/>
              <a:gd name="connsiteY20" fmla="*/ 2578074 h 2768575"/>
              <a:gd name="connsiteX0" fmla="*/ 0 w 2371901"/>
              <a:gd name="connsiteY0" fmla="*/ 2578074 h 2768575"/>
              <a:gd name="connsiteX1" fmla="*/ 0 w 2371901"/>
              <a:gd name="connsiteY1" fmla="*/ 1239812 h 2768575"/>
              <a:gd name="connsiteX2" fmla="*/ 385762 w 2371901"/>
              <a:gd name="connsiteY2" fmla="*/ 1196949 h 2768575"/>
              <a:gd name="connsiteX3" fmla="*/ 616744 w 2371901"/>
              <a:gd name="connsiteY3" fmla="*/ 894530 h 2768575"/>
              <a:gd name="connsiteX4" fmla="*/ 973931 w 2371901"/>
              <a:gd name="connsiteY4" fmla="*/ 608781 h 2768575"/>
              <a:gd name="connsiteX5" fmla="*/ 1143000 w 2371901"/>
              <a:gd name="connsiteY5" fmla="*/ 72999 h 2768575"/>
              <a:gd name="connsiteX6" fmla="*/ 1369219 w 2371901"/>
              <a:gd name="connsiteY6" fmla="*/ 8706 h 2768575"/>
              <a:gd name="connsiteX7" fmla="*/ 1566862 w 2371901"/>
              <a:gd name="connsiteY7" fmla="*/ 356368 h 2768575"/>
              <a:gd name="connsiteX8" fmla="*/ 1402557 w 2371901"/>
              <a:gd name="connsiteY8" fmla="*/ 999305 h 2768575"/>
              <a:gd name="connsiteX9" fmla="*/ 2233613 w 2371901"/>
              <a:gd name="connsiteY9" fmla="*/ 1096937 h 2768575"/>
              <a:gd name="connsiteX10" fmla="*/ 2371725 w 2371901"/>
              <a:gd name="connsiteY10" fmla="*/ 1339825 h 2768575"/>
              <a:gd name="connsiteX11" fmla="*/ 2202655 w 2371901"/>
              <a:gd name="connsiteY11" fmla="*/ 1542231 h 2768575"/>
              <a:gd name="connsiteX12" fmla="*/ 2352675 w 2371901"/>
              <a:gd name="connsiteY12" fmla="*/ 1773212 h 2768575"/>
              <a:gd name="connsiteX13" fmla="*/ 2133600 w 2371901"/>
              <a:gd name="connsiteY13" fmla="*/ 1977999 h 2768575"/>
              <a:gd name="connsiteX14" fmla="*/ 2221706 w 2371901"/>
              <a:gd name="connsiteY14" fmla="*/ 2242318 h 2768575"/>
              <a:gd name="connsiteX15" fmla="*/ 1952625 w 2371901"/>
              <a:gd name="connsiteY15" fmla="*/ 2406624 h 2768575"/>
              <a:gd name="connsiteX16" fmla="*/ 2026444 w 2371901"/>
              <a:gd name="connsiteY16" fmla="*/ 2575694 h 2768575"/>
              <a:gd name="connsiteX17" fmla="*/ 1819275 w 2371901"/>
              <a:gd name="connsiteY17" fmla="*/ 2768575 h 2768575"/>
              <a:gd name="connsiteX18" fmla="*/ 923925 w 2371901"/>
              <a:gd name="connsiteY18" fmla="*/ 2754287 h 2768575"/>
              <a:gd name="connsiteX19" fmla="*/ 476250 w 2371901"/>
              <a:gd name="connsiteY19" fmla="*/ 2601887 h 2768575"/>
              <a:gd name="connsiteX20" fmla="*/ 0 w 2371901"/>
              <a:gd name="connsiteY20" fmla="*/ 2578074 h 2768575"/>
              <a:gd name="connsiteX0" fmla="*/ 0 w 2371901"/>
              <a:gd name="connsiteY0" fmla="*/ 2578074 h 2768575"/>
              <a:gd name="connsiteX1" fmla="*/ 0 w 2371901"/>
              <a:gd name="connsiteY1" fmla="*/ 1239812 h 2768575"/>
              <a:gd name="connsiteX2" fmla="*/ 385762 w 2371901"/>
              <a:gd name="connsiteY2" fmla="*/ 1196949 h 2768575"/>
              <a:gd name="connsiteX3" fmla="*/ 616744 w 2371901"/>
              <a:gd name="connsiteY3" fmla="*/ 894530 h 2768575"/>
              <a:gd name="connsiteX4" fmla="*/ 973931 w 2371901"/>
              <a:gd name="connsiteY4" fmla="*/ 608781 h 2768575"/>
              <a:gd name="connsiteX5" fmla="*/ 1143000 w 2371901"/>
              <a:gd name="connsiteY5" fmla="*/ 72999 h 2768575"/>
              <a:gd name="connsiteX6" fmla="*/ 1369219 w 2371901"/>
              <a:gd name="connsiteY6" fmla="*/ 8706 h 2768575"/>
              <a:gd name="connsiteX7" fmla="*/ 1566862 w 2371901"/>
              <a:gd name="connsiteY7" fmla="*/ 356368 h 2768575"/>
              <a:gd name="connsiteX8" fmla="*/ 1402557 w 2371901"/>
              <a:gd name="connsiteY8" fmla="*/ 999305 h 2768575"/>
              <a:gd name="connsiteX9" fmla="*/ 2233613 w 2371901"/>
              <a:gd name="connsiteY9" fmla="*/ 1096937 h 2768575"/>
              <a:gd name="connsiteX10" fmla="*/ 2371725 w 2371901"/>
              <a:gd name="connsiteY10" fmla="*/ 1339825 h 2768575"/>
              <a:gd name="connsiteX11" fmla="*/ 2202655 w 2371901"/>
              <a:gd name="connsiteY11" fmla="*/ 1542231 h 2768575"/>
              <a:gd name="connsiteX12" fmla="*/ 2352675 w 2371901"/>
              <a:gd name="connsiteY12" fmla="*/ 1773212 h 2768575"/>
              <a:gd name="connsiteX13" fmla="*/ 2133600 w 2371901"/>
              <a:gd name="connsiteY13" fmla="*/ 1977999 h 2768575"/>
              <a:gd name="connsiteX14" fmla="*/ 2221706 w 2371901"/>
              <a:gd name="connsiteY14" fmla="*/ 2242318 h 2768575"/>
              <a:gd name="connsiteX15" fmla="*/ 1952625 w 2371901"/>
              <a:gd name="connsiteY15" fmla="*/ 2406624 h 2768575"/>
              <a:gd name="connsiteX16" fmla="*/ 2026444 w 2371901"/>
              <a:gd name="connsiteY16" fmla="*/ 2575694 h 2768575"/>
              <a:gd name="connsiteX17" fmla="*/ 1819275 w 2371901"/>
              <a:gd name="connsiteY17" fmla="*/ 2768575 h 2768575"/>
              <a:gd name="connsiteX18" fmla="*/ 923925 w 2371901"/>
              <a:gd name="connsiteY18" fmla="*/ 2754287 h 2768575"/>
              <a:gd name="connsiteX19" fmla="*/ 476250 w 2371901"/>
              <a:gd name="connsiteY19" fmla="*/ 2601887 h 2768575"/>
              <a:gd name="connsiteX20" fmla="*/ 0 w 2371901"/>
              <a:gd name="connsiteY20" fmla="*/ 2578074 h 2768575"/>
              <a:gd name="connsiteX0" fmla="*/ 0 w 2371901"/>
              <a:gd name="connsiteY0" fmla="*/ 2578074 h 2768575"/>
              <a:gd name="connsiteX1" fmla="*/ 0 w 2371901"/>
              <a:gd name="connsiteY1" fmla="*/ 1239812 h 2768575"/>
              <a:gd name="connsiteX2" fmla="*/ 385762 w 2371901"/>
              <a:gd name="connsiteY2" fmla="*/ 1196949 h 2768575"/>
              <a:gd name="connsiteX3" fmla="*/ 616744 w 2371901"/>
              <a:gd name="connsiteY3" fmla="*/ 894530 h 2768575"/>
              <a:gd name="connsiteX4" fmla="*/ 973931 w 2371901"/>
              <a:gd name="connsiteY4" fmla="*/ 608781 h 2768575"/>
              <a:gd name="connsiteX5" fmla="*/ 1143000 w 2371901"/>
              <a:gd name="connsiteY5" fmla="*/ 72999 h 2768575"/>
              <a:gd name="connsiteX6" fmla="*/ 1369219 w 2371901"/>
              <a:gd name="connsiteY6" fmla="*/ 8706 h 2768575"/>
              <a:gd name="connsiteX7" fmla="*/ 1566862 w 2371901"/>
              <a:gd name="connsiteY7" fmla="*/ 356368 h 2768575"/>
              <a:gd name="connsiteX8" fmla="*/ 1402557 w 2371901"/>
              <a:gd name="connsiteY8" fmla="*/ 999305 h 2768575"/>
              <a:gd name="connsiteX9" fmla="*/ 2233613 w 2371901"/>
              <a:gd name="connsiteY9" fmla="*/ 1096937 h 2768575"/>
              <a:gd name="connsiteX10" fmla="*/ 2371725 w 2371901"/>
              <a:gd name="connsiteY10" fmla="*/ 1339825 h 2768575"/>
              <a:gd name="connsiteX11" fmla="*/ 2202655 w 2371901"/>
              <a:gd name="connsiteY11" fmla="*/ 1542231 h 2768575"/>
              <a:gd name="connsiteX12" fmla="*/ 2352675 w 2371901"/>
              <a:gd name="connsiteY12" fmla="*/ 1773212 h 2768575"/>
              <a:gd name="connsiteX13" fmla="*/ 2133600 w 2371901"/>
              <a:gd name="connsiteY13" fmla="*/ 1977999 h 2768575"/>
              <a:gd name="connsiteX14" fmla="*/ 2221706 w 2371901"/>
              <a:gd name="connsiteY14" fmla="*/ 2242318 h 2768575"/>
              <a:gd name="connsiteX15" fmla="*/ 1952625 w 2371901"/>
              <a:gd name="connsiteY15" fmla="*/ 2406624 h 2768575"/>
              <a:gd name="connsiteX16" fmla="*/ 2026444 w 2371901"/>
              <a:gd name="connsiteY16" fmla="*/ 2575694 h 2768575"/>
              <a:gd name="connsiteX17" fmla="*/ 1819275 w 2371901"/>
              <a:gd name="connsiteY17" fmla="*/ 2768575 h 2768575"/>
              <a:gd name="connsiteX18" fmla="*/ 923925 w 2371901"/>
              <a:gd name="connsiteY18" fmla="*/ 2754287 h 2768575"/>
              <a:gd name="connsiteX19" fmla="*/ 476250 w 2371901"/>
              <a:gd name="connsiteY19" fmla="*/ 2601887 h 2768575"/>
              <a:gd name="connsiteX20" fmla="*/ 0 w 2371901"/>
              <a:gd name="connsiteY20" fmla="*/ 2578074 h 2768575"/>
              <a:gd name="connsiteX0" fmla="*/ 0 w 2371901"/>
              <a:gd name="connsiteY0" fmla="*/ 2578074 h 2768575"/>
              <a:gd name="connsiteX1" fmla="*/ 0 w 2371901"/>
              <a:gd name="connsiteY1" fmla="*/ 1239812 h 2768575"/>
              <a:gd name="connsiteX2" fmla="*/ 385762 w 2371901"/>
              <a:gd name="connsiteY2" fmla="*/ 1196949 h 2768575"/>
              <a:gd name="connsiteX3" fmla="*/ 616744 w 2371901"/>
              <a:gd name="connsiteY3" fmla="*/ 894530 h 2768575"/>
              <a:gd name="connsiteX4" fmla="*/ 973931 w 2371901"/>
              <a:gd name="connsiteY4" fmla="*/ 608781 h 2768575"/>
              <a:gd name="connsiteX5" fmla="*/ 1143000 w 2371901"/>
              <a:gd name="connsiteY5" fmla="*/ 72999 h 2768575"/>
              <a:gd name="connsiteX6" fmla="*/ 1369219 w 2371901"/>
              <a:gd name="connsiteY6" fmla="*/ 8706 h 2768575"/>
              <a:gd name="connsiteX7" fmla="*/ 1566862 w 2371901"/>
              <a:gd name="connsiteY7" fmla="*/ 356368 h 2768575"/>
              <a:gd name="connsiteX8" fmla="*/ 1402557 w 2371901"/>
              <a:gd name="connsiteY8" fmla="*/ 999305 h 2768575"/>
              <a:gd name="connsiteX9" fmla="*/ 2233613 w 2371901"/>
              <a:gd name="connsiteY9" fmla="*/ 1096937 h 2768575"/>
              <a:gd name="connsiteX10" fmla="*/ 2371725 w 2371901"/>
              <a:gd name="connsiteY10" fmla="*/ 1339825 h 2768575"/>
              <a:gd name="connsiteX11" fmla="*/ 2202655 w 2371901"/>
              <a:gd name="connsiteY11" fmla="*/ 1542231 h 2768575"/>
              <a:gd name="connsiteX12" fmla="*/ 2352675 w 2371901"/>
              <a:gd name="connsiteY12" fmla="*/ 1773212 h 2768575"/>
              <a:gd name="connsiteX13" fmla="*/ 2133600 w 2371901"/>
              <a:gd name="connsiteY13" fmla="*/ 1977999 h 2768575"/>
              <a:gd name="connsiteX14" fmla="*/ 2221706 w 2371901"/>
              <a:gd name="connsiteY14" fmla="*/ 2242318 h 2768575"/>
              <a:gd name="connsiteX15" fmla="*/ 1952625 w 2371901"/>
              <a:gd name="connsiteY15" fmla="*/ 2406624 h 2768575"/>
              <a:gd name="connsiteX16" fmla="*/ 2026444 w 2371901"/>
              <a:gd name="connsiteY16" fmla="*/ 2575694 h 2768575"/>
              <a:gd name="connsiteX17" fmla="*/ 1819275 w 2371901"/>
              <a:gd name="connsiteY17" fmla="*/ 2768575 h 2768575"/>
              <a:gd name="connsiteX18" fmla="*/ 923925 w 2371901"/>
              <a:gd name="connsiteY18" fmla="*/ 2754287 h 2768575"/>
              <a:gd name="connsiteX19" fmla="*/ 476250 w 2371901"/>
              <a:gd name="connsiteY19" fmla="*/ 2601887 h 2768575"/>
              <a:gd name="connsiteX20" fmla="*/ 0 w 2371901"/>
              <a:gd name="connsiteY20" fmla="*/ 2578074 h 2768575"/>
              <a:gd name="connsiteX0" fmla="*/ 0 w 2371901"/>
              <a:gd name="connsiteY0" fmla="*/ 2578074 h 2768575"/>
              <a:gd name="connsiteX1" fmla="*/ 0 w 2371901"/>
              <a:gd name="connsiteY1" fmla="*/ 1239812 h 2768575"/>
              <a:gd name="connsiteX2" fmla="*/ 385762 w 2371901"/>
              <a:gd name="connsiteY2" fmla="*/ 1196949 h 2768575"/>
              <a:gd name="connsiteX3" fmla="*/ 616744 w 2371901"/>
              <a:gd name="connsiteY3" fmla="*/ 894530 h 2768575"/>
              <a:gd name="connsiteX4" fmla="*/ 973931 w 2371901"/>
              <a:gd name="connsiteY4" fmla="*/ 608781 h 2768575"/>
              <a:gd name="connsiteX5" fmla="*/ 1143000 w 2371901"/>
              <a:gd name="connsiteY5" fmla="*/ 72999 h 2768575"/>
              <a:gd name="connsiteX6" fmla="*/ 1369219 w 2371901"/>
              <a:gd name="connsiteY6" fmla="*/ 8706 h 2768575"/>
              <a:gd name="connsiteX7" fmla="*/ 1566862 w 2371901"/>
              <a:gd name="connsiteY7" fmla="*/ 356368 h 2768575"/>
              <a:gd name="connsiteX8" fmla="*/ 1402557 w 2371901"/>
              <a:gd name="connsiteY8" fmla="*/ 999305 h 2768575"/>
              <a:gd name="connsiteX9" fmla="*/ 2233613 w 2371901"/>
              <a:gd name="connsiteY9" fmla="*/ 1096937 h 2768575"/>
              <a:gd name="connsiteX10" fmla="*/ 2371725 w 2371901"/>
              <a:gd name="connsiteY10" fmla="*/ 1339825 h 2768575"/>
              <a:gd name="connsiteX11" fmla="*/ 2202655 w 2371901"/>
              <a:gd name="connsiteY11" fmla="*/ 1542231 h 2768575"/>
              <a:gd name="connsiteX12" fmla="*/ 2352675 w 2371901"/>
              <a:gd name="connsiteY12" fmla="*/ 1773212 h 2768575"/>
              <a:gd name="connsiteX13" fmla="*/ 2133600 w 2371901"/>
              <a:gd name="connsiteY13" fmla="*/ 1977999 h 2768575"/>
              <a:gd name="connsiteX14" fmla="*/ 2221706 w 2371901"/>
              <a:gd name="connsiteY14" fmla="*/ 2242318 h 2768575"/>
              <a:gd name="connsiteX15" fmla="*/ 1952625 w 2371901"/>
              <a:gd name="connsiteY15" fmla="*/ 2406624 h 2768575"/>
              <a:gd name="connsiteX16" fmla="*/ 2026444 w 2371901"/>
              <a:gd name="connsiteY16" fmla="*/ 2575694 h 2768575"/>
              <a:gd name="connsiteX17" fmla="*/ 1819275 w 2371901"/>
              <a:gd name="connsiteY17" fmla="*/ 2768575 h 2768575"/>
              <a:gd name="connsiteX18" fmla="*/ 923925 w 2371901"/>
              <a:gd name="connsiteY18" fmla="*/ 2754287 h 2768575"/>
              <a:gd name="connsiteX19" fmla="*/ 476250 w 2371901"/>
              <a:gd name="connsiteY19" fmla="*/ 2601887 h 2768575"/>
              <a:gd name="connsiteX20" fmla="*/ 0 w 2371901"/>
              <a:gd name="connsiteY20" fmla="*/ 2578074 h 2768575"/>
              <a:gd name="connsiteX0" fmla="*/ 0 w 2371901"/>
              <a:gd name="connsiteY0" fmla="*/ 2578074 h 2768575"/>
              <a:gd name="connsiteX1" fmla="*/ 0 w 2371901"/>
              <a:gd name="connsiteY1" fmla="*/ 1239812 h 2768575"/>
              <a:gd name="connsiteX2" fmla="*/ 385762 w 2371901"/>
              <a:gd name="connsiteY2" fmla="*/ 1196949 h 2768575"/>
              <a:gd name="connsiteX3" fmla="*/ 616744 w 2371901"/>
              <a:gd name="connsiteY3" fmla="*/ 894530 h 2768575"/>
              <a:gd name="connsiteX4" fmla="*/ 973931 w 2371901"/>
              <a:gd name="connsiteY4" fmla="*/ 608781 h 2768575"/>
              <a:gd name="connsiteX5" fmla="*/ 1143000 w 2371901"/>
              <a:gd name="connsiteY5" fmla="*/ 72999 h 2768575"/>
              <a:gd name="connsiteX6" fmla="*/ 1369219 w 2371901"/>
              <a:gd name="connsiteY6" fmla="*/ 8706 h 2768575"/>
              <a:gd name="connsiteX7" fmla="*/ 1566862 w 2371901"/>
              <a:gd name="connsiteY7" fmla="*/ 356368 h 2768575"/>
              <a:gd name="connsiteX8" fmla="*/ 1402557 w 2371901"/>
              <a:gd name="connsiteY8" fmla="*/ 999305 h 2768575"/>
              <a:gd name="connsiteX9" fmla="*/ 2233613 w 2371901"/>
              <a:gd name="connsiteY9" fmla="*/ 1096937 h 2768575"/>
              <a:gd name="connsiteX10" fmla="*/ 2371725 w 2371901"/>
              <a:gd name="connsiteY10" fmla="*/ 1339825 h 2768575"/>
              <a:gd name="connsiteX11" fmla="*/ 2202655 w 2371901"/>
              <a:gd name="connsiteY11" fmla="*/ 1542231 h 2768575"/>
              <a:gd name="connsiteX12" fmla="*/ 2352675 w 2371901"/>
              <a:gd name="connsiteY12" fmla="*/ 1773212 h 2768575"/>
              <a:gd name="connsiteX13" fmla="*/ 2133600 w 2371901"/>
              <a:gd name="connsiteY13" fmla="*/ 1977999 h 2768575"/>
              <a:gd name="connsiteX14" fmla="*/ 2219325 w 2371901"/>
              <a:gd name="connsiteY14" fmla="*/ 2263750 h 2768575"/>
              <a:gd name="connsiteX15" fmla="*/ 1952625 w 2371901"/>
              <a:gd name="connsiteY15" fmla="*/ 2406624 h 2768575"/>
              <a:gd name="connsiteX16" fmla="*/ 2026444 w 2371901"/>
              <a:gd name="connsiteY16" fmla="*/ 2575694 h 2768575"/>
              <a:gd name="connsiteX17" fmla="*/ 1819275 w 2371901"/>
              <a:gd name="connsiteY17" fmla="*/ 2768575 h 2768575"/>
              <a:gd name="connsiteX18" fmla="*/ 923925 w 2371901"/>
              <a:gd name="connsiteY18" fmla="*/ 2754287 h 2768575"/>
              <a:gd name="connsiteX19" fmla="*/ 476250 w 2371901"/>
              <a:gd name="connsiteY19" fmla="*/ 2601887 h 2768575"/>
              <a:gd name="connsiteX20" fmla="*/ 0 w 2371901"/>
              <a:gd name="connsiteY20" fmla="*/ 2578074 h 2768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2371901" h="2768575">
                <a:moveTo>
                  <a:pt x="0" y="2578074"/>
                </a:moveTo>
                <a:lnTo>
                  <a:pt x="0" y="1239812"/>
                </a:lnTo>
                <a:cubicBezTo>
                  <a:pt x="128587" y="1225524"/>
                  <a:pt x="282971" y="1254496"/>
                  <a:pt x="385762" y="1196949"/>
                </a:cubicBezTo>
                <a:cubicBezTo>
                  <a:pt x="488553" y="1139402"/>
                  <a:pt x="518716" y="992558"/>
                  <a:pt x="616744" y="894530"/>
                </a:cubicBezTo>
                <a:cubicBezTo>
                  <a:pt x="714772" y="796502"/>
                  <a:pt x="936624" y="658787"/>
                  <a:pt x="973931" y="608781"/>
                </a:cubicBezTo>
                <a:cubicBezTo>
                  <a:pt x="1011238" y="558775"/>
                  <a:pt x="1089025" y="258737"/>
                  <a:pt x="1143000" y="72999"/>
                </a:cubicBezTo>
                <a:cubicBezTo>
                  <a:pt x="1187450" y="34900"/>
                  <a:pt x="1272381" y="-21853"/>
                  <a:pt x="1369219" y="8706"/>
                </a:cubicBezTo>
                <a:cubicBezTo>
                  <a:pt x="1466057" y="39265"/>
                  <a:pt x="1561306" y="191268"/>
                  <a:pt x="1566862" y="356368"/>
                </a:cubicBezTo>
                <a:cubicBezTo>
                  <a:pt x="1572418" y="521468"/>
                  <a:pt x="1461294" y="792930"/>
                  <a:pt x="1402557" y="999305"/>
                </a:cubicBezTo>
                <a:cubicBezTo>
                  <a:pt x="1681163" y="1031849"/>
                  <a:pt x="2122092" y="1059234"/>
                  <a:pt x="2233613" y="1096937"/>
                </a:cubicBezTo>
                <a:cubicBezTo>
                  <a:pt x="2345134" y="1134640"/>
                  <a:pt x="2374504" y="1229891"/>
                  <a:pt x="2371725" y="1339825"/>
                </a:cubicBezTo>
                <a:cubicBezTo>
                  <a:pt x="2368946" y="1449759"/>
                  <a:pt x="2241549" y="1531119"/>
                  <a:pt x="2202655" y="1542231"/>
                </a:cubicBezTo>
                <a:cubicBezTo>
                  <a:pt x="2233612" y="1573981"/>
                  <a:pt x="2395140" y="1605334"/>
                  <a:pt x="2352675" y="1773212"/>
                </a:cubicBezTo>
                <a:cubicBezTo>
                  <a:pt x="2310210" y="1941090"/>
                  <a:pt x="2161381" y="1964506"/>
                  <a:pt x="2133600" y="1977999"/>
                </a:cubicBezTo>
                <a:cubicBezTo>
                  <a:pt x="2168525" y="2001017"/>
                  <a:pt x="2285999" y="2098650"/>
                  <a:pt x="2219325" y="2263750"/>
                </a:cubicBezTo>
                <a:cubicBezTo>
                  <a:pt x="2152651" y="2428850"/>
                  <a:pt x="1981199" y="2403449"/>
                  <a:pt x="1952625" y="2406624"/>
                </a:cubicBezTo>
                <a:cubicBezTo>
                  <a:pt x="1981994" y="2441549"/>
                  <a:pt x="2048669" y="2474887"/>
                  <a:pt x="2026444" y="2575694"/>
                </a:cubicBezTo>
                <a:cubicBezTo>
                  <a:pt x="2004219" y="2676501"/>
                  <a:pt x="1913731" y="2737619"/>
                  <a:pt x="1819275" y="2768575"/>
                </a:cubicBezTo>
                <a:cubicBezTo>
                  <a:pt x="1520825" y="2763812"/>
                  <a:pt x="1030288" y="2766987"/>
                  <a:pt x="923925" y="2754287"/>
                </a:cubicBezTo>
                <a:cubicBezTo>
                  <a:pt x="817562" y="2741587"/>
                  <a:pt x="556419" y="2614587"/>
                  <a:pt x="476250" y="2601887"/>
                </a:cubicBezTo>
                <a:cubicBezTo>
                  <a:pt x="396081" y="2589187"/>
                  <a:pt x="158750" y="2586012"/>
                  <a:pt x="0" y="2578074"/>
                </a:cubicBezTo>
                <a:close/>
              </a:path>
            </a:pathLst>
          </a:custGeom>
          <a:noFill/>
          <a:ln w="12700" cap="rnd">
            <a:solidFill>
              <a:schemeClr val="accent6">
                <a:lumMod val="50000"/>
              </a:schemeClr>
            </a:solidFill>
            <a:rou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8" name="Rectangle: Rounded Corners 67">
            <a:extLst>
              <a:ext uri="{FF2B5EF4-FFF2-40B4-BE49-F238E27FC236}">
                <a16:creationId xmlns:a16="http://schemas.microsoft.com/office/drawing/2014/main" id="{3084D921-4CB4-7AF5-3730-F080B78D8D07}"/>
              </a:ext>
            </a:extLst>
          </p:cNvPr>
          <p:cNvSpPr/>
          <p:nvPr/>
        </p:nvSpPr>
        <p:spPr>
          <a:xfrm rot="20997418" flipH="1" flipV="1">
            <a:off x="5431586" y="9097216"/>
            <a:ext cx="27873" cy="126659"/>
          </a:xfrm>
          <a:prstGeom prst="roundRect">
            <a:avLst>
              <a:gd name="adj" fmla="val 30693"/>
            </a:avLst>
          </a:prstGeom>
          <a:noFill/>
          <a:ln w="12700" cap="rnd">
            <a:solidFill>
              <a:schemeClr val="accent6">
                <a:lumMod val="50000"/>
              </a:schemeClr>
            </a:solidFill>
            <a:round/>
          </a:ln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0" name="Freeform: Shape 221">
            <a:extLst>
              <a:ext uri="{FF2B5EF4-FFF2-40B4-BE49-F238E27FC236}">
                <a16:creationId xmlns:a16="http://schemas.microsoft.com/office/drawing/2014/main" id="{F68E0BEE-C707-D9D9-423D-F1722E8E65B7}"/>
              </a:ext>
            </a:extLst>
          </p:cNvPr>
          <p:cNvSpPr/>
          <p:nvPr/>
        </p:nvSpPr>
        <p:spPr>
          <a:xfrm rot="20997418" flipH="1" flipV="1">
            <a:off x="5266994" y="9114736"/>
            <a:ext cx="172779" cy="201668"/>
          </a:xfrm>
          <a:custGeom>
            <a:avLst/>
            <a:gdLst>
              <a:gd name="connsiteX0" fmla="*/ 0 w 2376487"/>
              <a:gd name="connsiteY0" fmla="*/ 2633662 h 2838450"/>
              <a:gd name="connsiteX1" fmla="*/ 0 w 2376487"/>
              <a:gd name="connsiteY1" fmla="*/ 1295400 h 2838450"/>
              <a:gd name="connsiteX2" fmla="*/ 385762 w 2376487"/>
              <a:gd name="connsiteY2" fmla="*/ 1252537 h 2838450"/>
              <a:gd name="connsiteX3" fmla="*/ 576262 w 2376487"/>
              <a:gd name="connsiteY3" fmla="*/ 914400 h 2838450"/>
              <a:gd name="connsiteX4" fmla="*/ 981075 w 2376487"/>
              <a:gd name="connsiteY4" fmla="*/ 685800 h 2838450"/>
              <a:gd name="connsiteX5" fmla="*/ 1143000 w 2376487"/>
              <a:gd name="connsiteY5" fmla="*/ 128587 h 2838450"/>
              <a:gd name="connsiteX6" fmla="*/ 1323975 w 2376487"/>
              <a:gd name="connsiteY6" fmla="*/ 0 h 2838450"/>
              <a:gd name="connsiteX7" fmla="*/ 1585912 w 2376487"/>
              <a:gd name="connsiteY7" fmla="*/ 414337 h 2838450"/>
              <a:gd name="connsiteX8" fmla="*/ 1409700 w 2376487"/>
              <a:gd name="connsiteY8" fmla="*/ 1033462 h 2838450"/>
              <a:gd name="connsiteX9" fmla="*/ 2238375 w 2376487"/>
              <a:gd name="connsiteY9" fmla="*/ 1152525 h 2838450"/>
              <a:gd name="connsiteX10" fmla="*/ 2376487 w 2376487"/>
              <a:gd name="connsiteY10" fmla="*/ 1371600 h 2838450"/>
              <a:gd name="connsiteX11" fmla="*/ 2224087 w 2376487"/>
              <a:gd name="connsiteY11" fmla="*/ 1590675 h 2838450"/>
              <a:gd name="connsiteX12" fmla="*/ 2352675 w 2376487"/>
              <a:gd name="connsiteY12" fmla="*/ 1828800 h 2838450"/>
              <a:gd name="connsiteX13" fmla="*/ 2133600 w 2376487"/>
              <a:gd name="connsiteY13" fmla="*/ 2033587 h 2838450"/>
              <a:gd name="connsiteX14" fmla="*/ 2224087 w 2376487"/>
              <a:gd name="connsiteY14" fmla="*/ 2281237 h 2838450"/>
              <a:gd name="connsiteX15" fmla="*/ 1952625 w 2376487"/>
              <a:gd name="connsiteY15" fmla="*/ 2462212 h 2838450"/>
              <a:gd name="connsiteX16" fmla="*/ 2028825 w 2376487"/>
              <a:gd name="connsiteY16" fmla="*/ 2657475 h 2838450"/>
              <a:gd name="connsiteX17" fmla="*/ 1857375 w 2376487"/>
              <a:gd name="connsiteY17" fmla="*/ 2838450 h 2838450"/>
              <a:gd name="connsiteX18" fmla="*/ 923925 w 2376487"/>
              <a:gd name="connsiteY18" fmla="*/ 2809875 h 2838450"/>
              <a:gd name="connsiteX19" fmla="*/ 476250 w 2376487"/>
              <a:gd name="connsiteY19" fmla="*/ 2657475 h 2838450"/>
              <a:gd name="connsiteX20" fmla="*/ 0 w 2376487"/>
              <a:gd name="connsiteY20" fmla="*/ 2633662 h 2838450"/>
              <a:gd name="connsiteX0" fmla="*/ 0 w 2376487"/>
              <a:gd name="connsiteY0" fmla="*/ 2633662 h 2838450"/>
              <a:gd name="connsiteX1" fmla="*/ 0 w 2376487"/>
              <a:gd name="connsiteY1" fmla="*/ 1295400 h 2838450"/>
              <a:gd name="connsiteX2" fmla="*/ 385762 w 2376487"/>
              <a:gd name="connsiteY2" fmla="*/ 1252537 h 2838450"/>
              <a:gd name="connsiteX3" fmla="*/ 576262 w 2376487"/>
              <a:gd name="connsiteY3" fmla="*/ 914400 h 2838450"/>
              <a:gd name="connsiteX4" fmla="*/ 981075 w 2376487"/>
              <a:gd name="connsiteY4" fmla="*/ 685800 h 2838450"/>
              <a:gd name="connsiteX5" fmla="*/ 1143000 w 2376487"/>
              <a:gd name="connsiteY5" fmla="*/ 128587 h 2838450"/>
              <a:gd name="connsiteX6" fmla="*/ 1323975 w 2376487"/>
              <a:gd name="connsiteY6" fmla="*/ 0 h 2838450"/>
              <a:gd name="connsiteX7" fmla="*/ 1585912 w 2376487"/>
              <a:gd name="connsiteY7" fmla="*/ 414337 h 2838450"/>
              <a:gd name="connsiteX8" fmla="*/ 1409700 w 2376487"/>
              <a:gd name="connsiteY8" fmla="*/ 1033462 h 2838450"/>
              <a:gd name="connsiteX9" fmla="*/ 2238375 w 2376487"/>
              <a:gd name="connsiteY9" fmla="*/ 1152525 h 2838450"/>
              <a:gd name="connsiteX10" fmla="*/ 2376487 w 2376487"/>
              <a:gd name="connsiteY10" fmla="*/ 1371600 h 2838450"/>
              <a:gd name="connsiteX11" fmla="*/ 2224087 w 2376487"/>
              <a:gd name="connsiteY11" fmla="*/ 1590675 h 2838450"/>
              <a:gd name="connsiteX12" fmla="*/ 2352675 w 2376487"/>
              <a:gd name="connsiteY12" fmla="*/ 1828800 h 2838450"/>
              <a:gd name="connsiteX13" fmla="*/ 2133600 w 2376487"/>
              <a:gd name="connsiteY13" fmla="*/ 2033587 h 2838450"/>
              <a:gd name="connsiteX14" fmla="*/ 2224087 w 2376487"/>
              <a:gd name="connsiteY14" fmla="*/ 2281237 h 2838450"/>
              <a:gd name="connsiteX15" fmla="*/ 1952625 w 2376487"/>
              <a:gd name="connsiteY15" fmla="*/ 2462212 h 2838450"/>
              <a:gd name="connsiteX16" fmla="*/ 2028825 w 2376487"/>
              <a:gd name="connsiteY16" fmla="*/ 2657475 h 2838450"/>
              <a:gd name="connsiteX17" fmla="*/ 1857375 w 2376487"/>
              <a:gd name="connsiteY17" fmla="*/ 2838450 h 2838450"/>
              <a:gd name="connsiteX18" fmla="*/ 923925 w 2376487"/>
              <a:gd name="connsiteY18" fmla="*/ 2809875 h 2838450"/>
              <a:gd name="connsiteX19" fmla="*/ 476250 w 2376487"/>
              <a:gd name="connsiteY19" fmla="*/ 2657475 h 2838450"/>
              <a:gd name="connsiteX20" fmla="*/ 0 w 2376487"/>
              <a:gd name="connsiteY20" fmla="*/ 2633662 h 2838450"/>
              <a:gd name="connsiteX0" fmla="*/ 0 w 2376487"/>
              <a:gd name="connsiteY0" fmla="*/ 2633662 h 2838450"/>
              <a:gd name="connsiteX1" fmla="*/ 0 w 2376487"/>
              <a:gd name="connsiteY1" fmla="*/ 1295400 h 2838450"/>
              <a:gd name="connsiteX2" fmla="*/ 385762 w 2376487"/>
              <a:gd name="connsiteY2" fmla="*/ 1252537 h 2838450"/>
              <a:gd name="connsiteX3" fmla="*/ 616744 w 2376487"/>
              <a:gd name="connsiteY3" fmla="*/ 950118 h 2838450"/>
              <a:gd name="connsiteX4" fmla="*/ 981075 w 2376487"/>
              <a:gd name="connsiteY4" fmla="*/ 685800 h 2838450"/>
              <a:gd name="connsiteX5" fmla="*/ 1143000 w 2376487"/>
              <a:gd name="connsiteY5" fmla="*/ 128587 h 2838450"/>
              <a:gd name="connsiteX6" fmla="*/ 1323975 w 2376487"/>
              <a:gd name="connsiteY6" fmla="*/ 0 h 2838450"/>
              <a:gd name="connsiteX7" fmla="*/ 1585912 w 2376487"/>
              <a:gd name="connsiteY7" fmla="*/ 414337 h 2838450"/>
              <a:gd name="connsiteX8" fmla="*/ 1409700 w 2376487"/>
              <a:gd name="connsiteY8" fmla="*/ 1033462 h 2838450"/>
              <a:gd name="connsiteX9" fmla="*/ 2238375 w 2376487"/>
              <a:gd name="connsiteY9" fmla="*/ 1152525 h 2838450"/>
              <a:gd name="connsiteX10" fmla="*/ 2376487 w 2376487"/>
              <a:gd name="connsiteY10" fmla="*/ 1371600 h 2838450"/>
              <a:gd name="connsiteX11" fmla="*/ 2224087 w 2376487"/>
              <a:gd name="connsiteY11" fmla="*/ 1590675 h 2838450"/>
              <a:gd name="connsiteX12" fmla="*/ 2352675 w 2376487"/>
              <a:gd name="connsiteY12" fmla="*/ 1828800 h 2838450"/>
              <a:gd name="connsiteX13" fmla="*/ 2133600 w 2376487"/>
              <a:gd name="connsiteY13" fmla="*/ 2033587 h 2838450"/>
              <a:gd name="connsiteX14" fmla="*/ 2224087 w 2376487"/>
              <a:gd name="connsiteY14" fmla="*/ 2281237 h 2838450"/>
              <a:gd name="connsiteX15" fmla="*/ 1952625 w 2376487"/>
              <a:gd name="connsiteY15" fmla="*/ 2462212 h 2838450"/>
              <a:gd name="connsiteX16" fmla="*/ 2028825 w 2376487"/>
              <a:gd name="connsiteY16" fmla="*/ 2657475 h 2838450"/>
              <a:gd name="connsiteX17" fmla="*/ 1857375 w 2376487"/>
              <a:gd name="connsiteY17" fmla="*/ 2838450 h 2838450"/>
              <a:gd name="connsiteX18" fmla="*/ 923925 w 2376487"/>
              <a:gd name="connsiteY18" fmla="*/ 2809875 h 2838450"/>
              <a:gd name="connsiteX19" fmla="*/ 476250 w 2376487"/>
              <a:gd name="connsiteY19" fmla="*/ 2657475 h 2838450"/>
              <a:gd name="connsiteX20" fmla="*/ 0 w 2376487"/>
              <a:gd name="connsiteY20" fmla="*/ 2633662 h 2838450"/>
              <a:gd name="connsiteX0" fmla="*/ 0 w 2376487"/>
              <a:gd name="connsiteY0" fmla="*/ 2633662 h 2838450"/>
              <a:gd name="connsiteX1" fmla="*/ 0 w 2376487"/>
              <a:gd name="connsiteY1" fmla="*/ 1295400 h 2838450"/>
              <a:gd name="connsiteX2" fmla="*/ 385762 w 2376487"/>
              <a:gd name="connsiteY2" fmla="*/ 1252537 h 2838450"/>
              <a:gd name="connsiteX3" fmla="*/ 616744 w 2376487"/>
              <a:gd name="connsiteY3" fmla="*/ 950118 h 2838450"/>
              <a:gd name="connsiteX4" fmla="*/ 981075 w 2376487"/>
              <a:gd name="connsiteY4" fmla="*/ 685800 h 2838450"/>
              <a:gd name="connsiteX5" fmla="*/ 1143000 w 2376487"/>
              <a:gd name="connsiteY5" fmla="*/ 128587 h 2838450"/>
              <a:gd name="connsiteX6" fmla="*/ 1323975 w 2376487"/>
              <a:gd name="connsiteY6" fmla="*/ 0 h 2838450"/>
              <a:gd name="connsiteX7" fmla="*/ 1585912 w 2376487"/>
              <a:gd name="connsiteY7" fmla="*/ 414337 h 2838450"/>
              <a:gd name="connsiteX8" fmla="*/ 1409700 w 2376487"/>
              <a:gd name="connsiteY8" fmla="*/ 1033462 h 2838450"/>
              <a:gd name="connsiteX9" fmla="*/ 2238375 w 2376487"/>
              <a:gd name="connsiteY9" fmla="*/ 1152525 h 2838450"/>
              <a:gd name="connsiteX10" fmla="*/ 2376487 w 2376487"/>
              <a:gd name="connsiteY10" fmla="*/ 1371600 h 2838450"/>
              <a:gd name="connsiteX11" fmla="*/ 2224087 w 2376487"/>
              <a:gd name="connsiteY11" fmla="*/ 1590675 h 2838450"/>
              <a:gd name="connsiteX12" fmla="*/ 2352675 w 2376487"/>
              <a:gd name="connsiteY12" fmla="*/ 1828800 h 2838450"/>
              <a:gd name="connsiteX13" fmla="*/ 2133600 w 2376487"/>
              <a:gd name="connsiteY13" fmla="*/ 2033587 h 2838450"/>
              <a:gd name="connsiteX14" fmla="*/ 2224087 w 2376487"/>
              <a:gd name="connsiteY14" fmla="*/ 2281237 h 2838450"/>
              <a:gd name="connsiteX15" fmla="*/ 1952625 w 2376487"/>
              <a:gd name="connsiteY15" fmla="*/ 2462212 h 2838450"/>
              <a:gd name="connsiteX16" fmla="*/ 2028825 w 2376487"/>
              <a:gd name="connsiteY16" fmla="*/ 2657475 h 2838450"/>
              <a:gd name="connsiteX17" fmla="*/ 1857375 w 2376487"/>
              <a:gd name="connsiteY17" fmla="*/ 2838450 h 2838450"/>
              <a:gd name="connsiteX18" fmla="*/ 923925 w 2376487"/>
              <a:gd name="connsiteY18" fmla="*/ 2809875 h 2838450"/>
              <a:gd name="connsiteX19" fmla="*/ 476250 w 2376487"/>
              <a:gd name="connsiteY19" fmla="*/ 2657475 h 2838450"/>
              <a:gd name="connsiteX20" fmla="*/ 0 w 2376487"/>
              <a:gd name="connsiteY20" fmla="*/ 2633662 h 2838450"/>
              <a:gd name="connsiteX0" fmla="*/ 0 w 2376487"/>
              <a:gd name="connsiteY0" fmla="*/ 2633662 h 2838450"/>
              <a:gd name="connsiteX1" fmla="*/ 0 w 2376487"/>
              <a:gd name="connsiteY1" fmla="*/ 1295400 h 2838450"/>
              <a:gd name="connsiteX2" fmla="*/ 385762 w 2376487"/>
              <a:gd name="connsiteY2" fmla="*/ 1252537 h 2838450"/>
              <a:gd name="connsiteX3" fmla="*/ 616744 w 2376487"/>
              <a:gd name="connsiteY3" fmla="*/ 950118 h 2838450"/>
              <a:gd name="connsiteX4" fmla="*/ 981075 w 2376487"/>
              <a:gd name="connsiteY4" fmla="*/ 685800 h 2838450"/>
              <a:gd name="connsiteX5" fmla="*/ 1143000 w 2376487"/>
              <a:gd name="connsiteY5" fmla="*/ 128587 h 2838450"/>
              <a:gd name="connsiteX6" fmla="*/ 1323975 w 2376487"/>
              <a:gd name="connsiteY6" fmla="*/ 0 h 2838450"/>
              <a:gd name="connsiteX7" fmla="*/ 1585912 w 2376487"/>
              <a:gd name="connsiteY7" fmla="*/ 414337 h 2838450"/>
              <a:gd name="connsiteX8" fmla="*/ 1409700 w 2376487"/>
              <a:gd name="connsiteY8" fmla="*/ 1033462 h 2838450"/>
              <a:gd name="connsiteX9" fmla="*/ 2238375 w 2376487"/>
              <a:gd name="connsiteY9" fmla="*/ 1152525 h 2838450"/>
              <a:gd name="connsiteX10" fmla="*/ 2376487 w 2376487"/>
              <a:gd name="connsiteY10" fmla="*/ 1371600 h 2838450"/>
              <a:gd name="connsiteX11" fmla="*/ 2224087 w 2376487"/>
              <a:gd name="connsiteY11" fmla="*/ 1590675 h 2838450"/>
              <a:gd name="connsiteX12" fmla="*/ 2352675 w 2376487"/>
              <a:gd name="connsiteY12" fmla="*/ 1828800 h 2838450"/>
              <a:gd name="connsiteX13" fmla="*/ 2133600 w 2376487"/>
              <a:gd name="connsiteY13" fmla="*/ 2033587 h 2838450"/>
              <a:gd name="connsiteX14" fmla="*/ 2224087 w 2376487"/>
              <a:gd name="connsiteY14" fmla="*/ 2281237 h 2838450"/>
              <a:gd name="connsiteX15" fmla="*/ 1952625 w 2376487"/>
              <a:gd name="connsiteY15" fmla="*/ 2462212 h 2838450"/>
              <a:gd name="connsiteX16" fmla="*/ 2028825 w 2376487"/>
              <a:gd name="connsiteY16" fmla="*/ 2657475 h 2838450"/>
              <a:gd name="connsiteX17" fmla="*/ 1857375 w 2376487"/>
              <a:gd name="connsiteY17" fmla="*/ 2838450 h 2838450"/>
              <a:gd name="connsiteX18" fmla="*/ 923925 w 2376487"/>
              <a:gd name="connsiteY18" fmla="*/ 2809875 h 2838450"/>
              <a:gd name="connsiteX19" fmla="*/ 476250 w 2376487"/>
              <a:gd name="connsiteY19" fmla="*/ 2657475 h 2838450"/>
              <a:gd name="connsiteX20" fmla="*/ 0 w 2376487"/>
              <a:gd name="connsiteY20" fmla="*/ 2633662 h 2838450"/>
              <a:gd name="connsiteX0" fmla="*/ 0 w 2376487"/>
              <a:gd name="connsiteY0" fmla="*/ 2569368 h 2774156"/>
              <a:gd name="connsiteX1" fmla="*/ 0 w 2376487"/>
              <a:gd name="connsiteY1" fmla="*/ 1231106 h 2774156"/>
              <a:gd name="connsiteX2" fmla="*/ 385762 w 2376487"/>
              <a:gd name="connsiteY2" fmla="*/ 1188243 h 2774156"/>
              <a:gd name="connsiteX3" fmla="*/ 616744 w 2376487"/>
              <a:gd name="connsiteY3" fmla="*/ 885824 h 2774156"/>
              <a:gd name="connsiteX4" fmla="*/ 981075 w 2376487"/>
              <a:gd name="connsiteY4" fmla="*/ 621506 h 2774156"/>
              <a:gd name="connsiteX5" fmla="*/ 1143000 w 2376487"/>
              <a:gd name="connsiteY5" fmla="*/ 64293 h 2774156"/>
              <a:gd name="connsiteX6" fmla="*/ 1369219 w 2376487"/>
              <a:gd name="connsiteY6" fmla="*/ 0 h 2774156"/>
              <a:gd name="connsiteX7" fmla="*/ 1585912 w 2376487"/>
              <a:gd name="connsiteY7" fmla="*/ 350043 h 2774156"/>
              <a:gd name="connsiteX8" fmla="*/ 1409700 w 2376487"/>
              <a:gd name="connsiteY8" fmla="*/ 969168 h 2774156"/>
              <a:gd name="connsiteX9" fmla="*/ 2238375 w 2376487"/>
              <a:gd name="connsiteY9" fmla="*/ 1088231 h 2774156"/>
              <a:gd name="connsiteX10" fmla="*/ 2376487 w 2376487"/>
              <a:gd name="connsiteY10" fmla="*/ 1307306 h 2774156"/>
              <a:gd name="connsiteX11" fmla="*/ 2224087 w 2376487"/>
              <a:gd name="connsiteY11" fmla="*/ 1526381 h 2774156"/>
              <a:gd name="connsiteX12" fmla="*/ 2352675 w 2376487"/>
              <a:gd name="connsiteY12" fmla="*/ 1764506 h 2774156"/>
              <a:gd name="connsiteX13" fmla="*/ 2133600 w 2376487"/>
              <a:gd name="connsiteY13" fmla="*/ 1969293 h 2774156"/>
              <a:gd name="connsiteX14" fmla="*/ 2224087 w 2376487"/>
              <a:gd name="connsiteY14" fmla="*/ 2216943 h 2774156"/>
              <a:gd name="connsiteX15" fmla="*/ 1952625 w 2376487"/>
              <a:gd name="connsiteY15" fmla="*/ 2397918 h 2774156"/>
              <a:gd name="connsiteX16" fmla="*/ 2028825 w 2376487"/>
              <a:gd name="connsiteY16" fmla="*/ 2593181 h 2774156"/>
              <a:gd name="connsiteX17" fmla="*/ 1857375 w 2376487"/>
              <a:gd name="connsiteY17" fmla="*/ 2774156 h 2774156"/>
              <a:gd name="connsiteX18" fmla="*/ 923925 w 2376487"/>
              <a:gd name="connsiteY18" fmla="*/ 2745581 h 2774156"/>
              <a:gd name="connsiteX19" fmla="*/ 476250 w 2376487"/>
              <a:gd name="connsiteY19" fmla="*/ 2593181 h 2774156"/>
              <a:gd name="connsiteX20" fmla="*/ 0 w 2376487"/>
              <a:gd name="connsiteY20" fmla="*/ 2569368 h 2774156"/>
              <a:gd name="connsiteX0" fmla="*/ 0 w 2376487"/>
              <a:gd name="connsiteY0" fmla="*/ 2572274 h 2777062"/>
              <a:gd name="connsiteX1" fmla="*/ 0 w 2376487"/>
              <a:gd name="connsiteY1" fmla="*/ 1234012 h 2777062"/>
              <a:gd name="connsiteX2" fmla="*/ 385762 w 2376487"/>
              <a:gd name="connsiteY2" fmla="*/ 1191149 h 2777062"/>
              <a:gd name="connsiteX3" fmla="*/ 616744 w 2376487"/>
              <a:gd name="connsiteY3" fmla="*/ 888730 h 2777062"/>
              <a:gd name="connsiteX4" fmla="*/ 981075 w 2376487"/>
              <a:gd name="connsiteY4" fmla="*/ 624412 h 2777062"/>
              <a:gd name="connsiteX5" fmla="*/ 1143000 w 2376487"/>
              <a:gd name="connsiteY5" fmla="*/ 67199 h 2777062"/>
              <a:gd name="connsiteX6" fmla="*/ 1369219 w 2376487"/>
              <a:gd name="connsiteY6" fmla="*/ 2906 h 2777062"/>
              <a:gd name="connsiteX7" fmla="*/ 1585912 w 2376487"/>
              <a:gd name="connsiteY7" fmla="*/ 352949 h 2777062"/>
              <a:gd name="connsiteX8" fmla="*/ 1409700 w 2376487"/>
              <a:gd name="connsiteY8" fmla="*/ 972074 h 2777062"/>
              <a:gd name="connsiteX9" fmla="*/ 2238375 w 2376487"/>
              <a:gd name="connsiteY9" fmla="*/ 1091137 h 2777062"/>
              <a:gd name="connsiteX10" fmla="*/ 2376487 w 2376487"/>
              <a:gd name="connsiteY10" fmla="*/ 1310212 h 2777062"/>
              <a:gd name="connsiteX11" fmla="*/ 2224087 w 2376487"/>
              <a:gd name="connsiteY11" fmla="*/ 1529287 h 2777062"/>
              <a:gd name="connsiteX12" fmla="*/ 2352675 w 2376487"/>
              <a:gd name="connsiteY12" fmla="*/ 1767412 h 2777062"/>
              <a:gd name="connsiteX13" fmla="*/ 2133600 w 2376487"/>
              <a:gd name="connsiteY13" fmla="*/ 1972199 h 2777062"/>
              <a:gd name="connsiteX14" fmla="*/ 2224087 w 2376487"/>
              <a:gd name="connsiteY14" fmla="*/ 2219849 h 2777062"/>
              <a:gd name="connsiteX15" fmla="*/ 1952625 w 2376487"/>
              <a:gd name="connsiteY15" fmla="*/ 2400824 h 2777062"/>
              <a:gd name="connsiteX16" fmla="*/ 2028825 w 2376487"/>
              <a:gd name="connsiteY16" fmla="*/ 2596087 h 2777062"/>
              <a:gd name="connsiteX17" fmla="*/ 1857375 w 2376487"/>
              <a:gd name="connsiteY17" fmla="*/ 2777062 h 2777062"/>
              <a:gd name="connsiteX18" fmla="*/ 923925 w 2376487"/>
              <a:gd name="connsiteY18" fmla="*/ 2748487 h 2777062"/>
              <a:gd name="connsiteX19" fmla="*/ 476250 w 2376487"/>
              <a:gd name="connsiteY19" fmla="*/ 2596087 h 2777062"/>
              <a:gd name="connsiteX20" fmla="*/ 0 w 2376487"/>
              <a:gd name="connsiteY20" fmla="*/ 2572274 h 2777062"/>
              <a:gd name="connsiteX0" fmla="*/ 0 w 2376487"/>
              <a:gd name="connsiteY0" fmla="*/ 2573068 h 2777856"/>
              <a:gd name="connsiteX1" fmla="*/ 0 w 2376487"/>
              <a:gd name="connsiteY1" fmla="*/ 1234806 h 2777856"/>
              <a:gd name="connsiteX2" fmla="*/ 385762 w 2376487"/>
              <a:gd name="connsiteY2" fmla="*/ 1191943 h 2777856"/>
              <a:gd name="connsiteX3" fmla="*/ 616744 w 2376487"/>
              <a:gd name="connsiteY3" fmla="*/ 889524 h 2777856"/>
              <a:gd name="connsiteX4" fmla="*/ 981075 w 2376487"/>
              <a:gd name="connsiteY4" fmla="*/ 625206 h 2777856"/>
              <a:gd name="connsiteX5" fmla="*/ 1143000 w 2376487"/>
              <a:gd name="connsiteY5" fmla="*/ 67993 h 2777856"/>
              <a:gd name="connsiteX6" fmla="*/ 1369219 w 2376487"/>
              <a:gd name="connsiteY6" fmla="*/ 3700 h 2777856"/>
              <a:gd name="connsiteX7" fmla="*/ 1585912 w 2376487"/>
              <a:gd name="connsiteY7" fmla="*/ 353743 h 2777856"/>
              <a:gd name="connsiteX8" fmla="*/ 1409700 w 2376487"/>
              <a:gd name="connsiteY8" fmla="*/ 972868 h 2777856"/>
              <a:gd name="connsiteX9" fmla="*/ 2238375 w 2376487"/>
              <a:gd name="connsiteY9" fmla="*/ 1091931 h 2777856"/>
              <a:gd name="connsiteX10" fmla="*/ 2376487 w 2376487"/>
              <a:gd name="connsiteY10" fmla="*/ 1311006 h 2777856"/>
              <a:gd name="connsiteX11" fmla="*/ 2224087 w 2376487"/>
              <a:gd name="connsiteY11" fmla="*/ 1530081 h 2777856"/>
              <a:gd name="connsiteX12" fmla="*/ 2352675 w 2376487"/>
              <a:gd name="connsiteY12" fmla="*/ 1768206 h 2777856"/>
              <a:gd name="connsiteX13" fmla="*/ 2133600 w 2376487"/>
              <a:gd name="connsiteY13" fmla="*/ 1972993 h 2777856"/>
              <a:gd name="connsiteX14" fmla="*/ 2224087 w 2376487"/>
              <a:gd name="connsiteY14" fmla="*/ 2220643 h 2777856"/>
              <a:gd name="connsiteX15" fmla="*/ 1952625 w 2376487"/>
              <a:gd name="connsiteY15" fmla="*/ 2401618 h 2777856"/>
              <a:gd name="connsiteX16" fmla="*/ 2028825 w 2376487"/>
              <a:gd name="connsiteY16" fmla="*/ 2596881 h 2777856"/>
              <a:gd name="connsiteX17" fmla="*/ 1857375 w 2376487"/>
              <a:gd name="connsiteY17" fmla="*/ 2777856 h 2777856"/>
              <a:gd name="connsiteX18" fmla="*/ 923925 w 2376487"/>
              <a:gd name="connsiteY18" fmla="*/ 2749281 h 2777856"/>
              <a:gd name="connsiteX19" fmla="*/ 476250 w 2376487"/>
              <a:gd name="connsiteY19" fmla="*/ 2596881 h 2777856"/>
              <a:gd name="connsiteX20" fmla="*/ 0 w 2376487"/>
              <a:gd name="connsiteY20" fmla="*/ 2573068 h 2777856"/>
              <a:gd name="connsiteX0" fmla="*/ 0 w 2376487"/>
              <a:gd name="connsiteY0" fmla="*/ 2573068 h 2777856"/>
              <a:gd name="connsiteX1" fmla="*/ 0 w 2376487"/>
              <a:gd name="connsiteY1" fmla="*/ 1234806 h 2777856"/>
              <a:gd name="connsiteX2" fmla="*/ 385762 w 2376487"/>
              <a:gd name="connsiteY2" fmla="*/ 1191943 h 2777856"/>
              <a:gd name="connsiteX3" fmla="*/ 616744 w 2376487"/>
              <a:gd name="connsiteY3" fmla="*/ 889524 h 2777856"/>
              <a:gd name="connsiteX4" fmla="*/ 981075 w 2376487"/>
              <a:gd name="connsiteY4" fmla="*/ 625206 h 2777856"/>
              <a:gd name="connsiteX5" fmla="*/ 1143000 w 2376487"/>
              <a:gd name="connsiteY5" fmla="*/ 67993 h 2777856"/>
              <a:gd name="connsiteX6" fmla="*/ 1369219 w 2376487"/>
              <a:gd name="connsiteY6" fmla="*/ 3700 h 2777856"/>
              <a:gd name="connsiteX7" fmla="*/ 1585912 w 2376487"/>
              <a:gd name="connsiteY7" fmla="*/ 353743 h 2777856"/>
              <a:gd name="connsiteX8" fmla="*/ 1409700 w 2376487"/>
              <a:gd name="connsiteY8" fmla="*/ 972868 h 2777856"/>
              <a:gd name="connsiteX9" fmla="*/ 2238375 w 2376487"/>
              <a:gd name="connsiteY9" fmla="*/ 1091931 h 2777856"/>
              <a:gd name="connsiteX10" fmla="*/ 2376487 w 2376487"/>
              <a:gd name="connsiteY10" fmla="*/ 1311006 h 2777856"/>
              <a:gd name="connsiteX11" fmla="*/ 2224087 w 2376487"/>
              <a:gd name="connsiteY11" fmla="*/ 1530081 h 2777856"/>
              <a:gd name="connsiteX12" fmla="*/ 2352675 w 2376487"/>
              <a:gd name="connsiteY12" fmla="*/ 1768206 h 2777856"/>
              <a:gd name="connsiteX13" fmla="*/ 2133600 w 2376487"/>
              <a:gd name="connsiteY13" fmla="*/ 1972993 h 2777856"/>
              <a:gd name="connsiteX14" fmla="*/ 2224087 w 2376487"/>
              <a:gd name="connsiteY14" fmla="*/ 2220643 h 2777856"/>
              <a:gd name="connsiteX15" fmla="*/ 1952625 w 2376487"/>
              <a:gd name="connsiteY15" fmla="*/ 2401618 h 2777856"/>
              <a:gd name="connsiteX16" fmla="*/ 2028825 w 2376487"/>
              <a:gd name="connsiteY16" fmla="*/ 2596881 h 2777856"/>
              <a:gd name="connsiteX17" fmla="*/ 1857375 w 2376487"/>
              <a:gd name="connsiteY17" fmla="*/ 2777856 h 2777856"/>
              <a:gd name="connsiteX18" fmla="*/ 923925 w 2376487"/>
              <a:gd name="connsiteY18" fmla="*/ 2749281 h 2777856"/>
              <a:gd name="connsiteX19" fmla="*/ 476250 w 2376487"/>
              <a:gd name="connsiteY19" fmla="*/ 2596881 h 2777856"/>
              <a:gd name="connsiteX20" fmla="*/ 0 w 2376487"/>
              <a:gd name="connsiteY20" fmla="*/ 2573068 h 2777856"/>
              <a:gd name="connsiteX0" fmla="*/ 0 w 2376487"/>
              <a:gd name="connsiteY0" fmla="*/ 2584705 h 2789493"/>
              <a:gd name="connsiteX1" fmla="*/ 0 w 2376487"/>
              <a:gd name="connsiteY1" fmla="*/ 1246443 h 2789493"/>
              <a:gd name="connsiteX2" fmla="*/ 385762 w 2376487"/>
              <a:gd name="connsiteY2" fmla="*/ 1203580 h 2789493"/>
              <a:gd name="connsiteX3" fmla="*/ 616744 w 2376487"/>
              <a:gd name="connsiteY3" fmla="*/ 901161 h 2789493"/>
              <a:gd name="connsiteX4" fmla="*/ 981075 w 2376487"/>
              <a:gd name="connsiteY4" fmla="*/ 636843 h 2789493"/>
              <a:gd name="connsiteX5" fmla="*/ 1143000 w 2376487"/>
              <a:gd name="connsiteY5" fmla="*/ 79630 h 2789493"/>
              <a:gd name="connsiteX6" fmla="*/ 1369219 w 2376487"/>
              <a:gd name="connsiteY6" fmla="*/ 15337 h 2789493"/>
              <a:gd name="connsiteX7" fmla="*/ 1566862 w 2376487"/>
              <a:gd name="connsiteY7" fmla="*/ 362999 h 2789493"/>
              <a:gd name="connsiteX8" fmla="*/ 1409700 w 2376487"/>
              <a:gd name="connsiteY8" fmla="*/ 984505 h 2789493"/>
              <a:gd name="connsiteX9" fmla="*/ 2238375 w 2376487"/>
              <a:gd name="connsiteY9" fmla="*/ 1103568 h 2789493"/>
              <a:gd name="connsiteX10" fmla="*/ 2376487 w 2376487"/>
              <a:gd name="connsiteY10" fmla="*/ 1322643 h 2789493"/>
              <a:gd name="connsiteX11" fmla="*/ 2224087 w 2376487"/>
              <a:gd name="connsiteY11" fmla="*/ 1541718 h 2789493"/>
              <a:gd name="connsiteX12" fmla="*/ 2352675 w 2376487"/>
              <a:gd name="connsiteY12" fmla="*/ 1779843 h 2789493"/>
              <a:gd name="connsiteX13" fmla="*/ 2133600 w 2376487"/>
              <a:gd name="connsiteY13" fmla="*/ 1984630 h 2789493"/>
              <a:gd name="connsiteX14" fmla="*/ 2224087 w 2376487"/>
              <a:gd name="connsiteY14" fmla="*/ 2232280 h 2789493"/>
              <a:gd name="connsiteX15" fmla="*/ 1952625 w 2376487"/>
              <a:gd name="connsiteY15" fmla="*/ 2413255 h 2789493"/>
              <a:gd name="connsiteX16" fmla="*/ 2028825 w 2376487"/>
              <a:gd name="connsiteY16" fmla="*/ 2608518 h 2789493"/>
              <a:gd name="connsiteX17" fmla="*/ 1857375 w 2376487"/>
              <a:gd name="connsiteY17" fmla="*/ 2789493 h 2789493"/>
              <a:gd name="connsiteX18" fmla="*/ 923925 w 2376487"/>
              <a:gd name="connsiteY18" fmla="*/ 2760918 h 2789493"/>
              <a:gd name="connsiteX19" fmla="*/ 476250 w 2376487"/>
              <a:gd name="connsiteY19" fmla="*/ 2608518 h 2789493"/>
              <a:gd name="connsiteX20" fmla="*/ 0 w 2376487"/>
              <a:gd name="connsiteY20" fmla="*/ 2584705 h 2789493"/>
              <a:gd name="connsiteX0" fmla="*/ 0 w 2376487"/>
              <a:gd name="connsiteY0" fmla="*/ 2578074 h 2782862"/>
              <a:gd name="connsiteX1" fmla="*/ 0 w 2376487"/>
              <a:gd name="connsiteY1" fmla="*/ 1239812 h 2782862"/>
              <a:gd name="connsiteX2" fmla="*/ 385762 w 2376487"/>
              <a:gd name="connsiteY2" fmla="*/ 1196949 h 2782862"/>
              <a:gd name="connsiteX3" fmla="*/ 616744 w 2376487"/>
              <a:gd name="connsiteY3" fmla="*/ 894530 h 2782862"/>
              <a:gd name="connsiteX4" fmla="*/ 981075 w 2376487"/>
              <a:gd name="connsiteY4" fmla="*/ 630212 h 2782862"/>
              <a:gd name="connsiteX5" fmla="*/ 1143000 w 2376487"/>
              <a:gd name="connsiteY5" fmla="*/ 72999 h 2782862"/>
              <a:gd name="connsiteX6" fmla="*/ 1369219 w 2376487"/>
              <a:gd name="connsiteY6" fmla="*/ 8706 h 2782862"/>
              <a:gd name="connsiteX7" fmla="*/ 1566862 w 2376487"/>
              <a:gd name="connsiteY7" fmla="*/ 356368 h 2782862"/>
              <a:gd name="connsiteX8" fmla="*/ 1409700 w 2376487"/>
              <a:gd name="connsiteY8" fmla="*/ 977874 h 2782862"/>
              <a:gd name="connsiteX9" fmla="*/ 2238375 w 2376487"/>
              <a:gd name="connsiteY9" fmla="*/ 1096937 h 2782862"/>
              <a:gd name="connsiteX10" fmla="*/ 2376487 w 2376487"/>
              <a:gd name="connsiteY10" fmla="*/ 1316012 h 2782862"/>
              <a:gd name="connsiteX11" fmla="*/ 2224087 w 2376487"/>
              <a:gd name="connsiteY11" fmla="*/ 1535087 h 2782862"/>
              <a:gd name="connsiteX12" fmla="*/ 2352675 w 2376487"/>
              <a:gd name="connsiteY12" fmla="*/ 1773212 h 2782862"/>
              <a:gd name="connsiteX13" fmla="*/ 2133600 w 2376487"/>
              <a:gd name="connsiteY13" fmla="*/ 1977999 h 2782862"/>
              <a:gd name="connsiteX14" fmla="*/ 2224087 w 2376487"/>
              <a:gd name="connsiteY14" fmla="*/ 2225649 h 2782862"/>
              <a:gd name="connsiteX15" fmla="*/ 1952625 w 2376487"/>
              <a:gd name="connsiteY15" fmla="*/ 2406624 h 2782862"/>
              <a:gd name="connsiteX16" fmla="*/ 2028825 w 2376487"/>
              <a:gd name="connsiteY16" fmla="*/ 2601887 h 2782862"/>
              <a:gd name="connsiteX17" fmla="*/ 1857375 w 2376487"/>
              <a:gd name="connsiteY17" fmla="*/ 2782862 h 2782862"/>
              <a:gd name="connsiteX18" fmla="*/ 923925 w 2376487"/>
              <a:gd name="connsiteY18" fmla="*/ 2754287 h 2782862"/>
              <a:gd name="connsiteX19" fmla="*/ 476250 w 2376487"/>
              <a:gd name="connsiteY19" fmla="*/ 2601887 h 2782862"/>
              <a:gd name="connsiteX20" fmla="*/ 0 w 2376487"/>
              <a:gd name="connsiteY20" fmla="*/ 2578074 h 2782862"/>
              <a:gd name="connsiteX0" fmla="*/ 0 w 2376487"/>
              <a:gd name="connsiteY0" fmla="*/ 2578074 h 2782862"/>
              <a:gd name="connsiteX1" fmla="*/ 0 w 2376487"/>
              <a:gd name="connsiteY1" fmla="*/ 1239812 h 2782862"/>
              <a:gd name="connsiteX2" fmla="*/ 385762 w 2376487"/>
              <a:gd name="connsiteY2" fmla="*/ 1196949 h 2782862"/>
              <a:gd name="connsiteX3" fmla="*/ 616744 w 2376487"/>
              <a:gd name="connsiteY3" fmla="*/ 894530 h 2782862"/>
              <a:gd name="connsiteX4" fmla="*/ 981075 w 2376487"/>
              <a:gd name="connsiteY4" fmla="*/ 630212 h 2782862"/>
              <a:gd name="connsiteX5" fmla="*/ 1143000 w 2376487"/>
              <a:gd name="connsiteY5" fmla="*/ 72999 h 2782862"/>
              <a:gd name="connsiteX6" fmla="*/ 1369219 w 2376487"/>
              <a:gd name="connsiteY6" fmla="*/ 8706 h 2782862"/>
              <a:gd name="connsiteX7" fmla="*/ 1566862 w 2376487"/>
              <a:gd name="connsiteY7" fmla="*/ 356368 h 2782862"/>
              <a:gd name="connsiteX8" fmla="*/ 1402557 w 2376487"/>
              <a:gd name="connsiteY8" fmla="*/ 999305 h 2782862"/>
              <a:gd name="connsiteX9" fmla="*/ 2238375 w 2376487"/>
              <a:gd name="connsiteY9" fmla="*/ 1096937 h 2782862"/>
              <a:gd name="connsiteX10" fmla="*/ 2376487 w 2376487"/>
              <a:gd name="connsiteY10" fmla="*/ 1316012 h 2782862"/>
              <a:gd name="connsiteX11" fmla="*/ 2224087 w 2376487"/>
              <a:gd name="connsiteY11" fmla="*/ 1535087 h 2782862"/>
              <a:gd name="connsiteX12" fmla="*/ 2352675 w 2376487"/>
              <a:gd name="connsiteY12" fmla="*/ 1773212 h 2782862"/>
              <a:gd name="connsiteX13" fmla="*/ 2133600 w 2376487"/>
              <a:gd name="connsiteY13" fmla="*/ 1977999 h 2782862"/>
              <a:gd name="connsiteX14" fmla="*/ 2224087 w 2376487"/>
              <a:gd name="connsiteY14" fmla="*/ 2225649 h 2782862"/>
              <a:gd name="connsiteX15" fmla="*/ 1952625 w 2376487"/>
              <a:gd name="connsiteY15" fmla="*/ 2406624 h 2782862"/>
              <a:gd name="connsiteX16" fmla="*/ 2028825 w 2376487"/>
              <a:gd name="connsiteY16" fmla="*/ 2601887 h 2782862"/>
              <a:gd name="connsiteX17" fmla="*/ 1857375 w 2376487"/>
              <a:gd name="connsiteY17" fmla="*/ 2782862 h 2782862"/>
              <a:gd name="connsiteX18" fmla="*/ 923925 w 2376487"/>
              <a:gd name="connsiteY18" fmla="*/ 2754287 h 2782862"/>
              <a:gd name="connsiteX19" fmla="*/ 476250 w 2376487"/>
              <a:gd name="connsiteY19" fmla="*/ 2601887 h 2782862"/>
              <a:gd name="connsiteX20" fmla="*/ 0 w 2376487"/>
              <a:gd name="connsiteY20" fmla="*/ 2578074 h 2782862"/>
              <a:gd name="connsiteX0" fmla="*/ 0 w 2376487"/>
              <a:gd name="connsiteY0" fmla="*/ 2578074 h 2782862"/>
              <a:gd name="connsiteX1" fmla="*/ 0 w 2376487"/>
              <a:gd name="connsiteY1" fmla="*/ 1239812 h 2782862"/>
              <a:gd name="connsiteX2" fmla="*/ 385762 w 2376487"/>
              <a:gd name="connsiteY2" fmla="*/ 1196949 h 2782862"/>
              <a:gd name="connsiteX3" fmla="*/ 616744 w 2376487"/>
              <a:gd name="connsiteY3" fmla="*/ 894530 h 2782862"/>
              <a:gd name="connsiteX4" fmla="*/ 981075 w 2376487"/>
              <a:gd name="connsiteY4" fmla="*/ 630212 h 2782862"/>
              <a:gd name="connsiteX5" fmla="*/ 1143000 w 2376487"/>
              <a:gd name="connsiteY5" fmla="*/ 72999 h 2782862"/>
              <a:gd name="connsiteX6" fmla="*/ 1369219 w 2376487"/>
              <a:gd name="connsiteY6" fmla="*/ 8706 h 2782862"/>
              <a:gd name="connsiteX7" fmla="*/ 1566862 w 2376487"/>
              <a:gd name="connsiteY7" fmla="*/ 356368 h 2782862"/>
              <a:gd name="connsiteX8" fmla="*/ 1402557 w 2376487"/>
              <a:gd name="connsiteY8" fmla="*/ 999305 h 2782862"/>
              <a:gd name="connsiteX9" fmla="*/ 2238375 w 2376487"/>
              <a:gd name="connsiteY9" fmla="*/ 1096937 h 2782862"/>
              <a:gd name="connsiteX10" fmla="*/ 2376487 w 2376487"/>
              <a:gd name="connsiteY10" fmla="*/ 1316012 h 2782862"/>
              <a:gd name="connsiteX11" fmla="*/ 2224087 w 2376487"/>
              <a:gd name="connsiteY11" fmla="*/ 1535087 h 2782862"/>
              <a:gd name="connsiteX12" fmla="*/ 2352675 w 2376487"/>
              <a:gd name="connsiteY12" fmla="*/ 1773212 h 2782862"/>
              <a:gd name="connsiteX13" fmla="*/ 2133600 w 2376487"/>
              <a:gd name="connsiteY13" fmla="*/ 1977999 h 2782862"/>
              <a:gd name="connsiteX14" fmla="*/ 2224087 w 2376487"/>
              <a:gd name="connsiteY14" fmla="*/ 2225649 h 2782862"/>
              <a:gd name="connsiteX15" fmla="*/ 1952625 w 2376487"/>
              <a:gd name="connsiteY15" fmla="*/ 2406624 h 2782862"/>
              <a:gd name="connsiteX16" fmla="*/ 2028825 w 2376487"/>
              <a:gd name="connsiteY16" fmla="*/ 2601887 h 2782862"/>
              <a:gd name="connsiteX17" fmla="*/ 1857375 w 2376487"/>
              <a:gd name="connsiteY17" fmla="*/ 2782862 h 2782862"/>
              <a:gd name="connsiteX18" fmla="*/ 923925 w 2376487"/>
              <a:gd name="connsiteY18" fmla="*/ 2754287 h 2782862"/>
              <a:gd name="connsiteX19" fmla="*/ 476250 w 2376487"/>
              <a:gd name="connsiteY19" fmla="*/ 2601887 h 2782862"/>
              <a:gd name="connsiteX20" fmla="*/ 0 w 2376487"/>
              <a:gd name="connsiteY20" fmla="*/ 2578074 h 2782862"/>
              <a:gd name="connsiteX0" fmla="*/ 0 w 2378410"/>
              <a:gd name="connsiteY0" fmla="*/ 2578074 h 2782862"/>
              <a:gd name="connsiteX1" fmla="*/ 0 w 2378410"/>
              <a:gd name="connsiteY1" fmla="*/ 1239812 h 2782862"/>
              <a:gd name="connsiteX2" fmla="*/ 385762 w 2378410"/>
              <a:gd name="connsiteY2" fmla="*/ 1196949 h 2782862"/>
              <a:gd name="connsiteX3" fmla="*/ 616744 w 2378410"/>
              <a:gd name="connsiteY3" fmla="*/ 894530 h 2782862"/>
              <a:gd name="connsiteX4" fmla="*/ 981075 w 2378410"/>
              <a:gd name="connsiteY4" fmla="*/ 630212 h 2782862"/>
              <a:gd name="connsiteX5" fmla="*/ 1143000 w 2378410"/>
              <a:gd name="connsiteY5" fmla="*/ 72999 h 2782862"/>
              <a:gd name="connsiteX6" fmla="*/ 1369219 w 2378410"/>
              <a:gd name="connsiteY6" fmla="*/ 8706 h 2782862"/>
              <a:gd name="connsiteX7" fmla="*/ 1566862 w 2378410"/>
              <a:gd name="connsiteY7" fmla="*/ 356368 h 2782862"/>
              <a:gd name="connsiteX8" fmla="*/ 1402557 w 2378410"/>
              <a:gd name="connsiteY8" fmla="*/ 999305 h 2782862"/>
              <a:gd name="connsiteX9" fmla="*/ 2238375 w 2378410"/>
              <a:gd name="connsiteY9" fmla="*/ 1096937 h 2782862"/>
              <a:gd name="connsiteX10" fmla="*/ 2376487 w 2378410"/>
              <a:gd name="connsiteY10" fmla="*/ 1316012 h 2782862"/>
              <a:gd name="connsiteX11" fmla="*/ 2224087 w 2378410"/>
              <a:gd name="connsiteY11" fmla="*/ 1535087 h 2782862"/>
              <a:gd name="connsiteX12" fmla="*/ 2352675 w 2378410"/>
              <a:gd name="connsiteY12" fmla="*/ 1773212 h 2782862"/>
              <a:gd name="connsiteX13" fmla="*/ 2133600 w 2378410"/>
              <a:gd name="connsiteY13" fmla="*/ 1977999 h 2782862"/>
              <a:gd name="connsiteX14" fmla="*/ 2224087 w 2378410"/>
              <a:gd name="connsiteY14" fmla="*/ 2225649 h 2782862"/>
              <a:gd name="connsiteX15" fmla="*/ 1952625 w 2378410"/>
              <a:gd name="connsiteY15" fmla="*/ 2406624 h 2782862"/>
              <a:gd name="connsiteX16" fmla="*/ 2028825 w 2378410"/>
              <a:gd name="connsiteY16" fmla="*/ 2601887 h 2782862"/>
              <a:gd name="connsiteX17" fmla="*/ 1857375 w 2378410"/>
              <a:gd name="connsiteY17" fmla="*/ 2782862 h 2782862"/>
              <a:gd name="connsiteX18" fmla="*/ 923925 w 2378410"/>
              <a:gd name="connsiteY18" fmla="*/ 2754287 h 2782862"/>
              <a:gd name="connsiteX19" fmla="*/ 476250 w 2378410"/>
              <a:gd name="connsiteY19" fmla="*/ 2601887 h 2782862"/>
              <a:gd name="connsiteX20" fmla="*/ 0 w 2378410"/>
              <a:gd name="connsiteY20" fmla="*/ 2578074 h 2782862"/>
              <a:gd name="connsiteX0" fmla="*/ 0 w 2378410"/>
              <a:gd name="connsiteY0" fmla="*/ 2578074 h 2782862"/>
              <a:gd name="connsiteX1" fmla="*/ 0 w 2378410"/>
              <a:gd name="connsiteY1" fmla="*/ 1239812 h 2782862"/>
              <a:gd name="connsiteX2" fmla="*/ 385762 w 2378410"/>
              <a:gd name="connsiteY2" fmla="*/ 1196949 h 2782862"/>
              <a:gd name="connsiteX3" fmla="*/ 616744 w 2378410"/>
              <a:gd name="connsiteY3" fmla="*/ 894530 h 2782862"/>
              <a:gd name="connsiteX4" fmla="*/ 981075 w 2378410"/>
              <a:gd name="connsiteY4" fmla="*/ 630212 h 2782862"/>
              <a:gd name="connsiteX5" fmla="*/ 1143000 w 2378410"/>
              <a:gd name="connsiteY5" fmla="*/ 72999 h 2782862"/>
              <a:gd name="connsiteX6" fmla="*/ 1369219 w 2378410"/>
              <a:gd name="connsiteY6" fmla="*/ 8706 h 2782862"/>
              <a:gd name="connsiteX7" fmla="*/ 1566862 w 2378410"/>
              <a:gd name="connsiteY7" fmla="*/ 356368 h 2782862"/>
              <a:gd name="connsiteX8" fmla="*/ 1402557 w 2378410"/>
              <a:gd name="connsiteY8" fmla="*/ 999305 h 2782862"/>
              <a:gd name="connsiteX9" fmla="*/ 2238375 w 2378410"/>
              <a:gd name="connsiteY9" fmla="*/ 1096937 h 2782862"/>
              <a:gd name="connsiteX10" fmla="*/ 2376487 w 2378410"/>
              <a:gd name="connsiteY10" fmla="*/ 1316012 h 2782862"/>
              <a:gd name="connsiteX11" fmla="*/ 2224087 w 2378410"/>
              <a:gd name="connsiteY11" fmla="*/ 1535087 h 2782862"/>
              <a:gd name="connsiteX12" fmla="*/ 2352675 w 2378410"/>
              <a:gd name="connsiteY12" fmla="*/ 1773212 h 2782862"/>
              <a:gd name="connsiteX13" fmla="*/ 2133600 w 2378410"/>
              <a:gd name="connsiteY13" fmla="*/ 1977999 h 2782862"/>
              <a:gd name="connsiteX14" fmla="*/ 2224087 w 2378410"/>
              <a:gd name="connsiteY14" fmla="*/ 2225649 h 2782862"/>
              <a:gd name="connsiteX15" fmla="*/ 1952625 w 2378410"/>
              <a:gd name="connsiteY15" fmla="*/ 2406624 h 2782862"/>
              <a:gd name="connsiteX16" fmla="*/ 2028825 w 2378410"/>
              <a:gd name="connsiteY16" fmla="*/ 2601887 h 2782862"/>
              <a:gd name="connsiteX17" fmla="*/ 1857375 w 2378410"/>
              <a:gd name="connsiteY17" fmla="*/ 2782862 h 2782862"/>
              <a:gd name="connsiteX18" fmla="*/ 923925 w 2378410"/>
              <a:gd name="connsiteY18" fmla="*/ 2754287 h 2782862"/>
              <a:gd name="connsiteX19" fmla="*/ 476250 w 2378410"/>
              <a:gd name="connsiteY19" fmla="*/ 2601887 h 2782862"/>
              <a:gd name="connsiteX20" fmla="*/ 0 w 2378410"/>
              <a:gd name="connsiteY20" fmla="*/ 2578074 h 2782862"/>
              <a:gd name="connsiteX0" fmla="*/ 0 w 2378410"/>
              <a:gd name="connsiteY0" fmla="*/ 2578074 h 2782862"/>
              <a:gd name="connsiteX1" fmla="*/ 0 w 2378410"/>
              <a:gd name="connsiteY1" fmla="*/ 1239812 h 2782862"/>
              <a:gd name="connsiteX2" fmla="*/ 385762 w 2378410"/>
              <a:gd name="connsiteY2" fmla="*/ 1196949 h 2782862"/>
              <a:gd name="connsiteX3" fmla="*/ 616744 w 2378410"/>
              <a:gd name="connsiteY3" fmla="*/ 894530 h 2782862"/>
              <a:gd name="connsiteX4" fmla="*/ 981075 w 2378410"/>
              <a:gd name="connsiteY4" fmla="*/ 630212 h 2782862"/>
              <a:gd name="connsiteX5" fmla="*/ 1143000 w 2378410"/>
              <a:gd name="connsiteY5" fmla="*/ 72999 h 2782862"/>
              <a:gd name="connsiteX6" fmla="*/ 1369219 w 2378410"/>
              <a:gd name="connsiteY6" fmla="*/ 8706 h 2782862"/>
              <a:gd name="connsiteX7" fmla="*/ 1566862 w 2378410"/>
              <a:gd name="connsiteY7" fmla="*/ 356368 h 2782862"/>
              <a:gd name="connsiteX8" fmla="*/ 1402557 w 2378410"/>
              <a:gd name="connsiteY8" fmla="*/ 999305 h 2782862"/>
              <a:gd name="connsiteX9" fmla="*/ 2238375 w 2378410"/>
              <a:gd name="connsiteY9" fmla="*/ 1096937 h 2782862"/>
              <a:gd name="connsiteX10" fmla="*/ 2376487 w 2378410"/>
              <a:gd name="connsiteY10" fmla="*/ 1316012 h 2782862"/>
              <a:gd name="connsiteX11" fmla="*/ 2224087 w 2378410"/>
              <a:gd name="connsiteY11" fmla="*/ 1535087 h 2782862"/>
              <a:gd name="connsiteX12" fmla="*/ 2352675 w 2378410"/>
              <a:gd name="connsiteY12" fmla="*/ 1773212 h 2782862"/>
              <a:gd name="connsiteX13" fmla="*/ 2133600 w 2378410"/>
              <a:gd name="connsiteY13" fmla="*/ 1977999 h 2782862"/>
              <a:gd name="connsiteX14" fmla="*/ 2224087 w 2378410"/>
              <a:gd name="connsiteY14" fmla="*/ 2225649 h 2782862"/>
              <a:gd name="connsiteX15" fmla="*/ 1952625 w 2378410"/>
              <a:gd name="connsiteY15" fmla="*/ 2406624 h 2782862"/>
              <a:gd name="connsiteX16" fmla="*/ 2028825 w 2378410"/>
              <a:gd name="connsiteY16" fmla="*/ 2601887 h 2782862"/>
              <a:gd name="connsiteX17" fmla="*/ 1857375 w 2378410"/>
              <a:gd name="connsiteY17" fmla="*/ 2782862 h 2782862"/>
              <a:gd name="connsiteX18" fmla="*/ 923925 w 2378410"/>
              <a:gd name="connsiteY18" fmla="*/ 2754287 h 2782862"/>
              <a:gd name="connsiteX19" fmla="*/ 476250 w 2378410"/>
              <a:gd name="connsiteY19" fmla="*/ 2601887 h 2782862"/>
              <a:gd name="connsiteX20" fmla="*/ 0 w 2378410"/>
              <a:gd name="connsiteY20" fmla="*/ 2578074 h 2782862"/>
              <a:gd name="connsiteX0" fmla="*/ 0 w 2378410"/>
              <a:gd name="connsiteY0" fmla="*/ 2578074 h 2782862"/>
              <a:gd name="connsiteX1" fmla="*/ 0 w 2378410"/>
              <a:gd name="connsiteY1" fmla="*/ 1239812 h 2782862"/>
              <a:gd name="connsiteX2" fmla="*/ 385762 w 2378410"/>
              <a:gd name="connsiteY2" fmla="*/ 1196949 h 2782862"/>
              <a:gd name="connsiteX3" fmla="*/ 616744 w 2378410"/>
              <a:gd name="connsiteY3" fmla="*/ 894530 h 2782862"/>
              <a:gd name="connsiteX4" fmla="*/ 981075 w 2378410"/>
              <a:gd name="connsiteY4" fmla="*/ 630212 h 2782862"/>
              <a:gd name="connsiteX5" fmla="*/ 1143000 w 2378410"/>
              <a:gd name="connsiteY5" fmla="*/ 72999 h 2782862"/>
              <a:gd name="connsiteX6" fmla="*/ 1369219 w 2378410"/>
              <a:gd name="connsiteY6" fmla="*/ 8706 h 2782862"/>
              <a:gd name="connsiteX7" fmla="*/ 1566862 w 2378410"/>
              <a:gd name="connsiteY7" fmla="*/ 356368 h 2782862"/>
              <a:gd name="connsiteX8" fmla="*/ 1402557 w 2378410"/>
              <a:gd name="connsiteY8" fmla="*/ 999305 h 2782862"/>
              <a:gd name="connsiteX9" fmla="*/ 2238375 w 2378410"/>
              <a:gd name="connsiteY9" fmla="*/ 1096937 h 2782862"/>
              <a:gd name="connsiteX10" fmla="*/ 2376487 w 2378410"/>
              <a:gd name="connsiteY10" fmla="*/ 1316012 h 2782862"/>
              <a:gd name="connsiteX11" fmla="*/ 2224087 w 2378410"/>
              <a:gd name="connsiteY11" fmla="*/ 1535087 h 2782862"/>
              <a:gd name="connsiteX12" fmla="*/ 2352675 w 2378410"/>
              <a:gd name="connsiteY12" fmla="*/ 1773212 h 2782862"/>
              <a:gd name="connsiteX13" fmla="*/ 2133600 w 2378410"/>
              <a:gd name="connsiteY13" fmla="*/ 1977999 h 2782862"/>
              <a:gd name="connsiteX14" fmla="*/ 2224087 w 2378410"/>
              <a:gd name="connsiteY14" fmla="*/ 2225649 h 2782862"/>
              <a:gd name="connsiteX15" fmla="*/ 1952625 w 2378410"/>
              <a:gd name="connsiteY15" fmla="*/ 2406624 h 2782862"/>
              <a:gd name="connsiteX16" fmla="*/ 1962150 w 2378410"/>
              <a:gd name="connsiteY16" fmla="*/ 2582837 h 2782862"/>
              <a:gd name="connsiteX17" fmla="*/ 1857375 w 2378410"/>
              <a:gd name="connsiteY17" fmla="*/ 2782862 h 2782862"/>
              <a:gd name="connsiteX18" fmla="*/ 923925 w 2378410"/>
              <a:gd name="connsiteY18" fmla="*/ 2754287 h 2782862"/>
              <a:gd name="connsiteX19" fmla="*/ 476250 w 2378410"/>
              <a:gd name="connsiteY19" fmla="*/ 2601887 h 2782862"/>
              <a:gd name="connsiteX20" fmla="*/ 0 w 2378410"/>
              <a:gd name="connsiteY20" fmla="*/ 2578074 h 2782862"/>
              <a:gd name="connsiteX0" fmla="*/ 0 w 2378410"/>
              <a:gd name="connsiteY0" fmla="*/ 2578074 h 2782862"/>
              <a:gd name="connsiteX1" fmla="*/ 0 w 2378410"/>
              <a:gd name="connsiteY1" fmla="*/ 1239812 h 2782862"/>
              <a:gd name="connsiteX2" fmla="*/ 385762 w 2378410"/>
              <a:gd name="connsiteY2" fmla="*/ 1196949 h 2782862"/>
              <a:gd name="connsiteX3" fmla="*/ 616744 w 2378410"/>
              <a:gd name="connsiteY3" fmla="*/ 894530 h 2782862"/>
              <a:gd name="connsiteX4" fmla="*/ 981075 w 2378410"/>
              <a:gd name="connsiteY4" fmla="*/ 630212 h 2782862"/>
              <a:gd name="connsiteX5" fmla="*/ 1143000 w 2378410"/>
              <a:gd name="connsiteY5" fmla="*/ 72999 h 2782862"/>
              <a:gd name="connsiteX6" fmla="*/ 1369219 w 2378410"/>
              <a:gd name="connsiteY6" fmla="*/ 8706 h 2782862"/>
              <a:gd name="connsiteX7" fmla="*/ 1566862 w 2378410"/>
              <a:gd name="connsiteY7" fmla="*/ 356368 h 2782862"/>
              <a:gd name="connsiteX8" fmla="*/ 1402557 w 2378410"/>
              <a:gd name="connsiteY8" fmla="*/ 999305 h 2782862"/>
              <a:gd name="connsiteX9" fmla="*/ 2238375 w 2378410"/>
              <a:gd name="connsiteY9" fmla="*/ 1096937 h 2782862"/>
              <a:gd name="connsiteX10" fmla="*/ 2376487 w 2378410"/>
              <a:gd name="connsiteY10" fmla="*/ 1316012 h 2782862"/>
              <a:gd name="connsiteX11" fmla="*/ 2224087 w 2378410"/>
              <a:gd name="connsiteY11" fmla="*/ 1535087 h 2782862"/>
              <a:gd name="connsiteX12" fmla="*/ 2352675 w 2378410"/>
              <a:gd name="connsiteY12" fmla="*/ 1773212 h 2782862"/>
              <a:gd name="connsiteX13" fmla="*/ 2133600 w 2378410"/>
              <a:gd name="connsiteY13" fmla="*/ 1977999 h 2782862"/>
              <a:gd name="connsiteX14" fmla="*/ 2224087 w 2378410"/>
              <a:gd name="connsiteY14" fmla="*/ 2225649 h 2782862"/>
              <a:gd name="connsiteX15" fmla="*/ 1952625 w 2378410"/>
              <a:gd name="connsiteY15" fmla="*/ 2406624 h 2782862"/>
              <a:gd name="connsiteX16" fmla="*/ 1962150 w 2378410"/>
              <a:gd name="connsiteY16" fmla="*/ 2582837 h 2782862"/>
              <a:gd name="connsiteX17" fmla="*/ 1857375 w 2378410"/>
              <a:gd name="connsiteY17" fmla="*/ 2782862 h 2782862"/>
              <a:gd name="connsiteX18" fmla="*/ 923925 w 2378410"/>
              <a:gd name="connsiteY18" fmla="*/ 2754287 h 2782862"/>
              <a:gd name="connsiteX19" fmla="*/ 476250 w 2378410"/>
              <a:gd name="connsiteY19" fmla="*/ 2601887 h 2782862"/>
              <a:gd name="connsiteX20" fmla="*/ 0 w 2378410"/>
              <a:gd name="connsiteY20" fmla="*/ 2578074 h 2782862"/>
              <a:gd name="connsiteX0" fmla="*/ 0 w 2378410"/>
              <a:gd name="connsiteY0" fmla="*/ 2578074 h 2782862"/>
              <a:gd name="connsiteX1" fmla="*/ 0 w 2378410"/>
              <a:gd name="connsiteY1" fmla="*/ 1239812 h 2782862"/>
              <a:gd name="connsiteX2" fmla="*/ 385762 w 2378410"/>
              <a:gd name="connsiteY2" fmla="*/ 1196949 h 2782862"/>
              <a:gd name="connsiteX3" fmla="*/ 616744 w 2378410"/>
              <a:gd name="connsiteY3" fmla="*/ 894530 h 2782862"/>
              <a:gd name="connsiteX4" fmla="*/ 981075 w 2378410"/>
              <a:gd name="connsiteY4" fmla="*/ 630212 h 2782862"/>
              <a:gd name="connsiteX5" fmla="*/ 1143000 w 2378410"/>
              <a:gd name="connsiteY5" fmla="*/ 72999 h 2782862"/>
              <a:gd name="connsiteX6" fmla="*/ 1369219 w 2378410"/>
              <a:gd name="connsiteY6" fmla="*/ 8706 h 2782862"/>
              <a:gd name="connsiteX7" fmla="*/ 1566862 w 2378410"/>
              <a:gd name="connsiteY7" fmla="*/ 356368 h 2782862"/>
              <a:gd name="connsiteX8" fmla="*/ 1402557 w 2378410"/>
              <a:gd name="connsiteY8" fmla="*/ 999305 h 2782862"/>
              <a:gd name="connsiteX9" fmla="*/ 2238375 w 2378410"/>
              <a:gd name="connsiteY9" fmla="*/ 1096937 h 2782862"/>
              <a:gd name="connsiteX10" fmla="*/ 2376487 w 2378410"/>
              <a:gd name="connsiteY10" fmla="*/ 1316012 h 2782862"/>
              <a:gd name="connsiteX11" fmla="*/ 2224087 w 2378410"/>
              <a:gd name="connsiteY11" fmla="*/ 1535087 h 2782862"/>
              <a:gd name="connsiteX12" fmla="*/ 2352675 w 2378410"/>
              <a:gd name="connsiteY12" fmla="*/ 1773212 h 2782862"/>
              <a:gd name="connsiteX13" fmla="*/ 2133600 w 2378410"/>
              <a:gd name="connsiteY13" fmla="*/ 1977999 h 2782862"/>
              <a:gd name="connsiteX14" fmla="*/ 2224087 w 2378410"/>
              <a:gd name="connsiteY14" fmla="*/ 2225649 h 2782862"/>
              <a:gd name="connsiteX15" fmla="*/ 1952625 w 2378410"/>
              <a:gd name="connsiteY15" fmla="*/ 2406624 h 2782862"/>
              <a:gd name="connsiteX16" fmla="*/ 2026444 w 2378410"/>
              <a:gd name="connsiteY16" fmla="*/ 2575694 h 2782862"/>
              <a:gd name="connsiteX17" fmla="*/ 1857375 w 2378410"/>
              <a:gd name="connsiteY17" fmla="*/ 2782862 h 2782862"/>
              <a:gd name="connsiteX18" fmla="*/ 923925 w 2378410"/>
              <a:gd name="connsiteY18" fmla="*/ 2754287 h 2782862"/>
              <a:gd name="connsiteX19" fmla="*/ 476250 w 2378410"/>
              <a:gd name="connsiteY19" fmla="*/ 2601887 h 2782862"/>
              <a:gd name="connsiteX20" fmla="*/ 0 w 2378410"/>
              <a:gd name="connsiteY20" fmla="*/ 2578074 h 2782862"/>
              <a:gd name="connsiteX0" fmla="*/ 0 w 2378410"/>
              <a:gd name="connsiteY0" fmla="*/ 2578074 h 2782862"/>
              <a:gd name="connsiteX1" fmla="*/ 0 w 2378410"/>
              <a:gd name="connsiteY1" fmla="*/ 1239812 h 2782862"/>
              <a:gd name="connsiteX2" fmla="*/ 385762 w 2378410"/>
              <a:gd name="connsiteY2" fmla="*/ 1196949 h 2782862"/>
              <a:gd name="connsiteX3" fmla="*/ 616744 w 2378410"/>
              <a:gd name="connsiteY3" fmla="*/ 894530 h 2782862"/>
              <a:gd name="connsiteX4" fmla="*/ 981075 w 2378410"/>
              <a:gd name="connsiteY4" fmla="*/ 630212 h 2782862"/>
              <a:gd name="connsiteX5" fmla="*/ 1143000 w 2378410"/>
              <a:gd name="connsiteY5" fmla="*/ 72999 h 2782862"/>
              <a:gd name="connsiteX6" fmla="*/ 1369219 w 2378410"/>
              <a:gd name="connsiteY6" fmla="*/ 8706 h 2782862"/>
              <a:gd name="connsiteX7" fmla="*/ 1566862 w 2378410"/>
              <a:gd name="connsiteY7" fmla="*/ 356368 h 2782862"/>
              <a:gd name="connsiteX8" fmla="*/ 1402557 w 2378410"/>
              <a:gd name="connsiteY8" fmla="*/ 999305 h 2782862"/>
              <a:gd name="connsiteX9" fmla="*/ 2238375 w 2378410"/>
              <a:gd name="connsiteY9" fmla="*/ 1096937 h 2782862"/>
              <a:gd name="connsiteX10" fmla="*/ 2376487 w 2378410"/>
              <a:gd name="connsiteY10" fmla="*/ 1316012 h 2782862"/>
              <a:gd name="connsiteX11" fmla="*/ 2224087 w 2378410"/>
              <a:gd name="connsiteY11" fmla="*/ 1535087 h 2782862"/>
              <a:gd name="connsiteX12" fmla="*/ 2352675 w 2378410"/>
              <a:gd name="connsiteY12" fmla="*/ 1773212 h 2782862"/>
              <a:gd name="connsiteX13" fmla="*/ 2133600 w 2378410"/>
              <a:gd name="connsiteY13" fmla="*/ 1977999 h 2782862"/>
              <a:gd name="connsiteX14" fmla="*/ 2224087 w 2378410"/>
              <a:gd name="connsiteY14" fmla="*/ 2225649 h 2782862"/>
              <a:gd name="connsiteX15" fmla="*/ 1952625 w 2378410"/>
              <a:gd name="connsiteY15" fmla="*/ 2406624 h 2782862"/>
              <a:gd name="connsiteX16" fmla="*/ 2026444 w 2378410"/>
              <a:gd name="connsiteY16" fmla="*/ 2575694 h 2782862"/>
              <a:gd name="connsiteX17" fmla="*/ 1857375 w 2378410"/>
              <a:gd name="connsiteY17" fmla="*/ 2782862 h 2782862"/>
              <a:gd name="connsiteX18" fmla="*/ 923925 w 2378410"/>
              <a:gd name="connsiteY18" fmla="*/ 2754287 h 2782862"/>
              <a:gd name="connsiteX19" fmla="*/ 476250 w 2378410"/>
              <a:gd name="connsiteY19" fmla="*/ 2601887 h 2782862"/>
              <a:gd name="connsiteX20" fmla="*/ 0 w 2378410"/>
              <a:gd name="connsiteY20" fmla="*/ 2578074 h 2782862"/>
              <a:gd name="connsiteX0" fmla="*/ 0 w 2378410"/>
              <a:gd name="connsiteY0" fmla="*/ 2578074 h 2782862"/>
              <a:gd name="connsiteX1" fmla="*/ 0 w 2378410"/>
              <a:gd name="connsiteY1" fmla="*/ 1239812 h 2782862"/>
              <a:gd name="connsiteX2" fmla="*/ 385762 w 2378410"/>
              <a:gd name="connsiteY2" fmla="*/ 1196949 h 2782862"/>
              <a:gd name="connsiteX3" fmla="*/ 616744 w 2378410"/>
              <a:gd name="connsiteY3" fmla="*/ 894530 h 2782862"/>
              <a:gd name="connsiteX4" fmla="*/ 981075 w 2378410"/>
              <a:gd name="connsiteY4" fmla="*/ 630212 h 2782862"/>
              <a:gd name="connsiteX5" fmla="*/ 1143000 w 2378410"/>
              <a:gd name="connsiteY5" fmla="*/ 72999 h 2782862"/>
              <a:gd name="connsiteX6" fmla="*/ 1369219 w 2378410"/>
              <a:gd name="connsiteY6" fmla="*/ 8706 h 2782862"/>
              <a:gd name="connsiteX7" fmla="*/ 1566862 w 2378410"/>
              <a:gd name="connsiteY7" fmla="*/ 356368 h 2782862"/>
              <a:gd name="connsiteX8" fmla="*/ 1402557 w 2378410"/>
              <a:gd name="connsiteY8" fmla="*/ 999305 h 2782862"/>
              <a:gd name="connsiteX9" fmla="*/ 2238375 w 2378410"/>
              <a:gd name="connsiteY9" fmla="*/ 1096937 h 2782862"/>
              <a:gd name="connsiteX10" fmla="*/ 2376487 w 2378410"/>
              <a:gd name="connsiteY10" fmla="*/ 1316012 h 2782862"/>
              <a:gd name="connsiteX11" fmla="*/ 2224087 w 2378410"/>
              <a:gd name="connsiteY11" fmla="*/ 1535087 h 2782862"/>
              <a:gd name="connsiteX12" fmla="*/ 2352675 w 2378410"/>
              <a:gd name="connsiteY12" fmla="*/ 1773212 h 2782862"/>
              <a:gd name="connsiteX13" fmla="*/ 2133600 w 2378410"/>
              <a:gd name="connsiteY13" fmla="*/ 1977999 h 2782862"/>
              <a:gd name="connsiteX14" fmla="*/ 2224087 w 2378410"/>
              <a:gd name="connsiteY14" fmla="*/ 2225649 h 2782862"/>
              <a:gd name="connsiteX15" fmla="*/ 1952625 w 2378410"/>
              <a:gd name="connsiteY15" fmla="*/ 2406624 h 2782862"/>
              <a:gd name="connsiteX16" fmla="*/ 2026444 w 2378410"/>
              <a:gd name="connsiteY16" fmla="*/ 2575694 h 2782862"/>
              <a:gd name="connsiteX17" fmla="*/ 1857375 w 2378410"/>
              <a:gd name="connsiteY17" fmla="*/ 2782862 h 2782862"/>
              <a:gd name="connsiteX18" fmla="*/ 923925 w 2378410"/>
              <a:gd name="connsiteY18" fmla="*/ 2754287 h 2782862"/>
              <a:gd name="connsiteX19" fmla="*/ 476250 w 2378410"/>
              <a:gd name="connsiteY19" fmla="*/ 2601887 h 2782862"/>
              <a:gd name="connsiteX20" fmla="*/ 0 w 2378410"/>
              <a:gd name="connsiteY20" fmla="*/ 2578074 h 2782862"/>
              <a:gd name="connsiteX0" fmla="*/ 0 w 2378410"/>
              <a:gd name="connsiteY0" fmla="*/ 2578074 h 2768575"/>
              <a:gd name="connsiteX1" fmla="*/ 0 w 2378410"/>
              <a:gd name="connsiteY1" fmla="*/ 1239812 h 2768575"/>
              <a:gd name="connsiteX2" fmla="*/ 385762 w 2378410"/>
              <a:gd name="connsiteY2" fmla="*/ 1196949 h 2768575"/>
              <a:gd name="connsiteX3" fmla="*/ 616744 w 2378410"/>
              <a:gd name="connsiteY3" fmla="*/ 894530 h 2768575"/>
              <a:gd name="connsiteX4" fmla="*/ 981075 w 2378410"/>
              <a:gd name="connsiteY4" fmla="*/ 630212 h 2768575"/>
              <a:gd name="connsiteX5" fmla="*/ 1143000 w 2378410"/>
              <a:gd name="connsiteY5" fmla="*/ 72999 h 2768575"/>
              <a:gd name="connsiteX6" fmla="*/ 1369219 w 2378410"/>
              <a:gd name="connsiteY6" fmla="*/ 8706 h 2768575"/>
              <a:gd name="connsiteX7" fmla="*/ 1566862 w 2378410"/>
              <a:gd name="connsiteY7" fmla="*/ 356368 h 2768575"/>
              <a:gd name="connsiteX8" fmla="*/ 1402557 w 2378410"/>
              <a:gd name="connsiteY8" fmla="*/ 999305 h 2768575"/>
              <a:gd name="connsiteX9" fmla="*/ 2238375 w 2378410"/>
              <a:gd name="connsiteY9" fmla="*/ 1096937 h 2768575"/>
              <a:gd name="connsiteX10" fmla="*/ 2376487 w 2378410"/>
              <a:gd name="connsiteY10" fmla="*/ 1316012 h 2768575"/>
              <a:gd name="connsiteX11" fmla="*/ 2224087 w 2378410"/>
              <a:gd name="connsiteY11" fmla="*/ 1535087 h 2768575"/>
              <a:gd name="connsiteX12" fmla="*/ 2352675 w 2378410"/>
              <a:gd name="connsiteY12" fmla="*/ 1773212 h 2768575"/>
              <a:gd name="connsiteX13" fmla="*/ 2133600 w 2378410"/>
              <a:gd name="connsiteY13" fmla="*/ 1977999 h 2768575"/>
              <a:gd name="connsiteX14" fmla="*/ 2224087 w 2378410"/>
              <a:gd name="connsiteY14" fmla="*/ 2225649 h 2768575"/>
              <a:gd name="connsiteX15" fmla="*/ 1952625 w 2378410"/>
              <a:gd name="connsiteY15" fmla="*/ 2406624 h 2768575"/>
              <a:gd name="connsiteX16" fmla="*/ 2026444 w 2378410"/>
              <a:gd name="connsiteY16" fmla="*/ 2575694 h 2768575"/>
              <a:gd name="connsiteX17" fmla="*/ 1819275 w 2378410"/>
              <a:gd name="connsiteY17" fmla="*/ 2768575 h 2768575"/>
              <a:gd name="connsiteX18" fmla="*/ 923925 w 2378410"/>
              <a:gd name="connsiteY18" fmla="*/ 2754287 h 2768575"/>
              <a:gd name="connsiteX19" fmla="*/ 476250 w 2378410"/>
              <a:gd name="connsiteY19" fmla="*/ 2601887 h 2768575"/>
              <a:gd name="connsiteX20" fmla="*/ 0 w 2378410"/>
              <a:gd name="connsiteY20" fmla="*/ 2578074 h 2768575"/>
              <a:gd name="connsiteX0" fmla="*/ 0 w 2378410"/>
              <a:gd name="connsiteY0" fmla="*/ 2578074 h 2768575"/>
              <a:gd name="connsiteX1" fmla="*/ 0 w 2378410"/>
              <a:gd name="connsiteY1" fmla="*/ 1239812 h 2768575"/>
              <a:gd name="connsiteX2" fmla="*/ 385762 w 2378410"/>
              <a:gd name="connsiteY2" fmla="*/ 1196949 h 2768575"/>
              <a:gd name="connsiteX3" fmla="*/ 616744 w 2378410"/>
              <a:gd name="connsiteY3" fmla="*/ 894530 h 2768575"/>
              <a:gd name="connsiteX4" fmla="*/ 981075 w 2378410"/>
              <a:gd name="connsiteY4" fmla="*/ 630212 h 2768575"/>
              <a:gd name="connsiteX5" fmla="*/ 1143000 w 2378410"/>
              <a:gd name="connsiteY5" fmla="*/ 72999 h 2768575"/>
              <a:gd name="connsiteX6" fmla="*/ 1369219 w 2378410"/>
              <a:gd name="connsiteY6" fmla="*/ 8706 h 2768575"/>
              <a:gd name="connsiteX7" fmla="*/ 1566862 w 2378410"/>
              <a:gd name="connsiteY7" fmla="*/ 356368 h 2768575"/>
              <a:gd name="connsiteX8" fmla="*/ 1402557 w 2378410"/>
              <a:gd name="connsiteY8" fmla="*/ 999305 h 2768575"/>
              <a:gd name="connsiteX9" fmla="*/ 2238375 w 2378410"/>
              <a:gd name="connsiteY9" fmla="*/ 1096937 h 2768575"/>
              <a:gd name="connsiteX10" fmla="*/ 2376487 w 2378410"/>
              <a:gd name="connsiteY10" fmla="*/ 1316012 h 2768575"/>
              <a:gd name="connsiteX11" fmla="*/ 2224087 w 2378410"/>
              <a:gd name="connsiteY11" fmla="*/ 1535087 h 2768575"/>
              <a:gd name="connsiteX12" fmla="*/ 2352675 w 2378410"/>
              <a:gd name="connsiteY12" fmla="*/ 1773212 h 2768575"/>
              <a:gd name="connsiteX13" fmla="*/ 2133600 w 2378410"/>
              <a:gd name="connsiteY13" fmla="*/ 1977999 h 2768575"/>
              <a:gd name="connsiteX14" fmla="*/ 2224087 w 2378410"/>
              <a:gd name="connsiteY14" fmla="*/ 2225649 h 2768575"/>
              <a:gd name="connsiteX15" fmla="*/ 1952625 w 2378410"/>
              <a:gd name="connsiteY15" fmla="*/ 2406624 h 2768575"/>
              <a:gd name="connsiteX16" fmla="*/ 2026444 w 2378410"/>
              <a:gd name="connsiteY16" fmla="*/ 2575694 h 2768575"/>
              <a:gd name="connsiteX17" fmla="*/ 1819275 w 2378410"/>
              <a:gd name="connsiteY17" fmla="*/ 2768575 h 2768575"/>
              <a:gd name="connsiteX18" fmla="*/ 923925 w 2378410"/>
              <a:gd name="connsiteY18" fmla="*/ 2754287 h 2768575"/>
              <a:gd name="connsiteX19" fmla="*/ 476250 w 2378410"/>
              <a:gd name="connsiteY19" fmla="*/ 2601887 h 2768575"/>
              <a:gd name="connsiteX20" fmla="*/ 0 w 2378410"/>
              <a:gd name="connsiteY20" fmla="*/ 2578074 h 2768575"/>
              <a:gd name="connsiteX0" fmla="*/ 0 w 2378410"/>
              <a:gd name="connsiteY0" fmla="*/ 2578074 h 2768575"/>
              <a:gd name="connsiteX1" fmla="*/ 0 w 2378410"/>
              <a:gd name="connsiteY1" fmla="*/ 1239812 h 2768575"/>
              <a:gd name="connsiteX2" fmla="*/ 385762 w 2378410"/>
              <a:gd name="connsiteY2" fmla="*/ 1196949 h 2768575"/>
              <a:gd name="connsiteX3" fmla="*/ 616744 w 2378410"/>
              <a:gd name="connsiteY3" fmla="*/ 894530 h 2768575"/>
              <a:gd name="connsiteX4" fmla="*/ 981075 w 2378410"/>
              <a:gd name="connsiteY4" fmla="*/ 630212 h 2768575"/>
              <a:gd name="connsiteX5" fmla="*/ 1143000 w 2378410"/>
              <a:gd name="connsiteY5" fmla="*/ 72999 h 2768575"/>
              <a:gd name="connsiteX6" fmla="*/ 1369219 w 2378410"/>
              <a:gd name="connsiteY6" fmla="*/ 8706 h 2768575"/>
              <a:gd name="connsiteX7" fmla="*/ 1566862 w 2378410"/>
              <a:gd name="connsiteY7" fmla="*/ 356368 h 2768575"/>
              <a:gd name="connsiteX8" fmla="*/ 1402557 w 2378410"/>
              <a:gd name="connsiteY8" fmla="*/ 999305 h 2768575"/>
              <a:gd name="connsiteX9" fmla="*/ 2238375 w 2378410"/>
              <a:gd name="connsiteY9" fmla="*/ 1096937 h 2768575"/>
              <a:gd name="connsiteX10" fmla="*/ 2376487 w 2378410"/>
              <a:gd name="connsiteY10" fmla="*/ 1316012 h 2768575"/>
              <a:gd name="connsiteX11" fmla="*/ 2224087 w 2378410"/>
              <a:gd name="connsiteY11" fmla="*/ 1535087 h 2768575"/>
              <a:gd name="connsiteX12" fmla="*/ 2352675 w 2378410"/>
              <a:gd name="connsiteY12" fmla="*/ 1773212 h 2768575"/>
              <a:gd name="connsiteX13" fmla="*/ 2133600 w 2378410"/>
              <a:gd name="connsiteY13" fmla="*/ 1977999 h 2768575"/>
              <a:gd name="connsiteX14" fmla="*/ 2224087 w 2378410"/>
              <a:gd name="connsiteY14" fmla="*/ 2225649 h 2768575"/>
              <a:gd name="connsiteX15" fmla="*/ 1952625 w 2378410"/>
              <a:gd name="connsiteY15" fmla="*/ 2406624 h 2768575"/>
              <a:gd name="connsiteX16" fmla="*/ 2026444 w 2378410"/>
              <a:gd name="connsiteY16" fmla="*/ 2575694 h 2768575"/>
              <a:gd name="connsiteX17" fmla="*/ 1819275 w 2378410"/>
              <a:gd name="connsiteY17" fmla="*/ 2768575 h 2768575"/>
              <a:gd name="connsiteX18" fmla="*/ 923925 w 2378410"/>
              <a:gd name="connsiteY18" fmla="*/ 2754287 h 2768575"/>
              <a:gd name="connsiteX19" fmla="*/ 476250 w 2378410"/>
              <a:gd name="connsiteY19" fmla="*/ 2601887 h 2768575"/>
              <a:gd name="connsiteX20" fmla="*/ 0 w 2378410"/>
              <a:gd name="connsiteY20" fmla="*/ 2578074 h 2768575"/>
              <a:gd name="connsiteX0" fmla="*/ 0 w 2378410"/>
              <a:gd name="connsiteY0" fmla="*/ 2578074 h 2768575"/>
              <a:gd name="connsiteX1" fmla="*/ 0 w 2378410"/>
              <a:gd name="connsiteY1" fmla="*/ 1239812 h 2768575"/>
              <a:gd name="connsiteX2" fmla="*/ 385762 w 2378410"/>
              <a:gd name="connsiteY2" fmla="*/ 1196949 h 2768575"/>
              <a:gd name="connsiteX3" fmla="*/ 616744 w 2378410"/>
              <a:gd name="connsiteY3" fmla="*/ 894530 h 2768575"/>
              <a:gd name="connsiteX4" fmla="*/ 973931 w 2378410"/>
              <a:gd name="connsiteY4" fmla="*/ 608781 h 2768575"/>
              <a:gd name="connsiteX5" fmla="*/ 1143000 w 2378410"/>
              <a:gd name="connsiteY5" fmla="*/ 72999 h 2768575"/>
              <a:gd name="connsiteX6" fmla="*/ 1369219 w 2378410"/>
              <a:gd name="connsiteY6" fmla="*/ 8706 h 2768575"/>
              <a:gd name="connsiteX7" fmla="*/ 1566862 w 2378410"/>
              <a:gd name="connsiteY7" fmla="*/ 356368 h 2768575"/>
              <a:gd name="connsiteX8" fmla="*/ 1402557 w 2378410"/>
              <a:gd name="connsiteY8" fmla="*/ 999305 h 2768575"/>
              <a:gd name="connsiteX9" fmla="*/ 2238375 w 2378410"/>
              <a:gd name="connsiteY9" fmla="*/ 1096937 h 2768575"/>
              <a:gd name="connsiteX10" fmla="*/ 2376487 w 2378410"/>
              <a:gd name="connsiteY10" fmla="*/ 1316012 h 2768575"/>
              <a:gd name="connsiteX11" fmla="*/ 2224087 w 2378410"/>
              <a:gd name="connsiteY11" fmla="*/ 1535087 h 2768575"/>
              <a:gd name="connsiteX12" fmla="*/ 2352675 w 2378410"/>
              <a:gd name="connsiteY12" fmla="*/ 1773212 h 2768575"/>
              <a:gd name="connsiteX13" fmla="*/ 2133600 w 2378410"/>
              <a:gd name="connsiteY13" fmla="*/ 1977999 h 2768575"/>
              <a:gd name="connsiteX14" fmla="*/ 2224087 w 2378410"/>
              <a:gd name="connsiteY14" fmla="*/ 2225649 h 2768575"/>
              <a:gd name="connsiteX15" fmla="*/ 1952625 w 2378410"/>
              <a:gd name="connsiteY15" fmla="*/ 2406624 h 2768575"/>
              <a:gd name="connsiteX16" fmla="*/ 2026444 w 2378410"/>
              <a:gd name="connsiteY16" fmla="*/ 2575694 h 2768575"/>
              <a:gd name="connsiteX17" fmla="*/ 1819275 w 2378410"/>
              <a:gd name="connsiteY17" fmla="*/ 2768575 h 2768575"/>
              <a:gd name="connsiteX18" fmla="*/ 923925 w 2378410"/>
              <a:gd name="connsiteY18" fmla="*/ 2754287 h 2768575"/>
              <a:gd name="connsiteX19" fmla="*/ 476250 w 2378410"/>
              <a:gd name="connsiteY19" fmla="*/ 2601887 h 2768575"/>
              <a:gd name="connsiteX20" fmla="*/ 0 w 2378410"/>
              <a:gd name="connsiteY20" fmla="*/ 2578074 h 2768575"/>
              <a:gd name="connsiteX0" fmla="*/ 0 w 2376855"/>
              <a:gd name="connsiteY0" fmla="*/ 2578074 h 2768575"/>
              <a:gd name="connsiteX1" fmla="*/ 0 w 2376855"/>
              <a:gd name="connsiteY1" fmla="*/ 1239812 h 2768575"/>
              <a:gd name="connsiteX2" fmla="*/ 385762 w 2376855"/>
              <a:gd name="connsiteY2" fmla="*/ 1196949 h 2768575"/>
              <a:gd name="connsiteX3" fmla="*/ 616744 w 2376855"/>
              <a:gd name="connsiteY3" fmla="*/ 894530 h 2768575"/>
              <a:gd name="connsiteX4" fmla="*/ 973931 w 2376855"/>
              <a:gd name="connsiteY4" fmla="*/ 608781 h 2768575"/>
              <a:gd name="connsiteX5" fmla="*/ 1143000 w 2376855"/>
              <a:gd name="connsiteY5" fmla="*/ 72999 h 2768575"/>
              <a:gd name="connsiteX6" fmla="*/ 1369219 w 2376855"/>
              <a:gd name="connsiteY6" fmla="*/ 8706 h 2768575"/>
              <a:gd name="connsiteX7" fmla="*/ 1566862 w 2376855"/>
              <a:gd name="connsiteY7" fmla="*/ 356368 h 2768575"/>
              <a:gd name="connsiteX8" fmla="*/ 1402557 w 2376855"/>
              <a:gd name="connsiteY8" fmla="*/ 999305 h 2768575"/>
              <a:gd name="connsiteX9" fmla="*/ 2238375 w 2376855"/>
              <a:gd name="connsiteY9" fmla="*/ 1096937 h 2768575"/>
              <a:gd name="connsiteX10" fmla="*/ 2376487 w 2376855"/>
              <a:gd name="connsiteY10" fmla="*/ 1316012 h 2768575"/>
              <a:gd name="connsiteX11" fmla="*/ 2202655 w 2376855"/>
              <a:gd name="connsiteY11" fmla="*/ 1542231 h 2768575"/>
              <a:gd name="connsiteX12" fmla="*/ 2352675 w 2376855"/>
              <a:gd name="connsiteY12" fmla="*/ 1773212 h 2768575"/>
              <a:gd name="connsiteX13" fmla="*/ 2133600 w 2376855"/>
              <a:gd name="connsiteY13" fmla="*/ 1977999 h 2768575"/>
              <a:gd name="connsiteX14" fmla="*/ 2224087 w 2376855"/>
              <a:gd name="connsiteY14" fmla="*/ 2225649 h 2768575"/>
              <a:gd name="connsiteX15" fmla="*/ 1952625 w 2376855"/>
              <a:gd name="connsiteY15" fmla="*/ 2406624 h 2768575"/>
              <a:gd name="connsiteX16" fmla="*/ 2026444 w 2376855"/>
              <a:gd name="connsiteY16" fmla="*/ 2575694 h 2768575"/>
              <a:gd name="connsiteX17" fmla="*/ 1819275 w 2376855"/>
              <a:gd name="connsiteY17" fmla="*/ 2768575 h 2768575"/>
              <a:gd name="connsiteX18" fmla="*/ 923925 w 2376855"/>
              <a:gd name="connsiteY18" fmla="*/ 2754287 h 2768575"/>
              <a:gd name="connsiteX19" fmla="*/ 476250 w 2376855"/>
              <a:gd name="connsiteY19" fmla="*/ 2601887 h 2768575"/>
              <a:gd name="connsiteX20" fmla="*/ 0 w 2376855"/>
              <a:gd name="connsiteY20" fmla="*/ 2578074 h 2768575"/>
              <a:gd name="connsiteX0" fmla="*/ 0 w 2376855"/>
              <a:gd name="connsiteY0" fmla="*/ 2578074 h 2768575"/>
              <a:gd name="connsiteX1" fmla="*/ 0 w 2376855"/>
              <a:gd name="connsiteY1" fmla="*/ 1239812 h 2768575"/>
              <a:gd name="connsiteX2" fmla="*/ 385762 w 2376855"/>
              <a:gd name="connsiteY2" fmla="*/ 1196949 h 2768575"/>
              <a:gd name="connsiteX3" fmla="*/ 616744 w 2376855"/>
              <a:gd name="connsiteY3" fmla="*/ 894530 h 2768575"/>
              <a:gd name="connsiteX4" fmla="*/ 973931 w 2376855"/>
              <a:gd name="connsiteY4" fmla="*/ 608781 h 2768575"/>
              <a:gd name="connsiteX5" fmla="*/ 1143000 w 2376855"/>
              <a:gd name="connsiteY5" fmla="*/ 72999 h 2768575"/>
              <a:gd name="connsiteX6" fmla="*/ 1369219 w 2376855"/>
              <a:gd name="connsiteY6" fmla="*/ 8706 h 2768575"/>
              <a:gd name="connsiteX7" fmla="*/ 1566862 w 2376855"/>
              <a:gd name="connsiteY7" fmla="*/ 356368 h 2768575"/>
              <a:gd name="connsiteX8" fmla="*/ 1402557 w 2376855"/>
              <a:gd name="connsiteY8" fmla="*/ 999305 h 2768575"/>
              <a:gd name="connsiteX9" fmla="*/ 2238375 w 2376855"/>
              <a:gd name="connsiteY9" fmla="*/ 1096937 h 2768575"/>
              <a:gd name="connsiteX10" fmla="*/ 2376487 w 2376855"/>
              <a:gd name="connsiteY10" fmla="*/ 1316012 h 2768575"/>
              <a:gd name="connsiteX11" fmla="*/ 2202655 w 2376855"/>
              <a:gd name="connsiteY11" fmla="*/ 1542231 h 2768575"/>
              <a:gd name="connsiteX12" fmla="*/ 2352675 w 2376855"/>
              <a:gd name="connsiteY12" fmla="*/ 1773212 h 2768575"/>
              <a:gd name="connsiteX13" fmla="*/ 2133600 w 2376855"/>
              <a:gd name="connsiteY13" fmla="*/ 1977999 h 2768575"/>
              <a:gd name="connsiteX14" fmla="*/ 2224087 w 2376855"/>
              <a:gd name="connsiteY14" fmla="*/ 2225649 h 2768575"/>
              <a:gd name="connsiteX15" fmla="*/ 1952625 w 2376855"/>
              <a:gd name="connsiteY15" fmla="*/ 2406624 h 2768575"/>
              <a:gd name="connsiteX16" fmla="*/ 2026444 w 2376855"/>
              <a:gd name="connsiteY16" fmla="*/ 2575694 h 2768575"/>
              <a:gd name="connsiteX17" fmla="*/ 1819275 w 2376855"/>
              <a:gd name="connsiteY17" fmla="*/ 2768575 h 2768575"/>
              <a:gd name="connsiteX18" fmla="*/ 923925 w 2376855"/>
              <a:gd name="connsiteY18" fmla="*/ 2754287 h 2768575"/>
              <a:gd name="connsiteX19" fmla="*/ 476250 w 2376855"/>
              <a:gd name="connsiteY19" fmla="*/ 2601887 h 2768575"/>
              <a:gd name="connsiteX20" fmla="*/ 0 w 2376855"/>
              <a:gd name="connsiteY20" fmla="*/ 2578074 h 2768575"/>
              <a:gd name="connsiteX0" fmla="*/ 0 w 2376169"/>
              <a:gd name="connsiteY0" fmla="*/ 2578074 h 2768575"/>
              <a:gd name="connsiteX1" fmla="*/ 0 w 2376169"/>
              <a:gd name="connsiteY1" fmla="*/ 1239812 h 2768575"/>
              <a:gd name="connsiteX2" fmla="*/ 385762 w 2376169"/>
              <a:gd name="connsiteY2" fmla="*/ 1196949 h 2768575"/>
              <a:gd name="connsiteX3" fmla="*/ 616744 w 2376169"/>
              <a:gd name="connsiteY3" fmla="*/ 894530 h 2768575"/>
              <a:gd name="connsiteX4" fmla="*/ 973931 w 2376169"/>
              <a:gd name="connsiteY4" fmla="*/ 608781 h 2768575"/>
              <a:gd name="connsiteX5" fmla="*/ 1143000 w 2376169"/>
              <a:gd name="connsiteY5" fmla="*/ 72999 h 2768575"/>
              <a:gd name="connsiteX6" fmla="*/ 1369219 w 2376169"/>
              <a:gd name="connsiteY6" fmla="*/ 8706 h 2768575"/>
              <a:gd name="connsiteX7" fmla="*/ 1566862 w 2376169"/>
              <a:gd name="connsiteY7" fmla="*/ 356368 h 2768575"/>
              <a:gd name="connsiteX8" fmla="*/ 1402557 w 2376169"/>
              <a:gd name="connsiteY8" fmla="*/ 999305 h 2768575"/>
              <a:gd name="connsiteX9" fmla="*/ 2238375 w 2376169"/>
              <a:gd name="connsiteY9" fmla="*/ 1096937 h 2768575"/>
              <a:gd name="connsiteX10" fmla="*/ 2371725 w 2376169"/>
              <a:gd name="connsiteY10" fmla="*/ 1339825 h 2768575"/>
              <a:gd name="connsiteX11" fmla="*/ 2202655 w 2376169"/>
              <a:gd name="connsiteY11" fmla="*/ 1542231 h 2768575"/>
              <a:gd name="connsiteX12" fmla="*/ 2352675 w 2376169"/>
              <a:gd name="connsiteY12" fmla="*/ 1773212 h 2768575"/>
              <a:gd name="connsiteX13" fmla="*/ 2133600 w 2376169"/>
              <a:gd name="connsiteY13" fmla="*/ 1977999 h 2768575"/>
              <a:gd name="connsiteX14" fmla="*/ 2224087 w 2376169"/>
              <a:gd name="connsiteY14" fmla="*/ 2225649 h 2768575"/>
              <a:gd name="connsiteX15" fmla="*/ 1952625 w 2376169"/>
              <a:gd name="connsiteY15" fmla="*/ 2406624 h 2768575"/>
              <a:gd name="connsiteX16" fmla="*/ 2026444 w 2376169"/>
              <a:gd name="connsiteY16" fmla="*/ 2575694 h 2768575"/>
              <a:gd name="connsiteX17" fmla="*/ 1819275 w 2376169"/>
              <a:gd name="connsiteY17" fmla="*/ 2768575 h 2768575"/>
              <a:gd name="connsiteX18" fmla="*/ 923925 w 2376169"/>
              <a:gd name="connsiteY18" fmla="*/ 2754287 h 2768575"/>
              <a:gd name="connsiteX19" fmla="*/ 476250 w 2376169"/>
              <a:gd name="connsiteY19" fmla="*/ 2601887 h 2768575"/>
              <a:gd name="connsiteX20" fmla="*/ 0 w 2376169"/>
              <a:gd name="connsiteY20" fmla="*/ 2578074 h 2768575"/>
              <a:gd name="connsiteX0" fmla="*/ 0 w 2375039"/>
              <a:gd name="connsiteY0" fmla="*/ 2578074 h 2768575"/>
              <a:gd name="connsiteX1" fmla="*/ 0 w 2375039"/>
              <a:gd name="connsiteY1" fmla="*/ 1239812 h 2768575"/>
              <a:gd name="connsiteX2" fmla="*/ 385762 w 2375039"/>
              <a:gd name="connsiteY2" fmla="*/ 1196949 h 2768575"/>
              <a:gd name="connsiteX3" fmla="*/ 616744 w 2375039"/>
              <a:gd name="connsiteY3" fmla="*/ 894530 h 2768575"/>
              <a:gd name="connsiteX4" fmla="*/ 973931 w 2375039"/>
              <a:gd name="connsiteY4" fmla="*/ 608781 h 2768575"/>
              <a:gd name="connsiteX5" fmla="*/ 1143000 w 2375039"/>
              <a:gd name="connsiteY5" fmla="*/ 72999 h 2768575"/>
              <a:gd name="connsiteX6" fmla="*/ 1369219 w 2375039"/>
              <a:gd name="connsiteY6" fmla="*/ 8706 h 2768575"/>
              <a:gd name="connsiteX7" fmla="*/ 1566862 w 2375039"/>
              <a:gd name="connsiteY7" fmla="*/ 356368 h 2768575"/>
              <a:gd name="connsiteX8" fmla="*/ 1402557 w 2375039"/>
              <a:gd name="connsiteY8" fmla="*/ 999305 h 2768575"/>
              <a:gd name="connsiteX9" fmla="*/ 2233613 w 2375039"/>
              <a:gd name="connsiteY9" fmla="*/ 1096937 h 2768575"/>
              <a:gd name="connsiteX10" fmla="*/ 2371725 w 2375039"/>
              <a:gd name="connsiteY10" fmla="*/ 1339825 h 2768575"/>
              <a:gd name="connsiteX11" fmla="*/ 2202655 w 2375039"/>
              <a:gd name="connsiteY11" fmla="*/ 1542231 h 2768575"/>
              <a:gd name="connsiteX12" fmla="*/ 2352675 w 2375039"/>
              <a:gd name="connsiteY12" fmla="*/ 1773212 h 2768575"/>
              <a:gd name="connsiteX13" fmla="*/ 2133600 w 2375039"/>
              <a:gd name="connsiteY13" fmla="*/ 1977999 h 2768575"/>
              <a:gd name="connsiteX14" fmla="*/ 2224087 w 2375039"/>
              <a:gd name="connsiteY14" fmla="*/ 2225649 h 2768575"/>
              <a:gd name="connsiteX15" fmla="*/ 1952625 w 2375039"/>
              <a:gd name="connsiteY15" fmla="*/ 2406624 h 2768575"/>
              <a:gd name="connsiteX16" fmla="*/ 2026444 w 2375039"/>
              <a:gd name="connsiteY16" fmla="*/ 2575694 h 2768575"/>
              <a:gd name="connsiteX17" fmla="*/ 1819275 w 2375039"/>
              <a:gd name="connsiteY17" fmla="*/ 2768575 h 2768575"/>
              <a:gd name="connsiteX18" fmla="*/ 923925 w 2375039"/>
              <a:gd name="connsiteY18" fmla="*/ 2754287 h 2768575"/>
              <a:gd name="connsiteX19" fmla="*/ 476250 w 2375039"/>
              <a:gd name="connsiteY19" fmla="*/ 2601887 h 2768575"/>
              <a:gd name="connsiteX20" fmla="*/ 0 w 2375039"/>
              <a:gd name="connsiteY20" fmla="*/ 2578074 h 2768575"/>
              <a:gd name="connsiteX0" fmla="*/ 0 w 2372252"/>
              <a:gd name="connsiteY0" fmla="*/ 2578074 h 2768575"/>
              <a:gd name="connsiteX1" fmla="*/ 0 w 2372252"/>
              <a:gd name="connsiteY1" fmla="*/ 1239812 h 2768575"/>
              <a:gd name="connsiteX2" fmla="*/ 385762 w 2372252"/>
              <a:gd name="connsiteY2" fmla="*/ 1196949 h 2768575"/>
              <a:gd name="connsiteX3" fmla="*/ 616744 w 2372252"/>
              <a:gd name="connsiteY3" fmla="*/ 894530 h 2768575"/>
              <a:gd name="connsiteX4" fmla="*/ 973931 w 2372252"/>
              <a:gd name="connsiteY4" fmla="*/ 608781 h 2768575"/>
              <a:gd name="connsiteX5" fmla="*/ 1143000 w 2372252"/>
              <a:gd name="connsiteY5" fmla="*/ 72999 h 2768575"/>
              <a:gd name="connsiteX6" fmla="*/ 1369219 w 2372252"/>
              <a:gd name="connsiteY6" fmla="*/ 8706 h 2768575"/>
              <a:gd name="connsiteX7" fmla="*/ 1566862 w 2372252"/>
              <a:gd name="connsiteY7" fmla="*/ 356368 h 2768575"/>
              <a:gd name="connsiteX8" fmla="*/ 1402557 w 2372252"/>
              <a:gd name="connsiteY8" fmla="*/ 999305 h 2768575"/>
              <a:gd name="connsiteX9" fmla="*/ 2233613 w 2372252"/>
              <a:gd name="connsiteY9" fmla="*/ 1096937 h 2768575"/>
              <a:gd name="connsiteX10" fmla="*/ 2371725 w 2372252"/>
              <a:gd name="connsiteY10" fmla="*/ 1339825 h 2768575"/>
              <a:gd name="connsiteX11" fmla="*/ 2202655 w 2372252"/>
              <a:gd name="connsiteY11" fmla="*/ 1542231 h 2768575"/>
              <a:gd name="connsiteX12" fmla="*/ 2352675 w 2372252"/>
              <a:gd name="connsiteY12" fmla="*/ 1773212 h 2768575"/>
              <a:gd name="connsiteX13" fmla="*/ 2133600 w 2372252"/>
              <a:gd name="connsiteY13" fmla="*/ 1977999 h 2768575"/>
              <a:gd name="connsiteX14" fmla="*/ 2224087 w 2372252"/>
              <a:gd name="connsiteY14" fmla="*/ 2225649 h 2768575"/>
              <a:gd name="connsiteX15" fmla="*/ 1952625 w 2372252"/>
              <a:gd name="connsiteY15" fmla="*/ 2406624 h 2768575"/>
              <a:gd name="connsiteX16" fmla="*/ 2026444 w 2372252"/>
              <a:gd name="connsiteY16" fmla="*/ 2575694 h 2768575"/>
              <a:gd name="connsiteX17" fmla="*/ 1819275 w 2372252"/>
              <a:gd name="connsiteY17" fmla="*/ 2768575 h 2768575"/>
              <a:gd name="connsiteX18" fmla="*/ 923925 w 2372252"/>
              <a:gd name="connsiteY18" fmla="*/ 2754287 h 2768575"/>
              <a:gd name="connsiteX19" fmla="*/ 476250 w 2372252"/>
              <a:gd name="connsiteY19" fmla="*/ 2601887 h 2768575"/>
              <a:gd name="connsiteX20" fmla="*/ 0 w 2372252"/>
              <a:gd name="connsiteY20" fmla="*/ 2578074 h 2768575"/>
              <a:gd name="connsiteX0" fmla="*/ 0 w 2372252"/>
              <a:gd name="connsiteY0" fmla="*/ 2578074 h 2768575"/>
              <a:gd name="connsiteX1" fmla="*/ 0 w 2372252"/>
              <a:gd name="connsiteY1" fmla="*/ 1239812 h 2768575"/>
              <a:gd name="connsiteX2" fmla="*/ 385762 w 2372252"/>
              <a:gd name="connsiteY2" fmla="*/ 1196949 h 2768575"/>
              <a:gd name="connsiteX3" fmla="*/ 616744 w 2372252"/>
              <a:gd name="connsiteY3" fmla="*/ 894530 h 2768575"/>
              <a:gd name="connsiteX4" fmla="*/ 973931 w 2372252"/>
              <a:gd name="connsiteY4" fmla="*/ 608781 h 2768575"/>
              <a:gd name="connsiteX5" fmla="*/ 1143000 w 2372252"/>
              <a:gd name="connsiteY5" fmla="*/ 72999 h 2768575"/>
              <a:gd name="connsiteX6" fmla="*/ 1369219 w 2372252"/>
              <a:gd name="connsiteY6" fmla="*/ 8706 h 2768575"/>
              <a:gd name="connsiteX7" fmla="*/ 1566862 w 2372252"/>
              <a:gd name="connsiteY7" fmla="*/ 356368 h 2768575"/>
              <a:gd name="connsiteX8" fmla="*/ 1402557 w 2372252"/>
              <a:gd name="connsiteY8" fmla="*/ 999305 h 2768575"/>
              <a:gd name="connsiteX9" fmla="*/ 2233613 w 2372252"/>
              <a:gd name="connsiteY9" fmla="*/ 1096937 h 2768575"/>
              <a:gd name="connsiteX10" fmla="*/ 2371725 w 2372252"/>
              <a:gd name="connsiteY10" fmla="*/ 1339825 h 2768575"/>
              <a:gd name="connsiteX11" fmla="*/ 2202655 w 2372252"/>
              <a:gd name="connsiteY11" fmla="*/ 1542231 h 2768575"/>
              <a:gd name="connsiteX12" fmla="*/ 2352675 w 2372252"/>
              <a:gd name="connsiteY12" fmla="*/ 1773212 h 2768575"/>
              <a:gd name="connsiteX13" fmla="*/ 2133600 w 2372252"/>
              <a:gd name="connsiteY13" fmla="*/ 1977999 h 2768575"/>
              <a:gd name="connsiteX14" fmla="*/ 2224087 w 2372252"/>
              <a:gd name="connsiteY14" fmla="*/ 2225649 h 2768575"/>
              <a:gd name="connsiteX15" fmla="*/ 1952625 w 2372252"/>
              <a:gd name="connsiteY15" fmla="*/ 2406624 h 2768575"/>
              <a:gd name="connsiteX16" fmla="*/ 2026444 w 2372252"/>
              <a:gd name="connsiteY16" fmla="*/ 2575694 h 2768575"/>
              <a:gd name="connsiteX17" fmla="*/ 1819275 w 2372252"/>
              <a:gd name="connsiteY17" fmla="*/ 2768575 h 2768575"/>
              <a:gd name="connsiteX18" fmla="*/ 923925 w 2372252"/>
              <a:gd name="connsiteY18" fmla="*/ 2754287 h 2768575"/>
              <a:gd name="connsiteX19" fmla="*/ 476250 w 2372252"/>
              <a:gd name="connsiteY19" fmla="*/ 2601887 h 2768575"/>
              <a:gd name="connsiteX20" fmla="*/ 0 w 2372252"/>
              <a:gd name="connsiteY20" fmla="*/ 2578074 h 2768575"/>
              <a:gd name="connsiteX0" fmla="*/ 0 w 2372252"/>
              <a:gd name="connsiteY0" fmla="*/ 2578074 h 2768575"/>
              <a:gd name="connsiteX1" fmla="*/ 0 w 2372252"/>
              <a:gd name="connsiteY1" fmla="*/ 1239812 h 2768575"/>
              <a:gd name="connsiteX2" fmla="*/ 385762 w 2372252"/>
              <a:gd name="connsiteY2" fmla="*/ 1196949 h 2768575"/>
              <a:gd name="connsiteX3" fmla="*/ 616744 w 2372252"/>
              <a:gd name="connsiteY3" fmla="*/ 894530 h 2768575"/>
              <a:gd name="connsiteX4" fmla="*/ 973931 w 2372252"/>
              <a:gd name="connsiteY4" fmla="*/ 608781 h 2768575"/>
              <a:gd name="connsiteX5" fmla="*/ 1143000 w 2372252"/>
              <a:gd name="connsiteY5" fmla="*/ 72999 h 2768575"/>
              <a:gd name="connsiteX6" fmla="*/ 1369219 w 2372252"/>
              <a:gd name="connsiteY6" fmla="*/ 8706 h 2768575"/>
              <a:gd name="connsiteX7" fmla="*/ 1566862 w 2372252"/>
              <a:gd name="connsiteY7" fmla="*/ 356368 h 2768575"/>
              <a:gd name="connsiteX8" fmla="*/ 1402557 w 2372252"/>
              <a:gd name="connsiteY8" fmla="*/ 999305 h 2768575"/>
              <a:gd name="connsiteX9" fmla="*/ 2233613 w 2372252"/>
              <a:gd name="connsiteY9" fmla="*/ 1096937 h 2768575"/>
              <a:gd name="connsiteX10" fmla="*/ 2371725 w 2372252"/>
              <a:gd name="connsiteY10" fmla="*/ 1339825 h 2768575"/>
              <a:gd name="connsiteX11" fmla="*/ 2202655 w 2372252"/>
              <a:gd name="connsiteY11" fmla="*/ 1542231 h 2768575"/>
              <a:gd name="connsiteX12" fmla="*/ 2352675 w 2372252"/>
              <a:gd name="connsiteY12" fmla="*/ 1773212 h 2768575"/>
              <a:gd name="connsiteX13" fmla="*/ 2133600 w 2372252"/>
              <a:gd name="connsiteY13" fmla="*/ 1977999 h 2768575"/>
              <a:gd name="connsiteX14" fmla="*/ 2224087 w 2372252"/>
              <a:gd name="connsiteY14" fmla="*/ 2225649 h 2768575"/>
              <a:gd name="connsiteX15" fmla="*/ 1952625 w 2372252"/>
              <a:gd name="connsiteY15" fmla="*/ 2406624 h 2768575"/>
              <a:gd name="connsiteX16" fmla="*/ 2026444 w 2372252"/>
              <a:gd name="connsiteY16" fmla="*/ 2575694 h 2768575"/>
              <a:gd name="connsiteX17" fmla="*/ 1819275 w 2372252"/>
              <a:gd name="connsiteY17" fmla="*/ 2768575 h 2768575"/>
              <a:gd name="connsiteX18" fmla="*/ 923925 w 2372252"/>
              <a:gd name="connsiteY18" fmla="*/ 2754287 h 2768575"/>
              <a:gd name="connsiteX19" fmla="*/ 476250 w 2372252"/>
              <a:gd name="connsiteY19" fmla="*/ 2601887 h 2768575"/>
              <a:gd name="connsiteX20" fmla="*/ 0 w 2372252"/>
              <a:gd name="connsiteY20" fmla="*/ 2578074 h 2768575"/>
              <a:gd name="connsiteX0" fmla="*/ 0 w 2372252"/>
              <a:gd name="connsiteY0" fmla="*/ 2578074 h 2768575"/>
              <a:gd name="connsiteX1" fmla="*/ 0 w 2372252"/>
              <a:gd name="connsiteY1" fmla="*/ 1239812 h 2768575"/>
              <a:gd name="connsiteX2" fmla="*/ 385762 w 2372252"/>
              <a:gd name="connsiteY2" fmla="*/ 1196949 h 2768575"/>
              <a:gd name="connsiteX3" fmla="*/ 616744 w 2372252"/>
              <a:gd name="connsiteY3" fmla="*/ 894530 h 2768575"/>
              <a:gd name="connsiteX4" fmla="*/ 973931 w 2372252"/>
              <a:gd name="connsiteY4" fmla="*/ 608781 h 2768575"/>
              <a:gd name="connsiteX5" fmla="*/ 1143000 w 2372252"/>
              <a:gd name="connsiteY5" fmla="*/ 72999 h 2768575"/>
              <a:gd name="connsiteX6" fmla="*/ 1369219 w 2372252"/>
              <a:gd name="connsiteY6" fmla="*/ 8706 h 2768575"/>
              <a:gd name="connsiteX7" fmla="*/ 1566862 w 2372252"/>
              <a:gd name="connsiteY7" fmla="*/ 356368 h 2768575"/>
              <a:gd name="connsiteX8" fmla="*/ 1402557 w 2372252"/>
              <a:gd name="connsiteY8" fmla="*/ 999305 h 2768575"/>
              <a:gd name="connsiteX9" fmla="*/ 2233613 w 2372252"/>
              <a:gd name="connsiteY9" fmla="*/ 1096937 h 2768575"/>
              <a:gd name="connsiteX10" fmla="*/ 2371725 w 2372252"/>
              <a:gd name="connsiteY10" fmla="*/ 1339825 h 2768575"/>
              <a:gd name="connsiteX11" fmla="*/ 2202655 w 2372252"/>
              <a:gd name="connsiteY11" fmla="*/ 1542231 h 2768575"/>
              <a:gd name="connsiteX12" fmla="*/ 2352675 w 2372252"/>
              <a:gd name="connsiteY12" fmla="*/ 1773212 h 2768575"/>
              <a:gd name="connsiteX13" fmla="*/ 2133600 w 2372252"/>
              <a:gd name="connsiteY13" fmla="*/ 1977999 h 2768575"/>
              <a:gd name="connsiteX14" fmla="*/ 2224087 w 2372252"/>
              <a:gd name="connsiteY14" fmla="*/ 2225649 h 2768575"/>
              <a:gd name="connsiteX15" fmla="*/ 1952625 w 2372252"/>
              <a:gd name="connsiteY15" fmla="*/ 2406624 h 2768575"/>
              <a:gd name="connsiteX16" fmla="*/ 2026444 w 2372252"/>
              <a:gd name="connsiteY16" fmla="*/ 2575694 h 2768575"/>
              <a:gd name="connsiteX17" fmla="*/ 1819275 w 2372252"/>
              <a:gd name="connsiteY17" fmla="*/ 2768575 h 2768575"/>
              <a:gd name="connsiteX18" fmla="*/ 923925 w 2372252"/>
              <a:gd name="connsiteY18" fmla="*/ 2754287 h 2768575"/>
              <a:gd name="connsiteX19" fmla="*/ 476250 w 2372252"/>
              <a:gd name="connsiteY19" fmla="*/ 2601887 h 2768575"/>
              <a:gd name="connsiteX20" fmla="*/ 0 w 2372252"/>
              <a:gd name="connsiteY20" fmla="*/ 2578074 h 2768575"/>
              <a:gd name="connsiteX0" fmla="*/ 0 w 2371901"/>
              <a:gd name="connsiteY0" fmla="*/ 2578074 h 2768575"/>
              <a:gd name="connsiteX1" fmla="*/ 0 w 2371901"/>
              <a:gd name="connsiteY1" fmla="*/ 1239812 h 2768575"/>
              <a:gd name="connsiteX2" fmla="*/ 385762 w 2371901"/>
              <a:gd name="connsiteY2" fmla="*/ 1196949 h 2768575"/>
              <a:gd name="connsiteX3" fmla="*/ 616744 w 2371901"/>
              <a:gd name="connsiteY3" fmla="*/ 894530 h 2768575"/>
              <a:gd name="connsiteX4" fmla="*/ 973931 w 2371901"/>
              <a:gd name="connsiteY4" fmla="*/ 608781 h 2768575"/>
              <a:gd name="connsiteX5" fmla="*/ 1143000 w 2371901"/>
              <a:gd name="connsiteY5" fmla="*/ 72999 h 2768575"/>
              <a:gd name="connsiteX6" fmla="*/ 1369219 w 2371901"/>
              <a:gd name="connsiteY6" fmla="*/ 8706 h 2768575"/>
              <a:gd name="connsiteX7" fmla="*/ 1566862 w 2371901"/>
              <a:gd name="connsiteY7" fmla="*/ 356368 h 2768575"/>
              <a:gd name="connsiteX8" fmla="*/ 1402557 w 2371901"/>
              <a:gd name="connsiteY8" fmla="*/ 999305 h 2768575"/>
              <a:gd name="connsiteX9" fmla="*/ 2233613 w 2371901"/>
              <a:gd name="connsiteY9" fmla="*/ 1096937 h 2768575"/>
              <a:gd name="connsiteX10" fmla="*/ 2371725 w 2371901"/>
              <a:gd name="connsiteY10" fmla="*/ 1339825 h 2768575"/>
              <a:gd name="connsiteX11" fmla="*/ 2202655 w 2371901"/>
              <a:gd name="connsiteY11" fmla="*/ 1542231 h 2768575"/>
              <a:gd name="connsiteX12" fmla="*/ 2352675 w 2371901"/>
              <a:gd name="connsiteY12" fmla="*/ 1773212 h 2768575"/>
              <a:gd name="connsiteX13" fmla="*/ 2133600 w 2371901"/>
              <a:gd name="connsiteY13" fmla="*/ 1977999 h 2768575"/>
              <a:gd name="connsiteX14" fmla="*/ 2224087 w 2371901"/>
              <a:gd name="connsiteY14" fmla="*/ 2225649 h 2768575"/>
              <a:gd name="connsiteX15" fmla="*/ 1952625 w 2371901"/>
              <a:gd name="connsiteY15" fmla="*/ 2406624 h 2768575"/>
              <a:gd name="connsiteX16" fmla="*/ 2026444 w 2371901"/>
              <a:gd name="connsiteY16" fmla="*/ 2575694 h 2768575"/>
              <a:gd name="connsiteX17" fmla="*/ 1819275 w 2371901"/>
              <a:gd name="connsiteY17" fmla="*/ 2768575 h 2768575"/>
              <a:gd name="connsiteX18" fmla="*/ 923925 w 2371901"/>
              <a:gd name="connsiteY18" fmla="*/ 2754287 h 2768575"/>
              <a:gd name="connsiteX19" fmla="*/ 476250 w 2371901"/>
              <a:gd name="connsiteY19" fmla="*/ 2601887 h 2768575"/>
              <a:gd name="connsiteX20" fmla="*/ 0 w 2371901"/>
              <a:gd name="connsiteY20" fmla="*/ 2578074 h 2768575"/>
              <a:gd name="connsiteX0" fmla="*/ 0 w 2371901"/>
              <a:gd name="connsiteY0" fmla="*/ 2578074 h 2768575"/>
              <a:gd name="connsiteX1" fmla="*/ 0 w 2371901"/>
              <a:gd name="connsiteY1" fmla="*/ 1239812 h 2768575"/>
              <a:gd name="connsiteX2" fmla="*/ 385762 w 2371901"/>
              <a:gd name="connsiteY2" fmla="*/ 1196949 h 2768575"/>
              <a:gd name="connsiteX3" fmla="*/ 616744 w 2371901"/>
              <a:gd name="connsiteY3" fmla="*/ 894530 h 2768575"/>
              <a:gd name="connsiteX4" fmla="*/ 973931 w 2371901"/>
              <a:gd name="connsiteY4" fmla="*/ 608781 h 2768575"/>
              <a:gd name="connsiteX5" fmla="*/ 1143000 w 2371901"/>
              <a:gd name="connsiteY5" fmla="*/ 72999 h 2768575"/>
              <a:gd name="connsiteX6" fmla="*/ 1369219 w 2371901"/>
              <a:gd name="connsiteY6" fmla="*/ 8706 h 2768575"/>
              <a:gd name="connsiteX7" fmla="*/ 1566862 w 2371901"/>
              <a:gd name="connsiteY7" fmla="*/ 356368 h 2768575"/>
              <a:gd name="connsiteX8" fmla="*/ 1402557 w 2371901"/>
              <a:gd name="connsiteY8" fmla="*/ 999305 h 2768575"/>
              <a:gd name="connsiteX9" fmla="*/ 2233613 w 2371901"/>
              <a:gd name="connsiteY9" fmla="*/ 1096937 h 2768575"/>
              <a:gd name="connsiteX10" fmla="*/ 2371725 w 2371901"/>
              <a:gd name="connsiteY10" fmla="*/ 1339825 h 2768575"/>
              <a:gd name="connsiteX11" fmla="*/ 2202655 w 2371901"/>
              <a:gd name="connsiteY11" fmla="*/ 1542231 h 2768575"/>
              <a:gd name="connsiteX12" fmla="*/ 2352675 w 2371901"/>
              <a:gd name="connsiteY12" fmla="*/ 1773212 h 2768575"/>
              <a:gd name="connsiteX13" fmla="*/ 2133600 w 2371901"/>
              <a:gd name="connsiteY13" fmla="*/ 1977999 h 2768575"/>
              <a:gd name="connsiteX14" fmla="*/ 2224087 w 2371901"/>
              <a:gd name="connsiteY14" fmla="*/ 2225649 h 2768575"/>
              <a:gd name="connsiteX15" fmla="*/ 1952625 w 2371901"/>
              <a:gd name="connsiteY15" fmla="*/ 2406624 h 2768575"/>
              <a:gd name="connsiteX16" fmla="*/ 2026444 w 2371901"/>
              <a:gd name="connsiteY16" fmla="*/ 2575694 h 2768575"/>
              <a:gd name="connsiteX17" fmla="*/ 1819275 w 2371901"/>
              <a:gd name="connsiteY17" fmla="*/ 2768575 h 2768575"/>
              <a:gd name="connsiteX18" fmla="*/ 923925 w 2371901"/>
              <a:gd name="connsiteY18" fmla="*/ 2754287 h 2768575"/>
              <a:gd name="connsiteX19" fmla="*/ 476250 w 2371901"/>
              <a:gd name="connsiteY19" fmla="*/ 2601887 h 2768575"/>
              <a:gd name="connsiteX20" fmla="*/ 0 w 2371901"/>
              <a:gd name="connsiteY20" fmla="*/ 2578074 h 2768575"/>
              <a:gd name="connsiteX0" fmla="*/ 0 w 2371901"/>
              <a:gd name="connsiteY0" fmla="*/ 2578074 h 2768575"/>
              <a:gd name="connsiteX1" fmla="*/ 0 w 2371901"/>
              <a:gd name="connsiteY1" fmla="*/ 1239812 h 2768575"/>
              <a:gd name="connsiteX2" fmla="*/ 385762 w 2371901"/>
              <a:gd name="connsiteY2" fmla="*/ 1196949 h 2768575"/>
              <a:gd name="connsiteX3" fmla="*/ 616744 w 2371901"/>
              <a:gd name="connsiteY3" fmla="*/ 894530 h 2768575"/>
              <a:gd name="connsiteX4" fmla="*/ 973931 w 2371901"/>
              <a:gd name="connsiteY4" fmla="*/ 608781 h 2768575"/>
              <a:gd name="connsiteX5" fmla="*/ 1143000 w 2371901"/>
              <a:gd name="connsiteY5" fmla="*/ 72999 h 2768575"/>
              <a:gd name="connsiteX6" fmla="*/ 1369219 w 2371901"/>
              <a:gd name="connsiteY6" fmla="*/ 8706 h 2768575"/>
              <a:gd name="connsiteX7" fmla="*/ 1566862 w 2371901"/>
              <a:gd name="connsiteY7" fmla="*/ 356368 h 2768575"/>
              <a:gd name="connsiteX8" fmla="*/ 1402557 w 2371901"/>
              <a:gd name="connsiteY8" fmla="*/ 999305 h 2768575"/>
              <a:gd name="connsiteX9" fmla="*/ 2233613 w 2371901"/>
              <a:gd name="connsiteY9" fmla="*/ 1096937 h 2768575"/>
              <a:gd name="connsiteX10" fmla="*/ 2371725 w 2371901"/>
              <a:gd name="connsiteY10" fmla="*/ 1339825 h 2768575"/>
              <a:gd name="connsiteX11" fmla="*/ 2202655 w 2371901"/>
              <a:gd name="connsiteY11" fmla="*/ 1542231 h 2768575"/>
              <a:gd name="connsiteX12" fmla="*/ 2352675 w 2371901"/>
              <a:gd name="connsiteY12" fmla="*/ 1773212 h 2768575"/>
              <a:gd name="connsiteX13" fmla="*/ 2133600 w 2371901"/>
              <a:gd name="connsiteY13" fmla="*/ 1977999 h 2768575"/>
              <a:gd name="connsiteX14" fmla="*/ 2224087 w 2371901"/>
              <a:gd name="connsiteY14" fmla="*/ 2225649 h 2768575"/>
              <a:gd name="connsiteX15" fmla="*/ 1952625 w 2371901"/>
              <a:gd name="connsiteY15" fmla="*/ 2406624 h 2768575"/>
              <a:gd name="connsiteX16" fmla="*/ 2026444 w 2371901"/>
              <a:gd name="connsiteY16" fmla="*/ 2575694 h 2768575"/>
              <a:gd name="connsiteX17" fmla="*/ 1819275 w 2371901"/>
              <a:gd name="connsiteY17" fmla="*/ 2768575 h 2768575"/>
              <a:gd name="connsiteX18" fmla="*/ 923925 w 2371901"/>
              <a:gd name="connsiteY18" fmla="*/ 2754287 h 2768575"/>
              <a:gd name="connsiteX19" fmla="*/ 476250 w 2371901"/>
              <a:gd name="connsiteY19" fmla="*/ 2601887 h 2768575"/>
              <a:gd name="connsiteX20" fmla="*/ 0 w 2371901"/>
              <a:gd name="connsiteY20" fmla="*/ 2578074 h 2768575"/>
              <a:gd name="connsiteX0" fmla="*/ 0 w 2371901"/>
              <a:gd name="connsiteY0" fmla="*/ 2578074 h 2768575"/>
              <a:gd name="connsiteX1" fmla="*/ 0 w 2371901"/>
              <a:gd name="connsiteY1" fmla="*/ 1239812 h 2768575"/>
              <a:gd name="connsiteX2" fmla="*/ 385762 w 2371901"/>
              <a:gd name="connsiteY2" fmla="*/ 1196949 h 2768575"/>
              <a:gd name="connsiteX3" fmla="*/ 616744 w 2371901"/>
              <a:gd name="connsiteY3" fmla="*/ 894530 h 2768575"/>
              <a:gd name="connsiteX4" fmla="*/ 973931 w 2371901"/>
              <a:gd name="connsiteY4" fmla="*/ 608781 h 2768575"/>
              <a:gd name="connsiteX5" fmla="*/ 1143000 w 2371901"/>
              <a:gd name="connsiteY5" fmla="*/ 72999 h 2768575"/>
              <a:gd name="connsiteX6" fmla="*/ 1369219 w 2371901"/>
              <a:gd name="connsiteY6" fmla="*/ 8706 h 2768575"/>
              <a:gd name="connsiteX7" fmla="*/ 1566862 w 2371901"/>
              <a:gd name="connsiteY7" fmla="*/ 356368 h 2768575"/>
              <a:gd name="connsiteX8" fmla="*/ 1402557 w 2371901"/>
              <a:gd name="connsiteY8" fmla="*/ 999305 h 2768575"/>
              <a:gd name="connsiteX9" fmla="*/ 2233613 w 2371901"/>
              <a:gd name="connsiteY9" fmla="*/ 1096937 h 2768575"/>
              <a:gd name="connsiteX10" fmla="*/ 2371725 w 2371901"/>
              <a:gd name="connsiteY10" fmla="*/ 1339825 h 2768575"/>
              <a:gd name="connsiteX11" fmla="*/ 2202655 w 2371901"/>
              <a:gd name="connsiteY11" fmla="*/ 1542231 h 2768575"/>
              <a:gd name="connsiteX12" fmla="*/ 2352675 w 2371901"/>
              <a:gd name="connsiteY12" fmla="*/ 1773212 h 2768575"/>
              <a:gd name="connsiteX13" fmla="*/ 2133600 w 2371901"/>
              <a:gd name="connsiteY13" fmla="*/ 1977999 h 2768575"/>
              <a:gd name="connsiteX14" fmla="*/ 2221706 w 2371901"/>
              <a:gd name="connsiteY14" fmla="*/ 2242318 h 2768575"/>
              <a:gd name="connsiteX15" fmla="*/ 1952625 w 2371901"/>
              <a:gd name="connsiteY15" fmla="*/ 2406624 h 2768575"/>
              <a:gd name="connsiteX16" fmla="*/ 2026444 w 2371901"/>
              <a:gd name="connsiteY16" fmla="*/ 2575694 h 2768575"/>
              <a:gd name="connsiteX17" fmla="*/ 1819275 w 2371901"/>
              <a:gd name="connsiteY17" fmla="*/ 2768575 h 2768575"/>
              <a:gd name="connsiteX18" fmla="*/ 923925 w 2371901"/>
              <a:gd name="connsiteY18" fmla="*/ 2754287 h 2768575"/>
              <a:gd name="connsiteX19" fmla="*/ 476250 w 2371901"/>
              <a:gd name="connsiteY19" fmla="*/ 2601887 h 2768575"/>
              <a:gd name="connsiteX20" fmla="*/ 0 w 2371901"/>
              <a:gd name="connsiteY20" fmla="*/ 2578074 h 2768575"/>
              <a:gd name="connsiteX0" fmla="*/ 0 w 2371901"/>
              <a:gd name="connsiteY0" fmla="*/ 2578074 h 2768575"/>
              <a:gd name="connsiteX1" fmla="*/ 0 w 2371901"/>
              <a:gd name="connsiteY1" fmla="*/ 1239812 h 2768575"/>
              <a:gd name="connsiteX2" fmla="*/ 385762 w 2371901"/>
              <a:gd name="connsiteY2" fmla="*/ 1196949 h 2768575"/>
              <a:gd name="connsiteX3" fmla="*/ 616744 w 2371901"/>
              <a:gd name="connsiteY3" fmla="*/ 894530 h 2768575"/>
              <a:gd name="connsiteX4" fmla="*/ 973931 w 2371901"/>
              <a:gd name="connsiteY4" fmla="*/ 608781 h 2768575"/>
              <a:gd name="connsiteX5" fmla="*/ 1143000 w 2371901"/>
              <a:gd name="connsiteY5" fmla="*/ 72999 h 2768575"/>
              <a:gd name="connsiteX6" fmla="*/ 1369219 w 2371901"/>
              <a:gd name="connsiteY6" fmla="*/ 8706 h 2768575"/>
              <a:gd name="connsiteX7" fmla="*/ 1566862 w 2371901"/>
              <a:gd name="connsiteY7" fmla="*/ 356368 h 2768575"/>
              <a:gd name="connsiteX8" fmla="*/ 1402557 w 2371901"/>
              <a:gd name="connsiteY8" fmla="*/ 999305 h 2768575"/>
              <a:gd name="connsiteX9" fmla="*/ 2233613 w 2371901"/>
              <a:gd name="connsiteY9" fmla="*/ 1096937 h 2768575"/>
              <a:gd name="connsiteX10" fmla="*/ 2371725 w 2371901"/>
              <a:gd name="connsiteY10" fmla="*/ 1339825 h 2768575"/>
              <a:gd name="connsiteX11" fmla="*/ 2202655 w 2371901"/>
              <a:gd name="connsiteY11" fmla="*/ 1542231 h 2768575"/>
              <a:gd name="connsiteX12" fmla="*/ 2352675 w 2371901"/>
              <a:gd name="connsiteY12" fmla="*/ 1773212 h 2768575"/>
              <a:gd name="connsiteX13" fmla="*/ 2133600 w 2371901"/>
              <a:gd name="connsiteY13" fmla="*/ 1977999 h 2768575"/>
              <a:gd name="connsiteX14" fmla="*/ 2221706 w 2371901"/>
              <a:gd name="connsiteY14" fmla="*/ 2242318 h 2768575"/>
              <a:gd name="connsiteX15" fmla="*/ 1952625 w 2371901"/>
              <a:gd name="connsiteY15" fmla="*/ 2406624 h 2768575"/>
              <a:gd name="connsiteX16" fmla="*/ 2026444 w 2371901"/>
              <a:gd name="connsiteY16" fmla="*/ 2575694 h 2768575"/>
              <a:gd name="connsiteX17" fmla="*/ 1819275 w 2371901"/>
              <a:gd name="connsiteY17" fmla="*/ 2768575 h 2768575"/>
              <a:gd name="connsiteX18" fmla="*/ 923925 w 2371901"/>
              <a:gd name="connsiteY18" fmla="*/ 2754287 h 2768575"/>
              <a:gd name="connsiteX19" fmla="*/ 476250 w 2371901"/>
              <a:gd name="connsiteY19" fmla="*/ 2601887 h 2768575"/>
              <a:gd name="connsiteX20" fmla="*/ 0 w 2371901"/>
              <a:gd name="connsiteY20" fmla="*/ 2578074 h 2768575"/>
              <a:gd name="connsiteX0" fmla="*/ 0 w 2371901"/>
              <a:gd name="connsiteY0" fmla="*/ 2578074 h 2768575"/>
              <a:gd name="connsiteX1" fmla="*/ 0 w 2371901"/>
              <a:gd name="connsiteY1" fmla="*/ 1239812 h 2768575"/>
              <a:gd name="connsiteX2" fmla="*/ 385762 w 2371901"/>
              <a:gd name="connsiteY2" fmla="*/ 1196949 h 2768575"/>
              <a:gd name="connsiteX3" fmla="*/ 616744 w 2371901"/>
              <a:gd name="connsiteY3" fmla="*/ 894530 h 2768575"/>
              <a:gd name="connsiteX4" fmla="*/ 973931 w 2371901"/>
              <a:gd name="connsiteY4" fmla="*/ 608781 h 2768575"/>
              <a:gd name="connsiteX5" fmla="*/ 1143000 w 2371901"/>
              <a:gd name="connsiteY5" fmla="*/ 72999 h 2768575"/>
              <a:gd name="connsiteX6" fmla="*/ 1369219 w 2371901"/>
              <a:gd name="connsiteY6" fmla="*/ 8706 h 2768575"/>
              <a:gd name="connsiteX7" fmla="*/ 1566862 w 2371901"/>
              <a:gd name="connsiteY7" fmla="*/ 356368 h 2768575"/>
              <a:gd name="connsiteX8" fmla="*/ 1402557 w 2371901"/>
              <a:gd name="connsiteY8" fmla="*/ 999305 h 2768575"/>
              <a:gd name="connsiteX9" fmla="*/ 2233613 w 2371901"/>
              <a:gd name="connsiteY9" fmla="*/ 1096937 h 2768575"/>
              <a:gd name="connsiteX10" fmla="*/ 2371725 w 2371901"/>
              <a:gd name="connsiteY10" fmla="*/ 1339825 h 2768575"/>
              <a:gd name="connsiteX11" fmla="*/ 2202655 w 2371901"/>
              <a:gd name="connsiteY11" fmla="*/ 1542231 h 2768575"/>
              <a:gd name="connsiteX12" fmla="*/ 2352675 w 2371901"/>
              <a:gd name="connsiteY12" fmla="*/ 1773212 h 2768575"/>
              <a:gd name="connsiteX13" fmla="*/ 2133600 w 2371901"/>
              <a:gd name="connsiteY13" fmla="*/ 1977999 h 2768575"/>
              <a:gd name="connsiteX14" fmla="*/ 2221706 w 2371901"/>
              <a:gd name="connsiteY14" fmla="*/ 2242318 h 2768575"/>
              <a:gd name="connsiteX15" fmla="*/ 1952625 w 2371901"/>
              <a:gd name="connsiteY15" fmla="*/ 2406624 h 2768575"/>
              <a:gd name="connsiteX16" fmla="*/ 2026444 w 2371901"/>
              <a:gd name="connsiteY16" fmla="*/ 2575694 h 2768575"/>
              <a:gd name="connsiteX17" fmla="*/ 1819275 w 2371901"/>
              <a:gd name="connsiteY17" fmla="*/ 2768575 h 2768575"/>
              <a:gd name="connsiteX18" fmla="*/ 923925 w 2371901"/>
              <a:gd name="connsiteY18" fmla="*/ 2754287 h 2768575"/>
              <a:gd name="connsiteX19" fmla="*/ 476250 w 2371901"/>
              <a:gd name="connsiteY19" fmla="*/ 2601887 h 2768575"/>
              <a:gd name="connsiteX20" fmla="*/ 0 w 2371901"/>
              <a:gd name="connsiteY20" fmla="*/ 2578074 h 2768575"/>
              <a:gd name="connsiteX0" fmla="*/ 0 w 2371901"/>
              <a:gd name="connsiteY0" fmla="*/ 2578074 h 2768575"/>
              <a:gd name="connsiteX1" fmla="*/ 0 w 2371901"/>
              <a:gd name="connsiteY1" fmla="*/ 1239812 h 2768575"/>
              <a:gd name="connsiteX2" fmla="*/ 385762 w 2371901"/>
              <a:gd name="connsiteY2" fmla="*/ 1196949 h 2768575"/>
              <a:gd name="connsiteX3" fmla="*/ 616744 w 2371901"/>
              <a:gd name="connsiteY3" fmla="*/ 894530 h 2768575"/>
              <a:gd name="connsiteX4" fmla="*/ 973931 w 2371901"/>
              <a:gd name="connsiteY4" fmla="*/ 608781 h 2768575"/>
              <a:gd name="connsiteX5" fmla="*/ 1143000 w 2371901"/>
              <a:gd name="connsiteY5" fmla="*/ 72999 h 2768575"/>
              <a:gd name="connsiteX6" fmla="*/ 1369219 w 2371901"/>
              <a:gd name="connsiteY6" fmla="*/ 8706 h 2768575"/>
              <a:gd name="connsiteX7" fmla="*/ 1566862 w 2371901"/>
              <a:gd name="connsiteY7" fmla="*/ 356368 h 2768575"/>
              <a:gd name="connsiteX8" fmla="*/ 1402557 w 2371901"/>
              <a:gd name="connsiteY8" fmla="*/ 999305 h 2768575"/>
              <a:gd name="connsiteX9" fmla="*/ 2233613 w 2371901"/>
              <a:gd name="connsiteY9" fmla="*/ 1096937 h 2768575"/>
              <a:gd name="connsiteX10" fmla="*/ 2371725 w 2371901"/>
              <a:gd name="connsiteY10" fmla="*/ 1339825 h 2768575"/>
              <a:gd name="connsiteX11" fmla="*/ 2202655 w 2371901"/>
              <a:gd name="connsiteY11" fmla="*/ 1542231 h 2768575"/>
              <a:gd name="connsiteX12" fmla="*/ 2352675 w 2371901"/>
              <a:gd name="connsiteY12" fmla="*/ 1773212 h 2768575"/>
              <a:gd name="connsiteX13" fmla="*/ 2133600 w 2371901"/>
              <a:gd name="connsiteY13" fmla="*/ 1977999 h 2768575"/>
              <a:gd name="connsiteX14" fmla="*/ 2221706 w 2371901"/>
              <a:gd name="connsiteY14" fmla="*/ 2242318 h 2768575"/>
              <a:gd name="connsiteX15" fmla="*/ 1952625 w 2371901"/>
              <a:gd name="connsiteY15" fmla="*/ 2406624 h 2768575"/>
              <a:gd name="connsiteX16" fmla="*/ 2026444 w 2371901"/>
              <a:gd name="connsiteY16" fmla="*/ 2575694 h 2768575"/>
              <a:gd name="connsiteX17" fmla="*/ 1819275 w 2371901"/>
              <a:gd name="connsiteY17" fmla="*/ 2768575 h 2768575"/>
              <a:gd name="connsiteX18" fmla="*/ 923925 w 2371901"/>
              <a:gd name="connsiteY18" fmla="*/ 2754287 h 2768575"/>
              <a:gd name="connsiteX19" fmla="*/ 476250 w 2371901"/>
              <a:gd name="connsiteY19" fmla="*/ 2601887 h 2768575"/>
              <a:gd name="connsiteX20" fmla="*/ 0 w 2371901"/>
              <a:gd name="connsiteY20" fmla="*/ 2578074 h 2768575"/>
              <a:gd name="connsiteX0" fmla="*/ 0 w 2371901"/>
              <a:gd name="connsiteY0" fmla="*/ 2578074 h 2768575"/>
              <a:gd name="connsiteX1" fmla="*/ 0 w 2371901"/>
              <a:gd name="connsiteY1" fmla="*/ 1239812 h 2768575"/>
              <a:gd name="connsiteX2" fmla="*/ 385762 w 2371901"/>
              <a:gd name="connsiteY2" fmla="*/ 1196949 h 2768575"/>
              <a:gd name="connsiteX3" fmla="*/ 616744 w 2371901"/>
              <a:gd name="connsiteY3" fmla="*/ 894530 h 2768575"/>
              <a:gd name="connsiteX4" fmla="*/ 973931 w 2371901"/>
              <a:gd name="connsiteY4" fmla="*/ 608781 h 2768575"/>
              <a:gd name="connsiteX5" fmla="*/ 1143000 w 2371901"/>
              <a:gd name="connsiteY5" fmla="*/ 72999 h 2768575"/>
              <a:gd name="connsiteX6" fmla="*/ 1369219 w 2371901"/>
              <a:gd name="connsiteY6" fmla="*/ 8706 h 2768575"/>
              <a:gd name="connsiteX7" fmla="*/ 1566862 w 2371901"/>
              <a:gd name="connsiteY7" fmla="*/ 356368 h 2768575"/>
              <a:gd name="connsiteX8" fmla="*/ 1402557 w 2371901"/>
              <a:gd name="connsiteY8" fmla="*/ 999305 h 2768575"/>
              <a:gd name="connsiteX9" fmla="*/ 2233613 w 2371901"/>
              <a:gd name="connsiteY9" fmla="*/ 1096937 h 2768575"/>
              <a:gd name="connsiteX10" fmla="*/ 2371725 w 2371901"/>
              <a:gd name="connsiteY10" fmla="*/ 1339825 h 2768575"/>
              <a:gd name="connsiteX11" fmla="*/ 2202655 w 2371901"/>
              <a:gd name="connsiteY11" fmla="*/ 1542231 h 2768575"/>
              <a:gd name="connsiteX12" fmla="*/ 2352675 w 2371901"/>
              <a:gd name="connsiteY12" fmla="*/ 1773212 h 2768575"/>
              <a:gd name="connsiteX13" fmla="*/ 2133600 w 2371901"/>
              <a:gd name="connsiteY13" fmla="*/ 1977999 h 2768575"/>
              <a:gd name="connsiteX14" fmla="*/ 2221706 w 2371901"/>
              <a:gd name="connsiteY14" fmla="*/ 2242318 h 2768575"/>
              <a:gd name="connsiteX15" fmla="*/ 1952625 w 2371901"/>
              <a:gd name="connsiteY15" fmla="*/ 2406624 h 2768575"/>
              <a:gd name="connsiteX16" fmla="*/ 2026444 w 2371901"/>
              <a:gd name="connsiteY16" fmla="*/ 2575694 h 2768575"/>
              <a:gd name="connsiteX17" fmla="*/ 1819275 w 2371901"/>
              <a:gd name="connsiteY17" fmla="*/ 2768575 h 2768575"/>
              <a:gd name="connsiteX18" fmla="*/ 923925 w 2371901"/>
              <a:gd name="connsiteY18" fmla="*/ 2754287 h 2768575"/>
              <a:gd name="connsiteX19" fmla="*/ 476250 w 2371901"/>
              <a:gd name="connsiteY19" fmla="*/ 2601887 h 2768575"/>
              <a:gd name="connsiteX20" fmla="*/ 0 w 2371901"/>
              <a:gd name="connsiteY20" fmla="*/ 2578074 h 2768575"/>
              <a:gd name="connsiteX0" fmla="*/ 0 w 2371901"/>
              <a:gd name="connsiteY0" fmla="*/ 2578074 h 2768575"/>
              <a:gd name="connsiteX1" fmla="*/ 0 w 2371901"/>
              <a:gd name="connsiteY1" fmla="*/ 1239812 h 2768575"/>
              <a:gd name="connsiteX2" fmla="*/ 385762 w 2371901"/>
              <a:gd name="connsiteY2" fmla="*/ 1196949 h 2768575"/>
              <a:gd name="connsiteX3" fmla="*/ 616744 w 2371901"/>
              <a:gd name="connsiteY3" fmla="*/ 894530 h 2768575"/>
              <a:gd name="connsiteX4" fmla="*/ 973931 w 2371901"/>
              <a:gd name="connsiteY4" fmla="*/ 608781 h 2768575"/>
              <a:gd name="connsiteX5" fmla="*/ 1143000 w 2371901"/>
              <a:gd name="connsiteY5" fmla="*/ 72999 h 2768575"/>
              <a:gd name="connsiteX6" fmla="*/ 1369219 w 2371901"/>
              <a:gd name="connsiteY6" fmla="*/ 8706 h 2768575"/>
              <a:gd name="connsiteX7" fmla="*/ 1566862 w 2371901"/>
              <a:gd name="connsiteY7" fmla="*/ 356368 h 2768575"/>
              <a:gd name="connsiteX8" fmla="*/ 1402557 w 2371901"/>
              <a:gd name="connsiteY8" fmla="*/ 999305 h 2768575"/>
              <a:gd name="connsiteX9" fmla="*/ 2233613 w 2371901"/>
              <a:gd name="connsiteY9" fmla="*/ 1096937 h 2768575"/>
              <a:gd name="connsiteX10" fmla="*/ 2371725 w 2371901"/>
              <a:gd name="connsiteY10" fmla="*/ 1339825 h 2768575"/>
              <a:gd name="connsiteX11" fmla="*/ 2202655 w 2371901"/>
              <a:gd name="connsiteY11" fmla="*/ 1542231 h 2768575"/>
              <a:gd name="connsiteX12" fmla="*/ 2352675 w 2371901"/>
              <a:gd name="connsiteY12" fmla="*/ 1773212 h 2768575"/>
              <a:gd name="connsiteX13" fmla="*/ 2133600 w 2371901"/>
              <a:gd name="connsiteY13" fmla="*/ 1977999 h 2768575"/>
              <a:gd name="connsiteX14" fmla="*/ 2219325 w 2371901"/>
              <a:gd name="connsiteY14" fmla="*/ 2263750 h 2768575"/>
              <a:gd name="connsiteX15" fmla="*/ 1952625 w 2371901"/>
              <a:gd name="connsiteY15" fmla="*/ 2406624 h 2768575"/>
              <a:gd name="connsiteX16" fmla="*/ 2026444 w 2371901"/>
              <a:gd name="connsiteY16" fmla="*/ 2575694 h 2768575"/>
              <a:gd name="connsiteX17" fmla="*/ 1819275 w 2371901"/>
              <a:gd name="connsiteY17" fmla="*/ 2768575 h 2768575"/>
              <a:gd name="connsiteX18" fmla="*/ 923925 w 2371901"/>
              <a:gd name="connsiteY18" fmla="*/ 2754287 h 2768575"/>
              <a:gd name="connsiteX19" fmla="*/ 476250 w 2371901"/>
              <a:gd name="connsiteY19" fmla="*/ 2601887 h 2768575"/>
              <a:gd name="connsiteX20" fmla="*/ 0 w 2371901"/>
              <a:gd name="connsiteY20" fmla="*/ 2578074 h 2768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2371901" h="2768575">
                <a:moveTo>
                  <a:pt x="0" y="2578074"/>
                </a:moveTo>
                <a:lnTo>
                  <a:pt x="0" y="1239812"/>
                </a:lnTo>
                <a:cubicBezTo>
                  <a:pt x="128587" y="1225524"/>
                  <a:pt x="282971" y="1254496"/>
                  <a:pt x="385762" y="1196949"/>
                </a:cubicBezTo>
                <a:cubicBezTo>
                  <a:pt x="488553" y="1139402"/>
                  <a:pt x="518716" y="992558"/>
                  <a:pt x="616744" y="894530"/>
                </a:cubicBezTo>
                <a:cubicBezTo>
                  <a:pt x="714772" y="796502"/>
                  <a:pt x="936624" y="658787"/>
                  <a:pt x="973931" y="608781"/>
                </a:cubicBezTo>
                <a:cubicBezTo>
                  <a:pt x="1011238" y="558775"/>
                  <a:pt x="1089025" y="258737"/>
                  <a:pt x="1143000" y="72999"/>
                </a:cubicBezTo>
                <a:cubicBezTo>
                  <a:pt x="1187450" y="34900"/>
                  <a:pt x="1272381" y="-21853"/>
                  <a:pt x="1369219" y="8706"/>
                </a:cubicBezTo>
                <a:cubicBezTo>
                  <a:pt x="1466057" y="39265"/>
                  <a:pt x="1561306" y="191268"/>
                  <a:pt x="1566862" y="356368"/>
                </a:cubicBezTo>
                <a:cubicBezTo>
                  <a:pt x="1572418" y="521468"/>
                  <a:pt x="1461294" y="792930"/>
                  <a:pt x="1402557" y="999305"/>
                </a:cubicBezTo>
                <a:cubicBezTo>
                  <a:pt x="1681163" y="1031849"/>
                  <a:pt x="2122092" y="1059234"/>
                  <a:pt x="2233613" y="1096937"/>
                </a:cubicBezTo>
                <a:cubicBezTo>
                  <a:pt x="2345134" y="1134640"/>
                  <a:pt x="2374504" y="1229891"/>
                  <a:pt x="2371725" y="1339825"/>
                </a:cubicBezTo>
                <a:cubicBezTo>
                  <a:pt x="2368946" y="1449759"/>
                  <a:pt x="2241549" y="1531119"/>
                  <a:pt x="2202655" y="1542231"/>
                </a:cubicBezTo>
                <a:cubicBezTo>
                  <a:pt x="2233612" y="1573981"/>
                  <a:pt x="2395140" y="1605334"/>
                  <a:pt x="2352675" y="1773212"/>
                </a:cubicBezTo>
                <a:cubicBezTo>
                  <a:pt x="2310210" y="1941090"/>
                  <a:pt x="2161381" y="1964506"/>
                  <a:pt x="2133600" y="1977999"/>
                </a:cubicBezTo>
                <a:cubicBezTo>
                  <a:pt x="2168525" y="2001017"/>
                  <a:pt x="2285999" y="2098650"/>
                  <a:pt x="2219325" y="2263750"/>
                </a:cubicBezTo>
                <a:cubicBezTo>
                  <a:pt x="2152651" y="2428850"/>
                  <a:pt x="1981199" y="2403449"/>
                  <a:pt x="1952625" y="2406624"/>
                </a:cubicBezTo>
                <a:cubicBezTo>
                  <a:pt x="1981994" y="2441549"/>
                  <a:pt x="2048669" y="2474887"/>
                  <a:pt x="2026444" y="2575694"/>
                </a:cubicBezTo>
                <a:cubicBezTo>
                  <a:pt x="2004219" y="2676501"/>
                  <a:pt x="1913731" y="2737619"/>
                  <a:pt x="1819275" y="2768575"/>
                </a:cubicBezTo>
                <a:cubicBezTo>
                  <a:pt x="1520825" y="2763812"/>
                  <a:pt x="1030288" y="2766987"/>
                  <a:pt x="923925" y="2754287"/>
                </a:cubicBezTo>
                <a:cubicBezTo>
                  <a:pt x="817562" y="2741587"/>
                  <a:pt x="556419" y="2614587"/>
                  <a:pt x="476250" y="2601887"/>
                </a:cubicBezTo>
                <a:cubicBezTo>
                  <a:pt x="396081" y="2589187"/>
                  <a:pt x="158750" y="2586012"/>
                  <a:pt x="0" y="2578074"/>
                </a:cubicBezTo>
                <a:close/>
              </a:path>
            </a:pathLst>
          </a:custGeom>
          <a:noFill/>
          <a:ln w="12700" cap="rnd">
            <a:solidFill>
              <a:schemeClr val="accent6">
                <a:lumMod val="50000"/>
              </a:schemeClr>
            </a:solidFill>
            <a:rou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24A07287-A69D-71F5-08CD-1BC8C03BE1BF}"/>
              </a:ext>
            </a:extLst>
          </p:cNvPr>
          <p:cNvSpPr/>
          <p:nvPr/>
        </p:nvSpPr>
        <p:spPr>
          <a:xfrm>
            <a:off x="5558778" y="9606444"/>
            <a:ext cx="87560" cy="96218"/>
          </a:xfrm>
          <a:prstGeom prst="ellipse">
            <a:avLst/>
          </a:prstGeom>
          <a:noFill/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57" name="Oval 156">
            <a:extLst>
              <a:ext uri="{FF2B5EF4-FFF2-40B4-BE49-F238E27FC236}">
                <a16:creationId xmlns:a16="http://schemas.microsoft.com/office/drawing/2014/main" id="{80E4E860-425D-9596-5475-4FD1ECB89767}"/>
              </a:ext>
            </a:extLst>
          </p:cNvPr>
          <p:cNvSpPr/>
          <p:nvPr/>
        </p:nvSpPr>
        <p:spPr>
          <a:xfrm>
            <a:off x="5762256" y="9606444"/>
            <a:ext cx="87560" cy="96218"/>
          </a:xfrm>
          <a:prstGeom prst="ellipse">
            <a:avLst/>
          </a:prstGeom>
          <a:noFill/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58" name="Oval 157">
            <a:extLst>
              <a:ext uri="{FF2B5EF4-FFF2-40B4-BE49-F238E27FC236}">
                <a16:creationId xmlns:a16="http://schemas.microsoft.com/office/drawing/2014/main" id="{EE4EF73D-C348-ADAB-B894-71F27413FA2E}"/>
              </a:ext>
            </a:extLst>
          </p:cNvPr>
          <p:cNvSpPr/>
          <p:nvPr/>
        </p:nvSpPr>
        <p:spPr>
          <a:xfrm>
            <a:off x="5555957" y="9892447"/>
            <a:ext cx="87560" cy="96218"/>
          </a:xfrm>
          <a:prstGeom prst="ellipse">
            <a:avLst/>
          </a:prstGeom>
          <a:noFill/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59" name="Straight Arrow Connector 158">
            <a:extLst>
              <a:ext uri="{FF2B5EF4-FFF2-40B4-BE49-F238E27FC236}">
                <a16:creationId xmlns:a16="http://schemas.microsoft.com/office/drawing/2014/main" id="{68613729-7CF9-335F-8114-C1DA19156A6D}"/>
              </a:ext>
            </a:extLst>
          </p:cNvPr>
          <p:cNvCxnSpPr>
            <a:stCxn id="158" idx="0"/>
            <a:endCxn id="77" idx="4"/>
          </p:cNvCxnSpPr>
          <p:nvPr/>
        </p:nvCxnSpPr>
        <p:spPr>
          <a:xfrm flipV="1">
            <a:off x="5599737" y="9702662"/>
            <a:ext cx="2821" cy="189785"/>
          </a:xfrm>
          <a:prstGeom prst="straightConnector1">
            <a:avLst/>
          </a:prstGeom>
          <a:noFill/>
          <a:ln w="12700">
            <a:solidFill>
              <a:schemeClr val="accent6">
                <a:lumMod val="50000"/>
              </a:schemeClr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Straight Connector 159">
            <a:extLst>
              <a:ext uri="{FF2B5EF4-FFF2-40B4-BE49-F238E27FC236}">
                <a16:creationId xmlns:a16="http://schemas.microsoft.com/office/drawing/2014/main" id="{A32156FB-7285-D3CD-4CD1-FA6F1E32F8F2}"/>
              </a:ext>
            </a:extLst>
          </p:cNvPr>
          <p:cNvCxnSpPr>
            <a:cxnSpLocks/>
          </p:cNvCxnSpPr>
          <p:nvPr/>
        </p:nvCxnSpPr>
        <p:spPr>
          <a:xfrm flipH="1">
            <a:off x="5803987" y="9683724"/>
            <a:ext cx="3861" cy="16972"/>
          </a:xfrm>
          <a:prstGeom prst="line">
            <a:avLst/>
          </a:prstGeom>
          <a:noFill/>
          <a:ln>
            <a:solidFill>
              <a:schemeClr val="accent6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1" name="Connector: Curved 160">
            <a:extLst>
              <a:ext uri="{FF2B5EF4-FFF2-40B4-BE49-F238E27FC236}">
                <a16:creationId xmlns:a16="http://schemas.microsoft.com/office/drawing/2014/main" id="{E391D89F-9455-92E7-1212-6C7492630835}"/>
              </a:ext>
            </a:extLst>
          </p:cNvPr>
          <p:cNvCxnSpPr>
            <a:cxnSpLocks/>
            <a:stCxn id="158" idx="0"/>
            <a:endCxn id="157" idx="4"/>
          </p:cNvCxnSpPr>
          <p:nvPr/>
        </p:nvCxnSpPr>
        <p:spPr>
          <a:xfrm rot="5400000" flipH="1" flipV="1">
            <a:off x="5607994" y="9694406"/>
            <a:ext cx="189785" cy="206299"/>
          </a:xfrm>
          <a:prstGeom prst="curvedConnector3">
            <a:avLst/>
          </a:prstGeom>
          <a:noFill/>
          <a:ln w="12700">
            <a:solidFill>
              <a:schemeClr val="accent6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2" name="Straight Connector 161">
            <a:extLst>
              <a:ext uri="{FF2B5EF4-FFF2-40B4-BE49-F238E27FC236}">
                <a16:creationId xmlns:a16="http://schemas.microsoft.com/office/drawing/2014/main" id="{FCD9E066-53DB-AB8D-F46D-2E4204C13327}"/>
              </a:ext>
            </a:extLst>
          </p:cNvPr>
          <p:cNvCxnSpPr>
            <a:cxnSpLocks/>
          </p:cNvCxnSpPr>
          <p:nvPr/>
        </p:nvCxnSpPr>
        <p:spPr>
          <a:xfrm rot="1080000">
            <a:off x="5798314" y="9702662"/>
            <a:ext cx="43780" cy="48109"/>
          </a:xfrm>
          <a:prstGeom prst="line">
            <a:avLst/>
          </a:prstGeom>
          <a:noFill/>
          <a:ln w="19050">
            <a:solidFill>
              <a:schemeClr val="accent6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3" name="Straight Connector 162">
            <a:extLst>
              <a:ext uri="{FF2B5EF4-FFF2-40B4-BE49-F238E27FC236}">
                <a16:creationId xmlns:a16="http://schemas.microsoft.com/office/drawing/2014/main" id="{67CF067D-0A22-43D4-BE32-5C59CA170335}"/>
              </a:ext>
            </a:extLst>
          </p:cNvPr>
          <p:cNvCxnSpPr>
            <a:cxnSpLocks/>
          </p:cNvCxnSpPr>
          <p:nvPr/>
        </p:nvCxnSpPr>
        <p:spPr>
          <a:xfrm flipH="1">
            <a:off x="5754100" y="9692163"/>
            <a:ext cx="64713" cy="48109"/>
          </a:xfrm>
          <a:prstGeom prst="line">
            <a:avLst/>
          </a:prstGeom>
          <a:noFill/>
          <a:ln w="19050">
            <a:solidFill>
              <a:schemeClr val="accent6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4" name="Straight Connector 163">
            <a:extLst>
              <a:ext uri="{FF2B5EF4-FFF2-40B4-BE49-F238E27FC236}">
                <a16:creationId xmlns:a16="http://schemas.microsoft.com/office/drawing/2014/main" id="{96F1D83B-02C8-7528-25DD-3FEB9E84CAC0}"/>
              </a:ext>
            </a:extLst>
          </p:cNvPr>
          <p:cNvCxnSpPr>
            <a:cxnSpLocks/>
          </p:cNvCxnSpPr>
          <p:nvPr/>
        </p:nvCxnSpPr>
        <p:spPr bwMode="auto">
          <a:xfrm flipV="1">
            <a:off x="6668708" y="8435423"/>
            <a:ext cx="0" cy="109680"/>
          </a:xfrm>
          <a:prstGeom prst="line">
            <a:avLst/>
          </a:prstGeom>
          <a:noFill/>
          <a:ln w="12700" cap="rnd" cmpd="sng" algn="ctr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5" name="Straight Connector 164">
            <a:extLst>
              <a:ext uri="{FF2B5EF4-FFF2-40B4-BE49-F238E27FC236}">
                <a16:creationId xmlns:a16="http://schemas.microsoft.com/office/drawing/2014/main" id="{B06E01FE-1960-3A51-1AAE-98527D951858}"/>
              </a:ext>
            </a:extLst>
          </p:cNvPr>
          <p:cNvCxnSpPr>
            <a:cxnSpLocks/>
          </p:cNvCxnSpPr>
          <p:nvPr/>
        </p:nvCxnSpPr>
        <p:spPr bwMode="auto">
          <a:xfrm flipV="1">
            <a:off x="6451986" y="8435423"/>
            <a:ext cx="0" cy="109680"/>
          </a:xfrm>
          <a:prstGeom prst="line">
            <a:avLst/>
          </a:prstGeom>
          <a:noFill/>
          <a:ln w="12700" cap="rnd" cmpd="sng" algn="ctr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6" name="Straight Connector 165">
            <a:extLst>
              <a:ext uri="{FF2B5EF4-FFF2-40B4-BE49-F238E27FC236}">
                <a16:creationId xmlns:a16="http://schemas.microsoft.com/office/drawing/2014/main" id="{71DA12EC-FA75-3305-C5D9-AA09889891D5}"/>
              </a:ext>
            </a:extLst>
          </p:cNvPr>
          <p:cNvCxnSpPr>
            <a:cxnSpLocks/>
          </p:cNvCxnSpPr>
          <p:nvPr/>
        </p:nvCxnSpPr>
        <p:spPr bwMode="auto">
          <a:xfrm>
            <a:off x="6451986" y="8481898"/>
            <a:ext cx="216722" cy="0"/>
          </a:xfrm>
          <a:prstGeom prst="line">
            <a:avLst/>
          </a:prstGeom>
          <a:noFill/>
          <a:ln w="12700" cap="rnd" cmpd="sng" algn="ctr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7" name="Rectangle 166">
            <a:extLst>
              <a:ext uri="{FF2B5EF4-FFF2-40B4-BE49-F238E27FC236}">
                <a16:creationId xmlns:a16="http://schemas.microsoft.com/office/drawing/2014/main" id="{BF1C0E8E-0B91-C19F-3BD7-4633D9AAC650}"/>
              </a:ext>
            </a:extLst>
          </p:cNvPr>
          <p:cNvSpPr>
            <a:spLocks/>
          </p:cNvSpPr>
          <p:nvPr/>
        </p:nvSpPr>
        <p:spPr bwMode="auto">
          <a:xfrm>
            <a:off x="6374271" y="8308602"/>
            <a:ext cx="372153" cy="120058"/>
          </a:xfrm>
          <a:prstGeom prst="rect">
            <a:avLst/>
          </a:prstGeom>
          <a:noFill/>
          <a:ln w="12700" cap="rnd" cmpd="sng" algn="ctr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8" name="Parallelogram 167">
            <a:extLst>
              <a:ext uri="{FF2B5EF4-FFF2-40B4-BE49-F238E27FC236}">
                <a16:creationId xmlns:a16="http://schemas.microsoft.com/office/drawing/2014/main" id="{FAEF0342-4721-A60B-D0D3-68A401756531}"/>
              </a:ext>
            </a:extLst>
          </p:cNvPr>
          <p:cNvSpPr/>
          <p:nvPr/>
        </p:nvSpPr>
        <p:spPr bwMode="auto">
          <a:xfrm>
            <a:off x="6374271" y="8308602"/>
            <a:ext cx="138704" cy="120058"/>
          </a:xfrm>
          <a:prstGeom prst="parallelogram">
            <a:avLst>
              <a:gd name="adj" fmla="val 71003"/>
            </a:avLst>
          </a:prstGeom>
          <a:solidFill>
            <a:srgbClr val="EEF2F4"/>
          </a:solidFill>
          <a:ln w="12700" cap="rnd" cmpd="sng" algn="ctr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9" name="Parallelogram 168">
            <a:extLst>
              <a:ext uri="{FF2B5EF4-FFF2-40B4-BE49-F238E27FC236}">
                <a16:creationId xmlns:a16="http://schemas.microsoft.com/office/drawing/2014/main" id="{329F84A3-66E3-6322-A9F9-17DEABF5B137}"/>
              </a:ext>
            </a:extLst>
          </p:cNvPr>
          <p:cNvSpPr/>
          <p:nvPr/>
        </p:nvSpPr>
        <p:spPr bwMode="auto">
          <a:xfrm>
            <a:off x="6490996" y="8308602"/>
            <a:ext cx="138704" cy="120058"/>
          </a:xfrm>
          <a:prstGeom prst="parallelogram">
            <a:avLst>
              <a:gd name="adj" fmla="val 71003"/>
            </a:avLst>
          </a:prstGeom>
          <a:solidFill>
            <a:srgbClr val="EEF2F4"/>
          </a:solidFill>
          <a:ln w="12700" cap="rnd" cmpd="sng" algn="ctr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70" name="Parallelogram 169">
            <a:extLst>
              <a:ext uri="{FF2B5EF4-FFF2-40B4-BE49-F238E27FC236}">
                <a16:creationId xmlns:a16="http://schemas.microsoft.com/office/drawing/2014/main" id="{A18C4F10-2D81-D02D-BFD4-454397061F7B}"/>
              </a:ext>
            </a:extLst>
          </p:cNvPr>
          <p:cNvSpPr/>
          <p:nvPr/>
        </p:nvSpPr>
        <p:spPr bwMode="auto">
          <a:xfrm>
            <a:off x="6607720" y="8308602"/>
            <a:ext cx="138704" cy="120058"/>
          </a:xfrm>
          <a:prstGeom prst="parallelogram">
            <a:avLst>
              <a:gd name="adj" fmla="val 71003"/>
            </a:avLst>
          </a:prstGeom>
          <a:solidFill>
            <a:srgbClr val="EEF2F4"/>
          </a:solidFill>
          <a:ln w="12700" cap="rnd" cmpd="sng" algn="ctr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71" name="Ellipse 148">
            <a:extLst>
              <a:ext uri="{FF2B5EF4-FFF2-40B4-BE49-F238E27FC236}">
                <a16:creationId xmlns:a16="http://schemas.microsoft.com/office/drawing/2014/main" id="{8814A9FA-5A27-6CD3-9AA6-23760D48F48F}"/>
              </a:ext>
            </a:extLst>
          </p:cNvPr>
          <p:cNvSpPr/>
          <p:nvPr/>
        </p:nvSpPr>
        <p:spPr bwMode="auto">
          <a:xfrm rot="10800000">
            <a:off x="6652641" y="8255702"/>
            <a:ext cx="32137" cy="32136"/>
          </a:xfrm>
          <a:prstGeom prst="ellipse">
            <a:avLst/>
          </a:prstGeom>
          <a:noFill/>
          <a:ln w="12700" cap="rnd" cmpd="sng" algn="ctr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5pPr>
            <a:lvl6pPr marL="2286000" algn="l" defTabSz="457200" rtl="0" eaLnBrk="1" latinLnBrk="0" hangingPunct="1"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6pPr>
            <a:lvl7pPr marL="2743200" algn="l" defTabSz="457200" rtl="0" eaLnBrk="1" latinLnBrk="0" hangingPunct="1"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7pPr>
            <a:lvl8pPr marL="3200400" algn="l" defTabSz="457200" rtl="0" eaLnBrk="1" latinLnBrk="0" hangingPunct="1"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8pPr>
            <a:lvl9pPr marL="3657600" algn="l" defTabSz="457200" rtl="0" eaLnBrk="1" latinLnBrk="0" hangingPunct="1"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1" i="0" u="none" strike="noStrike" kern="1200" cap="none" spc="0" normalizeH="0" baseline="0" noProof="0">
              <a:ln>
                <a:noFill/>
              </a:ln>
              <a:solidFill>
                <a:srgbClr val="EC8A00"/>
              </a:solidFill>
              <a:effectLst/>
              <a:uLnTx/>
              <a:uFillTx/>
              <a:latin typeface="Aptos" panose="02110004020202020204"/>
              <a:ea typeface="ＭＳ Ｐゴシック" charset="0"/>
            </a:endParaRPr>
          </a:p>
        </p:txBody>
      </p:sp>
      <p:sp>
        <p:nvSpPr>
          <p:cNvPr id="172" name="Ellipse 148">
            <a:extLst>
              <a:ext uri="{FF2B5EF4-FFF2-40B4-BE49-F238E27FC236}">
                <a16:creationId xmlns:a16="http://schemas.microsoft.com/office/drawing/2014/main" id="{F0746607-328F-4DB1-C9F2-AB17D8EB312D}"/>
              </a:ext>
            </a:extLst>
          </p:cNvPr>
          <p:cNvSpPr/>
          <p:nvPr/>
        </p:nvSpPr>
        <p:spPr bwMode="auto">
          <a:xfrm rot="10800000">
            <a:off x="6435917" y="8255702"/>
            <a:ext cx="32137" cy="32136"/>
          </a:xfrm>
          <a:prstGeom prst="ellipse">
            <a:avLst/>
          </a:prstGeom>
          <a:noFill/>
          <a:ln w="12700" cap="rnd" cmpd="sng" algn="ctr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5pPr>
            <a:lvl6pPr marL="2286000" algn="l" defTabSz="457200" rtl="0" eaLnBrk="1" latinLnBrk="0" hangingPunct="1"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6pPr>
            <a:lvl7pPr marL="2743200" algn="l" defTabSz="457200" rtl="0" eaLnBrk="1" latinLnBrk="0" hangingPunct="1"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7pPr>
            <a:lvl8pPr marL="3200400" algn="l" defTabSz="457200" rtl="0" eaLnBrk="1" latinLnBrk="0" hangingPunct="1"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8pPr>
            <a:lvl9pPr marL="3657600" algn="l" defTabSz="457200" rtl="0" eaLnBrk="1" latinLnBrk="0" hangingPunct="1"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1" i="0" u="none" strike="noStrike" kern="1200" cap="none" spc="0" normalizeH="0" baseline="0" noProof="0">
              <a:ln>
                <a:noFill/>
              </a:ln>
              <a:solidFill>
                <a:srgbClr val="EC8A00"/>
              </a:solidFill>
              <a:effectLst/>
              <a:uLnTx/>
              <a:uFillTx/>
              <a:latin typeface="Aptos" panose="02110004020202020204"/>
              <a:ea typeface="ＭＳ Ｐゴシック" charset="0"/>
            </a:endParaRPr>
          </a:p>
        </p:txBody>
      </p:sp>
      <p:cxnSp>
        <p:nvCxnSpPr>
          <p:cNvPr id="173" name="Straight Connector 172">
            <a:extLst>
              <a:ext uri="{FF2B5EF4-FFF2-40B4-BE49-F238E27FC236}">
                <a16:creationId xmlns:a16="http://schemas.microsoft.com/office/drawing/2014/main" id="{53DF8525-ABE4-8519-F999-9E1C25A59EB5}"/>
              </a:ext>
            </a:extLst>
          </p:cNvPr>
          <p:cNvCxnSpPr>
            <a:cxnSpLocks/>
          </p:cNvCxnSpPr>
          <p:nvPr/>
        </p:nvCxnSpPr>
        <p:spPr bwMode="auto">
          <a:xfrm>
            <a:off x="6435917" y="8545103"/>
            <a:ext cx="32137" cy="0"/>
          </a:xfrm>
          <a:prstGeom prst="line">
            <a:avLst/>
          </a:prstGeom>
          <a:noFill/>
          <a:ln w="12700" cap="rnd" cmpd="sng" algn="ctr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4" name="Straight Connector 173">
            <a:extLst>
              <a:ext uri="{FF2B5EF4-FFF2-40B4-BE49-F238E27FC236}">
                <a16:creationId xmlns:a16="http://schemas.microsoft.com/office/drawing/2014/main" id="{FC3B19CA-FF66-27DD-6072-AD5AB005002F}"/>
              </a:ext>
            </a:extLst>
          </p:cNvPr>
          <p:cNvCxnSpPr>
            <a:cxnSpLocks/>
          </p:cNvCxnSpPr>
          <p:nvPr/>
        </p:nvCxnSpPr>
        <p:spPr bwMode="auto">
          <a:xfrm>
            <a:off x="6652640" y="8545103"/>
            <a:ext cx="32137" cy="0"/>
          </a:xfrm>
          <a:prstGeom prst="line">
            <a:avLst/>
          </a:prstGeom>
          <a:noFill/>
          <a:ln w="12700" cap="rnd" cmpd="sng" algn="ctr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5" name="Straight Connector 174">
            <a:extLst>
              <a:ext uri="{FF2B5EF4-FFF2-40B4-BE49-F238E27FC236}">
                <a16:creationId xmlns:a16="http://schemas.microsoft.com/office/drawing/2014/main" id="{44D5529A-AA3B-13D3-04A4-1FA49220CE95}"/>
              </a:ext>
            </a:extLst>
          </p:cNvPr>
          <p:cNvCxnSpPr>
            <a:cxnSpLocks/>
          </p:cNvCxnSpPr>
          <p:nvPr/>
        </p:nvCxnSpPr>
        <p:spPr bwMode="auto">
          <a:xfrm flipV="1">
            <a:off x="6668708" y="8290917"/>
            <a:ext cx="0" cy="14232"/>
          </a:xfrm>
          <a:prstGeom prst="line">
            <a:avLst/>
          </a:prstGeom>
          <a:noFill/>
          <a:ln w="12700" cap="rnd" cmpd="sng" algn="ctr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6" name="Straight Connector 175">
            <a:extLst>
              <a:ext uri="{FF2B5EF4-FFF2-40B4-BE49-F238E27FC236}">
                <a16:creationId xmlns:a16="http://schemas.microsoft.com/office/drawing/2014/main" id="{66367D81-097E-45C7-2E88-6077357E5488}"/>
              </a:ext>
            </a:extLst>
          </p:cNvPr>
          <p:cNvCxnSpPr>
            <a:cxnSpLocks/>
          </p:cNvCxnSpPr>
          <p:nvPr/>
        </p:nvCxnSpPr>
        <p:spPr bwMode="auto">
          <a:xfrm flipV="1">
            <a:off x="6451986" y="8290917"/>
            <a:ext cx="0" cy="14232"/>
          </a:xfrm>
          <a:prstGeom prst="line">
            <a:avLst/>
          </a:prstGeom>
          <a:noFill/>
          <a:ln w="12700" cap="rnd" cmpd="sng" algn="ctr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7" name="Oval 176">
            <a:extLst>
              <a:ext uri="{FF2B5EF4-FFF2-40B4-BE49-F238E27FC236}">
                <a16:creationId xmlns:a16="http://schemas.microsoft.com/office/drawing/2014/main" id="{72CCB69B-B7A8-A12D-4013-CD364771956F}"/>
              </a:ext>
            </a:extLst>
          </p:cNvPr>
          <p:cNvSpPr/>
          <p:nvPr/>
        </p:nvSpPr>
        <p:spPr bwMode="auto">
          <a:xfrm>
            <a:off x="6776639" y="8968178"/>
            <a:ext cx="347276" cy="347274"/>
          </a:xfrm>
          <a:prstGeom prst="ellipse">
            <a:avLst/>
          </a:prstGeom>
          <a:noFill/>
          <a:ln w="12700" cap="flat" cmpd="sng" algn="ctr">
            <a:solidFill>
              <a:srgbClr val="4C677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78" name="Freeform: Shape 323">
            <a:extLst>
              <a:ext uri="{FF2B5EF4-FFF2-40B4-BE49-F238E27FC236}">
                <a16:creationId xmlns:a16="http://schemas.microsoft.com/office/drawing/2014/main" id="{29B4CCD8-C13A-C3BA-6238-C95BBFB591B1}"/>
              </a:ext>
            </a:extLst>
          </p:cNvPr>
          <p:cNvSpPr/>
          <p:nvPr/>
        </p:nvSpPr>
        <p:spPr>
          <a:xfrm rot="5400000">
            <a:off x="6857580" y="9049116"/>
            <a:ext cx="185396" cy="185397"/>
          </a:xfrm>
          <a:custGeom>
            <a:avLst/>
            <a:gdLst>
              <a:gd name="connsiteX0" fmla="*/ 0 w 1422363"/>
              <a:gd name="connsiteY0" fmla="*/ 941578 h 1422365"/>
              <a:gd name="connsiteX1" fmla="*/ 0 w 1422363"/>
              <a:gd name="connsiteY1" fmla="*/ 480787 h 1422365"/>
              <a:gd name="connsiteX2" fmla="*/ 480786 w 1422363"/>
              <a:gd name="connsiteY2" fmla="*/ 480787 h 1422365"/>
              <a:gd name="connsiteX3" fmla="*/ 480786 w 1422363"/>
              <a:gd name="connsiteY3" fmla="*/ 0 h 1422365"/>
              <a:gd name="connsiteX4" fmla="*/ 941576 w 1422363"/>
              <a:gd name="connsiteY4" fmla="*/ 0 h 1422365"/>
              <a:gd name="connsiteX5" fmla="*/ 941576 w 1422363"/>
              <a:gd name="connsiteY5" fmla="*/ 480787 h 1422365"/>
              <a:gd name="connsiteX6" fmla="*/ 1422363 w 1422363"/>
              <a:gd name="connsiteY6" fmla="*/ 480787 h 1422365"/>
              <a:gd name="connsiteX7" fmla="*/ 1422363 w 1422363"/>
              <a:gd name="connsiteY7" fmla="*/ 941578 h 1422365"/>
              <a:gd name="connsiteX8" fmla="*/ 941576 w 1422363"/>
              <a:gd name="connsiteY8" fmla="*/ 941578 h 1422365"/>
              <a:gd name="connsiteX9" fmla="*/ 941576 w 1422363"/>
              <a:gd name="connsiteY9" fmla="*/ 1422365 h 1422365"/>
              <a:gd name="connsiteX10" fmla="*/ 480786 w 1422363"/>
              <a:gd name="connsiteY10" fmla="*/ 1422365 h 1422365"/>
              <a:gd name="connsiteX11" fmla="*/ 480786 w 1422363"/>
              <a:gd name="connsiteY11" fmla="*/ 941578 h 1422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422363" h="1422365">
                <a:moveTo>
                  <a:pt x="0" y="941578"/>
                </a:moveTo>
                <a:lnTo>
                  <a:pt x="0" y="480787"/>
                </a:lnTo>
                <a:lnTo>
                  <a:pt x="480786" y="480787"/>
                </a:lnTo>
                <a:lnTo>
                  <a:pt x="480786" y="0"/>
                </a:lnTo>
                <a:lnTo>
                  <a:pt x="941576" y="0"/>
                </a:lnTo>
                <a:lnTo>
                  <a:pt x="941576" y="480787"/>
                </a:lnTo>
                <a:lnTo>
                  <a:pt x="1422363" y="480787"/>
                </a:lnTo>
                <a:lnTo>
                  <a:pt x="1422363" y="941578"/>
                </a:lnTo>
                <a:lnTo>
                  <a:pt x="941576" y="941578"/>
                </a:lnTo>
                <a:lnTo>
                  <a:pt x="941576" y="1422365"/>
                </a:lnTo>
                <a:lnTo>
                  <a:pt x="480786" y="1422365"/>
                </a:lnTo>
                <a:lnTo>
                  <a:pt x="480786" y="941578"/>
                </a:lnTo>
                <a:close/>
              </a:path>
            </a:pathLst>
          </a:custGeom>
          <a:noFill/>
          <a:ln w="12700">
            <a:solidFill>
              <a:srgbClr val="4C6773"/>
            </a:solidFill>
          </a:ln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79" name="Freeform: Shape 308">
            <a:extLst>
              <a:ext uri="{FF2B5EF4-FFF2-40B4-BE49-F238E27FC236}">
                <a16:creationId xmlns:a16="http://schemas.microsoft.com/office/drawing/2014/main" id="{6C7A63BD-42B3-6651-5EEC-D19BBE88A770}"/>
              </a:ext>
            </a:extLst>
          </p:cNvPr>
          <p:cNvSpPr/>
          <p:nvPr/>
        </p:nvSpPr>
        <p:spPr>
          <a:xfrm>
            <a:off x="6421800" y="9717657"/>
            <a:ext cx="275904" cy="331220"/>
          </a:xfrm>
          <a:custGeom>
            <a:avLst/>
            <a:gdLst>
              <a:gd name="connsiteX0" fmla="*/ 150297 w 609600"/>
              <a:gd name="connsiteY0" fmla="*/ 0 h 573168"/>
              <a:gd name="connsiteX1" fmla="*/ 215684 w 609600"/>
              <a:gd name="connsiteY1" fmla="*/ 0 h 573168"/>
              <a:gd name="connsiteX2" fmla="*/ 221718 w 609600"/>
              <a:gd name="connsiteY2" fmla="*/ 29833 h 573168"/>
              <a:gd name="connsiteX3" fmla="*/ 304800 w 609600"/>
              <a:gd name="connsiteY3" fmla="*/ 84801 h 573168"/>
              <a:gd name="connsiteX4" fmla="*/ 387882 w 609600"/>
              <a:gd name="connsiteY4" fmla="*/ 29833 h 573168"/>
              <a:gd name="connsiteX5" fmla="*/ 393917 w 609600"/>
              <a:gd name="connsiteY5" fmla="*/ 0 h 573168"/>
              <a:gd name="connsiteX6" fmla="*/ 459303 w 609600"/>
              <a:gd name="connsiteY6" fmla="*/ 0 h 573168"/>
              <a:gd name="connsiteX7" fmla="*/ 488987 w 609600"/>
              <a:gd name="connsiteY7" fmla="*/ 29684 h 573168"/>
              <a:gd name="connsiteX8" fmla="*/ 488987 w 609600"/>
              <a:gd name="connsiteY8" fmla="*/ 147718 h 573168"/>
              <a:gd name="connsiteX9" fmla="*/ 570968 w 609600"/>
              <a:gd name="connsiteY9" fmla="*/ 147718 h 573168"/>
              <a:gd name="connsiteX10" fmla="*/ 609600 w 609600"/>
              <a:gd name="connsiteY10" fmla="*/ 186350 h 573168"/>
              <a:gd name="connsiteX11" fmla="*/ 609600 w 609600"/>
              <a:gd name="connsiteY11" fmla="*/ 573168 h 573168"/>
              <a:gd name="connsiteX12" fmla="*/ 0 w 609600"/>
              <a:gd name="connsiteY12" fmla="*/ 573168 h 573168"/>
              <a:gd name="connsiteX13" fmla="*/ 0 w 609600"/>
              <a:gd name="connsiteY13" fmla="*/ 186350 h 573168"/>
              <a:gd name="connsiteX14" fmla="*/ 38632 w 609600"/>
              <a:gd name="connsiteY14" fmla="*/ 147718 h 573168"/>
              <a:gd name="connsiteX15" fmla="*/ 120613 w 609600"/>
              <a:gd name="connsiteY15" fmla="*/ 147718 h 573168"/>
              <a:gd name="connsiteX16" fmla="*/ 120613 w 609600"/>
              <a:gd name="connsiteY16" fmla="*/ 29684 h 573168"/>
              <a:gd name="connsiteX17" fmla="*/ 150297 w 609600"/>
              <a:gd name="connsiteY17" fmla="*/ 0 h 573168"/>
              <a:gd name="connsiteX0" fmla="*/ 304800 w 609600"/>
              <a:gd name="connsiteY0" fmla="*/ 84801 h 573168"/>
              <a:gd name="connsiteX1" fmla="*/ 387882 w 609600"/>
              <a:gd name="connsiteY1" fmla="*/ 29833 h 573168"/>
              <a:gd name="connsiteX2" fmla="*/ 393917 w 609600"/>
              <a:gd name="connsiteY2" fmla="*/ 0 h 573168"/>
              <a:gd name="connsiteX3" fmla="*/ 459303 w 609600"/>
              <a:gd name="connsiteY3" fmla="*/ 0 h 573168"/>
              <a:gd name="connsiteX4" fmla="*/ 488987 w 609600"/>
              <a:gd name="connsiteY4" fmla="*/ 29684 h 573168"/>
              <a:gd name="connsiteX5" fmla="*/ 488987 w 609600"/>
              <a:gd name="connsiteY5" fmla="*/ 147718 h 573168"/>
              <a:gd name="connsiteX6" fmla="*/ 570968 w 609600"/>
              <a:gd name="connsiteY6" fmla="*/ 147718 h 573168"/>
              <a:gd name="connsiteX7" fmla="*/ 609600 w 609600"/>
              <a:gd name="connsiteY7" fmla="*/ 186350 h 573168"/>
              <a:gd name="connsiteX8" fmla="*/ 609600 w 609600"/>
              <a:gd name="connsiteY8" fmla="*/ 573168 h 573168"/>
              <a:gd name="connsiteX9" fmla="*/ 0 w 609600"/>
              <a:gd name="connsiteY9" fmla="*/ 573168 h 573168"/>
              <a:gd name="connsiteX10" fmla="*/ 0 w 609600"/>
              <a:gd name="connsiteY10" fmla="*/ 186350 h 573168"/>
              <a:gd name="connsiteX11" fmla="*/ 38632 w 609600"/>
              <a:gd name="connsiteY11" fmla="*/ 147718 h 573168"/>
              <a:gd name="connsiteX12" fmla="*/ 120613 w 609600"/>
              <a:gd name="connsiteY12" fmla="*/ 147718 h 573168"/>
              <a:gd name="connsiteX13" fmla="*/ 120613 w 609600"/>
              <a:gd name="connsiteY13" fmla="*/ 29684 h 573168"/>
              <a:gd name="connsiteX14" fmla="*/ 150297 w 609600"/>
              <a:gd name="connsiteY14" fmla="*/ 0 h 573168"/>
              <a:gd name="connsiteX15" fmla="*/ 215684 w 609600"/>
              <a:gd name="connsiteY15" fmla="*/ 0 h 573168"/>
              <a:gd name="connsiteX16" fmla="*/ 221718 w 609600"/>
              <a:gd name="connsiteY16" fmla="*/ 29833 h 573168"/>
              <a:gd name="connsiteX17" fmla="*/ 396240 w 609600"/>
              <a:gd name="connsiteY17" fmla="*/ 176241 h 573168"/>
              <a:gd name="connsiteX0" fmla="*/ 304800 w 609600"/>
              <a:gd name="connsiteY0" fmla="*/ 84801 h 573168"/>
              <a:gd name="connsiteX1" fmla="*/ 387882 w 609600"/>
              <a:gd name="connsiteY1" fmla="*/ 29833 h 573168"/>
              <a:gd name="connsiteX2" fmla="*/ 393917 w 609600"/>
              <a:gd name="connsiteY2" fmla="*/ 0 h 573168"/>
              <a:gd name="connsiteX3" fmla="*/ 459303 w 609600"/>
              <a:gd name="connsiteY3" fmla="*/ 0 h 573168"/>
              <a:gd name="connsiteX4" fmla="*/ 488987 w 609600"/>
              <a:gd name="connsiteY4" fmla="*/ 29684 h 573168"/>
              <a:gd name="connsiteX5" fmla="*/ 488987 w 609600"/>
              <a:gd name="connsiteY5" fmla="*/ 147718 h 573168"/>
              <a:gd name="connsiteX6" fmla="*/ 570968 w 609600"/>
              <a:gd name="connsiteY6" fmla="*/ 147718 h 573168"/>
              <a:gd name="connsiteX7" fmla="*/ 609600 w 609600"/>
              <a:gd name="connsiteY7" fmla="*/ 186350 h 573168"/>
              <a:gd name="connsiteX8" fmla="*/ 609600 w 609600"/>
              <a:gd name="connsiteY8" fmla="*/ 573168 h 573168"/>
              <a:gd name="connsiteX9" fmla="*/ 0 w 609600"/>
              <a:gd name="connsiteY9" fmla="*/ 573168 h 573168"/>
              <a:gd name="connsiteX10" fmla="*/ 0 w 609600"/>
              <a:gd name="connsiteY10" fmla="*/ 186350 h 573168"/>
              <a:gd name="connsiteX11" fmla="*/ 38632 w 609600"/>
              <a:gd name="connsiteY11" fmla="*/ 147718 h 573168"/>
              <a:gd name="connsiteX12" fmla="*/ 120613 w 609600"/>
              <a:gd name="connsiteY12" fmla="*/ 147718 h 573168"/>
              <a:gd name="connsiteX13" fmla="*/ 120613 w 609600"/>
              <a:gd name="connsiteY13" fmla="*/ 29684 h 573168"/>
              <a:gd name="connsiteX14" fmla="*/ 150297 w 609600"/>
              <a:gd name="connsiteY14" fmla="*/ 0 h 573168"/>
              <a:gd name="connsiteX15" fmla="*/ 215684 w 609600"/>
              <a:gd name="connsiteY15" fmla="*/ 0 h 573168"/>
              <a:gd name="connsiteX16" fmla="*/ 221718 w 609600"/>
              <a:gd name="connsiteY16" fmla="*/ 29833 h 573168"/>
              <a:gd name="connsiteX0" fmla="*/ 387882 w 609600"/>
              <a:gd name="connsiteY0" fmla="*/ 29833 h 573168"/>
              <a:gd name="connsiteX1" fmla="*/ 393917 w 609600"/>
              <a:gd name="connsiteY1" fmla="*/ 0 h 573168"/>
              <a:gd name="connsiteX2" fmla="*/ 459303 w 609600"/>
              <a:gd name="connsiteY2" fmla="*/ 0 h 573168"/>
              <a:gd name="connsiteX3" fmla="*/ 488987 w 609600"/>
              <a:gd name="connsiteY3" fmla="*/ 29684 h 573168"/>
              <a:gd name="connsiteX4" fmla="*/ 488987 w 609600"/>
              <a:gd name="connsiteY4" fmla="*/ 147718 h 573168"/>
              <a:gd name="connsiteX5" fmla="*/ 570968 w 609600"/>
              <a:gd name="connsiteY5" fmla="*/ 147718 h 573168"/>
              <a:gd name="connsiteX6" fmla="*/ 609600 w 609600"/>
              <a:gd name="connsiteY6" fmla="*/ 186350 h 573168"/>
              <a:gd name="connsiteX7" fmla="*/ 609600 w 609600"/>
              <a:gd name="connsiteY7" fmla="*/ 573168 h 573168"/>
              <a:gd name="connsiteX8" fmla="*/ 0 w 609600"/>
              <a:gd name="connsiteY8" fmla="*/ 573168 h 573168"/>
              <a:gd name="connsiteX9" fmla="*/ 0 w 609600"/>
              <a:gd name="connsiteY9" fmla="*/ 186350 h 573168"/>
              <a:gd name="connsiteX10" fmla="*/ 38632 w 609600"/>
              <a:gd name="connsiteY10" fmla="*/ 147718 h 573168"/>
              <a:gd name="connsiteX11" fmla="*/ 120613 w 609600"/>
              <a:gd name="connsiteY11" fmla="*/ 147718 h 573168"/>
              <a:gd name="connsiteX12" fmla="*/ 120613 w 609600"/>
              <a:gd name="connsiteY12" fmla="*/ 29684 h 573168"/>
              <a:gd name="connsiteX13" fmla="*/ 150297 w 609600"/>
              <a:gd name="connsiteY13" fmla="*/ 0 h 573168"/>
              <a:gd name="connsiteX14" fmla="*/ 215684 w 609600"/>
              <a:gd name="connsiteY14" fmla="*/ 0 h 573168"/>
              <a:gd name="connsiteX15" fmla="*/ 221718 w 609600"/>
              <a:gd name="connsiteY15" fmla="*/ 29833 h 573168"/>
              <a:gd name="connsiteX0" fmla="*/ 393917 w 609600"/>
              <a:gd name="connsiteY0" fmla="*/ 0 h 573168"/>
              <a:gd name="connsiteX1" fmla="*/ 459303 w 609600"/>
              <a:gd name="connsiteY1" fmla="*/ 0 h 573168"/>
              <a:gd name="connsiteX2" fmla="*/ 488987 w 609600"/>
              <a:gd name="connsiteY2" fmla="*/ 29684 h 573168"/>
              <a:gd name="connsiteX3" fmla="*/ 488987 w 609600"/>
              <a:gd name="connsiteY3" fmla="*/ 147718 h 573168"/>
              <a:gd name="connsiteX4" fmla="*/ 570968 w 609600"/>
              <a:gd name="connsiteY4" fmla="*/ 147718 h 573168"/>
              <a:gd name="connsiteX5" fmla="*/ 609600 w 609600"/>
              <a:gd name="connsiteY5" fmla="*/ 186350 h 573168"/>
              <a:gd name="connsiteX6" fmla="*/ 609600 w 609600"/>
              <a:gd name="connsiteY6" fmla="*/ 573168 h 573168"/>
              <a:gd name="connsiteX7" fmla="*/ 0 w 609600"/>
              <a:gd name="connsiteY7" fmla="*/ 573168 h 573168"/>
              <a:gd name="connsiteX8" fmla="*/ 0 w 609600"/>
              <a:gd name="connsiteY8" fmla="*/ 186350 h 573168"/>
              <a:gd name="connsiteX9" fmla="*/ 38632 w 609600"/>
              <a:gd name="connsiteY9" fmla="*/ 147718 h 573168"/>
              <a:gd name="connsiteX10" fmla="*/ 120613 w 609600"/>
              <a:gd name="connsiteY10" fmla="*/ 147718 h 573168"/>
              <a:gd name="connsiteX11" fmla="*/ 120613 w 609600"/>
              <a:gd name="connsiteY11" fmla="*/ 29684 h 573168"/>
              <a:gd name="connsiteX12" fmla="*/ 150297 w 609600"/>
              <a:gd name="connsiteY12" fmla="*/ 0 h 573168"/>
              <a:gd name="connsiteX13" fmla="*/ 215684 w 609600"/>
              <a:gd name="connsiteY13" fmla="*/ 0 h 573168"/>
              <a:gd name="connsiteX14" fmla="*/ 221718 w 609600"/>
              <a:gd name="connsiteY14" fmla="*/ 29833 h 573168"/>
              <a:gd name="connsiteX0" fmla="*/ 393917 w 609600"/>
              <a:gd name="connsiteY0" fmla="*/ 0 h 573168"/>
              <a:gd name="connsiteX1" fmla="*/ 459303 w 609600"/>
              <a:gd name="connsiteY1" fmla="*/ 0 h 573168"/>
              <a:gd name="connsiteX2" fmla="*/ 488987 w 609600"/>
              <a:gd name="connsiteY2" fmla="*/ 29684 h 573168"/>
              <a:gd name="connsiteX3" fmla="*/ 488987 w 609600"/>
              <a:gd name="connsiteY3" fmla="*/ 147718 h 573168"/>
              <a:gd name="connsiteX4" fmla="*/ 570968 w 609600"/>
              <a:gd name="connsiteY4" fmla="*/ 147718 h 573168"/>
              <a:gd name="connsiteX5" fmla="*/ 609600 w 609600"/>
              <a:gd name="connsiteY5" fmla="*/ 186350 h 573168"/>
              <a:gd name="connsiteX6" fmla="*/ 609600 w 609600"/>
              <a:gd name="connsiteY6" fmla="*/ 573168 h 573168"/>
              <a:gd name="connsiteX7" fmla="*/ 0 w 609600"/>
              <a:gd name="connsiteY7" fmla="*/ 573168 h 573168"/>
              <a:gd name="connsiteX8" fmla="*/ 0 w 609600"/>
              <a:gd name="connsiteY8" fmla="*/ 186350 h 573168"/>
              <a:gd name="connsiteX9" fmla="*/ 38632 w 609600"/>
              <a:gd name="connsiteY9" fmla="*/ 147718 h 573168"/>
              <a:gd name="connsiteX10" fmla="*/ 120613 w 609600"/>
              <a:gd name="connsiteY10" fmla="*/ 147718 h 573168"/>
              <a:gd name="connsiteX11" fmla="*/ 120613 w 609600"/>
              <a:gd name="connsiteY11" fmla="*/ 29684 h 573168"/>
              <a:gd name="connsiteX12" fmla="*/ 150297 w 609600"/>
              <a:gd name="connsiteY12" fmla="*/ 0 h 573168"/>
              <a:gd name="connsiteX13" fmla="*/ 215684 w 609600"/>
              <a:gd name="connsiteY13" fmla="*/ 0 h 573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609600" h="573168">
                <a:moveTo>
                  <a:pt x="393917" y="0"/>
                </a:moveTo>
                <a:lnTo>
                  <a:pt x="459303" y="0"/>
                </a:lnTo>
                <a:cubicBezTo>
                  <a:pt x="475697" y="0"/>
                  <a:pt x="488987" y="13290"/>
                  <a:pt x="488987" y="29684"/>
                </a:cubicBezTo>
                <a:lnTo>
                  <a:pt x="488987" y="147718"/>
                </a:lnTo>
                <a:lnTo>
                  <a:pt x="570968" y="147718"/>
                </a:lnTo>
                <a:cubicBezTo>
                  <a:pt x="592304" y="147718"/>
                  <a:pt x="609600" y="165014"/>
                  <a:pt x="609600" y="186350"/>
                </a:cubicBezTo>
                <a:lnTo>
                  <a:pt x="609600" y="573168"/>
                </a:lnTo>
                <a:lnTo>
                  <a:pt x="0" y="573168"/>
                </a:lnTo>
                <a:lnTo>
                  <a:pt x="0" y="186350"/>
                </a:lnTo>
                <a:cubicBezTo>
                  <a:pt x="0" y="165014"/>
                  <a:pt x="17296" y="147718"/>
                  <a:pt x="38632" y="147718"/>
                </a:cubicBezTo>
                <a:lnTo>
                  <a:pt x="120613" y="147718"/>
                </a:lnTo>
                <a:lnTo>
                  <a:pt x="120613" y="29684"/>
                </a:lnTo>
                <a:cubicBezTo>
                  <a:pt x="120613" y="13290"/>
                  <a:pt x="133903" y="0"/>
                  <a:pt x="150297" y="0"/>
                </a:cubicBezTo>
                <a:lnTo>
                  <a:pt x="215684" y="0"/>
                </a:lnTo>
              </a:path>
            </a:pathLst>
          </a:custGeom>
          <a:noFill/>
          <a:ln w="13970" cap="rnd" cmpd="sng" algn="ctr">
            <a:solidFill>
              <a:srgbClr val="4C677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80" name="Oval 179">
            <a:extLst>
              <a:ext uri="{FF2B5EF4-FFF2-40B4-BE49-F238E27FC236}">
                <a16:creationId xmlns:a16="http://schemas.microsoft.com/office/drawing/2014/main" id="{783623DD-2FF4-531C-E4ED-2054F485A6F1}"/>
              </a:ext>
            </a:extLst>
          </p:cNvPr>
          <p:cNvSpPr/>
          <p:nvPr/>
        </p:nvSpPr>
        <p:spPr>
          <a:xfrm>
            <a:off x="6506587" y="9701603"/>
            <a:ext cx="106330" cy="106131"/>
          </a:xfrm>
          <a:prstGeom prst="ellipse">
            <a:avLst/>
          </a:prstGeom>
          <a:noFill/>
          <a:ln w="13970" cap="rnd" cmpd="sng" algn="ctr">
            <a:solidFill>
              <a:srgbClr val="4C677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81" name="Rectangle: Rounded Corners 180">
            <a:extLst>
              <a:ext uri="{FF2B5EF4-FFF2-40B4-BE49-F238E27FC236}">
                <a16:creationId xmlns:a16="http://schemas.microsoft.com/office/drawing/2014/main" id="{34675ECB-9702-12C6-8E51-E09CDF7D0393}"/>
              </a:ext>
            </a:extLst>
          </p:cNvPr>
          <p:cNvSpPr/>
          <p:nvPr/>
        </p:nvSpPr>
        <p:spPr>
          <a:xfrm>
            <a:off x="6571751" y="9828811"/>
            <a:ext cx="41249" cy="50146"/>
          </a:xfrm>
          <a:prstGeom prst="roundRect">
            <a:avLst>
              <a:gd name="adj" fmla="val 10784"/>
            </a:avLst>
          </a:prstGeom>
          <a:noFill/>
          <a:ln w="13970" cap="rnd" cmpd="sng" algn="ctr">
            <a:solidFill>
              <a:srgbClr val="4C677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82" name="Rectangle: Rounded Corners 181">
            <a:extLst>
              <a:ext uri="{FF2B5EF4-FFF2-40B4-BE49-F238E27FC236}">
                <a16:creationId xmlns:a16="http://schemas.microsoft.com/office/drawing/2014/main" id="{8667FB37-2D09-E9ED-93E2-C4B60EDF805A}"/>
              </a:ext>
            </a:extLst>
          </p:cNvPr>
          <p:cNvSpPr/>
          <p:nvPr/>
        </p:nvSpPr>
        <p:spPr>
          <a:xfrm>
            <a:off x="6448418" y="9828811"/>
            <a:ext cx="34106" cy="50146"/>
          </a:xfrm>
          <a:prstGeom prst="roundRect">
            <a:avLst>
              <a:gd name="adj" fmla="val 10784"/>
            </a:avLst>
          </a:prstGeom>
          <a:noFill/>
          <a:ln w="13970" cap="rnd" cmpd="sng" algn="ctr">
            <a:solidFill>
              <a:srgbClr val="4C677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83" name="Rectangle: Rounded Corners 182">
            <a:extLst>
              <a:ext uri="{FF2B5EF4-FFF2-40B4-BE49-F238E27FC236}">
                <a16:creationId xmlns:a16="http://schemas.microsoft.com/office/drawing/2014/main" id="{52136A24-9651-73DB-8F79-06727033A08B}"/>
              </a:ext>
            </a:extLst>
          </p:cNvPr>
          <p:cNvSpPr/>
          <p:nvPr/>
        </p:nvSpPr>
        <p:spPr>
          <a:xfrm>
            <a:off x="6506513" y="9828811"/>
            <a:ext cx="41249" cy="50146"/>
          </a:xfrm>
          <a:prstGeom prst="roundRect">
            <a:avLst>
              <a:gd name="adj" fmla="val 10784"/>
            </a:avLst>
          </a:prstGeom>
          <a:noFill/>
          <a:ln w="13970" cap="rnd" cmpd="sng" algn="ctr">
            <a:solidFill>
              <a:srgbClr val="4C677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84" name="Rectangle: Rounded Corners 183">
            <a:extLst>
              <a:ext uri="{FF2B5EF4-FFF2-40B4-BE49-F238E27FC236}">
                <a16:creationId xmlns:a16="http://schemas.microsoft.com/office/drawing/2014/main" id="{1398669F-C27A-C1F1-D46C-A7E924B21562}"/>
              </a:ext>
            </a:extLst>
          </p:cNvPr>
          <p:cNvSpPr/>
          <p:nvPr/>
        </p:nvSpPr>
        <p:spPr>
          <a:xfrm>
            <a:off x="6636989" y="9828811"/>
            <a:ext cx="34106" cy="50146"/>
          </a:xfrm>
          <a:prstGeom prst="roundRect">
            <a:avLst>
              <a:gd name="adj" fmla="val 10784"/>
            </a:avLst>
          </a:prstGeom>
          <a:noFill/>
          <a:ln w="13970" cap="rnd" cmpd="sng" algn="ctr">
            <a:solidFill>
              <a:srgbClr val="4C677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85" name="Freeform: Shape 311">
            <a:extLst>
              <a:ext uri="{FF2B5EF4-FFF2-40B4-BE49-F238E27FC236}">
                <a16:creationId xmlns:a16="http://schemas.microsoft.com/office/drawing/2014/main" id="{9B1B7934-746F-1017-F5B2-38C37B9A1E61}"/>
              </a:ext>
            </a:extLst>
          </p:cNvPr>
          <p:cNvSpPr/>
          <p:nvPr/>
        </p:nvSpPr>
        <p:spPr>
          <a:xfrm>
            <a:off x="6510119" y="9982916"/>
            <a:ext cx="99266" cy="65122"/>
          </a:xfrm>
          <a:custGeom>
            <a:avLst/>
            <a:gdLst>
              <a:gd name="connsiteX0" fmla="*/ 12627 w 128386"/>
              <a:gd name="connsiteY0" fmla="*/ 0 h 84226"/>
              <a:gd name="connsiteX1" fmla="*/ 115760 w 128386"/>
              <a:gd name="connsiteY1" fmla="*/ 0 h 84226"/>
              <a:gd name="connsiteX2" fmla="*/ 128386 w 128386"/>
              <a:gd name="connsiteY2" fmla="*/ 12627 h 84226"/>
              <a:gd name="connsiteX3" fmla="*/ 128386 w 128386"/>
              <a:gd name="connsiteY3" fmla="*/ 84226 h 84226"/>
              <a:gd name="connsiteX4" fmla="*/ 0 w 128386"/>
              <a:gd name="connsiteY4" fmla="*/ 84226 h 84226"/>
              <a:gd name="connsiteX5" fmla="*/ 0 w 128386"/>
              <a:gd name="connsiteY5" fmla="*/ 12627 h 84226"/>
              <a:gd name="connsiteX6" fmla="*/ 12627 w 128386"/>
              <a:gd name="connsiteY6" fmla="*/ 0 h 84226"/>
              <a:gd name="connsiteX0" fmla="*/ 0 w 128386"/>
              <a:gd name="connsiteY0" fmla="*/ 84226 h 175666"/>
              <a:gd name="connsiteX1" fmla="*/ 0 w 128386"/>
              <a:gd name="connsiteY1" fmla="*/ 12627 h 175666"/>
              <a:gd name="connsiteX2" fmla="*/ 12627 w 128386"/>
              <a:gd name="connsiteY2" fmla="*/ 0 h 175666"/>
              <a:gd name="connsiteX3" fmla="*/ 115760 w 128386"/>
              <a:gd name="connsiteY3" fmla="*/ 0 h 175666"/>
              <a:gd name="connsiteX4" fmla="*/ 128386 w 128386"/>
              <a:gd name="connsiteY4" fmla="*/ 12627 h 175666"/>
              <a:gd name="connsiteX5" fmla="*/ 128386 w 128386"/>
              <a:gd name="connsiteY5" fmla="*/ 84226 h 175666"/>
              <a:gd name="connsiteX6" fmla="*/ 91440 w 128386"/>
              <a:gd name="connsiteY6" fmla="*/ 175666 h 175666"/>
              <a:gd name="connsiteX0" fmla="*/ 0 w 128386"/>
              <a:gd name="connsiteY0" fmla="*/ 84226 h 84226"/>
              <a:gd name="connsiteX1" fmla="*/ 0 w 128386"/>
              <a:gd name="connsiteY1" fmla="*/ 12627 h 84226"/>
              <a:gd name="connsiteX2" fmla="*/ 12627 w 128386"/>
              <a:gd name="connsiteY2" fmla="*/ 0 h 84226"/>
              <a:gd name="connsiteX3" fmla="*/ 115760 w 128386"/>
              <a:gd name="connsiteY3" fmla="*/ 0 h 84226"/>
              <a:gd name="connsiteX4" fmla="*/ 128386 w 128386"/>
              <a:gd name="connsiteY4" fmla="*/ 12627 h 84226"/>
              <a:gd name="connsiteX5" fmla="*/ 128386 w 128386"/>
              <a:gd name="connsiteY5" fmla="*/ 84226 h 842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8386" h="84226">
                <a:moveTo>
                  <a:pt x="0" y="84226"/>
                </a:moveTo>
                <a:lnTo>
                  <a:pt x="0" y="12627"/>
                </a:lnTo>
                <a:cubicBezTo>
                  <a:pt x="0" y="5653"/>
                  <a:pt x="5653" y="0"/>
                  <a:pt x="12627" y="0"/>
                </a:cubicBezTo>
                <a:lnTo>
                  <a:pt x="115760" y="0"/>
                </a:lnTo>
                <a:cubicBezTo>
                  <a:pt x="122733" y="0"/>
                  <a:pt x="128386" y="5653"/>
                  <a:pt x="128386" y="12627"/>
                </a:cubicBezTo>
                <a:lnTo>
                  <a:pt x="128386" y="84226"/>
                </a:lnTo>
              </a:path>
            </a:pathLst>
          </a:custGeom>
          <a:noFill/>
          <a:ln w="13970" cap="rnd" cmpd="sng" algn="ctr">
            <a:solidFill>
              <a:srgbClr val="4C677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86" name="Rectangle: Rounded Corners 185">
            <a:extLst>
              <a:ext uri="{FF2B5EF4-FFF2-40B4-BE49-F238E27FC236}">
                <a16:creationId xmlns:a16="http://schemas.microsoft.com/office/drawing/2014/main" id="{08B6B762-4103-BAA3-36E5-C4B079511DB6}"/>
              </a:ext>
            </a:extLst>
          </p:cNvPr>
          <p:cNvSpPr/>
          <p:nvPr/>
        </p:nvSpPr>
        <p:spPr>
          <a:xfrm>
            <a:off x="6571751" y="9904943"/>
            <a:ext cx="41249" cy="50146"/>
          </a:xfrm>
          <a:prstGeom prst="roundRect">
            <a:avLst>
              <a:gd name="adj" fmla="val 10784"/>
            </a:avLst>
          </a:prstGeom>
          <a:noFill/>
          <a:ln w="13970" cap="rnd" cmpd="sng" algn="ctr">
            <a:solidFill>
              <a:srgbClr val="4C677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87" name="Rectangle: Rounded Corners 186">
            <a:extLst>
              <a:ext uri="{FF2B5EF4-FFF2-40B4-BE49-F238E27FC236}">
                <a16:creationId xmlns:a16="http://schemas.microsoft.com/office/drawing/2014/main" id="{E09AC95C-969B-67C6-9342-DCDF1746A98C}"/>
              </a:ext>
            </a:extLst>
          </p:cNvPr>
          <p:cNvSpPr/>
          <p:nvPr/>
        </p:nvSpPr>
        <p:spPr>
          <a:xfrm>
            <a:off x="6448418" y="9904943"/>
            <a:ext cx="34106" cy="50146"/>
          </a:xfrm>
          <a:prstGeom prst="roundRect">
            <a:avLst>
              <a:gd name="adj" fmla="val 10784"/>
            </a:avLst>
          </a:prstGeom>
          <a:noFill/>
          <a:ln w="13970" cap="rnd" cmpd="sng" algn="ctr">
            <a:solidFill>
              <a:srgbClr val="4C677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88" name="Rectangle: Rounded Corners 187">
            <a:extLst>
              <a:ext uri="{FF2B5EF4-FFF2-40B4-BE49-F238E27FC236}">
                <a16:creationId xmlns:a16="http://schemas.microsoft.com/office/drawing/2014/main" id="{A8EC244F-3050-EE45-8484-5E6C15C3C94D}"/>
              </a:ext>
            </a:extLst>
          </p:cNvPr>
          <p:cNvSpPr/>
          <p:nvPr/>
        </p:nvSpPr>
        <p:spPr>
          <a:xfrm>
            <a:off x="6506513" y="9904943"/>
            <a:ext cx="41249" cy="50146"/>
          </a:xfrm>
          <a:prstGeom prst="roundRect">
            <a:avLst>
              <a:gd name="adj" fmla="val 10784"/>
            </a:avLst>
          </a:prstGeom>
          <a:noFill/>
          <a:ln w="13970" cap="rnd" cmpd="sng" algn="ctr">
            <a:solidFill>
              <a:srgbClr val="4C677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89" name="Rectangle: Rounded Corners 188">
            <a:extLst>
              <a:ext uri="{FF2B5EF4-FFF2-40B4-BE49-F238E27FC236}">
                <a16:creationId xmlns:a16="http://schemas.microsoft.com/office/drawing/2014/main" id="{19EB962F-E840-442D-BFC2-0B626DDB56C8}"/>
              </a:ext>
            </a:extLst>
          </p:cNvPr>
          <p:cNvSpPr/>
          <p:nvPr/>
        </p:nvSpPr>
        <p:spPr>
          <a:xfrm>
            <a:off x="6636989" y="9904943"/>
            <a:ext cx="34106" cy="50146"/>
          </a:xfrm>
          <a:prstGeom prst="roundRect">
            <a:avLst>
              <a:gd name="adj" fmla="val 10784"/>
            </a:avLst>
          </a:prstGeom>
          <a:noFill/>
          <a:ln w="13970" cap="rnd" cmpd="sng" algn="ctr">
            <a:solidFill>
              <a:srgbClr val="4C677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90" name="Freeform: Shape 307">
            <a:extLst>
              <a:ext uri="{FF2B5EF4-FFF2-40B4-BE49-F238E27FC236}">
                <a16:creationId xmlns:a16="http://schemas.microsoft.com/office/drawing/2014/main" id="{8ADCB2D5-D637-910D-6A5E-3BE7F42138C6}"/>
              </a:ext>
            </a:extLst>
          </p:cNvPr>
          <p:cNvSpPr/>
          <p:nvPr/>
        </p:nvSpPr>
        <p:spPr>
          <a:xfrm>
            <a:off x="6534462" y="9727814"/>
            <a:ext cx="50578" cy="53559"/>
          </a:xfrm>
          <a:custGeom>
            <a:avLst/>
            <a:gdLst/>
            <a:ahLst/>
            <a:cxnLst/>
            <a:rect l="l" t="t" r="r" b="b"/>
            <a:pathLst>
              <a:path w="75867" h="80339">
                <a:moveTo>
                  <a:pt x="27872" y="0"/>
                </a:moveTo>
                <a:lnTo>
                  <a:pt x="48142" y="0"/>
                </a:lnTo>
                <a:lnTo>
                  <a:pt x="48142" y="29550"/>
                </a:lnTo>
                <a:lnTo>
                  <a:pt x="75867" y="29550"/>
                </a:lnTo>
                <a:lnTo>
                  <a:pt x="75867" y="48748"/>
                </a:lnTo>
                <a:lnTo>
                  <a:pt x="48142" y="48748"/>
                </a:lnTo>
                <a:lnTo>
                  <a:pt x="48142" y="80339"/>
                </a:lnTo>
                <a:lnTo>
                  <a:pt x="27872" y="80339"/>
                </a:lnTo>
                <a:lnTo>
                  <a:pt x="27872" y="48748"/>
                </a:lnTo>
                <a:lnTo>
                  <a:pt x="0" y="48748"/>
                </a:lnTo>
                <a:lnTo>
                  <a:pt x="0" y="29550"/>
                </a:lnTo>
                <a:lnTo>
                  <a:pt x="27872" y="29550"/>
                </a:lnTo>
                <a:close/>
              </a:path>
            </a:pathLst>
          </a:custGeom>
          <a:solidFill>
            <a:schemeClr val="accent1"/>
          </a:solidFill>
          <a:ln w="13970">
            <a:solidFill>
              <a:srgbClr val="4C677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91" name="Straight Connector 190">
            <a:extLst>
              <a:ext uri="{FF2B5EF4-FFF2-40B4-BE49-F238E27FC236}">
                <a16:creationId xmlns:a16="http://schemas.microsoft.com/office/drawing/2014/main" id="{7958933B-FCA7-D9FE-81E0-F38B426E68DE}"/>
              </a:ext>
            </a:extLst>
          </p:cNvPr>
          <p:cNvCxnSpPr>
            <a:cxnSpLocks/>
          </p:cNvCxnSpPr>
          <p:nvPr/>
        </p:nvCxnSpPr>
        <p:spPr>
          <a:xfrm>
            <a:off x="813996" y="7948040"/>
            <a:ext cx="10564009" cy="0"/>
          </a:xfrm>
          <a:prstGeom prst="line">
            <a:avLst/>
          </a:prstGeom>
          <a:ln w="3175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9802375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4EFAE8D-27B4-0279-F088-CFEAA01799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49FAAD-1AD7-9722-34D9-554103297B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0647" y="311857"/>
            <a:ext cx="9789459" cy="983149"/>
          </a:xfrm>
        </p:spPr>
        <p:txBody>
          <a:bodyPr/>
          <a:lstStyle/>
          <a:p>
            <a:r>
              <a:rPr lang="en-GB">
                <a:latin typeface="Aptos"/>
              </a:rPr>
              <a:t>However, despite treatment advances, many unmet needs remain in 2L DLBCL</a:t>
            </a:r>
            <a:endParaRPr lang="en-GB">
              <a:highlight>
                <a:srgbClr val="FFFF00"/>
              </a:highlight>
              <a:latin typeface="Aptos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C5A1056-0A4B-65A4-8DEE-F2B95F36565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70646" y="5704303"/>
            <a:ext cx="10440000" cy="1015647"/>
          </a:xfrm>
        </p:spPr>
        <p:txBody>
          <a:bodyPr anchor="b" anchorCtr="0"/>
          <a:lstStyle/>
          <a:p>
            <a:r>
              <a:rPr lang="en-GB"/>
              <a:t>2L, second line; ASCT, autologous stem cell transplantation; axi-cel, axicabtagene ciloleucel; CAR-T, chimeric antigen receptor T-cell therapy; CR, complete response; CRS, cytokine release syndrome; DLBCL, diffuse large B-cell lymphoma; Epcor, epcoritamab; </a:t>
            </a:r>
            <a:r>
              <a:rPr lang="en-GB" err="1"/>
              <a:t>GemOx</a:t>
            </a:r>
            <a:r>
              <a:rPr lang="en-GB"/>
              <a:t>, gemcitabine and oxaliplatin</a:t>
            </a:r>
            <a:r>
              <a:rPr lang="en-CH"/>
              <a:t>; </a:t>
            </a:r>
            <a:r>
              <a:rPr lang="en-CH" err="1"/>
              <a:t>glofit</a:t>
            </a:r>
            <a:r>
              <a:rPr lang="en-CH"/>
              <a:t>, </a:t>
            </a:r>
            <a:r>
              <a:rPr lang="en-CH" err="1"/>
              <a:t>glofitamab</a:t>
            </a:r>
            <a:r>
              <a:rPr lang="en-GB"/>
              <a:t>; HDT, high-dose therapy; ICANS, immune effector cell-associated neurotoxicity syndrome; liso-cel, lisocabtagene maraleucel; pola-BR, polatuzumab vedotin, bendamustine and rituximab; PR, partial response; tafa-len, tafasitamab and lenalidomide.</a:t>
            </a:r>
            <a:r>
              <a:rPr kumimoji="0" lang="en-GB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</a:rPr>
              <a:t> </a:t>
            </a:r>
            <a:endParaRPr kumimoji="0" lang="en-CH" b="1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</a:endParaRPr>
          </a:p>
          <a:p>
            <a:r>
              <a:rPr kumimoji="0" lang="en-GB" sz="9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</a:rPr>
              <a:t>1. </a:t>
            </a: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</a:rPr>
              <a:t>Thieblemont et al. </a:t>
            </a:r>
            <a:r>
              <a:rPr kumimoji="0" lang="en-GB" sz="900" b="0" i="1" u="none" strike="noStrike" kern="1200" cap="none" spc="0" normalizeH="0" baseline="0" noProof="0" err="1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</a:rPr>
              <a:t>Hemasphere</a:t>
            </a:r>
            <a:r>
              <a:rPr kumimoji="0" lang="en-GB" sz="900" b="0" i="1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</a:rPr>
              <a:t> </a:t>
            </a: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</a:rPr>
              <a:t>2025 </a:t>
            </a:r>
            <a:r>
              <a:rPr lang="en-GB" sz="900" b="1">
                <a:solidFill>
                  <a:srgbClr val="585854"/>
                </a:solidFill>
              </a:rPr>
              <a:t>2. </a:t>
            </a:r>
            <a:r>
              <a:rPr lang="en-GB" sz="900" err="1">
                <a:solidFill>
                  <a:srgbClr val="585854"/>
                </a:solidFill>
              </a:rPr>
              <a:t>Albendea</a:t>
            </a:r>
            <a:r>
              <a:rPr lang="en-GB" sz="900">
                <a:solidFill>
                  <a:srgbClr val="585854"/>
                </a:solidFill>
              </a:rPr>
              <a:t> et al. </a:t>
            </a:r>
            <a:r>
              <a:rPr lang="en-GB" sz="900" i="1">
                <a:solidFill>
                  <a:srgbClr val="585854"/>
                </a:solidFill>
              </a:rPr>
              <a:t>Front Med </a:t>
            </a:r>
            <a:r>
              <a:rPr lang="en-GB" sz="900">
                <a:solidFill>
                  <a:srgbClr val="585854"/>
                </a:solidFill>
              </a:rPr>
              <a:t>2023 </a:t>
            </a:r>
            <a:r>
              <a:rPr lang="en-GB" sz="900" b="1">
                <a:solidFill>
                  <a:srgbClr val="585854"/>
                </a:solidFill>
              </a:rPr>
              <a:t>3. </a:t>
            </a:r>
            <a:r>
              <a:rPr lang="en-GB" sz="900">
                <a:solidFill>
                  <a:srgbClr val="585854"/>
                </a:solidFill>
              </a:rPr>
              <a:t>Bento et al. </a:t>
            </a:r>
            <a:r>
              <a:rPr lang="en-GB" sz="900" i="1">
                <a:solidFill>
                  <a:srgbClr val="585854"/>
                </a:solidFill>
              </a:rPr>
              <a:t>Blood Adv </a:t>
            </a:r>
            <a:r>
              <a:rPr lang="en-GB" sz="900">
                <a:solidFill>
                  <a:srgbClr val="585854"/>
                </a:solidFill>
              </a:rPr>
              <a:t>2025 </a:t>
            </a:r>
            <a:r>
              <a:rPr lang="en-GB" sz="900" b="1">
                <a:solidFill>
                  <a:srgbClr val="585854"/>
                </a:solidFill>
              </a:rPr>
              <a:t>4. </a:t>
            </a:r>
            <a:r>
              <a:rPr lang="en-GB" sz="900">
                <a:solidFill>
                  <a:srgbClr val="585854"/>
                </a:solidFill>
              </a:rPr>
              <a:t>Abramson et al. </a:t>
            </a:r>
            <a:r>
              <a:rPr lang="en-GB" sz="900" i="1">
                <a:solidFill>
                  <a:srgbClr val="585854"/>
                </a:solidFill>
              </a:rPr>
              <a:t>Lancet </a:t>
            </a:r>
            <a:r>
              <a:rPr lang="en-GB" sz="900">
                <a:solidFill>
                  <a:srgbClr val="585854"/>
                </a:solidFill>
              </a:rPr>
              <a:t>2020 </a:t>
            </a:r>
            <a:r>
              <a:rPr lang="en-GB" sz="900" b="1">
                <a:solidFill>
                  <a:srgbClr val="585854"/>
                </a:solidFill>
              </a:rPr>
              <a:t>5. </a:t>
            </a:r>
            <a:r>
              <a:rPr lang="en-GB"/>
              <a:t>Schuster et al. </a:t>
            </a:r>
            <a:r>
              <a:rPr lang="en-GB" i="1"/>
              <a:t>N Engl J Med </a:t>
            </a:r>
            <a:r>
              <a:rPr lang="en-GB"/>
              <a:t>2019 </a:t>
            </a:r>
            <a:r>
              <a:rPr lang="en-GB" sz="900" b="1">
                <a:solidFill>
                  <a:srgbClr val="585854"/>
                </a:solidFill>
              </a:rPr>
              <a:t>6. </a:t>
            </a:r>
            <a:r>
              <a:rPr lang="en-GB">
                <a:solidFill>
                  <a:srgbClr val="585854"/>
                </a:solidFill>
              </a:rPr>
              <a:t>Locke et al. </a:t>
            </a:r>
            <a:r>
              <a:rPr lang="en-GB" i="1">
                <a:solidFill>
                  <a:srgbClr val="585854"/>
                </a:solidFill>
              </a:rPr>
              <a:t>Lancet Oncol </a:t>
            </a:r>
            <a:r>
              <a:rPr lang="en-GB">
                <a:solidFill>
                  <a:srgbClr val="585854"/>
                </a:solidFill>
              </a:rPr>
              <a:t>2019 </a:t>
            </a:r>
            <a:endParaRPr lang="en-CH">
              <a:solidFill>
                <a:srgbClr val="585854"/>
              </a:solidFill>
            </a:endParaRPr>
          </a:p>
          <a:p>
            <a:r>
              <a:rPr lang="en-GB" sz="900" b="1">
                <a:solidFill>
                  <a:srgbClr val="585854"/>
                </a:solidFill>
              </a:rPr>
              <a:t>7. </a:t>
            </a:r>
            <a:r>
              <a:rPr lang="en-CH" sz="900">
                <a:solidFill>
                  <a:srgbClr val="585854"/>
                </a:solidFill>
              </a:rPr>
              <a:t>Eyre</a:t>
            </a:r>
            <a:r>
              <a:rPr lang="en-GB" sz="900">
                <a:solidFill>
                  <a:srgbClr val="585854"/>
                </a:solidFill>
              </a:rPr>
              <a:t> et al. </a:t>
            </a:r>
            <a:r>
              <a:rPr lang="en-CH" sz="900" i="1">
                <a:solidFill>
                  <a:srgbClr val="585854"/>
                </a:solidFill>
              </a:rPr>
              <a:t>Ann Oncol</a:t>
            </a:r>
            <a:r>
              <a:rPr lang="en-GB" sz="900" i="1">
                <a:solidFill>
                  <a:srgbClr val="585854"/>
                </a:solidFill>
              </a:rPr>
              <a:t> </a:t>
            </a:r>
            <a:r>
              <a:rPr lang="en-GB" sz="900">
                <a:solidFill>
                  <a:srgbClr val="585854"/>
                </a:solidFill>
              </a:rPr>
              <a:t>20</a:t>
            </a:r>
            <a:r>
              <a:rPr lang="en-CH" sz="900">
                <a:solidFill>
                  <a:srgbClr val="585854"/>
                </a:solidFill>
              </a:rPr>
              <a:t>25</a:t>
            </a:r>
            <a:r>
              <a:rPr lang="en-GB" sz="900">
                <a:solidFill>
                  <a:srgbClr val="585854"/>
                </a:solidFill>
              </a:rPr>
              <a:t> </a:t>
            </a:r>
            <a:r>
              <a:rPr lang="en-GB" sz="900" b="1">
                <a:solidFill>
                  <a:srgbClr val="585854"/>
                </a:solidFill>
              </a:rPr>
              <a:t>8. </a:t>
            </a:r>
            <a:r>
              <a:rPr lang="en-GB" sz="900" err="1">
                <a:solidFill>
                  <a:srgbClr val="585854"/>
                </a:solidFill>
              </a:rPr>
              <a:t>Jommi</a:t>
            </a:r>
            <a:r>
              <a:rPr lang="en-GB" sz="900">
                <a:solidFill>
                  <a:srgbClr val="585854"/>
                </a:solidFill>
              </a:rPr>
              <a:t> et al. </a:t>
            </a:r>
            <a:r>
              <a:rPr lang="en-GB" sz="900" i="1">
                <a:solidFill>
                  <a:srgbClr val="585854"/>
                </a:solidFill>
              </a:rPr>
              <a:t>Front </a:t>
            </a:r>
            <a:r>
              <a:rPr lang="en-GB" sz="900" i="1" err="1">
                <a:solidFill>
                  <a:srgbClr val="585854"/>
                </a:solidFill>
              </a:rPr>
              <a:t>Pharmacol</a:t>
            </a:r>
            <a:r>
              <a:rPr lang="en-GB" sz="900" i="1">
                <a:solidFill>
                  <a:srgbClr val="585854"/>
                </a:solidFill>
              </a:rPr>
              <a:t> </a:t>
            </a:r>
            <a:r>
              <a:rPr lang="en-GB" sz="900">
                <a:solidFill>
                  <a:srgbClr val="585854"/>
                </a:solidFill>
              </a:rPr>
              <a:t>2022 </a:t>
            </a:r>
            <a:r>
              <a:rPr lang="en-GB" sz="900" b="1">
                <a:solidFill>
                  <a:srgbClr val="585854"/>
                </a:solidFill>
              </a:rPr>
              <a:t>9. </a:t>
            </a:r>
            <a:r>
              <a:rPr lang="en-GB" sz="900">
                <a:solidFill>
                  <a:srgbClr val="585854"/>
                </a:solidFill>
              </a:rPr>
              <a:t>Hoffmann et al. </a:t>
            </a:r>
            <a:r>
              <a:rPr lang="en-GB" sz="900" i="1">
                <a:solidFill>
                  <a:srgbClr val="585854"/>
                </a:solidFill>
              </a:rPr>
              <a:t>Transplant Cell Ther </a:t>
            </a:r>
            <a:r>
              <a:rPr lang="en-GB" sz="900">
                <a:solidFill>
                  <a:srgbClr val="585854"/>
                </a:solidFill>
              </a:rPr>
              <a:t>2023 </a:t>
            </a:r>
            <a:r>
              <a:rPr lang="en-GB" b="1">
                <a:solidFill>
                  <a:srgbClr val="585854"/>
                </a:solidFill>
              </a:rPr>
              <a:t>1</a:t>
            </a:r>
            <a:r>
              <a:rPr lang="en-CH" b="1">
                <a:solidFill>
                  <a:srgbClr val="585854"/>
                </a:solidFill>
              </a:rPr>
              <a:t>0</a:t>
            </a:r>
            <a:r>
              <a:rPr lang="en-GB" b="1">
                <a:solidFill>
                  <a:srgbClr val="585854"/>
                </a:solidFill>
              </a:rPr>
              <a:t>. </a:t>
            </a:r>
            <a:r>
              <a:rPr lang="en-GB" err="1">
                <a:solidFill>
                  <a:srgbClr val="585854"/>
                </a:solidFill>
              </a:rPr>
              <a:t>Chomienne</a:t>
            </a:r>
            <a:r>
              <a:rPr lang="en-GB">
                <a:solidFill>
                  <a:srgbClr val="585854"/>
                </a:solidFill>
              </a:rPr>
              <a:t> et al. </a:t>
            </a:r>
            <a:r>
              <a:rPr lang="en-GB" i="1" err="1">
                <a:solidFill>
                  <a:srgbClr val="585854"/>
                </a:solidFill>
              </a:rPr>
              <a:t>HemaSphere</a:t>
            </a:r>
            <a:r>
              <a:rPr lang="en-GB" i="1">
                <a:solidFill>
                  <a:srgbClr val="585854"/>
                </a:solidFill>
              </a:rPr>
              <a:t> </a:t>
            </a:r>
            <a:r>
              <a:rPr lang="en-GB">
                <a:solidFill>
                  <a:srgbClr val="585854"/>
                </a:solidFill>
              </a:rPr>
              <a:t>2019 </a:t>
            </a:r>
            <a:r>
              <a:rPr lang="en-GB" b="1">
                <a:solidFill>
                  <a:srgbClr val="585854"/>
                </a:solidFill>
              </a:rPr>
              <a:t>1</a:t>
            </a:r>
            <a:r>
              <a:rPr lang="en-CH" b="1">
                <a:solidFill>
                  <a:srgbClr val="585854"/>
                </a:solidFill>
              </a:rPr>
              <a:t>1</a:t>
            </a:r>
            <a:r>
              <a:rPr lang="en-GB" b="1">
                <a:solidFill>
                  <a:srgbClr val="585854"/>
                </a:solidFill>
              </a:rPr>
              <a:t>. </a:t>
            </a:r>
            <a:r>
              <a:rPr lang="en-GB">
                <a:solidFill>
                  <a:srgbClr val="585854"/>
                </a:solidFill>
              </a:rPr>
              <a:t>Gajra et al. </a:t>
            </a:r>
            <a:r>
              <a:rPr lang="en-GB" i="1" err="1">
                <a:solidFill>
                  <a:srgbClr val="585854"/>
                </a:solidFill>
              </a:rPr>
              <a:t>Pharmaceut</a:t>
            </a:r>
            <a:r>
              <a:rPr lang="en-GB" i="1">
                <a:solidFill>
                  <a:srgbClr val="585854"/>
                </a:solidFill>
              </a:rPr>
              <a:t> Med </a:t>
            </a:r>
            <a:r>
              <a:rPr lang="en-GB">
                <a:solidFill>
                  <a:srgbClr val="585854"/>
                </a:solidFill>
              </a:rPr>
              <a:t>2022</a:t>
            </a:r>
            <a:r>
              <a:rPr lang="en-CH">
                <a:solidFill>
                  <a:srgbClr val="585854"/>
                </a:solidFill>
              </a:rPr>
              <a:t> </a:t>
            </a:r>
          </a:p>
          <a:p>
            <a:r>
              <a:rPr lang="en-CH" b="1">
                <a:solidFill>
                  <a:srgbClr val="585854"/>
                </a:solidFill>
              </a:rPr>
              <a:t>12. </a:t>
            </a:r>
            <a:r>
              <a:rPr lang="en-GB"/>
              <a:t>Jain et al. </a:t>
            </a:r>
            <a:r>
              <a:rPr lang="en-GB" i="1"/>
              <a:t>Blood</a:t>
            </a:r>
            <a:r>
              <a:rPr lang="en-GB"/>
              <a:t> 2023</a:t>
            </a:r>
            <a:r>
              <a:rPr lang="en-GB">
                <a:solidFill>
                  <a:srgbClr val="585854"/>
                </a:solidFill>
              </a:rPr>
              <a:t> </a:t>
            </a:r>
            <a:r>
              <a:rPr lang="en-GB" b="1">
                <a:solidFill>
                  <a:srgbClr val="585854"/>
                </a:solidFill>
              </a:rPr>
              <a:t>1</a:t>
            </a:r>
            <a:r>
              <a:rPr lang="en-CH" b="1">
                <a:solidFill>
                  <a:srgbClr val="585854"/>
                </a:solidFill>
              </a:rPr>
              <a:t>3</a:t>
            </a:r>
            <a:r>
              <a:rPr lang="en-GB" b="1">
                <a:solidFill>
                  <a:srgbClr val="585854"/>
                </a:solidFill>
              </a:rPr>
              <a:t>. </a:t>
            </a:r>
            <a:r>
              <a:rPr lang="en-GB">
                <a:solidFill>
                  <a:srgbClr val="585854"/>
                </a:solidFill>
              </a:rPr>
              <a:t>van der </a:t>
            </a:r>
            <a:r>
              <a:rPr lang="en-GB" err="1">
                <a:solidFill>
                  <a:srgbClr val="585854"/>
                </a:solidFill>
              </a:rPr>
              <a:t>Galiën</a:t>
            </a:r>
            <a:r>
              <a:rPr lang="en-GB">
                <a:solidFill>
                  <a:srgbClr val="585854"/>
                </a:solidFill>
              </a:rPr>
              <a:t> et al. </a:t>
            </a:r>
            <a:r>
              <a:rPr lang="en-GB" i="1" err="1">
                <a:solidFill>
                  <a:srgbClr val="585854"/>
                </a:solidFill>
              </a:rPr>
              <a:t>Eur</a:t>
            </a:r>
            <a:r>
              <a:rPr lang="en-GB" i="1">
                <a:solidFill>
                  <a:srgbClr val="585854"/>
                </a:solidFill>
              </a:rPr>
              <a:t> J </a:t>
            </a:r>
            <a:r>
              <a:rPr lang="en-GB" i="1" err="1">
                <a:solidFill>
                  <a:srgbClr val="585854"/>
                </a:solidFill>
              </a:rPr>
              <a:t>Haematol</a:t>
            </a:r>
            <a:r>
              <a:rPr lang="en-GB" i="1">
                <a:solidFill>
                  <a:srgbClr val="585854"/>
                </a:solidFill>
              </a:rPr>
              <a:t> </a:t>
            </a:r>
            <a:r>
              <a:rPr lang="en-GB">
                <a:solidFill>
                  <a:srgbClr val="585854"/>
                </a:solidFill>
              </a:rPr>
              <a:t>2025 </a:t>
            </a:r>
            <a:r>
              <a:rPr lang="en-GB" b="1">
                <a:solidFill>
                  <a:srgbClr val="585854"/>
                </a:solidFill>
              </a:rPr>
              <a:t>1</a:t>
            </a:r>
            <a:r>
              <a:rPr lang="en-CH" b="1">
                <a:solidFill>
                  <a:srgbClr val="585854"/>
                </a:solidFill>
              </a:rPr>
              <a:t>4</a:t>
            </a:r>
            <a:r>
              <a:rPr lang="en-GB" b="1">
                <a:solidFill>
                  <a:srgbClr val="585854"/>
                </a:solidFill>
              </a:rPr>
              <a:t>. </a:t>
            </a:r>
            <a:r>
              <a:rPr lang="en-GB">
                <a:solidFill>
                  <a:srgbClr val="585854"/>
                </a:solidFill>
              </a:rPr>
              <a:t>Carreras et al. EBMT Handbook 2019</a:t>
            </a: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</a:rPr>
              <a:t>.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84E34A3B-5425-70D5-8F21-309F44157B7F}"/>
              </a:ext>
            </a:extLst>
          </p:cNvPr>
          <p:cNvSpPr txBox="1"/>
          <p:nvPr/>
        </p:nvSpPr>
        <p:spPr>
          <a:xfrm>
            <a:off x="7259996" y="3637757"/>
            <a:ext cx="2750419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ABBFC9">
                    <a:lumMod val="50000"/>
                  </a:srgbClr>
                </a:solidFill>
                <a:effectLst/>
                <a:uLnTx/>
                <a:uFillTx/>
                <a:latin typeface="Aptos" panose="02110004020202020204"/>
                <a:ea typeface="Roboto Medium" panose="02000000000000000000" pitchFamily="2" charset="0"/>
                <a:cs typeface="+mn-cs"/>
              </a:rPr>
              <a:t>Access barriers</a:t>
            </a:r>
            <a:r>
              <a:rPr kumimoji="0" lang="en-CH" sz="1600" b="1" i="0" u="none" strike="noStrike" kern="1200" cap="none" spc="0" normalizeH="0" baseline="30000" noProof="0">
                <a:ln>
                  <a:noFill/>
                </a:ln>
                <a:solidFill>
                  <a:srgbClr val="ABBFC9">
                    <a:lumMod val="5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8</a:t>
            </a:r>
            <a:r>
              <a:rPr kumimoji="0" lang="en-GB" sz="1600" b="1" i="0" u="none" strike="noStrike" kern="1200" cap="none" spc="0" normalizeH="0" baseline="30000" noProof="0">
                <a:ln>
                  <a:noFill/>
                </a:ln>
                <a:solidFill>
                  <a:srgbClr val="ABBFC9">
                    <a:lumMod val="5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–</a:t>
            </a:r>
            <a:r>
              <a:rPr kumimoji="0" lang="en-CH" sz="1600" b="1" i="0" u="none" strike="noStrike" kern="1200" cap="none" spc="0" normalizeH="0" baseline="30000" noProof="0">
                <a:ln>
                  <a:noFill/>
                </a:ln>
                <a:solidFill>
                  <a:srgbClr val="ABBFC9">
                    <a:lumMod val="5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1</a:t>
            </a:r>
            <a:endParaRPr kumimoji="0" lang="en-GB" sz="1600" b="1" i="0" u="none" strike="noStrike" kern="1200" cap="none" spc="0" normalizeH="0" baseline="30000" noProof="0">
              <a:ln>
                <a:noFill/>
              </a:ln>
              <a:solidFill>
                <a:srgbClr val="ABBFC9">
                  <a:lumMod val="50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2" name="Text Placeholder 32">
            <a:extLst>
              <a:ext uri="{FF2B5EF4-FFF2-40B4-BE49-F238E27FC236}">
                <a16:creationId xmlns:a16="http://schemas.microsoft.com/office/drawing/2014/main" id="{1C6E477A-7886-5C8B-5ADF-506BFB180FAC}"/>
              </a:ext>
            </a:extLst>
          </p:cNvPr>
          <p:cNvSpPr txBox="1">
            <a:spLocks/>
          </p:cNvSpPr>
          <p:nvPr/>
        </p:nvSpPr>
        <p:spPr>
          <a:xfrm>
            <a:off x="7259995" y="3837371"/>
            <a:ext cx="4414941" cy="43752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Roboto Light" panose="02000000000000000000" pitchFamily="2" charset="0"/>
                <a:cs typeface="+mn-cs"/>
              </a:rPr>
              <a:t>(e.g., logistical or resource limitations, restricted reimbursement)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3397166C-BD38-53EF-355B-8B7E3C6264E0}"/>
              </a:ext>
            </a:extLst>
          </p:cNvPr>
          <p:cNvSpPr txBox="1"/>
          <p:nvPr/>
        </p:nvSpPr>
        <p:spPr>
          <a:xfrm>
            <a:off x="7645478" y="4400974"/>
            <a:ext cx="3431456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ABBFC9">
                    <a:lumMod val="50000"/>
                  </a:srgbClr>
                </a:solidFill>
                <a:effectLst/>
                <a:uLnTx/>
                <a:uFillTx/>
                <a:latin typeface="Aptos" panose="02110004020202020204"/>
                <a:ea typeface="Roboto Medium" panose="02000000000000000000" pitchFamily="2" charset="0"/>
                <a:cs typeface="+mn-cs"/>
              </a:rPr>
              <a:t>Toxicities</a:t>
            </a:r>
            <a:r>
              <a:rPr kumimoji="0" lang="en-CH" sz="1600" b="1" i="0" u="none" strike="noStrike" kern="1200" cap="none" spc="0" normalizeH="0" baseline="30000" noProof="0">
                <a:ln>
                  <a:noFill/>
                </a:ln>
                <a:solidFill>
                  <a:srgbClr val="ABBFC9">
                    <a:lumMod val="5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4</a:t>
            </a:r>
            <a:r>
              <a:rPr kumimoji="0" lang="en-GB" sz="1600" b="1" i="0" u="none" strike="noStrike" kern="1200" cap="none" spc="0" normalizeH="0" baseline="30000" noProof="0">
                <a:ln>
                  <a:noFill/>
                </a:ln>
                <a:solidFill>
                  <a:srgbClr val="ABBFC9">
                    <a:lumMod val="5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–</a:t>
            </a:r>
            <a:r>
              <a:rPr kumimoji="0" lang="en-CH" sz="1600" b="1" i="0" u="none" strike="noStrike" kern="1200" cap="none" spc="0" normalizeH="0" baseline="30000" noProof="0">
                <a:ln>
                  <a:noFill/>
                </a:ln>
                <a:solidFill>
                  <a:srgbClr val="ABBFC9">
                    <a:lumMod val="5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6,12</a:t>
            </a:r>
            <a:r>
              <a:rPr kumimoji="0" lang="en-GB" sz="1600" b="1" i="0" u="none" strike="noStrike" kern="1200" cap="none" spc="0" normalizeH="0" baseline="30000" noProof="0">
                <a:ln>
                  <a:noFill/>
                </a:ln>
                <a:solidFill>
                  <a:srgbClr val="ABBFC9">
                    <a:lumMod val="5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–</a:t>
            </a:r>
            <a:r>
              <a:rPr kumimoji="0" lang="en-CH" sz="1600" b="1" i="0" u="none" strike="noStrike" kern="1200" cap="none" spc="0" normalizeH="0" baseline="30000" noProof="0">
                <a:ln>
                  <a:noFill/>
                </a:ln>
                <a:solidFill>
                  <a:srgbClr val="ABBFC9">
                    <a:lumMod val="5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4</a:t>
            </a:r>
            <a:endParaRPr kumimoji="0" lang="en-GB" sz="1600" b="1" i="0" u="none" strike="noStrike" kern="1200" cap="none" spc="0" normalizeH="0" baseline="30000" noProof="0">
              <a:ln>
                <a:noFill/>
              </a:ln>
              <a:solidFill>
                <a:srgbClr val="ABBFC9">
                  <a:lumMod val="50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4" name="Text Placeholder 32">
            <a:extLst>
              <a:ext uri="{FF2B5EF4-FFF2-40B4-BE49-F238E27FC236}">
                <a16:creationId xmlns:a16="http://schemas.microsoft.com/office/drawing/2014/main" id="{4FB64CFE-6D7C-09BE-DDBE-D93F96C52AAE}"/>
              </a:ext>
            </a:extLst>
          </p:cNvPr>
          <p:cNvSpPr txBox="1">
            <a:spLocks/>
          </p:cNvSpPr>
          <p:nvPr/>
        </p:nvSpPr>
        <p:spPr>
          <a:xfrm>
            <a:off x="7645478" y="4600587"/>
            <a:ext cx="3519976" cy="43752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Roboto Light" panose="02000000000000000000" pitchFamily="2" charset="0"/>
                <a:cs typeface="+mn-cs"/>
              </a:rPr>
              <a:t>(e.g., CRS, ICANS, cytopenias, systemic chemo effects)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3DE21114-5529-01B5-B14F-279B8384014C}"/>
              </a:ext>
            </a:extLst>
          </p:cNvPr>
          <p:cNvSpPr txBox="1"/>
          <p:nvPr/>
        </p:nvSpPr>
        <p:spPr>
          <a:xfrm>
            <a:off x="7259996" y="5132388"/>
            <a:ext cx="3000110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ABBFC9">
                    <a:lumMod val="50000"/>
                  </a:srgbClr>
                </a:solidFill>
                <a:effectLst/>
                <a:uLnTx/>
                <a:uFillTx/>
                <a:latin typeface="Aptos" panose="02110004020202020204"/>
                <a:ea typeface="Roboto Medium" panose="02000000000000000000" pitchFamily="2" charset="0"/>
                <a:cs typeface="+mn-cs"/>
              </a:rPr>
              <a:t>Administration burden</a:t>
            </a:r>
            <a:r>
              <a:rPr kumimoji="0" lang="en-GB" sz="1600" b="1" i="0" u="none" strike="noStrike" kern="1200" cap="none" spc="0" normalizeH="0" baseline="30000" noProof="0">
                <a:ln>
                  <a:noFill/>
                </a:ln>
                <a:solidFill>
                  <a:srgbClr val="ABBFC9">
                    <a:lumMod val="5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</a:t>
            </a:r>
            <a:r>
              <a:rPr kumimoji="0" lang="en-CH" sz="1600" b="1" i="0" u="none" strike="noStrike" kern="1200" cap="none" spc="0" normalizeH="0" baseline="30000" noProof="0">
                <a:ln>
                  <a:noFill/>
                </a:ln>
                <a:solidFill>
                  <a:srgbClr val="ABBFC9">
                    <a:lumMod val="5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0</a:t>
            </a:r>
            <a:r>
              <a:rPr kumimoji="0" lang="en-GB" sz="1600" b="1" i="0" u="none" strike="noStrike" kern="1200" cap="none" spc="0" normalizeH="0" baseline="30000" noProof="0">
                <a:ln>
                  <a:noFill/>
                </a:ln>
                <a:solidFill>
                  <a:srgbClr val="ABBFC9">
                    <a:lumMod val="5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,1</a:t>
            </a:r>
            <a:r>
              <a:rPr kumimoji="0" lang="en-CH" sz="1600" b="1" i="0" u="none" strike="noStrike" kern="1200" cap="none" spc="0" normalizeH="0" baseline="30000" noProof="0">
                <a:ln>
                  <a:noFill/>
                </a:ln>
                <a:solidFill>
                  <a:srgbClr val="ABBFC9">
                    <a:lumMod val="5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</a:t>
            </a:r>
            <a:r>
              <a:rPr kumimoji="0" lang="en-GB" sz="1600" b="1" i="0" u="none" strike="noStrike" kern="1200" cap="none" spc="0" normalizeH="0" baseline="30000" noProof="0">
                <a:ln>
                  <a:noFill/>
                </a:ln>
                <a:solidFill>
                  <a:srgbClr val="ABBFC9">
                    <a:lumMod val="5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,1</a:t>
            </a:r>
            <a:r>
              <a:rPr kumimoji="0" lang="en-CH" sz="1600" b="1" i="0" u="none" strike="noStrike" kern="1200" cap="none" spc="0" normalizeH="0" baseline="30000" noProof="0">
                <a:ln>
                  <a:noFill/>
                </a:ln>
                <a:solidFill>
                  <a:srgbClr val="ABBFC9">
                    <a:lumMod val="5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4</a:t>
            </a:r>
            <a:endParaRPr kumimoji="0" lang="en-GB" sz="1600" b="1" i="0" u="none" strike="noStrike" kern="1200" cap="none" spc="0" normalizeH="0" baseline="30000" noProof="0">
              <a:ln>
                <a:noFill/>
              </a:ln>
              <a:solidFill>
                <a:srgbClr val="ABBFC9">
                  <a:lumMod val="50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6" name="Text Placeholder 32">
            <a:extLst>
              <a:ext uri="{FF2B5EF4-FFF2-40B4-BE49-F238E27FC236}">
                <a16:creationId xmlns:a16="http://schemas.microsoft.com/office/drawing/2014/main" id="{6701E6E4-1117-FEE1-21C7-4A91A33D4BA3}"/>
              </a:ext>
            </a:extLst>
          </p:cNvPr>
          <p:cNvSpPr txBox="1">
            <a:spLocks/>
          </p:cNvSpPr>
          <p:nvPr/>
        </p:nvSpPr>
        <p:spPr>
          <a:xfrm>
            <a:off x="7259996" y="5332002"/>
            <a:ext cx="4551004" cy="43752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Roboto Light" panose="02000000000000000000" pitchFamily="2" charset="0"/>
                <a:cs typeface="+mn-cs"/>
              </a:rPr>
              <a:t>(e.g., hospitalisation, long infusion time, available caregiver, frequent travel)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8AE8F83D-9AB3-C2A9-ABCA-EA623C937FFC}"/>
              </a:ext>
            </a:extLst>
          </p:cNvPr>
          <p:cNvSpPr txBox="1"/>
          <p:nvPr/>
        </p:nvSpPr>
        <p:spPr>
          <a:xfrm flipH="1">
            <a:off x="1482331" y="3637757"/>
            <a:ext cx="3533824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ABBFC9">
                    <a:lumMod val="50000"/>
                  </a:srgbClr>
                </a:solidFill>
                <a:effectLst/>
                <a:uLnTx/>
                <a:uFillTx/>
                <a:latin typeface="Aptos" panose="02110004020202020204"/>
                <a:ea typeface="Roboto Medium" panose="02000000000000000000" pitchFamily="2" charset="0"/>
                <a:cs typeface="+mn-cs"/>
              </a:rPr>
              <a:t>Planned treatment not received</a:t>
            </a:r>
            <a:r>
              <a:rPr kumimoji="0" lang="en-CH" sz="1600" b="1" i="0" u="none" strike="noStrike" kern="1200" cap="none" spc="0" normalizeH="0" baseline="30000" noProof="0">
                <a:ln>
                  <a:noFill/>
                </a:ln>
                <a:solidFill>
                  <a:srgbClr val="ABBFC9">
                    <a:lumMod val="5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3</a:t>
            </a:r>
            <a:r>
              <a:rPr kumimoji="0" lang="en-GB" sz="1600" b="1" i="0" u="none" strike="noStrike" kern="1200" cap="none" spc="0" normalizeH="0" baseline="30000" noProof="0">
                <a:ln>
                  <a:noFill/>
                </a:ln>
                <a:solidFill>
                  <a:srgbClr val="ABBFC9">
                    <a:lumMod val="5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–</a:t>
            </a:r>
            <a:r>
              <a:rPr kumimoji="0" lang="en-CH" sz="1600" b="1" i="0" u="none" strike="noStrike" kern="1200" cap="none" spc="0" normalizeH="0" baseline="30000" noProof="0">
                <a:ln>
                  <a:noFill/>
                </a:ln>
                <a:solidFill>
                  <a:srgbClr val="ABBFC9">
                    <a:lumMod val="5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6</a:t>
            </a:r>
            <a:endParaRPr kumimoji="0" lang="en-GB" sz="1600" b="1" i="0" u="none" strike="noStrike" kern="1200" cap="none" spc="0" normalizeH="0" baseline="30000" noProof="0">
              <a:ln>
                <a:noFill/>
              </a:ln>
              <a:solidFill>
                <a:srgbClr val="ABBFC9">
                  <a:lumMod val="50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8" name="Text Placeholder 32">
            <a:extLst>
              <a:ext uri="{FF2B5EF4-FFF2-40B4-BE49-F238E27FC236}">
                <a16:creationId xmlns:a16="http://schemas.microsoft.com/office/drawing/2014/main" id="{D671B526-C672-3518-1298-28DBF82DD915}"/>
              </a:ext>
            </a:extLst>
          </p:cNvPr>
          <p:cNvSpPr txBox="1">
            <a:spLocks/>
          </p:cNvSpPr>
          <p:nvPr/>
        </p:nvSpPr>
        <p:spPr>
          <a:xfrm flipH="1">
            <a:off x="1297983" y="3871701"/>
            <a:ext cx="3718172" cy="43752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58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Roboto Light" panose="02000000000000000000" pitchFamily="2" charset="0"/>
                <a:cs typeface="+mn-cs"/>
              </a:rPr>
              <a:t>(e.g., rapid disease progression, CAR-T manufacturing failure)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C2B3CA83-AEAF-3489-6505-6E186555722B}"/>
              </a:ext>
            </a:extLst>
          </p:cNvPr>
          <p:cNvSpPr txBox="1"/>
          <p:nvPr/>
        </p:nvSpPr>
        <p:spPr>
          <a:xfrm flipH="1">
            <a:off x="2602295" y="4383982"/>
            <a:ext cx="2026510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ABBFC9">
                    <a:lumMod val="5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Limited efficacy</a:t>
            </a:r>
            <a:r>
              <a:rPr kumimoji="0" lang="en-GB" sz="1600" b="1" i="0" u="none" strike="noStrike" kern="1200" cap="none" spc="0" normalizeH="0" baseline="30000" noProof="0">
                <a:ln>
                  <a:noFill/>
                </a:ln>
                <a:solidFill>
                  <a:srgbClr val="ABBFC9">
                    <a:lumMod val="5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3,</a:t>
            </a:r>
            <a:r>
              <a:rPr kumimoji="0" lang="en-CH" sz="1600" b="1" i="0" u="none" strike="noStrike" kern="1200" cap="none" spc="0" normalizeH="0" baseline="30000" noProof="0">
                <a:ln>
                  <a:noFill/>
                </a:ln>
                <a:solidFill>
                  <a:srgbClr val="ABBFC9">
                    <a:lumMod val="5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4</a:t>
            </a:r>
            <a:r>
              <a:rPr kumimoji="0" lang="en-GB" sz="1600" b="1" i="0" u="none" strike="noStrike" kern="1200" cap="none" spc="0" normalizeH="0" baseline="30000" noProof="0">
                <a:ln>
                  <a:noFill/>
                </a:ln>
                <a:solidFill>
                  <a:srgbClr val="ABBFC9">
                    <a:lumMod val="5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–</a:t>
            </a:r>
            <a:r>
              <a:rPr kumimoji="0" lang="en-CH" sz="1600" b="1" i="0" u="none" strike="noStrike" kern="1200" cap="none" spc="0" normalizeH="0" baseline="30000" noProof="0">
                <a:ln>
                  <a:noFill/>
                </a:ln>
                <a:solidFill>
                  <a:srgbClr val="ABBFC9">
                    <a:lumMod val="5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6</a:t>
            </a:r>
            <a:endParaRPr kumimoji="0" lang="en-GB" sz="1600" b="1" i="0" u="none" strike="noStrike" kern="1200" cap="none" spc="0" normalizeH="0" baseline="30000" noProof="0">
              <a:ln>
                <a:noFill/>
              </a:ln>
              <a:solidFill>
                <a:srgbClr val="ABBFC9">
                  <a:lumMod val="50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0" name="Text Placeholder 32">
            <a:extLst>
              <a:ext uri="{FF2B5EF4-FFF2-40B4-BE49-F238E27FC236}">
                <a16:creationId xmlns:a16="http://schemas.microsoft.com/office/drawing/2014/main" id="{7A5AF97C-739C-751E-5F92-45CD359AB07B}"/>
              </a:ext>
            </a:extLst>
          </p:cNvPr>
          <p:cNvSpPr txBox="1">
            <a:spLocks/>
          </p:cNvSpPr>
          <p:nvPr/>
        </p:nvSpPr>
        <p:spPr>
          <a:xfrm flipH="1">
            <a:off x="923365" y="4600587"/>
            <a:ext cx="3705440" cy="43752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58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Roboto Light" panose="02000000000000000000" pitchFamily="2" charset="0"/>
                <a:cs typeface="+mn-cs"/>
              </a:rPr>
              <a:t>(e.g., relapse/progression, low response in high-risk patients)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49CE0EDC-3E86-B1E8-22B6-58D1C7BAA58A}"/>
              </a:ext>
            </a:extLst>
          </p:cNvPr>
          <p:cNvSpPr txBox="1"/>
          <p:nvPr/>
        </p:nvSpPr>
        <p:spPr>
          <a:xfrm flipH="1">
            <a:off x="1761067" y="5115396"/>
            <a:ext cx="3293188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ABBFC9">
                    <a:lumMod val="50000"/>
                  </a:srgbClr>
                </a:solidFill>
                <a:effectLst/>
                <a:uLnTx/>
                <a:uFillTx/>
                <a:latin typeface="Aptos" panose="02110004020202020204"/>
                <a:ea typeface="Roboto Medium" panose="02000000000000000000" pitchFamily="2" charset="0"/>
                <a:cs typeface="+mn-cs"/>
              </a:rPr>
              <a:t>Treatment sequencing impact</a:t>
            </a:r>
            <a:r>
              <a:rPr kumimoji="0" lang="en-CH" sz="1600" b="1" i="0" u="none" strike="noStrike" kern="1200" cap="none" spc="0" normalizeH="0" baseline="30000" noProof="0">
                <a:ln>
                  <a:noFill/>
                </a:ln>
                <a:solidFill>
                  <a:srgbClr val="ABBFC9">
                    <a:lumMod val="5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</a:t>
            </a:r>
            <a:r>
              <a:rPr kumimoji="0" lang="en-GB" sz="1600" b="1" i="0" u="none" strike="noStrike" kern="1200" cap="none" spc="0" normalizeH="0" baseline="30000" noProof="0">
                <a:ln>
                  <a:noFill/>
                </a:ln>
                <a:solidFill>
                  <a:srgbClr val="ABBFC9">
                    <a:lumMod val="5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,</a:t>
            </a:r>
            <a:r>
              <a:rPr kumimoji="0" lang="en-CH" sz="1600" b="1" i="0" u="none" strike="noStrike" kern="1200" cap="none" spc="0" normalizeH="0" baseline="30000" noProof="0">
                <a:ln>
                  <a:noFill/>
                </a:ln>
                <a:solidFill>
                  <a:srgbClr val="ABBFC9">
                    <a:lumMod val="5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7</a:t>
            </a:r>
            <a:endParaRPr kumimoji="0" lang="en-GB" sz="1600" b="1" i="0" u="none" strike="noStrike" kern="1200" cap="none" spc="0" normalizeH="0" baseline="30000" noProof="0">
              <a:ln>
                <a:noFill/>
              </a:ln>
              <a:solidFill>
                <a:srgbClr val="ABBFC9">
                  <a:lumMod val="50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2" name="Text Placeholder 32">
            <a:extLst>
              <a:ext uri="{FF2B5EF4-FFF2-40B4-BE49-F238E27FC236}">
                <a16:creationId xmlns:a16="http://schemas.microsoft.com/office/drawing/2014/main" id="{588FE894-4764-817A-3249-0A30E234AB4E}"/>
              </a:ext>
            </a:extLst>
          </p:cNvPr>
          <p:cNvSpPr txBox="1">
            <a:spLocks/>
          </p:cNvSpPr>
          <p:nvPr/>
        </p:nvSpPr>
        <p:spPr>
          <a:xfrm flipH="1">
            <a:off x="1408486" y="5332002"/>
            <a:ext cx="3645769" cy="43752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58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Roboto Light" panose="02000000000000000000" pitchFamily="2" charset="0"/>
                <a:cs typeface="+mn-cs"/>
              </a:rPr>
              <a:t>(e.g., limits future treatment choices)</a:t>
            </a:r>
          </a:p>
        </p:txBody>
      </p:sp>
      <p:sp>
        <p:nvSpPr>
          <p:cNvPr id="63" name="Freeform 88">
            <a:extLst>
              <a:ext uri="{FF2B5EF4-FFF2-40B4-BE49-F238E27FC236}">
                <a16:creationId xmlns:a16="http://schemas.microsoft.com/office/drawing/2014/main" id="{E9A88015-B332-2E7C-0D92-4A794C343859}"/>
              </a:ext>
            </a:extLst>
          </p:cNvPr>
          <p:cNvSpPr>
            <a:spLocks/>
          </p:cNvSpPr>
          <p:nvPr/>
        </p:nvSpPr>
        <p:spPr bwMode="auto">
          <a:xfrm>
            <a:off x="6680328" y="4101070"/>
            <a:ext cx="353146" cy="513396"/>
          </a:xfrm>
          <a:custGeom>
            <a:avLst/>
            <a:gdLst>
              <a:gd name="T0" fmla="*/ 476 w 476"/>
              <a:gd name="T1" fmla="*/ 0 h 692"/>
              <a:gd name="T2" fmla="*/ 0 w 476"/>
              <a:gd name="T3" fmla="*/ 559 h 692"/>
              <a:gd name="T4" fmla="*/ 78 w 476"/>
              <a:gd name="T5" fmla="*/ 692 h 692"/>
              <a:gd name="T6" fmla="*/ 476 w 476"/>
              <a:gd name="T7" fmla="*/ 0 h 6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76" h="692">
                <a:moveTo>
                  <a:pt x="476" y="0"/>
                </a:moveTo>
                <a:lnTo>
                  <a:pt x="0" y="559"/>
                </a:lnTo>
                <a:lnTo>
                  <a:pt x="78" y="692"/>
                </a:lnTo>
                <a:lnTo>
                  <a:pt x="476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8" name="Freeform 89">
            <a:extLst>
              <a:ext uri="{FF2B5EF4-FFF2-40B4-BE49-F238E27FC236}">
                <a16:creationId xmlns:a16="http://schemas.microsoft.com/office/drawing/2014/main" id="{4541A239-3F5D-8230-8C05-1727B8019FD7}"/>
              </a:ext>
            </a:extLst>
          </p:cNvPr>
          <p:cNvSpPr>
            <a:spLocks/>
          </p:cNvSpPr>
          <p:nvPr/>
        </p:nvSpPr>
        <p:spPr bwMode="auto">
          <a:xfrm>
            <a:off x="6499304" y="4929033"/>
            <a:ext cx="56385" cy="100157"/>
          </a:xfrm>
          <a:custGeom>
            <a:avLst/>
            <a:gdLst>
              <a:gd name="T0" fmla="*/ 76 w 76"/>
              <a:gd name="T1" fmla="*/ 0 h 135"/>
              <a:gd name="T2" fmla="*/ 0 w 76"/>
              <a:gd name="T3" fmla="*/ 135 h 135"/>
              <a:gd name="T4" fmla="*/ 76 w 76"/>
              <a:gd name="T5" fmla="*/ 0 h 135"/>
              <a:gd name="T6" fmla="*/ 76 w 76"/>
              <a:gd name="T7" fmla="*/ 0 h 1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6" h="135">
                <a:moveTo>
                  <a:pt x="76" y="0"/>
                </a:moveTo>
                <a:lnTo>
                  <a:pt x="0" y="135"/>
                </a:lnTo>
                <a:lnTo>
                  <a:pt x="76" y="0"/>
                </a:lnTo>
                <a:lnTo>
                  <a:pt x="76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9" name="Freeform 90">
            <a:extLst>
              <a:ext uri="{FF2B5EF4-FFF2-40B4-BE49-F238E27FC236}">
                <a16:creationId xmlns:a16="http://schemas.microsoft.com/office/drawing/2014/main" id="{63E94E2F-86A8-C3E4-6D73-ADA2D16A3B49}"/>
              </a:ext>
            </a:extLst>
          </p:cNvPr>
          <p:cNvSpPr>
            <a:spLocks/>
          </p:cNvSpPr>
          <p:nvPr/>
        </p:nvSpPr>
        <p:spPr bwMode="auto">
          <a:xfrm>
            <a:off x="6499304" y="4929033"/>
            <a:ext cx="56385" cy="100157"/>
          </a:xfrm>
          <a:custGeom>
            <a:avLst/>
            <a:gdLst>
              <a:gd name="T0" fmla="*/ 76 w 76"/>
              <a:gd name="T1" fmla="*/ 0 h 135"/>
              <a:gd name="T2" fmla="*/ 0 w 76"/>
              <a:gd name="T3" fmla="*/ 135 h 135"/>
              <a:gd name="T4" fmla="*/ 76 w 76"/>
              <a:gd name="T5" fmla="*/ 0 h 135"/>
              <a:gd name="T6" fmla="*/ 76 w 76"/>
              <a:gd name="T7" fmla="*/ 0 h 1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6" h="135">
                <a:moveTo>
                  <a:pt x="76" y="0"/>
                </a:moveTo>
                <a:lnTo>
                  <a:pt x="0" y="135"/>
                </a:lnTo>
                <a:lnTo>
                  <a:pt x="76" y="0"/>
                </a:lnTo>
                <a:lnTo>
                  <a:pt x="76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30" name="Freeform 91">
            <a:extLst>
              <a:ext uri="{FF2B5EF4-FFF2-40B4-BE49-F238E27FC236}">
                <a16:creationId xmlns:a16="http://schemas.microsoft.com/office/drawing/2014/main" id="{9EF2F703-0260-E68D-BDFD-A3252EE71B38}"/>
              </a:ext>
            </a:extLst>
          </p:cNvPr>
          <p:cNvSpPr>
            <a:spLocks/>
          </p:cNvSpPr>
          <p:nvPr/>
        </p:nvSpPr>
        <p:spPr bwMode="auto">
          <a:xfrm>
            <a:off x="6499304" y="4929033"/>
            <a:ext cx="592038" cy="100157"/>
          </a:xfrm>
          <a:custGeom>
            <a:avLst/>
            <a:gdLst>
              <a:gd name="T0" fmla="*/ 76 w 798"/>
              <a:gd name="T1" fmla="*/ 0 h 135"/>
              <a:gd name="T2" fmla="*/ 0 w 798"/>
              <a:gd name="T3" fmla="*/ 135 h 135"/>
              <a:gd name="T4" fmla="*/ 798 w 798"/>
              <a:gd name="T5" fmla="*/ 135 h 135"/>
              <a:gd name="T6" fmla="*/ 76 w 798"/>
              <a:gd name="T7" fmla="*/ 0 h 1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98" h="135">
                <a:moveTo>
                  <a:pt x="76" y="0"/>
                </a:moveTo>
                <a:lnTo>
                  <a:pt x="0" y="135"/>
                </a:lnTo>
                <a:lnTo>
                  <a:pt x="798" y="135"/>
                </a:lnTo>
                <a:lnTo>
                  <a:pt x="76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31" name="Freeform 92">
            <a:extLst>
              <a:ext uri="{FF2B5EF4-FFF2-40B4-BE49-F238E27FC236}">
                <a16:creationId xmlns:a16="http://schemas.microsoft.com/office/drawing/2014/main" id="{7F3D30A6-9640-5E7F-5E1E-B9B88DDDDB0F}"/>
              </a:ext>
            </a:extLst>
          </p:cNvPr>
          <p:cNvSpPr>
            <a:spLocks/>
          </p:cNvSpPr>
          <p:nvPr/>
        </p:nvSpPr>
        <p:spPr bwMode="auto">
          <a:xfrm>
            <a:off x="6021519" y="5029189"/>
            <a:ext cx="114253" cy="0"/>
          </a:xfrm>
          <a:custGeom>
            <a:avLst/>
            <a:gdLst>
              <a:gd name="T0" fmla="*/ 154 w 154"/>
              <a:gd name="T1" fmla="*/ 0 w 154"/>
              <a:gd name="T2" fmla="*/ 154 w 154"/>
              <a:gd name="T3" fmla="*/ 154 w 154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  <a:cxn ang="0">
                <a:pos x="T3" y="0"/>
              </a:cxn>
            </a:cxnLst>
            <a:rect l="0" t="0" r="r" b="b"/>
            <a:pathLst>
              <a:path w="154">
                <a:moveTo>
                  <a:pt x="154" y="0"/>
                </a:moveTo>
                <a:lnTo>
                  <a:pt x="0" y="0"/>
                </a:lnTo>
                <a:lnTo>
                  <a:pt x="154" y="0"/>
                </a:lnTo>
                <a:lnTo>
                  <a:pt x="154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32" name="Freeform 93">
            <a:extLst>
              <a:ext uri="{FF2B5EF4-FFF2-40B4-BE49-F238E27FC236}">
                <a16:creationId xmlns:a16="http://schemas.microsoft.com/office/drawing/2014/main" id="{6CC237F2-9F96-055D-F20E-5FD97587A7DA}"/>
              </a:ext>
            </a:extLst>
          </p:cNvPr>
          <p:cNvSpPr>
            <a:spLocks/>
          </p:cNvSpPr>
          <p:nvPr/>
        </p:nvSpPr>
        <p:spPr bwMode="auto">
          <a:xfrm>
            <a:off x="6021519" y="5029189"/>
            <a:ext cx="114253" cy="0"/>
          </a:xfrm>
          <a:custGeom>
            <a:avLst/>
            <a:gdLst>
              <a:gd name="T0" fmla="*/ 154 w 154"/>
              <a:gd name="T1" fmla="*/ 0 w 154"/>
              <a:gd name="T2" fmla="*/ 154 w 154"/>
              <a:gd name="T3" fmla="*/ 154 w 154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  <a:cxn ang="0">
                <a:pos x="T3" y="0"/>
              </a:cxn>
            </a:cxnLst>
            <a:rect l="0" t="0" r="r" b="b"/>
            <a:pathLst>
              <a:path w="154">
                <a:moveTo>
                  <a:pt x="154" y="0"/>
                </a:moveTo>
                <a:lnTo>
                  <a:pt x="0" y="0"/>
                </a:lnTo>
                <a:lnTo>
                  <a:pt x="154" y="0"/>
                </a:lnTo>
                <a:lnTo>
                  <a:pt x="154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33" name="Freeform 94">
            <a:extLst>
              <a:ext uri="{FF2B5EF4-FFF2-40B4-BE49-F238E27FC236}">
                <a16:creationId xmlns:a16="http://schemas.microsoft.com/office/drawing/2014/main" id="{92031FA4-B4E2-D7AC-B4C3-AE92AD2DD6C2}"/>
              </a:ext>
            </a:extLst>
          </p:cNvPr>
          <p:cNvSpPr>
            <a:spLocks/>
          </p:cNvSpPr>
          <p:nvPr/>
        </p:nvSpPr>
        <p:spPr bwMode="auto">
          <a:xfrm>
            <a:off x="6021519" y="5029189"/>
            <a:ext cx="295277" cy="512655"/>
          </a:xfrm>
          <a:custGeom>
            <a:avLst/>
            <a:gdLst>
              <a:gd name="T0" fmla="*/ 0 w 398"/>
              <a:gd name="T1" fmla="*/ 0 h 691"/>
              <a:gd name="T2" fmla="*/ 5 w 398"/>
              <a:gd name="T3" fmla="*/ 7 h 691"/>
              <a:gd name="T4" fmla="*/ 398 w 398"/>
              <a:gd name="T5" fmla="*/ 691 h 691"/>
              <a:gd name="T6" fmla="*/ 154 w 398"/>
              <a:gd name="T7" fmla="*/ 0 h 691"/>
              <a:gd name="T8" fmla="*/ 0 w 398"/>
              <a:gd name="T9" fmla="*/ 0 h 6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98" h="691">
                <a:moveTo>
                  <a:pt x="0" y="0"/>
                </a:moveTo>
                <a:lnTo>
                  <a:pt x="5" y="7"/>
                </a:lnTo>
                <a:lnTo>
                  <a:pt x="398" y="691"/>
                </a:lnTo>
                <a:lnTo>
                  <a:pt x="154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34" name="Freeform 95">
            <a:extLst>
              <a:ext uri="{FF2B5EF4-FFF2-40B4-BE49-F238E27FC236}">
                <a16:creationId xmlns:a16="http://schemas.microsoft.com/office/drawing/2014/main" id="{03A01252-9C4C-0949-D996-D07BF80A4184}"/>
              </a:ext>
            </a:extLst>
          </p:cNvPr>
          <p:cNvSpPr>
            <a:spLocks/>
          </p:cNvSpPr>
          <p:nvPr/>
        </p:nvSpPr>
        <p:spPr bwMode="auto">
          <a:xfrm>
            <a:off x="5485865" y="4614466"/>
            <a:ext cx="353146" cy="512655"/>
          </a:xfrm>
          <a:custGeom>
            <a:avLst/>
            <a:gdLst>
              <a:gd name="T0" fmla="*/ 400 w 476"/>
              <a:gd name="T1" fmla="*/ 0 h 691"/>
              <a:gd name="T2" fmla="*/ 0 w 476"/>
              <a:gd name="T3" fmla="*/ 691 h 691"/>
              <a:gd name="T4" fmla="*/ 400 w 476"/>
              <a:gd name="T5" fmla="*/ 0 h 691"/>
              <a:gd name="T6" fmla="*/ 476 w 476"/>
              <a:gd name="T7" fmla="*/ 132 h 691"/>
              <a:gd name="T8" fmla="*/ 476 w 476"/>
              <a:gd name="T9" fmla="*/ 132 h 691"/>
              <a:gd name="T10" fmla="*/ 400 w 476"/>
              <a:gd name="T11" fmla="*/ 0 h 6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76" h="691">
                <a:moveTo>
                  <a:pt x="400" y="0"/>
                </a:moveTo>
                <a:lnTo>
                  <a:pt x="0" y="691"/>
                </a:lnTo>
                <a:lnTo>
                  <a:pt x="400" y="0"/>
                </a:lnTo>
                <a:lnTo>
                  <a:pt x="476" y="132"/>
                </a:lnTo>
                <a:lnTo>
                  <a:pt x="476" y="132"/>
                </a:lnTo>
                <a:lnTo>
                  <a:pt x="400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35" name="Freeform 96">
            <a:extLst>
              <a:ext uri="{FF2B5EF4-FFF2-40B4-BE49-F238E27FC236}">
                <a16:creationId xmlns:a16="http://schemas.microsoft.com/office/drawing/2014/main" id="{1D6C3ABE-BA7B-A530-013F-48B0CFE484EA}"/>
              </a:ext>
            </a:extLst>
          </p:cNvPr>
          <p:cNvSpPr>
            <a:spLocks/>
          </p:cNvSpPr>
          <p:nvPr/>
        </p:nvSpPr>
        <p:spPr bwMode="auto">
          <a:xfrm>
            <a:off x="5485865" y="4614466"/>
            <a:ext cx="353146" cy="512655"/>
          </a:xfrm>
          <a:custGeom>
            <a:avLst/>
            <a:gdLst>
              <a:gd name="T0" fmla="*/ 400 w 476"/>
              <a:gd name="T1" fmla="*/ 0 h 691"/>
              <a:gd name="T2" fmla="*/ 0 w 476"/>
              <a:gd name="T3" fmla="*/ 691 h 691"/>
              <a:gd name="T4" fmla="*/ 400 w 476"/>
              <a:gd name="T5" fmla="*/ 0 h 691"/>
              <a:gd name="T6" fmla="*/ 476 w 476"/>
              <a:gd name="T7" fmla="*/ 132 h 691"/>
              <a:gd name="T8" fmla="*/ 476 w 476"/>
              <a:gd name="T9" fmla="*/ 132 h 691"/>
              <a:gd name="T10" fmla="*/ 400 w 476"/>
              <a:gd name="T11" fmla="*/ 0 h 6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76" h="691">
                <a:moveTo>
                  <a:pt x="400" y="0"/>
                </a:moveTo>
                <a:lnTo>
                  <a:pt x="0" y="691"/>
                </a:lnTo>
                <a:lnTo>
                  <a:pt x="400" y="0"/>
                </a:lnTo>
                <a:lnTo>
                  <a:pt x="476" y="132"/>
                </a:lnTo>
                <a:lnTo>
                  <a:pt x="476" y="132"/>
                </a:lnTo>
                <a:lnTo>
                  <a:pt x="40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36" name="Freeform 97">
            <a:extLst>
              <a:ext uri="{FF2B5EF4-FFF2-40B4-BE49-F238E27FC236}">
                <a16:creationId xmlns:a16="http://schemas.microsoft.com/office/drawing/2014/main" id="{CBBFE713-8E75-FFCC-8E1C-1EFF15D767F9}"/>
              </a:ext>
            </a:extLst>
          </p:cNvPr>
          <p:cNvSpPr>
            <a:spLocks/>
          </p:cNvSpPr>
          <p:nvPr/>
        </p:nvSpPr>
        <p:spPr bwMode="auto">
          <a:xfrm>
            <a:off x="5485865" y="4614466"/>
            <a:ext cx="353146" cy="512655"/>
          </a:xfrm>
          <a:custGeom>
            <a:avLst/>
            <a:gdLst>
              <a:gd name="T0" fmla="*/ 400 w 476"/>
              <a:gd name="T1" fmla="*/ 0 h 691"/>
              <a:gd name="T2" fmla="*/ 0 w 476"/>
              <a:gd name="T3" fmla="*/ 691 h 691"/>
              <a:gd name="T4" fmla="*/ 476 w 476"/>
              <a:gd name="T5" fmla="*/ 132 h 691"/>
              <a:gd name="T6" fmla="*/ 400 w 476"/>
              <a:gd name="T7" fmla="*/ 0 h 6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76" h="691">
                <a:moveTo>
                  <a:pt x="400" y="0"/>
                </a:moveTo>
                <a:lnTo>
                  <a:pt x="0" y="691"/>
                </a:lnTo>
                <a:lnTo>
                  <a:pt x="476" y="132"/>
                </a:lnTo>
                <a:lnTo>
                  <a:pt x="40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37" name="Freeform 98">
            <a:extLst>
              <a:ext uri="{FF2B5EF4-FFF2-40B4-BE49-F238E27FC236}">
                <a16:creationId xmlns:a16="http://schemas.microsoft.com/office/drawing/2014/main" id="{8F289DC4-D5A5-84C2-7C4A-9928C87072D1}"/>
              </a:ext>
            </a:extLst>
          </p:cNvPr>
          <p:cNvSpPr>
            <a:spLocks/>
          </p:cNvSpPr>
          <p:nvPr/>
        </p:nvSpPr>
        <p:spPr bwMode="auto">
          <a:xfrm>
            <a:off x="5963650" y="4201226"/>
            <a:ext cx="57868" cy="98673"/>
          </a:xfrm>
          <a:custGeom>
            <a:avLst/>
            <a:gdLst>
              <a:gd name="T0" fmla="*/ 78 w 78"/>
              <a:gd name="T1" fmla="*/ 0 h 133"/>
              <a:gd name="T2" fmla="*/ 0 w 78"/>
              <a:gd name="T3" fmla="*/ 133 h 133"/>
              <a:gd name="T4" fmla="*/ 0 w 78"/>
              <a:gd name="T5" fmla="*/ 133 h 133"/>
              <a:gd name="T6" fmla="*/ 78 w 78"/>
              <a:gd name="T7" fmla="*/ 0 h 1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8" h="133">
                <a:moveTo>
                  <a:pt x="78" y="0"/>
                </a:moveTo>
                <a:lnTo>
                  <a:pt x="0" y="133"/>
                </a:lnTo>
                <a:lnTo>
                  <a:pt x="0" y="133"/>
                </a:lnTo>
                <a:lnTo>
                  <a:pt x="78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38" name="Freeform 99">
            <a:extLst>
              <a:ext uri="{FF2B5EF4-FFF2-40B4-BE49-F238E27FC236}">
                <a16:creationId xmlns:a16="http://schemas.microsoft.com/office/drawing/2014/main" id="{14B43277-81B3-04A0-B40A-3DFEA641ED98}"/>
              </a:ext>
            </a:extLst>
          </p:cNvPr>
          <p:cNvSpPr>
            <a:spLocks/>
          </p:cNvSpPr>
          <p:nvPr/>
        </p:nvSpPr>
        <p:spPr bwMode="auto">
          <a:xfrm>
            <a:off x="5963650" y="4201226"/>
            <a:ext cx="57868" cy="98673"/>
          </a:xfrm>
          <a:custGeom>
            <a:avLst/>
            <a:gdLst>
              <a:gd name="T0" fmla="*/ 78 w 78"/>
              <a:gd name="T1" fmla="*/ 0 h 133"/>
              <a:gd name="T2" fmla="*/ 0 w 78"/>
              <a:gd name="T3" fmla="*/ 133 h 133"/>
              <a:gd name="T4" fmla="*/ 0 w 78"/>
              <a:gd name="T5" fmla="*/ 133 h 133"/>
              <a:gd name="T6" fmla="*/ 78 w 78"/>
              <a:gd name="T7" fmla="*/ 0 h 1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8" h="133">
                <a:moveTo>
                  <a:pt x="78" y="0"/>
                </a:moveTo>
                <a:lnTo>
                  <a:pt x="0" y="133"/>
                </a:lnTo>
                <a:lnTo>
                  <a:pt x="0" y="133"/>
                </a:lnTo>
                <a:lnTo>
                  <a:pt x="78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39" name="Freeform 100">
            <a:extLst>
              <a:ext uri="{FF2B5EF4-FFF2-40B4-BE49-F238E27FC236}">
                <a16:creationId xmlns:a16="http://schemas.microsoft.com/office/drawing/2014/main" id="{B40E9BAA-9DD6-902B-EA4D-9A2BE6F9941D}"/>
              </a:ext>
            </a:extLst>
          </p:cNvPr>
          <p:cNvSpPr>
            <a:spLocks/>
          </p:cNvSpPr>
          <p:nvPr/>
        </p:nvSpPr>
        <p:spPr bwMode="auto">
          <a:xfrm>
            <a:off x="5427997" y="4201226"/>
            <a:ext cx="593522" cy="98673"/>
          </a:xfrm>
          <a:custGeom>
            <a:avLst/>
            <a:gdLst>
              <a:gd name="T0" fmla="*/ 800 w 800"/>
              <a:gd name="T1" fmla="*/ 0 h 133"/>
              <a:gd name="T2" fmla="*/ 0 w 800"/>
              <a:gd name="T3" fmla="*/ 0 h 133"/>
              <a:gd name="T4" fmla="*/ 722 w 800"/>
              <a:gd name="T5" fmla="*/ 133 h 133"/>
              <a:gd name="T6" fmla="*/ 800 w 800"/>
              <a:gd name="T7" fmla="*/ 0 h 1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00" h="133">
                <a:moveTo>
                  <a:pt x="800" y="0"/>
                </a:moveTo>
                <a:lnTo>
                  <a:pt x="0" y="0"/>
                </a:lnTo>
                <a:lnTo>
                  <a:pt x="722" y="133"/>
                </a:lnTo>
                <a:lnTo>
                  <a:pt x="80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40" name="Freeform 101">
            <a:extLst>
              <a:ext uri="{FF2B5EF4-FFF2-40B4-BE49-F238E27FC236}">
                <a16:creationId xmlns:a16="http://schemas.microsoft.com/office/drawing/2014/main" id="{228C4262-3831-9D32-E84B-A347F3DBD672}"/>
              </a:ext>
            </a:extLst>
          </p:cNvPr>
          <p:cNvSpPr>
            <a:spLocks/>
          </p:cNvSpPr>
          <p:nvPr/>
        </p:nvSpPr>
        <p:spPr bwMode="auto">
          <a:xfrm>
            <a:off x="6385051" y="4201226"/>
            <a:ext cx="114253" cy="0"/>
          </a:xfrm>
          <a:custGeom>
            <a:avLst/>
            <a:gdLst>
              <a:gd name="T0" fmla="*/ 0 w 154"/>
              <a:gd name="T1" fmla="*/ 0 w 154"/>
              <a:gd name="T2" fmla="*/ 154 w 154"/>
              <a:gd name="T3" fmla="*/ 0 w 154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  <a:cxn ang="0">
                <a:pos x="T3" y="0"/>
              </a:cxn>
            </a:cxnLst>
            <a:rect l="0" t="0" r="r" b="b"/>
            <a:pathLst>
              <a:path w="154">
                <a:moveTo>
                  <a:pt x="0" y="0"/>
                </a:moveTo>
                <a:lnTo>
                  <a:pt x="0" y="0"/>
                </a:lnTo>
                <a:lnTo>
                  <a:pt x="154" y="0"/>
                </a:lnTo>
                <a:lnTo>
                  <a:pt x="0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41" name="Freeform 102">
            <a:extLst>
              <a:ext uri="{FF2B5EF4-FFF2-40B4-BE49-F238E27FC236}">
                <a16:creationId xmlns:a16="http://schemas.microsoft.com/office/drawing/2014/main" id="{19C0E7DF-C990-14B7-3AA4-20DD3BC6D5BC}"/>
              </a:ext>
            </a:extLst>
          </p:cNvPr>
          <p:cNvSpPr>
            <a:spLocks/>
          </p:cNvSpPr>
          <p:nvPr/>
        </p:nvSpPr>
        <p:spPr bwMode="auto">
          <a:xfrm>
            <a:off x="6385051" y="4201226"/>
            <a:ext cx="114253" cy="0"/>
          </a:xfrm>
          <a:custGeom>
            <a:avLst/>
            <a:gdLst>
              <a:gd name="T0" fmla="*/ 0 w 154"/>
              <a:gd name="T1" fmla="*/ 0 w 154"/>
              <a:gd name="T2" fmla="*/ 154 w 154"/>
              <a:gd name="T3" fmla="*/ 0 w 154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  <a:cxn ang="0">
                <a:pos x="T3" y="0"/>
              </a:cxn>
            </a:cxnLst>
            <a:rect l="0" t="0" r="r" b="b"/>
            <a:pathLst>
              <a:path w="154">
                <a:moveTo>
                  <a:pt x="0" y="0"/>
                </a:moveTo>
                <a:lnTo>
                  <a:pt x="0" y="0"/>
                </a:lnTo>
                <a:lnTo>
                  <a:pt x="154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42" name="Freeform 103">
            <a:extLst>
              <a:ext uri="{FF2B5EF4-FFF2-40B4-BE49-F238E27FC236}">
                <a16:creationId xmlns:a16="http://schemas.microsoft.com/office/drawing/2014/main" id="{1E8DBB07-B213-F12D-DB6E-659621B8B610}"/>
              </a:ext>
            </a:extLst>
          </p:cNvPr>
          <p:cNvSpPr>
            <a:spLocks/>
          </p:cNvSpPr>
          <p:nvPr/>
        </p:nvSpPr>
        <p:spPr bwMode="auto">
          <a:xfrm>
            <a:off x="6202543" y="3688572"/>
            <a:ext cx="296761" cy="512655"/>
          </a:xfrm>
          <a:custGeom>
            <a:avLst/>
            <a:gdLst>
              <a:gd name="T0" fmla="*/ 0 w 400"/>
              <a:gd name="T1" fmla="*/ 0 h 691"/>
              <a:gd name="T2" fmla="*/ 246 w 400"/>
              <a:gd name="T3" fmla="*/ 691 h 691"/>
              <a:gd name="T4" fmla="*/ 400 w 400"/>
              <a:gd name="T5" fmla="*/ 691 h 691"/>
              <a:gd name="T6" fmla="*/ 182 w 400"/>
              <a:gd name="T7" fmla="*/ 315 h 691"/>
              <a:gd name="T8" fmla="*/ 0 w 400"/>
              <a:gd name="T9" fmla="*/ 0 h 6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00" h="691">
                <a:moveTo>
                  <a:pt x="0" y="0"/>
                </a:moveTo>
                <a:lnTo>
                  <a:pt x="246" y="691"/>
                </a:lnTo>
                <a:lnTo>
                  <a:pt x="400" y="691"/>
                </a:lnTo>
                <a:lnTo>
                  <a:pt x="182" y="315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43" name="Freeform 107">
            <a:extLst>
              <a:ext uri="{FF2B5EF4-FFF2-40B4-BE49-F238E27FC236}">
                <a16:creationId xmlns:a16="http://schemas.microsoft.com/office/drawing/2014/main" id="{88C03786-40F7-6C87-836D-556720743485}"/>
              </a:ext>
            </a:extLst>
          </p:cNvPr>
          <p:cNvSpPr>
            <a:spLocks/>
          </p:cNvSpPr>
          <p:nvPr/>
        </p:nvSpPr>
        <p:spPr bwMode="auto">
          <a:xfrm>
            <a:off x="5072572" y="3603766"/>
            <a:ext cx="1296103" cy="776030"/>
          </a:xfrm>
          <a:custGeom>
            <a:avLst/>
            <a:gdLst>
              <a:gd name="T0" fmla="*/ 569 w 738"/>
              <a:gd name="T1" fmla="*/ 73 h 442"/>
              <a:gd name="T2" fmla="*/ 438 w 738"/>
              <a:gd name="T3" fmla="*/ 0 h 442"/>
              <a:gd name="T4" fmla="*/ 335 w 738"/>
              <a:gd name="T5" fmla="*/ 0 h 442"/>
              <a:gd name="T6" fmla="*/ 215 w 738"/>
              <a:gd name="T7" fmla="*/ 69 h 442"/>
              <a:gd name="T8" fmla="*/ 0 w 738"/>
              <a:gd name="T9" fmla="*/ 442 h 442"/>
              <a:gd name="T10" fmla="*/ 128 w 738"/>
              <a:gd name="T11" fmla="*/ 365 h 442"/>
              <a:gd name="T12" fmla="*/ 738 w 738"/>
              <a:gd name="T13" fmla="*/ 365 h 442"/>
              <a:gd name="T14" fmla="*/ 569 w 738"/>
              <a:gd name="T15" fmla="*/ 73 h 4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38" h="442">
                <a:moveTo>
                  <a:pt x="569" y="73"/>
                </a:moveTo>
                <a:cubicBezTo>
                  <a:pt x="542" y="29"/>
                  <a:pt x="493" y="0"/>
                  <a:pt x="438" y="0"/>
                </a:cubicBezTo>
                <a:cubicBezTo>
                  <a:pt x="335" y="0"/>
                  <a:pt x="335" y="0"/>
                  <a:pt x="335" y="0"/>
                </a:cubicBezTo>
                <a:cubicBezTo>
                  <a:pt x="291" y="0"/>
                  <a:pt x="237" y="31"/>
                  <a:pt x="215" y="69"/>
                </a:cubicBezTo>
                <a:cubicBezTo>
                  <a:pt x="0" y="442"/>
                  <a:pt x="0" y="442"/>
                  <a:pt x="0" y="442"/>
                </a:cubicBezTo>
                <a:cubicBezTo>
                  <a:pt x="28" y="394"/>
                  <a:pt x="77" y="367"/>
                  <a:pt x="128" y="365"/>
                </a:cubicBezTo>
                <a:cubicBezTo>
                  <a:pt x="738" y="365"/>
                  <a:pt x="738" y="365"/>
                  <a:pt x="738" y="365"/>
                </a:cubicBezTo>
                <a:cubicBezTo>
                  <a:pt x="569" y="73"/>
                  <a:pt x="569" y="73"/>
                  <a:pt x="569" y="73"/>
                </a:cubicBezTo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44" name="Freeform 108">
            <a:extLst>
              <a:ext uri="{FF2B5EF4-FFF2-40B4-BE49-F238E27FC236}">
                <a16:creationId xmlns:a16="http://schemas.microsoft.com/office/drawing/2014/main" id="{FED688F0-20EF-62C7-A3F8-29B33160FD65}"/>
              </a:ext>
            </a:extLst>
          </p:cNvPr>
          <p:cNvSpPr>
            <a:spLocks/>
          </p:cNvSpPr>
          <p:nvPr/>
        </p:nvSpPr>
        <p:spPr bwMode="auto">
          <a:xfrm>
            <a:off x="6071914" y="3732115"/>
            <a:ext cx="296761" cy="512655"/>
          </a:xfrm>
          <a:custGeom>
            <a:avLst/>
            <a:gdLst>
              <a:gd name="T0" fmla="*/ 0 w 400"/>
              <a:gd name="T1" fmla="*/ 0 h 691"/>
              <a:gd name="T2" fmla="*/ 246 w 400"/>
              <a:gd name="T3" fmla="*/ 691 h 691"/>
              <a:gd name="T4" fmla="*/ 400 w 400"/>
              <a:gd name="T5" fmla="*/ 691 h 691"/>
              <a:gd name="T6" fmla="*/ 182 w 400"/>
              <a:gd name="T7" fmla="*/ 315 h 691"/>
              <a:gd name="T8" fmla="*/ 0 w 400"/>
              <a:gd name="T9" fmla="*/ 0 h 6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00" h="691">
                <a:moveTo>
                  <a:pt x="0" y="0"/>
                </a:moveTo>
                <a:lnTo>
                  <a:pt x="246" y="691"/>
                </a:lnTo>
                <a:lnTo>
                  <a:pt x="400" y="691"/>
                </a:lnTo>
                <a:lnTo>
                  <a:pt x="182" y="315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lumMod val="95000"/>
              <a:lumOff val="5000"/>
              <a:alpha val="1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06" name="Freeform 113">
            <a:extLst>
              <a:ext uri="{FF2B5EF4-FFF2-40B4-BE49-F238E27FC236}">
                <a16:creationId xmlns:a16="http://schemas.microsoft.com/office/drawing/2014/main" id="{DE84D148-3834-5C2D-D49D-FC2830E8989D}"/>
              </a:ext>
            </a:extLst>
          </p:cNvPr>
          <p:cNvSpPr>
            <a:spLocks/>
          </p:cNvSpPr>
          <p:nvPr/>
        </p:nvSpPr>
        <p:spPr bwMode="auto">
          <a:xfrm>
            <a:off x="5841925" y="3603766"/>
            <a:ext cx="1104693" cy="1054244"/>
          </a:xfrm>
          <a:custGeom>
            <a:avLst/>
            <a:gdLst>
              <a:gd name="T0" fmla="*/ 604 w 629"/>
              <a:gd name="T1" fmla="*/ 308 h 600"/>
              <a:gd name="T2" fmla="*/ 602 w 629"/>
              <a:gd name="T3" fmla="*/ 158 h 600"/>
              <a:gd name="T4" fmla="*/ 550 w 629"/>
              <a:gd name="T5" fmla="*/ 69 h 600"/>
              <a:gd name="T6" fmla="*/ 430 w 629"/>
              <a:gd name="T7" fmla="*/ 0 h 600"/>
              <a:gd name="T8" fmla="*/ 0 w 629"/>
              <a:gd name="T9" fmla="*/ 0 h 600"/>
              <a:gd name="T10" fmla="*/ 131 w 629"/>
              <a:gd name="T11" fmla="*/ 73 h 600"/>
              <a:gd name="T12" fmla="*/ 436 w 629"/>
              <a:gd name="T13" fmla="*/ 600 h 600"/>
              <a:gd name="T14" fmla="*/ 604 w 629"/>
              <a:gd name="T15" fmla="*/ 308 h 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629" h="600">
                <a:moveTo>
                  <a:pt x="604" y="308"/>
                </a:moveTo>
                <a:cubicBezTo>
                  <a:pt x="628" y="262"/>
                  <a:pt x="629" y="206"/>
                  <a:pt x="602" y="158"/>
                </a:cubicBezTo>
                <a:cubicBezTo>
                  <a:pt x="550" y="69"/>
                  <a:pt x="550" y="69"/>
                  <a:pt x="550" y="69"/>
                </a:cubicBezTo>
                <a:cubicBezTo>
                  <a:pt x="528" y="31"/>
                  <a:pt x="474" y="0"/>
                  <a:pt x="430" y="0"/>
                </a:cubicBezTo>
                <a:cubicBezTo>
                  <a:pt x="0" y="0"/>
                  <a:pt x="0" y="0"/>
                  <a:pt x="0" y="0"/>
                </a:cubicBezTo>
                <a:cubicBezTo>
                  <a:pt x="55" y="0"/>
                  <a:pt x="104" y="29"/>
                  <a:pt x="131" y="73"/>
                </a:cubicBezTo>
                <a:cubicBezTo>
                  <a:pt x="436" y="600"/>
                  <a:pt x="436" y="600"/>
                  <a:pt x="436" y="600"/>
                </a:cubicBezTo>
                <a:cubicBezTo>
                  <a:pt x="604" y="308"/>
                  <a:pt x="604" y="308"/>
                  <a:pt x="604" y="308"/>
                </a:cubicBezTo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07" name="Freeform 114">
            <a:extLst>
              <a:ext uri="{FF2B5EF4-FFF2-40B4-BE49-F238E27FC236}">
                <a16:creationId xmlns:a16="http://schemas.microsoft.com/office/drawing/2014/main" id="{F80FABCC-2D0A-A0A3-C14C-FBDB06CA9122}"/>
              </a:ext>
            </a:extLst>
          </p:cNvPr>
          <p:cNvSpPr>
            <a:spLocks/>
          </p:cNvSpPr>
          <p:nvPr/>
        </p:nvSpPr>
        <p:spPr bwMode="auto">
          <a:xfrm>
            <a:off x="6549699" y="4144613"/>
            <a:ext cx="353146" cy="513396"/>
          </a:xfrm>
          <a:custGeom>
            <a:avLst/>
            <a:gdLst>
              <a:gd name="T0" fmla="*/ 476 w 476"/>
              <a:gd name="T1" fmla="*/ 0 h 692"/>
              <a:gd name="T2" fmla="*/ 0 w 476"/>
              <a:gd name="T3" fmla="*/ 559 h 692"/>
              <a:gd name="T4" fmla="*/ 78 w 476"/>
              <a:gd name="T5" fmla="*/ 692 h 692"/>
              <a:gd name="T6" fmla="*/ 476 w 476"/>
              <a:gd name="T7" fmla="*/ 0 h 6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76" h="692">
                <a:moveTo>
                  <a:pt x="476" y="0"/>
                </a:moveTo>
                <a:lnTo>
                  <a:pt x="0" y="559"/>
                </a:lnTo>
                <a:lnTo>
                  <a:pt x="78" y="692"/>
                </a:lnTo>
                <a:lnTo>
                  <a:pt x="476" y="0"/>
                </a:lnTo>
                <a:close/>
              </a:path>
            </a:pathLst>
          </a:custGeom>
          <a:solidFill>
            <a:schemeClr val="tx1">
              <a:lumMod val="85000"/>
              <a:lumOff val="15000"/>
              <a:alpha val="9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08" name="Freeform 118">
            <a:extLst>
              <a:ext uri="{FF2B5EF4-FFF2-40B4-BE49-F238E27FC236}">
                <a16:creationId xmlns:a16="http://schemas.microsoft.com/office/drawing/2014/main" id="{4322FB64-72A3-2CFD-EED1-C310AA8E1AB3}"/>
              </a:ext>
            </a:extLst>
          </p:cNvPr>
          <p:cNvSpPr>
            <a:spLocks/>
          </p:cNvSpPr>
          <p:nvPr/>
        </p:nvSpPr>
        <p:spPr bwMode="auto">
          <a:xfrm>
            <a:off x="6368675" y="3881237"/>
            <a:ext cx="946667" cy="1191495"/>
          </a:xfrm>
          <a:custGeom>
            <a:avLst/>
            <a:gdLst>
              <a:gd name="T0" fmla="*/ 337 w 539"/>
              <a:gd name="T1" fmla="*/ 678 h 678"/>
              <a:gd name="T2" fmla="*/ 466 w 539"/>
              <a:gd name="T3" fmla="*/ 600 h 678"/>
              <a:gd name="T4" fmla="*/ 517 w 539"/>
              <a:gd name="T5" fmla="*/ 511 h 678"/>
              <a:gd name="T6" fmla="*/ 517 w 539"/>
              <a:gd name="T7" fmla="*/ 373 h 678"/>
              <a:gd name="T8" fmla="*/ 302 w 539"/>
              <a:gd name="T9" fmla="*/ 0 h 678"/>
              <a:gd name="T10" fmla="*/ 304 w 539"/>
              <a:gd name="T11" fmla="*/ 150 h 678"/>
              <a:gd name="T12" fmla="*/ 0 w 539"/>
              <a:gd name="T13" fmla="*/ 678 h 678"/>
              <a:gd name="T14" fmla="*/ 337 w 539"/>
              <a:gd name="T15" fmla="*/ 678 h 6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39" h="678">
                <a:moveTo>
                  <a:pt x="337" y="678"/>
                </a:moveTo>
                <a:cubicBezTo>
                  <a:pt x="389" y="676"/>
                  <a:pt x="438" y="648"/>
                  <a:pt x="466" y="600"/>
                </a:cubicBezTo>
                <a:cubicBezTo>
                  <a:pt x="517" y="511"/>
                  <a:pt x="517" y="511"/>
                  <a:pt x="517" y="511"/>
                </a:cubicBezTo>
                <a:cubicBezTo>
                  <a:pt x="539" y="473"/>
                  <a:pt x="539" y="411"/>
                  <a:pt x="517" y="373"/>
                </a:cubicBezTo>
                <a:cubicBezTo>
                  <a:pt x="302" y="0"/>
                  <a:pt x="302" y="0"/>
                  <a:pt x="302" y="0"/>
                </a:cubicBezTo>
                <a:cubicBezTo>
                  <a:pt x="329" y="48"/>
                  <a:pt x="328" y="104"/>
                  <a:pt x="304" y="150"/>
                </a:cubicBezTo>
                <a:cubicBezTo>
                  <a:pt x="0" y="678"/>
                  <a:pt x="0" y="678"/>
                  <a:pt x="0" y="678"/>
                </a:cubicBezTo>
                <a:cubicBezTo>
                  <a:pt x="337" y="678"/>
                  <a:pt x="337" y="678"/>
                  <a:pt x="337" y="678"/>
                </a:cubicBezTo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09" name="Freeform 119">
            <a:extLst>
              <a:ext uri="{FF2B5EF4-FFF2-40B4-BE49-F238E27FC236}">
                <a16:creationId xmlns:a16="http://schemas.microsoft.com/office/drawing/2014/main" id="{F58F1900-1B62-7BD5-3C79-6432266102DD}"/>
              </a:ext>
            </a:extLst>
          </p:cNvPr>
          <p:cNvSpPr>
            <a:spLocks/>
          </p:cNvSpPr>
          <p:nvPr/>
        </p:nvSpPr>
        <p:spPr bwMode="auto">
          <a:xfrm>
            <a:off x="6368675" y="4972576"/>
            <a:ext cx="592038" cy="100157"/>
          </a:xfrm>
          <a:custGeom>
            <a:avLst/>
            <a:gdLst>
              <a:gd name="T0" fmla="*/ 76 w 798"/>
              <a:gd name="T1" fmla="*/ 0 h 135"/>
              <a:gd name="T2" fmla="*/ 0 w 798"/>
              <a:gd name="T3" fmla="*/ 135 h 135"/>
              <a:gd name="T4" fmla="*/ 798 w 798"/>
              <a:gd name="T5" fmla="*/ 135 h 135"/>
              <a:gd name="T6" fmla="*/ 76 w 798"/>
              <a:gd name="T7" fmla="*/ 0 h 1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98" h="135">
                <a:moveTo>
                  <a:pt x="76" y="0"/>
                </a:moveTo>
                <a:lnTo>
                  <a:pt x="0" y="135"/>
                </a:lnTo>
                <a:lnTo>
                  <a:pt x="798" y="135"/>
                </a:lnTo>
                <a:lnTo>
                  <a:pt x="76" y="0"/>
                </a:lnTo>
                <a:close/>
              </a:path>
            </a:pathLst>
          </a:custGeom>
          <a:solidFill>
            <a:schemeClr val="tx1">
              <a:lumMod val="95000"/>
              <a:lumOff val="5000"/>
              <a:alpha val="1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10" name="Freeform 123">
            <a:extLst>
              <a:ext uri="{FF2B5EF4-FFF2-40B4-BE49-F238E27FC236}">
                <a16:creationId xmlns:a16="http://schemas.microsoft.com/office/drawing/2014/main" id="{FF4197AA-F6FB-F497-9FDA-C862EAF695A5}"/>
              </a:ext>
            </a:extLst>
          </p:cNvPr>
          <p:cNvSpPr>
            <a:spLocks/>
          </p:cNvSpPr>
          <p:nvPr/>
        </p:nvSpPr>
        <p:spPr bwMode="auto">
          <a:xfrm>
            <a:off x="5890890" y="4935481"/>
            <a:ext cx="1296103" cy="776772"/>
          </a:xfrm>
          <a:custGeom>
            <a:avLst/>
            <a:gdLst>
              <a:gd name="T0" fmla="*/ 168 w 738"/>
              <a:gd name="T1" fmla="*/ 370 h 442"/>
              <a:gd name="T2" fmla="*/ 300 w 738"/>
              <a:gd name="T3" fmla="*/ 442 h 442"/>
              <a:gd name="T4" fmla="*/ 402 w 738"/>
              <a:gd name="T5" fmla="*/ 442 h 442"/>
              <a:gd name="T6" fmla="*/ 522 w 738"/>
              <a:gd name="T7" fmla="*/ 373 h 442"/>
              <a:gd name="T8" fmla="*/ 738 w 738"/>
              <a:gd name="T9" fmla="*/ 0 h 442"/>
              <a:gd name="T10" fmla="*/ 609 w 738"/>
              <a:gd name="T11" fmla="*/ 78 h 442"/>
              <a:gd name="T12" fmla="*/ 0 w 738"/>
              <a:gd name="T13" fmla="*/ 78 h 442"/>
              <a:gd name="T14" fmla="*/ 168 w 738"/>
              <a:gd name="T15" fmla="*/ 370 h 4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38" h="442">
                <a:moveTo>
                  <a:pt x="168" y="370"/>
                </a:moveTo>
                <a:cubicBezTo>
                  <a:pt x="196" y="413"/>
                  <a:pt x="244" y="442"/>
                  <a:pt x="300" y="442"/>
                </a:cubicBezTo>
                <a:cubicBezTo>
                  <a:pt x="402" y="442"/>
                  <a:pt x="402" y="442"/>
                  <a:pt x="402" y="442"/>
                </a:cubicBezTo>
                <a:cubicBezTo>
                  <a:pt x="446" y="442"/>
                  <a:pt x="500" y="411"/>
                  <a:pt x="522" y="373"/>
                </a:cubicBezTo>
                <a:cubicBezTo>
                  <a:pt x="738" y="0"/>
                  <a:pt x="738" y="0"/>
                  <a:pt x="738" y="0"/>
                </a:cubicBezTo>
                <a:cubicBezTo>
                  <a:pt x="710" y="48"/>
                  <a:pt x="661" y="76"/>
                  <a:pt x="609" y="78"/>
                </a:cubicBezTo>
                <a:cubicBezTo>
                  <a:pt x="0" y="78"/>
                  <a:pt x="0" y="78"/>
                  <a:pt x="0" y="78"/>
                </a:cubicBezTo>
                <a:cubicBezTo>
                  <a:pt x="168" y="370"/>
                  <a:pt x="168" y="370"/>
                  <a:pt x="168" y="370"/>
                </a:cubicBezTo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11" name="Freeform 124">
            <a:extLst>
              <a:ext uri="{FF2B5EF4-FFF2-40B4-BE49-F238E27FC236}">
                <a16:creationId xmlns:a16="http://schemas.microsoft.com/office/drawing/2014/main" id="{08AA1EA4-0AD3-F7FF-D149-F42AA128DB34}"/>
              </a:ext>
            </a:extLst>
          </p:cNvPr>
          <p:cNvSpPr>
            <a:spLocks/>
          </p:cNvSpPr>
          <p:nvPr/>
        </p:nvSpPr>
        <p:spPr bwMode="auto">
          <a:xfrm>
            <a:off x="5890890" y="5072732"/>
            <a:ext cx="295277" cy="512655"/>
          </a:xfrm>
          <a:custGeom>
            <a:avLst/>
            <a:gdLst>
              <a:gd name="T0" fmla="*/ 0 w 398"/>
              <a:gd name="T1" fmla="*/ 0 h 691"/>
              <a:gd name="T2" fmla="*/ 5 w 398"/>
              <a:gd name="T3" fmla="*/ 7 h 691"/>
              <a:gd name="T4" fmla="*/ 398 w 398"/>
              <a:gd name="T5" fmla="*/ 691 h 691"/>
              <a:gd name="T6" fmla="*/ 154 w 398"/>
              <a:gd name="T7" fmla="*/ 0 h 691"/>
              <a:gd name="T8" fmla="*/ 0 w 398"/>
              <a:gd name="T9" fmla="*/ 0 h 6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98" h="691">
                <a:moveTo>
                  <a:pt x="0" y="0"/>
                </a:moveTo>
                <a:lnTo>
                  <a:pt x="5" y="7"/>
                </a:lnTo>
                <a:lnTo>
                  <a:pt x="398" y="691"/>
                </a:lnTo>
                <a:lnTo>
                  <a:pt x="154" y="0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lumMod val="85000"/>
              <a:lumOff val="15000"/>
              <a:alpha val="9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12" name="Freeform 128">
            <a:extLst>
              <a:ext uri="{FF2B5EF4-FFF2-40B4-BE49-F238E27FC236}">
                <a16:creationId xmlns:a16="http://schemas.microsoft.com/office/drawing/2014/main" id="{83B273C9-38A4-92B9-76BB-B6BBA2CA5F5C}"/>
              </a:ext>
            </a:extLst>
          </p:cNvPr>
          <p:cNvSpPr>
            <a:spLocks/>
          </p:cNvSpPr>
          <p:nvPr/>
        </p:nvSpPr>
        <p:spPr bwMode="auto">
          <a:xfrm>
            <a:off x="5311465" y="4658009"/>
            <a:ext cx="1106177" cy="1054244"/>
          </a:xfrm>
          <a:custGeom>
            <a:avLst/>
            <a:gdLst>
              <a:gd name="T0" fmla="*/ 25 w 630"/>
              <a:gd name="T1" fmla="*/ 292 h 600"/>
              <a:gd name="T2" fmla="*/ 28 w 630"/>
              <a:gd name="T3" fmla="*/ 442 h 600"/>
              <a:gd name="T4" fmla="*/ 79 w 630"/>
              <a:gd name="T5" fmla="*/ 531 h 600"/>
              <a:gd name="T6" fmla="*/ 199 w 630"/>
              <a:gd name="T7" fmla="*/ 600 h 600"/>
              <a:gd name="T8" fmla="*/ 630 w 630"/>
              <a:gd name="T9" fmla="*/ 600 h 600"/>
              <a:gd name="T10" fmla="*/ 498 w 630"/>
              <a:gd name="T11" fmla="*/ 528 h 600"/>
              <a:gd name="T12" fmla="*/ 194 w 630"/>
              <a:gd name="T13" fmla="*/ 0 h 600"/>
              <a:gd name="T14" fmla="*/ 25 w 630"/>
              <a:gd name="T15" fmla="*/ 292 h 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630" h="600">
                <a:moveTo>
                  <a:pt x="25" y="292"/>
                </a:moveTo>
                <a:cubicBezTo>
                  <a:pt x="1" y="338"/>
                  <a:pt x="0" y="394"/>
                  <a:pt x="28" y="442"/>
                </a:cubicBezTo>
                <a:cubicBezTo>
                  <a:pt x="79" y="531"/>
                  <a:pt x="79" y="531"/>
                  <a:pt x="79" y="531"/>
                </a:cubicBezTo>
                <a:cubicBezTo>
                  <a:pt x="101" y="569"/>
                  <a:pt x="155" y="600"/>
                  <a:pt x="199" y="600"/>
                </a:cubicBezTo>
                <a:cubicBezTo>
                  <a:pt x="630" y="600"/>
                  <a:pt x="630" y="600"/>
                  <a:pt x="630" y="600"/>
                </a:cubicBezTo>
                <a:cubicBezTo>
                  <a:pt x="574" y="600"/>
                  <a:pt x="526" y="571"/>
                  <a:pt x="498" y="528"/>
                </a:cubicBezTo>
                <a:cubicBezTo>
                  <a:pt x="194" y="0"/>
                  <a:pt x="194" y="0"/>
                  <a:pt x="194" y="0"/>
                </a:cubicBezTo>
                <a:cubicBezTo>
                  <a:pt x="25" y="292"/>
                  <a:pt x="25" y="292"/>
                  <a:pt x="25" y="292"/>
                </a:cubicBezTo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13" name="Freeform 129">
            <a:extLst>
              <a:ext uri="{FF2B5EF4-FFF2-40B4-BE49-F238E27FC236}">
                <a16:creationId xmlns:a16="http://schemas.microsoft.com/office/drawing/2014/main" id="{BB86FC17-4885-2098-C482-D60BA6BBBEF7}"/>
              </a:ext>
            </a:extLst>
          </p:cNvPr>
          <p:cNvSpPr>
            <a:spLocks/>
          </p:cNvSpPr>
          <p:nvPr/>
        </p:nvSpPr>
        <p:spPr bwMode="auto">
          <a:xfrm>
            <a:off x="5355236" y="4658009"/>
            <a:ext cx="353146" cy="512655"/>
          </a:xfrm>
          <a:custGeom>
            <a:avLst/>
            <a:gdLst>
              <a:gd name="T0" fmla="*/ 400 w 476"/>
              <a:gd name="T1" fmla="*/ 0 h 691"/>
              <a:gd name="T2" fmla="*/ 0 w 476"/>
              <a:gd name="T3" fmla="*/ 691 h 691"/>
              <a:gd name="T4" fmla="*/ 476 w 476"/>
              <a:gd name="T5" fmla="*/ 132 h 691"/>
              <a:gd name="T6" fmla="*/ 400 w 476"/>
              <a:gd name="T7" fmla="*/ 0 h 6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76" h="691">
                <a:moveTo>
                  <a:pt x="400" y="0"/>
                </a:moveTo>
                <a:lnTo>
                  <a:pt x="0" y="691"/>
                </a:lnTo>
                <a:lnTo>
                  <a:pt x="476" y="132"/>
                </a:lnTo>
                <a:lnTo>
                  <a:pt x="400" y="0"/>
                </a:lnTo>
                <a:close/>
              </a:path>
            </a:pathLst>
          </a:custGeom>
          <a:solidFill>
            <a:schemeClr val="tx1">
              <a:lumMod val="95000"/>
              <a:lumOff val="5000"/>
              <a:alpha val="1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14" name="Freeform 133">
            <a:extLst>
              <a:ext uri="{FF2B5EF4-FFF2-40B4-BE49-F238E27FC236}">
                <a16:creationId xmlns:a16="http://schemas.microsoft.com/office/drawing/2014/main" id="{EECE1C22-7FA2-160B-C94B-7DCB004A6859}"/>
              </a:ext>
            </a:extLst>
          </p:cNvPr>
          <p:cNvSpPr>
            <a:spLocks/>
          </p:cNvSpPr>
          <p:nvPr/>
        </p:nvSpPr>
        <p:spPr bwMode="auto">
          <a:xfrm>
            <a:off x="4944222" y="4244769"/>
            <a:ext cx="946667" cy="1189269"/>
          </a:xfrm>
          <a:custGeom>
            <a:avLst/>
            <a:gdLst>
              <a:gd name="T0" fmla="*/ 201 w 539"/>
              <a:gd name="T1" fmla="*/ 0 h 677"/>
              <a:gd name="T2" fmla="*/ 73 w 539"/>
              <a:gd name="T3" fmla="*/ 77 h 677"/>
              <a:gd name="T4" fmla="*/ 22 w 539"/>
              <a:gd name="T5" fmla="*/ 166 h 677"/>
              <a:gd name="T6" fmla="*/ 22 w 539"/>
              <a:gd name="T7" fmla="*/ 304 h 677"/>
              <a:gd name="T8" fmla="*/ 237 w 539"/>
              <a:gd name="T9" fmla="*/ 677 h 677"/>
              <a:gd name="T10" fmla="*/ 234 w 539"/>
              <a:gd name="T11" fmla="*/ 527 h 677"/>
              <a:gd name="T12" fmla="*/ 539 w 539"/>
              <a:gd name="T13" fmla="*/ 0 h 677"/>
              <a:gd name="T14" fmla="*/ 201 w 539"/>
              <a:gd name="T15" fmla="*/ 0 h 6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39" h="677">
                <a:moveTo>
                  <a:pt x="201" y="0"/>
                </a:moveTo>
                <a:cubicBezTo>
                  <a:pt x="150" y="2"/>
                  <a:pt x="101" y="29"/>
                  <a:pt x="73" y="77"/>
                </a:cubicBezTo>
                <a:cubicBezTo>
                  <a:pt x="22" y="166"/>
                  <a:pt x="22" y="166"/>
                  <a:pt x="22" y="166"/>
                </a:cubicBezTo>
                <a:cubicBezTo>
                  <a:pt x="0" y="204"/>
                  <a:pt x="0" y="266"/>
                  <a:pt x="22" y="304"/>
                </a:cubicBezTo>
                <a:cubicBezTo>
                  <a:pt x="237" y="677"/>
                  <a:pt x="237" y="677"/>
                  <a:pt x="237" y="677"/>
                </a:cubicBezTo>
                <a:cubicBezTo>
                  <a:pt x="209" y="629"/>
                  <a:pt x="210" y="573"/>
                  <a:pt x="234" y="527"/>
                </a:cubicBezTo>
                <a:cubicBezTo>
                  <a:pt x="539" y="0"/>
                  <a:pt x="539" y="0"/>
                  <a:pt x="539" y="0"/>
                </a:cubicBezTo>
                <a:cubicBezTo>
                  <a:pt x="201" y="0"/>
                  <a:pt x="201" y="0"/>
                  <a:pt x="201" y="0"/>
                </a:cubicBezTo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15" name="Freeform 134">
            <a:extLst>
              <a:ext uri="{FF2B5EF4-FFF2-40B4-BE49-F238E27FC236}">
                <a16:creationId xmlns:a16="http://schemas.microsoft.com/office/drawing/2014/main" id="{83A5E36C-E0CF-8E77-045E-A5C54B69BEB0}"/>
              </a:ext>
            </a:extLst>
          </p:cNvPr>
          <p:cNvSpPr>
            <a:spLocks/>
          </p:cNvSpPr>
          <p:nvPr/>
        </p:nvSpPr>
        <p:spPr bwMode="auto">
          <a:xfrm>
            <a:off x="5297368" y="4244769"/>
            <a:ext cx="593522" cy="98673"/>
          </a:xfrm>
          <a:custGeom>
            <a:avLst/>
            <a:gdLst>
              <a:gd name="T0" fmla="*/ 800 w 800"/>
              <a:gd name="T1" fmla="*/ 0 h 133"/>
              <a:gd name="T2" fmla="*/ 0 w 800"/>
              <a:gd name="T3" fmla="*/ 0 h 133"/>
              <a:gd name="T4" fmla="*/ 722 w 800"/>
              <a:gd name="T5" fmla="*/ 133 h 133"/>
              <a:gd name="T6" fmla="*/ 800 w 800"/>
              <a:gd name="T7" fmla="*/ 0 h 1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00" h="133">
                <a:moveTo>
                  <a:pt x="800" y="0"/>
                </a:moveTo>
                <a:lnTo>
                  <a:pt x="0" y="0"/>
                </a:lnTo>
                <a:lnTo>
                  <a:pt x="722" y="133"/>
                </a:lnTo>
                <a:lnTo>
                  <a:pt x="800" y="0"/>
                </a:lnTo>
                <a:close/>
              </a:path>
            </a:pathLst>
          </a:custGeom>
          <a:solidFill>
            <a:schemeClr val="tx1">
              <a:lumMod val="85000"/>
              <a:lumOff val="15000"/>
              <a:alpha val="9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3" name="Freeform: Shape 1221">
            <a:extLst>
              <a:ext uri="{FF2B5EF4-FFF2-40B4-BE49-F238E27FC236}">
                <a16:creationId xmlns:a16="http://schemas.microsoft.com/office/drawing/2014/main" id="{31AE27A6-D6A2-B486-DEA7-D0FECE0A0367}"/>
              </a:ext>
            </a:extLst>
          </p:cNvPr>
          <p:cNvSpPr/>
          <p:nvPr/>
        </p:nvSpPr>
        <p:spPr>
          <a:xfrm>
            <a:off x="5585033" y="3922862"/>
            <a:ext cx="308706" cy="149232"/>
          </a:xfrm>
          <a:custGeom>
            <a:avLst/>
            <a:gdLst>
              <a:gd name="connsiteX0" fmla="*/ 0 w 3649980"/>
              <a:gd name="connsiteY0" fmla="*/ 1790700 h 1790700"/>
              <a:gd name="connsiteX1" fmla="*/ 342900 w 3649980"/>
              <a:gd name="connsiteY1" fmla="*/ 1440180 h 1790700"/>
              <a:gd name="connsiteX2" fmla="*/ 1859280 w 3649980"/>
              <a:gd name="connsiteY2" fmla="*/ 1440180 h 1790700"/>
              <a:gd name="connsiteX3" fmla="*/ 3589020 w 3649980"/>
              <a:gd name="connsiteY3" fmla="*/ 480060 h 1790700"/>
              <a:gd name="connsiteX4" fmla="*/ 3649980 w 3649980"/>
              <a:gd name="connsiteY4" fmla="*/ 129540 h 1790700"/>
              <a:gd name="connsiteX5" fmla="*/ 3360420 w 3649980"/>
              <a:gd name="connsiteY5" fmla="*/ 0 h 1790700"/>
              <a:gd name="connsiteX6" fmla="*/ 2461260 w 3649980"/>
              <a:gd name="connsiteY6" fmla="*/ 472440 h 1790700"/>
              <a:gd name="connsiteX0" fmla="*/ 0 w 3649980"/>
              <a:gd name="connsiteY0" fmla="*/ 1790700 h 1790700"/>
              <a:gd name="connsiteX1" fmla="*/ 342900 w 3649980"/>
              <a:gd name="connsiteY1" fmla="*/ 1440180 h 1790700"/>
              <a:gd name="connsiteX2" fmla="*/ 1859280 w 3649980"/>
              <a:gd name="connsiteY2" fmla="*/ 1440180 h 1790700"/>
              <a:gd name="connsiteX3" fmla="*/ 3589020 w 3649980"/>
              <a:gd name="connsiteY3" fmla="*/ 480060 h 1790700"/>
              <a:gd name="connsiteX4" fmla="*/ 3649980 w 3649980"/>
              <a:gd name="connsiteY4" fmla="*/ 129540 h 1790700"/>
              <a:gd name="connsiteX5" fmla="*/ 3360420 w 3649980"/>
              <a:gd name="connsiteY5" fmla="*/ 0 h 1790700"/>
              <a:gd name="connsiteX6" fmla="*/ 2461260 w 3649980"/>
              <a:gd name="connsiteY6" fmla="*/ 472440 h 1790700"/>
              <a:gd name="connsiteX0" fmla="*/ 0 w 3670250"/>
              <a:gd name="connsiteY0" fmla="*/ 1790700 h 1790700"/>
              <a:gd name="connsiteX1" fmla="*/ 342900 w 3670250"/>
              <a:gd name="connsiteY1" fmla="*/ 1440180 h 1790700"/>
              <a:gd name="connsiteX2" fmla="*/ 1859280 w 3670250"/>
              <a:gd name="connsiteY2" fmla="*/ 1440180 h 1790700"/>
              <a:gd name="connsiteX3" fmla="*/ 3589020 w 3670250"/>
              <a:gd name="connsiteY3" fmla="*/ 480060 h 1790700"/>
              <a:gd name="connsiteX4" fmla="*/ 3649980 w 3670250"/>
              <a:gd name="connsiteY4" fmla="*/ 129540 h 1790700"/>
              <a:gd name="connsiteX5" fmla="*/ 3360420 w 3670250"/>
              <a:gd name="connsiteY5" fmla="*/ 0 h 1790700"/>
              <a:gd name="connsiteX6" fmla="*/ 2461260 w 3670250"/>
              <a:gd name="connsiteY6" fmla="*/ 472440 h 1790700"/>
              <a:gd name="connsiteX0" fmla="*/ 0 w 3680460"/>
              <a:gd name="connsiteY0" fmla="*/ 1790700 h 1790700"/>
              <a:gd name="connsiteX1" fmla="*/ 342900 w 3680460"/>
              <a:gd name="connsiteY1" fmla="*/ 1440180 h 1790700"/>
              <a:gd name="connsiteX2" fmla="*/ 1859280 w 3680460"/>
              <a:gd name="connsiteY2" fmla="*/ 1440180 h 1790700"/>
              <a:gd name="connsiteX3" fmla="*/ 3589020 w 3680460"/>
              <a:gd name="connsiteY3" fmla="*/ 480060 h 1790700"/>
              <a:gd name="connsiteX4" fmla="*/ 3649980 w 3680460"/>
              <a:gd name="connsiteY4" fmla="*/ 129540 h 1790700"/>
              <a:gd name="connsiteX5" fmla="*/ 3360420 w 3680460"/>
              <a:gd name="connsiteY5" fmla="*/ 0 h 1790700"/>
              <a:gd name="connsiteX6" fmla="*/ 2461260 w 3680460"/>
              <a:gd name="connsiteY6" fmla="*/ 472440 h 1790700"/>
              <a:gd name="connsiteX0" fmla="*/ 0 w 3680460"/>
              <a:gd name="connsiteY0" fmla="*/ 1794613 h 1794613"/>
              <a:gd name="connsiteX1" fmla="*/ 342900 w 3680460"/>
              <a:gd name="connsiteY1" fmla="*/ 1444093 h 1794613"/>
              <a:gd name="connsiteX2" fmla="*/ 1859280 w 3680460"/>
              <a:gd name="connsiteY2" fmla="*/ 1444093 h 1794613"/>
              <a:gd name="connsiteX3" fmla="*/ 3589020 w 3680460"/>
              <a:gd name="connsiteY3" fmla="*/ 483973 h 1794613"/>
              <a:gd name="connsiteX4" fmla="*/ 3649980 w 3680460"/>
              <a:gd name="connsiteY4" fmla="*/ 133453 h 1794613"/>
              <a:gd name="connsiteX5" fmla="*/ 3360420 w 3680460"/>
              <a:gd name="connsiteY5" fmla="*/ 3913 h 1794613"/>
              <a:gd name="connsiteX6" fmla="*/ 2461260 w 3680460"/>
              <a:gd name="connsiteY6" fmla="*/ 476353 h 1794613"/>
              <a:gd name="connsiteX0" fmla="*/ 0 w 3670229"/>
              <a:gd name="connsiteY0" fmla="*/ 1781012 h 1781012"/>
              <a:gd name="connsiteX1" fmla="*/ 342900 w 3670229"/>
              <a:gd name="connsiteY1" fmla="*/ 1430492 h 1781012"/>
              <a:gd name="connsiteX2" fmla="*/ 1859280 w 3670229"/>
              <a:gd name="connsiteY2" fmla="*/ 1430492 h 1781012"/>
              <a:gd name="connsiteX3" fmla="*/ 3589020 w 3670229"/>
              <a:gd name="connsiteY3" fmla="*/ 470372 h 1781012"/>
              <a:gd name="connsiteX4" fmla="*/ 3649980 w 3670229"/>
              <a:gd name="connsiteY4" fmla="*/ 119852 h 1781012"/>
              <a:gd name="connsiteX5" fmla="*/ 3346132 w 3670229"/>
              <a:gd name="connsiteY5" fmla="*/ 2218 h 1781012"/>
              <a:gd name="connsiteX6" fmla="*/ 2461260 w 3670229"/>
              <a:gd name="connsiteY6" fmla="*/ 462752 h 1781012"/>
              <a:gd name="connsiteX0" fmla="*/ 0 w 3670229"/>
              <a:gd name="connsiteY0" fmla="*/ 1786138 h 1786138"/>
              <a:gd name="connsiteX1" fmla="*/ 342900 w 3670229"/>
              <a:gd name="connsiteY1" fmla="*/ 1435618 h 1786138"/>
              <a:gd name="connsiteX2" fmla="*/ 1859280 w 3670229"/>
              <a:gd name="connsiteY2" fmla="*/ 1435618 h 1786138"/>
              <a:gd name="connsiteX3" fmla="*/ 3589020 w 3670229"/>
              <a:gd name="connsiteY3" fmla="*/ 475498 h 1786138"/>
              <a:gd name="connsiteX4" fmla="*/ 3649980 w 3670229"/>
              <a:gd name="connsiteY4" fmla="*/ 124978 h 1786138"/>
              <a:gd name="connsiteX5" fmla="*/ 3346132 w 3670229"/>
              <a:gd name="connsiteY5" fmla="*/ 7344 h 1786138"/>
              <a:gd name="connsiteX6" fmla="*/ 2461260 w 3670229"/>
              <a:gd name="connsiteY6" fmla="*/ 467878 h 1786138"/>
              <a:gd name="connsiteX0" fmla="*/ 0 w 3657088"/>
              <a:gd name="connsiteY0" fmla="*/ 1785508 h 1785508"/>
              <a:gd name="connsiteX1" fmla="*/ 342900 w 3657088"/>
              <a:gd name="connsiteY1" fmla="*/ 1434988 h 1785508"/>
              <a:gd name="connsiteX2" fmla="*/ 1859280 w 3657088"/>
              <a:gd name="connsiteY2" fmla="*/ 1434988 h 1785508"/>
              <a:gd name="connsiteX3" fmla="*/ 3589020 w 3657088"/>
              <a:gd name="connsiteY3" fmla="*/ 474868 h 1785508"/>
              <a:gd name="connsiteX4" fmla="*/ 3630930 w 3657088"/>
              <a:gd name="connsiteY4" fmla="*/ 133873 h 1785508"/>
              <a:gd name="connsiteX5" fmla="*/ 3346132 w 3657088"/>
              <a:gd name="connsiteY5" fmla="*/ 6714 h 1785508"/>
              <a:gd name="connsiteX6" fmla="*/ 2461260 w 3657088"/>
              <a:gd name="connsiteY6" fmla="*/ 467248 h 1785508"/>
              <a:gd name="connsiteX0" fmla="*/ 0 w 3673639"/>
              <a:gd name="connsiteY0" fmla="*/ 1788509 h 1788509"/>
              <a:gd name="connsiteX1" fmla="*/ 342900 w 3673639"/>
              <a:gd name="connsiteY1" fmla="*/ 1437989 h 1788509"/>
              <a:gd name="connsiteX2" fmla="*/ 1859280 w 3673639"/>
              <a:gd name="connsiteY2" fmla="*/ 1437989 h 1788509"/>
              <a:gd name="connsiteX3" fmla="*/ 3589020 w 3673639"/>
              <a:gd name="connsiteY3" fmla="*/ 477869 h 1788509"/>
              <a:gd name="connsiteX4" fmla="*/ 3630930 w 3673639"/>
              <a:gd name="connsiteY4" fmla="*/ 136874 h 1788509"/>
              <a:gd name="connsiteX5" fmla="*/ 3346132 w 3673639"/>
              <a:gd name="connsiteY5" fmla="*/ 9715 h 1788509"/>
              <a:gd name="connsiteX6" fmla="*/ 2461260 w 3673639"/>
              <a:gd name="connsiteY6" fmla="*/ 470249 h 1788509"/>
              <a:gd name="connsiteX0" fmla="*/ 0 w 3653181"/>
              <a:gd name="connsiteY0" fmla="*/ 1785767 h 1785767"/>
              <a:gd name="connsiteX1" fmla="*/ 342900 w 3653181"/>
              <a:gd name="connsiteY1" fmla="*/ 1435247 h 1785767"/>
              <a:gd name="connsiteX2" fmla="*/ 1859280 w 3653181"/>
              <a:gd name="connsiteY2" fmla="*/ 1435247 h 1785767"/>
              <a:gd name="connsiteX3" fmla="*/ 3579495 w 3653181"/>
              <a:gd name="connsiteY3" fmla="*/ 501320 h 1785767"/>
              <a:gd name="connsiteX4" fmla="*/ 3630930 w 3653181"/>
              <a:gd name="connsiteY4" fmla="*/ 134132 h 1785767"/>
              <a:gd name="connsiteX5" fmla="*/ 3346132 w 3653181"/>
              <a:gd name="connsiteY5" fmla="*/ 6973 h 1785767"/>
              <a:gd name="connsiteX6" fmla="*/ 2461260 w 3653181"/>
              <a:gd name="connsiteY6" fmla="*/ 467507 h 1785767"/>
              <a:gd name="connsiteX0" fmla="*/ 0 w 3657884"/>
              <a:gd name="connsiteY0" fmla="*/ 1785767 h 1785767"/>
              <a:gd name="connsiteX1" fmla="*/ 342900 w 3657884"/>
              <a:gd name="connsiteY1" fmla="*/ 1435247 h 1785767"/>
              <a:gd name="connsiteX2" fmla="*/ 1859280 w 3657884"/>
              <a:gd name="connsiteY2" fmla="*/ 1435247 h 1785767"/>
              <a:gd name="connsiteX3" fmla="*/ 3579495 w 3657884"/>
              <a:gd name="connsiteY3" fmla="*/ 501320 h 1785767"/>
              <a:gd name="connsiteX4" fmla="*/ 3630930 w 3657884"/>
              <a:gd name="connsiteY4" fmla="*/ 134132 h 1785767"/>
              <a:gd name="connsiteX5" fmla="*/ 3346132 w 3657884"/>
              <a:gd name="connsiteY5" fmla="*/ 6973 h 1785767"/>
              <a:gd name="connsiteX6" fmla="*/ 2461260 w 3657884"/>
              <a:gd name="connsiteY6" fmla="*/ 467507 h 1785767"/>
              <a:gd name="connsiteX0" fmla="*/ 0 w 3668129"/>
              <a:gd name="connsiteY0" fmla="*/ 1788468 h 1788468"/>
              <a:gd name="connsiteX1" fmla="*/ 342900 w 3668129"/>
              <a:gd name="connsiteY1" fmla="*/ 1437948 h 1788468"/>
              <a:gd name="connsiteX2" fmla="*/ 1859280 w 3668129"/>
              <a:gd name="connsiteY2" fmla="*/ 1437948 h 1788468"/>
              <a:gd name="connsiteX3" fmla="*/ 3579495 w 3668129"/>
              <a:gd name="connsiteY3" fmla="*/ 504021 h 1788468"/>
              <a:gd name="connsiteX4" fmla="*/ 3630930 w 3668129"/>
              <a:gd name="connsiteY4" fmla="*/ 136833 h 1788468"/>
              <a:gd name="connsiteX5" fmla="*/ 3346132 w 3668129"/>
              <a:gd name="connsiteY5" fmla="*/ 9674 h 1788468"/>
              <a:gd name="connsiteX6" fmla="*/ 2461260 w 3668129"/>
              <a:gd name="connsiteY6" fmla="*/ 470208 h 1788468"/>
              <a:gd name="connsiteX0" fmla="*/ 0 w 3668129"/>
              <a:gd name="connsiteY0" fmla="*/ 1788468 h 1788468"/>
              <a:gd name="connsiteX1" fmla="*/ 342900 w 3668129"/>
              <a:gd name="connsiteY1" fmla="*/ 1437948 h 1788468"/>
              <a:gd name="connsiteX2" fmla="*/ 1859280 w 3668129"/>
              <a:gd name="connsiteY2" fmla="*/ 1437948 h 1788468"/>
              <a:gd name="connsiteX3" fmla="*/ 3579495 w 3668129"/>
              <a:gd name="connsiteY3" fmla="*/ 504021 h 1788468"/>
              <a:gd name="connsiteX4" fmla="*/ 3630930 w 3668129"/>
              <a:gd name="connsiteY4" fmla="*/ 136833 h 1788468"/>
              <a:gd name="connsiteX5" fmla="*/ 3346132 w 3668129"/>
              <a:gd name="connsiteY5" fmla="*/ 9674 h 1788468"/>
              <a:gd name="connsiteX6" fmla="*/ 2461260 w 3668129"/>
              <a:gd name="connsiteY6" fmla="*/ 470208 h 1788468"/>
              <a:gd name="connsiteX0" fmla="*/ 0 w 3674565"/>
              <a:gd name="connsiteY0" fmla="*/ 1789038 h 1789038"/>
              <a:gd name="connsiteX1" fmla="*/ 342900 w 3674565"/>
              <a:gd name="connsiteY1" fmla="*/ 1438518 h 1789038"/>
              <a:gd name="connsiteX2" fmla="*/ 1859280 w 3674565"/>
              <a:gd name="connsiteY2" fmla="*/ 1438518 h 1789038"/>
              <a:gd name="connsiteX3" fmla="*/ 3579495 w 3674565"/>
              <a:gd name="connsiteY3" fmla="*/ 504591 h 1789038"/>
              <a:gd name="connsiteX4" fmla="*/ 3640455 w 3674565"/>
              <a:gd name="connsiteY4" fmla="*/ 132641 h 1789038"/>
              <a:gd name="connsiteX5" fmla="*/ 3346132 w 3674565"/>
              <a:gd name="connsiteY5" fmla="*/ 10244 h 1789038"/>
              <a:gd name="connsiteX6" fmla="*/ 2461260 w 3674565"/>
              <a:gd name="connsiteY6" fmla="*/ 470778 h 1789038"/>
              <a:gd name="connsiteX0" fmla="*/ 0 w 3673723"/>
              <a:gd name="connsiteY0" fmla="*/ 1785885 h 1785885"/>
              <a:gd name="connsiteX1" fmla="*/ 342900 w 3673723"/>
              <a:gd name="connsiteY1" fmla="*/ 1435365 h 1785885"/>
              <a:gd name="connsiteX2" fmla="*/ 1859280 w 3673723"/>
              <a:gd name="connsiteY2" fmla="*/ 1435365 h 1785885"/>
              <a:gd name="connsiteX3" fmla="*/ 3600926 w 3673723"/>
              <a:gd name="connsiteY3" fmla="*/ 482388 h 1785885"/>
              <a:gd name="connsiteX4" fmla="*/ 3640455 w 3673723"/>
              <a:gd name="connsiteY4" fmla="*/ 129488 h 1785885"/>
              <a:gd name="connsiteX5" fmla="*/ 3346132 w 3673723"/>
              <a:gd name="connsiteY5" fmla="*/ 7091 h 1785885"/>
              <a:gd name="connsiteX6" fmla="*/ 2461260 w 3673723"/>
              <a:gd name="connsiteY6" fmla="*/ 467625 h 1785885"/>
              <a:gd name="connsiteX0" fmla="*/ 0 w 3673723"/>
              <a:gd name="connsiteY0" fmla="*/ 1785885 h 1785885"/>
              <a:gd name="connsiteX1" fmla="*/ 361950 w 3673723"/>
              <a:gd name="connsiteY1" fmla="*/ 1430603 h 1785885"/>
              <a:gd name="connsiteX2" fmla="*/ 1859280 w 3673723"/>
              <a:gd name="connsiteY2" fmla="*/ 1435365 h 1785885"/>
              <a:gd name="connsiteX3" fmla="*/ 3600926 w 3673723"/>
              <a:gd name="connsiteY3" fmla="*/ 482388 h 1785885"/>
              <a:gd name="connsiteX4" fmla="*/ 3640455 w 3673723"/>
              <a:gd name="connsiteY4" fmla="*/ 129488 h 1785885"/>
              <a:gd name="connsiteX5" fmla="*/ 3346132 w 3673723"/>
              <a:gd name="connsiteY5" fmla="*/ 7091 h 1785885"/>
              <a:gd name="connsiteX6" fmla="*/ 2461260 w 3673723"/>
              <a:gd name="connsiteY6" fmla="*/ 467625 h 1785885"/>
              <a:gd name="connsiteX0" fmla="*/ 0 w 3673723"/>
              <a:gd name="connsiteY0" fmla="*/ 1785885 h 1785885"/>
              <a:gd name="connsiteX1" fmla="*/ 361950 w 3673723"/>
              <a:gd name="connsiteY1" fmla="*/ 1430603 h 1785885"/>
              <a:gd name="connsiteX2" fmla="*/ 1859280 w 3673723"/>
              <a:gd name="connsiteY2" fmla="*/ 1435365 h 1785885"/>
              <a:gd name="connsiteX3" fmla="*/ 3600926 w 3673723"/>
              <a:gd name="connsiteY3" fmla="*/ 482388 h 1785885"/>
              <a:gd name="connsiteX4" fmla="*/ 3640455 w 3673723"/>
              <a:gd name="connsiteY4" fmla="*/ 129488 h 1785885"/>
              <a:gd name="connsiteX5" fmla="*/ 3346132 w 3673723"/>
              <a:gd name="connsiteY5" fmla="*/ 7091 h 1785885"/>
              <a:gd name="connsiteX6" fmla="*/ 2461260 w 3673723"/>
              <a:gd name="connsiteY6" fmla="*/ 467625 h 1785885"/>
              <a:gd name="connsiteX0" fmla="*/ 0 w 3673723"/>
              <a:gd name="connsiteY0" fmla="*/ 1785885 h 1785885"/>
              <a:gd name="connsiteX1" fmla="*/ 361950 w 3673723"/>
              <a:gd name="connsiteY1" fmla="*/ 1430603 h 1785885"/>
              <a:gd name="connsiteX2" fmla="*/ 1859280 w 3673723"/>
              <a:gd name="connsiteY2" fmla="*/ 1435365 h 1785885"/>
              <a:gd name="connsiteX3" fmla="*/ 3600926 w 3673723"/>
              <a:gd name="connsiteY3" fmla="*/ 482388 h 1785885"/>
              <a:gd name="connsiteX4" fmla="*/ 3640455 w 3673723"/>
              <a:gd name="connsiteY4" fmla="*/ 129488 h 1785885"/>
              <a:gd name="connsiteX5" fmla="*/ 3346132 w 3673723"/>
              <a:gd name="connsiteY5" fmla="*/ 7091 h 1785885"/>
              <a:gd name="connsiteX6" fmla="*/ 2461260 w 3673723"/>
              <a:gd name="connsiteY6" fmla="*/ 467625 h 1785885"/>
              <a:gd name="connsiteX0" fmla="*/ 0 w 3673723"/>
              <a:gd name="connsiteY0" fmla="*/ 1785885 h 1785885"/>
              <a:gd name="connsiteX1" fmla="*/ 361950 w 3673723"/>
              <a:gd name="connsiteY1" fmla="*/ 1430603 h 1785885"/>
              <a:gd name="connsiteX2" fmla="*/ 1859280 w 3673723"/>
              <a:gd name="connsiteY2" fmla="*/ 1435365 h 1785885"/>
              <a:gd name="connsiteX3" fmla="*/ 3600926 w 3673723"/>
              <a:gd name="connsiteY3" fmla="*/ 482388 h 1785885"/>
              <a:gd name="connsiteX4" fmla="*/ 3640455 w 3673723"/>
              <a:gd name="connsiteY4" fmla="*/ 129488 h 1785885"/>
              <a:gd name="connsiteX5" fmla="*/ 3346132 w 3673723"/>
              <a:gd name="connsiteY5" fmla="*/ 7091 h 1785885"/>
              <a:gd name="connsiteX6" fmla="*/ 2461260 w 3673723"/>
              <a:gd name="connsiteY6" fmla="*/ 467625 h 1785885"/>
              <a:gd name="connsiteX0" fmla="*/ 0 w 3693687"/>
              <a:gd name="connsiteY0" fmla="*/ 1789806 h 1789806"/>
              <a:gd name="connsiteX1" fmla="*/ 361950 w 3693687"/>
              <a:gd name="connsiteY1" fmla="*/ 1434524 h 1789806"/>
              <a:gd name="connsiteX2" fmla="*/ 1859280 w 3693687"/>
              <a:gd name="connsiteY2" fmla="*/ 1439286 h 1789806"/>
              <a:gd name="connsiteX3" fmla="*/ 3600926 w 3693687"/>
              <a:gd name="connsiteY3" fmla="*/ 486309 h 1789806"/>
              <a:gd name="connsiteX4" fmla="*/ 3640455 w 3693687"/>
              <a:gd name="connsiteY4" fmla="*/ 133409 h 1789806"/>
              <a:gd name="connsiteX5" fmla="*/ 3346132 w 3693687"/>
              <a:gd name="connsiteY5" fmla="*/ 11012 h 1789806"/>
              <a:gd name="connsiteX6" fmla="*/ 2461260 w 3693687"/>
              <a:gd name="connsiteY6" fmla="*/ 471546 h 1789806"/>
              <a:gd name="connsiteX0" fmla="*/ 0 w 3689230"/>
              <a:gd name="connsiteY0" fmla="*/ 1788874 h 1788874"/>
              <a:gd name="connsiteX1" fmla="*/ 361950 w 3689230"/>
              <a:gd name="connsiteY1" fmla="*/ 1433592 h 1788874"/>
              <a:gd name="connsiteX2" fmla="*/ 1859280 w 3689230"/>
              <a:gd name="connsiteY2" fmla="*/ 1438354 h 1788874"/>
              <a:gd name="connsiteX3" fmla="*/ 3600926 w 3689230"/>
              <a:gd name="connsiteY3" fmla="*/ 485377 h 1788874"/>
              <a:gd name="connsiteX4" fmla="*/ 3633311 w 3689230"/>
              <a:gd name="connsiteY4" fmla="*/ 139621 h 1788874"/>
              <a:gd name="connsiteX5" fmla="*/ 3346132 w 3689230"/>
              <a:gd name="connsiteY5" fmla="*/ 10080 h 1788874"/>
              <a:gd name="connsiteX6" fmla="*/ 2461260 w 3689230"/>
              <a:gd name="connsiteY6" fmla="*/ 470614 h 1788874"/>
              <a:gd name="connsiteX0" fmla="*/ 0 w 3686231"/>
              <a:gd name="connsiteY0" fmla="*/ 1789714 h 1789714"/>
              <a:gd name="connsiteX1" fmla="*/ 361950 w 3686231"/>
              <a:gd name="connsiteY1" fmla="*/ 1434432 h 1789714"/>
              <a:gd name="connsiteX2" fmla="*/ 1859280 w 3686231"/>
              <a:gd name="connsiteY2" fmla="*/ 1439194 h 1789714"/>
              <a:gd name="connsiteX3" fmla="*/ 3600926 w 3686231"/>
              <a:gd name="connsiteY3" fmla="*/ 486217 h 1789714"/>
              <a:gd name="connsiteX4" fmla="*/ 3633311 w 3686231"/>
              <a:gd name="connsiteY4" fmla="*/ 140461 h 1789714"/>
              <a:gd name="connsiteX5" fmla="*/ 3346132 w 3686231"/>
              <a:gd name="connsiteY5" fmla="*/ 10920 h 1789714"/>
              <a:gd name="connsiteX6" fmla="*/ 2461260 w 3686231"/>
              <a:gd name="connsiteY6" fmla="*/ 471454 h 1789714"/>
              <a:gd name="connsiteX0" fmla="*/ 0 w 3656422"/>
              <a:gd name="connsiteY0" fmla="*/ 1785568 h 1785568"/>
              <a:gd name="connsiteX1" fmla="*/ 361950 w 3656422"/>
              <a:gd name="connsiteY1" fmla="*/ 1430286 h 1785568"/>
              <a:gd name="connsiteX2" fmla="*/ 1859280 w 3656422"/>
              <a:gd name="connsiteY2" fmla="*/ 1435048 h 1785568"/>
              <a:gd name="connsiteX3" fmla="*/ 3572351 w 3656422"/>
              <a:gd name="connsiteY3" fmla="*/ 496358 h 1785568"/>
              <a:gd name="connsiteX4" fmla="*/ 3633311 w 3656422"/>
              <a:gd name="connsiteY4" fmla="*/ 136315 h 1785568"/>
              <a:gd name="connsiteX5" fmla="*/ 3346132 w 3656422"/>
              <a:gd name="connsiteY5" fmla="*/ 6774 h 1785568"/>
              <a:gd name="connsiteX6" fmla="*/ 2461260 w 3656422"/>
              <a:gd name="connsiteY6" fmla="*/ 467308 h 1785568"/>
              <a:gd name="connsiteX0" fmla="*/ 0 w 3649015"/>
              <a:gd name="connsiteY0" fmla="*/ 1785568 h 1785568"/>
              <a:gd name="connsiteX1" fmla="*/ 361950 w 3649015"/>
              <a:gd name="connsiteY1" fmla="*/ 1430286 h 1785568"/>
              <a:gd name="connsiteX2" fmla="*/ 1859280 w 3649015"/>
              <a:gd name="connsiteY2" fmla="*/ 1435048 h 1785568"/>
              <a:gd name="connsiteX3" fmla="*/ 3572351 w 3649015"/>
              <a:gd name="connsiteY3" fmla="*/ 496358 h 1785568"/>
              <a:gd name="connsiteX4" fmla="*/ 3633311 w 3649015"/>
              <a:gd name="connsiteY4" fmla="*/ 136315 h 1785568"/>
              <a:gd name="connsiteX5" fmla="*/ 3346132 w 3649015"/>
              <a:gd name="connsiteY5" fmla="*/ 6774 h 1785568"/>
              <a:gd name="connsiteX6" fmla="*/ 2461260 w 3649015"/>
              <a:gd name="connsiteY6" fmla="*/ 467308 h 1785568"/>
              <a:gd name="connsiteX0" fmla="*/ 0 w 3651972"/>
              <a:gd name="connsiteY0" fmla="*/ 1767671 h 1767671"/>
              <a:gd name="connsiteX1" fmla="*/ 361950 w 3651972"/>
              <a:gd name="connsiteY1" fmla="*/ 1412389 h 1767671"/>
              <a:gd name="connsiteX2" fmla="*/ 1859280 w 3651972"/>
              <a:gd name="connsiteY2" fmla="*/ 1417151 h 1767671"/>
              <a:gd name="connsiteX3" fmla="*/ 3572351 w 3651972"/>
              <a:gd name="connsiteY3" fmla="*/ 478461 h 1767671"/>
              <a:gd name="connsiteX4" fmla="*/ 3633311 w 3651972"/>
              <a:gd name="connsiteY4" fmla="*/ 118418 h 1767671"/>
              <a:gd name="connsiteX5" fmla="*/ 3305651 w 3651972"/>
              <a:gd name="connsiteY5" fmla="*/ 7927 h 1767671"/>
              <a:gd name="connsiteX6" fmla="*/ 2461260 w 3651972"/>
              <a:gd name="connsiteY6" fmla="*/ 449411 h 1767671"/>
              <a:gd name="connsiteX0" fmla="*/ 0 w 3651972"/>
              <a:gd name="connsiteY0" fmla="*/ 1775850 h 1775850"/>
              <a:gd name="connsiteX1" fmla="*/ 361950 w 3651972"/>
              <a:gd name="connsiteY1" fmla="*/ 1420568 h 1775850"/>
              <a:gd name="connsiteX2" fmla="*/ 1859280 w 3651972"/>
              <a:gd name="connsiteY2" fmla="*/ 1425330 h 1775850"/>
              <a:gd name="connsiteX3" fmla="*/ 3572351 w 3651972"/>
              <a:gd name="connsiteY3" fmla="*/ 486640 h 1775850"/>
              <a:gd name="connsiteX4" fmla="*/ 3633311 w 3651972"/>
              <a:gd name="connsiteY4" fmla="*/ 126597 h 1775850"/>
              <a:gd name="connsiteX5" fmla="*/ 3305651 w 3651972"/>
              <a:gd name="connsiteY5" fmla="*/ 16106 h 1775850"/>
              <a:gd name="connsiteX6" fmla="*/ 2461260 w 3651972"/>
              <a:gd name="connsiteY6" fmla="*/ 457590 h 1775850"/>
              <a:gd name="connsiteX0" fmla="*/ 0 w 3651972"/>
              <a:gd name="connsiteY0" fmla="*/ 1775850 h 1775850"/>
              <a:gd name="connsiteX1" fmla="*/ 361950 w 3651972"/>
              <a:gd name="connsiteY1" fmla="*/ 1420568 h 1775850"/>
              <a:gd name="connsiteX2" fmla="*/ 1859280 w 3651972"/>
              <a:gd name="connsiteY2" fmla="*/ 1425330 h 1775850"/>
              <a:gd name="connsiteX3" fmla="*/ 3572351 w 3651972"/>
              <a:gd name="connsiteY3" fmla="*/ 486640 h 1775850"/>
              <a:gd name="connsiteX4" fmla="*/ 3633311 w 3651972"/>
              <a:gd name="connsiteY4" fmla="*/ 126597 h 1775850"/>
              <a:gd name="connsiteX5" fmla="*/ 3305651 w 3651972"/>
              <a:gd name="connsiteY5" fmla="*/ 16106 h 1775850"/>
              <a:gd name="connsiteX6" fmla="*/ 2461260 w 3651972"/>
              <a:gd name="connsiteY6" fmla="*/ 457590 h 1775850"/>
              <a:gd name="connsiteX0" fmla="*/ 0 w 3667722"/>
              <a:gd name="connsiteY0" fmla="*/ 1784978 h 1784978"/>
              <a:gd name="connsiteX1" fmla="*/ 361950 w 3667722"/>
              <a:gd name="connsiteY1" fmla="*/ 1429696 h 1784978"/>
              <a:gd name="connsiteX2" fmla="*/ 1859280 w 3667722"/>
              <a:gd name="connsiteY2" fmla="*/ 1434458 h 1784978"/>
              <a:gd name="connsiteX3" fmla="*/ 3572351 w 3667722"/>
              <a:gd name="connsiteY3" fmla="*/ 495768 h 1784978"/>
              <a:gd name="connsiteX4" fmla="*/ 3633311 w 3667722"/>
              <a:gd name="connsiteY4" fmla="*/ 135725 h 1784978"/>
              <a:gd name="connsiteX5" fmla="*/ 3305651 w 3667722"/>
              <a:gd name="connsiteY5" fmla="*/ 25234 h 1784978"/>
              <a:gd name="connsiteX6" fmla="*/ 2461260 w 3667722"/>
              <a:gd name="connsiteY6" fmla="*/ 466718 h 1784978"/>
              <a:gd name="connsiteX0" fmla="*/ 0 w 3680988"/>
              <a:gd name="connsiteY0" fmla="*/ 1781456 h 1781456"/>
              <a:gd name="connsiteX1" fmla="*/ 361950 w 3680988"/>
              <a:gd name="connsiteY1" fmla="*/ 1426174 h 1781456"/>
              <a:gd name="connsiteX2" fmla="*/ 1859280 w 3680988"/>
              <a:gd name="connsiteY2" fmla="*/ 1430936 h 1781456"/>
              <a:gd name="connsiteX3" fmla="*/ 3572351 w 3680988"/>
              <a:gd name="connsiteY3" fmla="*/ 492246 h 1781456"/>
              <a:gd name="connsiteX4" fmla="*/ 3649980 w 3680988"/>
              <a:gd name="connsiteY4" fmla="*/ 148872 h 1781456"/>
              <a:gd name="connsiteX5" fmla="*/ 3305651 w 3680988"/>
              <a:gd name="connsiteY5" fmla="*/ 21712 h 1781456"/>
              <a:gd name="connsiteX6" fmla="*/ 2461260 w 3680988"/>
              <a:gd name="connsiteY6" fmla="*/ 463196 h 1781456"/>
              <a:gd name="connsiteX0" fmla="*/ 0 w 3677895"/>
              <a:gd name="connsiteY0" fmla="*/ 1778568 h 1778568"/>
              <a:gd name="connsiteX1" fmla="*/ 361950 w 3677895"/>
              <a:gd name="connsiteY1" fmla="*/ 1423286 h 1778568"/>
              <a:gd name="connsiteX2" fmla="*/ 1859280 w 3677895"/>
              <a:gd name="connsiteY2" fmla="*/ 1428048 h 1778568"/>
              <a:gd name="connsiteX3" fmla="*/ 3572351 w 3677895"/>
              <a:gd name="connsiteY3" fmla="*/ 489358 h 1778568"/>
              <a:gd name="connsiteX4" fmla="*/ 3649980 w 3677895"/>
              <a:gd name="connsiteY4" fmla="*/ 145984 h 1778568"/>
              <a:gd name="connsiteX5" fmla="*/ 3305651 w 3677895"/>
              <a:gd name="connsiteY5" fmla="*/ 18824 h 1778568"/>
              <a:gd name="connsiteX6" fmla="*/ 2461260 w 3677895"/>
              <a:gd name="connsiteY6" fmla="*/ 460308 h 1778568"/>
              <a:gd name="connsiteX0" fmla="*/ 0 w 3677895"/>
              <a:gd name="connsiteY0" fmla="*/ 1778568 h 1778568"/>
              <a:gd name="connsiteX1" fmla="*/ 361950 w 3677895"/>
              <a:gd name="connsiteY1" fmla="*/ 1423286 h 1778568"/>
              <a:gd name="connsiteX2" fmla="*/ 1859280 w 3677895"/>
              <a:gd name="connsiteY2" fmla="*/ 1428048 h 1778568"/>
              <a:gd name="connsiteX3" fmla="*/ 3572351 w 3677895"/>
              <a:gd name="connsiteY3" fmla="*/ 489358 h 1778568"/>
              <a:gd name="connsiteX4" fmla="*/ 3649980 w 3677895"/>
              <a:gd name="connsiteY4" fmla="*/ 145984 h 1778568"/>
              <a:gd name="connsiteX5" fmla="*/ 3305651 w 3677895"/>
              <a:gd name="connsiteY5" fmla="*/ 18824 h 1778568"/>
              <a:gd name="connsiteX6" fmla="*/ 2461260 w 3677895"/>
              <a:gd name="connsiteY6" fmla="*/ 460308 h 1778568"/>
              <a:gd name="connsiteX0" fmla="*/ 0 w 3677895"/>
              <a:gd name="connsiteY0" fmla="*/ 1819703 h 1819703"/>
              <a:gd name="connsiteX1" fmla="*/ 361950 w 3677895"/>
              <a:gd name="connsiteY1" fmla="*/ 1464421 h 1819703"/>
              <a:gd name="connsiteX2" fmla="*/ 1859280 w 3677895"/>
              <a:gd name="connsiteY2" fmla="*/ 1469183 h 1819703"/>
              <a:gd name="connsiteX3" fmla="*/ 3572351 w 3677895"/>
              <a:gd name="connsiteY3" fmla="*/ 530493 h 1819703"/>
              <a:gd name="connsiteX4" fmla="*/ 3649980 w 3677895"/>
              <a:gd name="connsiteY4" fmla="*/ 187119 h 1819703"/>
              <a:gd name="connsiteX5" fmla="*/ 3305651 w 3677895"/>
              <a:gd name="connsiteY5" fmla="*/ 59959 h 1819703"/>
              <a:gd name="connsiteX6" fmla="*/ 2461260 w 3677895"/>
              <a:gd name="connsiteY6" fmla="*/ 501443 h 1819703"/>
              <a:gd name="connsiteX0" fmla="*/ 0 w 3677895"/>
              <a:gd name="connsiteY0" fmla="*/ 1776510 h 1776510"/>
              <a:gd name="connsiteX1" fmla="*/ 361950 w 3677895"/>
              <a:gd name="connsiteY1" fmla="*/ 1421228 h 1776510"/>
              <a:gd name="connsiteX2" fmla="*/ 1859280 w 3677895"/>
              <a:gd name="connsiteY2" fmla="*/ 1425990 h 1776510"/>
              <a:gd name="connsiteX3" fmla="*/ 3572351 w 3677895"/>
              <a:gd name="connsiteY3" fmla="*/ 487300 h 1776510"/>
              <a:gd name="connsiteX4" fmla="*/ 3649980 w 3677895"/>
              <a:gd name="connsiteY4" fmla="*/ 143926 h 1776510"/>
              <a:gd name="connsiteX5" fmla="*/ 3305651 w 3677895"/>
              <a:gd name="connsiteY5" fmla="*/ 16766 h 1776510"/>
              <a:gd name="connsiteX6" fmla="*/ 2461260 w 3677895"/>
              <a:gd name="connsiteY6" fmla="*/ 458250 h 1776510"/>
              <a:gd name="connsiteX0" fmla="*/ 0 w 3679956"/>
              <a:gd name="connsiteY0" fmla="*/ 1778935 h 1778935"/>
              <a:gd name="connsiteX1" fmla="*/ 361950 w 3679956"/>
              <a:gd name="connsiteY1" fmla="*/ 1423653 h 1778935"/>
              <a:gd name="connsiteX2" fmla="*/ 1859280 w 3679956"/>
              <a:gd name="connsiteY2" fmla="*/ 1428415 h 1778935"/>
              <a:gd name="connsiteX3" fmla="*/ 3572351 w 3679956"/>
              <a:gd name="connsiteY3" fmla="*/ 489725 h 1778935"/>
              <a:gd name="connsiteX4" fmla="*/ 3649980 w 3679956"/>
              <a:gd name="connsiteY4" fmla="*/ 146351 h 1778935"/>
              <a:gd name="connsiteX5" fmla="*/ 3305651 w 3679956"/>
              <a:gd name="connsiteY5" fmla="*/ 19191 h 1778935"/>
              <a:gd name="connsiteX6" fmla="*/ 2461260 w 3679956"/>
              <a:gd name="connsiteY6" fmla="*/ 460675 h 17789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679956" h="1778935">
                <a:moveTo>
                  <a:pt x="0" y="1778935"/>
                </a:moveTo>
                <a:cubicBezTo>
                  <a:pt x="120650" y="1660508"/>
                  <a:pt x="317500" y="1437305"/>
                  <a:pt x="361950" y="1423653"/>
                </a:cubicBezTo>
                <a:cubicBezTo>
                  <a:pt x="427673" y="1363327"/>
                  <a:pt x="1360170" y="1426828"/>
                  <a:pt x="1859280" y="1428415"/>
                </a:cubicBezTo>
                <a:cubicBezTo>
                  <a:pt x="1986280" y="1420795"/>
                  <a:pt x="3507741" y="535128"/>
                  <a:pt x="3572351" y="489725"/>
                </a:cubicBezTo>
                <a:cubicBezTo>
                  <a:pt x="3636961" y="444322"/>
                  <a:pt x="3727768" y="281923"/>
                  <a:pt x="3649980" y="146351"/>
                </a:cubicBezTo>
                <a:cubicBezTo>
                  <a:pt x="3572192" y="10779"/>
                  <a:pt x="3387090" y="-27957"/>
                  <a:pt x="3305651" y="19191"/>
                </a:cubicBezTo>
                <a:cubicBezTo>
                  <a:pt x="3224212" y="66339"/>
                  <a:pt x="2742724" y="313514"/>
                  <a:pt x="2461260" y="460675"/>
                </a:cubicBezTo>
              </a:path>
            </a:pathLst>
          </a:custGeom>
          <a:noFill/>
          <a:ln w="9525" cap="rnd">
            <a:solidFill>
              <a:schemeClr val="accent6">
                <a:lumMod val="50000"/>
              </a:schemeClr>
            </a:solidFill>
            <a:rou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4" name="Rectangle: Rounded Corners 23">
            <a:extLst>
              <a:ext uri="{FF2B5EF4-FFF2-40B4-BE49-F238E27FC236}">
                <a16:creationId xmlns:a16="http://schemas.microsoft.com/office/drawing/2014/main" id="{1F206E16-A814-4D1A-50D6-A0DF7867F531}"/>
              </a:ext>
            </a:extLst>
          </p:cNvPr>
          <p:cNvSpPr/>
          <p:nvPr/>
        </p:nvSpPr>
        <p:spPr>
          <a:xfrm>
            <a:off x="5543011" y="3937509"/>
            <a:ext cx="225992" cy="61370"/>
          </a:xfrm>
          <a:custGeom>
            <a:avLst/>
            <a:gdLst>
              <a:gd name="connsiteX0" fmla="*/ 0 w 1892087"/>
              <a:gd name="connsiteY0" fmla="*/ 331373 h 662746"/>
              <a:gd name="connsiteX1" fmla="*/ 331373 w 1892087"/>
              <a:gd name="connsiteY1" fmla="*/ 0 h 662746"/>
              <a:gd name="connsiteX2" fmla="*/ 1560714 w 1892087"/>
              <a:gd name="connsiteY2" fmla="*/ 0 h 662746"/>
              <a:gd name="connsiteX3" fmla="*/ 1892087 w 1892087"/>
              <a:gd name="connsiteY3" fmla="*/ 331373 h 662746"/>
              <a:gd name="connsiteX4" fmla="*/ 1892087 w 1892087"/>
              <a:gd name="connsiteY4" fmla="*/ 331373 h 662746"/>
              <a:gd name="connsiteX5" fmla="*/ 1560714 w 1892087"/>
              <a:gd name="connsiteY5" fmla="*/ 662746 h 662746"/>
              <a:gd name="connsiteX6" fmla="*/ 331373 w 1892087"/>
              <a:gd name="connsiteY6" fmla="*/ 662746 h 662746"/>
              <a:gd name="connsiteX7" fmla="*/ 0 w 1892087"/>
              <a:gd name="connsiteY7" fmla="*/ 331373 h 662746"/>
              <a:gd name="connsiteX0" fmla="*/ 25923 w 1918010"/>
              <a:gd name="connsiteY0" fmla="*/ 331373 h 667509"/>
              <a:gd name="connsiteX1" fmla="*/ 357296 w 1918010"/>
              <a:gd name="connsiteY1" fmla="*/ 0 h 667509"/>
              <a:gd name="connsiteX2" fmla="*/ 1586637 w 1918010"/>
              <a:gd name="connsiteY2" fmla="*/ 0 h 667509"/>
              <a:gd name="connsiteX3" fmla="*/ 1918010 w 1918010"/>
              <a:gd name="connsiteY3" fmla="*/ 331373 h 667509"/>
              <a:gd name="connsiteX4" fmla="*/ 1918010 w 1918010"/>
              <a:gd name="connsiteY4" fmla="*/ 331373 h 667509"/>
              <a:gd name="connsiteX5" fmla="*/ 1586637 w 1918010"/>
              <a:gd name="connsiteY5" fmla="*/ 662746 h 667509"/>
              <a:gd name="connsiteX6" fmla="*/ 1009759 w 1918010"/>
              <a:gd name="connsiteY6" fmla="*/ 667509 h 667509"/>
              <a:gd name="connsiteX7" fmla="*/ 25923 w 1918010"/>
              <a:gd name="connsiteY7" fmla="*/ 331373 h 667509"/>
              <a:gd name="connsiteX0" fmla="*/ 25923 w 1918010"/>
              <a:gd name="connsiteY0" fmla="*/ 331373 h 667509"/>
              <a:gd name="connsiteX1" fmla="*/ 357296 w 1918010"/>
              <a:gd name="connsiteY1" fmla="*/ 0 h 667509"/>
              <a:gd name="connsiteX2" fmla="*/ 1586637 w 1918010"/>
              <a:gd name="connsiteY2" fmla="*/ 0 h 667509"/>
              <a:gd name="connsiteX3" fmla="*/ 1918010 w 1918010"/>
              <a:gd name="connsiteY3" fmla="*/ 331373 h 667509"/>
              <a:gd name="connsiteX4" fmla="*/ 1918010 w 1918010"/>
              <a:gd name="connsiteY4" fmla="*/ 331373 h 667509"/>
              <a:gd name="connsiteX5" fmla="*/ 1586637 w 1918010"/>
              <a:gd name="connsiteY5" fmla="*/ 662746 h 667509"/>
              <a:gd name="connsiteX6" fmla="*/ 1009759 w 1918010"/>
              <a:gd name="connsiteY6" fmla="*/ 667509 h 667509"/>
              <a:gd name="connsiteX7" fmla="*/ 117363 w 1918010"/>
              <a:gd name="connsiteY7" fmla="*/ 422813 h 667509"/>
              <a:gd name="connsiteX0" fmla="*/ 25923 w 1918010"/>
              <a:gd name="connsiteY0" fmla="*/ 331373 h 667509"/>
              <a:gd name="connsiteX1" fmla="*/ 357296 w 1918010"/>
              <a:gd name="connsiteY1" fmla="*/ 0 h 667509"/>
              <a:gd name="connsiteX2" fmla="*/ 1586637 w 1918010"/>
              <a:gd name="connsiteY2" fmla="*/ 0 h 667509"/>
              <a:gd name="connsiteX3" fmla="*/ 1918010 w 1918010"/>
              <a:gd name="connsiteY3" fmla="*/ 331373 h 667509"/>
              <a:gd name="connsiteX4" fmla="*/ 1918010 w 1918010"/>
              <a:gd name="connsiteY4" fmla="*/ 331373 h 667509"/>
              <a:gd name="connsiteX5" fmla="*/ 1586637 w 1918010"/>
              <a:gd name="connsiteY5" fmla="*/ 662746 h 667509"/>
              <a:gd name="connsiteX6" fmla="*/ 1009759 w 1918010"/>
              <a:gd name="connsiteY6" fmla="*/ 667509 h 667509"/>
              <a:gd name="connsiteX0" fmla="*/ 6927 w 2846752"/>
              <a:gd name="connsiteY0" fmla="*/ 707610 h 707610"/>
              <a:gd name="connsiteX1" fmla="*/ 1286038 w 2846752"/>
              <a:gd name="connsiteY1" fmla="*/ 0 h 707610"/>
              <a:gd name="connsiteX2" fmla="*/ 2515379 w 2846752"/>
              <a:gd name="connsiteY2" fmla="*/ 0 h 707610"/>
              <a:gd name="connsiteX3" fmla="*/ 2846752 w 2846752"/>
              <a:gd name="connsiteY3" fmla="*/ 331373 h 707610"/>
              <a:gd name="connsiteX4" fmla="*/ 2846752 w 2846752"/>
              <a:gd name="connsiteY4" fmla="*/ 331373 h 707610"/>
              <a:gd name="connsiteX5" fmla="*/ 2515379 w 2846752"/>
              <a:gd name="connsiteY5" fmla="*/ 662746 h 707610"/>
              <a:gd name="connsiteX6" fmla="*/ 1938501 w 2846752"/>
              <a:gd name="connsiteY6" fmla="*/ 667509 h 707610"/>
              <a:gd name="connsiteX0" fmla="*/ 0 w 2839825"/>
              <a:gd name="connsiteY0" fmla="*/ 707610 h 707610"/>
              <a:gd name="connsiteX1" fmla="*/ 1279111 w 2839825"/>
              <a:gd name="connsiteY1" fmla="*/ 0 h 707610"/>
              <a:gd name="connsiteX2" fmla="*/ 2508452 w 2839825"/>
              <a:gd name="connsiteY2" fmla="*/ 0 h 707610"/>
              <a:gd name="connsiteX3" fmla="*/ 2839825 w 2839825"/>
              <a:gd name="connsiteY3" fmla="*/ 331373 h 707610"/>
              <a:gd name="connsiteX4" fmla="*/ 2839825 w 2839825"/>
              <a:gd name="connsiteY4" fmla="*/ 331373 h 707610"/>
              <a:gd name="connsiteX5" fmla="*/ 2508452 w 2839825"/>
              <a:gd name="connsiteY5" fmla="*/ 662746 h 707610"/>
              <a:gd name="connsiteX6" fmla="*/ 1931574 w 2839825"/>
              <a:gd name="connsiteY6" fmla="*/ 667509 h 707610"/>
              <a:gd name="connsiteX0" fmla="*/ 0 w 2839825"/>
              <a:gd name="connsiteY0" fmla="*/ 707610 h 707610"/>
              <a:gd name="connsiteX1" fmla="*/ 1564861 w 2839825"/>
              <a:gd name="connsiteY1" fmla="*/ 0 h 707610"/>
              <a:gd name="connsiteX2" fmla="*/ 2508452 w 2839825"/>
              <a:gd name="connsiteY2" fmla="*/ 0 h 707610"/>
              <a:gd name="connsiteX3" fmla="*/ 2839825 w 2839825"/>
              <a:gd name="connsiteY3" fmla="*/ 331373 h 707610"/>
              <a:gd name="connsiteX4" fmla="*/ 2839825 w 2839825"/>
              <a:gd name="connsiteY4" fmla="*/ 331373 h 707610"/>
              <a:gd name="connsiteX5" fmla="*/ 2508452 w 2839825"/>
              <a:gd name="connsiteY5" fmla="*/ 662746 h 707610"/>
              <a:gd name="connsiteX6" fmla="*/ 1931574 w 2839825"/>
              <a:gd name="connsiteY6" fmla="*/ 667509 h 707610"/>
              <a:gd name="connsiteX0" fmla="*/ 0 w 2839825"/>
              <a:gd name="connsiteY0" fmla="*/ 771178 h 771178"/>
              <a:gd name="connsiteX1" fmla="*/ 860665 w 2839825"/>
              <a:gd name="connsiteY1" fmla="*/ 41509 h 771178"/>
              <a:gd name="connsiteX2" fmla="*/ 1564861 w 2839825"/>
              <a:gd name="connsiteY2" fmla="*/ 63568 h 771178"/>
              <a:gd name="connsiteX3" fmla="*/ 2508452 w 2839825"/>
              <a:gd name="connsiteY3" fmla="*/ 63568 h 771178"/>
              <a:gd name="connsiteX4" fmla="*/ 2839825 w 2839825"/>
              <a:gd name="connsiteY4" fmla="*/ 394941 h 771178"/>
              <a:gd name="connsiteX5" fmla="*/ 2839825 w 2839825"/>
              <a:gd name="connsiteY5" fmla="*/ 394941 h 771178"/>
              <a:gd name="connsiteX6" fmla="*/ 2508452 w 2839825"/>
              <a:gd name="connsiteY6" fmla="*/ 726314 h 771178"/>
              <a:gd name="connsiteX7" fmla="*/ 1931574 w 2839825"/>
              <a:gd name="connsiteY7" fmla="*/ 731077 h 771178"/>
              <a:gd name="connsiteX0" fmla="*/ 0 w 2839825"/>
              <a:gd name="connsiteY0" fmla="*/ 771178 h 771178"/>
              <a:gd name="connsiteX1" fmla="*/ 860665 w 2839825"/>
              <a:gd name="connsiteY1" fmla="*/ 41509 h 771178"/>
              <a:gd name="connsiteX2" fmla="*/ 1564861 w 2839825"/>
              <a:gd name="connsiteY2" fmla="*/ 63568 h 771178"/>
              <a:gd name="connsiteX3" fmla="*/ 2508452 w 2839825"/>
              <a:gd name="connsiteY3" fmla="*/ 63568 h 771178"/>
              <a:gd name="connsiteX4" fmla="*/ 2839825 w 2839825"/>
              <a:gd name="connsiteY4" fmla="*/ 394941 h 771178"/>
              <a:gd name="connsiteX5" fmla="*/ 2839825 w 2839825"/>
              <a:gd name="connsiteY5" fmla="*/ 394941 h 771178"/>
              <a:gd name="connsiteX6" fmla="*/ 2508452 w 2839825"/>
              <a:gd name="connsiteY6" fmla="*/ 726314 h 771178"/>
              <a:gd name="connsiteX7" fmla="*/ 1769649 w 2839825"/>
              <a:gd name="connsiteY7" fmla="*/ 728696 h 7711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839825" h="771178">
                <a:moveTo>
                  <a:pt x="0" y="771178"/>
                </a:moveTo>
                <a:cubicBezTo>
                  <a:pt x="162494" y="687666"/>
                  <a:pt x="599855" y="159444"/>
                  <a:pt x="860665" y="41509"/>
                </a:cubicBezTo>
                <a:cubicBezTo>
                  <a:pt x="1121475" y="-76426"/>
                  <a:pt x="1309280" y="97991"/>
                  <a:pt x="1564861" y="63568"/>
                </a:cubicBezTo>
                <a:lnTo>
                  <a:pt x="2508452" y="63568"/>
                </a:lnTo>
                <a:cubicBezTo>
                  <a:pt x="2691464" y="63568"/>
                  <a:pt x="2839825" y="211929"/>
                  <a:pt x="2839825" y="394941"/>
                </a:cubicBezTo>
                <a:lnTo>
                  <a:pt x="2839825" y="394941"/>
                </a:lnTo>
                <a:cubicBezTo>
                  <a:pt x="2839825" y="577953"/>
                  <a:pt x="2691464" y="726314"/>
                  <a:pt x="2508452" y="726314"/>
                </a:cubicBezTo>
                <a:lnTo>
                  <a:pt x="1769649" y="728696"/>
                </a:lnTo>
              </a:path>
            </a:pathLst>
          </a:custGeom>
          <a:noFill/>
          <a:ln w="9525" cap="rnd">
            <a:solidFill>
              <a:schemeClr val="accent6">
                <a:lumMod val="50000"/>
              </a:schemeClr>
            </a:solidFill>
            <a:rou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1" name="Ellipse 148">
            <a:extLst>
              <a:ext uri="{FF2B5EF4-FFF2-40B4-BE49-F238E27FC236}">
                <a16:creationId xmlns:a16="http://schemas.microsoft.com/office/drawing/2014/main" id="{2BE60FB3-A82C-C3B7-AAD5-ADC255138AC6}"/>
              </a:ext>
            </a:extLst>
          </p:cNvPr>
          <p:cNvSpPr/>
          <p:nvPr/>
        </p:nvSpPr>
        <p:spPr bwMode="auto">
          <a:xfrm rot="10002339">
            <a:off x="5668693" y="3796768"/>
            <a:ext cx="67646" cy="67646"/>
          </a:xfrm>
          <a:prstGeom prst="ellipse">
            <a:avLst/>
          </a:prstGeom>
          <a:noFill/>
          <a:ln w="9525" cap="flat" cmpd="sng" algn="ctr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5pPr>
            <a:lvl6pPr marL="2286000" algn="l" defTabSz="457200" rtl="0" eaLnBrk="1" latinLnBrk="0" hangingPunct="1"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6pPr>
            <a:lvl7pPr marL="2743200" algn="l" defTabSz="457200" rtl="0" eaLnBrk="1" latinLnBrk="0" hangingPunct="1"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7pPr>
            <a:lvl8pPr marL="3200400" algn="l" defTabSz="457200" rtl="0" eaLnBrk="1" latinLnBrk="0" hangingPunct="1"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8pPr>
            <a:lvl9pPr marL="3657600" algn="l" defTabSz="457200" rtl="0" eaLnBrk="1" latinLnBrk="0" hangingPunct="1"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EC8A00"/>
              </a:solidFill>
              <a:effectLst/>
              <a:uLnTx/>
              <a:uFillTx/>
              <a:latin typeface="Aptos" panose="02110004020202020204"/>
              <a:ea typeface="ＭＳ Ｐゴシック" charset="0"/>
            </a:endParaRPr>
          </a:p>
        </p:txBody>
      </p:sp>
      <p:sp>
        <p:nvSpPr>
          <p:cNvPr id="352" name="Freeform: Shape 1225">
            <a:extLst>
              <a:ext uri="{FF2B5EF4-FFF2-40B4-BE49-F238E27FC236}">
                <a16:creationId xmlns:a16="http://schemas.microsoft.com/office/drawing/2014/main" id="{EF37E7B7-41C3-330B-3F1F-ABBD84328E1E}"/>
              </a:ext>
            </a:extLst>
          </p:cNvPr>
          <p:cNvSpPr/>
          <p:nvPr/>
        </p:nvSpPr>
        <p:spPr bwMode="auto">
          <a:xfrm rot="10002339">
            <a:off x="5664832" y="3797226"/>
            <a:ext cx="67515" cy="33498"/>
          </a:xfrm>
          <a:custGeom>
            <a:avLst/>
            <a:gdLst>
              <a:gd name="connsiteX0" fmla="*/ 0 w 183556"/>
              <a:gd name="connsiteY0" fmla="*/ 0 h 91073"/>
              <a:gd name="connsiteX1" fmla="*/ 183556 w 183556"/>
              <a:gd name="connsiteY1" fmla="*/ 0 h 91073"/>
              <a:gd name="connsiteX2" fmla="*/ 176508 w 183556"/>
              <a:gd name="connsiteY2" fmla="*/ 34911 h 91073"/>
              <a:gd name="connsiteX3" fmla="*/ 91778 w 183556"/>
              <a:gd name="connsiteY3" fmla="*/ 91073 h 91073"/>
              <a:gd name="connsiteX4" fmla="*/ 7048 w 183556"/>
              <a:gd name="connsiteY4" fmla="*/ 34911 h 910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3556" h="91073">
                <a:moveTo>
                  <a:pt x="0" y="0"/>
                </a:moveTo>
                <a:lnTo>
                  <a:pt x="183556" y="0"/>
                </a:lnTo>
                <a:lnTo>
                  <a:pt x="176508" y="34911"/>
                </a:lnTo>
                <a:cubicBezTo>
                  <a:pt x="162548" y="67915"/>
                  <a:pt x="129868" y="91073"/>
                  <a:pt x="91778" y="91073"/>
                </a:cubicBezTo>
                <a:cubicBezTo>
                  <a:pt x="53689" y="91073"/>
                  <a:pt x="21008" y="67915"/>
                  <a:pt x="7048" y="34911"/>
                </a:cubicBezTo>
                <a:close/>
              </a:path>
            </a:pathLst>
          </a:custGeom>
          <a:noFill/>
          <a:ln w="9525" cap="flat" cmpd="sng" algn="ctr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5pPr>
            <a:lvl6pPr marL="2286000" algn="l" defTabSz="457200" rtl="0" eaLnBrk="1" latinLnBrk="0" hangingPunct="1"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6pPr>
            <a:lvl7pPr marL="2743200" algn="l" defTabSz="457200" rtl="0" eaLnBrk="1" latinLnBrk="0" hangingPunct="1"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7pPr>
            <a:lvl8pPr marL="3200400" algn="l" defTabSz="457200" rtl="0" eaLnBrk="1" latinLnBrk="0" hangingPunct="1"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8pPr>
            <a:lvl9pPr marL="3657600" algn="l" defTabSz="457200" rtl="0" eaLnBrk="1" latinLnBrk="0" hangingPunct="1"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EC8A00"/>
              </a:solidFill>
              <a:effectLst/>
              <a:uLnTx/>
              <a:uFillTx/>
              <a:latin typeface="Aptos" panose="02110004020202020204"/>
              <a:ea typeface="ＭＳ Ｐゴシック" charset="0"/>
            </a:endParaRPr>
          </a:p>
        </p:txBody>
      </p:sp>
      <p:sp>
        <p:nvSpPr>
          <p:cNvPr id="349" name="Ellipse 148">
            <a:extLst>
              <a:ext uri="{FF2B5EF4-FFF2-40B4-BE49-F238E27FC236}">
                <a16:creationId xmlns:a16="http://schemas.microsoft.com/office/drawing/2014/main" id="{9F76E987-A05F-0DA9-F640-16CD8050D4EB}"/>
              </a:ext>
            </a:extLst>
          </p:cNvPr>
          <p:cNvSpPr/>
          <p:nvPr/>
        </p:nvSpPr>
        <p:spPr bwMode="auto">
          <a:xfrm rot="13375340">
            <a:off x="5778861" y="3792795"/>
            <a:ext cx="56399" cy="115694"/>
          </a:xfrm>
          <a:prstGeom prst="ellipse">
            <a:avLst/>
          </a:prstGeom>
          <a:noFill/>
          <a:ln w="9525" cap="flat" cmpd="sng" algn="ctr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5pPr>
            <a:lvl6pPr marL="2286000" algn="l" defTabSz="457200" rtl="0" eaLnBrk="1" latinLnBrk="0" hangingPunct="1"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6pPr>
            <a:lvl7pPr marL="2743200" algn="l" defTabSz="457200" rtl="0" eaLnBrk="1" latinLnBrk="0" hangingPunct="1"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7pPr>
            <a:lvl8pPr marL="3200400" algn="l" defTabSz="457200" rtl="0" eaLnBrk="1" latinLnBrk="0" hangingPunct="1"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8pPr>
            <a:lvl9pPr marL="3657600" algn="l" defTabSz="457200" rtl="0" eaLnBrk="1" latinLnBrk="0" hangingPunct="1"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EC8A00"/>
              </a:solidFill>
              <a:effectLst/>
              <a:uLnTx/>
              <a:uFillTx/>
              <a:latin typeface="Aptos" panose="02110004020202020204"/>
              <a:ea typeface="ＭＳ Ｐゴシック" charset="0"/>
            </a:endParaRPr>
          </a:p>
        </p:txBody>
      </p:sp>
      <p:sp>
        <p:nvSpPr>
          <p:cNvPr id="350" name="Freeform: Shape 1228">
            <a:extLst>
              <a:ext uri="{FF2B5EF4-FFF2-40B4-BE49-F238E27FC236}">
                <a16:creationId xmlns:a16="http://schemas.microsoft.com/office/drawing/2014/main" id="{A6D3B570-5219-05D3-EEA2-6F89F5548744}"/>
              </a:ext>
            </a:extLst>
          </p:cNvPr>
          <p:cNvSpPr/>
          <p:nvPr/>
        </p:nvSpPr>
        <p:spPr bwMode="auto">
          <a:xfrm rot="13375340">
            <a:off x="5758993" y="3843508"/>
            <a:ext cx="56261" cy="57143"/>
          </a:xfrm>
          <a:custGeom>
            <a:avLst/>
            <a:gdLst>
              <a:gd name="connsiteX0" fmla="*/ 61462 w 122925"/>
              <a:gd name="connsiteY0" fmla="*/ 0 h 124853"/>
              <a:gd name="connsiteX1" fmla="*/ 118234 w 122925"/>
              <a:gd name="connsiteY1" fmla="*/ 77194 h 124853"/>
              <a:gd name="connsiteX2" fmla="*/ 122925 w 122925"/>
              <a:gd name="connsiteY2" fmla="*/ 124853 h 124853"/>
              <a:gd name="connsiteX3" fmla="*/ 0 w 122925"/>
              <a:gd name="connsiteY3" fmla="*/ 124853 h 124853"/>
              <a:gd name="connsiteX4" fmla="*/ 4690 w 122925"/>
              <a:gd name="connsiteY4" fmla="*/ 77194 h 124853"/>
              <a:gd name="connsiteX5" fmla="*/ 61462 w 122925"/>
              <a:gd name="connsiteY5" fmla="*/ 0 h 1248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2925" h="124853">
                <a:moveTo>
                  <a:pt x="61462" y="0"/>
                </a:moveTo>
                <a:cubicBezTo>
                  <a:pt x="86983" y="0"/>
                  <a:pt x="108881" y="31830"/>
                  <a:pt x="118234" y="77194"/>
                </a:cubicBezTo>
                <a:lnTo>
                  <a:pt x="122925" y="124853"/>
                </a:lnTo>
                <a:lnTo>
                  <a:pt x="0" y="124853"/>
                </a:lnTo>
                <a:lnTo>
                  <a:pt x="4690" y="77194"/>
                </a:lnTo>
                <a:cubicBezTo>
                  <a:pt x="14044" y="31830"/>
                  <a:pt x="35941" y="0"/>
                  <a:pt x="61462" y="0"/>
                </a:cubicBezTo>
                <a:close/>
              </a:path>
            </a:pathLst>
          </a:custGeom>
          <a:noFill/>
          <a:ln w="9525" cap="flat" cmpd="sng" algn="ctr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5pPr>
            <a:lvl6pPr marL="2286000" algn="l" defTabSz="457200" rtl="0" eaLnBrk="1" latinLnBrk="0" hangingPunct="1"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6pPr>
            <a:lvl7pPr marL="2743200" algn="l" defTabSz="457200" rtl="0" eaLnBrk="1" latinLnBrk="0" hangingPunct="1"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7pPr>
            <a:lvl8pPr marL="3200400" algn="l" defTabSz="457200" rtl="0" eaLnBrk="1" latinLnBrk="0" hangingPunct="1"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8pPr>
            <a:lvl9pPr marL="3657600" algn="l" defTabSz="457200" rtl="0" eaLnBrk="1" latinLnBrk="0" hangingPunct="1"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EC8A00"/>
              </a:solidFill>
              <a:effectLst/>
              <a:uLnTx/>
              <a:uFillTx/>
              <a:latin typeface="Aptos" panose="02110004020202020204"/>
              <a:ea typeface="ＭＳ Ｐゴシック" charset="0"/>
            </a:endParaRPr>
          </a:p>
        </p:txBody>
      </p:sp>
      <p:sp>
        <p:nvSpPr>
          <p:cNvPr id="360" name="Rectangle: Rounded Corners 359">
            <a:extLst>
              <a:ext uri="{FF2B5EF4-FFF2-40B4-BE49-F238E27FC236}">
                <a16:creationId xmlns:a16="http://schemas.microsoft.com/office/drawing/2014/main" id="{3C3A4375-2DDF-7FC1-7E41-1FC1B9CC3C69}"/>
              </a:ext>
            </a:extLst>
          </p:cNvPr>
          <p:cNvSpPr/>
          <p:nvPr/>
        </p:nvSpPr>
        <p:spPr>
          <a:xfrm rot="20997418">
            <a:off x="5209125" y="4488213"/>
            <a:ext cx="27873" cy="126659"/>
          </a:xfrm>
          <a:prstGeom prst="roundRect">
            <a:avLst>
              <a:gd name="adj" fmla="val 30693"/>
            </a:avLst>
          </a:prstGeom>
          <a:noFill/>
          <a:ln w="12700" cap="rnd">
            <a:solidFill>
              <a:schemeClr val="accent6">
                <a:lumMod val="50000"/>
              </a:schemeClr>
            </a:solidFill>
            <a:round/>
          </a:ln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61" name="Freeform: Shape 223">
            <a:extLst>
              <a:ext uri="{FF2B5EF4-FFF2-40B4-BE49-F238E27FC236}">
                <a16:creationId xmlns:a16="http://schemas.microsoft.com/office/drawing/2014/main" id="{5E4E6BBF-26D4-44EE-3E1F-78CDA841A261}"/>
              </a:ext>
            </a:extLst>
          </p:cNvPr>
          <p:cNvSpPr/>
          <p:nvPr/>
        </p:nvSpPr>
        <p:spPr>
          <a:xfrm rot="20997418">
            <a:off x="5228812" y="4395686"/>
            <a:ext cx="172779" cy="201668"/>
          </a:xfrm>
          <a:custGeom>
            <a:avLst/>
            <a:gdLst>
              <a:gd name="connsiteX0" fmla="*/ 0 w 2376487"/>
              <a:gd name="connsiteY0" fmla="*/ 2633662 h 2838450"/>
              <a:gd name="connsiteX1" fmla="*/ 0 w 2376487"/>
              <a:gd name="connsiteY1" fmla="*/ 1295400 h 2838450"/>
              <a:gd name="connsiteX2" fmla="*/ 385762 w 2376487"/>
              <a:gd name="connsiteY2" fmla="*/ 1252537 h 2838450"/>
              <a:gd name="connsiteX3" fmla="*/ 576262 w 2376487"/>
              <a:gd name="connsiteY3" fmla="*/ 914400 h 2838450"/>
              <a:gd name="connsiteX4" fmla="*/ 981075 w 2376487"/>
              <a:gd name="connsiteY4" fmla="*/ 685800 h 2838450"/>
              <a:gd name="connsiteX5" fmla="*/ 1143000 w 2376487"/>
              <a:gd name="connsiteY5" fmla="*/ 128587 h 2838450"/>
              <a:gd name="connsiteX6" fmla="*/ 1323975 w 2376487"/>
              <a:gd name="connsiteY6" fmla="*/ 0 h 2838450"/>
              <a:gd name="connsiteX7" fmla="*/ 1585912 w 2376487"/>
              <a:gd name="connsiteY7" fmla="*/ 414337 h 2838450"/>
              <a:gd name="connsiteX8" fmla="*/ 1409700 w 2376487"/>
              <a:gd name="connsiteY8" fmla="*/ 1033462 h 2838450"/>
              <a:gd name="connsiteX9" fmla="*/ 2238375 w 2376487"/>
              <a:gd name="connsiteY9" fmla="*/ 1152525 h 2838450"/>
              <a:gd name="connsiteX10" fmla="*/ 2376487 w 2376487"/>
              <a:gd name="connsiteY10" fmla="*/ 1371600 h 2838450"/>
              <a:gd name="connsiteX11" fmla="*/ 2224087 w 2376487"/>
              <a:gd name="connsiteY11" fmla="*/ 1590675 h 2838450"/>
              <a:gd name="connsiteX12" fmla="*/ 2352675 w 2376487"/>
              <a:gd name="connsiteY12" fmla="*/ 1828800 h 2838450"/>
              <a:gd name="connsiteX13" fmla="*/ 2133600 w 2376487"/>
              <a:gd name="connsiteY13" fmla="*/ 2033587 h 2838450"/>
              <a:gd name="connsiteX14" fmla="*/ 2224087 w 2376487"/>
              <a:gd name="connsiteY14" fmla="*/ 2281237 h 2838450"/>
              <a:gd name="connsiteX15" fmla="*/ 1952625 w 2376487"/>
              <a:gd name="connsiteY15" fmla="*/ 2462212 h 2838450"/>
              <a:gd name="connsiteX16" fmla="*/ 2028825 w 2376487"/>
              <a:gd name="connsiteY16" fmla="*/ 2657475 h 2838450"/>
              <a:gd name="connsiteX17" fmla="*/ 1857375 w 2376487"/>
              <a:gd name="connsiteY17" fmla="*/ 2838450 h 2838450"/>
              <a:gd name="connsiteX18" fmla="*/ 923925 w 2376487"/>
              <a:gd name="connsiteY18" fmla="*/ 2809875 h 2838450"/>
              <a:gd name="connsiteX19" fmla="*/ 476250 w 2376487"/>
              <a:gd name="connsiteY19" fmla="*/ 2657475 h 2838450"/>
              <a:gd name="connsiteX20" fmla="*/ 0 w 2376487"/>
              <a:gd name="connsiteY20" fmla="*/ 2633662 h 2838450"/>
              <a:gd name="connsiteX0" fmla="*/ 0 w 2376487"/>
              <a:gd name="connsiteY0" fmla="*/ 2633662 h 2838450"/>
              <a:gd name="connsiteX1" fmla="*/ 0 w 2376487"/>
              <a:gd name="connsiteY1" fmla="*/ 1295400 h 2838450"/>
              <a:gd name="connsiteX2" fmla="*/ 385762 w 2376487"/>
              <a:gd name="connsiteY2" fmla="*/ 1252537 h 2838450"/>
              <a:gd name="connsiteX3" fmla="*/ 576262 w 2376487"/>
              <a:gd name="connsiteY3" fmla="*/ 914400 h 2838450"/>
              <a:gd name="connsiteX4" fmla="*/ 981075 w 2376487"/>
              <a:gd name="connsiteY4" fmla="*/ 685800 h 2838450"/>
              <a:gd name="connsiteX5" fmla="*/ 1143000 w 2376487"/>
              <a:gd name="connsiteY5" fmla="*/ 128587 h 2838450"/>
              <a:gd name="connsiteX6" fmla="*/ 1323975 w 2376487"/>
              <a:gd name="connsiteY6" fmla="*/ 0 h 2838450"/>
              <a:gd name="connsiteX7" fmla="*/ 1585912 w 2376487"/>
              <a:gd name="connsiteY7" fmla="*/ 414337 h 2838450"/>
              <a:gd name="connsiteX8" fmla="*/ 1409700 w 2376487"/>
              <a:gd name="connsiteY8" fmla="*/ 1033462 h 2838450"/>
              <a:gd name="connsiteX9" fmla="*/ 2238375 w 2376487"/>
              <a:gd name="connsiteY9" fmla="*/ 1152525 h 2838450"/>
              <a:gd name="connsiteX10" fmla="*/ 2376487 w 2376487"/>
              <a:gd name="connsiteY10" fmla="*/ 1371600 h 2838450"/>
              <a:gd name="connsiteX11" fmla="*/ 2224087 w 2376487"/>
              <a:gd name="connsiteY11" fmla="*/ 1590675 h 2838450"/>
              <a:gd name="connsiteX12" fmla="*/ 2352675 w 2376487"/>
              <a:gd name="connsiteY12" fmla="*/ 1828800 h 2838450"/>
              <a:gd name="connsiteX13" fmla="*/ 2133600 w 2376487"/>
              <a:gd name="connsiteY13" fmla="*/ 2033587 h 2838450"/>
              <a:gd name="connsiteX14" fmla="*/ 2224087 w 2376487"/>
              <a:gd name="connsiteY14" fmla="*/ 2281237 h 2838450"/>
              <a:gd name="connsiteX15" fmla="*/ 1952625 w 2376487"/>
              <a:gd name="connsiteY15" fmla="*/ 2462212 h 2838450"/>
              <a:gd name="connsiteX16" fmla="*/ 2028825 w 2376487"/>
              <a:gd name="connsiteY16" fmla="*/ 2657475 h 2838450"/>
              <a:gd name="connsiteX17" fmla="*/ 1857375 w 2376487"/>
              <a:gd name="connsiteY17" fmla="*/ 2838450 h 2838450"/>
              <a:gd name="connsiteX18" fmla="*/ 923925 w 2376487"/>
              <a:gd name="connsiteY18" fmla="*/ 2809875 h 2838450"/>
              <a:gd name="connsiteX19" fmla="*/ 476250 w 2376487"/>
              <a:gd name="connsiteY19" fmla="*/ 2657475 h 2838450"/>
              <a:gd name="connsiteX20" fmla="*/ 0 w 2376487"/>
              <a:gd name="connsiteY20" fmla="*/ 2633662 h 2838450"/>
              <a:gd name="connsiteX0" fmla="*/ 0 w 2376487"/>
              <a:gd name="connsiteY0" fmla="*/ 2633662 h 2838450"/>
              <a:gd name="connsiteX1" fmla="*/ 0 w 2376487"/>
              <a:gd name="connsiteY1" fmla="*/ 1295400 h 2838450"/>
              <a:gd name="connsiteX2" fmla="*/ 385762 w 2376487"/>
              <a:gd name="connsiteY2" fmla="*/ 1252537 h 2838450"/>
              <a:gd name="connsiteX3" fmla="*/ 616744 w 2376487"/>
              <a:gd name="connsiteY3" fmla="*/ 950118 h 2838450"/>
              <a:gd name="connsiteX4" fmla="*/ 981075 w 2376487"/>
              <a:gd name="connsiteY4" fmla="*/ 685800 h 2838450"/>
              <a:gd name="connsiteX5" fmla="*/ 1143000 w 2376487"/>
              <a:gd name="connsiteY5" fmla="*/ 128587 h 2838450"/>
              <a:gd name="connsiteX6" fmla="*/ 1323975 w 2376487"/>
              <a:gd name="connsiteY6" fmla="*/ 0 h 2838450"/>
              <a:gd name="connsiteX7" fmla="*/ 1585912 w 2376487"/>
              <a:gd name="connsiteY7" fmla="*/ 414337 h 2838450"/>
              <a:gd name="connsiteX8" fmla="*/ 1409700 w 2376487"/>
              <a:gd name="connsiteY8" fmla="*/ 1033462 h 2838450"/>
              <a:gd name="connsiteX9" fmla="*/ 2238375 w 2376487"/>
              <a:gd name="connsiteY9" fmla="*/ 1152525 h 2838450"/>
              <a:gd name="connsiteX10" fmla="*/ 2376487 w 2376487"/>
              <a:gd name="connsiteY10" fmla="*/ 1371600 h 2838450"/>
              <a:gd name="connsiteX11" fmla="*/ 2224087 w 2376487"/>
              <a:gd name="connsiteY11" fmla="*/ 1590675 h 2838450"/>
              <a:gd name="connsiteX12" fmla="*/ 2352675 w 2376487"/>
              <a:gd name="connsiteY12" fmla="*/ 1828800 h 2838450"/>
              <a:gd name="connsiteX13" fmla="*/ 2133600 w 2376487"/>
              <a:gd name="connsiteY13" fmla="*/ 2033587 h 2838450"/>
              <a:gd name="connsiteX14" fmla="*/ 2224087 w 2376487"/>
              <a:gd name="connsiteY14" fmla="*/ 2281237 h 2838450"/>
              <a:gd name="connsiteX15" fmla="*/ 1952625 w 2376487"/>
              <a:gd name="connsiteY15" fmla="*/ 2462212 h 2838450"/>
              <a:gd name="connsiteX16" fmla="*/ 2028825 w 2376487"/>
              <a:gd name="connsiteY16" fmla="*/ 2657475 h 2838450"/>
              <a:gd name="connsiteX17" fmla="*/ 1857375 w 2376487"/>
              <a:gd name="connsiteY17" fmla="*/ 2838450 h 2838450"/>
              <a:gd name="connsiteX18" fmla="*/ 923925 w 2376487"/>
              <a:gd name="connsiteY18" fmla="*/ 2809875 h 2838450"/>
              <a:gd name="connsiteX19" fmla="*/ 476250 w 2376487"/>
              <a:gd name="connsiteY19" fmla="*/ 2657475 h 2838450"/>
              <a:gd name="connsiteX20" fmla="*/ 0 w 2376487"/>
              <a:gd name="connsiteY20" fmla="*/ 2633662 h 2838450"/>
              <a:gd name="connsiteX0" fmla="*/ 0 w 2376487"/>
              <a:gd name="connsiteY0" fmla="*/ 2633662 h 2838450"/>
              <a:gd name="connsiteX1" fmla="*/ 0 w 2376487"/>
              <a:gd name="connsiteY1" fmla="*/ 1295400 h 2838450"/>
              <a:gd name="connsiteX2" fmla="*/ 385762 w 2376487"/>
              <a:gd name="connsiteY2" fmla="*/ 1252537 h 2838450"/>
              <a:gd name="connsiteX3" fmla="*/ 616744 w 2376487"/>
              <a:gd name="connsiteY3" fmla="*/ 950118 h 2838450"/>
              <a:gd name="connsiteX4" fmla="*/ 981075 w 2376487"/>
              <a:gd name="connsiteY4" fmla="*/ 685800 h 2838450"/>
              <a:gd name="connsiteX5" fmla="*/ 1143000 w 2376487"/>
              <a:gd name="connsiteY5" fmla="*/ 128587 h 2838450"/>
              <a:gd name="connsiteX6" fmla="*/ 1323975 w 2376487"/>
              <a:gd name="connsiteY6" fmla="*/ 0 h 2838450"/>
              <a:gd name="connsiteX7" fmla="*/ 1585912 w 2376487"/>
              <a:gd name="connsiteY7" fmla="*/ 414337 h 2838450"/>
              <a:gd name="connsiteX8" fmla="*/ 1409700 w 2376487"/>
              <a:gd name="connsiteY8" fmla="*/ 1033462 h 2838450"/>
              <a:gd name="connsiteX9" fmla="*/ 2238375 w 2376487"/>
              <a:gd name="connsiteY9" fmla="*/ 1152525 h 2838450"/>
              <a:gd name="connsiteX10" fmla="*/ 2376487 w 2376487"/>
              <a:gd name="connsiteY10" fmla="*/ 1371600 h 2838450"/>
              <a:gd name="connsiteX11" fmla="*/ 2224087 w 2376487"/>
              <a:gd name="connsiteY11" fmla="*/ 1590675 h 2838450"/>
              <a:gd name="connsiteX12" fmla="*/ 2352675 w 2376487"/>
              <a:gd name="connsiteY12" fmla="*/ 1828800 h 2838450"/>
              <a:gd name="connsiteX13" fmla="*/ 2133600 w 2376487"/>
              <a:gd name="connsiteY13" fmla="*/ 2033587 h 2838450"/>
              <a:gd name="connsiteX14" fmla="*/ 2224087 w 2376487"/>
              <a:gd name="connsiteY14" fmla="*/ 2281237 h 2838450"/>
              <a:gd name="connsiteX15" fmla="*/ 1952625 w 2376487"/>
              <a:gd name="connsiteY15" fmla="*/ 2462212 h 2838450"/>
              <a:gd name="connsiteX16" fmla="*/ 2028825 w 2376487"/>
              <a:gd name="connsiteY16" fmla="*/ 2657475 h 2838450"/>
              <a:gd name="connsiteX17" fmla="*/ 1857375 w 2376487"/>
              <a:gd name="connsiteY17" fmla="*/ 2838450 h 2838450"/>
              <a:gd name="connsiteX18" fmla="*/ 923925 w 2376487"/>
              <a:gd name="connsiteY18" fmla="*/ 2809875 h 2838450"/>
              <a:gd name="connsiteX19" fmla="*/ 476250 w 2376487"/>
              <a:gd name="connsiteY19" fmla="*/ 2657475 h 2838450"/>
              <a:gd name="connsiteX20" fmla="*/ 0 w 2376487"/>
              <a:gd name="connsiteY20" fmla="*/ 2633662 h 2838450"/>
              <a:gd name="connsiteX0" fmla="*/ 0 w 2376487"/>
              <a:gd name="connsiteY0" fmla="*/ 2633662 h 2838450"/>
              <a:gd name="connsiteX1" fmla="*/ 0 w 2376487"/>
              <a:gd name="connsiteY1" fmla="*/ 1295400 h 2838450"/>
              <a:gd name="connsiteX2" fmla="*/ 385762 w 2376487"/>
              <a:gd name="connsiteY2" fmla="*/ 1252537 h 2838450"/>
              <a:gd name="connsiteX3" fmla="*/ 616744 w 2376487"/>
              <a:gd name="connsiteY3" fmla="*/ 950118 h 2838450"/>
              <a:gd name="connsiteX4" fmla="*/ 981075 w 2376487"/>
              <a:gd name="connsiteY4" fmla="*/ 685800 h 2838450"/>
              <a:gd name="connsiteX5" fmla="*/ 1143000 w 2376487"/>
              <a:gd name="connsiteY5" fmla="*/ 128587 h 2838450"/>
              <a:gd name="connsiteX6" fmla="*/ 1323975 w 2376487"/>
              <a:gd name="connsiteY6" fmla="*/ 0 h 2838450"/>
              <a:gd name="connsiteX7" fmla="*/ 1585912 w 2376487"/>
              <a:gd name="connsiteY7" fmla="*/ 414337 h 2838450"/>
              <a:gd name="connsiteX8" fmla="*/ 1409700 w 2376487"/>
              <a:gd name="connsiteY8" fmla="*/ 1033462 h 2838450"/>
              <a:gd name="connsiteX9" fmla="*/ 2238375 w 2376487"/>
              <a:gd name="connsiteY9" fmla="*/ 1152525 h 2838450"/>
              <a:gd name="connsiteX10" fmla="*/ 2376487 w 2376487"/>
              <a:gd name="connsiteY10" fmla="*/ 1371600 h 2838450"/>
              <a:gd name="connsiteX11" fmla="*/ 2224087 w 2376487"/>
              <a:gd name="connsiteY11" fmla="*/ 1590675 h 2838450"/>
              <a:gd name="connsiteX12" fmla="*/ 2352675 w 2376487"/>
              <a:gd name="connsiteY12" fmla="*/ 1828800 h 2838450"/>
              <a:gd name="connsiteX13" fmla="*/ 2133600 w 2376487"/>
              <a:gd name="connsiteY13" fmla="*/ 2033587 h 2838450"/>
              <a:gd name="connsiteX14" fmla="*/ 2224087 w 2376487"/>
              <a:gd name="connsiteY14" fmla="*/ 2281237 h 2838450"/>
              <a:gd name="connsiteX15" fmla="*/ 1952625 w 2376487"/>
              <a:gd name="connsiteY15" fmla="*/ 2462212 h 2838450"/>
              <a:gd name="connsiteX16" fmla="*/ 2028825 w 2376487"/>
              <a:gd name="connsiteY16" fmla="*/ 2657475 h 2838450"/>
              <a:gd name="connsiteX17" fmla="*/ 1857375 w 2376487"/>
              <a:gd name="connsiteY17" fmla="*/ 2838450 h 2838450"/>
              <a:gd name="connsiteX18" fmla="*/ 923925 w 2376487"/>
              <a:gd name="connsiteY18" fmla="*/ 2809875 h 2838450"/>
              <a:gd name="connsiteX19" fmla="*/ 476250 w 2376487"/>
              <a:gd name="connsiteY19" fmla="*/ 2657475 h 2838450"/>
              <a:gd name="connsiteX20" fmla="*/ 0 w 2376487"/>
              <a:gd name="connsiteY20" fmla="*/ 2633662 h 2838450"/>
              <a:gd name="connsiteX0" fmla="*/ 0 w 2376487"/>
              <a:gd name="connsiteY0" fmla="*/ 2569368 h 2774156"/>
              <a:gd name="connsiteX1" fmla="*/ 0 w 2376487"/>
              <a:gd name="connsiteY1" fmla="*/ 1231106 h 2774156"/>
              <a:gd name="connsiteX2" fmla="*/ 385762 w 2376487"/>
              <a:gd name="connsiteY2" fmla="*/ 1188243 h 2774156"/>
              <a:gd name="connsiteX3" fmla="*/ 616744 w 2376487"/>
              <a:gd name="connsiteY3" fmla="*/ 885824 h 2774156"/>
              <a:gd name="connsiteX4" fmla="*/ 981075 w 2376487"/>
              <a:gd name="connsiteY4" fmla="*/ 621506 h 2774156"/>
              <a:gd name="connsiteX5" fmla="*/ 1143000 w 2376487"/>
              <a:gd name="connsiteY5" fmla="*/ 64293 h 2774156"/>
              <a:gd name="connsiteX6" fmla="*/ 1369219 w 2376487"/>
              <a:gd name="connsiteY6" fmla="*/ 0 h 2774156"/>
              <a:gd name="connsiteX7" fmla="*/ 1585912 w 2376487"/>
              <a:gd name="connsiteY7" fmla="*/ 350043 h 2774156"/>
              <a:gd name="connsiteX8" fmla="*/ 1409700 w 2376487"/>
              <a:gd name="connsiteY8" fmla="*/ 969168 h 2774156"/>
              <a:gd name="connsiteX9" fmla="*/ 2238375 w 2376487"/>
              <a:gd name="connsiteY9" fmla="*/ 1088231 h 2774156"/>
              <a:gd name="connsiteX10" fmla="*/ 2376487 w 2376487"/>
              <a:gd name="connsiteY10" fmla="*/ 1307306 h 2774156"/>
              <a:gd name="connsiteX11" fmla="*/ 2224087 w 2376487"/>
              <a:gd name="connsiteY11" fmla="*/ 1526381 h 2774156"/>
              <a:gd name="connsiteX12" fmla="*/ 2352675 w 2376487"/>
              <a:gd name="connsiteY12" fmla="*/ 1764506 h 2774156"/>
              <a:gd name="connsiteX13" fmla="*/ 2133600 w 2376487"/>
              <a:gd name="connsiteY13" fmla="*/ 1969293 h 2774156"/>
              <a:gd name="connsiteX14" fmla="*/ 2224087 w 2376487"/>
              <a:gd name="connsiteY14" fmla="*/ 2216943 h 2774156"/>
              <a:gd name="connsiteX15" fmla="*/ 1952625 w 2376487"/>
              <a:gd name="connsiteY15" fmla="*/ 2397918 h 2774156"/>
              <a:gd name="connsiteX16" fmla="*/ 2028825 w 2376487"/>
              <a:gd name="connsiteY16" fmla="*/ 2593181 h 2774156"/>
              <a:gd name="connsiteX17" fmla="*/ 1857375 w 2376487"/>
              <a:gd name="connsiteY17" fmla="*/ 2774156 h 2774156"/>
              <a:gd name="connsiteX18" fmla="*/ 923925 w 2376487"/>
              <a:gd name="connsiteY18" fmla="*/ 2745581 h 2774156"/>
              <a:gd name="connsiteX19" fmla="*/ 476250 w 2376487"/>
              <a:gd name="connsiteY19" fmla="*/ 2593181 h 2774156"/>
              <a:gd name="connsiteX20" fmla="*/ 0 w 2376487"/>
              <a:gd name="connsiteY20" fmla="*/ 2569368 h 2774156"/>
              <a:gd name="connsiteX0" fmla="*/ 0 w 2376487"/>
              <a:gd name="connsiteY0" fmla="*/ 2572274 h 2777062"/>
              <a:gd name="connsiteX1" fmla="*/ 0 w 2376487"/>
              <a:gd name="connsiteY1" fmla="*/ 1234012 h 2777062"/>
              <a:gd name="connsiteX2" fmla="*/ 385762 w 2376487"/>
              <a:gd name="connsiteY2" fmla="*/ 1191149 h 2777062"/>
              <a:gd name="connsiteX3" fmla="*/ 616744 w 2376487"/>
              <a:gd name="connsiteY3" fmla="*/ 888730 h 2777062"/>
              <a:gd name="connsiteX4" fmla="*/ 981075 w 2376487"/>
              <a:gd name="connsiteY4" fmla="*/ 624412 h 2777062"/>
              <a:gd name="connsiteX5" fmla="*/ 1143000 w 2376487"/>
              <a:gd name="connsiteY5" fmla="*/ 67199 h 2777062"/>
              <a:gd name="connsiteX6" fmla="*/ 1369219 w 2376487"/>
              <a:gd name="connsiteY6" fmla="*/ 2906 h 2777062"/>
              <a:gd name="connsiteX7" fmla="*/ 1585912 w 2376487"/>
              <a:gd name="connsiteY7" fmla="*/ 352949 h 2777062"/>
              <a:gd name="connsiteX8" fmla="*/ 1409700 w 2376487"/>
              <a:gd name="connsiteY8" fmla="*/ 972074 h 2777062"/>
              <a:gd name="connsiteX9" fmla="*/ 2238375 w 2376487"/>
              <a:gd name="connsiteY9" fmla="*/ 1091137 h 2777062"/>
              <a:gd name="connsiteX10" fmla="*/ 2376487 w 2376487"/>
              <a:gd name="connsiteY10" fmla="*/ 1310212 h 2777062"/>
              <a:gd name="connsiteX11" fmla="*/ 2224087 w 2376487"/>
              <a:gd name="connsiteY11" fmla="*/ 1529287 h 2777062"/>
              <a:gd name="connsiteX12" fmla="*/ 2352675 w 2376487"/>
              <a:gd name="connsiteY12" fmla="*/ 1767412 h 2777062"/>
              <a:gd name="connsiteX13" fmla="*/ 2133600 w 2376487"/>
              <a:gd name="connsiteY13" fmla="*/ 1972199 h 2777062"/>
              <a:gd name="connsiteX14" fmla="*/ 2224087 w 2376487"/>
              <a:gd name="connsiteY14" fmla="*/ 2219849 h 2777062"/>
              <a:gd name="connsiteX15" fmla="*/ 1952625 w 2376487"/>
              <a:gd name="connsiteY15" fmla="*/ 2400824 h 2777062"/>
              <a:gd name="connsiteX16" fmla="*/ 2028825 w 2376487"/>
              <a:gd name="connsiteY16" fmla="*/ 2596087 h 2777062"/>
              <a:gd name="connsiteX17" fmla="*/ 1857375 w 2376487"/>
              <a:gd name="connsiteY17" fmla="*/ 2777062 h 2777062"/>
              <a:gd name="connsiteX18" fmla="*/ 923925 w 2376487"/>
              <a:gd name="connsiteY18" fmla="*/ 2748487 h 2777062"/>
              <a:gd name="connsiteX19" fmla="*/ 476250 w 2376487"/>
              <a:gd name="connsiteY19" fmla="*/ 2596087 h 2777062"/>
              <a:gd name="connsiteX20" fmla="*/ 0 w 2376487"/>
              <a:gd name="connsiteY20" fmla="*/ 2572274 h 2777062"/>
              <a:gd name="connsiteX0" fmla="*/ 0 w 2376487"/>
              <a:gd name="connsiteY0" fmla="*/ 2573068 h 2777856"/>
              <a:gd name="connsiteX1" fmla="*/ 0 w 2376487"/>
              <a:gd name="connsiteY1" fmla="*/ 1234806 h 2777856"/>
              <a:gd name="connsiteX2" fmla="*/ 385762 w 2376487"/>
              <a:gd name="connsiteY2" fmla="*/ 1191943 h 2777856"/>
              <a:gd name="connsiteX3" fmla="*/ 616744 w 2376487"/>
              <a:gd name="connsiteY3" fmla="*/ 889524 h 2777856"/>
              <a:gd name="connsiteX4" fmla="*/ 981075 w 2376487"/>
              <a:gd name="connsiteY4" fmla="*/ 625206 h 2777856"/>
              <a:gd name="connsiteX5" fmla="*/ 1143000 w 2376487"/>
              <a:gd name="connsiteY5" fmla="*/ 67993 h 2777856"/>
              <a:gd name="connsiteX6" fmla="*/ 1369219 w 2376487"/>
              <a:gd name="connsiteY6" fmla="*/ 3700 h 2777856"/>
              <a:gd name="connsiteX7" fmla="*/ 1585912 w 2376487"/>
              <a:gd name="connsiteY7" fmla="*/ 353743 h 2777856"/>
              <a:gd name="connsiteX8" fmla="*/ 1409700 w 2376487"/>
              <a:gd name="connsiteY8" fmla="*/ 972868 h 2777856"/>
              <a:gd name="connsiteX9" fmla="*/ 2238375 w 2376487"/>
              <a:gd name="connsiteY9" fmla="*/ 1091931 h 2777856"/>
              <a:gd name="connsiteX10" fmla="*/ 2376487 w 2376487"/>
              <a:gd name="connsiteY10" fmla="*/ 1311006 h 2777856"/>
              <a:gd name="connsiteX11" fmla="*/ 2224087 w 2376487"/>
              <a:gd name="connsiteY11" fmla="*/ 1530081 h 2777856"/>
              <a:gd name="connsiteX12" fmla="*/ 2352675 w 2376487"/>
              <a:gd name="connsiteY12" fmla="*/ 1768206 h 2777856"/>
              <a:gd name="connsiteX13" fmla="*/ 2133600 w 2376487"/>
              <a:gd name="connsiteY13" fmla="*/ 1972993 h 2777856"/>
              <a:gd name="connsiteX14" fmla="*/ 2224087 w 2376487"/>
              <a:gd name="connsiteY14" fmla="*/ 2220643 h 2777856"/>
              <a:gd name="connsiteX15" fmla="*/ 1952625 w 2376487"/>
              <a:gd name="connsiteY15" fmla="*/ 2401618 h 2777856"/>
              <a:gd name="connsiteX16" fmla="*/ 2028825 w 2376487"/>
              <a:gd name="connsiteY16" fmla="*/ 2596881 h 2777856"/>
              <a:gd name="connsiteX17" fmla="*/ 1857375 w 2376487"/>
              <a:gd name="connsiteY17" fmla="*/ 2777856 h 2777856"/>
              <a:gd name="connsiteX18" fmla="*/ 923925 w 2376487"/>
              <a:gd name="connsiteY18" fmla="*/ 2749281 h 2777856"/>
              <a:gd name="connsiteX19" fmla="*/ 476250 w 2376487"/>
              <a:gd name="connsiteY19" fmla="*/ 2596881 h 2777856"/>
              <a:gd name="connsiteX20" fmla="*/ 0 w 2376487"/>
              <a:gd name="connsiteY20" fmla="*/ 2573068 h 2777856"/>
              <a:gd name="connsiteX0" fmla="*/ 0 w 2376487"/>
              <a:gd name="connsiteY0" fmla="*/ 2573068 h 2777856"/>
              <a:gd name="connsiteX1" fmla="*/ 0 w 2376487"/>
              <a:gd name="connsiteY1" fmla="*/ 1234806 h 2777856"/>
              <a:gd name="connsiteX2" fmla="*/ 385762 w 2376487"/>
              <a:gd name="connsiteY2" fmla="*/ 1191943 h 2777856"/>
              <a:gd name="connsiteX3" fmla="*/ 616744 w 2376487"/>
              <a:gd name="connsiteY3" fmla="*/ 889524 h 2777856"/>
              <a:gd name="connsiteX4" fmla="*/ 981075 w 2376487"/>
              <a:gd name="connsiteY4" fmla="*/ 625206 h 2777856"/>
              <a:gd name="connsiteX5" fmla="*/ 1143000 w 2376487"/>
              <a:gd name="connsiteY5" fmla="*/ 67993 h 2777856"/>
              <a:gd name="connsiteX6" fmla="*/ 1369219 w 2376487"/>
              <a:gd name="connsiteY6" fmla="*/ 3700 h 2777856"/>
              <a:gd name="connsiteX7" fmla="*/ 1585912 w 2376487"/>
              <a:gd name="connsiteY7" fmla="*/ 353743 h 2777856"/>
              <a:gd name="connsiteX8" fmla="*/ 1409700 w 2376487"/>
              <a:gd name="connsiteY8" fmla="*/ 972868 h 2777856"/>
              <a:gd name="connsiteX9" fmla="*/ 2238375 w 2376487"/>
              <a:gd name="connsiteY9" fmla="*/ 1091931 h 2777856"/>
              <a:gd name="connsiteX10" fmla="*/ 2376487 w 2376487"/>
              <a:gd name="connsiteY10" fmla="*/ 1311006 h 2777856"/>
              <a:gd name="connsiteX11" fmla="*/ 2224087 w 2376487"/>
              <a:gd name="connsiteY11" fmla="*/ 1530081 h 2777856"/>
              <a:gd name="connsiteX12" fmla="*/ 2352675 w 2376487"/>
              <a:gd name="connsiteY12" fmla="*/ 1768206 h 2777856"/>
              <a:gd name="connsiteX13" fmla="*/ 2133600 w 2376487"/>
              <a:gd name="connsiteY13" fmla="*/ 1972993 h 2777856"/>
              <a:gd name="connsiteX14" fmla="*/ 2224087 w 2376487"/>
              <a:gd name="connsiteY14" fmla="*/ 2220643 h 2777856"/>
              <a:gd name="connsiteX15" fmla="*/ 1952625 w 2376487"/>
              <a:gd name="connsiteY15" fmla="*/ 2401618 h 2777856"/>
              <a:gd name="connsiteX16" fmla="*/ 2028825 w 2376487"/>
              <a:gd name="connsiteY16" fmla="*/ 2596881 h 2777856"/>
              <a:gd name="connsiteX17" fmla="*/ 1857375 w 2376487"/>
              <a:gd name="connsiteY17" fmla="*/ 2777856 h 2777856"/>
              <a:gd name="connsiteX18" fmla="*/ 923925 w 2376487"/>
              <a:gd name="connsiteY18" fmla="*/ 2749281 h 2777856"/>
              <a:gd name="connsiteX19" fmla="*/ 476250 w 2376487"/>
              <a:gd name="connsiteY19" fmla="*/ 2596881 h 2777856"/>
              <a:gd name="connsiteX20" fmla="*/ 0 w 2376487"/>
              <a:gd name="connsiteY20" fmla="*/ 2573068 h 2777856"/>
              <a:gd name="connsiteX0" fmla="*/ 0 w 2376487"/>
              <a:gd name="connsiteY0" fmla="*/ 2584705 h 2789493"/>
              <a:gd name="connsiteX1" fmla="*/ 0 w 2376487"/>
              <a:gd name="connsiteY1" fmla="*/ 1246443 h 2789493"/>
              <a:gd name="connsiteX2" fmla="*/ 385762 w 2376487"/>
              <a:gd name="connsiteY2" fmla="*/ 1203580 h 2789493"/>
              <a:gd name="connsiteX3" fmla="*/ 616744 w 2376487"/>
              <a:gd name="connsiteY3" fmla="*/ 901161 h 2789493"/>
              <a:gd name="connsiteX4" fmla="*/ 981075 w 2376487"/>
              <a:gd name="connsiteY4" fmla="*/ 636843 h 2789493"/>
              <a:gd name="connsiteX5" fmla="*/ 1143000 w 2376487"/>
              <a:gd name="connsiteY5" fmla="*/ 79630 h 2789493"/>
              <a:gd name="connsiteX6" fmla="*/ 1369219 w 2376487"/>
              <a:gd name="connsiteY6" fmla="*/ 15337 h 2789493"/>
              <a:gd name="connsiteX7" fmla="*/ 1566862 w 2376487"/>
              <a:gd name="connsiteY7" fmla="*/ 362999 h 2789493"/>
              <a:gd name="connsiteX8" fmla="*/ 1409700 w 2376487"/>
              <a:gd name="connsiteY8" fmla="*/ 984505 h 2789493"/>
              <a:gd name="connsiteX9" fmla="*/ 2238375 w 2376487"/>
              <a:gd name="connsiteY9" fmla="*/ 1103568 h 2789493"/>
              <a:gd name="connsiteX10" fmla="*/ 2376487 w 2376487"/>
              <a:gd name="connsiteY10" fmla="*/ 1322643 h 2789493"/>
              <a:gd name="connsiteX11" fmla="*/ 2224087 w 2376487"/>
              <a:gd name="connsiteY11" fmla="*/ 1541718 h 2789493"/>
              <a:gd name="connsiteX12" fmla="*/ 2352675 w 2376487"/>
              <a:gd name="connsiteY12" fmla="*/ 1779843 h 2789493"/>
              <a:gd name="connsiteX13" fmla="*/ 2133600 w 2376487"/>
              <a:gd name="connsiteY13" fmla="*/ 1984630 h 2789493"/>
              <a:gd name="connsiteX14" fmla="*/ 2224087 w 2376487"/>
              <a:gd name="connsiteY14" fmla="*/ 2232280 h 2789493"/>
              <a:gd name="connsiteX15" fmla="*/ 1952625 w 2376487"/>
              <a:gd name="connsiteY15" fmla="*/ 2413255 h 2789493"/>
              <a:gd name="connsiteX16" fmla="*/ 2028825 w 2376487"/>
              <a:gd name="connsiteY16" fmla="*/ 2608518 h 2789493"/>
              <a:gd name="connsiteX17" fmla="*/ 1857375 w 2376487"/>
              <a:gd name="connsiteY17" fmla="*/ 2789493 h 2789493"/>
              <a:gd name="connsiteX18" fmla="*/ 923925 w 2376487"/>
              <a:gd name="connsiteY18" fmla="*/ 2760918 h 2789493"/>
              <a:gd name="connsiteX19" fmla="*/ 476250 w 2376487"/>
              <a:gd name="connsiteY19" fmla="*/ 2608518 h 2789493"/>
              <a:gd name="connsiteX20" fmla="*/ 0 w 2376487"/>
              <a:gd name="connsiteY20" fmla="*/ 2584705 h 2789493"/>
              <a:gd name="connsiteX0" fmla="*/ 0 w 2376487"/>
              <a:gd name="connsiteY0" fmla="*/ 2578074 h 2782862"/>
              <a:gd name="connsiteX1" fmla="*/ 0 w 2376487"/>
              <a:gd name="connsiteY1" fmla="*/ 1239812 h 2782862"/>
              <a:gd name="connsiteX2" fmla="*/ 385762 w 2376487"/>
              <a:gd name="connsiteY2" fmla="*/ 1196949 h 2782862"/>
              <a:gd name="connsiteX3" fmla="*/ 616744 w 2376487"/>
              <a:gd name="connsiteY3" fmla="*/ 894530 h 2782862"/>
              <a:gd name="connsiteX4" fmla="*/ 981075 w 2376487"/>
              <a:gd name="connsiteY4" fmla="*/ 630212 h 2782862"/>
              <a:gd name="connsiteX5" fmla="*/ 1143000 w 2376487"/>
              <a:gd name="connsiteY5" fmla="*/ 72999 h 2782862"/>
              <a:gd name="connsiteX6" fmla="*/ 1369219 w 2376487"/>
              <a:gd name="connsiteY6" fmla="*/ 8706 h 2782862"/>
              <a:gd name="connsiteX7" fmla="*/ 1566862 w 2376487"/>
              <a:gd name="connsiteY7" fmla="*/ 356368 h 2782862"/>
              <a:gd name="connsiteX8" fmla="*/ 1409700 w 2376487"/>
              <a:gd name="connsiteY8" fmla="*/ 977874 h 2782862"/>
              <a:gd name="connsiteX9" fmla="*/ 2238375 w 2376487"/>
              <a:gd name="connsiteY9" fmla="*/ 1096937 h 2782862"/>
              <a:gd name="connsiteX10" fmla="*/ 2376487 w 2376487"/>
              <a:gd name="connsiteY10" fmla="*/ 1316012 h 2782862"/>
              <a:gd name="connsiteX11" fmla="*/ 2224087 w 2376487"/>
              <a:gd name="connsiteY11" fmla="*/ 1535087 h 2782862"/>
              <a:gd name="connsiteX12" fmla="*/ 2352675 w 2376487"/>
              <a:gd name="connsiteY12" fmla="*/ 1773212 h 2782862"/>
              <a:gd name="connsiteX13" fmla="*/ 2133600 w 2376487"/>
              <a:gd name="connsiteY13" fmla="*/ 1977999 h 2782862"/>
              <a:gd name="connsiteX14" fmla="*/ 2224087 w 2376487"/>
              <a:gd name="connsiteY14" fmla="*/ 2225649 h 2782862"/>
              <a:gd name="connsiteX15" fmla="*/ 1952625 w 2376487"/>
              <a:gd name="connsiteY15" fmla="*/ 2406624 h 2782862"/>
              <a:gd name="connsiteX16" fmla="*/ 2028825 w 2376487"/>
              <a:gd name="connsiteY16" fmla="*/ 2601887 h 2782862"/>
              <a:gd name="connsiteX17" fmla="*/ 1857375 w 2376487"/>
              <a:gd name="connsiteY17" fmla="*/ 2782862 h 2782862"/>
              <a:gd name="connsiteX18" fmla="*/ 923925 w 2376487"/>
              <a:gd name="connsiteY18" fmla="*/ 2754287 h 2782862"/>
              <a:gd name="connsiteX19" fmla="*/ 476250 w 2376487"/>
              <a:gd name="connsiteY19" fmla="*/ 2601887 h 2782862"/>
              <a:gd name="connsiteX20" fmla="*/ 0 w 2376487"/>
              <a:gd name="connsiteY20" fmla="*/ 2578074 h 2782862"/>
              <a:gd name="connsiteX0" fmla="*/ 0 w 2376487"/>
              <a:gd name="connsiteY0" fmla="*/ 2578074 h 2782862"/>
              <a:gd name="connsiteX1" fmla="*/ 0 w 2376487"/>
              <a:gd name="connsiteY1" fmla="*/ 1239812 h 2782862"/>
              <a:gd name="connsiteX2" fmla="*/ 385762 w 2376487"/>
              <a:gd name="connsiteY2" fmla="*/ 1196949 h 2782862"/>
              <a:gd name="connsiteX3" fmla="*/ 616744 w 2376487"/>
              <a:gd name="connsiteY3" fmla="*/ 894530 h 2782862"/>
              <a:gd name="connsiteX4" fmla="*/ 981075 w 2376487"/>
              <a:gd name="connsiteY4" fmla="*/ 630212 h 2782862"/>
              <a:gd name="connsiteX5" fmla="*/ 1143000 w 2376487"/>
              <a:gd name="connsiteY5" fmla="*/ 72999 h 2782862"/>
              <a:gd name="connsiteX6" fmla="*/ 1369219 w 2376487"/>
              <a:gd name="connsiteY6" fmla="*/ 8706 h 2782862"/>
              <a:gd name="connsiteX7" fmla="*/ 1566862 w 2376487"/>
              <a:gd name="connsiteY7" fmla="*/ 356368 h 2782862"/>
              <a:gd name="connsiteX8" fmla="*/ 1402557 w 2376487"/>
              <a:gd name="connsiteY8" fmla="*/ 999305 h 2782862"/>
              <a:gd name="connsiteX9" fmla="*/ 2238375 w 2376487"/>
              <a:gd name="connsiteY9" fmla="*/ 1096937 h 2782862"/>
              <a:gd name="connsiteX10" fmla="*/ 2376487 w 2376487"/>
              <a:gd name="connsiteY10" fmla="*/ 1316012 h 2782862"/>
              <a:gd name="connsiteX11" fmla="*/ 2224087 w 2376487"/>
              <a:gd name="connsiteY11" fmla="*/ 1535087 h 2782862"/>
              <a:gd name="connsiteX12" fmla="*/ 2352675 w 2376487"/>
              <a:gd name="connsiteY12" fmla="*/ 1773212 h 2782862"/>
              <a:gd name="connsiteX13" fmla="*/ 2133600 w 2376487"/>
              <a:gd name="connsiteY13" fmla="*/ 1977999 h 2782862"/>
              <a:gd name="connsiteX14" fmla="*/ 2224087 w 2376487"/>
              <a:gd name="connsiteY14" fmla="*/ 2225649 h 2782862"/>
              <a:gd name="connsiteX15" fmla="*/ 1952625 w 2376487"/>
              <a:gd name="connsiteY15" fmla="*/ 2406624 h 2782862"/>
              <a:gd name="connsiteX16" fmla="*/ 2028825 w 2376487"/>
              <a:gd name="connsiteY16" fmla="*/ 2601887 h 2782862"/>
              <a:gd name="connsiteX17" fmla="*/ 1857375 w 2376487"/>
              <a:gd name="connsiteY17" fmla="*/ 2782862 h 2782862"/>
              <a:gd name="connsiteX18" fmla="*/ 923925 w 2376487"/>
              <a:gd name="connsiteY18" fmla="*/ 2754287 h 2782862"/>
              <a:gd name="connsiteX19" fmla="*/ 476250 w 2376487"/>
              <a:gd name="connsiteY19" fmla="*/ 2601887 h 2782862"/>
              <a:gd name="connsiteX20" fmla="*/ 0 w 2376487"/>
              <a:gd name="connsiteY20" fmla="*/ 2578074 h 2782862"/>
              <a:gd name="connsiteX0" fmla="*/ 0 w 2376487"/>
              <a:gd name="connsiteY0" fmla="*/ 2578074 h 2782862"/>
              <a:gd name="connsiteX1" fmla="*/ 0 w 2376487"/>
              <a:gd name="connsiteY1" fmla="*/ 1239812 h 2782862"/>
              <a:gd name="connsiteX2" fmla="*/ 385762 w 2376487"/>
              <a:gd name="connsiteY2" fmla="*/ 1196949 h 2782862"/>
              <a:gd name="connsiteX3" fmla="*/ 616744 w 2376487"/>
              <a:gd name="connsiteY3" fmla="*/ 894530 h 2782862"/>
              <a:gd name="connsiteX4" fmla="*/ 981075 w 2376487"/>
              <a:gd name="connsiteY4" fmla="*/ 630212 h 2782862"/>
              <a:gd name="connsiteX5" fmla="*/ 1143000 w 2376487"/>
              <a:gd name="connsiteY5" fmla="*/ 72999 h 2782862"/>
              <a:gd name="connsiteX6" fmla="*/ 1369219 w 2376487"/>
              <a:gd name="connsiteY6" fmla="*/ 8706 h 2782862"/>
              <a:gd name="connsiteX7" fmla="*/ 1566862 w 2376487"/>
              <a:gd name="connsiteY7" fmla="*/ 356368 h 2782862"/>
              <a:gd name="connsiteX8" fmla="*/ 1402557 w 2376487"/>
              <a:gd name="connsiteY8" fmla="*/ 999305 h 2782862"/>
              <a:gd name="connsiteX9" fmla="*/ 2238375 w 2376487"/>
              <a:gd name="connsiteY9" fmla="*/ 1096937 h 2782862"/>
              <a:gd name="connsiteX10" fmla="*/ 2376487 w 2376487"/>
              <a:gd name="connsiteY10" fmla="*/ 1316012 h 2782862"/>
              <a:gd name="connsiteX11" fmla="*/ 2224087 w 2376487"/>
              <a:gd name="connsiteY11" fmla="*/ 1535087 h 2782862"/>
              <a:gd name="connsiteX12" fmla="*/ 2352675 w 2376487"/>
              <a:gd name="connsiteY12" fmla="*/ 1773212 h 2782862"/>
              <a:gd name="connsiteX13" fmla="*/ 2133600 w 2376487"/>
              <a:gd name="connsiteY13" fmla="*/ 1977999 h 2782862"/>
              <a:gd name="connsiteX14" fmla="*/ 2224087 w 2376487"/>
              <a:gd name="connsiteY14" fmla="*/ 2225649 h 2782862"/>
              <a:gd name="connsiteX15" fmla="*/ 1952625 w 2376487"/>
              <a:gd name="connsiteY15" fmla="*/ 2406624 h 2782862"/>
              <a:gd name="connsiteX16" fmla="*/ 2028825 w 2376487"/>
              <a:gd name="connsiteY16" fmla="*/ 2601887 h 2782862"/>
              <a:gd name="connsiteX17" fmla="*/ 1857375 w 2376487"/>
              <a:gd name="connsiteY17" fmla="*/ 2782862 h 2782862"/>
              <a:gd name="connsiteX18" fmla="*/ 923925 w 2376487"/>
              <a:gd name="connsiteY18" fmla="*/ 2754287 h 2782862"/>
              <a:gd name="connsiteX19" fmla="*/ 476250 w 2376487"/>
              <a:gd name="connsiteY19" fmla="*/ 2601887 h 2782862"/>
              <a:gd name="connsiteX20" fmla="*/ 0 w 2376487"/>
              <a:gd name="connsiteY20" fmla="*/ 2578074 h 2782862"/>
              <a:gd name="connsiteX0" fmla="*/ 0 w 2378410"/>
              <a:gd name="connsiteY0" fmla="*/ 2578074 h 2782862"/>
              <a:gd name="connsiteX1" fmla="*/ 0 w 2378410"/>
              <a:gd name="connsiteY1" fmla="*/ 1239812 h 2782862"/>
              <a:gd name="connsiteX2" fmla="*/ 385762 w 2378410"/>
              <a:gd name="connsiteY2" fmla="*/ 1196949 h 2782862"/>
              <a:gd name="connsiteX3" fmla="*/ 616744 w 2378410"/>
              <a:gd name="connsiteY3" fmla="*/ 894530 h 2782862"/>
              <a:gd name="connsiteX4" fmla="*/ 981075 w 2378410"/>
              <a:gd name="connsiteY4" fmla="*/ 630212 h 2782862"/>
              <a:gd name="connsiteX5" fmla="*/ 1143000 w 2378410"/>
              <a:gd name="connsiteY5" fmla="*/ 72999 h 2782862"/>
              <a:gd name="connsiteX6" fmla="*/ 1369219 w 2378410"/>
              <a:gd name="connsiteY6" fmla="*/ 8706 h 2782862"/>
              <a:gd name="connsiteX7" fmla="*/ 1566862 w 2378410"/>
              <a:gd name="connsiteY7" fmla="*/ 356368 h 2782862"/>
              <a:gd name="connsiteX8" fmla="*/ 1402557 w 2378410"/>
              <a:gd name="connsiteY8" fmla="*/ 999305 h 2782862"/>
              <a:gd name="connsiteX9" fmla="*/ 2238375 w 2378410"/>
              <a:gd name="connsiteY9" fmla="*/ 1096937 h 2782862"/>
              <a:gd name="connsiteX10" fmla="*/ 2376487 w 2378410"/>
              <a:gd name="connsiteY10" fmla="*/ 1316012 h 2782862"/>
              <a:gd name="connsiteX11" fmla="*/ 2224087 w 2378410"/>
              <a:gd name="connsiteY11" fmla="*/ 1535087 h 2782862"/>
              <a:gd name="connsiteX12" fmla="*/ 2352675 w 2378410"/>
              <a:gd name="connsiteY12" fmla="*/ 1773212 h 2782862"/>
              <a:gd name="connsiteX13" fmla="*/ 2133600 w 2378410"/>
              <a:gd name="connsiteY13" fmla="*/ 1977999 h 2782862"/>
              <a:gd name="connsiteX14" fmla="*/ 2224087 w 2378410"/>
              <a:gd name="connsiteY14" fmla="*/ 2225649 h 2782862"/>
              <a:gd name="connsiteX15" fmla="*/ 1952625 w 2378410"/>
              <a:gd name="connsiteY15" fmla="*/ 2406624 h 2782862"/>
              <a:gd name="connsiteX16" fmla="*/ 2028825 w 2378410"/>
              <a:gd name="connsiteY16" fmla="*/ 2601887 h 2782862"/>
              <a:gd name="connsiteX17" fmla="*/ 1857375 w 2378410"/>
              <a:gd name="connsiteY17" fmla="*/ 2782862 h 2782862"/>
              <a:gd name="connsiteX18" fmla="*/ 923925 w 2378410"/>
              <a:gd name="connsiteY18" fmla="*/ 2754287 h 2782862"/>
              <a:gd name="connsiteX19" fmla="*/ 476250 w 2378410"/>
              <a:gd name="connsiteY19" fmla="*/ 2601887 h 2782862"/>
              <a:gd name="connsiteX20" fmla="*/ 0 w 2378410"/>
              <a:gd name="connsiteY20" fmla="*/ 2578074 h 2782862"/>
              <a:gd name="connsiteX0" fmla="*/ 0 w 2378410"/>
              <a:gd name="connsiteY0" fmla="*/ 2578074 h 2782862"/>
              <a:gd name="connsiteX1" fmla="*/ 0 w 2378410"/>
              <a:gd name="connsiteY1" fmla="*/ 1239812 h 2782862"/>
              <a:gd name="connsiteX2" fmla="*/ 385762 w 2378410"/>
              <a:gd name="connsiteY2" fmla="*/ 1196949 h 2782862"/>
              <a:gd name="connsiteX3" fmla="*/ 616744 w 2378410"/>
              <a:gd name="connsiteY3" fmla="*/ 894530 h 2782862"/>
              <a:gd name="connsiteX4" fmla="*/ 981075 w 2378410"/>
              <a:gd name="connsiteY4" fmla="*/ 630212 h 2782862"/>
              <a:gd name="connsiteX5" fmla="*/ 1143000 w 2378410"/>
              <a:gd name="connsiteY5" fmla="*/ 72999 h 2782862"/>
              <a:gd name="connsiteX6" fmla="*/ 1369219 w 2378410"/>
              <a:gd name="connsiteY6" fmla="*/ 8706 h 2782862"/>
              <a:gd name="connsiteX7" fmla="*/ 1566862 w 2378410"/>
              <a:gd name="connsiteY7" fmla="*/ 356368 h 2782862"/>
              <a:gd name="connsiteX8" fmla="*/ 1402557 w 2378410"/>
              <a:gd name="connsiteY8" fmla="*/ 999305 h 2782862"/>
              <a:gd name="connsiteX9" fmla="*/ 2238375 w 2378410"/>
              <a:gd name="connsiteY9" fmla="*/ 1096937 h 2782862"/>
              <a:gd name="connsiteX10" fmla="*/ 2376487 w 2378410"/>
              <a:gd name="connsiteY10" fmla="*/ 1316012 h 2782862"/>
              <a:gd name="connsiteX11" fmla="*/ 2224087 w 2378410"/>
              <a:gd name="connsiteY11" fmla="*/ 1535087 h 2782862"/>
              <a:gd name="connsiteX12" fmla="*/ 2352675 w 2378410"/>
              <a:gd name="connsiteY12" fmla="*/ 1773212 h 2782862"/>
              <a:gd name="connsiteX13" fmla="*/ 2133600 w 2378410"/>
              <a:gd name="connsiteY13" fmla="*/ 1977999 h 2782862"/>
              <a:gd name="connsiteX14" fmla="*/ 2224087 w 2378410"/>
              <a:gd name="connsiteY14" fmla="*/ 2225649 h 2782862"/>
              <a:gd name="connsiteX15" fmla="*/ 1952625 w 2378410"/>
              <a:gd name="connsiteY15" fmla="*/ 2406624 h 2782862"/>
              <a:gd name="connsiteX16" fmla="*/ 2028825 w 2378410"/>
              <a:gd name="connsiteY16" fmla="*/ 2601887 h 2782862"/>
              <a:gd name="connsiteX17" fmla="*/ 1857375 w 2378410"/>
              <a:gd name="connsiteY17" fmla="*/ 2782862 h 2782862"/>
              <a:gd name="connsiteX18" fmla="*/ 923925 w 2378410"/>
              <a:gd name="connsiteY18" fmla="*/ 2754287 h 2782862"/>
              <a:gd name="connsiteX19" fmla="*/ 476250 w 2378410"/>
              <a:gd name="connsiteY19" fmla="*/ 2601887 h 2782862"/>
              <a:gd name="connsiteX20" fmla="*/ 0 w 2378410"/>
              <a:gd name="connsiteY20" fmla="*/ 2578074 h 2782862"/>
              <a:gd name="connsiteX0" fmla="*/ 0 w 2378410"/>
              <a:gd name="connsiteY0" fmla="*/ 2578074 h 2782862"/>
              <a:gd name="connsiteX1" fmla="*/ 0 w 2378410"/>
              <a:gd name="connsiteY1" fmla="*/ 1239812 h 2782862"/>
              <a:gd name="connsiteX2" fmla="*/ 385762 w 2378410"/>
              <a:gd name="connsiteY2" fmla="*/ 1196949 h 2782862"/>
              <a:gd name="connsiteX3" fmla="*/ 616744 w 2378410"/>
              <a:gd name="connsiteY3" fmla="*/ 894530 h 2782862"/>
              <a:gd name="connsiteX4" fmla="*/ 981075 w 2378410"/>
              <a:gd name="connsiteY4" fmla="*/ 630212 h 2782862"/>
              <a:gd name="connsiteX5" fmla="*/ 1143000 w 2378410"/>
              <a:gd name="connsiteY5" fmla="*/ 72999 h 2782862"/>
              <a:gd name="connsiteX6" fmla="*/ 1369219 w 2378410"/>
              <a:gd name="connsiteY6" fmla="*/ 8706 h 2782862"/>
              <a:gd name="connsiteX7" fmla="*/ 1566862 w 2378410"/>
              <a:gd name="connsiteY7" fmla="*/ 356368 h 2782862"/>
              <a:gd name="connsiteX8" fmla="*/ 1402557 w 2378410"/>
              <a:gd name="connsiteY8" fmla="*/ 999305 h 2782862"/>
              <a:gd name="connsiteX9" fmla="*/ 2238375 w 2378410"/>
              <a:gd name="connsiteY9" fmla="*/ 1096937 h 2782862"/>
              <a:gd name="connsiteX10" fmla="*/ 2376487 w 2378410"/>
              <a:gd name="connsiteY10" fmla="*/ 1316012 h 2782862"/>
              <a:gd name="connsiteX11" fmla="*/ 2224087 w 2378410"/>
              <a:gd name="connsiteY11" fmla="*/ 1535087 h 2782862"/>
              <a:gd name="connsiteX12" fmla="*/ 2352675 w 2378410"/>
              <a:gd name="connsiteY12" fmla="*/ 1773212 h 2782862"/>
              <a:gd name="connsiteX13" fmla="*/ 2133600 w 2378410"/>
              <a:gd name="connsiteY13" fmla="*/ 1977999 h 2782862"/>
              <a:gd name="connsiteX14" fmla="*/ 2224087 w 2378410"/>
              <a:gd name="connsiteY14" fmla="*/ 2225649 h 2782862"/>
              <a:gd name="connsiteX15" fmla="*/ 1952625 w 2378410"/>
              <a:gd name="connsiteY15" fmla="*/ 2406624 h 2782862"/>
              <a:gd name="connsiteX16" fmla="*/ 2028825 w 2378410"/>
              <a:gd name="connsiteY16" fmla="*/ 2601887 h 2782862"/>
              <a:gd name="connsiteX17" fmla="*/ 1857375 w 2378410"/>
              <a:gd name="connsiteY17" fmla="*/ 2782862 h 2782862"/>
              <a:gd name="connsiteX18" fmla="*/ 923925 w 2378410"/>
              <a:gd name="connsiteY18" fmla="*/ 2754287 h 2782862"/>
              <a:gd name="connsiteX19" fmla="*/ 476250 w 2378410"/>
              <a:gd name="connsiteY19" fmla="*/ 2601887 h 2782862"/>
              <a:gd name="connsiteX20" fmla="*/ 0 w 2378410"/>
              <a:gd name="connsiteY20" fmla="*/ 2578074 h 2782862"/>
              <a:gd name="connsiteX0" fmla="*/ 0 w 2378410"/>
              <a:gd name="connsiteY0" fmla="*/ 2578074 h 2782862"/>
              <a:gd name="connsiteX1" fmla="*/ 0 w 2378410"/>
              <a:gd name="connsiteY1" fmla="*/ 1239812 h 2782862"/>
              <a:gd name="connsiteX2" fmla="*/ 385762 w 2378410"/>
              <a:gd name="connsiteY2" fmla="*/ 1196949 h 2782862"/>
              <a:gd name="connsiteX3" fmla="*/ 616744 w 2378410"/>
              <a:gd name="connsiteY3" fmla="*/ 894530 h 2782862"/>
              <a:gd name="connsiteX4" fmla="*/ 981075 w 2378410"/>
              <a:gd name="connsiteY4" fmla="*/ 630212 h 2782862"/>
              <a:gd name="connsiteX5" fmla="*/ 1143000 w 2378410"/>
              <a:gd name="connsiteY5" fmla="*/ 72999 h 2782862"/>
              <a:gd name="connsiteX6" fmla="*/ 1369219 w 2378410"/>
              <a:gd name="connsiteY6" fmla="*/ 8706 h 2782862"/>
              <a:gd name="connsiteX7" fmla="*/ 1566862 w 2378410"/>
              <a:gd name="connsiteY7" fmla="*/ 356368 h 2782862"/>
              <a:gd name="connsiteX8" fmla="*/ 1402557 w 2378410"/>
              <a:gd name="connsiteY8" fmla="*/ 999305 h 2782862"/>
              <a:gd name="connsiteX9" fmla="*/ 2238375 w 2378410"/>
              <a:gd name="connsiteY9" fmla="*/ 1096937 h 2782862"/>
              <a:gd name="connsiteX10" fmla="*/ 2376487 w 2378410"/>
              <a:gd name="connsiteY10" fmla="*/ 1316012 h 2782862"/>
              <a:gd name="connsiteX11" fmla="*/ 2224087 w 2378410"/>
              <a:gd name="connsiteY11" fmla="*/ 1535087 h 2782862"/>
              <a:gd name="connsiteX12" fmla="*/ 2352675 w 2378410"/>
              <a:gd name="connsiteY12" fmla="*/ 1773212 h 2782862"/>
              <a:gd name="connsiteX13" fmla="*/ 2133600 w 2378410"/>
              <a:gd name="connsiteY13" fmla="*/ 1977999 h 2782862"/>
              <a:gd name="connsiteX14" fmla="*/ 2224087 w 2378410"/>
              <a:gd name="connsiteY14" fmla="*/ 2225649 h 2782862"/>
              <a:gd name="connsiteX15" fmla="*/ 1952625 w 2378410"/>
              <a:gd name="connsiteY15" fmla="*/ 2406624 h 2782862"/>
              <a:gd name="connsiteX16" fmla="*/ 1962150 w 2378410"/>
              <a:gd name="connsiteY16" fmla="*/ 2582837 h 2782862"/>
              <a:gd name="connsiteX17" fmla="*/ 1857375 w 2378410"/>
              <a:gd name="connsiteY17" fmla="*/ 2782862 h 2782862"/>
              <a:gd name="connsiteX18" fmla="*/ 923925 w 2378410"/>
              <a:gd name="connsiteY18" fmla="*/ 2754287 h 2782862"/>
              <a:gd name="connsiteX19" fmla="*/ 476250 w 2378410"/>
              <a:gd name="connsiteY19" fmla="*/ 2601887 h 2782862"/>
              <a:gd name="connsiteX20" fmla="*/ 0 w 2378410"/>
              <a:gd name="connsiteY20" fmla="*/ 2578074 h 2782862"/>
              <a:gd name="connsiteX0" fmla="*/ 0 w 2378410"/>
              <a:gd name="connsiteY0" fmla="*/ 2578074 h 2782862"/>
              <a:gd name="connsiteX1" fmla="*/ 0 w 2378410"/>
              <a:gd name="connsiteY1" fmla="*/ 1239812 h 2782862"/>
              <a:gd name="connsiteX2" fmla="*/ 385762 w 2378410"/>
              <a:gd name="connsiteY2" fmla="*/ 1196949 h 2782862"/>
              <a:gd name="connsiteX3" fmla="*/ 616744 w 2378410"/>
              <a:gd name="connsiteY3" fmla="*/ 894530 h 2782862"/>
              <a:gd name="connsiteX4" fmla="*/ 981075 w 2378410"/>
              <a:gd name="connsiteY4" fmla="*/ 630212 h 2782862"/>
              <a:gd name="connsiteX5" fmla="*/ 1143000 w 2378410"/>
              <a:gd name="connsiteY5" fmla="*/ 72999 h 2782862"/>
              <a:gd name="connsiteX6" fmla="*/ 1369219 w 2378410"/>
              <a:gd name="connsiteY6" fmla="*/ 8706 h 2782862"/>
              <a:gd name="connsiteX7" fmla="*/ 1566862 w 2378410"/>
              <a:gd name="connsiteY7" fmla="*/ 356368 h 2782862"/>
              <a:gd name="connsiteX8" fmla="*/ 1402557 w 2378410"/>
              <a:gd name="connsiteY8" fmla="*/ 999305 h 2782862"/>
              <a:gd name="connsiteX9" fmla="*/ 2238375 w 2378410"/>
              <a:gd name="connsiteY9" fmla="*/ 1096937 h 2782862"/>
              <a:gd name="connsiteX10" fmla="*/ 2376487 w 2378410"/>
              <a:gd name="connsiteY10" fmla="*/ 1316012 h 2782862"/>
              <a:gd name="connsiteX11" fmla="*/ 2224087 w 2378410"/>
              <a:gd name="connsiteY11" fmla="*/ 1535087 h 2782862"/>
              <a:gd name="connsiteX12" fmla="*/ 2352675 w 2378410"/>
              <a:gd name="connsiteY12" fmla="*/ 1773212 h 2782862"/>
              <a:gd name="connsiteX13" fmla="*/ 2133600 w 2378410"/>
              <a:gd name="connsiteY13" fmla="*/ 1977999 h 2782862"/>
              <a:gd name="connsiteX14" fmla="*/ 2224087 w 2378410"/>
              <a:gd name="connsiteY14" fmla="*/ 2225649 h 2782862"/>
              <a:gd name="connsiteX15" fmla="*/ 1952625 w 2378410"/>
              <a:gd name="connsiteY15" fmla="*/ 2406624 h 2782862"/>
              <a:gd name="connsiteX16" fmla="*/ 1962150 w 2378410"/>
              <a:gd name="connsiteY16" fmla="*/ 2582837 h 2782862"/>
              <a:gd name="connsiteX17" fmla="*/ 1857375 w 2378410"/>
              <a:gd name="connsiteY17" fmla="*/ 2782862 h 2782862"/>
              <a:gd name="connsiteX18" fmla="*/ 923925 w 2378410"/>
              <a:gd name="connsiteY18" fmla="*/ 2754287 h 2782862"/>
              <a:gd name="connsiteX19" fmla="*/ 476250 w 2378410"/>
              <a:gd name="connsiteY19" fmla="*/ 2601887 h 2782862"/>
              <a:gd name="connsiteX20" fmla="*/ 0 w 2378410"/>
              <a:gd name="connsiteY20" fmla="*/ 2578074 h 2782862"/>
              <a:gd name="connsiteX0" fmla="*/ 0 w 2378410"/>
              <a:gd name="connsiteY0" fmla="*/ 2578074 h 2782862"/>
              <a:gd name="connsiteX1" fmla="*/ 0 w 2378410"/>
              <a:gd name="connsiteY1" fmla="*/ 1239812 h 2782862"/>
              <a:gd name="connsiteX2" fmla="*/ 385762 w 2378410"/>
              <a:gd name="connsiteY2" fmla="*/ 1196949 h 2782862"/>
              <a:gd name="connsiteX3" fmla="*/ 616744 w 2378410"/>
              <a:gd name="connsiteY3" fmla="*/ 894530 h 2782862"/>
              <a:gd name="connsiteX4" fmla="*/ 981075 w 2378410"/>
              <a:gd name="connsiteY4" fmla="*/ 630212 h 2782862"/>
              <a:gd name="connsiteX5" fmla="*/ 1143000 w 2378410"/>
              <a:gd name="connsiteY5" fmla="*/ 72999 h 2782862"/>
              <a:gd name="connsiteX6" fmla="*/ 1369219 w 2378410"/>
              <a:gd name="connsiteY6" fmla="*/ 8706 h 2782862"/>
              <a:gd name="connsiteX7" fmla="*/ 1566862 w 2378410"/>
              <a:gd name="connsiteY7" fmla="*/ 356368 h 2782862"/>
              <a:gd name="connsiteX8" fmla="*/ 1402557 w 2378410"/>
              <a:gd name="connsiteY8" fmla="*/ 999305 h 2782862"/>
              <a:gd name="connsiteX9" fmla="*/ 2238375 w 2378410"/>
              <a:gd name="connsiteY9" fmla="*/ 1096937 h 2782862"/>
              <a:gd name="connsiteX10" fmla="*/ 2376487 w 2378410"/>
              <a:gd name="connsiteY10" fmla="*/ 1316012 h 2782862"/>
              <a:gd name="connsiteX11" fmla="*/ 2224087 w 2378410"/>
              <a:gd name="connsiteY11" fmla="*/ 1535087 h 2782862"/>
              <a:gd name="connsiteX12" fmla="*/ 2352675 w 2378410"/>
              <a:gd name="connsiteY12" fmla="*/ 1773212 h 2782862"/>
              <a:gd name="connsiteX13" fmla="*/ 2133600 w 2378410"/>
              <a:gd name="connsiteY13" fmla="*/ 1977999 h 2782862"/>
              <a:gd name="connsiteX14" fmla="*/ 2224087 w 2378410"/>
              <a:gd name="connsiteY14" fmla="*/ 2225649 h 2782862"/>
              <a:gd name="connsiteX15" fmla="*/ 1952625 w 2378410"/>
              <a:gd name="connsiteY15" fmla="*/ 2406624 h 2782862"/>
              <a:gd name="connsiteX16" fmla="*/ 2026444 w 2378410"/>
              <a:gd name="connsiteY16" fmla="*/ 2575694 h 2782862"/>
              <a:gd name="connsiteX17" fmla="*/ 1857375 w 2378410"/>
              <a:gd name="connsiteY17" fmla="*/ 2782862 h 2782862"/>
              <a:gd name="connsiteX18" fmla="*/ 923925 w 2378410"/>
              <a:gd name="connsiteY18" fmla="*/ 2754287 h 2782862"/>
              <a:gd name="connsiteX19" fmla="*/ 476250 w 2378410"/>
              <a:gd name="connsiteY19" fmla="*/ 2601887 h 2782862"/>
              <a:gd name="connsiteX20" fmla="*/ 0 w 2378410"/>
              <a:gd name="connsiteY20" fmla="*/ 2578074 h 2782862"/>
              <a:gd name="connsiteX0" fmla="*/ 0 w 2378410"/>
              <a:gd name="connsiteY0" fmla="*/ 2578074 h 2782862"/>
              <a:gd name="connsiteX1" fmla="*/ 0 w 2378410"/>
              <a:gd name="connsiteY1" fmla="*/ 1239812 h 2782862"/>
              <a:gd name="connsiteX2" fmla="*/ 385762 w 2378410"/>
              <a:gd name="connsiteY2" fmla="*/ 1196949 h 2782862"/>
              <a:gd name="connsiteX3" fmla="*/ 616744 w 2378410"/>
              <a:gd name="connsiteY3" fmla="*/ 894530 h 2782862"/>
              <a:gd name="connsiteX4" fmla="*/ 981075 w 2378410"/>
              <a:gd name="connsiteY4" fmla="*/ 630212 h 2782862"/>
              <a:gd name="connsiteX5" fmla="*/ 1143000 w 2378410"/>
              <a:gd name="connsiteY5" fmla="*/ 72999 h 2782862"/>
              <a:gd name="connsiteX6" fmla="*/ 1369219 w 2378410"/>
              <a:gd name="connsiteY6" fmla="*/ 8706 h 2782862"/>
              <a:gd name="connsiteX7" fmla="*/ 1566862 w 2378410"/>
              <a:gd name="connsiteY7" fmla="*/ 356368 h 2782862"/>
              <a:gd name="connsiteX8" fmla="*/ 1402557 w 2378410"/>
              <a:gd name="connsiteY8" fmla="*/ 999305 h 2782862"/>
              <a:gd name="connsiteX9" fmla="*/ 2238375 w 2378410"/>
              <a:gd name="connsiteY9" fmla="*/ 1096937 h 2782862"/>
              <a:gd name="connsiteX10" fmla="*/ 2376487 w 2378410"/>
              <a:gd name="connsiteY10" fmla="*/ 1316012 h 2782862"/>
              <a:gd name="connsiteX11" fmla="*/ 2224087 w 2378410"/>
              <a:gd name="connsiteY11" fmla="*/ 1535087 h 2782862"/>
              <a:gd name="connsiteX12" fmla="*/ 2352675 w 2378410"/>
              <a:gd name="connsiteY12" fmla="*/ 1773212 h 2782862"/>
              <a:gd name="connsiteX13" fmla="*/ 2133600 w 2378410"/>
              <a:gd name="connsiteY13" fmla="*/ 1977999 h 2782862"/>
              <a:gd name="connsiteX14" fmla="*/ 2224087 w 2378410"/>
              <a:gd name="connsiteY14" fmla="*/ 2225649 h 2782862"/>
              <a:gd name="connsiteX15" fmla="*/ 1952625 w 2378410"/>
              <a:gd name="connsiteY15" fmla="*/ 2406624 h 2782862"/>
              <a:gd name="connsiteX16" fmla="*/ 2026444 w 2378410"/>
              <a:gd name="connsiteY16" fmla="*/ 2575694 h 2782862"/>
              <a:gd name="connsiteX17" fmla="*/ 1857375 w 2378410"/>
              <a:gd name="connsiteY17" fmla="*/ 2782862 h 2782862"/>
              <a:gd name="connsiteX18" fmla="*/ 923925 w 2378410"/>
              <a:gd name="connsiteY18" fmla="*/ 2754287 h 2782862"/>
              <a:gd name="connsiteX19" fmla="*/ 476250 w 2378410"/>
              <a:gd name="connsiteY19" fmla="*/ 2601887 h 2782862"/>
              <a:gd name="connsiteX20" fmla="*/ 0 w 2378410"/>
              <a:gd name="connsiteY20" fmla="*/ 2578074 h 2782862"/>
              <a:gd name="connsiteX0" fmla="*/ 0 w 2378410"/>
              <a:gd name="connsiteY0" fmla="*/ 2578074 h 2782862"/>
              <a:gd name="connsiteX1" fmla="*/ 0 w 2378410"/>
              <a:gd name="connsiteY1" fmla="*/ 1239812 h 2782862"/>
              <a:gd name="connsiteX2" fmla="*/ 385762 w 2378410"/>
              <a:gd name="connsiteY2" fmla="*/ 1196949 h 2782862"/>
              <a:gd name="connsiteX3" fmla="*/ 616744 w 2378410"/>
              <a:gd name="connsiteY3" fmla="*/ 894530 h 2782862"/>
              <a:gd name="connsiteX4" fmla="*/ 981075 w 2378410"/>
              <a:gd name="connsiteY4" fmla="*/ 630212 h 2782862"/>
              <a:gd name="connsiteX5" fmla="*/ 1143000 w 2378410"/>
              <a:gd name="connsiteY5" fmla="*/ 72999 h 2782862"/>
              <a:gd name="connsiteX6" fmla="*/ 1369219 w 2378410"/>
              <a:gd name="connsiteY6" fmla="*/ 8706 h 2782862"/>
              <a:gd name="connsiteX7" fmla="*/ 1566862 w 2378410"/>
              <a:gd name="connsiteY7" fmla="*/ 356368 h 2782862"/>
              <a:gd name="connsiteX8" fmla="*/ 1402557 w 2378410"/>
              <a:gd name="connsiteY8" fmla="*/ 999305 h 2782862"/>
              <a:gd name="connsiteX9" fmla="*/ 2238375 w 2378410"/>
              <a:gd name="connsiteY9" fmla="*/ 1096937 h 2782862"/>
              <a:gd name="connsiteX10" fmla="*/ 2376487 w 2378410"/>
              <a:gd name="connsiteY10" fmla="*/ 1316012 h 2782862"/>
              <a:gd name="connsiteX11" fmla="*/ 2224087 w 2378410"/>
              <a:gd name="connsiteY11" fmla="*/ 1535087 h 2782862"/>
              <a:gd name="connsiteX12" fmla="*/ 2352675 w 2378410"/>
              <a:gd name="connsiteY12" fmla="*/ 1773212 h 2782862"/>
              <a:gd name="connsiteX13" fmla="*/ 2133600 w 2378410"/>
              <a:gd name="connsiteY13" fmla="*/ 1977999 h 2782862"/>
              <a:gd name="connsiteX14" fmla="*/ 2224087 w 2378410"/>
              <a:gd name="connsiteY14" fmla="*/ 2225649 h 2782862"/>
              <a:gd name="connsiteX15" fmla="*/ 1952625 w 2378410"/>
              <a:gd name="connsiteY15" fmla="*/ 2406624 h 2782862"/>
              <a:gd name="connsiteX16" fmla="*/ 2026444 w 2378410"/>
              <a:gd name="connsiteY16" fmla="*/ 2575694 h 2782862"/>
              <a:gd name="connsiteX17" fmla="*/ 1857375 w 2378410"/>
              <a:gd name="connsiteY17" fmla="*/ 2782862 h 2782862"/>
              <a:gd name="connsiteX18" fmla="*/ 923925 w 2378410"/>
              <a:gd name="connsiteY18" fmla="*/ 2754287 h 2782862"/>
              <a:gd name="connsiteX19" fmla="*/ 476250 w 2378410"/>
              <a:gd name="connsiteY19" fmla="*/ 2601887 h 2782862"/>
              <a:gd name="connsiteX20" fmla="*/ 0 w 2378410"/>
              <a:gd name="connsiteY20" fmla="*/ 2578074 h 2782862"/>
              <a:gd name="connsiteX0" fmla="*/ 0 w 2378410"/>
              <a:gd name="connsiteY0" fmla="*/ 2578074 h 2768575"/>
              <a:gd name="connsiteX1" fmla="*/ 0 w 2378410"/>
              <a:gd name="connsiteY1" fmla="*/ 1239812 h 2768575"/>
              <a:gd name="connsiteX2" fmla="*/ 385762 w 2378410"/>
              <a:gd name="connsiteY2" fmla="*/ 1196949 h 2768575"/>
              <a:gd name="connsiteX3" fmla="*/ 616744 w 2378410"/>
              <a:gd name="connsiteY3" fmla="*/ 894530 h 2768575"/>
              <a:gd name="connsiteX4" fmla="*/ 981075 w 2378410"/>
              <a:gd name="connsiteY4" fmla="*/ 630212 h 2768575"/>
              <a:gd name="connsiteX5" fmla="*/ 1143000 w 2378410"/>
              <a:gd name="connsiteY5" fmla="*/ 72999 h 2768575"/>
              <a:gd name="connsiteX6" fmla="*/ 1369219 w 2378410"/>
              <a:gd name="connsiteY6" fmla="*/ 8706 h 2768575"/>
              <a:gd name="connsiteX7" fmla="*/ 1566862 w 2378410"/>
              <a:gd name="connsiteY7" fmla="*/ 356368 h 2768575"/>
              <a:gd name="connsiteX8" fmla="*/ 1402557 w 2378410"/>
              <a:gd name="connsiteY8" fmla="*/ 999305 h 2768575"/>
              <a:gd name="connsiteX9" fmla="*/ 2238375 w 2378410"/>
              <a:gd name="connsiteY9" fmla="*/ 1096937 h 2768575"/>
              <a:gd name="connsiteX10" fmla="*/ 2376487 w 2378410"/>
              <a:gd name="connsiteY10" fmla="*/ 1316012 h 2768575"/>
              <a:gd name="connsiteX11" fmla="*/ 2224087 w 2378410"/>
              <a:gd name="connsiteY11" fmla="*/ 1535087 h 2768575"/>
              <a:gd name="connsiteX12" fmla="*/ 2352675 w 2378410"/>
              <a:gd name="connsiteY12" fmla="*/ 1773212 h 2768575"/>
              <a:gd name="connsiteX13" fmla="*/ 2133600 w 2378410"/>
              <a:gd name="connsiteY13" fmla="*/ 1977999 h 2768575"/>
              <a:gd name="connsiteX14" fmla="*/ 2224087 w 2378410"/>
              <a:gd name="connsiteY14" fmla="*/ 2225649 h 2768575"/>
              <a:gd name="connsiteX15" fmla="*/ 1952625 w 2378410"/>
              <a:gd name="connsiteY15" fmla="*/ 2406624 h 2768575"/>
              <a:gd name="connsiteX16" fmla="*/ 2026444 w 2378410"/>
              <a:gd name="connsiteY16" fmla="*/ 2575694 h 2768575"/>
              <a:gd name="connsiteX17" fmla="*/ 1819275 w 2378410"/>
              <a:gd name="connsiteY17" fmla="*/ 2768575 h 2768575"/>
              <a:gd name="connsiteX18" fmla="*/ 923925 w 2378410"/>
              <a:gd name="connsiteY18" fmla="*/ 2754287 h 2768575"/>
              <a:gd name="connsiteX19" fmla="*/ 476250 w 2378410"/>
              <a:gd name="connsiteY19" fmla="*/ 2601887 h 2768575"/>
              <a:gd name="connsiteX20" fmla="*/ 0 w 2378410"/>
              <a:gd name="connsiteY20" fmla="*/ 2578074 h 2768575"/>
              <a:gd name="connsiteX0" fmla="*/ 0 w 2378410"/>
              <a:gd name="connsiteY0" fmla="*/ 2578074 h 2768575"/>
              <a:gd name="connsiteX1" fmla="*/ 0 w 2378410"/>
              <a:gd name="connsiteY1" fmla="*/ 1239812 h 2768575"/>
              <a:gd name="connsiteX2" fmla="*/ 385762 w 2378410"/>
              <a:gd name="connsiteY2" fmla="*/ 1196949 h 2768575"/>
              <a:gd name="connsiteX3" fmla="*/ 616744 w 2378410"/>
              <a:gd name="connsiteY3" fmla="*/ 894530 h 2768575"/>
              <a:gd name="connsiteX4" fmla="*/ 981075 w 2378410"/>
              <a:gd name="connsiteY4" fmla="*/ 630212 h 2768575"/>
              <a:gd name="connsiteX5" fmla="*/ 1143000 w 2378410"/>
              <a:gd name="connsiteY5" fmla="*/ 72999 h 2768575"/>
              <a:gd name="connsiteX6" fmla="*/ 1369219 w 2378410"/>
              <a:gd name="connsiteY6" fmla="*/ 8706 h 2768575"/>
              <a:gd name="connsiteX7" fmla="*/ 1566862 w 2378410"/>
              <a:gd name="connsiteY7" fmla="*/ 356368 h 2768575"/>
              <a:gd name="connsiteX8" fmla="*/ 1402557 w 2378410"/>
              <a:gd name="connsiteY8" fmla="*/ 999305 h 2768575"/>
              <a:gd name="connsiteX9" fmla="*/ 2238375 w 2378410"/>
              <a:gd name="connsiteY9" fmla="*/ 1096937 h 2768575"/>
              <a:gd name="connsiteX10" fmla="*/ 2376487 w 2378410"/>
              <a:gd name="connsiteY10" fmla="*/ 1316012 h 2768575"/>
              <a:gd name="connsiteX11" fmla="*/ 2224087 w 2378410"/>
              <a:gd name="connsiteY11" fmla="*/ 1535087 h 2768575"/>
              <a:gd name="connsiteX12" fmla="*/ 2352675 w 2378410"/>
              <a:gd name="connsiteY12" fmla="*/ 1773212 h 2768575"/>
              <a:gd name="connsiteX13" fmla="*/ 2133600 w 2378410"/>
              <a:gd name="connsiteY13" fmla="*/ 1977999 h 2768575"/>
              <a:gd name="connsiteX14" fmla="*/ 2224087 w 2378410"/>
              <a:gd name="connsiteY14" fmla="*/ 2225649 h 2768575"/>
              <a:gd name="connsiteX15" fmla="*/ 1952625 w 2378410"/>
              <a:gd name="connsiteY15" fmla="*/ 2406624 h 2768575"/>
              <a:gd name="connsiteX16" fmla="*/ 2026444 w 2378410"/>
              <a:gd name="connsiteY16" fmla="*/ 2575694 h 2768575"/>
              <a:gd name="connsiteX17" fmla="*/ 1819275 w 2378410"/>
              <a:gd name="connsiteY17" fmla="*/ 2768575 h 2768575"/>
              <a:gd name="connsiteX18" fmla="*/ 923925 w 2378410"/>
              <a:gd name="connsiteY18" fmla="*/ 2754287 h 2768575"/>
              <a:gd name="connsiteX19" fmla="*/ 476250 w 2378410"/>
              <a:gd name="connsiteY19" fmla="*/ 2601887 h 2768575"/>
              <a:gd name="connsiteX20" fmla="*/ 0 w 2378410"/>
              <a:gd name="connsiteY20" fmla="*/ 2578074 h 2768575"/>
              <a:gd name="connsiteX0" fmla="*/ 0 w 2378410"/>
              <a:gd name="connsiteY0" fmla="*/ 2578074 h 2768575"/>
              <a:gd name="connsiteX1" fmla="*/ 0 w 2378410"/>
              <a:gd name="connsiteY1" fmla="*/ 1239812 h 2768575"/>
              <a:gd name="connsiteX2" fmla="*/ 385762 w 2378410"/>
              <a:gd name="connsiteY2" fmla="*/ 1196949 h 2768575"/>
              <a:gd name="connsiteX3" fmla="*/ 616744 w 2378410"/>
              <a:gd name="connsiteY3" fmla="*/ 894530 h 2768575"/>
              <a:gd name="connsiteX4" fmla="*/ 981075 w 2378410"/>
              <a:gd name="connsiteY4" fmla="*/ 630212 h 2768575"/>
              <a:gd name="connsiteX5" fmla="*/ 1143000 w 2378410"/>
              <a:gd name="connsiteY5" fmla="*/ 72999 h 2768575"/>
              <a:gd name="connsiteX6" fmla="*/ 1369219 w 2378410"/>
              <a:gd name="connsiteY6" fmla="*/ 8706 h 2768575"/>
              <a:gd name="connsiteX7" fmla="*/ 1566862 w 2378410"/>
              <a:gd name="connsiteY7" fmla="*/ 356368 h 2768575"/>
              <a:gd name="connsiteX8" fmla="*/ 1402557 w 2378410"/>
              <a:gd name="connsiteY8" fmla="*/ 999305 h 2768575"/>
              <a:gd name="connsiteX9" fmla="*/ 2238375 w 2378410"/>
              <a:gd name="connsiteY9" fmla="*/ 1096937 h 2768575"/>
              <a:gd name="connsiteX10" fmla="*/ 2376487 w 2378410"/>
              <a:gd name="connsiteY10" fmla="*/ 1316012 h 2768575"/>
              <a:gd name="connsiteX11" fmla="*/ 2224087 w 2378410"/>
              <a:gd name="connsiteY11" fmla="*/ 1535087 h 2768575"/>
              <a:gd name="connsiteX12" fmla="*/ 2352675 w 2378410"/>
              <a:gd name="connsiteY12" fmla="*/ 1773212 h 2768575"/>
              <a:gd name="connsiteX13" fmla="*/ 2133600 w 2378410"/>
              <a:gd name="connsiteY13" fmla="*/ 1977999 h 2768575"/>
              <a:gd name="connsiteX14" fmla="*/ 2224087 w 2378410"/>
              <a:gd name="connsiteY14" fmla="*/ 2225649 h 2768575"/>
              <a:gd name="connsiteX15" fmla="*/ 1952625 w 2378410"/>
              <a:gd name="connsiteY15" fmla="*/ 2406624 h 2768575"/>
              <a:gd name="connsiteX16" fmla="*/ 2026444 w 2378410"/>
              <a:gd name="connsiteY16" fmla="*/ 2575694 h 2768575"/>
              <a:gd name="connsiteX17" fmla="*/ 1819275 w 2378410"/>
              <a:gd name="connsiteY17" fmla="*/ 2768575 h 2768575"/>
              <a:gd name="connsiteX18" fmla="*/ 923925 w 2378410"/>
              <a:gd name="connsiteY18" fmla="*/ 2754287 h 2768575"/>
              <a:gd name="connsiteX19" fmla="*/ 476250 w 2378410"/>
              <a:gd name="connsiteY19" fmla="*/ 2601887 h 2768575"/>
              <a:gd name="connsiteX20" fmla="*/ 0 w 2378410"/>
              <a:gd name="connsiteY20" fmla="*/ 2578074 h 2768575"/>
              <a:gd name="connsiteX0" fmla="*/ 0 w 2378410"/>
              <a:gd name="connsiteY0" fmla="*/ 2578074 h 2768575"/>
              <a:gd name="connsiteX1" fmla="*/ 0 w 2378410"/>
              <a:gd name="connsiteY1" fmla="*/ 1239812 h 2768575"/>
              <a:gd name="connsiteX2" fmla="*/ 385762 w 2378410"/>
              <a:gd name="connsiteY2" fmla="*/ 1196949 h 2768575"/>
              <a:gd name="connsiteX3" fmla="*/ 616744 w 2378410"/>
              <a:gd name="connsiteY3" fmla="*/ 894530 h 2768575"/>
              <a:gd name="connsiteX4" fmla="*/ 973931 w 2378410"/>
              <a:gd name="connsiteY4" fmla="*/ 608781 h 2768575"/>
              <a:gd name="connsiteX5" fmla="*/ 1143000 w 2378410"/>
              <a:gd name="connsiteY5" fmla="*/ 72999 h 2768575"/>
              <a:gd name="connsiteX6" fmla="*/ 1369219 w 2378410"/>
              <a:gd name="connsiteY6" fmla="*/ 8706 h 2768575"/>
              <a:gd name="connsiteX7" fmla="*/ 1566862 w 2378410"/>
              <a:gd name="connsiteY7" fmla="*/ 356368 h 2768575"/>
              <a:gd name="connsiteX8" fmla="*/ 1402557 w 2378410"/>
              <a:gd name="connsiteY8" fmla="*/ 999305 h 2768575"/>
              <a:gd name="connsiteX9" fmla="*/ 2238375 w 2378410"/>
              <a:gd name="connsiteY9" fmla="*/ 1096937 h 2768575"/>
              <a:gd name="connsiteX10" fmla="*/ 2376487 w 2378410"/>
              <a:gd name="connsiteY10" fmla="*/ 1316012 h 2768575"/>
              <a:gd name="connsiteX11" fmla="*/ 2224087 w 2378410"/>
              <a:gd name="connsiteY11" fmla="*/ 1535087 h 2768575"/>
              <a:gd name="connsiteX12" fmla="*/ 2352675 w 2378410"/>
              <a:gd name="connsiteY12" fmla="*/ 1773212 h 2768575"/>
              <a:gd name="connsiteX13" fmla="*/ 2133600 w 2378410"/>
              <a:gd name="connsiteY13" fmla="*/ 1977999 h 2768575"/>
              <a:gd name="connsiteX14" fmla="*/ 2224087 w 2378410"/>
              <a:gd name="connsiteY14" fmla="*/ 2225649 h 2768575"/>
              <a:gd name="connsiteX15" fmla="*/ 1952625 w 2378410"/>
              <a:gd name="connsiteY15" fmla="*/ 2406624 h 2768575"/>
              <a:gd name="connsiteX16" fmla="*/ 2026444 w 2378410"/>
              <a:gd name="connsiteY16" fmla="*/ 2575694 h 2768575"/>
              <a:gd name="connsiteX17" fmla="*/ 1819275 w 2378410"/>
              <a:gd name="connsiteY17" fmla="*/ 2768575 h 2768575"/>
              <a:gd name="connsiteX18" fmla="*/ 923925 w 2378410"/>
              <a:gd name="connsiteY18" fmla="*/ 2754287 h 2768575"/>
              <a:gd name="connsiteX19" fmla="*/ 476250 w 2378410"/>
              <a:gd name="connsiteY19" fmla="*/ 2601887 h 2768575"/>
              <a:gd name="connsiteX20" fmla="*/ 0 w 2378410"/>
              <a:gd name="connsiteY20" fmla="*/ 2578074 h 2768575"/>
              <a:gd name="connsiteX0" fmla="*/ 0 w 2376855"/>
              <a:gd name="connsiteY0" fmla="*/ 2578074 h 2768575"/>
              <a:gd name="connsiteX1" fmla="*/ 0 w 2376855"/>
              <a:gd name="connsiteY1" fmla="*/ 1239812 h 2768575"/>
              <a:gd name="connsiteX2" fmla="*/ 385762 w 2376855"/>
              <a:gd name="connsiteY2" fmla="*/ 1196949 h 2768575"/>
              <a:gd name="connsiteX3" fmla="*/ 616744 w 2376855"/>
              <a:gd name="connsiteY3" fmla="*/ 894530 h 2768575"/>
              <a:gd name="connsiteX4" fmla="*/ 973931 w 2376855"/>
              <a:gd name="connsiteY4" fmla="*/ 608781 h 2768575"/>
              <a:gd name="connsiteX5" fmla="*/ 1143000 w 2376855"/>
              <a:gd name="connsiteY5" fmla="*/ 72999 h 2768575"/>
              <a:gd name="connsiteX6" fmla="*/ 1369219 w 2376855"/>
              <a:gd name="connsiteY6" fmla="*/ 8706 h 2768575"/>
              <a:gd name="connsiteX7" fmla="*/ 1566862 w 2376855"/>
              <a:gd name="connsiteY7" fmla="*/ 356368 h 2768575"/>
              <a:gd name="connsiteX8" fmla="*/ 1402557 w 2376855"/>
              <a:gd name="connsiteY8" fmla="*/ 999305 h 2768575"/>
              <a:gd name="connsiteX9" fmla="*/ 2238375 w 2376855"/>
              <a:gd name="connsiteY9" fmla="*/ 1096937 h 2768575"/>
              <a:gd name="connsiteX10" fmla="*/ 2376487 w 2376855"/>
              <a:gd name="connsiteY10" fmla="*/ 1316012 h 2768575"/>
              <a:gd name="connsiteX11" fmla="*/ 2202655 w 2376855"/>
              <a:gd name="connsiteY11" fmla="*/ 1542231 h 2768575"/>
              <a:gd name="connsiteX12" fmla="*/ 2352675 w 2376855"/>
              <a:gd name="connsiteY12" fmla="*/ 1773212 h 2768575"/>
              <a:gd name="connsiteX13" fmla="*/ 2133600 w 2376855"/>
              <a:gd name="connsiteY13" fmla="*/ 1977999 h 2768575"/>
              <a:gd name="connsiteX14" fmla="*/ 2224087 w 2376855"/>
              <a:gd name="connsiteY14" fmla="*/ 2225649 h 2768575"/>
              <a:gd name="connsiteX15" fmla="*/ 1952625 w 2376855"/>
              <a:gd name="connsiteY15" fmla="*/ 2406624 h 2768575"/>
              <a:gd name="connsiteX16" fmla="*/ 2026444 w 2376855"/>
              <a:gd name="connsiteY16" fmla="*/ 2575694 h 2768575"/>
              <a:gd name="connsiteX17" fmla="*/ 1819275 w 2376855"/>
              <a:gd name="connsiteY17" fmla="*/ 2768575 h 2768575"/>
              <a:gd name="connsiteX18" fmla="*/ 923925 w 2376855"/>
              <a:gd name="connsiteY18" fmla="*/ 2754287 h 2768575"/>
              <a:gd name="connsiteX19" fmla="*/ 476250 w 2376855"/>
              <a:gd name="connsiteY19" fmla="*/ 2601887 h 2768575"/>
              <a:gd name="connsiteX20" fmla="*/ 0 w 2376855"/>
              <a:gd name="connsiteY20" fmla="*/ 2578074 h 2768575"/>
              <a:gd name="connsiteX0" fmla="*/ 0 w 2376855"/>
              <a:gd name="connsiteY0" fmla="*/ 2578074 h 2768575"/>
              <a:gd name="connsiteX1" fmla="*/ 0 w 2376855"/>
              <a:gd name="connsiteY1" fmla="*/ 1239812 h 2768575"/>
              <a:gd name="connsiteX2" fmla="*/ 385762 w 2376855"/>
              <a:gd name="connsiteY2" fmla="*/ 1196949 h 2768575"/>
              <a:gd name="connsiteX3" fmla="*/ 616744 w 2376855"/>
              <a:gd name="connsiteY3" fmla="*/ 894530 h 2768575"/>
              <a:gd name="connsiteX4" fmla="*/ 973931 w 2376855"/>
              <a:gd name="connsiteY4" fmla="*/ 608781 h 2768575"/>
              <a:gd name="connsiteX5" fmla="*/ 1143000 w 2376855"/>
              <a:gd name="connsiteY5" fmla="*/ 72999 h 2768575"/>
              <a:gd name="connsiteX6" fmla="*/ 1369219 w 2376855"/>
              <a:gd name="connsiteY6" fmla="*/ 8706 h 2768575"/>
              <a:gd name="connsiteX7" fmla="*/ 1566862 w 2376855"/>
              <a:gd name="connsiteY7" fmla="*/ 356368 h 2768575"/>
              <a:gd name="connsiteX8" fmla="*/ 1402557 w 2376855"/>
              <a:gd name="connsiteY8" fmla="*/ 999305 h 2768575"/>
              <a:gd name="connsiteX9" fmla="*/ 2238375 w 2376855"/>
              <a:gd name="connsiteY9" fmla="*/ 1096937 h 2768575"/>
              <a:gd name="connsiteX10" fmla="*/ 2376487 w 2376855"/>
              <a:gd name="connsiteY10" fmla="*/ 1316012 h 2768575"/>
              <a:gd name="connsiteX11" fmla="*/ 2202655 w 2376855"/>
              <a:gd name="connsiteY11" fmla="*/ 1542231 h 2768575"/>
              <a:gd name="connsiteX12" fmla="*/ 2352675 w 2376855"/>
              <a:gd name="connsiteY12" fmla="*/ 1773212 h 2768575"/>
              <a:gd name="connsiteX13" fmla="*/ 2133600 w 2376855"/>
              <a:gd name="connsiteY13" fmla="*/ 1977999 h 2768575"/>
              <a:gd name="connsiteX14" fmla="*/ 2224087 w 2376855"/>
              <a:gd name="connsiteY14" fmla="*/ 2225649 h 2768575"/>
              <a:gd name="connsiteX15" fmla="*/ 1952625 w 2376855"/>
              <a:gd name="connsiteY15" fmla="*/ 2406624 h 2768575"/>
              <a:gd name="connsiteX16" fmla="*/ 2026444 w 2376855"/>
              <a:gd name="connsiteY16" fmla="*/ 2575694 h 2768575"/>
              <a:gd name="connsiteX17" fmla="*/ 1819275 w 2376855"/>
              <a:gd name="connsiteY17" fmla="*/ 2768575 h 2768575"/>
              <a:gd name="connsiteX18" fmla="*/ 923925 w 2376855"/>
              <a:gd name="connsiteY18" fmla="*/ 2754287 h 2768575"/>
              <a:gd name="connsiteX19" fmla="*/ 476250 w 2376855"/>
              <a:gd name="connsiteY19" fmla="*/ 2601887 h 2768575"/>
              <a:gd name="connsiteX20" fmla="*/ 0 w 2376855"/>
              <a:gd name="connsiteY20" fmla="*/ 2578074 h 2768575"/>
              <a:gd name="connsiteX0" fmla="*/ 0 w 2376169"/>
              <a:gd name="connsiteY0" fmla="*/ 2578074 h 2768575"/>
              <a:gd name="connsiteX1" fmla="*/ 0 w 2376169"/>
              <a:gd name="connsiteY1" fmla="*/ 1239812 h 2768575"/>
              <a:gd name="connsiteX2" fmla="*/ 385762 w 2376169"/>
              <a:gd name="connsiteY2" fmla="*/ 1196949 h 2768575"/>
              <a:gd name="connsiteX3" fmla="*/ 616744 w 2376169"/>
              <a:gd name="connsiteY3" fmla="*/ 894530 h 2768575"/>
              <a:gd name="connsiteX4" fmla="*/ 973931 w 2376169"/>
              <a:gd name="connsiteY4" fmla="*/ 608781 h 2768575"/>
              <a:gd name="connsiteX5" fmla="*/ 1143000 w 2376169"/>
              <a:gd name="connsiteY5" fmla="*/ 72999 h 2768575"/>
              <a:gd name="connsiteX6" fmla="*/ 1369219 w 2376169"/>
              <a:gd name="connsiteY6" fmla="*/ 8706 h 2768575"/>
              <a:gd name="connsiteX7" fmla="*/ 1566862 w 2376169"/>
              <a:gd name="connsiteY7" fmla="*/ 356368 h 2768575"/>
              <a:gd name="connsiteX8" fmla="*/ 1402557 w 2376169"/>
              <a:gd name="connsiteY8" fmla="*/ 999305 h 2768575"/>
              <a:gd name="connsiteX9" fmla="*/ 2238375 w 2376169"/>
              <a:gd name="connsiteY9" fmla="*/ 1096937 h 2768575"/>
              <a:gd name="connsiteX10" fmla="*/ 2371725 w 2376169"/>
              <a:gd name="connsiteY10" fmla="*/ 1339825 h 2768575"/>
              <a:gd name="connsiteX11" fmla="*/ 2202655 w 2376169"/>
              <a:gd name="connsiteY11" fmla="*/ 1542231 h 2768575"/>
              <a:gd name="connsiteX12" fmla="*/ 2352675 w 2376169"/>
              <a:gd name="connsiteY12" fmla="*/ 1773212 h 2768575"/>
              <a:gd name="connsiteX13" fmla="*/ 2133600 w 2376169"/>
              <a:gd name="connsiteY13" fmla="*/ 1977999 h 2768575"/>
              <a:gd name="connsiteX14" fmla="*/ 2224087 w 2376169"/>
              <a:gd name="connsiteY14" fmla="*/ 2225649 h 2768575"/>
              <a:gd name="connsiteX15" fmla="*/ 1952625 w 2376169"/>
              <a:gd name="connsiteY15" fmla="*/ 2406624 h 2768575"/>
              <a:gd name="connsiteX16" fmla="*/ 2026444 w 2376169"/>
              <a:gd name="connsiteY16" fmla="*/ 2575694 h 2768575"/>
              <a:gd name="connsiteX17" fmla="*/ 1819275 w 2376169"/>
              <a:gd name="connsiteY17" fmla="*/ 2768575 h 2768575"/>
              <a:gd name="connsiteX18" fmla="*/ 923925 w 2376169"/>
              <a:gd name="connsiteY18" fmla="*/ 2754287 h 2768575"/>
              <a:gd name="connsiteX19" fmla="*/ 476250 w 2376169"/>
              <a:gd name="connsiteY19" fmla="*/ 2601887 h 2768575"/>
              <a:gd name="connsiteX20" fmla="*/ 0 w 2376169"/>
              <a:gd name="connsiteY20" fmla="*/ 2578074 h 2768575"/>
              <a:gd name="connsiteX0" fmla="*/ 0 w 2375039"/>
              <a:gd name="connsiteY0" fmla="*/ 2578074 h 2768575"/>
              <a:gd name="connsiteX1" fmla="*/ 0 w 2375039"/>
              <a:gd name="connsiteY1" fmla="*/ 1239812 h 2768575"/>
              <a:gd name="connsiteX2" fmla="*/ 385762 w 2375039"/>
              <a:gd name="connsiteY2" fmla="*/ 1196949 h 2768575"/>
              <a:gd name="connsiteX3" fmla="*/ 616744 w 2375039"/>
              <a:gd name="connsiteY3" fmla="*/ 894530 h 2768575"/>
              <a:gd name="connsiteX4" fmla="*/ 973931 w 2375039"/>
              <a:gd name="connsiteY4" fmla="*/ 608781 h 2768575"/>
              <a:gd name="connsiteX5" fmla="*/ 1143000 w 2375039"/>
              <a:gd name="connsiteY5" fmla="*/ 72999 h 2768575"/>
              <a:gd name="connsiteX6" fmla="*/ 1369219 w 2375039"/>
              <a:gd name="connsiteY6" fmla="*/ 8706 h 2768575"/>
              <a:gd name="connsiteX7" fmla="*/ 1566862 w 2375039"/>
              <a:gd name="connsiteY7" fmla="*/ 356368 h 2768575"/>
              <a:gd name="connsiteX8" fmla="*/ 1402557 w 2375039"/>
              <a:gd name="connsiteY8" fmla="*/ 999305 h 2768575"/>
              <a:gd name="connsiteX9" fmla="*/ 2233613 w 2375039"/>
              <a:gd name="connsiteY9" fmla="*/ 1096937 h 2768575"/>
              <a:gd name="connsiteX10" fmla="*/ 2371725 w 2375039"/>
              <a:gd name="connsiteY10" fmla="*/ 1339825 h 2768575"/>
              <a:gd name="connsiteX11" fmla="*/ 2202655 w 2375039"/>
              <a:gd name="connsiteY11" fmla="*/ 1542231 h 2768575"/>
              <a:gd name="connsiteX12" fmla="*/ 2352675 w 2375039"/>
              <a:gd name="connsiteY12" fmla="*/ 1773212 h 2768575"/>
              <a:gd name="connsiteX13" fmla="*/ 2133600 w 2375039"/>
              <a:gd name="connsiteY13" fmla="*/ 1977999 h 2768575"/>
              <a:gd name="connsiteX14" fmla="*/ 2224087 w 2375039"/>
              <a:gd name="connsiteY14" fmla="*/ 2225649 h 2768575"/>
              <a:gd name="connsiteX15" fmla="*/ 1952625 w 2375039"/>
              <a:gd name="connsiteY15" fmla="*/ 2406624 h 2768575"/>
              <a:gd name="connsiteX16" fmla="*/ 2026444 w 2375039"/>
              <a:gd name="connsiteY16" fmla="*/ 2575694 h 2768575"/>
              <a:gd name="connsiteX17" fmla="*/ 1819275 w 2375039"/>
              <a:gd name="connsiteY17" fmla="*/ 2768575 h 2768575"/>
              <a:gd name="connsiteX18" fmla="*/ 923925 w 2375039"/>
              <a:gd name="connsiteY18" fmla="*/ 2754287 h 2768575"/>
              <a:gd name="connsiteX19" fmla="*/ 476250 w 2375039"/>
              <a:gd name="connsiteY19" fmla="*/ 2601887 h 2768575"/>
              <a:gd name="connsiteX20" fmla="*/ 0 w 2375039"/>
              <a:gd name="connsiteY20" fmla="*/ 2578074 h 2768575"/>
              <a:gd name="connsiteX0" fmla="*/ 0 w 2372252"/>
              <a:gd name="connsiteY0" fmla="*/ 2578074 h 2768575"/>
              <a:gd name="connsiteX1" fmla="*/ 0 w 2372252"/>
              <a:gd name="connsiteY1" fmla="*/ 1239812 h 2768575"/>
              <a:gd name="connsiteX2" fmla="*/ 385762 w 2372252"/>
              <a:gd name="connsiteY2" fmla="*/ 1196949 h 2768575"/>
              <a:gd name="connsiteX3" fmla="*/ 616744 w 2372252"/>
              <a:gd name="connsiteY3" fmla="*/ 894530 h 2768575"/>
              <a:gd name="connsiteX4" fmla="*/ 973931 w 2372252"/>
              <a:gd name="connsiteY4" fmla="*/ 608781 h 2768575"/>
              <a:gd name="connsiteX5" fmla="*/ 1143000 w 2372252"/>
              <a:gd name="connsiteY5" fmla="*/ 72999 h 2768575"/>
              <a:gd name="connsiteX6" fmla="*/ 1369219 w 2372252"/>
              <a:gd name="connsiteY6" fmla="*/ 8706 h 2768575"/>
              <a:gd name="connsiteX7" fmla="*/ 1566862 w 2372252"/>
              <a:gd name="connsiteY7" fmla="*/ 356368 h 2768575"/>
              <a:gd name="connsiteX8" fmla="*/ 1402557 w 2372252"/>
              <a:gd name="connsiteY8" fmla="*/ 999305 h 2768575"/>
              <a:gd name="connsiteX9" fmla="*/ 2233613 w 2372252"/>
              <a:gd name="connsiteY9" fmla="*/ 1096937 h 2768575"/>
              <a:gd name="connsiteX10" fmla="*/ 2371725 w 2372252"/>
              <a:gd name="connsiteY10" fmla="*/ 1339825 h 2768575"/>
              <a:gd name="connsiteX11" fmla="*/ 2202655 w 2372252"/>
              <a:gd name="connsiteY11" fmla="*/ 1542231 h 2768575"/>
              <a:gd name="connsiteX12" fmla="*/ 2352675 w 2372252"/>
              <a:gd name="connsiteY12" fmla="*/ 1773212 h 2768575"/>
              <a:gd name="connsiteX13" fmla="*/ 2133600 w 2372252"/>
              <a:gd name="connsiteY13" fmla="*/ 1977999 h 2768575"/>
              <a:gd name="connsiteX14" fmla="*/ 2224087 w 2372252"/>
              <a:gd name="connsiteY14" fmla="*/ 2225649 h 2768575"/>
              <a:gd name="connsiteX15" fmla="*/ 1952625 w 2372252"/>
              <a:gd name="connsiteY15" fmla="*/ 2406624 h 2768575"/>
              <a:gd name="connsiteX16" fmla="*/ 2026444 w 2372252"/>
              <a:gd name="connsiteY16" fmla="*/ 2575694 h 2768575"/>
              <a:gd name="connsiteX17" fmla="*/ 1819275 w 2372252"/>
              <a:gd name="connsiteY17" fmla="*/ 2768575 h 2768575"/>
              <a:gd name="connsiteX18" fmla="*/ 923925 w 2372252"/>
              <a:gd name="connsiteY18" fmla="*/ 2754287 h 2768575"/>
              <a:gd name="connsiteX19" fmla="*/ 476250 w 2372252"/>
              <a:gd name="connsiteY19" fmla="*/ 2601887 h 2768575"/>
              <a:gd name="connsiteX20" fmla="*/ 0 w 2372252"/>
              <a:gd name="connsiteY20" fmla="*/ 2578074 h 2768575"/>
              <a:gd name="connsiteX0" fmla="*/ 0 w 2372252"/>
              <a:gd name="connsiteY0" fmla="*/ 2578074 h 2768575"/>
              <a:gd name="connsiteX1" fmla="*/ 0 w 2372252"/>
              <a:gd name="connsiteY1" fmla="*/ 1239812 h 2768575"/>
              <a:gd name="connsiteX2" fmla="*/ 385762 w 2372252"/>
              <a:gd name="connsiteY2" fmla="*/ 1196949 h 2768575"/>
              <a:gd name="connsiteX3" fmla="*/ 616744 w 2372252"/>
              <a:gd name="connsiteY3" fmla="*/ 894530 h 2768575"/>
              <a:gd name="connsiteX4" fmla="*/ 973931 w 2372252"/>
              <a:gd name="connsiteY4" fmla="*/ 608781 h 2768575"/>
              <a:gd name="connsiteX5" fmla="*/ 1143000 w 2372252"/>
              <a:gd name="connsiteY5" fmla="*/ 72999 h 2768575"/>
              <a:gd name="connsiteX6" fmla="*/ 1369219 w 2372252"/>
              <a:gd name="connsiteY6" fmla="*/ 8706 h 2768575"/>
              <a:gd name="connsiteX7" fmla="*/ 1566862 w 2372252"/>
              <a:gd name="connsiteY7" fmla="*/ 356368 h 2768575"/>
              <a:gd name="connsiteX8" fmla="*/ 1402557 w 2372252"/>
              <a:gd name="connsiteY8" fmla="*/ 999305 h 2768575"/>
              <a:gd name="connsiteX9" fmla="*/ 2233613 w 2372252"/>
              <a:gd name="connsiteY9" fmla="*/ 1096937 h 2768575"/>
              <a:gd name="connsiteX10" fmla="*/ 2371725 w 2372252"/>
              <a:gd name="connsiteY10" fmla="*/ 1339825 h 2768575"/>
              <a:gd name="connsiteX11" fmla="*/ 2202655 w 2372252"/>
              <a:gd name="connsiteY11" fmla="*/ 1542231 h 2768575"/>
              <a:gd name="connsiteX12" fmla="*/ 2352675 w 2372252"/>
              <a:gd name="connsiteY12" fmla="*/ 1773212 h 2768575"/>
              <a:gd name="connsiteX13" fmla="*/ 2133600 w 2372252"/>
              <a:gd name="connsiteY13" fmla="*/ 1977999 h 2768575"/>
              <a:gd name="connsiteX14" fmla="*/ 2224087 w 2372252"/>
              <a:gd name="connsiteY14" fmla="*/ 2225649 h 2768575"/>
              <a:gd name="connsiteX15" fmla="*/ 1952625 w 2372252"/>
              <a:gd name="connsiteY15" fmla="*/ 2406624 h 2768575"/>
              <a:gd name="connsiteX16" fmla="*/ 2026444 w 2372252"/>
              <a:gd name="connsiteY16" fmla="*/ 2575694 h 2768575"/>
              <a:gd name="connsiteX17" fmla="*/ 1819275 w 2372252"/>
              <a:gd name="connsiteY17" fmla="*/ 2768575 h 2768575"/>
              <a:gd name="connsiteX18" fmla="*/ 923925 w 2372252"/>
              <a:gd name="connsiteY18" fmla="*/ 2754287 h 2768575"/>
              <a:gd name="connsiteX19" fmla="*/ 476250 w 2372252"/>
              <a:gd name="connsiteY19" fmla="*/ 2601887 h 2768575"/>
              <a:gd name="connsiteX20" fmla="*/ 0 w 2372252"/>
              <a:gd name="connsiteY20" fmla="*/ 2578074 h 2768575"/>
              <a:gd name="connsiteX0" fmla="*/ 0 w 2372252"/>
              <a:gd name="connsiteY0" fmla="*/ 2578074 h 2768575"/>
              <a:gd name="connsiteX1" fmla="*/ 0 w 2372252"/>
              <a:gd name="connsiteY1" fmla="*/ 1239812 h 2768575"/>
              <a:gd name="connsiteX2" fmla="*/ 385762 w 2372252"/>
              <a:gd name="connsiteY2" fmla="*/ 1196949 h 2768575"/>
              <a:gd name="connsiteX3" fmla="*/ 616744 w 2372252"/>
              <a:gd name="connsiteY3" fmla="*/ 894530 h 2768575"/>
              <a:gd name="connsiteX4" fmla="*/ 973931 w 2372252"/>
              <a:gd name="connsiteY4" fmla="*/ 608781 h 2768575"/>
              <a:gd name="connsiteX5" fmla="*/ 1143000 w 2372252"/>
              <a:gd name="connsiteY5" fmla="*/ 72999 h 2768575"/>
              <a:gd name="connsiteX6" fmla="*/ 1369219 w 2372252"/>
              <a:gd name="connsiteY6" fmla="*/ 8706 h 2768575"/>
              <a:gd name="connsiteX7" fmla="*/ 1566862 w 2372252"/>
              <a:gd name="connsiteY7" fmla="*/ 356368 h 2768575"/>
              <a:gd name="connsiteX8" fmla="*/ 1402557 w 2372252"/>
              <a:gd name="connsiteY8" fmla="*/ 999305 h 2768575"/>
              <a:gd name="connsiteX9" fmla="*/ 2233613 w 2372252"/>
              <a:gd name="connsiteY9" fmla="*/ 1096937 h 2768575"/>
              <a:gd name="connsiteX10" fmla="*/ 2371725 w 2372252"/>
              <a:gd name="connsiteY10" fmla="*/ 1339825 h 2768575"/>
              <a:gd name="connsiteX11" fmla="*/ 2202655 w 2372252"/>
              <a:gd name="connsiteY11" fmla="*/ 1542231 h 2768575"/>
              <a:gd name="connsiteX12" fmla="*/ 2352675 w 2372252"/>
              <a:gd name="connsiteY12" fmla="*/ 1773212 h 2768575"/>
              <a:gd name="connsiteX13" fmla="*/ 2133600 w 2372252"/>
              <a:gd name="connsiteY13" fmla="*/ 1977999 h 2768575"/>
              <a:gd name="connsiteX14" fmla="*/ 2224087 w 2372252"/>
              <a:gd name="connsiteY14" fmla="*/ 2225649 h 2768575"/>
              <a:gd name="connsiteX15" fmla="*/ 1952625 w 2372252"/>
              <a:gd name="connsiteY15" fmla="*/ 2406624 h 2768575"/>
              <a:gd name="connsiteX16" fmla="*/ 2026444 w 2372252"/>
              <a:gd name="connsiteY16" fmla="*/ 2575694 h 2768575"/>
              <a:gd name="connsiteX17" fmla="*/ 1819275 w 2372252"/>
              <a:gd name="connsiteY17" fmla="*/ 2768575 h 2768575"/>
              <a:gd name="connsiteX18" fmla="*/ 923925 w 2372252"/>
              <a:gd name="connsiteY18" fmla="*/ 2754287 h 2768575"/>
              <a:gd name="connsiteX19" fmla="*/ 476250 w 2372252"/>
              <a:gd name="connsiteY19" fmla="*/ 2601887 h 2768575"/>
              <a:gd name="connsiteX20" fmla="*/ 0 w 2372252"/>
              <a:gd name="connsiteY20" fmla="*/ 2578074 h 2768575"/>
              <a:gd name="connsiteX0" fmla="*/ 0 w 2372252"/>
              <a:gd name="connsiteY0" fmla="*/ 2578074 h 2768575"/>
              <a:gd name="connsiteX1" fmla="*/ 0 w 2372252"/>
              <a:gd name="connsiteY1" fmla="*/ 1239812 h 2768575"/>
              <a:gd name="connsiteX2" fmla="*/ 385762 w 2372252"/>
              <a:gd name="connsiteY2" fmla="*/ 1196949 h 2768575"/>
              <a:gd name="connsiteX3" fmla="*/ 616744 w 2372252"/>
              <a:gd name="connsiteY3" fmla="*/ 894530 h 2768575"/>
              <a:gd name="connsiteX4" fmla="*/ 973931 w 2372252"/>
              <a:gd name="connsiteY4" fmla="*/ 608781 h 2768575"/>
              <a:gd name="connsiteX5" fmla="*/ 1143000 w 2372252"/>
              <a:gd name="connsiteY5" fmla="*/ 72999 h 2768575"/>
              <a:gd name="connsiteX6" fmla="*/ 1369219 w 2372252"/>
              <a:gd name="connsiteY6" fmla="*/ 8706 h 2768575"/>
              <a:gd name="connsiteX7" fmla="*/ 1566862 w 2372252"/>
              <a:gd name="connsiteY7" fmla="*/ 356368 h 2768575"/>
              <a:gd name="connsiteX8" fmla="*/ 1402557 w 2372252"/>
              <a:gd name="connsiteY8" fmla="*/ 999305 h 2768575"/>
              <a:gd name="connsiteX9" fmla="*/ 2233613 w 2372252"/>
              <a:gd name="connsiteY9" fmla="*/ 1096937 h 2768575"/>
              <a:gd name="connsiteX10" fmla="*/ 2371725 w 2372252"/>
              <a:gd name="connsiteY10" fmla="*/ 1339825 h 2768575"/>
              <a:gd name="connsiteX11" fmla="*/ 2202655 w 2372252"/>
              <a:gd name="connsiteY11" fmla="*/ 1542231 h 2768575"/>
              <a:gd name="connsiteX12" fmla="*/ 2352675 w 2372252"/>
              <a:gd name="connsiteY12" fmla="*/ 1773212 h 2768575"/>
              <a:gd name="connsiteX13" fmla="*/ 2133600 w 2372252"/>
              <a:gd name="connsiteY13" fmla="*/ 1977999 h 2768575"/>
              <a:gd name="connsiteX14" fmla="*/ 2224087 w 2372252"/>
              <a:gd name="connsiteY14" fmla="*/ 2225649 h 2768575"/>
              <a:gd name="connsiteX15" fmla="*/ 1952625 w 2372252"/>
              <a:gd name="connsiteY15" fmla="*/ 2406624 h 2768575"/>
              <a:gd name="connsiteX16" fmla="*/ 2026444 w 2372252"/>
              <a:gd name="connsiteY16" fmla="*/ 2575694 h 2768575"/>
              <a:gd name="connsiteX17" fmla="*/ 1819275 w 2372252"/>
              <a:gd name="connsiteY17" fmla="*/ 2768575 h 2768575"/>
              <a:gd name="connsiteX18" fmla="*/ 923925 w 2372252"/>
              <a:gd name="connsiteY18" fmla="*/ 2754287 h 2768575"/>
              <a:gd name="connsiteX19" fmla="*/ 476250 w 2372252"/>
              <a:gd name="connsiteY19" fmla="*/ 2601887 h 2768575"/>
              <a:gd name="connsiteX20" fmla="*/ 0 w 2372252"/>
              <a:gd name="connsiteY20" fmla="*/ 2578074 h 2768575"/>
              <a:gd name="connsiteX0" fmla="*/ 0 w 2371901"/>
              <a:gd name="connsiteY0" fmla="*/ 2578074 h 2768575"/>
              <a:gd name="connsiteX1" fmla="*/ 0 w 2371901"/>
              <a:gd name="connsiteY1" fmla="*/ 1239812 h 2768575"/>
              <a:gd name="connsiteX2" fmla="*/ 385762 w 2371901"/>
              <a:gd name="connsiteY2" fmla="*/ 1196949 h 2768575"/>
              <a:gd name="connsiteX3" fmla="*/ 616744 w 2371901"/>
              <a:gd name="connsiteY3" fmla="*/ 894530 h 2768575"/>
              <a:gd name="connsiteX4" fmla="*/ 973931 w 2371901"/>
              <a:gd name="connsiteY4" fmla="*/ 608781 h 2768575"/>
              <a:gd name="connsiteX5" fmla="*/ 1143000 w 2371901"/>
              <a:gd name="connsiteY5" fmla="*/ 72999 h 2768575"/>
              <a:gd name="connsiteX6" fmla="*/ 1369219 w 2371901"/>
              <a:gd name="connsiteY6" fmla="*/ 8706 h 2768575"/>
              <a:gd name="connsiteX7" fmla="*/ 1566862 w 2371901"/>
              <a:gd name="connsiteY7" fmla="*/ 356368 h 2768575"/>
              <a:gd name="connsiteX8" fmla="*/ 1402557 w 2371901"/>
              <a:gd name="connsiteY8" fmla="*/ 999305 h 2768575"/>
              <a:gd name="connsiteX9" fmla="*/ 2233613 w 2371901"/>
              <a:gd name="connsiteY9" fmla="*/ 1096937 h 2768575"/>
              <a:gd name="connsiteX10" fmla="*/ 2371725 w 2371901"/>
              <a:gd name="connsiteY10" fmla="*/ 1339825 h 2768575"/>
              <a:gd name="connsiteX11" fmla="*/ 2202655 w 2371901"/>
              <a:gd name="connsiteY11" fmla="*/ 1542231 h 2768575"/>
              <a:gd name="connsiteX12" fmla="*/ 2352675 w 2371901"/>
              <a:gd name="connsiteY12" fmla="*/ 1773212 h 2768575"/>
              <a:gd name="connsiteX13" fmla="*/ 2133600 w 2371901"/>
              <a:gd name="connsiteY13" fmla="*/ 1977999 h 2768575"/>
              <a:gd name="connsiteX14" fmla="*/ 2224087 w 2371901"/>
              <a:gd name="connsiteY14" fmla="*/ 2225649 h 2768575"/>
              <a:gd name="connsiteX15" fmla="*/ 1952625 w 2371901"/>
              <a:gd name="connsiteY15" fmla="*/ 2406624 h 2768575"/>
              <a:gd name="connsiteX16" fmla="*/ 2026444 w 2371901"/>
              <a:gd name="connsiteY16" fmla="*/ 2575694 h 2768575"/>
              <a:gd name="connsiteX17" fmla="*/ 1819275 w 2371901"/>
              <a:gd name="connsiteY17" fmla="*/ 2768575 h 2768575"/>
              <a:gd name="connsiteX18" fmla="*/ 923925 w 2371901"/>
              <a:gd name="connsiteY18" fmla="*/ 2754287 h 2768575"/>
              <a:gd name="connsiteX19" fmla="*/ 476250 w 2371901"/>
              <a:gd name="connsiteY19" fmla="*/ 2601887 h 2768575"/>
              <a:gd name="connsiteX20" fmla="*/ 0 w 2371901"/>
              <a:gd name="connsiteY20" fmla="*/ 2578074 h 2768575"/>
              <a:gd name="connsiteX0" fmla="*/ 0 w 2371901"/>
              <a:gd name="connsiteY0" fmla="*/ 2578074 h 2768575"/>
              <a:gd name="connsiteX1" fmla="*/ 0 w 2371901"/>
              <a:gd name="connsiteY1" fmla="*/ 1239812 h 2768575"/>
              <a:gd name="connsiteX2" fmla="*/ 385762 w 2371901"/>
              <a:gd name="connsiteY2" fmla="*/ 1196949 h 2768575"/>
              <a:gd name="connsiteX3" fmla="*/ 616744 w 2371901"/>
              <a:gd name="connsiteY3" fmla="*/ 894530 h 2768575"/>
              <a:gd name="connsiteX4" fmla="*/ 973931 w 2371901"/>
              <a:gd name="connsiteY4" fmla="*/ 608781 h 2768575"/>
              <a:gd name="connsiteX5" fmla="*/ 1143000 w 2371901"/>
              <a:gd name="connsiteY5" fmla="*/ 72999 h 2768575"/>
              <a:gd name="connsiteX6" fmla="*/ 1369219 w 2371901"/>
              <a:gd name="connsiteY6" fmla="*/ 8706 h 2768575"/>
              <a:gd name="connsiteX7" fmla="*/ 1566862 w 2371901"/>
              <a:gd name="connsiteY7" fmla="*/ 356368 h 2768575"/>
              <a:gd name="connsiteX8" fmla="*/ 1402557 w 2371901"/>
              <a:gd name="connsiteY8" fmla="*/ 999305 h 2768575"/>
              <a:gd name="connsiteX9" fmla="*/ 2233613 w 2371901"/>
              <a:gd name="connsiteY9" fmla="*/ 1096937 h 2768575"/>
              <a:gd name="connsiteX10" fmla="*/ 2371725 w 2371901"/>
              <a:gd name="connsiteY10" fmla="*/ 1339825 h 2768575"/>
              <a:gd name="connsiteX11" fmla="*/ 2202655 w 2371901"/>
              <a:gd name="connsiteY11" fmla="*/ 1542231 h 2768575"/>
              <a:gd name="connsiteX12" fmla="*/ 2352675 w 2371901"/>
              <a:gd name="connsiteY12" fmla="*/ 1773212 h 2768575"/>
              <a:gd name="connsiteX13" fmla="*/ 2133600 w 2371901"/>
              <a:gd name="connsiteY13" fmla="*/ 1977999 h 2768575"/>
              <a:gd name="connsiteX14" fmla="*/ 2224087 w 2371901"/>
              <a:gd name="connsiteY14" fmla="*/ 2225649 h 2768575"/>
              <a:gd name="connsiteX15" fmla="*/ 1952625 w 2371901"/>
              <a:gd name="connsiteY15" fmla="*/ 2406624 h 2768575"/>
              <a:gd name="connsiteX16" fmla="*/ 2026444 w 2371901"/>
              <a:gd name="connsiteY16" fmla="*/ 2575694 h 2768575"/>
              <a:gd name="connsiteX17" fmla="*/ 1819275 w 2371901"/>
              <a:gd name="connsiteY17" fmla="*/ 2768575 h 2768575"/>
              <a:gd name="connsiteX18" fmla="*/ 923925 w 2371901"/>
              <a:gd name="connsiteY18" fmla="*/ 2754287 h 2768575"/>
              <a:gd name="connsiteX19" fmla="*/ 476250 w 2371901"/>
              <a:gd name="connsiteY19" fmla="*/ 2601887 h 2768575"/>
              <a:gd name="connsiteX20" fmla="*/ 0 w 2371901"/>
              <a:gd name="connsiteY20" fmla="*/ 2578074 h 2768575"/>
              <a:gd name="connsiteX0" fmla="*/ 0 w 2371901"/>
              <a:gd name="connsiteY0" fmla="*/ 2578074 h 2768575"/>
              <a:gd name="connsiteX1" fmla="*/ 0 w 2371901"/>
              <a:gd name="connsiteY1" fmla="*/ 1239812 h 2768575"/>
              <a:gd name="connsiteX2" fmla="*/ 385762 w 2371901"/>
              <a:gd name="connsiteY2" fmla="*/ 1196949 h 2768575"/>
              <a:gd name="connsiteX3" fmla="*/ 616744 w 2371901"/>
              <a:gd name="connsiteY3" fmla="*/ 894530 h 2768575"/>
              <a:gd name="connsiteX4" fmla="*/ 973931 w 2371901"/>
              <a:gd name="connsiteY4" fmla="*/ 608781 h 2768575"/>
              <a:gd name="connsiteX5" fmla="*/ 1143000 w 2371901"/>
              <a:gd name="connsiteY5" fmla="*/ 72999 h 2768575"/>
              <a:gd name="connsiteX6" fmla="*/ 1369219 w 2371901"/>
              <a:gd name="connsiteY6" fmla="*/ 8706 h 2768575"/>
              <a:gd name="connsiteX7" fmla="*/ 1566862 w 2371901"/>
              <a:gd name="connsiteY7" fmla="*/ 356368 h 2768575"/>
              <a:gd name="connsiteX8" fmla="*/ 1402557 w 2371901"/>
              <a:gd name="connsiteY8" fmla="*/ 999305 h 2768575"/>
              <a:gd name="connsiteX9" fmla="*/ 2233613 w 2371901"/>
              <a:gd name="connsiteY9" fmla="*/ 1096937 h 2768575"/>
              <a:gd name="connsiteX10" fmla="*/ 2371725 w 2371901"/>
              <a:gd name="connsiteY10" fmla="*/ 1339825 h 2768575"/>
              <a:gd name="connsiteX11" fmla="*/ 2202655 w 2371901"/>
              <a:gd name="connsiteY11" fmla="*/ 1542231 h 2768575"/>
              <a:gd name="connsiteX12" fmla="*/ 2352675 w 2371901"/>
              <a:gd name="connsiteY12" fmla="*/ 1773212 h 2768575"/>
              <a:gd name="connsiteX13" fmla="*/ 2133600 w 2371901"/>
              <a:gd name="connsiteY13" fmla="*/ 1977999 h 2768575"/>
              <a:gd name="connsiteX14" fmla="*/ 2224087 w 2371901"/>
              <a:gd name="connsiteY14" fmla="*/ 2225649 h 2768575"/>
              <a:gd name="connsiteX15" fmla="*/ 1952625 w 2371901"/>
              <a:gd name="connsiteY15" fmla="*/ 2406624 h 2768575"/>
              <a:gd name="connsiteX16" fmla="*/ 2026444 w 2371901"/>
              <a:gd name="connsiteY16" fmla="*/ 2575694 h 2768575"/>
              <a:gd name="connsiteX17" fmla="*/ 1819275 w 2371901"/>
              <a:gd name="connsiteY17" fmla="*/ 2768575 h 2768575"/>
              <a:gd name="connsiteX18" fmla="*/ 923925 w 2371901"/>
              <a:gd name="connsiteY18" fmla="*/ 2754287 h 2768575"/>
              <a:gd name="connsiteX19" fmla="*/ 476250 w 2371901"/>
              <a:gd name="connsiteY19" fmla="*/ 2601887 h 2768575"/>
              <a:gd name="connsiteX20" fmla="*/ 0 w 2371901"/>
              <a:gd name="connsiteY20" fmla="*/ 2578074 h 2768575"/>
              <a:gd name="connsiteX0" fmla="*/ 0 w 2371901"/>
              <a:gd name="connsiteY0" fmla="*/ 2578074 h 2768575"/>
              <a:gd name="connsiteX1" fmla="*/ 0 w 2371901"/>
              <a:gd name="connsiteY1" fmla="*/ 1239812 h 2768575"/>
              <a:gd name="connsiteX2" fmla="*/ 385762 w 2371901"/>
              <a:gd name="connsiteY2" fmla="*/ 1196949 h 2768575"/>
              <a:gd name="connsiteX3" fmla="*/ 616744 w 2371901"/>
              <a:gd name="connsiteY3" fmla="*/ 894530 h 2768575"/>
              <a:gd name="connsiteX4" fmla="*/ 973931 w 2371901"/>
              <a:gd name="connsiteY4" fmla="*/ 608781 h 2768575"/>
              <a:gd name="connsiteX5" fmla="*/ 1143000 w 2371901"/>
              <a:gd name="connsiteY5" fmla="*/ 72999 h 2768575"/>
              <a:gd name="connsiteX6" fmla="*/ 1369219 w 2371901"/>
              <a:gd name="connsiteY6" fmla="*/ 8706 h 2768575"/>
              <a:gd name="connsiteX7" fmla="*/ 1566862 w 2371901"/>
              <a:gd name="connsiteY7" fmla="*/ 356368 h 2768575"/>
              <a:gd name="connsiteX8" fmla="*/ 1402557 w 2371901"/>
              <a:gd name="connsiteY8" fmla="*/ 999305 h 2768575"/>
              <a:gd name="connsiteX9" fmla="*/ 2233613 w 2371901"/>
              <a:gd name="connsiteY9" fmla="*/ 1096937 h 2768575"/>
              <a:gd name="connsiteX10" fmla="*/ 2371725 w 2371901"/>
              <a:gd name="connsiteY10" fmla="*/ 1339825 h 2768575"/>
              <a:gd name="connsiteX11" fmla="*/ 2202655 w 2371901"/>
              <a:gd name="connsiteY11" fmla="*/ 1542231 h 2768575"/>
              <a:gd name="connsiteX12" fmla="*/ 2352675 w 2371901"/>
              <a:gd name="connsiteY12" fmla="*/ 1773212 h 2768575"/>
              <a:gd name="connsiteX13" fmla="*/ 2133600 w 2371901"/>
              <a:gd name="connsiteY13" fmla="*/ 1977999 h 2768575"/>
              <a:gd name="connsiteX14" fmla="*/ 2221706 w 2371901"/>
              <a:gd name="connsiteY14" fmla="*/ 2242318 h 2768575"/>
              <a:gd name="connsiteX15" fmla="*/ 1952625 w 2371901"/>
              <a:gd name="connsiteY15" fmla="*/ 2406624 h 2768575"/>
              <a:gd name="connsiteX16" fmla="*/ 2026444 w 2371901"/>
              <a:gd name="connsiteY16" fmla="*/ 2575694 h 2768575"/>
              <a:gd name="connsiteX17" fmla="*/ 1819275 w 2371901"/>
              <a:gd name="connsiteY17" fmla="*/ 2768575 h 2768575"/>
              <a:gd name="connsiteX18" fmla="*/ 923925 w 2371901"/>
              <a:gd name="connsiteY18" fmla="*/ 2754287 h 2768575"/>
              <a:gd name="connsiteX19" fmla="*/ 476250 w 2371901"/>
              <a:gd name="connsiteY19" fmla="*/ 2601887 h 2768575"/>
              <a:gd name="connsiteX20" fmla="*/ 0 w 2371901"/>
              <a:gd name="connsiteY20" fmla="*/ 2578074 h 2768575"/>
              <a:gd name="connsiteX0" fmla="*/ 0 w 2371901"/>
              <a:gd name="connsiteY0" fmla="*/ 2578074 h 2768575"/>
              <a:gd name="connsiteX1" fmla="*/ 0 w 2371901"/>
              <a:gd name="connsiteY1" fmla="*/ 1239812 h 2768575"/>
              <a:gd name="connsiteX2" fmla="*/ 385762 w 2371901"/>
              <a:gd name="connsiteY2" fmla="*/ 1196949 h 2768575"/>
              <a:gd name="connsiteX3" fmla="*/ 616744 w 2371901"/>
              <a:gd name="connsiteY3" fmla="*/ 894530 h 2768575"/>
              <a:gd name="connsiteX4" fmla="*/ 973931 w 2371901"/>
              <a:gd name="connsiteY4" fmla="*/ 608781 h 2768575"/>
              <a:gd name="connsiteX5" fmla="*/ 1143000 w 2371901"/>
              <a:gd name="connsiteY5" fmla="*/ 72999 h 2768575"/>
              <a:gd name="connsiteX6" fmla="*/ 1369219 w 2371901"/>
              <a:gd name="connsiteY6" fmla="*/ 8706 h 2768575"/>
              <a:gd name="connsiteX7" fmla="*/ 1566862 w 2371901"/>
              <a:gd name="connsiteY7" fmla="*/ 356368 h 2768575"/>
              <a:gd name="connsiteX8" fmla="*/ 1402557 w 2371901"/>
              <a:gd name="connsiteY8" fmla="*/ 999305 h 2768575"/>
              <a:gd name="connsiteX9" fmla="*/ 2233613 w 2371901"/>
              <a:gd name="connsiteY9" fmla="*/ 1096937 h 2768575"/>
              <a:gd name="connsiteX10" fmla="*/ 2371725 w 2371901"/>
              <a:gd name="connsiteY10" fmla="*/ 1339825 h 2768575"/>
              <a:gd name="connsiteX11" fmla="*/ 2202655 w 2371901"/>
              <a:gd name="connsiteY11" fmla="*/ 1542231 h 2768575"/>
              <a:gd name="connsiteX12" fmla="*/ 2352675 w 2371901"/>
              <a:gd name="connsiteY12" fmla="*/ 1773212 h 2768575"/>
              <a:gd name="connsiteX13" fmla="*/ 2133600 w 2371901"/>
              <a:gd name="connsiteY13" fmla="*/ 1977999 h 2768575"/>
              <a:gd name="connsiteX14" fmla="*/ 2221706 w 2371901"/>
              <a:gd name="connsiteY14" fmla="*/ 2242318 h 2768575"/>
              <a:gd name="connsiteX15" fmla="*/ 1952625 w 2371901"/>
              <a:gd name="connsiteY15" fmla="*/ 2406624 h 2768575"/>
              <a:gd name="connsiteX16" fmla="*/ 2026444 w 2371901"/>
              <a:gd name="connsiteY16" fmla="*/ 2575694 h 2768575"/>
              <a:gd name="connsiteX17" fmla="*/ 1819275 w 2371901"/>
              <a:gd name="connsiteY17" fmla="*/ 2768575 h 2768575"/>
              <a:gd name="connsiteX18" fmla="*/ 923925 w 2371901"/>
              <a:gd name="connsiteY18" fmla="*/ 2754287 h 2768575"/>
              <a:gd name="connsiteX19" fmla="*/ 476250 w 2371901"/>
              <a:gd name="connsiteY19" fmla="*/ 2601887 h 2768575"/>
              <a:gd name="connsiteX20" fmla="*/ 0 w 2371901"/>
              <a:gd name="connsiteY20" fmla="*/ 2578074 h 2768575"/>
              <a:gd name="connsiteX0" fmla="*/ 0 w 2371901"/>
              <a:gd name="connsiteY0" fmla="*/ 2578074 h 2768575"/>
              <a:gd name="connsiteX1" fmla="*/ 0 w 2371901"/>
              <a:gd name="connsiteY1" fmla="*/ 1239812 h 2768575"/>
              <a:gd name="connsiteX2" fmla="*/ 385762 w 2371901"/>
              <a:gd name="connsiteY2" fmla="*/ 1196949 h 2768575"/>
              <a:gd name="connsiteX3" fmla="*/ 616744 w 2371901"/>
              <a:gd name="connsiteY3" fmla="*/ 894530 h 2768575"/>
              <a:gd name="connsiteX4" fmla="*/ 973931 w 2371901"/>
              <a:gd name="connsiteY4" fmla="*/ 608781 h 2768575"/>
              <a:gd name="connsiteX5" fmla="*/ 1143000 w 2371901"/>
              <a:gd name="connsiteY5" fmla="*/ 72999 h 2768575"/>
              <a:gd name="connsiteX6" fmla="*/ 1369219 w 2371901"/>
              <a:gd name="connsiteY6" fmla="*/ 8706 h 2768575"/>
              <a:gd name="connsiteX7" fmla="*/ 1566862 w 2371901"/>
              <a:gd name="connsiteY7" fmla="*/ 356368 h 2768575"/>
              <a:gd name="connsiteX8" fmla="*/ 1402557 w 2371901"/>
              <a:gd name="connsiteY8" fmla="*/ 999305 h 2768575"/>
              <a:gd name="connsiteX9" fmla="*/ 2233613 w 2371901"/>
              <a:gd name="connsiteY9" fmla="*/ 1096937 h 2768575"/>
              <a:gd name="connsiteX10" fmla="*/ 2371725 w 2371901"/>
              <a:gd name="connsiteY10" fmla="*/ 1339825 h 2768575"/>
              <a:gd name="connsiteX11" fmla="*/ 2202655 w 2371901"/>
              <a:gd name="connsiteY11" fmla="*/ 1542231 h 2768575"/>
              <a:gd name="connsiteX12" fmla="*/ 2352675 w 2371901"/>
              <a:gd name="connsiteY12" fmla="*/ 1773212 h 2768575"/>
              <a:gd name="connsiteX13" fmla="*/ 2133600 w 2371901"/>
              <a:gd name="connsiteY13" fmla="*/ 1977999 h 2768575"/>
              <a:gd name="connsiteX14" fmla="*/ 2221706 w 2371901"/>
              <a:gd name="connsiteY14" fmla="*/ 2242318 h 2768575"/>
              <a:gd name="connsiteX15" fmla="*/ 1952625 w 2371901"/>
              <a:gd name="connsiteY15" fmla="*/ 2406624 h 2768575"/>
              <a:gd name="connsiteX16" fmla="*/ 2026444 w 2371901"/>
              <a:gd name="connsiteY16" fmla="*/ 2575694 h 2768575"/>
              <a:gd name="connsiteX17" fmla="*/ 1819275 w 2371901"/>
              <a:gd name="connsiteY17" fmla="*/ 2768575 h 2768575"/>
              <a:gd name="connsiteX18" fmla="*/ 923925 w 2371901"/>
              <a:gd name="connsiteY18" fmla="*/ 2754287 h 2768575"/>
              <a:gd name="connsiteX19" fmla="*/ 476250 w 2371901"/>
              <a:gd name="connsiteY19" fmla="*/ 2601887 h 2768575"/>
              <a:gd name="connsiteX20" fmla="*/ 0 w 2371901"/>
              <a:gd name="connsiteY20" fmla="*/ 2578074 h 2768575"/>
              <a:gd name="connsiteX0" fmla="*/ 0 w 2371901"/>
              <a:gd name="connsiteY0" fmla="*/ 2578074 h 2768575"/>
              <a:gd name="connsiteX1" fmla="*/ 0 w 2371901"/>
              <a:gd name="connsiteY1" fmla="*/ 1239812 h 2768575"/>
              <a:gd name="connsiteX2" fmla="*/ 385762 w 2371901"/>
              <a:gd name="connsiteY2" fmla="*/ 1196949 h 2768575"/>
              <a:gd name="connsiteX3" fmla="*/ 616744 w 2371901"/>
              <a:gd name="connsiteY3" fmla="*/ 894530 h 2768575"/>
              <a:gd name="connsiteX4" fmla="*/ 973931 w 2371901"/>
              <a:gd name="connsiteY4" fmla="*/ 608781 h 2768575"/>
              <a:gd name="connsiteX5" fmla="*/ 1143000 w 2371901"/>
              <a:gd name="connsiteY5" fmla="*/ 72999 h 2768575"/>
              <a:gd name="connsiteX6" fmla="*/ 1369219 w 2371901"/>
              <a:gd name="connsiteY6" fmla="*/ 8706 h 2768575"/>
              <a:gd name="connsiteX7" fmla="*/ 1566862 w 2371901"/>
              <a:gd name="connsiteY7" fmla="*/ 356368 h 2768575"/>
              <a:gd name="connsiteX8" fmla="*/ 1402557 w 2371901"/>
              <a:gd name="connsiteY8" fmla="*/ 999305 h 2768575"/>
              <a:gd name="connsiteX9" fmla="*/ 2233613 w 2371901"/>
              <a:gd name="connsiteY9" fmla="*/ 1096937 h 2768575"/>
              <a:gd name="connsiteX10" fmla="*/ 2371725 w 2371901"/>
              <a:gd name="connsiteY10" fmla="*/ 1339825 h 2768575"/>
              <a:gd name="connsiteX11" fmla="*/ 2202655 w 2371901"/>
              <a:gd name="connsiteY11" fmla="*/ 1542231 h 2768575"/>
              <a:gd name="connsiteX12" fmla="*/ 2352675 w 2371901"/>
              <a:gd name="connsiteY12" fmla="*/ 1773212 h 2768575"/>
              <a:gd name="connsiteX13" fmla="*/ 2133600 w 2371901"/>
              <a:gd name="connsiteY13" fmla="*/ 1977999 h 2768575"/>
              <a:gd name="connsiteX14" fmla="*/ 2221706 w 2371901"/>
              <a:gd name="connsiteY14" fmla="*/ 2242318 h 2768575"/>
              <a:gd name="connsiteX15" fmla="*/ 1952625 w 2371901"/>
              <a:gd name="connsiteY15" fmla="*/ 2406624 h 2768575"/>
              <a:gd name="connsiteX16" fmla="*/ 2026444 w 2371901"/>
              <a:gd name="connsiteY16" fmla="*/ 2575694 h 2768575"/>
              <a:gd name="connsiteX17" fmla="*/ 1819275 w 2371901"/>
              <a:gd name="connsiteY17" fmla="*/ 2768575 h 2768575"/>
              <a:gd name="connsiteX18" fmla="*/ 923925 w 2371901"/>
              <a:gd name="connsiteY18" fmla="*/ 2754287 h 2768575"/>
              <a:gd name="connsiteX19" fmla="*/ 476250 w 2371901"/>
              <a:gd name="connsiteY19" fmla="*/ 2601887 h 2768575"/>
              <a:gd name="connsiteX20" fmla="*/ 0 w 2371901"/>
              <a:gd name="connsiteY20" fmla="*/ 2578074 h 2768575"/>
              <a:gd name="connsiteX0" fmla="*/ 0 w 2371901"/>
              <a:gd name="connsiteY0" fmla="*/ 2578074 h 2768575"/>
              <a:gd name="connsiteX1" fmla="*/ 0 w 2371901"/>
              <a:gd name="connsiteY1" fmla="*/ 1239812 h 2768575"/>
              <a:gd name="connsiteX2" fmla="*/ 385762 w 2371901"/>
              <a:gd name="connsiteY2" fmla="*/ 1196949 h 2768575"/>
              <a:gd name="connsiteX3" fmla="*/ 616744 w 2371901"/>
              <a:gd name="connsiteY3" fmla="*/ 894530 h 2768575"/>
              <a:gd name="connsiteX4" fmla="*/ 973931 w 2371901"/>
              <a:gd name="connsiteY4" fmla="*/ 608781 h 2768575"/>
              <a:gd name="connsiteX5" fmla="*/ 1143000 w 2371901"/>
              <a:gd name="connsiteY5" fmla="*/ 72999 h 2768575"/>
              <a:gd name="connsiteX6" fmla="*/ 1369219 w 2371901"/>
              <a:gd name="connsiteY6" fmla="*/ 8706 h 2768575"/>
              <a:gd name="connsiteX7" fmla="*/ 1566862 w 2371901"/>
              <a:gd name="connsiteY7" fmla="*/ 356368 h 2768575"/>
              <a:gd name="connsiteX8" fmla="*/ 1402557 w 2371901"/>
              <a:gd name="connsiteY8" fmla="*/ 999305 h 2768575"/>
              <a:gd name="connsiteX9" fmla="*/ 2233613 w 2371901"/>
              <a:gd name="connsiteY9" fmla="*/ 1096937 h 2768575"/>
              <a:gd name="connsiteX10" fmla="*/ 2371725 w 2371901"/>
              <a:gd name="connsiteY10" fmla="*/ 1339825 h 2768575"/>
              <a:gd name="connsiteX11" fmla="*/ 2202655 w 2371901"/>
              <a:gd name="connsiteY11" fmla="*/ 1542231 h 2768575"/>
              <a:gd name="connsiteX12" fmla="*/ 2352675 w 2371901"/>
              <a:gd name="connsiteY12" fmla="*/ 1773212 h 2768575"/>
              <a:gd name="connsiteX13" fmla="*/ 2133600 w 2371901"/>
              <a:gd name="connsiteY13" fmla="*/ 1977999 h 2768575"/>
              <a:gd name="connsiteX14" fmla="*/ 2221706 w 2371901"/>
              <a:gd name="connsiteY14" fmla="*/ 2242318 h 2768575"/>
              <a:gd name="connsiteX15" fmla="*/ 1952625 w 2371901"/>
              <a:gd name="connsiteY15" fmla="*/ 2406624 h 2768575"/>
              <a:gd name="connsiteX16" fmla="*/ 2026444 w 2371901"/>
              <a:gd name="connsiteY16" fmla="*/ 2575694 h 2768575"/>
              <a:gd name="connsiteX17" fmla="*/ 1819275 w 2371901"/>
              <a:gd name="connsiteY17" fmla="*/ 2768575 h 2768575"/>
              <a:gd name="connsiteX18" fmla="*/ 923925 w 2371901"/>
              <a:gd name="connsiteY18" fmla="*/ 2754287 h 2768575"/>
              <a:gd name="connsiteX19" fmla="*/ 476250 w 2371901"/>
              <a:gd name="connsiteY19" fmla="*/ 2601887 h 2768575"/>
              <a:gd name="connsiteX20" fmla="*/ 0 w 2371901"/>
              <a:gd name="connsiteY20" fmla="*/ 2578074 h 2768575"/>
              <a:gd name="connsiteX0" fmla="*/ 0 w 2371901"/>
              <a:gd name="connsiteY0" fmla="*/ 2578074 h 2768575"/>
              <a:gd name="connsiteX1" fmla="*/ 0 w 2371901"/>
              <a:gd name="connsiteY1" fmla="*/ 1239812 h 2768575"/>
              <a:gd name="connsiteX2" fmla="*/ 385762 w 2371901"/>
              <a:gd name="connsiteY2" fmla="*/ 1196949 h 2768575"/>
              <a:gd name="connsiteX3" fmla="*/ 616744 w 2371901"/>
              <a:gd name="connsiteY3" fmla="*/ 894530 h 2768575"/>
              <a:gd name="connsiteX4" fmla="*/ 973931 w 2371901"/>
              <a:gd name="connsiteY4" fmla="*/ 608781 h 2768575"/>
              <a:gd name="connsiteX5" fmla="*/ 1143000 w 2371901"/>
              <a:gd name="connsiteY5" fmla="*/ 72999 h 2768575"/>
              <a:gd name="connsiteX6" fmla="*/ 1369219 w 2371901"/>
              <a:gd name="connsiteY6" fmla="*/ 8706 h 2768575"/>
              <a:gd name="connsiteX7" fmla="*/ 1566862 w 2371901"/>
              <a:gd name="connsiteY7" fmla="*/ 356368 h 2768575"/>
              <a:gd name="connsiteX8" fmla="*/ 1402557 w 2371901"/>
              <a:gd name="connsiteY8" fmla="*/ 999305 h 2768575"/>
              <a:gd name="connsiteX9" fmla="*/ 2233613 w 2371901"/>
              <a:gd name="connsiteY9" fmla="*/ 1096937 h 2768575"/>
              <a:gd name="connsiteX10" fmla="*/ 2371725 w 2371901"/>
              <a:gd name="connsiteY10" fmla="*/ 1339825 h 2768575"/>
              <a:gd name="connsiteX11" fmla="*/ 2202655 w 2371901"/>
              <a:gd name="connsiteY11" fmla="*/ 1542231 h 2768575"/>
              <a:gd name="connsiteX12" fmla="*/ 2352675 w 2371901"/>
              <a:gd name="connsiteY12" fmla="*/ 1773212 h 2768575"/>
              <a:gd name="connsiteX13" fmla="*/ 2133600 w 2371901"/>
              <a:gd name="connsiteY13" fmla="*/ 1977999 h 2768575"/>
              <a:gd name="connsiteX14" fmla="*/ 2219325 w 2371901"/>
              <a:gd name="connsiteY14" fmla="*/ 2263750 h 2768575"/>
              <a:gd name="connsiteX15" fmla="*/ 1952625 w 2371901"/>
              <a:gd name="connsiteY15" fmla="*/ 2406624 h 2768575"/>
              <a:gd name="connsiteX16" fmla="*/ 2026444 w 2371901"/>
              <a:gd name="connsiteY16" fmla="*/ 2575694 h 2768575"/>
              <a:gd name="connsiteX17" fmla="*/ 1819275 w 2371901"/>
              <a:gd name="connsiteY17" fmla="*/ 2768575 h 2768575"/>
              <a:gd name="connsiteX18" fmla="*/ 923925 w 2371901"/>
              <a:gd name="connsiteY18" fmla="*/ 2754287 h 2768575"/>
              <a:gd name="connsiteX19" fmla="*/ 476250 w 2371901"/>
              <a:gd name="connsiteY19" fmla="*/ 2601887 h 2768575"/>
              <a:gd name="connsiteX20" fmla="*/ 0 w 2371901"/>
              <a:gd name="connsiteY20" fmla="*/ 2578074 h 2768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2371901" h="2768575">
                <a:moveTo>
                  <a:pt x="0" y="2578074"/>
                </a:moveTo>
                <a:lnTo>
                  <a:pt x="0" y="1239812"/>
                </a:lnTo>
                <a:cubicBezTo>
                  <a:pt x="128587" y="1225524"/>
                  <a:pt x="282971" y="1254496"/>
                  <a:pt x="385762" y="1196949"/>
                </a:cubicBezTo>
                <a:cubicBezTo>
                  <a:pt x="488553" y="1139402"/>
                  <a:pt x="518716" y="992558"/>
                  <a:pt x="616744" y="894530"/>
                </a:cubicBezTo>
                <a:cubicBezTo>
                  <a:pt x="714772" y="796502"/>
                  <a:pt x="936624" y="658787"/>
                  <a:pt x="973931" y="608781"/>
                </a:cubicBezTo>
                <a:cubicBezTo>
                  <a:pt x="1011238" y="558775"/>
                  <a:pt x="1089025" y="258737"/>
                  <a:pt x="1143000" y="72999"/>
                </a:cubicBezTo>
                <a:cubicBezTo>
                  <a:pt x="1187450" y="34900"/>
                  <a:pt x="1272381" y="-21853"/>
                  <a:pt x="1369219" y="8706"/>
                </a:cubicBezTo>
                <a:cubicBezTo>
                  <a:pt x="1466057" y="39265"/>
                  <a:pt x="1561306" y="191268"/>
                  <a:pt x="1566862" y="356368"/>
                </a:cubicBezTo>
                <a:cubicBezTo>
                  <a:pt x="1572418" y="521468"/>
                  <a:pt x="1461294" y="792930"/>
                  <a:pt x="1402557" y="999305"/>
                </a:cubicBezTo>
                <a:cubicBezTo>
                  <a:pt x="1681163" y="1031849"/>
                  <a:pt x="2122092" y="1059234"/>
                  <a:pt x="2233613" y="1096937"/>
                </a:cubicBezTo>
                <a:cubicBezTo>
                  <a:pt x="2345134" y="1134640"/>
                  <a:pt x="2374504" y="1229891"/>
                  <a:pt x="2371725" y="1339825"/>
                </a:cubicBezTo>
                <a:cubicBezTo>
                  <a:pt x="2368946" y="1449759"/>
                  <a:pt x="2241549" y="1531119"/>
                  <a:pt x="2202655" y="1542231"/>
                </a:cubicBezTo>
                <a:cubicBezTo>
                  <a:pt x="2233612" y="1573981"/>
                  <a:pt x="2395140" y="1605334"/>
                  <a:pt x="2352675" y="1773212"/>
                </a:cubicBezTo>
                <a:cubicBezTo>
                  <a:pt x="2310210" y="1941090"/>
                  <a:pt x="2161381" y="1964506"/>
                  <a:pt x="2133600" y="1977999"/>
                </a:cubicBezTo>
                <a:cubicBezTo>
                  <a:pt x="2168525" y="2001017"/>
                  <a:pt x="2285999" y="2098650"/>
                  <a:pt x="2219325" y="2263750"/>
                </a:cubicBezTo>
                <a:cubicBezTo>
                  <a:pt x="2152651" y="2428850"/>
                  <a:pt x="1981199" y="2403449"/>
                  <a:pt x="1952625" y="2406624"/>
                </a:cubicBezTo>
                <a:cubicBezTo>
                  <a:pt x="1981994" y="2441549"/>
                  <a:pt x="2048669" y="2474887"/>
                  <a:pt x="2026444" y="2575694"/>
                </a:cubicBezTo>
                <a:cubicBezTo>
                  <a:pt x="2004219" y="2676501"/>
                  <a:pt x="1913731" y="2737619"/>
                  <a:pt x="1819275" y="2768575"/>
                </a:cubicBezTo>
                <a:cubicBezTo>
                  <a:pt x="1520825" y="2763812"/>
                  <a:pt x="1030288" y="2766987"/>
                  <a:pt x="923925" y="2754287"/>
                </a:cubicBezTo>
                <a:cubicBezTo>
                  <a:pt x="817562" y="2741587"/>
                  <a:pt x="556419" y="2614587"/>
                  <a:pt x="476250" y="2601887"/>
                </a:cubicBezTo>
                <a:cubicBezTo>
                  <a:pt x="396081" y="2589187"/>
                  <a:pt x="158750" y="2586012"/>
                  <a:pt x="0" y="2578074"/>
                </a:cubicBezTo>
                <a:close/>
              </a:path>
            </a:pathLst>
          </a:custGeom>
          <a:noFill/>
          <a:ln w="12700" cap="rnd">
            <a:solidFill>
              <a:schemeClr val="accent6">
                <a:lumMod val="50000"/>
              </a:schemeClr>
            </a:solidFill>
            <a:rou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8" name="Rectangle: Rounded Corners 357">
            <a:extLst>
              <a:ext uri="{FF2B5EF4-FFF2-40B4-BE49-F238E27FC236}">
                <a16:creationId xmlns:a16="http://schemas.microsoft.com/office/drawing/2014/main" id="{853DB4EA-2750-471F-E232-53DC0199EAD8}"/>
              </a:ext>
            </a:extLst>
          </p:cNvPr>
          <p:cNvSpPr/>
          <p:nvPr/>
        </p:nvSpPr>
        <p:spPr>
          <a:xfrm rot="20997418" flipH="1" flipV="1">
            <a:off x="5431586" y="4625909"/>
            <a:ext cx="27873" cy="126659"/>
          </a:xfrm>
          <a:prstGeom prst="roundRect">
            <a:avLst>
              <a:gd name="adj" fmla="val 30693"/>
            </a:avLst>
          </a:prstGeom>
          <a:noFill/>
          <a:ln w="12700" cap="rnd">
            <a:solidFill>
              <a:schemeClr val="accent6">
                <a:lumMod val="50000"/>
              </a:schemeClr>
            </a:solidFill>
            <a:round/>
          </a:ln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9" name="Freeform: Shape 221">
            <a:extLst>
              <a:ext uri="{FF2B5EF4-FFF2-40B4-BE49-F238E27FC236}">
                <a16:creationId xmlns:a16="http://schemas.microsoft.com/office/drawing/2014/main" id="{96E06FDA-3BA4-7345-46B4-1153E2C0168C}"/>
              </a:ext>
            </a:extLst>
          </p:cNvPr>
          <p:cNvSpPr/>
          <p:nvPr/>
        </p:nvSpPr>
        <p:spPr>
          <a:xfrm rot="20997418" flipH="1" flipV="1">
            <a:off x="5266994" y="4643429"/>
            <a:ext cx="172779" cy="201668"/>
          </a:xfrm>
          <a:custGeom>
            <a:avLst/>
            <a:gdLst>
              <a:gd name="connsiteX0" fmla="*/ 0 w 2376487"/>
              <a:gd name="connsiteY0" fmla="*/ 2633662 h 2838450"/>
              <a:gd name="connsiteX1" fmla="*/ 0 w 2376487"/>
              <a:gd name="connsiteY1" fmla="*/ 1295400 h 2838450"/>
              <a:gd name="connsiteX2" fmla="*/ 385762 w 2376487"/>
              <a:gd name="connsiteY2" fmla="*/ 1252537 h 2838450"/>
              <a:gd name="connsiteX3" fmla="*/ 576262 w 2376487"/>
              <a:gd name="connsiteY3" fmla="*/ 914400 h 2838450"/>
              <a:gd name="connsiteX4" fmla="*/ 981075 w 2376487"/>
              <a:gd name="connsiteY4" fmla="*/ 685800 h 2838450"/>
              <a:gd name="connsiteX5" fmla="*/ 1143000 w 2376487"/>
              <a:gd name="connsiteY5" fmla="*/ 128587 h 2838450"/>
              <a:gd name="connsiteX6" fmla="*/ 1323975 w 2376487"/>
              <a:gd name="connsiteY6" fmla="*/ 0 h 2838450"/>
              <a:gd name="connsiteX7" fmla="*/ 1585912 w 2376487"/>
              <a:gd name="connsiteY7" fmla="*/ 414337 h 2838450"/>
              <a:gd name="connsiteX8" fmla="*/ 1409700 w 2376487"/>
              <a:gd name="connsiteY8" fmla="*/ 1033462 h 2838450"/>
              <a:gd name="connsiteX9" fmla="*/ 2238375 w 2376487"/>
              <a:gd name="connsiteY9" fmla="*/ 1152525 h 2838450"/>
              <a:gd name="connsiteX10" fmla="*/ 2376487 w 2376487"/>
              <a:gd name="connsiteY10" fmla="*/ 1371600 h 2838450"/>
              <a:gd name="connsiteX11" fmla="*/ 2224087 w 2376487"/>
              <a:gd name="connsiteY11" fmla="*/ 1590675 h 2838450"/>
              <a:gd name="connsiteX12" fmla="*/ 2352675 w 2376487"/>
              <a:gd name="connsiteY12" fmla="*/ 1828800 h 2838450"/>
              <a:gd name="connsiteX13" fmla="*/ 2133600 w 2376487"/>
              <a:gd name="connsiteY13" fmla="*/ 2033587 h 2838450"/>
              <a:gd name="connsiteX14" fmla="*/ 2224087 w 2376487"/>
              <a:gd name="connsiteY14" fmla="*/ 2281237 h 2838450"/>
              <a:gd name="connsiteX15" fmla="*/ 1952625 w 2376487"/>
              <a:gd name="connsiteY15" fmla="*/ 2462212 h 2838450"/>
              <a:gd name="connsiteX16" fmla="*/ 2028825 w 2376487"/>
              <a:gd name="connsiteY16" fmla="*/ 2657475 h 2838450"/>
              <a:gd name="connsiteX17" fmla="*/ 1857375 w 2376487"/>
              <a:gd name="connsiteY17" fmla="*/ 2838450 h 2838450"/>
              <a:gd name="connsiteX18" fmla="*/ 923925 w 2376487"/>
              <a:gd name="connsiteY18" fmla="*/ 2809875 h 2838450"/>
              <a:gd name="connsiteX19" fmla="*/ 476250 w 2376487"/>
              <a:gd name="connsiteY19" fmla="*/ 2657475 h 2838450"/>
              <a:gd name="connsiteX20" fmla="*/ 0 w 2376487"/>
              <a:gd name="connsiteY20" fmla="*/ 2633662 h 2838450"/>
              <a:gd name="connsiteX0" fmla="*/ 0 w 2376487"/>
              <a:gd name="connsiteY0" fmla="*/ 2633662 h 2838450"/>
              <a:gd name="connsiteX1" fmla="*/ 0 w 2376487"/>
              <a:gd name="connsiteY1" fmla="*/ 1295400 h 2838450"/>
              <a:gd name="connsiteX2" fmla="*/ 385762 w 2376487"/>
              <a:gd name="connsiteY2" fmla="*/ 1252537 h 2838450"/>
              <a:gd name="connsiteX3" fmla="*/ 576262 w 2376487"/>
              <a:gd name="connsiteY3" fmla="*/ 914400 h 2838450"/>
              <a:gd name="connsiteX4" fmla="*/ 981075 w 2376487"/>
              <a:gd name="connsiteY4" fmla="*/ 685800 h 2838450"/>
              <a:gd name="connsiteX5" fmla="*/ 1143000 w 2376487"/>
              <a:gd name="connsiteY5" fmla="*/ 128587 h 2838450"/>
              <a:gd name="connsiteX6" fmla="*/ 1323975 w 2376487"/>
              <a:gd name="connsiteY6" fmla="*/ 0 h 2838450"/>
              <a:gd name="connsiteX7" fmla="*/ 1585912 w 2376487"/>
              <a:gd name="connsiteY7" fmla="*/ 414337 h 2838450"/>
              <a:gd name="connsiteX8" fmla="*/ 1409700 w 2376487"/>
              <a:gd name="connsiteY8" fmla="*/ 1033462 h 2838450"/>
              <a:gd name="connsiteX9" fmla="*/ 2238375 w 2376487"/>
              <a:gd name="connsiteY9" fmla="*/ 1152525 h 2838450"/>
              <a:gd name="connsiteX10" fmla="*/ 2376487 w 2376487"/>
              <a:gd name="connsiteY10" fmla="*/ 1371600 h 2838450"/>
              <a:gd name="connsiteX11" fmla="*/ 2224087 w 2376487"/>
              <a:gd name="connsiteY11" fmla="*/ 1590675 h 2838450"/>
              <a:gd name="connsiteX12" fmla="*/ 2352675 w 2376487"/>
              <a:gd name="connsiteY12" fmla="*/ 1828800 h 2838450"/>
              <a:gd name="connsiteX13" fmla="*/ 2133600 w 2376487"/>
              <a:gd name="connsiteY13" fmla="*/ 2033587 h 2838450"/>
              <a:gd name="connsiteX14" fmla="*/ 2224087 w 2376487"/>
              <a:gd name="connsiteY14" fmla="*/ 2281237 h 2838450"/>
              <a:gd name="connsiteX15" fmla="*/ 1952625 w 2376487"/>
              <a:gd name="connsiteY15" fmla="*/ 2462212 h 2838450"/>
              <a:gd name="connsiteX16" fmla="*/ 2028825 w 2376487"/>
              <a:gd name="connsiteY16" fmla="*/ 2657475 h 2838450"/>
              <a:gd name="connsiteX17" fmla="*/ 1857375 w 2376487"/>
              <a:gd name="connsiteY17" fmla="*/ 2838450 h 2838450"/>
              <a:gd name="connsiteX18" fmla="*/ 923925 w 2376487"/>
              <a:gd name="connsiteY18" fmla="*/ 2809875 h 2838450"/>
              <a:gd name="connsiteX19" fmla="*/ 476250 w 2376487"/>
              <a:gd name="connsiteY19" fmla="*/ 2657475 h 2838450"/>
              <a:gd name="connsiteX20" fmla="*/ 0 w 2376487"/>
              <a:gd name="connsiteY20" fmla="*/ 2633662 h 2838450"/>
              <a:gd name="connsiteX0" fmla="*/ 0 w 2376487"/>
              <a:gd name="connsiteY0" fmla="*/ 2633662 h 2838450"/>
              <a:gd name="connsiteX1" fmla="*/ 0 w 2376487"/>
              <a:gd name="connsiteY1" fmla="*/ 1295400 h 2838450"/>
              <a:gd name="connsiteX2" fmla="*/ 385762 w 2376487"/>
              <a:gd name="connsiteY2" fmla="*/ 1252537 h 2838450"/>
              <a:gd name="connsiteX3" fmla="*/ 616744 w 2376487"/>
              <a:gd name="connsiteY3" fmla="*/ 950118 h 2838450"/>
              <a:gd name="connsiteX4" fmla="*/ 981075 w 2376487"/>
              <a:gd name="connsiteY4" fmla="*/ 685800 h 2838450"/>
              <a:gd name="connsiteX5" fmla="*/ 1143000 w 2376487"/>
              <a:gd name="connsiteY5" fmla="*/ 128587 h 2838450"/>
              <a:gd name="connsiteX6" fmla="*/ 1323975 w 2376487"/>
              <a:gd name="connsiteY6" fmla="*/ 0 h 2838450"/>
              <a:gd name="connsiteX7" fmla="*/ 1585912 w 2376487"/>
              <a:gd name="connsiteY7" fmla="*/ 414337 h 2838450"/>
              <a:gd name="connsiteX8" fmla="*/ 1409700 w 2376487"/>
              <a:gd name="connsiteY8" fmla="*/ 1033462 h 2838450"/>
              <a:gd name="connsiteX9" fmla="*/ 2238375 w 2376487"/>
              <a:gd name="connsiteY9" fmla="*/ 1152525 h 2838450"/>
              <a:gd name="connsiteX10" fmla="*/ 2376487 w 2376487"/>
              <a:gd name="connsiteY10" fmla="*/ 1371600 h 2838450"/>
              <a:gd name="connsiteX11" fmla="*/ 2224087 w 2376487"/>
              <a:gd name="connsiteY11" fmla="*/ 1590675 h 2838450"/>
              <a:gd name="connsiteX12" fmla="*/ 2352675 w 2376487"/>
              <a:gd name="connsiteY12" fmla="*/ 1828800 h 2838450"/>
              <a:gd name="connsiteX13" fmla="*/ 2133600 w 2376487"/>
              <a:gd name="connsiteY13" fmla="*/ 2033587 h 2838450"/>
              <a:gd name="connsiteX14" fmla="*/ 2224087 w 2376487"/>
              <a:gd name="connsiteY14" fmla="*/ 2281237 h 2838450"/>
              <a:gd name="connsiteX15" fmla="*/ 1952625 w 2376487"/>
              <a:gd name="connsiteY15" fmla="*/ 2462212 h 2838450"/>
              <a:gd name="connsiteX16" fmla="*/ 2028825 w 2376487"/>
              <a:gd name="connsiteY16" fmla="*/ 2657475 h 2838450"/>
              <a:gd name="connsiteX17" fmla="*/ 1857375 w 2376487"/>
              <a:gd name="connsiteY17" fmla="*/ 2838450 h 2838450"/>
              <a:gd name="connsiteX18" fmla="*/ 923925 w 2376487"/>
              <a:gd name="connsiteY18" fmla="*/ 2809875 h 2838450"/>
              <a:gd name="connsiteX19" fmla="*/ 476250 w 2376487"/>
              <a:gd name="connsiteY19" fmla="*/ 2657475 h 2838450"/>
              <a:gd name="connsiteX20" fmla="*/ 0 w 2376487"/>
              <a:gd name="connsiteY20" fmla="*/ 2633662 h 2838450"/>
              <a:gd name="connsiteX0" fmla="*/ 0 w 2376487"/>
              <a:gd name="connsiteY0" fmla="*/ 2633662 h 2838450"/>
              <a:gd name="connsiteX1" fmla="*/ 0 w 2376487"/>
              <a:gd name="connsiteY1" fmla="*/ 1295400 h 2838450"/>
              <a:gd name="connsiteX2" fmla="*/ 385762 w 2376487"/>
              <a:gd name="connsiteY2" fmla="*/ 1252537 h 2838450"/>
              <a:gd name="connsiteX3" fmla="*/ 616744 w 2376487"/>
              <a:gd name="connsiteY3" fmla="*/ 950118 h 2838450"/>
              <a:gd name="connsiteX4" fmla="*/ 981075 w 2376487"/>
              <a:gd name="connsiteY4" fmla="*/ 685800 h 2838450"/>
              <a:gd name="connsiteX5" fmla="*/ 1143000 w 2376487"/>
              <a:gd name="connsiteY5" fmla="*/ 128587 h 2838450"/>
              <a:gd name="connsiteX6" fmla="*/ 1323975 w 2376487"/>
              <a:gd name="connsiteY6" fmla="*/ 0 h 2838450"/>
              <a:gd name="connsiteX7" fmla="*/ 1585912 w 2376487"/>
              <a:gd name="connsiteY7" fmla="*/ 414337 h 2838450"/>
              <a:gd name="connsiteX8" fmla="*/ 1409700 w 2376487"/>
              <a:gd name="connsiteY8" fmla="*/ 1033462 h 2838450"/>
              <a:gd name="connsiteX9" fmla="*/ 2238375 w 2376487"/>
              <a:gd name="connsiteY9" fmla="*/ 1152525 h 2838450"/>
              <a:gd name="connsiteX10" fmla="*/ 2376487 w 2376487"/>
              <a:gd name="connsiteY10" fmla="*/ 1371600 h 2838450"/>
              <a:gd name="connsiteX11" fmla="*/ 2224087 w 2376487"/>
              <a:gd name="connsiteY11" fmla="*/ 1590675 h 2838450"/>
              <a:gd name="connsiteX12" fmla="*/ 2352675 w 2376487"/>
              <a:gd name="connsiteY12" fmla="*/ 1828800 h 2838450"/>
              <a:gd name="connsiteX13" fmla="*/ 2133600 w 2376487"/>
              <a:gd name="connsiteY13" fmla="*/ 2033587 h 2838450"/>
              <a:gd name="connsiteX14" fmla="*/ 2224087 w 2376487"/>
              <a:gd name="connsiteY14" fmla="*/ 2281237 h 2838450"/>
              <a:gd name="connsiteX15" fmla="*/ 1952625 w 2376487"/>
              <a:gd name="connsiteY15" fmla="*/ 2462212 h 2838450"/>
              <a:gd name="connsiteX16" fmla="*/ 2028825 w 2376487"/>
              <a:gd name="connsiteY16" fmla="*/ 2657475 h 2838450"/>
              <a:gd name="connsiteX17" fmla="*/ 1857375 w 2376487"/>
              <a:gd name="connsiteY17" fmla="*/ 2838450 h 2838450"/>
              <a:gd name="connsiteX18" fmla="*/ 923925 w 2376487"/>
              <a:gd name="connsiteY18" fmla="*/ 2809875 h 2838450"/>
              <a:gd name="connsiteX19" fmla="*/ 476250 w 2376487"/>
              <a:gd name="connsiteY19" fmla="*/ 2657475 h 2838450"/>
              <a:gd name="connsiteX20" fmla="*/ 0 w 2376487"/>
              <a:gd name="connsiteY20" fmla="*/ 2633662 h 2838450"/>
              <a:gd name="connsiteX0" fmla="*/ 0 w 2376487"/>
              <a:gd name="connsiteY0" fmla="*/ 2633662 h 2838450"/>
              <a:gd name="connsiteX1" fmla="*/ 0 w 2376487"/>
              <a:gd name="connsiteY1" fmla="*/ 1295400 h 2838450"/>
              <a:gd name="connsiteX2" fmla="*/ 385762 w 2376487"/>
              <a:gd name="connsiteY2" fmla="*/ 1252537 h 2838450"/>
              <a:gd name="connsiteX3" fmla="*/ 616744 w 2376487"/>
              <a:gd name="connsiteY3" fmla="*/ 950118 h 2838450"/>
              <a:gd name="connsiteX4" fmla="*/ 981075 w 2376487"/>
              <a:gd name="connsiteY4" fmla="*/ 685800 h 2838450"/>
              <a:gd name="connsiteX5" fmla="*/ 1143000 w 2376487"/>
              <a:gd name="connsiteY5" fmla="*/ 128587 h 2838450"/>
              <a:gd name="connsiteX6" fmla="*/ 1323975 w 2376487"/>
              <a:gd name="connsiteY6" fmla="*/ 0 h 2838450"/>
              <a:gd name="connsiteX7" fmla="*/ 1585912 w 2376487"/>
              <a:gd name="connsiteY7" fmla="*/ 414337 h 2838450"/>
              <a:gd name="connsiteX8" fmla="*/ 1409700 w 2376487"/>
              <a:gd name="connsiteY8" fmla="*/ 1033462 h 2838450"/>
              <a:gd name="connsiteX9" fmla="*/ 2238375 w 2376487"/>
              <a:gd name="connsiteY9" fmla="*/ 1152525 h 2838450"/>
              <a:gd name="connsiteX10" fmla="*/ 2376487 w 2376487"/>
              <a:gd name="connsiteY10" fmla="*/ 1371600 h 2838450"/>
              <a:gd name="connsiteX11" fmla="*/ 2224087 w 2376487"/>
              <a:gd name="connsiteY11" fmla="*/ 1590675 h 2838450"/>
              <a:gd name="connsiteX12" fmla="*/ 2352675 w 2376487"/>
              <a:gd name="connsiteY12" fmla="*/ 1828800 h 2838450"/>
              <a:gd name="connsiteX13" fmla="*/ 2133600 w 2376487"/>
              <a:gd name="connsiteY13" fmla="*/ 2033587 h 2838450"/>
              <a:gd name="connsiteX14" fmla="*/ 2224087 w 2376487"/>
              <a:gd name="connsiteY14" fmla="*/ 2281237 h 2838450"/>
              <a:gd name="connsiteX15" fmla="*/ 1952625 w 2376487"/>
              <a:gd name="connsiteY15" fmla="*/ 2462212 h 2838450"/>
              <a:gd name="connsiteX16" fmla="*/ 2028825 w 2376487"/>
              <a:gd name="connsiteY16" fmla="*/ 2657475 h 2838450"/>
              <a:gd name="connsiteX17" fmla="*/ 1857375 w 2376487"/>
              <a:gd name="connsiteY17" fmla="*/ 2838450 h 2838450"/>
              <a:gd name="connsiteX18" fmla="*/ 923925 w 2376487"/>
              <a:gd name="connsiteY18" fmla="*/ 2809875 h 2838450"/>
              <a:gd name="connsiteX19" fmla="*/ 476250 w 2376487"/>
              <a:gd name="connsiteY19" fmla="*/ 2657475 h 2838450"/>
              <a:gd name="connsiteX20" fmla="*/ 0 w 2376487"/>
              <a:gd name="connsiteY20" fmla="*/ 2633662 h 2838450"/>
              <a:gd name="connsiteX0" fmla="*/ 0 w 2376487"/>
              <a:gd name="connsiteY0" fmla="*/ 2569368 h 2774156"/>
              <a:gd name="connsiteX1" fmla="*/ 0 w 2376487"/>
              <a:gd name="connsiteY1" fmla="*/ 1231106 h 2774156"/>
              <a:gd name="connsiteX2" fmla="*/ 385762 w 2376487"/>
              <a:gd name="connsiteY2" fmla="*/ 1188243 h 2774156"/>
              <a:gd name="connsiteX3" fmla="*/ 616744 w 2376487"/>
              <a:gd name="connsiteY3" fmla="*/ 885824 h 2774156"/>
              <a:gd name="connsiteX4" fmla="*/ 981075 w 2376487"/>
              <a:gd name="connsiteY4" fmla="*/ 621506 h 2774156"/>
              <a:gd name="connsiteX5" fmla="*/ 1143000 w 2376487"/>
              <a:gd name="connsiteY5" fmla="*/ 64293 h 2774156"/>
              <a:gd name="connsiteX6" fmla="*/ 1369219 w 2376487"/>
              <a:gd name="connsiteY6" fmla="*/ 0 h 2774156"/>
              <a:gd name="connsiteX7" fmla="*/ 1585912 w 2376487"/>
              <a:gd name="connsiteY7" fmla="*/ 350043 h 2774156"/>
              <a:gd name="connsiteX8" fmla="*/ 1409700 w 2376487"/>
              <a:gd name="connsiteY8" fmla="*/ 969168 h 2774156"/>
              <a:gd name="connsiteX9" fmla="*/ 2238375 w 2376487"/>
              <a:gd name="connsiteY9" fmla="*/ 1088231 h 2774156"/>
              <a:gd name="connsiteX10" fmla="*/ 2376487 w 2376487"/>
              <a:gd name="connsiteY10" fmla="*/ 1307306 h 2774156"/>
              <a:gd name="connsiteX11" fmla="*/ 2224087 w 2376487"/>
              <a:gd name="connsiteY11" fmla="*/ 1526381 h 2774156"/>
              <a:gd name="connsiteX12" fmla="*/ 2352675 w 2376487"/>
              <a:gd name="connsiteY12" fmla="*/ 1764506 h 2774156"/>
              <a:gd name="connsiteX13" fmla="*/ 2133600 w 2376487"/>
              <a:gd name="connsiteY13" fmla="*/ 1969293 h 2774156"/>
              <a:gd name="connsiteX14" fmla="*/ 2224087 w 2376487"/>
              <a:gd name="connsiteY14" fmla="*/ 2216943 h 2774156"/>
              <a:gd name="connsiteX15" fmla="*/ 1952625 w 2376487"/>
              <a:gd name="connsiteY15" fmla="*/ 2397918 h 2774156"/>
              <a:gd name="connsiteX16" fmla="*/ 2028825 w 2376487"/>
              <a:gd name="connsiteY16" fmla="*/ 2593181 h 2774156"/>
              <a:gd name="connsiteX17" fmla="*/ 1857375 w 2376487"/>
              <a:gd name="connsiteY17" fmla="*/ 2774156 h 2774156"/>
              <a:gd name="connsiteX18" fmla="*/ 923925 w 2376487"/>
              <a:gd name="connsiteY18" fmla="*/ 2745581 h 2774156"/>
              <a:gd name="connsiteX19" fmla="*/ 476250 w 2376487"/>
              <a:gd name="connsiteY19" fmla="*/ 2593181 h 2774156"/>
              <a:gd name="connsiteX20" fmla="*/ 0 w 2376487"/>
              <a:gd name="connsiteY20" fmla="*/ 2569368 h 2774156"/>
              <a:gd name="connsiteX0" fmla="*/ 0 w 2376487"/>
              <a:gd name="connsiteY0" fmla="*/ 2572274 h 2777062"/>
              <a:gd name="connsiteX1" fmla="*/ 0 w 2376487"/>
              <a:gd name="connsiteY1" fmla="*/ 1234012 h 2777062"/>
              <a:gd name="connsiteX2" fmla="*/ 385762 w 2376487"/>
              <a:gd name="connsiteY2" fmla="*/ 1191149 h 2777062"/>
              <a:gd name="connsiteX3" fmla="*/ 616744 w 2376487"/>
              <a:gd name="connsiteY3" fmla="*/ 888730 h 2777062"/>
              <a:gd name="connsiteX4" fmla="*/ 981075 w 2376487"/>
              <a:gd name="connsiteY4" fmla="*/ 624412 h 2777062"/>
              <a:gd name="connsiteX5" fmla="*/ 1143000 w 2376487"/>
              <a:gd name="connsiteY5" fmla="*/ 67199 h 2777062"/>
              <a:gd name="connsiteX6" fmla="*/ 1369219 w 2376487"/>
              <a:gd name="connsiteY6" fmla="*/ 2906 h 2777062"/>
              <a:gd name="connsiteX7" fmla="*/ 1585912 w 2376487"/>
              <a:gd name="connsiteY7" fmla="*/ 352949 h 2777062"/>
              <a:gd name="connsiteX8" fmla="*/ 1409700 w 2376487"/>
              <a:gd name="connsiteY8" fmla="*/ 972074 h 2777062"/>
              <a:gd name="connsiteX9" fmla="*/ 2238375 w 2376487"/>
              <a:gd name="connsiteY9" fmla="*/ 1091137 h 2777062"/>
              <a:gd name="connsiteX10" fmla="*/ 2376487 w 2376487"/>
              <a:gd name="connsiteY10" fmla="*/ 1310212 h 2777062"/>
              <a:gd name="connsiteX11" fmla="*/ 2224087 w 2376487"/>
              <a:gd name="connsiteY11" fmla="*/ 1529287 h 2777062"/>
              <a:gd name="connsiteX12" fmla="*/ 2352675 w 2376487"/>
              <a:gd name="connsiteY12" fmla="*/ 1767412 h 2777062"/>
              <a:gd name="connsiteX13" fmla="*/ 2133600 w 2376487"/>
              <a:gd name="connsiteY13" fmla="*/ 1972199 h 2777062"/>
              <a:gd name="connsiteX14" fmla="*/ 2224087 w 2376487"/>
              <a:gd name="connsiteY14" fmla="*/ 2219849 h 2777062"/>
              <a:gd name="connsiteX15" fmla="*/ 1952625 w 2376487"/>
              <a:gd name="connsiteY15" fmla="*/ 2400824 h 2777062"/>
              <a:gd name="connsiteX16" fmla="*/ 2028825 w 2376487"/>
              <a:gd name="connsiteY16" fmla="*/ 2596087 h 2777062"/>
              <a:gd name="connsiteX17" fmla="*/ 1857375 w 2376487"/>
              <a:gd name="connsiteY17" fmla="*/ 2777062 h 2777062"/>
              <a:gd name="connsiteX18" fmla="*/ 923925 w 2376487"/>
              <a:gd name="connsiteY18" fmla="*/ 2748487 h 2777062"/>
              <a:gd name="connsiteX19" fmla="*/ 476250 w 2376487"/>
              <a:gd name="connsiteY19" fmla="*/ 2596087 h 2777062"/>
              <a:gd name="connsiteX20" fmla="*/ 0 w 2376487"/>
              <a:gd name="connsiteY20" fmla="*/ 2572274 h 2777062"/>
              <a:gd name="connsiteX0" fmla="*/ 0 w 2376487"/>
              <a:gd name="connsiteY0" fmla="*/ 2573068 h 2777856"/>
              <a:gd name="connsiteX1" fmla="*/ 0 w 2376487"/>
              <a:gd name="connsiteY1" fmla="*/ 1234806 h 2777856"/>
              <a:gd name="connsiteX2" fmla="*/ 385762 w 2376487"/>
              <a:gd name="connsiteY2" fmla="*/ 1191943 h 2777856"/>
              <a:gd name="connsiteX3" fmla="*/ 616744 w 2376487"/>
              <a:gd name="connsiteY3" fmla="*/ 889524 h 2777856"/>
              <a:gd name="connsiteX4" fmla="*/ 981075 w 2376487"/>
              <a:gd name="connsiteY4" fmla="*/ 625206 h 2777856"/>
              <a:gd name="connsiteX5" fmla="*/ 1143000 w 2376487"/>
              <a:gd name="connsiteY5" fmla="*/ 67993 h 2777856"/>
              <a:gd name="connsiteX6" fmla="*/ 1369219 w 2376487"/>
              <a:gd name="connsiteY6" fmla="*/ 3700 h 2777856"/>
              <a:gd name="connsiteX7" fmla="*/ 1585912 w 2376487"/>
              <a:gd name="connsiteY7" fmla="*/ 353743 h 2777856"/>
              <a:gd name="connsiteX8" fmla="*/ 1409700 w 2376487"/>
              <a:gd name="connsiteY8" fmla="*/ 972868 h 2777856"/>
              <a:gd name="connsiteX9" fmla="*/ 2238375 w 2376487"/>
              <a:gd name="connsiteY9" fmla="*/ 1091931 h 2777856"/>
              <a:gd name="connsiteX10" fmla="*/ 2376487 w 2376487"/>
              <a:gd name="connsiteY10" fmla="*/ 1311006 h 2777856"/>
              <a:gd name="connsiteX11" fmla="*/ 2224087 w 2376487"/>
              <a:gd name="connsiteY11" fmla="*/ 1530081 h 2777856"/>
              <a:gd name="connsiteX12" fmla="*/ 2352675 w 2376487"/>
              <a:gd name="connsiteY12" fmla="*/ 1768206 h 2777856"/>
              <a:gd name="connsiteX13" fmla="*/ 2133600 w 2376487"/>
              <a:gd name="connsiteY13" fmla="*/ 1972993 h 2777856"/>
              <a:gd name="connsiteX14" fmla="*/ 2224087 w 2376487"/>
              <a:gd name="connsiteY14" fmla="*/ 2220643 h 2777856"/>
              <a:gd name="connsiteX15" fmla="*/ 1952625 w 2376487"/>
              <a:gd name="connsiteY15" fmla="*/ 2401618 h 2777856"/>
              <a:gd name="connsiteX16" fmla="*/ 2028825 w 2376487"/>
              <a:gd name="connsiteY16" fmla="*/ 2596881 h 2777856"/>
              <a:gd name="connsiteX17" fmla="*/ 1857375 w 2376487"/>
              <a:gd name="connsiteY17" fmla="*/ 2777856 h 2777856"/>
              <a:gd name="connsiteX18" fmla="*/ 923925 w 2376487"/>
              <a:gd name="connsiteY18" fmla="*/ 2749281 h 2777856"/>
              <a:gd name="connsiteX19" fmla="*/ 476250 w 2376487"/>
              <a:gd name="connsiteY19" fmla="*/ 2596881 h 2777856"/>
              <a:gd name="connsiteX20" fmla="*/ 0 w 2376487"/>
              <a:gd name="connsiteY20" fmla="*/ 2573068 h 2777856"/>
              <a:gd name="connsiteX0" fmla="*/ 0 w 2376487"/>
              <a:gd name="connsiteY0" fmla="*/ 2573068 h 2777856"/>
              <a:gd name="connsiteX1" fmla="*/ 0 w 2376487"/>
              <a:gd name="connsiteY1" fmla="*/ 1234806 h 2777856"/>
              <a:gd name="connsiteX2" fmla="*/ 385762 w 2376487"/>
              <a:gd name="connsiteY2" fmla="*/ 1191943 h 2777856"/>
              <a:gd name="connsiteX3" fmla="*/ 616744 w 2376487"/>
              <a:gd name="connsiteY3" fmla="*/ 889524 h 2777856"/>
              <a:gd name="connsiteX4" fmla="*/ 981075 w 2376487"/>
              <a:gd name="connsiteY4" fmla="*/ 625206 h 2777856"/>
              <a:gd name="connsiteX5" fmla="*/ 1143000 w 2376487"/>
              <a:gd name="connsiteY5" fmla="*/ 67993 h 2777856"/>
              <a:gd name="connsiteX6" fmla="*/ 1369219 w 2376487"/>
              <a:gd name="connsiteY6" fmla="*/ 3700 h 2777856"/>
              <a:gd name="connsiteX7" fmla="*/ 1585912 w 2376487"/>
              <a:gd name="connsiteY7" fmla="*/ 353743 h 2777856"/>
              <a:gd name="connsiteX8" fmla="*/ 1409700 w 2376487"/>
              <a:gd name="connsiteY8" fmla="*/ 972868 h 2777856"/>
              <a:gd name="connsiteX9" fmla="*/ 2238375 w 2376487"/>
              <a:gd name="connsiteY9" fmla="*/ 1091931 h 2777856"/>
              <a:gd name="connsiteX10" fmla="*/ 2376487 w 2376487"/>
              <a:gd name="connsiteY10" fmla="*/ 1311006 h 2777856"/>
              <a:gd name="connsiteX11" fmla="*/ 2224087 w 2376487"/>
              <a:gd name="connsiteY11" fmla="*/ 1530081 h 2777856"/>
              <a:gd name="connsiteX12" fmla="*/ 2352675 w 2376487"/>
              <a:gd name="connsiteY12" fmla="*/ 1768206 h 2777856"/>
              <a:gd name="connsiteX13" fmla="*/ 2133600 w 2376487"/>
              <a:gd name="connsiteY13" fmla="*/ 1972993 h 2777856"/>
              <a:gd name="connsiteX14" fmla="*/ 2224087 w 2376487"/>
              <a:gd name="connsiteY14" fmla="*/ 2220643 h 2777856"/>
              <a:gd name="connsiteX15" fmla="*/ 1952625 w 2376487"/>
              <a:gd name="connsiteY15" fmla="*/ 2401618 h 2777856"/>
              <a:gd name="connsiteX16" fmla="*/ 2028825 w 2376487"/>
              <a:gd name="connsiteY16" fmla="*/ 2596881 h 2777856"/>
              <a:gd name="connsiteX17" fmla="*/ 1857375 w 2376487"/>
              <a:gd name="connsiteY17" fmla="*/ 2777856 h 2777856"/>
              <a:gd name="connsiteX18" fmla="*/ 923925 w 2376487"/>
              <a:gd name="connsiteY18" fmla="*/ 2749281 h 2777856"/>
              <a:gd name="connsiteX19" fmla="*/ 476250 w 2376487"/>
              <a:gd name="connsiteY19" fmla="*/ 2596881 h 2777856"/>
              <a:gd name="connsiteX20" fmla="*/ 0 w 2376487"/>
              <a:gd name="connsiteY20" fmla="*/ 2573068 h 2777856"/>
              <a:gd name="connsiteX0" fmla="*/ 0 w 2376487"/>
              <a:gd name="connsiteY0" fmla="*/ 2584705 h 2789493"/>
              <a:gd name="connsiteX1" fmla="*/ 0 w 2376487"/>
              <a:gd name="connsiteY1" fmla="*/ 1246443 h 2789493"/>
              <a:gd name="connsiteX2" fmla="*/ 385762 w 2376487"/>
              <a:gd name="connsiteY2" fmla="*/ 1203580 h 2789493"/>
              <a:gd name="connsiteX3" fmla="*/ 616744 w 2376487"/>
              <a:gd name="connsiteY3" fmla="*/ 901161 h 2789493"/>
              <a:gd name="connsiteX4" fmla="*/ 981075 w 2376487"/>
              <a:gd name="connsiteY4" fmla="*/ 636843 h 2789493"/>
              <a:gd name="connsiteX5" fmla="*/ 1143000 w 2376487"/>
              <a:gd name="connsiteY5" fmla="*/ 79630 h 2789493"/>
              <a:gd name="connsiteX6" fmla="*/ 1369219 w 2376487"/>
              <a:gd name="connsiteY6" fmla="*/ 15337 h 2789493"/>
              <a:gd name="connsiteX7" fmla="*/ 1566862 w 2376487"/>
              <a:gd name="connsiteY7" fmla="*/ 362999 h 2789493"/>
              <a:gd name="connsiteX8" fmla="*/ 1409700 w 2376487"/>
              <a:gd name="connsiteY8" fmla="*/ 984505 h 2789493"/>
              <a:gd name="connsiteX9" fmla="*/ 2238375 w 2376487"/>
              <a:gd name="connsiteY9" fmla="*/ 1103568 h 2789493"/>
              <a:gd name="connsiteX10" fmla="*/ 2376487 w 2376487"/>
              <a:gd name="connsiteY10" fmla="*/ 1322643 h 2789493"/>
              <a:gd name="connsiteX11" fmla="*/ 2224087 w 2376487"/>
              <a:gd name="connsiteY11" fmla="*/ 1541718 h 2789493"/>
              <a:gd name="connsiteX12" fmla="*/ 2352675 w 2376487"/>
              <a:gd name="connsiteY12" fmla="*/ 1779843 h 2789493"/>
              <a:gd name="connsiteX13" fmla="*/ 2133600 w 2376487"/>
              <a:gd name="connsiteY13" fmla="*/ 1984630 h 2789493"/>
              <a:gd name="connsiteX14" fmla="*/ 2224087 w 2376487"/>
              <a:gd name="connsiteY14" fmla="*/ 2232280 h 2789493"/>
              <a:gd name="connsiteX15" fmla="*/ 1952625 w 2376487"/>
              <a:gd name="connsiteY15" fmla="*/ 2413255 h 2789493"/>
              <a:gd name="connsiteX16" fmla="*/ 2028825 w 2376487"/>
              <a:gd name="connsiteY16" fmla="*/ 2608518 h 2789493"/>
              <a:gd name="connsiteX17" fmla="*/ 1857375 w 2376487"/>
              <a:gd name="connsiteY17" fmla="*/ 2789493 h 2789493"/>
              <a:gd name="connsiteX18" fmla="*/ 923925 w 2376487"/>
              <a:gd name="connsiteY18" fmla="*/ 2760918 h 2789493"/>
              <a:gd name="connsiteX19" fmla="*/ 476250 w 2376487"/>
              <a:gd name="connsiteY19" fmla="*/ 2608518 h 2789493"/>
              <a:gd name="connsiteX20" fmla="*/ 0 w 2376487"/>
              <a:gd name="connsiteY20" fmla="*/ 2584705 h 2789493"/>
              <a:gd name="connsiteX0" fmla="*/ 0 w 2376487"/>
              <a:gd name="connsiteY0" fmla="*/ 2578074 h 2782862"/>
              <a:gd name="connsiteX1" fmla="*/ 0 w 2376487"/>
              <a:gd name="connsiteY1" fmla="*/ 1239812 h 2782862"/>
              <a:gd name="connsiteX2" fmla="*/ 385762 w 2376487"/>
              <a:gd name="connsiteY2" fmla="*/ 1196949 h 2782862"/>
              <a:gd name="connsiteX3" fmla="*/ 616744 w 2376487"/>
              <a:gd name="connsiteY3" fmla="*/ 894530 h 2782862"/>
              <a:gd name="connsiteX4" fmla="*/ 981075 w 2376487"/>
              <a:gd name="connsiteY4" fmla="*/ 630212 h 2782862"/>
              <a:gd name="connsiteX5" fmla="*/ 1143000 w 2376487"/>
              <a:gd name="connsiteY5" fmla="*/ 72999 h 2782862"/>
              <a:gd name="connsiteX6" fmla="*/ 1369219 w 2376487"/>
              <a:gd name="connsiteY6" fmla="*/ 8706 h 2782862"/>
              <a:gd name="connsiteX7" fmla="*/ 1566862 w 2376487"/>
              <a:gd name="connsiteY7" fmla="*/ 356368 h 2782862"/>
              <a:gd name="connsiteX8" fmla="*/ 1409700 w 2376487"/>
              <a:gd name="connsiteY8" fmla="*/ 977874 h 2782862"/>
              <a:gd name="connsiteX9" fmla="*/ 2238375 w 2376487"/>
              <a:gd name="connsiteY9" fmla="*/ 1096937 h 2782862"/>
              <a:gd name="connsiteX10" fmla="*/ 2376487 w 2376487"/>
              <a:gd name="connsiteY10" fmla="*/ 1316012 h 2782862"/>
              <a:gd name="connsiteX11" fmla="*/ 2224087 w 2376487"/>
              <a:gd name="connsiteY11" fmla="*/ 1535087 h 2782862"/>
              <a:gd name="connsiteX12" fmla="*/ 2352675 w 2376487"/>
              <a:gd name="connsiteY12" fmla="*/ 1773212 h 2782862"/>
              <a:gd name="connsiteX13" fmla="*/ 2133600 w 2376487"/>
              <a:gd name="connsiteY13" fmla="*/ 1977999 h 2782862"/>
              <a:gd name="connsiteX14" fmla="*/ 2224087 w 2376487"/>
              <a:gd name="connsiteY14" fmla="*/ 2225649 h 2782862"/>
              <a:gd name="connsiteX15" fmla="*/ 1952625 w 2376487"/>
              <a:gd name="connsiteY15" fmla="*/ 2406624 h 2782862"/>
              <a:gd name="connsiteX16" fmla="*/ 2028825 w 2376487"/>
              <a:gd name="connsiteY16" fmla="*/ 2601887 h 2782862"/>
              <a:gd name="connsiteX17" fmla="*/ 1857375 w 2376487"/>
              <a:gd name="connsiteY17" fmla="*/ 2782862 h 2782862"/>
              <a:gd name="connsiteX18" fmla="*/ 923925 w 2376487"/>
              <a:gd name="connsiteY18" fmla="*/ 2754287 h 2782862"/>
              <a:gd name="connsiteX19" fmla="*/ 476250 w 2376487"/>
              <a:gd name="connsiteY19" fmla="*/ 2601887 h 2782862"/>
              <a:gd name="connsiteX20" fmla="*/ 0 w 2376487"/>
              <a:gd name="connsiteY20" fmla="*/ 2578074 h 2782862"/>
              <a:gd name="connsiteX0" fmla="*/ 0 w 2376487"/>
              <a:gd name="connsiteY0" fmla="*/ 2578074 h 2782862"/>
              <a:gd name="connsiteX1" fmla="*/ 0 w 2376487"/>
              <a:gd name="connsiteY1" fmla="*/ 1239812 h 2782862"/>
              <a:gd name="connsiteX2" fmla="*/ 385762 w 2376487"/>
              <a:gd name="connsiteY2" fmla="*/ 1196949 h 2782862"/>
              <a:gd name="connsiteX3" fmla="*/ 616744 w 2376487"/>
              <a:gd name="connsiteY3" fmla="*/ 894530 h 2782862"/>
              <a:gd name="connsiteX4" fmla="*/ 981075 w 2376487"/>
              <a:gd name="connsiteY4" fmla="*/ 630212 h 2782862"/>
              <a:gd name="connsiteX5" fmla="*/ 1143000 w 2376487"/>
              <a:gd name="connsiteY5" fmla="*/ 72999 h 2782862"/>
              <a:gd name="connsiteX6" fmla="*/ 1369219 w 2376487"/>
              <a:gd name="connsiteY6" fmla="*/ 8706 h 2782862"/>
              <a:gd name="connsiteX7" fmla="*/ 1566862 w 2376487"/>
              <a:gd name="connsiteY7" fmla="*/ 356368 h 2782862"/>
              <a:gd name="connsiteX8" fmla="*/ 1402557 w 2376487"/>
              <a:gd name="connsiteY8" fmla="*/ 999305 h 2782862"/>
              <a:gd name="connsiteX9" fmla="*/ 2238375 w 2376487"/>
              <a:gd name="connsiteY9" fmla="*/ 1096937 h 2782862"/>
              <a:gd name="connsiteX10" fmla="*/ 2376487 w 2376487"/>
              <a:gd name="connsiteY10" fmla="*/ 1316012 h 2782862"/>
              <a:gd name="connsiteX11" fmla="*/ 2224087 w 2376487"/>
              <a:gd name="connsiteY11" fmla="*/ 1535087 h 2782862"/>
              <a:gd name="connsiteX12" fmla="*/ 2352675 w 2376487"/>
              <a:gd name="connsiteY12" fmla="*/ 1773212 h 2782862"/>
              <a:gd name="connsiteX13" fmla="*/ 2133600 w 2376487"/>
              <a:gd name="connsiteY13" fmla="*/ 1977999 h 2782862"/>
              <a:gd name="connsiteX14" fmla="*/ 2224087 w 2376487"/>
              <a:gd name="connsiteY14" fmla="*/ 2225649 h 2782862"/>
              <a:gd name="connsiteX15" fmla="*/ 1952625 w 2376487"/>
              <a:gd name="connsiteY15" fmla="*/ 2406624 h 2782862"/>
              <a:gd name="connsiteX16" fmla="*/ 2028825 w 2376487"/>
              <a:gd name="connsiteY16" fmla="*/ 2601887 h 2782862"/>
              <a:gd name="connsiteX17" fmla="*/ 1857375 w 2376487"/>
              <a:gd name="connsiteY17" fmla="*/ 2782862 h 2782862"/>
              <a:gd name="connsiteX18" fmla="*/ 923925 w 2376487"/>
              <a:gd name="connsiteY18" fmla="*/ 2754287 h 2782862"/>
              <a:gd name="connsiteX19" fmla="*/ 476250 w 2376487"/>
              <a:gd name="connsiteY19" fmla="*/ 2601887 h 2782862"/>
              <a:gd name="connsiteX20" fmla="*/ 0 w 2376487"/>
              <a:gd name="connsiteY20" fmla="*/ 2578074 h 2782862"/>
              <a:gd name="connsiteX0" fmla="*/ 0 w 2376487"/>
              <a:gd name="connsiteY0" fmla="*/ 2578074 h 2782862"/>
              <a:gd name="connsiteX1" fmla="*/ 0 w 2376487"/>
              <a:gd name="connsiteY1" fmla="*/ 1239812 h 2782862"/>
              <a:gd name="connsiteX2" fmla="*/ 385762 w 2376487"/>
              <a:gd name="connsiteY2" fmla="*/ 1196949 h 2782862"/>
              <a:gd name="connsiteX3" fmla="*/ 616744 w 2376487"/>
              <a:gd name="connsiteY3" fmla="*/ 894530 h 2782862"/>
              <a:gd name="connsiteX4" fmla="*/ 981075 w 2376487"/>
              <a:gd name="connsiteY4" fmla="*/ 630212 h 2782862"/>
              <a:gd name="connsiteX5" fmla="*/ 1143000 w 2376487"/>
              <a:gd name="connsiteY5" fmla="*/ 72999 h 2782862"/>
              <a:gd name="connsiteX6" fmla="*/ 1369219 w 2376487"/>
              <a:gd name="connsiteY6" fmla="*/ 8706 h 2782862"/>
              <a:gd name="connsiteX7" fmla="*/ 1566862 w 2376487"/>
              <a:gd name="connsiteY7" fmla="*/ 356368 h 2782862"/>
              <a:gd name="connsiteX8" fmla="*/ 1402557 w 2376487"/>
              <a:gd name="connsiteY8" fmla="*/ 999305 h 2782862"/>
              <a:gd name="connsiteX9" fmla="*/ 2238375 w 2376487"/>
              <a:gd name="connsiteY9" fmla="*/ 1096937 h 2782862"/>
              <a:gd name="connsiteX10" fmla="*/ 2376487 w 2376487"/>
              <a:gd name="connsiteY10" fmla="*/ 1316012 h 2782862"/>
              <a:gd name="connsiteX11" fmla="*/ 2224087 w 2376487"/>
              <a:gd name="connsiteY11" fmla="*/ 1535087 h 2782862"/>
              <a:gd name="connsiteX12" fmla="*/ 2352675 w 2376487"/>
              <a:gd name="connsiteY12" fmla="*/ 1773212 h 2782862"/>
              <a:gd name="connsiteX13" fmla="*/ 2133600 w 2376487"/>
              <a:gd name="connsiteY13" fmla="*/ 1977999 h 2782862"/>
              <a:gd name="connsiteX14" fmla="*/ 2224087 w 2376487"/>
              <a:gd name="connsiteY14" fmla="*/ 2225649 h 2782862"/>
              <a:gd name="connsiteX15" fmla="*/ 1952625 w 2376487"/>
              <a:gd name="connsiteY15" fmla="*/ 2406624 h 2782862"/>
              <a:gd name="connsiteX16" fmla="*/ 2028825 w 2376487"/>
              <a:gd name="connsiteY16" fmla="*/ 2601887 h 2782862"/>
              <a:gd name="connsiteX17" fmla="*/ 1857375 w 2376487"/>
              <a:gd name="connsiteY17" fmla="*/ 2782862 h 2782862"/>
              <a:gd name="connsiteX18" fmla="*/ 923925 w 2376487"/>
              <a:gd name="connsiteY18" fmla="*/ 2754287 h 2782862"/>
              <a:gd name="connsiteX19" fmla="*/ 476250 w 2376487"/>
              <a:gd name="connsiteY19" fmla="*/ 2601887 h 2782862"/>
              <a:gd name="connsiteX20" fmla="*/ 0 w 2376487"/>
              <a:gd name="connsiteY20" fmla="*/ 2578074 h 2782862"/>
              <a:gd name="connsiteX0" fmla="*/ 0 w 2378410"/>
              <a:gd name="connsiteY0" fmla="*/ 2578074 h 2782862"/>
              <a:gd name="connsiteX1" fmla="*/ 0 w 2378410"/>
              <a:gd name="connsiteY1" fmla="*/ 1239812 h 2782862"/>
              <a:gd name="connsiteX2" fmla="*/ 385762 w 2378410"/>
              <a:gd name="connsiteY2" fmla="*/ 1196949 h 2782862"/>
              <a:gd name="connsiteX3" fmla="*/ 616744 w 2378410"/>
              <a:gd name="connsiteY3" fmla="*/ 894530 h 2782862"/>
              <a:gd name="connsiteX4" fmla="*/ 981075 w 2378410"/>
              <a:gd name="connsiteY4" fmla="*/ 630212 h 2782862"/>
              <a:gd name="connsiteX5" fmla="*/ 1143000 w 2378410"/>
              <a:gd name="connsiteY5" fmla="*/ 72999 h 2782862"/>
              <a:gd name="connsiteX6" fmla="*/ 1369219 w 2378410"/>
              <a:gd name="connsiteY6" fmla="*/ 8706 h 2782862"/>
              <a:gd name="connsiteX7" fmla="*/ 1566862 w 2378410"/>
              <a:gd name="connsiteY7" fmla="*/ 356368 h 2782862"/>
              <a:gd name="connsiteX8" fmla="*/ 1402557 w 2378410"/>
              <a:gd name="connsiteY8" fmla="*/ 999305 h 2782862"/>
              <a:gd name="connsiteX9" fmla="*/ 2238375 w 2378410"/>
              <a:gd name="connsiteY9" fmla="*/ 1096937 h 2782862"/>
              <a:gd name="connsiteX10" fmla="*/ 2376487 w 2378410"/>
              <a:gd name="connsiteY10" fmla="*/ 1316012 h 2782862"/>
              <a:gd name="connsiteX11" fmla="*/ 2224087 w 2378410"/>
              <a:gd name="connsiteY11" fmla="*/ 1535087 h 2782862"/>
              <a:gd name="connsiteX12" fmla="*/ 2352675 w 2378410"/>
              <a:gd name="connsiteY12" fmla="*/ 1773212 h 2782862"/>
              <a:gd name="connsiteX13" fmla="*/ 2133600 w 2378410"/>
              <a:gd name="connsiteY13" fmla="*/ 1977999 h 2782862"/>
              <a:gd name="connsiteX14" fmla="*/ 2224087 w 2378410"/>
              <a:gd name="connsiteY14" fmla="*/ 2225649 h 2782862"/>
              <a:gd name="connsiteX15" fmla="*/ 1952625 w 2378410"/>
              <a:gd name="connsiteY15" fmla="*/ 2406624 h 2782862"/>
              <a:gd name="connsiteX16" fmla="*/ 2028825 w 2378410"/>
              <a:gd name="connsiteY16" fmla="*/ 2601887 h 2782862"/>
              <a:gd name="connsiteX17" fmla="*/ 1857375 w 2378410"/>
              <a:gd name="connsiteY17" fmla="*/ 2782862 h 2782862"/>
              <a:gd name="connsiteX18" fmla="*/ 923925 w 2378410"/>
              <a:gd name="connsiteY18" fmla="*/ 2754287 h 2782862"/>
              <a:gd name="connsiteX19" fmla="*/ 476250 w 2378410"/>
              <a:gd name="connsiteY19" fmla="*/ 2601887 h 2782862"/>
              <a:gd name="connsiteX20" fmla="*/ 0 w 2378410"/>
              <a:gd name="connsiteY20" fmla="*/ 2578074 h 2782862"/>
              <a:gd name="connsiteX0" fmla="*/ 0 w 2378410"/>
              <a:gd name="connsiteY0" fmla="*/ 2578074 h 2782862"/>
              <a:gd name="connsiteX1" fmla="*/ 0 w 2378410"/>
              <a:gd name="connsiteY1" fmla="*/ 1239812 h 2782862"/>
              <a:gd name="connsiteX2" fmla="*/ 385762 w 2378410"/>
              <a:gd name="connsiteY2" fmla="*/ 1196949 h 2782862"/>
              <a:gd name="connsiteX3" fmla="*/ 616744 w 2378410"/>
              <a:gd name="connsiteY3" fmla="*/ 894530 h 2782862"/>
              <a:gd name="connsiteX4" fmla="*/ 981075 w 2378410"/>
              <a:gd name="connsiteY4" fmla="*/ 630212 h 2782862"/>
              <a:gd name="connsiteX5" fmla="*/ 1143000 w 2378410"/>
              <a:gd name="connsiteY5" fmla="*/ 72999 h 2782862"/>
              <a:gd name="connsiteX6" fmla="*/ 1369219 w 2378410"/>
              <a:gd name="connsiteY6" fmla="*/ 8706 h 2782862"/>
              <a:gd name="connsiteX7" fmla="*/ 1566862 w 2378410"/>
              <a:gd name="connsiteY7" fmla="*/ 356368 h 2782862"/>
              <a:gd name="connsiteX8" fmla="*/ 1402557 w 2378410"/>
              <a:gd name="connsiteY8" fmla="*/ 999305 h 2782862"/>
              <a:gd name="connsiteX9" fmla="*/ 2238375 w 2378410"/>
              <a:gd name="connsiteY9" fmla="*/ 1096937 h 2782862"/>
              <a:gd name="connsiteX10" fmla="*/ 2376487 w 2378410"/>
              <a:gd name="connsiteY10" fmla="*/ 1316012 h 2782862"/>
              <a:gd name="connsiteX11" fmla="*/ 2224087 w 2378410"/>
              <a:gd name="connsiteY11" fmla="*/ 1535087 h 2782862"/>
              <a:gd name="connsiteX12" fmla="*/ 2352675 w 2378410"/>
              <a:gd name="connsiteY12" fmla="*/ 1773212 h 2782862"/>
              <a:gd name="connsiteX13" fmla="*/ 2133600 w 2378410"/>
              <a:gd name="connsiteY13" fmla="*/ 1977999 h 2782862"/>
              <a:gd name="connsiteX14" fmla="*/ 2224087 w 2378410"/>
              <a:gd name="connsiteY14" fmla="*/ 2225649 h 2782862"/>
              <a:gd name="connsiteX15" fmla="*/ 1952625 w 2378410"/>
              <a:gd name="connsiteY15" fmla="*/ 2406624 h 2782862"/>
              <a:gd name="connsiteX16" fmla="*/ 2028825 w 2378410"/>
              <a:gd name="connsiteY16" fmla="*/ 2601887 h 2782862"/>
              <a:gd name="connsiteX17" fmla="*/ 1857375 w 2378410"/>
              <a:gd name="connsiteY17" fmla="*/ 2782862 h 2782862"/>
              <a:gd name="connsiteX18" fmla="*/ 923925 w 2378410"/>
              <a:gd name="connsiteY18" fmla="*/ 2754287 h 2782862"/>
              <a:gd name="connsiteX19" fmla="*/ 476250 w 2378410"/>
              <a:gd name="connsiteY19" fmla="*/ 2601887 h 2782862"/>
              <a:gd name="connsiteX20" fmla="*/ 0 w 2378410"/>
              <a:gd name="connsiteY20" fmla="*/ 2578074 h 2782862"/>
              <a:gd name="connsiteX0" fmla="*/ 0 w 2378410"/>
              <a:gd name="connsiteY0" fmla="*/ 2578074 h 2782862"/>
              <a:gd name="connsiteX1" fmla="*/ 0 w 2378410"/>
              <a:gd name="connsiteY1" fmla="*/ 1239812 h 2782862"/>
              <a:gd name="connsiteX2" fmla="*/ 385762 w 2378410"/>
              <a:gd name="connsiteY2" fmla="*/ 1196949 h 2782862"/>
              <a:gd name="connsiteX3" fmla="*/ 616744 w 2378410"/>
              <a:gd name="connsiteY3" fmla="*/ 894530 h 2782862"/>
              <a:gd name="connsiteX4" fmla="*/ 981075 w 2378410"/>
              <a:gd name="connsiteY4" fmla="*/ 630212 h 2782862"/>
              <a:gd name="connsiteX5" fmla="*/ 1143000 w 2378410"/>
              <a:gd name="connsiteY5" fmla="*/ 72999 h 2782862"/>
              <a:gd name="connsiteX6" fmla="*/ 1369219 w 2378410"/>
              <a:gd name="connsiteY6" fmla="*/ 8706 h 2782862"/>
              <a:gd name="connsiteX7" fmla="*/ 1566862 w 2378410"/>
              <a:gd name="connsiteY7" fmla="*/ 356368 h 2782862"/>
              <a:gd name="connsiteX8" fmla="*/ 1402557 w 2378410"/>
              <a:gd name="connsiteY8" fmla="*/ 999305 h 2782862"/>
              <a:gd name="connsiteX9" fmla="*/ 2238375 w 2378410"/>
              <a:gd name="connsiteY9" fmla="*/ 1096937 h 2782862"/>
              <a:gd name="connsiteX10" fmla="*/ 2376487 w 2378410"/>
              <a:gd name="connsiteY10" fmla="*/ 1316012 h 2782862"/>
              <a:gd name="connsiteX11" fmla="*/ 2224087 w 2378410"/>
              <a:gd name="connsiteY11" fmla="*/ 1535087 h 2782862"/>
              <a:gd name="connsiteX12" fmla="*/ 2352675 w 2378410"/>
              <a:gd name="connsiteY12" fmla="*/ 1773212 h 2782862"/>
              <a:gd name="connsiteX13" fmla="*/ 2133600 w 2378410"/>
              <a:gd name="connsiteY13" fmla="*/ 1977999 h 2782862"/>
              <a:gd name="connsiteX14" fmla="*/ 2224087 w 2378410"/>
              <a:gd name="connsiteY14" fmla="*/ 2225649 h 2782862"/>
              <a:gd name="connsiteX15" fmla="*/ 1952625 w 2378410"/>
              <a:gd name="connsiteY15" fmla="*/ 2406624 h 2782862"/>
              <a:gd name="connsiteX16" fmla="*/ 2028825 w 2378410"/>
              <a:gd name="connsiteY16" fmla="*/ 2601887 h 2782862"/>
              <a:gd name="connsiteX17" fmla="*/ 1857375 w 2378410"/>
              <a:gd name="connsiteY17" fmla="*/ 2782862 h 2782862"/>
              <a:gd name="connsiteX18" fmla="*/ 923925 w 2378410"/>
              <a:gd name="connsiteY18" fmla="*/ 2754287 h 2782862"/>
              <a:gd name="connsiteX19" fmla="*/ 476250 w 2378410"/>
              <a:gd name="connsiteY19" fmla="*/ 2601887 h 2782862"/>
              <a:gd name="connsiteX20" fmla="*/ 0 w 2378410"/>
              <a:gd name="connsiteY20" fmla="*/ 2578074 h 2782862"/>
              <a:gd name="connsiteX0" fmla="*/ 0 w 2378410"/>
              <a:gd name="connsiteY0" fmla="*/ 2578074 h 2782862"/>
              <a:gd name="connsiteX1" fmla="*/ 0 w 2378410"/>
              <a:gd name="connsiteY1" fmla="*/ 1239812 h 2782862"/>
              <a:gd name="connsiteX2" fmla="*/ 385762 w 2378410"/>
              <a:gd name="connsiteY2" fmla="*/ 1196949 h 2782862"/>
              <a:gd name="connsiteX3" fmla="*/ 616744 w 2378410"/>
              <a:gd name="connsiteY3" fmla="*/ 894530 h 2782862"/>
              <a:gd name="connsiteX4" fmla="*/ 981075 w 2378410"/>
              <a:gd name="connsiteY4" fmla="*/ 630212 h 2782862"/>
              <a:gd name="connsiteX5" fmla="*/ 1143000 w 2378410"/>
              <a:gd name="connsiteY5" fmla="*/ 72999 h 2782862"/>
              <a:gd name="connsiteX6" fmla="*/ 1369219 w 2378410"/>
              <a:gd name="connsiteY6" fmla="*/ 8706 h 2782862"/>
              <a:gd name="connsiteX7" fmla="*/ 1566862 w 2378410"/>
              <a:gd name="connsiteY7" fmla="*/ 356368 h 2782862"/>
              <a:gd name="connsiteX8" fmla="*/ 1402557 w 2378410"/>
              <a:gd name="connsiteY8" fmla="*/ 999305 h 2782862"/>
              <a:gd name="connsiteX9" fmla="*/ 2238375 w 2378410"/>
              <a:gd name="connsiteY9" fmla="*/ 1096937 h 2782862"/>
              <a:gd name="connsiteX10" fmla="*/ 2376487 w 2378410"/>
              <a:gd name="connsiteY10" fmla="*/ 1316012 h 2782862"/>
              <a:gd name="connsiteX11" fmla="*/ 2224087 w 2378410"/>
              <a:gd name="connsiteY11" fmla="*/ 1535087 h 2782862"/>
              <a:gd name="connsiteX12" fmla="*/ 2352675 w 2378410"/>
              <a:gd name="connsiteY12" fmla="*/ 1773212 h 2782862"/>
              <a:gd name="connsiteX13" fmla="*/ 2133600 w 2378410"/>
              <a:gd name="connsiteY13" fmla="*/ 1977999 h 2782862"/>
              <a:gd name="connsiteX14" fmla="*/ 2224087 w 2378410"/>
              <a:gd name="connsiteY14" fmla="*/ 2225649 h 2782862"/>
              <a:gd name="connsiteX15" fmla="*/ 1952625 w 2378410"/>
              <a:gd name="connsiteY15" fmla="*/ 2406624 h 2782862"/>
              <a:gd name="connsiteX16" fmla="*/ 1962150 w 2378410"/>
              <a:gd name="connsiteY16" fmla="*/ 2582837 h 2782862"/>
              <a:gd name="connsiteX17" fmla="*/ 1857375 w 2378410"/>
              <a:gd name="connsiteY17" fmla="*/ 2782862 h 2782862"/>
              <a:gd name="connsiteX18" fmla="*/ 923925 w 2378410"/>
              <a:gd name="connsiteY18" fmla="*/ 2754287 h 2782862"/>
              <a:gd name="connsiteX19" fmla="*/ 476250 w 2378410"/>
              <a:gd name="connsiteY19" fmla="*/ 2601887 h 2782862"/>
              <a:gd name="connsiteX20" fmla="*/ 0 w 2378410"/>
              <a:gd name="connsiteY20" fmla="*/ 2578074 h 2782862"/>
              <a:gd name="connsiteX0" fmla="*/ 0 w 2378410"/>
              <a:gd name="connsiteY0" fmla="*/ 2578074 h 2782862"/>
              <a:gd name="connsiteX1" fmla="*/ 0 w 2378410"/>
              <a:gd name="connsiteY1" fmla="*/ 1239812 h 2782862"/>
              <a:gd name="connsiteX2" fmla="*/ 385762 w 2378410"/>
              <a:gd name="connsiteY2" fmla="*/ 1196949 h 2782862"/>
              <a:gd name="connsiteX3" fmla="*/ 616744 w 2378410"/>
              <a:gd name="connsiteY3" fmla="*/ 894530 h 2782862"/>
              <a:gd name="connsiteX4" fmla="*/ 981075 w 2378410"/>
              <a:gd name="connsiteY4" fmla="*/ 630212 h 2782862"/>
              <a:gd name="connsiteX5" fmla="*/ 1143000 w 2378410"/>
              <a:gd name="connsiteY5" fmla="*/ 72999 h 2782862"/>
              <a:gd name="connsiteX6" fmla="*/ 1369219 w 2378410"/>
              <a:gd name="connsiteY6" fmla="*/ 8706 h 2782862"/>
              <a:gd name="connsiteX7" fmla="*/ 1566862 w 2378410"/>
              <a:gd name="connsiteY7" fmla="*/ 356368 h 2782862"/>
              <a:gd name="connsiteX8" fmla="*/ 1402557 w 2378410"/>
              <a:gd name="connsiteY8" fmla="*/ 999305 h 2782862"/>
              <a:gd name="connsiteX9" fmla="*/ 2238375 w 2378410"/>
              <a:gd name="connsiteY9" fmla="*/ 1096937 h 2782862"/>
              <a:gd name="connsiteX10" fmla="*/ 2376487 w 2378410"/>
              <a:gd name="connsiteY10" fmla="*/ 1316012 h 2782862"/>
              <a:gd name="connsiteX11" fmla="*/ 2224087 w 2378410"/>
              <a:gd name="connsiteY11" fmla="*/ 1535087 h 2782862"/>
              <a:gd name="connsiteX12" fmla="*/ 2352675 w 2378410"/>
              <a:gd name="connsiteY12" fmla="*/ 1773212 h 2782862"/>
              <a:gd name="connsiteX13" fmla="*/ 2133600 w 2378410"/>
              <a:gd name="connsiteY13" fmla="*/ 1977999 h 2782862"/>
              <a:gd name="connsiteX14" fmla="*/ 2224087 w 2378410"/>
              <a:gd name="connsiteY14" fmla="*/ 2225649 h 2782862"/>
              <a:gd name="connsiteX15" fmla="*/ 1952625 w 2378410"/>
              <a:gd name="connsiteY15" fmla="*/ 2406624 h 2782862"/>
              <a:gd name="connsiteX16" fmla="*/ 1962150 w 2378410"/>
              <a:gd name="connsiteY16" fmla="*/ 2582837 h 2782862"/>
              <a:gd name="connsiteX17" fmla="*/ 1857375 w 2378410"/>
              <a:gd name="connsiteY17" fmla="*/ 2782862 h 2782862"/>
              <a:gd name="connsiteX18" fmla="*/ 923925 w 2378410"/>
              <a:gd name="connsiteY18" fmla="*/ 2754287 h 2782862"/>
              <a:gd name="connsiteX19" fmla="*/ 476250 w 2378410"/>
              <a:gd name="connsiteY19" fmla="*/ 2601887 h 2782862"/>
              <a:gd name="connsiteX20" fmla="*/ 0 w 2378410"/>
              <a:gd name="connsiteY20" fmla="*/ 2578074 h 2782862"/>
              <a:gd name="connsiteX0" fmla="*/ 0 w 2378410"/>
              <a:gd name="connsiteY0" fmla="*/ 2578074 h 2782862"/>
              <a:gd name="connsiteX1" fmla="*/ 0 w 2378410"/>
              <a:gd name="connsiteY1" fmla="*/ 1239812 h 2782862"/>
              <a:gd name="connsiteX2" fmla="*/ 385762 w 2378410"/>
              <a:gd name="connsiteY2" fmla="*/ 1196949 h 2782862"/>
              <a:gd name="connsiteX3" fmla="*/ 616744 w 2378410"/>
              <a:gd name="connsiteY3" fmla="*/ 894530 h 2782862"/>
              <a:gd name="connsiteX4" fmla="*/ 981075 w 2378410"/>
              <a:gd name="connsiteY4" fmla="*/ 630212 h 2782862"/>
              <a:gd name="connsiteX5" fmla="*/ 1143000 w 2378410"/>
              <a:gd name="connsiteY5" fmla="*/ 72999 h 2782862"/>
              <a:gd name="connsiteX6" fmla="*/ 1369219 w 2378410"/>
              <a:gd name="connsiteY6" fmla="*/ 8706 h 2782862"/>
              <a:gd name="connsiteX7" fmla="*/ 1566862 w 2378410"/>
              <a:gd name="connsiteY7" fmla="*/ 356368 h 2782862"/>
              <a:gd name="connsiteX8" fmla="*/ 1402557 w 2378410"/>
              <a:gd name="connsiteY8" fmla="*/ 999305 h 2782862"/>
              <a:gd name="connsiteX9" fmla="*/ 2238375 w 2378410"/>
              <a:gd name="connsiteY9" fmla="*/ 1096937 h 2782862"/>
              <a:gd name="connsiteX10" fmla="*/ 2376487 w 2378410"/>
              <a:gd name="connsiteY10" fmla="*/ 1316012 h 2782862"/>
              <a:gd name="connsiteX11" fmla="*/ 2224087 w 2378410"/>
              <a:gd name="connsiteY11" fmla="*/ 1535087 h 2782862"/>
              <a:gd name="connsiteX12" fmla="*/ 2352675 w 2378410"/>
              <a:gd name="connsiteY12" fmla="*/ 1773212 h 2782862"/>
              <a:gd name="connsiteX13" fmla="*/ 2133600 w 2378410"/>
              <a:gd name="connsiteY13" fmla="*/ 1977999 h 2782862"/>
              <a:gd name="connsiteX14" fmla="*/ 2224087 w 2378410"/>
              <a:gd name="connsiteY14" fmla="*/ 2225649 h 2782862"/>
              <a:gd name="connsiteX15" fmla="*/ 1952625 w 2378410"/>
              <a:gd name="connsiteY15" fmla="*/ 2406624 h 2782862"/>
              <a:gd name="connsiteX16" fmla="*/ 2026444 w 2378410"/>
              <a:gd name="connsiteY16" fmla="*/ 2575694 h 2782862"/>
              <a:gd name="connsiteX17" fmla="*/ 1857375 w 2378410"/>
              <a:gd name="connsiteY17" fmla="*/ 2782862 h 2782862"/>
              <a:gd name="connsiteX18" fmla="*/ 923925 w 2378410"/>
              <a:gd name="connsiteY18" fmla="*/ 2754287 h 2782862"/>
              <a:gd name="connsiteX19" fmla="*/ 476250 w 2378410"/>
              <a:gd name="connsiteY19" fmla="*/ 2601887 h 2782862"/>
              <a:gd name="connsiteX20" fmla="*/ 0 w 2378410"/>
              <a:gd name="connsiteY20" fmla="*/ 2578074 h 2782862"/>
              <a:gd name="connsiteX0" fmla="*/ 0 w 2378410"/>
              <a:gd name="connsiteY0" fmla="*/ 2578074 h 2782862"/>
              <a:gd name="connsiteX1" fmla="*/ 0 w 2378410"/>
              <a:gd name="connsiteY1" fmla="*/ 1239812 h 2782862"/>
              <a:gd name="connsiteX2" fmla="*/ 385762 w 2378410"/>
              <a:gd name="connsiteY2" fmla="*/ 1196949 h 2782862"/>
              <a:gd name="connsiteX3" fmla="*/ 616744 w 2378410"/>
              <a:gd name="connsiteY3" fmla="*/ 894530 h 2782862"/>
              <a:gd name="connsiteX4" fmla="*/ 981075 w 2378410"/>
              <a:gd name="connsiteY4" fmla="*/ 630212 h 2782862"/>
              <a:gd name="connsiteX5" fmla="*/ 1143000 w 2378410"/>
              <a:gd name="connsiteY5" fmla="*/ 72999 h 2782862"/>
              <a:gd name="connsiteX6" fmla="*/ 1369219 w 2378410"/>
              <a:gd name="connsiteY6" fmla="*/ 8706 h 2782862"/>
              <a:gd name="connsiteX7" fmla="*/ 1566862 w 2378410"/>
              <a:gd name="connsiteY7" fmla="*/ 356368 h 2782862"/>
              <a:gd name="connsiteX8" fmla="*/ 1402557 w 2378410"/>
              <a:gd name="connsiteY8" fmla="*/ 999305 h 2782862"/>
              <a:gd name="connsiteX9" fmla="*/ 2238375 w 2378410"/>
              <a:gd name="connsiteY9" fmla="*/ 1096937 h 2782862"/>
              <a:gd name="connsiteX10" fmla="*/ 2376487 w 2378410"/>
              <a:gd name="connsiteY10" fmla="*/ 1316012 h 2782862"/>
              <a:gd name="connsiteX11" fmla="*/ 2224087 w 2378410"/>
              <a:gd name="connsiteY11" fmla="*/ 1535087 h 2782862"/>
              <a:gd name="connsiteX12" fmla="*/ 2352675 w 2378410"/>
              <a:gd name="connsiteY12" fmla="*/ 1773212 h 2782862"/>
              <a:gd name="connsiteX13" fmla="*/ 2133600 w 2378410"/>
              <a:gd name="connsiteY13" fmla="*/ 1977999 h 2782862"/>
              <a:gd name="connsiteX14" fmla="*/ 2224087 w 2378410"/>
              <a:gd name="connsiteY14" fmla="*/ 2225649 h 2782862"/>
              <a:gd name="connsiteX15" fmla="*/ 1952625 w 2378410"/>
              <a:gd name="connsiteY15" fmla="*/ 2406624 h 2782862"/>
              <a:gd name="connsiteX16" fmla="*/ 2026444 w 2378410"/>
              <a:gd name="connsiteY16" fmla="*/ 2575694 h 2782862"/>
              <a:gd name="connsiteX17" fmla="*/ 1857375 w 2378410"/>
              <a:gd name="connsiteY17" fmla="*/ 2782862 h 2782862"/>
              <a:gd name="connsiteX18" fmla="*/ 923925 w 2378410"/>
              <a:gd name="connsiteY18" fmla="*/ 2754287 h 2782862"/>
              <a:gd name="connsiteX19" fmla="*/ 476250 w 2378410"/>
              <a:gd name="connsiteY19" fmla="*/ 2601887 h 2782862"/>
              <a:gd name="connsiteX20" fmla="*/ 0 w 2378410"/>
              <a:gd name="connsiteY20" fmla="*/ 2578074 h 2782862"/>
              <a:gd name="connsiteX0" fmla="*/ 0 w 2378410"/>
              <a:gd name="connsiteY0" fmla="*/ 2578074 h 2782862"/>
              <a:gd name="connsiteX1" fmla="*/ 0 w 2378410"/>
              <a:gd name="connsiteY1" fmla="*/ 1239812 h 2782862"/>
              <a:gd name="connsiteX2" fmla="*/ 385762 w 2378410"/>
              <a:gd name="connsiteY2" fmla="*/ 1196949 h 2782862"/>
              <a:gd name="connsiteX3" fmla="*/ 616744 w 2378410"/>
              <a:gd name="connsiteY3" fmla="*/ 894530 h 2782862"/>
              <a:gd name="connsiteX4" fmla="*/ 981075 w 2378410"/>
              <a:gd name="connsiteY4" fmla="*/ 630212 h 2782862"/>
              <a:gd name="connsiteX5" fmla="*/ 1143000 w 2378410"/>
              <a:gd name="connsiteY5" fmla="*/ 72999 h 2782862"/>
              <a:gd name="connsiteX6" fmla="*/ 1369219 w 2378410"/>
              <a:gd name="connsiteY6" fmla="*/ 8706 h 2782862"/>
              <a:gd name="connsiteX7" fmla="*/ 1566862 w 2378410"/>
              <a:gd name="connsiteY7" fmla="*/ 356368 h 2782862"/>
              <a:gd name="connsiteX8" fmla="*/ 1402557 w 2378410"/>
              <a:gd name="connsiteY8" fmla="*/ 999305 h 2782862"/>
              <a:gd name="connsiteX9" fmla="*/ 2238375 w 2378410"/>
              <a:gd name="connsiteY9" fmla="*/ 1096937 h 2782862"/>
              <a:gd name="connsiteX10" fmla="*/ 2376487 w 2378410"/>
              <a:gd name="connsiteY10" fmla="*/ 1316012 h 2782862"/>
              <a:gd name="connsiteX11" fmla="*/ 2224087 w 2378410"/>
              <a:gd name="connsiteY11" fmla="*/ 1535087 h 2782862"/>
              <a:gd name="connsiteX12" fmla="*/ 2352675 w 2378410"/>
              <a:gd name="connsiteY12" fmla="*/ 1773212 h 2782862"/>
              <a:gd name="connsiteX13" fmla="*/ 2133600 w 2378410"/>
              <a:gd name="connsiteY13" fmla="*/ 1977999 h 2782862"/>
              <a:gd name="connsiteX14" fmla="*/ 2224087 w 2378410"/>
              <a:gd name="connsiteY14" fmla="*/ 2225649 h 2782862"/>
              <a:gd name="connsiteX15" fmla="*/ 1952625 w 2378410"/>
              <a:gd name="connsiteY15" fmla="*/ 2406624 h 2782862"/>
              <a:gd name="connsiteX16" fmla="*/ 2026444 w 2378410"/>
              <a:gd name="connsiteY16" fmla="*/ 2575694 h 2782862"/>
              <a:gd name="connsiteX17" fmla="*/ 1857375 w 2378410"/>
              <a:gd name="connsiteY17" fmla="*/ 2782862 h 2782862"/>
              <a:gd name="connsiteX18" fmla="*/ 923925 w 2378410"/>
              <a:gd name="connsiteY18" fmla="*/ 2754287 h 2782862"/>
              <a:gd name="connsiteX19" fmla="*/ 476250 w 2378410"/>
              <a:gd name="connsiteY19" fmla="*/ 2601887 h 2782862"/>
              <a:gd name="connsiteX20" fmla="*/ 0 w 2378410"/>
              <a:gd name="connsiteY20" fmla="*/ 2578074 h 2782862"/>
              <a:gd name="connsiteX0" fmla="*/ 0 w 2378410"/>
              <a:gd name="connsiteY0" fmla="*/ 2578074 h 2768575"/>
              <a:gd name="connsiteX1" fmla="*/ 0 w 2378410"/>
              <a:gd name="connsiteY1" fmla="*/ 1239812 h 2768575"/>
              <a:gd name="connsiteX2" fmla="*/ 385762 w 2378410"/>
              <a:gd name="connsiteY2" fmla="*/ 1196949 h 2768575"/>
              <a:gd name="connsiteX3" fmla="*/ 616744 w 2378410"/>
              <a:gd name="connsiteY3" fmla="*/ 894530 h 2768575"/>
              <a:gd name="connsiteX4" fmla="*/ 981075 w 2378410"/>
              <a:gd name="connsiteY4" fmla="*/ 630212 h 2768575"/>
              <a:gd name="connsiteX5" fmla="*/ 1143000 w 2378410"/>
              <a:gd name="connsiteY5" fmla="*/ 72999 h 2768575"/>
              <a:gd name="connsiteX6" fmla="*/ 1369219 w 2378410"/>
              <a:gd name="connsiteY6" fmla="*/ 8706 h 2768575"/>
              <a:gd name="connsiteX7" fmla="*/ 1566862 w 2378410"/>
              <a:gd name="connsiteY7" fmla="*/ 356368 h 2768575"/>
              <a:gd name="connsiteX8" fmla="*/ 1402557 w 2378410"/>
              <a:gd name="connsiteY8" fmla="*/ 999305 h 2768575"/>
              <a:gd name="connsiteX9" fmla="*/ 2238375 w 2378410"/>
              <a:gd name="connsiteY9" fmla="*/ 1096937 h 2768575"/>
              <a:gd name="connsiteX10" fmla="*/ 2376487 w 2378410"/>
              <a:gd name="connsiteY10" fmla="*/ 1316012 h 2768575"/>
              <a:gd name="connsiteX11" fmla="*/ 2224087 w 2378410"/>
              <a:gd name="connsiteY11" fmla="*/ 1535087 h 2768575"/>
              <a:gd name="connsiteX12" fmla="*/ 2352675 w 2378410"/>
              <a:gd name="connsiteY12" fmla="*/ 1773212 h 2768575"/>
              <a:gd name="connsiteX13" fmla="*/ 2133600 w 2378410"/>
              <a:gd name="connsiteY13" fmla="*/ 1977999 h 2768575"/>
              <a:gd name="connsiteX14" fmla="*/ 2224087 w 2378410"/>
              <a:gd name="connsiteY14" fmla="*/ 2225649 h 2768575"/>
              <a:gd name="connsiteX15" fmla="*/ 1952625 w 2378410"/>
              <a:gd name="connsiteY15" fmla="*/ 2406624 h 2768575"/>
              <a:gd name="connsiteX16" fmla="*/ 2026444 w 2378410"/>
              <a:gd name="connsiteY16" fmla="*/ 2575694 h 2768575"/>
              <a:gd name="connsiteX17" fmla="*/ 1819275 w 2378410"/>
              <a:gd name="connsiteY17" fmla="*/ 2768575 h 2768575"/>
              <a:gd name="connsiteX18" fmla="*/ 923925 w 2378410"/>
              <a:gd name="connsiteY18" fmla="*/ 2754287 h 2768575"/>
              <a:gd name="connsiteX19" fmla="*/ 476250 w 2378410"/>
              <a:gd name="connsiteY19" fmla="*/ 2601887 h 2768575"/>
              <a:gd name="connsiteX20" fmla="*/ 0 w 2378410"/>
              <a:gd name="connsiteY20" fmla="*/ 2578074 h 2768575"/>
              <a:gd name="connsiteX0" fmla="*/ 0 w 2378410"/>
              <a:gd name="connsiteY0" fmla="*/ 2578074 h 2768575"/>
              <a:gd name="connsiteX1" fmla="*/ 0 w 2378410"/>
              <a:gd name="connsiteY1" fmla="*/ 1239812 h 2768575"/>
              <a:gd name="connsiteX2" fmla="*/ 385762 w 2378410"/>
              <a:gd name="connsiteY2" fmla="*/ 1196949 h 2768575"/>
              <a:gd name="connsiteX3" fmla="*/ 616744 w 2378410"/>
              <a:gd name="connsiteY3" fmla="*/ 894530 h 2768575"/>
              <a:gd name="connsiteX4" fmla="*/ 981075 w 2378410"/>
              <a:gd name="connsiteY4" fmla="*/ 630212 h 2768575"/>
              <a:gd name="connsiteX5" fmla="*/ 1143000 w 2378410"/>
              <a:gd name="connsiteY5" fmla="*/ 72999 h 2768575"/>
              <a:gd name="connsiteX6" fmla="*/ 1369219 w 2378410"/>
              <a:gd name="connsiteY6" fmla="*/ 8706 h 2768575"/>
              <a:gd name="connsiteX7" fmla="*/ 1566862 w 2378410"/>
              <a:gd name="connsiteY7" fmla="*/ 356368 h 2768575"/>
              <a:gd name="connsiteX8" fmla="*/ 1402557 w 2378410"/>
              <a:gd name="connsiteY8" fmla="*/ 999305 h 2768575"/>
              <a:gd name="connsiteX9" fmla="*/ 2238375 w 2378410"/>
              <a:gd name="connsiteY9" fmla="*/ 1096937 h 2768575"/>
              <a:gd name="connsiteX10" fmla="*/ 2376487 w 2378410"/>
              <a:gd name="connsiteY10" fmla="*/ 1316012 h 2768575"/>
              <a:gd name="connsiteX11" fmla="*/ 2224087 w 2378410"/>
              <a:gd name="connsiteY11" fmla="*/ 1535087 h 2768575"/>
              <a:gd name="connsiteX12" fmla="*/ 2352675 w 2378410"/>
              <a:gd name="connsiteY12" fmla="*/ 1773212 h 2768575"/>
              <a:gd name="connsiteX13" fmla="*/ 2133600 w 2378410"/>
              <a:gd name="connsiteY13" fmla="*/ 1977999 h 2768575"/>
              <a:gd name="connsiteX14" fmla="*/ 2224087 w 2378410"/>
              <a:gd name="connsiteY14" fmla="*/ 2225649 h 2768575"/>
              <a:gd name="connsiteX15" fmla="*/ 1952625 w 2378410"/>
              <a:gd name="connsiteY15" fmla="*/ 2406624 h 2768575"/>
              <a:gd name="connsiteX16" fmla="*/ 2026444 w 2378410"/>
              <a:gd name="connsiteY16" fmla="*/ 2575694 h 2768575"/>
              <a:gd name="connsiteX17" fmla="*/ 1819275 w 2378410"/>
              <a:gd name="connsiteY17" fmla="*/ 2768575 h 2768575"/>
              <a:gd name="connsiteX18" fmla="*/ 923925 w 2378410"/>
              <a:gd name="connsiteY18" fmla="*/ 2754287 h 2768575"/>
              <a:gd name="connsiteX19" fmla="*/ 476250 w 2378410"/>
              <a:gd name="connsiteY19" fmla="*/ 2601887 h 2768575"/>
              <a:gd name="connsiteX20" fmla="*/ 0 w 2378410"/>
              <a:gd name="connsiteY20" fmla="*/ 2578074 h 2768575"/>
              <a:gd name="connsiteX0" fmla="*/ 0 w 2378410"/>
              <a:gd name="connsiteY0" fmla="*/ 2578074 h 2768575"/>
              <a:gd name="connsiteX1" fmla="*/ 0 w 2378410"/>
              <a:gd name="connsiteY1" fmla="*/ 1239812 h 2768575"/>
              <a:gd name="connsiteX2" fmla="*/ 385762 w 2378410"/>
              <a:gd name="connsiteY2" fmla="*/ 1196949 h 2768575"/>
              <a:gd name="connsiteX3" fmla="*/ 616744 w 2378410"/>
              <a:gd name="connsiteY3" fmla="*/ 894530 h 2768575"/>
              <a:gd name="connsiteX4" fmla="*/ 981075 w 2378410"/>
              <a:gd name="connsiteY4" fmla="*/ 630212 h 2768575"/>
              <a:gd name="connsiteX5" fmla="*/ 1143000 w 2378410"/>
              <a:gd name="connsiteY5" fmla="*/ 72999 h 2768575"/>
              <a:gd name="connsiteX6" fmla="*/ 1369219 w 2378410"/>
              <a:gd name="connsiteY6" fmla="*/ 8706 h 2768575"/>
              <a:gd name="connsiteX7" fmla="*/ 1566862 w 2378410"/>
              <a:gd name="connsiteY7" fmla="*/ 356368 h 2768575"/>
              <a:gd name="connsiteX8" fmla="*/ 1402557 w 2378410"/>
              <a:gd name="connsiteY8" fmla="*/ 999305 h 2768575"/>
              <a:gd name="connsiteX9" fmla="*/ 2238375 w 2378410"/>
              <a:gd name="connsiteY9" fmla="*/ 1096937 h 2768575"/>
              <a:gd name="connsiteX10" fmla="*/ 2376487 w 2378410"/>
              <a:gd name="connsiteY10" fmla="*/ 1316012 h 2768575"/>
              <a:gd name="connsiteX11" fmla="*/ 2224087 w 2378410"/>
              <a:gd name="connsiteY11" fmla="*/ 1535087 h 2768575"/>
              <a:gd name="connsiteX12" fmla="*/ 2352675 w 2378410"/>
              <a:gd name="connsiteY12" fmla="*/ 1773212 h 2768575"/>
              <a:gd name="connsiteX13" fmla="*/ 2133600 w 2378410"/>
              <a:gd name="connsiteY13" fmla="*/ 1977999 h 2768575"/>
              <a:gd name="connsiteX14" fmla="*/ 2224087 w 2378410"/>
              <a:gd name="connsiteY14" fmla="*/ 2225649 h 2768575"/>
              <a:gd name="connsiteX15" fmla="*/ 1952625 w 2378410"/>
              <a:gd name="connsiteY15" fmla="*/ 2406624 h 2768575"/>
              <a:gd name="connsiteX16" fmla="*/ 2026444 w 2378410"/>
              <a:gd name="connsiteY16" fmla="*/ 2575694 h 2768575"/>
              <a:gd name="connsiteX17" fmla="*/ 1819275 w 2378410"/>
              <a:gd name="connsiteY17" fmla="*/ 2768575 h 2768575"/>
              <a:gd name="connsiteX18" fmla="*/ 923925 w 2378410"/>
              <a:gd name="connsiteY18" fmla="*/ 2754287 h 2768575"/>
              <a:gd name="connsiteX19" fmla="*/ 476250 w 2378410"/>
              <a:gd name="connsiteY19" fmla="*/ 2601887 h 2768575"/>
              <a:gd name="connsiteX20" fmla="*/ 0 w 2378410"/>
              <a:gd name="connsiteY20" fmla="*/ 2578074 h 2768575"/>
              <a:gd name="connsiteX0" fmla="*/ 0 w 2378410"/>
              <a:gd name="connsiteY0" fmla="*/ 2578074 h 2768575"/>
              <a:gd name="connsiteX1" fmla="*/ 0 w 2378410"/>
              <a:gd name="connsiteY1" fmla="*/ 1239812 h 2768575"/>
              <a:gd name="connsiteX2" fmla="*/ 385762 w 2378410"/>
              <a:gd name="connsiteY2" fmla="*/ 1196949 h 2768575"/>
              <a:gd name="connsiteX3" fmla="*/ 616744 w 2378410"/>
              <a:gd name="connsiteY3" fmla="*/ 894530 h 2768575"/>
              <a:gd name="connsiteX4" fmla="*/ 973931 w 2378410"/>
              <a:gd name="connsiteY4" fmla="*/ 608781 h 2768575"/>
              <a:gd name="connsiteX5" fmla="*/ 1143000 w 2378410"/>
              <a:gd name="connsiteY5" fmla="*/ 72999 h 2768575"/>
              <a:gd name="connsiteX6" fmla="*/ 1369219 w 2378410"/>
              <a:gd name="connsiteY6" fmla="*/ 8706 h 2768575"/>
              <a:gd name="connsiteX7" fmla="*/ 1566862 w 2378410"/>
              <a:gd name="connsiteY7" fmla="*/ 356368 h 2768575"/>
              <a:gd name="connsiteX8" fmla="*/ 1402557 w 2378410"/>
              <a:gd name="connsiteY8" fmla="*/ 999305 h 2768575"/>
              <a:gd name="connsiteX9" fmla="*/ 2238375 w 2378410"/>
              <a:gd name="connsiteY9" fmla="*/ 1096937 h 2768575"/>
              <a:gd name="connsiteX10" fmla="*/ 2376487 w 2378410"/>
              <a:gd name="connsiteY10" fmla="*/ 1316012 h 2768575"/>
              <a:gd name="connsiteX11" fmla="*/ 2224087 w 2378410"/>
              <a:gd name="connsiteY11" fmla="*/ 1535087 h 2768575"/>
              <a:gd name="connsiteX12" fmla="*/ 2352675 w 2378410"/>
              <a:gd name="connsiteY12" fmla="*/ 1773212 h 2768575"/>
              <a:gd name="connsiteX13" fmla="*/ 2133600 w 2378410"/>
              <a:gd name="connsiteY13" fmla="*/ 1977999 h 2768575"/>
              <a:gd name="connsiteX14" fmla="*/ 2224087 w 2378410"/>
              <a:gd name="connsiteY14" fmla="*/ 2225649 h 2768575"/>
              <a:gd name="connsiteX15" fmla="*/ 1952625 w 2378410"/>
              <a:gd name="connsiteY15" fmla="*/ 2406624 h 2768575"/>
              <a:gd name="connsiteX16" fmla="*/ 2026444 w 2378410"/>
              <a:gd name="connsiteY16" fmla="*/ 2575694 h 2768575"/>
              <a:gd name="connsiteX17" fmla="*/ 1819275 w 2378410"/>
              <a:gd name="connsiteY17" fmla="*/ 2768575 h 2768575"/>
              <a:gd name="connsiteX18" fmla="*/ 923925 w 2378410"/>
              <a:gd name="connsiteY18" fmla="*/ 2754287 h 2768575"/>
              <a:gd name="connsiteX19" fmla="*/ 476250 w 2378410"/>
              <a:gd name="connsiteY19" fmla="*/ 2601887 h 2768575"/>
              <a:gd name="connsiteX20" fmla="*/ 0 w 2378410"/>
              <a:gd name="connsiteY20" fmla="*/ 2578074 h 2768575"/>
              <a:gd name="connsiteX0" fmla="*/ 0 w 2376855"/>
              <a:gd name="connsiteY0" fmla="*/ 2578074 h 2768575"/>
              <a:gd name="connsiteX1" fmla="*/ 0 w 2376855"/>
              <a:gd name="connsiteY1" fmla="*/ 1239812 h 2768575"/>
              <a:gd name="connsiteX2" fmla="*/ 385762 w 2376855"/>
              <a:gd name="connsiteY2" fmla="*/ 1196949 h 2768575"/>
              <a:gd name="connsiteX3" fmla="*/ 616744 w 2376855"/>
              <a:gd name="connsiteY3" fmla="*/ 894530 h 2768575"/>
              <a:gd name="connsiteX4" fmla="*/ 973931 w 2376855"/>
              <a:gd name="connsiteY4" fmla="*/ 608781 h 2768575"/>
              <a:gd name="connsiteX5" fmla="*/ 1143000 w 2376855"/>
              <a:gd name="connsiteY5" fmla="*/ 72999 h 2768575"/>
              <a:gd name="connsiteX6" fmla="*/ 1369219 w 2376855"/>
              <a:gd name="connsiteY6" fmla="*/ 8706 h 2768575"/>
              <a:gd name="connsiteX7" fmla="*/ 1566862 w 2376855"/>
              <a:gd name="connsiteY7" fmla="*/ 356368 h 2768575"/>
              <a:gd name="connsiteX8" fmla="*/ 1402557 w 2376855"/>
              <a:gd name="connsiteY8" fmla="*/ 999305 h 2768575"/>
              <a:gd name="connsiteX9" fmla="*/ 2238375 w 2376855"/>
              <a:gd name="connsiteY9" fmla="*/ 1096937 h 2768575"/>
              <a:gd name="connsiteX10" fmla="*/ 2376487 w 2376855"/>
              <a:gd name="connsiteY10" fmla="*/ 1316012 h 2768575"/>
              <a:gd name="connsiteX11" fmla="*/ 2202655 w 2376855"/>
              <a:gd name="connsiteY11" fmla="*/ 1542231 h 2768575"/>
              <a:gd name="connsiteX12" fmla="*/ 2352675 w 2376855"/>
              <a:gd name="connsiteY12" fmla="*/ 1773212 h 2768575"/>
              <a:gd name="connsiteX13" fmla="*/ 2133600 w 2376855"/>
              <a:gd name="connsiteY13" fmla="*/ 1977999 h 2768575"/>
              <a:gd name="connsiteX14" fmla="*/ 2224087 w 2376855"/>
              <a:gd name="connsiteY14" fmla="*/ 2225649 h 2768575"/>
              <a:gd name="connsiteX15" fmla="*/ 1952625 w 2376855"/>
              <a:gd name="connsiteY15" fmla="*/ 2406624 h 2768575"/>
              <a:gd name="connsiteX16" fmla="*/ 2026444 w 2376855"/>
              <a:gd name="connsiteY16" fmla="*/ 2575694 h 2768575"/>
              <a:gd name="connsiteX17" fmla="*/ 1819275 w 2376855"/>
              <a:gd name="connsiteY17" fmla="*/ 2768575 h 2768575"/>
              <a:gd name="connsiteX18" fmla="*/ 923925 w 2376855"/>
              <a:gd name="connsiteY18" fmla="*/ 2754287 h 2768575"/>
              <a:gd name="connsiteX19" fmla="*/ 476250 w 2376855"/>
              <a:gd name="connsiteY19" fmla="*/ 2601887 h 2768575"/>
              <a:gd name="connsiteX20" fmla="*/ 0 w 2376855"/>
              <a:gd name="connsiteY20" fmla="*/ 2578074 h 2768575"/>
              <a:gd name="connsiteX0" fmla="*/ 0 w 2376855"/>
              <a:gd name="connsiteY0" fmla="*/ 2578074 h 2768575"/>
              <a:gd name="connsiteX1" fmla="*/ 0 w 2376855"/>
              <a:gd name="connsiteY1" fmla="*/ 1239812 h 2768575"/>
              <a:gd name="connsiteX2" fmla="*/ 385762 w 2376855"/>
              <a:gd name="connsiteY2" fmla="*/ 1196949 h 2768575"/>
              <a:gd name="connsiteX3" fmla="*/ 616744 w 2376855"/>
              <a:gd name="connsiteY3" fmla="*/ 894530 h 2768575"/>
              <a:gd name="connsiteX4" fmla="*/ 973931 w 2376855"/>
              <a:gd name="connsiteY4" fmla="*/ 608781 h 2768575"/>
              <a:gd name="connsiteX5" fmla="*/ 1143000 w 2376855"/>
              <a:gd name="connsiteY5" fmla="*/ 72999 h 2768575"/>
              <a:gd name="connsiteX6" fmla="*/ 1369219 w 2376855"/>
              <a:gd name="connsiteY6" fmla="*/ 8706 h 2768575"/>
              <a:gd name="connsiteX7" fmla="*/ 1566862 w 2376855"/>
              <a:gd name="connsiteY7" fmla="*/ 356368 h 2768575"/>
              <a:gd name="connsiteX8" fmla="*/ 1402557 w 2376855"/>
              <a:gd name="connsiteY8" fmla="*/ 999305 h 2768575"/>
              <a:gd name="connsiteX9" fmla="*/ 2238375 w 2376855"/>
              <a:gd name="connsiteY9" fmla="*/ 1096937 h 2768575"/>
              <a:gd name="connsiteX10" fmla="*/ 2376487 w 2376855"/>
              <a:gd name="connsiteY10" fmla="*/ 1316012 h 2768575"/>
              <a:gd name="connsiteX11" fmla="*/ 2202655 w 2376855"/>
              <a:gd name="connsiteY11" fmla="*/ 1542231 h 2768575"/>
              <a:gd name="connsiteX12" fmla="*/ 2352675 w 2376855"/>
              <a:gd name="connsiteY12" fmla="*/ 1773212 h 2768575"/>
              <a:gd name="connsiteX13" fmla="*/ 2133600 w 2376855"/>
              <a:gd name="connsiteY13" fmla="*/ 1977999 h 2768575"/>
              <a:gd name="connsiteX14" fmla="*/ 2224087 w 2376855"/>
              <a:gd name="connsiteY14" fmla="*/ 2225649 h 2768575"/>
              <a:gd name="connsiteX15" fmla="*/ 1952625 w 2376855"/>
              <a:gd name="connsiteY15" fmla="*/ 2406624 h 2768575"/>
              <a:gd name="connsiteX16" fmla="*/ 2026444 w 2376855"/>
              <a:gd name="connsiteY16" fmla="*/ 2575694 h 2768575"/>
              <a:gd name="connsiteX17" fmla="*/ 1819275 w 2376855"/>
              <a:gd name="connsiteY17" fmla="*/ 2768575 h 2768575"/>
              <a:gd name="connsiteX18" fmla="*/ 923925 w 2376855"/>
              <a:gd name="connsiteY18" fmla="*/ 2754287 h 2768575"/>
              <a:gd name="connsiteX19" fmla="*/ 476250 w 2376855"/>
              <a:gd name="connsiteY19" fmla="*/ 2601887 h 2768575"/>
              <a:gd name="connsiteX20" fmla="*/ 0 w 2376855"/>
              <a:gd name="connsiteY20" fmla="*/ 2578074 h 2768575"/>
              <a:gd name="connsiteX0" fmla="*/ 0 w 2376169"/>
              <a:gd name="connsiteY0" fmla="*/ 2578074 h 2768575"/>
              <a:gd name="connsiteX1" fmla="*/ 0 w 2376169"/>
              <a:gd name="connsiteY1" fmla="*/ 1239812 h 2768575"/>
              <a:gd name="connsiteX2" fmla="*/ 385762 w 2376169"/>
              <a:gd name="connsiteY2" fmla="*/ 1196949 h 2768575"/>
              <a:gd name="connsiteX3" fmla="*/ 616744 w 2376169"/>
              <a:gd name="connsiteY3" fmla="*/ 894530 h 2768575"/>
              <a:gd name="connsiteX4" fmla="*/ 973931 w 2376169"/>
              <a:gd name="connsiteY4" fmla="*/ 608781 h 2768575"/>
              <a:gd name="connsiteX5" fmla="*/ 1143000 w 2376169"/>
              <a:gd name="connsiteY5" fmla="*/ 72999 h 2768575"/>
              <a:gd name="connsiteX6" fmla="*/ 1369219 w 2376169"/>
              <a:gd name="connsiteY6" fmla="*/ 8706 h 2768575"/>
              <a:gd name="connsiteX7" fmla="*/ 1566862 w 2376169"/>
              <a:gd name="connsiteY7" fmla="*/ 356368 h 2768575"/>
              <a:gd name="connsiteX8" fmla="*/ 1402557 w 2376169"/>
              <a:gd name="connsiteY8" fmla="*/ 999305 h 2768575"/>
              <a:gd name="connsiteX9" fmla="*/ 2238375 w 2376169"/>
              <a:gd name="connsiteY9" fmla="*/ 1096937 h 2768575"/>
              <a:gd name="connsiteX10" fmla="*/ 2371725 w 2376169"/>
              <a:gd name="connsiteY10" fmla="*/ 1339825 h 2768575"/>
              <a:gd name="connsiteX11" fmla="*/ 2202655 w 2376169"/>
              <a:gd name="connsiteY11" fmla="*/ 1542231 h 2768575"/>
              <a:gd name="connsiteX12" fmla="*/ 2352675 w 2376169"/>
              <a:gd name="connsiteY12" fmla="*/ 1773212 h 2768575"/>
              <a:gd name="connsiteX13" fmla="*/ 2133600 w 2376169"/>
              <a:gd name="connsiteY13" fmla="*/ 1977999 h 2768575"/>
              <a:gd name="connsiteX14" fmla="*/ 2224087 w 2376169"/>
              <a:gd name="connsiteY14" fmla="*/ 2225649 h 2768575"/>
              <a:gd name="connsiteX15" fmla="*/ 1952625 w 2376169"/>
              <a:gd name="connsiteY15" fmla="*/ 2406624 h 2768575"/>
              <a:gd name="connsiteX16" fmla="*/ 2026444 w 2376169"/>
              <a:gd name="connsiteY16" fmla="*/ 2575694 h 2768575"/>
              <a:gd name="connsiteX17" fmla="*/ 1819275 w 2376169"/>
              <a:gd name="connsiteY17" fmla="*/ 2768575 h 2768575"/>
              <a:gd name="connsiteX18" fmla="*/ 923925 w 2376169"/>
              <a:gd name="connsiteY18" fmla="*/ 2754287 h 2768575"/>
              <a:gd name="connsiteX19" fmla="*/ 476250 w 2376169"/>
              <a:gd name="connsiteY19" fmla="*/ 2601887 h 2768575"/>
              <a:gd name="connsiteX20" fmla="*/ 0 w 2376169"/>
              <a:gd name="connsiteY20" fmla="*/ 2578074 h 2768575"/>
              <a:gd name="connsiteX0" fmla="*/ 0 w 2375039"/>
              <a:gd name="connsiteY0" fmla="*/ 2578074 h 2768575"/>
              <a:gd name="connsiteX1" fmla="*/ 0 w 2375039"/>
              <a:gd name="connsiteY1" fmla="*/ 1239812 h 2768575"/>
              <a:gd name="connsiteX2" fmla="*/ 385762 w 2375039"/>
              <a:gd name="connsiteY2" fmla="*/ 1196949 h 2768575"/>
              <a:gd name="connsiteX3" fmla="*/ 616744 w 2375039"/>
              <a:gd name="connsiteY3" fmla="*/ 894530 h 2768575"/>
              <a:gd name="connsiteX4" fmla="*/ 973931 w 2375039"/>
              <a:gd name="connsiteY4" fmla="*/ 608781 h 2768575"/>
              <a:gd name="connsiteX5" fmla="*/ 1143000 w 2375039"/>
              <a:gd name="connsiteY5" fmla="*/ 72999 h 2768575"/>
              <a:gd name="connsiteX6" fmla="*/ 1369219 w 2375039"/>
              <a:gd name="connsiteY6" fmla="*/ 8706 h 2768575"/>
              <a:gd name="connsiteX7" fmla="*/ 1566862 w 2375039"/>
              <a:gd name="connsiteY7" fmla="*/ 356368 h 2768575"/>
              <a:gd name="connsiteX8" fmla="*/ 1402557 w 2375039"/>
              <a:gd name="connsiteY8" fmla="*/ 999305 h 2768575"/>
              <a:gd name="connsiteX9" fmla="*/ 2233613 w 2375039"/>
              <a:gd name="connsiteY9" fmla="*/ 1096937 h 2768575"/>
              <a:gd name="connsiteX10" fmla="*/ 2371725 w 2375039"/>
              <a:gd name="connsiteY10" fmla="*/ 1339825 h 2768575"/>
              <a:gd name="connsiteX11" fmla="*/ 2202655 w 2375039"/>
              <a:gd name="connsiteY11" fmla="*/ 1542231 h 2768575"/>
              <a:gd name="connsiteX12" fmla="*/ 2352675 w 2375039"/>
              <a:gd name="connsiteY12" fmla="*/ 1773212 h 2768575"/>
              <a:gd name="connsiteX13" fmla="*/ 2133600 w 2375039"/>
              <a:gd name="connsiteY13" fmla="*/ 1977999 h 2768575"/>
              <a:gd name="connsiteX14" fmla="*/ 2224087 w 2375039"/>
              <a:gd name="connsiteY14" fmla="*/ 2225649 h 2768575"/>
              <a:gd name="connsiteX15" fmla="*/ 1952625 w 2375039"/>
              <a:gd name="connsiteY15" fmla="*/ 2406624 h 2768575"/>
              <a:gd name="connsiteX16" fmla="*/ 2026444 w 2375039"/>
              <a:gd name="connsiteY16" fmla="*/ 2575694 h 2768575"/>
              <a:gd name="connsiteX17" fmla="*/ 1819275 w 2375039"/>
              <a:gd name="connsiteY17" fmla="*/ 2768575 h 2768575"/>
              <a:gd name="connsiteX18" fmla="*/ 923925 w 2375039"/>
              <a:gd name="connsiteY18" fmla="*/ 2754287 h 2768575"/>
              <a:gd name="connsiteX19" fmla="*/ 476250 w 2375039"/>
              <a:gd name="connsiteY19" fmla="*/ 2601887 h 2768575"/>
              <a:gd name="connsiteX20" fmla="*/ 0 w 2375039"/>
              <a:gd name="connsiteY20" fmla="*/ 2578074 h 2768575"/>
              <a:gd name="connsiteX0" fmla="*/ 0 w 2372252"/>
              <a:gd name="connsiteY0" fmla="*/ 2578074 h 2768575"/>
              <a:gd name="connsiteX1" fmla="*/ 0 w 2372252"/>
              <a:gd name="connsiteY1" fmla="*/ 1239812 h 2768575"/>
              <a:gd name="connsiteX2" fmla="*/ 385762 w 2372252"/>
              <a:gd name="connsiteY2" fmla="*/ 1196949 h 2768575"/>
              <a:gd name="connsiteX3" fmla="*/ 616744 w 2372252"/>
              <a:gd name="connsiteY3" fmla="*/ 894530 h 2768575"/>
              <a:gd name="connsiteX4" fmla="*/ 973931 w 2372252"/>
              <a:gd name="connsiteY4" fmla="*/ 608781 h 2768575"/>
              <a:gd name="connsiteX5" fmla="*/ 1143000 w 2372252"/>
              <a:gd name="connsiteY5" fmla="*/ 72999 h 2768575"/>
              <a:gd name="connsiteX6" fmla="*/ 1369219 w 2372252"/>
              <a:gd name="connsiteY6" fmla="*/ 8706 h 2768575"/>
              <a:gd name="connsiteX7" fmla="*/ 1566862 w 2372252"/>
              <a:gd name="connsiteY7" fmla="*/ 356368 h 2768575"/>
              <a:gd name="connsiteX8" fmla="*/ 1402557 w 2372252"/>
              <a:gd name="connsiteY8" fmla="*/ 999305 h 2768575"/>
              <a:gd name="connsiteX9" fmla="*/ 2233613 w 2372252"/>
              <a:gd name="connsiteY9" fmla="*/ 1096937 h 2768575"/>
              <a:gd name="connsiteX10" fmla="*/ 2371725 w 2372252"/>
              <a:gd name="connsiteY10" fmla="*/ 1339825 h 2768575"/>
              <a:gd name="connsiteX11" fmla="*/ 2202655 w 2372252"/>
              <a:gd name="connsiteY11" fmla="*/ 1542231 h 2768575"/>
              <a:gd name="connsiteX12" fmla="*/ 2352675 w 2372252"/>
              <a:gd name="connsiteY12" fmla="*/ 1773212 h 2768575"/>
              <a:gd name="connsiteX13" fmla="*/ 2133600 w 2372252"/>
              <a:gd name="connsiteY13" fmla="*/ 1977999 h 2768575"/>
              <a:gd name="connsiteX14" fmla="*/ 2224087 w 2372252"/>
              <a:gd name="connsiteY14" fmla="*/ 2225649 h 2768575"/>
              <a:gd name="connsiteX15" fmla="*/ 1952625 w 2372252"/>
              <a:gd name="connsiteY15" fmla="*/ 2406624 h 2768575"/>
              <a:gd name="connsiteX16" fmla="*/ 2026444 w 2372252"/>
              <a:gd name="connsiteY16" fmla="*/ 2575694 h 2768575"/>
              <a:gd name="connsiteX17" fmla="*/ 1819275 w 2372252"/>
              <a:gd name="connsiteY17" fmla="*/ 2768575 h 2768575"/>
              <a:gd name="connsiteX18" fmla="*/ 923925 w 2372252"/>
              <a:gd name="connsiteY18" fmla="*/ 2754287 h 2768575"/>
              <a:gd name="connsiteX19" fmla="*/ 476250 w 2372252"/>
              <a:gd name="connsiteY19" fmla="*/ 2601887 h 2768575"/>
              <a:gd name="connsiteX20" fmla="*/ 0 w 2372252"/>
              <a:gd name="connsiteY20" fmla="*/ 2578074 h 2768575"/>
              <a:gd name="connsiteX0" fmla="*/ 0 w 2372252"/>
              <a:gd name="connsiteY0" fmla="*/ 2578074 h 2768575"/>
              <a:gd name="connsiteX1" fmla="*/ 0 w 2372252"/>
              <a:gd name="connsiteY1" fmla="*/ 1239812 h 2768575"/>
              <a:gd name="connsiteX2" fmla="*/ 385762 w 2372252"/>
              <a:gd name="connsiteY2" fmla="*/ 1196949 h 2768575"/>
              <a:gd name="connsiteX3" fmla="*/ 616744 w 2372252"/>
              <a:gd name="connsiteY3" fmla="*/ 894530 h 2768575"/>
              <a:gd name="connsiteX4" fmla="*/ 973931 w 2372252"/>
              <a:gd name="connsiteY4" fmla="*/ 608781 h 2768575"/>
              <a:gd name="connsiteX5" fmla="*/ 1143000 w 2372252"/>
              <a:gd name="connsiteY5" fmla="*/ 72999 h 2768575"/>
              <a:gd name="connsiteX6" fmla="*/ 1369219 w 2372252"/>
              <a:gd name="connsiteY6" fmla="*/ 8706 h 2768575"/>
              <a:gd name="connsiteX7" fmla="*/ 1566862 w 2372252"/>
              <a:gd name="connsiteY7" fmla="*/ 356368 h 2768575"/>
              <a:gd name="connsiteX8" fmla="*/ 1402557 w 2372252"/>
              <a:gd name="connsiteY8" fmla="*/ 999305 h 2768575"/>
              <a:gd name="connsiteX9" fmla="*/ 2233613 w 2372252"/>
              <a:gd name="connsiteY9" fmla="*/ 1096937 h 2768575"/>
              <a:gd name="connsiteX10" fmla="*/ 2371725 w 2372252"/>
              <a:gd name="connsiteY10" fmla="*/ 1339825 h 2768575"/>
              <a:gd name="connsiteX11" fmla="*/ 2202655 w 2372252"/>
              <a:gd name="connsiteY11" fmla="*/ 1542231 h 2768575"/>
              <a:gd name="connsiteX12" fmla="*/ 2352675 w 2372252"/>
              <a:gd name="connsiteY12" fmla="*/ 1773212 h 2768575"/>
              <a:gd name="connsiteX13" fmla="*/ 2133600 w 2372252"/>
              <a:gd name="connsiteY13" fmla="*/ 1977999 h 2768575"/>
              <a:gd name="connsiteX14" fmla="*/ 2224087 w 2372252"/>
              <a:gd name="connsiteY14" fmla="*/ 2225649 h 2768575"/>
              <a:gd name="connsiteX15" fmla="*/ 1952625 w 2372252"/>
              <a:gd name="connsiteY15" fmla="*/ 2406624 h 2768575"/>
              <a:gd name="connsiteX16" fmla="*/ 2026444 w 2372252"/>
              <a:gd name="connsiteY16" fmla="*/ 2575694 h 2768575"/>
              <a:gd name="connsiteX17" fmla="*/ 1819275 w 2372252"/>
              <a:gd name="connsiteY17" fmla="*/ 2768575 h 2768575"/>
              <a:gd name="connsiteX18" fmla="*/ 923925 w 2372252"/>
              <a:gd name="connsiteY18" fmla="*/ 2754287 h 2768575"/>
              <a:gd name="connsiteX19" fmla="*/ 476250 w 2372252"/>
              <a:gd name="connsiteY19" fmla="*/ 2601887 h 2768575"/>
              <a:gd name="connsiteX20" fmla="*/ 0 w 2372252"/>
              <a:gd name="connsiteY20" fmla="*/ 2578074 h 2768575"/>
              <a:gd name="connsiteX0" fmla="*/ 0 w 2372252"/>
              <a:gd name="connsiteY0" fmla="*/ 2578074 h 2768575"/>
              <a:gd name="connsiteX1" fmla="*/ 0 w 2372252"/>
              <a:gd name="connsiteY1" fmla="*/ 1239812 h 2768575"/>
              <a:gd name="connsiteX2" fmla="*/ 385762 w 2372252"/>
              <a:gd name="connsiteY2" fmla="*/ 1196949 h 2768575"/>
              <a:gd name="connsiteX3" fmla="*/ 616744 w 2372252"/>
              <a:gd name="connsiteY3" fmla="*/ 894530 h 2768575"/>
              <a:gd name="connsiteX4" fmla="*/ 973931 w 2372252"/>
              <a:gd name="connsiteY4" fmla="*/ 608781 h 2768575"/>
              <a:gd name="connsiteX5" fmla="*/ 1143000 w 2372252"/>
              <a:gd name="connsiteY5" fmla="*/ 72999 h 2768575"/>
              <a:gd name="connsiteX6" fmla="*/ 1369219 w 2372252"/>
              <a:gd name="connsiteY6" fmla="*/ 8706 h 2768575"/>
              <a:gd name="connsiteX7" fmla="*/ 1566862 w 2372252"/>
              <a:gd name="connsiteY7" fmla="*/ 356368 h 2768575"/>
              <a:gd name="connsiteX8" fmla="*/ 1402557 w 2372252"/>
              <a:gd name="connsiteY8" fmla="*/ 999305 h 2768575"/>
              <a:gd name="connsiteX9" fmla="*/ 2233613 w 2372252"/>
              <a:gd name="connsiteY9" fmla="*/ 1096937 h 2768575"/>
              <a:gd name="connsiteX10" fmla="*/ 2371725 w 2372252"/>
              <a:gd name="connsiteY10" fmla="*/ 1339825 h 2768575"/>
              <a:gd name="connsiteX11" fmla="*/ 2202655 w 2372252"/>
              <a:gd name="connsiteY11" fmla="*/ 1542231 h 2768575"/>
              <a:gd name="connsiteX12" fmla="*/ 2352675 w 2372252"/>
              <a:gd name="connsiteY12" fmla="*/ 1773212 h 2768575"/>
              <a:gd name="connsiteX13" fmla="*/ 2133600 w 2372252"/>
              <a:gd name="connsiteY13" fmla="*/ 1977999 h 2768575"/>
              <a:gd name="connsiteX14" fmla="*/ 2224087 w 2372252"/>
              <a:gd name="connsiteY14" fmla="*/ 2225649 h 2768575"/>
              <a:gd name="connsiteX15" fmla="*/ 1952625 w 2372252"/>
              <a:gd name="connsiteY15" fmla="*/ 2406624 h 2768575"/>
              <a:gd name="connsiteX16" fmla="*/ 2026444 w 2372252"/>
              <a:gd name="connsiteY16" fmla="*/ 2575694 h 2768575"/>
              <a:gd name="connsiteX17" fmla="*/ 1819275 w 2372252"/>
              <a:gd name="connsiteY17" fmla="*/ 2768575 h 2768575"/>
              <a:gd name="connsiteX18" fmla="*/ 923925 w 2372252"/>
              <a:gd name="connsiteY18" fmla="*/ 2754287 h 2768575"/>
              <a:gd name="connsiteX19" fmla="*/ 476250 w 2372252"/>
              <a:gd name="connsiteY19" fmla="*/ 2601887 h 2768575"/>
              <a:gd name="connsiteX20" fmla="*/ 0 w 2372252"/>
              <a:gd name="connsiteY20" fmla="*/ 2578074 h 2768575"/>
              <a:gd name="connsiteX0" fmla="*/ 0 w 2372252"/>
              <a:gd name="connsiteY0" fmla="*/ 2578074 h 2768575"/>
              <a:gd name="connsiteX1" fmla="*/ 0 w 2372252"/>
              <a:gd name="connsiteY1" fmla="*/ 1239812 h 2768575"/>
              <a:gd name="connsiteX2" fmla="*/ 385762 w 2372252"/>
              <a:gd name="connsiteY2" fmla="*/ 1196949 h 2768575"/>
              <a:gd name="connsiteX3" fmla="*/ 616744 w 2372252"/>
              <a:gd name="connsiteY3" fmla="*/ 894530 h 2768575"/>
              <a:gd name="connsiteX4" fmla="*/ 973931 w 2372252"/>
              <a:gd name="connsiteY4" fmla="*/ 608781 h 2768575"/>
              <a:gd name="connsiteX5" fmla="*/ 1143000 w 2372252"/>
              <a:gd name="connsiteY5" fmla="*/ 72999 h 2768575"/>
              <a:gd name="connsiteX6" fmla="*/ 1369219 w 2372252"/>
              <a:gd name="connsiteY6" fmla="*/ 8706 h 2768575"/>
              <a:gd name="connsiteX7" fmla="*/ 1566862 w 2372252"/>
              <a:gd name="connsiteY7" fmla="*/ 356368 h 2768575"/>
              <a:gd name="connsiteX8" fmla="*/ 1402557 w 2372252"/>
              <a:gd name="connsiteY8" fmla="*/ 999305 h 2768575"/>
              <a:gd name="connsiteX9" fmla="*/ 2233613 w 2372252"/>
              <a:gd name="connsiteY9" fmla="*/ 1096937 h 2768575"/>
              <a:gd name="connsiteX10" fmla="*/ 2371725 w 2372252"/>
              <a:gd name="connsiteY10" fmla="*/ 1339825 h 2768575"/>
              <a:gd name="connsiteX11" fmla="*/ 2202655 w 2372252"/>
              <a:gd name="connsiteY11" fmla="*/ 1542231 h 2768575"/>
              <a:gd name="connsiteX12" fmla="*/ 2352675 w 2372252"/>
              <a:gd name="connsiteY12" fmla="*/ 1773212 h 2768575"/>
              <a:gd name="connsiteX13" fmla="*/ 2133600 w 2372252"/>
              <a:gd name="connsiteY13" fmla="*/ 1977999 h 2768575"/>
              <a:gd name="connsiteX14" fmla="*/ 2224087 w 2372252"/>
              <a:gd name="connsiteY14" fmla="*/ 2225649 h 2768575"/>
              <a:gd name="connsiteX15" fmla="*/ 1952625 w 2372252"/>
              <a:gd name="connsiteY15" fmla="*/ 2406624 h 2768575"/>
              <a:gd name="connsiteX16" fmla="*/ 2026444 w 2372252"/>
              <a:gd name="connsiteY16" fmla="*/ 2575694 h 2768575"/>
              <a:gd name="connsiteX17" fmla="*/ 1819275 w 2372252"/>
              <a:gd name="connsiteY17" fmla="*/ 2768575 h 2768575"/>
              <a:gd name="connsiteX18" fmla="*/ 923925 w 2372252"/>
              <a:gd name="connsiteY18" fmla="*/ 2754287 h 2768575"/>
              <a:gd name="connsiteX19" fmla="*/ 476250 w 2372252"/>
              <a:gd name="connsiteY19" fmla="*/ 2601887 h 2768575"/>
              <a:gd name="connsiteX20" fmla="*/ 0 w 2372252"/>
              <a:gd name="connsiteY20" fmla="*/ 2578074 h 2768575"/>
              <a:gd name="connsiteX0" fmla="*/ 0 w 2371901"/>
              <a:gd name="connsiteY0" fmla="*/ 2578074 h 2768575"/>
              <a:gd name="connsiteX1" fmla="*/ 0 w 2371901"/>
              <a:gd name="connsiteY1" fmla="*/ 1239812 h 2768575"/>
              <a:gd name="connsiteX2" fmla="*/ 385762 w 2371901"/>
              <a:gd name="connsiteY2" fmla="*/ 1196949 h 2768575"/>
              <a:gd name="connsiteX3" fmla="*/ 616744 w 2371901"/>
              <a:gd name="connsiteY3" fmla="*/ 894530 h 2768575"/>
              <a:gd name="connsiteX4" fmla="*/ 973931 w 2371901"/>
              <a:gd name="connsiteY4" fmla="*/ 608781 h 2768575"/>
              <a:gd name="connsiteX5" fmla="*/ 1143000 w 2371901"/>
              <a:gd name="connsiteY5" fmla="*/ 72999 h 2768575"/>
              <a:gd name="connsiteX6" fmla="*/ 1369219 w 2371901"/>
              <a:gd name="connsiteY6" fmla="*/ 8706 h 2768575"/>
              <a:gd name="connsiteX7" fmla="*/ 1566862 w 2371901"/>
              <a:gd name="connsiteY7" fmla="*/ 356368 h 2768575"/>
              <a:gd name="connsiteX8" fmla="*/ 1402557 w 2371901"/>
              <a:gd name="connsiteY8" fmla="*/ 999305 h 2768575"/>
              <a:gd name="connsiteX9" fmla="*/ 2233613 w 2371901"/>
              <a:gd name="connsiteY9" fmla="*/ 1096937 h 2768575"/>
              <a:gd name="connsiteX10" fmla="*/ 2371725 w 2371901"/>
              <a:gd name="connsiteY10" fmla="*/ 1339825 h 2768575"/>
              <a:gd name="connsiteX11" fmla="*/ 2202655 w 2371901"/>
              <a:gd name="connsiteY11" fmla="*/ 1542231 h 2768575"/>
              <a:gd name="connsiteX12" fmla="*/ 2352675 w 2371901"/>
              <a:gd name="connsiteY12" fmla="*/ 1773212 h 2768575"/>
              <a:gd name="connsiteX13" fmla="*/ 2133600 w 2371901"/>
              <a:gd name="connsiteY13" fmla="*/ 1977999 h 2768575"/>
              <a:gd name="connsiteX14" fmla="*/ 2224087 w 2371901"/>
              <a:gd name="connsiteY14" fmla="*/ 2225649 h 2768575"/>
              <a:gd name="connsiteX15" fmla="*/ 1952625 w 2371901"/>
              <a:gd name="connsiteY15" fmla="*/ 2406624 h 2768575"/>
              <a:gd name="connsiteX16" fmla="*/ 2026444 w 2371901"/>
              <a:gd name="connsiteY16" fmla="*/ 2575694 h 2768575"/>
              <a:gd name="connsiteX17" fmla="*/ 1819275 w 2371901"/>
              <a:gd name="connsiteY17" fmla="*/ 2768575 h 2768575"/>
              <a:gd name="connsiteX18" fmla="*/ 923925 w 2371901"/>
              <a:gd name="connsiteY18" fmla="*/ 2754287 h 2768575"/>
              <a:gd name="connsiteX19" fmla="*/ 476250 w 2371901"/>
              <a:gd name="connsiteY19" fmla="*/ 2601887 h 2768575"/>
              <a:gd name="connsiteX20" fmla="*/ 0 w 2371901"/>
              <a:gd name="connsiteY20" fmla="*/ 2578074 h 2768575"/>
              <a:gd name="connsiteX0" fmla="*/ 0 w 2371901"/>
              <a:gd name="connsiteY0" fmla="*/ 2578074 h 2768575"/>
              <a:gd name="connsiteX1" fmla="*/ 0 w 2371901"/>
              <a:gd name="connsiteY1" fmla="*/ 1239812 h 2768575"/>
              <a:gd name="connsiteX2" fmla="*/ 385762 w 2371901"/>
              <a:gd name="connsiteY2" fmla="*/ 1196949 h 2768575"/>
              <a:gd name="connsiteX3" fmla="*/ 616744 w 2371901"/>
              <a:gd name="connsiteY3" fmla="*/ 894530 h 2768575"/>
              <a:gd name="connsiteX4" fmla="*/ 973931 w 2371901"/>
              <a:gd name="connsiteY4" fmla="*/ 608781 h 2768575"/>
              <a:gd name="connsiteX5" fmla="*/ 1143000 w 2371901"/>
              <a:gd name="connsiteY5" fmla="*/ 72999 h 2768575"/>
              <a:gd name="connsiteX6" fmla="*/ 1369219 w 2371901"/>
              <a:gd name="connsiteY6" fmla="*/ 8706 h 2768575"/>
              <a:gd name="connsiteX7" fmla="*/ 1566862 w 2371901"/>
              <a:gd name="connsiteY7" fmla="*/ 356368 h 2768575"/>
              <a:gd name="connsiteX8" fmla="*/ 1402557 w 2371901"/>
              <a:gd name="connsiteY8" fmla="*/ 999305 h 2768575"/>
              <a:gd name="connsiteX9" fmla="*/ 2233613 w 2371901"/>
              <a:gd name="connsiteY9" fmla="*/ 1096937 h 2768575"/>
              <a:gd name="connsiteX10" fmla="*/ 2371725 w 2371901"/>
              <a:gd name="connsiteY10" fmla="*/ 1339825 h 2768575"/>
              <a:gd name="connsiteX11" fmla="*/ 2202655 w 2371901"/>
              <a:gd name="connsiteY11" fmla="*/ 1542231 h 2768575"/>
              <a:gd name="connsiteX12" fmla="*/ 2352675 w 2371901"/>
              <a:gd name="connsiteY12" fmla="*/ 1773212 h 2768575"/>
              <a:gd name="connsiteX13" fmla="*/ 2133600 w 2371901"/>
              <a:gd name="connsiteY13" fmla="*/ 1977999 h 2768575"/>
              <a:gd name="connsiteX14" fmla="*/ 2224087 w 2371901"/>
              <a:gd name="connsiteY14" fmla="*/ 2225649 h 2768575"/>
              <a:gd name="connsiteX15" fmla="*/ 1952625 w 2371901"/>
              <a:gd name="connsiteY15" fmla="*/ 2406624 h 2768575"/>
              <a:gd name="connsiteX16" fmla="*/ 2026444 w 2371901"/>
              <a:gd name="connsiteY16" fmla="*/ 2575694 h 2768575"/>
              <a:gd name="connsiteX17" fmla="*/ 1819275 w 2371901"/>
              <a:gd name="connsiteY17" fmla="*/ 2768575 h 2768575"/>
              <a:gd name="connsiteX18" fmla="*/ 923925 w 2371901"/>
              <a:gd name="connsiteY18" fmla="*/ 2754287 h 2768575"/>
              <a:gd name="connsiteX19" fmla="*/ 476250 w 2371901"/>
              <a:gd name="connsiteY19" fmla="*/ 2601887 h 2768575"/>
              <a:gd name="connsiteX20" fmla="*/ 0 w 2371901"/>
              <a:gd name="connsiteY20" fmla="*/ 2578074 h 2768575"/>
              <a:gd name="connsiteX0" fmla="*/ 0 w 2371901"/>
              <a:gd name="connsiteY0" fmla="*/ 2578074 h 2768575"/>
              <a:gd name="connsiteX1" fmla="*/ 0 w 2371901"/>
              <a:gd name="connsiteY1" fmla="*/ 1239812 h 2768575"/>
              <a:gd name="connsiteX2" fmla="*/ 385762 w 2371901"/>
              <a:gd name="connsiteY2" fmla="*/ 1196949 h 2768575"/>
              <a:gd name="connsiteX3" fmla="*/ 616744 w 2371901"/>
              <a:gd name="connsiteY3" fmla="*/ 894530 h 2768575"/>
              <a:gd name="connsiteX4" fmla="*/ 973931 w 2371901"/>
              <a:gd name="connsiteY4" fmla="*/ 608781 h 2768575"/>
              <a:gd name="connsiteX5" fmla="*/ 1143000 w 2371901"/>
              <a:gd name="connsiteY5" fmla="*/ 72999 h 2768575"/>
              <a:gd name="connsiteX6" fmla="*/ 1369219 w 2371901"/>
              <a:gd name="connsiteY6" fmla="*/ 8706 h 2768575"/>
              <a:gd name="connsiteX7" fmla="*/ 1566862 w 2371901"/>
              <a:gd name="connsiteY7" fmla="*/ 356368 h 2768575"/>
              <a:gd name="connsiteX8" fmla="*/ 1402557 w 2371901"/>
              <a:gd name="connsiteY8" fmla="*/ 999305 h 2768575"/>
              <a:gd name="connsiteX9" fmla="*/ 2233613 w 2371901"/>
              <a:gd name="connsiteY9" fmla="*/ 1096937 h 2768575"/>
              <a:gd name="connsiteX10" fmla="*/ 2371725 w 2371901"/>
              <a:gd name="connsiteY10" fmla="*/ 1339825 h 2768575"/>
              <a:gd name="connsiteX11" fmla="*/ 2202655 w 2371901"/>
              <a:gd name="connsiteY11" fmla="*/ 1542231 h 2768575"/>
              <a:gd name="connsiteX12" fmla="*/ 2352675 w 2371901"/>
              <a:gd name="connsiteY12" fmla="*/ 1773212 h 2768575"/>
              <a:gd name="connsiteX13" fmla="*/ 2133600 w 2371901"/>
              <a:gd name="connsiteY13" fmla="*/ 1977999 h 2768575"/>
              <a:gd name="connsiteX14" fmla="*/ 2224087 w 2371901"/>
              <a:gd name="connsiteY14" fmla="*/ 2225649 h 2768575"/>
              <a:gd name="connsiteX15" fmla="*/ 1952625 w 2371901"/>
              <a:gd name="connsiteY15" fmla="*/ 2406624 h 2768575"/>
              <a:gd name="connsiteX16" fmla="*/ 2026444 w 2371901"/>
              <a:gd name="connsiteY16" fmla="*/ 2575694 h 2768575"/>
              <a:gd name="connsiteX17" fmla="*/ 1819275 w 2371901"/>
              <a:gd name="connsiteY17" fmla="*/ 2768575 h 2768575"/>
              <a:gd name="connsiteX18" fmla="*/ 923925 w 2371901"/>
              <a:gd name="connsiteY18" fmla="*/ 2754287 h 2768575"/>
              <a:gd name="connsiteX19" fmla="*/ 476250 w 2371901"/>
              <a:gd name="connsiteY19" fmla="*/ 2601887 h 2768575"/>
              <a:gd name="connsiteX20" fmla="*/ 0 w 2371901"/>
              <a:gd name="connsiteY20" fmla="*/ 2578074 h 2768575"/>
              <a:gd name="connsiteX0" fmla="*/ 0 w 2371901"/>
              <a:gd name="connsiteY0" fmla="*/ 2578074 h 2768575"/>
              <a:gd name="connsiteX1" fmla="*/ 0 w 2371901"/>
              <a:gd name="connsiteY1" fmla="*/ 1239812 h 2768575"/>
              <a:gd name="connsiteX2" fmla="*/ 385762 w 2371901"/>
              <a:gd name="connsiteY2" fmla="*/ 1196949 h 2768575"/>
              <a:gd name="connsiteX3" fmla="*/ 616744 w 2371901"/>
              <a:gd name="connsiteY3" fmla="*/ 894530 h 2768575"/>
              <a:gd name="connsiteX4" fmla="*/ 973931 w 2371901"/>
              <a:gd name="connsiteY4" fmla="*/ 608781 h 2768575"/>
              <a:gd name="connsiteX5" fmla="*/ 1143000 w 2371901"/>
              <a:gd name="connsiteY5" fmla="*/ 72999 h 2768575"/>
              <a:gd name="connsiteX6" fmla="*/ 1369219 w 2371901"/>
              <a:gd name="connsiteY6" fmla="*/ 8706 h 2768575"/>
              <a:gd name="connsiteX7" fmla="*/ 1566862 w 2371901"/>
              <a:gd name="connsiteY7" fmla="*/ 356368 h 2768575"/>
              <a:gd name="connsiteX8" fmla="*/ 1402557 w 2371901"/>
              <a:gd name="connsiteY8" fmla="*/ 999305 h 2768575"/>
              <a:gd name="connsiteX9" fmla="*/ 2233613 w 2371901"/>
              <a:gd name="connsiteY9" fmla="*/ 1096937 h 2768575"/>
              <a:gd name="connsiteX10" fmla="*/ 2371725 w 2371901"/>
              <a:gd name="connsiteY10" fmla="*/ 1339825 h 2768575"/>
              <a:gd name="connsiteX11" fmla="*/ 2202655 w 2371901"/>
              <a:gd name="connsiteY11" fmla="*/ 1542231 h 2768575"/>
              <a:gd name="connsiteX12" fmla="*/ 2352675 w 2371901"/>
              <a:gd name="connsiteY12" fmla="*/ 1773212 h 2768575"/>
              <a:gd name="connsiteX13" fmla="*/ 2133600 w 2371901"/>
              <a:gd name="connsiteY13" fmla="*/ 1977999 h 2768575"/>
              <a:gd name="connsiteX14" fmla="*/ 2221706 w 2371901"/>
              <a:gd name="connsiteY14" fmla="*/ 2242318 h 2768575"/>
              <a:gd name="connsiteX15" fmla="*/ 1952625 w 2371901"/>
              <a:gd name="connsiteY15" fmla="*/ 2406624 h 2768575"/>
              <a:gd name="connsiteX16" fmla="*/ 2026444 w 2371901"/>
              <a:gd name="connsiteY16" fmla="*/ 2575694 h 2768575"/>
              <a:gd name="connsiteX17" fmla="*/ 1819275 w 2371901"/>
              <a:gd name="connsiteY17" fmla="*/ 2768575 h 2768575"/>
              <a:gd name="connsiteX18" fmla="*/ 923925 w 2371901"/>
              <a:gd name="connsiteY18" fmla="*/ 2754287 h 2768575"/>
              <a:gd name="connsiteX19" fmla="*/ 476250 w 2371901"/>
              <a:gd name="connsiteY19" fmla="*/ 2601887 h 2768575"/>
              <a:gd name="connsiteX20" fmla="*/ 0 w 2371901"/>
              <a:gd name="connsiteY20" fmla="*/ 2578074 h 2768575"/>
              <a:gd name="connsiteX0" fmla="*/ 0 w 2371901"/>
              <a:gd name="connsiteY0" fmla="*/ 2578074 h 2768575"/>
              <a:gd name="connsiteX1" fmla="*/ 0 w 2371901"/>
              <a:gd name="connsiteY1" fmla="*/ 1239812 h 2768575"/>
              <a:gd name="connsiteX2" fmla="*/ 385762 w 2371901"/>
              <a:gd name="connsiteY2" fmla="*/ 1196949 h 2768575"/>
              <a:gd name="connsiteX3" fmla="*/ 616744 w 2371901"/>
              <a:gd name="connsiteY3" fmla="*/ 894530 h 2768575"/>
              <a:gd name="connsiteX4" fmla="*/ 973931 w 2371901"/>
              <a:gd name="connsiteY4" fmla="*/ 608781 h 2768575"/>
              <a:gd name="connsiteX5" fmla="*/ 1143000 w 2371901"/>
              <a:gd name="connsiteY5" fmla="*/ 72999 h 2768575"/>
              <a:gd name="connsiteX6" fmla="*/ 1369219 w 2371901"/>
              <a:gd name="connsiteY6" fmla="*/ 8706 h 2768575"/>
              <a:gd name="connsiteX7" fmla="*/ 1566862 w 2371901"/>
              <a:gd name="connsiteY7" fmla="*/ 356368 h 2768575"/>
              <a:gd name="connsiteX8" fmla="*/ 1402557 w 2371901"/>
              <a:gd name="connsiteY8" fmla="*/ 999305 h 2768575"/>
              <a:gd name="connsiteX9" fmla="*/ 2233613 w 2371901"/>
              <a:gd name="connsiteY9" fmla="*/ 1096937 h 2768575"/>
              <a:gd name="connsiteX10" fmla="*/ 2371725 w 2371901"/>
              <a:gd name="connsiteY10" fmla="*/ 1339825 h 2768575"/>
              <a:gd name="connsiteX11" fmla="*/ 2202655 w 2371901"/>
              <a:gd name="connsiteY11" fmla="*/ 1542231 h 2768575"/>
              <a:gd name="connsiteX12" fmla="*/ 2352675 w 2371901"/>
              <a:gd name="connsiteY12" fmla="*/ 1773212 h 2768575"/>
              <a:gd name="connsiteX13" fmla="*/ 2133600 w 2371901"/>
              <a:gd name="connsiteY13" fmla="*/ 1977999 h 2768575"/>
              <a:gd name="connsiteX14" fmla="*/ 2221706 w 2371901"/>
              <a:gd name="connsiteY14" fmla="*/ 2242318 h 2768575"/>
              <a:gd name="connsiteX15" fmla="*/ 1952625 w 2371901"/>
              <a:gd name="connsiteY15" fmla="*/ 2406624 h 2768575"/>
              <a:gd name="connsiteX16" fmla="*/ 2026444 w 2371901"/>
              <a:gd name="connsiteY16" fmla="*/ 2575694 h 2768575"/>
              <a:gd name="connsiteX17" fmla="*/ 1819275 w 2371901"/>
              <a:gd name="connsiteY17" fmla="*/ 2768575 h 2768575"/>
              <a:gd name="connsiteX18" fmla="*/ 923925 w 2371901"/>
              <a:gd name="connsiteY18" fmla="*/ 2754287 h 2768575"/>
              <a:gd name="connsiteX19" fmla="*/ 476250 w 2371901"/>
              <a:gd name="connsiteY19" fmla="*/ 2601887 h 2768575"/>
              <a:gd name="connsiteX20" fmla="*/ 0 w 2371901"/>
              <a:gd name="connsiteY20" fmla="*/ 2578074 h 2768575"/>
              <a:gd name="connsiteX0" fmla="*/ 0 w 2371901"/>
              <a:gd name="connsiteY0" fmla="*/ 2578074 h 2768575"/>
              <a:gd name="connsiteX1" fmla="*/ 0 w 2371901"/>
              <a:gd name="connsiteY1" fmla="*/ 1239812 h 2768575"/>
              <a:gd name="connsiteX2" fmla="*/ 385762 w 2371901"/>
              <a:gd name="connsiteY2" fmla="*/ 1196949 h 2768575"/>
              <a:gd name="connsiteX3" fmla="*/ 616744 w 2371901"/>
              <a:gd name="connsiteY3" fmla="*/ 894530 h 2768575"/>
              <a:gd name="connsiteX4" fmla="*/ 973931 w 2371901"/>
              <a:gd name="connsiteY4" fmla="*/ 608781 h 2768575"/>
              <a:gd name="connsiteX5" fmla="*/ 1143000 w 2371901"/>
              <a:gd name="connsiteY5" fmla="*/ 72999 h 2768575"/>
              <a:gd name="connsiteX6" fmla="*/ 1369219 w 2371901"/>
              <a:gd name="connsiteY6" fmla="*/ 8706 h 2768575"/>
              <a:gd name="connsiteX7" fmla="*/ 1566862 w 2371901"/>
              <a:gd name="connsiteY7" fmla="*/ 356368 h 2768575"/>
              <a:gd name="connsiteX8" fmla="*/ 1402557 w 2371901"/>
              <a:gd name="connsiteY8" fmla="*/ 999305 h 2768575"/>
              <a:gd name="connsiteX9" fmla="*/ 2233613 w 2371901"/>
              <a:gd name="connsiteY9" fmla="*/ 1096937 h 2768575"/>
              <a:gd name="connsiteX10" fmla="*/ 2371725 w 2371901"/>
              <a:gd name="connsiteY10" fmla="*/ 1339825 h 2768575"/>
              <a:gd name="connsiteX11" fmla="*/ 2202655 w 2371901"/>
              <a:gd name="connsiteY11" fmla="*/ 1542231 h 2768575"/>
              <a:gd name="connsiteX12" fmla="*/ 2352675 w 2371901"/>
              <a:gd name="connsiteY12" fmla="*/ 1773212 h 2768575"/>
              <a:gd name="connsiteX13" fmla="*/ 2133600 w 2371901"/>
              <a:gd name="connsiteY13" fmla="*/ 1977999 h 2768575"/>
              <a:gd name="connsiteX14" fmla="*/ 2221706 w 2371901"/>
              <a:gd name="connsiteY14" fmla="*/ 2242318 h 2768575"/>
              <a:gd name="connsiteX15" fmla="*/ 1952625 w 2371901"/>
              <a:gd name="connsiteY15" fmla="*/ 2406624 h 2768575"/>
              <a:gd name="connsiteX16" fmla="*/ 2026444 w 2371901"/>
              <a:gd name="connsiteY16" fmla="*/ 2575694 h 2768575"/>
              <a:gd name="connsiteX17" fmla="*/ 1819275 w 2371901"/>
              <a:gd name="connsiteY17" fmla="*/ 2768575 h 2768575"/>
              <a:gd name="connsiteX18" fmla="*/ 923925 w 2371901"/>
              <a:gd name="connsiteY18" fmla="*/ 2754287 h 2768575"/>
              <a:gd name="connsiteX19" fmla="*/ 476250 w 2371901"/>
              <a:gd name="connsiteY19" fmla="*/ 2601887 h 2768575"/>
              <a:gd name="connsiteX20" fmla="*/ 0 w 2371901"/>
              <a:gd name="connsiteY20" fmla="*/ 2578074 h 2768575"/>
              <a:gd name="connsiteX0" fmla="*/ 0 w 2371901"/>
              <a:gd name="connsiteY0" fmla="*/ 2578074 h 2768575"/>
              <a:gd name="connsiteX1" fmla="*/ 0 w 2371901"/>
              <a:gd name="connsiteY1" fmla="*/ 1239812 h 2768575"/>
              <a:gd name="connsiteX2" fmla="*/ 385762 w 2371901"/>
              <a:gd name="connsiteY2" fmla="*/ 1196949 h 2768575"/>
              <a:gd name="connsiteX3" fmla="*/ 616744 w 2371901"/>
              <a:gd name="connsiteY3" fmla="*/ 894530 h 2768575"/>
              <a:gd name="connsiteX4" fmla="*/ 973931 w 2371901"/>
              <a:gd name="connsiteY4" fmla="*/ 608781 h 2768575"/>
              <a:gd name="connsiteX5" fmla="*/ 1143000 w 2371901"/>
              <a:gd name="connsiteY5" fmla="*/ 72999 h 2768575"/>
              <a:gd name="connsiteX6" fmla="*/ 1369219 w 2371901"/>
              <a:gd name="connsiteY6" fmla="*/ 8706 h 2768575"/>
              <a:gd name="connsiteX7" fmla="*/ 1566862 w 2371901"/>
              <a:gd name="connsiteY7" fmla="*/ 356368 h 2768575"/>
              <a:gd name="connsiteX8" fmla="*/ 1402557 w 2371901"/>
              <a:gd name="connsiteY8" fmla="*/ 999305 h 2768575"/>
              <a:gd name="connsiteX9" fmla="*/ 2233613 w 2371901"/>
              <a:gd name="connsiteY9" fmla="*/ 1096937 h 2768575"/>
              <a:gd name="connsiteX10" fmla="*/ 2371725 w 2371901"/>
              <a:gd name="connsiteY10" fmla="*/ 1339825 h 2768575"/>
              <a:gd name="connsiteX11" fmla="*/ 2202655 w 2371901"/>
              <a:gd name="connsiteY11" fmla="*/ 1542231 h 2768575"/>
              <a:gd name="connsiteX12" fmla="*/ 2352675 w 2371901"/>
              <a:gd name="connsiteY12" fmla="*/ 1773212 h 2768575"/>
              <a:gd name="connsiteX13" fmla="*/ 2133600 w 2371901"/>
              <a:gd name="connsiteY13" fmla="*/ 1977999 h 2768575"/>
              <a:gd name="connsiteX14" fmla="*/ 2221706 w 2371901"/>
              <a:gd name="connsiteY14" fmla="*/ 2242318 h 2768575"/>
              <a:gd name="connsiteX15" fmla="*/ 1952625 w 2371901"/>
              <a:gd name="connsiteY15" fmla="*/ 2406624 h 2768575"/>
              <a:gd name="connsiteX16" fmla="*/ 2026444 w 2371901"/>
              <a:gd name="connsiteY16" fmla="*/ 2575694 h 2768575"/>
              <a:gd name="connsiteX17" fmla="*/ 1819275 w 2371901"/>
              <a:gd name="connsiteY17" fmla="*/ 2768575 h 2768575"/>
              <a:gd name="connsiteX18" fmla="*/ 923925 w 2371901"/>
              <a:gd name="connsiteY18" fmla="*/ 2754287 h 2768575"/>
              <a:gd name="connsiteX19" fmla="*/ 476250 w 2371901"/>
              <a:gd name="connsiteY19" fmla="*/ 2601887 h 2768575"/>
              <a:gd name="connsiteX20" fmla="*/ 0 w 2371901"/>
              <a:gd name="connsiteY20" fmla="*/ 2578074 h 2768575"/>
              <a:gd name="connsiteX0" fmla="*/ 0 w 2371901"/>
              <a:gd name="connsiteY0" fmla="*/ 2578074 h 2768575"/>
              <a:gd name="connsiteX1" fmla="*/ 0 w 2371901"/>
              <a:gd name="connsiteY1" fmla="*/ 1239812 h 2768575"/>
              <a:gd name="connsiteX2" fmla="*/ 385762 w 2371901"/>
              <a:gd name="connsiteY2" fmla="*/ 1196949 h 2768575"/>
              <a:gd name="connsiteX3" fmla="*/ 616744 w 2371901"/>
              <a:gd name="connsiteY3" fmla="*/ 894530 h 2768575"/>
              <a:gd name="connsiteX4" fmla="*/ 973931 w 2371901"/>
              <a:gd name="connsiteY4" fmla="*/ 608781 h 2768575"/>
              <a:gd name="connsiteX5" fmla="*/ 1143000 w 2371901"/>
              <a:gd name="connsiteY5" fmla="*/ 72999 h 2768575"/>
              <a:gd name="connsiteX6" fmla="*/ 1369219 w 2371901"/>
              <a:gd name="connsiteY6" fmla="*/ 8706 h 2768575"/>
              <a:gd name="connsiteX7" fmla="*/ 1566862 w 2371901"/>
              <a:gd name="connsiteY7" fmla="*/ 356368 h 2768575"/>
              <a:gd name="connsiteX8" fmla="*/ 1402557 w 2371901"/>
              <a:gd name="connsiteY8" fmla="*/ 999305 h 2768575"/>
              <a:gd name="connsiteX9" fmla="*/ 2233613 w 2371901"/>
              <a:gd name="connsiteY9" fmla="*/ 1096937 h 2768575"/>
              <a:gd name="connsiteX10" fmla="*/ 2371725 w 2371901"/>
              <a:gd name="connsiteY10" fmla="*/ 1339825 h 2768575"/>
              <a:gd name="connsiteX11" fmla="*/ 2202655 w 2371901"/>
              <a:gd name="connsiteY11" fmla="*/ 1542231 h 2768575"/>
              <a:gd name="connsiteX12" fmla="*/ 2352675 w 2371901"/>
              <a:gd name="connsiteY12" fmla="*/ 1773212 h 2768575"/>
              <a:gd name="connsiteX13" fmla="*/ 2133600 w 2371901"/>
              <a:gd name="connsiteY13" fmla="*/ 1977999 h 2768575"/>
              <a:gd name="connsiteX14" fmla="*/ 2221706 w 2371901"/>
              <a:gd name="connsiteY14" fmla="*/ 2242318 h 2768575"/>
              <a:gd name="connsiteX15" fmla="*/ 1952625 w 2371901"/>
              <a:gd name="connsiteY15" fmla="*/ 2406624 h 2768575"/>
              <a:gd name="connsiteX16" fmla="*/ 2026444 w 2371901"/>
              <a:gd name="connsiteY16" fmla="*/ 2575694 h 2768575"/>
              <a:gd name="connsiteX17" fmla="*/ 1819275 w 2371901"/>
              <a:gd name="connsiteY17" fmla="*/ 2768575 h 2768575"/>
              <a:gd name="connsiteX18" fmla="*/ 923925 w 2371901"/>
              <a:gd name="connsiteY18" fmla="*/ 2754287 h 2768575"/>
              <a:gd name="connsiteX19" fmla="*/ 476250 w 2371901"/>
              <a:gd name="connsiteY19" fmla="*/ 2601887 h 2768575"/>
              <a:gd name="connsiteX20" fmla="*/ 0 w 2371901"/>
              <a:gd name="connsiteY20" fmla="*/ 2578074 h 2768575"/>
              <a:gd name="connsiteX0" fmla="*/ 0 w 2371901"/>
              <a:gd name="connsiteY0" fmla="*/ 2578074 h 2768575"/>
              <a:gd name="connsiteX1" fmla="*/ 0 w 2371901"/>
              <a:gd name="connsiteY1" fmla="*/ 1239812 h 2768575"/>
              <a:gd name="connsiteX2" fmla="*/ 385762 w 2371901"/>
              <a:gd name="connsiteY2" fmla="*/ 1196949 h 2768575"/>
              <a:gd name="connsiteX3" fmla="*/ 616744 w 2371901"/>
              <a:gd name="connsiteY3" fmla="*/ 894530 h 2768575"/>
              <a:gd name="connsiteX4" fmla="*/ 973931 w 2371901"/>
              <a:gd name="connsiteY4" fmla="*/ 608781 h 2768575"/>
              <a:gd name="connsiteX5" fmla="*/ 1143000 w 2371901"/>
              <a:gd name="connsiteY5" fmla="*/ 72999 h 2768575"/>
              <a:gd name="connsiteX6" fmla="*/ 1369219 w 2371901"/>
              <a:gd name="connsiteY6" fmla="*/ 8706 h 2768575"/>
              <a:gd name="connsiteX7" fmla="*/ 1566862 w 2371901"/>
              <a:gd name="connsiteY7" fmla="*/ 356368 h 2768575"/>
              <a:gd name="connsiteX8" fmla="*/ 1402557 w 2371901"/>
              <a:gd name="connsiteY8" fmla="*/ 999305 h 2768575"/>
              <a:gd name="connsiteX9" fmla="*/ 2233613 w 2371901"/>
              <a:gd name="connsiteY9" fmla="*/ 1096937 h 2768575"/>
              <a:gd name="connsiteX10" fmla="*/ 2371725 w 2371901"/>
              <a:gd name="connsiteY10" fmla="*/ 1339825 h 2768575"/>
              <a:gd name="connsiteX11" fmla="*/ 2202655 w 2371901"/>
              <a:gd name="connsiteY11" fmla="*/ 1542231 h 2768575"/>
              <a:gd name="connsiteX12" fmla="*/ 2352675 w 2371901"/>
              <a:gd name="connsiteY12" fmla="*/ 1773212 h 2768575"/>
              <a:gd name="connsiteX13" fmla="*/ 2133600 w 2371901"/>
              <a:gd name="connsiteY13" fmla="*/ 1977999 h 2768575"/>
              <a:gd name="connsiteX14" fmla="*/ 2219325 w 2371901"/>
              <a:gd name="connsiteY14" fmla="*/ 2263750 h 2768575"/>
              <a:gd name="connsiteX15" fmla="*/ 1952625 w 2371901"/>
              <a:gd name="connsiteY15" fmla="*/ 2406624 h 2768575"/>
              <a:gd name="connsiteX16" fmla="*/ 2026444 w 2371901"/>
              <a:gd name="connsiteY16" fmla="*/ 2575694 h 2768575"/>
              <a:gd name="connsiteX17" fmla="*/ 1819275 w 2371901"/>
              <a:gd name="connsiteY17" fmla="*/ 2768575 h 2768575"/>
              <a:gd name="connsiteX18" fmla="*/ 923925 w 2371901"/>
              <a:gd name="connsiteY18" fmla="*/ 2754287 h 2768575"/>
              <a:gd name="connsiteX19" fmla="*/ 476250 w 2371901"/>
              <a:gd name="connsiteY19" fmla="*/ 2601887 h 2768575"/>
              <a:gd name="connsiteX20" fmla="*/ 0 w 2371901"/>
              <a:gd name="connsiteY20" fmla="*/ 2578074 h 2768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2371901" h="2768575">
                <a:moveTo>
                  <a:pt x="0" y="2578074"/>
                </a:moveTo>
                <a:lnTo>
                  <a:pt x="0" y="1239812"/>
                </a:lnTo>
                <a:cubicBezTo>
                  <a:pt x="128587" y="1225524"/>
                  <a:pt x="282971" y="1254496"/>
                  <a:pt x="385762" y="1196949"/>
                </a:cubicBezTo>
                <a:cubicBezTo>
                  <a:pt x="488553" y="1139402"/>
                  <a:pt x="518716" y="992558"/>
                  <a:pt x="616744" y="894530"/>
                </a:cubicBezTo>
                <a:cubicBezTo>
                  <a:pt x="714772" y="796502"/>
                  <a:pt x="936624" y="658787"/>
                  <a:pt x="973931" y="608781"/>
                </a:cubicBezTo>
                <a:cubicBezTo>
                  <a:pt x="1011238" y="558775"/>
                  <a:pt x="1089025" y="258737"/>
                  <a:pt x="1143000" y="72999"/>
                </a:cubicBezTo>
                <a:cubicBezTo>
                  <a:pt x="1187450" y="34900"/>
                  <a:pt x="1272381" y="-21853"/>
                  <a:pt x="1369219" y="8706"/>
                </a:cubicBezTo>
                <a:cubicBezTo>
                  <a:pt x="1466057" y="39265"/>
                  <a:pt x="1561306" y="191268"/>
                  <a:pt x="1566862" y="356368"/>
                </a:cubicBezTo>
                <a:cubicBezTo>
                  <a:pt x="1572418" y="521468"/>
                  <a:pt x="1461294" y="792930"/>
                  <a:pt x="1402557" y="999305"/>
                </a:cubicBezTo>
                <a:cubicBezTo>
                  <a:pt x="1681163" y="1031849"/>
                  <a:pt x="2122092" y="1059234"/>
                  <a:pt x="2233613" y="1096937"/>
                </a:cubicBezTo>
                <a:cubicBezTo>
                  <a:pt x="2345134" y="1134640"/>
                  <a:pt x="2374504" y="1229891"/>
                  <a:pt x="2371725" y="1339825"/>
                </a:cubicBezTo>
                <a:cubicBezTo>
                  <a:pt x="2368946" y="1449759"/>
                  <a:pt x="2241549" y="1531119"/>
                  <a:pt x="2202655" y="1542231"/>
                </a:cubicBezTo>
                <a:cubicBezTo>
                  <a:pt x="2233612" y="1573981"/>
                  <a:pt x="2395140" y="1605334"/>
                  <a:pt x="2352675" y="1773212"/>
                </a:cubicBezTo>
                <a:cubicBezTo>
                  <a:pt x="2310210" y="1941090"/>
                  <a:pt x="2161381" y="1964506"/>
                  <a:pt x="2133600" y="1977999"/>
                </a:cubicBezTo>
                <a:cubicBezTo>
                  <a:pt x="2168525" y="2001017"/>
                  <a:pt x="2285999" y="2098650"/>
                  <a:pt x="2219325" y="2263750"/>
                </a:cubicBezTo>
                <a:cubicBezTo>
                  <a:pt x="2152651" y="2428850"/>
                  <a:pt x="1981199" y="2403449"/>
                  <a:pt x="1952625" y="2406624"/>
                </a:cubicBezTo>
                <a:cubicBezTo>
                  <a:pt x="1981994" y="2441549"/>
                  <a:pt x="2048669" y="2474887"/>
                  <a:pt x="2026444" y="2575694"/>
                </a:cubicBezTo>
                <a:cubicBezTo>
                  <a:pt x="2004219" y="2676501"/>
                  <a:pt x="1913731" y="2737619"/>
                  <a:pt x="1819275" y="2768575"/>
                </a:cubicBezTo>
                <a:cubicBezTo>
                  <a:pt x="1520825" y="2763812"/>
                  <a:pt x="1030288" y="2766987"/>
                  <a:pt x="923925" y="2754287"/>
                </a:cubicBezTo>
                <a:cubicBezTo>
                  <a:pt x="817562" y="2741587"/>
                  <a:pt x="556419" y="2614587"/>
                  <a:pt x="476250" y="2601887"/>
                </a:cubicBezTo>
                <a:cubicBezTo>
                  <a:pt x="396081" y="2589187"/>
                  <a:pt x="158750" y="2586012"/>
                  <a:pt x="0" y="2578074"/>
                </a:cubicBezTo>
                <a:close/>
              </a:path>
            </a:pathLst>
          </a:custGeom>
          <a:noFill/>
          <a:ln w="12700" cap="rnd">
            <a:solidFill>
              <a:schemeClr val="accent6">
                <a:lumMod val="50000"/>
              </a:schemeClr>
            </a:solidFill>
            <a:rou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63" name="Oval 362">
            <a:extLst>
              <a:ext uri="{FF2B5EF4-FFF2-40B4-BE49-F238E27FC236}">
                <a16:creationId xmlns:a16="http://schemas.microsoft.com/office/drawing/2014/main" id="{2D30AE1B-6D28-3ADC-1F5A-2CE04558EDE1}"/>
              </a:ext>
            </a:extLst>
          </p:cNvPr>
          <p:cNvSpPr/>
          <p:nvPr/>
        </p:nvSpPr>
        <p:spPr>
          <a:xfrm>
            <a:off x="5558778" y="5135137"/>
            <a:ext cx="87560" cy="96218"/>
          </a:xfrm>
          <a:prstGeom prst="ellipse">
            <a:avLst/>
          </a:prstGeom>
          <a:noFill/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64" name="Oval 363">
            <a:extLst>
              <a:ext uri="{FF2B5EF4-FFF2-40B4-BE49-F238E27FC236}">
                <a16:creationId xmlns:a16="http://schemas.microsoft.com/office/drawing/2014/main" id="{073D705D-5B5A-BDFA-54B1-87B09CFC62C6}"/>
              </a:ext>
            </a:extLst>
          </p:cNvPr>
          <p:cNvSpPr/>
          <p:nvPr/>
        </p:nvSpPr>
        <p:spPr>
          <a:xfrm>
            <a:off x="5762256" y="5135137"/>
            <a:ext cx="87560" cy="96218"/>
          </a:xfrm>
          <a:prstGeom prst="ellipse">
            <a:avLst/>
          </a:prstGeom>
          <a:noFill/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65" name="Oval 364">
            <a:extLst>
              <a:ext uri="{FF2B5EF4-FFF2-40B4-BE49-F238E27FC236}">
                <a16:creationId xmlns:a16="http://schemas.microsoft.com/office/drawing/2014/main" id="{FEABAF4D-EECF-8D60-1C87-E9C146866CA0}"/>
              </a:ext>
            </a:extLst>
          </p:cNvPr>
          <p:cNvSpPr/>
          <p:nvPr/>
        </p:nvSpPr>
        <p:spPr>
          <a:xfrm>
            <a:off x="5555957" y="5421140"/>
            <a:ext cx="87560" cy="96218"/>
          </a:xfrm>
          <a:prstGeom prst="ellipse">
            <a:avLst/>
          </a:prstGeom>
          <a:noFill/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66" name="Straight Arrow Connector 365">
            <a:extLst>
              <a:ext uri="{FF2B5EF4-FFF2-40B4-BE49-F238E27FC236}">
                <a16:creationId xmlns:a16="http://schemas.microsoft.com/office/drawing/2014/main" id="{AD9D5AA9-9CFA-61FC-254B-F68F0A429ED1}"/>
              </a:ext>
            </a:extLst>
          </p:cNvPr>
          <p:cNvCxnSpPr>
            <a:stCxn id="365" idx="0"/>
            <a:endCxn id="363" idx="4"/>
          </p:cNvCxnSpPr>
          <p:nvPr/>
        </p:nvCxnSpPr>
        <p:spPr>
          <a:xfrm flipV="1">
            <a:off x="5599737" y="5231355"/>
            <a:ext cx="2821" cy="189785"/>
          </a:xfrm>
          <a:prstGeom prst="straightConnector1">
            <a:avLst/>
          </a:prstGeom>
          <a:noFill/>
          <a:ln w="12700">
            <a:solidFill>
              <a:schemeClr val="accent6">
                <a:lumMod val="50000"/>
              </a:schemeClr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7" name="Straight Connector 366">
            <a:extLst>
              <a:ext uri="{FF2B5EF4-FFF2-40B4-BE49-F238E27FC236}">
                <a16:creationId xmlns:a16="http://schemas.microsoft.com/office/drawing/2014/main" id="{3B9A5BB3-C8DA-833D-36B1-888B194B1450}"/>
              </a:ext>
            </a:extLst>
          </p:cNvPr>
          <p:cNvCxnSpPr>
            <a:cxnSpLocks/>
          </p:cNvCxnSpPr>
          <p:nvPr/>
        </p:nvCxnSpPr>
        <p:spPr>
          <a:xfrm flipH="1">
            <a:off x="5803987" y="5212417"/>
            <a:ext cx="3861" cy="16972"/>
          </a:xfrm>
          <a:prstGeom prst="line">
            <a:avLst/>
          </a:prstGeom>
          <a:noFill/>
          <a:ln>
            <a:solidFill>
              <a:schemeClr val="accent6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8" name="Connector: Curved 367">
            <a:extLst>
              <a:ext uri="{FF2B5EF4-FFF2-40B4-BE49-F238E27FC236}">
                <a16:creationId xmlns:a16="http://schemas.microsoft.com/office/drawing/2014/main" id="{FC4C2387-3D76-2C0F-0498-0960E7F43952}"/>
              </a:ext>
            </a:extLst>
          </p:cNvPr>
          <p:cNvCxnSpPr>
            <a:cxnSpLocks/>
            <a:stCxn id="365" idx="0"/>
            <a:endCxn id="364" idx="4"/>
          </p:cNvCxnSpPr>
          <p:nvPr/>
        </p:nvCxnSpPr>
        <p:spPr>
          <a:xfrm rot="5400000" flipH="1" flipV="1">
            <a:off x="5607994" y="5223099"/>
            <a:ext cx="189785" cy="206299"/>
          </a:xfrm>
          <a:prstGeom prst="curvedConnector3">
            <a:avLst/>
          </a:prstGeom>
          <a:noFill/>
          <a:ln w="12700">
            <a:solidFill>
              <a:schemeClr val="accent6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9" name="Straight Connector 368">
            <a:extLst>
              <a:ext uri="{FF2B5EF4-FFF2-40B4-BE49-F238E27FC236}">
                <a16:creationId xmlns:a16="http://schemas.microsoft.com/office/drawing/2014/main" id="{6E576963-EBCE-6712-5571-FFDCBD26CCDF}"/>
              </a:ext>
            </a:extLst>
          </p:cNvPr>
          <p:cNvCxnSpPr>
            <a:cxnSpLocks/>
          </p:cNvCxnSpPr>
          <p:nvPr/>
        </p:nvCxnSpPr>
        <p:spPr>
          <a:xfrm rot="1080000">
            <a:off x="5798314" y="5231355"/>
            <a:ext cx="43780" cy="48109"/>
          </a:xfrm>
          <a:prstGeom prst="line">
            <a:avLst/>
          </a:prstGeom>
          <a:noFill/>
          <a:ln w="19050">
            <a:solidFill>
              <a:schemeClr val="accent6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0" name="Straight Connector 369">
            <a:extLst>
              <a:ext uri="{FF2B5EF4-FFF2-40B4-BE49-F238E27FC236}">
                <a16:creationId xmlns:a16="http://schemas.microsoft.com/office/drawing/2014/main" id="{120A61F7-D613-3C4A-D843-AABBF1DB9ADD}"/>
              </a:ext>
            </a:extLst>
          </p:cNvPr>
          <p:cNvCxnSpPr>
            <a:cxnSpLocks/>
          </p:cNvCxnSpPr>
          <p:nvPr/>
        </p:nvCxnSpPr>
        <p:spPr>
          <a:xfrm flipH="1">
            <a:off x="5754100" y="5220856"/>
            <a:ext cx="64713" cy="48109"/>
          </a:xfrm>
          <a:prstGeom prst="line">
            <a:avLst/>
          </a:prstGeom>
          <a:noFill/>
          <a:ln w="19050">
            <a:solidFill>
              <a:schemeClr val="accent6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6" name="Straight Connector 385">
            <a:extLst>
              <a:ext uri="{FF2B5EF4-FFF2-40B4-BE49-F238E27FC236}">
                <a16:creationId xmlns:a16="http://schemas.microsoft.com/office/drawing/2014/main" id="{0E703DB8-501E-588C-B00D-DFABDF61AF22}"/>
              </a:ext>
            </a:extLst>
          </p:cNvPr>
          <p:cNvCxnSpPr>
            <a:cxnSpLocks/>
          </p:cNvCxnSpPr>
          <p:nvPr/>
        </p:nvCxnSpPr>
        <p:spPr bwMode="auto">
          <a:xfrm flipV="1">
            <a:off x="6668708" y="3964116"/>
            <a:ext cx="0" cy="109680"/>
          </a:xfrm>
          <a:prstGeom prst="line">
            <a:avLst/>
          </a:prstGeom>
          <a:noFill/>
          <a:ln w="12700" cap="rnd" cmpd="sng" algn="ctr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7" name="Straight Connector 386">
            <a:extLst>
              <a:ext uri="{FF2B5EF4-FFF2-40B4-BE49-F238E27FC236}">
                <a16:creationId xmlns:a16="http://schemas.microsoft.com/office/drawing/2014/main" id="{A6DD55B9-10D7-E96F-3E7D-B94AD9CF9153}"/>
              </a:ext>
            </a:extLst>
          </p:cNvPr>
          <p:cNvCxnSpPr>
            <a:cxnSpLocks/>
          </p:cNvCxnSpPr>
          <p:nvPr/>
        </p:nvCxnSpPr>
        <p:spPr bwMode="auto">
          <a:xfrm flipV="1">
            <a:off x="6451986" y="3964116"/>
            <a:ext cx="0" cy="109680"/>
          </a:xfrm>
          <a:prstGeom prst="line">
            <a:avLst/>
          </a:prstGeom>
          <a:noFill/>
          <a:ln w="12700" cap="rnd" cmpd="sng" algn="ctr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3" name="Straight Connector 372">
            <a:extLst>
              <a:ext uri="{FF2B5EF4-FFF2-40B4-BE49-F238E27FC236}">
                <a16:creationId xmlns:a16="http://schemas.microsoft.com/office/drawing/2014/main" id="{9DE2ECCD-C2B4-62BE-4816-53643BAD8CD7}"/>
              </a:ext>
            </a:extLst>
          </p:cNvPr>
          <p:cNvCxnSpPr>
            <a:cxnSpLocks/>
          </p:cNvCxnSpPr>
          <p:nvPr/>
        </p:nvCxnSpPr>
        <p:spPr bwMode="auto">
          <a:xfrm>
            <a:off x="6451986" y="4010591"/>
            <a:ext cx="216722" cy="0"/>
          </a:xfrm>
          <a:prstGeom prst="line">
            <a:avLst/>
          </a:prstGeom>
          <a:noFill/>
          <a:ln w="12700" cap="rnd" cmpd="sng" algn="ctr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2" name="Rectangle 381">
            <a:extLst>
              <a:ext uri="{FF2B5EF4-FFF2-40B4-BE49-F238E27FC236}">
                <a16:creationId xmlns:a16="http://schemas.microsoft.com/office/drawing/2014/main" id="{A6445013-BE83-E729-EAA6-114DCCC37B80}"/>
              </a:ext>
            </a:extLst>
          </p:cNvPr>
          <p:cNvSpPr>
            <a:spLocks/>
          </p:cNvSpPr>
          <p:nvPr/>
        </p:nvSpPr>
        <p:spPr bwMode="auto">
          <a:xfrm>
            <a:off x="6374271" y="3837295"/>
            <a:ext cx="372153" cy="120058"/>
          </a:xfrm>
          <a:prstGeom prst="rect">
            <a:avLst/>
          </a:prstGeom>
          <a:noFill/>
          <a:ln w="12700" cap="rnd" cmpd="sng" algn="ctr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83" name="Parallelogram 382">
            <a:extLst>
              <a:ext uri="{FF2B5EF4-FFF2-40B4-BE49-F238E27FC236}">
                <a16:creationId xmlns:a16="http://schemas.microsoft.com/office/drawing/2014/main" id="{C2B54A0E-5D8B-206E-F755-20238924F025}"/>
              </a:ext>
            </a:extLst>
          </p:cNvPr>
          <p:cNvSpPr/>
          <p:nvPr/>
        </p:nvSpPr>
        <p:spPr bwMode="auto">
          <a:xfrm>
            <a:off x="6374271" y="3837295"/>
            <a:ext cx="138704" cy="120058"/>
          </a:xfrm>
          <a:prstGeom prst="parallelogram">
            <a:avLst>
              <a:gd name="adj" fmla="val 71003"/>
            </a:avLst>
          </a:prstGeom>
          <a:solidFill>
            <a:srgbClr val="EEF2F4"/>
          </a:solidFill>
          <a:ln w="12700" cap="rnd" cmpd="sng" algn="ctr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84" name="Parallelogram 383">
            <a:extLst>
              <a:ext uri="{FF2B5EF4-FFF2-40B4-BE49-F238E27FC236}">
                <a16:creationId xmlns:a16="http://schemas.microsoft.com/office/drawing/2014/main" id="{2B695448-7BDE-1D9D-32FC-D5746818C1D2}"/>
              </a:ext>
            </a:extLst>
          </p:cNvPr>
          <p:cNvSpPr/>
          <p:nvPr/>
        </p:nvSpPr>
        <p:spPr bwMode="auto">
          <a:xfrm>
            <a:off x="6490996" y="3837295"/>
            <a:ext cx="138704" cy="120058"/>
          </a:xfrm>
          <a:prstGeom prst="parallelogram">
            <a:avLst>
              <a:gd name="adj" fmla="val 71003"/>
            </a:avLst>
          </a:prstGeom>
          <a:solidFill>
            <a:srgbClr val="EEF2F4"/>
          </a:solidFill>
          <a:ln w="12700" cap="rnd" cmpd="sng" algn="ctr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85" name="Parallelogram 384">
            <a:extLst>
              <a:ext uri="{FF2B5EF4-FFF2-40B4-BE49-F238E27FC236}">
                <a16:creationId xmlns:a16="http://schemas.microsoft.com/office/drawing/2014/main" id="{65CB3FD1-B34B-15D1-931E-1DC93C411780}"/>
              </a:ext>
            </a:extLst>
          </p:cNvPr>
          <p:cNvSpPr/>
          <p:nvPr/>
        </p:nvSpPr>
        <p:spPr bwMode="auto">
          <a:xfrm>
            <a:off x="6607720" y="3837295"/>
            <a:ext cx="138704" cy="120058"/>
          </a:xfrm>
          <a:prstGeom prst="parallelogram">
            <a:avLst>
              <a:gd name="adj" fmla="val 71003"/>
            </a:avLst>
          </a:prstGeom>
          <a:solidFill>
            <a:srgbClr val="EEF2F4"/>
          </a:solidFill>
          <a:ln w="12700" cap="rnd" cmpd="sng" algn="ctr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75" name="Ellipse 148">
            <a:extLst>
              <a:ext uri="{FF2B5EF4-FFF2-40B4-BE49-F238E27FC236}">
                <a16:creationId xmlns:a16="http://schemas.microsoft.com/office/drawing/2014/main" id="{DF938D66-F7D7-32FE-4662-AA60E8AABF20}"/>
              </a:ext>
            </a:extLst>
          </p:cNvPr>
          <p:cNvSpPr/>
          <p:nvPr/>
        </p:nvSpPr>
        <p:spPr bwMode="auto">
          <a:xfrm rot="10800000">
            <a:off x="6652641" y="3784395"/>
            <a:ext cx="32137" cy="32136"/>
          </a:xfrm>
          <a:prstGeom prst="ellipse">
            <a:avLst/>
          </a:prstGeom>
          <a:noFill/>
          <a:ln w="12700" cap="rnd" cmpd="sng" algn="ctr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5pPr>
            <a:lvl6pPr marL="2286000" algn="l" defTabSz="457200" rtl="0" eaLnBrk="1" latinLnBrk="0" hangingPunct="1"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6pPr>
            <a:lvl7pPr marL="2743200" algn="l" defTabSz="457200" rtl="0" eaLnBrk="1" latinLnBrk="0" hangingPunct="1"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7pPr>
            <a:lvl8pPr marL="3200400" algn="l" defTabSz="457200" rtl="0" eaLnBrk="1" latinLnBrk="0" hangingPunct="1"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8pPr>
            <a:lvl9pPr marL="3657600" algn="l" defTabSz="457200" rtl="0" eaLnBrk="1" latinLnBrk="0" hangingPunct="1"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1" i="0" u="none" strike="noStrike" kern="1200" cap="none" spc="0" normalizeH="0" baseline="0" noProof="0">
              <a:ln>
                <a:noFill/>
              </a:ln>
              <a:solidFill>
                <a:srgbClr val="EC8A00"/>
              </a:solidFill>
              <a:effectLst/>
              <a:uLnTx/>
              <a:uFillTx/>
              <a:latin typeface="Aptos" panose="02110004020202020204"/>
              <a:ea typeface="ＭＳ Ｐゴシック" charset="0"/>
            </a:endParaRPr>
          </a:p>
        </p:txBody>
      </p:sp>
      <p:sp>
        <p:nvSpPr>
          <p:cNvPr id="376" name="Ellipse 148">
            <a:extLst>
              <a:ext uri="{FF2B5EF4-FFF2-40B4-BE49-F238E27FC236}">
                <a16:creationId xmlns:a16="http://schemas.microsoft.com/office/drawing/2014/main" id="{1966F8C6-021C-EED5-835F-9B2E1FA1F10B}"/>
              </a:ext>
            </a:extLst>
          </p:cNvPr>
          <p:cNvSpPr/>
          <p:nvPr/>
        </p:nvSpPr>
        <p:spPr bwMode="auto">
          <a:xfrm rot="10800000">
            <a:off x="6435917" y="3784395"/>
            <a:ext cx="32137" cy="32136"/>
          </a:xfrm>
          <a:prstGeom prst="ellipse">
            <a:avLst/>
          </a:prstGeom>
          <a:noFill/>
          <a:ln w="12700" cap="rnd" cmpd="sng" algn="ctr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5pPr>
            <a:lvl6pPr marL="2286000" algn="l" defTabSz="457200" rtl="0" eaLnBrk="1" latinLnBrk="0" hangingPunct="1"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6pPr>
            <a:lvl7pPr marL="2743200" algn="l" defTabSz="457200" rtl="0" eaLnBrk="1" latinLnBrk="0" hangingPunct="1"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7pPr>
            <a:lvl8pPr marL="3200400" algn="l" defTabSz="457200" rtl="0" eaLnBrk="1" latinLnBrk="0" hangingPunct="1"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8pPr>
            <a:lvl9pPr marL="3657600" algn="l" defTabSz="457200" rtl="0" eaLnBrk="1" latinLnBrk="0" hangingPunct="1"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1" i="0" u="none" strike="noStrike" kern="1200" cap="none" spc="0" normalizeH="0" baseline="0" noProof="0">
              <a:ln>
                <a:noFill/>
              </a:ln>
              <a:solidFill>
                <a:srgbClr val="EC8A00"/>
              </a:solidFill>
              <a:effectLst/>
              <a:uLnTx/>
              <a:uFillTx/>
              <a:latin typeface="Aptos" panose="02110004020202020204"/>
              <a:ea typeface="ＭＳ Ｐゴシック" charset="0"/>
            </a:endParaRPr>
          </a:p>
        </p:txBody>
      </p:sp>
      <p:cxnSp>
        <p:nvCxnSpPr>
          <p:cNvPr id="377" name="Straight Connector 376">
            <a:extLst>
              <a:ext uri="{FF2B5EF4-FFF2-40B4-BE49-F238E27FC236}">
                <a16:creationId xmlns:a16="http://schemas.microsoft.com/office/drawing/2014/main" id="{5502DFD4-D45C-8916-FE4E-907E324EBEF6}"/>
              </a:ext>
            </a:extLst>
          </p:cNvPr>
          <p:cNvCxnSpPr>
            <a:cxnSpLocks/>
          </p:cNvCxnSpPr>
          <p:nvPr/>
        </p:nvCxnSpPr>
        <p:spPr bwMode="auto">
          <a:xfrm>
            <a:off x="6435917" y="4073796"/>
            <a:ext cx="32137" cy="0"/>
          </a:xfrm>
          <a:prstGeom prst="line">
            <a:avLst/>
          </a:prstGeom>
          <a:noFill/>
          <a:ln w="12700" cap="rnd" cmpd="sng" algn="ctr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8" name="Straight Connector 377">
            <a:extLst>
              <a:ext uri="{FF2B5EF4-FFF2-40B4-BE49-F238E27FC236}">
                <a16:creationId xmlns:a16="http://schemas.microsoft.com/office/drawing/2014/main" id="{4E2C61CD-AC3A-74BA-B161-03F957833759}"/>
              </a:ext>
            </a:extLst>
          </p:cNvPr>
          <p:cNvCxnSpPr>
            <a:cxnSpLocks/>
          </p:cNvCxnSpPr>
          <p:nvPr/>
        </p:nvCxnSpPr>
        <p:spPr bwMode="auto">
          <a:xfrm>
            <a:off x="6652640" y="4073796"/>
            <a:ext cx="32137" cy="0"/>
          </a:xfrm>
          <a:prstGeom prst="line">
            <a:avLst/>
          </a:prstGeom>
          <a:noFill/>
          <a:ln w="12700" cap="rnd" cmpd="sng" algn="ctr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0" name="Straight Connector 379">
            <a:extLst>
              <a:ext uri="{FF2B5EF4-FFF2-40B4-BE49-F238E27FC236}">
                <a16:creationId xmlns:a16="http://schemas.microsoft.com/office/drawing/2014/main" id="{4B536211-0C09-670F-63EC-00684CF1C451}"/>
              </a:ext>
            </a:extLst>
          </p:cNvPr>
          <p:cNvCxnSpPr>
            <a:cxnSpLocks/>
          </p:cNvCxnSpPr>
          <p:nvPr/>
        </p:nvCxnSpPr>
        <p:spPr bwMode="auto">
          <a:xfrm flipV="1">
            <a:off x="6668708" y="3819610"/>
            <a:ext cx="0" cy="14232"/>
          </a:xfrm>
          <a:prstGeom prst="line">
            <a:avLst/>
          </a:prstGeom>
          <a:noFill/>
          <a:ln w="12700" cap="rnd" cmpd="sng" algn="ctr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1" name="Straight Connector 380">
            <a:extLst>
              <a:ext uri="{FF2B5EF4-FFF2-40B4-BE49-F238E27FC236}">
                <a16:creationId xmlns:a16="http://schemas.microsoft.com/office/drawing/2014/main" id="{D57D6BAF-0AA2-B58C-96B1-567DE85F00DE}"/>
              </a:ext>
            </a:extLst>
          </p:cNvPr>
          <p:cNvCxnSpPr>
            <a:cxnSpLocks/>
          </p:cNvCxnSpPr>
          <p:nvPr/>
        </p:nvCxnSpPr>
        <p:spPr bwMode="auto">
          <a:xfrm flipV="1">
            <a:off x="6451986" y="3819610"/>
            <a:ext cx="0" cy="14232"/>
          </a:xfrm>
          <a:prstGeom prst="line">
            <a:avLst/>
          </a:prstGeom>
          <a:noFill/>
          <a:ln w="12700" cap="rnd" cmpd="sng" algn="ctr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9" name="Oval 388">
            <a:extLst>
              <a:ext uri="{FF2B5EF4-FFF2-40B4-BE49-F238E27FC236}">
                <a16:creationId xmlns:a16="http://schemas.microsoft.com/office/drawing/2014/main" id="{07C3E6B1-6BBD-5A08-4BAC-5FDBE0302EEA}"/>
              </a:ext>
            </a:extLst>
          </p:cNvPr>
          <p:cNvSpPr/>
          <p:nvPr/>
        </p:nvSpPr>
        <p:spPr bwMode="auto">
          <a:xfrm>
            <a:off x="6776639" y="4496871"/>
            <a:ext cx="347276" cy="347274"/>
          </a:xfrm>
          <a:prstGeom prst="ellipse">
            <a:avLst/>
          </a:prstGeom>
          <a:noFill/>
          <a:ln w="12700" cap="flat" cmpd="sng" algn="ctr">
            <a:solidFill>
              <a:srgbClr val="4C677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90" name="Freeform: Shape 323">
            <a:extLst>
              <a:ext uri="{FF2B5EF4-FFF2-40B4-BE49-F238E27FC236}">
                <a16:creationId xmlns:a16="http://schemas.microsoft.com/office/drawing/2014/main" id="{DE8BACA5-CF3B-8C9D-397F-03F8D471246A}"/>
              </a:ext>
            </a:extLst>
          </p:cNvPr>
          <p:cNvSpPr/>
          <p:nvPr/>
        </p:nvSpPr>
        <p:spPr>
          <a:xfrm rot="5400000">
            <a:off x="6857580" y="4577809"/>
            <a:ext cx="185396" cy="185397"/>
          </a:xfrm>
          <a:custGeom>
            <a:avLst/>
            <a:gdLst>
              <a:gd name="connsiteX0" fmla="*/ 0 w 1422363"/>
              <a:gd name="connsiteY0" fmla="*/ 941578 h 1422365"/>
              <a:gd name="connsiteX1" fmla="*/ 0 w 1422363"/>
              <a:gd name="connsiteY1" fmla="*/ 480787 h 1422365"/>
              <a:gd name="connsiteX2" fmla="*/ 480786 w 1422363"/>
              <a:gd name="connsiteY2" fmla="*/ 480787 h 1422365"/>
              <a:gd name="connsiteX3" fmla="*/ 480786 w 1422363"/>
              <a:gd name="connsiteY3" fmla="*/ 0 h 1422365"/>
              <a:gd name="connsiteX4" fmla="*/ 941576 w 1422363"/>
              <a:gd name="connsiteY4" fmla="*/ 0 h 1422365"/>
              <a:gd name="connsiteX5" fmla="*/ 941576 w 1422363"/>
              <a:gd name="connsiteY5" fmla="*/ 480787 h 1422365"/>
              <a:gd name="connsiteX6" fmla="*/ 1422363 w 1422363"/>
              <a:gd name="connsiteY6" fmla="*/ 480787 h 1422365"/>
              <a:gd name="connsiteX7" fmla="*/ 1422363 w 1422363"/>
              <a:gd name="connsiteY7" fmla="*/ 941578 h 1422365"/>
              <a:gd name="connsiteX8" fmla="*/ 941576 w 1422363"/>
              <a:gd name="connsiteY8" fmla="*/ 941578 h 1422365"/>
              <a:gd name="connsiteX9" fmla="*/ 941576 w 1422363"/>
              <a:gd name="connsiteY9" fmla="*/ 1422365 h 1422365"/>
              <a:gd name="connsiteX10" fmla="*/ 480786 w 1422363"/>
              <a:gd name="connsiteY10" fmla="*/ 1422365 h 1422365"/>
              <a:gd name="connsiteX11" fmla="*/ 480786 w 1422363"/>
              <a:gd name="connsiteY11" fmla="*/ 941578 h 1422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422363" h="1422365">
                <a:moveTo>
                  <a:pt x="0" y="941578"/>
                </a:moveTo>
                <a:lnTo>
                  <a:pt x="0" y="480787"/>
                </a:lnTo>
                <a:lnTo>
                  <a:pt x="480786" y="480787"/>
                </a:lnTo>
                <a:lnTo>
                  <a:pt x="480786" y="0"/>
                </a:lnTo>
                <a:lnTo>
                  <a:pt x="941576" y="0"/>
                </a:lnTo>
                <a:lnTo>
                  <a:pt x="941576" y="480787"/>
                </a:lnTo>
                <a:lnTo>
                  <a:pt x="1422363" y="480787"/>
                </a:lnTo>
                <a:lnTo>
                  <a:pt x="1422363" y="941578"/>
                </a:lnTo>
                <a:lnTo>
                  <a:pt x="941576" y="941578"/>
                </a:lnTo>
                <a:lnTo>
                  <a:pt x="941576" y="1422365"/>
                </a:lnTo>
                <a:lnTo>
                  <a:pt x="480786" y="1422365"/>
                </a:lnTo>
                <a:lnTo>
                  <a:pt x="480786" y="941578"/>
                </a:lnTo>
                <a:close/>
              </a:path>
            </a:pathLst>
          </a:custGeom>
          <a:noFill/>
          <a:ln w="12700">
            <a:solidFill>
              <a:srgbClr val="4C6773"/>
            </a:solidFill>
          </a:ln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94" name="Freeform: Shape 308">
            <a:extLst>
              <a:ext uri="{FF2B5EF4-FFF2-40B4-BE49-F238E27FC236}">
                <a16:creationId xmlns:a16="http://schemas.microsoft.com/office/drawing/2014/main" id="{D5676D1B-7317-438B-CA99-8837E57B8006}"/>
              </a:ext>
            </a:extLst>
          </p:cNvPr>
          <p:cNvSpPr/>
          <p:nvPr/>
        </p:nvSpPr>
        <p:spPr>
          <a:xfrm>
            <a:off x="6421800" y="5246350"/>
            <a:ext cx="275904" cy="331220"/>
          </a:xfrm>
          <a:custGeom>
            <a:avLst/>
            <a:gdLst>
              <a:gd name="connsiteX0" fmla="*/ 150297 w 609600"/>
              <a:gd name="connsiteY0" fmla="*/ 0 h 573168"/>
              <a:gd name="connsiteX1" fmla="*/ 215684 w 609600"/>
              <a:gd name="connsiteY1" fmla="*/ 0 h 573168"/>
              <a:gd name="connsiteX2" fmla="*/ 221718 w 609600"/>
              <a:gd name="connsiteY2" fmla="*/ 29833 h 573168"/>
              <a:gd name="connsiteX3" fmla="*/ 304800 w 609600"/>
              <a:gd name="connsiteY3" fmla="*/ 84801 h 573168"/>
              <a:gd name="connsiteX4" fmla="*/ 387882 w 609600"/>
              <a:gd name="connsiteY4" fmla="*/ 29833 h 573168"/>
              <a:gd name="connsiteX5" fmla="*/ 393917 w 609600"/>
              <a:gd name="connsiteY5" fmla="*/ 0 h 573168"/>
              <a:gd name="connsiteX6" fmla="*/ 459303 w 609600"/>
              <a:gd name="connsiteY6" fmla="*/ 0 h 573168"/>
              <a:gd name="connsiteX7" fmla="*/ 488987 w 609600"/>
              <a:gd name="connsiteY7" fmla="*/ 29684 h 573168"/>
              <a:gd name="connsiteX8" fmla="*/ 488987 w 609600"/>
              <a:gd name="connsiteY8" fmla="*/ 147718 h 573168"/>
              <a:gd name="connsiteX9" fmla="*/ 570968 w 609600"/>
              <a:gd name="connsiteY9" fmla="*/ 147718 h 573168"/>
              <a:gd name="connsiteX10" fmla="*/ 609600 w 609600"/>
              <a:gd name="connsiteY10" fmla="*/ 186350 h 573168"/>
              <a:gd name="connsiteX11" fmla="*/ 609600 w 609600"/>
              <a:gd name="connsiteY11" fmla="*/ 573168 h 573168"/>
              <a:gd name="connsiteX12" fmla="*/ 0 w 609600"/>
              <a:gd name="connsiteY12" fmla="*/ 573168 h 573168"/>
              <a:gd name="connsiteX13" fmla="*/ 0 w 609600"/>
              <a:gd name="connsiteY13" fmla="*/ 186350 h 573168"/>
              <a:gd name="connsiteX14" fmla="*/ 38632 w 609600"/>
              <a:gd name="connsiteY14" fmla="*/ 147718 h 573168"/>
              <a:gd name="connsiteX15" fmla="*/ 120613 w 609600"/>
              <a:gd name="connsiteY15" fmla="*/ 147718 h 573168"/>
              <a:gd name="connsiteX16" fmla="*/ 120613 w 609600"/>
              <a:gd name="connsiteY16" fmla="*/ 29684 h 573168"/>
              <a:gd name="connsiteX17" fmla="*/ 150297 w 609600"/>
              <a:gd name="connsiteY17" fmla="*/ 0 h 573168"/>
              <a:gd name="connsiteX0" fmla="*/ 304800 w 609600"/>
              <a:gd name="connsiteY0" fmla="*/ 84801 h 573168"/>
              <a:gd name="connsiteX1" fmla="*/ 387882 w 609600"/>
              <a:gd name="connsiteY1" fmla="*/ 29833 h 573168"/>
              <a:gd name="connsiteX2" fmla="*/ 393917 w 609600"/>
              <a:gd name="connsiteY2" fmla="*/ 0 h 573168"/>
              <a:gd name="connsiteX3" fmla="*/ 459303 w 609600"/>
              <a:gd name="connsiteY3" fmla="*/ 0 h 573168"/>
              <a:gd name="connsiteX4" fmla="*/ 488987 w 609600"/>
              <a:gd name="connsiteY4" fmla="*/ 29684 h 573168"/>
              <a:gd name="connsiteX5" fmla="*/ 488987 w 609600"/>
              <a:gd name="connsiteY5" fmla="*/ 147718 h 573168"/>
              <a:gd name="connsiteX6" fmla="*/ 570968 w 609600"/>
              <a:gd name="connsiteY6" fmla="*/ 147718 h 573168"/>
              <a:gd name="connsiteX7" fmla="*/ 609600 w 609600"/>
              <a:gd name="connsiteY7" fmla="*/ 186350 h 573168"/>
              <a:gd name="connsiteX8" fmla="*/ 609600 w 609600"/>
              <a:gd name="connsiteY8" fmla="*/ 573168 h 573168"/>
              <a:gd name="connsiteX9" fmla="*/ 0 w 609600"/>
              <a:gd name="connsiteY9" fmla="*/ 573168 h 573168"/>
              <a:gd name="connsiteX10" fmla="*/ 0 w 609600"/>
              <a:gd name="connsiteY10" fmla="*/ 186350 h 573168"/>
              <a:gd name="connsiteX11" fmla="*/ 38632 w 609600"/>
              <a:gd name="connsiteY11" fmla="*/ 147718 h 573168"/>
              <a:gd name="connsiteX12" fmla="*/ 120613 w 609600"/>
              <a:gd name="connsiteY12" fmla="*/ 147718 h 573168"/>
              <a:gd name="connsiteX13" fmla="*/ 120613 w 609600"/>
              <a:gd name="connsiteY13" fmla="*/ 29684 h 573168"/>
              <a:gd name="connsiteX14" fmla="*/ 150297 w 609600"/>
              <a:gd name="connsiteY14" fmla="*/ 0 h 573168"/>
              <a:gd name="connsiteX15" fmla="*/ 215684 w 609600"/>
              <a:gd name="connsiteY15" fmla="*/ 0 h 573168"/>
              <a:gd name="connsiteX16" fmla="*/ 221718 w 609600"/>
              <a:gd name="connsiteY16" fmla="*/ 29833 h 573168"/>
              <a:gd name="connsiteX17" fmla="*/ 396240 w 609600"/>
              <a:gd name="connsiteY17" fmla="*/ 176241 h 573168"/>
              <a:gd name="connsiteX0" fmla="*/ 304800 w 609600"/>
              <a:gd name="connsiteY0" fmla="*/ 84801 h 573168"/>
              <a:gd name="connsiteX1" fmla="*/ 387882 w 609600"/>
              <a:gd name="connsiteY1" fmla="*/ 29833 h 573168"/>
              <a:gd name="connsiteX2" fmla="*/ 393917 w 609600"/>
              <a:gd name="connsiteY2" fmla="*/ 0 h 573168"/>
              <a:gd name="connsiteX3" fmla="*/ 459303 w 609600"/>
              <a:gd name="connsiteY3" fmla="*/ 0 h 573168"/>
              <a:gd name="connsiteX4" fmla="*/ 488987 w 609600"/>
              <a:gd name="connsiteY4" fmla="*/ 29684 h 573168"/>
              <a:gd name="connsiteX5" fmla="*/ 488987 w 609600"/>
              <a:gd name="connsiteY5" fmla="*/ 147718 h 573168"/>
              <a:gd name="connsiteX6" fmla="*/ 570968 w 609600"/>
              <a:gd name="connsiteY6" fmla="*/ 147718 h 573168"/>
              <a:gd name="connsiteX7" fmla="*/ 609600 w 609600"/>
              <a:gd name="connsiteY7" fmla="*/ 186350 h 573168"/>
              <a:gd name="connsiteX8" fmla="*/ 609600 w 609600"/>
              <a:gd name="connsiteY8" fmla="*/ 573168 h 573168"/>
              <a:gd name="connsiteX9" fmla="*/ 0 w 609600"/>
              <a:gd name="connsiteY9" fmla="*/ 573168 h 573168"/>
              <a:gd name="connsiteX10" fmla="*/ 0 w 609600"/>
              <a:gd name="connsiteY10" fmla="*/ 186350 h 573168"/>
              <a:gd name="connsiteX11" fmla="*/ 38632 w 609600"/>
              <a:gd name="connsiteY11" fmla="*/ 147718 h 573168"/>
              <a:gd name="connsiteX12" fmla="*/ 120613 w 609600"/>
              <a:gd name="connsiteY12" fmla="*/ 147718 h 573168"/>
              <a:gd name="connsiteX13" fmla="*/ 120613 w 609600"/>
              <a:gd name="connsiteY13" fmla="*/ 29684 h 573168"/>
              <a:gd name="connsiteX14" fmla="*/ 150297 w 609600"/>
              <a:gd name="connsiteY14" fmla="*/ 0 h 573168"/>
              <a:gd name="connsiteX15" fmla="*/ 215684 w 609600"/>
              <a:gd name="connsiteY15" fmla="*/ 0 h 573168"/>
              <a:gd name="connsiteX16" fmla="*/ 221718 w 609600"/>
              <a:gd name="connsiteY16" fmla="*/ 29833 h 573168"/>
              <a:gd name="connsiteX0" fmla="*/ 387882 w 609600"/>
              <a:gd name="connsiteY0" fmla="*/ 29833 h 573168"/>
              <a:gd name="connsiteX1" fmla="*/ 393917 w 609600"/>
              <a:gd name="connsiteY1" fmla="*/ 0 h 573168"/>
              <a:gd name="connsiteX2" fmla="*/ 459303 w 609600"/>
              <a:gd name="connsiteY2" fmla="*/ 0 h 573168"/>
              <a:gd name="connsiteX3" fmla="*/ 488987 w 609600"/>
              <a:gd name="connsiteY3" fmla="*/ 29684 h 573168"/>
              <a:gd name="connsiteX4" fmla="*/ 488987 w 609600"/>
              <a:gd name="connsiteY4" fmla="*/ 147718 h 573168"/>
              <a:gd name="connsiteX5" fmla="*/ 570968 w 609600"/>
              <a:gd name="connsiteY5" fmla="*/ 147718 h 573168"/>
              <a:gd name="connsiteX6" fmla="*/ 609600 w 609600"/>
              <a:gd name="connsiteY6" fmla="*/ 186350 h 573168"/>
              <a:gd name="connsiteX7" fmla="*/ 609600 w 609600"/>
              <a:gd name="connsiteY7" fmla="*/ 573168 h 573168"/>
              <a:gd name="connsiteX8" fmla="*/ 0 w 609600"/>
              <a:gd name="connsiteY8" fmla="*/ 573168 h 573168"/>
              <a:gd name="connsiteX9" fmla="*/ 0 w 609600"/>
              <a:gd name="connsiteY9" fmla="*/ 186350 h 573168"/>
              <a:gd name="connsiteX10" fmla="*/ 38632 w 609600"/>
              <a:gd name="connsiteY10" fmla="*/ 147718 h 573168"/>
              <a:gd name="connsiteX11" fmla="*/ 120613 w 609600"/>
              <a:gd name="connsiteY11" fmla="*/ 147718 h 573168"/>
              <a:gd name="connsiteX12" fmla="*/ 120613 w 609600"/>
              <a:gd name="connsiteY12" fmla="*/ 29684 h 573168"/>
              <a:gd name="connsiteX13" fmla="*/ 150297 w 609600"/>
              <a:gd name="connsiteY13" fmla="*/ 0 h 573168"/>
              <a:gd name="connsiteX14" fmla="*/ 215684 w 609600"/>
              <a:gd name="connsiteY14" fmla="*/ 0 h 573168"/>
              <a:gd name="connsiteX15" fmla="*/ 221718 w 609600"/>
              <a:gd name="connsiteY15" fmla="*/ 29833 h 573168"/>
              <a:gd name="connsiteX0" fmla="*/ 393917 w 609600"/>
              <a:gd name="connsiteY0" fmla="*/ 0 h 573168"/>
              <a:gd name="connsiteX1" fmla="*/ 459303 w 609600"/>
              <a:gd name="connsiteY1" fmla="*/ 0 h 573168"/>
              <a:gd name="connsiteX2" fmla="*/ 488987 w 609600"/>
              <a:gd name="connsiteY2" fmla="*/ 29684 h 573168"/>
              <a:gd name="connsiteX3" fmla="*/ 488987 w 609600"/>
              <a:gd name="connsiteY3" fmla="*/ 147718 h 573168"/>
              <a:gd name="connsiteX4" fmla="*/ 570968 w 609600"/>
              <a:gd name="connsiteY4" fmla="*/ 147718 h 573168"/>
              <a:gd name="connsiteX5" fmla="*/ 609600 w 609600"/>
              <a:gd name="connsiteY5" fmla="*/ 186350 h 573168"/>
              <a:gd name="connsiteX6" fmla="*/ 609600 w 609600"/>
              <a:gd name="connsiteY6" fmla="*/ 573168 h 573168"/>
              <a:gd name="connsiteX7" fmla="*/ 0 w 609600"/>
              <a:gd name="connsiteY7" fmla="*/ 573168 h 573168"/>
              <a:gd name="connsiteX8" fmla="*/ 0 w 609600"/>
              <a:gd name="connsiteY8" fmla="*/ 186350 h 573168"/>
              <a:gd name="connsiteX9" fmla="*/ 38632 w 609600"/>
              <a:gd name="connsiteY9" fmla="*/ 147718 h 573168"/>
              <a:gd name="connsiteX10" fmla="*/ 120613 w 609600"/>
              <a:gd name="connsiteY10" fmla="*/ 147718 h 573168"/>
              <a:gd name="connsiteX11" fmla="*/ 120613 w 609600"/>
              <a:gd name="connsiteY11" fmla="*/ 29684 h 573168"/>
              <a:gd name="connsiteX12" fmla="*/ 150297 w 609600"/>
              <a:gd name="connsiteY12" fmla="*/ 0 h 573168"/>
              <a:gd name="connsiteX13" fmla="*/ 215684 w 609600"/>
              <a:gd name="connsiteY13" fmla="*/ 0 h 573168"/>
              <a:gd name="connsiteX14" fmla="*/ 221718 w 609600"/>
              <a:gd name="connsiteY14" fmla="*/ 29833 h 573168"/>
              <a:gd name="connsiteX0" fmla="*/ 393917 w 609600"/>
              <a:gd name="connsiteY0" fmla="*/ 0 h 573168"/>
              <a:gd name="connsiteX1" fmla="*/ 459303 w 609600"/>
              <a:gd name="connsiteY1" fmla="*/ 0 h 573168"/>
              <a:gd name="connsiteX2" fmla="*/ 488987 w 609600"/>
              <a:gd name="connsiteY2" fmla="*/ 29684 h 573168"/>
              <a:gd name="connsiteX3" fmla="*/ 488987 w 609600"/>
              <a:gd name="connsiteY3" fmla="*/ 147718 h 573168"/>
              <a:gd name="connsiteX4" fmla="*/ 570968 w 609600"/>
              <a:gd name="connsiteY4" fmla="*/ 147718 h 573168"/>
              <a:gd name="connsiteX5" fmla="*/ 609600 w 609600"/>
              <a:gd name="connsiteY5" fmla="*/ 186350 h 573168"/>
              <a:gd name="connsiteX6" fmla="*/ 609600 w 609600"/>
              <a:gd name="connsiteY6" fmla="*/ 573168 h 573168"/>
              <a:gd name="connsiteX7" fmla="*/ 0 w 609600"/>
              <a:gd name="connsiteY7" fmla="*/ 573168 h 573168"/>
              <a:gd name="connsiteX8" fmla="*/ 0 w 609600"/>
              <a:gd name="connsiteY8" fmla="*/ 186350 h 573168"/>
              <a:gd name="connsiteX9" fmla="*/ 38632 w 609600"/>
              <a:gd name="connsiteY9" fmla="*/ 147718 h 573168"/>
              <a:gd name="connsiteX10" fmla="*/ 120613 w 609600"/>
              <a:gd name="connsiteY10" fmla="*/ 147718 h 573168"/>
              <a:gd name="connsiteX11" fmla="*/ 120613 w 609600"/>
              <a:gd name="connsiteY11" fmla="*/ 29684 h 573168"/>
              <a:gd name="connsiteX12" fmla="*/ 150297 w 609600"/>
              <a:gd name="connsiteY12" fmla="*/ 0 h 573168"/>
              <a:gd name="connsiteX13" fmla="*/ 215684 w 609600"/>
              <a:gd name="connsiteY13" fmla="*/ 0 h 573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609600" h="573168">
                <a:moveTo>
                  <a:pt x="393917" y="0"/>
                </a:moveTo>
                <a:lnTo>
                  <a:pt x="459303" y="0"/>
                </a:lnTo>
                <a:cubicBezTo>
                  <a:pt x="475697" y="0"/>
                  <a:pt x="488987" y="13290"/>
                  <a:pt x="488987" y="29684"/>
                </a:cubicBezTo>
                <a:lnTo>
                  <a:pt x="488987" y="147718"/>
                </a:lnTo>
                <a:lnTo>
                  <a:pt x="570968" y="147718"/>
                </a:lnTo>
                <a:cubicBezTo>
                  <a:pt x="592304" y="147718"/>
                  <a:pt x="609600" y="165014"/>
                  <a:pt x="609600" y="186350"/>
                </a:cubicBezTo>
                <a:lnTo>
                  <a:pt x="609600" y="573168"/>
                </a:lnTo>
                <a:lnTo>
                  <a:pt x="0" y="573168"/>
                </a:lnTo>
                <a:lnTo>
                  <a:pt x="0" y="186350"/>
                </a:lnTo>
                <a:cubicBezTo>
                  <a:pt x="0" y="165014"/>
                  <a:pt x="17296" y="147718"/>
                  <a:pt x="38632" y="147718"/>
                </a:cubicBezTo>
                <a:lnTo>
                  <a:pt x="120613" y="147718"/>
                </a:lnTo>
                <a:lnTo>
                  <a:pt x="120613" y="29684"/>
                </a:lnTo>
                <a:cubicBezTo>
                  <a:pt x="120613" y="13290"/>
                  <a:pt x="133903" y="0"/>
                  <a:pt x="150297" y="0"/>
                </a:cubicBezTo>
                <a:lnTo>
                  <a:pt x="215684" y="0"/>
                </a:lnTo>
              </a:path>
            </a:pathLst>
          </a:custGeom>
          <a:noFill/>
          <a:ln w="13970" cap="rnd" cmpd="sng" algn="ctr">
            <a:solidFill>
              <a:srgbClr val="4C677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95" name="Oval 394">
            <a:extLst>
              <a:ext uri="{FF2B5EF4-FFF2-40B4-BE49-F238E27FC236}">
                <a16:creationId xmlns:a16="http://schemas.microsoft.com/office/drawing/2014/main" id="{ACF8C0B3-5FB3-935E-1A46-317549C0E4E7}"/>
              </a:ext>
            </a:extLst>
          </p:cNvPr>
          <p:cNvSpPr/>
          <p:nvPr/>
        </p:nvSpPr>
        <p:spPr>
          <a:xfrm>
            <a:off x="6506587" y="5230296"/>
            <a:ext cx="106330" cy="106131"/>
          </a:xfrm>
          <a:prstGeom prst="ellipse">
            <a:avLst/>
          </a:prstGeom>
          <a:noFill/>
          <a:ln w="13970" cap="rnd" cmpd="sng" algn="ctr">
            <a:solidFill>
              <a:srgbClr val="4C677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3" name="Rectangle: Rounded Corners 402">
            <a:extLst>
              <a:ext uri="{FF2B5EF4-FFF2-40B4-BE49-F238E27FC236}">
                <a16:creationId xmlns:a16="http://schemas.microsoft.com/office/drawing/2014/main" id="{07E8D754-0B66-6902-A2D3-3E9A10710824}"/>
              </a:ext>
            </a:extLst>
          </p:cNvPr>
          <p:cNvSpPr/>
          <p:nvPr/>
        </p:nvSpPr>
        <p:spPr>
          <a:xfrm>
            <a:off x="6571751" y="5357504"/>
            <a:ext cx="41249" cy="50146"/>
          </a:xfrm>
          <a:prstGeom prst="roundRect">
            <a:avLst>
              <a:gd name="adj" fmla="val 10784"/>
            </a:avLst>
          </a:prstGeom>
          <a:noFill/>
          <a:ln w="13970" cap="rnd" cmpd="sng" algn="ctr">
            <a:solidFill>
              <a:srgbClr val="4C677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4" name="Rectangle: Rounded Corners 403">
            <a:extLst>
              <a:ext uri="{FF2B5EF4-FFF2-40B4-BE49-F238E27FC236}">
                <a16:creationId xmlns:a16="http://schemas.microsoft.com/office/drawing/2014/main" id="{3CD49A28-B960-007B-E687-1B3E13364F33}"/>
              </a:ext>
            </a:extLst>
          </p:cNvPr>
          <p:cNvSpPr/>
          <p:nvPr/>
        </p:nvSpPr>
        <p:spPr>
          <a:xfrm>
            <a:off x="6448418" y="5357504"/>
            <a:ext cx="34106" cy="50146"/>
          </a:xfrm>
          <a:prstGeom prst="roundRect">
            <a:avLst>
              <a:gd name="adj" fmla="val 10784"/>
            </a:avLst>
          </a:prstGeom>
          <a:noFill/>
          <a:ln w="13970" cap="rnd" cmpd="sng" algn="ctr">
            <a:solidFill>
              <a:srgbClr val="4C677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5" name="Rectangle: Rounded Corners 404">
            <a:extLst>
              <a:ext uri="{FF2B5EF4-FFF2-40B4-BE49-F238E27FC236}">
                <a16:creationId xmlns:a16="http://schemas.microsoft.com/office/drawing/2014/main" id="{F285F3AA-F488-94DA-F883-61AECCADE27A}"/>
              </a:ext>
            </a:extLst>
          </p:cNvPr>
          <p:cNvSpPr/>
          <p:nvPr/>
        </p:nvSpPr>
        <p:spPr>
          <a:xfrm>
            <a:off x="6506513" y="5357504"/>
            <a:ext cx="41249" cy="50146"/>
          </a:xfrm>
          <a:prstGeom prst="roundRect">
            <a:avLst>
              <a:gd name="adj" fmla="val 10784"/>
            </a:avLst>
          </a:prstGeom>
          <a:noFill/>
          <a:ln w="13970" cap="rnd" cmpd="sng" algn="ctr">
            <a:solidFill>
              <a:srgbClr val="4C677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6" name="Rectangle: Rounded Corners 405">
            <a:extLst>
              <a:ext uri="{FF2B5EF4-FFF2-40B4-BE49-F238E27FC236}">
                <a16:creationId xmlns:a16="http://schemas.microsoft.com/office/drawing/2014/main" id="{D8601B43-4CD6-D50D-1D44-45ED55AEA119}"/>
              </a:ext>
            </a:extLst>
          </p:cNvPr>
          <p:cNvSpPr/>
          <p:nvPr/>
        </p:nvSpPr>
        <p:spPr>
          <a:xfrm>
            <a:off x="6636989" y="5357504"/>
            <a:ext cx="34106" cy="50146"/>
          </a:xfrm>
          <a:prstGeom prst="roundRect">
            <a:avLst>
              <a:gd name="adj" fmla="val 10784"/>
            </a:avLst>
          </a:prstGeom>
          <a:noFill/>
          <a:ln w="13970" cap="rnd" cmpd="sng" algn="ctr">
            <a:solidFill>
              <a:srgbClr val="4C677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97" name="Freeform: Shape 311">
            <a:extLst>
              <a:ext uri="{FF2B5EF4-FFF2-40B4-BE49-F238E27FC236}">
                <a16:creationId xmlns:a16="http://schemas.microsoft.com/office/drawing/2014/main" id="{BBA42941-76FA-9A4D-3628-9B12B7C12BF4}"/>
              </a:ext>
            </a:extLst>
          </p:cNvPr>
          <p:cNvSpPr/>
          <p:nvPr/>
        </p:nvSpPr>
        <p:spPr>
          <a:xfrm>
            <a:off x="6510119" y="5511609"/>
            <a:ext cx="99266" cy="65122"/>
          </a:xfrm>
          <a:custGeom>
            <a:avLst/>
            <a:gdLst>
              <a:gd name="connsiteX0" fmla="*/ 12627 w 128386"/>
              <a:gd name="connsiteY0" fmla="*/ 0 h 84226"/>
              <a:gd name="connsiteX1" fmla="*/ 115760 w 128386"/>
              <a:gd name="connsiteY1" fmla="*/ 0 h 84226"/>
              <a:gd name="connsiteX2" fmla="*/ 128386 w 128386"/>
              <a:gd name="connsiteY2" fmla="*/ 12627 h 84226"/>
              <a:gd name="connsiteX3" fmla="*/ 128386 w 128386"/>
              <a:gd name="connsiteY3" fmla="*/ 84226 h 84226"/>
              <a:gd name="connsiteX4" fmla="*/ 0 w 128386"/>
              <a:gd name="connsiteY4" fmla="*/ 84226 h 84226"/>
              <a:gd name="connsiteX5" fmla="*/ 0 w 128386"/>
              <a:gd name="connsiteY5" fmla="*/ 12627 h 84226"/>
              <a:gd name="connsiteX6" fmla="*/ 12627 w 128386"/>
              <a:gd name="connsiteY6" fmla="*/ 0 h 84226"/>
              <a:gd name="connsiteX0" fmla="*/ 0 w 128386"/>
              <a:gd name="connsiteY0" fmla="*/ 84226 h 175666"/>
              <a:gd name="connsiteX1" fmla="*/ 0 w 128386"/>
              <a:gd name="connsiteY1" fmla="*/ 12627 h 175666"/>
              <a:gd name="connsiteX2" fmla="*/ 12627 w 128386"/>
              <a:gd name="connsiteY2" fmla="*/ 0 h 175666"/>
              <a:gd name="connsiteX3" fmla="*/ 115760 w 128386"/>
              <a:gd name="connsiteY3" fmla="*/ 0 h 175666"/>
              <a:gd name="connsiteX4" fmla="*/ 128386 w 128386"/>
              <a:gd name="connsiteY4" fmla="*/ 12627 h 175666"/>
              <a:gd name="connsiteX5" fmla="*/ 128386 w 128386"/>
              <a:gd name="connsiteY5" fmla="*/ 84226 h 175666"/>
              <a:gd name="connsiteX6" fmla="*/ 91440 w 128386"/>
              <a:gd name="connsiteY6" fmla="*/ 175666 h 175666"/>
              <a:gd name="connsiteX0" fmla="*/ 0 w 128386"/>
              <a:gd name="connsiteY0" fmla="*/ 84226 h 84226"/>
              <a:gd name="connsiteX1" fmla="*/ 0 w 128386"/>
              <a:gd name="connsiteY1" fmla="*/ 12627 h 84226"/>
              <a:gd name="connsiteX2" fmla="*/ 12627 w 128386"/>
              <a:gd name="connsiteY2" fmla="*/ 0 h 84226"/>
              <a:gd name="connsiteX3" fmla="*/ 115760 w 128386"/>
              <a:gd name="connsiteY3" fmla="*/ 0 h 84226"/>
              <a:gd name="connsiteX4" fmla="*/ 128386 w 128386"/>
              <a:gd name="connsiteY4" fmla="*/ 12627 h 84226"/>
              <a:gd name="connsiteX5" fmla="*/ 128386 w 128386"/>
              <a:gd name="connsiteY5" fmla="*/ 84226 h 842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8386" h="84226">
                <a:moveTo>
                  <a:pt x="0" y="84226"/>
                </a:moveTo>
                <a:lnTo>
                  <a:pt x="0" y="12627"/>
                </a:lnTo>
                <a:cubicBezTo>
                  <a:pt x="0" y="5653"/>
                  <a:pt x="5653" y="0"/>
                  <a:pt x="12627" y="0"/>
                </a:cubicBezTo>
                <a:lnTo>
                  <a:pt x="115760" y="0"/>
                </a:lnTo>
                <a:cubicBezTo>
                  <a:pt x="122733" y="0"/>
                  <a:pt x="128386" y="5653"/>
                  <a:pt x="128386" y="12627"/>
                </a:cubicBezTo>
                <a:lnTo>
                  <a:pt x="128386" y="84226"/>
                </a:lnTo>
              </a:path>
            </a:pathLst>
          </a:custGeom>
          <a:noFill/>
          <a:ln w="13970" cap="rnd" cmpd="sng" algn="ctr">
            <a:solidFill>
              <a:srgbClr val="4C677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99" name="Rectangle: Rounded Corners 398">
            <a:extLst>
              <a:ext uri="{FF2B5EF4-FFF2-40B4-BE49-F238E27FC236}">
                <a16:creationId xmlns:a16="http://schemas.microsoft.com/office/drawing/2014/main" id="{07AE4E59-B920-0BD7-4828-B2B9EE240FC0}"/>
              </a:ext>
            </a:extLst>
          </p:cNvPr>
          <p:cNvSpPr/>
          <p:nvPr/>
        </p:nvSpPr>
        <p:spPr>
          <a:xfrm>
            <a:off x="6571751" y="5433636"/>
            <a:ext cx="41249" cy="50146"/>
          </a:xfrm>
          <a:prstGeom prst="roundRect">
            <a:avLst>
              <a:gd name="adj" fmla="val 10784"/>
            </a:avLst>
          </a:prstGeom>
          <a:noFill/>
          <a:ln w="13970" cap="rnd" cmpd="sng" algn="ctr">
            <a:solidFill>
              <a:srgbClr val="4C677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0" name="Rectangle: Rounded Corners 399">
            <a:extLst>
              <a:ext uri="{FF2B5EF4-FFF2-40B4-BE49-F238E27FC236}">
                <a16:creationId xmlns:a16="http://schemas.microsoft.com/office/drawing/2014/main" id="{10B02083-F35B-CB4E-7991-251C2A76ABAE}"/>
              </a:ext>
            </a:extLst>
          </p:cNvPr>
          <p:cNvSpPr/>
          <p:nvPr/>
        </p:nvSpPr>
        <p:spPr>
          <a:xfrm>
            <a:off x="6448418" y="5433636"/>
            <a:ext cx="34106" cy="50146"/>
          </a:xfrm>
          <a:prstGeom prst="roundRect">
            <a:avLst>
              <a:gd name="adj" fmla="val 10784"/>
            </a:avLst>
          </a:prstGeom>
          <a:noFill/>
          <a:ln w="13970" cap="rnd" cmpd="sng" algn="ctr">
            <a:solidFill>
              <a:srgbClr val="4C677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1" name="Rectangle: Rounded Corners 400">
            <a:extLst>
              <a:ext uri="{FF2B5EF4-FFF2-40B4-BE49-F238E27FC236}">
                <a16:creationId xmlns:a16="http://schemas.microsoft.com/office/drawing/2014/main" id="{33887DCD-F229-20E5-B2D8-A3EC5874B3B5}"/>
              </a:ext>
            </a:extLst>
          </p:cNvPr>
          <p:cNvSpPr/>
          <p:nvPr/>
        </p:nvSpPr>
        <p:spPr>
          <a:xfrm>
            <a:off x="6506513" y="5433636"/>
            <a:ext cx="41249" cy="50146"/>
          </a:xfrm>
          <a:prstGeom prst="roundRect">
            <a:avLst>
              <a:gd name="adj" fmla="val 10784"/>
            </a:avLst>
          </a:prstGeom>
          <a:noFill/>
          <a:ln w="13970" cap="rnd" cmpd="sng" algn="ctr">
            <a:solidFill>
              <a:srgbClr val="4C677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2" name="Rectangle: Rounded Corners 401">
            <a:extLst>
              <a:ext uri="{FF2B5EF4-FFF2-40B4-BE49-F238E27FC236}">
                <a16:creationId xmlns:a16="http://schemas.microsoft.com/office/drawing/2014/main" id="{A77C39A4-DC24-DDC4-8EFA-409CAC53D46E}"/>
              </a:ext>
            </a:extLst>
          </p:cNvPr>
          <p:cNvSpPr/>
          <p:nvPr/>
        </p:nvSpPr>
        <p:spPr>
          <a:xfrm>
            <a:off x="6636989" y="5433636"/>
            <a:ext cx="34106" cy="50146"/>
          </a:xfrm>
          <a:prstGeom prst="roundRect">
            <a:avLst>
              <a:gd name="adj" fmla="val 10784"/>
            </a:avLst>
          </a:prstGeom>
          <a:noFill/>
          <a:ln w="13970" cap="rnd" cmpd="sng" algn="ctr">
            <a:solidFill>
              <a:srgbClr val="4C677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93" name="Freeform: Shape 307">
            <a:extLst>
              <a:ext uri="{FF2B5EF4-FFF2-40B4-BE49-F238E27FC236}">
                <a16:creationId xmlns:a16="http://schemas.microsoft.com/office/drawing/2014/main" id="{596FBFA1-3C42-6476-D51E-6AA4D0029F81}"/>
              </a:ext>
            </a:extLst>
          </p:cNvPr>
          <p:cNvSpPr/>
          <p:nvPr/>
        </p:nvSpPr>
        <p:spPr>
          <a:xfrm>
            <a:off x="6534462" y="5256507"/>
            <a:ext cx="50578" cy="53559"/>
          </a:xfrm>
          <a:custGeom>
            <a:avLst/>
            <a:gdLst/>
            <a:ahLst/>
            <a:cxnLst/>
            <a:rect l="l" t="t" r="r" b="b"/>
            <a:pathLst>
              <a:path w="75867" h="80339">
                <a:moveTo>
                  <a:pt x="27872" y="0"/>
                </a:moveTo>
                <a:lnTo>
                  <a:pt x="48142" y="0"/>
                </a:lnTo>
                <a:lnTo>
                  <a:pt x="48142" y="29550"/>
                </a:lnTo>
                <a:lnTo>
                  <a:pt x="75867" y="29550"/>
                </a:lnTo>
                <a:lnTo>
                  <a:pt x="75867" y="48748"/>
                </a:lnTo>
                <a:lnTo>
                  <a:pt x="48142" y="48748"/>
                </a:lnTo>
                <a:lnTo>
                  <a:pt x="48142" y="80339"/>
                </a:lnTo>
                <a:lnTo>
                  <a:pt x="27872" y="80339"/>
                </a:lnTo>
                <a:lnTo>
                  <a:pt x="27872" y="48748"/>
                </a:lnTo>
                <a:lnTo>
                  <a:pt x="0" y="48748"/>
                </a:lnTo>
                <a:lnTo>
                  <a:pt x="0" y="29550"/>
                </a:lnTo>
                <a:lnTo>
                  <a:pt x="27872" y="29550"/>
                </a:lnTo>
                <a:close/>
              </a:path>
            </a:pathLst>
          </a:custGeom>
          <a:solidFill>
            <a:schemeClr val="accent1"/>
          </a:solidFill>
          <a:ln w="13970">
            <a:solidFill>
              <a:srgbClr val="4C677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8C9C71A8-ECD0-8A5C-39D9-994175ABD548}"/>
              </a:ext>
            </a:extLst>
          </p:cNvPr>
          <p:cNvCxnSpPr>
            <a:cxnSpLocks/>
          </p:cNvCxnSpPr>
          <p:nvPr/>
        </p:nvCxnSpPr>
        <p:spPr>
          <a:xfrm>
            <a:off x="813996" y="3476733"/>
            <a:ext cx="10564009" cy="0"/>
          </a:xfrm>
          <a:prstGeom prst="line">
            <a:avLst/>
          </a:prstGeom>
          <a:ln w="3175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A174FF22-A228-62C0-0F03-26189155F46D}"/>
              </a:ext>
            </a:extLst>
          </p:cNvPr>
          <p:cNvSpPr/>
          <p:nvPr/>
        </p:nvSpPr>
        <p:spPr>
          <a:xfrm>
            <a:off x="3104147" y="2084917"/>
            <a:ext cx="5564068" cy="918469"/>
          </a:xfrm>
          <a:prstGeom prst="roundRect">
            <a:avLst>
              <a:gd name="adj" fmla="val 8884"/>
            </a:avLst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72000" rtlCol="0" anchor="ctr"/>
          <a:lstStyle/>
          <a:p>
            <a:pPr marL="144000" marR="0" lvl="0" indent="-144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C75A93B8-6C17-7F5E-41D5-F487F77D146B}"/>
              </a:ext>
            </a:extLst>
          </p:cNvPr>
          <p:cNvSpPr/>
          <p:nvPr/>
        </p:nvSpPr>
        <p:spPr>
          <a:xfrm>
            <a:off x="1185838" y="1286099"/>
            <a:ext cx="3827932" cy="283039"/>
          </a:xfrm>
          <a:prstGeom prst="roundRect">
            <a:avLst>
              <a:gd name="adj" fmla="val 16664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imary refractory or relapse within 12 months</a:t>
            </a:r>
            <a:r>
              <a:rPr kumimoji="0" lang="en-GB" sz="1400" b="0" i="0" u="none" strike="noStrike" kern="1200" cap="none" spc="0" normalizeH="0" baseline="3000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DD5A40D6-D6A3-5BF8-3100-DFB77A971AC8}"/>
              </a:ext>
            </a:extLst>
          </p:cNvPr>
          <p:cNvSpPr/>
          <p:nvPr/>
        </p:nvSpPr>
        <p:spPr>
          <a:xfrm>
            <a:off x="7437099" y="1286099"/>
            <a:ext cx="2353433" cy="283039"/>
          </a:xfrm>
          <a:prstGeom prst="roundRect">
            <a:avLst>
              <a:gd name="adj" fmla="val 16664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elapse after 12 months</a:t>
            </a:r>
            <a:r>
              <a:rPr kumimoji="0" lang="en-GB" sz="1400" b="0" i="0" u="none" strike="noStrike" kern="1200" cap="none" spc="0" normalizeH="0" baseline="3000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</a:t>
            </a: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25A73AA4-B33E-E6F2-4CD1-A84D2FCD23AD}"/>
              </a:ext>
            </a:extLst>
          </p:cNvPr>
          <p:cNvSpPr/>
          <p:nvPr/>
        </p:nvSpPr>
        <p:spPr>
          <a:xfrm>
            <a:off x="1185838" y="2084919"/>
            <a:ext cx="1764411" cy="918467"/>
          </a:xfrm>
          <a:prstGeom prst="roundRect">
            <a:avLst>
              <a:gd name="adj" fmla="val 8605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xi-cel [IA] or </a:t>
            </a:r>
            <a:b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liso-cel [IA]</a:t>
            </a: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39596585-2883-7C0B-C318-2F89582DD836}"/>
              </a:ext>
            </a:extLst>
          </p:cNvPr>
          <p:cNvSpPr/>
          <p:nvPr/>
        </p:nvSpPr>
        <p:spPr>
          <a:xfrm>
            <a:off x="8834818" y="2077484"/>
            <a:ext cx="2414011" cy="925902"/>
          </a:xfrm>
          <a:prstGeom prst="roundRect">
            <a:avLst>
              <a:gd name="adj" fmla="val 8605"/>
            </a:avLst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Immunochemotherapy</a:t>
            </a:r>
            <a:r>
              <a:rPr kumimoji="0" lang="en-GB" sz="1400" b="0" i="0" u="none" strike="noStrike" kern="1200" cap="none" spc="0" normalizeH="0" baseline="3000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followed by HDT/ASCT if CR/PR [IA]</a:t>
            </a:r>
          </a:p>
        </p:txBody>
      </p:sp>
      <p:cxnSp>
        <p:nvCxnSpPr>
          <p:cNvPr id="14" name="Connector: Elbow 13">
            <a:extLst>
              <a:ext uri="{FF2B5EF4-FFF2-40B4-BE49-F238E27FC236}">
                <a16:creationId xmlns:a16="http://schemas.microsoft.com/office/drawing/2014/main" id="{C42BD8A1-A0D4-ACA8-54F6-5874613B8A05}"/>
              </a:ext>
            </a:extLst>
          </p:cNvPr>
          <p:cNvCxnSpPr>
            <a:cxnSpLocks/>
            <a:stCxn id="9" idx="2"/>
            <a:endCxn id="11" idx="0"/>
          </p:cNvCxnSpPr>
          <p:nvPr/>
        </p:nvCxnSpPr>
        <p:spPr>
          <a:xfrm rot="5400000">
            <a:off x="2326034" y="1311148"/>
            <a:ext cx="515781" cy="1031760"/>
          </a:xfrm>
          <a:prstGeom prst="bentConnector3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nector: Elbow 14">
            <a:extLst>
              <a:ext uri="{FF2B5EF4-FFF2-40B4-BE49-F238E27FC236}">
                <a16:creationId xmlns:a16="http://schemas.microsoft.com/office/drawing/2014/main" id="{28767899-FC9B-596A-E6D1-7A6D6B393DFC}"/>
              </a:ext>
            </a:extLst>
          </p:cNvPr>
          <p:cNvCxnSpPr>
            <a:cxnSpLocks/>
            <a:stCxn id="9" idx="2"/>
            <a:endCxn id="8" idx="0"/>
          </p:cNvCxnSpPr>
          <p:nvPr/>
        </p:nvCxnSpPr>
        <p:spPr>
          <a:xfrm rot="16200000" flipH="1">
            <a:off x="4235103" y="433838"/>
            <a:ext cx="515779" cy="2786377"/>
          </a:xfrm>
          <a:prstGeom prst="bentConnector3">
            <a:avLst>
              <a:gd name="adj1" fmla="val 50000"/>
            </a:avLst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or: Elbow 15">
            <a:extLst>
              <a:ext uri="{FF2B5EF4-FFF2-40B4-BE49-F238E27FC236}">
                <a16:creationId xmlns:a16="http://schemas.microsoft.com/office/drawing/2014/main" id="{46713E0E-A8B3-3702-16B0-04B74D35FA0F}"/>
              </a:ext>
            </a:extLst>
          </p:cNvPr>
          <p:cNvCxnSpPr>
            <a:cxnSpLocks/>
            <a:stCxn id="10" idx="2"/>
            <a:endCxn id="8" idx="0"/>
          </p:cNvCxnSpPr>
          <p:nvPr/>
        </p:nvCxnSpPr>
        <p:spPr>
          <a:xfrm rot="5400000">
            <a:off x="6992110" y="463210"/>
            <a:ext cx="515779" cy="2727635"/>
          </a:xfrm>
          <a:prstGeom prst="bentConnector3">
            <a:avLst>
              <a:gd name="adj1" fmla="val 50000"/>
            </a:avLst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nector: Elbow 16">
            <a:extLst>
              <a:ext uri="{FF2B5EF4-FFF2-40B4-BE49-F238E27FC236}">
                <a16:creationId xmlns:a16="http://schemas.microsoft.com/office/drawing/2014/main" id="{F75C06BE-E159-35D6-D2AE-A276865CAC96}"/>
              </a:ext>
            </a:extLst>
          </p:cNvPr>
          <p:cNvCxnSpPr>
            <a:cxnSpLocks/>
            <a:stCxn id="10" idx="2"/>
            <a:endCxn id="12" idx="0"/>
          </p:cNvCxnSpPr>
          <p:nvPr/>
        </p:nvCxnSpPr>
        <p:spPr>
          <a:xfrm rot="16200000" flipH="1">
            <a:off x="9073647" y="1109307"/>
            <a:ext cx="508346" cy="1428008"/>
          </a:xfrm>
          <a:prstGeom prst="bentConnector3">
            <a:avLst>
              <a:gd name="adj1" fmla="val 50468"/>
            </a:avLst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852923F8-5515-AE3C-A7A7-1041A61785B1}"/>
              </a:ext>
            </a:extLst>
          </p:cNvPr>
          <p:cNvSpPr txBox="1"/>
          <p:nvPr/>
        </p:nvSpPr>
        <p:spPr>
          <a:xfrm>
            <a:off x="2144281" y="1640674"/>
            <a:ext cx="893597" cy="1692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AR-T eligible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FF7265C9-0566-446E-6872-19E9AAA8BB85}"/>
              </a:ext>
            </a:extLst>
          </p:cNvPr>
          <p:cNvSpPr txBox="1"/>
          <p:nvPr/>
        </p:nvSpPr>
        <p:spPr>
          <a:xfrm>
            <a:off x="3171953" y="1640674"/>
            <a:ext cx="2007079" cy="1692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o intention to proceed to CAR-T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C6346C5B-A8C6-80B9-EA22-1FC6EBC8BEC2}"/>
              </a:ext>
            </a:extLst>
          </p:cNvPr>
          <p:cNvSpPr txBox="1"/>
          <p:nvPr/>
        </p:nvSpPr>
        <p:spPr>
          <a:xfrm>
            <a:off x="8701116" y="1640674"/>
            <a:ext cx="1124590" cy="1692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ransplant eligible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B22279C8-9F8E-B87B-4395-BD26B37782FD}"/>
              </a:ext>
            </a:extLst>
          </p:cNvPr>
          <p:cNvSpPr txBox="1"/>
          <p:nvPr/>
        </p:nvSpPr>
        <p:spPr>
          <a:xfrm>
            <a:off x="6302290" y="1640674"/>
            <a:ext cx="2237983" cy="1692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o intention to proceed to transplant</a:t>
            </a:r>
          </a:p>
        </p:txBody>
      </p: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EC2F5DAB-E118-0EB2-7FD7-79E74920B842}"/>
              </a:ext>
            </a:extLst>
          </p:cNvPr>
          <p:cNvSpPr/>
          <p:nvPr/>
        </p:nvSpPr>
        <p:spPr>
          <a:xfrm>
            <a:off x="6587606" y="2077483"/>
            <a:ext cx="1971461" cy="1023219"/>
          </a:xfrm>
          <a:prstGeom prst="roundRect">
            <a:avLst>
              <a:gd name="adj" fmla="val 3218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72000" rtlCol="0" anchor="t"/>
          <a:lstStyle/>
          <a:p>
            <a:pPr marL="144000" marR="0" lvl="0" indent="-144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Epcor-GemOx [IIIC] when available</a:t>
            </a:r>
          </a:p>
          <a:p>
            <a:pPr marL="144000" marR="0" lvl="0" indent="-144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linical trial</a:t>
            </a:r>
          </a:p>
          <a:p>
            <a:pPr marL="144000" marR="0" lvl="0" indent="-144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Best supportive care</a:t>
            </a:r>
          </a:p>
        </p:txBody>
      </p: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DD36C91C-F0A2-0DD7-BECD-574FBDCEE407}"/>
              </a:ext>
            </a:extLst>
          </p:cNvPr>
          <p:cNvSpPr/>
          <p:nvPr/>
        </p:nvSpPr>
        <p:spPr>
          <a:xfrm>
            <a:off x="3101223" y="2131273"/>
            <a:ext cx="3359050" cy="1023219"/>
          </a:xfrm>
          <a:prstGeom prst="roundRect">
            <a:avLst>
              <a:gd name="adj" fmla="val 3218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72000" rtlCol="0" anchor="t"/>
          <a:lstStyle/>
          <a:p>
            <a:pPr marL="144000" marR="0" lvl="0" indent="-144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Glofit-GemOx [IA]</a:t>
            </a:r>
          </a:p>
          <a:p>
            <a:pPr marL="144000" marR="0" lvl="0" indent="-144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ituximab-chemotherapy [IB]</a:t>
            </a:r>
          </a:p>
          <a:p>
            <a:pPr marL="144000" marR="0" lvl="0" indent="-144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ola-BR [IIIB]</a:t>
            </a:r>
          </a:p>
          <a:p>
            <a:pPr marL="144000" marR="0" lvl="0" indent="-144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afa-len [IIIC] in non-refractory patient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23C6A72-4BAA-46D3-2D1E-BE6417F7435D}"/>
              </a:ext>
            </a:extLst>
          </p:cNvPr>
          <p:cNvSpPr txBox="1"/>
          <p:nvPr/>
        </p:nvSpPr>
        <p:spPr>
          <a:xfrm>
            <a:off x="2238477" y="3076921"/>
            <a:ext cx="771504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-40" normalizeH="0" baseline="0" noProof="0">
                <a:ln>
                  <a:noFill/>
                </a:ln>
                <a:solidFill>
                  <a:srgbClr val="2C5E77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~2/3 of patients eligible for CAR-T</a:t>
            </a:r>
            <a:r>
              <a:rPr kumimoji="0" lang="en-GB" sz="1800" b="1" i="0" u="none" strike="noStrike" kern="0" cap="none" spc="-40" normalizeH="0" baseline="30000" noProof="0">
                <a:ln>
                  <a:noFill/>
                </a:ln>
                <a:solidFill>
                  <a:srgbClr val="2C5E77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</a:t>
            </a:r>
            <a:r>
              <a:rPr kumimoji="0" lang="en-GB" sz="1800" b="1" i="0" u="none" strike="noStrike" kern="0" cap="none" spc="-40" normalizeH="0" baseline="0" noProof="0">
                <a:ln>
                  <a:noFill/>
                </a:ln>
                <a:solidFill>
                  <a:srgbClr val="2C5E77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or HDT/ASCT</a:t>
            </a:r>
            <a:r>
              <a:rPr kumimoji="0" lang="en-GB" sz="1800" b="1" i="0" u="none" strike="noStrike" kern="0" cap="none" spc="-40" normalizeH="0" baseline="30000" noProof="0">
                <a:ln>
                  <a:noFill/>
                </a:ln>
                <a:solidFill>
                  <a:srgbClr val="2C5E77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3</a:t>
            </a:r>
            <a:r>
              <a:rPr kumimoji="0" lang="en-GB" sz="1800" b="1" i="0" u="none" strike="noStrike" kern="0" cap="none" spc="-40" normalizeH="0" baseline="0" noProof="0">
                <a:ln>
                  <a:noFill/>
                </a:ln>
                <a:solidFill>
                  <a:srgbClr val="2C5E77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will </a:t>
            </a:r>
            <a:r>
              <a:rPr kumimoji="0" lang="en-GB" sz="1800" b="1" i="0" u="sng" strike="noStrike" kern="0" cap="none" spc="-40" normalizeH="0" baseline="0" noProof="0">
                <a:ln>
                  <a:noFill/>
                </a:ln>
                <a:solidFill>
                  <a:srgbClr val="2C5E77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ot</a:t>
            </a:r>
            <a:r>
              <a:rPr kumimoji="0" lang="en-GB" sz="1800" b="1" i="0" u="none" strike="noStrike" kern="0" cap="none" spc="-40" normalizeH="0" baseline="0" noProof="0">
                <a:ln>
                  <a:noFill/>
                </a:ln>
                <a:solidFill>
                  <a:srgbClr val="2C5E77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receive an infusion</a:t>
            </a:r>
            <a:endParaRPr kumimoji="0" lang="en-GB" sz="1800" b="1" i="0" u="none" strike="noStrike" kern="0" cap="none" spc="-40" normalizeH="0" baseline="30000" noProof="0">
              <a:ln>
                <a:noFill/>
              </a:ln>
              <a:solidFill>
                <a:srgbClr val="2C5E77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6" name="Slide Number Placeholder 2">
            <a:extLst>
              <a:ext uri="{FF2B5EF4-FFF2-40B4-BE49-F238E27FC236}">
                <a16:creationId xmlns:a16="http://schemas.microsoft.com/office/drawing/2014/main" id="{8D8A417D-AF7E-13F6-BF23-CE8F047B24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651" y="6356350"/>
            <a:ext cx="383694" cy="365125"/>
          </a:xfrm>
        </p:spPr>
        <p:txBody>
          <a:bodyPr vert="horz" lIns="0" tIns="0" rIns="0" bIns="0"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01CC8E-1CEF-6746-999E-CF29FF00B1DC}" type="slidenum"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82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3503280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9" dur="10" fill="hold"/>
                                        <p:tgtEl>
                                          <p:spTgt spid="5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10" presetID="6" presetClass="emph" presetSubtype="0" decel="10000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1" dur="750" fill="hold"/>
                                        <p:tgtEl>
                                          <p:spTgt spid="5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5" grpId="1"/>
      <p:bldP spid="5" grpId="2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3CB944-A580-6028-6BF8-F08D3A12451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5B03799-A411-53FD-D7D7-1516739679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isclaimer &amp; important information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A931F65F-FFFB-C41A-86D4-4FAFCBEB52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06B0CF-28DA-4AF7-AD0B-CB9D5901F647}" type="slidenum">
              <a:rPr lang="en-GB" smtClean="0"/>
              <a:pPr/>
              <a:t>2</a:t>
            </a:fld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658E165-AD76-1D22-AB80-04571358A43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pPr>
              <a:lnSpc>
                <a:spcPct val="120000"/>
              </a:lnSpc>
              <a:spcBef>
                <a:spcPts val="800"/>
              </a:spcBef>
            </a:pPr>
            <a:r>
              <a:rPr lang="en-GB" sz="1600" dirty="0">
                <a:solidFill>
                  <a:schemeClr val="tx2"/>
                </a:solidFill>
              </a:rPr>
              <a:t>This presentation serves </a:t>
            </a:r>
            <a:r>
              <a:rPr lang="en-GB" sz="1600" dirty="0">
                <a:solidFill>
                  <a:schemeClr val="accent1"/>
                </a:solidFill>
              </a:rPr>
              <a:t>educational purposes </a:t>
            </a:r>
            <a:r>
              <a:rPr lang="en-GB" sz="1600" dirty="0">
                <a:solidFill>
                  <a:schemeClr val="tx2"/>
                </a:solidFill>
              </a:rPr>
              <a:t>and is intended to provide information and </a:t>
            </a:r>
            <a:r>
              <a:rPr lang="en-GB" sz="1600" dirty="0">
                <a:solidFill>
                  <a:schemeClr val="accent1"/>
                </a:solidFill>
              </a:rPr>
              <a:t>stimulate discussion on selected topics </a:t>
            </a:r>
            <a:r>
              <a:rPr lang="en-GB" sz="1600" dirty="0">
                <a:solidFill>
                  <a:schemeClr val="tx2"/>
                </a:solidFill>
              </a:rPr>
              <a:t>in relapsed/refractory diffuse large B-cell lymphoma.</a:t>
            </a:r>
            <a:endParaRPr lang="en-GB" sz="1600" dirty="0">
              <a:solidFill>
                <a:schemeClr val="tx2"/>
              </a:solidFill>
              <a:ea typeface="Calibri"/>
              <a:cs typeface="Calibri"/>
            </a:endParaRPr>
          </a:p>
          <a:p>
            <a:pPr>
              <a:lnSpc>
                <a:spcPct val="120000"/>
              </a:lnSpc>
              <a:spcBef>
                <a:spcPts val="800"/>
              </a:spcBef>
            </a:pPr>
            <a:r>
              <a:rPr lang="en-GB" sz="1600" dirty="0">
                <a:solidFill>
                  <a:schemeClr val="tx2"/>
                </a:solidFill>
              </a:rPr>
              <a:t>The intent is </a:t>
            </a:r>
            <a:r>
              <a:rPr lang="en-GB" sz="1600" dirty="0">
                <a:solidFill>
                  <a:schemeClr val="accent1"/>
                </a:solidFill>
              </a:rPr>
              <a:t>not to provide </a:t>
            </a:r>
            <a:r>
              <a:rPr lang="en-GB" sz="1600" dirty="0">
                <a:solidFill>
                  <a:schemeClr val="tx2"/>
                </a:solidFill>
              </a:rPr>
              <a:t>medical or any other type of </a:t>
            </a:r>
            <a:r>
              <a:rPr lang="en-GB" sz="1600" dirty="0">
                <a:solidFill>
                  <a:schemeClr val="accent1"/>
                </a:solidFill>
              </a:rPr>
              <a:t>advice.</a:t>
            </a:r>
            <a:endParaRPr lang="en-GB" sz="1600" dirty="0">
              <a:solidFill>
                <a:schemeClr val="accent1"/>
              </a:solidFill>
              <a:ea typeface="Calibri"/>
              <a:cs typeface="Calibri"/>
            </a:endParaRPr>
          </a:p>
          <a:p>
            <a:pPr>
              <a:lnSpc>
                <a:spcPct val="120000"/>
              </a:lnSpc>
              <a:spcBef>
                <a:spcPts val="800"/>
              </a:spcBef>
            </a:pPr>
            <a:r>
              <a:rPr lang="en-GB" sz="1600" dirty="0">
                <a:solidFill>
                  <a:schemeClr val="tx2"/>
                </a:solidFill>
              </a:rPr>
              <a:t>All</a:t>
            </a:r>
            <a:r>
              <a:rPr lang="en-GB" sz="1600" dirty="0"/>
              <a:t> </a:t>
            </a:r>
            <a:r>
              <a:rPr lang="en-GB" sz="1600" dirty="0">
                <a:solidFill>
                  <a:schemeClr val="accent1"/>
                </a:solidFill>
              </a:rPr>
              <a:t>treatment decisions should be up to the discretion of the healthcare provider </a:t>
            </a:r>
            <a:r>
              <a:rPr lang="en-GB" sz="1600" dirty="0">
                <a:solidFill>
                  <a:schemeClr val="tx2"/>
                </a:solidFill>
              </a:rPr>
              <a:t>and the patient, as each patient’s situation may vary.</a:t>
            </a:r>
          </a:p>
          <a:p>
            <a:pPr>
              <a:lnSpc>
                <a:spcPct val="120000"/>
              </a:lnSpc>
              <a:spcBef>
                <a:spcPts val="800"/>
              </a:spcBef>
            </a:pPr>
            <a:r>
              <a:rPr lang="en-GB" sz="1600" dirty="0">
                <a:solidFill>
                  <a:schemeClr val="tx2"/>
                </a:solidFill>
              </a:rPr>
              <a:t>This scientific event is a </a:t>
            </a:r>
            <a:r>
              <a:rPr lang="en-GB" sz="1600" dirty="0">
                <a:solidFill>
                  <a:schemeClr val="accent1"/>
                </a:solidFill>
              </a:rPr>
              <a:t>non-promotional activity sponsored by </a:t>
            </a:r>
            <a:r>
              <a:rPr lang="en-GB" sz="1600" dirty="0" err="1">
                <a:solidFill>
                  <a:schemeClr val="accent1"/>
                </a:solidFill>
              </a:rPr>
              <a:t>Sobi</a:t>
            </a:r>
            <a:r>
              <a:rPr lang="en-GB" sz="1600" baseline="30000" dirty="0" err="1">
                <a:solidFill>
                  <a:schemeClr val="accent1"/>
                </a:solidFill>
              </a:rPr>
              <a:t>TM</a:t>
            </a:r>
            <a:r>
              <a:rPr lang="en-GB" sz="1600" dirty="0">
                <a:solidFill>
                  <a:schemeClr val="accent1"/>
                </a:solidFill>
              </a:rPr>
              <a:t> </a:t>
            </a:r>
            <a:r>
              <a:rPr lang="en-GB" sz="1600" dirty="0">
                <a:solidFill>
                  <a:schemeClr val="tx2"/>
                </a:solidFill>
              </a:rPr>
              <a:t>and the speakers are being compensated for their involvement.</a:t>
            </a:r>
          </a:p>
          <a:p>
            <a:pPr>
              <a:lnSpc>
                <a:spcPct val="120000"/>
              </a:lnSpc>
              <a:spcBef>
                <a:spcPts val="800"/>
              </a:spcBef>
            </a:pPr>
            <a:r>
              <a:rPr lang="en-GB" sz="1600" dirty="0">
                <a:solidFill>
                  <a:schemeClr val="tx2"/>
                </a:solidFill>
              </a:rPr>
              <a:t>This presentation includes</a:t>
            </a:r>
            <a:r>
              <a:rPr lang="en-GB" sz="1600" dirty="0">
                <a:solidFill>
                  <a:srgbClr val="585854"/>
                </a:solidFill>
              </a:rPr>
              <a:t> </a:t>
            </a:r>
            <a:r>
              <a:rPr lang="en-GB" sz="1600" dirty="0">
                <a:solidFill>
                  <a:schemeClr val="accent1"/>
                </a:solidFill>
              </a:rPr>
              <a:t>information on </a:t>
            </a:r>
            <a:r>
              <a:rPr lang="en-GB" sz="1600" dirty="0" err="1">
                <a:solidFill>
                  <a:schemeClr val="accent1"/>
                </a:solidFill>
              </a:rPr>
              <a:t>Sobi</a:t>
            </a:r>
            <a:r>
              <a:rPr lang="en-GB" sz="1600" baseline="30000" dirty="0" err="1">
                <a:solidFill>
                  <a:schemeClr val="accent1"/>
                </a:solidFill>
              </a:rPr>
              <a:t>TM</a:t>
            </a:r>
            <a:r>
              <a:rPr lang="en-GB" sz="1600" dirty="0">
                <a:solidFill>
                  <a:schemeClr val="accent1"/>
                </a:solidFill>
              </a:rPr>
              <a:t> products.</a:t>
            </a:r>
            <a:endParaRPr lang="en-GB" sz="1600" dirty="0">
              <a:solidFill>
                <a:schemeClr val="accent1"/>
              </a:solidFill>
              <a:ea typeface="Calibri"/>
              <a:cs typeface="Calibri"/>
            </a:endParaRPr>
          </a:p>
          <a:p>
            <a:pPr>
              <a:lnSpc>
                <a:spcPct val="120000"/>
              </a:lnSpc>
              <a:spcBef>
                <a:spcPts val="800"/>
              </a:spcBef>
            </a:pPr>
            <a:r>
              <a:rPr lang="en-GB" sz="1600" dirty="0">
                <a:solidFill>
                  <a:schemeClr val="accent1"/>
                </a:solidFill>
              </a:rPr>
              <a:t>The content, discussion, and answers reflect the personal opinion of the speaker </a:t>
            </a:r>
            <a:r>
              <a:rPr lang="en-GB" sz="1600" dirty="0">
                <a:solidFill>
                  <a:schemeClr val="tx2"/>
                </a:solidFill>
              </a:rPr>
              <a:t>and may not represent those of </a:t>
            </a:r>
            <a:r>
              <a:rPr lang="en-GB" sz="1600" dirty="0" err="1">
                <a:solidFill>
                  <a:schemeClr val="tx2"/>
                </a:solidFill>
              </a:rPr>
              <a:t>Sobi</a:t>
            </a:r>
            <a:r>
              <a:rPr lang="en-GB" sz="1600" baseline="30000" dirty="0" err="1">
                <a:solidFill>
                  <a:schemeClr val="tx2"/>
                </a:solidFill>
              </a:rPr>
              <a:t>TM</a:t>
            </a:r>
            <a:r>
              <a:rPr lang="en-GB" sz="1600" dirty="0">
                <a:solidFill>
                  <a:schemeClr val="tx2"/>
                </a:solidFill>
              </a:rPr>
              <a:t>.</a:t>
            </a:r>
          </a:p>
          <a:p>
            <a:pPr>
              <a:spcBef>
                <a:spcPts val="800"/>
              </a:spcBef>
            </a:pPr>
            <a:r>
              <a:rPr lang="en-GB" sz="1600" dirty="0">
                <a:solidFill>
                  <a:schemeClr val="tx2"/>
                </a:solidFill>
              </a:rPr>
              <a:t>No identifiable patient-specific information is included.</a:t>
            </a:r>
          </a:p>
          <a:p>
            <a:pPr>
              <a:lnSpc>
                <a:spcPct val="120000"/>
              </a:lnSpc>
              <a:spcBef>
                <a:spcPts val="800"/>
              </a:spcBef>
            </a:pPr>
            <a:r>
              <a:rPr lang="en-GB" sz="1600" dirty="0">
                <a:solidFill>
                  <a:schemeClr val="tx2"/>
                </a:solidFill>
              </a:rPr>
              <a:t>The therapeutics discussed herein may not be approved in every jurisdiction, and </a:t>
            </a:r>
            <a:r>
              <a:rPr lang="en-GB" sz="1600" dirty="0">
                <a:solidFill>
                  <a:schemeClr val="accent1"/>
                </a:solidFill>
              </a:rPr>
              <a:t>healthcare providers must always consult the applicable local regulatory authorities to determine whether the product is approved </a:t>
            </a:r>
            <a:r>
              <a:rPr lang="en-GB" sz="1600" dirty="0">
                <a:solidFill>
                  <a:schemeClr val="tx2"/>
                </a:solidFill>
              </a:rPr>
              <a:t>in their country. </a:t>
            </a:r>
          </a:p>
          <a:p>
            <a:pPr>
              <a:lnSpc>
                <a:spcPct val="120000"/>
              </a:lnSpc>
              <a:spcBef>
                <a:spcPts val="800"/>
              </a:spcBef>
            </a:pPr>
            <a:r>
              <a:rPr lang="en-GB" sz="1600" dirty="0">
                <a:solidFill>
                  <a:schemeClr val="tx2"/>
                </a:solidFill>
              </a:rPr>
              <a:t>Please always consult the full locally approved label before prescribing any treatments.</a:t>
            </a:r>
          </a:p>
          <a:p>
            <a:endParaRPr lang="en-GB" sz="1600" dirty="0"/>
          </a:p>
        </p:txBody>
      </p:sp>
      <p:sp>
        <p:nvSpPr>
          <p:cNvPr id="10" name="Content Placeholder 1">
            <a:extLst>
              <a:ext uri="{FF2B5EF4-FFF2-40B4-BE49-F238E27FC236}">
                <a16:creationId xmlns:a16="http://schemas.microsoft.com/office/drawing/2014/main" id="{E3777AD7-5DC6-333F-70A3-FCD4C0AA6062}"/>
              </a:ext>
            </a:extLst>
          </p:cNvPr>
          <p:cNvSpPr txBox="1">
            <a:spLocks/>
          </p:cNvSpPr>
          <p:nvPr/>
        </p:nvSpPr>
        <p:spPr>
          <a:xfrm>
            <a:off x="839788" y="1825625"/>
            <a:ext cx="10512425" cy="4341600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  <a:spcBef>
                <a:spcPts val="800"/>
              </a:spcBef>
            </a:pPr>
            <a:endParaRPr lang="en-GB" sz="1500" dirty="0"/>
          </a:p>
        </p:txBody>
      </p:sp>
    </p:spTree>
    <p:extLst>
      <p:ext uri="{BB962C8B-B14F-4D97-AF65-F5344CB8AC3E}">
        <p14:creationId xmlns:p14="http://schemas.microsoft.com/office/powerpoint/2010/main" val="230532935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20" name="Free-form: Shape 3919">
            <a:extLst>
              <a:ext uri="{FF2B5EF4-FFF2-40B4-BE49-F238E27FC236}">
                <a16:creationId xmlns:a16="http://schemas.microsoft.com/office/drawing/2014/main" id="{08632B06-D8EE-BE18-A531-02BBB844C4D6}"/>
              </a:ext>
            </a:extLst>
          </p:cNvPr>
          <p:cNvSpPr/>
          <p:nvPr/>
        </p:nvSpPr>
        <p:spPr>
          <a:xfrm>
            <a:off x="3688688" y="3275285"/>
            <a:ext cx="940695" cy="185466"/>
          </a:xfrm>
          <a:custGeom>
            <a:avLst/>
            <a:gdLst>
              <a:gd name="csX0" fmla="*/ 191041 w 1045419"/>
              <a:gd name="csY0" fmla="*/ 0 h 228601"/>
              <a:gd name="csX1" fmla="*/ 1045419 w 1045419"/>
              <a:gd name="csY1" fmla="*/ 0 h 228601"/>
              <a:gd name="csX2" fmla="*/ 918418 w 1045419"/>
              <a:gd name="csY2" fmla="*/ 228601 h 228601"/>
              <a:gd name="csX3" fmla="*/ 0 w 1045419"/>
              <a:gd name="csY3" fmla="*/ 228601 h 228601"/>
              <a:gd name="csX4" fmla="*/ 191041 w 1045419"/>
              <a:gd name="csY4" fmla="*/ 0 h 22860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045419" h="228601">
                <a:moveTo>
                  <a:pt x="191041" y="0"/>
                </a:moveTo>
                <a:lnTo>
                  <a:pt x="1045419" y="0"/>
                </a:lnTo>
                <a:lnTo>
                  <a:pt x="918418" y="228601"/>
                </a:lnTo>
                <a:lnTo>
                  <a:pt x="0" y="228601"/>
                </a:lnTo>
                <a:lnTo>
                  <a:pt x="191041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781" name="Free-form: Shape 3780">
            <a:extLst>
              <a:ext uri="{FF2B5EF4-FFF2-40B4-BE49-F238E27FC236}">
                <a16:creationId xmlns:a16="http://schemas.microsoft.com/office/drawing/2014/main" id="{3CB888B1-1AB2-7FF1-4382-098F866AA616}"/>
              </a:ext>
            </a:extLst>
          </p:cNvPr>
          <p:cNvSpPr/>
          <p:nvPr/>
        </p:nvSpPr>
        <p:spPr>
          <a:xfrm>
            <a:off x="155808" y="5329083"/>
            <a:ext cx="1992654" cy="550382"/>
          </a:xfrm>
          <a:custGeom>
            <a:avLst/>
            <a:gdLst>
              <a:gd name="csX0" fmla="*/ 626019 w 1992654"/>
              <a:gd name="csY0" fmla="*/ 0 h 550382"/>
              <a:gd name="csX1" fmla="*/ 1992654 w 1992654"/>
              <a:gd name="csY1" fmla="*/ 0 h 550382"/>
              <a:gd name="csX2" fmla="*/ 1532703 w 1992654"/>
              <a:gd name="csY2" fmla="*/ 550382 h 550382"/>
              <a:gd name="csX3" fmla="*/ 0 w 1992654"/>
              <a:gd name="csY3" fmla="*/ 550382 h 550382"/>
              <a:gd name="csX4" fmla="*/ 626019 w 1992654"/>
              <a:gd name="csY4" fmla="*/ 0 h 55038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992654" h="550382">
                <a:moveTo>
                  <a:pt x="626019" y="0"/>
                </a:moveTo>
                <a:lnTo>
                  <a:pt x="1992654" y="0"/>
                </a:lnTo>
                <a:lnTo>
                  <a:pt x="1532703" y="550382"/>
                </a:lnTo>
                <a:lnTo>
                  <a:pt x="0" y="550382"/>
                </a:lnTo>
                <a:lnTo>
                  <a:pt x="626019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816" name="Free-form: Shape 3815">
            <a:extLst>
              <a:ext uri="{FF2B5EF4-FFF2-40B4-BE49-F238E27FC236}">
                <a16:creationId xmlns:a16="http://schemas.microsoft.com/office/drawing/2014/main" id="{499AB7E5-4C83-F192-D015-973127D144E7}"/>
              </a:ext>
            </a:extLst>
          </p:cNvPr>
          <p:cNvSpPr/>
          <p:nvPr/>
        </p:nvSpPr>
        <p:spPr>
          <a:xfrm>
            <a:off x="2941776" y="5329083"/>
            <a:ext cx="1897917" cy="550382"/>
          </a:xfrm>
          <a:custGeom>
            <a:avLst/>
            <a:gdLst>
              <a:gd name="csX0" fmla="*/ 527533 w 1897917"/>
              <a:gd name="csY0" fmla="*/ 0 h 550382"/>
              <a:gd name="csX1" fmla="*/ 1897917 w 1897917"/>
              <a:gd name="csY1" fmla="*/ 0 h 550382"/>
              <a:gd name="csX2" fmla="*/ 1747106 w 1897917"/>
              <a:gd name="csY2" fmla="*/ 550382 h 550382"/>
              <a:gd name="csX3" fmla="*/ 0 w 1897917"/>
              <a:gd name="csY3" fmla="*/ 550382 h 550382"/>
              <a:gd name="csX4" fmla="*/ 223004 w 1897917"/>
              <a:gd name="csY4" fmla="*/ 548152 h 550382"/>
              <a:gd name="csX5" fmla="*/ 527533 w 1897917"/>
              <a:gd name="csY5" fmla="*/ 0 h 55038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</a:cxnLst>
            <a:rect l="l" t="t" r="r" b="b"/>
            <a:pathLst>
              <a:path w="1897917" h="550382">
                <a:moveTo>
                  <a:pt x="527533" y="0"/>
                </a:moveTo>
                <a:lnTo>
                  <a:pt x="1897917" y="0"/>
                </a:lnTo>
                <a:lnTo>
                  <a:pt x="1747106" y="550382"/>
                </a:lnTo>
                <a:lnTo>
                  <a:pt x="0" y="550382"/>
                </a:lnTo>
                <a:lnTo>
                  <a:pt x="223004" y="548152"/>
                </a:lnTo>
                <a:lnTo>
                  <a:pt x="527533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821" name="Free-form: Shape 3820">
            <a:extLst>
              <a:ext uri="{FF2B5EF4-FFF2-40B4-BE49-F238E27FC236}">
                <a16:creationId xmlns:a16="http://schemas.microsoft.com/office/drawing/2014/main" id="{8E01524F-59B0-AEEA-C891-38436E37782F}"/>
              </a:ext>
            </a:extLst>
          </p:cNvPr>
          <p:cNvSpPr/>
          <p:nvPr/>
        </p:nvSpPr>
        <p:spPr>
          <a:xfrm>
            <a:off x="6183042" y="5329083"/>
            <a:ext cx="1509311" cy="537554"/>
          </a:xfrm>
          <a:custGeom>
            <a:avLst/>
            <a:gdLst>
              <a:gd name="csX0" fmla="*/ 3065 w 1509311"/>
              <a:gd name="csY0" fmla="*/ 0 h 537554"/>
              <a:gd name="csX1" fmla="*/ 1356162 w 1509311"/>
              <a:gd name="csY1" fmla="*/ 0 h 537554"/>
              <a:gd name="csX2" fmla="*/ 1509311 w 1509311"/>
              <a:gd name="csY2" fmla="*/ 537554 h 537554"/>
              <a:gd name="csX3" fmla="*/ 0 w 1509311"/>
              <a:gd name="csY3" fmla="*/ 533283 h 537554"/>
              <a:gd name="csX4" fmla="*/ 3065 w 1509311"/>
              <a:gd name="csY4" fmla="*/ 0 h 53755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509311" h="537554">
                <a:moveTo>
                  <a:pt x="3065" y="0"/>
                </a:moveTo>
                <a:lnTo>
                  <a:pt x="1356162" y="0"/>
                </a:lnTo>
                <a:lnTo>
                  <a:pt x="1509311" y="537554"/>
                </a:lnTo>
                <a:lnTo>
                  <a:pt x="0" y="533283"/>
                </a:lnTo>
                <a:cubicBezTo>
                  <a:pt x="1022" y="355522"/>
                  <a:pt x="2043" y="177761"/>
                  <a:pt x="3065" y="0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826" name="Free-form: Shape 3825">
            <a:extLst>
              <a:ext uri="{FF2B5EF4-FFF2-40B4-BE49-F238E27FC236}">
                <a16:creationId xmlns:a16="http://schemas.microsoft.com/office/drawing/2014/main" id="{4FFE0343-A28D-9898-0F02-9B95386EEE36}"/>
              </a:ext>
            </a:extLst>
          </p:cNvPr>
          <p:cNvSpPr/>
          <p:nvPr/>
        </p:nvSpPr>
        <p:spPr>
          <a:xfrm>
            <a:off x="8885180" y="5329084"/>
            <a:ext cx="1788708" cy="545991"/>
          </a:xfrm>
          <a:custGeom>
            <a:avLst/>
            <a:gdLst>
              <a:gd name="csX0" fmla="*/ 0 w 1788708"/>
              <a:gd name="csY0" fmla="*/ 0 h 545991"/>
              <a:gd name="csX1" fmla="*/ 1331921 w 1788708"/>
              <a:gd name="csY1" fmla="*/ 0 h 545991"/>
              <a:gd name="csX2" fmla="*/ 1788708 w 1788708"/>
              <a:gd name="csY2" fmla="*/ 545991 h 545991"/>
              <a:gd name="csX3" fmla="*/ 241609 w 1788708"/>
              <a:gd name="csY3" fmla="*/ 541613 h 545991"/>
              <a:gd name="csX4" fmla="*/ 301257 w 1788708"/>
              <a:gd name="csY4" fmla="*/ 540718 h 545991"/>
              <a:gd name="csX5" fmla="*/ 0 w 1788708"/>
              <a:gd name="csY5" fmla="*/ 0 h 54599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</a:cxnLst>
            <a:rect l="l" t="t" r="r" b="b"/>
            <a:pathLst>
              <a:path w="1788708" h="545991">
                <a:moveTo>
                  <a:pt x="0" y="0"/>
                </a:moveTo>
                <a:lnTo>
                  <a:pt x="1331921" y="0"/>
                </a:lnTo>
                <a:lnTo>
                  <a:pt x="1788708" y="545991"/>
                </a:lnTo>
                <a:lnTo>
                  <a:pt x="241609" y="541613"/>
                </a:lnTo>
                <a:lnTo>
                  <a:pt x="301257" y="540718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789" name="Free-form: Shape 3788">
            <a:extLst>
              <a:ext uri="{FF2B5EF4-FFF2-40B4-BE49-F238E27FC236}">
                <a16:creationId xmlns:a16="http://schemas.microsoft.com/office/drawing/2014/main" id="{F63CB7A4-43A3-158B-02F2-BC049BAC14B6}"/>
              </a:ext>
            </a:extLst>
          </p:cNvPr>
          <p:cNvSpPr/>
          <p:nvPr/>
        </p:nvSpPr>
        <p:spPr>
          <a:xfrm>
            <a:off x="2148462" y="4850715"/>
            <a:ext cx="1586606" cy="478368"/>
          </a:xfrm>
          <a:custGeom>
            <a:avLst/>
            <a:gdLst>
              <a:gd name="csX0" fmla="*/ 399769 w 1586606"/>
              <a:gd name="csY0" fmla="*/ 0 h 478368"/>
              <a:gd name="csX1" fmla="*/ 1586606 w 1586606"/>
              <a:gd name="csY1" fmla="*/ 0 h 478368"/>
              <a:gd name="csX2" fmla="*/ 1320846 w 1586606"/>
              <a:gd name="csY2" fmla="*/ 478368 h 478368"/>
              <a:gd name="csX3" fmla="*/ 0 w 1586606"/>
              <a:gd name="csY3" fmla="*/ 478368 h 478368"/>
              <a:gd name="csX4" fmla="*/ 399769 w 1586606"/>
              <a:gd name="csY4" fmla="*/ 0 h 47836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586606" h="478368">
                <a:moveTo>
                  <a:pt x="399769" y="0"/>
                </a:moveTo>
                <a:lnTo>
                  <a:pt x="1586606" y="0"/>
                </a:lnTo>
                <a:lnTo>
                  <a:pt x="1320846" y="478368"/>
                </a:lnTo>
                <a:lnTo>
                  <a:pt x="0" y="478368"/>
                </a:lnTo>
                <a:lnTo>
                  <a:pt x="399769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799" name="Free-form: Shape 3798">
            <a:extLst>
              <a:ext uri="{FF2B5EF4-FFF2-40B4-BE49-F238E27FC236}">
                <a16:creationId xmlns:a16="http://schemas.microsoft.com/office/drawing/2014/main" id="{B03E3995-6213-EC63-56D0-9A7397A631C2}"/>
              </a:ext>
            </a:extLst>
          </p:cNvPr>
          <p:cNvSpPr/>
          <p:nvPr/>
        </p:nvSpPr>
        <p:spPr>
          <a:xfrm>
            <a:off x="4839693" y="4850715"/>
            <a:ext cx="1349163" cy="478368"/>
          </a:xfrm>
          <a:custGeom>
            <a:avLst/>
            <a:gdLst>
              <a:gd name="csX0" fmla="*/ 131078 w 1349163"/>
              <a:gd name="csY0" fmla="*/ 0 h 478368"/>
              <a:gd name="csX1" fmla="*/ 1349163 w 1349163"/>
              <a:gd name="csY1" fmla="*/ 0 h 478368"/>
              <a:gd name="csX2" fmla="*/ 1346414 w 1349163"/>
              <a:gd name="csY2" fmla="*/ 478368 h 478368"/>
              <a:gd name="csX3" fmla="*/ 0 w 1349163"/>
              <a:gd name="csY3" fmla="*/ 478368 h 478368"/>
              <a:gd name="csX4" fmla="*/ 131078 w 1349163"/>
              <a:gd name="csY4" fmla="*/ 0 h 47836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349163" h="478368">
                <a:moveTo>
                  <a:pt x="131078" y="0"/>
                </a:moveTo>
                <a:lnTo>
                  <a:pt x="1349163" y="0"/>
                </a:lnTo>
                <a:lnTo>
                  <a:pt x="1346414" y="478368"/>
                </a:lnTo>
                <a:lnTo>
                  <a:pt x="0" y="478368"/>
                </a:lnTo>
                <a:lnTo>
                  <a:pt x="131078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804" name="Free-form: Shape 3803">
            <a:extLst>
              <a:ext uri="{FF2B5EF4-FFF2-40B4-BE49-F238E27FC236}">
                <a16:creationId xmlns:a16="http://schemas.microsoft.com/office/drawing/2014/main" id="{A69B3E98-5769-D5B5-A34C-C4E6E4269BBC}"/>
              </a:ext>
            </a:extLst>
          </p:cNvPr>
          <p:cNvSpPr/>
          <p:nvPr/>
        </p:nvSpPr>
        <p:spPr>
          <a:xfrm>
            <a:off x="7402917" y="4850715"/>
            <a:ext cx="1482263" cy="478368"/>
          </a:xfrm>
          <a:custGeom>
            <a:avLst/>
            <a:gdLst>
              <a:gd name="csX0" fmla="*/ 0 w 1482263"/>
              <a:gd name="csY0" fmla="*/ 0 h 478368"/>
              <a:gd name="csX1" fmla="*/ 1215744 w 1482263"/>
              <a:gd name="csY1" fmla="*/ 0 h 478368"/>
              <a:gd name="csX2" fmla="*/ 1482263 w 1482263"/>
              <a:gd name="csY2" fmla="*/ 478368 h 478368"/>
              <a:gd name="csX3" fmla="*/ 136287 w 1482263"/>
              <a:gd name="csY3" fmla="*/ 478368 h 478368"/>
              <a:gd name="csX4" fmla="*/ 0 w 1482263"/>
              <a:gd name="csY4" fmla="*/ 0 h 47836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482263" h="478368">
                <a:moveTo>
                  <a:pt x="0" y="0"/>
                </a:moveTo>
                <a:lnTo>
                  <a:pt x="1215744" y="0"/>
                </a:lnTo>
                <a:lnTo>
                  <a:pt x="1482263" y="478368"/>
                </a:lnTo>
                <a:lnTo>
                  <a:pt x="136287" y="478368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809" name="Free-form: Shape 3808">
            <a:extLst>
              <a:ext uri="{FF2B5EF4-FFF2-40B4-BE49-F238E27FC236}">
                <a16:creationId xmlns:a16="http://schemas.microsoft.com/office/drawing/2014/main" id="{FE2D9FD2-6567-DC72-0C70-2F7586E7CCD8}"/>
              </a:ext>
            </a:extLst>
          </p:cNvPr>
          <p:cNvSpPr/>
          <p:nvPr/>
        </p:nvSpPr>
        <p:spPr>
          <a:xfrm>
            <a:off x="9816889" y="4850715"/>
            <a:ext cx="1770014" cy="478368"/>
          </a:xfrm>
          <a:custGeom>
            <a:avLst/>
            <a:gdLst>
              <a:gd name="csX0" fmla="*/ 0 w 1770014"/>
              <a:gd name="csY0" fmla="*/ 0 h 478368"/>
              <a:gd name="csX1" fmla="*/ 1231679 w 1770014"/>
              <a:gd name="csY1" fmla="*/ 0 h 478368"/>
              <a:gd name="csX2" fmla="*/ 1770014 w 1770014"/>
              <a:gd name="csY2" fmla="*/ 478368 h 478368"/>
              <a:gd name="csX3" fmla="*/ 400212 w 1770014"/>
              <a:gd name="csY3" fmla="*/ 478368 h 478368"/>
              <a:gd name="csX4" fmla="*/ 0 w 1770014"/>
              <a:gd name="csY4" fmla="*/ 0 h 47836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770014" h="478368">
                <a:moveTo>
                  <a:pt x="0" y="0"/>
                </a:moveTo>
                <a:lnTo>
                  <a:pt x="1231679" y="0"/>
                </a:lnTo>
                <a:lnTo>
                  <a:pt x="1770014" y="478368"/>
                </a:lnTo>
                <a:lnTo>
                  <a:pt x="400212" y="478368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903" name="Free-form: Shape 3902">
            <a:extLst>
              <a:ext uri="{FF2B5EF4-FFF2-40B4-BE49-F238E27FC236}">
                <a16:creationId xmlns:a16="http://schemas.microsoft.com/office/drawing/2014/main" id="{A607B6F8-9923-612B-A178-B3BE87CA3204}"/>
              </a:ext>
            </a:extLst>
          </p:cNvPr>
          <p:cNvSpPr/>
          <p:nvPr/>
        </p:nvSpPr>
        <p:spPr>
          <a:xfrm>
            <a:off x="5354247" y="3279053"/>
            <a:ext cx="843642" cy="172172"/>
          </a:xfrm>
          <a:custGeom>
            <a:avLst/>
            <a:gdLst>
              <a:gd name="csX0" fmla="*/ 47178 w 843642"/>
              <a:gd name="csY0" fmla="*/ 0 h 172172"/>
              <a:gd name="csX1" fmla="*/ 843642 w 843642"/>
              <a:gd name="csY1" fmla="*/ 0 h 172172"/>
              <a:gd name="csX2" fmla="*/ 842652 w 843642"/>
              <a:gd name="csY2" fmla="*/ 172172 h 172172"/>
              <a:gd name="csX3" fmla="*/ 0 w 843642"/>
              <a:gd name="csY3" fmla="*/ 172172 h 172172"/>
              <a:gd name="csX4" fmla="*/ 47178 w 843642"/>
              <a:gd name="csY4" fmla="*/ 0 h 17217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843642" h="172172">
                <a:moveTo>
                  <a:pt x="47178" y="0"/>
                </a:moveTo>
                <a:lnTo>
                  <a:pt x="843642" y="0"/>
                </a:lnTo>
                <a:lnTo>
                  <a:pt x="842652" y="172172"/>
                </a:lnTo>
                <a:lnTo>
                  <a:pt x="0" y="172172"/>
                </a:lnTo>
                <a:lnTo>
                  <a:pt x="47178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927" name="Free-form: Shape 3926">
            <a:extLst>
              <a:ext uri="{FF2B5EF4-FFF2-40B4-BE49-F238E27FC236}">
                <a16:creationId xmlns:a16="http://schemas.microsoft.com/office/drawing/2014/main" id="{9AE3DF14-1ED2-421B-339D-DFB933B515E4}"/>
              </a:ext>
            </a:extLst>
          </p:cNvPr>
          <p:cNvSpPr/>
          <p:nvPr/>
        </p:nvSpPr>
        <p:spPr>
          <a:xfrm>
            <a:off x="8540189" y="3275286"/>
            <a:ext cx="2079576" cy="1194393"/>
          </a:xfrm>
          <a:custGeom>
            <a:avLst/>
            <a:gdLst>
              <a:gd name="csX0" fmla="*/ 1734208 w 2079576"/>
              <a:gd name="csY0" fmla="*/ 893490 h 1194393"/>
              <a:gd name="csX1" fmla="*/ 1740954 w 2079576"/>
              <a:gd name="csY1" fmla="*/ 893490 h 1194393"/>
              <a:gd name="csX2" fmla="*/ 2079576 w 2079576"/>
              <a:gd name="csY2" fmla="*/ 1194392 h 1194393"/>
              <a:gd name="csX3" fmla="*/ 1492572 w 2079576"/>
              <a:gd name="csY3" fmla="*/ 1194392 h 1194393"/>
              <a:gd name="csX4" fmla="*/ 1492573 w 2079576"/>
              <a:gd name="csY4" fmla="*/ 1194393 h 1194393"/>
              <a:gd name="csX5" fmla="*/ 957918 w 2079576"/>
              <a:gd name="csY5" fmla="*/ 1194393 h 1194393"/>
              <a:gd name="csX6" fmla="*/ 706177 w 2079576"/>
              <a:gd name="csY6" fmla="*/ 893491 h 1194393"/>
              <a:gd name="csX7" fmla="*/ 1734209 w 2079576"/>
              <a:gd name="csY7" fmla="*/ 893491 h 1194393"/>
              <a:gd name="csX8" fmla="*/ 1428628 w 2079576"/>
              <a:gd name="csY8" fmla="*/ 612504 h 1194393"/>
              <a:gd name="csX9" fmla="*/ 1433390 w 2079576"/>
              <a:gd name="csY9" fmla="*/ 617266 h 1194393"/>
              <a:gd name="csX10" fmla="*/ 1430104 w 2079576"/>
              <a:gd name="csY10" fmla="*/ 617266 h 1194393"/>
              <a:gd name="csX11" fmla="*/ 1424767 w 2079576"/>
              <a:gd name="csY11" fmla="*/ 612523 h 1194393"/>
              <a:gd name="csX12" fmla="*/ 283831 w 2079576"/>
              <a:gd name="csY12" fmla="*/ 388666 h 1194393"/>
              <a:gd name="csX13" fmla="*/ 631714 w 2079576"/>
              <a:gd name="csY13" fmla="*/ 388666 h 1194393"/>
              <a:gd name="csX14" fmla="*/ 1158324 w 2079576"/>
              <a:gd name="csY14" fmla="*/ 388666 h 1194393"/>
              <a:gd name="csX15" fmla="*/ 1172848 w 2079576"/>
              <a:gd name="csY15" fmla="*/ 388666 h 1194393"/>
              <a:gd name="csX16" fmla="*/ 1424767 w 2079576"/>
              <a:gd name="csY16" fmla="*/ 612523 h 1194393"/>
              <a:gd name="csX17" fmla="*/ 475083 w 2079576"/>
              <a:gd name="csY17" fmla="*/ 617267 h 1194393"/>
              <a:gd name="csX18" fmla="*/ 735460 w 2079576"/>
              <a:gd name="csY18" fmla="*/ 0 h 1194393"/>
              <a:gd name="csX19" fmla="*/ 936218 w 2079576"/>
              <a:gd name="csY19" fmla="*/ 178395 h 1194393"/>
              <a:gd name="csX20" fmla="*/ 918454 w 2079576"/>
              <a:gd name="csY20" fmla="*/ 178395 h 1194393"/>
              <a:gd name="csX21" fmla="*/ 918453 w 2079576"/>
              <a:gd name="csY21" fmla="*/ 178394 h 1194393"/>
              <a:gd name="csX22" fmla="*/ 918452 w 2079576"/>
              <a:gd name="csY22" fmla="*/ 178394 h 1194393"/>
              <a:gd name="csX23" fmla="*/ 105862 w 2079576"/>
              <a:gd name="csY23" fmla="*/ 175942 h 1194393"/>
              <a:gd name="csX24" fmla="*/ 0 w 2079576"/>
              <a:gd name="csY24" fmla="*/ 7665 h 119439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</a:cxnLst>
            <a:rect l="l" t="t" r="r" b="b"/>
            <a:pathLst>
              <a:path w="2079576" h="1194393">
                <a:moveTo>
                  <a:pt x="1734208" y="893490"/>
                </a:moveTo>
                <a:lnTo>
                  <a:pt x="1740954" y="893490"/>
                </a:lnTo>
                <a:lnTo>
                  <a:pt x="2079576" y="1194392"/>
                </a:lnTo>
                <a:lnTo>
                  <a:pt x="1492572" y="1194392"/>
                </a:lnTo>
                <a:lnTo>
                  <a:pt x="1492573" y="1194393"/>
                </a:lnTo>
                <a:lnTo>
                  <a:pt x="957918" y="1194393"/>
                </a:lnTo>
                <a:lnTo>
                  <a:pt x="706177" y="893491"/>
                </a:lnTo>
                <a:lnTo>
                  <a:pt x="1734209" y="893491"/>
                </a:lnTo>
                <a:close/>
                <a:moveTo>
                  <a:pt x="1428628" y="612504"/>
                </a:moveTo>
                <a:lnTo>
                  <a:pt x="1433390" y="617266"/>
                </a:lnTo>
                <a:lnTo>
                  <a:pt x="1430104" y="617266"/>
                </a:lnTo>
                <a:lnTo>
                  <a:pt x="1424767" y="612523"/>
                </a:lnTo>
                <a:close/>
                <a:moveTo>
                  <a:pt x="283831" y="388666"/>
                </a:moveTo>
                <a:lnTo>
                  <a:pt x="631714" y="388666"/>
                </a:lnTo>
                <a:lnTo>
                  <a:pt x="1158324" y="388666"/>
                </a:lnTo>
                <a:lnTo>
                  <a:pt x="1172848" y="388666"/>
                </a:lnTo>
                <a:lnTo>
                  <a:pt x="1424767" y="612523"/>
                </a:lnTo>
                <a:lnTo>
                  <a:pt x="475083" y="617267"/>
                </a:lnTo>
                <a:close/>
                <a:moveTo>
                  <a:pt x="735460" y="0"/>
                </a:moveTo>
                <a:lnTo>
                  <a:pt x="936218" y="178395"/>
                </a:lnTo>
                <a:lnTo>
                  <a:pt x="918454" y="178395"/>
                </a:lnTo>
                <a:lnTo>
                  <a:pt x="918453" y="178394"/>
                </a:lnTo>
                <a:lnTo>
                  <a:pt x="918452" y="178394"/>
                </a:lnTo>
                <a:lnTo>
                  <a:pt x="105862" y="175942"/>
                </a:lnTo>
                <a:lnTo>
                  <a:pt x="0" y="7665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906" name="Free-form: Shape 3905">
            <a:extLst>
              <a:ext uri="{FF2B5EF4-FFF2-40B4-BE49-F238E27FC236}">
                <a16:creationId xmlns:a16="http://schemas.microsoft.com/office/drawing/2014/main" id="{F66D6120-8BCE-F8FA-B929-0C6A9B288A52}"/>
              </a:ext>
            </a:extLst>
          </p:cNvPr>
          <p:cNvSpPr/>
          <p:nvPr/>
        </p:nvSpPr>
        <p:spPr>
          <a:xfrm>
            <a:off x="2675795" y="3453678"/>
            <a:ext cx="1039930" cy="210272"/>
          </a:xfrm>
          <a:custGeom>
            <a:avLst/>
            <a:gdLst>
              <a:gd name="csX0" fmla="*/ 239169 w 1039930"/>
              <a:gd name="csY0" fmla="*/ 0 h 210272"/>
              <a:gd name="csX1" fmla="*/ 239170 w 1039930"/>
              <a:gd name="csY1" fmla="*/ 0 h 210272"/>
              <a:gd name="csX2" fmla="*/ 239169 w 1039930"/>
              <a:gd name="csY2" fmla="*/ 1 h 210272"/>
              <a:gd name="csX3" fmla="*/ 1039930 w 1039930"/>
              <a:gd name="csY3" fmla="*/ 1 h 210272"/>
              <a:gd name="csX4" fmla="*/ 864208 w 1039930"/>
              <a:gd name="csY4" fmla="*/ 210272 h 210272"/>
              <a:gd name="csX5" fmla="*/ 0 w 1039930"/>
              <a:gd name="csY5" fmla="*/ 210272 h 210272"/>
              <a:gd name="csX6" fmla="*/ 239169 w 1039930"/>
              <a:gd name="csY6" fmla="*/ 0 h 21027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</a:cxnLst>
            <a:rect l="l" t="t" r="r" b="b"/>
            <a:pathLst>
              <a:path w="1039930" h="210272">
                <a:moveTo>
                  <a:pt x="239169" y="0"/>
                </a:moveTo>
                <a:lnTo>
                  <a:pt x="239170" y="0"/>
                </a:lnTo>
                <a:lnTo>
                  <a:pt x="239169" y="1"/>
                </a:lnTo>
                <a:lnTo>
                  <a:pt x="1039930" y="1"/>
                </a:lnTo>
                <a:lnTo>
                  <a:pt x="864208" y="210272"/>
                </a:lnTo>
                <a:lnTo>
                  <a:pt x="0" y="210272"/>
                </a:lnTo>
                <a:lnTo>
                  <a:pt x="239169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912" name="Free-form: Shape 3911">
            <a:extLst>
              <a:ext uri="{FF2B5EF4-FFF2-40B4-BE49-F238E27FC236}">
                <a16:creationId xmlns:a16="http://schemas.microsoft.com/office/drawing/2014/main" id="{605F97B5-6A6F-C694-C4C3-91DC80F743DD}"/>
              </a:ext>
            </a:extLst>
          </p:cNvPr>
          <p:cNvSpPr/>
          <p:nvPr/>
        </p:nvSpPr>
        <p:spPr>
          <a:xfrm>
            <a:off x="5353575" y="3451225"/>
            <a:ext cx="843324" cy="2455"/>
          </a:xfrm>
          <a:custGeom>
            <a:avLst/>
            <a:gdLst>
              <a:gd name="csX0" fmla="*/ 672 w 843324"/>
              <a:gd name="csY0" fmla="*/ 0 h 2455"/>
              <a:gd name="csX1" fmla="*/ 843324 w 843324"/>
              <a:gd name="csY1" fmla="*/ 0 h 2455"/>
              <a:gd name="csX2" fmla="*/ 843310 w 843324"/>
              <a:gd name="csY2" fmla="*/ 2455 h 2455"/>
              <a:gd name="csX3" fmla="*/ 0 w 843324"/>
              <a:gd name="csY3" fmla="*/ 2455 h 2455"/>
              <a:gd name="csX4" fmla="*/ 672 w 843324"/>
              <a:gd name="csY4" fmla="*/ 0 h 245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843324" h="2455">
                <a:moveTo>
                  <a:pt x="672" y="0"/>
                </a:moveTo>
                <a:lnTo>
                  <a:pt x="843324" y="0"/>
                </a:lnTo>
                <a:lnTo>
                  <a:pt x="843310" y="2455"/>
                </a:lnTo>
                <a:lnTo>
                  <a:pt x="0" y="2455"/>
                </a:lnTo>
                <a:lnTo>
                  <a:pt x="672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911" name="Free-form: Shape 3910">
            <a:extLst>
              <a:ext uri="{FF2B5EF4-FFF2-40B4-BE49-F238E27FC236}">
                <a16:creationId xmlns:a16="http://schemas.microsoft.com/office/drawing/2014/main" id="{B617EE19-38D0-5F1A-70FF-6EC87F19A639}"/>
              </a:ext>
            </a:extLst>
          </p:cNvPr>
          <p:cNvSpPr/>
          <p:nvPr/>
        </p:nvSpPr>
        <p:spPr>
          <a:xfrm>
            <a:off x="4394381" y="3453680"/>
            <a:ext cx="959194" cy="210271"/>
          </a:xfrm>
          <a:custGeom>
            <a:avLst/>
            <a:gdLst>
              <a:gd name="csX0" fmla="*/ 116817 w 959194"/>
              <a:gd name="csY0" fmla="*/ 0 h 210271"/>
              <a:gd name="csX1" fmla="*/ 959194 w 959194"/>
              <a:gd name="csY1" fmla="*/ 0 h 210271"/>
              <a:gd name="csX2" fmla="*/ 901577 w 959194"/>
              <a:gd name="csY2" fmla="*/ 210271 h 210271"/>
              <a:gd name="csX3" fmla="*/ 0 w 959194"/>
              <a:gd name="csY3" fmla="*/ 210271 h 210271"/>
              <a:gd name="csX4" fmla="*/ 116817 w 959194"/>
              <a:gd name="csY4" fmla="*/ 0 h 21027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959194" h="210271">
                <a:moveTo>
                  <a:pt x="116817" y="0"/>
                </a:moveTo>
                <a:lnTo>
                  <a:pt x="959194" y="0"/>
                </a:lnTo>
                <a:lnTo>
                  <a:pt x="901577" y="210271"/>
                </a:lnTo>
                <a:lnTo>
                  <a:pt x="0" y="210271"/>
                </a:lnTo>
                <a:lnTo>
                  <a:pt x="116817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916" name="Free-form: Shape 3915">
            <a:extLst>
              <a:ext uri="{FF2B5EF4-FFF2-40B4-BE49-F238E27FC236}">
                <a16:creationId xmlns:a16="http://schemas.microsoft.com/office/drawing/2014/main" id="{A35BD799-D01B-EAF1-236E-C1ECD8937837}"/>
              </a:ext>
            </a:extLst>
          </p:cNvPr>
          <p:cNvSpPr/>
          <p:nvPr/>
        </p:nvSpPr>
        <p:spPr>
          <a:xfrm>
            <a:off x="6195677" y="3453680"/>
            <a:ext cx="869132" cy="210271"/>
          </a:xfrm>
          <a:custGeom>
            <a:avLst/>
            <a:gdLst>
              <a:gd name="csX0" fmla="*/ 1208 w 869132"/>
              <a:gd name="csY0" fmla="*/ 0 h 210271"/>
              <a:gd name="csX1" fmla="*/ 809226 w 869132"/>
              <a:gd name="csY1" fmla="*/ 0 h 210271"/>
              <a:gd name="csX2" fmla="*/ 869132 w 869132"/>
              <a:gd name="csY2" fmla="*/ 210271 h 210271"/>
              <a:gd name="csX3" fmla="*/ 0 w 869132"/>
              <a:gd name="csY3" fmla="*/ 210271 h 210271"/>
              <a:gd name="csX4" fmla="*/ 1208 w 869132"/>
              <a:gd name="csY4" fmla="*/ 0 h 21027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869132" h="210271">
                <a:moveTo>
                  <a:pt x="1208" y="0"/>
                </a:moveTo>
                <a:lnTo>
                  <a:pt x="809226" y="0"/>
                </a:lnTo>
                <a:lnTo>
                  <a:pt x="869132" y="210271"/>
                </a:lnTo>
                <a:lnTo>
                  <a:pt x="0" y="210271"/>
                </a:lnTo>
                <a:lnTo>
                  <a:pt x="1208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915" name="Free-form: Shape 3914">
            <a:extLst>
              <a:ext uri="{FF2B5EF4-FFF2-40B4-BE49-F238E27FC236}">
                <a16:creationId xmlns:a16="http://schemas.microsoft.com/office/drawing/2014/main" id="{E0A4CCCD-395B-6C8E-5F71-7B64F091B284}"/>
              </a:ext>
            </a:extLst>
          </p:cNvPr>
          <p:cNvSpPr/>
          <p:nvPr/>
        </p:nvSpPr>
        <p:spPr>
          <a:xfrm>
            <a:off x="7840315" y="3453680"/>
            <a:ext cx="983705" cy="210271"/>
          </a:xfrm>
          <a:custGeom>
            <a:avLst/>
            <a:gdLst>
              <a:gd name="csX0" fmla="*/ 0 w 983705"/>
              <a:gd name="csY0" fmla="*/ 0 h 210271"/>
              <a:gd name="csX1" fmla="*/ 807788 w 983705"/>
              <a:gd name="csY1" fmla="*/ 0 h 210271"/>
              <a:gd name="csX2" fmla="*/ 983705 w 983705"/>
              <a:gd name="csY2" fmla="*/ 210271 h 210271"/>
              <a:gd name="csX3" fmla="*/ 117151 w 983705"/>
              <a:gd name="csY3" fmla="*/ 210271 h 210271"/>
              <a:gd name="csX4" fmla="*/ 0 w 983705"/>
              <a:gd name="csY4" fmla="*/ 0 h 21027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983705" h="210271">
                <a:moveTo>
                  <a:pt x="0" y="0"/>
                </a:moveTo>
                <a:lnTo>
                  <a:pt x="807788" y="0"/>
                </a:lnTo>
                <a:lnTo>
                  <a:pt x="983705" y="210271"/>
                </a:lnTo>
                <a:lnTo>
                  <a:pt x="117151" y="21027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909" name="Free-form: Shape 3908">
            <a:extLst>
              <a:ext uri="{FF2B5EF4-FFF2-40B4-BE49-F238E27FC236}">
                <a16:creationId xmlns:a16="http://schemas.microsoft.com/office/drawing/2014/main" id="{AE10DB2F-7710-151B-F85C-527EAFBBF6C7}"/>
              </a:ext>
            </a:extLst>
          </p:cNvPr>
          <p:cNvSpPr/>
          <p:nvPr/>
        </p:nvSpPr>
        <p:spPr>
          <a:xfrm>
            <a:off x="5233319" y="3663950"/>
            <a:ext cx="962358" cy="228600"/>
          </a:xfrm>
          <a:custGeom>
            <a:avLst/>
            <a:gdLst>
              <a:gd name="csX0" fmla="*/ 62639 w 962358"/>
              <a:gd name="csY0" fmla="*/ 0 h 228600"/>
              <a:gd name="csX1" fmla="*/ 962358 w 962358"/>
              <a:gd name="csY1" fmla="*/ 0 h 228600"/>
              <a:gd name="csX2" fmla="*/ 961044 w 962358"/>
              <a:gd name="csY2" fmla="*/ 228600 h 228600"/>
              <a:gd name="csX3" fmla="*/ 0 w 962358"/>
              <a:gd name="csY3" fmla="*/ 228600 h 228600"/>
              <a:gd name="csX4" fmla="*/ 62639 w 962358"/>
              <a:gd name="csY4" fmla="*/ 0 h 22860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962358" h="228600">
                <a:moveTo>
                  <a:pt x="62639" y="0"/>
                </a:moveTo>
                <a:lnTo>
                  <a:pt x="962358" y="0"/>
                </a:lnTo>
                <a:lnTo>
                  <a:pt x="961044" y="228600"/>
                </a:lnTo>
                <a:lnTo>
                  <a:pt x="0" y="228600"/>
                </a:lnTo>
                <a:lnTo>
                  <a:pt x="62639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904" name="Free-form: Shape 3903">
            <a:extLst>
              <a:ext uri="{FF2B5EF4-FFF2-40B4-BE49-F238E27FC236}">
                <a16:creationId xmlns:a16="http://schemas.microsoft.com/office/drawing/2014/main" id="{B28D77AC-B665-6C0E-90FB-6D2B5E1E5C93}"/>
              </a:ext>
            </a:extLst>
          </p:cNvPr>
          <p:cNvSpPr/>
          <p:nvPr/>
        </p:nvSpPr>
        <p:spPr>
          <a:xfrm>
            <a:off x="3348963" y="3663950"/>
            <a:ext cx="1045419" cy="228601"/>
          </a:xfrm>
          <a:custGeom>
            <a:avLst/>
            <a:gdLst>
              <a:gd name="csX0" fmla="*/ 191041 w 1045419"/>
              <a:gd name="csY0" fmla="*/ 0 h 228601"/>
              <a:gd name="csX1" fmla="*/ 1045419 w 1045419"/>
              <a:gd name="csY1" fmla="*/ 0 h 228601"/>
              <a:gd name="csX2" fmla="*/ 918418 w 1045419"/>
              <a:gd name="csY2" fmla="*/ 228601 h 228601"/>
              <a:gd name="csX3" fmla="*/ 0 w 1045419"/>
              <a:gd name="csY3" fmla="*/ 228601 h 228601"/>
              <a:gd name="csX4" fmla="*/ 191041 w 1045419"/>
              <a:gd name="csY4" fmla="*/ 0 h 22860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045419" h="228601">
                <a:moveTo>
                  <a:pt x="191041" y="0"/>
                </a:moveTo>
                <a:lnTo>
                  <a:pt x="1045419" y="0"/>
                </a:lnTo>
                <a:lnTo>
                  <a:pt x="918418" y="228601"/>
                </a:lnTo>
                <a:lnTo>
                  <a:pt x="0" y="228601"/>
                </a:lnTo>
                <a:lnTo>
                  <a:pt x="191041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885" name="Free-form: Shape 3884">
            <a:extLst>
              <a:ext uri="{FF2B5EF4-FFF2-40B4-BE49-F238E27FC236}">
                <a16:creationId xmlns:a16="http://schemas.microsoft.com/office/drawing/2014/main" id="{A76DB2BC-13C1-931F-30BA-8885B9713AC8}"/>
              </a:ext>
            </a:extLst>
          </p:cNvPr>
          <p:cNvSpPr/>
          <p:nvPr/>
        </p:nvSpPr>
        <p:spPr>
          <a:xfrm>
            <a:off x="2101596" y="3892551"/>
            <a:ext cx="1247366" cy="276224"/>
          </a:xfrm>
          <a:custGeom>
            <a:avLst/>
            <a:gdLst>
              <a:gd name="csX0" fmla="*/ 314185 w 1247366"/>
              <a:gd name="csY0" fmla="*/ 0 h 276224"/>
              <a:gd name="csX1" fmla="*/ 1247366 w 1247366"/>
              <a:gd name="csY1" fmla="*/ 0 h 276224"/>
              <a:gd name="csX2" fmla="*/ 1016527 w 1247366"/>
              <a:gd name="csY2" fmla="*/ 276224 h 276224"/>
              <a:gd name="csX3" fmla="*/ 0 w 1247366"/>
              <a:gd name="csY3" fmla="*/ 276224 h 276224"/>
              <a:gd name="csX4" fmla="*/ 314185 w 1247366"/>
              <a:gd name="csY4" fmla="*/ 0 h 27622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247366" h="276224">
                <a:moveTo>
                  <a:pt x="314185" y="0"/>
                </a:moveTo>
                <a:lnTo>
                  <a:pt x="1247366" y="0"/>
                </a:lnTo>
                <a:lnTo>
                  <a:pt x="1016527" y="276224"/>
                </a:lnTo>
                <a:lnTo>
                  <a:pt x="0" y="276224"/>
                </a:lnTo>
                <a:lnTo>
                  <a:pt x="314185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884" name="Free-form: Shape 3883">
            <a:extLst>
              <a:ext uri="{FF2B5EF4-FFF2-40B4-BE49-F238E27FC236}">
                <a16:creationId xmlns:a16="http://schemas.microsoft.com/office/drawing/2014/main" id="{19B50595-035A-D66A-8B84-195597B00F03}"/>
              </a:ext>
            </a:extLst>
          </p:cNvPr>
          <p:cNvSpPr/>
          <p:nvPr/>
        </p:nvSpPr>
        <p:spPr>
          <a:xfrm>
            <a:off x="4113922" y="3892551"/>
            <a:ext cx="1119397" cy="276224"/>
          </a:xfrm>
          <a:custGeom>
            <a:avLst/>
            <a:gdLst>
              <a:gd name="csX0" fmla="*/ 153458 w 1119397"/>
              <a:gd name="csY0" fmla="*/ 0 h 276224"/>
              <a:gd name="csX1" fmla="*/ 1119397 w 1119397"/>
              <a:gd name="csY1" fmla="*/ 0 h 276224"/>
              <a:gd name="csX2" fmla="*/ 1043709 w 1119397"/>
              <a:gd name="csY2" fmla="*/ 276224 h 276224"/>
              <a:gd name="csX3" fmla="*/ 0 w 1119397"/>
              <a:gd name="csY3" fmla="*/ 276224 h 276224"/>
              <a:gd name="csX4" fmla="*/ 153458 w 1119397"/>
              <a:gd name="csY4" fmla="*/ 0 h 27622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119397" h="276224">
                <a:moveTo>
                  <a:pt x="153458" y="0"/>
                </a:moveTo>
                <a:lnTo>
                  <a:pt x="1119397" y="0"/>
                </a:lnTo>
                <a:lnTo>
                  <a:pt x="1043709" y="276224"/>
                </a:lnTo>
                <a:lnTo>
                  <a:pt x="0" y="276224"/>
                </a:lnTo>
                <a:lnTo>
                  <a:pt x="153458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883" name="Free-form: Shape 3882">
            <a:extLst>
              <a:ext uri="{FF2B5EF4-FFF2-40B4-BE49-F238E27FC236}">
                <a16:creationId xmlns:a16="http://schemas.microsoft.com/office/drawing/2014/main" id="{114A2178-1425-3176-D85E-E3C67D50E90E}"/>
              </a:ext>
            </a:extLst>
          </p:cNvPr>
          <p:cNvSpPr/>
          <p:nvPr/>
        </p:nvSpPr>
        <p:spPr>
          <a:xfrm>
            <a:off x="2866662" y="4168775"/>
            <a:ext cx="1247260" cy="300901"/>
          </a:xfrm>
          <a:custGeom>
            <a:avLst/>
            <a:gdLst>
              <a:gd name="csX0" fmla="*/ 251461 w 1247260"/>
              <a:gd name="csY0" fmla="*/ 0 h 300901"/>
              <a:gd name="csX1" fmla="*/ 1247260 w 1247260"/>
              <a:gd name="csY1" fmla="*/ 0 h 300901"/>
              <a:gd name="csX2" fmla="*/ 1080093 w 1247260"/>
              <a:gd name="csY2" fmla="*/ 300901 h 300901"/>
              <a:gd name="csX3" fmla="*/ 0 w 1247260"/>
              <a:gd name="csY3" fmla="*/ 300901 h 300901"/>
              <a:gd name="csX4" fmla="*/ 251461 w 1247260"/>
              <a:gd name="csY4" fmla="*/ 0 h 30090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247260" h="300901">
                <a:moveTo>
                  <a:pt x="251461" y="0"/>
                </a:moveTo>
                <a:lnTo>
                  <a:pt x="1247260" y="0"/>
                </a:lnTo>
                <a:lnTo>
                  <a:pt x="1080093" y="300901"/>
                </a:lnTo>
                <a:lnTo>
                  <a:pt x="0" y="300901"/>
                </a:lnTo>
                <a:lnTo>
                  <a:pt x="251461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879" name="Free-form: Shape 3878">
            <a:extLst>
              <a:ext uri="{FF2B5EF4-FFF2-40B4-BE49-F238E27FC236}">
                <a16:creationId xmlns:a16="http://schemas.microsoft.com/office/drawing/2014/main" id="{E072A7B1-C1CB-4DF4-C179-14AC54CA39FF}"/>
              </a:ext>
            </a:extLst>
          </p:cNvPr>
          <p:cNvSpPr/>
          <p:nvPr/>
        </p:nvSpPr>
        <p:spPr>
          <a:xfrm>
            <a:off x="6192775" y="3892551"/>
            <a:ext cx="1015858" cy="276224"/>
          </a:xfrm>
          <a:custGeom>
            <a:avLst/>
            <a:gdLst>
              <a:gd name="csX0" fmla="*/ 1588 w 1015858"/>
              <a:gd name="csY0" fmla="*/ 0 h 276224"/>
              <a:gd name="csX1" fmla="*/ 937162 w 1015858"/>
              <a:gd name="csY1" fmla="*/ 0 h 276224"/>
              <a:gd name="csX2" fmla="*/ 1015858 w 1015858"/>
              <a:gd name="csY2" fmla="*/ 276224 h 276224"/>
              <a:gd name="csX3" fmla="*/ 0 w 1015858"/>
              <a:gd name="csY3" fmla="*/ 276224 h 276224"/>
              <a:gd name="csX4" fmla="*/ 1588 w 1015858"/>
              <a:gd name="csY4" fmla="*/ 0 h 27622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015858" h="276224">
                <a:moveTo>
                  <a:pt x="1588" y="0"/>
                </a:moveTo>
                <a:lnTo>
                  <a:pt x="937162" y="0"/>
                </a:lnTo>
                <a:lnTo>
                  <a:pt x="1015858" y="276224"/>
                </a:lnTo>
                <a:lnTo>
                  <a:pt x="0" y="276224"/>
                </a:lnTo>
                <a:lnTo>
                  <a:pt x="1588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878" name="Free-form: Shape 3877">
            <a:extLst>
              <a:ext uri="{FF2B5EF4-FFF2-40B4-BE49-F238E27FC236}">
                <a16:creationId xmlns:a16="http://schemas.microsoft.com/office/drawing/2014/main" id="{FB66A21E-7FCA-616A-FC67-B57AA379861A}"/>
              </a:ext>
            </a:extLst>
          </p:cNvPr>
          <p:cNvSpPr/>
          <p:nvPr/>
        </p:nvSpPr>
        <p:spPr>
          <a:xfrm>
            <a:off x="5075180" y="4168775"/>
            <a:ext cx="1117595" cy="300902"/>
          </a:xfrm>
          <a:custGeom>
            <a:avLst/>
            <a:gdLst>
              <a:gd name="csX0" fmla="*/ 82451 w 1117595"/>
              <a:gd name="csY0" fmla="*/ 0 h 300902"/>
              <a:gd name="csX1" fmla="*/ 1117595 w 1117595"/>
              <a:gd name="csY1" fmla="*/ 0 h 300902"/>
              <a:gd name="csX2" fmla="*/ 1115866 w 1117595"/>
              <a:gd name="csY2" fmla="*/ 300902 h 300902"/>
              <a:gd name="csX3" fmla="*/ 0 w 1117595"/>
              <a:gd name="csY3" fmla="*/ 300902 h 300902"/>
              <a:gd name="csX4" fmla="*/ 82451 w 1117595"/>
              <a:gd name="csY4" fmla="*/ 0 h 30090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117595" h="300902">
                <a:moveTo>
                  <a:pt x="82451" y="0"/>
                </a:moveTo>
                <a:lnTo>
                  <a:pt x="1117595" y="0"/>
                </a:lnTo>
                <a:lnTo>
                  <a:pt x="1115866" y="300902"/>
                </a:lnTo>
                <a:lnTo>
                  <a:pt x="0" y="300902"/>
                </a:lnTo>
                <a:lnTo>
                  <a:pt x="82451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874" name="Free-form: Shape 3873">
            <a:extLst>
              <a:ext uri="{FF2B5EF4-FFF2-40B4-BE49-F238E27FC236}">
                <a16:creationId xmlns:a16="http://schemas.microsoft.com/office/drawing/2014/main" id="{2F638981-895B-ADB8-7AC2-BC60154C4653}"/>
              </a:ext>
            </a:extLst>
          </p:cNvPr>
          <p:cNvSpPr/>
          <p:nvPr/>
        </p:nvSpPr>
        <p:spPr>
          <a:xfrm>
            <a:off x="8084827" y="3892551"/>
            <a:ext cx="1161538" cy="276224"/>
          </a:xfrm>
          <a:custGeom>
            <a:avLst/>
            <a:gdLst>
              <a:gd name="csX0" fmla="*/ 0 w 1161538"/>
              <a:gd name="csY0" fmla="*/ 0 h 276224"/>
              <a:gd name="csX1" fmla="*/ 930444 w 1161538"/>
              <a:gd name="csY1" fmla="*/ 0 h 276224"/>
              <a:gd name="csX2" fmla="*/ 1161538 w 1161538"/>
              <a:gd name="csY2" fmla="*/ 276224 h 276224"/>
              <a:gd name="csX3" fmla="*/ 153896 w 1161538"/>
              <a:gd name="csY3" fmla="*/ 276224 h 276224"/>
              <a:gd name="csX4" fmla="*/ 0 w 1161538"/>
              <a:gd name="csY4" fmla="*/ 0 h 27622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161538" h="276224">
                <a:moveTo>
                  <a:pt x="0" y="0"/>
                </a:moveTo>
                <a:lnTo>
                  <a:pt x="930444" y="0"/>
                </a:lnTo>
                <a:lnTo>
                  <a:pt x="1161538" y="276224"/>
                </a:lnTo>
                <a:lnTo>
                  <a:pt x="153896" y="276224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873" name="Free-form: Shape 3872">
            <a:extLst>
              <a:ext uri="{FF2B5EF4-FFF2-40B4-BE49-F238E27FC236}">
                <a16:creationId xmlns:a16="http://schemas.microsoft.com/office/drawing/2014/main" id="{AFB231C1-68B9-4FFD-F601-22B85967F66A}"/>
              </a:ext>
            </a:extLst>
          </p:cNvPr>
          <p:cNvSpPr/>
          <p:nvPr/>
        </p:nvSpPr>
        <p:spPr>
          <a:xfrm>
            <a:off x="7208632" y="4168775"/>
            <a:ext cx="1197736" cy="300901"/>
          </a:xfrm>
          <a:custGeom>
            <a:avLst/>
            <a:gdLst>
              <a:gd name="csX0" fmla="*/ 0 w 1197736"/>
              <a:gd name="csY0" fmla="*/ 0 h 300901"/>
              <a:gd name="csX1" fmla="*/ 1030091 w 1197736"/>
              <a:gd name="csY1" fmla="*/ 0 h 300901"/>
              <a:gd name="csX2" fmla="*/ 1197736 w 1197736"/>
              <a:gd name="csY2" fmla="*/ 300901 h 300901"/>
              <a:gd name="csX3" fmla="*/ 85727 w 1197736"/>
              <a:gd name="csY3" fmla="*/ 300901 h 300901"/>
              <a:gd name="csX4" fmla="*/ 0 w 1197736"/>
              <a:gd name="csY4" fmla="*/ 0 h 30090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197736" h="300901">
                <a:moveTo>
                  <a:pt x="0" y="0"/>
                </a:moveTo>
                <a:lnTo>
                  <a:pt x="1030091" y="0"/>
                </a:lnTo>
                <a:lnTo>
                  <a:pt x="1197736" y="300901"/>
                </a:lnTo>
                <a:lnTo>
                  <a:pt x="85727" y="30090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835" name="Free-form: Shape 3834">
            <a:extLst>
              <a:ext uri="{FF2B5EF4-FFF2-40B4-BE49-F238E27FC236}">
                <a16:creationId xmlns:a16="http://schemas.microsoft.com/office/drawing/2014/main" id="{FF790520-CC81-A3B7-A414-DFDF3636E02E}"/>
              </a:ext>
            </a:extLst>
          </p:cNvPr>
          <p:cNvSpPr/>
          <p:nvPr/>
        </p:nvSpPr>
        <p:spPr>
          <a:xfrm>
            <a:off x="1325937" y="4469677"/>
            <a:ext cx="1540725" cy="381039"/>
          </a:xfrm>
          <a:custGeom>
            <a:avLst/>
            <a:gdLst>
              <a:gd name="csX0" fmla="*/ 433404 w 1540725"/>
              <a:gd name="csY0" fmla="*/ 0 h 381039"/>
              <a:gd name="csX1" fmla="*/ 1540725 w 1540725"/>
              <a:gd name="csY1" fmla="*/ 0 h 381039"/>
              <a:gd name="csX2" fmla="*/ 1222293 w 1540725"/>
              <a:gd name="csY2" fmla="*/ 381039 h 381039"/>
              <a:gd name="csX3" fmla="*/ 0 w 1540725"/>
              <a:gd name="csY3" fmla="*/ 381039 h 381039"/>
              <a:gd name="csX4" fmla="*/ 433404 w 1540725"/>
              <a:gd name="csY4" fmla="*/ 0 h 38103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540725" h="381039">
                <a:moveTo>
                  <a:pt x="433404" y="0"/>
                </a:moveTo>
                <a:lnTo>
                  <a:pt x="1540725" y="0"/>
                </a:lnTo>
                <a:lnTo>
                  <a:pt x="1222293" y="381039"/>
                </a:lnTo>
                <a:lnTo>
                  <a:pt x="0" y="381039"/>
                </a:lnTo>
                <a:lnTo>
                  <a:pt x="433404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840" name="Free-form: Shape 3839">
            <a:extLst>
              <a:ext uri="{FF2B5EF4-FFF2-40B4-BE49-F238E27FC236}">
                <a16:creationId xmlns:a16="http://schemas.microsoft.com/office/drawing/2014/main" id="{867E46B4-D4F8-FA8A-8250-B106C50BF8F2}"/>
              </a:ext>
            </a:extLst>
          </p:cNvPr>
          <p:cNvSpPr/>
          <p:nvPr/>
        </p:nvSpPr>
        <p:spPr>
          <a:xfrm>
            <a:off x="3735067" y="4469677"/>
            <a:ext cx="1340113" cy="381039"/>
          </a:xfrm>
          <a:custGeom>
            <a:avLst/>
            <a:gdLst>
              <a:gd name="csX0" fmla="*/ 211688 w 1340113"/>
              <a:gd name="csY0" fmla="*/ 0 h 381039"/>
              <a:gd name="csX1" fmla="*/ 1340113 w 1340113"/>
              <a:gd name="csY1" fmla="*/ 0 h 381039"/>
              <a:gd name="csX2" fmla="*/ 1235704 w 1340113"/>
              <a:gd name="csY2" fmla="*/ 381039 h 381039"/>
              <a:gd name="csX3" fmla="*/ 0 w 1340113"/>
              <a:gd name="csY3" fmla="*/ 381039 h 381039"/>
              <a:gd name="csX4" fmla="*/ 211688 w 1340113"/>
              <a:gd name="csY4" fmla="*/ 0 h 38103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340113" h="381039">
                <a:moveTo>
                  <a:pt x="211688" y="0"/>
                </a:moveTo>
                <a:lnTo>
                  <a:pt x="1340113" y="0"/>
                </a:lnTo>
                <a:lnTo>
                  <a:pt x="1235704" y="381039"/>
                </a:lnTo>
                <a:lnTo>
                  <a:pt x="0" y="381039"/>
                </a:lnTo>
                <a:lnTo>
                  <a:pt x="211688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845" name="Free-form: Shape 3844">
            <a:extLst>
              <a:ext uri="{FF2B5EF4-FFF2-40B4-BE49-F238E27FC236}">
                <a16:creationId xmlns:a16="http://schemas.microsoft.com/office/drawing/2014/main" id="{570CBD6A-4CE2-259C-FCC1-CBB2DE0D1A62}"/>
              </a:ext>
            </a:extLst>
          </p:cNvPr>
          <p:cNvSpPr/>
          <p:nvPr/>
        </p:nvSpPr>
        <p:spPr>
          <a:xfrm>
            <a:off x="6188857" y="4469677"/>
            <a:ext cx="1214061" cy="381039"/>
          </a:xfrm>
          <a:custGeom>
            <a:avLst/>
            <a:gdLst>
              <a:gd name="csX0" fmla="*/ 2190 w 1214061"/>
              <a:gd name="csY0" fmla="*/ 0 h 381039"/>
              <a:gd name="csX1" fmla="*/ 1105503 w 1214061"/>
              <a:gd name="csY1" fmla="*/ 0 h 381039"/>
              <a:gd name="csX2" fmla="*/ 1214061 w 1214061"/>
              <a:gd name="csY2" fmla="*/ 381039 h 381039"/>
              <a:gd name="csX3" fmla="*/ 0 w 1214061"/>
              <a:gd name="csY3" fmla="*/ 381039 h 381039"/>
              <a:gd name="csX4" fmla="*/ 2190 w 1214061"/>
              <a:gd name="csY4" fmla="*/ 0 h 38103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214061" h="381039">
                <a:moveTo>
                  <a:pt x="2190" y="0"/>
                </a:moveTo>
                <a:lnTo>
                  <a:pt x="1105503" y="0"/>
                </a:lnTo>
                <a:lnTo>
                  <a:pt x="1214061" y="381039"/>
                </a:lnTo>
                <a:lnTo>
                  <a:pt x="0" y="381039"/>
                </a:lnTo>
                <a:lnTo>
                  <a:pt x="2190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850" name="Free-form: Shape 3849">
            <a:extLst>
              <a:ext uri="{FF2B5EF4-FFF2-40B4-BE49-F238E27FC236}">
                <a16:creationId xmlns:a16="http://schemas.microsoft.com/office/drawing/2014/main" id="{62957D0B-7A1F-4178-99BF-423B92CF6E31}"/>
              </a:ext>
            </a:extLst>
          </p:cNvPr>
          <p:cNvSpPr/>
          <p:nvPr/>
        </p:nvSpPr>
        <p:spPr>
          <a:xfrm>
            <a:off x="8406368" y="4469677"/>
            <a:ext cx="1410522" cy="381039"/>
          </a:xfrm>
          <a:custGeom>
            <a:avLst/>
            <a:gdLst>
              <a:gd name="csX0" fmla="*/ 0 w 1410522"/>
              <a:gd name="csY0" fmla="*/ 0 h 381039"/>
              <a:gd name="csX1" fmla="*/ 1091737 w 1410522"/>
              <a:gd name="csY1" fmla="*/ 0 h 381039"/>
              <a:gd name="csX2" fmla="*/ 1410522 w 1410522"/>
              <a:gd name="csY2" fmla="*/ 381039 h 381039"/>
              <a:gd name="csX3" fmla="*/ 212293 w 1410522"/>
              <a:gd name="csY3" fmla="*/ 381039 h 381039"/>
              <a:gd name="csX4" fmla="*/ 0 w 1410522"/>
              <a:gd name="csY4" fmla="*/ 0 h 38103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410522" h="381039">
                <a:moveTo>
                  <a:pt x="0" y="0"/>
                </a:moveTo>
                <a:lnTo>
                  <a:pt x="1091737" y="0"/>
                </a:lnTo>
                <a:lnTo>
                  <a:pt x="1410522" y="381039"/>
                </a:lnTo>
                <a:lnTo>
                  <a:pt x="212293" y="38103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6A7C41B-CC60-C8B0-E6F7-61FFC94ACC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0647" y="311858"/>
            <a:ext cx="9789459" cy="1013588"/>
          </a:xfrm>
        </p:spPr>
        <p:txBody>
          <a:bodyPr/>
          <a:lstStyle/>
          <a:p>
            <a:r>
              <a:rPr lang="en-GB"/>
              <a:t>DLBCL is an aggressive cancer with poor outcomes, particularly for certain patient subgroup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9918950-0FFC-B660-037F-DBFC3EA8B5A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70645" y="6356349"/>
            <a:ext cx="10440000" cy="363601"/>
          </a:xfrm>
        </p:spPr>
        <p:txBody>
          <a:bodyPr/>
          <a:lstStyle/>
          <a:p>
            <a:r>
              <a:rPr lang="en-GB"/>
              <a:t>CAR-T, chimeric antigen receptor T-cell therapy; DLBCL, diffuse large B-cell lymphoma; DH/TH, double-hit/triple-hit; HGBL, high-grade B-cell lymphoma.</a:t>
            </a:r>
          </a:p>
          <a:p>
            <a:r>
              <a:rPr lang="en-GB" b="1"/>
              <a:t>1. </a:t>
            </a:r>
            <a:r>
              <a:rPr lang="en-GB"/>
              <a:t>Crump et al. </a:t>
            </a:r>
            <a:r>
              <a:rPr lang="en-GB" i="1"/>
              <a:t>Blood</a:t>
            </a:r>
            <a:r>
              <a:rPr lang="en-GB"/>
              <a:t> 2017 </a:t>
            </a:r>
            <a:r>
              <a:rPr lang="en-GB" b="1"/>
              <a:t>2. </a:t>
            </a:r>
            <a:r>
              <a:rPr lang="en-GB"/>
              <a:t>Wagner-Johnston et al. </a:t>
            </a:r>
            <a:r>
              <a:rPr lang="en-GB" i="1"/>
              <a:t>Blood</a:t>
            </a:r>
            <a:r>
              <a:rPr lang="en-GB"/>
              <a:t> 2015 </a:t>
            </a:r>
            <a:r>
              <a:rPr lang="en-GB" b="1"/>
              <a:t>3. </a:t>
            </a:r>
            <a:r>
              <a:rPr lang="en-GB"/>
              <a:t>Herrera et al. </a:t>
            </a:r>
            <a:r>
              <a:rPr lang="en-GB" i="1"/>
              <a:t>J Clin Oncol </a:t>
            </a:r>
            <a:r>
              <a:rPr lang="en-GB"/>
              <a:t>2017 </a:t>
            </a:r>
            <a:r>
              <a:rPr lang="en-GB" b="1"/>
              <a:t>4. </a:t>
            </a:r>
            <a:r>
              <a:rPr lang="en-GB"/>
              <a:t>McPhail et al. </a:t>
            </a:r>
            <a:r>
              <a:rPr lang="en-GB" i="1" err="1"/>
              <a:t>Haematologica</a:t>
            </a:r>
            <a:r>
              <a:rPr lang="en-GB"/>
              <a:t> 2018 </a:t>
            </a:r>
            <a:r>
              <a:rPr lang="en-GB" b="1"/>
              <a:t>5. </a:t>
            </a:r>
            <a:r>
              <a:rPr lang="en-GB"/>
              <a:t>Olszewski et al. </a:t>
            </a:r>
            <a:r>
              <a:rPr lang="en-GB" i="1"/>
              <a:t>Blood</a:t>
            </a:r>
            <a:r>
              <a:rPr lang="en-GB"/>
              <a:t> 2022 </a:t>
            </a:r>
            <a:r>
              <a:rPr lang="en-GB" b="1"/>
              <a:t>6. </a:t>
            </a:r>
            <a:r>
              <a:rPr lang="en-GB"/>
              <a:t>Chen et al. </a:t>
            </a:r>
            <a:r>
              <a:rPr lang="en-GB" i="1"/>
              <a:t>Clin Exp Med </a:t>
            </a:r>
            <a:r>
              <a:rPr lang="en-GB"/>
              <a:t>2024 </a:t>
            </a:r>
          </a:p>
          <a:p>
            <a:r>
              <a:rPr lang="en-GB" b="1"/>
              <a:t>7.</a:t>
            </a:r>
            <a:r>
              <a:rPr lang="en-GB"/>
              <a:t> Di Blasi et al. </a:t>
            </a:r>
            <a:r>
              <a:rPr lang="en-GB" i="1"/>
              <a:t>Blood</a:t>
            </a:r>
            <a:r>
              <a:rPr lang="en-GB"/>
              <a:t> 2022.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01C7089D-E451-433F-BD44-F8024753F34E}"/>
              </a:ext>
            </a:extLst>
          </p:cNvPr>
          <p:cNvSpPr/>
          <p:nvPr/>
        </p:nvSpPr>
        <p:spPr>
          <a:xfrm>
            <a:off x="2979390" y="3251122"/>
            <a:ext cx="794347" cy="178620"/>
          </a:xfrm>
          <a:prstGeom prst="ellipse">
            <a:avLst/>
          </a:prstGeom>
          <a:solidFill>
            <a:schemeClr val="tx1">
              <a:alpha val="5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" name="Free-form: Shape 9">
            <a:extLst>
              <a:ext uri="{FF2B5EF4-FFF2-40B4-BE49-F238E27FC236}">
                <a16:creationId xmlns:a16="http://schemas.microsoft.com/office/drawing/2014/main" id="{EC902447-8ED8-E801-1BF9-10C7413FE644}"/>
              </a:ext>
            </a:extLst>
          </p:cNvPr>
          <p:cNvSpPr/>
          <p:nvPr/>
        </p:nvSpPr>
        <p:spPr>
          <a:xfrm>
            <a:off x="2875356" y="2346913"/>
            <a:ext cx="1065279" cy="1018362"/>
          </a:xfrm>
          <a:custGeom>
            <a:avLst/>
            <a:gdLst>
              <a:gd name="csX0" fmla="*/ 401579 w 1609516"/>
              <a:gd name="csY0" fmla="*/ 1495809 h 1538630"/>
              <a:gd name="csX1" fmla="*/ 400190 w 1609516"/>
              <a:gd name="csY1" fmla="*/ 1496004 h 1538630"/>
              <a:gd name="csX2" fmla="*/ 401224 w 1609516"/>
              <a:gd name="csY2" fmla="*/ 1496470 h 1538630"/>
              <a:gd name="csX3" fmla="*/ 401224 w 1609516"/>
              <a:gd name="csY3" fmla="*/ 1498590 h 1538630"/>
              <a:gd name="csX4" fmla="*/ 401579 w 1609516"/>
              <a:gd name="csY4" fmla="*/ 1498628 h 1538630"/>
              <a:gd name="csX5" fmla="*/ 401579 w 1609516"/>
              <a:gd name="csY5" fmla="*/ 1495809 h 1538630"/>
              <a:gd name="csX6" fmla="*/ 368755 w 1609516"/>
              <a:gd name="csY6" fmla="*/ 1486512 h 1538630"/>
              <a:gd name="csX7" fmla="*/ 364089 w 1609516"/>
              <a:gd name="csY7" fmla="*/ 1487354 h 1538630"/>
              <a:gd name="csX8" fmla="*/ 364089 w 1609516"/>
              <a:gd name="csY8" fmla="*/ 1487908 h 1538630"/>
              <a:gd name="csX9" fmla="*/ 1049801 w 1609516"/>
              <a:gd name="csY9" fmla="*/ 1484562 h 1538630"/>
              <a:gd name="csX10" fmla="*/ 1046735 w 1609516"/>
              <a:gd name="csY10" fmla="*/ 1485945 h 1538630"/>
              <a:gd name="csX11" fmla="*/ 1046955 w 1609516"/>
              <a:gd name="csY11" fmla="*/ 1486045 h 1538630"/>
              <a:gd name="csX12" fmla="*/ 1049801 w 1609516"/>
              <a:gd name="csY12" fmla="*/ 1485188 h 1538630"/>
              <a:gd name="csX13" fmla="*/ 351234 w 1609516"/>
              <a:gd name="csY13" fmla="*/ 1444508 h 1538630"/>
              <a:gd name="csX14" fmla="*/ 351234 w 1609516"/>
              <a:gd name="csY14" fmla="*/ 1444997 h 1538630"/>
              <a:gd name="csX15" fmla="*/ 351592 w 1609516"/>
              <a:gd name="csY15" fmla="*/ 1445078 h 1538630"/>
              <a:gd name="csX16" fmla="*/ 351908 w 1609516"/>
              <a:gd name="csY16" fmla="*/ 1431206 h 1538630"/>
              <a:gd name="csX17" fmla="*/ 351234 w 1609516"/>
              <a:gd name="csY17" fmla="*/ 1431611 h 1538630"/>
              <a:gd name="csX18" fmla="*/ 351234 w 1609516"/>
              <a:gd name="csY18" fmla="*/ 1432274 h 1538630"/>
              <a:gd name="csX19" fmla="*/ 358162 w 1609516"/>
              <a:gd name="csY19" fmla="*/ 1421494 h 1538630"/>
              <a:gd name="csX20" fmla="*/ 355921 w 1609516"/>
              <a:gd name="csY20" fmla="*/ 1423156 h 1538630"/>
              <a:gd name="csX21" fmla="*/ 355921 w 1609516"/>
              <a:gd name="csY21" fmla="*/ 1423548 h 1538630"/>
              <a:gd name="csX22" fmla="*/ 376098 w 1609516"/>
              <a:gd name="csY22" fmla="*/ 1408347 h 1538630"/>
              <a:gd name="csX23" fmla="*/ 370750 w 1609516"/>
              <a:gd name="csY23" fmla="*/ 1412245 h 1538630"/>
              <a:gd name="csX24" fmla="*/ 375023 w 1609516"/>
              <a:gd name="csY24" fmla="*/ 1411256 h 1538630"/>
              <a:gd name="csX25" fmla="*/ 421956 w 1609516"/>
              <a:gd name="csY25" fmla="*/ 1365623 h 1538630"/>
              <a:gd name="csX26" fmla="*/ 421765 w 1609516"/>
              <a:gd name="csY26" fmla="*/ 1366161 h 1538630"/>
              <a:gd name="csX27" fmla="*/ 421887 w 1609516"/>
              <a:gd name="csY27" fmla="*/ 1366161 h 1538630"/>
              <a:gd name="csX28" fmla="*/ 754553 w 1609516"/>
              <a:gd name="csY28" fmla="*/ 1360575 h 1538630"/>
              <a:gd name="csX29" fmla="*/ 754089 w 1609516"/>
              <a:gd name="csY29" fmla="*/ 1361433 h 1538630"/>
              <a:gd name="csX30" fmla="*/ 754431 w 1609516"/>
              <a:gd name="csY30" fmla="*/ 1361125 h 1538630"/>
              <a:gd name="csX31" fmla="*/ 1277973 w 1609516"/>
              <a:gd name="csY31" fmla="*/ 1332923 h 1538630"/>
              <a:gd name="csX32" fmla="*/ 1277944 w 1609516"/>
              <a:gd name="csY32" fmla="*/ 1332936 h 1538630"/>
              <a:gd name="csX33" fmla="*/ 1277949 w 1609516"/>
              <a:gd name="csY33" fmla="*/ 1333139 h 1538630"/>
              <a:gd name="csX34" fmla="*/ 1268556 w 1609516"/>
              <a:gd name="csY34" fmla="*/ 1321066 h 1538630"/>
              <a:gd name="csX35" fmla="*/ 1268556 w 1609516"/>
              <a:gd name="csY35" fmla="*/ 1325294 h 1538630"/>
              <a:gd name="csX36" fmla="*/ 1265432 w 1609516"/>
              <a:gd name="csY36" fmla="*/ 1325294 h 1538630"/>
              <a:gd name="csX37" fmla="*/ 1265432 w 1609516"/>
              <a:gd name="csY37" fmla="*/ 1340795 h 1538630"/>
              <a:gd name="csX38" fmla="*/ 1265476 w 1609516"/>
              <a:gd name="csY38" fmla="*/ 1340714 h 1538630"/>
              <a:gd name="csX39" fmla="*/ 1265476 w 1609516"/>
              <a:gd name="csY39" fmla="*/ 1325877 h 1538630"/>
              <a:gd name="csX40" fmla="*/ 1268600 w 1609516"/>
              <a:gd name="csY40" fmla="*/ 1325877 h 1538630"/>
              <a:gd name="csX41" fmla="*/ 1268600 w 1609516"/>
              <a:gd name="csY41" fmla="*/ 1321649 h 1538630"/>
              <a:gd name="csX42" fmla="*/ 1273286 w 1609516"/>
              <a:gd name="csY42" fmla="*/ 1321649 h 1538630"/>
              <a:gd name="csX43" fmla="*/ 1273227 w 1609516"/>
              <a:gd name="csY43" fmla="*/ 1321066 h 1538630"/>
              <a:gd name="csX44" fmla="*/ 827891 w 1609516"/>
              <a:gd name="csY44" fmla="*/ 1291474 h 1538630"/>
              <a:gd name="csX45" fmla="*/ 822601 w 1609516"/>
              <a:gd name="csY45" fmla="*/ 1291544 h 1538630"/>
              <a:gd name="csX46" fmla="*/ 818272 w 1609516"/>
              <a:gd name="csY46" fmla="*/ 1292220 h 1538630"/>
              <a:gd name="csX47" fmla="*/ 827891 w 1609516"/>
              <a:gd name="csY47" fmla="*/ 1292047 h 1538630"/>
              <a:gd name="csX48" fmla="*/ 856397 w 1609516"/>
              <a:gd name="csY48" fmla="*/ 1288691 h 1538630"/>
              <a:gd name="csX49" fmla="*/ 865903 w 1609516"/>
              <a:gd name="csY49" fmla="*/ 1290590 h 1538630"/>
              <a:gd name="csX50" fmla="*/ 859999 w 1609516"/>
              <a:gd name="csY50" fmla="*/ 1288752 h 1538630"/>
              <a:gd name="csX51" fmla="*/ 834694 w 1609516"/>
              <a:gd name="csY51" fmla="*/ 1288572 h 1538630"/>
              <a:gd name="csX52" fmla="*/ 828038 w 1609516"/>
              <a:gd name="csY52" fmla="*/ 1288654 h 1538630"/>
              <a:gd name="csX53" fmla="*/ 828038 w 1609516"/>
              <a:gd name="csY53" fmla="*/ 1289214 h 1538630"/>
              <a:gd name="csX54" fmla="*/ 229746 w 1609516"/>
              <a:gd name="csY54" fmla="*/ 1191418 h 1538630"/>
              <a:gd name="csX55" fmla="*/ 227402 w 1609516"/>
              <a:gd name="csY55" fmla="*/ 1191947 h 1538630"/>
              <a:gd name="csX56" fmla="*/ 229315 w 1609516"/>
              <a:gd name="csY56" fmla="*/ 1191947 h 1538630"/>
              <a:gd name="csX57" fmla="*/ 229315 w 1609516"/>
              <a:gd name="csY57" fmla="*/ 1194765 h 1538630"/>
              <a:gd name="csX58" fmla="*/ 231321 w 1609516"/>
              <a:gd name="csY58" fmla="*/ 1194765 h 1538630"/>
              <a:gd name="csX59" fmla="*/ 229746 w 1609516"/>
              <a:gd name="csY59" fmla="*/ 1194236 h 1538630"/>
              <a:gd name="csX60" fmla="*/ 229746 w 1609516"/>
              <a:gd name="csY60" fmla="*/ 1191418 h 1538630"/>
              <a:gd name="csX61" fmla="*/ 215687 w 1609516"/>
              <a:gd name="csY61" fmla="*/ 1187190 h 1538630"/>
              <a:gd name="csX62" fmla="*/ 215198 w 1609516"/>
              <a:gd name="csY62" fmla="*/ 1187720 h 1538630"/>
              <a:gd name="csX63" fmla="*/ 215256 w 1609516"/>
              <a:gd name="csY63" fmla="*/ 1187720 h 1538630"/>
              <a:gd name="csX64" fmla="*/ 215256 w 1609516"/>
              <a:gd name="csY64" fmla="*/ 1191947 h 1538630"/>
              <a:gd name="csX65" fmla="*/ 222721 w 1609516"/>
              <a:gd name="csY65" fmla="*/ 1191947 h 1538630"/>
              <a:gd name="csX66" fmla="*/ 215687 w 1609516"/>
              <a:gd name="csY66" fmla="*/ 1191418 h 1538630"/>
              <a:gd name="csX67" fmla="*/ 215687 w 1609516"/>
              <a:gd name="csY67" fmla="*/ 1187190 h 1538630"/>
              <a:gd name="csX68" fmla="*/ 1279678 w 1609516"/>
              <a:gd name="csY68" fmla="*/ 1082356 h 1538630"/>
              <a:gd name="csX69" fmla="*/ 1271680 w 1609516"/>
              <a:gd name="csY69" fmla="*/ 1084589 h 1538630"/>
              <a:gd name="csX70" fmla="*/ 1282181 w 1609516"/>
              <a:gd name="csY70" fmla="*/ 1082544 h 1538630"/>
              <a:gd name="csX71" fmla="*/ 117703 w 1609516"/>
              <a:gd name="csY71" fmla="*/ 941507 h 1538630"/>
              <a:gd name="csX72" fmla="*/ 112587 w 1609516"/>
              <a:gd name="csY72" fmla="*/ 941985 h 1538630"/>
              <a:gd name="csX73" fmla="*/ 112565 w 1609516"/>
              <a:gd name="csY73" fmla="*/ 942333 h 1538630"/>
              <a:gd name="csX74" fmla="*/ 115665 w 1609516"/>
              <a:gd name="csY74" fmla="*/ 941837 h 1538630"/>
              <a:gd name="csX75" fmla="*/ 144268 w 1609516"/>
              <a:gd name="csY75" fmla="*/ 939395 h 1538630"/>
              <a:gd name="csX76" fmla="*/ 143354 w 1609516"/>
              <a:gd name="csY76" fmla="*/ 939580 h 1538630"/>
              <a:gd name="csX77" fmla="*/ 144077 w 1609516"/>
              <a:gd name="csY77" fmla="*/ 939739 h 1538630"/>
              <a:gd name="csX78" fmla="*/ 162575 w 1609516"/>
              <a:gd name="csY78" fmla="*/ 933530 h 1538630"/>
              <a:gd name="csX79" fmla="*/ 161704 w 1609516"/>
              <a:gd name="csY79" fmla="*/ 935101 h 1538630"/>
              <a:gd name="csX80" fmla="*/ 170045 w 1609516"/>
              <a:gd name="csY80" fmla="*/ 933585 h 1538630"/>
              <a:gd name="csX81" fmla="*/ 1321645 w 1609516"/>
              <a:gd name="csY81" fmla="*/ 918415 h 1538630"/>
              <a:gd name="csX82" fmla="*/ 1321534 w 1609516"/>
              <a:gd name="csY82" fmla="*/ 920177 h 1538630"/>
              <a:gd name="csX83" fmla="*/ 1321740 w 1609516"/>
              <a:gd name="csY83" fmla="*/ 918415 h 1538630"/>
              <a:gd name="csX84" fmla="*/ 1319333 w 1609516"/>
              <a:gd name="csY84" fmla="*/ 915183 h 1538630"/>
              <a:gd name="csX85" fmla="*/ 1318544 w 1609516"/>
              <a:gd name="csY85" fmla="*/ 918029 h 1538630"/>
              <a:gd name="csX86" fmla="*/ 1318702 w 1609516"/>
              <a:gd name="csY86" fmla="*/ 918029 h 1538630"/>
              <a:gd name="csX87" fmla="*/ 1326355 w 1609516"/>
              <a:gd name="csY87" fmla="*/ 907109 h 1538630"/>
              <a:gd name="csX88" fmla="*/ 1326355 w 1609516"/>
              <a:gd name="csY88" fmla="*/ 910983 h 1538630"/>
              <a:gd name="csX89" fmla="*/ 1325831 w 1609516"/>
              <a:gd name="csY89" fmla="*/ 911101 h 1538630"/>
              <a:gd name="csX90" fmla="*/ 1326426 w 1609516"/>
              <a:gd name="csY90" fmla="*/ 911369 h 1538630"/>
              <a:gd name="csX91" fmla="*/ 1326426 w 1609516"/>
              <a:gd name="csY91" fmla="*/ 907141 h 1538630"/>
              <a:gd name="csX92" fmla="*/ 1328144 w 1609516"/>
              <a:gd name="csY92" fmla="*/ 892192 h 1538630"/>
              <a:gd name="csX93" fmla="*/ 1327667 w 1609516"/>
              <a:gd name="csY93" fmla="*/ 893446 h 1538630"/>
              <a:gd name="csX94" fmla="*/ 1327989 w 1609516"/>
              <a:gd name="csY94" fmla="*/ 893049 h 1538630"/>
              <a:gd name="csX95" fmla="*/ 49605 w 1609516"/>
              <a:gd name="csY95" fmla="*/ 887420 h 1538630"/>
              <a:gd name="csX96" fmla="*/ 48549 w 1609516"/>
              <a:gd name="csY96" fmla="*/ 891229 h 1538630"/>
              <a:gd name="csX97" fmla="*/ 49956 w 1609516"/>
              <a:gd name="csY97" fmla="*/ 887420 h 1538630"/>
              <a:gd name="csX98" fmla="*/ 1332266 w 1609516"/>
              <a:gd name="csY98" fmla="*/ 883369 h 1538630"/>
              <a:gd name="csX99" fmla="*/ 1329479 w 1609516"/>
              <a:gd name="csY99" fmla="*/ 884207 h 1538630"/>
              <a:gd name="csX100" fmla="*/ 1329509 w 1609516"/>
              <a:gd name="csY100" fmla="*/ 884816 h 1538630"/>
              <a:gd name="csX101" fmla="*/ 1329551 w 1609516"/>
              <a:gd name="csY101" fmla="*/ 884594 h 1538630"/>
              <a:gd name="csX102" fmla="*/ 1555987 w 1609516"/>
              <a:gd name="csY102" fmla="*/ 821766 h 1538630"/>
              <a:gd name="csX103" fmla="*/ 1555987 w 1609516"/>
              <a:gd name="csY103" fmla="*/ 822201 h 1538630"/>
              <a:gd name="csX104" fmla="*/ 1556081 w 1609516"/>
              <a:gd name="csY104" fmla="*/ 822189 h 1538630"/>
              <a:gd name="csX105" fmla="*/ 1565360 w 1609516"/>
              <a:gd name="csY105" fmla="*/ 810928 h 1538630"/>
              <a:gd name="csX106" fmla="*/ 1564871 w 1609516"/>
              <a:gd name="csY106" fmla="*/ 811809 h 1538630"/>
              <a:gd name="csX107" fmla="*/ 1567314 w 1609516"/>
              <a:gd name="csY107" fmla="*/ 810928 h 1538630"/>
              <a:gd name="csX108" fmla="*/ 1563797 w 1609516"/>
              <a:gd name="csY108" fmla="*/ 810928 h 1538630"/>
              <a:gd name="csX109" fmla="*/ 1556762 w 1609516"/>
              <a:gd name="csY109" fmla="*/ 814736 h 1538630"/>
              <a:gd name="csX110" fmla="*/ 1563797 w 1609516"/>
              <a:gd name="csY110" fmla="*/ 812197 h 1538630"/>
              <a:gd name="csX111" fmla="*/ 265833 w 1609516"/>
              <a:gd name="csY111" fmla="*/ 806020 h 1538630"/>
              <a:gd name="csX112" fmla="*/ 263704 w 1609516"/>
              <a:gd name="csY112" fmla="*/ 809861 h 1538630"/>
              <a:gd name="csX113" fmla="*/ 263704 w 1609516"/>
              <a:gd name="csY113" fmla="*/ 816750 h 1538630"/>
              <a:gd name="csX114" fmla="*/ 264113 w 1609516"/>
              <a:gd name="csY114" fmla="*/ 816565 h 1538630"/>
              <a:gd name="csX115" fmla="*/ 263918 w 1609516"/>
              <a:gd name="csY115" fmla="*/ 812777 h 1538630"/>
              <a:gd name="csX116" fmla="*/ 263774 w 1609516"/>
              <a:gd name="csY116" fmla="*/ 779374 h 1538630"/>
              <a:gd name="csX117" fmla="*/ 263704 w 1609516"/>
              <a:gd name="csY117" fmla="*/ 783086 h 1538630"/>
              <a:gd name="csX118" fmla="*/ 264484 w 1609516"/>
              <a:gd name="csY118" fmla="*/ 785816 h 1538630"/>
              <a:gd name="csX119" fmla="*/ 265265 w 1609516"/>
              <a:gd name="csY119" fmla="*/ 794448 h 1538630"/>
              <a:gd name="csX120" fmla="*/ 265217 w 1609516"/>
              <a:gd name="csY120" fmla="*/ 799730 h 1538630"/>
              <a:gd name="csX121" fmla="*/ 266556 w 1609516"/>
              <a:gd name="csY121" fmla="*/ 803466 h 1538630"/>
              <a:gd name="csX122" fmla="*/ 267237 w 1609516"/>
              <a:gd name="csY122" fmla="*/ 801063 h 1538630"/>
              <a:gd name="csX123" fmla="*/ 265675 w 1609516"/>
              <a:gd name="csY123" fmla="*/ 799654 h 1538630"/>
              <a:gd name="csX124" fmla="*/ 265675 w 1609516"/>
              <a:gd name="csY124" fmla="*/ 793841 h 1538630"/>
              <a:gd name="csX125" fmla="*/ 260988 w 1609516"/>
              <a:gd name="csY125" fmla="*/ 770061 h 1538630"/>
              <a:gd name="csX126" fmla="*/ 260988 w 1609516"/>
              <a:gd name="csY126" fmla="*/ 771364 h 1538630"/>
              <a:gd name="csX127" fmla="*/ 263497 w 1609516"/>
              <a:gd name="csY127" fmla="*/ 777263 h 1538630"/>
              <a:gd name="csX128" fmla="*/ 262551 w 1609516"/>
              <a:gd name="csY128" fmla="*/ 770061 h 1538630"/>
              <a:gd name="csX129" fmla="*/ 260988 w 1609516"/>
              <a:gd name="csY129" fmla="*/ 770061 h 1538630"/>
              <a:gd name="csX130" fmla="*/ 157888 w 1609516"/>
              <a:gd name="csY130" fmla="*/ 651686 h 1538630"/>
              <a:gd name="csX131" fmla="*/ 157415 w 1609516"/>
              <a:gd name="csY131" fmla="*/ 651764 h 1538630"/>
              <a:gd name="csX132" fmla="*/ 160373 w 1609516"/>
              <a:gd name="csY132" fmla="*/ 652274 h 1538630"/>
              <a:gd name="csX133" fmla="*/ 267237 w 1609516"/>
              <a:gd name="csY133" fmla="*/ 426537 h 1538630"/>
              <a:gd name="csX134" fmla="*/ 267237 w 1609516"/>
              <a:gd name="csY134" fmla="*/ 427619 h 1538630"/>
              <a:gd name="csX135" fmla="*/ 270380 w 1609516"/>
              <a:gd name="csY135" fmla="*/ 428137 h 1538630"/>
              <a:gd name="csX136" fmla="*/ 273548 w 1609516"/>
              <a:gd name="csY136" fmla="*/ 428680 h 1538630"/>
              <a:gd name="csX137" fmla="*/ 37605 w 1609516"/>
              <a:gd name="csY137" fmla="*/ 359270 h 1538630"/>
              <a:gd name="csX138" fmla="*/ 37103 w 1609516"/>
              <a:gd name="csY138" fmla="*/ 361533 h 1538630"/>
              <a:gd name="csX139" fmla="*/ 37605 w 1609516"/>
              <a:gd name="csY139" fmla="*/ 361382 h 1538630"/>
              <a:gd name="csX140" fmla="*/ 52477 w 1609516"/>
              <a:gd name="csY140" fmla="*/ 337570 h 1538630"/>
              <a:gd name="csX141" fmla="*/ 47288 w 1609516"/>
              <a:gd name="csY141" fmla="*/ 342340 h 1538630"/>
              <a:gd name="csX142" fmla="*/ 45805 w 1609516"/>
              <a:gd name="csY142" fmla="*/ 345093 h 1538630"/>
              <a:gd name="csX143" fmla="*/ 104291 w 1609516"/>
              <a:gd name="csY143" fmla="*/ 336166 h 1538630"/>
              <a:gd name="csX144" fmla="*/ 103776 w 1609516"/>
              <a:gd name="csY144" fmla="*/ 337559 h 1538630"/>
              <a:gd name="csX145" fmla="*/ 108925 w 1609516"/>
              <a:gd name="csY145" fmla="*/ 336166 h 1538630"/>
              <a:gd name="csX146" fmla="*/ 1309237 w 1609516"/>
              <a:gd name="csY146" fmla="*/ 322954 h 1538630"/>
              <a:gd name="csX147" fmla="*/ 1309180 w 1609516"/>
              <a:gd name="csY147" fmla="*/ 330559 h 1538630"/>
              <a:gd name="csX148" fmla="*/ 1309237 w 1609516"/>
              <a:gd name="csY148" fmla="*/ 330520 h 1538630"/>
              <a:gd name="csX149" fmla="*/ 1308964 w 1609516"/>
              <a:gd name="csY149" fmla="*/ 317715 h 1538630"/>
              <a:gd name="csX150" fmla="*/ 1309237 w 1609516"/>
              <a:gd name="csY150" fmla="*/ 318569 h 1538630"/>
              <a:gd name="csX151" fmla="*/ 1309237 w 1609516"/>
              <a:gd name="csY151" fmla="*/ 317838 h 1538630"/>
              <a:gd name="csX152" fmla="*/ 1310087 w 1609516"/>
              <a:gd name="csY152" fmla="*/ 313153 h 1538630"/>
              <a:gd name="csX153" fmla="*/ 1307609 w 1609516"/>
              <a:gd name="csY153" fmla="*/ 313473 h 1538630"/>
              <a:gd name="csX154" fmla="*/ 1308045 w 1609516"/>
              <a:gd name="csY154" fmla="*/ 314836 h 1538630"/>
              <a:gd name="csX155" fmla="*/ 1318544 w 1609516"/>
              <a:gd name="csY155" fmla="*/ 312064 h 1538630"/>
              <a:gd name="csX156" fmla="*/ 1316298 w 1609516"/>
              <a:gd name="csY156" fmla="*/ 312353 h 1538630"/>
              <a:gd name="csX157" fmla="*/ 1318544 w 1609516"/>
              <a:gd name="csY157" fmla="*/ 312205 h 1538630"/>
              <a:gd name="csX158" fmla="*/ 1084622 w 1609516"/>
              <a:gd name="csY158" fmla="*/ 267674 h 1538630"/>
              <a:gd name="csX159" fmla="*/ 1084227 w 1609516"/>
              <a:gd name="csY159" fmla="*/ 268378 h 1538630"/>
              <a:gd name="csX160" fmla="*/ 1079540 w 1609516"/>
              <a:gd name="csY160" fmla="*/ 268378 h 1538630"/>
              <a:gd name="csX161" fmla="*/ 1079603 w 1609516"/>
              <a:gd name="csY161" fmla="*/ 268477 h 1538630"/>
              <a:gd name="csX162" fmla="*/ 1084192 w 1609516"/>
              <a:gd name="csY162" fmla="*/ 268477 h 1538630"/>
              <a:gd name="csX163" fmla="*/ 956410 w 1609516"/>
              <a:gd name="csY163" fmla="*/ 266968 h 1538630"/>
              <a:gd name="csX164" fmla="*/ 957576 w 1609516"/>
              <a:gd name="csY164" fmla="*/ 267083 h 1538630"/>
              <a:gd name="csX165" fmla="*/ 957576 w 1609516"/>
              <a:gd name="csY165" fmla="*/ 269776 h 1538630"/>
              <a:gd name="csX166" fmla="*/ 957694 w 1609516"/>
              <a:gd name="csY166" fmla="*/ 269787 h 1538630"/>
              <a:gd name="csX167" fmla="*/ 957694 w 1609516"/>
              <a:gd name="csY167" fmla="*/ 266968 h 1538630"/>
              <a:gd name="csX168" fmla="*/ 1089372 w 1609516"/>
              <a:gd name="csY168" fmla="*/ 259220 h 1538630"/>
              <a:gd name="csX169" fmla="*/ 1085856 w 1609516"/>
              <a:gd name="csY169" fmla="*/ 265479 h 1538630"/>
              <a:gd name="csX170" fmla="*/ 1088878 w 1609516"/>
              <a:gd name="csY170" fmla="*/ 261431 h 1538630"/>
              <a:gd name="csX171" fmla="*/ 1018517 w 1609516"/>
              <a:gd name="csY171" fmla="*/ 223356 h 1538630"/>
              <a:gd name="csX172" fmla="*/ 1013866 w 1609516"/>
              <a:gd name="csY172" fmla="*/ 226190 h 1538630"/>
              <a:gd name="csX173" fmla="*/ 1013024 w 1609516"/>
              <a:gd name="csY173" fmla="*/ 227709 h 1538630"/>
              <a:gd name="csX174" fmla="*/ 1017055 w 1609516"/>
              <a:gd name="csY174" fmla="*/ 224692 h 1538630"/>
              <a:gd name="csX175" fmla="*/ 850645 w 1609516"/>
              <a:gd name="csY175" fmla="*/ 220099 h 1538630"/>
              <a:gd name="csX176" fmla="*/ 850897 w 1609516"/>
              <a:gd name="csY176" fmla="*/ 221488 h 1538630"/>
              <a:gd name="csX177" fmla="*/ 851470 w 1609516"/>
              <a:gd name="csY177" fmla="*/ 224692 h 1538630"/>
              <a:gd name="csX178" fmla="*/ 852860 w 1609516"/>
              <a:gd name="csY178" fmla="*/ 224692 h 1538630"/>
              <a:gd name="csX179" fmla="*/ 1155019 w 1609516"/>
              <a:gd name="csY179" fmla="*/ 35 h 1538630"/>
              <a:gd name="csX180" fmla="*/ 1174829 w 1609516"/>
              <a:gd name="csY180" fmla="*/ 4853 h 1538630"/>
              <a:gd name="csX181" fmla="*/ 1179418 w 1609516"/>
              <a:gd name="csY181" fmla="*/ 5998 h 1538630"/>
              <a:gd name="csX182" fmla="*/ 1201385 w 1609516"/>
              <a:gd name="csY182" fmla="*/ 22997 h 1538630"/>
              <a:gd name="csX183" fmla="*/ 1201678 w 1609516"/>
              <a:gd name="csY183" fmla="*/ 62191 h 1538630"/>
              <a:gd name="csX184" fmla="*/ 1198261 w 1609516"/>
              <a:gd name="csY184" fmla="*/ 68268 h 1538630"/>
              <a:gd name="csX185" fmla="*/ 1195723 w 1609516"/>
              <a:gd name="csY185" fmla="*/ 72672 h 1538630"/>
              <a:gd name="csX186" fmla="*/ 1193575 w 1609516"/>
              <a:gd name="csY186" fmla="*/ 75314 h 1538630"/>
              <a:gd name="csX187" fmla="*/ 1190450 w 1609516"/>
              <a:gd name="csY187" fmla="*/ 75314 h 1538630"/>
              <a:gd name="csX188" fmla="*/ 1189474 w 1609516"/>
              <a:gd name="csY188" fmla="*/ 79366 h 1538630"/>
              <a:gd name="csX189" fmla="*/ 1182445 w 1609516"/>
              <a:gd name="csY189" fmla="*/ 85707 h 1538630"/>
              <a:gd name="csX190" fmla="*/ 1177953 w 1609516"/>
              <a:gd name="csY190" fmla="*/ 86588 h 1538630"/>
              <a:gd name="csX191" fmla="*/ 1177953 w 1609516"/>
              <a:gd name="csY191" fmla="*/ 89406 h 1538630"/>
              <a:gd name="csX192" fmla="*/ 1170045 w 1609516"/>
              <a:gd name="csY192" fmla="*/ 94251 h 1538630"/>
              <a:gd name="csX193" fmla="*/ 1143806 w 1609516"/>
              <a:gd name="csY193" fmla="*/ 132828 h 1538630"/>
              <a:gd name="csX194" fmla="*/ 1137338 w 1609516"/>
              <a:gd name="csY194" fmla="*/ 141548 h 1538630"/>
              <a:gd name="csX195" fmla="*/ 1133970 w 1609516"/>
              <a:gd name="csY195" fmla="*/ 149403 h 1538630"/>
              <a:gd name="csX196" fmla="*/ 1127965 w 1609516"/>
              <a:gd name="csY196" fmla="*/ 164095 h 1538630"/>
              <a:gd name="csX197" fmla="*/ 1124762 w 1609516"/>
              <a:gd name="csY197" fmla="*/ 171802 h 1538630"/>
              <a:gd name="csX198" fmla="*/ 1119359 w 1609516"/>
              <a:gd name="csY198" fmla="*/ 184798 h 1538630"/>
              <a:gd name="csX199" fmla="*/ 1111014 w 1609516"/>
              <a:gd name="csY199" fmla="*/ 204941 h 1538630"/>
              <a:gd name="csX200" fmla="*/ 1109729 w 1609516"/>
              <a:gd name="csY200" fmla="*/ 208059 h 1538630"/>
              <a:gd name="csX201" fmla="*/ 1106395 w 1609516"/>
              <a:gd name="csY201" fmla="*/ 216170 h 1538630"/>
              <a:gd name="csX202" fmla="*/ 1102147 w 1609516"/>
              <a:gd name="csY202" fmla="*/ 224810 h 1538630"/>
              <a:gd name="csX203" fmla="*/ 1098261 w 1609516"/>
              <a:gd name="csY203" fmla="*/ 227262 h 1538630"/>
              <a:gd name="csX204" fmla="*/ 1098367 w 1609516"/>
              <a:gd name="csY204" fmla="*/ 238475 h 1538630"/>
              <a:gd name="csX205" fmla="*/ 1097331 w 1609516"/>
              <a:gd name="csY205" fmla="*/ 242358 h 1538630"/>
              <a:gd name="csX206" fmla="*/ 1096201 w 1609516"/>
              <a:gd name="csY206" fmla="*/ 246458 h 1538630"/>
              <a:gd name="csX207" fmla="*/ 1089440 w 1609516"/>
              <a:gd name="csY207" fmla="*/ 279206 h 1538630"/>
              <a:gd name="csX208" fmla="*/ 1087316 w 1609516"/>
              <a:gd name="csY208" fmla="*/ 283978 h 1538630"/>
              <a:gd name="csX209" fmla="*/ 1086822 w 1609516"/>
              <a:gd name="csY209" fmla="*/ 291822 h 1538630"/>
              <a:gd name="csX210" fmla="*/ 1086623 w 1609516"/>
              <a:gd name="csY210" fmla="*/ 296625 h 1538630"/>
              <a:gd name="csX211" fmla="*/ 1086437 w 1609516"/>
              <a:gd name="csY211" fmla="*/ 301681 h 1538630"/>
              <a:gd name="csX212" fmla="*/ 1086233 w 1609516"/>
              <a:gd name="csY212" fmla="*/ 306754 h 1538630"/>
              <a:gd name="csX213" fmla="*/ 1086007 w 1609516"/>
              <a:gd name="csY213" fmla="*/ 312619 h 1538630"/>
              <a:gd name="csX214" fmla="*/ 1087470 w 1609516"/>
              <a:gd name="csY214" fmla="*/ 320554 h 1538630"/>
              <a:gd name="csX215" fmla="*/ 1098285 w 1609516"/>
              <a:gd name="csY215" fmla="*/ 334611 h 1538630"/>
              <a:gd name="csX216" fmla="*/ 1102607 w 1609516"/>
              <a:gd name="csY216" fmla="*/ 337679 h 1538630"/>
              <a:gd name="csX217" fmla="*/ 1106095 w 1609516"/>
              <a:gd name="csY217" fmla="*/ 340248 h 1538630"/>
              <a:gd name="csX218" fmla="*/ 1106095 w 1609516"/>
              <a:gd name="csY218" fmla="*/ 343066 h 1538630"/>
              <a:gd name="csX219" fmla="*/ 1109220 w 1609516"/>
              <a:gd name="csY219" fmla="*/ 343419 h 1538630"/>
              <a:gd name="csX220" fmla="*/ 1126403 w 1609516"/>
              <a:gd name="csY220" fmla="*/ 350112 h 1538630"/>
              <a:gd name="csX221" fmla="*/ 1131871 w 1609516"/>
              <a:gd name="csY221" fmla="*/ 352579 h 1538630"/>
              <a:gd name="csX222" fmla="*/ 1135776 w 1609516"/>
              <a:gd name="csY222" fmla="*/ 354340 h 1538630"/>
              <a:gd name="csX223" fmla="*/ 1135776 w 1609516"/>
              <a:gd name="csY223" fmla="*/ 357158 h 1538630"/>
              <a:gd name="csX224" fmla="*/ 1170143 w 1609516"/>
              <a:gd name="csY224" fmla="*/ 354340 h 1538630"/>
              <a:gd name="csX225" fmla="*/ 1174634 w 1609516"/>
              <a:gd name="csY225" fmla="*/ 352579 h 1538630"/>
              <a:gd name="csX226" fmla="*/ 1190890 w 1609516"/>
              <a:gd name="csY226" fmla="*/ 342907 h 1538630"/>
              <a:gd name="csX227" fmla="*/ 1204021 w 1609516"/>
              <a:gd name="csY227" fmla="*/ 335404 h 1538630"/>
              <a:gd name="csX228" fmla="*/ 1223255 w 1609516"/>
              <a:gd name="csY228" fmla="*/ 319110 h 1538630"/>
              <a:gd name="csX229" fmla="*/ 1226868 w 1609516"/>
              <a:gd name="csY229" fmla="*/ 315587 h 1538630"/>
              <a:gd name="csX230" fmla="*/ 1231859 w 1609516"/>
              <a:gd name="csY230" fmla="*/ 303559 h 1538630"/>
              <a:gd name="csX231" fmla="*/ 1234178 w 1609516"/>
              <a:gd name="csY231" fmla="*/ 298059 h 1538630"/>
              <a:gd name="csX232" fmla="*/ 1237314 w 1609516"/>
              <a:gd name="csY232" fmla="*/ 288195 h 1538630"/>
              <a:gd name="csX233" fmla="*/ 1249811 w 1609516"/>
              <a:gd name="csY233" fmla="*/ 265559 h 1538630"/>
              <a:gd name="csX234" fmla="*/ 1252935 w 1609516"/>
              <a:gd name="csY234" fmla="*/ 265559 h 1538630"/>
              <a:gd name="csX235" fmla="*/ 1252935 w 1609516"/>
              <a:gd name="csY235" fmla="*/ 262741 h 1538630"/>
              <a:gd name="csX236" fmla="*/ 1296675 w 1609516"/>
              <a:gd name="csY236" fmla="*/ 252876 h 1538630"/>
              <a:gd name="csX237" fmla="*/ 1307609 w 1609516"/>
              <a:gd name="csY237" fmla="*/ 255695 h 1538630"/>
              <a:gd name="csX238" fmla="*/ 1307609 w 1609516"/>
              <a:gd name="csY238" fmla="*/ 258513 h 1538630"/>
              <a:gd name="csX239" fmla="*/ 1311887 w 1609516"/>
              <a:gd name="csY239" fmla="*/ 258832 h 1538630"/>
              <a:gd name="csX240" fmla="*/ 1326715 w 1609516"/>
              <a:gd name="csY240" fmla="*/ 269969 h 1538630"/>
              <a:gd name="csX241" fmla="*/ 1334165 w 1609516"/>
              <a:gd name="csY241" fmla="*/ 307836 h 1538630"/>
              <a:gd name="csX242" fmla="*/ 1329479 w 1609516"/>
              <a:gd name="csY242" fmla="*/ 314882 h 1538630"/>
              <a:gd name="csX243" fmla="*/ 1323231 w 1609516"/>
              <a:gd name="csY243" fmla="*/ 314882 h 1538630"/>
              <a:gd name="csX244" fmla="*/ 1323231 w 1609516"/>
              <a:gd name="csY244" fmla="*/ 317700 h 1538630"/>
              <a:gd name="csX245" fmla="*/ 1322774 w 1609516"/>
              <a:gd name="csY245" fmla="*/ 317838 h 1538630"/>
              <a:gd name="csX246" fmla="*/ 1323295 w 1609516"/>
              <a:gd name="csY246" fmla="*/ 317838 h 1538630"/>
              <a:gd name="csX247" fmla="*/ 1323295 w 1609516"/>
              <a:gd name="csY247" fmla="*/ 315019 h 1538630"/>
              <a:gd name="csX248" fmla="*/ 1327982 w 1609516"/>
              <a:gd name="csY248" fmla="*/ 315019 h 1538630"/>
              <a:gd name="csX249" fmla="*/ 1317047 w 1609516"/>
              <a:gd name="csY249" fmla="*/ 327702 h 1538630"/>
              <a:gd name="csX250" fmla="*/ 1315484 w 1609516"/>
              <a:gd name="csY250" fmla="*/ 331930 h 1538630"/>
              <a:gd name="csX251" fmla="*/ 1309139 w 1609516"/>
              <a:gd name="csY251" fmla="*/ 333603 h 1538630"/>
              <a:gd name="csX252" fmla="*/ 1305666 w 1609516"/>
              <a:gd name="csY252" fmla="*/ 334280 h 1538630"/>
              <a:gd name="csX253" fmla="*/ 1302988 w 1609516"/>
              <a:gd name="csY253" fmla="*/ 334748 h 1538630"/>
              <a:gd name="csX254" fmla="*/ 1305905 w 1609516"/>
              <a:gd name="csY254" fmla="*/ 332775 h 1538630"/>
              <a:gd name="csX255" fmla="*/ 1304485 w 1609516"/>
              <a:gd name="csY255" fmla="*/ 333202 h 1538630"/>
              <a:gd name="csX256" fmla="*/ 1301459 w 1609516"/>
              <a:gd name="csY256" fmla="*/ 336108 h 1538630"/>
              <a:gd name="csX257" fmla="*/ 1291989 w 1609516"/>
              <a:gd name="csY257" fmla="*/ 338839 h 1538630"/>
              <a:gd name="csX258" fmla="*/ 1290426 w 1609516"/>
              <a:gd name="csY258" fmla="*/ 343066 h 1538630"/>
              <a:gd name="csX259" fmla="*/ 1285740 w 1609516"/>
              <a:gd name="csY259" fmla="*/ 344123 h 1538630"/>
              <a:gd name="csX260" fmla="*/ 1237314 w 1609516"/>
              <a:gd name="csY260" fmla="*/ 382525 h 1538630"/>
              <a:gd name="csX261" fmla="*/ 1232628 w 1609516"/>
              <a:gd name="csY261" fmla="*/ 392389 h 1538630"/>
              <a:gd name="csX262" fmla="*/ 1228625 w 1609516"/>
              <a:gd name="csY262" fmla="*/ 398731 h 1538630"/>
              <a:gd name="csX263" fmla="*/ 1222822 w 1609516"/>
              <a:gd name="csY263" fmla="*/ 434798 h 1538630"/>
              <a:gd name="csX264" fmla="*/ 1260746 w 1609516"/>
              <a:gd name="csY264" fmla="*/ 485398 h 1538630"/>
              <a:gd name="csX265" fmla="*/ 1268556 w 1609516"/>
              <a:gd name="csY265" fmla="*/ 488216 h 1538630"/>
              <a:gd name="csX266" fmla="*/ 1268556 w 1609516"/>
              <a:gd name="csY266" fmla="*/ 491034 h 1538630"/>
              <a:gd name="csX267" fmla="*/ 1338852 w 1609516"/>
              <a:gd name="csY267" fmla="*/ 489625 h 1538630"/>
              <a:gd name="csX268" fmla="*/ 1347444 w 1609516"/>
              <a:gd name="csY268" fmla="*/ 488480 h 1538630"/>
              <a:gd name="csX269" fmla="*/ 1369362 w 1609516"/>
              <a:gd name="csY269" fmla="*/ 482513 h 1538630"/>
              <a:gd name="csX270" fmla="*/ 1388840 w 1609516"/>
              <a:gd name="csY270" fmla="*/ 478351 h 1538630"/>
              <a:gd name="csX271" fmla="*/ 1388840 w 1609516"/>
              <a:gd name="csY271" fmla="*/ 475533 h 1538630"/>
              <a:gd name="csX272" fmla="*/ 1395576 w 1609516"/>
              <a:gd name="csY272" fmla="*/ 473419 h 1538630"/>
              <a:gd name="csX273" fmla="*/ 1399365 w 1609516"/>
              <a:gd name="csY273" fmla="*/ 472230 h 1538630"/>
              <a:gd name="csX274" fmla="*/ 1407585 w 1609516"/>
              <a:gd name="csY274" fmla="*/ 471305 h 1538630"/>
              <a:gd name="csX275" fmla="*/ 1409147 w 1609516"/>
              <a:gd name="csY275" fmla="*/ 467078 h 1538630"/>
              <a:gd name="csX276" fmla="*/ 1416470 w 1609516"/>
              <a:gd name="csY276" fmla="*/ 464259 h 1538630"/>
              <a:gd name="csX277" fmla="*/ 1437949 w 1609516"/>
              <a:gd name="csY277" fmla="*/ 455011 h 1538630"/>
              <a:gd name="csX278" fmla="*/ 1452887 w 1609516"/>
              <a:gd name="csY278" fmla="*/ 450167 h 1538630"/>
              <a:gd name="csX279" fmla="*/ 1452887 w 1609516"/>
              <a:gd name="csY279" fmla="*/ 447349 h 1538630"/>
              <a:gd name="csX280" fmla="*/ 1455394 w 1609516"/>
              <a:gd name="csY280" fmla="*/ 446122 h 1538630"/>
              <a:gd name="csX281" fmla="*/ 1466653 w 1609516"/>
              <a:gd name="csY281" fmla="*/ 440567 h 1538630"/>
              <a:gd name="csX282" fmla="*/ 1470598 w 1609516"/>
              <a:gd name="csY282" fmla="*/ 438637 h 1538630"/>
              <a:gd name="csX283" fmla="*/ 1474397 w 1609516"/>
              <a:gd name="csY283" fmla="*/ 436752 h 1538630"/>
              <a:gd name="csX284" fmla="*/ 1477892 w 1609516"/>
              <a:gd name="csY284" fmla="*/ 435030 h 1538630"/>
              <a:gd name="csX285" fmla="*/ 1485691 w 1609516"/>
              <a:gd name="csY285" fmla="*/ 429029 h 1538630"/>
              <a:gd name="csX286" fmla="*/ 1488858 w 1609516"/>
              <a:gd name="csY286" fmla="*/ 427653 h 1538630"/>
              <a:gd name="csX287" fmla="*/ 1495943 w 1609516"/>
              <a:gd name="csY287" fmla="*/ 421454 h 1538630"/>
              <a:gd name="csX288" fmla="*/ 1538608 w 1609516"/>
              <a:gd name="csY288" fmla="*/ 388338 h 1538630"/>
              <a:gd name="csX289" fmla="*/ 1543490 w 1609516"/>
              <a:gd name="csY289" fmla="*/ 388161 h 1538630"/>
              <a:gd name="csX290" fmla="*/ 1547621 w 1609516"/>
              <a:gd name="csY290" fmla="*/ 387804 h 1538630"/>
              <a:gd name="csX291" fmla="*/ 1579418 w 1609516"/>
              <a:gd name="csY291" fmla="*/ 396617 h 1538630"/>
              <a:gd name="csX292" fmla="*/ 1583342 w 1609516"/>
              <a:gd name="csY292" fmla="*/ 398780 h 1538630"/>
              <a:gd name="csX293" fmla="*/ 1601288 w 1609516"/>
              <a:gd name="csY293" fmla="*/ 423392 h 1538630"/>
              <a:gd name="csX294" fmla="*/ 1594484 w 1609516"/>
              <a:gd name="csY294" fmla="*/ 460159 h 1538630"/>
              <a:gd name="csX295" fmla="*/ 1574732 w 1609516"/>
              <a:gd name="csY295" fmla="*/ 475533 h 1538630"/>
              <a:gd name="csX296" fmla="*/ 1572097 w 1609516"/>
              <a:gd name="csY296" fmla="*/ 477078 h 1538630"/>
              <a:gd name="csX297" fmla="*/ 1556066 w 1609516"/>
              <a:gd name="csY297" fmla="*/ 478737 h 1538630"/>
              <a:gd name="csX298" fmla="*/ 1548631 w 1609516"/>
              <a:gd name="csY298" fmla="*/ 478825 h 1538630"/>
              <a:gd name="csX299" fmla="*/ 1536991 w 1609516"/>
              <a:gd name="csY299" fmla="*/ 478889 h 1538630"/>
              <a:gd name="csX300" fmla="*/ 1498188 w 1609516"/>
              <a:gd name="csY300" fmla="*/ 485398 h 1538630"/>
              <a:gd name="csX301" fmla="*/ 1493892 w 1609516"/>
              <a:gd name="csY301" fmla="*/ 487600 h 1538630"/>
              <a:gd name="csX302" fmla="*/ 1490377 w 1609516"/>
              <a:gd name="csY302" fmla="*/ 489625 h 1538630"/>
              <a:gd name="csX303" fmla="*/ 1471650 w 1609516"/>
              <a:gd name="csY303" fmla="*/ 498185 h 1538630"/>
              <a:gd name="csX304" fmla="*/ 1459135 w 1609516"/>
              <a:gd name="csY304" fmla="*/ 505127 h 1538630"/>
              <a:gd name="csX305" fmla="*/ 1452594 w 1609516"/>
              <a:gd name="csY305" fmla="*/ 508033 h 1538630"/>
              <a:gd name="csX306" fmla="*/ 1427795 w 1609516"/>
              <a:gd name="csY306" fmla="*/ 520100 h 1538630"/>
              <a:gd name="csX307" fmla="*/ 1423733 w 1609516"/>
              <a:gd name="csY307" fmla="*/ 522148 h 1538630"/>
              <a:gd name="csX308" fmla="*/ 1419929 w 1609516"/>
              <a:gd name="csY308" fmla="*/ 524118 h 1538630"/>
              <a:gd name="csX309" fmla="*/ 1416487 w 1609516"/>
              <a:gd name="csY309" fmla="*/ 525883 h 1538630"/>
              <a:gd name="csX310" fmla="*/ 1412271 w 1609516"/>
              <a:gd name="csY310" fmla="*/ 531902 h 1538630"/>
              <a:gd name="csX311" fmla="*/ 1396650 w 1609516"/>
              <a:gd name="csY311" fmla="*/ 537539 h 1538630"/>
              <a:gd name="csX312" fmla="*/ 1396650 w 1609516"/>
              <a:gd name="csY312" fmla="*/ 540357 h 1538630"/>
              <a:gd name="csX313" fmla="*/ 1393495 w 1609516"/>
              <a:gd name="csY313" fmla="*/ 541502 h 1538630"/>
              <a:gd name="csX314" fmla="*/ 1362284 w 1609516"/>
              <a:gd name="csY314" fmla="*/ 558678 h 1538630"/>
              <a:gd name="csX315" fmla="*/ 1355937 w 1609516"/>
              <a:gd name="csY315" fmla="*/ 562905 h 1538630"/>
              <a:gd name="csX316" fmla="*/ 1334165 w 1609516"/>
              <a:gd name="csY316" fmla="*/ 578406 h 1538630"/>
              <a:gd name="csX317" fmla="*/ 1331200 w 1609516"/>
              <a:gd name="csY317" fmla="*/ 580559 h 1538630"/>
              <a:gd name="csX318" fmla="*/ 1322175 w 1609516"/>
              <a:gd name="csY318" fmla="*/ 596793 h 1538630"/>
              <a:gd name="csX319" fmla="*/ 1320106 w 1609516"/>
              <a:gd name="csY319" fmla="*/ 602363 h 1538630"/>
              <a:gd name="csX320" fmla="*/ 1328015 w 1609516"/>
              <a:gd name="csY320" fmla="*/ 647640 h 1538630"/>
              <a:gd name="csX321" fmla="*/ 1332604 w 1609516"/>
              <a:gd name="csY321" fmla="*/ 675643 h 1538630"/>
              <a:gd name="csX322" fmla="*/ 1335727 w 1609516"/>
              <a:gd name="csY322" fmla="*/ 675643 h 1538630"/>
              <a:gd name="csX323" fmla="*/ 1337741 w 1609516"/>
              <a:gd name="csY323" fmla="*/ 690059 h 1538630"/>
              <a:gd name="csX324" fmla="*/ 1338003 w 1609516"/>
              <a:gd name="csY324" fmla="*/ 696222 h 1538630"/>
              <a:gd name="csX325" fmla="*/ 1338340 w 1609516"/>
              <a:gd name="csY325" fmla="*/ 705887 h 1538630"/>
              <a:gd name="csX326" fmla="*/ 1345277 w 1609516"/>
              <a:gd name="csY326" fmla="*/ 733245 h 1538630"/>
              <a:gd name="csX327" fmla="*/ 1363162 w 1609516"/>
              <a:gd name="csY327" fmla="*/ 741612 h 1538630"/>
              <a:gd name="csX328" fmla="*/ 1384154 w 1609516"/>
              <a:gd name="csY328" fmla="*/ 748922 h 1538630"/>
              <a:gd name="csX329" fmla="*/ 1391476 w 1609516"/>
              <a:gd name="csY329" fmla="*/ 750419 h 1538630"/>
              <a:gd name="csX330" fmla="*/ 1395564 w 1609516"/>
              <a:gd name="csY330" fmla="*/ 751080 h 1538630"/>
              <a:gd name="csX331" fmla="*/ 1399775 w 1609516"/>
              <a:gd name="csY331" fmla="*/ 751740 h 1538630"/>
              <a:gd name="csX332" fmla="*/ 1403887 w 1609516"/>
              <a:gd name="csY332" fmla="*/ 752489 h 1538630"/>
              <a:gd name="csX333" fmla="*/ 1465383 w 1609516"/>
              <a:gd name="csY333" fmla="*/ 755969 h 1538630"/>
              <a:gd name="csX334" fmla="*/ 1470339 w 1609516"/>
              <a:gd name="csY334" fmla="*/ 755897 h 1538630"/>
              <a:gd name="csX335" fmla="*/ 1496809 w 1609516"/>
              <a:gd name="csY335" fmla="*/ 749313 h 1538630"/>
              <a:gd name="csX336" fmla="*/ 1515371 w 1609516"/>
              <a:gd name="csY336" fmla="*/ 743285 h 1538630"/>
              <a:gd name="csX337" fmla="*/ 1515371 w 1609516"/>
              <a:gd name="csY337" fmla="*/ 740467 h 1538630"/>
              <a:gd name="csX338" fmla="*/ 1537632 w 1609516"/>
              <a:gd name="csY338" fmla="*/ 737120 h 1538630"/>
              <a:gd name="csX339" fmla="*/ 1541657 w 1609516"/>
              <a:gd name="csY339" fmla="*/ 737127 h 1538630"/>
              <a:gd name="csX340" fmla="*/ 1574732 w 1609516"/>
              <a:gd name="csY340" fmla="*/ 748922 h 1538630"/>
              <a:gd name="csX341" fmla="*/ 1588791 w 1609516"/>
              <a:gd name="csY341" fmla="*/ 792608 h 1538630"/>
              <a:gd name="csX342" fmla="*/ 1584105 w 1609516"/>
              <a:gd name="csY342" fmla="*/ 805291 h 1538630"/>
              <a:gd name="csX343" fmla="*/ 1580981 w 1609516"/>
              <a:gd name="csY343" fmla="*/ 806700 h 1538630"/>
              <a:gd name="csX344" fmla="*/ 1578735 w 1609516"/>
              <a:gd name="csY344" fmla="*/ 810311 h 1538630"/>
              <a:gd name="csX345" fmla="*/ 1576295 w 1609516"/>
              <a:gd name="csY345" fmla="*/ 813746 h 1538630"/>
              <a:gd name="csX346" fmla="*/ 1571652 w 1609516"/>
              <a:gd name="csY346" fmla="*/ 813746 h 1538630"/>
              <a:gd name="csX347" fmla="*/ 1571785 w 1609516"/>
              <a:gd name="csY347" fmla="*/ 814106 h 1538630"/>
              <a:gd name="csX348" fmla="*/ 1574909 w 1609516"/>
              <a:gd name="csY348" fmla="*/ 815515 h 1538630"/>
              <a:gd name="csX349" fmla="*/ 1565463 w 1609516"/>
              <a:gd name="csY349" fmla="*/ 821839 h 1538630"/>
              <a:gd name="csX350" fmla="*/ 1562085 w 1609516"/>
              <a:gd name="csY350" fmla="*/ 822101 h 1538630"/>
              <a:gd name="csX351" fmla="*/ 1551301 w 1609516"/>
              <a:gd name="csY351" fmla="*/ 825020 h 1538630"/>
              <a:gd name="csX352" fmla="*/ 1551301 w 1609516"/>
              <a:gd name="csY352" fmla="*/ 827838 h 1538630"/>
              <a:gd name="csX353" fmla="*/ 1485380 w 1609516"/>
              <a:gd name="csY353" fmla="*/ 815007 h 1538630"/>
              <a:gd name="csX354" fmla="*/ 1431603 w 1609516"/>
              <a:gd name="csY354" fmla="*/ 808726 h 1538630"/>
              <a:gd name="csX355" fmla="*/ 1424140 w 1609516"/>
              <a:gd name="csY355" fmla="*/ 808542 h 1538630"/>
              <a:gd name="csX356" fmla="*/ 1406023 w 1609516"/>
              <a:gd name="csY356" fmla="*/ 808109 h 1538630"/>
              <a:gd name="csX357" fmla="*/ 1406023 w 1609516"/>
              <a:gd name="csY357" fmla="*/ 810928 h 1538630"/>
              <a:gd name="csX358" fmla="*/ 1403383 w 1609516"/>
              <a:gd name="csY358" fmla="*/ 811311 h 1538630"/>
              <a:gd name="csX359" fmla="*/ 1345442 w 1609516"/>
              <a:gd name="csY359" fmla="*/ 828907 h 1538630"/>
              <a:gd name="csX360" fmla="*/ 1337875 w 1609516"/>
              <a:gd name="csY360" fmla="*/ 856639 h 1538630"/>
              <a:gd name="csX361" fmla="*/ 1337692 w 1609516"/>
              <a:gd name="csY361" fmla="*/ 860171 h 1538630"/>
              <a:gd name="csX362" fmla="*/ 1337290 w 1609516"/>
              <a:gd name="csY362" fmla="*/ 868706 h 1538630"/>
              <a:gd name="csX363" fmla="*/ 1334165 w 1609516"/>
              <a:gd name="csY363" fmla="*/ 868706 h 1538630"/>
              <a:gd name="csX364" fmla="*/ 1334165 w 1609516"/>
              <a:gd name="csY364" fmla="*/ 870034 h 1538630"/>
              <a:gd name="csX365" fmla="*/ 1334237 w 1609516"/>
              <a:gd name="csY365" fmla="*/ 869093 h 1538630"/>
              <a:gd name="csX366" fmla="*/ 1335800 w 1609516"/>
              <a:gd name="csY366" fmla="*/ 869093 h 1538630"/>
              <a:gd name="csX367" fmla="*/ 1335995 w 1609516"/>
              <a:gd name="csY367" fmla="*/ 876491 h 1538630"/>
              <a:gd name="csX368" fmla="*/ 1336105 w 1609516"/>
              <a:gd name="csY368" fmla="*/ 880653 h 1538630"/>
              <a:gd name="csX369" fmla="*/ 1334294 w 1609516"/>
              <a:gd name="csY369" fmla="*/ 887271 h 1538630"/>
              <a:gd name="csX370" fmla="*/ 1331455 w 1609516"/>
              <a:gd name="csY370" fmla="*/ 896440 h 1538630"/>
              <a:gd name="csX371" fmla="*/ 1330887 w 1609516"/>
              <a:gd name="csY371" fmla="*/ 899969 h 1538630"/>
              <a:gd name="csX372" fmla="*/ 1330332 w 1609516"/>
              <a:gd name="csY372" fmla="*/ 903618 h 1538630"/>
              <a:gd name="csX373" fmla="*/ 1329209 w 1609516"/>
              <a:gd name="csY373" fmla="*/ 910797 h 1538630"/>
              <a:gd name="csX374" fmla="*/ 1328724 w 1609516"/>
              <a:gd name="csY374" fmla="*/ 913998 h 1538630"/>
              <a:gd name="csX375" fmla="*/ 1324865 w 1609516"/>
              <a:gd name="csY375" fmla="*/ 922643 h 1538630"/>
              <a:gd name="csX376" fmla="*/ 1322619 w 1609516"/>
              <a:gd name="csY376" fmla="*/ 937979 h 1538630"/>
              <a:gd name="csX377" fmla="*/ 1318744 w 1609516"/>
              <a:gd name="csY377" fmla="*/ 944961 h 1538630"/>
              <a:gd name="csX378" fmla="*/ 1318544 w 1609516"/>
              <a:gd name="csY378" fmla="*/ 946213 h 1538630"/>
              <a:gd name="csX379" fmla="*/ 1318251 w 1609516"/>
              <a:gd name="csY379" fmla="*/ 955285 h 1538630"/>
              <a:gd name="csX380" fmla="*/ 1318184 w 1609516"/>
              <a:gd name="csY380" fmla="*/ 960036 h 1538630"/>
              <a:gd name="csX381" fmla="*/ 1324024 w 1609516"/>
              <a:gd name="csY381" fmla="*/ 973660 h 1538630"/>
              <a:gd name="csX382" fmla="*/ 1329284 w 1609516"/>
              <a:gd name="csY382" fmla="*/ 983382 h 1538630"/>
              <a:gd name="csX383" fmla="*/ 1340414 w 1609516"/>
              <a:gd name="csY383" fmla="*/ 998354 h 1538630"/>
              <a:gd name="csX384" fmla="*/ 1346272 w 1609516"/>
              <a:gd name="csY384" fmla="*/ 1005048 h 1538630"/>
              <a:gd name="csX385" fmla="*/ 1394716 w 1609516"/>
              <a:gd name="csY385" fmla="*/ 1042740 h 1538630"/>
              <a:gd name="csX386" fmla="*/ 1401953 w 1609516"/>
              <a:gd name="csY386" fmla="*/ 1047374 h 1538630"/>
              <a:gd name="csX387" fmla="*/ 1427197 w 1609516"/>
              <a:gd name="csY387" fmla="*/ 1059061 h 1538630"/>
              <a:gd name="csX388" fmla="*/ 1437265 w 1609516"/>
              <a:gd name="csY388" fmla="*/ 1064588 h 1538630"/>
              <a:gd name="csX389" fmla="*/ 1437265 w 1609516"/>
              <a:gd name="csY389" fmla="*/ 1067406 h 1538630"/>
              <a:gd name="csX390" fmla="*/ 1440878 w 1609516"/>
              <a:gd name="csY390" fmla="*/ 1067847 h 1538630"/>
              <a:gd name="csX391" fmla="*/ 1447175 w 1609516"/>
              <a:gd name="csY391" fmla="*/ 1070753 h 1538630"/>
              <a:gd name="csX392" fmla="*/ 1457866 w 1609516"/>
              <a:gd name="csY392" fmla="*/ 1076830 h 1538630"/>
              <a:gd name="csX393" fmla="*/ 1462132 w 1609516"/>
              <a:gd name="csY393" fmla="*/ 1078696 h 1538630"/>
              <a:gd name="csX394" fmla="*/ 1465383 w 1609516"/>
              <a:gd name="csY394" fmla="*/ 1080089 h 1538630"/>
              <a:gd name="csX395" fmla="*/ 1465383 w 1609516"/>
              <a:gd name="csY395" fmla="*/ 1082908 h 1538630"/>
              <a:gd name="csX396" fmla="*/ 1468758 w 1609516"/>
              <a:gd name="csY396" fmla="*/ 1083975 h 1538630"/>
              <a:gd name="csX397" fmla="*/ 1481688 w 1609516"/>
              <a:gd name="csY397" fmla="*/ 1091187 h 1538630"/>
              <a:gd name="csX398" fmla="*/ 1486283 w 1609516"/>
              <a:gd name="csY398" fmla="*/ 1094236 h 1538630"/>
              <a:gd name="csX399" fmla="*/ 1494869 w 1609516"/>
              <a:gd name="csY399" fmla="*/ 1100171 h 1538630"/>
              <a:gd name="csX400" fmla="*/ 1544335 w 1609516"/>
              <a:gd name="csY400" fmla="*/ 1109518 h 1538630"/>
              <a:gd name="csX401" fmla="*/ 1593477 w 1609516"/>
              <a:gd name="csY401" fmla="*/ 1119900 h 1538630"/>
              <a:gd name="csX402" fmla="*/ 1605975 w 1609516"/>
              <a:gd name="csY402" fmla="*/ 1144913 h 1538630"/>
              <a:gd name="csX403" fmla="*/ 1609099 w 1609516"/>
              <a:gd name="csY403" fmla="*/ 1144913 h 1538630"/>
              <a:gd name="csX404" fmla="*/ 1609392 w 1609516"/>
              <a:gd name="csY404" fmla="*/ 1156892 h 1538630"/>
              <a:gd name="csX405" fmla="*/ 1609511 w 1609516"/>
              <a:gd name="csY405" fmla="*/ 1160272 h 1538630"/>
              <a:gd name="csX406" fmla="*/ 1604412 w 1609516"/>
              <a:gd name="csY406" fmla="*/ 1181553 h 1538630"/>
              <a:gd name="csX407" fmla="*/ 1601288 w 1609516"/>
              <a:gd name="csY407" fmla="*/ 1190009 h 1538630"/>
              <a:gd name="csX408" fmla="*/ 1598164 w 1609516"/>
              <a:gd name="csY408" fmla="*/ 1190009 h 1538630"/>
              <a:gd name="csX409" fmla="*/ 1597187 w 1609516"/>
              <a:gd name="csY409" fmla="*/ 1192739 h 1538630"/>
              <a:gd name="csX410" fmla="*/ 1595040 w 1609516"/>
              <a:gd name="csY410" fmla="*/ 1195645 h 1538630"/>
              <a:gd name="csX411" fmla="*/ 1585667 w 1609516"/>
              <a:gd name="csY411" fmla="*/ 1197055 h 1538630"/>
              <a:gd name="csX412" fmla="*/ 1582543 w 1609516"/>
              <a:gd name="csY412" fmla="*/ 1202691 h 1538630"/>
              <a:gd name="csX413" fmla="*/ 1562431 w 1609516"/>
              <a:gd name="csY413" fmla="*/ 1204365 h 1538630"/>
              <a:gd name="csX414" fmla="*/ 1558690 w 1609516"/>
              <a:gd name="csY414" fmla="*/ 1204417 h 1538630"/>
              <a:gd name="csX415" fmla="*/ 1521102 w 1609516"/>
              <a:gd name="csY415" fmla="*/ 1189585 h 1538630"/>
              <a:gd name="csX416" fmla="*/ 1505022 w 1609516"/>
              <a:gd name="csY416" fmla="*/ 1172041 h 1538630"/>
              <a:gd name="csX417" fmla="*/ 1457573 w 1609516"/>
              <a:gd name="csY417" fmla="*/ 1140686 h 1538630"/>
              <a:gd name="csX418" fmla="*/ 1457573 w 1609516"/>
              <a:gd name="csY418" fmla="*/ 1137867 h 1538630"/>
              <a:gd name="csX419" fmla="*/ 1452985 w 1609516"/>
              <a:gd name="csY419" fmla="*/ 1137339 h 1538630"/>
              <a:gd name="csX420" fmla="*/ 1448200 w 1609516"/>
              <a:gd name="csY420" fmla="*/ 1136458 h 1538630"/>
              <a:gd name="csX421" fmla="*/ 1446638 w 1609516"/>
              <a:gd name="csY421" fmla="*/ 1133640 h 1538630"/>
              <a:gd name="csX422" fmla="*/ 1438937 w 1609516"/>
              <a:gd name="csY422" fmla="*/ 1130601 h 1538630"/>
              <a:gd name="csX423" fmla="*/ 1429260 w 1609516"/>
              <a:gd name="csY423" fmla="*/ 1126770 h 1538630"/>
              <a:gd name="csX424" fmla="*/ 1411393 w 1609516"/>
              <a:gd name="csY424" fmla="*/ 1120340 h 1538630"/>
              <a:gd name="csX425" fmla="*/ 1391427 w 1609516"/>
              <a:gd name="csY425" fmla="*/ 1111191 h 1538630"/>
              <a:gd name="csX426" fmla="*/ 1381029 w 1609516"/>
              <a:gd name="csY426" fmla="*/ 1106865 h 1538630"/>
              <a:gd name="csX427" fmla="*/ 1381029 w 1609516"/>
              <a:gd name="csY427" fmla="*/ 1104046 h 1538630"/>
              <a:gd name="csX428" fmla="*/ 1377221 w 1609516"/>
              <a:gd name="csY428" fmla="*/ 1103605 h 1538630"/>
              <a:gd name="csX429" fmla="*/ 1357597 w 1609516"/>
              <a:gd name="csY429" fmla="*/ 1098409 h 1538630"/>
              <a:gd name="csX430" fmla="*/ 1352032 w 1609516"/>
              <a:gd name="csY430" fmla="*/ 1096736 h 1538630"/>
              <a:gd name="csX431" fmla="*/ 1348225 w 1609516"/>
              <a:gd name="csY431" fmla="*/ 1095590 h 1538630"/>
              <a:gd name="csX432" fmla="*/ 1348225 w 1609516"/>
              <a:gd name="csY432" fmla="*/ 1092772 h 1538630"/>
              <a:gd name="csX433" fmla="*/ 1337290 w 1609516"/>
              <a:gd name="csY433" fmla="*/ 1091363 h 1538630"/>
              <a:gd name="csX434" fmla="*/ 1337290 w 1609516"/>
              <a:gd name="csY434" fmla="*/ 1088544 h 1538630"/>
              <a:gd name="csX435" fmla="*/ 1331529 w 1609516"/>
              <a:gd name="csY435" fmla="*/ 1088104 h 1538630"/>
              <a:gd name="csX436" fmla="*/ 1323297 w 1609516"/>
              <a:gd name="csY436" fmla="*/ 1086611 h 1538630"/>
              <a:gd name="csX437" fmla="*/ 1323297 w 1609516"/>
              <a:gd name="csY437" fmla="*/ 1087618 h 1538630"/>
              <a:gd name="csX438" fmla="*/ 1319789 w 1609516"/>
              <a:gd name="csY438" fmla="*/ 1087310 h 1538630"/>
              <a:gd name="csX439" fmla="*/ 1262375 w 1609516"/>
              <a:gd name="csY439" fmla="*/ 1089028 h 1538630"/>
              <a:gd name="csX440" fmla="*/ 1258728 w 1609516"/>
              <a:gd name="csY440" fmla="*/ 1088205 h 1538630"/>
              <a:gd name="csX441" fmla="*/ 1246964 w 1609516"/>
              <a:gd name="csY441" fmla="*/ 1091489 h 1538630"/>
              <a:gd name="csX442" fmla="*/ 1223224 w 1609516"/>
              <a:gd name="csY442" fmla="*/ 1112865 h 1538630"/>
              <a:gd name="csX443" fmla="*/ 1213883 w 1609516"/>
              <a:gd name="csY443" fmla="*/ 1122366 h 1538630"/>
              <a:gd name="csX444" fmla="*/ 1212505 w 1609516"/>
              <a:gd name="csY444" fmla="*/ 1125708 h 1538630"/>
              <a:gd name="csX445" fmla="*/ 1204180 w 1609516"/>
              <a:gd name="csY445" fmla="*/ 1135561 h 1538630"/>
              <a:gd name="csX446" fmla="*/ 1200238 w 1609516"/>
              <a:gd name="csY446" fmla="*/ 1138999 h 1538630"/>
              <a:gd name="csX447" fmla="*/ 1192025 w 1609516"/>
              <a:gd name="csY447" fmla="*/ 1146022 h 1538630"/>
              <a:gd name="csX448" fmla="*/ 1173945 w 1609516"/>
              <a:gd name="csY448" fmla="*/ 1174749 h 1538630"/>
              <a:gd name="csX449" fmla="*/ 1173950 w 1609516"/>
              <a:gd name="csY449" fmla="*/ 1182610 h 1538630"/>
              <a:gd name="csX450" fmla="*/ 1173989 w 1609516"/>
              <a:gd name="csY450" fmla="*/ 1186765 h 1538630"/>
              <a:gd name="csX451" fmla="*/ 1182640 w 1609516"/>
              <a:gd name="csY451" fmla="*/ 1215374 h 1538630"/>
              <a:gd name="csX452" fmla="*/ 1185764 w 1609516"/>
              <a:gd name="csY452" fmla="*/ 1221804 h 1538630"/>
              <a:gd name="csX453" fmla="*/ 1187301 w 1609516"/>
              <a:gd name="csY453" fmla="*/ 1224859 h 1538630"/>
              <a:gd name="csX454" fmla="*/ 1190573 w 1609516"/>
              <a:gd name="csY454" fmla="*/ 1231740 h 1538630"/>
              <a:gd name="csX455" fmla="*/ 1205925 w 1609516"/>
              <a:gd name="csY455" fmla="*/ 1255163 h 1538630"/>
              <a:gd name="csX456" fmla="*/ 1212174 w 1609516"/>
              <a:gd name="csY456" fmla="*/ 1263134 h 1538630"/>
              <a:gd name="csX457" fmla="*/ 1235556 w 1609516"/>
              <a:gd name="csY457" fmla="*/ 1282538 h 1538630"/>
              <a:gd name="csX458" fmla="*/ 1238876 w 1609516"/>
              <a:gd name="csY458" fmla="*/ 1284426 h 1538630"/>
              <a:gd name="csX459" fmla="*/ 1238876 w 1609516"/>
              <a:gd name="csY459" fmla="*/ 1287245 h 1538630"/>
              <a:gd name="csX460" fmla="*/ 1242245 w 1609516"/>
              <a:gd name="csY460" fmla="*/ 1287663 h 1538630"/>
              <a:gd name="csX461" fmla="*/ 1271681 w 1609516"/>
              <a:gd name="csY461" fmla="*/ 1305565 h 1538630"/>
              <a:gd name="csX462" fmla="*/ 1271742 w 1609516"/>
              <a:gd name="csY462" fmla="*/ 1306172 h 1538630"/>
              <a:gd name="csX463" fmla="*/ 1278525 w 1609516"/>
              <a:gd name="csY463" fmla="*/ 1315767 h 1538630"/>
              <a:gd name="csX464" fmla="*/ 1281097 w 1609516"/>
              <a:gd name="csY464" fmla="*/ 1327286 h 1538630"/>
              <a:gd name="csX465" fmla="*/ 1277973 w 1609516"/>
              <a:gd name="csY465" fmla="*/ 1355470 h 1538630"/>
              <a:gd name="csX466" fmla="*/ 1277460 w 1609516"/>
              <a:gd name="csY466" fmla="*/ 1347025 h 1538630"/>
              <a:gd name="csX467" fmla="*/ 1273531 w 1609516"/>
              <a:gd name="csY467" fmla="*/ 1357991 h 1538630"/>
              <a:gd name="csX468" fmla="*/ 1263870 w 1609516"/>
              <a:gd name="csY468" fmla="*/ 1368980 h 1538630"/>
              <a:gd name="csX469" fmla="*/ 1246686 w 1609516"/>
              <a:gd name="csY469" fmla="*/ 1376026 h 1538630"/>
              <a:gd name="csX470" fmla="*/ 1246686 w 1609516"/>
              <a:gd name="csY470" fmla="*/ 1378844 h 1538630"/>
              <a:gd name="csX471" fmla="*/ 1231651 w 1609516"/>
              <a:gd name="csY471" fmla="*/ 1379196 h 1538630"/>
              <a:gd name="csX472" fmla="*/ 1227373 w 1609516"/>
              <a:gd name="csY472" fmla="*/ 1379340 h 1538630"/>
              <a:gd name="csX473" fmla="*/ 1206071 w 1609516"/>
              <a:gd name="csY473" fmla="*/ 1373207 h 1538630"/>
              <a:gd name="csX474" fmla="*/ 1202069 w 1609516"/>
              <a:gd name="csY474" fmla="*/ 1371798 h 1538630"/>
              <a:gd name="csX475" fmla="*/ 1184104 w 1609516"/>
              <a:gd name="csY475" fmla="*/ 1356176 h 1538630"/>
              <a:gd name="csX476" fmla="*/ 1177270 w 1609516"/>
              <a:gd name="csY476" fmla="*/ 1335247 h 1538630"/>
              <a:gd name="csX477" fmla="*/ 1169002 w 1609516"/>
              <a:gd name="csY477" fmla="*/ 1313464 h 1538630"/>
              <a:gd name="csX478" fmla="*/ 1163504 w 1609516"/>
              <a:gd name="csY478" fmla="*/ 1302130 h 1538630"/>
              <a:gd name="csX479" fmla="*/ 1162015 w 1609516"/>
              <a:gd name="csY479" fmla="*/ 1298788 h 1538630"/>
              <a:gd name="csX480" fmla="*/ 1160111 w 1609516"/>
              <a:gd name="csY480" fmla="*/ 1292656 h 1538630"/>
              <a:gd name="csX481" fmla="*/ 1154522 w 1609516"/>
              <a:gd name="csY481" fmla="*/ 1287245 h 1538630"/>
              <a:gd name="csX482" fmla="*/ 1151398 w 1609516"/>
              <a:gd name="csY482" fmla="*/ 1280199 h 1538630"/>
              <a:gd name="csX483" fmla="*/ 1144173 w 1609516"/>
              <a:gd name="csY483" fmla="*/ 1270774 h 1538630"/>
              <a:gd name="csX484" fmla="*/ 1142065 w 1609516"/>
              <a:gd name="csY484" fmla="*/ 1268160 h 1538630"/>
              <a:gd name="csX485" fmla="*/ 1135776 w 1609516"/>
              <a:gd name="csY485" fmla="*/ 1260470 h 1538630"/>
              <a:gd name="csX486" fmla="*/ 1132353 w 1609516"/>
              <a:gd name="csY486" fmla="*/ 1256247 h 1538630"/>
              <a:gd name="csX487" fmla="*/ 1112344 w 1609516"/>
              <a:gd name="csY487" fmla="*/ 1240741 h 1538630"/>
              <a:gd name="csX488" fmla="*/ 1106193 w 1609516"/>
              <a:gd name="csY488" fmla="*/ 1237570 h 1538630"/>
              <a:gd name="csX489" fmla="*/ 1101409 w 1609516"/>
              <a:gd name="csY489" fmla="*/ 1235104 h 1538630"/>
              <a:gd name="csX490" fmla="*/ 1101409 w 1609516"/>
              <a:gd name="csY490" fmla="*/ 1230876 h 1538630"/>
              <a:gd name="csX491" fmla="*/ 1065480 w 1609516"/>
              <a:gd name="csY491" fmla="*/ 1230876 h 1538630"/>
              <a:gd name="csX492" fmla="*/ 1063919 w 1609516"/>
              <a:gd name="csY492" fmla="*/ 1235104 h 1538630"/>
              <a:gd name="csX493" fmla="*/ 1059232 w 1609516"/>
              <a:gd name="csY493" fmla="*/ 1235104 h 1538630"/>
              <a:gd name="csX494" fmla="*/ 1059232 w 1609516"/>
              <a:gd name="csY494" fmla="*/ 1237922 h 1538630"/>
              <a:gd name="csX495" fmla="*/ 1040194 w 1609516"/>
              <a:gd name="csY495" fmla="*/ 1245761 h 1538630"/>
              <a:gd name="csX496" fmla="*/ 1030333 w 1609516"/>
              <a:gd name="csY496" fmla="*/ 1249901 h 1538630"/>
              <a:gd name="csX497" fmla="*/ 1013931 w 1609516"/>
              <a:gd name="csY497" fmla="*/ 1256242 h 1538630"/>
              <a:gd name="csX498" fmla="*/ 1005925 w 1609516"/>
              <a:gd name="csY498" fmla="*/ 1261615 h 1538630"/>
              <a:gd name="csX499" fmla="*/ 1004558 w 1609516"/>
              <a:gd name="csY499" fmla="*/ 1264697 h 1538630"/>
              <a:gd name="csX500" fmla="*/ 1002959 w 1609516"/>
              <a:gd name="csY500" fmla="*/ 1267961 h 1538630"/>
              <a:gd name="csX501" fmla="*/ 1000653 w 1609516"/>
              <a:gd name="csY501" fmla="*/ 1278965 h 1538630"/>
              <a:gd name="csX502" fmla="*/ 998297 w 1609516"/>
              <a:gd name="csY502" fmla="*/ 1294137 h 1538630"/>
              <a:gd name="csX503" fmla="*/ 996162 w 1609516"/>
              <a:gd name="csY503" fmla="*/ 1324765 h 1538630"/>
              <a:gd name="csX504" fmla="*/ 996164 w 1609516"/>
              <a:gd name="csY504" fmla="*/ 1327846 h 1538630"/>
              <a:gd name="csX505" fmla="*/ 1007780 w 1609516"/>
              <a:gd name="csY505" fmla="*/ 1403329 h 1538630"/>
              <a:gd name="csX506" fmla="*/ 1008940 w 1609516"/>
              <a:gd name="csY506" fmla="*/ 1407701 h 1538630"/>
              <a:gd name="csX507" fmla="*/ 1010080 w 1609516"/>
              <a:gd name="csY507" fmla="*/ 1411730 h 1538630"/>
              <a:gd name="csX508" fmla="*/ 1011075 w 1609516"/>
              <a:gd name="csY508" fmla="*/ 1415277 h 1538630"/>
              <a:gd name="csX509" fmla="*/ 1017055 w 1609516"/>
              <a:gd name="csY509" fmla="*/ 1422530 h 1538630"/>
              <a:gd name="csX510" fmla="*/ 1020277 w 1609516"/>
              <a:gd name="csY510" fmla="*/ 1427991 h 1538630"/>
              <a:gd name="csX511" fmla="*/ 1021796 w 1609516"/>
              <a:gd name="csY511" fmla="*/ 1430798 h 1538630"/>
              <a:gd name="csX512" fmla="*/ 1024579 w 1609516"/>
              <a:gd name="csY512" fmla="*/ 1437239 h 1538630"/>
              <a:gd name="csX513" fmla="*/ 1034043 w 1609516"/>
              <a:gd name="csY513" fmla="*/ 1448072 h 1538630"/>
              <a:gd name="csX514" fmla="*/ 1043782 w 1609516"/>
              <a:gd name="csY514" fmla="*/ 1464320 h 1538630"/>
              <a:gd name="csX515" fmla="*/ 1050458 w 1609516"/>
              <a:gd name="csY515" fmla="*/ 1472189 h 1538630"/>
              <a:gd name="csX516" fmla="*/ 1052926 w 1609516"/>
              <a:gd name="csY516" fmla="*/ 1482370 h 1538630"/>
              <a:gd name="csX517" fmla="*/ 1053316 w 1609516"/>
              <a:gd name="csY517" fmla="*/ 1496903 h 1538630"/>
              <a:gd name="csX518" fmla="*/ 1053352 w 1609516"/>
              <a:gd name="csY518" fmla="*/ 1500660 h 1538630"/>
              <a:gd name="csX519" fmla="*/ 1053341 w 1609516"/>
              <a:gd name="csY519" fmla="*/ 1504285 h 1538630"/>
              <a:gd name="csX520" fmla="*/ 1053329 w 1609516"/>
              <a:gd name="csY520" fmla="*/ 1507529 h 1538630"/>
              <a:gd name="csX521" fmla="*/ 1049801 w 1609516"/>
              <a:gd name="csY521" fmla="*/ 1516192 h 1538630"/>
              <a:gd name="csX522" fmla="*/ 1047312 w 1609516"/>
              <a:gd name="csY522" fmla="*/ 1516192 h 1538630"/>
              <a:gd name="csX523" fmla="*/ 1043611 w 1609516"/>
              <a:gd name="csY523" fmla="*/ 1522585 h 1538630"/>
              <a:gd name="csX524" fmla="*/ 1029552 w 1609516"/>
              <a:gd name="csY524" fmla="*/ 1529631 h 1538630"/>
              <a:gd name="csX525" fmla="*/ 1028771 w 1609516"/>
              <a:gd name="csY525" fmla="*/ 1532273 h 1538630"/>
              <a:gd name="csX526" fmla="*/ 1018013 w 1609516"/>
              <a:gd name="csY526" fmla="*/ 1537640 h 1538630"/>
              <a:gd name="csX527" fmla="*/ 981126 w 1609516"/>
              <a:gd name="csY527" fmla="*/ 1533859 h 1538630"/>
              <a:gd name="csX528" fmla="*/ 977227 w 1609516"/>
              <a:gd name="csY528" fmla="*/ 1531943 h 1538630"/>
              <a:gd name="csX529" fmla="*/ 955376 w 1609516"/>
              <a:gd name="csY529" fmla="*/ 1508751 h 1538630"/>
              <a:gd name="csX530" fmla="*/ 954571 w 1609516"/>
              <a:gd name="csY530" fmla="*/ 1500037 h 1538630"/>
              <a:gd name="csX531" fmla="*/ 951446 w 1609516"/>
              <a:gd name="csY531" fmla="*/ 1500037 h 1538630"/>
              <a:gd name="csX532" fmla="*/ 951251 w 1609516"/>
              <a:gd name="csY532" fmla="*/ 1487883 h 1538630"/>
              <a:gd name="csX533" fmla="*/ 951171 w 1609516"/>
              <a:gd name="csY533" fmla="*/ 1484431 h 1538630"/>
              <a:gd name="csX534" fmla="*/ 954571 w 1609516"/>
              <a:gd name="csY534" fmla="*/ 1466216 h 1538630"/>
              <a:gd name="csX535" fmla="*/ 954961 w 1609516"/>
              <a:gd name="csY535" fmla="*/ 1455118 h 1538630"/>
              <a:gd name="csX536" fmla="*/ 954932 w 1609516"/>
              <a:gd name="csY536" fmla="*/ 1451972 h 1538630"/>
              <a:gd name="csX537" fmla="*/ 945099 w 1609516"/>
              <a:gd name="csY537" fmla="*/ 1403594 h 1538630"/>
              <a:gd name="csX538" fmla="*/ 942366 w 1609516"/>
              <a:gd name="csY538" fmla="*/ 1393553 h 1538630"/>
              <a:gd name="csX539" fmla="*/ 934451 w 1609516"/>
              <a:gd name="csY539" fmla="*/ 1372734 h 1538630"/>
              <a:gd name="csX540" fmla="*/ 931974 w 1609516"/>
              <a:gd name="csY540" fmla="*/ 1365754 h 1538630"/>
              <a:gd name="csX541" fmla="*/ 931138 w 1609516"/>
              <a:gd name="csY541" fmla="*/ 1363343 h 1538630"/>
              <a:gd name="csX542" fmla="*/ 926452 w 1609516"/>
              <a:gd name="csY542" fmla="*/ 1361933 h 1538630"/>
              <a:gd name="csX543" fmla="*/ 918641 w 1609516"/>
              <a:gd name="csY543" fmla="*/ 1340795 h 1538630"/>
              <a:gd name="csX544" fmla="*/ 917079 w 1609516"/>
              <a:gd name="csY544" fmla="*/ 1335158 h 1538630"/>
              <a:gd name="csX545" fmla="*/ 913955 w 1609516"/>
              <a:gd name="csY545" fmla="*/ 1335158 h 1538630"/>
              <a:gd name="csX546" fmla="*/ 912057 w 1609516"/>
              <a:gd name="csY546" fmla="*/ 1330793 h 1538630"/>
              <a:gd name="csX547" fmla="*/ 902142 w 1609516"/>
              <a:gd name="csY547" fmla="*/ 1316222 h 1538630"/>
              <a:gd name="csX548" fmla="*/ 900091 w 1609516"/>
              <a:gd name="csY548" fmla="*/ 1313828 h 1538630"/>
              <a:gd name="csX549" fmla="*/ 878026 w 1609516"/>
              <a:gd name="csY549" fmla="*/ 1295700 h 1538630"/>
              <a:gd name="csX550" fmla="*/ 875134 w 1609516"/>
              <a:gd name="csY550" fmla="*/ 1293465 h 1538630"/>
              <a:gd name="csX551" fmla="*/ 869869 w 1609516"/>
              <a:gd name="csY551" fmla="*/ 1291826 h 1538630"/>
              <a:gd name="csX552" fmla="*/ 862384 w 1609516"/>
              <a:gd name="csY552" fmla="*/ 1291327 h 1538630"/>
              <a:gd name="csX553" fmla="*/ 844390 w 1609516"/>
              <a:gd name="csY553" fmla="*/ 1290461 h 1538630"/>
              <a:gd name="csX554" fmla="*/ 840476 w 1609516"/>
              <a:gd name="csY554" fmla="*/ 1290500 h 1538630"/>
              <a:gd name="csX555" fmla="*/ 831015 w 1609516"/>
              <a:gd name="csY555" fmla="*/ 1290637 h 1538630"/>
              <a:gd name="csX556" fmla="*/ 831015 w 1609516"/>
              <a:gd name="csY556" fmla="*/ 1293456 h 1538630"/>
              <a:gd name="csX557" fmla="*/ 818225 w 1609516"/>
              <a:gd name="csY557" fmla="*/ 1295570 h 1538630"/>
              <a:gd name="csX558" fmla="*/ 796774 w 1609516"/>
              <a:gd name="csY558" fmla="*/ 1297671 h 1538630"/>
              <a:gd name="csX559" fmla="*/ 783646 w 1609516"/>
              <a:gd name="csY559" fmla="*/ 1305736 h 1538630"/>
              <a:gd name="csX560" fmla="*/ 769263 w 1609516"/>
              <a:gd name="csY560" fmla="*/ 1327143 h 1538630"/>
              <a:gd name="csX561" fmla="*/ 764797 w 1609516"/>
              <a:gd name="csY561" fmla="*/ 1334360 h 1538630"/>
              <a:gd name="csX562" fmla="*/ 757875 w 1609516"/>
              <a:gd name="csY562" fmla="*/ 1353503 h 1538630"/>
              <a:gd name="csX563" fmla="*/ 755676 w 1609516"/>
              <a:gd name="csY563" fmla="*/ 1367455 h 1538630"/>
              <a:gd name="csX564" fmla="*/ 750558 w 1609516"/>
              <a:gd name="csY564" fmla="*/ 1399690 h 1538630"/>
              <a:gd name="csX565" fmla="*/ 753057 w 1609516"/>
              <a:gd name="csY565" fmla="*/ 1411256 h 1538630"/>
              <a:gd name="csX566" fmla="*/ 753057 w 1609516"/>
              <a:gd name="csY566" fmla="*/ 1416893 h 1538630"/>
              <a:gd name="csX567" fmla="*/ 756181 w 1609516"/>
              <a:gd name="csY567" fmla="*/ 1416893 h 1538630"/>
              <a:gd name="csX568" fmla="*/ 758133 w 1609516"/>
              <a:gd name="csY568" fmla="*/ 1436182 h 1538630"/>
              <a:gd name="csX569" fmla="*/ 758231 w 1609516"/>
              <a:gd name="csY569" fmla="*/ 1440781 h 1538630"/>
              <a:gd name="csX570" fmla="*/ 750713 w 1609516"/>
              <a:gd name="csY570" fmla="*/ 1465704 h 1538630"/>
              <a:gd name="csX571" fmla="*/ 748370 w 1609516"/>
              <a:gd name="csY571" fmla="*/ 1467185 h 1538630"/>
              <a:gd name="csX572" fmla="*/ 741633 w 1609516"/>
              <a:gd name="csY572" fmla="*/ 1473526 h 1538630"/>
              <a:gd name="csX573" fmla="*/ 728154 w 1609516"/>
              <a:gd name="csY573" fmla="*/ 1478343 h 1538630"/>
              <a:gd name="csX574" fmla="*/ 721814 w 1609516"/>
              <a:gd name="csY574" fmla="*/ 1480308 h 1538630"/>
              <a:gd name="csX575" fmla="*/ 708341 w 1609516"/>
              <a:gd name="csY575" fmla="*/ 1480661 h 1538630"/>
              <a:gd name="csX576" fmla="*/ 704637 w 1609516"/>
              <a:gd name="csY576" fmla="*/ 1480748 h 1538630"/>
              <a:gd name="csX577" fmla="*/ 668507 w 1609516"/>
              <a:gd name="csY577" fmla="*/ 1468418 h 1538630"/>
              <a:gd name="csX578" fmla="*/ 660178 w 1609516"/>
              <a:gd name="csY578" fmla="*/ 1450027 h 1538630"/>
              <a:gd name="csX579" fmla="*/ 657767 w 1609516"/>
              <a:gd name="csY579" fmla="*/ 1445078 h 1538630"/>
              <a:gd name="csX580" fmla="*/ 663369 w 1609516"/>
              <a:gd name="csY580" fmla="*/ 1409390 h 1538630"/>
              <a:gd name="csX581" fmla="*/ 671826 w 1609516"/>
              <a:gd name="csY581" fmla="*/ 1401392 h 1538630"/>
              <a:gd name="csX582" fmla="*/ 678075 w 1609516"/>
              <a:gd name="csY582" fmla="*/ 1390118 h 1538630"/>
              <a:gd name="csX583" fmla="*/ 684323 w 1609516"/>
              <a:gd name="csY583" fmla="*/ 1388709 h 1538630"/>
              <a:gd name="csX584" fmla="*/ 685293 w 1609516"/>
              <a:gd name="csY584" fmla="*/ 1384233 h 1538630"/>
              <a:gd name="csX585" fmla="*/ 686569 w 1609516"/>
              <a:gd name="csY585" fmla="*/ 1378404 h 1538630"/>
              <a:gd name="csX586" fmla="*/ 687207 w 1609516"/>
              <a:gd name="csY586" fmla="*/ 1375456 h 1538630"/>
              <a:gd name="csX587" fmla="*/ 690572 w 1609516"/>
              <a:gd name="csY587" fmla="*/ 1363343 h 1538630"/>
              <a:gd name="csX588" fmla="*/ 692495 w 1609516"/>
              <a:gd name="csY588" fmla="*/ 1323376 h 1538630"/>
              <a:gd name="csX589" fmla="*/ 692625 w 1609516"/>
              <a:gd name="csY589" fmla="*/ 1315006 h 1538630"/>
              <a:gd name="csX590" fmla="*/ 687447 w 1609516"/>
              <a:gd name="csY590" fmla="*/ 1287245 h 1538630"/>
              <a:gd name="csX591" fmla="*/ 682761 w 1609516"/>
              <a:gd name="csY591" fmla="*/ 1285835 h 1538630"/>
              <a:gd name="csX592" fmla="*/ 678954 w 1609516"/>
              <a:gd name="csY592" fmla="*/ 1281608 h 1538630"/>
              <a:gd name="csX593" fmla="*/ 668702 w 1609516"/>
              <a:gd name="csY593" fmla="*/ 1275971 h 1538630"/>
              <a:gd name="csX594" fmla="*/ 662454 w 1609516"/>
              <a:gd name="csY594" fmla="*/ 1270334 h 1538630"/>
              <a:gd name="csX595" fmla="*/ 654643 w 1609516"/>
              <a:gd name="csY595" fmla="*/ 1267516 h 1538630"/>
              <a:gd name="csX596" fmla="*/ 654643 w 1609516"/>
              <a:gd name="csY596" fmla="*/ 1264697 h 1538630"/>
              <a:gd name="csX597" fmla="*/ 650152 w 1609516"/>
              <a:gd name="csY597" fmla="*/ 1264345 h 1538630"/>
              <a:gd name="csX598" fmla="*/ 628087 w 1609516"/>
              <a:gd name="csY598" fmla="*/ 1257651 h 1538630"/>
              <a:gd name="csX599" fmla="*/ 628087 w 1609516"/>
              <a:gd name="csY599" fmla="*/ 1254833 h 1538630"/>
              <a:gd name="csX600" fmla="*/ 625121 w 1609516"/>
              <a:gd name="csY600" fmla="*/ 1254315 h 1538630"/>
              <a:gd name="csX601" fmla="*/ 621252 w 1609516"/>
              <a:gd name="csY601" fmla="*/ 1253600 h 1538630"/>
              <a:gd name="csX602" fmla="*/ 617409 w 1609516"/>
              <a:gd name="csY602" fmla="*/ 1252906 h 1538630"/>
              <a:gd name="csX603" fmla="*/ 610904 w 1609516"/>
              <a:gd name="csY603" fmla="*/ 1249196 h 1538630"/>
              <a:gd name="csX604" fmla="*/ 565739 w 1609516"/>
              <a:gd name="csY604" fmla="*/ 1271742 h 1538630"/>
              <a:gd name="csX605" fmla="*/ 546924 w 1609516"/>
              <a:gd name="csY605" fmla="*/ 1290829 h 1538630"/>
              <a:gd name="csX606" fmla="*/ 543635 w 1609516"/>
              <a:gd name="csY606" fmla="*/ 1294643 h 1538630"/>
              <a:gd name="csX607" fmla="*/ 540651 w 1609516"/>
              <a:gd name="csY607" fmla="*/ 1298188 h 1538630"/>
              <a:gd name="csX608" fmla="*/ 529673 w 1609516"/>
              <a:gd name="csY608" fmla="*/ 1305565 h 1538630"/>
              <a:gd name="csX609" fmla="*/ 526549 w 1609516"/>
              <a:gd name="csY609" fmla="*/ 1311202 h 1538630"/>
              <a:gd name="csX610" fmla="*/ 523425 w 1609516"/>
              <a:gd name="csY610" fmla="*/ 1311202 h 1538630"/>
              <a:gd name="csX611" fmla="*/ 523230 w 1609516"/>
              <a:gd name="csY611" fmla="*/ 1313580 h 1538630"/>
              <a:gd name="csX612" fmla="*/ 517732 w 1609516"/>
              <a:gd name="csY612" fmla="*/ 1319739 h 1538630"/>
              <a:gd name="csX613" fmla="*/ 502239 w 1609516"/>
              <a:gd name="csY613" fmla="*/ 1337096 h 1538630"/>
              <a:gd name="csX614" fmla="*/ 497058 w 1609516"/>
              <a:gd name="csY614" fmla="*/ 1344087 h 1538630"/>
              <a:gd name="csX615" fmla="*/ 494572 w 1609516"/>
              <a:gd name="csY615" fmla="*/ 1347465 h 1538630"/>
              <a:gd name="csX616" fmla="*/ 487776 w 1609516"/>
              <a:gd name="csY616" fmla="*/ 1356181 h 1538630"/>
              <a:gd name="csX617" fmla="*/ 481248 w 1609516"/>
              <a:gd name="csY617" fmla="*/ 1367571 h 1538630"/>
              <a:gd name="csX618" fmla="*/ 478123 w 1609516"/>
              <a:gd name="csY618" fmla="*/ 1367571 h 1538630"/>
              <a:gd name="csX619" fmla="*/ 477635 w 1609516"/>
              <a:gd name="csY619" fmla="*/ 1370565 h 1538630"/>
              <a:gd name="csX620" fmla="*/ 465626 w 1609516"/>
              <a:gd name="csY620" fmla="*/ 1388709 h 1538630"/>
              <a:gd name="csX621" fmla="*/ 461233 w 1609516"/>
              <a:gd name="csY621" fmla="*/ 1397340 h 1538630"/>
              <a:gd name="csX622" fmla="*/ 455765 w 1609516"/>
              <a:gd name="csY622" fmla="*/ 1408086 h 1538630"/>
              <a:gd name="csX623" fmla="*/ 439070 w 1609516"/>
              <a:gd name="csY623" fmla="*/ 1477490 h 1538630"/>
              <a:gd name="csX624" fmla="*/ 434384 w 1609516"/>
              <a:gd name="csY624" fmla="*/ 1478899 h 1538630"/>
              <a:gd name="csX625" fmla="*/ 432431 w 1609516"/>
              <a:gd name="csY625" fmla="*/ 1481982 h 1538630"/>
              <a:gd name="csX626" fmla="*/ 418763 w 1609516"/>
              <a:gd name="csY626" fmla="*/ 1494401 h 1538630"/>
              <a:gd name="csX627" fmla="*/ 415639 w 1609516"/>
              <a:gd name="csY627" fmla="*/ 1494401 h 1538630"/>
              <a:gd name="csX628" fmla="*/ 415639 w 1609516"/>
              <a:gd name="csY628" fmla="*/ 1497219 h 1538630"/>
              <a:gd name="csX629" fmla="*/ 406265 w 1609516"/>
              <a:gd name="csY629" fmla="*/ 1498628 h 1538630"/>
              <a:gd name="csX630" fmla="*/ 406265 w 1609516"/>
              <a:gd name="csY630" fmla="*/ 1501447 h 1538630"/>
              <a:gd name="csX631" fmla="*/ 375023 w 1609516"/>
              <a:gd name="csY631" fmla="*/ 1501447 h 1538630"/>
              <a:gd name="csX632" fmla="*/ 375023 w 1609516"/>
              <a:gd name="csY632" fmla="*/ 1499438 h 1538630"/>
              <a:gd name="csX633" fmla="*/ 374964 w 1609516"/>
              <a:gd name="csY633" fmla="*/ 1499436 h 1538630"/>
              <a:gd name="csX634" fmla="*/ 373179 w 1609516"/>
              <a:gd name="csY634" fmla="*/ 1498628 h 1538630"/>
              <a:gd name="csX635" fmla="*/ 365650 w 1609516"/>
              <a:gd name="csY635" fmla="*/ 1498628 h 1538630"/>
              <a:gd name="csX636" fmla="*/ 363134 w 1609516"/>
              <a:gd name="csY636" fmla="*/ 1494087 h 1538630"/>
              <a:gd name="csX637" fmla="*/ 362171 w 1609516"/>
              <a:gd name="csY637" fmla="*/ 1493651 h 1538630"/>
              <a:gd name="csX638" fmla="*/ 360609 w 1609516"/>
              <a:gd name="csY638" fmla="*/ 1490833 h 1538630"/>
              <a:gd name="csX639" fmla="*/ 363733 w 1609516"/>
              <a:gd name="csY639" fmla="*/ 1490833 h 1538630"/>
              <a:gd name="csX640" fmla="*/ 363733 w 1609516"/>
              <a:gd name="csY640" fmla="*/ 1489980 h 1538630"/>
              <a:gd name="csX641" fmla="*/ 348467 w 1609516"/>
              <a:gd name="csY641" fmla="*/ 1481717 h 1538630"/>
              <a:gd name="csX642" fmla="*/ 343872 w 1609516"/>
              <a:gd name="csY642" fmla="*/ 1461078 h 1538630"/>
              <a:gd name="csX643" fmla="*/ 343656 w 1609516"/>
              <a:gd name="csY643" fmla="*/ 1463649 h 1538630"/>
              <a:gd name="csX644" fmla="*/ 343424 w 1609516"/>
              <a:gd name="csY644" fmla="*/ 1466842 h 1538630"/>
              <a:gd name="csX645" fmla="*/ 341861 w 1609516"/>
              <a:gd name="csY645" fmla="*/ 1466842 h 1538630"/>
              <a:gd name="csX646" fmla="*/ 354143 w 1609516"/>
              <a:gd name="csY646" fmla="*/ 1420549 h 1538630"/>
              <a:gd name="csX647" fmla="*/ 376229 w 1609516"/>
              <a:gd name="csY647" fmla="*/ 1403427 h 1538630"/>
              <a:gd name="csX648" fmla="*/ 379491 w 1609516"/>
              <a:gd name="csY648" fmla="*/ 1404408 h 1538630"/>
              <a:gd name="csX649" fmla="*/ 379710 w 1609516"/>
              <a:gd name="csY649" fmla="*/ 1404210 h 1538630"/>
              <a:gd name="csX650" fmla="*/ 380882 w 1609516"/>
              <a:gd name="csY650" fmla="*/ 1401568 h 1538630"/>
              <a:gd name="csX651" fmla="*/ 392207 w 1609516"/>
              <a:gd name="csY651" fmla="*/ 1392936 h 1538630"/>
              <a:gd name="csX652" fmla="*/ 399542 w 1609516"/>
              <a:gd name="csY652" fmla="*/ 1386774 h 1538630"/>
              <a:gd name="csX653" fmla="*/ 405485 w 1609516"/>
              <a:gd name="csY653" fmla="*/ 1378917 h 1538630"/>
              <a:gd name="csX654" fmla="*/ 412008 w 1609516"/>
              <a:gd name="csY654" fmla="*/ 1369481 h 1538630"/>
              <a:gd name="csX655" fmla="*/ 421130 w 1609516"/>
              <a:gd name="csY655" fmla="*/ 1357057 h 1538630"/>
              <a:gd name="csX656" fmla="*/ 424676 w 1609516"/>
              <a:gd name="csY656" fmla="*/ 1348443 h 1538630"/>
              <a:gd name="csX657" fmla="*/ 427275 w 1609516"/>
              <a:gd name="csY657" fmla="*/ 1348443 h 1538630"/>
              <a:gd name="csX658" fmla="*/ 428135 w 1609516"/>
              <a:gd name="csY658" fmla="*/ 1345727 h 1538630"/>
              <a:gd name="csX659" fmla="*/ 432822 w 1609516"/>
              <a:gd name="csY659" fmla="*/ 1335158 h 1538630"/>
              <a:gd name="csX660" fmla="*/ 435946 w 1609516"/>
              <a:gd name="csY660" fmla="*/ 1335158 h 1538630"/>
              <a:gd name="csX661" fmla="*/ 437704 w 1609516"/>
              <a:gd name="csY661" fmla="*/ 1329786 h 1538630"/>
              <a:gd name="csX662" fmla="*/ 447394 w 1609516"/>
              <a:gd name="csY662" fmla="*/ 1311196 h 1538630"/>
              <a:gd name="csX663" fmla="*/ 469287 w 1609516"/>
              <a:gd name="csY663" fmla="*/ 1265964 h 1538630"/>
              <a:gd name="csX664" fmla="*/ 478178 w 1609516"/>
              <a:gd name="csY664" fmla="*/ 1246787 h 1538630"/>
              <a:gd name="csX665" fmla="*/ 480179 w 1609516"/>
              <a:gd name="csY665" fmla="*/ 1225768 h 1538630"/>
              <a:gd name="csX666" fmla="*/ 480250 w 1609516"/>
              <a:gd name="csY666" fmla="*/ 1217149 h 1538630"/>
              <a:gd name="csX667" fmla="*/ 462972 w 1609516"/>
              <a:gd name="csY667" fmla="*/ 1174827 h 1538630"/>
              <a:gd name="csX668" fmla="*/ 457468 w 1609516"/>
              <a:gd name="csY668" fmla="*/ 1169949 h 1538630"/>
              <a:gd name="csX669" fmla="*/ 440657 w 1609516"/>
              <a:gd name="csY669" fmla="*/ 1152570 h 1538630"/>
              <a:gd name="csX670" fmla="*/ 403142 w 1609516"/>
              <a:gd name="csY670" fmla="*/ 1122366 h 1538630"/>
              <a:gd name="csX671" fmla="*/ 401579 w 1609516"/>
              <a:gd name="csY671" fmla="*/ 1119547 h 1538630"/>
              <a:gd name="csX672" fmla="*/ 364564 w 1609516"/>
              <a:gd name="csY672" fmla="*/ 1118209 h 1538630"/>
              <a:gd name="csX673" fmla="*/ 357822 w 1609516"/>
              <a:gd name="csY673" fmla="*/ 1122041 h 1538630"/>
              <a:gd name="csX674" fmla="*/ 348077 w 1609516"/>
              <a:gd name="csY674" fmla="*/ 1125273 h 1538630"/>
              <a:gd name="csX675" fmla="*/ 334408 w 1609516"/>
              <a:gd name="csY675" fmla="*/ 1132230 h 1538630"/>
              <a:gd name="csX676" fmla="*/ 327964 w 1609516"/>
              <a:gd name="csY676" fmla="*/ 1134080 h 1538630"/>
              <a:gd name="csX677" fmla="*/ 279734 w 1609516"/>
              <a:gd name="csY677" fmla="*/ 1166051 h 1538630"/>
              <a:gd name="csX678" fmla="*/ 276609 w 1609516"/>
              <a:gd name="csY678" fmla="*/ 1173098 h 1538630"/>
              <a:gd name="csX679" fmla="*/ 260988 w 1609516"/>
              <a:gd name="csY679" fmla="*/ 1188599 h 1538630"/>
              <a:gd name="csX680" fmla="*/ 257956 w 1609516"/>
              <a:gd name="csY680" fmla="*/ 1191132 h 1538630"/>
              <a:gd name="csX681" fmla="*/ 243805 w 1609516"/>
              <a:gd name="csY681" fmla="*/ 1196629 h 1538630"/>
              <a:gd name="csX682" fmla="*/ 243805 w 1609516"/>
              <a:gd name="csY682" fmla="*/ 1194236 h 1538630"/>
              <a:gd name="csX683" fmla="*/ 240288 w 1609516"/>
              <a:gd name="csY683" fmla="*/ 1194765 h 1538630"/>
              <a:gd name="csX684" fmla="*/ 243374 w 1609516"/>
              <a:gd name="csY684" fmla="*/ 1194765 h 1538630"/>
              <a:gd name="csX685" fmla="*/ 243374 w 1609516"/>
              <a:gd name="csY685" fmla="*/ 1196797 h 1538630"/>
              <a:gd name="csX686" fmla="*/ 243805 w 1609516"/>
              <a:gd name="csY686" fmla="*/ 1196629 h 1538630"/>
              <a:gd name="csX687" fmla="*/ 243805 w 1609516"/>
              <a:gd name="csY687" fmla="*/ 1197055 h 1538630"/>
              <a:gd name="csX688" fmla="*/ 243374 w 1609516"/>
              <a:gd name="csY688" fmla="*/ 1197055 h 1538630"/>
              <a:gd name="csX689" fmla="*/ 243374 w 1609516"/>
              <a:gd name="csY689" fmla="*/ 1197584 h 1538630"/>
              <a:gd name="csX690" fmla="*/ 241319 w 1609516"/>
              <a:gd name="csY690" fmla="*/ 1197595 h 1538630"/>
              <a:gd name="csX691" fmla="*/ 238009 w 1609516"/>
              <a:gd name="csY691" fmla="*/ 1198881 h 1538630"/>
              <a:gd name="csX692" fmla="*/ 215687 w 1609516"/>
              <a:gd name="csY692" fmla="*/ 1198464 h 1538630"/>
              <a:gd name="csX693" fmla="*/ 215687 w 1609516"/>
              <a:gd name="csY693" fmla="*/ 1197734 h 1538630"/>
              <a:gd name="csX694" fmla="*/ 213936 w 1609516"/>
              <a:gd name="csY694" fmla="*/ 1197744 h 1538630"/>
              <a:gd name="csX695" fmla="*/ 207446 w 1609516"/>
              <a:gd name="csY695" fmla="*/ 1196175 h 1538630"/>
              <a:gd name="csX696" fmla="*/ 207822 w 1609516"/>
              <a:gd name="csY696" fmla="*/ 1195610 h 1538630"/>
              <a:gd name="csX697" fmla="*/ 184737 w 1609516"/>
              <a:gd name="csY697" fmla="*/ 1180936 h 1538630"/>
              <a:gd name="csX698" fmla="*/ 179270 w 1609516"/>
              <a:gd name="csY698" fmla="*/ 1154866 h 1538630"/>
              <a:gd name="csX699" fmla="*/ 179194 w 1609516"/>
              <a:gd name="csY699" fmla="*/ 1151621 h 1538630"/>
              <a:gd name="csX700" fmla="*/ 193195 w 1609516"/>
              <a:gd name="csY700" fmla="*/ 1120065 h 1538630"/>
              <a:gd name="csX701" fmla="*/ 229551 w 1609516"/>
              <a:gd name="csY701" fmla="*/ 1110299 h 1538630"/>
              <a:gd name="csX702" fmla="*/ 260988 w 1609516"/>
              <a:gd name="csY702" fmla="*/ 1108274 h 1538630"/>
              <a:gd name="csX703" fmla="*/ 260988 w 1609516"/>
              <a:gd name="csY703" fmla="*/ 1105455 h 1538630"/>
              <a:gd name="csX704" fmla="*/ 263911 w 1609516"/>
              <a:gd name="csY704" fmla="*/ 1104310 h 1538630"/>
              <a:gd name="csX705" fmla="*/ 286995 w 1609516"/>
              <a:gd name="csY705" fmla="*/ 1090185 h 1538630"/>
              <a:gd name="csX706" fmla="*/ 299358 w 1609516"/>
              <a:gd name="csY706" fmla="*/ 1080970 h 1538630"/>
              <a:gd name="csX707" fmla="*/ 317762 w 1609516"/>
              <a:gd name="csY707" fmla="*/ 1063272 h 1538630"/>
              <a:gd name="csX708" fmla="*/ 325035 w 1609516"/>
              <a:gd name="csY708" fmla="*/ 1057542 h 1538630"/>
              <a:gd name="csX709" fmla="*/ 325328 w 1609516"/>
              <a:gd name="csY709" fmla="*/ 1023104 h 1538630"/>
              <a:gd name="csX710" fmla="*/ 324544 w 1609516"/>
              <a:gd name="csY710" fmla="*/ 1019247 h 1538630"/>
              <a:gd name="csX711" fmla="*/ 317225 w 1609516"/>
              <a:gd name="csY711" fmla="*/ 996945 h 1538630"/>
              <a:gd name="csX712" fmla="*/ 315388 w 1609516"/>
              <a:gd name="csY712" fmla="*/ 992690 h 1538630"/>
              <a:gd name="csX713" fmla="*/ 276232 w 1609516"/>
              <a:gd name="csY713" fmla="*/ 950666 h 1538630"/>
              <a:gd name="csX714" fmla="*/ 271923 w 1609516"/>
              <a:gd name="csY714" fmla="*/ 949031 h 1538630"/>
              <a:gd name="csX715" fmla="*/ 268299 w 1609516"/>
              <a:gd name="csY715" fmla="*/ 947441 h 1538630"/>
              <a:gd name="csX716" fmla="*/ 199187 w 1609516"/>
              <a:gd name="csY716" fmla="*/ 938991 h 1538630"/>
              <a:gd name="csX717" fmla="*/ 193719 w 1609516"/>
              <a:gd name="csY717" fmla="*/ 938971 h 1538630"/>
              <a:gd name="csX718" fmla="*/ 188539 w 1609516"/>
              <a:gd name="csY718" fmla="*/ 938980 h 1538630"/>
              <a:gd name="csX719" fmla="*/ 183874 w 1609516"/>
              <a:gd name="csY719" fmla="*/ 938985 h 1538630"/>
              <a:gd name="csX720" fmla="*/ 173509 w 1609516"/>
              <a:gd name="csY720" fmla="*/ 940576 h 1538630"/>
              <a:gd name="csX721" fmla="*/ 161403 w 1609516"/>
              <a:gd name="csY721" fmla="*/ 940664 h 1538630"/>
              <a:gd name="csX722" fmla="*/ 158102 w 1609516"/>
              <a:gd name="csY722" fmla="*/ 940645 h 1538630"/>
              <a:gd name="csX723" fmla="*/ 150875 w 1609516"/>
              <a:gd name="csY723" fmla="*/ 940583 h 1538630"/>
              <a:gd name="csX724" fmla="*/ 148425 w 1609516"/>
              <a:gd name="csY724" fmla="*/ 940717 h 1538630"/>
              <a:gd name="csX725" fmla="*/ 149617 w 1609516"/>
              <a:gd name="csY725" fmla="*/ 940995 h 1538630"/>
              <a:gd name="csX726" fmla="*/ 149617 w 1609516"/>
              <a:gd name="csY726" fmla="*/ 942404 h 1538630"/>
              <a:gd name="csX727" fmla="*/ 146627 w 1609516"/>
              <a:gd name="csY727" fmla="*/ 942871 h 1538630"/>
              <a:gd name="csX728" fmla="*/ 110564 w 1609516"/>
              <a:gd name="csY728" fmla="*/ 949449 h 1538630"/>
              <a:gd name="csX729" fmla="*/ 111283 w 1609516"/>
              <a:gd name="csY729" fmla="*/ 946205 h 1538630"/>
              <a:gd name="csX730" fmla="*/ 101652 w 1609516"/>
              <a:gd name="csY730" fmla="*/ 956078 h 1538630"/>
              <a:gd name="csX731" fmla="*/ 98052 w 1609516"/>
              <a:gd name="csY731" fmla="*/ 958467 h 1538630"/>
              <a:gd name="csX732" fmla="*/ 67286 w 1609516"/>
              <a:gd name="csY732" fmla="*/ 972989 h 1538630"/>
              <a:gd name="csX733" fmla="*/ 67286 w 1609516"/>
              <a:gd name="csY733" fmla="*/ 975807 h 1538630"/>
              <a:gd name="csX734" fmla="*/ 31942 w 1609516"/>
              <a:gd name="csY734" fmla="*/ 976423 h 1538630"/>
              <a:gd name="csX735" fmla="*/ 5673 w 1609516"/>
              <a:gd name="csY735" fmla="*/ 953419 h 1538630"/>
              <a:gd name="csX736" fmla="*/ 4801 w 1609516"/>
              <a:gd name="csY736" fmla="*/ 944804 h 1538630"/>
              <a:gd name="csX737" fmla="*/ 1676 w 1609516"/>
              <a:gd name="csY737" fmla="*/ 944804 h 1538630"/>
              <a:gd name="csX738" fmla="*/ 17 w 1609516"/>
              <a:gd name="csY738" fmla="*/ 931857 h 1538630"/>
              <a:gd name="csX739" fmla="*/ 59 w 1609516"/>
              <a:gd name="csY739" fmla="*/ 927216 h 1538630"/>
              <a:gd name="csX740" fmla="*/ 115 w 1609516"/>
              <a:gd name="csY740" fmla="*/ 923666 h 1538630"/>
              <a:gd name="csX741" fmla="*/ 3238 w 1609516"/>
              <a:gd name="csY741" fmla="*/ 923666 h 1538630"/>
              <a:gd name="csX742" fmla="*/ 3238 w 1609516"/>
              <a:gd name="csY742" fmla="*/ 918029 h 1538630"/>
              <a:gd name="csX743" fmla="*/ 6363 w 1609516"/>
              <a:gd name="csY743" fmla="*/ 918029 h 1538630"/>
              <a:gd name="csX744" fmla="*/ 6656 w 1609516"/>
              <a:gd name="csY744" fmla="*/ 912832 h 1538630"/>
              <a:gd name="csX745" fmla="*/ 15736 w 1609516"/>
              <a:gd name="csY745" fmla="*/ 899709 h 1538630"/>
              <a:gd name="csX746" fmla="*/ 17243 w 1609516"/>
              <a:gd name="csY746" fmla="*/ 898894 h 1538630"/>
              <a:gd name="csX747" fmla="*/ 16800 w 1609516"/>
              <a:gd name="csY747" fmla="*/ 898694 h 1538630"/>
              <a:gd name="csX748" fmla="*/ 24988 w 1609516"/>
              <a:gd name="csY748" fmla="*/ 894101 h 1538630"/>
              <a:gd name="csX749" fmla="*/ 26768 w 1609516"/>
              <a:gd name="csY749" fmla="*/ 892399 h 1538630"/>
              <a:gd name="csX750" fmla="*/ 30198 w 1609516"/>
              <a:gd name="csY750" fmla="*/ 890164 h 1538630"/>
              <a:gd name="csX751" fmla="*/ 32204 w 1609516"/>
              <a:gd name="csY751" fmla="*/ 890054 h 1538630"/>
              <a:gd name="csX752" fmla="*/ 38914 w 1609516"/>
              <a:gd name="csY752" fmla="*/ 886291 h 1538630"/>
              <a:gd name="csX753" fmla="*/ 63664 w 1609516"/>
              <a:gd name="csY753" fmla="*/ 886011 h 1538630"/>
              <a:gd name="csX754" fmla="*/ 63664 w 1609516"/>
              <a:gd name="csY754" fmla="*/ 886531 h 1538630"/>
              <a:gd name="csX755" fmla="*/ 70784 w 1609516"/>
              <a:gd name="csY755" fmla="*/ 886647 h 1538630"/>
              <a:gd name="csX756" fmla="*/ 82126 w 1609516"/>
              <a:gd name="csY756" fmla="*/ 889845 h 1538630"/>
              <a:gd name="csX757" fmla="*/ 114149 w 1609516"/>
              <a:gd name="csY757" fmla="*/ 892663 h 1538630"/>
              <a:gd name="csX758" fmla="*/ 118836 w 1609516"/>
              <a:gd name="csY758" fmla="*/ 889845 h 1538630"/>
              <a:gd name="csX759" fmla="*/ 131626 w 1609516"/>
              <a:gd name="csY759" fmla="*/ 887114 h 1538630"/>
              <a:gd name="csX760" fmla="*/ 155116 w 1609516"/>
              <a:gd name="csY760" fmla="*/ 880913 h 1538630"/>
              <a:gd name="csX761" fmla="*/ 165406 w 1609516"/>
              <a:gd name="csY761" fmla="*/ 878483 h 1538630"/>
              <a:gd name="csX762" fmla="*/ 176634 w 1609516"/>
              <a:gd name="csY762" fmla="*/ 874343 h 1538630"/>
              <a:gd name="csX763" fmla="*/ 186397 w 1609516"/>
              <a:gd name="csY763" fmla="*/ 871524 h 1538630"/>
              <a:gd name="csX764" fmla="*/ 191871 w 1609516"/>
              <a:gd name="csY764" fmla="*/ 870033 h 1538630"/>
              <a:gd name="csX765" fmla="*/ 203483 w 1609516"/>
              <a:gd name="csY765" fmla="*/ 867208 h 1538630"/>
              <a:gd name="csX766" fmla="*/ 211001 w 1609516"/>
              <a:gd name="csY766" fmla="*/ 861660 h 1538630"/>
              <a:gd name="csX767" fmla="*/ 218031 w 1609516"/>
              <a:gd name="csY767" fmla="*/ 858577 h 1538630"/>
              <a:gd name="csX768" fmla="*/ 254740 w 1609516"/>
              <a:gd name="csY768" fmla="*/ 825020 h 1538630"/>
              <a:gd name="csX769" fmla="*/ 257864 w 1609516"/>
              <a:gd name="csY769" fmla="*/ 820792 h 1538630"/>
              <a:gd name="csX770" fmla="*/ 258318 w 1609516"/>
              <a:gd name="csY770" fmla="*/ 813810 h 1538630"/>
              <a:gd name="csX771" fmla="*/ 258378 w 1609516"/>
              <a:gd name="csY771" fmla="*/ 809502 h 1538630"/>
              <a:gd name="csX772" fmla="*/ 258389 w 1609516"/>
              <a:gd name="csY772" fmla="*/ 804845 h 1538630"/>
              <a:gd name="csX773" fmla="*/ 258420 w 1609516"/>
              <a:gd name="csY773" fmla="*/ 800036 h 1538630"/>
              <a:gd name="csX774" fmla="*/ 258443 w 1609516"/>
              <a:gd name="csY774" fmla="*/ 789939 h 1538630"/>
              <a:gd name="csX775" fmla="*/ 258566 w 1609516"/>
              <a:gd name="csY775" fmla="*/ 774594 h 1538630"/>
              <a:gd name="csX776" fmla="*/ 258584 w 1609516"/>
              <a:gd name="csY776" fmla="*/ 764771 h 1538630"/>
              <a:gd name="csX777" fmla="*/ 258652 w 1609516"/>
              <a:gd name="csY777" fmla="*/ 760174 h 1538630"/>
              <a:gd name="csX778" fmla="*/ 251616 w 1609516"/>
              <a:gd name="csY778" fmla="*/ 733421 h 1538630"/>
              <a:gd name="csX779" fmla="*/ 247613 w 1609516"/>
              <a:gd name="csY779" fmla="*/ 721883 h 1538630"/>
              <a:gd name="csX780" fmla="*/ 241291 w 1609516"/>
              <a:gd name="csY780" fmla="*/ 705644 h 1538630"/>
              <a:gd name="csX781" fmla="*/ 237557 w 1609516"/>
              <a:gd name="csY781" fmla="*/ 689735 h 1538630"/>
              <a:gd name="csX782" fmla="*/ 248492 w 1609516"/>
              <a:gd name="csY782" fmla="*/ 685507 h 1538630"/>
              <a:gd name="csX783" fmla="*/ 248492 w 1609516"/>
              <a:gd name="csY783" fmla="*/ 681279 h 1538630"/>
              <a:gd name="csX784" fmla="*/ 240681 w 1609516"/>
              <a:gd name="csY784" fmla="*/ 679870 h 1538630"/>
              <a:gd name="csX785" fmla="*/ 240681 w 1609516"/>
              <a:gd name="csY785" fmla="*/ 677052 h 1538630"/>
              <a:gd name="csX786" fmla="*/ 238094 w 1609516"/>
              <a:gd name="csY786" fmla="*/ 676645 h 1538630"/>
              <a:gd name="csX787" fmla="*/ 225841 w 1609516"/>
              <a:gd name="csY787" fmla="*/ 670886 h 1538630"/>
              <a:gd name="csX788" fmla="*/ 201531 w 1609516"/>
              <a:gd name="csY788" fmla="*/ 662508 h 1538630"/>
              <a:gd name="csX789" fmla="*/ 188252 w 1609516"/>
              <a:gd name="csY789" fmla="*/ 658644 h 1538630"/>
              <a:gd name="csX790" fmla="*/ 182431 w 1609516"/>
              <a:gd name="csY790" fmla="*/ 657327 h 1538630"/>
              <a:gd name="csX791" fmla="*/ 182431 w 1609516"/>
              <a:gd name="csY791" fmla="*/ 657613 h 1538630"/>
              <a:gd name="csX792" fmla="*/ 146503 w 1609516"/>
              <a:gd name="csY792" fmla="*/ 656204 h 1538630"/>
              <a:gd name="csX793" fmla="*/ 146503 w 1609516"/>
              <a:gd name="csY793" fmla="*/ 659022 h 1538630"/>
              <a:gd name="csX794" fmla="*/ 110378 w 1609516"/>
              <a:gd name="csY794" fmla="*/ 663778 h 1538630"/>
              <a:gd name="csX795" fmla="*/ 106453 w 1609516"/>
              <a:gd name="csY795" fmla="*/ 663836 h 1538630"/>
              <a:gd name="csX796" fmla="*/ 102751 w 1609516"/>
              <a:gd name="csY796" fmla="*/ 663811 h 1538630"/>
              <a:gd name="csX797" fmla="*/ 99449 w 1609516"/>
              <a:gd name="csY797" fmla="*/ 663797 h 1538630"/>
              <a:gd name="csX798" fmla="*/ 91828 w 1609516"/>
              <a:gd name="csY798" fmla="*/ 659022 h 1538630"/>
              <a:gd name="csX799" fmla="*/ 98077 w 1609516"/>
              <a:gd name="csY799" fmla="*/ 659022 h 1538630"/>
              <a:gd name="csX800" fmla="*/ 98077 w 1609516"/>
              <a:gd name="csY800" fmla="*/ 661841 h 1538630"/>
              <a:gd name="csX801" fmla="*/ 119023 w 1609516"/>
              <a:gd name="csY801" fmla="*/ 661357 h 1538630"/>
              <a:gd name="csX802" fmla="*/ 119536 w 1609516"/>
              <a:gd name="csY802" fmla="*/ 661197 h 1538630"/>
              <a:gd name="csX803" fmla="*/ 109853 w 1609516"/>
              <a:gd name="csY803" fmla="*/ 661639 h 1538630"/>
              <a:gd name="csX804" fmla="*/ 106552 w 1609516"/>
              <a:gd name="csY804" fmla="*/ 661619 h 1538630"/>
              <a:gd name="csX805" fmla="*/ 98528 w 1609516"/>
              <a:gd name="csY805" fmla="*/ 661550 h 1538630"/>
              <a:gd name="csX806" fmla="*/ 98528 w 1609516"/>
              <a:gd name="csY806" fmla="*/ 658732 h 1538630"/>
              <a:gd name="csX807" fmla="*/ 89155 w 1609516"/>
              <a:gd name="csY807" fmla="*/ 657323 h 1538630"/>
              <a:gd name="csX808" fmla="*/ 89155 w 1609516"/>
              <a:gd name="csY808" fmla="*/ 654504 h 1538630"/>
              <a:gd name="csX809" fmla="*/ 86397 w 1609516"/>
              <a:gd name="csY809" fmla="*/ 653442 h 1538630"/>
              <a:gd name="csX810" fmla="*/ 77049 w 1609516"/>
              <a:gd name="csY810" fmla="*/ 646137 h 1538630"/>
              <a:gd name="csX811" fmla="*/ 74145 w 1609516"/>
              <a:gd name="csY811" fmla="*/ 643192 h 1538630"/>
              <a:gd name="csX812" fmla="*/ 71972 w 1609516"/>
              <a:gd name="csY812" fmla="*/ 636185 h 1538630"/>
              <a:gd name="csX813" fmla="*/ 68848 w 1609516"/>
              <a:gd name="csY813" fmla="*/ 636185 h 1538630"/>
              <a:gd name="csX814" fmla="*/ 70410 w 1609516"/>
              <a:gd name="csY814" fmla="*/ 595317 h 1538630"/>
              <a:gd name="csX815" fmla="*/ 79782 w 1609516"/>
              <a:gd name="csY815" fmla="*/ 584043 h 1538630"/>
              <a:gd name="csX816" fmla="*/ 82656 w 1609516"/>
              <a:gd name="csY816" fmla="*/ 581115 h 1538630"/>
              <a:gd name="csX817" fmla="*/ 116694 w 1609516"/>
              <a:gd name="csY817" fmla="*/ 572323 h 1538630"/>
              <a:gd name="csX818" fmla="*/ 152031 w 1609516"/>
              <a:gd name="csY818" fmla="*/ 590385 h 1538630"/>
              <a:gd name="csX819" fmla="*/ 191474 w 1609516"/>
              <a:gd name="csY819" fmla="*/ 605886 h 1538630"/>
              <a:gd name="csX820" fmla="*/ 206314 w 1609516"/>
              <a:gd name="csY820" fmla="*/ 608000 h 1538630"/>
              <a:gd name="csX821" fmla="*/ 206314 w 1609516"/>
              <a:gd name="csY821" fmla="*/ 610818 h 1538630"/>
              <a:gd name="csX822" fmla="*/ 234433 w 1609516"/>
              <a:gd name="csY822" fmla="*/ 610818 h 1538630"/>
              <a:gd name="csX823" fmla="*/ 239522 w 1609516"/>
              <a:gd name="csY823" fmla="*/ 610802 h 1538630"/>
              <a:gd name="csX824" fmla="*/ 268799 w 1609516"/>
              <a:gd name="csY824" fmla="*/ 600954 h 1538630"/>
              <a:gd name="csX825" fmla="*/ 271740 w 1609516"/>
              <a:gd name="csY825" fmla="*/ 599325 h 1538630"/>
              <a:gd name="csX826" fmla="*/ 284420 w 1609516"/>
              <a:gd name="csY826" fmla="*/ 579816 h 1538630"/>
              <a:gd name="csX827" fmla="*/ 289399 w 1609516"/>
              <a:gd name="csY827" fmla="*/ 568630 h 1538630"/>
              <a:gd name="csX828" fmla="*/ 293958 w 1609516"/>
              <a:gd name="csY828" fmla="*/ 535838 h 1538630"/>
              <a:gd name="csX829" fmla="*/ 289107 w 1609516"/>
              <a:gd name="csY829" fmla="*/ 529084 h 1538630"/>
              <a:gd name="csX830" fmla="*/ 289107 w 1609516"/>
              <a:gd name="csY830" fmla="*/ 526265 h 1538630"/>
              <a:gd name="csX831" fmla="*/ 284420 w 1609516"/>
              <a:gd name="csY831" fmla="*/ 524856 h 1538630"/>
              <a:gd name="csX832" fmla="*/ 282858 w 1609516"/>
              <a:gd name="csY832" fmla="*/ 520628 h 1538630"/>
              <a:gd name="csX833" fmla="*/ 277977 w 1609516"/>
              <a:gd name="csY833" fmla="*/ 516577 h 1538630"/>
              <a:gd name="csX834" fmla="*/ 264925 w 1609516"/>
              <a:gd name="csY834" fmla="*/ 506443 h 1538630"/>
              <a:gd name="csX835" fmla="*/ 229746 w 1609516"/>
              <a:gd name="csY835" fmla="*/ 481170 h 1538630"/>
              <a:gd name="csX836" fmla="*/ 221057 w 1609516"/>
              <a:gd name="csY836" fmla="*/ 475445 h 1538630"/>
              <a:gd name="csX837" fmla="*/ 212563 w 1609516"/>
              <a:gd name="csY837" fmla="*/ 469896 h 1538630"/>
              <a:gd name="csX838" fmla="*/ 208889 w 1609516"/>
              <a:gd name="csY838" fmla="*/ 467491 h 1538630"/>
              <a:gd name="csX839" fmla="*/ 190406 w 1609516"/>
              <a:gd name="csY839" fmla="*/ 456382 h 1538630"/>
              <a:gd name="csX840" fmla="*/ 186942 w 1609516"/>
              <a:gd name="csY840" fmla="*/ 454460 h 1538630"/>
              <a:gd name="csX841" fmla="*/ 180041 w 1609516"/>
              <a:gd name="csY841" fmla="*/ 450696 h 1538630"/>
              <a:gd name="csX842" fmla="*/ 171948 w 1609516"/>
              <a:gd name="csY842" fmla="*/ 445940 h 1538630"/>
              <a:gd name="csX843" fmla="*/ 171948 w 1609516"/>
              <a:gd name="csY843" fmla="*/ 443121 h 1538630"/>
              <a:gd name="csX844" fmla="*/ 168482 w 1609516"/>
              <a:gd name="csY844" fmla="*/ 442708 h 1538630"/>
              <a:gd name="csX845" fmla="*/ 157107 w 1609516"/>
              <a:gd name="csY845" fmla="*/ 437044 h 1538630"/>
              <a:gd name="csX846" fmla="*/ 132559 w 1609516"/>
              <a:gd name="csY846" fmla="*/ 427510 h 1538630"/>
              <a:gd name="csX847" fmla="*/ 123522 w 1609516"/>
              <a:gd name="csY847" fmla="*/ 421983 h 1538630"/>
              <a:gd name="csX848" fmla="*/ 107986 w 1609516"/>
              <a:gd name="csY848" fmla="*/ 418730 h 1538630"/>
              <a:gd name="csX849" fmla="*/ 102494 w 1609516"/>
              <a:gd name="csY849" fmla="*/ 418622 h 1538630"/>
              <a:gd name="csX850" fmla="*/ 91157 w 1609516"/>
              <a:gd name="csY850" fmla="*/ 418490 h 1538630"/>
              <a:gd name="csX851" fmla="*/ 55277 w 1609516"/>
              <a:gd name="csY851" fmla="*/ 410445 h 1538630"/>
              <a:gd name="csX852" fmla="*/ 51665 w 1609516"/>
              <a:gd name="csY852" fmla="*/ 406481 h 1538630"/>
              <a:gd name="csX853" fmla="*/ 45904 w 1609516"/>
              <a:gd name="csY853" fmla="*/ 400492 h 1538630"/>
              <a:gd name="csX854" fmla="*/ 43152 w 1609516"/>
              <a:gd name="csY854" fmla="*/ 397564 h 1538630"/>
              <a:gd name="csX855" fmla="*/ 37605 w 1609516"/>
              <a:gd name="csY855" fmla="*/ 393798 h 1538630"/>
              <a:gd name="csX856" fmla="*/ 38995 w 1609516"/>
              <a:gd name="csY856" fmla="*/ 368712 h 1538630"/>
              <a:gd name="csX857" fmla="*/ 38666 w 1609516"/>
              <a:gd name="csY857" fmla="*/ 369724 h 1538630"/>
              <a:gd name="csX858" fmla="*/ 35542 w 1609516"/>
              <a:gd name="csY858" fmla="*/ 384081 h 1538630"/>
              <a:gd name="csX859" fmla="*/ 33326 w 1609516"/>
              <a:gd name="csY859" fmla="*/ 357791 h 1538630"/>
              <a:gd name="csX860" fmla="*/ 52725 w 1609516"/>
              <a:gd name="csY860" fmla="*/ 333349 h 1538630"/>
              <a:gd name="csX861" fmla="*/ 55222 w 1609516"/>
              <a:gd name="csY861" fmla="*/ 334475 h 1538630"/>
              <a:gd name="csX862" fmla="*/ 56222 w 1609516"/>
              <a:gd name="csY862" fmla="*/ 333347 h 1538630"/>
              <a:gd name="csX863" fmla="*/ 55871 w 1609516"/>
              <a:gd name="csY863" fmla="*/ 333347 h 1538630"/>
              <a:gd name="csX864" fmla="*/ 56346 w 1609516"/>
              <a:gd name="csY864" fmla="*/ 333207 h 1538630"/>
              <a:gd name="csX865" fmla="*/ 56351 w 1609516"/>
              <a:gd name="csY865" fmla="*/ 333202 h 1538630"/>
              <a:gd name="csX866" fmla="*/ 56365 w 1609516"/>
              <a:gd name="csY866" fmla="*/ 333202 h 1538630"/>
              <a:gd name="csX867" fmla="*/ 79571 w 1609516"/>
              <a:gd name="csY867" fmla="*/ 326360 h 1538630"/>
              <a:gd name="csX868" fmla="*/ 104297 w 1609516"/>
              <a:gd name="csY868" fmla="*/ 330529 h 1538630"/>
              <a:gd name="csX869" fmla="*/ 107170 w 1609516"/>
              <a:gd name="csY869" fmla="*/ 334417 h 1538630"/>
              <a:gd name="csX870" fmla="*/ 109366 w 1609516"/>
              <a:gd name="csY870" fmla="*/ 336046 h 1538630"/>
              <a:gd name="csX871" fmla="*/ 109463 w 1609516"/>
              <a:gd name="csY871" fmla="*/ 336020 h 1538630"/>
              <a:gd name="csX872" fmla="*/ 109463 w 1609516"/>
              <a:gd name="csY872" fmla="*/ 336118 h 1538630"/>
              <a:gd name="csX873" fmla="*/ 115226 w 1609516"/>
              <a:gd name="csY873" fmla="*/ 340394 h 1538630"/>
              <a:gd name="csX874" fmla="*/ 114010 w 1609516"/>
              <a:gd name="csY874" fmla="*/ 340120 h 1538630"/>
              <a:gd name="csX875" fmla="*/ 133285 w 1609516"/>
              <a:gd name="csY875" fmla="*/ 357423 h 1538630"/>
              <a:gd name="csX876" fmla="*/ 173509 w 1609516"/>
              <a:gd name="csY876" fmla="*/ 389571 h 1538630"/>
              <a:gd name="csX877" fmla="*/ 181711 w 1609516"/>
              <a:gd name="csY877" fmla="*/ 393270 h 1538630"/>
              <a:gd name="csX878" fmla="*/ 185507 w 1609516"/>
              <a:gd name="csY878" fmla="*/ 394976 h 1538630"/>
              <a:gd name="csX879" fmla="*/ 192658 w 1609516"/>
              <a:gd name="csY879" fmla="*/ 398257 h 1538630"/>
              <a:gd name="csX880" fmla="*/ 195966 w 1609516"/>
              <a:gd name="csY880" fmla="*/ 399788 h 1538630"/>
              <a:gd name="csX881" fmla="*/ 198833 w 1609516"/>
              <a:gd name="csY881" fmla="*/ 401131 h 1538630"/>
              <a:gd name="csX882" fmla="*/ 207877 w 1609516"/>
              <a:gd name="csY882" fmla="*/ 403663 h 1538630"/>
              <a:gd name="csX883" fmla="*/ 207877 w 1609516"/>
              <a:gd name="csY883" fmla="*/ 406481 h 1538630"/>
              <a:gd name="csX884" fmla="*/ 248492 w 1609516"/>
              <a:gd name="csY884" fmla="*/ 419428 h 1538630"/>
              <a:gd name="csX885" fmla="*/ 253965 w 1609516"/>
              <a:gd name="csY885" fmla="*/ 421000 h 1538630"/>
              <a:gd name="csX886" fmla="*/ 267237 w 1609516"/>
              <a:gd name="csY886" fmla="*/ 424801 h 1538630"/>
              <a:gd name="csX887" fmla="*/ 267237 w 1609516"/>
              <a:gd name="csY887" fmla="*/ 426451 h 1538630"/>
              <a:gd name="csX888" fmla="*/ 288701 w 1609516"/>
              <a:gd name="csY888" fmla="*/ 429217 h 1538630"/>
              <a:gd name="csX889" fmla="*/ 288701 w 1609516"/>
              <a:gd name="csY889" fmla="*/ 432036 h 1538630"/>
              <a:gd name="csX890" fmla="*/ 327010 w 1609516"/>
              <a:gd name="csY890" fmla="*/ 433628 h 1538630"/>
              <a:gd name="csX891" fmla="*/ 337486 w 1609516"/>
              <a:gd name="csY891" fmla="*/ 433637 h 1538630"/>
              <a:gd name="csX892" fmla="*/ 344229 w 1609516"/>
              <a:gd name="csY892" fmla="*/ 433632 h 1538630"/>
              <a:gd name="csX893" fmla="*/ 350323 w 1609516"/>
              <a:gd name="csY893" fmla="*/ 433627 h 1538630"/>
              <a:gd name="csX894" fmla="*/ 365245 w 1609516"/>
              <a:gd name="csY894" fmla="*/ 432036 h 1538630"/>
              <a:gd name="csX895" fmla="*/ 360797 w 1609516"/>
              <a:gd name="csY895" fmla="*/ 433759 h 1538630"/>
              <a:gd name="csX896" fmla="*/ 365650 w 1609516"/>
              <a:gd name="csY896" fmla="*/ 433257 h 1538630"/>
              <a:gd name="csX897" fmla="*/ 367213 w 1609516"/>
              <a:gd name="csY897" fmla="*/ 429029 h 1538630"/>
              <a:gd name="csX898" fmla="*/ 375188 w 1609516"/>
              <a:gd name="csY898" fmla="*/ 424906 h 1538630"/>
              <a:gd name="csX899" fmla="*/ 404704 w 1609516"/>
              <a:gd name="csY899" fmla="*/ 389571 h 1538630"/>
              <a:gd name="csX900" fmla="*/ 406265 w 1609516"/>
              <a:gd name="csY900" fmla="*/ 388161 h 1538630"/>
              <a:gd name="csX901" fmla="*/ 406559 w 1609516"/>
              <a:gd name="csY901" fmla="*/ 370106 h 1538630"/>
              <a:gd name="csX902" fmla="*/ 406617 w 1609516"/>
              <a:gd name="csY902" fmla="*/ 364973 h 1538630"/>
              <a:gd name="csX903" fmla="*/ 406626 w 1609516"/>
              <a:gd name="csY903" fmla="*/ 360038 h 1538630"/>
              <a:gd name="csX904" fmla="*/ 406645 w 1609516"/>
              <a:gd name="csY904" fmla="*/ 355503 h 1538630"/>
              <a:gd name="csX905" fmla="*/ 403142 w 1609516"/>
              <a:gd name="csY905" fmla="*/ 345885 h 1538630"/>
              <a:gd name="csX906" fmla="*/ 401579 w 1609516"/>
              <a:gd name="csY906" fmla="*/ 338663 h 1538630"/>
              <a:gd name="csX907" fmla="*/ 390938 w 1609516"/>
              <a:gd name="csY907" fmla="*/ 315939 h 1538630"/>
              <a:gd name="csX908" fmla="*/ 388976 w 1609516"/>
              <a:gd name="csY908" fmla="*/ 312762 h 1538630"/>
              <a:gd name="csX909" fmla="*/ 377934 w 1609516"/>
              <a:gd name="csY909" fmla="*/ 297817 h 1538630"/>
              <a:gd name="csX910" fmla="*/ 368775 w 1609516"/>
              <a:gd name="csY910" fmla="*/ 282470 h 1538630"/>
              <a:gd name="csX911" fmla="*/ 359890 w 1609516"/>
              <a:gd name="csY911" fmla="*/ 271284 h 1538630"/>
              <a:gd name="csX912" fmla="*/ 357374 w 1609516"/>
              <a:gd name="csY912" fmla="*/ 268288 h 1538630"/>
              <a:gd name="csX913" fmla="*/ 337533 w 1609516"/>
              <a:gd name="csY913" fmla="*/ 248649 h 1538630"/>
              <a:gd name="csX914" fmla="*/ 335214 w 1609516"/>
              <a:gd name="csY914" fmla="*/ 246369 h 1538630"/>
              <a:gd name="csX915" fmla="*/ 327085 w 1609516"/>
              <a:gd name="csY915" fmla="*/ 242571 h 1538630"/>
              <a:gd name="csX916" fmla="*/ 288785 w 1609516"/>
              <a:gd name="csY916" fmla="*/ 207968 h 1538630"/>
              <a:gd name="csX917" fmla="*/ 286373 w 1609516"/>
              <a:gd name="csY917" fmla="*/ 192544 h 1538630"/>
              <a:gd name="csX918" fmla="*/ 286385 w 1609516"/>
              <a:gd name="csY918" fmla="*/ 189190 h 1538630"/>
              <a:gd name="csX919" fmla="*/ 300042 w 1609516"/>
              <a:gd name="csY919" fmla="*/ 164095 h 1538630"/>
              <a:gd name="csX920" fmla="*/ 302757 w 1609516"/>
              <a:gd name="csY920" fmla="*/ 161381 h 1538630"/>
              <a:gd name="csX921" fmla="*/ 338411 w 1609516"/>
              <a:gd name="csY921" fmla="*/ 152293 h 1538630"/>
              <a:gd name="csX922" fmla="*/ 368482 w 1609516"/>
              <a:gd name="csY922" fmla="*/ 161893 h 1538630"/>
              <a:gd name="csX923" fmla="*/ 371899 w 1609516"/>
              <a:gd name="csY923" fmla="*/ 165505 h 1538630"/>
              <a:gd name="csX924" fmla="*/ 375121 w 1609516"/>
              <a:gd name="csY924" fmla="*/ 168587 h 1538630"/>
              <a:gd name="csX925" fmla="*/ 384982 w 1609516"/>
              <a:gd name="csY925" fmla="*/ 193777 h 1538630"/>
              <a:gd name="csX926" fmla="*/ 390352 w 1609516"/>
              <a:gd name="csY926" fmla="*/ 214563 h 1538630"/>
              <a:gd name="csX927" fmla="*/ 391529 w 1609516"/>
              <a:gd name="csY927" fmla="*/ 217626 h 1538630"/>
              <a:gd name="csX928" fmla="*/ 401579 w 1609516"/>
              <a:gd name="csY928" fmla="*/ 234556 h 1538630"/>
              <a:gd name="csX929" fmla="*/ 401579 w 1609516"/>
              <a:gd name="csY929" fmla="*/ 238784 h 1538630"/>
              <a:gd name="csX930" fmla="*/ 404215 w 1609516"/>
              <a:gd name="csY930" fmla="*/ 239753 h 1538630"/>
              <a:gd name="csX931" fmla="*/ 417811 w 1609516"/>
              <a:gd name="csY931" fmla="*/ 251996 h 1538630"/>
              <a:gd name="csX932" fmla="*/ 426866 w 1609516"/>
              <a:gd name="csY932" fmla="*/ 262300 h 1538630"/>
              <a:gd name="csX933" fmla="*/ 450097 w 1609516"/>
              <a:gd name="csY933" fmla="*/ 287628 h 1538630"/>
              <a:gd name="csX934" fmla="*/ 457425 w 1609516"/>
              <a:gd name="csY934" fmla="*/ 293920 h 1538630"/>
              <a:gd name="csX935" fmla="*/ 460940 w 1609516"/>
              <a:gd name="csY935" fmla="*/ 296562 h 1538630"/>
              <a:gd name="csX936" fmla="*/ 460940 w 1609516"/>
              <a:gd name="csY936" fmla="*/ 300790 h 1538630"/>
              <a:gd name="csX937" fmla="*/ 473437 w 1609516"/>
              <a:gd name="csY937" fmla="*/ 305018 h 1538630"/>
              <a:gd name="csX938" fmla="*/ 473437 w 1609516"/>
              <a:gd name="csY938" fmla="*/ 307836 h 1538630"/>
              <a:gd name="csX939" fmla="*/ 479881 w 1609516"/>
              <a:gd name="csY939" fmla="*/ 309862 h 1538630"/>
              <a:gd name="csX940" fmla="*/ 483505 w 1609516"/>
              <a:gd name="csY940" fmla="*/ 311001 h 1538630"/>
              <a:gd name="csX941" fmla="*/ 548419 w 1609516"/>
              <a:gd name="csY941" fmla="*/ 306427 h 1538630"/>
              <a:gd name="csX942" fmla="*/ 551842 w 1609516"/>
              <a:gd name="csY942" fmla="*/ 305127 h 1538630"/>
              <a:gd name="csX943" fmla="*/ 560232 w 1609516"/>
              <a:gd name="csY943" fmla="*/ 298148 h 1538630"/>
              <a:gd name="csX944" fmla="*/ 562972 w 1609516"/>
              <a:gd name="csY944" fmla="*/ 295252 h 1538630"/>
              <a:gd name="csX945" fmla="*/ 568086 w 1609516"/>
              <a:gd name="csY945" fmla="*/ 289152 h 1538630"/>
              <a:gd name="csX946" fmla="*/ 570289 w 1609516"/>
              <a:gd name="csY946" fmla="*/ 286697 h 1538630"/>
              <a:gd name="csX947" fmla="*/ 573413 w 1609516"/>
              <a:gd name="csY947" fmla="*/ 286697 h 1538630"/>
              <a:gd name="csX948" fmla="*/ 577220 w 1609516"/>
              <a:gd name="csY948" fmla="*/ 257016 h 1538630"/>
              <a:gd name="csX949" fmla="*/ 577235 w 1609516"/>
              <a:gd name="csY949" fmla="*/ 254206 h 1538630"/>
              <a:gd name="csX950" fmla="*/ 569443 w 1609516"/>
              <a:gd name="csY950" fmla="*/ 206049 h 1538630"/>
              <a:gd name="csX951" fmla="*/ 568726 w 1609516"/>
              <a:gd name="csY951" fmla="*/ 200735 h 1538630"/>
              <a:gd name="csX952" fmla="*/ 565602 w 1609516"/>
              <a:gd name="csY952" fmla="*/ 200735 h 1538630"/>
              <a:gd name="csX953" fmla="*/ 559549 w 1609516"/>
              <a:gd name="csY953" fmla="*/ 184441 h 1538630"/>
              <a:gd name="csX954" fmla="*/ 537484 w 1609516"/>
              <a:gd name="csY954" fmla="*/ 159867 h 1538630"/>
              <a:gd name="csX955" fmla="*/ 531235 w 1609516"/>
              <a:gd name="csY955" fmla="*/ 154230 h 1538630"/>
              <a:gd name="csX956" fmla="*/ 531235 w 1609516"/>
              <a:gd name="csY956" fmla="*/ 151412 h 1538630"/>
              <a:gd name="csX957" fmla="*/ 526549 w 1609516"/>
              <a:gd name="csY957" fmla="*/ 150003 h 1538630"/>
              <a:gd name="csX958" fmla="*/ 524304 w 1609516"/>
              <a:gd name="csY958" fmla="*/ 107198 h 1538630"/>
              <a:gd name="csX959" fmla="*/ 547052 w 1609516"/>
              <a:gd name="csY959" fmla="*/ 85972 h 1538630"/>
              <a:gd name="csX960" fmla="*/ 588460 w 1609516"/>
              <a:gd name="csY960" fmla="*/ 83538 h 1538630"/>
              <a:gd name="csX961" fmla="*/ 617152 w 1609516"/>
              <a:gd name="csY961" fmla="*/ 111954 h 1538630"/>
              <a:gd name="csX962" fmla="*/ 617884 w 1609516"/>
              <a:gd name="csY962" fmla="*/ 124175 h 1538630"/>
              <a:gd name="csX963" fmla="*/ 617917 w 1609516"/>
              <a:gd name="csY963" fmla="*/ 127607 h 1538630"/>
              <a:gd name="csX964" fmla="*/ 617919 w 1609516"/>
              <a:gd name="csY964" fmla="*/ 141969 h 1538630"/>
              <a:gd name="csX965" fmla="*/ 630625 w 1609516"/>
              <a:gd name="csY965" fmla="*/ 191311 h 1538630"/>
              <a:gd name="csX966" fmla="*/ 637850 w 1609516"/>
              <a:gd name="csY966" fmla="*/ 205139 h 1538630"/>
              <a:gd name="csX967" fmla="*/ 643708 w 1609516"/>
              <a:gd name="csY967" fmla="*/ 212009 h 1538630"/>
              <a:gd name="csX968" fmla="*/ 647027 w 1609516"/>
              <a:gd name="csY968" fmla="*/ 217645 h 1538630"/>
              <a:gd name="csX969" fmla="*/ 670264 w 1609516"/>
              <a:gd name="csY969" fmla="*/ 241603 h 1538630"/>
              <a:gd name="csX970" fmla="*/ 670264 w 1609516"/>
              <a:gd name="csY970" fmla="*/ 244421 h 1538630"/>
              <a:gd name="csX971" fmla="*/ 675634 w 1609516"/>
              <a:gd name="csY971" fmla="*/ 245742 h 1538630"/>
              <a:gd name="csX972" fmla="*/ 682761 w 1609516"/>
              <a:gd name="csY972" fmla="*/ 248649 h 1538630"/>
              <a:gd name="csX973" fmla="*/ 752092 w 1609516"/>
              <a:gd name="csY973" fmla="*/ 245076 h 1538630"/>
              <a:gd name="csX974" fmla="*/ 758433 w 1609516"/>
              <a:gd name="csY974" fmla="*/ 240485 h 1538630"/>
              <a:gd name="csX975" fmla="*/ 763991 w 1609516"/>
              <a:gd name="csY975" fmla="*/ 238784 h 1538630"/>
              <a:gd name="csX976" fmla="*/ 765315 w 1609516"/>
              <a:gd name="csY976" fmla="*/ 235778 h 1538630"/>
              <a:gd name="csX977" fmla="*/ 770923 w 1609516"/>
              <a:gd name="csY977" fmla="*/ 223459 h 1538630"/>
              <a:gd name="csX978" fmla="*/ 772998 w 1609516"/>
              <a:gd name="csY978" fmla="*/ 218934 h 1538630"/>
              <a:gd name="csX979" fmla="*/ 777562 w 1609516"/>
              <a:gd name="csY979" fmla="*/ 209895 h 1538630"/>
              <a:gd name="csX980" fmla="*/ 781175 w 1609516"/>
              <a:gd name="csY980" fmla="*/ 124637 h 1538630"/>
              <a:gd name="csX981" fmla="*/ 778051 w 1609516"/>
              <a:gd name="csY981" fmla="*/ 124637 h 1538630"/>
              <a:gd name="csX982" fmla="*/ 767116 w 1609516"/>
              <a:gd name="csY982" fmla="*/ 79542 h 1538630"/>
              <a:gd name="csX983" fmla="*/ 793379 w 1609516"/>
              <a:gd name="csY983" fmla="*/ 54000 h 1538630"/>
              <a:gd name="csX984" fmla="*/ 840688 w 1609516"/>
              <a:gd name="csY984" fmla="*/ 55503 h 1538630"/>
              <a:gd name="csX985" fmla="*/ 851470 w 1609516"/>
              <a:gd name="csY985" fmla="*/ 64040 h 1538630"/>
              <a:gd name="csX986" fmla="*/ 853997 w 1609516"/>
              <a:gd name="csY986" fmla="*/ 66529 h 1538630"/>
              <a:gd name="csX987" fmla="*/ 861488 w 1609516"/>
              <a:gd name="csY987" fmla="*/ 82057 h 1538630"/>
              <a:gd name="csX988" fmla="*/ 861937 w 1609516"/>
              <a:gd name="csY988" fmla="*/ 90492 h 1538630"/>
              <a:gd name="csX989" fmla="*/ 863826 w 1609516"/>
              <a:gd name="csY989" fmla="*/ 100715 h 1538630"/>
              <a:gd name="csX990" fmla="*/ 857577 w 1609516"/>
              <a:gd name="csY990" fmla="*/ 121853 h 1538630"/>
              <a:gd name="csX991" fmla="*/ 856015 w 1609516"/>
              <a:gd name="csY991" fmla="*/ 121853 h 1538630"/>
              <a:gd name="csX992" fmla="*/ 855442 w 1609516"/>
              <a:gd name="csY992" fmla="*/ 118919 h 1538630"/>
              <a:gd name="csX993" fmla="*/ 855417 w 1609516"/>
              <a:gd name="csY993" fmla="*/ 118798 h 1538630"/>
              <a:gd name="csX994" fmla="*/ 856157 w 1609516"/>
              <a:gd name="csY994" fmla="*/ 124637 h 1538630"/>
              <a:gd name="csX995" fmla="*/ 850623 w 1609516"/>
              <a:gd name="csY995" fmla="*/ 134701 h 1538630"/>
              <a:gd name="csX996" fmla="*/ 851325 w 1609516"/>
              <a:gd name="csY996" fmla="*/ 135968 h 1538630"/>
              <a:gd name="csX997" fmla="*/ 849886 w 1609516"/>
              <a:gd name="csY997" fmla="*/ 139843 h 1538630"/>
              <a:gd name="csX998" fmla="*/ 847786 w 1609516"/>
              <a:gd name="csY998" fmla="*/ 152889 h 1538630"/>
              <a:gd name="csX999" fmla="*/ 847767 w 1609516"/>
              <a:gd name="csY999" fmla="*/ 157768 h 1538630"/>
              <a:gd name="csX1000" fmla="*/ 847810 w 1609516"/>
              <a:gd name="csY1000" fmla="*/ 162919 h 1538630"/>
              <a:gd name="csX1001" fmla="*/ 847832 w 1609516"/>
              <a:gd name="csY1001" fmla="*/ 168227 h 1538630"/>
              <a:gd name="csX1002" fmla="*/ 850903 w 1609516"/>
              <a:gd name="csY1002" fmla="*/ 209013 h 1538630"/>
              <a:gd name="csX1003" fmla="*/ 852880 w 1609516"/>
              <a:gd name="csY1003" fmla="*/ 224692 h 1538630"/>
              <a:gd name="csX1004" fmla="*/ 854595 w 1609516"/>
              <a:gd name="csY1004" fmla="*/ 224692 h 1538630"/>
              <a:gd name="csX1005" fmla="*/ 856083 w 1609516"/>
              <a:gd name="csY1005" fmla="*/ 227268 h 1538630"/>
              <a:gd name="csX1006" fmla="*/ 879588 w 1609516"/>
              <a:gd name="csY1006" fmla="*/ 247239 h 1538630"/>
              <a:gd name="csX1007" fmla="*/ 885739 w 1609516"/>
              <a:gd name="csY1007" fmla="*/ 249618 h 1538630"/>
              <a:gd name="csX1008" fmla="*/ 890523 w 1609516"/>
              <a:gd name="csY1008" fmla="*/ 251467 h 1538630"/>
              <a:gd name="csX1009" fmla="*/ 890523 w 1609516"/>
              <a:gd name="csY1009" fmla="*/ 254285 h 1538630"/>
              <a:gd name="csX1010" fmla="*/ 920203 w 1609516"/>
              <a:gd name="csY1010" fmla="*/ 261332 h 1538630"/>
              <a:gd name="csX1011" fmla="*/ 920203 w 1609516"/>
              <a:gd name="csY1011" fmla="*/ 262741 h 1538630"/>
              <a:gd name="csX1012" fmla="*/ 910831 w 1609516"/>
              <a:gd name="csY1012" fmla="*/ 262741 h 1538630"/>
              <a:gd name="csX1013" fmla="*/ 910831 w 1609516"/>
              <a:gd name="csY1013" fmla="*/ 262864 h 1538630"/>
              <a:gd name="csX1014" fmla="*/ 927993 w 1609516"/>
              <a:gd name="csY1014" fmla="*/ 264177 h 1538630"/>
              <a:gd name="csX1015" fmla="*/ 939273 w 1609516"/>
              <a:gd name="csY1015" fmla="*/ 265285 h 1538630"/>
              <a:gd name="csX1016" fmla="*/ 940456 w 1609516"/>
              <a:gd name="csY1016" fmla="*/ 265191 h 1538630"/>
              <a:gd name="csX1017" fmla="*/ 991622 w 1609516"/>
              <a:gd name="csY1017" fmla="*/ 242329 h 1538630"/>
              <a:gd name="csX1018" fmla="*/ 1000803 w 1609516"/>
              <a:gd name="csY1018" fmla="*/ 236505 h 1538630"/>
              <a:gd name="csX1019" fmla="*/ 999806 w 1609516"/>
              <a:gd name="csY1019" fmla="*/ 236055 h 1538630"/>
              <a:gd name="csX1020" fmla="*/ 1003126 w 1609516"/>
              <a:gd name="csY1020" fmla="*/ 232851 h 1538630"/>
              <a:gd name="csX1021" fmla="*/ 1029487 w 1609516"/>
              <a:gd name="csY1021" fmla="*/ 205052 h 1538630"/>
              <a:gd name="csX1022" fmla="*/ 1029872 w 1609516"/>
              <a:gd name="csY1022" fmla="*/ 206442 h 1538630"/>
              <a:gd name="csX1023" fmla="*/ 1031614 w 1609516"/>
              <a:gd name="csY1023" fmla="*/ 203719 h 1538630"/>
              <a:gd name="csX1024" fmla="*/ 1038924 w 1609516"/>
              <a:gd name="csY1024" fmla="*/ 192280 h 1538630"/>
              <a:gd name="csX1025" fmla="*/ 1042049 w 1609516"/>
              <a:gd name="csY1025" fmla="*/ 190870 h 1538630"/>
              <a:gd name="csX1026" fmla="*/ 1044294 w 1609516"/>
              <a:gd name="csY1026" fmla="*/ 186026 h 1538630"/>
              <a:gd name="csX1027" fmla="*/ 1051422 w 1609516"/>
              <a:gd name="csY1027" fmla="*/ 178188 h 1538630"/>
              <a:gd name="csX1028" fmla="*/ 1052984 w 1609516"/>
              <a:gd name="csY1028" fmla="*/ 172551 h 1538630"/>
              <a:gd name="csX1029" fmla="*/ 1056108 w 1609516"/>
              <a:gd name="csY1029" fmla="*/ 172551 h 1538630"/>
              <a:gd name="csX1030" fmla="*/ 1059232 w 1609516"/>
              <a:gd name="csY1030" fmla="*/ 162686 h 1538630"/>
              <a:gd name="csX1031" fmla="*/ 1062357 w 1609516"/>
              <a:gd name="csY1031" fmla="*/ 162686 h 1538630"/>
              <a:gd name="csX1032" fmla="*/ 1063162 w 1609516"/>
              <a:gd name="csY1032" fmla="*/ 160258 h 1538630"/>
              <a:gd name="csX1033" fmla="*/ 1073292 w 1609516"/>
              <a:gd name="csY1033" fmla="*/ 140138 h 1538630"/>
              <a:gd name="csX1034" fmla="*/ 1076415 w 1609516"/>
              <a:gd name="csY1034" fmla="*/ 140138 h 1538630"/>
              <a:gd name="csX1035" fmla="*/ 1085294 w 1609516"/>
              <a:gd name="csY1035" fmla="*/ 117569 h 1538630"/>
              <a:gd name="csX1036" fmla="*/ 1087350 w 1609516"/>
              <a:gd name="csY1036" fmla="*/ 113363 h 1538630"/>
              <a:gd name="csX1037" fmla="*/ 1092037 w 1609516"/>
              <a:gd name="csY1037" fmla="*/ 111954 h 1538630"/>
              <a:gd name="csX1038" fmla="*/ 1092623 w 1609516"/>
              <a:gd name="csY1038" fmla="*/ 108695 h 1538630"/>
              <a:gd name="csX1039" fmla="*/ 1096723 w 1609516"/>
              <a:gd name="csY1039" fmla="*/ 100680 h 1538630"/>
              <a:gd name="csX1040" fmla="*/ 1098188 w 1609516"/>
              <a:gd name="csY1040" fmla="*/ 96013 h 1538630"/>
              <a:gd name="csX1041" fmla="*/ 1102288 w 1609516"/>
              <a:gd name="csY1041" fmla="*/ 87029 h 1538630"/>
              <a:gd name="csX1042" fmla="*/ 1104534 w 1609516"/>
              <a:gd name="csY1042" fmla="*/ 61222 h 1538630"/>
              <a:gd name="csX1043" fmla="*/ 1104381 w 1609516"/>
              <a:gd name="csY1043" fmla="*/ 55569 h 1538630"/>
              <a:gd name="csX1044" fmla="*/ 1104397 w 1609516"/>
              <a:gd name="csY1044" fmla="*/ 52335 h 1538630"/>
              <a:gd name="csX1045" fmla="*/ 1104436 w 1609516"/>
              <a:gd name="csY1045" fmla="*/ 48979 h 1538630"/>
              <a:gd name="csX1046" fmla="*/ 1104457 w 1609516"/>
              <a:gd name="csY1046" fmla="*/ 45575 h 1538630"/>
              <a:gd name="csX1047" fmla="*/ 1104534 w 1609516"/>
              <a:gd name="csY1047" fmla="*/ 37265 h 1538630"/>
              <a:gd name="csX1048" fmla="*/ 1107658 w 1609516"/>
              <a:gd name="csY1048" fmla="*/ 37265 h 1538630"/>
              <a:gd name="csX1049" fmla="*/ 1107463 w 1609516"/>
              <a:gd name="csY1049" fmla="*/ 31805 h 1538630"/>
              <a:gd name="csX1050" fmla="*/ 1107658 w 1609516"/>
              <a:gd name="csY1050" fmla="*/ 25991 h 1538630"/>
              <a:gd name="csX1051" fmla="*/ 1110782 w 1609516"/>
              <a:gd name="csY1051" fmla="*/ 23173 h 1538630"/>
              <a:gd name="csX1052" fmla="*/ 1111759 w 1609516"/>
              <a:gd name="csY1052" fmla="*/ 20091 h 1538630"/>
              <a:gd name="csX1053" fmla="*/ 1134507 w 1609516"/>
              <a:gd name="csY1053" fmla="*/ 2828 h 1538630"/>
              <a:gd name="csX1054" fmla="*/ 1155019 w 1609516"/>
              <a:gd name="csY1054" fmla="*/ 35 h 153863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  <a:cxn ang="0">
                <a:pos x="csX170" y="csY170"/>
              </a:cxn>
              <a:cxn ang="0">
                <a:pos x="csX171" y="csY171"/>
              </a:cxn>
              <a:cxn ang="0">
                <a:pos x="csX172" y="csY172"/>
              </a:cxn>
              <a:cxn ang="0">
                <a:pos x="csX173" y="csY173"/>
              </a:cxn>
              <a:cxn ang="0">
                <a:pos x="csX174" y="csY174"/>
              </a:cxn>
              <a:cxn ang="0">
                <a:pos x="csX175" y="csY175"/>
              </a:cxn>
              <a:cxn ang="0">
                <a:pos x="csX176" y="csY176"/>
              </a:cxn>
              <a:cxn ang="0">
                <a:pos x="csX177" y="csY177"/>
              </a:cxn>
              <a:cxn ang="0">
                <a:pos x="csX178" y="csY178"/>
              </a:cxn>
              <a:cxn ang="0">
                <a:pos x="csX179" y="csY179"/>
              </a:cxn>
              <a:cxn ang="0">
                <a:pos x="csX180" y="csY180"/>
              </a:cxn>
              <a:cxn ang="0">
                <a:pos x="csX181" y="csY181"/>
              </a:cxn>
              <a:cxn ang="0">
                <a:pos x="csX182" y="csY182"/>
              </a:cxn>
              <a:cxn ang="0">
                <a:pos x="csX183" y="csY183"/>
              </a:cxn>
              <a:cxn ang="0">
                <a:pos x="csX184" y="csY184"/>
              </a:cxn>
              <a:cxn ang="0">
                <a:pos x="csX185" y="csY185"/>
              </a:cxn>
              <a:cxn ang="0">
                <a:pos x="csX186" y="csY186"/>
              </a:cxn>
              <a:cxn ang="0">
                <a:pos x="csX187" y="csY187"/>
              </a:cxn>
              <a:cxn ang="0">
                <a:pos x="csX188" y="csY188"/>
              </a:cxn>
              <a:cxn ang="0">
                <a:pos x="csX189" y="csY189"/>
              </a:cxn>
              <a:cxn ang="0">
                <a:pos x="csX190" y="csY190"/>
              </a:cxn>
              <a:cxn ang="0">
                <a:pos x="csX191" y="csY191"/>
              </a:cxn>
              <a:cxn ang="0">
                <a:pos x="csX192" y="csY192"/>
              </a:cxn>
              <a:cxn ang="0">
                <a:pos x="csX193" y="csY193"/>
              </a:cxn>
              <a:cxn ang="0">
                <a:pos x="csX194" y="csY194"/>
              </a:cxn>
              <a:cxn ang="0">
                <a:pos x="csX195" y="csY195"/>
              </a:cxn>
              <a:cxn ang="0">
                <a:pos x="csX196" y="csY196"/>
              </a:cxn>
              <a:cxn ang="0">
                <a:pos x="csX197" y="csY197"/>
              </a:cxn>
              <a:cxn ang="0">
                <a:pos x="csX198" y="csY198"/>
              </a:cxn>
              <a:cxn ang="0">
                <a:pos x="csX199" y="csY199"/>
              </a:cxn>
              <a:cxn ang="0">
                <a:pos x="csX200" y="csY200"/>
              </a:cxn>
              <a:cxn ang="0">
                <a:pos x="csX201" y="csY201"/>
              </a:cxn>
              <a:cxn ang="0">
                <a:pos x="csX202" y="csY202"/>
              </a:cxn>
              <a:cxn ang="0">
                <a:pos x="csX203" y="csY203"/>
              </a:cxn>
              <a:cxn ang="0">
                <a:pos x="csX204" y="csY204"/>
              </a:cxn>
              <a:cxn ang="0">
                <a:pos x="csX205" y="csY205"/>
              </a:cxn>
              <a:cxn ang="0">
                <a:pos x="csX206" y="csY206"/>
              </a:cxn>
              <a:cxn ang="0">
                <a:pos x="csX207" y="csY207"/>
              </a:cxn>
              <a:cxn ang="0">
                <a:pos x="csX208" y="csY208"/>
              </a:cxn>
              <a:cxn ang="0">
                <a:pos x="csX209" y="csY209"/>
              </a:cxn>
              <a:cxn ang="0">
                <a:pos x="csX210" y="csY210"/>
              </a:cxn>
              <a:cxn ang="0">
                <a:pos x="csX211" y="csY211"/>
              </a:cxn>
              <a:cxn ang="0">
                <a:pos x="csX212" y="csY212"/>
              </a:cxn>
              <a:cxn ang="0">
                <a:pos x="csX213" y="csY213"/>
              </a:cxn>
              <a:cxn ang="0">
                <a:pos x="csX214" y="csY214"/>
              </a:cxn>
              <a:cxn ang="0">
                <a:pos x="csX215" y="csY215"/>
              </a:cxn>
              <a:cxn ang="0">
                <a:pos x="csX216" y="csY216"/>
              </a:cxn>
              <a:cxn ang="0">
                <a:pos x="csX217" y="csY217"/>
              </a:cxn>
              <a:cxn ang="0">
                <a:pos x="csX218" y="csY218"/>
              </a:cxn>
              <a:cxn ang="0">
                <a:pos x="csX219" y="csY219"/>
              </a:cxn>
              <a:cxn ang="0">
                <a:pos x="csX220" y="csY220"/>
              </a:cxn>
              <a:cxn ang="0">
                <a:pos x="csX221" y="csY221"/>
              </a:cxn>
              <a:cxn ang="0">
                <a:pos x="csX222" y="csY222"/>
              </a:cxn>
              <a:cxn ang="0">
                <a:pos x="csX223" y="csY223"/>
              </a:cxn>
              <a:cxn ang="0">
                <a:pos x="csX224" y="csY224"/>
              </a:cxn>
              <a:cxn ang="0">
                <a:pos x="csX225" y="csY225"/>
              </a:cxn>
              <a:cxn ang="0">
                <a:pos x="csX226" y="csY226"/>
              </a:cxn>
              <a:cxn ang="0">
                <a:pos x="csX227" y="csY227"/>
              </a:cxn>
              <a:cxn ang="0">
                <a:pos x="csX228" y="csY228"/>
              </a:cxn>
              <a:cxn ang="0">
                <a:pos x="csX229" y="csY229"/>
              </a:cxn>
              <a:cxn ang="0">
                <a:pos x="csX230" y="csY230"/>
              </a:cxn>
              <a:cxn ang="0">
                <a:pos x="csX231" y="csY231"/>
              </a:cxn>
              <a:cxn ang="0">
                <a:pos x="csX232" y="csY232"/>
              </a:cxn>
              <a:cxn ang="0">
                <a:pos x="csX233" y="csY233"/>
              </a:cxn>
              <a:cxn ang="0">
                <a:pos x="csX234" y="csY234"/>
              </a:cxn>
              <a:cxn ang="0">
                <a:pos x="csX235" y="csY235"/>
              </a:cxn>
              <a:cxn ang="0">
                <a:pos x="csX236" y="csY236"/>
              </a:cxn>
              <a:cxn ang="0">
                <a:pos x="csX237" y="csY237"/>
              </a:cxn>
              <a:cxn ang="0">
                <a:pos x="csX238" y="csY238"/>
              </a:cxn>
              <a:cxn ang="0">
                <a:pos x="csX239" y="csY239"/>
              </a:cxn>
              <a:cxn ang="0">
                <a:pos x="csX240" y="csY240"/>
              </a:cxn>
              <a:cxn ang="0">
                <a:pos x="csX241" y="csY241"/>
              </a:cxn>
              <a:cxn ang="0">
                <a:pos x="csX242" y="csY242"/>
              </a:cxn>
              <a:cxn ang="0">
                <a:pos x="csX243" y="csY243"/>
              </a:cxn>
              <a:cxn ang="0">
                <a:pos x="csX244" y="csY244"/>
              </a:cxn>
              <a:cxn ang="0">
                <a:pos x="csX245" y="csY245"/>
              </a:cxn>
              <a:cxn ang="0">
                <a:pos x="csX246" y="csY246"/>
              </a:cxn>
              <a:cxn ang="0">
                <a:pos x="csX247" y="csY247"/>
              </a:cxn>
              <a:cxn ang="0">
                <a:pos x="csX248" y="csY248"/>
              </a:cxn>
              <a:cxn ang="0">
                <a:pos x="csX249" y="csY249"/>
              </a:cxn>
              <a:cxn ang="0">
                <a:pos x="csX250" y="csY250"/>
              </a:cxn>
              <a:cxn ang="0">
                <a:pos x="csX251" y="csY251"/>
              </a:cxn>
              <a:cxn ang="0">
                <a:pos x="csX252" y="csY252"/>
              </a:cxn>
              <a:cxn ang="0">
                <a:pos x="csX253" y="csY253"/>
              </a:cxn>
              <a:cxn ang="0">
                <a:pos x="csX254" y="csY254"/>
              </a:cxn>
              <a:cxn ang="0">
                <a:pos x="csX255" y="csY255"/>
              </a:cxn>
              <a:cxn ang="0">
                <a:pos x="csX256" y="csY256"/>
              </a:cxn>
              <a:cxn ang="0">
                <a:pos x="csX257" y="csY257"/>
              </a:cxn>
              <a:cxn ang="0">
                <a:pos x="csX258" y="csY258"/>
              </a:cxn>
              <a:cxn ang="0">
                <a:pos x="csX259" y="csY259"/>
              </a:cxn>
              <a:cxn ang="0">
                <a:pos x="csX260" y="csY260"/>
              </a:cxn>
              <a:cxn ang="0">
                <a:pos x="csX261" y="csY261"/>
              </a:cxn>
              <a:cxn ang="0">
                <a:pos x="csX262" y="csY262"/>
              </a:cxn>
              <a:cxn ang="0">
                <a:pos x="csX263" y="csY263"/>
              </a:cxn>
              <a:cxn ang="0">
                <a:pos x="csX264" y="csY264"/>
              </a:cxn>
              <a:cxn ang="0">
                <a:pos x="csX265" y="csY265"/>
              </a:cxn>
              <a:cxn ang="0">
                <a:pos x="csX266" y="csY266"/>
              </a:cxn>
              <a:cxn ang="0">
                <a:pos x="csX267" y="csY267"/>
              </a:cxn>
              <a:cxn ang="0">
                <a:pos x="csX268" y="csY268"/>
              </a:cxn>
              <a:cxn ang="0">
                <a:pos x="csX269" y="csY269"/>
              </a:cxn>
              <a:cxn ang="0">
                <a:pos x="csX270" y="csY270"/>
              </a:cxn>
              <a:cxn ang="0">
                <a:pos x="csX271" y="csY271"/>
              </a:cxn>
              <a:cxn ang="0">
                <a:pos x="csX272" y="csY272"/>
              </a:cxn>
              <a:cxn ang="0">
                <a:pos x="csX273" y="csY273"/>
              </a:cxn>
              <a:cxn ang="0">
                <a:pos x="csX274" y="csY274"/>
              </a:cxn>
              <a:cxn ang="0">
                <a:pos x="csX275" y="csY275"/>
              </a:cxn>
              <a:cxn ang="0">
                <a:pos x="csX276" y="csY276"/>
              </a:cxn>
              <a:cxn ang="0">
                <a:pos x="csX277" y="csY277"/>
              </a:cxn>
              <a:cxn ang="0">
                <a:pos x="csX278" y="csY278"/>
              </a:cxn>
              <a:cxn ang="0">
                <a:pos x="csX279" y="csY279"/>
              </a:cxn>
              <a:cxn ang="0">
                <a:pos x="csX280" y="csY280"/>
              </a:cxn>
              <a:cxn ang="0">
                <a:pos x="csX281" y="csY281"/>
              </a:cxn>
              <a:cxn ang="0">
                <a:pos x="csX282" y="csY282"/>
              </a:cxn>
              <a:cxn ang="0">
                <a:pos x="csX283" y="csY283"/>
              </a:cxn>
              <a:cxn ang="0">
                <a:pos x="csX284" y="csY284"/>
              </a:cxn>
              <a:cxn ang="0">
                <a:pos x="csX285" y="csY285"/>
              </a:cxn>
              <a:cxn ang="0">
                <a:pos x="csX286" y="csY286"/>
              </a:cxn>
              <a:cxn ang="0">
                <a:pos x="csX287" y="csY287"/>
              </a:cxn>
              <a:cxn ang="0">
                <a:pos x="csX288" y="csY288"/>
              </a:cxn>
              <a:cxn ang="0">
                <a:pos x="csX289" y="csY289"/>
              </a:cxn>
              <a:cxn ang="0">
                <a:pos x="csX290" y="csY290"/>
              </a:cxn>
              <a:cxn ang="0">
                <a:pos x="csX291" y="csY291"/>
              </a:cxn>
              <a:cxn ang="0">
                <a:pos x="csX292" y="csY292"/>
              </a:cxn>
              <a:cxn ang="0">
                <a:pos x="csX293" y="csY293"/>
              </a:cxn>
              <a:cxn ang="0">
                <a:pos x="csX294" y="csY294"/>
              </a:cxn>
              <a:cxn ang="0">
                <a:pos x="csX295" y="csY295"/>
              </a:cxn>
              <a:cxn ang="0">
                <a:pos x="csX296" y="csY296"/>
              </a:cxn>
              <a:cxn ang="0">
                <a:pos x="csX297" y="csY297"/>
              </a:cxn>
              <a:cxn ang="0">
                <a:pos x="csX298" y="csY298"/>
              </a:cxn>
              <a:cxn ang="0">
                <a:pos x="csX299" y="csY299"/>
              </a:cxn>
              <a:cxn ang="0">
                <a:pos x="csX300" y="csY300"/>
              </a:cxn>
              <a:cxn ang="0">
                <a:pos x="csX301" y="csY301"/>
              </a:cxn>
              <a:cxn ang="0">
                <a:pos x="csX302" y="csY302"/>
              </a:cxn>
              <a:cxn ang="0">
                <a:pos x="csX303" y="csY303"/>
              </a:cxn>
              <a:cxn ang="0">
                <a:pos x="csX304" y="csY304"/>
              </a:cxn>
              <a:cxn ang="0">
                <a:pos x="csX305" y="csY305"/>
              </a:cxn>
              <a:cxn ang="0">
                <a:pos x="csX306" y="csY306"/>
              </a:cxn>
              <a:cxn ang="0">
                <a:pos x="csX307" y="csY307"/>
              </a:cxn>
              <a:cxn ang="0">
                <a:pos x="csX308" y="csY308"/>
              </a:cxn>
              <a:cxn ang="0">
                <a:pos x="csX309" y="csY309"/>
              </a:cxn>
              <a:cxn ang="0">
                <a:pos x="csX310" y="csY310"/>
              </a:cxn>
              <a:cxn ang="0">
                <a:pos x="csX311" y="csY311"/>
              </a:cxn>
              <a:cxn ang="0">
                <a:pos x="csX312" y="csY312"/>
              </a:cxn>
              <a:cxn ang="0">
                <a:pos x="csX313" y="csY313"/>
              </a:cxn>
              <a:cxn ang="0">
                <a:pos x="csX314" y="csY314"/>
              </a:cxn>
              <a:cxn ang="0">
                <a:pos x="csX315" y="csY315"/>
              </a:cxn>
              <a:cxn ang="0">
                <a:pos x="csX316" y="csY316"/>
              </a:cxn>
              <a:cxn ang="0">
                <a:pos x="csX317" y="csY317"/>
              </a:cxn>
              <a:cxn ang="0">
                <a:pos x="csX318" y="csY318"/>
              </a:cxn>
              <a:cxn ang="0">
                <a:pos x="csX319" y="csY319"/>
              </a:cxn>
              <a:cxn ang="0">
                <a:pos x="csX320" y="csY320"/>
              </a:cxn>
              <a:cxn ang="0">
                <a:pos x="csX321" y="csY321"/>
              </a:cxn>
              <a:cxn ang="0">
                <a:pos x="csX322" y="csY322"/>
              </a:cxn>
              <a:cxn ang="0">
                <a:pos x="csX323" y="csY323"/>
              </a:cxn>
              <a:cxn ang="0">
                <a:pos x="csX324" y="csY324"/>
              </a:cxn>
              <a:cxn ang="0">
                <a:pos x="csX325" y="csY325"/>
              </a:cxn>
              <a:cxn ang="0">
                <a:pos x="csX326" y="csY326"/>
              </a:cxn>
              <a:cxn ang="0">
                <a:pos x="csX327" y="csY327"/>
              </a:cxn>
              <a:cxn ang="0">
                <a:pos x="csX328" y="csY328"/>
              </a:cxn>
              <a:cxn ang="0">
                <a:pos x="csX329" y="csY329"/>
              </a:cxn>
              <a:cxn ang="0">
                <a:pos x="csX330" y="csY330"/>
              </a:cxn>
              <a:cxn ang="0">
                <a:pos x="csX331" y="csY331"/>
              </a:cxn>
              <a:cxn ang="0">
                <a:pos x="csX332" y="csY332"/>
              </a:cxn>
              <a:cxn ang="0">
                <a:pos x="csX333" y="csY333"/>
              </a:cxn>
              <a:cxn ang="0">
                <a:pos x="csX334" y="csY334"/>
              </a:cxn>
              <a:cxn ang="0">
                <a:pos x="csX335" y="csY335"/>
              </a:cxn>
              <a:cxn ang="0">
                <a:pos x="csX336" y="csY336"/>
              </a:cxn>
              <a:cxn ang="0">
                <a:pos x="csX337" y="csY337"/>
              </a:cxn>
              <a:cxn ang="0">
                <a:pos x="csX338" y="csY338"/>
              </a:cxn>
              <a:cxn ang="0">
                <a:pos x="csX339" y="csY339"/>
              </a:cxn>
              <a:cxn ang="0">
                <a:pos x="csX340" y="csY340"/>
              </a:cxn>
              <a:cxn ang="0">
                <a:pos x="csX341" y="csY341"/>
              </a:cxn>
              <a:cxn ang="0">
                <a:pos x="csX342" y="csY342"/>
              </a:cxn>
              <a:cxn ang="0">
                <a:pos x="csX343" y="csY343"/>
              </a:cxn>
              <a:cxn ang="0">
                <a:pos x="csX344" y="csY344"/>
              </a:cxn>
              <a:cxn ang="0">
                <a:pos x="csX345" y="csY345"/>
              </a:cxn>
              <a:cxn ang="0">
                <a:pos x="csX346" y="csY346"/>
              </a:cxn>
              <a:cxn ang="0">
                <a:pos x="csX347" y="csY347"/>
              </a:cxn>
              <a:cxn ang="0">
                <a:pos x="csX348" y="csY348"/>
              </a:cxn>
              <a:cxn ang="0">
                <a:pos x="csX349" y="csY349"/>
              </a:cxn>
              <a:cxn ang="0">
                <a:pos x="csX350" y="csY350"/>
              </a:cxn>
              <a:cxn ang="0">
                <a:pos x="csX351" y="csY351"/>
              </a:cxn>
              <a:cxn ang="0">
                <a:pos x="csX352" y="csY352"/>
              </a:cxn>
              <a:cxn ang="0">
                <a:pos x="csX353" y="csY353"/>
              </a:cxn>
              <a:cxn ang="0">
                <a:pos x="csX354" y="csY354"/>
              </a:cxn>
              <a:cxn ang="0">
                <a:pos x="csX355" y="csY355"/>
              </a:cxn>
              <a:cxn ang="0">
                <a:pos x="csX356" y="csY356"/>
              </a:cxn>
              <a:cxn ang="0">
                <a:pos x="csX357" y="csY357"/>
              </a:cxn>
              <a:cxn ang="0">
                <a:pos x="csX358" y="csY358"/>
              </a:cxn>
              <a:cxn ang="0">
                <a:pos x="csX359" y="csY359"/>
              </a:cxn>
              <a:cxn ang="0">
                <a:pos x="csX360" y="csY360"/>
              </a:cxn>
              <a:cxn ang="0">
                <a:pos x="csX361" y="csY361"/>
              </a:cxn>
              <a:cxn ang="0">
                <a:pos x="csX362" y="csY362"/>
              </a:cxn>
              <a:cxn ang="0">
                <a:pos x="csX363" y="csY363"/>
              </a:cxn>
              <a:cxn ang="0">
                <a:pos x="csX364" y="csY364"/>
              </a:cxn>
              <a:cxn ang="0">
                <a:pos x="csX365" y="csY365"/>
              </a:cxn>
              <a:cxn ang="0">
                <a:pos x="csX366" y="csY366"/>
              </a:cxn>
              <a:cxn ang="0">
                <a:pos x="csX367" y="csY367"/>
              </a:cxn>
              <a:cxn ang="0">
                <a:pos x="csX368" y="csY368"/>
              </a:cxn>
              <a:cxn ang="0">
                <a:pos x="csX369" y="csY369"/>
              </a:cxn>
              <a:cxn ang="0">
                <a:pos x="csX370" y="csY370"/>
              </a:cxn>
              <a:cxn ang="0">
                <a:pos x="csX371" y="csY371"/>
              </a:cxn>
              <a:cxn ang="0">
                <a:pos x="csX372" y="csY372"/>
              </a:cxn>
              <a:cxn ang="0">
                <a:pos x="csX373" y="csY373"/>
              </a:cxn>
              <a:cxn ang="0">
                <a:pos x="csX374" y="csY374"/>
              </a:cxn>
              <a:cxn ang="0">
                <a:pos x="csX375" y="csY375"/>
              </a:cxn>
              <a:cxn ang="0">
                <a:pos x="csX376" y="csY376"/>
              </a:cxn>
              <a:cxn ang="0">
                <a:pos x="csX377" y="csY377"/>
              </a:cxn>
              <a:cxn ang="0">
                <a:pos x="csX378" y="csY378"/>
              </a:cxn>
              <a:cxn ang="0">
                <a:pos x="csX379" y="csY379"/>
              </a:cxn>
              <a:cxn ang="0">
                <a:pos x="csX380" y="csY380"/>
              </a:cxn>
              <a:cxn ang="0">
                <a:pos x="csX381" y="csY381"/>
              </a:cxn>
              <a:cxn ang="0">
                <a:pos x="csX382" y="csY382"/>
              </a:cxn>
              <a:cxn ang="0">
                <a:pos x="csX383" y="csY383"/>
              </a:cxn>
              <a:cxn ang="0">
                <a:pos x="csX384" y="csY384"/>
              </a:cxn>
              <a:cxn ang="0">
                <a:pos x="csX385" y="csY385"/>
              </a:cxn>
              <a:cxn ang="0">
                <a:pos x="csX386" y="csY386"/>
              </a:cxn>
              <a:cxn ang="0">
                <a:pos x="csX387" y="csY387"/>
              </a:cxn>
              <a:cxn ang="0">
                <a:pos x="csX388" y="csY388"/>
              </a:cxn>
              <a:cxn ang="0">
                <a:pos x="csX389" y="csY389"/>
              </a:cxn>
              <a:cxn ang="0">
                <a:pos x="csX390" y="csY390"/>
              </a:cxn>
              <a:cxn ang="0">
                <a:pos x="csX391" y="csY391"/>
              </a:cxn>
              <a:cxn ang="0">
                <a:pos x="csX392" y="csY392"/>
              </a:cxn>
              <a:cxn ang="0">
                <a:pos x="csX393" y="csY393"/>
              </a:cxn>
              <a:cxn ang="0">
                <a:pos x="csX394" y="csY394"/>
              </a:cxn>
              <a:cxn ang="0">
                <a:pos x="csX395" y="csY395"/>
              </a:cxn>
              <a:cxn ang="0">
                <a:pos x="csX396" y="csY396"/>
              </a:cxn>
              <a:cxn ang="0">
                <a:pos x="csX397" y="csY397"/>
              </a:cxn>
              <a:cxn ang="0">
                <a:pos x="csX398" y="csY398"/>
              </a:cxn>
              <a:cxn ang="0">
                <a:pos x="csX399" y="csY399"/>
              </a:cxn>
              <a:cxn ang="0">
                <a:pos x="csX400" y="csY400"/>
              </a:cxn>
              <a:cxn ang="0">
                <a:pos x="csX401" y="csY401"/>
              </a:cxn>
              <a:cxn ang="0">
                <a:pos x="csX402" y="csY402"/>
              </a:cxn>
              <a:cxn ang="0">
                <a:pos x="csX403" y="csY403"/>
              </a:cxn>
              <a:cxn ang="0">
                <a:pos x="csX404" y="csY404"/>
              </a:cxn>
              <a:cxn ang="0">
                <a:pos x="csX405" y="csY405"/>
              </a:cxn>
              <a:cxn ang="0">
                <a:pos x="csX406" y="csY406"/>
              </a:cxn>
              <a:cxn ang="0">
                <a:pos x="csX407" y="csY407"/>
              </a:cxn>
              <a:cxn ang="0">
                <a:pos x="csX408" y="csY408"/>
              </a:cxn>
              <a:cxn ang="0">
                <a:pos x="csX409" y="csY409"/>
              </a:cxn>
              <a:cxn ang="0">
                <a:pos x="csX410" y="csY410"/>
              </a:cxn>
              <a:cxn ang="0">
                <a:pos x="csX411" y="csY411"/>
              </a:cxn>
              <a:cxn ang="0">
                <a:pos x="csX412" y="csY412"/>
              </a:cxn>
              <a:cxn ang="0">
                <a:pos x="csX413" y="csY413"/>
              </a:cxn>
              <a:cxn ang="0">
                <a:pos x="csX414" y="csY414"/>
              </a:cxn>
              <a:cxn ang="0">
                <a:pos x="csX415" y="csY415"/>
              </a:cxn>
              <a:cxn ang="0">
                <a:pos x="csX416" y="csY416"/>
              </a:cxn>
              <a:cxn ang="0">
                <a:pos x="csX417" y="csY417"/>
              </a:cxn>
              <a:cxn ang="0">
                <a:pos x="csX418" y="csY418"/>
              </a:cxn>
              <a:cxn ang="0">
                <a:pos x="csX419" y="csY419"/>
              </a:cxn>
              <a:cxn ang="0">
                <a:pos x="csX420" y="csY420"/>
              </a:cxn>
              <a:cxn ang="0">
                <a:pos x="csX421" y="csY421"/>
              </a:cxn>
              <a:cxn ang="0">
                <a:pos x="csX422" y="csY422"/>
              </a:cxn>
              <a:cxn ang="0">
                <a:pos x="csX423" y="csY423"/>
              </a:cxn>
              <a:cxn ang="0">
                <a:pos x="csX424" y="csY424"/>
              </a:cxn>
              <a:cxn ang="0">
                <a:pos x="csX425" y="csY425"/>
              </a:cxn>
              <a:cxn ang="0">
                <a:pos x="csX426" y="csY426"/>
              </a:cxn>
              <a:cxn ang="0">
                <a:pos x="csX427" y="csY427"/>
              </a:cxn>
              <a:cxn ang="0">
                <a:pos x="csX428" y="csY428"/>
              </a:cxn>
              <a:cxn ang="0">
                <a:pos x="csX429" y="csY429"/>
              </a:cxn>
              <a:cxn ang="0">
                <a:pos x="csX430" y="csY430"/>
              </a:cxn>
              <a:cxn ang="0">
                <a:pos x="csX431" y="csY431"/>
              </a:cxn>
              <a:cxn ang="0">
                <a:pos x="csX432" y="csY432"/>
              </a:cxn>
              <a:cxn ang="0">
                <a:pos x="csX433" y="csY433"/>
              </a:cxn>
              <a:cxn ang="0">
                <a:pos x="csX434" y="csY434"/>
              </a:cxn>
              <a:cxn ang="0">
                <a:pos x="csX435" y="csY435"/>
              </a:cxn>
              <a:cxn ang="0">
                <a:pos x="csX436" y="csY436"/>
              </a:cxn>
              <a:cxn ang="0">
                <a:pos x="csX437" y="csY437"/>
              </a:cxn>
              <a:cxn ang="0">
                <a:pos x="csX438" y="csY438"/>
              </a:cxn>
              <a:cxn ang="0">
                <a:pos x="csX439" y="csY439"/>
              </a:cxn>
              <a:cxn ang="0">
                <a:pos x="csX440" y="csY440"/>
              </a:cxn>
              <a:cxn ang="0">
                <a:pos x="csX441" y="csY441"/>
              </a:cxn>
              <a:cxn ang="0">
                <a:pos x="csX442" y="csY442"/>
              </a:cxn>
              <a:cxn ang="0">
                <a:pos x="csX443" y="csY443"/>
              </a:cxn>
              <a:cxn ang="0">
                <a:pos x="csX444" y="csY444"/>
              </a:cxn>
              <a:cxn ang="0">
                <a:pos x="csX445" y="csY445"/>
              </a:cxn>
              <a:cxn ang="0">
                <a:pos x="csX446" y="csY446"/>
              </a:cxn>
              <a:cxn ang="0">
                <a:pos x="csX447" y="csY447"/>
              </a:cxn>
              <a:cxn ang="0">
                <a:pos x="csX448" y="csY448"/>
              </a:cxn>
              <a:cxn ang="0">
                <a:pos x="csX449" y="csY449"/>
              </a:cxn>
              <a:cxn ang="0">
                <a:pos x="csX450" y="csY450"/>
              </a:cxn>
              <a:cxn ang="0">
                <a:pos x="csX451" y="csY451"/>
              </a:cxn>
              <a:cxn ang="0">
                <a:pos x="csX452" y="csY452"/>
              </a:cxn>
              <a:cxn ang="0">
                <a:pos x="csX453" y="csY453"/>
              </a:cxn>
              <a:cxn ang="0">
                <a:pos x="csX454" y="csY454"/>
              </a:cxn>
              <a:cxn ang="0">
                <a:pos x="csX455" y="csY455"/>
              </a:cxn>
              <a:cxn ang="0">
                <a:pos x="csX456" y="csY456"/>
              </a:cxn>
              <a:cxn ang="0">
                <a:pos x="csX457" y="csY457"/>
              </a:cxn>
              <a:cxn ang="0">
                <a:pos x="csX458" y="csY458"/>
              </a:cxn>
              <a:cxn ang="0">
                <a:pos x="csX459" y="csY459"/>
              </a:cxn>
              <a:cxn ang="0">
                <a:pos x="csX460" y="csY460"/>
              </a:cxn>
              <a:cxn ang="0">
                <a:pos x="csX461" y="csY461"/>
              </a:cxn>
              <a:cxn ang="0">
                <a:pos x="csX462" y="csY462"/>
              </a:cxn>
              <a:cxn ang="0">
                <a:pos x="csX463" y="csY463"/>
              </a:cxn>
              <a:cxn ang="0">
                <a:pos x="csX464" y="csY464"/>
              </a:cxn>
              <a:cxn ang="0">
                <a:pos x="csX465" y="csY465"/>
              </a:cxn>
              <a:cxn ang="0">
                <a:pos x="csX466" y="csY466"/>
              </a:cxn>
              <a:cxn ang="0">
                <a:pos x="csX467" y="csY467"/>
              </a:cxn>
              <a:cxn ang="0">
                <a:pos x="csX468" y="csY468"/>
              </a:cxn>
              <a:cxn ang="0">
                <a:pos x="csX469" y="csY469"/>
              </a:cxn>
              <a:cxn ang="0">
                <a:pos x="csX470" y="csY470"/>
              </a:cxn>
              <a:cxn ang="0">
                <a:pos x="csX471" y="csY471"/>
              </a:cxn>
              <a:cxn ang="0">
                <a:pos x="csX472" y="csY472"/>
              </a:cxn>
              <a:cxn ang="0">
                <a:pos x="csX473" y="csY473"/>
              </a:cxn>
              <a:cxn ang="0">
                <a:pos x="csX474" y="csY474"/>
              </a:cxn>
              <a:cxn ang="0">
                <a:pos x="csX475" y="csY475"/>
              </a:cxn>
              <a:cxn ang="0">
                <a:pos x="csX476" y="csY476"/>
              </a:cxn>
              <a:cxn ang="0">
                <a:pos x="csX477" y="csY477"/>
              </a:cxn>
              <a:cxn ang="0">
                <a:pos x="csX478" y="csY478"/>
              </a:cxn>
              <a:cxn ang="0">
                <a:pos x="csX479" y="csY479"/>
              </a:cxn>
              <a:cxn ang="0">
                <a:pos x="csX480" y="csY480"/>
              </a:cxn>
              <a:cxn ang="0">
                <a:pos x="csX481" y="csY481"/>
              </a:cxn>
              <a:cxn ang="0">
                <a:pos x="csX482" y="csY482"/>
              </a:cxn>
              <a:cxn ang="0">
                <a:pos x="csX483" y="csY483"/>
              </a:cxn>
              <a:cxn ang="0">
                <a:pos x="csX484" y="csY484"/>
              </a:cxn>
              <a:cxn ang="0">
                <a:pos x="csX485" y="csY485"/>
              </a:cxn>
              <a:cxn ang="0">
                <a:pos x="csX486" y="csY486"/>
              </a:cxn>
              <a:cxn ang="0">
                <a:pos x="csX487" y="csY487"/>
              </a:cxn>
              <a:cxn ang="0">
                <a:pos x="csX488" y="csY488"/>
              </a:cxn>
              <a:cxn ang="0">
                <a:pos x="csX489" y="csY489"/>
              </a:cxn>
              <a:cxn ang="0">
                <a:pos x="csX490" y="csY490"/>
              </a:cxn>
              <a:cxn ang="0">
                <a:pos x="csX491" y="csY491"/>
              </a:cxn>
              <a:cxn ang="0">
                <a:pos x="csX492" y="csY492"/>
              </a:cxn>
              <a:cxn ang="0">
                <a:pos x="csX493" y="csY493"/>
              </a:cxn>
              <a:cxn ang="0">
                <a:pos x="csX494" y="csY494"/>
              </a:cxn>
              <a:cxn ang="0">
                <a:pos x="csX495" y="csY495"/>
              </a:cxn>
              <a:cxn ang="0">
                <a:pos x="csX496" y="csY496"/>
              </a:cxn>
              <a:cxn ang="0">
                <a:pos x="csX497" y="csY497"/>
              </a:cxn>
              <a:cxn ang="0">
                <a:pos x="csX498" y="csY498"/>
              </a:cxn>
              <a:cxn ang="0">
                <a:pos x="csX499" y="csY499"/>
              </a:cxn>
              <a:cxn ang="0">
                <a:pos x="csX500" y="csY500"/>
              </a:cxn>
              <a:cxn ang="0">
                <a:pos x="csX501" y="csY501"/>
              </a:cxn>
              <a:cxn ang="0">
                <a:pos x="csX502" y="csY502"/>
              </a:cxn>
              <a:cxn ang="0">
                <a:pos x="csX503" y="csY503"/>
              </a:cxn>
              <a:cxn ang="0">
                <a:pos x="csX504" y="csY504"/>
              </a:cxn>
              <a:cxn ang="0">
                <a:pos x="csX505" y="csY505"/>
              </a:cxn>
              <a:cxn ang="0">
                <a:pos x="csX506" y="csY506"/>
              </a:cxn>
              <a:cxn ang="0">
                <a:pos x="csX507" y="csY507"/>
              </a:cxn>
              <a:cxn ang="0">
                <a:pos x="csX508" y="csY508"/>
              </a:cxn>
              <a:cxn ang="0">
                <a:pos x="csX509" y="csY509"/>
              </a:cxn>
              <a:cxn ang="0">
                <a:pos x="csX510" y="csY510"/>
              </a:cxn>
              <a:cxn ang="0">
                <a:pos x="csX511" y="csY511"/>
              </a:cxn>
              <a:cxn ang="0">
                <a:pos x="csX512" y="csY512"/>
              </a:cxn>
              <a:cxn ang="0">
                <a:pos x="csX513" y="csY513"/>
              </a:cxn>
              <a:cxn ang="0">
                <a:pos x="csX514" y="csY514"/>
              </a:cxn>
              <a:cxn ang="0">
                <a:pos x="csX515" y="csY515"/>
              </a:cxn>
              <a:cxn ang="0">
                <a:pos x="csX516" y="csY516"/>
              </a:cxn>
              <a:cxn ang="0">
                <a:pos x="csX517" y="csY517"/>
              </a:cxn>
              <a:cxn ang="0">
                <a:pos x="csX518" y="csY518"/>
              </a:cxn>
              <a:cxn ang="0">
                <a:pos x="csX519" y="csY519"/>
              </a:cxn>
              <a:cxn ang="0">
                <a:pos x="csX520" y="csY520"/>
              </a:cxn>
              <a:cxn ang="0">
                <a:pos x="csX521" y="csY521"/>
              </a:cxn>
              <a:cxn ang="0">
                <a:pos x="csX522" y="csY522"/>
              </a:cxn>
              <a:cxn ang="0">
                <a:pos x="csX523" y="csY523"/>
              </a:cxn>
              <a:cxn ang="0">
                <a:pos x="csX524" y="csY524"/>
              </a:cxn>
              <a:cxn ang="0">
                <a:pos x="csX525" y="csY525"/>
              </a:cxn>
              <a:cxn ang="0">
                <a:pos x="csX526" y="csY526"/>
              </a:cxn>
              <a:cxn ang="0">
                <a:pos x="csX527" y="csY527"/>
              </a:cxn>
              <a:cxn ang="0">
                <a:pos x="csX528" y="csY528"/>
              </a:cxn>
              <a:cxn ang="0">
                <a:pos x="csX529" y="csY529"/>
              </a:cxn>
              <a:cxn ang="0">
                <a:pos x="csX530" y="csY530"/>
              </a:cxn>
              <a:cxn ang="0">
                <a:pos x="csX531" y="csY531"/>
              </a:cxn>
              <a:cxn ang="0">
                <a:pos x="csX532" y="csY532"/>
              </a:cxn>
              <a:cxn ang="0">
                <a:pos x="csX533" y="csY533"/>
              </a:cxn>
              <a:cxn ang="0">
                <a:pos x="csX534" y="csY534"/>
              </a:cxn>
              <a:cxn ang="0">
                <a:pos x="csX535" y="csY535"/>
              </a:cxn>
              <a:cxn ang="0">
                <a:pos x="csX536" y="csY536"/>
              </a:cxn>
              <a:cxn ang="0">
                <a:pos x="csX537" y="csY537"/>
              </a:cxn>
              <a:cxn ang="0">
                <a:pos x="csX538" y="csY538"/>
              </a:cxn>
              <a:cxn ang="0">
                <a:pos x="csX539" y="csY539"/>
              </a:cxn>
              <a:cxn ang="0">
                <a:pos x="csX540" y="csY540"/>
              </a:cxn>
              <a:cxn ang="0">
                <a:pos x="csX541" y="csY541"/>
              </a:cxn>
              <a:cxn ang="0">
                <a:pos x="csX542" y="csY542"/>
              </a:cxn>
              <a:cxn ang="0">
                <a:pos x="csX543" y="csY543"/>
              </a:cxn>
              <a:cxn ang="0">
                <a:pos x="csX544" y="csY544"/>
              </a:cxn>
              <a:cxn ang="0">
                <a:pos x="csX545" y="csY545"/>
              </a:cxn>
              <a:cxn ang="0">
                <a:pos x="csX546" y="csY546"/>
              </a:cxn>
              <a:cxn ang="0">
                <a:pos x="csX547" y="csY547"/>
              </a:cxn>
              <a:cxn ang="0">
                <a:pos x="csX548" y="csY548"/>
              </a:cxn>
              <a:cxn ang="0">
                <a:pos x="csX549" y="csY549"/>
              </a:cxn>
              <a:cxn ang="0">
                <a:pos x="csX550" y="csY550"/>
              </a:cxn>
              <a:cxn ang="0">
                <a:pos x="csX551" y="csY551"/>
              </a:cxn>
              <a:cxn ang="0">
                <a:pos x="csX552" y="csY552"/>
              </a:cxn>
              <a:cxn ang="0">
                <a:pos x="csX553" y="csY553"/>
              </a:cxn>
              <a:cxn ang="0">
                <a:pos x="csX554" y="csY554"/>
              </a:cxn>
              <a:cxn ang="0">
                <a:pos x="csX555" y="csY555"/>
              </a:cxn>
              <a:cxn ang="0">
                <a:pos x="csX556" y="csY556"/>
              </a:cxn>
              <a:cxn ang="0">
                <a:pos x="csX557" y="csY557"/>
              </a:cxn>
              <a:cxn ang="0">
                <a:pos x="csX558" y="csY558"/>
              </a:cxn>
              <a:cxn ang="0">
                <a:pos x="csX559" y="csY559"/>
              </a:cxn>
              <a:cxn ang="0">
                <a:pos x="csX560" y="csY560"/>
              </a:cxn>
              <a:cxn ang="0">
                <a:pos x="csX561" y="csY561"/>
              </a:cxn>
              <a:cxn ang="0">
                <a:pos x="csX562" y="csY562"/>
              </a:cxn>
              <a:cxn ang="0">
                <a:pos x="csX563" y="csY563"/>
              </a:cxn>
              <a:cxn ang="0">
                <a:pos x="csX564" y="csY564"/>
              </a:cxn>
              <a:cxn ang="0">
                <a:pos x="csX565" y="csY565"/>
              </a:cxn>
              <a:cxn ang="0">
                <a:pos x="csX566" y="csY566"/>
              </a:cxn>
              <a:cxn ang="0">
                <a:pos x="csX567" y="csY567"/>
              </a:cxn>
              <a:cxn ang="0">
                <a:pos x="csX568" y="csY568"/>
              </a:cxn>
              <a:cxn ang="0">
                <a:pos x="csX569" y="csY569"/>
              </a:cxn>
              <a:cxn ang="0">
                <a:pos x="csX570" y="csY570"/>
              </a:cxn>
              <a:cxn ang="0">
                <a:pos x="csX571" y="csY571"/>
              </a:cxn>
              <a:cxn ang="0">
                <a:pos x="csX572" y="csY572"/>
              </a:cxn>
              <a:cxn ang="0">
                <a:pos x="csX573" y="csY573"/>
              </a:cxn>
              <a:cxn ang="0">
                <a:pos x="csX574" y="csY574"/>
              </a:cxn>
              <a:cxn ang="0">
                <a:pos x="csX575" y="csY575"/>
              </a:cxn>
              <a:cxn ang="0">
                <a:pos x="csX576" y="csY576"/>
              </a:cxn>
              <a:cxn ang="0">
                <a:pos x="csX577" y="csY577"/>
              </a:cxn>
              <a:cxn ang="0">
                <a:pos x="csX578" y="csY578"/>
              </a:cxn>
              <a:cxn ang="0">
                <a:pos x="csX579" y="csY579"/>
              </a:cxn>
              <a:cxn ang="0">
                <a:pos x="csX580" y="csY580"/>
              </a:cxn>
              <a:cxn ang="0">
                <a:pos x="csX581" y="csY581"/>
              </a:cxn>
              <a:cxn ang="0">
                <a:pos x="csX582" y="csY582"/>
              </a:cxn>
              <a:cxn ang="0">
                <a:pos x="csX583" y="csY583"/>
              </a:cxn>
              <a:cxn ang="0">
                <a:pos x="csX584" y="csY584"/>
              </a:cxn>
              <a:cxn ang="0">
                <a:pos x="csX585" y="csY585"/>
              </a:cxn>
              <a:cxn ang="0">
                <a:pos x="csX586" y="csY586"/>
              </a:cxn>
              <a:cxn ang="0">
                <a:pos x="csX587" y="csY587"/>
              </a:cxn>
              <a:cxn ang="0">
                <a:pos x="csX588" y="csY588"/>
              </a:cxn>
              <a:cxn ang="0">
                <a:pos x="csX589" y="csY589"/>
              </a:cxn>
              <a:cxn ang="0">
                <a:pos x="csX590" y="csY590"/>
              </a:cxn>
              <a:cxn ang="0">
                <a:pos x="csX591" y="csY591"/>
              </a:cxn>
              <a:cxn ang="0">
                <a:pos x="csX592" y="csY592"/>
              </a:cxn>
              <a:cxn ang="0">
                <a:pos x="csX593" y="csY593"/>
              </a:cxn>
              <a:cxn ang="0">
                <a:pos x="csX594" y="csY594"/>
              </a:cxn>
              <a:cxn ang="0">
                <a:pos x="csX595" y="csY595"/>
              </a:cxn>
              <a:cxn ang="0">
                <a:pos x="csX596" y="csY596"/>
              </a:cxn>
              <a:cxn ang="0">
                <a:pos x="csX597" y="csY597"/>
              </a:cxn>
              <a:cxn ang="0">
                <a:pos x="csX598" y="csY598"/>
              </a:cxn>
              <a:cxn ang="0">
                <a:pos x="csX599" y="csY599"/>
              </a:cxn>
              <a:cxn ang="0">
                <a:pos x="csX600" y="csY600"/>
              </a:cxn>
              <a:cxn ang="0">
                <a:pos x="csX601" y="csY601"/>
              </a:cxn>
              <a:cxn ang="0">
                <a:pos x="csX602" y="csY602"/>
              </a:cxn>
              <a:cxn ang="0">
                <a:pos x="csX603" y="csY603"/>
              </a:cxn>
              <a:cxn ang="0">
                <a:pos x="csX604" y="csY604"/>
              </a:cxn>
              <a:cxn ang="0">
                <a:pos x="csX605" y="csY605"/>
              </a:cxn>
              <a:cxn ang="0">
                <a:pos x="csX606" y="csY606"/>
              </a:cxn>
              <a:cxn ang="0">
                <a:pos x="csX607" y="csY607"/>
              </a:cxn>
              <a:cxn ang="0">
                <a:pos x="csX608" y="csY608"/>
              </a:cxn>
              <a:cxn ang="0">
                <a:pos x="csX609" y="csY609"/>
              </a:cxn>
              <a:cxn ang="0">
                <a:pos x="csX610" y="csY610"/>
              </a:cxn>
              <a:cxn ang="0">
                <a:pos x="csX611" y="csY611"/>
              </a:cxn>
              <a:cxn ang="0">
                <a:pos x="csX612" y="csY612"/>
              </a:cxn>
              <a:cxn ang="0">
                <a:pos x="csX613" y="csY613"/>
              </a:cxn>
              <a:cxn ang="0">
                <a:pos x="csX614" y="csY614"/>
              </a:cxn>
              <a:cxn ang="0">
                <a:pos x="csX615" y="csY615"/>
              </a:cxn>
              <a:cxn ang="0">
                <a:pos x="csX616" y="csY616"/>
              </a:cxn>
              <a:cxn ang="0">
                <a:pos x="csX617" y="csY617"/>
              </a:cxn>
              <a:cxn ang="0">
                <a:pos x="csX618" y="csY618"/>
              </a:cxn>
              <a:cxn ang="0">
                <a:pos x="csX619" y="csY619"/>
              </a:cxn>
              <a:cxn ang="0">
                <a:pos x="csX620" y="csY620"/>
              </a:cxn>
              <a:cxn ang="0">
                <a:pos x="csX621" y="csY621"/>
              </a:cxn>
              <a:cxn ang="0">
                <a:pos x="csX622" y="csY622"/>
              </a:cxn>
              <a:cxn ang="0">
                <a:pos x="csX623" y="csY623"/>
              </a:cxn>
              <a:cxn ang="0">
                <a:pos x="csX624" y="csY624"/>
              </a:cxn>
              <a:cxn ang="0">
                <a:pos x="csX625" y="csY625"/>
              </a:cxn>
              <a:cxn ang="0">
                <a:pos x="csX626" y="csY626"/>
              </a:cxn>
              <a:cxn ang="0">
                <a:pos x="csX627" y="csY627"/>
              </a:cxn>
              <a:cxn ang="0">
                <a:pos x="csX628" y="csY628"/>
              </a:cxn>
              <a:cxn ang="0">
                <a:pos x="csX629" y="csY629"/>
              </a:cxn>
              <a:cxn ang="0">
                <a:pos x="csX630" y="csY630"/>
              </a:cxn>
              <a:cxn ang="0">
                <a:pos x="csX631" y="csY631"/>
              </a:cxn>
              <a:cxn ang="0">
                <a:pos x="csX632" y="csY632"/>
              </a:cxn>
              <a:cxn ang="0">
                <a:pos x="csX633" y="csY633"/>
              </a:cxn>
              <a:cxn ang="0">
                <a:pos x="csX634" y="csY634"/>
              </a:cxn>
              <a:cxn ang="0">
                <a:pos x="csX635" y="csY635"/>
              </a:cxn>
              <a:cxn ang="0">
                <a:pos x="csX636" y="csY636"/>
              </a:cxn>
              <a:cxn ang="0">
                <a:pos x="csX637" y="csY637"/>
              </a:cxn>
              <a:cxn ang="0">
                <a:pos x="csX638" y="csY638"/>
              </a:cxn>
              <a:cxn ang="0">
                <a:pos x="csX639" y="csY639"/>
              </a:cxn>
              <a:cxn ang="0">
                <a:pos x="csX640" y="csY640"/>
              </a:cxn>
              <a:cxn ang="0">
                <a:pos x="csX641" y="csY641"/>
              </a:cxn>
              <a:cxn ang="0">
                <a:pos x="csX642" y="csY642"/>
              </a:cxn>
              <a:cxn ang="0">
                <a:pos x="csX643" y="csY643"/>
              </a:cxn>
              <a:cxn ang="0">
                <a:pos x="csX644" y="csY644"/>
              </a:cxn>
              <a:cxn ang="0">
                <a:pos x="csX645" y="csY645"/>
              </a:cxn>
              <a:cxn ang="0">
                <a:pos x="csX646" y="csY646"/>
              </a:cxn>
              <a:cxn ang="0">
                <a:pos x="csX647" y="csY647"/>
              </a:cxn>
              <a:cxn ang="0">
                <a:pos x="csX648" y="csY648"/>
              </a:cxn>
              <a:cxn ang="0">
                <a:pos x="csX649" y="csY649"/>
              </a:cxn>
              <a:cxn ang="0">
                <a:pos x="csX650" y="csY650"/>
              </a:cxn>
              <a:cxn ang="0">
                <a:pos x="csX651" y="csY651"/>
              </a:cxn>
              <a:cxn ang="0">
                <a:pos x="csX652" y="csY652"/>
              </a:cxn>
              <a:cxn ang="0">
                <a:pos x="csX653" y="csY653"/>
              </a:cxn>
              <a:cxn ang="0">
                <a:pos x="csX654" y="csY654"/>
              </a:cxn>
              <a:cxn ang="0">
                <a:pos x="csX655" y="csY655"/>
              </a:cxn>
              <a:cxn ang="0">
                <a:pos x="csX656" y="csY656"/>
              </a:cxn>
              <a:cxn ang="0">
                <a:pos x="csX657" y="csY657"/>
              </a:cxn>
              <a:cxn ang="0">
                <a:pos x="csX658" y="csY658"/>
              </a:cxn>
              <a:cxn ang="0">
                <a:pos x="csX659" y="csY659"/>
              </a:cxn>
              <a:cxn ang="0">
                <a:pos x="csX660" y="csY660"/>
              </a:cxn>
              <a:cxn ang="0">
                <a:pos x="csX661" y="csY661"/>
              </a:cxn>
              <a:cxn ang="0">
                <a:pos x="csX662" y="csY662"/>
              </a:cxn>
              <a:cxn ang="0">
                <a:pos x="csX663" y="csY663"/>
              </a:cxn>
              <a:cxn ang="0">
                <a:pos x="csX664" y="csY664"/>
              </a:cxn>
              <a:cxn ang="0">
                <a:pos x="csX665" y="csY665"/>
              </a:cxn>
              <a:cxn ang="0">
                <a:pos x="csX666" y="csY666"/>
              </a:cxn>
              <a:cxn ang="0">
                <a:pos x="csX667" y="csY667"/>
              </a:cxn>
              <a:cxn ang="0">
                <a:pos x="csX668" y="csY668"/>
              </a:cxn>
              <a:cxn ang="0">
                <a:pos x="csX669" y="csY669"/>
              </a:cxn>
              <a:cxn ang="0">
                <a:pos x="csX670" y="csY670"/>
              </a:cxn>
              <a:cxn ang="0">
                <a:pos x="csX671" y="csY671"/>
              </a:cxn>
              <a:cxn ang="0">
                <a:pos x="csX672" y="csY672"/>
              </a:cxn>
              <a:cxn ang="0">
                <a:pos x="csX673" y="csY673"/>
              </a:cxn>
              <a:cxn ang="0">
                <a:pos x="csX674" y="csY674"/>
              </a:cxn>
              <a:cxn ang="0">
                <a:pos x="csX675" y="csY675"/>
              </a:cxn>
              <a:cxn ang="0">
                <a:pos x="csX676" y="csY676"/>
              </a:cxn>
              <a:cxn ang="0">
                <a:pos x="csX677" y="csY677"/>
              </a:cxn>
              <a:cxn ang="0">
                <a:pos x="csX678" y="csY678"/>
              </a:cxn>
              <a:cxn ang="0">
                <a:pos x="csX679" y="csY679"/>
              </a:cxn>
              <a:cxn ang="0">
                <a:pos x="csX680" y="csY680"/>
              </a:cxn>
              <a:cxn ang="0">
                <a:pos x="csX681" y="csY681"/>
              </a:cxn>
              <a:cxn ang="0">
                <a:pos x="csX682" y="csY682"/>
              </a:cxn>
              <a:cxn ang="0">
                <a:pos x="csX683" y="csY683"/>
              </a:cxn>
              <a:cxn ang="0">
                <a:pos x="csX684" y="csY684"/>
              </a:cxn>
              <a:cxn ang="0">
                <a:pos x="csX685" y="csY685"/>
              </a:cxn>
              <a:cxn ang="0">
                <a:pos x="csX686" y="csY686"/>
              </a:cxn>
              <a:cxn ang="0">
                <a:pos x="csX687" y="csY687"/>
              </a:cxn>
              <a:cxn ang="0">
                <a:pos x="csX688" y="csY688"/>
              </a:cxn>
              <a:cxn ang="0">
                <a:pos x="csX689" y="csY689"/>
              </a:cxn>
              <a:cxn ang="0">
                <a:pos x="csX690" y="csY690"/>
              </a:cxn>
              <a:cxn ang="0">
                <a:pos x="csX691" y="csY691"/>
              </a:cxn>
              <a:cxn ang="0">
                <a:pos x="csX692" y="csY692"/>
              </a:cxn>
              <a:cxn ang="0">
                <a:pos x="csX693" y="csY693"/>
              </a:cxn>
              <a:cxn ang="0">
                <a:pos x="csX694" y="csY694"/>
              </a:cxn>
              <a:cxn ang="0">
                <a:pos x="csX695" y="csY695"/>
              </a:cxn>
              <a:cxn ang="0">
                <a:pos x="csX696" y="csY696"/>
              </a:cxn>
              <a:cxn ang="0">
                <a:pos x="csX697" y="csY697"/>
              </a:cxn>
              <a:cxn ang="0">
                <a:pos x="csX698" y="csY698"/>
              </a:cxn>
              <a:cxn ang="0">
                <a:pos x="csX699" y="csY699"/>
              </a:cxn>
              <a:cxn ang="0">
                <a:pos x="csX700" y="csY700"/>
              </a:cxn>
              <a:cxn ang="0">
                <a:pos x="csX701" y="csY701"/>
              </a:cxn>
              <a:cxn ang="0">
                <a:pos x="csX702" y="csY702"/>
              </a:cxn>
              <a:cxn ang="0">
                <a:pos x="csX703" y="csY703"/>
              </a:cxn>
              <a:cxn ang="0">
                <a:pos x="csX704" y="csY704"/>
              </a:cxn>
              <a:cxn ang="0">
                <a:pos x="csX705" y="csY705"/>
              </a:cxn>
              <a:cxn ang="0">
                <a:pos x="csX706" y="csY706"/>
              </a:cxn>
              <a:cxn ang="0">
                <a:pos x="csX707" y="csY707"/>
              </a:cxn>
              <a:cxn ang="0">
                <a:pos x="csX708" y="csY708"/>
              </a:cxn>
              <a:cxn ang="0">
                <a:pos x="csX709" y="csY709"/>
              </a:cxn>
              <a:cxn ang="0">
                <a:pos x="csX710" y="csY710"/>
              </a:cxn>
              <a:cxn ang="0">
                <a:pos x="csX711" y="csY711"/>
              </a:cxn>
              <a:cxn ang="0">
                <a:pos x="csX712" y="csY712"/>
              </a:cxn>
              <a:cxn ang="0">
                <a:pos x="csX713" y="csY713"/>
              </a:cxn>
              <a:cxn ang="0">
                <a:pos x="csX714" y="csY714"/>
              </a:cxn>
              <a:cxn ang="0">
                <a:pos x="csX715" y="csY715"/>
              </a:cxn>
              <a:cxn ang="0">
                <a:pos x="csX716" y="csY716"/>
              </a:cxn>
              <a:cxn ang="0">
                <a:pos x="csX717" y="csY717"/>
              </a:cxn>
              <a:cxn ang="0">
                <a:pos x="csX718" y="csY718"/>
              </a:cxn>
              <a:cxn ang="0">
                <a:pos x="csX719" y="csY719"/>
              </a:cxn>
              <a:cxn ang="0">
                <a:pos x="csX720" y="csY720"/>
              </a:cxn>
              <a:cxn ang="0">
                <a:pos x="csX721" y="csY721"/>
              </a:cxn>
              <a:cxn ang="0">
                <a:pos x="csX722" y="csY722"/>
              </a:cxn>
              <a:cxn ang="0">
                <a:pos x="csX723" y="csY723"/>
              </a:cxn>
              <a:cxn ang="0">
                <a:pos x="csX724" y="csY724"/>
              </a:cxn>
              <a:cxn ang="0">
                <a:pos x="csX725" y="csY725"/>
              </a:cxn>
              <a:cxn ang="0">
                <a:pos x="csX726" y="csY726"/>
              </a:cxn>
              <a:cxn ang="0">
                <a:pos x="csX727" y="csY727"/>
              </a:cxn>
              <a:cxn ang="0">
                <a:pos x="csX728" y="csY728"/>
              </a:cxn>
              <a:cxn ang="0">
                <a:pos x="csX729" y="csY729"/>
              </a:cxn>
              <a:cxn ang="0">
                <a:pos x="csX730" y="csY730"/>
              </a:cxn>
              <a:cxn ang="0">
                <a:pos x="csX731" y="csY731"/>
              </a:cxn>
              <a:cxn ang="0">
                <a:pos x="csX732" y="csY732"/>
              </a:cxn>
              <a:cxn ang="0">
                <a:pos x="csX733" y="csY733"/>
              </a:cxn>
              <a:cxn ang="0">
                <a:pos x="csX734" y="csY734"/>
              </a:cxn>
              <a:cxn ang="0">
                <a:pos x="csX735" y="csY735"/>
              </a:cxn>
              <a:cxn ang="0">
                <a:pos x="csX736" y="csY736"/>
              </a:cxn>
              <a:cxn ang="0">
                <a:pos x="csX737" y="csY737"/>
              </a:cxn>
              <a:cxn ang="0">
                <a:pos x="csX738" y="csY738"/>
              </a:cxn>
              <a:cxn ang="0">
                <a:pos x="csX739" y="csY739"/>
              </a:cxn>
              <a:cxn ang="0">
                <a:pos x="csX740" y="csY740"/>
              </a:cxn>
              <a:cxn ang="0">
                <a:pos x="csX741" y="csY741"/>
              </a:cxn>
              <a:cxn ang="0">
                <a:pos x="csX742" y="csY742"/>
              </a:cxn>
              <a:cxn ang="0">
                <a:pos x="csX743" y="csY743"/>
              </a:cxn>
              <a:cxn ang="0">
                <a:pos x="csX744" y="csY744"/>
              </a:cxn>
              <a:cxn ang="0">
                <a:pos x="csX745" y="csY745"/>
              </a:cxn>
              <a:cxn ang="0">
                <a:pos x="csX746" y="csY746"/>
              </a:cxn>
              <a:cxn ang="0">
                <a:pos x="csX747" y="csY747"/>
              </a:cxn>
              <a:cxn ang="0">
                <a:pos x="csX748" y="csY748"/>
              </a:cxn>
              <a:cxn ang="0">
                <a:pos x="csX749" y="csY749"/>
              </a:cxn>
              <a:cxn ang="0">
                <a:pos x="csX750" y="csY750"/>
              </a:cxn>
              <a:cxn ang="0">
                <a:pos x="csX751" y="csY751"/>
              </a:cxn>
              <a:cxn ang="0">
                <a:pos x="csX752" y="csY752"/>
              </a:cxn>
              <a:cxn ang="0">
                <a:pos x="csX753" y="csY753"/>
              </a:cxn>
              <a:cxn ang="0">
                <a:pos x="csX754" y="csY754"/>
              </a:cxn>
              <a:cxn ang="0">
                <a:pos x="csX755" y="csY755"/>
              </a:cxn>
              <a:cxn ang="0">
                <a:pos x="csX756" y="csY756"/>
              </a:cxn>
              <a:cxn ang="0">
                <a:pos x="csX757" y="csY757"/>
              </a:cxn>
              <a:cxn ang="0">
                <a:pos x="csX758" y="csY758"/>
              </a:cxn>
              <a:cxn ang="0">
                <a:pos x="csX759" y="csY759"/>
              </a:cxn>
              <a:cxn ang="0">
                <a:pos x="csX760" y="csY760"/>
              </a:cxn>
              <a:cxn ang="0">
                <a:pos x="csX761" y="csY761"/>
              </a:cxn>
              <a:cxn ang="0">
                <a:pos x="csX762" y="csY762"/>
              </a:cxn>
              <a:cxn ang="0">
                <a:pos x="csX763" y="csY763"/>
              </a:cxn>
              <a:cxn ang="0">
                <a:pos x="csX764" y="csY764"/>
              </a:cxn>
              <a:cxn ang="0">
                <a:pos x="csX765" y="csY765"/>
              </a:cxn>
              <a:cxn ang="0">
                <a:pos x="csX766" y="csY766"/>
              </a:cxn>
              <a:cxn ang="0">
                <a:pos x="csX767" y="csY767"/>
              </a:cxn>
              <a:cxn ang="0">
                <a:pos x="csX768" y="csY768"/>
              </a:cxn>
              <a:cxn ang="0">
                <a:pos x="csX769" y="csY769"/>
              </a:cxn>
              <a:cxn ang="0">
                <a:pos x="csX770" y="csY770"/>
              </a:cxn>
              <a:cxn ang="0">
                <a:pos x="csX771" y="csY771"/>
              </a:cxn>
              <a:cxn ang="0">
                <a:pos x="csX772" y="csY772"/>
              </a:cxn>
              <a:cxn ang="0">
                <a:pos x="csX773" y="csY773"/>
              </a:cxn>
              <a:cxn ang="0">
                <a:pos x="csX774" y="csY774"/>
              </a:cxn>
              <a:cxn ang="0">
                <a:pos x="csX775" y="csY775"/>
              </a:cxn>
              <a:cxn ang="0">
                <a:pos x="csX776" y="csY776"/>
              </a:cxn>
              <a:cxn ang="0">
                <a:pos x="csX777" y="csY777"/>
              </a:cxn>
              <a:cxn ang="0">
                <a:pos x="csX778" y="csY778"/>
              </a:cxn>
              <a:cxn ang="0">
                <a:pos x="csX779" y="csY779"/>
              </a:cxn>
              <a:cxn ang="0">
                <a:pos x="csX780" y="csY780"/>
              </a:cxn>
              <a:cxn ang="0">
                <a:pos x="csX781" y="csY781"/>
              </a:cxn>
              <a:cxn ang="0">
                <a:pos x="csX782" y="csY782"/>
              </a:cxn>
              <a:cxn ang="0">
                <a:pos x="csX783" y="csY783"/>
              </a:cxn>
              <a:cxn ang="0">
                <a:pos x="csX784" y="csY784"/>
              </a:cxn>
              <a:cxn ang="0">
                <a:pos x="csX785" y="csY785"/>
              </a:cxn>
              <a:cxn ang="0">
                <a:pos x="csX786" y="csY786"/>
              </a:cxn>
              <a:cxn ang="0">
                <a:pos x="csX787" y="csY787"/>
              </a:cxn>
              <a:cxn ang="0">
                <a:pos x="csX788" y="csY788"/>
              </a:cxn>
              <a:cxn ang="0">
                <a:pos x="csX789" y="csY789"/>
              </a:cxn>
              <a:cxn ang="0">
                <a:pos x="csX790" y="csY790"/>
              </a:cxn>
              <a:cxn ang="0">
                <a:pos x="csX791" y="csY791"/>
              </a:cxn>
              <a:cxn ang="0">
                <a:pos x="csX792" y="csY792"/>
              </a:cxn>
              <a:cxn ang="0">
                <a:pos x="csX793" y="csY793"/>
              </a:cxn>
              <a:cxn ang="0">
                <a:pos x="csX794" y="csY794"/>
              </a:cxn>
              <a:cxn ang="0">
                <a:pos x="csX795" y="csY795"/>
              </a:cxn>
              <a:cxn ang="0">
                <a:pos x="csX796" y="csY796"/>
              </a:cxn>
              <a:cxn ang="0">
                <a:pos x="csX797" y="csY797"/>
              </a:cxn>
              <a:cxn ang="0">
                <a:pos x="csX798" y="csY798"/>
              </a:cxn>
              <a:cxn ang="0">
                <a:pos x="csX799" y="csY799"/>
              </a:cxn>
              <a:cxn ang="0">
                <a:pos x="csX800" y="csY800"/>
              </a:cxn>
              <a:cxn ang="0">
                <a:pos x="csX801" y="csY801"/>
              </a:cxn>
              <a:cxn ang="0">
                <a:pos x="csX802" y="csY802"/>
              </a:cxn>
              <a:cxn ang="0">
                <a:pos x="csX803" y="csY803"/>
              </a:cxn>
              <a:cxn ang="0">
                <a:pos x="csX804" y="csY804"/>
              </a:cxn>
              <a:cxn ang="0">
                <a:pos x="csX805" y="csY805"/>
              </a:cxn>
              <a:cxn ang="0">
                <a:pos x="csX806" y="csY806"/>
              </a:cxn>
              <a:cxn ang="0">
                <a:pos x="csX807" y="csY807"/>
              </a:cxn>
              <a:cxn ang="0">
                <a:pos x="csX808" y="csY808"/>
              </a:cxn>
              <a:cxn ang="0">
                <a:pos x="csX809" y="csY809"/>
              </a:cxn>
              <a:cxn ang="0">
                <a:pos x="csX810" y="csY810"/>
              </a:cxn>
              <a:cxn ang="0">
                <a:pos x="csX811" y="csY811"/>
              </a:cxn>
              <a:cxn ang="0">
                <a:pos x="csX812" y="csY812"/>
              </a:cxn>
              <a:cxn ang="0">
                <a:pos x="csX813" y="csY813"/>
              </a:cxn>
              <a:cxn ang="0">
                <a:pos x="csX814" y="csY814"/>
              </a:cxn>
              <a:cxn ang="0">
                <a:pos x="csX815" y="csY815"/>
              </a:cxn>
              <a:cxn ang="0">
                <a:pos x="csX816" y="csY816"/>
              </a:cxn>
              <a:cxn ang="0">
                <a:pos x="csX817" y="csY817"/>
              </a:cxn>
              <a:cxn ang="0">
                <a:pos x="csX818" y="csY818"/>
              </a:cxn>
              <a:cxn ang="0">
                <a:pos x="csX819" y="csY819"/>
              </a:cxn>
              <a:cxn ang="0">
                <a:pos x="csX820" y="csY820"/>
              </a:cxn>
              <a:cxn ang="0">
                <a:pos x="csX821" y="csY821"/>
              </a:cxn>
              <a:cxn ang="0">
                <a:pos x="csX822" y="csY822"/>
              </a:cxn>
              <a:cxn ang="0">
                <a:pos x="csX823" y="csY823"/>
              </a:cxn>
              <a:cxn ang="0">
                <a:pos x="csX824" y="csY824"/>
              </a:cxn>
              <a:cxn ang="0">
                <a:pos x="csX825" y="csY825"/>
              </a:cxn>
              <a:cxn ang="0">
                <a:pos x="csX826" y="csY826"/>
              </a:cxn>
              <a:cxn ang="0">
                <a:pos x="csX827" y="csY827"/>
              </a:cxn>
              <a:cxn ang="0">
                <a:pos x="csX828" y="csY828"/>
              </a:cxn>
              <a:cxn ang="0">
                <a:pos x="csX829" y="csY829"/>
              </a:cxn>
              <a:cxn ang="0">
                <a:pos x="csX830" y="csY830"/>
              </a:cxn>
              <a:cxn ang="0">
                <a:pos x="csX831" y="csY831"/>
              </a:cxn>
              <a:cxn ang="0">
                <a:pos x="csX832" y="csY832"/>
              </a:cxn>
              <a:cxn ang="0">
                <a:pos x="csX833" y="csY833"/>
              </a:cxn>
              <a:cxn ang="0">
                <a:pos x="csX834" y="csY834"/>
              </a:cxn>
              <a:cxn ang="0">
                <a:pos x="csX835" y="csY835"/>
              </a:cxn>
              <a:cxn ang="0">
                <a:pos x="csX836" y="csY836"/>
              </a:cxn>
              <a:cxn ang="0">
                <a:pos x="csX837" y="csY837"/>
              </a:cxn>
              <a:cxn ang="0">
                <a:pos x="csX838" y="csY838"/>
              </a:cxn>
              <a:cxn ang="0">
                <a:pos x="csX839" y="csY839"/>
              </a:cxn>
              <a:cxn ang="0">
                <a:pos x="csX840" y="csY840"/>
              </a:cxn>
              <a:cxn ang="0">
                <a:pos x="csX841" y="csY841"/>
              </a:cxn>
              <a:cxn ang="0">
                <a:pos x="csX842" y="csY842"/>
              </a:cxn>
              <a:cxn ang="0">
                <a:pos x="csX843" y="csY843"/>
              </a:cxn>
              <a:cxn ang="0">
                <a:pos x="csX844" y="csY844"/>
              </a:cxn>
              <a:cxn ang="0">
                <a:pos x="csX845" y="csY845"/>
              </a:cxn>
              <a:cxn ang="0">
                <a:pos x="csX846" y="csY846"/>
              </a:cxn>
              <a:cxn ang="0">
                <a:pos x="csX847" y="csY847"/>
              </a:cxn>
              <a:cxn ang="0">
                <a:pos x="csX848" y="csY848"/>
              </a:cxn>
              <a:cxn ang="0">
                <a:pos x="csX849" y="csY849"/>
              </a:cxn>
              <a:cxn ang="0">
                <a:pos x="csX850" y="csY850"/>
              </a:cxn>
              <a:cxn ang="0">
                <a:pos x="csX851" y="csY851"/>
              </a:cxn>
              <a:cxn ang="0">
                <a:pos x="csX852" y="csY852"/>
              </a:cxn>
              <a:cxn ang="0">
                <a:pos x="csX853" y="csY853"/>
              </a:cxn>
              <a:cxn ang="0">
                <a:pos x="csX854" y="csY854"/>
              </a:cxn>
              <a:cxn ang="0">
                <a:pos x="csX855" y="csY855"/>
              </a:cxn>
              <a:cxn ang="0">
                <a:pos x="csX856" y="csY856"/>
              </a:cxn>
              <a:cxn ang="0">
                <a:pos x="csX857" y="csY857"/>
              </a:cxn>
              <a:cxn ang="0">
                <a:pos x="csX858" y="csY858"/>
              </a:cxn>
              <a:cxn ang="0">
                <a:pos x="csX859" y="csY859"/>
              </a:cxn>
              <a:cxn ang="0">
                <a:pos x="csX860" y="csY860"/>
              </a:cxn>
              <a:cxn ang="0">
                <a:pos x="csX861" y="csY861"/>
              </a:cxn>
              <a:cxn ang="0">
                <a:pos x="csX862" y="csY862"/>
              </a:cxn>
              <a:cxn ang="0">
                <a:pos x="csX863" y="csY863"/>
              </a:cxn>
              <a:cxn ang="0">
                <a:pos x="csX864" y="csY864"/>
              </a:cxn>
              <a:cxn ang="0">
                <a:pos x="csX865" y="csY865"/>
              </a:cxn>
              <a:cxn ang="0">
                <a:pos x="csX866" y="csY866"/>
              </a:cxn>
              <a:cxn ang="0">
                <a:pos x="csX867" y="csY867"/>
              </a:cxn>
              <a:cxn ang="0">
                <a:pos x="csX868" y="csY868"/>
              </a:cxn>
              <a:cxn ang="0">
                <a:pos x="csX869" y="csY869"/>
              </a:cxn>
              <a:cxn ang="0">
                <a:pos x="csX870" y="csY870"/>
              </a:cxn>
              <a:cxn ang="0">
                <a:pos x="csX871" y="csY871"/>
              </a:cxn>
              <a:cxn ang="0">
                <a:pos x="csX872" y="csY872"/>
              </a:cxn>
              <a:cxn ang="0">
                <a:pos x="csX873" y="csY873"/>
              </a:cxn>
              <a:cxn ang="0">
                <a:pos x="csX874" y="csY874"/>
              </a:cxn>
              <a:cxn ang="0">
                <a:pos x="csX875" y="csY875"/>
              </a:cxn>
              <a:cxn ang="0">
                <a:pos x="csX876" y="csY876"/>
              </a:cxn>
              <a:cxn ang="0">
                <a:pos x="csX877" y="csY877"/>
              </a:cxn>
              <a:cxn ang="0">
                <a:pos x="csX878" y="csY878"/>
              </a:cxn>
              <a:cxn ang="0">
                <a:pos x="csX879" y="csY879"/>
              </a:cxn>
              <a:cxn ang="0">
                <a:pos x="csX880" y="csY880"/>
              </a:cxn>
              <a:cxn ang="0">
                <a:pos x="csX881" y="csY881"/>
              </a:cxn>
              <a:cxn ang="0">
                <a:pos x="csX882" y="csY882"/>
              </a:cxn>
              <a:cxn ang="0">
                <a:pos x="csX883" y="csY883"/>
              </a:cxn>
              <a:cxn ang="0">
                <a:pos x="csX884" y="csY884"/>
              </a:cxn>
              <a:cxn ang="0">
                <a:pos x="csX885" y="csY885"/>
              </a:cxn>
              <a:cxn ang="0">
                <a:pos x="csX886" y="csY886"/>
              </a:cxn>
              <a:cxn ang="0">
                <a:pos x="csX887" y="csY887"/>
              </a:cxn>
              <a:cxn ang="0">
                <a:pos x="csX888" y="csY888"/>
              </a:cxn>
              <a:cxn ang="0">
                <a:pos x="csX889" y="csY889"/>
              </a:cxn>
              <a:cxn ang="0">
                <a:pos x="csX890" y="csY890"/>
              </a:cxn>
              <a:cxn ang="0">
                <a:pos x="csX891" y="csY891"/>
              </a:cxn>
              <a:cxn ang="0">
                <a:pos x="csX892" y="csY892"/>
              </a:cxn>
              <a:cxn ang="0">
                <a:pos x="csX893" y="csY893"/>
              </a:cxn>
              <a:cxn ang="0">
                <a:pos x="csX894" y="csY894"/>
              </a:cxn>
              <a:cxn ang="0">
                <a:pos x="csX895" y="csY895"/>
              </a:cxn>
              <a:cxn ang="0">
                <a:pos x="csX896" y="csY896"/>
              </a:cxn>
              <a:cxn ang="0">
                <a:pos x="csX897" y="csY897"/>
              </a:cxn>
              <a:cxn ang="0">
                <a:pos x="csX898" y="csY898"/>
              </a:cxn>
              <a:cxn ang="0">
                <a:pos x="csX899" y="csY899"/>
              </a:cxn>
              <a:cxn ang="0">
                <a:pos x="csX900" y="csY900"/>
              </a:cxn>
              <a:cxn ang="0">
                <a:pos x="csX901" y="csY901"/>
              </a:cxn>
              <a:cxn ang="0">
                <a:pos x="csX902" y="csY902"/>
              </a:cxn>
              <a:cxn ang="0">
                <a:pos x="csX903" y="csY903"/>
              </a:cxn>
              <a:cxn ang="0">
                <a:pos x="csX904" y="csY904"/>
              </a:cxn>
              <a:cxn ang="0">
                <a:pos x="csX905" y="csY905"/>
              </a:cxn>
              <a:cxn ang="0">
                <a:pos x="csX906" y="csY906"/>
              </a:cxn>
              <a:cxn ang="0">
                <a:pos x="csX907" y="csY907"/>
              </a:cxn>
              <a:cxn ang="0">
                <a:pos x="csX908" y="csY908"/>
              </a:cxn>
              <a:cxn ang="0">
                <a:pos x="csX909" y="csY909"/>
              </a:cxn>
              <a:cxn ang="0">
                <a:pos x="csX910" y="csY910"/>
              </a:cxn>
              <a:cxn ang="0">
                <a:pos x="csX911" y="csY911"/>
              </a:cxn>
              <a:cxn ang="0">
                <a:pos x="csX912" y="csY912"/>
              </a:cxn>
              <a:cxn ang="0">
                <a:pos x="csX913" y="csY913"/>
              </a:cxn>
              <a:cxn ang="0">
                <a:pos x="csX914" y="csY914"/>
              </a:cxn>
              <a:cxn ang="0">
                <a:pos x="csX915" y="csY915"/>
              </a:cxn>
              <a:cxn ang="0">
                <a:pos x="csX916" y="csY916"/>
              </a:cxn>
              <a:cxn ang="0">
                <a:pos x="csX917" y="csY917"/>
              </a:cxn>
              <a:cxn ang="0">
                <a:pos x="csX918" y="csY918"/>
              </a:cxn>
              <a:cxn ang="0">
                <a:pos x="csX919" y="csY919"/>
              </a:cxn>
              <a:cxn ang="0">
                <a:pos x="csX920" y="csY920"/>
              </a:cxn>
              <a:cxn ang="0">
                <a:pos x="csX921" y="csY921"/>
              </a:cxn>
              <a:cxn ang="0">
                <a:pos x="csX922" y="csY922"/>
              </a:cxn>
              <a:cxn ang="0">
                <a:pos x="csX923" y="csY923"/>
              </a:cxn>
              <a:cxn ang="0">
                <a:pos x="csX924" y="csY924"/>
              </a:cxn>
              <a:cxn ang="0">
                <a:pos x="csX925" y="csY925"/>
              </a:cxn>
              <a:cxn ang="0">
                <a:pos x="csX926" y="csY926"/>
              </a:cxn>
              <a:cxn ang="0">
                <a:pos x="csX927" y="csY927"/>
              </a:cxn>
              <a:cxn ang="0">
                <a:pos x="csX928" y="csY928"/>
              </a:cxn>
              <a:cxn ang="0">
                <a:pos x="csX929" y="csY929"/>
              </a:cxn>
              <a:cxn ang="0">
                <a:pos x="csX930" y="csY930"/>
              </a:cxn>
              <a:cxn ang="0">
                <a:pos x="csX931" y="csY931"/>
              </a:cxn>
              <a:cxn ang="0">
                <a:pos x="csX932" y="csY932"/>
              </a:cxn>
              <a:cxn ang="0">
                <a:pos x="csX933" y="csY933"/>
              </a:cxn>
              <a:cxn ang="0">
                <a:pos x="csX934" y="csY934"/>
              </a:cxn>
              <a:cxn ang="0">
                <a:pos x="csX935" y="csY935"/>
              </a:cxn>
              <a:cxn ang="0">
                <a:pos x="csX936" y="csY936"/>
              </a:cxn>
              <a:cxn ang="0">
                <a:pos x="csX937" y="csY937"/>
              </a:cxn>
              <a:cxn ang="0">
                <a:pos x="csX938" y="csY938"/>
              </a:cxn>
              <a:cxn ang="0">
                <a:pos x="csX939" y="csY939"/>
              </a:cxn>
              <a:cxn ang="0">
                <a:pos x="csX940" y="csY940"/>
              </a:cxn>
              <a:cxn ang="0">
                <a:pos x="csX941" y="csY941"/>
              </a:cxn>
              <a:cxn ang="0">
                <a:pos x="csX942" y="csY942"/>
              </a:cxn>
              <a:cxn ang="0">
                <a:pos x="csX943" y="csY943"/>
              </a:cxn>
              <a:cxn ang="0">
                <a:pos x="csX944" y="csY944"/>
              </a:cxn>
              <a:cxn ang="0">
                <a:pos x="csX945" y="csY945"/>
              </a:cxn>
              <a:cxn ang="0">
                <a:pos x="csX946" y="csY946"/>
              </a:cxn>
              <a:cxn ang="0">
                <a:pos x="csX947" y="csY947"/>
              </a:cxn>
              <a:cxn ang="0">
                <a:pos x="csX948" y="csY948"/>
              </a:cxn>
              <a:cxn ang="0">
                <a:pos x="csX949" y="csY949"/>
              </a:cxn>
              <a:cxn ang="0">
                <a:pos x="csX950" y="csY950"/>
              </a:cxn>
              <a:cxn ang="0">
                <a:pos x="csX951" y="csY951"/>
              </a:cxn>
              <a:cxn ang="0">
                <a:pos x="csX952" y="csY952"/>
              </a:cxn>
              <a:cxn ang="0">
                <a:pos x="csX953" y="csY953"/>
              </a:cxn>
              <a:cxn ang="0">
                <a:pos x="csX954" y="csY954"/>
              </a:cxn>
              <a:cxn ang="0">
                <a:pos x="csX955" y="csY955"/>
              </a:cxn>
              <a:cxn ang="0">
                <a:pos x="csX956" y="csY956"/>
              </a:cxn>
              <a:cxn ang="0">
                <a:pos x="csX957" y="csY957"/>
              </a:cxn>
              <a:cxn ang="0">
                <a:pos x="csX958" y="csY958"/>
              </a:cxn>
              <a:cxn ang="0">
                <a:pos x="csX959" y="csY959"/>
              </a:cxn>
              <a:cxn ang="0">
                <a:pos x="csX960" y="csY960"/>
              </a:cxn>
              <a:cxn ang="0">
                <a:pos x="csX961" y="csY961"/>
              </a:cxn>
              <a:cxn ang="0">
                <a:pos x="csX962" y="csY962"/>
              </a:cxn>
              <a:cxn ang="0">
                <a:pos x="csX963" y="csY963"/>
              </a:cxn>
              <a:cxn ang="0">
                <a:pos x="csX964" y="csY964"/>
              </a:cxn>
              <a:cxn ang="0">
                <a:pos x="csX965" y="csY965"/>
              </a:cxn>
              <a:cxn ang="0">
                <a:pos x="csX966" y="csY966"/>
              </a:cxn>
              <a:cxn ang="0">
                <a:pos x="csX967" y="csY967"/>
              </a:cxn>
              <a:cxn ang="0">
                <a:pos x="csX968" y="csY968"/>
              </a:cxn>
              <a:cxn ang="0">
                <a:pos x="csX969" y="csY969"/>
              </a:cxn>
              <a:cxn ang="0">
                <a:pos x="csX970" y="csY970"/>
              </a:cxn>
              <a:cxn ang="0">
                <a:pos x="csX971" y="csY971"/>
              </a:cxn>
              <a:cxn ang="0">
                <a:pos x="csX972" y="csY972"/>
              </a:cxn>
              <a:cxn ang="0">
                <a:pos x="csX973" y="csY973"/>
              </a:cxn>
              <a:cxn ang="0">
                <a:pos x="csX974" y="csY974"/>
              </a:cxn>
              <a:cxn ang="0">
                <a:pos x="csX975" y="csY975"/>
              </a:cxn>
              <a:cxn ang="0">
                <a:pos x="csX976" y="csY976"/>
              </a:cxn>
              <a:cxn ang="0">
                <a:pos x="csX977" y="csY977"/>
              </a:cxn>
              <a:cxn ang="0">
                <a:pos x="csX978" y="csY978"/>
              </a:cxn>
              <a:cxn ang="0">
                <a:pos x="csX979" y="csY979"/>
              </a:cxn>
              <a:cxn ang="0">
                <a:pos x="csX980" y="csY980"/>
              </a:cxn>
              <a:cxn ang="0">
                <a:pos x="csX981" y="csY981"/>
              </a:cxn>
              <a:cxn ang="0">
                <a:pos x="csX982" y="csY982"/>
              </a:cxn>
              <a:cxn ang="0">
                <a:pos x="csX983" y="csY983"/>
              </a:cxn>
              <a:cxn ang="0">
                <a:pos x="csX984" y="csY984"/>
              </a:cxn>
              <a:cxn ang="0">
                <a:pos x="csX985" y="csY985"/>
              </a:cxn>
              <a:cxn ang="0">
                <a:pos x="csX986" y="csY986"/>
              </a:cxn>
              <a:cxn ang="0">
                <a:pos x="csX987" y="csY987"/>
              </a:cxn>
              <a:cxn ang="0">
                <a:pos x="csX988" y="csY988"/>
              </a:cxn>
              <a:cxn ang="0">
                <a:pos x="csX989" y="csY989"/>
              </a:cxn>
              <a:cxn ang="0">
                <a:pos x="csX990" y="csY990"/>
              </a:cxn>
              <a:cxn ang="0">
                <a:pos x="csX991" y="csY991"/>
              </a:cxn>
              <a:cxn ang="0">
                <a:pos x="csX992" y="csY992"/>
              </a:cxn>
              <a:cxn ang="0">
                <a:pos x="csX993" y="csY993"/>
              </a:cxn>
              <a:cxn ang="0">
                <a:pos x="csX994" y="csY994"/>
              </a:cxn>
              <a:cxn ang="0">
                <a:pos x="csX995" y="csY995"/>
              </a:cxn>
              <a:cxn ang="0">
                <a:pos x="csX996" y="csY996"/>
              </a:cxn>
              <a:cxn ang="0">
                <a:pos x="csX997" y="csY997"/>
              </a:cxn>
              <a:cxn ang="0">
                <a:pos x="csX998" y="csY998"/>
              </a:cxn>
              <a:cxn ang="0">
                <a:pos x="csX999" y="csY999"/>
              </a:cxn>
              <a:cxn ang="0">
                <a:pos x="csX1000" y="csY1000"/>
              </a:cxn>
              <a:cxn ang="0">
                <a:pos x="csX1001" y="csY1001"/>
              </a:cxn>
              <a:cxn ang="0">
                <a:pos x="csX1002" y="csY1002"/>
              </a:cxn>
              <a:cxn ang="0">
                <a:pos x="csX1003" y="csY1003"/>
              </a:cxn>
              <a:cxn ang="0">
                <a:pos x="csX1004" y="csY1004"/>
              </a:cxn>
              <a:cxn ang="0">
                <a:pos x="csX1005" y="csY1005"/>
              </a:cxn>
              <a:cxn ang="0">
                <a:pos x="csX1006" y="csY1006"/>
              </a:cxn>
              <a:cxn ang="0">
                <a:pos x="csX1007" y="csY1007"/>
              </a:cxn>
              <a:cxn ang="0">
                <a:pos x="csX1008" y="csY1008"/>
              </a:cxn>
              <a:cxn ang="0">
                <a:pos x="csX1009" y="csY1009"/>
              </a:cxn>
              <a:cxn ang="0">
                <a:pos x="csX1010" y="csY1010"/>
              </a:cxn>
              <a:cxn ang="0">
                <a:pos x="csX1011" y="csY1011"/>
              </a:cxn>
              <a:cxn ang="0">
                <a:pos x="csX1012" y="csY1012"/>
              </a:cxn>
              <a:cxn ang="0">
                <a:pos x="csX1013" y="csY1013"/>
              </a:cxn>
              <a:cxn ang="0">
                <a:pos x="csX1014" y="csY1014"/>
              </a:cxn>
              <a:cxn ang="0">
                <a:pos x="csX1015" y="csY1015"/>
              </a:cxn>
              <a:cxn ang="0">
                <a:pos x="csX1016" y="csY1016"/>
              </a:cxn>
              <a:cxn ang="0">
                <a:pos x="csX1017" y="csY1017"/>
              </a:cxn>
              <a:cxn ang="0">
                <a:pos x="csX1018" y="csY1018"/>
              </a:cxn>
              <a:cxn ang="0">
                <a:pos x="csX1019" y="csY1019"/>
              </a:cxn>
              <a:cxn ang="0">
                <a:pos x="csX1020" y="csY1020"/>
              </a:cxn>
              <a:cxn ang="0">
                <a:pos x="csX1021" y="csY1021"/>
              </a:cxn>
              <a:cxn ang="0">
                <a:pos x="csX1022" y="csY1022"/>
              </a:cxn>
              <a:cxn ang="0">
                <a:pos x="csX1023" y="csY1023"/>
              </a:cxn>
              <a:cxn ang="0">
                <a:pos x="csX1024" y="csY1024"/>
              </a:cxn>
              <a:cxn ang="0">
                <a:pos x="csX1025" y="csY1025"/>
              </a:cxn>
              <a:cxn ang="0">
                <a:pos x="csX1026" y="csY1026"/>
              </a:cxn>
              <a:cxn ang="0">
                <a:pos x="csX1027" y="csY1027"/>
              </a:cxn>
              <a:cxn ang="0">
                <a:pos x="csX1028" y="csY1028"/>
              </a:cxn>
              <a:cxn ang="0">
                <a:pos x="csX1029" y="csY1029"/>
              </a:cxn>
              <a:cxn ang="0">
                <a:pos x="csX1030" y="csY1030"/>
              </a:cxn>
              <a:cxn ang="0">
                <a:pos x="csX1031" y="csY1031"/>
              </a:cxn>
              <a:cxn ang="0">
                <a:pos x="csX1032" y="csY1032"/>
              </a:cxn>
              <a:cxn ang="0">
                <a:pos x="csX1033" y="csY1033"/>
              </a:cxn>
              <a:cxn ang="0">
                <a:pos x="csX1034" y="csY1034"/>
              </a:cxn>
              <a:cxn ang="0">
                <a:pos x="csX1035" y="csY1035"/>
              </a:cxn>
              <a:cxn ang="0">
                <a:pos x="csX1036" y="csY1036"/>
              </a:cxn>
              <a:cxn ang="0">
                <a:pos x="csX1037" y="csY1037"/>
              </a:cxn>
              <a:cxn ang="0">
                <a:pos x="csX1038" y="csY1038"/>
              </a:cxn>
              <a:cxn ang="0">
                <a:pos x="csX1039" y="csY1039"/>
              </a:cxn>
              <a:cxn ang="0">
                <a:pos x="csX1040" y="csY1040"/>
              </a:cxn>
              <a:cxn ang="0">
                <a:pos x="csX1041" y="csY1041"/>
              </a:cxn>
              <a:cxn ang="0">
                <a:pos x="csX1042" y="csY1042"/>
              </a:cxn>
              <a:cxn ang="0">
                <a:pos x="csX1043" y="csY1043"/>
              </a:cxn>
              <a:cxn ang="0">
                <a:pos x="csX1044" y="csY1044"/>
              </a:cxn>
              <a:cxn ang="0">
                <a:pos x="csX1045" y="csY1045"/>
              </a:cxn>
              <a:cxn ang="0">
                <a:pos x="csX1046" y="csY1046"/>
              </a:cxn>
              <a:cxn ang="0">
                <a:pos x="csX1047" y="csY1047"/>
              </a:cxn>
              <a:cxn ang="0">
                <a:pos x="csX1048" y="csY1048"/>
              </a:cxn>
              <a:cxn ang="0">
                <a:pos x="csX1049" y="csY1049"/>
              </a:cxn>
              <a:cxn ang="0">
                <a:pos x="csX1050" y="csY1050"/>
              </a:cxn>
              <a:cxn ang="0">
                <a:pos x="csX1051" y="csY1051"/>
              </a:cxn>
              <a:cxn ang="0">
                <a:pos x="csX1052" y="csY1052"/>
              </a:cxn>
              <a:cxn ang="0">
                <a:pos x="csX1053" y="csY1053"/>
              </a:cxn>
              <a:cxn ang="0">
                <a:pos x="csX1054" y="csY1054"/>
              </a:cxn>
            </a:cxnLst>
            <a:rect l="l" t="t" r="r" b="b"/>
            <a:pathLst>
              <a:path w="1609516" h="1538630">
                <a:moveTo>
                  <a:pt x="401579" y="1495809"/>
                </a:moveTo>
                <a:lnTo>
                  <a:pt x="400190" y="1496004"/>
                </a:lnTo>
                <a:lnTo>
                  <a:pt x="401224" y="1496470"/>
                </a:lnTo>
                <a:lnTo>
                  <a:pt x="401224" y="1498590"/>
                </a:lnTo>
                <a:lnTo>
                  <a:pt x="401579" y="1498628"/>
                </a:lnTo>
                <a:cubicBezTo>
                  <a:pt x="401579" y="1497698"/>
                  <a:pt x="401579" y="1496768"/>
                  <a:pt x="401579" y="1495809"/>
                </a:cubicBezTo>
                <a:close/>
                <a:moveTo>
                  <a:pt x="368755" y="1486512"/>
                </a:moveTo>
                <a:lnTo>
                  <a:pt x="364089" y="1487354"/>
                </a:lnTo>
                <a:lnTo>
                  <a:pt x="364089" y="1487908"/>
                </a:lnTo>
                <a:close/>
                <a:moveTo>
                  <a:pt x="1049801" y="1484562"/>
                </a:moveTo>
                <a:lnTo>
                  <a:pt x="1046735" y="1485945"/>
                </a:lnTo>
                <a:lnTo>
                  <a:pt x="1046955" y="1486045"/>
                </a:lnTo>
                <a:lnTo>
                  <a:pt x="1049801" y="1485188"/>
                </a:lnTo>
                <a:close/>
                <a:moveTo>
                  <a:pt x="351234" y="1444508"/>
                </a:moveTo>
                <a:lnTo>
                  <a:pt x="351234" y="1444997"/>
                </a:lnTo>
                <a:lnTo>
                  <a:pt x="351592" y="1445078"/>
                </a:lnTo>
                <a:close/>
                <a:moveTo>
                  <a:pt x="351908" y="1431206"/>
                </a:moveTo>
                <a:lnTo>
                  <a:pt x="351234" y="1431611"/>
                </a:lnTo>
                <a:lnTo>
                  <a:pt x="351234" y="1432274"/>
                </a:lnTo>
                <a:close/>
                <a:moveTo>
                  <a:pt x="358162" y="1421494"/>
                </a:moveTo>
                <a:lnTo>
                  <a:pt x="355921" y="1423156"/>
                </a:lnTo>
                <a:lnTo>
                  <a:pt x="355921" y="1423548"/>
                </a:lnTo>
                <a:close/>
                <a:moveTo>
                  <a:pt x="376098" y="1408347"/>
                </a:moveTo>
                <a:lnTo>
                  <a:pt x="370750" y="1412245"/>
                </a:lnTo>
                <a:lnTo>
                  <a:pt x="375023" y="1411256"/>
                </a:lnTo>
                <a:close/>
                <a:moveTo>
                  <a:pt x="421956" y="1365623"/>
                </a:moveTo>
                <a:lnTo>
                  <a:pt x="421765" y="1366161"/>
                </a:lnTo>
                <a:lnTo>
                  <a:pt x="421887" y="1366161"/>
                </a:lnTo>
                <a:close/>
                <a:moveTo>
                  <a:pt x="754553" y="1360575"/>
                </a:moveTo>
                <a:lnTo>
                  <a:pt x="754089" y="1361433"/>
                </a:lnTo>
                <a:lnTo>
                  <a:pt x="754431" y="1361125"/>
                </a:lnTo>
                <a:close/>
                <a:moveTo>
                  <a:pt x="1277973" y="1332923"/>
                </a:moveTo>
                <a:lnTo>
                  <a:pt x="1277944" y="1332936"/>
                </a:lnTo>
                <a:lnTo>
                  <a:pt x="1277949" y="1333139"/>
                </a:lnTo>
                <a:close/>
                <a:moveTo>
                  <a:pt x="1268556" y="1321066"/>
                </a:moveTo>
                <a:cubicBezTo>
                  <a:pt x="1268556" y="1322461"/>
                  <a:pt x="1268556" y="1323856"/>
                  <a:pt x="1268556" y="1325294"/>
                </a:cubicBezTo>
                <a:cubicBezTo>
                  <a:pt x="1267525" y="1325294"/>
                  <a:pt x="1266495" y="1325294"/>
                  <a:pt x="1265432" y="1325294"/>
                </a:cubicBezTo>
                <a:cubicBezTo>
                  <a:pt x="1265432" y="1330409"/>
                  <a:pt x="1265432" y="1335525"/>
                  <a:pt x="1265432" y="1340795"/>
                </a:cubicBezTo>
                <a:lnTo>
                  <a:pt x="1265476" y="1340714"/>
                </a:lnTo>
                <a:lnTo>
                  <a:pt x="1265476" y="1325877"/>
                </a:lnTo>
                <a:cubicBezTo>
                  <a:pt x="1266507" y="1325877"/>
                  <a:pt x="1267538" y="1325877"/>
                  <a:pt x="1268600" y="1325877"/>
                </a:cubicBezTo>
                <a:cubicBezTo>
                  <a:pt x="1268600" y="1324482"/>
                  <a:pt x="1268600" y="1323086"/>
                  <a:pt x="1268600" y="1321649"/>
                </a:cubicBezTo>
                <a:cubicBezTo>
                  <a:pt x="1270147" y="1321649"/>
                  <a:pt x="1271693" y="1321649"/>
                  <a:pt x="1273286" y="1321649"/>
                </a:cubicBezTo>
                <a:lnTo>
                  <a:pt x="1273227" y="1321066"/>
                </a:lnTo>
                <a:close/>
                <a:moveTo>
                  <a:pt x="827891" y="1291474"/>
                </a:moveTo>
                <a:lnTo>
                  <a:pt x="822601" y="1291544"/>
                </a:lnTo>
                <a:lnTo>
                  <a:pt x="818272" y="1292220"/>
                </a:lnTo>
                <a:lnTo>
                  <a:pt x="827891" y="1292047"/>
                </a:lnTo>
                <a:close/>
                <a:moveTo>
                  <a:pt x="856397" y="1288691"/>
                </a:moveTo>
                <a:lnTo>
                  <a:pt x="865903" y="1290590"/>
                </a:lnTo>
                <a:lnTo>
                  <a:pt x="859999" y="1288752"/>
                </a:lnTo>
                <a:close/>
                <a:moveTo>
                  <a:pt x="834694" y="1288572"/>
                </a:moveTo>
                <a:lnTo>
                  <a:pt x="828038" y="1288654"/>
                </a:lnTo>
                <a:lnTo>
                  <a:pt x="828038" y="1289214"/>
                </a:lnTo>
                <a:close/>
                <a:moveTo>
                  <a:pt x="229746" y="1191418"/>
                </a:moveTo>
                <a:lnTo>
                  <a:pt x="227402" y="1191947"/>
                </a:lnTo>
                <a:lnTo>
                  <a:pt x="229315" y="1191947"/>
                </a:lnTo>
                <a:cubicBezTo>
                  <a:pt x="229315" y="1192877"/>
                  <a:pt x="229315" y="1193807"/>
                  <a:pt x="229315" y="1194765"/>
                </a:cubicBezTo>
                <a:lnTo>
                  <a:pt x="231321" y="1194765"/>
                </a:lnTo>
                <a:lnTo>
                  <a:pt x="229746" y="1194236"/>
                </a:lnTo>
                <a:cubicBezTo>
                  <a:pt x="229746" y="1193306"/>
                  <a:pt x="229746" y="1192376"/>
                  <a:pt x="229746" y="1191418"/>
                </a:cubicBezTo>
                <a:close/>
                <a:moveTo>
                  <a:pt x="215687" y="1187190"/>
                </a:moveTo>
                <a:lnTo>
                  <a:pt x="215198" y="1187720"/>
                </a:lnTo>
                <a:lnTo>
                  <a:pt x="215256" y="1187720"/>
                </a:lnTo>
                <a:cubicBezTo>
                  <a:pt x="215256" y="1189115"/>
                  <a:pt x="215256" y="1190510"/>
                  <a:pt x="215256" y="1191947"/>
                </a:cubicBezTo>
                <a:lnTo>
                  <a:pt x="222721" y="1191947"/>
                </a:lnTo>
                <a:lnTo>
                  <a:pt x="215687" y="1191418"/>
                </a:lnTo>
                <a:cubicBezTo>
                  <a:pt x="215687" y="1190023"/>
                  <a:pt x="215687" y="1188628"/>
                  <a:pt x="215687" y="1187190"/>
                </a:cubicBezTo>
                <a:close/>
                <a:moveTo>
                  <a:pt x="1279678" y="1082356"/>
                </a:moveTo>
                <a:lnTo>
                  <a:pt x="1271680" y="1084589"/>
                </a:lnTo>
                <a:lnTo>
                  <a:pt x="1282181" y="1082544"/>
                </a:lnTo>
                <a:close/>
                <a:moveTo>
                  <a:pt x="117703" y="941507"/>
                </a:moveTo>
                <a:lnTo>
                  <a:pt x="112587" y="941985"/>
                </a:lnTo>
                <a:lnTo>
                  <a:pt x="112565" y="942333"/>
                </a:lnTo>
                <a:lnTo>
                  <a:pt x="115665" y="941837"/>
                </a:lnTo>
                <a:close/>
                <a:moveTo>
                  <a:pt x="144268" y="939395"/>
                </a:moveTo>
                <a:lnTo>
                  <a:pt x="143354" y="939580"/>
                </a:lnTo>
                <a:lnTo>
                  <a:pt x="144077" y="939739"/>
                </a:lnTo>
                <a:close/>
                <a:moveTo>
                  <a:pt x="162575" y="933530"/>
                </a:moveTo>
                <a:lnTo>
                  <a:pt x="161704" y="935101"/>
                </a:lnTo>
                <a:lnTo>
                  <a:pt x="170045" y="933585"/>
                </a:lnTo>
                <a:close/>
                <a:moveTo>
                  <a:pt x="1321645" y="918415"/>
                </a:moveTo>
                <a:lnTo>
                  <a:pt x="1321534" y="920177"/>
                </a:lnTo>
                <a:lnTo>
                  <a:pt x="1321740" y="918415"/>
                </a:lnTo>
                <a:close/>
                <a:moveTo>
                  <a:pt x="1319333" y="915183"/>
                </a:moveTo>
                <a:lnTo>
                  <a:pt x="1318544" y="918029"/>
                </a:lnTo>
                <a:lnTo>
                  <a:pt x="1318702" y="918029"/>
                </a:lnTo>
                <a:close/>
                <a:moveTo>
                  <a:pt x="1326355" y="907109"/>
                </a:moveTo>
                <a:lnTo>
                  <a:pt x="1326355" y="910983"/>
                </a:lnTo>
                <a:lnTo>
                  <a:pt x="1325831" y="911101"/>
                </a:lnTo>
                <a:lnTo>
                  <a:pt x="1326426" y="911369"/>
                </a:lnTo>
                <a:cubicBezTo>
                  <a:pt x="1326426" y="909974"/>
                  <a:pt x="1326426" y="908579"/>
                  <a:pt x="1326426" y="907141"/>
                </a:cubicBezTo>
                <a:close/>
                <a:moveTo>
                  <a:pt x="1328144" y="892192"/>
                </a:moveTo>
                <a:lnTo>
                  <a:pt x="1327667" y="893446"/>
                </a:lnTo>
                <a:lnTo>
                  <a:pt x="1327989" y="893049"/>
                </a:lnTo>
                <a:close/>
                <a:moveTo>
                  <a:pt x="49605" y="887420"/>
                </a:moveTo>
                <a:lnTo>
                  <a:pt x="48549" y="891229"/>
                </a:lnTo>
                <a:lnTo>
                  <a:pt x="49956" y="887420"/>
                </a:lnTo>
                <a:close/>
                <a:moveTo>
                  <a:pt x="1332266" y="883369"/>
                </a:moveTo>
                <a:lnTo>
                  <a:pt x="1329479" y="884207"/>
                </a:lnTo>
                <a:lnTo>
                  <a:pt x="1329509" y="884816"/>
                </a:lnTo>
                <a:lnTo>
                  <a:pt x="1329551" y="884594"/>
                </a:lnTo>
                <a:close/>
                <a:moveTo>
                  <a:pt x="1555987" y="821766"/>
                </a:moveTo>
                <a:lnTo>
                  <a:pt x="1555987" y="822201"/>
                </a:lnTo>
                <a:lnTo>
                  <a:pt x="1556081" y="822189"/>
                </a:lnTo>
                <a:close/>
                <a:moveTo>
                  <a:pt x="1565360" y="810928"/>
                </a:moveTo>
                <a:lnTo>
                  <a:pt x="1564871" y="811809"/>
                </a:lnTo>
                <a:lnTo>
                  <a:pt x="1567314" y="810928"/>
                </a:lnTo>
                <a:close/>
                <a:moveTo>
                  <a:pt x="1563797" y="810928"/>
                </a:moveTo>
                <a:lnTo>
                  <a:pt x="1556762" y="814736"/>
                </a:lnTo>
                <a:lnTo>
                  <a:pt x="1563797" y="812197"/>
                </a:lnTo>
                <a:close/>
                <a:moveTo>
                  <a:pt x="265833" y="806020"/>
                </a:moveTo>
                <a:lnTo>
                  <a:pt x="263704" y="809861"/>
                </a:lnTo>
                <a:lnTo>
                  <a:pt x="263704" y="816750"/>
                </a:lnTo>
                <a:lnTo>
                  <a:pt x="264113" y="816565"/>
                </a:lnTo>
                <a:cubicBezTo>
                  <a:pt x="264048" y="815315"/>
                  <a:pt x="263984" y="814065"/>
                  <a:pt x="263918" y="812777"/>
                </a:cubicBezTo>
                <a:close/>
                <a:moveTo>
                  <a:pt x="263774" y="779374"/>
                </a:moveTo>
                <a:lnTo>
                  <a:pt x="263704" y="783086"/>
                </a:lnTo>
                <a:cubicBezTo>
                  <a:pt x="263961" y="783987"/>
                  <a:pt x="264219" y="784888"/>
                  <a:pt x="264484" y="785816"/>
                </a:cubicBezTo>
                <a:cubicBezTo>
                  <a:pt x="265299" y="788846"/>
                  <a:pt x="265316" y="791337"/>
                  <a:pt x="265265" y="794448"/>
                </a:cubicBezTo>
                <a:cubicBezTo>
                  <a:pt x="265103" y="797155"/>
                  <a:pt x="265022" y="798508"/>
                  <a:pt x="265217" y="799730"/>
                </a:cubicBezTo>
                <a:lnTo>
                  <a:pt x="266556" y="803466"/>
                </a:lnTo>
                <a:lnTo>
                  <a:pt x="267237" y="801063"/>
                </a:lnTo>
                <a:cubicBezTo>
                  <a:pt x="266721" y="800598"/>
                  <a:pt x="266206" y="800133"/>
                  <a:pt x="265675" y="799654"/>
                </a:cubicBezTo>
                <a:cubicBezTo>
                  <a:pt x="265601" y="797718"/>
                  <a:pt x="265617" y="795778"/>
                  <a:pt x="265675" y="793841"/>
                </a:cubicBezTo>
                <a:close/>
                <a:moveTo>
                  <a:pt x="260988" y="770061"/>
                </a:moveTo>
                <a:lnTo>
                  <a:pt x="260988" y="771364"/>
                </a:lnTo>
                <a:lnTo>
                  <a:pt x="263497" y="777263"/>
                </a:lnTo>
                <a:lnTo>
                  <a:pt x="262551" y="770061"/>
                </a:lnTo>
                <a:cubicBezTo>
                  <a:pt x="262035" y="770061"/>
                  <a:pt x="261520" y="770061"/>
                  <a:pt x="260988" y="770061"/>
                </a:cubicBezTo>
                <a:close/>
                <a:moveTo>
                  <a:pt x="157888" y="651686"/>
                </a:moveTo>
                <a:lnTo>
                  <a:pt x="157415" y="651764"/>
                </a:lnTo>
                <a:lnTo>
                  <a:pt x="160373" y="652274"/>
                </a:lnTo>
                <a:close/>
                <a:moveTo>
                  <a:pt x="267237" y="426537"/>
                </a:moveTo>
                <a:lnTo>
                  <a:pt x="267237" y="427619"/>
                </a:lnTo>
                <a:cubicBezTo>
                  <a:pt x="268274" y="427791"/>
                  <a:pt x="269311" y="427961"/>
                  <a:pt x="270380" y="428137"/>
                </a:cubicBezTo>
                <a:lnTo>
                  <a:pt x="273548" y="428680"/>
                </a:lnTo>
                <a:close/>
                <a:moveTo>
                  <a:pt x="37605" y="359270"/>
                </a:moveTo>
                <a:lnTo>
                  <a:pt x="37103" y="361533"/>
                </a:lnTo>
                <a:lnTo>
                  <a:pt x="37605" y="361382"/>
                </a:lnTo>
                <a:close/>
                <a:moveTo>
                  <a:pt x="52477" y="337570"/>
                </a:moveTo>
                <a:lnTo>
                  <a:pt x="47288" y="342340"/>
                </a:lnTo>
                <a:lnTo>
                  <a:pt x="45805" y="345093"/>
                </a:lnTo>
                <a:close/>
                <a:moveTo>
                  <a:pt x="104291" y="336166"/>
                </a:moveTo>
                <a:lnTo>
                  <a:pt x="103776" y="337559"/>
                </a:lnTo>
                <a:lnTo>
                  <a:pt x="108925" y="336166"/>
                </a:lnTo>
                <a:close/>
                <a:moveTo>
                  <a:pt x="1309237" y="322954"/>
                </a:moveTo>
                <a:lnTo>
                  <a:pt x="1309180" y="330559"/>
                </a:lnTo>
                <a:lnTo>
                  <a:pt x="1309237" y="330520"/>
                </a:lnTo>
                <a:close/>
                <a:moveTo>
                  <a:pt x="1308964" y="317715"/>
                </a:moveTo>
                <a:lnTo>
                  <a:pt x="1309237" y="318569"/>
                </a:lnTo>
                <a:lnTo>
                  <a:pt x="1309237" y="317838"/>
                </a:lnTo>
                <a:close/>
                <a:moveTo>
                  <a:pt x="1310087" y="313153"/>
                </a:moveTo>
                <a:lnTo>
                  <a:pt x="1307609" y="313473"/>
                </a:lnTo>
                <a:lnTo>
                  <a:pt x="1308045" y="314836"/>
                </a:lnTo>
                <a:close/>
                <a:moveTo>
                  <a:pt x="1318544" y="312064"/>
                </a:moveTo>
                <a:lnTo>
                  <a:pt x="1316298" y="312353"/>
                </a:lnTo>
                <a:lnTo>
                  <a:pt x="1318544" y="312205"/>
                </a:lnTo>
                <a:close/>
                <a:moveTo>
                  <a:pt x="1084622" y="267674"/>
                </a:moveTo>
                <a:lnTo>
                  <a:pt x="1084227" y="268378"/>
                </a:lnTo>
                <a:cubicBezTo>
                  <a:pt x="1082679" y="268378"/>
                  <a:pt x="1081133" y="268378"/>
                  <a:pt x="1079540" y="268378"/>
                </a:cubicBezTo>
                <a:lnTo>
                  <a:pt x="1079603" y="268477"/>
                </a:lnTo>
                <a:lnTo>
                  <a:pt x="1084192" y="268477"/>
                </a:lnTo>
                <a:close/>
                <a:moveTo>
                  <a:pt x="956410" y="266968"/>
                </a:moveTo>
                <a:lnTo>
                  <a:pt x="957576" y="267083"/>
                </a:lnTo>
                <a:lnTo>
                  <a:pt x="957576" y="269776"/>
                </a:lnTo>
                <a:lnTo>
                  <a:pt x="957694" y="269787"/>
                </a:lnTo>
                <a:cubicBezTo>
                  <a:pt x="957694" y="268857"/>
                  <a:pt x="957694" y="267927"/>
                  <a:pt x="957694" y="266968"/>
                </a:cubicBezTo>
                <a:close/>
                <a:moveTo>
                  <a:pt x="1089372" y="259220"/>
                </a:moveTo>
                <a:lnTo>
                  <a:pt x="1085856" y="265479"/>
                </a:lnTo>
                <a:lnTo>
                  <a:pt x="1088878" y="261431"/>
                </a:lnTo>
                <a:close/>
                <a:moveTo>
                  <a:pt x="1018517" y="223356"/>
                </a:moveTo>
                <a:lnTo>
                  <a:pt x="1013866" y="226190"/>
                </a:lnTo>
                <a:lnTo>
                  <a:pt x="1013024" y="227709"/>
                </a:lnTo>
                <a:lnTo>
                  <a:pt x="1017055" y="224692"/>
                </a:lnTo>
                <a:close/>
                <a:moveTo>
                  <a:pt x="850645" y="220099"/>
                </a:moveTo>
                <a:lnTo>
                  <a:pt x="850897" y="221488"/>
                </a:lnTo>
                <a:cubicBezTo>
                  <a:pt x="851086" y="222545"/>
                  <a:pt x="851275" y="223602"/>
                  <a:pt x="851470" y="224692"/>
                </a:cubicBezTo>
                <a:lnTo>
                  <a:pt x="852860" y="224692"/>
                </a:lnTo>
                <a:close/>
                <a:moveTo>
                  <a:pt x="1155019" y="35"/>
                </a:moveTo>
                <a:cubicBezTo>
                  <a:pt x="1161775" y="275"/>
                  <a:pt x="1168415" y="1783"/>
                  <a:pt x="1174829" y="4853"/>
                </a:cubicBezTo>
                <a:cubicBezTo>
                  <a:pt x="1176343" y="5231"/>
                  <a:pt x="1177858" y="5609"/>
                  <a:pt x="1179418" y="5998"/>
                </a:cubicBezTo>
                <a:cubicBezTo>
                  <a:pt x="1189392" y="9487"/>
                  <a:pt x="1196322" y="14392"/>
                  <a:pt x="1201385" y="22997"/>
                </a:cubicBezTo>
                <a:cubicBezTo>
                  <a:pt x="1206849" y="35244"/>
                  <a:pt x="1206940" y="49865"/>
                  <a:pt x="1201678" y="62191"/>
                </a:cubicBezTo>
                <a:cubicBezTo>
                  <a:pt x="1200594" y="64241"/>
                  <a:pt x="1199461" y="66271"/>
                  <a:pt x="1198261" y="68268"/>
                </a:cubicBezTo>
                <a:cubicBezTo>
                  <a:pt x="1197423" y="69721"/>
                  <a:pt x="1196586" y="71175"/>
                  <a:pt x="1195723" y="72672"/>
                </a:cubicBezTo>
                <a:cubicBezTo>
                  <a:pt x="1194659" y="73980"/>
                  <a:pt x="1194659" y="73980"/>
                  <a:pt x="1193575" y="75314"/>
                </a:cubicBezTo>
                <a:cubicBezTo>
                  <a:pt x="1192544" y="75314"/>
                  <a:pt x="1191512" y="75314"/>
                  <a:pt x="1190450" y="75314"/>
                </a:cubicBezTo>
                <a:cubicBezTo>
                  <a:pt x="1190128" y="76651"/>
                  <a:pt x="1189806" y="77988"/>
                  <a:pt x="1189474" y="79366"/>
                </a:cubicBezTo>
                <a:cubicBezTo>
                  <a:pt x="1187326" y="83769"/>
                  <a:pt x="1187326" y="83769"/>
                  <a:pt x="1182445" y="85707"/>
                </a:cubicBezTo>
                <a:cubicBezTo>
                  <a:pt x="1180962" y="85998"/>
                  <a:pt x="1179480" y="86289"/>
                  <a:pt x="1177953" y="86588"/>
                </a:cubicBezTo>
                <a:cubicBezTo>
                  <a:pt x="1177953" y="87518"/>
                  <a:pt x="1177953" y="88448"/>
                  <a:pt x="1177953" y="89406"/>
                </a:cubicBezTo>
                <a:cubicBezTo>
                  <a:pt x="1175369" y="91088"/>
                  <a:pt x="1172720" y="92688"/>
                  <a:pt x="1170045" y="94251"/>
                </a:cubicBezTo>
                <a:cubicBezTo>
                  <a:pt x="1154651" y="104199"/>
                  <a:pt x="1148918" y="116979"/>
                  <a:pt x="1143806" y="132828"/>
                </a:cubicBezTo>
                <a:cubicBezTo>
                  <a:pt x="1142095" y="137144"/>
                  <a:pt x="1140989" y="138617"/>
                  <a:pt x="1137338" y="141548"/>
                </a:cubicBezTo>
                <a:cubicBezTo>
                  <a:pt x="1136166" y="144148"/>
                  <a:pt x="1134992" y="146751"/>
                  <a:pt x="1133970" y="149403"/>
                </a:cubicBezTo>
                <a:cubicBezTo>
                  <a:pt x="1132069" y="154334"/>
                  <a:pt x="1130006" y="159210"/>
                  <a:pt x="1127965" y="164095"/>
                </a:cubicBezTo>
                <a:cubicBezTo>
                  <a:pt x="1126897" y="166664"/>
                  <a:pt x="1125830" y="169233"/>
                  <a:pt x="1124762" y="171802"/>
                </a:cubicBezTo>
                <a:cubicBezTo>
                  <a:pt x="1122961" y="176134"/>
                  <a:pt x="1121160" y="180466"/>
                  <a:pt x="1119359" y="184798"/>
                </a:cubicBezTo>
                <a:cubicBezTo>
                  <a:pt x="1116567" y="191508"/>
                  <a:pt x="1113778" y="198220"/>
                  <a:pt x="1111014" y="204941"/>
                </a:cubicBezTo>
                <a:cubicBezTo>
                  <a:pt x="1110590" y="205970"/>
                  <a:pt x="1110165" y="206999"/>
                  <a:pt x="1109729" y="208059"/>
                </a:cubicBezTo>
                <a:cubicBezTo>
                  <a:pt x="1108615" y="210762"/>
                  <a:pt x="1107505" y="213466"/>
                  <a:pt x="1106395" y="216170"/>
                </a:cubicBezTo>
                <a:cubicBezTo>
                  <a:pt x="1104320" y="220956"/>
                  <a:pt x="1103283" y="223349"/>
                  <a:pt x="1102147" y="224810"/>
                </a:cubicBezTo>
                <a:lnTo>
                  <a:pt x="1098261" y="227262"/>
                </a:lnTo>
                <a:lnTo>
                  <a:pt x="1098367" y="238475"/>
                </a:lnTo>
                <a:cubicBezTo>
                  <a:pt x="1098025" y="239757"/>
                  <a:pt x="1097684" y="241038"/>
                  <a:pt x="1097331" y="242358"/>
                </a:cubicBezTo>
                <a:cubicBezTo>
                  <a:pt x="1096958" y="243711"/>
                  <a:pt x="1096585" y="245064"/>
                  <a:pt x="1096201" y="246458"/>
                </a:cubicBezTo>
                <a:cubicBezTo>
                  <a:pt x="1093302" y="257363"/>
                  <a:pt x="1090901" y="268062"/>
                  <a:pt x="1089440" y="279206"/>
                </a:cubicBezTo>
                <a:cubicBezTo>
                  <a:pt x="1088878" y="282569"/>
                  <a:pt x="1088878" y="282569"/>
                  <a:pt x="1087316" y="283978"/>
                </a:cubicBezTo>
                <a:cubicBezTo>
                  <a:pt x="1087070" y="286587"/>
                  <a:pt x="1086924" y="289205"/>
                  <a:pt x="1086822" y="291822"/>
                </a:cubicBezTo>
                <a:cubicBezTo>
                  <a:pt x="1086756" y="293408"/>
                  <a:pt x="1086691" y="294993"/>
                  <a:pt x="1086623" y="296625"/>
                </a:cubicBezTo>
                <a:cubicBezTo>
                  <a:pt x="1086562" y="298294"/>
                  <a:pt x="1086501" y="299962"/>
                  <a:pt x="1086437" y="301681"/>
                </a:cubicBezTo>
                <a:cubicBezTo>
                  <a:pt x="1086336" y="304192"/>
                  <a:pt x="1086336" y="304192"/>
                  <a:pt x="1086233" y="306754"/>
                </a:cubicBezTo>
                <a:lnTo>
                  <a:pt x="1086007" y="312619"/>
                </a:lnTo>
                <a:lnTo>
                  <a:pt x="1087470" y="320554"/>
                </a:lnTo>
                <a:cubicBezTo>
                  <a:pt x="1089648" y="325409"/>
                  <a:pt x="1093111" y="329799"/>
                  <a:pt x="1098285" y="334611"/>
                </a:cubicBezTo>
                <a:cubicBezTo>
                  <a:pt x="1100424" y="336130"/>
                  <a:pt x="1100424" y="336130"/>
                  <a:pt x="1102607" y="337679"/>
                </a:cubicBezTo>
                <a:cubicBezTo>
                  <a:pt x="1104334" y="338951"/>
                  <a:pt x="1104334" y="338951"/>
                  <a:pt x="1106095" y="340248"/>
                </a:cubicBezTo>
                <a:cubicBezTo>
                  <a:pt x="1106095" y="341178"/>
                  <a:pt x="1106095" y="342108"/>
                  <a:pt x="1106095" y="343066"/>
                </a:cubicBezTo>
                <a:cubicBezTo>
                  <a:pt x="1107127" y="343183"/>
                  <a:pt x="1108158" y="343299"/>
                  <a:pt x="1109220" y="343419"/>
                </a:cubicBezTo>
                <a:cubicBezTo>
                  <a:pt x="1115473" y="344829"/>
                  <a:pt x="1120724" y="347416"/>
                  <a:pt x="1126403" y="350112"/>
                </a:cubicBezTo>
                <a:cubicBezTo>
                  <a:pt x="1128207" y="350926"/>
                  <a:pt x="1130012" y="351740"/>
                  <a:pt x="1131871" y="352579"/>
                </a:cubicBezTo>
                <a:cubicBezTo>
                  <a:pt x="1133159" y="353160"/>
                  <a:pt x="1134448" y="353741"/>
                  <a:pt x="1135776" y="354340"/>
                </a:cubicBezTo>
                <a:cubicBezTo>
                  <a:pt x="1135776" y="355270"/>
                  <a:pt x="1135776" y="356200"/>
                  <a:pt x="1135776" y="357158"/>
                </a:cubicBezTo>
                <a:cubicBezTo>
                  <a:pt x="1148107" y="360029"/>
                  <a:pt x="1158679" y="359101"/>
                  <a:pt x="1170143" y="354340"/>
                </a:cubicBezTo>
                <a:cubicBezTo>
                  <a:pt x="1172366" y="353468"/>
                  <a:pt x="1172366" y="353468"/>
                  <a:pt x="1174634" y="352579"/>
                </a:cubicBezTo>
                <a:cubicBezTo>
                  <a:pt x="1180354" y="349689"/>
                  <a:pt x="1185568" y="346355"/>
                  <a:pt x="1190890" y="342907"/>
                </a:cubicBezTo>
                <a:cubicBezTo>
                  <a:pt x="1195169" y="340228"/>
                  <a:pt x="1199557" y="337821"/>
                  <a:pt x="1204021" y="335404"/>
                </a:cubicBezTo>
                <a:cubicBezTo>
                  <a:pt x="1211989" y="330886"/>
                  <a:pt x="1217509" y="325766"/>
                  <a:pt x="1223255" y="319110"/>
                </a:cubicBezTo>
                <a:cubicBezTo>
                  <a:pt x="1224447" y="317947"/>
                  <a:pt x="1225639" y="316784"/>
                  <a:pt x="1226868" y="315587"/>
                </a:cubicBezTo>
                <a:cubicBezTo>
                  <a:pt x="1229855" y="311593"/>
                  <a:pt x="1230852" y="308240"/>
                  <a:pt x="1231859" y="303559"/>
                </a:cubicBezTo>
                <a:cubicBezTo>
                  <a:pt x="1232628" y="300790"/>
                  <a:pt x="1232628" y="300790"/>
                  <a:pt x="1234178" y="298059"/>
                </a:cubicBezTo>
                <a:cubicBezTo>
                  <a:pt x="1235964" y="294761"/>
                  <a:pt x="1236623" y="291807"/>
                  <a:pt x="1237314" y="288195"/>
                </a:cubicBezTo>
                <a:cubicBezTo>
                  <a:pt x="1239360" y="278571"/>
                  <a:pt x="1242414" y="272733"/>
                  <a:pt x="1249811" y="265559"/>
                </a:cubicBezTo>
                <a:cubicBezTo>
                  <a:pt x="1250842" y="265559"/>
                  <a:pt x="1251873" y="265559"/>
                  <a:pt x="1252935" y="265559"/>
                </a:cubicBezTo>
                <a:cubicBezTo>
                  <a:pt x="1252935" y="264629"/>
                  <a:pt x="1252935" y="263699"/>
                  <a:pt x="1252935" y="262741"/>
                </a:cubicBezTo>
                <a:cubicBezTo>
                  <a:pt x="1265591" y="253427"/>
                  <a:pt x="1280762" y="251648"/>
                  <a:pt x="1296675" y="252876"/>
                </a:cubicBezTo>
                <a:cubicBezTo>
                  <a:pt x="1300535" y="253563"/>
                  <a:pt x="1303901" y="254478"/>
                  <a:pt x="1307609" y="255695"/>
                </a:cubicBezTo>
                <a:cubicBezTo>
                  <a:pt x="1307609" y="256625"/>
                  <a:pt x="1307609" y="257555"/>
                  <a:pt x="1307609" y="258513"/>
                </a:cubicBezTo>
                <a:cubicBezTo>
                  <a:pt x="1309021" y="258619"/>
                  <a:pt x="1310432" y="258723"/>
                  <a:pt x="1311887" y="258832"/>
                </a:cubicBezTo>
                <a:cubicBezTo>
                  <a:pt x="1319573" y="260476"/>
                  <a:pt x="1322149" y="264416"/>
                  <a:pt x="1326715" y="269969"/>
                </a:cubicBezTo>
                <a:cubicBezTo>
                  <a:pt x="1334402" y="281220"/>
                  <a:pt x="1336114" y="294839"/>
                  <a:pt x="1334165" y="307836"/>
                </a:cubicBezTo>
                <a:cubicBezTo>
                  <a:pt x="1332176" y="311898"/>
                  <a:pt x="1332176" y="311898"/>
                  <a:pt x="1329479" y="314882"/>
                </a:cubicBezTo>
                <a:cubicBezTo>
                  <a:pt x="1327417" y="314882"/>
                  <a:pt x="1325355" y="314882"/>
                  <a:pt x="1323231" y="314882"/>
                </a:cubicBezTo>
                <a:cubicBezTo>
                  <a:pt x="1323231" y="315812"/>
                  <a:pt x="1323231" y="316742"/>
                  <a:pt x="1323231" y="317700"/>
                </a:cubicBezTo>
                <a:lnTo>
                  <a:pt x="1322774" y="317838"/>
                </a:lnTo>
                <a:lnTo>
                  <a:pt x="1323295" y="317838"/>
                </a:lnTo>
                <a:cubicBezTo>
                  <a:pt x="1323295" y="316907"/>
                  <a:pt x="1323295" y="315977"/>
                  <a:pt x="1323295" y="315019"/>
                </a:cubicBezTo>
                <a:cubicBezTo>
                  <a:pt x="1324842" y="315019"/>
                  <a:pt x="1326388" y="315019"/>
                  <a:pt x="1327982" y="315019"/>
                </a:cubicBezTo>
                <a:cubicBezTo>
                  <a:pt x="1325845" y="321328"/>
                  <a:pt x="1322753" y="323742"/>
                  <a:pt x="1317047" y="327702"/>
                </a:cubicBezTo>
                <a:cubicBezTo>
                  <a:pt x="1316531" y="329097"/>
                  <a:pt x="1316016" y="330492"/>
                  <a:pt x="1315484" y="331930"/>
                </a:cubicBezTo>
                <a:cubicBezTo>
                  <a:pt x="1312599" y="332959"/>
                  <a:pt x="1312599" y="332959"/>
                  <a:pt x="1309139" y="333603"/>
                </a:cubicBezTo>
                <a:cubicBezTo>
                  <a:pt x="1307993" y="333827"/>
                  <a:pt x="1306847" y="334050"/>
                  <a:pt x="1305666" y="334280"/>
                </a:cubicBezTo>
                <a:cubicBezTo>
                  <a:pt x="1304783" y="334434"/>
                  <a:pt x="1303899" y="334589"/>
                  <a:pt x="1302988" y="334748"/>
                </a:cubicBezTo>
                <a:lnTo>
                  <a:pt x="1305905" y="332775"/>
                </a:lnTo>
                <a:lnTo>
                  <a:pt x="1304485" y="333202"/>
                </a:lnTo>
                <a:cubicBezTo>
                  <a:pt x="1302987" y="334640"/>
                  <a:pt x="1302987" y="334640"/>
                  <a:pt x="1301459" y="336108"/>
                </a:cubicBezTo>
                <a:cubicBezTo>
                  <a:pt x="1298237" y="338839"/>
                  <a:pt x="1298237" y="338839"/>
                  <a:pt x="1291989" y="338839"/>
                </a:cubicBezTo>
                <a:cubicBezTo>
                  <a:pt x="1291473" y="340234"/>
                  <a:pt x="1290957" y="341629"/>
                  <a:pt x="1290426" y="343066"/>
                </a:cubicBezTo>
                <a:cubicBezTo>
                  <a:pt x="1288879" y="343415"/>
                  <a:pt x="1287333" y="343764"/>
                  <a:pt x="1285740" y="344123"/>
                </a:cubicBezTo>
                <a:cubicBezTo>
                  <a:pt x="1266905" y="348491"/>
                  <a:pt x="1249005" y="369098"/>
                  <a:pt x="1237314" y="382525"/>
                </a:cubicBezTo>
                <a:cubicBezTo>
                  <a:pt x="1235678" y="385783"/>
                  <a:pt x="1234122" y="389075"/>
                  <a:pt x="1232628" y="392389"/>
                </a:cubicBezTo>
                <a:cubicBezTo>
                  <a:pt x="1231317" y="394515"/>
                  <a:pt x="1229981" y="396629"/>
                  <a:pt x="1228625" y="398731"/>
                </a:cubicBezTo>
                <a:cubicBezTo>
                  <a:pt x="1221457" y="410300"/>
                  <a:pt x="1219465" y="421836"/>
                  <a:pt x="1222822" y="434798"/>
                </a:cubicBezTo>
                <a:cubicBezTo>
                  <a:pt x="1229360" y="453710"/>
                  <a:pt x="1244088" y="472467"/>
                  <a:pt x="1260746" y="485398"/>
                </a:cubicBezTo>
                <a:cubicBezTo>
                  <a:pt x="1264961" y="487349"/>
                  <a:pt x="1264961" y="487349"/>
                  <a:pt x="1268556" y="488216"/>
                </a:cubicBezTo>
                <a:cubicBezTo>
                  <a:pt x="1268556" y="489146"/>
                  <a:pt x="1268556" y="490076"/>
                  <a:pt x="1268556" y="491034"/>
                </a:cubicBezTo>
                <a:cubicBezTo>
                  <a:pt x="1288790" y="497071"/>
                  <a:pt x="1319055" y="498555"/>
                  <a:pt x="1338852" y="489625"/>
                </a:cubicBezTo>
                <a:cubicBezTo>
                  <a:pt x="1341711" y="489213"/>
                  <a:pt x="1344575" y="488837"/>
                  <a:pt x="1347444" y="488480"/>
                </a:cubicBezTo>
                <a:cubicBezTo>
                  <a:pt x="1355372" y="487345"/>
                  <a:pt x="1362033" y="485390"/>
                  <a:pt x="1369362" y="482513"/>
                </a:cubicBezTo>
                <a:cubicBezTo>
                  <a:pt x="1375665" y="480318"/>
                  <a:pt x="1382189" y="479322"/>
                  <a:pt x="1388840" y="478351"/>
                </a:cubicBezTo>
                <a:cubicBezTo>
                  <a:pt x="1388840" y="477421"/>
                  <a:pt x="1388840" y="476492"/>
                  <a:pt x="1388840" y="475533"/>
                </a:cubicBezTo>
                <a:cubicBezTo>
                  <a:pt x="1391083" y="474821"/>
                  <a:pt x="1393329" y="474118"/>
                  <a:pt x="1395576" y="473419"/>
                </a:cubicBezTo>
                <a:cubicBezTo>
                  <a:pt x="1396827" y="473027"/>
                  <a:pt x="1398077" y="472635"/>
                  <a:pt x="1399365" y="472230"/>
                </a:cubicBezTo>
                <a:cubicBezTo>
                  <a:pt x="1402899" y="471305"/>
                  <a:pt x="1402899" y="471305"/>
                  <a:pt x="1407585" y="471305"/>
                </a:cubicBezTo>
                <a:cubicBezTo>
                  <a:pt x="1408101" y="469910"/>
                  <a:pt x="1408616" y="468515"/>
                  <a:pt x="1409147" y="467078"/>
                </a:cubicBezTo>
                <a:cubicBezTo>
                  <a:pt x="1412388" y="465580"/>
                  <a:pt x="1412388" y="465580"/>
                  <a:pt x="1416470" y="464259"/>
                </a:cubicBezTo>
                <a:cubicBezTo>
                  <a:pt x="1424029" y="461705"/>
                  <a:pt x="1431130" y="458955"/>
                  <a:pt x="1437949" y="455011"/>
                </a:cubicBezTo>
                <a:cubicBezTo>
                  <a:pt x="1442765" y="452574"/>
                  <a:pt x="1447553" y="451394"/>
                  <a:pt x="1452887" y="450167"/>
                </a:cubicBezTo>
                <a:cubicBezTo>
                  <a:pt x="1452887" y="449237"/>
                  <a:pt x="1452887" y="448307"/>
                  <a:pt x="1452887" y="447349"/>
                </a:cubicBezTo>
                <a:cubicBezTo>
                  <a:pt x="1453714" y="446944"/>
                  <a:pt x="1454541" y="446539"/>
                  <a:pt x="1455394" y="446122"/>
                </a:cubicBezTo>
                <a:cubicBezTo>
                  <a:pt x="1459151" y="444278"/>
                  <a:pt x="1462902" y="442422"/>
                  <a:pt x="1466653" y="440567"/>
                </a:cubicBezTo>
                <a:cubicBezTo>
                  <a:pt x="1467955" y="439930"/>
                  <a:pt x="1469256" y="439293"/>
                  <a:pt x="1470598" y="438637"/>
                </a:cubicBezTo>
                <a:cubicBezTo>
                  <a:pt x="1471852" y="438016"/>
                  <a:pt x="1473105" y="437393"/>
                  <a:pt x="1474397" y="436752"/>
                </a:cubicBezTo>
                <a:cubicBezTo>
                  <a:pt x="1475550" y="436184"/>
                  <a:pt x="1476703" y="435616"/>
                  <a:pt x="1477892" y="435030"/>
                </a:cubicBezTo>
                <a:cubicBezTo>
                  <a:pt x="1480966" y="433279"/>
                  <a:pt x="1483173" y="431373"/>
                  <a:pt x="1485691" y="429029"/>
                </a:cubicBezTo>
                <a:cubicBezTo>
                  <a:pt x="1486737" y="428575"/>
                  <a:pt x="1487781" y="428121"/>
                  <a:pt x="1488858" y="427653"/>
                </a:cubicBezTo>
                <a:cubicBezTo>
                  <a:pt x="1492438" y="425977"/>
                  <a:pt x="1493705" y="424453"/>
                  <a:pt x="1495943" y="421454"/>
                </a:cubicBezTo>
                <a:cubicBezTo>
                  <a:pt x="1507114" y="407544"/>
                  <a:pt x="1519758" y="393513"/>
                  <a:pt x="1538608" y="388338"/>
                </a:cubicBezTo>
                <a:cubicBezTo>
                  <a:pt x="1541025" y="388250"/>
                  <a:pt x="1541025" y="388250"/>
                  <a:pt x="1543490" y="388161"/>
                </a:cubicBezTo>
                <a:cubicBezTo>
                  <a:pt x="1545535" y="387984"/>
                  <a:pt x="1545535" y="387984"/>
                  <a:pt x="1547621" y="387804"/>
                </a:cubicBezTo>
                <a:cubicBezTo>
                  <a:pt x="1560659" y="387094"/>
                  <a:pt x="1568716" y="390117"/>
                  <a:pt x="1579418" y="396617"/>
                </a:cubicBezTo>
                <a:cubicBezTo>
                  <a:pt x="1581361" y="397687"/>
                  <a:pt x="1581361" y="397687"/>
                  <a:pt x="1583342" y="398780"/>
                </a:cubicBezTo>
                <a:cubicBezTo>
                  <a:pt x="1593703" y="405068"/>
                  <a:pt x="1598513" y="412459"/>
                  <a:pt x="1601288" y="423392"/>
                </a:cubicBezTo>
                <a:cubicBezTo>
                  <a:pt x="1603295" y="436596"/>
                  <a:pt x="1603517" y="449033"/>
                  <a:pt x="1594484" y="460159"/>
                </a:cubicBezTo>
                <a:cubicBezTo>
                  <a:pt x="1588468" y="466462"/>
                  <a:pt x="1582607" y="471150"/>
                  <a:pt x="1574732" y="475533"/>
                </a:cubicBezTo>
                <a:cubicBezTo>
                  <a:pt x="1573862" y="476043"/>
                  <a:pt x="1572993" y="476553"/>
                  <a:pt x="1572097" y="477078"/>
                </a:cubicBezTo>
                <a:cubicBezTo>
                  <a:pt x="1566828" y="478935"/>
                  <a:pt x="1561641" y="478744"/>
                  <a:pt x="1556066" y="478737"/>
                </a:cubicBezTo>
                <a:cubicBezTo>
                  <a:pt x="1553587" y="478765"/>
                  <a:pt x="1551109" y="478795"/>
                  <a:pt x="1548631" y="478825"/>
                </a:cubicBezTo>
                <a:cubicBezTo>
                  <a:pt x="1544751" y="478857"/>
                  <a:pt x="1540871" y="478880"/>
                  <a:pt x="1536991" y="478889"/>
                </a:cubicBezTo>
                <a:cubicBezTo>
                  <a:pt x="1516714" y="478693"/>
                  <a:pt x="1516714" y="478693"/>
                  <a:pt x="1498188" y="485398"/>
                </a:cubicBezTo>
                <a:cubicBezTo>
                  <a:pt x="1496062" y="486488"/>
                  <a:pt x="1496062" y="486488"/>
                  <a:pt x="1493892" y="487600"/>
                </a:cubicBezTo>
                <a:cubicBezTo>
                  <a:pt x="1492733" y="488268"/>
                  <a:pt x="1491573" y="488937"/>
                  <a:pt x="1490377" y="489625"/>
                </a:cubicBezTo>
                <a:cubicBezTo>
                  <a:pt x="1484304" y="493012"/>
                  <a:pt x="1478212" y="495675"/>
                  <a:pt x="1471650" y="498185"/>
                </a:cubicBezTo>
                <a:cubicBezTo>
                  <a:pt x="1467148" y="500054"/>
                  <a:pt x="1463242" y="502632"/>
                  <a:pt x="1459135" y="505127"/>
                </a:cubicBezTo>
                <a:cubicBezTo>
                  <a:pt x="1456968" y="506120"/>
                  <a:pt x="1454786" y="507086"/>
                  <a:pt x="1452594" y="508033"/>
                </a:cubicBezTo>
                <a:cubicBezTo>
                  <a:pt x="1444148" y="511772"/>
                  <a:pt x="1435969" y="515903"/>
                  <a:pt x="1427795" y="520100"/>
                </a:cubicBezTo>
                <a:cubicBezTo>
                  <a:pt x="1425784" y="521114"/>
                  <a:pt x="1425784" y="521114"/>
                  <a:pt x="1423733" y="522148"/>
                </a:cubicBezTo>
                <a:cubicBezTo>
                  <a:pt x="1422478" y="522798"/>
                  <a:pt x="1421223" y="523449"/>
                  <a:pt x="1419929" y="524118"/>
                </a:cubicBezTo>
                <a:cubicBezTo>
                  <a:pt x="1418794" y="524701"/>
                  <a:pt x="1417658" y="525283"/>
                  <a:pt x="1416487" y="525883"/>
                </a:cubicBezTo>
                <a:cubicBezTo>
                  <a:pt x="1413349" y="527646"/>
                  <a:pt x="1413349" y="527646"/>
                  <a:pt x="1412271" y="531902"/>
                </a:cubicBezTo>
                <a:cubicBezTo>
                  <a:pt x="1407205" y="535203"/>
                  <a:pt x="1402819" y="536744"/>
                  <a:pt x="1396650" y="537539"/>
                </a:cubicBezTo>
                <a:cubicBezTo>
                  <a:pt x="1396650" y="538469"/>
                  <a:pt x="1396650" y="539399"/>
                  <a:pt x="1396650" y="540357"/>
                </a:cubicBezTo>
                <a:cubicBezTo>
                  <a:pt x="1395609" y="540735"/>
                  <a:pt x="1394568" y="541113"/>
                  <a:pt x="1393495" y="541502"/>
                </a:cubicBezTo>
                <a:cubicBezTo>
                  <a:pt x="1381840" y="545973"/>
                  <a:pt x="1372279" y="551715"/>
                  <a:pt x="1362284" y="558678"/>
                </a:cubicBezTo>
                <a:cubicBezTo>
                  <a:pt x="1360170" y="560088"/>
                  <a:pt x="1358055" y="561497"/>
                  <a:pt x="1355937" y="562905"/>
                </a:cubicBezTo>
                <a:cubicBezTo>
                  <a:pt x="1348556" y="567937"/>
                  <a:pt x="1341292" y="573085"/>
                  <a:pt x="1334165" y="578406"/>
                </a:cubicBezTo>
                <a:cubicBezTo>
                  <a:pt x="1332697" y="579472"/>
                  <a:pt x="1332697" y="579472"/>
                  <a:pt x="1331200" y="580559"/>
                </a:cubicBezTo>
                <a:cubicBezTo>
                  <a:pt x="1325067" y="585430"/>
                  <a:pt x="1323406" y="589771"/>
                  <a:pt x="1322175" y="596793"/>
                </a:cubicBezTo>
                <a:cubicBezTo>
                  <a:pt x="1321669" y="599545"/>
                  <a:pt x="1321669" y="599545"/>
                  <a:pt x="1320106" y="602363"/>
                </a:cubicBezTo>
                <a:cubicBezTo>
                  <a:pt x="1318419" y="618189"/>
                  <a:pt x="1322416" y="632767"/>
                  <a:pt x="1328015" y="647640"/>
                </a:cubicBezTo>
                <a:cubicBezTo>
                  <a:pt x="1331267" y="656625"/>
                  <a:pt x="1333170" y="666179"/>
                  <a:pt x="1332604" y="675643"/>
                </a:cubicBezTo>
                <a:cubicBezTo>
                  <a:pt x="1333634" y="675643"/>
                  <a:pt x="1334665" y="675643"/>
                  <a:pt x="1335727" y="675643"/>
                </a:cubicBezTo>
                <a:cubicBezTo>
                  <a:pt x="1337571" y="680632"/>
                  <a:pt x="1337591" y="684795"/>
                  <a:pt x="1337741" y="690059"/>
                </a:cubicBezTo>
                <a:cubicBezTo>
                  <a:pt x="1337826" y="692114"/>
                  <a:pt x="1337913" y="694168"/>
                  <a:pt x="1338003" y="696222"/>
                </a:cubicBezTo>
                <a:cubicBezTo>
                  <a:pt x="1338142" y="699444"/>
                  <a:pt x="1338266" y="702664"/>
                  <a:pt x="1338340" y="705887"/>
                </a:cubicBezTo>
                <a:cubicBezTo>
                  <a:pt x="1338372" y="720474"/>
                  <a:pt x="1338372" y="720474"/>
                  <a:pt x="1345277" y="733245"/>
                </a:cubicBezTo>
                <a:cubicBezTo>
                  <a:pt x="1350822" y="737861"/>
                  <a:pt x="1355921" y="739823"/>
                  <a:pt x="1363162" y="741612"/>
                </a:cubicBezTo>
                <a:cubicBezTo>
                  <a:pt x="1370672" y="743533"/>
                  <a:pt x="1377197" y="745750"/>
                  <a:pt x="1384154" y="748922"/>
                </a:cubicBezTo>
                <a:cubicBezTo>
                  <a:pt x="1387833" y="749898"/>
                  <a:pt x="1387833" y="749898"/>
                  <a:pt x="1391476" y="750419"/>
                </a:cubicBezTo>
                <a:cubicBezTo>
                  <a:pt x="1393499" y="750747"/>
                  <a:pt x="1393499" y="750747"/>
                  <a:pt x="1395564" y="751080"/>
                </a:cubicBezTo>
                <a:cubicBezTo>
                  <a:pt x="1397648" y="751407"/>
                  <a:pt x="1397648" y="751407"/>
                  <a:pt x="1399775" y="751740"/>
                </a:cubicBezTo>
                <a:cubicBezTo>
                  <a:pt x="1401810" y="752111"/>
                  <a:pt x="1401810" y="752111"/>
                  <a:pt x="1403887" y="752489"/>
                </a:cubicBezTo>
                <a:cubicBezTo>
                  <a:pt x="1424247" y="756131"/>
                  <a:pt x="1444708" y="756350"/>
                  <a:pt x="1465383" y="755969"/>
                </a:cubicBezTo>
                <a:cubicBezTo>
                  <a:pt x="1467019" y="755945"/>
                  <a:pt x="1468654" y="755921"/>
                  <a:pt x="1470339" y="755897"/>
                </a:cubicBezTo>
                <a:cubicBezTo>
                  <a:pt x="1480128" y="755450"/>
                  <a:pt x="1487899" y="752933"/>
                  <a:pt x="1496809" y="749313"/>
                </a:cubicBezTo>
                <a:cubicBezTo>
                  <a:pt x="1502876" y="746888"/>
                  <a:pt x="1509049" y="745091"/>
                  <a:pt x="1515371" y="743285"/>
                </a:cubicBezTo>
                <a:cubicBezTo>
                  <a:pt x="1515371" y="742356"/>
                  <a:pt x="1515371" y="741425"/>
                  <a:pt x="1515371" y="740467"/>
                </a:cubicBezTo>
                <a:cubicBezTo>
                  <a:pt x="1522710" y="737103"/>
                  <a:pt x="1529583" y="737106"/>
                  <a:pt x="1537632" y="737120"/>
                </a:cubicBezTo>
                <a:cubicBezTo>
                  <a:pt x="1538960" y="737122"/>
                  <a:pt x="1540289" y="737124"/>
                  <a:pt x="1541657" y="737127"/>
                </a:cubicBezTo>
                <a:cubicBezTo>
                  <a:pt x="1555502" y="737372"/>
                  <a:pt x="1564314" y="740697"/>
                  <a:pt x="1574732" y="748922"/>
                </a:cubicBezTo>
                <a:cubicBezTo>
                  <a:pt x="1586507" y="762822"/>
                  <a:pt x="1590347" y="775219"/>
                  <a:pt x="1588791" y="792608"/>
                </a:cubicBezTo>
                <a:cubicBezTo>
                  <a:pt x="1587728" y="797050"/>
                  <a:pt x="1586468" y="801261"/>
                  <a:pt x="1584105" y="805291"/>
                </a:cubicBezTo>
                <a:cubicBezTo>
                  <a:pt x="1583074" y="805756"/>
                  <a:pt x="1582043" y="806221"/>
                  <a:pt x="1580981" y="806700"/>
                </a:cubicBezTo>
                <a:cubicBezTo>
                  <a:pt x="1580240" y="807892"/>
                  <a:pt x="1579499" y="809083"/>
                  <a:pt x="1578735" y="810311"/>
                </a:cubicBezTo>
                <a:cubicBezTo>
                  <a:pt x="1577930" y="811445"/>
                  <a:pt x="1577124" y="812579"/>
                  <a:pt x="1576295" y="813746"/>
                </a:cubicBezTo>
                <a:lnTo>
                  <a:pt x="1571652" y="813746"/>
                </a:lnTo>
                <a:lnTo>
                  <a:pt x="1571785" y="814106"/>
                </a:lnTo>
                <a:cubicBezTo>
                  <a:pt x="1572816" y="814571"/>
                  <a:pt x="1573846" y="815036"/>
                  <a:pt x="1574909" y="815515"/>
                </a:cubicBezTo>
                <a:cubicBezTo>
                  <a:pt x="1572126" y="818758"/>
                  <a:pt x="1569968" y="820871"/>
                  <a:pt x="1565463" y="821839"/>
                </a:cubicBezTo>
                <a:lnTo>
                  <a:pt x="1562085" y="822101"/>
                </a:lnTo>
                <a:lnTo>
                  <a:pt x="1551301" y="825020"/>
                </a:lnTo>
                <a:cubicBezTo>
                  <a:pt x="1551301" y="825950"/>
                  <a:pt x="1551301" y="826880"/>
                  <a:pt x="1551301" y="827838"/>
                </a:cubicBezTo>
                <a:cubicBezTo>
                  <a:pt x="1526697" y="828735"/>
                  <a:pt x="1507496" y="825036"/>
                  <a:pt x="1485380" y="815007"/>
                </a:cubicBezTo>
                <a:cubicBezTo>
                  <a:pt x="1468723" y="807743"/>
                  <a:pt x="1449749" y="809144"/>
                  <a:pt x="1431603" y="808726"/>
                </a:cubicBezTo>
                <a:cubicBezTo>
                  <a:pt x="1429115" y="808665"/>
                  <a:pt x="1426627" y="808604"/>
                  <a:pt x="1424140" y="808542"/>
                </a:cubicBezTo>
                <a:cubicBezTo>
                  <a:pt x="1418101" y="808392"/>
                  <a:pt x="1412062" y="808249"/>
                  <a:pt x="1406023" y="808109"/>
                </a:cubicBezTo>
                <a:cubicBezTo>
                  <a:pt x="1406023" y="809040"/>
                  <a:pt x="1406023" y="809970"/>
                  <a:pt x="1406023" y="810928"/>
                </a:cubicBezTo>
                <a:cubicBezTo>
                  <a:pt x="1404716" y="811118"/>
                  <a:pt x="1404716" y="811118"/>
                  <a:pt x="1403383" y="811311"/>
                </a:cubicBezTo>
                <a:cubicBezTo>
                  <a:pt x="1372054" y="815110"/>
                  <a:pt x="1372054" y="815110"/>
                  <a:pt x="1345442" y="828907"/>
                </a:cubicBezTo>
                <a:cubicBezTo>
                  <a:pt x="1338843" y="837605"/>
                  <a:pt x="1338313" y="846434"/>
                  <a:pt x="1337875" y="856639"/>
                </a:cubicBezTo>
                <a:cubicBezTo>
                  <a:pt x="1337815" y="857805"/>
                  <a:pt x="1337754" y="858970"/>
                  <a:pt x="1337692" y="860171"/>
                </a:cubicBezTo>
                <a:cubicBezTo>
                  <a:pt x="1337547" y="863016"/>
                  <a:pt x="1337417" y="865861"/>
                  <a:pt x="1337290" y="868706"/>
                </a:cubicBezTo>
                <a:cubicBezTo>
                  <a:pt x="1336258" y="868706"/>
                  <a:pt x="1335228" y="868706"/>
                  <a:pt x="1334165" y="868706"/>
                </a:cubicBezTo>
                <a:lnTo>
                  <a:pt x="1334165" y="870034"/>
                </a:lnTo>
                <a:lnTo>
                  <a:pt x="1334237" y="869093"/>
                </a:lnTo>
                <a:cubicBezTo>
                  <a:pt x="1334753" y="869093"/>
                  <a:pt x="1335268" y="869093"/>
                  <a:pt x="1335800" y="869093"/>
                </a:cubicBezTo>
                <a:cubicBezTo>
                  <a:pt x="1335884" y="871559"/>
                  <a:pt x="1335944" y="874025"/>
                  <a:pt x="1335995" y="876491"/>
                </a:cubicBezTo>
                <a:cubicBezTo>
                  <a:pt x="1336030" y="877865"/>
                  <a:pt x="1336067" y="879238"/>
                  <a:pt x="1336105" y="880653"/>
                </a:cubicBezTo>
                <a:cubicBezTo>
                  <a:pt x="1335800" y="884594"/>
                  <a:pt x="1335800" y="884594"/>
                  <a:pt x="1334294" y="887271"/>
                </a:cubicBezTo>
                <a:cubicBezTo>
                  <a:pt x="1332567" y="890428"/>
                  <a:pt x="1331982" y="892964"/>
                  <a:pt x="1331455" y="896440"/>
                </a:cubicBezTo>
                <a:cubicBezTo>
                  <a:pt x="1331267" y="897605"/>
                  <a:pt x="1331080" y="898769"/>
                  <a:pt x="1330887" y="899969"/>
                </a:cubicBezTo>
                <a:cubicBezTo>
                  <a:pt x="1330704" y="901174"/>
                  <a:pt x="1330521" y="902378"/>
                  <a:pt x="1330332" y="903618"/>
                </a:cubicBezTo>
                <a:cubicBezTo>
                  <a:pt x="1329968" y="906013"/>
                  <a:pt x="1329594" y="908405"/>
                  <a:pt x="1329209" y="910797"/>
                </a:cubicBezTo>
                <a:cubicBezTo>
                  <a:pt x="1329049" y="911853"/>
                  <a:pt x="1328889" y="912910"/>
                  <a:pt x="1328724" y="913998"/>
                </a:cubicBezTo>
                <a:cubicBezTo>
                  <a:pt x="1327933" y="917233"/>
                  <a:pt x="1326525" y="919703"/>
                  <a:pt x="1324865" y="922643"/>
                </a:cubicBezTo>
                <a:cubicBezTo>
                  <a:pt x="1323924" y="927743"/>
                  <a:pt x="1323282" y="932845"/>
                  <a:pt x="1322619" y="937979"/>
                </a:cubicBezTo>
                <a:lnTo>
                  <a:pt x="1318744" y="944961"/>
                </a:lnTo>
                <a:lnTo>
                  <a:pt x="1318544" y="946213"/>
                </a:lnTo>
                <a:cubicBezTo>
                  <a:pt x="1318360" y="949234"/>
                  <a:pt x="1318271" y="952260"/>
                  <a:pt x="1318251" y="955285"/>
                </a:cubicBezTo>
                <a:cubicBezTo>
                  <a:pt x="1318218" y="957637"/>
                  <a:pt x="1318218" y="957637"/>
                  <a:pt x="1318184" y="960036"/>
                </a:cubicBezTo>
                <a:cubicBezTo>
                  <a:pt x="1318624" y="965530"/>
                  <a:pt x="1319569" y="969724"/>
                  <a:pt x="1324024" y="973660"/>
                </a:cubicBezTo>
                <a:cubicBezTo>
                  <a:pt x="1327197" y="976583"/>
                  <a:pt x="1327950" y="979494"/>
                  <a:pt x="1329284" y="983382"/>
                </a:cubicBezTo>
                <a:cubicBezTo>
                  <a:pt x="1331875" y="990106"/>
                  <a:pt x="1334445" y="993582"/>
                  <a:pt x="1340414" y="998354"/>
                </a:cubicBezTo>
                <a:cubicBezTo>
                  <a:pt x="1342397" y="1000564"/>
                  <a:pt x="1344347" y="1002798"/>
                  <a:pt x="1346272" y="1005048"/>
                </a:cubicBezTo>
                <a:cubicBezTo>
                  <a:pt x="1360055" y="1020713"/>
                  <a:pt x="1376247" y="1031879"/>
                  <a:pt x="1394716" y="1042740"/>
                </a:cubicBezTo>
                <a:cubicBezTo>
                  <a:pt x="1397172" y="1044228"/>
                  <a:pt x="1399581" y="1045779"/>
                  <a:pt x="1401953" y="1047374"/>
                </a:cubicBezTo>
                <a:cubicBezTo>
                  <a:pt x="1410065" y="1052802"/>
                  <a:pt x="1417529" y="1056366"/>
                  <a:pt x="1427197" y="1059061"/>
                </a:cubicBezTo>
                <a:cubicBezTo>
                  <a:pt x="1431243" y="1060437"/>
                  <a:pt x="1434061" y="1061979"/>
                  <a:pt x="1437265" y="1064588"/>
                </a:cubicBezTo>
                <a:cubicBezTo>
                  <a:pt x="1437265" y="1065518"/>
                  <a:pt x="1437265" y="1066448"/>
                  <a:pt x="1437265" y="1067406"/>
                </a:cubicBezTo>
                <a:cubicBezTo>
                  <a:pt x="1439053" y="1067624"/>
                  <a:pt x="1439053" y="1067624"/>
                  <a:pt x="1440878" y="1067847"/>
                </a:cubicBezTo>
                <a:cubicBezTo>
                  <a:pt x="1445076" y="1068815"/>
                  <a:pt x="1445076" y="1068815"/>
                  <a:pt x="1447175" y="1070753"/>
                </a:cubicBezTo>
                <a:cubicBezTo>
                  <a:pt x="1450417" y="1073622"/>
                  <a:pt x="1453781" y="1075060"/>
                  <a:pt x="1457866" y="1076830"/>
                </a:cubicBezTo>
                <a:cubicBezTo>
                  <a:pt x="1459274" y="1077446"/>
                  <a:pt x="1460681" y="1078062"/>
                  <a:pt x="1462132" y="1078696"/>
                </a:cubicBezTo>
                <a:cubicBezTo>
                  <a:pt x="1463204" y="1079156"/>
                  <a:pt x="1464278" y="1079616"/>
                  <a:pt x="1465383" y="1080089"/>
                </a:cubicBezTo>
                <a:cubicBezTo>
                  <a:pt x="1465383" y="1081019"/>
                  <a:pt x="1465383" y="1081949"/>
                  <a:pt x="1465383" y="1082908"/>
                </a:cubicBezTo>
                <a:cubicBezTo>
                  <a:pt x="1466497" y="1083260"/>
                  <a:pt x="1467611" y="1083612"/>
                  <a:pt x="1468758" y="1083975"/>
                </a:cubicBezTo>
                <a:cubicBezTo>
                  <a:pt x="1473648" y="1085905"/>
                  <a:pt x="1477426" y="1088296"/>
                  <a:pt x="1481688" y="1091187"/>
                </a:cubicBezTo>
                <a:cubicBezTo>
                  <a:pt x="1483204" y="1092193"/>
                  <a:pt x="1484721" y="1093200"/>
                  <a:pt x="1486283" y="1094236"/>
                </a:cubicBezTo>
                <a:cubicBezTo>
                  <a:pt x="1489170" y="1096185"/>
                  <a:pt x="1492029" y="1098166"/>
                  <a:pt x="1494869" y="1100171"/>
                </a:cubicBezTo>
                <a:cubicBezTo>
                  <a:pt x="1510181" y="1107906"/>
                  <a:pt x="1527080" y="1109898"/>
                  <a:pt x="1544335" y="1109518"/>
                </a:cubicBezTo>
                <a:cubicBezTo>
                  <a:pt x="1579932" y="1108798"/>
                  <a:pt x="1579932" y="1108798"/>
                  <a:pt x="1593477" y="1119900"/>
                </a:cubicBezTo>
                <a:cubicBezTo>
                  <a:pt x="1600636" y="1127255"/>
                  <a:pt x="1604889" y="1135120"/>
                  <a:pt x="1605975" y="1144913"/>
                </a:cubicBezTo>
                <a:cubicBezTo>
                  <a:pt x="1607006" y="1144913"/>
                  <a:pt x="1608036" y="1144913"/>
                  <a:pt x="1609099" y="1144913"/>
                </a:cubicBezTo>
                <a:cubicBezTo>
                  <a:pt x="1609227" y="1148907"/>
                  <a:pt x="1609319" y="1152897"/>
                  <a:pt x="1609392" y="1156892"/>
                </a:cubicBezTo>
                <a:cubicBezTo>
                  <a:pt x="1609451" y="1158565"/>
                  <a:pt x="1609451" y="1158565"/>
                  <a:pt x="1609511" y="1160272"/>
                </a:cubicBezTo>
                <a:cubicBezTo>
                  <a:pt x="1609621" y="1168378"/>
                  <a:pt x="1607970" y="1174108"/>
                  <a:pt x="1604412" y="1181553"/>
                </a:cubicBezTo>
                <a:cubicBezTo>
                  <a:pt x="1603354" y="1184367"/>
                  <a:pt x="1602306" y="1187183"/>
                  <a:pt x="1601288" y="1190009"/>
                </a:cubicBezTo>
                <a:cubicBezTo>
                  <a:pt x="1600257" y="1190009"/>
                  <a:pt x="1599226" y="1190009"/>
                  <a:pt x="1598164" y="1190009"/>
                </a:cubicBezTo>
                <a:cubicBezTo>
                  <a:pt x="1597842" y="1190910"/>
                  <a:pt x="1597520" y="1191810"/>
                  <a:pt x="1597187" y="1192739"/>
                </a:cubicBezTo>
                <a:cubicBezTo>
                  <a:pt x="1596479" y="1193698"/>
                  <a:pt x="1595770" y="1194657"/>
                  <a:pt x="1595040" y="1195645"/>
                </a:cubicBezTo>
                <a:cubicBezTo>
                  <a:pt x="1591916" y="1196115"/>
                  <a:pt x="1588791" y="1196585"/>
                  <a:pt x="1585667" y="1197055"/>
                </a:cubicBezTo>
                <a:cubicBezTo>
                  <a:pt x="1583871" y="1199826"/>
                  <a:pt x="1583871" y="1199826"/>
                  <a:pt x="1582543" y="1202691"/>
                </a:cubicBezTo>
                <a:cubicBezTo>
                  <a:pt x="1575997" y="1204710"/>
                  <a:pt x="1569266" y="1204360"/>
                  <a:pt x="1562431" y="1204365"/>
                </a:cubicBezTo>
                <a:cubicBezTo>
                  <a:pt x="1561196" y="1204382"/>
                  <a:pt x="1559962" y="1204399"/>
                  <a:pt x="1558690" y="1204417"/>
                </a:cubicBezTo>
                <a:cubicBezTo>
                  <a:pt x="1543339" y="1204452"/>
                  <a:pt x="1531981" y="1199267"/>
                  <a:pt x="1521102" y="1189585"/>
                </a:cubicBezTo>
                <a:cubicBezTo>
                  <a:pt x="1515403" y="1183953"/>
                  <a:pt x="1510116" y="1178123"/>
                  <a:pt x="1505022" y="1172041"/>
                </a:cubicBezTo>
                <a:cubicBezTo>
                  <a:pt x="1493200" y="1158177"/>
                  <a:pt x="1475492" y="1147115"/>
                  <a:pt x="1457573" y="1140686"/>
                </a:cubicBezTo>
                <a:cubicBezTo>
                  <a:pt x="1457573" y="1139755"/>
                  <a:pt x="1457573" y="1138826"/>
                  <a:pt x="1457573" y="1137867"/>
                </a:cubicBezTo>
                <a:cubicBezTo>
                  <a:pt x="1456059" y="1137693"/>
                  <a:pt x="1454544" y="1137518"/>
                  <a:pt x="1452985" y="1137339"/>
                </a:cubicBezTo>
                <a:cubicBezTo>
                  <a:pt x="1451406" y="1137048"/>
                  <a:pt x="1449827" y="1136758"/>
                  <a:pt x="1448200" y="1136458"/>
                </a:cubicBezTo>
                <a:cubicBezTo>
                  <a:pt x="1447685" y="1135528"/>
                  <a:pt x="1447169" y="1134598"/>
                  <a:pt x="1446638" y="1133640"/>
                </a:cubicBezTo>
                <a:cubicBezTo>
                  <a:pt x="1444091" y="1132586"/>
                  <a:pt x="1441535" y="1131550"/>
                  <a:pt x="1438937" y="1130601"/>
                </a:cubicBezTo>
                <a:cubicBezTo>
                  <a:pt x="1435668" y="1129399"/>
                  <a:pt x="1432469" y="1128095"/>
                  <a:pt x="1429260" y="1126770"/>
                </a:cubicBezTo>
                <a:cubicBezTo>
                  <a:pt x="1423389" y="1124389"/>
                  <a:pt x="1417431" y="1122349"/>
                  <a:pt x="1411393" y="1120340"/>
                </a:cubicBezTo>
                <a:cubicBezTo>
                  <a:pt x="1404143" y="1117867"/>
                  <a:pt x="1397842" y="1115090"/>
                  <a:pt x="1391427" y="1111191"/>
                </a:cubicBezTo>
                <a:cubicBezTo>
                  <a:pt x="1388139" y="1109274"/>
                  <a:pt x="1384723" y="1108010"/>
                  <a:pt x="1381029" y="1106865"/>
                </a:cubicBezTo>
                <a:cubicBezTo>
                  <a:pt x="1381029" y="1105934"/>
                  <a:pt x="1381029" y="1105004"/>
                  <a:pt x="1381029" y="1104046"/>
                </a:cubicBezTo>
                <a:cubicBezTo>
                  <a:pt x="1379773" y="1103901"/>
                  <a:pt x="1378516" y="1103755"/>
                  <a:pt x="1377221" y="1103605"/>
                </a:cubicBezTo>
                <a:cubicBezTo>
                  <a:pt x="1370425" y="1102422"/>
                  <a:pt x="1364120" y="1100465"/>
                  <a:pt x="1357597" y="1098409"/>
                </a:cubicBezTo>
                <a:cubicBezTo>
                  <a:pt x="1355761" y="1097857"/>
                  <a:pt x="1353924" y="1097304"/>
                  <a:pt x="1352032" y="1096736"/>
                </a:cubicBezTo>
                <a:cubicBezTo>
                  <a:pt x="1350776" y="1096358"/>
                  <a:pt x="1349519" y="1095980"/>
                  <a:pt x="1348225" y="1095590"/>
                </a:cubicBezTo>
                <a:cubicBezTo>
                  <a:pt x="1348225" y="1094661"/>
                  <a:pt x="1348225" y="1093730"/>
                  <a:pt x="1348225" y="1092772"/>
                </a:cubicBezTo>
                <a:cubicBezTo>
                  <a:pt x="1344616" y="1092307"/>
                  <a:pt x="1341007" y="1091842"/>
                  <a:pt x="1337290" y="1091363"/>
                </a:cubicBezTo>
                <a:cubicBezTo>
                  <a:pt x="1337290" y="1090433"/>
                  <a:pt x="1337290" y="1089503"/>
                  <a:pt x="1337290" y="1088544"/>
                </a:cubicBezTo>
                <a:cubicBezTo>
                  <a:pt x="1334438" y="1088327"/>
                  <a:pt x="1334438" y="1088327"/>
                  <a:pt x="1331529" y="1088104"/>
                </a:cubicBezTo>
                <a:lnTo>
                  <a:pt x="1323297" y="1086611"/>
                </a:lnTo>
                <a:lnTo>
                  <a:pt x="1323297" y="1087618"/>
                </a:lnTo>
                <a:cubicBezTo>
                  <a:pt x="1322139" y="1087517"/>
                  <a:pt x="1320982" y="1087415"/>
                  <a:pt x="1319789" y="1087310"/>
                </a:cubicBezTo>
                <a:cubicBezTo>
                  <a:pt x="1300429" y="1085771"/>
                  <a:pt x="1281330" y="1084680"/>
                  <a:pt x="1262375" y="1089028"/>
                </a:cubicBezTo>
                <a:lnTo>
                  <a:pt x="1258728" y="1088205"/>
                </a:lnTo>
                <a:lnTo>
                  <a:pt x="1246964" y="1091489"/>
                </a:lnTo>
                <a:cubicBezTo>
                  <a:pt x="1237239" y="1097222"/>
                  <a:pt x="1228703" y="1103434"/>
                  <a:pt x="1223224" y="1112865"/>
                </a:cubicBezTo>
                <a:cubicBezTo>
                  <a:pt x="1220867" y="1116643"/>
                  <a:pt x="1217262" y="1119317"/>
                  <a:pt x="1213883" y="1122366"/>
                </a:cubicBezTo>
                <a:cubicBezTo>
                  <a:pt x="1213428" y="1123469"/>
                  <a:pt x="1212973" y="1124572"/>
                  <a:pt x="1212505" y="1125708"/>
                </a:cubicBezTo>
                <a:cubicBezTo>
                  <a:pt x="1210449" y="1130067"/>
                  <a:pt x="1207984" y="1132315"/>
                  <a:pt x="1204180" y="1135561"/>
                </a:cubicBezTo>
                <a:cubicBezTo>
                  <a:pt x="1202879" y="1136695"/>
                  <a:pt x="1201578" y="1137829"/>
                  <a:pt x="1200238" y="1138999"/>
                </a:cubicBezTo>
                <a:cubicBezTo>
                  <a:pt x="1197504" y="1141343"/>
                  <a:pt x="1194765" y="1143684"/>
                  <a:pt x="1192025" y="1146022"/>
                </a:cubicBezTo>
                <a:cubicBezTo>
                  <a:pt x="1181899" y="1154869"/>
                  <a:pt x="1174983" y="1161763"/>
                  <a:pt x="1173945" y="1174749"/>
                </a:cubicBezTo>
                <a:cubicBezTo>
                  <a:pt x="1173902" y="1177369"/>
                  <a:pt x="1173905" y="1179990"/>
                  <a:pt x="1173950" y="1182610"/>
                </a:cubicBezTo>
                <a:cubicBezTo>
                  <a:pt x="1173963" y="1183981"/>
                  <a:pt x="1173975" y="1185352"/>
                  <a:pt x="1173989" y="1186765"/>
                </a:cubicBezTo>
                <a:cubicBezTo>
                  <a:pt x="1174321" y="1197573"/>
                  <a:pt x="1176809" y="1205883"/>
                  <a:pt x="1182640" y="1215374"/>
                </a:cubicBezTo>
                <a:cubicBezTo>
                  <a:pt x="1183703" y="1217509"/>
                  <a:pt x="1184746" y="1219652"/>
                  <a:pt x="1185764" y="1221804"/>
                </a:cubicBezTo>
                <a:cubicBezTo>
                  <a:pt x="1186271" y="1222812"/>
                  <a:pt x="1186779" y="1223821"/>
                  <a:pt x="1187301" y="1224859"/>
                </a:cubicBezTo>
                <a:cubicBezTo>
                  <a:pt x="1188431" y="1227137"/>
                  <a:pt x="1189517" y="1229433"/>
                  <a:pt x="1190573" y="1231740"/>
                </a:cubicBezTo>
                <a:cubicBezTo>
                  <a:pt x="1194650" y="1240409"/>
                  <a:pt x="1199581" y="1247688"/>
                  <a:pt x="1205925" y="1255163"/>
                </a:cubicBezTo>
                <a:cubicBezTo>
                  <a:pt x="1208103" y="1257757"/>
                  <a:pt x="1210188" y="1260417"/>
                  <a:pt x="1212174" y="1263134"/>
                </a:cubicBezTo>
                <a:cubicBezTo>
                  <a:pt x="1218757" y="1272043"/>
                  <a:pt x="1225157" y="1277324"/>
                  <a:pt x="1235556" y="1282538"/>
                </a:cubicBezTo>
                <a:cubicBezTo>
                  <a:pt x="1236652" y="1283161"/>
                  <a:pt x="1237747" y="1283784"/>
                  <a:pt x="1238876" y="1284426"/>
                </a:cubicBezTo>
                <a:cubicBezTo>
                  <a:pt x="1238876" y="1285356"/>
                  <a:pt x="1238876" y="1286287"/>
                  <a:pt x="1238876" y="1287245"/>
                </a:cubicBezTo>
                <a:cubicBezTo>
                  <a:pt x="1239988" y="1287383"/>
                  <a:pt x="1241099" y="1287521"/>
                  <a:pt x="1242245" y="1287663"/>
                </a:cubicBezTo>
                <a:cubicBezTo>
                  <a:pt x="1253043" y="1290072"/>
                  <a:pt x="1264916" y="1297690"/>
                  <a:pt x="1271681" y="1305565"/>
                </a:cubicBezTo>
                <a:lnTo>
                  <a:pt x="1271742" y="1306172"/>
                </a:lnTo>
                <a:lnTo>
                  <a:pt x="1278525" y="1315767"/>
                </a:lnTo>
                <a:cubicBezTo>
                  <a:pt x="1279797" y="1319398"/>
                  <a:pt x="1280365" y="1323346"/>
                  <a:pt x="1281097" y="1327286"/>
                </a:cubicBezTo>
                <a:cubicBezTo>
                  <a:pt x="1281916" y="1337121"/>
                  <a:pt x="1281807" y="1346176"/>
                  <a:pt x="1277973" y="1355470"/>
                </a:cubicBezTo>
                <a:lnTo>
                  <a:pt x="1277460" y="1347025"/>
                </a:lnTo>
                <a:lnTo>
                  <a:pt x="1273531" y="1357991"/>
                </a:lnTo>
                <a:cubicBezTo>
                  <a:pt x="1270940" y="1361892"/>
                  <a:pt x="1267521" y="1365435"/>
                  <a:pt x="1263870" y="1368980"/>
                </a:cubicBezTo>
                <a:cubicBezTo>
                  <a:pt x="1258351" y="1372929"/>
                  <a:pt x="1253850" y="1376026"/>
                  <a:pt x="1246686" y="1376026"/>
                </a:cubicBezTo>
                <a:cubicBezTo>
                  <a:pt x="1246686" y="1376956"/>
                  <a:pt x="1246686" y="1377886"/>
                  <a:pt x="1246686" y="1378844"/>
                </a:cubicBezTo>
                <a:cubicBezTo>
                  <a:pt x="1241676" y="1379009"/>
                  <a:pt x="1236665" y="1379109"/>
                  <a:pt x="1231651" y="1379196"/>
                </a:cubicBezTo>
                <a:cubicBezTo>
                  <a:pt x="1230240" y="1379244"/>
                  <a:pt x="1228828" y="1379291"/>
                  <a:pt x="1227373" y="1379340"/>
                </a:cubicBezTo>
                <a:cubicBezTo>
                  <a:pt x="1218287" y="1379460"/>
                  <a:pt x="1213363" y="1378568"/>
                  <a:pt x="1206071" y="1373207"/>
                </a:cubicBezTo>
                <a:cubicBezTo>
                  <a:pt x="1204751" y="1372742"/>
                  <a:pt x="1203430" y="1372277"/>
                  <a:pt x="1202069" y="1371798"/>
                </a:cubicBezTo>
                <a:cubicBezTo>
                  <a:pt x="1193777" y="1368730"/>
                  <a:pt x="1188124" y="1363294"/>
                  <a:pt x="1184104" y="1356176"/>
                </a:cubicBezTo>
                <a:cubicBezTo>
                  <a:pt x="1180965" y="1349259"/>
                  <a:pt x="1178852" y="1342590"/>
                  <a:pt x="1177270" y="1335247"/>
                </a:cubicBezTo>
                <a:cubicBezTo>
                  <a:pt x="1175525" y="1327352"/>
                  <a:pt x="1172911" y="1320677"/>
                  <a:pt x="1169002" y="1313464"/>
                </a:cubicBezTo>
                <a:cubicBezTo>
                  <a:pt x="1166989" y="1309737"/>
                  <a:pt x="1165215" y="1305976"/>
                  <a:pt x="1163504" y="1302130"/>
                </a:cubicBezTo>
                <a:cubicBezTo>
                  <a:pt x="1163013" y="1301027"/>
                  <a:pt x="1162521" y="1299924"/>
                  <a:pt x="1162015" y="1298788"/>
                </a:cubicBezTo>
                <a:cubicBezTo>
                  <a:pt x="1160770" y="1295700"/>
                  <a:pt x="1160770" y="1295700"/>
                  <a:pt x="1160111" y="1292656"/>
                </a:cubicBezTo>
                <a:cubicBezTo>
                  <a:pt x="1159345" y="1289507"/>
                  <a:pt x="1159345" y="1289507"/>
                  <a:pt x="1154522" y="1287245"/>
                </a:cubicBezTo>
                <a:cubicBezTo>
                  <a:pt x="1153465" y="1284902"/>
                  <a:pt x="1152426" y="1282552"/>
                  <a:pt x="1151398" y="1280199"/>
                </a:cubicBezTo>
                <a:cubicBezTo>
                  <a:pt x="1149056" y="1276983"/>
                  <a:pt x="1146686" y="1273874"/>
                  <a:pt x="1144173" y="1270774"/>
                </a:cubicBezTo>
                <a:cubicBezTo>
                  <a:pt x="1143477" y="1269912"/>
                  <a:pt x="1142782" y="1269049"/>
                  <a:pt x="1142065" y="1268160"/>
                </a:cubicBezTo>
                <a:cubicBezTo>
                  <a:pt x="1139981" y="1265589"/>
                  <a:pt x="1137880" y="1263029"/>
                  <a:pt x="1135776" y="1260470"/>
                </a:cubicBezTo>
                <a:cubicBezTo>
                  <a:pt x="1134647" y="1259076"/>
                  <a:pt x="1133517" y="1257683"/>
                  <a:pt x="1132353" y="1256247"/>
                </a:cubicBezTo>
                <a:cubicBezTo>
                  <a:pt x="1126291" y="1249045"/>
                  <a:pt x="1121408" y="1244606"/>
                  <a:pt x="1112344" y="1240741"/>
                </a:cubicBezTo>
                <a:cubicBezTo>
                  <a:pt x="1110285" y="1239698"/>
                  <a:pt x="1108234" y="1238642"/>
                  <a:pt x="1106193" y="1237570"/>
                </a:cubicBezTo>
                <a:cubicBezTo>
                  <a:pt x="1104615" y="1236756"/>
                  <a:pt x="1103036" y="1235942"/>
                  <a:pt x="1101409" y="1235104"/>
                </a:cubicBezTo>
                <a:cubicBezTo>
                  <a:pt x="1101409" y="1233708"/>
                  <a:pt x="1101409" y="1232313"/>
                  <a:pt x="1101409" y="1230876"/>
                </a:cubicBezTo>
                <a:cubicBezTo>
                  <a:pt x="1089553" y="1230876"/>
                  <a:pt x="1077697" y="1230876"/>
                  <a:pt x="1065480" y="1230876"/>
                </a:cubicBezTo>
                <a:cubicBezTo>
                  <a:pt x="1064965" y="1232271"/>
                  <a:pt x="1064450" y="1233666"/>
                  <a:pt x="1063919" y="1235104"/>
                </a:cubicBezTo>
                <a:cubicBezTo>
                  <a:pt x="1062372" y="1235104"/>
                  <a:pt x="1060826" y="1235104"/>
                  <a:pt x="1059232" y="1235104"/>
                </a:cubicBezTo>
                <a:cubicBezTo>
                  <a:pt x="1059232" y="1236033"/>
                  <a:pt x="1059232" y="1236964"/>
                  <a:pt x="1059232" y="1237922"/>
                </a:cubicBezTo>
                <a:cubicBezTo>
                  <a:pt x="1052964" y="1240850"/>
                  <a:pt x="1046842" y="1243613"/>
                  <a:pt x="1040194" y="1245761"/>
                </a:cubicBezTo>
                <a:cubicBezTo>
                  <a:pt x="1036552" y="1246941"/>
                  <a:pt x="1033682" y="1248088"/>
                  <a:pt x="1030333" y="1249901"/>
                </a:cubicBezTo>
                <a:cubicBezTo>
                  <a:pt x="1025129" y="1252717"/>
                  <a:pt x="1019615" y="1254371"/>
                  <a:pt x="1013931" y="1256242"/>
                </a:cubicBezTo>
                <a:cubicBezTo>
                  <a:pt x="1009870" y="1257688"/>
                  <a:pt x="1008221" y="1258277"/>
                  <a:pt x="1005925" y="1261615"/>
                </a:cubicBezTo>
                <a:cubicBezTo>
                  <a:pt x="1005474" y="1262632"/>
                  <a:pt x="1005023" y="1263649"/>
                  <a:pt x="1004558" y="1264697"/>
                </a:cubicBezTo>
                <a:cubicBezTo>
                  <a:pt x="1004030" y="1265774"/>
                  <a:pt x="1003503" y="1266852"/>
                  <a:pt x="1002959" y="1267961"/>
                </a:cubicBezTo>
                <a:cubicBezTo>
                  <a:pt x="1001408" y="1271808"/>
                  <a:pt x="1000922" y="1274896"/>
                  <a:pt x="1000653" y="1278965"/>
                </a:cubicBezTo>
                <a:cubicBezTo>
                  <a:pt x="1000303" y="1284158"/>
                  <a:pt x="999467" y="1289055"/>
                  <a:pt x="998297" y="1294137"/>
                </a:cubicBezTo>
                <a:cubicBezTo>
                  <a:pt x="996204" y="1304306"/>
                  <a:pt x="996129" y="1314460"/>
                  <a:pt x="996162" y="1324765"/>
                </a:cubicBezTo>
                <a:cubicBezTo>
                  <a:pt x="996163" y="1325782"/>
                  <a:pt x="996163" y="1326799"/>
                  <a:pt x="996164" y="1327846"/>
                </a:cubicBezTo>
                <a:cubicBezTo>
                  <a:pt x="996263" y="1353742"/>
                  <a:pt x="1001081" y="1378188"/>
                  <a:pt x="1007780" y="1403329"/>
                </a:cubicBezTo>
                <a:cubicBezTo>
                  <a:pt x="1008163" y="1404772"/>
                  <a:pt x="1008546" y="1406215"/>
                  <a:pt x="1008940" y="1407701"/>
                </a:cubicBezTo>
                <a:cubicBezTo>
                  <a:pt x="1009316" y="1409030"/>
                  <a:pt x="1009693" y="1410360"/>
                  <a:pt x="1010080" y="1411730"/>
                </a:cubicBezTo>
                <a:cubicBezTo>
                  <a:pt x="1010409" y="1412900"/>
                  <a:pt x="1010737" y="1414071"/>
                  <a:pt x="1011075" y="1415277"/>
                </a:cubicBezTo>
                <a:cubicBezTo>
                  <a:pt x="1012501" y="1418612"/>
                  <a:pt x="1014136" y="1420168"/>
                  <a:pt x="1017055" y="1422530"/>
                </a:cubicBezTo>
                <a:cubicBezTo>
                  <a:pt x="1018770" y="1425162"/>
                  <a:pt x="1018770" y="1425162"/>
                  <a:pt x="1020277" y="1427991"/>
                </a:cubicBezTo>
                <a:cubicBezTo>
                  <a:pt x="1020778" y="1428917"/>
                  <a:pt x="1021280" y="1429844"/>
                  <a:pt x="1021796" y="1430798"/>
                </a:cubicBezTo>
                <a:cubicBezTo>
                  <a:pt x="1023303" y="1433804"/>
                  <a:pt x="1023303" y="1433804"/>
                  <a:pt x="1024579" y="1437239"/>
                </a:cubicBezTo>
                <a:cubicBezTo>
                  <a:pt x="1026915" y="1441803"/>
                  <a:pt x="1030098" y="1444534"/>
                  <a:pt x="1034043" y="1448072"/>
                </a:cubicBezTo>
                <a:lnTo>
                  <a:pt x="1043782" y="1464320"/>
                </a:lnTo>
                <a:lnTo>
                  <a:pt x="1050458" y="1472189"/>
                </a:lnTo>
                <a:cubicBezTo>
                  <a:pt x="1051737" y="1475181"/>
                  <a:pt x="1052277" y="1478513"/>
                  <a:pt x="1052926" y="1482370"/>
                </a:cubicBezTo>
                <a:cubicBezTo>
                  <a:pt x="1053325" y="1487224"/>
                  <a:pt x="1053364" y="1492038"/>
                  <a:pt x="1053316" y="1496903"/>
                </a:cubicBezTo>
                <a:cubicBezTo>
                  <a:pt x="1053328" y="1498142"/>
                  <a:pt x="1053340" y="1499382"/>
                  <a:pt x="1053352" y="1500660"/>
                </a:cubicBezTo>
                <a:cubicBezTo>
                  <a:pt x="1053348" y="1501856"/>
                  <a:pt x="1053344" y="1503052"/>
                  <a:pt x="1053341" y="1504285"/>
                </a:cubicBezTo>
                <a:cubicBezTo>
                  <a:pt x="1053336" y="1505355"/>
                  <a:pt x="1053333" y="1506426"/>
                  <a:pt x="1053329" y="1507529"/>
                </a:cubicBezTo>
                <a:cubicBezTo>
                  <a:pt x="1052876" y="1510927"/>
                  <a:pt x="1051672" y="1513237"/>
                  <a:pt x="1049801" y="1516192"/>
                </a:cubicBezTo>
                <a:lnTo>
                  <a:pt x="1047312" y="1516192"/>
                </a:lnTo>
                <a:lnTo>
                  <a:pt x="1043611" y="1522585"/>
                </a:lnTo>
                <a:cubicBezTo>
                  <a:pt x="1035301" y="1529631"/>
                  <a:pt x="1035301" y="1529631"/>
                  <a:pt x="1029552" y="1529631"/>
                </a:cubicBezTo>
                <a:cubicBezTo>
                  <a:pt x="1029294" y="1530503"/>
                  <a:pt x="1029036" y="1531375"/>
                  <a:pt x="1028771" y="1532273"/>
                </a:cubicBezTo>
                <a:cubicBezTo>
                  <a:pt x="1025795" y="1536076"/>
                  <a:pt x="1022970" y="1536733"/>
                  <a:pt x="1018013" y="1537640"/>
                </a:cubicBezTo>
                <a:cubicBezTo>
                  <a:pt x="1005216" y="1539038"/>
                  <a:pt x="992573" y="1539816"/>
                  <a:pt x="981126" y="1533859"/>
                </a:cubicBezTo>
                <a:cubicBezTo>
                  <a:pt x="979840" y="1533226"/>
                  <a:pt x="978553" y="1532594"/>
                  <a:pt x="977227" y="1531943"/>
                </a:cubicBezTo>
                <a:cubicBezTo>
                  <a:pt x="965286" y="1525877"/>
                  <a:pt x="959626" y="1520520"/>
                  <a:pt x="955376" y="1508751"/>
                </a:cubicBezTo>
                <a:cubicBezTo>
                  <a:pt x="954571" y="1505674"/>
                  <a:pt x="954571" y="1505674"/>
                  <a:pt x="954571" y="1500037"/>
                </a:cubicBezTo>
                <a:cubicBezTo>
                  <a:pt x="953539" y="1500037"/>
                  <a:pt x="952508" y="1500037"/>
                  <a:pt x="951446" y="1500037"/>
                </a:cubicBezTo>
                <a:cubicBezTo>
                  <a:pt x="951361" y="1495986"/>
                  <a:pt x="951299" y="1491935"/>
                  <a:pt x="951251" y="1487883"/>
                </a:cubicBezTo>
                <a:cubicBezTo>
                  <a:pt x="951224" y="1486744"/>
                  <a:pt x="951198" y="1485605"/>
                  <a:pt x="951171" y="1484431"/>
                </a:cubicBezTo>
                <a:cubicBezTo>
                  <a:pt x="951110" y="1477657"/>
                  <a:pt x="952093" y="1472660"/>
                  <a:pt x="954571" y="1466216"/>
                </a:cubicBezTo>
                <a:cubicBezTo>
                  <a:pt x="954867" y="1462451"/>
                  <a:pt x="955016" y="1458876"/>
                  <a:pt x="954961" y="1455118"/>
                </a:cubicBezTo>
                <a:cubicBezTo>
                  <a:pt x="954951" y="1454080"/>
                  <a:pt x="954942" y="1453042"/>
                  <a:pt x="954932" y="1451972"/>
                </a:cubicBezTo>
                <a:cubicBezTo>
                  <a:pt x="954606" y="1435235"/>
                  <a:pt x="952568" y="1419050"/>
                  <a:pt x="945099" y="1403594"/>
                </a:cubicBezTo>
                <a:cubicBezTo>
                  <a:pt x="943714" y="1400177"/>
                  <a:pt x="943046" y="1397128"/>
                  <a:pt x="942366" y="1393553"/>
                </a:cubicBezTo>
                <a:cubicBezTo>
                  <a:pt x="940837" y="1386134"/>
                  <a:pt x="937840" y="1379609"/>
                  <a:pt x="934451" y="1372734"/>
                </a:cubicBezTo>
                <a:cubicBezTo>
                  <a:pt x="932701" y="1368980"/>
                  <a:pt x="932701" y="1368980"/>
                  <a:pt x="931974" y="1365754"/>
                </a:cubicBezTo>
                <a:cubicBezTo>
                  <a:pt x="931699" y="1364958"/>
                  <a:pt x="931422" y="1364162"/>
                  <a:pt x="931138" y="1363343"/>
                </a:cubicBezTo>
                <a:cubicBezTo>
                  <a:pt x="929592" y="1362878"/>
                  <a:pt x="928045" y="1362413"/>
                  <a:pt x="926452" y="1361933"/>
                </a:cubicBezTo>
                <a:cubicBezTo>
                  <a:pt x="921830" y="1355261"/>
                  <a:pt x="920323" y="1348382"/>
                  <a:pt x="918641" y="1340795"/>
                </a:cubicBezTo>
                <a:cubicBezTo>
                  <a:pt x="918133" y="1338914"/>
                  <a:pt x="917616" y="1337034"/>
                  <a:pt x="917079" y="1335158"/>
                </a:cubicBezTo>
                <a:cubicBezTo>
                  <a:pt x="916048" y="1335158"/>
                  <a:pt x="915018" y="1335158"/>
                  <a:pt x="913955" y="1335158"/>
                </a:cubicBezTo>
                <a:cubicBezTo>
                  <a:pt x="913329" y="1333718"/>
                  <a:pt x="912703" y="1332277"/>
                  <a:pt x="912057" y="1330793"/>
                </a:cubicBezTo>
                <a:cubicBezTo>
                  <a:pt x="909497" y="1325424"/>
                  <a:pt x="906114" y="1320822"/>
                  <a:pt x="902142" y="1316222"/>
                </a:cubicBezTo>
                <a:cubicBezTo>
                  <a:pt x="901465" y="1315432"/>
                  <a:pt x="900788" y="1314642"/>
                  <a:pt x="900091" y="1313828"/>
                </a:cubicBezTo>
                <a:cubicBezTo>
                  <a:pt x="893705" y="1306618"/>
                  <a:pt x="886350" y="1301049"/>
                  <a:pt x="878026" y="1295700"/>
                </a:cubicBezTo>
                <a:cubicBezTo>
                  <a:pt x="876595" y="1294594"/>
                  <a:pt x="876595" y="1294594"/>
                  <a:pt x="875134" y="1293465"/>
                </a:cubicBezTo>
                <a:lnTo>
                  <a:pt x="869869" y="1291826"/>
                </a:lnTo>
                <a:lnTo>
                  <a:pt x="862384" y="1291327"/>
                </a:lnTo>
                <a:cubicBezTo>
                  <a:pt x="856441" y="1290067"/>
                  <a:pt x="850461" y="1290346"/>
                  <a:pt x="844390" y="1290461"/>
                </a:cubicBezTo>
                <a:cubicBezTo>
                  <a:pt x="842453" y="1290480"/>
                  <a:pt x="842453" y="1290480"/>
                  <a:pt x="840476" y="1290500"/>
                </a:cubicBezTo>
                <a:cubicBezTo>
                  <a:pt x="837322" y="1290532"/>
                  <a:pt x="834169" y="1290583"/>
                  <a:pt x="831015" y="1290637"/>
                </a:cubicBezTo>
                <a:cubicBezTo>
                  <a:pt x="831015" y="1291568"/>
                  <a:pt x="831015" y="1292498"/>
                  <a:pt x="831015" y="1293456"/>
                </a:cubicBezTo>
                <a:cubicBezTo>
                  <a:pt x="826519" y="1294808"/>
                  <a:pt x="822922" y="1295235"/>
                  <a:pt x="818225" y="1295570"/>
                </a:cubicBezTo>
                <a:lnTo>
                  <a:pt x="796774" y="1297671"/>
                </a:lnTo>
                <a:lnTo>
                  <a:pt x="783646" y="1305736"/>
                </a:lnTo>
                <a:cubicBezTo>
                  <a:pt x="776915" y="1312506"/>
                  <a:pt x="772692" y="1318638"/>
                  <a:pt x="769263" y="1327143"/>
                </a:cubicBezTo>
                <a:cubicBezTo>
                  <a:pt x="767116" y="1332340"/>
                  <a:pt x="767116" y="1332340"/>
                  <a:pt x="764797" y="1334360"/>
                </a:cubicBezTo>
                <a:lnTo>
                  <a:pt x="757875" y="1353503"/>
                </a:lnTo>
                <a:lnTo>
                  <a:pt x="755676" y="1367455"/>
                </a:lnTo>
                <a:lnTo>
                  <a:pt x="750558" y="1399690"/>
                </a:lnTo>
                <a:lnTo>
                  <a:pt x="753057" y="1411256"/>
                </a:lnTo>
                <a:cubicBezTo>
                  <a:pt x="753057" y="1413117"/>
                  <a:pt x="753057" y="1414976"/>
                  <a:pt x="753057" y="1416893"/>
                </a:cubicBezTo>
                <a:cubicBezTo>
                  <a:pt x="754087" y="1416893"/>
                  <a:pt x="755119" y="1416893"/>
                  <a:pt x="756181" y="1416893"/>
                </a:cubicBezTo>
                <a:cubicBezTo>
                  <a:pt x="759348" y="1422607"/>
                  <a:pt x="758101" y="1429902"/>
                  <a:pt x="758133" y="1436182"/>
                </a:cubicBezTo>
                <a:cubicBezTo>
                  <a:pt x="758182" y="1438458"/>
                  <a:pt x="758182" y="1438458"/>
                  <a:pt x="758231" y="1440781"/>
                </a:cubicBezTo>
                <a:cubicBezTo>
                  <a:pt x="758283" y="1450271"/>
                  <a:pt x="758174" y="1458360"/>
                  <a:pt x="750713" y="1465704"/>
                </a:cubicBezTo>
                <a:cubicBezTo>
                  <a:pt x="749940" y="1466193"/>
                  <a:pt x="749167" y="1466681"/>
                  <a:pt x="748370" y="1467185"/>
                </a:cubicBezTo>
                <a:cubicBezTo>
                  <a:pt x="743665" y="1470047"/>
                  <a:pt x="743665" y="1470047"/>
                  <a:pt x="741633" y="1473526"/>
                </a:cubicBezTo>
                <a:cubicBezTo>
                  <a:pt x="737793" y="1477248"/>
                  <a:pt x="733582" y="1477483"/>
                  <a:pt x="728154" y="1478343"/>
                </a:cubicBezTo>
                <a:cubicBezTo>
                  <a:pt x="724855" y="1478778"/>
                  <a:pt x="724855" y="1478778"/>
                  <a:pt x="721814" y="1480308"/>
                </a:cubicBezTo>
                <a:cubicBezTo>
                  <a:pt x="717303" y="1480523"/>
                  <a:pt x="712854" y="1480634"/>
                  <a:pt x="708341" y="1480661"/>
                </a:cubicBezTo>
                <a:cubicBezTo>
                  <a:pt x="707118" y="1480690"/>
                  <a:pt x="705896" y="1480719"/>
                  <a:pt x="704637" y="1480748"/>
                </a:cubicBezTo>
                <a:cubicBezTo>
                  <a:pt x="690446" y="1480834"/>
                  <a:pt x="679632" y="1476246"/>
                  <a:pt x="668507" y="1468418"/>
                </a:cubicBezTo>
                <a:cubicBezTo>
                  <a:pt x="662823" y="1463224"/>
                  <a:pt x="661745" y="1456995"/>
                  <a:pt x="660178" y="1450027"/>
                </a:cubicBezTo>
                <a:cubicBezTo>
                  <a:pt x="659725" y="1446589"/>
                  <a:pt x="659725" y="1446589"/>
                  <a:pt x="657767" y="1445078"/>
                </a:cubicBezTo>
                <a:cubicBezTo>
                  <a:pt x="656859" y="1433686"/>
                  <a:pt x="655965" y="1419178"/>
                  <a:pt x="663369" y="1409390"/>
                </a:cubicBezTo>
                <a:cubicBezTo>
                  <a:pt x="666078" y="1406601"/>
                  <a:pt x="668921" y="1404013"/>
                  <a:pt x="671826" y="1401392"/>
                </a:cubicBezTo>
                <a:cubicBezTo>
                  <a:pt x="675197" y="1397623"/>
                  <a:pt x="677125" y="1394916"/>
                  <a:pt x="678075" y="1390118"/>
                </a:cubicBezTo>
                <a:cubicBezTo>
                  <a:pt x="680137" y="1389653"/>
                  <a:pt x="682199" y="1389188"/>
                  <a:pt x="684323" y="1388709"/>
                </a:cubicBezTo>
                <a:cubicBezTo>
                  <a:pt x="684643" y="1387232"/>
                  <a:pt x="684964" y="1385755"/>
                  <a:pt x="685293" y="1384233"/>
                </a:cubicBezTo>
                <a:cubicBezTo>
                  <a:pt x="685718" y="1382290"/>
                  <a:pt x="686144" y="1380347"/>
                  <a:pt x="686569" y="1378404"/>
                </a:cubicBezTo>
                <a:cubicBezTo>
                  <a:pt x="686885" y="1376945"/>
                  <a:pt x="686885" y="1376945"/>
                  <a:pt x="687207" y="1375456"/>
                </a:cubicBezTo>
                <a:cubicBezTo>
                  <a:pt x="688115" y="1371315"/>
                  <a:pt x="689090" y="1367353"/>
                  <a:pt x="690572" y="1363343"/>
                </a:cubicBezTo>
                <a:cubicBezTo>
                  <a:pt x="692411" y="1350128"/>
                  <a:pt x="692374" y="1336672"/>
                  <a:pt x="692495" y="1323376"/>
                </a:cubicBezTo>
                <a:cubicBezTo>
                  <a:pt x="692524" y="1320586"/>
                  <a:pt x="692574" y="1317796"/>
                  <a:pt x="692625" y="1315006"/>
                </a:cubicBezTo>
                <a:cubicBezTo>
                  <a:pt x="692853" y="1300589"/>
                  <a:pt x="692853" y="1300589"/>
                  <a:pt x="687447" y="1287245"/>
                </a:cubicBezTo>
                <a:cubicBezTo>
                  <a:pt x="685901" y="1286780"/>
                  <a:pt x="684354" y="1286315"/>
                  <a:pt x="682761" y="1285835"/>
                </a:cubicBezTo>
                <a:cubicBezTo>
                  <a:pt x="680876" y="1283743"/>
                  <a:pt x="680876" y="1283743"/>
                  <a:pt x="678954" y="1281608"/>
                </a:cubicBezTo>
                <a:cubicBezTo>
                  <a:pt x="674854" y="1277278"/>
                  <a:pt x="674356" y="1276958"/>
                  <a:pt x="668702" y="1275971"/>
                </a:cubicBezTo>
                <a:cubicBezTo>
                  <a:pt x="666619" y="1274092"/>
                  <a:pt x="664536" y="1272213"/>
                  <a:pt x="662454" y="1270334"/>
                </a:cubicBezTo>
                <a:cubicBezTo>
                  <a:pt x="658341" y="1268566"/>
                  <a:pt x="658341" y="1268566"/>
                  <a:pt x="654643" y="1267516"/>
                </a:cubicBezTo>
                <a:cubicBezTo>
                  <a:pt x="654643" y="1266585"/>
                  <a:pt x="654643" y="1265656"/>
                  <a:pt x="654643" y="1264697"/>
                </a:cubicBezTo>
                <a:cubicBezTo>
                  <a:pt x="653161" y="1264581"/>
                  <a:pt x="651679" y="1264465"/>
                  <a:pt x="650152" y="1264345"/>
                </a:cubicBezTo>
                <a:cubicBezTo>
                  <a:pt x="642318" y="1263373"/>
                  <a:pt x="635297" y="1260465"/>
                  <a:pt x="628087" y="1257651"/>
                </a:cubicBezTo>
                <a:cubicBezTo>
                  <a:pt x="628087" y="1256721"/>
                  <a:pt x="628087" y="1255791"/>
                  <a:pt x="628087" y="1254833"/>
                </a:cubicBezTo>
                <a:cubicBezTo>
                  <a:pt x="627108" y="1254662"/>
                  <a:pt x="626129" y="1254491"/>
                  <a:pt x="625121" y="1254315"/>
                </a:cubicBezTo>
                <a:cubicBezTo>
                  <a:pt x="623845" y="1254079"/>
                  <a:pt x="622568" y="1253843"/>
                  <a:pt x="621252" y="1253600"/>
                </a:cubicBezTo>
                <a:cubicBezTo>
                  <a:pt x="619984" y="1253371"/>
                  <a:pt x="618716" y="1253142"/>
                  <a:pt x="617409" y="1252906"/>
                </a:cubicBezTo>
                <a:cubicBezTo>
                  <a:pt x="614027" y="1252014"/>
                  <a:pt x="614027" y="1252014"/>
                  <a:pt x="610904" y="1249196"/>
                </a:cubicBezTo>
                <a:cubicBezTo>
                  <a:pt x="592259" y="1248653"/>
                  <a:pt x="578635" y="1260869"/>
                  <a:pt x="565739" y="1271742"/>
                </a:cubicBezTo>
                <a:cubicBezTo>
                  <a:pt x="558808" y="1277725"/>
                  <a:pt x="552763" y="1283983"/>
                  <a:pt x="546924" y="1290829"/>
                </a:cubicBezTo>
                <a:cubicBezTo>
                  <a:pt x="545838" y="1292087"/>
                  <a:pt x="544753" y="1293346"/>
                  <a:pt x="543635" y="1294643"/>
                </a:cubicBezTo>
                <a:cubicBezTo>
                  <a:pt x="542650" y="1295813"/>
                  <a:pt x="541666" y="1296983"/>
                  <a:pt x="540651" y="1298188"/>
                </a:cubicBezTo>
                <a:cubicBezTo>
                  <a:pt x="537294" y="1301526"/>
                  <a:pt x="533978" y="1303337"/>
                  <a:pt x="529673" y="1305565"/>
                </a:cubicBezTo>
                <a:cubicBezTo>
                  <a:pt x="527599" y="1308478"/>
                  <a:pt x="527599" y="1308478"/>
                  <a:pt x="526549" y="1311202"/>
                </a:cubicBezTo>
                <a:cubicBezTo>
                  <a:pt x="525518" y="1311202"/>
                  <a:pt x="524487" y="1311202"/>
                  <a:pt x="523425" y="1311202"/>
                </a:cubicBezTo>
                <a:cubicBezTo>
                  <a:pt x="523360" y="1311986"/>
                  <a:pt x="523296" y="1312771"/>
                  <a:pt x="523230" y="1313580"/>
                </a:cubicBezTo>
                <a:cubicBezTo>
                  <a:pt x="521863" y="1316839"/>
                  <a:pt x="521863" y="1316839"/>
                  <a:pt x="517732" y="1319739"/>
                </a:cubicBezTo>
                <a:cubicBezTo>
                  <a:pt x="511111" y="1324565"/>
                  <a:pt x="506875" y="1330731"/>
                  <a:pt x="502239" y="1337096"/>
                </a:cubicBezTo>
                <a:cubicBezTo>
                  <a:pt x="500512" y="1339427"/>
                  <a:pt x="498785" y="1341757"/>
                  <a:pt x="497058" y="1344087"/>
                </a:cubicBezTo>
                <a:cubicBezTo>
                  <a:pt x="495827" y="1345760"/>
                  <a:pt x="495827" y="1345760"/>
                  <a:pt x="494572" y="1347465"/>
                </a:cubicBezTo>
                <a:cubicBezTo>
                  <a:pt x="492366" y="1350414"/>
                  <a:pt x="490094" y="1353304"/>
                  <a:pt x="487776" y="1356181"/>
                </a:cubicBezTo>
                <a:cubicBezTo>
                  <a:pt x="484805" y="1359972"/>
                  <a:pt x="482865" y="1363193"/>
                  <a:pt x="481248" y="1367571"/>
                </a:cubicBezTo>
                <a:cubicBezTo>
                  <a:pt x="480216" y="1367571"/>
                  <a:pt x="479186" y="1367571"/>
                  <a:pt x="478123" y="1367571"/>
                </a:cubicBezTo>
                <a:cubicBezTo>
                  <a:pt x="477963" y="1368558"/>
                  <a:pt x="477801" y="1369547"/>
                  <a:pt x="477635" y="1370565"/>
                </a:cubicBezTo>
                <a:cubicBezTo>
                  <a:pt x="475602" y="1378236"/>
                  <a:pt x="471952" y="1383371"/>
                  <a:pt x="465626" y="1388709"/>
                </a:cubicBezTo>
                <a:cubicBezTo>
                  <a:pt x="462272" y="1392748"/>
                  <a:pt x="462272" y="1392748"/>
                  <a:pt x="461233" y="1397340"/>
                </a:cubicBezTo>
                <a:cubicBezTo>
                  <a:pt x="460030" y="1401461"/>
                  <a:pt x="458298" y="1404501"/>
                  <a:pt x="455765" y="1408086"/>
                </a:cubicBezTo>
                <a:cubicBezTo>
                  <a:pt x="442829" y="1428603"/>
                  <a:pt x="441572" y="1454548"/>
                  <a:pt x="439070" y="1477490"/>
                </a:cubicBezTo>
                <a:cubicBezTo>
                  <a:pt x="437524" y="1477955"/>
                  <a:pt x="435977" y="1478420"/>
                  <a:pt x="434384" y="1478899"/>
                </a:cubicBezTo>
                <a:cubicBezTo>
                  <a:pt x="433739" y="1479916"/>
                  <a:pt x="433095" y="1480933"/>
                  <a:pt x="432431" y="1481982"/>
                </a:cubicBezTo>
                <a:cubicBezTo>
                  <a:pt x="428860" y="1487159"/>
                  <a:pt x="424291" y="1490903"/>
                  <a:pt x="418763" y="1494401"/>
                </a:cubicBezTo>
                <a:cubicBezTo>
                  <a:pt x="417731" y="1494401"/>
                  <a:pt x="416701" y="1494401"/>
                  <a:pt x="415639" y="1494401"/>
                </a:cubicBezTo>
                <a:cubicBezTo>
                  <a:pt x="415639" y="1495330"/>
                  <a:pt x="415639" y="1496260"/>
                  <a:pt x="415639" y="1497219"/>
                </a:cubicBezTo>
                <a:cubicBezTo>
                  <a:pt x="412546" y="1497684"/>
                  <a:pt x="409453" y="1498149"/>
                  <a:pt x="406265" y="1498628"/>
                </a:cubicBezTo>
                <a:cubicBezTo>
                  <a:pt x="406265" y="1499559"/>
                  <a:pt x="406265" y="1500488"/>
                  <a:pt x="406265" y="1501447"/>
                </a:cubicBezTo>
                <a:cubicBezTo>
                  <a:pt x="395955" y="1501447"/>
                  <a:pt x="385645" y="1501447"/>
                  <a:pt x="375023" y="1501447"/>
                </a:cubicBezTo>
                <a:lnTo>
                  <a:pt x="375023" y="1499438"/>
                </a:lnTo>
                <a:lnTo>
                  <a:pt x="374964" y="1499436"/>
                </a:lnTo>
                <a:lnTo>
                  <a:pt x="373179" y="1498628"/>
                </a:lnTo>
                <a:lnTo>
                  <a:pt x="365650" y="1498628"/>
                </a:lnTo>
                <a:lnTo>
                  <a:pt x="363134" y="1494087"/>
                </a:lnTo>
                <a:lnTo>
                  <a:pt x="362171" y="1493651"/>
                </a:lnTo>
                <a:cubicBezTo>
                  <a:pt x="361656" y="1492722"/>
                  <a:pt x="361140" y="1491791"/>
                  <a:pt x="360609" y="1490833"/>
                </a:cubicBezTo>
                <a:cubicBezTo>
                  <a:pt x="361640" y="1490833"/>
                  <a:pt x="362671" y="1490833"/>
                  <a:pt x="363733" y="1490833"/>
                </a:cubicBezTo>
                <a:lnTo>
                  <a:pt x="363733" y="1489980"/>
                </a:lnTo>
                <a:lnTo>
                  <a:pt x="348467" y="1481717"/>
                </a:lnTo>
                <a:lnTo>
                  <a:pt x="343872" y="1461078"/>
                </a:lnTo>
                <a:lnTo>
                  <a:pt x="343656" y="1463649"/>
                </a:lnTo>
                <a:cubicBezTo>
                  <a:pt x="343541" y="1465230"/>
                  <a:pt x="343541" y="1465230"/>
                  <a:pt x="343424" y="1466842"/>
                </a:cubicBezTo>
                <a:cubicBezTo>
                  <a:pt x="342908" y="1466842"/>
                  <a:pt x="342393" y="1466842"/>
                  <a:pt x="341861" y="1466842"/>
                </a:cubicBezTo>
                <a:cubicBezTo>
                  <a:pt x="340987" y="1449564"/>
                  <a:pt x="340999" y="1434331"/>
                  <a:pt x="354143" y="1420549"/>
                </a:cubicBezTo>
                <a:cubicBezTo>
                  <a:pt x="360765" y="1414011"/>
                  <a:pt x="367631" y="1407790"/>
                  <a:pt x="376229" y="1403427"/>
                </a:cubicBezTo>
                <a:lnTo>
                  <a:pt x="379491" y="1404408"/>
                </a:lnTo>
                <a:lnTo>
                  <a:pt x="379710" y="1404210"/>
                </a:lnTo>
                <a:cubicBezTo>
                  <a:pt x="380290" y="1402902"/>
                  <a:pt x="380290" y="1402902"/>
                  <a:pt x="380882" y="1401568"/>
                </a:cubicBezTo>
                <a:cubicBezTo>
                  <a:pt x="383675" y="1397284"/>
                  <a:pt x="387587" y="1395610"/>
                  <a:pt x="392207" y="1392936"/>
                </a:cubicBezTo>
                <a:lnTo>
                  <a:pt x="399542" y="1386774"/>
                </a:lnTo>
                <a:lnTo>
                  <a:pt x="405485" y="1378917"/>
                </a:lnTo>
                <a:cubicBezTo>
                  <a:pt x="408065" y="1375974"/>
                  <a:pt x="410029" y="1372774"/>
                  <a:pt x="412008" y="1369481"/>
                </a:cubicBezTo>
                <a:cubicBezTo>
                  <a:pt x="414759" y="1365166"/>
                  <a:pt x="417963" y="1361131"/>
                  <a:pt x="421130" y="1357057"/>
                </a:cubicBezTo>
                <a:cubicBezTo>
                  <a:pt x="423073" y="1354140"/>
                  <a:pt x="423985" y="1351767"/>
                  <a:pt x="424676" y="1348443"/>
                </a:cubicBezTo>
                <a:lnTo>
                  <a:pt x="427275" y="1348443"/>
                </a:lnTo>
                <a:lnTo>
                  <a:pt x="428135" y="1345727"/>
                </a:lnTo>
                <a:cubicBezTo>
                  <a:pt x="429370" y="1341828"/>
                  <a:pt x="430645" y="1338666"/>
                  <a:pt x="432822" y="1335158"/>
                </a:cubicBezTo>
                <a:cubicBezTo>
                  <a:pt x="433853" y="1335158"/>
                  <a:pt x="434884" y="1335158"/>
                  <a:pt x="435946" y="1335158"/>
                </a:cubicBezTo>
                <a:cubicBezTo>
                  <a:pt x="436526" y="1333385"/>
                  <a:pt x="437106" y="1331613"/>
                  <a:pt x="437704" y="1329786"/>
                </a:cubicBezTo>
                <a:cubicBezTo>
                  <a:pt x="440162" y="1323132"/>
                  <a:pt x="443602" y="1317301"/>
                  <a:pt x="447394" y="1311196"/>
                </a:cubicBezTo>
                <a:cubicBezTo>
                  <a:pt x="456493" y="1296485"/>
                  <a:pt x="463325" y="1281864"/>
                  <a:pt x="469287" y="1265964"/>
                </a:cubicBezTo>
                <a:cubicBezTo>
                  <a:pt x="474589" y="1252134"/>
                  <a:pt x="474589" y="1252134"/>
                  <a:pt x="478178" y="1246787"/>
                </a:cubicBezTo>
                <a:cubicBezTo>
                  <a:pt x="481232" y="1240246"/>
                  <a:pt x="480204" y="1232766"/>
                  <a:pt x="480179" y="1225768"/>
                </a:cubicBezTo>
                <a:cubicBezTo>
                  <a:pt x="480174" y="1222894"/>
                  <a:pt x="480210" y="1220023"/>
                  <a:pt x="480250" y="1217149"/>
                </a:cubicBezTo>
                <a:cubicBezTo>
                  <a:pt x="480260" y="1199291"/>
                  <a:pt x="476718" y="1187768"/>
                  <a:pt x="462972" y="1174827"/>
                </a:cubicBezTo>
                <a:cubicBezTo>
                  <a:pt x="461148" y="1173192"/>
                  <a:pt x="459312" y="1171566"/>
                  <a:pt x="457468" y="1169949"/>
                </a:cubicBezTo>
                <a:cubicBezTo>
                  <a:pt x="451412" y="1164522"/>
                  <a:pt x="445876" y="1158660"/>
                  <a:pt x="440657" y="1152570"/>
                </a:cubicBezTo>
                <a:cubicBezTo>
                  <a:pt x="430474" y="1140786"/>
                  <a:pt x="418230" y="1128998"/>
                  <a:pt x="403142" y="1122366"/>
                </a:cubicBezTo>
                <a:cubicBezTo>
                  <a:pt x="402626" y="1121436"/>
                  <a:pt x="402110" y="1120506"/>
                  <a:pt x="401579" y="1119547"/>
                </a:cubicBezTo>
                <a:cubicBezTo>
                  <a:pt x="390472" y="1115326"/>
                  <a:pt x="375918" y="1114217"/>
                  <a:pt x="364564" y="1118209"/>
                </a:cubicBezTo>
                <a:cubicBezTo>
                  <a:pt x="362278" y="1119428"/>
                  <a:pt x="360026" y="1120704"/>
                  <a:pt x="357822" y="1122041"/>
                </a:cubicBezTo>
                <a:cubicBezTo>
                  <a:pt x="354521" y="1123884"/>
                  <a:pt x="351862" y="1124582"/>
                  <a:pt x="348077" y="1125273"/>
                </a:cubicBezTo>
                <a:cubicBezTo>
                  <a:pt x="341765" y="1126696"/>
                  <a:pt x="339382" y="1128619"/>
                  <a:pt x="334408" y="1132230"/>
                </a:cubicBezTo>
                <a:cubicBezTo>
                  <a:pt x="332284" y="1132909"/>
                  <a:pt x="330131" y="1133519"/>
                  <a:pt x="327964" y="1134080"/>
                </a:cubicBezTo>
                <a:cubicBezTo>
                  <a:pt x="309975" y="1139067"/>
                  <a:pt x="290592" y="1152117"/>
                  <a:pt x="279734" y="1166051"/>
                </a:cubicBezTo>
                <a:cubicBezTo>
                  <a:pt x="277929" y="1169534"/>
                  <a:pt x="277929" y="1169534"/>
                  <a:pt x="276609" y="1173098"/>
                </a:cubicBezTo>
                <a:cubicBezTo>
                  <a:pt x="272413" y="1180804"/>
                  <a:pt x="269322" y="1184144"/>
                  <a:pt x="260988" y="1188599"/>
                </a:cubicBezTo>
                <a:cubicBezTo>
                  <a:pt x="259988" y="1189435"/>
                  <a:pt x="258987" y="1190271"/>
                  <a:pt x="257956" y="1191132"/>
                </a:cubicBezTo>
                <a:lnTo>
                  <a:pt x="243805" y="1196629"/>
                </a:lnTo>
                <a:lnTo>
                  <a:pt x="243805" y="1194236"/>
                </a:lnTo>
                <a:lnTo>
                  <a:pt x="240288" y="1194765"/>
                </a:lnTo>
                <a:lnTo>
                  <a:pt x="243374" y="1194765"/>
                </a:lnTo>
                <a:lnTo>
                  <a:pt x="243374" y="1196797"/>
                </a:lnTo>
                <a:lnTo>
                  <a:pt x="243805" y="1196629"/>
                </a:lnTo>
                <a:lnTo>
                  <a:pt x="243805" y="1197055"/>
                </a:lnTo>
                <a:lnTo>
                  <a:pt x="243374" y="1197055"/>
                </a:lnTo>
                <a:lnTo>
                  <a:pt x="243374" y="1197584"/>
                </a:lnTo>
                <a:lnTo>
                  <a:pt x="241319" y="1197595"/>
                </a:lnTo>
                <a:lnTo>
                  <a:pt x="238009" y="1198881"/>
                </a:lnTo>
                <a:cubicBezTo>
                  <a:pt x="231012" y="1199584"/>
                  <a:pt x="223620" y="1198927"/>
                  <a:pt x="215687" y="1198464"/>
                </a:cubicBezTo>
                <a:lnTo>
                  <a:pt x="215687" y="1197734"/>
                </a:lnTo>
                <a:lnTo>
                  <a:pt x="213936" y="1197744"/>
                </a:lnTo>
                <a:cubicBezTo>
                  <a:pt x="210570" y="1197584"/>
                  <a:pt x="210570" y="1197584"/>
                  <a:pt x="207446" y="1196175"/>
                </a:cubicBezTo>
                <a:lnTo>
                  <a:pt x="207822" y="1195610"/>
                </a:lnTo>
                <a:lnTo>
                  <a:pt x="184737" y="1180936"/>
                </a:lnTo>
                <a:cubicBezTo>
                  <a:pt x="180258" y="1172216"/>
                  <a:pt x="179226" y="1164355"/>
                  <a:pt x="179270" y="1154866"/>
                </a:cubicBezTo>
                <a:cubicBezTo>
                  <a:pt x="179233" y="1153260"/>
                  <a:pt x="179233" y="1153260"/>
                  <a:pt x="179194" y="1151621"/>
                </a:cubicBezTo>
                <a:cubicBezTo>
                  <a:pt x="179182" y="1139523"/>
                  <a:pt x="183658" y="1128837"/>
                  <a:pt x="193195" y="1120065"/>
                </a:cubicBezTo>
                <a:cubicBezTo>
                  <a:pt x="204265" y="1110959"/>
                  <a:pt x="215062" y="1110626"/>
                  <a:pt x="229551" y="1110299"/>
                </a:cubicBezTo>
                <a:cubicBezTo>
                  <a:pt x="240132" y="1110024"/>
                  <a:pt x="250506" y="1109652"/>
                  <a:pt x="260988" y="1108274"/>
                </a:cubicBezTo>
                <a:cubicBezTo>
                  <a:pt x="260988" y="1107344"/>
                  <a:pt x="260988" y="1106413"/>
                  <a:pt x="260988" y="1105455"/>
                </a:cubicBezTo>
                <a:cubicBezTo>
                  <a:pt x="261953" y="1105078"/>
                  <a:pt x="262918" y="1104699"/>
                  <a:pt x="263911" y="1104310"/>
                </a:cubicBezTo>
                <a:cubicBezTo>
                  <a:pt x="272903" y="1100557"/>
                  <a:pt x="279802" y="1096307"/>
                  <a:pt x="286995" y="1090185"/>
                </a:cubicBezTo>
                <a:cubicBezTo>
                  <a:pt x="290956" y="1086897"/>
                  <a:pt x="295114" y="1083955"/>
                  <a:pt x="299358" y="1080970"/>
                </a:cubicBezTo>
                <a:cubicBezTo>
                  <a:pt x="306613" y="1075692"/>
                  <a:pt x="312234" y="1070023"/>
                  <a:pt x="317762" y="1063272"/>
                </a:cubicBezTo>
                <a:cubicBezTo>
                  <a:pt x="320349" y="1060360"/>
                  <a:pt x="320349" y="1060360"/>
                  <a:pt x="325035" y="1057542"/>
                </a:cubicBezTo>
                <a:cubicBezTo>
                  <a:pt x="329912" y="1045734"/>
                  <a:pt x="327928" y="1035103"/>
                  <a:pt x="325328" y="1023104"/>
                </a:cubicBezTo>
                <a:cubicBezTo>
                  <a:pt x="325069" y="1021831"/>
                  <a:pt x="324811" y="1020559"/>
                  <a:pt x="324544" y="1019247"/>
                </a:cubicBezTo>
                <a:cubicBezTo>
                  <a:pt x="322876" y="1011407"/>
                  <a:pt x="320562" y="1004340"/>
                  <a:pt x="317225" y="996945"/>
                </a:cubicBezTo>
                <a:cubicBezTo>
                  <a:pt x="316619" y="995541"/>
                  <a:pt x="316013" y="994137"/>
                  <a:pt x="315388" y="992690"/>
                </a:cubicBezTo>
                <a:cubicBezTo>
                  <a:pt x="306307" y="972561"/>
                  <a:pt x="298931" y="959343"/>
                  <a:pt x="276232" y="950666"/>
                </a:cubicBezTo>
                <a:cubicBezTo>
                  <a:pt x="274810" y="950127"/>
                  <a:pt x="273388" y="949587"/>
                  <a:pt x="271923" y="949031"/>
                </a:cubicBezTo>
                <a:cubicBezTo>
                  <a:pt x="270129" y="948244"/>
                  <a:pt x="270129" y="948244"/>
                  <a:pt x="268299" y="947441"/>
                </a:cubicBezTo>
                <a:cubicBezTo>
                  <a:pt x="247071" y="938140"/>
                  <a:pt x="222259" y="939051"/>
                  <a:pt x="199187" y="938991"/>
                </a:cubicBezTo>
                <a:cubicBezTo>
                  <a:pt x="197383" y="938984"/>
                  <a:pt x="195579" y="938978"/>
                  <a:pt x="193719" y="938971"/>
                </a:cubicBezTo>
                <a:cubicBezTo>
                  <a:pt x="192010" y="938974"/>
                  <a:pt x="190300" y="938977"/>
                  <a:pt x="188539" y="938980"/>
                </a:cubicBezTo>
                <a:cubicBezTo>
                  <a:pt x="187000" y="938981"/>
                  <a:pt x="185460" y="938983"/>
                  <a:pt x="183874" y="938985"/>
                </a:cubicBezTo>
                <a:cubicBezTo>
                  <a:pt x="180148" y="939150"/>
                  <a:pt x="177092" y="939720"/>
                  <a:pt x="173509" y="940576"/>
                </a:cubicBezTo>
                <a:cubicBezTo>
                  <a:pt x="169458" y="940674"/>
                  <a:pt x="165452" y="940710"/>
                  <a:pt x="161403" y="940664"/>
                </a:cubicBezTo>
                <a:cubicBezTo>
                  <a:pt x="160314" y="940658"/>
                  <a:pt x="159224" y="940651"/>
                  <a:pt x="158102" y="940645"/>
                </a:cubicBezTo>
                <a:lnTo>
                  <a:pt x="150875" y="940583"/>
                </a:lnTo>
                <a:lnTo>
                  <a:pt x="148425" y="940717"/>
                </a:lnTo>
                <a:lnTo>
                  <a:pt x="149617" y="940995"/>
                </a:lnTo>
                <a:cubicBezTo>
                  <a:pt x="149617" y="941459"/>
                  <a:pt x="149617" y="941924"/>
                  <a:pt x="149617" y="942404"/>
                </a:cubicBezTo>
                <a:cubicBezTo>
                  <a:pt x="148630" y="942558"/>
                  <a:pt x="147643" y="942712"/>
                  <a:pt x="146627" y="942871"/>
                </a:cubicBezTo>
                <a:cubicBezTo>
                  <a:pt x="134541" y="944804"/>
                  <a:pt x="122553" y="947081"/>
                  <a:pt x="110564" y="949449"/>
                </a:cubicBezTo>
                <a:lnTo>
                  <a:pt x="111283" y="946205"/>
                </a:lnTo>
                <a:lnTo>
                  <a:pt x="101652" y="956078"/>
                </a:lnTo>
                <a:cubicBezTo>
                  <a:pt x="99870" y="957260"/>
                  <a:pt x="99870" y="957260"/>
                  <a:pt x="98052" y="958467"/>
                </a:cubicBezTo>
                <a:cubicBezTo>
                  <a:pt x="75683" y="972989"/>
                  <a:pt x="75683" y="972989"/>
                  <a:pt x="67286" y="972989"/>
                </a:cubicBezTo>
                <a:cubicBezTo>
                  <a:pt x="67286" y="973918"/>
                  <a:pt x="67286" y="974848"/>
                  <a:pt x="67286" y="975807"/>
                </a:cubicBezTo>
                <a:cubicBezTo>
                  <a:pt x="55713" y="979519"/>
                  <a:pt x="43549" y="980689"/>
                  <a:pt x="31942" y="976423"/>
                </a:cubicBezTo>
                <a:cubicBezTo>
                  <a:pt x="19953" y="970870"/>
                  <a:pt x="10774" y="964932"/>
                  <a:pt x="5673" y="953419"/>
                </a:cubicBezTo>
                <a:cubicBezTo>
                  <a:pt x="4801" y="950441"/>
                  <a:pt x="4801" y="950441"/>
                  <a:pt x="4801" y="944804"/>
                </a:cubicBezTo>
                <a:cubicBezTo>
                  <a:pt x="3770" y="944804"/>
                  <a:pt x="2739" y="944804"/>
                  <a:pt x="1676" y="944804"/>
                </a:cubicBezTo>
                <a:cubicBezTo>
                  <a:pt x="-34" y="940174"/>
                  <a:pt x="-41" y="936720"/>
                  <a:pt x="17" y="931857"/>
                </a:cubicBezTo>
                <a:cubicBezTo>
                  <a:pt x="31" y="930325"/>
                  <a:pt x="45" y="928794"/>
                  <a:pt x="59" y="927216"/>
                </a:cubicBezTo>
                <a:cubicBezTo>
                  <a:pt x="78" y="926044"/>
                  <a:pt x="96" y="924873"/>
                  <a:pt x="115" y="923666"/>
                </a:cubicBezTo>
                <a:cubicBezTo>
                  <a:pt x="1145" y="923666"/>
                  <a:pt x="2176" y="923666"/>
                  <a:pt x="3238" y="923666"/>
                </a:cubicBezTo>
                <a:cubicBezTo>
                  <a:pt x="3238" y="921805"/>
                  <a:pt x="3238" y="919945"/>
                  <a:pt x="3238" y="918029"/>
                </a:cubicBezTo>
                <a:cubicBezTo>
                  <a:pt x="4270" y="918029"/>
                  <a:pt x="5300" y="918029"/>
                  <a:pt x="6363" y="918029"/>
                </a:cubicBezTo>
                <a:cubicBezTo>
                  <a:pt x="6459" y="916314"/>
                  <a:pt x="6556" y="914599"/>
                  <a:pt x="6656" y="912832"/>
                </a:cubicBezTo>
                <a:cubicBezTo>
                  <a:pt x="7542" y="906455"/>
                  <a:pt x="10104" y="903750"/>
                  <a:pt x="15736" y="899709"/>
                </a:cubicBezTo>
                <a:lnTo>
                  <a:pt x="17243" y="898894"/>
                </a:lnTo>
                <a:lnTo>
                  <a:pt x="16800" y="898694"/>
                </a:lnTo>
                <a:lnTo>
                  <a:pt x="24988" y="894101"/>
                </a:lnTo>
                <a:lnTo>
                  <a:pt x="26768" y="892399"/>
                </a:lnTo>
                <a:cubicBezTo>
                  <a:pt x="28282" y="891122"/>
                  <a:pt x="29038" y="890483"/>
                  <a:pt x="30198" y="890164"/>
                </a:cubicBezTo>
                <a:lnTo>
                  <a:pt x="32204" y="890054"/>
                </a:lnTo>
                <a:lnTo>
                  <a:pt x="38914" y="886291"/>
                </a:lnTo>
                <a:cubicBezTo>
                  <a:pt x="47169" y="885770"/>
                  <a:pt x="55396" y="885800"/>
                  <a:pt x="63664" y="886011"/>
                </a:cubicBezTo>
                <a:lnTo>
                  <a:pt x="63664" y="886531"/>
                </a:lnTo>
                <a:lnTo>
                  <a:pt x="70784" y="886647"/>
                </a:lnTo>
                <a:cubicBezTo>
                  <a:pt x="74787" y="887000"/>
                  <a:pt x="77233" y="887948"/>
                  <a:pt x="82126" y="889845"/>
                </a:cubicBezTo>
                <a:cubicBezTo>
                  <a:pt x="92427" y="893791"/>
                  <a:pt x="103139" y="893710"/>
                  <a:pt x="114149" y="892663"/>
                </a:cubicBezTo>
                <a:cubicBezTo>
                  <a:pt x="115696" y="891733"/>
                  <a:pt x="117242" y="890803"/>
                  <a:pt x="118836" y="889845"/>
                </a:cubicBezTo>
                <a:cubicBezTo>
                  <a:pt x="123097" y="888850"/>
                  <a:pt x="127325" y="887944"/>
                  <a:pt x="131626" y="887114"/>
                </a:cubicBezTo>
                <a:cubicBezTo>
                  <a:pt x="139750" y="885542"/>
                  <a:pt x="147376" y="883653"/>
                  <a:pt x="155116" y="880913"/>
                </a:cubicBezTo>
                <a:cubicBezTo>
                  <a:pt x="158498" y="879775"/>
                  <a:pt x="161861" y="879076"/>
                  <a:pt x="165406" y="878483"/>
                </a:cubicBezTo>
                <a:cubicBezTo>
                  <a:pt x="170342" y="877655"/>
                  <a:pt x="172265" y="876971"/>
                  <a:pt x="176634" y="874343"/>
                </a:cubicBezTo>
                <a:cubicBezTo>
                  <a:pt x="179863" y="873335"/>
                  <a:pt x="183123" y="872404"/>
                  <a:pt x="186397" y="871524"/>
                </a:cubicBezTo>
                <a:cubicBezTo>
                  <a:pt x="189107" y="870786"/>
                  <a:pt x="189107" y="870786"/>
                  <a:pt x="191871" y="870033"/>
                </a:cubicBezTo>
                <a:cubicBezTo>
                  <a:pt x="195731" y="869023"/>
                  <a:pt x="199587" y="868093"/>
                  <a:pt x="203483" y="867208"/>
                </a:cubicBezTo>
                <a:cubicBezTo>
                  <a:pt x="208339" y="866199"/>
                  <a:pt x="208339" y="866199"/>
                  <a:pt x="211001" y="861660"/>
                </a:cubicBezTo>
                <a:cubicBezTo>
                  <a:pt x="214174" y="860102"/>
                  <a:pt x="214174" y="860102"/>
                  <a:pt x="218031" y="858577"/>
                </a:cubicBezTo>
                <a:cubicBezTo>
                  <a:pt x="236068" y="850629"/>
                  <a:pt x="245199" y="840442"/>
                  <a:pt x="254740" y="825020"/>
                </a:cubicBezTo>
                <a:cubicBezTo>
                  <a:pt x="255771" y="823625"/>
                  <a:pt x="256802" y="822230"/>
                  <a:pt x="257864" y="820792"/>
                </a:cubicBezTo>
                <a:cubicBezTo>
                  <a:pt x="258359" y="817506"/>
                  <a:pt x="258359" y="817506"/>
                  <a:pt x="258318" y="813810"/>
                </a:cubicBezTo>
                <a:cubicBezTo>
                  <a:pt x="258338" y="812388"/>
                  <a:pt x="258358" y="810967"/>
                  <a:pt x="258378" y="809502"/>
                </a:cubicBezTo>
                <a:cubicBezTo>
                  <a:pt x="258382" y="807965"/>
                  <a:pt x="258385" y="806429"/>
                  <a:pt x="258389" y="804845"/>
                </a:cubicBezTo>
                <a:cubicBezTo>
                  <a:pt x="258399" y="803258"/>
                  <a:pt x="258410" y="801671"/>
                  <a:pt x="258420" y="800036"/>
                </a:cubicBezTo>
                <a:cubicBezTo>
                  <a:pt x="258436" y="796670"/>
                  <a:pt x="258443" y="793305"/>
                  <a:pt x="258443" y="789939"/>
                </a:cubicBezTo>
                <a:cubicBezTo>
                  <a:pt x="258450" y="784823"/>
                  <a:pt x="258506" y="779709"/>
                  <a:pt x="258566" y="774594"/>
                </a:cubicBezTo>
                <a:cubicBezTo>
                  <a:pt x="258575" y="771319"/>
                  <a:pt x="258581" y="768045"/>
                  <a:pt x="258584" y="764771"/>
                </a:cubicBezTo>
                <a:cubicBezTo>
                  <a:pt x="258618" y="762495"/>
                  <a:pt x="258618" y="762495"/>
                  <a:pt x="258652" y="760174"/>
                </a:cubicBezTo>
                <a:cubicBezTo>
                  <a:pt x="258586" y="750030"/>
                  <a:pt x="256266" y="742584"/>
                  <a:pt x="251616" y="733421"/>
                </a:cubicBezTo>
                <a:cubicBezTo>
                  <a:pt x="250163" y="729605"/>
                  <a:pt x="248880" y="725752"/>
                  <a:pt x="247613" y="721883"/>
                </a:cubicBezTo>
                <a:cubicBezTo>
                  <a:pt x="245789" y="716328"/>
                  <a:pt x="243913" y="710939"/>
                  <a:pt x="241291" y="705644"/>
                </a:cubicBezTo>
                <a:cubicBezTo>
                  <a:pt x="238691" y="700096"/>
                  <a:pt x="238136" y="695685"/>
                  <a:pt x="237557" y="689735"/>
                </a:cubicBezTo>
                <a:cubicBezTo>
                  <a:pt x="244977" y="685507"/>
                  <a:pt x="244977" y="685507"/>
                  <a:pt x="248492" y="685507"/>
                </a:cubicBezTo>
                <a:cubicBezTo>
                  <a:pt x="248492" y="684112"/>
                  <a:pt x="248492" y="682717"/>
                  <a:pt x="248492" y="681279"/>
                </a:cubicBezTo>
                <a:cubicBezTo>
                  <a:pt x="245914" y="680815"/>
                  <a:pt x="243337" y="680350"/>
                  <a:pt x="240681" y="679870"/>
                </a:cubicBezTo>
                <a:cubicBezTo>
                  <a:pt x="240681" y="678940"/>
                  <a:pt x="240681" y="678010"/>
                  <a:pt x="240681" y="677052"/>
                </a:cubicBezTo>
                <a:cubicBezTo>
                  <a:pt x="239827" y="676917"/>
                  <a:pt x="238973" y="676783"/>
                  <a:pt x="238094" y="676645"/>
                </a:cubicBezTo>
                <a:cubicBezTo>
                  <a:pt x="233442" y="675371"/>
                  <a:pt x="229939" y="673242"/>
                  <a:pt x="225841" y="670886"/>
                </a:cubicBezTo>
                <a:cubicBezTo>
                  <a:pt x="217808" y="666564"/>
                  <a:pt x="210635" y="664241"/>
                  <a:pt x="201531" y="662508"/>
                </a:cubicBezTo>
                <a:cubicBezTo>
                  <a:pt x="196896" y="661541"/>
                  <a:pt x="192682" y="660199"/>
                  <a:pt x="188252" y="658644"/>
                </a:cubicBezTo>
                <a:lnTo>
                  <a:pt x="182431" y="657327"/>
                </a:lnTo>
                <a:lnTo>
                  <a:pt x="182431" y="657613"/>
                </a:lnTo>
                <a:cubicBezTo>
                  <a:pt x="170575" y="657148"/>
                  <a:pt x="158718" y="656683"/>
                  <a:pt x="146503" y="656204"/>
                </a:cubicBezTo>
                <a:cubicBezTo>
                  <a:pt x="146503" y="657133"/>
                  <a:pt x="146503" y="658064"/>
                  <a:pt x="146503" y="659022"/>
                </a:cubicBezTo>
                <a:cubicBezTo>
                  <a:pt x="134359" y="662326"/>
                  <a:pt x="123013" y="663700"/>
                  <a:pt x="110378" y="663778"/>
                </a:cubicBezTo>
                <a:cubicBezTo>
                  <a:pt x="108435" y="663806"/>
                  <a:pt x="108435" y="663806"/>
                  <a:pt x="106453" y="663836"/>
                </a:cubicBezTo>
                <a:cubicBezTo>
                  <a:pt x="105231" y="663828"/>
                  <a:pt x="104009" y="663820"/>
                  <a:pt x="102751" y="663811"/>
                </a:cubicBezTo>
                <a:cubicBezTo>
                  <a:pt x="101117" y="663804"/>
                  <a:pt x="101117" y="663804"/>
                  <a:pt x="99449" y="663797"/>
                </a:cubicBezTo>
                <a:cubicBezTo>
                  <a:pt x="95696" y="663097"/>
                  <a:pt x="94265" y="661615"/>
                  <a:pt x="91828" y="659022"/>
                </a:cubicBezTo>
                <a:cubicBezTo>
                  <a:pt x="93890" y="659022"/>
                  <a:pt x="95953" y="659022"/>
                  <a:pt x="98077" y="659022"/>
                </a:cubicBezTo>
                <a:cubicBezTo>
                  <a:pt x="98077" y="659952"/>
                  <a:pt x="98077" y="660882"/>
                  <a:pt x="98077" y="661841"/>
                </a:cubicBezTo>
                <a:cubicBezTo>
                  <a:pt x="108735" y="662045"/>
                  <a:pt x="114063" y="662148"/>
                  <a:pt x="119023" y="661357"/>
                </a:cubicBezTo>
                <a:lnTo>
                  <a:pt x="119536" y="661197"/>
                </a:lnTo>
                <a:lnTo>
                  <a:pt x="109853" y="661639"/>
                </a:lnTo>
                <a:cubicBezTo>
                  <a:pt x="108764" y="661632"/>
                  <a:pt x="107675" y="661626"/>
                  <a:pt x="106552" y="661619"/>
                </a:cubicBezTo>
                <a:cubicBezTo>
                  <a:pt x="103877" y="661603"/>
                  <a:pt x="101203" y="661577"/>
                  <a:pt x="98528" y="661550"/>
                </a:cubicBezTo>
                <a:cubicBezTo>
                  <a:pt x="98528" y="660620"/>
                  <a:pt x="98528" y="659691"/>
                  <a:pt x="98528" y="658732"/>
                </a:cubicBezTo>
                <a:cubicBezTo>
                  <a:pt x="95435" y="658267"/>
                  <a:pt x="92342" y="657802"/>
                  <a:pt x="89155" y="657323"/>
                </a:cubicBezTo>
                <a:cubicBezTo>
                  <a:pt x="89155" y="656393"/>
                  <a:pt x="89155" y="655462"/>
                  <a:pt x="89155" y="654504"/>
                </a:cubicBezTo>
                <a:cubicBezTo>
                  <a:pt x="87790" y="653978"/>
                  <a:pt x="87790" y="653978"/>
                  <a:pt x="86397" y="653442"/>
                </a:cubicBezTo>
                <a:cubicBezTo>
                  <a:pt x="82415" y="651438"/>
                  <a:pt x="80039" y="649232"/>
                  <a:pt x="77049" y="646137"/>
                </a:cubicBezTo>
                <a:cubicBezTo>
                  <a:pt x="75611" y="644679"/>
                  <a:pt x="75611" y="644679"/>
                  <a:pt x="74145" y="643192"/>
                </a:cubicBezTo>
                <a:cubicBezTo>
                  <a:pt x="71972" y="640412"/>
                  <a:pt x="71972" y="640412"/>
                  <a:pt x="71972" y="636185"/>
                </a:cubicBezTo>
                <a:cubicBezTo>
                  <a:pt x="70941" y="636185"/>
                  <a:pt x="69910" y="636185"/>
                  <a:pt x="68848" y="636185"/>
                </a:cubicBezTo>
                <a:cubicBezTo>
                  <a:pt x="64250" y="621928"/>
                  <a:pt x="64695" y="609404"/>
                  <a:pt x="70410" y="595317"/>
                </a:cubicBezTo>
                <a:cubicBezTo>
                  <a:pt x="73096" y="591142"/>
                  <a:pt x="76144" y="587574"/>
                  <a:pt x="79782" y="584043"/>
                </a:cubicBezTo>
                <a:cubicBezTo>
                  <a:pt x="81205" y="582594"/>
                  <a:pt x="81205" y="582594"/>
                  <a:pt x="82656" y="581115"/>
                </a:cubicBezTo>
                <a:cubicBezTo>
                  <a:pt x="91488" y="574027"/>
                  <a:pt x="105133" y="571806"/>
                  <a:pt x="116694" y="572323"/>
                </a:cubicBezTo>
                <a:cubicBezTo>
                  <a:pt x="131556" y="574113"/>
                  <a:pt x="142046" y="580551"/>
                  <a:pt x="152031" y="590385"/>
                </a:cubicBezTo>
                <a:cubicBezTo>
                  <a:pt x="162272" y="600009"/>
                  <a:pt x="176992" y="605062"/>
                  <a:pt x="191474" y="605886"/>
                </a:cubicBezTo>
                <a:cubicBezTo>
                  <a:pt x="196845" y="606192"/>
                  <a:pt x="201203" y="606463"/>
                  <a:pt x="206314" y="608000"/>
                </a:cubicBezTo>
                <a:cubicBezTo>
                  <a:pt x="206314" y="608930"/>
                  <a:pt x="206314" y="609860"/>
                  <a:pt x="206314" y="610818"/>
                </a:cubicBezTo>
                <a:cubicBezTo>
                  <a:pt x="215689" y="610902"/>
                  <a:pt x="225058" y="610898"/>
                  <a:pt x="234433" y="610818"/>
                </a:cubicBezTo>
                <a:cubicBezTo>
                  <a:pt x="236112" y="610813"/>
                  <a:pt x="237791" y="610808"/>
                  <a:pt x="239522" y="610802"/>
                </a:cubicBezTo>
                <a:cubicBezTo>
                  <a:pt x="251005" y="610364"/>
                  <a:pt x="259257" y="606564"/>
                  <a:pt x="268799" y="600954"/>
                </a:cubicBezTo>
                <a:cubicBezTo>
                  <a:pt x="269770" y="600416"/>
                  <a:pt x="270740" y="599879"/>
                  <a:pt x="271740" y="599325"/>
                </a:cubicBezTo>
                <a:cubicBezTo>
                  <a:pt x="279452" y="594430"/>
                  <a:pt x="281420" y="587464"/>
                  <a:pt x="284420" y="579816"/>
                </a:cubicBezTo>
                <a:cubicBezTo>
                  <a:pt x="286047" y="576075"/>
                  <a:pt x="287725" y="572353"/>
                  <a:pt x="289399" y="568630"/>
                </a:cubicBezTo>
                <a:cubicBezTo>
                  <a:pt x="294095" y="558121"/>
                  <a:pt x="299004" y="547070"/>
                  <a:pt x="293958" y="535838"/>
                </a:cubicBezTo>
                <a:cubicBezTo>
                  <a:pt x="292436" y="533533"/>
                  <a:pt x="290781" y="531301"/>
                  <a:pt x="289107" y="529084"/>
                </a:cubicBezTo>
                <a:cubicBezTo>
                  <a:pt x="289107" y="528153"/>
                  <a:pt x="289107" y="527223"/>
                  <a:pt x="289107" y="526265"/>
                </a:cubicBezTo>
                <a:cubicBezTo>
                  <a:pt x="287560" y="525800"/>
                  <a:pt x="286014" y="525335"/>
                  <a:pt x="284420" y="524856"/>
                </a:cubicBezTo>
                <a:cubicBezTo>
                  <a:pt x="283905" y="523461"/>
                  <a:pt x="283389" y="522066"/>
                  <a:pt x="282858" y="520628"/>
                </a:cubicBezTo>
                <a:cubicBezTo>
                  <a:pt x="280750" y="518590"/>
                  <a:pt x="280750" y="518590"/>
                  <a:pt x="277977" y="516577"/>
                </a:cubicBezTo>
                <a:cubicBezTo>
                  <a:pt x="273591" y="513232"/>
                  <a:pt x="269227" y="509874"/>
                  <a:pt x="264925" y="506443"/>
                </a:cubicBezTo>
                <a:cubicBezTo>
                  <a:pt x="253596" y="497433"/>
                  <a:pt x="242132" y="488987"/>
                  <a:pt x="229746" y="481170"/>
                </a:cubicBezTo>
                <a:cubicBezTo>
                  <a:pt x="226846" y="479266"/>
                  <a:pt x="223950" y="477358"/>
                  <a:pt x="221057" y="475445"/>
                </a:cubicBezTo>
                <a:cubicBezTo>
                  <a:pt x="218227" y="473594"/>
                  <a:pt x="215396" y="471744"/>
                  <a:pt x="212563" y="469896"/>
                </a:cubicBezTo>
                <a:cubicBezTo>
                  <a:pt x="211351" y="469102"/>
                  <a:pt x="210138" y="468309"/>
                  <a:pt x="208889" y="467491"/>
                </a:cubicBezTo>
                <a:cubicBezTo>
                  <a:pt x="202848" y="463599"/>
                  <a:pt x="196732" y="459888"/>
                  <a:pt x="190406" y="456382"/>
                </a:cubicBezTo>
                <a:cubicBezTo>
                  <a:pt x="189263" y="455748"/>
                  <a:pt x="188119" y="455114"/>
                  <a:pt x="186942" y="454460"/>
                </a:cubicBezTo>
                <a:cubicBezTo>
                  <a:pt x="184648" y="453196"/>
                  <a:pt x="182348" y="451941"/>
                  <a:pt x="180041" y="450696"/>
                </a:cubicBezTo>
                <a:cubicBezTo>
                  <a:pt x="177292" y="449185"/>
                  <a:pt x="174612" y="447571"/>
                  <a:pt x="171948" y="445940"/>
                </a:cubicBezTo>
                <a:cubicBezTo>
                  <a:pt x="171948" y="445009"/>
                  <a:pt x="171948" y="444079"/>
                  <a:pt x="171948" y="443121"/>
                </a:cubicBezTo>
                <a:cubicBezTo>
                  <a:pt x="170804" y="442985"/>
                  <a:pt x="169660" y="442848"/>
                  <a:pt x="168482" y="442708"/>
                </a:cubicBezTo>
                <a:cubicBezTo>
                  <a:pt x="163547" y="441576"/>
                  <a:pt x="161063" y="439897"/>
                  <a:pt x="157107" y="437044"/>
                </a:cubicBezTo>
                <a:cubicBezTo>
                  <a:pt x="149345" y="431895"/>
                  <a:pt x="141843" y="429626"/>
                  <a:pt x="132559" y="427510"/>
                </a:cubicBezTo>
                <a:cubicBezTo>
                  <a:pt x="128067" y="426168"/>
                  <a:pt x="126607" y="425060"/>
                  <a:pt x="123522" y="421983"/>
                </a:cubicBezTo>
                <a:cubicBezTo>
                  <a:pt x="118310" y="419033"/>
                  <a:pt x="114076" y="418794"/>
                  <a:pt x="107986" y="418730"/>
                </a:cubicBezTo>
                <a:cubicBezTo>
                  <a:pt x="106174" y="418694"/>
                  <a:pt x="104362" y="418659"/>
                  <a:pt x="102494" y="418622"/>
                </a:cubicBezTo>
                <a:cubicBezTo>
                  <a:pt x="98715" y="418573"/>
                  <a:pt x="94936" y="418529"/>
                  <a:pt x="91157" y="418490"/>
                </a:cubicBezTo>
                <a:cubicBezTo>
                  <a:pt x="78470" y="418231"/>
                  <a:pt x="65485" y="417940"/>
                  <a:pt x="55277" y="410445"/>
                </a:cubicBezTo>
                <a:cubicBezTo>
                  <a:pt x="54084" y="409137"/>
                  <a:pt x="52893" y="407829"/>
                  <a:pt x="51665" y="406481"/>
                </a:cubicBezTo>
                <a:cubicBezTo>
                  <a:pt x="49752" y="404480"/>
                  <a:pt x="47831" y="402483"/>
                  <a:pt x="45904" y="400492"/>
                </a:cubicBezTo>
                <a:cubicBezTo>
                  <a:pt x="44996" y="399526"/>
                  <a:pt x="44088" y="398559"/>
                  <a:pt x="43152" y="397564"/>
                </a:cubicBezTo>
                <a:cubicBezTo>
                  <a:pt x="40865" y="395062"/>
                  <a:pt x="40865" y="395062"/>
                  <a:pt x="37605" y="393798"/>
                </a:cubicBezTo>
                <a:lnTo>
                  <a:pt x="38995" y="368712"/>
                </a:lnTo>
                <a:lnTo>
                  <a:pt x="38666" y="369724"/>
                </a:lnTo>
                <a:cubicBezTo>
                  <a:pt x="37003" y="374506"/>
                  <a:pt x="36202" y="379113"/>
                  <a:pt x="35542" y="384081"/>
                </a:cubicBezTo>
                <a:cubicBezTo>
                  <a:pt x="30313" y="376119"/>
                  <a:pt x="31188" y="366593"/>
                  <a:pt x="33326" y="357791"/>
                </a:cubicBezTo>
                <a:cubicBezTo>
                  <a:pt x="37176" y="347767"/>
                  <a:pt x="44536" y="340769"/>
                  <a:pt x="52725" y="333349"/>
                </a:cubicBezTo>
                <a:lnTo>
                  <a:pt x="55222" y="334475"/>
                </a:lnTo>
                <a:lnTo>
                  <a:pt x="56222" y="333347"/>
                </a:lnTo>
                <a:lnTo>
                  <a:pt x="55871" y="333347"/>
                </a:lnTo>
                <a:lnTo>
                  <a:pt x="56346" y="333207"/>
                </a:lnTo>
                <a:lnTo>
                  <a:pt x="56351" y="333202"/>
                </a:lnTo>
                <a:lnTo>
                  <a:pt x="56365" y="333202"/>
                </a:lnTo>
                <a:lnTo>
                  <a:pt x="79571" y="326360"/>
                </a:lnTo>
                <a:cubicBezTo>
                  <a:pt x="87782" y="326037"/>
                  <a:pt x="96164" y="327572"/>
                  <a:pt x="104297" y="330529"/>
                </a:cubicBezTo>
                <a:lnTo>
                  <a:pt x="107170" y="334417"/>
                </a:lnTo>
                <a:lnTo>
                  <a:pt x="109366" y="336046"/>
                </a:lnTo>
                <a:lnTo>
                  <a:pt x="109463" y="336020"/>
                </a:lnTo>
                <a:lnTo>
                  <a:pt x="109463" y="336118"/>
                </a:lnTo>
                <a:lnTo>
                  <a:pt x="115226" y="340394"/>
                </a:lnTo>
                <a:lnTo>
                  <a:pt x="114010" y="340120"/>
                </a:lnTo>
                <a:lnTo>
                  <a:pt x="133285" y="357423"/>
                </a:lnTo>
                <a:cubicBezTo>
                  <a:pt x="142471" y="373187"/>
                  <a:pt x="155564" y="382744"/>
                  <a:pt x="173509" y="389571"/>
                </a:cubicBezTo>
                <a:cubicBezTo>
                  <a:pt x="176254" y="390785"/>
                  <a:pt x="178988" y="392017"/>
                  <a:pt x="181711" y="393270"/>
                </a:cubicBezTo>
                <a:cubicBezTo>
                  <a:pt x="182964" y="393833"/>
                  <a:pt x="184216" y="394396"/>
                  <a:pt x="185507" y="394976"/>
                </a:cubicBezTo>
                <a:cubicBezTo>
                  <a:pt x="187897" y="396058"/>
                  <a:pt x="190281" y="397151"/>
                  <a:pt x="192658" y="398257"/>
                </a:cubicBezTo>
                <a:cubicBezTo>
                  <a:pt x="193749" y="398762"/>
                  <a:pt x="194841" y="399267"/>
                  <a:pt x="195966" y="399788"/>
                </a:cubicBezTo>
                <a:cubicBezTo>
                  <a:pt x="196912" y="400231"/>
                  <a:pt x="197858" y="400674"/>
                  <a:pt x="198833" y="401131"/>
                </a:cubicBezTo>
                <a:cubicBezTo>
                  <a:pt x="201808" y="402326"/>
                  <a:pt x="204701" y="403032"/>
                  <a:pt x="207877" y="403663"/>
                </a:cubicBezTo>
                <a:cubicBezTo>
                  <a:pt x="207877" y="404593"/>
                  <a:pt x="207877" y="405523"/>
                  <a:pt x="207877" y="406481"/>
                </a:cubicBezTo>
                <a:cubicBezTo>
                  <a:pt x="221233" y="411377"/>
                  <a:pt x="234752" y="415503"/>
                  <a:pt x="248492" y="419428"/>
                </a:cubicBezTo>
                <a:cubicBezTo>
                  <a:pt x="250298" y="419947"/>
                  <a:pt x="252104" y="420466"/>
                  <a:pt x="253965" y="421000"/>
                </a:cubicBezTo>
                <a:cubicBezTo>
                  <a:pt x="258388" y="422270"/>
                  <a:pt x="262812" y="423537"/>
                  <a:pt x="267237" y="424801"/>
                </a:cubicBezTo>
                <a:lnTo>
                  <a:pt x="267237" y="426451"/>
                </a:lnTo>
                <a:lnTo>
                  <a:pt x="288701" y="429217"/>
                </a:lnTo>
                <a:cubicBezTo>
                  <a:pt x="288701" y="430147"/>
                  <a:pt x="288701" y="431078"/>
                  <a:pt x="288701" y="432036"/>
                </a:cubicBezTo>
                <a:cubicBezTo>
                  <a:pt x="301487" y="433472"/>
                  <a:pt x="314148" y="433662"/>
                  <a:pt x="327010" y="433628"/>
                </a:cubicBezTo>
                <a:cubicBezTo>
                  <a:pt x="330502" y="433621"/>
                  <a:pt x="333994" y="433628"/>
                  <a:pt x="337486" y="433637"/>
                </a:cubicBezTo>
                <a:cubicBezTo>
                  <a:pt x="339734" y="433637"/>
                  <a:pt x="341982" y="433635"/>
                  <a:pt x="344229" y="433632"/>
                </a:cubicBezTo>
                <a:cubicBezTo>
                  <a:pt x="347246" y="433630"/>
                  <a:pt x="347246" y="433630"/>
                  <a:pt x="350323" y="433627"/>
                </a:cubicBezTo>
                <a:cubicBezTo>
                  <a:pt x="355445" y="433459"/>
                  <a:pt x="360220" y="432915"/>
                  <a:pt x="365245" y="432036"/>
                </a:cubicBezTo>
                <a:lnTo>
                  <a:pt x="360797" y="433759"/>
                </a:lnTo>
                <a:lnTo>
                  <a:pt x="365650" y="433257"/>
                </a:lnTo>
                <a:cubicBezTo>
                  <a:pt x="366166" y="431861"/>
                  <a:pt x="366682" y="430466"/>
                  <a:pt x="367213" y="429029"/>
                </a:cubicBezTo>
                <a:cubicBezTo>
                  <a:pt x="369854" y="427628"/>
                  <a:pt x="372501" y="426234"/>
                  <a:pt x="375188" y="424906"/>
                </a:cubicBezTo>
                <a:cubicBezTo>
                  <a:pt x="390245" y="417204"/>
                  <a:pt x="397438" y="403183"/>
                  <a:pt x="404704" y="389571"/>
                </a:cubicBezTo>
                <a:cubicBezTo>
                  <a:pt x="405219" y="389105"/>
                  <a:pt x="405734" y="388641"/>
                  <a:pt x="406265" y="388161"/>
                </a:cubicBezTo>
                <a:cubicBezTo>
                  <a:pt x="406663" y="382152"/>
                  <a:pt x="406555" y="376125"/>
                  <a:pt x="406559" y="370106"/>
                </a:cubicBezTo>
                <a:cubicBezTo>
                  <a:pt x="406578" y="368412"/>
                  <a:pt x="406597" y="366718"/>
                  <a:pt x="406617" y="364973"/>
                </a:cubicBezTo>
                <a:cubicBezTo>
                  <a:pt x="406620" y="363344"/>
                  <a:pt x="406622" y="361715"/>
                  <a:pt x="406626" y="360038"/>
                </a:cubicBezTo>
                <a:cubicBezTo>
                  <a:pt x="406632" y="358541"/>
                  <a:pt x="406638" y="357045"/>
                  <a:pt x="406645" y="355503"/>
                </a:cubicBezTo>
                <a:cubicBezTo>
                  <a:pt x="406264" y="351503"/>
                  <a:pt x="405326" y="349318"/>
                  <a:pt x="403142" y="345885"/>
                </a:cubicBezTo>
                <a:cubicBezTo>
                  <a:pt x="402583" y="343484"/>
                  <a:pt x="402067" y="341075"/>
                  <a:pt x="401579" y="338663"/>
                </a:cubicBezTo>
                <a:cubicBezTo>
                  <a:pt x="399365" y="330323"/>
                  <a:pt x="395538" y="323370"/>
                  <a:pt x="390938" y="315939"/>
                </a:cubicBezTo>
                <a:cubicBezTo>
                  <a:pt x="390290" y="314890"/>
                  <a:pt x="389642" y="313842"/>
                  <a:pt x="388976" y="312762"/>
                </a:cubicBezTo>
                <a:cubicBezTo>
                  <a:pt x="385623" y="307500"/>
                  <a:pt x="382070" y="302607"/>
                  <a:pt x="377934" y="297817"/>
                </a:cubicBezTo>
                <a:cubicBezTo>
                  <a:pt x="373788" y="292978"/>
                  <a:pt x="371423" y="288111"/>
                  <a:pt x="368775" y="282470"/>
                </a:cubicBezTo>
                <a:cubicBezTo>
                  <a:pt x="366035" y="278585"/>
                  <a:pt x="362994" y="274937"/>
                  <a:pt x="359890" y="271284"/>
                </a:cubicBezTo>
                <a:cubicBezTo>
                  <a:pt x="359059" y="270296"/>
                  <a:pt x="358230" y="269307"/>
                  <a:pt x="357374" y="268288"/>
                </a:cubicBezTo>
                <a:cubicBezTo>
                  <a:pt x="351312" y="261177"/>
                  <a:pt x="344882" y="254704"/>
                  <a:pt x="337533" y="248649"/>
                </a:cubicBezTo>
                <a:cubicBezTo>
                  <a:pt x="336767" y="247896"/>
                  <a:pt x="336002" y="247144"/>
                  <a:pt x="335214" y="246369"/>
                </a:cubicBezTo>
                <a:cubicBezTo>
                  <a:pt x="332597" y="243963"/>
                  <a:pt x="332597" y="243963"/>
                  <a:pt x="327085" y="242571"/>
                </a:cubicBezTo>
                <a:cubicBezTo>
                  <a:pt x="309670" y="236923"/>
                  <a:pt x="296614" y="222751"/>
                  <a:pt x="288785" y="207968"/>
                </a:cubicBezTo>
                <a:cubicBezTo>
                  <a:pt x="286673" y="202851"/>
                  <a:pt x="286348" y="197968"/>
                  <a:pt x="286373" y="192544"/>
                </a:cubicBezTo>
                <a:cubicBezTo>
                  <a:pt x="286377" y="191437"/>
                  <a:pt x="286381" y="190330"/>
                  <a:pt x="286385" y="189190"/>
                </a:cubicBezTo>
                <a:cubicBezTo>
                  <a:pt x="286881" y="178340"/>
                  <a:pt x="291581" y="171728"/>
                  <a:pt x="300042" y="164095"/>
                </a:cubicBezTo>
                <a:cubicBezTo>
                  <a:pt x="301386" y="162752"/>
                  <a:pt x="301386" y="162752"/>
                  <a:pt x="302757" y="161381"/>
                </a:cubicBezTo>
                <a:cubicBezTo>
                  <a:pt x="312597" y="152504"/>
                  <a:pt x="325185" y="152675"/>
                  <a:pt x="338411" y="152293"/>
                </a:cubicBezTo>
                <a:cubicBezTo>
                  <a:pt x="350839" y="152463"/>
                  <a:pt x="359094" y="154554"/>
                  <a:pt x="368482" y="161893"/>
                </a:cubicBezTo>
                <a:cubicBezTo>
                  <a:pt x="369609" y="163085"/>
                  <a:pt x="370737" y="164277"/>
                  <a:pt x="371899" y="165505"/>
                </a:cubicBezTo>
                <a:cubicBezTo>
                  <a:pt x="372962" y="166522"/>
                  <a:pt x="374026" y="167539"/>
                  <a:pt x="375121" y="168587"/>
                </a:cubicBezTo>
                <a:cubicBezTo>
                  <a:pt x="381050" y="176351"/>
                  <a:pt x="384520" y="184328"/>
                  <a:pt x="384982" y="193777"/>
                </a:cubicBezTo>
                <a:cubicBezTo>
                  <a:pt x="385464" y="201192"/>
                  <a:pt x="387638" y="207607"/>
                  <a:pt x="390352" y="214563"/>
                </a:cubicBezTo>
                <a:cubicBezTo>
                  <a:pt x="390934" y="216079"/>
                  <a:pt x="390934" y="216079"/>
                  <a:pt x="391529" y="217626"/>
                </a:cubicBezTo>
                <a:cubicBezTo>
                  <a:pt x="394082" y="223926"/>
                  <a:pt x="397412" y="228969"/>
                  <a:pt x="401579" y="234556"/>
                </a:cubicBezTo>
                <a:cubicBezTo>
                  <a:pt x="401579" y="235952"/>
                  <a:pt x="401579" y="237347"/>
                  <a:pt x="401579" y="238784"/>
                </a:cubicBezTo>
                <a:cubicBezTo>
                  <a:pt x="402884" y="239263"/>
                  <a:pt x="402884" y="239263"/>
                  <a:pt x="404215" y="239753"/>
                </a:cubicBezTo>
                <a:cubicBezTo>
                  <a:pt x="410099" y="242765"/>
                  <a:pt x="414395" y="246733"/>
                  <a:pt x="417811" y="251996"/>
                </a:cubicBezTo>
                <a:cubicBezTo>
                  <a:pt x="420462" y="255897"/>
                  <a:pt x="423407" y="258959"/>
                  <a:pt x="426866" y="262300"/>
                </a:cubicBezTo>
                <a:cubicBezTo>
                  <a:pt x="435101" y="270407"/>
                  <a:pt x="442641" y="278936"/>
                  <a:pt x="450097" y="287628"/>
                </a:cubicBezTo>
                <a:cubicBezTo>
                  <a:pt x="453081" y="291117"/>
                  <a:pt x="453081" y="291117"/>
                  <a:pt x="457425" y="293920"/>
                </a:cubicBezTo>
                <a:cubicBezTo>
                  <a:pt x="458585" y="294792"/>
                  <a:pt x="459745" y="295664"/>
                  <a:pt x="460940" y="296562"/>
                </a:cubicBezTo>
                <a:cubicBezTo>
                  <a:pt x="460940" y="297957"/>
                  <a:pt x="460940" y="299352"/>
                  <a:pt x="460940" y="300790"/>
                </a:cubicBezTo>
                <a:cubicBezTo>
                  <a:pt x="465063" y="302782"/>
                  <a:pt x="468862" y="304133"/>
                  <a:pt x="473437" y="305018"/>
                </a:cubicBezTo>
                <a:cubicBezTo>
                  <a:pt x="473437" y="305947"/>
                  <a:pt x="473437" y="306877"/>
                  <a:pt x="473437" y="307836"/>
                </a:cubicBezTo>
                <a:cubicBezTo>
                  <a:pt x="475581" y="308519"/>
                  <a:pt x="477730" y="309193"/>
                  <a:pt x="479881" y="309862"/>
                </a:cubicBezTo>
                <a:cubicBezTo>
                  <a:pt x="481077" y="310237"/>
                  <a:pt x="482273" y="310614"/>
                  <a:pt x="483505" y="311001"/>
                </a:cubicBezTo>
                <a:cubicBezTo>
                  <a:pt x="505448" y="316843"/>
                  <a:pt x="527690" y="314359"/>
                  <a:pt x="548419" y="306427"/>
                </a:cubicBezTo>
                <a:cubicBezTo>
                  <a:pt x="549548" y="305998"/>
                  <a:pt x="550678" y="305569"/>
                  <a:pt x="551842" y="305127"/>
                </a:cubicBezTo>
                <a:cubicBezTo>
                  <a:pt x="555376" y="303227"/>
                  <a:pt x="557584" y="300980"/>
                  <a:pt x="560232" y="298148"/>
                </a:cubicBezTo>
                <a:cubicBezTo>
                  <a:pt x="561137" y="297192"/>
                  <a:pt x="562041" y="296236"/>
                  <a:pt x="562972" y="295252"/>
                </a:cubicBezTo>
                <a:cubicBezTo>
                  <a:pt x="564755" y="293274"/>
                  <a:pt x="566459" y="291237"/>
                  <a:pt x="568086" y="289152"/>
                </a:cubicBezTo>
                <a:cubicBezTo>
                  <a:pt x="568813" y="288342"/>
                  <a:pt x="569539" y="287532"/>
                  <a:pt x="570289" y="286697"/>
                </a:cubicBezTo>
                <a:cubicBezTo>
                  <a:pt x="571319" y="286697"/>
                  <a:pt x="572350" y="286697"/>
                  <a:pt x="573413" y="286697"/>
                </a:cubicBezTo>
                <a:cubicBezTo>
                  <a:pt x="577408" y="276984"/>
                  <a:pt x="577197" y="267284"/>
                  <a:pt x="577220" y="257016"/>
                </a:cubicBezTo>
                <a:cubicBezTo>
                  <a:pt x="577227" y="255625"/>
                  <a:pt x="577227" y="255625"/>
                  <a:pt x="577235" y="254206"/>
                </a:cubicBezTo>
                <a:cubicBezTo>
                  <a:pt x="577257" y="237553"/>
                  <a:pt x="574604" y="222055"/>
                  <a:pt x="569443" y="206049"/>
                </a:cubicBezTo>
                <a:cubicBezTo>
                  <a:pt x="568726" y="203553"/>
                  <a:pt x="568726" y="203553"/>
                  <a:pt x="568726" y="200735"/>
                </a:cubicBezTo>
                <a:cubicBezTo>
                  <a:pt x="567695" y="200735"/>
                  <a:pt x="566664" y="200735"/>
                  <a:pt x="565602" y="200735"/>
                </a:cubicBezTo>
                <a:cubicBezTo>
                  <a:pt x="563274" y="195295"/>
                  <a:pt x="561092" y="190108"/>
                  <a:pt x="559549" y="184441"/>
                </a:cubicBezTo>
                <a:cubicBezTo>
                  <a:pt x="555572" y="173477"/>
                  <a:pt x="547043" y="167105"/>
                  <a:pt x="537484" y="159867"/>
                </a:cubicBezTo>
                <a:cubicBezTo>
                  <a:pt x="533579" y="156609"/>
                  <a:pt x="533579" y="156609"/>
                  <a:pt x="531235" y="154230"/>
                </a:cubicBezTo>
                <a:cubicBezTo>
                  <a:pt x="531235" y="153301"/>
                  <a:pt x="531235" y="152371"/>
                  <a:pt x="531235" y="151412"/>
                </a:cubicBezTo>
                <a:cubicBezTo>
                  <a:pt x="529689" y="150947"/>
                  <a:pt x="528143" y="150482"/>
                  <a:pt x="526549" y="150003"/>
                </a:cubicBezTo>
                <a:cubicBezTo>
                  <a:pt x="519904" y="137298"/>
                  <a:pt x="519105" y="120357"/>
                  <a:pt x="524304" y="107198"/>
                </a:cubicBezTo>
                <a:cubicBezTo>
                  <a:pt x="529443" y="97376"/>
                  <a:pt x="535781" y="90193"/>
                  <a:pt x="547052" y="85972"/>
                </a:cubicBezTo>
                <a:cubicBezTo>
                  <a:pt x="559924" y="81835"/>
                  <a:pt x="575221" y="79746"/>
                  <a:pt x="588460" y="83538"/>
                </a:cubicBezTo>
                <a:cubicBezTo>
                  <a:pt x="601643" y="89713"/>
                  <a:pt x="611835" y="99450"/>
                  <a:pt x="617152" y="111954"/>
                </a:cubicBezTo>
                <a:cubicBezTo>
                  <a:pt x="617935" y="116052"/>
                  <a:pt x="617954" y="120024"/>
                  <a:pt x="617884" y="124175"/>
                </a:cubicBezTo>
                <a:cubicBezTo>
                  <a:pt x="617896" y="125307"/>
                  <a:pt x="617906" y="126440"/>
                  <a:pt x="617917" y="127607"/>
                </a:cubicBezTo>
                <a:cubicBezTo>
                  <a:pt x="617963" y="132394"/>
                  <a:pt x="617938" y="137181"/>
                  <a:pt x="617919" y="141969"/>
                </a:cubicBezTo>
                <a:cubicBezTo>
                  <a:pt x="617899" y="160184"/>
                  <a:pt x="619422" y="175572"/>
                  <a:pt x="630625" y="191311"/>
                </a:cubicBezTo>
                <a:cubicBezTo>
                  <a:pt x="633753" y="195891"/>
                  <a:pt x="636431" y="199900"/>
                  <a:pt x="637850" y="205139"/>
                </a:cubicBezTo>
                <a:cubicBezTo>
                  <a:pt x="638615" y="209623"/>
                  <a:pt x="638615" y="209623"/>
                  <a:pt x="643708" y="212009"/>
                </a:cubicBezTo>
                <a:cubicBezTo>
                  <a:pt x="645380" y="214563"/>
                  <a:pt x="645380" y="214563"/>
                  <a:pt x="647027" y="217645"/>
                </a:cubicBezTo>
                <a:cubicBezTo>
                  <a:pt x="652549" y="227016"/>
                  <a:pt x="660443" y="235696"/>
                  <a:pt x="670264" y="241603"/>
                </a:cubicBezTo>
                <a:cubicBezTo>
                  <a:pt x="670264" y="242532"/>
                  <a:pt x="670264" y="243462"/>
                  <a:pt x="670264" y="244421"/>
                </a:cubicBezTo>
                <a:cubicBezTo>
                  <a:pt x="672036" y="244857"/>
                  <a:pt x="673808" y="245293"/>
                  <a:pt x="675634" y="245742"/>
                </a:cubicBezTo>
                <a:cubicBezTo>
                  <a:pt x="681199" y="247239"/>
                  <a:pt x="681199" y="247239"/>
                  <a:pt x="682761" y="248649"/>
                </a:cubicBezTo>
                <a:cubicBezTo>
                  <a:pt x="704487" y="252065"/>
                  <a:pt x="732606" y="256402"/>
                  <a:pt x="752092" y="245076"/>
                </a:cubicBezTo>
                <a:cubicBezTo>
                  <a:pt x="754252" y="243599"/>
                  <a:pt x="756372" y="242073"/>
                  <a:pt x="758433" y="240485"/>
                </a:cubicBezTo>
                <a:cubicBezTo>
                  <a:pt x="760867" y="238784"/>
                  <a:pt x="760867" y="238784"/>
                  <a:pt x="763991" y="238784"/>
                </a:cubicBezTo>
                <a:cubicBezTo>
                  <a:pt x="764647" y="237296"/>
                  <a:pt x="764647" y="237296"/>
                  <a:pt x="765315" y="235778"/>
                </a:cubicBezTo>
                <a:cubicBezTo>
                  <a:pt x="767151" y="231659"/>
                  <a:pt x="769030" y="227557"/>
                  <a:pt x="770923" y="223459"/>
                </a:cubicBezTo>
                <a:cubicBezTo>
                  <a:pt x="771608" y="221966"/>
                  <a:pt x="772292" y="220472"/>
                  <a:pt x="772998" y="218934"/>
                </a:cubicBezTo>
                <a:cubicBezTo>
                  <a:pt x="774429" y="215885"/>
                  <a:pt x="775968" y="212878"/>
                  <a:pt x="777562" y="209895"/>
                </a:cubicBezTo>
                <a:cubicBezTo>
                  <a:pt x="787607" y="185732"/>
                  <a:pt x="788559" y="149501"/>
                  <a:pt x="781175" y="124637"/>
                </a:cubicBezTo>
                <a:cubicBezTo>
                  <a:pt x="780144" y="124637"/>
                  <a:pt x="779113" y="124637"/>
                  <a:pt x="778051" y="124637"/>
                </a:cubicBezTo>
                <a:cubicBezTo>
                  <a:pt x="768501" y="110080"/>
                  <a:pt x="762898" y="96653"/>
                  <a:pt x="767116" y="79542"/>
                </a:cubicBezTo>
                <a:cubicBezTo>
                  <a:pt x="772286" y="69057"/>
                  <a:pt x="781456" y="58252"/>
                  <a:pt x="793379" y="54000"/>
                </a:cubicBezTo>
                <a:cubicBezTo>
                  <a:pt x="808369" y="49250"/>
                  <a:pt x="826058" y="49579"/>
                  <a:pt x="840688" y="55503"/>
                </a:cubicBezTo>
                <a:cubicBezTo>
                  <a:pt x="845183" y="57759"/>
                  <a:pt x="848037" y="60575"/>
                  <a:pt x="851470" y="64040"/>
                </a:cubicBezTo>
                <a:cubicBezTo>
                  <a:pt x="852721" y="65272"/>
                  <a:pt x="852721" y="65272"/>
                  <a:pt x="853997" y="66529"/>
                </a:cubicBezTo>
                <a:cubicBezTo>
                  <a:pt x="858396" y="71505"/>
                  <a:pt x="860490" y="76640"/>
                  <a:pt x="861488" y="82057"/>
                </a:cubicBezTo>
                <a:lnTo>
                  <a:pt x="861937" y="90492"/>
                </a:lnTo>
                <a:lnTo>
                  <a:pt x="863826" y="100715"/>
                </a:lnTo>
                <a:cubicBezTo>
                  <a:pt x="862141" y="107853"/>
                  <a:pt x="859866" y="114857"/>
                  <a:pt x="857577" y="121853"/>
                </a:cubicBezTo>
                <a:cubicBezTo>
                  <a:pt x="857062" y="121853"/>
                  <a:pt x="856547" y="121853"/>
                  <a:pt x="856015" y="121853"/>
                </a:cubicBezTo>
                <a:cubicBezTo>
                  <a:pt x="855731" y="120401"/>
                  <a:pt x="855731" y="120401"/>
                  <a:pt x="855442" y="118919"/>
                </a:cubicBezTo>
                <a:lnTo>
                  <a:pt x="855417" y="118798"/>
                </a:lnTo>
                <a:lnTo>
                  <a:pt x="856157" y="124637"/>
                </a:lnTo>
                <a:lnTo>
                  <a:pt x="850623" y="134701"/>
                </a:lnTo>
                <a:lnTo>
                  <a:pt x="851325" y="135968"/>
                </a:lnTo>
                <a:cubicBezTo>
                  <a:pt x="850851" y="137246"/>
                  <a:pt x="850376" y="138525"/>
                  <a:pt x="849886" y="139843"/>
                </a:cubicBezTo>
                <a:cubicBezTo>
                  <a:pt x="848171" y="144505"/>
                  <a:pt x="847798" y="148002"/>
                  <a:pt x="847786" y="152889"/>
                </a:cubicBezTo>
                <a:cubicBezTo>
                  <a:pt x="847779" y="154500"/>
                  <a:pt x="847773" y="156109"/>
                  <a:pt x="847767" y="157768"/>
                </a:cubicBezTo>
                <a:cubicBezTo>
                  <a:pt x="847782" y="159468"/>
                  <a:pt x="847796" y="161167"/>
                  <a:pt x="847810" y="162919"/>
                </a:cubicBezTo>
                <a:cubicBezTo>
                  <a:pt x="847821" y="165546"/>
                  <a:pt x="847821" y="165546"/>
                  <a:pt x="847832" y="168227"/>
                </a:cubicBezTo>
                <a:cubicBezTo>
                  <a:pt x="847980" y="181934"/>
                  <a:pt x="849003" y="195419"/>
                  <a:pt x="850903" y="209013"/>
                </a:cubicBezTo>
                <a:lnTo>
                  <a:pt x="852880" y="224692"/>
                </a:lnTo>
                <a:lnTo>
                  <a:pt x="854595" y="224692"/>
                </a:lnTo>
                <a:cubicBezTo>
                  <a:pt x="855086" y="225542"/>
                  <a:pt x="855577" y="226392"/>
                  <a:pt x="856083" y="227268"/>
                </a:cubicBezTo>
                <a:cubicBezTo>
                  <a:pt x="862358" y="237839"/>
                  <a:pt x="866924" y="242785"/>
                  <a:pt x="879588" y="247239"/>
                </a:cubicBezTo>
                <a:cubicBezTo>
                  <a:pt x="881642" y="248025"/>
                  <a:pt x="883692" y="248817"/>
                  <a:pt x="885739" y="249618"/>
                </a:cubicBezTo>
                <a:cubicBezTo>
                  <a:pt x="887318" y="250227"/>
                  <a:pt x="888897" y="250838"/>
                  <a:pt x="890523" y="251467"/>
                </a:cubicBezTo>
                <a:cubicBezTo>
                  <a:pt x="890523" y="252397"/>
                  <a:pt x="890523" y="253327"/>
                  <a:pt x="890523" y="254285"/>
                </a:cubicBezTo>
                <a:cubicBezTo>
                  <a:pt x="900347" y="257061"/>
                  <a:pt x="910127" y="259425"/>
                  <a:pt x="920203" y="261332"/>
                </a:cubicBezTo>
                <a:cubicBezTo>
                  <a:pt x="920203" y="261796"/>
                  <a:pt x="920203" y="262262"/>
                  <a:pt x="920203" y="262741"/>
                </a:cubicBezTo>
                <a:cubicBezTo>
                  <a:pt x="917111" y="262741"/>
                  <a:pt x="914018" y="262741"/>
                  <a:pt x="910831" y="262741"/>
                </a:cubicBezTo>
                <a:lnTo>
                  <a:pt x="910831" y="262864"/>
                </a:lnTo>
                <a:lnTo>
                  <a:pt x="927993" y="264177"/>
                </a:lnTo>
                <a:lnTo>
                  <a:pt x="939273" y="265285"/>
                </a:lnTo>
                <a:lnTo>
                  <a:pt x="940456" y="265191"/>
                </a:lnTo>
                <a:cubicBezTo>
                  <a:pt x="962552" y="263054"/>
                  <a:pt x="974979" y="255295"/>
                  <a:pt x="991622" y="242329"/>
                </a:cubicBezTo>
                <a:lnTo>
                  <a:pt x="1000803" y="236505"/>
                </a:lnTo>
                <a:lnTo>
                  <a:pt x="999806" y="236055"/>
                </a:lnTo>
                <a:cubicBezTo>
                  <a:pt x="1000902" y="234997"/>
                  <a:pt x="1001997" y="233941"/>
                  <a:pt x="1003126" y="232851"/>
                </a:cubicBezTo>
                <a:cubicBezTo>
                  <a:pt x="1012364" y="223880"/>
                  <a:pt x="1021184" y="214752"/>
                  <a:pt x="1029487" y="205052"/>
                </a:cubicBezTo>
                <a:lnTo>
                  <a:pt x="1029872" y="206442"/>
                </a:lnTo>
                <a:lnTo>
                  <a:pt x="1031614" y="203719"/>
                </a:lnTo>
                <a:cubicBezTo>
                  <a:pt x="1033221" y="199204"/>
                  <a:pt x="1035713" y="196017"/>
                  <a:pt x="1038924" y="192280"/>
                </a:cubicBezTo>
                <a:cubicBezTo>
                  <a:pt x="1039956" y="191815"/>
                  <a:pt x="1040987" y="191349"/>
                  <a:pt x="1042049" y="190870"/>
                </a:cubicBezTo>
                <a:cubicBezTo>
                  <a:pt x="1043161" y="188473"/>
                  <a:pt x="1043161" y="188473"/>
                  <a:pt x="1044294" y="186026"/>
                </a:cubicBezTo>
                <a:cubicBezTo>
                  <a:pt x="1046735" y="181006"/>
                  <a:pt x="1046735" y="181006"/>
                  <a:pt x="1051422" y="178188"/>
                </a:cubicBezTo>
                <a:cubicBezTo>
                  <a:pt x="1052553" y="175286"/>
                  <a:pt x="1052553" y="175286"/>
                  <a:pt x="1052984" y="172551"/>
                </a:cubicBezTo>
                <a:cubicBezTo>
                  <a:pt x="1054014" y="172551"/>
                  <a:pt x="1055046" y="172551"/>
                  <a:pt x="1056108" y="172551"/>
                </a:cubicBezTo>
                <a:cubicBezTo>
                  <a:pt x="1057139" y="169295"/>
                  <a:pt x="1058170" y="166040"/>
                  <a:pt x="1059232" y="162686"/>
                </a:cubicBezTo>
                <a:cubicBezTo>
                  <a:pt x="1060263" y="162686"/>
                  <a:pt x="1061295" y="162686"/>
                  <a:pt x="1062357" y="162686"/>
                </a:cubicBezTo>
                <a:cubicBezTo>
                  <a:pt x="1062755" y="161484"/>
                  <a:pt x="1062755" y="161484"/>
                  <a:pt x="1063162" y="160258"/>
                </a:cubicBezTo>
                <a:cubicBezTo>
                  <a:pt x="1065716" y="152917"/>
                  <a:pt x="1068813" y="146686"/>
                  <a:pt x="1073292" y="140138"/>
                </a:cubicBezTo>
                <a:cubicBezTo>
                  <a:pt x="1074322" y="140138"/>
                  <a:pt x="1075353" y="140138"/>
                  <a:pt x="1076415" y="140138"/>
                </a:cubicBezTo>
                <a:cubicBezTo>
                  <a:pt x="1079808" y="132748"/>
                  <a:pt x="1082509" y="125160"/>
                  <a:pt x="1085294" y="117569"/>
                </a:cubicBezTo>
                <a:cubicBezTo>
                  <a:pt x="1085972" y="116181"/>
                  <a:pt x="1086651" y="114793"/>
                  <a:pt x="1087350" y="113363"/>
                </a:cubicBezTo>
                <a:cubicBezTo>
                  <a:pt x="1089671" y="112666"/>
                  <a:pt x="1089671" y="112666"/>
                  <a:pt x="1092037" y="111954"/>
                </a:cubicBezTo>
                <a:cubicBezTo>
                  <a:pt x="1092230" y="110879"/>
                  <a:pt x="1092423" y="109803"/>
                  <a:pt x="1092623" y="108695"/>
                </a:cubicBezTo>
                <a:cubicBezTo>
                  <a:pt x="1093599" y="104908"/>
                  <a:pt x="1093599" y="104908"/>
                  <a:pt x="1096723" y="100680"/>
                </a:cubicBezTo>
                <a:cubicBezTo>
                  <a:pt x="1097207" y="99140"/>
                  <a:pt x="1097689" y="97599"/>
                  <a:pt x="1098188" y="96013"/>
                </a:cubicBezTo>
                <a:cubicBezTo>
                  <a:pt x="1099847" y="90815"/>
                  <a:pt x="1099847" y="90815"/>
                  <a:pt x="1102288" y="87029"/>
                </a:cubicBezTo>
                <a:cubicBezTo>
                  <a:pt x="1106061" y="79186"/>
                  <a:pt x="1107564" y="69424"/>
                  <a:pt x="1104534" y="61222"/>
                </a:cubicBezTo>
                <a:cubicBezTo>
                  <a:pt x="1104409" y="59341"/>
                  <a:pt x="1104366" y="57454"/>
                  <a:pt x="1104381" y="55569"/>
                </a:cubicBezTo>
                <a:cubicBezTo>
                  <a:pt x="1104386" y="54501"/>
                  <a:pt x="1104391" y="53434"/>
                  <a:pt x="1104397" y="52335"/>
                </a:cubicBezTo>
                <a:cubicBezTo>
                  <a:pt x="1104410" y="51228"/>
                  <a:pt x="1104423" y="50120"/>
                  <a:pt x="1104436" y="48979"/>
                </a:cubicBezTo>
                <a:cubicBezTo>
                  <a:pt x="1104443" y="47856"/>
                  <a:pt x="1104451" y="46733"/>
                  <a:pt x="1104457" y="45575"/>
                </a:cubicBezTo>
                <a:cubicBezTo>
                  <a:pt x="1104476" y="42805"/>
                  <a:pt x="1104504" y="40035"/>
                  <a:pt x="1104534" y="37265"/>
                </a:cubicBezTo>
                <a:cubicBezTo>
                  <a:pt x="1105565" y="37265"/>
                  <a:pt x="1106596" y="37265"/>
                  <a:pt x="1107658" y="37265"/>
                </a:cubicBezTo>
                <a:cubicBezTo>
                  <a:pt x="1107561" y="34562"/>
                  <a:pt x="1107561" y="34562"/>
                  <a:pt x="1107463" y="31805"/>
                </a:cubicBezTo>
                <a:cubicBezTo>
                  <a:pt x="1107353" y="28733"/>
                  <a:pt x="1107353" y="28733"/>
                  <a:pt x="1107658" y="25991"/>
                </a:cubicBezTo>
                <a:cubicBezTo>
                  <a:pt x="1108689" y="25062"/>
                  <a:pt x="1109720" y="24131"/>
                  <a:pt x="1110782" y="23173"/>
                </a:cubicBezTo>
                <a:cubicBezTo>
                  <a:pt x="1111104" y="22156"/>
                  <a:pt x="1111427" y="21138"/>
                  <a:pt x="1111759" y="20091"/>
                </a:cubicBezTo>
                <a:cubicBezTo>
                  <a:pt x="1116393" y="11539"/>
                  <a:pt x="1124927" y="6390"/>
                  <a:pt x="1134507" y="2828"/>
                </a:cubicBezTo>
                <a:cubicBezTo>
                  <a:pt x="1141389" y="825"/>
                  <a:pt x="1148262" y="-204"/>
                  <a:pt x="1155019" y="35"/>
                </a:cubicBezTo>
                <a:close/>
              </a:path>
            </a:pathLst>
          </a:custGeom>
          <a:solidFill>
            <a:schemeClr val="accent3"/>
          </a:solidFill>
          <a:ln w="2232" cap="flat">
            <a:noFill/>
            <a:prstDash val="solid"/>
            <a:miter/>
          </a:ln>
          <a:effectLst>
            <a:innerShdw blurRad="63500" dist="190500" dir="8100000">
              <a:schemeClr val="accent3">
                <a:lumMod val="75000"/>
                <a:alpha val="50000"/>
              </a:schemeClr>
            </a:innerShdw>
          </a:effectLst>
        </p:spPr>
        <p:txBody>
          <a:bodyPr wrap="squar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091FED74-E544-FE7E-91EF-4A3E93C1CDA8}"/>
              </a:ext>
            </a:extLst>
          </p:cNvPr>
          <p:cNvSpPr/>
          <p:nvPr/>
        </p:nvSpPr>
        <p:spPr>
          <a:xfrm>
            <a:off x="3261646" y="2628939"/>
            <a:ext cx="117120" cy="117120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53D51FD2-197B-851D-5AA6-0B7B5B3EF81C}"/>
              </a:ext>
            </a:extLst>
          </p:cNvPr>
          <p:cNvSpPr/>
          <p:nvPr/>
        </p:nvSpPr>
        <p:spPr>
          <a:xfrm>
            <a:off x="3417992" y="2731488"/>
            <a:ext cx="117120" cy="117120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6" name="Oval 65">
            <a:extLst>
              <a:ext uri="{FF2B5EF4-FFF2-40B4-BE49-F238E27FC236}">
                <a16:creationId xmlns:a16="http://schemas.microsoft.com/office/drawing/2014/main" id="{E639829C-C83D-3CF3-7539-B25354A2A619}"/>
              </a:ext>
            </a:extLst>
          </p:cNvPr>
          <p:cNvSpPr/>
          <p:nvPr/>
        </p:nvSpPr>
        <p:spPr>
          <a:xfrm>
            <a:off x="3304515" y="2922296"/>
            <a:ext cx="91681" cy="91681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7" name="Oval 66">
            <a:extLst>
              <a:ext uri="{FF2B5EF4-FFF2-40B4-BE49-F238E27FC236}">
                <a16:creationId xmlns:a16="http://schemas.microsoft.com/office/drawing/2014/main" id="{A33E967F-8F57-C28E-4E16-A9118D8F9193}"/>
              </a:ext>
            </a:extLst>
          </p:cNvPr>
          <p:cNvSpPr/>
          <p:nvPr/>
        </p:nvSpPr>
        <p:spPr>
          <a:xfrm>
            <a:off x="3549120" y="2901282"/>
            <a:ext cx="117120" cy="117120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8" name="Oval 67">
            <a:extLst>
              <a:ext uri="{FF2B5EF4-FFF2-40B4-BE49-F238E27FC236}">
                <a16:creationId xmlns:a16="http://schemas.microsoft.com/office/drawing/2014/main" id="{D78EF3F3-1645-3736-1BC5-C690641849D4}"/>
              </a:ext>
            </a:extLst>
          </p:cNvPr>
          <p:cNvSpPr/>
          <p:nvPr/>
        </p:nvSpPr>
        <p:spPr>
          <a:xfrm>
            <a:off x="3586945" y="2657518"/>
            <a:ext cx="79294" cy="79294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BF746EB2-2091-3FD9-D452-9DB255685CBB}"/>
              </a:ext>
            </a:extLst>
          </p:cNvPr>
          <p:cNvSpPr/>
          <p:nvPr/>
        </p:nvSpPr>
        <p:spPr>
          <a:xfrm>
            <a:off x="5354698" y="3467022"/>
            <a:ext cx="779664" cy="178620"/>
          </a:xfrm>
          <a:prstGeom prst="ellipse">
            <a:avLst/>
          </a:prstGeom>
          <a:solidFill>
            <a:schemeClr val="tx1">
              <a:alpha val="5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0" name="Free-form: Shape 79">
            <a:extLst>
              <a:ext uri="{FF2B5EF4-FFF2-40B4-BE49-F238E27FC236}">
                <a16:creationId xmlns:a16="http://schemas.microsoft.com/office/drawing/2014/main" id="{AFF488F0-619D-F401-625B-CF4EBC46D262}"/>
              </a:ext>
            </a:extLst>
          </p:cNvPr>
          <p:cNvSpPr/>
          <p:nvPr/>
        </p:nvSpPr>
        <p:spPr>
          <a:xfrm>
            <a:off x="5182716" y="2416645"/>
            <a:ext cx="1171807" cy="1120198"/>
          </a:xfrm>
          <a:custGeom>
            <a:avLst/>
            <a:gdLst>
              <a:gd name="csX0" fmla="*/ 401579 w 1609516"/>
              <a:gd name="csY0" fmla="*/ 1495809 h 1538630"/>
              <a:gd name="csX1" fmla="*/ 400190 w 1609516"/>
              <a:gd name="csY1" fmla="*/ 1496004 h 1538630"/>
              <a:gd name="csX2" fmla="*/ 401224 w 1609516"/>
              <a:gd name="csY2" fmla="*/ 1496470 h 1538630"/>
              <a:gd name="csX3" fmla="*/ 401224 w 1609516"/>
              <a:gd name="csY3" fmla="*/ 1498590 h 1538630"/>
              <a:gd name="csX4" fmla="*/ 401579 w 1609516"/>
              <a:gd name="csY4" fmla="*/ 1498628 h 1538630"/>
              <a:gd name="csX5" fmla="*/ 401579 w 1609516"/>
              <a:gd name="csY5" fmla="*/ 1495809 h 1538630"/>
              <a:gd name="csX6" fmla="*/ 368755 w 1609516"/>
              <a:gd name="csY6" fmla="*/ 1486512 h 1538630"/>
              <a:gd name="csX7" fmla="*/ 364089 w 1609516"/>
              <a:gd name="csY7" fmla="*/ 1487354 h 1538630"/>
              <a:gd name="csX8" fmla="*/ 364089 w 1609516"/>
              <a:gd name="csY8" fmla="*/ 1487908 h 1538630"/>
              <a:gd name="csX9" fmla="*/ 1049801 w 1609516"/>
              <a:gd name="csY9" fmla="*/ 1484562 h 1538630"/>
              <a:gd name="csX10" fmla="*/ 1046735 w 1609516"/>
              <a:gd name="csY10" fmla="*/ 1485945 h 1538630"/>
              <a:gd name="csX11" fmla="*/ 1046955 w 1609516"/>
              <a:gd name="csY11" fmla="*/ 1486045 h 1538630"/>
              <a:gd name="csX12" fmla="*/ 1049801 w 1609516"/>
              <a:gd name="csY12" fmla="*/ 1485188 h 1538630"/>
              <a:gd name="csX13" fmla="*/ 351234 w 1609516"/>
              <a:gd name="csY13" fmla="*/ 1444508 h 1538630"/>
              <a:gd name="csX14" fmla="*/ 351234 w 1609516"/>
              <a:gd name="csY14" fmla="*/ 1444997 h 1538630"/>
              <a:gd name="csX15" fmla="*/ 351592 w 1609516"/>
              <a:gd name="csY15" fmla="*/ 1445078 h 1538630"/>
              <a:gd name="csX16" fmla="*/ 351908 w 1609516"/>
              <a:gd name="csY16" fmla="*/ 1431206 h 1538630"/>
              <a:gd name="csX17" fmla="*/ 351234 w 1609516"/>
              <a:gd name="csY17" fmla="*/ 1431611 h 1538630"/>
              <a:gd name="csX18" fmla="*/ 351234 w 1609516"/>
              <a:gd name="csY18" fmla="*/ 1432274 h 1538630"/>
              <a:gd name="csX19" fmla="*/ 358162 w 1609516"/>
              <a:gd name="csY19" fmla="*/ 1421494 h 1538630"/>
              <a:gd name="csX20" fmla="*/ 355921 w 1609516"/>
              <a:gd name="csY20" fmla="*/ 1423156 h 1538630"/>
              <a:gd name="csX21" fmla="*/ 355921 w 1609516"/>
              <a:gd name="csY21" fmla="*/ 1423548 h 1538630"/>
              <a:gd name="csX22" fmla="*/ 376098 w 1609516"/>
              <a:gd name="csY22" fmla="*/ 1408347 h 1538630"/>
              <a:gd name="csX23" fmla="*/ 370750 w 1609516"/>
              <a:gd name="csY23" fmla="*/ 1412245 h 1538630"/>
              <a:gd name="csX24" fmla="*/ 375023 w 1609516"/>
              <a:gd name="csY24" fmla="*/ 1411256 h 1538630"/>
              <a:gd name="csX25" fmla="*/ 421956 w 1609516"/>
              <a:gd name="csY25" fmla="*/ 1365623 h 1538630"/>
              <a:gd name="csX26" fmla="*/ 421765 w 1609516"/>
              <a:gd name="csY26" fmla="*/ 1366161 h 1538630"/>
              <a:gd name="csX27" fmla="*/ 421887 w 1609516"/>
              <a:gd name="csY27" fmla="*/ 1366161 h 1538630"/>
              <a:gd name="csX28" fmla="*/ 754553 w 1609516"/>
              <a:gd name="csY28" fmla="*/ 1360575 h 1538630"/>
              <a:gd name="csX29" fmla="*/ 754089 w 1609516"/>
              <a:gd name="csY29" fmla="*/ 1361433 h 1538630"/>
              <a:gd name="csX30" fmla="*/ 754431 w 1609516"/>
              <a:gd name="csY30" fmla="*/ 1361125 h 1538630"/>
              <a:gd name="csX31" fmla="*/ 1277973 w 1609516"/>
              <a:gd name="csY31" fmla="*/ 1332923 h 1538630"/>
              <a:gd name="csX32" fmla="*/ 1277944 w 1609516"/>
              <a:gd name="csY32" fmla="*/ 1332936 h 1538630"/>
              <a:gd name="csX33" fmla="*/ 1277949 w 1609516"/>
              <a:gd name="csY33" fmla="*/ 1333139 h 1538630"/>
              <a:gd name="csX34" fmla="*/ 1268556 w 1609516"/>
              <a:gd name="csY34" fmla="*/ 1321066 h 1538630"/>
              <a:gd name="csX35" fmla="*/ 1268556 w 1609516"/>
              <a:gd name="csY35" fmla="*/ 1325294 h 1538630"/>
              <a:gd name="csX36" fmla="*/ 1265432 w 1609516"/>
              <a:gd name="csY36" fmla="*/ 1325294 h 1538630"/>
              <a:gd name="csX37" fmla="*/ 1265432 w 1609516"/>
              <a:gd name="csY37" fmla="*/ 1340795 h 1538630"/>
              <a:gd name="csX38" fmla="*/ 1265476 w 1609516"/>
              <a:gd name="csY38" fmla="*/ 1340714 h 1538630"/>
              <a:gd name="csX39" fmla="*/ 1265476 w 1609516"/>
              <a:gd name="csY39" fmla="*/ 1325877 h 1538630"/>
              <a:gd name="csX40" fmla="*/ 1268600 w 1609516"/>
              <a:gd name="csY40" fmla="*/ 1325877 h 1538630"/>
              <a:gd name="csX41" fmla="*/ 1268600 w 1609516"/>
              <a:gd name="csY41" fmla="*/ 1321649 h 1538630"/>
              <a:gd name="csX42" fmla="*/ 1273286 w 1609516"/>
              <a:gd name="csY42" fmla="*/ 1321649 h 1538630"/>
              <a:gd name="csX43" fmla="*/ 1273227 w 1609516"/>
              <a:gd name="csY43" fmla="*/ 1321066 h 1538630"/>
              <a:gd name="csX44" fmla="*/ 827891 w 1609516"/>
              <a:gd name="csY44" fmla="*/ 1291474 h 1538630"/>
              <a:gd name="csX45" fmla="*/ 822601 w 1609516"/>
              <a:gd name="csY45" fmla="*/ 1291544 h 1538630"/>
              <a:gd name="csX46" fmla="*/ 818272 w 1609516"/>
              <a:gd name="csY46" fmla="*/ 1292220 h 1538630"/>
              <a:gd name="csX47" fmla="*/ 827891 w 1609516"/>
              <a:gd name="csY47" fmla="*/ 1292047 h 1538630"/>
              <a:gd name="csX48" fmla="*/ 856397 w 1609516"/>
              <a:gd name="csY48" fmla="*/ 1288691 h 1538630"/>
              <a:gd name="csX49" fmla="*/ 865903 w 1609516"/>
              <a:gd name="csY49" fmla="*/ 1290590 h 1538630"/>
              <a:gd name="csX50" fmla="*/ 859999 w 1609516"/>
              <a:gd name="csY50" fmla="*/ 1288752 h 1538630"/>
              <a:gd name="csX51" fmla="*/ 834694 w 1609516"/>
              <a:gd name="csY51" fmla="*/ 1288572 h 1538630"/>
              <a:gd name="csX52" fmla="*/ 828038 w 1609516"/>
              <a:gd name="csY52" fmla="*/ 1288654 h 1538630"/>
              <a:gd name="csX53" fmla="*/ 828038 w 1609516"/>
              <a:gd name="csY53" fmla="*/ 1289214 h 1538630"/>
              <a:gd name="csX54" fmla="*/ 229746 w 1609516"/>
              <a:gd name="csY54" fmla="*/ 1191418 h 1538630"/>
              <a:gd name="csX55" fmla="*/ 227402 w 1609516"/>
              <a:gd name="csY55" fmla="*/ 1191947 h 1538630"/>
              <a:gd name="csX56" fmla="*/ 229315 w 1609516"/>
              <a:gd name="csY56" fmla="*/ 1191947 h 1538630"/>
              <a:gd name="csX57" fmla="*/ 229315 w 1609516"/>
              <a:gd name="csY57" fmla="*/ 1194765 h 1538630"/>
              <a:gd name="csX58" fmla="*/ 231321 w 1609516"/>
              <a:gd name="csY58" fmla="*/ 1194765 h 1538630"/>
              <a:gd name="csX59" fmla="*/ 229746 w 1609516"/>
              <a:gd name="csY59" fmla="*/ 1194236 h 1538630"/>
              <a:gd name="csX60" fmla="*/ 229746 w 1609516"/>
              <a:gd name="csY60" fmla="*/ 1191418 h 1538630"/>
              <a:gd name="csX61" fmla="*/ 215687 w 1609516"/>
              <a:gd name="csY61" fmla="*/ 1187190 h 1538630"/>
              <a:gd name="csX62" fmla="*/ 215198 w 1609516"/>
              <a:gd name="csY62" fmla="*/ 1187720 h 1538630"/>
              <a:gd name="csX63" fmla="*/ 215256 w 1609516"/>
              <a:gd name="csY63" fmla="*/ 1187720 h 1538630"/>
              <a:gd name="csX64" fmla="*/ 215256 w 1609516"/>
              <a:gd name="csY64" fmla="*/ 1191947 h 1538630"/>
              <a:gd name="csX65" fmla="*/ 222721 w 1609516"/>
              <a:gd name="csY65" fmla="*/ 1191947 h 1538630"/>
              <a:gd name="csX66" fmla="*/ 215687 w 1609516"/>
              <a:gd name="csY66" fmla="*/ 1191418 h 1538630"/>
              <a:gd name="csX67" fmla="*/ 215687 w 1609516"/>
              <a:gd name="csY67" fmla="*/ 1187190 h 1538630"/>
              <a:gd name="csX68" fmla="*/ 1279678 w 1609516"/>
              <a:gd name="csY68" fmla="*/ 1082356 h 1538630"/>
              <a:gd name="csX69" fmla="*/ 1271680 w 1609516"/>
              <a:gd name="csY69" fmla="*/ 1084589 h 1538630"/>
              <a:gd name="csX70" fmla="*/ 1282181 w 1609516"/>
              <a:gd name="csY70" fmla="*/ 1082544 h 1538630"/>
              <a:gd name="csX71" fmla="*/ 117703 w 1609516"/>
              <a:gd name="csY71" fmla="*/ 941507 h 1538630"/>
              <a:gd name="csX72" fmla="*/ 112587 w 1609516"/>
              <a:gd name="csY72" fmla="*/ 941985 h 1538630"/>
              <a:gd name="csX73" fmla="*/ 112565 w 1609516"/>
              <a:gd name="csY73" fmla="*/ 942333 h 1538630"/>
              <a:gd name="csX74" fmla="*/ 115665 w 1609516"/>
              <a:gd name="csY74" fmla="*/ 941837 h 1538630"/>
              <a:gd name="csX75" fmla="*/ 144268 w 1609516"/>
              <a:gd name="csY75" fmla="*/ 939395 h 1538630"/>
              <a:gd name="csX76" fmla="*/ 143354 w 1609516"/>
              <a:gd name="csY76" fmla="*/ 939580 h 1538630"/>
              <a:gd name="csX77" fmla="*/ 144077 w 1609516"/>
              <a:gd name="csY77" fmla="*/ 939739 h 1538630"/>
              <a:gd name="csX78" fmla="*/ 162575 w 1609516"/>
              <a:gd name="csY78" fmla="*/ 933530 h 1538630"/>
              <a:gd name="csX79" fmla="*/ 161704 w 1609516"/>
              <a:gd name="csY79" fmla="*/ 935101 h 1538630"/>
              <a:gd name="csX80" fmla="*/ 170045 w 1609516"/>
              <a:gd name="csY80" fmla="*/ 933585 h 1538630"/>
              <a:gd name="csX81" fmla="*/ 1321645 w 1609516"/>
              <a:gd name="csY81" fmla="*/ 918415 h 1538630"/>
              <a:gd name="csX82" fmla="*/ 1321534 w 1609516"/>
              <a:gd name="csY82" fmla="*/ 920177 h 1538630"/>
              <a:gd name="csX83" fmla="*/ 1321740 w 1609516"/>
              <a:gd name="csY83" fmla="*/ 918415 h 1538630"/>
              <a:gd name="csX84" fmla="*/ 1319333 w 1609516"/>
              <a:gd name="csY84" fmla="*/ 915183 h 1538630"/>
              <a:gd name="csX85" fmla="*/ 1318544 w 1609516"/>
              <a:gd name="csY85" fmla="*/ 918029 h 1538630"/>
              <a:gd name="csX86" fmla="*/ 1318702 w 1609516"/>
              <a:gd name="csY86" fmla="*/ 918029 h 1538630"/>
              <a:gd name="csX87" fmla="*/ 1326355 w 1609516"/>
              <a:gd name="csY87" fmla="*/ 907109 h 1538630"/>
              <a:gd name="csX88" fmla="*/ 1326355 w 1609516"/>
              <a:gd name="csY88" fmla="*/ 910983 h 1538630"/>
              <a:gd name="csX89" fmla="*/ 1325831 w 1609516"/>
              <a:gd name="csY89" fmla="*/ 911101 h 1538630"/>
              <a:gd name="csX90" fmla="*/ 1326426 w 1609516"/>
              <a:gd name="csY90" fmla="*/ 911369 h 1538630"/>
              <a:gd name="csX91" fmla="*/ 1326426 w 1609516"/>
              <a:gd name="csY91" fmla="*/ 907141 h 1538630"/>
              <a:gd name="csX92" fmla="*/ 1328144 w 1609516"/>
              <a:gd name="csY92" fmla="*/ 892192 h 1538630"/>
              <a:gd name="csX93" fmla="*/ 1327667 w 1609516"/>
              <a:gd name="csY93" fmla="*/ 893446 h 1538630"/>
              <a:gd name="csX94" fmla="*/ 1327989 w 1609516"/>
              <a:gd name="csY94" fmla="*/ 893049 h 1538630"/>
              <a:gd name="csX95" fmla="*/ 49605 w 1609516"/>
              <a:gd name="csY95" fmla="*/ 887420 h 1538630"/>
              <a:gd name="csX96" fmla="*/ 48549 w 1609516"/>
              <a:gd name="csY96" fmla="*/ 891229 h 1538630"/>
              <a:gd name="csX97" fmla="*/ 49956 w 1609516"/>
              <a:gd name="csY97" fmla="*/ 887420 h 1538630"/>
              <a:gd name="csX98" fmla="*/ 1332266 w 1609516"/>
              <a:gd name="csY98" fmla="*/ 883369 h 1538630"/>
              <a:gd name="csX99" fmla="*/ 1329479 w 1609516"/>
              <a:gd name="csY99" fmla="*/ 884207 h 1538630"/>
              <a:gd name="csX100" fmla="*/ 1329509 w 1609516"/>
              <a:gd name="csY100" fmla="*/ 884816 h 1538630"/>
              <a:gd name="csX101" fmla="*/ 1329551 w 1609516"/>
              <a:gd name="csY101" fmla="*/ 884594 h 1538630"/>
              <a:gd name="csX102" fmla="*/ 1555987 w 1609516"/>
              <a:gd name="csY102" fmla="*/ 821766 h 1538630"/>
              <a:gd name="csX103" fmla="*/ 1555987 w 1609516"/>
              <a:gd name="csY103" fmla="*/ 822201 h 1538630"/>
              <a:gd name="csX104" fmla="*/ 1556081 w 1609516"/>
              <a:gd name="csY104" fmla="*/ 822189 h 1538630"/>
              <a:gd name="csX105" fmla="*/ 1565360 w 1609516"/>
              <a:gd name="csY105" fmla="*/ 810928 h 1538630"/>
              <a:gd name="csX106" fmla="*/ 1564871 w 1609516"/>
              <a:gd name="csY106" fmla="*/ 811809 h 1538630"/>
              <a:gd name="csX107" fmla="*/ 1567314 w 1609516"/>
              <a:gd name="csY107" fmla="*/ 810928 h 1538630"/>
              <a:gd name="csX108" fmla="*/ 1563797 w 1609516"/>
              <a:gd name="csY108" fmla="*/ 810928 h 1538630"/>
              <a:gd name="csX109" fmla="*/ 1556762 w 1609516"/>
              <a:gd name="csY109" fmla="*/ 814736 h 1538630"/>
              <a:gd name="csX110" fmla="*/ 1563797 w 1609516"/>
              <a:gd name="csY110" fmla="*/ 812197 h 1538630"/>
              <a:gd name="csX111" fmla="*/ 265833 w 1609516"/>
              <a:gd name="csY111" fmla="*/ 806020 h 1538630"/>
              <a:gd name="csX112" fmla="*/ 263704 w 1609516"/>
              <a:gd name="csY112" fmla="*/ 809861 h 1538630"/>
              <a:gd name="csX113" fmla="*/ 263704 w 1609516"/>
              <a:gd name="csY113" fmla="*/ 816750 h 1538630"/>
              <a:gd name="csX114" fmla="*/ 264113 w 1609516"/>
              <a:gd name="csY114" fmla="*/ 816565 h 1538630"/>
              <a:gd name="csX115" fmla="*/ 263918 w 1609516"/>
              <a:gd name="csY115" fmla="*/ 812777 h 1538630"/>
              <a:gd name="csX116" fmla="*/ 263774 w 1609516"/>
              <a:gd name="csY116" fmla="*/ 779374 h 1538630"/>
              <a:gd name="csX117" fmla="*/ 263704 w 1609516"/>
              <a:gd name="csY117" fmla="*/ 783086 h 1538630"/>
              <a:gd name="csX118" fmla="*/ 264484 w 1609516"/>
              <a:gd name="csY118" fmla="*/ 785816 h 1538630"/>
              <a:gd name="csX119" fmla="*/ 265265 w 1609516"/>
              <a:gd name="csY119" fmla="*/ 794448 h 1538630"/>
              <a:gd name="csX120" fmla="*/ 265217 w 1609516"/>
              <a:gd name="csY120" fmla="*/ 799730 h 1538630"/>
              <a:gd name="csX121" fmla="*/ 266556 w 1609516"/>
              <a:gd name="csY121" fmla="*/ 803466 h 1538630"/>
              <a:gd name="csX122" fmla="*/ 267237 w 1609516"/>
              <a:gd name="csY122" fmla="*/ 801063 h 1538630"/>
              <a:gd name="csX123" fmla="*/ 265675 w 1609516"/>
              <a:gd name="csY123" fmla="*/ 799654 h 1538630"/>
              <a:gd name="csX124" fmla="*/ 265675 w 1609516"/>
              <a:gd name="csY124" fmla="*/ 793841 h 1538630"/>
              <a:gd name="csX125" fmla="*/ 260988 w 1609516"/>
              <a:gd name="csY125" fmla="*/ 770061 h 1538630"/>
              <a:gd name="csX126" fmla="*/ 260988 w 1609516"/>
              <a:gd name="csY126" fmla="*/ 771364 h 1538630"/>
              <a:gd name="csX127" fmla="*/ 263497 w 1609516"/>
              <a:gd name="csY127" fmla="*/ 777263 h 1538630"/>
              <a:gd name="csX128" fmla="*/ 262551 w 1609516"/>
              <a:gd name="csY128" fmla="*/ 770061 h 1538630"/>
              <a:gd name="csX129" fmla="*/ 260988 w 1609516"/>
              <a:gd name="csY129" fmla="*/ 770061 h 1538630"/>
              <a:gd name="csX130" fmla="*/ 157888 w 1609516"/>
              <a:gd name="csY130" fmla="*/ 651686 h 1538630"/>
              <a:gd name="csX131" fmla="*/ 157415 w 1609516"/>
              <a:gd name="csY131" fmla="*/ 651764 h 1538630"/>
              <a:gd name="csX132" fmla="*/ 160373 w 1609516"/>
              <a:gd name="csY132" fmla="*/ 652274 h 1538630"/>
              <a:gd name="csX133" fmla="*/ 267237 w 1609516"/>
              <a:gd name="csY133" fmla="*/ 426537 h 1538630"/>
              <a:gd name="csX134" fmla="*/ 267237 w 1609516"/>
              <a:gd name="csY134" fmla="*/ 427619 h 1538630"/>
              <a:gd name="csX135" fmla="*/ 270380 w 1609516"/>
              <a:gd name="csY135" fmla="*/ 428137 h 1538630"/>
              <a:gd name="csX136" fmla="*/ 273548 w 1609516"/>
              <a:gd name="csY136" fmla="*/ 428680 h 1538630"/>
              <a:gd name="csX137" fmla="*/ 37605 w 1609516"/>
              <a:gd name="csY137" fmla="*/ 359270 h 1538630"/>
              <a:gd name="csX138" fmla="*/ 37103 w 1609516"/>
              <a:gd name="csY138" fmla="*/ 361533 h 1538630"/>
              <a:gd name="csX139" fmla="*/ 37605 w 1609516"/>
              <a:gd name="csY139" fmla="*/ 361382 h 1538630"/>
              <a:gd name="csX140" fmla="*/ 52477 w 1609516"/>
              <a:gd name="csY140" fmla="*/ 337570 h 1538630"/>
              <a:gd name="csX141" fmla="*/ 47288 w 1609516"/>
              <a:gd name="csY141" fmla="*/ 342340 h 1538630"/>
              <a:gd name="csX142" fmla="*/ 45805 w 1609516"/>
              <a:gd name="csY142" fmla="*/ 345093 h 1538630"/>
              <a:gd name="csX143" fmla="*/ 104291 w 1609516"/>
              <a:gd name="csY143" fmla="*/ 336166 h 1538630"/>
              <a:gd name="csX144" fmla="*/ 103776 w 1609516"/>
              <a:gd name="csY144" fmla="*/ 337559 h 1538630"/>
              <a:gd name="csX145" fmla="*/ 108925 w 1609516"/>
              <a:gd name="csY145" fmla="*/ 336166 h 1538630"/>
              <a:gd name="csX146" fmla="*/ 1309237 w 1609516"/>
              <a:gd name="csY146" fmla="*/ 322954 h 1538630"/>
              <a:gd name="csX147" fmla="*/ 1309180 w 1609516"/>
              <a:gd name="csY147" fmla="*/ 330559 h 1538630"/>
              <a:gd name="csX148" fmla="*/ 1309237 w 1609516"/>
              <a:gd name="csY148" fmla="*/ 330520 h 1538630"/>
              <a:gd name="csX149" fmla="*/ 1308964 w 1609516"/>
              <a:gd name="csY149" fmla="*/ 317715 h 1538630"/>
              <a:gd name="csX150" fmla="*/ 1309237 w 1609516"/>
              <a:gd name="csY150" fmla="*/ 318569 h 1538630"/>
              <a:gd name="csX151" fmla="*/ 1309237 w 1609516"/>
              <a:gd name="csY151" fmla="*/ 317838 h 1538630"/>
              <a:gd name="csX152" fmla="*/ 1310087 w 1609516"/>
              <a:gd name="csY152" fmla="*/ 313153 h 1538630"/>
              <a:gd name="csX153" fmla="*/ 1307609 w 1609516"/>
              <a:gd name="csY153" fmla="*/ 313473 h 1538630"/>
              <a:gd name="csX154" fmla="*/ 1308045 w 1609516"/>
              <a:gd name="csY154" fmla="*/ 314836 h 1538630"/>
              <a:gd name="csX155" fmla="*/ 1318544 w 1609516"/>
              <a:gd name="csY155" fmla="*/ 312064 h 1538630"/>
              <a:gd name="csX156" fmla="*/ 1316298 w 1609516"/>
              <a:gd name="csY156" fmla="*/ 312353 h 1538630"/>
              <a:gd name="csX157" fmla="*/ 1318544 w 1609516"/>
              <a:gd name="csY157" fmla="*/ 312205 h 1538630"/>
              <a:gd name="csX158" fmla="*/ 1084622 w 1609516"/>
              <a:gd name="csY158" fmla="*/ 267674 h 1538630"/>
              <a:gd name="csX159" fmla="*/ 1084227 w 1609516"/>
              <a:gd name="csY159" fmla="*/ 268378 h 1538630"/>
              <a:gd name="csX160" fmla="*/ 1079540 w 1609516"/>
              <a:gd name="csY160" fmla="*/ 268378 h 1538630"/>
              <a:gd name="csX161" fmla="*/ 1079603 w 1609516"/>
              <a:gd name="csY161" fmla="*/ 268477 h 1538630"/>
              <a:gd name="csX162" fmla="*/ 1084192 w 1609516"/>
              <a:gd name="csY162" fmla="*/ 268477 h 1538630"/>
              <a:gd name="csX163" fmla="*/ 956410 w 1609516"/>
              <a:gd name="csY163" fmla="*/ 266968 h 1538630"/>
              <a:gd name="csX164" fmla="*/ 957576 w 1609516"/>
              <a:gd name="csY164" fmla="*/ 267083 h 1538630"/>
              <a:gd name="csX165" fmla="*/ 957576 w 1609516"/>
              <a:gd name="csY165" fmla="*/ 269776 h 1538630"/>
              <a:gd name="csX166" fmla="*/ 957694 w 1609516"/>
              <a:gd name="csY166" fmla="*/ 269787 h 1538630"/>
              <a:gd name="csX167" fmla="*/ 957694 w 1609516"/>
              <a:gd name="csY167" fmla="*/ 266968 h 1538630"/>
              <a:gd name="csX168" fmla="*/ 1089372 w 1609516"/>
              <a:gd name="csY168" fmla="*/ 259220 h 1538630"/>
              <a:gd name="csX169" fmla="*/ 1085856 w 1609516"/>
              <a:gd name="csY169" fmla="*/ 265479 h 1538630"/>
              <a:gd name="csX170" fmla="*/ 1088878 w 1609516"/>
              <a:gd name="csY170" fmla="*/ 261431 h 1538630"/>
              <a:gd name="csX171" fmla="*/ 1018517 w 1609516"/>
              <a:gd name="csY171" fmla="*/ 223356 h 1538630"/>
              <a:gd name="csX172" fmla="*/ 1013866 w 1609516"/>
              <a:gd name="csY172" fmla="*/ 226190 h 1538630"/>
              <a:gd name="csX173" fmla="*/ 1013024 w 1609516"/>
              <a:gd name="csY173" fmla="*/ 227709 h 1538630"/>
              <a:gd name="csX174" fmla="*/ 1017055 w 1609516"/>
              <a:gd name="csY174" fmla="*/ 224692 h 1538630"/>
              <a:gd name="csX175" fmla="*/ 850645 w 1609516"/>
              <a:gd name="csY175" fmla="*/ 220099 h 1538630"/>
              <a:gd name="csX176" fmla="*/ 850897 w 1609516"/>
              <a:gd name="csY176" fmla="*/ 221488 h 1538630"/>
              <a:gd name="csX177" fmla="*/ 851470 w 1609516"/>
              <a:gd name="csY177" fmla="*/ 224692 h 1538630"/>
              <a:gd name="csX178" fmla="*/ 852860 w 1609516"/>
              <a:gd name="csY178" fmla="*/ 224692 h 1538630"/>
              <a:gd name="csX179" fmla="*/ 1155019 w 1609516"/>
              <a:gd name="csY179" fmla="*/ 35 h 1538630"/>
              <a:gd name="csX180" fmla="*/ 1174829 w 1609516"/>
              <a:gd name="csY180" fmla="*/ 4853 h 1538630"/>
              <a:gd name="csX181" fmla="*/ 1179418 w 1609516"/>
              <a:gd name="csY181" fmla="*/ 5998 h 1538630"/>
              <a:gd name="csX182" fmla="*/ 1201385 w 1609516"/>
              <a:gd name="csY182" fmla="*/ 22997 h 1538630"/>
              <a:gd name="csX183" fmla="*/ 1201678 w 1609516"/>
              <a:gd name="csY183" fmla="*/ 62191 h 1538630"/>
              <a:gd name="csX184" fmla="*/ 1198261 w 1609516"/>
              <a:gd name="csY184" fmla="*/ 68268 h 1538630"/>
              <a:gd name="csX185" fmla="*/ 1195723 w 1609516"/>
              <a:gd name="csY185" fmla="*/ 72672 h 1538630"/>
              <a:gd name="csX186" fmla="*/ 1193575 w 1609516"/>
              <a:gd name="csY186" fmla="*/ 75314 h 1538630"/>
              <a:gd name="csX187" fmla="*/ 1190450 w 1609516"/>
              <a:gd name="csY187" fmla="*/ 75314 h 1538630"/>
              <a:gd name="csX188" fmla="*/ 1189474 w 1609516"/>
              <a:gd name="csY188" fmla="*/ 79366 h 1538630"/>
              <a:gd name="csX189" fmla="*/ 1182445 w 1609516"/>
              <a:gd name="csY189" fmla="*/ 85707 h 1538630"/>
              <a:gd name="csX190" fmla="*/ 1177953 w 1609516"/>
              <a:gd name="csY190" fmla="*/ 86588 h 1538630"/>
              <a:gd name="csX191" fmla="*/ 1177953 w 1609516"/>
              <a:gd name="csY191" fmla="*/ 89406 h 1538630"/>
              <a:gd name="csX192" fmla="*/ 1170045 w 1609516"/>
              <a:gd name="csY192" fmla="*/ 94251 h 1538630"/>
              <a:gd name="csX193" fmla="*/ 1143806 w 1609516"/>
              <a:gd name="csY193" fmla="*/ 132828 h 1538630"/>
              <a:gd name="csX194" fmla="*/ 1137338 w 1609516"/>
              <a:gd name="csY194" fmla="*/ 141548 h 1538630"/>
              <a:gd name="csX195" fmla="*/ 1133970 w 1609516"/>
              <a:gd name="csY195" fmla="*/ 149403 h 1538630"/>
              <a:gd name="csX196" fmla="*/ 1127965 w 1609516"/>
              <a:gd name="csY196" fmla="*/ 164095 h 1538630"/>
              <a:gd name="csX197" fmla="*/ 1124762 w 1609516"/>
              <a:gd name="csY197" fmla="*/ 171802 h 1538630"/>
              <a:gd name="csX198" fmla="*/ 1119359 w 1609516"/>
              <a:gd name="csY198" fmla="*/ 184798 h 1538630"/>
              <a:gd name="csX199" fmla="*/ 1111014 w 1609516"/>
              <a:gd name="csY199" fmla="*/ 204941 h 1538630"/>
              <a:gd name="csX200" fmla="*/ 1109729 w 1609516"/>
              <a:gd name="csY200" fmla="*/ 208059 h 1538630"/>
              <a:gd name="csX201" fmla="*/ 1106395 w 1609516"/>
              <a:gd name="csY201" fmla="*/ 216170 h 1538630"/>
              <a:gd name="csX202" fmla="*/ 1102147 w 1609516"/>
              <a:gd name="csY202" fmla="*/ 224810 h 1538630"/>
              <a:gd name="csX203" fmla="*/ 1098261 w 1609516"/>
              <a:gd name="csY203" fmla="*/ 227262 h 1538630"/>
              <a:gd name="csX204" fmla="*/ 1098367 w 1609516"/>
              <a:gd name="csY204" fmla="*/ 238475 h 1538630"/>
              <a:gd name="csX205" fmla="*/ 1097331 w 1609516"/>
              <a:gd name="csY205" fmla="*/ 242358 h 1538630"/>
              <a:gd name="csX206" fmla="*/ 1096201 w 1609516"/>
              <a:gd name="csY206" fmla="*/ 246458 h 1538630"/>
              <a:gd name="csX207" fmla="*/ 1089440 w 1609516"/>
              <a:gd name="csY207" fmla="*/ 279206 h 1538630"/>
              <a:gd name="csX208" fmla="*/ 1087316 w 1609516"/>
              <a:gd name="csY208" fmla="*/ 283978 h 1538630"/>
              <a:gd name="csX209" fmla="*/ 1086822 w 1609516"/>
              <a:gd name="csY209" fmla="*/ 291822 h 1538630"/>
              <a:gd name="csX210" fmla="*/ 1086623 w 1609516"/>
              <a:gd name="csY210" fmla="*/ 296625 h 1538630"/>
              <a:gd name="csX211" fmla="*/ 1086437 w 1609516"/>
              <a:gd name="csY211" fmla="*/ 301681 h 1538630"/>
              <a:gd name="csX212" fmla="*/ 1086233 w 1609516"/>
              <a:gd name="csY212" fmla="*/ 306754 h 1538630"/>
              <a:gd name="csX213" fmla="*/ 1086007 w 1609516"/>
              <a:gd name="csY213" fmla="*/ 312619 h 1538630"/>
              <a:gd name="csX214" fmla="*/ 1087470 w 1609516"/>
              <a:gd name="csY214" fmla="*/ 320554 h 1538630"/>
              <a:gd name="csX215" fmla="*/ 1098285 w 1609516"/>
              <a:gd name="csY215" fmla="*/ 334611 h 1538630"/>
              <a:gd name="csX216" fmla="*/ 1102607 w 1609516"/>
              <a:gd name="csY216" fmla="*/ 337679 h 1538630"/>
              <a:gd name="csX217" fmla="*/ 1106095 w 1609516"/>
              <a:gd name="csY217" fmla="*/ 340248 h 1538630"/>
              <a:gd name="csX218" fmla="*/ 1106095 w 1609516"/>
              <a:gd name="csY218" fmla="*/ 343066 h 1538630"/>
              <a:gd name="csX219" fmla="*/ 1109220 w 1609516"/>
              <a:gd name="csY219" fmla="*/ 343419 h 1538630"/>
              <a:gd name="csX220" fmla="*/ 1126403 w 1609516"/>
              <a:gd name="csY220" fmla="*/ 350112 h 1538630"/>
              <a:gd name="csX221" fmla="*/ 1131871 w 1609516"/>
              <a:gd name="csY221" fmla="*/ 352579 h 1538630"/>
              <a:gd name="csX222" fmla="*/ 1135776 w 1609516"/>
              <a:gd name="csY222" fmla="*/ 354340 h 1538630"/>
              <a:gd name="csX223" fmla="*/ 1135776 w 1609516"/>
              <a:gd name="csY223" fmla="*/ 357158 h 1538630"/>
              <a:gd name="csX224" fmla="*/ 1170143 w 1609516"/>
              <a:gd name="csY224" fmla="*/ 354340 h 1538630"/>
              <a:gd name="csX225" fmla="*/ 1174634 w 1609516"/>
              <a:gd name="csY225" fmla="*/ 352579 h 1538630"/>
              <a:gd name="csX226" fmla="*/ 1190890 w 1609516"/>
              <a:gd name="csY226" fmla="*/ 342907 h 1538630"/>
              <a:gd name="csX227" fmla="*/ 1204021 w 1609516"/>
              <a:gd name="csY227" fmla="*/ 335404 h 1538630"/>
              <a:gd name="csX228" fmla="*/ 1223255 w 1609516"/>
              <a:gd name="csY228" fmla="*/ 319110 h 1538630"/>
              <a:gd name="csX229" fmla="*/ 1226868 w 1609516"/>
              <a:gd name="csY229" fmla="*/ 315587 h 1538630"/>
              <a:gd name="csX230" fmla="*/ 1231859 w 1609516"/>
              <a:gd name="csY230" fmla="*/ 303559 h 1538630"/>
              <a:gd name="csX231" fmla="*/ 1234178 w 1609516"/>
              <a:gd name="csY231" fmla="*/ 298059 h 1538630"/>
              <a:gd name="csX232" fmla="*/ 1237314 w 1609516"/>
              <a:gd name="csY232" fmla="*/ 288195 h 1538630"/>
              <a:gd name="csX233" fmla="*/ 1249811 w 1609516"/>
              <a:gd name="csY233" fmla="*/ 265559 h 1538630"/>
              <a:gd name="csX234" fmla="*/ 1252935 w 1609516"/>
              <a:gd name="csY234" fmla="*/ 265559 h 1538630"/>
              <a:gd name="csX235" fmla="*/ 1252935 w 1609516"/>
              <a:gd name="csY235" fmla="*/ 262741 h 1538630"/>
              <a:gd name="csX236" fmla="*/ 1296675 w 1609516"/>
              <a:gd name="csY236" fmla="*/ 252876 h 1538630"/>
              <a:gd name="csX237" fmla="*/ 1307609 w 1609516"/>
              <a:gd name="csY237" fmla="*/ 255695 h 1538630"/>
              <a:gd name="csX238" fmla="*/ 1307609 w 1609516"/>
              <a:gd name="csY238" fmla="*/ 258513 h 1538630"/>
              <a:gd name="csX239" fmla="*/ 1311887 w 1609516"/>
              <a:gd name="csY239" fmla="*/ 258832 h 1538630"/>
              <a:gd name="csX240" fmla="*/ 1326715 w 1609516"/>
              <a:gd name="csY240" fmla="*/ 269969 h 1538630"/>
              <a:gd name="csX241" fmla="*/ 1334165 w 1609516"/>
              <a:gd name="csY241" fmla="*/ 307836 h 1538630"/>
              <a:gd name="csX242" fmla="*/ 1329479 w 1609516"/>
              <a:gd name="csY242" fmla="*/ 314882 h 1538630"/>
              <a:gd name="csX243" fmla="*/ 1323231 w 1609516"/>
              <a:gd name="csY243" fmla="*/ 314882 h 1538630"/>
              <a:gd name="csX244" fmla="*/ 1323231 w 1609516"/>
              <a:gd name="csY244" fmla="*/ 317700 h 1538630"/>
              <a:gd name="csX245" fmla="*/ 1322774 w 1609516"/>
              <a:gd name="csY245" fmla="*/ 317838 h 1538630"/>
              <a:gd name="csX246" fmla="*/ 1323295 w 1609516"/>
              <a:gd name="csY246" fmla="*/ 317838 h 1538630"/>
              <a:gd name="csX247" fmla="*/ 1323295 w 1609516"/>
              <a:gd name="csY247" fmla="*/ 315019 h 1538630"/>
              <a:gd name="csX248" fmla="*/ 1327982 w 1609516"/>
              <a:gd name="csY248" fmla="*/ 315019 h 1538630"/>
              <a:gd name="csX249" fmla="*/ 1317047 w 1609516"/>
              <a:gd name="csY249" fmla="*/ 327702 h 1538630"/>
              <a:gd name="csX250" fmla="*/ 1315484 w 1609516"/>
              <a:gd name="csY250" fmla="*/ 331930 h 1538630"/>
              <a:gd name="csX251" fmla="*/ 1309139 w 1609516"/>
              <a:gd name="csY251" fmla="*/ 333603 h 1538630"/>
              <a:gd name="csX252" fmla="*/ 1305666 w 1609516"/>
              <a:gd name="csY252" fmla="*/ 334280 h 1538630"/>
              <a:gd name="csX253" fmla="*/ 1302988 w 1609516"/>
              <a:gd name="csY253" fmla="*/ 334748 h 1538630"/>
              <a:gd name="csX254" fmla="*/ 1305905 w 1609516"/>
              <a:gd name="csY254" fmla="*/ 332775 h 1538630"/>
              <a:gd name="csX255" fmla="*/ 1304485 w 1609516"/>
              <a:gd name="csY255" fmla="*/ 333202 h 1538630"/>
              <a:gd name="csX256" fmla="*/ 1301459 w 1609516"/>
              <a:gd name="csY256" fmla="*/ 336108 h 1538630"/>
              <a:gd name="csX257" fmla="*/ 1291989 w 1609516"/>
              <a:gd name="csY257" fmla="*/ 338839 h 1538630"/>
              <a:gd name="csX258" fmla="*/ 1290426 w 1609516"/>
              <a:gd name="csY258" fmla="*/ 343066 h 1538630"/>
              <a:gd name="csX259" fmla="*/ 1285740 w 1609516"/>
              <a:gd name="csY259" fmla="*/ 344123 h 1538630"/>
              <a:gd name="csX260" fmla="*/ 1237314 w 1609516"/>
              <a:gd name="csY260" fmla="*/ 382525 h 1538630"/>
              <a:gd name="csX261" fmla="*/ 1232628 w 1609516"/>
              <a:gd name="csY261" fmla="*/ 392389 h 1538630"/>
              <a:gd name="csX262" fmla="*/ 1228625 w 1609516"/>
              <a:gd name="csY262" fmla="*/ 398731 h 1538630"/>
              <a:gd name="csX263" fmla="*/ 1222822 w 1609516"/>
              <a:gd name="csY263" fmla="*/ 434798 h 1538630"/>
              <a:gd name="csX264" fmla="*/ 1260746 w 1609516"/>
              <a:gd name="csY264" fmla="*/ 485398 h 1538630"/>
              <a:gd name="csX265" fmla="*/ 1268556 w 1609516"/>
              <a:gd name="csY265" fmla="*/ 488216 h 1538630"/>
              <a:gd name="csX266" fmla="*/ 1268556 w 1609516"/>
              <a:gd name="csY266" fmla="*/ 491034 h 1538630"/>
              <a:gd name="csX267" fmla="*/ 1338852 w 1609516"/>
              <a:gd name="csY267" fmla="*/ 489625 h 1538630"/>
              <a:gd name="csX268" fmla="*/ 1347444 w 1609516"/>
              <a:gd name="csY268" fmla="*/ 488480 h 1538630"/>
              <a:gd name="csX269" fmla="*/ 1369362 w 1609516"/>
              <a:gd name="csY269" fmla="*/ 482513 h 1538630"/>
              <a:gd name="csX270" fmla="*/ 1388840 w 1609516"/>
              <a:gd name="csY270" fmla="*/ 478351 h 1538630"/>
              <a:gd name="csX271" fmla="*/ 1388840 w 1609516"/>
              <a:gd name="csY271" fmla="*/ 475533 h 1538630"/>
              <a:gd name="csX272" fmla="*/ 1395576 w 1609516"/>
              <a:gd name="csY272" fmla="*/ 473419 h 1538630"/>
              <a:gd name="csX273" fmla="*/ 1399365 w 1609516"/>
              <a:gd name="csY273" fmla="*/ 472230 h 1538630"/>
              <a:gd name="csX274" fmla="*/ 1407585 w 1609516"/>
              <a:gd name="csY274" fmla="*/ 471305 h 1538630"/>
              <a:gd name="csX275" fmla="*/ 1409147 w 1609516"/>
              <a:gd name="csY275" fmla="*/ 467078 h 1538630"/>
              <a:gd name="csX276" fmla="*/ 1416470 w 1609516"/>
              <a:gd name="csY276" fmla="*/ 464259 h 1538630"/>
              <a:gd name="csX277" fmla="*/ 1437949 w 1609516"/>
              <a:gd name="csY277" fmla="*/ 455011 h 1538630"/>
              <a:gd name="csX278" fmla="*/ 1452887 w 1609516"/>
              <a:gd name="csY278" fmla="*/ 450167 h 1538630"/>
              <a:gd name="csX279" fmla="*/ 1452887 w 1609516"/>
              <a:gd name="csY279" fmla="*/ 447349 h 1538630"/>
              <a:gd name="csX280" fmla="*/ 1455394 w 1609516"/>
              <a:gd name="csY280" fmla="*/ 446122 h 1538630"/>
              <a:gd name="csX281" fmla="*/ 1466653 w 1609516"/>
              <a:gd name="csY281" fmla="*/ 440567 h 1538630"/>
              <a:gd name="csX282" fmla="*/ 1470598 w 1609516"/>
              <a:gd name="csY282" fmla="*/ 438637 h 1538630"/>
              <a:gd name="csX283" fmla="*/ 1474397 w 1609516"/>
              <a:gd name="csY283" fmla="*/ 436752 h 1538630"/>
              <a:gd name="csX284" fmla="*/ 1477892 w 1609516"/>
              <a:gd name="csY284" fmla="*/ 435030 h 1538630"/>
              <a:gd name="csX285" fmla="*/ 1485691 w 1609516"/>
              <a:gd name="csY285" fmla="*/ 429029 h 1538630"/>
              <a:gd name="csX286" fmla="*/ 1488858 w 1609516"/>
              <a:gd name="csY286" fmla="*/ 427653 h 1538630"/>
              <a:gd name="csX287" fmla="*/ 1495943 w 1609516"/>
              <a:gd name="csY287" fmla="*/ 421454 h 1538630"/>
              <a:gd name="csX288" fmla="*/ 1538608 w 1609516"/>
              <a:gd name="csY288" fmla="*/ 388338 h 1538630"/>
              <a:gd name="csX289" fmla="*/ 1543490 w 1609516"/>
              <a:gd name="csY289" fmla="*/ 388161 h 1538630"/>
              <a:gd name="csX290" fmla="*/ 1547621 w 1609516"/>
              <a:gd name="csY290" fmla="*/ 387804 h 1538630"/>
              <a:gd name="csX291" fmla="*/ 1579418 w 1609516"/>
              <a:gd name="csY291" fmla="*/ 396617 h 1538630"/>
              <a:gd name="csX292" fmla="*/ 1583342 w 1609516"/>
              <a:gd name="csY292" fmla="*/ 398780 h 1538630"/>
              <a:gd name="csX293" fmla="*/ 1601288 w 1609516"/>
              <a:gd name="csY293" fmla="*/ 423392 h 1538630"/>
              <a:gd name="csX294" fmla="*/ 1594484 w 1609516"/>
              <a:gd name="csY294" fmla="*/ 460159 h 1538630"/>
              <a:gd name="csX295" fmla="*/ 1574732 w 1609516"/>
              <a:gd name="csY295" fmla="*/ 475533 h 1538630"/>
              <a:gd name="csX296" fmla="*/ 1572097 w 1609516"/>
              <a:gd name="csY296" fmla="*/ 477078 h 1538630"/>
              <a:gd name="csX297" fmla="*/ 1556066 w 1609516"/>
              <a:gd name="csY297" fmla="*/ 478737 h 1538630"/>
              <a:gd name="csX298" fmla="*/ 1548631 w 1609516"/>
              <a:gd name="csY298" fmla="*/ 478825 h 1538630"/>
              <a:gd name="csX299" fmla="*/ 1536991 w 1609516"/>
              <a:gd name="csY299" fmla="*/ 478889 h 1538630"/>
              <a:gd name="csX300" fmla="*/ 1498188 w 1609516"/>
              <a:gd name="csY300" fmla="*/ 485398 h 1538630"/>
              <a:gd name="csX301" fmla="*/ 1493892 w 1609516"/>
              <a:gd name="csY301" fmla="*/ 487600 h 1538630"/>
              <a:gd name="csX302" fmla="*/ 1490377 w 1609516"/>
              <a:gd name="csY302" fmla="*/ 489625 h 1538630"/>
              <a:gd name="csX303" fmla="*/ 1471650 w 1609516"/>
              <a:gd name="csY303" fmla="*/ 498185 h 1538630"/>
              <a:gd name="csX304" fmla="*/ 1459135 w 1609516"/>
              <a:gd name="csY304" fmla="*/ 505127 h 1538630"/>
              <a:gd name="csX305" fmla="*/ 1452594 w 1609516"/>
              <a:gd name="csY305" fmla="*/ 508033 h 1538630"/>
              <a:gd name="csX306" fmla="*/ 1427795 w 1609516"/>
              <a:gd name="csY306" fmla="*/ 520100 h 1538630"/>
              <a:gd name="csX307" fmla="*/ 1423733 w 1609516"/>
              <a:gd name="csY307" fmla="*/ 522148 h 1538630"/>
              <a:gd name="csX308" fmla="*/ 1419929 w 1609516"/>
              <a:gd name="csY308" fmla="*/ 524118 h 1538630"/>
              <a:gd name="csX309" fmla="*/ 1416487 w 1609516"/>
              <a:gd name="csY309" fmla="*/ 525883 h 1538630"/>
              <a:gd name="csX310" fmla="*/ 1412271 w 1609516"/>
              <a:gd name="csY310" fmla="*/ 531902 h 1538630"/>
              <a:gd name="csX311" fmla="*/ 1396650 w 1609516"/>
              <a:gd name="csY311" fmla="*/ 537539 h 1538630"/>
              <a:gd name="csX312" fmla="*/ 1396650 w 1609516"/>
              <a:gd name="csY312" fmla="*/ 540357 h 1538630"/>
              <a:gd name="csX313" fmla="*/ 1393495 w 1609516"/>
              <a:gd name="csY313" fmla="*/ 541502 h 1538630"/>
              <a:gd name="csX314" fmla="*/ 1362284 w 1609516"/>
              <a:gd name="csY314" fmla="*/ 558678 h 1538630"/>
              <a:gd name="csX315" fmla="*/ 1355937 w 1609516"/>
              <a:gd name="csY315" fmla="*/ 562905 h 1538630"/>
              <a:gd name="csX316" fmla="*/ 1334165 w 1609516"/>
              <a:gd name="csY316" fmla="*/ 578406 h 1538630"/>
              <a:gd name="csX317" fmla="*/ 1331200 w 1609516"/>
              <a:gd name="csY317" fmla="*/ 580559 h 1538630"/>
              <a:gd name="csX318" fmla="*/ 1322175 w 1609516"/>
              <a:gd name="csY318" fmla="*/ 596793 h 1538630"/>
              <a:gd name="csX319" fmla="*/ 1320106 w 1609516"/>
              <a:gd name="csY319" fmla="*/ 602363 h 1538630"/>
              <a:gd name="csX320" fmla="*/ 1328015 w 1609516"/>
              <a:gd name="csY320" fmla="*/ 647640 h 1538630"/>
              <a:gd name="csX321" fmla="*/ 1332604 w 1609516"/>
              <a:gd name="csY321" fmla="*/ 675643 h 1538630"/>
              <a:gd name="csX322" fmla="*/ 1335727 w 1609516"/>
              <a:gd name="csY322" fmla="*/ 675643 h 1538630"/>
              <a:gd name="csX323" fmla="*/ 1337741 w 1609516"/>
              <a:gd name="csY323" fmla="*/ 690059 h 1538630"/>
              <a:gd name="csX324" fmla="*/ 1338003 w 1609516"/>
              <a:gd name="csY324" fmla="*/ 696222 h 1538630"/>
              <a:gd name="csX325" fmla="*/ 1338340 w 1609516"/>
              <a:gd name="csY325" fmla="*/ 705887 h 1538630"/>
              <a:gd name="csX326" fmla="*/ 1345277 w 1609516"/>
              <a:gd name="csY326" fmla="*/ 733245 h 1538630"/>
              <a:gd name="csX327" fmla="*/ 1363162 w 1609516"/>
              <a:gd name="csY327" fmla="*/ 741612 h 1538630"/>
              <a:gd name="csX328" fmla="*/ 1384154 w 1609516"/>
              <a:gd name="csY328" fmla="*/ 748922 h 1538630"/>
              <a:gd name="csX329" fmla="*/ 1391476 w 1609516"/>
              <a:gd name="csY329" fmla="*/ 750419 h 1538630"/>
              <a:gd name="csX330" fmla="*/ 1395564 w 1609516"/>
              <a:gd name="csY330" fmla="*/ 751080 h 1538630"/>
              <a:gd name="csX331" fmla="*/ 1399775 w 1609516"/>
              <a:gd name="csY331" fmla="*/ 751740 h 1538630"/>
              <a:gd name="csX332" fmla="*/ 1403887 w 1609516"/>
              <a:gd name="csY332" fmla="*/ 752489 h 1538630"/>
              <a:gd name="csX333" fmla="*/ 1465383 w 1609516"/>
              <a:gd name="csY333" fmla="*/ 755969 h 1538630"/>
              <a:gd name="csX334" fmla="*/ 1470339 w 1609516"/>
              <a:gd name="csY334" fmla="*/ 755897 h 1538630"/>
              <a:gd name="csX335" fmla="*/ 1496809 w 1609516"/>
              <a:gd name="csY335" fmla="*/ 749313 h 1538630"/>
              <a:gd name="csX336" fmla="*/ 1515371 w 1609516"/>
              <a:gd name="csY336" fmla="*/ 743285 h 1538630"/>
              <a:gd name="csX337" fmla="*/ 1515371 w 1609516"/>
              <a:gd name="csY337" fmla="*/ 740467 h 1538630"/>
              <a:gd name="csX338" fmla="*/ 1537632 w 1609516"/>
              <a:gd name="csY338" fmla="*/ 737120 h 1538630"/>
              <a:gd name="csX339" fmla="*/ 1541657 w 1609516"/>
              <a:gd name="csY339" fmla="*/ 737127 h 1538630"/>
              <a:gd name="csX340" fmla="*/ 1574732 w 1609516"/>
              <a:gd name="csY340" fmla="*/ 748922 h 1538630"/>
              <a:gd name="csX341" fmla="*/ 1588791 w 1609516"/>
              <a:gd name="csY341" fmla="*/ 792608 h 1538630"/>
              <a:gd name="csX342" fmla="*/ 1584105 w 1609516"/>
              <a:gd name="csY342" fmla="*/ 805291 h 1538630"/>
              <a:gd name="csX343" fmla="*/ 1580981 w 1609516"/>
              <a:gd name="csY343" fmla="*/ 806700 h 1538630"/>
              <a:gd name="csX344" fmla="*/ 1578735 w 1609516"/>
              <a:gd name="csY344" fmla="*/ 810311 h 1538630"/>
              <a:gd name="csX345" fmla="*/ 1576295 w 1609516"/>
              <a:gd name="csY345" fmla="*/ 813746 h 1538630"/>
              <a:gd name="csX346" fmla="*/ 1571652 w 1609516"/>
              <a:gd name="csY346" fmla="*/ 813746 h 1538630"/>
              <a:gd name="csX347" fmla="*/ 1571785 w 1609516"/>
              <a:gd name="csY347" fmla="*/ 814106 h 1538630"/>
              <a:gd name="csX348" fmla="*/ 1574909 w 1609516"/>
              <a:gd name="csY348" fmla="*/ 815515 h 1538630"/>
              <a:gd name="csX349" fmla="*/ 1565463 w 1609516"/>
              <a:gd name="csY349" fmla="*/ 821839 h 1538630"/>
              <a:gd name="csX350" fmla="*/ 1562085 w 1609516"/>
              <a:gd name="csY350" fmla="*/ 822101 h 1538630"/>
              <a:gd name="csX351" fmla="*/ 1551301 w 1609516"/>
              <a:gd name="csY351" fmla="*/ 825020 h 1538630"/>
              <a:gd name="csX352" fmla="*/ 1551301 w 1609516"/>
              <a:gd name="csY352" fmla="*/ 827838 h 1538630"/>
              <a:gd name="csX353" fmla="*/ 1485380 w 1609516"/>
              <a:gd name="csY353" fmla="*/ 815007 h 1538630"/>
              <a:gd name="csX354" fmla="*/ 1431603 w 1609516"/>
              <a:gd name="csY354" fmla="*/ 808726 h 1538630"/>
              <a:gd name="csX355" fmla="*/ 1424140 w 1609516"/>
              <a:gd name="csY355" fmla="*/ 808542 h 1538630"/>
              <a:gd name="csX356" fmla="*/ 1406023 w 1609516"/>
              <a:gd name="csY356" fmla="*/ 808109 h 1538630"/>
              <a:gd name="csX357" fmla="*/ 1406023 w 1609516"/>
              <a:gd name="csY357" fmla="*/ 810928 h 1538630"/>
              <a:gd name="csX358" fmla="*/ 1403383 w 1609516"/>
              <a:gd name="csY358" fmla="*/ 811311 h 1538630"/>
              <a:gd name="csX359" fmla="*/ 1345442 w 1609516"/>
              <a:gd name="csY359" fmla="*/ 828907 h 1538630"/>
              <a:gd name="csX360" fmla="*/ 1337875 w 1609516"/>
              <a:gd name="csY360" fmla="*/ 856639 h 1538630"/>
              <a:gd name="csX361" fmla="*/ 1337692 w 1609516"/>
              <a:gd name="csY361" fmla="*/ 860171 h 1538630"/>
              <a:gd name="csX362" fmla="*/ 1337290 w 1609516"/>
              <a:gd name="csY362" fmla="*/ 868706 h 1538630"/>
              <a:gd name="csX363" fmla="*/ 1334165 w 1609516"/>
              <a:gd name="csY363" fmla="*/ 868706 h 1538630"/>
              <a:gd name="csX364" fmla="*/ 1334165 w 1609516"/>
              <a:gd name="csY364" fmla="*/ 870034 h 1538630"/>
              <a:gd name="csX365" fmla="*/ 1334237 w 1609516"/>
              <a:gd name="csY365" fmla="*/ 869093 h 1538630"/>
              <a:gd name="csX366" fmla="*/ 1335800 w 1609516"/>
              <a:gd name="csY366" fmla="*/ 869093 h 1538630"/>
              <a:gd name="csX367" fmla="*/ 1335995 w 1609516"/>
              <a:gd name="csY367" fmla="*/ 876491 h 1538630"/>
              <a:gd name="csX368" fmla="*/ 1336105 w 1609516"/>
              <a:gd name="csY368" fmla="*/ 880653 h 1538630"/>
              <a:gd name="csX369" fmla="*/ 1334294 w 1609516"/>
              <a:gd name="csY369" fmla="*/ 887271 h 1538630"/>
              <a:gd name="csX370" fmla="*/ 1331455 w 1609516"/>
              <a:gd name="csY370" fmla="*/ 896440 h 1538630"/>
              <a:gd name="csX371" fmla="*/ 1330887 w 1609516"/>
              <a:gd name="csY371" fmla="*/ 899969 h 1538630"/>
              <a:gd name="csX372" fmla="*/ 1330332 w 1609516"/>
              <a:gd name="csY372" fmla="*/ 903618 h 1538630"/>
              <a:gd name="csX373" fmla="*/ 1329209 w 1609516"/>
              <a:gd name="csY373" fmla="*/ 910797 h 1538630"/>
              <a:gd name="csX374" fmla="*/ 1328724 w 1609516"/>
              <a:gd name="csY374" fmla="*/ 913998 h 1538630"/>
              <a:gd name="csX375" fmla="*/ 1324865 w 1609516"/>
              <a:gd name="csY375" fmla="*/ 922643 h 1538630"/>
              <a:gd name="csX376" fmla="*/ 1322619 w 1609516"/>
              <a:gd name="csY376" fmla="*/ 937979 h 1538630"/>
              <a:gd name="csX377" fmla="*/ 1318744 w 1609516"/>
              <a:gd name="csY377" fmla="*/ 944961 h 1538630"/>
              <a:gd name="csX378" fmla="*/ 1318544 w 1609516"/>
              <a:gd name="csY378" fmla="*/ 946213 h 1538630"/>
              <a:gd name="csX379" fmla="*/ 1318251 w 1609516"/>
              <a:gd name="csY379" fmla="*/ 955285 h 1538630"/>
              <a:gd name="csX380" fmla="*/ 1318184 w 1609516"/>
              <a:gd name="csY380" fmla="*/ 960036 h 1538630"/>
              <a:gd name="csX381" fmla="*/ 1324024 w 1609516"/>
              <a:gd name="csY381" fmla="*/ 973660 h 1538630"/>
              <a:gd name="csX382" fmla="*/ 1329284 w 1609516"/>
              <a:gd name="csY382" fmla="*/ 983382 h 1538630"/>
              <a:gd name="csX383" fmla="*/ 1340414 w 1609516"/>
              <a:gd name="csY383" fmla="*/ 998354 h 1538630"/>
              <a:gd name="csX384" fmla="*/ 1346272 w 1609516"/>
              <a:gd name="csY384" fmla="*/ 1005048 h 1538630"/>
              <a:gd name="csX385" fmla="*/ 1394716 w 1609516"/>
              <a:gd name="csY385" fmla="*/ 1042740 h 1538630"/>
              <a:gd name="csX386" fmla="*/ 1401953 w 1609516"/>
              <a:gd name="csY386" fmla="*/ 1047374 h 1538630"/>
              <a:gd name="csX387" fmla="*/ 1427197 w 1609516"/>
              <a:gd name="csY387" fmla="*/ 1059061 h 1538630"/>
              <a:gd name="csX388" fmla="*/ 1437265 w 1609516"/>
              <a:gd name="csY388" fmla="*/ 1064588 h 1538630"/>
              <a:gd name="csX389" fmla="*/ 1437265 w 1609516"/>
              <a:gd name="csY389" fmla="*/ 1067406 h 1538630"/>
              <a:gd name="csX390" fmla="*/ 1440878 w 1609516"/>
              <a:gd name="csY390" fmla="*/ 1067847 h 1538630"/>
              <a:gd name="csX391" fmla="*/ 1447175 w 1609516"/>
              <a:gd name="csY391" fmla="*/ 1070753 h 1538630"/>
              <a:gd name="csX392" fmla="*/ 1457866 w 1609516"/>
              <a:gd name="csY392" fmla="*/ 1076830 h 1538630"/>
              <a:gd name="csX393" fmla="*/ 1462132 w 1609516"/>
              <a:gd name="csY393" fmla="*/ 1078696 h 1538630"/>
              <a:gd name="csX394" fmla="*/ 1465383 w 1609516"/>
              <a:gd name="csY394" fmla="*/ 1080089 h 1538630"/>
              <a:gd name="csX395" fmla="*/ 1465383 w 1609516"/>
              <a:gd name="csY395" fmla="*/ 1082908 h 1538630"/>
              <a:gd name="csX396" fmla="*/ 1468758 w 1609516"/>
              <a:gd name="csY396" fmla="*/ 1083975 h 1538630"/>
              <a:gd name="csX397" fmla="*/ 1481688 w 1609516"/>
              <a:gd name="csY397" fmla="*/ 1091187 h 1538630"/>
              <a:gd name="csX398" fmla="*/ 1486283 w 1609516"/>
              <a:gd name="csY398" fmla="*/ 1094236 h 1538630"/>
              <a:gd name="csX399" fmla="*/ 1494869 w 1609516"/>
              <a:gd name="csY399" fmla="*/ 1100171 h 1538630"/>
              <a:gd name="csX400" fmla="*/ 1544335 w 1609516"/>
              <a:gd name="csY400" fmla="*/ 1109518 h 1538630"/>
              <a:gd name="csX401" fmla="*/ 1593477 w 1609516"/>
              <a:gd name="csY401" fmla="*/ 1119900 h 1538630"/>
              <a:gd name="csX402" fmla="*/ 1605975 w 1609516"/>
              <a:gd name="csY402" fmla="*/ 1144913 h 1538630"/>
              <a:gd name="csX403" fmla="*/ 1609099 w 1609516"/>
              <a:gd name="csY403" fmla="*/ 1144913 h 1538630"/>
              <a:gd name="csX404" fmla="*/ 1609392 w 1609516"/>
              <a:gd name="csY404" fmla="*/ 1156892 h 1538630"/>
              <a:gd name="csX405" fmla="*/ 1609511 w 1609516"/>
              <a:gd name="csY405" fmla="*/ 1160272 h 1538630"/>
              <a:gd name="csX406" fmla="*/ 1604412 w 1609516"/>
              <a:gd name="csY406" fmla="*/ 1181553 h 1538630"/>
              <a:gd name="csX407" fmla="*/ 1601288 w 1609516"/>
              <a:gd name="csY407" fmla="*/ 1190009 h 1538630"/>
              <a:gd name="csX408" fmla="*/ 1598164 w 1609516"/>
              <a:gd name="csY408" fmla="*/ 1190009 h 1538630"/>
              <a:gd name="csX409" fmla="*/ 1597187 w 1609516"/>
              <a:gd name="csY409" fmla="*/ 1192739 h 1538630"/>
              <a:gd name="csX410" fmla="*/ 1595040 w 1609516"/>
              <a:gd name="csY410" fmla="*/ 1195645 h 1538630"/>
              <a:gd name="csX411" fmla="*/ 1585667 w 1609516"/>
              <a:gd name="csY411" fmla="*/ 1197055 h 1538630"/>
              <a:gd name="csX412" fmla="*/ 1582543 w 1609516"/>
              <a:gd name="csY412" fmla="*/ 1202691 h 1538630"/>
              <a:gd name="csX413" fmla="*/ 1562431 w 1609516"/>
              <a:gd name="csY413" fmla="*/ 1204365 h 1538630"/>
              <a:gd name="csX414" fmla="*/ 1558690 w 1609516"/>
              <a:gd name="csY414" fmla="*/ 1204417 h 1538630"/>
              <a:gd name="csX415" fmla="*/ 1521102 w 1609516"/>
              <a:gd name="csY415" fmla="*/ 1189585 h 1538630"/>
              <a:gd name="csX416" fmla="*/ 1505022 w 1609516"/>
              <a:gd name="csY416" fmla="*/ 1172041 h 1538630"/>
              <a:gd name="csX417" fmla="*/ 1457573 w 1609516"/>
              <a:gd name="csY417" fmla="*/ 1140686 h 1538630"/>
              <a:gd name="csX418" fmla="*/ 1457573 w 1609516"/>
              <a:gd name="csY418" fmla="*/ 1137867 h 1538630"/>
              <a:gd name="csX419" fmla="*/ 1452985 w 1609516"/>
              <a:gd name="csY419" fmla="*/ 1137339 h 1538630"/>
              <a:gd name="csX420" fmla="*/ 1448200 w 1609516"/>
              <a:gd name="csY420" fmla="*/ 1136458 h 1538630"/>
              <a:gd name="csX421" fmla="*/ 1446638 w 1609516"/>
              <a:gd name="csY421" fmla="*/ 1133640 h 1538630"/>
              <a:gd name="csX422" fmla="*/ 1438937 w 1609516"/>
              <a:gd name="csY422" fmla="*/ 1130601 h 1538630"/>
              <a:gd name="csX423" fmla="*/ 1429260 w 1609516"/>
              <a:gd name="csY423" fmla="*/ 1126770 h 1538630"/>
              <a:gd name="csX424" fmla="*/ 1411393 w 1609516"/>
              <a:gd name="csY424" fmla="*/ 1120340 h 1538630"/>
              <a:gd name="csX425" fmla="*/ 1391427 w 1609516"/>
              <a:gd name="csY425" fmla="*/ 1111191 h 1538630"/>
              <a:gd name="csX426" fmla="*/ 1381029 w 1609516"/>
              <a:gd name="csY426" fmla="*/ 1106865 h 1538630"/>
              <a:gd name="csX427" fmla="*/ 1381029 w 1609516"/>
              <a:gd name="csY427" fmla="*/ 1104046 h 1538630"/>
              <a:gd name="csX428" fmla="*/ 1377221 w 1609516"/>
              <a:gd name="csY428" fmla="*/ 1103605 h 1538630"/>
              <a:gd name="csX429" fmla="*/ 1357597 w 1609516"/>
              <a:gd name="csY429" fmla="*/ 1098409 h 1538630"/>
              <a:gd name="csX430" fmla="*/ 1352032 w 1609516"/>
              <a:gd name="csY430" fmla="*/ 1096736 h 1538630"/>
              <a:gd name="csX431" fmla="*/ 1348225 w 1609516"/>
              <a:gd name="csY431" fmla="*/ 1095590 h 1538630"/>
              <a:gd name="csX432" fmla="*/ 1348225 w 1609516"/>
              <a:gd name="csY432" fmla="*/ 1092772 h 1538630"/>
              <a:gd name="csX433" fmla="*/ 1337290 w 1609516"/>
              <a:gd name="csY433" fmla="*/ 1091363 h 1538630"/>
              <a:gd name="csX434" fmla="*/ 1337290 w 1609516"/>
              <a:gd name="csY434" fmla="*/ 1088544 h 1538630"/>
              <a:gd name="csX435" fmla="*/ 1331529 w 1609516"/>
              <a:gd name="csY435" fmla="*/ 1088104 h 1538630"/>
              <a:gd name="csX436" fmla="*/ 1323297 w 1609516"/>
              <a:gd name="csY436" fmla="*/ 1086611 h 1538630"/>
              <a:gd name="csX437" fmla="*/ 1323297 w 1609516"/>
              <a:gd name="csY437" fmla="*/ 1087618 h 1538630"/>
              <a:gd name="csX438" fmla="*/ 1319789 w 1609516"/>
              <a:gd name="csY438" fmla="*/ 1087310 h 1538630"/>
              <a:gd name="csX439" fmla="*/ 1262375 w 1609516"/>
              <a:gd name="csY439" fmla="*/ 1089028 h 1538630"/>
              <a:gd name="csX440" fmla="*/ 1258728 w 1609516"/>
              <a:gd name="csY440" fmla="*/ 1088205 h 1538630"/>
              <a:gd name="csX441" fmla="*/ 1246964 w 1609516"/>
              <a:gd name="csY441" fmla="*/ 1091489 h 1538630"/>
              <a:gd name="csX442" fmla="*/ 1223224 w 1609516"/>
              <a:gd name="csY442" fmla="*/ 1112865 h 1538630"/>
              <a:gd name="csX443" fmla="*/ 1213883 w 1609516"/>
              <a:gd name="csY443" fmla="*/ 1122366 h 1538630"/>
              <a:gd name="csX444" fmla="*/ 1212505 w 1609516"/>
              <a:gd name="csY444" fmla="*/ 1125708 h 1538630"/>
              <a:gd name="csX445" fmla="*/ 1204180 w 1609516"/>
              <a:gd name="csY445" fmla="*/ 1135561 h 1538630"/>
              <a:gd name="csX446" fmla="*/ 1200238 w 1609516"/>
              <a:gd name="csY446" fmla="*/ 1138999 h 1538630"/>
              <a:gd name="csX447" fmla="*/ 1192025 w 1609516"/>
              <a:gd name="csY447" fmla="*/ 1146022 h 1538630"/>
              <a:gd name="csX448" fmla="*/ 1173945 w 1609516"/>
              <a:gd name="csY448" fmla="*/ 1174749 h 1538630"/>
              <a:gd name="csX449" fmla="*/ 1173950 w 1609516"/>
              <a:gd name="csY449" fmla="*/ 1182610 h 1538630"/>
              <a:gd name="csX450" fmla="*/ 1173989 w 1609516"/>
              <a:gd name="csY450" fmla="*/ 1186765 h 1538630"/>
              <a:gd name="csX451" fmla="*/ 1182640 w 1609516"/>
              <a:gd name="csY451" fmla="*/ 1215374 h 1538630"/>
              <a:gd name="csX452" fmla="*/ 1185764 w 1609516"/>
              <a:gd name="csY452" fmla="*/ 1221804 h 1538630"/>
              <a:gd name="csX453" fmla="*/ 1187301 w 1609516"/>
              <a:gd name="csY453" fmla="*/ 1224859 h 1538630"/>
              <a:gd name="csX454" fmla="*/ 1190573 w 1609516"/>
              <a:gd name="csY454" fmla="*/ 1231740 h 1538630"/>
              <a:gd name="csX455" fmla="*/ 1205925 w 1609516"/>
              <a:gd name="csY455" fmla="*/ 1255163 h 1538630"/>
              <a:gd name="csX456" fmla="*/ 1212174 w 1609516"/>
              <a:gd name="csY456" fmla="*/ 1263134 h 1538630"/>
              <a:gd name="csX457" fmla="*/ 1235556 w 1609516"/>
              <a:gd name="csY457" fmla="*/ 1282538 h 1538630"/>
              <a:gd name="csX458" fmla="*/ 1238876 w 1609516"/>
              <a:gd name="csY458" fmla="*/ 1284426 h 1538630"/>
              <a:gd name="csX459" fmla="*/ 1238876 w 1609516"/>
              <a:gd name="csY459" fmla="*/ 1287245 h 1538630"/>
              <a:gd name="csX460" fmla="*/ 1242245 w 1609516"/>
              <a:gd name="csY460" fmla="*/ 1287663 h 1538630"/>
              <a:gd name="csX461" fmla="*/ 1271681 w 1609516"/>
              <a:gd name="csY461" fmla="*/ 1305565 h 1538630"/>
              <a:gd name="csX462" fmla="*/ 1271742 w 1609516"/>
              <a:gd name="csY462" fmla="*/ 1306172 h 1538630"/>
              <a:gd name="csX463" fmla="*/ 1278525 w 1609516"/>
              <a:gd name="csY463" fmla="*/ 1315767 h 1538630"/>
              <a:gd name="csX464" fmla="*/ 1281097 w 1609516"/>
              <a:gd name="csY464" fmla="*/ 1327286 h 1538630"/>
              <a:gd name="csX465" fmla="*/ 1277973 w 1609516"/>
              <a:gd name="csY465" fmla="*/ 1355470 h 1538630"/>
              <a:gd name="csX466" fmla="*/ 1277460 w 1609516"/>
              <a:gd name="csY466" fmla="*/ 1347025 h 1538630"/>
              <a:gd name="csX467" fmla="*/ 1273531 w 1609516"/>
              <a:gd name="csY467" fmla="*/ 1357991 h 1538630"/>
              <a:gd name="csX468" fmla="*/ 1263870 w 1609516"/>
              <a:gd name="csY468" fmla="*/ 1368980 h 1538630"/>
              <a:gd name="csX469" fmla="*/ 1246686 w 1609516"/>
              <a:gd name="csY469" fmla="*/ 1376026 h 1538630"/>
              <a:gd name="csX470" fmla="*/ 1246686 w 1609516"/>
              <a:gd name="csY470" fmla="*/ 1378844 h 1538630"/>
              <a:gd name="csX471" fmla="*/ 1231651 w 1609516"/>
              <a:gd name="csY471" fmla="*/ 1379196 h 1538630"/>
              <a:gd name="csX472" fmla="*/ 1227373 w 1609516"/>
              <a:gd name="csY472" fmla="*/ 1379340 h 1538630"/>
              <a:gd name="csX473" fmla="*/ 1206071 w 1609516"/>
              <a:gd name="csY473" fmla="*/ 1373207 h 1538630"/>
              <a:gd name="csX474" fmla="*/ 1202069 w 1609516"/>
              <a:gd name="csY474" fmla="*/ 1371798 h 1538630"/>
              <a:gd name="csX475" fmla="*/ 1184104 w 1609516"/>
              <a:gd name="csY475" fmla="*/ 1356176 h 1538630"/>
              <a:gd name="csX476" fmla="*/ 1177270 w 1609516"/>
              <a:gd name="csY476" fmla="*/ 1335247 h 1538630"/>
              <a:gd name="csX477" fmla="*/ 1169002 w 1609516"/>
              <a:gd name="csY477" fmla="*/ 1313464 h 1538630"/>
              <a:gd name="csX478" fmla="*/ 1163504 w 1609516"/>
              <a:gd name="csY478" fmla="*/ 1302130 h 1538630"/>
              <a:gd name="csX479" fmla="*/ 1162015 w 1609516"/>
              <a:gd name="csY479" fmla="*/ 1298788 h 1538630"/>
              <a:gd name="csX480" fmla="*/ 1160111 w 1609516"/>
              <a:gd name="csY480" fmla="*/ 1292656 h 1538630"/>
              <a:gd name="csX481" fmla="*/ 1154522 w 1609516"/>
              <a:gd name="csY481" fmla="*/ 1287245 h 1538630"/>
              <a:gd name="csX482" fmla="*/ 1151398 w 1609516"/>
              <a:gd name="csY482" fmla="*/ 1280199 h 1538630"/>
              <a:gd name="csX483" fmla="*/ 1144173 w 1609516"/>
              <a:gd name="csY483" fmla="*/ 1270774 h 1538630"/>
              <a:gd name="csX484" fmla="*/ 1142065 w 1609516"/>
              <a:gd name="csY484" fmla="*/ 1268160 h 1538630"/>
              <a:gd name="csX485" fmla="*/ 1135776 w 1609516"/>
              <a:gd name="csY485" fmla="*/ 1260470 h 1538630"/>
              <a:gd name="csX486" fmla="*/ 1132353 w 1609516"/>
              <a:gd name="csY486" fmla="*/ 1256247 h 1538630"/>
              <a:gd name="csX487" fmla="*/ 1112344 w 1609516"/>
              <a:gd name="csY487" fmla="*/ 1240741 h 1538630"/>
              <a:gd name="csX488" fmla="*/ 1106193 w 1609516"/>
              <a:gd name="csY488" fmla="*/ 1237570 h 1538630"/>
              <a:gd name="csX489" fmla="*/ 1101409 w 1609516"/>
              <a:gd name="csY489" fmla="*/ 1235104 h 1538630"/>
              <a:gd name="csX490" fmla="*/ 1101409 w 1609516"/>
              <a:gd name="csY490" fmla="*/ 1230876 h 1538630"/>
              <a:gd name="csX491" fmla="*/ 1065480 w 1609516"/>
              <a:gd name="csY491" fmla="*/ 1230876 h 1538630"/>
              <a:gd name="csX492" fmla="*/ 1063919 w 1609516"/>
              <a:gd name="csY492" fmla="*/ 1235104 h 1538630"/>
              <a:gd name="csX493" fmla="*/ 1059232 w 1609516"/>
              <a:gd name="csY493" fmla="*/ 1235104 h 1538630"/>
              <a:gd name="csX494" fmla="*/ 1059232 w 1609516"/>
              <a:gd name="csY494" fmla="*/ 1237922 h 1538630"/>
              <a:gd name="csX495" fmla="*/ 1040194 w 1609516"/>
              <a:gd name="csY495" fmla="*/ 1245761 h 1538630"/>
              <a:gd name="csX496" fmla="*/ 1030333 w 1609516"/>
              <a:gd name="csY496" fmla="*/ 1249901 h 1538630"/>
              <a:gd name="csX497" fmla="*/ 1013931 w 1609516"/>
              <a:gd name="csY497" fmla="*/ 1256242 h 1538630"/>
              <a:gd name="csX498" fmla="*/ 1005925 w 1609516"/>
              <a:gd name="csY498" fmla="*/ 1261615 h 1538630"/>
              <a:gd name="csX499" fmla="*/ 1004558 w 1609516"/>
              <a:gd name="csY499" fmla="*/ 1264697 h 1538630"/>
              <a:gd name="csX500" fmla="*/ 1002959 w 1609516"/>
              <a:gd name="csY500" fmla="*/ 1267961 h 1538630"/>
              <a:gd name="csX501" fmla="*/ 1000653 w 1609516"/>
              <a:gd name="csY501" fmla="*/ 1278965 h 1538630"/>
              <a:gd name="csX502" fmla="*/ 998297 w 1609516"/>
              <a:gd name="csY502" fmla="*/ 1294137 h 1538630"/>
              <a:gd name="csX503" fmla="*/ 996162 w 1609516"/>
              <a:gd name="csY503" fmla="*/ 1324765 h 1538630"/>
              <a:gd name="csX504" fmla="*/ 996164 w 1609516"/>
              <a:gd name="csY504" fmla="*/ 1327846 h 1538630"/>
              <a:gd name="csX505" fmla="*/ 1007780 w 1609516"/>
              <a:gd name="csY505" fmla="*/ 1403329 h 1538630"/>
              <a:gd name="csX506" fmla="*/ 1008940 w 1609516"/>
              <a:gd name="csY506" fmla="*/ 1407701 h 1538630"/>
              <a:gd name="csX507" fmla="*/ 1010080 w 1609516"/>
              <a:gd name="csY507" fmla="*/ 1411730 h 1538630"/>
              <a:gd name="csX508" fmla="*/ 1011075 w 1609516"/>
              <a:gd name="csY508" fmla="*/ 1415277 h 1538630"/>
              <a:gd name="csX509" fmla="*/ 1017055 w 1609516"/>
              <a:gd name="csY509" fmla="*/ 1422530 h 1538630"/>
              <a:gd name="csX510" fmla="*/ 1020277 w 1609516"/>
              <a:gd name="csY510" fmla="*/ 1427991 h 1538630"/>
              <a:gd name="csX511" fmla="*/ 1021796 w 1609516"/>
              <a:gd name="csY511" fmla="*/ 1430798 h 1538630"/>
              <a:gd name="csX512" fmla="*/ 1024579 w 1609516"/>
              <a:gd name="csY512" fmla="*/ 1437239 h 1538630"/>
              <a:gd name="csX513" fmla="*/ 1034043 w 1609516"/>
              <a:gd name="csY513" fmla="*/ 1448072 h 1538630"/>
              <a:gd name="csX514" fmla="*/ 1043782 w 1609516"/>
              <a:gd name="csY514" fmla="*/ 1464320 h 1538630"/>
              <a:gd name="csX515" fmla="*/ 1050458 w 1609516"/>
              <a:gd name="csY515" fmla="*/ 1472189 h 1538630"/>
              <a:gd name="csX516" fmla="*/ 1052926 w 1609516"/>
              <a:gd name="csY516" fmla="*/ 1482370 h 1538630"/>
              <a:gd name="csX517" fmla="*/ 1053316 w 1609516"/>
              <a:gd name="csY517" fmla="*/ 1496903 h 1538630"/>
              <a:gd name="csX518" fmla="*/ 1053352 w 1609516"/>
              <a:gd name="csY518" fmla="*/ 1500660 h 1538630"/>
              <a:gd name="csX519" fmla="*/ 1053341 w 1609516"/>
              <a:gd name="csY519" fmla="*/ 1504285 h 1538630"/>
              <a:gd name="csX520" fmla="*/ 1053329 w 1609516"/>
              <a:gd name="csY520" fmla="*/ 1507529 h 1538630"/>
              <a:gd name="csX521" fmla="*/ 1049801 w 1609516"/>
              <a:gd name="csY521" fmla="*/ 1516192 h 1538630"/>
              <a:gd name="csX522" fmla="*/ 1047312 w 1609516"/>
              <a:gd name="csY522" fmla="*/ 1516192 h 1538630"/>
              <a:gd name="csX523" fmla="*/ 1043611 w 1609516"/>
              <a:gd name="csY523" fmla="*/ 1522585 h 1538630"/>
              <a:gd name="csX524" fmla="*/ 1029552 w 1609516"/>
              <a:gd name="csY524" fmla="*/ 1529631 h 1538630"/>
              <a:gd name="csX525" fmla="*/ 1028771 w 1609516"/>
              <a:gd name="csY525" fmla="*/ 1532273 h 1538630"/>
              <a:gd name="csX526" fmla="*/ 1018013 w 1609516"/>
              <a:gd name="csY526" fmla="*/ 1537640 h 1538630"/>
              <a:gd name="csX527" fmla="*/ 981126 w 1609516"/>
              <a:gd name="csY527" fmla="*/ 1533859 h 1538630"/>
              <a:gd name="csX528" fmla="*/ 977227 w 1609516"/>
              <a:gd name="csY528" fmla="*/ 1531943 h 1538630"/>
              <a:gd name="csX529" fmla="*/ 955376 w 1609516"/>
              <a:gd name="csY529" fmla="*/ 1508751 h 1538630"/>
              <a:gd name="csX530" fmla="*/ 954571 w 1609516"/>
              <a:gd name="csY530" fmla="*/ 1500037 h 1538630"/>
              <a:gd name="csX531" fmla="*/ 951446 w 1609516"/>
              <a:gd name="csY531" fmla="*/ 1500037 h 1538630"/>
              <a:gd name="csX532" fmla="*/ 951251 w 1609516"/>
              <a:gd name="csY532" fmla="*/ 1487883 h 1538630"/>
              <a:gd name="csX533" fmla="*/ 951171 w 1609516"/>
              <a:gd name="csY533" fmla="*/ 1484431 h 1538630"/>
              <a:gd name="csX534" fmla="*/ 954571 w 1609516"/>
              <a:gd name="csY534" fmla="*/ 1466216 h 1538630"/>
              <a:gd name="csX535" fmla="*/ 954961 w 1609516"/>
              <a:gd name="csY535" fmla="*/ 1455118 h 1538630"/>
              <a:gd name="csX536" fmla="*/ 954932 w 1609516"/>
              <a:gd name="csY536" fmla="*/ 1451972 h 1538630"/>
              <a:gd name="csX537" fmla="*/ 945099 w 1609516"/>
              <a:gd name="csY537" fmla="*/ 1403594 h 1538630"/>
              <a:gd name="csX538" fmla="*/ 942366 w 1609516"/>
              <a:gd name="csY538" fmla="*/ 1393553 h 1538630"/>
              <a:gd name="csX539" fmla="*/ 934451 w 1609516"/>
              <a:gd name="csY539" fmla="*/ 1372734 h 1538630"/>
              <a:gd name="csX540" fmla="*/ 931974 w 1609516"/>
              <a:gd name="csY540" fmla="*/ 1365754 h 1538630"/>
              <a:gd name="csX541" fmla="*/ 931138 w 1609516"/>
              <a:gd name="csY541" fmla="*/ 1363343 h 1538630"/>
              <a:gd name="csX542" fmla="*/ 926452 w 1609516"/>
              <a:gd name="csY542" fmla="*/ 1361933 h 1538630"/>
              <a:gd name="csX543" fmla="*/ 918641 w 1609516"/>
              <a:gd name="csY543" fmla="*/ 1340795 h 1538630"/>
              <a:gd name="csX544" fmla="*/ 917079 w 1609516"/>
              <a:gd name="csY544" fmla="*/ 1335158 h 1538630"/>
              <a:gd name="csX545" fmla="*/ 913955 w 1609516"/>
              <a:gd name="csY545" fmla="*/ 1335158 h 1538630"/>
              <a:gd name="csX546" fmla="*/ 912057 w 1609516"/>
              <a:gd name="csY546" fmla="*/ 1330793 h 1538630"/>
              <a:gd name="csX547" fmla="*/ 902142 w 1609516"/>
              <a:gd name="csY547" fmla="*/ 1316222 h 1538630"/>
              <a:gd name="csX548" fmla="*/ 900091 w 1609516"/>
              <a:gd name="csY548" fmla="*/ 1313828 h 1538630"/>
              <a:gd name="csX549" fmla="*/ 878026 w 1609516"/>
              <a:gd name="csY549" fmla="*/ 1295700 h 1538630"/>
              <a:gd name="csX550" fmla="*/ 875134 w 1609516"/>
              <a:gd name="csY550" fmla="*/ 1293465 h 1538630"/>
              <a:gd name="csX551" fmla="*/ 869869 w 1609516"/>
              <a:gd name="csY551" fmla="*/ 1291826 h 1538630"/>
              <a:gd name="csX552" fmla="*/ 862384 w 1609516"/>
              <a:gd name="csY552" fmla="*/ 1291327 h 1538630"/>
              <a:gd name="csX553" fmla="*/ 844390 w 1609516"/>
              <a:gd name="csY553" fmla="*/ 1290461 h 1538630"/>
              <a:gd name="csX554" fmla="*/ 840476 w 1609516"/>
              <a:gd name="csY554" fmla="*/ 1290500 h 1538630"/>
              <a:gd name="csX555" fmla="*/ 831015 w 1609516"/>
              <a:gd name="csY555" fmla="*/ 1290637 h 1538630"/>
              <a:gd name="csX556" fmla="*/ 831015 w 1609516"/>
              <a:gd name="csY556" fmla="*/ 1293456 h 1538630"/>
              <a:gd name="csX557" fmla="*/ 818225 w 1609516"/>
              <a:gd name="csY557" fmla="*/ 1295570 h 1538630"/>
              <a:gd name="csX558" fmla="*/ 796774 w 1609516"/>
              <a:gd name="csY558" fmla="*/ 1297671 h 1538630"/>
              <a:gd name="csX559" fmla="*/ 783646 w 1609516"/>
              <a:gd name="csY559" fmla="*/ 1305736 h 1538630"/>
              <a:gd name="csX560" fmla="*/ 769263 w 1609516"/>
              <a:gd name="csY560" fmla="*/ 1327143 h 1538630"/>
              <a:gd name="csX561" fmla="*/ 764797 w 1609516"/>
              <a:gd name="csY561" fmla="*/ 1334360 h 1538630"/>
              <a:gd name="csX562" fmla="*/ 757875 w 1609516"/>
              <a:gd name="csY562" fmla="*/ 1353503 h 1538630"/>
              <a:gd name="csX563" fmla="*/ 755676 w 1609516"/>
              <a:gd name="csY563" fmla="*/ 1367455 h 1538630"/>
              <a:gd name="csX564" fmla="*/ 750558 w 1609516"/>
              <a:gd name="csY564" fmla="*/ 1399690 h 1538630"/>
              <a:gd name="csX565" fmla="*/ 753057 w 1609516"/>
              <a:gd name="csY565" fmla="*/ 1411256 h 1538630"/>
              <a:gd name="csX566" fmla="*/ 753057 w 1609516"/>
              <a:gd name="csY566" fmla="*/ 1416893 h 1538630"/>
              <a:gd name="csX567" fmla="*/ 756181 w 1609516"/>
              <a:gd name="csY567" fmla="*/ 1416893 h 1538630"/>
              <a:gd name="csX568" fmla="*/ 758133 w 1609516"/>
              <a:gd name="csY568" fmla="*/ 1436182 h 1538630"/>
              <a:gd name="csX569" fmla="*/ 758231 w 1609516"/>
              <a:gd name="csY569" fmla="*/ 1440781 h 1538630"/>
              <a:gd name="csX570" fmla="*/ 750713 w 1609516"/>
              <a:gd name="csY570" fmla="*/ 1465704 h 1538630"/>
              <a:gd name="csX571" fmla="*/ 748370 w 1609516"/>
              <a:gd name="csY571" fmla="*/ 1467185 h 1538630"/>
              <a:gd name="csX572" fmla="*/ 741633 w 1609516"/>
              <a:gd name="csY572" fmla="*/ 1473526 h 1538630"/>
              <a:gd name="csX573" fmla="*/ 728154 w 1609516"/>
              <a:gd name="csY573" fmla="*/ 1478343 h 1538630"/>
              <a:gd name="csX574" fmla="*/ 721814 w 1609516"/>
              <a:gd name="csY574" fmla="*/ 1480308 h 1538630"/>
              <a:gd name="csX575" fmla="*/ 708341 w 1609516"/>
              <a:gd name="csY575" fmla="*/ 1480661 h 1538630"/>
              <a:gd name="csX576" fmla="*/ 704637 w 1609516"/>
              <a:gd name="csY576" fmla="*/ 1480748 h 1538630"/>
              <a:gd name="csX577" fmla="*/ 668507 w 1609516"/>
              <a:gd name="csY577" fmla="*/ 1468418 h 1538630"/>
              <a:gd name="csX578" fmla="*/ 660178 w 1609516"/>
              <a:gd name="csY578" fmla="*/ 1450027 h 1538630"/>
              <a:gd name="csX579" fmla="*/ 657767 w 1609516"/>
              <a:gd name="csY579" fmla="*/ 1445078 h 1538630"/>
              <a:gd name="csX580" fmla="*/ 663369 w 1609516"/>
              <a:gd name="csY580" fmla="*/ 1409390 h 1538630"/>
              <a:gd name="csX581" fmla="*/ 671826 w 1609516"/>
              <a:gd name="csY581" fmla="*/ 1401392 h 1538630"/>
              <a:gd name="csX582" fmla="*/ 678075 w 1609516"/>
              <a:gd name="csY582" fmla="*/ 1390118 h 1538630"/>
              <a:gd name="csX583" fmla="*/ 684323 w 1609516"/>
              <a:gd name="csY583" fmla="*/ 1388709 h 1538630"/>
              <a:gd name="csX584" fmla="*/ 685293 w 1609516"/>
              <a:gd name="csY584" fmla="*/ 1384233 h 1538630"/>
              <a:gd name="csX585" fmla="*/ 686569 w 1609516"/>
              <a:gd name="csY585" fmla="*/ 1378404 h 1538630"/>
              <a:gd name="csX586" fmla="*/ 687207 w 1609516"/>
              <a:gd name="csY586" fmla="*/ 1375456 h 1538630"/>
              <a:gd name="csX587" fmla="*/ 690572 w 1609516"/>
              <a:gd name="csY587" fmla="*/ 1363343 h 1538630"/>
              <a:gd name="csX588" fmla="*/ 692495 w 1609516"/>
              <a:gd name="csY588" fmla="*/ 1323376 h 1538630"/>
              <a:gd name="csX589" fmla="*/ 692625 w 1609516"/>
              <a:gd name="csY589" fmla="*/ 1315006 h 1538630"/>
              <a:gd name="csX590" fmla="*/ 687447 w 1609516"/>
              <a:gd name="csY590" fmla="*/ 1287245 h 1538630"/>
              <a:gd name="csX591" fmla="*/ 682761 w 1609516"/>
              <a:gd name="csY591" fmla="*/ 1285835 h 1538630"/>
              <a:gd name="csX592" fmla="*/ 678954 w 1609516"/>
              <a:gd name="csY592" fmla="*/ 1281608 h 1538630"/>
              <a:gd name="csX593" fmla="*/ 668702 w 1609516"/>
              <a:gd name="csY593" fmla="*/ 1275971 h 1538630"/>
              <a:gd name="csX594" fmla="*/ 662454 w 1609516"/>
              <a:gd name="csY594" fmla="*/ 1270334 h 1538630"/>
              <a:gd name="csX595" fmla="*/ 654643 w 1609516"/>
              <a:gd name="csY595" fmla="*/ 1267516 h 1538630"/>
              <a:gd name="csX596" fmla="*/ 654643 w 1609516"/>
              <a:gd name="csY596" fmla="*/ 1264697 h 1538630"/>
              <a:gd name="csX597" fmla="*/ 650152 w 1609516"/>
              <a:gd name="csY597" fmla="*/ 1264345 h 1538630"/>
              <a:gd name="csX598" fmla="*/ 628087 w 1609516"/>
              <a:gd name="csY598" fmla="*/ 1257651 h 1538630"/>
              <a:gd name="csX599" fmla="*/ 628087 w 1609516"/>
              <a:gd name="csY599" fmla="*/ 1254833 h 1538630"/>
              <a:gd name="csX600" fmla="*/ 625121 w 1609516"/>
              <a:gd name="csY600" fmla="*/ 1254315 h 1538630"/>
              <a:gd name="csX601" fmla="*/ 621252 w 1609516"/>
              <a:gd name="csY601" fmla="*/ 1253600 h 1538630"/>
              <a:gd name="csX602" fmla="*/ 617409 w 1609516"/>
              <a:gd name="csY602" fmla="*/ 1252906 h 1538630"/>
              <a:gd name="csX603" fmla="*/ 610904 w 1609516"/>
              <a:gd name="csY603" fmla="*/ 1249196 h 1538630"/>
              <a:gd name="csX604" fmla="*/ 565739 w 1609516"/>
              <a:gd name="csY604" fmla="*/ 1271742 h 1538630"/>
              <a:gd name="csX605" fmla="*/ 546924 w 1609516"/>
              <a:gd name="csY605" fmla="*/ 1290829 h 1538630"/>
              <a:gd name="csX606" fmla="*/ 543635 w 1609516"/>
              <a:gd name="csY606" fmla="*/ 1294643 h 1538630"/>
              <a:gd name="csX607" fmla="*/ 540651 w 1609516"/>
              <a:gd name="csY607" fmla="*/ 1298188 h 1538630"/>
              <a:gd name="csX608" fmla="*/ 529673 w 1609516"/>
              <a:gd name="csY608" fmla="*/ 1305565 h 1538630"/>
              <a:gd name="csX609" fmla="*/ 526549 w 1609516"/>
              <a:gd name="csY609" fmla="*/ 1311202 h 1538630"/>
              <a:gd name="csX610" fmla="*/ 523425 w 1609516"/>
              <a:gd name="csY610" fmla="*/ 1311202 h 1538630"/>
              <a:gd name="csX611" fmla="*/ 523230 w 1609516"/>
              <a:gd name="csY611" fmla="*/ 1313580 h 1538630"/>
              <a:gd name="csX612" fmla="*/ 517732 w 1609516"/>
              <a:gd name="csY612" fmla="*/ 1319739 h 1538630"/>
              <a:gd name="csX613" fmla="*/ 502239 w 1609516"/>
              <a:gd name="csY613" fmla="*/ 1337096 h 1538630"/>
              <a:gd name="csX614" fmla="*/ 497058 w 1609516"/>
              <a:gd name="csY614" fmla="*/ 1344087 h 1538630"/>
              <a:gd name="csX615" fmla="*/ 494572 w 1609516"/>
              <a:gd name="csY615" fmla="*/ 1347465 h 1538630"/>
              <a:gd name="csX616" fmla="*/ 487776 w 1609516"/>
              <a:gd name="csY616" fmla="*/ 1356181 h 1538630"/>
              <a:gd name="csX617" fmla="*/ 481248 w 1609516"/>
              <a:gd name="csY617" fmla="*/ 1367571 h 1538630"/>
              <a:gd name="csX618" fmla="*/ 478123 w 1609516"/>
              <a:gd name="csY618" fmla="*/ 1367571 h 1538630"/>
              <a:gd name="csX619" fmla="*/ 477635 w 1609516"/>
              <a:gd name="csY619" fmla="*/ 1370565 h 1538630"/>
              <a:gd name="csX620" fmla="*/ 465626 w 1609516"/>
              <a:gd name="csY620" fmla="*/ 1388709 h 1538630"/>
              <a:gd name="csX621" fmla="*/ 461233 w 1609516"/>
              <a:gd name="csY621" fmla="*/ 1397340 h 1538630"/>
              <a:gd name="csX622" fmla="*/ 455765 w 1609516"/>
              <a:gd name="csY622" fmla="*/ 1408086 h 1538630"/>
              <a:gd name="csX623" fmla="*/ 439070 w 1609516"/>
              <a:gd name="csY623" fmla="*/ 1477490 h 1538630"/>
              <a:gd name="csX624" fmla="*/ 434384 w 1609516"/>
              <a:gd name="csY624" fmla="*/ 1478899 h 1538630"/>
              <a:gd name="csX625" fmla="*/ 432431 w 1609516"/>
              <a:gd name="csY625" fmla="*/ 1481982 h 1538630"/>
              <a:gd name="csX626" fmla="*/ 418763 w 1609516"/>
              <a:gd name="csY626" fmla="*/ 1494401 h 1538630"/>
              <a:gd name="csX627" fmla="*/ 415639 w 1609516"/>
              <a:gd name="csY627" fmla="*/ 1494401 h 1538630"/>
              <a:gd name="csX628" fmla="*/ 415639 w 1609516"/>
              <a:gd name="csY628" fmla="*/ 1497219 h 1538630"/>
              <a:gd name="csX629" fmla="*/ 406265 w 1609516"/>
              <a:gd name="csY629" fmla="*/ 1498628 h 1538630"/>
              <a:gd name="csX630" fmla="*/ 406265 w 1609516"/>
              <a:gd name="csY630" fmla="*/ 1501447 h 1538630"/>
              <a:gd name="csX631" fmla="*/ 375023 w 1609516"/>
              <a:gd name="csY631" fmla="*/ 1501447 h 1538630"/>
              <a:gd name="csX632" fmla="*/ 375023 w 1609516"/>
              <a:gd name="csY632" fmla="*/ 1499438 h 1538630"/>
              <a:gd name="csX633" fmla="*/ 374964 w 1609516"/>
              <a:gd name="csY633" fmla="*/ 1499436 h 1538630"/>
              <a:gd name="csX634" fmla="*/ 373179 w 1609516"/>
              <a:gd name="csY634" fmla="*/ 1498628 h 1538630"/>
              <a:gd name="csX635" fmla="*/ 365650 w 1609516"/>
              <a:gd name="csY635" fmla="*/ 1498628 h 1538630"/>
              <a:gd name="csX636" fmla="*/ 363134 w 1609516"/>
              <a:gd name="csY636" fmla="*/ 1494087 h 1538630"/>
              <a:gd name="csX637" fmla="*/ 362171 w 1609516"/>
              <a:gd name="csY637" fmla="*/ 1493651 h 1538630"/>
              <a:gd name="csX638" fmla="*/ 360609 w 1609516"/>
              <a:gd name="csY638" fmla="*/ 1490833 h 1538630"/>
              <a:gd name="csX639" fmla="*/ 363733 w 1609516"/>
              <a:gd name="csY639" fmla="*/ 1490833 h 1538630"/>
              <a:gd name="csX640" fmla="*/ 363733 w 1609516"/>
              <a:gd name="csY640" fmla="*/ 1489980 h 1538630"/>
              <a:gd name="csX641" fmla="*/ 348467 w 1609516"/>
              <a:gd name="csY641" fmla="*/ 1481717 h 1538630"/>
              <a:gd name="csX642" fmla="*/ 343872 w 1609516"/>
              <a:gd name="csY642" fmla="*/ 1461078 h 1538630"/>
              <a:gd name="csX643" fmla="*/ 343656 w 1609516"/>
              <a:gd name="csY643" fmla="*/ 1463649 h 1538630"/>
              <a:gd name="csX644" fmla="*/ 343424 w 1609516"/>
              <a:gd name="csY644" fmla="*/ 1466842 h 1538630"/>
              <a:gd name="csX645" fmla="*/ 341861 w 1609516"/>
              <a:gd name="csY645" fmla="*/ 1466842 h 1538630"/>
              <a:gd name="csX646" fmla="*/ 354143 w 1609516"/>
              <a:gd name="csY646" fmla="*/ 1420549 h 1538630"/>
              <a:gd name="csX647" fmla="*/ 376229 w 1609516"/>
              <a:gd name="csY647" fmla="*/ 1403427 h 1538630"/>
              <a:gd name="csX648" fmla="*/ 379491 w 1609516"/>
              <a:gd name="csY648" fmla="*/ 1404408 h 1538630"/>
              <a:gd name="csX649" fmla="*/ 379710 w 1609516"/>
              <a:gd name="csY649" fmla="*/ 1404210 h 1538630"/>
              <a:gd name="csX650" fmla="*/ 380882 w 1609516"/>
              <a:gd name="csY650" fmla="*/ 1401568 h 1538630"/>
              <a:gd name="csX651" fmla="*/ 392207 w 1609516"/>
              <a:gd name="csY651" fmla="*/ 1392936 h 1538630"/>
              <a:gd name="csX652" fmla="*/ 399542 w 1609516"/>
              <a:gd name="csY652" fmla="*/ 1386774 h 1538630"/>
              <a:gd name="csX653" fmla="*/ 405485 w 1609516"/>
              <a:gd name="csY653" fmla="*/ 1378917 h 1538630"/>
              <a:gd name="csX654" fmla="*/ 412008 w 1609516"/>
              <a:gd name="csY654" fmla="*/ 1369481 h 1538630"/>
              <a:gd name="csX655" fmla="*/ 421130 w 1609516"/>
              <a:gd name="csY655" fmla="*/ 1357057 h 1538630"/>
              <a:gd name="csX656" fmla="*/ 424676 w 1609516"/>
              <a:gd name="csY656" fmla="*/ 1348443 h 1538630"/>
              <a:gd name="csX657" fmla="*/ 427275 w 1609516"/>
              <a:gd name="csY657" fmla="*/ 1348443 h 1538630"/>
              <a:gd name="csX658" fmla="*/ 428135 w 1609516"/>
              <a:gd name="csY658" fmla="*/ 1345727 h 1538630"/>
              <a:gd name="csX659" fmla="*/ 432822 w 1609516"/>
              <a:gd name="csY659" fmla="*/ 1335158 h 1538630"/>
              <a:gd name="csX660" fmla="*/ 435946 w 1609516"/>
              <a:gd name="csY660" fmla="*/ 1335158 h 1538630"/>
              <a:gd name="csX661" fmla="*/ 437704 w 1609516"/>
              <a:gd name="csY661" fmla="*/ 1329786 h 1538630"/>
              <a:gd name="csX662" fmla="*/ 447394 w 1609516"/>
              <a:gd name="csY662" fmla="*/ 1311196 h 1538630"/>
              <a:gd name="csX663" fmla="*/ 469287 w 1609516"/>
              <a:gd name="csY663" fmla="*/ 1265964 h 1538630"/>
              <a:gd name="csX664" fmla="*/ 478178 w 1609516"/>
              <a:gd name="csY664" fmla="*/ 1246787 h 1538630"/>
              <a:gd name="csX665" fmla="*/ 480179 w 1609516"/>
              <a:gd name="csY665" fmla="*/ 1225768 h 1538630"/>
              <a:gd name="csX666" fmla="*/ 480250 w 1609516"/>
              <a:gd name="csY666" fmla="*/ 1217149 h 1538630"/>
              <a:gd name="csX667" fmla="*/ 462972 w 1609516"/>
              <a:gd name="csY667" fmla="*/ 1174827 h 1538630"/>
              <a:gd name="csX668" fmla="*/ 457468 w 1609516"/>
              <a:gd name="csY668" fmla="*/ 1169949 h 1538630"/>
              <a:gd name="csX669" fmla="*/ 440657 w 1609516"/>
              <a:gd name="csY669" fmla="*/ 1152570 h 1538630"/>
              <a:gd name="csX670" fmla="*/ 403142 w 1609516"/>
              <a:gd name="csY670" fmla="*/ 1122366 h 1538630"/>
              <a:gd name="csX671" fmla="*/ 401579 w 1609516"/>
              <a:gd name="csY671" fmla="*/ 1119547 h 1538630"/>
              <a:gd name="csX672" fmla="*/ 364564 w 1609516"/>
              <a:gd name="csY672" fmla="*/ 1118209 h 1538630"/>
              <a:gd name="csX673" fmla="*/ 357822 w 1609516"/>
              <a:gd name="csY673" fmla="*/ 1122041 h 1538630"/>
              <a:gd name="csX674" fmla="*/ 348077 w 1609516"/>
              <a:gd name="csY674" fmla="*/ 1125273 h 1538630"/>
              <a:gd name="csX675" fmla="*/ 334408 w 1609516"/>
              <a:gd name="csY675" fmla="*/ 1132230 h 1538630"/>
              <a:gd name="csX676" fmla="*/ 327964 w 1609516"/>
              <a:gd name="csY676" fmla="*/ 1134080 h 1538630"/>
              <a:gd name="csX677" fmla="*/ 279734 w 1609516"/>
              <a:gd name="csY677" fmla="*/ 1166051 h 1538630"/>
              <a:gd name="csX678" fmla="*/ 276609 w 1609516"/>
              <a:gd name="csY678" fmla="*/ 1173098 h 1538630"/>
              <a:gd name="csX679" fmla="*/ 260988 w 1609516"/>
              <a:gd name="csY679" fmla="*/ 1188599 h 1538630"/>
              <a:gd name="csX680" fmla="*/ 257956 w 1609516"/>
              <a:gd name="csY680" fmla="*/ 1191132 h 1538630"/>
              <a:gd name="csX681" fmla="*/ 243805 w 1609516"/>
              <a:gd name="csY681" fmla="*/ 1196629 h 1538630"/>
              <a:gd name="csX682" fmla="*/ 243805 w 1609516"/>
              <a:gd name="csY682" fmla="*/ 1194236 h 1538630"/>
              <a:gd name="csX683" fmla="*/ 240288 w 1609516"/>
              <a:gd name="csY683" fmla="*/ 1194765 h 1538630"/>
              <a:gd name="csX684" fmla="*/ 243374 w 1609516"/>
              <a:gd name="csY684" fmla="*/ 1194765 h 1538630"/>
              <a:gd name="csX685" fmla="*/ 243374 w 1609516"/>
              <a:gd name="csY685" fmla="*/ 1196797 h 1538630"/>
              <a:gd name="csX686" fmla="*/ 243805 w 1609516"/>
              <a:gd name="csY686" fmla="*/ 1196629 h 1538630"/>
              <a:gd name="csX687" fmla="*/ 243805 w 1609516"/>
              <a:gd name="csY687" fmla="*/ 1197055 h 1538630"/>
              <a:gd name="csX688" fmla="*/ 243374 w 1609516"/>
              <a:gd name="csY688" fmla="*/ 1197055 h 1538630"/>
              <a:gd name="csX689" fmla="*/ 243374 w 1609516"/>
              <a:gd name="csY689" fmla="*/ 1197584 h 1538630"/>
              <a:gd name="csX690" fmla="*/ 241319 w 1609516"/>
              <a:gd name="csY690" fmla="*/ 1197595 h 1538630"/>
              <a:gd name="csX691" fmla="*/ 238009 w 1609516"/>
              <a:gd name="csY691" fmla="*/ 1198881 h 1538630"/>
              <a:gd name="csX692" fmla="*/ 215687 w 1609516"/>
              <a:gd name="csY692" fmla="*/ 1198464 h 1538630"/>
              <a:gd name="csX693" fmla="*/ 215687 w 1609516"/>
              <a:gd name="csY693" fmla="*/ 1197734 h 1538630"/>
              <a:gd name="csX694" fmla="*/ 213936 w 1609516"/>
              <a:gd name="csY694" fmla="*/ 1197744 h 1538630"/>
              <a:gd name="csX695" fmla="*/ 207446 w 1609516"/>
              <a:gd name="csY695" fmla="*/ 1196175 h 1538630"/>
              <a:gd name="csX696" fmla="*/ 207822 w 1609516"/>
              <a:gd name="csY696" fmla="*/ 1195610 h 1538630"/>
              <a:gd name="csX697" fmla="*/ 184737 w 1609516"/>
              <a:gd name="csY697" fmla="*/ 1180936 h 1538630"/>
              <a:gd name="csX698" fmla="*/ 179270 w 1609516"/>
              <a:gd name="csY698" fmla="*/ 1154866 h 1538630"/>
              <a:gd name="csX699" fmla="*/ 179194 w 1609516"/>
              <a:gd name="csY699" fmla="*/ 1151621 h 1538630"/>
              <a:gd name="csX700" fmla="*/ 193195 w 1609516"/>
              <a:gd name="csY700" fmla="*/ 1120065 h 1538630"/>
              <a:gd name="csX701" fmla="*/ 229551 w 1609516"/>
              <a:gd name="csY701" fmla="*/ 1110299 h 1538630"/>
              <a:gd name="csX702" fmla="*/ 260988 w 1609516"/>
              <a:gd name="csY702" fmla="*/ 1108274 h 1538630"/>
              <a:gd name="csX703" fmla="*/ 260988 w 1609516"/>
              <a:gd name="csY703" fmla="*/ 1105455 h 1538630"/>
              <a:gd name="csX704" fmla="*/ 263911 w 1609516"/>
              <a:gd name="csY704" fmla="*/ 1104310 h 1538630"/>
              <a:gd name="csX705" fmla="*/ 286995 w 1609516"/>
              <a:gd name="csY705" fmla="*/ 1090185 h 1538630"/>
              <a:gd name="csX706" fmla="*/ 299358 w 1609516"/>
              <a:gd name="csY706" fmla="*/ 1080970 h 1538630"/>
              <a:gd name="csX707" fmla="*/ 317762 w 1609516"/>
              <a:gd name="csY707" fmla="*/ 1063272 h 1538630"/>
              <a:gd name="csX708" fmla="*/ 325035 w 1609516"/>
              <a:gd name="csY708" fmla="*/ 1057542 h 1538630"/>
              <a:gd name="csX709" fmla="*/ 325328 w 1609516"/>
              <a:gd name="csY709" fmla="*/ 1023104 h 1538630"/>
              <a:gd name="csX710" fmla="*/ 324544 w 1609516"/>
              <a:gd name="csY710" fmla="*/ 1019247 h 1538630"/>
              <a:gd name="csX711" fmla="*/ 317225 w 1609516"/>
              <a:gd name="csY711" fmla="*/ 996945 h 1538630"/>
              <a:gd name="csX712" fmla="*/ 315388 w 1609516"/>
              <a:gd name="csY712" fmla="*/ 992690 h 1538630"/>
              <a:gd name="csX713" fmla="*/ 276232 w 1609516"/>
              <a:gd name="csY713" fmla="*/ 950666 h 1538630"/>
              <a:gd name="csX714" fmla="*/ 271923 w 1609516"/>
              <a:gd name="csY714" fmla="*/ 949031 h 1538630"/>
              <a:gd name="csX715" fmla="*/ 268299 w 1609516"/>
              <a:gd name="csY715" fmla="*/ 947441 h 1538630"/>
              <a:gd name="csX716" fmla="*/ 199187 w 1609516"/>
              <a:gd name="csY716" fmla="*/ 938991 h 1538630"/>
              <a:gd name="csX717" fmla="*/ 193719 w 1609516"/>
              <a:gd name="csY717" fmla="*/ 938971 h 1538630"/>
              <a:gd name="csX718" fmla="*/ 188539 w 1609516"/>
              <a:gd name="csY718" fmla="*/ 938980 h 1538630"/>
              <a:gd name="csX719" fmla="*/ 183874 w 1609516"/>
              <a:gd name="csY719" fmla="*/ 938985 h 1538630"/>
              <a:gd name="csX720" fmla="*/ 173509 w 1609516"/>
              <a:gd name="csY720" fmla="*/ 940576 h 1538630"/>
              <a:gd name="csX721" fmla="*/ 161403 w 1609516"/>
              <a:gd name="csY721" fmla="*/ 940664 h 1538630"/>
              <a:gd name="csX722" fmla="*/ 158102 w 1609516"/>
              <a:gd name="csY722" fmla="*/ 940645 h 1538630"/>
              <a:gd name="csX723" fmla="*/ 150875 w 1609516"/>
              <a:gd name="csY723" fmla="*/ 940583 h 1538630"/>
              <a:gd name="csX724" fmla="*/ 148425 w 1609516"/>
              <a:gd name="csY724" fmla="*/ 940717 h 1538630"/>
              <a:gd name="csX725" fmla="*/ 149617 w 1609516"/>
              <a:gd name="csY725" fmla="*/ 940995 h 1538630"/>
              <a:gd name="csX726" fmla="*/ 149617 w 1609516"/>
              <a:gd name="csY726" fmla="*/ 942404 h 1538630"/>
              <a:gd name="csX727" fmla="*/ 146627 w 1609516"/>
              <a:gd name="csY727" fmla="*/ 942871 h 1538630"/>
              <a:gd name="csX728" fmla="*/ 110564 w 1609516"/>
              <a:gd name="csY728" fmla="*/ 949449 h 1538630"/>
              <a:gd name="csX729" fmla="*/ 111283 w 1609516"/>
              <a:gd name="csY729" fmla="*/ 946205 h 1538630"/>
              <a:gd name="csX730" fmla="*/ 101652 w 1609516"/>
              <a:gd name="csY730" fmla="*/ 956078 h 1538630"/>
              <a:gd name="csX731" fmla="*/ 98052 w 1609516"/>
              <a:gd name="csY731" fmla="*/ 958467 h 1538630"/>
              <a:gd name="csX732" fmla="*/ 67286 w 1609516"/>
              <a:gd name="csY732" fmla="*/ 972989 h 1538630"/>
              <a:gd name="csX733" fmla="*/ 67286 w 1609516"/>
              <a:gd name="csY733" fmla="*/ 975807 h 1538630"/>
              <a:gd name="csX734" fmla="*/ 31942 w 1609516"/>
              <a:gd name="csY734" fmla="*/ 976423 h 1538630"/>
              <a:gd name="csX735" fmla="*/ 5673 w 1609516"/>
              <a:gd name="csY735" fmla="*/ 953419 h 1538630"/>
              <a:gd name="csX736" fmla="*/ 4801 w 1609516"/>
              <a:gd name="csY736" fmla="*/ 944804 h 1538630"/>
              <a:gd name="csX737" fmla="*/ 1676 w 1609516"/>
              <a:gd name="csY737" fmla="*/ 944804 h 1538630"/>
              <a:gd name="csX738" fmla="*/ 17 w 1609516"/>
              <a:gd name="csY738" fmla="*/ 931857 h 1538630"/>
              <a:gd name="csX739" fmla="*/ 59 w 1609516"/>
              <a:gd name="csY739" fmla="*/ 927216 h 1538630"/>
              <a:gd name="csX740" fmla="*/ 115 w 1609516"/>
              <a:gd name="csY740" fmla="*/ 923666 h 1538630"/>
              <a:gd name="csX741" fmla="*/ 3238 w 1609516"/>
              <a:gd name="csY741" fmla="*/ 923666 h 1538630"/>
              <a:gd name="csX742" fmla="*/ 3238 w 1609516"/>
              <a:gd name="csY742" fmla="*/ 918029 h 1538630"/>
              <a:gd name="csX743" fmla="*/ 6363 w 1609516"/>
              <a:gd name="csY743" fmla="*/ 918029 h 1538630"/>
              <a:gd name="csX744" fmla="*/ 6656 w 1609516"/>
              <a:gd name="csY744" fmla="*/ 912832 h 1538630"/>
              <a:gd name="csX745" fmla="*/ 15736 w 1609516"/>
              <a:gd name="csY745" fmla="*/ 899709 h 1538630"/>
              <a:gd name="csX746" fmla="*/ 17243 w 1609516"/>
              <a:gd name="csY746" fmla="*/ 898894 h 1538630"/>
              <a:gd name="csX747" fmla="*/ 16800 w 1609516"/>
              <a:gd name="csY747" fmla="*/ 898694 h 1538630"/>
              <a:gd name="csX748" fmla="*/ 24988 w 1609516"/>
              <a:gd name="csY748" fmla="*/ 894101 h 1538630"/>
              <a:gd name="csX749" fmla="*/ 26768 w 1609516"/>
              <a:gd name="csY749" fmla="*/ 892399 h 1538630"/>
              <a:gd name="csX750" fmla="*/ 30198 w 1609516"/>
              <a:gd name="csY750" fmla="*/ 890164 h 1538630"/>
              <a:gd name="csX751" fmla="*/ 32204 w 1609516"/>
              <a:gd name="csY751" fmla="*/ 890054 h 1538630"/>
              <a:gd name="csX752" fmla="*/ 38914 w 1609516"/>
              <a:gd name="csY752" fmla="*/ 886291 h 1538630"/>
              <a:gd name="csX753" fmla="*/ 63664 w 1609516"/>
              <a:gd name="csY753" fmla="*/ 886011 h 1538630"/>
              <a:gd name="csX754" fmla="*/ 63664 w 1609516"/>
              <a:gd name="csY754" fmla="*/ 886531 h 1538630"/>
              <a:gd name="csX755" fmla="*/ 70784 w 1609516"/>
              <a:gd name="csY755" fmla="*/ 886647 h 1538630"/>
              <a:gd name="csX756" fmla="*/ 82126 w 1609516"/>
              <a:gd name="csY756" fmla="*/ 889845 h 1538630"/>
              <a:gd name="csX757" fmla="*/ 114149 w 1609516"/>
              <a:gd name="csY757" fmla="*/ 892663 h 1538630"/>
              <a:gd name="csX758" fmla="*/ 118836 w 1609516"/>
              <a:gd name="csY758" fmla="*/ 889845 h 1538630"/>
              <a:gd name="csX759" fmla="*/ 131626 w 1609516"/>
              <a:gd name="csY759" fmla="*/ 887114 h 1538630"/>
              <a:gd name="csX760" fmla="*/ 155116 w 1609516"/>
              <a:gd name="csY760" fmla="*/ 880913 h 1538630"/>
              <a:gd name="csX761" fmla="*/ 165406 w 1609516"/>
              <a:gd name="csY761" fmla="*/ 878483 h 1538630"/>
              <a:gd name="csX762" fmla="*/ 176634 w 1609516"/>
              <a:gd name="csY762" fmla="*/ 874343 h 1538630"/>
              <a:gd name="csX763" fmla="*/ 186397 w 1609516"/>
              <a:gd name="csY763" fmla="*/ 871524 h 1538630"/>
              <a:gd name="csX764" fmla="*/ 191871 w 1609516"/>
              <a:gd name="csY764" fmla="*/ 870033 h 1538630"/>
              <a:gd name="csX765" fmla="*/ 203483 w 1609516"/>
              <a:gd name="csY765" fmla="*/ 867208 h 1538630"/>
              <a:gd name="csX766" fmla="*/ 211001 w 1609516"/>
              <a:gd name="csY766" fmla="*/ 861660 h 1538630"/>
              <a:gd name="csX767" fmla="*/ 218031 w 1609516"/>
              <a:gd name="csY767" fmla="*/ 858577 h 1538630"/>
              <a:gd name="csX768" fmla="*/ 254740 w 1609516"/>
              <a:gd name="csY768" fmla="*/ 825020 h 1538630"/>
              <a:gd name="csX769" fmla="*/ 257864 w 1609516"/>
              <a:gd name="csY769" fmla="*/ 820792 h 1538630"/>
              <a:gd name="csX770" fmla="*/ 258318 w 1609516"/>
              <a:gd name="csY770" fmla="*/ 813810 h 1538630"/>
              <a:gd name="csX771" fmla="*/ 258378 w 1609516"/>
              <a:gd name="csY771" fmla="*/ 809502 h 1538630"/>
              <a:gd name="csX772" fmla="*/ 258389 w 1609516"/>
              <a:gd name="csY772" fmla="*/ 804845 h 1538630"/>
              <a:gd name="csX773" fmla="*/ 258420 w 1609516"/>
              <a:gd name="csY773" fmla="*/ 800036 h 1538630"/>
              <a:gd name="csX774" fmla="*/ 258443 w 1609516"/>
              <a:gd name="csY774" fmla="*/ 789939 h 1538630"/>
              <a:gd name="csX775" fmla="*/ 258566 w 1609516"/>
              <a:gd name="csY775" fmla="*/ 774594 h 1538630"/>
              <a:gd name="csX776" fmla="*/ 258584 w 1609516"/>
              <a:gd name="csY776" fmla="*/ 764771 h 1538630"/>
              <a:gd name="csX777" fmla="*/ 258652 w 1609516"/>
              <a:gd name="csY777" fmla="*/ 760174 h 1538630"/>
              <a:gd name="csX778" fmla="*/ 251616 w 1609516"/>
              <a:gd name="csY778" fmla="*/ 733421 h 1538630"/>
              <a:gd name="csX779" fmla="*/ 247613 w 1609516"/>
              <a:gd name="csY779" fmla="*/ 721883 h 1538630"/>
              <a:gd name="csX780" fmla="*/ 241291 w 1609516"/>
              <a:gd name="csY780" fmla="*/ 705644 h 1538630"/>
              <a:gd name="csX781" fmla="*/ 237557 w 1609516"/>
              <a:gd name="csY781" fmla="*/ 689735 h 1538630"/>
              <a:gd name="csX782" fmla="*/ 248492 w 1609516"/>
              <a:gd name="csY782" fmla="*/ 685507 h 1538630"/>
              <a:gd name="csX783" fmla="*/ 248492 w 1609516"/>
              <a:gd name="csY783" fmla="*/ 681279 h 1538630"/>
              <a:gd name="csX784" fmla="*/ 240681 w 1609516"/>
              <a:gd name="csY784" fmla="*/ 679870 h 1538630"/>
              <a:gd name="csX785" fmla="*/ 240681 w 1609516"/>
              <a:gd name="csY785" fmla="*/ 677052 h 1538630"/>
              <a:gd name="csX786" fmla="*/ 238094 w 1609516"/>
              <a:gd name="csY786" fmla="*/ 676645 h 1538630"/>
              <a:gd name="csX787" fmla="*/ 225841 w 1609516"/>
              <a:gd name="csY787" fmla="*/ 670886 h 1538630"/>
              <a:gd name="csX788" fmla="*/ 201531 w 1609516"/>
              <a:gd name="csY788" fmla="*/ 662508 h 1538630"/>
              <a:gd name="csX789" fmla="*/ 188252 w 1609516"/>
              <a:gd name="csY789" fmla="*/ 658644 h 1538630"/>
              <a:gd name="csX790" fmla="*/ 182431 w 1609516"/>
              <a:gd name="csY790" fmla="*/ 657327 h 1538630"/>
              <a:gd name="csX791" fmla="*/ 182431 w 1609516"/>
              <a:gd name="csY791" fmla="*/ 657613 h 1538630"/>
              <a:gd name="csX792" fmla="*/ 146503 w 1609516"/>
              <a:gd name="csY792" fmla="*/ 656204 h 1538630"/>
              <a:gd name="csX793" fmla="*/ 146503 w 1609516"/>
              <a:gd name="csY793" fmla="*/ 659022 h 1538630"/>
              <a:gd name="csX794" fmla="*/ 110378 w 1609516"/>
              <a:gd name="csY794" fmla="*/ 663778 h 1538630"/>
              <a:gd name="csX795" fmla="*/ 106453 w 1609516"/>
              <a:gd name="csY795" fmla="*/ 663836 h 1538630"/>
              <a:gd name="csX796" fmla="*/ 102751 w 1609516"/>
              <a:gd name="csY796" fmla="*/ 663811 h 1538630"/>
              <a:gd name="csX797" fmla="*/ 99449 w 1609516"/>
              <a:gd name="csY797" fmla="*/ 663797 h 1538630"/>
              <a:gd name="csX798" fmla="*/ 91828 w 1609516"/>
              <a:gd name="csY798" fmla="*/ 659022 h 1538630"/>
              <a:gd name="csX799" fmla="*/ 98077 w 1609516"/>
              <a:gd name="csY799" fmla="*/ 659022 h 1538630"/>
              <a:gd name="csX800" fmla="*/ 98077 w 1609516"/>
              <a:gd name="csY800" fmla="*/ 661841 h 1538630"/>
              <a:gd name="csX801" fmla="*/ 119023 w 1609516"/>
              <a:gd name="csY801" fmla="*/ 661357 h 1538630"/>
              <a:gd name="csX802" fmla="*/ 119536 w 1609516"/>
              <a:gd name="csY802" fmla="*/ 661197 h 1538630"/>
              <a:gd name="csX803" fmla="*/ 109853 w 1609516"/>
              <a:gd name="csY803" fmla="*/ 661639 h 1538630"/>
              <a:gd name="csX804" fmla="*/ 106552 w 1609516"/>
              <a:gd name="csY804" fmla="*/ 661619 h 1538630"/>
              <a:gd name="csX805" fmla="*/ 98528 w 1609516"/>
              <a:gd name="csY805" fmla="*/ 661550 h 1538630"/>
              <a:gd name="csX806" fmla="*/ 98528 w 1609516"/>
              <a:gd name="csY806" fmla="*/ 658732 h 1538630"/>
              <a:gd name="csX807" fmla="*/ 89155 w 1609516"/>
              <a:gd name="csY807" fmla="*/ 657323 h 1538630"/>
              <a:gd name="csX808" fmla="*/ 89155 w 1609516"/>
              <a:gd name="csY808" fmla="*/ 654504 h 1538630"/>
              <a:gd name="csX809" fmla="*/ 86397 w 1609516"/>
              <a:gd name="csY809" fmla="*/ 653442 h 1538630"/>
              <a:gd name="csX810" fmla="*/ 77049 w 1609516"/>
              <a:gd name="csY810" fmla="*/ 646137 h 1538630"/>
              <a:gd name="csX811" fmla="*/ 74145 w 1609516"/>
              <a:gd name="csY811" fmla="*/ 643192 h 1538630"/>
              <a:gd name="csX812" fmla="*/ 71972 w 1609516"/>
              <a:gd name="csY812" fmla="*/ 636185 h 1538630"/>
              <a:gd name="csX813" fmla="*/ 68848 w 1609516"/>
              <a:gd name="csY813" fmla="*/ 636185 h 1538630"/>
              <a:gd name="csX814" fmla="*/ 70410 w 1609516"/>
              <a:gd name="csY814" fmla="*/ 595317 h 1538630"/>
              <a:gd name="csX815" fmla="*/ 79782 w 1609516"/>
              <a:gd name="csY815" fmla="*/ 584043 h 1538630"/>
              <a:gd name="csX816" fmla="*/ 82656 w 1609516"/>
              <a:gd name="csY816" fmla="*/ 581115 h 1538630"/>
              <a:gd name="csX817" fmla="*/ 116694 w 1609516"/>
              <a:gd name="csY817" fmla="*/ 572323 h 1538630"/>
              <a:gd name="csX818" fmla="*/ 152031 w 1609516"/>
              <a:gd name="csY818" fmla="*/ 590385 h 1538630"/>
              <a:gd name="csX819" fmla="*/ 191474 w 1609516"/>
              <a:gd name="csY819" fmla="*/ 605886 h 1538630"/>
              <a:gd name="csX820" fmla="*/ 206314 w 1609516"/>
              <a:gd name="csY820" fmla="*/ 608000 h 1538630"/>
              <a:gd name="csX821" fmla="*/ 206314 w 1609516"/>
              <a:gd name="csY821" fmla="*/ 610818 h 1538630"/>
              <a:gd name="csX822" fmla="*/ 234433 w 1609516"/>
              <a:gd name="csY822" fmla="*/ 610818 h 1538630"/>
              <a:gd name="csX823" fmla="*/ 239522 w 1609516"/>
              <a:gd name="csY823" fmla="*/ 610802 h 1538630"/>
              <a:gd name="csX824" fmla="*/ 268799 w 1609516"/>
              <a:gd name="csY824" fmla="*/ 600954 h 1538630"/>
              <a:gd name="csX825" fmla="*/ 271740 w 1609516"/>
              <a:gd name="csY825" fmla="*/ 599325 h 1538630"/>
              <a:gd name="csX826" fmla="*/ 284420 w 1609516"/>
              <a:gd name="csY826" fmla="*/ 579816 h 1538630"/>
              <a:gd name="csX827" fmla="*/ 289399 w 1609516"/>
              <a:gd name="csY827" fmla="*/ 568630 h 1538630"/>
              <a:gd name="csX828" fmla="*/ 293958 w 1609516"/>
              <a:gd name="csY828" fmla="*/ 535838 h 1538630"/>
              <a:gd name="csX829" fmla="*/ 289107 w 1609516"/>
              <a:gd name="csY829" fmla="*/ 529084 h 1538630"/>
              <a:gd name="csX830" fmla="*/ 289107 w 1609516"/>
              <a:gd name="csY830" fmla="*/ 526265 h 1538630"/>
              <a:gd name="csX831" fmla="*/ 284420 w 1609516"/>
              <a:gd name="csY831" fmla="*/ 524856 h 1538630"/>
              <a:gd name="csX832" fmla="*/ 282858 w 1609516"/>
              <a:gd name="csY832" fmla="*/ 520628 h 1538630"/>
              <a:gd name="csX833" fmla="*/ 277977 w 1609516"/>
              <a:gd name="csY833" fmla="*/ 516577 h 1538630"/>
              <a:gd name="csX834" fmla="*/ 264925 w 1609516"/>
              <a:gd name="csY834" fmla="*/ 506443 h 1538630"/>
              <a:gd name="csX835" fmla="*/ 229746 w 1609516"/>
              <a:gd name="csY835" fmla="*/ 481170 h 1538630"/>
              <a:gd name="csX836" fmla="*/ 221057 w 1609516"/>
              <a:gd name="csY836" fmla="*/ 475445 h 1538630"/>
              <a:gd name="csX837" fmla="*/ 212563 w 1609516"/>
              <a:gd name="csY837" fmla="*/ 469896 h 1538630"/>
              <a:gd name="csX838" fmla="*/ 208889 w 1609516"/>
              <a:gd name="csY838" fmla="*/ 467491 h 1538630"/>
              <a:gd name="csX839" fmla="*/ 190406 w 1609516"/>
              <a:gd name="csY839" fmla="*/ 456382 h 1538630"/>
              <a:gd name="csX840" fmla="*/ 186942 w 1609516"/>
              <a:gd name="csY840" fmla="*/ 454460 h 1538630"/>
              <a:gd name="csX841" fmla="*/ 180041 w 1609516"/>
              <a:gd name="csY841" fmla="*/ 450696 h 1538630"/>
              <a:gd name="csX842" fmla="*/ 171948 w 1609516"/>
              <a:gd name="csY842" fmla="*/ 445940 h 1538630"/>
              <a:gd name="csX843" fmla="*/ 171948 w 1609516"/>
              <a:gd name="csY843" fmla="*/ 443121 h 1538630"/>
              <a:gd name="csX844" fmla="*/ 168482 w 1609516"/>
              <a:gd name="csY844" fmla="*/ 442708 h 1538630"/>
              <a:gd name="csX845" fmla="*/ 157107 w 1609516"/>
              <a:gd name="csY845" fmla="*/ 437044 h 1538630"/>
              <a:gd name="csX846" fmla="*/ 132559 w 1609516"/>
              <a:gd name="csY846" fmla="*/ 427510 h 1538630"/>
              <a:gd name="csX847" fmla="*/ 123522 w 1609516"/>
              <a:gd name="csY847" fmla="*/ 421983 h 1538630"/>
              <a:gd name="csX848" fmla="*/ 107986 w 1609516"/>
              <a:gd name="csY848" fmla="*/ 418730 h 1538630"/>
              <a:gd name="csX849" fmla="*/ 102494 w 1609516"/>
              <a:gd name="csY849" fmla="*/ 418622 h 1538630"/>
              <a:gd name="csX850" fmla="*/ 91157 w 1609516"/>
              <a:gd name="csY850" fmla="*/ 418490 h 1538630"/>
              <a:gd name="csX851" fmla="*/ 55277 w 1609516"/>
              <a:gd name="csY851" fmla="*/ 410445 h 1538630"/>
              <a:gd name="csX852" fmla="*/ 51665 w 1609516"/>
              <a:gd name="csY852" fmla="*/ 406481 h 1538630"/>
              <a:gd name="csX853" fmla="*/ 45904 w 1609516"/>
              <a:gd name="csY853" fmla="*/ 400492 h 1538630"/>
              <a:gd name="csX854" fmla="*/ 43152 w 1609516"/>
              <a:gd name="csY854" fmla="*/ 397564 h 1538630"/>
              <a:gd name="csX855" fmla="*/ 37605 w 1609516"/>
              <a:gd name="csY855" fmla="*/ 393798 h 1538630"/>
              <a:gd name="csX856" fmla="*/ 38995 w 1609516"/>
              <a:gd name="csY856" fmla="*/ 368712 h 1538630"/>
              <a:gd name="csX857" fmla="*/ 38666 w 1609516"/>
              <a:gd name="csY857" fmla="*/ 369724 h 1538630"/>
              <a:gd name="csX858" fmla="*/ 35542 w 1609516"/>
              <a:gd name="csY858" fmla="*/ 384081 h 1538630"/>
              <a:gd name="csX859" fmla="*/ 33326 w 1609516"/>
              <a:gd name="csY859" fmla="*/ 357791 h 1538630"/>
              <a:gd name="csX860" fmla="*/ 52725 w 1609516"/>
              <a:gd name="csY860" fmla="*/ 333349 h 1538630"/>
              <a:gd name="csX861" fmla="*/ 55222 w 1609516"/>
              <a:gd name="csY861" fmla="*/ 334475 h 1538630"/>
              <a:gd name="csX862" fmla="*/ 56222 w 1609516"/>
              <a:gd name="csY862" fmla="*/ 333347 h 1538630"/>
              <a:gd name="csX863" fmla="*/ 55871 w 1609516"/>
              <a:gd name="csY863" fmla="*/ 333347 h 1538630"/>
              <a:gd name="csX864" fmla="*/ 56346 w 1609516"/>
              <a:gd name="csY864" fmla="*/ 333207 h 1538630"/>
              <a:gd name="csX865" fmla="*/ 56351 w 1609516"/>
              <a:gd name="csY865" fmla="*/ 333202 h 1538630"/>
              <a:gd name="csX866" fmla="*/ 56365 w 1609516"/>
              <a:gd name="csY866" fmla="*/ 333202 h 1538630"/>
              <a:gd name="csX867" fmla="*/ 79571 w 1609516"/>
              <a:gd name="csY867" fmla="*/ 326360 h 1538630"/>
              <a:gd name="csX868" fmla="*/ 104297 w 1609516"/>
              <a:gd name="csY868" fmla="*/ 330529 h 1538630"/>
              <a:gd name="csX869" fmla="*/ 107170 w 1609516"/>
              <a:gd name="csY869" fmla="*/ 334417 h 1538630"/>
              <a:gd name="csX870" fmla="*/ 109366 w 1609516"/>
              <a:gd name="csY870" fmla="*/ 336046 h 1538630"/>
              <a:gd name="csX871" fmla="*/ 109463 w 1609516"/>
              <a:gd name="csY871" fmla="*/ 336020 h 1538630"/>
              <a:gd name="csX872" fmla="*/ 109463 w 1609516"/>
              <a:gd name="csY872" fmla="*/ 336118 h 1538630"/>
              <a:gd name="csX873" fmla="*/ 115226 w 1609516"/>
              <a:gd name="csY873" fmla="*/ 340394 h 1538630"/>
              <a:gd name="csX874" fmla="*/ 114010 w 1609516"/>
              <a:gd name="csY874" fmla="*/ 340120 h 1538630"/>
              <a:gd name="csX875" fmla="*/ 133285 w 1609516"/>
              <a:gd name="csY875" fmla="*/ 357423 h 1538630"/>
              <a:gd name="csX876" fmla="*/ 173509 w 1609516"/>
              <a:gd name="csY876" fmla="*/ 389571 h 1538630"/>
              <a:gd name="csX877" fmla="*/ 181711 w 1609516"/>
              <a:gd name="csY877" fmla="*/ 393270 h 1538630"/>
              <a:gd name="csX878" fmla="*/ 185507 w 1609516"/>
              <a:gd name="csY878" fmla="*/ 394976 h 1538630"/>
              <a:gd name="csX879" fmla="*/ 192658 w 1609516"/>
              <a:gd name="csY879" fmla="*/ 398257 h 1538630"/>
              <a:gd name="csX880" fmla="*/ 195966 w 1609516"/>
              <a:gd name="csY880" fmla="*/ 399788 h 1538630"/>
              <a:gd name="csX881" fmla="*/ 198833 w 1609516"/>
              <a:gd name="csY881" fmla="*/ 401131 h 1538630"/>
              <a:gd name="csX882" fmla="*/ 207877 w 1609516"/>
              <a:gd name="csY882" fmla="*/ 403663 h 1538630"/>
              <a:gd name="csX883" fmla="*/ 207877 w 1609516"/>
              <a:gd name="csY883" fmla="*/ 406481 h 1538630"/>
              <a:gd name="csX884" fmla="*/ 248492 w 1609516"/>
              <a:gd name="csY884" fmla="*/ 419428 h 1538630"/>
              <a:gd name="csX885" fmla="*/ 253965 w 1609516"/>
              <a:gd name="csY885" fmla="*/ 421000 h 1538630"/>
              <a:gd name="csX886" fmla="*/ 267237 w 1609516"/>
              <a:gd name="csY886" fmla="*/ 424801 h 1538630"/>
              <a:gd name="csX887" fmla="*/ 267237 w 1609516"/>
              <a:gd name="csY887" fmla="*/ 426451 h 1538630"/>
              <a:gd name="csX888" fmla="*/ 288701 w 1609516"/>
              <a:gd name="csY888" fmla="*/ 429217 h 1538630"/>
              <a:gd name="csX889" fmla="*/ 288701 w 1609516"/>
              <a:gd name="csY889" fmla="*/ 432036 h 1538630"/>
              <a:gd name="csX890" fmla="*/ 327010 w 1609516"/>
              <a:gd name="csY890" fmla="*/ 433628 h 1538630"/>
              <a:gd name="csX891" fmla="*/ 337486 w 1609516"/>
              <a:gd name="csY891" fmla="*/ 433637 h 1538630"/>
              <a:gd name="csX892" fmla="*/ 344229 w 1609516"/>
              <a:gd name="csY892" fmla="*/ 433632 h 1538630"/>
              <a:gd name="csX893" fmla="*/ 350323 w 1609516"/>
              <a:gd name="csY893" fmla="*/ 433627 h 1538630"/>
              <a:gd name="csX894" fmla="*/ 365245 w 1609516"/>
              <a:gd name="csY894" fmla="*/ 432036 h 1538630"/>
              <a:gd name="csX895" fmla="*/ 360797 w 1609516"/>
              <a:gd name="csY895" fmla="*/ 433759 h 1538630"/>
              <a:gd name="csX896" fmla="*/ 365650 w 1609516"/>
              <a:gd name="csY896" fmla="*/ 433257 h 1538630"/>
              <a:gd name="csX897" fmla="*/ 367213 w 1609516"/>
              <a:gd name="csY897" fmla="*/ 429029 h 1538630"/>
              <a:gd name="csX898" fmla="*/ 375188 w 1609516"/>
              <a:gd name="csY898" fmla="*/ 424906 h 1538630"/>
              <a:gd name="csX899" fmla="*/ 404704 w 1609516"/>
              <a:gd name="csY899" fmla="*/ 389571 h 1538630"/>
              <a:gd name="csX900" fmla="*/ 406265 w 1609516"/>
              <a:gd name="csY900" fmla="*/ 388161 h 1538630"/>
              <a:gd name="csX901" fmla="*/ 406559 w 1609516"/>
              <a:gd name="csY901" fmla="*/ 370106 h 1538630"/>
              <a:gd name="csX902" fmla="*/ 406617 w 1609516"/>
              <a:gd name="csY902" fmla="*/ 364973 h 1538630"/>
              <a:gd name="csX903" fmla="*/ 406626 w 1609516"/>
              <a:gd name="csY903" fmla="*/ 360038 h 1538630"/>
              <a:gd name="csX904" fmla="*/ 406645 w 1609516"/>
              <a:gd name="csY904" fmla="*/ 355503 h 1538630"/>
              <a:gd name="csX905" fmla="*/ 403142 w 1609516"/>
              <a:gd name="csY905" fmla="*/ 345885 h 1538630"/>
              <a:gd name="csX906" fmla="*/ 401579 w 1609516"/>
              <a:gd name="csY906" fmla="*/ 338663 h 1538630"/>
              <a:gd name="csX907" fmla="*/ 390938 w 1609516"/>
              <a:gd name="csY907" fmla="*/ 315939 h 1538630"/>
              <a:gd name="csX908" fmla="*/ 388976 w 1609516"/>
              <a:gd name="csY908" fmla="*/ 312762 h 1538630"/>
              <a:gd name="csX909" fmla="*/ 377934 w 1609516"/>
              <a:gd name="csY909" fmla="*/ 297817 h 1538630"/>
              <a:gd name="csX910" fmla="*/ 368775 w 1609516"/>
              <a:gd name="csY910" fmla="*/ 282470 h 1538630"/>
              <a:gd name="csX911" fmla="*/ 359890 w 1609516"/>
              <a:gd name="csY911" fmla="*/ 271284 h 1538630"/>
              <a:gd name="csX912" fmla="*/ 357374 w 1609516"/>
              <a:gd name="csY912" fmla="*/ 268288 h 1538630"/>
              <a:gd name="csX913" fmla="*/ 337533 w 1609516"/>
              <a:gd name="csY913" fmla="*/ 248649 h 1538630"/>
              <a:gd name="csX914" fmla="*/ 335214 w 1609516"/>
              <a:gd name="csY914" fmla="*/ 246369 h 1538630"/>
              <a:gd name="csX915" fmla="*/ 327085 w 1609516"/>
              <a:gd name="csY915" fmla="*/ 242571 h 1538630"/>
              <a:gd name="csX916" fmla="*/ 288785 w 1609516"/>
              <a:gd name="csY916" fmla="*/ 207968 h 1538630"/>
              <a:gd name="csX917" fmla="*/ 286373 w 1609516"/>
              <a:gd name="csY917" fmla="*/ 192544 h 1538630"/>
              <a:gd name="csX918" fmla="*/ 286385 w 1609516"/>
              <a:gd name="csY918" fmla="*/ 189190 h 1538630"/>
              <a:gd name="csX919" fmla="*/ 300042 w 1609516"/>
              <a:gd name="csY919" fmla="*/ 164095 h 1538630"/>
              <a:gd name="csX920" fmla="*/ 302757 w 1609516"/>
              <a:gd name="csY920" fmla="*/ 161381 h 1538630"/>
              <a:gd name="csX921" fmla="*/ 338411 w 1609516"/>
              <a:gd name="csY921" fmla="*/ 152293 h 1538630"/>
              <a:gd name="csX922" fmla="*/ 368482 w 1609516"/>
              <a:gd name="csY922" fmla="*/ 161893 h 1538630"/>
              <a:gd name="csX923" fmla="*/ 371899 w 1609516"/>
              <a:gd name="csY923" fmla="*/ 165505 h 1538630"/>
              <a:gd name="csX924" fmla="*/ 375121 w 1609516"/>
              <a:gd name="csY924" fmla="*/ 168587 h 1538630"/>
              <a:gd name="csX925" fmla="*/ 384982 w 1609516"/>
              <a:gd name="csY925" fmla="*/ 193777 h 1538630"/>
              <a:gd name="csX926" fmla="*/ 390352 w 1609516"/>
              <a:gd name="csY926" fmla="*/ 214563 h 1538630"/>
              <a:gd name="csX927" fmla="*/ 391529 w 1609516"/>
              <a:gd name="csY927" fmla="*/ 217626 h 1538630"/>
              <a:gd name="csX928" fmla="*/ 401579 w 1609516"/>
              <a:gd name="csY928" fmla="*/ 234556 h 1538630"/>
              <a:gd name="csX929" fmla="*/ 401579 w 1609516"/>
              <a:gd name="csY929" fmla="*/ 238784 h 1538630"/>
              <a:gd name="csX930" fmla="*/ 404215 w 1609516"/>
              <a:gd name="csY930" fmla="*/ 239753 h 1538630"/>
              <a:gd name="csX931" fmla="*/ 417811 w 1609516"/>
              <a:gd name="csY931" fmla="*/ 251996 h 1538630"/>
              <a:gd name="csX932" fmla="*/ 426866 w 1609516"/>
              <a:gd name="csY932" fmla="*/ 262300 h 1538630"/>
              <a:gd name="csX933" fmla="*/ 450097 w 1609516"/>
              <a:gd name="csY933" fmla="*/ 287628 h 1538630"/>
              <a:gd name="csX934" fmla="*/ 457425 w 1609516"/>
              <a:gd name="csY934" fmla="*/ 293920 h 1538630"/>
              <a:gd name="csX935" fmla="*/ 460940 w 1609516"/>
              <a:gd name="csY935" fmla="*/ 296562 h 1538630"/>
              <a:gd name="csX936" fmla="*/ 460940 w 1609516"/>
              <a:gd name="csY936" fmla="*/ 300790 h 1538630"/>
              <a:gd name="csX937" fmla="*/ 473437 w 1609516"/>
              <a:gd name="csY937" fmla="*/ 305018 h 1538630"/>
              <a:gd name="csX938" fmla="*/ 473437 w 1609516"/>
              <a:gd name="csY938" fmla="*/ 307836 h 1538630"/>
              <a:gd name="csX939" fmla="*/ 479881 w 1609516"/>
              <a:gd name="csY939" fmla="*/ 309862 h 1538630"/>
              <a:gd name="csX940" fmla="*/ 483505 w 1609516"/>
              <a:gd name="csY940" fmla="*/ 311001 h 1538630"/>
              <a:gd name="csX941" fmla="*/ 548419 w 1609516"/>
              <a:gd name="csY941" fmla="*/ 306427 h 1538630"/>
              <a:gd name="csX942" fmla="*/ 551842 w 1609516"/>
              <a:gd name="csY942" fmla="*/ 305127 h 1538630"/>
              <a:gd name="csX943" fmla="*/ 560232 w 1609516"/>
              <a:gd name="csY943" fmla="*/ 298148 h 1538630"/>
              <a:gd name="csX944" fmla="*/ 562972 w 1609516"/>
              <a:gd name="csY944" fmla="*/ 295252 h 1538630"/>
              <a:gd name="csX945" fmla="*/ 568086 w 1609516"/>
              <a:gd name="csY945" fmla="*/ 289152 h 1538630"/>
              <a:gd name="csX946" fmla="*/ 570289 w 1609516"/>
              <a:gd name="csY946" fmla="*/ 286697 h 1538630"/>
              <a:gd name="csX947" fmla="*/ 573413 w 1609516"/>
              <a:gd name="csY947" fmla="*/ 286697 h 1538630"/>
              <a:gd name="csX948" fmla="*/ 577220 w 1609516"/>
              <a:gd name="csY948" fmla="*/ 257016 h 1538630"/>
              <a:gd name="csX949" fmla="*/ 577235 w 1609516"/>
              <a:gd name="csY949" fmla="*/ 254206 h 1538630"/>
              <a:gd name="csX950" fmla="*/ 569443 w 1609516"/>
              <a:gd name="csY950" fmla="*/ 206049 h 1538630"/>
              <a:gd name="csX951" fmla="*/ 568726 w 1609516"/>
              <a:gd name="csY951" fmla="*/ 200735 h 1538630"/>
              <a:gd name="csX952" fmla="*/ 565602 w 1609516"/>
              <a:gd name="csY952" fmla="*/ 200735 h 1538630"/>
              <a:gd name="csX953" fmla="*/ 559549 w 1609516"/>
              <a:gd name="csY953" fmla="*/ 184441 h 1538630"/>
              <a:gd name="csX954" fmla="*/ 537484 w 1609516"/>
              <a:gd name="csY954" fmla="*/ 159867 h 1538630"/>
              <a:gd name="csX955" fmla="*/ 531235 w 1609516"/>
              <a:gd name="csY955" fmla="*/ 154230 h 1538630"/>
              <a:gd name="csX956" fmla="*/ 531235 w 1609516"/>
              <a:gd name="csY956" fmla="*/ 151412 h 1538630"/>
              <a:gd name="csX957" fmla="*/ 526549 w 1609516"/>
              <a:gd name="csY957" fmla="*/ 150003 h 1538630"/>
              <a:gd name="csX958" fmla="*/ 524304 w 1609516"/>
              <a:gd name="csY958" fmla="*/ 107198 h 1538630"/>
              <a:gd name="csX959" fmla="*/ 547052 w 1609516"/>
              <a:gd name="csY959" fmla="*/ 85972 h 1538630"/>
              <a:gd name="csX960" fmla="*/ 588460 w 1609516"/>
              <a:gd name="csY960" fmla="*/ 83538 h 1538630"/>
              <a:gd name="csX961" fmla="*/ 617152 w 1609516"/>
              <a:gd name="csY961" fmla="*/ 111954 h 1538630"/>
              <a:gd name="csX962" fmla="*/ 617884 w 1609516"/>
              <a:gd name="csY962" fmla="*/ 124175 h 1538630"/>
              <a:gd name="csX963" fmla="*/ 617917 w 1609516"/>
              <a:gd name="csY963" fmla="*/ 127607 h 1538630"/>
              <a:gd name="csX964" fmla="*/ 617919 w 1609516"/>
              <a:gd name="csY964" fmla="*/ 141969 h 1538630"/>
              <a:gd name="csX965" fmla="*/ 630625 w 1609516"/>
              <a:gd name="csY965" fmla="*/ 191311 h 1538630"/>
              <a:gd name="csX966" fmla="*/ 637850 w 1609516"/>
              <a:gd name="csY966" fmla="*/ 205139 h 1538630"/>
              <a:gd name="csX967" fmla="*/ 643708 w 1609516"/>
              <a:gd name="csY967" fmla="*/ 212009 h 1538630"/>
              <a:gd name="csX968" fmla="*/ 647027 w 1609516"/>
              <a:gd name="csY968" fmla="*/ 217645 h 1538630"/>
              <a:gd name="csX969" fmla="*/ 670264 w 1609516"/>
              <a:gd name="csY969" fmla="*/ 241603 h 1538630"/>
              <a:gd name="csX970" fmla="*/ 670264 w 1609516"/>
              <a:gd name="csY970" fmla="*/ 244421 h 1538630"/>
              <a:gd name="csX971" fmla="*/ 675634 w 1609516"/>
              <a:gd name="csY971" fmla="*/ 245742 h 1538630"/>
              <a:gd name="csX972" fmla="*/ 682761 w 1609516"/>
              <a:gd name="csY972" fmla="*/ 248649 h 1538630"/>
              <a:gd name="csX973" fmla="*/ 752092 w 1609516"/>
              <a:gd name="csY973" fmla="*/ 245076 h 1538630"/>
              <a:gd name="csX974" fmla="*/ 758433 w 1609516"/>
              <a:gd name="csY974" fmla="*/ 240485 h 1538630"/>
              <a:gd name="csX975" fmla="*/ 763991 w 1609516"/>
              <a:gd name="csY975" fmla="*/ 238784 h 1538630"/>
              <a:gd name="csX976" fmla="*/ 765315 w 1609516"/>
              <a:gd name="csY976" fmla="*/ 235778 h 1538630"/>
              <a:gd name="csX977" fmla="*/ 770923 w 1609516"/>
              <a:gd name="csY977" fmla="*/ 223459 h 1538630"/>
              <a:gd name="csX978" fmla="*/ 772998 w 1609516"/>
              <a:gd name="csY978" fmla="*/ 218934 h 1538630"/>
              <a:gd name="csX979" fmla="*/ 777562 w 1609516"/>
              <a:gd name="csY979" fmla="*/ 209895 h 1538630"/>
              <a:gd name="csX980" fmla="*/ 781175 w 1609516"/>
              <a:gd name="csY980" fmla="*/ 124637 h 1538630"/>
              <a:gd name="csX981" fmla="*/ 778051 w 1609516"/>
              <a:gd name="csY981" fmla="*/ 124637 h 1538630"/>
              <a:gd name="csX982" fmla="*/ 767116 w 1609516"/>
              <a:gd name="csY982" fmla="*/ 79542 h 1538630"/>
              <a:gd name="csX983" fmla="*/ 793379 w 1609516"/>
              <a:gd name="csY983" fmla="*/ 54000 h 1538630"/>
              <a:gd name="csX984" fmla="*/ 840688 w 1609516"/>
              <a:gd name="csY984" fmla="*/ 55503 h 1538630"/>
              <a:gd name="csX985" fmla="*/ 851470 w 1609516"/>
              <a:gd name="csY985" fmla="*/ 64040 h 1538630"/>
              <a:gd name="csX986" fmla="*/ 853997 w 1609516"/>
              <a:gd name="csY986" fmla="*/ 66529 h 1538630"/>
              <a:gd name="csX987" fmla="*/ 861488 w 1609516"/>
              <a:gd name="csY987" fmla="*/ 82057 h 1538630"/>
              <a:gd name="csX988" fmla="*/ 861937 w 1609516"/>
              <a:gd name="csY988" fmla="*/ 90492 h 1538630"/>
              <a:gd name="csX989" fmla="*/ 863826 w 1609516"/>
              <a:gd name="csY989" fmla="*/ 100715 h 1538630"/>
              <a:gd name="csX990" fmla="*/ 857577 w 1609516"/>
              <a:gd name="csY990" fmla="*/ 121853 h 1538630"/>
              <a:gd name="csX991" fmla="*/ 856015 w 1609516"/>
              <a:gd name="csY991" fmla="*/ 121853 h 1538630"/>
              <a:gd name="csX992" fmla="*/ 855442 w 1609516"/>
              <a:gd name="csY992" fmla="*/ 118919 h 1538630"/>
              <a:gd name="csX993" fmla="*/ 855417 w 1609516"/>
              <a:gd name="csY993" fmla="*/ 118798 h 1538630"/>
              <a:gd name="csX994" fmla="*/ 856157 w 1609516"/>
              <a:gd name="csY994" fmla="*/ 124637 h 1538630"/>
              <a:gd name="csX995" fmla="*/ 850623 w 1609516"/>
              <a:gd name="csY995" fmla="*/ 134701 h 1538630"/>
              <a:gd name="csX996" fmla="*/ 851325 w 1609516"/>
              <a:gd name="csY996" fmla="*/ 135968 h 1538630"/>
              <a:gd name="csX997" fmla="*/ 849886 w 1609516"/>
              <a:gd name="csY997" fmla="*/ 139843 h 1538630"/>
              <a:gd name="csX998" fmla="*/ 847786 w 1609516"/>
              <a:gd name="csY998" fmla="*/ 152889 h 1538630"/>
              <a:gd name="csX999" fmla="*/ 847767 w 1609516"/>
              <a:gd name="csY999" fmla="*/ 157768 h 1538630"/>
              <a:gd name="csX1000" fmla="*/ 847810 w 1609516"/>
              <a:gd name="csY1000" fmla="*/ 162919 h 1538630"/>
              <a:gd name="csX1001" fmla="*/ 847832 w 1609516"/>
              <a:gd name="csY1001" fmla="*/ 168227 h 1538630"/>
              <a:gd name="csX1002" fmla="*/ 850903 w 1609516"/>
              <a:gd name="csY1002" fmla="*/ 209013 h 1538630"/>
              <a:gd name="csX1003" fmla="*/ 852880 w 1609516"/>
              <a:gd name="csY1003" fmla="*/ 224692 h 1538630"/>
              <a:gd name="csX1004" fmla="*/ 854595 w 1609516"/>
              <a:gd name="csY1004" fmla="*/ 224692 h 1538630"/>
              <a:gd name="csX1005" fmla="*/ 856083 w 1609516"/>
              <a:gd name="csY1005" fmla="*/ 227268 h 1538630"/>
              <a:gd name="csX1006" fmla="*/ 879588 w 1609516"/>
              <a:gd name="csY1006" fmla="*/ 247239 h 1538630"/>
              <a:gd name="csX1007" fmla="*/ 885739 w 1609516"/>
              <a:gd name="csY1007" fmla="*/ 249618 h 1538630"/>
              <a:gd name="csX1008" fmla="*/ 890523 w 1609516"/>
              <a:gd name="csY1008" fmla="*/ 251467 h 1538630"/>
              <a:gd name="csX1009" fmla="*/ 890523 w 1609516"/>
              <a:gd name="csY1009" fmla="*/ 254285 h 1538630"/>
              <a:gd name="csX1010" fmla="*/ 920203 w 1609516"/>
              <a:gd name="csY1010" fmla="*/ 261332 h 1538630"/>
              <a:gd name="csX1011" fmla="*/ 920203 w 1609516"/>
              <a:gd name="csY1011" fmla="*/ 262741 h 1538630"/>
              <a:gd name="csX1012" fmla="*/ 910831 w 1609516"/>
              <a:gd name="csY1012" fmla="*/ 262741 h 1538630"/>
              <a:gd name="csX1013" fmla="*/ 910831 w 1609516"/>
              <a:gd name="csY1013" fmla="*/ 262864 h 1538630"/>
              <a:gd name="csX1014" fmla="*/ 927993 w 1609516"/>
              <a:gd name="csY1014" fmla="*/ 264177 h 1538630"/>
              <a:gd name="csX1015" fmla="*/ 939273 w 1609516"/>
              <a:gd name="csY1015" fmla="*/ 265285 h 1538630"/>
              <a:gd name="csX1016" fmla="*/ 940456 w 1609516"/>
              <a:gd name="csY1016" fmla="*/ 265191 h 1538630"/>
              <a:gd name="csX1017" fmla="*/ 991622 w 1609516"/>
              <a:gd name="csY1017" fmla="*/ 242329 h 1538630"/>
              <a:gd name="csX1018" fmla="*/ 1000803 w 1609516"/>
              <a:gd name="csY1018" fmla="*/ 236505 h 1538630"/>
              <a:gd name="csX1019" fmla="*/ 999806 w 1609516"/>
              <a:gd name="csY1019" fmla="*/ 236055 h 1538630"/>
              <a:gd name="csX1020" fmla="*/ 1003126 w 1609516"/>
              <a:gd name="csY1020" fmla="*/ 232851 h 1538630"/>
              <a:gd name="csX1021" fmla="*/ 1029487 w 1609516"/>
              <a:gd name="csY1021" fmla="*/ 205052 h 1538630"/>
              <a:gd name="csX1022" fmla="*/ 1029872 w 1609516"/>
              <a:gd name="csY1022" fmla="*/ 206442 h 1538630"/>
              <a:gd name="csX1023" fmla="*/ 1031614 w 1609516"/>
              <a:gd name="csY1023" fmla="*/ 203719 h 1538630"/>
              <a:gd name="csX1024" fmla="*/ 1038924 w 1609516"/>
              <a:gd name="csY1024" fmla="*/ 192280 h 1538630"/>
              <a:gd name="csX1025" fmla="*/ 1042049 w 1609516"/>
              <a:gd name="csY1025" fmla="*/ 190870 h 1538630"/>
              <a:gd name="csX1026" fmla="*/ 1044294 w 1609516"/>
              <a:gd name="csY1026" fmla="*/ 186026 h 1538630"/>
              <a:gd name="csX1027" fmla="*/ 1051422 w 1609516"/>
              <a:gd name="csY1027" fmla="*/ 178188 h 1538630"/>
              <a:gd name="csX1028" fmla="*/ 1052984 w 1609516"/>
              <a:gd name="csY1028" fmla="*/ 172551 h 1538630"/>
              <a:gd name="csX1029" fmla="*/ 1056108 w 1609516"/>
              <a:gd name="csY1029" fmla="*/ 172551 h 1538630"/>
              <a:gd name="csX1030" fmla="*/ 1059232 w 1609516"/>
              <a:gd name="csY1030" fmla="*/ 162686 h 1538630"/>
              <a:gd name="csX1031" fmla="*/ 1062357 w 1609516"/>
              <a:gd name="csY1031" fmla="*/ 162686 h 1538630"/>
              <a:gd name="csX1032" fmla="*/ 1063162 w 1609516"/>
              <a:gd name="csY1032" fmla="*/ 160258 h 1538630"/>
              <a:gd name="csX1033" fmla="*/ 1073292 w 1609516"/>
              <a:gd name="csY1033" fmla="*/ 140138 h 1538630"/>
              <a:gd name="csX1034" fmla="*/ 1076415 w 1609516"/>
              <a:gd name="csY1034" fmla="*/ 140138 h 1538630"/>
              <a:gd name="csX1035" fmla="*/ 1085294 w 1609516"/>
              <a:gd name="csY1035" fmla="*/ 117569 h 1538630"/>
              <a:gd name="csX1036" fmla="*/ 1087350 w 1609516"/>
              <a:gd name="csY1036" fmla="*/ 113363 h 1538630"/>
              <a:gd name="csX1037" fmla="*/ 1092037 w 1609516"/>
              <a:gd name="csY1037" fmla="*/ 111954 h 1538630"/>
              <a:gd name="csX1038" fmla="*/ 1092623 w 1609516"/>
              <a:gd name="csY1038" fmla="*/ 108695 h 1538630"/>
              <a:gd name="csX1039" fmla="*/ 1096723 w 1609516"/>
              <a:gd name="csY1039" fmla="*/ 100680 h 1538630"/>
              <a:gd name="csX1040" fmla="*/ 1098188 w 1609516"/>
              <a:gd name="csY1040" fmla="*/ 96013 h 1538630"/>
              <a:gd name="csX1041" fmla="*/ 1102288 w 1609516"/>
              <a:gd name="csY1041" fmla="*/ 87029 h 1538630"/>
              <a:gd name="csX1042" fmla="*/ 1104534 w 1609516"/>
              <a:gd name="csY1042" fmla="*/ 61222 h 1538630"/>
              <a:gd name="csX1043" fmla="*/ 1104381 w 1609516"/>
              <a:gd name="csY1043" fmla="*/ 55569 h 1538630"/>
              <a:gd name="csX1044" fmla="*/ 1104397 w 1609516"/>
              <a:gd name="csY1044" fmla="*/ 52335 h 1538630"/>
              <a:gd name="csX1045" fmla="*/ 1104436 w 1609516"/>
              <a:gd name="csY1045" fmla="*/ 48979 h 1538630"/>
              <a:gd name="csX1046" fmla="*/ 1104457 w 1609516"/>
              <a:gd name="csY1046" fmla="*/ 45575 h 1538630"/>
              <a:gd name="csX1047" fmla="*/ 1104534 w 1609516"/>
              <a:gd name="csY1047" fmla="*/ 37265 h 1538630"/>
              <a:gd name="csX1048" fmla="*/ 1107658 w 1609516"/>
              <a:gd name="csY1048" fmla="*/ 37265 h 1538630"/>
              <a:gd name="csX1049" fmla="*/ 1107463 w 1609516"/>
              <a:gd name="csY1049" fmla="*/ 31805 h 1538630"/>
              <a:gd name="csX1050" fmla="*/ 1107658 w 1609516"/>
              <a:gd name="csY1050" fmla="*/ 25991 h 1538630"/>
              <a:gd name="csX1051" fmla="*/ 1110782 w 1609516"/>
              <a:gd name="csY1051" fmla="*/ 23173 h 1538630"/>
              <a:gd name="csX1052" fmla="*/ 1111759 w 1609516"/>
              <a:gd name="csY1052" fmla="*/ 20091 h 1538630"/>
              <a:gd name="csX1053" fmla="*/ 1134507 w 1609516"/>
              <a:gd name="csY1053" fmla="*/ 2828 h 1538630"/>
              <a:gd name="csX1054" fmla="*/ 1155019 w 1609516"/>
              <a:gd name="csY1054" fmla="*/ 35 h 153863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  <a:cxn ang="0">
                <a:pos x="csX170" y="csY170"/>
              </a:cxn>
              <a:cxn ang="0">
                <a:pos x="csX171" y="csY171"/>
              </a:cxn>
              <a:cxn ang="0">
                <a:pos x="csX172" y="csY172"/>
              </a:cxn>
              <a:cxn ang="0">
                <a:pos x="csX173" y="csY173"/>
              </a:cxn>
              <a:cxn ang="0">
                <a:pos x="csX174" y="csY174"/>
              </a:cxn>
              <a:cxn ang="0">
                <a:pos x="csX175" y="csY175"/>
              </a:cxn>
              <a:cxn ang="0">
                <a:pos x="csX176" y="csY176"/>
              </a:cxn>
              <a:cxn ang="0">
                <a:pos x="csX177" y="csY177"/>
              </a:cxn>
              <a:cxn ang="0">
                <a:pos x="csX178" y="csY178"/>
              </a:cxn>
              <a:cxn ang="0">
                <a:pos x="csX179" y="csY179"/>
              </a:cxn>
              <a:cxn ang="0">
                <a:pos x="csX180" y="csY180"/>
              </a:cxn>
              <a:cxn ang="0">
                <a:pos x="csX181" y="csY181"/>
              </a:cxn>
              <a:cxn ang="0">
                <a:pos x="csX182" y="csY182"/>
              </a:cxn>
              <a:cxn ang="0">
                <a:pos x="csX183" y="csY183"/>
              </a:cxn>
              <a:cxn ang="0">
                <a:pos x="csX184" y="csY184"/>
              </a:cxn>
              <a:cxn ang="0">
                <a:pos x="csX185" y="csY185"/>
              </a:cxn>
              <a:cxn ang="0">
                <a:pos x="csX186" y="csY186"/>
              </a:cxn>
              <a:cxn ang="0">
                <a:pos x="csX187" y="csY187"/>
              </a:cxn>
              <a:cxn ang="0">
                <a:pos x="csX188" y="csY188"/>
              </a:cxn>
              <a:cxn ang="0">
                <a:pos x="csX189" y="csY189"/>
              </a:cxn>
              <a:cxn ang="0">
                <a:pos x="csX190" y="csY190"/>
              </a:cxn>
              <a:cxn ang="0">
                <a:pos x="csX191" y="csY191"/>
              </a:cxn>
              <a:cxn ang="0">
                <a:pos x="csX192" y="csY192"/>
              </a:cxn>
              <a:cxn ang="0">
                <a:pos x="csX193" y="csY193"/>
              </a:cxn>
              <a:cxn ang="0">
                <a:pos x="csX194" y="csY194"/>
              </a:cxn>
              <a:cxn ang="0">
                <a:pos x="csX195" y="csY195"/>
              </a:cxn>
              <a:cxn ang="0">
                <a:pos x="csX196" y="csY196"/>
              </a:cxn>
              <a:cxn ang="0">
                <a:pos x="csX197" y="csY197"/>
              </a:cxn>
              <a:cxn ang="0">
                <a:pos x="csX198" y="csY198"/>
              </a:cxn>
              <a:cxn ang="0">
                <a:pos x="csX199" y="csY199"/>
              </a:cxn>
              <a:cxn ang="0">
                <a:pos x="csX200" y="csY200"/>
              </a:cxn>
              <a:cxn ang="0">
                <a:pos x="csX201" y="csY201"/>
              </a:cxn>
              <a:cxn ang="0">
                <a:pos x="csX202" y="csY202"/>
              </a:cxn>
              <a:cxn ang="0">
                <a:pos x="csX203" y="csY203"/>
              </a:cxn>
              <a:cxn ang="0">
                <a:pos x="csX204" y="csY204"/>
              </a:cxn>
              <a:cxn ang="0">
                <a:pos x="csX205" y="csY205"/>
              </a:cxn>
              <a:cxn ang="0">
                <a:pos x="csX206" y="csY206"/>
              </a:cxn>
              <a:cxn ang="0">
                <a:pos x="csX207" y="csY207"/>
              </a:cxn>
              <a:cxn ang="0">
                <a:pos x="csX208" y="csY208"/>
              </a:cxn>
              <a:cxn ang="0">
                <a:pos x="csX209" y="csY209"/>
              </a:cxn>
              <a:cxn ang="0">
                <a:pos x="csX210" y="csY210"/>
              </a:cxn>
              <a:cxn ang="0">
                <a:pos x="csX211" y="csY211"/>
              </a:cxn>
              <a:cxn ang="0">
                <a:pos x="csX212" y="csY212"/>
              </a:cxn>
              <a:cxn ang="0">
                <a:pos x="csX213" y="csY213"/>
              </a:cxn>
              <a:cxn ang="0">
                <a:pos x="csX214" y="csY214"/>
              </a:cxn>
              <a:cxn ang="0">
                <a:pos x="csX215" y="csY215"/>
              </a:cxn>
              <a:cxn ang="0">
                <a:pos x="csX216" y="csY216"/>
              </a:cxn>
              <a:cxn ang="0">
                <a:pos x="csX217" y="csY217"/>
              </a:cxn>
              <a:cxn ang="0">
                <a:pos x="csX218" y="csY218"/>
              </a:cxn>
              <a:cxn ang="0">
                <a:pos x="csX219" y="csY219"/>
              </a:cxn>
              <a:cxn ang="0">
                <a:pos x="csX220" y="csY220"/>
              </a:cxn>
              <a:cxn ang="0">
                <a:pos x="csX221" y="csY221"/>
              </a:cxn>
              <a:cxn ang="0">
                <a:pos x="csX222" y="csY222"/>
              </a:cxn>
              <a:cxn ang="0">
                <a:pos x="csX223" y="csY223"/>
              </a:cxn>
              <a:cxn ang="0">
                <a:pos x="csX224" y="csY224"/>
              </a:cxn>
              <a:cxn ang="0">
                <a:pos x="csX225" y="csY225"/>
              </a:cxn>
              <a:cxn ang="0">
                <a:pos x="csX226" y="csY226"/>
              </a:cxn>
              <a:cxn ang="0">
                <a:pos x="csX227" y="csY227"/>
              </a:cxn>
              <a:cxn ang="0">
                <a:pos x="csX228" y="csY228"/>
              </a:cxn>
              <a:cxn ang="0">
                <a:pos x="csX229" y="csY229"/>
              </a:cxn>
              <a:cxn ang="0">
                <a:pos x="csX230" y="csY230"/>
              </a:cxn>
              <a:cxn ang="0">
                <a:pos x="csX231" y="csY231"/>
              </a:cxn>
              <a:cxn ang="0">
                <a:pos x="csX232" y="csY232"/>
              </a:cxn>
              <a:cxn ang="0">
                <a:pos x="csX233" y="csY233"/>
              </a:cxn>
              <a:cxn ang="0">
                <a:pos x="csX234" y="csY234"/>
              </a:cxn>
              <a:cxn ang="0">
                <a:pos x="csX235" y="csY235"/>
              </a:cxn>
              <a:cxn ang="0">
                <a:pos x="csX236" y="csY236"/>
              </a:cxn>
              <a:cxn ang="0">
                <a:pos x="csX237" y="csY237"/>
              </a:cxn>
              <a:cxn ang="0">
                <a:pos x="csX238" y="csY238"/>
              </a:cxn>
              <a:cxn ang="0">
                <a:pos x="csX239" y="csY239"/>
              </a:cxn>
              <a:cxn ang="0">
                <a:pos x="csX240" y="csY240"/>
              </a:cxn>
              <a:cxn ang="0">
                <a:pos x="csX241" y="csY241"/>
              </a:cxn>
              <a:cxn ang="0">
                <a:pos x="csX242" y="csY242"/>
              </a:cxn>
              <a:cxn ang="0">
                <a:pos x="csX243" y="csY243"/>
              </a:cxn>
              <a:cxn ang="0">
                <a:pos x="csX244" y="csY244"/>
              </a:cxn>
              <a:cxn ang="0">
                <a:pos x="csX245" y="csY245"/>
              </a:cxn>
              <a:cxn ang="0">
                <a:pos x="csX246" y="csY246"/>
              </a:cxn>
              <a:cxn ang="0">
                <a:pos x="csX247" y="csY247"/>
              </a:cxn>
              <a:cxn ang="0">
                <a:pos x="csX248" y="csY248"/>
              </a:cxn>
              <a:cxn ang="0">
                <a:pos x="csX249" y="csY249"/>
              </a:cxn>
              <a:cxn ang="0">
                <a:pos x="csX250" y="csY250"/>
              </a:cxn>
              <a:cxn ang="0">
                <a:pos x="csX251" y="csY251"/>
              </a:cxn>
              <a:cxn ang="0">
                <a:pos x="csX252" y="csY252"/>
              </a:cxn>
              <a:cxn ang="0">
                <a:pos x="csX253" y="csY253"/>
              </a:cxn>
              <a:cxn ang="0">
                <a:pos x="csX254" y="csY254"/>
              </a:cxn>
              <a:cxn ang="0">
                <a:pos x="csX255" y="csY255"/>
              </a:cxn>
              <a:cxn ang="0">
                <a:pos x="csX256" y="csY256"/>
              </a:cxn>
              <a:cxn ang="0">
                <a:pos x="csX257" y="csY257"/>
              </a:cxn>
              <a:cxn ang="0">
                <a:pos x="csX258" y="csY258"/>
              </a:cxn>
              <a:cxn ang="0">
                <a:pos x="csX259" y="csY259"/>
              </a:cxn>
              <a:cxn ang="0">
                <a:pos x="csX260" y="csY260"/>
              </a:cxn>
              <a:cxn ang="0">
                <a:pos x="csX261" y="csY261"/>
              </a:cxn>
              <a:cxn ang="0">
                <a:pos x="csX262" y="csY262"/>
              </a:cxn>
              <a:cxn ang="0">
                <a:pos x="csX263" y="csY263"/>
              </a:cxn>
              <a:cxn ang="0">
                <a:pos x="csX264" y="csY264"/>
              </a:cxn>
              <a:cxn ang="0">
                <a:pos x="csX265" y="csY265"/>
              </a:cxn>
              <a:cxn ang="0">
                <a:pos x="csX266" y="csY266"/>
              </a:cxn>
              <a:cxn ang="0">
                <a:pos x="csX267" y="csY267"/>
              </a:cxn>
              <a:cxn ang="0">
                <a:pos x="csX268" y="csY268"/>
              </a:cxn>
              <a:cxn ang="0">
                <a:pos x="csX269" y="csY269"/>
              </a:cxn>
              <a:cxn ang="0">
                <a:pos x="csX270" y="csY270"/>
              </a:cxn>
              <a:cxn ang="0">
                <a:pos x="csX271" y="csY271"/>
              </a:cxn>
              <a:cxn ang="0">
                <a:pos x="csX272" y="csY272"/>
              </a:cxn>
              <a:cxn ang="0">
                <a:pos x="csX273" y="csY273"/>
              </a:cxn>
              <a:cxn ang="0">
                <a:pos x="csX274" y="csY274"/>
              </a:cxn>
              <a:cxn ang="0">
                <a:pos x="csX275" y="csY275"/>
              </a:cxn>
              <a:cxn ang="0">
                <a:pos x="csX276" y="csY276"/>
              </a:cxn>
              <a:cxn ang="0">
                <a:pos x="csX277" y="csY277"/>
              </a:cxn>
              <a:cxn ang="0">
                <a:pos x="csX278" y="csY278"/>
              </a:cxn>
              <a:cxn ang="0">
                <a:pos x="csX279" y="csY279"/>
              </a:cxn>
              <a:cxn ang="0">
                <a:pos x="csX280" y="csY280"/>
              </a:cxn>
              <a:cxn ang="0">
                <a:pos x="csX281" y="csY281"/>
              </a:cxn>
              <a:cxn ang="0">
                <a:pos x="csX282" y="csY282"/>
              </a:cxn>
              <a:cxn ang="0">
                <a:pos x="csX283" y="csY283"/>
              </a:cxn>
              <a:cxn ang="0">
                <a:pos x="csX284" y="csY284"/>
              </a:cxn>
              <a:cxn ang="0">
                <a:pos x="csX285" y="csY285"/>
              </a:cxn>
              <a:cxn ang="0">
                <a:pos x="csX286" y="csY286"/>
              </a:cxn>
              <a:cxn ang="0">
                <a:pos x="csX287" y="csY287"/>
              </a:cxn>
              <a:cxn ang="0">
                <a:pos x="csX288" y="csY288"/>
              </a:cxn>
              <a:cxn ang="0">
                <a:pos x="csX289" y="csY289"/>
              </a:cxn>
              <a:cxn ang="0">
                <a:pos x="csX290" y="csY290"/>
              </a:cxn>
              <a:cxn ang="0">
                <a:pos x="csX291" y="csY291"/>
              </a:cxn>
              <a:cxn ang="0">
                <a:pos x="csX292" y="csY292"/>
              </a:cxn>
              <a:cxn ang="0">
                <a:pos x="csX293" y="csY293"/>
              </a:cxn>
              <a:cxn ang="0">
                <a:pos x="csX294" y="csY294"/>
              </a:cxn>
              <a:cxn ang="0">
                <a:pos x="csX295" y="csY295"/>
              </a:cxn>
              <a:cxn ang="0">
                <a:pos x="csX296" y="csY296"/>
              </a:cxn>
              <a:cxn ang="0">
                <a:pos x="csX297" y="csY297"/>
              </a:cxn>
              <a:cxn ang="0">
                <a:pos x="csX298" y="csY298"/>
              </a:cxn>
              <a:cxn ang="0">
                <a:pos x="csX299" y="csY299"/>
              </a:cxn>
              <a:cxn ang="0">
                <a:pos x="csX300" y="csY300"/>
              </a:cxn>
              <a:cxn ang="0">
                <a:pos x="csX301" y="csY301"/>
              </a:cxn>
              <a:cxn ang="0">
                <a:pos x="csX302" y="csY302"/>
              </a:cxn>
              <a:cxn ang="0">
                <a:pos x="csX303" y="csY303"/>
              </a:cxn>
              <a:cxn ang="0">
                <a:pos x="csX304" y="csY304"/>
              </a:cxn>
              <a:cxn ang="0">
                <a:pos x="csX305" y="csY305"/>
              </a:cxn>
              <a:cxn ang="0">
                <a:pos x="csX306" y="csY306"/>
              </a:cxn>
              <a:cxn ang="0">
                <a:pos x="csX307" y="csY307"/>
              </a:cxn>
              <a:cxn ang="0">
                <a:pos x="csX308" y="csY308"/>
              </a:cxn>
              <a:cxn ang="0">
                <a:pos x="csX309" y="csY309"/>
              </a:cxn>
              <a:cxn ang="0">
                <a:pos x="csX310" y="csY310"/>
              </a:cxn>
              <a:cxn ang="0">
                <a:pos x="csX311" y="csY311"/>
              </a:cxn>
              <a:cxn ang="0">
                <a:pos x="csX312" y="csY312"/>
              </a:cxn>
              <a:cxn ang="0">
                <a:pos x="csX313" y="csY313"/>
              </a:cxn>
              <a:cxn ang="0">
                <a:pos x="csX314" y="csY314"/>
              </a:cxn>
              <a:cxn ang="0">
                <a:pos x="csX315" y="csY315"/>
              </a:cxn>
              <a:cxn ang="0">
                <a:pos x="csX316" y="csY316"/>
              </a:cxn>
              <a:cxn ang="0">
                <a:pos x="csX317" y="csY317"/>
              </a:cxn>
              <a:cxn ang="0">
                <a:pos x="csX318" y="csY318"/>
              </a:cxn>
              <a:cxn ang="0">
                <a:pos x="csX319" y="csY319"/>
              </a:cxn>
              <a:cxn ang="0">
                <a:pos x="csX320" y="csY320"/>
              </a:cxn>
              <a:cxn ang="0">
                <a:pos x="csX321" y="csY321"/>
              </a:cxn>
              <a:cxn ang="0">
                <a:pos x="csX322" y="csY322"/>
              </a:cxn>
              <a:cxn ang="0">
                <a:pos x="csX323" y="csY323"/>
              </a:cxn>
              <a:cxn ang="0">
                <a:pos x="csX324" y="csY324"/>
              </a:cxn>
              <a:cxn ang="0">
                <a:pos x="csX325" y="csY325"/>
              </a:cxn>
              <a:cxn ang="0">
                <a:pos x="csX326" y="csY326"/>
              </a:cxn>
              <a:cxn ang="0">
                <a:pos x="csX327" y="csY327"/>
              </a:cxn>
              <a:cxn ang="0">
                <a:pos x="csX328" y="csY328"/>
              </a:cxn>
              <a:cxn ang="0">
                <a:pos x="csX329" y="csY329"/>
              </a:cxn>
              <a:cxn ang="0">
                <a:pos x="csX330" y="csY330"/>
              </a:cxn>
              <a:cxn ang="0">
                <a:pos x="csX331" y="csY331"/>
              </a:cxn>
              <a:cxn ang="0">
                <a:pos x="csX332" y="csY332"/>
              </a:cxn>
              <a:cxn ang="0">
                <a:pos x="csX333" y="csY333"/>
              </a:cxn>
              <a:cxn ang="0">
                <a:pos x="csX334" y="csY334"/>
              </a:cxn>
              <a:cxn ang="0">
                <a:pos x="csX335" y="csY335"/>
              </a:cxn>
              <a:cxn ang="0">
                <a:pos x="csX336" y="csY336"/>
              </a:cxn>
              <a:cxn ang="0">
                <a:pos x="csX337" y="csY337"/>
              </a:cxn>
              <a:cxn ang="0">
                <a:pos x="csX338" y="csY338"/>
              </a:cxn>
              <a:cxn ang="0">
                <a:pos x="csX339" y="csY339"/>
              </a:cxn>
              <a:cxn ang="0">
                <a:pos x="csX340" y="csY340"/>
              </a:cxn>
              <a:cxn ang="0">
                <a:pos x="csX341" y="csY341"/>
              </a:cxn>
              <a:cxn ang="0">
                <a:pos x="csX342" y="csY342"/>
              </a:cxn>
              <a:cxn ang="0">
                <a:pos x="csX343" y="csY343"/>
              </a:cxn>
              <a:cxn ang="0">
                <a:pos x="csX344" y="csY344"/>
              </a:cxn>
              <a:cxn ang="0">
                <a:pos x="csX345" y="csY345"/>
              </a:cxn>
              <a:cxn ang="0">
                <a:pos x="csX346" y="csY346"/>
              </a:cxn>
              <a:cxn ang="0">
                <a:pos x="csX347" y="csY347"/>
              </a:cxn>
              <a:cxn ang="0">
                <a:pos x="csX348" y="csY348"/>
              </a:cxn>
              <a:cxn ang="0">
                <a:pos x="csX349" y="csY349"/>
              </a:cxn>
              <a:cxn ang="0">
                <a:pos x="csX350" y="csY350"/>
              </a:cxn>
              <a:cxn ang="0">
                <a:pos x="csX351" y="csY351"/>
              </a:cxn>
              <a:cxn ang="0">
                <a:pos x="csX352" y="csY352"/>
              </a:cxn>
              <a:cxn ang="0">
                <a:pos x="csX353" y="csY353"/>
              </a:cxn>
              <a:cxn ang="0">
                <a:pos x="csX354" y="csY354"/>
              </a:cxn>
              <a:cxn ang="0">
                <a:pos x="csX355" y="csY355"/>
              </a:cxn>
              <a:cxn ang="0">
                <a:pos x="csX356" y="csY356"/>
              </a:cxn>
              <a:cxn ang="0">
                <a:pos x="csX357" y="csY357"/>
              </a:cxn>
              <a:cxn ang="0">
                <a:pos x="csX358" y="csY358"/>
              </a:cxn>
              <a:cxn ang="0">
                <a:pos x="csX359" y="csY359"/>
              </a:cxn>
              <a:cxn ang="0">
                <a:pos x="csX360" y="csY360"/>
              </a:cxn>
              <a:cxn ang="0">
                <a:pos x="csX361" y="csY361"/>
              </a:cxn>
              <a:cxn ang="0">
                <a:pos x="csX362" y="csY362"/>
              </a:cxn>
              <a:cxn ang="0">
                <a:pos x="csX363" y="csY363"/>
              </a:cxn>
              <a:cxn ang="0">
                <a:pos x="csX364" y="csY364"/>
              </a:cxn>
              <a:cxn ang="0">
                <a:pos x="csX365" y="csY365"/>
              </a:cxn>
              <a:cxn ang="0">
                <a:pos x="csX366" y="csY366"/>
              </a:cxn>
              <a:cxn ang="0">
                <a:pos x="csX367" y="csY367"/>
              </a:cxn>
              <a:cxn ang="0">
                <a:pos x="csX368" y="csY368"/>
              </a:cxn>
              <a:cxn ang="0">
                <a:pos x="csX369" y="csY369"/>
              </a:cxn>
              <a:cxn ang="0">
                <a:pos x="csX370" y="csY370"/>
              </a:cxn>
              <a:cxn ang="0">
                <a:pos x="csX371" y="csY371"/>
              </a:cxn>
              <a:cxn ang="0">
                <a:pos x="csX372" y="csY372"/>
              </a:cxn>
              <a:cxn ang="0">
                <a:pos x="csX373" y="csY373"/>
              </a:cxn>
              <a:cxn ang="0">
                <a:pos x="csX374" y="csY374"/>
              </a:cxn>
              <a:cxn ang="0">
                <a:pos x="csX375" y="csY375"/>
              </a:cxn>
              <a:cxn ang="0">
                <a:pos x="csX376" y="csY376"/>
              </a:cxn>
              <a:cxn ang="0">
                <a:pos x="csX377" y="csY377"/>
              </a:cxn>
              <a:cxn ang="0">
                <a:pos x="csX378" y="csY378"/>
              </a:cxn>
              <a:cxn ang="0">
                <a:pos x="csX379" y="csY379"/>
              </a:cxn>
              <a:cxn ang="0">
                <a:pos x="csX380" y="csY380"/>
              </a:cxn>
              <a:cxn ang="0">
                <a:pos x="csX381" y="csY381"/>
              </a:cxn>
              <a:cxn ang="0">
                <a:pos x="csX382" y="csY382"/>
              </a:cxn>
              <a:cxn ang="0">
                <a:pos x="csX383" y="csY383"/>
              </a:cxn>
              <a:cxn ang="0">
                <a:pos x="csX384" y="csY384"/>
              </a:cxn>
              <a:cxn ang="0">
                <a:pos x="csX385" y="csY385"/>
              </a:cxn>
              <a:cxn ang="0">
                <a:pos x="csX386" y="csY386"/>
              </a:cxn>
              <a:cxn ang="0">
                <a:pos x="csX387" y="csY387"/>
              </a:cxn>
              <a:cxn ang="0">
                <a:pos x="csX388" y="csY388"/>
              </a:cxn>
              <a:cxn ang="0">
                <a:pos x="csX389" y="csY389"/>
              </a:cxn>
              <a:cxn ang="0">
                <a:pos x="csX390" y="csY390"/>
              </a:cxn>
              <a:cxn ang="0">
                <a:pos x="csX391" y="csY391"/>
              </a:cxn>
              <a:cxn ang="0">
                <a:pos x="csX392" y="csY392"/>
              </a:cxn>
              <a:cxn ang="0">
                <a:pos x="csX393" y="csY393"/>
              </a:cxn>
              <a:cxn ang="0">
                <a:pos x="csX394" y="csY394"/>
              </a:cxn>
              <a:cxn ang="0">
                <a:pos x="csX395" y="csY395"/>
              </a:cxn>
              <a:cxn ang="0">
                <a:pos x="csX396" y="csY396"/>
              </a:cxn>
              <a:cxn ang="0">
                <a:pos x="csX397" y="csY397"/>
              </a:cxn>
              <a:cxn ang="0">
                <a:pos x="csX398" y="csY398"/>
              </a:cxn>
              <a:cxn ang="0">
                <a:pos x="csX399" y="csY399"/>
              </a:cxn>
              <a:cxn ang="0">
                <a:pos x="csX400" y="csY400"/>
              </a:cxn>
              <a:cxn ang="0">
                <a:pos x="csX401" y="csY401"/>
              </a:cxn>
              <a:cxn ang="0">
                <a:pos x="csX402" y="csY402"/>
              </a:cxn>
              <a:cxn ang="0">
                <a:pos x="csX403" y="csY403"/>
              </a:cxn>
              <a:cxn ang="0">
                <a:pos x="csX404" y="csY404"/>
              </a:cxn>
              <a:cxn ang="0">
                <a:pos x="csX405" y="csY405"/>
              </a:cxn>
              <a:cxn ang="0">
                <a:pos x="csX406" y="csY406"/>
              </a:cxn>
              <a:cxn ang="0">
                <a:pos x="csX407" y="csY407"/>
              </a:cxn>
              <a:cxn ang="0">
                <a:pos x="csX408" y="csY408"/>
              </a:cxn>
              <a:cxn ang="0">
                <a:pos x="csX409" y="csY409"/>
              </a:cxn>
              <a:cxn ang="0">
                <a:pos x="csX410" y="csY410"/>
              </a:cxn>
              <a:cxn ang="0">
                <a:pos x="csX411" y="csY411"/>
              </a:cxn>
              <a:cxn ang="0">
                <a:pos x="csX412" y="csY412"/>
              </a:cxn>
              <a:cxn ang="0">
                <a:pos x="csX413" y="csY413"/>
              </a:cxn>
              <a:cxn ang="0">
                <a:pos x="csX414" y="csY414"/>
              </a:cxn>
              <a:cxn ang="0">
                <a:pos x="csX415" y="csY415"/>
              </a:cxn>
              <a:cxn ang="0">
                <a:pos x="csX416" y="csY416"/>
              </a:cxn>
              <a:cxn ang="0">
                <a:pos x="csX417" y="csY417"/>
              </a:cxn>
              <a:cxn ang="0">
                <a:pos x="csX418" y="csY418"/>
              </a:cxn>
              <a:cxn ang="0">
                <a:pos x="csX419" y="csY419"/>
              </a:cxn>
              <a:cxn ang="0">
                <a:pos x="csX420" y="csY420"/>
              </a:cxn>
              <a:cxn ang="0">
                <a:pos x="csX421" y="csY421"/>
              </a:cxn>
              <a:cxn ang="0">
                <a:pos x="csX422" y="csY422"/>
              </a:cxn>
              <a:cxn ang="0">
                <a:pos x="csX423" y="csY423"/>
              </a:cxn>
              <a:cxn ang="0">
                <a:pos x="csX424" y="csY424"/>
              </a:cxn>
              <a:cxn ang="0">
                <a:pos x="csX425" y="csY425"/>
              </a:cxn>
              <a:cxn ang="0">
                <a:pos x="csX426" y="csY426"/>
              </a:cxn>
              <a:cxn ang="0">
                <a:pos x="csX427" y="csY427"/>
              </a:cxn>
              <a:cxn ang="0">
                <a:pos x="csX428" y="csY428"/>
              </a:cxn>
              <a:cxn ang="0">
                <a:pos x="csX429" y="csY429"/>
              </a:cxn>
              <a:cxn ang="0">
                <a:pos x="csX430" y="csY430"/>
              </a:cxn>
              <a:cxn ang="0">
                <a:pos x="csX431" y="csY431"/>
              </a:cxn>
              <a:cxn ang="0">
                <a:pos x="csX432" y="csY432"/>
              </a:cxn>
              <a:cxn ang="0">
                <a:pos x="csX433" y="csY433"/>
              </a:cxn>
              <a:cxn ang="0">
                <a:pos x="csX434" y="csY434"/>
              </a:cxn>
              <a:cxn ang="0">
                <a:pos x="csX435" y="csY435"/>
              </a:cxn>
              <a:cxn ang="0">
                <a:pos x="csX436" y="csY436"/>
              </a:cxn>
              <a:cxn ang="0">
                <a:pos x="csX437" y="csY437"/>
              </a:cxn>
              <a:cxn ang="0">
                <a:pos x="csX438" y="csY438"/>
              </a:cxn>
              <a:cxn ang="0">
                <a:pos x="csX439" y="csY439"/>
              </a:cxn>
              <a:cxn ang="0">
                <a:pos x="csX440" y="csY440"/>
              </a:cxn>
              <a:cxn ang="0">
                <a:pos x="csX441" y="csY441"/>
              </a:cxn>
              <a:cxn ang="0">
                <a:pos x="csX442" y="csY442"/>
              </a:cxn>
              <a:cxn ang="0">
                <a:pos x="csX443" y="csY443"/>
              </a:cxn>
              <a:cxn ang="0">
                <a:pos x="csX444" y="csY444"/>
              </a:cxn>
              <a:cxn ang="0">
                <a:pos x="csX445" y="csY445"/>
              </a:cxn>
              <a:cxn ang="0">
                <a:pos x="csX446" y="csY446"/>
              </a:cxn>
              <a:cxn ang="0">
                <a:pos x="csX447" y="csY447"/>
              </a:cxn>
              <a:cxn ang="0">
                <a:pos x="csX448" y="csY448"/>
              </a:cxn>
              <a:cxn ang="0">
                <a:pos x="csX449" y="csY449"/>
              </a:cxn>
              <a:cxn ang="0">
                <a:pos x="csX450" y="csY450"/>
              </a:cxn>
              <a:cxn ang="0">
                <a:pos x="csX451" y="csY451"/>
              </a:cxn>
              <a:cxn ang="0">
                <a:pos x="csX452" y="csY452"/>
              </a:cxn>
              <a:cxn ang="0">
                <a:pos x="csX453" y="csY453"/>
              </a:cxn>
              <a:cxn ang="0">
                <a:pos x="csX454" y="csY454"/>
              </a:cxn>
              <a:cxn ang="0">
                <a:pos x="csX455" y="csY455"/>
              </a:cxn>
              <a:cxn ang="0">
                <a:pos x="csX456" y="csY456"/>
              </a:cxn>
              <a:cxn ang="0">
                <a:pos x="csX457" y="csY457"/>
              </a:cxn>
              <a:cxn ang="0">
                <a:pos x="csX458" y="csY458"/>
              </a:cxn>
              <a:cxn ang="0">
                <a:pos x="csX459" y="csY459"/>
              </a:cxn>
              <a:cxn ang="0">
                <a:pos x="csX460" y="csY460"/>
              </a:cxn>
              <a:cxn ang="0">
                <a:pos x="csX461" y="csY461"/>
              </a:cxn>
              <a:cxn ang="0">
                <a:pos x="csX462" y="csY462"/>
              </a:cxn>
              <a:cxn ang="0">
                <a:pos x="csX463" y="csY463"/>
              </a:cxn>
              <a:cxn ang="0">
                <a:pos x="csX464" y="csY464"/>
              </a:cxn>
              <a:cxn ang="0">
                <a:pos x="csX465" y="csY465"/>
              </a:cxn>
              <a:cxn ang="0">
                <a:pos x="csX466" y="csY466"/>
              </a:cxn>
              <a:cxn ang="0">
                <a:pos x="csX467" y="csY467"/>
              </a:cxn>
              <a:cxn ang="0">
                <a:pos x="csX468" y="csY468"/>
              </a:cxn>
              <a:cxn ang="0">
                <a:pos x="csX469" y="csY469"/>
              </a:cxn>
              <a:cxn ang="0">
                <a:pos x="csX470" y="csY470"/>
              </a:cxn>
              <a:cxn ang="0">
                <a:pos x="csX471" y="csY471"/>
              </a:cxn>
              <a:cxn ang="0">
                <a:pos x="csX472" y="csY472"/>
              </a:cxn>
              <a:cxn ang="0">
                <a:pos x="csX473" y="csY473"/>
              </a:cxn>
              <a:cxn ang="0">
                <a:pos x="csX474" y="csY474"/>
              </a:cxn>
              <a:cxn ang="0">
                <a:pos x="csX475" y="csY475"/>
              </a:cxn>
              <a:cxn ang="0">
                <a:pos x="csX476" y="csY476"/>
              </a:cxn>
              <a:cxn ang="0">
                <a:pos x="csX477" y="csY477"/>
              </a:cxn>
              <a:cxn ang="0">
                <a:pos x="csX478" y="csY478"/>
              </a:cxn>
              <a:cxn ang="0">
                <a:pos x="csX479" y="csY479"/>
              </a:cxn>
              <a:cxn ang="0">
                <a:pos x="csX480" y="csY480"/>
              </a:cxn>
              <a:cxn ang="0">
                <a:pos x="csX481" y="csY481"/>
              </a:cxn>
              <a:cxn ang="0">
                <a:pos x="csX482" y="csY482"/>
              </a:cxn>
              <a:cxn ang="0">
                <a:pos x="csX483" y="csY483"/>
              </a:cxn>
              <a:cxn ang="0">
                <a:pos x="csX484" y="csY484"/>
              </a:cxn>
              <a:cxn ang="0">
                <a:pos x="csX485" y="csY485"/>
              </a:cxn>
              <a:cxn ang="0">
                <a:pos x="csX486" y="csY486"/>
              </a:cxn>
              <a:cxn ang="0">
                <a:pos x="csX487" y="csY487"/>
              </a:cxn>
              <a:cxn ang="0">
                <a:pos x="csX488" y="csY488"/>
              </a:cxn>
              <a:cxn ang="0">
                <a:pos x="csX489" y="csY489"/>
              </a:cxn>
              <a:cxn ang="0">
                <a:pos x="csX490" y="csY490"/>
              </a:cxn>
              <a:cxn ang="0">
                <a:pos x="csX491" y="csY491"/>
              </a:cxn>
              <a:cxn ang="0">
                <a:pos x="csX492" y="csY492"/>
              </a:cxn>
              <a:cxn ang="0">
                <a:pos x="csX493" y="csY493"/>
              </a:cxn>
              <a:cxn ang="0">
                <a:pos x="csX494" y="csY494"/>
              </a:cxn>
              <a:cxn ang="0">
                <a:pos x="csX495" y="csY495"/>
              </a:cxn>
              <a:cxn ang="0">
                <a:pos x="csX496" y="csY496"/>
              </a:cxn>
              <a:cxn ang="0">
                <a:pos x="csX497" y="csY497"/>
              </a:cxn>
              <a:cxn ang="0">
                <a:pos x="csX498" y="csY498"/>
              </a:cxn>
              <a:cxn ang="0">
                <a:pos x="csX499" y="csY499"/>
              </a:cxn>
              <a:cxn ang="0">
                <a:pos x="csX500" y="csY500"/>
              </a:cxn>
              <a:cxn ang="0">
                <a:pos x="csX501" y="csY501"/>
              </a:cxn>
              <a:cxn ang="0">
                <a:pos x="csX502" y="csY502"/>
              </a:cxn>
              <a:cxn ang="0">
                <a:pos x="csX503" y="csY503"/>
              </a:cxn>
              <a:cxn ang="0">
                <a:pos x="csX504" y="csY504"/>
              </a:cxn>
              <a:cxn ang="0">
                <a:pos x="csX505" y="csY505"/>
              </a:cxn>
              <a:cxn ang="0">
                <a:pos x="csX506" y="csY506"/>
              </a:cxn>
              <a:cxn ang="0">
                <a:pos x="csX507" y="csY507"/>
              </a:cxn>
              <a:cxn ang="0">
                <a:pos x="csX508" y="csY508"/>
              </a:cxn>
              <a:cxn ang="0">
                <a:pos x="csX509" y="csY509"/>
              </a:cxn>
              <a:cxn ang="0">
                <a:pos x="csX510" y="csY510"/>
              </a:cxn>
              <a:cxn ang="0">
                <a:pos x="csX511" y="csY511"/>
              </a:cxn>
              <a:cxn ang="0">
                <a:pos x="csX512" y="csY512"/>
              </a:cxn>
              <a:cxn ang="0">
                <a:pos x="csX513" y="csY513"/>
              </a:cxn>
              <a:cxn ang="0">
                <a:pos x="csX514" y="csY514"/>
              </a:cxn>
              <a:cxn ang="0">
                <a:pos x="csX515" y="csY515"/>
              </a:cxn>
              <a:cxn ang="0">
                <a:pos x="csX516" y="csY516"/>
              </a:cxn>
              <a:cxn ang="0">
                <a:pos x="csX517" y="csY517"/>
              </a:cxn>
              <a:cxn ang="0">
                <a:pos x="csX518" y="csY518"/>
              </a:cxn>
              <a:cxn ang="0">
                <a:pos x="csX519" y="csY519"/>
              </a:cxn>
              <a:cxn ang="0">
                <a:pos x="csX520" y="csY520"/>
              </a:cxn>
              <a:cxn ang="0">
                <a:pos x="csX521" y="csY521"/>
              </a:cxn>
              <a:cxn ang="0">
                <a:pos x="csX522" y="csY522"/>
              </a:cxn>
              <a:cxn ang="0">
                <a:pos x="csX523" y="csY523"/>
              </a:cxn>
              <a:cxn ang="0">
                <a:pos x="csX524" y="csY524"/>
              </a:cxn>
              <a:cxn ang="0">
                <a:pos x="csX525" y="csY525"/>
              </a:cxn>
              <a:cxn ang="0">
                <a:pos x="csX526" y="csY526"/>
              </a:cxn>
              <a:cxn ang="0">
                <a:pos x="csX527" y="csY527"/>
              </a:cxn>
              <a:cxn ang="0">
                <a:pos x="csX528" y="csY528"/>
              </a:cxn>
              <a:cxn ang="0">
                <a:pos x="csX529" y="csY529"/>
              </a:cxn>
              <a:cxn ang="0">
                <a:pos x="csX530" y="csY530"/>
              </a:cxn>
              <a:cxn ang="0">
                <a:pos x="csX531" y="csY531"/>
              </a:cxn>
              <a:cxn ang="0">
                <a:pos x="csX532" y="csY532"/>
              </a:cxn>
              <a:cxn ang="0">
                <a:pos x="csX533" y="csY533"/>
              </a:cxn>
              <a:cxn ang="0">
                <a:pos x="csX534" y="csY534"/>
              </a:cxn>
              <a:cxn ang="0">
                <a:pos x="csX535" y="csY535"/>
              </a:cxn>
              <a:cxn ang="0">
                <a:pos x="csX536" y="csY536"/>
              </a:cxn>
              <a:cxn ang="0">
                <a:pos x="csX537" y="csY537"/>
              </a:cxn>
              <a:cxn ang="0">
                <a:pos x="csX538" y="csY538"/>
              </a:cxn>
              <a:cxn ang="0">
                <a:pos x="csX539" y="csY539"/>
              </a:cxn>
              <a:cxn ang="0">
                <a:pos x="csX540" y="csY540"/>
              </a:cxn>
              <a:cxn ang="0">
                <a:pos x="csX541" y="csY541"/>
              </a:cxn>
              <a:cxn ang="0">
                <a:pos x="csX542" y="csY542"/>
              </a:cxn>
              <a:cxn ang="0">
                <a:pos x="csX543" y="csY543"/>
              </a:cxn>
              <a:cxn ang="0">
                <a:pos x="csX544" y="csY544"/>
              </a:cxn>
              <a:cxn ang="0">
                <a:pos x="csX545" y="csY545"/>
              </a:cxn>
              <a:cxn ang="0">
                <a:pos x="csX546" y="csY546"/>
              </a:cxn>
              <a:cxn ang="0">
                <a:pos x="csX547" y="csY547"/>
              </a:cxn>
              <a:cxn ang="0">
                <a:pos x="csX548" y="csY548"/>
              </a:cxn>
              <a:cxn ang="0">
                <a:pos x="csX549" y="csY549"/>
              </a:cxn>
              <a:cxn ang="0">
                <a:pos x="csX550" y="csY550"/>
              </a:cxn>
              <a:cxn ang="0">
                <a:pos x="csX551" y="csY551"/>
              </a:cxn>
              <a:cxn ang="0">
                <a:pos x="csX552" y="csY552"/>
              </a:cxn>
              <a:cxn ang="0">
                <a:pos x="csX553" y="csY553"/>
              </a:cxn>
              <a:cxn ang="0">
                <a:pos x="csX554" y="csY554"/>
              </a:cxn>
              <a:cxn ang="0">
                <a:pos x="csX555" y="csY555"/>
              </a:cxn>
              <a:cxn ang="0">
                <a:pos x="csX556" y="csY556"/>
              </a:cxn>
              <a:cxn ang="0">
                <a:pos x="csX557" y="csY557"/>
              </a:cxn>
              <a:cxn ang="0">
                <a:pos x="csX558" y="csY558"/>
              </a:cxn>
              <a:cxn ang="0">
                <a:pos x="csX559" y="csY559"/>
              </a:cxn>
              <a:cxn ang="0">
                <a:pos x="csX560" y="csY560"/>
              </a:cxn>
              <a:cxn ang="0">
                <a:pos x="csX561" y="csY561"/>
              </a:cxn>
              <a:cxn ang="0">
                <a:pos x="csX562" y="csY562"/>
              </a:cxn>
              <a:cxn ang="0">
                <a:pos x="csX563" y="csY563"/>
              </a:cxn>
              <a:cxn ang="0">
                <a:pos x="csX564" y="csY564"/>
              </a:cxn>
              <a:cxn ang="0">
                <a:pos x="csX565" y="csY565"/>
              </a:cxn>
              <a:cxn ang="0">
                <a:pos x="csX566" y="csY566"/>
              </a:cxn>
              <a:cxn ang="0">
                <a:pos x="csX567" y="csY567"/>
              </a:cxn>
              <a:cxn ang="0">
                <a:pos x="csX568" y="csY568"/>
              </a:cxn>
              <a:cxn ang="0">
                <a:pos x="csX569" y="csY569"/>
              </a:cxn>
              <a:cxn ang="0">
                <a:pos x="csX570" y="csY570"/>
              </a:cxn>
              <a:cxn ang="0">
                <a:pos x="csX571" y="csY571"/>
              </a:cxn>
              <a:cxn ang="0">
                <a:pos x="csX572" y="csY572"/>
              </a:cxn>
              <a:cxn ang="0">
                <a:pos x="csX573" y="csY573"/>
              </a:cxn>
              <a:cxn ang="0">
                <a:pos x="csX574" y="csY574"/>
              </a:cxn>
              <a:cxn ang="0">
                <a:pos x="csX575" y="csY575"/>
              </a:cxn>
              <a:cxn ang="0">
                <a:pos x="csX576" y="csY576"/>
              </a:cxn>
              <a:cxn ang="0">
                <a:pos x="csX577" y="csY577"/>
              </a:cxn>
              <a:cxn ang="0">
                <a:pos x="csX578" y="csY578"/>
              </a:cxn>
              <a:cxn ang="0">
                <a:pos x="csX579" y="csY579"/>
              </a:cxn>
              <a:cxn ang="0">
                <a:pos x="csX580" y="csY580"/>
              </a:cxn>
              <a:cxn ang="0">
                <a:pos x="csX581" y="csY581"/>
              </a:cxn>
              <a:cxn ang="0">
                <a:pos x="csX582" y="csY582"/>
              </a:cxn>
              <a:cxn ang="0">
                <a:pos x="csX583" y="csY583"/>
              </a:cxn>
              <a:cxn ang="0">
                <a:pos x="csX584" y="csY584"/>
              </a:cxn>
              <a:cxn ang="0">
                <a:pos x="csX585" y="csY585"/>
              </a:cxn>
              <a:cxn ang="0">
                <a:pos x="csX586" y="csY586"/>
              </a:cxn>
              <a:cxn ang="0">
                <a:pos x="csX587" y="csY587"/>
              </a:cxn>
              <a:cxn ang="0">
                <a:pos x="csX588" y="csY588"/>
              </a:cxn>
              <a:cxn ang="0">
                <a:pos x="csX589" y="csY589"/>
              </a:cxn>
              <a:cxn ang="0">
                <a:pos x="csX590" y="csY590"/>
              </a:cxn>
              <a:cxn ang="0">
                <a:pos x="csX591" y="csY591"/>
              </a:cxn>
              <a:cxn ang="0">
                <a:pos x="csX592" y="csY592"/>
              </a:cxn>
              <a:cxn ang="0">
                <a:pos x="csX593" y="csY593"/>
              </a:cxn>
              <a:cxn ang="0">
                <a:pos x="csX594" y="csY594"/>
              </a:cxn>
              <a:cxn ang="0">
                <a:pos x="csX595" y="csY595"/>
              </a:cxn>
              <a:cxn ang="0">
                <a:pos x="csX596" y="csY596"/>
              </a:cxn>
              <a:cxn ang="0">
                <a:pos x="csX597" y="csY597"/>
              </a:cxn>
              <a:cxn ang="0">
                <a:pos x="csX598" y="csY598"/>
              </a:cxn>
              <a:cxn ang="0">
                <a:pos x="csX599" y="csY599"/>
              </a:cxn>
              <a:cxn ang="0">
                <a:pos x="csX600" y="csY600"/>
              </a:cxn>
              <a:cxn ang="0">
                <a:pos x="csX601" y="csY601"/>
              </a:cxn>
              <a:cxn ang="0">
                <a:pos x="csX602" y="csY602"/>
              </a:cxn>
              <a:cxn ang="0">
                <a:pos x="csX603" y="csY603"/>
              </a:cxn>
              <a:cxn ang="0">
                <a:pos x="csX604" y="csY604"/>
              </a:cxn>
              <a:cxn ang="0">
                <a:pos x="csX605" y="csY605"/>
              </a:cxn>
              <a:cxn ang="0">
                <a:pos x="csX606" y="csY606"/>
              </a:cxn>
              <a:cxn ang="0">
                <a:pos x="csX607" y="csY607"/>
              </a:cxn>
              <a:cxn ang="0">
                <a:pos x="csX608" y="csY608"/>
              </a:cxn>
              <a:cxn ang="0">
                <a:pos x="csX609" y="csY609"/>
              </a:cxn>
              <a:cxn ang="0">
                <a:pos x="csX610" y="csY610"/>
              </a:cxn>
              <a:cxn ang="0">
                <a:pos x="csX611" y="csY611"/>
              </a:cxn>
              <a:cxn ang="0">
                <a:pos x="csX612" y="csY612"/>
              </a:cxn>
              <a:cxn ang="0">
                <a:pos x="csX613" y="csY613"/>
              </a:cxn>
              <a:cxn ang="0">
                <a:pos x="csX614" y="csY614"/>
              </a:cxn>
              <a:cxn ang="0">
                <a:pos x="csX615" y="csY615"/>
              </a:cxn>
              <a:cxn ang="0">
                <a:pos x="csX616" y="csY616"/>
              </a:cxn>
              <a:cxn ang="0">
                <a:pos x="csX617" y="csY617"/>
              </a:cxn>
              <a:cxn ang="0">
                <a:pos x="csX618" y="csY618"/>
              </a:cxn>
              <a:cxn ang="0">
                <a:pos x="csX619" y="csY619"/>
              </a:cxn>
              <a:cxn ang="0">
                <a:pos x="csX620" y="csY620"/>
              </a:cxn>
              <a:cxn ang="0">
                <a:pos x="csX621" y="csY621"/>
              </a:cxn>
              <a:cxn ang="0">
                <a:pos x="csX622" y="csY622"/>
              </a:cxn>
              <a:cxn ang="0">
                <a:pos x="csX623" y="csY623"/>
              </a:cxn>
              <a:cxn ang="0">
                <a:pos x="csX624" y="csY624"/>
              </a:cxn>
              <a:cxn ang="0">
                <a:pos x="csX625" y="csY625"/>
              </a:cxn>
              <a:cxn ang="0">
                <a:pos x="csX626" y="csY626"/>
              </a:cxn>
              <a:cxn ang="0">
                <a:pos x="csX627" y="csY627"/>
              </a:cxn>
              <a:cxn ang="0">
                <a:pos x="csX628" y="csY628"/>
              </a:cxn>
              <a:cxn ang="0">
                <a:pos x="csX629" y="csY629"/>
              </a:cxn>
              <a:cxn ang="0">
                <a:pos x="csX630" y="csY630"/>
              </a:cxn>
              <a:cxn ang="0">
                <a:pos x="csX631" y="csY631"/>
              </a:cxn>
              <a:cxn ang="0">
                <a:pos x="csX632" y="csY632"/>
              </a:cxn>
              <a:cxn ang="0">
                <a:pos x="csX633" y="csY633"/>
              </a:cxn>
              <a:cxn ang="0">
                <a:pos x="csX634" y="csY634"/>
              </a:cxn>
              <a:cxn ang="0">
                <a:pos x="csX635" y="csY635"/>
              </a:cxn>
              <a:cxn ang="0">
                <a:pos x="csX636" y="csY636"/>
              </a:cxn>
              <a:cxn ang="0">
                <a:pos x="csX637" y="csY637"/>
              </a:cxn>
              <a:cxn ang="0">
                <a:pos x="csX638" y="csY638"/>
              </a:cxn>
              <a:cxn ang="0">
                <a:pos x="csX639" y="csY639"/>
              </a:cxn>
              <a:cxn ang="0">
                <a:pos x="csX640" y="csY640"/>
              </a:cxn>
              <a:cxn ang="0">
                <a:pos x="csX641" y="csY641"/>
              </a:cxn>
              <a:cxn ang="0">
                <a:pos x="csX642" y="csY642"/>
              </a:cxn>
              <a:cxn ang="0">
                <a:pos x="csX643" y="csY643"/>
              </a:cxn>
              <a:cxn ang="0">
                <a:pos x="csX644" y="csY644"/>
              </a:cxn>
              <a:cxn ang="0">
                <a:pos x="csX645" y="csY645"/>
              </a:cxn>
              <a:cxn ang="0">
                <a:pos x="csX646" y="csY646"/>
              </a:cxn>
              <a:cxn ang="0">
                <a:pos x="csX647" y="csY647"/>
              </a:cxn>
              <a:cxn ang="0">
                <a:pos x="csX648" y="csY648"/>
              </a:cxn>
              <a:cxn ang="0">
                <a:pos x="csX649" y="csY649"/>
              </a:cxn>
              <a:cxn ang="0">
                <a:pos x="csX650" y="csY650"/>
              </a:cxn>
              <a:cxn ang="0">
                <a:pos x="csX651" y="csY651"/>
              </a:cxn>
              <a:cxn ang="0">
                <a:pos x="csX652" y="csY652"/>
              </a:cxn>
              <a:cxn ang="0">
                <a:pos x="csX653" y="csY653"/>
              </a:cxn>
              <a:cxn ang="0">
                <a:pos x="csX654" y="csY654"/>
              </a:cxn>
              <a:cxn ang="0">
                <a:pos x="csX655" y="csY655"/>
              </a:cxn>
              <a:cxn ang="0">
                <a:pos x="csX656" y="csY656"/>
              </a:cxn>
              <a:cxn ang="0">
                <a:pos x="csX657" y="csY657"/>
              </a:cxn>
              <a:cxn ang="0">
                <a:pos x="csX658" y="csY658"/>
              </a:cxn>
              <a:cxn ang="0">
                <a:pos x="csX659" y="csY659"/>
              </a:cxn>
              <a:cxn ang="0">
                <a:pos x="csX660" y="csY660"/>
              </a:cxn>
              <a:cxn ang="0">
                <a:pos x="csX661" y="csY661"/>
              </a:cxn>
              <a:cxn ang="0">
                <a:pos x="csX662" y="csY662"/>
              </a:cxn>
              <a:cxn ang="0">
                <a:pos x="csX663" y="csY663"/>
              </a:cxn>
              <a:cxn ang="0">
                <a:pos x="csX664" y="csY664"/>
              </a:cxn>
              <a:cxn ang="0">
                <a:pos x="csX665" y="csY665"/>
              </a:cxn>
              <a:cxn ang="0">
                <a:pos x="csX666" y="csY666"/>
              </a:cxn>
              <a:cxn ang="0">
                <a:pos x="csX667" y="csY667"/>
              </a:cxn>
              <a:cxn ang="0">
                <a:pos x="csX668" y="csY668"/>
              </a:cxn>
              <a:cxn ang="0">
                <a:pos x="csX669" y="csY669"/>
              </a:cxn>
              <a:cxn ang="0">
                <a:pos x="csX670" y="csY670"/>
              </a:cxn>
              <a:cxn ang="0">
                <a:pos x="csX671" y="csY671"/>
              </a:cxn>
              <a:cxn ang="0">
                <a:pos x="csX672" y="csY672"/>
              </a:cxn>
              <a:cxn ang="0">
                <a:pos x="csX673" y="csY673"/>
              </a:cxn>
              <a:cxn ang="0">
                <a:pos x="csX674" y="csY674"/>
              </a:cxn>
              <a:cxn ang="0">
                <a:pos x="csX675" y="csY675"/>
              </a:cxn>
              <a:cxn ang="0">
                <a:pos x="csX676" y="csY676"/>
              </a:cxn>
              <a:cxn ang="0">
                <a:pos x="csX677" y="csY677"/>
              </a:cxn>
              <a:cxn ang="0">
                <a:pos x="csX678" y="csY678"/>
              </a:cxn>
              <a:cxn ang="0">
                <a:pos x="csX679" y="csY679"/>
              </a:cxn>
              <a:cxn ang="0">
                <a:pos x="csX680" y="csY680"/>
              </a:cxn>
              <a:cxn ang="0">
                <a:pos x="csX681" y="csY681"/>
              </a:cxn>
              <a:cxn ang="0">
                <a:pos x="csX682" y="csY682"/>
              </a:cxn>
              <a:cxn ang="0">
                <a:pos x="csX683" y="csY683"/>
              </a:cxn>
              <a:cxn ang="0">
                <a:pos x="csX684" y="csY684"/>
              </a:cxn>
              <a:cxn ang="0">
                <a:pos x="csX685" y="csY685"/>
              </a:cxn>
              <a:cxn ang="0">
                <a:pos x="csX686" y="csY686"/>
              </a:cxn>
              <a:cxn ang="0">
                <a:pos x="csX687" y="csY687"/>
              </a:cxn>
              <a:cxn ang="0">
                <a:pos x="csX688" y="csY688"/>
              </a:cxn>
              <a:cxn ang="0">
                <a:pos x="csX689" y="csY689"/>
              </a:cxn>
              <a:cxn ang="0">
                <a:pos x="csX690" y="csY690"/>
              </a:cxn>
              <a:cxn ang="0">
                <a:pos x="csX691" y="csY691"/>
              </a:cxn>
              <a:cxn ang="0">
                <a:pos x="csX692" y="csY692"/>
              </a:cxn>
              <a:cxn ang="0">
                <a:pos x="csX693" y="csY693"/>
              </a:cxn>
              <a:cxn ang="0">
                <a:pos x="csX694" y="csY694"/>
              </a:cxn>
              <a:cxn ang="0">
                <a:pos x="csX695" y="csY695"/>
              </a:cxn>
              <a:cxn ang="0">
                <a:pos x="csX696" y="csY696"/>
              </a:cxn>
              <a:cxn ang="0">
                <a:pos x="csX697" y="csY697"/>
              </a:cxn>
              <a:cxn ang="0">
                <a:pos x="csX698" y="csY698"/>
              </a:cxn>
              <a:cxn ang="0">
                <a:pos x="csX699" y="csY699"/>
              </a:cxn>
              <a:cxn ang="0">
                <a:pos x="csX700" y="csY700"/>
              </a:cxn>
              <a:cxn ang="0">
                <a:pos x="csX701" y="csY701"/>
              </a:cxn>
              <a:cxn ang="0">
                <a:pos x="csX702" y="csY702"/>
              </a:cxn>
              <a:cxn ang="0">
                <a:pos x="csX703" y="csY703"/>
              </a:cxn>
              <a:cxn ang="0">
                <a:pos x="csX704" y="csY704"/>
              </a:cxn>
              <a:cxn ang="0">
                <a:pos x="csX705" y="csY705"/>
              </a:cxn>
              <a:cxn ang="0">
                <a:pos x="csX706" y="csY706"/>
              </a:cxn>
              <a:cxn ang="0">
                <a:pos x="csX707" y="csY707"/>
              </a:cxn>
              <a:cxn ang="0">
                <a:pos x="csX708" y="csY708"/>
              </a:cxn>
              <a:cxn ang="0">
                <a:pos x="csX709" y="csY709"/>
              </a:cxn>
              <a:cxn ang="0">
                <a:pos x="csX710" y="csY710"/>
              </a:cxn>
              <a:cxn ang="0">
                <a:pos x="csX711" y="csY711"/>
              </a:cxn>
              <a:cxn ang="0">
                <a:pos x="csX712" y="csY712"/>
              </a:cxn>
              <a:cxn ang="0">
                <a:pos x="csX713" y="csY713"/>
              </a:cxn>
              <a:cxn ang="0">
                <a:pos x="csX714" y="csY714"/>
              </a:cxn>
              <a:cxn ang="0">
                <a:pos x="csX715" y="csY715"/>
              </a:cxn>
              <a:cxn ang="0">
                <a:pos x="csX716" y="csY716"/>
              </a:cxn>
              <a:cxn ang="0">
                <a:pos x="csX717" y="csY717"/>
              </a:cxn>
              <a:cxn ang="0">
                <a:pos x="csX718" y="csY718"/>
              </a:cxn>
              <a:cxn ang="0">
                <a:pos x="csX719" y="csY719"/>
              </a:cxn>
              <a:cxn ang="0">
                <a:pos x="csX720" y="csY720"/>
              </a:cxn>
              <a:cxn ang="0">
                <a:pos x="csX721" y="csY721"/>
              </a:cxn>
              <a:cxn ang="0">
                <a:pos x="csX722" y="csY722"/>
              </a:cxn>
              <a:cxn ang="0">
                <a:pos x="csX723" y="csY723"/>
              </a:cxn>
              <a:cxn ang="0">
                <a:pos x="csX724" y="csY724"/>
              </a:cxn>
              <a:cxn ang="0">
                <a:pos x="csX725" y="csY725"/>
              </a:cxn>
              <a:cxn ang="0">
                <a:pos x="csX726" y="csY726"/>
              </a:cxn>
              <a:cxn ang="0">
                <a:pos x="csX727" y="csY727"/>
              </a:cxn>
              <a:cxn ang="0">
                <a:pos x="csX728" y="csY728"/>
              </a:cxn>
              <a:cxn ang="0">
                <a:pos x="csX729" y="csY729"/>
              </a:cxn>
              <a:cxn ang="0">
                <a:pos x="csX730" y="csY730"/>
              </a:cxn>
              <a:cxn ang="0">
                <a:pos x="csX731" y="csY731"/>
              </a:cxn>
              <a:cxn ang="0">
                <a:pos x="csX732" y="csY732"/>
              </a:cxn>
              <a:cxn ang="0">
                <a:pos x="csX733" y="csY733"/>
              </a:cxn>
              <a:cxn ang="0">
                <a:pos x="csX734" y="csY734"/>
              </a:cxn>
              <a:cxn ang="0">
                <a:pos x="csX735" y="csY735"/>
              </a:cxn>
              <a:cxn ang="0">
                <a:pos x="csX736" y="csY736"/>
              </a:cxn>
              <a:cxn ang="0">
                <a:pos x="csX737" y="csY737"/>
              </a:cxn>
              <a:cxn ang="0">
                <a:pos x="csX738" y="csY738"/>
              </a:cxn>
              <a:cxn ang="0">
                <a:pos x="csX739" y="csY739"/>
              </a:cxn>
              <a:cxn ang="0">
                <a:pos x="csX740" y="csY740"/>
              </a:cxn>
              <a:cxn ang="0">
                <a:pos x="csX741" y="csY741"/>
              </a:cxn>
              <a:cxn ang="0">
                <a:pos x="csX742" y="csY742"/>
              </a:cxn>
              <a:cxn ang="0">
                <a:pos x="csX743" y="csY743"/>
              </a:cxn>
              <a:cxn ang="0">
                <a:pos x="csX744" y="csY744"/>
              </a:cxn>
              <a:cxn ang="0">
                <a:pos x="csX745" y="csY745"/>
              </a:cxn>
              <a:cxn ang="0">
                <a:pos x="csX746" y="csY746"/>
              </a:cxn>
              <a:cxn ang="0">
                <a:pos x="csX747" y="csY747"/>
              </a:cxn>
              <a:cxn ang="0">
                <a:pos x="csX748" y="csY748"/>
              </a:cxn>
              <a:cxn ang="0">
                <a:pos x="csX749" y="csY749"/>
              </a:cxn>
              <a:cxn ang="0">
                <a:pos x="csX750" y="csY750"/>
              </a:cxn>
              <a:cxn ang="0">
                <a:pos x="csX751" y="csY751"/>
              </a:cxn>
              <a:cxn ang="0">
                <a:pos x="csX752" y="csY752"/>
              </a:cxn>
              <a:cxn ang="0">
                <a:pos x="csX753" y="csY753"/>
              </a:cxn>
              <a:cxn ang="0">
                <a:pos x="csX754" y="csY754"/>
              </a:cxn>
              <a:cxn ang="0">
                <a:pos x="csX755" y="csY755"/>
              </a:cxn>
              <a:cxn ang="0">
                <a:pos x="csX756" y="csY756"/>
              </a:cxn>
              <a:cxn ang="0">
                <a:pos x="csX757" y="csY757"/>
              </a:cxn>
              <a:cxn ang="0">
                <a:pos x="csX758" y="csY758"/>
              </a:cxn>
              <a:cxn ang="0">
                <a:pos x="csX759" y="csY759"/>
              </a:cxn>
              <a:cxn ang="0">
                <a:pos x="csX760" y="csY760"/>
              </a:cxn>
              <a:cxn ang="0">
                <a:pos x="csX761" y="csY761"/>
              </a:cxn>
              <a:cxn ang="0">
                <a:pos x="csX762" y="csY762"/>
              </a:cxn>
              <a:cxn ang="0">
                <a:pos x="csX763" y="csY763"/>
              </a:cxn>
              <a:cxn ang="0">
                <a:pos x="csX764" y="csY764"/>
              </a:cxn>
              <a:cxn ang="0">
                <a:pos x="csX765" y="csY765"/>
              </a:cxn>
              <a:cxn ang="0">
                <a:pos x="csX766" y="csY766"/>
              </a:cxn>
              <a:cxn ang="0">
                <a:pos x="csX767" y="csY767"/>
              </a:cxn>
              <a:cxn ang="0">
                <a:pos x="csX768" y="csY768"/>
              </a:cxn>
              <a:cxn ang="0">
                <a:pos x="csX769" y="csY769"/>
              </a:cxn>
              <a:cxn ang="0">
                <a:pos x="csX770" y="csY770"/>
              </a:cxn>
              <a:cxn ang="0">
                <a:pos x="csX771" y="csY771"/>
              </a:cxn>
              <a:cxn ang="0">
                <a:pos x="csX772" y="csY772"/>
              </a:cxn>
              <a:cxn ang="0">
                <a:pos x="csX773" y="csY773"/>
              </a:cxn>
              <a:cxn ang="0">
                <a:pos x="csX774" y="csY774"/>
              </a:cxn>
              <a:cxn ang="0">
                <a:pos x="csX775" y="csY775"/>
              </a:cxn>
              <a:cxn ang="0">
                <a:pos x="csX776" y="csY776"/>
              </a:cxn>
              <a:cxn ang="0">
                <a:pos x="csX777" y="csY777"/>
              </a:cxn>
              <a:cxn ang="0">
                <a:pos x="csX778" y="csY778"/>
              </a:cxn>
              <a:cxn ang="0">
                <a:pos x="csX779" y="csY779"/>
              </a:cxn>
              <a:cxn ang="0">
                <a:pos x="csX780" y="csY780"/>
              </a:cxn>
              <a:cxn ang="0">
                <a:pos x="csX781" y="csY781"/>
              </a:cxn>
              <a:cxn ang="0">
                <a:pos x="csX782" y="csY782"/>
              </a:cxn>
              <a:cxn ang="0">
                <a:pos x="csX783" y="csY783"/>
              </a:cxn>
              <a:cxn ang="0">
                <a:pos x="csX784" y="csY784"/>
              </a:cxn>
              <a:cxn ang="0">
                <a:pos x="csX785" y="csY785"/>
              </a:cxn>
              <a:cxn ang="0">
                <a:pos x="csX786" y="csY786"/>
              </a:cxn>
              <a:cxn ang="0">
                <a:pos x="csX787" y="csY787"/>
              </a:cxn>
              <a:cxn ang="0">
                <a:pos x="csX788" y="csY788"/>
              </a:cxn>
              <a:cxn ang="0">
                <a:pos x="csX789" y="csY789"/>
              </a:cxn>
              <a:cxn ang="0">
                <a:pos x="csX790" y="csY790"/>
              </a:cxn>
              <a:cxn ang="0">
                <a:pos x="csX791" y="csY791"/>
              </a:cxn>
              <a:cxn ang="0">
                <a:pos x="csX792" y="csY792"/>
              </a:cxn>
              <a:cxn ang="0">
                <a:pos x="csX793" y="csY793"/>
              </a:cxn>
              <a:cxn ang="0">
                <a:pos x="csX794" y="csY794"/>
              </a:cxn>
              <a:cxn ang="0">
                <a:pos x="csX795" y="csY795"/>
              </a:cxn>
              <a:cxn ang="0">
                <a:pos x="csX796" y="csY796"/>
              </a:cxn>
              <a:cxn ang="0">
                <a:pos x="csX797" y="csY797"/>
              </a:cxn>
              <a:cxn ang="0">
                <a:pos x="csX798" y="csY798"/>
              </a:cxn>
              <a:cxn ang="0">
                <a:pos x="csX799" y="csY799"/>
              </a:cxn>
              <a:cxn ang="0">
                <a:pos x="csX800" y="csY800"/>
              </a:cxn>
              <a:cxn ang="0">
                <a:pos x="csX801" y="csY801"/>
              </a:cxn>
              <a:cxn ang="0">
                <a:pos x="csX802" y="csY802"/>
              </a:cxn>
              <a:cxn ang="0">
                <a:pos x="csX803" y="csY803"/>
              </a:cxn>
              <a:cxn ang="0">
                <a:pos x="csX804" y="csY804"/>
              </a:cxn>
              <a:cxn ang="0">
                <a:pos x="csX805" y="csY805"/>
              </a:cxn>
              <a:cxn ang="0">
                <a:pos x="csX806" y="csY806"/>
              </a:cxn>
              <a:cxn ang="0">
                <a:pos x="csX807" y="csY807"/>
              </a:cxn>
              <a:cxn ang="0">
                <a:pos x="csX808" y="csY808"/>
              </a:cxn>
              <a:cxn ang="0">
                <a:pos x="csX809" y="csY809"/>
              </a:cxn>
              <a:cxn ang="0">
                <a:pos x="csX810" y="csY810"/>
              </a:cxn>
              <a:cxn ang="0">
                <a:pos x="csX811" y="csY811"/>
              </a:cxn>
              <a:cxn ang="0">
                <a:pos x="csX812" y="csY812"/>
              </a:cxn>
              <a:cxn ang="0">
                <a:pos x="csX813" y="csY813"/>
              </a:cxn>
              <a:cxn ang="0">
                <a:pos x="csX814" y="csY814"/>
              </a:cxn>
              <a:cxn ang="0">
                <a:pos x="csX815" y="csY815"/>
              </a:cxn>
              <a:cxn ang="0">
                <a:pos x="csX816" y="csY816"/>
              </a:cxn>
              <a:cxn ang="0">
                <a:pos x="csX817" y="csY817"/>
              </a:cxn>
              <a:cxn ang="0">
                <a:pos x="csX818" y="csY818"/>
              </a:cxn>
              <a:cxn ang="0">
                <a:pos x="csX819" y="csY819"/>
              </a:cxn>
              <a:cxn ang="0">
                <a:pos x="csX820" y="csY820"/>
              </a:cxn>
              <a:cxn ang="0">
                <a:pos x="csX821" y="csY821"/>
              </a:cxn>
              <a:cxn ang="0">
                <a:pos x="csX822" y="csY822"/>
              </a:cxn>
              <a:cxn ang="0">
                <a:pos x="csX823" y="csY823"/>
              </a:cxn>
              <a:cxn ang="0">
                <a:pos x="csX824" y="csY824"/>
              </a:cxn>
              <a:cxn ang="0">
                <a:pos x="csX825" y="csY825"/>
              </a:cxn>
              <a:cxn ang="0">
                <a:pos x="csX826" y="csY826"/>
              </a:cxn>
              <a:cxn ang="0">
                <a:pos x="csX827" y="csY827"/>
              </a:cxn>
              <a:cxn ang="0">
                <a:pos x="csX828" y="csY828"/>
              </a:cxn>
              <a:cxn ang="0">
                <a:pos x="csX829" y="csY829"/>
              </a:cxn>
              <a:cxn ang="0">
                <a:pos x="csX830" y="csY830"/>
              </a:cxn>
              <a:cxn ang="0">
                <a:pos x="csX831" y="csY831"/>
              </a:cxn>
              <a:cxn ang="0">
                <a:pos x="csX832" y="csY832"/>
              </a:cxn>
              <a:cxn ang="0">
                <a:pos x="csX833" y="csY833"/>
              </a:cxn>
              <a:cxn ang="0">
                <a:pos x="csX834" y="csY834"/>
              </a:cxn>
              <a:cxn ang="0">
                <a:pos x="csX835" y="csY835"/>
              </a:cxn>
              <a:cxn ang="0">
                <a:pos x="csX836" y="csY836"/>
              </a:cxn>
              <a:cxn ang="0">
                <a:pos x="csX837" y="csY837"/>
              </a:cxn>
              <a:cxn ang="0">
                <a:pos x="csX838" y="csY838"/>
              </a:cxn>
              <a:cxn ang="0">
                <a:pos x="csX839" y="csY839"/>
              </a:cxn>
              <a:cxn ang="0">
                <a:pos x="csX840" y="csY840"/>
              </a:cxn>
              <a:cxn ang="0">
                <a:pos x="csX841" y="csY841"/>
              </a:cxn>
              <a:cxn ang="0">
                <a:pos x="csX842" y="csY842"/>
              </a:cxn>
              <a:cxn ang="0">
                <a:pos x="csX843" y="csY843"/>
              </a:cxn>
              <a:cxn ang="0">
                <a:pos x="csX844" y="csY844"/>
              </a:cxn>
              <a:cxn ang="0">
                <a:pos x="csX845" y="csY845"/>
              </a:cxn>
              <a:cxn ang="0">
                <a:pos x="csX846" y="csY846"/>
              </a:cxn>
              <a:cxn ang="0">
                <a:pos x="csX847" y="csY847"/>
              </a:cxn>
              <a:cxn ang="0">
                <a:pos x="csX848" y="csY848"/>
              </a:cxn>
              <a:cxn ang="0">
                <a:pos x="csX849" y="csY849"/>
              </a:cxn>
              <a:cxn ang="0">
                <a:pos x="csX850" y="csY850"/>
              </a:cxn>
              <a:cxn ang="0">
                <a:pos x="csX851" y="csY851"/>
              </a:cxn>
              <a:cxn ang="0">
                <a:pos x="csX852" y="csY852"/>
              </a:cxn>
              <a:cxn ang="0">
                <a:pos x="csX853" y="csY853"/>
              </a:cxn>
              <a:cxn ang="0">
                <a:pos x="csX854" y="csY854"/>
              </a:cxn>
              <a:cxn ang="0">
                <a:pos x="csX855" y="csY855"/>
              </a:cxn>
              <a:cxn ang="0">
                <a:pos x="csX856" y="csY856"/>
              </a:cxn>
              <a:cxn ang="0">
                <a:pos x="csX857" y="csY857"/>
              </a:cxn>
              <a:cxn ang="0">
                <a:pos x="csX858" y="csY858"/>
              </a:cxn>
              <a:cxn ang="0">
                <a:pos x="csX859" y="csY859"/>
              </a:cxn>
              <a:cxn ang="0">
                <a:pos x="csX860" y="csY860"/>
              </a:cxn>
              <a:cxn ang="0">
                <a:pos x="csX861" y="csY861"/>
              </a:cxn>
              <a:cxn ang="0">
                <a:pos x="csX862" y="csY862"/>
              </a:cxn>
              <a:cxn ang="0">
                <a:pos x="csX863" y="csY863"/>
              </a:cxn>
              <a:cxn ang="0">
                <a:pos x="csX864" y="csY864"/>
              </a:cxn>
              <a:cxn ang="0">
                <a:pos x="csX865" y="csY865"/>
              </a:cxn>
              <a:cxn ang="0">
                <a:pos x="csX866" y="csY866"/>
              </a:cxn>
              <a:cxn ang="0">
                <a:pos x="csX867" y="csY867"/>
              </a:cxn>
              <a:cxn ang="0">
                <a:pos x="csX868" y="csY868"/>
              </a:cxn>
              <a:cxn ang="0">
                <a:pos x="csX869" y="csY869"/>
              </a:cxn>
              <a:cxn ang="0">
                <a:pos x="csX870" y="csY870"/>
              </a:cxn>
              <a:cxn ang="0">
                <a:pos x="csX871" y="csY871"/>
              </a:cxn>
              <a:cxn ang="0">
                <a:pos x="csX872" y="csY872"/>
              </a:cxn>
              <a:cxn ang="0">
                <a:pos x="csX873" y="csY873"/>
              </a:cxn>
              <a:cxn ang="0">
                <a:pos x="csX874" y="csY874"/>
              </a:cxn>
              <a:cxn ang="0">
                <a:pos x="csX875" y="csY875"/>
              </a:cxn>
              <a:cxn ang="0">
                <a:pos x="csX876" y="csY876"/>
              </a:cxn>
              <a:cxn ang="0">
                <a:pos x="csX877" y="csY877"/>
              </a:cxn>
              <a:cxn ang="0">
                <a:pos x="csX878" y="csY878"/>
              </a:cxn>
              <a:cxn ang="0">
                <a:pos x="csX879" y="csY879"/>
              </a:cxn>
              <a:cxn ang="0">
                <a:pos x="csX880" y="csY880"/>
              </a:cxn>
              <a:cxn ang="0">
                <a:pos x="csX881" y="csY881"/>
              </a:cxn>
              <a:cxn ang="0">
                <a:pos x="csX882" y="csY882"/>
              </a:cxn>
              <a:cxn ang="0">
                <a:pos x="csX883" y="csY883"/>
              </a:cxn>
              <a:cxn ang="0">
                <a:pos x="csX884" y="csY884"/>
              </a:cxn>
              <a:cxn ang="0">
                <a:pos x="csX885" y="csY885"/>
              </a:cxn>
              <a:cxn ang="0">
                <a:pos x="csX886" y="csY886"/>
              </a:cxn>
              <a:cxn ang="0">
                <a:pos x="csX887" y="csY887"/>
              </a:cxn>
              <a:cxn ang="0">
                <a:pos x="csX888" y="csY888"/>
              </a:cxn>
              <a:cxn ang="0">
                <a:pos x="csX889" y="csY889"/>
              </a:cxn>
              <a:cxn ang="0">
                <a:pos x="csX890" y="csY890"/>
              </a:cxn>
              <a:cxn ang="0">
                <a:pos x="csX891" y="csY891"/>
              </a:cxn>
              <a:cxn ang="0">
                <a:pos x="csX892" y="csY892"/>
              </a:cxn>
              <a:cxn ang="0">
                <a:pos x="csX893" y="csY893"/>
              </a:cxn>
              <a:cxn ang="0">
                <a:pos x="csX894" y="csY894"/>
              </a:cxn>
              <a:cxn ang="0">
                <a:pos x="csX895" y="csY895"/>
              </a:cxn>
              <a:cxn ang="0">
                <a:pos x="csX896" y="csY896"/>
              </a:cxn>
              <a:cxn ang="0">
                <a:pos x="csX897" y="csY897"/>
              </a:cxn>
              <a:cxn ang="0">
                <a:pos x="csX898" y="csY898"/>
              </a:cxn>
              <a:cxn ang="0">
                <a:pos x="csX899" y="csY899"/>
              </a:cxn>
              <a:cxn ang="0">
                <a:pos x="csX900" y="csY900"/>
              </a:cxn>
              <a:cxn ang="0">
                <a:pos x="csX901" y="csY901"/>
              </a:cxn>
              <a:cxn ang="0">
                <a:pos x="csX902" y="csY902"/>
              </a:cxn>
              <a:cxn ang="0">
                <a:pos x="csX903" y="csY903"/>
              </a:cxn>
              <a:cxn ang="0">
                <a:pos x="csX904" y="csY904"/>
              </a:cxn>
              <a:cxn ang="0">
                <a:pos x="csX905" y="csY905"/>
              </a:cxn>
              <a:cxn ang="0">
                <a:pos x="csX906" y="csY906"/>
              </a:cxn>
              <a:cxn ang="0">
                <a:pos x="csX907" y="csY907"/>
              </a:cxn>
              <a:cxn ang="0">
                <a:pos x="csX908" y="csY908"/>
              </a:cxn>
              <a:cxn ang="0">
                <a:pos x="csX909" y="csY909"/>
              </a:cxn>
              <a:cxn ang="0">
                <a:pos x="csX910" y="csY910"/>
              </a:cxn>
              <a:cxn ang="0">
                <a:pos x="csX911" y="csY911"/>
              </a:cxn>
              <a:cxn ang="0">
                <a:pos x="csX912" y="csY912"/>
              </a:cxn>
              <a:cxn ang="0">
                <a:pos x="csX913" y="csY913"/>
              </a:cxn>
              <a:cxn ang="0">
                <a:pos x="csX914" y="csY914"/>
              </a:cxn>
              <a:cxn ang="0">
                <a:pos x="csX915" y="csY915"/>
              </a:cxn>
              <a:cxn ang="0">
                <a:pos x="csX916" y="csY916"/>
              </a:cxn>
              <a:cxn ang="0">
                <a:pos x="csX917" y="csY917"/>
              </a:cxn>
              <a:cxn ang="0">
                <a:pos x="csX918" y="csY918"/>
              </a:cxn>
              <a:cxn ang="0">
                <a:pos x="csX919" y="csY919"/>
              </a:cxn>
              <a:cxn ang="0">
                <a:pos x="csX920" y="csY920"/>
              </a:cxn>
              <a:cxn ang="0">
                <a:pos x="csX921" y="csY921"/>
              </a:cxn>
              <a:cxn ang="0">
                <a:pos x="csX922" y="csY922"/>
              </a:cxn>
              <a:cxn ang="0">
                <a:pos x="csX923" y="csY923"/>
              </a:cxn>
              <a:cxn ang="0">
                <a:pos x="csX924" y="csY924"/>
              </a:cxn>
              <a:cxn ang="0">
                <a:pos x="csX925" y="csY925"/>
              </a:cxn>
              <a:cxn ang="0">
                <a:pos x="csX926" y="csY926"/>
              </a:cxn>
              <a:cxn ang="0">
                <a:pos x="csX927" y="csY927"/>
              </a:cxn>
              <a:cxn ang="0">
                <a:pos x="csX928" y="csY928"/>
              </a:cxn>
              <a:cxn ang="0">
                <a:pos x="csX929" y="csY929"/>
              </a:cxn>
              <a:cxn ang="0">
                <a:pos x="csX930" y="csY930"/>
              </a:cxn>
              <a:cxn ang="0">
                <a:pos x="csX931" y="csY931"/>
              </a:cxn>
              <a:cxn ang="0">
                <a:pos x="csX932" y="csY932"/>
              </a:cxn>
              <a:cxn ang="0">
                <a:pos x="csX933" y="csY933"/>
              </a:cxn>
              <a:cxn ang="0">
                <a:pos x="csX934" y="csY934"/>
              </a:cxn>
              <a:cxn ang="0">
                <a:pos x="csX935" y="csY935"/>
              </a:cxn>
              <a:cxn ang="0">
                <a:pos x="csX936" y="csY936"/>
              </a:cxn>
              <a:cxn ang="0">
                <a:pos x="csX937" y="csY937"/>
              </a:cxn>
              <a:cxn ang="0">
                <a:pos x="csX938" y="csY938"/>
              </a:cxn>
              <a:cxn ang="0">
                <a:pos x="csX939" y="csY939"/>
              </a:cxn>
              <a:cxn ang="0">
                <a:pos x="csX940" y="csY940"/>
              </a:cxn>
              <a:cxn ang="0">
                <a:pos x="csX941" y="csY941"/>
              </a:cxn>
              <a:cxn ang="0">
                <a:pos x="csX942" y="csY942"/>
              </a:cxn>
              <a:cxn ang="0">
                <a:pos x="csX943" y="csY943"/>
              </a:cxn>
              <a:cxn ang="0">
                <a:pos x="csX944" y="csY944"/>
              </a:cxn>
              <a:cxn ang="0">
                <a:pos x="csX945" y="csY945"/>
              </a:cxn>
              <a:cxn ang="0">
                <a:pos x="csX946" y="csY946"/>
              </a:cxn>
              <a:cxn ang="0">
                <a:pos x="csX947" y="csY947"/>
              </a:cxn>
              <a:cxn ang="0">
                <a:pos x="csX948" y="csY948"/>
              </a:cxn>
              <a:cxn ang="0">
                <a:pos x="csX949" y="csY949"/>
              </a:cxn>
              <a:cxn ang="0">
                <a:pos x="csX950" y="csY950"/>
              </a:cxn>
              <a:cxn ang="0">
                <a:pos x="csX951" y="csY951"/>
              </a:cxn>
              <a:cxn ang="0">
                <a:pos x="csX952" y="csY952"/>
              </a:cxn>
              <a:cxn ang="0">
                <a:pos x="csX953" y="csY953"/>
              </a:cxn>
              <a:cxn ang="0">
                <a:pos x="csX954" y="csY954"/>
              </a:cxn>
              <a:cxn ang="0">
                <a:pos x="csX955" y="csY955"/>
              </a:cxn>
              <a:cxn ang="0">
                <a:pos x="csX956" y="csY956"/>
              </a:cxn>
              <a:cxn ang="0">
                <a:pos x="csX957" y="csY957"/>
              </a:cxn>
              <a:cxn ang="0">
                <a:pos x="csX958" y="csY958"/>
              </a:cxn>
              <a:cxn ang="0">
                <a:pos x="csX959" y="csY959"/>
              </a:cxn>
              <a:cxn ang="0">
                <a:pos x="csX960" y="csY960"/>
              </a:cxn>
              <a:cxn ang="0">
                <a:pos x="csX961" y="csY961"/>
              </a:cxn>
              <a:cxn ang="0">
                <a:pos x="csX962" y="csY962"/>
              </a:cxn>
              <a:cxn ang="0">
                <a:pos x="csX963" y="csY963"/>
              </a:cxn>
              <a:cxn ang="0">
                <a:pos x="csX964" y="csY964"/>
              </a:cxn>
              <a:cxn ang="0">
                <a:pos x="csX965" y="csY965"/>
              </a:cxn>
              <a:cxn ang="0">
                <a:pos x="csX966" y="csY966"/>
              </a:cxn>
              <a:cxn ang="0">
                <a:pos x="csX967" y="csY967"/>
              </a:cxn>
              <a:cxn ang="0">
                <a:pos x="csX968" y="csY968"/>
              </a:cxn>
              <a:cxn ang="0">
                <a:pos x="csX969" y="csY969"/>
              </a:cxn>
              <a:cxn ang="0">
                <a:pos x="csX970" y="csY970"/>
              </a:cxn>
              <a:cxn ang="0">
                <a:pos x="csX971" y="csY971"/>
              </a:cxn>
              <a:cxn ang="0">
                <a:pos x="csX972" y="csY972"/>
              </a:cxn>
              <a:cxn ang="0">
                <a:pos x="csX973" y="csY973"/>
              </a:cxn>
              <a:cxn ang="0">
                <a:pos x="csX974" y="csY974"/>
              </a:cxn>
              <a:cxn ang="0">
                <a:pos x="csX975" y="csY975"/>
              </a:cxn>
              <a:cxn ang="0">
                <a:pos x="csX976" y="csY976"/>
              </a:cxn>
              <a:cxn ang="0">
                <a:pos x="csX977" y="csY977"/>
              </a:cxn>
              <a:cxn ang="0">
                <a:pos x="csX978" y="csY978"/>
              </a:cxn>
              <a:cxn ang="0">
                <a:pos x="csX979" y="csY979"/>
              </a:cxn>
              <a:cxn ang="0">
                <a:pos x="csX980" y="csY980"/>
              </a:cxn>
              <a:cxn ang="0">
                <a:pos x="csX981" y="csY981"/>
              </a:cxn>
              <a:cxn ang="0">
                <a:pos x="csX982" y="csY982"/>
              </a:cxn>
              <a:cxn ang="0">
                <a:pos x="csX983" y="csY983"/>
              </a:cxn>
              <a:cxn ang="0">
                <a:pos x="csX984" y="csY984"/>
              </a:cxn>
              <a:cxn ang="0">
                <a:pos x="csX985" y="csY985"/>
              </a:cxn>
              <a:cxn ang="0">
                <a:pos x="csX986" y="csY986"/>
              </a:cxn>
              <a:cxn ang="0">
                <a:pos x="csX987" y="csY987"/>
              </a:cxn>
              <a:cxn ang="0">
                <a:pos x="csX988" y="csY988"/>
              </a:cxn>
              <a:cxn ang="0">
                <a:pos x="csX989" y="csY989"/>
              </a:cxn>
              <a:cxn ang="0">
                <a:pos x="csX990" y="csY990"/>
              </a:cxn>
              <a:cxn ang="0">
                <a:pos x="csX991" y="csY991"/>
              </a:cxn>
              <a:cxn ang="0">
                <a:pos x="csX992" y="csY992"/>
              </a:cxn>
              <a:cxn ang="0">
                <a:pos x="csX993" y="csY993"/>
              </a:cxn>
              <a:cxn ang="0">
                <a:pos x="csX994" y="csY994"/>
              </a:cxn>
              <a:cxn ang="0">
                <a:pos x="csX995" y="csY995"/>
              </a:cxn>
              <a:cxn ang="0">
                <a:pos x="csX996" y="csY996"/>
              </a:cxn>
              <a:cxn ang="0">
                <a:pos x="csX997" y="csY997"/>
              </a:cxn>
              <a:cxn ang="0">
                <a:pos x="csX998" y="csY998"/>
              </a:cxn>
              <a:cxn ang="0">
                <a:pos x="csX999" y="csY999"/>
              </a:cxn>
              <a:cxn ang="0">
                <a:pos x="csX1000" y="csY1000"/>
              </a:cxn>
              <a:cxn ang="0">
                <a:pos x="csX1001" y="csY1001"/>
              </a:cxn>
              <a:cxn ang="0">
                <a:pos x="csX1002" y="csY1002"/>
              </a:cxn>
              <a:cxn ang="0">
                <a:pos x="csX1003" y="csY1003"/>
              </a:cxn>
              <a:cxn ang="0">
                <a:pos x="csX1004" y="csY1004"/>
              </a:cxn>
              <a:cxn ang="0">
                <a:pos x="csX1005" y="csY1005"/>
              </a:cxn>
              <a:cxn ang="0">
                <a:pos x="csX1006" y="csY1006"/>
              </a:cxn>
              <a:cxn ang="0">
                <a:pos x="csX1007" y="csY1007"/>
              </a:cxn>
              <a:cxn ang="0">
                <a:pos x="csX1008" y="csY1008"/>
              </a:cxn>
              <a:cxn ang="0">
                <a:pos x="csX1009" y="csY1009"/>
              </a:cxn>
              <a:cxn ang="0">
                <a:pos x="csX1010" y="csY1010"/>
              </a:cxn>
              <a:cxn ang="0">
                <a:pos x="csX1011" y="csY1011"/>
              </a:cxn>
              <a:cxn ang="0">
                <a:pos x="csX1012" y="csY1012"/>
              </a:cxn>
              <a:cxn ang="0">
                <a:pos x="csX1013" y="csY1013"/>
              </a:cxn>
              <a:cxn ang="0">
                <a:pos x="csX1014" y="csY1014"/>
              </a:cxn>
              <a:cxn ang="0">
                <a:pos x="csX1015" y="csY1015"/>
              </a:cxn>
              <a:cxn ang="0">
                <a:pos x="csX1016" y="csY1016"/>
              </a:cxn>
              <a:cxn ang="0">
                <a:pos x="csX1017" y="csY1017"/>
              </a:cxn>
              <a:cxn ang="0">
                <a:pos x="csX1018" y="csY1018"/>
              </a:cxn>
              <a:cxn ang="0">
                <a:pos x="csX1019" y="csY1019"/>
              </a:cxn>
              <a:cxn ang="0">
                <a:pos x="csX1020" y="csY1020"/>
              </a:cxn>
              <a:cxn ang="0">
                <a:pos x="csX1021" y="csY1021"/>
              </a:cxn>
              <a:cxn ang="0">
                <a:pos x="csX1022" y="csY1022"/>
              </a:cxn>
              <a:cxn ang="0">
                <a:pos x="csX1023" y="csY1023"/>
              </a:cxn>
              <a:cxn ang="0">
                <a:pos x="csX1024" y="csY1024"/>
              </a:cxn>
              <a:cxn ang="0">
                <a:pos x="csX1025" y="csY1025"/>
              </a:cxn>
              <a:cxn ang="0">
                <a:pos x="csX1026" y="csY1026"/>
              </a:cxn>
              <a:cxn ang="0">
                <a:pos x="csX1027" y="csY1027"/>
              </a:cxn>
              <a:cxn ang="0">
                <a:pos x="csX1028" y="csY1028"/>
              </a:cxn>
              <a:cxn ang="0">
                <a:pos x="csX1029" y="csY1029"/>
              </a:cxn>
              <a:cxn ang="0">
                <a:pos x="csX1030" y="csY1030"/>
              </a:cxn>
              <a:cxn ang="0">
                <a:pos x="csX1031" y="csY1031"/>
              </a:cxn>
              <a:cxn ang="0">
                <a:pos x="csX1032" y="csY1032"/>
              </a:cxn>
              <a:cxn ang="0">
                <a:pos x="csX1033" y="csY1033"/>
              </a:cxn>
              <a:cxn ang="0">
                <a:pos x="csX1034" y="csY1034"/>
              </a:cxn>
              <a:cxn ang="0">
                <a:pos x="csX1035" y="csY1035"/>
              </a:cxn>
              <a:cxn ang="0">
                <a:pos x="csX1036" y="csY1036"/>
              </a:cxn>
              <a:cxn ang="0">
                <a:pos x="csX1037" y="csY1037"/>
              </a:cxn>
              <a:cxn ang="0">
                <a:pos x="csX1038" y="csY1038"/>
              </a:cxn>
              <a:cxn ang="0">
                <a:pos x="csX1039" y="csY1039"/>
              </a:cxn>
              <a:cxn ang="0">
                <a:pos x="csX1040" y="csY1040"/>
              </a:cxn>
              <a:cxn ang="0">
                <a:pos x="csX1041" y="csY1041"/>
              </a:cxn>
              <a:cxn ang="0">
                <a:pos x="csX1042" y="csY1042"/>
              </a:cxn>
              <a:cxn ang="0">
                <a:pos x="csX1043" y="csY1043"/>
              </a:cxn>
              <a:cxn ang="0">
                <a:pos x="csX1044" y="csY1044"/>
              </a:cxn>
              <a:cxn ang="0">
                <a:pos x="csX1045" y="csY1045"/>
              </a:cxn>
              <a:cxn ang="0">
                <a:pos x="csX1046" y="csY1046"/>
              </a:cxn>
              <a:cxn ang="0">
                <a:pos x="csX1047" y="csY1047"/>
              </a:cxn>
              <a:cxn ang="0">
                <a:pos x="csX1048" y="csY1048"/>
              </a:cxn>
              <a:cxn ang="0">
                <a:pos x="csX1049" y="csY1049"/>
              </a:cxn>
              <a:cxn ang="0">
                <a:pos x="csX1050" y="csY1050"/>
              </a:cxn>
              <a:cxn ang="0">
                <a:pos x="csX1051" y="csY1051"/>
              </a:cxn>
              <a:cxn ang="0">
                <a:pos x="csX1052" y="csY1052"/>
              </a:cxn>
              <a:cxn ang="0">
                <a:pos x="csX1053" y="csY1053"/>
              </a:cxn>
              <a:cxn ang="0">
                <a:pos x="csX1054" y="csY1054"/>
              </a:cxn>
            </a:cxnLst>
            <a:rect l="l" t="t" r="r" b="b"/>
            <a:pathLst>
              <a:path w="1609516" h="1538630">
                <a:moveTo>
                  <a:pt x="401579" y="1495809"/>
                </a:moveTo>
                <a:lnTo>
                  <a:pt x="400190" y="1496004"/>
                </a:lnTo>
                <a:lnTo>
                  <a:pt x="401224" y="1496470"/>
                </a:lnTo>
                <a:lnTo>
                  <a:pt x="401224" y="1498590"/>
                </a:lnTo>
                <a:lnTo>
                  <a:pt x="401579" y="1498628"/>
                </a:lnTo>
                <a:cubicBezTo>
                  <a:pt x="401579" y="1497698"/>
                  <a:pt x="401579" y="1496768"/>
                  <a:pt x="401579" y="1495809"/>
                </a:cubicBezTo>
                <a:close/>
                <a:moveTo>
                  <a:pt x="368755" y="1486512"/>
                </a:moveTo>
                <a:lnTo>
                  <a:pt x="364089" y="1487354"/>
                </a:lnTo>
                <a:lnTo>
                  <a:pt x="364089" y="1487908"/>
                </a:lnTo>
                <a:close/>
                <a:moveTo>
                  <a:pt x="1049801" y="1484562"/>
                </a:moveTo>
                <a:lnTo>
                  <a:pt x="1046735" y="1485945"/>
                </a:lnTo>
                <a:lnTo>
                  <a:pt x="1046955" y="1486045"/>
                </a:lnTo>
                <a:lnTo>
                  <a:pt x="1049801" y="1485188"/>
                </a:lnTo>
                <a:close/>
                <a:moveTo>
                  <a:pt x="351234" y="1444508"/>
                </a:moveTo>
                <a:lnTo>
                  <a:pt x="351234" y="1444997"/>
                </a:lnTo>
                <a:lnTo>
                  <a:pt x="351592" y="1445078"/>
                </a:lnTo>
                <a:close/>
                <a:moveTo>
                  <a:pt x="351908" y="1431206"/>
                </a:moveTo>
                <a:lnTo>
                  <a:pt x="351234" y="1431611"/>
                </a:lnTo>
                <a:lnTo>
                  <a:pt x="351234" y="1432274"/>
                </a:lnTo>
                <a:close/>
                <a:moveTo>
                  <a:pt x="358162" y="1421494"/>
                </a:moveTo>
                <a:lnTo>
                  <a:pt x="355921" y="1423156"/>
                </a:lnTo>
                <a:lnTo>
                  <a:pt x="355921" y="1423548"/>
                </a:lnTo>
                <a:close/>
                <a:moveTo>
                  <a:pt x="376098" y="1408347"/>
                </a:moveTo>
                <a:lnTo>
                  <a:pt x="370750" y="1412245"/>
                </a:lnTo>
                <a:lnTo>
                  <a:pt x="375023" y="1411256"/>
                </a:lnTo>
                <a:close/>
                <a:moveTo>
                  <a:pt x="421956" y="1365623"/>
                </a:moveTo>
                <a:lnTo>
                  <a:pt x="421765" y="1366161"/>
                </a:lnTo>
                <a:lnTo>
                  <a:pt x="421887" y="1366161"/>
                </a:lnTo>
                <a:close/>
                <a:moveTo>
                  <a:pt x="754553" y="1360575"/>
                </a:moveTo>
                <a:lnTo>
                  <a:pt x="754089" y="1361433"/>
                </a:lnTo>
                <a:lnTo>
                  <a:pt x="754431" y="1361125"/>
                </a:lnTo>
                <a:close/>
                <a:moveTo>
                  <a:pt x="1277973" y="1332923"/>
                </a:moveTo>
                <a:lnTo>
                  <a:pt x="1277944" y="1332936"/>
                </a:lnTo>
                <a:lnTo>
                  <a:pt x="1277949" y="1333139"/>
                </a:lnTo>
                <a:close/>
                <a:moveTo>
                  <a:pt x="1268556" y="1321066"/>
                </a:moveTo>
                <a:cubicBezTo>
                  <a:pt x="1268556" y="1322461"/>
                  <a:pt x="1268556" y="1323856"/>
                  <a:pt x="1268556" y="1325294"/>
                </a:cubicBezTo>
                <a:cubicBezTo>
                  <a:pt x="1267525" y="1325294"/>
                  <a:pt x="1266495" y="1325294"/>
                  <a:pt x="1265432" y="1325294"/>
                </a:cubicBezTo>
                <a:cubicBezTo>
                  <a:pt x="1265432" y="1330409"/>
                  <a:pt x="1265432" y="1335525"/>
                  <a:pt x="1265432" y="1340795"/>
                </a:cubicBezTo>
                <a:lnTo>
                  <a:pt x="1265476" y="1340714"/>
                </a:lnTo>
                <a:lnTo>
                  <a:pt x="1265476" y="1325877"/>
                </a:lnTo>
                <a:cubicBezTo>
                  <a:pt x="1266507" y="1325877"/>
                  <a:pt x="1267538" y="1325877"/>
                  <a:pt x="1268600" y="1325877"/>
                </a:cubicBezTo>
                <a:cubicBezTo>
                  <a:pt x="1268600" y="1324482"/>
                  <a:pt x="1268600" y="1323086"/>
                  <a:pt x="1268600" y="1321649"/>
                </a:cubicBezTo>
                <a:cubicBezTo>
                  <a:pt x="1270147" y="1321649"/>
                  <a:pt x="1271693" y="1321649"/>
                  <a:pt x="1273286" y="1321649"/>
                </a:cubicBezTo>
                <a:lnTo>
                  <a:pt x="1273227" y="1321066"/>
                </a:lnTo>
                <a:close/>
                <a:moveTo>
                  <a:pt x="827891" y="1291474"/>
                </a:moveTo>
                <a:lnTo>
                  <a:pt x="822601" y="1291544"/>
                </a:lnTo>
                <a:lnTo>
                  <a:pt x="818272" y="1292220"/>
                </a:lnTo>
                <a:lnTo>
                  <a:pt x="827891" y="1292047"/>
                </a:lnTo>
                <a:close/>
                <a:moveTo>
                  <a:pt x="856397" y="1288691"/>
                </a:moveTo>
                <a:lnTo>
                  <a:pt x="865903" y="1290590"/>
                </a:lnTo>
                <a:lnTo>
                  <a:pt x="859999" y="1288752"/>
                </a:lnTo>
                <a:close/>
                <a:moveTo>
                  <a:pt x="834694" y="1288572"/>
                </a:moveTo>
                <a:lnTo>
                  <a:pt x="828038" y="1288654"/>
                </a:lnTo>
                <a:lnTo>
                  <a:pt x="828038" y="1289214"/>
                </a:lnTo>
                <a:close/>
                <a:moveTo>
                  <a:pt x="229746" y="1191418"/>
                </a:moveTo>
                <a:lnTo>
                  <a:pt x="227402" y="1191947"/>
                </a:lnTo>
                <a:lnTo>
                  <a:pt x="229315" y="1191947"/>
                </a:lnTo>
                <a:cubicBezTo>
                  <a:pt x="229315" y="1192877"/>
                  <a:pt x="229315" y="1193807"/>
                  <a:pt x="229315" y="1194765"/>
                </a:cubicBezTo>
                <a:lnTo>
                  <a:pt x="231321" y="1194765"/>
                </a:lnTo>
                <a:lnTo>
                  <a:pt x="229746" y="1194236"/>
                </a:lnTo>
                <a:cubicBezTo>
                  <a:pt x="229746" y="1193306"/>
                  <a:pt x="229746" y="1192376"/>
                  <a:pt x="229746" y="1191418"/>
                </a:cubicBezTo>
                <a:close/>
                <a:moveTo>
                  <a:pt x="215687" y="1187190"/>
                </a:moveTo>
                <a:lnTo>
                  <a:pt x="215198" y="1187720"/>
                </a:lnTo>
                <a:lnTo>
                  <a:pt x="215256" y="1187720"/>
                </a:lnTo>
                <a:cubicBezTo>
                  <a:pt x="215256" y="1189115"/>
                  <a:pt x="215256" y="1190510"/>
                  <a:pt x="215256" y="1191947"/>
                </a:cubicBezTo>
                <a:lnTo>
                  <a:pt x="222721" y="1191947"/>
                </a:lnTo>
                <a:lnTo>
                  <a:pt x="215687" y="1191418"/>
                </a:lnTo>
                <a:cubicBezTo>
                  <a:pt x="215687" y="1190023"/>
                  <a:pt x="215687" y="1188628"/>
                  <a:pt x="215687" y="1187190"/>
                </a:cubicBezTo>
                <a:close/>
                <a:moveTo>
                  <a:pt x="1279678" y="1082356"/>
                </a:moveTo>
                <a:lnTo>
                  <a:pt x="1271680" y="1084589"/>
                </a:lnTo>
                <a:lnTo>
                  <a:pt x="1282181" y="1082544"/>
                </a:lnTo>
                <a:close/>
                <a:moveTo>
                  <a:pt x="117703" y="941507"/>
                </a:moveTo>
                <a:lnTo>
                  <a:pt x="112587" y="941985"/>
                </a:lnTo>
                <a:lnTo>
                  <a:pt x="112565" y="942333"/>
                </a:lnTo>
                <a:lnTo>
                  <a:pt x="115665" y="941837"/>
                </a:lnTo>
                <a:close/>
                <a:moveTo>
                  <a:pt x="144268" y="939395"/>
                </a:moveTo>
                <a:lnTo>
                  <a:pt x="143354" y="939580"/>
                </a:lnTo>
                <a:lnTo>
                  <a:pt x="144077" y="939739"/>
                </a:lnTo>
                <a:close/>
                <a:moveTo>
                  <a:pt x="162575" y="933530"/>
                </a:moveTo>
                <a:lnTo>
                  <a:pt x="161704" y="935101"/>
                </a:lnTo>
                <a:lnTo>
                  <a:pt x="170045" y="933585"/>
                </a:lnTo>
                <a:close/>
                <a:moveTo>
                  <a:pt x="1321645" y="918415"/>
                </a:moveTo>
                <a:lnTo>
                  <a:pt x="1321534" y="920177"/>
                </a:lnTo>
                <a:lnTo>
                  <a:pt x="1321740" y="918415"/>
                </a:lnTo>
                <a:close/>
                <a:moveTo>
                  <a:pt x="1319333" y="915183"/>
                </a:moveTo>
                <a:lnTo>
                  <a:pt x="1318544" y="918029"/>
                </a:lnTo>
                <a:lnTo>
                  <a:pt x="1318702" y="918029"/>
                </a:lnTo>
                <a:close/>
                <a:moveTo>
                  <a:pt x="1326355" y="907109"/>
                </a:moveTo>
                <a:lnTo>
                  <a:pt x="1326355" y="910983"/>
                </a:lnTo>
                <a:lnTo>
                  <a:pt x="1325831" y="911101"/>
                </a:lnTo>
                <a:lnTo>
                  <a:pt x="1326426" y="911369"/>
                </a:lnTo>
                <a:cubicBezTo>
                  <a:pt x="1326426" y="909974"/>
                  <a:pt x="1326426" y="908579"/>
                  <a:pt x="1326426" y="907141"/>
                </a:cubicBezTo>
                <a:close/>
                <a:moveTo>
                  <a:pt x="1328144" y="892192"/>
                </a:moveTo>
                <a:lnTo>
                  <a:pt x="1327667" y="893446"/>
                </a:lnTo>
                <a:lnTo>
                  <a:pt x="1327989" y="893049"/>
                </a:lnTo>
                <a:close/>
                <a:moveTo>
                  <a:pt x="49605" y="887420"/>
                </a:moveTo>
                <a:lnTo>
                  <a:pt x="48549" y="891229"/>
                </a:lnTo>
                <a:lnTo>
                  <a:pt x="49956" y="887420"/>
                </a:lnTo>
                <a:close/>
                <a:moveTo>
                  <a:pt x="1332266" y="883369"/>
                </a:moveTo>
                <a:lnTo>
                  <a:pt x="1329479" y="884207"/>
                </a:lnTo>
                <a:lnTo>
                  <a:pt x="1329509" y="884816"/>
                </a:lnTo>
                <a:lnTo>
                  <a:pt x="1329551" y="884594"/>
                </a:lnTo>
                <a:close/>
                <a:moveTo>
                  <a:pt x="1555987" y="821766"/>
                </a:moveTo>
                <a:lnTo>
                  <a:pt x="1555987" y="822201"/>
                </a:lnTo>
                <a:lnTo>
                  <a:pt x="1556081" y="822189"/>
                </a:lnTo>
                <a:close/>
                <a:moveTo>
                  <a:pt x="1565360" y="810928"/>
                </a:moveTo>
                <a:lnTo>
                  <a:pt x="1564871" y="811809"/>
                </a:lnTo>
                <a:lnTo>
                  <a:pt x="1567314" y="810928"/>
                </a:lnTo>
                <a:close/>
                <a:moveTo>
                  <a:pt x="1563797" y="810928"/>
                </a:moveTo>
                <a:lnTo>
                  <a:pt x="1556762" y="814736"/>
                </a:lnTo>
                <a:lnTo>
                  <a:pt x="1563797" y="812197"/>
                </a:lnTo>
                <a:close/>
                <a:moveTo>
                  <a:pt x="265833" y="806020"/>
                </a:moveTo>
                <a:lnTo>
                  <a:pt x="263704" y="809861"/>
                </a:lnTo>
                <a:lnTo>
                  <a:pt x="263704" y="816750"/>
                </a:lnTo>
                <a:lnTo>
                  <a:pt x="264113" y="816565"/>
                </a:lnTo>
                <a:cubicBezTo>
                  <a:pt x="264048" y="815315"/>
                  <a:pt x="263984" y="814065"/>
                  <a:pt x="263918" y="812777"/>
                </a:cubicBezTo>
                <a:close/>
                <a:moveTo>
                  <a:pt x="263774" y="779374"/>
                </a:moveTo>
                <a:lnTo>
                  <a:pt x="263704" y="783086"/>
                </a:lnTo>
                <a:cubicBezTo>
                  <a:pt x="263961" y="783987"/>
                  <a:pt x="264219" y="784888"/>
                  <a:pt x="264484" y="785816"/>
                </a:cubicBezTo>
                <a:cubicBezTo>
                  <a:pt x="265299" y="788846"/>
                  <a:pt x="265316" y="791337"/>
                  <a:pt x="265265" y="794448"/>
                </a:cubicBezTo>
                <a:cubicBezTo>
                  <a:pt x="265103" y="797155"/>
                  <a:pt x="265022" y="798508"/>
                  <a:pt x="265217" y="799730"/>
                </a:cubicBezTo>
                <a:lnTo>
                  <a:pt x="266556" y="803466"/>
                </a:lnTo>
                <a:lnTo>
                  <a:pt x="267237" y="801063"/>
                </a:lnTo>
                <a:cubicBezTo>
                  <a:pt x="266721" y="800598"/>
                  <a:pt x="266206" y="800133"/>
                  <a:pt x="265675" y="799654"/>
                </a:cubicBezTo>
                <a:cubicBezTo>
                  <a:pt x="265601" y="797718"/>
                  <a:pt x="265617" y="795778"/>
                  <a:pt x="265675" y="793841"/>
                </a:cubicBezTo>
                <a:close/>
                <a:moveTo>
                  <a:pt x="260988" y="770061"/>
                </a:moveTo>
                <a:lnTo>
                  <a:pt x="260988" y="771364"/>
                </a:lnTo>
                <a:lnTo>
                  <a:pt x="263497" y="777263"/>
                </a:lnTo>
                <a:lnTo>
                  <a:pt x="262551" y="770061"/>
                </a:lnTo>
                <a:cubicBezTo>
                  <a:pt x="262035" y="770061"/>
                  <a:pt x="261520" y="770061"/>
                  <a:pt x="260988" y="770061"/>
                </a:cubicBezTo>
                <a:close/>
                <a:moveTo>
                  <a:pt x="157888" y="651686"/>
                </a:moveTo>
                <a:lnTo>
                  <a:pt x="157415" y="651764"/>
                </a:lnTo>
                <a:lnTo>
                  <a:pt x="160373" y="652274"/>
                </a:lnTo>
                <a:close/>
                <a:moveTo>
                  <a:pt x="267237" y="426537"/>
                </a:moveTo>
                <a:lnTo>
                  <a:pt x="267237" y="427619"/>
                </a:lnTo>
                <a:cubicBezTo>
                  <a:pt x="268274" y="427791"/>
                  <a:pt x="269311" y="427961"/>
                  <a:pt x="270380" y="428137"/>
                </a:cubicBezTo>
                <a:lnTo>
                  <a:pt x="273548" y="428680"/>
                </a:lnTo>
                <a:close/>
                <a:moveTo>
                  <a:pt x="37605" y="359270"/>
                </a:moveTo>
                <a:lnTo>
                  <a:pt x="37103" y="361533"/>
                </a:lnTo>
                <a:lnTo>
                  <a:pt x="37605" y="361382"/>
                </a:lnTo>
                <a:close/>
                <a:moveTo>
                  <a:pt x="52477" y="337570"/>
                </a:moveTo>
                <a:lnTo>
                  <a:pt x="47288" y="342340"/>
                </a:lnTo>
                <a:lnTo>
                  <a:pt x="45805" y="345093"/>
                </a:lnTo>
                <a:close/>
                <a:moveTo>
                  <a:pt x="104291" y="336166"/>
                </a:moveTo>
                <a:lnTo>
                  <a:pt x="103776" y="337559"/>
                </a:lnTo>
                <a:lnTo>
                  <a:pt x="108925" y="336166"/>
                </a:lnTo>
                <a:close/>
                <a:moveTo>
                  <a:pt x="1309237" y="322954"/>
                </a:moveTo>
                <a:lnTo>
                  <a:pt x="1309180" y="330559"/>
                </a:lnTo>
                <a:lnTo>
                  <a:pt x="1309237" y="330520"/>
                </a:lnTo>
                <a:close/>
                <a:moveTo>
                  <a:pt x="1308964" y="317715"/>
                </a:moveTo>
                <a:lnTo>
                  <a:pt x="1309237" y="318569"/>
                </a:lnTo>
                <a:lnTo>
                  <a:pt x="1309237" y="317838"/>
                </a:lnTo>
                <a:close/>
                <a:moveTo>
                  <a:pt x="1310087" y="313153"/>
                </a:moveTo>
                <a:lnTo>
                  <a:pt x="1307609" y="313473"/>
                </a:lnTo>
                <a:lnTo>
                  <a:pt x="1308045" y="314836"/>
                </a:lnTo>
                <a:close/>
                <a:moveTo>
                  <a:pt x="1318544" y="312064"/>
                </a:moveTo>
                <a:lnTo>
                  <a:pt x="1316298" y="312353"/>
                </a:lnTo>
                <a:lnTo>
                  <a:pt x="1318544" y="312205"/>
                </a:lnTo>
                <a:close/>
                <a:moveTo>
                  <a:pt x="1084622" y="267674"/>
                </a:moveTo>
                <a:lnTo>
                  <a:pt x="1084227" y="268378"/>
                </a:lnTo>
                <a:cubicBezTo>
                  <a:pt x="1082679" y="268378"/>
                  <a:pt x="1081133" y="268378"/>
                  <a:pt x="1079540" y="268378"/>
                </a:cubicBezTo>
                <a:lnTo>
                  <a:pt x="1079603" y="268477"/>
                </a:lnTo>
                <a:lnTo>
                  <a:pt x="1084192" y="268477"/>
                </a:lnTo>
                <a:close/>
                <a:moveTo>
                  <a:pt x="956410" y="266968"/>
                </a:moveTo>
                <a:lnTo>
                  <a:pt x="957576" y="267083"/>
                </a:lnTo>
                <a:lnTo>
                  <a:pt x="957576" y="269776"/>
                </a:lnTo>
                <a:lnTo>
                  <a:pt x="957694" y="269787"/>
                </a:lnTo>
                <a:cubicBezTo>
                  <a:pt x="957694" y="268857"/>
                  <a:pt x="957694" y="267927"/>
                  <a:pt x="957694" y="266968"/>
                </a:cubicBezTo>
                <a:close/>
                <a:moveTo>
                  <a:pt x="1089372" y="259220"/>
                </a:moveTo>
                <a:lnTo>
                  <a:pt x="1085856" y="265479"/>
                </a:lnTo>
                <a:lnTo>
                  <a:pt x="1088878" y="261431"/>
                </a:lnTo>
                <a:close/>
                <a:moveTo>
                  <a:pt x="1018517" y="223356"/>
                </a:moveTo>
                <a:lnTo>
                  <a:pt x="1013866" y="226190"/>
                </a:lnTo>
                <a:lnTo>
                  <a:pt x="1013024" y="227709"/>
                </a:lnTo>
                <a:lnTo>
                  <a:pt x="1017055" y="224692"/>
                </a:lnTo>
                <a:close/>
                <a:moveTo>
                  <a:pt x="850645" y="220099"/>
                </a:moveTo>
                <a:lnTo>
                  <a:pt x="850897" y="221488"/>
                </a:lnTo>
                <a:cubicBezTo>
                  <a:pt x="851086" y="222545"/>
                  <a:pt x="851275" y="223602"/>
                  <a:pt x="851470" y="224692"/>
                </a:cubicBezTo>
                <a:lnTo>
                  <a:pt x="852860" y="224692"/>
                </a:lnTo>
                <a:close/>
                <a:moveTo>
                  <a:pt x="1155019" y="35"/>
                </a:moveTo>
                <a:cubicBezTo>
                  <a:pt x="1161775" y="275"/>
                  <a:pt x="1168415" y="1783"/>
                  <a:pt x="1174829" y="4853"/>
                </a:cubicBezTo>
                <a:cubicBezTo>
                  <a:pt x="1176343" y="5231"/>
                  <a:pt x="1177858" y="5609"/>
                  <a:pt x="1179418" y="5998"/>
                </a:cubicBezTo>
                <a:cubicBezTo>
                  <a:pt x="1189392" y="9487"/>
                  <a:pt x="1196322" y="14392"/>
                  <a:pt x="1201385" y="22997"/>
                </a:cubicBezTo>
                <a:cubicBezTo>
                  <a:pt x="1206849" y="35244"/>
                  <a:pt x="1206940" y="49865"/>
                  <a:pt x="1201678" y="62191"/>
                </a:cubicBezTo>
                <a:cubicBezTo>
                  <a:pt x="1200594" y="64241"/>
                  <a:pt x="1199461" y="66271"/>
                  <a:pt x="1198261" y="68268"/>
                </a:cubicBezTo>
                <a:cubicBezTo>
                  <a:pt x="1197423" y="69721"/>
                  <a:pt x="1196586" y="71175"/>
                  <a:pt x="1195723" y="72672"/>
                </a:cubicBezTo>
                <a:cubicBezTo>
                  <a:pt x="1194659" y="73980"/>
                  <a:pt x="1194659" y="73980"/>
                  <a:pt x="1193575" y="75314"/>
                </a:cubicBezTo>
                <a:cubicBezTo>
                  <a:pt x="1192544" y="75314"/>
                  <a:pt x="1191512" y="75314"/>
                  <a:pt x="1190450" y="75314"/>
                </a:cubicBezTo>
                <a:cubicBezTo>
                  <a:pt x="1190128" y="76651"/>
                  <a:pt x="1189806" y="77988"/>
                  <a:pt x="1189474" y="79366"/>
                </a:cubicBezTo>
                <a:cubicBezTo>
                  <a:pt x="1187326" y="83769"/>
                  <a:pt x="1187326" y="83769"/>
                  <a:pt x="1182445" y="85707"/>
                </a:cubicBezTo>
                <a:cubicBezTo>
                  <a:pt x="1180962" y="85998"/>
                  <a:pt x="1179480" y="86289"/>
                  <a:pt x="1177953" y="86588"/>
                </a:cubicBezTo>
                <a:cubicBezTo>
                  <a:pt x="1177953" y="87518"/>
                  <a:pt x="1177953" y="88448"/>
                  <a:pt x="1177953" y="89406"/>
                </a:cubicBezTo>
                <a:cubicBezTo>
                  <a:pt x="1175369" y="91088"/>
                  <a:pt x="1172720" y="92688"/>
                  <a:pt x="1170045" y="94251"/>
                </a:cubicBezTo>
                <a:cubicBezTo>
                  <a:pt x="1154651" y="104199"/>
                  <a:pt x="1148918" y="116979"/>
                  <a:pt x="1143806" y="132828"/>
                </a:cubicBezTo>
                <a:cubicBezTo>
                  <a:pt x="1142095" y="137144"/>
                  <a:pt x="1140989" y="138617"/>
                  <a:pt x="1137338" y="141548"/>
                </a:cubicBezTo>
                <a:cubicBezTo>
                  <a:pt x="1136166" y="144148"/>
                  <a:pt x="1134992" y="146751"/>
                  <a:pt x="1133970" y="149403"/>
                </a:cubicBezTo>
                <a:cubicBezTo>
                  <a:pt x="1132069" y="154334"/>
                  <a:pt x="1130006" y="159210"/>
                  <a:pt x="1127965" y="164095"/>
                </a:cubicBezTo>
                <a:cubicBezTo>
                  <a:pt x="1126897" y="166664"/>
                  <a:pt x="1125830" y="169233"/>
                  <a:pt x="1124762" y="171802"/>
                </a:cubicBezTo>
                <a:cubicBezTo>
                  <a:pt x="1122961" y="176134"/>
                  <a:pt x="1121160" y="180466"/>
                  <a:pt x="1119359" y="184798"/>
                </a:cubicBezTo>
                <a:cubicBezTo>
                  <a:pt x="1116567" y="191508"/>
                  <a:pt x="1113778" y="198220"/>
                  <a:pt x="1111014" y="204941"/>
                </a:cubicBezTo>
                <a:cubicBezTo>
                  <a:pt x="1110590" y="205970"/>
                  <a:pt x="1110165" y="206999"/>
                  <a:pt x="1109729" y="208059"/>
                </a:cubicBezTo>
                <a:cubicBezTo>
                  <a:pt x="1108615" y="210762"/>
                  <a:pt x="1107505" y="213466"/>
                  <a:pt x="1106395" y="216170"/>
                </a:cubicBezTo>
                <a:cubicBezTo>
                  <a:pt x="1104320" y="220956"/>
                  <a:pt x="1103283" y="223349"/>
                  <a:pt x="1102147" y="224810"/>
                </a:cubicBezTo>
                <a:lnTo>
                  <a:pt x="1098261" y="227262"/>
                </a:lnTo>
                <a:lnTo>
                  <a:pt x="1098367" y="238475"/>
                </a:lnTo>
                <a:cubicBezTo>
                  <a:pt x="1098025" y="239757"/>
                  <a:pt x="1097684" y="241038"/>
                  <a:pt x="1097331" y="242358"/>
                </a:cubicBezTo>
                <a:cubicBezTo>
                  <a:pt x="1096958" y="243711"/>
                  <a:pt x="1096585" y="245064"/>
                  <a:pt x="1096201" y="246458"/>
                </a:cubicBezTo>
                <a:cubicBezTo>
                  <a:pt x="1093302" y="257363"/>
                  <a:pt x="1090901" y="268062"/>
                  <a:pt x="1089440" y="279206"/>
                </a:cubicBezTo>
                <a:cubicBezTo>
                  <a:pt x="1088878" y="282569"/>
                  <a:pt x="1088878" y="282569"/>
                  <a:pt x="1087316" y="283978"/>
                </a:cubicBezTo>
                <a:cubicBezTo>
                  <a:pt x="1087070" y="286587"/>
                  <a:pt x="1086924" y="289205"/>
                  <a:pt x="1086822" y="291822"/>
                </a:cubicBezTo>
                <a:cubicBezTo>
                  <a:pt x="1086756" y="293408"/>
                  <a:pt x="1086691" y="294993"/>
                  <a:pt x="1086623" y="296625"/>
                </a:cubicBezTo>
                <a:cubicBezTo>
                  <a:pt x="1086562" y="298294"/>
                  <a:pt x="1086501" y="299962"/>
                  <a:pt x="1086437" y="301681"/>
                </a:cubicBezTo>
                <a:cubicBezTo>
                  <a:pt x="1086336" y="304192"/>
                  <a:pt x="1086336" y="304192"/>
                  <a:pt x="1086233" y="306754"/>
                </a:cubicBezTo>
                <a:lnTo>
                  <a:pt x="1086007" y="312619"/>
                </a:lnTo>
                <a:lnTo>
                  <a:pt x="1087470" y="320554"/>
                </a:lnTo>
                <a:cubicBezTo>
                  <a:pt x="1089648" y="325409"/>
                  <a:pt x="1093111" y="329799"/>
                  <a:pt x="1098285" y="334611"/>
                </a:cubicBezTo>
                <a:cubicBezTo>
                  <a:pt x="1100424" y="336130"/>
                  <a:pt x="1100424" y="336130"/>
                  <a:pt x="1102607" y="337679"/>
                </a:cubicBezTo>
                <a:cubicBezTo>
                  <a:pt x="1104334" y="338951"/>
                  <a:pt x="1104334" y="338951"/>
                  <a:pt x="1106095" y="340248"/>
                </a:cubicBezTo>
                <a:cubicBezTo>
                  <a:pt x="1106095" y="341178"/>
                  <a:pt x="1106095" y="342108"/>
                  <a:pt x="1106095" y="343066"/>
                </a:cubicBezTo>
                <a:cubicBezTo>
                  <a:pt x="1107127" y="343183"/>
                  <a:pt x="1108158" y="343299"/>
                  <a:pt x="1109220" y="343419"/>
                </a:cubicBezTo>
                <a:cubicBezTo>
                  <a:pt x="1115473" y="344829"/>
                  <a:pt x="1120724" y="347416"/>
                  <a:pt x="1126403" y="350112"/>
                </a:cubicBezTo>
                <a:cubicBezTo>
                  <a:pt x="1128207" y="350926"/>
                  <a:pt x="1130012" y="351740"/>
                  <a:pt x="1131871" y="352579"/>
                </a:cubicBezTo>
                <a:cubicBezTo>
                  <a:pt x="1133159" y="353160"/>
                  <a:pt x="1134448" y="353741"/>
                  <a:pt x="1135776" y="354340"/>
                </a:cubicBezTo>
                <a:cubicBezTo>
                  <a:pt x="1135776" y="355270"/>
                  <a:pt x="1135776" y="356200"/>
                  <a:pt x="1135776" y="357158"/>
                </a:cubicBezTo>
                <a:cubicBezTo>
                  <a:pt x="1148107" y="360029"/>
                  <a:pt x="1158679" y="359101"/>
                  <a:pt x="1170143" y="354340"/>
                </a:cubicBezTo>
                <a:cubicBezTo>
                  <a:pt x="1172366" y="353468"/>
                  <a:pt x="1172366" y="353468"/>
                  <a:pt x="1174634" y="352579"/>
                </a:cubicBezTo>
                <a:cubicBezTo>
                  <a:pt x="1180354" y="349689"/>
                  <a:pt x="1185568" y="346355"/>
                  <a:pt x="1190890" y="342907"/>
                </a:cubicBezTo>
                <a:cubicBezTo>
                  <a:pt x="1195169" y="340228"/>
                  <a:pt x="1199557" y="337821"/>
                  <a:pt x="1204021" y="335404"/>
                </a:cubicBezTo>
                <a:cubicBezTo>
                  <a:pt x="1211989" y="330886"/>
                  <a:pt x="1217509" y="325766"/>
                  <a:pt x="1223255" y="319110"/>
                </a:cubicBezTo>
                <a:cubicBezTo>
                  <a:pt x="1224447" y="317947"/>
                  <a:pt x="1225639" y="316784"/>
                  <a:pt x="1226868" y="315587"/>
                </a:cubicBezTo>
                <a:cubicBezTo>
                  <a:pt x="1229855" y="311593"/>
                  <a:pt x="1230852" y="308240"/>
                  <a:pt x="1231859" y="303559"/>
                </a:cubicBezTo>
                <a:cubicBezTo>
                  <a:pt x="1232628" y="300790"/>
                  <a:pt x="1232628" y="300790"/>
                  <a:pt x="1234178" y="298059"/>
                </a:cubicBezTo>
                <a:cubicBezTo>
                  <a:pt x="1235964" y="294761"/>
                  <a:pt x="1236623" y="291807"/>
                  <a:pt x="1237314" y="288195"/>
                </a:cubicBezTo>
                <a:cubicBezTo>
                  <a:pt x="1239360" y="278571"/>
                  <a:pt x="1242414" y="272733"/>
                  <a:pt x="1249811" y="265559"/>
                </a:cubicBezTo>
                <a:cubicBezTo>
                  <a:pt x="1250842" y="265559"/>
                  <a:pt x="1251873" y="265559"/>
                  <a:pt x="1252935" y="265559"/>
                </a:cubicBezTo>
                <a:cubicBezTo>
                  <a:pt x="1252935" y="264629"/>
                  <a:pt x="1252935" y="263699"/>
                  <a:pt x="1252935" y="262741"/>
                </a:cubicBezTo>
                <a:cubicBezTo>
                  <a:pt x="1265591" y="253427"/>
                  <a:pt x="1280762" y="251648"/>
                  <a:pt x="1296675" y="252876"/>
                </a:cubicBezTo>
                <a:cubicBezTo>
                  <a:pt x="1300535" y="253563"/>
                  <a:pt x="1303901" y="254478"/>
                  <a:pt x="1307609" y="255695"/>
                </a:cubicBezTo>
                <a:cubicBezTo>
                  <a:pt x="1307609" y="256625"/>
                  <a:pt x="1307609" y="257555"/>
                  <a:pt x="1307609" y="258513"/>
                </a:cubicBezTo>
                <a:cubicBezTo>
                  <a:pt x="1309021" y="258619"/>
                  <a:pt x="1310432" y="258723"/>
                  <a:pt x="1311887" y="258832"/>
                </a:cubicBezTo>
                <a:cubicBezTo>
                  <a:pt x="1319573" y="260476"/>
                  <a:pt x="1322149" y="264416"/>
                  <a:pt x="1326715" y="269969"/>
                </a:cubicBezTo>
                <a:cubicBezTo>
                  <a:pt x="1334402" y="281220"/>
                  <a:pt x="1336114" y="294839"/>
                  <a:pt x="1334165" y="307836"/>
                </a:cubicBezTo>
                <a:cubicBezTo>
                  <a:pt x="1332176" y="311898"/>
                  <a:pt x="1332176" y="311898"/>
                  <a:pt x="1329479" y="314882"/>
                </a:cubicBezTo>
                <a:cubicBezTo>
                  <a:pt x="1327417" y="314882"/>
                  <a:pt x="1325355" y="314882"/>
                  <a:pt x="1323231" y="314882"/>
                </a:cubicBezTo>
                <a:cubicBezTo>
                  <a:pt x="1323231" y="315812"/>
                  <a:pt x="1323231" y="316742"/>
                  <a:pt x="1323231" y="317700"/>
                </a:cubicBezTo>
                <a:lnTo>
                  <a:pt x="1322774" y="317838"/>
                </a:lnTo>
                <a:lnTo>
                  <a:pt x="1323295" y="317838"/>
                </a:lnTo>
                <a:cubicBezTo>
                  <a:pt x="1323295" y="316907"/>
                  <a:pt x="1323295" y="315977"/>
                  <a:pt x="1323295" y="315019"/>
                </a:cubicBezTo>
                <a:cubicBezTo>
                  <a:pt x="1324842" y="315019"/>
                  <a:pt x="1326388" y="315019"/>
                  <a:pt x="1327982" y="315019"/>
                </a:cubicBezTo>
                <a:cubicBezTo>
                  <a:pt x="1325845" y="321328"/>
                  <a:pt x="1322753" y="323742"/>
                  <a:pt x="1317047" y="327702"/>
                </a:cubicBezTo>
                <a:cubicBezTo>
                  <a:pt x="1316531" y="329097"/>
                  <a:pt x="1316016" y="330492"/>
                  <a:pt x="1315484" y="331930"/>
                </a:cubicBezTo>
                <a:cubicBezTo>
                  <a:pt x="1312599" y="332959"/>
                  <a:pt x="1312599" y="332959"/>
                  <a:pt x="1309139" y="333603"/>
                </a:cubicBezTo>
                <a:cubicBezTo>
                  <a:pt x="1307993" y="333827"/>
                  <a:pt x="1306847" y="334050"/>
                  <a:pt x="1305666" y="334280"/>
                </a:cubicBezTo>
                <a:cubicBezTo>
                  <a:pt x="1304783" y="334434"/>
                  <a:pt x="1303899" y="334589"/>
                  <a:pt x="1302988" y="334748"/>
                </a:cubicBezTo>
                <a:lnTo>
                  <a:pt x="1305905" y="332775"/>
                </a:lnTo>
                <a:lnTo>
                  <a:pt x="1304485" y="333202"/>
                </a:lnTo>
                <a:cubicBezTo>
                  <a:pt x="1302987" y="334640"/>
                  <a:pt x="1302987" y="334640"/>
                  <a:pt x="1301459" y="336108"/>
                </a:cubicBezTo>
                <a:cubicBezTo>
                  <a:pt x="1298237" y="338839"/>
                  <a:pt x="1298237" y="338839"/>
                  <a:pt x="1291989" y="338839"/>
                </a:cubicBezTo>
                <a:cubicBezTo>
                  <a:pt x="1291473" y="340234"/>
                  <a:pt x="1290957" y="341629"/>
                  <a:pt x="1290426" y="343066"/>
                </a:cubicBezTo>
                <a:cubicBezTo>
                  <a:pt x="1288879" y="343415"/>
                  <a:pt x="1287333" y="343764"/>
                  <a:pt x="1285740" y="344123"/>
                </a:cubicBezTo>
                <a:cubicBezTo>
                  <a:pt x="1266905" y="348491"/>
                  <a:pt x="1249005" y="369098"/>
                  <a:pt x="1237314" y="382525"/>
                </a:cubicBezTo>
                <a:cubicBezTo>
                  <a:pt x="1235678" y="385783"/>
                  <a:pt x="1234122" y="389075"/>
                  <a:pt x="1232628" y="392389"/>
                </a:cubicBezTo>
                <a:cubicBezTo>
                  <a:pt x="1231317" y="394515"/>
                  <a:pt x="1229981" y="396629"/>
                  <a:pt x="1228625" y="398731"/>
                </a:cubicBezTo>
                <a:cubicBezTo>
                  <a:pt x="1221457" y="410300"/>
                  <a:pt x="1219465" y="421836"/>
                  <a:pt x="1222822" y="434798"/>
                </a:cubicBezTo>
                <a:cubicBezTo>
                  <a:pt x="1229360" y="453710"/>
                  <a:pt x="1244088" y="472467"/>
                  <a:pt x="1260746" y="485398"/>
                </a:cubicBezTo>
                <a:cubicBezTo>
                  <a:pt x="1264961" y="487349"/>
                  <a:pt x="1264961" y="487349"/>
                  <a:pt x="1268556" y="488216"/>
                </a:cubicBezTo>
                <a:cubicBezTo>
                  <a:pt x="1268556" y="489146"/>
                  <a:pt x="1268556" y="490076"/>
                  <a:pt x="1268556" y="491034"/>
                </a:cubicBezTo>
                <a:cubicBezTo>
                  <a:pt x="1288790" y="497071"/>
                  <a:pt x="1319055" y="498555"/>
                  <a:pt x="1338852" y="489625"/>
                </a:cubicBezTo>
                <a:cubicBezTo>
                  <a:pt x="1341711" y="489213"/>
                  <a:pt x="1344575" y="488837"/>
                  <a:pt x="1347444" y="488480"/>
                </a:cubicBezTo>
                <a:cubicBezTo>
                  <a:pt x="1355372" y="487345"/>
                  <a:pt x="1362033" y="485390"/>
                  <a:pt x="1369362" y="482513"/>
                </a:cubicBezTo>
                <a:cubicBezTo>
                  <a:pt x="1375665" y="480318"/>
                  <a:pt x="1382189" y="479322"/>
                  <a:pt x="1388840" y="478351"/>
                </a:cubicBezTo>
                <a:cubicBezTo>
                  <a:pt x="1388840" y="477421"/>
                  <a:pt x="1388840" y="476492"/>
                  <a:pt x="1388840" y="475533"/>
                </a:cubicBezTo>
                <a:cubicBezTo>
                  <a:pt x="1391083" y="474821"/>
                  <a:pt x="1393329" y="474118"/>
                  <a:pt x="1395576" y="473419"/>
                </a:cubicBezTo>
                <a:cubicBezTo>
                  <a:pt x="1396827" y="473027"/>
                  <a:pt x="1398077" y="472635"/>
                  <a:pt x="1399365" y="472230"/>
                </a:cubicBezTo>
                <a:cubicBezTo>
                  <a:pt x="1402899" y="471305"/>
                  <a:pt x="1402899" y="471305"/>
                  <a:pt x="1407585" y="471305"/>
                </a:cubicBezTo>
                <a:cubicBezTo>
                  <a:pt x="1408101" y="469910"/>
                  <a:pt x="1408616" y="468515"/>
                  <a:pt x="1409147" y="467078"/>
                </a:cubicBezTo>
                <a:cubicBezTo>
                  <a:pt x="1412388" y="465580"/>
                  <a:pt x="1412388" y="465580"/>
                  <a:pt x="1416470" y="464259"/>
                </a:cubicBezTo>
                <a:cubicBezTo>
                  <a:pt x="1424029" y="461705"/>
                  <a:pt x="1431130" y="458955"/>
                  <a:pt x="1437949" y="455011"/>
                </a:cubicBezTo>
                <a:cubicBezTo>
                  <a:pt x="1442765" y="452574"/>
                  <a:pt x="1447553" y="451394"/>
                  <a:pt x="1452887" y="450167"/>
                </a:cubicBezTo>
                <a:cubicBezTo>
                  <a:pt x="1452887" y="449237"/>
                  <a:pt x="1452887" y="448307"/>
                  <a:pt x="1452887" y="447349"/>
                </a:cubicBezTo>
                <a:cubicBezTo>
                  <a:pt x="1453714" y="446944"/>
                  <a:pt x="1454541" y="446539"/>
                  <a:pt x="1455394" y="446122"/>
                </a:cubicBezTo>
                <a:cubicBezTo>
                  <a:pt x="1459151" y="444278"/>
                  <a:pt x="1462902" y="442422"/>
                  <a:pt x="1466653" y="440567"/>
                </a:cubicBezTo>
                <a:cubicBezTo>
                  <a:pt x="1467955" y="439930"/>
                  <a:pt x="1469256" y="439293"/>
                  <a:pt x="1470598" y="438637"/>
                </a:cubicBezTo>
                <a:cubicBezTo>
                  <a:pt x="1471852" y="438016"/>
                  <a:pt x="1473105" y="437393"/>
                  <a:pt x="1474397" y="436752"/>
                </a:cubicBezTo>
                <a:cubicBezTo>
                  <a:pt x="1475550" y="436184"/>
                  <a:pt x="1476703" y="435616"/>
                  <a:pt x="1477892" y="435030"/>
                </a:cubicBezTo>
                <a:cubicBezTo>
                  <a:pt x="1480966" y="433279"/>
                  <a:pt x="1483173" y="431373"/>
                  <a:pt x="1485691" y="429029"/>
                </a:cubicBezTo>
                <a:cubicBezTo>
                  <a:pt x="1486737" y="428575"/>
                  <a:pt x="1487781" y="428121"/>
                  <a:pt x="1488858" y="427653"/>
                </a:cubicBezTo>
                <a:cubicBezTo>
                  <a:pt x="1492438" y="425977"/>
                  <a:pt x="1493705" y="424453"/>
                  <a:pt x="1495943" y="421454"/>
                </a:cubicBezTo>
                <a:cubicBezTo>
                  <a:pt x="1507114" y="407544"/>
                  <a:pt x="1519758" y="393513"/>
                  <a:pt x="1538608" y="388338"/>
                </a:cubicBezTo>
                <a:cubicBezTo>
                  <a:pt x="1541025" y="388250"/>
                  <a:pt x="1541025" y="388250"/>
                  <a:pt x="1543490" y="388161"/>
                </a:cubicBezTo>
                <a:cubicBezTo>
                  <a:pt x="1545535" y="387984"/>
                  <a:pt x="1545535" y="387984"/>
                  <a:pt x="1547621" y="387804"/>
                </a:cubicBezTo>
                <a:cubicBezTo>
                  <a:pt x="1560659" y="387094"/>
                  <a:pt x="1568716" y="390117"/>
                  <a:pt x="1579418" y="396617"/>
                </a:cubicBezTo>
                <a:cubicBezTo>
                  <a:pt x="1581361" y="397687"/>
                  <a:pt x="1581361" y="397687"/>
                  <a:pt x="1583342" y="398780"/>
                </a:cubicBezTo>
                <a:cubicBezTo>
                  <a:pt x="1593703" y="405068"/>
                  <a:pt x="1598513" y="412459"/>
                  <a:pt x="1601288" y="423392"/>
                </a:cubicBezTo>
                <a:cubicBezTo>
                  <a:pt x="1603295" y="436596"/>
                  <a:pt x="1603517" y="449033"/>
                  <a:pt x="1594484" y="460159"/>
                </a:cubicBezTo>
                <a:cubicBezTo>
                  <a:pt x="1588468" y="466462"/>
                  <a:pt x="1582607" y="471150"/>
                  <a:pt x="1574732" y="475533"/>
                </a:cubicBezTo>
                <a:cubicBezTo>
                  <a:pt x="1573862" y="476043"/>
                  <a:pt x="1572993" y="476553"/>
                  <a:pt x="1572097" y="477078"/>
                </a:cubicBezTo>
                <a:cubicBezTo>
                  <a:pt x="1566828" y="478935"/>
                  <a:pt x="1561641" y="478744"/>
                  <a:pt x="1556066" y="478737"/>
                </a:cubicBezTo>
                <a:cubicBezTo>
                  <a:pt x="1553587" y="478765"/>
                  <a:pt x="1551109" y="478795"/>
                  <a:pt x="1548631" y="478825"/>
                </a:cubicBezTo>
                <a:cubicBezTo>
                  <a:pt x="1544751" y="478857"/>
                  <a:pt x="1540871" y="478880"/>
                  <a:pt x="1536991" y="478889"/>
                </a:cubicBezTo>
                <a:cubicBezTo>
                  <a:pt x="1516714" y="478693"/>
                  <a:pt x="1516714" y="478693"/>
                  <a:pt x="1498188" y="485398"/>
                </a:cubicBezTo>
                <a:cubicBezTo>
                  <a:pt x="1496062" y="486488"/>
                  <a:pt x="1496062" y="486488"/>
                  <a:pt x="1493892" y="487600"/>
                </a:cubicBezTo>
                <a:cubicBezTo>
                  <a:pt x="1492733" y="488268"/>
                  <a:pt x="1491573" y="488937"/>
                  <a:pt x="1490377" y="489625"/>
                </a:cubicBezTo>
                <a:cubicBezTo>
                  <a:pt x="1484304" y="493012"/>
                  <a:pt x="1478212" y="495675"/>
                  <a:pt x="1471650" y="498185"/>
                </a:cubicBezTo>
                <a:cubicBezTo>
                  <a:pt x="1467148" y="500054"/>
                  <a:pt x="1463242" y="502632"/>
                  <a:pt x="1459135" y="505127"/>
                </a:cubicBezTo>
                <a:cubicBezTo>
                  <a:pt x="1456968" y="506120"/>
                  <a:pt x="1454786" y="507086"/>
                  <a:pt x="1452594" y="508033"/>
                </a:cubicBezTo>
                <a:cubicBezTo>
                  <a:pt x="1444148" y="511772"/>
                  <a:pt x="1435969" y="515903"/>
                  <a:pt x="1427795" y="520100"/>
                </a:cubicBezTo>
                <a:cubicBezTo>
                  <a:pt x="1425784" y="521114"/>
                  <a:pt x="1425784" y="521114"/>
                  <a:pt x="1423733" y="522148"/>
                </a:cubicBezTo>
                <a:cubicBezTo>
                  <a:pt x="1422478" y="522798"/>
                  <a:pt x="1421223" y="523449"/>
                  <a:pt x="1419929" y="524118"/>
                </a:cubicBezTo>
                <a:cubicBezTo>
                  <a:pt x="1418794" y="524701"/>
                  <a:pt x="1417658" y="525283"/>
                  <a:pt x="1416487" y="525883"/>
                </a:cubicBezTo>
                <a:cubicBezTo>
                  <a:pt x="1413349" y="527646"/>
                  <a:pt x="1413349" y="527646"/>
                  <a:pt x="1412271" y="531902"/>
                </a:cubicBezTo>
                <a:cubicBezTo>
                  <a:pt x="1407205" y="535203"/>
                  <a:pt x="1402819" y="536744"/>
                  <a:pt x="1396650" y="537539"/>
                </a:cubicBezTo>
                <a:cubicBezTo>
                  <a:pt x="1396650" y="538469"/>
                  <a:pt x="1396650" y="539399"/>
                  <a:pt x="1396650" y="540357"/>
                </a:cubicBezTo>
                <a:cubicBezTo>
                  <a:pt x="1395609" y="540735"/>
                  <a:pt x="1394568" y="541113"/>
                  <a:pt x="1393495" y="541502"/>
                </a:cubicBezTo>
                <a:cubicBezTo>
                  <a:pt x="1381840" y="545973"/>
                  <a:pt x="1372279" y="551715"/>
                  <a:pt x="1362284" y="558678"/>
                </a:cubicBezTo>
                <a:cubicBezTo>
                  <a:pt x="1360170" y="560088"/>
                  <a:pt x="1358055" y="561497"/>
                  <a:pt x="1355937" y="562905"/>
                </a:cubicBezTo>
                <a:cubicBezTo>
                  <a:pt x="1348556" y="567937"/>
                  <a:pt x="1341292" y="573085"/>
                  <a:pt x="1334165" y="578406"/>
                </a:cubicBezTo>
                <a:cubicBezTo>
                  <a:pt x="1332697" y="579472"/>
                  <a:pt x="1332697" y="579472"/>
                  <a:pt x="1331200" y="580559"/>
                </a:cubicBezTo>
                <a:cubicBezTo>
                  <a:pt x="1325067" y="585430"/>
                  <a:pt x="1323406" y="589771"/>
                  <a:pt x="1322175" y="596793"/>
                </a:cubicBezTo>
                <a:cubicBezTo>
                  <a:pt x="1321669" y="599545"/>
                  <a:pt x="1321669" y="599545"/>
                  <a:pt x="1320106" y="602363"/>
                </a:cubicBezTo>
                <a:cubicBezTo>
                  <a:pt x="1318419" y="618189"/>
                  <a:pt x="1322416" y="632767"/>
                  <a:pt x="1328015" y="647640"/>
                </a:cubicBezTo>
                <a:cubicBezTo>
                  <a:pt x="1331267" y="656625"/>
                  <a:pt x="1333170" y="666179"/>
                  <a:pt x="1332604" y="675643"/>
                </a:cubicBezTo>
                <a:cubicBezTo>
                  <a:pt x="1333634" y="675643"/>
                  <a:pt x="1334665" y="675643"/>
                  <a:pt x="1335727" y="675643"/>
                </a:cubicBezTo>
                <a:cubicBezTo>
                  <a:pt x="1337571" y="680632"/>
                  <a:pt x="1337591" y="684795"/>
                  <a:pt x="1337741" y="690059"/>
                </a:cubicBezTo>
                <a:cubicBezTo>
                  <a:pt x="1337826" y="692114"/>
                  <a:pt x="1337913" y="694168"/>
                  <a:pt x="1338003" y="696222"/>
                </a:cubicBezTo>
                <a:cubicBezTo>
                  <a:pt x="1338142" y="699444"/>
                  <a:pt x="1338266" y="702664"/>
                  <a:pt x="1338340" y="705887"/>
                </a:cubicBezTo>
                <a:cubicBezTo>
                  <a:pt x="1338372" y="720474"/>
                  <a:pt x="1338372" y="720474"/>
                  <a:pt x="1345277" y="733245"/>
                </a:cubicBezTo>
                <a:cubicBezTo>
                  <a:pt x="1350822" y="737861"/>
                  <a:pt x="1355921" y="739823"/>
                  <a:pt x="1363162" y="741612"/>
                </a:cubicBezTo>
                <a:cubicBezTo>
                  <a:pt x="1370672" y="743533"/>
                  <a:pt x="1377197" y="745750"/>
                  <a:pt x="1384154" y="748922"/>
                </a:cubicBezTo>
                <a:cubicBezTo>
                  <a:pt x="1387833" y="749898"/>
                  <a:pt x="1387833" y="749898"/>
                  <a:pt x="1391476" y="750419"/>
                </a:cubicBezTo>
                <a:cubicBezTo>
                  <a:pt x="1393499" y="750747"/>
                  <a:pt x="1393499" y="750747"/>
                  <a:pt x="1395564" y="751080"/>
                </a:cubicBezTo>
                <a:cubicBezTo>
                  <a:pt x="1397648" y="751407"/>
                  <a:pt x="1397648" y="751407"/>
                  <a:pt x="1399775" y="751740"/>
                </a:cubicBezTo>
                <a:cubicBezTo>
                  <a:pt x="1401810" y="752111"/>
                  <a:pt x="1401810" y="752111"/>
                  <a:pt x="1403887" y="752489"/>
                </a:cubicBezTo>
                <a:cubicBezTo>
                  <a:pt x="1424247" y="756131"/>
                  <a:pt x="1444708" y="756350"/>
                  <a:pt x="1465383" y="755969"/>
                </a:cubicBezTo>
                <a:cubicBezTo>
                  <a:pt x="1467019" y="755945"/>
                  <a:pt x="1468654" y="755921"/>
                  <a:pt x="1470339" y="755897"/>
                </a:cubicBezTo>
                <a:cubicBezTo>
                  <a:pt x="1480128" y="755450"/>
                  <a:pt x="1487899" y="752933"/>
                  <a:pt x="1496809" y="749313"/>
                </a:cubicBezTo>
                <a:cubicBezTo>
                  <a:pt x="1502876" y="746888"/>
                  <a:pt x="1509049" y="745091"/>
                  <a:pt x="1515371" y="743285"/>
                </a:cubicBezTo>
                <a:cubicBezTo>
                  <a:pt x="1515371" y="742356"/>
                  <a:pt x="1515371" y="741425"/>
                  <a:pt x="1515371" y="740467"/>
                </a:cubicBezTo>
                <a:cubicBezTo>
                  <a:pt x="1522710" y="737103"/>
                  <a:pt x="1529583" y="737106"/>
                  <a:pt x="1537632" y="737120"/>
                </a:cubicBezTo>
                <a:cubicBezTo>
                  <a:pt x="1538960" y="737122"/>
                  <a:pt x="1540289" y="737124"/>
                  <a:pt x="1541657" y="737127"/>
                </a:cubicBezTo>
                <a:cubicBezTo>
                  <a:pt x="1555502" y="737372"/>
                  <a:pt x="1564314" y="740697"/>
                  <a:pt x="1574732" y="748922"/>
                </a:cubicBezTo>
                <a:cubicBezTo>
                  <a:pt x="1586507" y="762822"/>
                  <a:pt x="1590347" y="775219"/>
                  <a:pt x="1588791" y="792608"/>
                </a:cubicBezTo>
                <a:cubicBezTo>
                  <a:pt x="1587728" y="797050"/>
                  <a:pt x="1586468" y="801261"/>
                  <a:pt x="1584105" y="805291"/>
                </a:cubicBezTo>
                <a:cubicBezTo>
                  <a:pt x="1583074" y="805756"/>
                  <a:pt x="1582043" y="806221"/>
                  <a:pt x="1580981" y="806700"/>
                </a:cubicBezTo>
                <a:cubicBezTo>
                  <a:pt x="1580240" y="807892"/>
                  <a:pt x="1579499" y="809083"/>
                  <a:pt x="1578735" y="810311"/>
                </a:cubicBezTo>
                <a:cubicBezTo>
                  <a:pt x="1577930" y="811445"/>
                  <a:pt x="1577124" y="812579"/>
                  <a:pt x="1576295" y="813746"/>
                </a:cubicBezTo>
                <a:lnTo>
                  <a:pt x="1571652" y="813746"/>
                </a:lnTo>
                <a:lnTo>
                  <a:pt x="1571785" y="814106"/>
                </a:lnTo>
                <a:cubicBezTo>
                  <a:pt x="1572816" y="814571"/>
                  <a:pt x="1573846" y="815036"/>
                  <a:pt x="1574909" y="815515"/>
                </a:cubicBezTo>
                <a:cubicBezTo>
                  <a:pt x="1572126" y="818758"/>
                  <a:pt x="1569968" y="820871"/>
                  <a:pt x="1565463" y="821839"/>
                </a:cubicBezTo>
                <a:lnTo>
                  <a:pt x="1562085" y="822101"/>
                </a:lnTo>
                <a:lnTo>
                  <a:pt x="1551301" y="825020"/>
                </a:lnTo>
                <a:cubicBezTo>
                  <a:pt x="1551301" y="825950"/>
                  <a:pt x="1551301" y="826880"/>
                  <a:pt x="1551301" y="827838"/>
                </a:cubicBezTo>
                <a:cubicBezTo>
                  <a:pt x="1526697" y="828735"/>
                  <a:pt x="1507496" y="825036"/>
                  <a:pt x="1485380" y="815007"/>
                </a:cubicBezTo>
                <a:cubicBezTo>
                  <a:pt x="1468723" y="807743"/>
                  <a:pt x="1449749" y="809144"/>
                  <a:pt x="1431603" y="808726"/>
                </a:cubicBezTo>
                <a:cubicBezTo>
                  <a:pt x="1429115" y="808665"/>
                  <a:pt x="1426627" y="808604"/>
                  <a:pt x="1424140" y="808542"/>
                </a:cubicBezTo>
                <a:cubicBezTo>
                  <a:pt x="1418101" y="808392"/>
                  <a:pt x="1412062" y="808249"/>
                  <a:pt x="1406023" y="808109"/>
                </a:cubicBezTo>
                <a:cubicBezTo>
                  <a:pt x="1406023" y="809040"/>
                  <a:pt x="1406023" y="809970"/>
                  <a:pt x="1406023" y="810928"/>
                </a:cubicBezTo>
                <a:cubicBezTo>
                  <a:pt x="1404716" y="811118"/>
                  <a:pt x="1404716" y="811118"/>
                  <a:pt x="1403383" y="811311"/>
                </a:cubicBezTo>
                <a:cubicBezTo>
                  <a:pt x="1372054" y="815110"/>
                  <a:pt x="1372054" y="815110"/>
                  <a:pt x="1345442" y="828907"/>
                </a:cubicBezTo>
                <a:cubicBezTo>
                  <a:pt x="1338843" y="837605"/>
                  <a:pt x="1338313" y="846434"/>
                  <a:pt x="1337875" y="856639"/>
                </a:cubicBezTo>
                <a:cubicBezTo>
                  <a:pt x="1337815" y="857805"/>
                  <a:pt x="1337754" y="858970"/>
                  <a:pt x="1337692" y="860171"/>
                </a:cubicBezTo>
                <a:cubicBezTo>
                  <a:pt x="1337547" y="863016"/>
                  <a:pt x="1337417" y="865861"/>
                  <a:pt x="1337290" y="868706"/>
                </a:cubicBezTo>
                <a:cubicBezTo>
                  <a:pt x="1336258" y="868706"/>
                  <a:pt x="1335228" y="868706"/>
                  <a:pt x="1334165" y="868706"/>
                </a:cubicBezTo>
                <a:lnTo>
                  <a:pt x="1334165" y="870034"/>
                </a:lnTo>
                <a:lnTo>
                  <a:pt x="1334237" y="869093"/>
                </a:lnTo>
                <a:cubicBezTo>
                  <a:pt x="1334753" y="869093"/>
                  <a:pt x="1335268" y="869093"/>
                  <a:pt x="1335800" y="869093"/>
                </a:cubicBezTo>
                <a:cubicBezTo>
                  <a:pt x="1335884" y="871559"/>
                  <a:pt x="1335944" y="874025"/>
                  <a:pt x="1335995" y="876491"/>
                </a:cubicBezTo>
                <a:cubicBezTo>
                  <a:pt x="1336030" y="877865"/>
                  <a:pt x="1336067" y="879238"/>
                  <a:pt x="1336105" y="880653"/>
                </a:cubicBezTo>
                <a:cubicBezTo>
                  <a:pt x="1335800" y="884594"/>
                  <a:pt x="1335800" y="884594"/>
                  <a:pt x="1334294" y="887271"/>
                </a:cubicBezTo>
                <a:cubicBezTo>
                  <a:pt x="1332567" y="890428"/>
                  <a:pt x="1331982" y="892964"/>
                  <a:pt x="1331455" y="896440"/>
                </a:cubicBezTo>
                <a:cubicBezTo>
                  <a:pt x="1331267" y="897605"/>
                  <a:pt x="1331080" y="898769"/>
                  <a:pt x="1330887" y="899969"/>
                </a:cubicBezTo>
                <a:cubicBezTo>
                  <a:pt x="1330704" y="901174"/>
                  <a:pt x="1330521" y="902378"/>
                  <a:pt x="1330332" y="903618"/>
                </a:cubicBezTo>
                <a:cubicBezTo>
                  <a:pt x="1329968" y="906013"/>
                  <a:pt x="1329594" y="908405"/>
                  <a:pt x="1329209" y="910797"/>
                </a:cubicBezTo>
                <a:cubicBezTo>
                  <a:pt x="1329049" y="911853"/>
                  <a:pt x="1328889" y="912910"/>
                  <a:pt x="1328724" y="913998"/>
                </a:cubicBezTo>
                <a:cubicBezTo>
                  <a:pt x="1327933" y="917233"/>
                  <a:pt x="1326525" y="919703"/>
                  <a:pt x="1324865" y="922643"/>
                </a:cubicBezTo>
                <a:cubicBezTo>
                  <a:pt x="1323924" y="927743"/>
                  <a:pt x="1323282" y="932845"/>
                  <a:pt x="1322619" y="937979"/>
                </a:cubicBezTo>
                <a:lnTo>
                  <a:pt x="1318744" y="944961"/>
                </a:lnTo>
                <a:lnTo>
                  <a:pt x="1318544" y="946213"/>
                </a:lnTo>
                <a:cubicBezTo>
                  <a:pt x="1318360" y="949234"/>
                  <a:pt x="1318271" y="952260"/>
                  <a:pt x="1318251" y="955285"/>
                </a:cubicBezTo>
                <a:cubicBezTo>
                  <a:pt x="1318218" y="957637"/>
                  <a:pt x="1318218" y="957637"/>
                  <a:pt x="1318184" y="960036"/>
                </a:cubicBezTo>
                <a:cubicBezTo>
                  <a:pt x="1318624" y="965530"/>
                  <a:pt x="1319569" y="969724"/>
                  <a:pt x="1324024" y="973660"/>
                </a:cubicBezTo>
                <a:cubicBezTo>
                  <a:pt x="1327197" y="976583"/>
                  <a:pt x="1327950" y="979494"/>
                  <a:pt x="1329284" y="983382"/>
                </a:cubicBezTo>
                <a:cubicBezTo>
                  <a:pt x="1331875" y="990106"/>
                  <a:pt x="1334445" y="993582"/>
                  <a:pt x="1340414" y="998354"/>
                </a:cubicBezTo>
                <a:cubicBezTo>
                  <a:pt x="1342397" y="1000564"/>
                  <a:pt x="1344347" y="1002798"/>
                  <a:pt x="1346272" y="1005048"/>
                </a:cubicBezTo>
                <a:cubicBezTo>
                  <a:pt x="1360055" y="1020713"/>
                  <a:pt x="1376247" y="1031879"/>
                  <a:pt x="1394716" y="1042740"/>
                </a:cubicBezTo>
                <a:cubicBezTo>
                  <a:pt x="1397172" y="1044228"/>
                  <a:pt x="1399581" y="1045779"/>
                  <a:pt x="1401953" y="1047374"/>
                </a:cubicBezTo>
                <a:cubicBezTo>
                  <a:pt x="1410065" y="1052802"/>
                  <a:pt x="1417529" y="1056366"/>
                  <a:pt x="1427197" y="1059061"/>
                </a:cubicBezTo>
                <a:cubicBezTo>
                  <a:pt x="1431243" y="1060437"/>
                  <a:pt x="1434061" y="1061979"/>
                  <a:pt x="1437265" y="1064588"/>
                </a:cubicBezTo>
                <a:cubicBezTo>
                  <a:pt x="1437265" y="1065518"/>
                  <a:pt x="1437265" y="1066448"/>
                  <a:pt x="1437265" y="1067406"/>
                </a:cubicBezTo>
                <a:cubicBezTo>
                  <a:pt x="1439053" y="1067624"/>
                  <a:pt x="1439053" y="1067624"/>
                  <a:pt x="1440878" y="1067847"/>
                </a:cubicBezTo>
                <a:cubicBezTo>
                  <a:pt x="1445076" y="1068815"/>
                  <a:pt x="1445076" y="1068815"/>
                  <a:pt x="1447175" y="1070753"/>
                </a:cubicBezTo>
                <a:cubicBezTo>
                  <a:pt x="1450417" y="1073622"/>
                  <a:pt x="1453781" y="1075060"/>
                  <a:pt x="1457866" y="1076830"/>
                </a:cubicBezTo>
                <a:cubicBezTo>
                  <a:pt x="1459274" y="1077446"/>
                  <a:pt x="1460681" y="1078062"/>
                  <a:pt x="1462132" y="1078696"/>
                </a:cubicBezTo>
                <a:cubicBezTo>
                  <a:pt x="1463204" y="1079156"/>
                  <a:pt x="1464278" y="1079616"/>
                  <a:pt x="1465383" y="1080089"/>
                </a:cubicBezTo>
                <a:cubicBezTo>
                  <a:pt x="1465383" y="1081019"/>
                  <a:pt x="1465383" y="1081949"/>
                  <a:pt x="1465383" y="1082908"/>
                </a:cubicBezTo>
                <a:cubicBezTo>
                  <a:pt x="1466497" y="1083260"/>
                  <a:pt x="1467611" y="1083612"/>
                  <a:pt x="1468758" y="1083975"/>
                </a:cubicBezTo>
                <a:cubicBezTo>
                  <a:pt x="1473648" y="1085905"/>
                  <a:pt x="1477426" y="1088296"/>
                  <a:pt x="1481688" y="1091187"/>
                </a:cubicBezTo>
                <a:cubicBezTo>
                  <a:pt x="1483204" y="1092193"/>
                  <a:pt x="1484721" y="1093200"/>
                  <a:pt x="1486283" y="1094236"/>
                </a:cubicBezTo>
                <a:cubicBezTo>
                  <a:pt x="1489170" y="1096185"/>
                  <a:pt x="1492029" y="1098166"/>
                  <a:pt x="1494869" y="1100171"/>
                </a:cubicBezTo>
                <a:cubicBezTo>
                  <a:pt x="1510181" y="1107906"/>
                  <a:pt x="1527080" y="1109898"/>
                  <a:pt x="1544335" y="1109518"/>
                </a:cubicBezTo>
                <a:cubicBezTo>
                  <a:pt x="1579932" y="1108798"/>
                  <a:pt x="1579932" y="1108798"/>
                  <a:pt x="1593477" y="1119900"/>
                </a:cubicBezTo>
                <a:cubicBezTo>
                  <a:pt x="1600636" y="1127255"/>
                  <a:pt x="1604889" y="1135120"/>
                  <a:pt x="1605975" y="1144913"/>
                </a:cubicBezTo>
                <a:cubicBezTo>
                  <a:pt x="1607006" y="1144913"/>
                  <a:pt x="1608036" y="1144913"/>
                  <a:pt x="1609099" y="1144913"/>
                </a:cubicBezTo>
                <a:cubicBezTo>
                  <a:pt x="1609227" y="1148907"/>
                  <a:pt x="1609319" y="1152897"/>
                  <a:pt x="1609392" y="1156892"/>
                </a:cubicBezTo>
                <a:cubicBezTo>
                  <a:pt x="1609451" y="1158565"/>
                  <a:pt x="1609451" y="1158565"/>
                  <a:pt x="1609511" y="1160272"/>
                </a:cubicBezTo>
                <a:cubicBezTo>
                  <a:pt x="1609621" y="1168378"/>
                  <a:pt x="1607970" y="1174108"/>
                  <a:pt x="1604412" y="1181553"/>
                </a:cubicBezTo>
                <a:cubicBezTo>
                  <a:pt x="1603354" y="1184367"/>
                  <a:pt x="1602306" y="1187183"/>
                  <a:pt x="1601288" y="1190009"/>
                </a:cubicBezTo>
                <a:cubicBezTo>
                  <a:pt x="1600257" y="1190009"/>
                  <a:pt x="1599226" y="1190009"/>
                  <a:pt x="1598164" y="1190009"/>
                </a:cubicBezTo>
                <a:cubicBezTo>
                  <a:pt x="1597842" y="1190910"/>
                  <a:pt x="1597520" y="1191810"/>
                  <a:pt x="1597187" y="1192739"/>
                </a:cubicBezTo>
                <a:cubicBezTo>
                  <a:pt x="1596479" y="1193698"/>
                  <a:pt x="1595770" y="1194657"/>
                  <a:pt x="1595040" y="1195645"/>
                </a:cubicBezTo>
                <a:cubicBezTo>
                  <a:pt x="1591916" y="1196115"/>
                  <a:pt x="1588791" y="1196585"/>
                  <a:pt x="1585667" y="1197055"/>
                </a:cubicBezTo>
                <a:cubicBezTo>
                  <a:pt x="1583871" y="1199826"/>
                  <a:pt x="1583871" y="1199826"/>
                  <a:pt x="1582543" y="1202691"/>
                </a:cubicBezTo>
                <a:cubicBezTo>
                  <a:pt x="1575997" y="1204710"/>
                  <a:pt x="1569266" y="1204360"/>
                  <a:pt x="1562431" y="1204365"/>
                </a:cubicBezTo>
                <a:cubicBezTo>
                  <a:pt x="1561196" y="1204382"/>
                  <a:pt x="1559962" y="1204399"/>
                  <a:pt x="1558690" y="1204417"/>
                </a:cubicBezTo>
                <a:cubicBezTo>
                  <a:pt x="1543339" y="1204452"/>
                  <a:pt x="1531981" y="1199267"/>
                  <a:pt x="1521102" y="1189585"/>
                </a:cubicBezTo>
                <a:cubicBezTo>
                  <a:pt x="1515403" y="1183953"/>
                  <a:pt x="1510116" y="1178123"/>
                  <a:pt x="1505022" y="1172041"/>
                </a:cubicBezTo>
                <a:cubicBezTo>
                  <a:pt x="1493200" y="1158177"/>
                  <a:pt x="1475492" y="1147115"/>
                  <a:pt x="1457573" y="1140686"/>
                </a:cubicBezTo>
                <a:cubicBezTo>
                  <a:pt x="1457573" y="1139755"/>
                  <a:pt x="1457573" y="1138826"/>
                  <a:pt x="1457573" y="1137867"/>
                </a:cubicBezTo>
                <a:cubicBezTo>
                  <a:pt x="1456059" y="1137693"/>
                  <a:pt x="1454544" y="1137518"/>
                  <a:pt x="1452985" y="1137339"/>
                </a:cubicBezTo>
                <a:cubicBezTo>
                  <a:pt x="1451406" y="1137048"/>
                  <a:pt x="1449827" y="1136758"/>
                  <a:pt x="1448200" y="1136458"/>
                </a:cubicBezTo>
                <a:cubicBezTo>
                  <a:pt x="1447685" y="1135528"/>
                  <a:pt x="1447169" y="1134598"/>
                  <a:pt x="1446638" y="1133640"/>
                </a:cubicBezTo>
                <a:cubicBezTo>
                  <a:pt x="1444091" y="1132586"/>
                  <a:pt x="1441535" y="1131550"/>
                  <a:pt x="1438937" y="1130601"/>
                </a:cubicBezTo>
                <a:cubicBezTo>
                  <a:pt x="1435668" y="1129399"/>
                  <a:pt x="1432469" y="1128095"/>
                  <a:pt x="1429260" y="1126770"/>
                </a:cubicBezTo>
                <a:cubicBezTo>
                  <a:pt x="1423389" y="1124389"/>
                  <a:pt x="1417431" y="1122349"/>
                  <a:pt x="1411393" y="1120340"/>
                </a:cubicBezTo>
                <a:cubicBezTo>
                  <a:pt x="1404143" y="1117867"/>
                  <a:pt x="1397842" y="1115090"/>
                  <a:pt x="1391427" y="1111191"/>
                </a:cubicBezTo>
                <a:cubicBezTo>
                  <a:pt x="1388139" y="1109274"/>
                  <a:pt x="1384723" y="1108010"/>
                  <a:pt x="1381029" y="1106865"/>
                </a:cubicBezTo>
                <a:cubicBezTo>
                  <a:pt x="1381029" y="1105934"/>
                  <a:pt x="1381029" y="1105004"/>
                  <a:pt x="1381029" y="1104046"/>
                </a:cubicBezTo>
                <a:cubicBezTo>
                  <a:pt x="1379773" y="1103901"/>
                  <a:pt x="1378516" y="1103755"/>
                  <a:pt x="1377221" y="1103605"/>
                </a:cubicBezTo>
                <a:cubicBezTo>
                  <a:pt x="1370425" y="1102422"/>
                  <a:pt x="1364120" y="1100465"/>
                  <a:pt x="1357597" y="1098409"/>
                </a:cubicBezTo>
                <a:cubicBezTo>
                  <a:pt x="1355761" y="1097857"/>
                  <a:pt x="1353924" y="1097304"/>
                  <a:pt x="1352032" y="1096736"/>
                </a:cubicBezTo>
                <a:cubicBezTo>
                  <a:pt x="1350776" y="1096358"/>
                  <a:pt x="1349519" y="1095980"/>
                  <a:pt x="1348225" y="1095590"/>
                </a:cubicBezTo>
                <a:cubicBezTo>
                  <a:pt x="1348225" y="1094661"/>
                  <a:pt x="1348225" y="1093730"/>
                  <a:pt x="1348225" y="1092772"/>
                </a:cubicBezTo>
                <a:cubicBezTo>
                  <a:pt x="1344616" y="1092307"/>
                  <a:pt x="1341007" y="1091842"/>
                  <a:pt x="1337290" y="1091363"/>
                </a:cubicBezTo>
                <a:cubicBezTo>
                  <a:pt x="1337290" y="1090433"/>
                  <a:pt x="1337290" y="1089503"/>
                  <a:pt x="1337290" y="1088544"/>
                </a:cubicBezTo>
                <a:cubicBezTo>
                  <a:pt x="1334438" y="1088327"/>
                  <a:pt x="1334438" y="1088327"/>
                  <a:pt x="1331529" y="1088104"/>
                </a:cubicBezTo>
                <a:lnTo>
                  <a:pt x="1323297" y="1086611"/>
                </a:lnTo>
                <a:lnTo>
                  <a:pt x="1323297" y="1087618"/>
                </a:lnTo>
                <a:cubicBezTo>
                  <a:pt x="1322139" y="1087517"/>
                  <a:pt x="1320982" y="1087415"/>
                  <a:pt x="1319789" y="1087310"/>
                </a:cubicBezTo>
                <a:cubicBezTo>
                  <a:pt x="1300429" y="1085771"/>
                  <a:pt x="1281330" y="1084680"/>
                  <a:pt x="1262375" y="1089028"/>
                </a:cubicBezTo>
                <a:lnTo>
                  <a:pt x="1258728" y="1088205"/>
                </a:lnTo>
                <a:lnTo>
                  <a:pt x="1246964" y="1091489"/>
                </a:lnTo>
                <a:cubicBezTo>
                  <a:pt x="1237239" y="1097222"/>
                  <a:pt x="1228703" y="1103434"/>
                  <a:pt x="1223224" y="1112865"/>
                </a:cubicBezTo>
                <a:cubicBezTo>
                  <a:pt x="1220867" y="1116643"/>
                  <a:pt x="1217262" y="1119317"/>
                  <a:pt x="1213883" y="1122366"/>
                </a:cubicBezTo>
                <a:cubicBezTo>
                  <a:pt x="1213428" y="1123469"/>
                  <a:pt x="1212973" y="1124572"/>
                  <a:pt x="1212505" y="1125708"/>
                </a:cubicBezTo>
                <a:cubicBezTo>
                  <a:pt x="1210449" y="1130067"/>
                  <a:pt x="1207984" y="1132315"/>
                  <a:pt x="1204180" y="1135561"/>
                </a:cubicBezTo>
                <a:cubicBezTo>
                  <a:pt x="1202879" y="1136695"/>
                  <a:pt x="1201578" y="1137829"/>
                  <a:pt x="1200238" y="1138999"/>
                </a:cubicBezTo>
                <a:cubicBezTo>
                  <a:pt x="1197504" y="1141343"/>
                  <a:pt x="1194765" y="1143684"/>
                  <a:pt x="1192025" y="1146022"/>
                </a:cubicBezTo>
                <a:cubicBezTo>
                  <a:pt x="1181899" y="1154869"/>
                  <a:pt x="1174983" y="1161763"/>
                  <a:pt x="1173945" y="1174749"/>
                </a:cubicBezTo>
                <a:cubicBezTo>
                  <a:pt x="1173902" y="1177369"/>
                  <a:pt x="1173905" y="1179990"/>
                  <a:pt x="1173950" y="1182610"/>
                </a:cubicBezTo>
                <a:cubicBezTo>
                  <a:pt x="1173963" y="1183981"/>
                  <a:pt x="1173975" y="1185352"/>
                  <a:pt x="1173989" y="1186765"/>
                </a:cubicBezTo>
                <a:cubicBezTo>
                  <a:pt x="1174321" y="1197573"/>
                  <a:pt x="1176809" y="1205883"/>
                  <a:pt x="1182640" y="1215374"/>
                </a:cubicBezTo>
                <a:cubicBezTo>
                  <a:pt x="1183703" y="1217509"/>
                  <a:pt x="1184746" y="1219652"/>
                  <a:pt x="1185764" y="1221804"/>
                </a:cubicBezTo>
                <a:cubicBezTo>
                  <a:pt x="1186271" y="1222812"/>
                  <a:pt x="1186779" y="1223821"/>
                  <a:pt x="1187301" y="1224859"/>
                </a:cubicBezTo>
                <a:cubicBezTo>
                  <a:pt x="1188431" y="1227137"/>
                  <a:pt x="1189517" y="1229433"/>
                  <a:pt x="1190573" y="1231740"/>
                </a:cubicBezTo>
                <a:cubicBezTo>
                  <a:pt x="1194650" y="1240409"/>
                  <a:pt x="1199581" y="1247688"/>
                  <a:pt x="1205925" y="1255163"/>
                </a:cubicBezTo>
                <a:cubicBezTo>
                  <a:pt x="1208103" y="1257757"/>
                  <a:pt x="1210188" y="1260417"/>
                  <a:pt x="1212174" y="1263134"/>
                </a:cubicBezTo>
                <a:cubicBezTo>
                  <a:pt x="1218757" y="1272043"/>
                  <a:pt x="1225157" y="1277324"/>
                  <a:pt x="1235556" y="1282538"/>
                </a:cubicBezTo>
                <a:cubicBezTo>
                  <a:pt x="1236652" y="1283161"/>
                  <a:pt x="1237747" y="1283784"/>
                  <a:pt x="1238876" y="1284426"/>
                </a:cubicBezTo>
                <a:cubicBezTo>
                  <a:pt x="1238876" y="1285356"/>
                  <a:pt x="1238876" y="1286287"/>
                  <a:pt x="1238876" y="1287245"/>
                </a:cubicBezTo>
                <a:cubicBezTo>
                  <a:pt x="1239988" y="1287383"/>
                  <a:pt x="1241099" y="1287521"/>
                  <a:pt x="1242245" y="1287663"/>
                </a:cubicBezTo>
                <a:cubicBezTo>
                  <a:pt x="1253043" y="1290072"/>
                  <a:pt x="1264916" y="1297690"/>
                  <a:pt x="1271681" y="1305565"/>
                </a:cubicBezTo>
                <a:lnTo>
                  <a:pt x="1271742" y="1306172"/>
                </a:lnTo>
                <a:lnTo>
                  <a:pt x="1278525" y="1315767"/>
                </a:lnTo>
                <a:cubicBezTo>
                  <a:pt x="1279797" y="1319398"/>
                  <a:pt x="1280365" y="1323346"/>
                  <a:pt x="1281097" y="1327286"/>
                </a:cubicBezTo>
                <a:cubicBezTo>
                  <a:pt x="1281916" y="1337121"/>
                  <a:pt x="1281807" y="1346176"/>
                  <a:pt x="1277973" y="1355470"/>
                </a:cubicBezTo>
                <a:lnTo>
                  <a:pt x="1277460" y="1347025"/>
                </a:lnTo>
                <a:lnTo>
                  <a:pt x="1273531" y="1357991"/>
                </a:lnTo>
                <a:cubicBezTo>
                  <a:pt x="1270940" y="1361892"/>
                  <a:pt x="1267521" y="1365435"/>
                  <a:pt x="1263870" y="1368980"/>
                </a:cubicBezTo>
                <a:cubicBezTo>
                  <a:pt x="1258351" y="1372929"/>
                  <a:pt x="1253850" y="1376026"/>
                  <a:pt x="1246686" y="1376026"/>
                </a:cubicBezTo>
                <a:cubicBezTo>
                  <a:pt x="1246686" y="1376956"/>
                  <a:pt x="1246686" y="1377886"/>
                  <a:pt x="1246686" y="1378844"/>
                </a:cubicBezTo>
                <a:cubicBezTo>
                  <a:pt x="1241676" y="1379009"/>
                  <a:pt x="1236665" y="1379109"/>
                  <a:pt x="1231651" y="1379196"/>
                </a:cubicBezTo>
                <a:cubicBezTo>
                  <a:pt x="1230240" y="1379244"/>
                  <a:pt x="1228828" y="1379291"/>
                  <a:pt x="1227373" y="1379340"/>
                </a:cubicBezTo>
                <a:cubicBezTo>
                  <a:pt x="1218287" y="1379460"/>
                  <a:pt x="1213363" y="1378568"/>
                  <a:pt x="1206071" y="1373207"/>
                </a:cubicBezTo>
                <a:cubicBezTo>
                  <a:pt x="1204751" y="1372742"/>
                  <a:pt x="1203430" y="1372277"/>
                  <a:pt x="1202069" y="1371798"/>
                </a:cubicBezTo>
                <a:cubicBezTo>
                  <a:pt x="1193777" y="1368730"/>
                  <a:pt x="1188124" y="1363294"/>
                  <a:pt x="1184104" y="1356176"/>
                </a:cubicBezTo>
                <a:cubicBezTo>
                  <a:pt x="1180965" y="1349259"/>
                  <a:pt x="1178852" y="1342590"/>
                  <a:pt x="1177270" y="1335247"/>
                </a:cubicBezTo>
                <a:cubicBezTo>
                  <a:pt x="1175525" y="1327352"/>
                  <a:pt x="1172911" y="1320677"/>
                  <a:pt x="1169002" y="1313464"/>
                </a:cubicBezTo>
                <a:cubicBezTo>
                  <a:pt x="1166989" y="1309737"/>
                  <a:pt x="1165215" y="1305976"/>
                  <a:pt x="1163504" y="1302130"/>
                </a:cubicBezTo>
                <a:cubicBezTo>
                  <a:pt x="1163013" y="1301027"/>
                  <a:pt x="1162521" y="1299924"/>
                  <a:pt x="1162015" y="1298788"/>
                </a:cubicBezTo>
                <a:cubicBezTo>
                  <a:pt x="1160770" y="1295700"/>
                  <a:pt x="1160770" y="1295700"/>
                  <a:pt x="1160111" y="1292656"/>
                </a:cubicBezTo>
                <a:cubicBezTo>
                  <a:pt x="1159345" y="1289507"/>
                  <a:pt x="1159345" y="1289507"/>
                  <a:pt x="1154522" y="1287245"/>
                </a:cubicBezTo>
                <a:cubicBezTo>
                  <a:pt x="1153465" y="1284902"/>
                  <a:pt x="1152426" y="1282552"/>
                  <a:pt x="1151398" y="1280199"/>
                </a:cubicBezTo>
                <a:cubicBezTo>
                  <a:pt x="1149056" y="1276983"/>
                  <a:pt x="1146686" y="1273874"/>
                  <a:pt x="1144173" y="1270774"/>
                </a:cubicBezTo>
                <a:cubicBezTo>
                  <a:pt x="1143477" y="1269912"/>
                  <a:pt x="1142782" y="1269049"/>
                  <a:pt x="1142065" y="1268160"/>
                </a:cubicBezTo>
                <a:cubicBezTo>
                  <a:pt x="1139981" y="1265589"/>
                  <a:pt x="1137880" y="1263029"/>
                  <a:pt x="1135776" y="1260470"/>
                </a:cubicBezTo>
                <a:cubicBezTo>
                  <a:pt x="1134647" y="1259076"/>
                  <a:pt x="1133517" y="1257683"/>
                  <a:pt x="1132353" y="1256247"/>
                </a:cubicBezTo>
                <a:cubicBezTo>
                  <a:pt x="1126291" y="1249045"/>
                  <a:pt x="1121408" y="1244606"/>
                  <a:pt x="1112344" y="1240741"/>
                </a:cubicBezTo>
                <a:cubicBezTo>
                  <a:pt x="1110285" y="1239698"/>
                  <a:pt x="1108234" y="1238642"/>
                  <a:pt x="1106193" y="1237570"/>
                </a:cubicBezTo>
                <a:cubicBezTo>
                  <a:pt x="1104615" y="1236756"/>
                  <a:pt x="1103036" y="1235942"/>
                  <a:pt x="1101409" y="1235104"/>
                </a:cubicBezTo>
                <a:cubicBezTo>
                  <a:pt x="1101409" y="1233708"/>
                  <a:pt x="1101409" y="1232313"/>
                  <a:pt x="1101409" y="1230876"/>
                </a:cubicBezTo>
                <a:cubicBezTo>
                  <a:pt x="1089553" y="1230876"/>
                  <a:pt x="1077697" y="1230876"/>
                  <a:pt x="1065480" y="1230876"/>
                </a:cubicBezTo>
                <a:cubicBezTo>
                  <a:pt x="1064965" y="1232271"/>
                  <a:pt x="1064450" y="1233666"/>
                  <a:pt x="1063919" y="1235104"/>
                </a:cubicBezTo>
                <a:cubicBezTo>
                  <a:pt x="1062372" y="1235104"/>
                  <a:pt x="1060826" y="1235104"/>
                  <a:pt x="1059232" y="1235104"/>
                </a:cubicBezTo>
                <a:cubicBezTo>
                  <a:pt x="1059232" y="1236033"/>
                  <a:pt x="1059232" y="1236964"/>
                  <a:pt x="1059232" y="1237922"/>
                </a:cubicBezTo>
                <a:cubicBezTo>
                  <a:pt x="1052964" y="1240850"/>
                  <a:pt x="1046842" y="1243613"/>
                  <a:pt x="1040194" y="1245761"/>
                </a:cubicBezTo>
                <a:cubicBezTo>
                  <a:pt x="1036552" y="1246941"/>
                  <a:pt x="1033682" y="1248088"/>
                  <a:pt x="1030333" y="1249901"/>
                </a:cubicBezTo>
                <a:cubicBezTo>
                  <a:pt x="1025129" y="1252717"/>
                  <a:pt x="1019615" y="1254371"/>
                  <a:pt x="1013931" y="1256242"/>
                </a:cubicBezTo>
                <a:cubicBezTo>
                  <a:pt x="1009870" y="1257688"/>
                  <a:pt x="1008221" y="1258277"/>
                  <a:pt x="1005925" y="1261615"/>
                </a:cubicBezTo>
                <a:cubicBezTo>
                  <a:pt x="1005474" y="1262632"/>
                  <a:pt x="1005023" y="1263649"/>
                  <a:pt x="1004558" y="1264697"/>
                </a:cubicBezTo>
                <a:cubicBezTo>
                  <a:pt x="1004030" y="1265774"/>
                  <a:pt x="1003503" y="1266852"/>
                  <a:pt x="1002959" y="1267961"/>
                </a:cubicBezTo>
                <a:cubicBezTo>
                  <a:pt x="1001408" y="1271808"/>
                  <a:pt x="1000922" y="1274896"/>
                  <a:pt x="1000653" y="1278965"/>
                </a:cubicBezTo>
                <a:cubicBezTo>
                  <a:pt x="1000303" y="1284158"/>
                  <a:pt x="999467" y="1289055"/>
                  <a:pt x="998297" y="1294137"/>
                </a:cubicBezTo>
                <a:cubicBezTo>
                  <a:pt x="996204" y="1304306"/>
                  <a:pt x="996129" y="1314460"/>
                  <a:pt x="996162" y="1324765"/>
                </a:cubicBezTo>
                <a:cubicBezTo>
                  <a:pt x="996163" y="1325782"/>
                  <a:pt x="996163" y="1326799"/>
                  <a:pt x="996164" y="1327846"/>
                </a:cubicBezTo>
                <a:cubicBezTo>
                  <a:pt x="996263" y="1353742"/>
                  <a:pt x="1001081" y="1378188"/>
                  <a:pt x="1007780" y="1403329"/>
                </a:cubicBezTo>
                <a:cubicBezTo>
                  <a:pt x="1008163" y="1404772"/>
                  <a:pt x="1008546" y="1406215"/>
                  <a:pt x="1008940" y="1407701"/>
                </a:cubicBezTo>
                <a:cubicBezTo>
                  <a:pt x="1009316" y="1409030"/>
                  <a:pt x="1009693" y="1410360"/>
                  <a:pt x="1010080" y="1411730"/>
                </a:cubicBezTo>
                <a:cubicBezTo>
                  <a:pt x="1010409" y="1412900"/>
                  <a:pt x="1010737" y="1414071"/>
                  <a:pt x="1011075" y="1415277"/>
                </a:cubicBezTo>
                <a:cubicBezTo>
                  <a:pt x="1012501" y="1418612"/>
                  <a:pt x="1014136" y="1420168"/>
                  <a:pt x="1017055" y="1422530"/>
                </a:cubicBezTo>
                <a:cubicBezTo>
                  <a:pt x="1018770" y="1425162"/>
                  <a:pt x="1018770" y="1425162"/>
                  <a:pt x="1020277" y="1427991"/>
                </a:cubicBezTo>
                <a:cubicBezTo>
                  <a:pt x="1020778" y="1428917"/>
                  <a:pt x="1021280" y="1429844"/>
                  <a:pt x="1021796" y="1430798"/>
                </a:cubicBezTo>
                <a:cubicBezTo>
                  <a:pt x="1023303" y="1433804"/>
                  <a:pt x="1023303" y="1433804"/>
                  <a:pt x="1024579" y="1437239"/>
                </a:cubicBezTo>
                <a:cubicBezTo>
                  <a:pt x="1026915" y="1441803"/>
                  <a:pt x="1030098" y="1444534"/>
                  <a:pt x="1034043" y="1448072"/>
                </a:cubicBezTo>
                <a:lnTo>
                  <a:pt x="1043782" y="1464320"/>
                </a:lnTo>
                <a:lnTo>
                  <a:pt x="1050458" y="1472189"/>
                </a:lnTo>
                <a:cubicBezTo>
                  <a:pt x="1051737" y="1475181"/>
                  <a:pt x="1052277" y="1478513"/>
                  <a:pt x="1052926" y="1482370"/>
                </a:cubicBezTo>
                <a:cubicBezTo>
                  <a:pt x="1053325" y="1487224"/>
                  <a:pt x="1053364" y="1492038"/>
                  <a:pt x="1053316" y="1496903"/>
                </a:cubicBezTo>
                <a:cubicBezTo>
                  <a:pt x="1053328" y="1498142"/>
                  <a:pt x="1053340" y="1499382"/>
                  <a:pt x="1053352" y="1500660"/>
                </a:cubicBezTo>
                <a:cubicBezTo>
                  <a:pt x="1053348" y="1501856"/>
                  <a:pt x="1053344" y="1503052"/>
                  <a:pt x="1053341" y="1504285"/>
                </a:cubicBezTo>
                <a:cubicBezTo>
                  <a:pt x="1053336" y="1505355"/>
                  <a:pt x="1053333" y="1506426"/>
                  <a:pt x="1053329" y="1507529"/>
                </a:cubicBezTo>
                <a:cubicBezTo>
                  <a:pt x="1052876" y="1510927"/>
                  <a:pt x="1051672" y="1513237"/>
                  <a:pt x="1049801" y="1516192"/>
                </a:cubicBezTo>
                <a:lnTo>
                  <a:pt x="1047312" y="1516192"/>
                </a:lnTo>
                <a:lnTo>
                  <a:pt x="1043611" y="1522585"/>
                </a:lnTo>
                <a:cubicBezTo>
                  <a:pt x="1035301" y="1529631"/>
                  <a:pt x="1035301" y="1529631"/>
                  <a:pt x="1029552" y="1529631"/>
                </a:cubicBezTo>
                <a:cubicBezTo>
                  <a:pt x="1029294" y="1530503"/>
                  <a:pt x="1029036" y="1531375"/>
                  <a:pt x="1028771" y="1532273"/>
                </a:cubicBezTo>
                <a:cubicBezTo>
                  <a:pt x="1025795" y="1536076"/>
                  <a:pt x="1022970" y="1536733"/>
                  <a:pt x="1018013" y="1537640"/>
                </a:cubicBezTo>
                <a:cubicBezTo>
                  <a:pt x="1005216" y="1539038"/>
                  <a:pt x="992573" y="1539816"/>
                  <a:pt x="981126" y="1533859"/>
                </a:cubicBezTo>
                <a:cubicBezTo>
                  <a:pt x="979840" y="1533226"/>
                  <a:pt x="978553" y="1532594"/>
                  <a:pt x="977227" y="1531943"/>
                </a:cubicBezTo>
                <a:cubicBezTo>
                  <a:pt x="965286" y="1525877"/>
                  <a:pt x="959626" y="1520520"/>
                  <a:pt x="955376" y="1508751"/>
                </a:cubicBezTo>
                <a:cubicBezTo>
                  <a:pt x="954571" y="1505674"/>
                  <a:pt x="954571" y="1505674"/>
                  <a:pt x="954571" y="1500037"/>
                </a:cubicBezTo>
                <a:cubicBezTo>
                  <a:pt x="953539" y="1500037"/>
                  <a:pt x="952508" y="1500037"/>
                  <a:pt x="951446" y="1500037"/>
                </a:cubicBezTo>
                <a:cubicBezTo>
                  <a:pt x="951361" y="1495986"/>
                  <a:pt x="951299" y="1491935"/>
                  <a:pt x="951251" y="1487883"/>
                </a:cubicBezTo>
                <a:cubicBezTo>
                  <a:pt x="951224" y="1486744"/>
                  <a:pt x="951198" y="1485605"/>
                  <a:pt x="951171" y="1484431"/>
                </a:cubicBezTo>
                <a:cubicBezTo>
                  <a:pt x="951110" y="1477657"/>
                  <a:pt x="952093" y="1472660"/>
                  <a:pt x="954571" y="1466216"/>
                </a:cubicBezTo>
                <a:cubicBezTo>
                  <a:pt x="954867" y="1462451"/>
                  <a:pt x="955016" y="1458876"/>
                  <a:pt x="954961" y="1455118"/>
                </a:cubicBezTo>
                <a:cubicBezTo>
                  <a:pt x="954951" y="1454080"/>
                  <a:pt x="954942" y="1453042"/>
                  <a:pt x="954932" y="1451972"/>
                </a:cubicBezTo>
                <a:cubicBezTo>
                  <a:pt x="954606" y="1435235"/>
                  <a:pt x="952568" y="1419050"/>
                  <a:pt x="945099" y="1403594"/>
                </a:cubicBezTo>
                <a:cubicBezTo>
                  <a:pt x="943714" y="1400177"/>
                  <a:pt x="943046" y="1397128"/>
                  <a:pt x="942366" y="1393553"/>
                </a:cubicBezTo>
                <a:cubicBezTo>
                  <a:pt x="940837" y="1386134"/>
                  <a:pt x="937840" y="1379609"/>
                  <a:pt x="934451" y="1372734"/>
                </a:cubicBezTo>
                <a:cubicBezTo>
                  <a:pt x="932701" y="1368980"/>
                  <a:pt x="932701" y="1368980"/>
                  <a:pt x="931974" y="1365754"/>
                </a:cubicBezTo>
                <a:cubicBezTo>
                  <a:pt x="931699" y="1364958"/>
                  <a:pt x="931422" y="1364162"/>
                  <a:pt x="931138" y="1363343"/>
                </a:cubicBezTo>
                <a:cubicBezTo>
                  <a:pt x="929592" y="1362878"/>
                  <a:pt x="928045" y="1362413"/>
                  <a:pt x="926452" y="1361933"/>
                </a:cubicBezTo>
                <a:cubicBezTo>
                  <a:pt x="921830" y="1355261"/>
                  <a:pt x="920323" y="1348382"/>
                  <a:pt x="918641" y="1340795"/>
                </a:cubicBezTo>
                <a:cubicBezTo>
                  <a:pt x="918133" y="1338914"/>
                  <a:pt x="917616" y="1337034"/>
                  <a:pt x="917079" y="1335158"/>
                </a:cubicBezTo>
                <a:cubicBezTo>
                  <a:pt x="916048" y="1335158"/>
                  <a:pt x="915018" y="1335158"/>
                  <a:pt x="913955" y="1335158"/>
                </a:cubicBezTo>
                <a:cubicBezTo>
                  <a:pt x="913329" y="1333718"/>
                  <a:pt x="912703" y="1332277"/>
                  <a:pt x="912057" y="1330793"/>
                </a:cubicBezTo>
                <a:cubicBezTo>
                  <a:pt x="909497" y="1325424"/>
                  <a:pt x="906114" y="1320822"/>
                  <a:pt x="902142" y="1316222"/>
                </a:cubicBezTo>
                <a:cubicBezTo>
                  <a:pt x="901465" y="1315432"/>
                  <a:pt x="900788" y="1314642"/>
                  <a:pt x="900091" y="1313828"/>
                </a:cubicBezTo>
                <a:cubicBezTo>
                  <a:pt x="893705" y="1306618"/>
                  <a:pt x="886350" y="1301049"/>
                  <a:pt x="878026" y="1295700"/>
                </a:cubicBezTo>
                <a:cubicBezTo>
                  <a:pt x="876595" y="1294594"/>
                  <a:pt x="876595" y="1294594"/>
                  <a:pt x="875134" y="1293465"/>
                </a:cubicBezTo>
                <a:lnTo>
                  <a:pt x="869869" y="1291826"/>
                </a:lnTo>
                <a:lnTo>
                  <a:pt x="862384" y="1291327"/>
                </a:lnTo>
                <a:cubicBezTo>
                  <a:pt x="856441" y="1290067"/>
                  <a:pt x="850461" y="1290346"/>
                  <a:pt x="844390" y="1290461"/>
                </a:cubicBezTo>
                <a:cubicBezTo>
                  <a:pt x="842453" y="1290480"/>
                  <a:pt x="842453" y="1290480"/>
                  <a:pt x="840476" y="1290500"/>
                </a:cubicBezTo>
                <a:cubicBezTo>
                  <a:pt x="837322" y="1290532"/>
                  <a:pt x="834169" y="1290583"/>
                  <a:pt x="831015" y="1290637"/>
                </a:cubicBezTo>
                <a:cubicBezTo>
                  <a:pt x="831015" y="1291568"/>
                  <a:pt x="831015" y="1292498"/>
                  <a:pt x="831015" y="1293456"/>
                </a:cubicBezTo>
                <a:cubicBezTo>
                  <a:pt x="826519" y="1294808"/>
                  <a:pt x="822922" y="1295235"/>
                  <a:pt x="818225" y="1295570"/>
                </a:cubicBezTo>
                <a:lnTo>
                  <a:pt x="796774" y="1297671"/>
                </a:lnTo>
                <a:lnTo>
                  <a:pt x="783646" y="1305736"/>
                </a:lnTo>
                <a:cubicBezTo>
                  <a:pt x="776915" y="1312506"/>
                  <a:pt x="772692" y="1318638"/>
                  <a:pt x="769263" y="1327143"/>
                </a:cubicBezTo>
                <a:cubicBezTo>
                  <a:pt x="767116" y="1332340"/>
                  <a:pt x="767116" y="1332340"/>
                  <a:pt x="764797" y="1334360"/>
                </a:cubicBezTo>
                <a:lnTo>
                  <a:pt x="757875" y="1353503"/>
                </a:lnTo>
                <a:lnTo>
                  <a:pt x="755676" y="1367455"/>
                </a:lnTo>
                <a:lnTo>
                  <a:pt x="750558" y="1399690"/>
                </a:lnTo>
                <a:lnTo>
                  <a:pt x="753057" y="1411256"/>
                </a:lnTo>
                <a:cubicBezTo>
                  <a:pt x="753057" y="1413117"/>
                  <a:pt x="753057" y="1414976"/>
                  <a:pt x="753057" y="1416893"/>
                </a:cubicBezTo>
                <a:cubicBezTo>
                  <a:pt x="754087" y="1416893"/>
                  <a:pt x="755119" y="1416893"/>
                  <a:pt x="756181" y="1416893"/>
                </a:cubicBezTo>
                <a:cubicBezTo>
                  <a:pt x="759348" y="1422607"/>
                  <a:pt x="758101" y="1429902"/>
                  <a:pt x="758133" y="1436182"/>
                </a:cubicBezTo>
                <a:cubicBezTo>
                  <a:pt x="758182" y="1438458"/>
                  <a:pt x="758182" y="1438458"/>
                  <a:pt x="758231" y="1440781"/>
                </a:cubicBezTo>
                <a:cubicBezTo>
                  <a:pt x="758283" y="1450271"/>
                  <a:pt x="758174" y="1458360"/>
                  <a:pt x="750713" y="1465704"/>
                </a:cubicBezTo>
                <a:cubicBezTo>
                  <a:pt x="749940" y="1466193"/>
                  <a:pt x="749167" y="1466681"/>
                  <a:pt x="748370" y="1467185"/>
                </a:cubicBezTo>
                <a:cubicBezTo>
                  <a:pt x="743665" y="1470047"/>
                  <a:pt x="743665" y="1470047"/>
                  <a:pt x="741633" y="1473526"/>
                </a:cubicBezTo>
                <a:cubicBezTo>
                  <a:pt x="737793" y="1477248"/>
                  <a:pt x="733582" y="1477483"/>
                  <a:pt x="728154" y="1478343"/>
                </a:cubicBezTo>
                <a:cubicBezTo>
                  <a:pt x="724855" y="1478778"/>
                  <a:pt x="724855" y="1478778"/>
                  <a:pt x="721814" y="1480308"/>
                </a:cubicBezTo>
                <a:cubicBezTo>
                  <a:pt x="717303" y="1480523"/>
                  <a:pt x="712854" y="1480634"/>
                  <a:pt x="708341" y="1480661"/>
                </a:cubicBezTo>
                <a:cubicBezTo>
                  <a:pt x="707118" y="1480690"/>
                  <a:pt x="705896" y="1480719"/>
                  <a:pt x="704637" y="1480748"/>
                </a:cubicBezTo>
                <a:cubicBezTo>
                  <a:pt x="690446" y="1480834"/>
                  <a:pt x="679632" y="1476246"/>
                  <a:pt x="668507" y="1468418"/>
                </a:cubicBezTo>
                <a:cubicBezTo>
                  <a:pt x="662823" y="1463224"/>
                  <a:pt x="661745" y="1456995"/>
                  <a:pt x="660178" y="1450027"/>
                </a:cubicBezTo>
                <a:cubicBezTo>
                  <a:pt x="659725" y="1446589"/>
                  <a:pt x="659725" y="1446589"/>
                  <a:pt x="657767" y="1445078"/>
                </a:cubicBezTo>
                <a:cubicBezTo>
                  <a:pt x="656859" y="1433686"/>
                  <a:pt x="655965" y="1419178"/>
                  <a:pt x="663369" y="1409390"/>
                </a:cubicBezTo>
                <a:cubicBezTo>
                  <a:pt x="666078" y="1406601"/>
                  <a:pt x="668921" y="1404013"/>
                  <a:pt x="671826" y="1401392"/>
                </a:cubicBezTo>
                <a:cubicBezTo>
                  <a:pt x="675197" y="1397623"/>
                  <a:pt x="677125" y="1394916"/>
                  <a:pt x="678075" y="1390118"/>
                </a:cubicBezTo>
                <a:cubicBezTo>
                  <a:pt x="680137" y="1389653"/>
                  <a:pt x="682199" y="1389188"/>
                  <a:pt x="684323" y="1388709"/>
                </a:cubicBezTo>
                <a:cubicBezTo>
                  <a:pt x="684643" y="1387232"/>
                  <a:pt x="684964" y="1385755"/>
                  <a:pt x="685293" y="1384233"/>
                </a:cubicBezTo>
                <a:cubicBezTo>
                  <a:pt x="685718" y="1382290"/>
                  <a:pt x="686144" y="1380347"/>
                  <a:pt x="686569" y="1378404"/>
                </a:cubicBezTo>
                <a:cubicBezTo>
                  <a:pt x="686885" y="1376945"/>
                  <a:pt x="686885" y="1376945"/>
                  <a:pt x="687207" y="1375456"/>
                </a:cubicBezTo>
                <a:cubicBezTo>
                  <a:pt x="688115" y="1371315"/>
                  <a:pt x="689090" y="1367353"/>
                  <a:pt x="690572" y="1363343"/>
                </a:cubicBezTo>
                <a:cubicBezTo>
                  <a:pt x="692411" y="1350128"/>
                  <a:pt x="692374" y="1336672"/>
                  <a:pt x="692495" y="1323376"/>
                </a:cubicBezTo>
                <a:cubicBezTo>
                  <a:pt x="692524" y="1320586"/>
                  <a:pt x="692574" y="1317796"/>
                  <a:pt x="692625" y="1315006"/>
                </a:cubicBezTo>
                <a:cubicBezTo>
                  <a:pt x="692853" y="1300589"/>
                  <a:pt x="692853" y="1300589"/>
                  <a:pt x="687447" y="1287245"/>
                </a:cubicBezTo>
                <a:cubicBezTo>
                  <a:pt x="685901" y="1286780"/>
                  <a:pt x="684354" y="1286315"/>
                  <a:pt x="682761" y="1285835"/>
                </a:cubicBezTo>
                <a:cubicBezTo>
                  <a:pt x="680876" y="1283743"/>
                  <a:pt x="680876" y="1283743"/>
                  <a:pt x="678954" y="1281608"/>
                </a:cubicBezTo>
                <a:cubicBezTo>
                  <a:pt x="674854" y="1277278"/>
                  <a:pt x="674356" y="1276958"/>
                  <a:pt x="668702" y="1275971"/>
                </a:cubicBezTo>
                <a:cubicBezTo>
                  <a:pt x="666619" y="1274092"/>
                  <a:pt x="664536" y="1272213"/>
                  <a:pt x="662454" y="1270334"/>
                </a:cubicBezTo>
                <a:cubicBezTo>
                  <a:pt x="658341" y="1268566"/>
                  <a:pt x="658341" y="1268566"/>
                  <a:pt x="654643" y="1267516"/>
                </a:cubicBezTo>
                <a:cubicBezTo>
                  <a:pt x="654643" y="1266585"/>
                  <a:pt x="654643" y="1265656"/>
                  <a:pt x="654643" y="1264697"/>
                </a:cubicBezTo>
                <a:cubicBezTo>
                  <a:pt x="653161" y="1264581"/>
                  <a:pt x="651679" y="1264465"/>
                  <a:pt x="650152" y="1264345"/>
                </a:cubicBezTo>
                <a:cubicBezTo>
                  <a:pt x="642318" y="1263373"/>
                  <a:pt x="635297" y="1260465"/>
                  <a:pt x="628087" y="1257651"/>
                </a:cubicBezTo>
                <a:cubicBezTo>
                  <a:pt x="628087" y="1256721"/>
                  <a:pt x="628087" y="1255791"/>
                  <a:pt x="628087" y="1254833"/>
                </a:cubicBezTo>
                <a:cubicBezTo>
                  <a:pt x="627108" y="1254662"/>
                  <a:pt x="626129" y="1254491"/>
                  <a:pt x="625121" y="1254315"/>
                </a:cubicBezTo>
                <a:cubicBezTo>
                  <a:pt x="623845" y="1254079"/>
                  <a:pt x="622568" y="1253843"/>
                  <a:pt x="621252" y="1253600"/>
                </a:cubicBezTo>
                <a:cubicBezTo>
                  <a:pt x="619984" y="1253371"/>
                  <a:pt x="618716" y="1253142"/>
                  <a:pt x="617409" y="1252906"/>
                </a:cubicBezTo>
                <a:cubicBezTo>
                  <a:pt x="614027" y="1252014"/>
                  <a:pt x="614027" y="1252014"/>
                  <a:pt x="610904" y="1249196"/>
                </a:cubicBezTo>
                <a:cubicBezTo>
                  <a:pt x="592259" y="1248653"/>
                  <a:pt x="578635" y="1260869"/>
                  <a:pt x="565739" y="1271742"/>
                </a:cubicBezTo>
                <a:cubicBezTo>
                  <a:pt x="558808" y="1277725"/>
                  <a:pt x="552763" y="1283983"/>
                  <a:pt x="546924" y="1290829"/>
                </a:cubicBezTo>
                <a:cubicBezTo>
                  <a:pt x="545838" y="1292087"/>
                  <a:pt x="544753" y="1293346"/>
                  <a:pt x="543635" y="1294643"/>
                </a:cubicBezTo>
                <a:cubicBezTo>
                  <a:pt x="542650" y="1295813"/>
                  <a:pt x="541666" y="1296983"/>
                  <a:pt x="540651" y="1298188"/>
                </a:cubicBezTo>
                <a:cubicBezTo>
                  <a:pt x="537294" y="1301526"/>
                  <a:pt x="533978" y="1303337"/>
                  <a:pt x="529673" y="1305565"/>
                </a:cubicBezTo>
                <a:cubicBezTo>
                  <a:pt x="527599" y="1308478"/>
                  <a:pt x="527599" y="1308478"/>
                  <a:pt x="526549" y="1311202"/>
                </a:cubicBezTo>
                <a:cubicBezTo>
                  <a:pt x="525518" y="1311202"/>
                  <a:pt x="524487" y="1311202"/>
                  <a:pt x="523425" y="1311202"/>
                </a:cubicBezTo>
                <a:cubicBezTo>
                  <a:pt x="523360" y="1311986"/>
                  <a:pt x="523296" y="1312771"/>
                  <a:pt x="523230" y="1313580"/>
                </a:cubicBezTo>
                <a:cubicBezTo>
                  <a:pt x="521863" y="1316839"/>
                  <a:pt x="521863" y="1316839"/>
                  <a:pt x="517732" y="1319739"/>
                </a:cubicBezTo>
                <a:cubicBezTo>
                  <a:pt x="511111" y="1324565"/>
                  <a:pt x="506875" y="1330731"/>
                  <a:pt x="502239" y="1337096"/>
                </a:cubicBezTo>
                <a:cubicBezTo>
                  <a:pt x="500512" y="1339427"/>
                  <a:pt x="498785" y="1341757"/>
                  <a:pt x="497058" y="1344087"/>
                </a:cubicBezTo>
                <a:cubicBezTo>
                  <a:pt x="495827" y="1345760"/>
                  <a:pt x="495827" y="1345760"/>
                  <a:pt x="494572" y="1347465"/>
                </a:cubicBezTo>
                <a:cubicBezTo>
                  <a:pt x="492366" y="1350414"/>
                  <a:pt x="490094" y="1353304"/>
                  <a:pt x="487776" y="1356181"/>
                </a:cubicBezTo>
                <a:cubicBezTo>
                  <a:pt x="484805" y="1359972"/>
                  <a:pt x="482865" y="1363193"/>
                  <a:pt x="481248" y="1367571"/>
                </a:cubicBezTo>
                <a:cubicBezTo>
                  <a:pt x="480216" y="1367571"/>
                  <a:pt x="479186" y="1367571"/>
                  <a:pt x="478123" y="1367571"/>
                </a:cubicBezTo>
                <a:cubicBezTo>
                  <a:pt x="477963" y="1368558"/>
                  <a:pt x="477801" y="1369547"/>
                  <a:pt x="477635" y="1370565"/>
                </a:cubicBezTo>
                <a:cubicBezTo>
                  <a:pt x="475602" y="1378236"/>
                  <a:pt x="471952" y="1383371"/>
                  <a:pt x="465626" y="1388709"/>
                </a:cubicBezTo>
                <a:cubicBezTo>
                  <a:pt x="462272" y="1392748"/>
                  <a:pt x="462272" y="1392748"/>
                  <a:pt x="461233" y="1397340"/>
                </a:cubicBezTo>
                <a:cubicBezTo>
                  <a:pt x="460030" y="1401461"/>
                  <a:pt x="458298" y="1404501"/>
                  <a:pt x="455765" y="1408086"/>
                </a:cubicBezTo>
                <a:cubicBezTo>
                  <a:pt x="442829" y="1428603"/>
                  <a:pt x="441572" y="1454548"/>
                  <a:pt x="439070" y="1477490"/>
                </a:cubicBezTo>
                <a:cubicBezTo>
                  <a:pt x="437524" y="1477955"/>
                  <a:pt x="435977" y="1478420"/>
                  <a:pt x="434384" y="1478899"/>
                </a:cubicBezTo>
                <a:cubicBezTo>
                  <a:pt x="433739" y="1479916"/>
                  <a:pt x="433095" y="1480933"/>
                  <a:pt x="432431" y="1481982"/>
                </a:cubicBezTo>
                <a:cubicBezTo>
                  <a:pt x="428860" y="1487159"/>
                  <a:pt x="424291" y="1490903"/>
                  <a:pt x="418763" y="1494401"/>
                </a:cubicBezTo>
                <a:cubicBezTo>
                  <a:pt x="417731" y="1494401"/>
                  <a:pt x="416701" y="1494401"/>
                  <a:pt x="415639" y="1494401"/>
                </a:cubicBezTo>
                <a:cubicBezTo>
                  <a:pt x="415639" y="1495330"/>
                  <a:pt x="415639" y="1496260"/>
                  <a:pt x="415639" y="1497219"/>
                </a:cubicBezTo>
                <a:cubicBezTo>
                  <a:pt x="412546" y="1497684"/>
                  <a:pt x="409453" y="1498149"/>
                  <a:pt x="406265" y="1498628"/>
                </a:cubicBezTo>
                <a:cubicBezTo>
                  <a:pt x="406265" y="1499559"/>
                  <a:pt x="406265" y="1500488"/>
                  <a:pt x="406265" y="1501447"/>
                </a:cubicBezTo>
                <a:cubicBezTo>
                  <a:pt x="395955" y="1501447"/>
                  <a:pt x="385645" y="1501447"/>
                  <a:pt x="375023" y="1501447"/>
                </a:cubicBezTo>
                <a:lnTo>
                  <a:pt x="375023" y="1499438"/>
                </a:lnTo>
                <a:lnTo>
                  <a:pt x="374964" y="1499436"/>
                </a:lnTo>
                <a:lnTo>
                  <a:pt x="373179" y="1498628"/>
                </a:lnTo>
                <a:lnTo>
                  <a:pt x="365650" y="1498628"/>
                </a:lnTo>
                <a:lnTo>
                  <a:pt x="363134" y="1494087"/>
                </a:lnTo>
                <a:lnTo>
                  <a:pt x="362171" y="1493651"/>
                </a:lnTo>
                <a:cubicBezTo>
                  <a:pt x="361656" y="1492722"/>
                  <a:pt x="361140" y="1491791"/>
                  <a:pt x="360609" y="1490833"/>
                </a:cubicBezTo>
                <a:cubicBezTo>
                  <a:pt x="361640" y="1490833"/>
                  <a:pt x="362671" y="1490833"/>
                  <a:pt x="363733" y="1490833"/>
                </a:cubicBezTo>
                <a:lnTo>
                  <a:pt x="363733" y="1489980"/>
                </a:lnTo>
                <a:lnTo>
                  <a:pt x="348467" y="1481717"/>
                </a:lnTo>
                <a:lnTo>
                  <a:pt x="343872" y="1461078"/>
                </a:lnTo>
                <a:lnTo>
                  <a:pt x="343656" y="1463649"/>
                </a:lnTo>
                <a:cubicBezTo>
                  <a:pt x="343541" y="1465230"/>
                  <a:pt x="343541" y="1465230"/>
                  <a:pt x="343424" y="1466842"/>
                </a:cubicBezTo>
                <a:cubicBezTo>
                  <a:pt x="342908" y="1466842"/>
                  <a:pt x="342393" y="1466842"/>
                  <a:pt x="341861" y="1466842"/>
                </a:cubicBezTo>
                <a:cubicBezTo>
                  <a:pt x="340987" y="1449564"/>
                  <a:pt x="340999" y="1434331"/>
                  <a:pt x="354143" y="1420549"/>
                </a:cubicBezTo>
                <a:cubicBezTo>
                  <a:pt x="360765" y="1414011"/>
                  <a:pt x="367631" y="1407790"/>
                  <a:pt x="376229" y="1403427"/>
                </a:cubicBezTo>
                <a:lnTo>
                  <a:pt x="379491" y="1404408"/>
                </a:lnTo>
                <a:lnTo>
                  <a:pt x="379710" y="1404210"/>
                </a:lnTo>
                <a:cubicBezTo>
                  <a:pt x="380290" y="1402902"/>
                  <a:pt x="380290" y="1402902"/>
                  <a:pt x="380882" y="1401568"/>
                </a:cubicBezTo>
                <a:cubicBezTo>
                  <a:pt x="383675" y="1397284"/>
                  <a:pt x="387587" y="1395610"/>
                  <a:pt x="392207" y="1392936"/>
                </a:cubicBezTo>
                <a:lnTo>
                  <a:pt x="399542" y="1386774"/>
                </a:lnTo>
                <a:lnTo>
                  <a:pt x="405485" y="1378917"/>
                </a:lnTo>
                <a:cubicBezTo>
                  <a:pt x="408065" y="1375974"/>
                  <a:pt x="410029" y="1372774"/>
                  <a:pt x="412008" y="1369481"/>
                </a:cubicBezTo>
                <a:cubicBezTo>
                  <a:pt x="414759" y="1365166"/>
                  <a:pt x="417963" y="1361131"/>
                  <a:pt x="421130" y="1357057"/>
                </a:cubicBezTo>
                <a:cubicBezTo>
                  <a:pt x="423073" y="1354140"/>
                  <a:pt x="423985" y="1351767"/>
                  <a:pt x="424676" y="1348443"/>
                </a:cubicBezTo>
                <a:lnTo>
                  <a:pt x="427275" y="1348443"/>
                </a:lnTo>
                <a:lnTo>
                  <a:pt x="428135" y="1345727"/>
                </a:lnTo>
                <a:cubicBezTo>
                  <a:pt x="429370" y="1341828"/>
                  <a:pt x="430645" y="1338666"/>
                  <a:pt x="432822" y="1335158"/>
                </a:cubicBezTo>
                <a:cubicBezTo>
                  <a:pt x="433853" y="1335158"/>
                  <a:pt x="434884" y="1335158"/>
                  <a:pt x="435946" y="1335158"/>
                </a:cubicBezTo>
                <a:cubicBezTo>
                  <a:pt x="436526" y="1333385"/>
                  <a:pt x="437106" y="1331613"/>
                  <a:pt x="437704" y="1329786"/>
                </a:cubicBezTo>
                <a:cubicBezTo>
                  <a:pt x="440162" y="1323132"/>
                  <a:pt x="443602" y="1317301"/>
                  <a:pt x="447394" y="1311196"/>
                </a:cubicBezTo>
                <a:cubicBezTo>
                  <a:pt x="456493" y="1296485"/>
                  <a:pt x="463325" y="1281864"/>
                  <a:pt x="469287" y="1265964"/>
                </a:cubicBezTo>
                <a:cubicBezTo>
                  <a:pt x="474589" y="1252134"/>
                  <a:pt x="474589" y="1252134"/>
                  <a:pt x="478178" y="1246787"/>
                </a:cubicBezTo>
                <a:cubicBezTo>
                  <a:pt x="481232" y="1240246"/>
                  <a:pt x="480204" y="1232766"/>
                  <a:pt x="480179" y="1225768"/>
                </a:cubicBezTo>
                <a:cubicBezTo>
                  <a:pt x="480174" y="1222894"/>
                  <a:pt x="480210" y="1220023"/>
                  <a:pt x="480250" y="1217149"/>
                </a:cubicBezTo>
                <a:cubicBezTo>
                  <a:pt x="480260" y="1199291"/>
                  <a:pt x="476718" y="1187768"/>
                  <a:pt x="462972" y="1174827"/>
                </a:cubicBezTo>
                <a:cubicBezTo>
                  <a:pt x="461148" y="1173192"/>
                  <a:pt x="459312" y="1171566"/>
                  <a:pt x="457468" y="1169949"/>
                </a:cubicBezTo>
                <a:cubicBezTo>
                  <a:pt x="451412" y="1164522"/>
                  <a:pt x="445876" y="1158660"/>
                  <a:pt x="440657" y="1152570"/>
                </a:cubicBezTo>
                <a:cubicBezTo>
                  <a:pt x="430474" y="1140786"/>
                  <a:pt x="418230" y="1128998"/>
                  <a:pt x="403142" y="1122366"/>
                </a:cubicBezTo>
                <a:cubicBezTo>
                  <a:pt x="402626" y="1121436"/>
                  <a:pt x="402110" y="1120506"/>
                  <a:pt x="401579" y="1119547"/>
                </a:cubicBezTo>
                <a:cubicBezTo>
                  <a:pt x="390472" y="1115326"/>
                  <a:pt x="375918" y="1114217"/>
                  <a:pt x="364564" y="1118209"/>
                </a:cubicBezTo>
                <a:cubicBezTo>
                  <a:pt x="362278" y="1119428"/>
                  <a:pt x="360026" y="1120704"/>
                  <a:pt x="357822" y="1122041"/>
                </a:cubicBezTo>
                <a:cubicBezTo>
                  <a:pt x="354521" y="1123884"/>
                  <a:pt x="351862" y="1124582"/>
                  <a:pt x="348077" y="1125273"/>
                </a:cubicBezTo>
                <a:cubicBezTo>
                  <a:pt x="341765" y="1126696"/>
                  <a:pt x="339382" y="1128619"/>
                  <a:pt x="334408" y="1132230"/>
                </a:cubicBezTo>
                <a:cubicBezTo>
                  <a:pt x="332284" y="1132909"/>
                  <a:pt x="330131" y="1133519"/>
                  <a:pt x="327964" y="1134080"/>
                </a:cubicBezTo>
                <a:cubicBezTo>
                  <a:pt x="309975" y="1139067"/>
                  <a:pt x="290592" y="1152117"/>
                  <a:pt x="279734" y="1166051"/>
                </a:cubicBezTo>
                <a:cubicBezTo>
                  <a:pt x="277929" y="1169534"/>
                  <a:pt x="277929" y="1169534"/>
                  <a:pt x="276609" y="1173098"/>
                </a:cubicBezTo>
                <a:cubicBezTo>
                  <a:pt x="272413" y="1180804"/>
                  <a:pt x="269322" y="1184144"/>
                  <a:pt x="260988" y="1188599"/>
                </a:cubicBezTo>
                <a:cubicBezTo>
                  <a:pt x="259988" y="1189435"/>
                  <a:pt x="258987" y="1190271"/>
                  <a:pt x="257956" y="1191132"/>
                </a:cubicBezTo>
                <a:lnTo>
                  <a:pt x="243805" y="1196629"/>
                </a:lnTo>
                <a:lnTo>
                  <a:pt x="243805" y="1194236"/>
                </a:lnTo>
                <a:lnTo>
                  <a:pt x="240288" y="1194765"/>
                </a:lnTo>
                <a:lnTo>
                  <a:pt x="243374" y="1194765"/>
                </a:lnTo>
                <a:lnTo>
                  <a:pt x="243374" y="1196797"/>
                </a:lnTo>
                <a:lnTo>
                  <a:pt x="243805" y="1196629"/>
                </a:lnTo>
                <a:lnTo>
                  <a:pt x="243805" y="1197055"/>
                </a:lnTo>
                <a:lnTo>
                  <a:pt x="243374" y="1197055"/>
                </a:lnTo>
                <a:lnTo>
                  <a:pt x="243374" y="1197584"/>
                </a:lnTo>
                <a:lnTo>
                  <a:pt x="241319" y="1197595"/>
                </a:lnTo>
                <a:lnTo>
                  <a:pt x="238009" y="1198881"/>
                </a:lnTo>
                <a:cubicBezTo>
                  <a:pt x="231012" y="1199584"/>
                  <a:pt x="223620" y="1198927"/>
                  <a:pt x="215687" y="1198464"/>
                </a:cubicBezTo>
                <a:lnTo>
                  <a:pt x="215687" y="1197734"/>
                </a:lnTo>
                <a:lnTo>
                  <a:pt x="213936" y="1197744"/>
                </a:lnTo>
                <a:cubicBezTo>
                  <a:pt x="210570" y="1197584"/>
                  <a:pt x="210570" y="1197584"/>
                  <a:pt x="207446" y="1196175"/>
                </a:cubicBezTo>
                <a:lnTo>
                  <a:pt x="207822" y="1195610"/>
                </a:lnTo>
                <a:lnTo>
                  <a:pt x="184737" y="1180936"/>
                </a:lnTo>
                <a:cubicBezTo>
                  <a:pt x="180258" y="1172216"/>
                  <a:pt x="179226" y="1164355"/>
                  <a:pt x="179270" y="1154866"/>
                </a:cubicBezTo>
                <a:cubicBezTo>
                  <a:pt x="179233" y="1153260"/>
                  <a:pt x="179233" y="1153260"/>
                  <a:pt x="179194" y="1151621"/>
                </a:cubicBezTo>
                <a:cubicBezTo>
                  <a:pt x="179182" y="1139523"/>
                  <a:pt x="183658" y="1128837"/>
                  <a:pt x="193195" y="1120065"/>
                </a:cubicBezTo>
                <a:cubicBezTo>
                  <a:pt x="204265" y="1110959"/>
                  <a:pt x="215062" y="1110626"/>
                  <a:pt x="229551" y="1110299"/>
                </a:cubicBezTo>
                <a:cubicBezTo>
                  <a:pt x="240132" y="1110024"/>
                  <a:pt x="250506" y="1109652"/>
                  <a:pt x="260988" y="1108274"/>
                </a:cubicBezTo>
                <a:cubicBezTo>
                  <a:pt x="260988" y="1107344"/>
                  <a:pt x="260988" y="1106413"/>
                  <a:pt x="260988" y="1105455"/>
                </a:cubicBezTo>
                <a:cubicBezTo>
                  <a:pt x="261953" y="1105078"/>
                  <a:pt x="262918" y="1104699"/>
                  <a:pt x="263911" y="1104310"/>
                </a:cubicBezTo>
                <a:cubicBezTo>
                  <a:pt x="272903" y="1100557"/>
                  <a:pt x="279802" y="1096307"/>
                  <a:pt x="286995" y="1090185"/>
                </a:cubicBezTo>
                <a:cubicBezTo>
                  <a:pt x="290956" y="1086897"/>
                  <a:pt x="295114" y="1083955"/>
                  <a:pt x="299358" y="1080970"/>
                </a:cubicBezTo>
                <a:cubicBezTo>
                  <a:pt x="306613" y="1075692"/>
                  <a:pt x="312234" y="1070023"/>
                  <a:pt x="317762" y="1063272"/>
                </a:cubicBezTo>
                <a:cubicBezTo>
                  <a:pt x="320349" y="1060360"/>
                  <a:pt x="320349" y="1060360"/>
                  <a:pt x="325035" y="1057542"/>
                </a:cubicBezTo>
                <a:cubicBezTo>
                  <a:pt x="329912" y="1045734"/>
                  <a:pt x="327928" y="1035103"/>
                  <a:pt x="325328" y="1023104"/>
                </a:cubicBezTo>
                <a:cubicBezTo>
                  <a:pt x="325069" y="1021831"/>
                  <a:pt x="324811" y="1020559"/>
                  <a:pt x="324544" y="1019247"/>
                </a:cubicBezTo>
                <a:cubicBezTo>
                  <a:pt x="322876" y="1011407"/>
                  <a:pt x="320562" y="1004340"/>
                  <a:pt x="317225" y="996945"/>
                </a:cubicBezTo>
                <a:cubicBezTo>
                  <a:pt x="316619" y="995541"/>
                  <a:pt x="316013" y="994137"/>
                  <a:pt x="315388" y="992690"/>
                </a:cubicBezTo>
                <a:cubicBezTo>
                  <a:pt x="306307" y="972561"/>
                  <a:pt x="298931" y="959343"/>
                  <a:pt x="276232" y="950666"/>
                </a:cubicBezTo>
                <a:cubicBezTo>
                  <a:pt x="274810" y="950127"/>
                  <a:pt x="273388" y="949587"/>
                  <a:pt x="271923" y="949031"/>
                </a:cubicBezTo>
                <a:cubicBezTo>
                  <a:pt x="270129" y="948244"/>
                  <a:pt x="270129" y="948244"/>
                  <a:pt x="268299" y="947441"/>
                </a:cubicBezTo>
                <a:cubicBezTo>
                  <a:pt x="247071" y="938140"/>
                  <a:pt x="222259" y="939051"/>
                  <a:pt x="199187" y="938991"/>
                </a:cubicBezTo>
                <a:cubicBezTo>
                  <a:pt x="197383" y="938984"/>
                  <a:pt x="195579" y="938978"/>
                  <a:pt x="193719" y="938971"/>
                </a:cubicBezTo>
                <a:cubicBezTo>
                  <a:pt x="192010" y="938974"/>
                  <a:pt x="190300" y="938977"/>
                  <a:pt x="188539" y="938980"/>
                </a:cubicBezTo>
                <a:cubicBezTo>
                  <a:pt x="187000" y="938981"/>
                  <a:pt x="185460" y="938983"/>
                  <a:pt x="183874" y="938985"/>
                </a:cubicBezTo>
                <a:cubicBezTo>
                  <a:pt x="180148" y="939150"/>
                  <a:pt x="177092" y="939720"/>
                  <a:pt x="173509" y="940576"/>
                </a:cubicBezTo>
                <a:cubicBezTo>
                  <a:pt x="169458" y="940674"/>
                  <a:pt x="165452" y="940710"/>
                  <a:pt x="161403" y="940664"/>
                </a:cubicBezTo>
                <a:cubicBezTo>
                  <a:pt x="160314" y="940658"/>
                  <a:pt x="159224" y="940651"/>
                  <a:pt x="158102" y="940645"/>
                </a:cubicBezTo>
                <a:lnTo>
                  <a:pt x="150875" y="940583"/>
                </a:lnTo>
                <a:lnTo>
                  <a:pt x="148425" y="940717"/>
                </a:lnTo>
                <a:lnTo>
                  <a:pt x="149617" y="940995"/>
                </a:lnTo>
                <a:cubicBezTo>
                  <a:pt x="149617" y="941459"/>
                  <a:pt x="149617" y="941924"/>
                  <a:pt x="149617" y="942404"/>
                </a:cubicBezTo>
                <a:cubicBezTo>
                  <a:pt x="148630" y="942558"/>
                  <a:pt x="147643" y="942712"/>
                  <a:pt x="146627" y="942871"/>
                </a:cubicBezTo>
                <a:cubicBezTo>
                  <a:pt x="134541" y="944804"/>
                  <a:pt x="122553" y="947081"/>
                  <a:pt x="110564" y="949449"/>
                </a:cubicBezTo>
                <a:lnTo>
                  <a:pt x="111283" y="946205"/>
                </a:lnTo>
                <a:lnTo>
                  <a:pt x="101652" y="956078"/>
                </a:lnTo>
                <a:cubicBezTo>
                  <a:pt x="99870" y="957260"/>
                  <a:pt x="99870" y="957260"/>
                  <a:pt x="98052" y="958467"/>
                </a:cubicBezTo>
                <a:cubicBezTo>
                  <a:pt x="75683" y="972989"/>
                  <a:pt x="75683" y="972989"/>
                  <a:pt x="67286" y="972989"/>
                </a:cubicBezTo>
                <a:cubicBezTo>
                  <a:pt x="67286" y="973918"/>
                  <a:pt x="67286" y="974848"/>
                  <a:pt x="67286" y="975807"/>
                </a:cubicBezTo>
                <a:cubicBezTo>
                  <a:pt x="55713" y="979519"/>
                  <a:pt x="43549" y="980689"/>
                  <a:pt x="31942" y="976423"/>
                </a:cubicBezTo>
                <a:cubicBezTo>
                  <a:pt x="19953" y="970870"/>
                  <a:pt x="10774" y="964932"/>
                  <a:pt x="5673" y="953419"/>
                </a:cubicBezTo>
                <a:cubicBezTo>
                  <a:pt x="4801" y="950441"/>
                  <a:pt x="4801" y="950441"/>
                  <a:pt x="4801" y="944804"/>
                </a:cubicBezTo>
                <a:cubicBezTo>
                  <a:pt x="3770" y="944804"/>
                  <a:pt x="2739" y="944804"/>
                  <a:pt x="1676" y="944804"/>
                </a:cubicBezTo>
                <a:cubicBezTo>
                  <a:pt x="-34" y="940174"/>
                  <a:pt x="-41" y="936720"/>
                  <a:pt x="17" y="931857"/>
                </a:cubicBezTo>
                <a:cubicBezTo>
                  <a:pt x="31" y="930325"/>
                  <a:pt x="45" y="928794"/>
                  <a:pt x="59" y="927216"/>
                </a:cubicBezTo>
                <a:cubicBezTo>
                  <a:pt x="78" y="926044"/>
                  <a:pt x="96" y="924873"/>
                  <a:pt x="115" y="923666"/>
                </a:cubicBezTo>
                <a:cubicBezTo>
                  <a:pt x="1145" y="923666"/>
                  <a:pt x="2176" y="923666"/>
                  <a:pt x="3238" y="923666"/>
                </a:cubicBezTo>
                <a:cubicBezTo>
                  <a:pt x="3238" y="921805"/>
                  <a:pt x="3238" y="919945"/>
                  <a:pt x="3238" y="918029"/>
                </a:cubicBezTo>
                <a:cubicBezTo>
                  <a:pt x="4270" y="918029"/>
                  <a:pt x="5300" y="918029"/>
                  <a:pt x="6363" y="918029"/>
                </a:cubicBezTo>
                <a:cubicBezTo>
                  <a:pt x="6459" y="916314"/>
                  <a:pt x="6556" y="914599"/>
                  <a:pt x="6656" y="912832"/>
                </a:cubicBezTo>
                <a:cubicBezTo>
                  <a:pt x="7542" y="906455"/>
                  <a:pt x="10104" y="903750"/>
                  <a:pt x="15736" y="899709"/>
                </a:cubicBezTo>
                <a:lnTo>
                  <a:pt x="17243" y="898894"/>
                </a:lnTo>
                <a:lnTo>
                  <a:pt x="16800" y="898694"/>
                </a:lnTo>
                <a:lnTo>
                  <a:pt x="24988" y="894101"/>
                </a:lnTo>
                <a:lnTo>
                  <a:pt x="26768" y="892399"/>
                </a:lnTo>
                <a:cubicBezTo>
                  <a:pt x="28282" y="891122"/>
                  <a:pt x="29038" y="890483"/>
                  <a:pt x="30198" y="890164"/>
                </a:cubicBezTo>
                <a:lnTo>
                  <a:pt x="32204" y="890054"/>
                </a:lnTo>
                <a:lnTo>
                  <a:pt x="38914" y="886291"/>
                </a:lnTo>
                <a:cubicBezTo>
                  <a:pt x="47169" y="885770"/>
                  <a:pt x="55396" y="885800"/>
                  <a:pt x="63664" y="886011"/>
                </a:cubicBezTo>
                <a:lnTo>
                  <a:pt x="63664" y="886531"/>
                </a:lnTo>
                <a:lnTo>
                  <a:pt x="70784" y="886647"/>
                </a:lnTo>
                <a:cubicBezTo>
                  <a:pt x="74787" y="887000"/>
                  <a:pt x="77233" y="887948"/>
                  <a:pt x="82126" y="889845"/>
                </a:cubicBezTo>
                <a:cubicBezTo>
                  <a:pt x="92427" y="893791"/>
                  <a:pt x="103139" y="893710"/>
                  <a:pt x="114149" y="892663"/>
                </a:cubicBezTo>
                <a:cubicBezTo>
                  <a:pt x="115696" y="891733"/>
                  <a:pt x="117242" y="890803"/>
                  <a:pt x="118836" y="889845"/>
                </a:cubicBezTo>
                <a:cubicBezTo>
                  <a:pt x="123097" y="888850"/>
                  <a:pt x="127325" y="887944"/>
                  <a:pt x="131626" y="887114"/>
                </a:cubicBezTo>
                <a:cubicBezTo>
                  <a:pt x="139750" y="885542"/>
                  <a:pt x="147376" y="883653"/>
                  <a:pt x="155116" y="880913"/>
                </a:cubicBezTo>
                <a:cubicBezTo>
                  <a:pt x="158498" y="879775"/>
                  <a:pt x="161861" y="879076"/>
                  <a:pt x="165406" y="878483"/>
                </a:cubicBezTo>
                <a:cubicBezTo>
                  <a:pt x="170342" y="877655"/>
                  <a:pt x="172265" y="876971"/>
                  <a:pt x="176634" y="874343"/>
                </a:cubicBezTo>
                <a:cubicBezTo>
                  <a:pt x="179863" y="873335"/>
                  <a:pt x="183123" y="872404"/>
                  <a:pt x="186397" y="871524"/>
                </a:cubicBezTo>
                <a:cubicBezTo>
                  <a:pt x="189107" y="870786"/>
                  <a:pt x="189107" y="870786"/>
                  <a:pt x="191871" y="870033"/>
                </a:cubicBezTo>
                <a:cubicBezTo>
                  <a:pt x="195731" y="869023"/>
                  <a:pt x="199587" y="868093"/>
                  <a:pt x="203483" y="867208"/>
                </a:cubicBezTo>
                <a:cubicBezTo>
                  <a:pt x="208339" y="866199"/>
                  <a:pt x="208339" y="866199"/>
                  <a:pt x="211001" y="861660"/>
                </a:cubicBezTo>
                <a:cubicBezTo>
                  <a:pt x="214174" y="860102"/>
                  <a:pt x="214174" y="860102"/>
                  <a:pt x="218031" y="858577"/>
                </a:cubicBezTo>
                <a:cubicBezTo>
                  <a:pt x="236068" y="850629"/>
                  <a:pt x="245199" y="840442"/>
                  <a:pt x="254740" y="825020"/>
                </a:cubicBezTo>
                <a:cubicBezTo>
                  <a:pt x="255771" y="823625"/>
                  <a:pt x="256802" y="822230"/>
                  <a:pt x="257864" y="820792"/>
                </a:cubicBezTo>
                <a:cubicBezTo>
                  <a:pt x="258359" y="817506"/>
                  <a:pt x="258359" y="817506"/>
                  <a:pt x="258318" y="813810"/>
                </a:cubicBezTo>
                <a:cubicBezTo>
                  <a:pt x="258338" y="812388"/>
                  <a:pt x="258358" y="810967"/>
                  <a:pt x="258378" y="809502"/>
                </a:cubicBezTo>
                <a:cubicBezTo>
                  <a:pt x="258382" y="807965"/>
                  <a:pt x="258385" y="806429"/>
                  <a:pt x="258389" y="804845"/>
                </a:cubicBezTo>
                <a:cubicBezTo>
                  <a:pt x="258399" y="803258"/>
                  <a:pt x="258410" y="801671"/>
                  <a:pt x="258420" y="800036"/>
                </a:cubicBezTo>
                <a:cubicBezTo>
                  <a:pt x="258436" y="796670"/>
                  <a:pt x="258443" y="793305"/>
                  <a:pt x="258443" y="789939"/>
                </a:cubicBezTo>
                <a:cubicBezTo>
                  <a:pt x="258450" y="784823"/>
                  <a:pt x="258506" y="779709"/>
                  <a:pt x="258566" y="774594"/>
                </a:cubicBezTo>
                <a:cubicBezTo>
                  <a:pt x="258575" y="771319"/>
                  <a:pt x="258581" y="768045"/>
                  <a:pt x="258584" y="764771"/>
                </a:cubicBezTo>
                <a:cubicBezTo>
                  <a:pt x="258618" y="762495"/>
                  <a:pt x="258618" y="762495"/>
                  <a:pt x="258652" y="760174"/>
                </a:cubicBezTo>
                <a:cubicBezTo>
                  <a:pt x="258586" y="750030"/>
                  <a:pt x="256266" y="742584"/>
                  <a:pt x="251616" y="733421"/>
                </a:cubicBezTo>
                <a:cubicBezTo>
                  <a:pt x="250163" y="729605"/>
                  <a:pt x="248880" y="725752"/>
                  <a:pt x="247613" y="721883"/>
                </a:cubicBezTo>
                <a:cubicBezTo>
                  <a:pt x="245789" y="716328"/>
                  <a:pt x="243913" y="710939"/>
                  <a:pt x="241291" y="705644"/>
                </a:cubicBezTo>
                <a:cubicBezTo>
                  <a:pt x="238691" y="700096"/>
                  <a:pt x="238136" y="695685"/>
                  <a:pt x="237557" y="689735"/>
                </a:cubicBezTo>
                <a:cubicBezTo>
                  <a:pt x="244977" y="685507"/>
                  <a:pt x="244977" y="685507"/>
                  <a:pt x="248492" y="685507"/>
                </a:cubicBezTo>
                <a:cubicBezTo>
                  <a:pt x="248492" y="684112"/>
                  <a:pt x="248492" y="682717"/>
                  <a:pt x="248492" y="681279"/>
                </a:cubicBezTo>
                <a:cubicBezTo>
                  <a:pt x="245914" y="680815"/>
                  <a:pt x="243337" y="680350"/>
                  <a:pt x="240681" y="679870"/>
                </a:cubicBezTo>
                <a:cubicBezTo>
                  <a:pt x="240681" y="678940"/>
                  <a:pt x="240681" y="678010"/>
                  <a:pt x="240681" y="677052"/>
                </a:cubicBezTo>
                <a:cubicBezTo>
                  <a:pt x="239827" y="676917"/>
                  <a:pt x="238973" y="676783"/>
                  <a:pt x="238094" y="676645"/>
                </a:cubicBezTo>
                <a:cubicBezTo>
                  <a:pt x="233442" y="675371"/>
                  <a:pt x="229939" y="673242"/>
                  <a:pt x="225841" y="670886"/>
                </a:cubicBezTo>
                <a:cubicBezTo>
                  <a:pt x="217808" y="666564"/>
                  <a:pt x="210635" y="664241"/>
                  <a:pt x="201531" y="662508"/>
                </a:cubicBezTo>
                <a:cubicBezTo>
                  <a:pt x="196896" y="661541"/>
                  <a:pt x="192682" y="660199"/>
                  <a:pt x="188252" y="658644"/>
                </a:cubicBezTo>
                <a:lnTo>
                  <a:pt x="182431" y="657327"/>
                </a:lnTo>
                <a:lnTo>
                  <a:pt x="182431" y="657613"/>
                </a:lnTo>
                <a:cubicBezTo>
                  <a:pt x="170575" y="657148"/>
                  <a:pt x="158718" y="656683"/>
                  <a:pt x="146503" y="656204"/>
                </a:cubicBezTo>
                <a:cubicBezTo>
                  <a:pt x="146503" y="657133"/>
                  <a:pt x="146503" y="658064"/>
                  <a:pt x="146503" y="659022"/>
                </a:cubicBezTo>
                <a:cubicBezTo>
                  <a:pt x="134359" y="662326"/>
                  <a:pt x="123013" y="663700"/>
                  <a:pt x="110378" y="663778"/>
                </a:cubicBezTo>
                <a:cubicBezTo>
                  <a:pt x="108435" y="663806"/>
                  <a:pt x="108435" y="663806"/>
                  <a:pt x="106453" y="663836"/>
                </a:cubicBezTo>
                <a:cubicBezTo>
                  <a:pt x="105231" y="663828"/>
                  <a:pt x="104009" y="663820"/>
                  <a:pt x="102751" y="663811"/>
                </a:cubicBezTo>
                <a:cubicBezTo>
                  <a:pt x="101117" y="663804"/>
                  <a:pt x="101117" y="663804"/>
                  <a:pt x="99449" y="663797"/>
                </a:cubicBezTo>
                <a:cubicBezTo>
                  <a:pt x="95696" y="663097"/>
                  <a:pt x="94265" y="661615"/>
                  <a:pt x="91828" y="659022"/>
                </a:cubicBezTo>
                <a:cubicBezTo>
                  <a:pt x="93890" y="659022"/>
                  <a:pt x="95953" y="659022"/>
                  <a:pt x="98077" y="659022"/>
                </a:cubicBezTo>
                <a:cubicBezTo>
                  <a:pt x="98077" y="659952"/>
                  <a:pt x="98077" y="660882"/>
                  <a:pt x="98077" y="661841"/>
                </a:cubicBezTo>
                <a:cubicBezTo>
                  <a:pt x="108735" y="662045"/>
                  <a:pt x="114063" y="662148"/>
                  <a:pt x="119023" y="661357"/>
                </a:cubicBezTo>
                <a:lnTo>
                  <a:pt x="119536" y="661197"/>
                </a:lnTo>
                <a:lnTo>
                  <a:pt x="109853" y="661639"/>
                </a:lnTo>
                <a:cubicBezTo>
                  <a:pt x="108764" y="661632"/>
                  <a:pt x="107675" y="661626"/>
                  <a:pt x="106552" y="661619"/>
                </a:cubicBezTo>
                <a:cubicBezTo>
                  <a:pt x="103877" y="661603"/>
                  <a:pt x="101203" y="661577"/>
                  <a:pt x="98528" y="661550"/>
                </a:cubicBezTo>
                <a:cubicBezTo>
                  <a:pt x="98528" y="660620"/>
                  <a:pt x="98528" y="659691"/>
                  <a:pt x="98528" y="658732"/>
                </a:cubicBezTo>
                <a:cubicBezTo>
                  <a:pt x="95435" y="658267"/>
                  <a:pt x="92342" y="657802"/>
                  <a:pt x="89155" y="657323"/>
                </a:cubicBezTo>
                <a:cubicBezTo>
                  <a:pt x="89155" y="656393"/>
                  <a:pt x="89155" y="655462"/>
                  <a:pt x="89155" y="654504"/>
                </a:cubicBezTo>
                <a:cubicBezTo>
                  <a:pt x="87790" y="653978"/>
                  <a:pt x="87790" y="653978"/>
                  <a:pt x="86397" y="653442"/>
                </a:cubicBezTo>
                <a:cubicBezTo>
                  <a:pt x="82415" y="651438"/>
                  <a:pt x="80039" y="649232"/>
                  <a:pt x="77049" y="646137"/>
                </a:cubicBezTo>
                <a:cubicBezTo>
                  <a:pt x="75611" y="644679"/>
                  <a:pt x="75611" y="644679"/>
                  <a:pt x="74145" y="643192"/>
                </a:cubicBezTo>
                <a:cubicBezTo>
                  <a:pt x="71972" y="640412"/>
                  <a:pt x="71972" y="640412"/>
                  <a:pt x="71972" y="636185"/>
                </a:cubicBezTo>
                <a:cubicBezTo>
                  <a:pt x="70941" y="636185"/>
                  <a:pt x="69910" y="636185"/>
                  <a:pt x="68848" y="636185"/>
                </a:cubicBezTo>
                <a:cubicBezTo>
                  <a:pt x="64250" y="621928"/>
                  <a:pt x="64695" y="609404"/>
                  <a:pt x="70410" y="595317"/>
                </a:cubicBezTo>
                <a:cubicBezTo>
                  <a:pt x="73096" y="591142"/>
                  <a:pt x="76144" y="587574"/>
                  <a:pt x="79782" y="584043"/>
                </a:cubicBezTo>
                <a:cubicBezTo>
                  <a:pt x="81205" y="582594"/>
                  <a:pt x="81205" y="582594"/>
                  <a:pt x="82656" y="581115"/>
                </a:cubicBezTo>
                <a:cubicBezTo>
                  <a:pt x="91488" y="574027"/>
                  <a:pt x="105133" y="571806"/>
                  <a:pt x="116694" y="572323"/>
                </a:cubicBezTo>
                <a:cubicBezTo>
                  <a:pt x="131556" y="574113"/>
                  <a:pt x="142046" y="580551"/>
                  <a:pt x="152031" y="590385"/>
                </a:cubicBezTo>
                <a:cubicBezTo>
                  <a:pt x="162272" y="600009"/>
                  <a:pt x="176992" y="605062"/>
                  <a:pt x="191474" y="605886"/>
                </a:cubicBezTo>
                <a:cubicBezTo>
                  <a:pt x="196845" y="606192"/>
                  <a:pt x="201203" y="606463"/>
                  <a:pt x="206314" y="608000"/>
                </a:cubicBezTo>
                <a:cubicBezTo>
                  <a:pt x="206314" y="608930"/>
                  <a:pt x="206314" y="609860"/>
                  <a:pt x="206314" y="610818"/>
                </a:cubicBezTo>
                <a:cubicBezTo>
                  <a:pt x="215689" y="610902"/>
                  <a:pt x="225058" y="610898"/>
                  <a:pt x="234433" y="610818"/>
                </a:cubicBezTo>
                <a:cubicBezTo>
                  <a:pt x="236112" y="610813"/>
                  <a:pt x="237791" y="610808"/>
                  <a:pt x="239522" y="610802"/>
                </a:cubicBezTo>
                <a:cubicBezTo>
                  <a:pt x="251005" y="610364"/>
                  <a:pt x="259257" y="606564"/>
                  <a:pt x="268799" y="600954"/>
                </a:cubicBezTo>
                <a:cubicBezTo>
                  <a:pt x="269770" y="600416"/>
                  <a:pt x="270740" y="599879"/>
                  <a:pt x="271740" y="599325"/>
                </a:cubicBezTo>
                <a:cubicBezTo>
                  <a:pt x="279452" y="594430"/>
                  <a:pt x="281420" y="587464"/>
                  <a:pt x="284420" y="579816"/>
                </a:cubicBezTo>
                <a:cubicBezTo>
                  <a:pt x="286047" y="576075"/>
                  <a:pt x="287725" y="572353"/>
                  <a:pt x="289399" y="568630"/>
                </a:cubicBezTo>
                <a:cubicBezTo>
                  <a:pt x="294095" y="558121"/>
                  <a:pt x="299004" y="547070"/>
                  <a:pt x="293958" y="535838"/>
                </a:cubicBezTo>
                <a:cubicBezTo>
                  <a:pt x="292436" y="533533"/>
                  <a:pt x="290781" y="531301"/>
                  <a:pt x="289107" y="529084"/>
                </a:cubicBezTo>
                <a:cubicBezTo>
                  <a:pt x="289107" y="528153"/>
                  <a:pt x="289107" y="527223"/>
                  <a:pt x="289107" y="526265"/>
                </a:cubicBezTo>
                <a:cubicBezTo>
                  <a:pt x="287560" y="525800"/>
                  <a:pt x="286014" y="525335"/>
                  <a:pt x="284420" y="524856"/>
                </a:cubicBezTo>
                <a:cubicBezTo>
                  <a:pt x="283905" y="523461"/>
                  <a:pt x="283389" y="522066"/>
                  <a:pt x="282858" y="520628"/>
                </a:cubicBezTo>
                <a:cubicBezTo>
                  <a:pt x="280750" y="518590"/>
                  <a:pt x="280750" y="518590"/>
                  <a:pt x="277977" y="516577"/>
                </a:cubicBezTo>
                <a:cubicBezTo>
                  <a:pt x="273591" y="513232"/>
                  <a:pt x="269227" y="509874"/>
                  <a:pt x="264925" y="506443"/>
                </a:cubicBezTo>
                <a:cubicBezTo>
                  <a:pt x="253596" y="497433"/>
                  <a:pt x="242132" y="488987"/>
                  <a:pt x="229746" y="481170"/>
                </a:cubicBezTo>
                <a:cubicBezTo>
                  <a:pt x="226846" y="479266"/>
                  <a:pt x="223950" y="477358"/>
                  <a:pt x="221057" y="475445"/>
                </a:cubicBezTo>
                <a:cubicBezTo>
                  <a:pt x="218227" y="473594"/>
                  <a:pt x="215396" y="471744"/>
                  <a:pt x="212563" y="469896"/>
                </a:cubicBezTo>
                <a:cubicBezTo>
                  <a:pt x="211351" y="469102"/>
                  <a:pt x="210138" y="468309"/>
                  <a:pt x="208889" y="467491"/>
                </a:cubicBezTo>
                <a:cubicBezTo>
                  <a:pt x="202848" y="463599"/>
                  <a:pt x="196732" y="459888"/>
                  <a:pt x="190406" y="456382"/>
                </a:cubicBezTo>
                <a:cubicBezTo>
                  <a:pt x="189263" y="455748"/>
                  <a:pt x="188119" y="455114"/>
                  <a:pt x="186942" y="454460"/>
                </a:cubicBezTo>
                <a:cubicBezTo>
                  <a:pt x="184648" y="453196"/>
                  <a:pt x="182348" y="451941"/>
                  <a:pt x="180041" y="450696"/>
                </a:cubicBezTo>
                <a:cubicBezTo>
                  <a:pt x="177292" y="449185"/>
                  <a:pt x="174612" y="447571"/>
                  <a:pt x="171948" y="445940"/>
                </a:cubicBezTo>
                <a:cubicBezTo>
                  <a:pt x="171948" y="445009"/>
                  <a:pt x="171948" y="444079"/>
                  <a:pt x="171948" y="443121"/>
                </a:cubicBezTo>
                <a:cubicBezTo>
                  <a:pt x="170804" y="442985"/>
                  <a:pt x="169660" y="442848"/>
                  <a:pt x="168482" y="442708"/>
                </a:cubicBezTo>
                <a:cubicBezTo>
                  <a:pt x="163547" y="441576"/>
                  <a:pt x="161063" y="439897"/>
                  <a:pt x="157107" y="437044"/>
                </a:cubicBezTo>
                <a:cubicBezTo>
                  <a:pt x="149345" y="431895"/>
                  <a:pt x="141843" y="429626"/>
                  <a:pt x="132559" y="427510"/>
                </a:cubicBezTo>
                <a:cubicBezTo>
                  <a:pt x="128067" y="426168"/>
                  <a:pt x="126607" y="425060"/>
                  <a:pt x="123522" y="421983"/>
                </a:cubicBezTo>
                <a:cubicBezTo>
                  <a:pt x="118310" y="419033"/>
                  <a:pt x="114076" y="418794"/>
                  <a:pt x="107986" y="418730"/>
                </a:cubicBezTo>
                <a:cubicBezTo>
                  <a:pt x="106174" y="418694"/>
                  <a:pt x="104362" y="418659"/>
                  <a:pt x="102494" y="418622"/>
                </a:cubicBezTo>
                <a:cubicBezTo>
                  <a:pt x="98715" y="418573"/>
                  <a:pt x="94936" y="418529"/>
                  <a:pt x="91157" y="418490"/>
                </a:cubicBezTo>
                <a:cubicBezTo>
                  <a:pt x="78470" y="418231"/>
                  <a:pt x="65485" y="417940"/>
                  <a:pt x="55277" y="410445"/>
                </a:cubicBezTo>
                <a:cubicBezTo>
                  <a:pt x="54084" y="409137"/>
                  <a:pt x="52893" y="407829"/>
                  <a:pt x="51665" y="406481"/>
                </a:cubicBezTo>
                <a:cubicBezTo>
                  <a:pt x="49752" y="404480"/>
                  <a:pt x="47831" y="402483"/>
                  <a:pt x="45904" y="400492"/>
                </a:cubicBezTo>
                <a:cubicBezTo>
                  <a:pt x="44996" y="399526"/>
                  <a:pt x="44088" y="398559"/>
                  <a:pt x="43152" y="397564"/>
                </a:cubicBezTo>
                <a:cubicBezTo>
                  <a:pt x="40865" y="395062"/>
                  <a:pt x="40865" y="395062"/>
                  <a:pt x="37605" y="393798"/>
                </a:cubicBezTo>
                <a:lnTo>
                  <a:pt x="38995" y="368712"/>
                </a:lnTo>
                <a:lnTo>
                  <a:pt x="38666" y="369724"/>
                </a:lnTo>
                <a:cubicBezTo>
                  <a:pt x="37003" y="374506"/>
                  <a:pt x="36202" y="379113"/>
                  <a:pt x="35542" y="384081"/>
                </a:cubicBezTo>
                <a:cubicBezTo>
                  <a:pt x="30313" y="376119"/>
                  <a:pt x="31188" y="366593"/>
                  <a:pt x="33326" y="357791"/>
                </a:cubicBezTo>
                <a:cubicBezTo>
                  <a:pt x="37176" y="347767"/>
                  <a:pt x="44536" y="340769"/>
                  <a:pt x="52725" y="333349"/>
                </a:cubicBezTo>
                <a:lnTo>
                  <a:pt x="55222" y="334475"/>
                </a:lnTo>
                <a:lnTo>
                  <a:pt x="56222" y="333347"/>
                </a:lnTo>
                <a:lnTo>
                  <a:pt x="55871" y="333347"/>
                </a:lnTo>
                <a:lnTo>
                  <a:pt x="56346" y="333207"/>
                </a:lnTo>
                <a:lnTo>
                  <a:pt x="56351" y="333202"/>
                </a:lnTo>
                <a:lnTo>
                  <a:pt x="56365" y="333202"/>
                </a:lnTo>
                <a:lnTo>
                  <a:pt x="79571" y="326360"/>
                </a:lnTo>
                <a:cubicBezTo>
                  <a:pt x="87782" y="326037"/>
                  <a:pt x="96164" y="327572"/>
                  <a:pt x="104297" y="330529"/>
                </a:cubicBezTo>
                <a:lnTo>
                  <a:pt x="107170" y="334417"/>
                </a:lnTo>
                <a:lnTo>
                  <a:pt x="109366" y="336046"/>
                </a:lnTo>
                <a:lnTo>
                  <a:pt x="109463" y="336020"/>
                </a:lnTo>
                <a:lnTo>
                  <a:pt x="109463" y="336118"/>
                </a:lnTo>
                <a:lnTo>
                  <a:pt x="115226" y="340394"/>
                </a:lnTo>
                <a:lnTo>
                  <a:pt x="114010" y="340120"/>
                </a:lnTo>
                <a:lnTo>
                  <a:pt x="133285" y="357423"/>
                </a:lnTo>
                <a:cubicBezTo>
                  <a:pt x="142471" y="373187"/>
                  <a:pt x="155564" y="382744"/>
                  <a:pt x="173509" y="389571"/>
                </a:cubicBezTo>
                <a:cubicBezTo>
                  <a:pt x="176254" y="390785"/>
                  <a:pt x="178988" y="392017"/>
                  <a:pt x="181711" y="393270"/>
                </a:cubicBezTo>
                <a:cubicBezTo>
                  <a:pt x="182964" y="393833"/>
                  <a:pt x="184216" y="394396"/>
                  <a:pt x="185507" y="394976"/>
                </a:cubicBezTo>
                <a:cubicBezTo>
                  <a:pt x="187897" y="396058"/>
                  <a:pt x="190281" y="397151"/>
                  <a:pt x="192658" y="398257"/>
                </a:cubicBezTo>
                <a:cubicBezTo>
                  <a:pt x="193749" y="398762"/>
                  <a:pt x="194841" y="399267"/>
                  <a:pt x="195966" y="399788"/>
                </a:cubicBezTo>
                <a:cubicBezTo>
                  <a:pt x="196912" y="400231"/>
                  <a:pt x="197858" y="400674"/>
                  <a:pt x="198833" y="401131"/>
                </a:cubicBezTo>
                <a:cubicBezTo>
                  <a:pt x="201808" y="402326"/>
                  <a:pt x="204701" y="403032"/>
                  <a:pt x="207877" y="403663"/>
                </a:cubicBezTo>
                <a:cubicBezTo>
                  <a:pt x="207877" y="404593"/>
                  <a:pt x="207877" y="405523"/>
                  <a:pt x="207877" y="406481"/>
                </a:cubicBezTo>
                <a:cubicBezTo>
                  <a:pt x="221233" y="411377"/>
                  <a:pt x="234752" y="415503"/>
                  <a:pt x="248492" y="419428"/>
                </a:cubicBezTo>
                <a:cubicBezTo>
                  <a:pt x="250298" y="419947"/>
                  <a:pt x="252104" y="420466"/>
                  <a:pt x="253965" y="421000"/>
                </a:cubicBezTo>
                <a:cubicBezTo>
                  <a:pt x="258388" y="422270"/>
                  <a:pt x="262812" y="423537"/>
                  <a:pt x="267237" y="424801"/>
                </a:cubicBezTo>
                <a:lnTo>
                  <a:pt x="267237" y="426451"/>
                </a:lnTo>
                <a:lnTo>
                  <a:pt x="288701" y="429217"/>
                </a:lnTo>
                <a:cubicBezTo>
                  <a:pt x="288701" y="430147"/>
                  <a:pt x="288701" y="431078"/>
                  <a:pt x="288701" y="432036"/>
                </a:cubicBezTo>
                <a:cubicBezTo>
                  <a:pt x="301487" y="433472"/>
                  <a:pt x="314148" y="433662"/>
                  <a:pt x="327010" y="433628"/>
                </a:cubicBezTo>
                <a:cubicBezTo>
                  <a:pt x="330502" y="433621"/>
                  <a:pt x="333994" y="433628"/>
                  <a:pt x="337486" y="433637"/>
                </a:cubicBezTo>
                <a:cubicBezTo>
                  <a:pt x="339734" y="433637"/>
                  <a:pt x="341982" y="433635"/>
                  <a:pt x="344229" y="433632"/>
                </a:cubicBezTo>
                <a:cubicBezTo>
                  <a:pt x="347246" y="433630"/>
                  <a:pt x="347246" y="433630"/>
                  <a:pt x="350323" y="433627"/>
                </a:cubicBezTo>
                <a:cubicBezTo>
                  <a:pt x="355445" y="433459"/>
                  <a:pt x="360220" y="432915"/>
                  <a:pt x="365245" y="432036"/>
                </a:cubicBezTo>
                <a:lnTo>
                  <a:pt x="360797" y="433759"/>
                </a:lnTo>
                <a:lnTo>
                  <a:pt x="365650" y="433257"/>
                </a:lnTo>
                <a:cubicBezTo>
                  <a:pt x="366166" y="431861"/>
                  <a:pt x="366682" y="430466"/>
                  <a:pt x="367213" y="429029"/>
                </a:cubicBezTo>
                <a:cubicBezTo>
                  <a:pt x="369854" y="427628"/>
                  <a:pt x="372501" y="426234"/>
                  <a:pt x="375188" y="424906"/>
                </a:cubicBezTo>
                <a:cubicBezTo>
                  <a:pt x="390245" y="417204"/>
                  <a:pt x="397438" y="403183"/>
                  <a:pt x="404704" y="389571"/>
                </a:cubicBezTo>
                <a:cubicBezTo>
                  <a:pt x="405219" y="389105"/>
                  <a:pt x="405734" y="388641"/>
                  <a:pt x="406265" y="388161"/>
                </a:cubicBezTo>
                <a:cubicBezTo>
                  <a:pt x="406663" y="382152"/>
                  <a:pt x="406555" y="376125"/>
                  <a:pt x="406559" y="370106"/>
                </a:cubicBezTo>
                <a:cubicBezTo>
                  <a:pt x="406578" y="368412"/>
                  <a:pt x="406597" y="366718"/>
                  <a:pt x="406617" y="364973"/>
                </a:cubicBezTo>
                <a:cubicBezTo>
                  <a:pt x="406620" y="363344"/>
                  <a:pt x="406622" y="361715"/>
                  <a:pt x="406626" y="360038"/>
                </a:cubicBezTo>
                <a:cubicBezTo>
                  <a:pt x="406632" y="358541"/>
                  <a:pt x="406638" y="357045"/>
                  <a:pt x="406645" y="355503"/>
                </a:cubicBezTo>
                <a:cubicBezTo>
                  <a:pt x="406264" y="351503"/>
                  <a:pt x="405326" y="349318"/>
                  <a:pt x="403142" y="345885"/>
                </a:cubicBezTo>
                <a:cubicBezTo>
                  <a:pt x="402583" y="343484"/>
                  <a:pt x="402067" y="341075"/>
                  <a:pt x="401579" y="338663"/>
                </a:cubicBezTo>
                <a:cubicBezTo>
                  <a:pt x="399365" y="330323"/>
                  <a:pt x="395538" y="323370"/>
                  <a:pt x="390938" y="315939"/>
                </a:cubicBezTo>
                <a:cubicBezTo>
                  <a:pt x="390290" y="314890"/>
                  <a:pt x="389642" y="313842"/>
                  <a:pt x="388976" y="312762"/>
                </a:cubicBezTo>
                <a:cubicBezTo>
                  <a:pt x="385623" y="307500"/>
                  <a:pt x="382070" y="302607"/>
                  <a:pt x="377934" y="297817"/>
                </a:cubicBezTo>
                <a:cubicBezTo>
                  <a:pt x="373788" y="292978"/>
                  <a:pt x="371423" y="288111"/>
                  <a:pt x="368775" y="282470"/>
                </a:cubicBezTo>
                <a:cubicBezTo>
                  <a:pt x="366035" y="278585"/>
                  <a:pt x="362994" y="274937"/>
                  <a:pt x="359890" y="271284"/>
                </a:cubicBezTo>
                <a:cubicBezTo>
                  <a:pt x="359059" y="270296"/>
                  <a:pt x="358230" y="269307"/>
                  <a:pt x="357374" y="268288"/>
                </a:cubicBezTo>
                <a:cubicBezTo>
                  <a:pt x="351312" y="261177"/>
                  <a:pt x="344882" y="254704"/>
                  <a:pt x="337533" y="248649"/>
                </a:cubicBezTo>
                <a:cubicBezTo>
                  <a:pt x="336767" y="247896"/>
                  <a:pt x="336002" y="247144"/>
                  <a:pt x="335214" y="246369"/>
                </a:cubicBezTo>
                <a:cubicBezTo>
                  <a:pt x="332597" y="243963"/>
                  <a:pt x="332597" y="243963"/>
                  <a:pt x="327085" y="242571"/>
                </a:cubicBezTo>
                <a:cubicBezTo>
                  <a:pt x="309670" y="236923"/>
                  <a:pt x="296614" y="222751"/>
                  <a:pt x="288785" y="207968"/>
                </a:cubicBezTo>
                <a:cubicBezTo>
                  <a:pt x="286673" y="202851"/>
                  <a:pt x="286348" y="197968"/>
                  <a:pt x="286373" y="192544"/>
                </a:cubicBezTo>
                <a:cubicBezTo>
                  <a:pt x="286377" y="191437"/>
                  <a:pt x="286381" y="190330"/>
                  <a:pt x="286385" y="189190"/>
                </a:cubicBezTo>
                <a:cubicBezTo>
                  <a:pt x="286881" y="178340"/>
                  <a:pt x="291581" y="171728"/>
                  <a:pt x="300042" y="164095"/>
                </a:cubicBezTo>
                <a:cubicBezTo>
                  <a:pt x="301386" y="162752"/>
                  <a:pt x="301386" y="162752"/>
                  <a:pt x="302757" y="161381"/>
                </a:cubicBezTo>
                <a:cubicBezTo>
                  <a:pt x="312597" y="152504"/>
                  <a:pt x="325185" y="152675"/>
                  <a:pt x="338411" y="152293"/>
                </a:cubicBezTo>
                <a:cubicBezTo>
                  <a:pt x="350839" y="152463"/>
                  <a:pt x="359094" y="154554"/>
                  <a:pt x="368482" y="161893"/>
                </a:cubicBezTo>
                <a:cubicBezTo>
                  <a:pt x="369609" y="163085"/>
                  <a:pt x="370737" y="164277"/>
                  <a:pt x="371899" y="165505"/>
                </a:cubicBezTo>
                <a:cubicBezTo>
                  <a:pt x="372962" y="166522"/>
                  <a:pt x="374026" y="167539"/>
                  <a:pt x="375121" y="168587"/>
                </a:cubicBezTo>
                <a:cubicBezTo>
                  <a:pt x="381050" y="176351"/>
                  <a:pt x="384520" y="184328"/>
                  <a:pt x="384982" y="193777"/>
                </a:cubicBezTo>
                <a:cubicBezTo>
                  <a:pt x="385464" y="201192"/>
                  <a:pt x="387638" y="207607"/>
                  <a:pt x="390352" y="214563"/>
                </a:cubicBezTo>
                <a:cubicBezTo>
                  <a:pt x="390934" y="216079"/>
                  <a:pt x="390934" y="216079"/>
                  <a:pt x="391529" y="217626"/>
                </a:cubicBezTo>
                <a:cubicBezTo>
                  <a:pt x="394082" y="223926"/>
                  <a:pt x="397412" y="228969"/>
                  <a:pt x="401579" y="234556"/>
                </a:cubicBezTo>
                <a:cubicBezTo>
                  <a:pt x="401579" y="235952"/>
                  <a:pt x="401579" y="237347"/>
                  <a:pt x="401579" y="238784"/>
                </a:cubicBezTo>
                <a:cubicBezTo>
                  <a:pt x="402884" y="239263"/>
                  <a:pt x="402884" y="239263"/>
                  <a:pt x="404215" y="239753"/>
                </a:cubicBezTo>
                <a:cubicBezTo>
                  <a:pt x="410099" y="242765"/>
                  <a:pt x="414395" y="246733"/>
                  <a:pt x="417811" y="251996"/>
                </a:cubicBezTo>
                <a:cubicBezTo>
                  <a:pt x="420462" y="255897"/>
                  <a:pt x="423407" y="258959"/>
                  <a:pt x="426866" y="262300"/>
                </a:cubicBezTo>
                <a:cubicBezTo>
                  <a:pt x="435101" y="270407"/>
                  <a:pt x="442641" y="278936"/>
                  <a:pt x="450097" y="287628"/>
                </a:cubicBezTo>
                <a:cubicBezTo>
                  <a:pt x="453081" y="291117"/>
                  <a:pt x="453081" y="291117"/>
                  <a:pt x="457425" y="293920"/>
                </a:cubicBezTo>
                <a:cubicBezTo>
                  <a:pt x="458585" y="294792"/>
                  <a:pt x="459745" y="295664"/>
                  <a:pt x="460940" y="296562"/>
                </a:cubicBezTo>
                <a:cubicBezTo>
                  <a:pt x="460940" y="297957"/>
                  <a:pt x="460940" y="299352"/>
                  <a:pt x="460940" y="300790"/>
                </a:cubicBezTo>
                <a:cubicBezTo>
                  <a:pt x="465063" y="302782"/>
                  <a:pt x="468862" y="304133"/>
                  <a:pt x="473437" y="305018"/>
                </a:cubicBezTo>
                <a:cubicBezTo>
                  <a:pt x="473437" y="305947"/>
                  <a:pt x="473437" y="306877"/>
                  <a:pt x="473437" y="307836"/>
                </a:cubicBezTo>
                <a:cubicBezTo>
                  <a:pt x="475581" y="308519"/>
                  <a:pt x="477730" y="309193"/>
                  <a:pt x="479881" y="309862"/>
                </a:cubicBezTo>
                <a:cubicBezTo>
                  <a:pt x="481077" y="310237"/>
                  <a:pt x="482273" y="310614"/>
                  <a:pt x="483505" y="311001"/>
                </a:cubicBezTo>
                <a:cubicBezTo>
                  <a:pt x="505448" y="316843"/>
                  <a:pt x="527690" y="314359"/>
                  <a:pt x="548419" y="306427"/>
                </a:cubicBezTo>
                <a:cubicBezTo>
                  <a:pt x="549548" y="305998"/>
                  <a:pt x="550678" y="305569"/>
                  <a:pt x="551842" y="305127"/>
                </a:cubicBezTo>
                <a:cubicBezTo>
                  <a:pt x="555376" y="303227"/>
                  <a:pt x="557584" y="300980"/>
                  <a:pt x="560232" y="298148"/>
                </a:cubicBezTo>
                <a:cubicBezTo>
                  <a:pt x="561137" y="297192"/>
                  <a:pt x="562041" y="296236"/>
                  <a:pt x="562972" y="295252"/>
                </a:cubicBezTo>
                <a:cubicBezTo>
                  <a:pt x="564755" y="293274"/>
                  <a:pt x="566459" y="291237"/>
                  <a:pt x="568086" y="289152"/>
                </a:cubicBezTo>
                <a:cubicBezTo>
                  <a:pt x="568813" y="288342"/>
                  <a:pt x="569539" y="287532"/>
                  <a:pt x="570289" y="286697"/>
                </a:cubicBezTo>
                <a:cubicBezTo>
                  <a:pt x="571319" y="286697"/>
                  <a:pt x="572350" y="286697"/>
                  <a:pt x="573413" y="286697"/>
                </a:cubicBezTo>
                <a:cubicBezTo>
                  <a:pt x="577408" y="276984"/>
                  <a:pt x="577197" y="267284"/>
                  <a:pt x="577220" y="257016"/>
                </a:cubicBezTo>
                <a:cubicBezTo>
                  <a:pt x="577227" y="255625"/>
                  <a:pt x="577227" y="255625"/>
                  <a:pt x="577235" y="254206"/>
                </a:cubicBezTo>
                <a:cubicBezTo>
                  <a:pt x="577257" y="237553"/>
                  <a:pt x="574604" y="222055"/>
                  <a:pt x="569443" y="206049"/>
                </a:cubicBezTo>
                <a:cubicBezTo>
                  <a:pt x="568726" y="203553"/>
                  <a:pt x="568726" y="203553"/>
                  <a:pt x="568726" y="200735"/>
                </a:cubicBezTo>
                <a:cubicBezTo>
                  <a:pt x="567695" y="200735"/>
                  <a:pt x="566664" y="200735"/>
                  <a:pt x="565602" y="200735"/>
                </a:cubicBezTo>
                <a:cubicBezTo>
                  <a:pt x="563274" y="195295"/>
                  <a:pt x="561092" y="190108"/>
                  <a:pt x="559549" y="184441"/>
                </a:cubicBezTo>
                <a:cubicBezTo>
                  <a:pt x="555572" y="173477"/>
                  <a:pt x="547043" y="167105"/>
                  <a:pt x="537484" y="159867"/>
                </a:cubicBezTo>
                <a:cubicBezTo>
                  <a:pt x="533579" y="156609"/>
                  <a:pt x="533579" y="156609"/>
                  <a:pt x="531235" y="154230"/>
                </a:cubicBezTo>
                <a:cubicBezTo>
                  <a:pt x="531235" y="153301"/>
                  <a:pt x="531235" y="152371"/>
                  <a:pt x="531235" y="151412"/>
                </a:cubicBezTo>
                <a:cubicBezTo>
                  <a:pt x="529689" y="150947"/>
                  <a:pt x="528143" y="150482"/>
                  <a:pt x="526549" y="150003"/>
                </a:cubicBezTo>
                <a:cubicBezTo>
                  <a:pt x="519904" y="137298"/>
                  <a:pt x="519105" y="120357"/>
                  <a:pt x="524304" y="107198"/>
                </a:cubicBezTo>
                <a:cubicBezTo>
                  <a:pt x="529443" y="97376"/>
                  <a:pt x="535781" y="90193"/>
                  <a:pt x="547052" y="85972"/>
                </a:cubicBezTo>
                <a:cubicBezTo>
                  <a:pt x="559924" y="81835"/>
                  <a:pt x="575221" y="79746"/>
                  <a:pt x="588460" y="83538"/>
                </a:cubicBezTo>
                <a:cubicBezTo>
                  <a:pt x="601643" y="89713"/>
                  <a:pt x="611835" y="99450"/>
                  <a:pt x="617152" y="111954"/>
                </a:cubicBezTo>
                <a:cubicBezTo>
                  <a:pt x="617935" y="116052"/>
                  <a:pt x="617954" y="120024"/>
                  <a:pt x="617884" y="124175"/>
                </a:cubicBezTo>
                <a:cubicBezTo>
                  <a:pt x="617896" y="125307"/>
                  <a:pt x="617906" y="126440"/>
                  <a:pt x="617917" y="127607"/>
                </a:cubicBezTo>
                <a:cubicBezTo>
                  <a:pt x="617963" y="132394"/>
                  <a:pt x="617938" y="137181"/>
                  <a:pt x="617919" y="141969"/>
                </a:cubicBezTo>
                <a:cubicBezTo>
                  <a:pt x="617899" y="160184"/>
                  <a:pt x="619422" y="175572"/>
                  <a:pt x="630625" y="191311"/>
                </a:cubicBezTo>
                <a:cubicBezTo>
                  <a:pt x="633753" y="195891"/>
                  <a:pt x="636431" y="199900"/>
                  <a:pt x="637850" y="205139"/>
                </a:cubicBezTo>
                <a:cubicBezTo>
                  <a:pt x="638615" y="209623"/>
                  <a:pt x="638615" y="209623"/>
                  <a:pt x="643708" y="212009"/>
                </a:cubicBezTo>
                <a:cubicBezTo>
                  <a:pt x="645380" y="214563"/>
                  <a:pt x="645380" y="214563"/>
                  <a:pt x="647027" y="217645"/>
                </a:cubicBezTo>
                <a:cubicBezTo>
                  <a:pt x="652549" y="227016"/>
                  <a:pt x="660443" y="235696"/>
                  <a:pt x="670264" y="241603"/>
                </a:cubicBezTo>
                <a:cubicBezTo>
                  <a:pt x="670264" y="242532"/>
                  <a:pt x="670264" y="243462"/>
                  <a:pt x="670264" y="244421"/>
                </a:cubicBezTo>
                <a:cubicBezTo>
                  <a:pt x="672036" y="244857"/>
                  <a:pt x="673808" y="245293"/>
                  <a:pt x="675634" y="245742"/>
                </a:cubicBezTo>
                <a:cubicBezTo>
                  <a:pt x="681199" y="247239"/>
                  <a:pt x="681199" y="247239"/>
                  <a:pt x="682761" y="248649"/>
                </a:cubicBezTo>
                <a:cubicBezTo>
                  <a:pt x="704487" y="252065"/>
                  <a:pt x="732606" y="256402"/>
                  <a:pt x="752092" y="245076"/>
                </a:cubicBezTo>
                <a:cubicBezTo>
                  <a:pt x="754252" y="243599"/>
                  <a:pt x="756372" y="242073"/>
                  <a:pt x="758433" y="240485"/>
                </a:cubicBezTo>
                <a:cubicBezTo>
                  <a:pt x="760867" y="238784"/>
                  <a:pt x="760867" y="238784"/>
                  <a:pt x="763991" y="238784"/>
                </a:cubicBezTo>
                <a:cubicBezTo>
                  <a:pt x="764647" y="237296"/>
                  <a:pt x="764647" y="237296"/>
                  <a:pt x="765315" y="235778"/>
                </a:cubicBezTo>
                <a:cubicBezTo>
                  <a:pt x="767151" y="231659"/>
                  <a:pt x="769030" y="227557"/>
                  <a:pt x="770923" y="223459"/>
                </a:cubicBezTo>
                <a:cubicBezTo>
                  <a:pt x="771608" y="221966"/>
                  <a:pt x="772292" y="220472"/>
                  <a:pt x="772998" y="218934"/>
                </a:cubicBezTo>
                <a:cubicBezTo>
                  <a:pt x="774429" y="215885"/>
                  <a:pt x="775968" y="212878"/>
                  <a:pt x="777562" y="209895"/>
                </a:cubicBezTo>
                <a:cubicBezTo>
                  <a:pt x="787607" y="185732"/>
                  <a:pt x="788559" y="149501"/>
                  <a:pt x="781175" y="124637"/>
                </a:cubicBezTo>
                <a:cubicBezTo>
                  <a:pt x="780144" y="124637"/>
                  <a:pt x="779113" y="124637"/>
                  <a:pt x="778051" y="124637"/>
                </a:cubicBezTo>
                <a:cubicBezTo>
                  <a:pt x="768501" y="110080"/>
                  <a:pt x="762898" y="96653"/>
                  <a:pt x="767116" y="79542"/>
                </a:cubicBezTo>
                <a:cubicBezTo>
                  <a:pt x="772286" y="69057"/>
                  <a:pt x="781456" y="58252"/>
                  <a:pt x="793379" y="54000"/>
                </a:cubicBezTo>
                <a:cubicBezTo>
                  <a:pt x="808369" y="49250"/>
                  <a:pt x="826058" y="49579"/>
                  <a:pt x="840688" y="55503"/>
                </a:cubicBezTo>
                <a:cubicBezTo>
                  <a:pt x="845183" y="57759"/>
                  <a:pt x="848037" y="60575"/>
                  <a:pt x="851470" y="64040"/>
                </a:cubicBezTo>
                <a:cubicBezTo>
                  <a:pt x="852721" y="65272"/>
                  <a:pt x="852721" y="65272"/>
                  <a:pt x="853997" y="66529"/>
                </a:cubicBezTo>
                <a:cubicBezTo>
                  <a:pt x="858396" y="71505"/>
                  <a:pt x="860490" y="76640"/>
                  <a:pt x="861488" y="82057"/>
                </a:cubicBezTo>
                <a:lnTo>
                  <a:pt x="861937" y="90492"/>
                </a:lnTo>
                <a:lnTo>
                  <a:pt x="863826" y="100715"/>
                </a:lnTo>
                <a:cubicBezTo>
                  <a:pt x="862141" y="107853"/>
                  <a:pt x="859866" y="114857"/>
                  <a:pt x="857577" y="121853"/>
                </a:cubicBezTo>
                <a:cubicBezTo>
                  <a:pt x="857062" y="121853"/>
                  <a:pt x="856547" y="121853"/>
                  <a:pt x="856015" y="121853"/>
                </a:cubicBezTo>
                <a:cubicBezTo>
                  <a:pt x="855731" y="120401"/>
                  <a:pt x="855731" y="120401"/>
                  <a:pt x="855442" y="118919"/>
                </a:cubicBezTo>
                <a:lnTo>
                  <a:pt x="855417" y="118798"/>
                </a:lnTo>
                <a:lnTo>
                  <a:pt x="856157" y="124637"/>
                </a:lnTo>
                <a:lnTo>
                  <a:pt x="850623" y="134701"/>
                </a:lnTo>
                <a:lnTo>
                  <a:pt x="851325" y="135968"/>
                </a:lnTo>
                <a:cubicBezTo>
                  <a:pt x="850851" y="137246"/>
                  <a:pt x="850376" y="138525"/>
                  <a:pt x="849886" y="139843"/>
                </a:cubicBezTo>
                <a:cubicBezTo>
                  <a:pt x="848171" y="144505"/>
                  <a:pt x="847798" y="148002"/>
                  <a:pt x="847786" y="152889"/>
                </a:cubicBezTo>
                <a:cubicBezTo>
                  <a:pt x="847779" y="154500"/>
                  <a:pt x="847773" y="156109"/>
                  <a:pt x="847767" y="157768"/>
                </a:cubicBezTo>
                <a:cubicBezTo>
                  <a:pt x="847782" y="159468"/>
                  <a:pt x="847796" y="161167"/>
                  <a:pt x="847810" y="162919"/>
                </a:cubicBezTo>
                <a:cubicBezTo>
                  <a:pt x="847821" y="165546"/>
                  <a:pt x="847821" y="165546"/>
                  <a:pt x="847832" y="168227"/>
                </a:cubicBezTo>
                <a:cubicBezTo>
                  <a:pt x="847980" y="181934"/>
                  <a:pt x="849003" y="195419"/>
                  <a:pt x="850903" y="209013"/>
                </a:cubicBezTo>
                <a:lnTo>
                  <a:pt x="852880" y="224692"/>
                </a:lnTo>
                <a:lnTo>
                  <a:pt x="854595" y="224692"/>
                </a:lnTo>
                <a:cubicBezTo>
                  <a:pt x="855086" y="225542"/>
                  <a:pt x="855577" y="226392"/>
                  <a:pt x="856083" y="227268"/>
                </a:cubicBezTo>
                <a:cubicBezTo>
                  <a:pt x="862358" y="237839"/>
                  <a:pt x="866924" y="242785"/>
                  <a:pt x="879588" y="247239"/>
                </a:cubicBezTo>
                <a:cubicBezTo>
                  <a:pt x="881642" y="248025"/>
                  <a:pt x="883692" y="248817"/>
                  <a:pt x="885739" y="249618"/>
                </a:cubicBezTo>
                <a:cubicBezTo>
                  <a:pt x="887318" y="250227"/>
                  <a:pt x="888897" y="250838"/>
                  <a:pt x="890523" y="251467"/>
                </a:cubicBezTo>
                <a:cubicBezTo>
                  <a:pt x="890523" y="252397"/>
                  <a:pt x="890523" y="253327"/>
                  <a:pt x="890523" y="254285"/>
                </a:cubicBezTo>
                <a:cubicBezTo>
                  <a:pt x="900347" y="257061"/>
                  <a:pt x="910127" y="259425"/>
                  <a:pt x="920203" y="261332"/>
                </a:cubicBezTo>
                <a:cubicBezTo>
                  <a:pt x="920203" y="261796"/>
                  <a:pt x="920203" y="262262"/>
                  <a:pt x="920203" y="262741"/>
                </a:cubicBezTo>
                <a:cubicBezTo>
                  <a:pt x="917111" y="262741"/>
                  <a:pt x="914018" y="262741"/>
                  <a:pt x="910831" y="262741"/>
                </a:cubicBezTo>
                <a:lnTo>
                  <a:pt x="910831" y="262864"/>
                </a:lnTo>
                <a:lnTo>
                  <a:pt x="927993" y="264177"/>
                </a:lnTo>
                <a:lnTo>
                  <a:pt x="939273" y="265285"/>
                </a:lnTo>
                <a:lnTo>
                  <a:pt x="940456" y="265191"/>
                </a:lnTo>
                <a:cubicBezTo>
                  <a:pt x="962552" y="263054"/>
                  <a:pt x="974979" y="255295"/>
                  <a:pt x="991622" y="242329"/>
                </a:cubicBezTo>
                <a:lnTo>
                  <a:pt x="1000803" y="236505"/>
                </a:lnTo>
                <a:lnTo>
                  <a:pt x="999806" y="236055"/>
                </a:lnTo>
                <a:cubicBezTo>
                  <a:pt x="1000902" y="234997"/>
                  <a:pt x="1001997" y="233941"/>
                  <a:pt x="1003126" y="232851"/>
                </a:cubicBezTo>
                <a:cubicBezTo>
                  <a:pt x="1012364" y="223880"/>
                  <a:pt x="1021184" y="214752"/>
                  <a:pt x="1029487" y="205052"/>
                </a:cubicBezTo>
                <a:lnTo>
                  <a:pt x="1029872" y="206442"/>
                </a:lnTo>
                <a:lnTo>
                  <a:pt x="1031614" y="203719"/>
                </a:lnTo>
                <a:cubicBezTo>
                  <a:pt x="1033221" y="199204"/>
                  <a:pt x="1035713" y="196017"/>
                  <a:pt x="1038924" y="192280"/>
                </a:cubicBezTo>
                <a:cubicBezTo>
                  <a:pt x="1039956" y="191815"/>
                  <a:pt x="1040987" y="191349"/>
                  <a:pt x="1042049" y="190870"/>
                </a:cubicBezTo>
                <a:cubicBezTo>
                  <a:pt x="1043161" y="188473"/>
                  <a:pt x="1043161" y="188473"/>
                  <a:pt x="1044294" y="186026"/>
                </a:cubicBezTo>
                <a:cubicBezTo>
                  <a:pt x="1046735" y="181006"/>
                  <a:pt x="1046735" y="181006"/>
                  <a:pt x="1051422" y="178188"/>
                </a:cubicBezTo>
                <a:cubicBezTo>
                  <a:pt x="1052553" y="175286"/>
                  <a:pt x="1052553" y="175286"/>
                  <a:pt x="1052984" y="172551"/>
                </a:cubicBezTo>
                <a:cubicBezTo>
                  <a:pt x="1054014" y="172551"/>
                  <a:pt x="1055046" y="172551"/>
                  <a:pt x="1056108" y="172551"/>
                </a:cubicBezTo>
                <a:cubicBezTo>
                  <a:pt x="1057139" y="169295"/>
                  <a:pt x="1058170" y="166040"/>
                  <a:pt x="1059232" y="162686"/>
                </a:cubicBezTo>
                <a:cubicBezTo>
                  <a:pt x="1060263" y="162686"/>
                  <a:pt x="1061295" y="162686"/>
                  <a:pt x="1062357" y="162686"/>
                </a:cubicBezTo>
                <a:cubicBezTo>
                  <a:pt x="1062755" y="161484"/>
                  <a:pt x="1062755" y="161484"/>
                  <a:pt x="1063162" y="160258"/>
                </a:cubicBezTo>
                <a:cubicBezTo>
                  <a:pt x="1065716" y="152917"/>
                  <a:pt x="1068813" y="146686"/>
                  <a:pt x="1073292" y="140138"/>
                </a:cubicBezTo>
                <a:cubicBezTo>
                  <a:pt x="1074322" y="140138"/>
                  <a:pt x="1075353" y="140138"/>
                  <a:pt x="1076415" y="140138"/>
                </a:cubicBezTo>
                <a:cubicBezTo>
                  <a:pt x="1079808" y="132748"/>
                  <a:pt x="1082509" y="125160"/>
                  <a:pt x="1085294" y="117569"/>
                </a:cubicBezTo>
                <a:cubicBezTo>
                  <a:pt x="1085972" y="116181"/>
                  <a:pt x="1086651" y="114793"/>
                  <a:pt x="1087350" y="113363"/>
                </a:cubicBezTo>
                <a:cubicBezTo>
                  <a:pt x="1089671" y="112666"/>
                  <a:pt x="1089671" y="112666"/>
                  <a:pt x="1092037" y="111954"/>
                </a:cubicBezTo>
                <a:cubicBezTo>
                  <a:pt x="1092230" y="110879"/>
                  <a:pt x="1092423" y="109803"/>
                  <a:pt x="1092623" y="108695"/>
                </a:cubicBezTo>
                <a:cubicBezTo>
                  <a:pt x="1093599" y="104908"/>
                  <a:pt x="1093599" y="104908"/>
                  <a:pt x="1096723" y="100680"/>
                </a:cubicBezTo>
                <a:cubicBezTo>
                  <a:pt x="1097207" y="99140"/>
                  <a:pt x="1097689" y="97599"/>
                  <a:pt x="1098188" y="96013"/>
                </a:cubicBezTo>
                <a:cubicBezTo>
                  <a:pt x="1099847" y="90815"/>
                  <a:pt x="1099847" y="90815"/>
                  <a:pt x="1102288" y="87029"/>
                </a:cubicBezTo>
                <a:cubicBezTo>
                  <a:pt x="1106061" y="79186"/>
                  <a:pt x="1107564" y="69424"/>
                  <a:pt x="1104534" y="61222"/>
                </a:cubicBezTo>
                <a:cubicBezTo>
                  <a:pt x="1104409" y="59341"/>
                  <a:pt x="1104366" y="57454"/>
                  <a:pt x="1104381" y="55569"/>
                </a:cubicBezTo>
                <a:cubicBezTo>
                  <a:pt x="1104386" y="54501"/>
                  <a:pt x="1104391" y="53434"/>
                  <a:pt x="1104397" y="52335"/>
                </a:cubicBezTo>
                <a:cubicBezTo>
                  <a:pt x="1104410" y="51228"/>
                  <a:pt x="1104423" y="50120"/>
                  <a:pt x="1104436" y="48979"/>
                </a:cubicBezTo>
                <a:cubicBezTo>
                  <a:pt x="1104443" y="47856"/>
                  <a:pt x="1104451" y="46733"/>
                  <a:pt x="1104457" y="45575"/>
                </a:cubicBezTo>
                <a:cubicBezTo>
                  <a:pt x="1104476" y="42805"/>
                  <a:pt x="1104504" y="40035"/>
                  <a:pt x="1104534" y="37265"/>
                </a:cubicBezTo>
                <a:cubicBezTo>
                  <a:pt x="1105565" y="37265"/>
                  <a:pt x="1106596" y="37265"/>
                  <a:pt x="1107658" y="37265"/>
                </a:cubicBezTo>
                <a:cubicBezTo>
                  <a:pt x="1107561" y="34562"/>
                  <a:pt x="1107561" y="34562"/>
                  <a:pt x="1107463" y="31805"/>
                </a:cubicBezTo>
                <a:cubicBezTo>
                  <a:pt x="1107353" y="28733"/>
                  <a:pt x="1107353" y="28733"/>
                  <a:pt x="1107658" y="25991"/>
                </a:cubicBezTo>
                <a:cubicBezTo>
                  <a:pt x="1108689" y="25062"/>
                  <a:pt x="1109720" y="24131"/>
                  <a:pt x="1110782" y="23173"/>
                </a:cubicBezTo>
                <a:cubicBezTo>
                  <a:pt x="1111104" y="22156"/>
                  <a:pt x="1111427" y="21138"/>
                  <a:pt x="1111759" y="20091"/>
                </a:cubicBezTo>
                <a:cubicBezTo>
                  <a:pt x="1116393" y="11539"/>
                  <a:pt x="1124927" y="6390"/>
                  <a:pt x="1134507" y="2828"/>
                </a:cubicBezTo>
                <a:cubicBezTo>
                  <a:pt x="1141389" y="825"/>
                  <a:pt x="1148262" y="-204"/>
                  <a:pt x="1155019" y="35"/>
                </a:cubicBezTo>
                <a:close/>
              </a:path>
            </a:pathLst>
          </a:custGeom>
          <a:solidFill>
            <a:schemeClr val="accent3"/>
          </a:solidFill>
          <a:ln w="2232" cap="flat">
            <a:noFill/>
            <a:prstDash val="solid"/>
            <a:miter/>
          </a:ln>
          <a:effectLst>
            <a:innerShdw blurRad="63500" dist="190500" dir="8100000">
              <a:schemeClr val="accent3">
                <a:lumMod val="75000"/>
                <a:alpha val="50000"/>
              </a:schemeClr>
            </a:innerShdw>
          </a:effectLst>
        </p:spPr>
        <p:txBody>
          <a:bodyPr wrap="squar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1" name="Oval 80">
            <a:extLst>
              <a:ext uri="{FF2B5EF4-FFF2-40B4-BE49-F238E27FC236}">
                <a16:creationId xmlns:a16="http://schemas.microsoft.com/office/drawing/2014/main" id="{BAE15F69-7037-40CB-1C9F-66BFD98B0AE2}"/>
              </a:ext>
            </a:extLst>
          </p:cNvPr>
          <p:cNvSpPr/>
          <p:nvPr/>
        </p:nvSpPr>
        <p:spPr>
          <a:xfrm>
            <a:off x="5622270" y="2749589"/>
            <a:ext cx="117120" cy="117120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2" name="Oval 81">
            <a:extLst>
              <a:ext uri="{FF2B5EF4-FFF2-40B4-BE49-F238E27FC236}">
                <a16:creationId xmlns:a16="http://schemas.microsoft.com/office/drawing/2014/main" id="{3DFFAE35-53B9-8FDB-96BD-3943E623A48F}"/>
              </a:ext>
            </a:extLst>
          </p:cNvPr>
          <p:cNvSpPr/>
          <p:nvPr/>
        </p:nvSpPr>
        <p:spPr>
          <a:xfrm>
            <a:off x="5778616" y="2852138"/>
            <a:ext cx="117120" cy="117120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3" name="Oval 82">
            <a:extLst>
              <a:ext uri="{FF2B5EF4-FFF2-40B4-BE49-F238E27FC236}">
                <a16:creationId xmlns:a16="http://schemas.microsoft.com/office/drawing/2014/main" id="{C80FE776-0D7C-1392-F32E-176EE90295F4}"/>
              </a:ext>
            </a:extLst>
          </p:cNvPr>
          <p:cNvSpPr/>
          <p:nvPr/>
        </p:nvSpPr>
        <p:spPr>
          <a:xfrm>
            <a:off x="5665139" y="3042946"/>
            <a:ext cx="91681" cy="91681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4" name="Oval 83">
            <a:extLst>
              <a:ext uri="{FF2B5EF4-FFF2-40B4-BE49-F238E27FC236}">
                <a16:creationId xmlns:a16="http://schemas.microsoft.com/office/drawing/2014/main" id="{B65685D2-E90B-9C77-3395-2655D642EA46}"/>
              </a:ext>
            </a:extLst>
          </p:cNvPr>
          <p:cNvSpPr/>
          <p:nvPr/>
        </p:nvSpPr>
        <p:spPr>
          <a:xfrm>
            <a:off x="5909744" y="3021932"/>
            <a:ext cx="117120" cy="117120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5" name="Oval 84">
            <a:extLst>
              <a:ext uri="{FF2B5EF4-FFF2-40B4-BE49-F238E27FC236}">
                <a16:creationId xmlns:a16="http://schemas.microsoft.com/office/drawing/2014/main" id="{CB64A980-F701-2BB9-F35C-0AA781D999AD}"/>
              </a:ext>
            </a:extLst>
          </p:cNvPr>
          <p:cNvSpPr/>
          <p:nvPr/>
        </p:nvSpPr>
        <p:spPr>
          <a:xfrm>
            <a:off x="5947569" y="2778168"/>
            <a:ext cx="79294" cy="79294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8" name="Oval 97">
            <a:extLst>
              <a:ext uri="{FF2B5EF4-FFF2-40B4-BE49-F238E27FC236}">
                <a16:creationId xmlns:a16="http://schemas.microsoft.com/office/drawing/2014/main" id="{FE29B205-B387-B66B-DD47-5D734A328644}"/>
              </a:ext>
            </a:extLst>
          </p:cNvPr>
          <p:cNvSpPr/>
          <p:nvPr/>
        </p:nvSpPr>
        <p:spPr>
          <a:xfrm>
            <a:off x="8947591" y="3678626"/>
            <a:ext cx="796766" cy="178620"/>
          </a:xfrm>
          <a:prstGeom prst="ellipse">
            <a:avLst/>
          </a:prstGeom>
          <a:solidFill>
            <a:schemeClr val="tx1">
              <a:alpha val="5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9" name="Free-form: Shape 98">
            <a:extLst>
              <a:ext uri="{FF2B5EF4-FFF2-40B4-BE49-F238E27FC236}">
                <a16:creationId xmlns:a16="http://schemas.microsoft.com/office/drawing/2014/main" id="{EE7DA30F-AEA0-939A-2F46-C390A3CC00DD}"/>
              </a:ext>
            </a:extLst>
          </p:cNvPr>
          <p:cNvSpPr/>
          <p:nvPr/>
        </p:nvSpPr>
        <p:spPr>
          <a:xfrm>
            <a:off x="8765056" y="2519385"/>
            <a:ext cx="1288988" cy="1232218"/>
          </a:xfrm>
          <a:custGeom>
            <a:avLst/>
            <a:gdLst>
              <a:gd name="csX0" fmla="*/ 401579 w 1609516"/>
              <a:gd name="csY0" fmla="*/ 1495809 h 1538630"/>
              <a:gd name="csX1" fmla="*/ 400190 w 1609516"/>
              <a:gd name="csY1" fmla="*/ 1496004 h 1538630"/>
              <a:gd name="csX2" fmla="*/ 401224 w 1609516"/>
              <a:gd name="csY2" fmla="*/ 1496470 h 1538630"/>
              <a:gd name="csX3" fmla="*/ 401224 w 1609516"/>
              <a:gd name="csY3" fmla="*/ 1498590 h 1538630"/>
              <a:gd name="csX4" fmla="*/ 401579 w 1609516"/>
              <a:gd name="csY4" fmla="*/ 1498628 h 1538630"/>
              <a:gd name="csX5" fmla="*/ 401579 w 1609516"/>
              <a:gd name="csY5" fmla="*/ 1495809 h 1538630"/>
              <a:gd name="csX6" fmla="*/ 368755 w 1609516"/>
              <a:gd name="csY6" fmla="*/ 1486512 h 1538630"/>
              <a:gd name="csX7" fmla="*/ 364089 w 1609516"/>
              <a:gd name="csY7" fmla="*/ 1487354 h 1538630"/>
              <a:gd name="csX8" fmla="*/ 364089 w 1609516"/>
              <a:gd name="csY8" fmla="*/ 1487908 h 1538630"/>
              <a:gd name="csX9" fmla="*/ 1049801 w 1609516"/>
              <a:gd name="csY9" fmla="*/ 1484562 h 1538630"/>
              <a:gd name="csX10" fmla="*/ 1046735 w 1609516"/>
              <a:gd name="csY10" fmla="*/ 1485945 h 1538630"/>
              <a:gd name="csX11" fmla="*/ 1046955 w 1609516"/>
              <a:gd name="csY11" fmla="*/ 1486045 h 1538630"/>
              <a:gd name="csX12" fmla="*/ 1049801 w 1609516"/>
              <a:gd name="csY12" fmla="*/ 1485188 h 1538630"/>
              <a:gd name="csX13" fmla="*/ 351234 w 1609516"/>
              <a:gd name="csY13" fmla="*/ 1444508 h 1538630"/>
              <a:gd name="csX14" fmla="*/ 351234 w 1609516"/>
              <a:gd name="csY14" fmla="*/ 1444997 h 1538630"/>
              <a:gd name="csX15" fmla="*/ 351592 w 1609516"/>
              <a:gd name="csY15" fmla="*/ 1445078 h 1538630"/>
              <a:gd name="csX16" fmla="*/ 351908 w 1609516"/>
              <a:gd name="csY16" fmla="*/ 1431206 h 1538630"/>
              <a:gd name="csX17" fmla="*/ 351234 w 1609516"/>
              <a:gd name="csY17" fmla="*/ 1431611 h 1538630"/>
              <a:gd name="csX18" fmla="*/ 351234 w 1609516"/>
              <a:gd name="csY18" fmla="*/ 1432274 h 1538630"/>
              <a:gd name="csX19" fmla="*/ 358162 w 1609516"/>
              <a:gd name="csY19" fmla="*/ 1421494 h 1538630"/>
              <a:gd name="csX20" fmla="*/ 355921 w 1609516"/>
              <a:gd name="csY20" fmla="*/ 1423156 h 1538630"/>
              <a:gd name="csX21" fmla="*/ 355921 w 1609516"/>
              <a:gd name="csY21" fmla="*/ 1423548 h 1538630"/>
              <a:gd name="csX22" fmla="*/ 376098 w 1609516"/>
              <a:gd name="csY22" fmla="*/ 1408347 h 1538630"/>
              <a:gd name="csX23" fmla="*/ 370750 w 1609516"/>
              <a:gd name="csY23" fmla="*/ 1412245 h 1538630"/>
              <a:gd name="csX24" fmla="*/ 375023 w 1609516"/>
              <a:gd name="csY24" fmla="*/ 1411256 h 1538630"/>
              <a:gd name="csX25" fmla="*/ 421956 w 1609516"/>
              <a:gd name="csY25" fmla="*/ 1365623 h 1538630"/>
              <a:gd name="csX26" fmla="*/ 421765 w 1609516"/>
              <a:gd name="csY26" fmla="*/ 1366161 h 1538630"/>
              <a:gd name="csX27" fmla="*/ 421887 w 1609516"/>
              <a:gd name="csY27" fmla="*/ 1366161 h 1538630"/>
              <a:gd name="csX28" fmla="*/ 754553 w 1609516"/>
              <a:gd name="csY28" fmla="*/ 1360575 h 1538630"/>
              <a:gd name="csX29" fmla="*/ 754089 w 1609516"/>
              <a:gd name="csY29" fmla="*/ 1361433 h 1538630"/>
              <a:gd name="csX30" fmla="*/ 754431 w 1609516"/>
              <a:gd name="csY30" fmla="*/ 1361125 h 1538630"/>
              <a:gd name="csX31" fmla="*/ 1277973 w 1609516"/>
              <a:gd name="csY31" fmla="*/ 1332923 h 1538630"/>
              <a:gd name="csX32" fmla="*/ 1277944 w 1609516"/>
              <a:gd name="csY32" fmla="*/ 1332936 h 1538630"/>
              <a:gd name="csX33" fmla="*/ 1277949 w 1609516"/>
              <a:gd name="csY33" fmla="*/ 1333139 h 1538630"/>
              <a:gd name="csX34" fmla="*/ 1268556 w 1609516"/>
              <a:gd name="csY34" fmla="*/ 1321066 h 1538630"/>
              <a:gd name="csX35" fmla="*/ 1268556 w 1609516"/>
              <a:gd name="csY35" fmla="*/ 1325294 h 1538630"/>
              <a:gd name="csX36" fmla="*/ 1265432 w 1609516"/>
              <a:gd name="csY36" fmla="*/ 1325294 h 1538630"/>
              <a:gd name="csX37" fmla="*/ 1265432 w 1609516"/>
              <a:gd name="csY37" fmla="*/ 1340795 h 1538630"/>
              <a:gd name="csX38" fmla="*/ 1265476 w 1609516"/>
              <a:gd name="csY38" fmla="*/ 1340714 h 1538630"/>
              <a:gd name="csX39" fmla="*/ 1265476 w 1609516"/>
              <a:gd name="csY39" fmla="*/ 1325877 h 1538630"/>
              <a:gd name="csX40" fmla="*/ 1268600 w 1609516"/>
              <a:gd name="csY40" fmla="*/ 1325877 h 1538630"/>
              <a:gd name="csX41" fmla="*/ 1268600 w 1609516"/>
              <a:gd name="csY41" fmla="*/ 1321649 h 1538630"/>
              <a:gd name="csX42" fmla="*/ 1273286 w 1609516"/>
              <a:gd name="csY42" fmla="*/ 1321649 h 1538630"/>
              <a:gd name="csX43" fmla="*/ 1273227 w 1609516"/>
              <a:gd name="csY43" fmla="*/ 1321066 h 1538630"/>
              <a:gd name="csX44" fmla="*/ 827891 w 1609516"/>
              <a:gd name="csY44" fmla="*/ 1291474 h 1538630"/>
              <a:gd name="csX45" fmla="*/ 822601 w 1609516"/>
              <a:gd name="csY45" fmla="*/ 1291544 h 1538630"/>
              <a:gd name="csX46" fmla="*/ 818272 w 1609516"/>
              <a:gd name="csY46" fmla="*/ 1292220 h 1538630"/>
              <a:gd name="csX47" fmla="*/ 827891 w 1609516"/>
              <a:gd name="csY47" fmla="*/ 1292047 h 1538630"/>
              <a:gd name="csX48" fmla="*/ 856397 w 1609516"/>
              <a:gd name="csY48" fmla="*/ 1288691 h 1538630"/>
              <a:gd name="csX49" fmla="*/ 865903 w 1609516"/>
              <a:gd name="csY49" fmla="*/ 1290590 h 1538630"/>
              <a:gd name="csX50" fmla="*/ 859999 w 1609516"/>
              <a:gd name="csY50" fmla="*/ 1288752 h 1538630"/>
              <a:gd name="csX51" fmla="*/ 834694 w 1609516"/>
              <a:gd name="csY51" fmla="*/ 1288572 h 1538630"/>
              <a:gd name="csX52" fmla="*/ 828038 w 1609516"/>
              <a:gd name="csY52" fmla="*/ 1288654 h 1538630"/>
              <a:gd name="csX53" fmla="*/ 828038 w 1609516"/>
              <a:gd name="csY53" fmla="*/ 1289214 h 1538630"/>
              <a:gd name="csX54" fmla="*/ 229746 w 1609516"/>
              <a:gd name="csY54" fmla="*/ 1191418 h 1538630"/>
              <a:gd name="csX55" fmla="*/ 227402 w 1609516"/>
              <a:gd name="csY55" fmla="*/ 1191947 h 1538630"/>
              <a:gd name="csX56" fmla="*/ 229315 w 1609516"/>
              <a:gd name="csY56" fmla="*/ 1191947 h 1538630"/>
              <a:gd name="csX57" fmla="*/ 229315 w 1609516"/>
              <a:gd name="csY57" fmla="*/ 1194765 h 1538630"/>
              <a:gd name="csX58" fmla="*/ 231321 w 1609516"/>
              <a:gd name="csY58" fmla="*/ 1194765 h 1538630"/>
              <a:gd name="csX59" fmla="*/ 229746 w 1609516"/>
              <a:gd name="csY59" fmla="*/ 1194236 h 1538630"/>
              <a:gd name="csX60" fmla="*/ 229746 w 1609516"/>
              <a:gd name="csY60" fmla="*/ 1191418 h 1538630"/>
              <a:gd name="csX61" fmla="*/ 215687 w 1609516"/>
              <a:gd name="csY61" fmla="*/ 1187190 h 1538630"/>
              <a:gd name="csX62" fmla="*/ 215198 w 1609516"/>
              <a:gd name="csY62" fmla="*/ 1187720 h 1538630"/>
              <a:gd name="csX63" fmla="*/ 215256 w 1609516"/>
              <a:gd name="csY63" fmla="*/ 1187720 h 1538630"/>
              <a:gd name="csX64" fmla="*/ 215256 w 1609516"/>
              <a:gd name="csY64" fmla="*/ 1191947 h 1538630"/>
              <a:gd name="csX65" fmla="*/ 222721 w 1609516"/>
              <a:gd name="csY65" fmla="*/ 1191947 h 1538630"/>
              <a:gd name="csX66" fmla="*/ 215687 w 1609516"/>
              <a:gd name="csY66" fmla="*/ 1191418 h 1538630"/>
              <a:gd name="csX67" fmla="*/ 215687 w 1609516"/>
              <a:gd name="csY67" fmla="*/ 1187190 h 1538630"/>
              <a:gd name="csX68" fmla="*/ 1279678 w 1609516"/>
              <a:gd name="csY68" fmla="*/ 1082356 h 1538630"/>
              <a:gd name="csX69" fmla="*/ 1271680 w 1609516"/>
              <a:gd name="csY69" fmla="*/ 1084589 h 1538630"/>
              <a:gd name="csX70" fmla="*/ 1282181 w 1609516"/>
              <a:gd name="csY70" fmla="*/ 1082544 h 1538630"/>
              <a:gd name="csX71" fmla="*/ 117703 w 1609516"/>
              <a:gd name="csY71" fmla="*/ 941507 h 1538630"/>
              <a:gd name="csX72" fmla="*/ 112587 w 1609516"/>
              <a:gd name="csY72" fmla="*/ 941985 h 1538630"/>
              <a:gd name="csX73" fmla="*/ 112565 w 1609516"/>
              <a:gd name="csY73" fmla="*/ 942333 h 1538630"/>
              <a:gd name="csX74" fmla="*/ 115665 w 1609516"/>
              <a:gd name="csY74" fmla="*/ 941837 h 1538630"/>
              <a:gd name="csX75" fmla="*/ 144268 w 1609516"/>
              <a:gd name="csY75" fmla="*/ 939395 h 1538630"/>
              <a:gd name="csX76" fmla="*/ 143354 w 1609516"/>
              <a:gd name="csY76" fmla="*/ 939580 h 1538630"/>
              <a:gd name="csX77" fmla="*/ 144077 w 1609516"/>
              <a:gd name="csY77" fmla="*/ 939739 h 1538630"/>
              <a:gd name="csX78" fmla="*/ 162575 w 1609516"/>
              <a:gd name="csY78" fmla="*/ 933530 h 1538630"/>
              <a:gd name="csX79" fmla="*/ 161704 w 1609516"/>
              <a:gd name="csY79" fmla="*/ 935101 h 1538630"/>
              <a:gd name="csX80" fmla="*/ 170045 w 1609516"/>
              <a:gd name="csY80" fmla="*/ 933585 h 1538630"/>
              <a:gd name="csX81" fmla="*/ 1321645 w 1609516"/>
              <a:gd name="csY81" fmla="*/ 918415 h 1538630"/>
              <a:gd name="csX82" fmla="*/ 1321534 w 1609516"/>
              <a:gd name="csY82" fmla="*/ 920177 h 1538630"/>
              <a:gd name="csX83" fmla="*/ 1321740 w 1609516"/>
              <a:gd name="csY83" fmla="*/ 918415 h 1538630"/>
              <a:gd name="csX84" fmla="*/ 1319333 w 1609516"/>
              <a:gd name="csY84" fmla="*/ 915183 h 1538630"/>
              <a:gd name="csX85" fmla="*/ 1318544 w 1609516"/>
              <a:gd name="csY85" fmla="*/ 918029 h 1538630"/>
              <a:gd name="csX86" fmla="*/ 1318702 w 1609516"/>
              <a:gd name="csY86" fmla="*/ 918029 h 1538630"/>
              <a:gd name="csX87" fmla="*/ 1326355 w 1609516"/>
              <a:gd name="csY87" fmla="*/ 907109 h 1538630"/>
              <a:gd name="csX88" fmla="*/ 1326355 w 1609516"/>
              <a:gd name="csY88" fmla="*/ 910983 h 1538630"/>
              <a:gd name="csX89" fmla="*/ 1325831 w 1609516"/>
              <a:gd name="csY89" fmla="*/ 911101 h 1538630"/>
              <a:gd name="csX90" fmla="*/ 1326426 w 1609516"/>
              <a:gd name="csY90" fmla="*/ 911369 h 1538630"/>
              <a:gd name="csX91" fmla="*/ 1326426 w 1609516"/>
              <a:gd name="csY91" fmla="*/ 907141 h 1538630"/>
              <a:gd name="csX92" fmla="*/ 1328144 w 1609516"/>
              <a:gd name="csY92" fmla="*/ 892192 h 1538630"/>
              <a:gd name="csX93" fmla="*/ 1327667 w 1609516"/>
              <a:gd name="csY93" fmla="*/ 893446 h 1538630"/>
              <a:gd name="csX94" fmla="*/ 1327989 w 1609516"/>
              <a:gd name="csY94" fmla="*/ 893049 h 1538630"/>
              <a:gd name="csX95" fmla="*/ 49605 w 1609516"/>
              <a:gd name="csY95" fmla="*/ 887420 h 1538630"/>
              <a:gd name="csX96" fmla="*/ 48549 w 1609516"/>
              <a:gd name="csY96" fmla="*/ 891229 h 1538630"/>
              <a:gd name="csX97" fmla="*/ 49956 w 1609516"/>
              <a:gd name="csY97" fmla="*/ 887420 h 1538630"/>
              <a:gd name="csX98" fmla="*/ 1332266 w 1609516"/>
              <a:gd name="csY98" fmla="*/ 883369 h 1538630"/>
              <a:gd name="csX99" fmla="*/ 1329479 w 1609516"/>
              <a:gd name="csY99" fmla="*/ 884207 h 1538630"/>
              <a:gd name="csX100" fmla="*/ 1329509 w 1609516"/>
              <a:gd name="csY100" fmla="*/ 884816 h 1538630"/>
              <a:gd name="csX101" fmla="*/ 1329551 w 1609516"/>
              <a:gd name="csY101" fmla="*/ 884594 h 1538630"/>
              <a:gd name="csX102" fmla="*/ 1555987 w 1609516"/>
              <a:gd name="csY102" fmla="*/ 821766 h 1538630"/>
              <a:gd name="csX103" fmla="*/ 1555987 w 1609516"/>
              <a:gd name="csY103" fmla="*/ 822201 h 1538630"/>
              <a:gd name="csX104" fmla="*/ 1556081 w 1609516"/>
              <a:gd name="csY104" fmla="*/ 822189 h 1538630"/>
              <a:gd name="csX105" fmla="*/ 1565360 w 1609516"/>
              <a:gd name="csY105" fmla="*/ 810928 h 1538630"/>
              <a:gd name="csX106" fmla="*/ 1564871 w 1609516"/>
              <a:gd name="csY106" fmla="*/ 811809 h 1538630"/>
              <a:gd name="csX107" fmla="*/ 1567314 w 1609516"/>
              <a:gd name="csY107" fmla="*/ 810928 h 1538630"/>
              <a:gd name="csX108" fmla="*/ 1563797 w 1609516"/>
              <a:gd name="csY108" fmla="*/ 810928 h 1538630"/>
              <a:gd name="csX109" fmla="*/ 1556762 w 1609516"/>
              <a:gd name="csY109" fmla="*/ 814736 h 1538630"/>
              <a:gd name="csX110" fmla="*/ 1563797 w 1609516"/>
              <a:gd name="csY110" fmla="*/ 812197 h 1538630"/>
              <a:gd name="csX111" fmla="*/ 265833 w 1609516"/>
              <a:gd name="csY111" fmla="*/ 806020 h 1538630"/>
              <a:gd name="csX112" fmla="*/ 263704 w 1609516"/>
              <a:gd name="csY112" fmla="*/ 809861 h 1538630"/>
              <a:gd name="csX113" fmla="*/ 263704 w 1609516"/>
              <a:gd name="csY113" fmla="*/ 816750 h 1538630"/>
              <a:gd name="csX114" fmla="*/ 264113 w 1609516"/>
              <a:gd name="csY114" fmla="*/ 816565 h 1538630"/>
              <a:gd name="csX115" fmla="*/ 263918 w 1609516"/>
              <a:gd name="csY115" fmla="*/ 812777 h 1538630"/>
              <a:gd name="csX116" fmla="*/ 263774 w 1609516"/>
              <a:gd name="csY116" fmla="*/ 779374 h 1538630"/>
              <a:gd name="csX117" fmla="*/ 263704 w 1609516"/>
              <a:gd name="csY117" fmla="*/ 783086 h 1538630"/>
              <a:gd name="csX118" fmla="*/ 264484 w 1609516"/>
              <a:gd name="csY118" fmla="*/ 785816 h 1538630"/>
              <a:gd name="csX119" fmla="*/ 265265 w 1609516"/>
              <a:gd name="csY119" fmla="*/ 794448 h 1538630"/>
              <a:gd name="csX120" fmla="*/ 265217 w 1609516"/>
              <a:gd name="csY120" fmla="*/ 799730 h 1538630"/>
              <a:gd name="csX121" fmla="*/ 266556 w 1609516"/>
              <a:gd name="csY121" fmla="*/ 803466 h 1538630"/>
              <a:gd name="csX122" fmla="*/ 267237 w 1609516"/>
              <a:gd name="csY122" fmla="*/ 801063 h 1538630"/>
              <a:gd name="csX123" fmla="*/ 265675 w 1609516"/>
              <a:gd name="csY123" fmla="*/ 799654 h 1538630"/>
              <a:gd name="csX124" fmla="*/ 265675 w 1609516"/>
              <a:gd name="csY124" fmla="*/ 793841 h 1538630"/>
              <a:gd name="csX125" fmla="*/ 260988 w 1609516"/>
              <a:gd name="csY125" fmla="*/ 770061 h 1538630"/>
              <a:gd name="csX126" fmla="*/ 260988 w 1609516"/>
              <a:gd name="csY126" fmla="*/ 771364 h 1538630"/>
              <a:gd name="csX127" fmla="*/ 263497 w 1609516"/>
              <a:gd name="csY127" fmla="*/ 777263 h 1538630"/>
              <a:gd name="csX128" fmla="*/ 262551 w 1609516"/>
              <a:gd name="csY128" fmla="*/ 770061 h 1538630"/>
              <a:gd name="csX129" fmla="*/ 260988 w 1609516"/>
              <a:gd name="csY129" fmla="*/ 770061 h 1538630"/>
              <a:gd name="csX130" fmla="*/ 157888 w 1609516"/>
              <a:gd name="csY130" fmla="*/ 651686 h 1538630"/>
              <a:gd name="csX131" fmla="*/ 157415 w 1609516"/>
              <a:gd name="csY131" fmla="*/ 651764 h 1538630"/>
              <a:gd name="csX132" fmla="*/ 160373 w 1609516"/>
              <a:gd name="csY132" fmla="*/ 652274 h 1538630"/>
              <a:gd name="csX133" fmla="*/ 267237 w 1609516"/>
              <a:gd name="csY133" fmla="*/ 426537 h 1538630"/>
              <a:gd name="csX134" fmla="*/ 267237 w 1609516"/>
              <a:gd name="csY134" fmla="*/ 427619 h 1538630"/>
              <a:gd name="csX135" fmla="*/ 270380 w 1609516"/>
              <a:gd name="csY135" fmla="*/ 428137 h 1538630"/>
              <a:gd name="csX136" fmla="*/ 273548 w 1609516"/>
              <a:gd name="csY136" fmla="*/ 428680 h 1538630"/>
              <a:gd name="csX137" fmla="*/ 37605 w 1609516"/>
              <a:gd name="csY137" fmla="*/ 359270 h 1538630"/>
              <a:gd name="csX138" fmla="*/ 37103 w 1609516"/>
              <a:gd name="csY138" fmla="*/ 361533 h 1538630"/>
              <a:gd name="csX139" fmla="*/ 37605 w 1609516"/>
              <a:gd name="csY139" fmla="*/ 361382 h 1538630"/>
              <a:gd name="csX140" fmla="*/ 52477 w 1609516"/>
              <a:gd name="csY140" fmla="*/ 337570 h 1538630"/>
              <a:gd name="csX141" fmla="*/ 47288 w 1609516"/>
              <a:gd name="csY141" fmla="*/ 342340 h 1538630"/>
              <a:gd name="csX142" fmla="*/ 45805 w 1609516"/>
              <a:gd name="csY142" fmla="*/ 345093 h 1538630"/>
              <a:gd name="csX143" fmla="*/ 104291 w 1609516"/>
              <a:gd name="csY143" fmla="*/ 336166 h 1538630"/>
              <a:gd name="csX144" fmla="*/ 103776 w 1609516"/>
              <a:gd name="csY144" fmla="*/ 337559 h 1538630"/>
              <a:gd name="csX145" fmla="*/ 108925 w 1609516"/>
              <a:gd name="csY145" fmla="*/ 336166 h 1538630"/>
              <a:gd name="csX146" fmla="*/ 1309237 w 1609516"/>
              <a:gd name="csY146" fmla="*/ 322954 h 1538630"/>
              <a:gd name="csX147" fmla="*/ 1309180 w 1609516"/>
              <a:gd name="csY147" fmla="*/ 330559 h 1538630"/>
              <a:gd name="csX148" fmla="*/ 1309237 w 1609516"/>
              <a:gd name="csY148" fmla="*/ 330520 h 1538630"/>
              <a:gd name="csX149" fmla="*/ 1308964 w 1609516"/>
              <a:gd name="csY149" fmla="*/ 317715 h 1538630"/>
              <a:gd name="csX150" fmla="*/ 1309237 w 1609516"/>
              <a:gd name="csY150" fmla="*/ 318569 h 1538630"/>
              <a:gd name="csX151" fmla="*/ 1309237 w 1609516"/>
              <a:gd name="csY151" fmla="*/ 317838 h 1538630"/>
              <a:gd name="csX152" fmla="*/ 1310087 w 1609516"/>
              <a:gd name="csY152" fmla="*/ 313153 h 1538630"/>
              <a:gd name="csX153" fmla="*/ 1307609 w 1609516"/>
              <a:gd name="csY153" fmla="*/ 313473 h 1538630"/>
              <a:gd name="csX154" fmla="*/ 1308045 w 1609516"/>
              <a:gd name="csY154" fmla="*/ 314836 h 1538630"/>
              <a:gd name="csX155" fmla="*/ 1318544 w 1609516"/>
              <a:gd name="csY155" fmla="*/ 312064 h 1538630"/>
              <a:gd name="csX156" fmla="*/ 1316298 w 1609516"/>
              <a:gd name="csY156" fmla="*/ 312353 h 1538630"/>
              <a:gd name="csX157" fmla="*/ 1318544 w 1609516"/>
              <a:gd name="csY157" fmla="*/ 312205 h 1538630"/>
              <a:gd name="csX158" fmla="*/ 1084622 w 1609516"/>
              <a:gd name="csY158" fmla="*/ 267674 h 1538630"/>
              <a:gd name="csX159" fmla="*/ 1084227 w 1609516"/>
              <a:gd name="csY159" fmla="*/ 268378 h 1538630"/>
              <a:gd name="csX160" fmla="*/ 1079540 w 1609516"/>
              <a:gd name="csY160" fmla="*/ 268378 h 1538630"/>
              <a:gd name="csX161" fmla="*/ 1079603 w 1609516"/>
              <a:gd name="csY161" fmla="*/ 268477 h 1538630"/>
              <a:gd name="csX162" fmla="*/ 1084192 w 1609516"/>
              <a:gd name="csY162" fmla="*/ 268477 h 1538630"/>
              <a:gd name="csX163" fmla="*/ 956410 w 1609516"/>
              <a:gd name="csY163" fmla="*/ 266968 h 1538630"/>
              <a:gd name="csX164" fmla="*/ 957576 w 1609516"/>
              <a:gd name="csY164" fmla="*/ 267083 h 1538630"/>
              <a:gd name="csX165" fmla="*/ 957576 w 1609516"/>
              <a:gd name="csY165" fmla="*/ 269776 h 1538630"/>
              <a:gd name="csX166" fmla="*/ 957694 w 1609516"/>
              <a:gd name="csY166" fmla="*/ 269787 h 1538630"/>
              <a:gd name="csX167" fmla="*/ 957694 w 1609516"/>
              <a:gd name="csY167" fmla="*/ 266968 h 1538630"/>
              <a:gd name="csX168" fmla="*/ 1089372 w 1609516"/>
              <a:gd name="csY168" fmla="*/ 259220 h 1538630"/>
              <a:gd name="csX169" fmla="*/ 1085856 w 1609516"/>
              <a:gd name="csY169" fmla="*/ 265479 h 1538630"/>
              <a:gd name="csX170" fmla="*/ 1088878 w 1609516"/>
              <a:gd name="csY170" fmla="*/ 261431 h 1538630"/>
              <a:gd name="csX171" fmla="*/ 1018517 w 1609516"/>
              <a:gd name="csY171" fmla="*/ 223356 h 1538630"/>
              <a:gd name="csX172" fmla="*/ 1013866 w 1609516"/>
              <a:gd name="csY172" fmla="*/ 226190 h 1538630"/>
              <a:gd name="csX173" fmla="*/ 1013024 w 1609516"/>
              <a:gd name="csY173" fmla="*/ 227709 h 1538630"/>
              <a:gd name="csX174" fmla="*/ 1017055 w 1609516"/>
              <a:gd name="csY174" fmla="*/ 224692 h 1538630"/>
              <a:gd name="csX175" fmla="*/ 850645 w 1609516"/>
              <a:gd name="csY175" fmla="*/ 220099 h 1538630"/>
              <a:gd name="csX176" fmla="*/ 850897 w 1609516"/>
              <a:gd name="csY176" fmla="*/ 221488 h 1538630"/>
              <a:gd name="csX177" fmla="*/ 851470 w 1609516"/>
              <a:gd name="csY177" fmla="*/ 224692 h 1538630"/>
              <a:gd name="csX178" fmla="*/ 852860 w 1609516"/>
              <a:gd name="csY178" fmla="*/ 224692 h 1538630"/>
              <a:gd name="csX179" fmla="*/ 1155019 w 1609516"/>
              <a:gd name="csY179" fmla="*/ 35 h 1538630"/>
              <a:gd name="csX180" fmla="*/ 1174829 w 1609516"/>
              <a:gd name="csY180" fmla="*/ 4853 h 1538630"/>
              <a:gd name="csX181" fmla="*/ 1179418 w 1609516"/>
              <a:gd name="csY181" fmla="*/ 5998 h 1538630"/>
              <a:gd name="csX182" fmla="*/ 1201385 w 1609516"/>
              <a:gd name="csY182" fmla="*/ 22997 h 1538630"/>
              <a:gd name="csX183" fmla="*/ 1201678 w 1609516"/>
              <a:gd name="csY183" fmla="*/ 62191 h 1538630"/>
              <a:gd name="csX184" fmla="*/ 1198261 w 1609516"/>
              <a:gd name="csY184" fmla="*/ 68268 h 1538630"/>
              <a:gd name="csX185" fmla="*/ 1195723 w 1609516"/>
              <a:gd name="csY185" fmla="*/ 72672 h 1538630"/>
              <a:gd name="csX186" fmla="*/ 1193575 w 1609516"/>
              <a:gd name="csY186" fmla="*/ 75314 h 1538630"/>
              <a:gd name="csX187" fmla="*/ 1190450 w 1609516"/>
              <a:gd name="csY187" fmla="*/ 75314 h 1538630"/>
              <a:gd name="csX188" fmla="*/ 1189474 w 1609516"/>
              <a:gd name="csY188" fmla="*/ 79366 h 1538630"/>
              <a:gd name="csX189" fmla="*/ 1182445 w 1609516"/>
              <a:gd name="csY189" fmla="*/ 85707 h 1538630"/>
              <a:gd name="csX190" fmla="*/ 1177953 w 1609516"/>
              <a:gd name="csY190" fmla="*/ 86588 h 1538630"/>
              <a:gd name="csX191" fmla="*/ 1177953 w 1609516"/>
              <a:gd name="csY191" fmla="*/ 89406 h 1538630"/>
              <a:gd name="csX192" fmla="*/ 1170045 w 1609516"/>
              <a:gd name="csY192" fmla="*/ 94251 h 1538630"/>
              <a:gd name="csX193" fmla="*/ 1143806 w 1609516"/>
              <a:gd name="csY193" fmla="*/ 132828 h 1538630"/>
              <a:gd name="csX194" fmla="*/ 1137338 w 1609516"/>
              <a:gd name="csY194" fmla="*/ 141548 h 1538630"/>
              <a:gd name="csX195" fmla="*/ 1133970 w 1609516"/>
              <a:gd name="csY195" fmla="*/ 149403 h 1538630"/>
              <a:gd name="csX196" fmla="*/ 1127965 w 1609516"/>
              <a:gd name="csY196" fmla="*/ 164095 h 1538630"/>
              <a:gd name="csX197" fmla="*/ 1124762 w 1609516"/>
              <a:gd name="csY197" fmla="*/ 171802 h 1538630"/>
              <a:gd name="csX198" fmla="*/ 1119359 w 1609516"/>
              <a:gd name="csY198" fmla="*/ 184798 h 1538630"/>
              <a:gd name="csX199" fmla="*/ 1111014 w 1609516"/>
              <a:gd name="csY199" fmla="*/ 204941 h 1538630"/>
              <a:gd name="csX200" fmla="*/ 1109729 w 1609516"/>
              <a:gd name="csY200" fmla="*/ 208059 h 1538630"/>
              <a:gd name="csX201" fmla="*/ 1106395 w 1609516"/>
              <a:gd name="csY201" fmla="*/ 216170 h 1538630"/>
              <a:gd name="csX202" fmla="*/ 1102147 w 1609516"/>
              <a:gd name="csY202" fmla="*/ 224810 h 1538630"/>
              <a:gd name="csX203" fmla="*/ 1098261 w 1609516"/>
              <a:gd name="csY203" fmla="*/ 227262 h 1538630"/>
              <a:gd name="csX204" fmla="*/ 1098367 w 1609516"/>
              <a:gd name="csY204" fmla="*/ 238475 h 1538630"/>
              <a:gd name="csX205" fmla="*/ 1097331 w 1609516"/>
              <a:gd name="csY205" fmla="*/ 242358 h 1538630"/>
              <a:gd name="csX206" fmla="*/ 1096201 w 1609516"/>
              <a:gd name="csY206" fmla="*/ 246458 h 1538630"/>
              <a:gd name="csX207" fmla="*/ 1089440 w 1609516"/>
              <a:gd name="csY207" fmla="*/ 279206 h 1538630"/>
              <a:gd name="csX208" fmla="*/ 1087316 w 1609516"/>
              <a:gd name="csY208" fmla="*/ 283978 h 1538630"/>
              <a:gd name="csX209" fmla="*/ 1086822 w 1609516"/>
              <a:gd name="csY209" fmla="*/ 291822 h 1538630"/>
              <a:gd name="csX210" fmla="*/ 1086623 w 1609516"/>
              <a:gd name="csY210" fmla="*/ 296625 h 1538630"/>
              <a:gd name="csX211" fmla="*/ 1086437 w 1609516"/>
              <a:gd name="csY211" fmla="*/ 301681 h 1538630"/>
              <a:gd name="csX212" fmla="*/ 1086233 w 1609516"/>
              <a:gd name="csY212" fmla="*/ 306754 h 1538630"/>
              <a:gd name="csX213" fmla="*/ 1086007 w 1609516"/>
              <a:gd name="csY213" fmla="*/ 312619 h 1538630"/>
              <a:gd name="csX214" fmla="*/ 1087470 w 1609516"/>
              <a:gd name="csY214" fmla="*/ 320554 h 1538630"/>
              <a:gd name="csX215" fmla="*/ 1098285 w 1609516"/>
              <a:gd name="csY215" fmla="*/ 334611 h 1538630"/>
              <a:gd name="csX216" fmla="*/ 1102607 w 1609516"/>
              <a:gd name="csY216" fmla="*/ 337679 h 1538630"/>
              <a:gd name="csX217" fmla="*/ 1106095 w 1609516"/>
              <a:gd name="csY217" fmla="*/ 340248 h 1538630"/>
              <a:gd name="csX218" fmla="*/ 1106095 w 1609516"/>
              <a:gd name="csY218" fmla="*/ 343066 h 1538630"/>
              <a:gd name="csX219" fmla="*/ 1109220 w 1609516"/>
              <a:gd name="csY219" fmla="*/ 343419 h 1538630"/>
              <a:gd name="csX220" fmla="*/ 1126403 w 1609516"/>
              <a:gd name="csY220" fmla="*/ 350112 h 1538630"/>
              <a:gd name="csX221" fmla="*/ 1131871 w 1609516"/>
              <a:gd name="csY221" fmla="*/ 352579 h 1538630"/>
              <a:gd name="csX222" fmla="*/ 1135776 w 1609516"/>
              <a:gd name="csY222" fmla="*/ 354340 h 1538630"/>
              <a:gd name="csX223" fmla="*/ 1135776 w 1609516"/>
              <a:gd name="csY223" fmla="*/ 357158 h 1538630"/>
              <a:gd name="csX224" fmla="*/ 1170143 w 1609516"/>
              <a:gd name="csY224" fmla="*/ 354340 h 1538630"/>
              <a:gd name="csX225" fmla="*/ 1174634 w 1609516"/>
              <a:gd name="csY225" fmla="*/ 352579 h 1538630"/>
              <a:gd name="csX226" fmla="*/ 1190890 w 1609516"/>
              <a:gd name="csY226" fmla="*/ 342907 h 1538630"/>
              <a:gd name="csX227" fmla="*/ 1204021 w 1609516"/>
              <a:gd name="csY227" fmla="*/ 335404 h 1538630"/>
              <a:gd name="csX228" fmla="*/ 1223255 w 1609516"/>
              <a:gd name="csY228" fmla="*/ 319110 h 1538630"/>
              <a:gd name="csX229" fmla="*/ 1226868 w 1609516"/>
              <a:gd name="csY229" fmla="*/ 315587 h 1538630"/>
              <a:gd name="csX230" fmla="*/ 1231859 w 1609516"/>
              <a:gd name="csY230" fmla="*/ 303559 h 1538630"/>
              <a:gd name="csX231" fmla="*/ 1234178 w 1609516"/>
              <a:gd name="csY231" fmla="*/ 298059 h 1538630"/>
              <a:gd name="csX232" fmla="*/ 1237314 w 1609516"/>
              <a:gd name="csY232" fmla="*/ 288195 h 1538630"/>
              <a:gd name="csX233" fmla="*/ 1249811 w 1609516"/>
              <a:gd name="csY233" fmla="*/ 265559 h 1538630"/>
              <a:gd name="csX234" fmla="*/ 1252935 w 1609516"/>
              <a:gd name="csY234" fmla="*/ 265559 h 1538630"/>
              <a:gd name="csX235" fmla="*/ 1252935 w 1609516"/>
              <a:gd name="csY235" fmla="*/ 262741 h 1538630"/>
              <a:gd name="csX236" fmla="*/ 1296675 w 1609516"/>
              <a:gd name="csY236" fmla="*/ 252876 h 1538630"/>
              <a:gd name="csX237" fmla="*/ 1307609 w 1609516"/>
              <a:gd name="csY237" fmla="*/ 255695 h 1538630"/>
              <a:gd name="csX238" fmla="*/ 1307609 w 1609516"/>
              <a:gd name="csY238" fmla="*/ 258513 h 1538630"/>
              <a:gd name="csX239" fmla="*/ 1311887 w 1609516"/>
              <a:gd name="csY239" fmla="*/ 258832 h 1538630"/>
              <a:gd name="csX240" fmla="*/ 1326715 w 1609516"/>
              <a:gd name="csY240" fmla="*/ 269969 h 1538630"/>
              <a:gd name="csX241" fmla="*/ 1334165 w 1609516"/>
              <a:gd name="csY241" fmla="*/ 307836 h 1538630"/>
              <a:gd name="csX242" fmla="*/ 1329479 w 1609516"/>
              <a:gd name="csY242" fmla="*/ 314882 h 1538630"/>
              <a:gd name="csX243" fmla="*/ 1323231 w 1609516"/>
              <a:gd name="csY243" fmla="*/ 314882 h 1538630"/>
              <a:gd name="csX244" fmla="*/ 1323231 w 1609516"/>
              <a:gd name="csY244" fmla="*/ 317700 h 1538630"/>
              <a:gd name="csX245" fmla="*/ 1322774 w 1609516"/>
              <a:gd name="csY245" fmla="*/ 317838 h 1538630"/>
              <a:gd name="csX246" fmla="*/ 1323295 w 1609516"/>
              <a:gd name="csY246" fmla="*/ 317838 h 1538630"/>
              <a:gd name="csX247" fmla="*/ 1323295 w 1609516"/>
              <a:gd name="csY247" fmla="*/ 315019 h 1538630"/>
              <a:gd name="csX248" fmla="*/ 1327982 w 1609516"/>
              <a:gd name="csY248" fmla="*/ 315019 h 1538630"/>
              <a:gd name="csX249" fmla="*/ 1317047 w 1609516"/>
              <a:gd name="csY249" fmla="*/ 327702 h 1538630"/>
              <a:gd name="csX250" fmla="*/ 1315484 w 1609516"/>
              <a:gd name="csY250" fmla="*/ 331930 h 1538630"/>
              <a:gd name="csX251" fmla="*/ 1309139 w 1609516"/>
              <a:gd name="csY251" fmla="*/ 333603 h 1538630"/>
              <a:gd name="csX252" fmla="*/ 1305666 w 1609516"/>
              <a:gd name="csY252" fmla="*/ 334280 h 1538630"/>
              <a:gd name="csX253" fmla="*/ 1302988 w 1609516"/>
              <a:gd name="csY253" fmla="*/ 334748 h 1538630"/>
              <a:gd name="csX254" fmla="*/ 1305905 w 1609516"/>
              <a:gd name="csY254" fmla="*/ 332775 h 1538630"/>
              <a:gd name="csX255" fmla="*/ 1304485 w 1609516"/>
              <a:gd name="csY255" fmla="*/ 333202 h 1538630"/>
              <a:gd name="csX256" fmla="*/ 1301459 w 1609516"/>
              <a:gd name="csY256" fmla="*/ 336108 h 1538630"/>
              <a:gd name="csX257" fmla="*/ 1291989 w 1609516"/>
              <a:gd name="csY257" fmla="*/ 338839 h 1538630"/>
              <a:gd name="csX258" fmla="*/ 1290426 w 1609516"/>
              <a:gd name="csY258" fmla="*/ 343066 h 1538630"/>
              <a:gd name="csX259" fmla="*/ 1285740 w 1609516"/>
              <a:gd name="csY259" fmla="*/ 344123 h 1538630"/>
              <a:gd name="csX260" fmla="*/ 1237314 w 1609516"/>
              <a:gd name="csY260" fmla="*/ 382525 h 1538630"/>
              <a:gd name="csX261" fmla="*/ 1232628 w 1609516"/>
              <a:gd name="csY261" fmla="*/ 392389 h 1538630"/>
              <a:gd name="csX262" fmla="*/ 1228625 w 1609516"/>
              <a:gd name="csY262" fmla="*/ 398731 h 1538630"/>
              <a:gd name="csX263" fmla="*/ 1222822 w 1609516"/>
              <a:gd name="csY263" fmla="*/ 434798 h 1538630"/>
              <a:gd name="csX264" fmla="*/ 1260746 w 1609516"/>
              <a:gd name="csY264" fmla="*/ 485398 h 1538630"/>
              <a:gd name="csX265" fmla="*/ 1268556 w 1609516"/>
              <a:gd name="csY265" fmla="*/ 488216 h 1538630"/>
              <a:gd name="csX266" fmla="*/ 1268556 w 1609516"/>
              <a:gd name="csY266" fmla="*/ 491034 h 1538630"/>
              <a:gd name="csX267" fmla="*/ 1338852 w 1609516"/>
              <a:gd name="csY267" fmla="*/ 489625 h 1538630"/>
              <a:gd name="csX268" fmla="*/ 1347444 w 1609516"/>
              <a:gd name="csY268" fmla="*/ 488480 h 1538630"/>
              <a:gd name="csX269" fmla="*/ 1369362 w 1609516"/>
              <a:gd name="csY269" fmla="*/ 482513 h 1538630"/>
              <a:gd name="csX270" fmla="*/ 1388840 w 1609516"/>
              <a:gd name="csY270" fmla="*/ 478351 h 1538630"/>
              <a:gd name="csX271" fmla="*/ 1388840 w 1609516"/>
              <a:gd name="csY271" fmla="*/ 475533 h 1538630"/>
              <a:gd name="csX272" fmla="*/ 1395576 w 1609516"/>
              <a:gd name="csY272" fmla="*/ 473419 h 1538630"/>
              <a:gd name="csX273" fmla="*/ 1399365 w 1609516"/>
              <a:gd name="csY273" fmla="*/ 472230 h 1538630"/>
              <a:gd name="csX274" fmla="*/ 1407585 w 1609516"/>
              <a:gd name="csY274" fmla="*/ 471305 h 1538630"/>
              <a:gd name="csX275" fmla="*/ 1409147 w 1609516"/>
              <a:gd name="csY275" fmla="*/ 467078 h 1538630"/>
              <a:gd name="csX276" fmla="*/ 1416470 w 1609516"/>
              <a:gd name="csY276" fmla="*/ 464259 h 1538630"/>
              <a:gd name="csX277" fmla="*/ 1437949 w 1609516"/>
              <a:gd name="csY277" fmla="*/ 455011 h 1538630"/>
              <a:gd name="csX278" fmla="*/ 1452887 w 1609516"/>
              <a:gd name="csY278" fmla="*/ 450167 h 1538630"/>
              <a:gd name="csX279" fmla="*/ 1452887 w 1609516"/>
              <a:gd name="csY279" fmla="*/ 447349 h 1538630"/>
              <a:gd name="csX280" fmla="*/ 1455394 w 1609516"/>
              <a:gd name="csY280" fmla="*/ 446122 h 1538630"/>
              <a:gd name="csX281" fmla="*/ 1466653 w 1609516"/>
              <a:gd name="csY281" fmla="*/ 440567 h 1538630"/>
              <a:gd name="csX282" fmla="*/ 1470598 w 1609516"/>
              <a:gd name="csY282" fmla="*/ 438637 h 1538630"/>
              <a:gd name="csX283" fmla="*/ 1474397 w 1609516"/>
              <a:gd name="csY283" fmla="*/ 436752 h 1538630"/>
              <a:gd name="csX284" fmla="*/ 1477892 w 1609516"/>
              <a:gd name="csY284" fmla="*/ 435030 h 1538630"/>
              <a:gd name="csX285" fmla="*/ 1485691 w 1609516"/>
              <a:gd name="csY285" fmla="*/ 429029 h 1538630"/>
              <a:gd name="csX286" fmla="*/ 1488858 w 1609516"/>
              <a:gd name="csY286" fmla="*/ 427653 h 1538630"/>
              <a:gd name="csX287" fmla="*/ 1495943 w 1609516"/>
              <a:gd name="csY287" fmla="*/ 421454 h 1538630"/>
              <a:gd name="csX288" fmla="*/ 1538608 w 1609516"/>
              <a:gd name="csY288" fmla="*/ 388338 h 1538630"/>
              <a:gd name="csX289" fmla="*/ 1543490 w 1609516"/>
              <a:gd name="csY289" fmla="*/ 388161 h 1538630"/>
              <a:gd name="csX290" fmla="*/ 1547621 w 1609516"/>
              <a:gd name="csY290" fmla="*/ 387804 h 1538630"/>
              <a:gd name="csX291" fmla="*/ 1579418 w 1609516"/>
              <a:gd name="csY291" fmla="*/ 396617 h 1538630"/>
              <a:gd name="csX292" fmla="*/ 1583342 w 1609516"/>
              <a:gd name="csY292" fmla="*/ 398780 h 1538630"/>
              <a:gd name="csX293" fmla="*/ 1601288 w 1609516"/>
              <a:gd name="csY293" fmla="*/ 423392 h 1538630"/>
              <a:gd name="csX294" fmla="*/ 1594484 w 1609516"/>
              <a:gd name="csY294" fmla="*/ 460159 h 1538630"/>
              <a:gd name="csX295" fmla="*/ 1574732 w 1609516"/>
              <a:gd name="csY295" fmla="*/ 475533 h 1538630"/>
              <a:gd name="csX296" fmla="*/ 1572097 w 1609516"/>
              <a:gd name="csY296" fmla="*/ 477078 h 1538630"/>
              <a:gd name="csX297" fmla="*/ 1556066 w 1609516"/>
              <a:gd name="csY297" fmla="*/ 478737 h 1538630"/>
              <a:gd name="csX298" fmla="*/ 1548631 w 1609516"/>
              <a:gd name="csY298" fmla="*/ 478825 h 1538630"/>
              <a:gd name="csX299" fmla="*/ 1536991 w 1609516"/>
              <a:gd name="csY299" fmla="*/ 478889 h 1538630"/>
              <a:gd name="csX300" fmla="*/ 1498188 w 1609516"/>
              <a:gd name="csY300" fmla="*/ 485398 h 1538630"/>
              <a:gd name="csX301" fmla="*/ 1493892 w 1609516"/>
              <a:gd name="csY301" fmla="*/ 487600 h 1538630"/>
              <a:gd name="csX302" fmla="*/ 1490377 w 1609516"/>
              <a:gd name="csY302" fmla="*/ 489625 h 1538630"/>
              <a:gd name="csX303" fmla="*/ 1471650 w 1609516"/>
              <a:gd name="csY303" fmla="*/ 498185 h 1538630"/>
              <a:gd name="csX304" fmla="*/ 1459135 w 1609516"/>
              <a:gd name="csY304" fmla="*/ 505127 h 1538630"/>
              <a:gd name="csX305" fmla="*/ 1452594 w 1609516"/>
              <a:gd name="csY305" fmla="*/ 508033 h 1538630"/>
              <a:gd name="csX306" fmla="*/ 1427795 w 1609516"/>
              <a:gd name="csY306" fmla="*/ 520100 h 1538630"/>
              <a:gd name="csX307" fmla="*/ 1423733 w 1609516"/>
              <a:gd name="csY307" fmla="*/ 522148 h 1538630"/>
              <a:gd name="csX308" fmla="*/ 1419929 w 1609516"/>
              <a:gd name="csY308" fmla="*/ 524118 h 1538630"/>
              <a:gd name="csX309" fmla="*/ 1416487 w 1609516"/>
              <a:gd name="csY309" fmla="*/ 525883 h 1538630"/>
              <a:gd name="csX310" fmla="*/ 1412271 w 1609516"/>
              <a:gd name="csY310" fmla="*/ 531902 h 1538630"/>
              <a:gd name="csX311" fmla="*/ 1396650 w 1609516"/>
              <a:gd name="csY311" fmla="*/ 537539 h 1538630"/>
              <a:gd name="csX312" fmla="*/ 1396650 w 1609516"/>
              <a:gd name="csY312" fmla="*/ 540357 h 1538630"/>
              <a:gd name="csX313" fmla="*/ 1393495 w 1609516"/>
              <a:gd name="csY313" fmla="*/ 541502 h 1538630"/>
              <a:gd name="csX314" fmla="*/ 1362284 w 1609516"/>
              <a:gd name="csY314" fmla="*/ 558678 h 1538630"/>
              <a:gd name="csX315" fmla="*/ 1355937 w 1609516"/>
              <a:gd name="csY315" fmla="*/ 562905 h 1538630"/>
              <a:gd name="csX316" fmla="*/ 1334165 w 1609516"/>
              <a:gd name="csY316" fmla="*/ 578406 h 1538630"/>
              <a:gd name="csX317" fmla="*/ 1331200 w 1609516"/>
              <a:gd name="csY317" fmla="*/ 580559 h 1538630"/>
              <a:gd name="csX318" fmla="*/ 1322175 w 1609516"/>
              <a:gd name="csY318" fmla="*/ 596793 h 1538630"/>
              <a:gd name="csX319" fmla="*/ 1320106 w 1609516"/>
              <a:gd name="csY319" fmla="*/ 602363 h 1538630"/>
              <a:gd name="csX320" fmla="*/ 1328015 w 1609516"/>
              <a:gd name="csY320" fmla="*/ 647640 h 1538630"/>
              <a:gd name="csX321" fmla="*/ 1332604 w 1609516"/>
              <a:gd name="csY321" fmla="*/ 675643 h 1538630"/>
              <a:gd name="csX322" fmla="*/ 1335727 w 1609516"/>
              <a:gd name="csY322" fmla="*/ 675643 h 1538630"/>
              <a:gd name="csX323" fmla="*/ 1337741 w 1609516"/>
              <a:gd name="csY323" fmla="*/ 690059 h 1538630"/>
              <a:gd name="csX324" fmla="*/ 1338003 w 1609516"/>
              <a:gd name="csY324" fmla="*/ 696222 h 1538630"/>
              <a:gd name="csX325" fmla="*/ 1338340 w 1609516"/>
              <a:gd name="csY325" fmla="*/ 705887 h 1538630"/>
              <a:gd name="csX326" fmla="*/ 1345277 w 1609516"/>
              <a:gd name="csY326" fmla="*/ 733245 h 1538630"/>
              <a:gd name="csX327" fmla="*/ 1363162 w 1609516"/>
              <a:gd name="csY327" fmla="*/ 741612 h 1538630"/>
              <a:gd name="csX328" fmla="*/ 1384154 w 1609516"/>
              <a:gd name="csY328" fmla="*/ 748922 h 1538630"/>
              <a:gd name="csX329" fmla="*/ 1391476 w 1609516"/>
              <a:gd name="csY329" fmla="*/ 750419 h 1538630"/>
              <a:gd name="csX330" fmla="*/ 1395564 w 1609516"/>
              <a:gd name="csY330" fmla="*/ 751080 h 1538630"/>
              <a:gd name="csX331" fmla="*/ 1399775 w 1609516"/>
              <a:gd name="csY331" fmla="*/ 751740 h 1538630"/>
              <a:gd name="csX332" fmla="*/ 1403887 w 1609516"/>
              <a:gd name="csY332" fmla="*/ 752489 h 1538630"/>
              <a:gd name="csX333" fmla="*/ 1465383 w 1609516"/>
              <a:gd name="csY333" fmla="*/ 755969 h 1538630"/>
              <a:gd name="csX334" fmla="*/ 1470339 w 1609516"/>
              <a:gd name="csY334" fmla="*/ 755897 h 1538630"/>
              <a:gd name="csX335" fmla="*/ 1496809 w 1609516"/>
              <a:gd name="csY335" fmla="*/ 749313 h 1538630"/>
              <a:gd name="csX336" fmla="*/ 1515371 w 1609516"/>
              <a:gd name="csY336" fmla="*/ 743285 h 1538630"/>
              <a:gd name="csX337" fmla="*/ 1515371 w 1609516"/>
              <a:gd name="csY337" fmla="*/ 740467 h 1538630"/>
              <a:gd name="csX338" fmla="*/ 1537632 w 1609516"/>
              <a:gd name="csY338" fmla="*/ 737120 h 1538630"/>
              <a:gd name="csX339" fmla="*/ 1541657 w 1609516"/>
              <a:gd name="csY339" fmla="*/ 737127 h 1538630"/>
              <a:gd name="csX340" fmla="*/ 1574732 w 1609516"/>
              <a:gd name="csY340" fmla="*/ 748922 h 1538630"/>
              <a:gd name="csX341" fmla="*/ 1588791 w 1609516"/>
              <a:gd name="csY341" fmla="*/ 792608 h 1538630"/>
              <a:gd name="csX342" fmla="*/ 1584105 w 1609516"/>
              <a:gd name="csY342" fmla="*/ 805291 h 1538630"/>
              <a:gd name="csX343" fmla="*/ 1580981 w 1609516"/>
              <a:gd name="csY343" fmla="*/ 806700 h 1538630"/>
              <a:gd name="csX344" fmla="*/ 1578735 w 1609516"/>
              <a:gd name="csY344" fmla="*/ 810311 h 1538630"/>
              <a:gd name="csX345" fmla="*/ 1576295 w 1609516"/>
              <a:gd name="csY345" fmla="*/ 813746 h 1538630"/>
              <a:gd name="csX346" fmla="*/ 1571652 w 1609516"/>
              <a:gd name="csY346" fmla="*/ 813746 h 1538630"/>
              <a:gd name="csX347" fmla="*/ 1571785 w 1609516"/>
              <a:gd name="csY347" fmla="*/ 814106 h 1538630"/>
              <a:gd name="csX348" fmla="*/ 1574909 w 1609516"/>
              <a:gd name="csY348" fmla="*/ 815515 h 1538630"/>
              <a:gd name="csX349" fmla="*/ 1565463 w 1609516"/>
              <a:gd name="csY349" fmla="*/ 821839 h 1538630"/>
              <a:gd name="csX350" fmla="*/ 1562085 w 1609516"/>
              <a:gd name="csY350" fmla="*/ 822101 h 1538630"/>
              <a:gd name="csX351" fmla="*/ 1551301 w 1609516"/>
              <a:gd name="csY351" fmla="*/ 825020 h 1538630"/>
              <a:gd name="csX352" fmla="*/ 1551301 w 1609516"/>
              <a:gd name="csY352" fmla="*/ 827838 h 1538630"/>
              <a:gd name="csX353" fmla="*/ 1485380 w 1609516"/>
              <a:gd name="csY353" fmla="*/ 815007 h 1538630"/>
              <a:gd name="csX354" fmla="*/ 1431603 w 1609516"/>
              <a:gd name="csY354" fmla="*/ 808726 h 1538630"/>
              <a:gd name="csX355" fmla="*/ 1424140 w 1609516"/>
              <a:gd name="csY355" fmla="*/ 808542 h 1538630"/>
              <a:gd name="csX356" fmla="*/ 1406023 w 1609516"/>
              <a:gd name="csY356" fmla="*/ 808109 h 1538630"/>
              <a:gd name="csX357" fmla="*/ 1406023 w 1609516"/>
              <a:gd name="csY357" fmla="*/ 810928 h 1538630"/>
              <a:gd name="csX358" fmla="*/ 1403383 w 1609516"/>
              <a:gd name="csY358" fmla="*/ 811311 h 1538630"/>
              <a:gd name="csX359" fmla="*/ 1345442 w 1609516"/>
              <a:gd name="csY359" fmla="*/ 828907 h 1538630"/>
              <a:gd name="csX360" fmla="*/ 1337875 w 1609516"/>
              <a:gd name="csY360" fmla="*/ 856639 h 1538630"/>
              <a:gd name="csX361" fmla="*/ 1337692 w 1609516"/>
              <a:gd name="csY361" fmla="*/ 860171 h 1538630"/>
              <a:gd name="csX362" fmla="*/ 1337290 w 1609516"/>
              <a:gd name="csY362" fmla="*/ 868706 h 1538630"/>
              <a:gd name="csX363" fmla="*/ 1334165 w 1609516"/>
              <a:gd name="csY363" fmla="*/ 868706 h 1538630"/>
              <a:gd name="csX364" fmla="*/ 1334165 w 1609516"/>
              <a:gd name="csY364" fmla="*/ 870034 h 1538630"/>
              <a:gd name="csX365" fmla="*/ 1334237 w 1609516"/>
              <a:gd name="csY365" fmla="*/ 869093 h 1538630"/>
              <a:gd name="csX366" fmla="*/ 1335800 w 1609516"/>
              <a:gd name="csY366" fmla="*/ 869093 h 1538630"/>
              <a:gd name="csX367" fmla="*/ 1335995 w 1609516"/>
              <a:gd name="csY367" fmla="*/ 876491 h 1538630"/>
              <a:gd name="csX368" fmla="*/ 1336105 w 1609516"/>
              <a:gd name="csY368" fmla="*/ 880653 h 1538630"/>
              <a:gd name="csX369" fmla="*/ 1334294 w 1609516"/>
              <a:gd name="csY369" fmla="*/ 887271 h 1538630"/>
              <a:gd name="csX370" fmla="*/ 1331455 w 1609516"/>
              <a:gd name="csY370" fmla="*/ 896440 h 1538630"/>
              <a:gd name="csX371" fmla="*/ 1330887 w 1609516"/>
              <a:gd name="csY371" fmla="*/ 899969 h 1538630"/>
              <a:gd name="csX372" fmla="*/ 1330332 w 1609516"/>
              <a:gd name="csY372" fmla="*/ 903618 h 1538630"/>
              <a:gd name="csX373" fmla="*/ 1329209 w 1609516"/>
              <a:gd name="csY373" fmla="*/ 910797 h 1538630"/>
              <a:gd name="csX374" fmla="*/ 1328724 w 1609516"/>
              <a:gd name="csY374" fmla="*/ 913998 h 1538630"/>
              <a:gd name="csX375" fmla="*/ 1324865 w 1609516"/>
              <a:gd name="csY375" fmla="*/ 922643 h 1538630"/>
              <a:gd name="csX376" fmla="*/ 1322619 w 1609516"/>
              <a:gd name="csY376" fmla="*/ 937979 h 1538630"/>
              <a:gd name="csX377" fmla="*/ 1318744 w 1609516"/>
              <a:gd name="csY377" fmla="*/ 944961 h 1538630"/>
              <a:gd name="csX378" fmla="*/ 1318544 w 1609516"/>
              <a:gd name="csY378" fmla="*/ 946213 h 1538630"/>
              <a:gd name="csX379" fmla="*/ 1318251 w 1609516"/>
              <a:gd name="csY379" fmla="*/ 955285 h 1538630"/>
              <a:gd name="csX380" fmla="*/ 1318184 w 1609516"/>
              <a:gd name="csY380" fmla="*/ 960036 h 1538630"/>
              <a:gd name="csX381" fmla="*/ 1324024 w 1609516"/>
              <a:gd name="csY381" fmla="*/ 973660 h 1538630"/>
              <a:gd name="csX382" fmla="*/ 1329284 w 1609516"/>
              <a:gd name="csY382" fmla="*/ 983382 h 1538630"/>
              <a:gd name="csX383" fmla="*/ 1340414 w 1609516"/>
              <a:gd name="csY383" fmla="*/ 998354 h 1538630"/>
              <a:gd name="csX384" fmla="*/ 1346272 w 1609516"/>
              <a:gd name="csY384" fmla="*/ 1005048 h 1538630"/>
              <a:gd name="csX385" fmla="*/ 1394716 w 1609516"/>
              <a:gd name="csY385" fmla="*/ 1042740 h 1538630"/>
              <a:gd name="csX386" fmla="*/ 1401953 w 1609516"/>
              <a:gd name="csY386" fmla="*/ 1047374 h 1538630"/>
              <a:gd name="csX387" fmla="*/ 1427197 w 1609516"/>
              <a:gd name="csY387" fmla="*/ 1059061 h 1538630"/>
              <a:gd name="csX388" fmla="*/ 1437265 w 1609516"/>
              <a:gd name="csY388" fmla="*/ 1064588 h 1538630"/>
              <a:gd name="csX389" fmla="*/ 1437265 w 1609516"/>
              <a:gd name="csY389" fmla="*/ 1067406 h 1538630"/>
              <a:gd name="csX390" fmla="*/ 1440878 w 1609516"/>
              <a:gd name="csY390" fmla="*/ 1067847 h 1538630"/>
              <a:gd name="csX391" fmla="*/ 1447175 w 1609516"/>
              <a:gd name="csY391" fmla="*/ 1070753 h 1538630"/>
              <a:gd name="csX392" fmla="*/ 1457866 w 1609516"/>
              <a:gd name="csY392" fmla="*/ 1076830 h 1538630"/>
              <a:gd name="csX393" fmla="*/ 1462132 w 1609516"/>
              <a:gd name="csY393" fmla="*/ 1078696 h 1538630"/>
              <a:gd name="csX394" fmla="*/ 1465383 w 1609516"/>
              <a:gd name="csY394" fmla="*/ 1080089 h 1538630"/>
              <a:gd name="csX395" fmla="*/ 1465383 w 1609516"/>
              <a:gd name="csY395" fmla="*/ 1082908 h 1538630"/>
              <a:gd name="csX396" fmla="*/ 1468758 w 1609516"/>
              <a:gd name="csY396" fmla="*/ 1083975 h 1538630"/>
              <a:gd name="csX397" fmla="*/ 1481688 w 1609516"/>
              <a:gd name="csY397" fmla="*/ 1091187 h 1538630"/>
              <a:gd name="csX398" fmla="*/ 1486283 w 1609516"/>
              <a:gd name="csY398" fmla="*/ 1094236 h 1538630"/>
              <a:gd name="csX399" fmla="*/ 1494869 w 1609516"/>
              <a:gd name="csY399" fmla="*/ 1100171 h 1538630"/>
              <a:gd name="csX400" fmla="*/ 1544335 w 1609516"/>
              <a:gd name="csY400" fmla="*/ 1109518 h 1538630"/>
              <a:gd name="csX401" fmla="*/ 1593477 w 1609516"/>
              <a:gd name="csY401" fmla="*/ 1119900 h 1538630"/>
              <a:gd name="csX402" fmla="*/ 1605975 w 1609516"/>
              <a:gd name="csY402" fmla="*/ 1144913 h 1538630"/>
              <a:gd name="csX403" fmla="*/ 1609099 w 1609516"/>
              <a:gd name="csY403" fmla="*/ 1144913 h 1538630"/>
              <a:gd name="csX404" fmla="*/ 1609392 w 1609516"/>
              <a:gd name="csY404" fmla="*/ 1156892 h 1538630"/>
              <a:gd name="csX405" fmla="*/ 1609511 w 1609516"/>
              <a:gd name="csY405" fmla="*/ 1160272 h 1538630"/>
              <a:gd name="csX406" fmla="*/ 1604412 w 1609516"/>
              <a:gd name="csY406" fmla="*/ 1181553 h 1538630"/>
              <a:gd name="csX407" fmla="*/ 1601288 w 1609516"/>
              <a:gd name="csY407" fmla="*/ 1190009 h 1538630"/>
              <a:gd name="csX408" fmla="*/ 1598164 w 1609516"/>
              <a:gd name="csY408" fmla="*/ 1190009 h 1538630"/>
              <a:gd name="csX409" fmla="*/ 1597187 w 1609516"/>
              <a:gd name="csY409" fmla="*/ 1192739 h 1538630"/>
              <a:gd name="csX410" fmla="*/ 1595040 w 1609516"/>
              <a:gd name="csY410" fmla="*/ 1195645 h 1538630"/>
              <a:gd name="csX411" fmla="*/ 1585667 w 1609516"/>
              <a:gd name="csY411" fmla="*/ 1197055 h 1538630"/>
              <a:gd name="csX412" fmla="*/ 1582543 w 1609516"/>
              <a:gd name="csY412" fmla="*/ 1202691 h 1538630"/>
              <a:gd name="csX413" fmla="*/ 1562431 w 1609516"/>
              <a:gd name="csY413" fmla="*/ 1204365 h 1538630"/>
              <a:gd name="csX414" fmla="*/ 1558690 w 1609516"/>
              <a:gd name="csY414" fmla="*/ 1204417 h 1538630"/>
              <a:gd name="csX415" fmla="*/ 1521102 w 1609516"/>
              <a:gd name="csY415" fmla="*/ 1189585 h 1538630"/>
              <a:gd name="csX416" fmla="*/ 1505022 w 1609516"/>
              <a:gd name="csY416" fmla="*/ 1172041 h 1538630"/>
              <a:gd name="csX417" fmla="*/ 1457573 w 1609516"/>
              <a:gd name="csY417" fmla="*/ 1140686 h 1538630"/>
              <a:gd name="csX418" fmla="*/ 1457573 w 1609516"/>
              <a:gd name="csY418" fmla="*/ 1137867 h 1538630"/>
              <a:gd name="csX419" fmla="*/ 1452985 w 1609516"/>
              <a:gd name="csY419" fmla="*/ 1137339 h 1538630"/>
              <a:gd name="csX420" fmla="*/ 1448200 w 1609516"/>
              <a:gd name="csY420" fmla="*/ 1136458 h 1538630"/>
              <a:gd name="csX421" fmla="*/ 1446638 w 1609516"/>
              <a:gd name="csY421" fmla="*/ 1133640 h 1538630"/>
              <a:gd name="csX422" fmla="*/ 1438937 w 1609516"/>
              <a:gd name="csY422" fmla="*/ 1130601 h 1538630"/>
              <a:gd name="csX423" fmla="*/ 1429260 w 1609516"/>
              <a:gd name="csY423" fmla="*/ 1126770 h 1538630"/>
              <a:gd name="csX424" fmla="*/ 1411393 w 1609516"/>
              <a:gd name="csY424" fmla="*/ 1120340 h 1538630"/>
              <a:gd name="csX425" fmla="*/ 1391427 w 1609516"/>
              <a:gd name="csY425" fmla="*/ 1111191 h 1538630"/>
              <a:gd name="csX426" fmla="*/ 1381029 w 1609516"/>
              <a:gd name="csY426" fmla="*/ 1106865 h 1538630"/>
              <a:gd name="csX427" fmla="*/ 1381029 w 1609516"/>
              <a:gd name="csY427" fmla="*/ 1104046 h 1538630"/>
              <a:gd name="csX428" fmla="*/ 1377221 w 1609516"/>
              <a:gd name="csY428" fmla="*/ 1103605 h 1538630"/>
              <a:gd name="csX429" fmla="*/ 1357597 w 1609516"/>
              <a:gd name="csY429" fmla="*/ 1098409 h 1538630"/>
              <a:gd name="csX430" fmla="*/ 1352032 w 1609516"/>
              <a:gd name="csY430" fmla="*/ 1096736 h 1538630"/>
              <a:gd name="csX431" fmla="*/ 1348225 w 1609516"/>
              <a:gd name="csY431" fmla="*/ 1095590 h 1538630"/>
              <a:gd name="csX432" fmla="*/ 1348225 w 1609516"/>
              <a:gd name="csY432" fmla="*/ 1092772 h 1538630"/>
              <a:gd name="csX433" fmla="*/ 1337290 w 1609516"/>
              <a:gd name="csY433" fmla="*/ 1091363 h 1538630"/>
              <a:gd name="csX434" fmla="*/ 1337290 w 1609516"/>
              <a:gd name="csY434" fmla="*/ 1088544 h 1538630"/>
              <a:gd name="csX435" fmla="*/ 1331529 w 1609516"/>
              <a:gd name="csY435" fmla="*/ 1088104 h 1538630"/>
              <a:gd name="csX436" fmla="*/ 1323297 w 1609516"/>
              <a:gd name="csY436" fmla="*/ 1086611 h 1538630"/>
              <a:gd name="csX437" fmla="*/ 1323297 w 1609516"/>
              <a:gd name="csY437" fmla="*/ 1087618 h 1538630"/>
              <a:gd name="csX438" fmla="*/ 1319789 w 1609516"/>
              <a:gd name="csY438" fmla="*/ 1087310 h 1538630"/>
              <a:gd name="csX439" fmla="*/ 1262375 w 1609516"/>
              <a:gd name="csY439" fmla="*/ 1089028 h 1538630"/>
              <a:gd name="csX440" fmla="*/ 1258728 w 1609516"/>
              <a:gd name="csY440" fmla="*/ 1088205 h 1538630"/>
              <a:gd name="csX441" fmla="*/ 1246964 w 1609516"/>
              <a:gd name="csY441" fmla="*/ 1091489 h 1538630"/>
              <a:gd name="csX442" fmla="*/ 1223224 w 1609516"/>
              <a:gd name="csY442" fmla="*/ 1112865 h 1538630"/>
              <a:gd name="csX443" fmla="*/ 1213883 w 1609516"/>
              <a:gd name="csY443" fmla="*/ 1122366 h 1538630"/>
              <a:gd name="csX444" fmla="*/ 1212505 w 1609516"/>
              <a:gd name="csY444" fmla="*/ 1125708 h 1538630"/>
              <a:gd name="csX445" fmla="*/ 1204180 w 1609516"/>
              <a:gd name="csY445" fmla="*/ 1135561 h 1538630"/>
              <a:gd name="csX446" fmla="*/ 1200238 w 1609516"/>
              <a:gd name="csY446" fmla="*/ 1138999 h 1538630"/>
              <a:gd name="csX447" fmla="*/ 1192025 w 1609516"/>
              <a:gd name="csY447" fmla="*/ 1146022 h 1538630"/>
              <a:gd name="csX448" fmla="*/ 1173945 w 1609516"/>
              <a:gd name="csY448" fmla="*/ 1174749 h 1538630"/>
              <a:gd name="csX449" fmla="*/ 1173950 w 1609516"/>
              <a:gd name="csY449" fmla="*/ 1182610 h 1538630"/>
              <a:gd name="csX450" fmla="*/ 1173989 w 1609516"/>
              <a:gd name="csY450" fmla="*/ 1186765 h 1538630"/>
              <a:gd name="csX451" fmla="*/ 1182640 w 1609516"/>
              <a:gd name="csY451" fmla="*/ 1215374 h 1538630"/>
              <a:gd name="csX452" fmla="*/ 1185764 w 1609516"/>
              <a:gd name="csY452" fmla="*/ 1221804 h 1538630"/>
              <a:gd name="csX453" fmla="*/ 1187301 w 1609516"/>
              <a:gd name="csY453" fmla="*/ 1224859 h 1538630"/>
              <a:gd name="csX454" fmla="*/ 1190573 w 1609516"/>
              <a:gd name="csY454" fmla="*/ 1231740 h 1538630"/>
              <a:gd name="csX455" fmla="*/ 1205925 w 1609516"/>
              <a:gd name="csY455" fmla="*/ 1255163 h 1538630"/>
              <a:gd name="csX456" fmla="*/ 1212174 w 1609516"/>
              <a:gd name="csY456" fmla="*/ 1263134 h 1538630"/>
              <a:gd name="csX457" fmla="*/ 1235556 w 1609516"/>
              <a:gd name="csY457" fmla="*/ 1282538 h 1538630"/>
              <a:gd name="csX458" fmla="*/ 1238876 w 1609516"/>
              <a:gd name="csY458" fmla="*/ 1284426 h 1538630"/>
              <a:gd name="csX459" fmla="*/ 1238876 w 1609516"/>
              <a:gd name="csY459" fmla="*/ 1287245 h 1538630"/>
              <a:gd name="csX460" fmla="*/ 1242245 w 1609516"/>
              <a:gd name="csY460" fmla="*/ 1287663 h 1538630"/>
              <a:gd name="csX461" fmla="*/ 1271681 w 1609516"/>
              <a:gd name="csY461" fmla="*/ 1305565 h 1538630"/>
              <a:gd name="csX462" fmla="*/ 1271742 w 1609516"/>
              <a:gd name="csY462" fmla="*/ 1306172 h 1538630"/>
              <a:gd name="csX463" fmla="*/ 1278525 w 1609516"/>
              <a:gd name="csY463" fmla="*/ 1315767 h 1538630"/>
              <a:gd name="csX464" fmla="*/ 1281097 w 1609516"/>
              <a:gd name="csY464" fmla="*/ 1327286 h 1538630"/>
              <a:gd name="csX465" fmla="*/ 1277973 w 1609516"/>
              <a:gd name="csY465" fmla="*/ 1355470 h 1538630"/>
              <a:gd name="csX466" fmla="*/ 1277460 w 1609516"/>
              <a:gd name="csY466" fmla="*/ 1347025 h 1538630"/>
              <a:gd name="csX467" fmla="*/ 1273531 w 1609516"/>
              <a:gd name="csY467" fmla="*/ 1357991 h 1538630"/>
              <a:gd name="csX468" fmla="*/ 1263870 w 1609516"/>
              <a:gd name="csY468" fmla="*/ 1368980 h 1538630"/>
              <a:gd name="csX469" fmla="*/ 1246686 w 1609516"/>
              <a:gd name="csY469" fmla="*/ 1376026 h 1538630"/>
              <a:gd name="csX470" fmla="*/ 1246686 w 1609516"/>
              <a:gd name="csY470" fmla="*/ 1378844 h 1538630"/>
              <a:gd name="csX471" fmla="*/ 1231651 w 1609516"/>
              <a:gd name="csY471" fmla="*/ 1379196 h 1538630"/>
              <a:gd name="csX472" fmla="*/ 1227373 w 1609516"/>
              <a:gd name="csY472" fmla="*/ 1379340 h 1538630"/>
              <a:gd name="csX473" fmla="*/ 1206071 w 1609516"/>
              <a:gd name="csY473" fmla="*/ 1373207 h 1538630"/>
              <a:gd name="csX474" fmla="*/ 1202069 w 1609516"/>
              <a:gd name="csY474" fmla="*/ 1371798 h 1538630"/>
              <a:gd name="csX475" fmla="*/ 1184104 w 1609516"/>
              <a:gd name="csY475" fmla="*/ 1356176 h 1538630"/>
              <a:gd name="csX476" fmla="*/ 1177270 w 1609516"/>
              <a:gd name="csY476" fmla="*/ 1335247 h 1538630"/>
              <a:gd name="csX477" fmla="*/ 1169002 w 1609516"/>
              <a:gd name="csY477" fmla="*/ 1313464 h 1538630"/>
              <a:gd name="csX478" fmla="*/ 1163504 w 1609516"/>
              <a:gd name="csY478" fmla="*/ 1302130 h 1538630"/>
              <a:gd name="csX479" fmla="*/ 1162015 w 1609516"/>
              <a:gd name="csY479" fmla="*/ 1298788 h 1538630"/>
              <a:gd name="csX480" fmla="*/ 1160111 w 1609516"/>
              <a:gd name="csY480" fmla="*/ 1292656 h 1538630"/>
              <a:gd name="csX481" fmla="*/ 1154522 w 1609516"/>
              <a:gd name="csY481" fmla="*/ 1287245 h 1538630"/>
              <a:gd name="csX482" fmla="*/ 1151398 w 1609516"/>
              <a:gd name="csY482" fmla="*/ 1280199 h 1538630"/>
              <a:gd name="csX483" fmla="*/ 1144173 w 1609516"/>
              <a:gd name="csY483" fmla="*/ 1270774 h 1538630"/>
              <a:gd name="csX484" fmla="*/ 1142065 w 1609516"/>
              <a:gd name="csY484" fmla="*/ 1268160 h 1538630"/>
              <a:gd name="csX485" fmla="*/ 1135776 w 1609516"/>
              <a:gd name="csY485" fmla="*/ 1260470 h 1538630"/>
              <a:gd name="csX486" fmla="*/ 1132353 w 1609516"/>
              <a:gd name="csY486" fmla="*/ 1256247 h 1538630"/>
              <a:gd name="csX487" fmla="*/ 1112344 w 1609516"/>
              <a:gd name="csY487" fmla="*/ 1240741 h 1538630"/>
              <a:gd name="csX488" fmla="*/ 1106193 w 1609516"/>
              <a:gd name="csY488" fmla="*/ 1237570 h 1538630"/>
              <a:gd name="csX489" fmla="*/ 1101409 w 1609516"/>
              <a:gd name="csY489" fmla="*/ 1235104 h 1538630"/>
              <a:gd name="csX490" fmla="*/ 1101409 w 1609516"/>
              <a:gd name="csY490" fmla="*/ 1230876 h 1538630"/>
              <a:gd name="csX491" fmla="*/ 1065480 w 1609516"/>
              <a:gd name="csY491" fmla="*/ 1230876 h 1538630"/>
              <a:gd name="csX492" fmla="*/ 1063919 w 1609516"/>
              <a:gd name="csY492" fmla="*/ 1235104 h 1538630"/>
              <a:gd name="csX493" fmla="*/ 1059232 w 1609516"/>
              <a:gd name="csY493" fmla="*/ 1235104 h 1538630"/>
              <a:gd name="csX494" fmla="*/ 1059232 w 1609516"/>
              <a:gd name="csY494" fmla="*/ 1237922 h 1538630"/>
              <a:gd name="csX495" fmla="*/ 1040194 w 1609516"/>
              <a:gd name="csY495" fmla="*/ 1245761 h 1538630"/>
              <a:gd name="csX496" fmla="*/ 1030333 w 1609516"/>
              <a:gd name="csY496" fmla="*/ 1249901 h 1538630"/>
              <a:gd name="csX497" fmla="*/ 1013931 w 1609516"/>
              <a:gd name="csY497" fmla="*/ 1256242 h 1538630"/>
              <a:gd name="csX498" fmla="*/ 1005925 w 1609516"/>
              <a:gd name="csY498" fmla="*/ 1261615 h 1538630"/>
              <a:gd name="csX499" fmla="*/ 1004558 w 1609516"/>
              <a:gd name="csY499" fmla="*/ 1264697 h 1538630"/>
              <a:gd name="csX500" fmla="*/ 1002959 w 1609516"/>
              <a:gd name="csY500" fmla="*/ 1267961 h 1538630"/>
              <a:gd name="csX501" fmla="*/ 1000653 w 1609516"/>
              <a:gd name="csY501" fmla="*/ 1278965 h 1538630"/>
              <a:gd name="csX502" fmla="*/ 998297 w 1609516"/>
              <a:gd name="csY502" fmla="*/ 1294137 h 1538630"/>
              <a:gd name="csX503" fmla="*/ 996162 w 1609516"/>
              <a:gd name="csY503" fmla="*/ 1324765 h 1538630"/>
              <a:gd name="csX504" fmla="*/ 996164 w 1609516"/>
              <a:gd name="csY504" fmla="*/ 1327846 h 1538630"/>
              <a:gd name="csX505" fmla="*/ 1007780 w 1609516"/>
              <a:gd name="csY505" fmla="*/ 1403329 h 1538630"/>
              <a:gd name="csX506" fmla="*/ 1008940 w 1609516"/>
              <a:gd name="csY506" fmla="*/ 1407701 h 1538630"/>
              <a:gd name="csX507" fmla="*/ 1010080 w 1609516"/>
              <a:gd name="csY507" fmla="*/ 1411730 h 1538630"/>
              <a:gd name="csX508" fmla="*/ 1011075 w 1609516"/>
              <a:gd name="csY508" fmla="*/ 1415277 h 1538630"/>
              <a:gd name="csX509" fmla="*/ 1017055 w 1609516"/>
              <a:gd name="csY509" fmla="*/ 1422530 h 1538630"/>
              <a:gd name="csX510" fmla="*/ 1020277 w 1609516"/>
              <a:gd name="csY510" fmla="*/ 1427991 h 1538630"/>
              <a:gd name="csX511" fmla="*/ 1021796 w 1609516"/>
              <a:gd name="csY511" fmla="*/ 1430798 h 1538630"/>
              <a:gd name="csX512" fmla="*/ 1024579 w 1609516"/>
              <a:gd name="csY512" fmla="*/ 1437239 h 1538630"/>
              <a:gd name="csX513" fmla="*/ 1034043 w 1609516"/>
              <a:gd name="csY513" fmla="*/ 1448072 h 1538630"/>
              <a:gd name="csX514" fmla="*/ 1043782 w 1609516"/>
              <a:gd name="csY514" fmla="*/ 1464320 h 1538630"/>
              <a:gd name="csX515" fmla="*/ 1050458 w 1609516"/>
              <a:gd name="csY515" fmla="*/ 1472189 h 1538630"/>
              <a:gd name="csX516" fmla="*/ 1052926 w 1609516"/>
              <a:gd name="csY516" fmla="*/ 1482370 h 1538630"/>
              <a:gd name="csX517" fmla="*/ 1053316 w 1609516"/>
              <a:gd name="csY517" fmla="*/ 1496903 h 1538630"/>
              <a:gd name="csX518" fmla="*/ 1053352 w 1609516"/>
              <a:gd name="csY518" fmla="*/ 1500660 h 1538630"/>
              <a:gd name="csX519" fmla="*/ 1053341 w 1609516"/>
              <a:gd name="csY519" fmla="*/ 1504285 h 1538630"/>
              <a:gd name="csX520" fmla="*/ 1053329 w 1609516"/>
              <a:gd name="csY520" fmla="*/ 1507529 h 1538630"/>
              <a:gd name="csX521" fmla="*/ 1049801 w 1609516"/>
              <a:gd name="csY521" fmla="*/ 1516192 h 1538630"/>
              <a:gd name="csX522" fmla="*/ 1047312 w 1609516"/>
              <a:gd name="csY522" fmla="*/ 1516192 h 1538630"/>
              <a:gd name="csX523" fmla="*/ 1043611 w 1609516"/>
              <a:gd name="csY523" fmla="*/ 1522585 h 1538630"/>
              <a:gd name="csX524" fmla="*/ 1029552 w 1609516"/>
              <a:gd name="csY524" fmla="*/ 1529631 h 1538630"/>
              <a:gd name="csX525" fmla="*/ 1028771 w 1609516"/>
              <a:gd name="csY525" fmla="*/ 1532273 h 1538630"/>
              <a:gd name="csX526" fmla="*/ 1018013 w 1609516"/>
              <a:gd name="csY526" fmla="*/ 1537640 h 1538630"/>
              <a:gd name="csX527" fmla="*/ 981126 w 1609516"/>
              <a:gd name="csY527" fmla="*/ 1533859 h 1538630"/>
              <a:gd name="csX528" fmla="*/ 977227 w 1609516"/>
              <a:gd name="csY528" fmla="*/ 1531943 h 1538630"/>
              <a:gd name="csX529" fmla="*/ 955376 w 1609516"/>
              <a:gd name="csY529" fmla="*/ 1508751 h 1538630"/>
              <a:gd name="csX530" fmla="*/ 954571 w 1609516"/>
              <a:gd name="csY530" fmla="*/ 1500037 h 1538630"/>
              <a:gd name="csX531" fmla="*/ 951446 w 1609516"/>
              <a:gd name="csY531" fmla="*/ 1500037 h 1538630"/>
              <a:gd name="csX532" fmla="*/ 951251 w 1609516"/>
              <a:gd name="csY532" fmla="*/ 1487883 h 1538630"/>
              <a:gd name="csX533" fmla="*/ 951171 w 1609516"/>
              <a:gd name="csY533" fmla="*/ 1484431 h 1538630"/>
              <a:gd name="csX534" fmla="*/ 954571 w 1609516"/>
              <a:gd name="csY534" fmla="*/ 1466216 h 1538630"/>
              <a:gd name="csX535" fmla="*/ 954961 w 1609516"/>
              <a:gd name="csY535" fmla="*/ 1455118 h 1538630"/>
              <a:gd name="csX536" fmla="*/ 954932 w 1609516"/>
              <a:gd name="csY536" fmla="*/ 1451972 h 1538630"/>
              <a:gd name="csX537" fmla="*/ 945099 w 1609516"/>
              <a:gd name="csY537" fmla="*/ 1403594 h 1538630"/>
              <a:gd name="csX538" fmla="*/ 942366 w 1609516"/>
              <a:gd name="csY538" fmla="*/ 1393553 h 1538630"/>
              <a:gd name="csX539" fmla="*/ 934451 w 1609516"/>
              <a:gd name="csY539" fmla="*/ 1372734 h 1538630"/>
              <a:gd name="csX540" fmla="*/ 931974 w 1609516"/>
              <a:gd name="csY540" fmla="*/ 1365754 h 1538630"/>
              <a:gd name="csX541" fmla="*/ 931138 w 1609516"/>
              <a:gd name="csY541" fmla="*/ 1363343 h 1538630"/>
              <a:gd name="csX542" fmla="*/ 926452 w 1609516"/>
              <a:gd name="csY542" fmla="*/ 1361933 h 1538630"/>
              <a:gd name="csX543" fmla="*/ 918641 w 1609516"/>
              <a:gd name="csY543" fmla="*/ 1340795 h 1538630"/>
              <a:gd name="csX544" fmla="*/ 917079 w 1609516"/>
              <a:gd name="csY544" fmla="*/ 1335158 h 1538630"/>
              <a:gd name="csX545" fmla="*/ 913955 w 1609516"/>
              <a:gd name="csY545" fmla="*/ 1335158 h 1538630"/>
              <a:gd name="csX546" fmla="*/ 912057 w 1609516"/>
              <a:gd name="csY546" fmla="*/ 1330793 h 1538630"/>
              <a:gd name="csX547" fmla="*/ 902142 w 1609516"/>
              <a:gd name="csY547" fmla="*/ 1316222 h 1538630"/>
              <a:gd name="csX548" fmla="*/ 900091 w 1609516"/>
              <a:gd name="csY548" fmla="*/ 1313828 h 1538630"/>
              <a:gd name="csX549" fmla="*/ 878026 w 1609516"/>
              <a:gd name="csY549" fmla="*/ 1295700 h 1538630"/>
              <a:gd name="csX550" fmla="*/ 875134 w 1609516"/>
              <a:gd name="csY550" fmla="*/ 1293465 h 1538630"/>
              <a:gd name="csX551" fmla="*/ 869869 w 1609516"/>
              <a:gd name="csY551" fmla="*/ 1291826 h 1538630"/>
              <a:gd name="csX552" fmla="*/ 862384 w 1609516"/>
              <a:gd name="csY552" fmla="*/ 1291327 h 1538630"/>
              <a:gd name="csX553" fmla="*/ 844390 w 1609516"/>
              <a:gd name="csY553" fmla="*/ 1290461 h 1538630"/>
              <a:gd name="csX554" fmla="*/ 840476 w 1609516"/>
              <a:gd name="csY554" fmla="*/ 1290500 h 1538630"/>
              <a:gd name="csX555" fmla="*/ 831015 w 1609516"/>
              <a:gd name="csY555" fmla="*/ 1290637 h 1538630"/>
              <a:gd name="csX556" fmla="*/ 831015 w 1609516"/>
              <a:gd name="csY556" fmla="*/ 1293456 h 1538630"/>
              <a:gd name="csX557" fmla="*/ 818225 w 1609516"/>
              <a:gd name="csY557" fmla="*/ 1295570 h 1538630"/>
              <a:gd name="csX558" fmla="*/ 796774 w 1609516"/>
              <a:gd name="csY558" fmla="*/ 1297671 h 1538630"/>
              <a:gd name="csX559" fmla="*/ 783646 w 1609516"/>
              <a:gd name="csY559" fmla="*/ 1305736 h 1538630"/>
              <a:gd name="csX560" fmla="*/ 769263 w 1609516"/>
              <a:gd name="csY560" fmla="*/ 1327143 h 1538630"/>
              <a:gd name="csX561" fmla="*/ 764797 w 1609516"/>
              <a:gd name="csY561" fmla="*/ 1334360 h 1538630"/>
              <a:gd name="csX562" fmla="*/ 757875 w 1609516"/>
              <a:gd name="csY562" fmla="*/ 1353503 h 1538630"/>
              <a:gd name="csX563" fmla="*/ 755676 w 1609516"/>
              <a:gd name="csY563" fmla="*/ 1367455 h 1538630"/>
              <a:gd name="csX564" fmla="*/ 750558 w 1609516"/>
              <a:gd name="csY564" fmla="*/ 1399690 h 1538630"/>
              <a:gd name="csX565" fmla="*/ 753057 w 1609516"/>
              <a:gd name="csY565" fmla="*/ 1411256 h 1538630"/>
              <a:gd name="csX566" fmla="*/ 753057 w 1609516"/>
              <a:gd name="csY566" fmla="*/ 1416893 h 1538630"/>
              <a:gd name="csX567" fmla="*/ 756181 w 1609516"/>
              <a:gd name="csY567" fmla="*/ 1416893 h 1538630"/>
              <a:gd name="csX568" fmla="*/ 758133 w 1609516"/>
              <a:gd name="csY568" fmla="*/ 1436182 h 1538630"/>
              <a:gd name="csX569" fmla="*/ 758231 w 1609516"/>
              <a:gd name="csY569" fmla="*/ 1440781 h 1538630"/>
              <a:gd name="csX570" fmla="*/ 750713 w 1609516"/>
              <a:gd name="csY570" fmla="*/ 1465704 h 1538630"/>
              <a:gd name="csX571" fmla="*/ 748370 w 1609516"/>
              <a:gd name="csY571" fmla="*/ 1467185 h 1538630"/>
              <a:gd name="csX572" fmla="*/ 741633 w 1609516"/>
              <a:gd name="csY572" fmla="*/ 1473526 h 1538630"/>
              <a:gd name="csX573" fmla="*/ 728154 w 1609516"/>
              <a:gd name="csY573" fmla="*/ 1478343 h 1538630"/>
              <a:gd name="csX574" fmla="*/ 721814 w 1609516"/>
              <a:gd name="csY574" fmla="*/ 1480308 h 1538630"/>
              <a:gd name="csX575" fmla="*/ 708341 w 1609516"/>
              <a:gd name="csY575" fmla="*/ 1480661 h 1538630"/>
              <a:gd name="csX576" fmla="*/ 704637 w 1609516"/>
              <a:gd name="csY576" fmla="*/ 1480748 h 1538630"/>
              <a:gd name="csX577" fmla="*/ 668507 w 1609516"/>
              <a:gd name="csY577" fmla="*/ 1468418 h 1538630"/>
              <a:gd name="csX578" fmla="*/ 660178 w 1609516"/>
              <a:gd name="csY578" fmla="*/ 1450027 h 1538630"/>
              <a:gd name="csX579" fmla="*/ 657767 w 1609516"/>
              <a:gd name="csY579" fmla="*/ 1445078 h 1538630"/>
              <a:gd name="csX580" fmla="*/ 663369 w 1609516"/>
              <a:gd name="csY580" fmla="*/ 1409390 h 1538630"/>
              <a:gd name="csX581" fmla="*/ 671826 w 1609516"/>
              <a:gd name="csY581" fmla="*/ 1401392 h 1538630"/>
              <a:gd name="csX582" fmla="*/ 678075 w 1609516"/>
              <a:gd name="csY582" fmla="*/ 1390118 h 1538630"/>
              <a:gd name="csX583" fmla="*/ 684323 w 1609516"/>
              <a:gd name="csY583" fmla="*/ 1388709 h 1538630"/>
              <a:gd name="csX584" fmla="*/ 685293 w 1609516"/>
              <a:gd name="csY584" fmla="*/ 1384233 h 1538630"/>
              <a:gd name="csX585" fmla="*/ 686569 w 1609516"/>
              <a:gd name="csY585" fmla="*/ 1378404 h 1538630"/>
              <a:gd name="csX586" fmla="*/ 687207 w 1609516"/>
              <a:gd name="csY586" fmla="*/ 1375456 h 1538630"/>
              <a:gd name="csX587" fmla="*/ 690572 w 1609516"/>
              <a:gd name="csY587" fmla="*/ 1363343 h 1538630"/>
              <a:gd name="csX588" fmla="*/ 692495 w 1609516"/>
              <a:gd name="csY588" fmla="*/ 1323376 h 1538630"/>
              <a:gd name="csX589" fmla="*/ 692625 w 1609516"/>
              <a:gd name="csY589" fmla="*/ 1315006 h 1538630"/>
              <a:gd name="csX590" fmla="*/ 687447 w 1609516"/>
              <a:gd name="csY590" fmla="*/ 1287245 h 1538630"/>
              <a:gd name="csX591" fmla="*/ 682761 w 1609516"/>
              <a:gd name="csY591" fmla="*/ 1285835 h 1538630"/>
              <a:gd name="csX592" fmla="*/ 678954 w 1609516"/>
              <a:gd name="csY592" fmla="*/ 1281608 h 1538630"/>
              <a:gd name="csX593" fmla="*/ 668702 w 1609516"/>
              <a:gd name="csY593" fmla="*/ 1275971 h 1538630"/>
              <a:gd name="csX594" fmla="*/ 662454 w 1609516"/>
              <a:gd name="csY594" fmla="*/ 1270334 h 1538630"/>
              <a:gd name="csX595" fmla="*/ 654643 w 1609516"/>
              <a:gd name="csY595" fmla="*/ 1267516 h 1538630"/>
              <a:gd name="csX596" fmla="*/ 654643 w 1609516"/>
              <a:gd name="csY596" fmla="*/ 1264697 h 1538630"/>
              <a:gd name="csX597" fmla="*/ 650152 w 1609516"/>
              <a:gd name="csY597" fmla="*/ 1264345 h 1538630"/>
              <a:gd name="csX598" fmla="*/ 628087 w 1609516"/>
              <a:gd name="csY598" fmla="*/ 1257651 h 1538630"/>
              <a:gd name="csX599" fmla="*/ 628087 w 1609516"/>
              <a:gd name="csY599" fmla="*/ 1254833 h 1538630"/>
              <a:gd name="csX600" fmla="*/ 625121 w 1609516"/>
              <a:gd name="csY600" fmla="*/ 1254315 h 1538630"/>
              <a:gd name="csX601" fmla="*/ 621252 w 1609516"/>
              <a:gd name="csY601" fmla="*/ 1253600 h 1538630"/>
              <a:gd name="csX602" fmla="*/ 617409 w 1609516"/>
              <a:gd name="csY602" fmla="*/ 1252906 h 1538630"/>
              <a:gd name="csX603" fmla="*/ 610904 w 1609516"/>
              <a:gd name="csY603" fmla="*/ 1249196 h 1538630"/>
              <a:gd name="csX604" fmla="*/ 565739 w 1609516"/>
              <a:gd name="csY604" fmla="*/ 1271742 h 1538630"/>
              <a:gd name="csX605" fmla="*/ 546924 w 1609516"/>
              <a:gd name="csY605" fmla="*/ 1290829 h 1538630"/>
              <a:gd name="csX606" fmla="*/ 543635 w 1609516"/>
              <a:gd name="csY606" fmla="*/ 1294643 h 1538630"/>
              <a:gd name="csX607" fmla="*/ 540651 w 1609516"/>
              <a:gd name="csY607" fmla="*/ 1298188 h 1538630"/>
              <a:gd name="csX608" fmla="*/ 529673 w 1609516"/>
              <a:gd name="csY608" fmla="*/ 1305565 h 1538630"/>
              <a:gd name="csX609" fmla="*/ 526549 w 1609516"/>
              <a:gd name="csY609" fmla="*/ 1311202 h 1538630"/>
              <a:gd name="csX610" fmla="*/ 523425 w 1609516"/>
              <a:gd name="csY610" fmla="*/ 1311202 h 1538630"/>
              <a:gd name="csX611" fmla="*/ 523230 w 1609516"/>
              <a:gd name="csY611" fmla="*/ 1313580 h 1538630"/>
              <a:gd name="csX612" fmla="*/ 517732 w 1609516"/>
              <a:gd name="csY612" fmla="*/ 1319739 h 1538630"/>
              <a:gd name="csX613" fmla="*/ 502239 w 1609516"/>
              <a:gd name="csY613" fmla="*/ 1337096 h 1538630"/>
              <a:gd name="csX614" fmla="*/ 497058 w 1609516"/>
              <a:gd name="csY614" fmla="*/ 1344087 h 1538630"/>
              <a:gd name="csX615" fmla="*/ 494572 w 1609516"/>
              <a:gd name="csY615" fmla="*/ 1347465 h 1538630"/>
              <a:gd name="csX616" fmla="*/ 487776 w 1609516"/>
              <a:gd name="csY616" fmla="*/ 1356181 h 1538630"/>
              <a:gd name="csX617" fmla="*/ 481248 w 1609516"/>
              <a:gd name="csY617" fmla="*/ 1367571 h 1538630"/>
              <a:gd name="csX618" fmla="*/ 478123 w 1609516"/>
              <a:gd name="csY618" fmla="*/ 1367571 h 1538630"/>
              <a:gd name="csX619" fmla="*/ 477635 w 1609516"/>
              <a:gd name="csY619" fmla="*/ 1370565 h 1538630"/>
              <a:gd name="csX620" fmla="*/ 465626 w 1609516"/>
              <a:gd name="csY620" fmla="*/ 1388709 h 1538630"/>
              <a:gd name="csX621" fmla="*/ 461233 w 1609516"/>
              <a:gd name="csY621" fmla="*/ 1397340 h 1538630"/>
              <a:gd name="csX622" fmla="*/ 455765 w 1609516"/>
              <a:gd name="csY622" fmla="*/ 1408086 h 1538630"/>
              <a:gd name="csX623" fmla="*/ 439070 w 1609516"/>
              <a:gd name="csY623" fmla="*/ 1477490 h 1538630"/>
              <a:gd name="csX624" fmla="*/ 434384 w 1609516"/>
              <a:gd name="csY624" fmla="*/ 1478899 h 1538630"/>
              <a:gd name="csX625" fmla="*/ 432431 w 1609516"/>
              <a:gd name="csY625" fmla="*/ 1481982 h 1538630"/>
              <a:gd name="csX626" fmla="*/ 418763 w 1609516"/>
              <a:gd name="csY626" fmla="*/ 1494401 h 1538630"/>
              <a:gd name="csX627" fmla="*/ 415639 w 1609516"/>
              <a:gd name="csY627" fmla="*/ 1494401 h 1538630"/>
              <a:gd name="csX628" fmla="*/ 415639 w 1609516"/>
              <a:gd name="csY628" fmla="*/ 1497219 h 1538630"/>
              <a:gd name="csX629" fmla="*/ 406265 w 1609516"/>
              <a:gd name="csY629" fmla="*/ 1498628 h 1538630"/>
              <a:gd name="csX630" fmla="*/ 406265 w 1609516"/>
              <a:gd name="csY630" fmla="*/ 1501447 h 1538630"/>
              <a:gd name="csX631" fmla="*/ 375023 w 1609516"/>
              <a:gd name="csY631" fmla="*/ 1501447 h 1538630"/>
              <a:gd name="csX632" fmla="*/ 375023 w 1609516"/>
              <a:gd name="csY632" fmla="*/ 1499438 h 1538630"/>
              <a:gd name="csX633" fmla="*/ 374964 w 1609516"/>
              <a:gd name="csY633" fmla="*/ 1499436 h 1538630"/>
              <a:gd name="csX634" fmla="*/ 373179 w 1609516"/>
              <a:gd name="csY634" fmla="*/ 1498628 h 1538630"/>
              <a:gd name="csX635" fmla="*/ 365650 w 1609516"/>
              <a:gd name="csY635" fmla="*/ 1498628 h 1538630"/>
              <a:gd name="csX636" fmla="*/ 363134 w 1609516"/>
              <a:gd name="csY636" fmla="*/ 1494087 h 1538630"/>
              <a:gd name="csX637" fmla="*/ 362171 w 1609516"/>
              <a:gd name="csY637" fmla="*/ 1493651 h 1538630"/>
              <a:gd name="csX638" fmla="*/ 360609 w 1609516"/>
              <a:gd name="csY638" fmla="*/ 1490833 h 1538630"/>
              <a:gd name="csX639" fmla="*/ 363733 w 1609516"/>
              <a:gd name="csY639" fmla="*/ 1490833 h 1538630"/>
              <a:gd name="csX640" fmla="*/ 363733 w 1609516"/>
              <a:gd name="csY640" fmla="*/ 1489980 h 1538630"/>
              <a:gd name="csX641" fmla="*/ 348467 w 1609516"/>
              <a:gd name="csY641" fmla="*/ 1481717 h 1538630"/>
              <a:gd name="csX642" fmla="*/ 343872 w 1609516"/>
              <a:gd name="csY642" fmla="*/ 1461078 h 1538630"/>
              <a:gd name="csX643" fmla="*/ 343656 w 1609516"/>
              <a:gd name="csY643" fmla="*/ 1463649 h 1538630"/>
              <a:gd name="csX644" fmla="*/ 343424 w 1609516"/>
              <a:gd name="csY644" fmla="*/ 1466842 h 1538630"/>
              <a:gd name="csX645" fmla="*/ 341861 w 1609516"/>
              <a:gd name="csY645" fmla="*/ 1466842 h 1538630"/>
              <a:gd name="csX646" fmla="*/ 354143 w 1609516"/>
              <a:gd name="csY646" fmla="*/ 1420549 h 1538630"/>
              <a:gd name="csX647" fmla="*/ 376229 w 1609516"/>
              <a:gd name="csY647" fmla="*/ 1403427 h 1538630"/>
              <a:gd name="csX648" fmla="*/ 379491 w 1609516"/>
              <a:gd name="csY648" fmla="*/ 1404408 h 1538630"/>
              <a:gd name="csX649" fmla="*/ 379710 w 1609516"/>
              <a:gd name="csY649" fmla="*/ 1404210 h 1538630"/>
              <a:gd name="csX650" fmla="*/ 380882 w 1609516"/>
              <a:gd name="csY650" fmla="*/ 1401568 h 1538630"/>
              <a:gd name="csX651" fmla="*/ 392207 w 1609516"/>
              <a:gd name="csY651" fmla="*/ 1392936 h 1538630"/>
              <a:gd name="csX652" fmla="*/ 399542 w 1609516"/>
              <a:gd name="csY652" fmla="*/ 1386774 h 1538630"/>
              <a:gd name="csX653" fmla="*/ 405485 w 1609516"/>
              <a:gd name="csY653" fmla="*/ 1378917 h 1538630"/>
              <a:gd name="csX654" fmla="*/ 412008 w 1609516"/>
              <a:gd name="csY654" fmla="*/ 1369481 h 1538630"/>
              <a:gd name="csX655" fmla="*/ 421130 w 1609516"/>
              <a:gd name="csY655" fmla="*/ 1357057 h 1538630"/>
              <a:gd name="csX656" fmla="*/ 424676 w 1609516"/>
              <a:gd name="csY656" fmla="*/ 1348443 h 1538630"/>
              <a:gd name="csX657" fmla="*/ 427275 w 1609516"/>
              <a:gd name="csY657" fmla="*/ 1348443 h 1538630"/>
              <a:gd name="csX658" fmla="*/ 428135 w 1609516"/>
              <a:gd name="csY658" fmla="*/ 1345727 h 1538630"/>
              <a:gd name="csX659" fmla="*/ 432822 w 1609516"/>
              <a:gd name="csY659" fmla="*/ 1335158 h 1538630"/>
              <a:gd name="csX660" fmla="*/ 435946 w 1609516"/>
              <a:gd name="csY660" fmla="*/ 1335158 h 1538630"/>
              <a:gd name="csX661" fmla="*/ 437704 w 1609516"/>
              <a:gd name="csY661" fmla="*/ 1329786 h 1538630"/>
              <a:gd name="csX662" fmla="*/ 447394 w 1609516"/>
              <a:gd name="csY662" fmla="*/ 1311196 h 1538630"/>
              <a:gd name="csX663" fmla="*/ 469287 w 1609516"/>
              <a:gd name="csY663" fmla="*/ 1265964 h 1538630"/>
              <a:gd name="csX664" fmla="*/ 478178 w 1609516"/>
              <a:gd name="csY664" fmla="*/ 1246787 h 1538630"/>
              <a:gd name="csX665" fmla="*/ 480179 w 1609516"/>
              <a:gd name="csY665" fmla="*/ 1225768 h 1538630"/>
              <a:gd name="csX666" fmla="*/ 480250 w 1609516"/>
              <a:gd name="csY666" fmla="*/ 1217149 h 1538630"/>
              <a:gd name="csX667" fmla="*/ 462972 w 1609516"/>
              <a:gd name="csY667" fmla="*/ 1174827 h 1538630"/>
              <a:gd name="csX668" fmla="*/ 457468 w 1609516"/>
              <a:gd name="csY668" fmla="*/ 1169949 h 1538630"/>
              <a:gd name="csX669" fmla="*/ 440657 w 1609516"/>
              <a:gd name="csY669" fmla="*/ 1152570 h 1538630"/>
              <a:gd name="csX670" fmla="*/ 403142 w 1609516"/>
              <a:gd name="csY670" fmla="*/ 1122366 h 1538630"/>
              <a:gd name="csX671" fmla="*/ 401579 w 1609516"/>
              <a:gd name="csY671" fmla="*/ 1119547 h 1538630"/>
              <a:gd name="csX672" fmla="*/ 364564 w 1609516"/>
              <a:gd name="csY672" fmla="*/ 1118209 h 1538630"/>
              <a:gd name="csX673" fmla="*/ 357822 w 1609516"/>
              <a:gd name="csY673" fmla="*/ 1122041 h 1538630"/>
              <a:gd name="csX674" fmla="*/ 348077 w 1609516"/>
              <a:gd name="csY674" fmla="*/ 1125273 h 1538630"/>
              <a:gd name="csX675" fmla="*/ 334408 w 1609516"/>
              <a:gd name="csY675" fmla="*/ 1132230 h 1538630"/>
              <a:gd name="csX676" fmla="*/ 327964 w 1609516"/>
              <a:gd name="csY676" fmla="*/ 1134080 h 1538630"/>
              <a:gd name="csX677" fmla="*/ 279734 w 1609516"/>
              <a:gd name="csY677" fmla="*/ 1166051 h 1538630"/>
              <a:gd name="csX678" fmla="*/ 276609 w 1609516"/>
              <a:gd name="csY678" fmla="*/ 1173098 h 1538630"/>
              <a:gd name="csX679" fmla="*/ 260988 w 1609516"/>
              <a:gd name="csY679" fmla="*/ 1188599 h 1538630"/>
              <a:gd name="csX680" fmla="*/ 257956 w 1609516"/>
              <a:gd name="csY680" fmla="*/ 1191132 h 1538630"/>
              <a:gd name="csX681" fmla="*/ 243805 w 1609516"/>
              <a:gd name="csY681" fmla="*/ 1196629 h 1538630"/>
              <a:gd name="csX682" fmla="*/ 243805 w 1609516"/>
              <a:gd name="csY682" fmla="*/ 1194236 h 1538630"/>
              <a:gd name="csX683" fmla="*/ 240288 w 1609516"/>
              <a:gd name="csY683" fmla="*/ 1194765 h 1538630"/>
              <a:gd name="csX684" fmla="*/ 243374 w 1609516"/>
              <a:gd name="csY684" fmla="*/ 1194765 h 1538630"/>
              <a:gd name="csX685" fmla="*/ 243374 w 1609516"/>
              <a:gd name="csY685" fmla="*/ 1196797 h 1538630"/>
              <a:gd name="csX686" fmla="*/ 243805 w 1609516"/>
              <a:gd name="csY686" fmla="*/ 1196629 h 1538630"/>
              <a:gd name="csX687" fmla="*/ 243805 w 1609516"/>
              <a:gd name="csY687" fmla="*/ 1197055 h 1538630"/>
              <a:gd name="csX688" fmla="*/ 243374 w 1609516"/>
              <a:gd name="csY688" fmla="*/ 1197055 h 1538630"/>
              <a:gd name="csX689" fmla="*/ 243374 w 1609516"/>
              <a:gd name="csY689" fmla="*/ 1197584 h 1538630"/>
              <a:gd name="csX690" fmla="*/ 241319 w 1609516"/>
              <a:gd name="csY690" fmla="*/ 1197595 h 1538630"/>
              <a:gd name="csX691" fmla="*/ 238009 w 1609516"/>
              <a:gd name="csY691" fmla="*/ 1198881 h 1538630"/>
              <a:gd name="csX692" fmla="*/ 215687 w 1609516"/>
              <a:gd name="csY692" fmla="*/ 1198464 h 1538630"/>
              <a:gd name="csX693" fmla="*/ 215687 w 1609516"/>
              <a:gd name="csY693" fmla="*/ 1197734 h 1538630"/>
              <a:gd name="csX694" fmla="*/ 213936 w 1609516"/>
              <a:gd name="csY694" fmla="*/ 1197744 h 1538630"/>
              <a:gd name="csX695" fmla="*/ 207446 w 1609516"/>
              <a:gd name="csY695" fmla="*/ 1196175 h 1538630"/>
              <a:gd name="csX696" fmla="*/ 207822 w 1609516"/>
              <a:gd name="csY696" fmla="*/ 1195610 h 1538630"/>
              <a:gd name="csX697" fmla="*/ 184737 w 1609516"/>
              <a:gd name="csY697" fmla="*/ 1180936 h 1538630"/>
              <a:gd name="csX698" fmla="*/ 179270 w 1609516"/>
              <a:gd name="csY698" fmla="*/ 1154866 h 1538630"/>
              <a:gd name="csX699" fmla="*/ 179194 w 1609516"/>
              <a:gd name="csY699" fmla="*/ 1151621 h 1538630"/>
              <a:gd name="csX700" fmla="*/ 193195 w 1609516"/>
              <a:gd name="csY700" fmla="*/ 1120065 h 1538630"/>
              <a:gd name="csX701" fmla="*/ 229551 w 1609516"/>
              <a:gd name="csY701" fmla="*/ 1110299 h 1538630"/>
              <a:gd name="csX702" fmla="*/ 260988 w 1609516"/>
              <a:gd name="csY702" fmla="*/ 1108274 h 1538630"/>
              <a:gd name="csX703" fmla="*/ 260988 w 1609516"/>
              <a:gd name="csY703" fmla="*/ 1105455 h 1538630"/>
              <a:gd name="csX704" fmla="*/ 263911 w 1609516"/>
              <a:gd name="csY704" fmla="*/ 1104310 h 1538630"/>
              <a:gd name="csX705" fmla="*/ 286995 w 1609516"/>
              <a:gd name="csY705" fmla="*/ 1090185 h 1538630"/>
              <a:gd name="csX706" fmla="*/ 299358 w 1609516"/>
              <a:gd name="csY706" fmla="*/ 1080970 h 1538630"/>
              <a:gd name="csX707" fmla="*/ 317762 w 1609516"/>
              <a:gd name="csY707" fmla="*/ 1063272 h 1538630"/>
              <a:gd name="csX708" fmla="*/ 325035 w 1609516"/>
              <a:gd name="csY708" fmla="*/ 1057542 h 1538630"/>
              <a:gd name="csX709" fmla="*/ 325328 w 1609516"/>
              <a:gd name="csY709" fmla="*/ 1023104 h 1538630"/>
              <a:gd name="csX710" fmla="*/ 324544 w 1609516"/>
              <a:gd name="csY710" fmla="*/ 1019247 h 1538630"/>
              <a:gd name="csX711" fmla="*/ 317225 w 1609516"/>
              <a:gd name="csY711" fmla="*/ 996945 h 1538630"/>
              <a:gd name="csX712" fmla="*/ 315388 w 1609516"/>
              <a:gd name="csY712" fmla="*/ 992690 h 1538630"/>
              <a:gd name="csX713" fmla="*/ 276232 w 1609516"/>
              <a:gd name="csY713" fmla="*/ 950666 h 1538630"/>
              <a:gd name="csX714" fmla="*/ 271923 w 1609516"/>
              <a:gd name="csY714" fmla="*/ 949031 h 1538630"/>
              <a:gd name="csX715" fmla="*/ 268299 w 1609516"/>
              <a:gd name="csY715" fmla="*/ 947441 h 1538630"/>
              <a:gd name="csX716" fmla="*/ 199187 w 1609516"/>
              <a:gd name="csY716" fmla="*/ 938991 h 1538630"/>
              <a:gd name="csX717" fmla="*/ 193719 w 1609516"/>
              <a:gd name="csY717" fmla="*/ 938971 h 1538630"/>
              <a:gd name="csX718" fmla="*/ 188539 w 1609516"/>
              <a:gd name="csY718" fmla="*/ 938980 h 1538630"/>
              <a:gd name="csX719" fmla="*/ 183874 w 1609516"/>
              <a:gd name="csY719" fmla="*/ 938985 h 1538630"/>
              <a:gd name="csX720" fmla="*/ 173509 w 1609516"/>
              <a:gd name="csY720" fmla="*/ 940576 h 1538630"/>
              <a:gd name="csX721" fmla="*/ 161403 w 1609516"/>
              <a:gd name="csY721" fmla="*/ 940664 h 1538630"/>
              <a:gd name="csX722" fmla="*/ 158102 w 1609516"/>
              <a:gd name="csY722" fmla="*/ 940645 h 1538630"/>
              <a:gd name="csX723" fmla="*/ 150875 w 1609516"/>
              <a:gd name="csY723" fmla="*/ 940583 h 1538630"/>
              <a:gd name="csX724" fmla="*/ 148425 w 1609516"/>
              <a:gd name="csY724" fmla="*/ 940717 h 1538630"/>
              <a:gd name="csX725" fmla="*/ 149617 w 1609516"/>
              <a:gd name="csY725" fmla="*/ 940995 h 1538630"/>
              <a:gd name="csX726" fmla="*/ 149617 w 1609516"/>
              <a:gd name="csY726" fmla="*/ 942404 h 1538630"/>
              <a:gd name="csX727" fmla="*/ 146627 w 1609516"/>
              <a:gd name="csY727" fmla="*/ 942871 h 1538630"/>
              <a:gd name="csX728" fmla="*/ 110564 w 1609516"/>
              <a:gd name="csY728" fmla="*/ 949449 h 1538630"/>
              <a:gd name="csX729" fmla="*/ 111283 w 1609516"/>
              <a:gd name="csY729" fmla="*/ 946205 h 1538630"/>
              <a:gd name="csX730" fmla="*/ 101652 w 1609516"/>
              <a:gd name="csY730" fmla="*/ 956078 h 1538630"/>
              <a:gd name="csX731" fmla="*/ 98052 w 1609516"/>
              <a:gd name="csY731" fmla="*/ 958467 h 1538630"/>
              <a:gd name="csX732" fmla="*/ 67286 w 1609516"/>
              <a:gd name="csY732" fmla="*/ 972989 h 1538630"/>
              <a:gd name="csX733" fmla="*/ 67286 w 1609516"/>
              <a:gd name="csY733" fmla="*/ 975807 h 1538630"/>
              <a:gd name="csX734" fmla="*/ 31942 w 1609516"/>
              <a:gd name="csY734" fmla="*/ 976423 h 1538630"/>
              <a:gd name="csX735" fmla="*/ 5673 w 1609516"/>
              <a:gd name="csY735" fmla="*/ 953419 h 1538630"/>
              <a:gd name="csX736" fmla="*/ 4801 w 1609516"/>
              <a:gd name="csY736" fmla="*/ 944804 h 1538630"/>
              <a:gd name="csX737" fmla="*/ 1676 w 1609516"/>
              <a:gd name="csY737" fmla="*/ 944804 h 1538630"/>
              <a:gd name="csX738" fmla="*/ 17 w 1609516"/>
              <a:gd name="csY738" fmla="*/ 931857 h 1538630"/>
              <a:gd name="csX739" fmla="*/ 59 w 1609516"/>
              <a:gd name="csY739" fmla="*/ 927216 h 1538630"/>
              <a:gd name="csX740" fmla="*/ 115 w 1609516"/>
              <a:gd name="csY740" fmla="*/ 923666 h 1538630"/>
              <a:gd name="csX741" fmla="*/ 3238 w 1609516"/>
              <a:gd name="csY741" fmla="*/ 923666 h 1538630"/>
              <a:gd name="csX742" fmla="*/ 3238 w 1609516"/>
              <a:gd name="csY742" fmla="*/ 918029 h 1538630"/>
              <a:gd name="csX743" fmla="*/ 6363 w 1609516"/>
              <a:gd name="csY743" fmla="*/ 918029 h 1538630"/>
              <a:gd name="csX744" fmla="*/ 6656 w 1609516"/>
              <a:gd name="csY744" fmla="*/ 912832 h 1538630"/>
              <a:gd name="csX745" fmla="*/ 15736 w 1609516"/>
              <a:gd name="csY745" fmla="*/ 899709 h 1538630"/>
              <a:gd name="csX746" fmla="*/ 17243 w 1609516"/>
              <a:gd name="csY746" fmla="*/ 898894 h 1538630"/>
              <a:gd name="csX747" fmla="*/ 16800 w 1609516"/>
              <a:gd name="csY747" fmla="*/ 898694 h 1538630"/>
              <a:gd name="csX748" fmla="*/ 24988 w 1609516"/>
              <a:gd name="csY748" fmla="*/ 894101 h 1538630"/>
              <a:gd name="csX749" fmla="*/ 26768 w 1609516"/>
              <a:gd name="csY749" fmla="*/ 892399 h 1538630"/>
              <a:gd name="csX750" fmla="*/ 30198 w 1609516"/>
              <a:gd name="csY750" fmla="*/ 890164 h 1538630"/>
              <a:gd name="csX751" fmla="*/ 32204 w 1609516"/>
              <a:gd name="csY751" fmla="*/ 890054 h 1538630"/>
              <a:gd name="csX752" fmla="*/ 38914 w 1609516"/>
              <a:gd name="csY752" fmla="*/ 886291 h 1538630"/>
              <a:gd name="csX753" fmla="*/ 63664 w 1609516"/>
              <a:gd name="csY753" fmla="*/ 886011 h 1538630"/>
              <a:gd name="csX754" fmla="*/ 63664 w 1609516"/>
              <a:gd name="csY754" fmla="*/ 886531 h 1538630"/>
              <a:gd name="csX755" fmla="*/ 70784 w 1609516"/>
              <a:gd name="csY755" fmla="*/ 886647 h 1538630"/>
              <a:gd name="csX756" fmla="*/ 82126 w 1609516"/>
              <a:gd name="csY756" fmla="*/ 889845 h 1538630"/>
              <a:gd name="csX757" fmla="*/ 114149 w 1609516"/>
              <a:gd name="csY757" fmla="*/ 892663 h 1538630"/>
              <a:gd name="csX758" fmla="*/ 118836 w 1609516"/>
              <a:gd name="csY758" fmla="*/ 889845 h 1538630"/>
              <a:gd name="csX759" fmla="*/ 131626 w 1609516"/>
              <a:gd name="csY759" fmla="*/ 887114 h 1538630"/>
              <a:gd name="csX760" fmla="*/ 155116 w 1609516"/>
              <a:gd name="csY760" fmla="*/ 880913 h 1538630"/>
              <a:gd name="csX761" fmla="*/ 165406 w 1609516"/>
              <a:gd name="csY761" fmla="*/ 878483 h 1538630"/>
              <a:gd name="csX762" fmla="*/ 176634 w 1609516"/>
              <a:gd name="csY762" fmla="*/ 874343 h 1538630"/>
              <a:gd name="csX763" fmla="*/ 186397 w 1609516"/>
              <a:gd name="csY763" fmla="*/ 871524 h 1538630"/>
              <a:gd name="csX764" fmla="*/ 191871 w 1609516"/>
              <a:gd name="csY764" fmla="*/ 870033 h 1538630"/>
              <a:gd name="csX765" fmla="*/ 203483 w 1609516"/>
              <a:gd name="csY765" fmla="*/ 867208 h 1538630"/>
              <a:gd name="csX766" fmla="*/ 211001 w 1609516"/>
              <a:gd name="csY766" fmla="*/ 861660 h 1538630"/>
              <a:gd name="csX767" fmla="*/ 218031 w 1609516"/>
              <a:gd name="csY767" fmla="*/ 858577 h 1538630"/>
              <a:gd name="csX768" fmla="*/ 254740 w 1609516"/>
              <a:gd name="csY768" fmla="*/ 825020 h 1538630"/>
              <a:gd name="csX769" fmla="*/ 257864 w 1609516"/>
              <a:gd name="csY769" fmla="*/ 820792 h 1538630"/>
              <a:gd name="csX770" fmla="*/ 258318 w 1609516"/>
              <a:gd name="csY770" fmla="*/ 813810 h 1538630"/>
              <a:gd name="csX771" fmla="*/ 258378 w 1609516"/>
              <a:gd name="csY771" fmla="*/ 809502 h 1538630"/>
              <a:gd name="csX772" fmla="*/ 258389 w 1609516"/>
              <a:gd name="csY772" fmla="*/ 804845 h 1538630"/>
              <a:gd name="csX773" fmla="*/ 258420 w 1609516"/>
              <a:gd name="csY773" fmla="*/ 800036 h 1538630"/>
              <a:gd name="csX774" fmla="*/ 258443 w 1609516"/>
              <a:gd name="csY774" fmla="*/ 789939 h 1538630"/>
              <a:gd name="csX775" fmla="*/ 258566 w 1609516"/>
              <a:gd name="csY775" fmla="*/ 774594 h 1538630"/>
              <a:gd name="csX776" fmla="*/ 258584 w 1609516"/>
              <a:gd name="csY776" fmla="*/ 764771 h 1538630"/>
              <a:gd name="csX777" fmla="*/ 258652 w 1609516"/>
              <a:gd name="csY777" fmla="*/ 760174 h 1538630"/>
              <a:gd name="csX778" fmla="*/ 251616 w 1609516"/>
              <a:gd name="csY778" fmla="*/ 733421 h 1538630"/>
              <a:gd name="csX779" fmla="*/ 247613 w 1609516"/>
              <a:gd name="csY779" fmla="*/ 721883 h 1538630"/>
              <a:gd name="csX780" fmla="*/ 241291 w 1609516"/>
              <a:gd name="csY780" fmla="*/ 705644 h 1538630"/>
              <a:gd name="csX781" fmla="*/ 237557 w 1609516"/>
              <a:gd name="csY781" fmla="*/ 689735 h 1538630"/>
              <a:gd name="csX782" fmla="*/ 248492 w 1609516"/>
              <a:gd name="csY782" fmla="*/ 685507 h 1538630"/>
              <a:gd name="csX783" fmla="*/ 248492 w 1609516"/>
              <a:gd name="csY783" fmla="*/ 681279 h 1538630"/>
              <a:gd name="csX784" fmla="*/ 240681 w 1609516"/>
              <a:gd name="csY784" fmla="*/ 679870 h 1538630"/>
              <a:gd name="csX785" fmla="*/ 240681 w 1609516"/>
              <a:gd name="csY785" fmla="*/ 677052 h 1538630"/>
              <a:gd name="csX786" fmla="*/ 238094 w 1609516"/>
              <a:gd name="csY786" fmla="*/ 676645 h 1538630"/>
              <a:gd name="csX787" fmla="*/ 225841 w 1609516"/>
              <a:gd name="csY787" fmla="*/ 670886 h 1538630"/>
              <a:gd name="csX788" fmla="*/ 201531 w 1609516"/>
              <a:gd name="csY788" fmla="*/ 662508 h 1538630"/>
              <a:gd name="csX789" fmla="*/ 188252 w 1609516"/>
              <a:gd name="csY789" fmla="*/ 658644 h 1538630"/>
              <a:gd name="csX790" fmla="*/ 182431 w 1609516"/>
              <a:gd name="csY790" fmla="*/ 657327 h 1538630"/>
              <a:gd name="csX791" fmla="*/ 182431 w 1609516"/>
              <a:gd name="csY791" fmla="*/ 657613 h 1538630"/>
              <a:gd name="csX792" fmla="*/ 146503 w 1609516"/>
              <a:gd name="csY792" fmla="*/ 656204 h 1538630"/>
              <a:gd name="csX793" fmla="*/ 146503 w 1609516"/>
              <a:gd name="csY793" fmla="*/ 659022 h 1538630"/>
              <a:gd name="csX794" fmla="*/ 110378 w 1609516"/>
              <a:gd name="csY794" fmla="*/ 663778 h 1538630"/>
              <a:gd name="csX795" fmla="*/ 106453 w 1609516"/>
              <a:gd name="csY795" fmla="*/ 663836 h 1538630"/>
              <a:gd name="csX796" fmla="*/ 102751 w 1609516"/>
              <a:gd name="csY796" fmla="*/ 663811 h 1538630"/>
              <a:gd name="csX797" fmla="*/ 99449 w 1609516"/>
              <a:gd name="csY797" fmla="*/ 663797 h 1538630"/>
              <a:gd name="csX798" fmla="*/ 91828 w 1609516"/>
              <a:gd name="csY798" fmla="*/ 659022 h 1538630"/>
              <a:gd name="csX799" fmla="*/ 98077 w 1609516"/>
              <a:gd name="csY799" fmla="*/ 659022 h 1538630"/>
              <a:gd name="csX800" fmla="*/ 98077 w 1609516"/>
              <a:gd name="csY800" fmla="*/ 661841 h 1538630"/>
              <a:gd name="csX801" fmla="*/ 119023 w 1609516"/>
              <a:gd name="csY801" fmla="*/ 661357 h 1538630"/>
              <a:gd name="csX802" fmla="*/ 119536 w 1609516"/>
              <a:gd name="csY802" fmla="*/ 661197 h 1538630"/>
              <a:gd name="csX803" fmla="*/ 109853 w 1609516"/>
              <a:gd name="csY803" fmla="*/ 661639 h 1538630"/>
              <a:gd name="csX804" fmla="*/ 106552 w 1609516"/>
              <a:gd name="csY804" fmla="*/ 661619 h 1538630"/>
              <a:gd name="csX805" fmla="*/ 98528 w 1609516"/>
              <a:gd name="csY805" fmla="*/ 661550 h 1538630"/>
              <a:gd name="csX806" fmla="*/ 98528 w 1609516"/>
              <a:gd name="csY806" fmla="*/ 658732 h 1538630"/>
              <a:gd name="csX807" fmla="*/ 89155 w 1609516"/>
              <a:gd name="csY807" fmla="*/ 657323 h 1538630"/>
              <a:gd name="csX808" fmla="*/ 89155 w 1609516"/>
              <a:gd name="csY808" fmla="*/ 654504 h 1538630"/>
              <a:gd name="csX809" fmla="*/ 86397 w 1609516"/>
              <a:gd name="csY809" fmla="*/ 653442 h 1538630"/>
              <a:gd name="csX810" fmla="*/ 77049 w 1609516"/>
              <a:gd name="csY810" fmla="*/ 646137 h 1538630"/>
              <a:gd name="csX811" fmla="*/ 74145 w 1609516"/>
              <a:gd name="csY811" fmla="*/ 643192 h 1538630"/>
              <a:gd name="csX812" fmla="*/ 71972 w 1609516"/>
              <a:gd name="csY812" fmla="*/ 636185 h 1538630"/>
              <a:gd name="csX813" fmla="*/ 68848 w 1609516"/>
              <a:gd name="csY813" fmla="*/ 636185 h 1538630"/>
              <a:gd name="csX814" fmla="*/ 70410 w 1609516"/>
              <a:gd name="csY814" fmla="*/ 595317 h 1538630"/>
              <a:gd name="csX815" fmla="*/ 79782 w 1609516"/>
              <a:gd name="csY815" fmla="*/ 584043 h 1538630"/>
              <a:gd name="csX816" fmla="*/ 82656 w 1609516"/>
              <a:gd name="csY816" fmla="*/ 581115 h 1538630"/>
              <a:gd name="csX817" fmla="*/ 116694 w 1609516"/>
              <a:gd name="csY817" fmla="*/ 572323 h 1538630"/>
              <a:gd name="csX818" fmla="*/ 152031 w 1609516"/>
              <a:gd name="csY818" fmla="*/ 590385 h 1538630"/>
              <a:gd name="csX819" fmla="*/ 191474 w 1609516"/>
              <a:gd name="csY819" fmla="*/ 605886 h 1538630"/>
              <a:gd name="csX820" fmla="*/ 206314 w 1609516"/>
              <a:gd name="csY820" fmla="*/ 608000 h 1538630"/>
              <a:gd name="csX821" fmla="*/ 206314 w 1609516"/>
              <a:gd name="csY821" fmla="*/ 610818 h 1538630"/>
              <a:gd name="csX822" fmla="*/ 234433 w 1609516"/>
              <a:gd name="csY822" fmla="*/ 610818 h 1538630"/>
              <a:gd name="csX823" fmla="*/ 239522 w 1609516"/>
              <a:gd name="csY823" fmla="*/ 610802 h 1538630"/>
              <a:gd name="csX824" fmla="*/ 268799 w 1609516"/>
              <a:gd name="csY824" fmla="*/ 600954 h 1538630"/>
              <a:gd name="csX825" fmla="*/ 271740 w 1609516"/>
              <a:gd name="csY825" fmla="*/ 599325 h 1538630"/>
              <a:gd name="csX826" fmla="*/ 284420 w 1609516"/>
              <a:gd name="csY826" fmla="*/ 579816 h 1538630"/>
              <a:gd name="csX827" fmla="*/ 289399 w 1609516"/>
              <a:gd name="csY827" fmla="*/ 568630 h 1538630"/>
              <a:gd name="csX828" fmla="*/ 293958 w 1609516"/>
              <a:gd name="csY828" fmla="*/ 535838 h 1538630"/>
              <a:gd name="csX829" fmla="*/ 289107 w 1609516"/>
              <a:gd name="csY829" fmla="*/ 529084 h 1538630"/>
              <a:gd name="csX830" fmla="*/ 289107 w 1609516"/>
              <a:gd name="csY830" fmla="*/ 526265 h 1538630"/>
              <a:gd name="csX831" fmla="*/ 284420 w 1609516"/>
              <a:gd name="csY831" fmla="*/ 524856 h 1538630"/>
              <a:gd name="csX832" fmla="*/ 282858 w 1609516"/>
              <a:gd name="csY832" fmla="*/ 520628 h 1538630"/>
              <a:gd name="csX833" fmla="*/ 277977 w 1609516"/>
              <a:gd name="csY833" fmla="*/ 516577 h 1538630"/>
              <a:gd name="csX834" fmla="*/ 264925 w 1609516"/>
              <a:gd name="csY834" fmla="*/ 506443 h 1538630"/>
              <a:gd name="csX835" fmla="*/ 229746 w 1609516"/>
              <a:gd name="csY835" fmla="*/ 481170 h 1538630"/>
              <a:gd name="csX836" fmla="*/ 221057 w 1609516"/>
              <a:gd name="csY836" fmla="*/ 475445 h 1538630"/>
              <a:gd name="csX837" fmla="*/ 212563 w 1609516"/>
              <a:gd name="csY837" fmla="*/ 469896 h 1538630"/>
              <a:gd name="csX838" fmla="*/ 208889 w 1609516"/>
              <a:gd name="csY838" fmla="*/ 467491 h 1538630"/>
              <a:gd name="csX839" fmla="*/ 190406 w 1609516"/>
              <a:gd name="csY839" fmla="*/ 456382 h 1538630"/>
              <a:gd name="csX840" fmla="*/ 186942 w 1609516"/>
              <a:gd name="csY840" fmla="*/ 454460 h 1538630"/>
              <a:gd name="csX841" fmla="*/ 180041 w 1609516"/>
              <a:gd name="csY841" fmla="*/ 450696 h 1538630"/>
              <a:gd name="csX842" fmla="*/ 171948 w 1609516"/>
              <a:gd name="csY842" fmla="*/ 445940 h 1538630"/>
              <a:gd name="csX843" fmla="*/ 171948 w 1609516"/>
              <a:gd name="csY843" fmla="*/ 443121 h 1538630"/>
              <a:gd name="csX844" fmla="*/ 168482 w 1609516"/>
              <a:gd name="csY844" fmla="*/ 442708 h 1538630"/>
              <a:gd name="csX845" fmla="*/ 157107 w 1609516"/>
              <a:gd name="csY845" fmla="*/ 437044 h 1538630"/>
              <a:gd name="csX846" fmla="*/ 132559 w 1609516"/>
              <a:gd name="csY846" fmla="*/ 427510 h 1538630"/>
              <a:gd name="csX847" fmla="*/ 123522 w 1609516"/>
              <a:gd name="csY847" fmla="*/ 421983 h 1538630"/>
              <a:gd name="csX848" fmla="*/ 107986 w 1609516"/>
              <a:gd name="csY848" fmla="*/ 418730 h 1538630"/>
              <a:gd name="csX849" fmla="*/ 102494 w 1609516"/>
              <a:gd name="csY849" fmla="*/ 418622 h 1538630"/>
              <a:gd name="csX850" fmla="*/ 91157 w 1609516"/>
              <a:gd name="csY850" fmla="*/ 418490 h 1538630"/>
              <a:gd name="csX851" fmla="*/ 55277 w 1609516"/>
              <a:gd name="csY851" fmla="*/ 410445 h 1538630"/>
              <a:gd name="csX852" fmla="*/ 51665 w 1609516"/>
              <a:gd name="csY852" fmla="*/ 406481 h 1538630"/>
              <a:gd name="csX853" fmla="*/ 45904 w 1609516"/>
              <a:gd name="csY853" fmla="*/ 400492 h 1538630"/>
              <a:gd name="csX854" fmla="*/ 43152 w 1609516"/>
              <a:gd name="csY854" fmla="*/ 397564 h 1538630"/>
              <a:gd name="csX855" fmla="*/ 37605 w 1609516"/>
              <a:gd name="csY855" fmla="*/ 393798 h 1538630"/>
              <a:gd name="csX856" fmla="*/ 38995 w 1609516"/>
              <a:gd name="csY856" fmla="*/ 368712 h 1538630"/>
              <a:gd name="csX857" fmla="*/ 38666 w 1609516"/>
              <a:gd name="csY857" fmla="*/ 369724 h 1538630"/>
              <a:gd name="csX858" fmla="*/ 35542 w 1609516"/>
              <a:gd name="csY858" fmla="*/ 384081 h 1538630"/>
              <a:gd name="csX859" fmla="*/ 33326 w 1609516"/>
              <a:gd name="csY859" fmla="*/ 357791 h 1538630"/>
              <a:gd name="csX860" fmla="*/ 52725 w 1609516"/>
              <a:gd name="csY860" fmla="*/ 333349 h 1538630"/>
              <a:gd name="csX861" fmla="*/ 55222 w 1609516"/>
              <a:gd name="csY861" fmla="*/ 334475 h 1538630"/>
              <a:gd name="csX862" fmla="*/ 56222 w 1609516"/>
              <a:gd name="csY862" fmla="*/ 333347 h 1538630"/>
              <a:gd name="csX863" fmla="*/ 55871 w 1609516"/>
              <a:gd name="csY863" fmla="*/ 333347 h 1538630"/>
              <a:gd name="csX864" fmla="*/ 56346 w 1609516"/>
              <a:gd name="csY864" fmla="*/ 333207 h 1538630"/>
              <a:gd name="csX865" fmla="*/ 56351 w 1609516"/>
              <a:gd name="csY865" fmla="*/ 333202 h 1538630"/>
              <a:gd name="csX866" fmla="*/ 56365 w 1609516"/>
              <a:gd name="csY866" fmla="*/ 333202 h 1538630"/>
              <a:gd name="csX867" fmla="*/ 79571 w 1609516"/>
              <a:gd name="csY867" fmla="*/ 326360 h 1538630"/>
              <a:gd name="csX868" fmla="*/ 104297 w 1609516"/>
              <a:gd name="csY868" fmla="*/ 330529 h 1538630"/>
              <a:gd name="csX869" fmla="*/ 107170 w 1609516"/>
              <a:gd name="csY869" fmla="*/ 334417 h 1538630"/>
              <a:gd name="csX870" fmla="*/ 109366 w 1609516"/>
              <a:gd name="csY870" fmla="*/ 336046 h 1538630"/>
              <a:gd name="csX871" fmla="*/ 109463 w 1609516"/>
              <a:gd name="csY871" fmla="*/ 336020 h 1538630"/>
              <a:gd name="csX872" fmla="*/ 109463 w 1609516"/>
              <a:gd name="csY872" fmla="*/ 336118 h 1538630"/>
              <a:gd name="csX873" fmla="*/ 115226 w 1609516"/>
              <a:gd name="csY873" fmla="*/ 340394 h 1538630"/>
              <a:gd name="csX874" fmla="*/ 114010 w 1609516"/>
              <a:gd name="csY874" fmla="*/ 340120 h 1538630"/>
              <a:gd name="csX875" fmla="*/ 133285 w 1609516"/>
              <a:gd name="csY875" fmla="*/ 357423 h 1538630"/>
              <a:gd name="csX876" fmla="*/ 173509 w 1609516"/>
              <a:gd name="csY876" fmla="*/ 389571 h 1538630"/>
              <a:gd name="csX877" fmla="*/ 181711 w 1609516"/>
              <a:gd name="csY877" fmla="*/ 393270 h 1538630"/>
              <a:gd name="csX878" fmla="*/ 185507 w 1609516"/>
              <a:gd name="csY878" fmla="*/ 394976 h 1538630"/>
              <a:gd name="csX879" fmla="*/ 192658 w 1609516"/>
              <a:gd name="csY879" fmla="*/ 398257 h 1538630"/>
              <a:gd name="csX880" fmla="*/ 195966 w 1609516"/>
              <a:gd name="csY880" fmla="*/ 399788 h 1538630"/>
              <a:gd name="csX881" fmla="*/ 198833 w 1609516"/>
              <a:gd name="csY881" fmla="*/ 401131 h 1538630"/>
              <a:gd name="csX882" fmla="*/ 207877 w 1609516"/>
              <a:gd name="csY882" fmla="*/ 403663 h 1538630"/>
              <a:gd name="csX883" fmla="*/ 207877 w 1609516"/>
              <a:gd name="csY883" fmla="*/ 406481 h 1538630"/>
              <a:gd name="csX884" fmla="*/ 248492 w 1609516"/>
              <a:gd name="csY884" fmla="*/ 419428 h 1538630"/>
              <a:gd name="csX885" fmla="*/ 253965 w 1609516"/>
              <a:gd name="csY885" fmla="*/ 421000 h 1538630"/>
              <a:gd name="csX886" fmla="*/ 267237 w 1609516"/>
              <a:gd name="csY886" fmla="*/ 424801 h 1538630"/>
              <a:gd name="csX887" fmla="*/ 267237 w 1609516"/>
              <a:gd name="csY887" fmla="*/ 426451 h 1538630"/>
              <a:gd name="csX888" fmla="*/ 288701 w 1609516"/>
              <a:gd name="csY888" fmla="*/ 429217 h 1538630"/>
              <a:gd name="csX889" fmla="*/ 288701 w 1609516"/>
              <a:gd name="csY889" fmla="*/ 432036 h 1538630"/>
              <a:gd name="csX890" fmla="*/ 327010 w 1609516"/>
              <a:gd name="csY890" fmla="*/ 433628 h 1538630"/>
              <a:gd name="csX891" fmla="*/ 337486 w 1609516"/>
              <a:gd name="csY891" fmla="*/ 433637 h 1538630"/>
              <a:gd name="csX892" fmla="*/ 344229 w 1609516"/>
              <a:gd name="csY892" fmla="*/ 433632 h 1538630"/>
              <a:gd name="csX893" fmla="*/ 350323 w 1609516"/>
              <a:gd name="csY893" fmla="*/ 433627 h 1538630"/>
              <a:gd name="csX894" fmla="*/ 365245 w 1609516"/>
              <a:gd name="csY894" fmla="*/ 432036 h 1538630"/>
              <a:gd name="csX895" fmla="*/ 360797 w 1609516"/>
              <a:gd name="csY895" fmla="*/ 433759 h 1538630"/>
              <a:gd name="csX896" fmla="*/ 365650 w 1609516"/>
              <a:gd name="csY896" fmla="*/ 433257 h 1538630"/>
              <a:gd name="csX897" fmla="*/ 367213 w 1609516"/>
              <a:gd name="csY897" fmla="*/ 429029 h 1538630"/>
              <a:gd name="csX898" fmla="*/ 375188 w 1609516"/>
              <a:gd name="csY898" fmla="*/ 424906 h 1538630"/>
              <a:gd name="csX899" fmla="*/ 404704 w 1609516"/>
              <a:gd name="csY899" fmla="*/ 389571 h 1538630"/>
              <a:gd name="csX900" fmla="*/ 406265 w 1609516"/>
              <a:gd name="csY900" fmla="*/ 388161 h 1538630"/>
              <a:gd name="csX901" fmla="*/ 406559 w 1609516"/>
              <a:gd name="csY901" fmla="*/ 370106 h 1538630"/>
              <a:gd name="csX902" fmla="*/ 406617 w 1609516"/>
              <a:gd name="csY902" fmla="*/ 364973 h 1538630"/>
              <a:gd name="csX903" fmla="*/ 406626 w 1609516"/>
              <a:gd name="csY903" fmla="*/ 360038 h 1538630"/>
              <a:gd name="csX904" fmla="*/ 406645 w 1609516"/>
              <a:gd name="csY904" fmla="*/ 355503 h 1538630"/>
              <a:gd name="csX905" fmla="*/ 403142 w 1609516"/>
              <a:gd name="csY905" fmla="*/ 345885 h 1538630"/>
              <a:gd name="csX906" fmla="*/ 401579 w 1609516"/>
              <a:gd name="csY906" fmla="*/ 338663 h 1538630"/>
              <a:gd name="csX907" fmla="*/ 390938 w 1609516"/>
              <a:gd name="csY907" fmla="*/ 315939 h 1538630"/>
              <a:gd name="csX908" fmla="*/ 388976 w 1609516"/>
              <a:gd name="csY908" fmla="*/ 312762 h 1538630"/>
              <a:gd name="csX909" fmla="*/ 377934 w 1609516"/>
              <a:gd name="csY909" fmla="*/ 297817 h 1538630"/>
              <a:gd name="csX910" fmla="*/ 368775 w 1609516"/>
              <a:gd name="csY910" fmla="*/ 282470 h 1538630"/>
              <a:gd name="csX911" fmla="*/ 359890 w 1609516"/>
              <a:gd name="csY911" fmla="*/ 271284 h 1538630"/>
              <a:gd name="csX912" fmla="*/ 357374 w 1609516"/>
              <a:gd name="csY912" fmla="*/ 268288 h 1538630"/>
              <a:gd name="csX913" fmla="*/ 337533 w 1609516"/>
              <a:gd name="csY913" fmla="*/ 248649 h 1538630"/>
              <a:gd name="csX914" fmla="*/ 335214 w 1609516"/>
              <a:gd name="csY914" fmla="*/ 246369 h 1538630"/>
              <a:gd name="csX915" fmla="*/ 327085 w 1609516"/>
              <a:gd name="csY915" fmla="*/ 242571 h 1538630"/>
              <a:gd name="csX916" fmla="*/ 288785 w 1609516"/>
              <a:gd name="csY916" fmla="*/ 207968 h 1538630"/>
              <a:gd name="csX917" fmla="*/ 286373 w 1609516"/>
              <a:gd name="csY917" fmla="*/ 192544 h 1538630"/>
              <a:gd name="csX918" fmla="*/ 286385 w 1609516"/>
              <a:gd name="csY918" fmla="*/ 189190 h 1538630"/>
              <a:gd name="csX919" fmla="*/ 300042 w 1609516"/>
              <a:gd name="csY919" fmla="*/ 164095 h 1538630"/>
              <a:gd name="csX920" fmla="*/ 302757 w 1609516"/>
              <a:gd name="csY920" fmla="*/ 161381 h 1538630"/>
              <a:gd name="csX921" fmla="*/ 338411 w 1609516"/>
              <a:gd name="csY921" fmla="*/ 152293 h 1538630"/>
              <a:gd name="csX922" fmla="*/ 368482 w 1609516"/>
              <a:gd name="csY922" fmla="*/ 161893 h 1538630"/>
              <a:gd name="csX923" fmla="*/ 371899 w 1609516"/>
              <a:gd name="csY923" fmla="*/ 165505 h 1538630"/>
              <a:gd name="csX924" fmla="*/ 375121 w 1609516"/>
              <a:gd name="csY924" fmla="*/ 168587 h 1538630"/>
              <a:gd name="csX925" fmla="*/ 384982 w 1609516"/>
              <a:gd name="csY925" fmla="*/ 193777 h 1538630"/>
              <a:gd name="csX926" fmla="*/ 390352 w 1609516"/>
              <a:gd name="csY926" fmla="*/ 214563 h 1538630"/>
              <a:gd name="csX927" fmla="*/ 391529 w 1609516"/>
              <a:gd name="csY927" fmla="*/ 217626 h 1538630"/>
              <a:gd name="csX928" fmla="*/ 401579 w 1609516"/>
              <a:gd name="csY928" fmla="*/ 234556 h 1538630"/>
              <a:gd name="csX929" fmla="*/ 401579 w 1609516"/>
              <a:gd name="csY929" fmla="*/ 238784 h 1538630"/>
              <a:gd name="csX930" fmla="*/ 404215 w 1609516"/>
              <a:gd name="csY930" fmla="*/ 239753 h 1538630"/>
              <a:gd name="csX931" fmla="*/ 417811 w 1609516"/>
              <a:gd name="csY931" fmla="*/ 251996 h 1538630"/>
              <a:gd name="csX932" fmla="*/ 426866 w 1609516"/>
              <a:gd name="csY932" fmla="*/ 262300 h 1538630"/>
              <a:gd name="csX933" fmla="*/ 450097 w 1609516"/>
              <a:gd name="csY933" fmla="*/ 287628 h 1538630"/>
              <a:gd name="csX934" fmla="*/ 457425 w 1609516"/>
              <a:gd name="csY934" fmla="*/ 293920 h 1538630"/>
              <a:gd name="csX935" fmla="*/ 460940 w 1609516"/>
              <a:gd name="csY935" fmla="*/ 296562 h 1538630"/>
              <a:gd name="csX936" fmla="*/ 460940 w 1609516"/>
              <a:gd name="csY936" fmla="*/ 300790 h 1538630"/>
              <a:gd name="csX937" fmla="*/ 473437 w 1609516"/>
              <a:gd name="csY937" fmla="*/ 305018 h 1538630"/>
              <a:gd name="csX938" fmla="*/ 473437 w 1609516"/>
              <a:gd name="csY938" fmla="*/ 307836 h 1538630"/>
              <a:gd name="csX939" fmla="*/ 479881 w 1609516"/>
              <a:gd name="csY939" fmla="*/ 309862 h 1538630"/>
              <a:gd name="csX940" fmla="*/ 483505 w 1609516"/>
              <a:gd name="csY940" fmla="*/ 311001 h 1538630"/>
              <a:gd name="csX941" fmla="*/ 548419 w 1609516"/>
              <a:gd name="csY941" fmla="*/ 306427 h 1538630"/>
              <a:gd name="csX942" fmla="*/ 551842 w 1609516"/>
              <a:gd name="csY942" fmla="*/ 305127 h 1538630"/>
              <a:gd name="csX943" fmla="*/ 560232 w 1609516"/>
              <a:gd name="csY943" fmla="*/ 298148 h 1538630"/>
              <a:gd name="csX944" fmla="*/ 562972 w 1609516"/>
              <a:gd name="csY944" fmla="*/ 295252 h 1538630"/>
              <a:gd name="csX945" fmla="*/ 568086 w 1609516"/>
              <a:gd name="csY945" fmla="*/ 289152 h 1538630"/>
              <a:gd name="csX946" fmla="*/ 570289 w 1609516"/>
              <a:gd name="csY946" fmla="*/ 286697 h 1538630"/>
              <a:gd name="csX947" fmla="*/ 573413 w 1609516"/>
              <a:gd name="csY947" fmla="*/ 286697 h 1538630"/>
              <a:gd name="csX948" fmla="*/ 577220 w 1609516"/>
              <a:gd name="csY948" fmla="*/ 257016 h 1538630"/>
              <a:gd name="csX949" fmla="*/ 577235 w 1609516"/>
              <a:gd name="csY949" fmla="*/ 254206 h 1538630"/>
              <a:gd name="csX950" fmla="*/ 569443 w 1609516"/>
              <a:gd name="csY950" fmla="*/ 206049 h 1538630"/>
              <a:gd name="csX951" fmla="*/ 568726 w 1609516"/>
              <a:gd name="csY951" fmla="*/ 200735 h 1538630"/>
              <a:gd name="csX952" fmla="*/ 565602 w 1609516"/>
              <a:gd name="csY952" fmla="*/ 200735 h 1538630"/>
              <a:gd name="csX953" fmla="*/ 559549 w 1609516"/>
              <a:gd name="csY953" fmla="*/ 184441 h 1538630"/>
              <a:gd name="csX954" fmla="*/ 537484 w 1609516"/>
              <a:gd name="csY954" fmla="*/ 159867 h 1538630"/>
              <a:gd name="csX955" fmla="*/ 531235 w 1609516"/>
              <a:gd name="csY955" fmla="*/ 154230 h 1538630"/>
              <a:gd name="csX956" fmla="*/ 531235 w 1609516"/>
              <a:gd name="csY956" fmla="*/ 151412 h 1538630"/>
              <a:gd name="csX957" fmla="*/ 526549 w 1609516"/>
              <a:gd name="csY957" fmla="*/ 150003 h 1538630"/>
              <a:gd name="csX958" fmla="*/ 524304 w 1609516"/>
              <a:gd name="csY958" fmla="*/ 107198 h 1538630"/>
              <a:gd name="csX959" fmla="*/ 547052 w 1609516"/>
              <a:gd name="csY959" fmla="*/ 85972 h 1538630"/>
              <a:gd name="csX960" fmla="*/ 588460 w 1609516"/>
              <a:gd name="csY960" fmla="*/ 83538 h 1538630"/>
              <a:gd name="csX961" fmla="*/ 617152 w 1609516"/>
              <a:gd name="csY961" fmla="*/ 111954 h 1538630"/>
              <a:gd name="csX962" fmla="*/ 617884 w 1609516"/>
              <a:gd name="csY962" fmla="*/ 124175 h 1538630"/>
              <a:gd name="csX963" fmla="*/ 617917 w 1609516"/>
              <a:gd name="csY963" fmla="*/ 127607 h 1538630"/>
              <a:gd name="csX964" fmla="*/ 617919 w 1609516"/>
              <a:gd name="csY964" fmla="*/ 141969 h 1538630"/>
              <a:gd name="csX965" fmla="*/ 630625 w 1609516"/>
              <a:gd name="csY965" fmla="*/ 191311 h 1538630"/>
              <a:gd name="csX966" fmla="*/ 637850 w 1609516"/>
              <a:gd name="csY966" fmla="*/ 205139 h 1538630"/>
              <a:gd name="csX967" fmla="*/ 643708 w 1609516"/>
              <a:gd name="csY967" fmla="*/ 212009 h 1538630"/>
              <a:gd name="csX968" fmla="*/ 647027 w 1609516"/>
              <a:gd name="csY968" fmla="*/ 217645 h 1538630"/>
              <a:gd name="csX969" fmla="*/ 670264 w 1609516"/>
              <a:gd name="csY969" fmla="*/ 241603 h 1538630"/>
              <a:gd name="csX970" fmla="*/ 670264 w 1609516"/>
              <a:gd name="csY970" fmla="*/ 244421 h 1538630"/>
              <a:gd name="csX971" fmla="*/ 675634 w 1609516"/>
              <a:gd name="csY971" fmla="*/ 245742 h 1538630"/>
              <a:gd name="csX972" fmla="*/ 682761 w 1609516"/>
              <a:gd name="csY972" fmla="*/ 248649 h 1538630"/>
              <a:gd name="csX973" fmla="*/ 752092 w 1609516"/>
              <a:gd name="csY973" fmla="*/ 245076 h 1538630"/>
              <a:gd name="csX974" fmla="*/ 758433 w 1609516"/>
              <a:gd name="csY974" fmla="*/ 240485 h 1538630"/>
              <a:gd name="csX975" fmla="*/ 763991 w 1609516"/>
              <a:gd name="csY975" fmla="*/ 238784 h 1538630"/>
              <a:gd name="csX976" fmla="*/ 765315 w 1609516"/>
              <a:gd name="csY976" fmla="*/ 235778 h 1538630"/>
              <a:gd name="csX977" fmla="*/ 770923 w 1609516"/>
              <a:gd name="csY977" fmla="*/ 223459 h 1538630"/>
              <a:gd name="csX978" fmla="*/ 772998 w 1609516"/>
              <a:gd name="csY978" fmla="*/ 218934 h 1538630"/>
              <a:gd name="csX979" fmla="*/ 777562 w 1609516"/>
              <a:gd name="csY979" fmla="*/ 209895 h 1538630"/>
              <a:gd name="csX980" fmla="*/ 781175 w 1609516"/>
              <a:gd name="csY980" fmla="*/ 124637 h 1538630"/>
              <a:gd name="csX981" fmla="*/ 778051 w 1609516"/>
              <a:gd name="csY981" fmla="*/ 124637 h 1538630"/>
              <a:gd name="csX982" fmla="*/ 767116 w 1609516"/>
              <a:gd name="csY982" fmla="*/ 79542 h 1538630"/>
              <a:gd name="csX983" fmla="*/ 793379 w 1609516"/>
              <a:gd name="csY983" fmla="*/ 54000 h 1538630"/>
              <a:gd name="csX984" fmla="*/ 840688 w 1609516"/>
              <a:gd name="csY984" fmla="*/ 55503 h 1538630"/>
              <a:gd name="csX985" fmla="*/ 851470 w 1609516"/>
              <a:gd name="csY985" fmla="*/ 64040 h 1538630"/>
              <a:gd name="csX986" fmla="*/ 853997 w 1609516"/>
              <a:gd name="csY986" fmla="*/ 66529 h 1538630"/>
              <a:gd name="csX987" fmla="*/ 861488 w 1609516"/>
              <a:gd name="csY987" fmla="*/ 82057 h 1538630"/>
              <a:gd name="csX988" fmla="*/ 861937 w 1609516"/>
              <a:gd name="csY988" fmla="*/ 90492 h 1538630"/>
              <a:gd name="csX989" fmla="*/ 863826 w 1609516"/>
              <a:gd name="csY989" fmla="*/ 100715 h 1538630"/>
              <a:gd name="csX990" fmla="*/ 857577 w 1609516"/>
              <a:gd name="csY990" fmla="*/ 121853 h 1538630"/>
              <a:gd name="csX991" fmla="*/ 856015 w 1609516"/>
              <a:gd name="csY991" fmla="*/ 121853 h 1538630"/>
              <a:gd name="csX992" fmla="*/ 855442 w 1609516"/>
              <a:gd name="csY992" fmla="*/ 118919 h 1538630"/>
              <a:gd name="csX993" fmla="*/ 855417 w 1609516"/>
              <a:gd name="csY993" fmla="*/ 118798 h 1538630"/>
              <a:gd name="csX994" fmla="*/ 856157 w 1609516"/>
              <a:gd name="csY994" fmla="*/ 124637 h 1538630"/>
              <a:gd name="csX995" fmla="*/ 850623 w 1609516"/>
              <a:gd name="csY995" fmla="*/ 134701 h 1538630"/>
              <a:gd name="csX996" fmla="*/ 851325 w 1609516"/>
              <a:gd name="csY996" fmla="*/ 135968 h 1538630"/>
              <a:gd name="csX997" fmla="*/ 849886 w 1609516"/>
              <a:gd name="csY997" fmla="*/ 139843 h 1538630"/>
              <a:gd name="csX998" fmla="*/ 847786 w 1609516"/>
              <a:gd name="csY998" fmla="*/ 152889 h 1538630"/>
              <a:gd name="csX999" fmla="*/ 847767 w 1609516"/>
              <a:gd name="csY999" fmla="*/ 157768 h 1538630"/>
              <a:gd name="csX1000" fmla="*/ 847810 w 1609516"/>
              <a:gd name="csY1000" fmla="*/ 162919 h 1538630"/>
              <a:gd name="csX1001" fmla="*/ 847832 w 1609516"/>
              <a:gd name="csY1001" fmla="*/ 168227 h 1538630"/>
              <a:gd name="csX1002" fmla="*/ 850903 w 1609516"/>
              <a:gd name="csY1002" fmla="*/ 209013 h 1538630"/>
              <a:gd name="csX1003" fmla="*/ 852880 w 1609516"/>
              <a:gd name="csY1003" fmla="*/ 224692 h 1538630"/>
              <a:gd name="csX1004" fmla="*/ 854595 w 1609516"/>
              <a:gd name="csY1004" fmla="*/ 224692 h 1538630"/>
              <a:gd name="csX1005" fmla="*/ 856083 w 1609516"/>
              <a:gd name="csY1005" fmla="*/ 227268 h 1538630"/>
              <a:gd name="csX1006" fmla="*/ 879588 w 1609516"/>
              <a:gd name="csY1006" fmla="*/ 247239 h 1538630"/>
              <a:gd name="csX1007" fmla="*/ 885739 w 1609516"/>
              <a:gd name="csY1007" fmla="*/ 249618 h 1538630"/>
              <a:gd name="csX1008" fmla="*/ 890523 w 1609516"/>
              <a:gd name="csY1008" fmla="*/ 251467 h 1538630"/>
              <a:gd name="csX1009" fmla="*/ 890523 w 1609516"/>
              <a:gd name="csY1009" fmla="*/ 254285 h 1538630"/>
              <a:gd name="csX1010" fmla="*/ 920203 w 1609516"/>
              <a:gd name="csY1010" fmla="*/ 261332 h 1538630"/>
              <a:gd name="csX1011" fmla="*/ 920203 w 1609516"/>
              <a:gd name="csY1011" fmla="*/ 262741 h 1538630"/>
              <a:gd name="csX1012" fmla="*/ 910831 w 1609516"/>
              <a:gd name="csY1012" fmla="*/ 262741 h 1538630"/>
              <a:gd name="csX1013" fmla="*/ 910831 w 1609516"/>
              <a:gd name="csY1013" fmla="*/ 262864 h 1538630"/>
              <a:gd name="csX1014" fmla="*/ 927993 w 1609516"/>
              <a:gd name="csY1014" fmla="*/ 264177 h 1538630"/>
              <a:gd name="csX1015" fmla="*/ 939273 w 1609516"/>
              <a:gd name="csY1015" fmla="*/ 265285 h 1538630"/>
              <a:gd name="csX1016" fmla="*/ 940456 w 1609516"/>
              <a:gd name="csY1016" fmla="*/ 265191 h 1538630"/>
              <a:gd name="csX1017" fmla="*/ 991622 w 1609516"/>
              <a:gd name="csY1017" fmla="*/ 242329 h 1538630"/>
              <a:gd name="csX1018" fmla="*/ 1000803 w 1609516"/>
              <a:gd name="csY1018" fmla="*/ 236505 h 1538630"/>
              <a:gd name="csX1019" fmla="*/ 999806 w 1609516"/>
              <a:gd name="csY1019" fmla="*/ 236055 h 1538630"/>
              <a:gd name="csX1020" fmla="*/ 1003126 w 1609516"/>
              <a:gd name="csY1020" fmla="*/ 232851 h 1538630"/>
              <a:gd name="csX1021" fmla="*/ 1029487 w 1609516"/>
              <a:gd name="csY1021" fmla="*/ 205052 h 1538630"/>
              <a:gd name="csX1022" fmla="*/ 1029872 w 1609516"/>
              <a:gd name="csY1022" fmla="*/ 206442 h 1538630"/>
              <a:gd name="csX1023" fmla="*/ 1031614 w 1609516"/>
              <a:gd name="csY1023" fmla="*/ 203719 h 1538630"/>
              <a:gd name="csX1024" fmla="*/ 1038924 w 1609516"/>
              <a:gd name="csY1024" fmla="*/ 192280 h 1538630"/>
              <a:gd name="csX1025" fmla="*/ 1042049 w 1609516"/>
              <a:gd name="csY1025" fmla="*/ 190870 h 1538630"/>
              <a:gd name="csX1026" fmla="*/ 1044294 w 1609516"/>
              <a:gd name="csY1026" fmla="*/ 186026 h 1538630"/>
              <a:gd name="csX1027" fmla="*/ 1051422 w 1609516"/>
              <a:gd name="csY1027" fmla="*/ 178188 h 1538630"/>
              <a:gd name="csX1028" fmla="*/ 1052984 w 1609516"/>
              <a:gd name="csY1028" fmla="*/ 172551 h 1538630"/>
              <a:gd name="csX1029" fmla="*/ 1056108 w 1609516"/>
              <a:gd name="csY1029" fmla="*/ 172551 h 1538630"/>
              <a:gd name="csX1030" fmla="*/ 1059232 w 1609516"/>
              <a:gd name="csY1030" fmla="*/ 162686 h 1538630"/>
              <a:gd name="csX1031" fmla="*/ 1062357 w 1609516"/>
              <a:gd name="csY1031" fmla="*/ 162686 h 1538630"/>
              <a:gd name="csX1032" fmla="*/ 1063162 w 1609516"/>
              <a:gd name="csY1032" fmla="*/ 160258 h 1538630"/>
              <a:gd name="csX1033" fmla="*/ 1073292 w 1609516"/>
              <a:gd name="csY1033" fmla="*/ 140138 h 1538630"/>
              <a:gd name="csX1034" fmla="*/ 1076415 w 1609516"/>
              <a:gd name="csY1034" fmla="*/ 140138 h 1538630"/>
              <a:gd name="csX1035" fmla="*/ 1085294 w 1609516"/>
              <a:gd name="csY1035" fmla="*/ 117569 h 1538630"/>
              <a:gd name="csX1036" fmla="*/ 1087350 w 1609516"/>
              <a:gd name="csY1036" fmla="*/ 113363 h 1538630"/>
              <a:gd name="csX1037" fmla="*/ 1092037 w 1609516"/>
              <a:gd name="csY1037" fmla="*/ 111954 h 1538630"/>
              <a:gd name="csX1038" fmla="*/ 1092623 w 1609516"/>
              <a:gd name="csY1038" fmla="*/ 108695 h 1538630"/>
              <a:gd name="csX1039" fmla="*/ 1096723 w 1609516"/>
              <a:gd name="csY1039" fmla="*/ 100680 h 1538630"/>
              <a:gd name="csX1040" fmla="*/ 1098188 w 1609516"/>
              <a:gd name="csY1040" fmla="*/ 96013 h 1538630"/>
              <a:gd name="csX1041" fmla="*/ 1102288 w 1609516"/>
              <a:gd name="csY1041" fmla="*/ 87029 h 1538630"/>
              <a:gd name="csX1042" fmla="*/ 1104534 w 1609516"/>
              <a:gd name="csY1042" fmla="*/ 61222 h 1538630"/>
              <a:gd name="csX1043" fmla="*/ 1104381 w 1609516"/>
              <a:gd name="csY1043" fmla="*/ 55569 h 1538630"/>
              <a:gd name="csX1044" fmla="*/ 1104397 w 1609516"/>
              <a:gd name="csY1044" fmla="*/ 52335 h 1538630"/>
              <a:gd name="csX1045" fmla="*/ 1104436 w 1609516"/>
              <a:gd name="csY1045" fmla="*/ 48979 h 1538630"/>
              <a:gd name="csX1046" fmla="*/ 1104457 w 1609516"/>
              <a:gd name="csY1046" fmla="*/ 45575 h 1538630"/>
              <a:gd name="csX1047" fmla="*/ 1104534 w 1609516"/>
              <a:gd name="csY1047" fmla="*/ 37265 h 1538630"/>
              <a:gd name="csX1048" fmla="*/ 1107658 w 1609516"/>
              <a:gd name="csY1048" fmla="*/ 37265 h 1538630"/>
              <a:gd name="csX1049" fmla="*/ 1107463 w 1609516"/>
              <a:gd name="csY1049" fmla="*/ 31805 h 1538630"/>
              <a:gd name="csX1050" fmla="*/ 1107658 w 1609516"/>
              <a:gd name="csY1050" fmla="*/ 25991 h 1538630"/>
              <a:gd name="csX1051" fmla="*/ 1110782 w 1609516"/>
              <a:gd name="csY1051" fmla="*/ 23173 h 1538630"/>
              <a:gd name="csX1052" fmla="*/ 1111759 w 1609516"/>
              <a:gd name="csY1052" fmla="*/ 20091 h 1538630"/>
              <a:gd name="csX1053" fmla="*/ 1134507 w 1609516"/>
              <a:gd name="csY1053" fmla="*/ 2828 h 1538630"/>
              <a:gd name="csX1054" fmla="*/ 1155019 w 1609516"/>
              <a:gd name="csY1054" fmla="*/ 35 h 153863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  <a:cxn ang="0">
                <a:pos x="csX170" y="csY170"/>
              </a:cxn>
              <a:cxn ang="0">
                <a:pos x="csX171" y="csY171"/>
              </a:cxn>
              <a:cxn ang="0">
                <a:pos x="csX172" y="csY172"/>
              </a:cxn>
              <a:cxn ang="0">
                <a:pos x="csX173" y="csY173"/>
              </a:cxn>
              <a:cxn ang="0">
                <a:pos x="csX174" y="csY174"/>
              </a:cxn>
              <a:cxn ang="0">
                <a:pos x="csX175" y="csY175"/>
              </a:cxn>
              <a:cxn ang="0">
                <a:pos x="csX176" y="csY176"/>
              </a:cxn>
              <a:cxn ang="0">
                <a:pos x="csX177" y="csY177"/>
              </a:cxn>
              <a:cxn ang="0">
                <a:pos x="csX178" y="csY178"/>
              </a:cxn>
              <a:cxn ang="0">
                <a:pos x="csX179" y="csY179"/>
              </a:cxn>
              <a:cxn ang="0">
                <a:pos x="csX180" y="csY180"/>
              </a:cxn>
              <a:cxn ang="0">
                <a:pos x="csX181" y="csY181"/>
              </a:cxn>
              <a:cxn ang="0">
                <a:pos x="csX182" y="csY182"/>
              </a:cxn>
              <a:cxn ang="0">
                <a:pos x="csX183" y="csY183"/>
              </a:cxn>
              <a:cxn ang="0">
                <a:pos x="csX184" y="csY184"/>
              </a:cxn>
              <a:cxn ang="0">
                <a:pos x="csX185" y="csY185"/>
              </a:cxn>
              <a:cxn ang="0">
                <a:pos x="csX186" y="csY186"/>
              </a:cxn>
              <a:cxn ang="0">
                <a:pos x="csX187" y="csY187"/>
              </a:cxn>
              <a:cxn ang="0">
                <a:pos x="csX188" y="csY188"/>
              </a:cxn>
              <a:cxn ang="0">
                <a:pos x="csX189" y="csY189"/>
              </a:cxn>
              <a:cxn ang="0">
                <a:pos x="csX190" y="csY190"/>
              </a:cxn>
              <a:cxn ang="0">
                <a:pos x="csX191" y="csY191"/>
              </a:cxn>
              <a:cxn ang="0">
                <a:pos x="csX192" y="csY192"/>
              </a:cxn>
              <a:cxn ang="0">
                <a:pos x="csX193" y="csY193"/>
              </a:cxn>
              <a:cxn ang="0">
                <a:pos x="csX194" y="csY194"/>
              </a:cxn>
              <a:cxn ang="0">
                <a:pos x="csX195" y="csY195"/>
              </a:cxn>
              <a:cxn ang="0">
                <a:pos x="csX196" y="csY196"/>
              </a:cxn>
              <a:cxn ang="0">
                <a:pos x="csX197" y="csY197"/>
              </a:cxn>
              <a:cxn ang="0">
                <a:pos x="csX198" y="csY198"/>
              </a:cxn>
              <a:cxn ang="0">
                <a:pos x="csX199" y="csY199"/>
              </a:cxn>
              <a:cxn ang="0">
                <a:pos x="csX200" y="csY200"/>
              </a:cxn>
              <a:cxn ang="0">
                <a:pos x="csX201" y="csY201"/>
              </a:cxn>
              <a:cxn ang="0">
                <a:pos x="csX202" y="csY202"/>
              </a:cxn>
              <a:cxn ang="0">
                <a:pos x="csX203" y="csY203"/>
              </a:cxn>
              <a:cxn ang="0">
                <a:pos x="csX204" y="csY204"/>
              </a:cxn>
              <a:cxn ang="0">
                <a:pos x="csX205" y="csY205"/>
              </a:cxn>
              <a:cxn ang="0">
                <a:pos x="csX206" y="csY206"/>
              </a:cxn>
              <a:cxn ang="0">
                <a:pos x="csX207" y="csY207"/>
              </a:cxn>
              <a:cxn ang="0">
                <a:pos x="csX208" y="csY208"/>
              </a:cxn>
              <a:cxn ang="0">
                <a:pos x="csX209" y="csY209"/>
              </a:cxn>
              <a:cxn ang="0">
                <a:pos x="csX210" y="csY210"/>
              </a:cxn>
              <a:cxn ang="0">
                <a:pos x="csX211" y="csY211"/>
              </a:cxn>
              <a:cxn ang="0">
                <a:pos x="csX212" y="csY212"/>
              </a:cxn>
              <a:cxn ang="0">
                <a:pos x="csX213" y="csY213"/>
              </a:cxn>
              <a:cxn ang="0">
                <a:pos x="csX214" y="csY214"/>
              </a:cxn>
              <a:cxn ang="0">
                <a:pos x="csX215" y="csY215"/>
              </a:cxn>
              <a:cxn ang="0">
                <a:pos x="csX216" y="csY216"/>
              </a:cxn>
              <a:cxn ang="0">
                <a:pos x="csX217" y="csY217"/>
              </a:cxn>
              <a:cxn ang="0">
                <a:pos x="csX218" y="csY218"/>
              </a:cxn>
              <a:cxn ang="0">
                <a:pos x="csX219" y="csY219"/>
              </a:cxn>
              <a:cxn ang="0">
                <a:pos x="csX220" y="csY220"/>
              </a:cxn>
              <a:cxn ang="0">
                <a:pos x="csX221" y="csY221"/>
              </a:cxn>
              <a:cxn ang="0">
                <a:pos x="csX222" y="csY222"/>
              </a:cxn>
              <a:cxn ang="0">
                <a:pos x="csX223" y="csY223"/>
              </a:cxn>
              <a:cxn ang="0">
                <a:pos x="csX224" y="csY224"/>
              </a:cxn>
              <a:cxn ang="0">
                <a:pos x="csX225" y="csY225"/>
              </a:cxn>
              <a:cxn ang="0">
                <a:pos x="csX226" y="csY226"/>
              </a:cxn>
              <a:cxn ang="0">
                <a:pos x="csX227" y="csY227"/>
              </a:cxn>
              <a:cxn ang="0">
                <a:pos x="csX228" y="csY228"/>
              </a:cxn>
              <a:cxn ang="0">
                <a:pos x="csX229" y="csY229"/>
              </a:cxn>
              <a:cxn ang="0">
                <a:pos x="csX230" y="csY230"/>
              </a:cxn>
              <a:cxn ang="0">
                <a:pos x="csX231" y="csY231"/>
              </a:cxn>
              <a:cxn ang="0">
                <a:pos x="csX232" y="csY232"/>
              </a:cxn>
              <a:cxn ang="0">
                <a:pos x="csX233" y="csY233"/>
              </a:cxn>
              <a:cxn ang="0">
                <a:pos x="csX234" y="csY234"/>
              </a:cxn>
              <a:cxn ang="0">
                <a:pos x="csX235" y="csY235"/>
              </a:cxn>
              <a:cxn ang="0">
                <a:pos x="csX236" y="csY236"/>
              </a:cxn>
              <a:cxn ang="0">
                <a:pos x="csX237" y="csY237"/>
              </a:cxn>
              <a:cxn ang="0">
                <a:pos x="csX238" y="csY238"/>
              </a:cxn>
              <a:cxn ang="0">
                <a:pos x="csX239" y="csY239"/>
              </a:cxn>
              <a:cxn ang="0">
                <a:pos x="csX240" y="csY240"/>
              </a:cxn>
              <a:cxn ang="0">
                <a:pos x="csX241" y="csY241"/>
              </a:cxn>
              <a:cxn ang="0">
                <a:pos x="csX242" y="csY242"/>
              </a:cxn>
              <a:cxn ang="0">
                <a:pos x="csX243" y="csY243"/>
              </a:cxn>
              <a:cxn ang="0">
                <a:pos x="csX244" y="csY244"/>
              </a:cxn>
              <a:cxn ang="0">
                <a:pos x="csX245" y="csY245"/>
              </a:cxn>
              <a:cxn ang="0">
                <a:pos x="csX246" y="csY246"/>
              </a:cxn>
              <a:cxn ang="0">
                <a:pos x="csX247" y="csY247"/>
              </a:cxn>
              <a:cxn ang="0">
                <a:pos x="csX248" y="csY248"/>
              </a:cxn>
              <a:cxn ang="0">
                <a:pos x="csX249" y="csY249"/>
              </a:cxn>
              <a:cxn ang="0">
                <a:pos x="csX250" y="csY250"/>
              </a:cxn>
              <a:cxn ang="0">
                <a:pos x="csX251" y="csY251"/>
              </a:cxn>
              <a:cxn ang="0">
                <a:pos x="csX252" y="csY252"/>
              </a:cxn>
              <a:cxn ang="0">
                <a:pos x="csX253" y="csY253"/>
              </a:cxn>
              <a:cxn ang="0">
                <a:pos x="csX254" y="csY254"/>
              </a:cxn>
              <a:cxn ang="0">
                <a:pos x="csX255" y="csY255"/>
              </a:cxn>
              <a:cxn ang="0">
                <a:pos x="csX256" y="csY256"/>
              </a:cxn>
              <a:cxn ang="0">
                <a:pos x="csX257" y="csY257"/>
              </a:cxn>
              <a:cxn ang="0">
                <a:pos x="csX258" y="csY258"/>
              </a:cxn>
              <a:cxn ang="0">
                <a:pos x="csX259" y="csY259"/>
              </a:cxn>
              <a:cxn ang="0">
                <a:pos x="csX260" y="csY260"/>
              </a:cxn>
              <a:cxn ang="0">
                <a:pos x="csX261" y="csY261"/>
              </a:cxn>
              <a:cxn ang="0">
                <a:pos x="csX262" y="csY262"/>
              </a:cxn>
              <a:cxn ang="0">
                <a:pos x="csX263" y="csY263"/>
              </a:cxn>
              <a:cxn ang="0">
                <a:pos x="csX264" y="csY264"/>
              </a:cxn>
              <a:cxn ang="0">
                <a:pos x="csX265" y="csY265"/>
              </a:cxn>
              <a:cxn ang="0">
                <a:pos x="csX266" y="csY266"/>
              </a:cxn>
              <a:cxn ang="0">
                <a:pos x="csX267" y="csY267"/>
              </a:cxn>
              <a:cxn ang="0">
                <a:pos x="csX268" y="csY268"/>
              </a:cxn>
              <a:cxn ang="0">
                <a:pos x="csX269" y="csY269"/>
              </a:cxn>
              <a:cxn ang="0">
                <a:pos x="csX270" y="csY270"/>
              </a:cxn>
              <a:cxn ang="0">
                <a:pos x="csX271" y="csY271"/>
              </a:cxn>
              <a:cxn ang="0">
                <a:pos x="csX272" y="csY272"/>
              </a:cxn>
              <a:cxn ang="0">
                <a:pos x="csX273" y="csY273"/>
              </a:cxn>
              <a:cxn ang="0">
                <a:pos x="csX274" y="csY274"/>
              </a:cxn>
              <a:cxn ang="0">
                <a:pos x="csX275" y="csY275"/>
              </a:cxn>
              <a:cxn ang="0">
                <a:pos x="csX276" y="csY276"/>
              </a:cxn>
              <a:cxn ang="0">
                <a:pos x="csX277" y="csY277"/>
              </a:cxn>
              <a:cxn ang="0">
                <a:pos x="csX278" y="csY278"/>
              </a:cxn>
              <a:cxn ang="0">
                <a:pos x="csX279" y="csY279"/>
              </a:cxn>
              <a:cxn ang="0">
                <a:pos x="csX280" y="csY280"/>
              </a:cxn>
              <a:cxn ang="0">
                <a:pos x="csX281" y="csY281"/>
              </a:cxn>
              <a:cxn ang="0">
                <a:pos x="csX282" y="csY282"/>
              </a:cxn>
              <a:cxn ang="0">
                <a:pos x="csX283" y="csY283"/>
              </a:cxn>
              <a:cxn ang="0">
                <a:pos x="csX284" y="csY284"/>
              </a:cxn>
              <a:cxn ang="0">
                <a:pos x="csX285" y="csY285"/>
              </a:cxn>
              <a:cxn ang="0">
                <a:pos x="csX286" y="csY286"/>
              </a:cxn>
              <a:cxn ang="0">
                <a:pos x="csX287" y="csY287"/>
              </a:cxn>
              <a:cxn ang="0">
                <a:pos x="csX288" y="csY288"/>
              </a:cxn>
              <a:cxn ang="0">
                <a:pos x="csX289" y="csY289"/>
              </a:cxn>
              <a:cxn ang="0">
                <a:pos x="csX290" y="csY290"/>
              </a:cxn>
              <a:cxn ang="0">
                <a:pos x="csX291" y="csY291"/>
              </a:cxn>
              <a:cxn ang="0">
                <a:pos x="csX292" y="csY292"/>
              </a:cxn>
              <a:cxn ang="0">
                <a:pos x="csX293" y="csY293"/>
              </a:cxn>
              <a:cxn ang="0">
                <a:pos x="csX294" y="csY294"/>
              </a:cxn>
              <a:cxn ang="0">
                <a:pos x="csX295" y="csY295"/>
              </a:cxn>
              <a:cxn ang="0">
                <a:pos x="csX296" y="csY296"/>
              </a:cxn>
              <a:cxn ang="0">
                <a:pos x="csX297" y="csY297"/>
              </a:cxn>
              <a:cxn ang="0">
                <a:pos x="csX298" y="csY298"/>
              </a:cxn>
              <a:cxn ang="0">
                <a:pos x="csX299" y="csY299"/>
              </a:cxn>
              <a:cxn ang="0">
                <a:pos x="csX300" y="csY300"/>
              </a:cxn>
              <a:cxn ang="0">
                <a:pos x="csX301" y="csY301"/>
              </a:cxn>
              <a:cxn ang="0">
                <a:pos x="csX302" y="csY302"/>
              </a:cxn>
              <a:cxn ang="0">
                <a:pos x="csX303" y="csY303"/>
              </a:cxn>
              <a:cxn ang="0">
                <a:pos x="csX304" y="csY304"/>
              </a:cxn>
              <a:cxn ang="0">
                <a:pos x="csX305" y="csY305"/>
              </a:cxn>
              <a:cxn ang="0">
                <a:pos x="csX306" y="csY306"/>
              </a:cxn>
              <a:cxn ang="0">
                <a:pos x="csX307" y="csY307"/>
              </a:cxn>
              <a:cxn ang="0">
                <a:pos x="csX308" y="csY308"/>
              </a:cxn>
              <a:cxn ang="0">
                <a:pos x="csX309" y="csY309"/>
              </a:cxn>
              <a:cxn ang="0">
                <a:pos x="csX310" y="csY310"/>
              </a:cxn>
              <a:cxn ang="0">
                <a:pos x="csX311" y="csY311"/>
              </a:cxn>
              <a:cxn ang="0">
                <a:pos x="csX312" y="csY312"/>
              </a:cxn>
              <a:cxn ang="0">
                <a:pos x="csX313" y="csY313"/>
              </a:cxn>
              <a:cxn ang="0">
                <a:pos x="csX314" y="csY314"/>
              </a:cxn>
              <a:cxn ang="0">
                <a:pos x="csX315" y="csY315"/>
              </a:cxn>
              <a:cxn ang="0">
                <a:pos x="csX316" y="csY316"/>
              </a:cxn>
              <a:cxn ang="0">
                <a:pos x="csX317" y="csY317"/>
              </a:cxn>
              <a:cxn ang="0">
                <a:pos x="csX318" y="csY318"/>
              </a:cxn>
              <a:cxn ang="0">
                <a:pos x="csX319" y="csY319"/>
              </a:cxn>
              <a:cxn ang="0">
                <a:pos x="csX320" y="csY320"/>
              </a:cxn>
              <a:cxn ang="0">
                <a:pos x="csX321" y="csY321"/>
              </a:cxn>
              <a:cxn ang="0">
                <a:pos x="csX322" y="csY322"/>
              </a:cxn>
              <a:cxn ang="0">
                <a:pos x="csX323" y="csY323"/>
              </a:cxn>
              <a:cxn ang="0">
                <a:pos x="csX324" y="csY324"/>
              </a:cxn>
              <a:cxn ang="0">
                <a:pos x="csX325" y="csY325"/>
              </a:cxn>
              <a:cxn ang="0">
                <a:pos x="csX326" y="csY326"/>
              </a:cxn>
              <a:cxn ang="0">
                <a:pos x="csX327" y="csY327"/>
              </a:cxn>
              <a:cxn ang="0">
                <a:pos x="csX328" y="csY328"/>
              </a:cxn>
              <a:cxn ang="0">
                <a:pos x="csX329" y="csY329"/>
              </a:cxn>
              <a:cxn ang="0">
                <a:pos x="csX330" y="csY330"/>
              </a:cxn>
              <a:cxn ang="0">
                <a:pos x="csX331" y="csY331"/>
              </a:cxn>
              <a:cxn ang="0">
                <a:pos x="csX332" y="csY332"/>
              </a:cxn>
              <a:cxn ang="0">
                <a:pos x="csX333" y="csY333"/>
              </a:cxn>
              <a:cxn ang="0">
                <a:pos x="csX334" y="csY334"/>
              </a:cxn>
              <a:cxn ang="0">
                <a:pos x="csX335" y="csY335"/>
              </a:cxn>
              <a:cxn ang="0">
                <a:pos x="csX336" y="csY336"/>
              </a:cxn>
              <a:cxn ang="0">
                <a:pos x="csX337" y="csY337"/>
              </a:cxn>
              <a:cxn ang="0">
                <a:pos x="csX338" y="csY338"/>
              </a:cxn>
              <a:cxn ang="0">
                <a:pos x="csX339" y="csY339"/>
              </a:cxn>
              <a:cxn ang="0">
                <a:pos x="csX340" y="csY340"/>
              </a:cxn>
              <a:cxn ang="0">
                <a:pos x="csX341" y="csY341"/>
              </a:cxn>
              <a:cxn ang="0">
                <a:pos x="csX342" y="csY342"/>
              </a:cxn>
              <a:cxn ang="0">
                <a:pos x="csX343" y="csY343"/>
              </a:cxn>
              <a:cxn ang="0">
                <a:pos x="csX344" y="csY344"/>
              </a:cxn>
              <a:cxn ang="0">
                <a:pos x="csX345" y="csY345"/>
              </a:cxn>
              <a:cxn ang="0">
                <a:pos x="csX346" y="csY346"/>
              </a:cxn>
              <a:cxn ang="0">
                <a:pos x="csX347" y="csY347"/>
              </a:cxn>
              <a:cxn ang="0">
                <a:pos x="csX348" y="csY348"/>
              </a:cxn>
              <a:cxn ang="0">
                <a:pos x="csX349" y="csY349"/>
              </a:cxn>
              <a:cxn ang="0">
                <a:pos x="csX350" y="csY350"/>
              </a:cxn>
              <a:cxn ang="0">
                <a:pos x="csX351" y="csY351"/>
              </a:cxn>
              <a:cxn ang="0">
                <a:pos x="csX352" y="csY352"/>
              </a:cxn>
              <a:cxn ang="0">
                <a:pos x="csX353" y="csY353"/>
              </a:cxn>
              <a:cxn ang="0">
                <a:pos x="csX354" y="csY354"/>
              </a:cxn>
              <a:cxn ang="0">
                <a:pos x="csX355" y="csY355"/>
              </a:cxn>
              <a:cxn ang="0">
                <a:pos x="csX356" y="csY356"/>
              </a:cxn>
              <a:cxn ang="0">
                <a:pos x="csX357" y="csY357"/>
              </a:cxn>
              <a:cxn ang="0">
                <a:pos x="csX358" y="csY358"/>
              </a:cxn>
              <a:cxn ang="0">
                <a:pos x="csX359" y="csY359"/>
              </a:cxn>
              <a:cxn ang="0">
                <a:pos x="csX360" y="csY360"/>
              </a:cxn>
              <a:cxn ang="0">
                <a:pos x="csX361" y="csY361"/>
              </a:cxn>
              <a:cxn ang="0">
                <a:pos x="csX362" y="csY362"/>
              </a:cxn>
              <a:cxn ang="0">
                <a:pos x="csX363" y="csY363"/>
              </a:cxn>
              <a:cxn ang="0">
                <a:pos x="csX364" y="csY364"/>
              </a:cxn>
              <a:cxn ang="0">
                <a:pos x="csX365" y="csY365"/>
              </a:cxn>
              <a:cxn ang="0">
                <a:pos x="csX366" y="csY366"/>
              </a:cxn>
              <a:cxn ang="0">
                <a:pos x="csX367" y="csY367"/>
              </a:cxn>
              <a:cxn ang="0">
                <a:pos x="csX368" y="csY368"/>
              </a:cxn>
              <a:cxn ang="0">
                <a:pos x="csX369" y="csY369"/>
              </a:cxn>
              <a:cxn ang="0">
                <a:pos x="csX370" y="csY370"/>
              </a:cxn>
              <a:cxn ang="0">
                <a:pos x="csX371" y="csY371"/>
              </a:cxn>
              <a:cxn ang="0">
                <a:pos x="csX372" y="csY372"/>
              </a:cxn>
              <a:cxn ang="0">
                <a:pos x="csX373" y="csY373"/>
              </a:cxn>
              <a:cxn ang="0">
                <a:pos x="csX374" y="csY374"/>
              </a:cxn>
              <a:cxn ang="0">
                <a:pos x="csX375" y="csY375"/>
              </a:cxn>
              <a:cxn ang="0">
                <a:pos x="csX376" y="csY376"/>
              </a:cxn>
              <a:cxn ang="0">
                <a:pos x="csX377" y="csY377"/>
              </a:cxn>
              <a:cxn ang="0">
                <a:pos x="csX378" y="csY378"/>
              </a:cxn>
              <a:cxn ang="0">
                <a:pos x="csX379" y="csY379"/>
              </a:cxn>
              <a:cxn ang="0">
                <a:pos x="csX380" y="csY380"/>
              </a:cxn>
              <a:cxn ang="0">
                <a:pos x="csX381" y="csY381"/>
              </a:cxn>
              <a:cxn ang="0">
                <a:pos x="csX382" y="csY382"/>
              </a:cxn>
              <a:cxn ang="0">
                <a:pos x="csX383" y="csY383"/>
              </a:cxn>
              <a:cxn ang="0">
                <a:pos x="csX384" y="csY384"/>
              </a:cxn>
              <a:cxn ang="0">
                <a:pos x="csX385" y="csY385"/>
              </a:cxn>
              <a:cxn ang="0">
                <a:pos x="csX386" y="csY386"/>
              </a:cxn>
              <a:cxn ang="0">
                <a:pos x="csX387" y="csY387"/>
              </a:cxn>
              <a:cxn ang="0">
                <a:pos x="csX388" y="csY388"/>
              </a:cxn>
              <a:cxn ang="0">
                <a:pos x="csX389" y="csY389"/>
              </a:cxn>
              <a:cxn ang="0">
                <a:pos x="csX390" y="csY390"/>
              </a:cxn>
              <a:cxn ang="0">
                <a:pos x="csX391" y="csY391"/>
              </a:cxn>
              <a:cxn ang="0">
                <a:pos x="csX392" y="csY392"/>
              </a:cxn>
              <a:cxn ang="0">
                <a:pos x="csX393" y="csY393"/>
              </a:cxn>
              <a:cxn ang="0">
                <a:pos x="csX394" y="csY394"/>
              </a:cxn>
              <a:cxn ang="0">
                <a:pos x="csX395" y="csY395"/>
              </a:cxn>
              <a:cxn ang="0">
                <a:pos x="csX396" y="csY396"/>
              </a:cxn>
              <a:cxn ang="0">
                <a:pos x="csX397" y="csY397"/>
              </a:cxn>
              <a:cxn ang="0">
                <a:pos x="csX398" y="csY398"/>
              </a:cxn>
              <a:cxn ang="0">
                <a:pos x="csX399" y="csY399"/>
              </a:cxn>
              <a:cxn ang="0">
                <a:pos x="csX400" y="csY400"/>
              </a:cxn>
              <a:cxn ang="0">
                <a:pos x="csX401" y="csY401"/>
              </a:cxn>
              <a:cxn ang="0">
                <a:pos x="csX402" y="csY402"/>
              </a:cxn>
              <a:cxn ang="0">
                <a:pos x="csX403" y="csY403"/>
              </a:cxn>
              <a:cxn ang="0">
                <a:pos x="csX404" y="csY404"/>
              </a:cxn>
              <a:cxn ang="0">
                <a:pos x="csX405" y="csY405"/>
              </a:cxn>
              <a:cxn ang="0">
                <a:pos x="csX406" y="csY406"/>
              </a:cxn>
              <a:cxn ang="0">
                <a:pos x="csX407" y="csY407"/>
              </a:cxn>
              <a:cxn ang="0">
                <a:pos x="csX408" y="csY408"/>
              </a:cxn>
              <a:cxn ang="0">
                <a:pos x="csX409" y="csY409"/>
              </a:cxn>
              <a:cxn ang="0">
                <a:pos x="csX410" y="csY410"/>
              </a:cxn>
              <a:cxn ang="0">
                <a:pos x="csX411" y="csY411"/>
              </a:cxn>
              <a:cxn ang="0">
                <a:pos x="csX412" y="csY412"/>
              </a:cxn>
              <a:cxn ang="0">
                <a:pos x="csX413" y="csY413"/>
              </a:cxn>
              <a:cxn ang="0">
                <a:pos x="csX414" y="csY414"/>
              </a:cxn>
              <a:cxn ang="0">
                <a:pos x="csX415" y="csY415"/>
              </a:cxn>
              <a:cxn ang="0">
                <a:pos x="csX416" y="csY416"/>
              </a:cxn>
              <a:cxn ang="0">
                <a:pos x="csX417" y="csY417"/>
              </a:cxn>
              <a:cxn ang="0">
                <a:pos x="csX418" y="csY418"/>
              </a:cxn>
              <a:cxn ang="0">
                <a:pos x="csX419" y="csY419"/>
              </a:cxn>
              <a:cxn ang="0">
                <a:pos x="csX420" y="csY420"/>
              </a:cxn>
              <a:cxn ang="0">
                <a:pos x="csX421" y="csY421"/>
              </a:cxn>
              <a:cxn ang="0">
                <a:pos x="csX422" y="csY422"/>
              </a:cxn>
              <a:cxn ang="0">
                <a:pos x="csX423" y="csY423"/>
              </a:cxn>
              <a:cxn ang="0">
                <a:pos x="csX424" y="csY424"/>
              </a:cxn>
              <a:cxn ang="0">
                <a:pos x="csX425" y="csY425"/>
              </a:cxn>
              <a:cxn ang="0">
                <a:pos x="csX426" y="csY426"/>
              </a:cxn>
              <a:cxn ang="0">
                <a:pos x="csX427" y="csY427"/>
              </a:cxn>
              <a:cxn ang="0">
                <a:pos x="csX428" y="csY428"/>
              </a:cxn>
              <a:cxn ang="0">
                <a:pos x="csX429" y="csY429"/>
              </a:cxn>
              <a:cxn ang="0">
                <a:pos x="csX430" y="csY430"/>
              </a:cxn>
              <a:cxn ang="0">
                <a:pos x="csX431" y="csY431"/>
              </a:cxn>
              <a:cxn ang="0">
                <a:pos x="csX432" y="csY432"/>
              </a:cxn>
              <a:cxn ang="0">
                <a:pos x="csX433" y="csY433"/>
              </a:cxn>
              <a:cxn ang="0">
                <a:pos x="csX434" y="csY434"/>
              </a:cxn>
              <a:cxn ang="0">
                <a:pos x="csX435" y="csY435"/>
              </a:cxn>
              <a:cxn ang="0">
                <a:pos x="csX436" y="csY436"/>
              </a:cxn>
              <a:cxn ang="0">
                <a:pos x="csX437" y="csY437"/>
              </a:cxn>
              <a:cxn ang="0">
                <a:pos x="csX438" y="csY438"/>
              </a:cxn>
              <a:cxn ang="0">
                <a:pos x="csX439" y="csY439"/>
              </a:cxn>
              <a:cxn ang="0">
                <a:pos x="csX440" y="csY440"/>
              </a:cxn>
              <a:cxn ang="0">
                <a:pos x="csX441" y="csY441"/>
              </a:cxn>
              <a:cxn ang="0">
                <a:pos x="csX442" y="csY442"/>
              </a:cxn>
              <a:cxn ang="0">
                <a:pos x="csX443" y="csY443"/>
              </a:cxn>
              <a:cxn ang="0">
                <a:pos x="csX444" y="csY444"/>
              </a:cxn>
              <a:cxn ang="0">
                <a:pos x="csX445" y="csY445"/>
              </a:cxn>
              <a:cxn ang="0">
                <a:pos x="csX446" y="csY446"/>
              </a:cxn>
              <a:cxn ang="0">
                <a:pos x="csX447" y="csY447"/>
              </a:cxn>
              <a:cxn ang="0">
                <a:pos x="csX448" y="csY448"/>
              </a:cxn>
              <a:cxn ang="0">
                <a:pos x="csX449" y="csY449"/>
              </a:cxn>
              <a:cxn ang="0">
                <a:pos x="csX450" y="csY450"/>
              </a:cxn>
              <a:cxn ang="0">
                <a:pos x="csX451" y="csY451"/>
              </a:cxn>
              <a:cxn ang="0">
                <a:pos x="csX452" y="csY452"/>
              </a:cxn>
              <a:cxn ang="0">
                <a:pos x="csX453" y="csY453"/>
              </a:cxn>
              <a:cxn ang="0">
                <a:pos x="csX454" y="csY454"/>
              </a:cxn>
              <a:cxn ang="0">
                <a:pos x="csX455" y="csY455"/>
              </a:cxn>
              <a:cxn ang="0">
                <a:pos x="csX456" y="csY456"/>
              </a:cxn>
              <a:cxn ang="0">
                <a:pos x="csX457" y="csY457"/>
              </a:cxn>
              <a:cxn ang="0">
                <a:pos x="csX458" y="csY458"/>
              </a:cxn>
              <a:cxn ang="0">
                <a:pos x="csX459" y="csY459"/>
              </a:cxn>
              <a:cxn ang="0">
                <a:pos x="csX460" y="csY460"/>
              </a:cxn>
              <a:cxn ang="0">
                <a:pos x="csX461" y="csY461"/>
              </a:cxn>
              <a:cxn ang="0">
                <a:pos x="csX462" y="csY462"/>
              </a:cxn>
              <a:cxn ang="0">
                <a:pos x="csX463" y="csY463"/>
              </a:cxn>
              <a:cxn ang="0">
                <a:pos x="csX464" y="csY464"/>
              </a:cxn>
              <a:cxn ang="0">
                <a:pos x="csX465" y="csY465"/>
              </a:cxn>
              <a:cxn ang="0">
                <a:pos x="csX466" y="csY466"/>
              </a:cxn>
              <a:cxn ang="0">
                <a:pos x="csX467" y="csY467"/>
              </a:cxn>
              <a:cxn ang="0">
                <a:pos x="csX468" y="csY468"/>
              </a:cxn>
              <a:cxn ang="0">
                <a:pos x="csX469" y="csY469"/>
              </a:cxn>
              <a:cxn ang="0">
                <a:pos x="csX470" y="csY470"/>
              </a:cxn>
              <a:cxn ang="0">
                <a:pos x="csX471" y="csY471"/>
              </a:cxn>
              <a:cxn ang="0">
                <a:pos x="csX472" y="csY472"/>
              </a:cxn>
              <a:cxn ang="0">
                <a:pos x="csX473" y="csY473"/>
              </a:cxn>
              <a:cxn ang="0">
                <a:pos x="csX474" y="csY474"/>
              </a:cxn>
              <a:cxn ang="0">
                <a:pos x="csX475" y="csY475"/>
              </a:cxn>
              <a:cxn ang="0">
                <a:pos x="csX476" y="csY476"/>
              </a:cxn>
              <a:cxn ang="0">
                <a:pos x="csX477" y="csY477"/>
              </a:cxn>
              <a:cxn ang="0">
                <a:pos x="csX478" y="csY478"/>
              </a:cxn>
              <a:cxn ang="0">
                <a:pos x="csX479" y="csY479"/>
              </a:cxn>
              <a:cxn ang="0">
                <a:pos x="csX480" y="csY480"/>
              </a:cxn>
              <a:cxn ang="0">
                <a:pos x="csX481" y="csY481"/>
              </a:cxn>
              <a:cxn ang="0">
                <a:pos x="csX482" y="csY482"/>
              </a:cxn>
              <a:cxn ang="0">
                <a:pos x="csX483" y="csY483"/>
              </a:cxn>
              <a:cxn ang="0">
                <a:pos x="csX484" y="csY484"/>
              </a:cxn>
              <a:cxn ang="0">
                <a:pos x="csX485" y="csY485"/>
              </a:cxn>
              <a:cxn ang="0">
                <a:pos x="csX486" y="csY486"/>
              </a:cxn>
              <a:cxn ang="0">
                <a:pos x="csX487" y="csY487"/>
              </a:cxn>
              <a:cxn ang="0">
                <a:pos x="csX488" y="csY488"/>
              </a:cxn>
              <a:cxn ang="0">
                <a:pos x="csX489" y="csY489"/>
              </a:cxn>
              <a:cxn ang="0">
                <a:pos x="csX490" y="csY490"/>
              </a:cxn>
              <a:cxn ang="0">
                <a:pos x="csX491" y="csY491"/>
              </a:cxn>
              <a:cxn ang="0">
                <a:pos x="csX492" y="csY492"/>
              </a:cxn>
              <a:cxn ang="0">
                <a:pos x="csX493" y="csY493"/>
              </a:cxn>
              <a:cxn ang="0">
                <a:pos x="csX494" y="csY494"/>
              </a:cxn>
              <a:cxn ang="0">
                <a:pos x="csX495" y="csY495"/>
              </a:cxn>
              <a:cxn ang="0">
                <a:pos x="csX496" y="csY496"/>
              </a:cxn>
              <a:cxn ang="0">
                <a:pos x="csX497" y="csY497"/>
              </a:cxn>
              <a:cxn ang="0">
                <a:pos x="csX498" y="csY498"/>
              </a:cxn>
              <a:cxn ang="0">
                <a:pos x="csX499" y="csY499"/>
              </a:cxn>
              <a:cxn ang="0">
                <a:pos x="csX500" y="csY500"/>
              </a:cxn>
              <a:cxn ang="0">
                <a:pos x="csX501" y="csY501"/>
              </a:cxn>
              <a:cxn ang="0">
                <a:pos x="csX502" y="csY502"/>
              </a:cxn>
              <a:cxn ang="0">
                <a:pos x="csX503" y="csY503"/>
              </a:cxn>
              <a:cxn ang="0">
                <a:pos x="csX504" y="csY504"/>
              </a:cxn>
              <a:cxn ang="0">
                <a:pos x="csX505" y="csY505"/>
              </a:cxn>
              <a:cxn ang="0">
                <a:pos x="csX506" y="csY506"/>
              </a:cxn>
              <a:cxn ang="0">
                <a:pos x="csX507" y="csY507"/>
              </a:cxn>
              <a:cxn ang="0">
                <a:pos x="csX508" y="csY508"/>
              </a:cxn>
              <a:cxn ang="0">
                <a:pos x="csX509" y="csY509"/>
              </a:cxn>
              <a:cxn ang="0">
                <a:pos x="csX510" y="csY510"/>
              </a:cxn>
              <a:cxn ang="0">
                <a:pos x="csX511" y="csY511"/>
              </a:cxn>
              <a:cxn ang="0">
                <a:pos x="csX512" y="csY512"/>
              </a:cxn>
              <a:cxn ang="0">
                <a:pos x="csX513" y="csY513"/>
              </a:cxn>
              <a:cxn ang="0">
                <a:pos x="csX514" y="csY514"/>
              </a:cxn>
              <a:cxn ang="0">
                <a:pos x="csX515" y="csY515"/>
              </a:cxn>
              <a:cxn ang="0">
                <a:pos x="csX516" y="csY516"/>
              </a:cxn>
              <a:cxn ang="0">
                <a:pos x="csX517" y="csY517"/>
              </a:cxn>
              <a:cxn ang="0">
                <a:pos x="csX518" y="csY518"/>
              </a:cxn>
              <a:cxn ang="0">
                <a:pos x="csX519" y="csY519"/>
              </a:cxn>
              <a:cxn ang="0">
                <a:pos x="csX520" y="csY520"/>
              </a:cxn>
              <a:cxn ang="0">
                <a:pos x="csX521" y="csY521"/>
              </a:cxn>
              <a:cxn ang="0">
                <a:pos x="csX522" y="csY522"/>
              </a:cxn>
              <a:cxn ang="0">
                <a:pos x="csX523" y="csY523"/>
              </a:cxn>
              <a:cxn ang="0">
                <a:pos x="csX524" y="csY524"/>
              </a:cxn>
              <a:cxn ang="0">
                <a:pos x="csX525" y="csY525"/>
              </a:cxn>
              <a:cxn ang="0">
                <a:pos x="csX526" y="csY526"/>
              </a:cxn>
              <a:cxn ang="0">
                <a:pos x="csX527" y="csY527"/>
              </a:cxn>
              <a:cxn ang="0">
                <a:pos x="csX528" y="csY528"/>
              </a:cxn>
              <a:cxn ang="0">
                <a:pos x="csX529" y="csY529"/>
              </a:cxn>
              <a:cxn ang="0">
                <a:pos x="csX530" y="csY530"/>
              </a:cxn>
              <a:cxn ang="0">
                <a:pos x="csX531" y="csY531"/>
              </a:cxn>
              <a:cxn ang="0">
                <a:pos x="csX532" y="csY532"/>
              </a:cxn>
              <a:cxn ang="0">
                <a:pos x="csX533" y="csY533"/>
              </a:cxn>
              <a:cxn ang="0">
                <a:pos x="csX534" y="csY534"/>
              </a:cxn>
              <a:cxn ang="0">
                <a:pos x="csX535" y="csY535"/>
              </a:cxn>
              <a:cxn ang="0">
                <a:pos x="csX536" y="csY536"/>
              </a:cxn>
              <a:cxn ang="0">
                <a:pos x="csX537" y="csY537"/>
              </a:cxn>
              <a:cxn ang="0">
                <a:pos x="csX538" y="csY538"/>
              </a:cxn>
              <a:cxn ang="0">
                <a:pos x="csX539" y="csY539"/>
              </a:cxn>
              <a:cxn ang="0">
                <a:pos x="csX540" y="csY540"/>
              </a:cxn>
              <a:cxn ang="0">
                <a:pos x="csX541" y="csY541"/>
              </a:cxn>
              <a:cxn ang="0">
                <a:pos x="csX542" y="csY542"/>
              </a:cxn>
              <a:cxn ang="0">
                <a:pos x="csX543" y="csY543"/>
              </a:cxn>
              <a:cxn ang="0">
                <a:pos x="csX544" y="csY544"/>
              </a:cxn>
              <a:cxn ang="0">
                <a:pos x="csX545" y="csY545"/>
              </a:cxn>
              <a:cxn ang="0">
                <a:pos x="csX546" y="csY546"/>
              </a:cxn>
              <a:cxn ang="0">
                <a:pos x="csX547" y="csY547"/>
              </a:cxn>
              <a:cxn ang="0">
                <a:pos x="csX548" y="csY548"/>
              </a:cxn>
              <a:cxn ang="0">
                <a:pos x="csX549" y="csY549"/>
              </a:cxn>
              <a:cxn ang="0">
                <a:pos x="csX550" y="csY550"/>
              </a:cxn>
              <a:cxn ang="0">
                <a:pos x="csX551" y="csY551"/>
              </a:cxn>
              <a:cxn ang="0">
                <a:pos x="csX552" y="csY552"/>
              </a:cxn>
              <a:cxn ang="0">
                <a:pos x="csX553" y="csY553"/>
              </a:cxn>
              <a:cxn ang="0">
                <a:pos x="csX554" y="csY554"/>
              </a:cxn>
              <a:cxn ang="0">
                <a:pos x="csX555" y="csY555"/>
              </a:cxn>
              <a:cxn ang="0">
                <a:pos x="csX556" y="csY556"/>
              </a:cxn>
              <a:cxn ang="0">
                <a:pos x="csX557" y="csY557"/>
              </a:cxn>
              <a:cxn ang="0">
                <a:pos x="csX558" y="csY558"/>
              </a:cxn>
              <a:cxn ang="0">
                <a:pos x="csX559" y="csY559"/>
              </a:cxn>
              <a:cxn ang="0">
                <a:pos x="csX560" y="csY560"/>
              </a:cxn>
              <a:cxn ang="0">
                <a:pos x="csX561" y="csY561"/>
              </a:cxn>
              <a:cxn ang="0">
                <a:pos x="csX562" y="csY562"/>
              </a:cxn>
              <a:cxn ang="0">
                <a:pos x="csX563" y="csY563"/>
              </a:cxn>
              <a:cxn ang="0">
                <a:pos x="csX564" y="csY564"/>
              </a:cxn>
              <a:cxn ang="0">
                <a:pos x="csX565" y="csY565"/>
              </a:cxn>
              <a:cxn ang="0">
                <a:pos x="csX566" y="csY566"/>
              </a:cxn>
              <a:cxn ang="0">
                <a:pos x="csX567" y="csY567"/>
              </a:cxn>
              <a:cxn ang="0">
                <a:pos x="csX568" y="csY568"/>
              </a:cxn>
              <a:cxn ang="0">
                <a:pos x="csX569" y="csY569"/>
              </a:cxn>
              <a:cxn ang="0">
                <a:pos x="csX570" y="csY570"/>
              </a:cxn>
              <a:cxn ang="0">
                <a:pos x="csX571" y="csY571"/>
              </a:cxn>
              <a:cxn ang="0">
                <a:pos x="csX572" y="csY572"/>
              </a:cxn>
              <a:cxn ang="0">
                <a:pos x="csX573" y="csY573"/>
              </a:cxn>
              <a:cxn ang="0">
                <a:pos x="csX574" y="csY574"/>
              </a:cxn>
              <a:cxn ang="0">
                <a:pos x="csX575" y="csY575"/>
              </a:cxn>
              <a:cxn ang="0">
                <a:pos x="csX576" y="csY576"/>
              </a:cxn>
              <a:cxn ang="0">
                <a:pos x="csX577" y="csY577"/>
              </a:cxn>
              <a:cxn ang="0">
                <a:pos x="csX578" y="csY578"/>
              </a:cxn>
              <a:cxn ang="0">
                <a:pos x="csX579" y="csY579"/>
              </a:cxn>
              <a:cxn ang="0">
                <a:pos x="csX580" y="csY580"/>
              </a:cxn>
              <a:cxn ang="0">
                <a:pos x="csX581" y="csY581"/>
              </a:cxn>
              <a:cxn ang="0">
                <a:pos x="csX582" y="csY582"/>
              </a:cxn>
              <a:cxn ang="0">
                <a:pos x="csX583" y="csY583"/>
              </a:cxn>
              <a:cxn ang="0">
                <a:pos x="csX584" y="csY584"/>
              </a:cxn>
              <a:cxn ang="0">
                <a:pos x="csX585" y="csY585"/>
              </a:cxn>
              <a:cxn ang="0">
                <a:pos x="csX586" y="csY586"/>
              </a:cxn>
              <a:cxn ang="0">
                <a:pos x="csX587" y="csY587"/>
              </a:cxn>
              <a:cxn ang="0">
                <a:pos x="csX588" y="csY588"/>
              </a:cxn>
              <a:cxn ang="0">
                <a:pos x="csX589" y="csY589"/>
              </a:cxn>
              <a:cxn ang="0">
                <a:pos x="csX590" y="csY590"/>
              </a:cxn>
              <a:cxn ang="0">
                <a:pos x="csX591" y="csY591"/>
              </a:cxn>
              <a:cxn ang="0">
                <a:pos x="csX592" y="csY592"/>
              </a:cxn>
              <a:cxn ang="0">
                <a:pos x="csX593" y="csY593"/>
              </a:cxn>
              <a:cxn ang="0">
                <a:pos x="csX594" y="csY594"/>
              </a:cxn>
              <a:cxn ang="0">
                <a:pos x="csX595" y="csY595"/>
              </a:cxn>
              <a:cxn ang="0">
                <a:pos x="csX596" y="csY596"/>
              </a:cxn>
              <a:cxn ang="0">
                <a:pos x="csX597" y="csY597"/>
              </a:cxn>
              <a:cxn ang="0">
                <a:pos x="csX598" y="csY598"/>
              </a:cxn>
              <a:cxn ang="0">
                <a:pos x="csX599" y="csY599"/>
              </a:cxn>
              <a:cxn ang="0">
                <a:pos x="csX600" y="csY600"/>
              </a:cxn>
              <a:cxn ang="0">
                <a:pos x="csX601" y="csY601"/>
              </a:cxn>
              <a:cxn ang="0">
                <a:pos x="csX602" y="csY602"/>
              </a:cxn>
              <a:cxn ang="0">
                <a:pos x="csX603" y="csY603"/>
              </a:cxn>
              <a:cxn ang="0">
                <a:pos x="csX604" y="csY604"/>
              </a:cxn>
              <a:cxn ang="0">
                <a:pos x="csX605" y="csY605"/>
              </a:cxn>
              <a:cxn ang="0">
                <a:pos x="csX606" y="csY606"/>
              </a:cxn>
              <a:cxn ang="0">
                <a:pos x="csX607" y="csY607"/>
              </a:cxn>
              <a:cxn ang="0">
                <a:pos x="csX608" y="csY608"/>
              </a:cxn>
              <a:cxn ang="0">
                <a:pos x="csX609" y="csY609"/>
              </a:cxn>
              <a:cxn ang="0">
                <a:pos x="csX610" y="csY610"/>
              </a:cxn>
              <a:cxn ang="0">
                <a:pos x="csX611" y="csY611"/>
              </a:cxn>
              <a:cxn ang="0">
                <a:pos x="csX612" y="csY612"/>
              </a:cxn>
              <a:cxn ang="0">
                <a:pos x="csX613" y="csY613"/>
              </a:cxn>
              <a:cxn ang="0">
                <a:pos x="csX614" y="csY614"/>
              </a:cxn>
              <a:cxn ang="0">
                <a:pos x="csX615" y="csY615"/>
              </a:cxn>
              <a:cxn ang="0">
                <a:pos x="csX616" y="csY616"/>
              </a:cxn>
              <a:cxn ang="0">
                <a:pos x="csX617" y="csY617"/>
              </a:cxn>
              <a:cxn ang="0">
                <a:pos x="csX618" y="csY618"/>
              </a:cxn>
              <a:cxn ang="0">
                <a:pos x="csX619" y="csY619"/>
              </a:cxn>
              <a:cxn ang="0">
                <a:pos x="csX620" y="csY620"/>
              </a:cxn>
              <a:cxn ang="0">
                <a:pos x="csX621" y="csY621"/>
              </a:cxn>
              <a:cxn ang="0">
                <a:pos x="csX622" y="csY622"/>
              </a:cxn>
              <a:cxn ang="0">
                <a:pos x="csX623" y="csY623"/>
              </a:cxn>
              <a:cxn ang="0">
                <a:pos x="csX624" y="csY624"/>
              </a:cxn>
              <a:cxn ang="0">
                <a:pos x="csX625" y="csY625"/>
              </a:cxn>
              <a:cxn ang="0">
                <a:pos x="csX626" y="csY626"/>
              </a:cxn>
              <a:cxn ang="0">
                <a:pos x="csX627" y="csY627"/>
              </a:cxn>
              <a:cxn ang="0">
                <a:pos x="csX628" y="csY628"/>
              </a:cxn>
              <a:cxn ang="0">
                <a:pos x="csX629" y="csY629"/>
              </a:cxn>
              <a:cxn ang="0">
                <a:pos x="csX630" y="csY630"/>
              </a:cxn>
              <a:cxn ang="0">
                <a:pos x="csX631" y="csY631"/>
              </a:cxn>
              <a:cxn ang="0">
                <a:pos x="csX632" y="csY632"/>
              </a:cxn>
              <a:cxn ang="0">
                <a:pos x="csX633" y="csY633"/>
              </a:cxn>
              <a:cxn ang="0">
                <a:pos x="csX634" y="csY634"/>
              </a:cxn>
              <a:cxn ang="0">
                <a:pos x="csX635" y="csY635"/>
              </a:cxn>
              <a:cxn ang="0">
                <a:pos x="csX636" y="csY636"/>
              </a:cxn>
              <a:cxn ang="0">
                <a:pos x="csX637" y="csY637"/>
              </a:cxn>
              <a:cxn ang="0">
                <a:pos x="csX638" y="csY638"/>
              </a:cxn>
              <a:cxn ang="0">
                <a:pos x="csX639" y="csY639"/>
              </a:cxn>
              <a:cxn ang="0">
                <a:pos x="csX640" y="csY640"/>
              </a:cxn>
              <a:cxn ang="0">
                <a:pos x="csX641" y="csY641"/>
              </a:cxn>
              <a:cxn ang="0">
                <a:pos x="csX642" y="csY642"/>
              </a:cxn>
              <a:cxn ang="0">
                <a:pos x="csX643" y="csY643"/>
              </a:cxn>
              <a:cxn ang="0">
                <a:pos x="csX644" y="csY644"/>
              </a:cxn>
              <a:cxn ang="0">
                <a:pos x="csX645" y="csY645"/>
              </a:cxn>
              <a:cxn ang="0">
                <a:pos x="csX646" y="csY646"/>
              </a:cxn>
              <a:cxn ang="0">
                <a:pos x="csX647" y="csY647"/>
              </a:cxn>
              <a:cxn ang="0">
                <a:pos x="csX648" y="csY648"/>
              </a:cxn>
              <a:cxn ang="0">
                <a:pos x="csX649" y="csY649"/>
              </a:cxn>
              <a:cxn ang="0">
                <a:pos x="csX650" y="csY650"/>
              </a:cxn>
              <a:cxn ang="0">
                <a:pos x="csX651" y="csY651"/>
              </a:cxn>
              <a:cxn ang="0">
                <a:pos x="csX652" y="csY652"/>
              </a:cxn>
              <a:cxn ang="0">
                <a:pos x="csX653" y="csY653"/>
              </a:cxn>
              <a:cxn ang="0">
                <a:pos x="csX654" y="csY654"/>
              </a:cxn>
              <a:cxn ang="0">
                <a:pos x="csX655" y="csY655"/>
              </a:cxn>
              <a:cxn ang="0">
                <a:pos x="csX656" y="csY656"/>
              </a:cxn>
              <a:cxn ang="0">
                <a:pos x="csX657" y="csY657"/>
              </a:cxn>
              <a:cxn ang="0">
                <a:pos x="csX658" y="csY658"/>
              </a:cxn>
              <a:cxn ang="0">
                <a:pos x="csX659" y="csY659"/>
              </a:cxn>
              <a:cxn ang="0">
                <a:pos x="csX660" y="csY660"/>
              </a:cxn>
              <a:cxn ang="0">
                <a:pos x="csX661" y="csY661"/>
              </a:cxn>
              <a:cxn ang="0">
                <a:pos x="csX662" y="csY662"/>
              </a:cxn>
              <a:cxn ang="0">
                <a:pos x="csX663" y="csY663"/>
              </a:cxn>
              <a:cxn ang="0">
                <a:pos x="csX664" y="csY664"/>
              </a:cxn>
              <a:cxn ang="0">
                <a:pos x="csX665" y="csY665"/>
              </a:cxn>
              <a:cxn ang="0">
                <a:pos x="csX666" y="csY666"/>
              </a:cxn>
              <a:cxn ang="0">
                <a:pos x="csX667" y="csY667"/>
              </a:cxn>
              <a:cxn ang="0">
                <a:pos x="csX668" y="csY668"/>
              </a:cxn>
              <a:cxn ang="0">
                <a:pos x="csX669" y="csY669"/>
              </a:cxn>
              <a:cxn ang="0">
                <a:pos x="csX670" y="csY670"/>
              </a:cxn>
              <a:cxn ang="0">
                <a:pos x="csX671" y="csY671"/>
              </a:cxn>
              <a:cxn ang="0">
                <a:pos x="csX672" y="csY672"/>
              </a:cxn>
              <a:cxn ang="0">
                <a:pos x="csX673" y="csY673"/>
              </a:cxn>
              <a:cxn ang="0">
                <a:pos x="csX674" y="csY674"/>
              </a:cxn>
              <a:cxn ang="0">
                <a:pos x="csX675" y="csY675"/>
              </a:cxn>
              <a:cxn ang="0">
                <a:pos x="csX676" y="csY676"/>
              </a:cxn>
              <a:cxn ang="0">
                <a:pos x="csX677" y="csY677"/>
              </a:cxn>
              <a:cxn ang="0">
                <a:pos x="csX678" y="csY678"/>
              </a:cxn>
              <a:cxn ang="0">
                <a:pos x="csX679" y="csY679"/>
              </a:cxn>
              <a:cxn ang="0">
                <a:pos x="csX680" y="csY680"/>
              </a:cxn>
              <a:cxn ang="0">
                <a:pos x="csX681" y="csY681"/>
              </a:cxn>
              <a:cxn ang="0">
                <a:pos x="csX682" y="csY682"/>
              </a:cxn>
              <a:cxn ang="0">
                <a:pos x="csX683" y="csY683"/>
              </a:cxn>
              <a:cxn ang="0">
                <a:pos x="csX684" y="csY684"/>
              </a:cxn>
              <a:cxn ang="0">
                <a:pos x="csX685" y="csY685"/>
              </a:cxn>
              <a:cxn ang="0">
                <a:pos x="csX686" y="csY686"/>
              </a:cxn>
              <a:cxn ang="0">
                <a:pos x="csX687" y="csY687"/>
              </a:cxn>
              <a:cxn ang="0">
                <a:pos x="csX688" y="csY688"/>
              </a:cxn>
              <a:cxn ang="0">
                <a:pos x="csX689" y="csY689"/>
              </a:cxn>
              <a:cxn ang="0">
                <a:pos x="csX690" y="csY690"/>
              </a:cxn>
              <a:cxn ang="0">
                <a:pos x="csX691" y="csY691"/>
              </a:cxn>
              <a:cxn ang="0">
                <a:pos x="csX692" y="csY692"/>
              </a:cxn>
              <a:cxn ang="0">
                <a:pos x="csX693" y="csY693"/>
              </a:cxn>
              <a:cxn ang="0">
                <a:pos x="csX694" y="csY694"/>
              </a:cxn>
              <a:cxn ang="0">
                <a:pos x="csX695" y="csY695"/>
              </a:cxn>
              <a:cxn ang="0">
                <a:pos x="csX696" y="csY696"/>
              </a:cxn>
              <a:cxn ang="0">
                <a:pos x="csX697" y="csY697"/>
              </a:cxn>
              <a:cxn ang="0">
                <a:pos x="csX698" y="csY698"/>
              </a:cxn>
              <a:cxn ang="0">
                <a:pos x="csX699" y="csY699"/>
              </a:cxn>
              <a:cxn ang="0">
                <a:pos x="csX700" y="csY700"/>
              </a:cxn>
              <a:cxn ang="0">
                <a:pos x="csX701" y="csY701"/>
              </a:cxn>
              <a:cxn ang="0">
                <a:pos x="csX702" y="csY702"/>
              </a:cxn>
              <a:cxn ang="0">
                <a:pos x="csX703" y="csY703"/>
              </a:cxn>
              <a:cxn ang="0">
                <a:pos x="csX704" y="csY704"/>
              </a:cxn>
              <a:cxn ang="0">
                <a:pos x="csX705" y="csY705"/>
              </a:cxn>
              <a:cxn ang="0">
                <a:pos x="csX706" y="csY706"/>
              </a:cxn>
              <a:cxn ang="0">
                <a:pos x="csX707" y="csY707"/>
              </a:cxn>
              <a:cxn ang="0">
                <a:pos x="csX708" y="csY708"/>
              </a:cxn>
              <a:cxn ang="0">
                <a:pos x="csX709" y="csY709"/>
              </a:cxn>
              <a:cxn ang="0">
                <a:pos x="csX710" y="csY710"/>
              </a:cxn>
              <a:cxn ang="0">
                <a:pos x="csX711" y="csY711"/>
              </a:cxn>
              <a:cxn ang="0">
                <a:pos x="csX712" y="csY712"/>
              </a:cxn>
              <a:cxn ang="0">
                <a:pos x="csX713" y="csY713"/>
              </a:cxn>
              <a:cxn ang="0">
                <a:pos x="csX714" y="csY714"/>
              </a:cxn>
              <a:cxn ang="0">
                <a:pos x="csX715" y="csY715"/>
              </a:cxn>
              <a:cxn ang="0">
                <a:pos x="csX716" y="csY716"/>
              </a:cxn>
              <a:cxn ang="0">
                <a:pos x="csX717" y="csY717"/>
              </a:cxn>
              <a:cxn ang="0">
                <a:pos x="csX718" y="csY718"/>
              </a:cxn>
              <a:cxn ang="0">
                <a:pos x="csX719" y="csY719"/>
              </a:cxn>
              <a:cxn ang="0">
                <a:pos x="csX720" y="csY720"/>
              </a:cxn>
              <a:cxn ang="0">
                <a:pos x="csX721" y="csY721"/>
              </a:cxn>
              <a:cxn ang="0">
                <a:pos x="csX722" y="csY722"/>
              </a:cxn>
              <a:cxn ang="0">
                <a:pos x="csX723" y="csY723"/>
              </a:cxn>
              <a:cxn ang="0">
                <a:pos x="csX724" y="csY724"/>
              </a:cxn>
              <a:cxn ang="0">
                <a:pos x="csX725" y="csY725"/>
              </a:cxn>
              <a:cxn ang="0">
                <a:pos x="csX726" y="csY726"/>
              </a:cxn>
              <a:cxn ang="0">
                <a:pos x="csX727" y="csY727"/>
              </a:cxn>
              <a:cxn ang="0">
                <a:pos x="csX728" y="csY728"/>
              </a:cxn>
              <a:cxn ang="0">
                <a:pos x="csX729" y="csY729"/>
              </a:cxn>
              <a:cxn ang="0">
                <a:pos x="csX730" y="csY730"/>
              </a:cxn>
              <a:cxn ang="0">
                <a:pos x="csX731" y="csY731"/>
              </a:cxn>
              <a:cxn ang="0">
                <a:pos x="csX732" y="csY732"/>
              </a:cxn>
              <a:cxn ang="0">
                <a:pos x="csX733" y="csY733"/>
              </a:cxn>
              <a:cxn ang="0">
                <a:pos x="csX734" y="csY734"/>
              </a:cxn>
              <a:cxn ang="0">
                <a:pos x="csX735" y="csY735"/>
              </a:cxn>
              <a:cxn ang="0">
                <a:pos x="csX736" y="csY736"/>
              </a:cxn>
              <a:cxn ang="0">
                <a:pos x="csX737" y="csY737"/>
              </a:cxn>
              <a:cxn ang="0">
                <a:pos x="csX738" y="csY738"/>
              </a:cxn>
              <a:cxn ang="0">
                <a:pos x="csX739" y="csY739"/>
              </a:cxn>
              <a:cxn ang="0">
                <a:pos x="csX740" y="csY740"/>
              </a:cxn>
              <a:cxn ang="0">
                <a:pos x="csX741" y="csY741"/>
              </a:cxn>
              <a:cxn ang="0">
                <a:pos x="csX742" y="csY742"/>
              </a:cxn>
              <a:cxn ang="0">
                <a:pos x="csX743" y="csY743"/>
              </a:cxn>
              <a:cxn ang="0">
                <a:pos x="csX744" y="csY744"/>
              </a:cxn>
              <a:cxn ang="0">
                <a:pos x="csX745" y="csY745"/>
              </a:cxn>
              <a:cxn ang="0">
                <a:pos x="csX746" y="csY746"/>
              </a:cxn>
              <a:cxn ang="0">
                <a:pos x="csX747" y="csY747"/>
              </a:cxn>
              <a:cxn ang="0">
                <a:pos x="csX748" y="csY748"/>
              </a:cxn>
              <a:cxn ang="0">
                <a:pos x="csX749" y="csY749"/>
              </a:cxn>
              <a:cxn ang="0">
                <a:pos x="csX750" y="csY750"/>
              </a:cxn>
              <a:cxn ang="0">
                <a:pos x="csX751" y="csY751"/>
              </a:cxn>
              <a:cxn ang="0">
                <a:pos x="csX752" y="csY752"/>
              </a:cxn>
              <a:cxn ang="0">
                <a:pos x="csX753" y="csY753"/>
              </a:cxn>
              <a:cxn ang="0">
                <a:pos x="csX754" y="csY754"/>
              </a:cxn>
              <a:cxn ang="0">
                <a:pos x="csX755" y="csY755"/>
              </a:cxn>
              <a:cxn ang="0">
                <a:pos x="csX756" y="csY756"/>
              </a:cxn>
              <a:cxn ang="0">
                <a:pos x="csX757" y="csY757"/>
              </a:cxn>
              <a:cxn ang="0">
                <a:pos x="csX758" y="csY758"/>
              </a:cxn>
              <a:cxn ang="0">
                <a:pos x="csX759" y="csY759"/>
              </a:cxn>
              <a:cxn ang="0">
                <a:pos x="csX760" y="csY760"/>
              </a:cxn>
              <a:cxn ang="0">
                <a:pos x="csX761" y="csY761"/>
              </a:cxn>
              <a:cxn ang="0">
                <a:pos x="csX762" y="csY762"/>
              </a:cxn>
              <a:cxn ang="0">
                <a:pos x="csX763" y="csY763"/>
              </a:cxn>
              <a:cxn ang="0">
                <a:pos x="csX764" y="csY764"/>
              </a:cxn>
              <a:cxn ang="0">
                <a:pos x="csX765" y="csY765"/>
              </a:cxn>
              <a:cxn ang="0">
                <a:pos x="csX766" y="csY766"/>
              </a:cxn>
              <a:cxn ang="0">
                <a:pos x="csX767" y="csY767"/>
              </a:cxn>
              <a:cxn ang="0">
                <a:pos x="csX768" y="csY768"/>
              </a:cxn>
              <a:cxn ang="0">
                <a:pos x="csX769" y="csY769"/>
              </a:cxn>
              <a:cxn ang="0">
                <a:pos x="csX770" y="csY770"/>
              </a:cxn>
              <a:cxn ang="0">
                <a:pos x="csX771" y="csY771"/>
              </a:cxn>
              <a:cxn ang="0">
                <a:pos x="csX772" y="csY772"/>
              </a:cxn>
              <a:cxn ang="0">
                <a:pos x="csX773" y="csY773"/>
              </a:cxn>
              <a:cxn ang="0">
                <a:pos x="csX774" y="csY774"/>
              </a:cxn>
              <a:cxn ang="0">
                <a:pos x="csX775" y="csY775"/>
              </a:cxn>
              <a:cxn ang="0">
                <a:pos x="csX776" y="csY776"/>
              </a:cxn>
              <a:cxn ang="0">
                <a:pos x="csX777" y="csY777"/>
              </a:cxn>
              <a:cxn ang="0">
                <a:pos x="csX778" y="csY778"/>
              </a:cxn>
              <a:cxn ang="0">
                <a:pos x="csX779" y="csY779"/>
              </a:cxn>
              <a:cxn ang="0">
                <a:pos x="csX780" y="csY780"/>
              </a:cxn>
              <a:cxn ang="0">
                <a:pos x="csX781" y="csY781"/>
              </a:cxn>
              <a:cxn ang="0">
                <a:pos x="csX782" y="csY782"/>
              </a:cxn>
              <a:cxn ang="0">
                <a:pos x="csX783" y="csY783"/>
              </a:cxn>
              <a:cxn ang="0">
                <a:pos x="csX784" y="csY784"/>
              </a:cxn>
              <a:cxn ang="0">
                <a:pos x="csX785" y="csY785"/>
              </a:cxn>
              <a:cxn ang="0">
                <a:pos x="csX786" y="csY786"/>
              </a:cxn>
              <a:cxn ang="0">
                <a:pos x="csX787" y="csY787"/>
              </a:cxn>
              <a:cxn ang="0">
                <a:pos x="csX788" y="csY788"/>
              </a:cxn>
              <a:cxn ang="0">
                <a:pos x="csX789" y="csY789"/>
              </a:cxn>
              <a:cxn ang="0">
                <a:pos x="csX790" y="csY790"/>
              </a:cxn>
              <a:cxn ang="0">
                <a:pos x="csX791" y="csY791"/>
              </a:cxn>
              <a:cxn ang="0">
                <a:pos x="csX792" y="csY792"/>
              </a:cxn>
              <a:cxn ang="0">
                <a:pos x="csX793" y="csY793"/>
              </a:cxn>
              <a:cxn ang="0">
                <a:pos x="csX794" y="csY794"/>
              </a:cxn>
              <a:cxn ang="0">
                <a:pos x="csX795" y="csY795"/>
              </a:cxn>
              <a:cxn ang="0">
                <a:pos x="csX796" y="csY796"/>
              </a:cxn>
              <a:cxn ang="0">
                <a:pos x="csX797" y="csY797"/>
              </a:cxn>
              <a:cxn ang="0">
                <a:pos x="csX798" y="csY798"/>
              </a:cxn>
              <a:cxn ang="0">
                <a:pos x="csX799" y="csY799"/>
              </a:cxn>
              <a:cxn ang="0">
                <a:pos x="csX800" y="csY800"/>
              </a:cxn>
              <a:cxn ang="0">
                <a:pos x="csX801" y="csY801"/>
              </a:cxn>
              <a:cxn ang="0">
                <a:pos x="csX802" y="csY802"/>
              </a:cxn>
              <a:cxn ang="0">
                <a:pos x="csX803" y="csY803"/>
              </a:cxn>
              <a:cxn ang="0">
                <a:pos x="csX804" y="csY804"/>
              </a:cxn>
              <a:cxn ang="0">
                <a:pos x="csX805" y="csY805"/>
              </a:cxn>
              <a:cxn ang="0">
                <a:pos x="csX806" y="csY806"/>
              </a:cxn>
              <a:cxn ang="0">
                <a:pos x="csX807" y="csY807"/>
              </a:cxn>
              <a:cxn ang="0">
                <a:pos x="csX808" y="csY808"/>
              </a:cxn>
              <a:cxn ang="0">
                <a:pos x="csX809" y="csY809"/>
              </a:cxn>
              <a:cxn ang="0">
                <a:pos x="csX810" y="csY810"/>
              </a:cxn>
              <a:cxn ang="0">
                <a:pos x="csX811" y="csY811"/>
              </a:cxn>
              <a:cxn ang="0">
                <a:pos x="csX812" y="csY812"/>
              </a:cxn>
              <a:cxn ang="0">
                <a:pos x="csX813" y="csY813"/>
              </a:cxn>
              <a:cxn ang="0">
                <a:pos x="csX814" y="csY814"/>
              </a:cxn>
              <a:cxn ang="0">
                <a:pos x="csX815" y="csY815"/>
              </a:cxn>
              <a:cxn ang="0">
                <a:pos x="csX816" y="csY816"/>
              </a:cxn>
              <a:cxn ang="0">
                <a:pos x="csX817" y="csY817"/>
              </a:cxn>
              <a:cxn ang="0">
                <a:pos x="csX818" y="csY818"/>
              </a:cxn>
              <a:cxn ang="0">
                <a:pos x="csX819" y="csY819"/>
              </a:cxn>
              <a:cxn ang="0">
                <a:pos x="csX820" y="csY820"/>
              </a:cxn>
              <a:cxn ang="0">
                <a:pos x="csX821" y="csY821"/>
              </a:cxn>
              <a:cxn ang="0">
                <a:pos x="csX822" y="csY822"/>
              </a:cxn>
              <a:cxn ang="0">
                <a:pos x="csX823" y="csY823"/>
              </a:cxn>
              <a:cxn ang="0">
                <a:pos x="csX824" y="csY824"/>
              </a:cxn>
              <a:cxn ang="0">
                <a:pos x="csX825" y="csY825"/>
              </a:cxn>
              <a:cxn ang="0">
                <a:pos x="csX826" y="csY826"/>
              </a:cxn>
              <a:cxn ang="0">
                <a:pos x="csX827" y="csY827"/>
              </a:cxn>
              <a:cxn ang="0">
                <a:pos x="csX828" y="csY828"/>
              </a:cxn>
              <a:cxn ang="0">
                <a:pos x="csX829" y="csY829"/>
              </a:cxn>
              <a:cxn ang="0">
                <a:pos x="csX830" y="csY830"/>
              </a:cxn>
              <a:cxn ang="0">
                <a:pos x="csX831" y="csY831"/>
              </a:cxn>
              <a:cxn ang="0">
                <a:pos x="csX832" y="csY832"/>
              </a:cxn>
              <a:cxn ang="0">
                <a:pos x="csX833" y="csY833"/>
              </a:cxn>
              <a:cxn ang="0">
                <a:pos x="csX834" y="csY834"/>
              </a:cxn>
              <a:cxn ang="0">
                <a:pos x="csX835" y="csY835"/>
              </a:cxn>
              <a:cxn ang="0">
                <a:pos x="csX836" y="csY836"/>
              </a:cxn>
              <a:cxn ang="0">
                <a:pos x="csX837" y="csY837"/>
              </a:cxn>
              <a:cxn ang="0">
                <a:pos x="csX838" y="csY838"/>
              </a:cxn>
              <a:cxn ang="0">
                <a:pos x="csX839" y="csY839"/>
              </a:cxn>
              <a:cxn ang="0">
                <a:pos x="csX840" y="csY840"/>
              </a:cxn>
              <a:cxn ang="0">
                <a:pos x="csX841" y="csY841"/>
              </a:cxn>
              <a:cxn ang="0">
                <a:pos x="csX842" y="csY842"/>
              </a:cxn>
              <a:cxn ang="0">
                <a:pos x="csX843" y="csY843"/>
              </a:cxn>
              <a:cxn ang="0">
                <a:pos x="csX844" y="csY844"/>
              </a:cxn>
              <a:cxn ang="0">
                <a:pos x="csX845" y="csY845"/>
              </a:cxn>
              <a:cxn ang="0">
                <a:pos x="csX846" y="csY846"/>
              </a:cxn>
              <a:cxn ang="0">
                <a:pos x="csX847" y="csY847"/>
              </a:cxn>
              <a:cxn ang="0">
                <a:pos x="csX848" y="csY848"/>
              </a:cxn>
              <a:cxn ang="0">
                <a:pos x="csX849" y="csY849"/>
              </a:cxn>
              <a:cxn ang="0">
                <a:pos x="csX850" y="csY850"/>
              </a:cxn>
              <a:cxn ang="0">
                <a:pos x="csX851" y="csY851"/>
              </a:cxn>
              <a:cxn ang="0">
                <a:pos x="csX852" y="csY852"/>
              </a:cxn>
              <a:cxn ang="0">
                <a:pos x="csX853" y="csY853"/>
              </a:cxn>
              <a:cxn ang="0">
                <a:pos x="csX854" y="csY854"/>
              </a:cxn>
              <a:cxn ang="0">
                <a:pos x="csX855" y="csY855"/>
              </a:cxn>
              <a:cxn ang="0">
                <a:pos x="csX856" y="csY856"/>
              </a:cxn>
              <a:cxn ang="0">
                <a:pos x="csX857" y="csY857"/>
              </a:cxn>
              <a:cxn ang="0">
                <a:pos x="csX858" y="csY858"/>
              </a:cxn>
              <a:cxn ang="0">
                <a:pos x="csX859" y="csY859"/>
              </a:cxn>
              <a:cxn ang="0">
                <a:pos x="csX860" y="csY860"/>
              </a:cxn>
              <a:cxn ang="0">
                <a:pos x="csX861" y="csY861"/>
              </a:cxn>
              <a:cxn ang="0">
                <a:pos x="csX862" y="csY862"/>
              </a:cxn>
              <a:cxn ang="0">
                <a:pos x="csX863" y="csY863"/>
              </a:cxn>
              <a:cxn ang="0">
                <a:pos x="csX864" y="csY864"/>
              </a:cxn>
              <a:cxn ang="0">
                <a:pos x="csX865" y="csY865"/>
              </a:cxn>
              <a:cxn ang="0">
                <a:pos x="csX866" y="csY866"/>
              </a:cxn>
              <a:cxn ang="0">
                <a:pos x="csX867" y="csY867"/>
              </a:cxn>
              <a:cxn ang="0">
                <a:pos x="csX868" y="csY868"/>
              </a:cxn>
              <a:cxn ang="0">
                <a:pos x="csX869" y="csY869"/>
              </a:cxn>
              <a:cxn ang="0">
                <a:pos x="csX870" y="csY870"/>
              </a:cxn>
              <a:cxn ang="0">
                <a:pos x="csX871" y="csY871"/>
              </a:cxn>
              <a:cxn ang="0">
                <a:pos x="csX872" y="csY872"/>
              </a:cxn>
              <a:cxn ang="0">
                <a:pos x="csX873" y="csY873"/>
              </a:cxn>
              <a:cxn ang="0">
                <a:pos x="csX874" y="csY874"/>
              </a:cxn>
              <a:cxn ang="0">
                <a:pos x="csX875" y="csY875"/>
              </a:cxn>
              <a:cxn ang="0">
                <a:pos x="csX876" y="csY876"/>
              </a:cxn>
              <a:cxn ang="0">
                <a:pos x="csX877" y="csY877"/>
              </a:cxn>
              <a:cxn ang="0">
                <a:pos x="csX878" y="csY878"/>
              </a:cxn>
              <a:cxn ang="0">
                <a:pos x="csX879" y="csY879"/>
              </a:cxn>
              <a:cxn ang="0">
                <a:pos x="csX880" y="csY880"/>
              </a:cxn>
              <a:cxn ang="0">
                <a:pos x="csX881" y="csY881"/>
              </a:cxn>
              <a:cxn ang="0">
                <a:pos x="csX882" y="csY882"/>
              </a:cxn>
              <a:cxn ang="0">
                <a:pos x="csX883" y="csY883"/>
              </a:cxn>
              <a:cxn ang="0">
                <a:pos x="csX884" y="csY884"/>
              </a:cxn>
              <a:cxn ang="0">
                <a:pos x="csX885" y="csY885"/>
              </a:cxn>
              <a:cxn ang="0">
                <a:pos x="csX886" y="csY886"/>
              </a:cxn>
              <a:cxn ang="0">
                <a:pos x="csX887" y="csY887"/>
              </a:cxn>
              <a:cxn ang="0">
                <a:pos x="csX888" y="csY888"/>
              </a:cxn>
              <a:cxn ang="0">
                <a:pos x="csX889" y="csY889"/>
              </a:cxn>
              <a:cxn ang="0">
                <a:pos x="csX890" y="csY890"/>
              </a:cxn>
              <a:cxn ang="0">
                <a:pos x="csX891" y="csY891"/>
              </a:cxn>
              <a:cxn ang="0">
                <a:pos x="csX892" y="csY892"/>
              </a:cxn>
              <a:cxn ang="0">
                <a:pos x="csX893" y="csY893"/>
              </a:cxn>
              <a:cxn ang="0">
                <a:pos x="csX894" y="csY894"/>
              </a:cxn>
              <a:cxn ang="0">
                <a:pos x="csX895" y="csY895"/>
              </a:cxn>
              <a:cxn ang="0">
                <a:pos x="csX896" y="csY896"/>
              </a:cxn>
              <a:cxn ang="0">
                <a:pos x="csX897" y="csY897"/>
              </a:cxn>
              <a:cxn ang="0">
                <a:pos x="csX898" y="csY898"/>
              </a:cxn>
              <a:cxn ang="0">
                <a:pos x="csX899" y="csY899"/>
              </a:cxn>
              <a:cxn ang="0">
                <a:pos x="csX900" y="csY900"/>
              </a:cxn>
              <a:cxn ang="0">
                <a:pos x="csX901" y="csY901"/>
              </a:cxn>
              <a:cxn ang="0">
                <a:pos x="csX902" y="csY902"/>
              </a:cxn>
              <a:cxn ang="0">
                <a:pos x="csX903" y="csY903"/>
              </a:cxn>
              <a:cxn ang="0">
                <a:pos x="csX904" y="csY904"/>
              </a:cxn>
              <a:cxn ang="0">
                <a:pos x="csX905" y="csY905"/>
              </a:cxn>
              <a:cxn ang="0">
                <a:pos x="csX906" y="csY906"/>
              </a:cxn>
              <a:cxn ang="0">
                <a:pos x="csX907" y="csY907"/>
              </a:cxn>
              <a:cxn ang="0">
                <a:pos x="csX908" y="csY908"/>
              </a:cxn>
              <a:cxn ang="0">
                <a:pos x="csX909" y="csY909"/>
              </a:cxn>
              <a:cxn ang="0">
                <a:pos x="csX910" y="csY910"/>
              </a:cxn>
              <a:cxn ang="0">
                <a:pos x="csX911" y="csY911"/>
              </a:cxn>
              <a:cxn ang="0">
                <a:pos x="csX912" y="csY912"/>
              </a:cxn>
              <a:cxn ang="0">
                <a:pos x="csX913" y="csY913"/>
              </a:cxn>
              <a:cxn ang="0">
                <a:pos x="csX914" y="csY914"/>
              </a:cxn>
              <a:cxn ang="0">
                <a:pos x="csX915" y="csY915"/>
              </a:cxn>
              <a:cxn ang="0">
                <a:pos x="csX916" y="csY916"/>
              </a:cxn>
              <a:cxn ang="0">
                <a:pos x="csX917" y="csY917"/>
              </a:cxn>
              <a:cxn ang="0">
                <a:pos x="csX918" y="csY918"/>
              </a:cxn>
              <a:cxn ang="0">
                <a:pos x="csX919" y="csY919"/>
              </a:cxn>
              <a:cxn ang="0">
                <a:pos x="csX920" y="csY920"/>
              </a:cxn>
              <a:cxn ang="0">
                <a:pos x="csX921" y="csY921"/>
              </a:cxn>
              <a:cxn ang="0">
                <a:pos x="csX922" y="csY922"/>
              </a:cxn>
              <a:cxn ang="0">
                <a:pos x="csX923" y="csY923"/>
              </a:cxn>
              <a:cxn ang="0">
                <a:pos x="csX924" y="csY924"/>
              </a:cxn>
              <a:cxn ang="0">
                <a:pos x="csX925" y="csY925"/>
              </a:cxn>
              <a:cxn ang="0">
                <a:pos x="csX926" y="csY926"/>
              </a:cxn>
              <a:cxn ang="0">
                <a:pos x="csX927" y="csY927"/>
              </a:cxn>
              <a:cxn ang="0">
                <a:pos x="csX928" y="csY928"/>
              </a:cxn>
              <a:cxn ang="0">
                <a:pos x="csX929" y="csY929"/>
              </a:cxn>
              <a:cxn ang="0">
                <a:pos x="csX930" y="csY930"/>
              </a:cxn>
              <a:cxn ang="0">
                <a:pos x="csX931" y="csY931"/>
              </a:cxn>
              <a:cxn ang="0">
                <a:pos x="csX932" y="csY932"/>
              </a:cxn>
              <a:cxn ang="0">
                <a:pos x="csX933" y="csY933"/>
              </a:cxn>
              <a:cxn ang="0">
                <a:pos x="csX934" y="csY934"/>
              </a:cxn>
              <a:cxn ang="0">
                <a:pos x="csX935" y="csY935"/>
              </a:cxn>
              <a:cxn ang="0">
                <a:pos x="csX936" y="csY936"/>
              </a:cxn>
              <a:cxn ang="0">
                <a:pos x="csX937" y="csY937"/>
              </a:cxn>
              <a:cxn ang="0">
                <a:pos x="csX938" y="csY938"/>
              </a:cxn>
              <a:cxn ang="0">
                <a:pos x="csX939" y="csY939"/>
              </a:cxn>
              <a:cxn ang="0">
                <a:pos x="csX940" y="csY940"/>
              </a:cxn>
              <a:cxn ang="0">
                <a:pos x="csX941" y="csY941"/>
              </a:cxn>
              <a:cxn ang="0">
                <a:pos x="csX942" y="csY942"/>
              </a:cxn>
              <a:cxn ang="0">
                <a:pos x="csX943" y="csY943"/>
              </a:cxn>
              <a:cxn ang="0">
                <a:pos x="csX944" y="csY944"/>
              </a:cxn>
              <a:cxn ang="0">
                <a:pos x="csX945" y="csY945"/>
              </a:cxn>
              <a:cxn ang="0">
                <a:pos x="csX946" y="csY946"/>
              </a:cxn>
              <a:cxn ang="0">
                <a:pos x="csX947" y="csY947"/>
              </a:cxn>
              <a:cxn ang="0">
                <a:pos x="csX948" y="csY948"/>
              </a:cxn>
              <a:cxn ang="0">
                <a:pos x="csX949" y="csY949"/>
              </a:cxn>
              <a:cxn ang="0">
                <a:pos x="csX950" y="csY950"/>
              </a:cxn>
              <a:cxn ang="0">
                <a:pos x="csX951" y="csY951"/>
              </a:cxn>
              <a:cxn ang="0">
                <a:pos x="csX952" y="csY952"/>
              </a:cxn>
              <a:cxn ang="0">
                <a:pos x="csX953" y="csY953"/>
              </a:cxn>
              <a:cxn ang="0">
                <a:pos x="csX954" y="csY954"/>
              </a:cxn>
              <a:cxn ang="0">
                <a:pos x="csX955" y="csY955"/>
              </a:cxn>
              <a:cxn ang="0">
                <a:pos x="csX956" y="csY956"/>
              </a:cxn>
              <a:cxn ang="0">
                <a:pos x="csX957" y="csY957"/>
              </a:cxn>
              <a:cxn ang="0">
                <a:pos x="csX958" y="csY958"/>
              </a:cxn>
              <a:cxn ang="0">
                <a:pos x="csX959" y="csY959"/>
              </a:cxn>
              <a:cxn ang="0">
                <a:pos x="csX960" y="csY960"/>
              </a:cxn>
              <a:cxn ang="0">
                <a:pos x="csX961" y="csY961"/>
              </a:cxn>
              <a:cxn ang="0">
                <a:pos x="csX962" y="csY962"/>
              </a:cxn>
              <a:cxn ang="0">
                <a:pos x="csX963" y="csY963"/>
              </a:cxn>
              <a:cxn ang="0">
                <a:pos x="csX964" y="csY964"/>
              </a:cxn>
              <a:cxn ang="0">
                <a:pos x="csX965" y="csY965"/>
              </a:cxn>
              <a:cxn ang="0">
                <a:pos x="csX966" y="csY966"/>
              </a:cxn>
              <a:cxn ang="0">
                <a:pos x="csX967" y="csY967"/>
              </a:cxn>
              <a:cxn ang="0">
                <a:pos x="csX968" y="csY968"/>
              </a:cxn>
              <a:cxn ang="0">
                <a:pos x="csX969" y="csY969"/>
              </a:cxn>
              <a:cxn ang="0">
                <a:pos x="csX970" y="csY970"/>
              </a:cxn>
              <a:cxn ang="0">
                <a:pos x="csX971" y="csY971"/>
              </a:cxn>
              <a:cxn ang="0">
                <a:pos x="csX972" y="csY972"/>
              </a:cxn>
              <a:cxn ang="0">
                <a:pos x="csX973" y="csY973"/>
              </a:cxn>
              <a:cxn ang="0">
                <a:pos x="csX974" y="csY974"/>
              </a:cxn>
              <a:cxn ang="0">
                <a:pos x="csX975" y="csY975"/>
              </a:cxn>
              <a:cxn ang="0">
                <a:pos x="csX976" y="csY976"/>
              </a:cxn>
              <a:cxn ang="0">
                <a:pos x="csX977" y="csY977"/>
              </a:cxn>
              <a:cxn ang="0">
                <a:pos x="csX978" y="csY978"/>
              </a:cxn>
              <a:cxn ang="0">
                <a:pos x="csX979" y="csY979"/>
              </a:cxn>
              <a:cxn ang="0">
                <a:pos x="csX980" y="csY980"/>
              </a:cxn>
              <a:cxn ang="0">
                <a:pos x="csX981" y="csY981"/>
              </a:cxn>
              <a:cxn ang="0">
                <a:pos x="csX982" y="csY982"/>
              </a:cxn>
              <a:cxn ang="0">
                <a:pos x="csX983" y="csY983"/>
              </a:cxn>
              <a:cxn ang="0">
                <a:pos x="csX984" y="csY984"/>
              </a:cxn>
              <a:cxn ang="0">
                <a:pos x="csX985" y="csY985"/>
              </a:cxn>
              <a:cxn ang="0">
                <a:pos x="csX986" y="csY986"/>
              </a:cxn>
              <a:cxn ang="0">
                <a:pos x="csX987" y="csY987"/>
              </a:cxn>
              <a:cxn ang="0">
                <a:pos x="csX988" y="csY988"/>
              </a:cxn>
              <a:cxn ang="0">
                <a:pos x="csX989" y="csY989"/>
              </a:cxn>
              <a:cxn ang="0">
                <a:pos x="csX990" y="csY990"/>
              </a:cxn>
              <a:cxn ang="0">
                <a:pos x="csX991" y="csY991"/>
              </a:cxn>
              <a:cxn ang="0">
                <a:pos x="csX992" y="csY992"/>
              </a:cxn>
              <a:cxn ang="0">
                <a:pos x="csX993" y="csY993"/>
              </a:cxn>
              <a:cxn ang="0">
                <a:pos x="csX994" y="csY994"/>
              </a:cxn>
              <a:cxn ang="0">
                <a:pos x="csX995" y="csY995"/>
              </a:cxn>
              <a:cxn ang="0">
                <a:pos x="csX996" y="csY996"/>
              </a:cxn>
              <a:cxn ang="0">
                <a:pos x="csX997" y="csY997"/>
              </a:cxn>
              <a:cxn ang="0">
                <a:pos x="csX998" y="csY998"/>
              </a:cxn>
              <a:cxn ang="0">
                <a:pos x="csX999" y="csY999"/>
              </a:cxn>
              <a:cxn ang="0">
                <a:pos x="csX1000" y="csY1000"/>
              </a:cxn>
              <a:cxn ang="0">
                <a:pos x="csX1001" y="csY1001"/>
              </a:cxn>
              <a:cxn ang="0">
                <a:pos x="csX1002" y="csY1002"/>
              </a:cxn>
              <a:cxn ang="0">
                <a:pos x="csX1003" y="csY1003"/>
              </a:cxn>
              <a:cxn ang="0">
                <a:pos x="csX1004" y="csY1004"/>
              </a:cxn>
              <a:cxn ang="0">
                <a:pos x="csX1005" y="csY1005"/>
              </a:cxn>
              <a:cxn ang="0">
                <a:pos x="csX1006" y="csY1006"/>
              </a:cxn>
              <a:cxn ang="0">
                <a:pos x="csX1007" y="csY1007"/>
              </a:cxn>
              <a:cxn ang="0">
                <a:pos x="csX1008" y="csY1008"/>
              </a:cxn>
              <a:cxn ang="0">
                <a:pos x="csX1009" y="csY1009"/>
              </a:cxn>
              <a:cxn ang="0">
                <a:pos x="csX1010" y="csY1010"/>
              </a:cxn>
              <a:cxn ang="0">
                <a:pos x="csX1011" y="csY1011"/>
              </a:cxn>
              <a:cxn ang="0">
                <a:pos x="csX1012" y="csY1012"/>
              </a:cxn>
              <a:cxn ang="0">
                <a:pos x="csX1013" y="csY1013"/>
              </a:cxn>
              <a:cxn ang="0">
                <a:pos x="csX1014" y="csY1014"/>
              </a:cxn>
              <a:cxn ang="0">
                <a:pos x="csX1015" y="csY1015"/>
              </a:cxn>
              <a:cxn ang="0">
                <a:pos x="csX1016" y="csY1016"/>
              </a:cxn>
              <a:cxn ang="0">
                <a:pos x="csX1017" y="csY1017"/>
              </a:cxn>
              <a:cxn ang="0">
                <a:pos x="csX1018" y="csY1018"/>
              </a:cxn>
              <a:cxn ang="0">
                <a:pos x="csX1019" y="csY1019"/>
              </a:cxn>
              <a:cxn ang="0">
                <a:pos x="csX1020" y="csY1020"/>
              </a:cxn>
              <a:cxn ang="0">
                <a:pos x="csX1021" y="csY1021"/>
              </a:cxn>
              <a:cxn ang="0">
                <a:pos x="csX1022" y="csY1022"/>
              </a:cxn>
              <a:cxn ang="0">
                <a:pos x="csX1023" y="csY1023"/>
              </a:cxn>
              <a:cxn ang="0">
                <a:pos x="csX1024" y="csY1024"/>
              </a:cxn>
              <a:cxn ang="0">
                <a:pos x="csX1025" y="csY1025"/>
              </a:cxn>
              <a:cxn ang="0">
                <a:pos x="csX1026" y="csY1026"/>
              </a:cxn>
              <a:cxn ang="0">
                <a:pos x="csX1027" y="csY1027"/>
              </a:cxn>
              <a:cxn ang="0">
                <a:pos x="csX1028" y="csY1028"/>
              </a:cxn>
              <a:cxn ang="0">
                <a:pos x="csX1029" y="csY1029"/>
              </a:cxn>
              <a:cxn ang="0">
                <a:pos x="csX1030" y="csY1030"/>
              </a:cxn>
              <a:cxn ang="0">
                <a:pos x="csX1031" y="csY1031"/>
              </a:cxn>
              <a:cxn ang="0">
                <a:pos x="csX1032" y="csY1032"/>
              </a:cxn>
              <a:cxn ang="0">
                <a:pos x="csX1033" y="csY1033"/>
              </a:cxn>
              <a:cxn ang="0">
                <a:pos x="csX1034" y="csY1034"/>
              </a:cxn>
              <a:cxn ang="0">
                <a:pos x="csX1035" y="csY1035"/>
              </a:cxn>
              <a:cxn ang="0">
                <a:pos x="csX1036" y="csY1036"/>
              </a:cxn>
              <a:cxn ang="0">
                <a:pos x="csX1037" y="csY1037"/>
              </a:cxn>
              <a:cxn ang="0">
                <a:pos x="csX1038" y="csY1038"/>
              </a:cxn>
              <a:cxn ang="0">
                <a:pos x="csX1039" y="csY1039"/>
              </a:cxn>
              <a:cxn ang="0">
                <a:pos x="csX1040" y="csY1040"/>
              </a:cxn>
              <a:cxn ang="0">
                <a:pos x="csX1041" y="csY1041"/>
              </a:cxn>
              <a:cxn ang="0">
                <a:pos x="csX1042" y="csY1042"/>
              </a:cxn>
              <a:cxn ang="0">
                <a:pos x="csX1043" y="csY1043"/>
              </a:cxn>
              <a:cxn ang="0">
                <a:pos x="csX1044" y="csY1044"/>
              </a:cxn>
              <a:cxn ang="0">
                <a:pos x="csX1045" y="csY1045"/>
              </a:cxn>
              <a:cxn ang="0">
                <a:pos x="csX1046" y="csY1046"/>
              </a:cxn>
              <a:cxn ang="0">
                <a:pos x="csX1047" y="csY1047"/>
              </a:cxn>
              <a:cxn ang="0">
                <a:pos x="csX1048" y="csY1048"/>
              </a:cxn>
              <a:cxn ang="0">
                <a:pos x="csX1049" y="csY1049"/>
              </a:cxn>
              <a:cxn ang="0">
                <a:pos x="csX1050" y="csY1050"/>
              </a:cxn>
              <a:cxn ang="0">
                <a:pos x="csX1051" y="csY1051"/>
              </a:cxn>
              <a:cxn ang="0">
                <a:pos x="csX1052" y="csY1052"/>
              </a:cxn>
              <a:cxn ang="0">
                <a:pos x="csX1053" y="csY1053"/>
              </a:cxn>
              <a:cxn ang="0">
                <a:pos x="csX1054" y="csY1054"/>
              </a:cxn>
            </a:cxnLst>
            <a:rect l="l" t="t" r="r" b="b"/>
            <a:pathLst>
              <a:path w="1609516" h="1538630">
                <a:moveTo>
                  <a:pt x="401579" y="1495809"/>
                </a:moveTo>
                <a:lnTo>
                  <a:pt x="400190" y="1496004"/>
                </a:lnTo>
                <a:lnTo>
                  <a:pt x="401224" y="1496470"/>
                </a:lnTo>
                <a:lnTo>
                  <a:pt x="401224" y="1498590"/>
                </a:lnTo>
                <a:lnTo>
                  <a:pt x="401579" y="1498628"/>
                </a:lnTo>
                <a:cubicBezTo>
                  <a:pt x="401579" y="1497698"/>
                  <a:pt x="401579" y="1496768"/>
                  <a:pt x="401579" y="1495809"/>
                </a:cubicBezTo>
                <a:close/>
                <a:moveTo>
                  <a:pt x="368755" y="1486512"/>
                </a:moveTo>
                <a:lnTo>
                  <a:pt x="364089" y="1487354"/>
                </a:lnTo>
                <a:lnTo>
                  <a:pt x="364089" y="1487908"/>
                </a:lnTo>
                <a:close/>
                <a:moveTo>
                  <a:pt x="1049801" y="1484562"/>
                </a:moveTo>
                <a:lnTo>
                  <a:pt x="1046735" y="1485945"/>
                </a:lnTo>
                <a:lnTo>
                  <a:pt x="1046955" y="1486045"/>
                </a:lnTo>
                <a:lnTo>
                  <a:pt x="1049801" y="1485188"/>
                </a:lnTo>
                <a:close/>
                <a:moveTo>
                  <a:pt x="351234" y="1444508"/>
                </a:moveTo>
                <a:lnTo>
                  <a:pt x="351234" y="1444997"/>
                </a:lnTo>
                <a:lnTo>
                  <a:pt x="351592" y="1445078"/>
                </a:lnTo>
                <a:close/>
                <a:moveTo>
                  <a:pt x="351908" y="1431206"/>
                </a:moveTo>
                <a:lnTo>
                  <a:pt x="351234" y="1431611"/>
                </a:lnTo>
                <a:lnTo>
                  <a:pt x="351234" y="1432274"/>
                </a:lnTo>
                <a:close/>
                <a:moveTo>
                  <a:pt x="358162" y="1421494"/>
                </a:moveTo>
                <a:lnTo>
                  <a:pt x="355921" y="1423156"/>
                </a:lnTo>
                <a:lnTo>
                  <a:pt x="355921" y="1423548"/>
                </a:lnTo>
                <a:close/>
                <a:moveTo>
                  <a:pt x="376098" y="1408347"/>
                </a:moveTo>
                <a:lnTo>
                  <a:pt x="370750" y="1412245"/>
                </a:lnTo>
                <a:lnTo>
                  <a:pt x="375023" y="1411256"/>
                </a:lnTo>
                <a:close/>
                <a:moveTo>
                  <a:pt x="421956" y="1365623"/>
                </a:moveTo>
                <a:lnTo>
                  <a:pt x="421765" y="1366161"/>
                </a:lnTo>
                <a:lnTo>
                  <a:pt x="421887" y="1366161"/>
                </a:lnTo>
                <a:close/>
                <a:moveTo>
                  <a:pt x="754553" y="1360575"/>
                </a:moveTo>
                <a:lnTo>
                  <a:pt x="754089" y="1361433"/>
                </a:lnTo>
                <a:lnTo>
                  <a:pt x="754431" y="1361125"/>
                </a:lnTo>
                <a:close/>
                <a:moveTo>
                  <a:pt x="1277973" y="1332923"/>
                </a:moveTo>
                <a:lnTo>
                  <a:pt x="1277944" y="1332936"/>
                </a:lnTo>
                <a:lnTo>
                  <a:pt x="1277949" y="1333139"/>
                </a:lnTo>
                <a:close/>
                <a:moveTo>
                  <a:pt x="1268556" y="1321066"/>
                </a:moveTo>
                <a:cubicBezTo>
                  <a:pt x="1268556" y="1322461"/>
                  <a:pt x="1268556" y="1323856"/>
                  <a:pt x="1268556" y="1325294"/>
                </a:cubicBezTo>
                <a:cubicBezTo>
                  <a:pt x="1267525" y="1325294"/>
                  <a:pt x="1266495" y="1325294"/>
                  <a:pt x="1265432" y="1325294"/>
                </a:cubicBezTo>
                <a:cubicBezTo>
                  <a:pt x="1265432" y="1330409"/>
                  <a:pt x="1265432" y="1335525"/>
                  <a:pt x="1265432" y="1340795"/>
                </a:cubicBezTo>
                <a:lnTo>
                  <a:pt x="1265476" y="1340714"/>
                </a:lnTo>
                <a:lnTo>
                  <a:pt x="1265476" y="1325877"/>
                </a:lnTo>
                <a:cubicBezTo>
                  <a:pt x="1266507" y="1325877"/>
                  <a:pt x="1267538" y="1325877"/>
                  <a:pt x="1268600" y="1325877"/>
                </a:cubicBezTo>
                <a:cubicBezTo>
                  <a:pt x="1268600" y="1324482"/>
                  <a:pt x="1268600" y="1323086"/>
                  <a:pt x="1268600" y="1321649"/>
                </a:cubicBezTo>
                <a:cubicBezTo>
                  <a:pt x="1270147" y="1321649"/>
                  <a:pt x="1271693" y="1321649"/>
                  <a:pt x="1273286" y="1321649"/>
                </a:cubicBezTo>
                <a:lnTo>
                  <a:pt x="1273227" y="1321066"/>
                </a:lnTo>
                <a:close/>
                <a:moveTo>
                  <a:pt x="827891" y="1291474"/>
                </a:moveTo>
                <a:lnTo>
                  <a:pt x="822601" y="1291544"/>
                </a:lnTo>
                <a:lnTo>
                  <a:pt x="818272" y="1292220"/>
                </a:lnTo>
                <a:lnTo>
                  <a:pt x="827891" y="1292047"/>
                </a:lnTo>
                <a:close/>
                <a:moveTo>
                  <a:pt x="856397" y="1288691"/>
                </a:moveTo>
                <a:lnTo>
                  <a:pt x="865903" y="1290590"/>
                </a:lnTo>
                <a:lnTo>
                  <a:pt x="859999" y="1288752"/>
                </a:lnTo>
                <a:close/>
                <a:moveTo>
                  <a:pt x="834694" y="1288572"/>
                </a:moveTo>
                <a:lnTo>
                  <a:pt x="828038" y="1288654"/>
                </a:lnTo>
                <a:lnTo>
                  <a:pt x="828038" y="1289214"/>
                </a:lnTo>
                <a:close/>
                <a:moveTo>
                  <a:pt x="229746" y="1191418"/>
                </a:moveTo>
                <a:lnTo>
                  <a:pt x="227402" y="1191947"/>
                </a:lnTo>
                <a:lnTo>
                  <a:pt x="229315" y="1191947"/>
                </a:lnTo>
                <a:cubicBezTo>
                  <a:pt x="229315" y="1192877"/>
                  <a:pt x="229315" y="1193807"/>
                  <a:pt x="229315" y="1194765"/>
                </a:cubicBezTo>
                <a:lnTo>
                  <a:pt x="231321" y="1194765"/>
                </a:lnTo>
                <a:lnTo>
                  <a:pt x="229746" y="1194236"/>
                </a:lnTo>
                <a:cubicBezTo>
                  <a:pt x="229746" y="1193306"/>
                  <a:pt x="229746" y="1192376"/>
                  <a:pt x="229746" y="1191418"/>
                </a:cubicBezTo>
                <a:close/>
                <a:moveTo>
                  <a:pt x="215687" y="1187190"/>
                </a:moveTo>
                <a:lnTo>
                  <a:pt x="215198" y="1187720"/>
                </a:lnTo>
                <a:lnTo>
                  <a:pt x="215256" y="1187720"/>
                </a:lnTo>
                <a:cubicBezTo>
                  <a:pt x="215256" y="1189115"/>
                  <a:pt x="215256" y="1190510"/>
                  <a:pt x="215256" y="1191947"/>
                </a:cubicBezTo>
                <a:lnTo>
                  <a:pt x="222721" y="1191947"/>
                </a:lnTo>
                <a:lnTo>
                  <a:pt x="215687" y="1191418"/>
                </a:lnTo>
                <a:cubicBezTo>
                  <a:pt x="215687" y="1190023"/>
                  <a:pt x="215687" y="1188628"/>
                  <a:pt x="215687" y="1187190"/>
                </a:cubicBezTo>
                <a:close/>
                <a:moveTo>
                  <a:pt x="1279678" y="1082356"/>
                </a:moveTo>
                <a:lnTo>
                  <a:pt x="1271680" y="1084589"/>
                </a:lnTo>
                <a:lnTo>
                  <a:pt x="1282181" y="1082544"/>
                </a:lnTo>
                <a:close/>
                <a:moveTo>
                  <a:pt x="117703" y="941507"/>
                </a:moveTo>
                <a:lnTo>
                  <a:pt x="112587" y="941985"/>
                </a:lnTo>
                <a:lnTo>
                  <a:pt x="112565" y="942333"/>
                </a:lnTo>
                <a:lnTo>
                  <a:pt x="115665" y="941837"/>
                </a:lnTo>
                <a:close/>
                <a:moveTo>
                  <a:pt x="144268" y="939395"/>
                </a:moveTo>
                <a:lnTo>
                  <a:pt x="143354" y="939580"/>
                </a:lnTo>
                <a:lnTo>
                  <a:pt x="144077" y="939739"/>
                </a:lnTo>
                <a:close/>
                <a:moveTo>
                  <a:pt x="162575" y="933530"/>
                </a:moveTo>
                <a:lnTo>
                  <a:pt x="161704" y="935101"/>
                </a:lnTo>
                <a:lnTo>
                  <a:pt x="170045" y="933585"/>
                </a:lnTo>
                <a:close/>
                <a:moveTo>
                  <a:pt x="1321645" y="918415"/>
                </a:moveTo>
                <a:lnTo>
                  <a:pt x="1321534" y="920177"/>
                </a:lnTo>
                <a:lnTo>
                  <a:pt x="1321740" y="918415"/>
                </a:lnTo>
                <a:close/>
                <a:moveTo>
                  <a:pt x="1319333" y="915183"/>
                </a:moveTo>
                <a:lnTo>
                  <a:pt x="1318544" y="918029"/>
                </a:lnTo>
                <a:lnTo>
                  <a:pt x="1318702" y="918029"/>
                </a:lnTo>
                <a:close/>
                <a:moveTo>
                  <a:pt x="1326355" y="907109"/>
                </a:moveTo>
                <a:lnTo>
                  <a:pt x="1326355" y="910983"/>
                </a:lnTo>
                <a:lnTo>
                  <a:pt x="1325831" y="911101"/>
                </a:lnTo>
                <a:lnTo>
                  <a:pt x="1326426" y="911369"/>
                </a:lnTo>
                <a:cubicBezTo>
                  <a:pt x="1326426" y="909974"/>
                  <a:pt x="1326426" y="908579"/>
                  <a:pt x="1326426" y="907141"/>
                </a:cubicBezTo>
                <a:close/>
                <a:moveTo>
                  <a:pt x="1328144" y="892192"/>
                </a:moveTo>
                <a:lnTo>
                  <a:pt x="1327667" y="893446"/>
                </a:lnTo>
                <a:lnTo>
                  <a:pt x="1327989" y="893049"/>
                </a:lnTo>
                <a:close/>
                <a:moveTo>
                  <a:pt x="49605" y="887420"/>
                </a:moveTo>
                <a:lnTo>
                  <a:pt x="48549" y="891229"/>
                </a:lnTo>
                <a:lnTo>
                  <a:pt x="49956" y="887420"/>
                </a:lnTo>
                <a:close/>
                <a:moveTo>
                  <a:pt x="1332266" y="883369"/>
                </a:moveTo>
                <a:lnTo>
                  <a:pt x="1329479" y="884207"/>
                </a:lnTo>
                <a:lnTo>
                  <a:pt x="1329509" y="884816"/>
                </a:lnTo>
                <a:lnTo>
                  <a:pt x="1329551" y="884594"/>
                </a:lnTo>
                <a:close/>
                <a:moveTo>
                  <a:pt x="1555987" y="821766"/>
                </a:moveTo>
                <a:lnTo>
                  <a:pt x="1555987" y="822201"/>
                </a:lnTo>
                <a:lnTo>
                  <a:pt x="1556081" y="822189"/>
                </a:lnTo>
                <a:close/>
                <a:moveTo>
                  <a:pt x="1565360" y="810928"/>
                </a:moveTo>
                <a:lnTo>
                  <a:pt x="1564871" y="811809"/>
                </a:lnTo>
                <a:lnTo>
                  <a:pt x="1567314" y="810928"/>
                </a:lnTo>
                <a:close/>
                <a:moveTo>
                  <a:pt x="1563797" y="810928"/>
                </a:moveTo>
                <a:lnTo>
                  <a:pt x="1556762" y="814736"/>
                </a:lnTo>
                <a:lnTo>
                  <a:pt x="1563797" y="812197"/>
                </a:lnTo>
                <a:close/>
                <a:moveTo>
                  <a:pt x="265833" y="806020"/>
                </a:moveTo>
                <a:lnTo>
                  <a:pt x="263704" y="809861"/>
                </a:lnTo>
                <a:lnTo>
                  <a:pt x="263704" y="816750"/>
                </a:lnTo>
                <a:lnTo>
                  <a:pt x="264113" y="816565"/>
                </a:lnTo>
                <a:cubicBezTo>
                  <a:pt x="264048" y="815315"/>
                  <a:pt x="263984" y="814065"/>
                  <a:pt x="263918" y="812777"/>
                </a:cubicBezTo>
                <a:close/>
                <a:moveTo>
                  <a:pt x="263774" y="779374"/>
                </a:moveTo>
                <a:lnTo>
                  <a:pt x="263704" y="783086"/>
                </a:lnTo>
                <a:cubicBezTo>
                  <a:pt x="263961" y="783987"/>
                  <a:pt x="264219" y="784888"/>
                  <a:pt x="264484" y="785816"/>
                </a:cubicBezTo>
                <a:cubicBezTo>
                  <a:pt x="265299" y="788846"/>
                  <a:pt x="265316" y="791337"/>
                  <a:pt x="265265" y="794448"/>
                </a:cubicBezTo>
                <a:cubicBezTo>
                  <a:pt x="265103" y="797155"/>
                  <a:pt x="265022" y="798508"/>
                  <a:pt x="265217" y="799730"/>
                </a:cubicBezTo>
                <a:lnTo>
                  <a:pt x="266556" y="803466"/>
                </a:lnTo>
                <a:lnTo>
                  <a:pt x="267237" y="801063"/>
                </a:lnTo>
                <a:cubicBezTo>
                  <a:pt x="266721" y="800598"/>
                  <a:pt x="266206" y="800133"/>
                  <a:pt x="265675" y="799654"/>
                </a:cubicBezTo>
                <a:cubicBezTo>
                  <a:pt x="265601" y="797718"/>
                  <a:pt x="265617" y="795778"/>
                  <a:pt x="265675" y="793841"/>
                </a:cubicBezTo>
                <a:close/>
                <a:moveTo>
                  <a:pt x="260988" y="770061"/>
                </a:moveTo>
                <a:lnTo>
                  <a:pt x="260988" y="771364"/>
                </a:lnTo>
                <a:lnTo>
                  <a:pt x="263497" y="777263"/>
                </a:lnTo>
                <a:lnTo>
                  <a:pt x="262551" y="770061"/>
                </a:lnTo>
                <a:cubicBezTo>
                  <a:pt x="262035" y="770061"/>
                  <a:pt x="261520" y="770061"/>
                  <a:pt x="260988" y="770061"/>
                </a:cubicBezTo>
                <a:close/>
                <a:moveTo>
                  <a:pt x="157888" y="651686"/>
                </a:moveTo>
                <a:lnTo>
                  <a:pt x="157415" y="651764"/>
                </a:lnTo>
                <a:lnTo>
                  <a:pt x="160373" y="652274"/>
                </a:lnTo>
                <a:close/>
                <a:moveTo>
                  <a:pt x="267237" y="426537"/>
                </a:moveTo>
                <a:lnTo>
                  <a:pt x="267237" y="427619"/>
                </a:lnTo>
                <a:cubicBezTo>
                  <a:pt x="268274" y="427791"/>
                  <a:pt x="269311" y="427961"/>
                  <a:pt x="270380" y="428137"/>
                </a:cubicBezTo>
                <a:lnTo>
                  <a:pt x="273548" y="428680"/>
                </a:lnTo>
                <a:close/>
                <a:moveTo>
                  <a:pt x="37605" y="359270"/>
                </a:moveTo>
                <a:lnTo>
                  <a:pt x="37103" y="361533"/>
                </a:lnTo>
                <a:lnTo>
                  <a:pt x="37605" y="361382"/>
                </a:lnTo>
                <a:close/>
                <a:moveTo>
                  <a:pt x="52477" y="337570"/>
                </a:moveTo>
                <a:lnTo>
                  <a:pt x="47288" y="342340"/>
                </a:lnTo>
                <a:lnTo>
                  <a:pt x="45805" y="345093"/>
                </a:lnTo>
                <a:close/>
                <a:moveTo>
                  <a:pt x="104291" y="336166"/>
                </a:moveTo>
                <a:lnTo>
                  <a:pt x="103776" y="337559"/>
                </a:lnTo>
                <a:lnTo>
                  <a:pt x="108925" y="336166"/>
                </a:lnTo>
                <a:close/>
                <a:moveTo>
                  <a:pt x="1309237" y="322954"/>
                </a:moveTo>
                <a:lnTo>
                  <a:pt x="1309180" y="330559"/>
                </a:lnTo>
                <a:lnTo>
                  <a:pt x="1309237" y="330520"/>
                </a:lnTo>
                <a:close/>
                <a:moveTo>
                  <a:pt x="1308964" y="317715"/>
                </a:moveTo>
                <a:lnTo>
                  <a:pt x="1309237" y="318569"/>
                </a:lnTo>
                <a:lnTo>
                  <a:pt x="1309237" y="317838"/>
                </a:lnTo>
                <a:close/>
                <a:moveTo>
                  <a:pt x="1310087" y="313153"/>
                </a:moveTo>
                <a:lnTo>
                  <a:pt x="1307609" y="313473"/>
                </a:lnTo>
                <a:lnTo>
                  <a:pt x="1308045" y="314836"/>
                </a:lnTo>
                <a:close/>
                <a:moveTo>
                  <a:pt x="1318544" y="312064"/>
                </a:moveTo>
                <a:lnTo>
                  <a:pt x="1316298" y="312353"/>
                </a:lnTo>
                <a:lnTo>
                  <a:pt x="1318544" y="312205"/>
                </a:lnTo>
                <a:close/>
                <a:moveTo>
                  <a:pt x="1084622" y="267674"/>
                </a:moveTo>
                <a:lnTo>
                  <a:pt x="1084227" y="268378"/>
                </a:lnTo>
                <a:cubicBezTo>
                  <a:pt x="1082679" y="268378"/>
                  <a:pt x="1081133" y="268378"/>
                  <a:pt x="1079540" y="268378"/>
                </a:cubicBezTo>
                <a:lnTo>
                  <a:pt x="1079603" y="268477"/>
                </a:lnTo>
                <a:lnTo>
                  <a:pt x="1084192" y="268477"/>
                </a:lnTo>
                <a:close/>
                <a:moveTo>
                  <a:pt x="956410" y="266968"/>
                </a:moveTo>
                <a:lnTo>
                  <a:pt x="957576" y="267083"/>
                </a:lnTo>
                <a:lnTo>
                  <a:pt x="957576" y="269776"/>
                </a:lnTo>
                <a:lnTo>
                  <a:pt x="957694" y="269787"/>
                </a:lnTo>
                <a:cubicBezTo>
                  <a:pt x="957694" y="268857"/>
                  <a:pt x="957694" y="267927"/>
                  <a:pt x="957694" y="266968"/>
                </a:cubicBezTo>
                <a:close/>
                <a:moveTo>
                  <a:pt x="1089372" y="259220"/>
                </a:moveTo>
                <a:lnTo>
                  <a:pt x="1085856" y="265479"/>
                </a:lnTo>
                <a:lnTo>
                  <a:pt x="1088878" y="261431"/>
                </a:lnTo>
                <a:close/>
                <a:moveTo>
                  <a:pt x="1018517" y="223356"/>
                </a:moveTo>
                <a:lnTo>
                  <a:pt x="1013866" y="226190"/>
                </a:lnTo>
                <a:lnTo>
                  <a:pt x="1013024" y="227709"/>
                </a:lnTo>
                <a:lnTo>
                  <a:pt x="1017055" y="224692"/>
                </a:lnTo>
                <a:close/>
                <a:moveTo>
                  <a:pt x="850645" y="220099"/>
                </a:moveTo>
                <a:lnTo>
                  <a:pt x="850897" y="221488"/>
                </a:lnTo>
                <a:cubicBezTo>
                  <a:pt x="851086" y="222545"/>
                  <a:pt x="851275" y="223602"/>
                  <a:pt x="851470" y="224692"/>
                </a:cubicBezTo>
                <a:lnTo>
                  <a:pt x="852860" y="224692"/>
                </a:lnTo>
                <a:close/>
                <a:moveTo>
                  <a:pt x="1155019" y="35"/>
                </a:moveTo>
                <a:cubicBezTo>
                  <a:pt x="1161775" y="275"/>
                  <a:pt x="1168415" y="1783"/>
                  <a:pt x="1174829" y="4853"/>
                </a:cubicBezTo>
                <a:cubicBezTo>
                  <a:pt x="1176343" y="5231"/>
                  <a:pt x="1177858" y="5609"/>
                  <a:pt x="1179418" y="5998"/>
                </a:cubicBezTo>
                <a:cubicBezTo>
                  <a:pt x="1189392" y="9487"/>
                  <a:pt x="1196322" y="14392"/>
                  <a:pt x="1201385" y="22997"/>
                </a:cubicBezTo>
                <a:cubicBezTo>
                  <a:pt x="1206849" y="35244"/>
                  <a:pt x="1206940" y="49865"/>
                  <a:pt x="1201678" y="62191"/>
                </a:cubicBezTo>
                <a:cubicBezTo>
                  <a:pt x="1200594" y="64241"/>
                  <a:pt x="1199461" y="66271"/>
                  <a:pt x="1198261" y="68268"/>
                </a:cubicBezTo>
                <a:cubicBezTo>
                  <a:pt x="1197423" y="69721"/>
                  <a:pt x="1196586" y="71175"/>
                  <a:pt x="1195723" y="72672"/>
                </a:cubicBezTo>
                <a:cubicBezTo>
                  <a:pt x="1194659" y="73980"/>
                  <a:pt x="1194659" y="73980"/>
                  <a:pt x="1193575" y="75314"/>
                </a:cubicBezTo>
                <a:cubicBezTo>
                  <a:pt x="1192544" y="75314"/>
                  <a:pt x="1191512" y="75314"/>
                  <a:pt x="1190450" y="75314"/>
                </a:cubicBezTo>
                <a:cubicBezTo>
                  <a:pt x="1190128" y="76651"/>
                  <a:pt x="1189806" y="77988"/>
                  <a:pt x="1189474" y="79366"/>
                </a:cubicBezTo>
                <a:cubicBezTo>
                  <a:pt x="1187326" y="83769"/>
                  <a:pt x="1187326" y="83769"/>
                  <a:pt x="1182445" y="85707"/>
                </a:cubicBezTo>
                <a:cubicBezTo>
                  <a:pt x="1180962" y="85998"/>
                  <a:pt x="1179480" y="86289"/>
                  <a:pt x="1177953" y="86588"/>
                </a:cubicBezTo>
                <a:cubicBezTo>
                  <a:pt x="1177953" y="87518"/>
                  <a:pt x="1177953" y="88448"/>
                  <a:pt x="1177953" y="89406"/>
                </a:cubicBezTo>
                <a:cubicBezTo>
                  <a:pt x="1175369" y="91088"/>
                  <a:pt x="1172720" y="92688"/>
                  <a:pt x="1170045" y="94251"/>
                </a:cubicBezTo>
                <a:cubicBezTo>
                  <a:pt x="1154651" y="104199"/>
                  <a:pt x="1148918" y="116979"/>
                  <a:pt x="1143806" y="132828"/>
                </a:cubicBezTo>
                <a:cubicBezTo>
                  <a:pt x="1142095" y="137144"/>
                  <a:pt x="1140989" y="138617"/>
                  <a:pt x="1137338" y="141548"/>
                </a:cubicBezTo>
                <a:cubicBezTo>
                  <a:pt x="1136166" y="144148"/>
                  <a:pt x="1134992" y="146751"/>
                  <a:pt x="1133970" y="149403"/>
                </a:cubicBezTo>
                <a:cubicBezTo>
                  <a:pt x="1132069" y="154334"/>
                  <a:pt x="1130006" y="159210"/>
                  <a:pt x="1127965" y="164095"/>
                </a:cubicBezTo>
                <a:cubicBezTo>
                  <a:pt x="1126897" y="166664"/>
                  <a:pt x="1125830" y="169233"/>
                  <a:pt x="1124762" y="171802"/>
                </a:cubicBezTo>
                <a:cubicBezTo>
                  <a:pt x="1122961" y="176134"/>
                  <a:pt x="1121160" y="180466"/>
                  <a:pt x="1119359" y="184798"/>
                </a:cubicBezTo>
                <a:cubicBezTo>
                  <a:pt x="1116567" y="191508"/>
                  <a:pt x="1113778" y="198220"/>
                  <a:pt x="1111014" y="204941"/>
                </a:cubicBezTo>
                <a:cubicBezTo>
                  <a:pt x="1110590" y="205970"/>
                  <a:pt x="1110165" y="206999"/>
                  <a:pt x="1109729" y="208059"/>
                </a:cubicBezTo>
                <a:cubicBezTo>
                  <a:pt x="1108615" y="210762"/>
                  <a:pt x="1107505" y="213466"/>
                  <a:pt x="1106395" y="216170"/>
                </a:cubicBezTo>
                <a:cubicBezTo>
                  <a:pt x="1104320" y="220956"/>
                  <a:pt x="1103283" y="223349"/>
                  <a:pt x="1102147" y="224810"/>
                </a:cubicBezTo>
                <a:lnTo>
                  <a:pt x="1098261" y="227262"/>
                </a:lnTo>
                <a:lnTo>
                  <a:pt x="1098367" y="238475"/>
                </a:lnTo>
                <a:cubicBezTo>
                  <a:pt x="1098025" y="239757"/>
                  <a:pt x="1097684" y="241038"/>
                  <a:pt x="1097331" y="242358"/>
                </a:cubicBezTo>
                <a:cubicBezTo>
                  <a:pt x="1096958" y="243711"/>
                  <a:pt x="1096585" y="245064"/>
                  <a:pt x="1096201" y="246458"/>
                </a:cubicBezTo>
                <a:cubicBezTo>
                  <a:pt x="1093302" y="257363"/>
                  <a:pt x="1090901" y="268062"/>
                  <a:pt x="1089440" y="279206"/>
                </a:cubicBezTo>
                <a:cubicBezTo>
                  <a:pt x="1088878" y="282569"/>
                  <a:pt x="1088878" y="282569"/>
                  <a:pt x="1087316" y="283978"/>
                </a:cubicBezTo>
                <a:cubicBezTo>
                  <a:pt x="1087070" y="286587"/>
                  <a:pt x="1086924" y="289205"/>
                  <a:pt x="1086822" y="291822"/>
                </a:cubicBezTo>
                <a:cubicBezTo>
                  <a:pt x="1086756" y="293408"/>
                  <a:pt x="1086691" y="294993"/>
                  <a:pt x="1086623" y="296625"/>
                </a:cubicBezTo>
                <a:cubicBezTo>
                  <a:pt x="1086562" y="298294"/>
                  <a:pt x="1086501" y="299962"/>
                  <a:pt x="1086437" y="301681"/>
                </a:cubicBezTo>
                <a:cubicBezTo>
                  <a:pt x="1086336" y="304192"/>
                  <a:pt x="1086336" y="304192"/>
                  <a:pt x="1086233" y="306754"/>
                </a:cubicBezTo>
                <a:lnTo>
                  <a:pt x="1086007" y="312619"/>
                </a:lnTo>
                <a:lnTo>
                  <a:pt x="1087470" y="320554"/>
                </a:lnTo>
                <a:cubicBezTo>
                  <a:pt x="1089648" y="325409"/>
                  <a:pt x="1093111" y="329799"/>
                  <a:pt x="1098285" y="334611"/>
                </a:cubicBezTo>
                <a:cubicBezTo>
                  <a:pt x="1100424" y="336130"/>
                  <a:pt x="1100424" y="336130"/>
                  <a:pt x="1102607" y="337679"/>
                </a:cubicBezTo>
                <a:cubicBezTo>
                  <a:pt x="1104334" y="338951"/>
                  <a:pt x="1104334" y="338951"/>
                  <a:pt x="1106095" y="340248"/>
                </a:cubicBezTo>
                <a:cubicBezTo>
                  <a:pt x="1106095" y="341178"/>
                  <a:pt x="1106095" y="342108"/>
                  <a:pt x="1106095" y="343066"/>
                </a:cubicBezTo>
                <a:cubicBezTo>
                  <a:pt x="1107127" y="343183"/>
                  <a:pt x="1108158" y="343299"/>
                  <a:pt x="1109220" y="343419"/>
                </a:cubicBezTo>
                <a:cubicBezTo>
                  <a:pt x="1115473" y="344829"/>
                  <a:pt x="1120724" y="347416"/>
                  <a:pt x="1126403" y="350112"/>
                </a:cubicBezTo>
                <a:cubicBezTo>
                  <a:pt x="1128207" y="350926"/>
                  <a:pt x="1130012" y="351740"/>
                  <a:pt x="1131871" y="352579"/>
                </a:cubicBezTo>
                <a:cubicBezTo>
                  <a:pt x="1133159" y="353160"/>
                  <a:pt x="1134448" y="353741"/>
                  <a:pt x="1135776" y="354340"/>
                </a:cubicBezTo>
                <a:cubicBezTo>
                  <a:pt x="1135776" y="355270"/>
                  <a:pt x="1135776" y="356200"/>
                  <a:pt x="1135776" y="357158"/>
                </a:cubicBezTo>
                <a:cubicBezTo>
                  <a:pt x="1148107" y="360029"/>
                  <a:pt x="1158679" y="359101"/>
                  <a:pt x="1170143" y="354340"/>
                </a:cubicBezTo>
                <a:cubicBezTo>
                  <a:pt x="1172366" y="353468"/>
                  <a:pt x="1172366" y="353468"/>
                  <a:pt x="1174634" y="352579"/>
                </a:cubicBezTo>
                <a:cubicBezTo>
                  <a:pt x="1180354" y="349689"/>
                  <a:pt x="1185568" y="346355"/>
                  <a:pt x="1190890" y="342907"/>
                </a:cubicBezTo>
                <a:cubicBezTo>
                  <a:pt x="1195169" y="340228"/>
                  <a:pt x="1199557" y="337821"/>
                  <a:pt x="1204021" y="335404"/>
                </a:cubicBezTo>
                <a:cubicBezTo>
                  <a:pt x="1211989" y="330886"/>
                  <a:pt x="1217509" y="325766"/>
                  <a:pt x="1223255" y="319110"/>
                </a:cubicBezTo>
                <a:cubicBezTo>
                  <a:pt x="1224447" y="317947"/>
                  <a:pt x="1225639" y="316784"/>
                  <a:pt x="1226868" y="315587"/>
                </a:cubicBezTo>
                <a:cubicBezTo>
                  <a:pt x="1229855" y="311593"/>
                  <a:pt x="1230852" y="308240"/>
                  <a:pt x="1231859" y="303559"/>
                </a:cubicBezTo>
                <a:cubicBezTo>
                  <a:pt x="1232628" y="300790"/>
                  <a:pt x="1232628" y="300790"/>
                  <a:pt x="1234178" y="298059"/>
                </a:cubicBezTo>
                <a:cubicBezTo>
                  <a:pt x="1235964" y="294761"/>
                  <a:pt x="1236623" y="291807"/>
                  <a:pt x="1237314" y="288195"/>
                </a:cubicBezTo>
                <a:cubicBezTo>
                  <a:pt x="1239360" y="278571"/>
                  <a:pt x="1242414" y="272733"/>
                  <a:pt x="1249811" y="265559"/>
                </a:cubicBezTo>
                <a:cubicBezTo>
                  <a:pt x="1250842" y="265559"/>
                  <a:pt x="1251873" y="265559"/>
                  <a:pt x="1252935" y="265559"/>
                </a:cubicBezTo>
                <a:cubicBezTo>
                  <a:pt x="1252935" y="264629"/>
                  <a:pt x="1252935" y="263699"/>
                  <a:pt x="1252935" y="262741"/>
                </a:cubicBezTo>
                <a:cubicBezTo>
                  <a:pt x="1265591" y="253427"/>
                  <a:pt x="1280762" y="251648"/>
                  <a:pt x="1296675" y="252876"/>
                </a:cubicBezTo>
                <a:cubicBezTo>
                  <a:pt x="1300535" y="253563"/>
                  <a:pt x="1303901" y="254478"/>
                  <a:pt x="1307609" y="255695"/>
                </a:cubicBezTo>
                <a:cubicBezTo>
                  <a:pt x="1307609" y="256625"/>
                  <a:pt x="1307609" y="257555"/>
                  <a:pt x="1307609" y="258513"/>
                </a:cubicBezTo>
                <a:cubicBezTo>
                  <a:pt x="1309021" y="258619"/>
                  <a:pt x="1310432" y="258723"/>
                  <a:pt x="1311887" y="258832"/>
                </a:cubicBezTo>
                <a:cubicBezTo>
                  <a:pt x="1319573" y="260476"/>
                  <a:pt x="1322149" y="264416"/>
                  <a:pt x="1326715" y="269969"/>
                </a:cubicBezTo>
                <a:cubicBezTo>
                  <a:pt x="1334402" y="281220"/>
                  <a:pt x="1336114" y="294839"/>
                  <a:pt x="1334165" y="307836"/>
                </a:cubicBezTo>
                <a:cubicBezTo>
                  <a:pt x="1332176" y="311898"/>
                  <a:pt x="1332176" y="311898"/>
                  <a:pt x="1329479" y="314882"/>
                </a:cubicBezTo>
                <a:cubicBezTo>
                  <a:pt x="1327417" y="314882"/>
                  <a:pt x="1325355" y="314882"/>
                  <a:pt x="1323231" y="314882"/>
                </a:cubicBezTo>
                <a:cubicBezTo>
                  <a:pt x="1323231" y="315812"/>
                  <a:pt x="1323231" y="316742"/>
                  <a:pt x="1323231" y="317700"/>
                </a:cubicBezTo>
                <a:lnTo>
                  <a:pt x="1322774" y="317838"/>
                </a:lnTo>
                <a:lnTo>
                  <a:pt x="1323295" y="317838"/>
                </a:lnTo>
                <a:cubicBezTo>
                  <a:pt x="1323295" y="316907"/>
                  <a:pt x="1323295" y="315977"/>
                  <a:pt x="1323295" y="315019"/>
                </a:cubicBezTo>
                <a:cubicBezTo>
                  <a:pt x="1324842" y="315019"/>
                  <a:pt x="1326388" y="315019"/>
                  <a:pt x="1327982" y="315019"/>
                </a:cubicBezTo>
                <a:cubicBezTo>
                  <a:pt x="1325845" y="321328"/>
                  <a:pt x="1322753" y="323742"/>
                  <a:pt x="1317047" y="327702"/>
                </a:cubicBezTo>
                <a:cubicBezTo>
                  <a:pt x="1316531" y="329097"/>
                  <a:pt x="1316016" y="330492"/>
                  <a:pt x="1315484" y="331930"/>
                </a:cubicBezTo>
                <a:cubicBezTo>
                  <a:pt x="1312599" y="332959"/>
                  <a:pt x="1312599" y="332959"/>
                  <a:pt x="1309139" y="333603"/>
                </a:cubicBezTo>
                <a:cubicBezTo>
                  <a:pt x="1307993" y="333827"/>
                  <a:pt x="1306847" y="334050"/>
                  <a:pt x="1305666" y="334280"/>
                </a:cubicBezTo>
                <a:cubicBezTo>
                  <a:pt x="1304783" y="334434"/>
                  <a:pt x="1303899" y="334589"/>
                  <a:pt x="1302988" y="334748"/>
                </a:cubicBezTo>
                <a:lnTo>
                  <a:pt x="1305905" y="332775"/>
                </a:lnTo>
                <a:lnTo>
                  <a:pt x="1304485" y="333202"/>
                </a:lnTo>
                <a:cubicBezTo>
                  <a:pt x="1302987" y="334640"/>
                  <a:pt x="1302987" y="334640"/>
                  <a:pt x="1301459" y="336108"/>
                </a:cubicBezTo>
                <a:cubicBezTo>
                  <a:pt x="1298237" y="338839"/>
                  <a:pt x="1298237" y="338839"/>
                  <a:pt x="1291989" y="338839"/>
                </a:cubicBezTo>
                <a:cubicBezTo>
                  <a:pt x="1291473" y="340234"/>
                  <a:pt x="1290957" y="341629"/>
                  <a:pt x="1290426" y="343066"/>
                </a:cubicBezTo>
                <a:cubicBezTo>
                  <a:pt x="1288879" y="343415"/>
                  <a:pt x="1287333" y="343764"/>
                  <a:pt x="1285740" y="344123"/>
                </a:cubicBezTo>
                <a:cubicBezTo>
                  <a:pt x="1266905" y="348491"/>
                  <a:pt x="1249005" y="369098"/>
                  <a:pt x="1237314" y="382525"/>
                </a:cubicBezTo>
                <a:cubicBezTo>
                  <a:pt x="1235678" y="385783"/>
                  <a:pt x="1234122" y="389075"/>
                  <a:pt x="1232628" y="392389"/>
                </a:cubicBezTo>
                <a:cubicBezTo>
                  <a:pt x="1231317" y="394515"/>
                  <a:pt x="1229981" y="396629"/>
                  <a:pt x="1228625" y="398731"/>
                </a:cubicBezTo>
                <a:cubicBezTo>
                  <a:pt x="1221457" y="410300"/>
                  <a:pt x="1219465" y="421836"/>
                  <a:pt x="1222822" y="434798"/>
                </a:cubicBezTo>
                <a:cubicBezTo>
                  <a:pt x="1229360" y="453710"/>
                  <a:pt x="1244088" y="472467"/>
                  <a:pt x="1260746" y="485398"/>
                </a:cubicBezTo>
                <a:cubicBezTo>
                  <a:pt x="1264961" y="487349"/>
                  <a:pt x="1264961" y="487349"/>
                  <a:pt x="1268556" y="488216"/>
                </a:cubicBezTo>
                <a:cubicBezTo>
                  <a:pt x="1268556" y="489146"/>
                  <a:pt x="1268556" y="490076"/>
                  <a:pt x="1268556" y="491034"/>
                </a:cubicBezTo>
                <a:cubicBezTo>
                  <a:pt x="1288790" y="497071"/>
                  <a:pt x="1319055" y="498555"/>
                  <a:pt x="1338852" y="489625"/>
                </a:cubicBezTo>
                <a:cubicBezTo>
                  <a:pt x="1341711" y="489213"/>
                  <a:pt x="1344575" y="488837"/>
                  <a:pt x="1347444" y="488480"/>
                </a:cubicBezTo>
                <a:cubicBezTo>
                  <a:pt x="1355372" y="487345"/>
                  <a:pt x="1362033" y="485390"/>
                  <a:pt x="1369362" y="482513"/>
                </a:cubicBezTo>
                <a:cubicBezTo>
                  <a:pt x="1375665" y="480318"/>
                  <a:pt x="1382189" y="479322"/>
                  <a:pt x="1388840" y="478351"/>
                </a:cubicBezTo>
                <a:cubicBezTo>
                  <a:pt x="1388840" y="477421"/>
                  <a:pt x="1388840" y="476492"/>
                  <a:pt x="1388840" y="475533"/>
                </a:cubicBezTo>
                <a:cubicBezTo>
                  <a:pt x="1391083" y="474821"/>
                  <a:pt x="1393329" y="474118"/>
                  <a:pt x="1395576" y="473419"/>
                </a:cubicBezTo>
                <a:cubicBezTo>
                  <a:pt x="1396827" y="473027"/>
                  <a:pt x="1398077" y="472635"/>
                  <a:pt x="1399365" y="472230"/>
                </a:cubicBezTo>
                <a:cubicBezTo>
                  <a:pt x="1402899" y="471305"/>
                  <a:pt x="1402899" y="471305"/>
                  <a:pt x="1407585" y="471305"/>
                </a:cubicBezTo>
                <a:cubicBezTo>
                  <a:pt x="1408101" y="469910"/>
                  <a:pt x="1408616" y="468515"/>
                  <a:pt x="1409147" y="467078"/>
                </a:cubicBezTo>
                <a:cubicBezTo>
                  <a:pt x="1412388" y="465580"/>
                  <a:pt x="1412388" y="465580"/>
                  <a:pt x="1416470" y="464259"/>
                </a:cubicBezTo>
                <a:cubicBezTo>
                  <a:pt x="1424029" y="461705"/>
                  <a:pt x="1431130" y="458955"/>
                  <a:pt x="1437949" y="455011"/>
                </a:cubicBezTo>
                <a:cubicBezTo>
                  <a:pt x="1442765" y="452574"/>
                  <a:pt x="1447553" y="451394"/>
                  <a:pt x="1452887" y="450167"/>
                </a:cubicBezTo>
                <a:cubicBezTo>
                  <a:pt x="1452887" y="449237"/>
                  <a:pt x="1452887" y="448307"/>
                  <a:pt x="1452887" y="447349"/>
                </a:cubicBezTo>
                <a:cubicBezTo>
                  <a:pt x="1453714" y="446944"/>
                  <a:pt x="1454541" y="446539"/>
                  <a:pt x="1455394" y="446122"/>
                </a:cubicBezTo>
                <a:cubicBezTo>
                  <a:pt x="1459151" y="444278"/>
                  <a:pt x="1462902" y="442422"/>
                  <a:pt x="1466653" y="440567"/>
                </a:cubicBezTo>
                <a:cubicBezTo>
                  <a:pt x="1467955" y="439930"/>
                  <a:pt x="1469256" y="439293"/>
                  <a:pt x="1470598" y="438637"/>
                </a:cubicBezTo>
                <a:cubicBezTo>
                  <a:pt x="1471852" y="438016"/>
                  <a:pt x="1473105" y="437393"/>
                  <a:pt x="1474397" y="436752"/>
                </a:cubicBezTo>
                <a:cubicBezTo>
                  <a:pt x="1475550" y="436184"/>
                  <a:pt x="1476703" y="435616"/>
                  <a:pt x="1477892" y="435030"/>
                </a:cubicBezTo>
                <a:cubicBezTo>
                  <a:pt x="1480966" y="433279"/>
                  <a:pt x="1483173" y="431373"/>
                  <a:pt x="1485691" y="429029"/>
                </a:cubicBezTo>
                <a:cubicBezTo>
                  <a:pt x="1486737" y="428575"/>
                  <a:pt x="1487781" y="428121"/>
                  <a:pt x="1488858" y="427653"/>
                </a:cubicBezTo>
                <a:cubicBezTo>
                  <a:pt x="1492438" y="425977"/>
                  <a:pt x="1493705" y="424453"/>
                  <a:pt x="1495943" y="421454"/>
                </a:cubicBezTo>
                <a:cubicBezTo>
                  <a:pt x="1507114" y="407544"/>
                  <a:pt x="1519758" y="393513"/>
                  <a:pt x="1538608" y="388338"/>
                </a:cubicBezTo>
                <a:cubicBezTo>
                  <a:pt x="1541025" y="388250"/>
                  <a:pt x="1541025" y="388250"/>
                  <a:pt x="1543490" y="388161"/>
                </a:cubicBezTo>
                <a:cubicBezTo>
                  <a:pt x="1545535" y="387984"/>
                  <a:pt x="1545535" y="387984"/>
                  <a:pt x="1547621" y="387804"/>
                </a:cubicBezTo>
                <a:cubicBezTo>
                  <a:pt x="1560659" y="387094"/>
                  <a:pt x="1568716" y="390117"/>
                  <a:pt x="1579418" y="396617"/>
                </a:cubicBezTo>
                <a:cubicBezTo>
                  <a:pt x="1581361" y="397687"/>
                  <a:pt x="1581361" y="397687"/>
                  <a:pt x="1583342" y="398780"/>
                </a:cubicBezTo>
                <a:cubicBezTo>
                  <a:pt x="1593703" y="405068"/>
                  <a:pt x="1598513" y="412459"/>
                  <a:pt x="1601288" y="423392"/>
                </a:cubicBezTo>
                <a:cubicBezTo>
                  <a:pt x="1603295" y="436596"/>
                  <a:pt x="1603517" y="449033"/>
                  <a:pt x="1594484" y="460159"/>
                </a:cubicBezTo>
                <a:cubicBezTo>
                  <a:pt x="1588468" y="466462"/>
                  <a:pt x="1582607" y="471150"/>
                  <a:pt x="1574732" y="475533"/>
                </a:cubicBezTo>
                <a:cubicBezTo>
                  <a:pt x="1573862" y="476043"/>
                  <a:pt x="1572993" y="476553"/>
                  <a:pt x="1572097" y="477078"/>
                </a:cubicBezTo>
                <a:cubicBezTo>
                  <a:pt x="1566828" y="478935"/>
                  <a:pt x="1561641" y="478744"/>
                  <a:pt x="1556066" y="478737"/>
                </a:cubicBezTo>
                <a:cubicBezTo>
                  <a:pt x="1553587" y="478765"/>
                  <a:pt x="1551109" y="478795"/>
                  <a:pt x="1548631" y="478825"/>
                </a:cubicBezTo>
                <a:cubicBezTo>
                  <a:pt x="1544751" y="478857"/>
                  <a:pt x="1540871" y="478880"/>
                  <a:pt x="1536991" y="478889"/>
                </a:cubicBezTo>
                <a:cubicBezTo>
                  <a:pt x="1516714" y="478693"/>
                  <a:pt x="1516714" y="478693"/>
                  <a:pt x="1498188" y="485398"/>
                </a:cubicBezTo>
                <a:cubicBezTo>
                  <a:pt x="1496062" y="486488"/>
                  <a:pt x="1496062" y="486488"/>
                  <a:pt x="1493892" y="487600"/>
                </a:cubicBezTo>
                <a:cubicBezTo>
                  <a:pt x="1492733" y="488268"/>
                  <a:pt x="1491573" y="488937"/>
                  <a:pt x="1490377" y="489625"/>
                </a:cubicBezTo>
                <a:cubicBezTo>
                  <a:pt x="1484304" y="493012"/>
                  <a:pt x="1478212" y="495675"/>
                  <a:pt x="1471650" y="498185"/>
                </a:cubicBezTo>
                <a:cubicBezTo>
                  <a:pt x="1467148" y="500054"/>
                  <a:pt x="1463242" y="502632"/>
                  <a:pt x="1459135" y="505127"/>
                </a:cubicBezTo>
                <a:cubicBezTo>
                  <a:pt x="1456968" y="506120"/>
                  <a:pt x="1454786" y="507086"/>
                  <a:pt x="1452594" y="508033"/>
                </a:cubicBezTo>
                <a:cubicBezTo>
                  <a:pt x="1444148" y="511772"/>
                  <a:pt x="1435969" y="515903"/>
                  <a:pt x="1427795" y="520100"/>
                </a:cubicBezTo>
                <a:cubicBezTo>
                  <a:pt x="1425784" y="521114"/>
                  <a:pt x="1425784" y="521114"/>
                  <a:pt x="1423733" y="522148"/>
                </a:cubicBezTo>
                <a:cubicBezTo>
                  <a:pt x="1422478" y="522798"/>
                  <a:pt x="1421223" y="523449"/>
                  <a:pt x="1419929" y="524118"/>
                </a:cubicBezTo>
                <a:cubicBezTo>
                  <a:pt x="1418794" y="524701"/>
                  <a:pt x="1417658" y="525283"/>
                  <a:pt x="1416487" y="525883"/>
                </a:cubicBezTo>
                <a:cubicBezTo>
                  <a:pt x="1413349" y="527646"/>
                  <a:pt x="1413349" y="527646"/>
                  <a:pt x="1412271" y="531902"/>
                </a:cubicBezTo>
                <a:cubicBezTo>
                  <a:pt x="1407205" y="535203"/>
                  <a:pt x="1402819" y="536744"/>
                  <a:pt x="1396650" y="537539"/>
                </a:cubicBezTo>
                <a:cubicBezTo>
                  <a:pt x="1396650" y="538469"/>
                  <a:pt x="1396650" y="539399"/>
                  <a:pt x="1396650" y="540357"/>
                </a:cubicBezTo>
                <a:cubicBezTo>
                  <a:pt x="1395609" y="540735"/>
                  <a:pt x="1394568" y="541113"/>
                  <a:pt x="1393495" y="541502"/>
                </a:cubicBezTo>
                <a:cubicBezTo>
                  <a:pt x="1381840" y="545973"/>
                  <a:pt x="1372279" y="551715"/>
                  <a:pt x="1362284" y="558678"/>
                </a:cubicBezTo>
                <a:cubicBezTo>
                  <a:pt x="1360170" y="560088"/>
                  <a:pt x="1358055" y="561497"/>
                  <a:pt x="1355937" y="562905"/>
                </a:cubicBezTo>
                <a:cubicBezTo>
                  <a:pt x="1348556" y="567937"/>
                  <a:pt x="1341292" y="573085"/>
                  <a:pt x="1334165" y="578406"/>
                </a:cubicBezTo>
                <a:cubicBezTo>
                  <a:pt x="1332697" y="579472"/>
                  <a:pt x="1332697" y="579472"/>
                  <a:pt x="1331200" y="580559"/>
                </a:cubicBezTo>
                <a:cubicBezTo>
                  <a:pt x="1325067" y="585430"/>
                  <a:pt x="1323406" y="589771"/>
                  <a:pt x="1322175" y="596793"/>
                </a:cubicBezTo>
                <a:cubicBezTo>
                  <a:pt x="1321669" y="599545"/>
                  <a:pt x="1321669" y="599545"/>
                  <a:pt x="1320106" y="602363"/>
                </a:cubicBezTo>
                <a:cubicBezTo>
                  <a:pt x="1318419" y="618189"/>
                  <a:pt x="1322416" y="632767"/>
                  <a:pt x="1328015" y="647640"/>
                </a:cubicBezTo>
                <a:cubicBezTo>
                  <a:pt x="1331267" y="656625"/>
                  <a:pt x="1333170" y="666179"/>
                  <a:pt x="1332604" y="675643"/>
                </a:cubicBezTo>
                <a:cubicBezTo>
                  <a:pt x="1333634" y="675643"/>
                  <a:pt x="1334665" y="675643"/>
                  <a:pt x="1335727" y="675643"/>
                </a:cubicBezTo>
                <a:cubicBezTo>
                  <a:pt x="1337571" y="680632"/>
                  <a:pt x="1337591" y="684795"/>
                  <a:pt x="1337741" y="690059"/>
                </a:cubicBezTo>
                <a:cubicBezTo>
                  <a:pt x="1337826" y="692114"/>
                  <a:pt x="1337913" y="694168"/>
                  <a:pt x="1338003" y="696222"/>
                </a:cubicBezTo>
                <a:cubicBezTo>
                  <a:pt x="1338142" y="699444"/>
                  <a:pt x="1338266" y="702664"/>
                  <a:pt x="1338340" y="705887"/>
                </a:cubicBezTo>
                <a:cubicBezTo>
                  <a:pt x="1338372" y="720474"/>
                  <a:pt x="1338372" y="720474"/>
                  <a:pt x="1345277" y="733245"/>
                </a:cubicBezTo>
                <a:cubicBezTo>
                  <a:pt x="1350822" y="737861"/>
                  <a:pt x="1355921" y="739823"/>
                  <a:pt x="1363162" y="741612"/>
                </a:cubicBezTo>
                <a:cubicBezTo>
                  <a:pt x="1370672" y="743533"/>
                  <a:pt x="1377197" y="745750"/>
                  <a:pt x="1384154" y="748922"/>
                </a:cubicBezTo>
                <a:cubicBezTo>
                  <a:pt x="1387833" y="749898"/>
                  <a:pt x="1387833" y="749898"/>
                  <a:pt x="1391476" y="750419"/>
                </a:cubicBezTo>
                <a:cubicBezTo>
                  <a:pt x="1393499" y="750747"/>
                  <a:pt x="1393499" y="750747"/>
                  <a:pt x="1395564" y="751080"/>
                </a:cubicBezTo>
                <a:cubicBezTo>
                  <a:pt x="1397648" y="751407"/>
                  <a:pt x="1397648" y="751407"/>
                  <a:pt x="1399775" y="751740"/>
                </a:cubicBezTo>
                <a:cubicBezTo>
                  <a:pt x="1401810" y="752111"/>
                  <a:pt x="1401810" y="752111"/>
                  <a:pt x="1403887" y="752489"/>
                </a:cubicBezTo>
                <a:cubicBezTo>
                  <a:pt x="1424247" y="756131"/>
                  <a:pt x="1444708" y="756350"/>
                  <a:pt x="1465383" y="755969"/>
                </a:cubicBezTo>
                <a:cubicBezTo>
                  <a:pt x="1467019" y="755945"/>
                  <a:pt x="1468654" y="755921"/>
                  <a:pt x="1470339" y="755897"/>
                </a:cubicBezTo>
                <a:cubicBezTo>
                  <a:pt x="1480128" y="755450"/>
                  <a:pt x="1487899" y="752933"/>
                  <a:pt x="1496809" y="749313"/>
                </a:cubicBezTo>
                <a:cubicBezTo>
                  <a:pt x="1502876" y="746888"/>
                  <a:pt x="1509049" y="745091"/>
                  <a:pt x="1515371" y="743285"/>
                </a:cubicBezTo>
                <a:cubicBezTo>
                  <a:pt x="1515371" y="742356"/>
                  <a:pt x="1515371" y="741425"/>
                  <a:pt x="1515371" y="740467"/>
                </a:cubicBezTo>
                <a:cubicBezTo>
                  <a:pt x="1522710" y="737103"/>
                  <a:pt x="1529583" y="737106"/>
                  <a:pt x="1537632" y="737120"/>
                </a:cubicBezTo>
                <a:cubicBezTo>
                  <a:pt x="1538960" y="737122"/>
                  <a:pt x="1540289" y="737124"/>
                  <a:pt x="1541657" y="737127"/>
                </a:cubicBezTo>
                <a:cubicBezTo>
                  <a:pt x="1555502" y="737372"/>
                  <a:pt x="1564314" y="740697"/>
                  <a:pt x="1574732" y="748922"/>
                </a:cubicBezTo>
                <a:cubicBezTo>
                  <a:pt x="1586507" y="762822"/>
                  <a:pt x="1590347" y="775219"/>
                  <a:pt x="1588791" y="792608"/>
                </a:cubicBezTo>
                <a:cubicBezTo>
                  <a:pt x="1587728" y="797050"/>
                  <a:pt x="1586468" y="801261"/>
                  <a:pt x="1584105" y="805291"/>
                </a:cubicBezTo>
                <a:cubicBezTo>
                  <a:pt x="1583074" y="805756"/>
                  <a:pt x="1582043" y="806221"/>
                  <a:pt x="1580981" y="806700"/>
                </a:cubicBezTo>
                <a:cubicBezTo>
                  <a:pt x="1580240" y="807892"/>
                  <a:pt x="1579499" y="809083"/>
                  <a:pt x="1578735" y="810311"/>
                </a:cubicBezTo>
                <a:cubicBezTo>
                  <a:pt x="1577930" y="811445"/>
                  <a:pt x="1577124" y="812579"/>
                  <a:pt x="1576295" y="813746"/>
                </a:cubicBezTo>
                <a:lnTo>
                  <a:pt x="1571652" y="813746"/>
                </a:lnTo>
                <a:lnTo>
                  <a:pt x="1571785" y="814106"/>
                </a:lnTo>
                <a:cubicBezTo>
                  <a:pt x="1572816" y="814571"/>
                  <a:pt x="1573846" y="815036"/>
                  <a:pt x="1574909" y="815515"/>
                </a:cubicBezTo>
                <a:cubicBezTo>
                  <a:pt x="1572126" y="818758"/>
                  <a:pt x="1569968" y="820871"/>
                  <a:pt x="1565463" y="821839"/>
                </a:cubicBezTo>
                <a:lnTo>
                  <a:pt x="1562085" y="822101"/>
                </a:lnTo>
                <a:lnTo>
                  <a:pt x="1551301" y="825020"/>
                </a:lnTo>
                <a:cubicBezTo>
                  <a:pt x="1551301" y="825950"/>
                  <a:pt x="1551301" y="826880"/>
                  <a:pt x="1551301" y="827838"/>
                </a:cubicBezTo>
                <a:cubicBezTo>
                  <a:pt x="1526697" y="828735"/>
                  <a:pt x="1507496" y="825036"/>
                  <a:pt x="1485380" y="815007"/>
                </a:cubicBezTo>
                <a:cubicBezTo>
                  <a:pt x="1468723" y="807743"/>
                  <a:pt x="1449749" y="809144"/>
                  <a:pt x="1431603" y="808726"/>
                </a:cubicBezTo>
                <a:cubicBezTo>
                  <a:pt x="1429115" y="808665"/>
                  <a:pt x="1426627" y="808604"/>
                  <a:pt x="1424140" y="808542"/>
                </a:cubicBezTo>
                <a:cubicBezTo>
                  <a:pt x="1418101" y="808392"/>
                  <a:pt x="1412062" y="808249"/>
                  <a:pt x="1406023" y="808109"/>
                </a:cubicBezTo>
                <a:cubicBezTo>
                  <a:pt x="1406023" y="809040"/>
                  <a:pt x="1406023" y="809970"/>
                  <a:pt x="1406023" y="810928"/>
                </a:cubicBezTo>
                <a:cubicBezTo>
                  <a:pt x="1404716" y="811118"/>
                  <a:pt x="1404716" y="811118"/>
                  <a:pt x="1403383" y="811311"/>
                </a:cubicBezTo>
                <a:cubicBezTo>
                  <a:pt x="1372054" y="815110"/>
                  <a:pt x="1372054" y="815110"/>
                  <a:pt x="1345442" y="828907"/>
                </a:cubicBezTo>
                <a:cubicBezTo>
                  <a:pt x="1338843" y="837605"/>
                  <a:pt x="1338313" y="846434"/>
                  <a:pt x="1337875" y="856639"/>
                </a:cubicBezTo>
                <a:cubicBezTo>
                  <a:pt x="1337815" y="857805"/>
                  <a:pt x="1337754" y="858970"/>
                  <a:pt x="1337692" y="860171"/>
                </a:cubicBezTo>
                <a:cubicBezTo>
                  <a:pt x="1337547" y="863016"/>
                  <a:pt x="1337417" y="865861"/>
                  <a:pt x="1337290" y="868706"/>
                </a:cubicBezTo>
                <a:cubicBezTo>
                  <a:pt x="1336258" y="868706"/>
                  <a:pt x="1335228" y="868706"/>
                  <a:pt x="1334165" y="868706"/>
                </a:cubicBezTo>
                <a:lnTo>
                  <a:pt x="1334165" y="870034"/>
                </a:lnTo>
                <a:lnTo>
                  <a:pt x="1334237" y="869093"/>
                </a:lnTo>
                <a:cubicBezTo>
                  <a:pt x="1334753" y="869093"/>
                  <a:pt x="1335268" y="869093"/>
                  <a:pt x="1335800" y="869093"/>
                </a:cubicBezTo>
                <a:cubicBezTo>
                  <a:pt x="1335884" y="871559"/>
                  <a:pt x="1335944" y="874025"/>
                  <a:pt x="1335995" y="876491"/>
                </a:cubicBezTo>
                <a:cubicBezTo>
                  <a:pt x="1336030" y="877865"/>
                  <a:pt x="1336067" y="879238"/>
                  <a:pt x="1336105" y="880653"/>
                </a:cubicBezTo>
                <a:cubicBezTo>
                  <a:pt x="1335800" y="884594"/>
                  <a:pt x="1335800" y="884594"/>
                  <a:pt x="1334294" y="887271"/>
                </a:cubicBezTo>
                <a:cubicBezTo>
                  <a:pt x="1332567" y="890428"/>
                  <a:pt x="1331982" y="892964"/>
                  <a:pt x="1331455" y="896440"/>
                </a:cubicBezTo>
                <a:cubicBezTo>
                  <a:pt x="1331267" y="897605"/>
                  <a:pt x="1331080" y="898769"/>
                  <a:pt x="1330887" y="899969"/>
                </a:cubicBezTo>
                <a:cubicBezTo>
                  <a:pt x="1330704" y="901174"/>
                  <a:pt x="1330521" y="902378"/>
                  <a:pt x="1330332" y="903618"/>
                </a:cubicBezTo>
                <a:cubicBezTo>
                  <a:pt x="1329968" y="906013"/>
                  <a:pt x="1329594" y="908405"/>
                  <a:pt x="1329209" y="910797"/>
                </a:cubicBezTo>
                <a:cubicBezTo>
                  <a:pt x="1329049" y="911853"/>
                  <a:pt x="1328889" y="912910"/>
                  <a:pt x="1328724" y="913998"/>
                </a:cubicBezTo>
                <a:cubicBezTo>
                  <a:pt x="1327933" y="917233"/>
                  <a:pt x="1326525" y="919703"/>
                  <a:pt x="1324865" y="922643"/>
                </a:cubicBezTo>
                <a:cubicBezTo>
                  <a:pt x="1323924" y="927743"/>
                  <a:pt x="1323282" y="932845"/>
                  <a:pt x="1322619" y="937979"/>
                </a:cubicBezTo>
                <a:lnTo>
                  <a:pt x="1318744" y="944961"/>
                </a:lnTo>
                <a:lnTo>
                  <a:pt x="1318544" y="946213"/>
                </a:lnTo>
                <a:cubicBezTo>
                  <a:pt x="1318360" y="949234"/>
                  <a:pt x="1318271" y="952260"/>
                  <a:pt x="1318251" y="955285"/>
                </a:cubicBezTo>
                <a:cubicBezTo>
                  <a:pt x="1318218" y="957637"/>
                  <a:pt x="1318218" y="957637"/>
                  <a:pt x="1318184" y="960036"/>
                </a:cubicBezTo>
                <a:cubicBezTo>
                  <a:pt x="1318624" y="965530"/>
                  <a:pt x="1319569" y="969724"/>
                  <a:pt x="1324024" y="973660"/>
                </a:cubicBezTo>
                <a:cubicBezTo>
                  <a:pt x="1327197" y="976583"/>
                  <a:pt x="1327950" y="979494"/>
                  <a:pt x="1329284" y="983382"/>
                </a:cubicBezTo>
                <a:cubicBezTo>
                  <a:pt x="1331875" y="990106"/>
                  <a:pt x="1334445" y="993582"/>
                  <a:pt x="1340414" y="998354"/>
                </a:cubicBezTo>
                <a:cubicBezTo>
                  <a:pt x="1342397" y="1000564"/>
                  <a:pt x="1344347" y="1002798"/>
                  <a:pt x="1346272" y="1005048"/>
                </a:cubicBezTo>
                <a:cubicBezTo>
                  <a:pt x="1360055" y="1020713"/>
                  <a:pt x="1376247" y="1031879"/>
                  <a:pt x="1394716" y="1042740"/>
                </a:cubicBezTo>
                <a:cubicBezTo>
                  <a:pt x="1397172" y="1044228"/>
                  <a:pt x="1399581" y="1045779"/>
                  <a:pt x="1401953" y="1047374"/>
                </a:cubicBezTo>
                <a:cubicBezTo>
                  <a:pt x="1410065" y="1052802"/>
                  <a:pt x="1417529" y="1056366"/>
                  <a:pt x="1427197" y="1059061"/>
                </a:cubicBezTo>
                <a:cubicBezTo>
                  <a:pt x="1431243" y="1060437"/>
                  <a:pt x="1434061" y="1061979"/>
                  <a:pt x="1437265" y="1064588"/>
                </a:cubicBezTo>
                <a:cubicBezTo>
                  <a:pt x="1437265" y="1065518"/>
                  <a:pt x="1437265" y="1066448"/>
                  <a:pt x="1437265" y="1067406"/>
                </a:cubicBezTo>
                <a:cubicBezTo>
                  <a:pt x="1439053" y="1067624"/>
                  <a:pt x="1439053" y="1067624"/>
                  <a:pt x="1440878" y="1067847"/>
                </a:cubicBezTo>
                <a:cubicBezTo>
                  <a:pt x="1445076" y="1068815"/>
                  <a:pt x="1445076" y="1068815"/>
                  <a:pt x="1447175" y="1070753"/>
                </a:cubicBezTo>
                <a:cubicBezTo>
                  <a:pt x="1450417" y="1073622"/>
                  <a:pt x="1453781" y="1075060"/>
                  <a:pt x="1457866" y="1076830"/>
                </a:cubicBezTo>
                <a:cubicBezTo>
                  <a:pt x="1459274" y="1077446"/>
                  <a:pt x="1460681" y="1078062"/>
                  <a:pt x="1462132" y="1078696"/>
                </a:cubicBezTo>
                <a:cubicBezTo>
                  <a:pt x="1463204" y="1079156"/>
                  <a:pt x="1464278" y="1079616"/>
                  <a:pt x="1465383" y="1080089"/>
                </a:cubicBezTo>
                <a:cubicBezTo>
                  <a:pt x="1465383" y="1081019"/>
                  <a:pt x="1465383" y="1081949"/>
                  <a:pt x="1465383" y="1082908"/>
                </a:cubicBezTo>
                <a:cubicBezTo>
                  <a:pt x="1466497" y="1083260"/>
                  <a:pt x="1467611" y="1083612"/>
                  <a:pt x="1468758" y="1083975"/>
                </a:cubicBezTo>
                <a:cubicBezTo>
                  <a:pt x="1473648" y="1085905"/>
                  <a:pt x="1477426" y="1088296"/>
                  <a:pt x="1481688" y="1091187"/>
                </a:cubicBezTo>
                <a:cubicBezTo>
                  <a:pt x="1483204" y="1092193"/>
                  <a:pt x="1484721" y="1093200"/>
                  <a:pt x="1486283" y="1094236"/>
                </a:cubicBezTo>
                <a:cubicBezTo>
                  <a:pt x="1489170" y="1096185"/>
                  <a:pt x="1492029" y="1098166"/>
                  <a:pt x="1494869" y="1100171"/>
                </a:cubicBezTo>
                <a:cubicBezTo>
                  <a:pt x="1510181" y="1107906"/>
                  <a:pt x="1527080" y="1109898"/>
                  <a:pt x="1544335" y="1109518"/>
                </a:cubicBezTo>
                <a:cubicBezTo>
                  <a:pt x="1579932" y="1108798"/>
                  <a:pt x="1579932" y="1108798"/>
                  <a:pt x="1593477" y="1119900"/>
                </a:cubicBezTo>
                <a:cubicBezTo>
                  <a:pt x="1600636" y="1127255"/>
                  <a:pt x="1604889" y="1135120"/>
                  <a:pt x="1605975" y="1144913"/>
                </a:cubicBezTo>
                <a:cubicBezTo>
                  <a:pt x="1607006" y="1144913"/>
                  <a:pt x="1608036" y="1144913"/>
                  <a:pt x="1609099" y="1144913"/>
                </a:cubicBezTo>
                <a:cubicBezTo>
                  <a:pt x="1609227" y="1148907"/>
                  <a:pt x="1609319" y="1152897"/>
                  <a:pt x="1609392" y="1156892"/>
                </a:cubicBezTo>
                <a:cubicBezTo>
                  <a:pt x="1609451" y="1158565"/>
                  <a:pt x="1609451" y="1158565"/>
                  <a:pt x="1609511" y="1160272"/>
                </a:cubicBezTo>
                <a:cubicBezTo>
                  <a:pt x="1609621" y="1168378"/>
                  <a:pt x="1607970" y="1174108"/>
                  <a:pt x="1604412" y="1181553"/>
                </a:cubicBezTo>
                <a:cubicBezTo>
                  <a:pt x="1603354" y="1184367"/>
                  <a:pt x="1602306" y="1187183"/>
                  <a:pt x="1601288" y="1190009"/>
                </a:cubicBezTo>
                <a:cubicBezTo>
                  <a:pt x="1600257" y="1190009"/>
                  <a:pt x="1599226" y="1190009"/>
                  <a:pt x="1598164" y="1190009"/>
                </a:cubicBezTo>
                <a:cubicBezTo>
                  <a:pt x="1597842" y="1190910"/>
                  <a:pt x="1597520" y="1191810"/>
                  <a:pt x="1597187" y="1192739"/>
                </a:cubicBezTo>
                <a:cubicBezTo>
                  <a:pt x="1596479" y="1193698"/>
                  <a:pt x="1595770" y="1194657"/>
                  <a:pt x="1595040" y="1195645"/>
                </a:cubicBezTo>
                <a:cubicBezTo>
                  <a:pt x="1591916" y="1196115"/>
                  <a:pt x="1588791" y="1196585"/>
                  <a:pt x="1585667" y="1197055"/>
                </a:cubicBezTo>
                <a:cubicBezTo>
                  <a:pt x="1583871" y="1199826"/>
                  <a:pt x="1583871" y="1199826"/>
                  <a:pt x="1582543" y="1202691"/>
                </a:cubicBezTo>
                <a:cubicBezTo>
                  <a:pt x="1575997" y="1204710"/>
                  <a:pt x="1569266" y="1204360"/>
                  <a:pt x="1562431" y="1204365"/>
                </a:cubicBezTo>
                <a:cubicBezTo>
                  <a:pt x="1561196" y="1204382"/>
                  <a:pt x="1559962" y="1204399"/>
                  <a:pt x="1558690" y="1204417"/>
                </a:cubicBezTo>
                <a:cubicBezTo>
                  <a:pt x="1543339" y="1204452"/>
                  <a:pt x="1531981" y="1199267"/>
                  <a:pt x="1521102" y="1189585"/>
                </a:cubicBezTo>
                <a:cubicBezTo>
                  <a:pt x="1515403" y="1183953"/>
                  <a:pt x="1510116" y="1178123"/>
                  <a:pt x="1505022" y="1172041"/>
                </a:cubicBezTo>
                <a:cubicBezTo>
                  <a:pt x="1493200" y="1158177"/>
                  <a:pt x="1475492" y="1147115"/>
                  <a:pt x="1457573" y="1140686"/>
                </a:cubicBezTo>
                <a:cubicBezTo>
                  <a:pt x="1457573" y="1139755"/>
                  <a:pt x="1457573" y="1138826"/>
                  <a:pt x="1457573" y="1137867"/>
                </a:cubicBezTo>
                <a:cubicBezTo>
                  <a:pt x="1456059" y="1137693"/>
                  <a:pt x="1454544" y="1137518"/>
                  <a:pt x="1452985" y="1137339"/>
                </a:cubicBezTo>
                <a:cubicBezTo>
                  <a:pt x="1451406" y="1137048"/>
                  <a:pt x="1449827" y="1136758"/>
                  <a:pt x="1448200" y="1136458"/>
                </a:cubicBezTo>
                <a:cubicBezTo>
                  <a:pt x="1447685" y="1135528"/>
                  <a:pt x="1447169" y="1134598"/>
                  <a:pt x="1446638" y="1133640"/>
                </a:cubicBezTo>
                <a:cubicBezTo>
                  <a:pt x="1444091" y="1132586"/>
                  <a:pt x="1441535" y="1131550"/>
                  <a:pt x="1438937" y="1130601"/>
                </a:cubicBezTo>
                <a:cubicBezTo>
                  <a:pt x="1435668" y="1129399"/>
                  <a:pt x="1432469" y="1128095"/>
                  <a:pt x="1429260" y="1126770"/>
                </a:cubicBezTo>
                <a:cubicBezTo>
                  <a:pt x="1423389" y="1124389"/>
                  <a:pt x="1417431" y="1122349"/>
                  <a:pt x="1411393" y="1120340"/>
                </a:cubicBezTo>
                <a:cubicBezTo>
                  <a:pt x="1404143" y="1117867"/>
                  <a:pt x="1397842" y="1115090"/>
                  <a:pt x="1391427" y="1111191"/>
                </a:cubicBezTo>
                <a:cubicBezTo>
                  <a:pt x="1388139" y="1109274"/>
                  <a:pt x="1384723" y="1108010"/>
                  <a:pt x="1381029" y="1106865"/>
                </a:cubicBezTo>
                <a:cubicBezTo>
                  <a:pt x="1381029" y="1105934"/>
                  <a:pt x="1381029" y="1105004"/>
                  <a:pt x="1381029" y="1104046"/>
                </a:cubicBezTo>
                <a:cubicBezTo>
                  <a:pt x="1379773" y="1103901"/>
                  <a:pt x="1378516" y="1103755"/>
                  <a:pt x="1377221" y="1103605"/>
                </a:cubicBezTo>
                <a:cubicBezTo>
                  <a:pt x="1370425" y="1102422"/>
                  <a:pt x="1364120" y="1100465"/>
                  <a:pt x="1357597" y="1098409"/>
                </a:cubicBezTo>
                <a:cubicBezTo>
                  <a:pt x="1355761" y="1097857"/>
                  <a:pt x="1353924" y="1097304"/>
                  <a:pt x="1352032" y="1096736"/>
                </a:cubicBezTo>
                <a:cubicBezTo>
                  <a:pt x="1350776" y="1096358"/>
                  <a:pt x="1349519" y="1095980"/>
                  <a:pt x="1348225" y="1095590"/>
                </a:cubicBezTo>
                <a:cubicBezTo>
                  <a:pt x="1348225" y="1094661"/>
                  <a:pt x="1348225" y="1093730"/>
                  <a:pt x="1348225" y="1092772"/>
                </a:cubicBezTo>
                <a:cubicBezTo>
                  <a:pt x="1344616" y="1092307"/>
                  <a:pt x="1341007" y="1091842"/>
                  <a:pt x="1337290" y="1091363"/>
                </a:cubicBezTo>
                <a:cubicBezTo>
                  <a:pt x="1337290" y="1090433"/>
                  <a:pt x="1337290" y="1089503"/>
                  <a:pt x="1337290" y="1088544"/>
                </a:cubicBezTo>
                <a:cubicBezTo>
                  <a:pt x="1334438" y="1088327"/>
                  <a:pt x="1334438" y="1088327"/>
                  <a:pt x="1331529" y="1088104"/>
                </a:cubicBezTo>
                <a:lnTo>
                  <a:pt x="1323297" y="1086611"/>
                </a:lnTo>
                <a:lnTo>
                  <a:pt x="1323297" y="1087618"/>
                </a:lnTo>
                <a:cubicBezTo>
                  <a:pt x="1322139" y="1087517"/>
                  <a:pt x="1320982" y="1087415"/>
                  <a:pt x="1319789" y="1087310"/>
                </a:cubicBezTo>
                <a:cubicBezTo>
                  <a:pt x="1300429" y="1085771"/>
                  <a:pt x="1281330" y="1084680"/>
                  <a:pt x="1262375" y="1089028"/>
                </a:cubicBezTo>
                <a:lnTo>
                  <a:pt x="1258728" y="1088205"/>
                </a:lnTo>
                <a:lnTo>
                  <a:pt x="1246964" y="1091489"/>
                </a:lnTo>
                <a:cubicBezTo>
                  <a:pt x="1237239" y="1097222"/>
                  <a:pt x="1228703" y="1103434"/>
                  <a:pt x="1223224" y="1112865"/>
                </a:cubicBezTo>
                <a:cubicBezTo>
                  <a:pt x="1220867" y="1116643"/>
                  <a:pt x="1217262" y="1119317"/>
                  <a:pt x="1213883" y="1122366"/>
                </a:cubicBezTo>
                <a:cubicBezTo>
                  <a:pt x="1213428" y="1123469"/>
                  <a:pt x="1212973" y="1124572"/>
                  <a:pt x="1212505" y="1125708"/>
                </a:cubicBezTo>
                <a:cubicBezTo>
                  <a:pt x="1210449" y="1130067"/>
                  <a:pt x="1207984" y="1132315"/>
                  <a:pt x="1204180" y="1135561"/>
                </a:cubicBezTo>
                <a:cubicBezTo>
                  <a:pt x="1202879" y="1136695"/>
                  <a:pt x="1201578" y="1137829"/>
                  <a:pt x="1200238" y="1138999"/>
                </a:cubicBezTo>
                <a:cubicBezTo>
                  <a:pt x="1197504" y="1141343"/>
                  <a:pt x="1194765" y="1143684"/>
                  <a:pt x="1192025" y="1146022"/>
                </a:cubicBezTo>
                <a:cubicBezTo>
                  <a:pt x="1181899" y="1154869"/>
                  <a:pt x="1174983" y="1161763"/>
                  <a:pt x="1173945" y="1174749"/>
                </a:cubicBezTo>
                <a:cubicBezTo>
                  <a:pt x="1173902" y="1177369"/>
                  <a:pt x="1173905" y="1179990"/>
                  <a:pt x="1173950" y="1182610"/>
                </a:cubicBezTo>
                <a:cubicBezTo>
                  <a:pt x="1173963" y="1183981"/>
                  <a:pt x="1173975" y="1185352"/>
                  <a:pt x="1173989" y="1186765"/>
                </a:cubicBezTo>
                <a:cubicBezTo>
                  <a:pt x="1174321" y="1197573"/>
                  <a:pt x="1176809" y="1205883"/>
                  <a:pt x="1182640" y="1215374"/>
                </a:cubicBezTo>
                <a:cubicBezTo>
                  <a:pt x="1183703" y="1217509"/>
                  <a:pt x="1184746" y="1219652"/>
                  <a:pt x="1185764" y="1221804"/>
                </a:cubicBezTo>
                <a:cubicBezTo>
                  <a:pt x="1186271" y="1222812"/>
                  <a:pt x="1186779" y="1223821"/>
                  <a:pt x="1187301" y="1224859"/>
                </a:cubicBezTo>
                <a:cubicBezTo>
                  <a:pt x="1188431" y="1227137"/>
                  <a:pt x="1189517" y="1229433"/>
                  <a:pt x="1190573" y="1231740"/>
                </a:cubicBezTo>
                <a:cubicBezTo>
                  <a:pt x="1194650" y="1240409"/>
                  <a:pt x="1199581" y="1247688"/>
                  <a:pt x="1205925" y="1255163"/>
                </a:cubicBezTo>
                <a:cubicBezTo>
                  <a:pt x="1208103" y="1257757"/>
                  <a:pt x="1210188" y="1260417"/>
                  <a:pt x="1212174" y="1263134"/>
                </a:cubicBezTo>
                <a:cubicBezTo>
                  <a:pt x="1218757" y="1272043"/>
                  <a:pt x="1225157" y="1277324"/>
                  <a:pt x="1235556" y="1282538"/>
                </a:cubicBezTo>
                <a:cubicBezTo>
                  <a:pt x="1236652" y="1283161"/>
                  <a:pt x="1237747" y="1283784"/>
                  <a:pt x="1238876" y="1284426"/>
                </a:cubicBezTo>
                <a:cubicBezTo>
                  <a:pt x="1238876" y="1285356"/>
                  <a:pt x="1238876" y="1286287"/>
                  <a:pt x="1238876" y="1287245"/>
                </a:cubicBezTo>
                <a:cubicBezTo>
                  <a:pt x="1239988" y="1287383"/>
                  <a:pt x="1241099" y="1287521"/>
                  <a:pt x="1242245" y="1287663"/>
                </a:cubicBezTo>
                <a:cubicBezTo>
                  <a:pt x="1253043" y="1290072"/>
                  <a:pt x="1264916" y="1297690"/>
                  <a:pt x="1271681" y="1305565"/>
                </a:cubicBezTo>
                <a:lnTo>
                  <a:pt x="1271742" y="1306172"/>
                </a:lnTo>
                <a:lnTo>
                  <a:pt x="1278525" y="1315767"/>
                </a:lnTo>
                <a:cubicBezTo>
                  <a:pt x="1279797" y="1319398"/>
                  <a:pt x="1280365" y="1323346"/>
                  <a:pt x="1281097" y="1327286"/>
                </a:cubicBezTo>
                <a:cubicBezTo>
                  <a:pt x="1281916" y="1337121"/>
                  <a:pt x="1281807" y="1346176"/>
                  <a:pt x="1277973" y="1355470"/>
                </a:cubicBezTo>
                <a:lnTo>
                  <a:pt x="1277460" y="1347025"/>
                </a:lnTo>
                <a:lnTo>
                  <a:pt x="1273531" y="1357991"/>
                </a:lnTo>
                <a:cubicBezTo>
                  <a:pt x="1270940" y="1361892"/>
                  <a:pt x="1267521" y="1365435"/>
                  <a:pt x="1263870" y="1368980"/>
                </a:cubicBezTo>
                <a:cubicBezTo>
                  <a:pt x="1258351" y="1372929"/>
                  <a:pt x="1253850" y="1376026"/>
                  <a:pt x="1246686" y="1376026"/>
                </a:cubicBezTo>
                <a:cubicBezTo>
                  <a:pt x="1246686" y="1376956"/>
                  <a:pt x="1246686" y="1377886"/>
                  <a:pt x="1246686" y="1378844"/>
                </a:cubicBezTo>
                <a:cubicBezTo>
                  <a:pt x="1241676" y="1379009"/>
                  <a:pt x="1236665" y="1379109"/>
                  <a:pt x="1231651" y="1379196"/>
                </a:cubicBezTo>
                <a:cubicBezTo>
                  <a:pt x="1230240" y="1379244"/>
                  <a:pt x="1228828" y="1379291"/>
                  <a:pt x="1227373" y="1379340"/>
                </a:cubicBezTo>
                <a:cubicBezTo>
                  <a:pt x="1218287" y="1379460"/>
                  <a:pt x="1213363" y="1378568"/>
                  <a:pt x="1206071" y="1373207"/>
                </a:cubicBezTo>
                <a:cubicBezTo>
                  <a:pt x="1204751" y="1372742"/>
                  <a:pt x="1203430" y="1372277"/>
                  <a:pt x="1202069" y="1371798"/>
                </a:cubicBezTo>
                <a:cubicBezTo>
                  <a:pt x="1193777" y="1368730"/>
                  <a:pt x="1188124" y="1363294"/>
                  <a:pt x="1184104" y="1356176"/>
                </a:cubicBezTo>
                <a:cubicBezTo>
                  <a:pt x="1180965" y="1349259"/>
                  <a:pt x="1178852" y="1342590"/>
                  <a:pt x="1177270" y="1335247"/>
                </a:cubicBezTo>
                <a:cubicBezTo>
                  <a:pt x="1175525" y="1327352"/>
                  <a:pt x="1172911" y="1320677"/>
                  <a:pt x="1169002" y="1313464"/>
                </a:cubicBezTo>
                <a:cubicBezTo>
                  <a:pt x="1166989" y="1309737"/>
                  <a:pt x="1165215" y="1305976"/>
                  <a:pt x="1163504" y="1302130"/>
                </a:cubicBezTo>
                <a:cubicBezTo>
                  <a:pt x="1163013" y="1301027"/>
                  <a:pt x="1162521" y="1299924"/>
                  <a:pt x="1162015" y="1298788"/>
                </a:cubicBezTo>
                <a:cubicBezTo>
                  <a:pt x="1160770" y="1295700"/>
                  <a:pt x="1160770" y="1295700"/>
                  <a:pt x="1160111" y="1292656"/>
                </a:cubicBezTo>
                <a:cubicBezTo>
                  <a:pt x="1159345" y="1289507"/>
                  <a:pt x="1159345" y="1289507"/>
                  <a:pt x="1154522" y="1287245"/>
                </a:cubicBezTo>
                <a:cubicBezTo>
                  <a:pt x="1153465" y="1284902"/>
                  <a:pt x="1152426" y="1282552"/>
                  <a:pt x="1151398" y="1280199"/>
                </a:cubicBezTo>
                <a:cubicBezTo>
                  <a:pt x="1149056" y="1276983"/>
                  <a:pt x="1146686" y="1273874"/>
                  <a:pt x="1144173" y="1270774"/>
                </a:cubicBezTo>
                <a:cubicBezTo>
                  <a:pt x="1143477" y="1269912"/>
                  <a:pt x="1142782" y="1269049"/>
                  <a:pt x="1142065" y="1268160"/>
                </a:cubicBezTo>
                <a:cubicBezTo>
                  <a:pt x="1139981" y="1265589"/>
                  <a:pt x="1137880" y="1263029"/>
                  <a:pt x="1135776" y="1260470"/>
                </a:cubicBezTo>
                <a:cubicBezTo>
                  <a:pt x="1134647" y="1259076"/>
                  <a:pt x="1133517" y="1257683"/>
                  <a:pt x="1132353" y="1256247"/>
                </a:cubicBezTo>
                <a:cubicBezTo>
                  <a:pt x="1126291" y="1249045"/>
                  <a:pt x="1121408" y="1244606"/>
                  <a:pt x="1112344" y="1240741"/>
                </a:cubicBezTo>
                <a:cubicBezTo>
                  <a:pt x="1110285" y="1239698"/>
                  <a:pt x="1108234" y="1238642"/>
                  <a:pt x="1106193" y="1237570"/>
                </a:cubicBezTo>
                <a:cubicBezTo>
                  <a:pt x="1104615" y="1236756"/>
                  <a:pt x="1103036" y="1235942"/>
                  <a:pt x="1101409" y="1235104"/>
                </a:cubicBezTo>
                <a:cubicBezTo>
                  <a:pt x="1101409" y="1233708"/>
                  <a:pt x="1101409" y="1232313"/>
                  <a:pt x="1101409" y="1230876"/>
                </a:cubicBezTo>
                <a:cubicBezTo>
                  <a:pt x="1089553" y="1230876"/>
                  <a:pt x="1077697" y="1230876"/>
                  <a:pt x="1065480" y="1230876"/>
                </a:cubicBezTo>
                <a:cubicBezTo>
                  <a:pt x="1064965" y="1232271"/>
                  <a:pt x="1064450" y="1233666"/>
                  <a:pt x="1063919" y="1235104"/>
                </a:cubicBezTo>
                <a:cubicBezTo>
                  <a:pt x="1062372" y="1235104"/>
                  <a:pt x="1060826" y="1235104"/>
                  <a:pt x="1059232" y="1235104"/>
                </a:cubicBezTo>
                <a:cubicBezTo>
                  <a:pt x="1059232" y="1236033"/>
                  <a:pt x="1059232" y="1236964"/>
                  <a:pt x="1059232" y="1237922"/>
                </a:cubicBezTo>
                <a:cubicBezTo>
                  <a:pt x="1052964" y="1240850"/>
                  <a:pt x="1046842" y="1243613"/>
                  <a:pt x="1040194" y="1245761"/>
                </a:cubicBezTo>
                <a:cubicBezTo>
                  <a:pt x="1036552" y="1246941"/>
                  <a:pt x="1033682" y="1248088"/>
                  <a:pt x="1030333" y="1249901"/>
                </a:cubicBezTo>
                <a:cubicBezTo>
                  <a:pt x="1025129" y="1252717"/>
                  <a:pt x="1019615" y="1254371"/>
                  <a:pt x="1013931" y="1256242"/>
                </a:cubicBezTo>
                <a:cubicBezTo>
                  <a:pt x="1009870" y="1257688"/>
                  <a:pt x="1008221" y="1258277"/>
                  <a:pt x="1005925" y="1261615"/>
                </a:cubicBezTo>
                <a:cubicBezTo>
                  <a:pt x="1005474" y="1262632"/>
                  <a:pt x="1005023" y="1263649"/>
                  <a:pt x="1004558" y="1264697"/>
                </a:cubicBezTo>
                <a:cubicBezTo>
                  <a:pt x="1004030" y="1265774"/>
                  <a:pt x="1003503" y="1266852"/>
                  <a:pt x="1002959" y="1267961"/>
                </a:cubicBezTo>
                <a:cubicBezTo>
                  <a:pt x="1001408" y="1271808"/>
                  <a:pt x="1000922" y="1274896"/>
                  <a:pt x="1000653" y="1278965"/>
                </a:cubicBezTo>
                <a:cubicBezTo>
                  <a:pt x="1000303" y="1284158"/>
                  <a:pt x="999467" y="1289055"/>
                  <a:pt x="998297" y="1294137"/>
                </a:cubicBezTo>
                <a:cubicBezTo>
                  <a:pt x="996204" y="1304306"/>
                  <a:pt x="996129" y="1314460"/>
                  <a:pt x="996162" y="1324765"/>
                </a:cubicBezTo>
                <a:cubicBezTo>
                  <a:pt x="996163" y="1325782"/>
                  <a:pt x="996163" y="1326799"/>
                  <a:pt x="996164" y="1327846"/>
                </a:cubicBezTo>
                <a:cubicBezTo>
                  <a:pt x="996263" y="1353742"/>
                  <a:pt x="1001081" y="1378188"/>
                  <a:pt x="1007780" y="1403329"/>
                </a:cubicBezTo>
                <a:cubicBezTo>
                  <a:pt x="1008163" y="1404772"/>
                  <a:pt x="1008546" y="1406215"/>
                  <a:pt x="1008940" y="1407701"/>
                </a:cubicBezTo>
                <a:cubicBezTo>
                  <a:pt x="1009316" y="1409030"/>
                  <a:pt x="1009693" y="1410360"/>
                  <a:pt x="1010080" y="1411730"/>
                </a:cubicBezTo>
                <a:cubicBezTo>
                  <a:pt x="1010409" y="1412900"/>
                  <a:pt x="1010737" y="1414071"/>
                  <a:pt x="1011075" y="1415277"/>
                </a:cubicBezTo>
                <a:cubicBezTo>
                  <a:pt x="1012501" y="1418612"/>
                  <a:pt x="1014136" y="1420168"/>
                  <a:pt x="1017055" y="1422530"/>
                </a:cubicBezTo>
                <a:cubicBezTo>
                  <a:pt x="1018770" y="1425162"/>
                  <a:pt x="1018770" y="1425162"/>
                  <a:pt x="1020277" y="1427991"/>
                </a:cubicBezTo>
                <a:cubicBezTo>
                  <a:pt x="1020778" y="1428917"/>
                  <a:pt x="1021280" y="1429844"/>
                  <a:pt x="1021796" y="1430798"/>
                </a:cubicBezTo>
                <a:cubicBezTo>
                  <a:pt x="1023303" y="1433804"/>
                  <a:pt x="1023303" y="1433804"/>
                  <a:pt x="1024579" y="1437239"/>
                </a:cubicBezTo>
                <a:cubicBezTo>
                  <a:pt x="1026915" y="1441803"/>
                  <a:pt x="1030098" y="1444534"/>
                  <a:pt x="1034043" y="1448072"/>
                </a:cubicBezTo>
                <a:lnTo>
                  <a:pt x="1043782" y="1464320"/>
                </a:lnTo>
                <a:lnTo>
                  <a:pt x="1050458" y="1472189"/>
                </a:lnTo>
                <a:cubicBezTo>
                  <a:pt x="1051737" y="1475181"/>
                  <a:pt x="1052277" y="1478513"/>
                  <a:pt x="1052926" y="1482370"/>
                </a:cubicBezTo>
                <a:cubicBezTo>
                  <a:pt x="1053325" y="1487224"/>
                  <a:pt x="1053364" y="1492038"/>
                  <a:pt x="1053316" y="1496903"/>
                </a:cubicBezTo>
                <a:cubicBezTo>
                  <a:pt x="1053328" y="1498142"/>
                  <a:pt x="1053340" y="1499382"/>
                  <a:pt x="1053352" y="1500660"/>
                </a:cubicBezTo>
                <a:cubicBezTo>
                  <a:pt x="1053348" y="1501856"/>
                  <a:pt x="1053344" y="1503052"/>
                  <a:pt x="1053341" y="1504285"/>
                </a:cubicBezTo>
                <a:cubicBezTo>
                  <a:pt x="1053336" y="1505355"/>
                  <a:pt x="1053333" y="1506426"/>
                  <a:pt x="1053329" y="1507529"/>
                </a:cubicBezTo>
                <a:cubicBezTo>
                  <a:pt x="1052876" y="1510927"/>
                  <a:pt x="1051672" y="1513237"/>
                  <a:pt x="1049801" y="1516192"/>
                </a:cubicBezTo>
                <a:lnTo>
                  <a:pt x="1047312" y="1516192"/>
                </a:lnTo>
                <a:lnTo>
                  <a:pt x="1043611" y="1522585"/>
                </a:lnTo>
                <a:cubicBezTo>
                  <a:pt x="1035301" y="1529631"/>
                  <a:pt x="1035301" y="1529631"/>
                  <a:pt x="1029552" y="1529631"/>
                </a:cubicBezTo>
                <a:cubicBezTo>
                  <a:pt x="1029294" y="1530503"/>
                  <a:pt x="1029036" y="1531375"/>
                  <a:pt x="1028771" y="1532273"/>
                </a:cubicBezTo>
                <a:cubicBezTo>
                  <a:pt x="1025795" y="1536076"/>
                  <a:pt x="1022970" y="1536733"/>
                  <a:pt x="1018013" y="1537640"/>
                </a:cubicBezTo>
                <a:cubicBezTo>
                  <a:pt x="1005216" y="1539038"/>
                  <a:pt x="992573" y="1539816"/>
                  <a:pt x="981126" y="1533859"/>
                </a:cubicBezTo>
                <a:cubicBezTo>
                  <a:pt x="979840" y="1533226"/>
                  <a:pt x="978553" y="1532594"/>
                  <a:pt x="977227" y="1531943"/>
                </a:cubicBezTo>
                <a:cubicBezTo>
                  <a:pt x="965286" y="1525877"/>
                  <a:pt x="959626" y="1520520"/>
                  <a:pt x="955376" y="1508751"/>
                </a:cubicBezTo>
                <a:cubicBezTo>
                  <a:pt x="954571" y="1505674"/>
                  <a:pt x="954571" y="1505674"/>
                  <a:pt x="954571" y="1500037"/>
                </a:cubicBezTo>
                <a:cubicBezTo>
                  <a:pt x="953539" y="1500037"/>
                  <a:pt x="952508" y="1500037"/>
                  <a:pt x="951446" y="1500037"/>
                </a:cubicBezTo>
                <a:cubicBezTo>
                  <a:pt x="951361" y="1495986"/>
                  <a:pt x="951299" y="1491935"/>
                  <a:pt x="951251" y="1487883"/>
                </a:cubicBezTo>
                <a:cubicBezTo>
                  <a:pt x="951224" y="1486744"/>
                  <a:pt x="951198" y="1485605"/>
                  <a:pt x="951171" y="1484431"/>
                </a:cubicBezTo>
                <a:cubicBezTo>
                  <a:pt x="951110" y="1477657"/>
                  <a:pt x="952093" y="1472660"/>
                  <a:pt x="954571" y="1466216"/>
                </a:cubicBezTo>
                <a:cubicBezTo>
                  <a:pt x="954867" y="1462451"/>
                  <a:pt x="955016" y="1458876"/>
                  <a:pt x="954961" y="1455118"/>
                </a:cubicBezTo>
                <a:cubicBezTo>
                  <a:pt x="954951" y="1454080"/>
                  <a:pt x="954942" y="1453042"/>
                  <a:pt x="954932" y="1451972"/>
                </a:cubicBezTo>
                <a:cubicBezTo>
                  <a:pt x="954606" y="1435235"/>
                  <a:pt x="952568" y="1419050"/>
                  <a:pt x="945099" y="1403594"/>
                </a:cubicBezTo>
                <a:cubicBezTo>
                  <a:pt x="943714" y="1400177"/>
                  <a:pt x="943046" y="1397128"/>
                  <a:pt x="942366" y="1393553"/>
                </a:cubicBezTo>
                <a:cubicBezTo>
                  <a:pt x="940837" y="1386134"/>
                  <a:pt x="937840" y="1379609"/>
                  <a:pt x="934451" y="1372734"/>
                </a:cubicBezTo>
                <a:cubicBezTo>
                  <a:pt x="932701" y="1368980"/>
                  <a:pt x="932701" y="1368980"/>
                  <a:pt x="931974" y="1365754"/>
                </a:cubicBezTo>
                <a:cubicBezTo>
                  <a:pt x="931699" y="1364958"/>
                  <a:pt x="931422" y="1364162"/>
                  <a:pt x="931138" y="1363343"/>
                </a:cubicBezTo>
                <a:cubicBezTo>
                  <a:pt x="929592" y="1362878"/>
                  <a:pt x="928045" y="1362413"/>
                  <a:pt x="926452" y="1361933"/>
                </a:cubicBezTo>
                <a:cubicBezTo>
                  <a:pt x="921830" y="1355261"/>
                  <a:pt x="920323" y="1348382"/>
                  <a:pt x="918641" y="1340795"/>
                </a:cubicBezTo>
                <a:cubicBezTo>
                  <a:pt x="918133" y="1338914"/>
                  <a:pt x="917616" y="1337034"/>
                  <a:pt x="917079" y="1335158"/>
                </a:cubicBezTo>
                <a:cubicBezTo>
                  <a:pt x="916048" y="1335158"/>
                  <a:pt x="915018" y="1335158"/>
                  <a:pt x="913955" y="1335158"/>
                </a:cubicBezTo>
                <a:cubicBezTo>
                  <a:pt x="913329" y="1333718"/>
                  <a:pt x="912703" y="1332277"/>
                  <a:pt x="912057" y="1330793"/>
                </a:cubicBezTo>
                <a:cubicBezTo>
                  <a:pt x="909497" y="1325424"/>
                  <a:pt x="906114" y="1320822"/>
                  <a:pt x="902142" y="1316222"/>
                </a:cubicBezTo>
                <a:cubicBezTo>
                  <a:pt x="901465" y="1315432"/>
                  <a:pt x="900788" y="1314642"/>
                  <a:pt x="900091" y="1313828"/>
                </a:cubicBezTo>
                <a:cubicBezTo>
                  <a:pt x="893705" y="1306618"/>
                  <a:pt x="886350" y="1301049"/>
                  <a:pt x="878026" y="1295700"/>
                </a:cubicBezTo>
                <a:cubicBezTo>
                  <a:pt x="876595" y="1294594"/>
                  <a:pt x="876595" y="1294594"/>
                  <a:pt x="875134" y="1293465"/>
                </a:cubicBezTo>
                <a:lnTo>
                  <a:pt x="869869" y="1291826"/>
                </a:lnTo>
                <a:lnTo>
                  <a:pt x="862384" y="1291327"/>
                </a:lnTo>
                <a:cubicBezTo>
                  <a:pt x="856441" y="1290067"/>
                  <a:pt x="850461" y="1290346"/>
                  <a:pt x="844390" y="1290461"/>
                </a:cubicBezTo>
                <a:cubicBezTo>
                  <a:pt x="842453" y="1290480"/>
                  <a:pt x="842453" y="1290480"/>
                  <a:pt x="840476" y="1290500"/>
                </a:cubicBezTo>
                <a:cubicBezTo>
                  <a:pt x="837322" y="1290532"/>
                  <a:pt x="834169" y="1290583"/>
                  <a:pt x="831015" y="1290637"/>
                </a:cubicBezTo>
                <a:cubicBezTo>
                  <a:pt x="831015" y="1291568"/>
                  <a:pt x="831015" y="1292498"/>
                  <a:pt x="831015" y="1293456"/>
                </a:cubicBezTo>
                <a:cubicBezTo>
                  <a:pt x="826519" y="1294808"/>
                  <a:pt x="822922" y="1295235"/>
                  <a:pt x="818225" y="1295570"/>
                </a:cubicBezTo>
                <a:lnTo>
                  <a:pt x="796774" y="1297671"/>
                </a:lnTo>
                <a:lnTo>
                  <a:pt x="783646" y="1305736"/>
                </a:lnTo>
                <a:cubicBezTo>
                  <a:pt x="776915" y="1312506"/>
                  <a:pt x="772692" y="1318638"/>
                  <a:pt x="769263" y="1327143"/>
                </a:cubicBezTo>
                <a:cubicBezTo>
                  <a:pt x="767116" y="1332340"/>
                  <a:pt x="767116" y="1332340"/>
                  <a:pt x="764797" y="1334360"/>
                </a:cubicBezTo>
                <a:lnTo>
                  <a:pt x="757875" y="1353503"/>
                </a:lnTo>
                <a:lnTo>
                  <a:pt x="755676" y="1367455"/>
                </a:lnTo>
                <a:lnTo>
                  <a:pt x="750558" y="1399690"/>
                </a:lnTo>
                <a:lnTo>
                  <a:pt x="753057" y="1411256"/>
                </a:lnTo>
                <a:cubicBezTo>
                  <a:pt x="753057" y="1413117"/>
                  <a:pt x="753057" y="1414976"/>
                  <a:pt x="753057" y="1416893"/>
                </a:cubicBezTo>
                <a:cubicBezTo>
                  <a:pt x="754087" y="1416893"/>
                  <a:pt x="755119" y="1416893"/>
                  <a:pt x="756181" y="1416893"/>
                </a:cubicBezTo>
                <a:cubicBezTo>
                  <a:pt x="759348" y="1422607"/>
                  <a:pt x="758101" y="1429902"/>
                  <a:pt x="758133" y="1436182"/>
                </a:cubicBezTo>
                <a:cubicBezTo>
                  <a:pt x="758182" y="1438458"/>
                  <a:pt x="758182" y="1438458"/>
                  <a:pt x="758231" y="1440781"/>
                </a:cubicBezTo>
                <a:cubicBezTo>
                  <a:pt x="758283" y="1450271"/>
                  <a:pt x="758174" y="1458360"/>
                  <a:pt x="750713" y="1465704"/>
                </a:cubicBezTo>
                <a:cubicBezTo>
                  <a:pt x="749940" y="1466193"/>
                  <a:pt x="749167" y="1466681"/>
                  <a:pt x="748370" y="1467185"/>
                </a:cubicBezTo>
                <a:cubicBezTo>
                  <a:pt x="743665" y="1470047"/>
                  <a:pt x="743665" y="1470047"/>
                  <a:pt x="741633" y="1473526"/>
                </a:cubicBezTo>
                <a:cubicBezTo>
                  <a:pt x="737793" y="1477248"/>
                  <a:pt x="733582" y="1477483"/>
                  <a:pt x="728154" y="1478343"/>
                </a:cubicBezTo>
                <a:cubicBezTo>
                  <a:pt x="724855" y="1478778"/>
                  <a:pt x="724855" y="1478778"/>
                  <a:pt x="721814" y="1480308"/>
                </a:cubicBezTo>
                <a:cubicBezTo>
                  <a:pt x="717303" y="1480523"/>
                  <a:pt x="712854" y="1480634"/>
                  <a:pt x="708341" y="1480661"/>
                </a:cubicBezTo>
                <a:cubicBezTo>
                  <a:pt x="707118" y="1480690"/>
                  <a:pt x="705896" y="1480719"/>
                  <a:pt x="704637" y="1480748"/>
                </a:cubicBezTo>
                <a:cubicBezTo>
                  <a:pt x="690446" y="1480834"/>
                  <a:pt x="679632" y="1476246"/>
                  <a:pt x="668507" y="1468418"/>
                </a:cubicBezTo>
                <a:cubicBezTo>
                  <a:pt x="662823" y="1463224"/>
                  <a:pt x="661745" y="1456995"/>
                  <a:pt x="660178" y="1450027"/>
                </a:cubicBezTo>
                <a:cubicBezTo>
                  <a:pt x="659725" y="1446589"/>
                  <a:pt x="659725" y="1446589"/>
                  <a:pt x="657767" y="1445078"/>
                </a:cubicBezTo>
                <a:cubicBezTo>
                  <a:pt x="656859" y="1433686"/>
                  <a:pt x="655965" y="1419178"/>
                  <a:pt x="663369" y="1409390"/>
                </a:cubicBezTo>
                <a:cubicBezTo>
                  <a:pt x="666078" y="1406601"/>
                  <a:pt x="668921" y="1404013"/>
                  <a:pt x="671826" y="1401392"/>
                </a:cubicBezTo>
                <a:cubicBezTo>
                  <a:pt x="675197" y="1397623"/>
                  <a:pt x="677125" y="1394916"/>
                  <a:pt x="678075" y="1390118"/>
                </a:cubicBezTo>
                <a:cubicBezTo>
                  <a:pt x="680137" y="1389653"/>
                  <a:pt x="682199" y="1389188"/>
                  <a:pt x="684323" y="1388709"/>
                </a:cubicBezTo>
                <a:cubicBezTo>
                  <a:pt x="684643" y="1387232"/>
                  <a:pt x="684964" y="1385755"/>
                  <a:pt x="685293" y="1384233"/>
                </a:cubicBezTo>
                <a:cubicBezTo>
                  <a:pt x="685718" y="1382290"/>
                  <a:pt x="686144" y="1380347"/>
                  <a:pt x="686569" y="1378404"/>
                </a:cubicBezTo>
                <a:cubicBezTo>
                  <a:pt x="686885" y="1376945"/>
                  <a:pt x="686885" y="1376945"/>
                  <a:pt x="687207" y="1375456"/>
                </a:cubicBezTo>
                <a:cubicBezTo>
                  <a:pt x="688115" y="1371315"/>
                  <a:pt x="689090" y="1367353"/>
                  <a:pt x="690572" y="1363343"/>
                </a:cubicBezTo>
                <a:cubicBezTo>
                  <a:pt x="692411" y="1350128"/>
                  <a:pt x="692374" y="1336672"/>
                  <a:pt x="692495" y="1323376"/>
                </a:cubicBezTo>
                <a:cubicBezTo>
                  <a:pt x="692524" y="1320586"/>
                  <a:pt x="692574" y="1317796"/>
                  <a:pt x="692625" y="1315006"/>
                </a:cubicBezTo>
                <a:cubicBezTo>
                  <a:pt x="692853" y="1300589"/>
                  <a:pt x="692853" y="1300589"/>
                  <a:pt x="687447" y="1287245"/>
                </a:cubicBezTo>
                <a:cubicBezTo>
                  <a:pt x="685901" y="1286780"/>
                  <a:pt x="684354" y="1286315"/>
                  <a:pt x="682761" y="1285835"/>
                </a:cubicBezTo>
                <a:cubicBezTo>
                  <a:pt x="680876" y="1283743"/>
                  <a:pt x="680876" y="1283743"/>
                  <a:pt x="678954" y="1281608"/>
                </a:cubicBezTo>
                <a:cubicBezTo>
                  <a:pt x="674854" y="1277278"/>
                  <a:pt x="674356" y="1276958"/>
                  <a:pt x="668702" y="1275971"/>
                </a:cubicBezTo>
                <a:cubicBezTo>
                  <a:pt x="666619" y="1274092"/>
                  <a:pt x="664536" y="1272213"/>
                  <a:pt x="662454" y="1270334"/>
                </a:cubicBezTo>
                <a:cubicBezTo>
                  <a:pt x="658341" y="1268566"/>
                  <a:pt x="658341" y="1268566"/>
                  <a:pt x="654643" y="1267516"/>
                </a:cubicBezTo>
                <a:cubicBezTo>
                  <a:pt x="654643" y="1266585"/>
                  <a:pt x="654643" y="1265656"/>
                  <a:pt x="654643" y="1264697"/>
                </a:cubicBezTo>
                <a:cubicBezTo>
                  <a:pt x="653161" y="1264581"/>
                  <a:pt x="651679" y="1264465"/>
                  <a:pt x="650152" y="1264345"/>
                </a:cubicBezTo>
                <a:cubicBezTo>
                  <a:pt x="642318" y="1263373"/>
                  <a:pt x="635297" y="1260465"/>
                  <a:pt x="628087" y="1257651"/>
                </a:cubicBezTo>
                <a:cubicBezTo>
                  <a:pt x="628087" y="1256721"/>
                  <a:pt x="628087" y="1255791"/>
                  <a:pt x="628087" y="1254833"/>
                </a:cubicBezTo>
                <a:cubicBezTo>
                  <a:pt x="627108" y="1254662"/>
                  <a:pt x="626129" y="1254491"/>
                  <a:pt x="625121" y="1254315"/>
                </a:cubicBezTo>
                <a:cubicBezTo>
                  <a:pt x="623845" y="1254079"/>
                  <a:pt x="622568" y="1253843"/>
                  <a:pt x="621252" y="1253600"/>
                </a:cubicBezTo>
                <a:cubicBezTo>
                  <a:pt x="619984" y="1253371"/>
                  <a:pt x="618716" y="1253142"/>
                  <a:pt x="617409" y="1252906"/>
                </a:cubicBezTo>
                <a:cubicBezTo>
                  <a:pt x="614027" y="1252014"/>
                  <a:pt x="614027" y="1252014"/>
                  <a:pt x="610904" y="1249196"/>
                </a:cubicBezTo>
                <a:cubicBezTo>
                  <a:pt x="592259" y="1248653"/>
                  <a:pt x="578635" y="1260869"/>
                  <a:pt x="565739" y="1271742"/>
                </a:cubicBezTo>
                <a:cubicBezTo>
                  <a:pt x="558808" y="1277725"/>
                  <a:pt x="552763" y="1283983"/>
                  <a:pt x="546924" y="1290829"/>
                </a:cubicBezTo>
                <a:cubicBezTo>
                  <a:pt x="545838" y="1292087"/>
                  <a:pt x="544753" y="1293346"/>
                  <a:pt x="543635" y="1294643"/>
                </a:cubicBezTo>
                <a:cubicBezTo>
                  <a:pt x="542650" y="1295813"/>
                  <a:pt x="541666" y="1296983"/>
                  <a:pt x="540651" y="1298188"/>
                </a:cubicBezTo>
                <a:cubicBezTo>
                  <a:pt x="537294" y="1301526"/>
                  <a:pt x="533978" y="1303337"/>
                  <a:pt x="529673" y="1305565"/>
                </a:cubicBezTo>
                <a:cubicBezTo>
                  <a:pt x="527599" y="1308478"/>
                  <a:pt x="527599" y="1308478"/>
                  <a:pt x="526549" y="1311202"/>
                </a:cubicBezTo>
                <a:cubicBezTo>
                  <a:pt x="525518" y="1311202"/>
                  <a:pt x="524487" y="1311202"/>
                  <a:pt x="523425" y="1311202"/>
                </a:cubicBezTo>
                <a:cubicBezTo>
                  <a:pt x="523360" y="1311986"/>
                  <a:pt x="523296" y="1312771"/>
                  <a:pt x="523230" y="1313580"/>
                </a:cubicBezTo>
                <a:cubicBezTo>
                  <a:pt x="521863" y="1316839"/>
                  <a:pt x="521863" y="1316839"/>
                  <a:pt x="517732" y="1319739"/>
                </a:cubicBezTo>
                <a:cubicBezTo>
                  <a:pt x="511111" y="1324565"/>
                  <a:pt x="506875" y="1330731"/>
                  <a:pt x="502239" y="1337096"/>
                </a:cubicBezTo>
                <a:cubicBezTo>
                  <a:pt x="500512" y="1339427"/>
                  <a:pt x="498785" y="1341757"/>
                  <a:pt x="497058" y="1344087"/>
                </a:cubicBezTo>
                <a:cubicBezTo>
                  <a:pt x="495827" y="1345760"/>
                  <a:pt x="495827" y="1345760"/>
                  <a:pt x="494572" y="1347465"/>
                </a:cubicBezTo>
                <a:cubicBezTo>
                  <a:pt x="492366" y="1350414"/>
                  <a:pt x="490094" y="1353304"/>
                  <a:pt x="487776" y="1356181"/>
                </a:cubicBezTo>
                <a:cubicBezTo>
                  <a:pt x="484805" y="1359972"/>
                  <a:pt x="482865" y="1363193"/>
                  <a:pt x="481248" y="1367571"/>
                </a:cubicBezTo>
                <a:cubicBezTo>
                  <a:pt x="480216" y="1367571"/>
                  <a:pt x="479186" y="1367571"/>
                  <a:pt x="478123" y="1367571"/>
                </a:cubicBezTo>
                <a:cubicBezTo>
                  <a:pt x="477963" y="1368558"/>
                  <a:pt x="477801" y="1369547"/>
                  <a:pt x="477635" y="1370565"/>
                </a:cubicBezTo>
                <a:cubicBezTo>
                  <a:pt x="475602" y="1378236"/>
                  <a:pt x="471952" y="1383371"/>
                  <a:pt x="465626" y="1388709"/>
                </a:cubicBezTo>
                <a:cubicBezTo>
                  <a:pt x="462272" y="1392748"/>
                  <a:pt x="462272" y="1392748"/>
                  <a:pt x="461233" y="1397340"/>
                </a:cubicBezTo>
                <a:cubicBezTo>
                  <a:pt x="460030" y="1401461"/>
                  <a:pt x="458298" y="1404501"/>
                  <a:pt x="455765" y="1408086"/>
                </a:cubicBezTo>
                <a:cubicBezTo>
                  <a:pt x="442829" y="1428603"/>
                  <a:pt x="441572" y="1454548"/>
                  <a:pt x="439070" y="1477490"/>
                </a:cubicBezTo>
                <a:cubicBezTo>
                  <a:pt x="437524" y="1477955"/>
                  <a:pt x="435977" y="1478420"/>
                  <a:pt x="434384" y="1478899"/>
                </a:cubicBezTo>
                <a:cubicBezTo>
                  <a:pt x="433739" y="1479916"/>
                  <a:pt x="433095" y="1480933"/>
                  <a:pt x="432431" y="1481982"/>
                </a:cubicBezTo>
                <a:cubicBezTo>
                  <a:pt x="428860" y="1487159"/>
                  <a:pt x="424291" y="1490903"/>
                  <a:pt x="418763" y="1494401"/>
                </a:cubicBezTo>
                <a:cubicBezTo>
                  <a:pt x="417731" y="1494401"/>
                  <a:pt x="416701" y="1494401"/>
                  <a:pt x="415639" y="1494401"/>
                </a:cubicBezTo>
                <a:cubicBezTo>
                  <a:pt x="415639" y="1495330"/>
                  <a:pt x="415639" y="1496260"/>
                  <a:pt x="415639" y="1497219"/>
                </a:cubicBezTo>
                <a:cubicBezTo>
                  <a:pt x="412546" y="1497684"/>
                  <a:pt x="409453" y="1498149"/>
                  <a:pt x="406265" y="1498628"/>
                </a:cubicBezTo>
                <a:cubicBezTo>
                  <a:pt x="406265" y="1499559"/>
                  <a:pt x="406265" y="1500488"/>
                  <a:pt x="406265" y="1501447"/>
                </a:cubicBezTo>
                <a:cubicBezTo>
                  <a:pt x="395955" y="1501447"/>
                  <a:pt x="385645" y="1501447"/>
                  <a:pt x="375023" y="1501447"/>
                </a:cubicBezTo>
                <a:lnTo>
                  <a:pt x="375023" y="1499438"/>
                </a:lnTo>
                <a:lnTo>
                  <a:pt x="374964" y="1499436"/>
                </a:lnTo>
                <a:lnTo>
                  <a:pt x="373179" y="1498628"/>
                </a:lnTo>
                <a:lnTo>
                  <a:pt x="365650" y="1498628"/>
                </a:lnTo>
                <a:lnTo>
                  <a:pt x="363134" y="1494087"/>
                </a:lnTo>
                <a:lnTo>
                  <a:pt x="362171" y="1493651"/>
                </a:lnTo>
                <a:cubicBezTo>
                  <a:pt x="361656" y="1492722"/>
                  <a:pt x="361140" y="1491791"/>
                  <a:pt x="360609" y="1490833"/>
                </a:cubicBezTo>
                <a:cubicBezTo>
                  <a:pt x="361640" y="1490833"/>
                  <a:pt x="362671" y="1490833"/>
                  <a:pt x="363733" y="1490833"/>
                </a:cubicBezTo>
                <a:lnTo>
                  <a:pt x="363733" y="1489980"/>
                </a:lnTo>
                <a:lnTo>
                  <a:pt x="348467" y="1481717"/>
                </a:lnTo>
                <a:lnTo>
                  <a:pt x="343872" y="1461078"/>
                </a:lnTo>
                <a:lnTo>
                  <a:pt x="343656" y="1463649"/>
                </a:lnTo>
                <a:cubicBezTo>
                  <a:pt x="343541" y="1465230"/>
                  <a:pt x="343541" y="1465230"/>
                  <a:pt x="343424" y="1466842"/>
                </a:cubicBezTo>
                <a:cubicBezTo>
                  <a:pt x="342908" y="1466842"/>
                  <a:pt x="342393" y="1466842"/>
                  <a:pt x="341861" y="1466842"/>
                </a:cubicBezTo>
                <a:cubicBezTo>
                  <a:pt x="340987" y="1449564"/>
                  <a:pt x="340999" y="1434331"/>
                  <a:pt x="354143" y="1420549"/>
                </a:cubicBezTo>
                <a:cubicBezTo>
                  <a:pt x="360765" y="1414011"/>
                  <a:pt x="367631" y="1407790"/>
                  <a:pt x="376229" y="1403427"/>
                </a:cubicBezTo>
                <a:lnTo>
                  <a:pt x="379491" y="1404408"/>
                </a:lnTo>
                <a:lnTo>
                  <a:pt x="379710" y="1404210"/>
                </a:lnTo>
                <a:cubicBezTo>
                  <a:pt x="380290" y="1402902"/>
                  <a:pt x="380290" y="1402902"/>
                  <a:pt x="380882" y="1401568"/>
                </a:cubicBezTo>
                <a:cubicBezTo>
                  <a:pt x="383675" y="1397284"/>
                  <a:pt x="387587" y="1395610"/>
                  <a:pt x="392207" y="1392936"/>
                </a:cubicBezTo>
                <a:lnTo>
                  <a:pt x="399542" y="1386774"/>
                </a:lnTo>
                <a:lnTo>
                  <a:pt x="405485" y="1378917"/>
                </a:lnTo>
                <a:cubicBezTo>
                  <a:pt x="408065" y="1375974"/>
                  <a:pt x="410029" y="1372774"/>
                  <a:pt x="412008" y="1369481"/>
                </a:cubicBezTo>
                <a:cubicBezTo>
                  <a:pt x="414759" y="1365166"/>
                  <a:pt x="417963" y="1361131"/>
                  <a:pt x="421130" y="1357057"/>
                </a:cubicBezTo>
                <a:cubicBezTo>
                  <a:pt x="423073" y="1354140"/>
                  <a:pt x="423985" y="1351767"/>
                  <a:pt x="424676" y="1348443"/>
                </a:cubicBezTo>
                <a:lnTo>
                  <a:pt x="427275" y="1348443"/>
                </a:lnTo>
                <a:lnTo>
                  <a:pt x="428135" y="1345727"/>
                </a:lnTo>
                <a:cubicBezTo>
                  <a:pt x="429370" y="1341828"/>
                  <a:pt x="430645" y="1338666"/>
                  <a:pt x="432822" y="1335158"/>
                </a:cubicBezTo>
                <a:cubicBezTo>
                  <a:pt x="433853" y="1335158"/>
                  <a:pt x="434884" y="1335158"/>
                  <a:pt x="435946" y="1335158"/>
                </a:cubicBezTo>
                <a:cubicBezTo>
                  <a:pt x="436526" y="1333385"/>
                  <a:pt x="437106" y="1331613"/>
                  <a:pt x="437704" y="1329786"/>
                </a:cubicBezTo>
                <a:cubicBezTo>
                  <a:pt x="440162" y="1323132"/>
                  <a:pt x="443602" y="1317301"/>
                  <a:pt x="447394" y="1311196"/>
                </a:cubicBezTo>
                <a:cubicBezTo>
                  <a:pt x="456493" y="1296485"/>
                  <a:pt x="463325" y="1281864"/>
                  <a:pt x="469287" y="1265964"/>
                </a:cubicBezTo>
                <a:cubicBezTo>
                  <a:pt x="474589" y="1252134"/>
                  <a:pt x="474589" y="1252134"/>
                  <a:pt x="478178" y="1246787"/>
                </a:cubicBezTo>
                <a:cubicBezTo>
                  <a:pt x="481232" y="1240246"/>
                  <a:pt x="480204" y="1232766"/>
                  <a:pt x="480179" y="1225768"/>
                </a:cubicBezTo>
                <a:cubicBezTo>
                  <a:pt x="480174" y="1222894"/>
                  <a:pt x="480210" y="1220023"/>
                  <a:pt x="480250" y="1217149"/>
                </a:cubicBezTo>
                <a:cubicBezTo>
                  <a:pt x="480260" y="1199291"/>
                  <a:pt x="476718" y="1187768"/>
                  <a:pt x="462972" y="1174827"/>
                </a:cubicBezTo>
                <a:cubicBezTo>
                  <a:pt x="461148" y="1173192"/>
                  <a:pt x="459312" y="1171566"/>
                  <a:pt x="457468" y="1169949"/>
                </a:cubicBezTo>
                <a:cubicBezTo>
                  <a:pt x="451412" y="1164522"/>
                  <a:pt x="445876" y="1158660"/>
                  <a:pt x="440657" y="1152570"/>
                </a:cubicBezTo>
                <a:cubicBezTo>
                  <a:pt x="430474" y="1140786"/>
                  <a:pt x="418230" y="1128998"/>
                  <a:pt x="403142" y="1122366"/>
                </a:cubicBezTo>
                <a:cubicBezTo>
                  <a:pt x="402626" y="1121436"/>
                  <a:pt x="402110" y="1120506"/>
                  <a:pt x="401579" y="1119547"/>
                </a:cubicBezTo>
                <a:cubicBezTo>
                  <a:pt x="390472" y="1115326"/>
                  <a:pt x="375918" y="1114217"/>
                  <a:pt x="364564" y="1118209"/>
                </a:cubicBezTo>
                <a:cubicBezTo>
                  <a:pt x="362278" y="1119428"/>
                  <a:pt x="360026" y="1120704"/>
                  <a:pt x="357822" y="1122041"/>
                </a:cubicBezTo>
                <a:cubicBezTo>
                  <a:pt x="354521" y="1123884"/>
                  <a:pt x="351862" y="1124582"/>
                  <a:pt x="348077" y="1125273"/>
                </a:cubicBezTo>
                <a:cubicBezTo>
                  <a:pt x="341765" y="1126696"/>
                  <a:pt x="339382" y="1128619"/>
                  <a:pt x="334408" y="1132230"/>
                </a:cubicBezTo>
                <a:cubicBezTo>
                  <a:pt x="332284" y="1132909"/>
                  <a:pt x="330131" y="1133519"/>
                  <a:pt x="327964" y="1134080"/>
                </a:cubicBezTo>
                <a:cubicBezTo>
                  <a:pt x="309975" y="1139067"/>
                  <a:pt x="290592" y="1152117"/>
                  <a:pt x="279734" y="1166051"/>
                </a:cubicBezTo>
                <a:cubicBezTo>
                  <a:pt x="277929" y="1169534"/>
                  <a:pt x="277929" y="1169534"/>
                  <a:pt x="276609" y="1173098"/>
                </a:cubicBezTo>
                <a:cubicBezTo>
                  <a:pt x="272413" y="1180804"/>
                  <a:pt x="269322" y="1184144"/>
                  <a:pt x="260988" y="1188599"/>
                </a:cubicBezTo>
                <a:cubicBezTo>
                  <a:pt x="259988" y="1189435"/>
                  <a:pt x="258987" y="1190271"/>
                  <a:pt x="257956" y="1191132"/>
                </a:cubicBezTo>
                <a:lnTo>
                  <a:pt x="243805" y="1196629"/>
                </a:lnTo>
                <a:lnTo>
                  <a:pt x="243805" y="1194236"/>
                </a:lnTo>
                <a:lnTo>
                  <a:pt x="240288" y="1194765"/>
                </a:lnTo>
                <a:lnTo>
                  <a:pt x="243374" y="1194765"/>
                </a:lnTo>
                <a:lnTo>
                  <a:pt x="243374" y="1196797"/>
                </a:lnTo>
                <a:lnTo>
                  <a:pt x="243805" y="1196629"/>
                </a:lnTo>
                <a:lnTo>
                  <a:pt x="243805" y="1197055"/>
                </a:lnTo>
                <a:lnTo>
                  <a:pt x="243374" y="1197055"/>
                </a:lnTo>
                <a:lnTo>
                  <a:pt x="243374" y="1197584"/>
                </a:lnTo>
                <a:lnTo>
                  <a:pt x="241319" y="1197595"/>
                </a:lnTo>
                <a:lnTo>
                  <a:pt x="238009" y="1198881"/>
                </a:lnTo>
                <a:cubicBezTo>
                  <a:pt x="231012" y="1199584"/>
                  <a:pt x="223620" y="1198927"/>
                  <a:pt x="215687" y="1198464"/>
                </a:cubicBezTo>
                <a:lnTo>
                  <a:pt x="215687" y="1197734"/>
                </a:lnTo>
                <a:lnTo>
                  <a:pt x="213936" y="1197744"/>
                </a:lnTo>
                <a:cubicBezTo>
                  <a:pt x="210570" y="1197584"/>
                  <a:pt x="210570" y="1197584"/>
                  <a:pt x="207446" y="1196175"/>
                </a:cubicBezTo>
                <a:lnTo>
                  <a:pt x="207822" y="1195610"/>
                </a:lnTo>
                <a:lnTo>
                  <a:pt x="184737" y="1180936"/>
                </a:lnTo>
                <a:cubicBezTo>
                  <a:pt x="180258" y="1172216"/>
                  <a:pt x="179226" y="1164355"/>
                  <a:pt x="179270" y="1154866"/>
                </a:cubicBezTo>
                <a:cubicBezTo>
                  <a:pt x="179233" y="1153260"/>
                  <a:pt x="179233" y="1153260"/>
                  <a:pt x="179194" y="1151621"/>
                </a:cubicBezTo>
                <a:cubicBezTo>
                  <a:pt x="179182" y="1139523"/>
                  <a:pt x="183658" y="1128837"/>
                  <a:pt x="193195" y="1120065"/>
                </a:cubicBezTo>
                <a:cubicBezTo>
                  <a:pt x="204265" y="1110959"/>
                  <a:pt x="215062" y="1110626"/>
                  <a:pt x="229551" y="1110299"/>
                </a:cubicBezTo>
                <a:cubicBezTo>
                  <a:pt x="240132" y="1110024"/>
                  <a:pt x="250506" y="1109652"/>
                  <a:pt x="260988" y="1108274"/>
                </a:cubicBezTo>
                <a:cubicBezTo>
                  <a:pt x="260988" y="1107344"/>
                  <a:pt x="260988" y="1106413"/>
                  <a:pt x="260988" y="1105455"/>
                </a:cubicBezTo>
                <a:cubicBezTo>
                  <a:pt x="261953" y="1105078"/>
                  <a:pt x="262918" y="1104699"/>
                  <a:pt x="263911" y="1104310"/>
                </a:cubicBezTo>
                <a:cubicBezTo>
                  <a:pt x="272903" y="1100557"/>
                  <a:pt x="279802" y="1096307"/>
                  <a:pt x="286995" y="1090185"/>
                </a:cubicBezTo>
                <a:cubicBezTo>
                  <a:pt x="290956" y="1086897"/>
                  <a:pt x="295114" y="1083955"/>
                  <a:pt x="299358" y="1080970"/>
                </a:cubicBezTo>
                <a:cubicBezTo>
                  <a:pt x="306613" y="1075692"/>
                  <a:pt x="312234" y="1070023"/>
                  <a:pt x="317762" y="1063272"/>
                </a:cubicBezTo>
                <a:cubicBezTo>
                  <a:pt x="320349" y="1060360"/>
                  <a:pt x="320349" y="1060360"/>
                  <a:pt x="325035" y="1057542"/>
                </a:cubicBezTo>
                <a:cubicBezTo>
                  <a:pt x="329912" y="1045734"/>
                  <a:pt x="327928" y="1035103"/>
                  <a:pt x="325328" y="1023104"/>
                </a:cubicBezTo>
                <a:cubicBezTo>
                  <a:pt x="325069" y="1021831"/>
                  <a:pt x="324811" y="1020559"/>
                  <a:pt x="324544" y="1019247"/>
                </a:cubicBezTo>
                <a:cubicBezTo>
                  <a:pt x="322876" y="1011407"/>
                  <a:pt x="320562" y="1004340"/>
                  <a:pt x="317225" y="996945"/>
                </a:cubicBezTo>
                <a:cubicBezTo>
                  <a:pt x="316619" y="995541"/>
                  <a:pt x="316013" y="994137"/>
                  <a:pt x="315388" y="992690"/>
                </a:cubicBezTo>
                <a:cubicBezTo>
                  <a:pt x="306307" y="972561"/>
                  <a:pt x="298931" y="959343"/>
                  <a:pt x="276232" y="950666"/>
                </a:cubicBezTo>
                <a:cubicBezTo>
                  <a:pt x="274810" y="950127"/>
                  <a:pt x="273388" y="949587"/>
                  <a:pt x="271923" y="949031"/>
                </a:cubicBezTo>
                <a:cubicBezTo>
                  <a:pt x="270129" y="948244"/>
                  <a:pt x="270129" y="948244"/>
                  <a:pt x="268299" y="947441"/>
                </a:cubicBezTo>
                <a:cubicBezTo>
                  <a:pt x="247071" y="938140"/>
                  <a:pt x="222259" y="939051"/>
                  <a:pt x="199187" y="938991"/>
                </a:cubicBezTo>
                <a:cubicBezTo>
                  <a:pt x="197383" y="938984"/>
                  <a:pt x="195579" y="938978"/>
                  <a:pt x="193719" y="938971"/>
                </a:cubicBezTo>
                <a:cubicBezTo>
                  <a:pt x="192010" y="938974"/>
                  <a:pt x="190300" y="938977"/>
                  <a:pt x="188539" y="938980"/>
                </a:cubicBezTo>
                <a:cubicBezTo>
                  <a:pt x="187000" y="938981"/>
                  <a:pt x="185460" y="938983"/>
                  <a:pt x="183874" y="938985"/>
                </a:cubicBezTo>
                <a:cubicBezTo>
                  <a:pt x="180148" y="939150"/>
                  <a:pt x="177092" y="939720"/>
                  <a:pt x="173509" y="940576"/>
                </a:cubicBezTo>
                <a:cubicBezTo>
                  <a:pt x="169458" y="940674"/>
                  <a:pt x="165452" y="940710"/>
                  <a:pt x="161403" y="940664"/>
                </a:cubicBezTo>
                <a:cubicBezTo>
                  <a:pt x="160314" y="940658"/>
                  <a:pt x="159224" y="940651"/>
                  <a:pt x="158102" y="940645"/>
                </a:cubicBezTo>
                <a:lnTo>
                  <a:pt x="150875" y="940583"/>
                </a:lnTo>
                <a:lnTo>
                  <a:pt x="148425" y="940717"/>
                </a:lnTo>
                <a:lnTo>
                  <a:pt x="149617" y="940995"/>
                </a:lnTo>
                <a:cubicBezTo>
                  <a:pt x="149617" y="941459"/>
                  <a:pt x="149617" y="941924"/>
                  <a:pt x="149617" y="942404"/>
                </a:cubicBezTo>
                <a:cubicBezTo>
                  <a:pt x="148630" y="942558"/>
                  <a:pt x="147643" y="942712"/>
                  <a:pt x="146627" y="942871"/>
                </a:cubicBezTo>
                <a:cubicBezTo>
                  <a:pt x="134541" y="944804"/>
                  <a:pt x="122553" y="947081"/>
                  <a:pt x="110564" y="949449"/>
                </a:cubicBezTo>
                <a:lnTo>
                  <a:pt x="111283" y="946205"/>
                </a:lnTo>
                <a:lnTo>
                  <a:pt x="101652" y="956078"/>
                </a:lnTo>
                <a:cubicBezTo>
                  <a:pt x="99870" y="957260"/>
                  <a:pt x="99870" y="957260"/>
                  <a:pt x="98052" y="958467"/>
                </a:cubicBezTo>
                <a:cubicBezTo>
                  <a:pt x="75683" y="972989"/>
                  <a:pt x="75683" y="972989"/>
                  <a:pt x="67286" y="972989"/>
                </a:cubicBezTo>
                <a:cubicBezTo>
                  <a:pt x="67286" y="973918"/>
                  <a:pt x="67286" y="974848"/>
                  <a:pt x="67286" y="975807"/>
                </a:cubicBezTo>
                <a:cubicBezTo>
                  <a:pt x="55713" y="979519"/>
                  <a:pt x="43549" y="980689"/>
                  <a:pt x="31942" y="976423"/>
                </a:cubicBezTo>
                <a:cubicBezTo>
                  <a:pt x="19953" y="970870"/>
                  <a:pt x="10774" y="964932"/>
                  <a:pt x="5673" y="953419"/>
                </a:cubicBezTo>
                <a:cubicBezTo>
                  <a:pt x="4801" y="950441"/>
                  <a:pt x="4801" y="950441"/>
                  <a:pt x="4801" y="944804"/>
                </a:cubicBezTo>
                <a:cubicBezTo>
                  <a:pt x="3770" y="944804"/>
                  <a:pt x="2739" y="944804"/>
                  <a:pt x="1676" y="944804"/>
                </a:cubicBezTo>
                <a:cubicBezTo>
                  <a:pt x="-34" y="940174"/>
                  <a:pt x="-41" y="936720"/>
                  <a:pt x="17" y="931857"/>
                </a:cubicBezTo>
                <a:cubicBezTo>
                  <a:pt x="31" y="930325"/>
                  <a:pt x="45" y="928794"/>
                  <a:pt x="59" y="927216"/>
                </a:cubicBezTo>
                <a:cubicBezTo>
                  <a:pt x="78" y="926044"/>
                  <a:pt x="96" y="924873"/>
                  <a:pt x="115" y="923666"/>
                </a:cubicBezTo>
                <a:cubicBezTo>
                  <a:pt x="1145" y="923666"/>
                  <a:pt x="2176" y="923666"/>
                  <a:pt x="3238" y="923666"/>
                </a:cubicBezTo>
                <a:cubicBezTo>
                  <a:pt x="3238" y="921805"/>
                  <a:pt x="3238" y="919945"/>
                  <a:pt x="3238" y="918029"/>
                </a:cubicBezTo>
                <a:cubicBezTo>
                  <a:pt x="4270" y="918029"/>
                  <a:pt x="5300" y="918029"/>
                  <a:pt x="6363" y="918029"/>
                </a:cubicBezTo>
                <a:cubicBezTo>
                  <a:pt x="6459" y="916314"/>
                  <a:pt x="6556" y="914599"/>
                  <a:pt x="6656" y="912832"/>
                </a:cubicBezTo>
                <a:cubicBezTo>
                  <a:pt x="7542" y="906455"/>
                  <a:pt x="10104" y="903750"/>
                  <a:pt x="15736" y="899709"/>
                </a:cubicBezTo>
                <a:lnTo>
                  <a:pt x="17243" y="898894"/>
                </a:lnTo>
                <a:lnTo>
                  <a:pt x="16800" y="898694"/>
                </a:lnTo>
                <a:lnTo>
                  <a:pt x="24988" y="894101"/>
                </a:lnTo>
                <a:lnTo>
                  <a:pt x="26768" y="892399"/>
                </a:lnTo>
                <a:cubicBezTo>
                  <a:pt x="28282" y="891122"/>
                  <a:pt x="29038" y="890483"/>
                  <a:pt x="30198" y="890164"/>
                </a:cubicBezTo>
                <a:lnTo>
                  <a:pt x="32204" y="890054"/>
                </a:lnTo>
                <a:lnTo>
                  <a:pt x="38914" y="886291"/>
                </a:lnTo>
                <a:cubicBezTo>
                  <a:pt x="47169" y="885770"/>
                  <a:pt x="55396" y="885800"/>
                  <a:pt x="63664" y="886011"/>
                </a:cubicBezTo>
                <a:lnTo>
                  <a:pt x="63664" y="886531"/>
                </a:lnTo>
                <a:lnTo>
                  <a:pt x="70784" y="886647"/>
                </a:lnTo>
                <a:cubicBezTo>
                  <a:pt x="74787" y="887000"/>
                  <a:pt x="77233" y="887948"/>
                  <a:pt x="82126" y="889845"/>
                </a:cubicBezTo>
                <a:cubicBezTo>
                  <a:pt x="92427" y="893791"/>
                  <a:pt x="103139" y="893710"/>
                  <a:pt x="114149" y="892663"/>
                </a:cubicBezTo>
                <a:cubicBezTo>
                  <a:pt x="115696" y="891733"/>
                  <a:pt x="117242" y="890803"/>
                  <a:pt x="118836" y="889845"/>
                </a:cubicBezTo>
                <a:cubicBezTo>
                  <a:pt x="123097" y="888850"/>
                  <a:pt x="127325" y="887944"/>
                  <a:pt x="131626" y="887114"/>
                </a:cubicBezTo>
                <a:cubicBezTo>
                  <a:pt x="139750" y="885542"/>
                  <a:pt x="147376" y="883653"/>
                  <a:pt x="155116" y="880913"/>
                </a:cubicBezTo>
                <a:cubicBezTo>
                  <a:pt x="158498" y="879775"/>
                  <a:pt x="161861" y="879076"/>
                  <a:pt x="165406" y="878483"/>
                </a:cubicBezTo>
                <a:cubicBezTo>
                  <a:pt x="170342" y="877655"/>
                  <a:pt x="172265" y="876971"/>
                  <a:pt x="176634" y="874343"/>
                </a:cubicBezTo>
                <a:cubicBezTo>
                  <a:pt x="179863" y="873335"/>
                  <a:pt x="183123" y="872404"/>
                  <a:pt x="186397" y="871524"/>
                </a:cubicBezTo>
                <a:cubicBezTo>
                  <a:pt x="189107" y="870786"/>
                  <a:pt x="189107" y="870786"/>
                  <a:pt x="191871" y="870033"/>
                </a:cubicBezTo>
                <a:cubicBezTo>
                  <a:pt x="195731" y="869023"/>
                  <a:pt x="199587" y="868093"/>
                  <a:pt x="203483" y="867208"/>
                </a:cubicBezTo>
                <a:cubicBezTo>
                  <a:pt x="208339" y="866199"/>
                  <a:pt x="208339" y="866199"/>
                  <a:pt x="211001" y="861660"/>
                </a:cubicBezTo>
                <a:cubicBezTo>
                  <a:pt x="214174" y="860102"/>
                  <a:pt x="214174" y="860102"/>
                  <a:pt x="218031" y="858577"/>
                </a:cubicBezTo>
                <a:cubicBezTo>
                  <a:pt x="236068" y="850629"/>
                  <a:pt x="245199" y="840442"/>
                  <a:pt x="254740" y="825020"/>
                </a:cubicBezTo>
                <a:cubicBezTo>
                  <a:pt x="255771" y="823625"/>
                  <a:pt x="256802" y="822230"/>
                  <a:pt x="257864" y="820792"/>
                </a:cubicBezTo>
                <a:cubicBezTo>
                  <a:pt x="258359" y="817506"/>
                  <a:pt x="258359" y="817506"/>
                  <a:pt x="258318" y="813810"/>
                </a:cubicBezTo>
                <a:cubicBezTo>
                  <a:pt x="258338" y="812388"/>
                  <a:pt x="258358" y="810967"/>
                  <a:pt x="258378" y="809502"/>
                </a:cubicBezTo>
                <a:cubicBezTo>
                  <a:pt x="258382" y="807965"/>
                  <a:pt x="258385" y="806429"/>
                  <a:pt x="258389" y="804845"/>
                </a:cubicBezTo>
                <a:cubicBezTo>
                  <a:pt x="258399" y="803258"/>
                  <a:pt x="258410" y="801671"/>
                  <a:pt x="258420" y="800036"/>
                </a:cubicBezTo>
                <a:cubicBezTo>
                  <a:pt x="258436" y="796670"/>
                  <a:pt x="258443" y="793305"/>
                  <a:pt x="258443" y="789939"/>
                </a:cubicBezTo>
                <a:cubicBezTo>
                  <a:pt x="258450" y="784823"/>
                  <a:pt x="258506" y="779709"/>
                  <a:pt x="258566" y="774594"/>
                </a:cubicBezTo>
                <a:cubicBezTo>
                  <a:pt x="258575" y="771319"/>
                  <a:pt x="258581" y="768045"/>
                  <a:pt x="258584" y="764771"/>
                </a:cubicBezTo>
                <a:cubicBezTo>
                  <a:pt x="258618" y="762495"/>
                  <a:pt x="258618" y="762495"/>
                  <a:pt x="258652" y="760174"/>
                </a:cubicBezTo>
                <a:cubicBezTo>
                  <a:pt x="258586" y="750030"/>
                  <a:pt x="256266" y="742584"/>
                  <a:pt x="251616" y="733421"/>
                </a:cubicBezTo>
                <a:cubicBezTo>
                  <a:pt x="250163" y="729605"/>
                  <a:pt x="248880" y="725752"/>
                  <a:pt x="247613" y="721883"/>
                </a:cubicBezTo>
                <a:cubicBezTo>
                  <a:pt x="245789" y="716328"/>
                  <a:pt x="243913" y="710939"/>
                  <a:pt x="241291" y="705644"/>
                </a:cubicBezTo>
                <a:cubicBezTo>
                  <a:pt x="238691" y="700096"/>
                  <a:pt x="238136" y="695685"/>
                  <a:pt x="237557" y="689735"/>
                </a:cubicBezTo>
                <a:cubicBezTo>
                  <a:pt x="244977" y="685507"/>
                  <a:pt x="244977" y="685507"/>
                  <a:pt x="248492" y="685507"/>
                </a:cubicBezTo>
                <a:cubicBezTo>
                  <a:pt x="248492" y="684112"/>
                  <a:pt x="248492" y="682717"/>
                  <a:pt x="248492" y="681279"/>
                </a:cubicBezTo>
                <a:cubicBezTo>
                  <a:pt x="245914" y="680815"/>
                  <a:pt x="243337" y="680350"/>
                  <a:pt x="240681" y="679870"/>
                </a:cubicBezTo>
                <a:cubicBezTo>
                  <a:pt x="240681" y="678940"/>
                  <a:pt x="240681" y="678010"/>
                  <a:pt x="240681" y="677052"/>
                </a:cubicBezTo>
                <a:cubicBezTo>
                  <a:pt x="239827" y="676917"/>
                  <a:pt x="238973" y="676783"/>
                  <a:pt x="238094" y="676645"/>
                </a:cubicBezTo>
                <a:cubicBezTo>
                  <a:pt x="233442" y="675371"/>
                  <a:pt x="229939" y="673242"/>
                  <a:pt x="225841" y="670886"/>
                </a:cubicBezTo>
                <a:cubicBezTo>
                  <a:pt x="217808" y="666564"/>
                  <a:pt x="210635" y="664241"/>
                  <a:pt x="201531" y="662508"/>
                </a:cubicBezTo>
                <a:cubicBezTo>
                  <a:pt x="196896" y="661541"/>
                  <a:pt x="192682" y="660199"/>
                  <a:pt x="188252" y="658644"/>
                </a:cubicBezTo>
                <a:lnTo>
                  <a:pt x="182431" y="657327"/>
                </a:lnTo>
                <a:lnTo>
                  <a:pt x="182431" y="657613"/>
                </a:lnTo>
                <a:cubicBezTo>
                  <a:pt x="170575" y="657148"/>
                  <a:pt x="158718" y="656683"/>
                  <a:pt x="146503" y="656204"/>
                </a:cubicBezTo>
                <a:cubicBezTo>
                  <a:pt x="146503" y="657133"/>
                  <a:pt x="146503" y="658064"/>
                  <a:pt x="146503" y="659022"/>
                </a:cubicBezTo>
                <a:cubicBezTo>
                  <a:pt x="134359" y="662326"/>
                  <a:pt x="123013" y="663700"/>
                  <a:pt x="110378" y="663778"/>
                </a:cubicBezTo>
                <a:cubicBezTo>
                  <a:pt x="108435" y="663806"/>
                  <a:pt x="108435" y="663806"/>
                  <a:pt x="106453" y="663836"/>
                </a:cubicBezTo>
                <a:cubicBezTo>
                  <a:pt x="105231" y="663828"/>
                  <a:pt x="104009" y="663820"/>
                  <a:pt x="102751" y="663811"/>
                </a:cubicBezTo>
                <a:cubicBezTo>
                  <a:pt x="101117" y="663804"/>
                  <a:pt x="101117" y="663804"/>
                  <a:pt x="99449" y="663797"/>
                </a:cubicBezTo>
                <a:cubicBezTo>
                  <a:pt x="95696" y="663097"/>
                  <a:pt x="94265" y="661615"/>
                  <a:pt x="91828" y="659022"/>
                </a:cubicBezTo>
                <a:cubicBezTo>
                  <a:pt x="93890" y="659022"/>
                  <a:pt x="95953" y="659022"/>
                  <a:pt x="98077" y="659022"/>
                </a:cubicBezTo>
                <a:cubicBezTo>
                  <a:pt x="98077" y="659952"/>
                  <a:pt x="98077" y="660882"/>
                  <a:pt x="98077" y="661841"/>
                </a:cubicBezTo>
                <a:cubicBezTo>
                  <a:pt x="108735" y="662045"/>
                  <a:pt x="114063" y="662148"/>
                  <a:pt x="119023" y="661357"/>
                </a:cubicBezTo>
                <a:lnTo>
                  <a:pt x="119536" y="661197"/>
                </a:lnTo>
                <a:lnTo>
                  <a:pt x="109853" y="661639"/>
                </a:lnTo>
                <a:cubicBezTo>
                  <a:pt x="108764" y="661632"/>
                  <a:pt x="107675" y="661626"/>
                  <a:pt x="106552" y="661619"/>
                </a:cubicBezTo>
                <a:cubicBezTo>
                  <a:pt x="103877" y="661603"/>
                  <a:pt x="101203" y="661577"/>
                  <a:pt x="98528" y="661550"/>
                </a:cubicBezTo>
                <a:cubicBezTo>
                  <a:pt x="98528" y="660620"/>
                  <a:pt x="98528" y="659691"/>
                  <a:pt x="98528" y="658732"/>
                </a:cubicBezTo>
                <a:cubicBezTo>
                  <a:pt x="95435" y="658267"/>
                  <a:pt x="92342" y="657802"/>
                  <a:pt x="89155" y="657323"/>
                </a:cubicBezTo>
                <a:cubicBezTo>
                  <a:pt x="89155" y="656393"/>
                  <a:pt x="89155" y="655462"/>
                  <a:pt x="89155" y="654504"/>
                </a:cubicBezTo>
                <a:cubicBezTo>
                  <a:pt x="87790" y="653978"/>
                  <a:pt x="87790" y="653978"/>
                  <a:pt x="86397" y="653442"/>
                </a:cubicBezTo>
                <a:cubicBezTo>
                  <a:pt x="82415" y="651438"/>
                  <a:pt x="80039" y="649232"/>
                  <a:pt x="77049" y="646137"/>
                </a:cubicBezTo>
                <a:cubicBezTo>
                  <a:pt x="75611" y="644679"/>
                  <a:pt x="75611" y="644679"/>
                  <a:pt x="74145" y="643192"/>
                </a:cubicBezTo>
                <a:cubicBezTo>
                  <a:pt x="71972" y="640412"/>
                  <a:pt x="71972" y="640412"/>
                  <a:pt x="71972" y="636185"/>
                </a:cubicBezTo>
                <a:cubicBezTo>
                  <a:pt x="70941" y="636185"/>
                  <a:pt x="69910" y="636185"/>
                  <a:pt x="68848" y="636185"/>
                </a:cubicBezTo>
                <a:cubicBezTo>
                  <a:pt x="64250" y="621928"/>
                  <a:pt x="64695" y="609404"/>
                  <a:pt x="70410" y="595317"/>
                </a:cubicBezTo>
                <a:cubicBezTo>
                  <a:pt x="73096" y="591142"/>
                  <a:pt x="76144" y="587574"/>
                  <a:pt x="79782" y="584043"/>
                </a:cubicBezTo>
                <a:cubicBezTo>
                  <a:pt x="81205" y="582594"/>
                  <a:pt x="81205" y="582594"/>
                  <a:pt x="82656" y="581115"/>
                </a:cubicBezTo>
                <a:cubicBezTo>
                  <a:pt x="91488" y="574027"/>
                  <a:pt x="105133" y="571806"/>
                  <a:pt x="116694" y="572323"/>
                </a:cubicBezTo>
                <a:cubicBezTo>
                  <a:pt x="131556" y="574113"/>
                  <a:pt x="142046" y="580551"/>
                  <a:pt x="152031" y="590385"/>
                </a:cubicBezTo>
                <a:cubicBezTo>
                  <a:pt x="162272" y="600009"/>
                  <a:pt x="176992" y="605062"/>
                  <a:pt x="191474" y="605886"/>
                </a:cubicBezTo>
                <a:cubicBezTo>
                  <a:pt x="196845" y="606192"/>
                  <a:pt x="201203" y="606463"/>
                  <a:pt x="206314" y="608000"/>
                </a:cubicBezTo>
                <a:cubicBezTo>
                  <a:pt x="206314" y="608930"/>
                  <a:pt x="206314" y="609860"/>
                  <a:pt x="206314" y="610818"/>
                </a:cubicBezTo>
                <a:cubicBezTo>
                  <a:pt x="215689" y="610902"/>
                  <a:pt x="225058" y="610898"/>
                  <a:pt x="234433" y="610818"/>
                </a:cubicBezTo>
                <a:cubicBezTo>
                  <a:pt x="236112" y="610813"/>
                  <a:pt x="237791" y="610808"/>
                  <a:pt x="239522" y="610802"/>
                </a:cubicBezTo>
                <a:cubicBezTo>
                  <a:pt x="251005" y="610364"/>
                  <a:pt x="259257" y="606564"/>
                  <a:pt x="268799" y="600954"/>
                </a:cubicBezTo>
                <a:cubicBezTo>
                  <a:pt x="269770" y="600416"/>
                  <a:pt x="270740" y="599879"/>
                  <a:pt x="271740" y="599325"/>
                </a:cubicBezTo>
                <a:cubicBezTo>
                  <a:pt x="279452" y="594430"/>
                  <a:pt x="281420" y="587464"/>
                  <a:pt x="284420" y="579816"/>
                </a:cubicBezTo>
                <a:cubicBezTo>
                  <a:pt x="286047" y="576075"/>
                  <a:pt x="287725" y="572353"/>
                  <a:pt x="289399" y="568630"/>
                </a:cubicBezTo>
                <a:cubicBezTo>
                  <a:pt x="294095" y="558121"/>
                  <a:pt x="299004" y="547070"/>
                  <a:pt x="293958" y="535838"/>
                </a:cubicBezTo>
                <a:cubicBezTo>
                  <a:pt x="292436" y="533533"/>
                  <a:pt x="290781" y="531301"/>
                  <a:pt x="289107" y="529084"/>
                </a:cubicBezTo>
                <a:cubicBezTo>
                  <a:pt x="289107" y="528153"/>
                  <a:pt x="289107" y="527223"/>
                  <a:pt x="289107" y="526265"/>
                </a:cubicBezTo>
                <a:cubicBezTo>
                  <a:pt x="287560" y="525800"/>
                  <a:pt x="286014" y="525335"/>
                  <a:pt x="284420" y="524856"/>
                </a:cubicBezTo>
                <a:cubicBezTo>
                  <a:pt x="283905" y="523461"/>
                  <a:pt x="283389" y="522066"/>
                  <a:pt x="282858" y="520628"/>
                </a:cubicBezTo>
                <a:cubicBezTo>
                  <a:pt x="280750" y="518590"/>
                  <a:pt x="280750" y="518590"/>
                  <a:pt x="277977" y="516577"/>
                </a:cubicBezTo>
                <a:cubicBezTo>
                  <a:pt x="273591" y="513232"/>
                  <a:pt x="269227" y="509874"/>
                  <a:pt x="264925" y="506443"/>
                </a:cubicBezTo>
                <a:cubicBezTo>
                  <a:pt x="253596" y="497433"/>
                  <a:pt x="242132" y="488987"/>
                  <a:pt x="229746" y="481170"/>
                </a:cubicBezTo>
                <a:cubicBezTo>
                  <a:pt x="226846" y="479266"/>
                  <a:pt x="223950" y="477358"/>
                  <a:pt x="221057" y="475445"/>
                </a:cubicBezTo>
                <a:cubicBezTo>
                  <a:pt x="218227" y="473594"/>
                  <a:pt x="215396" y="471744"/>
                  <a:pt x="212563" y="469896"/>
                </a:cubicBezTo>
                <a:cubicBezTo>
                  <a:pt x="211351" y="469102"/>
                  <a:pt x="210138" y="468309"/>
                  <a:pt x="208889" y="467491"/>
                </a:cubicBezTo>
                <a:cubicBezTo>
                  <a:pt x="202848" y="463599"/>
                  <a:pt x="196732" y="459888"/>
                  <a:pt x="190406" y="456382"/>
                </a:cubicBezTo>
                <a:cubicBezTo>
                  <a:pt x="189263" y="455748"/>
                  <a:pt x="188119" y="455114"/>
                  <a:pt x="186942" y="454460"/>
                </a:cubicBezTo>
                <a:cubicBezTo>
                  <a:pt x="184648" y="453196"/>
                  <a:pt x="182348" y="451941"/>
                  <a:pt x="180041" y="450696"/>
                </a:cubicBezTo>
                <a:cubicBezTo>
                  <a:pt x="177292" y="449185"/>
                  <a:pt x="174612" y="447571"/>
                  <a:pt x="171948" y="445940"/>
                </a:cubicBezTo>
                <a:cubicBezTo>
                  <a:pt x="171948" y="445009"/>
                  <a:pt x="171948" y="444079"/>
                  <a:pt x="171948" y="443121"/>
                </a:cubicBezTo>
                <a:cubicBezTo>
                  <a:pt x="170804" y="442985"/>
                  <a:pt x="169660" y="442848"/>
                  <a:pt x="168482" y="442708"/>
                </a:cubicBezTo>
                <a:cubicBezTo>
                  <a:pt x="163547" y="441576"/>
                  <a:pt x="161063" y="439897"/>
                  <a:pt x="157107" y="437044"/>
                </a:cubicBezTo>
                <a:cubicBezTo>
                  <a:pt x="149345" y="431895"/>
                  <a:pt x="141843" y="429626"/>
                  <a:pt x="132559" y="427510"/>
                </a:cubicBezTo>
                <a:cubicBezTo>
                  <a:pt x="128067" y="426168"/>
                  <a:pt x="126607" y="425060"/>
                  <a:pt x="123522" y="421983"/>
                </a:cubicBezTo>
                <a:cubicBezTo>
                  <a:pt x="118310" y="419033"/>
                  <a:pt x="114076" y="418794"/>
                  <a:pt x="107986" y="418730"/>
                </a:cubicBezTo>
                <a:cubicBezTo>
                  <a:pt x="106174" y="418694"/>
                  <a:pt x="104362" y="418659"/>
                  <a:pt x="102494" y="418622"/>
                </a:cubicBezTo>
                <a:cubicBezTo>
                  <a:pt x="98715" y="418573"/>
                  <a:pt x="94936" y="418529"/>
                  <a:pt x="91157" y="418490"/>
                </a:cubicBezTo>
                <a:cubicBezTo>
                  <a:pt x="78470" y="418231"/>
                  <a:pt x="65485" y="417940"/>
                  <a:pt x="55277" y="410445"/>
                </a:cubicBezTo>
                <a:cubicBezTo>
                  <a:pt x="54084" y="409137"/>
                  <a:pt x="52893" y="407829"/>
                  <a:pt x="51665" y="406481"/>
                </a:cubicBezTo>
                <a:cubicBezTo>
                  <a:pt x="49752" y="404480"/>
                  <a:pt x="47831" y="402483"/>
                  <a:pt x="45904" y="400492"/>
                </a:cubicBezTo>
                <a:cubicBezTo>
                  <a:pt x="44996" y="399526"/>
                  <a:pt x="44088" y="398559"/>
                  <a:pt x="43152" y="397564"/>
                </a:cubicBezTo>
                <a:cubicBezTo>
                  <a:pt x="40865" y="395062"/>
                  <a:pt x="40865" y="395062"/>
                  <a:pt x="37605" y="393798"/>
                </a:cubicBezTo>
                <a:lnTo>
                  <a:pt x="38995" y="368712"/>
                </a:lnTo>
                <a:lnTo>
                  <a:pt x="38666" y="369724"/>
                </a:lnTo>
                <a:cubicBezTo>
                  <a:pt x="37003" y="374506"/>
                  <a:pt x="36202" y="379113"/>
                  <a:pt x="35542" y="384081"/>
                </a:cubicBezTo>
                <a:cubicBezTo>
                  <a:pt x="30313" y="376119"/>
                  <a:pt x="31188" y="366593"/>
                  <a:pt x="33326" y="357791"/>
                </a:cubicBezTo>
                <a:cubicBezTo>
                  <a:pt x="37176" y="347767"/>
                  <a:pt x="44536" y="340769"/>
                  <a:pt x="52725" y="333349"/>
                </a:cubicBezTo>
                <a:lnTo>
                  <a:pt x="55222" y="334475"/>
                </a:lnTo>
                <a:lnTo>
                  <a:pt x="56222" y="333347"/>
                </a:lnTo>
                <a:lnTo>
                  <a:pt x="55871" y="333347"/>
                </a:lnTo>
                <a:lnTo>
                  <a:pt x="56346" y="333207"/>
                </a:lnTo>
                <a:lnTo>
                  <a:pt x="56351" y="333202"/>
                </a:lnTo>
                <a:lnTo>
                  <a:pt x="56365" y="333202"/>
                </a:lnTo>
                <a:lnTo>
                  <a:pt x="79571" y="326360"/>
                </a:lnTo>
                <a:cubicBezTo>
                  <a:pt x="87782" y="326037"/>
                  <a:pt x="96164" y="327572"/>
                  <a:pt x="104297" y="330529"/>
                </a:cubicBezTo>
                <a:lnTo>
                  <a:pt x="107170" y="334417"/>
                </a:lnTo>
                <a:lnTo>
                  <a:pt x="109366" y="336046"/>
                </a:lnTo>
                <a:lnTo>
                  <a:pt x="109463" y="336020"/>
                </a:lnTo>
                <a:lnTo>
                  <a:pt x="109463" y="336118"/>
                </a:lnTo>
                <a:lnTo>
                  <a:pt x="115226" y="340394"/>
                </a:lnTo>
                <a:lnTo>
                  <a:pt x="114010" y="340120"/>
                </a:lnTo>
                <a:lnTo>
                  <a:pt x="133285" y="357423"/>
                </a:lnTo>
                <a:cubicBezTo>
                  <a:pt x="142471" y="373187"/>
                  <a:pt x="155564" y="382744"/>
                  <a:pt x="173509" y="389571"/>
                </a:cubicBezTo>
                <a:cubicBezTo>
                  <a:pt x="176254" y="390785"/>
                  <a:pt x="178988" y="392017"/>
                  <a:pt x="181711" y="393270"/>
                </a:cubicBezTo>
                <a:cubicBezTo>
                  <a:pt x="182964" y="393833"/>
                  <a:pt x="184216" y="394396"/>
                  <a:pt x="185507" y="394976"/>
                </a:cubicBezTo>
                <a:cubicBezTo>
                  <a:pt x="187897" y="396058"/>
                  <a:pt x="190281" y="397151"/>
                  <a:pt x="192658" y="398257"/>
                </a:cubicBezTo>
                <a:cubicBezTo>
                  <a:pt x="193749" y="398762"/>
                  <a:pt x="194841" y="399267"/>
                  <a:pt x="195966" y="399788"/>
                </a:cubicBezTo>
                <a:cubicBezTo>
                  <a:pt x="196912" y="400231"/>
                  <a:pt x="197858" y="400674"/>
                  <a:pt x="198833" y="401131"/>
                </a:cubicBezTo>
                <a:cubicBezTo>
                  <a:pt x="201808" y="402326"/>
                  <a:pt x="204701" y="403032"/>
                  <a:pt x="207877" y="403663"/>
                </a:cubicBezTo>
                <a:cubicBezTo>
                  <a:pt x="207877" y="404593"/>
                  <a:pt x="207877" y="405523"/>
                  <a:pt x="207877" y="406481"/>
                </a:cubicBezTo>
                <a:cubicBezTo>
                  <a:pt x="221233" y="411377"/>
                  <a:pt x="234752" y="415503"/>
                  <a:pt x="248492" y="419428"/>
                </a:cubicBezTo>
                <a:cubicBezTo>
                  <a:pt x="250298" y="419947"/>
                  <a:pt x="252104" y="420466"/>
                  <a:pt x="253965" y="421000"/>
                </a:cubicBezTo>
                <a:cubicBezTo>
                  <a:pt x="258388" y="422270"/>
                  <a:pt x="262812" y="423537"/>
                  <a:pt x="267237" y="424801"/>
                </a:cubicBezTo>
                <a:lnTo>
                  <a:pt x="267237" y="426451"/>
                </a:lnTo>
                <a:lnTo>
                  <a:pt x="288701" y="429217"/>
                </a:lnTo>
                <a:cubicBezTo>
                  <a:pt x="288701" y="430147"/>
                  <a:pt x="288701" y="431078"/>
                  <a:pt x="288701" y="432036"/>
                </a:cubicBezTo>
                <a:cubicBezTo>
                  <a:pt x="301487" y="433472"/>
                  <a:pt x="314148" y="433662"/>
                  <a:pt x="327010" y="433628"/>
                </a:cubicBezTo>
                <a:cubicBezTo>
                  <a:pt x="330502" y="433621"/>
                  <a:pt x="333994" y="433628"/>
                  <a:pt x="337486" y="433637"/>
                </a:cubicBezTo>
                <a:cubicBezTo>
                  <a:pt x="339734" y="433637"/>
                  <a:pt x="341982" y="433635"/>
                  <a:pt x="344229" y="433632"/>
                </a:cubicBezTo>
                <a:cubicBezTo>
                  <a:pt x="347246" y="433630"/>
                  <a:pt x="347246" y="433630"/>
                  <a:pt x="350323" y="433627"/>
                </a:cubicBezTo>
                <a:cubicBezTo>
                  <a:pt x="355445" y="433459"/>
                  <a:pt x="360220" y="432915"/>
                  <a:pt x="365245" y="432036"/>
                </a:cubicBezTo>
                <a:lnTo>
                  <a:pt x="360797" y="433759"/>
                </a:lnTo>
                <a:lnTo>
                  <a:pt x="365650" y="433257"/>
                </a:lnTo>
                <a:cubicBezTo>
                  <a:pt x="366166" y="431861"/>
                  <a:pt x="366682" y="430466"/>
                  <a:pt x="367213" y="429029"/>
                </a:cubicBezTo>
                <a:cubicBezTo>
                  <a:pt x="369854" y="427628"/>
                  <a:pt x="372501" y="426234"/>
                  <a:pt x="375188" y="424906"/>
                </a:cubicBezTo>
                <a:cubicBezTo>
                  <a:pt x="390245" y="417204"/>
                  <a:pt x="397438" y="403183"/>
                  <a:pt x="404704" y="389571"/>
                </a:cubicBezTo>
                <a:cubicBezTo>
                  <a:pt x="405219" y="389105"/>
                  <a:pt x="405734" y="388641"/>
                  <a:pt x="406265" y="388161"/>
                </a:cubicBezTo>
                <a:cubicBezTo>
                  <a:pt x="406663" y="382152"/>
                  <a:pt x="406555" y="376125"/>
                  <a:pt x="406559" y="370106"/>
                </a:cubicBezTo>
                <a:cubicBezTo>
                  <a:pt x="406578" y="368412"/>
                  <a:pt x="406597" y="366718"/>
                  <a:pt x="406617" y="364973"/>
                </a:cubicBezTo>
                <a:cubicBezTo>
                  <a:pt x="406620" y="363344"/>
                  <a:pt x="406622" y="361715"/>
                  <a:pt x="406626" y="360038"/>
                </a:cubicBezTo>
                <a:cubicBezTo>
                  <a:pt x="406632" y="358541"/>
                  <a:pt x="406638" y="357045"/>
                  <a:pt x="406645" y="355503"/>
                </a:cubicBezTo>
                <a:cubicBezTo>
                  <a:pt x="406264" y="351503"/>
                  <a:pt x="405326" y="349318"/>
                  <a:pt x="403142" y="345885"/>
                </a:cubicBezTo>
                <a:cubicBezTo>
                  <a:pt x="402583" y="343484"/>
                  <a:pt x="402067" y="341075"/>
                  <a:pt x="401579" y="338663"/>
                </a:cubicBezTo>
                <a:cubicBezTo>
                  <a:pt x="399365" y="330323"/>
                  <a:pt x="395538" y="323370"/>
                  <a:pt x="390938" y="315939"/>
                </a:cubicBezTo>
                <a:cubicBezTo>
                  <a:pt x="390290" y="314890"/>
                  <a:pt x="389642" y="313842"/>
                  <a:pt x="388976" y="312762"/>
                </a:cubicBezTo>
                <a:cubicBezTo>
                  <a:pt x="385623" y="307500"/>
                  <a:pt x="382070" y="302607"/>
                  <a:pt x="377934" y="297817"/>
                </a:cubicBezTo>
                <a:cubicBezTo>
                  <a:pt x="373788" y="292978"/>
                  <a:pt x="371423" y="288111"/>
                  <a:pt x="368775" y="282470"/>
                </a:cubicBezTo>
                <a:cubicBezTo>
                  <a:pt x="366035" y="278585"/>
                  <a:pt x="362994" y="274937"/>
                  <a:pt x="359890" y="271284"/>
                </a:cubicBezTo>
                <a:cubicBezTo>
                  <a:pt x="359059" y="270296"/>
                  <a:pt x="358230" y="269307"/>
                  <a:pt x="357374" y="268288"/>
                </a:cubicBezTo>
                <a:cubicBezTo>
                  <a:pt x="351312" y="261177"/>
                  <a:pt x="344882" y="254704"/>
                  <a:pt x="337533" y="248649"/>
                </a:cubicBezTo>
                <a:cubicBezTo>
                  <a:pt x="336767" y="247896"/>
                  <a:pt x="336002" y="247144"/>
                  <a:pt x="335214" y="246369"/>
                </a:cubicBezTo>
                <a:cubicBezTo>
                  <a:pt x="332597" y="243963"/>
                  <a:pt x="332597" y="243963"/>
                  <a:pt x="327085" y="242571"/>
                </a:cubicBezTo>
                <a:cubicBezTo>
                  <a:pt x="309670" y="236923"/>
                  <a:pt x="296614" y="222751"/>
                  <a:pt x="288785" y="207968"/>
                </a:cubicBezTo>
                <a:cubicBezTo>
                  <a:pt x="286673" y="202851"/>
                  <a:pt x="286348" y="197968"/>
                  <a:pt x="286373" y="192544"/>
                </a:cubicBezTo>
                <a:cubicBezTo>
                  <a:pt x="286377" y="191437"/>
                  <a:pt x="286381" y="190330"/>
                  <a:pt x="286385" y="189190"/>
                </a:cubicBezTo>
                <a:cubicBezTo>
                  <a:pt x="286881" y="178340"/>
                  <a:pt x="291581" y="171728"/>
                  <a:pt x="300042" y="164095"/>
                </a:cubicBezTo>
                <a:cubicBezTo>
                  <a:pt x="301386" y="162752"/>
                  <a:pt x="301386" y="162752"/>
                  <a:pt x="302757" y="161381"/>
                </a:cubicBezTo>
                <a:cubicBezTo>
                  <a:pt x="312597" y="152504"/>
                  <a:pt x="325185" y="152675"/>
                  <a:pt x="338411" y="152293"/>
                </a:cubicBezTo>
                <a:cubicBezTo>
                  <a:pt x="350839" y="152463"/>
                  <a:pt x="359094" y="154554"/>
                  <a:pt x="368482" y="161893"/>
                </a:cubicBezTo>
                <a:cubicBezTo>
                  <a:pt x="369609" y="163085"/>
                  <a:pt x="370737" y="164277"/>
                  <a:pt x="371899" y="165505"/>
                </a:cubicBezTo>
                <a:cubicBezTo>
                  <a:pt x="372962" y="166522"/>
                  <a:pt x="374026" y="167539"/>
                  <a:pt x="375121" y="168587"/>
                </a:cubicBezTo>
                <a:cubicBezTo>
                  <a:pt x="381050" y="176351"/>
                  <a:pt x="384520" y="184328"/>
                  <a:pt x="384982" y="193777"/>
                </a:cubicBezTo>
                <a:cubicBezTo>
                  <a:pt x="385464" y="201192"/>
                  <a:pt x="387638" y="207607"/>
                  <a:pt x="390352" y="214563"/>
                </a:cubicBezTo>
                <a:cubicBezTo>
                  <a:pt x="390934" y="216079"/>
                  <a:pt x="390934" y="216079"/>
                  <a:pt x="391529" y="217626"/>
                </a:cubicBezTo>
                <a:cubicBezTo>
                  <a:pt x="394082" y="223926"/>
                  <a:pt x="397412" y="228969"/>
                  <a:pt x="401579" y="234556"/>
                </a:cubicBezTo>
                <a:cubicBezTo>
                  <a:pt x="401579" y="235952"/>
                  <a:pt x="401579" y="237347"/>
                  <a:pt x="401579" y="238784"/>
                </a:cubicBezTo>
                <a:cubicBezTo>
                  <a:pt x="402884" y="239263"/>
                  <a:pt x="402884" y="239263"/>
                  <a:pt x="404215" y="239753"/>
                </a:cubicBezTo>
                <a:cubicBezTo>
                  <a:pt x="410099" y="242765"/>
                  <a:pt x="414395" y="246733"/>
                  <a:pt x="417811" y="251996"/>
                </a:cubicBezTo>
                <a:cubicBezTo>
                  <a:pt x="420462" y="255897"/>
                  <a:pt x="423407" y="258959"/>
                  <a:pt x="426866" y="262300"/>
                </a:cubicBezTo>
                <a:cubicBezTo>
                  <a:pt x="435101" y="270407"/>
                  <a:pt x="442641" y="278936"/>
                  <a:pt x="450097" y="287628"/>
                </a:cubicBezTo>
                <a:cubicBezTo>
                  <a:pt x="453081" y="291117"/>
                  <a:pt x="453081" y="291117"/>
                  <a:pt x="457425" y="293920"/>
                </a:cubicBezTo>
                <a:cubicBezTo>
                  <a:pt x="458585" y="294792"/>
                  <a:pt x="459745" y="295664"/>
                  <a:pt x="460940" y="296562"/>
                </a:cubicBezTo>
                <a:cubicBezTo>
                  <a:pt x="460940" y="297957"/>
                  <a:pt x="460940" y="299352"/>
                  <a:pt x="460940" y="300790"/>
                </a:cubicBezTo>
                <a:cubicBezTo>
                  <a:pt x="465063" y="302782"/>
                  <a:pt x="468862" y="304133"/>
                  <a:pt x="473437" y="305018"/>
                </a:cubicBezTo>
                <a:cubicBezTo>
                  <a:pt x="473437" y="305947"/>
                  <a:pt x="473437" y="306877"/>
                  <a:pt x="473437" y="307836"/>
                </a:cubicBezTo>
                <a:cubicBezTo>
                  <a:pt x="475581" y="308519"/>
                  <a:pt x="477730" y="309193"/>
                  <a:pt x="479881" y="309862"/>
                </a:cubicBezTo>
                <a:cubicBezTo>
                  <a:pt x="481077" y="310237"/>
                  <a:pt x="482273" y="310614"/>
                  <a:pt x="483505" y="311001"/>
                </a:cubicBezTo>
                <a:cubicBezTo>
                  <a:pt x="505448" y="316843"/>
                  <a:pt x="527690" y="314359"/>
                  <a:pt x="548419" y="306427"/>
                </a:cubicBezTo>
                <a:cubicBezTo>
                  <a:pt x="549548" y="305998"/>
                  <a:pt x="550678" y="305569"/>
                  <a:pt x="551842" y="305127"/>
                </a:cubicBezTo>
                <a:cubicBezTo>
                  <a:pt x="555376" y="303227"/>
                  <a:pt x="557584" y="300980"/>
                  <a:pt x="560232" y="298148"/>
                </a:cubicBezTo>
                <a:cubicBezTo>
                  <a:pt x="561137" y="297192"/>
                  <a:pt x="562041" y="296236"/>
                  <a:pt x="562972" y="295252"/>
                </a:cubicBezTo>
                <a:cubicBezTo>
                  <a:pt x="564755" y="293274"/>
                  <a:pt x="566459" y="291237"/>
                  <a:pt x="568086" y="289152"/>
                </a:cubicBezTo>
                <a:cubicBezTo>
                  <a:pt x="568813" y="288342"/>
                  <a:pt x="569539" y="287532"/>
                  <a:pt x="570289" y="286697"/>
                </a:cubicBezTo>
                <a:cubicBezTo>
                  <a:pt x="571319" y="286697"/>
                  <a:pt x="572350" y="286697"/>
                  <a:pt x="573413" y="286697"/>
                </a:cubicBezTo>
                <a:cubicBezTo>
                  <a:pt x="577408" y="276984"/>
                  <a:pt x="577197" y="267284"/>
                  <a:pt x="577220" y="257016"/>
                </a:cubicBezTo>
                <a:cubicBezTo>
                  <a:pt x="577227" y="255625"/>
                  <a:pt x="577227" y="255625"/>
                  <a:pt x="577235" y="254206"/>
                </a:cubicBezTo>
                <a:cubicBezTo>
                  <a:pt x="577257" y="237553"/>
                  <a:pt x="574604" y="222055"/>
                  <a:pt x="569443" y="206049"/>
                </a:cubicBezTo>
                <a:cubicBezTo>
                  <a:pt x="568726" y="203553"/>
                  <a:pt x="568726" y="203553"/>
                  <a:pt x="568726" y="200735"/>
                </a:cubicBezTo>
                <a:cubicBezTo>
                  <a:pt x="567695" y="200735"/>
                  <a:pt x="566664" y="200735"/>
                  <a:pt x="565602" y="200735"/>
                </a:cubicBezTo>
                <a:cubicBezTo>
                  <a:pt x="563274" y="195295"/>
                  <a:pt x="561092" y="190108"/>
                  <a:pt x="559549" y="184441"/>
                </a:cubicBezTo>
                <a:cubicBezTo>
                  <a:pt x="555572" y="173477"/>
                  <a:pt x="547043" y="167105"/>
                  <a:pt x="537484" y="159867"/>
                </a:cubicBezTo>
                <a:cubicBezTo>
                  <a:pt x="533579" y="156609"/>
                  <a:pt x="533579" y="156609"/>
                  <a:pt x="531235" y="154230"/>
                </a:cubicBezTo>
                <a:cubicBezTo>
                  <a:pt x="531235" y="153301"/>
                  <a:pt x="531235" y="152371"/>
                  <a:pt x="531235" y="151412"/>
                </a:cubicBezTo>
                <a:cubicBezTo>
                  <a:pt x="529689" y="150947"/>
                  <a:pt x="528143" y="150482"/>
                  <a:pt x="526549" y="150003"/>
                </a:cubicBezTo>
                <a:cubicBezTo>
                  <a:pt x="519904" y="137298"/>
                  <a:pt x="519105" y="120357"/>
                  <a:pt x="524304" y="107198"/>
                </a:cubicBezTo>
                <a:cubicBezTo>
                  <a:pt x="529443" y="97376"/>
                  <a:pt x="535781" y="90193"/>
                  <a:pt x="547052" y="85972"/>
                </a:cubicBezTo>
                <a:cubicBezTo>
                  <a:pt x="559924" y="81835"/>
                  <a:pt x="575221" y="79746"/>
                  <a:pt x="588460" y="83538"/>
                </a:cubicBezTo>
                <a:cubicBezTo>
                  <a:pt x="601643" y="89713"/>
                  <a:pt x="611835" y="99450"/>
                  <a:pt x="617152" y="111954"/>
                </a:cubicBezTo>
                <a:cubicBezTo>
                  <a:pt x="617935" y="116052"/>
                  <a:pt x="617954" y="120024"/>
                  <a:pt x="617884" y="124175"/>
                </a:cubicBezTo>
                <a:cubicBezTo>
                  <a:pt x="617896" y="125307"/>
                  <a:pt x="617906" y="126440"/>
                  <a:pt x="617917" y="127607"/>
                </a:cubicBezTo>
                <a:cubicBezTo>
                  <a:pt x="617963" y="132394"/>
                  <a:pt x="617938" y="137181"/>
                  <a:pt x="617919" y="141969"/>
                </a:cubicBezTo>
                <a:cubicBezTo>
                  <a:pt x="617899" y="160184"/>
                  <a:pt x="619422" y="175572"/>
                  <a:pt x="630625" y="191311"/>
                </a:cubicBezTo>
                <a:cubicBezTo>
                  <a:pt x="633753" y="195891"/>
                  <a:pt x="636431" y="199900"/>
                  <a:pt x="637850" y="205139"/>
                </a:cubicBezTo>
                <a:cubicBezTo>
                  <a:pt x="638615" y="209623"/>
                  <a:pt x="638615" y="209623"/>
                  <a:pt x="643708" y="212009"/>
                </a:cubicBezTo>
                <a:cubicBezTo>
                  <a:pt x="645380" y="214563"/>
                  <a:pt x="645380" y="214563"/>
                  <a:pt x="647027" y="217645"/>
                </a:cubicBezTo>
                <a:cubicBezTo>
                  <a:pt x="652549" y="227016"/>
                  <a:pt x="660443" y="235696"/>
                  <a:pt x="670264" y="241603"/>
                </a:cubicBezTo>
                <a:cubicBezTo>
                  <a:pt x="670264" y="242532"/>
                  <a:pt x="670264" y="243462"/>
                  <a:pt x="670264" y="244421"/>
                </a:cubicBezTo>
                <a:cubicBezTo>
                  <a:pt x="672036" y="244857"/>
                  <a:pt x="673808" y="245293"/>
                  <a:pt x="675634" y="245742"/>
                </a:cubicBezTo>
                <a:cubicBezTo>
                  <a:pt x="681199" y="247239"/>
                  <a:pt x="681199" y="247239"/>
                  <a:pt x="682761" y="248649"/>
                </a:cubicBezTo>
                <a:cubicBezTo>
                  <a:pt x="704487" y="252065"/>
                  <a:pt x="732606" y="256402"/>
                  <a:pt x="752092" y="245076"/>
                </a:cubicBezTo>
                <a:cubicBezTo>
                  <a:pt x="754252" y="243599"/>
                  <a:pt x="756372" y="242073"/>
                  <a:pt x="758433" y="240485"/>
                </a:cubicBezTo>
                <a:cubicBezTo>
                  <a:pt x="760867" y="238784"/>
                  <a:pt x="760867" y="238784"/>
                  <a:pt x="763991" y="238784"/>
                </a:cubicBezTo>
                <a:cubicBezTo>
                  <a:pt x="764647" y="237296"/>
                  <a:pt x="764647" y="237296"/>
                  <a:pt x="765315" y="235778"/>
                </a:cubicBezTo>
                <a:cubicBezTo>
                  <a:pt x="767151" y="231659"/>
                  <a:pt x="769030" y="227557"/>
                  <a:pt x="770923" y="223459"/>
                </a:cubicBezTo>
                <a:cubicBezTo>
                  <a:pt x="771608" y="221966"/>
                  <a:pt x="772292" y="220472"/>
                  <a:pt x="772998" y="218934"/>
                </a:cubicBezTo>
                <a:cubicBezTo>
                  <a:pt x="774429" y="215885"/>
                  <a:pt x="775968" y="212878"/>
                  <a:pt x="777562" y="209895"/>
                </a:cubicBezTo>
                <a:cubicBezTo>
                  <a:pt x="787607" y="185732"/>
                  <a:pt x="788559" y="149501"/>
                  <a:pt x="781175" y="124637"/>
                </a:cubicBezTo>
                <a:cubicBezTo>
                  <a:pt x="780144" y="124637"/>
                  <a:pt x="779113" y="124637"/>
                  <a:pt x="778051" y="124637"/>
                </a:cubicBezTo>
                <a:cubicBezTo>
                  <a:pt x="768501" y="110080"/>
                  <a:pt x="762898" y="96653"/>
                  <a:pt x="767116" y="79542"/>
                </a:cubicBezTo>
                <a:cubicBezTo>
                  <a:pt x="772286" y="69057"/>
                  <a:pt x="781456" y="58252"/>
                  <a:pt x="793379" y="54000"/>
                </a:cubicBezTo>
                <a:cubicBezTo>
                  <a:pt x="808369" y="49250"/>
                  <a:pt x="826058" y="49579"/>
                  <a:pt x="840688" y="55503"/>
                </a:cubicBezTo>
                <a:cubicBezTo>
                  <a:pt x="845183" y="57759"/>
                  <a:pt x="848037" y="60575"/>
                  <a:pt x="851470" y="64040"/>
                </a:cubicBezTo>
                <a:cubicBezTo>
                  <a:pt x="852721" y="65272"/>
                  <a:pt x="852721" y="65272"/>
                  <a:pt x="853997" y="66529"/>
                </a:cubicBezTo>
                <a:cubicBezTo>
                  <a:pt x="858396" y="71505"/>
                  <a:pt x="860490" y="76640"/>
                  <a:pt x="861488" y="82057"/>
                </a:cubicBezTo>
                <a:lnTo>
                  <a:pt x="861937" y="90492"/>
                </a:lnTo>
                <a:lnTo>
                  <a:pt x="863826" y="100715"/>
                </a:lnTo>
                <a:cubicBezTo>
                  <a:pt x="862141" y="107853"/>
                  <a:pt x="859866" y="114857"/>
                  <a:pt x="857577" y="121853"/>
                </a:cubicBezTo>
                <a:cubicBezTo>
                  <a:pt x="857062" y="121853"/>
                  <a:pt x="856547" y="121853"/>
                  <a:pt x="856015" y="121853"/>
                </a:cubicBezTo>
                <a:cubicBezTo>
                  <a:pt x="855731" y="120401"/>
                  <a:pt x="855731" y="120401"/>
                  <a:pt x="855442" y="118919"/>
                </a:cubicBezTo>
                <a:lnTo>
                  <a:pt x="855417" y="118798"/>
                </a:lnTo>
                <a:lnTo>
                  <a:pt x="856157" y="124637"/>
                </a:lnTo>
                <a:lnTo>
                  <a:pt x="850623" y="134701"/>
                </a:lnTo>
                <a:lnTo>
                  <a:pt x="851325" y="135968"/>
                </a:lnTo>
                <a:cubicBezTo>
                  <a:pt x="850851" y="137246"/>
                  <a:pt x="850376" y="138525"/>
                  <a:pt x="849886" y="139843"/>
                </a:cubicBezTo>
                <a:cubicBezTo>
                  <a:pt x="848171" y="144505"/>
                  <a:pt x="847798" y="148002"/>
                  <a:pt x="847786" y="152889"/>
                </a:cubicBezTo>
                <a:cubicBezTo>
                  <a:pt x="847779" y="154500"/>
                  <a:pt x="847773" y="156109"/>
                  <a:pt x="847767" y="157768"/>
                </a:cubicBezTo>
                <a:cubicBezTo>
                  <a:pt x="847782" y="159468"/>
                  <a:pt x="847796" y="161167"/>
                  <a:pt x="847810" y="162919"/>
                </a:cubicBezTo>
                <a:cubicBezTo>
                  <a:pt x="847821" y="165546"/>
                  <a:pt x="847821" y="165546"/>
                  <a:pt x="847832" y="168227"/>
                </a:cubicBezTo>
                <a:cubicBezTo>
                  <a:pt x="847980" y="181934"/>
                  <a:pt x="849003" y="195419"/>
                  <a:pt x="850903" y="209013"/>
                </a:cubicBezTo>
                <a:lnTo>
                  <a:pt x="852880" y="224692"/>
                </a:lnTo>
                <a:lnTo>
                  <a:pt x="854595" y="224692"/>
                </a:lnTo>
                <a:cubicBezTo>
                  <a:pt x="855086" y="225542"/>
                  <a:pt x="855577" y="226392"/>
                  <a:pt x="856083" y="227268"/>
                </a:cubicBezTo>
                <a:cubicBezTo>
                  <a:pt x="862358" y="237839"/>
                  <a:pt x="866924" y="242785"/>
                  <a:pt x="879588" y="247239"/>
                </a:cubicBezTo>
                <a:cubicBezTo>
                  <a:pt x="881642" y="248025"/>
                  <a:pt x="883692" y="248817"/>
                  <a:pt x="885739" y="249618"/>
                </a:cubicBezTo>
                <a:cubicBezTo>
                  <a:pt x="887318" y="250227"/>
                  <a:pt x="888897" y="250838"/>
                  <a:pt x="890523" y="251467"/>
                </a:cubicBezTo>
                <a:cubicBezTo>
                  <a:pt x="890523" y="252397"/>
                  <a:pt x="890523" y="253327"/>
                  <a:pt x="890523" y="254285"/>
                </a:cubicBezTo>
                <a:cubicBezTo>
                  <a:pt x="900347" y="257061"/>
                  <a:pt x="910127" y="259425"/>
                  <a:pt x="920203" y="261332"/>
                </a:cubicBezTo>
                <a:cubicBezTo>
                  <a:pt x="920203" y="261796"/>
                  <a:pt x="920203" y="262262"/>
                  <a:pt x="920203" y="262741"/>
                </a:cubicBezTo>
                <a:cubicBezTo>
                  <a:pt x="917111" y="262741"/>
                  <a:pt x="914018" y="262741"/>
                  <a:pt x="910831" y="262741"/>
                </a:cubicBezTo>
                <a:lnTo>
                  <a:pt x="910831" y="262864"/>
                </a:lnTo>
                <a:lnTo>
                  <a:pt x="927993" y="264177"/>
                </a:lnTo>
                <a:lnTo>
                  <a:pt x="939273" y="265285"/>
                </a:lnTo>
                <a:lnTo>
                  <a:pt x="940456" y="265191"/>
                </a:lnTo>
                <a:cubicBezTo>
                  <a:pt x="962552" y="263054"/>
                  <a:pt x="974979" y="255295"/>
                  <a:pt x="991622" y="242329"/>
                </a:cubicBezTo>
                <a:lnTo>
                  <a:pt x="1000803" y="236505"/>
                </a:lnTo>
                <a:lnTo>
                  <a:pt x="999806" y="236055"/>
                </a:lnTo>
                <a:cubicBezTo>
                  <a:pt x="1000902" y="234997"/>
                  <a:pt x="1001997" y="233941"/>
                  <a:pt x="1003126" y="232851"/>
                </a:cubicBezTo>
                <a:cubicBezTo>
                  <a:pt x="1012364" y="223880"/>
                  <a:pt x="1021184" y="214752"/>
                  <a:pt x="1029487" y="205052"/>
                </a:cubicBezTo>
                <a:lnTo>
                  <a:pt x="1029872" y="206442"/>
                </a:lnTo>
                <a:lnTo>
                  <a:pt x="1031614" y="203719"/>
                </a:lnTo>
                <a:cubicBezTo>
                  <a:pt x="1033221" y="199204"/>
                  <a:pt x="1035713" y="196017"/>
                  <a:pt x="1038924" y="192280"/>
                </a:cubicBezTo>
                <a:cubicBezTo>
                  <a:pt x="1039956" y="191815"/>
                  <a:pt x="1040987" y="191349"/>
                  <a:pt x="1042049" y="190870"/>
                </a:cubicBezTo>
                <a:cubicBezTo>
                  <a:pt x="1043161" y="188473"/>
                  <a:pt x="1043161" y="188473"/>
                  <a:pt x="1044294" y="186026"/>
                </a:cubicBezTo>
                <a:cubicBezTo>
                  <a:pt x="1046735" y="181006"/>
                  <a:pt x="1046735" y="181006"/>
                  <a:pt x="1051422" y="178188"/>
                </a:cubicBezTo>
                <a:cubicBezTo>
                  <a:pt x="1052553" y="175286"/>
                  <a:pt x="1052553" y="175286"/>
                  <a:pt x="1052984" y="172551"/>
                </a:cubicBezTo>
                <a:cubicBezTo>
                  <a:pt x="1054014" y="172551"/>
                  <a:pt x="1055046" y="172551"/>
                  <a:pt x="1056108" y="172551"/>
                </a:cubicBezTo>
                <a:cubicBezTo>
                  <a:pt x="1057139" y="169295"/>
                  <a:pt x="1058170" y="166040"/>
                  <a:pt x="1059232" y="162686"/>
                </a:cubicBezTo>
                <a:cubicBezTo>
                  <a:pt x="1060263" y="162686"/>
                  <a:pt x="1061295" y="162686"/>
                  <a:pt x="1062357" y="162686"/>
                </a:cubicBezTo>
                <a:cubicBezTo>
                  <a:pt x="1062755" y="161484"/>
                  <a:pt x="1062755" y="161484"/>
                  <a:pt x="1063162" y="160258"/>
                </a:cubicBezTo>
                <a:cubicBezTo>
                  <a:pt x="1065716" y="152917"/>
                  <a:pt x="1068813" y="146686"/>
                  <a:pt x="1073292" y="140138"/>
                </a:cubicBezTo>
                <a:cubicBezTo>
                  <a:pt x="1074322" y="140138"/>
                  <a:pt x="1075353" y="140138"/>
                  <a:pt x="1076415" y="140138"/>
                </a:cubicBezTo>
                <a:cubicBezTo>
                  <a:pt x="1079808" y="132748"/>
                  <a:pt x="1082509" y="125160"/>
                  <a:pt x="1085294" y="117569"/>
                </a:cubicBezTo>
                <a:cubicBezTo>
                  <a:pt x="1085972" y="116181"/>
                  <a:pt x="1086651" y="114793"/>
                  <a:pt x="1087350" y="113363"/>
                </a:cubicBezTo>
                <a:cubicBezTo>
                  <a:pt x="1089671" y="112666"/>
                  <a:pt x="1089671" y="112666"/>
                  <a:pt x="1092037" y="111954"/>
                </a:cubicBezTo>
                <a:cubicBezTo>
                  <a:pt x="1092230" y="110879"/>
                  <a:pt x="1092423" y="109803"/>
                  <a:pt x="1092623" y="108695"/>
                </a:cubicBezTo>
                <a:cubicBezTo>
                  <a:pt x="1093599" y="104908"/>
                  <a:pt x="1093599" y="104908"/>
                  <a:pt x="1096723" y="100680"/>
                </a:cubicBezTo>
                <a:cubicBezTo>
                  <a:pt x="1097207" y="99140"/>
                  <a:pt x="1097689" y="97599"/>
                  <a:pt x="1098188" y="96013"/>
                </a:cubicBezTo>
                <a:cubicBezTo>
                  <a:pt x="1099847" y="90815"/>
                  <a:pt x="1099847" y="90815"/>
                  <a:pt x="1102288" y="87029"/>
                </a:cubicBezTo>
                <a:cubicBezTo>
                  <a:pt x="1106061" y="79186"/>
                  <a:pt x="1107564" y="69424"/>
                  <a:pt x="1104534" y="61222"/>
                </a:cubicBezTo>
                <a:cubicBezTo>
                  <a:pt x="1104409" y="59341"/>
                  <a:pt x="1104366" y="57454"/>
                  <a:pt x="1104381" y="55569"/>
                </a:cubicBezTo>
                <a:cubicBezTo>
                  <a:pt x="1104386" y="54501"/>
                  <a:pt x="1104391" y="53434"/>
                  <a:pt x="1104397" y="52335"/>
                </a:cubicBezTo>
                <a:cubicBezTo>
                  <a:pt x="1104410" y="51228"/>
                  <a:pt x="1104423" y="50120"/>
                  <a:pt x="1104436" y="48979"/>
                </a:cubicBezTo>
                <a:cubicBezTo>
                  <a:pt x="1104443" y="47856"/>
                  <a:pt x="1104451" y="46733"/>
                  <a:pt x="1104457" y="45575"/>
                </a:cubicBezTo>
                <a:cubicBezTo>
                  <a:pt x="1104476" y="42805"/>
                  <a:pt x="1104504" y="40035"/>
                  <a:pt x="1104534" y="37265"/>
                </a:cubicBezTo>
                <a:cubicBezTo>
                  <a:pt x="1105565" y="37265"/>
                  <a:pt x="1106596" y="37265"/>
                  <a:pt x="1107658" y="37265"/>
                </a:cubicBezTo>
                <a:cubicBezTo>
                  <a:pt x="1107561" y="34562"/>
                  <a:pt x="1107561" y="34562"/>
                  <a:pt x="1107463" y="31805"/>
                </a:cubicBezTo>
                <a:cubicBezTo>
                  <a:pt x="1107353" y="28733"/>
                  <a:pt x="1107353" y="28733"/>
                  <a:pt x="1107658" y="25991"/>
                </a:cubicBezTo>
                <a:cubicBezTo>
                  <a:pt x="1108689" y="25062"/>
                  <a:pt x="1109720" y="24131"/>
                  <a:pt x="1110782" y="23173"/>
                </a:cubicBezTo>
                <a:cubicBezTo>
                  <a:pt x="1111104" y="22156"/>
                  <a:pt x="1111427" y="21138"/>
                  <a:pt x="1111759" y="20091"/>
                </a:cubicBezTo>
                <a:cubicBezTo>
                  <a:pt x="1116393" y="11539"/>
                  <a:pt x="1124927" y="6390"/>
                  <a:pt x="1134507" y="2828"/>
                </a:cubicBezTo>
                <a:cubicBezTo>
                  <a:pt x="1141389" y="825"/>
                  <a:pt x="1148262" y="-204"/>
                  <a:pt x="1155019" y="35"/>
                </a:cubicBezTo>
                <a:close/>
              </a:path>
            </a:pathLst>
          </a:custGeom>
          <a:solidFill>
            <a:schemeClr val="accent3"/>
          </a:solidFill>
          <a:ln w="2232" cap="flat">
            <a:noFill/>
            <a:prstDash val="solid"/>
            <a:miter/>
          </a:ln>
          <a:effectLst>
            <a:innerShdw blurRad="63500" dist="190500" dir="8100000">
              <a:schemeClr val="accent3">
                <a:lumMod val="75000"/>
                <a:alpha val="50000"/>
              </a:schemeClr>
            </a:innerShdw>
          </a:effectLst>
        </p:spPr>
        <p:txBody>
          <a:bodyPr wrap="squar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1" name="Oval 100">
            <a:extLst>
              <a:ext uri="{FF2B5EF4-FFF2-40B4-BE49-F238E27FC236}">
                <a16:creationId xmlns:a16="http://schemas.microsoft.com/office/drawing/2014/main" id="{8D20BC74-0106-D9E3-B346-613ADBD11393}"/>
              </a:ext>
            </a:extLst>
          </p:cNvPr>
          <p:cNvSpPr/>
          <p:nvPr/>
        </p:nvSpPr>
        <p:spPr>
          <a:xfrm>
            <a:off x="9263201" y="2908339"/>
            <a:ext cx="117120" cy="117120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2" name="Oval 101">
            <a:extLst>
              <a:ext uri="{FF2B5EF4-FFF2-40B4-BE49-F238E27FC236}">
                <a16:creationId xmlns:a16="http://schemas.microsoft.com/office/drawing/2014/main" id="{4B93DAC9-12FA-E266-8C06-FAD88B5312F4}"/>
              </a:ext>
            </a:extLst>
          </p:cNvPr>
          <p:cNvSpPr/>
          <p:nvPr/>
        </p:nvSpPr>
        <p:spPr>
          <a:xfrm>
            <a:off x="9419547" y="3010888"/>
            <a:ext cx="117120" cy="117120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3" name="Oval 102">
            <a:extLst>
              <a:ext uri="{FF2B5EF4-FFF2-40B4-BE49-F238E27FC236}">
                <a16:creationId xmlns:a16="http://schemas.microsoft.com/office/drawing/2014/main" id="{8468F6C3-AF1E-447F-0798-D4D3AC8F1AE2}"/>
              </a:ext>
            </a:extLst>
          </p:cNvPr>
          <p:cNvSpPr/>
          <p:nvPr/>
        </p:nvSpPr>
        <p:spPr>
          <a:xfrm>
            <a:off x="9306070" y="3201696"/>
            <a:ext cx="91681" cy="91681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4" name="Oval 103">
            <a:extLst>
              <a:ext uri="{FF2B5EF4-FFF2-40B4-BE49-F238E27FC236}">
                <a16:creationId xmlns:a16="http://schemas.microsoft.com/office/drawing/2014/main" id="{93432420-318A-2F65-D463-629D02BE789A}"/>
              </a:ext>
            </a:extLst>
          </p:cNvPr>
          <p:cNvSpPr/>
          <p:nvPr/>
        </p:nvSpPr>
        <p:spPr>
          <a:xfrm>
            <a:off x="9550675" y="3180682"/>
            <a:ext cx="117120" cy="117120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5" name="Oval 104">
            <a:extLst>
              <a:ext uri="{FF2B5EF4-FFF2-40B4-BE49-F238E27FC236}">
                <a16:creationId xmlns:a16="http://schemas.microsoft.com/office/drawing/2014/main" id="{6C847571-13F0-6E7A-CA58-A8D255A75069}"/>
              </a:ext>
            </a:extLst>
          </p:cNvPr>
          <p:cNvSpPr/>
          <p:nvPr/>
        </p:nvSpPr>
        <p:spPr>
          <a:xfrm>
            <a:off x="9588500" y="2936918"/>
            <a:ext cx="79294" cy="79294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06CA7E97-8847-2B13-7DD4-83681A6422F5}"/>
              </a:ext>
            </a:extLst>
          </p:cNvPr>
          <p:cNvSpPr/>
          <p:nvPr/>
        </p:nvSpPr>
        <p:spPr>
          <a:xfrm>
            <a:off x="1492902" y="2315976"/>
            <a:ext cx="1298125" cy="49387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ransformed</a:t>
            </a:r>
            <a:endParaRPr kumimoji="0" lang="en-GB" sz="1400" b="0" i="0" u="none" strike="noStrike" kern="1200" cap="none" spc="0" normalizeH="0" baseline="3000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3FB911F4-99C3-9FF6-1758-A3ABEDD87ECB}"/>
              </a:ext>
            </a:extLst>
          </p:cNvPr>
          <p:cNvSpPr/>
          <p:nvPr/>
        </p:nvSpPr>
        <p:spPr>
          <a:xfrm>
            <a:off x="1236980" y="2614011"/>
            <a:ext cx="1554047" cy="49387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H/TH disease</a:t>
            </a:r>
            <a:endParaRPr kumimoji="0" lang="en-GB" sz="1400" b="0" i="0" u="none" strike="noStrike" kern="1200" cap="none" spc="0" normalizeH="0" baseline="3000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C4214AA0-D2D7-26AD-6ADE-F2AAD68DDF28}"/>
              </a:ext>
            </a:extLst>
          </p:cNvPr>
          <p:cNvSpPr/>
          <p:nvPr/>
        </p:nvSpPr>
        <p:spPr>
          <a:xfrm>
            <a:off x="1815726" y="2876595"/>
            <a:ext cx="975301" cy="49387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HGBL</a:t>
            </a:r>
            <a:endParaRPr kumimoji="0" lang="en-GB" sz="1400" b="0" i="0" u="none" strike="noStrike" kern="1200" cap="none" spc="0" normalizeH="0" baseline="3000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8" name="Oval 107">
            <a:extLst>
              <a:ext uri="{FF2B5EF4-FFF2-40B4-BE49-F238E27FC236}">
                <a16:creationId xmlns:a16="http://schemas.microsoft.com/office/drawing/2014/main" id="{DDC24A94-4874-100A-6F29-3910E950F0D8}"/>
              </a:ext>
            </a:extLst>
          </p:cNvPr>
          <p:cNvSpPr/>
          <p:nvPr/>
        </p:nvSpPr>
        <p:spPr>
          <a:xfrm>
            <a:off x="3079300" y="2545172"/>
            <a:ext cx="636194" cy="621381"/>
          </a:xfrm>
          <a:prstGeom prst="ellipse">
            <a:avLst/>
          </a:prstGeom>
          <a:solidFill>
            <a:srgbClr val="275368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wrap="square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1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651" name="Freeform: Shape 906">
            <a:extLst>
              <a:ext uri="{FF2B5EF4-FFF2-40B4-BE49-F238E27FC236}">
                <a16:creationId xmlns:a16="http://schemas.microsoft.com/office/drawing/2014/main" id="{FDD7E451-EEB6-D452-4A8C-0E6941B7B76D}"/>
              </a:ext>
            </a:extLst>
          </p:cNvPr>
          <p:cNvSpPr/>
          <p:nvPr/>
        </p:nvSpPr>
        <p:spPr>
          <a:xfrm rot="20513737">
            <a:off x="3232702" y="2843784"/>
            <a:ext cx="118876" cy="58416"/>
          </a:xfrm>
          <a:custGeom>
            <a:avLst/>
            <a:gdLst>
              <a:gd name="connsiteX0" fmla="*/ 0 w 2617365"/>
              <a:gd name="connsiteY0" fmla="*/ 939567 h 939567"/>
              <a:gd name="connsiteX1" fmla="*/ 922789 w 2617365"/>
              <a:gd name="connsiteY1" fmla="*/ 16778 h 939567"/>
              <a:gd name="connsiteX2" fmla="*/ 1761688 w 2617365"/>
              <a:gd name="connsiteY2" fmla="*/ 855677 h 939567"/>
              <a:gd name="connsiteX3" fmla="*/ 2617365 w 2617365"/>
              <a:gd name="connsiteY3" fmla="*/ 0 h 939567"/>
              <a:gd name="connsiteX0" fmla="*/ 27 w 2617392"/>
              <a:gd name="connsiteY0" fmla="*/ 939567 h 939567"/>
              <a:gd name="connsiteX1" fmla="*/ 922816 w 2617392"/>
              <a:gd name="connsiteY1" fmla="*/ 16778 h 939567"/>
              <a:gd name="connsiteX2" fmla="*/ 1761715 w 2617392"/>
              <a:gd name="connsiteY2" fmla="*/ 855677 h 939567"/>
              <a:gd name="connsiteX3" fmla="*/ 2617392 w 2617392"/>
              <a:gd name="connsiteY3" fmla="*/ 0 h 939567"/>
              <a:gd name="connsiteX0" fmla="*/ 27 w 2617392"/>
              <a:gd name="connsiteY0" fmla="*/ 939567 h 939567"/>
              <a:gd name="connsiteX1" fmla="*/ 922816 w 2617392"/>
              <a:gd name="connsiteY1" fmla="*/ 16778 h 939567"/>
              <a:gd name="connsiteX2" fmla="*/ 1761715 w 2617392"/>
              <a:gd name="connsiteY2" fmla="*/ 855677 h 939567"/>
              <a:gd name="connsiteX3" fmla="*/ 2617392 w 2617392"/>
              <a:gd name="connsiteY3" fmla="*/ 0 h 939567"/>
              <a:gd name="connsiteX0" fmla="*/ 33 w 2617398"/>
              <a:gd name="connsiteY0" fmla="*/ 939567 h 939567"/>
              <a:gd name="connsiteX1" fmla="*/ 922822 w 2617398"/>
              <a:gd name="connsiteY1" fmla="*/ 16778 h 939567"/>
              <a:gd name="connsiteX2" fmla="*/ 1761721 w 2617398"/>
              <a:gd name="connsiteY2" fmla="*/ 855677 h 939567"/>
              <a:gd name="connsiteX3" fmla="*/ 2617398 w 2617398"/>
              <a:gd name="connsiteY3" fmla="*/ 0 h 939567"/>
              <a:gd name="connsiteX0" fmla="*/ 33 w 2617398"/>
              <a:gd name="connsiteY0" fmla="*/ 939567 h 939567"/>
              <a:gd name="connsiteX1" fmla="*/ 922822 w 2617398"/>
              <a:gd name="connsiteY1" fmla="*/ 16778 h 939567"/>
              <a:gd name="connsiteX2" fmla="*/ 1761721 w 2617398"/>
              <a:gd name="connsiteY2" fmla="*/ 855677 h 939567"/>
              <a:gd name="connsiteX3" fmla="*/ 2617398 w 2617398"/>
              <a:gd name="connsiteY3" fmla="*/ 0 h 939567"/>
              <a:gd name="connsiteX0" fmla="*/ 45 w 2617410"/>
              <a:gd name="connsiteY0" fmla="*/ 939567 h 939567"/>
              <a:gd name="connsiteX1" fmla="*/ 793294 w 2617410"/>
              <a:gd name="connsiteY1" fmla="*/ 161558 h 939567"/>
              <a:gd name="connsiteX2" fmla="*/ 1761733 w 2617410"/>
              <a:gd name="connsiteY2" fmla="*/ 855677 h 939567"/>
              <a:gd name="connsiteX3" fmla="*/ 2617410 w 2617410"/>
              <a:gd name="connsiteY3" fmla="*/ 0 h 939567"/>
              <a:gd name="connsiteX0" fmla="*/ 45 w 2617410"/>
              <a:gd name="connsiteY0" fmla="*/ 939567 h 939567"/>
              <a:gd name="connsiteX1" fmla="*/ 793294 w 2617410"/>
              <a:gd name="connsiteY1" fmla="*/ 161558 h 939567"/>
              <a:gd name="connsiteX2" fmla="*/ 1761733 w 2617410"/>
              <a:gd name="connsiteY2" fmla="*/ 855677 h 939567"/>
              <a:gd name="connsiteX3" fmla="*/ 2617410 w 2617410"/>
              <a:gd name="connsiteY3" fmla="*/ 0 h 939567"/>
              <a:gd name="connsiteX0" fmla="*/ 35 w 2617400"/>
              <a:gd name="connsiteY0" fmla="*/ 939567 h 939567"/>
              <a:gd name="connsiteX1" fmla="*/ 793284 w 2617400"/>
              <a:gd name="connsiteY1" fmla="*/ 161558 h 939567"/>
              <a:gd name="connsiteX2" fmla="*/ 1799823 w 2617400"/>
              <a:gd name="connsiteY2" fmla="*/ 928067 h 939567"/>
              <a:gd name="connsiteX3" fmla="*/ 2617400 w 2617400"/>
              <a:gd name="connsiteY3" fmla="*/ 0 h 939567"/>
              <a:gd name="connsiteX0" fmla="*/ 35 w 2617400"/>
              <a:gd name="connsiteY0" fmla="*/ 939567 h 939567"/>
              <a:gd name="connsiteX1" fmla="*/ 793284 w 2617400"/>
              <a:gd name="connsiteY1" fmla="*/ 161558 h 939567"/>
              <a:gd name="connsiteX2" fmla="*/ 1799823 w 2617400"/>
              <a:gd name="connsiteY2" fmla="*/ 928067 h 939567"/>
              <a:gd name="connsiteX3" fmla="*/ 2617400 w 2617400"/>
              <a:gd name="connsiteY3" fmla="*/ 0 h 939567"/>
              <a:gd name="connsiteX0" fmla="*/ 54 w 2617419"/>
              <a:gd name="connsiteY0" fmla="*/ 939567 h 939567"/>
              <a:gd name="connsiteX1" fmla="*/ 793303 w 2617419"/>
              <a:gd name="connsiteY1" fmla="*/ 161558 h 939567"/>
              <a:gd name="connsiteX2" fmla="*/ 1799842 w 2617419"/>
              <a:gd name="connsiteY2" fmla="*/ 928067 h 939567"/>
              <a:gd name="connsiteX3" fmla="*/ 2617419 w 2617419"/>
              <a:gd name="connsiteY3" fmla="*/ 0 h 939567"/>
              <a:gd name="connsiteX0" fmla="*/ 54 w 2602179"/>
              <a:gd name="connsiteY0" fmla="*/ 778016 h 778016"/>
              <a:gd name="connsiteX1" fmla="*/ 793303 w 2602179"/>
              <a:gd name="connsiteY1" fmla="*/ 7 h 778016"/>
              <a:gd name="connsiteX2" fmla="*/ 1799842 w 2602179"/>
              <a:gd name="connsiteY2" fmla="*/ 766516 h 778016"/>
              <a:gd name="connsiteX3" fmla="*/ 2602179 w 2602179"/>
              <a:gd name="connsiteY3" fmla="*/ 28949 h 778016"/>
              <a:gd name="connsiteX0" fmla="*/ 54 w 2438349"/>
              <a:gd name="connsiteY0" fmla="*/ 778016 h 1419810"/>
              <a:gd name="connsiteX1" fmla="*/ 793303 w 2438349"/>
              <a:gd name="connsiteY1" fmla="*/ 7 h 1419810"/>
              <a:gd name="connsiteX2" fmla="*/ 1799842 w 2438349"/>
              <a:gd name="connsiteY2" fmla="*/ 766516 h 1419810"/>
              <a:gd name="connsiteX3" fmla="*/ 2438349 w 2438349"/>
              <a:gd name="connsiteY3" fmla="*/ 1309109 h 1419810"/>
              <a:gd name="connsiteX0" fmla="*/ 54 w 2438349"/>
              <a:gd name="connsiteY0" fmla="*/ 778016 h 1309109"/>
              <a:gd name="connsiteX1" fmla="*/ 793303 w 2438349"/>
              <a:gd name="connsiteY1" fmla="*/ 7 h 1309109"/>
              <a:gd name="connsiteX2" fmla="*/ 1799842 w 2438349"/>
              <a:gd name="connsiteY2" fmla="*/ 766516 h 1309109"/>
              <a:gd name="connsiteX3" fmla="*/ 2438349 w 2438349"/>
              <a:gd name="connsiteY3" fmla="*/ 1309109 h 1309109"/>
              <a:gd name="connsiteX0" fmla="*/ 33 w 2438328"/>
              <a:gd name="connsiteY0" fmla="*/ 778361 h 1309454"/>
              <a:gd name="connsiteX1" fmla="*/ 793282 w 2438328"/>
              <a:gd name="connsiteY1" fmla="*/ 352 h 1309454"/>
              <a:gd name="connsiteX2" fmla="*/ 1628371 w 2438328"/>
              <a:gd name="connsiteY2" fmla="*/ 686851 h 1309454"/>
              <a:gd name="connsiteX3" fmla="*/ 2438328 w 2438328"/>
              <a:gd name="connsiteY3" fmla="*/ 1309454 h 1309454"/>
              <a:gd name="connsiteX0" fmla="*/ 33 w 2438328"/>
              <a:gd name="connsiteY0" fmla="*/ 778494 h 1309587"/>
              <a:gd name="connsiteX1" fmla="*/ 793282 w 2438328"/>
              <a:gd name="connsiteY1" fmla="*/ 485 h 1309587"/>
              <a:gd name="connsiteX2" fmla="*/ 1628371 w 2438328"/>
              <a:gd name="connsiteY2" fmla="*/ 686984 h 1309587"/>
              <a:gd name="connsiteX3" fmla="*/ 2438328 w 2438328"/>
              <a:gd name="connsiteY3" fmla="*/ 1309587 h 1309587"/>
              <a:gd name="connsiteX0" fmla="*/ 27 w 2556432"/>
              <a:gd name="connsiteY0" fmla="*/ 671344 h 1309117"/>
              <a:gd name="connsiteX1" fmla="*/ 911386 w 2556432"/>
              <a:gd name="connsiteY1" fmla="*/ 15 h 1309117"/>
              <a:gd name="connsiteX2" fmla="*/ 1746475 w 2556432"/>
              <a:gd name="connsiteY2" fmla="*/ 686514 h 1309117"/>
              <a:gd name="connsiteX3" fmla="*/ 2556432 w 2556432"/>
              <a:gd name="connsiteY3" fmla="*/ 1309117 h 1309117"/>
              <a:gd name="connsiteX0" fmla="*/ 0 w 2556405"/>
              <a:gd name="connsiteY0" fmla="*/ 671347 h 1309120"/>
              <a:gd name="connsiteX1" fmla="*/ 911359 w 2556405"/>
              <a:gd name="connsiteY1" fmla="*/ 18 h 1309120"/>
              <a:gd name="connsiteX2" fmla="*/ 1746448 w 2556405"/>
              <a:gd name="connsiteY2" fmla="*/ 686517 h 1309120"/>
              <a:gd name="connsiteX3" fmla="*/ 2556405 w 2556405"/>
              <a:gd name="connsiteY3" fmla="*/ 1309120 h 1309120"/>
              <a:gd name="connsiteX0" fmla="*/ 0 w 2556405"/>
              <a:gd name="connsiteY0" fmla="*/ 672485 h 1310258"/>
              <a:gd name="connsiteX1" fmla="*/ 911359 w 2556405"/>
              <a:gd name="connsiteY1" fmla="*/ 1156 h 1310258"/>
              <a:gd name="connsiteX2" fmla="*/ 1746448 w 2556405"/>
              <a:gd name="connsiteY2" fmla="*/ 687655 h 1310258"/>
              <a:gd name="connsiteX3" fmla="*/ 2556405 w 2556405"/>
              <a:gd name="connsiteY3" fmla="*/ 1310258 h 1310258"/>
              <a:gd name="connsiteX0" fmla="*/ 0 w 2556405"/>
              <a:gd name="connsiteY0" fmla="*/ 672432 h 1310205"/>
              <a:gd name="connsiteX1" fmla="*/ 911359 w 2556405"/>
              <a:gd name="connsiteY1" fmla="*/ 1103 h 1310205"/>
              <a:gd name="connsiteX2" fmla="*/ 1746448 w 2556405"/>
              <a:gd name="connsiteY2" fmla="*/ 687602 h 1310205"/>
              <a:gd name="connsiteX3" fmla="*/ 2556405 w 2556405"/>
              <a:gd name="connsiteY3" fmla="*/ 1310205 h 1310205"/>
              <a:gd name="connsiteX0" fmla="*/ 0 w 2556405"/>
              <a:gd name="connsiteY0" fmla="*/ 672432 h 1310205"/>
              <a:gd name="connsiteX1" fmla="*/ 778009 w 2556405"/>
              <a:gd name="connsiteY1" fmla="*/ 1103 h 1310205"/>
              <a:gd name="connsiteX2" fmla="*/ 1746448 w 2556405"/>
              <a:gd name="connsiteY2" fmla="*/ 687602 h 1310205"/>
              <a:gd name="connsiteX3" fmla="*/ 2556405 w 2556405"/>
              <a:gd name="connsiteY3" fmla="*/ 1310205 h 1310205"/>
              <a:gd name="connsiteX0" fmla="*/ 0 w 2556405"/>
              <a:gd name="connsiteY0" fmla="*/ 672186 h 1309959"/>
              <a:gd name="connsiteX1" fmla="*/ 778009 w 2556405"/>
              <a:gd name="connsiteY1" fmla="*/ 857 h 1309959"/>
              <a:gd name="connsiteX2" fmla="*/ 1746448 w 2556405"/>
              <a:gd name="connsiteY2" fmla="*/ 687356 h 1309959"/>
              <a:gd name="connsiteX3" fmla="*/ 2556405 w 2556405"/>
              <a:gd name="connsiteY3" fmla="*/ 1309959 h 1309959"/>
              <a:gd name="connsiteX0" fmla="*/ 0 w 2556405"/>
              <a:gd name="connsiteY0" fmla="*/ 671347 h 1309120"/>
              <a:gd name="connsiteX1" fmla="*/ 778009 w 2556405"/>
              <a:gd name="connsiteY1" fmla="*/ 18 h 1309120"/>
              <a:gd name="connsiteX2" fmla="*/ 1746448 w 2556405"/>
              <a:gd name="connsiteY2" fmla="*/ 686517 h 1309120"/>
              <a:gd name="connsiteX3" fmla="*/ 2556405 w 2556405"/>
              <a:gd name="connsiteY3" fmla="*/ 1309120 h 1309120"/>
              <a:gd name="connsiteX0" fmla="*/ 0 w 2556405"/>
              <a:gd name="connsiteY0" fmla="*/ 671340 h 1309113"/>
              <a:gd name="connsiteX1" fmla="*/ 778009 w 2556405"/>
              <a:gd name="connsiteY1" fmla="*/ 11 h 1309113"/>
              <a:gd name="connsiteX2" fmla="*/ 1746448 w 2556405"/>
              <a:gd name="connsiteY2" fmla="*/ 686510 h 1309113"/>
              <a:gd name="connsiteX3" fmla="*/ 2556405 w 2556405"/>
              <a:gd name="connsiteY3" fmla="*/ 1309113 h 1309113"/>
              <a:gd name="connsiteX0" fmla="*/ 0 w 2556405"/>
              <a:gd name="connsiteY0" fmla="*/ 671340 h 1309113"/>
              <a:gd name="connsiteX1" fmla="*/ 778009 w 2556405"/>
              <a:gd name="connsiteY1" fmla="*/ 11 h 1309113"/>
              <a:gd name="connsiteX2" fmla="*/ 1746448 w 2556405"/>
              <a:gd name="connsiteY2" fmla="*/ 686510 h 1309113"/>
              <a:gd name="connsiteX3" fmla="*/ 2556405 w 2556405"/>
              <a:gd name="connsiteY3" fmla="*/ 1309113 h 1309113"/>
              <a:gd name="connsiteX0" fmla="*/ 1 w 2593711"/>
              <a:gd name="connsiteY0" fmla="*/ 644434 h 1309189"/>
              <a:gd name="connsiteX1" fmla="*/ 815315 w 2593711"/>
              <a:gd name="connsiteY1" fmla="*/ 87 h 1309189"/>
              <a:gd name="connsiteX2" fmla="*/ 1783754 w 2593711"/>
              <a:gd name="connsiteY2" fmla="*/ 686586 h 1309189"/>
              <a:gd name="connsiteX3" fmla="*/ 2593711 w 2593711"/>
              <a:gd name="connsiteY3" fmla="*/ 1309189 h 1309189"/>
              <a:gd name="connsiteX0" fmla="*/ 1 w 2593711"/>
              <a:gd name="connsiteY0" fmla="*/ 644481 h 1309236"/>
              <a:gd name="connsiteX1" fmla="*/ 815315 w 2593711"/>
              <a:gd name="connsiteY1" fmla="*/ 134 h 1309236"/>
              <a:gd name="connsiteX2" fmla="*/ 1783754 w 2593711"/>
              <a:gd name="connsiteY2" fmla="*/ 686633 h 1309236"/>
              <a:gd name="connsiteX3" fmla="*/ 2593711 w 2593711"/>
              <a:gd name="connsiteY3" fmla="*/ 1309236 h 1309236"/>
              <a:gd name="connsiteX0" fmla="*/ 1 w 2638506"/>
              <a:gd name="connsiteY0" fmla="*/ 648155 h 1309212"/>
              <a:gd name="connsiteX1" fmla="*/ 860110 w 2638506"/>
              <a:gd name="connsiteY1" fmla="*/ 110 h 1309212"/>
              <a:gd name="connsiteX2" fmla="*/ 1828549 w 2638506"/>
              <a:gd name="connsiteY2" fmla="*/ 686609 h 1309212"/>
              <a:gd name="connsiteX3" fmla="*/ 2638506 w 2638506"/>
              <a:gd name="connsiteY3" fmla="*/ 1309212 h 1309212"/>
              <a:gd name="connsiteX0" fmla="*/ 1 w 2638506"/>
              <a:gd name="connsiteY0" fmla="*/ 648197 h 1309254"/>
              <a:gd name="connsiteX1" fmla="*/ 860110 w 2638506"/>
              <a:gd name="connsiteY1" fmla="*/ 152 h 1309254"/>
              <a:gd name="connsiteX2" fmla="*/ 1828549 w 2638506"/>
              <a:gd name="connsiteY2" fmla="*/ 686651 h 1309254"/>
              <a:gd name="connsiteX3" fmla="*/ 2638506 w 2638506"/>
              <a:gd name="connsiteY3" fmla="*/ 1309254 h 1309254"/>
              <a:gd name="connsiteX0" fmla="*/ 1 w 2638506"/>
              <a:gd name="connsiteY0" fmla="*/ 649974 h 1311031"/>
              <a:gd name="connsiteX1" fmla="*/ 860110 w 2638506"/>
              <a:gd name="connsiteY1" fmla="*/ 1929 h 1311031"/>
              <a:gd name="connsiteX2" fmla="*/ 1828549 w 2638506"/>
              <a:gd name="connsiteY2" fmla="*/ 688428 h 1311031"/>
              <a:gd name="connsiteX3" fmla="*/ 2638506 w 2638506"/>
              <a:gd name="connsiteY3" fmla="*/ 1311031 h 1311031"/>
              <a:gd name="connsiteX0" fmla="*/ 1 w 2638506"/>
              <a:gd name="connsiteY0" fmla="*/ 649607 h 1310664"/>
              <a:gd name="connsiteX1" fmla="*/ 860110 w 2638506"/>
              <a:gd name="connsiteY1" fmla="*/ 1562 h 1310664"/>
              <a:gd name="connsiteX2" fmla="*/ 1828549 w 2638506"/>
              <a:gd name="connsiteY2" fmla="*/ 688061 h 1310664"/>
              <a:gd name="connsiteX3" fmla="*/ 2638506 w 2638506"/>
              <a:gd name="connsiteY3" fmla="*/ 1310664 h 1310664"/>
              <a:gd name="connsiteX0" fmla="*/ 1 w 2638506"/>
              <a:gd name="connsiteY0" fmla="*/ 649193 h 1310250"/>
              <a:gd name="connsiteX1" fmla="*/ 860110 w 2638506"/>
              <a:gd name="connsiteY1" fmla="*/ 1148 h 1310250"/>
              <a:gd name="connsiteX2" fmla="*/ 1828549 w 2638506"/>
              <a:gd name="connsiteY2" fmla="*/ 687647 h 1310250"/>
              <a:gd name="connsiteX3" fmla="*/ 2638506 w 2638506"/>
              <a:gd name="connsiteY3" fmla="*/ 1310250 h 1310250"/>
              <a:gd name="connsiteX0" fmla="*/ 1 w 2638506"/>
              <a:gd name="connsiteY0" fmla="*/ 650609 h 1311666"/>
              <a:gd name="connsiteX1" fmla="*/ 860110 w 2638506"/>
              <a:gd name="connsiteY1" fmla="*/ 2564 h 1311666"/>
              <a:gd name="connsiteX2" fmla="*/ 1828549 w 2638506"/>
              <a:gd name="connsiteY2" fmla="*/ 689063 h 1311666"/>
              <a:gd name="connsiteX3" fmla="*/ 2638506 w 2638506"/>
              <a:gd name="connsiteY3" fmla="*/ 1311666 h 1311666"/>
              <a:gd name="connsiteX0" fmla="*/ 1 w 2638506"/>
              <a:gd name="connsiteY0" fmla="*/ 649841 h 1310898"/>
              <a:gd name="connsiteX1" fmla="*/ 860110 w 2638506"/>
              <a:gd name="connsiteY1" fmla="*/ 1796 h 1310898"/>
              <a:gd name="connsiteX2" fmla="*/ 1828549 w 2638506"/>
              <a:gd name="connsiteY2" fmla="*/ 688295 h 1310898"/>
              <a:gd name="connsiteX3" fmla="*/ 2638506 w 2638506"/>
              <a:gd name="connsiteY3" fmla="*/ 1310898 h 1310898"/>
              <a:gd name="connsiteX0" fmla="*/ 1 w 2638506"/>
              <a:gd name="connsiteY0" fmla="*/ 649841 h 1310898"/>
              <a:gd name="connsiteX1" fmla="*/ 860110 w 2638506"/>
              <a:gd name="connsiteY1" fmla="*/ 1796 h 1310898"/>
              <a:gd name="connsiteX2" fmla="*/ 1828549 w 2638506"/>
              <a:gd name="connsiteY2" fmla="*/ 688295 h 1310898"/>
              <a:gd name="connsiteX3" fmla="*/ 2638506 w 2638506"/>
              <a:gd name="connsiteY3" fmla="*/ 1310898 h 1310898"/>
              <a:gd name="connsiteX0" fmla="*/ 1 w 2664626"/>
              <a:gd name="connsiteY0" fmla="*/ 635455 h 1309388"/>
              <a:gd name="connsiteX1" fmla="*/ 886230 w 2664626"/>
              <a:gd name="connsiteY1" fmla="*/ 286 h 1309388"/>
              <a:gd name="connsiteX2" fmla="*/ 1854669 w 2664626"/>
              <a:gd name="connsiteY2" fmla="*/ 686785 h 1309388"/>
              <a:gd name="connsiteX3" fmla="*/ 2664626 w 2664626"/>
              <a:gd name="connsiteY3" fmla="*/ 1309388 h 1309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64626" h="1309388">
                <a:moveTo>
                  <a:pt x="1" y="635455"/>
                </a:moveTo>
                <a:cubicBezTo>
                  <a:pt x="160378" y="175322"/>
                  <a:pt x="577119" y="-8269"/>
                  <a:pt x="886230" y="286"/>
                </a:cubicBezTo>
                <a:cubicBezTo>
                  <a:pt x="1195341" y="8841"/>
                  <a:pt x="1553315" y="159574"/>
                  <a:pt x="1854669" y="686785"/>
                </a:cubicBezTo>
                <a:cubicBezTo>
                  <a:pt x="2156023" y="1213996"/>
                  <a:pt x="2452061" y="1284105"/>
                  <a:pt x="2664626" y="1309388"/>
                </a:cubicBezTo>
              </a:path>
            </a:pathLst>
          </a:custGeom>
          <a:solidFill>
            <a:schemeClr val="accent3"/>
          </a:solidFill>
          <a:ln w="12700" cap="rnd">
            <a:solidFill>
              <a:schemeClr val="bg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4571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652" name="Freeform: Shape 907">
            <a:extLst>
              <a:ext uri="{FF2B5EF4-FFF2-40B4-BE49-F238E27FC236}">
                <a16:creationId xmlns:a16="http://schemas.microsoft.com/office/drawing/2014/main" id="{11C5982A-7EE0-FE16-9B86-0E7127F1009B}"/>
              </a:ext>
            </a:extLst>
          </p:cNvPr>
          <p:cNvSpPr/>
          <p:nvPr/>
        </p:nvSpPr>
        <p:spPr>
          <a:xfrm rot="20513737" flipH="1" flipV="1">
            <a:off x="3192886" y="2866710"/>
            <a:ext cx="118876" cy="58416"/>
          </a:xfrm>
          <a:custGeom>
            <a:avLst/>
            <a:gdLst>
              <a:gd name="connsiteX0" fmla="*/ 0 w 2617365"/>
              <a:gd name="connsiteY0" fmla="*/ 939567 h 939567"/>
              <a:gd name="connsiteX1" fmla="*/ 922789 w 2617365"/>
              <a:gd name="connsiteY1" fmla="*/ 16778 h 939567"/>
              <a:gd name="connsiteX2" fmla="*/ 1761688 w 2617365"/>
              <a:gd name="connsiteY2" fmla="*/ 855677 h 939567"/>
              <a:gd name="connsiteX3" fmla="*/ 2617365 w 2617365"/>
              <a:gd name="connsiteY3" fmla="*/ 0 h 939567"/>
              <a:gd name="connsiteX0" fmla="*/ 27 w 2617392"/>
              <a:gd name="connsiteY0" fmla="*/ 939567 h 939567"/>
              <a:gd name="connsiteX1" fmla="*/ 922816 w 2617392"/>
              <a:gd name="connsiteY1" fmla="*/ 16778 h 939567"/>
              <a:gd name="connsiteX2" fmla="*/ 1761715 w 2617392"/>
              <a:gd name="connsiteY2" fmla="*/ 855677 h 939567"/>
              <a:gd name="connsiteX3" fmla="*/ 2617392 w 2617392"/>
              <a:gd name="connsiteY3" fmla="*/ 0 h 939567"/>
              <a:gd name="connsiteX0" fmla="*/ 27 w 2617392"/>
              <a:gd name="connsiteY0" fmla="*/ 939567 h 939567"/>
              <a:gd name="connsiteX1" fmla="*/ 922816 w 2617392"/>
              <a:gd name="connsiteY1" fmla="*/ 16778 h 939567"/>
              <a:gd name="connsiteX2" fmla="*/ 1761715 w 2617392"/>
              <a:gd name="connsiteY2" fmla="*/ 855677 h 939567"/>
              <a:gd name="connsiteX3" fmla="*/ 2617392 w 2617392"/>
              <a:gd name="connsiteY3" fmla="*/ 0 h 939567"/>
              <a:gd name="connsiteX0" fmla="*/ 33 w 2617398"/>
              <a:gd name="connsiteY0" fmla="*/ 939567 h 939567"/>
              <a:gd name="connsiteX1" fmla="*/ 922822 w 2617398"/>
              <a:gd name="connsiteY1" fmla="*/ 16778 h 939567"/>
              <a:gd name="connsiteX2" fmla="*/ 1761721 w 2617398"/>
              <a:gd name="connsiteY2" fmla="*/ 855677 h 939567"/>
              <a:gd name="connsiteX3" fmla="*/ 2617398 w 2617398"/>
              <a:gd name="connsiteY3" fmla="*/ 0 h 939567"/>
              <a:gd name="connsiteX0" fmla="*/ 33 w 2617398"/>
              <a:gd name="connsiteY0" fmla="*/ 939567 h 939567"/>
              <a:gd name="connsiteX1" fmla="*/ 922822 w 2617398"/>
              <a:gd name="connsiteY1" fmla="*/ 16778 h 939567"/>
              <a:gd name="connsiteX2" fmla="*/ 1761721 w 2617398"/>
              <a:gd name="connsiteY2" fmla="*/ 855677 h 939567"/>
              <a:gd name="connsiteX3" fmla="*/ 2617398 w 2617398"/>
              <a:gd name="connsiteY3" fmla="*/ 0 h 939567"/>
              <a:gd name="connsiteX0" fmla="*/ 45 w 2617410"/>
              <a:gd name="connsiteY0" fmla="*/ 939567 h 939567"/>
              <a:gd name="connsiteX1" fmla="*/ 793294 w 2617410"/>
              <a:gd name="connsiteY1" fmla="*/ 161558 h 939567"/>
              <a:gd name="connsiteX2" fmla="*/ 1761733 w 2617410"/>
              <a:gd name="connsiteY2" fmla="*/ 855677 h 939567"/>
              <a:gd name="connsiteX3" fmla="*/ 2617410 w 2617410"/>
              <a:gd name="connsiteY3" fmla="*/ 0 h 939567"/>
              <a:gd name="connsiteX0" fmla="*/ 45 w 2617410"/>
              <a:gd name="connsiteY0" fmla="*/ 939567 h 939567"/>
              <a:gd name="connsiteX1" fmla="*/ 793294 w 2617410"/>
              <a:gd name="connsiteY1" fmla="*/ 161558 h 939567"/>
              <a:gd name="connsiteX2" fmla="*/ 1761733 w 2617410"/>
              <a:gd name="connsiteY2" fmla="*/ 855677 h 939567"/>
              <a:gd name="connsiteX3" fmla="*/ 2617410 w 2617410"/>
              <a:gd name="connsiteY3" fmla="*/ 0 h 939567"/>
              <a:gd name="connsiteX0" fmla="*/ 35 w 2617400"/>
              <a:gd name="connsiteY0" fmla="*/ 939567 h 939567"/>
              <a:gd name="connsiteX1" fmla="*/ 793284 w 2617400"/>
              <a:gd name="connsiteY1" fmla="*/ 161558 h 939567"/>
              <a:gd name="connsiteX2" fmla="*/ 1799823 w 2617400"/>
              <a:gd name="connsiteY2" fmla="*/ 928067 h 939567"/>
              <a:gd name="connsiteX3" fmla="*/ 2617400 w 2617400"/>
              <a:gd name="connsiteY3" fmla="*/ 0 h 939567"/>
              <a:gd name="connsiteX0" fmla="*/ 35 w 2617400"/>
              <a:gd name="connsiteY0" fmla="*/ 939567 h 939567"/>
              <a:gd name="connsiteX1" fmla="*/ 793284 w 2617400"/>
              <a:gd name="connsiteY1" fmla="*/ 161558 h 939567"/>
              <a:gd name="connsiteX2" fmla="*/ 1799823 w 2617400"/>
              <a:gd name="connsiteY2" fmla="*/ 928067 h 939567"/>
              <a:gd name="connsiteX3" fmla="*/ 2617400 w 2617400"/>
              <a:gd name="connsiteY3" fmla="*/ 0 h 939567"/>
              <a:gd name="connsiteX0" fmla="*/ 54 w 2617419"/>
              <a:gd name="connsiteY0" fmla="*/ 939567 h 939567"/>
              <a:gd name="connsiteX1" fmla="*/ 793303 w 2617419"/>
              <a:gd name="connsiteY1" fmla="*/ 161558 h 939567"/>
              <a:gd name="connsiteX2" fmla="*/ 1799842 w 2617419"/>
              <a:gd name="connsiteY2" fmla="*/ 928067 h 939567"/>
              <a:gd name="connsiteX3" fmla="*/ 2617419 w 2617419"/>
              <a:gd name="connsiteY3" fmla="*/ 0 h 939567"/>
              <a:gd name="connsiteX0" fmla="*/ 54 w 2602179"/>
              <a:gd name="connsiteY0" fmla="*/ 778016 h 778016"/>
              <a:gd name="connsiteX1" fmla="*/ 793303 w 2602179"/>
              <a:gd name="connsiteY1" fmla="*/ 7 h 778016"/>
              <a:gd name="connsiteX2" fmla="*/ 1799842 w 2602179"/>
              <a:gd name="connsiteY2" fmla="*/ 766516 h 778016"/>
              <a:gd name="connsiteX3" fmla="*/ 2602179 w 2602179"/>
              <a:gd name="connsiteY3" fmla="*/ 28949 h 778016"/>
              <a:gd name="connsiteX0" fmla="*/ 54 w 2438349"/>
              <a:gd name="connsiteY0" fmla="*/ 778016 h 1419810"/>
              <a:gd name="connsiteX1" fmla="*/ 793303 w 2438349"/>
              <a:gd name="connsiteY1" fmla="*/ 7 h 1419810"/>
              <a:gd name="connsiteX2" fmla="*/ 1799842 w 2438349"/>
              <a:gd name="connsiteY2" fmla="*/ 766516 h 1419810"/>
              <a:gd name="connsiteX3" fmla="*/ 2438349 w 2438349"/>
              <a:gd name="connsiteY3" fmla="*/ 1309109 h 1419810"/>
              <a:gd name="connsiteX0" fmla="*/ 54 w 2438349"/>
              <a:gd name="connsiteY0" fmla="*/ 778016 h 1309109"/>
              <a:gd name="connsiteX1" fmla="*/ 793303 w 2438349"/>
              <a:gd name="connsiteY1" fmla="*/ 7 h 1309109"/>
              <a:gd name="connsiteX2" fmla="*/ 1799842 w 2438349"/>
              <a:gd name="connsiteY2" fmla="*/ 766516 h 1309109"/>
              <a:gd name="connsiteX3" fmla="*/ 2438349 w 2438349"/>
              <a:gd name="connsiteY3" fmla="*/ 1309109 h 1309109"/>
              <a:gd name="connsiteX0" fmla="*/ 33 w 2438328"/>
              <a:gd name="connsiteY0" fmla="*/ 778361 h 1309454"/>
              <a:gd name="connsiteX1" fmla="*/ 793282 w 2438328"/>
              <a:gd name="connsiteY1" fmla="*/ 352 h 1309454"/>
              <a:gd name="connsiteX2" fmla="*/ 1628371 w 2438328"/>
              <a:gd name="connsiteY2" fmla="*/ 686851 h 1309454"/>
              <a:gd name="connsiteX3" fmla="*/ 2438328 w 2438328"/>
              <a:gd name="connsiteY3" fmla="*/ 1309454 h 1309454"/>
              <a:gd name="connsiteX0" fmla="*/ 33 w 2438328"/>
              <a:gd name="connsiteY0" fmla="*/ 778494 h 1309587"/>
              <a:gd name="connsiteX1" fmla="*/ 793282 w 2438328"/>
              <a:gd name="connsiteY1" fmla="*/ 485 h 1309587"/>
              <a:gd name="connsiteX2" fmla="*/ 1628371 w 2438328"/>
              <a:gd name="connsiteY2" fmla="*/ 686984 h 1309587"/>
              <a:gd name="connsiteX3" fmla="*/ 2438328 w 2438328"/>
              <a:gd name="connsiteY3" fmla="*/ 1309587 h 1309587"/>
              <a:gd name="connsiteX0" fmla="*/ 27 w 2556432"/>
              <a:gd name="connsiteY0" fmla="*/ 671344 h 1309117"/>
              <a:gd name="connsiteX1" fmla="*/ 911386 w 2556432"/>
              <a:gd name="connsiteY1" fmla="*/ 15 h 1309117"/>
              <a:gd name="connsiteX2" fmla="*/ 1746475 w 2556432"/>
              <a:gd name="connsiteY2" fmla="*/ 686514 h 1309117"/>
              <a:gd name="connsiteX3" fmla="*/ 2556432 w 2556432"/>
              <a:gd name="connsiteY3" fmla="*/ 1309117 h 1309117"/>
              <a:gd name="connsiteX0" fmla="*/ 0 w 2556405"/>
              <a:gd name="connsiteY0" fmla="*/ 671347 h 1309120"/>
              <a:gd name="connsiteX1" fmla="*/ 911359 w 2556405"/>
              <a:gd name="connsiteY1" fmla="*/ 18 h 1309120"/>
              <a:gd name="connsiteX2" fmla="*/ 1746448 w 2556405"/>
              <a:gd name="connsiteY2" fmla="*/ 686517 h 1309120"/>
              <a:gd name="connsiteX3" fmla="*/ 2556405 w 2556405"/>
              <a:gd name="connsiteY3" fmla="*/ 1309120 h 1309120"/>
              <a:gd name="connsiteX0" fmla="*/ 0 w 2556405"/>
              <a:gd name="connsiteY0" fmla="*/ 672485 h 1310258"/>
              <a:gd name="connsiteX1" fmla="*/ 911359 w 2556405"/>
              <a:gd name="connsiteY1" fmla="*/ 1156 h 1310258"/>
              <a:gd name="connsiteX2" fmla="*/ 1746448 w 2556405"/>
              <a:gd name="connsiteY2" fmla="*/ 687655 h 1310258"/>
              <a:gd name="connsiteX3" fmla="*/ 2556405 w 2556405"/>
              <a:gd name="connsiteY3" fmla="*/ 1310258 h 1310258"/>
              <a:gd name="connsiteX0" fmla="*/ 0 w 2556405"/>
              <a:gd name="connsiteY0" fmla="*/ 672432 h 1310205"/>
              <a:gd name="connsiteX1" fmla="*/ 911359 w 2556405"/>
              <a:gd name="connsiteY1" fmla="*/ 1103 h 1310205"/>
              <a:gd name="connsiteX2" fmla="*/ 1746448 w 2556405"/>
              <a:gd name="connsiteY2" fmla="*/ 687602 h 1310205"/>
              <a:gd name="connsiteX3" fmla="*/ 2556405 w 2556405"/>
              <a:gd name="connsiteY3" fmla="*/ 1310205 h 1310205"/>
              <a:gd name="connsiteX0" fmla="*/ 0 w 2556405"/>
              <a:gd name="connsiteY0" fmla="*/ 672432 h 1310205"/>
              <a:gd name="connsiteX1" fmla="*/ 778009 w 2556405"/>
              <a:gd name="connsiteY1" fmla="*/ 1103 h 1310205"/>
              <a:gd name="connsiteX2" fmla="*/ 1746448 w 2556405"/>
              <a:gd name="connsiteY2" fmla="*/ 687602 h 1310205"/>
              <a:gd name="connsiteX3" fmla="*/ 2556405 w 2556405"/>
              <a:gd name="connsiteY3" fmla="*/ 1310205 h 1310205"/>
              <a:gd name="connsiteX0" fmla="*/ 0 w 2556405"/>
              <a:gd name="connsiteY0" fmla="*/ 672186 h 1309959"/>
              <a:gd name="connsiteX1" fmla="*/ 778009 w 2556405"/>
              <a:gd name="connsiteY1" fmla="*/ 857 h 1309959"/>
              <a:gd name="connsiteX2" fmla="*/ 1746448 w 2556405"/>
              <a:gd name="connsiteY2" fmla="*/ 687356 h 1309959"/>
              <a:gd name="connsiteX3" fmla="*/ 2556405 w 2556405"/>
              <a:gd name="connsiteY3" fmla="*/ 1309959 h 1309959"/>
              <a:gd name="connsiteX0" fmla="*/ 0 w 2556405"/>
              <a:gd name="connsiteY0" fmla="*/ 671347 h 1309120"/>
              <a:gd name="connsiteX1" fmla="*/ 778009 w 2556405"/>
              <a:gd name="connsiteY1" fmla="*/ 18 h 1309120"/>
              <a:gd name="connsiteX2" fmla="*/ 1746448 w 2556405"/>
              <a:gd name="connsiteY2" fmla="*/ 686517 h 1309120"/>
              <a:gd name="connsiteX3" fmla="*/ 2556405 w 2556405"/>
              <a:gd name="connsiteY3" fmla="*/ 1309120 h 1309120"/>
              <a:gd name="connsiteX0" fmla="*/ 0 w 2556405"/>
              <a:gd name="connsiteY0" fmla="*/ 671340 h 1309113"/>
              <a:gd name="connsiteX1" fmla="*/ 778009 w 2556405"/>
              <a:gd name="connsiteY1" fmla="*/ 11 h 1309113"/>
              <a:gd name="connsiteX2" fmla="*/ 1746448 w 2556405"/>
              <a:gd name="connsiteY2" fmla="*/ 686510 h 1309113"/>
              <a:gd name="connsiteX3" fmla="*/ 2556405 w 2556405"/>
              <a:gd name="connsiteY3" fmla="*/ 1309113 h 1309113"/>
              <a:gd name="connsiteX0" fmla="*/ 0 w 2556405"/>
              <a:gd name="connsiteY0" fmla="*/ 671340 h 1309113"/>
              <a:gd name="connsiteX1" fmla="*/ 778009 w 2556405"/>
              <a:gd name="connsiteY1" fmla="*/ 11 h 1309113"/>
              <a:gd name="connsiteX2" fmla="*/ 1746448 w 2556405"/>
              <a:gd name="connsiteY2" fmla="*/ 686510 h 1309113"/>
              <a:gd name="connsiteX3" fmla="*/ 2556405 w 2556405"/>
              <a:gd name="connsiteY3" fmla="*/ 1309113 h 1309113"/>
              <a:gd name="connsiteX0" fmla="*/ 1 w 2593711"/>
              <a:gd name="connsiteY0" fmla="*/ 644434 h 1309189"/>
              <a:gd name="connsiteX1" fmla="*/ 815315 w 2593711"/>
              <a:gd name="connsiteY1" fmla="*/ 87 h 1309189"/>
              <a:gd name="connsiteX2" fmla="*/ 1783754 w 2593711"/>
              <a:gd name="connsiteY2" fmla="*/ 686586 h 1309189"/>
              <a:gd name="connsiteX3" fmla="*/ 2593711 w 2593711"/>
              <a:gd name="connsiteY3" fmla="*/ 1309189 h 1309189"/>
              <a:gd name="connsiteX0" fmla="*/ 1 w 2593711"/>
              <a:gd name="connsiteY0" fmla="*/ 644481 h 1309236"/>
              <a:gd name="connsiteX1" fmla="*/ 815315 w 2593711"/>
              <a:gd name="connsiteY1" fmla="*/ 134 h 1309236"/>
              <a:gd name="connsiteX2" fmla="*/ 1783754 w 2593711"/>
              <a:gd name="connsiteY2" fmla="*/ 686633 h 1309236"/>
              <a:gd name="connsiteX3" fmla="*/ 2593711 w 2593711"/>
              <a:gd name="connsiteY3" fmla="*/ 1309236 h 1309236"/>
              <a:gd name="connsiteX0" fmla="*/ 1 w 2638506"/>
              <a:gd name="connsiteY0" fmla="*/ 648155 h 1309212"/>
              <a:gd name="connsiteX1" fmla="*/ 860110 w 2638506"/>
              <a:gd name="connsiteY1" fmla="*/ 110 h 1309212"/>
              <a:gd name="connsiteX2" fmla="*/ 1828549 w 2638506"/>
              <a:gd name="connsiteY2" fmla="*/ 686609 h 1309212"/>
              <a:gd name="connsiteX3" fmla="*/ 2638506 w 2638506"/>
              <a:gd name="connsiteY3" fmla="*/ 1309212 h 1309212"/>
              <a:gd name="connsiteX0" fmla="*/ 1 w 2638506"/>
              <a:gd name="connsiteY0" fmla="*/ 648197 h 1309254"/>
              <a:gd name="connsiteX1" fmla="*/ 860110 w 2638506"/>
              <a:gd name="connsiteY1" fmla="*/ 152 h 1309254"/>
              <a:gd name="connsiteX2" fmla="*/ 1828549 w 2638506"/>
              <a:gd name="connsiteY2" fmla="*/ 686651 h 1309254"/>
              <a:gd name="connsiteX3" fmla="*/ 2638506 w 2638506"/>
              <a:gd name="connsiteY3" fmla="*/ 1309254 h 1309254"/>
              <a:gd name="connsiteX0" fmla="*/ 1 w 2638506"/>
              <a:gd name="connsiteY0" fmla="*/ 649974 h 1311031"/>
              <a:gd name="connsiteX1" fmla="*/ 860110 w 2638506"/>
              <a:gd name="connsiteY1" fmla="*/ 1929 h 1311031"/>
              <a:gd name="connsiteX2" fmla="*/ 1828549 w 2638506"/>
              <a:gd name="connsiteY2" fmla="*/ 688428 h 1311031"/>
              <a:gd name="connsiteX3" fmla="*/ 2638506 w 2638506"/>
              <a:gd name="connsiteY3" fmla="*/ 1311031 h 1311031"/>
              <a:gd name="connsiteX0" fmla="*/ 1 w 2638506"/>
              <a:gd name="connsiteY0" fmla="*/ 649607 h 1310664"/>
              <a:gd name="connsiteX1" fmla="*/ 860110 w 2638506"/>
              <a:gd name="connsiteY1" fmla="*/ 1562 h 1310664"/>
              <a:gd name="connsiteX2" fmla="*/ 1828549 w 2638506"/>
              <a:gd name="connsiteY2" fmla="*/ 688061 h 1310664"/>
              <a:gd name="connsiteX3" fmla="*/ 2638506 w 2638506"/>
              <a:gd name="connsiteY3" fmla="*/ 1310664 h 1310664"/>
              <a:gd name="connsiteX0" fmla="*/ 1 w 2638506"/>
              <a:gd name="connsiteY0" fmla="*/ 649193 h 1310250"/>
              <a:gd name="connsiteX1" fmla="*/ 860110 w 2638506"/>
              <a:gd name="connsiteY1" fmla="*/ 1148 h 1310250"/>
              <a:gd name="connsiteX2" fmla="*/ 1828549 w 2638506"/>
              <a:gd name="connsiteY2" fmla="*/ 687647 h 1310250"/>
              <a:gd name="connsiteX3" fmla="*/ 2638506 w 2638506"/>
              <a:gd name="connsiteY3" fmla="*/ 1310250 h 1310250"/>
              <a:gd name="connsiteX0" fmla="*/ 1 w 2638506"/>
              <a:gd name="connsiteY0" fmla="*/ 650609 h 1311666"/>
              <a:gd name="connsiteX1" fmla="*/ 860110 w 2638506"/>
              <a:gd name="connsiteY1" fmla="*/ 2564 h 1311666"/>
              <a:gd name="connsiteX2" fmla="*/ 1828549 w 2638506"/>
              <a:gd name="connsiteY2" fmla="*/ 689063 h 1311666"/>
              <a:gd name="connsiteX3" fmla="*/ 2638506 w 2638506"/>
              <a:gd name="connsiteY3" fmla="*/ 1311666 h 1311666"/>
              <a:gd name="connsiteX0" fmla="*/ 1 w 2638506"/>
              <a:gd name="connsiteY0" fmla="*/ 649841 h 1310898"/>
              <a:gd name="connsiteX1" fmla="*/ 860110 w 2638506"/>
              <a:gd name="connsiteY1" fmla="*/ 1796 h 1310898"/>
              <a:gd name="connsiteX2" fmla="*/ 1828549 w 2638506"/>
              <a:gd name="connsiteY2" fmla="*/ 688295 h 1310898"/>
              <a:gd name="connsiteX3" fmla="*/ 2638506 w 2638506"/>
              <a:gd name="connsiteY3" fmla="*/ 1310898 h 1310898"/>
              <a:gd name="connsiteX0" fmla="*/ 1 w 2638506"/>
              <a:gd name="connsiteY0" fmla="*/ 649841 h 1310898"/>
              <a:gd name="connsiteX1" fmla="*/ 860110 w 2638506"/>
              <a:gd name="connsiteY1" fmla="*/ 1796 h 1310898"/>
              <a:gd name="connsiteX2" fmla="*/ 1828549 w 2638506"/>
              <a:gd name="connsiteY2" fmla="*/ 688295 h 1310898"/>
              <a:gd name="connsiteX3" fmla="*/ 2638506 w 2638506"/>
              <a:gd name="connsiteY3" fmla="*/ 1310898 h 1310898"/>
              <a:gd name="connsiteX0" fmla="*/ 1 w 2664626"/>
              <a:gd name="connsiteY0" fmla="*/ 635455 h 1309388"/>
              <a:gd name="connsiteX1" fmla="*/ 886230 w 2664626"/>
              <a:gd name="connsiteY1" fmla="*/ 286 h 1309388"/>
              <a:gd name="connsiteX2" fmla="*/ 1854669 w 2664626"/>
              <a:gd name="connsiteY2" fmla="*/ 686785 h 1309388"/>
              <a:gd name="connsiteX3" fmla="*/ 2664626 w 2664626"/>
              <a:gd name="connsiteY3" fmla="*/ 1309388 h 1309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64626" h="1309388">
                <a:moveTo>
                  <a:pt x="1" y="635455"/>
                </a:moveTo>
                <a:cubicBezTo>
                  <a:pt x="160378" y="175322"/>
                  <a:pt x="577119" y="-8269"/>
                  <a:pt x="886230" y="286"/>
                </a:cubicBezTo>
                <a:cubicBezTo>
                  <a:pt x="1195341" y="8841"/>
                  <a:pt x="1553315" y="159574"/>
                  <a:pt x="1854669" y="686785"/>
                </a:cubicBezTo>
                <a:cubicBezTo>
                  <a:pt x="2156023" y="1213996"/>
                  <a:pt x="2452061" y="1284105"/>
                  <a:pt x="2664626" y="1309388"/>
                </a:cubicBezTo>
              </a:path>
            </a:pathLst>
          </a:custGeom>
          <a:solidFill>
            <a:schemeClr val="accent3"/>
          </a:solidFill>
          <a:ln w="12700" cap="rnd">
            <a:solidFill>
              <a:schemeClr val="bg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4571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653" name="Freeform: Shape 908">
            <a:extLst>
              <a:ext uri="{FF2B5EF4-FFF2-40B4-BE49-F238E27FC236}">
                <a16:creationId xmlns:a16="http://schemas.microsoft.com/office/drawing/2014/main" id="{09B3DD47-AFE9-6773-864C-7C944C9AB724}"/>
              </a:ext>
            </a:extLst>
          </p:cNvPr>
          <p:cNvSpPr/>
          <p:nvPr/>
        </p:nvSpPr>
        <p:spPr>
          <a:xfrm rot="20513737">
            <a:off x="3303367" y="2825622"/>
            <a:ext cx="29893" cy="33201"/>
          </a:xfrm>
          <a:custGeom>
            <a:avLst/>
            <a:gdLst>
              <a:gd name="connsiteX0" fmla="*/ 0 w 2617365"/>
              <a:gd name="connsiteY0" fmla="*/ 939567 h 939567"/>
              <a:gd name="connsiteX1" fmla="*/ 922789 w 2617365"/>
              <a:gd name="connsiteY1" fmla="*/ 16778 h 939567"/>
              <a:gd name="connsiteX2" fmla="*/ 1761688 w 2617365"/>
              <a:gd name="connsiteY2" fmla="*/ 855677 h 939567"/>
              <a:gd name="connsiteX3" fmla="*/ 2617365 w 2617365"/>
              <a:gd name="connsiteY3" fmla="*/ 0 h 939567"/>
              <a:gd name="connsiteX0" fmla="*/ 27 w 2617392"/>
              <a:gd name="connsiteY0" fmla="*/ 939567 h 939567"/>
              <a:gd name="connsiteX1" fmla="*/ 922816 w 2617392"/>
              <a:gd name="connsiteY1" fmla="*/ 16778 h 939567"/>
              <a:gd name="connsiteX2" fmla="*/ 1761715 w 2617392"/>
              <a:gd name="connsiteY2" fmla="*/ 855677 h 939567"/>
              <a:gd name="connsiteX3" fmla="*/ 2617392 w 2617392"/>
              <a:gd name="connsiteY3" fmla="*/ 0 h 939567"/>
              <a:gd name="connsiteX0" fmla="*/ 27 w 2617392"/>
              <a:gd name="connsiteY0" fmla="*/ 939567 h 939567"/>
              <a:gd name="connsiteX1" fmla="*/ 922816 w 2617392"/>
              <a:gd name="connsiteY1" fmla="*/ 16778 h 939567"/>
              <a:gd name="connsiteX2" fmla="*/ 1761715 w 2617392"/>
              <a:gd name="connsiteY2" fmla="*/ 855677 h 939567"/>
              <a:gd name="connsiteX3" fmla="*/ 2617392 w 2617392"/>
              <a:gd name="connsiteY3" fmla="*/ 0 h 939567"/>
              <a:gd name="connsiteX0" fmla="*/ 33 w 2617398"/>
              <a:gd name="connsiteY0" fmla="*/ 939567 h 939567"/>
              <a:gd name="connsiteX1" fmla="*/ 922822 w 2617398"/>
              <a:gd name="connsiteY1" fmla="*/ 16778 h 939567"/>
              <a:gd name="connsiteX2" fmla="*/ 1761721 w 2617398"/>
              <a:gd name="connsiteY2" fmla="*/ 855677 h 939567"/>
              <a:gd name="connsiteX3" fmla="*/ 2617398 w 2617398"/>
              <a:gd name="connsiteY3" fmla="*/ 0 h 939567"/>
              <a:gd name="connsiteX0" fmla="*/ 33 w 2617398"/>
              <a:gd name="connsiteY0" fmla="*/ 939567 h 939567"/>
              <a:gd name="connsiteX1" fmla="*/ 922822 w 2617398"/>
              <a:gd name="connsiteY1" fmla="*/ 16778 h 939567"/>
              <a:gd name="connsiteX2" fmla="*/ 1761721 w 2617398"/>
              <a:gd name="connsiteY2" fmla="*/ 855677 h 939567"/>
              <a:gd name="connsiteX3" fmla="*/ 2617398 w 2617398"/>
              <a:gd name="connsiteY3" fmla="*/ 0 h 939567"/>
              <a:gd name="connsiteX0" fmla="*/ 45 w 2617410"/>
              <a:gd name="connsiteY0" fmla="*/ 939567 h 939567"/>
              <a:gd name="connsiteX1" fmla="*/ 793294 w 2617410"/>
              <a:gd name="connsiteY1" fmla="*/ 161558 h 939567"/>
              <a:gd name="connsiteX2" fmla="*/ 1761733 w 2617410"/>
              <a:gd name="connsiteY2" fmla="*/ 855677 h 939567"/>
              <a:gd name="connsiteX3" fmla="*/ 2617410 w 2617410"/>
              <a:gd name="connsiteY3" fmla="*/ 0 h 939567"/>
              <a:gd name="connsiteX0" fmla="*/ 45 w 2617410"/>
              <a:gd name="connsiteY0" fmla="*/ 939567 h 939567"/>
              <a:gd name="connsiteX1" fmla="*/ 793294 w 2617410"/>
              <a:gd name="connsiteY1" fmla="*/ 161558 h 939567"/>
              <a:gd name="connsiteX2" fmla="*/ 1761733 w 2617410"/>
              <a:gd name="connsiteY2" fmla="*/ 855677 h 939567"/>
              <a:gd name="connsiteX3" fmla="*/ 2617410 w 2617410"/>
              <a:gd name="connsiteY3" fmla="*/ 0 h 939567"/>
              <a:gd name="connsiteX0" fmla="*/ 35 w 2617400"/>
              <a:gd name="connsiteY0" fmla="*/ 939567 h 939567"/>
              <a:gd name="connsiteX1" fmla="*/ 793284 w 2617400"/>
              <a:gd name="connsiteY1" fmla="*/ 161558 h 939567"/>
              <a:gd name="connsiteX2" fmla="*/ 1799823 w 2617400"/>
              <a:gd name="connsiteY2" fmla="*/ 928067 h 939567"/>
              <a:gd name="connsiteX3" fmla="*/ 2617400 w 2617400"/>
              <a:gd name="connsiteY3" fmla="*/ 0 h 939567"/>
              <a:gd name="connsiteX0" fmla="*/ 35 w 2617400"/>
              <a:gd name="connsiteY0" fmla="*/ 939567 h 939567"/>
              <a:gd name="connsiteX1" fmla="*/ 793284 w 2617400"/>
              <a:gd name="connsiteY1" fmla="*/ 161558 h 939567"/>
              <a:gd name="connsiteX2" fmla="*/ 1799823 w 2617400"/>
              <a:gd name="connsiteY2" fmla="*/ 928067 h 939567"/>
              <a:gd name="connsiteX3" fmla="*/ 2617400 w 2617400"/>
              <a:gd name="connsiteY3" fmla="*/ 0 h 939567"/>
              <a:gd name="connsiteX0" fmla="*/ 54 w 2617419"/>
              <a:gd name="connsiteY0" fmla="*/ 939567 h 939567"/>
              <a:gd name="connsiteX1" fmla="*/ 793303 w 2617419"/>
              <a:gd name="connsiteY1" fmla="*/ 161558 h 939567"/>
              <a:gd name="connsiteX2" fmla="*/ 1799842 w 2617419"/>
              <a:gd name="connsiteY2" fmla="*/ 928067 h 939567"/>
              <a:gd name="connsiteX3" fmla="*/ 2617419 w 2617419"/>
              <a:gd name="connsiteY3" fmla="*/ 0 h 939567"/>
              <a:gd name="connsiteX0" fmla="*/ 54 w 2602179"/>
              <a:gd name="connsiteY0" fmla="*/ 778016 h 778016"/>
              <a:gd name="connsiteX1" fmla="*/ 793303 w 2602179"/>
              <a:gd name="connsiteY1" fmla="*/ 7 h 778016"/>
              <a:gd name="connsiteX2" fmla="*/ 1799842 w 2602179"/>
              <a:gd name="connsiteY2" fmla="*/ 766516 h 778016"/>
              <a:gd name="connsiteX3" fmla="*/ 2602179 w 2602179"/>
              <a:gd name="connsiteY3" fmla="*/ 28949 h 778016"/>
              <a:gd name="connsiteX0" fmla="*/ 54 w 2438349"/>
              <a:gd name="connsiteY0" fmla="*/ 778016 h 1419810"/>
              <a:gd name="connsiteX1" fmla="*/ 793303 w 2438349"/>
              <a:gd name="connsiteY1" fmla="*/ 7 h 1419810"/>
              <a:gd name="connsiteX2" fmla="*/ 1799842 w 2438349"/>
              <a:gd name="connsiteY2" fmla="*/ 766516 h 1419810"/>
              <a:gd name="connsiteX3" fmla="*/ 2438349 w 2438349"/>
              <a:gd name="connsiteY3" fmla="*/ 1309109 h 1419810"/>
              <a:gd name="connsiteX0" fmla="*/ 54 w 2438349"/>
              <a:gd name="connsiteY0" fmla="*/ 778016 h 1309109"/>
              <a:gd name="connsiteX1" fmla="*/ 793303 w 2438349"/>
              <a:gd name="connsiteY1" fmla="*/ 7 h 1309109"/>
              <a:gd name="connsiteX2" fmla="*/ 1799842 w 2438349"/>
              <a:gd name="connsiteY2" fmla="*/ 766516 h 1309109"/>
              <a:gd name="connsiteX3" fmla="*/ 2438349 w 2438349"/>
              <a:gd name="connsiteY3" fmla="*/ 1309109 h 1309109"/>
              <a:gd name="connsiteX0" fmla="*/ 33 w 2438328"/>
              <a:gd name="connsiteY0" fmla="*/ 778361 h 1309454"/>
              <a:gd name="connsiteX1" fmla="*/ 793282 w 2438328"/>
              <a:gd name="connsiteY1" fmla="*/ 352 h 1309454"/>
              <a:gd name="connsiteX2" fmla="*/ 1628371 w 2438328"/>
              <a:gd name="connsiteY2" fmla="*/ 686851 h 1309454"/>
              <a:gd name="connsiteX3" fmla="*/ 2438328 w 2438328"/>
              <a:gd name="connsiteY3" fmla="*/ 1309454 h 1309454"/>
              <a:gd name="connsiteX0" fmla="*/ 33 w 2438328"/>
              <a:gd name="connsiteY0" fmla="*/ 778494 h 1309587"/>
              <a:gd name="connsiteX1" fmla="*/ 793282 w 2438328"/>
              <a:gd name="connsiteY1" fmla="*/ 485 h 1309587"/>
              <a:gd name="connsiteX2" fmla="*/ 1628371 w 2438328"/>
              <a:gd name="connsiteY2" fmla="*/ 686984 h 1309587"/>
              <a:gd name="connsiteX3" fmla="*/ 2438328 w 2438328"/>
              <a:gd name="connsiteY3" fmla="*/ 1309587 h 1309587"/>
              <a:gd name="connsiteX0" fmla="*/ 27 w 2556432"/>
              <a:gd name="connsiteY0" fmla="*/ 671344 h 1309117"/>
              <a:gd name="connsiteX1" fmla="*/ 911386 w 2556432"/>
              <a:gd name="connsiteY1" fmla="*/ 15 h 1309117"/>
              <a:gd name="connsiteX2" fmla="*/ 1746475 w 2556432"/>
              <a:gd name="connsiteY2" fmla="*/ 686514 h 1309117"/>
              <a:gd name="connsiteX3" fmla="*/ 2556432 w 2556432"/>
              <a:gd name="connsiteY3" fmla="*/ 1309117 h 1309117"/>
              <a:gd name="connsiteX0" fmla="*/ 0 w 2556405"/>
              <a:gd name="connsiteY0" fmla="*/ 671347 h 1309120"/>
              <a:gd name="connsiteX1" fmla="*/ 911359 w 2556405"/>
              <a:gd name="connsiteY1" fmla="*/ 18 h 1309120"/>
              <a:gd name="connsiteX2" fmla="*/ 1746448 w 2556405"/>
              <a:gd name="connsiteY2" fmla="*/ 686517 h 1309120"/>
              <a:gd name="connsiteX3" fmla="*/ 2556405 w 2556405"/>
              <a:gd name="connsiteY3" fmla="*/ 1309120 h 1309120"/>
              <a:gd name="connsiteX0" fmla="*/ 0 w 2556405"/>
              <a:gd name="connsiteY0" fmla="*/ 672485 h 1310258"/>
              <a:gd name="connsiteX1" fmla="*/ 911359 w 2556405"/>
              <a:gd name="connsiteY1" fmla="*/ 1156 h 1310258"/>
              <a:gd name="connsiteX2" fmla="*/ 1746448 w 2556405"/>
              <a:gd name="connsiteY2" fmla="*/ 687655 h 1310258"/>
              <a:gd name="connsiteX3" fmla="*/ 2556405 w 2556405"/>
              <a:gd name="connsiteY3" fmla="*/ 1310258 h 1310258"/>
              <a:gd name="connsiteX0" fmla="*/ 0 w 2556405"/>
              <a:gd name="connsiteY0" fmla="*/ 672432 h 1310205"/>
              <a:gd name="connsiteX1" fmla="*/ 911359 w 2556405"/>
              <a:gd name="connsiteY1" fmla="*/ 1103 h 1310205"/>
              <a:gd name="connsiteX2" fmla="*/ 1746448 w 2556405"/>
              <a:gd name="connsiteY2" fmla="*/ 687602 h 1310205"/>
              <a:gd name="connsiteX3" fmla="*/ 2556405 w 2556405"/>
              <a:gd name="connsiteY3" fmla="*/ 1310205 h 1310205"/>
              <a:gd name="connsiteX0" fmla="*/ 0 w 2556405"/>
              <a:gd name="connsiteY0" fmla="*/ 672432 h 1310205"/>
              <a:gd name="connsiteX1" fmla="*/ 778009 w 2556405"/>
              <a:gd name="connsiteY1" fmla="*/ 1103 h 1310205"/>
              <a:gd name="connsiteX2" fmla="*/ 1746448 w 2556405"/>
              <a:gd name="connsiteY2" fmla="*/ 687602 h 1310205"/>
              <a:gd name="connsiteX3" fmla="*/ 2556405 w 2556405"/>
              <a:gd name="connsiteY3" fmla="*/ 1310205 h 1310205"/>
              <a:gd name="connsiteX0" fmla="*/ 0 w 2556405"/>
              <a:gd name="connsiteY0" fmla="*/ 672186 h 1309959"/>
              <a:gd name="connsiteX1" fmla="*/ 778009 w 2556405"/>
              <a:gd name="connsiteY1" fmla="*/ 857 h 1309959"/>
              <a:gd name="connsiteX2" fmla="*/ 1746448 w 2556405"/>
              <a:gd name="connsiteY2" fmla="*/ 687356 h 1309959"/>
              <a:gd name="connsiteX3" fmla="*/ 2556405 w 2556405"/>
              <a:gd name="connsiteY3" fmla="*/ 1309959 h 1309959"/>
              <a:gd name="connsiteX0" fmla="*/ 0 w 2556405"/>
              <a:gd name="connsiteY0" fmla="*/ 671347 h 1309120"/>
              <a:gd name="connsiteX1" fmla="*/ 778009 w 2556405"/>
              <a:gd name="connsiteY1" fmla="*/ 18 h 1309120"/>
              <a:gd name="connsiteX2" fmla="*/ 1746448 w 2556405"/>
              <a:gd name="connsiteY2" fmla="*/ 686517 h 1309120"/>
              <a:gd name="connsiteX3" fmla="*/ 2556405 w 2556405"/>
              <a:gd name="connsiteY3" fmla="*/ 1309120 h 1309120"/>
              <a:gd name="connsiteX0" fmla="*/ 0 w 2556405"/>
              <a:gd name="connsiteY0" fmla="*/ 671340 h 1309113"/>
              <a:gd name="connsiteX1" fmla="*/ 778009 w 2556405"/>
              <a:gd name="connsiteY1" fmla="*/ 11 h 1309113"/>
              <a:gd name="connsiteX2" fmla="*/ 1746448 w 2556405"/>
              <a:gd name="connsiteY2" fmla="*/ 686510 h 1309113"/>
              <a:gd name="connsiteX3" fmla="*/ 2556405 w 2556405"/>
              <a:gd name="connsiteY3" fmla="*/ 1309113 h 1309113"/>
              <a:gd name="connsiteX0" fmla="*/ 0 w 2556405"/>
              <a:gd name="connsiteY0" fmla="*/ 671340 h 1309113"/>
              <a:gd name="connsiteX1" fmla="*/ 778009 w 2556405"/>
              <a:gd name="connsiteY1" fmla="*/ 11 h 1309113"/>
              <a:gd name="connsiteX2" fmla="*/ 1746448 w 2556405"/>
              <a:gd name="connsiteY2" fmla="*/ 686510 h 1309113"/>
              <a:gd name="connsiteX3" fmla="*/ 2556405 w 2556405"/>
              <a:gd name="connsiteY3" fmla="*/ 1309113 h 1309113"/>
              <a:gd name="connsiteX0" fmla="*/ 1 w 2593711"/>
              <a:gd name="connsiteY0" fmla="*/ 644434 h 1309189"/>
              <a:gd name="connsiteX1" fmla="*/ 815315 w 2593711"/>
              <a:gd name="connsiteY1" fmla="*/ 87 h 1309189"/>
              <a:gd name="connsiteX2" fmla="*/ 1783754 w 2593711"/>
              <a:gd name="connsiteY2" fmla="*/ 686586 h 1309189"/>
              <a:gd name="connsiteX3" fmla="*/ 2593711 w 2593711"/>
              <a:gd name="connsiteY3" fmla="*/ 1309189 h 1309189"/>
              <a:gd name="connsiteX0" fmla="*/ 1 w 2593711"/>
              <a:gd name="connsiteY0" fmla="*/ 644481 h 1309236"/>
              <a:gd name="connsiteX1" fmla="*/ 815315 w 2593711"/>
              <a:gd name="connsiteY1" fmla="*/ 134 h 1309236"/>
              <a:gd name="connsiteX2" fmla="*/ 1783754 w 2593711"/>
              <a:gd name="connsiteY2" fmla="*/ 686633 h 1309236"/>
              <a:gd name="connsiteX3" fmla="*/ 2593711 w 2593711"/>
              <a:gd name="connsiteY3" fmla="*/ 1309236 h 1309236"/>
              <a:gd name="connsiteX0" fmla="*/ 1 w 2638506"/>
              <a:gd name="connsiteY0" fmla="*/ 648155 h 1309212"/>
              <a:gd name="connsiteX1" fmla="*/ 860110 w 2638506"/>
              <a:gd name="connsiteY1" fmla="*/ 110 h 1309212"/>
              <a:gd name="connsiteX2" fmla="*/ 1828549 w 2638506"/>
              <a:gd name="connsiteY2" fmla="*/ 686609 h 1309212"/>
              <a:gd name="connsiteX3" fmla="*/ 2638506 w 2638506"/>
              <a:gd name="connsiteY3" fmla="*/ 1309212 h 1309212"/>
              <a:gd name="connsiteX0" fmla="*/ 1 w 2638506"/>
              <a:gd name="connsiteY0" fmla="*/ 648197 h 1309254"/>
              <a:gd name="connsiteX1" fmla="*/ 860110 w 2638506"/>
              <a:gd name="connsiteY1" fmla="*/ 152 h 1309254"/>
              <a:gd name="connsiteX2" fmla="*/ 1828549 w 2638506"/>
              <a:gd name="connsiteY2" fmla="*/ 686651 h 1309254"/>
              <a:gd name="connsiteX3" fmla="*/ 2638506 w 2638506"/>
              <a:gd name="connsiteY3" fmla="*/ 1309254 h 1309254"/>
              <a:gd name="connsiteX0" fmla="*/ 1 w 2638506"/>
              <a:gd name="connsiteY0" fmla="*/ 649974 h 1311031"/>
              <a:gd name="connsiteX1" fmla="*/ 860110 w 2638506"/>
              <a:gd name="connsiteY1" fmla="*/ 1929 h 1311031"/>
              <a:gd name="connsiteX2" fmla="*/ 1828549 w 2638506"/>
              <a:gd name="connsiteY2" fmla="*/ 688428 h 1311031"/>
              <a:gd name="connsiteX3" fmla="*/ 2638506 w 2638506"/>
              <a:gd name="connsiteY3" fmla="*/ 1311031 h 1311031"/>
              <a:gd name="connsiteX0" fmla="*/ 1 w 2638506"/>
              <a:gd name="connsiteY0" fmla="*/ 649607 h 1310664"/>
              <a:gd name="connsiteX1" fmla="*/ 860110 w 2638506"/>
              <a:gd name="connsiteY1" fmla="*/ 1562 h 1310664"/>
              <a:gd name="connsiteX2" fmla="*/ 1828549 w 2638506"/>
              <a:gd name="connsiteY2" fmla="*/ 688061 h 1310664"/>
              <a:gd name="connsiteX3" fmla="*/ 2638506 w 2638506"/>
              <a:gd name="connsiteY3" fmla="*/ 1310664 h 1310664"/>
              <a:gd name="connsiteX0" fmla="*/ 1 w 2638506"/>
              <a:gd name="connsiteY0" fmla="*/ 649193 h 1310250"/>
              <a:gd name="connsiteX1" fmla="*/ 860110 w 2638506"/>
              <a:gd name="connsiteY1" fmla="*/ 1148 h 1310250"/>
              <a:gd name="connsiteX2" fmla="*/ 1828549 w 2638506"/>
              <a:gd name="connsiteY2" fmla="*/ 687647 h 1310250"/>
              <a:gd name="connsiteX3" fmla="*/ 2638506 w 2638506"/>
              <a:gd name="connsiteY3" fmla="*/ 1310250 h 1310250"/>
              <a:gd name="connsiteX0" fmla="*/ 1 w 2638506"/>
              <a:gd name="connsiteY0" fmla="*/ 650609 h 1311666"/>
              <a:gd name="connsiteX1" fmla="*/ 860110 w 2638506"/>
              <a:gd name="connsiteY1" fmla="*/ 2564 h 1311666"/>
              <a:gd name="connsiteX2" fmla="*/ 1828549 w 2638506"/>
              <a:gd name="connsiteY2" fmla="*/ 689063 h 1311666"/>
              <a:gd name="connsiteX3" fmla="*/ 2638506 w 2638506"/>
              <a:gd name="connsiteY3" fmla="*/ 1311666 h 1311666"/>
              <a:gd name="connsiteX0" fmla="*/ 1 w 2638506"/>
              <a:gd name="connsiteY0" fmla="*/ 649841 h 1310898"/>
              <a:gd name="connsiteX1" fmla="*/ 860110 w 2638506"/>
              <a:gd name="connsiteY1" fmla="*/ 1796 h 1310898"/>
              <a:gd name="connsiteX2" fmla="*/ 1828549 w 2638506"/>
              <a:gd name="connsiteY2" fmla="*/ 688295 h 1310898"/>
              <a:gd name="connsiteX3" fmla="*/ 2638506 w 2638506"/>
              <a:gd name="connsiteY3" fmla="*/ 1310898 h 1310898"/>
              <a:gd name="connsiteX0" fmla="*/ 1 w 2638506"/>
              <a:gd name="connsiteY0" fmla="*/ 649841 h 1310898"/>
              <a:gd name="connsiteX1" fmla="*/ 860110 w 2638506"/>
              <a:gd name="connsiteY1" fmla="*/ 1796 h 1310898"/>
              <a:gd name="connsiteX2" fmla="*/ 1828549 w 2638506"/>
              <a:gd name="connsiteY2" fmla="*/ 688295 h 1310898"/>
              <a:gd name="connsiteX3" fmla="*/ 2638506 w 2638506"/>
              <a:gd name="connsiteY3" fmla="*/ 1310898 h 1310898"/>
              <a:gd name="connsiteX0" fmla="*/ 1 w 2664626"/>
              <a:gd name="connsiteY0" fmla="*/ 635455 h 1309388"/>
              <a:gd name="connsiteX1" fmla="*/ 886230 w 2664626"/>
              <a:gd name="connsiteY1" fmla="*/ 286 h 1309388"/>
              <a:gd name="connsiteX2" fmla="*/ 1854669 w 2664626"/>
              <a:gd name="connsiteY2" fmla="*/ 686785 h 1309388"/>
              <a:gd name="connsiteX3" fmla="*/ 2664626 w 2664626"/>
              <a:gd name="connsiteY3" fmla="*/ 1309388 h 1309388"/>
              <a:gd name="connsiteX0" fmla="*/ 1 w 1854668"/>
              <a:gd name="connsiteY0" fmla="*/ 635455 h 686786"/>
              <a:gd name="connsiteX1" fmla="*/ 886230 w 1854668"/>
              <a:gd name="connsiteY1" fmla="*/ 286 h 686786"/>
              <a:gd name="connsiteX2" fmla="*/ 1854669 w 1854668"/>
              <a:gd name="connsiteY2" fmla="*/ 686785 h 686786"/>
              <a:gd name="connsiteX0" fmla="*/ 1 w 886231"/>
              <a:gd name="connsiteY0" fmla="*/ 635455 h 635455"/>
              <a:gd name="connsiteX1" fmla="*/ 886230 w 886231"/>
              <a:gd name="connsiteY1" fmla="*/ 286 h 635455"/>
              <a:gd name="connsiteX0" fmla="*/ 1 w 886231"/>
              <a:gd name="connsiteY0" fmla="*/ 635460 h 635460"/>
              <a:gd name="connsiteX1" fmla="*/ 490191 w 886231"/>
              <a:gd name="connsiteY1" fmla="*/ 91024 h 635460"/>
              <a:gd name="connsiteX2" fmla="*/ 886230 w 886231"/>
              <a:gd name="connsiteY2" fmla="*/ 291 h 635460"/>
              <a:gd name="connsiteX0" fmla="*/ 1 w 886231"/>
              <a:gd name="connsiteY0" fmla="*/ 636018 h 636018"/>
              <a:gd name="connsiteX1" fmla="*/ 490191 w 886231"/>
              <a:gd name="connsiteY1" fmla="*/ 91582 h 636018"/>
              <a:gd name="connsiteX2" fmla="*/ 886230 w 886231"/>
              <a:gd name="connsiteY2" fmla="*/ 849 h 636018"/>
              <a:gd name="connsiteX0" fmla="*/ 1 w 886231"/>
              <a:gd name="connsiteY0" fmla="*/ 638967 h 638967"/>
              <a:gd name="connsiteX1" fmla="*/ 490191 w 886231"/>
              <a:gd name="connsiteY1" fmla="*/ 94531 h 638967"/>
              <a:gd name="connsiteX2" fmla="*/ 886230 w 886231"/>
              <a:gd name="connsiteY2" fmla="*/ 3798 h 638967"/>
              <a:gd name="connsiteX0" fmla="*/ 1 w 490191"/>
              <a:gd name="connsiteY0" fmla="*/ 544435 h 544435"/>
              <a:gd name="connsiteX1" fmla="*/ 490191 w 490191"/>
              <a:gd name="connsiteY1" fmla="*/ -1 h 544435"/>
              <a:gd name="connsiteX0" fmla="*/ 1 w 490191"/>
              <a:gd name="connsiteY0" fmla="*/ 544435 h 544435"/>
              <a:gd name="connsiteX1" fmla="*/ 490191 w 490191"/>
              <a:gd name="connsiteY1" fmla="*/ -1 h 544435"/>
              <a:gd name="connsiteX0" fmla="*/ 1 w 490191"/>
              <a:gd name="connsiteY0" fmla="*/ 544435 h 544435"/>
              <a:gd name="connsiteX1" fmla="*/ 490191 w 490191"/>
              <a:gd name="connsiteY1" fmla="*/ -1 h 544435"/>
              <a:gd name="connsiteX0" fmla="*/ 1 w 490191"/>
              <a:gd name="connsiteY0" fmla="*/ 544435 h 544435"/>
              <a:gd name="connsiteX1" fmla="*/ 490191 w 490191"/>
              <a:gd name="connsiteY1" fmla="*/ -1 h 5444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90191" h="544435">
                <a:moveTo>
                  <a:pt x="1" y="544435"/>
                </a:moveTo>
                <a:cubicBezTo>
                  <a:pt x="59974" y="349650"/>
                  <a:pt x="307478" y="61023"/>
                  <a:pt x="490191" y="-1"/>
                </a:cubicBezTo>
              </a:path>
            </a:pathLst>
          </a:custGeom>
          <a:solidFill>
            <a:schemeClr val="accent3"/>
          </a:solidFill>
          <a:ln w="12700" cap="rnd">
            <a:solidFill>
              <a:schemeClr val="bg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4571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654" name="Freeform: Shape 909">
            <a:extLst>
              <a:ext uri="{FF2B5EF4-FFF2-40B4-BE49-F238E27FC236}">
                <a16:creationId xmlns:a16="http://schemas.microsoft.com/office/drawing/2014/main" id="{55D2BD8F-2D3A-B49D-88D3-920DB18317FA}"/>
              </a:ext>
            </a:extLst>
          </p:cNvPr>
          <p:cNvSpPr/>
          <p:nvPr/>
        </p:nvSpPr>
        <p:spPr>
          <a:xfrm rot="20513737" flipH="1" flipV="1">
            <a:off x="3213016" y="2912341"/>
            <a:ext cx="29893" cy="33201"/>
          </a:xfrm>
          <a:custGeom>
            <a:avLst/>
            <a:gdLst>
              <a:gd name="connsiteX0" fmla="*/ 0 w 2617365"/>
              <a:gd name="connsiteY0" fmla="*/ 939567 h 939567"/>
              <a:gd name="connsiteX1" fmla="*/ 922789 w 2617365"/>
              <a:gd name="connsiteY1" fmla="*/ 16778 h 939567"/>
              <a:gd name="connsiteX2" fmla="*/ 1761688 w 2617365"/>
              <a:gd name="connsiteY2" fmla="*/ 855677 h 939567"/>
              <a:gd name="connsiteX3" fmla="*/ 2617365 w 2617365"/>
              <a:gd name="connsiteY3" fmla="*/ 0 h 939567"/>
              <a:gd name="connsiteX0" fmla="*/ 27 w 2617392"/>
              <a:gd name="connsiteY0" fmla="*/ 939567 h 939567"/>
              <a:gd name="connsiteX1" fmla="*/ 922816 w 2617392"/>
              <a:gd name="connsiteY1" fmla="*/ 16778 h 939567"/>
              <a:gd name="connsiteX2" fmla="*/ 1761715 w 2617392"/>
              <a:gd name="connsiteY2" fmla="*/ 855677 h 939567"/>
              <a:gd name="connsiteX3" fmla="*/ 2617392 w 2617392"/>
              <a:gd name="connsiteY3" fmla="*/ 0 h 939567"/>
              <a:gd name="connsiteX0" fmla="*/ 27 w 2617392"/>
              <a:gd name="connsiteY0" fmla="*/ 939567 h 939567"/>
              <a:gd name="connsiteX1" fmla="*/ 922816 w 2617392"/>
              <a:gd name="connsiteY1" fmla="*/ 16778 h 939567"/>
              <a:gd name="connsiteX2" fmla="*/ 1761715 w 2617392"/>
              <a:gd name="connsiteY2" fmla="*/ 855677 h 939567"/>
              <a:gd name="connsiteX3" fmla="*/ 2617392 w 2617392"/>
              <a:gd name="connsiteY3" fmla="*/ 0 h 939567"/>
              <a:gd name="connsiteX0" fmla="*/ 33 w 2617398"/>
              <a:gd name="connsiteY0" fmla="*/ 939567 h 939567"/>
              <a:gd name="connsiteX1" fmla="*/ 922822 w 2617398"/>
              <a:gd name="connsiteY1" fmla="*/ 16778 h 939567"/>
              <a:gd name="connsiteX2" fmla="*/ 1761721 w 2617398"/>
              <a:gd name="connsiteY2" fmla="*/ 855677 h 939567"/>
              <a:gd name="connsiteX3" fmla="*/ 2617398 w 2617398"/>
              <a:gd name="connsiteY3" fmla="*/ 0 h 939567"/>
              <a:gd name="connsiteX0" fmla="*/ 33 w 2617398"/>
              <a:gd name="connsiteY0" fmla="*/ 939567 h 939567"/>
              <a:gd name="connsiteX1" fmla="*/ 922822 w 2617398"/>
              <a:gd name="connsiteY1" fmla="*/ 16778 h 939567"/>
              <a:gd name="connsiteX2" fmla="*/ 1761721 w 2617398"/>
              <a:gd name="connsiteY2" fmla="*/ 855677 h 939567"/>
              <a:gd name="connsiteX3" fmla="*/ 2617398 w 2617398"/>
              <a:gd name="connsiteY3" fmla="*/ 0 h 939567"/>
              <a:gd name="connsiteX0" fmla="*/ 45 w 2617410"/>
              <a:gd name="connsiteY0" fmla="*/ 939567 h 939567"/>
              <a:gd name="connsiteX1" fmla="*/ 793294 w 2617410"/>
              <a:gd name="connsiteY1" fmla="*/ 161558 h 939567"/>
              <a:gd name="connsiteX2" fmla="*/ 1761733 w 2617410"/>
              <a:gd name="connsiteY2" fmla="*/ 855677 h 939567"/>
              <a:gd name="connsiteX3" fmla="*/ 2617410 w 2617410"/>
              <a:gd name="connsiteY3" fmla="*/ 0 h 939567"/>
              <a:gd name="connsiteX0" fmla="*/ 45 w 2617410"/>
              <a:gd name="connsiteY0" fmla="*/ 939567 h 939567"/>
              <a:gd name="connsiteX1" fmla="*/ 793294 w 2617410"/>
              <a:gd name="connsiteY1" fmla="*/ 161558 h 939567"/>
              <a:gd name="connsiteX2" fmla="*/ 1761733 w 2617410"/>
              <a:gd name="connsiteY2" fmla="*/ 855677 h 939567"/>
              <a:gd name="connsiteX3" fmla="*/ 2617410 w 2617410"/>
              <a:gd name="connsiteY3" fmla="*/ 0 h 939567"/>
              <a:gd name="connsiteX0" fmla="*/ 35 w 2617400"/>
              <a:gd name="connsiteY0" fmla="*/ 939567 h 939567"/>
              <a:gd name="connsiteX1" fmla="*/ 793284 w 2617400"/>
              <a:gd name="connsiteY1" fmla="*/ 161558 h 939567"/>
              <a:gd name="connsiteX2" fmla="*/ 1799823 w 2617400"/>
              <a:gd name="connsiteY2" fmla="*/ 928067 h 939567"/>
              <a:gd name="connsiteX3" fmla="*/ 2617400 w 2617400"/>
              <a:gd name="connsiteY3" fmla="*/ 0 h 939567"/>
              <a:gd name="connsiteX0" fmla="*/ 35 w 2617400"/>
              <a:gd name="connsiteY0" fmla="*/ 939567 h 939567"/>
              <a:gd name="connsiteX1" fmla="*/ 793284 w 2617400"/>
              <a:gd name="connsiteY1" fmla="*/ 161558 h 939567"/>
              <a:gd name="connsiteX2" fmla="*/ 1799823 w 2617400"/>
              <a:gd name="connsiteY2" fmla="*/ 928067 h 939567"/>
              <a:gd name="connsiteX3" fmla="*/ 2617400 w 2617400"/>
              <a:gd name="connsiteY3" fmla="*/ 0 h 939567"/>
              <a:gd name="connsiteX0" fmla="*/ 54 w 2617419"/>
              <a:gd name="connsiteY0" fmla="*/ 939567 h 939567"/>
              <a:gd name="connsiteX1" fmla="*/ 793303 w 2617419"/>
              <a:gd name="connsiteY1" fmla="*/ 161558 h 939567"/>
              <a:gd name="connsiteX2" fmla="*/ 1799842 w 2617419"/>
              <a:gd name="connsiteY2" fmla="*/ 928067 h 939567"/>
              <a:gd name="connsiteX3" fmla="*/ 2617419 w 2617419"/>
              <a:gd name="connsiteY3" fmla="*/ 0 h 939567"/>
              <a:gd name="connsiteX0" fmla="*/ 54 w 2602179"/>
              <a:gd name="connsiteY0" fmla="*/ 778016 h 778016"/>
              <a:gd name="connsiteX1" fmla="*/ 793303 w 2602179"/>
              <a:gd name="connsiteY1" fmla="*/ 7 h 778016"/>
              <a:gd name="connsiteX2" fmla="*/ 1799842 w 2602179"/>
              <a:gd name="connsiteY2" fmla="*/ 766516 h 778016"/>
              <a:gd name="connsiteX3" fmla="*/ 2602179 w 2602179"/>
              <a:gd name="connsiteY3" fmla="*/ 28949 h 778016"/>
              <a:gd name="connsiteX0" fmla="*/ 54 w 2438349"/>
              <a:gd name="connsiteY0" fmla="*/ 778016 h 1419810"/>
              <a:gd name="connsiteX1" fmla="*/ 793303 w 2438349"/>
              <a:gd name="connsiteY1" fmla="*/ 7 h 1419810"/>
              <a:gd name="connsiteX2" fmla="*/ 1799842 w 2438349"/>
              <a:gd name="connsiteY2" fmla="*/ 766516 h 1419810"/>
              <a:gd name="connsiteX3" fmla="*/ 2438349 w 2438349"/>
              <a:gd name="connsiteY3" fmla="*/ 1309109 h 1419810"/>
              <a:gd name="connsiteX0" fmla="*/ 54 w 2438349"/>
              <a:gd name="connsiteY0" fmla="*/ 778016 h 1309109"/>
              <a:gd name="connsiteX1" fmla="*/ 793303 w 2438349"/>
              <a:gd name="connsiteY1" fmla="*/ 7 h 1309109"/>
              <a:gd name="connsiteX2" fmla="*/ 1799842 w 2438349"/>
              <a:gd name="connsiteY2" fmla="*/ 766516 h 1309109"/>
              <a:gd name="connsiteX3" fmla="*/ 2438349 w 2438349"/>
              <a:gd name="connsiteY3" fmla="*/ 1309109 h 1309109"/>
              <a:gd name="connsiteX0" fmla="*/ 33 w 2438328"/>
              <a:gd name="connsiteY0" fmla="*/ 778361 h 1309454"/>
              <a:gd name="connsiteX1" fmla="*/ 793282 w 2438328"/>
              <a:gd name="connsiteY1" fmla="*/ 352 h 1309454"/>
              <a:gd name="connsiteX2" fmla="*/ 1628371 w 2438328"/>
              <a:gd name="connsiteY2" fmla="*/ 686851 h 1309454"/>
              <a:gd name="connsiteX3" fmla="*/ 2438328 w 2438328"/>
              <a:gd name="connsiteY3" fmla="*/ 1309454 h 1309454"/>
              <a:gd name="connsiteX0" fmla="*/ 33 w 2438328"/>
              <a:gd name="connsiteY0" fmla="*/ 778494 h 1309587"/>
              <a:gd name="connsiteX1" fmla="*/ 793282 w 2438328"/>
              <a:gd name="connsiteY1" fmla="*/ 485 h 1309587"/>
              <a:gd name="connsiteX2" fmla="*/ 1628371 w 2438328"/>
              <a:gd name="connsiteY2" fmla="*/ 686984 h 1309587"/>
              <a:gd name="connsiteX3" fmla="*/ 2438328 w 2438328"/>
              <a:gd name="connsiteY3" fmla="*/ 1309587 h 1309587"/>
              <a:gd name="connsiteX0" fmla="*/ 27 w 2556432"/>
              <a:gd name="connsiteY0" fmla="*/ 671344 h 1309117"/>
              <a:gd name="connsiteX1" fmla="*/ 911386 w 2556432"/>
              <a:gd name="connsiteY1" fmla="*/ 15 h 1309117"/>
              <a:gd name="connsiteX2" fmla="*/ 1746475 w 2556432"/>
              <a:gd name="connsiteY2" fmla="*/ 686514 h 1309117"/>
              <a:gd name="connsiteX3" fmla="*/ 2556432 w 2556432"/>
              <a:gd name="connsiteY3" fmla="*/ 1309117 h 1309117"/>
              <a:gd name="connsiteX0" fmla="*/ 0 w 2556405"/>
              <a:gd name="connsiteY0" fmla="*/ 671347 h 1309120"/>
              <a:gd name="connsiteX1" fmla="*/ 911359 w 2556405"/>
              <a:gd name="connsiteY1" fmla="*/ 18 h 1309120"/>
              <a:gd name="connsiteX2" fmla="*/ 1746448 w 2556405"/>
              <a:gd name="connsiteY2" fmla="*/ 686517 h 1309120"/>
              <a:gd name="connsiteX3" fmla="*/ 2556405 w 2556405"/>
              <a:gd name="connsiteY3" fmla="*/ 1309120 h 1309120"/>
              <a:gd name="connsiteX0" fmla="*/ 0 w 2556405"/>
              <a:gd name="connsiteY0" fmla="*/ 672485 h 1310258"/>
              <a:gd name="connsiteX1" fmla="*/ 911359 w 2556405"/>
              <a:gd name="connsiteY1" fmla="*/ 1156 h 1310258"/>
              <a:gd name="connsiteX2" fmla="*/ 1746448 w 2556405"/>
              <a:gd name="connsiteY2" fmla="*/ 687655 h 1310258"/>
              <a:gd name="connsiteX3" fmla="*/ 2556405 w 2556405"/>
              <a:gd name="connsiteY3" fmla="*/ 1310258 h 1310258"/>
              <a:gd name="connsiteX0" fmla="*/ 0 w 2556405"/>
              <a:gd name="connsiteY0" fmla="*/ 672432 h 1310205"/>
              <a:gd name="connsiteX1" fmla="*/ 911359 w 2556405"/>
              <a:gd name="connsiteY1" fmla="*/ 1103 h 1310205"/>
              <a:gd name="connsiteX2" fmla="*/ 1746448 w 2556405"/>
              <a:gd name="connsiteY2" fmla="*/ 687602 h 1310205"/>
              <a:gd name="connsiteX3" fmla="*/ 2556405 w 2556405"/>
              <a:gd name="connsiteY3" fmla="*/ 1310205 h 1310205"/>
              <a:gd name="connsiteX0" fmla="*/ 0 w 2556405"/>
              <a:gd name="connsiteY0" fmla="*/ 672432 h 1310205"/>
              <a:gd name="connsiteX1" fmla="*/ 778009 w 2556405"/>
              <a:gd name="connsiteY1" fmla="*/ 1103 h 1310205"/>
              <a:gd name="connsiteX2" fmla="*/ 1746448 w 2556405"/>
              <a:gd name="connsiteY2" fmla="*/ 687602 h 1310205"/>
              <a:gd name="connsiteX3" fmla="*/ 2556405 w 2556405"/>
              <a:gd name="connsiteY3" fmla="*/ 1310205 h 1310205"/>
              <a:gd name="connsiteX0" fmla="*/ 0 w 2556405"/>
              <a:gd name="connsiteY0" fmla="*/ 672186 h 1309959"/>
              <a:gd name="connsiteX1" fmla="*/ 778009 w 2556405"/>
              <a:gd name="connsiteY1" fmla="*/ 857 h 1309959"/>
              <a:gd name="connsiteX2" fmla="*/ 1746448 w 2556405"/>
              <a:gd name="connsiteY2" fmla="*/ 687356 h 1309959"/>
              <a:gd name="connsiteX3" fmla="*/ 2556405 w 2556405"/>
              <a:gd name="connsiteY3" fmla="*/ 1309959 h 1309959"/>
              <a:gd name="connsiteX0" fmla="*/ 0 w 2556405"/>
              <a:gd name="connsiteY0" fmla="*/ 671347 h 1309120"/>
              <a:gd name="connsiteX1" fmla="*/ 778009 w 2556405"/>
              <a:gd name="connsiteY1" fmla="*/ 18 h 1309120"/>
              <a:gd name="connsiteX2" fmla="*/ 1746448 w 2556405"/>
              <a:gd name="connsiteY2" fmla="*/ 686517 h 1309120"/>
              <a:gd name="connsiteX3" fmla="*/ 2556405 w 2556405"/>
              <a:gd name="connsiteY3" fmla="*/ 1309120 h 1309120"/>
              <a:gd name="connsiteX0" fmla="*/ 0 w 2556405"/>
              <a:gd name="connsiteY0" fmla="*/ 671340 h 1309113"/>
              <a:gd name="connsiteX1" fmla="*/ 778009 w 2556405"/>
              <a:gd name="connsiteY1" fmla="*/ 11 h 1309113"/>
              <a:gd name="connsiteX2" fmla="*/ 1746448 w 2556405"/>
              <a:gd name="connsiteY2" fmla="*/ 686510 h 1309113"/>
              <a:gd name="connsiteX3" fmla="*/ 2556405 w 2556405"/>
              <a:gd name="connsiteY3" fmla="*/ 1309113 h 1309113"/>
              <a:gd name="connsiteX0" fmla="*/ 0 w 2556405"/>
              <a:gd name="connsiteY0" fmla="*/ 671340 h 1309113"/>
              <a:gd name="connsiteX1" fmla="*/ 778009 w 2556405"/>
              <a:gd name="connsiteY1" fmla="*/ 11 h 1309113"/>
              <a:gd name="connsiteX2" fmla="*/ 1746448 w 2556405"/>
              <a:gd name="connsiteY2" fmla="*/ 686510 h 1309113"/>
              <a:gd name="connsiteX3" fmla="*/ 2556405 w 2556405"/>
              <a:gd name="connsiteY3" fmla="*/ 1309113 h 1309113"/>
              <a:gd name="connsiteX0" fmla="*/ 1 w 2593711"/>
              <a:gd name="connsiteY0" fmla="*/ 644434 h 1309189"/>
              <a:gd name="connsiteX1" fmla="*/ 815315 w 2593711"/>
              <a:gd name="connsiteY1" fmla="*/ 87 h 1309189"/>
              <a:gd name="connsiteX2" fmla="*/ 1783754 w 2593711"/>
              <a:gd name="connsiteY2" fmla="*/ 686586 h 1309189"/>
              <a:gd name="connsiteX3" fmla="*/ 2593711 w 2593711"/>
              <a:gd name="connsiteY3" fmla="*/ 1309189 h 1309189"/>
              <a:gd name="connsiteX0" fmla="*/ 1 w 2593711"/>
              <a:gd name="connsiteY0" fmla="*/ 644481 h 1309236"/>
              <a:gd name="connsiteX1" fmla="*/ 815315 w 2593711"/>
              <a:gd name="connsiteY1" fmla="*/ 134 h 1309236"/>
              <a:gd name="connsiteX2" fmla="*/ 1783754 w 2593711"/>
              <a:gd name="connsiteY2" fmla="*/ 686633 h 1309236"/>
              <a:gd name="connsiteX3" fmla="*/ 2593711 w 2593711"/>
              <a:gd name="connsiteY3" fmla="*/ 1309236 h 1309236"/>
              <a:gd name="connsiteX0" fmla="*/ 1 w 2638506"/>
              <a:gd name="connsiteY0" fmla="*/ 648155 h 1309212"/>
              <a:gd name="connsiteX1" fmla="*/ 860110 w 2638506"/>
              <a:gd name="connsiteY1" fmla="*/ 110 h 1309212"/>
              <a:gd name="connsiteX2" fmla="*/ 1828549 w 2638506"/>
              <a:gd name="connsiteY2" fmla="*/ 686609 h 1309212"/>
              <a:gd name="connsiteX3" fmla="*/ 2638506 w 2638506"/>
              <a:gd name="connsiteY3" fmla="*/ 1309212 h 1309212"/>
              <a:gd name="connsiteX0" fmla="*/ 1 w 2638506"/>
              <a:gd name="connsiteY0" fmla="*/ 648197 h 1309254"/>
              <a:gd name="connsiteX1" fmla="*/ 860110 w 2638506"/>
              <a:gd name="connsiteY1" fmla="*/ 152 h 1309254"/>
              <a:gd name="connsiteX2" fmla="*/ 1828549 w 2638506"/>
              <a:gd name="connsiteY2" fmla="*/ 686651 h 1309254"/>
              <a:gd name="connsiteX3" fmla="*/ 2638506 w 2638506"/>
              <a:gd name="connsiteY3" fmla="*/ 1309254 h 1309254"/>
              <a:gd name="connsiteX0" fmla="*/ 1 w 2638506"/>
              <a:gd name="connsiteY0" fmla="*/ 649974 h 1311031"/>
              <a:gd name="connsiteX1" fmla="*/ 860110 w 2638506"/>
              <a:gd name="connsiteY1" fmla="*/ 1929 h 1311031"/>
              <a:gd name="connsiteX2" fmla="*/ 1828549 w 2638506"/>
              <a:gd name="connsiteY2" fmla="*/ 688428 h 1311031"/>
              <a:gd name="connsiteX3" fmla="*/ 2638506 w 2638506"/>
              <a:gd name="connsiteY3" fmla="*/ 1311031 h 1311031"/>
              <a:gd name="connsiteX0" fmla="*/ 1 w 2638506"/>
              <a:gd name="connsiteY0" fmla="*/ 649607 h 1310664"/>
              <a:gd name="connsiteX1" fmla="*/ 860110 w 2638506"/>
              <a:gd name="connsiteY1" fmla="*/ 1562 h 1310664"/>
              <a:gd name="connsiteX2" fmla="*/ 1828549 w 2638506"/>
              <a:gd name="connsiteY2" fmla="*/ 688061 h 1310664"/>
              <a:gd name="connsiteX3" fmla="*/ 2638506 w 2638506"/>
              <a:gd name="connsiteY3" fmla="*/ 1310664 h 1310664"/>
              <a:gd name="connsiteX0" fmla="*/ 1 w 2638506"/>
              <a:gd name="connsiteY0" fmla="*/ 649193 h 1310250"/>
              <a:gd name="connsiteX1" fmla="*/ 860110 w 2638506"/>
              <a:gd name="connsiteY1" fmla="*/ 1148 h 1310250"/>
              <a:gd name="connsiteX2" fmla="*/ 1828549 w 2638506"/>
              <a:gd name="connsiteY2" fmla="*/ 687647 h 1310250"/>
              <a:gd name="connsiteX3" fmla="*/ 2638506 w 2638506"/>
              <a:gd name="connsiteY3" fmla="*/ 1310250 h 1310250"/>
              <a:gd name="connsiteX0" fmla="*/ 1 w 2638506"/>
              <a:gd name="connsiteY0" fmla="*/ 650609 h 1311666"/>
              <a:gd name="connsiteX1" fmla="*/ 860110 w 2638506"/>
              <a:gd name="connsiteY1" fmla="*/ 2564 h 1311666"/>
              <a:gd name="connsiteX2" fmla="*/ 1828549 w 2638506"/>
              <a:gd name="connsiteY2" fmla="*/ 689063 h 1311666"/>
              <a:gd name="connsiteX3" fmla="*/ 2638506 w 2638506"/>
              <a:gd name="connsiteY3" fmla="*/ 1311666 h 1311666"/>
              <a:gd name="connsiteX0" fmla="*/ 1 w 2638506"/>
              <a:gd name="connsiteY0" fmla="*/ 649841 h 1310898"/>
              <a:gd name="connsiteX1" fmla="*/ 860110 w 2638506"/>
              <a:gd name="connsiteY1" fmla="*/ 1796 h 1310898"/>
              <a:gd name="connsiteX2" fmla="*/ 1828549 w 2638506"/>
              <a:gd name="connsiteY2" fmla="*/ 688295 h 1310898"/>
              <a:gd name="connsiteX3" fmla="*/ 2638506 w 2638506"/>
              <a:gd name="connsiteY3" fmla="*/ 1310898 h 1310898"/>
              <a:gd name="connsiteX0" fmla="*/ 1 w 2638506"/>
              <a:gd name="connsiteY0" fmla="*/ 649841 h 1310898"/>
              <a:gd name="connsiteX1" fmla="*/ 860110 w 2638506"/>
              <a:gd name="connsiteY1" fmla="*/ 1796 h 1310898"/>
              <a:gd name="connsiteX2" fmla="*/ 1828549 w 2638506"/>
              <a:gd name="connsiteY2" fmla="*/ 688295 h 1310898"/>
              <a:gd name="connsiteX3" fmla="*/ 2638506 w 2638506"/>
              <a:gd name="connsiteY3" fmla="*/ 1310898 h 1310898"/>
              <a:gd name="connsiteX0" fmla="*/ 1 w 2664626"/>
              <a:gd name="connsiteY0" fmla="*/ 635455 h 1309388"/>
              <a:gd name="connsiteX1" fmla="*/ 886230 w 2664626"/>
              <a:gd name="connsiteY1" fmla="*/ 286 h 1309388"/>
              <a:gd name="connsiteX2" fmla="*/ 1854669 w 2664626"/>
              <a:gd name="connsiteY2" fmla="*/ 686785 h 1309388"/>
              <a:gd name="connsiteX3" fmla="*/ 2664626 w 2664626"/>
              <a:gd name="connsiteY3" fmla="*/ 1309388 h 1309388"/>
              <a:gd name="connsiteX0" fmla="*/ 1 w 1854668"/>
              <a:gd name="connsiteY0" fmla="*/ 635455 h 686786"/>
              <a:gd name="connsiteX1" fmla="*/ 886230 w 1854668"/>
              <a:gd name="connsiteY1" fmla="*/ 286 h 686786"/>
              <a:gd name="connsiteX2" fmla="*/ 1854669 w 1854668"/>
              <a:gd name="connsiteY2" fmla="*/ 686785 h 686786"/>
              <a:gd name="connsiteX0" fmla="*/ 1 w 886231"/>
              <a:gd name="connsiteY0" fmla="*/ 635455 h 635455"/>
              <a:gd name="connsiteX1" fmla="*/ 886230 w 886231"/>
              <a:gd name="connsiteY1" fmla="*/ 286 h 635455"/>
              <a:gd name="connsiteX0" fmla="*/ 1 w 886231"/>
              <a:gd name="connsiteY0" fmla="*/ 635460 h 635460"/>
              <a:gd name="connsiteX1" fmla="*/ 490191 w 886231"/>
              <a:gd name="connsiteY1" fmla="*/ 91024 h 635460"/>
              <a:gd name="connsiteX2" fmla="*/ 886230 w 886231"/>
              <a:gd name="connsiteY2" fmla="*/ 291 h 635460"/>
              <a:gd name="connsiteX0" fmla="*/ 1 w 886231"/>
              <a:gd name="connsiteY0" fmla="*/ 636018 h 636018"/>
              <a:gd name="connsiteX1" fmla="*/ 490191 w 886231"/>
              <a:gd name="connsiteY1" fmla="*/ 91582 h 636018"/>
              <a:gd name="connsiteX2" fmla="*/ 886230 w 886231"/>
              <a:gd name="connsiteY2" fmla="*/ 849 h 636018"/>
              <a:gd name="connsiteX0" fmla="*/ 1 w 886231"/>
              <a:gd name="connsiteY0" fmla="*/ 638967 h 638967"/>
              <a:gd name="connsiteX1" fmla="*/ 490191 w 886231"/>
              <a:gd name="connsiteY1" fmla="*/ 94531 h 638967"/>
              <a:gd name="connsiteX2" fmla="*/ 886230 w 886231"/>
              <a:gd name="connsiteY2" fmla="*/ 3798 h 638967"/>
              <a:gd name="connsiteX0" fmla="*/ 1 w 490191"/>
              <a:gd name="connsiteY0" fmla="*/ 544435 h 544435"/>
              <a:gd name="connsiteX1" fmla="*/ 490191 w 490191"/>
              <a:gd name="connsiteY1" fmla="*/ -1 h 544435"/>
              <a:gd name="connsiteX0" fmla="*/ 1 w 490191"/>
              <a:gd name="connsiteY0" fmla="*/ 544435 h 544435"/>
              <a:gd name="connsiteX1" fmla="*/ 490191 w 490191"/>
              <a:gd name="connsiteY1" fmla="*/ -1 h 544435"/>
              <a:gd name="connsiteX0" fmla="*/ 1 w 490191"/>
              <a:gd name="connsiteY0" fmla="*/ 544435 h 544435"/>
              <a:gd name="connsiteX1" fmla="*/ 490191 w 490191"/>
              <a:gd name="connsiteY1" fmla="*/ -1 h 544435"/>
              <a:gd name="connsiteX0" fmla="*/ 1 w 490191"/>
              <a:gd name="connsiteY0" fmla="*/ 544435 h 544435"/>
              <a:gd name="connsiteX1" fmla="*/ 490191 w 490191"/>
              <a:gd name="connsiteY1" fmla="*/ -1 h 5444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90191" h="544435">
                <a:moveTo>
                  <a:pt x="1" y="544435"/>
                </a:moveTo>
                <a:cubicBezTo>
                  <a:pt x="59974" y="349650"/>
                  <a:pt x="307478" y="61023"/>
                  <a:pt x="490191" y="-1"/>
                </a:cubicBezTo>
              </a:path>
            </a:pathLst>
          </a:custGeom>
          <a:solidFill>
            <a:schemeClr val="accent3"/>
          </a:solidFill>
          <a:ln w="12700" cap="rnd">
            <a:solidFill>
              <a:schemeClr val="bg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4571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23" name="Straight Connector 122">
            <a:extLst>
              <a:ext uri="{FF2B5EF4-FFF2-40B4-BE49-F238E27FC236}">
                <a16:creationId xmlns:a16="http://schemas.microsoft.com/office/drawing/2014/main" id="{34540C11-906D-0FF7-4DF6-6A13652AB950}"/>
              </a:ext>
            </a:extLst>
          </p:cNvPr>
          <p:cNvCxnSpPr/>
          <p:nvPr/>
        </p:nvCxnSpPr>
        <p:spPr>
          <a:xfrm rot="3751432">
            <a:off x="3239592" y="2883798"/>
            <a:ext cx="64386" cy="0"/>
          </a:xfrm>
          <a:prstGeom prst="line">
            <a:avLst/>
          </a:prstGeom>
          <a:noFill/>
          <a:ln w="127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Straight Connector 123">
            <a:extLst>
              <a:ext uri="{FF2B5EF4-FFF2-40B4-BE49-F238E27FC236}">
                <a16:creationId xmlns:a16="http://schemas.microsoft.com/office/drawing/2014/main" id="{400EFFE6-6BED-BFD7-0D89-C5ACAE4D2CD2}"/>
              </a:ext>
            </a:extLst>
          </p:cNvPr>
          <p:cNvCxnSpPr/>
          <p:nvPr/>
        </p:nvCxnSpPr>
        <p:spPr>
          <a:xfrm rot="3751432">
            <a:off x="3261674" y="2874793"/>
            <a:ext cx="54481" cy="0"/>
          </a:xfrm>
          <a:prstGeom prst="line">
            <a:avLst/>
          </a:prstGeom>
          <a:noFill/>
          <a:ln w="127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Straight Connector 124">
            <a:extLst>
              <a:ext uri="{FF2B5EF4-FFF2-40B4-BE49-F238E27FC236}">
                <a16:creationId xmlns:a16="http://schemas.microsoft.com/office/drawing/2014/main" id="{69F5D0BB-A659-A43E-C193-7C8FBF416B07}"/>
              </a:ext>
            </a:extLst>
          </p:cNvPr>
          <p:cNvCxnSpPr/>
          <p:nvPr/>
        </p:nvCxnSpPr>
        <p:spPr>
          <a:xfrm rot="3751432">
            <a:off x="3228760" y="2893004"/>
            <a:ext cx="52005" cy="0"/>
          </a:xfrm>
          <a:prstGeom prst="line">
            <a:avLst/>
          </a:prstGeom>
          <a:noFill/>
          <a:ln w="127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Straight Connector 125">
            <a:extLst>
              <a:ext uri="{FF2B5EF4-FFF2-40B4-BE49-F238E27FC236}">
                <a16:creationId xmlns:a16="http://schemas.microsoft.com/office/drawing/2014/main" id="{5AD8FE3D-3AE0-A875-4D30-9A04EB99769A}"/>
              </a:ext>
            </a:extLst>
          </p:cNvPr>
          <p:cNvCxnSpPr/>
          <p:nvPr/>
        </p:nvCxnSpPr>
        <p:spPr>
          <a:xfrm rot="3751432">
            <a:off x="3182635" y="2913978"/>
            <a:ext cx="58048" cy="0"/>
          </a:xfrm>
          <a:prstGeom prst="line">
            <a:avLst/>
          </a:prstGeom>
          <a:noFill/>
          <a:ln w="127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Straight Connector 126">
            <a:extLst>
              <a:ext uri="{FF2B5EF4-FFF2-40B4-BE49-F238E27FC236}">
                <a16:creationId xmlns:a16="http://schemas.microsoft.com/office/drawing/2014/main" id="{E35E6573-7A8F-CE0C-2CDA-A634E3E19C7C}"/>
              </a:ext>
            </a:extLst>
          </p:cNvPr>
          <p:cNvCxnSpPr/>
          <p:nvPr/>
        </p:nvCxnSpPr>
        <p:spPr>
          <a:xfrm rot="3751432">
            <a:off x="3306126" y="2855990"/>
            <a:ext cx="58048" cy="0"/>
          </a:xfrm>
          <a:prstGeom prst="line">
            <a:avLst/>
          </a:prstGeom>
          <a:noFill/>
          <a:ln w="127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48" name="Freeform: Shape 910">
            <a:extLst>
              <a:ext uri="{FF2B5EF4-FFF2-40B4-BE49-F238E27FC236}">
                <a16:creationId xmlns:a16="http://schemas.microsoft.com/office/drawing/2014/main" id="{C23F0025-28B6-7B14-87E0-F8CE71814366}"/>
              </a:ext>
            </a:extLst>
          </p:cNvPr>
          <p:cNvSpPr/>
          <p:nvPr/>
        </p:nvSpPr>
        <p:spPr>
          <a:xfrm rot="19951432">
            <a:off x="3327179" y="2868229"/>
            <a:ext cx="18740" cy="23861"/>
          </a:xfrm>
          <a:custGeom>
            <a:avLst/>
            <a:gdLst>
              <a:gd name="connsiteX0" fmla="*/ 0 w 34925"/>
              <a:gd name="connsiteY0" fmla="*/ 0 h 50800"/>
              <a:gd name="connsiteX1" fmla="*/ 34925 w 34925"/>
              <a:gd name="connsiteY1" fmla="*/ 50800 h 5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4925" h="50800">
                <a:moveTo>
                  <a:pt x="0" y="0"/>
                </a:moveTo>
                <a:lnTo>
                  <a:pt x="34925" y="50800"/>
                </a:lnTo>
              </a:path>
            </a:pathLst>
          </a:custGeom>
          <a:noFill/>
          <a:ln>
            <a:solidFill>
              <a:schemeClr val="accent3">
                <a:lumMod val="60000"/>
                <a:lumOff val="40000"/>
              </a:schemeClr>
            </a:solidFill>
          </a:ln>
          <a:effectLst>
            <a:glow rad="63500">
              <a:schemeClr val="accent4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649" name="Freeform: Shape 911">
            <a:extLst>
              <a:ext uri="{FF2B5EF4-FFF2-40B4-BE49-F238E27FC236}">
                <a16:creationId xmlns:a16="http://schemas.microsoft.com/office/drawing/2014/main" id="{EB0BF733-95B9-EB6D-466B-67DF7207886C}"/>
              </a:ext>
            </a:extLst>
          </p:cNvPr>
          <p:cNvSpPr/>
          <p:nvPr/>
        </p:nvSpPr>
        <p:spPr>
          <a:xfrm rot="19951432">
            <a:off x="3290332" y="2845836"/>
            <a:ext cx="14315" cy="20822"/>
          </a:xfrm>
          <a:custGeom>
            <a:avLst/>
            <a:gdLst>
              <a:gd name="connsiteX0" fmla="*/ 0 w 34925"/>
              <a:gd name="connsiteY0" fmla="*/ 0 h 50800"/>
              <a:gd name="connsiteX1" fmla="*/ 34925 w 34925"/>
              <a:gd name="connsiteY1" fmla="*/ 50800 h 5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4925" h="50800">
                <a:moveTo>
                  <a:pt x="0" y="0"/>
                </a:moveTo>
                <a:lnTo>
                  <a:pt x="34925" y="50800"/>
                </a:lnTo>
              </a:path>
            </a:pathLst>
          </a:custGeom>
          <a:noFill/>
          <a:ln>
            <a:solidFill>
              <a:schemeClr val="accent3">
                <a:lumMod val="60000"/>
                <a:lumOff val="40000"/>
              </a:schemeClr>
            </a:solidFill>
          </a:ln>
          <a:effectLst>
            <a:glow rad="63500">
              <a:schemeClr val="accent4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650" name="Freeform: Shape 912">
            <a:extLst>
              <a:ext uri="{FF2B5EF4-FFF2-40B4-BE49-F238E27FC236}">
                <a16:creationId xmlns:a16="http://schemas.microsoft.com/office/drawing/2014/main" id="{4F72D9D7-6DA6-76BE-C95D-D29AEE9026E7}"/>
              </a:ext>
            </a:extLst>
          </p:cNvPr>
          <p:cNvSpPr/>
          <p:nvPr/>
        </p:nvSpPr>
        <p:spPr>
          <a:xfrm rot="19051432">
            <a:off x="3247235" y="2906129"/>
            <a:ext cx="18740" cy="19446"/>
          </a:xfrm>
          <a:custGeom>
            <a:avLst/>
            <a:gdLst>
              <a:gd name="connsiteX0" fmla="*/ 0 w 34925"/>
              <a:gd name="connsiteY0" fmla="*/ 0 h 50800"/>
              <a:gd name="connsiteX1" fmla="*/ 34925 w 34925"/>
              <a:gd name="connsiteY1" fmla="*/ 50800 h 5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4925" h="50800">
                <a:moveTo>
                  <a:pt x="0" y="0"/>
                </a:moveTo>
                <a:lnTo>
                  <a:pt x="34925" y="50800"/>
                </a:lnTo>
              </a:path>
            </a:pathLst>
          </a:custGeom>
          <a:noFill/>
          <a:ln>
            <a:solidFill>
              <a:schemeClr val="accent3">
                <a:lumMod val="60000"/>
                <a:lumOff val="40000"/>
              </a:schemeClr>
            </a:solidFill>
          </a:ln>
          <a:effectLst>
            <a:glow rad="63500">
              <a:schemeClr val="accent4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668" name="Straight Connector 3667">
            <a:extLst>
              <a:ext uri="{FF2B5EF4-FFF2-40B4-BE49-F238E27FC236}">
                <a16:creationId xmlns:a16="http://schemas.microsoft.com/office/drawing/2014/main" id="{B762D721-5E55-9F14-9B88-191848612E28}"/>
              </a:ext>
            </a:extLst>
          </p:cNvPr>
          <p:cNvCxnSpPr>
            <a:cxnSpLocks/>
          </p:cNvCxnSpPr>
          <p:nvPr/>
        </p:nvCxnSpPr>
        <p:spPr bwMode="auto">
          <a:xfrm>
            <a:off x="3399665" y="2992626"/>
            <a:ext cx="183849" cy="0"/>
          </a:xfrm>
          <a:prstGeom prst="line">
            <a:avLst/>
          </a:prstGeom>
          <a:solidFill>
            <a:schemeClr val="accent3"/>
          </a:solidFill>
          <a:ln w="12700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69" name="Straight Connector 3668">
            <a:extLst>
              <a:ext uri="{FF2B5EF4-FFF2-40B4-BE49-F238E27FC236}">
                <a16:creationId xmlns:a16="http://schemas.microsoft.com/office/drawing/2014/main" id="{E53F91EC-0E9E-FBDB-8BBF-39625F26EBFB}"/>
              </a:ext>
            </a:extLst>
          </p:cNvPr>
          <p:cNvCxnSpPr>
            <a:cxnSpLocks/>
          </p:cNvCxnSpPr>
          <p:nvPr/>
        </p:nvCxnSpPr>
        <p:spPr bwMode="auto">
          <a:xfrm rot="5400000">
            <a:off x="3387312" y="2992626"/>
            <a:ext cx="24706" cy="0"/>
          </a:xfrm>
          <a:prstGeom prst="line">
            <a:avLst/>
          </a:prstGeom>
          <a:solidFill>
            <a:schemeClr val="accent3"/>
          </a:solidFill>
          <a:ln w="12700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70" name="Straight Connector 3669">
            <a:extLst>
              <a:ext uri="{FF2B5EF4-FFF2-40B4-BE49-F238E27FC236}">
                <a16:creationId xmlns:a16="http://schemas.microsoft.com/office/drawing/2014/main" id="{24142967-28ED-E460-A997-4846DB05FE2E}"/>
              </a:ext>
            </a:extLst>
          </p:cNvPr>
          <p:cNvCxnSpPr>
            <a:cxnSpLocks/>
          </p:cNvCxnSpPr>
          <p:nvPr/>
        </p:nvCxnSpPr>
        <p:spPr bwMode="auto">
          <a:xfrm rot="5400000">
            <a:off x="3571185" y="2992626"/>
            <a:ext cx="24706" cy="0"/>
          </a:xfrm>
          <a:prstGeom prst="line">
            <a:avLst/>
          </a:prstGeom>
          <a:solidFill>
            <a:schemeClr val="accent3"/>
          </a:solidFill>
          <a:ln w="12700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65" name="Straight Connector 3664">
            <a:extLst>
              <a:ext uri="{FF2B5EF4-FFF2-40B4-BE49-F238E27FC236}">
                <a16:creationId xmlns:a16="http://schemas.microsoft.com/office/drawing/2014/main" id="{F495D2DC-6447-BA72-A8E9-ECCB19409C7C}"/>
              </a:ext>
            </a:extLst>
          </p:cNvPr>
          <p:cNvCxnSpPr>
            <a:cxnSpLocks/>
          </p:cNvCxnSpPr>
          <p:nvPr/>
        </p:nvCxnSpPr>
        <p:spPr bwMode="auto">
          <a:xfrm rot="8100000">
            <a:off x="3399685" y="2992618"/>
            <a:ext cx="183849" cy="0"/>
          </a:xfrm>
          <a:prstGeom prst="line">
            <a:avLst/>
          </a:prstGeom>
          <a:solidFill>
            <a:schemeClr val="accent3"/>
          </a:solidFill>
          <a:ln w="12700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66" name="Straight Connector 3665">
            <a:extLst>
              <a:ext uri="{FF2B5EF4-FFF2-40B4-BE49-F238E27FC236}">
                <a16:creationId xmlns:a16="http://schemas.microsoft.com/office/drawing/2014/main" id="{78F1D99F-5DD4-4DB9-D9DA-9926246CEAF6}"/>
              </a:ext>
            </a:extLst>
          </p:cNvPr>
          <p:cNvCxnSpPr>
            <a:cxnSpLocks/>
          </p:cNvCxnSpPr>
          <p:nvPr/>
        </p:nvCxnSpPr>
        <p:spPr bwMode="auto">
          <a:xfrm rot="13500000">
            <a:off x="3544257" y="2927617"/>
            <a:ext cx="24706" cy="0"/>
          </a:xfrm>
          <a:prstGeom prst="line">
            <a:avLst/>
          </a:prstGeom>
          <a:solidFill>
            <a:schemeClr val="accent3"/>
          </a:solidFill>
          <a:ln w="12700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67" name="Straight Connector 3666">
            <a:extLst>
              <a:ext uri="{FF2B5EF4-FFF2-40B4-BE49-F238E27FC236}">
                <a16:creationId xmlns:a16="http://schemas.microsoft.com/office/drawing/2014/main" id="{EA46B591-EBD0-DAD3-4170-82C24255FB94}"/>
              </a:ext>
            </a:extLst>
          </p:cNvPr>
          <p:cNvCxnSpPr>
            <a:cxnSpLocks/>
          </p:cNvCxnSpPr>
          <p:nvPr/>
        </p:nvCxnSpPr>
        <p:spPr bwMode="auto">
          <a:xfrm rot="13500000">
            <a:off x="3414240" y="3057635"/>
            <a:ext cx="24706" cy="0"/>
          </a:xfrm>
          <a:prstGeom prst="line">
            <a:avLst/>
          </a:prstGeom>
          <a:solidFill>
            <a:schemeClr val="accent3"/>
          </a:solidFill>
          <a:ln w="12700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62" name="Straight Connector 3661">
            <a:extLst>
              <a:ext uri="{FF2B5EF4-FFF2-40B4-BE49-F238E27FC236}">
                <a16:creationId xmlns:a16="http://schemas.microsoft.com/office/drawing/2014/main" id="{78ACC249-D57B-7685-4A7E-0A11BD1A98C2}"/>
              </a:ext>
            </a:extLst>
          </p:cNvPr>
          <p:cNvCxnSpPr>
            <a:cxnSpLocks/>
          </p:cNvCxnSpPr>
          <p:nvPr/>
        </p:nvCxnSpPr>
        <p:spPr bwMode="auto">
          <a:xfrm rot="2700000">
            <a:off x="3399669" y="2992618"/>
            <a:ext cx="183847" cy="0"/>
          </a:xfrm>
          <a:prstGeom prst="line">
            <a:avLst/>
          </a:prstGeom>
          <a:solidFill>
            <a:schemeClr val="accent3"/>
          </a:solidFill>
          <a:ln w="12700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63" name="Straight Connector 3662">
            <a:extLst>
              <a:ext uri="{FF2B5EF4-FFF2-40B4-BE49-F238E27FC236}">
                <a16:creationId xmlns:a16="http://schemas.microsoft.com/office/drawing/2014/main" id="{21957AEF-4F68-3504-8D6D-11CEB8482E22}"/>
              </a:ext>
            </a:extLst>
          </p:cNvPr>
          <p:cNvCxnSpPr>
            <a:cxnSpLocks/>
          </p:cNvCxnSpPr>
          <p:nvPr/>
        </p:nvCxnSpPr>
        <p:spPr bwMode="auto">
          <a:xfrm rot="8100000">
            <a:off x="3414240" y="2927618"/>
            <a:ext cx="24706" cy="0"/>
          </a:xfrm>
          <a:prstGeom prst="line">
            <a:avLst/>
          </a:prstGeom>
          <a:solidFill>
            <a:schemeClr val="accent3"/>
          </a:solidFill>
          <a:ln w="12700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64" name="Straight Connector 3663">
            <a:extLst>
              <a:ext uri="{FF2B5EF4-FFF2-40B4-BE49-F238E27FC236}">
                <a16:creationId xmlns:a16="http://schemas.microsoft.com/office/drawing/2014/main" id="{E4D7E602-FD47-E652-40EB-ED43C91FC722}"/>
              </a:ext>
            </a:extLst>
          </p:cNvPr>
          <p:cNvCxnSpPr>
            <a:cxnSpLocks/>
          </p:cNvCxnSpPr>
          <p:nvPr/>
        </p:nvCxnSpPr>
        <p:spPr bwMode="auto">
          <a:xfrm rot="8100000">
            <a:off x="3544257" y="3057634"/>
            <a:ext cx="24706" cy="0"/>
          </a:xfrm>
          <a:prstGeom prst="line">
            <a:avLst/>
          </a:prstGeom>
          <a:solidFill>
            <a:schemeClr val="accent3"/>
          </a:solidFill>
          <a:ln w="12700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59" name="Straight Connector 3658">
            <a:extLst>
              <a:ext uri="{FF2B5EF4-FFF2-40B4-BE49-F238E27FC236}">
                <a16:creationId xmlns:a16="http://schemas.microsoft.com/office/drawing/2014/main" id="{C28B26DE-F95A-403D-DD73-1C57F33FBBA7}"/>
              </a:ext>
            </a:extLst>
          </p:cNvPr>
          <p:cNvCxnSpPr>
            <a:cxnSpLocks/>
          </p:cNvCxnSpPr>
          <p:nvPr/>
        </p:nvCxnSpPr>
        <p:spPr bwMode="auto">
          <a:xfrm rot="16200000">
            <a:off x="3399730" y="2992691"/>
            <a:ext cx="183847" cy="0"/>
          </a:xfrm>
          <a:prstGeom prst="line">
            <a:avLst/>
          </a:prstGeom>
          <a:solidFill>
            <a:schemeClr val="accent3"/>
          </a:solidFill>
          <a:ln w="12700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60" name="Straight Connector 3659">
            <a:extLst>
              <a:ext uri="{FF2B5EF4-FFF2-40B4-BE49-F238E27FC236}">
                <a16:creationId xmlns:a16="http://schemas.microsoft.com/office/drawing/2014/main" id="{14D73445-FF7E-F56C-BB2C-1B6FE59162FB}"/>
              </a:ext>
            </a:extLst>
          </p:cNvPr>
          <p:cNvCxnSpPr>
            <a:cxnSpLocks/>
          </p:cNvCxnSpPr>
          <p:nvPr/>
        </p:nvCxnSpPr>
        <p:spPr bwMode="auto">
          <a:xfrm>
            <a:off x="3479301" y="3084615"/>
            <a:ext cx="24706" cy="0"/>
          </a:xfrm>
          <a:prstGeom prst="line">
            <a:avLst/>
          </a:prstGeom>
          <a:solidFill>
            <a:schemeClr val="accent3"/>
          </a:solidFill>
          <a:ln w="12700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61" name="Straight Connector 3660">
            <a:extLst>
              <a:ext uri="{FF2B5EF4-FFF2-40B4-BE49-F238E27FC236}">
                <a16:creationId xmlns:a16="http://schemas.microsoft.com/office/drawing/2014/main" id="{FBD1952A-FC0C-19EC-8E90-9B29608A22B0}"/>
              </a:ext>
            </a:extLst>
          </p:cNvPr>
          <p:cNvCxnSpPr>
            <a:cxnSpLocks/>
          </p:cNvCxnSpPr>
          <p:nvPr/>
        </p:nvCxnSpPr>
        <p:spPr bwMode="auto">
          <a:xfrm>
            <a:off x="3479301" y="2900744"/>
            <a:ext cx="24706" cy="0"/>
          </a:xfrm>
          <a:prstGeom prst="line">
            <a:avLst/>
          </a:prstGeom>
          <a:solidFill>
            <a:schemeClr val="accent3"/>
          </a:solidFill>
          <a:ln w="12700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762D721-5E55-9F14-9B88-191848612E28}"/>
              </a:ext>
            </a:extLst>
          </p:cNvPr>
          <p:cNvCxnSpPr>
            <a:cxnSpLocks/>
          </p:cNvCxnSpPr>
          <p:nvPr/>
        </p:nvCxnSpPr>
        <p:spPr bwMode="auto">
          <a:xfrm>
            <a:off x="3399665" y="2992628"/>
            <a:ext cx="183849" cy="0"/>
          </a:xfrm>
          <a:prstGeom prst="line">
            <a:avLst/>
          </a:prstGeom>
          <a:solidFill>
            <a:schemeClr val="accent3"/>
          </a:solidFill>
          <a:ln w="12700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E53F91EC-0E9E-FBDB-8BBF-39625F26EBFB}"/>
              </a:ext>
            </a:extLst>
          </p:cNvPr>
          <p:cNvCxnSpPr>
            <a:cxnSpLocks/>
          </p:cNvCxnSpPr>
          <p:nvPr/>
        </p:nvCxnSpPr>
        <p:spPr bwMode="auto">
          <a:xfrm rot="5400000">
            <a:off x="3387312" y="2992628"/>
            <a:ext cx="24706" cy="0"/>
          </a:xfrm>
          <a:prstGeom prst="line">
            <a:avLst/>
          </a:prstGeom>
          <a:solidFill>
            <a:schemeClr val="accent3"/>
          </a:solidFill>
          <a:ln w="12700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24142967-28ED-E460-A997-4846DB05FE2E}"/>
              </a:ext>
            </a:extLst>
          </p:cNvPr>
          <p:cNvCxnSpPr>
            <a:cxnSpLocks/>
          </p:cNvCxnSpPr>
          <p:nvPr/>
        </p:nvCxnSpPr>
        <p:spPr bwMode="auto">
          <a:xfrm rot="5400000">
            <a:off x="3571185" y="2992628"/>
            <a:ext cx="24706" cy="0"/>
          </a:xfrm>
          <a:prstGeom prst="line">
            <a:avLst/>
          </a:prstGeom>
          <a:solidFill>
            <a:schemeClr val="accent3"/>
          </a:solidFill>
          <a:ln w="12700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F495D2DC-6447-BA72-A8E9-ECCB19409C7C}"/>
              </a:ext>
            </a:extLst>
          </p:cNvPr>
          <p:cNvCxnSpPr>
            <a:cxnSpLocks/>
          </p:cNvCxnSpPr>
          <p:nvPr/>
        </p:nvCxnSpPr>
        <p:spPr bwMode="auto">
          <a:xfrm rot="8100000">
            <a:off x="3399685" y="2992620"/>
            <a:ext cx="183849" cy="0"/>
          </a:xfrm>
          <a:prstGeom prst="line">
            <a:avLst/>
          </a:prstGeom>
          <a:solidFill>
            <a:schemeClr val="accent3"/>
          </a:solidFill>
          <a:ln w="12700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8F1D99F-5DD4-4DB9-D9DA-9926246CEAF6}"/>
              </a:ext>
            </a:extLst>
          </p:cNvPr>
          <p:cNvCxnSpPr>
            <a:cxnSpLocks/>
          </p:cNvCxnSpPr>
          <p:nvPr/>
        </p:nvCxnSpPr>
        <p:spPr bwMode="auto">
          <a:xfrm rot="13500000">
            <a:off x="3544257" y="2927619"/>
            <a:ext cx="24706" cy="0"/>
          </a:xfrm>
          <a:prstGeom prst="line">
            <a:avLst/>
          </a:prstGeom>
          <a:solidFill>
            <a:schemeClr val="accent3"/>
          </a:solidFill>
          <a:ln w="12700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A46B591-EBD0-DAD3-4170-82C24255FB94}"/>
              </a:ext>
            </a:extLst>
          </p:cNvPr>
          <p:cNvCxnSpPr>
            <a:cxnSpLocks/>
          </p:cNvCxnSpPr>
          <p:nvPr/>
        </p:nvCxnSpPr>
        <p:spPr bwMode="auto">
          <a:xfrm rot="13500000">
            <a:off x="3414240" y="3057637"/>
            <a:ext cx="24706" cy="0"/>
          </a:xfrm>
          <a:prstGeom prst="line">
            <a:avLst/>
          </a:prstGeom>
          <a:solidFill>
            <a:schemeClr val="accent3"/>
          </a:solidFill>
          <a:ln w="12700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8ACC249-D57B-7685-4A7E-0A11BD1A98C2}"/>
              </a:ext>
            </a:extLst>
          </p:cNvPr>
          <p:cNvCxnSpPr>
            <a:cxnSpLocks/>
          </p:cNvCxnSpPr>
          <p:nvPr/>
        </p:nvCxnSpPr>
        <p:spPr bwMode="auto">
          <a:xfrm rot="2700000">
            <a:off x="3399669" y="2992620"/>
            <a:ext cx="183846" cy="0"/>
          </a:xfrm>
          <a:prstGeom prst="line">
            <a:avLst/>
          </a:prstGeom>
          <a:solidFill>
            <a:schemeClr val="accent3"/>
          </a:solidFill>
          <a:ln w="12700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21957AEF-4F68-3504-8D6D-11CEB8482E22}"/>
              </a:ext>
            </a:extLst>
          </p:cNvPr>
          <p:cNvCxnSpPr>
            <a:cxnSpLocks/>
          </p:cNvCxnSpPr>
          <p:nvPr/>
        </p:nvCxnSpPr>
        <p:spPr bwMode="auto">
          <a:xfrm rot="8100000">
            <a:off x="3414240" y="2927620"/>
            <a:ext cx="24706" cy="0"/>
          </a:xfrm>
          <a:prstGeom prst="line">
            <a:avLst/>
          </a:prstGeom>
          <a:solidFill>
            <a:schemeClr val="accent3"/>
          </a:solidFill>
          <a:ln w="12700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E4D7E602-FD47-E652-40EB-ED43C91FC722}"/>
              </a:ext>
            </a:extLst>
          </p:cNvPr>
          <p:cNvCxnSpPr>
            <a:cxnSpLocks/>
          </p:cNvCxnSpPr>
          <p:nvPr/>
        </p:nvCxnSpPr>
        <p:spPr bwMode="auto">
          <a:xfrm rot="8100000">
            <a:off x="3544256" y="3057636"/>
            <a:ext cx="24706" cy="0"/>
          </a:xfrm>
          <a:prstGeom prst="line">
            <a:avLst/>
          </a:prstGeom>
          <a:solidFill>
            <a:schemeClr val="accent3"/>
          </a:solidFill>
          <a:ln w="12700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28B26DE-F95A-403D-DD73-1C57F33FBBA7}"/>
              </a:ext>
            </a:extLst>
          </p:cNvPr>
          <p:cNvCxnSpPr>
            <a:cxnSpLocks/>
          </p:cNvCxnSpPr>
          <p:nvPr/>
        </p:nvCxnSpPr>
        <p:spPr bwMode="auto">
          <a:xfrm rot="16200000">
            <a:off x="3399729" y="2992691"/>
            <a:ext cx="183846" cy="0"/>
          </a:xfrm>
          <a:prstGeom prst="line">
            <a:avLst/>
          </a:prstGeom>
          <a:solidFill>
            <a:schemeClr val="accent3"/>
          </a:solidFill>
          <a:ln w="12700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4D73445-FF7E-F56C-BB2C-1B6FE59162FB}"/>
              </a:ext>
            </a:extLst>
          </p:cNvPr>
          <p:cNvCxnSpPr>
            <a:cxnSpLocks/>
          </p:cNvCxnSpPr>
          <p:nvPr/>
        </p:nvCxnSpPr>
        <p:spPr bwMode="auto">
          <a:xfrm>
            <a:off x="3479299" y="3084614"/>
            <a:ext cx="24706" cy="0"/>
          </a:xfrm>
          <a:prstGeom prst="line">
            <a:avLst/>
          </a:prstGeom>
          <a:solidFill>
            <a:schemeClr val="accent3"/>
          </a:solidFill>
          <a:ln w="12700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BD1952A-FC0C-19EC-8E90-9B29608A22B0}"/>
              </a:ext>
            </a:extLst>
          </p:cNvPr>
          <p:cNvCxnSpPr>
            <a:cxnSpLocks/>
          </p:cNvCxnSpPr>
          <p:nvPr/>
        </p:nvCxnSpPr>
        <p:spPr bwMode="auto">
          <a:xfrm>
            <a:off x="3479299" y="2900744"/>
            <a:ext cx="24706" cy="0"/>
          </a:xfrm>
          <a:prstGeom prst="line">
            <a:avLst/>
          </a:prstGeom>
          <a:solidFill>
            <a:schemeClr val="accent3"/>
          </a:solidFill>
          <a:ln w="12700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Oval 118">
            <a:extLst>
              <a:ext uri="{FF2B5EF4-FFF2-40B4-BE49-F238E27FC236}">
                <a16:creationId xmlns:a16="http://schemas.microsoft.com/office/drawing/2014/main" id="{03B81F8D-6640-A922-5A96-CED2D7C4269B}"/>
              </a:ext>
            </a:extLst>
          </p:cNvPr>
          <p:cNvSpPr/>
          <p:nvPr/>
        </p:nvSpPr>
        <p:spPr>
          <a:xfrm>
            <a:off x="3416569" y="2920967"/>
            <a:ext cx="143327" cy="143325"/>
          </a:xfrm>
          <a:prstGeom prst="ellipse">
            <a:avLst/>
          </a:prstGeom>
          <a:solidFill>
            <a:schemeClr val="accent3"/>
          </a:solidFill>
          <a:ln w="12700" cap="rnd">
            <a:solidFill>
              <a:schemeClr val="bg1"/>
            </a:solidFill>
            <a:round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0" name="Oval 119">
            <a:extLst>
              <a:ext uri="{FF2B5EF4-FFF2-40B4-BE49-F238E27FC236}">
                <a16:creationId xmlns:a16="http://schemas.microsoft.com/office/drawing/2014/main" id="{84482718-4C58-1F55-B7E5-E82A45EE16B0}"/>
              </a:ext>
            </a:extLst>
          </p:cNvPr>
          <p:cNvSpPr/>
          <p:nvPr/>
        </p:nvSpPr>
        <p:spPr>
          <a:xfrm>
            <a:off x="3439810" y="2971330"/>
            <a:ext cx="43750" cy="43750"/>
          </a:xfrm>
          <a:prstGeom prst="ellipse">
            <a:avLst/>
          </a:prstGeom>
          <a:solidFill>
            <a:schemeClr val="accent3"/>
          </a:solidFill>
          <a:ln w="12700" cap="rnd">
            <a:solidFill>
              <a:schemeClr val="bg1"/>
            </a:solidFill>
            <a:round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1" name="Oval 120">
            <a:extLst>
              <a:ext uri="{FF2B5EF4-FFF2-40B4-BE49-F238E27FC236}">
                <a16:creationId xmlns:a16="http://schemas.microsoft.com/office/drawing/2014/main" id="{17986A6B-373C-C637-528E-C15121AB7A38}"/>
              </a:ext>
            </a:extLst>
          </p:cNvPr>
          <p:cNvSpPr/>
          <p:nvPr/>
        </p:nvSpPr>
        <p:spPr>
          <a:xfrm>
            <a:off x="3496926" y="2963609"/>
            <a:ext cx="26941" cy="26940"/>
          </a:xfrm>
          <a:prstGeom prst="ellipse">
            <a:avLst/>
          </a:prstGeom>
          <a:solidFill>
            <a:schemeClr val="accent3"/>
          </a:solidFill>
          <a:ln w="12700" cap="rnd">
            <a:solidFill>
              <a:schemeClr val="bg1"/>
            </a:solidFill>
            <a:round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673" name="Oval 3672">
            <a:extLst>
              <a:ext uri="{FF2B5EF4-FFF2-40B4-BE49-F238E27FC236}">
                <a16:creationId xmlns:a16="http://schemas.microsoft.com/office/drawing/2014/main" id="{33343F4A-1422-9251-9A7C-112297C46ACE}"/>
              </a:ext>
            </a:extLst>
          </p:cNvPr>
          <p:cNvSpPr/>
          <p:nvPr/>
        </p:nvSpPr>
        <p:spPr bwMode="auto">
          <a:xfrm rot="631816">
            <a:off x="3205949" y="2688989"/>
            <a:ext cx="93780" cy="93780"/>
          </a:xfrm>
          <a:prstGeom prst="ellipse">
            <a:avLst/>
          </a:prstGeom>
          <a:solidFill>
            <a:schemeClr val="accent3"/>
          </a:solidFill>
          <a:ln w="12700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676" name="Oval 3675">
            <a:extLst>
              <a:ext uri="{FF2B5EF4-FFF2-40B4-BE49-F238E27FC236}">
                <a16:creationId xmlns:a16="http://schemas.microsoft.com/office/drawing/2014/main" id="{22F5DC76-593A-1908-BA5B-8D12D1FA5619}"/>
              </a:ext>
            </a:extLst>
          </p:cNvPr>
          <p:cNvSpPr/>
          <p:nvPr/>
        </p:nvSpPr>
        <p:spPr bwMode="auto">
          <a:xfrm rot="631816">
            <a:off x="3219961" y="2715868"/>
            <a:ext cx="56259" cy="56258"/>
          </a:xfrm>
          <a:prstGeom prst="ellipse">
            <a:avLst/>
          </a:prstGeom>
          <a:solidFill>
            <a:schemeClr val="accent3"/>
          </a:solidFill>
          <a:ln w="12700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671" name="Oval 3670">
            <a:extLst>
              <a:ext uri="{FF2B5EF4-FFF2-40B4-BE49-F238E27FC236}">
                <a16:creationId xmlns:a16="http://schemas.microsoft.com/office/drawing/2014/main" id="{0935F2D8-61C9-7CAD-A5F0-5A4E7B7584C6}"/>
              </a:ext>
            </a:extLst>
          </p:cNvPr>
          <p:cNvSpPr/>
          <p:nvPr/>
        </p:nvSpPr>
        <p:spPr bwMode="auto">
          <a:xfrm rot="631816">
            <a:off x="3415363" y="2634877"/>
            <a:ext cx="164996" cy="164996"/>
          </a:xfrm>
          <a:prstGeom prst="ellipse">
            <a:avLst/>
          </a:prstGeom>
          <a:solidFill>
            <a:schemeClr val="accent3"/>
          </a:solidFill>
          <a:ln w="12700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672" name="Oval 3671">
            <a:extLst>
              <a:ext uri="{FF2B5EF4-FFF2-40B4-BE49-F238E27FC236}">
                <a16:creationId xmlns:a16="http://schemas.microsoft.com/office/drawing/2014/main" id="{42E225A1-551C-8246-0977-7392D586703C}"/>
              </a:ext>
            </a:extLst>
          </p:cNvPr>
          <p:cNvSpPr/>
          <p:nvPr/>
        </p:nvSpPr>
        <p:spPr bwMode="auto">
          <a:xfrm rot="631816">
            <a:off x="3455305" y="2678698"/>
            <a:ext cx="97893" cy="97893"/>
          </a:xfrm>
          <a:prstGeom prst="ellipse">
            <a:avLst/>
          </a:prstGeom>
          <a:solidFill>
            <a:schemeClr val="accent3"/>
          </a:solidFill>
          <a:ln w="12700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17" name="Straight Arrow Connector 116">
            <a:extLst>
              <a:ext uri="{FF2B5EF4-FFF2-40B4-BE49-F238E27FC236}">
                <a16:creationId xmlns:a16="http://schemas.microsoft.com/office/drawing/2014/main" id="{E80339EE-3EB0-BC67-D8E9-374E054B407F}"/>
              </a:ext>
            </a:extLst>
          </p:cNvPr>
          <p:cNvCxnSpPr>
            <a:cxnSpLocks/>
          </p:cNvCxnSpPr>
          <p:nvPr/>
        </p:nvCxnSpPr>
        <p:spPr>
          <a:xfrm flipV="1">
            <a:off x="3308315" y="2730679"/>
            <a:ext cx="102413" cy="0"/>
          </a:xfrm>
          <a:prstGeom prst="straightConnector1">
            <a:avLst/>
          </a:prstGeom>
          <a:solidFill>
            <a:schemeClr val="bg1"/>
          </a:solidFill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88" name="TextBox 3687">
            <a:extLst>
              <a:ext uri="{FF2B5EF4-FFF2-40B4-BE49-F238E27FC236}">
                <a16:creationId xmlns:a16="http://schemas.microsoft.com/office/drawing/2014/main" id="{94CA4A66-4C26-9441-9425-28B889733CBA}"/>
              </a:ext>
            </a:extLst>
          </p:cNvPr>
          <p:cNvSpPr txBox="1"/>
          <p:nvPr/>
        </p:nvSpPr>
        <p:spPr>
          <a:xfrm>
            <a:off x="2436607" y="1428487"/>
            <a:ext cx="1905428" cy="759091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rtlCol="0" anchor="ctr" anchorCtr="0">
            <a:noAutofit/>
          </a:bodyPr>
          <a:lstStyle>
            <a:defPPr>
              <a:defRPr lang="en-GB"/>
            </a:defPPr>
            <a:lvl1pPr algn="ctr">
              <a:defRPr sz="1600" b="1">
                <a:solidFill>
                  <a:schemeClr val="tx2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High-risk features</a:t>
            </a:r>
            <a:r>
              <a:rPr kumimoji="0" lang="en-GB" sz="2000" b="1" i="0" u="none" strike="noStrike" kern="1200" cap="none" spc="0" normalizeH="0" baseline="3000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–5</a:t>
            </a:r>
          </a:p>
        </p:txBody>
      </p:sp>
      <p:sp>
        <p:nvSpPr>
          <p:cNvPr id="3689" name="Rectangle 3688">
            <a:extLst>
              <a:ext uri="{FF2B5EF4-FFF2-40B4-BE49-F238E27FC236}">
                <a16:creationId xmlns:a16="http://schemas.microsoft.com/office/drawing/2014/main" id="{6A2BA33D-5135-6539-4DD3-967A417AB993}"/>
              </a:ext>
            </a:extLst>
          </p:cNvPr>
          <p:cNvSpPr/>
          <p:nvPr/>
        </p:nvSpPr>
        <p:spPr>
          <a:xfrm>
            <a:off x="4907268" y="1719844"/>
            <a:ext cx="1590296" cy="51956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imary refractory</a:t>
            </a:r>
            <a:r>
              <a:rPr kumimoji="0" lang="en-GB" sz="2000" b="1" i="0" u="none" strike="noStrike" kern="1200" cap="none" spc="0" normalizeH="0" baseline="3000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</a:t>
            </a:r>
          </a:p>
        </p:txBody>
      </p:sp>
      <p:sp>
        <p:nvSpPr>
          <p:cNvPr id="3691" name="Rectangle 3690">
            <a:extLst>
              <a:ext uri="{FF2B5EF4-FFF2-40B4-BE49-F238E27FC236}">
                <a16:creationId xmlns:a16="http://schemas.microsoft.com/office/drawing/2014/main" id="{DB5329E8-7486-4744-DDD4-FC6C8D7C34EA}"/>
              </a:ext>
            </a:extLst>
          </p:cNvPr>
          <p:cNvSpPr/>
          <p:nvPr/>
        </p:nvSpPr>
        <p:spPr>
          <a:xfrm>
            <a:off x="8480612" y="1846844"/>
            <a:ext cx="1892715" cy="49387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AR-T </a:t>
            </a:r>
            <a:b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failure</a:t>
            </a:r>
            <a:r>
              <a:rPr kumimoji="0" lang="en-GB" sz="2000" b="1" i="0" u="none" strike="noStrike" kern="1200" cap="none" spc="0" normalizeH="0" baseline="3000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7</a:t>
            </a:r>
          </a:p>
        </p:txBody>
      </p:sp>
      <p:sp>
        <p:nvSpPr>
          <p:cNvPr id="3692" name="Oval 3691">
            <a:extLst>
              <a:ext uri="{FF2B5EF4-FFF2-40B4-BE49-F238E27FC236}">
                <a16:creationId xmlns:a16="http://schemas.microsoft.com/office/drawing/2014/main" id="{DFDF7AE1-9ABB-8D9B-3EC1-29B9CC4F177D}"/>
              </a:ext>
            </a:extLst>
          </p:cNvPr>
          <p:cNvSpPr/>
          <p:nvPr/>
        </p:nvSpPr>
        <p:spPr>
          <a:xfrm>
            <a:off x="5444859" y="2681062"/>
            <a:ext cx="636194" cy="621381"/>
          </a:xfrm>
          <a:prstGeom prst="ellipse">
            <a:avLst/>
          </a:prstGeom>
          <a:solidFill>
            <a:srgbClr val="275368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wrap="square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1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694" name="Oval 3693">
            <a:extLst>
              <a:ext uri="{FF2B5EF4-FFF2-40B4-BE49-F238E27FC236}">
                <a16:creationId xmlns:a16="http://schemas.microsoft.com/office/drawing/2014/main" id="{AA65B293-664F-234C-5D3F-C89C30C3C81E}"/>
              </a:ext>
            </a:extLst>
          </p:cNvPr>
          <p:cNvSpPr/>
          <p:nvPr/>
        </p:nvSpPr>
        <p:spPr>
          <a:xfrm>
            <a:off x="9079654" y="2847432"/>
            <a:ext cx="636194" cy="621381"/>
          </a:xfrm>
          <a:prstGeom prst="ellipse">
            <a:avLst/>
          </a:prstGeom>
          <a:solidFill>
            <a:srgbClr val="275368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wrap="square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1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695" name="Straight Connector 3694">
            <a:extLst>
              <a:ext uri="{FF2B5EF4-FFF2-40B4-BE49-F238E27FC236}">
                <a16:creationId xmlns:a16="http://schemas.microsoft.com/office/drawing/2014/main" id="{E8BDC26C-183A-09DF-7DCD-06C468BCC6D7}"/>
              </a:ext>
            </a:extLst>
          </p:cNvPr>
          <p:cNvCxnSpPr>
            <a:cxnSpLocks/>
          </p:cNvCxnSpPr>
          <p:nvPr/>
        </p:nvCxnSpPr>
        <p:spPr bwMode="auto">
          <a:xfrm flipV="1">
            <a:off x="5759680" y="2855548"/>
            <a:ext cx="0" cy="266927"/>
          </a:xfrm>
          <a:prstGeom prst="line">
            <a:avLst/>
          </a:prstGeom>
          <a:noFill/>
          <a:ln w="12700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97" name="Rectangle 3696">
            <a:extLst>
              <a:ext uri="{FF2B5EF4-FFF2-40B4-BE49-F238E27FC236}">
                <a16:creationId xmlns:a16="http://schemas.microsoft.com/office/drawing/2014/main" id="{7E64DC4B-7BAD-6ABB-0373-42AB385A358A}"/>
              </a:ext>
            </a:extLst>
          </p:cNvPr>
          <p:cNvSpPr>
            <a:spLocks/>
          </p:cNvSpPr>
          <p:nvPr/>
        </p:nvSpPr>
        <p:spPr bwMode="auto">
          <a:xfrm>
            <a:off x="5605898" y="2889701"/>
            <a:ext cx="307565" cy="99222"/>
          </a:xfrm>
          <a:prstGeom prst="rect">
            <a:avLst/>
          </a:prstGeom>
          <a:solidFill>
            <a:schemeClr val="accent3"/>
          </a:solidFill>
          <a:ln w="12700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1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698" name="Parallelogram 3697">
            <a:extLst>
              <a:ext uri="{FF2B5EF4-FFF2-40B4-BE49-F238E27FC236}">
                <a16:creationId xmlns:a16="http://schemas.microsoft.com/office/drawing/2014/main" id="{EA8EEE80-41EF-DDE5-244B-AD17A4F56C42}"/>
              </a:ext>
            </a:extLst>
          </p:cNvPr>
          <p:cNvSpPr/>
          <p:nvPr/>
        </p:nvSpPr>
        <p:spPr bwMode="auto">
          <a:xfrm>
            <a:off x="5605898" y="2889701"/>
            <a:ext cx="114632" cy="99222"/>
          </a:xfrm>
          <a:prstGeom prst="parallelogram">
            <a:avLst>
              <a:gd name="adj" fmla="val 71003"/>
            </a:avLst>
          </a:prstGeom>
          <a:solidFill>
            <a:schemeClr val="accent3"/>
          </a:solidFill>
          <a:ln w="12700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1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699" name="Parallelogram 3698">
            <a:extLst>
              <a:ext uri="{FF2B5EF4-FFF2-40B4-BE49-F238E27FC236}">
                <a16:creationId xmlns:a16="http://schemas.microsoft.com/office/drawing/2014/main" id="{2384D5C1-AFB9-7973-324A-7C2A62F9A99B}"/>
              </a:ext>
            </a:extLst>
          </p:cNvPr>
          <p:cNvSpPr/>
          <p:nvPr/>
        </p:nvSpPr>
        <p:spPr bwMode="auto">
          <a:xfrm>
            <a:off x="5702365" y="2889701"/>
            <a:ext cx="114632" cy="99222"/>
          </a:xfrm>
          <a:prstGeom prst="parallelogram">
            <a:avLst>
              <a:gd name="adj" fmla="val 71003"/>
            </a:avLst>
          </a:prstGeom>
          <a:solidFill>
            <a:schemeClr val="accent3"/>
          </a:solidFill>
          <a:ln w="12700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1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700" name="Parallelogram 3699">
            <a:extLst>
              <a:ext uri="{FF2B5EF4-FFF2-40B4-BE49-F238E27FC236}">
                <a16:creationId xmlns:a16="http://schemas.microsoft.com/office/drawing/2014/main" id="{07DDC6FB-F92D-4822-3032-ACC4A6F81E05}"/>
              </a:ext>
            </a:extLst>
          </p:cNvPr>
          <p:cNvSpPr/>
          <p:nvPr/>
        </p:nvSpPr>
        <p:spPr bwMode="auto">
          <a:xfrm>
            <a:off x="5798831" y="2889701"/>
            <a:ext cx="114632" cy="99222"/>
          </a:xfrm>
          <a:prstGeom prst="parallelogram">
            <a:avLst>
              <a:gd name="adj" fmla="val 71003"/>
            </a:avLst>
          </a:prstGeom>
          <a:solidFill>
            <a:schemeClr val="accent3"/>
          </a:solidFill>
          <a:ln w="12700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1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701" name="Ellipse 148">
            <a:extLst>
              <a:ext uri="{FF2B5EF4-FFF2-40B4-BE49-F238E27FC236}">
                <a16:creationId xmlns:a16="http://schemas.microsoft.com/office/drawing/2014/main" id="{AD3CFF9F-91DF-9EED-CEB6-B54ED8ED6074}"/>
              </a:ext>
            </a:extLst>
          </p:cNvPr>
          <p:cNvSpPr/>
          <p:nvPr/>
        </p:nvSpPr>
        <p:spPr bwMode="auto">
          <a:xfrm rot="10800000">
            <a:off x="5746401" y="2845982"/>
            <a:ext cx="26560" cy="26559"/>
          </a:xfrm>
          <a:prstGeom prst="ellipse">
            <a:avLst/>
          </a:prstGeom>
          <a:noFill/>
          <a:ln w="12700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5pPr>
            <a:lvl6pPr marL="2286000" algn="l" defTabSz="457200" rtl="0" eaLnBrk="1" latinLnBrk="0" hangingPunct="1"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6pPr>
            <a:lvl7pPr marL="2743200" algn="l" defTabSz="457200" rtl="0" eaLnBrk="1" latinLnBrk="0" hangingPunct="1"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7pPr>
            <a:lvl8pPr marL="3200400" algn="l" defTabSz="457200" rtl="0" eaLnBrk="1" latinLnBrk="0" hangingPunct="1"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8pPr>
            <a:lvl9pPr marL="3657600" algn="l" defTabSz="457200" rtl="0" eaLnBrk="1" latinLnBrk="0" hangingPunct="1"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800" b="1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ＭＳ Ｐゴシック" charset="0"/>
            </a:endParaRPr>
          </a:p>
        </p:txBody>
      </p:sp>
      <p:sp>
        <p:nvSpPr>
          <p:cNvPr id="3702" name="Ellipse 148">
            <a:extLst>
              <a:ext uri="{FF2B5EF4-FFF2-40B4-BE49-F238E27FC236}">
                <a16:creationId xmlns:a16="http://schemas.microsoft.com/office/drawing/2014/main" id="{5A10AF69-7781-BD04-A193-69D61D20C253}"/>
              </a:ext>
            </a:extLst>
          </p:cNvPr>
          <p:cNvSpPr/>
          <p:nvPr/>
        </p:nvSpPr>
        <p:spPr bwMode="auto">
          <a:xfrm rot="10800000">
            <a:off x="5746401" y="2845982"/>
            <a:ext cx="26560" cy="26559"/>
          </a:xfrm>
          <a:prstGeom prst="ellipse">
            <a:avLst/>
          </a:prstGeom>
          <a:noFill/>
          <a:ln w="12700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5pPr>
            <a:lvl6pPr marL="2286000" algn="l" defTabSz="457200" rtl="0" eaLnBrk="1" latinLnBrk="0" hangingPunct="1"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6pPr>
            <a:lvl7pPr marL="2743200" algn="l" defTabSz="457200" rtl="0" eaLnBrk="1" latinLnBrk="0" hangingPunct="1"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7pPr>
            <a:lvl8pPr marL="3200400" algn="l" defTabSz="457200" rtl="0" eaLnBrk="1" latinLnBrk="0" hangingPunct="1"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8pPr>
            <a:lvl9pPr marL="3657600" algn="l" defTabSz="457200" rtl="0" eaLnBrk="1" latinLnBrk="0" hangingPunct="1"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800" b="1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ＭＳ Ｐゴシック" charset="0"/>
            </a:endParaRPr>
          </a:p>
        </p:txBody>
      </p:sp>
      <p:cxnSp>
        <p:nvCxnSpPr>
          <p:cNvPr id="3703" name="Straight Connector 3702">
            <a:extLst>
              <a:ext uri="{FF2B5EF4-FFF2-40B4-BE49-F238E27FC236}">
                <a16:creationId xmlns:a16="http://schemas.microsoft.com/office/drawing/2014/main" id="{51A5A651-CC25-7804-6172-05D3AF121784}"/>
              </a:ext>
            </a:extLst>
          </p:cNvPr>
          <p:cNvCxnSpPr>
            <a:cxnSpLocks/>
          </p:cNvCxnSpPr>
          <p:nvPr/>
        </p:nvCxnSpPr>
        <p:spPr bwMode="auto">
          <a:xfrm>
            <a:off x="5746400" y="3128018"/>
            <a:ext cx="26560" cy="0"/>
          </a:xfrm>
          <a:prstGeom prst="line">
            <a:avLst/>
          </a:prstGeom>
          <a:noFill/>
          <a:ln w="12700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04" name="Straight Connector 3703">
            <a:extLst>
              <a:ext uri="{FF2B5EF4-FFF2-40B4-BE49-F238E27FC236}">
                <a16:creationId xmlns:a16="http://schemas.microsoft.com/office/drawing/2014/main" id="{FBB65C89-F55D-C850-0662-9DFE2C0F8B5A}"/>
              </a:ext>
            </a:extLst>
          </p:cNvPr>
          <p:cNvCxnSpPr>
            <a:cxnSpLocks/>
          </p:cNvCxnSpPr>
          <p:nvPr/>
        </p:nvCxnSpPr>
        <p:spPr bwMode="auto">
          <a:xfrm>
            <a:off x="5746400" y="2849412"/>
            <a:ext cx="26560" cy="0"/>
          </a:xfrm>
          <a:prstGeom prst="line">
            <a:avLst/>
          </a:prstGeom>
          <a:noFill/>
          <a:ln w="12700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08" name="Freeform: Shape 26">
            <a:extLst>
              <a:ext uri="{FF2B5EF4-FFF2-40B4-BE49-F238E27FC236}">
                <a16:creationId xmlns:a16="http://schemas.microsoft.com/office/drawing/2014/main" id="{8EAFB215-BFB8-9821-CCE3-8FF1EE4666DF}"/>
              </a:ext>
            </a:extLst>
          </p:cNvPr>
          <p:cNvSpPr/>
          <p:nvPr/>
        </p:nvSpPr>
        <p:spPr>
          <a:xfrm>
            <a:off x="9390087" y="2942281"/>
            <a:ext cx="204568" cy="187539"/>
          </a:xfrm>
          <a:custGeom>
            <a:avLst/>
            <a:gdLst>
              <a:gd name="connsiteX0" fmla="*/ 30480 w 327660"/>
              <a:gd name="connsiteY0" fmla="*/ 320040 h 320040"/>
              <a:gd name="connsiteX1" fmla="*/ 0 w 327660"/>
              <a:gd name="connsiteY1" fmla="*/ 68580 h 320040"/>
              <a:gd name="connsiteX2" fmla="*/ 137160 w 327660"/>
              <a:gd name="connsiteY2" fmla="*/ 22860 h 320040"/>
              <a:gd name="connsiteX3" fmla="*/ 236220 w 327660"/>
              <a:gd name="connsiteY3" fmla="*/ 0 h 320040"/>
              <a:gd name="connsiteX4" fmla="*/ 213360 w 327660"/>
              <a:gd name="connsiteY4" fmla="*/ 76200 h 320040"/>
              <a:gd name="connsiteX5" fmla="*/ 243840 w 327660"/>
              <a:gd name="connsiteY5" fmla="*/ 53340 h 320040"/>
              <a:gd name="connsiteX6" fmla="*/ 312420 w 327660"/>
              <a:gd name="connsiteY6" fmla="*/ 45720 h 320040"/>
              <a:gd name="connsiteX7" fmla="*/ 327660 w 327660"/>
              <a:gd name="connsiteY7" fmla="*/ 152400 h 320040"/>
              <a:gd name="connsiteX8" fmla="*/ 304800 w 327660"/>
              <a:gd name="connsiteY8" fmla="*/ 213360 h 320040"/>
              <a:gd name="connsiteX9" fmla="*/ 327660 w 327660"/>
              <a:gd name="connsiteY9" fmla="*/ 259080 h 320040"/>
              <a:gd name="connsiteX10" fmla="*/ 30480 w 327660"/>
              <a:gd name="connsiteY10" fmla="*/ 320040 h 320040"/>
              <a:gd name="connsiteX0" fmla="*/ 43171 w 340351"/>
              <a:gd name="connsiteY0" fmla="*/ 320040 h 327788"/>
              <a:gd name="connsiteX1" fmla="*/ 12691 w 340351"/>
              <a:gd name="connsiteY1" fmla="*/ 68580 h 327788"/>
              <a:gd name="connsiteX2" fmla="*/ 149851 w 340351"/>
              <a:gd name="connsiteY2" fmla="*/ 22860 h 327788"/>
              <a:gd name="connsiteX3" fmla="*/ 248911 w 340351"/>
              <a:gd name="connsiteY3" fmla="*/ 0 h 327788"/>
              <a:gd name="connsiteX4" fmla="*/ 226051 w 340351"/>
              <a:gd name="connsiteY4" fmla="*/ 76200 h 327788"/>
              <a:gd name="connsiteX5" fmla="*/ 256531 w 340351"/>
              <a:gd name="connsiteY5" fmla="*/ 53340 h 327788"/>
              <a:gd name="connsiteX6" fmla="*/ 325111 w 340351"/>
              <a:gd name="connsiteY6" fmla="*/ 45720 h 327788"/>
              <a:gd name="connsiteX7" fmla="*/ 340351 w 340351"/>
              <a:gd name="connsiteY7" fmla="*/ 152400 h 327788"/>
              <a:gd name="connsiteX8" fmla="*/ 317491 w 340351"/>
              <a:gd name="connsiteY8" fmla="*/ 213360 h 327788"/>
              <a:gd name="connsiteX9" fmla="*/ 340351 w 340351"/>
              <a:gd name="connsiteY9" fmla="*/ 259080 h 327788"/>
              <a:gd name="connsiteX10" fmla="*/ 43171 w 340351"/>
              <a:gd name="connsiteY10" fmla="*/ 320040 h 327788"/>
              <a:gd name="connsiteX0" fmla="*/ 55326 w 352506"/>
              <a:gd name="connsiteY0" fmla="*/ 320040 h 327788"/>
              <a:gd name="connsiteX1" fmla="*/ 24846 w 352506"/>
              <a:gd name="connsiteY1" fmla="*/ 68580 h 327788"/>
              <a:gd name="connsiteX2" fmla="*/ 162006 w 352506"/>
              <a:gd name="connsiteY2" fmla="*/ 22860 h 327788"/>
              <a:gd name="connsiteX3" fmla="*/ 261066 w 352506"/>
              <a:gd name="connsiteY3" fmla="*/ 0 h 327788"/>
              <a:gd name="connsiteX4" fmla="*/ 238206 w 352506"/>
              <a:gd name="connsiteY4" fmla="*/ 76200 h 327788"/>
              <a:gd name="connsiteX5" fmla="*/ 268686 w 352506"/>
              <a:gd name="connsiteY5" fmla="*/ 53340 h 327788"/>
              <a:gd name="connsiteX6" fmla="*/ 337266 w 352506"/>
              <a:gd name="connsiteY6" fmla="*/ 45720 h 327788"/>
              <a:gd name="connsiteX7" fmla="*/ 352506 w 352506"/>
              <a:gd name="connsiteY7" fmla="*/ 152400 h 327788"/>
              <a:gd name="connsiteX8" fmla="*/ 329646 w 352506"/>
              <a:gd name="connsiteY8" fmla="*/ 213360 h 327788"/>
              <a:gd name="connsiteX9" fmla="*/ 352506 w 352506"/>
              <a:gd name="connsiteY9" fmla="*/ 259080 h 327788"/>
              <a:gd name="connsiteX10" fmla="*/ 55326 w 352506"/>
              <a:gd name="connsiteY10" fmla="*/ 320040 h 327788"/>
              <a:gd name="connsiteX0" fmla="*/ 55326 w 352506"/>
              <a:gd name="connsiteY0" fmla="*/ 365284 h 373032"/>
              <a:gd name="connsiteX1" fmla="*/ 24846 w 352506"/>
              <a:gd name="connsiteY1" fmla="*/ 113824 h 373032"/>
              <a:gd name="connsiteX2" fmla="*/ 162006 w 352506"/>
              <a:gd name="connsiteY2" fmla="*/ 68104 h 373032"/>
              <a:gd name="connsiteX3" fmla="*/ 187248 w 352506"/>
              <a:gd name="connsiteY3" fmla="*/ 0 h 373032"/>
              <a:gd name="connsiteX4" fmla="*/ 238206 w 352506"/>
              <a:gd name="connsiteY4" fmla="*/ 121444 h 373032"/>
              <a:gd name="connsiteX5" fmla="*/ 268686 w 352506"/>
              <a:gd name="connsiteY5" fmla="*/ 98584 h 373032"/>
              <a:gd name="connsiteX6" fmla="*/ 337266 w 352506"/>
              <a:gd name="connsiteY6" fmla="*/ 90964 h 373032"/>
              <a:gd name="connsiteX7" fmla="*/ 352506 w 352506"/>
              <a:gd name="connsiteY7" fmla="*/ 197644 h 373032"/>
              <a:gd name="connsiteX8" fmla="*/ 329646 w 352506"/>
              <a:gd name="connsiteY8" fmla="*/ 258604 h 373032"/>
              <a:gd name="connsiteX9" fmla="*/ 352506 w 352506"/>
              <a:gd name="connsiteY9" fmla="*/ 304324 h 373032"/>
              <a:gd name="connsiteX10" fmla="*/ 55326 w 352506"/>
              <a:gd name="connsiteY10" fmla="*/ 365284 h 373032"/>
              <a:gd name="connsiteX0" fmla="*/ 55326 w 352506"/>
              <a:gd name="connsiteY0" fmla="*/ 336709 h 344457"/>
              <a:gd name="connsiteX1" fmla="*/ 24846 w 352506"/>
              <a:gd name="connsiteY1" fmla="*/ 85249 h 344457"/>
              <a:gd name="connsiteX2" fmla="*/ 162006 w 352506"/>
              <a:gd name="connsiteY2" fmla="*/ 39529 h 344457"/>
              <a:gd name="connsiteX3" fmla="*/ 242016 w 352506"/>
              <a:gd name="connsiteY3" fmla="*/ 0 h 344457"/>
              <a:gd name="connsiteX4" fmla="*/ 238206 w 352506"/>
              <a:gd name="connsiteY4" fmla="*/ 92869 h 344457"/>
              <a:gd name="connsiteX5" fmla="*/ 268686 w 352506"/>
              <a:gd name="connsiteY5" fmla="*/ 70009 h 344457"/>
              <a:gd name="connsiteX6" fmla="*/ 337266 w 352506"/>
              <a:gd name="connsiteY6" fmla="*/ 62389 h 344457"/>
              <a:gd name="connsiteX7" fmla="*/ 352506 w 352506"/>
              <a:gd name="connsiteY7" fmla="*/ 169069 h 344457"/>
              <a:gd name="connsiteX8" fmla="*/ 329646 w 352506"/>
              <a:gd name="connsiteY8" fmla="*/ 230029 h 344457"/>
              <a:gd name="connsiteX9" fmla="*/ 352506 w 352506"/>
              <a:gd name="connsiteY9" fmla="*/ 275749 h 344457"/>
              <a:gd name="connsiteX10" fmla="*/ 55326 w 352506"/>
              <a:gd name="connsiteY10" fmla="*/ 336709 h 344457"/>
              <a:gd name="connsiteX0" fmla="*/ 55326 w 352506"/>
              <a:gd name="connsiteY0" fmla="*/ 338162 h 345910"/>
              <a:gd name="connsiteX1" fmla="*/ 24846 w 352506"/>
              <a:gd name="connsiteY1" fmla="*/ 86702 h 345910"/>
              <a:gd name="connsiteX2" fmla="*/ 162006 w 352506"/>
              <a:gd name="connsiteY2" fmla="*/ 40982 h 345910"/>
              <a:gd name="connsiteX3" fmla="*/ 242016 w 352506"/>
              <a:gd name="connsiteY3" fmla="*/ 1453 h 345910"/>
              <a:gd name="connsiteX4" fmla="*/ 238206 w 352506"/>
              <a:gd name="connsiteY4" fmla="*/ 94322 h 345910"/>
              <a:gd name="connsiteX5" fmla="*/ 268686 w 352506"/>
              <a:gd name="connsiteY5" fmla="*/ 71462 h 345910"/>
              <a:gd name="connsiteX6" fmla="*/ 337266 w 352506"/>
              <a:gd name="connsiteY6" fmla="*/ 63842 h 345910"/>
              <a:gd name="connsiteX7" fmla="*/ 352506 w 352506"/>
              <a:gd name="connsiteY7" fmla="*/ 170522 h 345910"/>
              <a:gd name="connsiteX8" fmla="*/ 329646 w 352506"/>
              <a:gd name="connsiteY8" fmla="*/ 231482 h 345910"/>
              <a:gd name="connsiteX9" fmla="*/ 352506 w 352506"/>
              <a:gd name="connsiteY9" fmla="*/ 277202 h 345910"/>
              <a:gd name="connsiteX10" fmla="*/ 55326 w 352506"/>
              <a:gd name="connsiteY10" fmla="*/ 338162 h 345910"/>
              <a:gd name="connsiteX0" fmla="*/ 55326 w 352794"/>
              <a:gd name="connsiteY0" fmla="*/ 338162 h 345910"/>
              <a:gd name="connsiteX1" fmla="*/ 24846 w 352794"/>
              <a:gd name="connsiteY1" fmla="*/ 86702 h 345910"/>
              <a:gd name="connsiteX2" fmla="*/ 162006 w 352794"/>
              <a:gd name="connsiteY2" fmla="*/ 40982 h 345910"/>
              <a:gd name="connsiteX3" fmla="*/ 242016 w 352794"/>
              <a:gd name="connsiteY3" fmla="*/ 1453 h 345910"/>
              <a:gd name="connsiteX4" fmla="*/ 238206 w 352794"/>
              <a:gd name="connsiteY4" fmla="*/ 94322 h 345910"/>
              <a:gd name="connsiteX5" fmla="*/ 268686 w 352794"/>
              <a:gd name="connsiteY5" fmla="*/ 71462 h 345910"/>
              <a:gd name="connsiteX6" fmla="*/ 337266 w 352794"/>
              <a:gd name="connsiteY6" fmla="*/ 63842 h 345910"/>
              <a:gd name="connsiteX7" fmla="*/ 352506 w 352794"/>
              <a:gd name="connsiteY7" fmla="*/ 170522 h 345910"/>
              <a:gd name="connsiteX8" fmla="*/ 329646 w 352794"/>
              <a:gd name="connsiteY8" fmla="*/ 231482 h 345910"/>
              <a:gd name="connsiteX9" fmla="*/ 352506 w 352794"/>
              <a:gd name="connsiteY9" fmla="*/ 277202 h 345910"/>
              <a:gd name="connsiteX10" fmla="*/ 55326 w 352794"/>
              <a:gd name="connsiteY10" fmla="*/ 338162 h 345910"/>
              <a:gd name="connsiteX0" fmla="*/ 66444 w 363912"/>
              <a:gd name="connsiteY0" fmla="*/ 338162 h 361700"/>
              <a:gd name="connsiteX1" fmla="*/ 35964 w 363912"/>
              <a:gd name="connsiteY1" fmla="*/ 86702 h 361700"/>
              <a:gd name="connsiteX2" fmla="*/ 173124 w 363912"/>
              <a:gd name="connsiteY2" fmla="*/ 40982 h 361700"/>
              <a:gd name="connsiteX3" fmla="*/ 253134 w 363912"/>
              <a:gd name="connsiteY3" fmla="*/ 1453 h 361700"/>
              <a:gd name="connsiteX4" fmla="*/ 249324 w 363912"/>
              <a:gd name="connsiteY4" fmla="*/ 94322 h 361700"/>
              <a:gd name="connsiteX5" fmla="*/ 279804 w 363912"/>
              <a:gd name="connsiteY5" fmla="*/ 71462 h 361700"/>
              <a:gd name="connsiteX6" fmla="*/ 348384 w 363912"/>
              <a:gd name="connsiteY6" fmla="*/ 63842 h 361700"/>
              <a:gd name="connsiteX7" fmla="*/ 363624 w 363912"/>
              <a:gd name="connsiteY7" fmla="*/ 170522 h 361700"/>
              <a:gd name="connsiteX8" fmla="*/ 340764 w 363912"/>
              <a:gd name="connsiteY8" fmla="*/ 231482 h 361700"/>
              <a:gd name="connsiteX9" fmla="*/ 363624 w 363912"/>
              <a:gd name="connsiteY9" fmla="*/ 277202 h 361700"/>
              <a:gd name="connsiteX10" fmla="*/ 66444 w 363912"/>
              <a:gd name="connsiteY10" fmla="*/ 338162 h 361700"/>
              <a:gd name="connsiteX0" fmla="*/ 66444 w 363912"/>
              <a:gd name="connsiteY0" fmla="*/ 338162 h 375491"/>
              <a:gd name="connsiteX1" fmla="*/ 35964 w 363912"/>
              <a:gd name="connsiteY1" fmla="*/ 86702 h 375491"/>
              <a:gd name="connsiteX2" fmla="*/ 173124 w 363912"/>
              <a:gd name="connsiteY2" fmla="*/ 40982 h 375491"/>
              <a:gd name="connsiteX3" fmla="*/ 253134 w 363912"/>
              <a:gd name="connsiteY3" fmla="*/ 1453 h 375491"/>
              <a:gd name="connsiteX4" fmla="*/ 249324 w 363912"/>
              <a:gd name="connsiteY4" fmla="*/ 94322 h 375491"/>
              <a:gd name="connsiteX5" fmla="*/ 279804 w 363912"/>
              <a:gd name="connsiteY5" fmla="*/ 71462 h 375491"/>
              <a:gd name="connsiteX6" fmla="*/ 348384 w 363912"/>
              <a:gd name="connsiteY6" fmla="*/ 63842 h 375491"/>
              <a:gd name="connsiteX7" fmla="*/ 363624 w 363912"/>
              <a:gd name="connsiteY7" fmla="*/ 170522 h 375491"/>
              <a:gd name="connsiteX8" fmla="*/ 340764 w 363912"/>
              <a:gd name="connsiteY8" fmla="*/ 231482 h 375491"/>
              <a:gd name="connsiteX9" fmla="*/ 363624 w 363912"/>
              <a:gd name="connsiteY9" fmla="*/ 277202 h 375491"/>
              <a:gd name="connsiteX10" fmla="*/ 66444 w 363912"/>
              <a:gd name="connsiteY10" fmla="*/ 338162 h 375491"/>
              <a:gd name="connsiteX0" fmla="*/ 66444 w 363912"/>
              <a:gd name="connsiteY0" fmla="*/ 338162 h 375491"/>
              <a:gd name="connsiteX1" fmla="*/ 35964 w 363912"/>
              <a:gd name="connsiteY1" fmla="*/ 86702 h 375491"/>
              <a:gd name="connsiteX2" fmla="*/ 173124 w 363912"/>
              <a:gd name="connsiteY2" fmla="*/ 40982 h 375491"/>
              <a:gd name="connsiteX3" fmla="*/ 253134 w 363912"/>
              <a:gd name="connsiteY3" fmla="*/ 1453 h 375491"/>
              <a:gd name="connsiteX4" fmla="*/ 249324 w 363912"/>
              <a:gd name="connsiteY4" fmla="*/ 94322 h 375491"/>
              <a:gd name="connsiteX5" fmla="*/ 279804 w 363912"/>
              <a:gd name="connsiteY5" fmla="*/ 71462 h 375491"/>
              <a:gd name="connsiteX6" fmla="*/ 348384 w 363912"/>
              <a:gd name="connsiteY6" fmla="*/ 63842 h 375491"/>
              <a:gd name="connsiteX7" fmla="*/ 363624 w 363912"/>
              <a:gd name="connsiteY7" fmla="*/ 170522 h 375491"/>
              <a:gd name="connsiteX8" fmla="*/ 340764 w 363912"/>
              <a:gd name="connsiteY8" fmla="*/ 231482 h 375491"/>
              <a:gd name="connsiteX9" fmla="*/ 363624 w 363912"/>
              <a:gd name="connsiteY9" fmla="*/ 277202 h 375491"/>
              <a:gd name="connsiteX10" fmla="*/ 66444 w 363912"/>
              <a:gd name="connsiteY10" fmla="*/ 338162 h 375491"/>
              <a:gd name="connsiteX0" fmla="*/ 66444 w 363624"/>
              <a:gd name="connsiteY0" fmla="*/ 338162 h 375491"/>
              <a:gd name="connsiteX1" fmla="*/ 35964 w 363624"/>
              <a:gd name="connsiteY1" fmla="*/ 86702 h 375491"/>
              <a:gd name="connsiteX2" fmla="*/ 173124 w 363624"/>
              <a:gd name="connsiteY2" fmla="*/ 40982 h 375491"/>
              <a:gd name="connsiteX3" fmla="*/ 253134 w 363624"/>
              <a:gd name="connsiteY3" fmla="*/ 1453 h 375491"/>
              <a:gd name="connsiteX4" fmla="*/ 249324 w 363624"/>
              <a:gd name="connsiteY4" fmla="*/ 94322 h 375491"/>
              <a:gd name="connsiteX5" fmla="*/ 279804 w 363624"/>
              <a:gd name="connsiteY5" fmla="*/ 71462 h 375491"/>
              <a:gd name="connsiteX6" fmla="*/ 348384 w 363624"/>
              <a:gd name="connsiteY6" fmla="*/ 63842 h 375491"/>
              <a:gd name="connsiteX7" fmla="*/ 363624 w 363624"/>
              <a:gd name="connsiteY7" fmla="*/ 170522 h 375491"/>
              <a:gd name="connsiteX8" fmla="*/ 340764 w 363624"/>
              <a:gd name="connsiteY8" fmla="*/ 231482 h 375491"/>
              <a:gd name="connsiteX9" fmla="*/ 363624 w 363624"/>
              <a:gd name="connsiteY9" fmla="*/ 277202 h 375491"/>
              <a:gd name="connsiteX10" fmla="*/ 66444 w 363624"/>
              <a:gd name="connsiteY10" fmla="*/ 338162 h 375491"/>
              <a:gd name="connsiteX0" fmla="*/ 66444 w 363624"/>
              <a:gd name="connsiteY0" fmla="*/ 338162 h 375491"/>
              <a:gd name="connsiteX1" fmla="*/ 35964 w 363624"/>
              <a:gd name="connsiteY1" fmla="*/ 86702 h 375491"/>
              <a:gd name="connsiteX2" fmla="*/ 173124 w 363624"/>
              <a:gd name="connsiteY2" fmla="*/ 40982 h 375491"/>
              <a:gd name="connsiteX3" fmla="*/ 253134 w 363624"/>
              <a:gd name="connsiteY3" fmla="*/ 1453 h 375491"/>
              <a:gd name="connsiteX4" fmla="*/ 249324 w 363624"/>
              <a:gd name="connsiteY4" fmla="*/ 94322 h 375491"/>
              <a:gd name="connsiteX5" fmla="*/ 279804 w 363624"/>
              <a:gd name="connsiteY5" fmla="*/ 71462 h 375491"/>
              <a:gd name="connsiteX6" fmla="*/ 348384 w 363624"/>
              <a:gd name="connsiteY6" fmla="*/ 63842 h 375491"/>
              <a:gd name="connsiteX7" fmla="*/ 363624 w 363624"/>
              <a:gd name="connsiteY7" fmla="*/ 170522 h 375491"/>
              <a:gd name="connsiteX8" fmla="*/ 340764 w 363624"/>
              <a:gd name="connsiteY8" fmla="*/ 231482 h 375491"/>
              <a:gd name="connsiteX9" fmla="*/ 363624 w 363624"/>
              <a:gd name="connsiteY9" fmla="*/ 277202 h 375491"/>
              <a:gd name="connsiteX10" fmla="*/ 66444 w 363624"/>
              <a:gd name="connsiteY10" fmla="*/ 338162 h 375491"/>
              <a:gd name="connsiteX0" fmla="*/ 66444 w 363624"/>
              <a:gd name="connsiteY0" fmla="*/ 338162 h 375491"/>
              <a:gd name="connsiteX1" fmla="*/ 35964 w 363624"/>
              <a:gd name="connsiteY1" fmla="*/ 86702 h 375491"/>
              <a:gd name="connsiteX2" fmla="*/ 173124 w 363624"/>
              <a:gd name="connsiteY2" fmla="*/ 40982 h 375491"/>
              <a:gd name="connsiteX3" fmla="*/ 253134 w 363624"/>
              <a:gd name="connsiteY3" fmla="*/ 1453 h 375491"/>
              <a:gd name="connsiteX4" fmla="*/ 249324 w 363624"/>
              <a:gd name="connsiteY4" fmla="*/ 94322 h 375491"/>
              <a:gd name="connsiteX5" fmla="*/ 279804 w 363624"/>
              <a:gd name="connsiteY5" fmla="*/ 71462 h 375491"/>
              <a:gd name="connsiteX6" fmla="*/ 348384 w 363624"/>
              <a:gd name="connsiteY6" fmla="*/ 63842 h 375491"/>
              <a:gd name="connsiteX7" fmla="*/ 363624 w 363624"/>
              <a:gd name="connsiteY7" fmla="*/ 170522 h 375491"/>
              <a:gd name="connsiteX8" fmla="*/ 340764 w 363624"/>
              <a:gd name="connsiteY8" fmla="*/ 231482 h 375491"/>
              <a:gd name="connsiteX9" fmla="*/ 363624 w 363624"/>
              <a:gd name="connsiteY9" fmla="*/ 277202 h 375491"/>
              <a:gd name="connsiteX10" fmla="*/ 66444 w 363624"/>
              <a:gd name="connsiteY10" fmla="*/ 338162 h 375491"/>
              <a:gd name="connsiteX0" fmla="*/ 66444 w 363624"/>
              <a:gd name="connsiteY0" fmla="*/ 338162 h 375491"/>
              <a:gd name="connsiteX1" fmla="*/ 35964 w 363624"/>
              <a:gd name="connsiteY1" fmla="*/ 86702 h 375491"/>
              <a:gd name="connsiteX2" fmla="*/ 173124 w 363624"/>
              <a:gd name="connsiteY2" fmla="*/ 40982 h 375491"/>
              <a:gd name="connsiteX3" fmla="*/ 253134 w 363624"/>
              <a:gd name="connsiteY3" fmla="*/ 1453 h 375491"/>
              <a:gd name="connsiteX4" fmla="*/ 249324 w 363624"/>
              <a:gd name="connsiteY4" fmla="*/ 94322 h 375491"/>
              <a:gd name="connsiteX5" fmla="*/ 279804 w 363624"/>
              <a:gd name="connsiteY5" fmla="*/ 71462 h 375491"/>
              <a:gd name="connsiteX6" fmla="*/ 348384 w 363624"/>
              <a:gd name="connsiteY6" fmla="*/ 63842 h 375491"/>
              <a:gd name="connsiteX7" fmla="*/ 363624 w 363624"/>
              <a:gd name="connsiteY7" fmla="*/ 170522 h 375491"/>
              <a:gd name="connsiteX8" fmla="*/ 340764 w 363624"/>
              <a:gd name="connsiteY8" fmla="*/ 231482 h 375491"/>
              <a:gd name="connsiteX9" fmla="*/ 363624 w 363624"/>
              <a:gd name="connsiteY9" fmla="*/ 277202 h 375491"/>
              <a:gd name="connsiteX10" fmla="*/ 66444 w 363624"/>
              <a:gd name="connsiteY10" fmla="*/ 338162 h 375491"/>
              <a:gd name="connsiteX0" fmla="*/ 66444 w 363624"/>
              <a:gd name="connsiteY0" fmla="*/ 338162 h 375491"/>
              <a:gd name="connsiteX1" fmla="*/ 35964 w 363624"/>
              <a:gd name="connsiteY1" fmla="*/ 86702 h 375491"/>
              <a:gd name="connsiteX2" fmla="*/ 173124 w 363624"/>
              <a:gd name="connsiteY2" fmla="*/ 40982 h 375491"/>
              <a:gd name="connsiteX3" fmla="*/ 253134 w 363624"/>
              <a:gd name="connsiteY3" fmla="*/ 1453 h 375491"/>
              <a:gd name="connsiteX4" fmla="*/ 249324 w 363624"/>
              <a:gd name="connsiteY4" fmla="*/ 94322 h 375491"/>
              <a:gd name="connsiteX5" fmla="*/ 279804 w 363624"/>
              <a:gd name="connsiteY5" fmla="*/ 71462 h 375491"/>
              <a:gd name="connsiteX6" fmla="*/ 348384 w 363624"/>
              <a:gd name="connsiteY6" fmla="*/ 63842 h 375491"/>
              <a:gd name="connsiteX7" fmla="*/ 363624 w 363624"/>
              <a:gd name="connsiteY7" fmla="*/ 170522 h 375491"/>
              <a:gd name="connsiteX8" fmla="*/ 340764 w 363624"/>
              <a:gd name="connsiteY8" fmla="*/ 231482 h 375491"/>
              <a:gd name="connsiteX9" fmla="*/ 363624 w 363624"/>
              <a:gd name="connsiteY9" fmla="*/ 277202 h 375491"/>
              <a:gd name="connsiteX10" fmla="*/ 66444 w 363624"/>
              <a:gd name="connsiteY10" fmla="*/ 338162 h 375491"/>
              <a:gd name="connsiteX0" fmla="*/ 66444 w 363624"/>
              <a:gd name="connsiteY0" fmla="*/ 337102 h 374431"/>
              <a:gd name="connsiteX1" fmla="*/ 35964 w 363624"/>
              <a:gd name="connsiteY1" fmla="*/ 85642 h 374431"/>
              <a:gd name="connsiteX2" fmla="*/ 173124 w 363624"/>
              <a:gd name="connsiteY2" fmla="*/ 39922 h 374431"/>
              <a:gd name="connsiteX3" fmla="*/ 253134 w 363624"/>
              <a:gd name="connsiteY3" fmla="*/ 393 h 374431"/>
              <a:gd name="connsiteX4" fmla="*/ 249324 w 363624"/>
              <a:gd name="connsiteY4" fmla="*/ 93262 h 374431"/>
              <a:gd name="connsiteX5" fmla="*/ 279804 w 363624"/>
              <a:gd name="connsiteY5" fmla="*/ 70402 h 374431"/>
              <a:gd name="connsiteX6" fmla="*/ 348384 w 363624"/>
              <a:gd name="connsiteY6" fmla="*/ 62782 h 374431"/>
              <a:gd name="connsiteX7" fmla="*/ 363624 w 363624"/>
              <a:gd name="connsiteY7" fmla="*/ 169462 h 374431"/>
              <a:gd name="connsiteX8" fmla="*/ 340764 w 363624"/>
              <a:gd name="connsiteY8" fmla="*/ 230422 h 374431"/>
              <a:gd name="connsiteX9" fmla="*/ 363624 w 363624"/>
              <a:gd name="connsiteY9" fmla="*/ 276142 h 374431"/>
              <a:gd name="connsiteX10" fmla="*/ 66444 w 363624"/>
              <a:gd name="connsiteY10" fmla="*/ 337102 h 374431"/>
              <a:gd name="connsiteX0" fmla="*/ 66444 w 363624"/>
              <a:gd name="connsiteY0" fmla="*/ 337102 h 374431"/>
              <a:gd name="connsiteX1" fmla="*/ 35964 w 363624"/>
              <a:gd name="connsiteY1" fmla="*/ 85642 h 374431"/>
              <a:gd name="connsiteX2" fmla="*/ 173124 w 363624"/>
              <a:gd name="connsiteY2" fmla="*/ 39922 h 374431"/>
              <a:gd name="connsiteX3" fmla="*/ 253134 w 363624"/>
              <a:gd name="connsiteY3" fmla="*/ 393 h 374431"/>
              <a:gd name="connsiteX4" fmla="*/ 249324 w 363624"/>
              <a:gd name="connsiteY4" fmla="*/ 93262 h 374431"/>
              <a:gd name="connsiteX5" fmla="*/ 275041 w 363624"/>
              <a:gd name="connsiteY5" fmla="*/ 58496 h 374431"/>
              <a:gd name="connsiteX6" fmla="*/ 348384 w 363624"/>
              <a:gd name="connsiteY6" fmla="*/ 62782 h 374431"/>
              <a:gd name="connsiteX7" fmla="*/ 363624 w 363624"/>
              <a:gd name="connsiteY7" fmla="*/ 169462 h 374431"/>
              <a:gd name="connsiteX8" fmla="*/ 340764 w 363624"/>
              <a:gd name="connsiteY8" fmla="*/ 230422 h 374431"/>
              <a:gd name="connsiteX9" fmla="*/ 363624 w 363624"/>
              <a:gd name="connsiteY9" fmla="*/ 276142 h 374431"/>
              <a:gd name="connsiteX10" fmla="*/ 66444 w 363624"/>
              <a:gd name="connsiteY10" fmla="*/ 337102 h 374431"/>
              <a:gd name="connsiteX0" fmla="*/ 66444 w 363624"/>
              <a:gd name="connsiteY0" fmla="*/ 337102 h 374431"/>
              <a:gd name="connsiteX1" fmla="*/ 35964 w 363624"/>
              <a:gd name="connsiteY1" fmla="*/ 85642 h 374431"/>
              <a:gd name="connsiteX2" fmla="*/ 173124 w 363624"/>
              <a:gd name="connsiteY2" fmla="*/ 39922 h 374431"/>
              <a:gd name="connsiteX3" fmla="*/ 253134 w 363624"/>
              <a:gd name="connsiteY3" fmla="*/ 393 h 374431"/>
              <a:gd name="connsiteX4" fmla="*/ 249324 w 363624"/>
              <a:gd name="connsiteY4" fmla="*/ 93262 h 374431"/>
              <a:gd name="connsiteX5" fmla="*/ 275041 w 363624"/>
              <a:gd name="connsiteY5" fmla="*/ 58496 h 374431"/>
              <a:gd name="connsiteX6" fmla="*/ 348384 w 363624"/>
              <a:gd name="connsiteY6" fmla="*/ 62782 h 374431"/>
              <a:gd name="connsiteX7" fmla="*/ 363624 w 363624"/>
              <a:gd name="connsiteY7" fmla="*/ 169462 h 374431"/>
              <a:gd name="connsiteX8" fmla="*/ 340764 w 363624"/>
              <a:gd name="connsiteY8" fmla="*/ 230422 h 374431"/>
              <a:gd name="connsiteX9" fmla="*/ 363624 w 363624"/>
              <a:gd name="connsiteY9" fmla="*/ 276142 h 374431"/>
              <a:gd name="connsiteX10" fmla="*/ 66444 w 363624"/>
              <a:gd name="connsiteY10" fmla="*/ 337102 h 374431"/>
              <a:gd name="connsiteX0" fmla="*/ 66444 w 363624"/>
              <a:gd name="connsiteY0" fmla="*/ 337102 h 374431"/>
              <a:gd name="connsiteX1" fmla="*/ 35964 w 363624"/>
              <a:gd name="connsiteY1" fmla="*/ 85642 h 374431"/>
              <a:gd name="connsiteX2" fmla="*/ 173124 w 363624"/>
              <a:gd name="connsiteY2" fmla="*/ 39922 h 374431"/>
              <a:gd name="connsiteX3" fmla="*/ 253134 w 363624"/>
              <a:gd name="connsiteY3" fmla="*/ 393 h 374431"/>
              <a:gd name="connsiteX4" fmla="*/ 249324 w 363624"/>
              <a:gd name="connsiteY4" fmla="*/ 93262 h 374431"/>
              <a:gd name="connsiteX5" fmla="*/ 275041 w 363624"/>
              <a:gd name="connsiteY5" fmla="*/ 58496 h 374431"/>
              <a:gd name="connsiteX6" fmla="*/ 348384 w 363624"/>
              <a:gd name="connsiteY6" fmla="*/ 62782 h 374431"/>
              <a:gd name="connsiteX7" fmla="*/ 363624 w 363624"/>
              <a:gd name="connsiteY7" fmla="*/ 169462 h 374431"/>
              <a:gd name="connsiteX8" fmla="*/ 340764 w 363624"/>
              <a:gd name="connsiteY8" fmla="*/ 230422 h 374431"/>
              <a:gd name="connsiteX9" fmla="*/ 363624 w 363624"/>
              <a:gd name="connsiteY9" fmla="*/ 276142 h 374431"/>
              <a:gd name="connsiteX10" fmla="*/ 66444 w 363624"/>
              <a:gd name="connsiteY10" fmla="*/ 337102 h 374431"/>
              <a:gd name="connsiteX0" fmla="*/ 57375 w 354555"/>
              <a:gd name="connsiteY0" fmla="*/ 337102 h 374431"/>
              <a:gd name="connsiteX1" fmla="*/ 26895 w 354555"/>
              <a:gd name="connsiteY1" fmla="*/ 85642 h 374431"/>
              <a:gd name="connsiteX2" fmla="*/ 164055 w 354555"/>
              <a:gd name="connsiteY2" fmla="*/ 39922 h 374431"/>
              <a:gd name="connsiteX3" fmla="*/ 244065 w 354555"/>
              <a:gd name="connsiteY3" fmla="*/ 393 h 374431"/>
              <a:gd name="connsiteX4" fmla="*/ 240255 w 354555"/>
              <a:gd name="connsiteY4" fmla="*/ 93262 h 374431"/>
              <a:gd name="connsiteX5" fmla="*/ 265972 w 354555"/>
              <a:gd name="connsiteY5" fmla="*/ 58496 h 374431"/>
              <a:gd name="connsiteX6" fmla="*/ 339315 w 354555"/>
              <a:gd name="connsiteY6" fmla="*/ 62782 h 374431"/>
              <a:gd name="connsiteX7" fmla="*/ 354555 w 354555"/>
              <a:gd name="connsiteY7" fmla="*/ 169462 h 374431"/>
              <a:gd name="connsiteX8" fmla="*/ 331695 w 354555"/>
              <a:gd name="connsiteY8" fmla="*/ 230422 h 374431"/>
              <a:gd name="connsiteX9" fmla="*/ 354555 w 354555"/>
              <a:gd name="connsiteY9" fmla="*/ 276142 h 374431"/>
              <a:gd name="connsiteX10" fmla="*/ 57375 w 354555"/>
              <a:gd name="connsiteY10" fmla="*/ 337102 h 374431"/>
              <a:gd name="connsiteX0" fmla="*/ 57375 w 354555"/>
              <a:gd name="connsiteY0" fmla="*/ 337102 h 374431"/>
              <a:gd name="connsiteX1" fmla="*/ 26895 w 354555"/>
              <a:gd name="connsiteY1" fmla="*/ 85642 h 374431"/>
              <a:gd name="connsiteX2" fmla="*/ 164055 w 354555"/>
              <a:gd name="connsiteY2" fmla="*/ 39922 h 374431"/>
              <a:gd name="connsiteX3" fmla="*/ 244065 w 354555"/>
              <a:gd name="connsiteY3" fmla="*/ 393 h 374431"/>
              <a:gd name="connsiteX4" fmla="*/ 240255 w 354555"/>
              <a:gd name="connsiteY4" fmla="*/ 93262 h 374431"/>
              <a:gd name="connsiteX5" fmla="*/ 265972 w 354555"/>
              <a:gd name="connsiteY5" fmla="*/ 58496 h 374431"/>
              <a:gd name="connsiteX6" fmla="*/ 339315 w 354555"/>
              <a:gd name="connsiteY6" fmla="*/ 62782 h 374431"/>
              <a:gd name="connsiteX7" fmla="*/ 354555 w 354555"/>
              <a:gd name="connsiteY7" fmla="*/ 169462 h 374431"/>
              <a:gd name="connsiteX8" fmla="*/ 331695 w 354555"/>
              <a:gd name="connsiteY8" fmla="*/ 230422 h 374431"/>
              <a:gd name="connsiteX9" fmla="*/ 354555 w 354555"/>
              <a:gd name="connsiteY9" fmla="*/ 276142 h 374431"/>
              <a:gd name="connsiteX10" fmla="*/ 57375 w 354555"/>
              <a:gd name="connsiteY10" fmla="*/ 337102 h 374431"/>
              <a:gd name="connsiteX0" fmla="*/ 61119 w 358299"/>
              <a:gd name="connsiteY0" fmla="*/ 337102 h 374431"/>
              <a:gd name="connsiteX1" fmla="*/ 1589 w 358299"/>
              <a:gd name="connsiteY1" fmla="*/ 173748 h 374431"/>
              <a:gd name="connsiteX2" fmla="*/ 30639 w 358299"/>
              <a:gd name="connsiteY2" fmla="*/ 85642 h 374431"/>
              <a:gd name="connsiteX3" fmla="*/ 167799 w 358299"/>
              <a:gd name="connsiteY3" fmla="*/ 39922 h 374431"/>
              <a:gd name="connsiteX4" fmla="*/ 247809 w 358299"/>
              <a:gd name="connsiteY4" fmla="*/ 393 h 374431"/>
              <a:gd name="connsiteX5" fmla="*/ 243999 w 358299"/>
              <a:gd name="connsiteY5" fmla="*/ 93262 h 374431"/>
              <a:gd name="connsiteX6" fmla="*/ 269716 w 358299"/>
              <a:gd name="connsiteY6" fmla="*/ 58496 h 374431"/>
              <a:gd name="connsiteX7" fmla="*/ 343059 w 358299"/>
              <a:gd name="connsiteY7" fmla="*/ 62782 h 374431"/>
              <a:gd name="connsiteX8" fmla="*/ 358299 w 358299"/>
              <a:gd name="connsiteY8" fmla="*/ 169462 h 374431"/>
              <a:gd name="connsiteX9" fmla="*/ 335439 w 358299"/>
              <a:gd name="connsiteY9" fmla="*/ 230422 h 374431"/>
              <a:gd name="connsiteX10" fmla="*/ 358299 w 358299"/>
              <a:gd name="connsiteY10" fmla="*/ 276142 h 374431"/>
              <a:gd name="connsiteX11" fmla="*/ 61119 w 358299"/>
              <a:gd name="connsiteY11" fmla="*/ 337102 h 374431"/>
              <a:gd name="connsiteX0" fmla="*/ 61119 w 358299"/>
              <a:gd name="connsiteY0" fmla="*/ 337102 h 374431"/>
              <a:gd name="connsiteX1" fmla="*/ 1589 w 358299"/>
              <a:gd name="connsiteY1" fmla="*/ 173748 h 374431"/>
              <a:gd name="connsiteX2" fmla="*/ 30639 w 358299"/>
              <a:gd name="connsiteY2" fmla="*/ 85642 h 374431"/>
              <a:gd name="connsiteX3" fmla="*/ 167799 w 358299"/>
              <a:gd name="connsiteY3" fmla="*/ 39922 h 374431"/>
              <a:gd name="connsiteX4" fmla="*/ 247809 w 358299"/>
              <a:gd name="connsiteY4" fmla="*/ 393 h 374431"/>
              <a:gd name="connsiteX5" fmla="*/ 243999 w 358299"/>
              <a:gd name="connsiteY5" fmla="*/ 93262 h 374431"/>
              <a:gd name="connsiteX6" fmla="*/ 269716 w 358299"/>
              <a:gd name="connsiteY6" fmla="*/ 58496 h 374431"/>
              <a:gd name="connsiteX7" fmla="*/ 343059 w 358299"/>
              <a:gd name="connsiteY7" fmla="*/ 62782 h 374431"/>
              <a:gd name="connsiteX8" fmla="*/ 358299 w 358299"/>
              <a:gd name="connsiteY8" fmla="*/ 169462 h 374431"/>
              <a:gd name="connsiteX9" fmla="*/ 335439 w 358299"/>
              <a:gd name="connsiteY9" fmla="*/ 230422 h 374431"/>
              <a:gd name="connsiteX10" fmla="*/ 358299 w 358299"/>
              <a:gd name="connsiteY10" fmla="*/ 276142 h 374431"/>
              <a:gd name="connsiteX11" fmla="*/ 61119 w 358299"/>
              <a:gd name="connsiteY11" fmla="*/ 337102 h 374431"/>
              <a:gd name="connsiteX0" fmla="*/ 67785 w 364965"/>
              <a:gd name="connsiteY0" fmla="*/ 337102 h 351496"/>
              <a:gd name="connsiteX1" fmla="*/ 1111 w 364965"/>
              <a:gd name="connsiteY1" fmla="*/ 154698 h 351496"/>
              <a:gd name="connsiteX2" fmla="*/ 37305 w 364965"/>
              <a:gd name="connsiteY2" fmla="*/ 85642 h 351496"/>
              <a:gd name="connsiteX3" fmla="*/ 174465 w 364965"/>
              <a:gd name="connsiteY3" fmla="*/ 39922 h 351496"/>
              <a:gd name="connsiteX4" fmla="*/ 254475 w 364965"/>
              <a:gd name="connsiteY4" fmla="*/ 393 h 351496"/>
              <a:gd name="connsiteX5" fmla="*/ 250665 w 364965"/>
              <a:gd name="connsiteY5" fmla="*/ 93262 h 351496"/>
              <a:gd name="connsiteX6" fmla="*/ 276382 w 364965"/>
              <a:gd name="connsiteY6" fmla="*/ 58496 h 351496"/>
              <a:gd name="connsiteX7" fmla="*/ 349725 w 364965"/>
              <a:gd name="connsiteY7" fmla="*/ 62782 h 351496"/>
              <a:gd name="connsiteX8" fmla="*/ 364965 w 364965"/>
              <a:gd name="connsiteY8" fmla="*/ 169462 h 351496"/>
              <a:gd name="connsiteX9" fmla="*/ 342105 w 364965"/>
              <a:gd name="connsiteY9" fmla="*/ 230422 h 351496"/>
              <a:gd name="connsiteX10" fmla="*/ 364965 w 364965"/>
              <a:gd name="connsiteY10" fmla="*/ 276142 h 351496"/>
              <a:gd name="connsiteX11" fmla="*/ 67785 w 364965"/>
              <a:gd name="connsiteY11" fmla="*/ 337102 h 351496"/>
              <a:gd name="connsiteX0" fmla="*/ 67785 w 364965"/>
              <a:gd name="connsiteY0" fmla="*/ 337102 h 351496"/>
              <a:gd name="connsiteX1" fmla="*/ 1111 w 364965"/>
              <a:gd name="connsiteY1" fmla="*/ 154698 h 351496"/>
              <a:gd name="connsiteX2" fmla="*/ 37305 w 364965"/>
              <a:gd name="connsiteY2" fmla="*/ 85642 h 351496"/>
              <a:gd name="connsiteX3" fmla="*/ 174465 w 364965"/>
              <a:gd name="connsiteY3" fmla="*/ 39922 h 351496"/>
              <a:gd name="connsiteX4" fmla="*/ 254475 w 364965"/>
              <a:gd name="connsiteY4" fmla="*/ 393 h 351496"/>
              <a:gd name="connsiteX5" fmla="*/ 250665 w 364965"/>
              <a:gd name="connsiteY5" fmla="*/ 93262 h 351496"/>
              <a:gd name="connsiteX6" fmla="*/ 276382 w 364965"/>
              <a:gd name="connsiteY6" fmla="*/ 58496 h 351496"/>
              <a:gd name="connsiteX7" fmla="*/ 349725 w 364965"/>
              <a:gd name="connsiteY7" fmla="*/ 62782 h 351496"/>
              <a:gd name="connsiteX8" fmla="*/ 364965 w 364965"/>
              <a:gd name="connsiteY8" fmla="*/ 169462 h 351496"/>
              <a:gd name="connsiteX9" fmla="*/ 342105 w 364965"/>
              <a:gd name="connsiteY9" fmla="*/ 230422 h 351496"/>
              <a:gd name="connsiteX10" fmla="*/ 364965 w 364965"/>
              <a:gd name="connsiteY10" fmla="*/ 276142 h 351496"/>
              <a:gd name="connsiteX11" fmla="*/ 67785 w 364965"/>
              <a:gd name="connsiteY11" fmla="*/ 337102 h 351496"/>
              <a:gd name="connsiteX0" fmla="*/ 66674 w 363854"/>
              <a:gd name="connsiteY0" fmla="*/ 337102 h 351496"/>
              <a:gd name="connsiteX1" fmla="*/ 0 w 363854"/>
              <a:gd name="connsiteY1" fmla="*/ 154698 h 351496"/>
              <a:gd name="connsiteX2" fmla="*/ 36194 w 363854"/>
              <a:gd name="connsiteY2" fmla="*/ 85642 h 351496"/>
              <a:gd name="connsiteX3" fmla="*/ 173354 w 363854"/>
              <a:gd name="connsiteY3" fmla="*/ 39922 h 351496"/>
              <a:gd name="connsiteX4" fmla="*/ 253364 w 363854"/>
              <a:gd name="connsiteY4" fmla="*/ 393 h 351496"/>
              <a:gd name="connsiteX5" fmla="*/ 249554 w 363854"/>
              <a:gd name="connsiteY5" fmla="*/ 93262 h 351496"/>
              <a:gd name="connsiteX6" fmla="*/ 275271 w 363854"/>
              <a:gd name="connsiteY6" fmla="*/ 58496 h 351496"/>
              <a:gd name="connsiteX7" fmla="*/ 348614 w 363854"/>
              <a:gd name="connsiteY7" fmla="*/ 62782 h 351496"/>
              <a:gd name="connsiteX8" fmla="*/ 363854 w 363854"/>
              <a:gd name="connsiteY8" fmla="*/ 169462 h 351496"/>
              <a:gd name="connsiteX9" fmla="*/ 340994 w 363854"/>
              <a:gd name="connsiteY9" fmla="*/ 230422 h 351496"/>
              <a:gd name="connsiteX10" fmla="*/ 363854 w 363854"/>
              <a:gd name="connsiteY10" fmla="*/ 276142 h 351496"/>
              <a:gd name="connsiteX11" fmla="*/ 66674 w 363854"/>
              <a:gd name="connsiteY11" fmla="*/ 337102 h 351496"/>
              <a:gd name="connsiteX0" fmla="*/ 78580 w 375760"/>
              <a:gd name="connsiteY0" fmla="*/ 337102 h 351322"/>
              <a:gd name="connsiteX1" fmla="*/ 0 w 375760"/>
              <a:gd name="connsiteY1" fmla="*/ 157079 h 351322"/>
              <a:gd name="connsiteX2" fmla="*/ 48100 w 375760"/>
              <a:gd name="connsiteY2" fmla="*/ 85642 h 351322"/>
              <a:gd name="connsiteX3" fmla="*/ 185260 w 375760"/>
              <a:gd name="connsiteY3" fmla="*/ 39922 h 351322"/>
              <a:gd name="connsiteX4" fmla="*/ 265270 w 375760"/>
              <a:gd name="connsiteY4" fmla="*/ 393 h 351322"/>
              <a:gd name="connsiteX5" fmla="*/ 261460 w 375760"/>
              <a:gd name="connsiteY5" fmla="*/ 93262 h 351322"/>
              <a:gd name="connsiteX6" fmla="*/ 287177 w 375760"/>
              <a:gd name="connsiteY6" fmla="*/ 58496 h 351322"/>
              <a:gd name="connsiteX7" fmla="*/ 360520 w 375760"/>
              <a:gd name="connsiteY7" fmla="*/ 62782 h 351322"/>
              <a:gd name="connsiteX8" fmla="*/ 375760 w 375760"/>
              <a:gd name="connsiteY8" fmla="*/ 169462 h 351322"/>
              <a:gd name="connsiteX9" fmla="*/ 352900 w 375760"/>
              <a:gd name="connsiteY9" fmla="*/ 230422 h 351322"/>
              <a:gd name="connsiteX10" fmla="*/ 375760 w 375760"/>
              <a:gd name="connsiteY10" fmla="*/ 276142 h 351322"/>
              <a:gd name="connsiteX11" fmla="*/ 78580 w 375760"/>
              <a:gd name="connsiteY11" fmla="*/ 337102 h 351322"/>
              <a:gd name="connsiteX0" fmla="*/ 78580 w 375760"/>
              <a:gd name="connsiteY0" fmla="*/ 337102 h 351322"/>
              <a:gd name="connsiteX1" fmla="*/ 0 w 375760"/>
              <a:gd name="connsiteY1" fmla="*/ 157079 h 351322"/>
              <a:gd name="connsiteX2" fmla="*/ 48100 w 375760"/>
              <a:gd name="connsiteY2" fmla="*/ 85642 h 351322"/>
              <a:gd name="connsiteX3" fmla="*/ 185260 w 375760"/>
              <a:gd name="connsiteY3" fmla="*/ 39922 h 351322"/>
              <a:gd name="connsiteX4" fmla="*/ 265270 w 375760"/>
              <a:gd name="connsiteY4" fmla="*/ 393 h 351322"/>
              <a:gd name="connsiteX5" fmla="*/ 261460 w 375760"/>
              <a:gd name="connsiteY5" fmla="*/ 93262 h 351322"/>
              <a:gd name="connsiteX6" fmla="*/ 287177 w 375760"/>
              <a:gd name="connsiteY6" fmla="*/ 58496 h 351322"/>
              <a:gd name="connsiteX7" fmla="*/ 360520 w 375760"/>
              <a:gd name="connsiteY7" fmla="*/ 62782 h 351322"/>
              <a:gd name="connsiteX8" fmla="*/ 375760 w 375760"/>
              <a:gd name="connsiteY8" fmla="*/ 169462 h 351322"/>
              <a:gd name="connsiteX9" fmla="*/ 352900 w 375760"/>
              <a:gd name="connsiteY9" fmla="*/ 230422 h 351322"/>
              <a:gd name="connsiteX10" fmla="*/ 375760 w 375760"/>
              <a:gd name="connsiteY10" fmla="*/ 276142 h 351322"/>
              <a:gd name="connsiteX11" fmla="*/ 78580 w 375760"/>
              <a:gd name="connsiteY11" fmla="*/ 337102 h 351322"/>
              <a:gd name="connsiteX0" fmla="*/ 73818 w 370998"/>
              <a:gd name="connsiteY0" fmla="*/ 337102 h 351322"/>
              <a:gd name="connsiteX1" fmla="*/ 0 w 370998"/>
              <a:gd name="connsiteY1" fmla="*/ 157079 h 351322"/>
              <a:gd name="connsiteX2" fmla="*/ 43338 w 370998"/>
              <a:gd name="connsiteY2" fmla="*/ 85642 h 351322"/>
              <a:gd name="connsiteX3" fmla="*/ 180498 w 370998"/>
              <a:gd name="connsiteY3" fmla="*/ 39922 h 351322"/>
              <a:gd name="connsiteX4" fmla="*/ 260508 w 370998"/>
              <a:gd name="connsiteY4" fmla="*/ 393 h 351322"/>
              <a:gd name="connsiteX5" fmla="*/ 256698 w 370998"/>
              <a:gd name="connsiteY5" fmla="*/ 93262 h 351322"/>
              <a:gd name="connsiteX6" fmla="*/ 282415 w 370998"/>
              <a:gd name="connsiteY6" fmla="*/ 58496 h 351322"/>
              <a:gd name="connsiteX7" fmla="*/ 355758 w 370998"/>
              <a:gd name="connsiteY7" fmla="*/ 62782 h 351322"/>
              <a:gd name="connsiteX8" fmla="*/ 370998 w 370998"/>
              <a:gd name="connsiteY8" fmla="*/ 169462 h 351322"/>
              <a:gd name="connsiteX9" fmla="*/ 348138 w 370998"/>
              <a:gd name="connsiteY9" fmla="*/ 230422 h 351322"/>
              <a:gd name="connsiteX10" fmla="*/ 370998 w 370998"/>
              <a:gd name="connsiteY10" fmla="*/ 276142 h 351322"/>
              <a:gd name="connsiteX11" fmla="*/ 73818 w 370998"/>
              <a:gd name="connsiteY11" fmla="*/ 337102 h 351322"/>
              <a:gd name="connsiteX0" fmla="*/ 73818 w 370998"/>
              <a:gd name="connsiteY0" fmla="*/ 337102 h 368106"/>
              <a:gd name="connsiteX1" fmla="*/ 0 w 370998"/>
              <a:gd name="connsiteY1" fmla="*/ 157079 h 368106"/>
              <a:gd name="connsiteX2" fmla="*/ 43338 w 370998"/>
              <a:gd name="connsiteY2" fmla="*/ 85642 h 368106"/>
              <a:gd name="connsiteX3" fmla="*/ 180498 w 370998"/>
              <a:gd name="connsiteY3" fmla="*/ 39922 h 368106"/>
              <a:gd name="connsiteX4" fmla="*/ 260508 w 370998"/>
              <a:gd name="connsiteY4" fmla="*/ 393 h 368106"/>
              <a:gd name="connsiteX5" fmla="*/ 256698 w 370998"/>
              <a:gd name="connsiteY5" fmla="*/ 93262 h 368106"/>
              <a:gd name="connsiteX6" fmla="*/ 282415 w 370998"/>
              <a:gd name="connsiteY6" fmla="*/ 58496 h 368106"/>
              <a:gd name="connsiteX7" fmla="*/ 355758 w 370998"/>
              <a:gd name="connsiteY7" fmla="*/ 62782 h 368106"/>
              <a:gd name="connsiteX8" fmla="*/ 370998 w 370998"/>
              <a:gd name="connsiteY8" fmla="*/ 169462 h 368106"/>
              <a:gd name="connsiteX9" fmla="*/ 348138 w 370998"/>
              <a:gd name="connsiteY9" fmla="*/ 230422 h 368106"/>
              <a:gd name="connsiteX10" fmla="*/ 370998 w 370998"/>
              <a:gd name="connsiteY10" fmla="*/ 276142 h 368106"/>
              <a:gd name="connsiteX11" fmla="*/ 73818 w 370998"/>
              <a:gd name="connsiteY11" fmla="*/ 337102 h 368106"/>
              <a:gd name="connsiteX0" fmla="*/ 73818 w 370998"/>
              <a:gd name="connsiteY0" fmla="*/ 337102 h 366943"/>
              <a:gd name="connsiteX1" fmla="*/ 0 w 370998"/>
              <a:gd name="connsiteY1" fmla="*/ 157079 h 366943"/>
              <a:gd name="connsiteX2" fmla="*/ 43338 w 370998"/>
              <a:gd name="connsiteY2" fmla="*/ 85642 h 366943"/>
              <a:gd name="connsiteX3" fmla="*/ 180498 w 370998"/>
              <a:gd name="connsiteY3" fmla="*/ 39922 h 366943"/>
              <a:gd name="connsiteX4" fmla="*/ 260508 w 370998"/>
              <a:gd name="connsiteY4" fmla="*/ 393 h 366943"/>
              <a:gd name="connsiteX5" fmla="*/ 256698 w 370998"/>
              <a:gd name="connsiteY5" fmla="*/ 93262 h 366943"/>
              <a:gd name="connsiteX6" fmla="*/ 282415 w 370998"/>
              <a:gd name="connsiteY6" fmla="*/ 58496 h 366943"/>
              <a:gd name="connsiteX7" fmla="*/ 355758 w 370998"/>
              <a:gd name="connsiteY7" fmla="*/ 62782 h 366943"/>
              <a:gd name="connsiteX8" fmla="*/ 370998 w 370998"/>
              <a:gd name="connsiteY8" fmla="*/ 169462 h 366943"/>
              <a:gd name="connsiteX9" fmla="*/ 348138 w 370998"/>
              <a:gd name="connsiteY9" fmla="*/ 230422 h 366943"/>
              <a:gd name="connsiteX10" fmla="*/ 370998 w 370998"/>
              <a:gd name="connsiteY10" fmla="*/ 276142 h 366943"/>
              <a:gd name="connsiteX11" fmla="*/ 73818 w 370998"/>
              <a:gd name="connsiteY11" fmla="*/ 337102 h 366943"/>
              <a:gd name="connsiteX0" fmla="*/ 73818 w 370998"/>
              <a:gd name="connsiteY0" fmla="*/ 337102 h 348360"/>
              <a:gd name="connsiteX1" fmla="*/ 0 w 370998"/>
              <a:gd name="connsiteY1" fmla="*/ 157079 h 348360"/>
              <a:gd name="connsiteX2" fmla="*/ 43338 w 370998"/>
              <a:gd name="connsiteY2" fmla="*/ 85642 h 348360"/>
              <a:gd name="connsiteX3" fmla="*/ 180498 w 370998"/>
              <a:gd name="connsiteY3" fmla="*/ 39922 h 348360"/>
              <a:gd name="connsiteX4" fmla="*/ 260508 w 370998"/>
              <a:gd name="connsiteY4" fmla="*/ 393 h 348360"/>
              <a:gd name="connsiteX5" fmla="*/ 256698 w 370998"/>
              <a:gd name="connsiteY5" fmla="*/ 93262 h 348360"/>
              <a:gd name="connsiteX6" fmla="*/ 282415 w 370998"/>
              <a:gd name="connsiteY6" fmla="*/ 58496 h 348360"/>
              <a:gd name="connsiteX7" fmla="*/ 355758 w 370998"/>
              <a:gd name="connsiteY7" fmla="*/ 62782 h 348360"/>
              <a:gd name="connsiteX8" fmla="*/ 370998 w 370998"/>
              <a:gd name="connsiteY8" fmla="*/ 169462 h 348360"/>
              <a:gd name="connsiteX9" fmla="*/ 348138 w 370998"/>
              <a:gd name="connsiteY9" fmla="*/ 230422 h 348360"/>
              <a:gd name="connsiteX10" fmla="*/ 359092 w 370998"/>
              <a:gd name="connsiteY10" fmla="*/ 271380 h 348360"/>
              <a:gd name="connsiteX11" fmla="*/ 73818 w 370998"/>
              <a:gd name="connsiteY11" fmla="*/ 337102 h 348360"/>
              <a:gd name="connsiteX0" fmla="*/ 73818 w 370998"/>
              <a:gd name="connsiteY0" fmla="*/ 337102 h 354828"/>
              <a:gd name="connsiteX1" fmla="*/ 0 w 370998"/>
              <a:gd name="connsiteY1" fmla="*/ 157079 h 354828"/>
              <a:gd name="connsiteX2" fmla="*/ 43338 w 370998"/>
              <a:gd name="connsiteY2" fmla="*/ 85642 h 354828"/>
              <a:gd name="connsiteX3" fmla="*/ 180498 w 370998"/>
              <a:gd name="connsiteY3" fmla="*/ 39922 h 354828"/>
              <a:gd name="connsiteX4" fmla="*/ 260508 w 370998"/>
              <a:gd name="connsiteY4" fmla="*/ 393 h 354828"/>
              <a:gd name="connsiteX5" fmla="*/ 256698 w 370998"/>
              <a:gd name="connsiteY5" fmla="*/ 93262 h 354828"/>
              <a:gd name="connsiteX6" fmla="*/ 282415 w 370998"/>
              <a:gd name="connsiteY6" fmla="*/ 58496 h 354828"/>
              <a:gd name="connsiteX7" fmla="*/ 355758 w 370998"/>
              <a:gd name="connsiteY7" fmla="*/ 62782 h 354828"/>
              <a:gd name="connsiteX8" fmla="*/ 370998 w 370998"/>
              <a:gd name="connsiteY8" fmla="*/ 169462 h 354828"/>
              <a:gd name="connsiteX9" fmla="*/ 348138 w 370998"/>
              <a:gd name="connsiteY9" fmla="*/ 230422 h 354828"/>
              <a:gd name="connsiteX10" fmla="*/ 359092 w 370998"/>
              <a:gd name="connsiteY10" fmla="*/ 271380 h 354828"/>
              <a:gd name="connsiteX11" fmla="*/ 73818 w 370998"/>
              <a:gd name="connsiteY11" fmla="*/ 337102 h 354828"/>
              <a:gd name="connsiteX0" fmla="*/ 73818 w 370998"/>
              <a:gd name="connsiteY0" fmla="*/ 337102 h 370215"/>
              <a:gd name="connsiteX1" fmla="*/ 0 w 370998"/>
              <a:gd name="connsiteY1" fmla="*/ 157079 h 370215"/>
              <a:gd name="connsiteX2" fmla="*/ 43338 w 370998"/>
              <a:gd name="connsiteY2" fmla="*/ 85642 h 370215"/>
              <a:gd name="connsiteX3" fmla="*/ 180498 w 370998"/>
              <a:gd name="connsiteY3" fmla="*/ 39922 h 370215"/>
              <a:gd name="connsiteX4" fmla="*/ 260508 w 370998"/>
              <a:gd name="connsiteY4" fmla="*/ 393 h 370215"/>
              <a:gd name="connsiteX5" fmla="*/ 256698 w 370998"/>
              <a:gd name="connsiteY5" fmla="*/ 93262 h 370215"/>
              <a:gd name="connsiteX6" fmla="*/ 282415 w 370998"/>
              <a:gd name="connsiteY6" fmla="*/ 58496 h 370215"/>
              <a:gd name="connsiteX7" fmla="*/ 355758 w 370998"/>
              <a:gd name="connsiteY7" fmla="*/ 62782 h 370215"/>
              <a:gd name="connsiteX8" fmla="*/ 370998 w 370998"/>
              <a:gd name="connsiteY8" fmla="*/ 169462 h 370215"/>
              <a:gd name="connsiteX9" fmla="*/ 348138 w 370998"/>
              <a:gd name="connsiteY9" fmla="*/ 230422 h 370215"/>
              <a:gd name="connsiteX10" fmla="*/ 359092 w 370998"/>
              <a:gd name="connsiteY10" fmla="*/ 271380 h 370215"/>
              <a:gd name="connsiteX11" fmla="*/ 73818 w 370998"/>
              <a:gd name="connsiteY11" fmla="*/ 337102 h 370215"/>
              <a:gd name="connsiteX0" fmla="*/ 73818 w 370998"/>
              <a:gd name="connsiteY0" fmla="*/ 337102 h 364008"/>
              <a:gd name="connsiteX1" fmla="*/ 0 w 370998"/>
              <a:gd name="connsiteY1" fmla="*/ 157079 h 364008"/>
              <a:gd name="connsiteX2" fmla="*/ 43338 w 370998"/>
              <a:gd name="connsiteY2" fmla="*/ 85642 h 364008"/>
              <a:gd name="connsiteX3" fmla="*/ 180498 w 370998"/>
              <a:gd name="connsiteY3" fmla="*/ 39922 h 364008"/>
              <a:gd name="connsiteX4" fmla="*/ 260508 w 370998"/>
              <a:gd name="connsiteY4" fmla="*/ 393 h 364008"/>
              <a:gd name="connsiteX5" fmla="*/ 256698 w 370998"/>
              <a:gd name="connsiteY5" fmla="*/ 93262 h 364008"/>
              <a:gd name="connsiteX6" fmla="*/ 282415 w 370998"/>
              <a:gd name="connsiteY6" fmla="*/ 58496 h 364008"/>
              <a:gd name="connsiteX7" fmla="*/ 355758 w 370998"/>
              <a:gd name="connsiteY7" fmla="*/ 62782 h 364008"/>
              <a:gd name="connsiteX8" fmla="*/ 370998 w 370998"/>
              <a:gd name="connsiteY8" fmla="*/ 169462 h 364008"/>
              <a:gd name="connsiteX9" fmla="*/ 348138 w 370998"/>
              <a:gd name="connsiteY9" fmla="*/ 230422 h 364008"/>
              <a:gd name="connsiteX10" fmla="*/ 359092 w 370998"/>
              <a:gd name="connsiteY10" fmla="*/ 271380 h 364008"/>
              <a:gd name="connsiteX11" fmla="*/ 73818 w 370998"/>
              <a:gd name="connsiteY11" fmla="*/ 337102 h 364008"/>
              <a:gd name="connsiteX0" fmla="*/ 73818 w 370998"/>
              <a:gd name="connsiteY0" fmla="*/ 337102 h 368141"/>
              <a:gd name="connsiteX1" fmla="*/ 0 w 370998"/>
              <a:gd name="connsiteY1" fmla="*/ 157079 h 368141"/>
              <a:gd name="connsiteX2" fmla="*/ 43338 w 370998"/>
              <a:gd name="connsiteY2" fmla="*/ 85642 h 368141"/>
              <a:gd name="connsiteX3" fmla="*/ 180498 w 370998"/>
              <a:gd name="connsiteY3" fmla="*/ 39922 h 368141"/>
              <a:gd name="connsiteX4" fmla="*/ 260508 w 370998"/>
              <a:gd name="connsiteY4" fmla="*/ 393 h 368141"/>
              <a:gd name="connsiteX5" fmla="*/ 256698 w 370998"/>
              <a:gd name="connsiteY5" fmla="*/ 93262 h 368141"/>
              <a:gd name="connsiteX6" fmla="*/ 282415 w 370998"/>
              <a:gd name="connsiteY6" fmla="*/ 58496 h 368141"/>
              <a:gd name="connsiteX7" fmla="*/ 355758 w 370998"/>
              <a:gd name="connsiteY7" fmla="*/ 62782 h 368141"/>
              <a:gd name="connsiteX8" fmla="*/ 370998 w 370998"/>
              <a:gd name="connsiteY8" fmla="*/ 169462 h 368141"/>
              <a:gd name="connsiteX9" fmla="*/ 348138 w 370998"/>
              <a:gd name="connsiteY9" fmla="*/ 230422 h 368141"/>
              <a:gd name="connsiteX10" fmla="*/ 359092 w 370998"/>
              <a:gd name="connsiteY10" fmla="*/ 271380 h 368141"/>
              <a:gd name="connsiteX11" fmla="*/ 73818 w 370998"/>
              <a:gd name="connsiteY11" fmla="*/ 337102 h 368141"/>
              <a:gd name="connsiteX0" fmla="*/ 75502 w 372682"/>
              <a:gd name="connsiteY0" fmla="*/ 337102 h 368141"/>
              <a:gd name="connsiteX1" fmla="*/ 1684 w 372682"/>
              <a:gd name="connsiteY1" fmla="*/ 157079 h 368141"/>
              <a:gd name="connsiteX2" fmla="*/ 25496 w 372682"/>
              <a:gd name="connsiteY2" fmla="*/ 128506 h 368141"/>
              <a:gd name="connsiteX3" fmla="*/ 45022 w 372682"/>
              <a:gd name="connsiteY3" fmla="*/ 85642 h 368141"/>
              <a:gd name="connsiteX4" fmla="*/ 182182 w 372682"/>
              <a:gd name="connsiteY4" fmla="*/ 39922 h 368141"/>
              <a:gd name="connsiteX5" fmla="*/ 262192 w 372682"/>
              <a:gd name="connsiteY5" fmla="*/ 393 h 368141"/>
              <a:gd name="connsiteX6" fmla="*/ 258382 w 372682"/>
              <a:gd name="connsiteY6" fmla="*/ 93262 h 368141"/>
              <a:gd name="connsiteX7" fmla="*/ 284099 w 372682"/>
              <a:gd name="connsiteY7" fmla="*/ 58496 h 368141"/>
              <a:gd name="connsiteX8" fmla="*/ 357442 w 372682"/>
              <a:gd name="connsiteY8" fmla="*/ 62782 h 368141"/>
              <a:gd name="connsiteX9" fmla="*/ 372682 w 372682"/>
              <a:gd name="connsiteY9" fmla="*/ 169462 h 368141"/>
              <a:gd name="connsiteX10" fmla="*/ 349822 w 372682"/>
              <a:gd name="connsiteY10" fmla="*/ 230422 h 368141"/>
              <a:gd name="connsiteX11" fmla="*/ 360776 w 372682"/>
              <a:gd name="connsiteY11" fmla="*/ 271380 h 368141"/>
              <a:gd name="connsiteX12" fmla="*/ 75502 w 372682"/>
              <a:gd name="connsiteY12" fmla="*/ 337102 h 368141"/>
              <a:gd name="connsiteX0" fmla="*/ 75502 w 372682"/>
              <a:gd name="connsiteY0" fmla="*/ 336943 h 367982"/>
              <a:gd name="connsiteX1" fmla="*/ 1684 w 372682"/>
              <a:gd name="connsiteY1" fmla="*/ 156920 h 367982"/>
              <a:gd name="connsiteX2" fmla="*/ 25496 w 372682"/>
              <a:gd name="connsiteY2" fmla="*/ 128347 h 367982"/>
              <a:gd name="connsiteX3" fmla="*/ 45022 w 372682"/>
              <a:gd name="connsiteY3" fmla="*/ 85483 h 367982"/>
              <a:gd name="connsiteX4" fmla="*/ 182182 w 372682"/>
              <a:gd name="connsiteY4" fmla="*/ 39763 h 367982"/>
              <a:gd name="connsiteX5" fmla="*/ 262192 w 372682"/>
              <a:gd name="connsiteY5" fmla="*/ 234 h 367982"/>
              <a:gd name="connsiteX6" fmla="*/ 284099 w 372682"/>
              <a:gd name="connsiteY6" fmla="*/ 58337 h 367982"/>
              <a:gd name="connsiteX7" fmla="*/ 357442 w 372682"/>
              <a:gd name="connsiteY7" fmla="*/ 62623 h 367982"/>
              <a:gd name="connsiteX8" fmla="*/ 372682 w 372682"/>
              <a:gd name="connsiteY8" fmla="*/ 169303 h 367982"/>
              <a:gd name="connsiteX9" fmla="*/ 349822 w 372682"/>
              <a:gd name="connsiteY9" fmla="*/ 230263 h 367982"/>
              <a:gd name="connsiteX10" fmla="*/ 360776 w 372682"/>
              <a:gd name="connsiteY10" fmla="*/ 271221 h 367982"/>
              <a:gd name="connsiteX11" fmla="*/ 75502 w 372682"/>
              <a:gd name="connsiteY11" fmla="*/ 336943 h 367982"/>
              <a:gd name="connsiteX0" fmla="*/ 75502 w 372682"/>
              <a:gd name="connsiteY0" fmla="*/ 337049 h 368088"/>
              <a:gd name="connsiteX1" fmla="*/ 1684 w 372682"/>
              <a:gd name="connsiteY1" fmla="*/ 157026 h 368088"/>
              <a:gd name="connsiteX2" fmla="*/ 25496 w 372682"/>
              <a:gd name="connsiteY2" fmla="*/ 128453 h 368088"/>
              <a:gd name="connsiteX3" fmla="*/ 45022 w 372682"/>
              <a:gd name="connsiteY3" fmla="*/ 85589 h 368088"/>
              <a:gd name="connsiteX4" fmla="*/ 182182 w 372682"/>
              <a:gd name="connsiteY4" fmla="*/ 39869 h 368088"/>
              <a:gd name="connsiteX5" fmla="*/ 262192 w 372682"/>
              <a:gd name="connsiteY5" fmla="*/ 340 h 368088"/>
              <a:gd name="connsiteX6" fmla="*/ 357442 w 372682"/>
              <a:gd name="connsiteY6" fmla="*/ 62729 h 368088"/>
              <a:gd name="connsiteX7" fmla="*/ 372682 w 372682"/>
              <a:gd name="connsiteY7" fmla="*/ 169409 h 368088"/>
              <a:gd name="connsiteX8" fmla="*/ 349822 w 372682"/>
              <a:gd name="connsiteY8" fmla="*/ 230369 h 368088"/>
              <a:gd name="connsiteX9" fmla="*/ 360776 w 372682"/>
              <a:gd name="connsiteY9" fmla="*/ 271327 h 368088"/>
              <a:gd name="connsiteX10" fmla="*/ 75502 w 372682"/>
              <a:gd name="connsiteY10" fmla="*/ 337049 h 368088"/>
              <a:gd name="connsiteX0" fmla="*/ 74661 w 371841"/>
              <a:gd name="connsiteY0" fmla="*/ 337049 h 368088"/>
              <a:gd name="connsiteX1" fmla="*/ 843 w 371841"/>
              <a:gd name="connsiteY1" fmla="*/ 157026 h 368088"/>
              <a:gd name="connsiteX2" fmla="*/ 44181 w 371841"/>
              <a:gd name="connsiteY2" fmla="*/ 85589 h 368088"/>
              <a:gd name="connsiteX3" fmla="*/ 181341 w 371841"/>
              <a:gd name="connsiteY3" fmla="*/ 39869 h 368088"/>
              <a:gd name="connsiteX4" fmla="*/ 261351 w 371841"/>
              <a:gd name="connsiteY4" fmla="*/ 340 h 368088"/>
              <a:gd name="connsiteX5" fmla="*/ 356601 w 371841"/>
              <a:gd name="connsiteY5" fmla="*/ 62729 h 368088"/>
              <a:gd name="connsiteX6" fmla="*/ 371841 w 371841"/>
              <a:gd name="connsiteY6" fmla="*/ 169409 h 368088"/>
              <a:gd name="connsiteX7" fmla="*/ 348981 w 371841"/>
              <a:gd name="connsiteY7" fmla="*/ 230369 h 368088"/>
              <a:gd name="connsiteX8" fmla="*/ 359935 w 371841"/>
              <a:gd name="connsiteY8" fmla="*/ 271327 h 368088"/>
              <a:gd name="connsiteX9" fmla="*/ 74661 w 371841"/>
              <a:gd name="connsiteY9" fmla="*/ 337049 h 368088"/>
              <a:gd name="connsiteX0" fmla="*/ 74661 w 361496"/>
              <a:gd name="connsiteY0" fmla="*/ 337049 h 368088"/>
              <a:gd name="connsiteX1" fmla="*/ 843 w 361496"/>
              <a:gd name="connsiteY1" fmla="*/ 157026 h 368088"/>
              <a:gd name="connsiteX2" fmla="*/ 44181 w 361496"/>
              <a:gd name="connsiteY2" fmla="*/ 85589 h 368088"/>
              <a:gd name="connsiteX3" fmla="*/ 181341 w 361496"/>
              <a:gd name="connsiteY3" fmla="*/ 39869 h 368088"/>
              <a:gd name="connsiteX4" fmla="*/ 261351 w 361496"/>
              <a:gd name="connsiteY4" fmla="*/ 340 h 368088"/>
              <a:gd name="connsiteX5" fmla="*/ 356601 w 361496"/>
              <a:gd name="connsiteY5" fmla="*/ 62729 h 368088"/>
              <a:gd name="connsiteX6" fmla="*/ 348981 w 361496"/>
              <a:gd name="connsiteY6" fmla="*/ 230369 h 368088"/>
              <a:gd name="connsiteX7" fmla="*/ 359935 w 361496"/>
              <a:gd name="connsiteY7" fmla="*/ 271327 h 368088"/>
              <a:gd name="connsiteX8" fmla="*/ 74661 w 361496"/>
              <a:gd name="connsiteY8" fmla="*/ 337049 h 368088"/>
              <a:gd name="connsiteX0" fmla="*/ 74661 w 383862"/>
              <a:gd name="connsiteY0" fmla="*/ 337049 h 354314"/>
              <a:gd name="connsiteX1" fmla="*/ 843 w 383862"/>
              <a:gd name="connsiteY1" fmla="*/ 157026 h 354314"/>
              <a:gd name="connsiteX2" fmla="*/ 44181 w 383862"/>
              <a:gd name="connsiteY2" fmla="*/ 85589 h 354314"/>
              <a:gd name="connsiteX3" fmla="*/ 181341 w 383862"/>
              <a:gd name="connsiteY3" fmla="*/ 39869 h 354314"/>
              <a:gd name="connsiteX4" fmla="*/ 261351 w 383862"/>
              <a:gd name="connsiteY4" fmla="*/ 340 h 354314"/>
              <a:gd name="connsiteX5" fmla="*/ 356601 w 383862"/>
              <a:gd name="connsiteY5" fmla="*/ 62729 h 354314"/>
              <a:gd name="connsiteX6" fmla="*/ 359935 w 383862"/>
              <a:gd name="connsiteY6" fmla="*/ 271327 h 354314"/>
              <a:gd name="connsiteX7" fmla="*/ 74661 w 383862"/>
              <a:gd name="connsiteY7" fmla="*/ 337049 h 354314"/>
              <a:gd name="connsiteX0" fmla="*/ 74661 w 383862"/>
              <a:gd name="connsiteY0" fmla="*/ 339765 h 357030"/>
              <a:gd name="connsiteX1" fmla="*/ 843 w 383862"/>
              <a:gd name="connsiteY1" fmla="*/ 159742 h 357030"/>
              <a:gd name="connsiteX2" fmla="*/ 44181 w 383862"/>
              <a:gd name="connsiteY2" fmla="*/ 88305 h 357030"/>
              <a:gd name="connsiteX3" fmla="*/ 181341 w 383862"/>
              <a:gd name="connsiteY3" fmla="*/ 42585 h 357030"/>
              <a:gd name="connsiteX4" fmla="*/ 261351 w 383862"/>
              <a:gd name="connsiteY4" fmla="*/ 3056 h 357030"/>
              <a:gd name="connsiteX5" fmla="*/ 283182 w 383862"/>
              <a:gd name="connsiteY5" fmla="*/ 9682 h 357030"/>
              <a:gd name="connsiteX6" fmla="*/ 356601 w 383862"/>
              <a:gd name="connsiteY6" fmla="*/ 65445 h 357030"/>
              <a:gd name="connsiteX7" fmla="*/ 359935 w 383862"/>
              <a:gd name="connsiteY7" fmla="*/ 274043 h 357030"/>
              <a:gd name="connsiteX8" fmla="*/ 74661 w 383862"/>
              <a:gd name="connsiteY8" fmla="*/ 339765 h 357030"/>
              <a:gd name="connsiteX0" fmla="*/ 74661 w 383862"/>
              <a:gd name="connsiteY0" fmla="*/ 339765 h 357030"/>
              <a:gd name="connsiteX1" fmla="*/ 843 w 383862"/>
              <a:gd name="connsiteY1" fmla="*/ 159742 h 357030"/>
              <a:gd name="connsiteX2" fmla="*/ 44181 w 383862"/>
              <a:gd name="connsiteY2" fmla="*/ 88305 h 357030"/>
              <a:gd name="connsiteX3" fmla="*/ 181341 w 383862"/>
              <a:gd name="connsiteY3" fmla="*/ 42585 h 357030"/>
              <a:gd name="connsiteX4" fmla="*/ 261351 w 383862"/>
              <a:gd name="connsiteY4" fmla="*/ 3056 h 357030"/>
              <a:gd name="connsiteX5" fmla="*/ 283182 w 383862"/>
              <a:gd name="connsiteY5" fmla="*/ 9682 h 357030"/>
              <a:gd name="connsiteX6" fmla="*/ 316435 w 383862"/>
              <a:gd name="connsiteY6" fmla="*/ 24461 h 357030"/>
              <a:gd name="connsiteX7" fmla="*/ 356601 w 383862"/>
              <a:gd name="connsiteY7" fmla="*/ 65445 h 357030"/>
              <a:gd name="connsiteX8" fmla="*/ 359935 w 383862"/>
              <a:gd name="connsiteY8" fmla="*/ 274043 h 357030"/>
              <a:gd name="connsiteX9" fmla="*/ 74661 w 383862"/>
              <a:gd name="connsiteY9" fmla="*/ 339765 h 357030"/>
              <a:gd name="connsiteX0" fmla="*/ 74661 w 383862"/>
              <a:gd name="connsiteY0" fmla="*/ 339765 h 357030"/>
              <a:gd name="connsiteX1" fmla="*/ 843 w 383862"/>
              <a:gd name="connsiteY1" fmla="*/ 159742 h 357030"/>
              <a:gd name="connsiteX2" fmla="*/ 44181 w 383862"/>
              <a:gd name="connsiteY2" fmla="*/ 88305 h 357030"/>
              <a:gd name="connsiteX3" fmla="*/ 181341 w 383862"/>
              <a:gd name="connsiteY3" fmla="*/ 42585 h 357030"/>
              <a:gd name="connsiteX4" fmla="*/ 261351 w 383862"/>
              <a:gd name="connsiteY4" fmla="*/ 3056 h 357030"/>
              <a:gd name="connsiteX5" fmla="*/ 283182 w 383862"/>
              <a:gd name="connsiteY5" fmla="*/ 9682 h 357030"/>
              <a:gd name="connsiteX6" fmla="*/ 316435 w 383862"/>
              <a:gd name="connsiteY6" fmla="*/ 24461 h 357030"/>
              <a:gd name="connsiteX7" fmla="*/ 343777 w 383862"/>
              <a:gd name="connsiteY7" fmla="*/ 37024 h 357030"/>
              <a:gd name="connsiteX8" fmla="*/ 356601 w 383862"/>
              <a:gd name="connsiteY8" fmla="*/ 65445 h 357030"/>
              <a:gd name="connsiteX9" fmla="*/ 359935 w 383862"/>
              <a:gd name="connsiteY9" fmla="*/ 274043 h 357030"/>
              <a:gd name="connsiteX10" fmla="*/ 74661 w 383862"/>
              <a:gd name="connsiteY10" fmla="*/ 339765 h 357030"/>
              <a:gd name="connsiteX0" fmla="*/ 74661 w 383862"/>
              <a:gd name="connsiteY0" fmla="*/ 336861 h 354126"/>
              <a:gd name="connsiteX1" fmla="*/ 843 w 383862"/>
              <a:gd name="connsiteY1" fmla="*/ 156838 h 354126"/>
              <a:gd name="connsiteX2" fmla="*/ 44181 w 383862"/>
              <a:gd name="connsiteY2" fmla="*/ 85401 h 354126"/>
              <a:gd name="connsiteX3" fmla="*/ 181341 w 383862"/>
              <a:gd name="connsiteY3" fmla="*/ 39681 h 354126"/>
              <a:gd name="connsiteX4" fmla="*/ 261351 w 383862"/>
              <a:gd name="connsiteY4" fmla="*/ 152 h 354126"/>
              <a:gd name="connsiteX5" fmla="*/ 266186 w 383862"/>
              <a:gd name="connsiteY5" fmla="*/ 27469 h 354126"/>
              <a:gd name="connsiteX6" fmla="*/ 316435 w 383862"/>
              <a:gd name="connsiteY6" fmla="*/ 21557 h 354126"/>
              <a:gd name="connsiteX7" fmla="*/ 343777 w 383862"/>
              <a:gd name="connsiteY7" fmla="*/ 34120 h 354126"/>
              <a:gd name="connsiteX8" fmla="*/ 356601 w 383862"/>
              <a:gd name="connsiteY8" fmla="*/ 62541 h 354126"/>
              <a:gd name="connsiteX9" fmla="*/ 359935 w 383862"/>
              <a:gd name="connsiteY9" fmla="*/ 271139 h 354126"/>
              <a:gd name="connsiteX10" fmla="*/ 74661 w 383862"/>
              <a:gd name="connsiteY10" fmla="*/ 336861 h 354126"/>
              <a:gd name="connsiteX0" fmla="*/ 74661 w 383862"/>
              <a:gd name="connsiteY0" fmla="*/ 336861 h 354126"/>
              <a:gd name="connsiteX1" fmla="*/ 843 w 383862"/>
              <a:gd name="connsiteY1" fmla="*/ 156838 h 354126"/>
              <a:gd name="connsiteX2" fmla="*/ 44181 w 383862"/>
              <a:gd name="connsiteY2" fmla="*/ 85401 h 354126"/>
              <a:gd name="connsiteX3" fmla="*/ 181341 w 383862"/>
              <a:gd name="connsiteY3" fmla="*/ 39681 h 354126"/>
              <a:gd name="connsiteX4" fmla="*/ 261351 w 383862"/>
              <a:gd name="connsiteY4" fmla="*/ 152 h 354126"/>
              <a:gd name="connsiteX5" fmla="*/ 266186 w 383862"/>
              <a:gd name="connsiteY5" fmla="*/ 27469 h 354126"/>
              <a:gd name="connsiteX6" fmla="*/ 258796 w 383862"/>
              <a:gd name="connsiteY6" fmla="*/ 55549 h 354126"/>
              <a:gd name="connsiteX7" fmla="*/ 343777 w 383862"/>
              <a:gd name="connsiteY7" fmla="*/ 34120 h 354126"/>
              <a:gd name="connsiteX8" fmla="*/ 356601 w 383862"/>
              <a:gd name="connsiteY8" fmla="*/ 62541 h 354126"/>
              <a:gd name="connsiteX9" fmla="*/ 359935 w 383862"/>
              <a:gd name="connsiteY9" fmla="*/ 271139 h 354126"/>
              <a:gd name="connsiteX10" fmla="*/ 74661 w 383862"/>
              <a:gd name="connsiteY10" fmla="*/ 336861 h 354126"/>
              <a:gd name="connsiteX0" fmla="*/ 74661 w 380558"/>
              <a:gd name="connsiteY0" fmla="*/ 336861 h 354126"/>
              <a:gd name="connsiteX1" fmla="*/ 843 w 380558"/>
              <a:gd name="connsiteY1" fmla="*/ 156838 h 354126"/>
              <a:gd name="connsiteX2" fmla="*/ 44181 w 380558"/>
              <a:gd name="connsiteY2" fmla="*/ 85401 h 354126"/>
              <a:gd name="connsiteX3" fmla="*/ 181341 w 380558"/>
              <a:gd name="connsiteY3" fmla="*/ 39681 h 354126"/>
              <a:gd name="connsiteX4" fmla="*/ 261351 w 380558"/>
              <a:gd name="connsiteY4" fmla="*/ 152 h 354126"/>
              <a:gd name="connsiteX5" fmla="*/ 266186 w 380558"/>
              <a:gd name="connsiteY5" fmla="*/ 27469 h 354126"/>
              <a:gd name="connsiteX6" fmla="*/ 258796 w 380558"/>
              <a:gd name="connsiteY6" fmla="*/ 55549 h 354126"/>
              <a:gd name="connsiteX7" fmla="*/ 343777 w 380558"/>
              <a:gd name="connsiteY7" fmla="*/ 34120 h 354126"/>
              <a:gd name="connsiteX8" fmla="*/ 356601 w 380558"/>
              <a:gd name="connsiteY8" fmla="*/ 62541 h 354126"/>
              <a:gd name="connsiteX9" fmla="*/ 359935 w 380558"/>
              <a:gd name="connsiteY9" fmla="*/ 271139 h 354126"/>
              <a:gd name="connsiteX10" fmla="*/ 74661 w 380558"/>
              <a:gd name="connsiteY10" fmla="*/ 336861 h 354126"/>
              <a:gd name="connsiteX0" fmla="*/ 74661 w 381324"/>
              <a:gd name="connsiteY0" fmla="*/ 336861 h 354126"/>
              <a:gd name="connsiteX1" fmla="*/ 843 w 381324"/>
              <a:gd name="connsiteY1" fmla="*/ 156838 h 354126"/>
              <a:gd name="connsiteX2" fmla="*/ 44181 w 381324"/>
              <a:gd name="connsiteY2" fmla="*/ 85401 h 354126"/>
              <a:gd name="connsiteX3" fmla="*/ 181341 w 381324"/>
              <a:gd name="connsiteY3" fmla="*/ 39681 h 354126"/>
              <a:gd name="connsiteX4" fmla="*/ 261351 w 381324"/>
              <a:gd name="connsiteY4" fmla="*/ 152 h 354126"/>
              <a:gd name="connsiteX5" fmla="*/ 266186 w 381324"/>
              <a:gd name="connsiteY5" fmla="*/ 27469 h 354126"/>
              <a:gd name="connsiteX6" fmla="*/ 258796 w 381324"/>
              <a:gd name="connsiteY6" fmla="*/ 55549 h 354126"/>
              <a:gd name="connsiteX7" fmla="*/ 323086 w 381324"/>
              <a:gd name="connsiteY7" fmla="*/ 57767 h 354126"/>
              <a:gd name="connsiteX8" fmla="*/ 356601 w 381324"/>
              <a:gd name="connsiteY8" fmla="*/ 62541 h 354126"/>
              <a:gd name="connsiteX9" fmla="*/ 359935 w 381324"/>
              <a:gd name="connsiteY9" fmla="*/ 271139 h 354126"/>
              <a:gd name="connsiteX10" fmla="*/ 74661 w 381324"/>
              <a:gd name="connsiteY10" fmla="*/ 336861 h 354126"/>
              <a:gd name="connsiteX0" fmla="*/ 74661 w 381324"/>
              <a:gd name="connsiteY0" fmla="*/ 336861 h 354126"/>
              <a:gd name="connsiteX1" fmla="*/ 843 w 381324"/>
              <a:gd name="connsiteY1" fmla="*/ 156838 h 354126"/>
              <a:gd name="connsiteX2" fmla="*/ 44181 w 381324"/>
              <a:gd name="connsiteY2" fmla="*/ 85401 h 354126"/>
              <a:gd name="connsiteX3" fmla="*/ 181341 w 381324"/>
              <a:gd name="connsiteY3" fmla="*/ 39681 h 354126"/>
              <a:gd name="connsiteX4" fmla="*/ 261351 w 381324"/>
              <a:gd name="connsiteY4" fmla="*/ 152 h 354126"/>
              <a:gd name="connsiteX5" fmla="*/ 266186 w 381324"/>
              <a:gd name="connsiteY5" fmla="*/ 27469 h 354126"/>
              <a:gd name="connsiteX6" fmla="*/ 258796 w 381324"/>
              <a:gd name="connsiteY6" fmla="*/ 55549 h 354126"/>
              <a:gd name="connsiteX7" fmla="*/ 297962 w 381324"/>
              <a:gd name="connsiteY7" fmla="*/ 54811 h 354126"/>
              <a:gd name="connsiteX8" fmla="*/ 323086 w 381324"/>
              <a:gd name="connsiteY8" fmla="*/ 57767 h 354126"/>
              <a:gd name="connsiteX9" fmla="*/ 356601 w 381324"/>
              <a:gd name="connsiteY9" fmla="*/ 62541 h 354126"/>
              <a:gd name="connsiteX10" fmla="*/ 359935 w 381324"/>
              <a:gd name="connsiteY10" fmla="*/ 271139 h 354126"/>
              <a:gd name="connsiteX11" fmla="*/ 74661 w 381324"/>
              <a:gd name="connsiteY11" fmla="*/ 336861 h 354126"/>
              <a:gd name="connsiteX0" fmla="*/ 74661 w 381324"/>
              <a:gd name="connsiteY0" fmla="*/ 336861 h 354126"/>
              <a:gd name="connsiteX1" fmla="*/ 843 w 381324"/>
              <a:gd name="connsiteY1" fmla="*/ 156838 h 354126"/>
              <a:gd name="connsiteX2" fmla="*/ 44181 w 381324"/>
              <a:gd name="connsiteY2" fmla="*/ 85401 h 354126"/>
              <a:gd name="connsiteX3" fmla="*/ 181341 w 381324"/>
              <a:gd name="connsiteY3" fmla="*/ 39681 h 354126"/>
              <a:gd name="connsiteX4" fmla="*/ 261351 w 381324"/>
              <a:gd name="connsiteY4" fmla="*/ 152 h 354126"/>
              <a:gd name="connsiteX5" fmla="*/ 266186 w 381324"/>
              <a:gd name="connsiteY5" fmla="*/ 27469 h 354126"/>
              <a:gd name="connsiteX6" fmla="*/ 258796 w 381324"/>
              <a:gd name="connsiteY6" fmla="*/ 55549 h 354126"/>
              <a:gd name="connsiteX7" fmla="*/ 284661 w 381324"/>
              <a:gd name="connsiteY7" fmla="*/ 50377 h 354126"/>
              <a:gd name="connsiteX8" fmla="*/ 323086 w 381324"/>
              <a:gd name="connsiteY8" fmla="*/ 57767 h 354126"/>
              <a:gd name="connsiteX9" fmla="*/ 356601 w 381324"/>
              <a:gd name="connsiteY9" fmla="*/ 62541 h 354126"/>
              <a:gd name="connsiteX10" fmla="*/ 359935 w 381324"/>
              <a:gd name="connsiteY10" fmla="*/ 271139 h 354126"/>
              <a:gd name="connsiteX11" fmla="*/ 74661 w 381324"/>
              <a:gd name="connsiteY11" fmla="*/ 336861 h 354126"/>
              <a:gd name="connsiteX0" fmla="*/ 74661 w 381324"/>
              <a:gd name="connsiteY0" fmla="*/ 336861 h 354126"/>
              <a:gd name="connsiteX1" fmla="*/ 843 w 381324"/>
              <a:gd name="connsiteY1" fmla="*/ 156838 h 354126"/>
              <a:gd name="connsiteX2" fmla="*/ 44181 w 381324"/>
              <a:gd name="connsiteY2" fmla="*/ 85401 h 354126"/>
              <a:gd name="connsiteX3" fmla="*/ 181341 w 381324"/>
              <a:gd name="connsiteY3" fmla="*/ 39681 h 354126"/>
              <a:gd name="connsiteX4" fmla="*/ 261351 w 381324"/>
              <a:gd name="connsiteY4" fmla="*/ 152 h 354126"/>
              <a:gd name="connsiteX5" fmla="*/ 266186 w 381324"/>
              <a:gd name="connsiteY5" fmla="*/ 27469 h 354126"/>
              <a:gd name="connsiteX6" fmla="*/ 258796 w 381324"/>
              <a:gd name="connsiteY6" fmla="*/ 55549 h 354126"/>
              <a:gd name="connsiteX7" fmla="*/ 284661 w 381324"/>
              <a:gd name="connsiteY7" fmla="*/ 50377 h 354126"/>
              <a:gd name="connsiteX8" fmla="*/ 307569 w 381324"/>
              <a:gd name="connsiteY8" fmla="*/ 54811 h 354126"/>
              <a:gd name="connsiteX9" fmla="*/ 323086 w 381324"/>
              <a:gd name="connsiteY9" fmla="*/ 57767 h 354126"/>
              <a:gd name="connsiteX10" fmla="*/ 356601 w 381324"/>
              <a:gd name="connsiteY10" fmla="*/ 62541 h 354126"/>
              <a:gd name="connsiteX11" fmla="*/ 359935 w 381324"/>
              <a:gd name="connsiteY11" fmla="*/ 271139 h 354126"/>
              <a:gd name="connsiteX12" fmla="*/ 74661 w 381324"/>
              <a:gd name="connsiteY12" fmla="*/ 336861 h 354126"/>
              <a:gd name="connsiteX0" fmla="*/ 74661 w 381324"/>
              <a:gd name="connsiteY0" fmla="*/ 336861 h 354126"/>
              <a:gd name="connsiteX1" fmla="*/ 843 w 381324"/>
              <a:gd name="connsiteY1" fmla="*/ 156838 h 354126"/>
              <a:gd name="connsiteX2" fmla="*/ 44181 w 381324"/>
              <a:gd name="connsiteY2" fmla="*/ 85401 h 354126"/>
              <a:gd name="connsiteX3" fmla="*/ 181341 w 381324"/>
              <a:gd name="connsiteY3" fmla="*/ 39681 h 354126"/>
              <a:gd name="connsiteX4" fmla="*/ 261351 w 381324"/>
              <a:gd name="connsiteY4" fmla="*/ 152 h 354126"/>
              <a:gd name="connsiteX5" fmla="*/ 266186 w 381324"/>
              <a:gd name="connsiteY5" fmla="*/ 27469 h 354126"/>
              <a:gd name="connsiteX6" fmla="*/ 258796 w 381324"/>
              <a:gd name="connsiteY6" fmla="*/ 55549 h 354126"/>
              <a:gd name="connsiteX7" fmla="*/ 284661 w 381324"/>
              <a:gd name="connsiteY7" fmla="*/ 50377 h 354126"/>
              <a:gd name="connsiteX8" fmla="*/ 292051 w 381324"/>
              <a:gd name="connsiteY8" fmla="*/ 76241 h 354126"/>
              <a:gd name="connsiteX9" fmla="*/ 323086 w 381324"/>
              <a:gd name="connsiteY9" fmla="*/ 57767 h 354126"/>
              <a:gd name="connsiteX10" fmla="*/ 356601 w 381324"/>
              <a:gd name="connsiteY10" fmla="*/ 62541 h 354126"/>
              <a:gd name="connsiteX11" fmla="*/ 359935 w 381324"/>
              <a:gd name="connsiteY11" fmla="*/ 271139 h 354126"/>
              <a:gd name="connsiteX12" fmla="*/ 74661 w 381324"/>
              <a:gd name="connsiteY12" fmla="*/ 336861 h 354126"/>
              <a:gd name="connsiteX0" fmla="*/ 74661 w 381522"/>
              <a:gd name="connsiteY0" fmla="*/ 336861 h 354126"/>
              <a:gd name="connsiteX1" fmla="*/ 843 w 381522"/>
              <a:gd name="connsiteY1" fmla="*/ 156838 h 354126"/>
              <a:gd name="connsiteX2" fmla="*/ 44181 w 381522"/>
              <a:gd name="connsiteY2" fmla="*/ 85401 h 354126"/>
              <a:gd name="connsiteX3" fmla="*/ 181341 w 381522"/>
              <a:gd name="connsiteY3" fmla="*/ 39681 h 354126"/>
              <a:gd name="connsiteX4" fmla="*/ 261351 w 381522"/>
              <a:gd name="connsiteY4" fmla="*/ 152 h 354126"/>
              <a:gd name="connsiteX5" fmla="*/ 266186 w 381522"/>
              <a:gd name="connsiteY5" fmla="*/ 27469 h 354126"/>
              <a:gd name="connsiteX6" fmla="*/ 258796 w 381522"/>
              <a:gd name="connsiteY6" fmla="*/ 55549 h 354126"/>
              <a:gd name="connsiteX7" fmla="*/ 284661 w 381522"/>
              <a:gd name="connsiteY7" fmla="*/ 50377 h 354126"/>
              <a:gd name="connsiteX8" fmla="*/ 292051 w 381522"/>
              <a:gd name="connsiteY8" fmla="*/ 76241 h 354126"/>
              <a:gd name="connsiteX9" fmla="*/ 317913 w 381522"/>
              <a:gd name="connsiteY9" fmla="*/ 48161 h 354126"/>
              <a:gd name="connsiteX10" fmla="*/ 356601 w 381522"/>
              <a:gd name="connsiteY10" fmla="*/ 62541 h 354126"/>
              <a:gd name="connsiteX11" fmla="*/ 359935 w 381522"/>
              <a:gd name="connsiteY11" fmla="*/ 271139 h 354126"/>
              <a:gd name="connsiteX12" fmla="*/ 74661 w 381522"/>
              <a:gd name="connsiteY12" fmla="*/ 336861 h 354126"/>
              <a:gd name="connsiteX0" fmla="*/ 74661 w 380936"/>
              <a:gd name="connsiteY0" fmla="*/ 336861 h 354126"/>
              <a:gd name="connsiteX1" fmla="*/ 843 w 380936"/>
              <a:gd name="connsiteY1" fmla="*/ 156838 h 354126"/>
              <a:gd name="connsiteX2" fmla="*/ 44181 w 380936"/>
              <a:gd name="connsiteY2" fmla="*/ 85401 h 354126"/>
              <a:gd name="connsiteX3" fmla="*/ 181341 w 380936"/>
              <a:gd name="connsiteY3" fmla="*/ 39681 h 354126"/>
              <a:gd name="connsiteX4" fmla="*/ 261351 w 380936"/>
              <a:gd name="connsiteY4" fmla="*/ 152 h 354126"/>
              <a:gd name="connsiteX5" fmla="*/ 266186 w 380936"/>
              <a:gd name="connsiteY5" fmla="*/ 27469 h 354126"/>
              <a:gd name="connsiteX6" fmla="*/ 258796 w 380936"/>
              <a:gd name="connsiteY6" fmla="*/ 55549 h 354126"/>
              <a:gd name="connsiteX7" fmla="*/ 284661 w 380936"/>
              <a:gd name="connsiteY7" fmla="*/ 50377 h 354126"/>
              <a:gd name="connsiteX8" fmla="*/ 292051 w 380936"/>
              <a:gd name="connsiteY8" fmla="*/ 76241 h 354126"/>
              <a:gd name="connsiteX9" fmla="*/ 317913 w 380936"/>
              <a:gd name="connsiteY9" fmla="*/ 48161 h 354126"/>
              <a:gd name="connsiteX10" fmla="*/ 333433 w 380936"/>
              <a:gd name="connsiteY10" fmla="*/ 43726 h 354126"/>
              <a:gd name="connsiteX11" fmla="*/ 356601 w 380936"/>
              <a:gd name="connsiteY11" fmla="*/ 62541 h 354126"/>
              <a:gd name="connsiteX12" fmla="*/ 359935 w 380936"/>
              <a:gd name="connsiteY12" fmla="*/ 271139 h 354126"/>
              <a:gd name="connsiteX13" fmla="*/ 74661 w 380936"/>
              <a:gd name="connsiteY13" fmla="*/ 336861 h 354126"/>
              <a:gd name="connsiteX0" fmla="*/ 74661 w 380882"/>
              <a:gd name="connsiteY0" fmla="*/ 336861 h 354126"/>
              <a:gd name="connsiteX1" fmla="*/ 843 w 380882"/>
              <a:gd name="connsiteY1" fmla="*/ 156838 h 354126"/>
              <a:gd name="connsiteX2" fmla="*/ 44181 w 380882"/>
              <a:gd name="connsiteY2" fmla="*/ 85401 h 354126"/>
              <a:gd name="connsiteX3" fmla="*/ 181341 w 380882"/>
              <a:gd name="connsiteY3" fmla="*/ 39681 h 354126"/>
              <a:gd name="connsiteX4" fmla="*/ 261351 w 380882"/>
              <a:gd name="connsiteY4" fmla="*/ 152 h 354126"/>
              <a:gd name="connsiteX5" fmla="*/ 266186 w 380882"/>
              <a:gd name="connsiteY5" fmla="*/ 27469 h 354126"/>
              <a:gd name="connsiteX6" fmla="*/ 258796 w 380882"/>
              <a:gd name="connsiteY6" fmla="*/ 55549 h 354126"/>
              <a:gd name="connsiteX7" fmla="*/ 284661 w 380882"/>
              <a:gd name="connsiteY7" fmla="*/ 50377 h 354126"/>
              <a:gd name="connsiteX8" fmla="*/ 292051 w 380882"/>
              <a:gd name="connsiteY8" fmla="*/ 76241 h 354126"/>
              <a:gd name="connsiteX9" fmla="*/ 317913 w 380882"/>
              <a:gd name="connsiteY9" fmla="*/ 48161 h 354126"/>
              <a:gd name="connsiteX10" fmla="*/ 334911 w 380882"/>
              <a:gd name="connsiteY10" fmla="*/ 68851 h 354126"/>
              <a:gd name="connsiteX11" fmla="*/ 356601 w 380882"/>
              <a:gd name="connsiteY11" fmla="*/ 62541 h 354126"/>
              <a:gd name="connsiteX12" fmla="*/ 359935 w 380882"/>
              <a:gd name="connsiteY12" fmla="*/ 271139 h 354126"/>
              <a:gd name="connsiteX13" fmla="*/ 74661 w 380882"/>
              <a:gd name="connsiteY13" fmla="*/ 336861 h 354126"/>
              <a:gd name="connsiteX0" fmla="*/ 74661 w 380882"/>
              <a:gd name="connsiteY0" fmla="*/ 329554 h 346819"/>
              <a:gd name="connsiteX1" fmla="*/ 843 w 380882"/>
              <a:gd name="connsiteY1" fmla="*/ 149531 h 346819"/>
              <a:gd name="connsiteX2" fmla="*/ 44181 w 380882"/>
              <a:gd name="connsiteY2" fmla="*/ 78094 h 346819"/>
              <a:gd name="connsiteX3" fmla="*/ 181341 w 380882"/>
              <a:gd name="connsiteY3" fmla="*/ 32374 h 346819"/>
              <a:gd name="connsiteX4" fmla="*/ 283520 w 380882"/>
              <a:gd name="connsiteY4" fmla="*/ 235 h 346819"/>
              <a:gd name="connsiteX5" fmla="*/ 266186 w 380882"/>
              <a:gd name="connsiteY5" fmla="*/ 20162 h 346819"/>
              <a:gd name="connsiteX6" fmla="*/ 258796 w 380882"/>
              <a:gd name="connsiteY6" fmla="*/ 48242 h 346819"/>
              <a:gd name="connsiteX7" fmla="*/ 284661 w 380882"/>
              <a:gd name="connsiteY7" fmla="*/ 43070 h 346819"/>
              <a:gd name="connsiteX8" fmla="*/ 292051 w 380882"/>
              <a:gd name="connsiteY8" fmla="*/ 68934 h 346819"/>
              <a:gd name="connsiteX9" fmla="*/ 317913 w 380882"/>
              <a:gd name="connsiteY9" fmla="*/ 40854 h 346819"/>
              <a:gd name="connsiteX10" fmla="*/ 334911 w 380882"/>
              <a:gd name="connsiteY10" fmla="*/ 61544 h 346819"/>
              <a:gd name="connsiteX11" fmla="*/ 356601 w 380882"/>
              <a:gd name="connsiteY11" fmla="*/ 55234 h 346819"/>
              <a:gd name="connsiteX12" fmla="*/ 359935 w 380882"/>
              <a:gd name="connsiteY12" fmla="*/ 263832 h 346819"/>
              <a:gd name="connsiteX13" fmla="*/ 74661 w 380882"/>
              <a:gd name="connsiteY13" fmla="*/ 329554 h 346819"/>
              <a:gd name="connsiteX0" fmla="*/ 74661 w 380882"/>
              <a:gd name="connsiteY0" fmla="*/ 329551 h 346816"/>
              <a:gd name="connsiteX1" fmla="*/ 843 w 380882"/>
              <a:gd name="connsiteY1" fmla="*/ 149528 h 346816"/>
              <a:gd name="connsiteX2" fmla="*/ 44181 w 380882"/>
              <a:gd name="connsiteY2" fmla="*/ 78091 h 346816"/>
              <a:gd name="connsiteX3" fmla="*/ 181341 w 380882"/>
              <a:gd name="connsiteY3" fmla="*/ 32371 h 346816"/>
              <a:gd name="connsiteX4" fmla="*/ 283520 w 380882"/>
              <a:gd name="connsiteY4" fmla="*/ 232 h 346816"/>
              <a:gd name="connsiteX5" fmla="*/ 258796 w 380882"/>
              <a:gd name="connsiteY5" fmla="*/ 48239 h 346816"/>
              <a:gd name="connsiteX6" fmla="*/ 284661 w 380882"/>
              <a:gd name="connsiteY6" fmla="*/ 43067 h 346816"/>
              <a:gd name="connsiteX7" fmla="*/ 292051 w 380882"/>
              <a:gd name="connsiteY7" fmla="*/ 68931 h 346816"/>
              <a:gd name="connsiteX8" fmla="*/ 317913 w 380882"/>
              <a:gd name="connsiteY8" fmla="*/ 40851 h 346816"/>
              <a:gd name="connsiteX9" fmla="*/ 334911 w 380882"/>
              <a:gd name="connsiteY9" fmla="*/ 61541 h 346816"/>
              <a:gd name="connsiteX10" fmla="*/ 356601 w 380882"/>
              <a:gd name="connsiteY10" fmla="*/ 55231 h 346816"/>
              <a:gd name="connsiteX11" fmla="*/ 359935 w 380882"/>
              <a:gd name="connsiteY11" fmla="*/ 263829 h 346816"/>
              <a:gd name="connsiteX12" fmla="*/ 74661 w 380882"/>
              <a:gd name="connsiteY12" fmla="*/ 329551 h 346816"/>
              <a:gd name="connsiteX0" fmla="*/ 74661 w 380882"/>
              <a:gd name="connsiteY0" fmla="*/ 329432 h 346697"/>
              <a:gd name="connsiteX1" fmla="*/ 843 w 380882"/>
              <a:gd name="connsiteY1" fmla="*/ 149409 h 346697"/>
              <a:gd name="connsiteX2" fmla="*/ 44181 w 380882"/>
              <a:gd name="connsiteY2" fmla="*/ 77972 h 346697"/>
              <a:gd name="connsiteX3" fmla="*/ 181341 w 380882"/>
              <a:gd name="connsiteY3" fmla="*/ 32252 h 346697"/>
              <a:gd name="connsiteX4" fmla="*/ 283520 w 380882"/>
              <a:gd name="connsiteY4" fmla="*/ 113 h 346697"/>
              <a:gd name="connsiteX5" fmla="*/ 284661 w 380882"/>
              <a:gd name="connsiteY5" fmla="*/ 42948 h 346697"/>
              <a:gd name="connsiteX6" fmla="*/ 292051 w 380882"/>
              <a:gd name="connsiteY6" fmla="*/ 68812 h 346697"/>
              <a:gd name="connsiteX7" fmla="*/ 317913 w 380882"/>
              <a:gd name="connsiteY7" fmla="*/ 40732 h 346697"/>
              <a:gd name="connsiteX8" fmla="*/ 334911 w 380882"/>
              <a:gd name="connsiteY8" fmla="*/ 61422 h 346697"/>
              <a:gd name="connsiteX9" fmla="*/ 356601 w 380882"/>
              <a:gd name="connsiteY9" fmla="*/ 55112 h 346697"/>
              <a:gd name="connsiteX10" fmla="*/ 359935 w 380882"/>
              <a:gd name="connsiteY10" fmla="*/ 263710 h 346697"/>
              <a:gd name="connsiteX11" fmla="*/ 74661 w 380882"/>
              <a:gd name="connsiteY11" fmla="*/ 329432 h 346697"/>
              <a:gd name="connsiteX0" fmla="*/ 74661 w 380882"/>
              <a:gd name="connsiteY0" fmla="*/ 330289 h 347554"/>
              <a:gd name="connsiteX1" fmla="*/ 843 w 380882"/>
              <a:gd name="connsiteY1" fmla="*/ 150266 h 347554"/>
              <a:gd name="connsiteX2" fmla="*/ 44181 w 380882"/>
              <a:gd name="connsiteY2" fmla="*/ 78829 h 347554"/>
              <a:gd name="connsiteX3" fmla="*/ 181341 w 380882"/>
              <a:gd name="connsiteY3" fmla="*/ 33109 h 347554"/>
              <a:gd name="connsiteX4" fmla="*/ 283520 w 380882"/>
              <a:gd name="connsiteY4" fmla="*/ 970 h 347554"/>
              <a:gd name="connsiteX5" fmla="*/ 292051 w 380882"/>
              <a:gd name="connsiteY5" fmla="*/ 69669 h 347554"/>
              <a:gd name="connsiteX6" fmla="*/ 317913 w 380882"/>
              <a:gd name="connsiteY6" fmla="*/ 41589 h 347554"/>
              <a:gd name="connsiteX7" fmla="*/ 334911 w 380882"/>
              <a:gd name="connsiteY7" fmla="*/ 62279 h 347554"/>
              <a:gd name="connsiteX8" fmla="*/ 356601 w 380882"/>
              <a:gd name="connsiteY8" fmla="*/ 55969 h 347554"/>
              <a:gd name="connsiteX9" fmla="*/ 359935 w 380882"/>
              <a:gd name="connsiteY9" fmla="*/ 264567 h 347554"/>
              <a:gd name="connsiteX10" fmla="*/ 74661 w 380882"/>
              <a:gd name="connsiteY10" fmla="*/ 330289 h 347554"/>
              <a:gd name="connsiteX0" fmla="*/ 74661 w 380882"/>
              <a:gd name="connsiteY0" fmla="*/ 329393 h 346658"/>
              <a:gd name="connsiteX1" fmla="*/ 843 w 380882"/>
              <a:gd name="connsiteY1" fmla="*/ 149370 h 346658"/>
              <a:gd name="connsiteX2" fmla="*/ 44181 w 380882"/>
              <a:gd name="connsiteY2" fmla="*/ 77933 h 346658"/>
              <a:gd name="connsiteX3" fmla="*/ 181341 w 380882"/>
              <a:gd name="connsiteY3" fmla="*/ 32213 h 346658"/>
              <a:gd name="connsiteX4" fmla="*/ 283520 w 380882"/>
              <a:gd name="connsiteY4" fmla="*/ 74 h 346658"/>
              <a:gd name="connsiteX5" fmla="*/ 317913 w 380882"/>
              <a:gd name="connsiteY5" fmla="*/ 40693 h 346658"/>
              <a:gd name="connsiteX6" fmla="*/ 334911 w 380882"/>
              <a:gd name="connsiteY6" fmla="*/ 61383 h 346658"/>
              <a:gd name="connsiteX7" fmla="*/ 356601 w 380882"/>
              <a:gd name="connsiteY7" fmla="*/ 55073 h 346658"/>
              <a:gd name="connsiteX8" fmla="*/ 359935 w 380882"/>
              <a:gd name="connsiteY8" fmla="*/ 263671 h 346658"/>
              <a:gd name="connsiteX9" fmla="*/ 74661 w 380882"/>
              <a:gd name="connsiteY9" fmla="*/ 329393 h 346658"/>
              <a:gd name="connsiteX0" fmla="*/ 74661 w 381522"/>
              <a:gd name="connsiteY0" fmla="*/ 329393 h 346658"/>
              <a:gd name="connsiteX1" fmla="*/ 843 w 381522"/>
              <a:gd name="connsiteY1" fmla="*/ 149370 h 346658"/>
              <a:gd name="connsiteX2" fmla="*/ 44181 w 381522"/>
              <a:gd name="connsiteY2" fmla="*/ 77933 h 346658"/>
              <a:gd name="connsiteX3" fmla="*/ 181341 w 381522"/>
              <a:gd name="connsiteY3" fmla="*/ 32213 h 346658"/>
              <a:gd name="connsiteX4" fmla="*/ 283520 w 381522"/>
              <a:gd name="connsiteY4" fmla="*/ 74 h 346658"/>
              <a:gd name="connsiteX5" fmla="*/ 317913 w 381522"/>
              <a:gd name="connsiteY5" fmla="*/ 40693 h 346658"/>
              <a:gd name="connsiteX6" fmla="*/ 356601 w 381522"/>
              <a:gd name="connsiteY6" fmla="*/ 55073 h 346658"/>
              <a:gd name="connsiteX7" fmla="*/ 359935 w 381522"/>
              <a:gd name="connsiteY7" fmla="*/ 263671 h 346658"/>
              <a:gd name="connsiteX8" fmla="*/ 74661 w 381522"/>
              <a:gd name="connsiteY8" fmla="*/ 329393 h 346658"/>
              <a:gd name="connsiteX0" fmla="*/ 74661 w 382907"/>
              <a:gd name="connsiteY0" fmla="*/ 329759 h 347024"/>
              <a:gd name="connsiteX1" fmla="*/ 843 w 382907"/>
              <a:gd name="connsiteY1" fmla="*/ 149736 h 347024"/>
              <a:gd name="connsiteX2" fmla="*/ 44181 w 382907"/>
              <a:gd name="connsiteY2" fmla="*/ 78299 h 347024"/>
              <a:gd name="connsiteX3" fmla="*/ 181341 w 382907"/>
              <a:gd name="connsiteY3" fmla="*/ 32579 h 347024"/>
              <a:gd name="connsiteX4" fmla="*/ 283520 w 382907"/>
              <a:gd name="connsiteY4" fmla="*/ 440 h 347024"/>
              <a:gd name="connsiteX5" fmla="*/ 356601 w 382907"/>
              <a:gd name="connsiteY5" fmla="*/ 55439 h 347024"/>
              <a:gd name="connsiteX6" fmla="*/ 359935 w 382907"/>
              <a:gd name="connsiteY6" fmla="*/ 264037 h 347024"/>
              <a:gd name="connsiteX7" fmla="*/ 74661 w 382907"/>
              <a:gd name="connsiteY7" fmla="*/ 329759 h 347024"/>
              <a:gd name="connsiteX0" fmla="*/ 74661 w 387723"/>
              <a:gd name="connsiteY0" fmla="*/ 301929 h 319194"/>
              <a:gd name="connsiteX1" fmla="*/ 843 w 387723"/>
              <a:gd name="connsiteY1" fmla="*/ 121906 h 319194"/>
              <a:gd name="connsiteX2" fmla="*/ 44181 w 387723"/>
              <a:gd name="connsiteY2" fmla="*/ 50469 h 319194"/>
              <a:gd name="connsiteX3" fmla="*/ 181341 w 387723"/>
              <a:gd name="connsiteY3" fmla="*/ 4749 h 319194"/>
              <a:gd name="connsiteX4" fmla="*/ 356601 w 387723"/>
              <a:gd name="connsiteY4" fmla="*/ 27609 h 319194"/>
              <a:gd name="connsiteX5" fmla="*/ 359935 w 387723"/>
              <a:gd name="connsiteY5" fmla="*/ 236207 h 319194"/>
              <a:gd name="connsiteX6" fmla="*/ 74661 w 387723"/>
              <a:gd name="connsiteY6" fmla="*/ 301929 h 319194"/>
              <a:gd name="connsiteX0" fmla="*/ 73818 w 386880"/>
              <a:gd name="connsiteY0" fmla="*/ 301929 h 319194"/>
              <a:gd name="connsiteX1" fmla="*/ 0 w 386880"/>
              <a:gd name="connsiteY1" fmla="*/ 121906 h 319194"/>
              <a:gd name="connsiteX2" fmla="*/ 180498 w 386880"/>
              <a:gd name="connsiteY2" fmla="*/ 4749 h 319194"/>
              <a:gd name="connsiteX3" fmla="*/ 355758 w 386880"/>
              <a:gd name="connsiteY3" fmla="*/ 27609 h 319194"/>
              <a:gd name="connsiteX4" fmla="*/ 359092 w 386880"/>
              <a:gd name="connsiteY4" fmla="*/ 236207 h 319194"/>
              <a:gd name="connsiteX5" fmla="*/ 73818 w 386880"/>
              <a:gd name="connsiteY5" fmla="*/ 301929 h 319194"/>
              <a:gd name="connsiteX0" fmla="*/ 73818 w 386880"/>
              <a:gd name="connsiteY0" fmla="*/ 346712 h 363977"/>
              <a:gd name="connsiteX1" fmla="*/ 0 w 386880"/>
              <a:gd name="connsiteY1" fmla="*/ 166689 h 363977"/>
              <a:gd name="connsiteX2" fmla="*/ 174586 w 386880"/>
              <a:gd name="connsiteY2" fmla="*/ 268 h 363977"/>
              <a:gd name="connsiteX3" fmla="*/ 355758 w 386880"/>
              <a:gd name="connsiteY3" fmla="*/ 72392 h 363977"/>
              <a:gd name="connsiteX4" fmla="*/ 359092 w 386880"/>
              <a:gd name="connsiteY4" fmla="*/ 280990 h 363977"/>
              <a:gd name="connsiteX5" fmla="*/ 73818 w 386880"/>
              <a:gd name="connsiteY5" fmla="*/ 346712 h 363977"/>
              <a:gd name="connsiteX0" fmla="*/ 73818 w 386880"/>
              <a:gd name="connsiteY0" fmla="*/ 346712 h 363977"/>
              <a:gd name="connsiteX1" fmla="*/ 0 w 386880"/>
              <a:gd name="connsiteY1" fmla="*/ 166689 h 363977"/>
              <a:gd name="connsiteX2" fmla="*/ 174586 w 386880"/>
              <a:gd name="connsiteY2" fmla="*/ 268 h 363977"/>
              <a:gd name="connsiteX3" fmla="*/ 355758 w 386880"/>
              <a:gd name="connsiteY3" fmla="*/ 72392 h 363977"/>
              <a:gd name="connsiteX4" fmla="*/ 359092 w 386880"/>
              <a:gd name="connsiteY4" fmla="*/ 280990 h 363977"/>
              <a:gd name="connsiteX5" fmla="*/ 73818 w 386880"/>
              <a:gd name="connsiteY5" fmla="*/ 346712 h 363977"/>
              <a:gd name="connsiteX0" fmla="*/ 73818 w 386880"/>
              <a:gd name="connsiteY0" fmla="*/ 346712 h 363977"/>
              <a:gd name="connsiteX1" fmla="*/ 0 w 386880"/>
              <a:gd name="connsiteY1" fmla="*/ 166689 h 363977"/>
              <a:gd name="connsiteX2" fmla="*/ 174586 w 386880"/>
              <a:gd name="connsiteY2" fmla="*/ 268 h 363977"/>
              <a:gd name="connsiteX3" fmla="*/ 355758 w 386880"/>
              <a:gd name="connsiteY3" fmla="*/ 72392 h 363977"/>
              <a:gd name="connsiteX4" fmla="*/ 359092 w 386880"/>
              <a:gd name="connsiteY4" fmla="*/ 280990 h 363977"/>
              <a:gd name="connsiteX5" fmla="*/ 73818 w 386880"/>
              <a:gd name="connsiteY5" fmla="*/ 346712 h 3639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6880" h="363977">
                <a:moveTo>
                  <a:pt x="73818" y="346712"/>
                </a:moveTo>
                <a:cubicBezTo>
                  <a:pt x="21112" y="296706"/>
                  <a:pt x="24295" y="273631"/>
                  <a:pt x="0" y="166689"/>
                </a:cubicBezTo>
                <a:cubicBezTo>
                  <a:pt x="45" y="46219"/>
                  <a:pt x="115293" y="15984"/>
                  <a:pt x="174586" y="268"/>
                </a:cubicBezTo>
                <a:cubicBezTo>
                  <a:pt x="226656" y="-3542"/>
                  <a:pt x="325992" y="33816"/>
                  <a:pt x="355758" y="72392"/>
                </a:cubicBezTo>
                <a:cubicBezTo>
                  <a:pt x="385524" y="110968"/>
                  <a:pt x="406082" y="235270"/>
                  <a:pt x="359092" y="280990"/>
                </a:cubicBezTo>
                <a:cubicBezTo>
                  <a:pt x="312102" y="326710"/>
                  <a:pt x="126524" y="396718"/>
                  <a:pt x="73818" y="346712"/>
                </a:cubicBezTo>
                <a:close/>
              </a:path>
            </a:pathLst>
          </a:custGeom>
          <a:solidFill>
            <a:schemeClr val="accent3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709" name="Freeform: Shape 27">
            <a:extLst>
              <a:ext uri="{FF2B5EF4-FFF2-40B4-BE49-F238E27FC236}">
                <a16:creationId xmlns:a16="http://schemas.microsoft.com/office/drawing/2014/main" id="{273C15B0-A1F5-0E7D-2586-6B1A92120772}"/>
              </a:ext>
            </a:extLst>
          </p:cNvPr>
          <p:cNvSpPr/>
          <p:nvPr/>
        </p:nvSpPr>
        <p:spPr>
          <a:xfrm rot="849571">
            <a:off x="9427544" y="2965730"/>
            <a:ext cx="129387" cy="125692"/>
          </a:xfrm>
          <a:custGeom>
            <a:avLst/>
            <a:gdLst>
              <a:gd name="connsiteX0" fmla="*/ 145257 w 176213"/>
              <a:gd name="connsiteY0" fmla="*/ 195262 h 223837"/>
              <a:gd name="connsiteX1" fmla="*/ 61913 w 176213"/>
              <a:gd name="connsiteY1" fmla="*/ 223837 h 223837"/>
              <a:gd name="connsiteX2" fmla="*/ 0 w 176213"/>
              <a:gd name="connsiteY2" fmla="*/ 95250 h 223837"/>
              <a:gd name="connsiteX3" fmla="*/ 130969 w 176213"/>
              <a:gd name="connsiteY3" fmla="*/ 0 h 223837"/>
              <a:gd name="connsiteX4" fmla="*/ 176213 w 176213"/>
              <a:gd name="connsiteY4" fmla="*/ 54769 h 223837"/>
              <a:gd name="connsiteX5" fmla="*/ 114300 w 176213"/>
              <a:gd name="connsiteY5" fmla="*/ 114300 h 223837"/>
              <a:gd name="connsiteX6" fmla="*/ 145257 w 176213"/>
              <a:gd name="connsiteY6" fmla="*/ 195262 h 223837"/>
              <a:gd name="connsiteX0" fmla="*/ 146974 w 177930"/>
              <a:gd name="connsiteY0" fmla="*/ 195262 h 223837"/>
              <a:gd name="connsiteX1" fmla="*/ 63630 w 177930"/>
              <a:gd name="connsiteY1" fmla="*/ 223837 h 223837"/>
              <a:gd name="connsiteX2" fmla="*/ 1717 w 177930"/>
              <a:gd name="connsiteY2" fmla="*/ 95250 h 223837"/>
              <a:gd name="connsiteX3" fmla="*/ 132686 w 177930"/>
              <a:gd name="connsiteY3" fmla="*/ 0 h 223837"/>
              <a:gd name="connsiteX4" fmla="*/ 177930 w 177930"/>
              <a:gd name="connsiteY4" fmla="*/ 54769 h 223837"/>
              <a:gd name="connsiteX5" fmla="*/ 116017 w 177930"/>
              <a:gd name="connsiteY5" fmla="*/ 114300 h 223837"/>
              <a:gd name="connsiteX6" fmla="*/ 146974 w 177930"/>
              <a:gd name="connsiteY6" fmla="*/ 195262 h 223837"/>
              <a:gd name="connsiteX0" fmla="*/ 146974 w 177930"/>
              <a:gd name="connsiteY0" fmla="*/ 195262 h 229057"/>
              <a:gd name="connsiteX1" fmla="*/ 63630 w 177930"/>
              <a:gd name="connsiteY1" fmla="*/ 223837 h 229057"/>
              <a:gd name="connsiteX2" fmla="*/ 1717 w 177930"/>
              <a:gd name="connsiteY2" fmla="*/ 95250 h 229057"/>
              <a:gd name="connsiteX3" fmla="*/ 132686 w 177930"/>
              <a:gd name="connsiteY3" fmla="*/ 0 h 229057"/>
              <a:gd name="connsiteX4" fmla="*/ 177930 w 177930"/>
              <a:gd name="connsiteY4" fmla="*/ 54769 h 229057"/>
              <a:gd name="connsiteX5" fmla="*/ 116017 w 177930"/>
              <a:gd name="connsiteY5" fmla="*/ 114300 h 229057"/>
              <a:gd name="connsiteX6" fmla="*/ 146974 w 177930"/>
              <a:gd name="connsiteY6" fmla="*/ 195262 h 229057"/>
              <a:gd name="connsiteX0" fmla="*/ 146974 w 177930"/>
              <a:gd name="connsiteY0" fmla="*/ 198042 h 231837"/>
              <a:gd name="connsiteX1" fmla="*/ 63630 w 177930"/>
              <a:gd name="connsiteY1" fmla="*/ 226617 h 231837"/>
              <a:gd name="connsiteX2" fmla="*/ 1717 w 177930"/>
              <a:gd name="connsiteY2" fmla="*/ 98030 h 231837"/>
              <a:gd name="connsiteX3" fmla="*/ 132686 w 177930"/>
              <a:gd name="connsiteY3" fmla="*/ 2780 h 231837"/>
              <a:gd name="connsiteX4" fmla="*/ 177930 w 177930"/>
              <a:gd name="connsiteY4" fmla="*/ 57549 h 231837"/>
              <a:gd name="connsiteX5" fmla="*/ 116017 w 177930"/>
              <a:gd name="connsiteY5" fmla="*/ 117080 h 231837"/>
              <a:gd name="connsiteX6" fmla="*/ 146974 w 177930"/>
              <a:gd name="connsiteY6" fmla="*/ 198042 h 231837"/>
              <a:gd name="connsiteX0" fmla="*/ 146974 w 177930"/>
              <a:gd name="connsiteY0" fmla="*/ 198042 h 231837"/>
              <a:gd name="connsiteX1" fmla="*/ 63630 w 177930"/>
              <a:gd name="connsiteY1" fmla="*/ 226617 h 231837"/>
              <a:gd name="connsiteX2" fmla="*/ 1717 w 177930"/>
              <a:gd name="connsiteY2" fmla="*/ 98030 h 231837"/>
              <a:gd name="connsiteX3" fmla="*/ 132686 w 177930"/>
              <a:gd name="connsiteY3" fmla="*/ 2780 h 231837"/>
              <a:gd name="connsiteX4" fmla="*/ 177930 w 177930"/>
              <a:gd name="connsiteY4" fmla="*/ 57549 h 231837"/>
              <a:gd name="connsiteX5" fmla="*/ 116017 w 177930"/>
              <a:gd name="connsiteY5" fmla="*/ 117080 h 231837"/>
              <a:gd name="connsiteX6" fmla="*/ 146974 w 177930"/>
              <a:gd name="connsiteY6" fmla="*/ 198042 h 231837"/>
              <a:gd name="connsiteX0" fmla="*/ 140025 w 170981"/>
              <a:gd name="connsiteY0" fmla="*/ 195898 h 229852"/>
              <a:gd name="connsiteX1" fmla="*/ 56681 w 170981"/>
              <a:gd name="connsiteY1" fmla="*/ 224473 h 229852"/>
              <a:gd name="connsiteX2" fmla="*/ 1912 w 170981"/>
              <a:gd name="connsiteY2" fmla="*/ 93505 h 229852"/>
              <a:gd name="connsiteX3" fmla="*/ 125737 w 170981"/>
              <a:gd name="connsiteY3" fmla="*/ 636 h 229852"/>
              <a:gd name="connsiteX4" fmla="*/ 170981 w 170981"/>
              <a:gd name="connsiteY4" fmla="*/ 55405 h 229852"/>
              <a:gd name="connsiteX5" fmla="*/ 109068 w 170981"/>
              <a:gd name="connsiteY5" fmla="*/ 114936 h 229852"/>
              <a:gd name="connsiteX6" fmla="*/ 140025 w 170981"/>
              <a:gd name="connsiteY6" fmla="*/ 195898 h 229852"/>
              <a:gd name="connsiteX0" fmla="*/ 140025 w 170981"/>
              <a:gd name="connsiteY0" fmla="*/ 195898 h 229852"/>
              <a:gd name="connsiteX1" fmla="*/ 56681 w 170981"/>
              <a:gd name="connsiteY1" fmla="*/ 224473 h 229852"/>
              <a:gd name="connsiteX2" fmla="*/ 1912 w 170981"/>
              <a:gd name="connsiteY2" fmla="*/ 93505 h 229852"/>
              <a:gd name="connsiteX3" fmla="*/ 125737 w 170981"/>
              <a:gd name="connsiteY3" fmla="*/ 636 h 229852"/>
              <a:gd name="connsiteX4" fmla="*/ 170981 w 170981"/>
              <a:gd name="connsiteY4" fmla="*/ 55405 h 229852"/>
              <a:gd name="connsiteX5" fmla="*/ 109068 w 170981"/>
              <a:gd name="connsiteY5" fmla="*/ 114936 h 229852"/>
              <a:gd name="connsiteX6" fmla="*/ 140025 w 170981"/>
              <a:gd name="connsiteY6" fmla="*/ 195898 h 229852"/>
              <a:gd name="connsiteX0" fmla="*/ 140025 w 176450"/>
              <a:gd name="connsiteY0" fmla="*/ 195879 h 229833"/>
              <a:gd name="connsiteX1" fmla="*/ 56681 w 176450"/>
              <a:gd name="connsiteY1" fmla="*/ 224454 h 229833"/>
              <a:gd name="connsiteX2" fmla="*/ 1912 w 176450"/>
              <a:gd name="connsiteY2" fmla="*/ 93486 h 229833"/>
              <a:gd name="connsiteX3" fmla="*/ 125737 w 176450"/>
              <a:gd name="connsiteY3" fmla="*/ 617 h 229833"/>
              <a:gd name="connsiteX4" fmla="*/ 170981 w 176450"/>
              <a:gd name="connsiteY4" fmla="*/ 55386 h 229833"/>
              <a:gd name="connsiteX5" fmla="*/ 109068 w 176450"/>
              <a:gd name="connsiteY5" fmla="*/ 114917 h 229833"/>
              <a:gd name="connsiteX6" fmla="*/ 140025 w 176450"/>
              <a:gd name="connsiteY6" fmla="*/ 195879 h 229833"/>
              <a:gd name="connsiteX0" fmla="*/ 140025 w 171728"/>
              <a:gd name="connsiteY0" fmla="*/ 195802 h 229756"/>
              <a:gd name="connsiteX1" fmla="*/ 56681 w 171728"/>
              <a:gd name="connsiteY1" fmla="*/ 224377 h 229756"/>
              <a:gd name="connsiteX2" fmla="*/ 1912 w 171728"/>
              <a:gd name="connsiteY2" fmla="*/ 93409 h 229756"/>
              <a:gd name="connsiteX3" fmla="*/ 125737 w 171728"/>
              <a:gd name="connsiteY3" fmla="*/ 540 h 229756"/>
              <a:gd name="connsiteX4" fmla="*/ 170981 w 171728"/>
              <a:gd name="connsiteY4" fmla="*/ 55309 h 229756"/>
              <a:gd name="connsiteX5" fmla="*/ 109068 w 171728"/>
              <a:gd name="connsiteY5" fmla="*/ 114840 h 229756"/>
              <a:gd name="connsiteX6" fmla="*/ 140025 w 171728"/>
              <a:gd name="connsiteY6" fmla="*/ 195802 h 229756"/>
              <a:gd name="connsiteX0" fmla="*/ 140025 w 198706"/>
              <a:gd name="connsiteY0" fmla="*/ 195802 h 229626"/>
              <a:gd name="connsiteX1" fmla="*/ 56681 w 198706"/>
              <a:gd name="connsiteY1" fmla="*/ 224377 h 229626"/>
              <a:gd name="connsiteX2" fmla="*/ 1912 w 198706"/>
              <a:gd name="connsiteY2" fmla="*/ 93409 h 229626"/>
              <a:gd name="connsiteX3" fmla="*/ 125737 w 198706"/>
              <a:gd name="connsiteY3" fmla="*/ 540 h 229626"/>
              <a:gd name="connsiteX4" fmla="*/ 170981 w 198706"/>
              <a:gd name="connsiteY4" fmla="*/ 55309 h 229626"/>
              <a:gd name="connsiteX5" fmla="*/ 198218 w 198706"/>
              <a:gd name="connsiteY5" fmla="*/ 121817 h 229626"/>
              <a:gd name="connsiteX6" fmla="*/ 140025 w 198706"/>
              <a:gd name="connsiteY6" fmla="*/ 195802 h 229626"/>
              <a:gd name="connsiteX0" fmla="*/ 140025 w 198327"/>
              <a:gd name="connsiteY0" fmla="*/ 195525 h 229349"/>
              <a:gd name="connsiteX1" fmla="*/ 56681 w 198327"/>
              <a:gd name="connsiteY1" fmla="*/ 224100 h 229349"/>
              <a:gd name="connsiteX2" fmla="*/ 1912 w 198327"/>
              <a:gd name="connsiteY2" fmla="*/ 93132 h 229349"/>
              <a:gd name="connsiteX3" fmla="*/ 125737 w 198327"/>
              <a:gd name="connsiteY3" fmla="*/ 263 h 229349"/>
              <a:gd name="connsiteX4" fmla="*/ 198218 w 198327"/>
              <a:gd name="connsiteY4" fmla="*/ 121540 h 229349"/>
              <a:gd name="connsiteX5" fmla="*/ 140025 w 198327"/>
              <a:gd name="connsiteY5" fmla="*/ 195525 h 229349"/>
              <a:gd name="connsiteX0" fmla="*/ 140597 w 198792"/>
              <a:gd name="connsiteY0" fmla="*/ 135516 h 169340"/>
              <a:gd name="connsiteX1" fmla="*/ 57253 w 198792"/>
              <a:gd name="connsiteY1" fmla="*/ 164091 h 169340"/>
              <a:gd name="connsiteX2" fmla="*/ 2484 w 198792"/>
              <a:gd name="connsiteY2" fmla="*/ 33123 h 169340"/>
              <a:gd name="connsiteX3" fmla="*/ 138627 w 198792"/>
              <a:gd name="connsiteY3" fmla="*/ 1164 h 169340"/>
              <a:gd name="connsiteX4" fmla="*/ 198790 w 198792"/>
              <a:gd name="connsiteY4" fmla="*/ 61531 h 169340"/>
              <a:gd name="connsiteX5" fmla="*/ 140597 w 198792"/>
              <a:gd name="connsiteY5" fmla="*/ 135516 h 169340"/>
              <a:gd name="connsiteX0" fmla="*/ 140008 w 198316"/>
              <a:gd name="connsiteY0" fmla="*/ 153071 h 186895"/>
              <a:gd name="connsiteX1" fmla="*/ 56664 w 198316"/>
              <a:gd name="connsiteY1" fmla="*/ 181646 h 186895"/>
              <a:gd name="connsiteX2" fmla="*/ 1895 w 198316"/>
              <a:gd name="connsiteY2" fmla="*/ 50678 h 186895"/>
              <a:gd name="connsiteX3" fmla="*/ 125334 w 198316"/>
              <a:gd name="connsiteY3" fmla="*/ 585 h 186895"/>
              <a:gd name="connsiteX4" fmla="*/ 198201 w 198316"/>
              <a:gd name="connsiteY4" fmla="*/ 79086 h 186895"/>
              <a:gd name="connsiteX5" fmla="*/ 140008 w 198316"/>
              <a:gd name="connsiteY5" fmla="*/ 153071 h 186895"/>
              <a:gd name="connsiteX0" fmla="*/ 144336 w 198433"/>
              <a:gd name="connsiteY0" fmla="*/ 154018 h 187074"/>
              <a:gd name="connsiteX1" fmla="*/ 56688 w 198433"/>
              <a:gd name="connsiteY1" fmla="*/ 181646 h 187074"/>
              <a:gd name="connsiteX2" fmla="*/ 1919 w 198433"/>
              <a:gd name="connsiteY2" fmla="*/ 50678 h 187074"/>
              <a:gd name="connsiteX3" fmla="*/ 125358 w 198433"/>
              <a:gd name="connsiteY3" fmla="*/ 585 h 187074"/>
              <a:gd name="connsiteX4" fmla="*/ 198225 w 198433"/>
              <a:gd name="connsiteY4" fmla="*/ 79086 h 187074"/>
              <a:gd name="connsiteX5" fmla="*/ 144336 w 198433"/>
              <a:gd name="connsiteY5" fmla="*/ 154018 h 187074"/>
              <a:gd name="connsiteX0" fmla="*/ 133630 w 187727"/>
              <a:gd name="connsiteY0" fmla="*/ 153624 h 182895"/>
              <a:gd name="connsiteX1" fmla="*/ 45982 w 187727"/>
              <a:gd name="connsiteY1" fmla="*/ 181252 h 182895"/>
              <a:gd name="connsiteX2" fmla="*/ 2335 w 187727"/>
              <a:gd name="connsiteY2" fmla="*/ 110480 h 182895"/>
              <a:gd name="connsiteX3" fmla="*/ 114652 w 187727"/>
              <a:gd name="connsiteY3" fmla="*/ 191 h 182895"/>
              <a:gd name="connsiteX4" fmla="*/ 187519 w 187727"/>
              <a:gd name="connsiteY4" fmla="*/ 78692 h 182895"/>
              <a:gd name="connsiteX5" fmla="*/ 133630 w 187727"/>
              <a:gd name="connsiteY5" fmla="*/ 153624 h 182895"/>
              <a:gd name="connsiteX0" fmla="*/ 131295 w 185392"/>
              <a:gd name="connsiteY0" fmla="*/ 153624 h 154394"/>
              <a:gd name="connsiteX1" fmla="*/ 0 w 185392"/>
              <a:gd name="connsiteY1" fmla="*/ 110480 h 154394"/>
              <a:gd name="connsiteX2" fmla="*/ 112317 w 185392"/>
              <a:gd name="connsiteY2" fmla="*/ 191 h 154394"/>
              <a:gd name="connsiteX3" fmla="*/ 185184 w 185392"/>
              <a:gd name="connsiteY3" fmla="*/ 78692 h 154394"/>
              <a:gd name="connsiteX4" fmla="*/ 131295 w 185392"/>
              <a:gd name="connsiteY4" fmla="*/ 153624 h 154394"/>
              <a:gd name="connsiteX0" fmla="*/ 134363 w 190718"/>
              <a:gd name="connsiteY0" fmla="*/ 160641 h 161442"/>
              <a:gd name="connsiteX1" fmla="*/ 3068 w 190718"/>
              <a:gd name="connsiteY1" fmla="*/ 117497 h 161442"/>
              <a:gd name="connsiteX2" fmla="*/ 54672 w 190718"/>
              <a:gd name="connsiteY2" fmla="*/ 170 h 161442"/>
              <a:gd name="connsiteX3" fmla="*/ 188252 w 190718"/>
              <a:gd name="connsiteY3" fmla="*/ 85709 h 161442"/>
              <a:gd name="connsiteX4" fmla="*/ 134363 w 190718"/>
              <a:gd name="connsiteY4" fmla="*/ 160641 h 161442"/>
              <a:gd name="connsiteX0" fmla="*/ 134363 w 178428"/>
              <a:gd name="connsiteY0" fmla="*/ 160641 h 163768"/>
              <a:gd name="connsiteX1" fmla="*/ 3068 w 178428"/>
              <a:gd name="connsiteY1" fmla="*/ 117497 h 163768"/>
              <a:gd name="connsiteX2" fmla="*/ 54672 w 178428"/>
              <a:gd name="connsiteY2" fmla="*/ 170 h 163768"/>
              <a:gd name="connsiteX3" fmla="*/ 174773 w 178428"/>
              <a:gd name="connsiteY3" fmla="*/ 40334 h 163768"/>
              <a:gd name="connsiteX4" fmla="*/ 134363 w 178428"/>
              <a:gd name="connsiteY4" fmla="*/ 160641 h 163768"/>
              <a:gd name="connsiteX0" fmla="*/ 138318 w 183727"/>
              <a:gd name="connsiteY0" fmla="*/ 195923 h 199514"/>
              <a:gd name="connsiteX1" fmla="*/ 7023 w 183727"/>
              <a:gd name="connsiteY1" fmla="*/ 152779 h 199514"/>
              <a:gd name="connsiteX2" fmla="*/ 37522 w 183727"/>
              <a:gd name="connsiteY2" fmla="*/ 131 h 199514"/>
              <a:gd name="connsiteX3" fmla="*/ 178728 w 183727"/>
              <a:gd name="connsiteY3" fmla="*/ 75616 h 199514"/>
              <a:gd name="connsiteX4" fmla="*/ 138318 w 183727"/>
              <a:gd name="connsiteY4" fmla="*/ 195923 h 199514"/>
              <a:gd name="connsiteX0" fmla="*/ 138318 w 198785"/>
              <a:gd name="connsiteY0" fmla="*/ 195923 h 200029"/>
              <a:gd name="connsiteX1" fmla="*/ 7023 w 198785"/>
              <a:gd name="connsiteY1" fmla="*/ 152779 h 200029"/>
              <a:gd name="connsiteX2" fmla="*/ 37522 w 198785"/>
              <a:gd name="connsiteY2" fmla="*/ 131 h 200029"/>
              <a:gd name="connsiteX3" fmla="*/ 194960 w 198785"/>
              <a:gd name="connsiteY3" fmla="*/ 67456 h 200029"/>
              <a:gd name="connsiteX4" fmla="*/ 138318 w 198785"/>
              <a:gd name="connsiteY4" fmla="*/ 195923 h 200029"/>
              <a:gd name="connsiteX0" fmla="*/ 138318 w 198785"/>
              <a:gd name="connsiteY0" fmla="*/ 202073 h 206179"/>
              <a:gd name="connsiteX1" fmla="*/ 7023 w 198785"/>
              <a:gd name="connsiteY1" fmla="*/ 158929 h 206179"/>
              <a:gd name="connsiteX2" fmla="*/ 37522 w 198785"/>
              <a:gd name="connsiteY2" fmla="*/ 6281 h 206179"/>
              <a:gd name="connsiteX3" fmla="*/ 194960 w 198785"/>
              <a:gd name="connsiteY3" fmla="*/ 73606 h 206179"/>
              <a:gd name="connsiteX4" fmla="*/ 138318 w 198785"/>
              <a:gd name="connsiteY4" fmla="*/ 202073 h 206179"/>
              <a:gd name="connsiteX0" fmla="*/ 147129 w 207596"/>
              <a:gd name="connsiteY0" fmla="*/ 202073 h 206179"/>
              <a:gd name="connsiteX1" fmla="*/ 15834 w 207596"/>
              <a:gd name="connsiteY1" fmla="*/ 158929 h 206179"/>
              <a:gd name="connsiteX2" fmla="*/ 46333 w 207596"/>
              <a:gd name="connsiteY2" fmla="*/ 6281 h 206179"/>
              <a:gd name="connsiteX3" fmla="*/ 203771 w 207596"/>
              <a:gd name="connsiteY3" fmla="*/ 73606 h 206179"/>
              <a:gd name="connsiteX4" fmla="*/ 147129 w 207596"/>
              <a:gd name="connsiteY4" fmla="*/ 202073 h 206179"/>
              <a:gd name="connsiteX0" fmla="*/ 147129 w 207596"/>
              <a:gd name="connsiteY0" fmla="*/ 202073 h 206179"/>
              <a:gd name="connsiteX1" fmla="*/ 15834 w 207596"/>
              <a:gd name="connsiteY1" fmla="*/ 158929 h 206179"/>
              <a:gd name="connsiteX2" fmla="*/ 46333 w 207596"/>
              <a:gd name="connsiteY2" fmla="*/ 6281 h 206179"/>
              <a:gd name="connsiteX3" fmla="*/ 203771 w 207596"/>
              <a:gd name="connsiteY3" fmla="*/ 73606 h 206179"/>
              <a:gd name="connsiteX4" fmla="*/ 147129 w 207596"/>
              <a:gd name="connsiteY4" fmla="*/ 202073 h 206179"/>
              <a:gd name="connsiteX0" fmla="*/ 147129 w 210875"/>
              <a:gd name="connsiteY0" fmla="*/ 207263 h 211369"/>
              <a:gd name="connsiteX1" fmla="*/ 15834 w 210875"/>
              <a:gd name="connsiteY1" fmla="*/ 164119 h 211369"/>
              <a:gd name="connsiteX2" fmla="*/ 46333 w 210875"/>
              <a:gd name="connsiteY2" fmla="*/ 11471 h 211369"/>
              <a:gd name="connsiteX3" fmla="*/ 203771 w 210875"/>
              <a:gd name="connsiteY3" fmla="*/ 78796 h 211369"/>
              <a:gd name="connsiteX4" fmla="*/ 147129 w 210875"/>
              <a:gd name="connsiteY4" fmla="*/ 207263 h 211369"/>
              <a:gd name="connsiteX0" fmla="*/ 147129 w 213870"/>
              <a:gd name="connsiteY0" fmla="*/ 207263 h 216390"/>
              <a:gd name="connsiteX1" fmla="*/ 15834 w 213870"/>
              <a:gd name="connsiteY1" fmla="*/ 164119 h 216390"/>
              <a:gd name="connsiteX2" fmla="*/ 46333 w 213870"/>
              <a:gd name="connsiteY2" fmla="*/ 11471 h 216390"/>
              <a:gd name="connsiteX3" fmla="*/ 203771 w 213870"/>
              <a:gd name="connsiteY3" fmla="*/ 78796 h 216390"/>
              <a:gd name="connsiteX4" fmla="*/ 147129 w 213870"/>
              <a:gd name="connsiteY4" fmla="*/ 207263 h 216390"/>
              <a:gd name="connsiteX0" fmla="*/ 154863 w 221604"/>
              <a:gd name="connsiteY0" fmla="*/ 207263 h 220924"/>
              <a:gd name="connsiteX1" fmla="*/ 23568 w 221604"/>
              <a:gd name="connsiteY1" fmla="*/ 164119 h 220924"/>
              <a:gd name="connsiteX2" fmla="*/ 54067 w 221604"/>
              <a:gd name="connsiteY2" fmla="*/ 11471 h 220924"/>
              <a:gd name="connsiteX3" fmla="*/ 211505 w 221604"/>
              <a:gd name="connsiteY3" fmla="*/ 78796 h 220924"/>
              <a:gd name="connsiteX4" fmla="*/ 154863 w 221604"/>
              <a:gd name="connsiteY4" fmla="*/ 207263 h 2209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1604" h="220924">
                <a:moveTo>
                  <a:pt x="154863" y="207263"/>
                </a:moveTo>
                <a:cubicBezTo>
                  <a:pt x="98236" y="233965"/>
                  <a:pt x="59062" y="222519"/>
                  <a:pt x="23568" y="164119"/>
                </a:cubicBezTo>
                <a:cubicBezTo>
                  <a:pt x="-11926" y="105719"/>
                  <a:pt x="-11563" y="37395"/>
                  <a:pt x="54067" y="11471"/>
                </a:cubicBezTo>
                <a:cubicBezTo>
                  <a:pt x="119697" y="-14453"/>
                  <a:pt x="185530" y="1736"/>
                  <a:pt x="211505" y="78796"/>
                </a:cubicBezTo>
                <a:cubicBezTo>
                  <a:pt x="237480" y="155856"/>
                  <a:pt x="211490" y="180561"/>
                  <a:pt x="154863" y="207263"/>
                </a:cubicBezTo>
                <a:close/>
              </a:path>
            </a:pathLst>
          </a:custGeom>
          <a:solidFill>
            <a:schemeClr val="accent3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710" name="Freeform: Shape 22">
            <a:extLst>
              <a:ext uri="{FF2B5EF4-FFF2-40B4-BE49-F238E27FC236}">
                <a16:creationId xmlns:a16="http://schemas.microsoft.com/office/drawing/2014/main" id="{6F4569D0-6E0A-3981-C4E9-D0FCBD691617}"/>
              </a:ext>
            </a:extLst>
          </p:cNvPr>
          <p:cNvSpPr/>
          <p:nvPr/>
        </p:nvSpPr>
        <p:spPr>
          <a:xfrm>
            <a:off x="9345974" y="3212293"/>
            <a:ext cx="204568" cy="187539"/>
          </a:xfrm>
          <a:custGeom>
            <a:avLst/>
            <a:gdLst>
              <a:gd name="connsiteX0" fmla="*/ 30480 w 327660"/>
              <a:gd name="connsiteY0" fmla="*/ 320040 h 320040"/>
              <a:gd name="connsiteX1" fmla="*/ 0 w 327660"/>
              <a:gd name="connsiteY1" fmla="*/ 68580 h 320040"/>
              <a:gd name="connsiteX2" fmla="*/ 137160 w 327660"/>
              <a:gd name="connsiteY2" fmla="*/ 22860 h 320040"/>
              <a:gd name="connsiteX3" fmla="*/ 236220 w 327660"/>
              <a:gd name="connsiteY3" fmla="*/ 0 h 320040"/>
              <a:gd name="connsiteX4" fmla="*/ 213360 w 327660"/>
              <a:gd name="connsiteY4" fmla="*/ 76200 h 320040"/>
              <a:gd name="connsiteX5" fmla="*/ 243840 w 327660"/>
              <a:gd name="connsiteY5" fmla="*/ 53340 h 320040"/>
              <a:gd name="connsiteX6" fmla="*/ 312420 w 327660"/>
              <a:gd name="connsiteY6" fmla="*/ 45720 h 320040"/>
              <a:gd name="connsiteX7" fmla="*/ 327660 w 327660"/>
              <a:gd name="connsiteY7" fmla="*/ 152400 h 320040"/>
              <a:gd name="connsiteX8" fmla="*/ 304800 w 327660"/>
              <a:gd name="connsiteY8" fmla="*/ 213360 h 320040"/>
              <a:gd name="connsiteX9" fmla="*/ 327660 w 327660"/>
              <a:gd name="connsiteY9" fmla="*/ 259080 h 320040"/>
              <a:gd name="connsiteX10" fmla="*/ 30480 w 327660"/>
              <a:gd name="connsiteY10" fmla="*/ 320040 h 320040"/>
              <a:gd name="connsiteX0" fmla="*/ 43171 w 340351"/>
              <a:gd name="connsiteY0" fmla="*/ 320040 h 327788"/>
              <a:gd name="connsiteX1" fmla="*/ 12691 w 340351"/>
              <a:gd name="connsiteY1" fmla="*/ 68580 h 327788"/>
              <a:gd name="connsiteX2" fmla="*/ 149851 w 340351"/>
              <a:gd name="connsiteY2" fmla="*/ 22860 h 327788"/>
              <a:gd name="connsiteX3" fmla="*/ 248911 w 340351"/>
              <a:gd name="connsiteY3" fmla="*/ 0 h 327788"/>
              <a:gd name="connsiteX4" fmla="*/ 226051 w 340351"/>
              <a:gd name="connsiteY4" fmla="*/ 76200 h 327788"/>
              <a:gd name="connsiteX5" fmla="*/ 256531 w 340351"/>
              <a:gd name="connsiteY5" fmla="*/ 53340 h 327788"/>
              <a:gd name="connsiteX6" fmla="*/ 325111 w 340351"/>
              <a:gd name="connsiteY6" fmla="*/ 45720 h 327788"/>
              <a:gd name="connsiteX7" fmla="*/ 340351 w 340351"/>
              <a:gd name="connsiteY7" fmla="*/ 152400 h 327788"/>
              <a:gd name="connsiteX8" fmla="*/ 317491 w 340351"/>
              <a:gd name="connsiteY8" fmla="*/ 213360 h 327788"/>
              <a:gd name="connsiteX9" fmla="*/ 340351 w 340351"/>
              <a:gd name="connsiteY9" fmla="*/ 259080 h 327788"/>
              <a:gd name="connsiteX10" fmla="*/ 43171 w 340351"/>
              <a:gd name="connsiteY10" fmla="*/ 320040 h 327788"/>
              <a:gd name="connsiteX0" fmla="*/ 55326 w 352506"/>
              <a:gd name="connsiteY0" fmla="*/ 320040 h 327788"/>
              <a:gd name="connsiteX1" fmla="*/ 24846 w 352506"/>
              <a:gd name="connsiteY1" fmla="*/ 68580 h 327788"/>
              <a:gd name="connsiteX2" fmla="*/ 162006 w 352506"/>
              <a:gd name="connsiteY2" fmla="*/ 22860 h 327788"/>
              <a:gd name="connsiteX3" fmla="*/ 261066 w 352506"/>
              <a:gd name="connsiteY3" fmla="*/ 0 h 327788"/>
              <a:gd name="connsiteX4" fmla="*/ 238206 w 352506"/>
              <a:gd name="connsiteY4" fmla="*/ 76200 h 327788"/>
              <a:gd name="connsiteX5" fmla="*/ 268686 w 352506"/>
              <a:gd name="connsiteY5" fmla="*/ 53340 h 327788"/>
              <a:gd name="connsiteX6" fmla="*/ 337266 w 352506"/>
              <a:gd name="connsiteY6" fmla="*/ 45720 h 327788"/>
              <a:gd name="connsiteX7" fmla="*/ 352506 w 352506"/>
              <a:gd name="connsiteY7" fmla="*/ 152400 h 327788"/>
              <a:gd name="connsiteX8" fmla="*/ 329646 w 352506"/>
              <a:gd name="connsiteY8" fmla="*/ 213360 h 327788"/>
              <a:gd name="connsiteX9" fmla="*/ 352506 w 352506"/>
              <a:gd name="connsiteY9" fmla="*/ 259080 h 327788"/>
              <a:gd name="connsiteX10" fmla="*/ 55326 w 352506"/>
              <a:gd name="connsiteY10" fmla="*/ 320040 h 327788"/>
              <a:gd name="connsiteX0" fmla="*/ 55326 w 352506"/>
              <a:gd name="connsiteY0" fmla="*/ 365284 h 373032"/>
              <a:gd name="connsiteX1" fmla="*/ 24846 w 352506"/>
              <a:gd name="connsiteY1" fmla="*/ 113824 h 373032"/>
              <a:gd name="connsiteX2" fmla="*/ 162006 w 352506"/>
              <a:gd name="connsiteY2" fmla="*/ 68104 h 373032"/>
              <a:gd name="connsiteX3" fmla="*/ 187248 w 352506"/>
              <a:gd name="connsiteY3" fmla="*/ 0 h 373032"/>
              <a:gd name="connsiteX4" fmla="*/ 238206 w 352506"/>
              <a:gd name="connsiteY4" fmla="*/ 121444 h 373032"/>
              <a:gd name="connsiteX5" fmla="*/ 268686 w 352506"/>
              <a:gd name="connsiteY5" fmla="*/ 98584 h 373032"/>
              <a:gd name="connsiteX6" fmla="*/ 337266 w 352506"/>
              <a:gd name="connsiteY6" fmla="*/ 90964 h 373032"/>
              <a:gd name="connsiteX7" fmla="*/ 352506 w 352506"/>
              <a:gd name="connsiteY7" fmla="*/ 197644 h 373032"/>
              <a:gd name="connsiteX8" fmla="*/ 329646 w 352506"/>
              <a:gd name="connsiteY8" fmla="*/ 258604 h 373032"/>
              <a:gd name="connsiteX9" fmla="*/ 352506 w 352506"/>
              <a:gd name="connsiteY9" fmla="*/ 304324 h 373032"/>
              <a:gd name="connsiteX10" fmla="*/ 55326 w 352506"/>
              <a:gd name="connsiteY10" fmla="*/ 365284 h 373032"/>
              <a:gd name="connsiteX0" fmla="*/ 55326 w 352506"/>
              <a:gd name="connsiteY0" fmla="*/ 336709 h 344457"/>
              <a:gd name="connsiteX1" fmla="*/ 24846 w 352506"/>
              <a:gd name="connsiteY1" fmla="*/ 85249 h 344457"/>
              <a:gd name="connsiteX2" fmla="*/ 162006 w 352506"/>
              <a:gd name="connsiteY2" fmla="*/ 39529 h 344457"/>
              <a:gd name="connsiteX3" fmla="*/ 242016 w 352506"/>
              <a:gd name="connsiteY3" fmla="*/ 0 h 344457"/>
              <a:gd name="connsiteX4" fmla="*/ 238206 w 352506"/>
              <a:gd name="connsiteY4" fmla="*/ 92869 h 344457"/>
              <a:gd name="connsiteX5" fmla="*/ 268686 w 352506"/>
              <a:gd name="connsiteY5" fmla="*/ 70009 h 344457"/>
              <a:gd name="connsiteX6" fmla="*/ 337266 w 352506"/>
              <a:gd name="connsiteY6" fmla="*/ 62389 h 344457"/>
              <a:gd name="connsiteX7" fmla="*/ 352506 w 352506"/>
              <a:gd name="connsiteY7" fmla="*/ 169069 h 344457"/>
              <a:gd name="connsiteX8" fmla="*/ 329646 w 352506"/>
              <a:gd name="connsiteY8" fmla="*/ 230029 h 344457"/>
              <a:gd name="connsiteX9" fmla="*/ 352506 w 352506"/>
              <a:gd name="connsiteY9" fmla="*/ 275749 h 344457"/>
              <a:gd name="connsiteX10" fmla="*/ 55326 w 352506"/>
              <a:gd name="connsiteY10" fmla="*/ 336709 h 344457"/>
              <a:gd name="connsiteX0" fmla="*/ 55326 w 352506"/>
              <a:gd name="connsiteY0" fmla="*/ 338162 h 345910"/>
              <a:gd name="connsiteX1" fmla="*/ 24846 w 352506"/>
              <a:gd name="connsiteY1" fmla="*/ 86702 h 345910"/>
              <a:gd name="connsiteX2" fmla="*/ 162006 w 352506"/>
              <a:gd name="connsiteY2" fmla="*/ 40982 h 345910"/>
              <a:gd name="connsiteX3" fmla="*/ 242016 w 352506"/>
              <a:gd name="connsiteY3" fmla="*/ 1453 h 345910"/>
              <a:gd name="connsiteX4" fmla="*/ 238206 w 352506"/>
              <a:gd name="connsiteY4" fmla="*/ 94322 h 345910"/>
              <a:gd name="connsiteX5" fmla="*/ 268686 w 352506"/>
              <a:gd name="connsiteY5" fmla="*/ 71462 h 345910"/>
              <a:gd name="connsiteX6" fmla="*/ 337266 w 352506"/>
              <a:gd name="connsiteY6" fmla="*/ 63842 h 345910"/>
              <a:gd name="connsiteX7" fmla="*/ 352506 w 352506"/>
              <a:gd name="connsiteY7" fmla="*/ 170522 h 345910"/>
              <a:gd name="connsiteX8" fmla="*/ 329646 w 352506"/>
              <a:gd name="connsiteY8" fmla="*/ 231482 h 345910"/>
              <a:gd name="connsiteX9" fmla="*/ 352506 w 352506"/>
              <a:gd name="connsiteY9" fmla="*/ 277202 h 345910"/>
              <a:gd name="connsiteX10" fmla="*/ 55326 w 352506"/>
              <a:gd name="connsiteY10" fmla="*/ 338162 h 345910"/>
              <a:gd name="connsiteX0" fmla="*/ 55326 w 352794"/>
              <a:gd name="connsiteY0" fmla="*/ 338162 h 345910"/>
              <a:gd name="connsiteX1" fmla="*/ 24846 w 352794"/>
              <a:gd name="connsiteY1" fmla="*/ 86702 h 345910"/>
              <a:gd name="connsiteX2" fmla="*/ 162006 w 352794"/>
              <a:gd name="connsiteY2" fmla="*/ 40982 h 345910"/>
              <a:gd name="connsiteX3" fmla="*/ 242016 w 352794"/>
              <a:gd name="connsiteY3" fmla="*/ 1453 h 345910"/>
              <a:gd name="connsiteX4" fmla="*/ 238206 w 352794"/>
              <a:gd name="connsiteY4" fmla="*/ 94322 h 345910"/>
              <a:gd name="connsiteX5" fmla="*/ 268686 w 352794"/>
              <a:gd name="connsiteY5" fmla="*/ 71462 h 345910"/>
              <a:gd name="connsiteX6" fmla="*/ 337266 w 352794"/>
              <a:gd name="connsiteY6" fmla="*/ 63842 h 345910"/>
              <a:gd name="connsiteX7" fmla="*/ 352506 w 352794"/>
              <a:gd name="connsiteY7" fmla="*/ 170522 h 345910"/>
              <a:gd name="connsiteX8" fmla="*/ 329646 w 352794"/>
              <a:gd name="connsiteY8" fmla="*/ 231482 h 345910"/>
              <a:gd name="connsiteX9" fmla="*/ 352506 w 352794"/>
              <a:gd name="connsiteY9" fmla="*/ 277202 h 345910"/>
              <a:gd name="connsiteX10" fmla="*/ 55326 w 352794"/>
              <a:gd name="connsiteY10" fmla="*/ 338162 h 345910"/>
              <a:gd name="connsiteX0" fmla="*/ 66444 w 363912"/>
              <a:gd name="connsiteY0" fmla="*/ 338162 h 361700"/>
              <a:gd name="connsiteX1" fmla="*/ 35964 w 363912"/>
              <a:gd name="connsiteY1" fmla="*/ 86702 h 361700"/>
              <a:gd name="connsiteX2" fmla="*/ 173124 w 363912"/>
              <a:gd name="connsiteY2" fmla="*/ 40982 h 361700"/>
              <a:gd name="connsiteX3" fmla="*/ 253134 w 363912"/>
              <a:gd name="connsiteY3" fmla="*/ 1453 h 361700"/>
              <a:gd name="connsiteX4" fmla="*/ 249324 w 363912"/>
              <a:gd name="connsiteY4" fmla="*/ 94322 h 361700"/>
              <a:gd name="connsiteX5" fmla="*/ 279804 w 363912"/>
              <a:gd name="connsiteY5" fmla="*/ 71462 h 361700"/>
              <a:gd name="connsiteX6" fmla="*/ 348384 w 363912"/>
              <a:gd name="connsiteY6" fmla="*/ 63842 h 361700"/>
              <a:gd name="connsiteX7" fmla="*/ 363624 w 363912"/>
              <a:gd name="connsiteY7" fmla="*/ 170522 h 361700"/>
              <a:gd name="connsiteX8" fmla="*/ 340764 w 363912"/>
              <a:gd name="connsiteY8" fmla="*/ 231482 h 361700"/>
              <a:gd name="connsiteX9" fmla="*/ 363624 w 363912"/>
              <a:gd name="connsiteY9" fmla="*/ 277202 h 361700"/>
              <a:gd name="connsiteX10" fmla="*/ 66444 w 363912"/>
              <a:gd name="connsiteY10" fmla="*/ 338162 h 361700"/>
              <a:gd name="connsiteX0" fmla="*/ 66444 w 363912"/>
              <a:gd name="connsiteY0" fmla="*/ 338162 h 375491"/>
              <a:gd name="connsiteX1" fmla="*/ 35964 w 363912"/>
              <a:gd name="connsiteY1" fmla="*/ 86702 h 375491"/>
              <a:gd name="connsiteX2" fmla="*/ 173124 w 363912"/>
              <a:gd name="connsiteY2" fmla="*/ 40982 h 375491"/>
              <a:gd name="connsiteX3" fmla="*/ 253134 w 363912"/>
              <a:gd name="connsiteY3" fmla="*/ 1453 h 375491"/>
              <a:gd name="connsiteX4" fmla="*/ 249324 w 363912"/>
              <a:gd name="connsiteY4" fmla="*/ 94322 h 375491"/>
              <a:gd name="connsiteX5" fmla="*/ 279804 w 363912"/>
              <a:gd name="connsiteY5" fmla="*/ 71462 h 375491"/>
              <a:gd name="connsiteX6" fmla="*/ 348384 w 363912"/>
              <a:gd name="connsiteY6" fmla="*/ 63842 h 375491"/>
              <a:gd name="connsiteX7" fmla="*/ 363624 w 363912"/>
              <a:gd name="connsiteY7" fmla="*/ 170522 h 375491"/>
              <a:gd name="connsiteX8" fmla="*/ 340764 w 363912"/>
              <a:gd name="connsiteY8" fmla="*/ 231482 h 375491"/>
              <a:gd name="connsiteX9" fmla="*/ 363624 w 363912"/>
              <a:gd name="connsiteY9" fmla="*/ 277202 h 375491"/>
              <a:gd name="connsiteX10" fmla="*/ 66444 w 363912"/>
              <a:gd name="connsiteY10" fmla="*/ 338162 h 375491"/>
              <a:gd name="connsiteX0" fmla="*/ 66444 w 363912"/>
              <a:gd name="connsiteY0" fmla="*/ 338162 h 375491"/>
              <a:gd name="connsiteX1" fmla="*/ 35964 w 363912"/>
              <a:gd name="connsiteY1" fmla="*/ 86702 h 375491"/>
              <a:gd name="connsiteX2" fmla="*/ 173124 w 363912"/>
              <a:gd name="connsiteY2" fmla="*/ 40982 h 375491"/>
              <a:gd name="connsiteX3" fmla="*/ 253134 w 363912"/>
              <a:gd name="connsiteY3" fmla="*/ 1453 h 375491"/>
              <a:gd name="connsiteX4" fmla="*/ 249324 w 363912"/>
              <a:gd name="connsiteY4" fmla="*/ 94322 h 375491"/>
              <a:gd name="connsiteX5" fmla="*/ 279804 w 363912"/>
              <a:gd name="connsiteY5" fmla="*/ 71462 h 375491"/>
              <a:gd name="connsiteX6" fmla="*/ 348384 w 363912"/>
              <a:gd name="connsiteY6" fmla="*/ 63842 h 375491"/>
              <a:gd name="connsiteX7" fmla="*/ 363624 w 363912"/>
              <a:gd name="connsiteY7" fmla="*/ 170522 h 375491"/>
              <a:gd name="connsiteX8" fmla="*/ 340764 w 363912"/>
              <a:gd name="connsiteY8" fmla="*/ 231482 h 375491"/>
              <a:gd name="connsiteX9" fmla="*/ 363624 w 363912"/>
              <a:gd name="connsiteY9" fmla="*/ 277202 h 375491"/>
              <a:gd name="connsiteX10" fmla="*/ 66444 w 363912"/>
              <a:gd name="connsiteY10" fmla="*/ 338162 h 375491"/>
              <a:gd name="connsiteX0" fmla="*/ 66444 w 363624"/>
              <a:gd name="connsiteY0" fmla="*/ 338162 h 375491"/>
              <a:gd name="connsiteX1" fmla="*/ 35964 w 363624"/>
              <a:gd name="connsiteY1" fmla="*/ 86702 h 375491"/>
              <a:gd name="connsiteX2" fmla="*/ 173124 w 363624"/>
              <a:gd name="connsiteY2" fmla="*/ 40982 h 375491"/>
              <a:gd name="connsiteX3" fmla="*/ 253134 w 363624"/>
              <a:gd name="connsiteY3" fmla="*/ 1453 h 375491"/>
              <a:gd name="connsiteX4" fmla="*/ 249324 w 363624"/>
              <a:gd name="connsiteY4" fmla="*/ 94322 h 375491"/>
              <a:gd name="connsiteX5" fmla="*/ 279804 w 363624"/>
              <a:gd name="connsiteY5" fmla="*/ 71462 h 375491"/>
              <a:gd name="connsiteX6" fmla="*/ 348384 w 363624"/>
              <a:gd name="connsiteY6" fmla="*/ 63842 h 375491"/>
              <a:gd name="connsiteX7" fmla="*/ 363624 w 363624"/>
              <a:gd name="connsiteY7" fmla="*/ 170522 h 375491"/>
              <a:gd name="connsiteX8" fmla="*/ 340764 w 363624"/>
              <a:gd name="connsiteY8" fmla="*/ 231482 h 375491"/>
              <a:gd name="connsiteX9" fmla="*/ 363624 w 363624"/>
              <a:gd name="connsiteY9" fmla="*/ 277202 h 375491"/>
              <a:gd name="connsiteX10" fmla="*/ 66444 w 363624"/>
              <a:gd name="connsiteY10" fmla="*/ 338162 h 375491"/>
              <a:gd name="connsiteX0" fmla="*/ 66444 w 363624"/>
              <a:gd name="connsiteY0" fmla="*/ 338162 h 375491"/>
              <a:gd name="connsiteX1" fmla="*/ 35964 w 363624"/>
              <a:gd name="connsiteY1" fmla="*/ 86702 h 375491"/>
              <a:gd name="connsiteX2" fmla="*/ 173124 w 363624"/>
              <a:gd name="connsiteY2" fmla="*/ 40982 h 375491"/>
              <a:gd name="connsiteX3" fmla="*/ 253134 w 363624"/>
              <a:gd name="connsiteY3" fmla="*/ 1453 h 375491"/>
              <a:gd name="connsiteX4" fmla="*/ 249324 w 363624"/>
              <a:gd name="connsiteY4" fmla="*/ 94322 h 375491"/>
              <a:gd name="connsiteX5" fmla="*/ 279804 w 363624"/>
              <a:gd name="connsiteY5" fmla="*/ 71462 h 375491"/>
              <a:gd name="connsiteX6" fmla="*/ 348384 w 363624"/>
              <a:gd name="connsiteY6" fmla="*/ 63842 h 375491"/>
              <a:gd name="connsiteX7" fmla="*/ 363624 w 363624"/>
              <a:gd name="connsiteY7" fmla="*/ 170522 h 375491"/>
              <a:gd name="connsiteX8" fmla="*/ 340764 w 363624"/>
              <a:gd name="connsiteY8" fmla="*/ 231482 h 375491"/>
              <a:gd name="connsiteX9" fmla="*/ 363624 w 363624"/>
              <a:gd name="connsiteY9" fmla="*/ 277202 h 375491"/>
              <a:gd name="connsiteX10" fmla="*/ 66444 w 363624"/>
              <a:gd name="connsiteY10" fmla="*/ 338162 h 375491"/>
              <a:gd name="connsiteX0" fmla="*/ 66444 w 363624"/>
              <a:gd name="connsiteY0" fmla="*/ 338162 h 375491"/>
              <a:gd name="connsiteX1" fmla="*/ 35964 w 363624"/>
              <a:gd name="connsiteY1" fmla="*/ 86702 h 375491"/>
              <a:gd name="connsiteX2" fmla="*/ 173124 w 363624"/>
              <a:gd name="connsiteY2" fmla="*/ 40982 h 375491"/>
              <a:gd name="connsiteX3" fmla="*/ 253134 w 363624"/>
              <a:gd name="connsiteY3" fmla="*/ 1453 h 375491"/>
              <a:gd name="connsiteX4" fmla="*/ 249324 w 363624"/>
              <a:gd name="connsiteY4" fmla="*/ 94322 h 375491"/>
              <a:gd name="connsiteX5" fmla="*/ 279804 w 363624"/>
              <a:gd name="connsiteY5" fmla="*/ 71462 h 375491"/>
              <a:gd name="connsiteX6" fmla="*/ 348384 w 363624"/>
              <a:gd name="connsiteY6" fmla="*/ 63842 h 375491"/>
              <a:gd name="connsiteX7" fmla="*/ 363624 w 363624"/>
              <a:gd name="connsiteY7" fmla="*/ 170522 h 375491"/>
              <a:gd name="connsiteX8" fmla="*/ 340764 w 363624"/>
              <a:gd name="connsiteY8" fmla="*/ 231482 h 375491"/>
              <a:gd name="connsiteX9" fmla="*/ 363624 w 363624"/>
              <a:gd name="connsiteY9" fmla="*/ 277202 h 375491"/>
              <a:gd name="connsiteX10" fmla="*/ 66444 w 363624"/>
              <a:gd name="connsiteY10" fmla="*/ 338162 h 375491"/>
              <a:gd name="connsiteX0" fmla="*/ 66444 w 363624"/>
              <a:gd name="connsiteY0" fmla="*/ 338162 h 375491"/>
              <a:gd name="connsiteX1" fmla="*/ 35964 w 363624"/>
              <a:gd name="connsiteY1" fmla="*/ 86702 h 375491"/>
              <a:gd name="connsiteX2" fmla="*/ 173124 w 363624"/>
              <a:gd name="connsiteY2" fmla="*/ 40982 h 375491"/>
              <a:gd name="connsiteX3" fmla="*/ 253134 w 363624"/>
              <a:gd name="connsiteY3" fmla="*/ 1453 h 375491"/>
              <a:gd name="connsiteX4" fmla="*/ 249324 w 363624"/>
              <a:gd name="connsiteY4" fmla="*/ 94322 h 375491"/>
              <a:gd name="connsiteX5" fmla="*/ 279804 w 363624"/>
              <a:gd name="connsiteY5" fmla="*/ 71462 h 375491"/>
              <a:gd name="connsiteX6" fmla="*/ 348384 w 363624"/>
              <a:gd name="connsiteY6" fmla="*/ 63842 h 375491"/>
              <a:gd name="connsiteX7" fmla="*/ 363624 w 363624"/>
              <a:gd name="connsiteY7" fmla="*/ 170522 h 375491"/>
              <a:gd name="connsiteX8" fmla="*/ 340764 w 363624"/>
              <a:gd name="connsiteY8" fmla="*/ 231482 h 375491"/>
              <a:gd name="connsiteX9" fmla="*/ 363624 w 363624"/>
              <a:gd name="connsiteY9" fmla="*/ 277202 h 375491"/>
              <a:gd name="connsiteX10" fmla="*/ 66444 w 363624"/>
              <a:gd name="connsiteY10" fmla="*/ 338162 h 375491"/>
              <a:gd name="connsiteX0" fmla="*/ 66444 w 363624"/>
              <a:gd name="connsiteY0" fmla="*/ 338162 h 375491"/>
              <a:gd name="connsiteX1" fmla="*/ 35964 w 363624"/>
              <a:gd name="connsiteY1" fmla="*/ 86702 h 375491"/>
              <a:gd name="connsiteX2" fmla="*/ 173124 w 363624"/>
              <a:gd name="connsiteY2" fmla="*/ 40982 h 375491"/>
              <a:gd name="connsiteX3" fmla="*/ 253134 w 363624"/>
              <a:gd name="connsiteY3" fmla="*/ 1453 h 375491"/>
              <a:gd name="connsiteX4" fmla="*/ 249324 w 363624"/>
              <a:gd name="connsiteY4" fmla="*/ 94322 h 375491"/>
              <a:gd name="connsiteX5" fmla="*/ 279804 w 363624"/>
              <a:gd name="connsiteY5" fmla="*/ 71462 h 375491"/>
              <a:gd name="connsiteX6" fmla="*/ 348384 w 363624"/>
              <a:gd name="connsiteY6" fmla="*/ 63842 h 375491"/>
              <a:gd name="connsiteX7" fmla="*/ 363624 w 363624"/>
              <a:gd name="connsiteY7" fmla="*/ 170522 h 375491"/>
              <a:gd name="connsiteX8" fmla="*/ 340764 w 363624"/>
              <a:gd name="connsiteY8" fmla="*/ 231482 h 375491"/>
              <a:gd name="connsiteX9" fmla="*/ 363624 w 363624"/>
              <a:gd name="connsiteY9" fmla="*/ 277202 h 375491"/>
              <a:gd name="connsiteX10" fmla="*/ 66444 w 363624"/>
              <a:gd name="connsiteY10" fmla="*/ 338162 h 375491"/>
              <a:gd name="connsiteX0" fmla="*/ 66444 w 363624"/>
              <a:gd name="connsiteY0" fmla="*/ 337102 h 374431"/>
              <a:gd name="connsiteX1" fmla="*/ 35964 w 363624"/>
              <a:gd name="connsiteY1" fmla="*/ 85642 h 374431"/>
              <a:gd name="connsiteX2" fmla="*/ 173124 w 363624"/>
              <a:gd name="connsiteY2" fmla="*/ 39922 h 374431"/>
              <a:gd name="connsiteX3" fmla="*/ 253134 w 363624"/>
              <a:gd name="connsiteY3" fmla="*/ 393 h 374431"/>
              <a:gd name="connsiteX4" fmla="*/ 249324 w 363624"/>
              <a:gd name="connsiteY4" fmla="*/ 93262 h 374431"/>
              <a:gd name="connsiteX5" fmla="*/ 279804 w 363624"/>
              <a:gd name="connsiteY5" fmla="*/ 70402 h 374431"/>
              <a:gd name="connsiteX6" fmla="*/ 348384 w 363624"/>
              <a:gd name="connsiteY6" fmla="*/ 62782 h 374431"/>
              <a:gd name="connsiteX7" fmla="*/ 363624 w 363624"/>
              <a:gd name="connsiteY7" fmla="*/ 169462 h 374431"/>
              <a:gd name="connsiteX8" fmla="*/ 340764 w 363624"/>
              <a:gd name="connsiteY8" fmla="*/ 230422 h 374431"/>
              <a:gd name="connsiteX9" fmla="*/ 363624 w 363624"/>
              <a:gd name="connsiteY9" fmla="*/ 276142 h 374431"/>
              <a:gd name="connsiteX10" fmla="*/ 66444 w 363624"/>
              <a:gd name="connsiteY10" fmla="*/ 337102 h 374431"/>
              <a:gd name="connsiteX0" fmla="*/ 66444 w 363624"/>
              <a:gd name="connsiteY0" fmla="*/ 337102 h 374431"/>
              <a:gd name="connsiteX1" fmla="*/ 35964 w 363624"/>
              <a:gd name="connsiteY1" fmla="*/ 85642 h 374431"/>
              <a:gd name="connsiteX2" fmla="*/ 173124 w 363624"/>
              <a:gd name="connsiteY2" fmla="*/ 39922 h 374431"/>
              <a:gd name="connsiteX3" fmla="*/ 253134 w 363624"/>
              <a:gd name="connsiteY3" fmla="*/ 393 h 374431"/>
              <a:gd name="connsiteX4" fmla="*/ 249324 w 363624"/>
              <a:gd name="connsiteY4" fmla="*/ 93262 h 374431"/>
              <a:gd name="connsiteX5" fmla="*/ 275041 w 363624"/>
              <a:gd name="connsiteY5" fmla="*/ 58496 h 374431"/>
              <a:gd name="connsiteX6" fmla="*/ 348384 w 363624"/>
              <a:gd name="connsiteY6" fmla="*/ 62782 h 374431"/>
              <a:gd name="connsiteX7" fmla="*/ 363624 w 363624"/>
              <a:gd name="connsiteY7" fmla="*/ 169462 h 374431"/>
              <a:gd name="connsiteX8" fmla="*/ 340764 w 363624"/>
              <a:gd name="connsiteY8" fmla="*/ 230422 h 374431"/>
              <a:gd name="connsiteX9" fmla="*/ 363624 w 363624"/>
              <a:gd name="connsiteY9" fmla="*/ 276142 h 374431"/>
              <a:gd name="connsiteX10" fmla="*/ 66444 w 363624"/>
              <a:gd name="connsiteY10" fmla="*/ 337102 h 374431"/>
              <a:gd name="connsiteX0" fmla="*/ 66444 w 363624"/>
              <a:gd name="connsiteY0" fmla="*/ 337102 h 374431"/>
              <a:gd name="connsiteX1" fmla="*/ 35964 w 363624"/>
              <a:gd name="connsiteY1" fmla="*/ 85642 h 374431"/>
              <a:gd name="connsiteX2" fmla="*/ 173124 w 363624"/>
              <a:gd name="connsiteY2" fmla="*/ 39922 h 374431"/>
              <a:gd name="connsiteX3" fmla="*/ 253134 w 363624"/>
              <a:gd name="connsiteY3" fmla="*/ 393 h 374431"/>
              <a:gd name="connsiteX4" fmla="*/ 249324 w 363624"/>
              <a:gd name="connsiteY4" fmla="*/ 93262 h 374431"/>
              <a:gd name="connsiteX5" fmla="*/ 275041 w 363624"/>
              <a:gd name="connsiteY5" fmla="*/ 58496 h 374431"/>
              <a:gd name="connsiteX6" fmla="*/ 348384 w 363624"/>
              <a:gd name="connsiteY6" fmla="*/ 62782 h 374431"/>
              <a:gd name="connsiteX7" fmla="*/ 363624 w 363624"/>
              <a:gd name="connsiteY7" fmla="*/ 169462 h 374431"/>
              <a:gd name="connsiteX8" fmla="*/ 340764 w 363624"/>
              <a:gd name="connsiteY8" fmla="*/ 230422 h 374431"/>
              <a:gd name="connsiteX9" fmla="*/ 363624 w 363624"/>
              <a:gd name="connsiteY9" fmla="*/ 276142 h 374431"/>
              <a:gd name="connsiteX10" fmla="*/ 66444 w 363624"/>
              <a:gd name="connsiteY10" fmla="*/ 337102 h 374431"/>
              <a:gd name="connsiteX0" fmla="*/ 66444 w 363624"/>
              <a:gd name="connsiteY0" fmla="*/ 337102 h 374431"/>
              <a:gd name="connsiteX1" fmla="*/ 35964 w 363624"/>
              <a:gd name="connsiteY1" fmla="*/ 85642 h 374431"/>
              <a:gd name="connsiteX2" fmla="*/ 173124 w 363624"/>
              <a:gd name="connsiteY2" fmla="*/ 39922 h 374431"/>
              <a:gd name="connsiteX3" fmla="*/ 253134 w 363624"/>
              <a:gd name="connsiteY3" fmla="*/ 393 h 374431"/>
              <a:gd name="connsiteX4" fmla="*/ 249324 w 363624"/>
              <a:gd name="connsiteY4" fmla="*/ 93262 h 374431"/>
              <a:gd name="connsiteX5" fmla="*/ 275041 w 363624"/>
              <a:gd name="connsiteY5" fmla="*/ 58496 h 374431"/>
              <a:gd name="connsiteX6" fmla="*/ 348384 w 363624"/>
              <a:gd name="connsiteY6" fmla="*/ 62782 h 374431"/>
              <a:gd name="connsiteX7" fmla="*/ 363624 w 363624"/>
              <a:gd name="connsiteY7" fmla="*/ 169462 h 374431"/>
              <a:gd name="connsiteX8" fmla="*/ 340764 w 363624"/>
              <a:gd name="connsiteY8" fmla="*/ 230422 h 374431"/>
              <a:gd name="connsiteX9" fmla="*/ 363624 w 363624"/>
              <a:gd name="connsiteY9" fmla="*/ 276142 h 374431"/>
              <a:gd name="connsiteX10" fmla="*/ 66444 w 363624"/>
              <a:gd name="connsiteY10" fmla="*/ 337102 h 374431"/>
              <a:gd name="connsiteX0" fmla="*/ 57375 w 354555"/>
              <a:gd name="connsiteY0" fmla="*/ 337102 h 374431"/>
              <a:gd name="connsiteX1" fmla="*/ 26895 w 354555"/>
              <a:gd name="connsiteY1" fmla="*/ 85642 h 374431"/>
              <a:gd name="connsiteX2" fmla="*/ 164055 w 354555"/>
              <a:gd name="connsiteY2" fmla="*/ 39922 h 374431"/>
              <a:gd name="connsiteX3" fmla="*/ 244065 w 354555"/>
              <a:gd name="connsiteY3" fmla="*/ 393 h 374431"/>
              <a:gd name="connsiteX4" fmla="*/ 240255 w 354555"/>
              <a:gd name="connsiteY4" fmla="*/ 93262 h 374431"/>
              <a:gd name="connsiteX5" fmla="*/ 265972 w 354555"/>
              <a:gd name="connsiteY5" fmla="*/ 58496 h 374431"/>
              <a:gd name="connsiteX6" fmla="*/ 339315 w 354555"/>
              <a:gd name="connsiteY6" fmla="*/ 62782 h 374431"/>
              <a:gd name="connsiteX7" fmla="*/ 354555 w 354555"/>
              <a:gd name="connsiteY7" fmla="*/ 169462 h 374431"/>
              <a:gd name="connsiteX8" fmla="*/ 331695 w 354555"/>
              <a:gd name="connsiteY8" fmla="*/ 230422 h 374431"/>
              <a:gd name="connsiteX9" fmla="*/ 354555 w 354555"/>
              <a:gd name="connsiteY9" fmla="*/ 276142 h 374431"/>
              <a:gd name="connsiteX10" fmla="*/ 57375 w 354555"/>
              <a:gd name="connsiteY10" fmla="*/ 337102 h 374431"/>
              <a:gd name="connsiteX0" fmla="*/ 57375 w 354555"/>
              <a:gd name="connsiteY0" fmla="*/ 337102 h 374431"/>
              <a:gd name="connsiteX1" fmla="*/ 26895 w 354555"/>
              <a:gd name="connsiteY1" fmla="*/ 85642 h 374431"/>
              <a:gd name="connsiteX2" fmla="*/ 164055 w 354555"/>
              <a:gd name="connsiteY2" fmla="*/ 39922 h 374431"/>
              <a:gd name="connsiteX3" fmla="*/ 244065 w 354555"/>
              <a:gd name="connsiteY3" fmla="*/ 393 h 374431"/>
              <a:gd name="connsiteX4" fmla="*/ 240255 w 354555"/>
              <a:gd name="connsiteY4" fmla="*/ 93262 h 374431"/>
              <a:gd name="connsiteX5" fmla="*/ 265972 w 354555"/>
              <a:gd name="connsiteY5" fmla="*/ 58496 h 374431"/>
              <a:gd name="connsiteX6" fmla="*/ 339315 w 354555"/>
              <a:gd name="connsiteY6" fmla="*/ 62782 h 374431"/>
              <a:gd name="connsiteX7" fmla="*/ 354555 w 354555"/>
              <a:gd name="connsiteY7" fmla="*/ 169462 h 374431"/>
              <a:gd name="connsiteX8" fmla="*/ 331695 w 354555"/>
              <a:gd name="connsiteY8" fmla="*/ 230422 h 374431"/>
              <a:gd name="connsiteX9" fmla="*/ 354555 w 354555"/>
              <a:gd name="connsiteY9" fmla="*/ 276142 h 374431"/>
              <a:gd name="connsiteX10" fmla="*/ 57375 w 354555"/>
              <a:gd name="connsiteY10" fmla="*/ 337102 h 374431"/>
              <a:gd name="connsiteX0" fmla="*/ 61119 w 358299"/>
              <a:gd name="connsiteY0" fmla="*/ 337102 h 374431"/>
              <a:gd name="connsiteX1" fmla="*/ 1589 w 358299"/>
              <a:gd name="connsiteY1" fmla="*/ 173748 h 374431"/>
              <a:gd name="connsiteX2" fmla="*/ 30639 w 358299"/>
              <a:gd name="connsiteY2" fmla="*/ 85642 h 374431"/>
              <a:gd name="connsiteX3" fmla="*/ 167799 w 358299"/>
              <a:gd name="connsiteY3" fmla="*/ 39922 h 374431"/>
              <a:gd name="connsiteX4" fmla="*/ 247809 w 358299"/>
              <a:gd name="connsiteY4" fmla="*/ 393 h 374431"/>
              <a:gd name="connsiteX5" fmla="*/ 243999 w 358299"/>
              <a:gd name="connsiteY5" fmla="*/ 93262 h 374431"/>
              <a:gd name="connsiteX6" fmla="*/ 269716 w 358299"/>
              <a:gd name="connsiteY6" fmla="*/ 58496 h 374431"/>
              <a:gd name="connsiteX7" fmla="*/ 343059 w 358299"/>
              <a:gd name="connsiteY7" fmla="*/ 62782 h 374431"/>
              <a:gd name="connsiteX8" fmla="*/ 358299 w 358299"/>
              <a:gd name="connsiteY8" fmla="*/ 169462 h 374431"/>
              <a:gd name="connsiteX9" fmla="*/ 335439 w 358299"/>
              <a:gd name="connsiteY9" fmla="*/ 230422 h 374431"/>
              <a:gd name="connsiteX10" fmla="*/ 358299 w 358299"/>
              <a:gd name="connsiteY10" fmla="*/ 276142 h 374431"/>
              <a:gd name="connsiteX11" fmla="*/ 61119 w 358299"/>
              <a:gd name="connsiteY11" fmla="*/ 337102 h 374431"/>
              <a:gd name="connsiteX0" fmla="*/ 61119 w 358299"/>
              <a:gd name="connsiteY0" fmla="*/ 337102 h 374431"/>
              <a:gd name="connsiteX1" fmla="*/ 1589 w 358299"/>
              <a:gd name="connsiteY1" fmla="*/ 173748 h 374431"/>
              <a:gd name="connsiteX2" fmla="*/ 30639 w 358299"/>
              <a:gd name="connsiteY2" fmla="*/ 85642 h 374431"/>
              <a:gd name="connsiteX3" fmla="*/ 167799 w 358299"/>
              <a:gd name="connsiteY3" fmla="*/ 39922 h 374431"/>
              <a:gd name="connsiteX4" fmla="*/ 247809 w 358299"/>
              <a:gd name="connsiteY4" fmla="*/ 393 h 374431"/>
              <a:gd name="connsiteX5" fmla="*/ 243999 w 358299"/>
              <a:gd name="connsiteY5" fmla="*/ 93262 h 374431"/>
              <a:gd name="connsiteX6" fmla="*/ 269716 w 358299"/>
              <a:gd name="connsiteY6" fmla="*/ 58496 h 374431"/>
              <a:gd name="connsiteX7" fmla="*/ 343059 w 358299"/>
              <a:gd name="connsiteY7" fmla="*/ 62782 h 374431"/>
              <a:gd name="connsiteX8" fmla="*/ 358299 w 358299"/>
              <a:gd name="connsiteY8" fmla="*/ 169462 h 374431"/>
              <a:gd name="connsiteX9" fmla="*/ 335439 w 358299"/>
              <a:gd name="connsiteY9" fmla="*/ 230422 h 374431"/>
              <a:gd name="connsiteX10" fmla="*/ 358299 w 358299"/>
              <a:gd name="connsiteY10" fmla="*/ 276142 h 374431"/>
              <a:gd name="connsiteX11" fmla="*/ 61119 w 358299"/>
              <a:gd name="connsiteY11" fmla="*/ 337102 h 374431"/>
              <a:gd name="connsiteX0" fmla="*/ 67785 w 364965"/>
              <a:gd name="connsiteY0" fmla="*/ 337102 h 351496"/>
              <a:gd name="connsiteX1" fmla="*/ 1111 w 364965"/>
              <a:gd name="connsiteY1" fmla="*/ 154698 h 351496"/>
              <a:gd name="connsiteX2" fmla="*/ 37305 w 364965"/>
              <a:gd name="connsiteY2" fmla="*/ 85642 h 351496"/>
              <a:gd name="connsiteX3" fmla="*/ 174465 w 364965"/>
              <a:gd name="connsiteY3" fmla="*/ 39922 h 351496"/>
              <a:gd name="connsiteX4" fmla="*/ 254475 w 364965"/>
              <a:gd name="connsiteY4" fmla="*/ 393 h 351496"/>
              <a:gd name="connsiteX5" fmla="*/ 250665 w 364965"/>
              <a:gd name="connsiteY5" fmla="*/ 93262 h 351496"/>
              <a:gd name="connsiteX6" fmla="*/ 276382 w 364965"/>
              <a:gd name="connsiteY6" fmla="*/ 58496 h 351496"/>
              <a:gd name="connsiteX7" fmla="*/ 349725 w 364965"/>
              <a:gd name="connsiteY7" fmla="*/ 62782 h 351496"/>
              <a:gd name="connsiteX8" fmla="*/ 364965 w 364965"/>
              <a:gd name="connsiteY8" fmla="*/ 169462 h 351496"/>
              <a:gd name="connsiteX9" fmla="*/ 342105 w 364965"/>
              <a:gd name="connsiteY9" fmla="*/ 230422 h 351496"/>
              <a:gd name="connsiteX10" fmla="*/ 364965 w 364965"/>
              <a:gd name="connsiteY10" fmla="*/ 276142 h 351496"/>
              <a:gd name="connsiteX11" fmla="*/ 67785 w 364965"/>
              <a:gd name="connsiteY11" fmla="*/ 337102 h 351496"/>
              <a:gd name="connsiteX0" fmla="*/ 67785 w 364965"/>
              <a:gd name="connsiteY0" fmla="*/ 337102 h 351496"/>
              <a:gd name="connsiteX1" fmla="*/ 1111 w 364965"/>
              <a:gd name="connsiteY1" fmla="*/ 154698 h 351496"/>
              <a:gd name="connsiteX2" fmla="*/ 37305 w 364965"/>
              <a:gd name="connsiteY2" fmla="*/ 85642 h 351496"/>
              <a:gd name="connsiteX3" fmla="*/ 174465 w 364965"/>
              <a:gd name="connsiteY3" fmla="*/ 39922 h 351496"/>
              <a:gd name="connsiteX4" fmla="*/ 254475 w 364965"/>
              <a:gd name="connsiteY4" fmla="*/ 393 h 351496"/>
              <a:gd name="connsiteX5" fmla="*/ 250665 w 364965"/>
              <a:gd name="connsiteY5" fmla="*/ 93262 h 351496"/>
              <a:gd name="connsiteX6" fmla="*/ 276382 w 364965"/>
              <a:gd name="connsiteY6" fmla="*/ 58496 h 351496"/>
              <a:gd name="connsiteX7" fmla="*/ 349725 w 364965"/>
              <a:gd name="connsiteY7" fmla="*/ 62782 h 351496"/>
              <a:gd name="connsiteX8" fmla="*/ 364965 w 364965"/>
              <a:gd name="connsiteY8" fmla="*/ 169462 h 351496"/>
              <a:gd name="connsiteX9" fmla="*/ 342105 w 364965"/>
              <a:gd name="connsiteY9" fmla="*/ 230422 h 351496"/>
              <a:gd name="connsiteX10" fmla="*/ 364965 w 364965"/>
              <a:gd name="connsiteY10" fmla="*/ 276142 h 351496"/>
              <a:gd name="connsiteX11" fmla="*/ 67785 w 364965"/>
              <a:gd name="connsiteY11" fmla="*/ 337102 h 351496"/>
              <a:gd name="connsiteX0" fmla="*/ 66674 w 363854"/>
              <a:gd name="connsiteY0" fmla="*/ 337102 h 351496"/>
              <a:gd name="connsiteX1" fmla="*/ 0 w 363854"/>
              <a:gd name="connsiteY1" fmla="*/ 154698 h 351496"/>
              <a:gd name="connsiteX2" fmla="*/ 36194 w 363854"/>
              <a:gd name="connsiteY2" fmla="*/ 85642 h 351496"/>
              <a:gd name="connsiteX3" fmla="*/ 173354 w 363854"/>
              <a:gd name="connsiteY3" fmla="*/ 39922 h 351496"/>
              <a:gd name="connsiteX4" fmla="*/ 253364 w 363854"/>
              <a:gd name="connsiteY4" fmla="*/ 393 h 351496"/>
              <a:gd name="connsiteX5" fmla="*/ 249554 w 363854"/>
              <a:gd name="connsiteY5" fmla="*/ 93262 h 351496"/>
              <a:gd name="connsiteX6" fmla="*/ 275271 w 363854"/>
              <a:gd name="connsiteY6" fmla="*/ 58496 h 351496"/>
              <a:gd name="connsiteX7" fmla="*/ 348614 w 363854"/>
              <a:gd name="connsiteY7" fmla="*/ 62782 h 351496"/>
              <a:gd name="connsiteX8" fmla="*/ 363854 w 363854"/>
              <a:gd name="connsiteY8" fmla="*/ 169462 h 351496"/>
              <a:gd name="connsiteX9" fmla="*/ 340994 w 363854"/>
              <a:gd name="connsiteY9" fmla="*/ 230422 h 351496"/>
              <a:gd name="connsiteX10" fmla="*/ 363854 w 363854"/>
              <a:gd name="connsiteY10" fmla="*/ 276142 h 351496"/>
              <a:gd name="connsiteX11" fmla="*/ 66674 w 363854"/>
              <a:gd name="connsiteY11" fmla="*/ 337102 h 351496"/>
              <a:gd name="connsiteX0" fmla="*/ 78580 w 375760"/>
              <a:gd name="connsiteY0" fmla="*/ 337102 h 351322"/>
              <a:gd name="connsiteX1" fmla="*/ 0 w 375760"/>
              <a:gd name="connsiteY1" fmla="*/ 157079 h 351322"/>
              <a:gd name="connsiteX2" fmla="*/ 48100 w 375760"/>
              <a:gd name="connsiteY2" fmla="*/ 85642 h 351322"/>
              <a:gd name="connsiteX3" fmla="*/ 185260 w 375760"/>
              <a:gd name="connsiteY3" fmla="*/ 39922 h 351322"/>
              <a:gd name="connsiteX4" fmla="*/ 265270 w 375760"/>
              <a:gd name="connsiteY4" fmla="*/ 393 h 351322"/>
              <a:gd name="connsiteX5" fmla="*/ 261460 w 375760"/>
              <a:gd name="connsiteY5" fmla="*/ 93262 h 351322"/>
              <a:gd name="connsiteX6" fmla="*/ 287177 w 375760"/>
              <a:gd name="connsiteY6" fmla="*/ 58496 h 351322"/>
              <a:gd name="connsiteX7" fmla="*/ 360520 w 375760"/>
              <a:gd name="connsiteY7" fmla="*/ 62782 h 351322"/>
              <a:gd name="connsiteX8" fmla="*/ 375760 w 375760"/>
              <a:gd name="connsiteY8" fmla="*/ 169462 h 351322"/>
              <a:gd name="connsiteX9" fmla="*/ 352900 w 375760"/>
              <a:gd name="connsiteY9" fmla="*/ 230422 h 351322"/>
              <a:gd name="connsiteX10" fmla="*/ 375760 w 375760"/>
              <a:gd name="connsiteY10" fmla="*/ 276142 h 351322"/>
              <a:gd name="connsiteX11" fmla="*/ 78580 w 375760"/>
              <a:gd name="connsiteY11" fmla="*/ 337102 h 351322"/>
              <a:gd name="connsiteX0" fmla="*/ 78580 w 375760"/>
              <a:gd name="connsiteY0" fmla="*/ 337102 h 351322"/>
              <a:gd name="connsiteX1" fmla="*/ 0 w 375760"/>
              <a:gd name="connsiteY1" fmla="*/ 157079 h 351322"/>
              <a:gd name="connsiteX2" fmla="*/ 48100 w 375760"/>
              <a:gd name="connsiteY2" fmla="*/ 85642 h 351322"/>
              <a:gd name="connsiteX3" fmla="*/ 185260 w 375760"/>
              <a:gd name="connsiteY3" fmla="*/ 39922 h 351322"/>
              <a:gd name="connsiteX4" fmla="*/ 265270 w 375760"/>
              <a:gd name="connsiteY4" fmla="*/ 393 h 351322"/>
              <a:gd name="connsiteX5" fmla="*/ 261460 w 375760"/>
              <a:gd name="connsiteY5" fmla="*/ 93262 h 351322"/>
              <a:gd name="connsiteX6" fmla="*/ 287177 w 375760"/>
              <a:gd name="connsiteY6" fmla="*/ 58496 h 351322"/>
              <a:gd name="connsiteX7" fmla="*/ 360520 w 375760"/>
              <a:gd name="connsiteY7" fmla="*/ 62782 h 351322"/>
              <a:gd name="connsiteX8" fmla="*/ 375760 w 375760"/>
              <a:gd name="connsiteY8" fmla="*/ 169462 h 351322"/>
              <a:gd name="connsiteX9" fmla="*/ 352900 w 375760"/>
              <a:gd name="connsiteY9" fmla="*/ 230422 h 351322"/>
              <a:gd name="connsiteX10" fmla="*/ 375760 w 375760"/>
              <a:gd name="connsiteY10" fmla="*/ 276142 h 351322"/>
              <a:gd name="connsiteX11" fmla="*/ 78580 w 375760"/>
              <a:gd name="connsiteY11" fmla="*/ 337102 h 351322"/>
              <a:gd name="connsiteX0" fmla="*/ 73818 w 370998"/>
              <a:gd name="connsiteY0" fmla="*/ 337102 h 351322"/>
              <a:gd name="connsiteX1" fmla="*/ 0 w 370998"/>
              <a:gd name="connsiteY1" fmla="*/ 157079 h 351322"/>
              <a:gd name="connsiteX2" fmla="*/ 43338 w 370998"/>
              <a:gd name="connsiteY2" fmla="*/ 85642 h 351322"/>
              <a:gd name="connsiteX3" fmla="*/ 180498 w 370998"/>
              <a:gd name="connsiteY3" fmla="*/ 39922 h 351322"/>
              <a:gd name="connsiteX4" fmla="*/ 260508 w 370998"/>
              <a:gd name="connsiteY4" fmla="*/ 393 h 351322"/>
              <a:gd name="connsiteX5" fmla="*/ 256698 w 370998"/>
              <a:gd name="connsiteY5" fmla="*/ 93262 h 351322"/>
              <a:gd name="connsiteX6" fmla="*/ 282415 w 370998"/>
              <a:gd name="connsiteY6" fmla="*/ 58496 h 351322"/>
              <a:gd name="connsiteX7" fmla="*/ 355758 w 370998"/>
              <a:gd name="connsiteY7" fmla="*/ 62782 h 351322"/>
              <a:gd name="connsiteX8" fmla="*/ 370998 w 370998"/>
              <a:gd name="connsiteY8" fmla="*/ 169462 h 351322"/>
              <a:gd name="connsiteX9" fmla="*/ 348138 w 370998"/>
              <a:gd name="connsiteY9" fmla="*/ 230422 h 351322"/>
              <a:gd name="connsiteX10" fmla="*/ 370998 w 370998"/>
              <a:gd name="connsiteY10" fmla="*/ 276142 h 351322"/>
              <a:gd name="connsiteX11" fmla="*/ 73818 w 370998"/>
              <a:gd name="connsiteY11" fmla="*/ 337102 h 351322"/>
              <a:gd name="connsiteX0" fmla="*/ 73818 w 370998"/>
              <a:gd name="connsiteY0" fmla="*/ 337102 h 368106"/>
              <a:gd name="connsiteX1" fmla="*/ 0 w 370998"/>
              <a:gd name="connsiteY1" fmla="*/ 157079 h 368106"/>
              <a:gd name="connsiteX2" fmla="*/ 43338 w 370998"/>
              <a:gd name="connsiteY2" fmla="*/ 85642 h 368106"/>
              <a:gd name="connsiteX3" fmla="*/ 180498 w 370998"/>
              <a:gd name="connsiteY3" fmla="*/ 39922 h 368106"/>
              <a:gd name="connsiteX4" fmla="*/ 260508 w 370998"/>
              <a:gd name="connsiteY4" fmla="*/ 393 h 368106"/>
              <a:gd name="connsiteX5" fmla="*/ 256698 w 370998"/>
              <a:gd name="connsiteY5" fmla="*/ 93262 h 368106"/>
              <a:gd name="connsiteX6" fmla="*/ 282415 w 370998"/>
              <a:gd name="connsiteY6" fmla="*/ 58496 h 368106"/>
              <a:gd name="connsiteX7" fmla="*/ 355758 w 370998"/>
              <a:gd name="connsiteY7" fmla="*/ 62782 h 368106"/>
              <a:gd name="connsiteX8" fmla="*/ 370998 w 370998"/>
              <a:gd name="connsiteY8" fmla="*/ 169462 h 368106"/>
              <a:gd name="connsiteX9" fmla="*/ 348138 w 370998"/>
              <a:gd name="connsiteY9" fmla="*/ 230422 h 368106"/>
              <a:gd name="connsiteX10" fmla="*/ 370998 w 370998"/>
              <a:gd name="connsiteY10" fmla="*/ 276142 h 368106"/>
              <a:gd name="connsiteX11" fmla="*/ 73818 w 370998"/>
              <a:gd name="connsiteY11" fmla="*/ 337102 h 368106"/>
              <a:gd name="connsiteX0" fmla="*/ 73818 w 370998"/>
              <a:gd name="connsiteY0" fmla="*/ 337102 h 366943"/>
              <a:gd name="connsiteX1" fmla="*/ 0 w 370998"/>
              <a:gd name="connsiteY1" fmla="*/ 157079 h 366943"/>
              <a:gd name="connsiteX2" fmla="*/ 43338 w 370998"/>
              <a:gd name="connsiteY2" fmla="*/ 85642 h 366943"/>
              <a:gd name="connsiteX3" fmla="*/ 180498 w 370998"/>
              <a:gd name="connsiteY3" fmla="*/ 39922 h 366943"/>
              <a:gd name="connsiteX4" fmla="*/ 260508 w 370998"/>
              <a:gd name="connsiteY4" fmla="*/ 393 h 366943"/>
              <a:gd name="connsiteX5" fmla="*/ 256698 w 370998"/>
              <a:gd name="connsiteY5" fmla="*/ 93262 h 366943"/>
              <a:gd name="connsiteX6" fmla="*/ 282415 w 370998"/>
              <a:gd name="connsiteY6" fmla="*/ 58496 h 366943"/>
              <a:gd name="connsiteX7" fmla="*/ 355758 w 370998"/>
              <a:gd name="connsiteY7" fmla="*/ 62782 h 366943"/>
              <a:gd name="connsiteX8" fmla="*/ 370998 w 370998"/>
              <a:gd name="connsiteY8" fmla="*/ 169462 h 366943"/>
              <a:gd name="connsiteX9" fmla="*/ 348138 w 370998"/>
              <a:gd name="connsiteY9" fmla="*/ 230422 h 366943"/>
              <a:gd name="connsiteX10" fmla="*/ 370998 w 370998"/>
              <a:gd name="connsiteY10" fmla="*/ 276142 h 366943"/>
              <a:gd name="connsiteX11" fmla="*/ 73818 w 370998"/>
              <a:gd name="connsiteY11" fmla="*/ 337102 h 366943"/>
              <a:gd name="connsiteX0" fmla="*/ 73818 w 370998"/>
              <a:gd name="connsiteY0" fmla="*/ 337102 h 348360"/>
              <a:gd name="connsiteX1" fmla="*/ 0 w 370998"/>
              <a:gd name="connsiteY1" fmla="*/ 157079 h 348360"/>
              <a:gd name="connsiteX2" fmla="*/ 43338 w 370998"/>
              <a:gd name="connsiteY2" fmla="*/ 85642 h 348360"/>
              <a:gd name="connsiteX3" fmla="*/ 180498 w 370998"/>
              <a:gd name="connsiteY3" fmla="*/ 39922 h 348360"/>
              <a:gd name="connsiteX4" fmla="*/ 260508 w 370998"/>
              <a:gd name="connsiteY4" fmla="*/ 393 h 348360"/>
              <a:gd name="connsiteX5" fmla="*/ 256698 w 370998"/>
              <a:gd name="connsiteY5" fmla="*/ 93262 h 348360"/>
              <a:gd name="connsiteX6" fmla="*/ 282415 w 370998"/>
              <a:gd name="connsiteY6" fmla="*/ 58496 h 348360"/>
              <a:gd name="connsiteX7" fmla="*/ 355758 w 370998"/>
              <a:gd name="connsiteY7" fmla="*/ 62782 h 348360"/>
              <a:gd name="connsiteX8" fmla="*/ 370998 w 370998"/>
              <a:gd name="connsiteY8" fmla="*/ 169462 h 348360"/>
              <a:gd name="connsiteX9" fmla="*/ 348138 w 370998"/>
              <a:gd name="connsiteY9" fmla="*/ 230422 h 348360"/>
              <a:gd name="connsiteX10" fmla="*/ 359092 w 370998"/>
              <a:gd name="connsiteY10" fmla="*/ 271380 h 348360"/>
              <a:gd name="connsiteX11" fmla="*/ 73818 w 370998"/>
              <a:gd name="connsiteY11" fmla="*/ 337102 h 348360"/>
              <a:gd name="connsiteX0" fmla="*/ 73818 w 370998"/>
              <a:gd name="connsiteY0" fmla="*/ 337102 h 354828"/>
              <a:gd name="connsiteX1" fmla="*/ 0 w 370998"/>
              <a:gd name="connsiteY1" fmla="*/ 157079 h 354828"/>
              <a:gd name="connsiteX2" fmla="*/ 43338 w 370998"/>
              <a:gd name="connsiteY2" fmla="*/ 85642 h 354828"/>
              <a:gd name="connsiteX3" fmla="*/ 180498 w 370998"/>
              <a:gd name="connsiteY3" fmla="*/ 39922 h 354828"/>
              <a:gd name="connsiteX4" fmla="*/ 260508 w 370998"/>
              <a:gd name="connsiteY4" fmla="*/ 393 h 354828"/>
              <a:gd name="connsiteX5" fmla="*/ 256698 w 370998"/>
              <a:gd name="connsiteY5" fmla="*/ 93262 h 354828"/>
              <a:gd name="connsiteX6" fmla="*/ 282415 w 370998"/>
              <a:gd name="connsiteY6" fmla="*/ 58496 h 354828"/>
              <a:gd name="connsiteX7" fmla="*/ 355758 w 370998"/>
              <a:gd name="connsiteY7" fmla="*/ 62782 h 354828"/>
              <a:gd name="connsiteX8" fmla="*/ 370998 w 370998"/>
              <a:gd name="connsiteY8" fmla="*/ 169462 h 354828"/>
              <a:gd name="connsiteX9" fmla="*/ 348138 w 370998"/>
              <a:gd name="connsiteY9" fmla="*/ 230422 h 354828"/>
              <a:gd name="connsiteX10" fmla="*/ 359092 w 370998"/>
              <a:gd name="connsiteY10" fmla="*/ 271380 h 354828"/>
              <a:gd name="connsiteX11" fmla="*/ 73818 w 370998"/>
              <a:gd name="connsiteY11" fmla="*/ 337102 h 354828"/>
              <a:gd name="connsiteX0" fmla="*/ 73818 w 370998"/>
              <a:gd name="connsiteY0" fmla="*/ 337102 h 370215"/>
              <a:gd name="connsiteX1" fmla="*/ 0 w 370998"/>
              <a:gd name="connsiteY1" fmla="*/ 157079 h 370215"/>
              <a:gd name="connsiteX2" fmla="*/ 43338 w 370998"/>
              <a:gd name="connsiteY2" fmla="*/ 85642 h 370215"/>
              <a:gd name="connsiteX3" fmla="*/ 180498 w 370998"/>
              <a:gd name="connsiteY3" fmla="*/ 39922 h 370215"/>
              <a:gd name="connsiteX4" fmla="*/ 260508 w 370998"/>
              <a:gd name="connsiteY4" fmla="*/ 393 h 370215"/>
              <a:gd name="connsiteX5" fmla="*/ 256698 w 370998"/>
              <a:gd name="connsiteY5" fmla="*/ 93262 h 370215"/>
              <a:gd name="connsiteX6" fmla="*/ 282415 w 370998"/>
              <a:gd name="connsiteY6" fmla="*/ 58496 h 370215"/>
              <a:gd name="connsiteX7" fmla="*/ 355758 w 370998"/>
              <a:gd name="connsiteY7" fmla="*/ 62782 h 370215"/>
              <a:gd name="connsiteX8" fmla="*/ 370998 w 370998"/>
              <a:gd name="connsiteY8" fmla="*/ 169462 h 370215"/>
              <a:gd name="connsiteX9" fmla="*/ 348138 w 370998"/>
              <a:gd name="connsiteY9" fmla="*/ 230422 h 370215"/>
              <a:gd name="connsiteX10" fmla="*/ 359092 w 370998"/>
              <a:gd name="connsiteY10" fmla="*/ 271380 h 370215"/>
              <a:gd name="connsiteX11" fmla="*/ 73818 w 370998"/>
              <a:gd name="connsiteY11" fmla="*/ 337102 h 370215"/>
              <a:gd name="connsiteX0" fmla="*/ 73818 w 370998"/>
              <a:gd name="connsiteY0" fmla="*/ 337102 h 364008"/>
              <a:gd name="connsiteX1" fmla="*/ 0 w 370998"/>
              <a:gd name="connsiteY1" fmla="*/ 157079 h 364008"/>
              <a:gd name="connsiteX2" fmla="*/ 43338 w 370998"/>
              <a:gd name="connsiteY2" fmla="*/ 85642 h 364008"/>
              <a:gd name="connsiteX3" fmla="*/ 180498 w 370998"/>
              <a:gd name="connsiteY3" fmla="*/ 39922 h 364008"/>
              <a:gd name="connsiteX4" fmla="*/ 260508 w 370998"/>
              <a:gd name="connsiteY4" fmla="*/ 393 h 364008"/>
              <a:gd name="connsiteX5" fmla="*/ 256698 w 370998"/>
              <a:gd name="connsiteY5" fmla="*/ 93262 h 364008"/>
              <a:gd name="connsiteX6" fmla="*/ 282415 w 370998"/>
              <a:gd name="connsiteY6" fmla="*/ 58496 h 364008"/>
              <a:gd name="connsiteX7" fmla="*/ 355758 w 370998"/>
              <a:gd name="connsiteY7" fmla="*/ 62782 h 364008"/>
              <a:gd name="connsiteX8" fmla="*/ 370998 w 370998"/>
              <a:gd name="connsiteY8" fmla="*/ 169462 h 364008"/>
              <a:gd name="connsiteX9" fmla="*/ 348138 w 370998"/>
              <a:gd name="connsiteY9" fmla="*/ 230422 h 364008"/>
              <a:gd name="connsiteX10" fmla="*/ 359092 w 370998"/>
              <a:gd name="connsiteY10" fmla="*/ 271380 h 364008"/>
              <a:gd name="connsiteX11" fmla="*/ 73818 w 370998"/>
              <a:gd name="connsiteY11" fmla="*/ 337102 h 364008"/>
              <a:gd name="connsiteX0" fmla="*/ 73818 w 370998"/>
              <a:gd name="connsiteY0" fmla="*/ 337102 h 368141"/>
              <a:gd name="connsiteX1" fmla="*/ 0 w 370998"/>
              <a:gd name="connsiteY1" fmla="*/ 157079 h 368141"/>
              <a:gd name="connsiteX2" fmla="*/ 43338 w 370998"/>
              <a:gd name="connsiteY2" fmla="*/ 85642 h 368141"/>
              <a:gd name="connsiteX3" fmla="*/ 180498 w 370998"/>
              <a:gd name="connsiteY3" fmla="*/ 39922 h 368141"/>
              <a:gd name="connsiteX4" fmla="*/ 260508 w 370998"/>
              <a:gd name="connsiteY4" fmla="*/ 393 h 368141"/>
              <a:gd name="connsiteX5" fmla="*/ 256698 w 370998"/>
              <a:gd name="connsiteY5" fmla="*/ 93262 h 368141"/>
              <a:gd name="connsiteX6" fmla="*/ 282415 w 370998"/>
              <a:gd name="connsiteY6" fmla="*/ 58496 h 368141"/>
              <a:gd name="connsiteX7" fmla="*/ 355758 w 370998"/>
              <a:gd name="connsiteY7" fmla="*/ 62782 h 368141"/>
              <a:gd name="connsiteX8" fmla="*/ 370998 w 370998"/>
              <a:gd name="connsiteY8" fmla="*/ 169462 h 368141"/>
              <a:gd name="connsiteX9" fmla="*/ 348138 w 370998"/>
              <a:gd name="connsiteY9" fmla="*/ 230422 h 368141"/>
              <a:gd name="connsiteX10" fmla="*/ 359092 w 370998"/>
              <a:gd name="connsiteY10" fmla="*/ 271380 h 368141"/>
              <a:gd name="connsiteX11" fmla="*/ 73818 w 370998"/>
              <a:gd name="connsiteY11" fmla="*/ 337102 h 368141"/>
              <a:gd name="connsiteX0" fmla="*/ 75502 w 372682"/>
              <a:gd name="connsiteY0" fmla="*/ 337102 h 368141"/>
              <a:gd name="connsiteX1" fmla="*/ 1684 w 372682"/>
              <a:gd name="connsiteY1" fmla="*/ 157079 h 368141"/>
              <a:gd name="connsiteX2" fmla="*/ 25496 w 372682"/>
              <a:gd name="connsiteY2" fmla="*/ 128506 h 368141"/>
              <a:gd name="connsiteX3" fmla="*/ 45022 w 372682"/>
              <a:gd name="connsiteY3" fmla="*/ 85642 h 368141"/>
              <a:gd name="connsiteX4" fmla="*/ 182182 w 372682"/>
              <a:gd name="connsiteY4" fmla="*/ 39922 h 368141"/>
              <a:gd name="connsiteX5" fmla="*/ 262192 w 372682"/>
              <a:gd name="connsiteY5" fmla="*/ 393 h 368141"/>
              <a:gd name="connsiteX6" fmla="*/ 258382 w 372682"/>
              <a:gd name="connsiteY6" fmla="*/ 93262 h 368141"/>
              <a:gd name="connsiteX7" fmla="*/ 284099 w 372682"/>
              <a:gd name="connsiteY7" fmla="*/ 58496 h 368141"/>
              <a:gd name="connsiteX8" fmla="*/ 357442 w 372682"/>
              <a:gd name="connsiteY8" fmla="*/ 62782 h 368141"/>
              <a:gd name="connsiteX9" fmla="*/ 372682 w 372682"/>
              <a:gd name="connsiteY9" fmla="*/ 169462 h 368141"/>
              <a:gd name="connsiteX10" fmla="*/ 349822 w 372682"/>
              <a:gd name="connsiteY10" fmla="*/ 230422 h 368141"/>
              <a:gd name="connsiteX11" fmla="*/ 360776 w 372682"/>
              <a:gd name="connsiteY11" fmla="*/ 271380 h 368141"/>
              <a:gd name="connsiteX12" fmla="*/ 75502 w 372682"/>
              <a:gd name="connsiteY12" fmla="*/ 337102 h 368141"/>
              <a:gd name="connsiteX0" fmla="*/ 75502 w 372682"/>
              <a:gd name="connsiteY0" fmla="*/ 336943 h 367982"/>
              <a:gd name="connsiteX1" fmla="*/ 1684 w 372682"/>
              <a:gd name="connsiteY1" fmla="*/ 156920 h 367982"/>
              <a:gd name="connsiteX2" fmla="*/ 25496 w 372682"/>
              <a:gd name="connsiteY2" fmla="*/ 128347 h 367982"/>
              <a:gd name="connsiteX3" fmla="*/ 45022 w 372682"/>
              <a:gd name="connsiteY3" fmla="*/ 85483 h 367982"/>
              <a:gd name="connsiteX4" fmla="*/ 182182 w 372682"/>
              <a:gd name="connsiteY4" fmla="*/ 39763 h 367982"/>
              <a:gd name="connsiteX5" fmla="*/ 262192 w 372682"/>
              <a:gd name="connsiteY5" fmla="*/ 234 h 367982"/>
              <a:gd name="connsiteX6" fmla="*/ 284099 w 372682"/>
              <a:gd name="connsiteY6" fmla="*/ 58337 h 367982"/>
              <a:gd name="connsiteX7" fmla="*/ 357442 w 372682"/>
              <a:gd name="connsiteY7" fmla="*/ 62623 h 367982"/>
              <a:gd name="connsiteX8" fmla="*/ 372682 w 372682"/>
              <a:gd name="connsiteY8" fmla="*/ 169303 h 367982"/>
              <a:gd name="connsiteX9" fmla="*/ 349822 w 372682"/>
              <a:gd name="connsiteY9" fmla="*/ 230263 h 367982"/>
              <a:gd name="connsiteX10" fmla="*/ 360776 w 372682"/>
              <a:gd name="connsiteY10" fmla="*/ 271221 h 367982"/>
              <a:gd name="connsiteX11" fmla="*/ 75502 w 372682"/>
              <a:gd name="connsiteY11" fmla="*/ 336943 h 367982"/>
              <a:gd name="connsiteX0" fmla="*/ 75502 w 372682"/>
              <a:gd name="connsiteY0" fmla="*/ 337049 h 368088"/>
              <a:gd name="connsiteX1" fmla="*/ 1684 w 372682"/>
              <a:gd name="connsiteY1" fmla="*/ 157026 h 368088"/>
              <a:gd name="connsiteX2" fmla="*/ 25496 w 372682"/>
              <a:gd name="connsiteY2" fmla="*/ 128453 h 368088"/>
              <a:gd name="connsiteX3" fmla="*/ 45022 w 372682"/>
              <a:gd name="connsiteY3" fmla="*/ 85589 h 368088"/>
              <a:gd name="connsiteX4" fmla="*/ 182182 w 372682"/>
              <a:gd name="connsiteY4" fmla="*/ 39869 h 368088"/>
              <a:gd name="connsiteX5" fmla="*/ 262192 w 372682"/>
              <a:gd name="connsiteY5" fmla="*/ 340 h 368088"/>
              <a:gd name="connsiteX6" fmla="*/ 357442 w 372682"/>
              <a:gd name="connsiteY6" fmla="*/ 62729 h 368088"/>
              <a:gd name="connsiteX7" fmla="*/ 372682 w 372682"/>
              <a:gd name="connsiteY7" fmla="*/ 169409 h 368088"/>
              <a:gd name="connsiteX8" fmla="*/ 349822 w 372682"/>
              <a:gd name="connsiteY8" fmla="*/ 230369 h 368088"/>
              <a:gd name="connsiteX9" fmla="*/ 360776 w 372682"/>
              <a:gd name="connsiteY9" fmla="*/ 271327 h 368088"/>
              <a:gd name="connsiteX10" fmla="*/ 75502 w 372682"/>
              <a:gd name="connsiteY10" fmla="*/ 337049 h 368088"/>
              <a:gd name="connsiteX0" fmla="*/ 74661 w 371841"/>
              <a:gd name="connsiteY0" fmla="*/ 337049 h 368088"/>
              <a:gd name="connsiteX1" fmla="*/ 843 w 371841"/>
              <a:gd name="connsiteY1" fmla="*/ 157026 h 368088"/>
              <a:gd name="connsiteX2" fmla="*/ 44181 w 371841"/>
              <a:gd name="connsiteY2" fmla="*/ 85589 h 368088"/>
              <a:gd name="connsiteX3" fmla="*/ 181341 w 371841"/>
              <a:gd name="connsiteY3" fmla="*/ 39869 h 368088"/>
              <a:gd name="connsiteX4" fmla="*/ 261351 w 371841"/>
              <a:gd name="connsiteY4" fmla="*/ 340 h 368088"/>
              <a:gd name="connsiteX5" fmla="*/ 356601 w 371841"/>
              <a:gd name="connsiteY5" fmla="*/ 62729 h 368088"/>
              <a:gd name="connsiteX6" fmla="*/ 371841 w 371841"/>
              <a:gd name="connsiteY6" fmla="*/ 169409 h 368088"/>
              <a:gd name="connsiteX7" fmla="*/ 348981 w 371841"/>
              <a:gd name="connsiteY7" fmla="*/ 230369 h 368088"/>
              <a:gd name="connsiteX8" fmla="*/ 359935 w 371841"/>
              <a:gd name="connsiteY8" fmla="*/ 271327 h 368088"/>
              <a:gd name="connsiteX9" fmla="*/ 74661 w 371841"/>
              <a:gd name="connsiteY9" fmla="*/ 337049 h 368088"/>
              <a:gd name="connsiteX0" fmla="*/ 74661 w 361496"/>
              <a:gd name="connsiteY0" fmla="*/ 337049 h 368088"/>
              <a:gd name="connsiteX1" fmla="*/ 843 w 361496"/>
              <a:gd name="connsiteY1" fmla="*/ 157026 h 368088"/>
              <a:gd name="connsiteX2" fmla="*/ 44181 w 361496"/>
              <a:gd name="connsiteY2" fmla="*/ 85589 h 368088"/>
              <a:gd name="connsiteX3" fmla="*/ 181341 w 361496"/>
              <a:gd name="connsiteY3" fmla="*/ 39869 h 368088"/>
              <a:gd name="connsiteX4" fmla="*/ 261351 w 361496"/>
              <a:gd name="connsiteY4" fmla="*/ 340 h 368088"/>
              <a:gd name="connsiteX5" fmla="*/ 356601 w 361496"/>
              <a:gd name="connsiteY5" fmla="*/ 62729 h 368088"/>
              <a:gd name="connsiteX6" fmla="*/ 348981 w 361496"/>
              <a:gd name="connsiteY6" fmla="*/ 230369 h 368088"/>
              <a:gd name="connsiteX7" fmla="*/ 359935 w 361496"/>
              <a:gd name="connsiteY7" fmla="*/ 271327 h 368088"/>
              <a:gd name="connsiteX8" fmla="*/ 74661 w 361496"/>
              <a:gd name="connsiteY8" fmla="*/ 337049 h 368088"/>
              <a:gd name="connsiteX0" fmla="*/ 74661 w 383862"/>
              <a:gd name="connsiteY0" fmla="*/ 337049 h 354314"/>
              <a:gd name="connsiteX1" fmla="*/ 843 w 383862"/>
              <a:gd name="connsiteY1" fmla="*/ 157026 h 354314"/>
              <a:gd name="connsiteX2" fmla="*/ 44181 w 383862"/>
              <a:gd name="connsiteY2" fmla="*/ 85589 h 354314"/>
              <a:gd name="connsiteX3" fmla="*/ 181341 w 383862"/>
              <a:gd name="connsiteY3" fmla="*/ 39869 h 354314"/>
              <a:gd name="connsiteX4" fmla="*/ 261351 w 383862"/>
              <a:gd name="connsiteY4" fmla="*/ 340 h 354314"/>
              <a:gd name="connsiteX5" fmla="*/ 356601 w 383862"/>
              <a:gd name="connsiteY5" fmla="*/ 62729 h 354314"/>
              <a:gd name="connsiteX6" fmla="*/ 359935 w 383862"/>
              <a:gd name="connsiteY6" fmla="*/ 271327 h 354314"/>
              <a:gd name="connsiteX7" fmla="*/ 74661 w 383862"/>
              <a:gd name="connsiteY7" fmla="*/ 337049 h 354314"/>
              <a:gd name="connsiteX0" fmla="*/ 74661 w 383862"/>
              <a:gd name="connsiteY0" fmla="*/ 339765 h 357030"/>
              <a:gd name="connsiteX1" fmla="*/ 843 w 383862"/>
              <a:gd name="connsiteY1" fmla="*/ 159742 h 357030"/>
              <a:gd name="connsiteX2" fmla="*/ 44181 w 383862"/>
              <a:gd name="connsiteY2" fmla="*/ 88305 h 357030"/>
              <a:gd name="connsiteX3" fmla="*/ 181341 w 383862"/>
              <a:gd name="connsiteY3" fmla="*/ 42585 h 357030"/>
              <a:gd name="connsiteX4" fmla="*/ 261351 w 383862"/>
              <a:gd name="connsiteY4" fmla="*/ 3056 h 357030"/>
              <a:gd name="connsiteX5" fmla="*/ 283182 w 383862"/>
              <a:gd name="connsiteY5" fmla="*/ 9682 h 357030"/>
              <a:gd name="connsiteX6" fmla="*/ 356601 w 383862"/>
              <a:gd name="connsiteY6" fmla="*/ 65445 h 357030"/>
              <a:gd name="connsiteX7" fmla="*/ 359935 w 383862"/>
              <a:gd name="connsiteY7" fmla="*/ 274043 h 357030"/>
              <a:gd name="connsiteX8" fmla="*/ 74661 w 383862"/>
              <a:gd name="connsiteY8" fmla="*/ 339765 h 357030"/>
              <a:gd name="connsiteX0" fmla="*/ 74661 w 383862"/>
              <a:gd name="connsiteY0" fmla="*/ 339765 h 357030"/>
              <a:gd name="connsiteX1" fmla="*/ 843 w 383862"/>
              <a:gd name="connsiteY1" fmla="*/ 159742 h 357030"/>
              <a:gd name="connsiteX2" fmla="*/ 44181 w 383862"/>
              <a:gd name="connsiteY2" fmla="*/ 88305 h 357030"/>
              <a:gd name="connsiteX3" fmla="*/ 181341 w 383862"/>
              <a:gd name="connsiteY3" fmla="*/ 42585 h 357030"/>
              <a:gd name="connsiteX4" fmla="*/ 261351 w 383862"/>
              <a:gd name="connsiteY4" fmla="*/ 3056 h 357030"/>
              <a:gd name="connsiteX5" fmla="*/ 283182 w 383862"/>
              <a:gd name="connsiteY5" fmla="*/ 9682 h 357030"/>
              <a:gd name="connsiteX6" fmla="*/ 316435 w 383862"/>
              <a:gd name="connsiteY6" fmla="*/ 24461 h 357030"/>
              <a:gd name="connsiteX7" fmla="*/ 356601 w 383862"/>
              <a:gd name="connsiteY7" fmla="*/ 65445 h 357030"/>
              <a:gd name="connsiteX8" fmla="*/ 359935 w 383862"/>
              <a:gd name="connsiteY8" fmla="*/ 274043 h 357030"/>
              <a:gd name="connsiteX9" fmla="*/ 74661 w 383862"/>
              <a:gd name="connsiteY9" fmla="*/ 339765 h 357030"/>
              <a:gd name="connsiteX0" fmla="*/ 74661 w 383862"/>
              <a:gd name="connsiteY0" fmla="*/ 339765 h 357030"/>
              <a:gd name="connsiteX1" fmla="*/ 843 w 383862"/>
              <a:gd name="connsiteY1" fmla="*/ 159742 h 357030"/>
              <a:gd name="connsiteX2" fmla="*/ 44181 w 383862"/>
              <a:gd name="connsiteY2" fmla="*/ 88305 h 357030"/>
              <a:gd name="connsiteX3" fmla="*/ 181341 w 383862"/>
              <a:gd name="connsiteY3" fmla="*/ 42585 h 357030"/>
              <a:gd name="connsiteX4" fmla="*/ 261351 w 383862"/>
              <a:gd name="connsiteY4" fmla="*/ 3056 h 357030"/>
              <a:gd name="connsiteX5" fmla="*/ 283182 w 383862"/>
              <a:gd name="connsiteY5" fmla="*/ 9682 h 357030"/>
              <a:gd name="connsiteX6" fmla="*/ 316435 w 383862"/>
              <a:gd name="connsiteY6" fmla="*/ 24461 h 357030"/>
              <a:gd name="connsiteX7" fmla="*/ 343777 w 383862"/>
              <a:gd name="connsiteY7" fmla="*/ 37024 h 357030"/>
              <a:gd name="connsiteX8" fmla="*/ 356601 w 383862"/>
              <a:gd name="connsiteY8" fmla="*/ 65445 h 357030"/>
              <a:gd name="connsiteX9" fmla="*/ 359935 w 383862"/>
              <a:gd name="connsiteY9" fmla="*/ 274043 h 357030"/>
              <a:gd name="connsiteX10" fmla="*/ 74661 w 383862"/>
              <a:gd name="connsiteY10" fmla="*/ 339765 h 357030"/>
              <a:gd name="connsiteX0" fmla="*/ 74661 w 383862"/>
              <a:gd name="connsiteY0" fmla="*/ 336861 h 354126"/>
              <a:gd name="connsiteX1" fmla="*/ 843 w 383862"/>
              <a:gd name="connsiteY1" fmla="*/ 156838 h 354126"/>
              <a:gd name="connsiteX2" fmla="*/ 44181 w 383862"/>
              <a:gd name="connsiteY2" fmla="*/ 85401 h 354126"/>
              <a:gd name="connsiteX3" fmla="*/ 181341 w 383862"/>
              <a:gd name="connsiteY3" fmla="*/ 39681 h 354126"/>
              <a:gd name="connsiteX4" fmla="*/ 261351 w 383862"/>
              <a:gd name="connsiteY4" fmla="*/ 152 h 354126"/>
              <a:gd name="connsiteX5" fmla="*/ 266186 w 383862"/>
              <a:gd name="connsiteY5" fmla="*/ 27469 h 354126"/>
              <a:gd name="connsiteX6" fmla="*/ 316435 w 383862"/>
              <a:gd name="connsiteY6" fmla="*/ 21557 h 354126"/>
              <a:gd name="connsiteX7" fmla="*/ 343777 w 383862"/>
              <a:gd name="connsiteY7" fmla="*/ 34120 h 354126"/>
              <a:gd name="connsiteX8" fmla="*/ 356601 w 383862"/>
              <a:gd name="connsiteY8" fmla="*/ 62541 h 354126"/>
              <a:gd name="connsiteX9" fmla="*/ 359935 w 383862"/>
              <a:gd name="connsiteY9" fmla="*/ 271139 h 354126"/>
              <a:gd name="connsiteX10" fmla="*/ 74661 w 383862"/>
              <a:gd name="connsiteY10" fmla="*/ 336861 h 354126"/>
              <a:gd name="connsiteX0" fmla="*/ 74661 w 383862"/>
              <a:gd name="connsiteY0" fmla="*/ 336861 h 354126"/>
              <a:gd name="connsiteX1" fmla="*/ 843 w 383862"/>
              <a:gd name="connsiteY1" fmla="*/ 156838 h 354126"/>
              <a:gd name="connsiteX2" fmla="*/ 44181 w 383862"/>
              <a:gd name="connsiteY2" fmla="*/ 85401 h 354126"/>
              <a:gd name="connsiteX3" fmla="*/ 181341 w 383862"/>
              <a:gd name="connsiteY3" fmla="*/ 39681 h 354126"/>
              <a:gd name="connsiteX4" fmla="*/ 261351 w 383862"/>
              <a:gd name="connsiteY4" fmla="*/ 152 h 354126"/>
              <a:gd name="connsiteX5" fmla="*/ 266186 w 383862"/>
              <a:gd name="connsiteY5" fmla="*/ 27469 h 354126"/>
              <a:gd name="connsiteX6" fmla="*/ 258796 w 383862"/>
              <a:gd name="connsiteY6" fmla="*/ 55549 h 354126"/>
              <a:gd name="connsiteX7" fmla="*/ 343777 w 383862"/>
              <a:gd name="connsiteY7" fmla="*/ 34120 h 354126"/>
              <a:gd name="connsiteX8" fmla="*/ 356601 w 383862"/>
              <a:gd name="connsiteY8" fmla="*/ 62541 h 354126"/>
              <a:gd name="connsiteX9" fmla="*/ 359935 w 383862"/>
              <a:gd name="connsiteY9" fmla="*/ 271139 h 354126"/>
              <a:gd name="connsiteX10" fmla="*/ 74661 w 383862"/>
              <a:gd name="connsiteY10" fmla="*/ 336861 h 354126"/>
              <a:gd name="connsiteX0" fmla="*/ 74661 w 380558"/>
              <a:gd name="connsiteY0" fmla="*/ 336861 h 354126"/>
              <a:gd name="connsiteX1" fmla="*/ 843 w 380558"/>
              <a:gd name="connsiteY1" fmla="*/ 156838 h 354126"/>
              <a:gd name="connsiteX2" fmla="*/ 44181 w 380558"/>
              <a:gd name="connsiteY2" fmla="*/ 85401 h 354126"/>
              <a:gd name="connsiteX3" fmla="*/ 181341 w 380558"/>
              <a:gd name="connsiteY3" fmla="*/ 39681 h 354126"/>
              <a:gd name="connsiteX4" fmla="*/ 261351 w 380558"/>
              <a:gd name="connsiteY4" fmla="*/ 152 h 354126"/>
              <a:gd name="connsiteX5" fmla="*/ 266186 w 380558"/>
              <a:gd name="connsiteY5" fmla="*/ 27469 h 354126"/>
              <a:gd name="connsiteX6" fmla="*/ 258796 w 380558"/>
              <a:gd name="connsiteY6" fmla="*/ 55549 h 354126"/>
              <a:gd name="connsiteX7" fmla="*/ 343777 w 380558"/>
              <a:gd name="connsiteY7" fmla="*/ 34120 h 354126"/>
              <a:gd name="connsiteX8" fmla="*/ 356601 w 380558"/>
              <a:gd name="connsiteY8" fmla="*/ 62541 h 354126"/>
              <a:gd name="connsiteX9" fmla="*/ 359935 w 380558"/>
              <a:gd name="connsiteY9" fmla="*/ 271139 h 354126"/>
              <a:gd name="connsiteX10" fmla="*/ 74661 w 380558"/>
              <a:gd name="connsiteY10" fmla="*/ 336861 h 354126"/>
              <a:gd name="connsiteX0" fmla="*/ 74661 w 381324"/>
              <a:gd name="connsiteY0" fmla="*/ 336861 h 354126"/>
              <a:gd name="connsiteX1" fmla="*/ 843 w 381324"/>
              <a:gd name="connsiteY1" fmla="*/ 156838 h 354126"/>
              <a:gd name="connsiteX2" fmla="*/ 44181 w 381324"/>
              <a:gd name="connsiteY2" fmla="*/ 85401 h 354126"/>
              <a:gd name="connsiteX3" fmla="*/ 181341 w 381324"/>
              <a:gd name="connsiteY3" fmla="*/ 39681 h 354126"/>
              <a:gd name="connsiteX4" fmla="*/ 261351 w 381324"/>
              <a:gd name="connsiteY4" fmla="*/ 152 h 354126"/>
              <a:gd name="connsiteX5" fmla="*/ 266186 w 381324"/>
              <a:gd name="connsiteY5" fmla="*/ 27469 h 354126"/>
              <a:gd name="connsiteX6" fmla="*/ 258796 w 381324"/>
              <a:gd name="connsiteY6" fmla="*/ 55549 h 354126"/>
              <a:gd name="connsiteX7" fmla="*/ 323086 w 381324"/>
              <a:gd name="connsiteY7" fmla="*/ 57767 h 354126"/>
              <a:gd name="connsiteX8" fmla="*/ 356601 w 381324"/>
              <a:gd name="connsiteY8" fmla="*/ 62541 h 354126"/>
              <a:gd name="connsiteX9" fmla="*/ 359935 w 381324"/>
              <a:gd name="connsiteY9" fmla="*/ 271139 h 354126"/>
              <a:gd name="connsiteX10" fmla="*/ 74661 w 381324"/>
              <a:gd name="connsiteY10" fmla="*/ 336861 h 354126"/>
              <a:gd name="connsiteX0" fmla="*/ 74661 w 381324"/>
              <a:gd name="connsiteY0" fmla="*/ 336861 h 354126"/>
              <a:gd name="connsiteX1" fmla="*/ 843 w 381324"/>
              <a:gd name="connsiteY1" fmla="*/ 156838 h 354126"/>
              <a:gd name="connsiteX2" fmla="*/ 44181 w 381324"/>
              <a:gd name="connsiteY2" fmla="*/ 85401 h 354126"/>
              <a:gd name="connsiteX3" fmla="*/ 181341 w 381324"/>
              <a:gd name="connsiteY3" fmla="*/ 39681 h 354126"/>
              <a:gd name="connsiteX4" fmla="*/ 261351 w 381324"/>
              <a:gd name="connsiteY4" fmla="*/ 152 h 354126"/>
              <a:gd name="connsiteX5" fmla="*/ 266186 w 381324"/>
              <a:gd name="connsiteY5" fmla="*/ 27469 h 354126"/>
              <a:gd name="connsiteX6" fmla="*/ 258796 w 381324"/>
              <a:gd name="connsiteY6" fmla="*/ 55549 h 354126"/>
              <a:gd name="connsiteX7" fmla="*/ 297962 w 381324"/>
              <a:gd name="connsiteY7" fmla="*/ 54811 h 354126"/>
              <a:gd name="connsiteX8" fmla="*/ 323086 w 381324"/>
              <a:gd name="connsiteY8" fmla="*/ 57767 h 354126"/>
              <a:gd name="connsiteX9" fmla="*/ 356601 w 381324"/>
              <a:gd name="connsiteY9" fmla="*/ 62541 h 354126"/>
              <a:gd name="connsiteX10" fmla="*/ 359935 w 381324"/>
              <a:gd name="connsiteY10" fmla="*/ 271139 h 354126"/>
              <a:gd name="connsiteX11" fmla="*/ 74661 w 381324"/>
              <a:gd name="connsiteY11" fmla="*/ 336861 h 354126"/>
              <a:gd name="connsiteX0" fmla="*/ 74661 w 381324"/>
              <a:gd name="connsiteY0" fmla="*/ 336861 h 354126"/>
              <a:gd name="connsiteX1" fmla="*/ 843 w 381324"/>
              <a:gd name="connsiteY1" fmla="*/ 156838 h 354126"/>
              <a:gd name="connsiteX2" fmla="*/ 44181 w 381324"/>
              <a:gd name="connsiteY2" fmla="*/ 85401 h 354126"/>
              <a:gd name="connsiteX3" fmla="*/ 181341 w 381324"/>
              <a:gd name="connsiteY3" fmla="*/ 39681 h 354126"/>
              <a:gd name="connsiteX4" fmla="*/ 261351 w 381324"/>
              <a:gd name="connsiteY4" fmla="*/ 152 h 354126"/>
              <a:gd name="connsiteX5" fmla="*/ 266186 w 381324"/>
              <a:gd name="connsiteY5" fmla="*/ 27469 h 354126"/>
              <a:gd name="connsiteX6" fmla="*/ 258796 w 381324"/>
              <a:gd name="connsiteY6" fmla="*/ 55549 h 354126"/>
              <a:gd name="connsiteX7" fmla="*/ 284661 w 381324"/>
              <a:gd name="connsiteY7" fmla="*/ 50377 h 354126"/>
              <a:gd name="connsiteX8" fmla="*/ 323086 w 381324"/>
              <a:gd name="connsiteY8" fmla="*/ 57767 h 354126"/>
              <a:gd name="connsiteX9" fmla="*/ 356601 w 381324"/>
              <a:gd name="connsiteY9" fmla="*/ 62541 h 354126"/>
              <a:gd name="connsiteX10" fmla="*/ 359935 w 381324"/>
              <a:gd name="connsiteY10" fmla="*/ 271139 h 354126"/>
              <a:gd name="connsiteX11" fmla="*/ 74661 w 381324"/>
              <a:gd name="connsiteY11" fmla="*/ 336861 h 354126"/>
              <a:gd name="connsiteX0" fmla="*/ 74661 w 381324"/>
              <a:gd name="connsiteY0" fmla="*/ 336861 h 354126"/>
              <a:gd name="connsiteX1" fmla="*/ 843 w 381324"/>
              <a:gd name="connsiteY1" fmla="*/ 156838 h 354126"/>
              <a:gd name="connsiteX2" fmla="*/ 44181 w 381324"/>
              <a:gd name="connsiteY2" fmla="*/ 85401 h 354126"/>
              <a:gd name="connsiteX3" fmla="*/ 181341 w 381324"/>
              <a:gd name="connsiteY3" fmla="*/ 39681 h 354126"/>
              <a:gd name="connsiteX4" fmla="*/ 261351 w 381324"/>
              <a:gd name="connsiteY4" fmla="*/ 152 h 354126"/>
              <a:gd name="connsiteX5" fmla="*/ 266186 w 381324"/>
              <a:gd name="connsiteY5" fmla="*/ 27469 h 354126"/>
              <a:gd name="connsiteX6" fmla="*/ 258796 w 381324"/>
              <a:gd name="connsiteY6" fmla="*/ 55549 h 354126"/>
              <a:gd name="connsiteX7" fmla="*/ 284661 w 381324"/>
              <a:gd name="connsiteY7" fmla="*/ 50377 h 354126"/>
              <a:gd name="connsiteX8" fmla="*/ 307569 w 381324"/>
              <a:gd name="connsiteY8" fmla="*/ 54811 h 354126"/>
              <a:gd name="connsiteX9" fmla="*/ 323086 w 381324"/>
              <a:gd name="connsiteY9" fmla="*/ 57767 h 354126"/>
              <a:gd name="connsiteX10" fmla="*/ 356601 w 381324"/>
              <a:gd name="connsiteY10" fmla="*/ 62541 h 354126"/>
              <a:gd name="connsiteX11" fmla="*/ 359935 w 381324"/>
              <a:gd name="connsiteY11" fmla="*/ 271139 h 354126"/>
              <a:gd name="connsiteX12" fmla="*/ 74661 w 381324"/>
              <a:gd name="connsiteY12" fmla="*/ 336861 h 354126"/>
              <a:gd name="connsiteX0" fmla="*/ 74661 w 381324"/>
              <a:gd name="connsiteY0" fmla="*/ 336861 h 354126"/>
              <a:gd name="connsiteX1" fmla="*/ 843 w 381324"/>
              <a:gd name="connsiteY1" fmla="*/ 156838 h 354126"/>
              <a:gd name="connsiteX2" fmla="*/ 44181 w 381324"/>
              <a:gd name="connsiteY2" fmla="*/ 85401 h 354126"/>
              <a:gd name="connsiteX3" fmla="*/ 181341 w 381324"/>
              <a:gd name="connsiteY3" fmla="*/ 39681 h 354126"/>
              <a:gd name="connsiteX4" fmla="*/ 261351 w 381324"/>
              <a:gd name="connsiteY4" fmla="*/ 152 h 354126"/>
              <a:gd name="connsiteX5" fmla="*/ 266186 w 381324"/>
              <a:gd name="connsiteY5" fmla="*/ 27469 h 354126"/>
              <a:gd name="connsiteX6" fmla="*/ 258796 w 381324"/>
              <a:gd name="connsiteY6" fmla="*/ 55549 h 354126"/>
              <a:gd name="connsiteX7" fmla="*/ 284661 w 381324"/>
              <a:gd name="connsiteY7" fmla="*/ 50377 h 354126"/>
              <a:gd name="connsiteX8" fmla="*/ 292051 w 381324"/>
              <a:gd name="connsiteY8" fmla="*/ 76241 h 354126"/>
              <a:gd name="connsiteX9" fmla="*/ 323086 w 381324"/>
              <a:gd name="connsiteY9" fmla="*/ 57767 h 354126"/>
              <a:gd name="connsiteX10" fmla="*/ 356601 w 381324"/>
              <a:gd name="connsiteY10" fmla="*/ 62541 h 354126"/>
              <a:gd name="connsiteX11" fmla="*/ 359935 w 381324"/>
              <a:gd name="connsiteY11" fmla="*/ 271139 h 354126"/>
              <a:gd name="connsiteX12" fmla="*/ 74661 w 381324"/>
              <a:gd name="connsiteY12" fmla="*/ 336861 h 354126"/>
              <a:gd name="connsiteX0" fmla="*/ 74661 w 381522"/>
              <a:gd name="connsiteY0" fmla="*/ 336861 h 354126"/>
              <a:gd name="connsiteX1" fmla="*/ 843 w 381522"/>
              <a:gd name="connsiteY1" fmla="*/ 156838 h 354126"/>
              <a:gd name="connsiteX2" fmla="*/ 44181 w 381522"/>
              <a:gd name="connsiteY2" fmla="*/ 85401 h 354126"/>
              <a:gd name="connsiteX3" fmla="*/ 181341 w 381522"/>
              <a:gd name="connsiteY3" fmla="*/ 39681 h 354126"/>
              <a:gd name="connsiteX4" fmla="*/ 261351 w 381522"/>
              <a:gd name="connsiteY4" fmla="*/ 152 h 354126"/>
              <a:gd name="connsiteX5" fmla="*/ 266186 w 381522"/>
              <a:gd name="connsiteY5" fmla="*/ 27469 h 354126"/>
              <a:gd name="connsiteX6" fmla="*/ 258796 w 381522"/>
              <a:gd name="connsiteY6" fmla="*/ 55549 h 354126"/>
              <a:gd name="connsiteX7" fmla="*/ 284661 w 381522"/>
              <a:gd name="connsiteY7" fmla="*/ 50377 h 354126"/>
              <a:gd name="connsiteX8" fmla="*/ 292051 w 381522"/>
              <a:gd name="connsiteY8" fmla="*/ 76241 h 354126"/>
              <a:gd name="connsiteX9" fmla="*/ 317913 w 381522"/>
              <a:gd name="connsiteY9" fmla="*/ 48161 h 354126"/>
              <a:gd name="connsiteX10" fmla="*/ 356601 w 381522"/>
              <a:gd name="connsiteY10" fmla="*/ 62541 h 354126"/>
              <a:gd name="connsiteX11" fmla="*/ 359935 w 381522"/>
              <a:gd name="connsiteY11" fmla="*/ 271139 h 354126"/>
              <a:gd name="connsiteX12" fmla="*/ 74661 w 381522"/>
              <a:gd name="connsiteY12" fmla="*/ 336861 h 354126"/>
              <a:gd name="connsiteX0" fmla="*/ 74661 w 380936"/>
              <a:gd name="connsiteY0" fmla="*/ 336861 h 354126"/>
              <a:gd name="connsiteX1" fmla="*/ 843 w 380936"/>
              <a:gd name="connsiteY1" fmla="*/ 156838 h 354126"/>
              <a:gd name="connsiteX2" fmla="*/ 44181 w 380936"/>
              <a:gd name="connsiteY2" fmla="*/ 85401 h 354126"/>
              <a:gd name="connsiteX3" fmla="*/ 181341 w 380936"/>
              <a:gd name="connsiteY3" fmla="*/ 39681 h 354126"/>
              <a:gd name="connsiteX4" fmla="*/ 261351 w 380936"/>
              <a:gd name="connsiteY4" fmla="*/ 152 h 354126"/>
              <a:gd name="connsiteX5" fmla="*/ 266186 w 380936"/>
              <a:gd name="connsiteY5" fmla="*/ 27469 h 354126"/>
              <a:gd name="connsiteX6" fmla="*/ 258796 w 380936"/>
              <a:gd name="connsiteY6" fmla="*/ 55549 h 354126"/>
              <a:gd name="connsiteX7" fmla="*/ 284661 w 380936"/>
              <a:gd name="connsiteY7" fmla="*/ 50377 h 354126"/>
              <a:gd name="connsiteX8" fmla="*/ 292051 w 380936"/>
              <a:gd name="connsiteY8" fmla="*/ 76241 h 354126"/>
              <a:gd name="connsiteX9" fmla="*/ 317913 w 380936"/>
              <a:gd name="connsiteY9" fmla="*/ 48161 h 354126"/>
              <a:gd name="connsiteX10" fmla="*/ 333433 w 380936"/>
              <a:gd name="connsiteY10" fmla="*/ 43726 h 354126"/>
              <a:gd name="connsiteX11" fmla="*/ 356601 w 380936"/>
              <a:gd name="connsiteY11" fmla="*/ 62541 h 354126"/>
              <a:gd name="connsiteX12" fmla="*/ 359935 w 380936"/>
              <a:gd name="connsiteY12" fmla="*/ 271139 h 354126"/>
              <a:gd name="connsiteX13" fmla="*/ 74661 w 380936"/>
              <a:gd name="connsiteY13" fmla="*/ 336861 h 354126"/>
              <a:gd name="connsiteX0" fmla="*/ 74661 w 380882"/>
              <a:gd name="connsiteY0" fmla="*/ 336861 h 354126"/>
              <a:gd name="connsiteX1" fmla="*/ 843 w 380882"/>
              <a:gd name="connsiteY1" fmla="*/ 156838 h 354126"/>
              <a:gd name="connsiteX2" fmla="*/ 44181 w 380882"/>
              <a:gd name="connsiteY2" fmla="*/ 85401 h 354126"/>
              <a:gd name="connsiteX3" fmla="*/ 181341 w 380882"/>
              <a:gd name="connsiteY3" fmla="*/ 39681 h 354126"/>
              <a:gd name="connsiteX4" fmla="*/ 261351 w 380882"/>
              <a:gd name="connsiteY4" fmla="*/ 152 h 354126"/>
              <a:gd name="connsiteX5" fmla="*/ 266186 w 380882"/>
              <a:gd name="connsiteY5" fmla="*/ 27469 h 354126"/>
              <a:gd name="connsiteX6" fmla="*/ 258796 w 380882"/>
              <a:gd name="connsiteY6" fmla="*/ 55549 h 354126"/>
              <a:gd name="connsiteX7" fmla="*/ 284661 w 380882"/>
              <a:gd name="connsiteY7" fmla="*/ 50377 h 354126"/>
              <a:gd name="connsiteX8" fmla="*/ 292051 w 380882"/>
              <a:gd name="connsiteY8" fmla="*/ 76241 h 354126"/>
              <a:gd name="connsiteX9" fmla="*/ 317913 w 380882"/>
              <a:gd name="connsiteY9" fmla="*/ 48161 h 354126"/>
              <a:gd name="connsiteX10" fmla="*/ 334911 w 380882"/>
              <a:gd name="connsiteY10" fmla="*/ 68851 h 354126"/>
              <a:gd name="connsiteX11" fmla="*/ 356601 w 380882"/>
              <a:gd name="connsiteY11" fmla="*/ 62541 h 354126"/>
              <a:gd name="connsiteX12" fmla="*/ 359935 w 380882"/>
              <a:gd name="connsiteY12" fmla="*/ 271139 h 354126"/>
              <a:gd name="connsiteX13" fmla="*/ 74661 w 380882"/>
              <a:gd name="connsiteY13" fmla="*/ 336861 h 354126"/>
              <a:gd name="connsiteX0" fmla="*/ 74661 w 380882"/>
              <a:gd name="connsiteY0" fmla="*/ 329554 h 346819"/>
              <a:gd name="connsiteX1" fmla="*/ 843 w 380882"/>
              <a:gd name="connsiteY1" fmla="*/ 149531 h 346819"/>
              <a:gd name="connsiteX2" fmla="*/ 44181 w 380882"/>
              <a:gd name="connsiteY2" fmla="*/ 78094 h 346819"/>
              <a:gd name="connsiteX3" fmla="*/ 181341 w 380882"/>
              <a:gd name="connsiteY3" fmla="*/ 32374 h 346819"/>
              <a:gd name="connsiteX4" fmla="*/ 283520 w 380882"/>
              <a:gd name="connsiteY4" fmla="*/ 235 h 346819"/>
              <a:gd name="connsiteX5" fmla="*/ 266186 w 380882"/>
              <a:gd name="connsiteY5" fmla="*/ 20162 h 346819"/>
              <a:gd name="connsiteX6" fmla="*/ 258796 w 380882"/>
              <a:gd name="connsiteY6" fmla="*/ 48242 h 346819"/>
              <a:gd name="connsiteX7" fmla="*/ 284661 w 380882"/>
              <a:gd name="connsiteY7" fmla="*/ 43070 h 346819"/>
              <a:gd name="connsiteX8" fmla="*/ 292051 w 380882"/>
              <a:gd name="connsiteY8" fmla="*/ 68934 h 346819"/>
              <a:gd name="connsiteX9" fmla="*/ 317913 w 380882"/>
              <a:gd name="connsiteY9" fmla="*/ 40854 h 346819"/>
              <a:gd name="connsiteX10" fmla="*/ 334911 w 380882"/>
              <a:gd name="connsiteY10" fmla="*/ 61544 h 346819"/>
              <a:gd name="connsiteX11" fmla="*/ 356601 w 380882"/>
              <a:gd name="connsiteY11" fmla="*/ 55234 h 346819"/>
              <a:gd name="connsiteX12" fmla="*/ 359935 w 380882"/>
              <a:gd name="connsiteY12" fmla="*/ 263832 h 346819"/>
              <a:gd name="connsiteX13" fmla="*/ 74661 w 380882"/>
              <a:gd name="connsiteY13" fmla="*/ 329554 h 346819"/>
              <a:gd name="connsiteX0" fmla="*/ 74661 w 380882"/>
              <a:gd name="connsiteY0" fmla="*/ 329551 h 346816"/>
              <a:gd name="connsiteX1" fmla="*/ 843 w 380882"/>
              <a:gd name="connsiteY1" fmla="*/ 149528 h 346816"/>
              <a:gd name="connsiteX2" fmla="*/ 44181 w 380882"/>
              <a:gd name="connsiteY2" fmla="*/ 78091 h 346816"/>
              <a:gd name="connsiteX3" fmla="*/ 181341 w 380882"/>
              <a:gd name="connsiteY3" fmla="*/ 32371 h 346816"/>
              <a:gd name="connsiteX4" fmla="*/ 283520 w 380882"/>
              <a:gd name="connsiteY4" fmla="*/ 232 h 346816"/>
              <a:gd name="connsiteX5" fmla="*/ 258796 w 380882"/>
              <a:gd name="connsiteY5" fmla="*/ 48239 h 346816"/>
              <a:gd name="connsiteX6" fmla="*/ 284661 w 380882"/>
              <a:gd name="connsiteY6" fmla="*/ 43067 h 346816"/>
              <a:gd name="connsiteX7" fmla="*/ 292051 w 380882"/>
              <a:gd name="connsiteY7" fmla="*/ 68931 h 346816"/>
              <a:gd name="connsiteX8" fmla="*/ 317913 w 380882"/>
              <a:gd name="connsiteY8" fmla="*/ 40851 h 346816"/>
              <a:gd name="connsiteX9" fmla="*/ 334911 w 380882"/>
              <a:gd name="connsiteY9" fmla="*/ 61541 h 346816"/>
              <a:gd name="connsiteX10" fmla="*/ 356601 w 380882"/>
              <a:gd name="connsiteY10" fmla="*/ 55231 h 346816"/>
              <a:gd name="connsiteX11" fmla="*/ 359935 w 380882"/>
              <a:gd name="connsiteY11" fmla="*/ 263829 h 346816"/>
              <a:gd name="connsiteX12" fmla="*/ 74661 w 380882"/>
              <a:gd name="connsiteY12" fmla="*/ 329551 h 346816"/>
              <a:gd name="connsiteX0" fmla="*/ 74661 w 380882"/>
              <a:gd name="connsiteY0" fmla="*/ 329432 h 346697"/>
              <a:gd name="connsiteX1" fmla="*/ 843 w 380882"/>
              <a:gd name="connsiteY1" fmla="*/ 149409 h 346697"/>
              <a:gd name="connsiteX2" fmla="*/ 44181 w 380882"/>
              <a:gd name="connsiteY2" fmla="*/ 77972 h 346697"/>
              <a:gd name="connsiteX3" fmla="*/ 181341 w 380882"/>
              <a:gd name="connsiteY3" fmla="*/ 32252 h 346697"/>
              <a:gd name="connsiteX4" fmla="*/ 283520 w 380882"/>
              <a:gd name="connsiteY4" fmla="*/ 113 h 346697"/>
              <a:gd name="connsiteX5" fmla="*/ 284661 w 380882"/>
              <a:gd name="connsiteY5" fmla="*/ 42948 h 346697"/>
              <a:gd name="connsiteX6" fmla="*/ 292051 w 380882"/>
              <a:gd name="connsiteY6" fmla="*/ 68812 h 346697"/>
              <a:gd name="connsiteX7" fmla="*/ 317913 w 380882"/>
              <a:gd name="connsiteY7" fmla="*/ 40732 h 346697"/>
              <a:gd name="connsiteX8" fmla="*/ 334911 w 380882"/>
              <a:gd name="connsiteY8" fmla="*/ 61422 h 346697"/>
              <a:gd name="connsiteX9" fmla="*/ 356601 w 380882"/>
              <a:gd name="connsiteY9" fmla="*/ 55112 h 346697"/>
              <a:gd name="connsiteX10" fmla="*/ 359935 w 380882"/>
              <a:gd name="connsiteY10" fmla="*/ 263710 h 346697"/>
              <a:gd name="connsiteX11" fmla="*/ 74661 w 380882"/>
              <a:gd name="connsiteY11" fmla="*/ 329432 h 346697"/>
              <a:gd name="connsiteX0" fmla="*/ 74661 w 380882"/>
              <a:gd name="connsiteY0" fmla="*/ 330289 h 347554"/>
              <a:gd name="connsiteX1" fmla="*/ 843 w 380882"/>
              <a:gd name="connsiteY1" fmla="*/ 150266 h 347554"/>
              <a:gd name="connsiteX2" fmla="*/ 44181 w 380882"/>
              <a:gd name="connsiteY2" fmla="*/ 78829 h 347554"/>
              <a:gd name="connsiteX3" fmla="*/ 181341 w 380882"/>
              <a:gd name="connsiteY3" fmla="*/ 33109 h 347554"/>
              <a:gd name="connsiteX4" fmla="*/ 283520 w 380882"/>
              <a:gd name="connsiteY4" fmla="*/ 970 h 347554"/>
              <a:gd name="connsiteX5" fmla="*/ 292051 w 380882"/>
              <a:gd name="connsiteY5" fmla="*/ 69669 h 347554"/>
              <a:gd name="connsiteX6" fmla="*/ 317913 w 380882"/>
              <a:gd name="connsiteY6" fmla="*/ 41589 h 347554"/>
              <a:gd name="connsiteX7" fmla="*/ 334911 w 380882"/>
              <a:gd name="connsiteY7" fmla="*/ 62279 h 347554"/>
              <a:gd name="connsiteX8" fmla="*/ 356601 w 380882"/>
              <a:gd name="connsiteY8" fmla="*/ 55969 h 347554"/>
              <a:gd name="connsiteX9" fmla="*/ 359935 w 380882"/>
              <a:gd name="connsiteY9" fmla="*/ 264567 h 347554"/>
              <a:gd name="connsiteX10" fmla="*/ 74661 w 380882"/>
              <a:gd name="connsiteY10" fmla="*/ 330289 h 347554"/>
              <a:gd name="connsiteX0" fmla="*/ 74661 w 380882"/>
              <a:gd name="connsiteY0" fmla="*/ 329393 h 346658"/>
              <a:gd name="connsiteX1" fmla="*/ 843 w 380882"/>
              <a:gd name="connsiteY1" fmla="*/ 149370 h 346658"/>
              <a:gd name="connsiteX2" fmla="*/ 44181 w 380882"/>
              <a:gd name="connsiteY2" fmla="*/ 77933 h 346658"/>
              <a:gd name="connsiteX3" fmla="*/ 181341 w 380882"/>
              <a:gd name="connsiteY3" fmla="*/ 32213 h 346658"/>
              <a:gd name="connsiteX4" fmla="*/ 283520 w 380882"/>
              <a:gd name="connsiteY4" fmla="*/ 74 h 346658"/>
              <a:gd name="connsiteX5" fmla="*/ 317913 w 380882"/>
              <a:gd name="connsiteY5" fmla="*/ 40693 h 346658"/>
              <a:gd name="connsiteX6" fmla="*/ 334911 w 380882"/>
              <a:gd name="connsiteY6" fmla="*/ 61383 h 346658"/>
              <a:gd name="connsiteX7" fmla="*/ 356601 w 380882"/>
              <a:gd name="connsiteY7" fmla="*/ 55073 h 346658"/>
              <a:gd name="connsiteX8" fmla="*/ 359935 w 380882"/>
              <a:gd name="connsiteY8" fmla="*/ 263671 h 346658"/>
              <a:gd name="connsiteX9" fmla="*/ 74661 w 380882"/>
              <a:gd name="connsiteY9" fmla="*/ 329393 h 346658"/>
              <a:gd name="connsiteX0" fmla="*/ 74661 w 381522"/>
              <a:gd name="connsiteY0" fmla="*/ 329393 h 346658"/>
              <a:gd name="connsiteX1" fmla="*/ 843 w 381522"/>
              <a:gd name="connsiteY1" fmla="*/ 149370 h 346658"/>
              <a:gd name="connsiteX2" fmla="*/ 44181 w 381522"/>
              <a:gd name="connsiteY2" fmla="*/ 77933 h 346658"/>
              <a:gd name="connsiteX3" fmla="*/ 181341 w 381522"/>
              <a:gd name="connsiteY3" fmla="*/ 32213 h 346658"/>
              <a:gd name="connsiteX4" fmla="*/ 283520 w 381522"/>
              <a:gd name="connsiteY4" fmla="*/ 74 h 346658"/>
              <a:gd name="connsiteX5" fmla="*/ 317913 w 381522"/>
              <a:gd name="connsiteY5" fmla="*/ 40693 h 346658"/>
              <a:gd name="connsiteX6" fmla="*/ 356601 w 381522"/>
              <a:gd name="connsiteY6" fmla="*/ 55073 h 346658"/>
              <a:gd name="connsiteX7" fmla="*/ 359935 w 381522"/>
              <a:gd name="connsiteY7" fmla="*/ 263671 h 346658"/>
              <a:gd name="connsiteX8" fmla="*/ 74661 w 381522"/>
              <a:gd name="connsiteY8" fmla="*/ 329393 h 346658"/>
              <a:gd name="connsiteX0" fmla="*/ 74661 w 382907"/>
              <a:gd name="connsiteY0" fmla="*/ 329759 h 347024"/>
              <a:gd name="connsiteX1" fmla="*/ 843 w 382907"/>
              <a:gd name="connsiteY1" fmla="*/ 149736 h 347024"/>
              <a:gd name="connsiteX2" fmla="*/ 44181 w 382907"/>
              <a:gd name="connsiteY2" fmla="*/ 78299 h 347024"/>
              <a:gd name="connsiteX3" fmla="*/ 181341 w 382907"/>
              <a:gd name="connsiteY3" fmla="*/ 32579 h 347024"/>
              <a:gd name="connsiteX4" fmla="*/ 283520 w 382907"/>
              <a:gd name="connsiteY4" fmla="*/ 440 h 347024"/>
              <a:gd name="connsiteX5" fmla="*/ 356601 w 382907"/>
              <a:gd name="connsiteY5" fmla="*/ 55439 h 347024"/>
              <a:gd name="connsiteX6" fmla="*/ 359935 w 382907"/>
              <a:gd name="connsiteY6" fmla="*/ 264037 h 347024"/>
              <a:gd name="connsiteX7" fmla="*/ 74661 w 382907"/>
              <a:gd name="connsiteY7" fmla="*/ 329759 h 347024"/>
              <a:gd name="connsiteX0" fmla="*/ 74661 w 387723"/>
              <a:gd name="connsiteY0" fmla="*/ 301929 h 319194"/>
              <a:gd name="connsiteX1" fmla="*/ 843 w 387723"/>
              <a:gd name="connsiteY1" fmla="*/ 121906 h 319194"/>
              <a:gd name="connsiteX2" fmla="*/ 44181 w 387723"/>
              <a:gd name="connsiteY2" fmla="*/ 50469 h 319194"/>
              <a:gd name="connsiteX3" fmla="*/ 181341 w 387723"/>
              <a:gd name="connsiteY3" fmla="*/ 4749 h 319194"/>
              <a:gd name="connsiteX4" fmla="*/ 356601 w 387723"/>
              <a:gd name="connsiteY4" fmla="*/ 27609 h 319194"/>
              <a:gd name="connsiteX5" fmla="*/ 359935 w 387723"/>
              <a:gd name="connsiteY5" fmla="*/ 236207 h 319194"/>
              <a:gd name="connsiteX6" fmla="*/ 74661 w 387723"/>
              <a:gd name="connsiteY6" fmla="*/ 301929 h 319194"/>
              <a:gd name="connsiteX0" fmla="*/ 73818 w 386880"/>
              <a:gd name="connsiteY0" fmla="*/ 301929 h 319194"/>
              <a:gd name="connsiteX1" fmla="*/ 0 w 386880"/>
              <a:gd name="connsiteY1" fmla="*/ 121906 h 319194"/>
              <a:gd name="connsiteX2" fmla="*/ 180498 w 386880"/>
              <a:gd name="connsiteY2" fmla="*/ 4749 h 319194"/>
              <a:gd name="connsiteX3" fmla="*/ 355758 w 386880"/>
              <a:gd name="connsiteY3" fmla="*/ 27609 h 319194"/>
              <a:gd name="connsiteX4" fmla="*/ 359092 w 386880"/>
              <a:gd name="connsiteY4" fmla="*/ 236207 h 319194"/>
              <a:gd name="connsiteX5" fmla="*/ 73818 w 386880"/>
              <a:gd name="connsiteY5" fmla="*/ 301929 h 319194"/>
              <a:gd name="connsiteX0" fmla="*/ 73818 w 386880"/>
              <a:gd name="connsiteY0" fmla="*/ 346712 h 363977"/>
              <a:gd name="connsiteX1" fmla="*/ 0 w 386880"/>
              <a:gd name="connsiteY1" fmla="*/ 166689 h 363977"/>
              <a:gd name="connsiteX2" fmla="*/ 174586 w 386880"/>
              <a:gd name="connsiteY2" fmla="*/ 268 h 363977"/>
              <a:gd name="connsiteX3" fmla="*/ 355758 w 386880"/>
              <a:gd name="connsiteY3" fmla="*/ 72392 h 363977"/>
              <a:gd name="connsiteX4" fmla="*/ 359092 w 386880"/>
              <a:gd name="connsiteY4" fmla="*/ 280990 h 363977"/>
              <a:gd name="connsiteX5" fmla="*/ 73818 w 386880"/>
              <a:gd name="connsiteY5" fmla="*/ 346712 h 363977"/>
              <a:gd name="connsiteX0" fmla="*/ 73818 w 386880"/>
              <a:gd name="connsiteY0" fmla="*/ 346712 h 363977"/>
              <a:gd name="connsiteX1" fmla="*/ 0 w 386880"/>
              <a:gd name="connsiteY1" fmla="*/ 166689 h 363977"/>
              <a:gd name="connsiteX2" fmla="*/ 174586 w 386880"/>
              <a:gd name="connsiteY2" fmla="*/ 268 h 363977"/>
              <a:gd name="connsiteX3" fmla="*/ 355758 w 386880"/>
              <a:gd name="connsiteY3" fmla="*/ 72392 h 363977"/>
              <a:gd name="connsiteX4" fmla="*/ 359092 w 386880"/>
              <a:gd name="connsiteY4" fmla="*/ 280990 h 363977"/>
              <a:gd name="connsiteX5" fmla="*/ 73818 w 386880"/>
              <a:gd name="connsiteY5" fmla="*/ 346712 h 363977"/>
              <a:gd name="connsiteX0" fmla="*/ 73818 w 386880"/>
              <a:gd name="connsiteY0" fmla="*/ 346712 h 363977"/>
              <a:gd name="connsiteX1" fmla="*/ 0 w 386880"/>
              <a:gd name="connsiteY1" fmla="*/ 166689 h 363977"/>
              <a:gd name="connsiteX2" fmla="*/ 174586 w 386880"/>
              <a:gd name="connsiteY2" fmla="*/ 268 h 363977"/>
              <a:gd name="connsiteX3" fmla="*/ 355758 w 386880"/>
              <a:gd name="connsiteY3" fmla="*/ 72392 h 363977"/>
              <a:gd name="connsiteX4" fmla="*/ 359092 w 386880"/>
              <a:gd name="connsiteY4" fmla="*/ 280990 h 363977"/>
              <a:gd name="connsiteX5" fmla="*/ 73818 w 386880"/>
              <a:gd name="connsiteY5" fmla="*/ 346712 h 3639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6880" h="363977">
                <a:moveTo>
                  <a:pt x="73818" y="346712"/>
                </a:moveTo>
                <a:cubicBezTo>
                  <a:pt x="21112" y="296706"/>
                  <a:pt x="24295" y="273631"/>
                  <a:pt x="0" y="166689"/>
                </a:cubicBezTo>
                <a:cubicBezTo>
                  <a:pt x="45" y="46219"/>
                  <a:pt x="115293" y="15984"/>
                  <a:pt x="174586" y="268"/>
                </a:cubicBezTo>
                <a:cubicBezTo>
                  <a:pt x="226656" y="-3542"/>
                  <a:pt x="325992" y="33816"/>
                  <a:pt x="355758" y="72392"/>
                </a:cubicBezTo>
                <a:cubicBezTo>
                  <a:pt x="385524" y="110968"/>
                  <a:pt x="406082" y="235270"/>
                  <a:pt x="359092" y="280990"/>
                </a:cubicBezTo>
                <a:cubicBezTo>
                  <a:pt x="312102" y="326710"/>
                  <a:pt x="126524" y="396718"/>
                  <a:pt x="73818" y="346712"/>
                </a:cubicBezTo>
                <a:close/>
              </a:path>
            </a:pathLst>
          </a:custGeom>
          <a:solidFill>
            <a:schemeClr val="accent3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711" name="Freeform: Shape 23">
            <a:extLst>
              <a:ext uri="{FF2B5EF4-FFF2-40B4-BE49-F238E27FC236}">
                <a16:creationId xmlns:a16="http://schemas.microsoft.com/office/drawing/2014/main" id="{DC7C9801-A8CB-C0AD-1D9B-24C983644C45}"/>
              </a:ext>
            </a:extLst>
          </p:cNvPr>
          <p:cNvSpPr/>
          <p:nvPr/>
        </p:nvSpPr>
        <p:spPr>
          <a:xfrm rot="849571">
            <a:off x="9383431" y="3235742"/>
            <a:ext cx="129387" cy="125692"/>
          </a:xfrm>
          <a:custGeom>
            <a:avLst/>
            <a:gdLst>
              <a:gd name="connsiteX0" fmla="*/ 145257 w 176213"/>
              <a:gd name="connsiteY0" fmla="*/ 195262 h 223837"/>
              <a:gd name="connsiteX1" fmla="*/ 61913 w 176213"/>
              <a:gd name="connsiteY1" fmla="*/ 223837 h 223837"/>
              <a:gd name="connsiteX2" fmla="*/ 0 w 176213"/>
              <a:gd name="connsiteY2" fmla="*/ 95250 h 223837"/>
              <a:gd name="connsiteX3" fmla="*/ 130969 w 176213"/>
              <a:gd name="connsiteY3" fmla="*/ 0 h 223837"/>
              <a:gd name="connsiteX4" fmla="*/ 176213 w 176213"/>
              <a:gd name="connsiteY4" fmla="*/ 54769 h 223837"/>
              <a:gd name="connsiteX5" fmla="*/ 114300 w 176213"/>
              <a:gd name="connsiteY5" fmla="*/ 114300 h 223837"/>
              <a:gd name="connsiteX6" fmla="*/ 145257 w 176213"/>
              <a:gd name="connsiteY6" fmla="*/ 195262 h 223837"/>
              <a:gd name="connsiteX0" fmla="*/ 146974 w 177930"/>
              <a:gd name="connsiteY0" fmla="*/ 195262 h 223837"/>
              <a:gd name="connsiteX1" fmla="*/ 63630 w 177930"/>
              <a:gd name="connsiteY1" fmla="*/ 223837 h 223837"/>
              <a:gd name="connsiteX2" fmla="*/ 1717 w 177930"/>
              <a:gd name="connsiteY2" fmla="*/ 95250 h 223837"/>
              <a:gd name="connsiteX3" fmla="*/ 132686 w 177930"/>
              <a:gd name="connsiteY3" fmla="*/ 0 h 223837"/>
              <a:gd name="connsiteX4" fmla="*/ 177930 w 177930"/>
              <a:gd name="connsiteY4" fmla="*/ 54769 h 223837"/>
              <a:gd name="connsiteX5" fmla="*/ 116017 w 177930"/>
              <a:gd name="connsiteY5" fmla="*/ 114300 h 223837"/>
              <a:gd name="connsiteX6" fmla="*/ 146974 w 177930"/>
              <a:gd name="connsiteY6" fmla="*/ 195262 h 223837"/>
              <a:gd name="connsiteX0" fmla="*/ 146974 w 177930"/>
              <a:gd name="connsiteY0" fmla="*/ 195262 h 229057"/>
              <a:gd name="connsiteX1" fmla="*/ 63630 w 177930"/>
              <a:gd name="connsiteY1" fmla="*/ 223837 h 229057"/>
              <a:gd name="connsiteX2" fmla="*/ 1717 w 177930"/>
              <a:gd name="connsiteY2" fmla="*/ 95250 h 229057"/>
              <a:gd name="connsiteX3" fmla="*/ 132686 w 177930"/>
              <a:gd name="connsiteY3" fmla="*/ 0 h 229057"/>
              <a:gd name="connsiteX4" fmla="*/ 177930 w 177930"/>
              <a:gd name="connsiteY4" fmla="*/ 54769 h 229057"/>
              <a:gd name="connsiteX5" fmla="*/ 116017 w 177930"/>
              <a:gd name="connsiteY5" fmla="*/ 114300 h 229057"/>
              <a:gd name="connsiteX6" fmla="*/ 146974 w 177930"/>
              <a:gd name="connsiteY6" fmla="*/ 195262 h 229057"/>
              <a:gd name="connsiteX0" fmla="*/ 146974 w 177930"/>
              <a:gd name="connsiteY0" fmla="*/ 198042 h 231837"/>
              <a:gd name="connsiteX1" fmla="*/ 63630 w 177930"/>
              <a:gd name="connsiteY1" fmla="*/ 226617 h 231837"/>
              <a:gd name="connsiteX2" fmla="*/ 1717 w 177930"/>
              <a:gd name="connsiteY2" fmla="*/ 98030 h 231837"/>
              <a:gd name="connsiteX3" fmla="*/ 132686 w 177930"/>
              <a:gd name="connsiteY3" fmla="*/ 2780 h 231837"/>
              <a:gd name="connsiteX4" fmla="*/ 177930 w 177930"/>
              <a:gd name="connsiteY4" fmla="*/ 57549 h 231837"/>
              <a:gd name="connsiteX5" fmla="*/ 116017 w 177930"/>
              <a:gd name="connsiteY5" fmla="*/ 117080 h 231837"/>
              <a:gd name="connsiteX6" fmla="*/ 146974 w 177930"/>
              <a:gd name="connsiteY6" fmla="*/ 198042 h 231837"/>
              <a:gd name="connsiteX0" fmla="*/ 146974 w 177930"/>
              <a:gd name="connsiteY0" fmla="*/ 198042 h 231837"/>
              <a:gd name="connsiteX1" fmla="*/ 63630 w 177930"/>
              <a:gd name="connsiteY1" fmla="*/ 226617 h 231837"/>
              <a:gd name="connsiteX2" fmla="*/ 1717 w 177930"/>
              <a:gd name="connsiteY2" fmla="*/ 98030 h 231837"/>
              <a:gd name="connsiteX3" fmla="*/ 132686 w 177930"/>
              <a:gd name="connsiteY3" fmla="*/ 2780 h 231837"/>
              <a:gd name="connsiteX4" fmla="*/ 177930 w 177930"/>
              <a:gd name="connsiteY4" fmla="*/ 57549 h 231837"/>
              <a:gd name="connsiteX5" fmla="*/ 116017 w 177930"/>
              <a:gd name="connsiteY5" fmla="*/ 117080 h 231837"/>
              <a:gd name="connsiteX6" fmla="*/ 146974 w 177930"/>
              <a:gd name="connsiteY6" fmla="*/ 198042 h 231837"/>
              <a:gd name="connsiteX0" fmla="*/ 140025 w 170981"/>
              <a:gd name="connsiteY0" fmla="*/ 195898 h 229852"/>
              <a:gd name="connsiteX1" fmla="*/ 56681 w 170981"/>
              <a:gd name="connsiteY1" fmla="*/ 224473 h 229852"/>
              <a:gd name="connsiteX2" fmla="*/ 1912 w 170981"/>
              <a:gd name="connsiteY2" fmla="*/ 93505 h 229852"/>
              <a:gd name="connsiteX3" fmla="*/ 125737 w 170981"/>
              <a:gd name="connsiteY3" fmla="*/ 636 h 229852"/>
              <a:gd name="connsiteX4" fmla="*/ 170981 w 170981"/>
              <a:gd name="connsiteY4" fmla="*/ 55405 h 229852"/>
              <a:gd name="connsiteX5" fmla="*/ 109068 w 170981"/>
              <a:gd name="connsiteY5" fmla="*/ 114936 h 229852"/>
              <a:gd name="connsiteX6" fmla="*/ 140025 w 170981"/>
              <a:gd name="connsiteY6" fmla="*/ 195898 h 229852"/>
              <a:gd name="connsiteX0" fmla="*/ 140025 w 170981"/>
              <a:gd name="connsiteY0" fmla="*/ 195898 h 229852"/>
              <a:gd name="connsiteX1" fmla="*/ 56681 w 170981"/>
              <a:gd name="connsiteY1" fmla="*/ 224473 h 229852"/>
              <a:gd name="connsiteX2" fmla="*/ 1912 w 170981"/>
              <a:gd name="connsiteY2" fmla="*/ 93505 h 229852"/>
              <a:gd name="connsiteX3" fmla="*/ 125737 w 170981"/>
              <a:gd name="connsiteY3" fmla="*/ 636 h 229852"/>
              <a:gd name="connsiteX4" fmla="*/ 170981 w 170981"/>
              <a:gd name="connsiteY4" fmla="*/ 55405 h 229852"/>
              <a:gd name="connsiteX5" fmla="*/ 109068 w 170981"/>
              <a:gd name="connsiteY5" fmla="*/ 114936 h 229852"/>
              <a:gd name="connsiteX6" fmla="*/ 140025 w 170981"/>
              <a:gd name="connsiteY6" fmla="*/ 195898 h 229852"/>
              <a:gd name="connsiteX0" fmla="*/ 140025 w 176450"/>
              <a:gd name="connsiteY0" fmla="*/ 195879 h 229833"/>
              <a:gd name="connsiteX1" fmla="*/ 56681 w 176450"/>
              <a:gd name="connsiteY1" fmla="*/ 224454 h 229833"/>
              <a:gd name="connsiteX2" fmla="*/ 1912 w 176450"/>
              <a:gd name="connsiteY2" fmla="*/ 93486 h 229833"/>
              <a:gd name="connsiteX3" fmla="*/ 125737 w 176450"/>
              <a:gd name="connsiteY3" fmla="*/ 617 h 229833"/>
              <a:gd name="connsiteX4" fmla="*/ 170981 w 176450"/>
              <a:gd name="connsiteY4" fmla="*/ 55386 h 229833"/>
              <a:gd name="connsiteX5" fmla="*/ 109068 w 176450"/>
              <a:gd name="connsiteY5" fmla="*/ 114917 h 229833"/>
              <a:gd name="connsiteX6" fmla="*/ 140025 w 176450"/>
              <a:gd name="connsiteY6" fmla="*/ 195879 h 229833"/>
              <a:gd name="connsiteX0" fmla="*/ 140025 w 171728"/>
              <a:gd name="connsiteY0" fmla="*/ 195802 h 229756"/>
              <a:gd name="connsiteX1" fmla="*/ 56681 w 171728"/>
              <a:gd name="connsiteY1" fmla="*/ 224377 h 229756"/>
              <a:gd name="connsiteX2" fmla="*/ 1912 w 171728"/>
              <a:gd name="connsiteY2" fmla="*/ 93409 h 229756"/>
              <a:gd name="connsiteX3" fmla="*/ 125737 w 171728"/>
              <a:gd name="connsiteY3" fmla="*/ 540 h 229756"/>
              <a:gd name="connsiteX4" fmla="*/ 170981 w 171728"/>
              <a:gd name="connsiteY4" fmla="*/ 55309 h 229756"/>
              <a:gd name="connsiteX5" fmla="*/ 109068 w 171728"/>
              <a:gd name="connsiteY5" fmla="*/ 114840 h 229756"/>
              <a:gd name="connsiteX6" fmla="*/ 140025 w 171728"/>
              <a:gd name="connsiteY6" fmla="*/ 195802 h 229756"/>
              <a:gd name="connsiteX0" fmla="*/ 140025 w 198706"/>
              <a:gd name="connsiteY0" fmla="*/ 195802 h 229626"/>
              <a:gd name="connsiteX1" fmla="*/ 56681 w 198706"/>
              <a:gd name="connsiteY1" fmla="*/ 224377 h 229626"/>
              <a:gd name="connsiteX2" fmla="*/ 1912 w 198706"/>
              <a:gd name="connsiteY2" fmla="*/ 93409 h 229626"/>
              <a:gd name="connsiteX3" fmla="*/ 125737 w 198706"/>
              <a:gd name="connsiteY3" fmla="*/ 540 h 229626"/>
              <a:gd name="connsiteX4" fmla="*/ 170981 w 198706"/>
              <a:gd name="connsiteY4" fmla="*/ 55309 h 229626"/>
              <a:gd name="connsiteX5" fmla="*/ 198218 w 198706"/>
              <a:gd name="connsiteY5" fmla="*/ 121817 h 229626"/>
              <a:gd name="connsiteX6" fmla="*/ 140025 w 198706"/>
              <a:gd name="connsiteY6" fmla="*/ 195802 h 229626"/>
              <a:gd name="connsiteX0" fmla="*/ 140025 w 198327"/>
              <a:gd name="connsiteY0" fmla="*/ 195525 h 229349"/>
              <a:gd name="connsiteX1" fmla="*/ 56681 w 198327"/>
              <a:gd name="connsiteY1" fmla="*/ 224100 h 229349"/>
              <a:gd name="connsiteX2" fmla="*/ 1912 w 198327"/>
              <a:gd name="connsiteY2" fmla="*/ 93132 h 229349"/>
              <a:gd name="connsiteX3" fmla="*/ 125737 w 198327"/>
              <a:gd name="connsiteY3" fmla="*/ 263 h 229349"/>
              <a:gd name="connsiteX4" fmla="*/ 198218 w 198327"/>
              <a:gd name="connsiteY4" fmla="*/ 121540 h 229349"/>
              <a:gd name="connsiteX5" fmla="*/ 140025 w 198327"/>
              <a:gd name="connsiteY5" fmla="*/ 195525 h 229349"/>
              <a:gd name="connsiteX0" fmla="*/ 140597 w 198792"/>
              <a:gd name="connsiteY0" fmla="*/ 135516 h 169340"/>
              <a:gd name="connsiteX1" fmla="*/ 57253 w 198792"/>
              <a:gd name="connsiteY1" fmla="*/ 164091 h 169340"/>
              <a:gd name="connsiteX2" fmla="*/ 2484 w 198792"/>
              <a:gd name="connsiteY2" fmla="*/ 33123 h 169340"/>
              <a:gd name="connsiteX3" fmla="*/ 138627 w 198792"/>
              <a:gd name="connsiteY3" fmla="*/ 1164 h 169340"/>
              <a:gd name="connsiteX4" fmla="*/ 198790 w 198792"/>
              <a:gd name="connsiteY4" fmla="*/ 61531 h 169340"/>
              <a:gd name="connsiteX5" fmla="*/ 140597 w 198792"/>
              <a:gd name="connsiteY5" fmla="*/ 135516 h 169340"/>
              <a:gd name="connsiteX0" fmla="*/ 140008 w 198316"/>
              <a:gd name="connsiteY0" fmla="*/ 153071 h 186895"/>
              <a:gd name="connsiteX1" fmla="*/ 56664 w 198316"/>
              <a:gd name="connsiteY1" fmla="*/ 181646 h 186895"/>
              <a:gd name="connsiteX2" fmla="*/ 1895 w 198316"/>
              <a:gd name="connsiteY2" fmla="*/ 50678 h 186895"/>
              <a:gd name="connsiteX3" fmla="*/ 125334 w 198316"/>
              <a:gd name="connsiteY3" fmla="*/ 585 h 186895"/>
              <a:gd name="connsiteX4" fmla="*/ 198201 w 198316"/>
              <a:gd name="connsiteY4" fmla="*/ 79086 h 186895"/>
              <a:gd name="connsiteX5" fmla="*/ 140008 w 198316"/>
              <a:gd name="connsiteY5" fmla="*/ 153071 h 186895"/>
              <a:gd name="connsiteX0" fmla="*/ 144336 w 198433"/>
              <a:gd name="connsiteY0" fmla="*/ 154018 h 187074"/>
              <a:gd name="connsiteX1" fmla="*/ 56688 w 198433"/>
              <a:gd name="connsiteY1" fmla="*/ 181646 h 187074"/>
              <a:gd name="connsiteX2" fmla="*/ 1919 w 198433"/>
              <a:gd name="connsiteY2" fmla="*/ 50678 h 187074"/>
              <a:gd name="connsiteX3" fmla="*/ 125358 w 198433"/>
              <a:gd name="connsiteY3" fmla="*/ 585 h 187074"/>
              <a:gd name="connsiteX4" fmla="*/ 198225 w 198433"/>
              <a:gd name="connsiteY4" fmla="*/ 79086 h 187074"/>
              <a:gd name="connsiteX5" fmla="*/ 144336 w 198433"/>
              <a:gd name="connsiteY5" fmla="*/ 154018 h 187074"/>
              <a:gd name="connsiteX0" fmla="*/ 133630 w 187727"/>
              <a:gd name="connsiteY0" fmla="*/ 153624 h 182895"/>
              <a:gd name="connsiteX1" fmla="*/ 45982 w 187727"/>
              <a:gd name="connsiteY1" fmla="*/ 181252 h 182895"/>
              <a:gd name="connsiteX2" fmla="*/ 2335 w 187727"/>
              <a:gd name="connsiteY2" fmla="*/ 110480 h 182895"/>
              <a:gd name="connsiteX3" fmla="*/ 114652 w 187727"/>
              <a:gd name="connsiteY3" fmla="*/ 191 h 182895"/>
              <a:gd name="connsiteX4" fmla="*/ 187519 w 187727"/>
              <a:gd name="connsiteY4" fmla="*/ 78692 h 182895"/>
              <a:gd name="connsiteX5" fmla="*/ 133630 w 187727"/>
              <a:gd name="connsiteY5" fmla="*/ 153624 h 182895"/>
              <a:gd name="connsiteX0" fmla="*/ 131295 w 185392"/>
              <a:gd name="connsiteY0" fmla="*/ 153624 h 154394"/>
              <a:gd name="connsiteX1" fmla="*/ 0 w 185392"/>
              <a:gd name="connsiteY1" fmla="*/ 110480 h 154394"/>
              <a:gd name="connsiteX2" fmla="*/ 112317 w 185392"/>
              <a:gd name="connsiteY2" fmla="*/ 191 h 154394"/>
              <a:gd name="connsiteX3" fmla="*/ 185184 w 185392"/>
              <a:gd name="connsiteY3" fmla="*/ 78692 h 154394"/>
              <a:gd name="connsiteX4" fmla="*/ 131295 w 185392"/>
              <a:gd name="connsiteY4" fmla="*/ 153624 h 154394"/>
              <a:gd name="connsiteX0" fmla="*/ 134363 w 190718"/>
              <a:gd name="connsiteY0" fmla="*/ 160641 h 161442"/>
              <a:gd name="connsiteX1" fmla="*/ 3068 w 190718"/>
              <a:gd name="connsiteY1" fmla="*/ 117497 h 161442"/>
              <a:gd name="connsiteX2" fmla="*/ 54672 w 190718"/>
              <a:gd name="connsiteY2" fmla="*/ 170 h 161442"/>
              <a:gd name="connsiteX3" fmla="*/ 188252 w 190718"/>
              <a:gd name="connsiteY3" fmla="*/ 85709 h 161442"/>
              <a:gd name="connsiteX4" fmla="*/ 134363 w 190718"/>
              <a:gd name="connsiteY4" fmla="*/ 160641 h 161442"/>
              <a:gd name="connsiteX0" fmla="*/ 134363 w 178428"/>
              <a:gd name="connsiteY0" fmla="*/ 160641 h 163768"/>
              <a:gd name="connsiteX1" fmla="*/ 3068 w 178428"/>
              <a:gd name="connsiteY1" fmla="*/ 117497 h 163768"/>
              <a:gd name="connsiteX2" fmla="*/ 54672 w 178428"/>
              <a:gd name="connsiteY2" fmla="*/ 170 h 163768"/>
              <a:gd name="connsiteX3" fmla="*/ 174773 w 178428"/>
              <a:gd name="connsiteY3" fmla="*/ 40334 h 163768"/>
              <a:gd name="connsiteX4" fmla="*/ 134363 w 178428"/>
              <a:gd name="connsiteY4" fmla="*/ 160641 h 163768"/>
              <a:gd name="connsiteX0" fmla="*/ 138318 w 183727"/>
              <a:gd name="connsiteY0" fmla="*/ 195923 h 199514"/>
              <a:gd name="connsiteX1" fmla="*/ 7023 w 183727"/>
              <a:gd name="connsiteY1" fmla="*/ 152779 h 199514"/>
              <a:gd name="connsiteX2" fmla="*/ 37522 w 183727"/>
              <a:gd name="connsiteY2" fmla="*/ 131 h 199514"/>
              <a:gd name="connsiteX3" fmla="*/ 178728 w 183727"/>
              <a:gd name="connsiteY3" fmla="*/ 75616 h 199514"/>
              <a:gd name="connsiteX4" fmla="*/ 138318 w 183727"/>
              <a:gd name="connsiteY4" fmla="*/ 195923 h 199514"/>
              <a:gd name="connsiteX0" fmla="*/ 138318 w 198785"/>
              <a:gd name="connsiteY0" fmla="*/ 195923 h 200029"/>
              <a:gd name="connsiteX1" fmla="*/ 7023 w 198785"/>
              <a:gd name="connsiteY1" fmla="*/ 152779 h 200029"/>
              <a:gd name="connsiteX2" fmla="*/ 37522 w 198785"/>
              <a:gd name="connsiteY2" fmla="*/ 131 h 200029"/>
              <a:gd name="connsiteX3" fmla="*/ 194960 w 198785"/>
              <a:gd name="connsiteY3" fmla="*/ 67456 h 200029"/>
              <a:gd name="connsiteX4" fmla="*/ 138318 w 198785"/>
              <a:gd name="connsiteY4" fmla="*/ 195923 h 200029"/>
              <a:gd name="connsiteX0" fmla="*/ 138318 w 198785"/>
              <a:gd name="connsiteY0" fmla="*/ 202073 h 206179"/>
              <a:gd name="connsiteX1" fmla="*/ 7023 w 198785"/>
              <a:gd name="connsiteY1" fmla="*/ 158929 h 206179"/>
              <a:gd name="connsiteX2" fmla="*/ 37522 w 198785"/>
              <a:gd name="connsiteY2" fmla="*/ 6281 h 206179"/>
              <a:gd name="connsiteX3" fmla="*/ 194960 w 198785"/>
              <a:gd name="connsiteY3" fmla="*/ 73606 h 206179"/>
              <a:gd name="connsiteX4" fmla="*/ 138318 w 198785"/>
              <a:gd name="connsiteY4" fmla="*/ 202073 h 206179"/>
              <a:gd name="connsiteX0" fmla="*/ 147129 w 207596"/>
              <a:gd name="connsiteY0" fmla="*/ 202073 h 206179"/>
              <a:gd name="connsiteX1" fmla="*/ 15834 w 207596"/>
              <a:gd name="connsiteY1" fmla="*/ 158929 h 206179"/>
              <a:gd name="connsiteX2" fmla="*/ 46333 w 207596"/>
              <a:gd name="connsiteY2" fmla="*/ 6281 h 206179"/>
              <a:gd name="connsiteX3" fmla="*/ 203771 w 207596"/>
              <a:gd name="connsiteY3" fmla="*/ 73606 h 206179"/>
              <a:gd name="connsiteX4" fmla="*/ 147129 w 207596"/>
              <a:gd name="connsiteY4" fmla="*/ 202073 h 206179"/>
              <a:gd name="connsiteX0" fmla="*/ 147129 w 207596"/>
              <a:gd name="connsiteY0" fmla="*/ 202073 h 206179"/>
              <a:gd name="connsiteX1" fmla="*/ 15834 w 207596"/>
              <a:gd name="connsiteY1" fmla="*/ 158929 h 206179"/>
              <a:gd name="connsiteX2" fmla="*/ 46333 w 207596"/>
              <a:gd name="connsiteY2" fmla="*/ 6281 h 206179"/>
              <a:gd name="connsiteX3" fmla="*/ 203771 w 207596"/>
              <a:gd name="connsiteY3" fmla="*/ 73606 h 206179"/>
              <a:gd name="connsiteX4" fmla="*/ 147129 w 207596"/>
              <a:gd name="connsiteY4" fmla="*/ 202073 h 206179"/>
              <a:gd name="connsiteX0" fmla="*/ 147129 w 210875"/>
              <a:gd name="connsiteY0" fmla="*/ 207263 h 211369"/>
              <a:gd name="connsiteX1" fmla="*/ 15834 w 210875"/>
              <a:gd name="connsiteY1" fmla="*/ 164119 h 211369"/>
              <a:gd name="connsiteX2" fmla="*/ 46333 w 210875"/>
              <a:gd name="connsiteY2" fmla="*/ 11471 h 211369"/>
              <a:gd name="connsiteX3" fmla="*/ 203771 w 210875"/>
              <a:gd name="connsiteY3" fmla="*/ 78796 h 211369"/>
              <a:gd name="connsiteX4" fmla="*/ 147129 w 210875"/>
              <a:gd name="connsiteY4" fmla="*/ 207263 h 211369"/>
              <a:gd name="connsiteX0" fmla="*/ 147129 w 213870"/>
              <a:gd name="connsiteY0" fmla="*/ 207263 h 216390"/>
              <a:gd name="connsiteX1" fmla="*/ 15834 w 213870"/>
              <a:gd name="connsiteY1" fmla="*/ 164119 h 216390"/>
              <a:gd name="connsiteX2" fmla="*/ 46333 w 213870"/>
              <a:gd name="connsiteY2" fmla="*/ 11471 h 216390"/>
              <a:gd name="connsiteX3" fmla="*/ 203771 w 213870"/>
              <a:gd name="connsiteY3" fmla="*/ 78796 h 216390"/>
              <a:gd name="connsiteX4" fmla="*/ 147129 w 213870"/>
              <a:gd name="connsiteY4" fmla="*/ 207263 h 216390"/>
              <a:gd name="connsiteX0" fmla="*/ 154863 w 221604"/>
              <a:gd name="connsiteY0" fmla="*/ 207263 h 220924"/>
              <a:gd name="connsiteX1" fmla="*/ 23568 w 221604"/>
              <a:gd name="connsiteY1" fmla="*/ 164119 h 220924"/>
              <a:gd name="connsiteX2" fmla="*/ 54067 w 221604"/>
              <a:gd name="connsiteY2" fmla="*/ 11471 h 220924"/>
              <a:gd name="connsiteX3" fmla="*/ 211505 w 221604"/>
              <a:gd name="connsiteY3" fmla="*/ 78796 h 220924"/>
              <a:gd name="connsiteX4" fmla="*/ 154863 w 221604"/>
              <a:gd name="connsiteY4" fmla="*/ 207263 h 2209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1604" h="220924">
                <a:moveTo>
                  <a:pt x="154863" y="207263"/>
                </a:moveTo>
                <a:cubicBezTo>
                  <a:pt x="98236" y="233965"/>
                  <a:pt x="59062" y="222519"/>
                  <a:pt x="23568" y="164119"/>
                </a:cubicBezTo>
                <a:cubicBezTo>
                  <a:pt x="-11926" y="105719"/>
                  <a:pt x="-11563" y="37395"/>
                  <a:pt x="54067" y="11471"/>
                </a:cubicBezTo>
                <a:cubicBezTo>
                  <a:pt x="119697" y="-14453"/>
                  <a:pt x="185530" y="1736"/>
                  <a:pt x="211505" y="78796"/>
                </a:cubicBezTo>
                <a:cubicBezTo>
                  <a:pt x="237480" y="155856"/>
                  <a:pt x="211490" y="180561"/>
                  <a:pt x="154863" y="207263"/>
                </a:cubicBezTo>
                <a:close/>
              </a:path>
            </a:pathLst>
          </a:custGeom>
          <a:solidFill>
            <a:schemeClr val="accent3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712" name="Freeform: Shape 16">
            <a:extLst>
              <a:ext uri="{FF2B5EF4-FFF2-40B4-BE49-F238E27FC236}">
                <a16:creationId xmlns:a16="http://schemas.microsoft.com/office/drawing/2014/main" id="{CF41ADA7-B2A4-F147-2982-CBF883664815}"/>
              </a:ext>
            </a:extLst>
          </p:cNvPr>
          <p:cNvSpPr/>
          <p:nvPr/>
        </p:nvSpPr>
        <p:spPr>
          <a:xfrm>
            <a:off x="9147614" y="3037453"/>
            <a:ext cx="204568" cy="187539"/>
          </a:xfrm>
          <a:custGeom>
            <a:avLst/>
            <a:gdLst>
              <a:gd name="connsiteX0" fmla="*/ 30480 w 327660"/>
              <a:gd name="connsiteY0" fmla="*/ 320040 h 320040"/>
              <a:gd name="connsiteX1" fmla="*/ 0 w 327660"/>
              <a:gd name="connsiteY1" fmla="*/ 68580 h 320040"/>
              <a:gd name="connsiteX2" fmla="*/ 137160 w 327660"/>
              <a:gd name="connsiteY2" fmla="*/ 22860 h 320040"/>
              <a:gd name="connsiteX3" fmla="*/ 236220 w 327660"/>
              <a:gd name="connsiteY3" fmla="*/ 0 h 320040"/>
              <a:gd name="connsiteX4" fmla="*/ 213360 w 327660"/>
              <a:gd name="connsiteY4" fmla="*/ 76200 h 320040"/>
              <a:gd name="connsiteX5" fmla="*/ 243840 w 327660"/>
              <a:gd name="connsiteY5" fmla="*/ 53340 h 320040"/>
              <a:gd name="connsiteX6" fmla="*/ 312420 w 327660"/>
              <a:gd name="connsiteY6" fmla="*/ 45720 h 320040"/>
              <a:gd name="connsiteX7" fmla="*/ 327660 w 327660"/>
              <a:gd name="connsiteY7" fmla="*/ 152400 h 320040"/>
              <a:gd name="connsiteX8" fmla="*/ 304800 w 327660"/>
              <a:gd name="connsiteY8" fmla="*/ 213360 h 320040"/>
              <a:gd name="connsiteX9" fmla="*/ 327660 w 327660"/>
              <a:gd name="connsiteY9" fmla="*/ 259080 h 320040"/>
              <a:gd name="connsiteX10" fmla="*/ 30480 w 327660"/>
              <a:gd name="connsiteY10" fmla="*/ 320040 h 320040"/>
              <a:gd name="connsiteX0" fmla="*/ 43171 w 340351"/>
              <a:gd name="connsiteY0" fmla="*/ 320040 h 327788"/>
              <a:gd name="connsiteX1" fmla="*/ 12691 w 340351"/>
              <a:gd name="connsiteY1" fmla="*/ 68580 h 327788"/>
              <a:gd name="connsiteX2" fmla="*/ 149851 w 340351"/>
              <a:gd name="connsiteY2" fmla="*/ 22860 h 327788"/>
              <a:gd name="connsiteX3" fmla="*/ 248911 w 340351"/>
              <a:gd name="connsiteY3" fmla="*/ 0 h 327788"/>
              <a:gd name="connsiteX4" fmla="*/ 226051 w 340351"/>
              <a:gd name="connsiteY4" fmla="*/ 76200 h 327788"/>
              <a:gd name="connsiteX5" fmla="*/ 256531 w 340351"/>
              <a:gd name="connsiteY5" fmla="*/ 53340 h 327788"/>
              <a:gd name="connsiteX6" fmla="*/ 325111 w 340351"/>
              <a:gd name="connsiteY6" fmla="*/ 45720 h 327788"/>
              <a:gd name="connsiteX7" fmla="*/ 340351 w 340351"/>
              <a:gd name="connsiteY7" fmla="*/ 152400 h 327788"/>
              <a:gd name="connsiteX8" fmla="*/ 317491 w 340351"/>
              <a:gd name="connsiteY8" fmla="*/ 213360 h 327788"/>
              <a:gd name="connsiteX9" fmla="*/ 340351 w 340351"/>
              <a:gd name="connsiteY9" fmla="*/ 259080 h 327788"/>
              <a:gd name="connsiteX10" fmla="*/ 43171 w 340351"/>
              <a:gd name="connsiteY10" fmla="*/ 320040 h 327788"/>
              <a:gd name="connsiteX0" fmla="*/ 55326 w 352506"/>
              <a:gd name="connsiteY0" fmla="*/ 320040 h 327788"/>
              <a:gd name="connsiteX1" fmla="*/ 24846 w 352506"/>
              <a:gd name="connsiteY1" fmla="*/ 68580 h 327788"/>
              <a:gd name="connsiteX2" fmla="*/ 162006 w 352506"/>
              <a:gd name="connsiteY2" fmla="*/ 22860 h 327788"/>
              <a:gd name="connsiteX3" fmla="*/ 261066 w 352506"/>
              <a:gd name="connsiteY3" fmla="*/ 0 h 327788"/>
              <a:gd name="connsiteX4" fmla="*/ 238206 w 352506"/>
              <a:gd name="connsiteY4" fmla="*/ 76200 h 327788"/>
              <a:gd name="connsiteX5" fmla="*/ 268686 w 352506"/>
              <a:gd name="connsiteY5" fmla="*/ 53340 h 327788"/>
              <a:gd name="connsiteX6" fmla="*/ 337266 w 352506"/>
              <a:gd name="connsiteY6" fmla="*/ 45720 h 327788"/>
              <a:gd name="connsiteX7" fmla="*/ 352506 w 352506"/>
              <a:gd name="connsiteY7" fmla="*/ 152400 h 327788"/>
              <a:gd name="connsiteX8" fmla="*/ 329646 w 352506"/>
              <a:gd name="connsiteY8" fmla="*/ 213360 h 327788"/>
              <a:gd name="connsiteX9" fmla="*/ 352506 w 352506"/>
              <a:gd name="connsiteY9" fmla="*/ 259080 h 327788"/>
              <a:gd name="connsiteX10" fmla="*/ 55326 w 352506"/>
              <a:gd name="connsiteY10" fmla="*/ 320040 h 327788"/>
              <a:gd name="connsiteX0" fmla="*/ 55326 w 352506"/>
              <a:gd name="connsiteY0" fmla="*/ 365284 h 373032"/>
              <a:gd name="connsiteX1" fmla="*/ 24846 w 352506"/>
              <a:gd name="connsiteY1" fmla="*/ 113824 h 373032"/>
              <a:gd name="connsiteX2" fmla="*/ 162006 w 352506"/>
              <a:gd name="connsiteY2" fmla="*/ 68104 h 373032"/>
              <a:gd name="connsiteX3" fmla="*/ 187248 w 352506"/>
              <a:gd name="connsiteY3" fmla="*/ 0 h 373032"/>
              <a:gd name="connsiteX4" fmla="*/ 238206 w 352506"/>
              <a:gd name="connsiteY4" fmla="*/ 121444 h 373032"/>
              <a:gd name="connsiteX5" fmla="*/ 268686 w 352506"/>
              <a:gd name="connsiteY5" fmla="*/ 98584 h 373032"/>
              <a:gd name="connsiteX6" fmla="*/ 337266 w 352506"/>
              <a:gd name="connsiteY6" fmla="*/ 90964 h 373032"/>
              <a:gd name="connsiteX7" fmla="*/ 352506 w 352506"/>
              <a:gd name="connsiteY7" fmla="*/ 197644 h 373032"/>
              <a:gd name="connsiteX8" fmla="*/ 329646 w 352506"/>
              <a:gd name="connsiteY8" fmla="*/ 258604 h 373032"/>
              <a:gd name="connsiteX9" fmla="*/ 352506 w 352506"/>
              <a:gd name="connsiteY9" fmla="*/ 304324 h 373032"/>
              <a:gd name="connsiteX10" fmla="*/ 55326 w 352506"/>
              <a:gd name="connsiteY10" fmla="*/ 365284 h 373032"/>
              <a:gd name="connsiteX0" fmla="*/ 55326 w 352506"/>
              <a:gd name="connsiteY0" fmla="*/ 336709 h 344457"/>
              <a:gd name="connsiteX1" fmla="*/ 24846 w 352506"/>
              <a:gd name="connsiteY1" fmla="*/ 85249 h 344457"/>
              <a:gd name="connsiteX2" fmla="*/ 162006 w 352506"/>
              <a:gd name="connsiteY2" fmla="*/ 39529 h 344457"/>
              <a:gd name="connsiteX3" fmla="*/ 242016 w 352506"/>
              <a:gd name="connsiteY3" fmla="*/ 0 h 344457"/>
              <a:gd name="connsiteX4" fmla="*/ 238206 w 352506"/>
              <a:gd name="connsiteY4" fmla="*/ 92869 h 344457"/>
              <a:gd name="connsiteX5" fmla="*/ 268686 w 352506"/>
              <a:gd name="connsiteY5" fmla="*/ 70009 h 344457"/>
              <a:gd name="connsiteX6" fmla="*/ 337266 w 352506"/>
              <a:gd name="connsiteY6" fmla="*/ 62389 h 344457"/>
              <a:gd name="connsiteX7" fmla="*/ 352506 w 352506"/>
              <a:gd name="connsiteY7" fmla="*/ 169069 h 344457"/>
              <a:gd name="connsiteX8" fmla="*/ 329646 w 352506"/>
              <a:gd name="connsiteY8" fmla="*/ 230029 h 344457"/>
              <a:gd name="connsiteX9" fmla="*/ 352506 w 352506"/>
              <a:gd name="connsiteY9" fmla="*/ 275749 h 344457"/>
              <a:gd name="connsiteX10" fmla="*/ 55326 w 352506"/>
              <a:gd name="connsiteY10" fmla="*/ 336709 h 344457"/>
              <a:gd name="connsiteX0" fmla="*/ 55326 w 352506"/>
              <a:gd name="connsiteY0" fmla="*/ 338162 h 345910"/>
              <a:gd name="connsiteX1" fmla="*/ 24846 w 352506"/>
              <a:gd name="connsiteY1" fmla="*/ 86702 h 345910"/>
              <a:gd name="connsiteX2" fmla="*/ 162006 w 352506"/>
              <a:gd name="connsiteY2" fmla="*/ 40982 h 345910"/>
              <a:gd name="connsiteX3" fmla="*/ 242016 w 352506"/>
              <a:gd name="connsiteY3" fmla="*/ 1453 h 345910"/>
              <a:gd name="connsiteX4" fmla="*/ 238206 w 352506"/>
              <a:gd name="connsiteY4" fmla="*/ 94322 h 345910"/>
              <a:gd name="connsiteX5" fmla="*/ 268686 w 352506"/>
              <a:gd name="connsiteY5" fmla="*/ 71462 h 345910"/>
              <a:gd name="connsiteX6" fmla="*/ 337266 w 352506"/>
              <a:gd name="connsiteY6" fmla="*/ 63842 h 345910"/>
              <a:gd name="connsiteX7" fmla="*/ 352506 w 352506"/>
              <a:gd name="connsiteY7" fmla="*/ 170522 h 345910"/>
              <a:gd name="connsiteX8" fmla="*/ 329646 w 352506"/>
              <a:gd name="connsiteY8" fmla="*/ 231482 h 345910"/>
              <a:gd name="connsiteX9" fmla="*/ 352506 w 352506"/>
              <a:gd name="connsiteY9" fmla="*/ 277202 h 345910"/>
              <a:gd name="connsiteX10" fmla="*/ 55326 w 352506"/>
              <a:gd name="connsiteY10" fmla="*/ 338162 h 345910"/>
              <a:gd name="connsiteX0" fmla="*/ 55326 w 352794"/>
              <a:gd name="connsiteY0" fmla="*/ 338162 h 345910"/>
              <a:gd name="connsiteX1" fmla="*/ 24846 w 352794"/>
              <a:gd name="connsiteY1" fmla="*/ 86702 h 345910"/>
              <a:gd name="connsiteX2" fmla="*/ 162006 w 352794"/>
              <a:gd name="connsiteY2" fmla="*/ 40982 h 345910"/>
              <a:gd name="connsiteX3" fmla="*/ 242016 w 352794"/>
              <a:gd name="connsiteY3" fmla="*/ 1453 h 345910"/>
              <a:gd name="connsiteX4" fmla="*/ 238206 w 352794"/>
              <a:gd name="connsiteY4" fmla="*/ 94322 h 345910"/>
              <a:gd name="connsiteX5" fmla="*/ 268686 w 352794"/>
              <a:gd name="connsiteY5" fmla="*/ 71462 h 345910"/>
              <a:gd name="connsiteX6" fmla="*/ 337266 w 352794"/>
              <a:gd name="connsiteY6" fmla="*/ 63842 h 345910"/>
              <a:gd name="connsiteX7" fmla="*/ 352506 w 352794"/>
              <a:gd name="connsiteY7" fmla="*/ 170522 h 345910"/>
              <a:gd name="connsiteX8" fmla="*/ 329646 w 352794"/>
              <a:gd name="connsiteY8" fmla="*/ 231482 h 345910"/>
              <a:gd name="connsiteX9" fmla="*/ 352506 w 352794"/>
              <a:gd name="connsiteY9" fmla="*/ 277202 h 345910"/>
              <a:gd name="connsiteX10" fmla="*/ 55326 w 352794"/>
              <a:gd name="connsiteY10" fmla="*/ 338162 h 345910"/>
              <a:gd name="connsiteX0" fmla="*/ 66444 w 363912"/>
              <a:gd name="connsiteY0" fmla="*/ 338162 h 361700"/>
              <a:gd name="connsiteX1" fmla="*/ 35964 w 363912"/>
              <a:gd name="connsiteY1" fmla="*/ 86702 h 361700"/>
              <a:gd name="connsiteX2" fmla="*/ 173124 w 363912"/>
              <a:gd name="connsiteY2" fmla="*/ 40982 h 361700"/>
              <a:gd name="connsiteX3" fmla="*/ 253134 w 363912"/>
              <a:gd name="connsiteY3" fmla="*/ 1453 h 361700"/>
              <a:gd name="connsiteX4" fmla="*/ 249324 w 363912"/>
              <a:gd name="connsiteY4" fmla="*/ 94322 h 361700"/>
              <a:gd name="connsiteX5" fmla="*/ 279804 w 363912"/>
              <a:gd name="connsiteY5" fmla="*/ 71462 h 361700"/>
              <a:gd name="connsiteX6" fmla="*/ 348384 w 363912"/>
              <a:gd name="connsiteY6" fmla="*/ 63842 h 361700"/>
              <a:gd name="connsiteX7" fmla="*/ 363624 w 363912"/>
              <a:gd name="connsiteY7" fmla="*/ 170522 h 361700"/>
              <a:gd name="connsiteX8" fmla="*/ 340764 w 363912"/>
              <a:gd name="connsiteY8" fmla="*/ 231482 h 361700"/>
              <a:gd name="connsiteX9" fmla="*/ 363624 w 363912"/>
              <a:gd name="connsiteY9" fmla="*/ 277202 h 361700"/>
              <a:gd name="connsiteX10" fmla="*/ 66444 w 363912"/>
              <a:gd name="connsiteY10" fmla="*/ 338162 h 361700"/>
              <a:gd name="connsiteX0" fmla="*/ 66444 w 363912"/>
              <a:gd name="connsiteY0" fmla="*/ 338162 h 375491"/>
              <a:gd name="connsiteX1" fmla="*/ 35964 w 363912"/>
              <a:gd name="connsiteY1" fmla="*/ 86702 h 375491"/>
              <a:gd name="connsiteX2" fmla="*/ 173124 w 363912"/>
              <a:gd name="connsiteY2" fmla="*/ 40982 h 375491"/>
              <a:gd name="connsiteX3" fmla="*/ 253134 w 363912"/>
              <a:gd name="connsiteY3" fmla="*/ 1453 h 375491"/>
              <a:gd name="connsiteX4" fmla="*/ 249324 w 363912"/>
              <a:gd name="connsiteY4" fmla="*/ 94322 h 375491"/>
              <a:gd name="connsiteX5" fmla="*/ 279804 w 363912"/>
              <a:gd name="connsiteY5" fmla="*/ 71462 h 375491"/>
              <a:gd name="connsiteX6" fmla="*/ 348384 w 363912"/>
              <a:gd name="connsiteY6" fmla="*/ 63842 h 375491"/>
              <a:gd name="connsiteX7" fmla="*/ 363624 w 363912"/>
              <a:gd name="connsiteY7" fmla="*/ 170522 h 375491"/>
              <a:gd name="connsiteX8" fmla="*/ 340764 w 363912"/>
              <a:gd name="connsiteY8" fmla="*/ 231482 h 375491"/>
              <a:gd name="connsiteX9" fmla="*/ 363624 w 363912"/>
              <a:gd name="connsiteY9" fmla="*/ 277202 h 375491"/>
              <a:gd name="connsiteX10" fmla="*/ 66444 w 363912"/>
              <a:gd name="connsiteY10" fmla="*/ 338162 h 375491"/>
              <a:gd name="connsiteX0" fmla="*/ 66444 w 363912"/>
              <a:gd name="connsiteY0" fmla="*/ 338162 h 375491"/>
              <a:gd name="connsiteX1" fmla="*/ 35964 w 363912"/>
              <a:gd name="connsiteY1" fmla="*/ 86702 h 375491"/>
              <a:gd name="connsiteX2" fmla="*/ 173124 w 363912"/>
              <a:gd name="connsiteY2" fmla="*/ 40982 h 375491"/>
              <a:gd name="connsiteX3" fmla="*/ 253134 w 363912"/>
              <a:gd name="connsiteY3" fmla="*/ 1453 h 375491"/>
              <a:gd name="connsiteX4" fmla="*/ 249324 w 363912"/>
              <a:gd name="connsiteY4" fmla="*/ 94322 h 375491"/>
              <a:gd name="connsiteX5" fmla="*/ 279804 w 363912"/>
              <a:gd name="connsiteY5" fmla="*/ 71462 h 375491"/>
              <a:gd name="connsiteX6" fmla="*/ 348384 w 363912"/>
              <a:gd name="connsiteY6" fmla="*/ 63842 h 375491"/>
              <a:gd name="connsiteX7" fmla="*/ 363624 w 363912"/>
              <a:gd name="connsiteY7" fmla="*/ 170522 h 375491"/>
              <a:gd name="connsiteX8" fmla="*/ 340764 w 363912"/>
              <a:gd name="connsiteY8" fmla="*/ 231482 h 375491"/>
              <a:gd name="connsiteX9" fmla="*/ 363624 w 363912"/>
              <a:gd name="connsiteY9" fmla="*/ 277202 h 375491"/>
              <a:gd name="connsiteX10" fmla="*/ 66444 w 363912"/>
              <a:gd name="connsiteY10" fmla="*/ 338162 h 375491"/>
              <a:gd name="connsiteX0" fmla="*/ 66444 w 363624"/>
              <a:gd name="connsiteY0" fmla="*/ 338162 h 375491"/>
              <a:gd name="connsiteX1" fmla="*/ 35964 w 363624"/>
              <a:gd name="connsiteY1" fmla="*/ 86702 h 375491"/>
              <a:gd name="connsiteX2" fmla="*/ 173124 w 363624"/>
              <a:gd name="connsiteY2" fmla="*/ 40982 h 375491"/>
              <a:gd name="connsiteX3" fmla="*/ 253134 w 363624"/>
              <a:gd name="connsiteY3" fmla="*/ 1453 h 375491"/>
              <a:gd name="connsiteX4" fmla="*/ 249324 w 363624"/>
              <a:gd name="connsiteY4" fmla="*/ 94322 h 375491"/>
              <a:gd name="connsiteX5" fmla="*/ 279804 w 363624"/>
              <a:gd name="connsiteY5" fmla="*/ 71462 h 375491"/>
              <a:gd name="connsiteX6" fmla="*/ 348384 w 363624"/>
              <a:gd name="connsiteY6" fmla="*/ 63842 h 375491"/>
              <a:gd name="connsiteX7" fmla="*/ 363624 w 363624"/>
              <a:gd name="connsiteY7" fmla="*/ 170522 h 375491"/>
              <a:gd name="connsiteX8" fmla="*/ 340764 w 363624"/>
              <a:gd name="connsiteY8" fmla="*/ 231482 h 375491"/>
              <a:gd name="connsiteX9" fmla="*/ 363624 w 363624"/>
              <a:gd name="connsiteY9" fmla="*/ 277202 h 375491"/>
              <a:gd name="connsiteX10" fmla="*/ 66444 w 363624"/>
              <a:gd name="connsiteY10" fmla="*/ 338162 h 375491"/>
              <a:gd name="connsiteX0" fmla="*/ 66444 w 363624"/>
              <a:gd name="connsiteY0" fmla="*/ 338162 h 375491"/>
              <a:gd name="connsiteX1" fmla="*/ 35964 w 363624"/>
              <a:gd name="connsiteY1" fmla="*/ 86702 h 375491"/>
              <a:gd name="connsiteX2" fmla="*/ 173124 w 363624"/>
              <a:gd name="connsiteY2" fmla="*/ 40982 h 375491"/>
              <a:gd name="connsiteX3" fmla="*/ 253134 w 363624"/>
              <a:gd name="connsiteY3" fmla="*/ 1453 h 375491"/>
              <a:gd name="connsiteX4" fmla="*/ 249324 w 363624"/>
              <a:gd name="connsiteY4" fmla="*/ 94322 h 375491"/>
              <a:gd name="connsiteX5" fmla="*/ 279804 w 363624"/>
              <a:gd name="connsiteY5" fmla="*/ 71462 h 375491"/>
              <a:gd name="connsiteX6" fmla="*/ 348384 w 363624"/>
              <a:gd name="connsiteY6" fmla="*/ 63842 h 375491"/>
              <a:gd name="connsiteX7" fmla="*/ 363624 w 363624"/>
              <a:gd name="connsiteY7" fmla="*/ 170522 h 375491"/>
              <a:gd name="connsiteX8" fmla="*/ 340764 w 363624"/>
              <a:gd name="connsiteY8" fmla="*/ 231482 h 375491"/>
              <a:gd name="connsiteX9" fmla="*/ 363624 w 363624"/>
              <a:gd name="connsiteY9" fmla="*/ 277202 h 375491"/>
              <a:gd name="connsiteX10" fmla="*/ 66444 w 363624"/>
              <a:gd name="connsiteY10" fmla="*/ 338162 h 375491"/>
              <a:gd name="connsiteX0" fmla="*/ 66444 w 363624"/>
              <a:gd name="connsiteY0" fmla="*/ 338162 h 375491"/>
              <a:gd name="connsiteX1" fmla="*/ 35964 w 363624"/>
              <a:gd name="connsiteY1" fmla="*/ 86702 h 375491"/>
              <a:gd name="connsiteX2" fmla="*/ 173124 w 363624"/>
              <a:gd name="connsiteY2" fmla="*/ 40982 h 375491"/>
              <a:gd name="connsiteX3" fmla="*/ 253134 w 363624"/>
              <a:gd name="connsiteY3" fmla="*/ 1453 h 375491"/>
              <a:gd name="connsiteX4" fmla="*/ 249324 w 363624"/>
              <a:gd name="connsiteY4" fmla="*/ 94322 h 375491"/>
              <a:gd name="connsiteX5" fmla="*/ 279804 w 363624"/>
              <a:gd name="connsiteY5" fmla="*/ 71462 h 375491"/>
              <a:gd name="connsiteX6" fmla="*/ 348384 w 363624"/>
              <a:gd name="connsiteY6" fmla="*/ 63842 h 375491"/>
              <a:gd name="connsiteX7" fmla="*/ 363624 w 363624"/>
              <a:gd name="connsiteY7" fmla="*/ 170522 h 375491"/>
              <a:gd name="connsiteX8" fmla="*/ 340764 w 363624"/>
              <a:gd name="connsiteY8" fmla="*/ 231482 h 375491"/>
              <a:gd name="connsiteX9" fmla="*/ 363624 w 363624"/>
              <a:gd name="connsiteY9" fmla="*/ 277202 h 375491"/>
              <a:gd name="connsiteX10" fmla="*/ 66444 w 363624"/>
              <a:gd name="connsiteY10" fmla="*/ 338162 h 375491"/>
              <a:gd name="connsiteX0" fmla="*/ 66444 w 363624"/>
              <a:gd name="connsiteY0" fmla="*/ 338162 h 375491"/>
              <a:gd name="connsiteX1" fmla="*/ 35964 w 363624"/>
              <a:gd name="connsiteY1" fmla="*/ 86702 h 375491"/>
              <a:gd name="connsiteX2" fmla="*/ 173124 w 363624"/>
              <a:gd name="connsiteY2" fmla="*/ 40982 h 375491"/>
              <a:gd name="connsiteX3" fmla="*/ 253134 w 363624"/>
              <a:gd name="connsiteY3" fmla="*/ 1453 h 375491"/>
              <a:gd name="connsiteX4" fmla="*/ 249324 w 363624"/>
              <a:gd name="connsiteY4" fmla="*/ 94322 h 375491"/>
              <a:gd name="connsiteX5" fmla="*/ 279804 w 363624"/>
              <a:gd name="connsiteY5" fmla="*/ 71462 h 375491"/>
              <a:gd name="connsiteX6" fmla="*/ 348384 w 363624"/>
              <a:gd name="connsiteY6" fmla="*/ 63842 h 375491"/>
              <a:gd name="connsiteX7" fmla="*/ 363624 w 363624"/>
              <a:gd name="connsiteY7" fmla="*/ 170522 h 375491"/>
              <a:gd name="connsiteX8" fmla="*/ 340764 w 363624"/>
              <a:gd name="connsiteY8" fmla="*/ 231482 h 375491"/>
              <a:gd name="connsiteX9" fmla="*/ 363624 w 363624"/>
              <a:gd name="connsiteY9" fmla="*/ 277202 h 375491"/>
              <a:gd name="connsiteX10" fmla="*/ 66444 w 363624"/>
              <a:gd name="connsiteY10" fmla="*/ 338162 h 375491"/>
              <a:gd name="connsiteX0" fmla="*/ 66444 w 363624"/>
              <a:gd name="connsiteY0" fmla="*/ 338162 h 375491"/>
              <a:gd name="connsiteX1" fmla="*/ 35964 w 363624"/>
              <a:gd name="connsiteY1" fmla="*/ 86702 h 375491"/>
              <a:gd name="connsiteX2" fmla="*/ 173124 w 363624"/>
              <a:gd name="connsiteY2" fmla="*/ 40982 h 375491"/>
              <a:gd name="connsiteX3" fmla="*/ 253134 w 363624"/>
              <a:gd name="connsiteY3" fmla="*/ 1453 h 375491"/>
              <a:gd name="connsiteX4" fmla="*/ 249324 w 363624"/>
              <a:gd name="connsiteY4" fmla="*/ 94322 h 375491"/>
              <a:gd name="connsiteX5" fmla="*/ 279804 w 363624"/>
              <a:gd name="connsiteY5" fmla="*/ 71462 h 375491"/>
              <a:gd name="connsiteX6" fmla="*/ 348384 w 363624"/>
              <a:gd name="connsiteY6" fmla="*/ 63842 h 375491"/>
              <a:gd name="connsiteX7" fmla="*/ 363624 w 363624"/>
              <a:gd name="connsiteY7" fmla="*/ 170522 h 375491"/>
              <a:gd name="connsiteX8" fmla="*/ 340764 w 363624"/>
              <a:gd name="connsiteY8" fmla="*/ 231482 h 375491"/>
              <a:gd name="connsiteX9" fmla="*/ 363624 w 363624"/>
              <a:gd name="connsiteY9" fmla="*/ 277202 h 375491"/>
              <a:gd name="connsiteX10" fmla="*/ 66444 w 363624"/>
              <a:gd name="connsiteY10" fmla="*/ 338162 h 375491"/>
              <a:gd name="connsiteX0" fmla="*/ 66444 w 363624"/>
              <a:gd name="connsiteY0" fmla="*/ 337102 h 374431"/>
              <a:gd name="connsiteX1" fmla="*/ 35964 w 363624"/>
              <a:gd name="connsiteY1" fmla="*/ 85642 h 374431"/>
              <a:gd name="connsiteX2" fmla="*/ 173124 w 363624"/>
              <a:gd name="connsiteY2" fmla="*/ 39922 h 374431"/>
              <a:gd name="connsiteX3" fmla="*/ 253134 w 363624"/>
              <a:gd name="connsiteY3" fmla="*/ 393 h 374431"/>
              <a:gd name="connsiteX4" fmla="*/ 249324 w 363624"/>
              <a:gd name="connsiteY4" fmla="*/ 93262 h 374431"/>
              <a:gd name="connsiteX5" fmla="*/ 279804 w 363624"/>
              <a:gd name="connsiteY5" fmla="*/ 70402 h 374431"/>
              <a:gd name="connsiteX6" fmla="*/ 348384 w 363624"/>
              <a:gd name="connsiteY6" fmla="*/ 62782 h 374431"/>
              <a:gd name="connsiteX7" fmla="*/ 363624 w 363624"/>
              <a:gd name="connsiteY7" fmla="*/ 169462 h 374431"/>
              <a:gd name="connsiteX8" fmla="*/ 340764 w 363624"/>
              <a:gd name="connsiteY8" fmla="*/ 230422 h 374431"/>
              <a:gd name="connsiteX9" fmla="*/ 363624 w 363624"/>
              <a:gd name="connsiteY9" fmla="*/ 276142 h 374431"/>
              <a:gd name="connsiteX10" fmla="*/ 66444 w 363624"/>
              <a:gd name="connsiteY10" fmla="*/ 337102 h 374431"/>
              <a:gd name="connsiteX0" fmla="*/ 66444 w 363624"/>
              <a:gd name="connsiteY0" fmla="*/ 337102 h 374431"/>
              <a:gd name="connsiteX1" fmla="*/ 35964 w 363624"/>
              <a:gd name="connsiteY1" fmla="*/ 85642 h 374431"/>
              <a:gd name="connsiteX2" fmla="*/ 173124 w 363624"/>
              <a:gd name="connsiteY2" fmla="*/ 39922 h 374431"/>
              <a:gd name="connsiteX3" fmla="*/ 253134 w 363624"/>
              <a:gd name="connsiteY3" fmla="*/ 393 h 374431"/>
              <a:gd name="connsiteX4" fmla="*/ 249324 w 363624"/>
              <a:gd name="connsiteY4" fmla="*/ 93262 h 374431"/>
              <a:gd name="connsiteX5" fmla="*/ 275041 w 363624"/>
              <a:gd name="connsiteY5" fmla="*/ 58496 h 374431"/>
              <a:gd name="connsiteX6" fmla="*/ 348384 w 363624"/>
              <a:gd name="connsiteY6" fmla="*/ 62782 h 374431"/>
              <a:gd name="connsiteX7" fmla="*/ 363624 w 363624"/>
              <a:gd name="connsiteY7" fmla="*/ 169462 h 374431"/>
              <a:gd name="connsiteX8" fmla="*/ 340764 w 363624"/>
              <a:gd name="connsiteY8" fmla="*/ 230422 h 374431"/>
              <a:gd name="connsiteX9" fmla="*/ 363624 w 363624"/>
              <a:gd name="connsiteY9" fmla="*/ 276142 h 374431"/>
              <a:gd name="connsiteX10" fmla="*/ 66444 w 363624"/>
              <a:gd name="connsiteY10" fmla="*/ 337102 h 374431"/>
              <a:gd name="connsiteX0" fmla="*/ 66444 w 363624"/>
              <a:gd name="connsiteY0" fmla="*/ 337102 h 374431"/>
              <a:gd name="connsiteX1" fmla="*/ 35964 w 363624"/>
              <a:gd name="connsiteY1" fmla="*/ 85642 h 374431"/>
              <a:gd name="connsiteX2" fmla="*/ 173124 w 363624"/>
              <a:gd name="connsiteY2" fmla="*/ 39922 h 374431"/>
              <a:gd name="connsiteX3" fmla="*/ 253134 w 363624"/>
              <a:gd name="connsiteY3" fmla="*/ 393 h 374431"/>
              <a:gd name="connsiteX4" fmla="*/ 249324 w 363624"/>
              <a:gd name="connsiteY4" fmla="*/ 93262 h 374431"/>
              <a:gd name="connsiteX5" fmla="*/ 275041 w 363624"/>
              <a:gd name="connsiteY5" fmla="*/ 58496 h 374431"/>
              <a:gd name="connsiteX6" fmla="*/ 348384 w 363624"/>
              <a:gd name="connsiteY6" fmla="*/ 62782 h 374431"/>
              <a:gd name="connsiteX7" fmla="*/ 363624 w 363624"/>
              <a:gd name="connsiteY7" fmla="*/ 169462 h 374431"/>
              <a:gd name="connsiteX8" fmla="*/ 340764 w 363624"/>
              <a:gd name="connsiteY8" fmla="*/ 230422 h 374431"/>
              <a:gd name="connsiteX9" fmla="*/ 363624 w 363624"/>
              <a:gd name="connsiteY9" fmla="*/ 276142 h 374431"/>
              <a:gd name="connsiteX10" fmla="*/ 66444 w 363624"/>
              <a:gd name="connsiteY10" fmla="*/ 337102 h 374431"/>
              <a:gd name="connsiteX0" fmla="*/ 66444 w 363624"/>
              <a:gd name="connsiteY0" fmla="*/ 337102 h 374431"/>
              <a:gd name="connsiteX1" fmla="*/ 35964 w 363624"/>
              <a:gd name="connsiteY1" fmla="*/ 85642 h 374431"/>
              <a:gd name="connsiteX2" fmla="*/ 173124 w 363624"/>
              <a:gd name="connsiteY2" fmla="*/ 39922 h 374431"/>
              <a:gd name="connsiteX3" fmla="*/ 253134 w 363624"/>
              <a:gd name="connsiteY3" fmla="*/ 393 h 374431"/>
              <a:gd name="connsiteX4" fmla="*/ 249324 w 363624"/>
              <a:gd name="connsiteY4" fmla="*/ 93262 h 374431"/>
              <a:gd name="connsiteX5" fmla="*/ 275041 w 363624"/>
              <a:gd name="connsiteY5" fmla="*/ 58496 h 374431"/>
              <a:gd name="connsiteX6" fmla="*/ 348384 w 363624"/>
              <a:gd name="connsiteY6" fmla="*/ 62782 h 374431"/>
              <a:gd name="connsiteX7" fmla="*/ 363624 w 363624"/>
              <a:gd name="connsiteY7" fmla="*/ 169462 h 374431"/>
              <a:gd name="connsiteX8" fmla="*/ 340764 w 363624"/>
              <a:gd name="connsiteY8" fmla="*/ 230422 h 374431"/>
              <a:gd name="connsiteX9" fmla="*/ 363624 w 363624"/>
              <a:gd name="connsiteY9" fmla="*/ 276142 h 374431"/>
              <a:gd name="connsiteX10" fmla="*/ 66444 w 363624"/>
              <a:gd name="connsiteY10" fmla="*/ 337102 h 374431"/>
              <a:gd name="connsiteX0" fmla="*/ 57375 w 354555"/>
              <a:gd name="connsiteY0" fmla="*/ 337102 h 374431"/>
              <a:gd name="connsiteX1" fmla="*/ 26895 w 354555"/>
              <a:gd name="connsiteY1" fmla="*/ 85642 h 374431"/>
              <a:gd name="connsiteX2" fmla="*/ 164055 w 354555"/>
              <a:gd name="connsiteY2" fmla="*/ 39922 h 374431"/>
              <a:gd name="connsiteX3" fmla="*/ 244065 w 354555"/>
              <a:gd name="connsiteY3" fmla="*/ 393 h 374431"/>
              <a:gd name="connsiteX4" fmla="*/ 240255 w 354555"/>
              <a:gd name="connsiteY4" fmla="*/ 93262 h 374431"/>
              <a:gd name="connsiteX5" fmla="*/ 265972 w 354555"/>
              <a:gd name="connsiteY5" fmla="*/ 58496 h 374431"/>
              <a:gd name="connsiteX6" fmla="*/ 339315 w 354555"/>
              <a:gd name="connsiteY6" fmla="*/ 62782 h 374431"/>
              <a:gd name="connsiteX7" fmla="*/ 354555 w 354555"/>
              <a:gd name="connsiteY7" fmla="*/ 169462 h 374431"/>
              <a:gd name="connsiteX8" fmla="*/ 331695 w 354555"/>
              <a:gd name="connsiteY8" fmla="*/ 230422 h 374431"/>
              <a:gd name="connsiteX9" fmla="*/ 354555 w 354555"/>
              <a:gd name="connsiteY9" fmla="*/ 276142 h 374431"/>
              <a:gd name="connsiteX10" fmla="*/ 57375 w 354555"/>
              <a:gd name="connsiteY10" fmla="*/ 337102 h 374431"/>
              <a:gd name="connsiteX0" fmla="*/ 57375 w 354555"/>
              <a:gd name="connsiteY0" fmla="*/ 337102 h 374431"/>
              <a:gd name="connsiteX1" fmla="*/ 26895 w 354555"/>
              <a:gd name="connsiteY1" fmla="*/ 85642 h 374431"/>
              <a:gd name="connsiteX2" fmla="*/ 164055 w 354555"/>
              <a:gd name="connsiteY2" fmla="*/ 39922 h 374431"/>
              <a:gd name="connsiteX3" fmla="*/ 244065 w 354555"/>
              <a:gd name="connsiteY3" fmla="*/ 393 h 374431"/>
              <a:gd name="connsiteX4" fmla="*/ 240255 w 354555"/>
              <a:gd name="connsiteY4" fmla="*/ 93262 h 374431"/>
              <a:gd name="connsiteX5" fmla="*/ 265972 w 354555"/>
              <a:gd name="connsiteY5" fmla="*/ 58496 h 374431"/>
              <a:gd name="connsiteX6" fmla="*/ 339315 w 354555"/>
              <a:gd name="connsiteY6" fmla="*/ 62782 h 374431"/>
              <a:gd name="connsiteX7" fmla="*/ 354555 w 354555"/>
              <a:gd name="connsiteY7" fmla="*/ 169462 h 374431"/>
              <a:gd name="connsiteX8" fmla="*/ 331695 w 354555"/>
              <a:gd name="connsiteY8" fmla="*/ 230422 h 374431"/>
              <a:gd name="connsiteX9" fmla="*/ 354555 w 354555"/>
              <a:gd name="connsiteY9" fmla="*/ 276142 h 374431"/>
              <a:gd name="connsiteX10" fmla="*/ 57375 w 354555"/>
              <a:gd name="connsiteY10" fmla="*/ 337102 h 374431"/>
              <a:gd name="connsiteX0" fmla="*/ 61119 w 358299"/>
              <a:gd name="connsiteY0" fmla="*/ 337102 h 374431"/>
              <a:gd name="connsiteX1" fmla="*/ 1589 w 358299"/>
              <a:gd name="connsiteY1" fmla="*/ 173748 h 374431"/>
              <a:gd name="connsiteX2" fmla="*/ 30639 w 358299"/>
              <a:gd name="connsiteY2" fmla="*/ 85642 h 374431"/>
              <a:gd name="connsiteX3" fmla="*/ 167799 w 358299"/>
              <a:gd name="connsiteY3" fmla="*/ 39922 h 374431"/>
              <a:gd name="connsiteX4" fmla="*/ 247809 w 358299"/>
              <a:gd name="connsiteY4" fmla="*/ 393 h 374431"/>
              <a:gd name="connsiteX5" fmla="*/ 243999 w 358299"/>
              <a:gd name="connsiteY5" fmla="*/ 93262 h 374431"/>
              <a:gd name="connsiteX6" fmla="*/ 269716 w 358299"/>
              <a:gd name="connsiteY6" fmla="*/ 58496 h 374431"/>
              <a:gd name="connsiteX7" fmla="*/ 343059 w 358299"/>
              <a:gd name="connsiteY7" fmla="*/ 62782 h 374431"/>
              <a:gd name="connsiteX8" fmla="*/ 358299 w 358299"/>
              <a:gd name="connsiteY8" fmla="*/ 169462 h 374431"/>
              <a:gd name="connsiteX9" fmla="*/ 335439 w 358299"/>
              <a:gd name="connsiteY9" fmla="*/ 230422 h 374431"/>
              <a:gd name="connsiteX10" fmla="*/ 358299 w 358299"/>
              <a:gd name="connsiteY10" fmla="*/ 276142 h 374431"/>
              <a:gd name="connsiteX11" fmla="*/ 61119 w 358299"/>
              <a:gd name="connsiteY11" fmla="*/ 337102 h 374431"/>
              <a:gd name="connsiteX0" fmla="*/ 61119 w 358299"/>
              <a:gd name="connsiteY0" fmla="*/ 337102 h 374431"/>
              <a:gd name="connsiteX1" fmla="*/ 1589 w 358299"/>
              <a:gd name="connsiteY1" fmla="*/ 173748 h 374431"/>
              <a:gd name="connsiteX2" fmla="*/ 30639 w 358299"/>
              <a:gd name="connsiteY2" fmla="*/ 85642 h 374431"/>
              <a:gd name="connsiteX3" fmla="*/ 167799 w 358299"/>
              <a:gd name="connsiteY3" fmla="*/ 39922 h 374431"/>
              <a:gd name="connsiteX4" fmla="*/ 247809 w 358299"/>
              <a:gd name="connsiteY4" fmla="*/ 393 h 374431"/>
              <a:gd name="connsiteX5" fmla="*/ 243999 w 358299"/>
              <a:gd name="connsiteY5" fmla="*/ 93262 h 374431"/>
              <a:gd name="connsiteX6" fmla="*/ 269716 w 358299"/>
              <a:gd name="connsiteY6" fmla="*/ 58496 h 374431"/>
              <a:gd name="connsiteX7" fmla="*/ 343059 w 358299"/>
              <a:gd name="connsiteY7" fmla="*/ 62782 h 374431"/>
              <a:gd name="connsiteX8" fmla="*/ 358299 w 358299"/>
              <a:gd name="connsiteY8" fmla="*/ 169462 h 374431"/>
              <a:gd name="connsiteX9" fmla="*/ 335439 w 358299"/>
              <a:gd name="connsiteY9" fmla="*/ 230422 h 374431"/>
              <a:gd name="connsiteX10" fmla="*/ 358299 w 358299"/>
              <a:gd name="connsiteY10" fmla="*/ 276142 h 374431"/>
              <a:gd name="connsiteX11" fmla="*/ 61119 w 358299"/>
              <a:gd name="connsiteY11" fmla="*/ 337102 h 374431"/>
              <a:gd name="connsiteX0" fmla="*/ 67785 w 364965"/>
              <a:gd name="connsiteY0" fmla="*/ 337102 h 351496"/>
              <a:gd name="connsiteX1" fmla="*/ 1111 w 364965"/>
              <a:gd name="connsiteY1" fmla="*/ 154698 h 351496"/>
              <a:gd name="connsiteX2" fmla="*/ 37305 w 364965"/>
              <a:gd name="connsiteY2" fmla="*/ 85642 h 351496"/>
              <a:gd name="connsiteX3" fmla="*/ 174465 w 364965"/>
              <a:gd name="connsiteY3" fmla="*/ 39922 h 351496"/>
              <a:gd name="connsiteX4" fmla="*/ 254475 w 364965"/>
              <a:gd name="connsiteY4" fmla="*/ 393 h 351496"/>
              <a:gd name="connsiteX5" fmla="*/ 250665 w 364965"/>
              <a:gd name="connsiteY5" fmla="*/ 93262 h 351496"/>
              <a:gd name="connsiteX6" fmla="*/ 276382 w 364965"/>
              <a:gd name="connsiteY6" fmla="*/ 58496 h 351496"/>
              <a:gd name="connsiteX7" fmla="*/ 349725 w 364965"/>
              <a:gd name="connsiteY7" fmla="*/ 62782 h 351496"/>
              <a:gd name="connsiteX8" fmla="*/ 364965 w 364965"/>
              <a:gd name="connsiteY8" fmla="*/ 169462 h 351496"/>
              <a:gd name="connsiteX9" fmla="*/ 342105 w 364965"/>
              <a:gd name="connsiteY9" fmla="*/ 230422 h 351496"/>
              <a:gd name="connsiteX10" fmla="*/ 364965 w 364965"/>
              <a:gd name="connsiteY10" fmla="*/ 276142 h 351496"/>
              <a:gd name="connsiteX11" fmla="*/ 67785 w 364965"/>
              <a:gd name="connsiteY11" fmla="*/ 337102 h 351496"/>
              <a:gd name="connsiteX0" fmla="*/ 67785 w 364965"/>
              <a:gd name="connsiteY0" fmla="*/ 337102 h 351496"/>
              <a:gd name="connsiteX1" fmla="*/ 1111 w 364965"/>
              <a:gd name="connsiteY1" fmla="*/ 154698 h 351496"/>
              <a:gd name="connsiteX2" fmla="*/ 37305 w 364965"/>
              <a:gd name="connsiteY2" fmla="*/ 85642 h 351496"/>
              <a:gd name="connsiteX3" fmla="*/ 174465 w 364965"/>
              <a:gd name="connsiteY3" fmla="*/ 39922 h 351496"/>
              <a:gd name="connsiteX4" fmla="*/ 254475 w 364965"/>
              <a:gd name="connsiteY4" fmla="*/ 393 h 351496"/>
              <a:gd name="connsiteX5" fmla="*/ 250665 w 364965"/>
              <a:gd name="connsiteY5" fmla="*/ 93262 h 351496"/>
              <a:gd name="connsiteX6" fmla="*/ 276382 w 364965"/>
              <a:gd name="connsiteY6" fmla="*/ 58496 h 351496"/>
              <a:gd name="connsiteX7" fmla="*/ 349725 w 364965"/>
              <a:gd name="connsiteY7" fmla="*/ 62782 h 351496"/>
              <a:gd name="connsiteX8" fmla="*/ 364965 w 364965"/>
              <a:gd name="connsiteY8" fmla="*/ 169462 h 351496"/>
              <a:gd name="connsiteX9" fmla="*/ 342105 w 364965"/>
              <a:gd name="connsiteY9" fmla="*/ 230422 h 351496"/>
              <a:gd name="connsiteX10" fmla="*/ 364965 w 364965"/>
              <a:gd name="connsiteY10" fmla="*/ 276142 h 351496"/>
              <a:gd name="connsiteX11" fmla="*/ 67785 w 364965"/>
              <a:gd name="connsiteY11" fmla="*/ 337102 h 351496"/>
              <a:gd name="connsiteX0" fmla="*/ 66674 w 363854"/>
              <a:gd name="connsiteY0" fmla="*/ 337102 h 351496"/>
              <a:gd name="connsiteX1" fmla="*/ 0 w 363854"/>
              <a:gd name="connsiteY1" fmla="*/ 154698 h 351496"/>
              <a:gd name="connsiteX2" fmla="*/ 36194 w 363854"/>
              <a:gd name="connsiteY2" fmla="*/ 85642 h 351496"/>
              <a:gd name="connsiteX3" fmla="*/ 173354 w 363854"/>
              <a:gd name="connsiteY3" fmla="*/ 39922 h 351496"/>
              <a:gd name="connsiteX4" fmla="*/ 253364 w 363854"/>
              <a:gd name="connsiteY4" fmla="*/ 393 h 351496"/>
              <a:gd name="connsiteX5" fmla="*/ 249554 w 363854"/>
              <a:gd name="connsiteY5" fmla="*/ 93262 h 351496"/>
              <a:gd name="connsiteX6" fmla="*/ 275271 w 363854"/>
              <a:gd name="connsiteY6" fmla="*/ 58496 h 351496"/>
              <a:gd name="connsiteX7" fmla="*/ 348614 w 363854"/>
              <a:gd name="connsiteY7" fmla="*/ 62782 h 351496"/>
              <a:gd name="connsiteX8" fmla="*/ 363854 w 363854"/>
              <a:gd name="connsiteY8" fmla="*/ 169462 h 351496"/>
              <a:gd name="connsiteX9" fmla="*/ 340994 w 363854"/>
              <a:gd name="connsiteY9" fmla="*/ 230422 h 351496"/>
              <a:gd name="connsiteX10" fmla="*/ 363854 w 363854"/>
              <a:gd name="connsiteY10" fmla="*/ 276142 h 351496"/>
              <a:gd name="connsiteX11" fmla="*/ 66674 w 363854"/>
              <a:gd name="connsiteY11" fmla="*/ 337102 h 351496"/>
              <a:gd name="connsiteX0" fmla="*/ 78580 w 375760"/>
              <a:gd name="connsiteY0" fmla="*/ 337102 h 351322"/>
              <a:gd name="connsiteX1" fmla="*/ 0 w 375760"/>
              <a:gd name="connsiteY1" fmla="*/ 157079 h 351322"/>
              <a:gd name="connsiteX2" fmla="*/ 48100 w 375760"/>
              <a:gd name="connsiteY2" fmla="*/ 85642 h 351322"/>
              <a:gd name="connsiteX3" fmla="*/ 185260 w 375760"/>
              <a:gd name="connsiteY3" fmla="*/ 39922 h 351322"/>
              <a:gd name="connsiteX4" fmla="*/ 265270 w 375760"/>
              <a:gd name="connsiteY4" fmla="*/ 393 h 351322"/>
              <a:gd name="connsiteX5" fmla="*/ 261460 w 375760"/>
              <a:gd name="connsiteY5" fmla="*/ 93262 h 351322"/>
              <a:gd name="connsiteX6" fmla="*/ 287177 w 375760"/>
              <a:gd name="connsiteY6" fmla="*/ 58496 h 351322"/>
              <a:gd name="connsiteX7" fmla="*/ 360520 w 375760"/>
              <a:gd name="connsiteY7" fmla="*/ 62782 h 351322"/>
              <a:gd name="connsiteX8" fmla="*/ 375760 w 375760"/>
              <a:gd name="connsiteY8" fmla="*/ 169462 h 351322"/>
              <a:gd name="connsiteX9" fmla="*/ 352900 w 375760"/>
              <a:gd name="connsiteY9" fmla="*/ 230422 h 351322"/>
              <a:gd name="connsiteX10" fmla="*/ 375760 w 375760"/>
              <a:gd name="connsiteY10" fmla="*/ 276142 h 351322"/>
              <a:gd name="connsiteX11" fmla="*/ 78580 w 375760"/>
              <a:gd name="connsiteY11" fmla="*/ 337102 h 351322"/>
              <a:gd name="connsiteX0" fmla="*/ 78580 w 375760"/>
              <a:gd name="connsiteY0" fmla="*/ 337102 h 351322"/>
              <a:gd name="connsiteX1" fmla="*/ 0 w 375760"/>
              <a:gd name="connsiteY1" fmla="*/ 157079 h 351322"/>
              <a:gd name="connsiteX2" fmla="*/ 48100 w 375760"/>
              <a:gd name="connsiteY2" fmla="*/ 85642 h 351322"/>
              <a:gd name="connsiteX3" fmla="*/ 185260 w 375760"/>
              <a:gd name="connsiteY3" fmla="*/ 39922 h 351322"/>
              <a:gd name="connsiteX4" fmla="*/ 265270 w 375760"/>
              <a:gd name="connsiteY4" fmla="*/ 393 h 351322"/>
              <a:gd name="connsiteX5" fmla="*/ 261460 w 375760"/>
              <a:gd name="connsiteY5" fmla="*/ 93262 h 351322"/>
              <a:gd name="connsiteX6" fmla="*/ 287177 w 375760"/>
              <a:gd name="connsiteY6" fmla="*/ 58496 h 351322"/>
              <a:gd name="connsiteX7" fmla="*/ 360520 w 375760"/>
              <a:gd name="connsiteY7" fmla="*/ 62782 h 351322"/>
              <a:gd name="connsiteX8" fmla="*/ 375760 w 375760"/>
              <a:gd name="connsiteY8" fmla="*/ 169462 h 351322"/>
              <a:gd name="connsiteX9" fmla="*/ 352900 w 375760"/>
              <a:gd name="connsiteY9" fmla="*/ 230422 h 351322"/>
              <a:gd name="connsiteX10" fmla="*/ 375760 w 375760"/>
              <a:gd name="connsiteY10" fmla="*/ 276142 h 351322"/>
              <a:gd name="connsiteX11" fmla="*/ 78580 w 375760"/>
              <a:gd name="connsiteY11" fmla="*/ 337102 h 351322"/>
              <a:gd name="connsiteX0" fmla="*/ 73818 w 370998"/>
              <a:gd name="connsiteY0" fmla="*/ 337102 h 351322"/>
              <a:gd name="connsiteX1" fmla="*/ 0 w 370998"/>
              <a:gd name="connsiteY1" fmla="*/ 157079 h 351322"/>
              <a:gd name="connsiteX2" fmla="*/ 43338 w 370998"/>
              <a:gd name="connsiteY2" fmla="*/ 85642 h 351322"/>
              <a:gd name="connsiteX3" fmla="*/ 180498 w 370998"/>
              <a:gd name="connsiteY3" fmla="*/ 39922 h 351322"/>
              <a:gd name="connsiteX4" fmla="*/ 260508 w 370998"/>
              <a:gd name="connsiteY4" fmla="*/ 393 h 351322"/>
              <a:gd name="connsiteX5" fmla="*/ 256698 w 370998"/>
              <a:gd name="connsiteY5" fmla="*/ 93262 h 351322"/>
              <a:gd name="connsiteX6" fmla="*/ 282415 w 370998"/>
              <a:gd name="connsiteY6" fmla="*/ 58496 h 351322"/>
              <a:gd name="connsiteX7" fmla="*/ 355758 w 370998"/>
              <a:gd name="connsiteY7" fmla="*/ 62782 h 351322"/>
              <a:gd name="connsiteX8" fmla="*/ 370998 w 370998"/>
              <a:gd name="connsiteY8" fmla="*/ 169462 h 351322"/>
              <a:gd name="connsiteX9" fmla="*/ 348138 w 370998"/>
              <a:gd name="connsiteY9" fmla="*/ 230422 h 351322"/>
              <a:gd name="connsiteX10" fmla="*/ 370998 w 370998"/>
              <a:gd name="connsiteY10" fmla="*/ 276142 h 351322"/>
              <a:gd name="connsiteX11" fmla="*/ 73818 w 370998"/>
              <a:gd name="connsiteY11" fmla="*/ 337102 h 351322"/>
              <a:gd name="connsiteX0" fmla="*/ 73818 w 370998"/>
              <a:gd name="connsiteY0" fmla="*/ 337102 h 368106"/>
              <a:gd name="connsiteX1" fmla="*/ 0 w 370998"/>
              <a:gd name="connsiteY1" fmla="*/ 157079 h 368106"/>
              <a:gd name="connsiteX2" fmla="*/ 43338 w 370998"/>
              <a:gd name="connsiteY2" fmla="*/ 85642 h 368106"/>
              <a:gd name="connsiteX3" fmla="*/ 180498 w 370998"/>
              <a:gd name="connsiteY3" fmla="*/ 39922 h 368106"/>
              <a:gd name="connsiteX4" fmla="*/ 260508 w 370998"/>
              <a:gd name="connsiteY4" fmla="*/ 393 h 368106"/>
              <a:gd name="connsiteX5" fmla="*/ 256698 w 370998"/>
              <a:gd name="connsiteY5" fmla="*/ 93262 h 368106"/>
              <a:gd name="connsiteX6" fmla="*/ 282415 w 370998"/>
              <a:gd name="connsiteY6" fmla="*/ 58496 h 368106"/>
              <a:gd name="connsiteX7" fmla="*/ 355758 w 370998"/>
              <a:gd name="connsiteY7" fmla="*/ 62782 h 368106"/>
              <a:gd name="connsiteX8" fmla="*/ 370998 w 370998"/>
              <a:gd name="connsiteY8" fmla="*/ 169462 h 368106"/>
              <a:gd name="connsiteX9" fmla="*/ 348138 w 370998"/>
              <a:gd name="connsiteY9" fmla="*/ 230422 h 368106"/>
              <a:gd name="connsiteX10" fmla="*/ 370998 w 370998"/>
              <a:gd name="connsiteY10" fmla="*/ 276142 h 368106"/>
              <a:gd name="connsiteX11" fmla="*/ 73818 w 370998"/>
              <a:gd name="connsiteY11" fmla="*/ 337102 h 368106"/>
              <a:gd name="connsiteX0" fmla="*/ 73818 w 370998"/>
              <a:gd name="connsiteY0" fmla="*/ 337102 h 366943"/>
              <a:gd name="connsiteX1" fmla="*/ 0 w 370998"/>
              <a:gd name="connsiteY1" fmla="*/ 157079 h 366943"/>
              <a:gd name="connsiteX2" fmla="*/ 43338 w 370998"/>
              <a:gd name="connsiteY2" fmla="*/ 85642 h 366943"/>
              <a:gd name="connsiteX3" fmla="*/ 180498 w 370998"/>
              <a:gd name="connsiteY3" fmla="*/ 39922 h 366943"/>
              <a:gd name="connsiteX4" fmla="*/ 260508 w 370998"/>
              <a:gd name="connsiteY4" fmla="*/ 393 h 366943"/>
              <a:gd name="connsiteX5" fmla="*/ 256698 w 370998"/>
              <a:gd name="connsiteY5" fmla="*/ 93262 h 366943"/>
              <a:gd name="connsiteX6" fmla="*/ 282415 w 370998"/>
              <a:gd name="connsiteY6" fmla="*/ 58496 h 366943"/>
              <a:gd name="connsiteX7" fmla="*/ 355758 w 370998"/>
              <a:gd name="connsiteY7" fmla="*/ 62782 h 366943"/>
              <a:gd name="connsiteX8" fmla="*/ 370998 w 370998"/>
              <a:gd name="connsiteY8" fmla="*/ 169462 h 366943"/>
              <a:gd name="connsiteX9" fmla="*/ 348138 w 370998"/>
              <a:gd name="connsiteY9" fmla="*/ 230422 h 366943"/>
              <a:gd name="connsiteX10" fmla="*/ 370998 w 370998"/>
              <a:gd name="connsiteY10" fmla="*/ 276142 h 366943"/>
              <a:gd name="connsiteX11" fmla="*/ 73818 w 370998"/>
              <a:gd name="connsiteY11" fmla="*/ 337102 h 366943"/>
              <a:gd name="connsiteX0" fmla="*/ 73818 w 370998"/>
              <a:gd name="connsiteY0" fmla="*/ 337102 h 348360"/>
              <a:gd name="connsiteX1" fmla="*/ 0 w 370998"/>
              <a:gd name="connsiteY1" fmla="*/ 157079 h 348360"/>
              <a:gd name="connsiteX2" fmla="*/ 43338 w 370998"/>
              <a:gd name="connsiteY2" fmla="*/ 85642 h 348360"/>
              <a:gd name="connsiteX3" fmla="*/ 180498 w 370998"/>
              <a:gd name="connsiteY3" fmla="*/ 39922 h 348360"/>
              <a:gd name="connsiteX4" fmla="*/ 260508 w 370998"/>
              <a:gd name="connsiteY4" fmla="*/ 393 h 348360"/>
              <a:gd name="connsiteX5" fmla="*/ 256698 w 370998"/>
              <a:gd name="connsiteY5" fmla="*/ 93262 h 348360"/>
              <a:gd name="connsiteX6" fmla="*/ 282415 w 370998"/>
              <a:gd name="connsiteY6" fmla="*/ 58496 h 348360"/>
              <a:gd name="connsiteX7" fmla="*/ 355758 w 370998"/>
              <a:gd name="connsiteY7" fmla="*/ 62782 h 348360"/>
              <a:gd name="connsiteX8" fmla="*/ 370998 w 370998"/>
              <a:gd name="connsiteY8" fmla="*/ 169462 h 348360"/>
              <a:gd name="connsiteX9" fmla="*/ 348138 w 370998"/>
              <a:gd name="connsiteY9" fmla="*/ 230422 h 348360"/>
              <a:gd name="connsiteX10" fmla="*/ 359092 w 370998"/>
              <a:gd name="connsiteY10" fmla="*/ 271380 h 348360"/>
              <a:gd name="connsiteX11" fmla="*/ 73818 w 370998"/>
              <a:gd name="connsiteY11" fmla="*/ 337102 h 348360"/>
              <a:gd name="connsiteX0" fmla="*/ 73818 w 370998"/>
              <a:gd name="connsiteY0" fmla="*/ 337102 h 354828"/>
              <a:gd name="connsiteX1" fmla="*/ 0 w 370998"/>
              <a:gd name="connsiteY1" fmla="*/ 157079 h 354828"/>
              <a:gd name="connsiteX2" fmla="*/ 43338 w 370998"/>
              <a:gd name="connsiteY2" fmla="*/ 85642 h 354828"/>
              <a:gd name="connsiteX3" fmla="*/ 180498 w 370998"/>
              <a:gd name="connsiteY3" fmla="*/ 39922 h 354828"/>
              <a:gd name="connsiteX4" fmla="*/ 260508 w 370998"/>
              <a:gd name="connsiteY4" fmla="*/ 393 h 354828"/>
              <a:gd name="connsiteX5" fmla="*/ 256698 w 370998"/>
              <a:gd name="connsiteY5" fmla="*/ 93262 h 354828"/>
              <a:gd name="connsiteX6" fmla="*/ 282415 w 370998"/>
              <a:gd name="connsiteY6" fmla="*/ 58496 h 354828"/>
              <a:gd name="connsiteX7" fmla="*/ 355758 w 370998"/>
              <a:gd name="connsiteY7" fmla="*/ 62782 h 354828"/>
              <a:gd name="connsiteX8" fmla="*/ 370998 w 370998"/>
              <a:gd name="connsiteY8" fmla="*/ 169462 h 354828"/>
              <a:gd name="connsiteX9" fmla="*/ 348138 w 370998"/>
              <a:gd name="connsiteY9" fmla="*/ 230422 h 354828"/>
              <a:gd name="connsiteX10" fmla="*/ 359092 w 370998"/>
              <a:gd name="connsiteY10" fmla="*/ 271380 h 354828"/>
              <a:gd name="connsiteX11" fmla="*/ 73818 w 370998"/>
              <a:gd name="connsiteY11" fmla="*/ 337102 h 354828"/>
              <a:gd name="connsiteX0" fmla="*/ 73818 w 370998"/>
              <a:gd name="connsiteY0" fmla="*/ 337102 h 370215"/>
              <a:gd name="connsiteX1" fmla="*/ 0 w 370998"/>
              <a:gd name="connsiteY1" fmla="*/ 157079 h 370215"/>
              <a:gd name="connsiteX2" fmla="*/ 43338 w 370998"/>
              <a:gd name="connsiteY2" fmla="*/ 85642 h 370215"/>
              <a:gd name="connsiteX3" fmla="*/ 180498 w 370998"/>
              <a:gd name="connsiteY3" fmla="*/ 39922 h 370215"/>
              <a:gd name="connsiteX4" fmla="*/ 260508 w 370998"/>
              <a:gd name="connsiteY4" fmla="*/ 393 h 370215"/>
              <a:gd name="connsiteX5" fmla="*/ 256698 w 370998"/>
              <a:gd name="connsiteY5" fmla="*/ 93262 h 370215"/>
              <a:gd name="connsiteX6" fmla="*/ 282415 w 370998"/>
              <a:gd name="connsiteY6" fmla="*/ 58496 h 370215"/>
              <a:gd name="connsiteX7" fmla="*/ 355758 w 370998"/>
              <a:gd name="connsiteY7" fmla="*/ 62782 h 370215"/>
              <a:gd name="connsiteX8" fmla="*/ 370998 w 370998"/>
              <a:gd name="connsiteY8" fmla="*/ 169462 h 370215"/>
              <a:gd name="connsiteX9" fmla="*/ 348138 w 370998"/>
              <a:gd name="connsiteY9" fmla="*/ 230422 h 370215"/>
              <a:gd name="connsiteX10" fmla="*/ 359092 w 370998"/>
              <a:gd name="connsiteY10" fmla="*/ 271380 h 370215"/>
              <a:gd name="connsiteX11" fmla="*/ 73818 w 370998"/>
              <a:gd name="connsiteY11" fmla="*/ 337102 h 370215"/>
              <a:gd name="connsiteX0" fmla="*/ 73818 w 370998"/>
              <a:gd name="connsiteY0" fmla="*/ 337102 h 364008"/>
              <a:gd name="connsiteX1" fmla="*/ 0 w 370998"/>
              <a:gd name="connsiteY1" fmla="*/ 157079 h 364008"/>
              <a:gd name="connsiteX2" fmla="*/ 43338 w 370998"/>
              <a:gd name="connsiteY2" fmla="*/ 85642 h 364008"/>
              <a:gd name="connsiteX3" fmla="*/ 180498 w 370998"/>
              <a:gd name="connsiteY3" fmla="*/ 39922 h 364008"/>
              <a:gd name="connsiteX4" fmla="*/ 260508 w 370998"/>
              <a:gd name="connsiteY4" fmla="*/ 393 h 364008"/>
              <a:gd name="connsiteX5" fmla="*/ 256698 w 370998"/>
              <a:gd name="connsiteY5" fmla="*/ 93262 h 364008"/>
              <a:gd name="connsiteX6" fmla="*/ 282415 w 370998"/>
              <a:gd name="connsiteY6" fmla="*/ 58496 h 364008"/>
              <a:gd name="connsiteX7" fmla="*/ 355758 w 370998"/>
              <a:gd name="connsiteY7" fmla="*/ 62782 h 364008"/>
              <a:gd name="connsiteX8" fmla="*/ 370998 w 370998"/>
              <a:gd name="connsiteY8" fmla="*/ 169462 h 364008"/>
              <a:gd name="connsiteX9" fmla="*/ 348138 w 370998"/>
              <a:gd name="connsiteY9" fmla="*/ 230422 h 364008"/>
              <a:gd name="connsiteX10" fmla="*/ 359092 w 370998"/>
              <a:gd name="connsiteY10" fmla="*/ 271380 h 364008"/>
              <a:gd name="connsiteX11" fmla="*/ 73818 w 370998"/>
              <a:gd name="connsiteY11" fmla="*/ 337102 h 364008"/>
              <a:gd name="connsiteX0" fmla="*/ 73818 w 370998"/>
              <a:gd name="connsiteY0" fmla="*/ 337102 h 368141"/>
              <a:gd name="connsiteX1" fmla="*/ 0 w 370998"/>
              <a:gd name="connsiteY1" fmla="*/ 157079 h 368141"/>
              <a:gd name="connsiteX2" fmla="*/ 43338 w 370998"/>
              <a:gd name="connsiteY2" fmla="*/ 85642 h 368141"/>
              <a:gd name="connsiteX3" fmla="*/ 180498 w 370998"/>
              <a:gd name="connsiteY3" fmla="*/ 39922 h 368141"/>
              <a:gd name="connsiteX4" fmla="*/ 260508 w 370998"/>
              <a:gd name="connsiteY4" fmla="*/ 393 h 368141"/>
              <a:gd name="connsiteX5" fmla="*/ 256698 w 370998"/>
              <a:gd name="connsiteY5" fmla="*/ 93262 h 368141"/>
              <a:gd name="connsiteX6" fmla="*/ 282415 w 370998"/>
              <a:gd name="connsiteY6" fmla="*/ 58496 h 368141"/>
              <a:gd name="connsiteX7" fmla="*/ 355758 w 370998"/>
              <a:gd name="connsiteY7" fmla="*/ 62782 h 368141"/>
              <a:gd name="connsiteX8" fmla="*/ 370998 w 370998"/>
              <a:gd name="connsiteY8" fmla="*/ 169462 h 368141"/>
              <a:gd name="connsiteX9" fmla="*/ 348138 w 370998"/>
              <a:gd name="connsiteY9" fmla="*/ 230422 h 368141"/>
              <a:gd name="connsiteX10" fmla="*/ 359092 w 370998"/>
              <a:gd name="connsiteY10" fmla="*/ 271380 h 368141"/>
              <a:gd name="connsiteX11" fmla="*/ 73818 w 370998"/>
              <a:gd name="connsiteY11" fmla="*/ 337102 h 368141"/>
              <a:gd name="connsiteX0" fmla="*/ 75502 w 372682"/>
              <a:gd name="connsiteY0" fmla="*/ 337102 h 368141"/>
              <a:gd name="connsiteX1" fmla="*/ 1684 w 372682"/>
              <a:gd name="connsiteY1" fmla="*/ 157079 h 368141"/>
              <a:gd name="connsiteX2" fmla="*/ 25496 w 372682"/>
              <a:gd name="connsiteY2" fmla="*/ 128506 h 368141"/>
              <a:gd name="connsiteX3" fmla="*/ 45022 w 372682"/>
              <a:gd name="connsiteY3" fmla="*/ 85642 h 368141"/>
              <a:gd name="connsiteX4" fmla="*/ 182182 w 372682"/>
              <a:gd name="connsiteY4" fmla="*/ 39922 h 368141"/>
              <a:gd name="connsiteX5" fmla="*/ 262192 w 372682"/>
              <a:gd name="connsiteY5" fmla="*/ 393 h 368141"/>
              <a:gd name="connsiteX6" fmla="*/ 258382 w 372682"/>
              <a:gd name="connsiteY6" fmla="*/ 93262 h 368141"/>
              <a:gd name="connsiteX7" fmla="*/ 284099 w 372682"/>
              <a:gd name="connsiteY7" fmla="*/ 58496 h 368141"/>
              <a:gd name="connsiteX8" fmla="*/ 357442 w 372682"/>
              <a:gd name="connsiteY8" fmla="*/ 62782 h 368141"/>
              <a:gd name="connsiteX9" fmla="*/ 372682 w 372682"/>
              <a:gd name="connsiteY9" fmla="*/ 169462 h 368141"/>
              <a:gd name="connsiteX10" fmla="*/ 349822 w 372682"/>
              <a:gd name="connsiteY10" fmla="*/ 230422 h 368141"/>
              <a:gd name="connsiteX11" fmla="*/ 360776 w 372682"/>
              <a:gd name="connsiteY11" fmla="*/ 271380 h 368141"/>
              <a:gd name="connsiteX12" fmla="*/ 75502 w 372682"/>
              <a:gd name="connsiteY12" fmla="*/ 337102 h 368141"/>
              <a:gd name="connsiteX0" fmla="*/ 75502 w 372682"/>
              <a:gd name="connsiteY0" fmla="*/ 336943 h 367982"/>
              <a:gd name="connsiteX1" fmla="*/ 1684 w 372682"/>
              <a:gd name="connsiteY1" fmla="*/ 156920 h 367982"/>
              <a:gd name="connsiteX2" fmla="*/ 25496 w 372682"/>
              <a:gd name="connsiteY2" fmla="*/ 128347 h 367982"/>
              <a:gd name="connsiteX3" fmla="*/ 45022 w 372682"/>
              <a:gd name="connsiteY3" fmla="*/ 85483 h 367982"/>
              <a:gd name="connsiteX4" fmla="*/ 182182 w 372682"/>
              <a:gd name="connsiteY4" fmla="*/ 39763 h 367982"/>
              <a:gd name="connsiteX5" fmla="*/ 262192 w 372682"/>
              <a:gd name="connsiteY5" fmla="*/ 234 h 367982"/>
              <a:gd name="connsiteX6" fmla="*/ 284099 w 372682"/>
              <a:gd name="connsiteY6" fmla="*/ 58337 h 367982"/>
              <a:gd name="connsiteX7" fmla="*/ 357442 w 372682"/>
              <a:gd name="connsiteY7" fmla="*/ 62623 h 367982"/>
              <a:gd name="connsiteX8" fmla="*/ 372682 w 372682"/>
              <a:gd name="connsiteY8" fmla="*/ 169303 h 367982"/>
              <a:gd name="connsiteX9" fmla="*/ 349822 w 372682"/>
              <a:gd name="connsiteY9" fmla="*/ 230263 h 367982"/>
              <a:gd name="connsiteX10" fmla="*/ 360776 w 372682"/>
              <a:gd name="connsiteY10" fmla="*/ 271221 h 367982"/>
              <a:gd name="connsiteX11" fmla="*/ 75502 w 372682"/>
              <a:gd name="connsiteY11" fmla="*/ 336943 h 367982"/>
              <a:gd name="connsiteX0" fmla="*/ 75502 w 372682"/>
              <a:gd name="connsiteY0" fmla="*/ 337049 h 368088"/>
              <a:gd name="connsiteX1" fmla="*/ 1684 w 372682"/>
              <a:gd name="connsiteY1" fmla="*/ 157026 h 368088"/>
              <a:gd name="connsiteX2" fmla="*/ 25496 w 372682"/>
              <a:gd name="connsiteY2" fmla="*/ 128453 h 368088"/>
              <a:gd name="connsiteX3" fmla="*/ 45022 w 372682"/>
              <a:gd name="connsiteY3" fmla="*/ 85589 h 368088"/>
              <a:gd name="connsiteX4" fmla="*/ 182182 w 372682"/>
              <a:gd name="connsiteY4" fmla="*/ 39869 h 368088"/>
              <a:gd name="connsiteX5" fmla="*/ 262192 w 372682"/>
              <a:gd name="connsiteY5" fmla="*/ 340 h 368088"/>
              <a:gd name="connsiteX6" fmla="*/ 357442 w 372682"/>
              <a:gd name="connsiteY6" fmla="*/ 62729 h 368088"/>
              <a:gd name="connsiteX7" fmla="*/ 372682 w 372682"/>
              <a:gd name="connsiteY7" fmla="*/ 169409 h 368088"/>
              <a:gd name="connsiteX8" fmla="*/ 349822 w 372682"/>
              <a:gd name="connsiteY8" fmla="*/ 230369 h 368088"/>
              <a:gd name="connsiteX9" fmla="*/ 360776 w 372682"/>
              <a:gd name="connsiteY9" fmla="*/ 271327 h 368088"/>
              <a:gd name="connsiteX10" fmla="*/ 75502 w 372682"/>
              <a:gd name="connsiteY10" fmla="*/ 337049 h 368088"/>
              <a:gd name="connsiteX0" fmla="*/ 74661 w 371841"/>
              <a:gd name="connsiteY0" fmla="*/ 337049 h 368088"/>
              <a:gd name="connsiteX1" fmla="*/ 843 w 371841"/>
              <a:gd name="connsiteY1" fmla="*/ 157026 h 368088"/>
              <a:gd name="connsiteX2" fmla="*/ 44181 w 371841"/>
              <a:gd name="connsiteY2" fmla="*/ 85589 h 368088"/>
              <a:gd name="connsiteX3" fmla="*/ 181341 w 371841"/>
              <a:gd name="connsiteY3" fmla="*/ 39869 h 368088"/>
              <a:gd name="connsiteX4" fmla="*/ 261351 w 371841"/>
              <a:gd name="connsiteY4" fmla="*/ 340 h 368088"/>
              <a:gd name="connsiteX5" fmla="*/ 356601 w 371841"/>
              <a:gd name="connsiteY5" fmla="*/ 62729 h 368088"/>
              <a:gd name="connsiteX6" fmla="*/ 371841 w 371841"/>
              <a:gd name="connsiteY6" fmla="*/ 169409 h 368088"/>
              <a:gd name="connsiteX7" fmla="*/ 348981 w 371841"/>
              <a:gd name="connsiteY7" fmla="*/ 230369 h 368088"/>
              <a:gd name="connsiteX8" fmla="*/ 359935 w 371841"/>
              <a:gd name="connsiteY8" fmla="*/ 271327 h 368088"/>
              <a:gd name="connsiteX9" fmla="*/ 74661 w 371841"/>
              <a:gd name="connsiteY9" fmla="*/ 337049 h 368088"/>
              <a:gd name="connsiteX0" fmla="*/ 74661 w 361496"/>
              <a:gd name="connsiteY0" fmla="*/ 337049 h 368088"/>
              <a:gd name="connsiteX1" fmla="*/ 843 w 361496"/>
              <a:gd name="connsiteY1" fmla="*/ 157026 h 368088"/>
              <a:gd name="connsiteX2" fmla="*/ 44181 w 361496"/>
              <a:gd name="connsiteY2" fmla="*/ 85589 h 368088"/>
              <a:gd name="connsiteX3" fmla="*/ 181341 w 361496"/>
              <a:gd name="connsiteY3" fmla="*/ 39869 h 368088"/>
              <a:gd name="connsiteX4" fmla="*/ 261351 w 361496"/>
              <a:gd name="connsiteY4" fmla="*/ 340 h 368088"/>
              <a:gd name="connsiteX5" fmla="*/ 356601 w 361496"/>
              <a:gd name="connsiteY5" fmla="*/ 62729 h 368088"/>
              <a:gd name="connsiteX6" fmla="*/ 348981 w 361496"/>
              <a:gd name="connsiteY6" fmla="*/ 230369 h 368088"/>
              <a:gd name="connsiteX7" fmla="*/ 359935 w 361496"/>
              <a:gd name="connsiteY7" fmla="*/ 271327 h 368088"/>
              <a:gd name="connsiteX8" fmla="*/ 74661 w 361496"/>
              <a:gd name="connsiteY8" fmla="*/ 337049 h 368088"/>
              <a:gd name="connsiteX0" fmla="*/ 74661 w 383862"/>
              <a:gd name="connsiteY0" fmla="*/ 337049 h 354314"/>
              <a:gd name="connsiteX1" fmla="*/ 843 w 383862"/>
              <a:gd name="connsiteY1" fmla="*/ 157026 h 354314"/>
              <a:gd name="connsiteX2" fmla="*/ 44181 w 383862"/>
              <a:gd name="connsiteY2" fmla="*/ 85589 h 354314"/>
              <a:gd name="connsiteX3" fmla="*/ 181341 w 383862"/>
              <a:gd name="connsiteY3" fmla="*/ 39869 h 354314"/>
              <a:gd name="connsiteX4" fmla="*/ 261351 w 383862"/>
              <a:gd name="connsiteY4" fmla="*/ 340 h 354314"/>
              <a:gd name="connsiteX5" fmla="*/ 356601 w 383862"/>
              <a:gd name="connsiteY5" fmla="*/ 62729 h 354314"/>
              <a:gd name="connsiteX6" fmla="*/ 359935 w 383862"/>
              <a:gd name="connsiteY6" fmla="*/ 271327 h 354314"/>
              <a:gd name="connsiteX7" fmla="*/ 74661 w 383862"/>
              <a:gd name="connsiteY7" fmla="*/ 337049 h 354314"/>
              <a:gd name="connsiteX0" fmla="*/ 74661 w 383862"/>
              <a:gd name="connsiteY0" fmla="*/ 339765 h 357030"/>
              <a:gd name="connsiteX1" fmla="*/ 843 w 383862"/>
              <a:gd name="connsiteY1" fmla="*/ 159742 h 357030"/>
              <a:gd name="connsiteX2" fmla="*/ 44181 w 383862"/>
              <a:gd name="connsiteY2" fmla="*/ 88305 h 357030"/>
              <a:gd name="connsiteX3" fmla="*/ 181341 w 383862"/>
              <a:gd name="connsiteY3" fmla="*/ 42585 h 357030"/>
              <a:gd name="connsiteX4" fmla="*/ 261351 w 383862"/>
              <a:gd name="connsiteY4" fmla="*/ 3056 h 357030"/>
              <a:gd name="connsiteX5" fmla="*/ 283182 w 383862"/>
              <a:gd name="connsiteY5" fmla="*/ 9682 h 357030"/>
              <a:gd name="connsiteX6" fmla="*/ 356601 w 383862"/>
              <a:gd name="connsiteY6" fmla="*/ 65445 h 357030"/>
              <a:gd name="connsiteX7" fmla="*/ 359935 w 383862"/>
              <a:gd name="connsiteY7" fmla="*/ 274043 h 357030"/>
              <a:gd name="connsiteX8" fmla="*/ 74661 w 383862"/>
              <a:gd name="connsiteY8" fmla="*/ 339765 h 357030"/>
              <a:gd name="connsiteX0" fmla="*/ 74661 w 383862"/>
              <a:gd name="connsiteY0" fmla="*/ 339765 h 357030"/>
              <a:gd name="connsiteX1" fmla="*/ 843 w 383862"/>
              <a:gd name="connsiteY1" fmla="*/ 159742 h 357030"/>
              <a:gd name="connsiteX2" fmla="*/ 44181 w 383862"/>
              <a:gd name="connsiteY2" fmla="*/ 88305 h 357030"/>
              <a:gd name="connsiteX3" fmla="*/ 181341 w 383862"/>
              <a:gd name="connsiteY3" fmla="*/ 42585 h 357030"/>
              <a:gd name="connsiteX4" fmla="*/ 261351 w 383862"/>
              <a:gd name="connsiteY4" fmla="*/ 3056 h 357030"/>
              <a:gd name="connsiteX5" fmla="*/ 283182 w 383862"/>
              <a:gd name="connsiteY5" fmla="*/ 9682 h 357030"/>
              <a:gd name="connsiteX6" fmla="*/ 316435 w 383862"/>
              <a:gd name="connsiteY6" fmla="*/ 24461 h 357030"/>
              <a:gd name="connsiteX7" fmla="*/ 356601 w 383862"/>
              <a:gd name="connsiteY7" fmla="*/ 65445 h 357030"/>
              <a:gd name="connsiteX8" fmla="*/ 359935 w 383862"/>
              <a:gd name="connsiteY8" fmla="*/ 274043 h 357030"/>
              <a:gd name="connsiteX9" fmla="*/ 74661 w 383862"/>
              <a:gd name="connsiteY9" fmla="*/ 339765 h 357030"/>
              <a:gd name="connsiteX0" fmla="*/ 74661 w 383862"/>
              <a:gd name="connsiteY0" fmla="*/ 339765 h 357030"/>
              <a:gd name="connsiteX1" fmla="*/ 843 w 383862"/>
              <a:gd name="connsiteY1" fmla="*/ 159742 h 357030"/>
              <a:gd name="connsiteX2" fmla="*/ 44181 w 383862"/>
              <a:gd name="connsiteY2" fmla="*/ 88305 h 357030"/>
              <a:gd name="connsiteX3" fmla="*/ 181341 w 383862"/>
              <a:gd name="connsiteY3" fmla="*/ 42585 h 357030"/>
              <a:gd name="connsiteX4" fmla="*/ 261351 w 383862"/>
              <a:gd name="connsiteY4" fmla="*/ 3056 h 357030"/>
              <a:gd name="connsiteX5" fmla="*/ 283182 w 383862"/>
              <a:gd name="connsiteY5" fmla="*/ 9682 h 357030"/>
              <a:gd name="connsiteX6" fmla="*/ 316435 w 383862"/>
              <a:gd name="connsiteY6" fmla="*/ 24461 h 357030"/>
              <a:gd name="connsiteX7" fmla="*/ 343777 w 383862"/>
              <a:gd name="connsiteY7" fmla="*/ 37024 h 357030"/>
              <a:gd name="connsiteX8" fmla="*/ 356601 w 383862"/>
              <a:gd name="connsiteY8" fmla="*/ 65445 h 357030"/>
              <a:gd name="connsiteX9" fmla="*/ 359935 w 383862"/>
              <a:gd name="connsiteY9" fmla="*/ 274043 h 357030"/>
              <a:gd name="connsiteX10" fmla="*/ 74661 w 383862"/>
              <a:gd name="connsiteY10" fmla="*/ 339765 h 357030"/>
              <a:gd name="connsiteX0" fmla="*/ 74661 w 383862"/>
              <a:gd name="connsiteY0" fmla="*/ 336861 h 354126"/>
              <a:gd name="connsiteX1" fmla="*/ 843 w 383862"/>
              <a:gd name="connsiteY1" fmla="*/ 156838 h 354126"/>
              <a:gd name="connsiteX2" fmla="*/ 44181 w 383862"/>
              <a:gd name="connsiteY2" fmla="*/ 85401 h 354126"/>
              <a:gd name="connsiteX3" fmla="*/ 181341 w 383862"/>
              <a:gd name="connsiteY3" fmla="*/ 39681 h 354126"/>
              <a:gd name="connsiteX4" fmla="*/ 261351 w 383862"/>
              <a:gd name="connsiteY4" fmla="*/ 152 h 354126"/>
              <a:gd name="connsiteX5" fmla="*/ 266186 w 383862"/>
              <a:gd name="connsiteY5" fmla="*/ 27469 h 354126"/>
              <a:gd name="connsiteX6" fmla="*/ 316435 w 383862"/>
              <a:gd name="connsiteY6" fmla="*/ 21557 h 354126"/>
              <a:gd name="connsiteX7" fmla="*/ 343777 w 383862"/>
              <a:gd name="connsiteY7" fmla="*/ 34120 h 354126"/>
              <a:gd name="connsiteX8" fmla="*/ 356601 w 383862"/>
              <a:gd name="connsiteY8" fmla="*/ 62541 h 354126"/>
              <a:gd name="connsiteX9" fmla="*/ 359935 w 383862"/>
              <a:gd name="connsiteY9" fmla="*/ 271139 h 354126"/>
              <a:gd name="connsiteX10" fmla="*/ 74661 w 383862"/>
              <a:gd name="connsiteY10" fmla="*/ 336861 h 354126"/>
              <a:gd name="connsiteX0" fmla="*/ 74661 w 383862"/>
              <a:gd name="connsiteY0" fmla="*/ 336861 h 354126"/>
              <a:gd name="connsiteX1" fmla="*/ 843 w 383862"/>
              <a:gd name="connsiteY1" fmla="*/ 156838 h 354126"/>
              <a:gd name="connsiteX2" fmla="*/ 44181 w 383862"/>
              <a:gd name="connsiteY2" fmla="*/ 85401 h 354126"/>
              <a:gd name="connsiteX3" fmla="*/ 181341 w 383862"/>
              <a:gd name="connsiteY3" fmla="*/ 39681 h 354126"/>
              <a:gd name="connsiteX4" fmla="*/ 261351 w 383862"/>
              <a:gd name="connsiteY4" fmla="*/ 152 h 354126"/>
              <a:gd name="connsiteX5" fmla="*/ 266186 w 383862"/>
              <a:gd name="connsiteY5" fmla="*/ 27469 h 354126"/>
              <a:gd name="connsiteX6" fmla="*/ 258796 w 383862"/>
              <a:gd name="connsiteY6" fmla="*/ 55549 h 354126"/>
              <a:gd name="connsiteX7" fmla="*/ 343777 w 383862"/>
              <a:gd name="connsiteY7" fmla="*/ 34120 h 354126"/>
              <a:gd name="connsiteX8" fmla="*/ 356601 w 383862"/>
              <a:gd name="connsiteY8" fmla="*/ 62541 h 354126"/>
              <a:gd name="connsiteX9" fmla="*/ 359935 w 383862"/>
              <a:gd name="connsiteY9" fmla="*/ 271139 h 354126"/>
              <a:gd name="connsiteX10" fmla="*/ 74661 w 383862"/>
              <a:gd name="connsiteY10" fmla="*/ 336861 h 354126"/>
              <a:gd name="connsiteX0" fmla="*/ 74661 w 380558"/>
              <a:gd name="connsiteY0" fmla="*/ 336861 h 354126"/>
              <a:gd name="connsiteX1" fmla="*/ 843 w 380558"/>
              <a:gd name="connsiteY1" fmla="*/ 156838 h 354126"/>
              <a:gd name="connsiteX2" fmla="*/ 44181 w 380558"/>
              <a:gd name="connsiteY2" fmla="*/ 85401 h 354126"/>
              <a:gd name="connsiteX3" fmla="*/ 181341 w 380558"/>
              <a:gd name="connsiteY3" fmla="*/ 39681 h 354126"/>
              <a:gd name="connsiteX4" fmla="*/ 261351 w 380558"/>
              <a:gd name="connsiteY4" fmla="*/ 152 h 354126"/>
              <a:gd name="connsiteX5" fmla="*/ 266186 w 380558"/>
              <a:gd name="connsiteY5" fmla="*/ 27469 h 354126"/>
              <a:gd name="connsiteX6" fmla="*/ 258796 w 380558"/>
              <a:gd name="connsiteY6" fmla="*/ 55549 h 354126"/>
              <a:gd name="connsiteX7" fmla="*/ 343777 w 380558"/>
              <a:gd name="connsiteY7" fmla="*/ 34120 h 354126"/>
              <a:gd name="connsiteX8" fmla="*/ 356601 w 380558"/>
              <a:gd name="connsiteY8" fmla="*/ 62541 h 354126"/>
              <a:gd name="connsiteX9" fmla="*/ 359935 w 380558"/>
              <a:gd name="connsiteY9" fmla="*/ 271139 h 354126"/>
              <a:gd name="connsiteX10" fmla="*/ 74661 w 380558"/>
              <a:gd name="connsiteY10" fmla="*/ 336861 h 354126"/>
              <a:gd name="connsiteX0" fmla="*/ 74661 w 381324"/>
              <a:gd name="connsiteY0" fmla="*/ 336861 h 354126"/>
              <a:gd name="connsiteX1" fmla="*/ 843 w 381324"/>
              <a:gd name="connsiteY1" fmla="*/ 156838 h 354126"/>
              <a:gd name="connsiteX2" fmla="*/ 44181 w 381324"/>
              <a:gd name="connsiteY2" fmla="*/ 85401 h 354126"/>
              <a:gd name="connsiteX3" fmla="*/ 181341 w 381324"/>
              <a:gd name="connsiteY3" fmla="*/ 39681 h 354126"/>
              <a:gd name="connsiteX4" fmla="*/ 261351 w 381324"/>
              <a:gd name="connsiteY4" fmla="*/ 152 h 354126"/>
              <a:gd name="connsiteX5" fmla="*/ 266186 w 381324"/>
              <a:gd name="connsiteY5" fmla="*/ 27469 h 354126"/>
              <a:gd name="connsiteX6" fmla="*/ 258796 w 381324"/>
              <a:gd name="connsiteY6" fmla="*/ 55549 h 354126"/>
              <a:gd name="connsiteX7" fmla="*/ 323086 w 381324"/>
              <a:gd name="connsiteY7" fmla="*/ 57767 h 354126"/>
              <a:gd name="connsiteX8" fmla="*/ 356601 w 381324"/>
              <a:gd name="connsiteY8" fmla="*/ 62541 h 354126"/>
              <a:gd name="connsiteX9" fmla="*/ 359935 w 381324"/>
              <a:gd name="connsiteY9" fmla="*/ 271139 h 354126"/>
              <a:gd name="connsiteX10" fmla="*/ 74661 w 381324"/>
              <a:gd name="connsiteY10" fmla="*/ 336861 h 354126"/>
              <a:gd name="connsiteX0" fmla="*/ 74661 w 381324"/>
              <a:gd name="connsiteY0" fmla="*/ 336861 h 354126"/>
              <a:gd name="connsiteX1" fmla="*/ 843 w 381324"/>
              <a:gd name="connsiteY1" fmla="*/ 156838 h 354126"/>
              <a:gd name="connsiteX2" fmla="*/ 44181 w 381324"/>
              <a:gd name="connsiteY2" fmla="*/ 85401 h 354126"/>
              <a:gd name="connsiteX3" fmla="*/ 181341 w 381324"/>
              <a:gd name="connsiteY3" fmla="*/ 39681 h 354126"/>
              <a:gd name="connsiteX4" fmla="*/ 261351 w 381324"/>
              <a:gd name="connsiteY4" fmla="*/ 152 h 354126"/>
              <a:gd name="connsiteX5" fmla="*/ 266186 w 381324"/>
              <a:gd name="connsiteY5" fmla="*/ 27469 h 354126"/>
              <a:gd name="connsiteX6" fmla="*/ 258796 w 381324"/>
              <a:gd name="connsiteY6" fmla="*/ 55549 h 354126"/>
              <a:gd name="connsiteX7" fmla="*/ 297962 w 381324"/>
              <a:gd name="connsiteY7" fmla="*/ 54811 h 354126"/>
              <a:gd name="connsiteX8" fmla="*/ 323086 w 381324"/>
              <a:gd name="connsiteY8" fmla="*/ 57767 h 354126"/>
              <a:gd name="connsiteX9" fmla="*/ 356601 w 381324"/>
              <a:gd name="connsiteY9" fmla="*/ 62541 h 354126"/>
              <a:gd name="connsiteX10" fmla="*/ 359935 w 381324"/>
              <a:gd name="connsiteY10" fmla="*/ 271139 h 354126"/>
              <a:gd name="connsiteX11" fmla="*/ 74661 w 381324"/>
              <a:gd name="connsiteY11" fmla="*/ 336861 h 354126"/>
              <a:gd name="connsiteX0" fmla="*/ 74661 w 381324"/>
              <a:gd name="connsiteY0" fmla="*/ 336861 h 354126"/>
              <a:gd name="connsiteX1" fmla="*/ 843 w 381324"/>
              <a:gd name="connsiteY1" fmla="*/ 156838 h 354126"/>
              <a:gd name="connsiteX2" fmla="*/ 44181 w 381324"/>
              <a:gd name="connsiteY2" fmla="*/ 85401 h 354126"/>
              <a:gd name="connsiteX3" fmla="*/ 181341 w 381324"/>
              <a:gd name="connsiteY3" fmla="*/ 39681 h 354126"/>
              <a:gd name="connsiteX4" fmla="*/ 261351 w 381324"/>
              <a:gd name="connsiteY4" fmla="*/ 152 h 354126"/>
              <a:gd name="connsiteX5" fmla="*/ 266186 w 381324"/>
              <a:gd name="connsiteY5" fmla="*/ 27469 h 354126"/>
              <a:gd name="connsiteX6" fmla="*/ 258796 w 381324"/>
              <a:gd name="connsiteY6" fmla="*/ 55549 h 354126"/>
              <a:gd name="connsiteX7" fmla="*/ 284661 w 381324"/>
              <a:gd name="connsiteY7" fmla="*/ 50377 h 354126"/>
              <a:gd name="connsiteX8" fmla="*/ 323086 w 381324"/>
              <a:gd name="connsiteY8" fmla="*/ 57767 h 354126"/>
              <a:gd name="connsiteX9" fmla="*/ 356601 w 381324"/>
              <a:gd name="connsiteY9" fmla="*/ 62541 h 354126"/>
              <a:gd name="connsiteX10" fmla="*/ 359935 w 381324"/>
              <a:gd name="connsiteY10" fmla="*/ 271139 h 354126"/>
              <a:gd name="connsiteX11" fmla="*/ 74661 w 381324"/>
              <a:gd name="connsiteY11" fmla="*/ 336861 h 354126"/>
              <a:gd name="connsiteX0" fmla="*/ 74661 w 381324"/>
              <a:gd name="connsiteY0" fmla="*/ 336861 h 354126"/>
              <a:gd name="connsiteX1" fmla="*/ 843 w 381324"/>
              <a:gd name="connsiteY1" fmla="*/ 156838 h 354126"/>
              <a:gd name="connsiteX2" fmla="*/ 44181 w 381324"/>
              <a:gd name="connsiteY2" fmla="*/ 85401 h 354126"/>
              <a:gd name="connsiteX3" fmla="*/ 181341 w 381324"/>
              <a:gd name="connsiteY3" fmla="*/ 39681 h 354126"/>
              <a:gd name="connsiteX4" fmla="*/ 261351 w 381324"/>
              <a:gd name="connsiteY4" fmla="*/ 152 h 354126"/>
              <a:gd name="connsiteX5" fmla="*/ 266186 w 381324"/>
              <a:gd name="connsiteY5" fmla="*/ 27469 h 354126"/>
              <a:gd name="connsiteX6" fmla="*/ 258796 w 381324"/>
              <a:gd name="connsiteY6" fmla="*/ 55549 h 354126"/>
              <a:gd name="connsiteX7" fmla="*/ 284661 w 381324"/>
              <a:gd name="connsiteY7" fmla="*/ 50377 h 354126"/>
              <a:gd name="connsiteX8" fmla="*/ 307569 w 381324"/>
              <a:gd name="connsiteY8" fmla="*/ 54811 h 354126"/>
              <a:gd name="connsiteX9" fmla="*/ 323086 w 381324"/>
              <a:gd name="connsiteY9" fmla="*/ 57767 h 354126"/>
              <a:gd name="connsiteX10" fmla="*/ 356601 w 381324"/>
              <a:gd name="connsiteY10" fmla="*/ 62541 h 354126"/>
              <a:gd name="connsiteX11" fmla="*/ 359935 w 381324"/>
              <a:gd name="connsiteY11" fmla="*/ 271139 h 354126"/>
              <a:gd name="connsiteX12" fmla="*/ 74661 w 381324"/>
              <a:gd name="connsiteY12" fmla="*/ 336861 h 354126"/>
              <a:gd name="connsiteX0" fmla="*/ 74661 w 381324"/>
              <a:gd name="connsiteY0" fmla="*/ 336861 h 354126"/>
              <a:gd name="connsiteX1" fmla="*/ 843 w 381324"/>
              <a:gd name="connsiteY1" fmla="*/ 156838 h 354126"/>
              <a:gd name="connsiteX2" fmla="*/ 44181 w 381324"/>
              <a:gd name="connsiteY2" fmla="*/ 85401 h 354126"/>
              <a:gd name="connsiteX3" fmla="*/ 181341 w 381324"/>
              <a:gd name="connsiteY3" fmla="*/ 39681 h 354126"/>
              <a:gd name="connsiteX4" fmla="*/ 261351 w 381324"/>
              <a:gd name="connsiteY4" fmla="*/ 152 h 354126"/>
              <a:gd name="connsiteX5" fmla="*/ 266186 w 381324"/>
              <a:gd name="connsiteY5" fmla="*/ 27469 h 354126"/>
              <a:gd name="connsiteX6" fmla="*/ 258796 w 381324"/>
              <a:gd name="connsiteY6" fmla="*/ 55549 h 354126"/>
              <a:gd name="connsiteX7" fmla="*/ 284661 w 381324"/>
              <a:gd name="connsiteY7" fmla="*/ 50377 h 354126"/>
              <a:gd name="connsiteX8" fmla="*/ 292051 w 381324"/>
              <a:gd name="connsiteY8" fmla="*/ 76241 h 354126"/>
              <a:gd name="connsiteX9" fmla="*/ 323086 w 381324"/>
              <a:gd name="connsiteY9" fmla="*/ 57767 h 354126"/>
              <a:gd name="connsiteX10" fmla="*/ 356601 w 381324"/>
              <a:gd name="connsiteY10" fmla="*/ 62541 h 354126"/>
              <a:gd name="connsiteX11" fmla="*/ 359935 w 381324"/>
              <a:gd name="connsiteY11" fmla="*/ 271139 h 354126"/>
              <a:gd name="connsiteX12" fmla="*/ 74661 w 381324"/>
              <a:gd name="connsiteY12" fmla="*/ 336861 h 354126"/>
              <a:gd name="connsiteX0" fmla="*/ 74661 w 381522"/>
              <a:gd name="connsiteY0" fmla="*/ 336861 h 354126"/>
              <a:gd name="connsiteX1" fmla="*/ 843 w 381522"/>
              <a:gd name="connsiteY1" fmla="*/ 156838 h 354126"/>
              <a:gd name="connsiteX2" fmla="*/ 44181 w 381522"/>
              <a:gd name="connsiteY2" fmla="*/ 85401 h 354126"/>
              <a:gd name="connsiteX3" fmla="*/ 181341 w 381522"/>
              <a:gd name="connsiteY3" fmla="*/ 39681 h 354126"/>
              <a:gd name="connsiteX4" fmla="*/ 261351 w 381522"/>
              <a:gd name="connsiteY4" fmla="*/ 152 h 354126"/>
              <a:gd name="connsiteX5" fmla="*/ 266186 w 381522"/>
              <a:gd name="connsiteY5" fmla="*/ 27469 h 354126"/>
              <a:gd name="connsiteX6" fmla="*/ 258796 w 381522"/>
              <a:gd name="connsiteY6" fmla="*/ 55549 h 354126"/>
              <a:gd name="connsiteX7" fmla="*/ 284661 w 381522"/>
              <a:gd name="connsiteY7" fmla="*/ 50377 h 354126"/>
              <a:gd name="connsiteX8" fmla="*/ 292051 w 381522"/>
              <a:gd name="connsiteY8" fmla="*/ 76241 h 354126"/>
              <a:gd name="connsiteX9" fmla="*/ 317913 w 381522"/>
              <a:gd name="connsiteY9" fmla="*/ 48161 h 354126"/>
              <a:gd name="connsiteX10" fmla="*/ 356601 w 381522"/>
              <a:gd name="connsiteY10" fmla="*/ 62541 h 354126"/>
              <a:gd name="connsiteX11" fmla="*/ 359935 w 381522"/>
              <a:gd name="connsiteY11" fmla="*/ 271139 h 354126"/>
              <a:gd name="connsiteX12" fmla="*/ 74661 w 381522"/>
              <a:gd name="connsiteY12" fmla="*/ 336861 h 354126"/>
              <a:gd name="connsiteX0" fmla="*/ 74661 w 380936"/>
              <a:gd name="connsiteY0" fmla="*/ 336861 h 354126"/>
              <a:gd name="connsiteX1" fmla="*/ 843 w 380936"/>
              <a:gd name="connsiteY1" fmla="*/ 156838 h 354126"/>
              <a:gd name="connsiteX2" fmla="*/ 44181 w 380936"/>
              <a:gd name="connsiteY2" fmla="*/ 85401 h 354126"/>
              <a:gd name="connsiteX3" fmla="*/ 181341 w 380936"/>
              <a:gd name="connsiteY3" fmla="*/ 39681 h 354126"/>
              <a:gd name="connsiteX4" fmla="*/ 261351 w 380936"/>
              <a:gd name="connsiteY4" fmla="*/ 152 h 354126"/>
              <a:gd name="connsiteX5" fmla="*/ 266186 w 380936"/>
              <a:gd name="connsiteY5" fmla="*/ 27469 h 354126"/>
              <a:gd name="connsiteX6" fmla="*/ 258796 w 380936"/>
              <a:gd name="connsiteY6" fmla="*/ 55549 h 354126"/>
              <a:gd name="connsiteX7" fmla="*/ 284661 w 380936"/>
              <a:gd name="connsiteY7" fmla="*/ 50377 h 354126"/>
              <a:gd name="connsiteX8" fmla="*/ 292051 w 380936"/>
              <a:gd name="connsiteY8" fmla="*/ 76241 h 354126"/>
              <a:gd name="connsiteX9" fmla="*/ 317913 w 380936"/>
              <a:gd name="connsiteY9" fmla="*/ 48161 h 354126"/>
              <a:gd name="connsiteX10" fmla="*/ 333433 w 380936"/>
              <a:gd name="connsiteY10" fmla="*/ 43726 h 354126"/>
              <a:gd name="connsiteX11" fmla="*/ 356601 w 380936"/>
              <a:gd name="connsiteY11" fmla="*/ 62541 h 354126"/>
              <a:gd name="connsiteX12" fmla="*/ 359935 w 380936"/>
              <a:gd name="connsiteY12" fmla="*/ 271139 h 354126"/>
              <a:gd name="connsiteX13" fmla="*/ 74661 w 380936"/>
              <a:gd name="connsiteY13" fmla="*/ 336861 h 354126"/>
              <a:gd name="connsiteX0" fmla="*/ 74661 w 380882"/>
              <a:gd name="connsiteY0" fmla="*/ 336861 h 354126"/>
              <a:gd name="connsiteX1" fmla="*/ 843 w 380882"/>
              <a:gd name="connsiteY1" fmla="*/ 156838 h 354126"/>
              <a:gd name="connsiteX2" fmla="*/ 44181 w 380882"/>
              <a:gd name="connsiteY2" fmla="*/ 85401 h 354126"/>
              <a:gd name="connsiteX3" fmla="*/ 181341 w 380882"/>
              <a:gd name="connsiteY3" fmla="*/ 39681 h 354126"/>
              <a:gd name="connsiteX4" fmla="*/ 261351 w 380882"/>
              <a:gd name="connsiteY4" fmla="*/ 152 h 354126"/>
              <a:gd name="connsiteX5" fmla="*/ 266186 w 380882"/>
              <a:gd name="connsiteY5" fmla="*/ 27469 h 354126"/>
              <a:gd name="connsiteX6" fmla="*/ 258796 w 380882"/>
              <a:gd name="connsiteY6" fmla="*/ 55549 h 354126"/>
              <a:gd name="connsiteX7" fmla="*/ 284661 w 380882"/>
              <a:gd name="connsiteY7" fmla="*/ 50377 h 354126"/>
              <a:gd name="connsiteX8" fmla="*/ 292051 w 380882"/>
              <a:gd name="connsiteY8" fmla="*/ 76241 h 354126"/>
              <a:gd name="connsiteX9" fmla="*/ 317913 w 380882"/>
              <a:gd name="connsiteY9" fmla="*/ 48161 h 354126"/>
              <a:gd name="connsiteX10" fmla="*/ 334911 w 380882"/>
              <a:gd name="connsiteY10" fmla="*/ 68851 h 354126"/>
              <a:gd name="connsiteX11" fmla="*/ 356601 w 380882"/>
              <a:gd name="connsiteY11" fmla="*/ 62541 h 354126"/>
              <a:gd name="connsiteX12" fmla="*/ 359935 w 380882"/>
              <a:gd name="connsiteY12" fmla="*/ 271139 h 354126"/>
              <a:gd name="connsiteX13" fmla="*/ 74661 w 380882"/>
              <a:gd name="connsiteY13" fmla="*/ 336861 h 354126"/>
              <a:gd name="connsiteX0" fmla="*/ 74661 w 380882"/>
              <a:gd name="connsiteY0" fmla="*/ 329554 h 346819"/>
              <a:gd name="connsiteX1" fmla="*/ 843 w 380882"/>
              <a:gd name="connsiteY1" fmla="*/ 149531 h 346819"/>
              <a:gd name="connsiteX2" fmla="*/ 44181 w 380882"/>
              <a:gd name="connsiteY2" fmla="*/ 78094 h 346819"/>
              <a:gd name="connsiteX3" fmla="*/ 181341 w 380882"/>
              <a:gd name="connsiteY3" fmla="*/ 32374 h 346819"/>
              <a:gd name="connsiteX4" fmla="*/ 283520 w 380882"/>
              <a:gd name="connsiteY4" fmla="*/ 235 h 346819"/>
              <a:gd name="connsiteX5" fmla="*/ 266186 w 380882"/>
              <a:gd name="connsiteY5" fmla="*/ 20162 h 346819"/>
              <a:gd name="connsiteX6" fmla="*/ 258796 w 380882"/>
              <a:gd name="connsiteY6" fmla="*/ 48242 h 346819"/>
              <a:gd name="connsiteX7" fmla="*/ 284661 w 380882"/>
              <a:gd name="connsiteY7" fmla="*/ 43070 h 346819"/>
              <a:gd name="connsiteX8" fmla="*/ 292051 w 380882"/>
              <a:gd name="connsiteY8" fmla="*/ 68934 h 346819"/>
              <a:gd name="connsiteX9" fmla="*/ 317913 w 380882"/>
              <a:gd name="connsiteY9" fmla="*/ 40854 h 346819"/>
              <a:gd name="connsiteX10" fmla="*/ 334911 w 380882"/>
              <a:gd name="connsiteY10" fmla="*/ 61544 h 346819"/>
              <a:gd name="connsiteX11" fmla="*/ 356601 w 380882"/>
              <a:gd name="connsiteY11" fmla="*/ 55234 h 346819"/>
              <a:gd name="connsiteX12" fmla="*/ 359935 w 380882"/>
              <a:gd name="connsiteY12" fmla="*/ 263832 h 346819"/>
              <a:gd name="connsiteX13" fmla="*/ 74661 w 380882"/>
              <a:gd name="connsiteY13" fmla="*/ 329554 h 346819"/>
              <a:gd name="connsiteX0" fmla="*/ 74661 w 380882"/>
              <a:gd name="connsiteY0" fmla="*/ 329551 h 346816"/>
              <a:gd name="connsiteX1" fmla="*/ 843 w 380882"/>
              <a:gd name="connsiteY1" fmla="*/ 149528 h 346816"/>
              <a:gd name="connsiteX2" fmla="*/ 44181 w 380882"/>
              <a:gd name="connsiteY2" fmla="*/ 78091 h 346816"/>
              <a:gd name="connsiteX3" fmla="*/ 181341 w 380882"/>
              <a:gd name="connsiteY3" fmla="*/ 32371 h 346816"/>
              <a:gd name="connsiteX4" fmla="*/ 283520 w 380882"/>
              <a:gd name="connsiteY4" fmla="*/ 232 h 346816"/>
              <a:gd name="connsiteX5" fmla="*/ 258796 w 380882"/>
              <a:gd name="connsiteY5" fmla="*/ 48239 h 346816"/>
              <a:gd name="connsiteX6" fmla="*/ 284661 w 380882"/>
              <a:gd name="connsiteY6" fmla="*/ 43067 h 346816"/>
              <a:gd name="connsiteX7" fmla="*/ 292051 w 380882"/>
              <a:gd name="connsiteY7" fmla="*/ 68931 h 346816"/>
              <a:gd name="connsiteX8" fmla="*/ 317913 w 380882"/>
              <a:gd name="connsiteY8" fmla="*/ 40851 h 346816"/>
              <a:gd name="connsiteX9" fmla="*/ 334911 w 380882"/>
              <a:gd name="connsiteY9" fmla="*/ 61541 h 346816"/>
              <a:gd name="connsiteX10" fmla="*/ 356601 w 380882"/>
              <a:gd name="connsiteY10" fmla="*/ 55231 h 346816"/>
              <a:gd name="connsiteX11" fmla="*/ 359935 w 380882"/>
              <a:gd name="connsiteY11" fmla="*/ 263829 h 346816"/>
              <a:gd name="connsiteX12" fmla="*/ 74661 w 380882"/>
              <a:gd name="connsiteY12" fmla="*/ 329551 h 346816"/>
              <a:gd name="connsiteX0" fmla="*/ 74661 w 380882"/>
              <a:gd name="connsiteY0" fmla="*/ 329432 h 346697"/>
              <a:gd name="connsiteX1" fmla="*/ 843 w 380882"/>
              <a:gd name="connsiteY1" fmla="*/ 149409 h 346697"/>
              <a:gd name="connsiteX2" fmla="*/ 44181 w 380882"/>
              <a:gd name="connsiteY2" fmla="*/ 77972 h 346697"/>
              <a:gd name="connsiteX3" fmla="*/ 181341 w 380882"/>
              <a:gd name="connsiteY3" fmla="*/ 32252 h 346697"/>
              <a:gd name="connsiteX4" fmla="*/ 283520 w 380882"/>
              <a:gd name="connsiteY4" fmla="*/ 113 h 346697"/>
              <a:gd name="connsiteX5" fmla="*/ 284661 w 380882"/>
              <a:gd name="connsiteY5" fmla="*/ 42948 h 346697"/>
              <a:gd name="connsiteX6" fmla="*/ 292051 w 380882"/>
              <a:gd name="connsiteY6" fmla="*/ 68812 h 346697"/>
              <a:gd name="connsiteX7" fmla="*/ 317913 w 380882"/>
              <a:gd name="connsiteY7" fmla="*/ 40732 h 346697"/>
              <a:gd name="connsiteX8" fmla="*/ 334911 w 380882"/>
              <a:gd name="connsiteY8" fmla="*/ 61422 h 346697"/>
              <a:gd name="connsiteX9" fmla="*/ 356601 w 380882"/>
              <a:gd name="connsiteY9" fmla="*/ 55112 h 346697"/>
              <a:gd name="connsiteX10" fmla="*/ 359935 w 380882"/>
              <a:gd name="connsiteY10" fmla="*/ 263710 h 346697"/>
              <a:gd name="connsiteX11" fmla="*/ 74661 w 380882"/>
              <a:gd name="connsiteY11" fmla="*/ 329432 h 346697"/>
              <a:gd name="connsiteX0" fmla="*/ 74661 w 380882"/>
              <a:gd name="connsiteY0" fmla="*/ 330289 h 347554"/>
              <a:gd name="connsiteX1" fmla="*/ 843 w 380882"/>
              <a:gd name="connsiteY1" fmla="*/ 150266 h 347554"/>
              <a:gd name="connsiteX2" fmla="*/ 44181 w 380882"/>
              <a:gd name="connsiteY2" fmla="*/ 78829 h 347554"/>
              <a:gd name="connsiteX3" fmla="*/ 181341 w 380882"/>
              <a:gd name="connsiteY3" fmla="*/ 33109 h 347554"/>
              <a:gd name="connsiteX4" fmla="*/ 283520 w 380882"/>
              <a:gd name="connsiteY4" fmla="*/ 970 h 347554"/>
              <a:gd name="connsiteX5" fmla="*/ 292051 w 380882"/>
              <a:gd name="connsiteY5" fmla="*/ 69669 h 347554"/>
              <a:gd name="connsiteX6" fmla="*/ 317913 w 380882"/>
              <a:gd name="connsiteY6" fmla="*/ 41589 h 347554"/>
              <a:gd name="connsiteX7" fmla="*/ 334911 w 380882"/>
              <a:gd name="connsiteY7" fmla="*/ 62279 h 347554"/>
              <a:gd name="connsiteX8" fmla="*/ 356601 w 380882"/>
              <a:gd name="connsiteY8" fmla="*/ 55969 h 347554"/>
              <a:gd name="connsiteX9" fmla="*/ 359935 w 380882"/>
              <a:gd name="connsiteY9" fmla="*/ 264567 h 347554"/>
              <a:gd name="connsiteX10" fmla="*/ 74661 w 380882"/>
              <a:gd name="connsiteY10" fmla="*/ 330289 h 347554"/>
              <a:gd name="connsiteX0" fmla="*/ 74661 w 380882"/>
              <a:gd name="connsiteY0" fmla="*/ 329393 h 346658"/>
              <a:gd name="connsiteX1" fmla="*/ 843 w 380882"/>
              <a:gd name="connsiteY1" fmla="*/ 149370 h 346658"/>
              <a:gd name="connsiteX2" fmla="*/ 44181 w 380882"/>
              <a:gd name="connsiteY2" fmla="*/ 77933 h 346658"/>
              <a:gd name="connsiteX3" fmla="*/ 181341 w 380882"/>
              <a:gd name="connsiteY3" fmla="*/ 32213 h 346658"/>
              <a:gd name="connsiteX4" fmla="*/ 283520 w 380882"/>
              <a:gd name="connsiteY4" fmla="*/ 74 h 346658"/>
              <a:gd name="connsiteX5" fmla="*/ 317913 w 380882"/>
              <a:gd name="connsiteY5" fmla="*/ 40693 h 346658"/>
              <a:gd name="connsiteX6" fmla="*/ 334911 w 380882"/>
              <a:gd name="connsiteY6" fmla="*/ 61383 h 346658"/>
              <a:gd name="connsiteX7" fmla="*/ 356601 w 380882"/>
              <a:gd name="connsiteY7" fmla="*/ 55073 h 346658"/>
              <a:gd name="connsiteX8" fmla="*/ 359935 w 380882"/>
              <a:gd name="connsiteY8" fmla="*/ 263671 h 346658"/>
              <a:gd name="connsiteX9" fmla="*/ 74661 w 380882"/>
              <a:gd name="connsiteY9" fmla="*/ 329393 h 346658"/>
              <a:gd name="connsiteX0" fmla="*/ 74661 w 381522"/>
              <a:gd name="connsiteY0" fmla="*/ 329393 h 346658"/>
              <a:gd name="connsiteX1" fmla="*/ 843 w 381522"/>
              <a:gd name="connsiteY1" fmla="*/ 149370 h 346658"/>
              <a:gd name="connsiteX2" fmla="*/ 44181 w 381522"/>
              <a:gd name="connsiteY2" fmla="*/ 77933 h 346658"/>
              <a:gd name="connsiteX3" fmla="*/ 181341 w 381522"/>
              <a:gd name="connsiteY3" fmla="*/ 32213 h 346658"/>
              <a:gd name="connsiteX4" fmla="*/ 283520 w 381522"/>
              <a:gd name="connsiteY4" fmla="*/ 74 h 346658"/>
              <a:gd name="connsiteX5" fmla="*/ 317913 w 381522"/>
              <a:gd name="connsiteY5" fmla="*/ 40693 h 346658"/>
              <a:gd name="connsiteX6" fmla="*/ 356601 w 381522"/>
              <a:gd name="connsiteY6" fmla="*/ 55073 h 346658"/>
              <a:gd name="connsiteX7" fmla="*/ 359935 w 381522"/>
              <a:gd name="connsiteY7" fmla="*/ 263671 h 346658"/>
              <a:gd name="connsiteX8" fmla="*/ 74661 w 381522"/>
              <a:gd name="connsiteY8" fmla="*/ 329393 h 346658"/>
              <a:gd name="connsiteX0" fmla="*/ 74661 w 382907"/>
              <a:gd name="connsiteY0" fmla="*/ 329759 h 347024"/>
              <a:gd name="connsiteX1" fmla="*/ 843 w 382907"/>
              <a:gd name="connsiteY1" fmla="*/ 149736 h 347024"/>
              <a:gd name="connsiteX2" fmla="*/ 44181 w 382907"/>
              <a:gd name="connsiteY2" fmla="*/ 78299 h 347024"/>
              <a:gd name="connsiteX3" fmla="*/ 181341 w 382907"/>
              <a:gd name="connsiteY3" fmla="*/ 32579 h 347024"/>
              <a:gd name="connsiteX4" fmla="*/ 283520 w 382907"/>
              <a:gd name="connsiteY4" fmla="*/ 440 h 347024"/>
              <a:gd name="connsiteX5" fmla="*/ 356601 w 382907"/>
              <a:gd name="connsiteY5" fmla="*/ 55439 h 347024"/>
              <a:gd name="connsiteX6" fmla="*/ 359935 w 382907"/>
              <a:gd name="connsiteY6" fmla="*/ 264037 h 347024"/>
              <a:gd name="connsiteX7" fmla="*/ 74661 w 382907"/>
              <a:gd name="connsiteY7" fmla="*/ 329759 h 347024"/>
              <a:gd name="connsiteX0" fmla="*/ 74661 w 387723"/>
              <a:gd name="connsiteY0" fmla="*/ 301929 h 319194"/>
              <a:gd name="connsiteX1" fmla="*/ 843 w 387723"/>
              <a:gd name="connsiteY1" fmla="*/ 121906 h 319194"/>
              <a:gd name="connsiteX2" fmla="*/ 44181 w 387723"/>
              <a:gd name="connsiteY2" fmla="*/ 50469 h 319194"/>
              <a:gd name="connsiteX3" fmla="*/ 181341 w 387723"/>
              <a:gd name="connsiteY3" fmla="*/ 4749 h 319194"/>
              <a:gd name="connsiteX4" fmla="*/ 356601 w 387723"/>
              <a:gd name="connsiteY4" fmla="*/ 27609 h 319194"/>
              <a:gd name="connsiteX5" fmla="*/ 359935 w 387723"/>
              <a:gd name="connsiteY5" fmla="*/ 236207 h 319194"/>
              <a:gd name="connsiteX6" fmla="*/ 74661 w 387723"/>
              <a:gd name="connsiteY6" fmla="*/ 301929 h 319194"/>
              <a:gd name="connsiteX0" fmla="*/ 73818 w 386880"/>
              <a:gd name="connsiteY0" fmla="*/ 301929 h 319194"/>
              <a:gd name="connsiteX1" fmla="*/ 0 w 386880"/>
              <a:gd name="connsiteY1" fmla="*/ 121906 h 319194"/>
              <a:gd name="connsiteX2" fmla="*/ 180498 w 386880"/>
              <a:gd name="connsiteY2" fmla="*/ 4749 h 319194"/>
              <a:gd name="connsiteX3" fmla="*/ 355758 w 386880"/>
              <a:gd name="connsiteY3" fmla="*/ 27609 h 319194"/>
              <a:gd name="connsiteX4" fmla="*/ 359092 w 386880"/>
              <a:gd name="connsiteY4" fmla="*/ 236207 h 319194"/>
              <a:gd name="connsiteX5" fmla="*/ 73818 w 386880"/>
              <a:gd name="connsiteY5" fmla="*/ 301929 h 319194"/>
              <a:gd name="connsiteX0" fmla="*/ 73818 w 386880"/>
              <a:gd name="connsiteY0" fmla="*/ 346712 h 363977"/>
              <a:gd name="connsiteX1" fmla="*/ 0 w 386880"/>
              <a:gd name="connsiteY1" fmla="*/ 166689 h 363977"/>
              <a:gd name="connsiteX2" fmla="*/ 174586 w 386880"/>
              <a:gd name="connsiteY2" fmla="*/ 268 h 363977"/>
              <a:gd name="connsiteX3" fmla="*/ 355758 w 386880"/>
              <a:gd name="connsiteY3" fmla="*/ 72392 h 363977"/>
              <a:gd name="connsiteX4" fmla="*/ 359092 w 386880"/>
              <a:gd name="connsiteY4" fmla="*/ 280990 h 363977"/>
              <a:gd name="connsiteX5" fmla="*/ 73818 w 386880"/>
              <a:gd name="connsiteY5" fmla="*/ 346712 h 363977"/>
              <a:gd name="connsiteX0" fmla="*/ 73818 w 386880"/>
              <a:gd name="connsiteY0" fmla="*/ 346712 h 363977"/>
              <a:gd name="connsiteX1" fmla="*/ 0 w 386880"/>
              <a:gd name="connsiteY1" fmla="*/ 166689 h 363977"/>
              <a:gd name="connsiteX2" fmla="*/ 174586 w 386880"/>
              <a:gd name="connsiteY2" fmla="*/ 268 h 363977"/>
              <a:gd name="connsiteX3" fmla="*/ 355758 w 386880"/>
              <a:gd name="connsiteY3" fmla="*/ 72392 h 363977"/>
              <a:gd name="connsiteX4" fmla="*/ 359092 w 386880"/>
              <a:gd name="connsiteY4" fmla="*/ 280990 h 363977"/>
              <a:gd name="connsiteX5" fmla="*/ 73818 w 386880"/>
              <a:gd name="connsiteY5" fmla="*/ 346712 h 363977"/>
              <a:gd name="connsiteX0" fmla="*/ 73818 w 386880"/>
              <a:gd name="connsiteY0" fmla="*/ 346712 h 363977"/>
              <a:gd name="connsiteX1" fmla="*/ 0 w 386880"/>
              <a:gd name="connsiteY1" fmla="*/ 166689 h 363977"/>
              <a:gd name="connsiteX2" fmla="*/ 174586 w 386880"/>
              <a:gd name="connsiteY2" fmla="*/ 268 h 363977"/>
              <a:gd name="connsiteX3" fmla="*/ 355758 w 386880"/>
              <a:gd name="connsiteY3" fmla="*/ 72392 h 363977"/>
              <a:gd name="connsiteX4" fmla="*/ 359092 w 386880"/>
              <a:gd name="connsiteY4" fmla="*/ 280990 h 363977"/>
              <a:gd name="connsiteX5" fmla="*/ 73818 w 386880"/>
              <a:gd name="connsiteY5" fmla="*/ 346712 h 3639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6880" h="363977">
                <a:moveTo>
                  <a:pt x="73818" y="346712"/>
                </a:moveTo>
                <a:cubicBezTo>
                  <a:pt x="21112" y="296706"/>
                  <a:pt x="24295" y="273631"/>
                  <a:pt x="0" y="166689"/>
                </a:cubicBezTo>
                <a:cubicBezTo>
                  <a:pt x="45" y="46219"/>
                  <a:pt x="115293" y="15984"/>
                  <a:pt x="174586" y="268"/>
                </a:cubicBezTo>
                <a:cubicBezTo>
                  <a:pt x="226656" y="-3542"/>
                  <a:pt x="325992" y="33816"/>
                  <a:pt x="355758" y="72392"/>
                </a:cubicBezTo>
                <a:cubicBezTo>
                  <a:pt x="385524" y="110968"/>
                  <a:pt x="406082" y="235270"/>
                  <a:pt x="359092" y="280990"/>
                </a:cubicBezTo>
                <a:cubicBezTo>
                  <a:pt x="312102" y="326710"/>
                  <a:pt x="126524" y="396718"/>
                  <a:pt x="73818" y="346712"/>
                </a:cubicBezTo>
                <a:close/>
              </a:path>
            </a:pathLst>
          </a:custGeom>
          <a:solidFill>
            <a:schemeClr val="accent3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720" name="Freeform: Shape 17">
            <a:extLst>
              <a:ext uri="{FF2B5EF4-FFF2-40B4-BE49-F238E27FC236}">
                <a16:creationId xmlns:a16="http://schemas.microsoft.com/office/drawing/2014/main" id="{18ABF63F-8B8B-EC38-8B38-332E83F77F7E}"/>
              </a:ext>
            </a:extLst>
          </p:cNvPr>
          <p:cNvSpPr/>
          <p:nvPr/>
        </p:nvSpPr>
        <p:spPr>
          <a:xfrm rot="849571">
            <a:off x="9185071" y="3060901"/>
            <a:ext cx="129387" cy="125692"/>
          </a:xfrm>
          <a:custGeom>
            <a:avLst/>
            <a:gdLst>
              <a:gd name="connsiteX0" fmla="*/ 145257 w 176213"/>
              <a:gd name="connsiteY0" fmla="*/ 195262 h 223837"/>
              <a:gd name="connsiteX1" fmla="*/ 61913 w 176213"/>
              <a:gd name="connsiteY1" fmla="*/ 223837 h 223837"/>
              <a:gd name="connsiteX2" fmla="*/ 0 w 176213"/>
              <a:gd name="connsiteY2" fmla="*/ 95250 h 223837"/>
              <a:gd name="connsiteX3" fmla="*/ 130969 w 176213"/>
              <a:gd name="connsiteY3" fmla="*/ 0 h 223837"/>
              <a:gd name="connsiteX4" fmla="*/ 176213 w 176213"/>
              <a:gd name="connsiteY4" fmla="*/ 54769 h 223837"/>
              <a:gd name="connsiteX5" fmla="*/ 114300 w 176213"/>
              <a:gd name="connsiteY5" fmla="*/ 114300 h 223837"/>
              <a:gd name="connsiteX6" fmla="*/ 145257 w 176213"/>
              <a:gd name="connsiteY6" fmla="*/ 195262 h 223837"/>
              <a:gd name="connsiteX0" fmla="*/ 146974 w 177930"/>
              <a:gd name="connsiteY0" fmla="*/ 195262 h 223837"/>
              <a:gd name="connsiteX1" fmla="*/ 63630 w 177930"/>
              <a:gd name="connsiteY1" fmla="*/ 223837 h 223837"/>
              <a:gd name="connsiteX2" fmla="*/ 1717 w 177930"/>
              <a:gd name="connsiteY2" fmla="*/ 95250 h 223837"/>
              <a:gd name="connsiteX3" fmla="*/ 132686 w 177930"/>
              <a:gd name="connsiteY3" fmla="*/ 0 h 223837"/>
              <a:gd name="connsiteX4" fmla="*/ 177930 w 177930"/>
              <a:gd name="connsiteY4" fmla="*/ 54769 h 223837"/>
              <a:gd name="connsiteX5" fmla="*/ 116017 w 177930"/>
              <a:gd name="connsiteY5" fmla="*/ 114300 h 223837"/>
              <a:gd name="connsiteX6" fmla="*/ 146974 w 177930"/>
              <a:gd name="connsiteY6" fmla="*/ 195262 h 223837"/>
              <a:gd name="connsiteX0" fmla="*/ 146974 w 177930"/>
              <a:gd name="connsiteY0" fmla="*/ 195262 h 229057"/>
              <a:gd name="connsiteX1" fmla="*/ 63630 w 177930"/>
              <a:gd name="connsiteY1" fmla="*/ 223837 h 229057"/>
              <a:gd name="connsiteX2" fmla="*/ 1717 w 177930"/>
              <a:gd name="connsiteY2" fmla="*/ 95250 h 229057"/>
              <a:gd name="connsiteX3" fmla="*/ 132686 w 177930"/>
              <a:gd name="connsiteY3" fmla="*/ 0 h 229057"/>
              <a:gd name="connsiteX4" fmla="*/ 177930 w 177930"/>
              <a:gd name="connsiteY4" fmla="*/ 54769 h 229057"/>
              <a:gd name="connsiteX5" fmla="*/ 116017 w 177930"/>
              <a:gd name="connsiteY5" fmla="*/ 114300 h 229057"/>
              <a:gd name="connsiteX6" fmla="*/ 146974 w 177930"/>
              <a:gd name="connsiteY6" fmla="*/ 195262 h 229057"/>
              <a:gd name="connsiteX0" fmla="*/ 146974 w 177930"/>
              <a:gd name="connsiteY0" fmla="*/ 198042 h 231837"/>
              <a:gd name="connsiteX1" fmla="*/ 63630 w 177930"/>
              <a:gd name="connsiteY1" fmla="*/ 226617 h 231837"/>
              <a:gd name="connsiteX2" fmla="*/ 1717 w 177930"/>
              <a:gd name="connsiteY2" fmla="*/ 98030 h 231837"/>
              <a:gd name="connsiteX3" fmla="*/ 132686 w 177930"/>
              <a:gd name="connsiteY3" fmla="*/ 2780 h 231837"/>
              <a:gd name="connsiteX4" fmla="*/ 177930 w 177930"/>
              <a:gd name="connsiteY4" fmla="*/ 57549 h 231837"/>
              <a:gd name="connsiteX5" fmla="*/ 116017 w 177930"/>
              <a:gd name="connsiteY5" fmla="*/ 117080 h 231837"/>
              <a:gd name="connsiteX6" fmla="*/ 146974 w 177930"/>
              <a:gd name="connsiteY6" fmla="*/ 198042 h 231837"/>
              <a:gd name="connsiteX0" fmla="*/ 146974 w 177930"/>
              <a:gd name="connsiteY0" fmla="*/ 198042 h 231837"/>
              <a:gd name="connsiteX1" fmla="*/ 63630 w 177930"/>
              <a:gd name="connsiteY1" fmla="*/ 226617 h 231837"/>
              <a:gd name="connsiteX2" fmla="*/ 1717 w 177930"/>
              <a:gd name="connsiteY2" fmla="*/ 98030 h 231837"/>
              <a:gd name="connsiteX3" fmla="*/ 132686 w 177930"/>
              <a:gd name="connsiteY3" fmla="*/ 2780 h 231837"/>
              <a:gd name="connsiteX4" fmla="*/ 177930 w 177930"/>
              <a:gd name="connsiteY4" fmla="*/ 57549 h 231837"/>
              <a:gd name="connsiteX5" fmla="*/ 116017 w 177930"/>
              <a:gd name="connsiteY5" fmla="*/ 117080 h 231837"/>
              <a:gd name="connsiteX6" fmla="*/ 146974 w 177930"/>
              <a:gd name="connsiteY6" fmla="*/ 198042 h 231837"/>
              <a:gd name="connsiteX0" fmla="*/ 140025 w 170981"/>
              <a:gd name="connsiteY0" fmla="*/ 195898 h 229852"/>
              <a:gd name="connsiteX1" fmla="*/ 56681 w 170981"/>
              <a:gd name="connsiteY1" fmla="*/ 224473 h 229852"/>
              <a:gd name="connsiteX2" fmla="*/ 1912 w 170981"/>
              <a:gd name="connsiteY2" fmla="*/ 93505 h 229852"/>
              <a:gd name="connsiteX3" fmla="*/ 125737 w 170981"/>
              <a:gd name="connsiteY3" fmla="*/ 636 h 229852"/>
              <a:gd name="connsiteX4" fmla="*/ 170981 w 170981"/>
              <a:gd name="connsiteY4" fmla="*/ 55405 h 229852"/>
              <a:gd name="connsiteX5" fmla="*/ 109068 w 170981"/>
              <a:gd name="connsiteY5" fmla="*/ 114936 h 229852"/>
              <a:gd name="connsiteX6" fmla="*/ 140025 w 170981"/>
              <a:gd name="connsiteY6" fmla="*/ 195898 h 229852"/>
              <a:gd name="connsiteX0" fmla="*/ 140025 w 170981"/>
              <a:gd name="connsiteY0" fmla="*/ 195898 h 229852"/>
              <a:gd name="connsiteX1" fmla="*/ 56681 w 170981"/>
              <a:gd name="connsiteY1" fmla="*/ 224473 h 229852"/>
              <a:gd name="connsiteX2" fmla="*/ 1912 w 170981"/>
              <a:gd name="connsiteY2" fmla="*/ 93505 h 229852"/>
              <a:gd name="connsiteX3" fmla="*/ 125737 w 170981"/>
              <a:gd name="connsiteY3" fmla="*/ 636 h 229852"/>
              <a:gd name="connsiteX4" fmla="*/ 170981 w 170981"/>
              <a:gd name="connsiteY4" fmla="*/ 55405 h 229852"/>
              <a:gd name="connsiteX5" fmla="*/ 109068 w 170981"/>
              <a:gd name="connsiteY5" fmla="*/ 114936 h 229852"/>
              <a:gd name="connsiteX6" fmla="*/ 140025 w 170981"/>
              <a:gd name="connsiteY6" fmla="*/ 195898 h 229852"/>
              <a:gd name="connsiteX0" fmla="*/ 140025 w 176450"/>
              <a:gd name="connsiteY0" fmla="*/ 195879 h 229833"/>
              <a:gd name="connsiteX1" fmla="*/ 56681 w 176450"/>
              <a:gd name="connsiteY1" fmla="*/ 224454 h 229833"/>
              <a:gd name="connsiteX2" fmla="*/ 1912 w 176450"/>
              <a:gd name="connsiteY2" fmla="*/ 93486 h 229833"/>
              <a:gd name="connsiteX3" fmla="*/ 125737 w 176450"/>
              <a:gd name="connsiteY3" fmla="*/ 617 h 229833"/>
              <a:gd name="connsiteX4" fmla="*/ 170981 w 176450"/>
              <a:gd name="connsiteY4" fmla="*/ 55386 h 229833"/>
              <a:gd name="connsiteX5" fmla="*/ 109068 w 176450"/>
              <a:gd name="connsiteY5" fmla="*/ 114917 h 229833"/>
              <a:gd name="connsiteX6" fmla="*/ 140025 w 176450"/>
              <a:gd name="connsiteY6" fmla="*/ 195879 h 229833"/>
              <a:gd name="connsiteX0" fmla="*/ 140025 w 171728"/>
              <a:gd name="connsiteY0" fmla="*/ 195802 h 229756"/>
              <a:gd name="connsiteX1" fmla="*/ 56681 w 171728"/>
              <a:gd name="connsiteY1" fmla="*/ 224377 h 229756"/>
              <a:gd name="connsiteX2" fmla="*/ 1912 w 171728"/>
              <a:gd name="connsiteY2" fmla="*/ 93409 h 229756"/>
              <a:gd name="connsiteX3" fmla="*/ 125737 w 171728"/>
              <a:gd name="connsiteY3" fmla="*/ 540 h 229756"/>
              <a:gd name="connsiteX4" fmla="*/ 170981 w 171728"/>
              <a:gd name="connsiteY4" fmla="*/ 55309 h 229756"/>
              <a:gd name="connsiteX5" fmla="*/ 109068 w 171728"/>
              <a:gd name="connsiteY5" fmla="*/ 114840 h 229756"/>
              <a:gd name="connsiteX6" fmla="*/ 140025 w 171728"/>
              <a:gd name="connsiteY6" fmla="*/ 195802 h 229756"/>
              <a:gd name="connsiteX0" fmla="*/ 140025 w 198706"/>
              <a:gd name="connsiteY0" fmla="*/ 195802 h 229626"/>
              <a:gd name="connsiteX1" fmla="*/ 56681 w 198706"/>
              <a:gd name="connsiteY1" fmla="*/ 224377 h 229626"/>
              <a:gd name="connsiteX2" fmla="*/ 1912 w 198706"/>
              <a:gd name="connsiteY2" fmla="*/ 93409 h 229626"/>
              <a:gd name="connsiteX3" fmla="*/ 125737 w 198706"/>
              <a:gd name="connsiteY3" fmla="*/ 540 h 229626"/>
              <a:gd name="connsiteX4" fmla="*/ 170981 w 198706"/>
              <a:gd name="connsiteY4" fmla="*/ 55309 h 229626"/>
              <a:gd name="connsiteX5" fmla="*/ 198218 w 198706"/>
              <a:gd name="connsiteY5" fmla="*/ 121817 h 229626"/>
              <a:gd name="connsiteX6" fmla="*/ 140025 w 198706"/>
              <a:gd name="connsiteY6" fmla="*/ 195802 h 229626"/>
              <a:gd name="connsiteX0" fmla="*/ 140025 w 198327"/>
              <a:gd name="connsiteY0" fmla="*/ 195525 h 229349"/>
              <a:gd name="connsiteX1" fmla="*/ 56681 w 198327"/>
              <a:gd name="connsiteY1" fmla="*/ 224100 h 229349"/>
              <a:gd name="connsiteX2" fmla="*/ 1912 w 198327"/>
              <a:gd name="connsiteY2" fmla="*/ 93132 h 229349"/>
              <a:gd name="connsiteX3" fmla="*/ 125737 w 198327"/>
              <a:gd name="connsiteY3" fmla="*/ 263 h 229349"/>
              <a:gd name="connsiteX4" fmla="*/ 198218 w 198327"/>
              <a:gd name="connsiteY4" fmla="*/ 121540 h 229349"/>
              <a:gd name="connsiteX5" fmla="*/ 140025 w 198327"/>
              <a:gd name="connsiteY5" fmla="*/ 195525 h 229349"/>
              <a:gd name="connsiteX0" fmla="*/ 140597 w 198792"/>
              <a:gd name="connsiteY0" fmla="*/ 135516 h 169340"/>
              <a:gd name="connsiteX1" fmla="*/ 57253 w 198792"/>
              <a:gd name="connsiteY1" fmla="*/ 164091 h 169340"/>
              <a:gd name="connsiteX2" fmla="*/ 2484 w 198792"/>
              <a:gd name="connsiteY2" fmla="*/ 33123 h 169340"/>
              <a:gd name="connsiteX3" fmla="*/ 138627 w 198792"/>
              <a:gd name="connsiteY3" fmla="*/ 1164 h 169340"/>
              <a:gd name="connsiteX4" fmla="*/ 198790 w 198792"/>
              <a:gd name="connsiteY4" fmla="*/ 61531 h 169340"/>
              <a:gd name="connsiteX5" fmla="*/ 140597 w 198792"/>
              <a:gd name="connsiteY5" fmla="*/ 135516 h 169340"/>
              <a:gd name="connsiteX0" fmla="*/ 140008 w 198316"/>
              <a:gd name="connsiteY0" fmla="*/ 153071 h 186895"/>
              <a:gd name="connsiteX1" fmla="*/ 56664 w 198316"/>
              <a:gd name="connsiteY1" fmla="*/ 181646 h 186895"/>
              <a:gd name="connsiteX2" fmla="*/ 1895 w 198316"/>
              <a:gd name="connsiteY2" fmla="*/ 50678 h 186895"/>
              <a:gd name="connsiteX3" fmla="*/ 125334 w 198316"/>
              <a:gd name="connsiteY3" fmla="*/ 585 h 186895"/>
              <a:gd name="connsiteX4" fmla="*/ 198201 w 198316"/>
              <a:gd name="connsiteY4" fmla="*/ 79086 h 186895"/>
              <a:gd name="connsiteX5" fmla="*/ 140008 w 198316"/>
              <a:gd name="connsiteY5" fmla="*/ 153071 h 186895"/>
              <a:gd name="connsiteX0" fmla="*/ 144336 w 198433"/>
              <a:gd name="connsiteY0" fmla="*/ 154018 h 187074"/>
              <a:gd name="connsiteX1" fmla="*/ 56688 w 198433"/>
              <a:gd name="connsiteY1" fmla="*/ 181646 h 187074"/>
              <a:gd name="connsiteX2" fmla="*/ 1919 w 198433"/>
              <a:gd name="connsiteY2" fmla="*/ 50678 h 187074"/>
              <a:gd name="connsiteX3" fmla="*/ 125358 w 198433"/>
              <a:gd name="connsiteY3" fmla="*/ 585 h 187074"/>
              <a:gd name="connsiteX4" fmla="*/ 198225 w 198433"/>
              <a:gd name="connsiteY4" fmla="*/ 79086 h 187074"/>
              <a:gd name="connsiteX5" fmla="*/ 144336 w 198433"/>
              <a:gd name="connsiteY5" fmla="*/ 154018 h 187074"/>
              <a:gd name="connsiteX0" fmla="*/ 133630 w 187727"/>
              <a:gd name="connsiteY0" fmla="*/ 153624 h 182895"/>
              <a:gd name="connsiteX1" fmla="*/ 45982 w 187727"/>
              <a:gd name="connsiteY1" fmla="*/ 181252 h 182895"/>
              <a:gd name="connsiteX2" fmla="*/ 2335 w 187727"/>
              <a:gd name="connsiteY2" fmla="*/ 110480 h 182895"/>
              <a:gd name="connsiteX3" fmla="*/ 114652 w 187727"/>
              <a:gd name="connsiteY3" fmla="*/ 191 h 182895"/>
              <a:gd name="connsiteX4" fmla="*/ 187519 w 187727"/>
              <a:gd name="connsiteY4" fmla="*/ 78692 h 182895"/>
              <a:gd name="connsiteX5" fmla="*/ 133630 w 187727"/>
              <a:gd name="connsiteY5" fmla="*/ 153624 h 182895"/>
              <a:gd name="connsiteX0" fmla="*/ 131295 w 185392"/>
              <a:gd name="connsiteY0" fmla="*/ 153624 h 154394"/>
              <a:gd name="connsiteX1" fmla="*/ 0 w 185392"/>
              <a:gd name="connsiteY1" fmla="*/ 110480 h 154394"/>
              <a:gd name="connsiteX2" fmla="*/ 112317 w 185392"/>
              <a:gd name="connsiteY2" fmla="*/ 191 h 154394"/>
              <a:gd name="connsiteX3" fmla="*/ 185184 w 185392"/>
              <a:gd name="connsiteY3" fmla="*/ 78692 h 154394"/>
              <a:gd name="connsiteX4" fmla="*/ 131295 w 185392"/>
              <a:gd name="connsiteY4" fmla="*/ 153624 h 154394"/>
              <a:gd name="connsiteX0" fmla="*/ 134363 w 190718"/>
              <a:gd name="connsiteY0" fmla="*/ 160641 h 161442"/>
              <a:gd name="connsiteX1" fmla="*/ 3068 w 190718"/>
              <a:gd name="connsiteY1" fmla="*/ 117497 h 161442"/>
              <a:gd name="connsiteX2" fmla="*/ 54672 w 190718"/>
              <a:gd name="connsiteY2" fmla="*/ 170 h 161442"/>
              <a:gd name="connsiteX3" fmla="*/ 188252 w 190718"/>
              <a:gd name="connsiteY3" fmla="*/ 85709 h 161442"/>
              <a:gd name="connsiteX4" fmla="*/ 134363 w 190718"/>
              <a:gd name="connsiteY4" fmla="*/ 160641 h 161442"/>
              <a:gd name="connsiteX0" fmla="*/ 134363 w 178428"/>
              <a:gd name="connsiteY0" fmla="*/ 160641 h 163768"/>
              <a:gd name="connsiteX1" fmla="*/ 3068 w 178428"/>
              <a:gd name="connsiteY1" fmla="*/ 117497 h 163768"/>
              <a:gd name="connsiteX2" fmla="*/ 54672 w 178428"/>
              <a:gd name="connsiteY2" fmla="*/ 170 h 163768"/>
              <a:gd name="connsiteX3" fmla="*/ 174773 w 178428"/>
              <a:gd name="connsiteY3" fmla="*/ 40334 h 163768"/>
              <a:gd name="connsiteX4" fmla="*/ 134363 w 178428"/>
              <a:gd name="connsiteY4" fmla="*/ 160641 h 163768"/>
              <a:gd name="connsiteX0" fmla="*/ 138318 w 183727"/>
              <a:gd name="connsiteY0" fmla="*/ 195923 h 199514"/>
              <a:gd name="connsiteX1" fmla="*/ 7023 w 183727"/>
              <a:gd name="connsiteY1" fmla="*/ 152779 h 199514"/>
              <a:gd name="connsiteX2" fmla="*/ 37522 w 183727"/>
              <a:gd name="connsiteY2" fmla="*/ 131 h 199514"/>
              <a:gd name="connsiteX3" fmla="*/ 178728 w 183727"/>
              <a:gd name="connsiteY3" fmla="*/ 75616 h 199514"/>
              <a:gd name="connsiteX4" fmla="*/ 138318 w 183727"/>
              <a:gd name="connsiteY4" fmla="*/ 195923 h 199514"/>
              <a:gd name="connsiteX0" fmla="*/ 138318 w 198785"/>
              <a:gd name="connsiteY0" fmla="*/ 195923 h 200029"/>
              <a:gd name="connsiteX1" fmla="*/ 7023 w 198785"/>
              <a:gd name="connsiteY1" fmla="*/ 152779 h 200029"/>
              <a:gd name="connsiteX2" fmla="*/ 37522 w 198785"/>
              <a:gd name="connsiteY2" fmla="*/ 131 h 200029"/>
              <a:gd name="connsiteX3" fmla="*/ 194960 w 198785"/>
              <a:gd name="connsiteY3" fmla="*/ 67456 h 200029"/>
              <a:gd name="connsiteX4" fmla="*/ 138318 w 198785"/>
              <a:gd name="connsiteY4" fmla="*/ 195923 h 200029"/>
              <a:gd name="connsiteX0" fmla="*/ 138318 w 198785"/>
              <a:gd name="connsiteY0" fmla="*/ 202073 h 206179"/>
              <a:gd name="connsiteX1" fmla="*/ 7023 w 198785"/>
              <a:gd name="connsiteY1" fmla="*/ 158929 h 206179"/>
              <a:gd name="connsiteX2" fmla="*/ 37522 w 198785"/>
              <a:gd name="connsiteY2" fmla="*/ 6281 h 206179"/>
              <a:gd name="connsiteX3" fmla="*/ 194960 w 198785"/>
              <a:gd name="connsiteY3" fmla="*/ 73606 h 206179"/>
              <a:gd name="connsiteX4" fmla="*/ 138318 w 198785"/>
              <a:gd name="connsiteY4" fmla="*/ 202073 h 206179"/>
              <a:gd name="connsiteX0" fmla="*/ 147129 w 207596"/>
              <a:gd name="connsiteY0" fmla="*/ 202073 h 206179"/>
              <a:gd name="connsiteX1" fmla="*/ 15834 w 207596"/>
              <a:gd name="connsiteY1" fmla="*/ 158929 h 206179"/>
              <a:gd name="connsiteX2" fmla="*/ 46333 w 207596"/>
              <a:gd name="connsiteY2" fmla="*/ 6281 h 206179"/>
              <a:gd name="connsiteX3" fmla="*/ 203771 w 207596"/>
              <a:gd name="connsiteY3" fmla="*/ 73606 h 206179"/>
              <a:gd name="connsiteX4" fmla="*/ 147129 w 207596"/>
              <a:gd name="connsiteY4" fmla="*/ 202073 h 206179"/>
              <a:gd name="connsiteX0" fmla="*/ 147129 w 207596"/>
              <a:gd name="connsiteY0" fmla="*/ 202073 h 206179"/>
              <a:gd name="connsiteX1" fmla="*/ 15834 w 207596"/>
              <a:gd name="connsiteY1" fmla="*/ 158929 h 206179"/>
              <a:gd name="connsiteX2" fmla="*/ 46333 w 207596"/>
              <a:gd name="connsiteY2" fmla="*/ 6281 h 206179"/>
              <a:gd name="connsiteX3" fmla="*/ 203771 w 207596"/>
              <a:gd name="connsiteY3" fmla="*/ 73606 h 206179"/>
              <a:gd name="connsiteX4" fmla="*/ 147129 w 207596"/>
              <a:gd name="connsiteY4" fmla="*/ 202073 h 206179"/>
              <a:gd name="connsiteX0" fmla="*/ 147129 w 210875"/>
              <a:gd name="connsiteY0" fmla="*/ 207263 h 211369"/>
              <a:gd name="connsiteX1" fmla="*/ 15834 w 210875"/>
              <a:gd name="connsiteY1" fmla="*/ 164119 h 211369"/>
              <a:gd name="connsiteX2" fmla="*/ 46333 w 210875"/>
              <a:gd name="connsiteY2" fmla="*/ 11471 h 211369"/>
              <a:gd name="connsiteX3" fmla="*/ 203771 w 210875"/>
              <a:gd name="connsiteY3" fmla="*/ 78796 h 211369"/>
              <a:gd name="connsiteX4" fmla="*/ 147129 w 210875"/>
              <a:gd name="connsiteY4" fmla="*/ 207263 h 211369"/>
              <a:gd name="connsiteX0" fmla="*/ 147129 w 213870"/>
              <a:gd name="connsiteY0" fmla="*/ 207263 h 216390"/>
              <a:gd name="connsiteX1" fmla="*/ 15834 w 213870"/>
              <a:gd name="connsiteY1" fmla="*/ 164119 h 216390"/>
              <a:gd name="connsiteX2" fmla="*/ 46333 w 213870"/>
              <a:gd name="connsiteY2" fmla="*/ 11471 h 216390"/>
              <a:gd name="connsiteX3" fmla="*/ 203771 w 213870"/>
              <a:gd name="connsiteY3" fmla="*/ 78796 h 216390"/>
              <a:gd name="connsiteX4" fmla="*/ 147129 w 213870"/>
              <a:gd name="connsiteY4" fmla="*/ 207263 h 216390"/>
              <a:gd name="connsiteX0" fmla="*/ 154863 w 221604"/>
              <a:gd name="connsiteY0" fmla="*/ 207263 h 220924"/>
              <a:gd name="connsiteX1" fmla="*/ 23568 w 221604"/>
              <a:gd name="connsiteY1" fmla="*/ 164119 h 220924"/>
              <a:gd name="connsiteX2" fmla="*/ 54067 w 221604"/>
              <a:gd name="connsiteY2" fmla="*/ 11471 h 220924"/>
              <a:gd name="connsiteX3" fmla="*/ 211505 w 221604"/>
              <a:gd name="connsiteY3" fmla="*/ 78796 h 220924"/>
              <a:gd name="connsiteX4" fmla="*/ 154863 w 221604"/>
              <a:gd name="connsiteY4" fmla="*/ 207263 h 2209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1604" h="220924">
                <a:moveTo>
                  <a:pt x="154863" y="207263"/>
                </a:moveTo>
                <a:cubicBezTo>
                  <a:pt x="98236" y="233965"/>
                  <a:pt x="59062" y="222519"/>
                  <a:pt x="23568" y="164119"/>
                </a:cubicBezTo>
                <a:cubicBezTo>
                  <a:pt x="-11926" y="105719"/>
                  <a:pt x="-11563" y="37395"/>
                  <a:pt x="54067" y="11471"/>
                </a:cubicBezTo>
                <a:cubicBezTo>
                  <a:pt x="119697" y="-14453"/>
                  <a:pt x="185530" y="1736"/>
                  <a:pt x="211505" y="78796"/>
                </a:cubicBezTo>
                <a:cubicBezTo>
                  <a:pt x="237480" y="155856"/>
                  <a:pt x="211490" y="180561"/>
                  <a:pt x="154863" y="207263"/>
                </a:cubicBezTo>
                <a:close/>
              </a:path>
            </a:pathLst>
          </a:custGeom>
          <a:solidFill>
            <a:schemeClr val="accent3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918" name="Free-form: Shape 3917">
            <a:extLst>
              <a:ext uri="{FF2B5EF4-FFF2-40B4-BE49-F238E27FC236}">
                <a16:creationId xmlns:a16="http://schemas.microsoft.com/office/drawing/2014/main" id="{96B61037-5BCA-EAAF-615D-4769253CF4B7}"/>
              </a:ext>
            </a:extLst>
          </p:cNvPr>
          <p:cNvSpPr/>
          <p:nvPr/>
        </p:nvSpPr>
        <p:spPr>
          <a:xfrm>
            <a:off x="6947132" y="3275285"/>
            <a:ext cx="901239" cy="183878"/>
          </a:xfrm>
          <a:custGeom>
            <a:avLst/>
            <a:gdLst>
              <a:gd name="csX0" fmla="*/ 0 w 1020019"/>
              <a:gd name="csY0" fmla="*/ 0 h 228600"/>
              <a:gd name="csX1" fmla="*/ 892656 w 1020019"/>
              <a:gd name="csY1" fmla="*/ 0 h 228600"/>
              <a:gd name="csX2" fmla="*/ 1020019 w 1020019"/>
              <a:gd name="csY2" fmla="*/ 228600 h 228600"/>
              <a:gd name="csX3" fmla="*/ 65128 w 1020019"/>
              <a:gd name="csY3" fmla="*/ 228600 h 228600"/>
              <a:gd name="csX4" fmla="*/ 0 w 1020019"/>
              <a:gd name="csY4" fmla="*/ 0 h 22860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020019" h="228600">
                <a:moveTo>
                  <a:pt x="0" y="0"/>
                </a:moveTo>
                <a:lnTo>
                  <a:pt x="892656" y="0"/>
                </a:lnTo>
                <a:lnTo>
                  <a:pt x="1020019" y="228600"/>
                </a:lnTo>
                <a:lnTo>
                  <a:pt x="65128" y="2286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919" name="Free-form: Shape 3918">
            <a:extLst>
              <a:ext uri="{FF2B5EF4-FFF2-40B4-BE49-F238E27FC236}">
                <a16:creationId xmlns:a16="http://schemas.microsoft.com/office/drawing/2014/main" id="{73C423CC-C7A4-86C9-E590-F6EF69458383}"/>
              </a:ext>
            </a:extLst>
          </p:cNvPr>
          <p:cNvSpPr/>
          <p:nvPr/>
        </p:nvSpPr>
        <p:spPr>
          <a:xfrm>
            <a:off x="7058257" y="3656285"/>
            <a:ext cx="1035845" cy="248172"/>
          </a:xfrm>
          <a:custGeom>
            <a:avLst/>
            <a:gdLst>
              <a:gd name="csX0" fmla="*/ 0 w 1020019"/>
              <a:gd name="csY0" fmla="*/ 0 h 228600"/>
              <a:gd name="csX1" fmla="*/ 892656 w 1020019"/>
              <a:gd name="csY1" fmla="*/ 0 h 228600"/>
              <a:gd name="csX2" fmla="*/ 1020019 w 1020019"/>
              <a:gd name="csY2" fmla="*/ 228600 h 228600"/>
              <a:gd name="csX3" fmla="*/ 65128 w 1020019"/>
              <a:gd name="csY3" fmla="*/ 228600 h 228600"/>
              <a:gd name="csX4" fmla="*/ 0 w 1020019"/>
              <a:gd name="csY4" fmla="*/ 0 h 228600"/>
              <a:gd name="csX0" fmla="*/ 0 w 1020019"/>
              <a:gd name="csY0" fmla="*/ 0 h 230815"/>
              <a:gd name="csX1" fmla="*/ 892656 w 1020019"/>
              <a:gd name="csY1" fmla="*/ 0 h 230815"/>
              <a:gd name="csX2" fmla="*/ 1020019 w 1020019"/>
              <a:gd name="csY2" fmla="*/ 228600 h 230815"/>
              <a:gd name="csX3" fmla="*/ 67512 w 1020019"/>
              <a:gd name="csY3" fmla="*/ 230815 h 230815"/>
              <a:gd name="csX4" fmla="*/ 0 w 1020019"/>
              <a:gd name="csY4" fmla="*/ 0 h 230815"/>
              <a:gd name="csX0" fmla="*/ 0 w 1036702"/>
              <a:gd name="csY0" fmla="*/ 0 h 230815"/>
              <a:gd name="csX1" fmla="*/ 892656 w 1036702"/>
              <a:gd name="csY1" fmla="*/ 0 h 230815"/>
              <a:gd name="csX2" fmla="*/ 1036702 w 1036702"/>
              <a:gd name="csY2" fmla="*/ 226385 h 230815"/>
              <a:gd name="csX3" fmla="*/ 67512 w 1036702"/>
              <a:gd name="csY3" fmla="*/ 230815 h 230815"/>
              <a:gd name="csX4" fmla="*/ 0 w 1036702"/>
              <a:gd name="csY4" fmla="*/ 0 h 23081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036702" h="230815">
                <a:moveTo>
                  <a:pt x="0" y="0"/>
                </a:moveTo>
                <a:lnTo>
                  <a:pt x="892656" y="0"/>
                </a:lnTo>
                <a:lnTo>
                  <a:pt x="1036702" y="226385"/>
                </a:lnTo>
                <a:lnTo>
                  <a:pt x="67512" y="23081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985" name="Oval 3984">
            <a:extLst>
              <a:ext uri="{FF2B5EF4-FFF2-40B4-BE49-F238E27FC236}">
                <a16:creationId xmlns:a16="http://schemas.microsoft.com/office/drawing/2014/main" id="{4CA24B31-E3D8-17A6-1959-626A8EDB7B6C}"/>
              </a:ext>
            </a:extLst>
          </p:cNvPr>
          <p:cNvSpPr/>
          <p:nvPr/>
        </p:nvSpPr>
        <p:spPr>
          <a:xfrm>
            <a:off x="6437183" y="5639719"/>
            <a:ext cx="868414" cy="126003"/>
          </a:xfrm>
          <a:prstGeom prst="ellipse">
            <a:avLst/>
          </a:prstGeom>
          <a:solidFill>
            <a:schemeClr val="tx1">
              <a:alpha val="6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03" name="Oval 4002">
            <a:extLst>
              <a:ext uri="{FF2B5EF4-FFF2-40B4-BE49-F238E27FC236}">
                <a16:creationId xmlns:a16="http://schemas.microsoft.com/office/drawing/2014/main" id="{B1484B92-6292-392B-79AA-50CAD0B59578}"/>
              </a:ext>
            </a:extLst>
          </p:cNvPr>
          <p:cNvSpPr/>
          <p:nvPr/>
        </p:nvSpPr>
        <p:spPr>
          <a:xfrm>
            <a:off x="690588" y="5639719"/>
            <a:ext cx="868414" cy="126003"/>
          </a:xfrm>
          <a:prstGeom prst="ellipse">
            <a:avLst/>
          </a:prstGeom>
          <a:solidFill>
            <a:schemeClr val="tx1">
              <a:alpha val="6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04" name="Oval 4003">
            <a:extLst>
              <a:ext uri="{FF2B5EF4-FFF2-40B4-BE49-F238E27FC236}">
                <a16:creationId xmlns:a16="http://schemas.microsoft.com/office/drawing/2014/main" id="{816AC835-9899-2FAE-2344-498A6F5268AD}"/>
              </a:ext>
            </a:extLst>
          </p:cNvPr>
          <p:cNvSpPr/>
          <p:nvPr/>
        </p:nvSpPr>
        <p:spPr>
          <a:xfrm>
            <a:off x="10689514" y="5639719"/>
            <a:ext cx="868414" cy="126003"/>
          </a:xfrm>
          <a:prstGeom prst="ellipse">
            <a:avLst/>
          </a:prstGeom>
          <a:solidFill>
            <a:schemeClr val="tx1">
              <a:alpha val="6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18" name="Oval 4017">
            <a:extLst>
              <a:ext uri="{FF2B5EF4-FFF2-40B4-BE49-F238E27FC236}">
                <a16:creationId xmlns:a16="http://schemas.microsoft.com/office/drawing/2014/main" id="{E3FF7F95-329F-8F89-BC74-EF20D039C475}"/>
              </a:ext>
            </a:extLst>
          </p:cNvPr>
          <p:cNvSpPr/>
          <p:nvPr/>
        </p:nvSpPr>
        <p:spPr>
          <a:xfrm>
            <a:off x="2125378" y="5639719"/>
            <a:ext cx="868414" cy="126003"/>
          </a:xfrm>
          <a:prstGeom prst="ellipse">
            <a:avLst/>
          </a:prstGeom>
          <a:solidFill>
            <a:schemeClr val="tx1">
              <a:alpha val="6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19" name="Oval 4018">
            <a:extLst>
              <a:ext uri="{FF2B5EF4-FFF2-40B4-BE49-F238E27FC236}">
                <a16:creationId xmlns:a16="http://schemas.microsoft.com/office/drawing/2014/main" id="{29E51EFF-0572-7905-46DD-3678FB6E8BAD}"/>
              </a:ext>
            </a:extLst>
          </p:cNvPr>
          <p:cNvSpPr/>
          <p:nvPr/>
        </p:nvSpPr>
        <p:spPr>
          <a:xfrm>
            <a:off x="9795275" y="4626259"/>
            <a:ext cx="717697" cy="126003"/>
          </a:xfrm>
          <a:prstGeom prst="ellipse">
            <a:avLst/>
          </a:prstGeom>
          <a:solidFill>
            <a:schemeClr val="tx1">
              <a:alpha val="6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21" name="Oval 4020">
            <a:extLst>
              <a:ext uri="{FF2B5EF4-FFF2-40B4-BE49-F238E27FC236}">
                <a16:creationId xmlns:a16="http://schemas.microsoft.com/office/drawing/2014/main" id="{A57B5CB1-211B-56B6-164C-15491943F41E}"/>
              </a:ext>
            </a:extLst>
          </p:cNvPr>
          <p:cNvSpPr/>
          <p:nvPr/>
        </p:nvSpPr>
        <p:spPr>
          <a:xfrm>
            <a:off x="9010414" y="5000382"/>
            <a:ext cx="717697" cy="126003"/>
          </a:xfrm>
          <a:prstGeom prst="ellipse">
            <a:avLst/>
          </a:prstGeom>
          <a:solidFill>
            <a:schemeClr val="tx1">
              <a:alpha val="6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23" name="Free-form: Shape 4022">
            <a:extLst>
              <a:ext uri="{FF2B5EF4-FFF2-40B4-BE49-F238E27FC236}">
                <a16:creationId xmlns:a16="http://schemas.microsoft.com/office/drawing/2014/main" id="{204444DC-8A9C-9914-042E-D5D1A3337C4A}"/>
              </a:ext>
            </a:extLst>
          </p:cNvPr>
          <p:cNvSpPr/>
          <p:nvPr/>
        </p:nvSpPr>
        <p:spPr>
          <a:xfrm>
            <a:off x="9103356" y="4061433"/>
            <a:ext cx="576505" cy="1024899"/>
          </a:xfrm>
          <a:custGeom>
            <a:avLst/>
            <a:gdLst>
              <a:gd name="csX0" fmla="*/ 581793 w 697572"/>
              <a:gd name="csY0" fmla="*/ 1234401 h 1240128"/>
              <a:gd name="csX1" fmla="*/ 577427 w 697572"/>
              <a:gd name="csY1" fmla="*/ 1234156 h 1240128"/>
              <a:gd name="csX2" fmla="*/ 559133 w 697572"/>
              <a:gd name="csY2" fmla="*/ 1230909 h 1240128"/>
              <a:gd name="csX3" fmla="*/ 516706 w 697572"/>
              <a:gd name="csY3" fmla="*/ 1235117 h 1240128"/>
              <a:gd name="csX4" fmla="*/ 475244 w 697572"/>
              <a:gd name="csY4" fmla="*/ 1237506 h 1240128"/>
              <a:gd name="csX5" fmla="*/ 371154 w 697572"/>
              <a:gd name="csY5" fmla="*/ 1239428 h 1240128"/>
              <a:gd name="csX6" fmla="*/ 276813 w 697572"/>
              <a:gd name="csY6" fmla="*/ 1237654 h 1240128"/>
              <a:gd name="csX7" fmla="*/ 268212 w 697572"/>
              <a:gd name="csY7" fmla="*/ 1237635 h 1240128"/>
              <a:gd name="csX8" fmla="*/ 262072 w 697572"/>
              <a:gd name="csY8" fmla="*/ 1237523 h 1240128"/>
              <a:gd name="csX9" fmla="*/ 195111 w 697572"/>
              <a:gd name="csY9" fmla="*/ 1232775 h 1240128"/>
              <a:gd name="csX10" fmla="*/ 145060 w 697572"/>
              <a:gd name="csY10" fmla="*/ 1230076 h 1240128"/>
              <a:gd name="csX11" fmla="*/ 114933 w 697572"/>
              <a:gd name="csY11" fmla="*/ 1225832 h 1240128"/>
              <a:gd name="csX12" fmla="*/ 72642 w 697572"/>
              <a:gd name="csY12" fmla="*/ 1220237 h 1240128"/>
              <a:gd name="csX13" fmla="*/ 10894 w 697572"/>
              <a:gd name="csY13" fmla="*/ 1205737 h 1240128"/>
              <a:gd name="csX14" fmla="*/ 5856 w 697572"/>
              <a:gd name="csY14" fmla="*/ 1202799 h 1240128"/>
              <a:gd name="csX15" fmla="*/ 40 w 697572"/>
              <a:gd name="csY15" fmla="*/ 1174450 h 1240128"/>
              <a:gd name="csX16" fmla="*/ 19831 w 697572"/>
              <a:gd name="csY16" fmla="*/ 1118410 h 1240128"/>
              <a:gd name="csX17" fmla="*/ 22004 w 697572"/>
              <a:gd name="csY17" fmla="*/ 1107240 h 1240128"/>
              <a:gd name="csX18" fmla="*/ 25947 w 697572"/>
              <a:gd name="csY18" fmla="*/ 1038650 h 1240128"/>
              <a:gd name="csX19" fmla="*/ 58234 w 697572"/>
              <a:gd name="csY19" fmla="*/ 988567 h 1240128"/>
              <a:gd name="csX20" fmla="*/ 118645 w 697572"/>
              <a:gd name="csY20" fmla="*/ 928298 h 1240128"/>
              <a:gd name="csX21" fmla="*/ 126320 w 697572"/>
              <a:gd name="csY21" fmla="*/ 892015 h 1240128"/>
              <a:gd name="csX22" fmla="*/ 120345 w 697572"/>
              <a:gd name="csY22" fmla="*/ 872258 h 1240128"/>
              <a:gd name="csX23" fmla="*/ 125668 w 697572"/>
              <a:gd name="csY23" fmla="*/ 861640 h 1240128"/>
              <a:gd name="csX24" fmla="*/ 154237 w 697572"/>
              <a:gd name="csY24" fmla="*/ 850716 h 1240128"/>
              <a:gd name="csX25" fmla="*/ 170248 w 697572"/>
              <a:gd name="csY25" fmla="*/ 836767 h 1240128"/>
              <a:gd name="csX26" fmla="*/ 187840 w 697572"/>
              <a:gd name="csY26" fmla="*/ 796341 h 1240128"/>
              <a:gd name="csX27" fmla="*/ 209346 w 697572"/>
              <a:gd name="csY27" fmla="*/ 743126 h 1240128"/>
              <a:gd name="csX28" fmla="*/ 210630 w 697572"/>
              <a:gd name="csY28" fmla="*/ 737219 h 1240128"/>
              <a:gd name="csX29" fmla="*/ 213836 w 697572"/>
              <a:gd name="csY29" fmla="*/ 720505 h 1240128"/>
              <a:gd name="csX30" fmla="*/ 227791 w 697572"/>
              <a:gd name="csY30" fmla="*/ 667353 h 1240128"/>
              <a:gd name="csX31" fmla="*/ 241013 w 697572"/>
              <a:gd name="csY31" fmla="*/ 599151 h 1240128"/>
              <a:gd name="csX32" fmla="*/ 247322 w 697572"/>
              <a:gd name="csY32" fmla="*/ 542242 h 1240128"/>
              <a:gd name="csX33" fmla="*/ 247948 w 697572"/>
              <a:gd name="csY33" fmla="*/ 499296 h 1240128"/>
              <a:gd name="csX34" fmla="*/ 247577 w 697572"/>
              <a:gd name="csY34" fmla="*/ 470384 h 1240128"/>
              <a:gd name="csX35" fmla="*/ 238877 w 697572"/>
              <a:gd name="csY35" fmla="*/ 460987 h 1240128"/>
              <a:gd name="csX36" fmla="*/ 222040 w 697572"/>
              <a:gd name="csY36" fmla="*/ 458353 h 1240128"/>
              <a:gd name="csX37" fmla="*/ 172193 w 697572"/>
              <a:gd name="csY37" fmla="*/ 433714 h 1240128"/>
              <a:gd name="csX38" fmla="*/ 168410 w 697572"/>
              <a:gd name="csY38" fmla="*/ 396591 h 1240128"/>
              <a:gd name="csX39" fmla="*/ 209826 w 697572"/>
              <a:gd name="csY39" fmla="*/ 367773 h 1240128"/>
              <a:gd name="csX40" fmla="*/ 250732 w 697572"/>
              <a:gd name="csY40" fmla="*/ 355208 h 1240128"/>
              <a:gd name="csX41" fmla="*/ 258289 w 697572"/>
              <a:gd name="csY41" fmla="*/ 350426 h 1240128"/>
              <a:gd name="csX42" fmla="*/ 233274 w 697572"/>
              <a:gd name="csY42" fmla="*/ 333513 h 1240128"/>
              <a:gd name="csX43" fmla="*/ 229677 w 697572"/>
              <a:gd name="csY43" fmla="*/ 333922 h 1240128"/>
              <a:gd name="csX44" fmla="*/ 230149 w 697572"/>
              <a:gd name="csY44" fmla="*/ 332979 h 1240128"/>
              <a:gd name="csX45" fmla="*/ 227053 w 697572"/>
              <a:gd name="csY45" fmla="*/ 327076 h 1240128"/>
              <a:gd name="csX46" fmla="*/ 196769 w 697572"/>
              <a:gd name="csY46" fmla="*/ 291380 h 1240128"/>
              <a:gd name="csX47" fmla="*/ 184389 w 697572"/>
              <a:gd name="csY47" fmla="*/ 264042 h 1240128"/>
              <a:gd name="csX48" fmla="*/ 180630 w 697572"/>
              <a:gd name="csY48" fmla="*/ 257839 h 1240128"/>
              <a:gd name="csX49" fmla="*/ 176231 w 697572"/>
              <a:gd name="csY49" fmla="*/ 250643 h 1240128"/>
              <a:gd name="csX50" fmla="*/ 170073 w 697572"/>
              <a:gd name="csY50" fmla="*/ 146723 h 1240128"/>
              <a:gd name="csX51" fmla="*/ 180929 w 697572"/>
              <a:gd name="csY51" fmla="*/ 114280 h 1240128"/>
              <a:gd name="csX52" fmla="*/ 180839 w 697572"/>
              <a:gd name="csY52" fmla="*/ 101501 h 1240128"/>
              <a:gd name="csX53" fmla="*/ 233536 w 697572"/>
              <a:gd name="csY53" fmla="*/ 39653 h 1240128"/>
              <a:gd name="csX54" fmla="*/ 347618 w 697572"/>
              <a:gd name="csY54" fmla="*/ 35 h 1240128"/>
              <a:gd name="csX55" fmla="*/ 437139 w 697572"/>
              <a:gd name="csY55" fmla="*/ 22396 h 1240128"/>
              <a:gd name="csX56" fmla="*/ 529052 w 697572"/>
              <a:gd name="csY56" fmla="*/ 131093 h 1240128"/>
              <a:gd name="csX57" fmla="*/ 518497 w 697572"/>
              <a:gd name="csY57" fmla="*/ 271517 h 1240128"/>
              <a:gd name="csX58" fmla="*/ 500808 w 697572"/>
              <a:gd name="csY58" fmla="*/ 287385 h 1240128"/>
              <a:gd name="csX59" fmla="*/ 472948 w 697572"/>
              <a:gd name="csY59" fmla="*/ 323290 h 1240128"/>
              <a:gd name="csX60" fmla="*/ 469385 w 697572"/>
              <a:gd name="csY60" fmla="*/ 331565 h 1240128"/>
              <a:gd name="csX61" fmla="*/ 468293 w 697572"/>
              <a:gd name="csY61" fmla="*/ 331320 h 1240128"/>
              <a:gd name="csX62" fmla="*/ 459542 w 697572"/>
              <a:gd name="csY62" fmla="*/ 338942 h 1240128"/>
              <a:gd name="csX63" fmla="*/ 458492 w 697572"/>
              <a:gd name="csY63" fmla="*/ 338671 h 1240128"/>
              <a:gd name="csX64" fmla="*/ 436978 w 697572"/>
              <a:gd name="csY64" fmla="*/ 352226 h 1240128"/>
              <a:gd name="csX65" fmla="*/ 472329 w 697572"/>
              <a:gd name="csY65" fmla="*/ 362890 h 1240128"/>
              <a:gd name="csX66" fmla="*/ 523779 w 697572"/>
              <a:gd name="csY66" fmla="*/ 391962 h 1240128"/>
              <a:gd name="csX67" fmla="*/ 527344 w 697572"/>
              <a:gd name="csY67" fmla="*/ 430096 h 1240128"/>
              <a:gd name="csX68" fmla="*/ 504112 w 697572"/>
              <a:gd name="csY68" fmla="*/ 449628 h 1240128"/>
              <a:gd name="csX69" fmla="*/ 459430 w 697572"/>
              <a:gd name="csY69" fmla="*/ 461116 h 1240128"/>
              <a:gd name="csX70" fmla="*/ 446666 w 697572"/>
              <a:gd name="csY70" fmla="*/ 474229 h 1240128"/>
              <a:gd name="csX71" fmla="*/ 449133 w 697572"/>
              <a:gd name="csY71" fmla="*/ 531639 h 1240128"/>
              <a:gd name="csX72" fmla="*/ 454546 w 697572"/>
              <a:gd name="csY72" fmla="*/ 588688 h 1240128"/>
              <a:gd name="csX73" fmla="*/ 466126 w 697572"/>
              <a:gd name="csY73" fmla="*/ 649736 h 1240128"/>
              <a:gd name="csX74" fmla="*/ 512154 w 697572"/>
              <a:gd name="csY74" fmla="*/ 794006 h 1240128"/>
              <a:gd name="csX75" fmla="*/ 525763 w 697572"/>
              <a:gd name="csY75" fmla="*/ 834323 h 1240128"/>
              <a:gd name="csX76" fmla="*/ 530555 w 697572"/>
              <a:gd name="csY76" fmla="*/ 845114 h 1240128"/>
              <a:gd name="csX77" fmla="*/ 554424 w 697572"/>
              <a:gd name="csY77" fmla="*/ 856618 h 1240128"/>
              <a:gd name="csX78" fmla="*/ 572880 w 697572"/>
              <a:gd name="csY78" fmla="*/ 862546 h 1240128"/>
              <a:gd name="csX79" fmla="*/ 578643 w 697572"/>
              <a:gd name="csY79" fmla="*/ 880396 h 1240128"/>
              <a:gd name="csX80" fmla="*/ 572188 w 697572"/>
              <a:gd name="csY80" fmla="*/ 899820 h 1240128"/>
              <a:gd name="csX81" fmla="*/ 582698 w 697572"/>
              <a:gd name="csY81" fmla="*/ 930382 h 1240128"/>
              <a:gd name="csX82" fmla="*/ 604747 w 697572"/>
              <a:gd name="csY82" fmla="*/ 960852 h 1240128"/>
              <a:gd name="csX83" fmla="*/ 613863 w 697572"/>
              <a:gd name="csY83" fmla="*/ 968311 h 1240128"/>
              <a:gd name="csX84" fmla="*/ 629435 w 697572"/>
              <a:gd name="csY84" fmla="*/ 981186 h 1240128"/>
              <a:gd name="csX85" fmla="*/ 633611 w 697572"/>
              <a:gd name="csY85" fmla="*/ 985609 h 1240128"/>
              <a:gd name="csX86" fmla="*/ 673790 w 697572"/>
              <a:gd name="csY86" fmla="*/ 1049348 h 1240128"/>
              <a:gd name="csX87" fmla="*/ 675873 w 697572"/>
              <a:gd name="csY87" fmla="*/ 1092839 h 1240128"/>
              <a:gd name="csX88" fmla="*/ 681668 w 697572"/>
              <a:gd name="csY88" fmla="*/ 1129292 h 1240128"/>
              <a:gd name="csX89" fmla="*/ 697338 w 697572"/>
              <a:gd name="csY89" fmla="*/ 1196079 h 1240128"/>
              <a:gd name="csX90" fmla="*/ 690637 w 697572"/>
              <a:gd name="csY90" fmla="*/ 1205035 h 1240128"/>
              <a:gd name="csX91" fmla="*/ 639777 w 697572"/>
              <a:gd name="csY91" fmla="*/ 1217994 h 1240128"/>
              <a:gd name="csX92" fmla="*/ 587072 w 697572"/>
              <a:gd name="csY92" fmla="*/ 1227761 h 1240128"/>
              <a:gd name="csX93" fmla="*/ 581793 w 697572"/>
              <a:gd name="csY93" fmla="*/ 1234401 h 1240128"/>
              <a:gd name="csX94" fmla="*/ 357446 w 697572"/>
              <a:gd name="csY94" fmla="*/ 903795 h 1240128"/>
              <a:gd name="csX95" fmla="*/ 344445 w 697572"/>
              <a:gd name="csY95" fmla="*/ 903795 h 1240128"/>
              <a:gd name="csX96" fmla="*/ 349212 w 697572"/>
              <a:gd name="csY96" fmla="*/ 950515 h 1240128"/>
              <a:gd name="csX97" fmla="*/ 349538 w 697572"/>
              <a:gd name="csY97" fmla="*/ 1069392 h 1240128"/>
              <a:gd name="csX98" fmla="*/ 349415 w 697572"/>
              <a:gd name="csY98" fmla="*/ 1108925 h 1240128"/>
              <a:gd name="csX99" fmla="*/ 647726 w 697572"/>
              <a:gd name="csY99" fmla="*/ 1089872 h 1240128"/>
              <a:gd name="csX100" fmla="*/ 647654 w 697572"/>
              <a:gd name="csY100" fmla="*/ 1076267 h 1240128"/>
              <a:gd name="csX101" fmla="*/ 610267 w 697572"/>
              <a:gd name="csY101" fmla="*/ 994126 h 1240128"/>
              <a:gd name="csX102" fmla="*/ 571459 w 697572"/>
              <a:gd name="csY102" fmla="*/ 956568 h 1240128"/>
              <a:gd name="csX103" fmla="*/ 541653 w 697572"/>
              <a:gd name="csY103" fmla="*/ 901544 h 1240128"/>
              <a:gd name="csX104" fmla="*/ 539477 w 697572"/>
              <a:gd name="csY104" fmla="*/ 895908 h 1240128"/>
              <a:gd name="csX105" fmla="*/ 357446 w 697572"/>
              <a:gd name="csY105" fmla="*/ 903795 h 1240128"/>
              <a:gd name="csX106" fmla="*/ 300108 w 697572"/>
              <a:gd name="csY106" fmla="*/ 85260 h 1240128"/>
              <a:gd name="csX107" fmla="*/ 290213 w 697572"/>
              <a:gd name="csY107" fmla="*/ 127888 h 1240128"/>
              <a:gd name="csX108" fmla="*/ 331056 w 697572"/>
              <a:gd name="csY108" fmla="*/ 214168 h 1240128"/>
              <a:gd name="csX109" fmla="*/ 424717 w 697572"/>
              <a:gd name="csY109" fmla="*/ 245160 h 1240128"/>
              <a:gd name="csX110" fmla="*/ 496752 w 697572"/>
              <a:gd name="csY110" fmla="*/ 141256 h 1240128"/>
              <a:gd name="csX111" fmla="*/ 390320 w 697572"/>
              <a:gd name="csY111" fmla="*/ 43995 h 1240128"/>
              <a:gd name="csX112" fmla="*/ 300108 w 697572"/>
              <a:gd name="csY112" fmla="*/ 85260 h 1240128"/>
              <a:gd name="csX113" fmla="*/ 343360 w 697572"/>
              <a:gd name="csY113" fmla="*/ 634332 h 1240128"/>
              <a:gd name="csX114" fmla="*/ 340877 w 697572"/>
              <a:gd name="csY114" fmla="*/ 732259 h 1240128"/>
              <a:gd name="csX115" fmla="*/ 338360 w 697572"/>
              <a:gd name="csY115" fmla="*/ 810538 h 1240128"/>
              <a:gd name="csX116" fmla="*/ 337115 w 697572"/>
              <a:gd name="csY116" fmla="*/ 817736 h 1240128"/>
              <a:gd name="csX117" fmla="*/ 336516 w 697572"/>
              <a:gd name="csY117" fmla="*/ 863022 h 1240128"/>
              <a:gd name="csX118" fmla="*/ 343436 w 697572"/>
              <a:gd name="csY118" fmla="*/ 864027 h 1240128"/>
              <a:gd name="csX119" fmla="*/ 406718 w 697572"/>
              <a:gd name="csY119" fmla="*/ 862982 h 1240128"/>
              <a:gd name="csX120" fmla="*/ 456888 w 697572"/>
              <a:gd name="csY120" fmla="*/ 861794 h 1240128"/>
              <a:gd name="csX121" fmla="*/ 495873 w 697572"/>
              <a:gd name="csY121" fmla="*/ 863963 h 1240128"/>
              <a:gd name="csX122" fmla="*/ 509286 w 697572"/>
              <a:gd name="csY122" fmla="*/ 863595 h 1240128"/>
              <a:gd name="csX123" fmla="*/ 516956 w 697572"/>
              <a:gd name="csY123" fmla="*/ 856791 h 1240128"/>
              <a:gd name="csX124" fmla="*/ 513920 w 697572"/>
              <a:gd name="csY124" fmla="*/ 848709 h 1240128"/>
              <a:gd name="csX125" fmla="*/ 506683 w 697572"/>
              <a:gd name="csY125" fmla="*/ 839054 h 1240128"/>
              <a:gd name="csX126" fmla="*/ 488629 w 697572"/>
              <a:gd name="csY126" fmla="*/ 799037 h 1240128"/>
              <a:gd name="csX127" fmla="*/ 456922 w 697572"/>
              <a:gd name="csY127" fmla="*/ 696297 h 1240128"/>
              <a:gd name="csX128" fmla="*/ 441346 w 697572"/>
              <a:gd name="csY128" fmla="*/ 619885 h 1240128"/>
              <a:gd name="csX129" fmla="*/ 435963 w 697572"/>
              <a:gd name="csY129" fmla="*/ 582529 h 1240128"/>
              <a:gd name="csX130" fmla="*/ 429497 w 697572"/>
              <a:gd name="csY130" fmla="*/ 521990 h 1240128"/>
              <a:gd name="csX131" fmla="*/ 426887 w 697572"/>
              <a:gd name="csY131" fmla="*/ 471989 h 1240128"/>
              <a:gd name="csX132" fmla="*/ 413744 w 697572"/>
              <a:gd name="csY132" fmla="*/ 461077 h 1240128"/>
              <a:gd name="csX133" fmla="*/ 353573 w 697572"/>
              <a:gd name="csY133" fmla="*/ 461120 h 1240128"/>
              <a:gd name="csX134" fmla="*/ 344160 w 697572"/>
              <a:gd name="csY134" fmla="*/ 462286 h 1240128"/>
              <a:gd name="csX135" fmla="*/ 343404 w 697572"/>
              <a:gd name="csY135" fmla="*/ 469192 h 1240128"/>
              <a:gd name="csX136" fmla="*/ 343469 w 697572"/>
              <a:gd name="csY136" fmla="*/ 574797 h 1240128"/>
              <a:gd name="csX137" fmla="*/ 345522 w 697572"/>
              <a:gd name="csY137" fmla="*/ 591669 h 1240128"/>
              <a:gd name="csX138" fmla="*/ 343360 w 697572"/>
              <a:gd name="csY138" fmla="*/ 634332 h 1240128"/>
              <a:gd name="csX139" fmla="*/ 416946 w 697572"/>
              <a:gd name="csY139" fmla="*/ 385943 h 1240128"/>
              <a:gd name="csX140" fmla="*/ 401091 w 697572"/>
              <a:gd name="csY140" fmla="*/ 387162 h 1240128"/>
              <a:gd name="csX141" fmla="*/ 369218 w 697572"/>
              <a:gd name="csY141" fmla="*/ 387708 h 1240128"/>
              <a:gd name="csX142" fmla="*/ 351833 w 697572"/>
              <a:gd name="csY142" fmla="*/ 398991 h 1240128"/>
              <a:gd name="csX143" fmla="*/ 349778 w 697572"/>
              <a:gd name="csY143" fmla="*/ 426021 h 1240128"/>
              <a:gd name="csX144" fmla="*/ 361839 w 697572"/>
              <a:gd name="csY144" fmla="*/ 426538 h 1240128"/>
              <a:gd name="csX145" fmla="*/ 455022 w 697572"/>
              <a:gd name="csY145" fmla="*/ 426922 h 1240128"/>
              <a:gd name="csX146" fmla="*/ 481958 w 697572"/>
              <a:gd name="csY146" fmla="*/ 426527 h 1240128"/>
              <a:gd name="csX147" fmla="*/ 499817 w 697572"/>
              <a:gd name="csY147" fmla="*/ 419888 h 1240128"/>
              <a:gd name="csX148" fmla="*/ 499439 w 697572"/>
              <a:gd name="csY148" fmla="*/ 400719 h 1240128"/>
              <a:gd name="csX149" fmla="*/ 468062 w 697572"/>
              <a:gd name="csY149" fmla="*/ 387775 h 1240128"/>
              <a:gd name="csX150" fmla="*/ 416946 w 697572"/>
              <a:gd name="csY150" fmla="*/ 385943 h 1240128"/>
              <a:gd name="csX151" fmla="*/ 636802 w 697572"/>
              <a:gd name="csY151" fmla="*/ 1190940 h 1240128"/>
              <a:gd name="csX152" fmla="*/ 666492 w 697572"/>
              <a:gd name="csY152" fmla="*/ 1184186 h 1240128"/>
              <a:gd name="csX153" fmla="*/ 674465 w 697572"/>
              <a:gd name="csY153" fmla="*/ 1170880 h 1240128"/>
              <a:gd name="csX154" fmla="*/ 662462 w 697572"/>
              <a:gd name="csY154" fmla="*/ 1141464 h 1240128"/>
              <a:gd name="csX155" fmla="*/ 645564 w 697572"/>
              <a:gd name="csY155" fmla="*/ 1131937 h 1240128"/>
              <a:gd name="csX156" fmla="*/ 627387 w 697572"/>
              <a:gd name="csY156" fmla="*/ 1133618 h 1240128"/>
              <a:gd name="csX157" fmla="*/ 583917 w 697572"/>
              <a:gd name="csY157" fmla="*/ 1139222 h 1240128"/>
              <a:gd name="csX158" fmla="*/ 543741 w 697572"/>
              <a:gd name="csY158" fmla="*/ 1141869 h 1240128"/>
              <a:gd name="csX159" fmla="*/ 512146 w 697572"/>
              <a:gd name="csY159" fmla="*/ 1144418 h 1240128"/>
              <a:gd name="csX160" fmla="*/ 447711 w 697572"/>
              <a:gd name="csY160" fmla="*/ 1148973 h 1240128"/>
              <a:gd name="csX161" fmla="*/ 351979 w 697572"/>
              <a:gd name="csY161" fmla="*/ 1149200 h 1240128"/>
              <a:gd name="csX162" fmla="*/ 338443 w 697572"/>
              <a:gd name="csY162" fmla="*/ 1150040 h 1240128"/>
              <a:gd name="csX163" fmla="*/ 338451 w 697572"/>
              <a:gd name="csY163" fmla="*/ 1190780 h 1240128"/>
              <a:gd name="csX164" fmla="*/ 351082 w 697572"/>
              <a:gd name="csY164" fmla="*/ 1207015 h 1240128"/>
              <a:gd name="csX165" fmla="*/ 358298 w 697572"/>
              <a:gd name="csY165" fmla="*/ 1208094 h 1240128"/>
              <a:gd name="csX166" fmla="*/ 521229 w 697572"/>
              <a:gd name="csY166" fmla="*/ 1205646 h 1240128"/>
              <a:gd name="csX167" fmla="*/ 523675 w 697572"/>
              <a:gd name="csY167" fmla="*/ 1205490 h 1240128"/>
              <a:gd name="csX168" fmla="*/ 580423 w 697572"/>
              <a:gd name="csY168" fmla="*/ 1198350 h 1240128"/>
              <a:gd name="csX169" fmla="*/ 636802 w 697572"/>
              <a:gd name="csY169" fmla="*/ 1190940 h 124012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</a:cxnLst>
            <a:rect l="l" t="t" r="r" b="b"/>
            <a:pathLst>
              <a:path w="697572" h="1240128">
                <a:moveTo>
                  <a:pt x="581793" y="1234401"/>
                </a:moveTo>
                <a:cubicBezTo>
                  <a:pt x="580693" y="1234661"/>
                  <a:pt x="579594" y="1234922"/>
                  <a:pt x="577427" y="1234156"/>
                </a:cubicBezTo>
                <a:cubicBezTo>
                  <a:pt x="571216" y="1227899"/>
                  <a:pt x="564912" y="1230441"/>
                  <a:pt x="559133" y="1230909"/>
                </a:cubicBezTo>
                <a:cubicBezTo>
                  <a:pt x="544971" y="1232056"/>
                  <a:pt x="530869" y="1233971"/>
                  <a:pt x="516706" y="1235117"/>
                </a:cubicBezTo>
                <a:cubicBezTo>
                  <a:pt x="502910" y="1236232"/>
                  <a:pt x="489077" y="1237097"/>
                  <a:pt x="475244" y="1237506"/>
                </a:cubicBezTo>
                <a:cubicBezTo>
                  <a:pt x="440539" y="1238535"/>
                  <a:pt x="405696" y="1241458"/>
                  <a:pt x="371154" y="1239428"/>
                </a:cubicBezTo>
                <a:cubicBezTo>
                  <a:pt x="339645" y="1237575"/>
                  <a:pt x="308239" y="1238753"/>
                  <a:pt x="276813" y="1237654"/>
                </a:cubicBezTo>
                <a:cubicBezTo>
                  <a:pt x="273949" y="1237553"/>
                  <a:pt x="271079" y="1237652"/>
                  <a:pt x="268212" y="1237635"/>
                </a:cubicBezTo>
                <a:cubicBezTo>
                  <a:pt x="266165" y="1237623"/>
                  <a:pt x="264111" y="1237668"/>
                  <a:pt x="262072" y="1237523"/>
                </a:cubicBezTo>
                <a:cubicBezTo>
                  <a:pt x="239751" y="1235944"/>
                  <a:pt x="217441" y="1234201"/>
                  <a:pt x="195111" y="1232775"/>
                </a:cubicBezTo>
                <a:cubicBezTo>
                  <a:pt x="178437" y="1231710"/>
                  <a:pt x="161712" y="1231378"/>
                  <a:pt x="145060" y="1230076"/>
                </a:cubicBezTo>
                <a:cubicBezTo>
                  <a:pt x="134969" y="1229287"/>
                  <a:pt x="124987" y="1227177"/>
                  <a:pt x="114933" y="1225832"/>
                </a:cubicBezTo>
                <a:cubicBezTo>
                  <a:pt x="100834" y="1223946"/>
                  <a:pt x="86554" y="1223022"/>
                  <a:pt x="72642" y="1220237"/>
                </a:cubicBezTo>
                <a:cubicBezTo>
                  <a:pt x="51920" y="1216091"/>
                  <a:pt x="31443" y="1210723"/>
                  <a:pt x="10894" y="1205737"/>
                </a:cubicBezTo>
                <a:cubicBezTo>
                  <a:pt x="9027" y="1205284"/>
                  <a:pt x="6196" y="1204140"/>
                  <a:pt x="5856" y="1202799"/>
                </a:cubicBezTo>
                <a:cubicBezTo>
                  <a:pt x="3474" y="1193418"/>
                  <a:pt x="-438" y="1183796"/>
                  <a:pt x="40" y="1174450"/>
                </a:cubicBezTo>
                <a:cubicBezTo>
                  <a:pt x="1079" y="1154149"/>
                  <a:pt x="9757" y="1135843"/>
                  <a:pt x="19831" y="1118410"/>
                </a:cubicBezTo>
                <a:cubicBezTo>
                  <a:pt x="21968" y="1114713"/>
                  <a:pt x="22970" y="1111858"/>
                  <a:pt x="22004" y="1107240"/>
                </a:cubicBezTo>
                <a:cubicBezTo>
                  <a:pt x="17168" y="1084118"/>
                  <a:pt x="17717" y="1061168"/>
                  <a:pt x="25947" y="1038650"/>
                </a:cubicBezTo>
                <a:cubicBezTo>
                  <a:pt x="32954" y="1019481"/>
                  <a:pt x="44478" y="1003118"/>
                  <a:pt x="58234" y="988567"/>
                </a:cubicBezTo>
                <a:cubicBezTo>
                  <a:pt x="77769" y="967902"/>
                  <a:pt x="97978" y="947832"/>
                  <a:pt x="118645" y="928298"/>
                </a:cubicBezTo>
                <a:cubicBezTo>
                  <a:pt x="130104" y="917467"/>
                  <a:pt x="131835" y="905961"/>
                  <a:pt x="126320" y="892015"/>
                </a:cubicBezTo>
                <a:cubicBezTo>
                  <a:pt x="123798" y="885637"/>
                  <a:pt x="122123" y="878904"/>
                  <a:pt x="120345" y="872258"/>
                </a:cubicBezTo>
                <a:cubicBezTo>
                  <a:pt x="119029" y="867341"/>
                  <a:pt x="120162" y="863613"/>
                  <a:pt x="125668" y="861640"/>
                </a:cubicBezTo>
                <a:cubicBezTo>
                  <a:pt x="135266" y="858201"/>
                  <a:pt x="144535" y="853788"/>
                  <a:pt x="154237" y="850716"/>
                </a:cubicBezTo>
                <a:cubicBezTo>
                  <a:pt x="161882" y="848296"/>
                  <a:pt x="167110" y="843897"/>
                  <a:pt x="170248" y="836767"/>
                </a:cubicBezTo>
                <a:cubicBezTo>
                  <a:pt x="176168" y="823316"/>
                  <a:pt x="182193" y="809907"/>
                  <a:pt x="187840" y="796341"/>
                </a:cubicBezTo>
                <a:cubicBezTo>
                  <a:pt x="195194" y="778679"/>
                  <a:pt x="202250" y="760894"/>
                  <a:pt x="209346" y="743126"/>
                </a:cubicBezTo>
                <a:cubicBezTo>
                  <a:pt x="210083" y="741280"/>
                  <a:pt x="210252" y="739200"/>
                  <a:pt x="210630" y="737219"/>
                </a:cubicBezTo>
                <a:cubicBezTo>
                  <a:pt x="211694" y="731645"/>
                  <a:pt x="212425" y="725987"/>
                  <a:pt x="213836" y="720505"/>
                </a:cubicBezTo>
                <a:cubicBezTo>
                  <a:pt x="218406" y="702764"/>
                  <a:pt x="223811" y="685219"/>
                  <a:pt x="227791" y="667353"/>
                </a:cubicBezTo>
                <a:cubicBezTo>
                  <a:pt x="232826" y="644755"/>
                  <a:pt x="237367" y="622009"/>
                  <a:pt x="241013" y="599151"/>
                </a:cubicBezTo>
                <a:cubicBezTo>
                  <a:pt x="244018" y="580319"/>
                  <a:pt x="246001" y="561272"/>
                  <a:pt x="247322" y="542242"/>
                </a:cubicBezTo>
                <a:cubicBezTo>
                  <a:pt x="248312" y="527975"/>
                  <a:pt x="246344" y="513451"/>
                  <a:pt x="247948" y="499296"/>
                </a:cubicBezTo>
                <a:cubicBezTo>
                  <a:pt x="249066" y="489432"/>
                  <a:pt x="247923" y="480014"/>
                  <a:pt x="247577" y="470384"/>
                </a:cubicBezTo>
                <a:cubicBezTo>
                  <a:pt x="247364" y="464453"/>
                  <a:pt x="245121" y="461397"/>
                  <a:pt x="238877" y="460987"/>
                </a:cubicBezTo>
                <a:cubicBezTo>
                  <a:pt x="233224" y="460615"/>
                  <a:pt x="227461" y="459920"/>
                  <a:pt x="222040" y="458353"/>
                </a:cubicBezTo>
                <a:cubicBezTo>
                  <a:pt x="203991" y="453134"/>
                  <a:pt x="185737" y="448229"/>
                  <a:pt x="172193" y="433714"/>
                </a:cubicBezTo>
                <a:cubicBezTo>
                  <a:pt x="162702" y="423544"/>
                  <a:pt x="160887" y="408134"/>
                  <a:pt x="168410" y="396591"/>
                </a:cubicBezTo>
                <a:cubicBezTo>
                  <a:pt x="178294" y="381428"/>
                  <a:pt x="193736" y="373793"/>
                  <a:pt x="209826" y="367773"/>
                </a:cubicBezTo>
                <a:cubicBezTo>
                  <a:pt x="223159" y="362784"/>
                  <a:pt x="237124" y="359493"/>
                  <a:pt x="250732" y="355208"/>
                </a:cubicBezTo>
                <a:cubicBezTo>
                  <a:pt x="253085" y="354467"/>
                  <a:pt x="255058" y="352518"/>
                  <a:pt x="258289" y="350426"/>
                </a:cubicBezTo>
                <a:cubicBezTo>
                  <a:pt x="250173" y="342610"/>
                  <a:pt x="241833" y="337880"/>
                  <a:pt x="233274" y="333513"/>
                </a:cubicBezTo>
                <a:cubicBezTo>
                  <a:pt x="232377" y="333055"/>
                  <a:pt x="230890" y="333758"/>
                  <a:pt x="229677" y="333922"/>
                </a:cubicBezTo>
                <a:cubicBezTo>
                  <a:pt x="229677" y="333922"/>
                  <a:pt x="230323" y="333834"/>
                  <a:pt x="230149" y="332979"/>
                </a:cubicBezTo>
                <a:cubicBezTo>
                  <a:pt x="229023" y="330409"/>
                  <a:pt x="228502" y="328059"/>
                  <a:pt x="227053" y="327076"/>
                </a:cubicBezTo>
                <a:cubicBezTo>
                  <a:pt x="213615" y="317962"/>
                  <a:pt x="204643" y="305332"/>
                  <a:pt x="196769" y="291380"/>
                </a:cubicBezTo>
                <a:cubicBezTo>
                  <a:pt x="191792" y="282564"/>
                  <a:pt x="185421" y="274665"/>
                  <a:pt x="184389" y="264042"/>
                </a:cubicBezTo>
                <a:cubicBezTo>
                  <a:pt x="184179" y="261874"/>
                  <a:pt x="181925" y="259908"/>
                  <a:pt x="180630" y="257839"/>
                </a:cubicBezTo>
                <a:cubicBezTo>
                  <a:pt x="179137" y="255454"/>
                  <a:pt x="177317" y="253204"/>
                  <a:pt x="176231" y="250643"/>
                </a:cubicBezTo>
                <a:cubicBezTo>
                  <a:pt x="161865" y="216749"/>
                  <a:pt x="159606" y="182060"/>
                  <a:pt x="170073" y="146723"/>
                </a:cubicBezTo>
                <a:cubicBezTo>
                  <a:pt x="173311" y="135795"/>
                  <a:pt x="177248" y="125074"/>
                  <a:pt x="180929" y="114280"/>
                </a:cubicBezTo>
                <a:cubicBezTo>
                  <a:pt x="182396" y="109981"/>
                  <a:pt x="183922" y="105742"/>
                  <a:pt x="180839" y="101501"/>
                </a:cubicBezTo>
                <a:cubicBezTo>
                  <a:pt x="192473" y="75833"/>
                  <a:pt x="211344" y="56271"/>
                  <a:pt x="233536" y="39653"/>
                </a:cubicBezTo>
                <a:cubicBezTo>
                  <a:pt x="267321" y="14353"/>
                  <a:pt x="305621" y="873"/>
                  <a:pt x="347618" y="35"/>
                </a:cubicBezTo>
                <a:cubicBezTo>
                  <a:pt x="379125" y="-593"/>
                  <a:pt x="409214" y="7172"/>
                  <a:pt x="437139" y="22396"/>
                </a:cubicBezTo>
                <a:cubicBezTo>
                  <a:pt x="481844" y="46766"/>
                  <a:pt x="514077" y="82116"/>
                  <a:pt x="529052" y="131093"/>
                </a:cubicBezTo>
                <a:cubicBezTo>
                  <a:pt x="543544" y="178495"/>
                  <a:pt x="541630" y="225548"/>
                  <a:pt x="518497" y="271517"/>
                </a:cubicBezTo>
                <a:cubicBezTo>
                  <a:pt x="511428" y="277096"/>
                  <a:pt x="503848" y="281136"/>
                  <a:pt x="500808" y="287385"/>
                </a:cubicBezTo>
                <a:cubicBezTo>
                  <a:pt x="493932" y="301522"/>
                  <a:pt x="483805" y="312513"/>
                  <a:pt x="472948" y="323290"/>
                </a:cubicBezTo>
                <a:cubicBezTo>
                  <a:pt x="470972" y="325253"/>
                  <a:pt x="470533" y="328767"/>
                  <a:pt x="469385" y="331565"/>
                </a:cubicBezTo>
                <a:cubicBezTo>
                  <a:pt x="469385" y="331565"/>
                  <a:pt x="469172" y="331584"/>
                  <a:pt x="468293" y="331320"/>
                </a:cubicBezTo>
                <a:cubicBezTo>
                  <a:pt x="461937" y="330836"/>
                  <a:pt x="458618" y="332772"/>
                  <a:pt x="459542" y="338942"/>
                </a:cubicBezTo>
                <a:cubicBezTo>
                  <a:pt x="459542" y="338942"/>
                  <a:pt x="459473" y="338913"/>
                  <a:pt x="458492" y="338671"/>
                </a:cubicBezTo>
                <a:cubicBezTo>
                  <a:pt x="450936" y="342653"/>
                  <a:pt x="440712" y="341355"/>
                  <a:pt x="436978" y="352226"/>
                </a:cubicBezTo>
                <a:cubicBezTo>
                  <a:pt x="449178" y="355911"/>
                  <a:pt x="460733" y="359469"/>
                  <a:pt x="472329" y="362890"/>
                </a:cubicBezTo>
                <a:cubicBezTo>
                  <a:pt x="491728" y="368613"/>
                  <a:pt x="510182" y="375784"/>
                  <a:pt x="523779" y="391962"/>
                </a:cubicBezTo>
                <a:cubicBezTo>
                  <a:pt x="535849" y="406326"/>
                  <a:pt x="534845" y="420076"/>
                  <a:pt x="527344" y="430096"/>
                </a:cubicBezTo>
                <a:cubicBezTo>
                  <a:pt x="521323" y="438139"/>
                  <a:pt x="513928" y="445333"/>
                  <a:pt x="504112" y="449628"/>
                </a:cubicBezTo>
                <a:cubicBezTo>
                  <a:pt x="489776" y="455901"/>
                  <a:pt x="475173" y="460486"/>
                  <a:pt x="459430" y="461116"/>
                </a:cubicBezTo>
                <a:cubicBezTo>
                  <a:pt x="448415" y="461557"/>
                  <a:pt x="446384" y="463369"/>
                  <a:pt x="446666" y="474229"/>
                </a:cubicBezTo>
                <a:cubicBezTo>
                  <a:pt x="447164" y="493376"/>
                  <a:pt x="447839" y="512533"/>
                  <a:pt x="449133" y="531639"/>
                </a:cubicBezTo>
                <a:cubicBezTo>
                  <a:pt x="450424" y="550696"/>
                  <a:pt x="451783" y="569809"/>
                  <a:pt x="454546" y="588688"/>
                </a:cubicBezTo>
                <a:cubicBezTo>
                  <a:pt x="457543" y="609164"/>
                  <a:pt x="462165" y="629403"/>
                  <a:pt x="466126" y="649736"/>
                </a:cubicBezTo>
                <a:cubicBezTo>
                  <a:pt x="475845" y="699621"/>
                  <a:pt x="493414" y="746980"/>
                  <a:pt x="512154" y="794006"/>
                </a:cubicBezTo>
                <a:cubicBezTo>
                  <a:pt x="517387" y="807138"/>
                  <a:pt x="525145" y="819463"/>
                  <a:pt x="525763" y="834323"/>
                </a:cubicBezTo>
                <a:cubicBezTo>
                  <a:pt x="525919" y="838081"/>
                  <a:pt x="527739" y="843335"/>
                  <a:pt x="530555" y="845114"/>
                </a:cubicBezTo>
                <a:cubicBezTo>
                  <a:pt x="537981" y="849801"/>
                  <a:pt x="546243" y="853278"/>
                  <a:pt x="554424" y="856618"/>
                </a:cubicBezTo>
                <a:cubicBezTo>
                  <a:pt x="560391" y="859054"/>
                  <a:pt x="567041" y="859887"/>
                  <a:pt x="572880" y="862546"/>
                </a:cubicBezTo>
                <a:cubicBezTo>
                  <a:pt x="581470" y="866458"/>
                  <a:pt x="582467" y="871415"/>
                  <a:pt x="578643" y="880396"/>
                </a:cubicBezTo>
                <a:cubicBezTo>
                  <a:pt x="575969" y="886677"/>
                  <a:pt x="572900" y="893182"/>
                  <a:pt x="572188" y="899820"/>
                </a:cubicBezTo>
                <a:cubicBezTo>
                  <a:pt x="570960" y="911271"/>
                  <a:pt x="576506" y="920944"/>
                  <a:pt x="582698" y="930382"/>
                </a:cubicBezTo>
                <a:cubicBezTo>
                  <a:pt x="589569" y="940856"/>
                  <a:pt x="600933" y="947930"/>
                  <a:pt x="604747" y="960852"/>
                </a:cubicBezTo>
                <a:cubicBezTo>
                  <a:pt x="605684" y="964030"/>
                  <a:pt x="610294" y="967128"/>
                  <a:pt x="613863" y="968311"/>
                </a:cubicBezTo>
                <a:cubicBezTo>
                  <a:pt x="620963" y="970665"/>
                  <a:pt x="625924" y="974774"/>
                  <a:pt x="629435" y="981186"/>
                </a:cubicBezTo>
                <a:cubicBezTo>
                  <a:pt x="630381" y="982913"/>
                  <a:pt x="631977" y="984459"/>
                  <a:pt x="633611" y="985609"/>
                </a:cubicBezTo>
                <a:cubicBezTo>
                  <a:pt x="655878" y="1001272"/>
                  <a:pt x="668032" y="1023762"/>
                  <a:pt x="673790" y="1049348"/>
                </a:cubicBezTo>
                <a:cubicBezTo>
                  <a:pt x="676936" y="1063327"/>
                  <a:pt x="679769" y="1077802"/>
                  <a:pt x="675873" y="1092839"/>
                </a:cubicBezTo>
                <a:cubicBezTo>
                  <a:pt x="672677" y="1105174"/>
                  <a:pt x="673042" y="1116963"/>
                  <a:pt x="681668" y="1129292"/>
                </a:cubicBezTo>
                <a:cubicBezTo>
                  <a:pt x="695321" y="1148802"/>
                  <a:pt x="698550" y="1172235"/>
                  <a:pt x="697338" y="1196079"/>
                </a:cubicBezTo>
                <a:cubicBezTo>
                  <a:pt x="697087" y="1201014"/>
                  <a:pt x="694979" y="1203886"/>
                  <a:pt x="690637" y="1205035"/>
                </a:cubicBezTo>
                <a:cubicBezTo>
                  <a:pt x="673723" y="1209511"/>
                  <a:pt x="656856" y="1214241"/>
                  <a:pt x="639777" y="1217994"/>
                </a:cubicBezTo>
                <a:cubicBezTo>
                  <a:pt x="622334" y="1221827"/>
                  <a:pt x="604691" y="1224790"/>
                  <a:pt x="587072" y="1227761"/>
                </a:cubicBezTo>
                <a:cubicBezTo>
                  <a:pt x="582708" y="1228497"/>
                  <a:pt x="581724" y="1230736"/>
                  <a:pt x="581793" y="1234401"/>
                </a:cubicBezTo>
                <a:moveTo>
                  <a:pt x="357446" y="903795"/>
                </a:moveTo>
                <a:cubicBezTo>
                  <a:pt x="353141" y="903795"/>
                  <a:pt x="348835" y="903795"/>
                  <a:pt x="344445" y="903795"/>
                </a:cubicBezTo>
                <a:cubicBezTo>
                  <a:pt x="346169" y="920562"/>
                  <a:pt x="347908" y="935520"/>
                  <a:pt x="349212" y="950515"/>
                </a:cubicBezTo>
                <a:cubicBezTo>
                  <a:pt x="352656" y="990125"/>
                  <a:pt x="351941" y="1029743"/>
                  <a:pt x="349538" y="1069392"/>
                </a:cubicBezTo>
                <a:cubicBezTo>
                  <a:pt x="348759" y="1082241"/>
                  <a:pt x="349415" y="1095176"/>
                  <a:pt x="349415" y="1108925"/>
                </a:cubicBezTo>
                <a:cubicBezTo>
                  <a:pt x="449467" y="1111953"/>
                  <a:pt x="548509" y="1104712"/>
                  <a:pt x="647726" y="1089872"/>
                </a:cubicBezTo>
                <a:cubicBezTo>
                  <a:pt x="647726" y="1084313"/>
                  <a:pt x="648180" y="1080225"/>
                  <a:pt x="647654" y="1076267"/>
                </a:cubicBezTo>
                <a:cubicBezTo>
                  <a:pt x="643515" y="1045124"/>
                  <a:pt x="633172" y="1016714"/>
                  <a:pt x="610267" y="994126"/>
                </a:cubicBezTo>
                <a:cubicBezTo>
                  <a:pt x="597451" y="981485"/>
                  <a:pt x="584392" y="969090"/>
                  <a:pt x="571459" y="956568"/>
                </a:cubicBezTo>
                <a:cubicBezTo>
                  <a:pt x="555751" y="941359"/>
                  <a:pt x="544836" y="923558"/>
                  <a:pt x="541653" y="901544"/>
                </a:cubicBezTo>
                <a:cubicBezTo>
                  <a:pt x="541430" y="900007"/>
                  <a:pt x="540528" y="898570"/>
                  <a:pt x="539477" y="895908"/>
                </a:cubicBezTo>
                <a:cubicBezTo>
                  <a:pt x="479736" y="901652"/>
                  <a:pt x="419815" y="904536"/>
                  <a:pt x="357446" y="903795"/>
                </a:cubicBezTo>
                <a:moveTo>
                  <a:pt x="300108" y="85260"/>
                </a:moveTo>
                <a:cubicBezTo>
                  <a:pt x="293656" y="98745"/>
                  <a:pt x="289202" y="113094"/>
                  <a:pt x="290213" y="127888"/>
                </a:cubicBezTo>
                <a:cubicBezTo>
                  <a:pt x="292527" y="161736"/>
                  <a:pt x="304185" y="191723"/>
                  <a:pt x="331056" y="214168"/>
                </a:cubicBezTo>
                <a:cubicBezTo>
                  <a:pt x="358172" y="236816"/>
                  <a:pt x="388435" y="249934"/>
                  <a:pt x="424717" y="245160"/>
                </a:cubicBezTo>
                <a:cubicBezTo>
                  <a:pt x="468593" y="239387"/>
                  <a:pt x="509574" y="203365"/>
                  <a:pt x="496752" y="141256"/>
                </a:cubicBezTo>
                <a:cubicBezTo>
                  <a:pt x="487021" y="94124"/>
                  <a:pt x="447261" y="51874"/>
                  <a:pt x="390320" y="43995"/>
                </a:cubicBezTo>
                <a:cubicBezTo>
                  <a:pt x="353241" y="38865"/>
                  <a:pt x="321136" y="48750"/>
                  <a:pt x="300108" y="85260"/>
                </a:cubicBezTo>
                <a:moveTo>
                  <a:pt x="343360" y="634332"/>
                </a:moveTo>
                <a:cubicBezTo>
                  <a:pt x="342539" y="666975"/>
                  <a:pt x="341785" y="699619"/>
                  <a:pt x="340877" y="732259"/>
                </a:cubicBezTo>
                <a:cubicBezTo>
                  <a:pt x="340151" y="758355"/>
                  <a:pt x="339265" y="784447"/>
                  <a:pt x="338360" y="810538"/>
                </a:cubicBezTo>
                <a:cubicBezTo>
                  <a:pt x="338277" y="812948"/>
                  <a:pt x="337465" y="815325"/>
                  <a:pt x="337115" y="817736"/>
                </a:cubicBezTo>
                <a:cubicBezTo>
                  <a:pt x="334935" y="832710"/>
                  <a:pt x="336026" y="847647"/>
                  <a:pt x="336516" y="863022"/>
                </a:cubicBezTo>
                <a:cubicBezTo>
                  <a:pt x="339537" y="863479"/>
                  <a:pt x="341490" y="864053"/>
                  <a:pt x="343436" y="864027"/>
                </a:cubicBezTo>
                <a:cubicBezTo>
                  <a:pt x="364531" y="863739"/>
                  <a:pt x="385626" y="863422"/>
                  <a:pt x="406718" y="862982"/>
                </a:cubicBezTo>
                <a:cubicBezTo>
                  <a:pt x="423444" y="862634"/>
                  <a:pt x="440168" y="861675"/>
                  <a:pt x="456888" y="861794"/>
                </a:cubicBezTo>
                <a:cubicBezTo>
                  <a:pt x="469887" y="861886"/>
                  <a:pt x="482872" y="863302"/>
                  <a:pt x="495873" y="863963"/>
                </a:cubicBezTo>
                <a:cubicBezTo>
                  <a:pt x="500358" y="864191"/>
                  <a:pt x="505108" y="864773"/>
                  <a:pt x="509286" y="863595"/>
                </a:cubicBezTo>
                <a:cubicBezTo>
                  <a:pt x="512346" y="862732"/>
                  <a:pt x="515714" y="859703"/>
                  <a:pt x="516956" y="856791"/>
                </a:cubicBezTo>
                <a:cubicBezTo>
                  <a:pt x="517783" y="854851"/>
                  <a:pt x="515475" y="851192"/>
                  <a:pt x="513920" y="848709"/>
                </a:cubicBezTo>
                <a:cubicBezTo>
                  <a:pt x="511791" y="845308"/>
                  <a:pt x="508393" y="842606"/>
                  <a:pt x="506683" y="839054"/>
                </a:cubicBezTo>
                <a:cubicBezTo>
                  <a:pt x="500331" y="825864"/>
                  <a:pt x="493224" y="812855"/>
                  <a:pt x="488629" y="799037"/>
                </a:cubicBezTo>
                <a:cubicBezTo>
                  <a:pt x="477322" y="765031"/>
                  <a:pt x="466537" y="730814"/>
                  <a:pt x="456922" y="696297"/>
                </a:cubicBezTo>
                <a:cubicBezTo>
                  <a:pt x="449953" y="671276"/>
                  <a:pt x="443477" y="646020"/>
                  <a:pt x="441346" y="619885"/>
                </a:cubicBezTo>
                <a:cubicBezTo>
                  <a:pt x="440327" y="607371"/>
                  <a:pt x="437466" y="595018"/>
                  <a:pt x="435963" y="582529"/>
                </a:cubicBezTo>
                <a:cubicBezTo>
                  <a:pt x="433539" y="562380"/>
                  <a:pt x="431154" y="542212"/>
                  <a:pt x="429497" y="521990"/>
                </a:cubicBezTo>
                <a:cubicBezTo>
                  <a:pt x="428135" y="505363"/>
                  <a:pt x="428437" y="488593"/>
                  <a:pt x="426887" y="471989"/>
                </a:cubicBezTo>
                <a:cubicBezTo>
                  <a:pt x="425874" y="461140"/>
                  <a:pt x="424983" y="461120"/>
                  <a:pt x="413744" y="461077"/>
                </a:cubicBezTo>
                <a:cubicBezTo>
                  <a:pt x="393687" y="461000"/>
                  <a:pt x="373630" y="461011"/>
                  <a:pt x="353573" y="461120"/>
                </a:cubicBezTo>
                <a:cubicBezTo>
                  <a:pt x="350472" y="461137"/>
                  <a:pt x="347374" y="461869"/>
                  <a:pt x="344160" y="462286"/>
                </a:cubicBezTo>
                <a:cubicBezTo>
                  <a:pt x="343828" y="465198"/>
                  <a:pt x="343406" y="467195"/>
                  <a:pt x="343404" y="469192"/>
                </a:cubicBezTo>
                <a:cubicBezTo>
                  <a:pt x="343360" y="504394"/>
                  <a:pt x="343267" y="539596"/>
                  <a:pt x="343469" y="574797"/>
                </a:cubicBezTo>
                <a:cubicBezTo>
                  <a:pt x="343501" y="580426"/>
                  <a:pt x="345652" y="586065"/>
                  <a:pt x="345522" y="591669"/>
                </a:cubicBezTo>
                <a:cubicBezTo>
                  <a:pt x="345214" y="605082"/>
                  <a:pt x="344131" y="618478"/>
                  <a:pt x="343360" y="634332"/>
                </a:cubicBezTo>
                <a:moveTo>
                  <a:pt x="416946" y="385943"/>
                </a:moveTo>
                <a:cubicBezTo>
                  <a:pt x="411661" y="386365"/>
                  <a:pt x="406384" y="387006"/>
                  <a:pt x="401091" y="387162"/>
                </a:cubicBezTo>
                <a:cubicBezTo>
                  <a:pt x="390470" y="387477"/>
                  <a:pt x="379841" y="387447"/>
                  <a:pt x="369218" y="387708"/>
                </a:cubicBezTo>
                <a:cubicBezTo>
                  <a:pt x="361167" y="387906"/>
                  <a:pt x="354429" y="391368"/>
                  <a:pt x="351833" y="398991"/>
                </a:cubicBezTo>
                <a:cubicBezTo>
                  <a:pt x="348989" y="407342"/>
                  <a:pt x="347050" y="416214"/>
                  <a:pt x="349778" y="426021"/>
                </a:cubicBezTo>
                <a:cubicBezTo>
                  <a:pt x="353876" y="426204"/>
                  <a:pt x="357857" y="426517"/>
                  <a:pt x="361839" y="426538"/>
                </a:cubicBezTo>
                <a:cubicBezTo>
                  <a:pt x="392900" y="426701"/>
                  <a:pt x="423961" y="426826"/>
                  <a:pt x="455022" y="426922"/>
                </a:cubicBezTo>
                <a:cubicBezTo>
                  <a:pt x="464013" y="426950"/>
                  <a:pt x="473106" y="427654"/>
                  <a:pt x="481958" y="426527"/>
                </a:cubicBezTo>
                <a:cubicBezTo>
                  <a:pt x="488144" y="425740"/>
                  <a:pt x="494821" y="423501"/>
                  <a:pt x="499817" y="419888"/>
                </a:cubicBezTo>
                <a:cubicBezTo>
                  <a:pt x="507869" y="414066"/>
                  <a:pt x="507286" y="406755"/>
                  <a:pt x="499439" y="400719"/>
                </a:cubicBezTo>
                <a:cubicBezTo>
                  <a:pt x="490179" y="393597"/>
                  <a:pt x="479486" y="388885"/>
                  <a:pt x="468062" y="387775"/>
                </a:cubicBezTo>
                <a:cubicBezTo>
                  <a:pt x="451873" y="386202"/>
                  <a:pt x="435520" y="386321"/>
                  <a:pt x="416946" y="385943"/>
                </a:cubicBezTo>
                <a:moveTo>
                  <a:pt x="636802" y="1190940"/>
                </a:moveTo>
                <a:cubicBezTo>
                  <a:pt x="646709" y="1188723"/>
                  <a:pt x="656705" y="1186841"/>
                  <a:pt x="666492" y="1184186"/>
                </a:cubicBezTo>
                <a:cubicBezTo>
                  <a:pt x="674710" y="1181958"/>
                  <a:pt x="676989" y="1178509"/>
                  <a:pt x="674465" y="1170880"/>
                </a:cubicBezTo>
                <a:cubicBezTo>
                  <a:pt x="671144" y="1160843"/>
                  <a:pt x="667026" y="1151009"/>
                  <a:pt x="662462" y="1141464"/>
                </a:cubicBezTo>
                <a:cubicBezTo>
                  <a:pt x="659273" y="1134795"/>
                  <a:pt x="653671" y="1130908"/>
                  <a:pt x="645564" y="1131937"/>
                </a:cubicBezTo>
                <a:cubicBezTo>
                  <a:pt x="639532" y="1132703"/>
                  <a:pt x="633423" y="1132867"/>
                  <a:pt x="627387" y="1133618"/>
                </a:cubicBezTo>
                <a:cubicBezTo>
                  <a:pt x="612888" y="1135421"/>
                  <a:pt x="598449" y="1137770"/>
                  <a:pt x="583917" y="1139222"/>
                </a:cubicBezTo>
                <a:cubicBezTo>
                  <a:pt x="570571" y="1140557"/>
                  <a:pt x="557130" y="1140930"/>
                  <a:pt x="543741" y="1141869"/>
                </a:cubicBezTo>
                <a:cubicBezTo>
                  <a:pt x="533202" y="1142610"/>
                  <a:pt x="522682" y="1143623"/>
                  <a:pt x="512146" y="1144418"/>
                </a:cubicBezTo>
                <a:cubicBezTo>
                  <a:pt x="490671" y="1146038"/>
                  <a:pt x="469214" y="1148450"/>
                  <a:pt x="447711" y="1148973"/>
                </a:cubicBezTo>
                <a:cubicBezTo>
                  <a:pt x="415817" y="1149749"/>
                  <a:pt x="383891" y="1149136"/>
                  <a:pt x="351979" y="1149200"/>
                </a:cubicBezTo>
                <a:cubicBezTo>
                  <a:pt x="347698" y="1149209"/>
                  <a:pt x="343419" y="1149717"/>
                  <a:pt x="338443" y="1150040"/>
                </a:cubicBezTo>
                <a:cubicBezTo>
                  <a:pt x="338443" y="1164651"/>
                  <a:pt x="338413" y="1177715"/>
                  <a:pt x="338451" y="1190780"/>
                </a:cubicBezTo>
                <a:cubicBezTo>
                  <a:pt x="338490" y="1204031"/>
                  <a:pt x="338512" y="1204062"/>
                  <a:pt x="351082" y="1207015"/>
                </a:cubicBezTo>
                <a:cubicBezTo>
                  <a:pt x="353445" y="1207570"/>
                  <a:pt x="355895" y="1208128"/>
                  <a:pt x="358298" y="1208094"/>
                </a:cubicBezTo>
                <a:cubicBezTo>
                  <a:pt x="412608" y="1207329"/>
                  <a:pt x="466919" y="1206484"/>
                  <a:pt x="521229" y="1205646"/>
                </a:cubicBezTo>
                <a:cubicBezTo>
                  <a:pt x="522045" y="1205634"/>
                  <a:pt x="522865" y="1205591"/>
                  <a:pt x="523675" y="1205490"/>
                </a:cubicBezTo>
                <a:cubicBezTo>
                  <a:pt x="542593" y="1203123"/>
                  <a:pt x="561519" y="1200820"/>
                  <a:pt x="580423" y="1198350"/>
                </a:cubicBezTo>
                <a:cubicBezTo>
                  <a:pt x="598523" y="1195985"/>
                  <a:pt x="616599" y="1193446"/>
                  <a:pt x="636802" y="1190940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1227" cap="flat">
            <a:solidFill>
              <a:srgbClr val="CDD9DF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24" name="Free-form: Shape 4023">
            <a:extLst>
              <a:ext uri="{FF2B5EF4-FFF2-40B4-BE49-F238E27FC236}">
                <a16:creationId xmlns:a16="http://schemas.microsoft.com/office/drawing/2014/main" id="{9BAFF536-F771-84AB-8964-E95984A463D8}"/>
              </a:ext>
            </a:extLst>
          </p:cNvPr>
          <p:cNvSpPr/>
          <p:nvPr/>
        </p:nvSpPr>
        <p:spPr>
          <a:xfrm>
            <a:off x="9438646" y="5088217"/>
            <a:ext cx="22871" cy="2417"/>
          </a:xfrm>
          <a:custGeom>
            <a:avLst/>
            <a:gdLst>
              <a:gd name="csX0" fmla="*/ 0 w 27674"/>
              <a:gd name="csY0" fmla="*/ 2915 h 2925"/>
              <a:gd name="csX1" fmla="*/ 27675 w 27674"/>
              <a:gd name="csY1" fmla="*/ 1550 h 2925"/>
              <a:gd name="csX2" fmla="*/ 0 w 27674"/>
              <a:gd name="csY2" fmla="*/ 2915 h 292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27674" h="2925">
                <a:moveTo>
                  <a:pt x="0" y="2915"/>
                </a:moveTo>
                <a:cubicBezTo>
                  <a:pt x="8211" y="-1939"/>
                  <a:pt x="17625" y="498"/>
                  <a:pt x="27675" y="1550"/>
                </a:cubicBezTo>
                <a:cubicBezTo>
                  <a:pt x="19225" y="2593"/>
                  <a:pt x="10029" y="2999"/>
                  <a:pt x="0" y="2915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25" name="Free-form: Shape 4024">
            <a:extLst>
              <a:ext uri="{FF2B5EF4-FFF2-40B4-BE49-F238E27FC236}">
                <a16:creationId xmlns:a16="http://schemas.microsoft.com/office/drawing/2014/main" id="{00DDEB11-AC85-D494-6A9A-2741FB7F02B2}"/>
              </a:ext>
            </a:extLst>
          </p:cNvPr>
          <p:cNvSpPr/>
          <p:nvPr/>
        </p:nvSpPr>
        <p:spPr>
          <a:xfrm>
            <a:off x="9375684" y="5089579"/>
            <a:ext cx="14879" cy="932"/>
          </a:xfrm>
          <a:custGeom>
            <a:avLst/>
            <a:gdLst>
              <a:gd name="csX0" fmla="*/ 0 w 18003"/>
              <a:gd name="csY0" fmla="*/ 1050 h 1128"/>
              <a:gd name="csX1" fmla="*/ 18004 w 18003"/>
              <a:gd name="csY1" fmla="*/ 93 h 1128"/>
              <a:gd name="csX2" fmla="*/ 0 w 18003"/>
              <a:gd name="csY2" fmla="*/ 1050 h 112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8003" h="1128">
                <a:moveTo>
                  <a:pt x="0" y="1050"/>
                </a:moveTo>
                <a:cubicBezTo>
                  <a:pt x="5276" y="182"/>
                  <a:pt x="11306" y="-189"/>
                  <a:pt x="18004" y="93"/>
                </a:cubicBezTo>
                <a:cubicBezTo>
                  <a:pt x="12699" y="1013"/>
                  <a:pt x="6726" y="1280"/>
                  <a:pt x="0" y="1050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26" name="Free-form: Shape 4025">
            <a:extLst>
              <a:ext uri="{FF2B5EF4-FFF2-40B4-BE49-F238E27FC236}">
                <a16:creationId xmlns:a16="http://schemas.microsoft.com/office/drawing/2014/main" id="{6D630250-4A45-720F-091F-5CC78DD80A29}"/>
              </a:ext>
            </a:extLst>
          </p:cNvPr>
          <p:cNvSpPr/>
          <p:nvPr/>
        </p:nvSpPr>
        <p:spPr>
          <a:xfrm>
            <a:off x="9483452" y="4335169"/>
            <a:ext cx="6997" cy="6478"/>
          </a:xfrm>
          <a:custGeom>
            <a:avLst/>
            <a:gdLst>
              <a:gd name="csX0" fmla="*/ 473 w 8466"/>
              <a:gd name="csY0" fmla="*/ 7839 h 7838"/>
              <a:gd name="csX1" fmla="*/ 8466 w 8466"/>
              <a:gd name="csY1" fmla="*/ 61 h 7838"/>
              <a:gd name="csX2" fmla="*/ 473 w 8466"/>
              <a:gd name="csY2" fmla="*/ 7839 h 783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66" h="7838">
                <a:moveTo>
                  <a:pt x="473" y="7839"/>
                </a:moveTo>
                <a:cubicBezTo>
                  <a:pt x="-1298" y="1550"/>
                  <a:pt x="2020" y="-386"/>
                  <a:pt x="8466" y="61"/>
                </a:cubicBezTo>
                <a:cubicBezTo>
                  <a:pt x="6730" y="2845"/>
                  <a:pt x="4026" y="5401"/>
                  <a:pt x="473" y="7839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27" name="Free-form: Shape 4026">
            <a:extLst>
              <a:ext uri="{FF2B5EF4-FFF2-40B4-BE49-F238E27FC236}">
                <a16:creationId xmlns:a16="http://schemas.microsoft.com/office/drawing/2014/main" id="{EE6D0969-CD78-1836-D425-43485450D9A4}"/>
              </a:ext>
            </a:extLst>
          </p:cNvPr>
          <p:cNvSpPr/>
          <p:nvPr/>
        </p:nvSpPr>
        <p:spPr>
          <a:xfrm>
            <a:off x="9302441" y="5087564"/>
            <a:ext cx="7008" cy="823"/>
          </a:xfrm>
          <a:custGeom>
            <a:avLst/>
            <a:gdLst>
              <a:gd name="csX0" fmla="*/ 0 w 8480"/>
              <a:gd name="csY0" fmla="*/ 896 h 996"/>
              <a:gd name="csX1" fmla="*/ 8480 w 8480"/>
              <a:gd name="csY1" fmla="*/ 110 h 996"/>
              <a:gd name="csX2" fmla="*/ 0 w 8480"/>
              <a:gd name="csY2" fmla="*/ 896 h 99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80" h="996">
                <a:moveTo>
                  <a:pt x="0" y="896"/>
                </a:moveTo>
                <a:cubicBezTo>
                  <a:pt x="2285" y="115"/>
                  <a:pt x="5130" y="-182"/>
                  <a:pt x="8480" y="110"/>
                </a:cubicBezTo>
                <a:cubicBezTo>
                  <a:pt x="6177" y="927"/>
                  <a:pt x="3368" y="1153"/>
                  <a:pt x="0" y="896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28" name="Free-form: Shape 4027">
            <a:extLst>
              <a:ext uri="{FF2B5EF4-FFF2-40B4-BE49-F238E27FC236}">
                <a16:creationId xmlns:a16="http://schemas.microsoft.com/office/drawing/2014/main" id="{B271CAFB-CA7F-083F-9768-6A29BEE15A5F}"/>
              </a:ext>
            </a:extLst>
          </p:cNvPr>
          <p:cNvSpPr/>
          <p:nvPr/>
        </p:nvSpPr>
        <p:spPr>
          <a:xfrm>
            <a:off x="9684119" y="5052255"/>
            <a:ext cx="1016" cy="5502"/>
          </a:xfrm>
          <a:custGeom>
            <a:avLst/>
            <a:gdLst>
              <a:gd name="csX0" fmla="*/ 132 w 1229"/>
              <a:gd name="csY0" fmla="*/ 6659 h 6658"/>
              <a:gd name="csX1" fmla="*/ 1107 w 1229"/>
              <a:gd name="csY1" fmla="*/ 0 h 6658"/>
              <a:gd name="csX2" fmla="*/ 132 w 1229"/>
              <a:gd name="csY2" fmla="*/ 6659 h 665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229" h="6658">
                <a:moveTo>
                  <a:pt x="132" y="6659"/>
                </a:moveTo>
                <a:cubicBezTo>
                  <a:pt x="-219" y="4616"/>
                  <a:pt x="139" y="2560"/>
                  <a:pt x="1107" y="0"/>
                </a:cubicBezTo>
                <a:cubicBezTo>
                  <a:pt x="1425" y="1879"/>
                  <a:pt x="1133" y="4263"/>
                  <a:pt x="132" y="6659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29" name="Free-form: Shape 4028">
            <a:extLst>
              <a:ext uri="{FF2B5EF4-FFF2-40B4-BE49-F238E27FC236}">
                <a16:creationId xmlns:a16="http://schemas.microsoft.com/office/drawing/2014/main" id="{E1BCC3A4-5946-FF3C-C5C0-BBAF7A77846A}"/>
              </a:ext>
            </a:extLst>
          </p:cNvPr>
          <p:cNvSpPr/>
          <p:nvPr/>
        </p:nvSpPr>
        <p:spPr>
          <a:xfrm>
            <a:off x="9594681" y="5079244"/>
            <a:ext cx="3131" cy="1127"/>
          </a:xfrm>
          <a:custGeom>
            <a:avLst/>
            <a:gdLst>
              <a:gd name="csX0" fmla="*/ 0 w 3788"/>
              <a:gd name="csY0" fmla="*/ 1364 h 1364"/>
              <a:gd name="csX1" fmla="*/ 3788 w 3788"/>
              <a:gd name="csY1" fmla="*/ 0 h 1364"/>
              <a:gd name="csX2" fmla="*/ 0 w 3788"/>
              <a:gd name="csY2" fmla="*/ 1364 h 136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788" h="1364">
                <a:moveTo>
                  <a:pt x="0" y="1364"/>
                </a:moveTo>
                <a:cubicBezTo>
                  <a:pt x="856" y="517"/>
                  <a:pt x="2126" y="39"/>
                  <a:pt x="3788" y="0"/>
                </a:cubicBezTo>
                <a:cubicBezTo>
                  <a:pt x="2925" y="870"/>
                  <a:pt x="1670" y="1303"/>
                  <a:pt x="0" y="1364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30" name="Free-form: Shape 4029">
            <a:extLst>
              <a:ext uri="{FF2B5EF4-FFF2-40B4-BE49-F238E27FC236}">
                <a16:creationId xmlns:a16="http://schemas.microsoft.com/office/drawing/2014/main" id="{A4FA5686-2E0C-158C-9D11-09ACF2C7DBAC}"/>
              </a:ext>
            </a:extLst>
          </p:cNvPr>
          <p:cNvSpPr/>
          <p:nvPr/>
        </p:nvSpPr>
        <p:spPr>
          <a:xfrm>
            <a:off x="9233205" y="5083600"/>
            <a:ext cx="3298" cy="685"/>
          </a:xfrm>
          <a:custGeom>
            <a:avLst/>
            <a:gdLst>
              <a:gd name="csX0" fmla="*/ 0 w 3990"/>
              <a:gd name="csY0" fmla="*/ 719 h 829"/>
              <a:gd name="csX1" fmla="*/ 3990 w 3990"/>
              <a:gd name="csY1" fmla="*/ 119 h 829"/>
              <a:gd name="csX2" fmla="*/ 0 w 3990"/>
              <a:gd name="csY2" fmla="*/ 719 h 82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990" h="829">
                <a:moveTo>
                  <a:pt x="0" y="719"/>
                </a:moveTo>
                <a:cubicBezTo>
                  <a:pt x="982" y="66"/>
                  <a:pt x="2323" y="-163"/>
                  <a:pt x="3990" y="119"/>
                </a:cubicBezTo>
                <a:cubicBezTo>
                  <a:pt x="2998" y="800"/>
                  <a:pt x="1678" y="972"/>
                  <a:pt x="0" y="719"/>
                </a:cubicBezTo>
                <a:close/>
              </a:path>
            </a:pathLst>
          </a:custGeom>
          <a:solidFill>
            <a:srgbClr val="959DA0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31" name="Free-form: Shape 4030">
            <a:extLst>
              <a:ext uri="{FF2B5EF4-FFF2-40B4-BE49-F238E27FC236}">
                <a16:creationId xmlns:a16="http://schemas.microsoft.com/office/drawing/2014/main" id="{C7A88562-5576-20BF-14B4-4D52DC9DFB2D}"/>
              </a:ext>
            </a:extLst>
          </p:cNvPr>
          <p:cNvSpPr/>
          <p:nvPr/>
        </p:nvSpPr>
        <p:spPr>
          <a:xfrm>
            <a:off x="9513444" y="5087536"/>
            <a:ext cx="3217" cy="938"/>
          </a:xfrm>
          <a:custGeom>
            <a:avLst/>
            <a:gdLst>
              <a:gd name="csX0" fmla="*/ 0 w 3893"/>
              <a:gd name="csY0" fmla="*/ 1133 h 1135"/>
              <a:gd name="csX1" fmla="*/ 3893 w 3893"/>
              <a:gd name="csY1" fmla="*/ 7 h 1135"/>
              <a:gd name="csX2" fmla="*/ 0 w 3893"/>
              <a:gd name="csY2" fmla="*/ 1133 h 113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893" h="1135">
                <a:moveTo>
                  <a:pt x="0" y="1133"/>
                </a:moveTo>
                <a:cubicBezTo>
                  <a:pt x="902" y="349"/>
                  <a:pt x="2213" y="-60"/>
                  <a:pt x="3893" y="7"/>
                </a:cubicBezTo>
                <a:cubicBezTo>
                  <a:pt x="2978" y="825"/>
                  <a:pt x="1693" y="1167"/>
                  <a:pt x="0" y="1133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32" name="Free-form: Shape 4031">
            <a:extLst>
              <a:ext uri="{FF2B5EF4-FFF2-40B4-BE49-F238E27FC236}">
                <a16:creationId xmlns:a16="http://schemas.microsoft.com/office/drawing/2014/main" id="{5852F985-58E1-8136-EEA6-F4387B35BFE5}"/>
              </a:ext>
            </a:extLst>
          </p:cNvPr>
          <p:cNvSpPr/>
          <p:nvPr/>
        </p:nvSpPr>
        <p:spPr>
          <a:xfrm>
            <a:off x="9380881" y="4442447"/>
            <a:ext cx="149854" cy="333291"/>
          </a:xfrm>
          <a:custGeom>
            <a:avLst/>
            <a:gdLst>
              <a:gd name="csX0" fmla="*/ 7554 w 181323"/>
              <a:gd name="csY0" fmla="*/ 172079 h 403282"/>
              <a:gd name="csX1" fmla="*/ 9716 w 181323"/>
              <a:gd name="csY1" fmla="*/ 130641 h 403282"/>
              <a:gd name="csX2" fmla="*/ 7663 w 181323"/>
              <a:gd name="csY2" fmla="*/ 113770 h 403282"/>
              <a:gd name="csX3" fmla="*/ 7598 w 181323"/>
              <a:gd name="csY3" fmla="*/ 8165 h 403282"/>
              <a:gd name="csX4" fmla="*/ 8353 w 181323"/>
              <a:gd name="csY4" fmla="*/ 1259 h 403282"/>
              <a:gd name="csX5" fmla="*/ 17767 w 181323"/>
              <a:gd name="csY5" fmla="*/ 93 h 403282"/>
              <a:gd name="csX6" fmla="*/ 77938 w 181323"/>
              <a:gd name="csY6" fmla="*/ 50 h 403282"/>
              <a:gd name="csX7" fmla="*/ 91081 w 181323"/>
              <a:gd name="csY7" fmla="*/ 10962 h 403282"/>
              <a:gd name="csX8" fmla="*/ 93691 w 181323"/>
              <a:gd name="csY8" fmla="*/ 60963 h 403282"/>
              <a:gd name="csX9" fmla="*/ 100157 w 181323"/>
              <a:gd name="csY9" fmla="*/ 121501 h 403282"/>
              <a:gd name="csX10" fmla="*/ 105540 w 181323"/>
              <a:gd name="csY10" fmla="*/ 158857 h 403282"/>
              <a:gd name="csX11" fmla="*/ 121116 w 181323"/>
              <a:gd name="csY11" fmla="*/ 235269 h 403282"/>
              <a:gd name="csX12" fmla="*/ 152823 w 181323"/>
              <a:gd name="csY12" fmla="*/ 338010 h 403282"/>
              <a:gd name="csX13" fmla="*/ 170877 w 181323"/>
              <a:gd name="csY13" fmla="*/ 378027 h 403282"/>
              <a:gd name="csX14" fmla="*/ 178114 w 181323"/>
              <a:gd name="csY14" fmla="*/ 387682 h 403282"/>
              <a:gd name="csX15" fmla="*/ 181150 w 181323"/>
              <a:gd name="csY15" fmla="*/ 395764 h 403282"/>
              <a:gd name="csX16" fmla="*/ 173480 w 181323"/>
              <a:gd name="csY16" fmla="*/ 402568 h 403282"/>
              <a:gd name="csX17" fmla="*/ 160067 w 181323"/>
              <a:gd name="csY17" fmla="*/ 402936 h 403282"/>
              <a:gd name="csX18" fmla="*/ 121081 w 181323"/>
              <a:gd name="csY18" fmla="*/ 400766 h 403282"/>
              <a:gd name="csX19" fmla="*/ 70912 w 181323"/>
              <a:gd name="csY19" fmla="*/ 401955 h 403282"/>
              <a:gd name="csX20" fmla="*/ 7630 w 181323"/>
              <a:gd name="csY20" fmla="*/ 402999 h 403282"/>
              <a:gd name="csX21" fmla="*/ 710 w 181323"/>
              <a:gd name="csY21" fmla="*/ 401995 h 403282"/>
              <a:gd name="csX22" fmla="*/ 1308 w 181323"/>
              <a:gd name="csY22" fmla="*/ 356708 h 403282"/>
              <a:gd name="csX23" fmla="*/ 2554 w 181323"/>
              <a:gd name="csY23" fmla="*/ 349510 h 403282"/>
              <a:gd name="csX24" fmla="*/ 5071 w 181323"/>
              <a:gd name="csY24" fmla="*/ 271231 h 403282"/>
              <a:gd name="csX25" fmla="*/ 7554 w 181323"/>
              <a:gd name="csY25" fmla="*/ 172079 h 403282"/>
              <a:gd name="csX26" fmla="*/ 98286 w 181323"/>
              <a:gd name="csY26" fmla="*/ 163566 h 403282"/>
              <a:gd name="csX27" fmla="*/ 83497 w 181323"/>
              <a:gd name="csY27" fmla="*/ 8289 h 403282"/>
              <a:gd name="csX28" fmla="*/ 15161 w 181323"/>
              <a:gd name="csY28" fmla="*/ 9148 h 403282"/>
              <a:gd name="csX29" fmla="*/ 15058 w 181323"/>
              <a:gd name="csY29" fmla="*/ 137939 h 403282"/>
              <a:gd name="csX30" fmla="*/ 12252 w 181323"/>
              <a:gd name="csY30" fmla="*/ 266862 h 403282"/>
              <a:gd name="csX31" fmla="*/ 7068 w 181323"/>
              <a:gd name="csY31" fmla="*/ 395996 h 403282"/>
              <a:gd name="csX32" fmla="*/ 171647 w 181323"/>
              <a:gd name="csY32" fmla="*/ 395996 h 403282"/>
              <a:gd name="csX33" fmla="*/ 119950 w 181323"/>
              <a:gd name="csY33" fmla="*/ 259496 h 403282"/>
              <a:gd name="csX34" fmla="*/ 98286 w 181323"/>
              <a:gd name="csY34" fmla="*/ 163566 h 40328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</a:cxnLst>
            <a:rect l="l" t="t" r="r" b="b"/>
            <a:pathLst>
              <a:path w="181323" h="403282">
                <a:moveTo>
                  <a:pt x="7554" y="172079"/>
                </a:moveTo>
                <a:cubicBezTo>
                  <a:pt x="8325" y="157451"/>
                  <a:pt x="9408" y="144055"/>
                  <a:pt x="9716" y="130641"/>
                </a:cubicBezTo>
                <a:cubicBezTo>
                  <a:pt x="9846" y="125037"/>
                  <a:pt x="7695" y="119399"/>
                  <a:pt x="7663" y="113770"/>
                </a:cubicBezTo>
                <a:cubicBezTo>
                  <a:pt x="7461" y="78569"/>
                  <a:pt x="7554" y="43367"/>
                  <a:pt x="7598" y="8165"/>
                </a:cubicBezTo>
                <a:cubicBezTo>
                  <a:pt x="7600" y="6167"/>
                  <a:pt x="8022" y="4170"/>
                  <a:pt x="8353" y="1259"/>
                </a:cubicBezTo>
                <a:cubicBezTo>
                  <a:pt x="11568" y="842"/>
                  <a:pt x="14666" y="109"/>
                  <a:pt x="17767" y="93"/>
                </a:cubicBezTo>
                <a:cubicBezTo>
                  <a:pt x="37824" y="-17"/>
                  <a:pt x="57881" y="-27"/>
                  <a:pt x="77938" y="50"/>
                </a:cubicBezTo>
                <a:cubicBezTo>
                  <a:pt x="89177" y="93"/>
                  <a:pt x="90068" y="113"/>
                  <a:pt x="91081" y="10962"/>
                </a:cubicBezTo>
                <a:cubicBezTo>
                  <a:pt x="92631" y="27565"/>
                  <a:pt x="92329" y="44335"/>
                  <a:pt x="93691" y="60963"/>
                </a:cubicBezTo>
                <a:cubicBezTo>
                  <a:pt x="95348" y="81184"/>
                  <a:pt x="97732" y="101353"/>
                  <a:pt x="100157" y="121501"/>
                </a:cubicBezTo>
                <a:cubicBezTo>
                  <a:pt x="101660" y="133990"/>
                  <a:pt x="104521" y="146343"/>
                  <a:pt x="105540" y="158857"/>
                </a:cubicBezTo>
                <a:cubicBezTo>
                  <a:pt x="107671" y="184993"/>
                  <a:pt x="114147" y="210249"/>
                  <a:pt x="121116" y="235269"/>
                </a:cubicBezTo>
                <a:cubicBezTo>
                  <a:pt x="130731" y="269786"/>
                  <a:pt x="141516" y="304004"/>
                  <a:pt x="152823" y="338010"/>
                </a:cubicBezTo>
                <a:cubicBezTo>
                  <a:pt x="157418" y="351828"/>
                  <a:pt x="164524" y="364837"/>
                  <a:pt x="170877" y="378027"/>
                </a:cubicBezTo>
                <a:cubicBezTo>
                  <a:pt x="172587" y="381579"/>
                  <a:pt x="175985" y="384280"/>
                  <a:pt x="178114" y="387682"/>
                </a:cubicBezTo>
                <a:cubicBezTo>
                  <a:pt x="179669" y="390165"/>
                  <a:pt x="181977" y="393824"/>
                  <a:pt x="181150" y="395764"/>
                </a:cubicBezTo>
                <a:cubicBezTo>
                  <a:pt x="179907" y="398676"/>
                  <a:pt x="176540" y="401705"/>
                  <a:pt x="173480" y="402568"/>
                </a:cubicBezTo>
                <a:cubicBezTo>
                  <a:pt x="169302" y="403746"/>
                  <a:pt x="164551" y="403164"/>
                  <a:pt x="160067" y="402936"/>
                </a:cubicBezTo>
                <a:cubicBezTo>
                  <a:pt x="147066" y="402274"/>
                  <a:pt x="134081" y="400859"/>
                  <a:pt x="121081" y="400766"/>
                </a:cubicBezTo>
                <a:cubicBezTo>
                  <a:pt x="104362" y="400647"/>
                  <a:pt x="87638" y="401607"/>
                  <a:pt x="70912" y="401955"/>
                </a:cubicBezTo>
                <a:cubicBezTo>
                  <a:pt x="49820" y="402394"/>
                  <a:pt x="28725" y="402712"/>
                  <a:pt x="7630" y="402999"/>
                </a:cubicBezTo>
                <a:cubicBezTo>
                  <a:pt x="5684" y="403026"/>
                  <a:pt x="3731" y="402452"/>
                  <a:pt x="710" y="401995"/>
                </a:cubicBezTo>
                <a:cubicBezTo>
                  <a:pt x="219" y="386620"/>
                  <a:pt x="-871" y="371682"/>
                  <a:pt x="1308" y="356708"/>
                </a:cubicBezTo>
                <a:cubicBezTo>
                  <a:pt x="1659" y="354298"/>
                  <a:pt x="2471" y="351920"/>
                  <a:pt x="2554" y="349510"/>
                </a:cubicBezTo>
                <a:cubicBezTo>
                  <a:pt x="3459" y="323419"/>
                  <a:pt x="4345" y="297328"/>
                  <a:pt x="5071" y="271231"/>
                </a:cubicBezTo>
                <a:cubicBezTo>
                  <a:pt x="5979" y="238591"/>
                  <a:pt x="6733" y="205947"/>
                  <a:pt x="7554" y="172079"/>
                </a:cubicBezTo>
                <a:moveTo>
                  <a:pt x="98286" y="163566"/>
                </a:moveTo>
                <a:cubicBezTo>
                  <a:pt x="89288" y="112116"/>
                  <a:pt x="86355" y="60033"/>
                  <a:pt x="83497" y="8289"/>
                </a:cubicBezTo>
                <a:cubicBezTo>
                  <a:pt x="65606" y="5845"/>
                  <a:pt x="24110" y="6470"/>
                  <a:pt x="15161" y="9148"/>
                </a:cubicBezTo>
                <a:cubicBezTo>
                  <a:pt x="15161" y="52045"/>
                  <a:pt x="15527" y="94996"/>
                  <a:pt x="15058" y="137939"/>
                </a:cubicBezTo>
                <a:cubicBezTo>
                  <a:pt x="14587" y="180919"/>
                  <a:pt x="13597" y="223900"/>
                  <a:pt x="12252" y="266862"/>
                </a:cubicBezTo>
                <a:cubicBezTo>
                  <a:pt x="10912" y="309638"/>
                  <a:pt x="8849" y="352391"/>
                  <a:pt x="7068" y="395996"/>
                </a:cubicBezTo>
                <a:cubicBezTo>
                  <a:pt x="62774" y="395996"/>
                  <a:pt x="116821" y="395996"/>
                  <a:pt x="171647" y="395996"/>
                </a:cubicBezTo>
                <a:cubicBezTo>
                  <a:pt x="148550" y="352016"/>
                  <a:pt x="132566" y="306307"/>
                  <a:pt x="119950" y="259496"/>
                </a:cubicBezTo>
                <a:cubicBezTo>
                  <a:pt x="111608" y="228543"/>
                  <a:pt x="105493" y="196989"/>
                  <a:pt x="98286" y="163566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33" name="Free-form: Shape 4032">
            <a:extLst>
              <a:ext uri="{FF2B5EF4-FFF2-40B4-BE49-F238E27FC236}">
                <a16:creationId xmlns:a16="http://schemas.microsoft.com/office/drawing/2014/main" id="{9566D908-0257-8D8D-5B9D-CEB2FE2C8028}"/>
              </a:ext>
            </a:extLst>
          </p:cNvPr>
          <p:cNvSpPr/>
          <p:nvPr/>
        </p:nvSpPr>
        <p:spPr>
          <a:xfrm>
            <a:off x="9383052" y="4996783"/>
            <a:ext cx="278519" cy="63075"/>
          </a:xfrm>
          <a:custGeom>
            <a:avLst/>
            <a:gdLst>
              <a:gd name="csX0" fmla="*/ 297312 w 337008"/>
              <a:gd name="csY0" fmla="*/ 59188 h 76321"/>
              <a:gd name="csX1" fmla="*/ 241991 w 337008"/>
              <a:gd name="csY1" fmla="*/ 66577 h 76321"/>
              <a:gd name="csX2" fmla="*/ 185243 w 337008"/>
              <a:gd name="csY2" fmla="*/ 73717 h 76321"/>
              <a:gd name="csX3" fmla="*/ 182797 w 337008"/>
              <a:gd name="csY3" fmla="*/ 73873 h 76321"/>
              <a:gd name="csX4" fmla="*/ 19866 w 337008"/>
              <a:gd name="csY4" fmla="*/ 76320 h 76321"/>
              <a:gd name="csX5" fmla="*/ 12650 w 337008"/>
              <a:gd name="csY5" fmla="*/ 75242 h 76321"/>
              <a:gd name="csX6" fmla="*/ 19 w 337008"/>
              <a:gd name="csY6" fmla="*/ 59006 h 76321"/>
              <a:gd name="csX7" fmla="*/ 11 w 337008"/>
              <a:gd name="csY7" fmla="*/ 18266 h 76321"/>
              <a:gd name="csX8" fmla="*/ 13547 w 337008"/>
              <a:gd name="csY8" fmla="*/ 17427 h 76321"/>
              <a:gd name="csX9" fmla="*/ 109279 w 337008"/>
              <a:gd name="csY9" fmla="*/ 17200 h 76321"/>
              <a:gd name="csX10" fmla="*/ 173714 w 337008"/>
              <a:gd name="csY10" fmla="*/ 12645 h 76321"/>
              <a:gd name="csX11" fmla="*/ 205309 w 337008"/>
              <a:gd name="csY11" fmla="*/ 10096 h 76321"/>
              <a:gd name="csX12" fmla="*/ 245485 w 337008"/>
              <a:gd name="csY12" fmla="*/ 7449 h 76321"/>
              <a:gd name="csX13" fmla="*/ 288955 w 337008"/>
              <a:gd name="csY13" fmla="*/ 1844 h 76321"/>
              <a:gd name="csX14" fmla="*/ 307132 w 337008"/>
              <a:gd name="csY14" fmla="*/ 164 h 76321"/>
              <a:gd name="csX15" fmla="*/ 324030 w 337008"/>
              <a:gd name="csY15" fmla="*/ 9691 h 76321"/>
              <a:gd name="csX16" fmla="*/ 336033 w 337008"/>
              <a:gd name="csY16" fmla="*/ 39107 h 76321"/>
              <a:gd name="csX17" fmla="*/ 328060 w 337008"/>
              <a:gd name="csY17" fmla="*/ 52413 h 76321"/>
              <a:gd name="csX18" fmla="*/ 297312 w 337008"/>
              <a:gd name="csY18" fmla="*/ 59188 h 76321"/>
              <a:gd name="csX19" fmla="*/ 207688 w 337008"/>
              <a:gd name="csY19" fmla="*/ 64284 h 76321"/>
              <a:gd name="csX20" fmla="*/ 330050 w 337008"/>
              <a:gd name="csY20" fmla="*/ 45606 h 76321"/>
              <a:gd name="csX21" fmla="*/ 317356 w 337008"/>
              <a:gd name="csY21" fmla="*/ 11297 h 76321"/>
              <a:gd name="csX22" fmla="*/ 304170 w 337008"/>
              <a:gd name="csY22" fmla="*/ 5545 h 76321"/>
              <a:gd name="csX23" fmla="*/ 273851 w 337008"/>
              <a:gd name="csY23" fmla="*/ 10014 h 76321"/>
              <a:gd name="csX24" fmla="*/ 163935 w 337008"/>
              <a:gd name="csY24" fmla="*/ 20274 h 76321"/>
              <a:gd name="csX25" fmla="*/ 17973 w 337008"/>
              <a:gd name="csY25" fmla="*/ 22950 h 76321"/>
              <a:gd name="csX26" fmla="*/ 7372 w 337008"/>
              <a:gd name="csY26" fmla="*/ 23601 h 76321"/>
              <a:gd name="csX27" fmla="*/ 7372 w 337008"/>
              <a:gd name="csY27" fmla="*/ 67898 h 76321"/>
              <a:gd name="csX28" fmla="*/ 207688 w 337008"/>
              <a:gd name="csY28" fmla="*/ 64284 h 7632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</a:cxnLst>
            <a:rect l="l" t="t" r="r" b="b"/>
            <a:pathLst>
              <a:path w="337008" h="76321">
                <a:moveTo>
                  <a:pt x="297312" y="59188"/>
                </a:moveTo>
                <a:cubicBezTo>
                  <a:pt x="278167" y="61672"/>
                  <a:pt x="260091" y="64212"/>
                  <a:pt x="241991" y="66577"/>
                </a:cubicBezTo>
                <a:cubicBezTo>
                  <a:pt x="223087" y="69047"/>
                  <a:pt x="204161" y="71350"/>
                  <a:pt x="185243" y="73717"/>
                </a:cubicBezTo>
                <a:cubicBezTo>
                  <a:pt x="184433" y="73818"/>
                  <a:pt x="183613" y="73861"/>
                  <a:pt x="182797" y="73873"/>
                </a:cubicBezTo>
                <a:cubicBezTo>
                  <a:pt x="128487" y="74710"/>
                  <a:pt x="74176" y="75556"/>
                  <a:pt x="19866" y="76320"/>
                </a:cubicBezTo>
                <a:cubicBezTo>
                  <a:pt x="17463" y="76354"/>
                  <a:pt x="15013" y="75797"/>
                  <a:pt x="12650" y="75242"/>
                </a:cubicBezTo>
                <a:cubicBezTo>
                  <a:pt x="80" y="72288"/>
                  <a:pt x="58" y="72258"/>
                  <a:pt x="19" y="59006"/>
                </a:cubicBezTo>
                <a:cubicBezTo>
                  <a:pt x="-19" y="45942"/>
                  <a:pt x="11" y="32877"/>
                  <a:pt x="11" y="18266"/>
                </a:cubicBezTo>
                <a:cubicBezTo>
                  <a:pt x="4987" y="17944"/>
                  <a:pt x="9266" y="17435"/>
                  <a:pt x="13547" y="17427"/>
                </a:cubicBezTo>
                <a:cubicBezTo>
                  <a:pt x="45459" y="17362"/>
                  <a:pt x="77385" y="17975"/>
                  <a:pt x="109279" y="17200"/>
                </a:cubicBezTo>
                <a:cubicBezTo>
                  <a:pt x="130782" y="16677"/>
                  <a:pt x="152239" y="14265"/>
                  <a:pt x="173714" y="12645"/>
                </a:cubicBezTo>
                <a:cubicBezTo>
                  <a:pt x="184250" y="11850"/>
                  <a:pt x="194770" y="10836"/>
                  <a:pt x="205309" y="10096"/>
                </a:cubicBezTo>
                <a:cubicBezTo>
                  <a:pt x="218698" y="9156"/>
                  <a:pt x="232139" y="8783"/>
                  <a:pt x="245485" y="7449"/>
                </a:cubicBezTo>
                <a:cubicBezTo>
                  <a:pt x="260017" y="5997"/>
                  <a:pt x="274456" y="3648"/>
                  <a:pt x="288955" y="1844"/>
                </a:cubicBezTo>
                <a:cubicBezTo>
                  <a:pt x="294991" y="1094"/>
                  <a:pt x="301100" y="930"/>
                  <a:pt x="307132" y="164"/>
                </a:cubicBezTo>
                <a:cubicBezTo>
                  <a:pt x="315239" y="-865"/>
                  <a:pt x="320841" y="3022"/>
                  <a:pt x="324030" y="9691"/>
                </a:cubicBezTo>
                <a:cubicBezTo>
                  <a:pt x="328594" y="19236"/>
                  <a:pt x="332712" y="29070"/>
                  <a:pt x="336033" y="39107"/>
                </a:cubicBezTo>
                <a:cubicBezTo>
                  <a:pt x="338557" y="46735"/>
                  <a:pt x="336278" y="50185"/>
                  <a:pt x="328060" y="52413"/>
                </a:cubicBezTo>
                <a:cubicBezTo>
                  <a:pt x="318273" y="55068"/>
                  <a:pt x="308277" y="56950"/>
                  <a:pt x="297312" y="59188"/>
                </a:cubicBezTo>
                <a:moveTo>
                  <a:pt x="207688" y="64284"/>
                </a:moveTo>
                <a:cubicBezTo>
                  <a:pt x="248681" y="60632"/>
                  <a:pt x="289317" y="54812"/>
                  <a:pt x="330050" y="45606"/>
                </a:cubicBezTo>
                <a:cubicBezTo>
                  <a:pt x="327603" y="32443"/>
                  <a:pt x="323777" y="21532"/>
                  <a:pt x="317356" y="11297"/>
                </a:cubicBezTo>
                <a:cubicBezTo>
                  <a:pt x="313908" y="5803"/>
                  <a:pt x="310145" y="4465"/>
                  <a:pt x="304170" y="5545"/>
                </a:cubicBezTo>
                <a:cubicBezTo>
                  <a:pt x="294121" y="7361"/>
                  <a:pt x="284007" y="9006"/>
                  <a:pt x="273851" y="10014"/>
                </a:cubicBezTo>
                <a:cubicBezTo>
                  <a:pt x="237233" y="13650"/>
                  <a:pt x="200632" y="17661"/>
                  <a:pt x="163935" y="20274"/>
                </a:cubicBezTo>
                <a:cubicBezTo>
                  <a:pt x="115360" y="23734"/>
                  <a:pt x="66701" y="25937"/>
                  <a:pt x="17973" y="22950"/>
                </a:cubicBezTo>
                <a:cubicBezTo>
                  <a:pt x="14492" y="22737"/>
                  <a:pt x="10959" y="23361"/>
                  <a:pt x="7372" y="23601"/>
                </a:cubicBezTo>
                <a:cubicBezTo>
                  <a:pt x="7372" y="38609"/>
                  <a:pt x="7372" y="52361"/>
                  <a:pt x="7372" y="67898"/>
                </a:cubicBezTo>
                <a:cubicBezTo>
                  <a:pt x="74001" y="69806"/>
                  <a:pt x="139746" y="71025"/>
                  <a:pt x="207688" y="64284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34" name="Free-form: Shape 4033">
            <a:extLst>
              <a:ext uri="{FF2B5EF4-FFF2-40B4-BE49-F238E27FC236}">
                <a16:creationId xmlns:a16="http://schemas.microsoft.com/office/drawing/2014/main" id="{7B69158B-CEE4-6E26-F34E-DF9C4DA093FD}"/>
              </a:ext>
            </a:extLst>
          </p:cNvPr>
          <p:cNvSpPr/>
          <p:nvPr/>
        </p:nvSpPr>
        <p:spPr>
          <a:xfrm>
            <a:off x="9388020" y="4801853"/>
            <a:ext cx="250796" cy="176607"/>
          </a:xfrm>
          <a:custGeom>
            <a:avLst/>
            <a:gdLst>
              <a:gd name="csX0" fmla="*/ 14160 w 303463"/>
              <a:gd name="csY0" fmla="*/ 7889 h 213695"/>
              <a:gd name="csX1" fmla="*/ 195033 w 303463"/>
              <a:gd name="csY1" fmla="*/ 0 h 213695"/>
              <a:gd name="csX2" fmla="*/ 197208 w 303463"/>
              <a:gd name="csY2" fmla="*/ 5635 h 213695"/>
              <a:gd name="csX3" fmla="*/ 227014 w 303463"/>
              <a:gd name="csY3" fmla="*/ 60660 h 213695"/>
              <a:gd name="csX4" fmla="*/ 265823 w 303463"/>
              <a:gd name="csY4" fmla="*/ 98217 h 213695"/>
              <a:gd name="csX5" fmla="*/ 303210 w 303463"/>
              <a:gd name="csY5" fmla="*/ 180358 h 213695"/>
              <a:gd name="csX6" fmla="*/ 303282 w 303463"/>
              <a:gd name="csY6" fmla="*/ 193964 h 213695"/>
              <a:gd name="csX7" fmla="*/ 4971 w 303463"/>
              <a:gd name="csY7" fmla="*/ 213017 h 213695"/>
              <a:gd name="csX8" fmla="*/ 5093 w 303463"/>
              <a:gd name="csY8" fmla="*/ 173484 h 213695"/>
              <a:gd name="csX9" fmla="*/ 4767 w 303463"/>
              <a:gd name="csY9" fmla="*/ 54607 h 213695"/>
              <a:gd name="csX10" fmla="*/ 0 w 303463"/>
              <a:gd name="csY10" fmla="*/ 7887 h 213695"/>
              <a:gd name="csX11" fmla="*/ 14160 w 303463"/>
              <a:gd name="csY11" fmla="*/ 7889 h 21369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303463" h="213695">
                <a:moveTo>
                  <a:pt x="14160" y="7889"/>
                </a:moveTo>
                <a:cubicBezTo>
                  <a:pt x="75371" y="8627"/>
                  <a:pt x="135292" y="5744"/>
                  <a:pt x="195033" y="0"/>
                </a:cubicBezTo>
                <a:cubicBezTo>
                  <a:pt x="196084" y="2662"/>
                  <a:pt x="196986" y="4099"/>
                  <a:pt x="197208" y="5635"/>
                </a:cubicBezTo>
                <a:cubicBezTo>
                  <a:pt x="200391" y="27650"/>
                  <a:pt x="211307" y="45450"/>
                  <a:pt x="227014" y="60660"/>
                </a:cubicBezTo>
                <a:cubicBezTo>
                  <a:pt x="239947" y="73182"/>
                  <a:pt x="253006" y="85577"/>
                  <a:pt x="265823" y="98217"/>
                </a:cubicBezTo>
                <a:cubicBezTo>
                  <a:pt x="288727" y="120806"/>
                  <a:pt x="299071" y="149215"/>
                  <a:pt x="303210" y="180358"/>
                </a:cubicBezTo>
                <a:cubicBezTo>
                  <a:pt x="303735" y="184317"/>
                  <a:pt x="303282" y="188405"/>
                  <a:pt x="303282" y="193964"/>
                </a:cubicBezTo>
                <a:cubicBezTo>
                  <a:pt x="204065" y="208804"/>
                  <a:pt x="105022" y="216044"/>
                  <a:pt x="4971" y="213017"/>
                </a:cubicBezTo>
                <a:cubicBezTo>
                  <a:pt x="4971" y="199268"/>
                  <a:pt x="4314" y="186332"/>
                  <a:pt x="5093" y="173484"/>
                </a:cubicBezTo>
                <a:cubicBezTo>
                  <a:pt x="7497" y="133835"/>
                  <a:pt x="8211" y="94216"/>
                  <a:pt x="4767" y="54607"/>
                </a:cubicBezTo>
                <a:cubicBezTo>
                  <a:pt x="3464" y="39611"/>
                  <a:pt x="1725" y="24653"/>
                  <a:pt x="0" y="7887"/>
                </a:cubicBezTo>
                <a:cubicBezTo>
                  <a:pt x="4390" y="7887"/>
                  <a:pt x="8696" y="7887"/>
                  <a:pt x="14160" y="7889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35" name="Free-form: Shape 4034">
            <a:extLst>
              <a:ext uri="{FF2B5EF4-FFF2-40B4-BE49-F238E27FC236}">
                <a16:creationId xmlns:a16="http://schemas.microsoft.com/office/drawing/2014/main" id="{C6F6704E-3434-32CF-77E5-35C4D5671D80}"/>
              </a:ext>
            </a:extLst>
          </p:cNvPr>
          <p:cNvSpPr/>
          <p:nvPr/>
        </p:nvSpPr>
        <p:spPr>
          <a:xfrm>
            <a:off x="9343083" y="4096747"/>
            <a:ext cx="172783" cy="168104"/>
          </a:xfrm>
          <a:custGeom>
            <a:avLst/>
            <a:gdLst>
              <a:gd name="csX0" fmla="*/ 10475 w 209067"/>
              <a:gd name="csY0" fmla="*/ 41718 h 203406"/>
              <a:gd name="csX1" fmla="*/ 100250 w 209067"/>
              <a:gd name="csY1" fmla="*/ 1265 h 203406"/>
              <a:gd name="csX2" fmla="*/ 206681 w 209067"/>
              <a:gd name="csY2" fmla="*/ 98526 h 203406"/>
              <a:gd name="csX3" fmla="*/ 134647 w 209067"/>
              <a:gd name="csY3" fmla="*/ 202431 h 203406"/>
              <a:gd name="csX4" fmla="*/ 40986 w 209067"/>
              <a:gd name="csY4" fmla="*/ 171438 h 203406"/>
              <a:gd name="csX5" fmla="*/ 143 w 209067"/>
              <a:gd name="csY5" fmla="*/ 85158 h 203406"/>
              <a:gd name="csX6" fmla="*/ 10475 w 209067"/>
              <a:gd name="csY6" fmla="*/ 41718 h 20340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</a:cxnLst>
            <a:rect l="l" t="t" r="r" b="b"/>
            <a:pathLst>
              <a:path w="209067" h="203406">
                <a:moveTo>
                  <a:pt x="10475" y="41718"/>
                </a:moveTo>
                <a:cubicBezTo>
                  <a:pt x="31065" y="6021"/>
                  <a:pt x="63171" y="-3865"/>
                  <a:pt x="100250" y="1265"/>
                </a:cubicBezTo>
                <a:cubicBezTo>
                  <a:pt x="157191" y="9144"/>
                  <a:pt x="196951" y="51394"/>
                  <a:pt x="206681" y="98526"/>
                </a:cubicBezTo>
                <a:cubicBezTo>
                  <a:pt x="219504" y="160635"/>
                  <a:pt x="178523" y="196657"/>
                  <a:pt x="134647" y="202431"/>
                </a:cubicBezTo>
                <a:cubicBezTo>
                  <a:pt x="98365" y="207204"/>
                  <a:pt x="68101" y="194086"/>
                  <a:pt x="40986" y="171438"/>
                </a:cubicBezTo>
                <a:cubicBezTo>
                  <a:pt x="14115" y="148994"/>
                  <a:pt x="2457" y="119007"/>
                  <a:pt x="143" y="85158"/>
                </a:cubicBezTo>
                <a:cubicBezTo>
                  <a:pt x="-869" y="70364"/>
                  <a:pt x="3586" y="56015"/>
                  <a:pt x="10475" y="41718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36" name="Free-form: Shape 4035">
            <a:extLst>
              <a:ext uri="{FF2B5EF4-FFF2-40B4-BE49-F238E27FC236}">
                <a16:creationId xmlns:a16="http://schemas.microsoft.com/office/drawing/2014/main" id="{43252C84-6607-4590-B9C3-2EF32AD16F26}"/>
              </a:ext>
            </a:extLst>
          </p:cNvPr>
          <p:cNvSpPr/>
          <p:nvPr/>
        </p:nvSpPr>
        <p:spPr>
          <a:xfrm>
            <a:off x="9391344" y="4380301"/>
            <a:ext cx="129859" cy="34160"/>
          </a:xfrm>
          <a:custGeom>
            <a:avLst/>
            <a:gdLst>
              <a:gd name="csX0" fmla="*/ 69625 w 157129"/>
              <a:gd name="csY0" fmla="*/ 0 h 41334"/>
              <a:gd name="csX1" fmla="*/ 119596 w 157129"/>
              <a:gd name="csY1" fmla="*/ 1945 h 41334"/>
              <a:gd name="csX2" fmla="*/ 150973 w 157129"/>
              <a:gd name="csY2" fmla="*/ 14889 h 41334"/>
              <a:gd name="csX3" fmla="*/ 151351 w 157129"/>
              <a:gd name="csY3" fmla="*/ 34058 h 41334"/>
              <a:gd name="csX4" fmla="*/ 133492 w 157129"/>
              <a:gd name="csY4" fmla="*/ 40697 h 41334"/>
              <a:gd name="csX5" fmla="*/ 106556 w 157129"/>
              <a:gd name="csY5" fmla="*/ 41092 h 41334"/>
              <a:gd name="csX6" fmla="*/ 13373 w 157129"/>
              <a:gd name="csY6" fmla="*/ 40708 h 41334"/>
              <a:gd name="csX7" fmla="*/ 1312 w 157129"/>
              <a:gd name="csY7" fmla="*/ 40191 h 41334"/>
              <a:gd name="csX8" fmla="*/ 3367 w 157129"/>
              <a:gd name="csY8" fmla="*/ 13162 h 41334"/>
              <a:gd name="csX9" fmla="*/ 20752 w 157129"/>
              <a:gd name="csY9" fmla="*/ 1879 h 41334"/>
              <a:gd name="csX10" fmla="*/ 52625 w 157129"/>
              <a:gd name="csY10" fmla="*/ 1332 h 41334"/>
              <a:gd name="csX11" fmla="*/ 69625 w 157129"/>
              <a:gd name="csY11" fmla="*/ 0 h 4133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157129" h="41334">
                <a:moveTo>
                  <a:pt x="69625" y="0"/>
                </a:moveTo>
                <a:cubicBezTo>
                  <a:pt x="87054" y="491"/>
                  <a:pt x="103407" y="373"/>
                  <a:pt x="119596" y="1945"/>
                </a:cubicBezTo>
                <a:cubicBezTo>
                  <a:pt x="131020" y="3055"/>
                  <a:pt x="141713" y="7767"/>
                  <a:pt x="150973" y="14889"/>
                </a:cubicBezTo>
                <a:cubicBezTo>
                  <a:pt x="158820" y="20925"/>
                  <a:pt x="159403" y="28236"/>
                  <a:pt x="151351" y="34058"/>
                </a:cubicBezTo>
                <a:cubicBezTo>
                  <a:pt x="146355" y="37671"/>
                  <a:pt x="139678" y="39910"/>
                  <a:pt x="133492" y="40697"/>
                </a:cubicBezTo>
                <a:cubicBezTo>
                  <a:pt x="124640" y="41824"/>
                  <a:pt x="115547" y="41120"/>
                  <a:pt x="106556" y="41092"/>
                </a:cubicBezTo>
                <a:cubicBezTo>
                  <a:pt x="75495" y="40996"/>
                  <a:pt x="44434" y="40872"/>
                  <a:pt x="13373" y="40708"/>
                </a:cubicBezTo>
                <a:cubicBezTo>
                  <a:pt x="9391" y="40687"/>
                  <a:pt x="5410" y="40374"/>
                  <a:pt x="1312" y="40191"/>
                </a:cubicBezTo>
                <a:cubicBezTo>
                  <a:pt x="-1416" y="30384"/>
                  <a:pt x="523" y="21512"/>
                  <a:pt x="3367" y="13162"/>
                </a:cubicBezTo>
                <a:cubicBezTo>
                  <a:pt x="5963" y="5538"/>
                  <a:pt x="12701" y="2077"/>
                  <a:pt x="20752" y="1879"/>
                </a:cubicBezTo>
                <a:cubicBezTo>
                  <a:pt x="31375" y="1617"/>
                  <a:pt x="42004" y="1647"/>
                  <a:pt x="52625" y="1332"/>
                </a:cubicBezTo>
                <a:cubicBezTo>
                  <a:pt x="57918" y="1176"/>
                  <a:pt x="63195" y="535"/>
                  <a:pt x="69625" y="0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37" name="Free-form: Shape 4036">
            <a:extLst>
              <a:ext uri="{FF2B5EF4-FFF2-40B4-BE49-F238E27FC236}">
                <a16:creationId xmlns:a16="http://schemas.microsoft.com/office/drawing/2014/main" id="{76BC2155-B57C-771E-1C6E-4D5B98DB4CB7}"/>
              </a:ext>
            </a:extLst>
          </p:cNvPr>
          <p:cNvSpPr/>
          <p:nvPr/>
        </p:nvSpPr>
        <p:spPr>
          <a:xfrm>
            <a:off x="9386723" y="4448032"/>
            <a:ext cx="136016" cy="321684"/>
          </a:xfrm>
          <a:custGeom>
            <a:avLst/>
            <a:gdLst>
              <a:gd name="csX0" fmla="*/ 91265 w 164579"/>
              <a:gd name="csY0" fmla="*/ 157878 h 389238"/>
              <a:gd name="csX1" fmla="*/ 112882 w 164579"/>
              <a:gd name="csY1" fmla="*/ 252738 h 389238"/>
              <a:gd name="csX2" fmla="*/ 164579 w 164579"/>
              <a:gd name="csY2" fmla="*/ 389238 h 389238"/>
              <a:gd name="csX3" fmla="*/ 0 w 164579"/>
              <a:gd name="csY3" fmla="*/ 389238 h 389238"/>
              <a:gd name="csX4" fmla="*/ 5184 w 164579"/>
              <a:gd name="csY4" fmla="*/ 260105 h 389238"/>
              <a:gd name="csX5" fmla="*/ 7989 w 164579"/>
              <a:gd name="csY5" fmla="*/ 131182 h 389238"/>
              <a:gd name="csX6" fmla="*/ 8093 w 164579"/>
              <a:gd name="csY6" fmla="*/ 2390 h 389238"/>
              <a:gd name="csX7" fmla="*/ 76429 w 164579"/>
              <a:gd name="csY7" fmla="*/ 1531 h 389238"/>
              <a:gd name="csX8" fmla="*/ 91265 w 164579"/>
              <a:gd name="csY8" fmla="*/ 157878 h 38923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</a:cxnLst>
            <a:rect l="l" t="t" r="r" b="b"/>
            <a:pathLst>
              <a:path w="164579" h="389238">
                <a:moveTo>
                  <a:pt x="91265" y="157878"/>
                </a:moveTo>
                <a:cubicBezTo>
                  <a:pt x="98425" y="190232"/>
                  <a:pt x="104539" y="221785"/>
                  <a:pt x="112882" y="252738"/>
                </a:cubicBezTo>
                <a:cubicBezTo>
                  <a:pt x="125498" y="299549"/>
                  <a:pt x="141482" y="345258"/>
                  <a:pt x="164579" y="389238"/>
                </a:cubicBezTo>
                <a:cubicBezTo>
                  <a:pt x="109753" y="389238"/>
                  <a:pt x="55706" y="389238"/>
                  <a:pt x="0" y="389238"/>
                </a:cubicBezTo>
                <a:cubicBezTo>
                  <a:pt x="1781" y="345633"/>
                  <a:pt x="3844" y="302880"/>
                  <a:pt x="5184" y="260105"/>
                </a:cubicBezTo>
                <a:cubicBezTo>
                  <a:pt x="6529" y="217143"/>
                  <a:pt x="7519" y="174162"/>
                  <a:pt x="7989" y="131182"/>
                </a:cubicBezTo>
                <a:cubicBezTo>
                  <a:pt x="8459" y="88239"/>
                  <a:pt x="8093" y="45287"/>
                  <a:pt x="8093" y="2390"/>
                </a:cubicBezTo>
                <a:cubicBezTo>
                  <a:pt x="17041" y="-288"/>
                  <a:pt x="58537" y="-913"/>
                  <a:pt x="76429" y="1531"/>
                </a:cubicBezTo>
                <a:cubicBezTo>
                  <a:pt x="79287" y="53276"/>
                  <a:pt x="82219" y="105359"/>
                  <a:pt x="91265" y="157878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38" name="Free-form: Shape 4037">
            <a:extLst>
              <a:ext uri="{FF2B5EF4-FFF2-40B4-BE49-F238E27FC236}">
                <a16:creationId xmlns:a16="http://schemas.microsoft.com/office/drawing/2014/main" id="{76640D9E-02D9-0197-4AD8-A46BE8F634E9}"/>
              </a:ext>
            </a:extLst>
          </p:cNvPr>
          <p:cNvSpPr/>
          <p:nvPr/>
        </p:nvSpPr>
        <p:spPr>
          <a:xfrm>
            <a:off x="9389143" y="5001079"/>
            <a:ext cx="266675" cy="53060"/>
          </a:xfrm>
          <a:custGeom>
            <a:avLst/>
            <a:gdLst>
              <a:gd name="csX0" fmla="*/ 199184 w 322677"/>
              <a:gd name="csY0" fmla="*/ 59136 h 64202"/>
              <a:gd name="csX1" fmla="*/ 0 w 322677"/>
              <a:gd name="csY1" fmla="*/ 62697 h 64202"/>
              <a:gd name="csX2" fmla="*/ 0 w 322677"/>
              <a:gd name="csY2" fmla="*/ 18400 h 64202"/>
              <a:gd name="csX3" fmla="*/ 10601 w 322677"/>
              <a:gd name="csY3" fmla="*/ 17750 h 64202"/>
              <a:gd name="csX4" fmla="*/ 156563 w 322677"/>
              <a:gd name="csY4" fmla="*/ 15074 h 64202"/>
              <a:gd name="csX5" fmla="*/ 266479 w 322677"/>
              <a:gd name="csY5" fmla="*/ 4814 h 64202"/>
              <a:gd name="csX6" fmla="*/ 296798 w 322677"/>
              <a:gd name="csY6" fmla="*/ 344 h 64202"/>
              <a:gd name="csX7" fmla="*/ 309983 w 322677"/>
              <a:gd name="csY7" fmla="*/ 6097 h 64202"/>
              <a:gd name="csX8" fmla="*/ 322678 w 322677"/>
              <a:gd name="csY8" fmla="*/ 40406 h 64202"/>
              <a:gd name="csX9" fmla="*/ 199184 w 322677"/>
              <a:gd name="csY9" fmla="*/ 59136 h 6420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322677" h="64202">
                <a:moveTo>
                  <a:pt x="199184" y="59136"/>
                </a:moveTo>
                <a:cubicBezTo>
                  <a:pt x="132374" y="65824"/>
                  <a:pt x="66629" y="64605"/>
                  <a:pt x="0" y="62697"/>
                </a:cubicBezTo>
                <a:cubicBezTo>
                  <a:pt x="0" y="47160"/>
                  <a:pt x="0" y="33409"/>
                  <a:pt x="0" y="18400"/>
                </a:cubicBezTo>
                <a:cubicBezTo>
                  <a:pt x="3587" y="18160"/>
                  <a:pt x="7120" y="17536"/>
                  <a:pt x="10601" y="17750"/>
                </a:cubicBezTo>
                <a:cubicBezTo>
                  <a:pt x="59329" y="20736"/>
                  <a:pt x="107987" y="18533"/>
                  <a:pt x="156563" y="15074"/>
                </a:cubicBezTo>
                <a:cubicBezTo>
                  <a:pt x="193260" y="12461"/>
                  <a:pt x="229860" y="8449"/>
                  <a:pt x="266479" y="4814"/>
                </a:cubicBezTo>
                <a:cubicBezTo>
                  <a:pt x="276635" y="3806"/>
                  <a:pt x="286748" y="2160"/>
                  <a:pt x="296798" y="344"/>
                </a:cubicBezTo>
                <a:cubicBezTo>
                  <a:pt x="302773" y="-735"/>
                  <a:pt x="306536" y="602"/>
                  <a:pt x="309983" y="6097"/>
                </a:cubicBezTo>
                <a:cubicBezTo>
                  <a:pt x="316405" y="16331"/>
                  <a:pt x="320231" y="27243"/>
                  <a:pt x="322678" y="40406"/>
                </a:cubicBezTo>
                <a:cubicBezTo>
                  <a:pt x="281944" y="49611"/>
                  <a:pt x="241309" y="55431"/>
                  <a:pt x="199184" y="59136"/>
                </a:cubicBezTo>
                <a:close/>
              </a:path>
            </a:pathLst>
          </a:custGeom>
          <a:solidFill>
            <a:schemeClr val="bg1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39" name="Oval 4038">
            <a:extLst>
              <a:ext uri="{FF2B5EF4-FFF2-40B4-BE49-F238E27FC236}">
                <a16:creationId xmlns:a16="http://schemas.microsoft.com/office/drawing/2014/main" id="{677553CA-C9AD-A7B8-F2E8-EFA611E83F69}"/>
              </a:ext>
            </a:extLst>
          </p:cNvPr>
          <p:cNvSpPr/>
          <p:nvPr/>
        </p:nvSpPr>
        <p:spPr>
          <a:xfrm>
            <a:off x="7532320" y="4642242"/>
            <a:ext cx="717697" cy="126003"/>
          </a:xfrm>
          <a:prstGeom prst="ellipse">
            <a:avLst/>
          </a:prstGeom>
          <a:solidFill>
            <a:schemeClr val="tx1">
              <a:alpha val="6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41" name="Free-form: Shape 4040">
            <a:extLst>
              <a:ext uri="{FF2B5EF4-FFF2-40B4-BE49-F238E27FC236}">
                <a16:creationId xmlns:a16="http://schemas.microsoft.com/office/drawing/2014/main" id="{56035112-E7D1-1315-1D07-9668669C1F16}"/>
              </a:ext>
            </a:extLst>
          </p:cNvPr>
          <p:cNvSpPr/>
          <p:nvPr/>
        </p:nvSpPr>
        <p:spPr>
          <a:xfrm>
            <a:off x="7651706" y="3818655"/>
            <a:ext cx="524096" cy="931726"/>
          </a:xfrm>
          <a:custGeom>
            <a:avLst/>
            <a:gdLst>
              <a:gd name="csX0" fmla="*/ 581793 w 697572"/>
              <a:gd name="csY0" fmla="*/ 1234401 h 1240128"/>
              <a:gd name="csX1" fmla="*/ 577427 w 697572"/>
              <a:gd name="csY1" fmla="*/ 1234156 h 1240128"/>
              <a:gd name="csX2" fmla="*/ 559133 w 697572"/>
              <a:gd name="csY2" fmla="*/ 1230909 h 1240128"/>
              <a:gd name="csX3" fmla="*/ 516706 w 697572"/>
              <a:gd name="csY3" fmla="*/ 1235117 h 1240128"/>
              <a:gd name="csX4" fmla="*/ 475244 w 697572"/>
              <a:gd name="csY4" fmla="*/ 1237506 h 1240128"/>
              <a:gd name="csX5" fmla="*/ 371154 w 697572"/>
              <a:gd name="csY5" fmla="*/ 1239428 h 1240128"/>
              <a:gd name="csX6" fmla="*/ 276813 w 697572"/>
              <a:gd name="csY6" fmla="*/ 1237654 h 1240128"/>
              <a:gd name="csX7" fmla="*/ 268212 w 697572"/>
              <a:gd name="csY7" fmla="*/ 1237635 h 1240128"/>
              <a:gd name="csX8" fmla="*/ 262072 w 697572"/>
              <a:gd name="csY8" fmla="*/ 1237523 h 1240128"/>
              <a:gd name="csX9" fmla="*/ 195111 w 697572"/>
              <a:gd name="csY9" fmla="*/ 1232775 h 1240128"/>
              <a:gd name="csX10" fmla="*/ 145060 w 697572"/>
              <a:gd name="csY10" fmla="*/ 1230076 h 1240128"/>
              <a:gd name="csX11" fmla="*/ 114933 w 697572"/>
              <a:gd name="csY11" fmla="*/ 1225832 h 1240128"/>
              <a:gd name="csX12" fmla="*/ 72642 w 697572"/>
              <a:gd name="csY12" fmla="*/ 1220237 h 1240128"/>
              <a:gd name="csX13" fmla="*/ 10894 w 697572"/>
              <a:gd name="csY13" fmla="*/ 1205737 h 1240128"/>
              <a:gd name="csX14" fmla="*/ 5856 w 697572"/>
              <a:gd name="csY14" fmla="*/ 1202799 h 1240128"/>
              <a:gd name="csX15" fmla="*/ 40 w 697572"/>
              <a:gd name="csY15" fmla="*/ 1174450 h 1240128"/>
              <a:gd name="csX16" fmla="*/ 19831 w 697572"/>
              <a:gd name="csY16" fmla="*/ 1118410 h 1240128"/>
              <a:gd name="csX17" fmla="*/ 22004 w 697572"/>
              <a:gd name="csY17" fmla="*/ 1107240 h 1240128"/>
              <a:gd name="csX18" fmla="*/ 25947 w 697572"/>
              <a:gd name="csY18" fmla="*/ 1038650 h 1240128"/>
              <a:gd name="csX19" fmla="*/ 58234 w 697572"/>
              <a:gd name="csY19" fmla="*/ 988567 h 1240128"/>
              <a:gd name="csX20" fmla="*/ 118645 w 697572"/>
              <a:gd name="csY20" fmla="*/ 928298 h 1240128"/>
              <a:gd name="csX21" fmla="*/ 126320 w 697572"/>
              <a:gd name="csY21" fmla="*/ 892015 h 1240128"/>
              <a:gd name="csX22" fmla="*/ 120345 w 697572"/>
              <a:gd name="csY22" fmla="*/ 872258 h 1240128"/>
              <a:gd name="csX23" fmla="*/ 125668 w 697572"/>
              <a:gd name="csY23" fmla="*/ 861640 h 1240128"/>
              <a:gd name="csX24" fmla="*/ 154237 w 697572"/>
              <a:gd name="csY24" fmla="*/ 850716 h 1240128"/>
              <a:gd name="csX25" fmla="*/ 170248 w 697572"/>
              <a:gd name="csY25" fmla="*/ 836767 h 1240128"/>
              <a:gd name="csX26" fmla="*/ 187840 w 697572"/>
              <a:gd name="csY26" fmla="*/ 796341 h 1240128"/>
              <a:gd name="csX27" fmla="*/ 209346 w 697572"/>
              <a:gd name="csY27" fmla="*/ 743126 h 1240128"/>
              <a:gd name="csX28" fmla="*/ 210630 w 697572"/>
              <a:gd name="csY28" fmla="*/ 737219 h 1240128"/>
              <a:gd name="csX29" fmla="*/ 213836 w 697572"/>
              <a:gd name="csY29" fmla="*/ 720505 h 1240128"/>
              <a:gd name="csX30" fmla="*/ 227791 w 697572"/>
              <a:gd name="csY30" fmla="*/ 667353 h 1240128"/>
              <a:gd name="csX31" fmla="*/ 241013 w 697572"/>
              <a:gd name="csY31" fmla="*/ 599151 h 1240128"/>
              <a:gd name="csX32" fmla="*/ 247322 w 697572"/>
              <a:gd name="csY32" fmla="*/ 542242 h 1240128"/>
              <a:gd name="csX33" fmla="*/ 247948 w 697572"/>
              <a:gd name="csY33" fmla="*/ 499296 h 1240128"/>
              <a:gd name="csX34" fmla="*/ 247577 w 697572"/>
              <a:gd name="csY34" fmla="*/ 470384 h 1240128"/>
              <a:gd name="csX35" fmla="*/ 238877 w 697572"/>
              <a:gd name="csY35" fmla="*/ 460987 h 1240128"/>
              <a:gd name="csX36" fmla="*/ 222040 w 697572"/>
              <a:gd name="csY36" fmla="*/ 458353 h 1240128"/>
              <a:gd name="csX37" fmla="*/ 172193 w 697572"/>
              <a:gd name="csY37" fmla="*/ 433714 h 1240128"/>
              <a:gd name="csX38" fmla="*/ 168410 w 697572"/>
              <a:gd name="csY38" fmla="*/ 396591 h 1240128"/>
              <a:gd name="csX39" fmla="*/ 209826 w 697572"/>
              <a:gd name="csY39" fmla="*/ 367773 h 1240128"/>
              <a:gd name="csX40" fmla="*/ 250732 w 697572"/>
              <a:gd name="csY40" fmla="*/ 355208 h 1240128"/>
              <a:gd name="csX41" fmla="*/ 258289 w 697572"/>
              <a:gd name="csY41" fmla="*/ 350426 h 1240128"/>
              <a:gd name="csX42" fmla="*/ 233274 w 697572"/>
              <a:gd name="csY42" fmla="*/ 333513 h 1240128"/>
              <a:gd name="csX43" fmla="*/ 229677 w 697572"/>
              <a:gd name="csY43" fmla="*/ 333922 h 1240128"/>
              <a:gd name="csX44" fmla="*/ 230149 w 697572"/>
              <a:gd name="csY44" fmla="*/ 332979 h 1240128"/>
              <a:gd name="csX45" fmla="*/ 227053 w 697572"/>
              <a:gd name="csY45" fmla="*/ 327076 h 1240128"/>
              <a:gd name="csX46" fmla="*/ 196769 w 697572"/>
              <a:gd name="csY46" fmla="*/ 291380 h 1240128"/>
              <a:gd name="csX47" fmla="*/ 184389 w 697572"/>
              <a:gd name="csY47" fmla="*/ 264042 h 1240128"/>
              <a:gd name="csX48" fmla="*/ 180630 w 697572"/>
              <a:gd name="csY48" fmla="*/ 257839 h 1240128"/>
              <a:gd name="csX49" fmla="*/ 176231 w 697572"/>
              <a:gd name="csY49" fmla="*/ 250643 h 1240128"/>
              <a:gd name="csX50" fmla="*/ 170073 w 697572"/>
              <a:gd name="csY50" fmla="*/ 146723 h 1240128"/>
              <a:gd name="csX51" fmla="*/ 180929 w 697572"/>
              <a:gd name="csY51" fmla="*/ 114280 h 1240128"/>
              <a:gd name="csX52" fmla="*/ 180839 w 697572"/>
              <a:gd name="csY52" fmla="*/ 101501 h 1240128"/>
              <a:gd name="csX53" fmla="*/ 233536 w 697572"/>
              <a:gd name="csY53" fmla="*/ 39653 h 1240128"/>
              <a:gd name="csX54" fmla="*/ 347618 w 697572"/>
              <a:gd name="csY54" fmla="*/ 35 h 1240128"/>
              <a:gd name="csX55" fmla="*/ 437139 w 697572"/>
              <a:gd name="csY55" fmla="*/ 22396 h 1240128"/>
              <a:gd name="csX56" fmla="*/ 529052 w 697572"/>
              <a:gd name="csY56" fmla="*/ 131093 h 1240128"/>
              <a:gd name="csX57" fmla="*/ 518497 w 697572"/>
              <a:gd name="csY57" fmla="*/ 271517 h 1240128"/>
              <a:gd name="csX58" fmla="*/ 500808 w 697572"/>
              <a:gd name="csY58" fmla="*/ 287385 h 1240128"/>
              <a:gd name="csX59" fmla="*/ 472948 w 697572"/>
              <a:gd name="csY59" fmla="*/ 323290 h 1240128"/>
              <a:gd name="csX60" fmla="*/ 469385 w 697572"/>
              <a:gd name="csY60" fmla="*/ 331565 h 1240128"/>
              <a:gd name="csX61" fmla="*/ 468293 w 697572"/>
              <a:gd name="csY61" fmla="*/ 331320 h 1240128"/>
              <a:gd name="csX62" fmla="*/ 459542 w 697572"/>
              <a:gd name="csY62" fmla="*/ 338942 h 1240128"/>
              <a:gd name="csX63" fmla="*/ 458492 w 697572"/>
              <a:gd name="csY63" fmla="*/ 338671 h 1240128"/>
              <a:gd name="csX64" fmla="*/ 436978 w 697572"/>
              <a:gd name="csY64" fmla="*/ 352226 h 1240128"/>
              <a:gd name="csX65" fmla="*/ 472329 w 697572"/>
              <a:gd name="csY65" fmla="*/ 362890 h 1240128"/>
              <a:gd name="csX66" fmla="*/ 523779 w 697572"/>
              <a:gd name="csY66" fmla="*/ 391962 h 1240128"/>
              <a:gd name="csX67" fmla="*/ 527344 w 697572"/>
              <a:gd name="csY67" fmla="*/ 430096 h 1240128"/>
              <a:gd name="csX68" fmla="*/ 504112 w 697572"/>
              <a:gd name="csY68" fmla="*/ 449628 h 1240128"/>
              <a:gd name="csX69" fmla="*/ 459430 w 697572"/>
              <a:gd name="csY69" fmla="*/ 461116 h 1240128"/>
              <a:gd name="csX70" fmla="*/ 446666 w 697572"/>
              <a:gd name="csY70" fmla="*/ 474229 h 1240128"/>
              <a:gd name="csX71" fmla="*/ 449133 w 697572"/>
              <a:gd name="csY71" fmla="*/ 531639 h 1240128"/>
              <a:gd name="csX72" fmla="*/ 454546 w 697572"/>
              <a:gd name="csY72" fmla="*/ 588688 h 1240128"/>
              <a:gd name="csX73" fmla="*/ 466126 w 697572"/>
              <a:gd name="csY73" fmla="*/ 649736 h 1240128"/>
              <a:gd name="csX74" fmla="*/ 512154 w 697572"/>
              <a:gd name="csY74" fmla="*/ 794006 h 1240128"/>
              <a:gd name="csX75" fmla="*/ 525763 w 697572"/>
              <a:gd name="csY75" fmla="*/ 834323 h 1240128"/>
              <a:gd name="csX76" fmla="*/ 530555 w 697572"/>
              <a:gd name="csY76" fmla="*/ 845114 h 1240128"/>
              <a:gd name="csX77" fmla="*/ 554424 w 697572"/>
              <a:gd name="csY77" fmla="*/ 856618 h 1240128"/>
              <a:gd name="csX78" fmla="*/ 572880 w 697572"/>
              <a:gd name="csY78" fmla="*/ 862546 h 1240128"/>
              <a:gd name="csX79" fmla="*/ 578643 w 697572"/>
              <a:gd name="csY79" fmla="*/ 880396 h 1240128"/>
              <a:gd name="csX80" fmla="*/ 572188 w 697572"/>
              <a:gd name="csY80" fmla="*/ 899820 h 1240128"/>
              <a:gd name="csX81" fmla="*/ 582698 w 697572"/>
              <a:gd name="csY81" fmla="*/ 930382 h 1240128"/>
              <a:gd name="csX82" fmla="*/ 604747 w 697572"/>
              <a:gd name="csY82" fmla="*/ 960852 h 1240128"/>
              <a:gd name="csX83" fmla="*/ 613863 w 697572"/>
              <a:gd name="csY83" fmla="*/ 968311 h 1240128"/>
              <a:gd name="csX84" fmla="*/ 629435 w 697572"/>
              <a:gd name="csY84" fmla="*/ 981186 h 1240128"/>
              <a:gd name="csX85" fmla="*/ 633611 w 697572"/>
              <a:gd name="csY85" fmla="*/ 985609 h 1240128"/>
              <a:gd name="csX86" fmla="*/ 673790 w 697572"/>
              <a:gd name="csY86" fmla="*/ 1049348 h 1240128"/>
              <a:gd name="csX87" fmla="*/ 675873 w 697572"/>
              <a:gd name="csY87" fmla="*/ 1092839 h 1240128"/>
              <a:gd name="csX88" fmla="*/ 681668 w 697572"/>
              <a:gd name="csY88" fmla="*/ 1129292 h 1240128"/>
              <a:gd name="csX89" fmla="*/ 697338 w 697572"/>
              <a:gd name="csY89" fmla="*/ 1196079 h 1240128"/>
              <a:gd name="csX90" fmla="*/ 690637 w 697572"/>
              <a:gd name="csY90" fmla="*/ 1205035 h 1240128"/>
              <a:gd name="csX91" fmla="*/ 639777 w 697572"/>
              <a:gd name="csY91" fmla="*/ 1217994 h 1240128"/>
              <a:gd name="csX92" fmla="*/ 587072 w 697572"/>
              <a:gd name="csY92" fmla="*/ 1227761 h 1240128"/>
              <a:gd name="csX93" fmla="*/ 581793 w 697572"/>
              <a:gd name="csY93" fmla="*/ 1234401 h 1240128"/>
              <a:gd name="csX94" fmla="*/ 357446 w 697572"/>
              <a:gd name="csY94" fmla="*/ 903795 h 1240128"/>
              <a:gd name="csX95" fmla="*/ 344445 w 697572"/>
              <a:gd name="csY95" fmla="*/ 903795 h 1240128"/>
              <a:gd name="csX96" fmla="*/ 349212 w 697572"/>
              <a:gd name="csY96" fmla="*/ 950515 h 1240128"/>
              <a:gd name="csX97" fmla="*/ 349538 w 697572"/>
              <a:gd name="csY97" fmla="*/ 1069392 h 1240128"/>
              <a:gd name="csX98" fmla="*/ 349415 w 697572"/>
              <a:gd name="csY98" fmla="*/ 1108925 h 1240128"/>
              <a:gd name="csX99" fmla="*/ 647726 w 697572"/>
              <a:gd name="csY99" fmla="*/ 1089872 h 1240128"/>
              <a:gd name="csX100" fmla="*/ 647654 w 697572"/>
              <a:gd name="csY100" fmla="*/ 1076267 h 1240128"/>
              <a:gd name="csX101" fmla="*/ 610267 w 697572"/>
              <a:gd name="csY101" fmla="*/ 994126 h 1240128"/>
              <a:gd name="csX102" fmla="*/ 571459 w 697572"/>
              <a:gd name="csY102" fmla="*/ 956568 h 1240128"/>
              <a:gd name="csX103" fmla="*/ 541653 w 697572"/>
              <a:gd name="csY103" fmla="*/ 901544 h 1240128"/>
              <a:gd name="csX104" fmla="*/ 539477 w 697572"/>
              <a:gd name="csY104" fmla="*/ 895908 h 1240128"/>
              <a:gd name="csX105" fmla="*/ 357446 w 697572"/>
              <a:gd name="csY105" fmla="*/ 903795 h 1240128"/>
              <a:gd name="csX106" fmla="*/ 300108 w 697572"/>
              <a:gd name="csY106" fmla="*/ 85260 h 1240128"/>
              <a:gd name="csX107" fmla="*/ 290213 w 697572"/>
              <a:gd name="csY107" fmla="*/ 127888 h 1240128"/>
              <a:gd name="csX108" fmla="*/ 331056 w 697572"/>
              <a:gd name="csY108" fmla="*/ 214168 h 1240128"/>
              <a:gd name="csX109" fmla="*/ 424717 w 697572"/>
              <a:gd name="csY109" fmla="*/ 245160 h 1240128"/>
              <a:gd name="csX110" fmla="*/ 496752 w 697572"/>
              <a:gd name="csY110" fmla="*/ 141256 h 1240128"/>
              <a:gd name="csX111" fmla="*/ 390320 w 697572"/>
              <a:gd name="csY111" fmla="*/ 43995 h 1240128"/>
              <a:gd name="csX112" fmla="*/ 300108 w 697572"/>
              <a:gd name="csY112" fmla="*/ 85260 h 1240128"/>
              <a:gd name="csX113" fmla="*/ 343360 w 697572"/>
              <a:gd name="csY113" fmla="*/ 634332 h 1240128"/>
              <a:gd name="csX114" fmla="*/ 340877 w 697572"/>
              <a:gd name="csY114" fmla="*/ 732259 h 1240128"/>
              <a:gd name="csX115" fmla="*/ 338360 w 697572"/>
              <a:gd name="csY115" fmla="*/ 810538 h 1240128"/>
              <a:gd name="csX116" fmla="*/ 337115 w 697572"/>
              <a:gd name="csY116" fmla="*/ 817736 h 1240128"/>
              <a:gd name="csX117" fmla="*/ 336516 w 697572"/>
              <a:gd name="csY117" fmla="*/ 863022 h 1240128"/>
              <a:gd name="csX118" fmla="*/ 343436 w 697572"/>
              <a:gd name="csY118" fmla="*/ 864027 h 1240128"/>
              <a:gd name="csX119" fmla="*/ 406718 w 697572"/>
              <a:gd name="csY119" fmla="*/ 862982 h 1240128"/>
              <a:gd name="csX120" fmla="*/ 456888 w 697572"/>
              <a:gd name="csY120" fmla="*/ 861794 h 1240128"/>
              <a:gd name="csX121" fmla="*/ 495873 w 697572"/>
              <a:gd name="csY121" fmla="*/ 863963 h 1240128"/>
              <a:gd name="csX122" fmla="*/ 509286 w 697572"/>
              <a:gd name="csY122" fmla="*/ 863595 h 1240128"/>
              <a:gd name="csX123" fmla="*/ 516956 w 697572"/>
              <a:gd name="csY123" fmla="*/ 856791 h 1240128"/>
              <a:gd name="csX124" fmla="*/ 513920 w 697572"/>
              <a:gd name="csY124" fmla="*/ 848709 h 1240128"/>
              <a:gd name="csX125" fmla="*/ 506683 w 697572"/>
              <a:gd name="csY125" fmla="*/ 839054 h 1240128"/>
              <a:gd name="csX126" fmla="*/ 488629 w 697572"/>
              <a:gd name="csY126" fmla="*/ 799037 h 1240128"/>
              <a:gd name="csX127" fmla="*/ 456922 w 697572"/>
              <a:gd name="csY127" fmla="*/ 696297 h 1240128"/>
              <a:gd name="csX128" fmla="*/ 441346 w 697572"/>
              <a:gd name="csY128" fmla="*/ 619885 h 1240128"/>
              <a:gd name="csX129" fmla="*/ 435963 w 697572"/>
              <a:gd name="csY129" fmla="*/ 582529 h 1240128"/>
              <a:gd name="csX130" fmla="*/ 429497 w 697572"/>
              <a:gd name="csY130" fmla="*/ 521990 h 1240128"/>
              <a:gd name="csX131" fmla="*/ 426887 w 697572"/>
              <a:gd name="csY131" fmla="*/ 471989 h 1240128"/>
              <a:gd name="csX132" fmla="*/ 413744 w 697572"/>
              <a:gd name="csY132" fmla="*/ 461077 h 1240128"/>
              <a:gd name="csX133" fmla="*/ 353573 w 697572"/>
              <a:gd name="csY133" fmla="*/ 461120 h 1240128"/>
              <a:gd name="csX134" fmla="*/ 344160 w 697572"/>
              <a:gd name="csY134" fmla="*/ 462286 h 1240128"/>
              <a:gd name="csX135" fmla="*/ 343404 w 697572"/>
              <a:gd name="csY135" fmla="*/ 469192 h 1240128"/>
              <a:gd name="csX136" fmla="*/ 343469 w 697572"/>
              <a:gd name="csY136" fmla="*/ 574797 h 1240128"/>
              <a:gd name="csX137" fmla="*/ 345522 w 697572"/>
              <a:gd name="csY137" fmla="*/ 591669 h 1240128"/>
              <a:gd name="csX138" fmla="*/ 343360 w 697572"/>
              <a:gd name="csY138" fmla="*/ 634332 h 1240128"/>
              <a:gd name="csX139" fmla="*/ 416946 w 697572"/>
              <a:gd name="csY139" fmla="*/ 385943 h 1240128"/>
              <a:gd name="csX140" fmla="*/ 401091 w 697572"/>
              <a:gd name="csY140" fmla="*/ 387162 h 1240128"/>
              <a:gd name="csX141" fmla="*/ 369218 w 697572"/>
              <a:gd name="csY141" fmla="*/ 387708 h 1240128"/>
              <a:gd name="csX142" fmla="*/ 351833 w 697572"/>
              <a:gd name="csY142" fmla="*/ 398991 h 1240128"/>
              <a:gd name="csX143" fmla="*/ 349778 w 697572"/>
              <a:gd name="csY143" fmla="*/ 426021 h 1240128"/>
              <a:gd name="csX144" fmla="*/ 361839 w 697572"/>
              <a:gd name="csY144" fmla="*/ 426538 h 1240128"/>
              <a:gd name="csX145" fmla="*/ 455022 w 697572"/>
              <a:gd name="csY145" fmla="*/ 426922 h 1240128"/>
              <a:gd name="csX146" fmla="*/ 481958 w 697572"/>
              <a:gd name="csY146" fmla="*/ 426527 h 1240128"/>
              <a:gd name="csX147" fmla="*/ 499817 w 697572"/>
              <a:gd name="csY147" fmla="*/ 419888 h 1240128"/>
              <a:gd name="csX148" fmla="*/ 499439 w 697572"/>
              <a:gd name="csY148" fmla="*/ 400719 h 1240128"/>
              <a:gd name="csX149" fmla="*/ 468062 w 697572"/>
              <a:gd name="csY149" fmla="*/ 387775 h 1240128"/>
              <a:gd name="csX150" fmla="*/ 416946 w 697572"/>
              <a:gd name="csY150" fmla="*/ 385943 h 1240128"/>
              <a:gd name="csX151" fmla="*/ 636802 w 697572"/>
              <a:gd name="csY151" fmla="*/ 1190940 h 1240128"/>
              <a:gd name="csX152" fmla="*/ 666492 w 697572"/>
              <a:gd name="csY152" fmla="*/ 1184186 h 1240128"/>
              <a:gd name="csX153" fmla="*/ 674465 w 697572"/>
              <a:gd name="csY153" fmla="*/ 1170880 h 1240128"/>
              <a:gd name="csX154" fmla="*/ 662462 w 697572"/>
              <a:gd name="csY154" fmla="*/ 1141464 h 1240128"/>
              <a:gd name="csX155" fmla="*/ 645564 w 697572"/>
              <a:gd name="csY155" fmla="*/ 1131937 h 1240128"/>
              <a:gd name="csX156" fmla="*/ 627387 w 697572"/>
              <a:gd name="csY156" fmla="*/ 1133618 h 1240128"/>
              <a:gd name="csX157" fmla="*/ 583917 w 697572"/>
              <a:gd name="csY157" fmla="*/ 1139222 h 1240128"/>
              <a:gd name="csX158" fmla="*/ 543741 w 697572"/>
              <a:gd name="csY158" fmla="*/ 1141869 h 1240128"/>
              <a:gd name="csX159" fmla="*/ 512146 w 697572"/>
              <a:gd name="csY159" fmla="*/ 1144418 h 1240128"/>
              <a:gd name="csX160" fmla="*/ 447711 w 697572"/>
              <a:gd name="csY160" fmla="*/ 1148973 h 1240128"/>
              <a:gd name="csX161" fmla="*/ 351979 w 697572"/>
              <a:gd name="csY161" fmla="*/ 1149200 h 1240128"/>
              <a:gd name="csX162" fmla="*/ 338443 w 697572"/>
              <a:gd name="csY162" fmla="*/ 1150040 h 1240128"/>
              <a:gd name="csX163" fmla="*/ 338451 w 697572"/>
              <a:gd name="csY163" fmla="*/ 1190780 h 1240128"/>
              <a:gd name="csX164" fmla="*/ 351082 w 697572"/>
              <a:gd name="csY164" fmla="*/ 1207015 h 1240128"/>
              <a:gd name="csX165" fmla="*/ 358298 w 697572"/>
              <a:gd name="csY165" fmla="*/ 1208094 h 1240128"/>
              <a:gd name="csX166" fmla="*/ 521229 w 697572"/>
              <a:gd name="csY166" fmla="*/ 1205646 h 1240128"/>
              <a:gd name="csX167" fmla="*/ 523675 w 697572"/>
              <a:gd name="csY167" fmla="*/ 1205490 h 1240128"/>
              <a:gd name="csX168" fmla="*/ 580423 w 697572"/>
              <a:gd name="csY168" fmla="*/ 1198350 h 1240128"/>
              <a:gd name="csX169" fmla="*/ 636802 w 697572"/>
              <a:gd name="csY169" fmla="*/ 1190940 h 124012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</a:cxnLst>
            <a:rect l="l" t="t" r="r" b="b"/>
            <a:pathLst>
              <a:path w="697572" h="1240128">
                <a:moveTo>
                  <a:pt x="581793" y="1234401"/>
                </a:moveTo>
                <a:cubicBezTo>
                  <a:pt x="580693" y="1234661"/>
                  <a:pt x="579594" y="1234922"/>
                  <a:pt x="577427" y="1234156"/>
                </a:cubicBezTo>
                <a:cubicBezTo>
                  <a:pt x="571216" y="1227899"/>
                  <a:pt x="564912" y="1230441"/>
                  <a:pt x="559133" y="1230909"/>
                </a:cubicBezTo>
                <a:cubicBezTo>
                  <a:pt x="544971" y="1232056"/>
                  <a:pt x="530869" y="1233971"/>
                  <a:pt x="516706" y="1235117"/>
                </a:cubicBezTo>
                <a:cubicBezTo>
                  <a:pt x="502910" y="1236232"/>
                  <a:pt x="489077" y="1237097"/>
                  <a:pt x="475244" y="1237506"/>
                </a:cubicBezTo>
                <a:cubicBezTo>
                  <a:pt x="440539" y="1238535"/>
                  <a:pt x="405696" y="1241458"/>
                  <a:pt x="371154" y="1239428"/>
                </a:cubicBezTo>
                <a:cubicBezTo>
                  <a:pt x="339645" y="1237575"/>
                  <a:pt x="308239" y="1238753"/>
                  <a:pt x="276813" y="1237654"/>
                </a:cubicBezTo>
                <a:cubicBezTo>
                  <a:pt x="273949" y="1237553"/>
                  <a:pt x="271079" y="1237652"/>
                  <a:pt x="268212" y="1237635"/>
                </a:cubicBezTo>
                <a:cubicBezTo>
                  <a:pt x="266165" y="1237623"/>
                  <a:pt x="264111" y="1237668"/>
                  <a:pt x="262072" y="1237523"/>
                </a:cubicBezTo>
                <a:cubicBezTo>
                  <a:pt x="239751" y="1235944"/>
                  <a:pt x="217441" y="1234201"/>
                  <a:pt x="195111" y="1232775"/>
                </a:cubicBezTo>
                <a:cubicBezTo>
                  <a:pt x="178437" y="1231710"/>
                  <a:pt x="161712" y="1231378"/>
                  <a:pt x="145060" y="1230076"/>
                </a:cubicBezTo>
                <a:cubicBezTo>
                  <a:pt x="134969" y="1229287"/>
                  <a:pt x="124987" y="1227177"/>
                  <a:pt x="114933" y="1225832"/>
                </a:cubicBezTo>
                <a:cubicBezTo>
                  <a:pt x="100834" y="1223946"/>
                  <a:pt x="86554" y="1223022"/>
                  <a:pt x="72642" y="1220237"/>
                </a:cubicBezTo>
                <a:cubicBezTo>
                  <a:pt x="51920" y="1216091"/>
                  <a:pt x="31443" y="1210723"/>
                  <a:pt x="10894" y="1205737"/>
                </a:cubicBezTo>
                <a:cubicBezTo>
                  <a:pt x="9027" y="1205284"/>
                  <a:pt x="6196" y="1204140"/>
                  <a:pt x="5856" y="1202799"/>
                </a:cubicBezTo>
                <a:cubicBezTo>
                  <a:pt x="3474" y="1193418"/>
                  <a:pt x="-438" y="1183796"/>
                  <a:pt x="40" y="1174450"/>
                </a:cubicBezTo>
                <a:cubicBezTo>
                  <a:pt x="1079" y="1154149"/>
                  <a:pt x="9757" y="1135843"/>
                  <a:pt x="19831" y="1118410"/>
                </a:cubicBezTo>
                <a:cubicBezTo>
                  <a:pt x="21968" y="1114713"/>
                  <a:pt x="22970" y="1111858"/>
                  <a:pt x="22004" y="1107240"/>
                </a:cubicBezTo>
                <a:cubicBezTo>
                  <a:pt x="17168" y="1084118"/>
                  <a:pt x="17717" y="1061168"/>
                  <a:pt x="25947" y="1038650"/>
                </a:cubicBezTo>
                <a:cubicBezTo>
                  <a:pt x="32954" y="1019481"/>
                  <a:pt x="44478" y="1003118"/>
                  <a:pt x="58234" y="988567"/>
                </a:cubicBezTo>
                <a:cubicBezTo>
                  <a:pt x="77769" y="967902"/>
                  <a:pt x="97978" y="947832"/>
                  <a:pt x="118645" y="928298"/>
                </a:cubicBezTo>
                <a:cubicBezTo>
                  <a:pt x="130104" y="917467"/>
                  <a:pt x="131835" y="905961"/>
                  <a:pt x="126320" y="892015"/>
                </a:cubicBezTo>
                <a:cubicBezTo>
                  <a:pt x="123798" y="885637"/>
                  <a:pt x="122123" y="878904"/>
                  <a:pt x="120345" y="872258"/>
                </a:cubicBezTo>
                <a:cubicBezTo>
                  <a:pt x="119029" y="867341"/>
                  <a:pt x="120162" y="863613"/>
                  <a:pt x="125668" y="861640"/>
                </a:cubicBezTo>
                <a:cubicBezTo>
                  <a:pt x="135266" y="858201"/>
                  <a:pt x="144535" y="853788"/>
                  <a:pt x="154237" y="850716"/>
                </a:cubicBezTo>
                <a:cubicBezTo>
                  <a:pt x="161882" y="848296"/>
                  <a:pt x="167110" y="843897"/>
                  <a:pt x="170248" y="836767"/>
                </a:cubicBezTo>
                <a:cubicBezTo>
                  <a:pt x="176168" y="823316"/>
                  <a:pt x="182193" y="809907"/>
                  <a:pt x="187840" y="796341"/>
                </a:cubicBezTo>
                <a:cubicBezTo>
                  <a:pt x="195194" y="778679"/>
                  <a:pt x="202250" y="760894"/>
                  <a:pt x="209346" y="743126"/>
                </a:cubicBezTo>
                <a:cubicBezTo>
                  <a:pt x="210083" y="741280"/>
                  <a:pt x="210252" y="739200"/>
                  <a:pt x="210630" y="737219"/>
                </a:cubicBezTo>
                <a:cubicBezTo>
                  <a:pt x="211694" y="731645"/>
                  <a:pt x="212425" y="725987"/>
                  <a:pt x="213836" y="720505"/>
                </a:cubicBezTo>
                <a:cubicBezTo>
                  <a:pt x="218406" y="702764"/>
                  <a:pt x="223811" y="685219"/>
                  <a:pt x="227791" y="667353"/>
                </a:cubicBezTo>
                <a:cubicBezTo>
                  <a:pt x="232826" y="644755"/>
                  <a:pt x="237367" y="622009"/>
                  <a:pt x="241013" y="599151"/>
                </a:cubicBezTo>
                <a:cubicBezTo>
                  <a:pt x="244018" y="580319"/>
                  <a:pt x="246001" y="561272"/>
                  <a:pt x="247322" y="542242"/>
                </a:cubicBezTo>
                <a:cubicBezTo>
                  <a:pt x="248312" y="527975"/>
                  <a:pt x="246344" y="513451"/>
                  <a:pt x="247948" y="499296"/>
                </a:cubicBezTo>
                <a:cubicBezTo>
                  <a:pt x="249066" y="489432"/>
                  <a:pt x="247923" y="480014"/>
                  <a:pt x="247577" y="470384"/>
                </a:cubicBezTo>
                <a:cubicBezTo>
                  <a:pt x="247364" y="464453"/>
                  <a:pt x="245121" y="461397"/>
                  <a:pt x="238877" y="460987"/>
                </a:cubicBezTo>
                <a:cubicBezTo>
                  <a:pt x="233224" y="460615"/>
                  <a:pt x="227461" y="459920"/>
                  <a:pt x="222040" y="458353"/>
                </a:cubicBezTo>
                <a:cubicBezTo>
                  <a:pt x="203991" y="453134"/>
                  <a:pt x="185737" y="448229"/>
                  <a:pt x="172193" y="433714"/>
                </a:cubicBezTo>
                <a:cubicBezTo>
                  <a:pt x="162702" y="423544"/>
                  <a:pt x="160887" y="408134"/>
                  <a:pt x="168410" y="396591"/>
                </a:cubicBezTo>
                <a:cubicBezTo>
                  <a:pt x="178294" y="381428"/>
                  <a:pt x="193736" y="373793"/>
                  <a:pt x="209826" y="367773"/>
                </a:cubicBezTo>
                <a:cubicBezTo>
                  <a:pt x="223159" y="362784"/>
                  <a:pt x="237124" y="359493"/>
                  <a:pt x="250732" y="355208"/>
                </a:cubicBezTo>
                <a:cubicBezTo>
                  <a:pt x="253085" y="354467"/>
                  <a:pt x="255058" y="352518"/>
                  <a:pt x="258289" y="350426"/>
                </a:cubicBezTo>
                <a:cubicBezTo>
                  <a:pt x="250173" y="342610"/>
                  <a:pt x="241833" y="337880"/>
                  <a:pt x="233274" y="333513"/>
                </a:cubicBezTo>
                <a:cubicBezTo>
                  <a:pt x="232377" y="333055"/>
                  <a:pt x="230890" y="333758"/>
                  <a:pt x="229677" y="333922"/>
                </a:cubicBezTo>
                <a:cubicBezTo>
                  <a:pt x="229677" y="333922"/>
                  <a:pt x="230323" y="333834"/>
                  <a:pt x="230149" y="332979"/>
                </a:cubicBezTo>
                <a:cubicBezTo>
                  <a:pt x="229023" y="330409"/>
                  <a:pt x="228502" y="328059"/>
                  <a:pt x="227053" y="327076"/>
                </a:cubicBezTo>
                <a:cubicBezTo>
                  <a:pt x="213615" y="317962"/>
                  <a:pt x="204643" y="305332"/>
                  <a:pt x="196769" y="291380"/>
                </a:cubicBezTo>
                <a:cubicBezTo>
                  <a:pt x="191792" y="282564"/>
                  <a:pt x="185421" y="274665"/>
                  <a:pt x="184389" y="264042"/>
                </a:cubicBezTo>
                <a:cubicBezTo>
                  <a:pt x="184179" y="261874"/>
                  <a:pt x="181925" y="259908"/>
                  <a:pt x="180630" y="257839"/>
                </a:cubicBezTo>
                <a:cubicBezTo>
                  <a:pt x="179137" y="255454"/>
                  <a:pt x="177317" y="253204"/>
                  <a:pt x="176231" y="250643"/>
                </a:cubicBezTo>
                <a:cubicBezTo>
                  <a:pt x="161865" y="216749"/>
                  <a:pt x="159606" y="182060"/>
                  <a:pt x="170073" y="146723"/>
                </a:cubicBezTo>
                <a:cubicBezTo>
                  <a:pt x="173311" y="135795"/>
                  <a:pt x="177248" y="125074"/>
                  <a:pt x="180929" y="114280"/>
                </a:cubicBezTo>
                <a:cubicBezTo>
                  <a:pt x="182396" y="109981"/>
                  <a:pt x="183922" y="105742"/>
                  <a:pt x="180839" y="101501"/>
                </a:cubicBezTo>
                <a:cubicBezTo>
                  <a:pt x="192473" y="75833"/>
                  <a:pt x="211344" y="56271"/>
                  <a:pt x="233536" y="39653"/>
                </a:cubicBezTo>
                <a:cubicBezTo>
                  <a:pt x="267321" y="14353"/>
                  <a:pt x="305621" y="873"/>
                  <a:pt x="347618" y="35"/>
                </a:cubicBezTo>
                <a:cubicBezTo>
                  <a:pt x="379125" y="-593"/>
                  <a:pt x="409214" y="7172"/>
                  <a:pt x="437139" y="22396"/>
                </a:cubicBezTo>
                <a:cubicBezTo>
                  <a:pt x="481844" y="46766"/>
                  <a:pt x="514077" y="82116"/>
                  <a:pt x="529052" y="131093"/>
                </a:cubicBezTo>
                <a:cubicBezTo>
                  <a:pt x="543544" y="178495"/>
                  <a:pt x="541630" y="225548"/>
                  <a:pt x="518497" y="271517"/>
                </a:cubicBezTo>
                <a:cubicBezTo>
                  <a:pt x="511428" y="277096"/>
                  <a:pt x="503848" y="281136"/>
                  <a:pt x="500808" y="287385"/>
                </a:cubicBezTo>
                <a:cubicBezTo>
                  <a:pt x="493932" y="301522"/>
                  <a:pt x="483805" y="312513"/>
                  <a:pt x="472948" y="323290"/>
                </a:cubicBezTo>
                <a:cubicBezTo>
                  <a:pt x="470972" y="325253"/>
                  <a:pt x="470533" y="328767"/>
                  <a:pt x="469385" y="331565"/>
                </a:cubicBezTo>
                <a:cubicBezTo>
                  <a:pt x="469385" y="331565"/>
                  <a:pt x="469172" y="331584"/>
                  <a:pt x="468293" y="331320"/>
                </a:cubicBezTo>
                <a:cubicBezTo>
                  <a:pt x="461937" y="330836"/>
                  <a:pt x="458618" y="332772"/>
                  <a:pt x="459542" y="338942"/>
                </a:cubicBezTo>
                <a:cubicBezTo>
                  <a:pt x="459542" y="338942"/>
                  <a:pt x="459473" y="338913"/>
                  <a:pt x="458492" y="338671"/>
                </a:cubicBezTo>
                <a:cubicBezTo>
                  <a:pt x="450936" y="342653"/>
                  <a:pt x="440712" y="341355"/>
                  <a:pt x="436978" y="352226"/>
                </a:cubicBezTo>
                <a:cubicBezTo>
                  <a:pt x="449178" y="355911"/>
                  <a:pt x="460733" y="359469"/>
                  <a:pt x="472329" y="362890"/>
                </a:cubicBezTo>
                <a:cubicBezTo>
                  <a:pt x="491728" y="368613"/>
                  <a:pt x="510182" y="375784"/>
                  <a:pt x="523779" y="391962"/>
                </a:cubicBezTo>
                <a:cubicBezTo>
                  <a:pt x="535849" y="406326"/>
                  <a:pt x="534845" y="420076"/>
                  <a:pt x="527344" y="430096"/>
                </a:cubicBezTo>
                <a:cubicBezTo>
                  <a:pt x="521323" y="438139"/>
                  <a:pt x="513928" y="445333"/>
                  <a:pt x="504112" y="449628"/>
                </a:cubicBezTo>
                <a:cubicBezTo>
                  <a:pt x="489776" y="455901"/>
                  <a:pt x="475173" y="460486"/>
                  <a:pt x="459430" y="461116"/>
                </a:cubicBezTo>
                <a:cubicBezTo>
                  <a:pt x="448415" y="461557"/>
                  <a:pt x="446384" y="463369"/>
                  <a:pt x="446666" y="474229"/>
                </a:cubicBezTo>
                <a:cubicBezTo>
                  <a:pt x="447164" y="493376"/>
                  <a:pt x="447839" y="512533"/>
                  <a:pt x="449133" y="531639"/>
                </a:cubicBezTo>
                <a:cubicBezTo>
                  <a:pt x="450424" y="550696"/>
                  <a:pt x="451783" y="569809"/>
                  <a:pt x="454546" y="588688"/>
                </a:cubicBezTo>
                <a:cubicBezTo>
                  <a:pt x="457543" y="609164"/>
                  <a:pt x="462165" y="629403"/>
                  <a:pt x="466126" y="649736"/>
                </a:cubicBezTo>
                <a:cubicBezTo>
                  <a:pt x="475845" y="699621"/>
                  <a:pt x="493414" y="746980"/>
                  <a:pt x="512154" y="794006"/>
                </a:cubicBezTo>
                <a:cubicBezTo>
                  <a:pt x="517387" y="807138"/>
                  <a:pt x="525145" y="819463"/>
                  <a:pt x="525763" y="834323"/>
                </a:cubicBezTo>
                <a:cubicBezTo>
                  <a:pt x="525919" y="838081"/>
                  <a:pt x="527739" y="843335"/>
                  <a:pt x="530555" y="845114"/>
                </a:cubicBezTo>
                <a:cubicBezTo>
                  <a:pt x="537981" y="849801"/>
                  <a:pt x="546243" y="853278"/>
                  <a:pt x="554424" y="856618"/>
                </a:cubicBezTo>
                <a:cubicBezTo>
                  <a:pt x="560391" y="859054"/>
                  <a:pt x="567041" y="859887"/>
                  <a:pt x="572880" y="862546"/>
                </a:cubicBezTo>
                <a:cubicBezTo>
                  <a:pt x="581470" y="866458"/>
                  <a:pt x="582467" y="871415"/>
                  <a:pt x="578643" y="880396"/>
                </a:cubicBezTo>
                <a:cubicBezTo>
                  <a:pt x="575969" y="886677"/>
                  <a:pt x="572900" y="893182"/>
                  <a:pt x="572188" y="899820"/>
                </a:cubicBezTo>
                <a:cubicBezTo>
                  <a:pt x="570960" y="911271"/>
                  <a:pt x="576506" y="920944"/>
                  <a:pt x="582698" y="930382"/>
                </a:cubicBezTo>
                <a:cubicBezTo>
                  <a:pt x="589569" y="940856"/>
                  <a:pt x="600933" y="947930"/>
                  <a:pt x="604747" y="960852"/>
                </a:cubicBezTo>
                <a:cubicBezTo>
                  <a:pt x="605684" y="964030"/>
                  <a:pt x="610294" y="967128"/>
                  <a:pt x="613863" y="968311"/>
                </a:cubicBezTo>
                <a:cubicBezTo>
                  <a:pt x="620963" y="970665"/>
                  <a:pt x="625924" y="974774"/>
                  <a:pt x="629435" y="981186"/>
                </a:cubicBezTo>
                <a:cubicBezTo>
                  <a:pt x="630381" y="982913"/>
                  <a:pt x="631977" y="984459"/>
                  <a:pt x="633611" y="985609"/>
                </a:cubicBezTo>
                <a:cubicBezTo>
                  <a:pt x="655878" y="1001272"/>
                  <a:pt x="668032" y="1023762"/>
                  <a:pt x="673790" y="1049348"/>
                </a:cubicBezTo>
                <a:cubicBezTo>
                  <a:pt x="676936" y="1063327"/>
                  <a:pt x="679769" y="1077802"/>
                  <a:pt x="675873" y="1092839"/>
                </a:cubicBezTo>
                <a:cubicBezTo>
                  <a:pt x="672677" y="1105174"/>
                  <a:pt x="673042" y="1116963"/>
                  <a:pt x="681668" y="1129292"/>
                </a:cubicBezTo>
                <a:cubicBezTo>
                  <a:pt x="695321" y="1148802"/>
                  <a:pt x="698550" y="1172235"/>
                  <a:pt x="697338" y="1196079"/>
                </a:cubicBezTo>
                <a:cubicBezTo>
                  <a:pt x="697087" y="1201014"/>
                  <a:pt x="694979" y="1203886"/>
                  <a:pt x="690637" y="1205035"/>
                </a:cubicBezTo>
                <a:cubicBezTo>
                  <a:pt x="673723" y="1209511"/>
                  <a:pt x="656856" y="1214241"/>
                  <a:pt x="639777" y="1217994"/>
                </a:cubicBezTo>
                <a:cubicBezTo>
                  <a:pt x="622334" y="1221827"/>
                  <a:pt x="604691" y="1224790"/>
                  <a:pt x="587072" y="1227761"/>
                </a:cubicBezTo>
                <a:cubicBezTo>
                  <a:pt x="582708" y="1228497"/>
                  <a:pt x="581724" y="1230736"/>
                  <a:pt x="581793" y="1234401"/>
                </a:cubicBezTo>
                <a:moveTo>
                  <a:pt x="357446" y="903795"/>
                </a:moveTo>
                <a:cubicBezTo>
                  <a:pt x="353141" y="903795"/>
                  <a:pt x="348835" y="903795"/>
                  <a:pt x="344445" y="903795"/>
                </a:cubicBezTo>
                <a:cubicBezTo>
                  <a:pt x="346169" y="920562"/>
                  <a:pt x="347908" y="935520"/>
                  <a:pt x="349212" y="950515"/>
                </a:cubicBezTo>
                <a:cubicBezTo>
                  <a:pt x="352656" y="990125"/>
                  <a:pt x="351941" y="1029743"/>
                  <a:pt x="349538" y="1069392"/>
                </a:cubicBezTo>
                <a:cubicBezTo>
                  <a:pt x="348759" y="1082241"/>
                  <a:pt x="349415" y="1095176"/>
                  <a:pt x="349415" y="1108925"/>
                </a:cubicBezTo>
                <a:cubicBezTo>
                  <a:pt x="449467" y="1111953"/>
                  <a:pt x="548509" y="1104712"/>
                  <a:pt x="647726" y="1089872"/>
                </a:cubicBezTo>
                <a:cubicBezTo>
                  <a:pt x="647726" y="1084313"/>
                  <a:pt x="648180" y="1080225"/>
                  <a:pt x="647654" y="1076267"/>
                </a:cubicBezTo>
                <a:cubicBezTo>
                  <a:pt x="643515" y="1045124"/>
                  <a:pt x="633172" y="1016714"/>
                  <a:pt x="610267" y="994126"/>
                </a:cubicBezTo>
                <a:cubicBezTo>
                  <a:pt x="597451" y="981485"/>
                  <a:pt x="584392" y="969090"/>
                  <a:pt x="571459" y="956568"/>
                </a:cubicBezTo>
                <a:cubicBezTo>
                  <a:pt x="555751" y="941359"/>
                  <a:pt x="544836" y="923558"/>
                  <a:pt x="541653" y="901544"/>
                </a:cubicBezTo>
                <a:cubicBezTo>
                  <a:pt x="541430" y="900007"/>
                  <a:pt x="540528" y="898570"/>
                  <a:pt x="539477" y="895908"/>
                </a:cubicBezTo>
                <a:cubicBezTo>
                  <a:pt x="479736" y="901652"/>
                  <a:pt x="419815" y="904536"/>
                  <a:pt x="357446" y="903795"/>
                </a:cubicBezTo>
                <a:moveTo>
                  <a:pt x="300108" y="85260"/>
                </a:moveTo>
                <a:cubicBezTo>
                  <a:pt x="293656" y="98745"/>
                  <a:pt x="289202" y="113094"/>
                  <a:pt x="290213" y="127888"/>
                </a:cubicBezTo>
                <a:cubicBezTo>
                  <a:pt x="292527" y="161736"/>
                  <a:pt x="304185" y="191723"/>
                  <a:pt x="331056" y="214168"/>
                </a:cubicBezTo>
                <a:cubicBezTo>
                  <a:pt x="358172" y="236816"/>
                  <a:pt x="388435" y="249934"/>
                  <a:pt x="424717" y="245160"/>
                </a:cubicBezTo>
                <a:cubicBezTo>
                  <a:pt x="468593" y="239387"/>
                  <a:pt x="509574" y="203365"/>
                  <a:pt x="496752" y="141256"/>
                </a:cubicBezTo>
                <a:cubicBezTo>
                  <a:pt x="487021" y="94124"/>
                  <a:pt x="447261" y="51874"/>
                  <a:pt x="390320" y="43995"/>
                </a:cubicBezTo>
                <a:cubicBezTo>
                  <a:pt x="353241" y="38865"/>
                  <a:pt x="321136" y="48750"/>
                  <a:pt x="300108" y="85260"/>
                </a:cubicBezTo>
                <a:moveTo>
                  <a:pt x="343360" y="634332"/>
                </a:moveTo>
                <a:cubicBezTo>
                  <a:pt x="342539" y="666975"/>
                  <a:pt x="341785" y="699619"/>
                  <a:pt x="340877" y="732259"/>
                </a:cubicBezTo>
                <a:cubicBezTo>
                  <a:pt x="340151" y="758355"/>
                  <a:pt x="339265" y="784447"/>
                  <a:pt x="338360" y="810538"/>
                </a:cubicBezTo>
                <a:cubicBezTo>
                  <a:pt x="338277" y="812948"/>
                  <a:pt x="337465" y="815325"/>
                  <a:pt x="337115" y="817736"/>
                </a:cubicBezTo>
                <a:cubicBezTo>
                  <a:pt x="334935" y="832710"/>
                  <a:pt x="336026" y="847647"/>
                  <a:pt x="336516" y="863022"/>
                </a:cubicBezTo>
                <a:cubicBezTo>
                  <a:pt x="339537" y="863479"/>
                  <a:pt x="341490" y="864053"/>
                  <a:pt x="343436" y="864027"/>
                </a:cubicBezTo>
                <a:cubicBezTo>
                  <a:pt x="364531" y="863739"/>
                  <a:pt x="385626" y="863422"/>
                  <a:pt x="406718" y="862982"/>
                </a:cubicBezTo>
                <a:cubicBezTo>
                  <a:pt x="423444" y="862634"/>
                  <a:pt x="440168" y="861675"/>
                  <a:pt x="456888" y="861794"/>
                </a:cubicBezTo>
                <a:cubicBezTo>
                  <a:pt x="469887" y="861886"/>
                  <a:pt x="482872" y="863302"/>
                  <a:pt x="495873" y="863963"/>
                </a:cubicBezTo>
                <a:cubicBezTo>
                  <a:pt x="500358" y="864191"/>
                  <a:pt x="505108" y="864773"/>
                  <a:pt x="509286" y="863595"/>
                </a:cubicBezTo>
                <a:cubicBezTo>
                  <a:pt x="512346" y="862732"/>
                  <a:pt x="515714" y="859703"/>
                  <a:pt x="516956" y="856791"/>
                </a:cubicBezTo>
                <a:cubicBezTo>
                  <a:pt x="517783" y="854851"/>
                  <a:pt x="515475" y="851192"/>
                  <a:pt x="513920" y="848709"/>
                </a:cubicBezTo>
                <a:cubicBezTo>
                  <a:pt x="511791" y="845308"/>
                  <a:pt x="508393" y="842606"/>
                  <a:pt x="506683" y="839054"/>
                </a:cubicBezTo>
                <a:cubicBezTo>
                  <a:pt x="500331" y="825864"/>
                  <a:pt x="493224" y="812855"/>
                  <a:pt x="488629" y="799037"/>
                </a:cubicBezTo>
                <a:cubicBezTo>
                  <a:pt x="477322" y="765031"/>
                  <a:pt x="466537" y="730814"/>
                  <a:pt x="456922" y="696297"/>
                </a:cubicBezTo>
                <a:cubicBezTo>
                  <a:pt x="449953" y="671276"/>
                  <a:pt x="443477" y="646020"/>
                  <a:pt x="441346" y="619885"/>
                </a:cubicBezTo>
                <a:cubicBezTo>
                  <a:pt x="440327" y="607371"/>
                  <a:pt x="437466" y="595018"/>
                  <a:pt x="435963" y="582529"/>
                </a:cubicBezTo>
                <a:cubicBezTo>
                  <a:pt x="433539" y="562380"/>
                  <a:pt x="431154" y="542212"/>
                  <a:pt x="429497" y="521990"/>
                </a:cubicBezTo>
                <a:cubicBezTo>
                  <a:pt x="428135" y="505363"/>
                  <a:pt x="428437" y="488593"/>
                  <a:pt x="426887" y="471989"/>
                </a:cubicBezTo>
                <a:cubicBezTo>
                  <a:pt x="425874" y="461140"/>
                  <a:pt x="424983" y="461120"/>
                  <a:pt x="413744" y="461077"/>
                </a:cubicBezTo>
                <a:cubicBezTo>
                  <a:pt x="393687" y="461000"/>
                  <a:pt x="373630" y="461011"/>
                  <a:pt x="353573" y="461120"/>
                </a:cubicBezTo>
                <a:cubicBezTo>
                  <a:pt x="350472" y="461137"/>
                  <a:pt x="347374" y="461869"/>
                  <a:pt x="344160" y="462286"/>
                </a:cubicBezTo>
                <a:cubicBezTo>
                  <a:pt x="343828" y="465198"/>
                  <a:pt x="343406" y="467195"/>
                  <a:pt x="343404" y="469192"/>
                </a:cubicBezTo>
                <a:cubicBezTo>
                  <a:pt x="343360" y="504394"/>
                  <a:pt x="343267" y="539596"/>
                  <a:pt x="343469" y="574797"/>
                </a:cubicBezTo>
                <a:cubicBezTo>
                  <a:pt x="343501" y="580426"/>
                  <a:pt x="345652" y="586065"/>
                  <a:pt x="345522" y="591669"/>
                </a:cubicBezTo>
                <a:cubicBezTo>
                  <a:pt x="345214" y="605082"/>
                  <a:pt x="344131" y="618478"/>
                  <a:pt x="343360" y="634332"/>
                </a:cubicBezTo>
                <a:moveTo>
                  <a:pt x="416946" y="385943"/>
                </a:moveTo>
                <a:cubicBezTo>
                  <a:pt x="411661" y="386365"/>
                  <a:pt x="406384" y="387006"/>
                  <a:pt x="401091" y="387162"/>
                </a:cubicBezTo>
                <a:cubicBezTo>
                  <a:pt x="390470" y="387477"/>
                  <a:pt x="379841" y="387447"/>
                  <a:pt x="369218" y="387708"/>
                </a:cubicBezTo>
                <a:cubicBezTo>
                  <a:pt x="361167" y="387906"/>
                  <a:pt x="354429" y="391368"/>
                  <a:pt x="351833" y="398991"/>
                </a:cubicBezTo>
                <a:cubicBezTo>
                  <a:pt x="348989" y="407342"/>
                  <a:pt x="347050" y="416214"/>
                  <a:pt x="349778" y="426021"/>
                </a:cubicBezTo>
                <a:cubicBezTo>
                  <a:pt x="353876" y="426204"/>
                  <a:pt x="357857" y="426517"/>
                  <a:pt x="361839" y="426538"/>
                </a:cubicBezTo>
                <a:cubicBezTo>
                  <a:pt x="392900" y="426701"/>
                  <a:pt x="423961" y="426826"/>
                  <a:pt x="455022" y="426922"/>
                </a:cubicBezTo>
                <a:cubicBezTo>
                  <a:pt x="464013" y="426950"/>
                  <a:pt x="473106" y="427654"/>
                  <a:pt x="481958" y="426527"/>
                </a:cubicBezTo>
                <a:cubicBezTo>
                  <a:pt x="488144" y="425740"/>
                  <a:pt x="494821" y="423501"/>
                  <a:pt x="499817" y="419888"/>
                </a:cubicBezTo>
                <a:cubicBezTo>
                  <a:pt x="507869" y="414066"/>
                  <a:pt x="507286" y="406755"/>
                  <a:pt x="499439" y="400719"/>
                </a:cubicBezTo>
                <a:cubicBezTo>
                  <a:pt x="490179" y="393597"/>
                  <a:pt x="479486" y="388885"/>
                  <a:pt x="468062" y="387775"/>
                </a:cubicBezTo>
                <a:cubicBezTo>
                  <a:pt x="451873" y="386202"/>
                  <a:pt x="435520" y="386321"/>
                  <a:pt x="416946" y="385943"/>
                </a:cubicBezTo>
                <a:moveTo>
                  <a:pt x="636802" y="1190940"/>
                </a:moveTo>
                <a:cubicBezTo>
                  <a:pt x="646709" y="1188723"/>
                  <a:pt x="656705" y="1186841"/>
                  <a:pt x="666492" y="1184186"/>
                </a:cubicBezTo>
                <a:cubicBezTo>
                  <a:pt x="674710" y="1181958"/>
                  <a:pt x="676989" y="1178509"/>
                  <a:pt x="674465" y="1170880"/>
                </a:cubicBezTo>
                <a:cubicBezTo>
                  <a:pt x="671144" y="1160843"/>
                  <a:pt x="667026" y="1151009"/>
                  <a:pt x="662462" y="1141464"/>
                </a:cubicBezTo>
                <a:cubicBezTo>
                  <a:pt x="659273" y="1134795"/>
                  <a:pt x="653671" y="1130908"/>
                  <a:pt x="645564" y="1131937"/>
                </a:cubicBezTo>
                <a:cubicBezTo>
                  <a:pt x="639532" y="1132703"/>
                  <a:pt x="633423" y="1132867"/>
                  <a:pt x="627387" y="1133618"/>
                </a:cubicBezTo>
                <a:cubicBezTo>
                  <a:pt x="612888" y="1135421"/>
                  <a:pt x="598449" y="1137770"/>
                  <a:pt x="583917" y="1139222"/>
                </a:cubicBezTo>
                <a:cubicBezTo>
                  <a:pt x="570571" y="1140557"/>
                  <a:pt x="557130" y="1140930"/>
                  <a:pt x="543741" y="1141869"/>
                </a:cubicBezTo>
                <a:cubicBezTo>
                  <a:pt x="533202" y="1142610"/>
                  <a:pt x="522682" y="1143623"/>
                  <a:pt x="512146" y="1144418"/>
                </a:cubicBezTo>
                <a:cubicBezTo>
                  <a:pt x="490671" y="1146038"/>
                  <a:pt x="469214" y="1148450"/>
                  <a:pt x="447711" y="1148973"/>
                </a:cubicBezTo>
                <a:cubicBezTo>
                  <a:pt x="415817" y="1149749"/>
                  <a:pt x="383891" y="1149136"/>
                  <a:pt x="351979" y="1149200"/>
                </a:cubicBezTo>
                <a:cubicBezTo>
                  <a:pt x="347698" y="1149209"/>
                  <a:pt x="343419" y="1149717"/>
                  <a:pt x="338443" y="1150040"/>
                </a:cubicBezTo>
                <a:cubicBezTo>
                  <a:pt x="338443" y="1164651"/>
                  <a:pt x="338413" y="1177715"/>
                  <a:pt x="338451" y="1190780"/>
                </a:cubicBezTo>
                <a:cubicBezTo>
                  <a:pt x="338490" y="1204031"/>
                  <a:pt x="338512" y="1204062"/>
                  <a:pt x="351082" y="1207015"/>
                </a:cubicBezTo>
                <a:cubicBezTo>
                  <a:pt x="353445" y="1207570"/>
                  <a:pt x="355895" y="1208128"/>
                  <a:pt x="358298" y="1208094"/>
                </a:cubicBezTo>
                <a:cubicBezTo>
                  <a:pt x="412608" y="1207329"/>
                  <a:pt x="466919" y="1206484"/>
                  <a:pt x="521229" y="1205646"/>
                </a:cubicBezTo>
                <a:cubicBezTo>
                  <a:pt x="522045" y="1205634"/>
                  <a:pt x="522865" y="1205591"/>
                  <a:pt x="523675" y="1205490"/>
                </a:cubicBezTo>
                <a:cubicBezTo>
                  <a:pt x="542593" y="1203123"/>
                  <a:pt x="561519" y="1200820"/>
                  <a:pt x="580423" y="1198350"/>
                </a:cubicBezTo>
                <a:cubicBezTo>
                  <a:pt x="598523" y="1195985"/>
                  <a:pt x="616599" y="1193446"/>
                  <a:pt x="636802" y="1190940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42" name="Free-form: Shape 4041">
            <a:extLst>
              <a:ext uri="{FF2B5EF4-FFF2-40B4-BE49-F238E27FC236}">
                <a16:creationId xmlns:a16="http://schemas.microsoft.com/office/drawing/2014/main" id="{2E04E6A9-1856-9200-B5BE-71736607EF6D}"/>
              </a:ext>
            </a:extLst>
          </p:cNvPr>
          <p:cNvSpPr/>
          <p:nvPr/>
        </p:nvSpPr>
        <p:spPr>
          <a:xfrm>
            <a:off x="7956515" y="4752094"/>
            <a:ext cx="20792" cy="2198"/>
          </a:xfrm>
          <a:custGeom>
            <a:avLst/>
            <a:gdLst>
              <a:gd name="csX0" fmla="*/ 0 w 27674"/>
              <a:gd name="csY0" fmla="*/ 2915 h 2925"/>
              <a:gd name="csX1" fmla="*/ 27675 w 27674"/>
              <a:gd name="csY1" fmla="*/ 1550 h 2925"/>
              <a:gd name="csX2" fmla="*/ 0 w 27674"/>
              <a:gd name="csY2" fmla="*/ 2915 h 292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27674" h="2925">
                <a:moveTo>
                  <a:pt x="0" y="2915"/>
                </a:moveTo>
                <a:cubicBezTo>
                  <a:pt x="8211" y="-1939"/>
                  <a:pt x="17625" y="498"/>
                  <a:pt x="27675" y="1550"/>
                </a:cubicBezTo>
                <a:cubicBezTo>
                  <a:pt x="19225" y="2593"/>
                  <a:pt x="10029" y="2999"/>
                  <a:pt x="0" y="2915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43" name="Free-form: Shape 4042">
            <a:extLst>
              <a:ext uri="{FF2B5EF4-FFF2-40B4-BE49-F238E27FC236}">
                <a16:creationId xmlns:a16="http://schemas.microsoft.com/office/drawing/2014/main" id="{7B740543-FF9B-0333-6FE2-471F1F66BC7F}"/>
              </a:ext>
            </a:extLst>
          </p:cNvPr>
          <p:cNvSpPr/>
          <p:nvPr/>
        </p:nvSpPr>
        <p:spPr>
          <a:xfrm>
            <a:off x="7899277" y="4753333"/>
            <a:ext cx="13526" cy="847"/>
          </a:xfrm>
          <a:custGeom>
            <a:avLst/>
            <a:gdLst>
              <a:gd name="csX0" fmla="*/ 0 w 18003"/>
              <a:gd name="csY0" fmla="*/ 1050 h 1128"/>
              <a:gd name="csX1" fmla="*/ 18004 w 18003"/>
              <a:gd name="csY1" fmla="*/ 93 h 1128"/>
              <a:gd name="csX2" fmla="*/ 0 w 18003"/>
              <a:gd name="csY2" fmla="*/ 1050 h 112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8003" h="1128">
                <a:moveTo>
                  <a:pt x="0" y="1050"/>
                </a:moveTo>
                <a:cubicBezTo>
                  <a:pt x="5276" y="182"/>
                  <a:pt x="11306" y="-189"/>
                  <a:pt x="18004" y="93"/>
                </a:cubicBezTo>
                <a:cubicBezTo>
                  <a:pt x="12699" y="1013"/>
                  <a:pt x="6726" y="1280"/>
                  <a:pt x="0" y="1050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44" name="Free-form: Shape 4043">
            <a:extLst>
              <a:ext uri="{FF2B5EF4-FFF2-40B4-BE49-F238E27FC236}">
                <a16:creationId xmlns:a16="http://schemas.microsoft.com/office/drawing/2014/main" id="{CBEEF9F6-AC6B-BF77-EB23-AC43E5CC10CF}"/>
              </a:ext>
            </a:extLst>
          </p:cNvPr>
          <p:cNvSpPr/>
          <p:nvPr/>
        </p:nvSpPr>
        <p:spPr>
          <a:xfrm>
            <a:off x="7997247" y="4067506"/>
            <a:ext cx="6361" cy="5889"/>
          </a:xfrm>
          <a:custGeom>
            <a:avLst/>
            <a:gdLst>
              <a:gd name="csX0" fmla="*/ 473 w 8466"/>
              <a:gd name="csY0" fmla="*/ 7839 h 7838"/>
              <a:gd name="csX1" fmla="*/ 8466 w 8466"/>
              <a:gd name="csY1" fmla="*/ 61 h 7838"/>
              <a:gd name="csX2" fmla="*/ 473 w 8466"/>
              <a:gd name="csY2" fmla="*/ 7839 h 783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66" h="7838">
                <a:moveTo>
                  <a:pt x="473" y="7839"/>
                </a:moveTo>
                <a:cubicBezTo>
                  <a:pt x="-1298" y="1550"/>
                  <a:pt x="2020" y="-386"/>
                  <a:pt x="8466" y="61"/>
                </a:cubicBezTo>
                <a:cubicBezTo>
                  <a:pt x="6730" y="2845"/>
                  <a:pt x="4026" y="5401"/>
                  <a:pt x="473" y="7839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45" name="Free-form: Shape 4044">
            <a:extLst>
              <a:ext uri="{FF2B5EF4-FFF2-40B4-BE49-F238E27FC236}">
                <a16:creationId xmlns:a16="http://schemas.microsoft.com/office/drawing/2014/main" id="{2B7DF516-D3DE-D271-82C4-9B000277D5F9}"/>
              </a:ext>
            </a:extLst>
          </p:cNvPr>
          <p:cNvSpPr/>
          <p:nvPr/>
        </p:nvSpPr>
        <p:spPr>
          <a:xfrm>
            <a:off x="7832692" y="4751501"/>
            <a:ext cx="6371" cy="748"/>
          </a:xfrm>
          <a:custGeom>
            <a:avLst/>
            <a:gdLst>
              <a:gd name="csX0" fmla="*/ 0 w 8480"/>
              <a:gd name="csY0" fmla="*/ 896 h 996"/>
              <a:gd name="csX1" fmla="*/ 8480 w 8480"/>
              <a:gd name="csY1" fmla="*/ 110 h 996"/>
              <a:gd name="csX2" fmla="*/ 0 w 8480"/>
              <a:gd name="csY2" fmla="*/ 896 h 99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80" h="996">
                <a:moveTo>
                  <a:pt x="0" y="896"/>
                </a:moveTo>
                <a:cubicBezTo>
                  <a:pt x="2285" y="115"/>
                  <a:pt x="5130" y="-182"/>
                  <a:pt x="8480" y="110"/>
                </a:cubicBezTo>
                <a:cubicBezTo>
                  <a:pt x="6177" y="927"/>
                  <a:pt x="3368" y="1153"/>
                  <a:pt x="0" y="896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46" name="Free-form: Shape 4045">
            <a:extLst>
              <a:ext uri="{FF2B5EF4-FFF2-40B4-BE49-F238E27FC236}">
                <a16:creationId xmlns:a16="http://schemas.microsoft.com/office/drawing/2014/main" id="{FC144648-C8EA-05E3-A3DE-C967D75BA837}"/>
              </a:ext>
            </a:extLst>
          </p:cNvPr>
          <p:cNvSpPr/>
          <p:nvPr/>
        </p:nvSpPr>
        <p:spPr>
          <a:xfrm>
            <a:off x="8179673" y="4719402"/>
            <a:ext cx="923" cy="5002"/>
          </a:xfrm>
          <a:custGeom>
            <a:avLst/>
            <a:gdLst>
              <a:gd name="csX0" fmla="*/ 132 w 1229"/>
              <a:gd name="csY0" fmla="*/ 6659 h 6658"/>
              <a:gd name="csX1" fmla="*/ 1107 w 1229"/>
              <a:gd name="csY1" fmla="*/ 0 h 6658"/>
              <a:gd name="csX2" fmla="*/ 132 w 1229"/>
              <a:gd name="csY2" fmla="*/ 6659 h 665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229" h="6658">
                <a:moveTo>
                  <a:pt x="132" y="6659"/>
                </a:moveTo>
                <a:cubicBezTo>
                  <a:pt x="-219" y="4616"/>
                  <a:pt x="139" y="2560"/>
                  <a:pt x="1107" y="0"/>
                </a:cubicBezTo>
                <a:cubicBezTo>
                  <a:pt x="1425" y="1879"/>
                  <a:pt x="1133" y="4263"/>
                  <a:pt x="132" y="6659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47" name="Free-form: Shape 4046">
            <a:extLst>
              <a:ext uri="{FF2B5EF4-FFF2-40B4-BE49-F238E27FC236}">
                <a16:creationId xmlns:a16="http://schemas.microsoft.com/office/drawing/2014/main" id="{22845304-E021-ED22-CA09-711179148DCF}"/>
              </a:ext>
            </a:extLst>
          </p:cNvPr>
          <p:cNvSpPr/>
          <p:nvPr/>
        </p:nvSpPr>
        <p:spPr>
          <a:xfrm>
            <a:off x="8098365" y="4743937"/>
            <a:ext cx="2846" cy="1025"/>
          </a:xfrm>
          <a:custGeom>
            <a:avLst/>
            <a:gdLst>
              <a:gd name="csX0" fmla="*/ 0 w 3788"/>
              <a:gd name="csY0" fmla="*/ 1364 h 1364"/>
              <a:gd name="csX1" fmla="*/ 3788 w 3788"/>
              <a:gd name="csY1" fmla="*/ 0 h 1364"/>
              <a:gd name="csX2" fmla="*/ 0 w 3788"/>
              <a:gd name="csY2" fmla="*/ 1364 h 136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788" h="1364">
                <a:moveTo>
                  <a:pt x="0" y="1364"/>
                </a:moveTo>
                <a:cubicBezTo>
                  <a:pt x="856" y="517"/>
                  <a:pt x="2126" y="39"/>
                  <a:pt x="3788" y="0"/>
                </a:cubicBezTo>
                <a:cubicBezTo>
                  <a:pt x="2925" y="870"/>
                  <a:pt x="1670" y="1303"/>
                  <a:pt x="0" y="1364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48" name="Free-form: Shape 4047">
            <a:extLst>
              <a:ext uri="{FF2B5EF4-FFF2-40B4-BE49-F238E27FC236}">
                <a16:creationId xmlns:a16="http://schemas.microsoft.com/office/drawing/2014/main" id="{8E32CF6A-D72C-0A72-BE93-EDBAFE9A6E49}"/>
              </a:ext>
            </a:extLst>
          </p:cNvPr>
          <p:cNvSpPr/>
          <p:nvPr/>
        </p:nvSpPr>
        <p:spPr>
          <a:xfrm>
            <a:off x="7769750" y="4747898"/>
            <a:ext cx="2998" cy="623"/>
          </a:xfrm>
          <a:custGeom>
            <a:avLst/>
            <a:gdLst>
              <a:gd name="csX0" fmla="*/ 0 w 3990"/>
              <a:gd name="csY0" fmla="*/ 719 h 829"/>
              <a:gd name="csX1" fmla="*/ 3990 w 3990"/>
              <a:gd name="csY1" fmla="*/ 119 h 829"/>
              <a:gd name="csX2" fmla="*/ 0 w 3990"/>
              <a:gd name="csY2" fmla="*/ 719 h 82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990" h="829">
                <a:moveTo>
                  <a:pt x="0" y="719"/>
                </a:moveTo>
                <a:cubicBezTo>
                  <a:pt x="982" y="66"/>
                  <a:pt x="2323" y="-163"/>
                  <a:pt x="3990" y="119"/>
                </a:cubicBezTo>
                <a:cubicBezTo>
                  <a:pt x="2998" y="800"/>
                  <a:pt x="1678" y="972"/>
                  <a:pt x="0" y="719"/>
                </a:cubicBezTo>
                <a:close/>
              </a:path>
            </a:pathLst>
          </a:custGeom>
          <a:solidFill>
            <a:srgbClr val="959DA0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49" name="Free-form: Shape 4048">
            <a:extLst>
              <a:ext uri="{FF2B5EF4-FFF2-40B4-BE49-F238E27FC236}">
                <a16:creationId xmlns:a16="http://schemas.microsoft.com/office/drawing/2014/main" id="{B1E816CF-5204-18DB-C00D-147858EA7B29}"/>
              </a:ext>
            </a:extLst>
          </p:cNvPr>
          <p:cNvSpPr/>
          <p:nvPr/>
        </p:nvSpPr>
        <p:spPr>
          <a:xfrm>
            <a:off x="8024513" y="4751475"/>
            <a:ext cx="2925" cy="853"/>
          </a:xfrm>
          <a:custGeom>
            <a:avLst/>
            <a:gdLst>
              <a:gd name="csX0" fmla="*/ 0 w 3893"/>
              <a:gd name="csY0" fmla="*/ 1133 h 1135"/>
              <a:gd name="csX1" fmla="*/ 3893 w 3893"/>
              <a:gd name="csY1" fmla="*/ 7 h 1135"/>
              <a:gd name="csX2" fmla="*/ 0 w 3893"/>
              <a:gd name="csY2" fmla="*/ 1133 h 113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893" h="1135">
                <a:moveTo>
                  <a:pt x="0" y="1133"/>
                </a:moveTo>
                <a:cubicBezTo>
                  <a:pt x="902" y="349"/>
                  <a:pt x="2213" y="-60"/>
                  <a:pt x="3893" y="7"/>
                </a:cubicBezTo>
                <a:cubicBezTo>
                  <a:pt x="2978" y="825"/>
                  <a:pt x="1693" y="1167"/>
                  <a:pt x="0" y="1133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50" name="Free-form: Shape 4049">
            <a:extLst>
              <a:ext uri="{FF2B5EF4-FFF2-40B4-BE49-F238E27FC236}">
                <a16:creationId xmlns:a16="http://schemas.microsoft.com/office/drawing/2014/main" id="{00C9AD02-5369-BCD9-3C98-AE2725FE24F3}"/>
              </a:ext>
            </a:extLst>
          </p:cNvPr>
          <p:cNvSpPr/>
          <p:nvPr/>
        </p:nvSpPr>
        <p:spPr>
          <a:xfrm>
            <a:off x="7904002" y="4165031"/>
            <a:ext cx="136231" cy="302992"/>
          </a:xfrm>
          <a:custGeom>
            <a:avLst/>
            <a:gdLst>
              <a:gd name="csX0" fmla="*/ 7554 w 181323"/>
              <a:gd name="csY0" fmla="*/ 172079 h 403282"/>
              <a:gd name="csX1" fmla="*/ 9716 w 181323"/>
              <a:gd name="csY1" fmla="*/ 130641 h 403282"/>
              <a:gd name="csX2" fmla="*/ 7663 w 181323"/>
              <a:gd name="csY2" fmla="*/ 113770 h 403282"/>
              <a:gd name="csX3" fmla="*/ 7598 w 181323"/>
              <a:gd name="csY3" fmla="*/ 8165 h 403282"/>
              <a:gd name="csX4" fmla="*/ 8353 w 181323"/>
              <a:gd name="csY4" fmla="*/ 1259 h 403282"/>
              <a:gd name="csX5" fmla="*/ 17767 w 181323"/>
              <a:gd name="csY5" fmla="*/ 93 h 403282"/>
              <a:gd name="csX6" fmla="*/ 77938 w 181323"/>
              <a:gd name="csY6" fmla="*/ 50 h 403282"/>
              <a:gd name="csX7" fmla="*/ 91081 w 181323"/>
              <a:gd name="csY7" fmla="*/ 10962 h 403282"/>
              <a:gd name="csX8" fmla="*/ 93691 w 181323"/>
              <a:gd name="csY8" fmla="*/ 60963 h 403282"/>
              <a:gd name="csX9" fmla="*/ 100157 w 181323"/>
              <a:gd name="csY9" fmla="*/ 121501 h 403282"/>
              <a:gd name="csX10" fmla="*/ 105540 w 181323"/>
              <a:gd name="csY10" fmla="*/ 158857 h 403282"/>
              <a:gd name="csX11" fmla="*/ 121116 w 181323"/>
              <a:gd name="csY11" fmla="*/ 235269 h 403282"/>
              <a:gd name="csX12" fmla="*/ 152823 w 181323"/>
              <a:gd name="csY12" fmla="*/ 338010 h 403282"/>
              <a:gd name="csX13" fmla="*/ 170877 w 181323"/>
              <a:gd name="csY13" fmla="*/ 378027 h 403282"/>
              <a:gd name="csX14" fmla="*/ 178114 w 181323"/>
              <a:gd name="csY14" fmla="*/ 387682 h 403282"/>
              <a:gd name="csX15" fmla="*/ 181150 w 181323"/>
              <a:gd name="csY15" fmla="*/ 395764 h 403282"/>
              <a:gd name="csX16" fmla="*/ 173480 w 181323"/>
              <a:gd name="csY16" fmla="*/ 402568 h 403282"/>
              <a:gd name="csX17" fmla="*/ 160067 w 181323"/>
              <a:gd name="csY17" fmla="*/ 402936 h 403282"/>
              <a:gd name="csX18" fmla="*/ 121081 w 181323"/>
              <a:gd name="csY18" fmla="*/ 400766 h 403282"/>
              <a:gd name="csX19" fmla="*/ 70912 w 181323"/>
              <a:gd name="csY19" fmla="*/ 401955 h 403282"/>
              <a:gd name="csX20" fmla="*/ 7630 w 181323"/>
              <a:gd name="csY20" fmla="*/ 402999 h 403282"/>
              <a:gd name="csX21" fmla="*/ 710 w 181323"/>
              <a:gd name="csY21" fmla="*/ 401995 h 403282"/>
              <a:gd name="csX22" fmla="*/ 1308 w 181323"/>
              <a:gd name="csY22" fmla="*/ 356708 h 403282"/>
              <a:gd name="csX23" fmla="*/ 2554 w 181323"/>
              <a:gd name="csY23" fmla="*/ 349510 h 403282"/>
              <a:gd name="csX24" fmla="*/ 5071 w 181323"/>
              <a:gd name="csY24" fmla="*/ 271231 h 403282"/>
              <a:gd name="csX25" fmla="*/ 7554 w 181323"/>
              <a:gd name="csY25" fmla="*/ 172079 h 403282"/>
              <a:gd name="csX26" fmla="*/ 98286 w 181323"/>
              <a:gd name="csY26" fmla="*/ 163566 h 403282"/>
              <a:gd name="csX27" fmla="*/ 83497 w 181323"/>
              <a:gd name="csY27" fmla="*/ 8289 h 403282"/>
              <a:gd name="csX28" fmla="*/ 15161 w 181323"/>
              <a:gd name="csY28" fmla="*/ 9148 h 403282"/>
              <a:gd name="csX29" fmla="*/ 15058 w 181323"/>
              <a:gd name="csY29" fmla="*/ 137939 h 403282"/>
              <a:gd name="csX30" fmla="*/ 12252 w 181323"/>
              <a:gd name="csY30" fmla="*/ 266862 h 403282"/>
              <a:gd name="csX31" fmla="*/ 7068 w 181323"/>
              <a:gd name="csY31" fmla="*/ 395996 h 403282"/>
              <a:gd name="csX32" fmla="*/ 171647 w 181323"/>
              <a:gd name="csY32" fmla="*/ 395996 h 403282"/>
              <a:gd name="csX33" fmla="*/ 119950 w 181323"/>
              <a:gd name="csY33" fmla="*/ 259496 h 403282"/>
              <a:gd name="csX34" fmla="*/ 98286 w 181323"/>
              <a:gd name="csY34" fmla="*/ 163566 h 40328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</a:cxnLst>
            <a:rect l="l" t="t" r="r" b="b"/>
            <a:pathLst>
              <a:path w="181323" h="403282">
                <a:moveTo>
                  <a:pt x="7554" y="172079"/>
                </a:moveTo>
                <a:cubicBezTo>
                  <a:pt x="8325" y="157451"/>
                  <a:pt x="9408" y="144055"/>
                  <a:pt x="9716" y="130641"/>
                </a:cubicBezTo>
                <a:cubicBezTo>
                  <a:pt x="9846" y="125037"/>
                  <a:pt x="7695" y="119399"/>
                  <a:pt x="7663" y="113770"/>
                </a:cubicBezTo>
                <a:cubicBezTo>
                  <a:pt x="7461" y="78569"/>
                  <a:pt x="7554" y="43367"/>
                  <a:pt x="7598" y="8165"/>
                </a:cubicBezTo>
                <a:cubicBezTo>
                  <a:pt x="7600" y="6167"/>
                  <a:pt x="8022" y="4170"/>
                  <a:pt x="8353" y="1259"/>
                </a:cubicBezTo>
                <a:cubicBezTo>
                  <a:pt x="11568" y="842"/>
                  <a:pt x="14666" y="109"/>
                  <a:pt x="17767" y="93"/>
                </a:cubicBezTo>
                <a:cubicBezTo>
                  <a:pt x="37824" y="-17"/>
                  <a:pt x="57881" y="-27"/>
                  <a:pt x="77938" y="50"/>
                </a:cubicBezTo>
                <a:cubicBezTo>
                  <a:pt x="89177" y="93"/>
                  <a:pt x="90068" y="113"/>
                  <a:pt x="91081" y="10962"/>
                </a:cubicBezTo>
                <a:cubicBezTo>
                  <a:pt x="92631" y="27565"/>
                  <a:pt x="92329" y="44335"/>
                  <a:pt x="93691" y="60963"/>
                </a:cubicBezTo>
                <a:cubicBezTo>
                  <a:pt x="95348" y="81184"/>
                  <a:pt x="97732" y="101353"/>
                  <a:pt x="100157" y="121501"/>
                </a:cubicBezTo>
                <a:cubicBezTo>
                  <a:pt x="101660" y="133990"/>
                  <a:pt x="104521" y="146343"/>
                  <a:pt x="105540" y="158857"/>
                </a:cubicBezTo>
                <a:cubicBezTo>
                  <a:pt x="107671" y="184993"/>
                  <a:pt x="114147" y="210249"/>
                  <a:pt x="121116" y="235269"/>
                </a:cubicBezTo>
                <a:cubicBezTo>
                  <a:pt x="130731" y="269786"/>
                  <a:pt x="141516" y="304004"/>
                  <a:pt x="152823" y="338010"/>
                </a:cubicBezTo>
                <a:cubicBezTo>
                  <a:pt x="157418" y="351828"/>
                  <a:pt x="164524" y="364837"/>
                  <a:pt x="170877" y="378027"/>
                </a:cubicBezTo>
                <a:cubicBezTo>
                  <a:pt x="172587" y="381579"/>
                  <a:pt x="175985" y="384280"/>
                  <a:pt x="178114" y="387682"/>
                </a:cubicBezTo>
                <a:cubicBezTo>
                  <a:pt x="179669" y="390165"/>
                  <a:pt x="181977" y="393824"/>
                  <a:pt x="181150" y="395764"/>
                </a:cubicBezTo>
                <a:cubicBezTo>
                  <a:pt x="179907" y="398676"/>
                  <a:pt x="176540" y="401705"/>
                  <a:pt x="173480" y="402568"/>
                </a:cubicBezTo>
                <a:cubicBezTo>
                  <a:pt x="169302" y="403746"/>
                  <a:pt x="164551" y="403164"/>
                  <a:pt x="160067" y="402936"/>
                </a:cubicBezTo>
                <a:cubicBezTo>
                  <a:pt x="147066" y="402274"/>
                  <a:pt x="134081" y="400859"/>
                  <a:pt x="121081" y="400766"/>
                </a:cubicBezTo>
                <a:cubicBezTo>
                  <a:pt x="104362" y="400647"/>
                  <a:pt x="87638" y="401607"/>
                  <a:pt x="70912" y="401955"/>
                </a:cubicBezTo>
                <a:cubicBezTo>
                  <a:pt x="49820" y="402394"/>
                  <a:pt x="28725" y="402712"/>
                  <a:pt x="7630" y="402999"/>
                </a:cubicBezTo>
                <a:cubicBezTo>
                  <a:pt x="5684" y="403026"/>
                  <a:pt x="3731" y="402452"/>
                  <a:pt x="710" y="401995"/>
                </a:cubicBezTo>
                <a:cubicBezTo>
                  <a:pt x="219" y="386620"/>
                  <a:pt x="-871" y="371682"/>
                  <a:pt x="1308" y="356708"/>
                </a:cubicBezTo>
                <a:cubicBezTo>
                  <a:pt x="1659" y="354298"/>
                  <a:pt x="2471" y="351920"/>
                  <a:pt x="2554" y="349510"/>
                </a:cubicBezTo>
                <a:cubicBezTo>
                  <a:pt x="3459" y="323419"/>
                  <a:pt x="4345" y="297328"/>
                  <a:pt x="5071" y="271231"/>
                </a:cubicBezTo>
                <a:cubicBezTo>
                  <a:pt x="5979" y="238591"/>
                  <a:pt x="6733" y="205947"/>
                  <a:pt x="7554" y="172079"/>
                </a:cubicBezTo>
                <a:moveTo>
                  <a:pt x="98286" y="163566"/>
                </a:moveTo>
                <a:cubicBezTo>
                  <a:pt x="89288" y="112116"/>
                  <a:pt x="86355" y="60033"/>
                  <a:pt x="83497" y="8289"/>
                </a:cubicBezTo>
                <a:cubicBezTo>
                  <a:pt x="65606" y="5845"/>
                  <a:pt x="24110" y="6470"/>
                  <a:pt x="15161" y="9148"/>
                </a:cubicBezTo>
                <a:cubicBezTo>
                  <a:pt x="15161" y="52045"/>
                  <a:pt x="15527" y="94996"/>
                  <a:pt x="15058" y="137939"/>
                </a:cubicBezTo>
                <a:cubicBezTo>
                  <a:pt x="14587" y="180919"/>
                  <a:pt x="13597" y="223900"/>
                  <a:pt x="12252" y="266862"/>
                </a:cubicBezTo>
                <a:cubicBezTo>
                  <a:pt x="10912" y="309638"/>
                  <a:pt x="8849" y="352391"/>
                  <a:pt x="7068" y="395996"/>
                </a:cubicBezTo>
                <a:cubicBezTo>
                  <a:pt x="62774" y="395996"/>
                  <a:pt x="116821" y="395996"/>
                  <a:pt x="171647" y="395996"/>
                </a:cubicBezTo>
                <a:cubicBezTo>
                  <a:pt x="148550" y="352016"/>
                  <a:pt x="132566" y="306307"/>
                  <a:pt x="119950" y="259496"/>
                </a:cubicBezTo>
                <a:cubicBezTo>
                  <a:pt x="111608" y="228543"/>
                  <a:pt x="105493" y="196989"/>
                  <a:pt x="98286" y="163566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51" name="Free-form: Shape 4050">
            <a:extLst>
              <a:ext uri="{FF2B5EF4-FFF2-40B4-BE49-F238E27FC236}">
                <a16:creationId xmlns:a16="http://schemas.microsoft.com/office/drawing/2014/main" id="{F8B1C245-7753-0A8D-6C4B-D9771C5D8811}"/>
              </a:ext>
            </a:extLst>
          </p:cNvPr>
          <p:cNvSpPr/>
          <p:nvPr/>
        </p:nvSpPr>
        <p:spPr>
          <a:xfrm>
            <a:off x="7905975" y="4668973"/>
            <a:ext cx="253199" cy="57341"/>
          </a:xfrm>
          <a:custGeom>
            <a:avLst/>
            <a:gdLst>
              <a:gd name="csX0" fmla="*/ 297312 w 337008"/>
              <a:gd name="csY0" fmla="*/ 59188 h 76321"/>
              <a:gd name="csX1" fmla="*/ 241991 w 337008"/>
              <a:gd name="csY1" fmla="*/ 66577 h 76321"/>
              <a:gd name="csX2" fmla="*/ 185243 w 337008"/>
              <a:gd name="csY2" fmla="*/ 73717 h 76321"/>
              <a:gd name="csX3" fmla="*/ 182797 w 337008"/>
              <a:gd name="csY3" fmla="*/ 73873 h 76321"/>
              <a:gd name="csX4" fmla="*/ 19866 w 337008"/>
              <a:gd name="csY4" fmla="*/ 76320 h 76321"/>
              <a:gd name="csX5" fmla="*/ 12650 w 337008"/>
              <a:gd name="csY5" fmla="*/ 75242 h 76321"/>
              <a:gd name="csX6" fmla="*/ 19 w 337008"/>
              <a:gd name="csY6" fmla="*/ 59006 h 76321"/>
              <a:gd name="csX7" fmla="*/ 11 w 337008"/>
              <a:gd name="csY7" fmla="*/ 18266 h 76321"/>
              <a:gd name="csX8" fmla="*/ 13547 w 337008"/>
              <a:gd name="csY8" fmla="*/ 17427 h 76321"/>
              <a:gd name="csX9" fmla="*/ 109279 w 337008"/>
              <a:gd name="csY9" fmla="*/ 17200 h 76321"/>
              <a:gd name="csX10" fmla="*/ 173714 w 337008"/>
              <a:gd name="csY10" fmla="*/ 12645 h 76321"/>
              <a:gd name="csX11" fmla="*/ 205309 w 337008"/>
              <a:gd name="csY11" fmla="*/ 10096 h 76321"/>
              <a:gd name="csX12" fmla="*/ 245485 w 337008"/>
              <a:gd name="csY12" fmla="*/ 7449 h 76321"/>
              <a:gd name="csX13" fmla="*/ 288955 w 337008"/>
              <a:gd name="csY13" fmla="*/ 1844 h 76321"/>
              <a:gd name="csX14" fmla="*/ 307132 w 337008"/>
              <a:gd name="csY14" fmla="*/ 164 h 76321"/>
              <a:gd name="csX15" fmla="*/ 324030 w 337008"/>
              <a:gd name="csY15" fmla="*/ 9691 h 76321"/>
              <a:gd name="csX16" fmla="*/ 336033 w 337008"/>
              <a:gd name="csY16" fmla="*/ 39107 h 76321"/>
              <a:gd name="csX17" fmla="*/ 328060 w 337008"/>
              <a:gd name="csY17" fmla="*/ 52413 h 76321"/>
              <a:gd name="csX18" fmla="*/ 297312 w 337008"/>
              <a:gd name="csY18" fmla="*/ 59188 h 76321"/>
              <a:gd name="csX19" fmla="*/ 207688 w 337008"/>
              <a:gd name="csY19" fmla="*/ 64284 h 76321"/>
              <a:gd name="csX20" fmla="*/ 330050 w 337008"/>
              <a:gd name="csY20" fmla="*/ 45606 h 76321"/>
              <a:gd name="csX21" fmla="*/ 317356 w 337008"/>
              <a:gd name="csY21" fmla="*/ 11297 h 76321"/>
              <a:gd name="csX22" fmla="*/ 304170 w 337008"/>
              <a:gd name="csY22" fmla="*/ 5545 h 76321"/>
              <a:gd name="csX23" fmla="*/ 273851 w 337008"/>
              <a:gd name="csY23" fmla="*/ 10014 h 76321"/>
              <a:gd name="csX24" fmla="*/ 163935 w 337008"/>
              <a:gd name="csY24" fmla="*/ 20274 h 76321"/>
              <a:gd name="csX25" fmla="*/ 17973 w 337008"/>
              <a:gd name="csY25" fmla="*/ 22950 h 76321"/>
              <a:gd name="csX26" fmla="*/ 7372 w 337008"/>
              <a:gd name="csY26" fmla="*/ 23601 h 76321"/>
              <a:gd name="csX27" fmla="*/ 7372 w 337008"/>
              <a:gd name="csY27" fmla="*/ 67898 h 76321"/>
              <a:gd name="csX28" fmla="*/ 207688 w 337008"/>
              <a:gd name="csY28" fmla="*/ 64284 h 7632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</a:cxnLst>
            <a:rect l="l" t="t" r="r" b="b"/>
            <a:pathLst>
              <a:path w="337008" h="76321">
                <a:moveTo>
                  <a:pt x="297312" y="59188"/>
                </a:moveTo>
                <a:cubicBezTo>
                  <a:pt x="278167" y="61672"/>
                  <a:pt x="260091" y="64212"/>
                  <a:pt x="241991" y="66577"/>
                </a:cubicBezTo>
                <a:cubicBezTo>
                  <a:pt x="223087" y="69047"/>
                  <a:pt x="204161" y="71350"/>
                  <a:pt x="185243" y="73717"/>
                </a:cubicBezTo>
                <a:cubicBezTo>
                  <a:pt x="184433" y="73818"/>
                  <a:pt x="183613" y="73861"/>
                  <a:pt x="182797" y="73873"/>
                </a:cubicBezTo>
                <a:cubicBezTo>
                  <a:pt x="128487" y="74710"/>
                  <a:pt x="74176" y="75556"/>
                  <a:pt x="19866" y="76320"/>
                </a:cubicBezTo>
                <a:cubicBezTo>
                  <a:pt x="17463" y="76354"/>
                  <a:pt x="15013" y="75797"/>
                  <a:pt x="12650" y="75242"/>
                </a:cubicBezTo>
                <a:cubicBezTo>
                  <a:pt x="80" y="72288"/>
                  <a:pt x="58" y="72258"/>
                  <a:pt x="19" y="59006"/>
                </a:cubicBezTo>
                <a:cubicBezTo>
                  <a:pt x="-19" y="45942"/>
                  <a:pt x="11" y="32877"/>
                  <a:pt x="11" y="18266"/>
                </a:cubicBezTo>
                <a:cubicBezTo>
                  <a:pt x="4987" y="17944"/>
                  <a:pt x="9266" y="17435"/>
                  <a:pt x="13547" y="17427"/>
                </a:cubicBezTo>
                <a:cubicBezTo>
                  <a:pt x="45459" y="17362"/>
                  <a:pt x="77385" y="17975"/>
                  <a:pt x="109279" y="17200"/>
                </a:cubicBezTo>
                <a:cubicBezTo>
                  <a:pt x="130782" y="16677"/>
                  <a:pt x="152239" y="14265"/>
                  <a:pt x="173714" y="12645"/>
                </a:cubicBezTo>
                <a:cubicBezTo>
                  <a:pt x="184250" y="11850"/>
                  <a:pt x="194770" y="10836"/>
                  <a:pt x="205309" y="10096"/>
                </a:cubicBezTo>
                <a:cubicBezTo>
                  <a:pt x="218698" y="9156"/>
                  <a:pt x="232139" y="8783"/>
                  <a:pt x="245485" y="7449"/>
                </a:cubicBezTo>
                <a:cubicBezTo>
                  <a:pt x="260017" y="5997"/>
                  <a:pt x="274456" y="3648"/>
                  <a:pt x="288955" y="1844"/>
                </a:cubicBezTo>
                <a:cubicBezTo>
                  <a:pt x="294991" y="1094"/>
                  <a:pt x="301100" y="930"/>
                  <a:pt x="307132" y="164"/>
                </a:cubicBezTo>
                <a:cubicBezTo>
                  <a:pt x="315239" y="-865"/>
                  <a:pt x="320841" y="3022"/>
                  <a:pt x="324030" y="9691"/>
                </a:cubicBezTo>
                <a:cubicBezTo>
                  <a:pt x="328594" y="19236"/>
                  <a:pt x="332712" y="29070"/>
                  <a:pt x="336033" y="39107"/>
                </a:cubicBezTo>
                <a:cubicBezTo>
                  <a:pt x="338557" y="46735"/>
                  <a:pt x="336278" y="50185"/>
                  <a:pt x="328060" y="52413"/>
                </a:cubicBezTo>
                <a:cubicBezTo>
                  <a:pt x="318273" y="55068"/>
                  <a:pt x="308277" y="56950"/>
                  <a:pt x="297312" y="59188"/>
                </a:cubicBezTo>
                <a:moveTo>
                  <a:pt x="207688" y="64284"/>
                </a:moveTo>
                <a:cubicBezTo>
                  <a:pt x="248681" y="60632"/>
                  <a:pt x="289317" y="54812"/>
                  <a:pt x="330050" y="45606"/>
                </a:cubicBezTo>
                <a:cubicBezTo>
                  <a:pt x="327603" y="32443"/>
                  <a:pt x="323777" y="21532"/>
                  <a:pt x="317356" y="11297"/>
                </a:cubicBezTo>
                <a:cubicBezTo>
                  <a:pt x="313908" y="5803"/>
                  <a:pt x="310145" y="4465"/>
                  <a:pt x="304170" y="5545"/>
                </a:cubicBezTo>
                <a:cubicBezTo>
                  <a:pt x="294121" y="7361"/>
                  <a:pt x="284007" y="9006"/>
                  <a:pt x="273851" y="10014"/>
                </a:cubicBezTo>
                <a:cubicBezTo>
                  <a:pt x="237233" y="13650"/>
                  <a:pt x="200632" y="17661"/>
                  <a:pt x="163935" y="20274"/>
                </a:cubicBezTo>
                <a:cubicBezTo>
                  <a:pt x="115360" y="23734"/>
                  <a:pt x="66701" y="25937"/>
                  <a:pt x="17973" y="22950"/>
                </a:cubicBezTo>
                <a:cubicBezTo>
                  <a:pt x="14492" y="22737"/>
                  <a:pt x="10959" y="23361"/>
                  <a:pt x="7372" y="23601"/>
                </a:cubicBezTo>
                <a:cubicBezTo>
                  <a:pt x="7372" y="38609"/>
                  <a:pt x="7372" y="52361"/>
                  <a:pt x="7372" y="67898"/>
                </a:cubicBezTo>
                <a:cubicBezTo>
                  <a:pt x="74001" y="69806"/>
                  <a:pt x="139746" y="71025"/>
                  <a:pt x="207688" y="64284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52" name="Free-form: Shape 4051">
            <a:extLst>
              <a:ext uri="{FF2B5EF4-FFF2-40B4-BE49-F238E27FC236}">
                <a16:creationId xmlns:a16="http://schemas.microsoft.com/office/drawing/2014/main" id="{F03E289D-F738-0E8B-EFE8-D8A60F16EB78}"/>
              </a:ext>
            </a:extLst>
          </p:cNvPr>
          <p:cNvSpPr/>
          <p:nvPr/>
        </p:nvSpPr>
        <p:spPr>
          <a:xfrm>
            <a:off x="7910492" y="4491764"/>
            <a:ext cx="227996" cy="160552"/>
          </a:xfrm>
          <a:custGeom>
            <a:avLst/>
            <a:gdLst>
              <a:gd name="csX0" fmla="*/ 14160 w 303463"/>
              <a:gd name="csY0" fmla="*/ 7889 h 213695"/>
              <a:gd name="csX1" fmla="*/ 195033 w 303463"/>
              <a:gd name="csY1" fmla="*/ 0 h 213695"/>
              <a:gd name="csX2" fmla="*/ 197208 w 303463"/>
              <a:gd name="csY2" fmla="*/ 5635 h 213695"/>
              <a:gd name="csX3" fmla="*/ 227014 w 303463"/>
              <a:gd name="csY3" fmla="*/ 60660 h 213695"/>
              <a:gd name="csX4" fmla="*/ 265823 w 303463"/>
              <a:gd name="csY4" fmla="*/ 98217 h 213695"/>
              <a:gd name="csX5" fmla="*/ 303210 w 303463"/>
              <a:gd name="csY5" fmla="*/ 180358 h 213695"/>
              <a:gd name="csX6" fmla="*/ 303282 w 303463"/>
              <a:gd name="csY6" fmla="*/ 193964 h 213695"/>
              <a:gd name="csX7" fmla="*/ 4971 w 303463"/>
              <a:gd name="csY7" fmla="*/ 213017 h 213695"/>
              <a:gd name="csX8" fmla="*/ 5093 w 303463"/>
              <a:gd name="csY8" fmla="*/ 173484 h 213695"/>
              <a:gd name="csX9" fmla="*/ 4767 w 303463"/>
              <a:gd name="csY9" fmla="*/ 54607 h 213695"/>
              <a:gd name="csX10" fmla="*/ 0 w 303463"/>
              <a:gd name="csY10" fmla="*/ 7887 h 213695"/>
              <a:gd name="csX11" fmla="*/ 14160 w 303463"/>
              <a:gd name="csY11" fmla="*/ 7889 h 21369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303463" h="213695">
                <a:moveTo>
                  <a:pt x="14160" y="7889"/>
                </a:moveTo>
                <a:cubicBezTo>
                  <a:pt x="75371" y="8627"/>
                  <a:pt x="135292" y="5744"/>
                  <a:pt x="195033" y="0"/>
                </a:cubicBezTo>
                <a:cubicBezTo>
                  <a:pt x="196084" y="2662"/>
                  <a:pt x="196986" y="4099"/>
                  <a:pt x="197208" y="5635"/>
                </a:cubicBezTo>
                <a:cubicBezTo>
                  <a:pt x="200391" y="27650"/>
                  <a:pt x="211307" y="45450"/>
                  <a:pt x="227014" y="60660"/>
                </a:cubicBezTo>
                <a:cubicBezTo>
                  <a:pt x="239947" y="73182"/>
                  <a:pt x="253006" y="85577"/>
                  <a:pt x="265823" y="98217"/>
                </a:cubicBezTo>
                <a:cubicBezTo>
                  <a:pt x="288727" y="120806"/>
                  <a:pt x="299071" y="149215"/>
                  <a:pt x="303210" y="180358"/>
                </a:cubicBezTo>
                <a:cubicBezTo>
                  <a:pt x="303735" y="184317"/>
                  <a:pt x="303282" y="188405"/>
                  <a:pt x="303282" y="193964"/>
                </a:cubicBezTo>
                <a:cubicBezTo>
                  <a:pt x="204065" y="208804"/>
                  <a:pt x="105022" y="216044"/>
                  <a:pt x="4971" y="213017"/>
                </a:cubicBezTo>
                <a:cubicBezTo>
                  <a:pt x="4971" y="199268"/>
                  <a:pt x="4314" y="186332"/>
                  <a:pt x="5093" y="173484"/>
                </a:cubicBezTo>
                <a:cubicBezTo>
                  <a:pt x="7497" y="133835"/>
                  <a:pt x="8211" y="94216"/>
                  <a:pt x="4767" y="54607"/>
                </a:cubicBezTo>
                <a:cubicBezTo>
                  <a:pt x="3464" y="39611"/>
                  <a:pt x="1725" y="24653"/>
                  <a:pt x="0" y="7887"/>
                </a:cubicBezTo>
                <a:cubicBezTo>
                  <a:pt x="4390" y="7887"/>
                  <a:pt x="8696" y="7887"/>
                  <a:pt x="14160" y="7889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53" name="Free-form: Shape 4052">
            <a:extLst>
              <a:ext uri="{FF2B5EF4-FFF2-40B4-BE49-F238E27FC236}">
                <a16:creationId xmlns:a16="http://schemas.microsoft.com/office/drawing/2014/main" id="{DC14C8AC-9FAD-8E25-31FF-FF6442C011BC}"/>
              </a:ext>
            </a:extLst>
          </p:cNvPr>
          <p:cNvSpPr/>
          <p:nvPr/>
        </p:nvSpPr>
        <p:spPr>
          <a:xfrm>
            <a:off x="7869640" y="3850759"/>
            <a:ext cx="157075" cy="152822"/>
          </a:xfrm>
          <a:custGeom>
            <a:avLst/>
            <a:gdLst>
              <a:gd name="csX0" fmla="*/ 10475 w 209067"/>
              <a:gd name="csY0" fmla="*/ 41718 h 203406"/>
              <a:gd name="csX1" fmla="*/ 100250 w 209067"/>
              <a:gd name="csY1" fmla="*/ 1265 h 203406"/>
              <a:gd name="csX2" fmla="*/ 206681 w 209067"/>
              <a:gd name="csY2" fmla="*/ 98526 h 203406"/>
              <a:gd name="csX3" fmla="*/ 134647 w 209067"/>
              <a:gd name="csY3" fmla="*/ 202431 h 203406"/>
              <a:gd name="csX4" fmla="*/ 40986 w 209067"/>
              <a:gd name="csY4" fmla="*/ 171438 h 203406"/>
              <a:gd name="csX5" fmla="*/ 143 w 209067"/>
              <a:gd name="csY5" fmla="*/ 85158 h 203406"/>
              <a:gd name="csX6" fmla="*/ 10475 w 209067"/>
              <a:gd name="csY6" fmla="*/ 41718 h 20340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</a:cxnLst>
            <a:rect l="l" t="t" r="r" b="b"/>
            <a:pathLst>
              <a:path w="209067" h="203406">
                <a:moveTo>
                  <a:pt x="10475" y="41718"/>
                </a:moveTo>
                <a:cubicBezTo>
                  <a:pt x="31065" y="6021"/>
                  <a:pt x="63171" y="-3865"/>
                  <a:pt x="100250" y="1265"/>
                </a:cubicBezTo>
                <a:cubicBezTo>
                  <a:pt x="157191" y="9144"/>
                  <a:pt x="196951" y="51394"/>
                  <a:pt x="206681" y="98526"/>
                </a:cubicBezTo>
                <a:cubicBezTo>
                  <a:pt x="219504" y="160635"/>
                  <a:pt x="178523" y="196657"/>
                  <a:pt x="134647" y="202431"/>
                </a:cubicBezTo>
                <a:cubicBezTo>
                  <a:pt x="98365" y="207204"/>
                  <a:pt x="68101" y="194086"/>
                  <a:pt x="40986" y="171438"/>
                </a:cubicBezTo>
                <a:cubicBezTo>
                  <a:pt x="14115" y="148994"/>
                  <a:pt x="2457" y="119007"/>
                  <a:pt x="143" y="85158"/>
                </a:cubicBezTo>
                <a:cubicBezTo>
                  <a:pt x="-869" y="70364"/>
                  <a:pt x="3586" y="56015"/>
                  <a:pt x="10475" y="41718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54" name="Free-form: Shape 4053">
            <a:extLst>
              <a:ext uri="{FF2B5EF4-FFF2-40B4-BE49-F238E27FC236}">
                <a16:creationId xmlns:a16="http://schemas.microsoft.com/office/drawing/2014/main" id="{55AE3625-0BB5-1B59-DE40-61E680786B74}"/>
              </a:ext>
            </a:extLst>
          </p:cNvPr>
          <p:cNvSpPr/>
          <p:nvPr/>
        </p:nvSpPr>
        <p:spPr>
          <a:xfrm>
            <a:off x="7913514" y="4108535"/>
            <a:ext cx="118053" cy="31055"/>
          </a:xfrm>
          <a:custGeom>
            <a:avLst/>
            <a:gdLst>
              <a:gd name="csX0" fmla="*/ 69625 w 157129"/>
              <a:gd name="csY0" fmla="*/ 0 h 41334"/>
              <a:gd name="csX1" fmla="*/ 119596 w 157129"/>
              <a:gd name="csY1" fmla="*/ 1945 h 41334"/>
              <a:gd name="csX2" fmla="*/ 150973 w 157129"/>
              <a:gd name="csY2" fmla="*/ 14889 h 41334"/>
              <a:gd name="csX3" fmla="*/ 151351 w 157129"/>
              <a:gd name="csY3" fmla="*/ 34058 h 41334"/>
              <a:gd name="csX4" fmla="*/ 133492 w 157129"/>
              <a:gd name="csY4" fmla="*/ 40697 h 41334"/>
              <a:gd name="csX5" fmla="*/ 106556 w 157129"/>
              <a:gd name="csY5" fmla="*/ 41092 h 41334"/>
              <a:gd name="csX6" fmla="*/ 13373 w 157129"/>
              <a:gd name="csY6" fmla="*/ 40708 h 41334"/>
              <a:gd name="csX7" fmla="*/ 1312 w 157129"/>
              <a:gd name="csY7" fmla="*/ 40191 h 41334"/>
              <a:gd name="csX8" fmla="*/ 3367 w 157129"/>
              <a:gd name="csY8" fmla="*/ 13162 h 41334"/>
              <a:gd name="csX9" fmla="*/ 20752 w 157129"/>
              <a:gd name="csY9" fmla="*/ 1879 h 41334"/>
              <a:gd name="csX10" fmla="*/ 52625 w 157129"/>
              <a:gd name="csY10" fmla="*/ 1332 h 41334"/>
              <a:gd name="csX11" fmla="*/ 69625 w 157129"/>
              <a:gd name="csY11" fmla="*/ 0 h 4133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157129" h="41334">
                <a:moveTo>
                  <a:pt x="69625" y="0"/>
                </a:moveTo>
                <a:cubicBezTo>
                  <a:pt x="87054" y="491"/>
                  <a:pt x="103407" y="373"/>
                  <a:pt x="119596" y="1945"/>
                </a:cubicBezTo>
                <a:cubicBezTo>
                  <a:pt x="131020" y="3055"/>
                  <a:pt x="141713" y="7767"/>
                  <a:pt x="150973" y="14889"/>
                </a:cubicBezTo>
                <a:cubicBezTo>
                  <a:pt x="158820" y="20925"/>
                  <a:pt x="159403" y="28236"/>
                  <a:pt x="151351" y="34058"/>
                </a:cubicBezTo>
                <a:cubicBezTo>
                  <a:pt x="146355" y="37671"/>
                  <a:pt x="139678" y="39910"/>
                  <a:pt x="133492" y="40697"/>
                </a:cubicBezTo>
                <a:cubicBezTo>
                  <a:pt x="124640" y="41824"/>
                  <a:pt x="115547" y="41120"/>
                  <a:pt x="106556" y="41092"/>
                </a:cubicBezTo>
                <a:cubicBezTo>
                  <a:pt x="75495" y="40996"/>
                  <a:pt x="44434" y="40872"/>
                  <a:pt x="13373" y="40708"/>
                </a:cubicBezTo>
                <a:cubicBezTo>
                  <a:pt x="9391" y="40687"/>
                  <a:pt x="5410" y="40374"/>
                  <a:pt x="1312" y="40191"/>
                </a:cubicBezTo>
                <a:cubicBezTo>
                  <a:pt x="-1416" y="30384"/>
                  <a:pt x="523" y="21512"/>
                  <a:pt x="3367" y="13162"/>
                </a:cubicBezTo>
                <a:cubicBezTo>
                  <a:pt x="5963" y="5538"/>
                  <a:pt x="12701" y="2077"/>
                  <a:pt x="20752" y="1879"/>
                </a:cubicBezTo>
                <a:cubicBezTo>
                  <a:pt x="31375" y="1617"/>
                  <a:pt x="42004" y="1647"/>
                  <a:pt x="52625" y="1332"/>
                </a:cubicBezTo>
                <a:cubicBezTo>
                  <a:pt x="57918" y="1176"/>
                  <a:pt x="63195" y="535"/>
                  <a:pt x="69625" y="0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55" name="Free-form: Shape 4054">
            <a:extLst>
              <a:ext uri="{FF2B5EF4-FFF2-40B4-BE49-F238E27FC236}">
                <a16:creationId xmlns:a16="http://schemas.microsoft.com/office/drawing/2014/main" id="{B0253ACD-FC8F-CC96-BE84-9EC8DF5A2840}"/>
              </a:ext>
            </a:extLst>
          </p:cNvPr>
          <p:cNvSpPr/>
          <p:nvPr/>
        </p:nvSpPr>
        <p:spPr>
          <a:xfrm>
            <a:off x="7909312" y="4170109"/>
            <a:ext cx="123651" cy="292440"/>
          </a:xfrm>
          <a:custGeom>
            <a:avLst/>
            <a:gdLst>
              <a:gd name="csX0" fmla="*/ 91265 w 164579"/>
              <a:gd name="csY0" fmla="*/ 157878 h 389238"/>
              <a:gd name="csX1" fmla="*/ 112882 w 164579"/>
              <a:gd name="csY1" fmla="*/ 252738 h 389238"/>
              <a:gd name="csX2" fmla="*/ 164579 w 164579"/>
              <a:gd name="csY2" fmla="*/ 389238 h 389238"/>
              <a:gd name="csX3" fmla="*/ 0 w 164579"/>
              <a:gd name="csY3" fmla="*/ 389238 h 389238"/>
              <a:gd name="csX4" fmla="*/ 5184 w 164579"/>
              <a:gd name="csY4" fmla="*/ 260105 h 389238"/>
              <a:gd name="csX5" fmla="*/ 7989 w 164579"/>
              <a:gd name="csY5" fmla="*/ 131182 h 389238"/>
              <a:gd name="csX6" fmla="*/ 8093 w 164579"/>
              <a:gd name="csY6" fmla="*/ 2390 h 389238"/>
              <a:gd name="csX7" fmla="*/ 76429 w 164579"/>
              <a:gd name="csY7" fmla="*/ 1531 h 389238"/>
              <a:gd name="csX8" fmla="*/ 91265 w 164579"/>
              <a:gd name="csY8" fmla="*/ 157878 h 38923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</a:cxnLst>
            <a:rect l="l" t="t" r="r" b="b"/>
            <a:pathLst>
              <a:path w="164579" h="389238">
                <a:moveTo>
                  <a:pt x="91265" y="157878"/>
                </a:moveTo>
                <a:cubicBezTo>
                  <a:pt x="98425" y="190232"/>
                  <a:pt x="104539" y="221785"/>
                  <a:pt x="112882" y="252738"/>
                </a:cubicBezTo>
                <a:cubicBezTo>
                  <a:pt x="125498" y="299549"/>
                  <a:pt x="141482" y="345258"/>
                  <a:pt x="164579" y="389238"/>
                </a:cubicBezTo>
                <a:cubicBezTo>
                  <a:pt x="109753" y="389238"/>
                  <a:pt x="55706" y="389238"/>
                  <a:pt x="0" y="389238"/>
                </a:cubicBezTo>
                <a:cubicBezTo>
                  <a:pt x="1781" y="345633"/>
                  <a:pt x="3844" y="302880"/>
                  <a:pt x="5184" y="260105"/>
                </a:cubicBezTo>
                <a:cubicBezTo>
                  <a:pt x="6529" y="217143"/>
                  <a:pt x="7519" y="174162"/>
                  <a:pt x="7989" y="131182"/>
                </a:cubicBezTo>
                <a:cubicBezTo>
                  <a:pt x="8459" y="88239"/>
                  <a:pt x="8093" y="45287"/>
                  <a:pt x="8093" y="2390"/>
                </a:cubicBezTo>
                <a:cubicBezTo>
                  <a:pt x="17041" y="-288"/>
                  <a:pt x="58537" y="-913"/>
                  <a:pt x="76429" y="1531"/>
                </a:cubicBezTo>
                <a:cubicBezTo>
                  <a:pt x="79287" y="53276"/>
                  <a:pt x="82219" y="105359"/>
                  <a:pt x="91265" y="157878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56" name="Free-form: Shape 4055">
            <a:extLst>
              <a:ext uri="{FF2B5EF4-FFF2-40B4-BE49-F238E27FC236}">
                <a16:creationId xmlns:a16="http://schemas.microsoft.com/office/drawing/2014/main" id="{50096295-0652-2C52-6418-0AF6975037C1}"/>
              </a:ext>
            </a:extLst>
          </p:cNvPr>
          <p:cNvSpPr/>
          <p:nvPr/>
        </p:nvSpPr>
        <p:spPr>
          <a:xfrm>
            <a:off x="7911513" y="4672879"/>
            <a:ext cx="242432" cy="48237"/>
          </a:xfrm>
          <a:custGeom>
            <a:avLst/>
            <a:gdLst>
              <a:gd name="csX0" fmla="*/ 199184 w 322677"/>
              <a:gd name="csY0" fmla="*/ 59136 h 64202"/>
              <a:gd name="csX1" fmla="*/ 0 w 322677"/>
              <a:gd name="csY1" fmla="*/ 62697 h 64202"/>
              <a:gd name="csX2" fmla="*/ 0 w 322677"/>
              <a:gd name="csY2" fmla="*/ 18400 h 64202"/>
              <a:gd name="csX3" fmla="*/ 10601 w 322677"/>
              <a:gd name="csY3" fmla="*/ 17750 h 64202"/>
              <a:gd name="csX4" fmla="*/ 156563 w 322677"/>
              <a:gd name="csY4" fmla="*/ 15074 h 64202"/>
              <a:gd name="csX5" fmla="*/ 266479 w 322677"/>
              <a:gd name="csY5" fmla="*/ 4814 h 64202"/>
              <a:gd name="csX6" fmla="*/ 296798 w 322677"/>
              <a:gd name="csY6" fmla="*/ 344 h 64202"/>
              <a:gd name="csX7" fmla="*/ 309983 w 322677"/>
              <a:gd name="csY7" fmla="*/ 6097 h 64202"/>
              <a:gd name="csX8" fmla="*/ 322678 w 322677"/>
              <a:gd name="csY8" fmla="*/ 40406 h 64202"/>
              <a:gd name="csX9" fmla="*/ 199184 w 322677"/>
              <a:gd name="csY9" fmla="*/ 59136 h 6420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322677" h="64202">
                <a:moveTo>
                  <a:pt x="199184" y="59136"/>
                </a:moveTo>
                <a:cubicBezTo>
                  <a:pt x="132374" y="65824"/>
                  <a:pt x="66629" y="64605"/>
                  <a:pt x="0" y="62697"/>
                </a:cubicBezTo>
                <a:cubicBezTo>
                  <a:pt x="0" y="47160"/>
                  <a:pt x="0" y="33409"/>
                  <a:pt x="0" y="18400"/>
                </a:cubicBezTo>
                <a:cubicBezTo>
                  <a:pt x="3587" y="18160"/>
                  <a:pt x="7120" y="17536"/>
                  <a:pt x="10601" y="17750"/>
                </a:cubicBezTo>
                <a:cubicBezTo>
                  <a:pt x="59329" y="20736"/>
                  <a:pt x="107987" y="18533"/>
                  <a:pt x="156563" y="15074"/>
                </a:cubicBezTo>
                <a:cubicBezTo>
                  <a:pt x="193260" y="12461"/>
                  <a:pt x="229860" y="8449"/>
                  <a:pt x="266479" y="4814"/>
                </a:cubicBezTo>
                <a:cubicBezTo>
                  <a:pt x="276635" y="3806"/>
                  <a:pt x="286748" y="2160"/>
                  <a:pt x="296798" y="344"/>
                </a:cubicBezTo>
                <a:cubicBezTo>
                  <a:pt x="302773" y="-735"/>
                  <a:pt x="306536" y="602"/>
                  <a:pt x="309983" y="6097"/>
                </a:cubicBezTo>
                <a:cubicBezTo>
                  <a:pt x="316405" y="16331"/>
                  <a:pt x="320231" y="27243"/>
                  <a:pt x="322678" y="40406"/>
                </a:cubicBezTo>
                <a:cubicBezTo>
                  <a:pt x="281944" y="49611"/>
                  <a:pt x="241309" y="55431"/>
                  <a:pt x="199184" y="59136"/>
                </a:cubicBezTo>
                <a:close/>
              </a:path>
            </a:pathLst>
          </a:custGeom>
          <a:solidFill>
            <a:schemeClr val="bg1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75" name="Oval 4074">
            <a:extLst>
              <a:ext uri="{FF2B5EF4-FFF2-40B4-BE49-F238E27FC236}">
                <a16:creationId xmlns:a16="http://schemas.microsoft.com/office/drawing/2014/main" id="{75B6C106-C4FD-0A46-752C-4600E1BDBAD3}"/>
              </a:ext>
            </a:extLst>
          </p:cNvPr>
          <p:cNvSpPr/>
          <p:nvPr/>
        </p:nvSpPr>
        <p:spPr>
          <a:xfrm>
            <a:off x="5264533" y="4604142"/>
            <a:ext cx="717697" cy="126003"/>
          </a:xfrm>
          <a:prstGeom prst="ellipse">
            <a:avLst/>
          </a:prstGeom>
          <a:solidFill>
            <a:schemeClr val="tx1">
              <a:alpha val="6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77" name="Free-form: Shape 4076">
            <a:extLst>
              <a:ext uri="{FF2B5EF4-FFF2-40B4-BE49-F238E27FC236}">
                <a16:creationId xmlns:a16="http://schemas.microsoft.com/office/drawing/2014/main" id="{B4D208B9-4854-0426-3C8B-4B98589D5D3E}"/>
              </a:ext>
            </a:extLst>
          </p:cNvPr>
          <p:cNvSpPr/>
          <p:nvPr/>
        </p:nvSpPr>
        <p:spPr>
          <a:xfrm>
            <a:off x="5383919" y="3780555"/>
            <a:ext cx="524096" cy="931726"/>
          </a:xfrm>
          <a:custGeom>
            <a:avLst/>
            <a:gdLst>
              <a:gd name="csX0" fmla="*/ 581793 w 697572"/>
              <a:gd name="csY0" fmla="*/ 1234401 h 1240128"/>
              <a:gd name="csX1" fmla="*/ 577427 w 697572"/>
              <a:gd name="csY1" fmla="*/ 1234156 h 1240128"/>
              <a:gd name="csX2" fmla="*/ 559133 w 697572"/>
              <a:gd name="csY2" fmla="*/ 1230909 h 1240128"/>
              <a:gd name="csX3" fmla="*/ 516706 w 697572"/>
              <a:gd name="csY3" fmla="*/ 1235117 h 1240128"/>
              <a:gd name="csX4" fmla="*/ 475244 w 697572"/>
              <a:gd name="csY4" fmla="*/ 1237506 h 1240128"/>
              <a:gd name="csX5" fmla="*/ 371154 w 697572"/>
              <a:gd name="csY5" fmla="*/ 1239428 h 1240128"/>
              <a:gd name="csX6" fmla="*/ 276813 w 697572"/>
              <a:gd name="csY6" fmla="*/ 1237654 h 1240128"/>
              <a:gd name="csX7" fmla="*/ 268212 w 697572"/>
              <a:gd name="csY7" fmla="*/ 1237635 h 1240128"/>
              <a:gd name="csX8" fmla="*/ 262072 w 697572"/>
              <a:gd name="csY8" fmla="*/ 1237523 h 1240128"/>
              <a:gd name="csX9" fmla="*/ 195111 w 697572"/>
              <a:gd name="csY9" fmla="*/ 1232775 h 1240128"/>
              <a:gd name="csX10" fmla="*/ 145060 w 697572"/>
              <a:gd name="csY10" fmla="*/ 1230076 h 1240128"/>
              <a:gd name="csX11" fmla="*/ 114933 w 697572"/>
              <a:gd name="csY11" fmla="*/ 1225832 h 1240128"/>
              <a:gd name="csX12" fmla="*/ 72642 w 697572"/>
              <a:gd name="csY12" fmla="*/ 1220237 h 1240128"/>
              <a:gd name="csX13" fmla="*/ 10894 w 697572"/>
              <a:gd name="csY13" fmla="*/ 1205737 h 1240128"/>
              <a:gd name="csX14" fmla="*/ 5856 w 697572"/>
              <a:gd name="csY14" fmla="*/ 1202799 h 1240128"/>
              <a:gd name="csX15" fmla="*/ 40 w 697572"/>
              <a:gd name="csY15" fmla="*/ 1174450 h 1240128"/>
              <a:gd name="csX16" fmla="*/ 19831 w 697572"/>
              <a:gd name="csY16" fmla="*/ 1118410 h 1240128"/>
              <a:gd name="csX17" fmla="*/ 22004 w 697572"/>
              <a:gd name="csY17" fmla="*/ 1107240 h 1240128"/>
              <a:gd name="csX18" fmla="*/ 25947 w 697572"/>
              <a:gd name="csY18" fmla="*/ 1038650 h 1240128"/>
              <a:gd name="csX19" fmla="*/ 58234 w 697572"/>
              <a:gd name="csY19" fmla="*/ 988567 h 1240128"/>
              <a:gd name="csX20" fmla="*/ 118645 w 697572"/>
              <a:gd name="csY20" fmla="*/ 928298 h 1240128"/>
              <a:gd name="csX21" fmla="*/ 126320 w 697572"/>
              <a:gd name="csY21" fmla="*/ 892015 h 1240128"/>
              <a:gd name="csX22" fmla="*/ 120345 w 697572"/>
              <a:gd name="csY22" fmla="*/ 872258 h 1240128"/>
              <a:gd name="csX23" fmla="*/ 125668 w 697572"/>
              <a:gd name="csY23" fmla="*/ 861640 h 1240128"/>
              <a:gd name="csX24" fmla="*/ 154237 w 697572"/>
              <a:gd name="csY24" fmla="*/ 850716 h 1240128"/>
              <a:gd name="csX25" fmla="*/ 170248 w 697572"/>
              <a:gd name="csY25" fmla="*/ 836767 h 1240128"/>
              <a:gd name="csX26" fmla="*/ 187840 w 697572"/>
              <a:gd name="csY26" fmla="*/ 796341 h 1240128"/>
              <a:gd name="csX27" fmla="*/ 209346 w 697572"/>
              <a:gd name="csY27" fmla="*/ 743126 h 1240128"/>
              <a:gd name="csX28" fmla="*/ 210630 w 697572"/>
              <a:gd name="csY28" fmla="*/ 737219 h 1240128"/>
              <a:gd name="csX29" fmla="*/ 213836 w 697572"/>
              <a:gd name="csY29" fmla="*/ 720505 h 1240128"/>
              <a:gd name="csX30" fmla="*/ 227791 w 697572"/>
              <a:gd name="csY30" fmla="*/ 667353 h 1240128"/>
              <a:gd name="csX31" fmla="*/ 241013 w 697572"/>
              <a:gd name="csY31" fmla="*/ 599151 h 1240128"/>
              <a:gd name="csX32" fmla="*/ 247322 w 697572"/>
              <a:gd name="csY32" fmla="*/ 542242 h 1240128"/>
              <a:gd name="csX33" fmla="*/ 247948 w 697572"/>
              <a:gd name="csY33" fmla="*/ 499296 h 1240128"/>
              <a:gd name="csX34" fmla="*/ 247577 w 697572"/>
              <a:gd name="csY34" fmla="*/ 470384 h 1240128"/>
              <a:gd name="csX35" fmla="*/ 238877 w 697572"/>
              <a:gd name="csY35" fmla="*/ 460987 h 1240128"/>
              <a:gd name="csX36" fmla="*/ 222040 w 697572"/>
              <a:gd name="csY36" fmla="*/ 458353 h 1240128"/>
              <a:gd name="csX37" fmla="*/ 172193 w 697572"/>
              <a:gd name="csY37" fmla="*/ 433714 h 1240128"/>
              <a:gd name="csX38" fmla="*/ 168410 w 697572"/>
              <a:gd name="csY38" fmla="*/ 396591 h 1240128"/>
              <a:gd name="csX39" fmla="*/ 209826 w 697572"/>
              <a:gd name="csY39" fmla="*/ 367773 h 1240128"/>
              <a:gd name="csX40" fmla="*/ 250732 w 697572"/>
              <a:gd name="csY40" fmla="*/ 355208 h 1240128"/>
              <a:gd name="csX41" fmla="*/ 258289 w 697572"/>
              <a:gd name="csY41" fmla="*/ 350426 h 1240128"/>
              <a:gd name="csX42" fmla="*/ 233274 w 697572"/>
              <a:gd name="csY42" fmla="*/ 333513 h 1240128"/>
              <a:gd name="csX43" fmla="*/ 229677 w 697572"/>
              <a:gd name="csY43" fmla="*/ 333922 h 1240128"/>
              <a:gd name="csX44" fmla="*/ 230149 w 697572"/>
              <a:gd name="csY44" fmla="*/ 332979 h 1240128"/>
              <a:gd name="csX45" fmla="*/ 227053 w 697572"/>
              <a:gd name="csY45" fmla="*/ 327076 h 1240128"/>
              <a:gd name="csX46" fmla="*/ 196769 w 697572"/>
              <a:gd name="csY46" fmla="*/ 291380 h 1240128"/>
              <a:gd name="csX47" fmla="*/ 184389 w 697572"/>
              <a:gd name="csY47" fmla="*/ 264042 h 1240128"/>
              <a:gd name="csX48" fmla="*/ 180630 w 697572"/>
              <a:gd name="csY48" fmla="*/ 257839 h 1240128"/>
              <a:gd name="csX49" fmla="*/ 176231 w 697572"/>
              <a:gd name="csY49" fmla="*/ 250643 h 1240128"/>
              <a:gd name="csX50" fmla="*/ 170073 w 697572"/>
              <a:gd name="csY50" fmla="*/ 146723 h 1240128"/>
              <a:gd name="csX51" fmla="*/ 180929 w 697572"/>
              <a:gd name="csY51" fmla="*/ 114280 h 1240128"/>
              <a:gd name="csX52" fmla="*/ 180839 w 697572"/>
              <a:gd name="csY52" fmla="*/ 101501 h 1240128"/>
              <a:gd name="csX53" fmla="*/ 233536 w 697572"/>
              <a:gd name="csY53" fmla="*/ 39653 h 1240128"/>
              <a:gd name="csX54" fmla="*/ 347618 w 697572"/>
              <a:gd name="csY54" fmla="*/ 35 h 1240128"/>
              <a:gd name="csX55" fmla="*/ 437139 w 697572"/>
              <a:gd name="csY55" fmla="*/ 22396 h 1240128"/>
              <a:gd name="csX56" fmla="*/ 529052 w 697572"/>
              <a:gd name="csY56" fmla="*/ 131093 h 1240128"/>
              <a:gd name="csX57" fmla="*/ 518497 w 697572"/>
              <a:gd name="csY57" fmla="*/ 271517 h 1240128"/>
              <a:gd name="csX58" fmla="*/ 500808 w 697572"/>
              <a:gd name="csY58" fmla="*/ 287385 h 1240128"/>
              <a:gd name="csX59" fmla="*/ 472948 w 697572"/>
              <a:gd name="csY59" fmla="*/ 323290 h 1240128"/>
              <a:gd name="csX60" fmla="*/ 469385 w 697572"/>
              <a:gd name="csY60" fmla="*/ 331565 h 1240128"/>
              <a:gd name="csX61" fmla="*/ 468293 w 697572"/>
              <a:gd name="csY61" fmla="*/ 331320 h 1240128"/>
              <a:gd name="csX62" fmla="*/ 459542 w 697572"/>
              <a:gd name="csY62" fmla="*/ 338942 h 1240128"/>
              <a:gd name="csX63" fmla="*/ 458492 w 697572"/>
              <a:gd name="csY63" fmla="*/ 338671 h 1240128"/>
              <a:gd name="csX64" fmla="*/ 436978 w 697572"/>
              <a:gd name="csY64" fmla="*/ 352226 h 1240128"/>
              <a:gd name="csX65" fmla="*/ 472329 w 697572"/>
              <a:gd name="csY65" fmla="*/ 362890 h 1240128"/>
              <a:gd name="csX66" fmla="*/ 523779 w 697572"/>
              <a:gd name="csY66" fmla="*/ 391962 h 1240128"/>
              <a:gd name="csX67" fmla="*/ 527344 w 697572"/>
              <a:gd name="csY67" fmla="*/ 430096 h 1240128"/>
              <a:gd name="csX68" fmla="*/ 504112 w 697572"/>
              <a:gd name="csY68" fmla="*/ 449628 h 1240128"/>
              <a:gd name="csX69" fmla="*/ 459430 w 697572"/>
              <a:gd name="csY69" fmla="*/ 461116 h 1240128"/>
              <a:gd name="csX70" fmla="*/ 446666 w 697572"/>
              <a:gd name="csY70" fmla="*/ 474229 h 1240128"/>
              <a:gd name="csX71" fmla="*/ 449133 w 697572"/>
              <a:gd name="csY71" fmla="*/ 531639 h 1240128"/>
              <a:gd name="csX72" fmla="*/ 454546 w 697572"/>
              <a:gd name="csY72" fmla="*/ 588688 h 1240128"/>
              <a:gd name="csX73" fmla="*/ 466126 w 697572"/>
              <a:gd name="csY73" fmla="*/ 649736 h 1240128"/>
              <a:gd name="csX74" fmla="*/ 512154 w 697572"/>
              <a:gd name="csY74" fmla="*/ 794006 h 1240128"/>
              <a:gd name="csX75" fmla="*/ 525763 w 697572"/>
              <a:gd name="csY75" fmla="*/ 834323 h 1240128"/>
              <a:gd name="csX76" fmla="*/ 530555 w 697572"/>
              <a:gd name="csY76" fmla="*/ 845114 h 1240128"/>
              <a:gd name="csX77" fmla="*/ 554424 w 697572"/>
              <a:gd name="csY77" fmla="*/ 856618 h 1240128"/>
              <a:gd name="csX78" fmla="*/ 572880 w 697572"/>
              <a:gd name="csY78" fmla="*/ 862546 h 1240128"/>
              <a:gd name="csX79" fmla="*/ 578643 w 697572"/>
              <a:gd name="csY79" fmla="*/ 880396 h 1240128"/>
              <a:gd name="csX80" fmla="*/ 572188 w 697572"/>
              <a:gd name="csY80" fmla="*/ 899820 h 1240128"/>
              <a:gd name="csX81" fmla="*/ 582698 w 697572"/>
              <a:gd name="csY81" fmla="*/ 930382 h 1240128"/>
              <a:gd name="csX82" fmla="*/ 604747 w 697572"/>
              <a:gd name="csY82" fmla="*/ 960852 h 1240128"/>
              <a:gd name="csX83" fmla="*/ 613863 w 697572"/>
              <a:gd name="csY83" fmla="*/ 968311 h 1240128"/>
              <a:gd name="csX84" fmla="*/ 629435 w 697572"/>
              <a:gd name="csY84" fmla="*/ 981186 h 1240128"/>
              <a:gd name="csX85" fmla="*/ 633611 w 697572"/>
              <a:gd name="csY85" fmla="*/ 985609 h 1240128"/>
              <a:gd name="csX86" fmla="*/ 673790 w 697572"/>
              <a:gd name="csY86" fmla="*/ 1049348 h 1240128"/>
              <a:gd name="csX87" fmla="*/ 675873 w 697572"/>
              <a:gd name="csY87" fmla="*/ 1092839 h 1240128"/>
              <a:gd name="csX88" fmla="*/ 681668 w 697572"/>
              <a:gd name="csY88" fmla="*/ 1129292 h 1240128"/>
              <a:gd name="csX89" fmla="*/ 697338 w 697572"/>
              <a:gd name="csY89" fmla="*/ 1196079 h 1240128"/>
              <a:gd name="csX90" fmla="*/ 690637 w 697572"/>
              <a:gd name="csY90" fmla="*/ 1205035 h 1240128"/>
              <a:gd name="csX91" fmla="*/ 639777 w 697572"/>
              <a:gd name="csY91" fmla="*/ 1217994 h 1240128"/>
              <a:gd name="csX92" fmla="*/ 587072 w 697572"/>
              <a:gd name="csY92" fmla="*/ 1227761 h 1240128"/>
              <a:gd name="csX93" fmla="*/ 581793 w 697572"/>
              <a:gd name="csY93" fmla="*/ 1234401 h 1240128"/>
              <a:gd name="csX94" fmla="*/ 357446 w 697572"/>
              <a:gd name="csY94" fmla="*/ 903795 h 1240128"/>
              <a:gd name="csX95" fmla="*/ 344445 w 697572"/>
              <a:gd name="csY95" fmla="*/ 903795 h 1240128"/>
              <a:gd name="csX96" fmla="*/ 349212 w 697572"/>
              <a:gd name="csY96" fmla="*/ 950515 h 1240128"/>
              <a:gd name="csX97" fmla="*/ 349538 w 697572"/>
              <a:gd name="csY97" fmla="*/ 1069392 h 1240128"/>
              <a:gd name="csX98" fmla="*/ 349415 w 697572"/>
              <a:gd name="csY98" fmla="*/ 1108925 h 1240128"/>
              <a:gd name="csX99" fmla="*/ 647726 w 697572"/>
              <a:gd name="csY99" fmla="*/ 1089872 h 1240128"/>
              <a:gd name="csX100" fmla="*/ 647654 w 697572"/>
              <a:gd name="csY100" fmla="*/ 1076267 h 1240128"/>
              <a:gd name="csX101" fmla="*/ 610267 w 697572"/>
              <a:gd name="csY101" fmla="*/ 994126 h 1240128"/>
              <a:gd name="csX102" fmla="*/ 571459 w 697572"/>
              <a:gd name="csY102" fmla="*/ 956568 h 1240128"/>
              <a:gd name="csX103" fmla="*/ 541653 w 697572"/>
              <a:gd name="csY103" fmla="*/ 901544 h 1240128"/>
              <a:gd name="csX104" fmla="*/ 539477 w 697572"/>
              <a:gd name="csY104" fmla="*/ 895908 h 1240128"/>
              <a:gd name="csX105" fmla="*/ 357446 w 697572"/>
              <a:gd name="csY105" fmla="*/ 903795 h 1240128"/>
              <a:gd name="csX106" fmla="*/ 300108 w 697572"/>
              <a:gd name="csY106" fmla="*/ 85260 h 1240128"/>
              <a:gd name="csX107" fmla="*/ 290213 w 697572"/>
              <a:gd name="csY107" fmla="*/ 127888 h 1240128"/>
              <a:gd name="csX108" fmla="*/ 331056 w 697572"/>
              <a:gd name="csY108" fmla="*/ 214168 h 1240128"/>
              <a:gd name="csX109" fmla="*/ 424717 w 697572"/>
              <a:gd name="csY109" fmla="*/ 245160 h 1240128"/>
              <a:gd name="csX110" fmla="*/ 496752 w 697572"/>
              <a:gd name="csY110" fmla="*/ 141256 h 1240128"/>
              <a:gd name="csX111" fmla="*/ 390320 w 697572"/>
              <a:gd name="csY111" fmla="*/ 43995 h 1240128"/>
              <a:gd name="csX112" fmla="*/ 300108 w 697572"/>
              <a:gd name="csY112" fmla="*/ 85260 h 1240128"/>
              <a:gd name="csX113" fmla="*/ 343360 w 697572"/>
              <a:gd name="csY113" fmla="*/ 634332 h 1240128"/>
              <a:gd name="csX114" fmla="*/ 340877 w 697572"/>
              <a:gd name="csY114" fmla="*/ 732259 h 1240128"/>
              <a:gd name="csX115" fmla="*/ 338360 w 697572"/>
              <a:gd name="csY115" fmla="*/ 810538 h 1240128"/>
              <a:gd name="csX116" fmla="*/ 337115 w 697572"/>
              <a:gd name="csY116" fmla="*/ 817736 h 1240128"/>
              <a:gd name="csX117" fmla="*/ 336516 w 697572"/>
              <a:gd name="csY117" fmla="*/ 863022 h 1240128"/>
              <a:gd name="csX118" fmla="*/ 343436 w 697572"/>
              <a:gd name="csY118" fmla="*/ 864027 h 1240128"/>
              <a:gd name="csX119" fmla="*/ 406718 w 697572"/>
              <a:gd name="csY119" fmla="*/ 862982 h 1240128"/>
              <a:gd name="csX120" fmla="*/ 456888 w 697572"/>
              <a:gd name="csY120" fmla="*/ 861794 h 1240128"/>
              <a:gd name="csX121" fmla="*/ 495873 w 697572"/>
              <a:gd name="csY121" fmla="*/ 863963 h 1240128"/>
              <a:gd name="csX122" fmla="*/ 509286 w 697572"/>
              <a:gd name="csY122" fmla="*/ 863595 h 1240128"/>
              <a:gd name="csX123" fmla="*/ 516956 w 697572"/>
              <a:gd name="csY123" fmla="*/ 856791 h 1240128"/>
              <a:gd name="csX124" fmla="*/ 513920 w 697572"/>
              <a:gd name="csY124" fmla="*/ 848709 h 1240128"/>
              <a:gd name="csX125" fmla="*/ 506683 w 697572"/>
              <a:gd name="csY125" fmla="*/ 839054 h 1240128"/>
              <a:gd name="csX126" fmla="*/ 488629 w 697572"/>
              <a:gd name="csY126" fmla="*/ 799037 h 1240128"/>
              <a:gd name="csX127" fmla="*/ 456922 w 697572"/>
              <a:gd name="csY127" fmla="*/ 696297 h 1240128"/>
              <a:gd name="csX128" fmla="*/ 441346 w 697572"/>
              <a:gd name="csY128" fmla="*/ 619885 h 1240128"/>
              <a:gd name="csX129" fmla="*/ 435963 w 697572"/>
              <a:gd name="csY129" fmla="*/ 582529 h 1240128"/>
              <a:gd name="csX130" fmla="*/ 429497 w 697572"/>
              <a:gd name="csY130" fmla="*/ 521990 h 1240128"/>
              <a:gd name="csX131" fmla="*/ 426887 w 697572"/>
              <a:gd name="csY131" fmla="*/ 471989 h 1240128"/>
              <a:gd name="csX132" fmla="*/ 413744 w 697572"/>
              <a:gd name="csY132" fmla="*/ 461077 h 1240128"/>
              <a:gd name="csX133" fmla="*/ 353573 w 697572"/>
              <a:gd name="csY133" fmla="*/ 461120 h 1240128"/>
              <a:gd name="csX134" fmla="*/ 344160 w 697572"/>
              <a:gd name="csY134" fmla="*/ 462286 h 1240128"/>
              <a:gd name="csX135" fmla="*/ 343404 w 697572"/>
              <a:gd name="csY135" fmla="*/ 469192 h 1240128"/>
              <a:gd name="csX136" fmla="*/ 343469 w 697572"/>
              <a:gd name="csY136" fmla="*/ 574797 h 1240128"/>
              <a:gd name="csX137" fmla="*/ 345522 w 697572"/>
              <a:gd name="csY137" fmla="*/ 591669 h 1240128"/>
              <a:gd name="csX138" fmla="*/ 343360 w 697572"/>
              <a:gd name="csY138" fmla="*/ 634332 h 1240128"/>
              <a:gd name="csX139" fmla="*/ 416946 w 697572"/>
              <a:gd name="csY139" fmla="*/ 385943 h 1240128"/>
              <a:gd name="csX140" fmla="*/ 401091 w 697572"/>
              <a:gd name="csY140" fmla="*/ 387162 h 1240128"/>
              <a:gd name="csX141" fmla="*/ 369218 w 697572"/>
              <a:gd name="csY141" fmla="*/ 387708 h 1240128"/>
              <a:gd name="csX142" fmla="*/ 351833 w 697572"/>
              <a:gd name="csY142" fmla="*/ 398991 h 1240128"/>
              <a:gd name="csX143" fmla="*/ 349778 w 697572"/>
              <a:gd name="csY143" fmla="*/ 426021 h 1240128"/>
              <a:gd name="csX144" fmla="*/ 361839 w 697572"/>
              <a:gd name="csY144" fmla="*/ 426538 h 1240128"/>
              <a:gd name="csX145" fmla="*/ 455022 w 697572"/>
              <a:gd name="csY145" fmla="*/ 426922 h 1240128"/>
              <a:gd name="csX146" fmla="*/ 481958 w 697572"/>
              <a:gd name="csY146" fmla="*/ 426527 h 1240128"/>
              <a:gd name="csX147" fmla="*/ 499817 w 697572"/>
              <a:gd name="csY147" fmla="*/ 419888 h 1240128"/>
              <a:gd name="csX148" fmla="*/ 499439 w 697572"/>
              <a:gd name="csY148" fmla="*/ 400719 h 1240128"/>
              <a:gd name="csX149" fmla="*/ 468062 w 697572"/>
              <a:gd name="csY149" fmla="*/ 387775 h 1240128"/>
              <a:gd name="csX150" fmla="*/ 416946 w 697572"/>
              <a:gd name="csY150" fmla="*/ 385943 h 1240128"/>
              <a:gd name="csX151" fmla="*/ 636802 w 697572"/>
              <a:gd name="csY151" fmla="*/ 1190940 h 1240128"/>
              <a:gd name="csX152" fmla="*/ 666492 w 697572"/>
              <a:gd name="csY152" fmla="*/ 1184186 h 1240128"/>
              <a:gd name="csX153" fmla="*/ 674465 w 697572"/>
              <a:gd name="csY153" fmla="*/ 1170880 h 1240128"/>
              <a:gd name="csX154" fmla="*/ 662462 w 697572"/>
              <a:gd name="csY154" fmla="*/ 1141464 h 1240128"/>
              <a:gd name="csX155" fmla="*/ 645564 w 697572"/>
              <a:gd name="csY155" fmla="*/ 1131937 h 1240128"/>
              <a:gd name="csX156" fmla="*/ 627387 w 697572"/>
              <a:gd name="csY156" fmla="*/ 1133618 h 1240128"/>
              <a:gd name="csX157" fmla="*/ 583917 w 697572"/>
              <a:gd name="csY157" fmla="*/ 1139222 h 1240128"/>
              <a:gd name="csX158" fmla="*/ 543741 w 697572"/>
              <a:gd name="csY158" fmla="*/ 1141869 h 1240128"/>
              <a:gd name="csX159" fmla="*/ 512146 w 697572"/>
              <a:gd name="csY159" fmla="*/ 1144418 h 1240128"/>
              <a:gd name="csX160" fmla="*/ 447711 w 697572"/>
              <a:gd name="csY160" fmla="*/ 1148973 h 1240128"/>
              <a:gd name="csX161" fmla="*/ 351979 w 697572"/>
              <a:gd name="csY161" fmla="*/ 1149200 h 1240128"/>
              <a:gd name="csX162" fmla="*/ 338443 w 697572"/>
              <a:gd name="csY162" fmla="*/ 1150040 h 1240128"/>
              <a:gd name="csX163" fmla="*/ 338451 w 697572"/>
              <a:gd name="csY163" fmla="*/ 1190780 h 1240128"/>
              <a:gd name="csX164" fmla="*/ 351082 w 697572"/>
              <a:gd name="csY164" fmla="*/ 1207015 h 1240128"/>
              <a:gd name="csX165" fmla="*/ 358298 w 697572"/>
              <a:gd name="csY165" fmla="*/ 1208094 h 1240128"/>
              <a:gd name="csX166" fmla="*/ 521229 w 697572"/>
              <a:gd name="csY166" fmla="*/ 1205646 h 1240128"/>
              <a:gd name="csX167" fmla="*/ 523675 w 697572"/>
              <a:gd name="csY167" fmla="*/ 1205490 h 1240128"/>
              <a:gd name="csX168" fmla="*/ 580423 w 697572"/>
              <a:gd name="csY168" fmla="*/ 1198350 h 1240128"/>
              <a:gd name="csX169" fmla="*/ 636802 w 697572"/>
              <a:gd name="csY169" fmla="*/ 1190940 h 124012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</a:cxnLst>
            <a:rect l="l" t="t" r="r" b="b"/>
            <a:pathLst>
              <a:path w="697572" h="1240128">
                <a:moveTo>
                  <a:pt x="581793" y="1234401"/>
                </a:moveTo>
                <a:cubicBezTo>
                  <a:pt x="580693" y="1234661"/>
                  <a:pt x="579594" y="1234922"/>
                  <a:pt x="577427" y="1234156"/>
                </a:cubicBezTo>
                <a:cubicBezTo>
                  <a:pt x="571216" y="1227899"/>
                  <a:pt x="564912" y="1230441"/>
                  <a:pt x="559133" y="1230909"/>
                </a:cubicBezTo>
                <a:cubicBezTo>
                  <a:pt x="544971" y="1232056"/>
                  <a:pt x="530869" y="1233971"/>
                  <a:pt x="516706" y="1235117"/>
                </a:cubicBezTo>
                <a:cubicBezTo>
                  <a:pt x="502910" y="1236232"/>
                  <a:pt x="489077" y="1237097"/>
                  <a:pt x="475244" y="1237506"/>
                </a:cubicBezTo>
                <a:cubicBezTo>
                  <a:pt x="440539" y="1238535"/>
                  <a:pt x="405696" y="1241458"/>
                  <a:pt x="371154" y="1239428"/>
                </a:cubicBezTo>
                <a:cubicBezTo>
                  <a:pt x="339645" y="1237575"/>
                  <a:pt x="308239" y="1238753"/>
                  <a:pt x="276813" y="1237654"/>
                </a:cubicBezTo>
                <a:cubicBezTo>
                  <a:pt x="273949" y="1237553"/>
                  <a:pt x="271079" y="1237652"/>
                  <a:pt x="268212" y="1237635"/>
                </a:cubicBezTo>
                <a:cubicBezTo>
                  <a:pt x="266165" y="1237623"/>
                  <a:pt x="264111" y="1237668"/>
                  <a:pt x="262072" y="1237523"/>
                </a:cubicBezTo>
                <a:cubicBezTo>
                  <a:pt x="239751" y="1235944"/>
                  <a:pt x="217441" y="1234201"/>
                  <a:pt x="195111" y="1232775"/>
                </a:cubicBezTo>
                <a:cubicBezTo>
                  <a:pt x="178437" y="1231710"/>
                  <a:pt x="161712" y="1231378"/>
                  <a:pt x="145060" y="1230076"/>
                </a:cubicBezTo>
                <a:cubicBezTo>
                  <a:pt x="134969" y="1229287"/>
                  <a:pt x="124987" y="1227177"/>
                  <a:pt x="114933" y="1225832"/>
                </a:cubicBezTo>
                <a:cubicBezTo>
                  <a:pt x="100834" y="1223946"/>
                  <a:pt x="86554" y="1223022"/>
                  <a:pt x="72642" y="1220237"/>
                </a:cubicBezTo>
                <a:cubicBezTo>
                  <a:pt x="51920" y="1216091"/>
                  <a:pt x="31443" y="1210723"/>
                  <a:pt x="10894" y="1205737"/>
                </a:cubicBezTo>
                <a:cubicBezTo>
                  <a:pt x="9027" y="1205284"/>
                  <a:pt x="6196" y="1204140"/>
                  <a:pt x="5856" y="1202799"/>
                </a:cubicBezTo>
                <a:cubicBezTo>
                  <a:pt x="3474" y="1193418"/>
                  <a:pt x="-438" y="1183796"/>
                  <a:pt x="40" y="1174450"/>
                </a:cubicBezTo>
                <a:cubicBezTo>
                  <a:pt x="1079" y="1154149"/>
                  <a:pt x="9757" y="1135843"/>
                  <a:pt x="19831" y="1118410"/>
                </a:cubicBezTo>
                <a:cubicBezTo>
                  <a:pt x="21968" y="1114713"/>
                  <a:pt x="22970" y="1111858"/>
                  <a:pt x="22004" y="1107240"/>
                </a:cubicBezTo>
                <a:cubicBezTo>
                  <a:pt x="17168" y="1084118"/>
                  <a:pt x="17717" y="1061168"/>
                  <a:pt x="25947" y="1038650"/>
                </a:cubicBezTo>
                <a:cubicBezTo>
                  <a:pt x="32954" y="1019481"/>
                  <a:pt x="44478" y="1003118"/>
                  <a:pt x="58234" y="988567"/>
                </a:cubicBezTo>
                <a:cubicBezTo>
                  <a:pt x="77769" y="967902"/>
                  <a:pt x="97978" y="947832"/>
                  <a:pt x="118645" y="928298"/>
                </a:cubicBezTo>
                <a:cubicBezTo>
                  <a:pt x="130104" y="917467"/>
                  <a:pt x="131835" y="905961"/>
                  <a:pt x="126320" y="892015"/>
                </a:cubicBezTo>
                <a:cubicBezTo>
                  <a:pt x="123798" y="885637"/>
                  <a:pt x="122123" y="878904"/>
                  <a:pt x="120345" y="872258"/>
                </a:cubicBezTo>
                <a:cubicBezTo>
                  <a:pt x="119029" y="867341"/>
                  <a:pt x="120162" y="863613"/>
                  <a:pt x="125668" y="861640"/>
                </a:cubicBezTo>
                <a:cubicBezTo>
                  <a:pt x="135266" y="858201"/>
                  <a:pt x="144535" y="853788"/>
                  <a:pt x="154237" y="850716"/>
                </a:cubicBezTo>
                <a:cubicBezTo>
                  <a:pt x="161882" y="848296"/>
                  <a:pt x="167110" y="843897"/>
                  <a:pt x="170248" y="836767"/>
                </a:cubicBezTo>
                <a:cubicBezTo>
                  <a:pt x="176168" y="823316"/>
                  <a:pt x="182193" y="809907"/>
                  <a:pt x="187840" y="796341"/>
                </a:cubicBezTo>
                <a:cubicBezTo>
                  <a:pt x="195194" y="778679"/>
                  <a:pt x="202250" y="760894"/>
                  <a:pt x="209346" y="743126"/>
                </a:cubicBezTo>
                <a:cubicBezTo>
                  <a:pt x="210083" y="741280"/>
                  <a:pt x="210252" y="739200"/>
                  <a:pt x="210630" y="737219"/>
                </a:cubicBezTo>
                <a:cubicBezTo>
                  <a:pt x="211694" y="731645"/>
                  <a:pt x="212425" y="725987"/>
                  <a:pt x="213836" y="720505"/>
                </a:cubicBezTo>
                <a:cubicBezTo>
                  <a:pt x="218406" y="702764"/>
                  <a:pt x="223811" y="685219"/>
                  <a:pt x="227791" y="667353"/>
                </a:cubicBezTo>
                <a:cubicBezTo>
                  <a:pt x="232826" y="644755"/>
                  <a:pt x="237367" y="622009"/>
                  <a:pt x="241013" y="599151"/>
                </a:cubicBezTo>
                <a:cubicBezTo>
                  <a:pt x="244018" y="580319"/>
                  <a:pt x="246001" y="561272"/>
                  <a:pt x="247322" y="542242"/>
                </a:cubicBezTo>
                <a:cubicBezTo>
                  <a:pt x="248312" y="527975"/>
                  <a:pt x="246344" y="513451"/>
                  <a:pt x="247948" y="499296"/>
                </a:cubicBezTo>
                <a:cubicBezTo>
                  <a:pt x="249066" y="489432"/>
                  <a:pt x="247923" y="480014"/>
                  <a:pt x="247577" y="470384"/>
                </a:cubicBezTo>
                <a:cubicBezTo>
                  <a:pt x="247364" y="464453"/>
                  <a:pt x="245121" y="461397"/>
                  <a:pt x="238877" y="460987"/>
                </a:cubicBezTo>
                <a:cubicBezTo>
                  <a:pt x="233224" y="460615"/>
                  <a:pt x="227461" y="459920"/>
                  <a:pt x="222040" y="458353"/>
                </a:cubicBezTo>
                <a:cubicBezTo>
                  <a:pt x="203991" y="453134"/>
                  <a:pt x="185737" y="448229"/>
                  <a:pt x="172193" y="433714"/>
                </a:cubicBezTo>
                <a:cubicBezTo>
                  <a:pt x="162702" y="423544"/>
                  <a:pt x="160887" y="408134"/>
                  <a:pt x="168410" y="396591"/>
                </a:cubicBezTo>
                <a:cubicBezTo>
                  <a:pt x="178294" y="381428"/>
                  <a:pt x="193736" y="373793"/>
                  <a:pt x="209826" y="367773"/>
                </a:cubicBezTo>
                <a:cubicBezTo>
                  <a:pt x="223159" y="362784"/>
                  <a:pt x="237124" y="359493"/>
                  <a:pt x="250732" y="355208"/>
                </a:cubicBezTo>
                <a:cubicBezTo>
                  <a:pt x="253085" y="354467"/>
                  <a:pt x="255058" y="352518"/>
                  <a:pt x="258289" y="350426"/>
                </a:cubicBezTo>
                <a:cubicBezTo>
                  <a:pt x="250173" y="342610"/>
                  <a:pt x="241833" y="337880"/>
                  <a:pt x="233274" y="333513"/>
                </a:cubicBezTo>
                <a:cubicBezTo>
                  <a:pt x="232377" y="333055"/>
                  <a:pt x="230890" y="333758"/>
                  <a:pt x="229677" y="333922"/>
                </a:cubicBezTo>
                <a:cubicBezTo>
                  <a:pt x="229677" y="333922"/>
                  <a:pt x="230323" y="333834"/>
                  <a:pt x="230149" y="332979"/>
                </a:cubicBezTo>
                <a:cubicBezTo>
                  <a:pt x="229023" y="330409"/>
                  <a:pt x="228502" y="328059"/>
                  <a:pt x="227053" y="327076"/>
                </a:cubicBezTo>
                <a:cubicBezTo>
                  <a:pt x="213615" y="317962"/>
                  <a:pt x="204643" y="305332"/>
                  <a:pt x="196769" y="291380"/>
                </a:cubicBezTo>
                <a:cubicBezTo>
                  <a:pt x="191792" y="282564"/>
                  <a:pt x="185421" y="274665"/>
                  <a:pt x="184389" y="264042"/>
                </a:cubicBezTo>
                <a:cubicBezTo>
                  <a:pt x="184179" y="261874"/>
                  <a:pt x="181925" y="259908"/>
                  <a:pt x="180630" y="257839"/>
                </a:cubicBezTo>
                <a:cubicBezTo>
                  <a:pt x="179137" y="255454"/>
                  <a:pt x="177317" y="253204"/>
                  <a:pt x="176231" y="250643"/>
                </a:cubicBezTo>
                <a:cubicBezTo>
                  <a:pt x="161865" y="216749"/>
                  <a:pt x="159606" y="182060"/>
                  <a:pt x="170073" y="146723"/>
                </a:cubicBezTo>
                <a:cubicBezTo>
                  <a:pt x="173311" y="135795"/>
                  <a:pt x="177248" y="125074"/>
                  <a:pt x="180929" y="114280"/>
                </a:cubicBezTo>
                <a:cubicBezTo>
                  <a:pt x="182396" y="109981"/>
                  <a:pt x="183922" y="105742"/>
                  <a:pt x="180839" y="101501"/>
                </a:cubicBezTo>
                <a:cubicBezTo>
                  <a:pt x="192473" y="75833"/>
                  <a:pt x="211344" y="56271"/>
                  <a:pt x="233536" y="39653"/>
                </a:cubicBezTo>
                <a:cubicBezTo>
                  <a:pt x="267321" y="14353"/>
                  <a:pt x="305621" y="873"/>
                  <a:pt x="347618" y="35"/>
                </a:cubicBezTo>
                <a:cubicBezTo>
                  <a:pt x="379125" y="-593"/>
                  <a:pt x="409214" y="7172"/>
                  <a:pt x="437139" y="22396"/>
                </a:cubicBezTo>
                <a:cubicBezTo>
                  <a:pt x="481844" y="46766"/>
                  <a:pt x="514077" y="82116"/>
                  <a:pt x="529052" y="131093"/>
                </a:cubicBezTo>
                <a:cubicBezTo>
                  <a:pt x="543544" y="178495"/>
                  <a:pt x="541630" y="225548"/>
                  <a:pt x="518497" y="271517"/>
                </a:cubicBezTo>
                <a:cubicBezTo>
                  <a:pt x="511428" y="277096"/>
                  <a:pt x="503848" y="281136"/>
                  <a:pt x="500808" y="287385"/>
                </a:cubicBezTo>
                <a:cubicBezTo>
                  <a:pt x="493932" y="301522"/>
                  <a:pt x="483805" y="312513"/>
                  <a:pt x="472948" y="323290"/>
                </a:cubicBezTo>
                <a:cubicBezTo>
                  <a:pt x="470972" y="325253"/>
                  <a:pt x="470533" y="328767"/>
                  <a:pt x="469385" y="331565"/>
                </a:cubicBezTo>
                <a:cubicBezTo>
                  <a:pt x="469385" y="331565"/>
                  <a:pt x="469172" y="331584"/>
                  <a:pt x="468293" y="331320"/>
                </a:cubicBezTo>
                <a:cubicBezTo>
                  <a:pt x="461937" y="330836"/>
                  <a:pt x="458618" y="332772"/>
                  <a:pt x="459542" y="338942"/>
                </a:cubicBezTo>
                <a:cubicBezTo>
                  <a:pt x="459542" y="338942"/>
                  <a:pt x="459473" y="338913"/>
                  <a:pt x="458492" y="338671"/>
                </a:cubicBezTo>
                <a:cubicBezTo>
                  <a:pt x="450936" y="342653"/>
                  <a:pt x="440712" y="341355"/>
                  <a:pt x="436978" y="352226"/>
                </a:cubicBezTo>
                <a:cubicBezTo>
                  <a:pt x="449178" y="355911"/>
                  <a:pt x="460733" y="359469"/>
                  <a:pt x="472329" y="362890"/>
                </a:cubicBezTo>
                <a:cubicBezTo>
                  <a:pt x="491728" y="368613"/>
                  <a:pt x="510182" y="375784"/>
                  <a:pt x="523779" y="391962"/>
                </a:cubicBezTo>
                <a:cubicBezTo>
                  <a:pt x="535849" y="406326"/>
                  <a:pt x="534845" y="420076"/>
                  <a:pt x="527344" y="430096"/>
                </a:cubicBezTo>
                <a:cubicBezTo>
                  <a:pt x="521323" y="438139"/>
                  <a:pt x="513928" y="445333"/>
                  <a:pt x="504112" y="449628"/>
                </a:cubicBezTo>
                <a:cubicBezTo>
                  <a:pt x="489776" y="455901"/>
                  <a:pt x="475173" y="460486"/>
                  <a:pt x="459430" y="461116"/>
                </a:cubicBezTo>
                <a:cubicBezTo>
                  <a:pt x="448415" y="461557"/>
                  <a:pt x="446384" y="463369"/>
                  <a:pt x="446666" y="474229"/>
                </a:cubicBezTo>
                <a:cubicBezTo>
                  <a:pt x="447164" y="493376"/>
                  <a:pt x="447839" y="512533"/>
                  <a:pt x="449133" y="531639"/>
                </a:cubicBezTo>
                <a:cubicBezTo>
                  <a:pt x="450424" y="550696"/>
                  <a:pt x="451783" y="569809"/>
                  <a:pt x="454546" y="588688"/>
                </a:cubicBezTo>
                <a:cubicBezTo>
                  <a:pt x="457543" y="609164"/>
                  <a:pt x="462165" y="629403"/>
                  <a:pt x="466126" y="649736"/>
                </a:cubicBezTo>
                <a:cubicBezTo>
                  <a:pt x="475845" y="699621"/>
                  <a:pt x="493414" y="746980"/>
                  <a:pt x="512154" y="794006"/>
                </a:cubicBezTo>
                <a:cubicBezTo>
                  <a:pt x="517387" y="807138"/>
                  <a:pt x="525145" y="819463"/>
                  <a:pt x="525763" y="834323"/>
                </a:cubicBezTo>
                <a:cubicBezTo>
                  <a:pt x="525919" y="838081"/>
                  <a:pt x="527739" y="843335"/>
                  <a:pt x="530555" y="845114"/>
                </a:cubicBezTo>
                <a:cubicBezTo>
                  <a:pt x="537981" y="849801"/>
                  <a:pt x="546243" y="853278"/>
                  <a:pt x="554424" y="856618"/>
                </a:cubicBezTo>
                <a:cubicBezTo>
                  <a:pt x="560391" y="859054"/>
                  <a:pt x="567041" y="859887"/>
                  <a:pt x="572880" y="862546"/>
                </a:cubicBezTo>
                <a:cubicBezTo>
                  <a:pt x="581470" y="866458"/>
                  <a:pt x="582467" y="871415"/>
                  <a:pt x="578643" y="880396"/>
                </a:cubicBezTo>
                <a:cubicBezTo>
                  <a:pt x="575969" y="886677"/>
                  <a:pt x="572900" y="893182"/>
                  <a:pt x="572188" y="899820"/>
                </a:cubicBezTo>
                <a:cubicBezTo>
                  <a:pt x="570960" y="911271"/>
                  <a:pt x="576506" y="920944"/>
                  <a:pt x="582698" y="930382"/>
                </a:cubicBezTo>
                <a:cubicBezTo>
                  <a:pt x="589569" y="940856"/>
                  <a:pt x="600933" y="947930"/>
                  <a:pt x="604747" y="960852"/>
                </a:cubicBezTo>
                <a:cubicBezTo>
                  <a:pt x="605684" y="964030"/>
                  <a:pt x="610294" y="967128"/>
                  <a:pt x="613863" y="968311"/>
                </a:cubicBezTo>
                <a:cubicBezTo>
                  <a:pt x="620963" y="970665"/>
                  <a:pt x="625924" y="974774"/>
                  <a:pt x="629435" y="981186"/>
                </a:cubicBezTo>
                <a:cubicBezTo>
                  <a:pt x="630381" y="982913"/>
                  <a:pt x="631977" y="984459"/>
                  <a:pt x="633611" y="985609"/>
                </a:cubicBezTo>
                <a:cubicBezTo>
                  <a:pt x="655878" y="1001272"/>
                  <a:pt x="668032" y="1023762"/>
                  <a:pt x="673790" y="1049348"/>
                </a:cubicBezTo>
                <a:cubicBezTo>
                  <a:pt x="676936" y="1063327"/>
                  <a:pt x="679769" y="1077802"/>
                  <a:pt x="675873" y="1092839"/>
                </a:cubicBezTo>
                <a:cubicBezTo>
                  <a:pt x="672677" y="1105174"/>
                  <a:pt x="673042" y="1116963"/>
                  <a:pt x="681668" y="1129292"/>
                </a:cubicBezTo>
                <a:cubicBezTo>
                  <a:pt x="695321" y="1148802"/>
                  <a:pt x="698550" y="1172235"/>
                  <a:pt x="697338" y="1196079"/>
                </a:cubicBezTo>
                <a:cubicBezTo>
                  <a:pt x="697087" y="1201014"/>
                  <a:pt x="694979" y="1203886"/>
                  <a:pt x="690637" y="1205035"/>
                </a:cubicBezTo>
                <a:cubicBezTo>
                  <a:pt x="673723" y="1209511"/>
                  <a:pt x="656856" y="1214241"/>
                  <a:pt x="639777" y="1217994"/>
                </a:cubicBezTo>
                <a:cubicBezTo>
                  <a:pt x="622334" y="1221827"/>
                  <a:pt x="604691" y="1224790"/>
                  <a:pt x="587072" y="1227761"/>
                </a:cubicBezTo>
                <a:cubicBezTo>
                  <a:pt x="582708" y="1228497"/>
                  <a:pt x="581724" y="1230736"/>
                  <a:pt x="581793" y="1234401"/>
                </a:cubicBezTo>
                <a:moveTo>
                  <a:pt x="357446" y="903795"/>
                </a:moveTo>
                <a:cubicBezTo>
                  <a:pt x="353141" y="903795"/>
                  <a:pt x="348835" y="903795"/>
                  <a:pt x="344445" y="903795"/>
                </a:cubicBezTo>
                <a:cubicBezTo>
                  <a:pt x="346169" y="920562"/>
                  <a:pt x="347908" y="935520"/>
                  <a:pt x="349212" y="950515"/>
                </a:cubicBezTo>
                <a:cubicBezTo>
                  <a:pt x="352656" y="990125"/>
                  <a:pt x="351941" y="1029743"/>
                  <a:pt x="349538" y="1069392"/>
                </a:cubicBezTo>
                <a:cubicBezTo>
                  <a:pt x="348759" y="1082241"/>
                  <a:pt x="349415" y="1095176"/>
                  <a:pt x="349415" y="1108925"/>
                </a:cubicBezTo>
                <a:cubicBezTo>
                  <a:pt x="449467" y="1111953"/>
                  <a:pt x="548509" y="1104712"/>
                  <a:pt x="647726" y="1089872"/>
                </a:cubicBezTo>
                <a:cubicBezTo>
                  <a:pt x="647726" y="1084313"/>
                  <a:pt x="648180" y="1080225"/>
                  <a:pt x="647654" y="1076267"/>
                </a:cubicBezTo>
                <a:cubicBezTo>
                  <a:pt x="643515" y="1045124"/>
                  <a:pt x="633172" y="1016714"/>
                  <a:pt x="610267" y="994126"/>
                </a:cubicBezTo>
                <a:cubicBezTo>
                  <a:pt x="597451" y="981485"/>
                  <a:pt x="584392" y="969090"/>
                  <a:pt x="571459" y="956568"/>
                </a:cubicBezTo>
                <a:cubicBezTo>
                  <a:pt x="555751" y="941359"/>
                  <a:pt x="544836" y="923558"/>
                  <a:pt x="541653" y="901544"/>
                </a:cubicBezTo>
                <a:cubicBezTo>
                  <a:pt x="541430" y="900007"/>
                  <a:pt x="540528" y="898570"/>
                  <a:pt x="539477" y="895908"/>
                </a:cubicBezTo>
                <a:cubicBezTo>
                  <a:pt x="479736" y="901652"/>
                  <a:pt x="419815" y="904536"/>
                  <a:pt x="357446" y="903795"/>
                </a:cubicBezTo>
                <a:moveTo>
                  <a:pt x="300108" y="85260"/>
                </a:moveTo>
                <a:cubicBezTo>
                  <a:pt x="293656" y="98745"/>
                  <a:pt x="289202" y="113094"/>
                  <a:pt x="290213" y="127888"/>
                </a:cubicBezTo>
                <a:cubicBezTo>
                  <a:pt x="292527" y="161736"/>
                  <a:pt x="304185" y="191723"/>
                  <a:pt x="331056" y="214168"/>
                </a:cubicBezTo>
                <a:cubicBezTo>
                  <a:pt x="358172" y="236816"/>
                  <a:pt x="388435" y="249934"/>
                  <a:pt x="424717" y="245160"/>
                </a:cubicBezTo>
                <a:cubicBezTo>
                  <a:pt x="468593" y="239387"/>
                  <a:pt x="509574" y="203365"/>
                  <a:pt x="496752" y="141256"/>
                </a:cubicBezTo>
                <a:cubicBezTo>
                  <a:pt x="487021" y="94124"/>
                  <a:pt x="447261" y="51874"/>
                  <a:pt x="390320" y="43995"/>
                </a:cubicBezTo>
                <a:cubicBezTo>
                  <a:pt x="353241" y="38865"/>
                  <a:pt x="321136" y="48750"/>
                  <a:pt x="300108" y="85260"/>
                </a:cubicBezTo>
                <a:moveTo>
                  <a:pt x="343360" y="634332"/>
                </a:moveTo>
                <a:cubicBezTo>
                  <a:pt x="342539" y="666975"/>
                  <a:pt x="341785" y="699619"/>
                  <a:pt x="340877" y="732259"/>
                </a:cubicBezTo>
                <a:cubicBezTo>
                  <a:pt x="340151" y="758355"/>
                  <a:pt x="339265" y="784447"/>
                  <a:pt x="338360" y="810538"/>
                </a:cubicBezTo>
                <a:cubicBezTo>
                  <a:pt x="338277" y="812948"/>
                  <a:pt x="337465" y="815325"/>
                  <a:pt x="337115" y="817736"/>
                </a:cubicBezTo>
                <a:cubicBezTo>
                  <a:pt x="334935" y="832710"/>
                  <a:pt x="336026" y="847647"/>
                  <a:pt x="336516" y="863022"/>
                </a:cubicBezTo>
                <a:cubicBezTo>
                  <a:pt x="339537" y="863479"/>
                  <a:pt x="341490" y="864053"/>
                  <a:pt x="343436" y="864027"/>
                </a:cubicBezTo>
                <a:cubicBezTo>
                  <a:pt x="364531" y="863739"/>
                  <a:pt x="385626" y="863422"/>
                  <a:pt x="406718" y="862982"/>
                </a:cubicBezTo>
                <a:cubicBezTo>
                  <a:pt x="423444" y="862634"/>
                  <a:pt x="440168" y="861675"/>
                  <a:pt x="456888" y="861794"/>
                </a:cubicBezTo>
                <a:cubicBezTo>
                  <a:pt x="469887" y="861886"/>
                  <a:pt x="482872" y="863302"/>
                  <a:pt x="495873" y="863963"/>
                </a:cubicBezTo>
                <a:cubicBezTo>
                  <a:pt x="500358" y="864191"/>
                  <a:pt x="505108" y="864773"/>
                  <a:pt x="509286" y="863595"/>
                </a:cubicBezTo>
                <a:cubicBezTo>
                  <a:pt x="512346" y="862732"/>
                  <a:pt x="515714" y="859703"/>
                  <a:pt x="516956" y="856791"/>
                </a:cubicBezTo>
                <a:cubicBezTo>
                  <a:pt x="517783" y="854851"/>
                  <a:pt x="515475" y="851192"/>
                  <a:pt x="513920" y="848709"/>
                </a:cubicBezTo>
                <a:cubicBezTo>
                  <a:pt x="511791" y="845308"/>
                  <a:pt x="508393" y="842606"/>
                  <a:pt x="506683" y="839054"/>
                </a:cubicBezTo>
                <a:cubicBezTo>
                  <a:pt x="500331" y="825864"/>
                  <a:pt x="493224" y="812855"/>
                  <a:pt x="488629" y="799037"/>
                </a:cubicBezTo>
                <a:cubicBezTo>
                  <a:pt x="477322" y="765031"/>
                  <a:pt x="466537" y="730814"/>
                  <a:pt x="456922" y="696297"/>
                </a:cubicBezTo>
                <a:cubicBezTo>
                  <a:pt x="449953" y="671276"/>
                  <a:pt x="443477" y="646020"/>
                  <a:pt x="441346" y="619885"/>
                </a:cubicBezTo>
                <a:cubicBezTo>
                  <a:pt x="440327" y="607371"/>
                  <a:pt x="437466" y="595018"/>
                  <a:pt x="435963" y="582529"/>
                </a:cubicBezTo>
                <a:cubicBezTo>
                  <a:pt x="433539" y="562380"/>
                  <a:pt x="431154" y="542212"/>
                  <a:pt x="429497" y="521990"/>
                </a:cubicBezTo>
                <a:cubicBezTo>
                  <a:pt x="428135" y="505363"/>
                  <a:pt x="428437" y="488593"/>
                  <a:pt x="426887" y="471989"/>
                </a:cubicBezTo>
                <a:cubicBezTo>
                  <a:pt x="425874" y="461140"/>
                  <a:pt x="424983" y="461120"/>
                  <a:pt x="413744" y="461077"/>
                </a:cubicBezTo>
                <a:cubicBezTo>
                  <a:pt x="393687" y="461000"/>
                  <a:pt x="373630" y="461011"/>
                  <a:pt x="353573" y="461120"/>
                </a:cubicBezTo>
                <a:cubicBezTo>
                  <a:pt x="350472" y="461137"/>
                  <a:pt x="347374" y="461869"/>
                  <a:pt x="344160" y="462286"/>
                </a:cubicBezTo>
                <a:cubicBezTo>
                  <a:pt x="343828" y="465198"/>
                  <a:pt x="343406" y="467195"/>
                  <a:pt x="343404" y="469192"/>
                </a:cubicBezTo>
                <a:cubicBezTo>
                  <a:pt x="343360" y="504394"/>
                  <a:pt x="343267" y="539596"/>
                  <a:pt x="343469" y="574797"/>
                </a:cubicBezTo>
                <a:cubicBezTo>
                  <a:pt x="343501" y="580426"/>
                  <a:pt x="345652" y="586065"/>
                  <a:pt x="345522" y="591669"/>
                </a:cubicBezTo>
                <a:cubicBezTo>
                  <a:pt x="345214" y="605082"/>
                  <a:pt x="344131" y="618478"/>
                  <a:pt x="343360" y="634332"/>
                </a:cubicBezTo>
                <a:moveTo>
                  <a:pt x="416946" y="385943"/>
                </a:moveTo>
                <a:cubicBezTo>
                  <a:pt x="411661" y="386365"/>
                  <a:pt x="406384" y="387006"/>
                  <a:pt x="401091" y="387162"/>
                </a:cubicBezTo>
                <a:cubicBezTo>
                  <a:pt x="390470" y="387477"/>
                  <a:pt x="379841" y="387447"/>
                  <a:pt x="369218" y="387708"/>
                </a:cubicBezTo>
                <a:cubicBezTo>
                  <a:pt x="361167" y="387906"/>
                  <a:pt x="354429" y="391368"/>
                  <a:pt x="351833" y="398991"/>
                </a:cubicBezTo>
                <a:cubicBezTo>
                  <a:pt x="348989" y="407342"/>
                  <a:pt x="347050" y="416214"/>
                  <a:pt x="349778" y="426021"/>
                </a:cubicBezTo>
                <a:cubicBezTo>
                  <a:pt x="353876" y="426204"/>
                  <a:pt x="357857" y="426517"/>
                  <a:pt x="361839" y="426538"/>
                </a:cubicBezTo>
                <a:cubicBezTo>
                  <a:pt x="392900" y="426701"/>
                  <a:pt x="423961" y="426826"/>
                  <a:pt x="455022" y="426922"/>
                </a:cubicBezTo>
                <a:cubicBezTo>
                  <a:pt x="464013" y="426950"/>
                  <a:pt x="473106" y="427654"/>
                  <a:pt x="481958" y="426527"/>
                </a:cubicBezTo>
                <a:cubicBezTo>
                  <a:pt x="488144" y="425740"/>
                  <a:pt x="494821" y="423501"/>
                  <a:pt x="499817" y="419888"/>
                </a:cubicBezTo>
                <a:cubicBezTo>
                  <a:pt x="507869" y="414066"/>
                  <a:pt x="507286" y="406755"/>
                  <a:pt x="499439" y="400719"/>
                </a:cubicBezTo>
                <a:cubicBezTo>
                  <a:pt x="490179" y="393597"/>
                  <a:pt x="479486" y="388885"/>
                  <a:pt x="468062" y="387775"/>
                </a:cubicBezTo>
                <a:cubicBezTo>
                  <a:pt x="451873" y="386202"/>
                  <a:pt x="435520" y="386321"/>
                  <a:pt x="416946" y="385943"/>
                </a:cubicBezTo>
                <a:moveTo>
                  <a:pt x="636802" y="1190940"/>
                </a:moveTo>
                <a:cubicBezTo>
                  <a:pt x="646709" y="1188723"/>
                  <a:pt x="656705" y="1186841"/>
                  <a:pt x="666492" y="1184186"/>
                </a:cubicBezTo>
                <a:cubicBezTo>
                  <a:pt x="674710" y="1181958"/>
                  <a:pt x="676989" y="1178509"/>
                  <a:pt x="674465" y="1170880"/>
                </a:cubicBezTo>
                <a:cubicBezTo>
                  <a:pt x="671144" y="1160843"/>
                  <a:pt x="667026" y="1151009"/>
                  <a:pt x="662462" y="1141464"/>
                </a:cubicBezTo>
                <a:cubicBezTo>
                  <a:pt x="659273" y="1134795"/>
                  <a:pt x="653671" y="1130908"/>
                  <a:pt x="645564" y="1131937"/>
                </a:cubicBezTo>
                <a:cubicBezTo>
                  <a:pt x="639532" y="1132703"/>
                  <a:pt x="633423" y="1132867"/>
                  <a:pt x="627387" y="1133618"/>
                </a:cubicBezTo>
                <a:cubicBezTo>
                  <a:pt x="612888" y="1135421"/>
                  <a:pt x="598449" y="1137770"/>
                  <a:pt x="583917" y="1139222"/>
                </a:cubicBezTo>
                <a:cubicBezTo>
                  <a:pt x="570571" y="1140557"/>
                  <a:pt x="557130" y="1140930"/>
                  <a:pt x="543741" y="1141869"/>
                </a:cubicBezTo>
                <a:cubicBezTo>
                  <a:pt x="533202" y="1142610"/>
                  <a:pt x="522682" y="1143623"/>
                  <a:pt x="512146" y="1144418"/>
                </a:cubicBezTo>
                <a:cubicBezTo>
                  <a:pt x="490671" y="1146038"/>
                  <a:pt x="469214" y="1148450"/>
                  <a:pt x="447711" y="1148973"/>
                </a:cubicBezTo>
                <a:cubicBezTo>
                  <a:pt x="415817" y="1149749"/>
                  <a:pt x="383891" y="1149136"/>
                  <a:pt x="351979" y="1149200"/>
                </a:cubicBezTo>
                <a:cubicBezTo>
                  <a:pt x="347698" y="1149209"/>
                  <a:pt x="343419" y="1149717"/>
                  <a:pt x="338443" y="1150040"/>
                </a:cubicBezTo>
                <a:cubicBezTo>
                  <a:pt x="338443" y="1164651"/>
                  <a:pt x="338413" y="1177715"/>
                  <a:pt x="338451" y="1190780"/>
                </a:cubicBezTo>
                <a:cubicBezTo>
                  <a:pt x="338490" y="1204031"/>
                  <a:pt x="338512" y="1204062"/>
                  <a:pt x="351082" y="1207015"/>
                </a:cubicBezTo>
                <a:cubicBezTo>
                  <a:pt x="353445" y="1207570"/>
                  <a:pt x="355895" y="1208128"/>
                  <a:pt x="358298" y="1208094"/>
                </a:cubicBezTo>
                <a:cubicBezTo>
                  <a:pt x="412608" y="1207329"/>
                  <a:pt x="466919" y="1206484"/>
                  <a:pt x="521229" y="1205646"/>
                </a:cubicBezTo>
                <a:cubicBezTo>
                  <a:pt x="522045" y="1205634"/>
                  <a:pt x="522865" y="1205591"/>
                  <a:pt x="523675" y="1205490"/>
                </a:cubicBezTo>
                <a:cubicBezTo>
                  <a:pt x="542593" y="1203123"/>
                  <a:pt x="561519" y="1200820"/>
                  <a:pt x="580423" y="1198350"/>
                </a:cubicBezTo>
                <a:cubicBezTo>
                  <a:pt x="598523" y="1195985"/>
                  <a:pt x="616599" y="1193446"/>
                  <a:pt x="636802" y="1190940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78" name="Free-form: Shape 4077">
            <a:extLst>
              <a:ext uri="{FF2B5EF4-FFF2-40B4-BE49-F238E27FC236}">
                <a16:creationId xmlns:a16="http://schemas.microsoft.com/office/drawing/2014/main" id="{1C5C7F25-F742-D827-AFC7-DD28878924B5}"/>
              </a:ext>
            </a:extLst>
          </p:cNvPr>
          <p:cNvSpPr/>
          <p:nvPr/>
        </p:nvSpPr>
        <p:spPr>
          <a:xfrm>
            <a:off x="5688728" y="4713994"/>
            <a:ext cx="20792" cy="2198"/>
          </a:xfrm>
          <a:custGeom>
            <a:avLst/>
            <a:gdLst>
              <a:gd name="csX0" fmla="*/ 0 w 27674"/>
              <a:gd name="csY0" fmla="*/ 2915 h 2925"/>
              <a:gd name="csX1" fmla="*/ 27675 w 27674"/>
              <a:gd name="csY1" fmla="*/ 1550 h 2925"/>
              <a:gd name="csX2" fmla="*/ 0 w 27674"/>
              <a:gd name="csY2" fmla="*/ 2915 h 292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27674" h="2925">
                <a:moveTo>
                  <a:pt x="0" y="2915"/>
                </a:moveTo>
                <a:cubicBezTo>
                  <a:pt x="8211" y="-1939"/>
                  <a:pt x="17625" y="498"/>
                  <a:pt x="27675" y="1550"/>
                </a:cubicBezTo>
                <a:cubicBezTo>
                  <a:pt x="19225" y="2593"/>
                  <a:pt x="10029" y="2999"/>
                  <a:pt x="0" y="2915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79" name="Free-form: Shape 4078">
            <a:extLst>
              <a:ext uri="{FF2B5EF4-FFF2-40B4-BE49-F238E27FC236}">
                <a16:creationId xmlns:a16="http://schemas.microsoft.com/office/drawing/2014/main" id="{38B1FFA0-72D0-8766-BE24-CECC921D6935}"/>
              </a:ext>
            </a:extLst>
          </p:cNvPr>
          <p:cNvSpPr/>
          <p:nvPr/>
        </p:nvSpPr>
        <p:spPr>
          <a:xfrm>
            <a:off x="5631490" y="4715233"/>
            <a:ext cx="13526" cy="847"/>
          </a:xfrm>
          <a:custGeom>
            <a:avLst/>
            <a:gdLst>
              <a:gd name="csX0" fmla="*/ 0 w 18003"/>
              <a:gd name="csY0" fmla="*/ 1050 h 1128"/>
              <a:gd name="csX1" fmla="*/ 18004 w 18003"/>
              <a:gd name="csY1" fmla="*/ 93 h 1128"/>
              <a:gd name="csX2" fmla="*/ 0 w 18003"/>
              <a:gd name="csY2" fmla="*/ 1050 h 112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8003" h="1128">
                <a:moveTo>
                  <a:pt x="0" y="1050"/>
                </a:moveTo>
                <a:cubicBezTo>
                  <a:pt x="5276" y="182"/>
                  <a:pt x="11306" y="-189"/>
                  <a:pt x="18004" y="93"/>
                </a:cubicBezTo>
                <a:cubicBezTo>
                  <a:pt x="12699" y="1013"/>
                  <a:pt x="6726" y="1280"/>
                  <a:pt x="0" y="1050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80" name="Free-form: Shape 4079">
            <a:extLst>
              <a:ext uri="{FF2B5EF4-FFF2-40B4-BE49-F238E27FC236}">
                <a16:creationId xmlns:a16="http://schemas.microsoft.com/office/drawing/2014/main" id="{6C7FAD85-961D-B355-CF7F-CBC74A9B6DCD}"/>
              </a:ext>
            </a:extLst>
          </p:cNvPr>
          <p:cNvSpPr/>
          <p:nvPr/>
        </p:nvSpPr>
        <p:spPr>
          <a:xfrm>
            <a:off x="5729460" y="4029406"/>
            <a:ext cx="6361" cy="5889"/>
          </a:xfrm>
          <a:custGeom>
            <a:avLst/>
            <a:gdLst>
              <a:gd name="csX0" fmla="*/ 473 w 8466"/>
              <a:gd name="csY0" fmla="*/ 7839 h 7838"/>
              <a:gd name="csX1" fmla="*/ 8466 w 8466"/>
              <a:gd name="csY1" fmla="*/ 61 h 7838"/>
              <a:gd name="csX2" fmla="*/ 473 w 8466"/>
              <a:gd name="csY2" fmla="*/ 7839 h 783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66" h="7838">
                <a:moveTo>
                  <a:pt x="473" y="7839"/>
                </a:moveTo>
                <a:cubicBezTo>
                  <a:pt x="-1298" y="1550"/>
                  <a:pt x="2020" y="-386"/>
                  <a:pt x="8466" y="61"/>
                </a:cubicBezTo>
                <a:cubicBezTo>
                  <a:pt x="6730" y="2845"/>
                  <a:pt x="4026" y="5401"/>
                  <a:pt x="473" y="7839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81" name="Free-form: Shape 4080">
            <a:extLst>
              <a:ext uri="{FF2B5EF4-FFF2-40B4-BE49-F238E27FC236}">
                <a16:creationId xmlns:a16="http://schemas.microsoft.com/office/drawing/2014/main" id="{E1DAA331-8FEE-60F5-CCEC-0606B2929FA2}"/>
              </a:ext>
            </a:extLst>
          </p:cNvPr>
          <p:cNvSpPr/>
          <p:nvPr/>
        </p:nvSpPr>
        <p:spPr>
          <a:xfrm>
            <a:off x="5564905" y="4713401"/>
            <a:ext cx="6371" cy="748"/>
          </a:xfrm>
          <a:custGeom>
            <a:avLst/>
            <a:gdLst>
              <a:gd name="csX0" fmla="*/ 0 w 8480"/>
              <a:gd name="csY0" fmla="*/ 896 h 996"/>
              <a:gd name="csX1" fmla="*/ 8480 w 8480"/>
              <a:gd name="csY1" fmla="*/ 110 h 996"/>
              <a:gd name="csX2" fmla="*/ 0 w 8480"/>
              <a:gd name="csY2" fmla="*/ 896 h 99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80" h="996">
                <a:moveTo>
                  <a:pt x="0" y="896"/>
                </a:moveTo>
                <a:cubicBezTo>
                  <a:pt x="2285" y="115"/>
                  <a:pt x="5130" y="-182"/>
                  <a:pt x="8480" y="110"/>
                </a:cubicBezTo>
                <a:cubicBezTo>
                  <a:pt x="6177" y="927"/>
                  <a:pt x="3368" y="1153"/>
                  <a:pt x="0" y="896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82" name="Free-form: Shape 4081">
            <a:extLst>
              <a:ext uri="{FF2B5EF4-FFF2-40B4-BE49-F238E27FC236}">
                <a16:creationId xmlns:a16="http://schemas.microsoft.com/office/drawing/2014/main" id="{E2F7A924-39A6-4435-E023-41E424FCB25E}"/>
              </a:ext>
            </a:extLst>
          </p:cNvPr>
          <p:cNvSpPr/>
          <p:nvPr/>
        </p:nvSpPr>
        <p:spPr>
          <a:xfrm>
            <a:off x="5911886" y="4681302"/>
            <a:ext cx="923" cy="5002"/>
          </a:xfrm>
          <a:custGeom>
            <a:avLst/>
            <a:gdLst>
              <a:gd name="csX0" fmla="*/ 132 w 1229"/>
              <a:gd name="csY0" fmla="*/ 6659 h 6658"/>
              <a:gd name="csX1" fmla="*/ 1107 w 1229"/>
              <a:gd name="csY1" fmla="*/ 0 h 6658"/>
              <a:gd name="csX2" fmla="*/ 132 w 1229"/>
              <a:gd name="csY2" fmla="*/ 6659 h 665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229" h="6658">
                <a:moveTo>
                  <a:pt x="132" y="6659"/>
                </a:moveTo>
                <a:cubicBezTo>
                  <a:pt x="-219" y="4616"/>
                  <a:pt x="139" y="2560"/>
                  <a:pt x="1107" y="0"/>
                </a:cubicBezTo>
                <a:cubicBezTo>
                  <a:pt x="1425" y="1879"/>
                  <a:pt x="1133" y="4263"/>
                  <a:pt x="132" y="6659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83" name="Free-form: Shape 4082">
            <a:extLst>
              <a:ext uri="{FF2B5EF4-FFF2-40B4-BE49-F238E27FC236}">
                <a16:creationId xmlns:a16="http://schemas.microsoft.com/office/drawing/2014/main" id="{E3F88A34-49B3-3BDF-4B3A-120C3CDC3C4A}"/>
              </a:ext>
            </a:extLst>
          </p:cNvPr>
          <p:cNvSpPr/>
          <p:nvPr/>
        </p:nvSpPr>
        <p:spPr>
          <a:xfrm>
            <a:off x="5830578" y="4705837"/>
            <a:ext cx="2846" cy="1025"/>
          </a:xfrm>
          <a:custGeom>
            <a:avLst/>
            <a:gdLst>
              <a:gd name="csX0" fmla="*/ 0 w 3788"/>
              <a:gd name="csY0" fmla="*/ 1364 h 1364"/>
              <a:gd name="csX1" fmla="*/ 3788 w 3788"/>
              <a:gd name="csY1" fmla="*/ 0 h 1364"/>
              <a:gd name="csX2" fmla="*/ 0 w 3788"/>
              <a:gd name="csY2" fmla="*/ 1364 h 136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788" h="1364">
                <a:moveTo>
                  <a:pt x="0" y="1364"/>
                </a:moveTo>
                <a:cubicBezTo>
                  <a:pt x="856" y="517"/>
                  <a:pt x="2126" y="39"/>
                  <a:pt x="3788" y="0"/>
                </a:cubicBezTo>
                <a:cubicBezTo>
                  <a:pt x="2925" y="870"/>
                  <a:pt x="1670" y="1303"/>
                  <a:pt x="0" y="1364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84" name="Free-form: Shape 4083">
            <a:extLst>
              <a:ext uri="{FF2B5EF4-FFF2-40B4-BE49-F238E27FC236}">
                <a16:creationId xmlns:a16="http://schemas.microsoft.com/office/drawing/2014/main" id="{34EBC670-7F76-D9F5-2862-7417E71F1E65}"/>
              </a:ext>
            </a:extLst>
          </p:cNvPr>
          <p:cNvSpPr/>
          <p:nvPr/>
        </p:nvSpPr>
        <p:spPr>
          <a:xfrm>
            <a:off x="5501963" y="4709798"/>
            <a:ext cx="2998" cy="623"/>
          </a:xfrm>
          <a:custGeom>
            <a:avLst/>
            <a:gdLst>
              <a:gd name="csX0" fmla="*/ 0 w 3990"/>
              <a:gd name="csY0" fmla="*/ 719 h 829"/>
              <a:gd name="csX1" fmla="*/ 3990 w 3990"/>
              <a:gd name="csY1" fmla="*/ 119 h 829"/>
              <a:gd name="csX2" fmla="*/ 0 w 3990"/>
              <a:gd name="csY2" fmla="*/ 719 h 82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990" h="829">
                <a:moveTo>
                  <a:pt x="0" y="719"/>
                </a:moveTo>
                <a:cubicBezTo>
                  <a:pt x="982" y="66"/>
                  <a:pt x="2323" y="-163"/>
                  <a:pt x="3990" y="119"/>
                </a:cubicBezTo>
                <a:cubicBezTo>
                  <a:pt x="2998" y="800"/>
                  <a:pt x="1678" y="972"/>
                  <a:pt x="0" y="719"/>
                </a:cubicBezTo>
                <a:close/>
              </a:path>
            </a:pathLst>
          </a:custGeom>
          <a:solidFill>
            <a:srgbClr val="959DA0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85" name="Free-form: Shape 4084">
            <a:extLst>
              <a:ext uri="{FF2B5EF4-FFF2-40B4-BE49-F238E27FC236}">
                <a16:creationId xmlns:a16="http://schemas.microsoft.com/office/drawing/2014/main" id="{2EE0BC6A-24DF-7260-79DE-C2AFE5F236C6}"/>
              </a:ext>
            </a:extLst>
          </p:cNvPr>
          <p:cNvSpPr/>
          <p:nvPr/>
        </p:nvSpPr>
        <p:spPr>
          <a:xfrm>
            <a:off x="5756726" y="4713375"/>
            <a:ext cx="2925" cy="853"/>
          </a:xfrm>
          <a:custGeom>
            <a:avLst/>
            <a:gdLst>
              <a:gd name="csX0" fmla="*/ 0 w 3893"/>
              <a:gd name="csY0" fmla="*/ 1133 h 1135"/>
              <a:gd name="csX1" fmla="*/ 3893 w 3893"/>
              <a:gd name="csY1" fmla="*/ 7 h 1135"/>
              <a:gd name="csX2" fmla="*/ 0 w 3893"/>
              <a:gd name="csY2" fmla="*/ 1133 h 113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893" h="1135">
                <a:moveTo>
                  <a:pt x="0" y="1133"/>
                </a:moveTo>
                <a:cubicBezTo>
                  <a:pt x="902" y="349"/>
                  <a:pt x="2213" y="-60"/>
                  <a:pt x="3893" y="7"/>
                </a:cubicBezTo>
                <a:cubicBezTo>
                  <a:pt x="2978" y="825"/>
                  <a:pt x="1693" y="1167"/>
                  <a:pt x="0" y="1133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86" name="Free-form: Shape 4085">
            <a:extLst>
              <a:ext uri="{FF2B5EF4-FFF2-40B4-BE49-F238E27FC236}">
                <a16:creationId xmlns:a16="http://schemas.microsoft.com/office/drawing/2014/main" id="{E691DC59-8764-EFE0-CBD0-6E01FB7F006B}"/>
              </a:ext>
            </a:extLst>
          </p:cNvPr>
          <p:cNvSpPr/>
          <p:nvPr/>
        </p:nvSpPr>
        <p:spPr>
          <a:xfrm>
            <a:off x="5636215" y="4126931"/>
            <a:ext cx="136231" cy="302992"/>
          </a:xfrm>
          <a:custGeom>
            <a:avLst/>
            <a:gdLst>
              <a:gd name="csX0" fmla="*/ 7554 w 181323"/>
              <a:gd name="csY0" fmla="*/ 172079 h 403282"/>
              <a:gd name="csX1" fmla="*/ 9716 w 181323"/>
              <a:gd name="csY1" fmla="*/ 130641 h 403282"/>
              <a:gd name="csX2" fmla="*/ 7663 w 181323"/>
              <a:gd name="csY2" fmla="*/ 113770 h 403282"/>
              <a:gd name="csX3" fmla="*/ 7598 w 181323"/>
              <a:gd name="csY3" fmla="*/ 8165 h 403282"/>
              <a:gd name="csX4" fmla="*/ 8353 w 181323"/>
              <a:gd name="csY4" fmla="*/ 1259 h 403282"/>
              <a:gd name="csX5" fmla="*/ 17767 w 181323"/>
              <a:gd name="csY5" fmla="*/ 93 h 403282"/>
              <a:gd name="csX6" fmla="*/ 77938 w 181323"/>
              <a:gd name="csY6" fmla="*/ 50 h 403282"/>
              <a:gd name="csX7" fmla="*/ 91081 w 181323"/>
              <a:gd name="csY7" fmla="*/ 10962 h 403282"/>
              <a:gd name="csX8" fmla="*/ 93691 w 181323"/>
              <a:gd name="csY8" fmla="*/ 60963 h 403282"/>
              <a:gd name="csX9" fmla="*/ 100157 w 181323"/>
              <a:gd name="csY9" fmla="*/ 121501 h 403282"/>
              <a:gd name="csX10" fmla="*/ 105540 w 181323"/>
              <a:gd name="csY10" fmla="*/ 158857 h 403282"/>
              <a:gd name="csX11" fmla="*/ 121116 w 181323"/>
              <a:gd name="csY11" fmla="*/ 235269 h 403282"/>
              <a:gd name="csX12" fmla="*/ 152823 w 181323"/>
              <a:gd name="csY12" fmla="*/ 338010 h 403282"/>
              <a:gd name="csX13" fmla="*/ 170877 w 181323"/>
              <a:gd name="csY13" fmla="*/ 378027 h 403282"/>
              <a:gd name="csX14" fmla="*/ 178114 w 181323"/>
              <a:gd name="csY14" fmla="*/ 387682 h 403282"/>
              <a:gd name="csX15" fmla="*/ 181150 w 181323"/>
              <a:gd name="csY15" fmla="*/ 395764 h 403282"/>
              <a:gd name="csX16" fmla="*/ 173480 w 181323"/>
              <a:gd name="csY16" fmla="*/ 402568 h 403282"/>
              <a:gd name="csX17" fmla="*/ 160067 w 181323"/>
              <a:gd name="csY17" fmla="*/ 402936 h 403282"/>
              <a:gd name="csX18" fmla="*/ 121081 w 181323"/>
              <a:gd name="csY18" fmla="*/ 400766 h 403282"/>
              <a:gd name="csX19" fmla="*/ 70912 w 181323"/>
              <a:gd name="csY19" fmla="*/ 401955 h 403282"/>
              <a:gd name="csX20" fmla="*/ 7630 w 181323"/>
              <a:gd name="csY20" fmla="*/ 402999 h 403282"/>
              <a:gd name="csX21" fmla="*/ 710 w 181323"/>
              <a:gd name="csY21" fmla="*/ 401995 h 403282"/>
              <a:gd name="csX22" fmla="*/ 1308 w 181323"/>
              <a:gd name="csY22" fmla="*/ 356708 h 403282"/>
              <a:gd name="csX23" fmla="*/ 2554 w 181323"/>
              <a:gd name="csY23" fmla="*/ 349510 h 403282"/>
              <a:gd name="csX24" fmla="*/ 5071 w 181323"/>
              <a:gd name="csY24" fmla="*/ 271231 h 403282"/>
              <a:gd name="csX25" fmla="*/ 7554 w 181323"/>
              <a:gd name="csY25" fmla="*/ 172079 h 403282"/>
              <a:gd name="csX26" fmla="*/ 98286 w 181323"/>
              <a:gd name="csY26" fmla="*/ 163566 h 403282"/>
              <a:gd name="csX27" fmla="*/ 83497 w 181323"/>
              <a:gd name="csY27" fmla="*/ 8289 h 403282"/>
              <a:gd name="csX28" fmla="*/ 15161 w 181323"/>
              <a:gd name="csY28" fmla="*/ 9148 h 403282"/>
              <a:gd name="csX29" fmla="*/ 15058 w 181323"/>
              <a:gd name="csY29" fmla="*/ 137939 h 403282"/>
              <a:gd name="csX30" fmla="*/ 12252 w 181323"/>
              <a:gd name="csY30" fmla="*/ 266862 h 403282"/>
              <a:gd name="csX31" fmla="*/ 7068 w 181323"/>
              <a:gd name="csY31" fmla="*/ 395996 h 403282"/>
              <a:gd name="csX32" fmla="*/ 171647 w 181323"/>
              <a:gd name="csY32" fmla="*/ 395996 h 403282"/>
              <a:gd name="csX33" fmla="*/ 119950 w 181323"/>
              <a:gd name="csY33" fmla="*/ 259496 h 403282"/>
              <a:gd name="csX34" fmla="*/ 98286 w 181323"/>
              <a:gd name="csY34" fmla="*/ 163566 h 40328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</a:cxnLst>
            <a:rect l="l" t="t" r="r" b="b"/>
            <a:pathLst>
              <a:path w="181323" h="403282">
                <a:moveTo>
                  <a:pt x="7554" y="172079"/>
                </a:moveTo>
                <a:cubicBezTo>
                  <a:pt x="8325" y="157451"/>
                  <a:pt x="9408" y="144055"/>
                  <a:pt x="9716" y="130641"/>
                </a:cubicBezTo>
                <a:cubicBezTo>
                  <a:pt x="9846" y="125037"/>
                  <a:pt x="7695" y="119399"/>
                  <a:pt x="7663" y="113770"/>
                </a:cubicBezTo>
                <a:cubicBezTo>
                  <a:pt x="7461" y="78569"/>
                  <a:pt x="7554" y="43367"/>
                  <a:pt x="7598" y="8165"/>
                </a:cubicBezTo>
                <a:cubicBezTo>
                  <a:pt x="7600" y="6167"/>
                  <a:pt x="8022" y="4170"/>
                  <a:pt x="8353" y="1259"/>
                </a:cubicBezTo>
                <a:cubicBezTo>
                  <a:pt x="11568" y="842"/>
                  <a:pt x="14666" y="109"/>
                  <a:pt x="17767" y="93"/>
                </a:cubicBezTo>
                <a:cubicBezTo>
                  <a:pt x="37824" y="-17"/>
                  <a:pt x="57881" y="-27"/>
                  <a:pt x="77938" y="50"/>
                </a:cubicBezTo>
                <a:cubicBezTo>
                  <a:pt x="89177" y="93"/>
                  <a:pt x="90068" y="113"/>
                  <a:pt x="91081" y="10962"/>
                </a:cubicBezTo>
                <a:cubicBezTo>
                  <a:pt x="92631" y="27565"/>
                  <a:pt x="92329" y="44335"/>
                  <a:pt x="93691" y="60963"/>
                </a:cubicBezTo>
                <a:cubicBezTo>
                  <a:pt x="95348" y="81184"/>
                  <a:pt x="97732" y="101353"/>
                  <a:pt x="100157" y="121501"/>
                </a:cubicBezTo>
                <a:cubicBezTo>
                  <a:pt x="101660" y="133990"/>
                  <a:pt x="104521" y="146343"/>
                  <a:pt x="105540" y="158857"/>
                </a:cubicBezTo>
                <a:cubicBezTo>
                  <a:pt x="107671" y="184993"/>
                  <a:pt x="114147" y="210249"/>
                  <a:pt x="121116" y="235269"/>
                </a:cubicBezTo>
                <a:cubicBezTo>
                  <a:pt x="130731" y="269786"/>
                  <a:pt x="141516" y="304004"/>
                  <a:pt x="152823" y="338010"/>
                </a:cubicBezTo>
                <a:cubicBezTo>
                  <a:pt x="157418" y="351828"/>
                  <a:pt x="164524" y="364837"/>
                  <a:pt x="170877" y="378027"/>
                </a:cubicBezTo>
                <a:cubicBezTo>
                  <a:pt x="172587" y="381579"/>
                  <a:pt x="175985" y="384280"/>
                  <a:pt x="178114" y="387682"/>
                </a:cubicBezTo>
                <a:cubicBezTo>
                  <a:pt x="179669" y="390165"/>
                  <a:pt x="181977" y="393824"/>
                  <a:pt x="181150" y="395764"/>
                </a:cubicBezTo>
                <a:cubicBezTo>
                  <a:pt x="179907" y="398676"/>
                  <a:pt x="176540" y="401705"/>
                  <a:pt x="173480" y="402568"/>
                </a:cubicBezTo>
                <a:cubicBezTo>
                  <a:pt x="169302" y="403746"/>
                  <a:pt x="164551" y="403164"/>
                  <a:pt x="160067" y="402936"/>
                </a:cubicBezTo>
                <a:cubicBezTo>
                  <a:pt x="147066" y="402274"/>
                  <a:pt x="134081" y="400859"/>
                  <a:pt x="121081" y="400766"/>
                </a:cubicBezTo>
                <a:cubicBezTo>
                  <a:pt x="104362" y="400647"/>
                  <a:pt x="87638" y="401607"/>
                  <a:pt x="70912" y="401955"/>
                </a:cubicBezTo>
                <a:cubicBezTo>
                  <a:pt x="49820" y="402394"/>
                  <a:pt x="28725" y="402712"/>
                  <a:pt x="7630" y="402999"/>
                </a:cubicBezTo>
                <a:cubicBezTo>
                  <a:pt x="5684" y="403026"/>
                  <a:pt x="3731" y="402452"/>
                  <a:pt x="710" y="401995"/>
                </a:cubicBezTo>
                <a:cubicBezTo>
                  <a:pt x="219" y="386620"/>
                  <a:pt x="-871" y="371682"/>
                  <a:pt x="1308" y="356708"/>
                </a:cubicBezTo>
                <a:cubicBezTo>
                  <a:pt x="1659" y="354298"/>
                  <a:pt x="2471" y="351920"/>
                  <a:pt x="2554" y="349510"/>
                </a:cubicBezTo>
                <a:cubicBezTo>
                  <a:pt x="3459" y="323419"/>
                  <a:pt x="4345" y="297328"/>
                  <a:pt x="5071" y="271231"/>
                </a:cubicBezTo>
                <a:cubicBezTo>
                  <a:pt x="5979" y="238591"/>
                  <a:pt x="6733" y="205947"/>
                  <a:pt x="7554" y="172079"/>
                </a:cubicBezTo>
                <a:moveTo>
                  <a:pt x="98286" y="163566"/>
                </a:moveTo>
                <a:cubicBezTo>
                  <a:pt x="89288" y="112116"/>
                  <a:pt x="86355" y="60033"/>
                  <a:pt x="83497" y="8289"/>
                </a:cubicBezTo>
                <a:cubicBezTo>
                  <a:pt x="65606" y="5845"/>
                  <a:pt x="24110" y="6470"/>
                  <a:pt x="15161" y="9148"/>
                </a:cubicBezTo>
                <a:cubicBezTo>
                  <a:pt x="15161" y="52045"/>
                  <a:pt x="15527" y="94996"/>
                  <a:pt x="15058" y="137939"/>
                </a:cubicBezTo>
                <a:cubicBezTo>
                  <a:pt x="14587" y="180919"/>
                  <a:pt x="13597" y="223900"/>
                  <a:pt x="12252" y="266862"/>
                </a:cubicBezTo>
                <a:cubicBezTo>
                  <a:pt x="10912" y="309638"/>
                  <a:pt x="8849" y="352391"/>
                  <a:pt x="7068" y="395996"/>
                </a:cubicBezTo>
                <a:cubicBezTo>
                  <a:pt x="62774" y="395996"/>
                  <a:pt x="116821" y="395996"/>
                  <a:pt x="171647" y="395996"/>
                </a:cubicBezTo>
                <a:cubicBezTo>
                  <a:pt x="148550" y="352016"/>
                  <a:pt x="132566" y="306307"/>
                  <a:pt x="119950" y="259496"/>
                </a:cubicBezTo>
                <a:cubicBezTo>
                  <a:pt x="111608" y="228543"/>
                  <a:pt x="105493" y="196989"/>
                  <a:pt x="98286" y="163566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87" name="Free-form: Shape 4086">
            <a:extLst>
              <a:ext uri="{FF2B5EF4-FFF2-40B4-BE49-F238E27FC236}">
                <a16:creationId xmlns:a16="http://schemas.microsoft.com/office/drawing/2014/main" id="{E81E2341-D4CC-C4DA-780A-07BAB54A9C56}"/>
              </a:ext>
            </a:extLst>
          </p:cNvPr>
          <p:cNvSpPr/>
          <p:nvPr/>
        </p:nvSpPr>
        <p:spPr>
          <a:xfrm>
            <a:off x="5638188" y="4630873"/>
            <a:ext cx="253199" cy="57341"/>
          </a:xfrm>
          <a:custGeom>
            <a:avLst/>
            <a:gdLst>
              <a:gd name="csX0" fmla="*/ 297312 w 337008"/>
              <a:gd name="csY0" fmla="*/ 59188 h 76321"/>
              <a:gd name="csX1" fmla="*/ 241991 w 337008"/>
              <a:gd name="csY1" fmla="*/ 66577 h 76321"/>
              <a:gd name="csX2" fmla="*/ 185243 w 337008"/>
              <a:gd name="csY2" fmla="*/ 73717 h 76321"/>
              <a:gd name="csX3" fmla="*/ 182797 w 337008"/>
              <a:gd name="csY3" fmla="*/ 73873 h 76321"/>
              <a:gd name="csX4" fmla="*/ 19866 w 337008"/>
              <a:gd name="csY4" fmla="*/ 76320 h 76321"/>
              <a:gd name="csX5" fmla="*/ 12650 w 337008"/>
              <a:gd name="csY5" fmla="*/ 75242 h 76321"/>
              <a:gd name="csX6" fmla="*/ 19 w 337008"/>
              <a:gd name="csY6" fmla="*/ 59006 h 76321"/>
              <a:gd name="csX7" fmla="*/ 11 w 337008"/>
              <a:gd name="csY7" fmla="*/ 18266 h 76321"/>
              <a:gd name="csX8" fmla="*/ 13547 w 337008"/>
              <a:gd name="csY8" fmla="*/ 17427 h 76321"/>
              <a:gd name="csX9" fmla="*/ 109279 w 337008"/>
              <a:gd name="csY9" fmla="*/ 17200 h 76321"/>
              <a:gd name="csX10" fmla="*/ 173714 w 337008"/>
              <a:gd name="csY10" fmla="*/ 12645 h 76321"/>
              <a:gd name="csX11" fmla="*/ 205309 w 337008"/>
              <a:gd name="csY11" fmla="*/ 10096 h 76321"/>
              <a:gd name="csX12" fmla="*/ 245485 w 337008"/>
              <a:gd name="csY12" fmla="*/ 7449 h 76321"/>
              <a:gd name="csX13" fmla="*/ 288955 w 337008"/>
              <a:gd name="csY13" fmla="*/ 1844 h 76321"/>
              <a:gd name="csX14" fmla="*/ 307132 w 337008"/>
              <a:gd name="csY14" fmla="*/ 164 h 76321"/>
              <a:gd name="csX15" fmla="*/ 324030 w 337008"/>
              <a:gd name="csY15" fmla="*/ 9691 h 76321"/>
              <a:gd name="csX16" fmla="*/ 336033 w 337008"/>
              <a:gd name="csY16" fmla="*/ 39107 h 76321"/>
              <a:gd name="csX17" fmla="*/ 328060 w 337008"/>
              <a:gd name="csY17" fmla="*/ 52413 h 76321"/>
              <a:gd name="csX18" fmla="*/ 297312 w 337008"/>
              <a:gd name="csY18" fmla="*/ 59188 h 76321"/>
              <a:gd name="csX19" fmla="*/ 207688 w 337008"/>
              <a:gd name="csY19" fmla="*/ 64284 h 76321"/>
              <a:gd name="csX20" fmla="*/ 330050 w 337008"/>
              <a:gd name="csY20" fmla="*/ 45606 h 76321"/>
              <a:gd name="csX21" fmla="*/ 317356 w 337008"/>
              <a:gd name="csY21" fmla="*/ 11297 h 76321"/>
              <a:gd name="csX22" fmla="*/ 304170 w 337008"/>
              <a:gd name="csY22" fmla="*/ 5545 h 76321"/>
              <a:gd name="csX23" fmla="*/ 273851 w 337008"/>
              <a:gd name="csY23" fmla="*/ 10014 h 76321"/>
              <a:gd name="csX24" fmla="*/ 163935 w 337008"/>
              <a:gd name="csY24" fmla="*/ 20274 h 76321"/>
              <a:gd name="csX25" fmla="*/ 17973 w 337008"/>
              <a:gd name="csY25" fmla="*/ 22950 h 76321"/>
              <a:gd name="csX26" fmla="*/ 7372 w 337008"/>
              <a:gd name="csY26" fmla="*/ 23601 h 76321"/>
              <a:gd name="csX27" fmla="*/ 7372 w 337008"/>
              <a:gd name="csY27" fmla="*/ 67898 h 76321"/>
              <a:gd name="csX28" fmla="*/ 207688 w 337008"/>
              <a:gd name="csY28" fmla="*/ 64284 h 7632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</a:cxnLst>
            <a:rect l="l" t="t" r="r" b="b"/>
            <a:pathLst>
              <a:path w="337008" h="76321">
                <a:moveTo>
                  <a:pt x="297312" y="59188"/>
                </a:moveTo>
                <a:cubicBezTo>
                  <a:pt x="278167" y="61672"/>
                  <a:pt x="260091" y="64212"/>
                  <a:pt x="241991" y="66577"/>
                </a:cubicBezTo>
                <a:cubicBezTo>
                  <a:pt x="223087" y="69047"/>
                  <a:pt x="204161" y="71350"/>
                  <a:pt x="185243" y="73717"/>
                </a:cubicBezTo>
                <a:cubicBezTo>
                  <a:pt x="184433" y="73818"/>
                  <a:pt x="183613" y="73861"/>
                  <a:pt x="182797" y="73873"/>
                </a:cubicBezTo>
                <a:cubicBezTo>
                  <a:pt x="128487" y="74710"/>
                  <a:pt x="74176" y="75556"/>
                  <a:pt x="19866" y="76320"/>
                </a:cubicBezTo>
                <a:cubicBezTo>
                  <a:pt x="17463" y="76354"/>
                  <a:pt x="15013" y="75797"/>
                  <a:pt x="12650" y="75242"/>
                </a:cubicBezTo>
                <a:cubicBezTo>
                  <a:pt x="80" y="72288"/>
                  <a:pt x="58" y="72258"/>
                  <a:pt x="19" y="59006"/>
                </a:cubicBezTo>
                <a:cubicBezTo>
                  <a:pt x="-19" y="45942"/>
                  <a:pt x="11" y="32877"/>
                  <a:pt x="11" y="18266"/>
                </a:cubicBezTo>
                <a:cubicBezTo>
                  <a:pt x="4987" y="17944"/>
                  <a:pt x="9266" y="17435"/>
                  <a:pt x="13547" y="17427"/>
                </a:cubicBezTo>
                <a:cubicBezTo>
                  <a:pt x="45459" y="17362"/>
                  <a:pt x="77385" y="17975"/>
                  <a:pt x="109279" y="17200"/>
                </a:cubicBezTo>
                <a:cubicBezTo>
                  <a:pt x="130782" y="16677"/>
                  <a:pt x="152239" y="14265"/>
                  <a:pt x="173714" y="12645"/>
                </a:cubicBezTo>
                <a:cubicBezTo>
                  <a:pt x="184250" y="11850"/>
                  <a:pt x="194770" y="10836"/>
                  <a:pt x="205309" y="10096"/>
                </a:cubicBezTo>
                <a:cubicBezTo>
                  <a:pt x="218698" y="9156"/>
                  <a:pt x="232139" y="8783"/>
                  <a:pt x="245485" y="7449"/>
                </a:cubicBezTo>
                <a:cubicBezTo>
                  <a:pt x="260017" y="5997"/>
                  <a:pt x="274456" y="3648"/>
                  <a:pt x="288955" y="1844"/>
                </a:cubicBezTo>
                <a:cubicBezTo>
                  <a:pt x="294991" y="1094"/>
                  <a:pt x="301100" y="930"/>
                  <a:pt x="307132" y="164"/>
                </a:cubicBezTo>
                <a:cubicBezTo>
                  <a:pt x="315239" y="-865"/>
                  <a:pt x="320841" y="3022"/>
                  <a:pt x="324030" y="9691"/>
                </a:cubicBezTo>
                <a:cubicBezTo>
                  <a:pt x="328594" y="19236"/>
                  <a:pt x="332712" y="29070"/>
                  <a:pt x="336033" y="39107"/>
                </a:cubicBezTo>
                <a:cubicBezTo>
                  <a:pt x="338557" y="46735"/>
                  <a:pt x="336278" y="50185"/>
                  <a:pt x="328060" y="52413"/>
                </a:cubicBezTo>
                <a:cubicBezTo>
                  <a:pt x="318273" y="55068"/>
                  <a:pt x="308277" y="56950"/>
                  <a:pt x="297312" y="59188"/>
                </a:cubicBezTo>
                <a:moveTo>
                  <a:pt x="207688" y="64284"/>
                </a:moveTo>
                <a:cubicBezTo>
                  <a:pt x="248681" y="60632"/>
                  <a:pt x="289317" y="54812"/>
                  <a:pt x="330050" y="45606"/>
                </a:cubicBezTo>
                <a:cubicBezTo>
                  <a:pt x="327603" y="32443"/>
                  <a:pt x="323777" y="21532"/>
                  <a:pt x="317356" y="11297"/>
                </a:cubicBezTo>
                <a:cubicBezTo>
                  <a:pt x="313908" y="5803"/>
                  <a:pt x="310145" y="4465"/>
                  <a:pt x="304170" y="5545"/>
                </a:cubicBezTo>
                <a:cubicBezTo>
                  <a:pt x="294121" y="7361"/>
                  <a:pt x="284007" y="9006"/>
                  <a:pt x="273851" y="10014"/>
                </a:cubicBezTo>
                <a:cubicBezTo>
                  <a:pt x="237233" y="13650"/>
                  <a:pt x="200632" y="17661"/>
                  <a:pt x="163935" y="20274"/>
                </a:cubicBezTo>
                <a:cubicBezTo>
                  <a:pt x="115360" y="23734"/>
                  <a:pt x="66701" y="25937"/>
                  <a:pt x="17973" y="22950"/>
                </a:cubicBezTo>
                <a:cubicBezTo>
                  <a:pt x="14492" y="22737"/>
                  <a:pt x="10959" y="23361"/>
                  <a:pt x="7372" y="23601"/>
                </a:cubicBezTo>
                <a:cubicBezTo>
                  <a:pt x="7372" y="38609"/>
                  <a:pt x="7372" y="52361"/>
                  <a:pt x="7372" y="67898"/>
                </a:cubicBezTo>
                <a:cubicBezTo>
                  <a:pt x="74001" y="69806"/>
                  <a:pt x="139746" y="71025"/>
                  <a:pt x="207688" y="64284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88" name="Free-form: Shape 4087">
            <a:extLst>
              <a:ext uri="{FF2B5EF4-FFF2-40B4-BE49-F238E27FC236}">
                <a16:creationId xmlns:a16="http://schemas.microsoft.com/office/drawing/2014/main" id="{102BF6DB-A6FC-BBCE-0E1F-A632B57141CF}"/>
              </a:ext>
            </a:extLst>
          </p:cNvPr>
          <p:cNvSpPr/>
          <p:nvPr/>
        </p:nvSpPr>
        <p:spPr>
          <a:xfrm>
            <a:off x="5642705" y="4453664"/>
            <a:ext cx="227996" cy="160552"/>
          </a:xfrm>
          <a:custGeom>
            <a:avLst/>
            <a:gdLst>
              <a:gd name="csX0" fmla="*/ 14160 w 303463"/>
              <a:gd name="csY0" fmla="*/ 7889 h 213695"/>
              <a:gd name="csX1" fmla="*/ 195033 w 303463"/>
              <a:gd name="csY1" fmla="*/ 0 h 213695"/>
              <a:gd name="csX2" fmla="*/ 197208 w 303463"/>
              <a:gd name="csY2" fmla="*/ 5635 h 213695"/>
              <a:gd name="csX3" fmla="*/ 227014 w 303463"/>
              <a:gd name="csY3" fmla="*/ 60660 h 213695"/>
              <a:gd name="csX4" fmla="*/ 265823 w 303463"/>
              <a:gd name="csY4" fmla="*/ 98217 h 213695"/>
              <a:gd name="csX5" fmla="*/ 303210 w 303463"/>
              <a:gd name="csY5" fmla="*/ 180358 h 213695"/>
              <a:gd name="csX6" fmla="*/ 303282 w 303463"/>
              <a:gd name="csY6" fmla="*/ 193964 h 213695"/>
              <a:gd name="csX7" fmla="*/ 4971 w 303463"/>
              <a:gd name="csY7" fmla="*/ 213017 h 213695"/>
              <a:gd name="csX8" fmla="*/ 5093 w 303463"/>
              <a:gd name="csY8" fmla="*/ 173484 h 213695"/>
              <a:gd name="csX9" fmla="*/ 4767 w 303463"/>
              <a:gd name="csY9" fmla="*/ 54607 h 213695"/>
              <a:gd name="csX10" fmla="*/ 0 w 303463"/>
              <a:gd name="csY10" fmla="*/ 7887 h 213695"/>
              <a:gd name="csX11" fmla="*/ 14160 w 303463"/>
              <a:gd name="csY11" fmla="*/ 7889 h 21369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303463" h="213695">
                <a:moveTo>
                  <a:pt x="14160" y="7889"/>
                </a:moveTo>
                <a:cubicBezTo>
                  <a:pt x="75371" y="8627"/>
                  <a:pt x="135292" y="5744"/>
                  <a:pt x="195033" y="0"/>
                </a:cubicBezTo>
                <a:cubicBezTo>
                  <a:pt x="196084" y="2662"/>
                  <a:pt x="196986" y="4099"/>
                  <a:pt x="197208" y="5635"/>
                </a:cubicBezTo>
                <a:cubicBezTo>
                  <a:pt x="200391" y="27650"/>
                  <a:pt x="211307" y="45450"/>
                  <a:pt x="227014" y="60660"/>
                </a:cubicBezTo>
                <a:cubicBezTo>
                  <a:pt x="239947" y="73182"/>
                  <a:pt x="253006" y="85577"/>
                  <a:pt x="265823" y="98217"/>
                </a:cubicBezTo>
                <a:cubicBezTo>
                  <a:pt x="288727" y="120806"/>
                  <a:pt x="299071" y="149215"/>
                  <a:pt x="303210" y="180358"/>
                </a:cubicBezTo>
                <a:cubicBezTo>
                  <a:pt x="303735" y="184317"/>
                  <a:pt x="303282" y="188405"/>
                  <a:pt x="303282" y="193964"/>
                </a:cubicBezTo>
                <a:cubicBezTo>
                  <a:pt x="204065" y="208804"/>
                  <a:pt x="105022" y="216044"/>
                  <a:pt x="4971" y="213017"/>
                </a:cubicBezTo>
                <a:cubicBezTo>
                  <a:pt x="4971" y="199268"/>
                  <a:pt x="4314" y="186332"/>
                  <a:pt x="5093" y="173484"/>
                </a:cubicBezTo>
                <a:cubicBezTo>
                  <a:pt x="7497" y="133835"/>
                  <a:pt x="8211" y="94216"/>
                  <a:pt x="4767" y="54607"/>
                </a:cubicBezTo>
                <a:cubicBezTo>
                  <a:pt x="3464" y="39611"/>
                  <a:pt x="1725" y="24653"/>
                  <a:pt x="0" y="7887"/>
                </a:cubicBezTo>
                <a:cubicBezTo>
                  <a:pt x="4390" y="7887"/>
                  <a:pt x="8696" y="7887"/>
                  <a:pt x="14160" y="7889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89" name="Free-form: Shape 4088">
            <a:extLst>
              <a:ext uri="{FF2B5EF4-FFF2-40B4-BE49-F238E27FC236}">
                <a16:creationId xmlns:a16="http://schemas.microsoft.com/office/drawing/2014/main" id="{E2532C60-B010-AF3A-876A-4CD72F21FCD9}"/>
              </a:ext>
            </a:extLst>
          </p:cNvPr>
          <p:cNvSpPr/>
          <p:nvPr/>
        </p:nvSpPr>
        <p:spPr>
          <a:xfrm>
            <a:off x="5601853" y="3812659"/>
            <a:ext cx="157075" cy="152822"/>
          </a:xfrm>
          <a:custGeom>
            <a:avLst/>
            <a:gdLst>
              <a:gd name="csX0" fmla="*/ 10475 w 209067"/>
              <a:gd name="csY0" fmla="*/ 41718 h 203406"/>
              <a:gd name="csX1" fmla="*/ 100250 w 209067"/>
              <a:gd name="csY1" fmla="*/ 1265 h 203406"/>
              <a:gd name="csX2" fmla="*/ 206681 w 209067"/>
              <a:gd name="csY2" fmla="*/ 98526 h 203406"/>
              <a:gd name="csX3" fmla="*/ 134647 w 209067"/>
              <a:gd name="csY3" fmla="*/ 202431 h 203406"/>
              <a:gd name="csX4" fmla="*/ 40986 w 209067"/>
              <a:gd name="csY4" fmla="*/ 171438 h 203406"/>
              <a:gd name="csX5" fmla="*/ 143 w 209067"/>
              <a:gd name="csY5" fmla="*/ 85158 h 203406"/>
              <a:gd name="csX6" fmla="*/ 10475 w 209067"/>
              <a:gd name="csY6" fmla="*/ 41718 h 20340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</a:cxnLst>
            <a:rect l="l" t="t" r="r" b="b"/>
            <a:pathLst>
              <a:path w="209067" h="203406">
                <a:moveTo>
                  <a:pt x="10475" y="41718"/>
                </a:moveTo>
                <a:cubicBezTo>
                  <a:pt x="31065" y="6021"/>
                  <a:pt x="63171" y="-3865"/>
                  <a:pt x="100250" y="1265"/>
                </a:cubicBezTo>
                <a:cubicBezTo>
                  <a:pt x="157191" y="9144"/>
                  <a:pt x="196951" y="51394"/>
                  <a:pt x="206681" y="98526"/>
                </a:cubicBezTo>
                <a:cubicBezTo>
                  <a:pt x="219504" y="160635"/>
                  <a:pt x="178523" y="196657"/>
                  <a:pt x="134647" y="202431"/>
                </a:cubicBezTo>
                <a:cubicBezTo>
                  <a:pt x="98365" y="207204"/>
                  <a:pt x="68101" y="194086"/>
                  <a:pt x="40986" y="171438"/>
                </a:cubicBezTo>
                <a:cubicBezTo>
                  <a:pt x="14115" y="148994"/>
                  <a:pt x="2457" y="119007"/>
                  <a:pt x="143" y="85158"/>
                </a:cubicBezTo>
                <a:cubicBezTo>
                  <a:pt x="-869" y="70364"/>
                  <a:pt x="3586" y="56015"/>
                  <a:pt x="10475" y="41718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90" name="Free-form: Shape 4089">
            <a:extLst>
              <a:ext uri="{FF2B5EF4-FFF2-40B4-BE49-F238E27FC236}">
                <a16:creationId xmlns:a16="http://schemas.microsoft.com/office/drawing/2014/main" id="{FDD32DC0-D227-C758-E2AB-B9D16AA7954A}"/>
              </a:ext>
            </a:extLst>
          </p:cNvPr>
          <p:cNvSpPr/>
          <p:nvPr/>
        </p:nvSpPr>
        <p:spPr>
          <a:xfrm>
            <a:off x="5645727" y="4070435"/>
            <a:ext cx="118053" cy="31055"/>
          </a:xfrm>
          <a:custGeom>
            <a:avLst/>
            <a:gdLst>
              <a:gd name="csX0" fmla="*/ 69625 w 157129"/>
              <a:gd name="csY0" fmla="*/ 0 h 41334"/>
              <a:gd name="csX1" fmla="*/ 119596 w 157129"/>
              <a:gd name="csY1" fmla="*/ 1945 h 41334"/>
              <a:gd name="csX2" fmla="*/ 150973 w 157129"/>
              <a:gd name="csY2" fmla="*/ 14889 h 41334"/>
              <a:gd name="csX3" fmla="*/ 151351 w 157129"/>
              <a:gd name="csY3" fmla="*/ 34058 h 41334"/>
              <a:gd name="csX4" fmla="*/ 133492 w 157129"/>
              <a:gd name="csY4" fmla="*/ 40697 h 41334"/>
              <a:gd name="csX5" fmla="*/ 106556 w 157129"/>
              <a:gd name="csY5" fmla="*/ 41092 h 41334"/>
              <a:gd name="csX6" fmla="*/ 13373 w 157129"/>
              <a:gd name="csY6" fmla="*/ 40708 h 41334"/>
              <a:gd name="csX7" fmla="*/ 1312 w 157129"/>
              <a:gd name="csY7" fmla="*/ 40191 h 41334"/>
              <a:gd name="csX8" fmla="*/ 3367 w 157129"/>
              <a:gd name="csY8" fmla="*/ 13162 h 41334"/>
              <a:gd name="csX9" fmla="*/ 20752 w 157129"/>
              <a:gd name="csY9" fmla="*/ 1879 h 41334"/>
              <a:gd name="csX10" fmla="*/ 52625 w 157129"/>
              <a:gd name="csY10" fmla="*/ 1332 h 41334"/>
              <a:gd name="csX11" fmla="*/ 69625 w 157129"/>
              <a:gd name="csY11" fmla="*/ 0 h 4133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157129" h="41334">
                <a:moveTo>
                  <a:pt x="69625" y="0"/>
                </a:moveTo>
                <a:cubicBezTo>
                  <a:pt x="87054" y="491"/>
                  <a:pt x="103407" y="373"/>
                  <a:pt x="119596" y="1945"/>
                </a:cubicBezTo>
                <a:cubicBezTo>
                  <a:pt x="131020" y="3055"/>
                  <a:pt x="141713" y="7767"/>
                  <a:pt x="150973" y="14889"/>
                </a:cubicBezTo>
                <a:cubicBezTo>
                  <a:pt x="158820" y="20925"/>
                  <a:pt x="159403" y="28236"/>
                  <a:pt x="151351" y="34058"/>
                </a:cubicBezTo>
                <a:cubicBezTo>
                  <a:pt x="146355" y="37671"/>
                  <a:pt x="139678" y="39910"/>
                  <a:pt x="133492" y="40697"/>
                </a:cubicBezTo>
                <a:cubicBezTo>
                  <a:pt x="124640" y="41824"/>
                  <a:pt x="115547" y="41120"/>
                  <a:pt x="106556" y="41092"/>
                </a:cubicBezTo>
                <a:cubicBezTo>
                  <a:pt x="75495" y="40996"/>
                  <a:pt x="44434" y="40872"/>
                  <a:pt x="13373" y="40708"/>
                </a:cubicBezTo>
                <a:cubicBezTo>
                  <a:pt x="9391" y="40687"/>
                  <a:pt x="5410" y="40374"/>
                  <a:pt x="1312" y="40191"/>
                </a:cubicBezTo>
                <a:cubicBezTo>
                  <a:pt x="-1416" y="30384"/>
                  <a:pt x="523" y="21512"/>
                  <a:pt x="3367" y="13162"/>
                </a:cubicBezTo>
                <a:cubicBezTo>
                  <a:pt x="5963" y="5538"/>
                  <a:pt x="12701" y="2077"/>
                  <a:pt x="20752" y="1879"/>
                </a:cubicBezTo>
                <a:cubicBezTo>
                  <a:pt x="31375" y="1617"/>
                  <a:pt x="42004" y="1647"/>
                  <a:pt x="52625" y="1332"/>
                </a:cubicBezTo>
                <a:cubicBezTo>
                  <a:pt x="57918" y="1176"/>
                  <a:pt x="63195" y="535"/>
                  <a:pt x="69625" y="0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91" name="Free-form: Shape 4090">
            <a:extLst>
              <a:ext uri="{FF2B5EF4-FFF2-40B4-BE49-F238E27FC236}">
                <a16:creationId xmlns:a16="http://schemas.microsoft.com/office/drawing/2014/main" id="{5ED37117-47D3-1E68-F553-420B0B740F4D}"/>
              </a:ext>
            </a:extLst>
          </p:cNvPr>
          <p:cNvSpPr/>
          <p:nvPr/>
        </p:nvSpPr>
        <p:spPr>
          <a:xfrm>
            <a:off x="5641525" y="4132009"/>
            <a:ext cx="123651" cy="292440"/>
          </a:xfrm>
          <a:custGeom>
            <a:avLst/>
            <a:gdLst>
              <a:gd name="csX0" fmla="*/ 91265 w 164579"/>
              <a:gd name="csY0" fmla="*/ 157878 h 389238"/>
              <a:gd name="csX1" fmla="*/ 112882 w 164579"/>
              <a:gd name="csY1" fmla="*/ 252738 h 389238"/>
              <a:gd name="csX2" fmla="*/ 164579 w 164579"/>
              <a:gd name="csY2" fmla="*/ 389238 h 389238"/>
              <a:gd name="csX3" fmla="*/ 0 w 164579"/>
              <a:gd name="csY3" fmla="*/ 389238 h 389238"/>
              <a:gd name="csX4" fmla="*/ 5184 w 164579"/>
              <a:gd name="csY4" fmla="*/ 260105 h 389238"/>
              <a:gd name="csX5" fmla="*/ 7989 w 164579"/>
              <a:gd name="csY5" fmla="*/ 131182 h 389238"/>
              <a:gd name="csX6" fmla="*/ 8093 w 164579"/>
              <a:gd name="csY6" fmla="*/ 2390 h 389238"/>
              <a:gd name="csX7" fmla="*/ 76429 w 164579"/>
              <a:gd name="csY7" fmla="*/ 1531 h 389238"/>
              <a:gd name="csX8" fmla="*/ 91265 w 164579"/>
              <a:gd name="csY8" fmla="*/ 157878 h 38923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</a:cxnLst>
            <a:rect l="l" t="t" r="r" b="b"/>
            <a:pathLst>
              <a:path w="164579" h="389238">
                <a:moveTo>
                  <a:pt x="91265" y="157878"/>
                </a:moveTo>
                <a:cubicBezTo>
                  <a:pt x="98425" y="190232"/>
                  <a:pt x="104539" y="221785"/>
                  <a:pt x="112882" y="252738"/>
                </a:cubicBezTo>
                <a:cubicBezTo>
                  <a:pt x="125498" y="299549"/>
                  <a:pt x="141482" y="345258"/>
                  <a:pt x="164579" y="389238"/>
                </a:cubicBezTo>
                <a:cubicBezTo>
                  <a:pt x="109753" y="389238"/>
                  <a:pt x="55706" y="389238"/>
                  <a:pt x="0" y="389238"/>
                </a:cubicBezTo>
                <a:cubicBezTo>
                  <a:pt x="1781" y="345633"/>
                  <a:pt x="3844" y="302880"/>
                  <a:pt x="5184" y="260105"/>
                </a:cubicBezTo>
                <a:cubicBezTo>
                  <a:pt x="6529" y="217143"/>
                  <a:pt x="7519" y="174162"/>
                  <a:pt x="7989" y="131182"/>
                </a:cubicBezTo>
                <a:cubicBezTo>
                  <a:pt x="8459" y="88239"/>
                  <a:pt x="8093" y="45287"/>
                  <a:pt x="8093" y="2390"/>
                </a:cubicBezTo>
                <a:cubicBezTo>
                  <a:pt x="17041" y="-288"/>
                  <a:pt x="58537" y="-913"/>
                  <a:pt x="76429" y="1531"/>
                </a:cubicBezTo>
                <a:cubicBezTo>
                  <a:pt x="79287" y="53276"/>
                  <a:pt x="82219" y="105359"/>
                  <a:pt x="91265" y="157878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92" name="Free-form: Shape 4091">
            <a:extLst>
              <a:ext uri="{FF2B5EF4-FFF2-40B4-BE49-F238E27FC236}">
                <a16:creationId xmlns:a16="http://schemas.microsoft.com/office/drawing/2014/main" id="{5509C14D-D0F6-0A5D-F982-D0C0B95F0431}"/>
              </a:ext>
            </a:extLst>
          </p:cNvPr>
          <p:cNvSpPr/>
          <p:nvPr/>
        </p:nvSpPr>
        <p:spPr>
          <a:xfrm>
            <a:off x="5643726" y="4634779"/>
            <a:ext cx="242432" cy="48237"/>
          </a:xfrm>
          <a:custGeom>
            <a:avLst/>
            <a:gdLst>
              <a:gd name="csX0" fmla="*/ 199184 w 322677"/>
              <a:gd name="csY0" fmla="*/ 59136 h 64202"/>
              <a:gd name="csX1" fmla="*/ 0 w 322677"/>
              <a:gd name="csY1" fmla="*/ 62697 h 64202"/>
              <a:gd name="csX2" fmla="*/ 0 w 322677"/>
              <a:gd name="csY2" fmla="*/ 18400 h 64202"/>
              <a:gd name="csX3" fmla="*/ 10601 w 322677"/>
              <a:gd name="csY3" fmla="*/ 17750 h 64202"/>
              <a:gd name="csX4" fmla="*/ 156563 w 322677"/>
              <a:gd name="csY4" fmla="*/ 15074 h 64202"/>
              <a:gd name="csX5" fmla="*/ 266479 w 322677"/>
              <a:gd name="csY5" fmla="*/ 4814 h 64202"/>
              <a:gd name="csX6" fmla="*/ 296798 w 322677"/>
              <a:gd name="csY6" fmla="*/ 344 h 64202"/>
              <a:gd name="csX7" fmla="*/ 309983 w 322677"/>
              <a:gd name="csY7" fmla="*/ 6097 h 64202"/>
              <a:gd name="csX8" fmla="*/ 322678 w 322677"/>
              <a:gd name="csY8" fmla="*/ 40406 h 64202"/>
              <a:gd name="csX9" fmla="*/ 199184 w 322677"/>
              <a:gd name="csY9" fmla="*/ 59136 h 6420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322677" h="64202">
                <a:moveTo>
                  <a:pt x="199184" y="59136"/>
                </a:moveTo>
                <a:cubicBezTo>
                  <a:pt x="132374" y="65824"/>
                  <a:pt x="66629" y="64605"/>
                  <a:pt x="0" y="62697"/>
                </a:cubicBezTo>
                <a:cubicBezTo>
                  <a:pt x="0" y="47160"/>
                  <a:pt x="0" y="33409"/>
                  <a:pt x="0" y="18400"/>
                </a:cubicBezTo>
                <a:cubicBezTo>
                  <a:pt x="3587" y="18160"/>
                  <a:pt x="7120" y="17536"/>
                  <a:pt x="10601" y="17750"/>
                </a:cubicBezTo>
                <a:cubicBezTo>
                  <a:pt x="59329" y="20736"/>
                  <a:pt x="107987" y="18533"/>
                  <a:pt x="156563" y="15074"/>
                </a:cubicBezTo>
                <a:cubicBezTo>
                  <a:pt x="193260" y="12461"/>
                  <a:pt x="229860" y="8449"/>
                  <a:pt x="266479" y="4814"/>
                </a:cubicBezTo>
                <a:cubicBezTo>
                  <a:pt x="276635" y="3806"/>
                  <a:pt x="286748" y="2160"/>
                  <a:pt x="296798" y="344"/>
                </a:cubicBezTo>
                <a:cubicBezTo>
                  <a:pt x="302773" y="-735"/>
                  <a:pt x="306536" y="602"/>
                  <a:pt x="309983" y="6097"/>
                </a:cubicBezTo>
                <a:cubicBezTo>
                  <a:pt x="316405" y="16331"/>
                  <a:pt x="320231" y="27243"/>
                  <a:pt x="322678" y="40406"/>
                </a:cubicBezTo>
                <a:cubicBezTo>
                  <a:pt x="281944" y="49611"/>
                  <a:pt x="241309" y="55431"/>
                  <a:pt x="199184" y="59136"/>
                </a:cubicBezTo>
                <a:close/>
              </a:path>
            </a:pathLst>
          </a:custGeom>
          <a:solidFill>
            <a:schemeClr val="bg1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129" name="Oval 4128">
            <a:extLst>
              <a:ext uri="{FF2B5EF4-FFF2-40B4-BE49-F238E27FC236}">
                <a16:creationId xmlns:a16="http://schemas.microsoft.com/office/drawing/2014/main" id="{91D15B86-6B36-DA39-0A43-C715910AE84B}"/>
              </a:ext>
            </a:extLst>
          </p:cNvPr>
          <p:cNvSpPr/>
          <p:nvPr/>
        </p:nvSpPr>
        <p:spPr>
          <a:xfrm>
            <a:off x="6424024" y="5000382"/>
            <a:ext cx="717697" cy="126003"/>
          </a:xfrm>
          <a:prstGeom prst="ellipse">
            <a:avLst/>
          </a:prstGeom>
          <a:solidFill>
            <a:schemeClr val="tx1">
              <a:alpha val="6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131" name="Free-form: Shape 4130">
            <a:extLst>
              <a:ext uri="{FF2B5EF4-FFF2-40B4-BE49-F238E27FC236}">
                <a16:creationId xmlns:a16="http://schemas.microsoft.com/office/drawing/2014/main" id="{4F031D79-1F4C-1EDF-926D-CFE6F14EB999}"/>
              </a:ext>
            </a:extLst>
          </p:cNvPr>
          <p:cNvSpPr/>
          <p:nvPr/>
        </p:nvSpPr>
        <p:spPr>
          <a:xfrm>
            <a:off x="6516966" y="4061433"/>
            <a:ext cx="576505" cy="1024899"/>
          </a:xfrm>
          <a:custGeom>
            <a:avLst/>
            <a:gdLst>
              <a:gd name="csX0" fmla="*/ 581793 w 697572"/>
              <a:gd name="csY0" fmla="*/ 1234401 h 1240128"/>
              <a:gd name="csX1" fmla="*/ 577427 w 697572"/>
              <a:gd name="csY1" fmla="*/ 1234156 h 1240128"/>
              <a:gd name="csX2" fmla="*/ 559133 w 697572"/>
              <a:gd name="csY2" fmla="*/ 1230909 h 1240128"/>
              <a:gd name="csX3" fmla="*/ 516706 w 697572"/>
              <a:gd name="csY3" fmla="*/ 1235117 h 1240128"/>
              <a:gd name="csX4" fmla="*/ 475244 w 697572"/>
              <a:gd name="csY4" fmla="*/ 1237506 h 1240128"/>
              <a:gd name="csX5" fmla="*/ 371154 w 697572"/>
              <a:gd name="csY5" fmla="*/ 1239428 h 1240128"/>
              <a:gd name="csX6" fmla="*/ 276813 w 697572"/>
              <a:gd name="csY6" fmla="*/ 1237654 h 1240128"/>
              <a:gd name="csX7" fmla="*/ 268212 w 697572"/>
              <a:gd name="csY7" fmla="*/ 1237635 h 1240128"/>
              <a:gd name="csX8" fmla="*/ 262072 w 697572"/>
              <a:gd name="csY8" fmla="*/ 1237523 h 1240128"/>
              <a:gd name="csX9" fmla="*/ 195111 w 697572"/>
              <a:gd name="csY9" fmla="*/ 1232775 h 1240128"/>
              <a:gd name="csX10" fmla="*/ 145060 w 697572"/>
              <a:gd name="csY10" fmla="*/ 1230076 h 1240128"/>
              <a:gd name="csX11" fmla="*/ 114933 w 697572"/>
              <a:gd name="csY11" fmla="*/ 1225832 h 1240128"/>
              <a:gd name="csX12" fmla="*/ 72642 w 697572"/>
              <a:gd name="csY12" fmla="*/ 1220237 h 1240128"/>
              <a:gd name="csX13" fmla="*/ 10894 w 697572"/>
              <a:gd name="csY13" fmla="*/ 1205737 h 1240128"/>
              <a:gd name="csX14" fmla="*/ 5856 w 697572"/>
              <a:gd name="csY14" fmla="*/ 1202799 h 1240128"/>
              <a:gd name="csX15" fmla="*/ 40 w 697572"/>
              <a:gd name="csY15" fmla="*/ 1174450 h 1240128"/>
              <a:gd name="csX16" fmla="*/ 19831 w 697572"/>
              <a:gd name="csY16" fmla="*/ 1118410 h 1240128"/>
              <a:gd name="csX17" fmla="*/ 22004 w 697572"/>
              <a:gd name="csY17" fmla="*/ 1107240 h 1240128"/>
              <a:gd name="csX18" fmla="*/ 25947 w 697572"/>
              <a:gd name="csY18" fmla="*/ 1038650 h 1240128"/>
              <a:gd name="csX19" fmla="*/ 58234 w 697572"/>
              <a:gd name="csY19" fmla="*/ 988567 h 1240128"/>
              <a:gd name="csX20" fmla="*/ 118645 w 697572"/>
              <a:gd name="csY20" fmla="*/ 928298 h 1240128"/>
              <a:gd name="csX21" fmla="*/ 126320 w 697572"/>
              <a:gd name="csY21" fmla="*/ 892015 h 1240128"/>
              <a:gd name="csX22" fmla="*/ 120345 w 697572"/>
              <a:gd name="csY22" fmla="*/ 872258 h 1240128"/>
              <a:gd name="csX23" fmla="*/ 125668 w 697572"/>
              <a:gd name="csY23" fmla="*/ 861640 h 1240128"/>
              <a:gd name="csX24" fmla="*/ 154237 w 697572"/>
              <a:gd name="csY24" fmla="*/ 850716 h 1240128"/>
              <a:gd name="csX25" fmla="*/ 170248 w 697572"/>
              <a:gd name="csY25" fmla="*/ 836767 h 1240128"/>
              <a:gd name="csX26" fmla="*/ 187840 w 697572"/>
              <a:gd name="csY26" fmla="*/ 796341 h 1240128"/>
              <a:gd name="csX27" fmla="*/ 209346 w 697572"/>
              <a:gd name="csY27" fmla="*/ 743126 h 1240128"/>
              <a:gd name="csX28" fmla="*/ 210630 w 697572"/>
              <a:gd name="csY28" fmla="*/ 737219 h 1240128"/>
              <a:gd name="csX29" fmla="*/ 213836 w 697572"/>
              <a:gd name="csY29" fmla="*/ 720505 h 1240128"/>
              <a:gd name="csX30" fmla="*/ 227791 w 697572"/>
              <a:gd name="csY30" fmla="*/ 667353 h 1240128"/>
              <a:gd name="csX31" fmla="*/ 241013 w 697572"/>
              <a:gd name="csY31" fmla="*/ 599151 h 1240128"/>
              <a:gd name="csX32" fmla="*/ 247322 w 697572"/>
              <a:gd name="csY32" fmla="*/ 542242 h 1240128"/>
              <a:gd name="csX33" fmla="*/ 247948 w 697572"/>
              <a:gd name="csY33" fmla="*/ 499296 h 1240128"/>
              <a:gd name="csX34" fmla="*/ 247577 w 697572"/>
              <a:gd name="csY34" fmla="*/ 470384 h 1240128"/>
              <a:gd name="csX35" fmla="*/ 238877 w 697572"/>
              <a:gd name="csY35" fmla="*/ 460987 h 1240128"/>
              <a:gd name="csX36" fmla="*/ 222040 w 697572"/>
              <a:gd name="csY36" fmla="*/ 458353 h 1240128"/>
              <a:gd name="csX37" fmla="*/ 172193 w 697572"/>
              <a:gd name="csY37" fmla="*/ 433714 h 1240128"/>
              <a:gd name="csX38" fmla="*/ 168410 w 697572"/>
              <a:gd name="csY38" fmla="*/ 396591 h 1240128"/>
              <a:gd name="csX39" fmla="*/ 209826 w 697572"/>
              <a:gd name="csY39" fmla="*/ 367773 h 1240128"/>
              <a:gd name="csX40" fmla="*/ 250732 w 697572"/>
              <a:gd name="csY40" fmla="*/ 355208 h 1240128"/>
              <a:gd name="csX41" fmla="*/ 258289 w 697572"/>
              <a:gd name="csY41" fmla="*/ 350426 h 1240128"/>
              <a:gd name="csX42" fmla="*/ 233274 w 697572"/>
              <a:gd name="csY42" fmla="*/ 333513 h 1240128"/>
              <a:gd name="csX43" fmla="*/ 229677 w 697572"/>
              <a:gd name="csY43" fmla="*/ 333922 h 1240128"/>
              <a:gd name="csX44" fmla="*/ 230149 w 697572"/>
              <a:gd name="csY44" fmla="*/ 332979 h 1240128"/>
              <a:gd name="csX45" fmla="*/ 227053 w 697572"/>
              <a:gd name="csY45" fmla="*/ 327076 h 1240128"/>
              <a:gd name="csX46" fmla="*/ 196769 w 697572"/>
              <a:gd name="csY46" fmla="*/ 291380 h 1240128"/>
              <a:gd name="csX47" fmla="*/ 184389 w 697572"/>
              <a:gd name="csY47" fmla="*/ 264042 h 1240128"/>
              <a:gd name="csX48" fmla="*/ 180630 w 697572"/>
              <a:gd name="csY48" fmla="*/ 257839 h 1240128"/>
              <a:gd name="csX49" fmla="*/ 176231 w 697572"/>
              <a:gd name="csY49" fmla="*/ 250643 h 1240128"/>
              <a:gd name="csX50" fmla="*/ 170073 w 697572"/>
              <a:gd name="csY50" fmla="*/ 146723 h 1240128"/>
              <a:gd name="csX51" fmla="*/ 180929 w 697572"/>
              <a:gd name="csY51" fmla="*/ 114280 h 1240128"/>
              <a:gd name="csX52" fmla="*/ 180839 w 697572"/>
              <a:gd name="csY52" fmla="*/ 101501 h 1240128"/>
              <a:gd name="csX53" fmla="*/ 233536 w 697572"/>
              <a:gd name="csY53" fmla="*/ 39653 h 1240128"/>
              <a:gd name="csX54" fmla="*/ 347618 w 697572"/>
              <a:gd name="csY54" fmla="*/ 35 h 1240128"/>
              <a:gd name="csX55" fmla="*/ 437139 w 697572"/>
              <a:gd name="csY55" fmla="*/ 22396 h 1240128"/>
              <a:gd name="csX56" fmla="*/ 529052 w 697572"/>
              <a:gd name="csY56" fmla="*/ 131093 h 1240128"/>
              <a:gd name="csX57" fmla="*/ 518497 w 697572"/>
              <a:gd name="csY57" fmla="*/ 271517 h 1240128"/>
              <a:gd name="csX58" fmla="*/ 500808 w 697572"/>
              <a:gd name="csY58" fmla="*/ 287385 h 1240128"/>
              <a:gd name="csX59" fmla="*/ 472948 w 697572"/>
              <a:gd name="csY59" fmla="*/ 323290 h 1240128"/>
              <a:gd name="csX60" fmla="*/ 469385 w 697572"/>
              <a:gd name="csY60" fmla="*/ 331565 h 1240128"/>
              <a:gd name="csX61" fmla="*/ 468293 w 697572"/>
              <a:gd name="csY61" fmla="*/ 331320 h 1240128"/>
              <a:gd name="csX62" fmla="*/ 459542 w 697572"/>
              <a:gd name="csY62" fmla="*/ 338942 h 1240128"/>
              <a:gd name="csX63" fmla="*/ 458492 w 697572"/>
              <a:gd name="csY63" fmla="*/ 338671 h 1240128"/>
              <a:gd name="csX64" fmla="*/ 436978 w 697572"/>
              <a:gd name="csY64" fmla="*/ 352226 h 1240128"/>
              <a:gd name="csX65" fmla="*/ 472329 w 697572"/>
              <a:gd name="csY65" fmla="*/ 362890 h 1240128"/>
              <a:gd name="csX66" fmla="*/ 523779 w 697572"/>
              <a:gd name="csY66" fmla="*/ 391962 h 1240128"/>
              <a:gd name="csX67" fmla="*/ 527344 w 697572"/>
              <a:gd name="csY67" fmla="*/ 430096 h 1240128"/>
              <a:gd name="csX68" fmla="*/ 504112 w 697572"/>
              <a:gd name="csY68" fmla="*/ 449628 h 1240128"/>
              <a:gd name="csX69" fmla="*/ 459430 w 697572"/>
              <a:gd name="csY69" fmla="*/ 461116 h 1240128"/>
              <a:gd name="csX70" fmla="*/ 446666 w 697572"/>
              <a:gd name="csY70" fmla="*/ 474229 h 1240128"/>
              <a:gd name="csX71" fmla="*/ 449133 w 697572"/>
              <a:gd name="csY71" fmla="*/ 531639 h 1240128"/>
              <a:gd name="csX72" fmla="*/ 454546 w 697572"/>
              <a:gd name="csY72" fmla="*/ 588688 h 1240128"/>
              <a:gd name="csX73" fmla="*/ 466126 w 697572"/>
              <a:gd name="csY73" fmla="*/ 649736 h 1240128"/>
              <a:gd name="csX74" fmla="*/ 512154 w 697572"/>
              <a:gd name="csY74" fmla="*/ 794006 h 1240128"/>
              <a:gd name="csX75" fmla="*/ 525763 w 697572"/>
              <a:gd name="csY75" fmla="*/ 834323 h 1240128"/>
              <a:gd name="csX76" fmla="*/ 530555 w 697572"/>
              <a:gd name="csY76" fmla="*/ 845114 h 1240128"/>
              <a:gd name="csX77" fmla="*/ 554424 w 697572"/>
              <a:gd name="csY77" fmla="*/ 856618 h 1240128"/>
              <a:gd name="csX78" fmla="*/ 572880 w 697572"/>
              <a:gd name="csY78" fmla="*/ 862546 h 1240128"/>
              <a:gd name="csX79" fmla="*/ 578643 w 697572"/>
              <a:gd name="csY79" fmla="*/ 880396 h 1240128"/>
              <a:gd name="csX80" fmla="*/ 572188 w 697572"/>
              <a:gd name="csY80" fmla="*/ 899820 h 1240128"/>
              <a:gd name="csX81" fmla="*/ 582698 w 697572"/>
              <a:gd name="csY81" fmla="*/ 930382 h 1240128"/>
              <a:gd name="csX82" fmla="*/ 604747 w 697572"/>
              <a:gd name="csY82" fmla="*/ 960852 h 1240128"/>
              <a:gd name="csX83" fmla="*/ 613863 w 697572"/>
              <a:gd name="csY83" fmla="*/ 968311 h 1240128"/>
              <a:gd name="csX84" fmla="*/ 629435 w 697572"/>
              <a:gd name="csY84" fmla="*/ 981186 h 1240128"/>
              <a:gd name="csX85" fmla="*/ 633611 w 697572"/>
              <a:gd name="csY85" fmla="*/ 985609 h 1240128"/>
              <a:gd name="csX86" fmla="*/ 673790 w 697572"/>
              <a:gd name="csY86" fmla="*/ 1049348 h 1240128"/>
              <a:gd name="csX87" fmla="*/ 675873 w 697572"/>
              <a:gd name="csY87" fmla="*/ 1092839 h 1240128"/>
              <a:gd name="csX88" fmla="*/ 681668 w 697572"/>
              <a:gd name="csY88" fmla="*/ 1129292 h 1240128"/>
              <a:gd name="csX89" fmla="*/ 697338 w 697572"/>
              <a:gd name="csY89" fmla="*/ 1196079 h 1240128"/>
              <a:gd name="csX90" fmla="*/ 690637 w 697572"/>
              <a:gd name="csY90" fmla="*/ 1205035 h 1240128"/>
              <a:gd name="csX91" fmla="*/ 639777 w 697572"/>
              <a:gd name="csY91" fmla="*/ 1217994 h 1240128"/>
              <a:gd name="csX92" fmla="*/ 587072 w 697572"/>
              <a:gd name="csY92" fmla="*/ 1227761 h 1240128"/>
              <a:gd name="csX93" fmla="*/ 581793 w 697572"/>
              <a:gd name="csY93" fmla="*/ 1234401 h 1240128"/>
              <a:gd name="csX94" fmla="*/ 357446 w 697572"/>
              <a:gd name="csY94" fmla="*/ 903795 h 1240128"/>
              <a:gd name="csX95" fmla="*/ 344445 w 697572"/>
              <a:gd name="csY95" fmla="*/ 903795 h 1240128"/>
              <a:gd name="csX96" fmla="*/ 349212 w 697572"/>
              <a:gd name="csY96" fmla="*/ 950515 h 1240128"/>
              <a:gd name="csX97" fmla="*/ 349538 w 697572"/>
              <a:gd name="csY97" fmla="*/ 1069392 h 1240128"/>
              <a:gd name="csX98" fmla="*/ 349415 w 697572"/>
              <a:gd name="csY98" fmla="*/ 1108925 h 1240128"/>
              <a:gd name="csX99" fmla="*/ 647726 w 697572"/>
              <a:gd name="csY99" fmla="*/ 1089872 h 1240128"/>
              <a:gd name="csX100" fmla="*/ 647654 w 697572"/>
              <a:gd name="csY100" fmla="*/ 1076267 h 1240128"/>
              <a:gd name="csX101" fmla="*/ 610267 w 697572"/>
              <a:gd name="csY101" fmla="*/ 994126 h 1240128"/>
              <a:gd name="csX102" fmla="*/ 571459 w 697572"/>
              <a:gd name="csY102" fmla="*/ 956568 h 1240128"/>
              <a:gd name="csX103" fmla="*/ 541653 w 697572"/>
              <a:gd name="csY103" fmla="*/ 901544 h 1240128"/>
              <a:gd name="csX104" fmla="*/ 539477 w 697572"/>
              <a:gd name="csY104" fmla="*/ 895908 h 1240128"/>
              <a:gd name="csX105" fmla="*/ 357446 w 697572"/>
              <a:gd name="csY105" fmla="*/ 903795 h 1240128"/>
              <a:gd name="csX106" fmla="*/ 300108 w 697572"/>
              <a:gd name="csY106" fmla="*/ 85260 h 1240128"/>
              <a:gd name="csX107" fmla="*/ 290213 w 697572"/>
              <a:gd name="csY107" fmla="*/ 127888 h 1240128"/>
              <a:gd name="csX108" fmla="*/ 331056 w 697572"/>
              <a:gd name="csY108" fmla="*/ 214168 h 1240128"/>
              <a:gd name="csX109" fmla="*/ 424717 w 697572"/>
              <a:gd name="csY109" fmla="*/ 245160 h 1240128"/>
              <a:gd name="csX110" fmla="*/ 496752 w 697572"/>
              <a:gd name="csY110" fmla="*/ 141256 h 1240128"/>
              <a:gd name="csX111" fmla="*/ 390320 w 697572"/>
              <a:gd name="csY111" fmla="*/ 43995 h 1240128"/>
              <a:gd name="csX112" fmla="*/ 300108 w 697572"/>
              <a:gd name="csY112" fmla="*/ 85260 h 1240128"/>
              <a:gd name="csX113" fmla="*/ 343360 w 697572"/>
              <a:gd name="csY113" fmla="*/ 634332 h 1240128"/>
              <a:gd name="csX114" fmla="*/ 340877 w 697572"/>
              <a:gd name="csY114" fmla="*/ 732259 h 1240128"/>
              <a:gd name="csX115" fmla="*/ 338360 w 697572"/>
              <a:gd name="csY115" fmla="*/ 810538 h 1240128"/>
              <a:gd name="csX116" fmla="*/ 337115 w 697572"/>
              <a:gd name="csY116" fmla="*/ 817736 h 1240128"/>
              <a:gd name="csX117" fmla="*/ 336516 w 697572"/>
              <a:gd name="csY117" fmla="*/ 863022 h 1240128"/>
              <a:gd name="csX118" fmla="*/ 343436 w 697572"/>
              <a:gd name="csY118" fmla="*/ 864027 h 1240128"/>
              <a:gd name="csX119" fmla="*/ 406718 w 697572"/>
              <a:gd name="csY119" fmla="*/ 862982 h 1240128"/>
              <a:gd name="csX120" fmla="*/ 456888 w 697572"/>
              <a:gd name="csY120" fmla="*/ 861794 h 1240128"/>
              <a:gd name="csX121" fmla="*/ 495873 w 697572"/>
              <a:gd name="csY121" fmla="*/ 863963 h 1240128"/>
              <a:gd name="csX122" fmla="*/ 509286 w 697572"/>
              <a:gd name="csY122" fmla="*/ 863595 h 1240128"/>
              <a:gd name="csX123" fmla="*/ 516956 w 697572"/>
              <a:gd name="csY123" fmla="*/ 856791 h 1240128"/>
              <a:gd name="csX124" fmla="*/ 513920 w 697572"/>
              <a:gd name="csY124" fmla="*/ 848709 h 1240128"/>
              <a:gd name="csX125" fmla="*/ 506683 w 697572"/>
              <a:gd name="csY125" fmla="*/ 839054 h 1240128"/>
              <a:gd name="csX126" fmla="*/ 488629 w 697572"/>
              <a:gd name="csY126" fmla="*/ 799037 h 1240128"/>
              <a:gd name="csX127" fmla="*/ 456922 w 697572"/>
              <a:gd name="csY127" fmla="*/ 696297 h 1240128"/>
              <a:gd name="csX128" fmla="*/ 441346 w 697572"/>
              <a:gd name="csY128" fmla="*/ 619885 h 1240128"/>
              <a:gd name="csX129" fmla="*/ 435963 w 697572"/>
              <a:gd name="csY129" fmla="*/ 582529 h 1240128"/>
              <a:gd name="csX130" fmla="*/ 429497 w 697572"/>
              <a:gd name="csY130" fmla="*/ 521990 h 1240128"/>
              <a:gd name="csX131" fmla="*/ 426887 w 697572"/>
              <a:gd name="csY131" fmla="*/ 471989 h 1240128"/>
              <a:gd name="csX132" fmla="*/ 413744 w 697572"/>
              <a:gd name="csY132" fmla="*/ 461077 h 1240128"/>
              <a:gd name="csX133" fmla="*/ 353573 w 697572"/>
              <a:gd name="csY133" fmla="*/ 461120 h 1240128"/>
              <a:gd name="csX134" fmla="*/ 344160 w 697572"/>
              <a:gd name="csY134" fmla="*/ 462286 h 1240128"/>
              <a:gd name="csX135" fmla="*/ 343404 w 697572"/>
              <a:gd name="csY135" fmla="*/ 469192 h 1240128"/>
              <a:gd name="csX136" fmla="*/ 343469 w 697572"/>
              <a:gd name="csY136" fmla="*/ 574797 h 1240128"/>
              <a:gd name="csX137" fmla="*/ 345522 w 697572"/>
              <a:gd name="csY137" fmla="*/ 591669 h 1240128"/>
              <a:gd name="csX138" fmla="*/ 343360 w 697572"/>
              <a:gd name="csY138" fmla="*/ 634332 h 1240128"/>
              <a:gd name="csX139" fmla="*/ 416946 w 697572"/>
              <a:gd name="csY139" fmla="*/ 385943 h 1240128"/>
              <a:gd name="csX140" fmla="*/ 401091 w 697572"/>
              <a:gd name="csY140" fmla="*/ 387162 h 1240128"/>
              <a:gd name="csX141" fmla="*/ 369218 w 697572"/>
              <a:gd name="csY141" fmla="*/ 387708 h 1240128"/>
              <a:gd name="csX142" fmla="*/ 351833 w 697572"/>
              <a:gd name="csY142" fmla="*/ 398991 h 1240128"/>
              <a:gd name="csX143" fmla="*/ 349778 w 697572"/>
              <a:gd name="csY143" fmla="*/ 426021 h 1240128"/>
              <a:gd name="csX144" fmla="*/ 361839 w 697572"/>
              <a:gd name="csY144" fmla="*/ 426538 h 1240128"/>
              <a:gd name="csX145" fmla="*/ 455022 w 697572"/>
              <a:gd name="csY145" fmla="*/ 426922 h 1240128"/>
              <a:gd name="csX146" fmla="*/ 481958 w 697572"/>
              <a:gd name="csY146" fmla="*/ 426527 h 1240128"/>
              <a:gd name="csX147" fmla="*/ 499817 w 697572"/>
              <a:gd name="csY147" fmla="*/ 419888 h 1240128"/>
              <a:gd name="csX148" fmla="*/ 499439 w 697572"/>
              <a:gd name="csY148" fmla="*/ 400719 h 1240128"/>
              <a:gd name="csX149" fmla="*/ 468062 w 697572"/>
              <a:gd name="csY149" fmla="*/ 387775 h 1240128"/>
              <a:gd name="csX150" fmla="*/ 416946 w 697572"/>
              <a:gd name="csY150" fmla="*/ 385943 h 1240128"/>
              <a:gd name="csX151" fmla="*/ 636802 w 697572"/>
              <a:gd name="csY151" fmla="*/ 1190940 h 1240128"/>
              <a:gd name="csX152" fmla="*/ 666492 w 697572"/>
              <a:gd name="csY152" fmla="*/ 1184186 h 1240128"/>
              <a:gd name="csX153" fmla="*/ 674465 w 697572"/>
              <a:gd name="csY153" fmla="*/ 1170880 h 1240128"/>
              <a:gd name="csX154" fmla="*/ 662462 w 697572"/>
              <a:gd name="csY154" fmla="*/ 1141464 h 1240128"/>
              <a:gd name="csX155" fmla="*/ 645564 w 697572"/>
              <a:gd name="csY155" fmla="*/ 1131937 h 1240128"/>
              <a:gd name="csX156" fmla="*/ 627387 w 697572"/>
              <a:gd name="csY156" fmla="*/ 1133618 h 1240128"/>
              <a:gd name="csX157" fmla="*/ 583917 w 697572"/>
              <a:gd name="csY157" fmla="*/ 1139222 h 1240128"/>
              <a:gd name="csX158" fmla="*/ 543741 w 697572"/>
              <a:gd name="csY158" fmla="*/ 1141869 h 1240128"/>
              <a:gd name="csX159" fmla="*/ 512146 w 697572"/>
              <a:gd name="csY159" fmla="*/ 1144418 h 1240128"/>
              <a:gd name="csX160" fmla="*/ 447711 w 697572"/>
              <a:gd name="csY160" fmla="*/ 1148973 h 1240128"/>
              <a:gd name="csX161" fmla="*/ 351979 w 697572"/>
              <a:gd name="csY161" fmla="*/ 1149200 h 1240128"/>
              <a:gd name="csX162" fmla="*/ 338443 w 697572"/>
              <a:gd name="csY162" fmla="*/ 1150040 h 1240128"/>
              <a:gd name="csX163" fmla="*/ 338451 w 697572"/>
              <a:gd name="csY163" fmla="*/ 1190780 h 1240128"/>
              <a:gd name="csX164" fmla="*/ 351082 w 697572"/>
              <a:gd name="csY164" fmla="*/ 1207015 h 1240128"/>
              <a:gd name="csX165" fmla="*/ 358298 w 697572"/>
              <a:gd name="csY165" fmla="*/ 1208094 h 1240128"/>
              <a:gd name="csX166" fmla="*/ 521229 w 697572"/>
              <a:gd name="csY166" fmla="*/ 1205646 h 1240128"/>
              <a:gd name="csX167" fmla="*/ 523675 w 697572"/>
              <a:gd name="csY167" fmla="*/ 1205490 h 1240128"/>
              <a:gd name="csX168" fmla="*/ 580423 w 697572"/>
              <a:gd name="csY168" fmla="*/ 1198350 h 1240128"/>
              <a:gd name="csX169" fmla="*/ 636802 w 697572"/>
              <a:gd name="csY169" fmla="*/ 1190940 h 124012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</a:cxnLst>
            <a:rect l="l" t="t" r="r" b="b"/>
            <a:pathLst>
              <a:path w="697572" h="1240128">
                <a:moveTo>
                  <a:pt x="581793" y="1234401"/>
                </a:moveTo>
                <a:cubicBezTo>
                  <a:pt x="580693" y="1234661"/>
                  <a:pt x="579594" y="1234922"/>
                  <a:pt x="577427" y="1234156"/>
                </a:cubicBezTo>
                <a:cubicBezTo>
                  <a:pt x="571216" y="1227899"/>
                  <a:pt x="564912" y="1230441"/>
                  <a:pt x="559133" y="1230909"/>
                </a:cubicBezTo>
                <a:cubicBezTo>
                  <a:pt x="544971" y="1232056"/>
                  <a:pt x="530869" y="1233971"/>
                  <a:pt x="516706" y="1235117"/>
                </a:cubicBezTo>
                <a:cubicBezTo>
                  <a:pt x="502910" y="1236232"/>
                  <a:pt x="489077" y="1237097"/>
                  <a:pt x="475244" y="1237506"/>
                </a:cubicBezTo>
                <a:cubicBezTo>
                  <a:pt x="440539" y="1238535"/>
                  <a:pt x="405696" y="1241458"/>
                  <a:pt x="371154" y="1239428"/>
                </a:cubicBezTo>
                <a:cubicBezTo>
                  <a:pt x="339645" y="1237575"/>
                  <a:pt x="308239" y="1238753"/>
                  <a:pt x="276813" y="1237654"/>
                </a:cubicBezTo>
                <a:cubicBezTo>
                  <a:pt x="273949" y="1237553"/>
                  <a:pt x="271079" y="1237652"/>
                  <a:pt x="268212" y="1237635"/>
                </a:cubicBezTo>
                <a:cubicBezTo>
                  <a:pt x="266165" y="1237623"/>
                  <a:pt x="264111" y="1237668"/>
                  <a:pt x="262072" y="1237523"/>
                </a:cubicBezTo>
                <a:cubicBezTo>
                  <a:pt x="239751" y="1235944"/>
                  <a:pt x="217441" y="1234201"/>
                  <a:pt x="195111" y="1232775"/>
                </a:cubicBezTo>
                <a:cubicBezTo>
                  <a:pt x="178437" y="1231710"/>
                  <a:pt x="161712" y="1231378"/>
                  <a:pt x="145060" y="1230076"/>
                </a:cubicBezTo>
                <a:cubicBezTo>
                  <a:pt x="134969" y="1229287"/>
                  <a:pt x="124987" y="1227177"/>
                  <a:pt x="114933" y="1225832"/>
                </a:cubicBezTo>
                <a:cubicBezTo>
                  <a:pt x="100834" y="1223946"/>
                  <a:pt x="86554" y="1223022"/>
                  <a:pt x="72642" y="1220237"/>
                </a:cubicBezTo>
                <a:cubicBezTo>
                  <a:pt x="51920" y="1216091"/>
                  <a:pt x="31443" y="1210723"/>
                  <a:pt x="10894" y="1205737"/>
                </a:cubicBezTo>
                <a:cubicBezTo>
                  <a:pt x="9027" y="1205284"/>
                  <a:pt x="6196" y="1204140"/>
                  <a:pt x="5856" y="1202799"/>
                </a:cubicBezTo>
                <a:cubicBezTo>
                  <a:pt x="3474" y="1193418"/>
                  <a:pt x="-438" y="1183796"/>
                  <a:pt x="40" y="1174450"/>
                </a:cubicBezTo>
                <a:cubicBezTo>
                  <a:pt x="1079" y="1154149"/>
                  <a:pt x="9757" y="1135843"/>
                  <a:pt x="19831" y="1118410"/>
                </a:cubicBezTo>
                <a:cubicBezTo>
                  <a:pt x="21968" y="1114713"/>
                  <a:pt x="22970" y="1111858"/>
                  <a:pt x="22004" y="1107240"/>
                </a:cubicBezTo>
                <a:cubicBezTo>
                  <a:pt x="17168" y="1084118"/>
                  <a:pt x="17717" y="1061168"/>
                  <a:pt x="25947" y="1038650"/>
                </a:cubicBezTo>
                <a:cubicBezTo>
                  <a:pt x="32954" y="1019481"/>
                  <a:pt x="44478" y="1003118"/>
                  <a:pt x="58234" y="988567"/>
                </a:cubicBezTo>
                <a:cubicBezTo>
                  <a:pt x="77769" y="967902"/>
                  <a:pt x="97978" y="947832"/>
                  <a:pt x="118645" y="928298"/>
                </a:cubicBezTo>
                <a:cubicBezTo>
                  <a:pt x="130104" y="917467"/>
                  <a:pt x="131835" y="905961"/>
                  <a:pt x="126320" y="892015"/>
                </a:cubicBezTo>
                <a:cubicBezTo>
                  <a:pt x="123798" y="885637"/>
                  <a:pt x="122123" y="878904"/>
                  <a:pt x="120345" y="872258"/>
                </a:cubicBezTo>
                <a:cubicBezTo>
                  <a:pt x="119029" y="867341"/>
                  <a:pt x="120162" y="863613"/>
                  <a:pt x="125668" y="861640"/>
                </a:cubicBezTo>
                <a:cubicBezTo>
                  <a:pt x="135266" y="858201"/>
                  <a:pt x="144535" y="853788"/>
                  <a:pt x="154237" y="850716"/>
                </a:cubicBezTo>
                <a:cubicBezTo>
                  <a:pt x="161882" y="848296"/>
                  <a:pt x="167110" y="843897"/>
                  <a:pt x="170248" y="836767"/>
                </a:cubicBezTo>
                <a:cubicBezTo>
                  <a:pt x="176168" y="823316"/>
                  <a:pt x="182193" y="809907"/>
                  <a:pt x="187840" y="796341"/>
                </a:cubicBezTo>
                <a:cubicBezTo>
                  <a:pt x="195194" y="778679"/>
                  <a:pt x="202250" y="760894"/>
                  <a:pt x="209346" y="743126"/>
                </a:cubicBezTo>
                <a:cubicBezTo>
                  <a:pt x="210083" y="741280"/>
                  <a:pt x="210252" y="739200"/>
                  <a:pt x="210630" y="737219"/>
                </a:cubicBezTo>
                <a:cubicBezTo>
                  <a:pt x="211694" y="731645"/>
                  <a:pt x="212425" y="725987"/>
                  <a:pt x="213836" y="720505"/>
                </a:cubicBezTo>
                <a:cubicBezTo>
                  <a:pt x="218406" y="702764"/>
                  <a:pt x="223811" y="685219"/>
                  <a:pt x="227791" y="667353"/>
                </a:cubicBezTo>
                <a:cubicBezTo>
                  <a:pt x="232826" y="644755"/>
                  <a:pt x="237367" y="622009"/>
                  <a:pt x="241013" y="599151"/>
                </a:cubicBezTo>
                <a:cubicBezTo>
                  <a:pt x="244018" y="580319"/>
                  <a:pt x="246001" y="561272"/>
                  <a:pt x="247322" y="542242"/>
                </a:cubicBezTo>
                <a:cubicBezTo>
                  <a:pt x="248312" y="527975"/>
                  <a:pt x="246344" y="513451"/>
                  <a:pt x="247948" y="499296"/>
                </a:cubicBezTo>
                <a:cubicBezTo>
                  <a:pt x="249066" y="489432"/>
                  <a:pt x="247923" y="480014"/>
                  <a:pt x="247577" y="470384"/>
                </a:cubicBezTo>
                <a:cubicBezTo>
                  <a:pt x="247364" y="464453"/>
                  <a:pt x="245121" y="461397"/>
                  <a:pt x="238877" y="460987"/>
                </a:cubicBezTo>
                <a:cubicBezTo>
                  <a:pt x="233224" y="460615"/>
                  <a:pt x="227461" y="459920"/>
                  <a:pt x="222040" y="458353"/>
                </a:cubicBezTo>
                <a:cubicBezTo>
                  <a:pt x="203991" y="453134"/>
                  <a:pt x="185737" y="448229"/>
                  <a:pt x="172193" y="433714"/>
                </a:cubicBezTo>
                <a:cubicBezTo>
                  <a:pt x="162702" y="423544"/>
                  <a:pt x="160887" y="408134"/>
                  <a:pt x="168410" y="396591"/>
                </a:cubicBezTo>
                <a:cubicBezTo>
                  <a:pt x="178294" y="381428"/>
                  <a:pt x="193736" y="373793"/>
                  <a:pt x="209826" y="367773"/>
                </a:cubicBezTo>
                <a:cubicBezTo>
                  <a:pt x="223159" y="362784"/>
                  <a:pt x="237124" y="359493"/>
                  <a:pt x="250732" y="355208"/>
                </a:cubicBezTo>
                <a:cubicBezTo>
                  <a:pt x="253085" y="354467"/>
                  <a:pt x="255058" y="352518"/>
                  <a:pt x="258289" y="350426"/>
                </a:cubicBezTo>
                <a:cubicBezTo>
                  <a:pt x="250173" y="342610"/>
                  <a:pt x="241833" y="337880"/>
                  <a:pt x="233274" y="333513"/>
                </a:cubicBezTo>
                <a:cubicBezTo>
                  <a:pt x="232377" y="333055"/>
                  <a:pt x="230890" y="333758"/>
                  <a:pt x="229677" y="333922"/>
                </a:cubicBezTo>
                <a:cubicBezTo>
                  <a:pt x="229677" y="333922"/>
                  <a:pt x="230323" y="333834"/>
                  <a:pt x="230149" y="332979"/>
                </a:cubicBezTo>
                <a:cubicBezTo>
                  <a:pt x="229023" y="330409"/>
                  <a:pt x="228502" y="328059"/>
                  <a:pt x="227053" y="327076"/>
                </a:cubicBezTo>
                <a:cubicBezTo>
                  <a:pt x="213615" y="317962"/>
                  <a:pt x="204643" y="305332"/>
                  <a:pt x="196769" y="291380"/>
                </a:cubicBezTo>
                <a:cubicBezTo>
                  <a:pt x="191792" y="282564"/>
                  <a:pt x="185421" y="274665"/>
                  <a:pt x="184389" y="264042"/>
                </a:cubicBezTo>
                <a:cubicBezTo>
                  <a:pt x="184179" y="261874"/>
                  <a:pt x="181925" y="259908"/>
                  <a:pt x="180630" y="257839"/>
                </a:cubicBezTo>
                <a:cubicBezTo>
                  <a:pt x="179137" y="255454"/>
                  <a:pt x="177317" y="253204"/>
                  <a:pt x="176231" y="250643"/>
                </a:cubicBezTo>
                <a:cubicBezTo>
                  <a:pt x="161865" y="216749"/>
                  <a:pt x="159606" y="182060"/>
                  <a:pt x="170073" y="146723"/>
                </a:cubicBezTo>
                <a:cubicBezTo>
                  <a:pt x="173311" y="135795"/>
                  <a:pt x="177248" y="125074"/>
                  <a:pt x="180929" y="114280"/>
                </a:cubicBezTo>
                <a:cubicBezTo>
                  <a:pt x="182396" y="109981"/>
                  <a:pt x="183922" y="105742"/>
                  <a:pt x="180839" y="101501"/>
                </a:cubicBezTo>
                <a:cubicBezTo>
                  <a:pt x="192473" y="75833"/>
                  <a:pt x="211344" y="56271"/>
                  <a:pt x="233536" y="39653"/>
                </a:cubicBezTo>
                <a:cubicBezTo>
                  <a:pt x="267321" y="14353"/>
                  <a:pt x="305621" y="873"/>
                  <a:pt x="347618" y="35"/>
                </a:cubicBezTo>
                <a:cubicBezTo>
                  <a:pt x="379125" y="-593"/>
                  <a:pt x="409214" y="7172"/>
                  <a:pt x="437139" y="22396"/>
                </a:cubicBezTo>
                <a:cubicBezTo>
                  <a:pt x="481844" y="46766"/>
                  <a:pt x="514077" y="82116"/>
                  <a:pt x="529052" y="131093"/>
                </a:cubicBezTo>
                <a:cubicBezTo>
                  <a:pt x="543544" y="178495"/>
                  <a:pt x="541630" y="225548"/>
                  <a:pt x="518497" y="271517"/>
                </a:cubicBezTo>
                <a:cubicBezTo>
                  <a:pt x="511428" y="277096"/>
                  <a:pt x="503848" y="281136"/>
                  <a:pt x="500808" y="287385"/>
                </a:cubicBezTo>
                <a:cubicBezTo>
                  <a:pt x="493932" y="301522"/>
                  <a:pt x="483805" y="312513"/>
                  <a:pt x="472948" y="323290"/>
                </a:cubicBezTo>
                <a:cubicBezTo>
                  <a:pt x="470972" y="325253"/>
                  <a:pt x="470533" y="328767"/>
                  <a:pt x="469385" y="331565"/>
                </a:cubicBezTo>
                <a:cubicBezTo>
                  <a:pt x="469385" y="331565"/>
                  <a:pt x="469172" y="331584"/>
                  <a:pt x="468293" y="331320"/>
                </a:cubicBezTo>
                <a:cubicBezTo>
                  <a:pt x="461937" y="330836"/>
                  <a:pt x="458618" y="332772"/>
                  <a:pt x="459542" y="338942"/>
                </a:cubicBezTo>
                <a:cubicBezTo>
                  <a:pt x="459542" y="338942"/>
                  <a:pt x="459473" y="338913"/>
                  <a:pt x="458492" y="338671"/>
                </a:cubicBezTo>
                <a:cubicBezTo>
                  <a:pt x="450936" y="342653"/>
                  <a:pt x="440712" y="341355"/>
                  <a:pt x="436978" y="352226"/>
                </a:cubicBezTo>
                <a:cubicBezTo>
                  <a:pt x="449178" y="355911"/>
                  <a:pt x="460733" y="359469"/>
                  <a:pt x="472329" y="362890"/>
                </a:cubicBezTo>
                <a:cubicBezTo>
                  <a:pt x="491728" y="368613"/>
                  <a:pt x="510182" y="375784"/>
                  <a:pt x="523779" y="391962"/>
                </a:cubicBezTo>
                <a:cubicBezTo>
                  <a:pt x="535849" y="406326"/>
                  <a:pt x="534845" y="420076"/>
                  <a:pt x="527344" y="430096"/>
                </a:cubicBezTo>
                <a:cubicBezTo>
                  <a:pt x="521323" y="438139"/>
                  <a:pt x="513928" y="445333"/>
                  <a:pt x="504112" y="449628"/>
                </a:cubicBezTo>
                <a:cubicBezTo>
                  <a:pt x="489776" y="455901"/>
                  <a:pt x="475173" y="460486"/>
                  <a:pt x="459430" y="461116"/>
                </a:cubicBezTo>
                <a:cubicBezTo>
                  <a:pt x="448415" y="461557"/>
                  <a:pt x="446384" y="463369"/>
                  <a:pt x="446666" y="474229"/>
                </a:cubicBezTo>
                <a:cubicBezTo>
                  <a:pt x="447164" y="493376"/>
                  <a:pt x="447839" y="512533"/>
                  <a:pt x="449133" y="531639"/>
                </a:cubicBezTo>
                <a:cubicBezTo>
                  <a:pt x="450424" y="550696"/>
                  <a:pt x="451783" y="569809"/>
                  <a:pt x="454546" y="588688"/>
                </a:cubicBezTo>
                <a:cubicBezTo>
                  <a:pt x="457543" y="609164"/>
                  <a:pt x="462165" y="629403"/>
                  <a:pt x="466126" y="649736"/>
                </a:cubicBezTo>
                <a:cubicBezTo>
                  <a:pt x="475845" y="699621"/>
                  <a:pt x="493414" y="746980"/>
                  <a:pt x="512154" y="794006"/>
                </a:cubicBezTo>
                <a:cubicBezTo>
                  <a:pt x="517387" y="807138"/>
                  <a:pt x="525145" y="819463"/>
                  <a:pt x="525763" y="834323"/>
                </a:cubicBezTo>
                <a:cubicBezTo>
                  <a:pt x="525919" y="838081"/>
                  <a:pt x="527739" y="843335"/>
                  <a:pt x="530555" y="845114"/>
                </a:cubicBezTo>
                <a:cubicBezTo>
                  <a:pt x="537981" y="849801"/>
                  <a:pt x="546243" y="853278"/>
                  <a:pt x="554424" y="856618"/>
                </a:cubicBezTo>
                <a:cubicBezTo>
                  <a:pt x="560391" y="859054"/>
                  <a:pt x="567041" y="859887"/>
                  <a:pt x="572880" y="862546"/>
                </a:cubicBezTo>
                <a:cubicBezTo>
                  <a:pt x="581470" y="866458"/>
                  <a:pt x="582467" y="871415"/>
                  <a:pt x="578643" y="880396"/>
                </a:cubicBezTo>
                <a:cubicBezTo>
                  <a:pt x="575969" y="886677"/>
                  <a:pt x="572900" y="893182"/>
                  <a:pt x="572188" y="899820"/>
                </a:cubicBezTo>
                <a:cubicBezTo>
                  <a:pt x="570960" y="911271"/>
                  <a:pt x="576506" y="920944"/>
                  <a:pt x="582698" y="930382"/>
                </a:cubicBezTo>
                <a:cubicBezTo>
                  <a:pt x="589569" y="940856"/>
                  <a:pt x="600933" y="947930"/>
                  <a:pt x="604747" y="960852"/>
                </a:cubicBezTo>
                <a:cubicBezTo>
                  <a:pt x="605684" y="964030"/>
                  <a:pt x="610294" y="967128"/>
                  <a:pt x="613863" y="968311"/>
                </a:cubicBezTo>
                <a:cubicBezTo>
                  <a:pt x="620963" y="970665"/>
                  <a:pt x="625924" y="974774"/>
                  <a:pt x="629435" y="981186"/>
                </a:cubicBezTo>
                <a:cubicBezTo>
                  <a:pt x="630381" y="982913"/>
                  <a:pt x="631977" y="984459"/>
                  <a:pt x="633611" y="985609"/>
                </a:cubicBezTo>
                <a:cubicBezTo>
                  <a:pt x="655878" y="1001272"/>
                  <a:pt x="668032" y="1023762"/>
                  <a:pt x="673790" y="1049348"/>
                </a:cubicBezTo>
                <a:cubicBezTo>
                  <a:pt x="676936" y="1063327"/>
                  <a:pt x="679769" y="1077802"/>
                  <a:pt x="675873" y="1092839"/>
                </a:cubicBezTo>
                <a:cubicBezTo>
                  <a:pt x="672677" y="1105174"/>
                  <a:pt x="673042" y="1116963"/>
                  <a:pt x="681668" y="1129292"/>
                </a:cubicBezTo>
                <a:cubicBezTo>
                  <a:pt x="695321" y="1148802"/>
                  <a:pt x="698550" y="1172235"/>
                  <a:pt x="697338" y="1196079"/>
                </a:cubicBezTo>
                <a:cubicBezTo>
                  <a:pt x="697087" y="1201014"/>
                  <a:pt x="694979" y="1203886"/>
                  <a:pt x="690637" y="1205035"/>
                </a:cubicBezTo>
                <a:cubicBezTo>
                  <a:pt x="673723" y="1209511"/>
                  <a:pt x="656856" y="1214241"/>
                  <a:pt x="639777" y="1217994"/>
                </a:cubicBezTo>
                <a:cubicBezTo>
                  <a:pt x="622334" y="1221827"/>
                  <a:pt x="604691" y="1224790"/>
                  <a:pt x="587072" y="1227761"/>
                </a:cubicBezTo>
                <a:cubicBezTo>
                  <a:pt x="582708" y="1228497"/>
                  <a:pt x="581724" y="1230736"/>
                  <a:pt x="581793" y="1234401"/>
                </a:cubicBezTo>
                <a:moveTo>
                  <a:pt x="357446" y="903795"/>
                </a:moveTo>
                <a:cubicBezTo>
                  <a:pt x="353141" y="903795"/>
                  <a:pt x="348835" y="903795"/>
                  <a:pt x="344445" y="903795"/>
                </a:cubicBezTo>
                <a:cubicBezTo>
                  <a:pt x="346169" y="920562"/>
                  <a:pt x="347908" y="935520"/>
                  <a:pt x="349212" y="950515"/>
                </a:cubicBezTo>
                <a:cubicBezTo>
                  <a:pt x="352656" y="990125"/>
                  <a:pt x="351941" y="1029743"/>
                  <a:pt x="349538" y="1069392"/>
                </a:cubicBezTo>
                <a:cubicBezTo>
                  <a:pt x="348759" y="1082241"/>
                  <a:pt x="349415" y="1095176"/>
                  <a:pt x="349415" y="1108925"/>
                </a:cubicBezTo>
                <a:cubicBezTo>
                  <a:pt x="449467" y="1111953"/>
                  <a:pt x="548509" y="1104712"/>
                  <a:pt x="647726" y="1089872"/>
                </a:cubicBezTo>
                <a:cubicBezTo>
                  <a:pt x="647726" y="1084313"/>
                  <a:pt x="648180" y="1080225"/>
                  <a:pt x="647654" y="1076267"/>
                </a:cubicBezTo>
                <a:cubicBezTo>
                  <a:pt x="643515" y="1045124"/>
                  <a:pt x="633172" y="1016714"/>
                  <a:pt x="610267" y="994126"/>
                </a:cubicBezTo>
                <a:cubicBezTo>
                  <a:pt x="597451" y="981485"/>
                  <a:pt x="584392" y="969090"/>
                  <a:pt x="571459" y="956568"/>
                </a:cubicBezTo>
                <a:cubicBezTo>
                  <a:pt x="555751" y="941359"/>
                  <a:pt x="544836" y="923558"/>
                  <a:pt x="541653" y="901544"/>
                </a:cubicBezTo>
                <a:cubicBezTo>
                  <a:pt x="541430" y="900007"/>
                  <a:pt x="540528" y="898570"/>
                  <a:pt x="539477" y="895908"/>
                </a:cubicBezTo>
                <a:cubicBezTo>
                  <a:pt x="479736" y="901652"/>
                  <a:pt x="419815" y="904536"/>
                  <a:pt x="357446" y="903795"/>
                </a:cubicBezTo>
                <a:moveTo>
                  <a:pt x="300108" y="85260"/>
                </a:moveTo>
                <a:cubicBezTo>
                  <a:pt x="293656" y="98745"/>
                  <a:pt x="289202" y="113094"/>
                  <a:pt x="290213" y="127888"/>
                </a:cubicBezTo>
                <a:cubicBezTo>
                  <a:pt x="292527" y="161736"/>
                  <a:pt x="304185" y="191723"/>
                  <a:pt x="331056" y="214168"/>
                </a:cubicBezTo>
                <a:cubicBezTo>
                  <a:pt x="358172" y="236816"/>
                  <a:pt x="388435" y="249934"/>
                  <a:pt x="424717" y="245160"/>
                </a:cubicBezTo>
                <a:cubicBezTo>
                  <a:pt x="468593" y="239387"/>
                  <a:pt x="509574" y="203365"/>
                  <a:pt x="496752" y="141256"/>
                </a:cubicBezTo>
                <a:cubicBezTo>
                  <a:pt x="487021" y="94124"/>
                  <a:pt x="447261" y="51874"/>
                  <a:pt x="390320" y="43995"/>
                </a:cubicBezTo>
                <a:cubicBezTo>
                  <a:pt x="353241" y="38865"/>
                  <a:pt x="321136" y="48750"/>
                  <a:pt x="300108" y="85260"/>
                </a:cubicBezTo>
                <a:moveTo>
                  <a:pt x="343360" y="634332"/>
                </a:moveTo>
                <a:cubicBezTo>
                  <a:pt x="342539" y="666975"/>
                  <a:pt x="341785" y="699619"/>
                  <a:pt x="340877" y="732259"/>
                </a:cubicBezTo>
                <a:cubicBezTo>
                  <a:pt x="340151" y="758355"/>
                  <a:pt x="339265" y="784447"/>
                  <a:pt x="338360" y="810538"/>
                </a:cubicBezTo>
                <a:cubicBezTo>
                  <a:pt x="338277" y="812948"/>
                  <a:pt x="337465" y="815325"/>
                  <a:pt x="337115" y="817736"/>
                </a:cubicBezTo>
                <a:cubicBezTo>
                  <a:pt x="334935" y="832710"/>
                  <a:pt x="336026" y="847647"/>
                  <a:pt x="336516" y="863022"/>
                </a:cubicBezTo>
                <a:cubicBezTo>
                  <a:pt x="339537" y="863479"/>
                  <a:pt x="341490" y="864053"/>
                  <a:pt x="343436" y="864027"/>
                </a:cubicBezTo>
                <a:cubicBezTo>
                  <a:pt x="364531" y="863739"/>
                  <a:pt x="385626" y="863422"/>
                  <a:pt x="406718" y="862982"/>
                </a:cubicBezTo>
                <a:cubicBezTo>
                  <a:pt x="423444" y="862634"/>
                  <a:pt x="440168" y="861675"/>
                  <a:pt x="456888" y="861794"/>
                </a:cubicBezTo>
                <a:cubicBezTo>
                  <a:pt x="469887" y="861886"/>
                  <a:pt x="482872" y="863302"/>
                  <a:pt x="495873" y="863963"/>
                </a:cubicBezTo>
                <a:cubicBezTo>
                  <a:pt x="500358" y="864191"/>
                  <a:pt x="505108" y="864773"/>
                  <a:pt x="509286" y="863595"/>
                </a:cubicBezTo>
                <a:cubicBezTo>
                  <a:pt x="512346" y="862732"/>
                  <a:pt x="515714" y="859703"/>
                  <a:pt x="516956" y="856791"/>
                </a:cubicBezTo>
                <a:cubicBezTo>
                  <a:pt x="517783" y="854851"/>
                  <a:pt x="515475" y="851192"/>
                  <a:pt x="513920" y="848709"/>
                </a:cubicBezTo>
                <a:cubicBezTo>
                  <a:pt x="511791" y="845308"/>
                  <a:pt x="508393" y="842606"/>
                  <a:pt x="506683" y="839054"/>
                </a:cubicBezTo>
                <a:cubicBezTo>
                  <a:pt x="500331" y="825864"/>
                  <a:pt x="493224" y="812855"/>
                  <a:pt x="488629" y="799037"/>
                </a:cubicBezTo>
                <a:cubicBezTo>
                  <a:pt x="477322" y="765031"/>
                  <a:pt x="466537" y="730814"/>
                  <a:pt x="456922" y="696297"/>
                </a:cubicBezTo>
                <a:cubicBezTo>
                  <a:pt x="449953" y="671276"/>
                  <a:pt x="443477" y="646020"/>
                  <a:pt x="441346" y="619885"/>
                </a:cubicBezTo>
                <a:cubicBezTo>
                  <a:pt x="440327" y="607371"/>
                  <a:pt x="437466" y="595018"/>
                  <a:pt x="435963" y="582529"/>
                </a:cubicBezTo>
                <a:cubicBezTo>
                  <a:pt x="433539" y="562380"/>
                  <a:pt x="431154" y="542212"/>
                  <a:pt x="429497" y="521990"/>
                </a:cubicBezTo>
                <a:cubicBezTo>
                  <a:pt x="428135" y="505363"/>
                  <a:pt x="428437" y="488593"/>
                  <a:pt x="426887" y="471989"/>
                </a:cubicBezTo>
                <a:cubicBezTo>
                  <a:pt x="425874" y="461140"/>
                  <a:pt x="424983" y="461120"/>
                  <a:pt x="413744" y="461077"/>
                </a:cubicBezTo>
                <a:cubicBezTo>
                  <a:pt x="393687" y="461000"/>
                  <a:pt x="373630" y="461011"/>
                  <a:pt x="353573" y="461120"/>
                </a:cubicBezTo>
                <a:cubicBezTo>
                  <a:pt x="350472" y="461137"/>
                  <a:pt x="347374" y="461869"/>
                  <a:pt x="344160" y="462286"/>
                </a:cubicBezTo>
                <a:cubicBezTo>
                  <a:pt x="343828" y="465198"/>
                  <a:pt x="343406" y="467195"/>
                  <a:pt x="343404" y="469192"/>
                </a:cubicBezTo>
                <a:cubicBezTo>
                  <a:pt x="343360" y="504394"/>
                  <a:pt x="343267" y="539596"/>
                  <a:pt x="343469" y="574797"/>
                </a:cubicBezTo>
                <a:cubicBezTo>
                  <a:pt x="343501" y="580426"/>
                  <a:pt x="345652" y="586065"/>
                  <a:pt x="345522" y="591669"/>
                </a:cubicBezTo>
                <a:cubicBezTo>
                  <a:pt x="345214" y="605082"/>
                  <a:pt x="344131" y="618478"/>
                  <a:pt x="343360" y="634332"/>
                </a:cubicBezTo>
                <a:moveTo>
                  <a:pt x="416946" y="385943"/>
                </a:moveTo>
                <a:cubicBezTo>
                  <a:pt x="411661" y="386365"/>
                  <a:pt x="406384" y="387006"/>
                  <a:pt x="401091" y="387162"/>
                </a:cubicBezTo>
                <a:cubicBezTo>
                  <a:pt x="390470" y="387477"/>
                  <a:pt x="379841" y="387447"/>
                  <a:pt x="369218" y="387708"/>
                </a:cubicBezTo>
                <a:cubicBezTo>
                  <a:pt x="361167" y="387906"/>
                  <a:pt x="354429" y="391368"/>
                  <a:pt x="351833" y="398991"/>
                </a:cubicBezTo>
                <a:cubicBezTo>
                  <a:pt x="348989" y="407342"/>
                  <a:pt x="347050" y="416214"/>
                  <a:pt x="349778" y="426021"/>
                </a:cubicBezTo>
                <a:cubicBezTo>
                  <a:pt x="353876" y="426204"/>
                  <a:pt x="357857" y="426517"/>
                  <a:pt x="361839" y="426538"/>
                </a:cubicBezTo>
                <a:cubicBezTo>
                  <a:pt x="392900" y="426701"/>
                  <a:pt x="423961" y="426826"/>
                  <a:pt x="455022" y="426922"/>
                </a:cubicBezTo>
                <a:cubicBezTo>
                  <a:pt x="464013" y="426950"/>
                  <a:pt x="473106" y="427654"/>
                  <a:pt x="481958" y="426527"/>
                </a:cubicBezTo>
                <a:cubicBezTo>
                  <a:pt x="488144" y="425740"/>
                  <a:pt x="494821" y="423501"/>
                  <a:pt x="499817" y="419888"/>
                </a:cubicBezTo>
                <a:cubicBezTo>
                  <a:pt x="507869" y="414066"/>
                  <a:pt x="507286" y="406755"/>
                  <a:pt x="499439" y="400719"/>
                </a:cubicBezTo>
                <a:cubicBezTo>
                  <a:pt x="490179" y="393597"/>
                  <a:pt x="479486" y="388885"/>
                  <a:pt x="468062" y="387775"/>
                </a:cubicBezTo>
                <a:cubicBezTo>
                  <a:pt x="451873" y="386202"/>
                  <a:pt x="435520" y="386321"/>
                  <a:pt x="416946" y="385943"/>
                </a:cubicBezTo>
                <a:moveTo>
                  <a:pt x="636802" y="1190940"/>
                </a:moveTo>
                <a:cubicBezTo>
                  <a:pt x="646709" y="1188723"/>
                  <a:pt x="656705" y="1186841"/>
                  <a:pt x="666492" y="1184186"/>
                </a:cubicBezTo>
                <a:cubicBezTo>
                  <a:pt x="674710" y="1181958"/>
                  <a:pt x="676989" y="1178509"/>
                  <a:pt x="674465" y="1170880"/>
                </a:cubicBezTo>
                <a:cubicBezTo>
                  <a:pt x="671144" y="1160843"/>
                  <a:pt x="667026" y="1151009"/>
                  <a:pt x="662462" y="1141464"/>
                </a:cubicBezTo>
                <a:cubicBezTo>
                  <a:pt x="659273" y="1134795"/>
                  <a:pt x="653671" y="1130908"/>
                  <a:pt x="645564" y="1131937"/>
                </a:cubicBezTo>
                <a:cubicBezTo>
                  <a:pt x="639532" y="1132703"/>
                  <a:pt x="633423" y="1132867"/>
                  <a:pt x="627387" y="1133618"/>
                </a:cubicBezTo>
                <a:cubicBezTo>
                  <a:pt x="612888" y="1135421"/>
                  <a:pt x="598449" y="1137770"/>
                  <a:pt x="583917" y="1139222"/>
                </a:cubicBezTo>
                <a:cubicBezTo>
                  <a:pt x="570571" y="1140557"/>
                  <a:pt x="557130" y="1140930"/>
                  <a:pt x="543741" y="1141869"/>
                </a:cubicBezTo>
                <a:cubicBezTo>
                  <a:pt x="533202" y="1142610"/>
                  <a:pt x="522682" y="1143623"/>
                  <a:pt x="512146" y="1144418"/>
                </a:cubicBezTo>
                <a:cubicBezTo>
                  <a:pt x="490671" y="1146038"/>
                  <a:pt x="469214" y="1148450"/>
                  <a:pt x="447711" y="1148973"/>
                </a:cubicBezTo>
                <a:cubicBezTo>
                  <a:pt x="415817" y="1149749"/>
                  <a:pt x="383891" y="1149136"/>
                  <a:pt x="351979" y="1149200"/>
                </a:cubicBezTo>
                <a:cubicBezTo>
                  <a:pt x="347698" y="1149209"/>
                  <a:pt x="343419" y="1149717"/>
                  <a:pt x="338443" y="1150040"/>
                </a:cubicBezTo>
                <a:cubicBezTo>
                  <a:pt x="338443" y="1164651"/>
                  <a:pt x="338413" y="1177715"/>
                  <a:pt x="338451" y="1190780"/>
                </a:cubicBezTo>
                <a:cubicBezTo>
                  <a:pt x="338490" y="1204031"/>
                  <a:pt x="338512" y="1204062"/>
                  <a:pt x="351082" y="1207015"/>
                </a:cubicBezTo>
                <a:cubicBezTo>
                  <a:pt x="353445" y="1207570"/>
                  <a:pt x="355895" y="1208128"/>
                  <a:pt x="358298" y="1208094"/>
                </a:cubicBezTo>
                <a:cubicBezTo>
                  <a:pt x="412608" y="1207329"/>
                  <a:pt x="466919" y="1206484"/>
                  <a:pt x="521229" y="1205646"/>
                </a:cubicBezTo>
                <a:cubicBezTo>
                  <a:pt x="522045" y="1205634"/>
                  <a:pt x="522865" y="1205591"/>
                  <a:pt x="523675" y="1205490"/>
                </a:cubicBezTo>
                <a:cubicBezTo>
                  <a:pt x="542593" y="1203123"/>
                  <a:pt x="561519" y="1200820"/>
                  <a:pt x="580423" y="1198350"/>
                </a:cubicBezTo>
                <a:cubicBezTo>
                  <a:pt x="598523" y="1195985"/>
                  <a:pt x="616599" y="1193446"/>
                  <a:pt x="636802" y="1190940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132" name="Free-form: Shape 4131">
            <a:extLst>
              <a:ext uri="{FF2B5EF4-FFF2-40B4-BE49-F238E27FC236}">
                <a16:creationId xmlns:a16="http://schemas.microsoft.com/office/drawing/2014/main" id="{699AD3A9-C3B3-3C64-DA5D-0E75E995C0BB}"/>
              </a:ext>
            </a:extLst>
          </p:cNvPr>
          <p:cNvSpPr/>
          <p:nvPr/>
        </p:nvSpPr>
        <p:spPr>
          <a:xfrm>
            <a:off x="6852256" y="5088217"/>
            <a:ext cx="22871" cy="2417"/>
          </a:xfrm>
          <a:custGeom>
            <a:avLst/>
            <a:gdLst>
              <a:gd name="csX0" fmla="*/ 0 w 27674"/>
              <a:gd name="csY0" fmla="*/ 2915 h 2925"/>
              <a:gd name="csX1" fmla="*/ 27675 w 27674"/>
              <a:gd name="csY1" fmla="*/ 1550 h 2925"/>
              <a:gd name="csX2" fmla="*/ 0 w 27674"/>
              <a:gd name="csY2" fmla="*/ 2915 h 292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27674" h="2925">
                <a:moveTo>
                  <a:pt x="0" y="2915"/>
                </a:moveTo>
                <a:cubicBezTo>
                  <a:pt x="8211" y="-1939"/>
                  <a:pt x="17625" y="498"/>
                  <a:pt x="27675" y="1550"/>
                </a:cubicBezTo>
                <a:cubicBezTo>
                  <a:pt x="19225" y="2593"/>
                  <a:pt x="10029" y="2999"/>
                  <a:pt x="0" y="2915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133" name="Free-form: Shape 4132">
            <a:extLst>
              <a:ext uri="{FF2B5EF4-FFF2-40B4-BE49-F238E27FC236}">
                <a16:creationId xmlns:a16="http://schemas.microsoft.com/office/drawing/2014/main" id="{E32987EA-B42B-ECB9-38F5-6AD3AC94BF4F}"/>
              </a:ext>
            </a:extLst>
          </p:cNvPr>
          <p:cNvSpPr/>
          <p:nvPr/>
        </p:nvSpPr>
        <p:spPr>
          <a:xfrm>
            <a:off x="6789294" y="5089579"/>
            <a:ext cx="14879" cy="932"/>
          </a:xfrm>
          <a:custGeom>
            <a:avLst/>
            <a:gdLst>
              <a:gd name="csX0" fmla="*/ 0 w 18003"/>
              <a:gd name="csY0" fmla="*/ 1050 h 1128"/>
              <a:gd name="csX1" fmla="*/ 18004 w 18003"/>
              <a:gd name="csY1" fmla="*/ 93 h 1128"/>
              <a:gd name="csX2" fmla="*/ 0 w 18003"/>
              <a:gd name="csY2" fmla="*/ 1050 h 112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8003" h="1128">
                <a:moveTo>
                  <a:pt x="0" y="1050"/>
                </a:moveTo>
                <a:cubicBezTo>
                  <a:pt x="5276" y="182"/>
                  <a:pt x="11306" y="-189"/>
                  <a:pt x="18004" y="93"/>
                </a:cubicBezTo>
                <a:cubicBezTo>
                  <a:pt x="12699" y="1013"/>
                  <a:pt x="6726" y="1280"/>
                  <a:pt x="0" y="1050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134" name="Free-form: Shape 4133">
            <a:extLst>
              <a:ext uri="{FF2B5EF4-FFF2-40B4-BE49-F238E27FC236}">
                <a16:creationId xmlns:a16="http://schemas.microsoft.com/office/drawing/2014/main" id="{361D5D57-89BC-E898-4E93-1A957834D542}"/>
              </a:ext>
            </a:extLst>
          </p:cNvPr>
          <p:cNvSpPr/>
          <p:nvPr/>
        </p:nvSpPr>
        <p:spPr>
          <a:xfrm>
            <a:off x="6897062" y="4335169"/>
            <a:ext cx="6997" cy="6478"/>
          </a:xfrm>
          <a:custGeom>
            <a:avLst/>
            <a:gdLst>
              <a:gd name="csX0" fmla="*/ 473 w 8466"/>
              <a:gd name="csY0" fmla="*/ 7839 h 7838"/>
              <a:gd name="csX1" fmla="*/ 8466 w 8466"/>
              <a:gd name="csY1" fmla="*/ 61 h 7838"/>
              <a:gd name="csX2" fmla="*/ 473 w 8466"/>
              <a:gd name="csY2" fmla="*/ 7839 h 783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66" h="7838">
                <a:moveTo>
                  <a:pt x="473" y="7839"/>
                </a:moveTo>
                <a:cubicBezTo>
                  <a:pt x="-1298" y="1550"/>
                  <a:pt x="2020" y="-386"/>
                  <a:pt x="8466" y="61"/>
                </a:cubicBezTo>
                <a:cubicBezTo>
                  <a:pt x="6730" y="2845"/>
                  <a:pt x="4026" y="5401"/>
                  <a:pt x="473" y="7839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135" name="Free-form: Shape 4134">
            <a:extLst>
              <a:ext uri="{FF2B5EF4-FFF2-40B4-BE49-F238E27FC236}">
                <a16:creationId xmlns:a16="http://schemas.microsoft.com/office/drawing/2014/main" id="{95896BF9-973B-1E7D-49F6-2E7266418702}"/>
              </a:ext>
            </a:extLst>
          </p:cNvPr>
          <p:cNvSpPr/>
          <p:nvPr/>
        </p:nvSpPr>
        <p:spPr>
          <a:xfrm>
            <a:off x="6716051" y="5087564"/>
            <a:ext cx="7008" cy="823"/>
          </a:xfrm>
          <a:custGeom>
            <a:avLst/>
            <a:gdLst>
              <a:gd name="csX0" fmla="*/ 0 w 8480"/>
              <a:gd name="csY0" fmla="*/ 896 h 996"/>
              <a:gd name="csX1" fmla="*/ 8480 w 8480"/>
              <a:gd name="csY1" fmla="*/ 110 h 996"/>
              <a:gd name="csX2" fmla="*/ 0 w 8480"/>
              <a:gd name="csY2" fmla="*/ 896 h 99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80" h="996">
                <a:moveTo>
                  <a:pt x="0" y="896"/>
                </a:moveTo>
                <a:cubicBezTo>
                  <a:pt x="2285" y="115"/>
                  <a:pt x="5130" y="-182"/>
                  <a:pt x="8480" y="110"/>
                </a:cubicBezTo>
                <a:cubicBezTo>
                  <a:pt x="6177" y="927"/>
                  <a:pt x="3368" y="1153"/>
                  <a:pt x="0" y="896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136" name="Free-form: Shape 4135">
            <a:extLst>
              <a:ext uri="{FF2B5EF4-FFF2-40B4-BE49-F238E27FC236}">
                <a16:creationId xmlns:a16="http://schemas.microsoft.com/office/drawing/2014/main" id="{008A9642-4845-F944-6818-9DE53DA58E44}"/>
              </a:ext>
            </a:extLst>
          </p:cNvPr>
          <p:cNvSpPr/>
          <p:nvPr/>
        </p:nvSpPr>
        <p:spPr>
          <a:xfrm>
            <a:off x="7097729" y="5052255"/>
            <a:ext cx="1016" cy="5502"/>
          </a:xfrm>
          <a:custGeom>
            <a:avLst/>
            <a:gdLst>
              <a:gd name="csX0" fmla="*/ 132 w 1229"/>
              <a:gd name="csY0" fmla="*/ 6659 h 6658"/>
              <a:gd name="csX1" fmla="*/ 1107 w 1229"/>
              <a:gd name="csY1" fmla="*/ 0 h 6658"/>
              <a:gd name="csX2" fmla="*/ 132 w 1229"/>
              <a:gd name="csY2" fmla="*/ 6659 h 665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229" h="6658">
                <a:moveTo>
                  <a:pt x="132" y="6659"/>
                </a:moveTo>
                <a:cubicBezTo>
                  <a:pt x="-219" y="4616"/>
                  <a:pt x="139" y="2560"/>
                  <a:pt x="1107" y="0"/>
                </a:cubicBezTo>
                <a:cubicBezTo>
                  <a:pt x="1425" y="1879"/>
                  <a:pt x="1133" y="4263"/>
                  <a:pt x="132" y="6659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137" name="Free-form: Shape 4136">
            <a:extLst>
              <a:ext uri="{FF2B5EF4-FFF2-40B4-BE49-F238E27FC236}">
                <a16:creationId xmlns:a16="http://schemas.microsoft.com/office/drawing/2014/main" id="{E6DA3CBB-622B-3163-BBCC-91FDD22FDF85}"/>
              </a:ext>
            </a:extLst>
          </p:cNvPr>
          <p:cNvSpPr/>
          <p:nvPr/>
        </p:nvSpPr>
        <p:spPr>
          <a:xfrm>
            <a:off x="7008291" y="5079244"/>
            <a:ext cx="3131" cy="1127"/>
          </a:xfrm>
          <a:custGeom>
            <a:avLst/>
            <a:gdLst>
              <a:gd name="csX0" fmla="*/ 0 w 3788"/>
              <a:gd name="csY0" fmla="*/ 1364 h 1364"/>
              <a:gd name="csX1" fmla="*/ 3788 w 3788"/>
              <a:gd name="csY1" fmla="*/ 0 h 1364"/>
              <a:gd name="csX2" fmla="*/ 0 w 3788"/>
              <a:gd name="csY2" fmla="*/ 1364 h 136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788" h="1364">
                <a:moveTo>
                  <a:pt x="0" y="1364"/>
                </a:moveTo>
                <a:cubicBezTo>
                  <a:pt x="856" y="517"/>
                  <a:pt x="2126" y="39"/>
                  <a:pt x="3788" y="0"/>
                </a:cubicBezTo>
                <a:cubicBezTo>
                  <a:pt x="2925" y="870"/>
                  <a:pt x="1670" y="1303"/>
                  <a:pt x="0" y="1364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138" name="Free-form: Shape 4137">
            <a:extLst>
              <a:ext uri="{FF2B5EF4-FFF2-40B4-BE49-F238E27FC236}">
                <a16:creationId xmlns:a16="http://schemas.microsoft.com/office/drawing/2014/main" id="{37DA9577-3C11-3BE8-1319-7685380DC4F6}"/>
              </a:ext>
            </a:extLst>
          </p:cNvPr>
          <p:cNvSpPr/>
          <p:nvPr/>
        </p:nvSpPr>
        <p:spPr>
          <a:xfrm>
            <a:off x="6646815" y="5083600"/>
            <a:ext cx="3298" cy="685"/>
          </a:xfrm>
          <a:custGeom>
            <a:avLst/>
            <a:gdLst>
              <a:gd name="csX0" fmla="*/ 0 w 3990"/>
              <a:gd name="csY0" fmla="*/ 719 h 829"/>
              <a:gd name="csX1" fmla="*/ 3990 w 3990"/>
              <a:gd name="csY1" fmla="*/ 119 h 829"/>
              <a:gd name="csX2" fmla="*/ 0 w 3990"/>
              <a:gd name="csY2" fmla="*/ 719 h 82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990" h="829">
                <a:moveTo>
                  <a:pt x="0" y="719"/>
                </a:moveTo>
                <a:cubicBezTo>
                  <a:pt x="982" y="66"/>
                  <a:pt x="2323" y="-163"/>
                  <a:pt x="3990" y="119"/>
                </a:cubicBezTo>
                <a:cubicBezTo>
                  <a:pt x="2998" y="800"/>
                  <a:pt x="1678" y="972"/>
                  <a:pt x="0" y="719"/>
                </a:cubicBezTo>
                <a:close/>
              </a:path>
            </a:pathLst>
          </a:custGeom>
          <a:solidFill>
            <a:srgbClr val="959DA0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139" name="Free-form: Shape 4138">
            <a:extLst>
              <a:ext uri="{FF2B5EF4-FFF2-40B4-BE49-F238E27FC236}">
                <a16:creationId xmlns:a16="http://schemas.microsoft.com/office/drawing/2014/main" id="{91BB5A7A-4B90-C02C-E2C8-3B3D0CB6976B}"/>
              </a:ext>
            </a:extLst>
          </p:cNvPr>
          <p:cNvSpPr/>
          <p:nvPr/>
        </p:nvSpPr>
        <p:spPr>
          <a:xfrm>
            <a:off x="6927054" y="5087536"/>
            <a:ext cx="3217" cy="938"/>
          </a:xfrm>
          <a:custGeom>
            <a:avLst/>
            <a:gdLst>
              <a:gd name="csX0" fmla="*/ 0 w 3893"/>
              <a:gd name="csY0" fmla="*/ 1133 h 1135"/>
              <a:gd name="csX1" fmla="*/ 3893 w 3893"/>
              <a:gd name="csY1" fmla="*/ 7 h 1135"/>
              <a:gd name="csX2" fmla="*/ 0 w 3893"/>
              <a:gd name="csY2" fmla="*/ 1133 h 113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893" h="1135">
                <a:moveTo>
                  <a:pt x="0" y="1133"/>
                </a:moveTo>
                <a:cubicBezTo>
                  <a:pt x="902" y="349"/>
                  <a:pt x="2213" y="-60"/>
                  <a:pt x="3893" y="7"/>
                </a:cubicBezTo>
                <a:cubicBezTo>
                  <a:pt x="2978" y="825"/>
                  <a:pt x="1693" y="1167"/>
                  <a:pt x="0" y="1133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140" name="Free-form: Shape 4139">
            <a:extLst>
              <a:ext uri="{FF2B5EF4-FFF2-40B4-BE49-F238E27FC236}">
                <a16:creationId xmlns:a16="http://schemas.microsoft.com/office/drawing/2014/main" id="{EF53E590-D13D-77B9-64BB-1CF938F19DF3}"/>
              </a:ext>
            </a:extLst>
          </p:cNvPr>
          <p:cNvSpPr/>
          <p:nvPr/>
        </p:nvSpPr>
        <p:spPr>
          <a:xfrm>
            <a:off x="6794491" y="4442447"/>
            <a:ext cx="149854" cy="333291"/>
          </a:xfrm>
          <a:custGeom>
            <a:avLst/>
            <a:gdLst>
              <a:gd name="csX0" fmla="*/ 7554 w 181323"/>
              <a:gd name="csY0" fmla="*/ 172079 h 403282"/>
              <a:gd name="csX1" fmla="*/ 9716 w 181323"/>
              <a:gd name="csY1" fmla="*/ 130641 h 403282"/>
              <a:gd name="csX2" fmla="*/ 7663 w 181323"/>
              <a:gd name="csY2" fmla="*/ 113770 h 403282"/>
              <a:gd name="csX3" fmla="*/ 7598 w 181323"/>
              <a:gd name="csY3" fmla="*/ 8165 h 403282"/>
              <a:gd name="csX4" fmla="*/ 8353 w 181323"/>
              <a:gd name="csY4" fmla="*/ 1259 h 403282"/>
              <a:gd name="csX5" fmla="*/ 17767 w 181323"/>
              <a:gd name="csY5" fmla="*/ 93 h 403282"/>
              <a:gd name="csX6" fmla="*/ 77938 w 181323"/>
              <a:gd name="csY6" fmla="*/ 50 h 403282"/>
              <a:gd name="csX7" fmla="*/ 91081 w 181323"/>
              <a:gd name="csY7" fmla="*/ 10962 h 403282"/>
              <a:gd name="csX8" fmla="*/ 93691 w 181323"/>
              <a:gd name="csY8" fmla="*/ 60963 h 403282"/>
              <a:gd name="csX9" fmla="*/ 100157 w 181323"/>
              <a:gd name="csY9" fmla="*/ 121501 h 403282"/>
              <a:gd name="csX10" fmla="*/ 105540 w 181323"/>
              <a:gd name="csY10" fmla="*/ 158857 h 403282"/>
              <a:gd name="csX11" fmla="*/ 121116 w 181323"/>
              <a:gd name="csY11" fmla="*/ 235269 h 403282"/>
              <a:gd name="csX12" fmla="*/ 152823 w 181323"/>
              <a:gd name="csY12" fmla="*/ 338010 h 403282"/>
              <a:gd name="csX13" fmla="*/ 170877 w 181323"/>
              <a:gd name="csY13" fmla="*/ 378027 h 403282"/>
              <a:gd name="csX14" fmla="*/ 178114 w 181323"/>
              <a:gd name="csY14" fmla="*/ 387682 h 403282"/>
              <a:gd name="csX15" fmla="*/ 181150 w 181323"/>
              <a:gd name="csY15" fmla="*/ 395764 h 403282"/>
              <a:gd name="csX16" fmla="*/ 173480 w 181323"/>
              <a:gd name="csY16" fmla="*/ 402568 h 403282"/>
              <a:gd name="csX17" fmla="*/ 160067 w 181323"/>
              <a:gd name="csY17" fmla="*/ 402936 h 403282"/>
              <a:gd name="csX18" fmla="*/ 121081 w 181323"/>
              <a:gd name="csY18" fmla="*/ 400766 h 403282"/>
              <a:gd name="csX19" fmla="*/ 70912 w 181323"/>
              <a:gd name="csY19" fmla="*/ 401955 h 403282"/>
              <a:gd name="csX20" fmla="*/ 7630 w 181323"/>
              <a:gd name="csY20" fmla="*/ 402999 h 403282"/>
              <a:gd name="csX21" fmla="*/ 710 w 181323"/>
              <a:gd name="csY21" fmla="*/ 401995 h 403282"/>
              <a:gd name="csX22" fmla="*/ 1308 w 181323"/>
              <a:gd name="csY22" fmla="*/ 356708 h 403282"/>
              <a:gd name="csX23" fmla="*/ 2554 w 181323"/>
              <a:gd name="csY23" fmla="*/ 349510 h 403282"/>
              <a:gd name="csX24" fmla="*/ 5071 w 181323"/>
              <a:gd name="csY24" fmla="*/ 271231 h 403282"/>
              <a:gd name="csX25" fmla="*/ 7554 w 181323"/>
              <a:gd name="csY25" fmla="*/ 172079 h 403282"/>
              <a:gd name="csX26" fmla="*/ 98286 w 181323"/>
              <a:gd name="csY26" fmla="*/ 163566 h 403282"/>
              <a:gd name="csX27" fmla="*/ 83497 w 181323"/>
              <a:gd name="csY27" fmla="*/ 8289 h 403282"/>
              <a:gd name="csX28" fmla="*/ 15161 w 181323"/>
              <a:gd name="csY28" fmla="*/ 9148 h 403282"/>
              <a:gd name="csX29" fmla="*/ 15058 w 181323"/>
              <a:gd name="csY29" fmla="*/ 137939 h 403282"/>
              <a:gd name="csX30" fmla="*/ 12252 w 181323"/>
              <a:gd name="csY30" fmla="*/ 266862 h 403282"/>
              <a:gd name="csX31" fmla="*/ 7068 w 181323"/>
              <a:gd name="csY31" fmla="*/ 395996 h 403282"/>
              <a:gd name="csX32" fmla="*/ 171647 w 181323"/>
              <a:gd name="csY32" fmla="*/ 395996 h 403282"/>
              <a:gd name="csX33" fmla="*/ 119950 w 181323"/>
              <a:gd name="csY33" fmla="*/ 259496 h 403282"/>
              <a:gd name="csX34" fmla="*/ 98286 w 181323"/>
              <a:gd name="csY34" fmla="*/ 163566 h 40328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</a:cxnLst>
            <a:rect l="l" t="t" r="r" b="b"/>
            <a:pathLst>
              <a:path w="181323" h="403282">
                <a:moveTo>
                  <a:pt x="7554" y="172079"/>
                </a:moveTo>
                <a:cubicBezTo>
                  <a:pt x="8325" y="157451"/>
                  <a:pt x="9408" y="144055"/>
                  <a:pt x="9716" y="130641"/>
                </a:cubicBezTo>
                <a:cubicBezTo>
                  <a:pt x="9846" y="125037"/>
                  <a:pt x="7695" y="119399"/>
                  <a:pt x="7663" y="113770"/>
                </a:cubicBezTo>
                <a:cubicBezTo>
                  <a:pt x="7461" y="78569"/>
                  <a:pt x="7554" y="43367"/>
                  <a:pt x="7598" y="8165"/>
                </a:cubicBezTo>
                <a:cubicBezTo>
                  <a:pt x="7600" y="6167"/>
                  <a:pt x="8022" y="4170"/>
                  <a:pt x="8353" y="1259"/>
                </a:cubicBezTo>
                <a:cubicBezTo>
                  <a:pt x="11568" y="842"/>
                  <a:pt x="14666" y="109"/>
                  <a:pt x="17767" y="93"/>
                </a:cubicBezTo>
                <a:cubicBezTo>
                  <a:pt x="37824" y="-17"/>
                  <a:pt x="57881" y="-27"/>
                  <a:pt x="77938" y="50"/>
                </a:cubicBezTo>
                <a:cubicBezTo>
                  <a:pt x="89177" y="93"/>
                  <a:pt x="90068" y="113"/>
                  <a:pt x="91081" y="10962"/>
                </a:cubicBezTo>
                <a:cubicBezTo>
                  <a:pt x="92631" y="27565"/>
                  <a:pt x="92329" y="44335"/>
                  <a:pt x="93691" y="60963"/>
                </a:cubicBezTo>
                <a:cubicBezTo>
                  <a:pt x="95348" y="81184"/>
                  <a:pt x="97732" y="101353"/>
                  <a:pt x="100157" y="121501"/>
                </a:cubicBezTo>
                <a:cubicBezTo>
                  <a:pt x="101660" y="133990"/>
                  <a:pt x="104521" y="146343"/>
                  <a:pt x="105540" y="158857"/>
                </a:cubicBezTo>
                <a:cubicBezTo>
                  <a:pt x="107671" y="184993"/>
                  <a:pt x="114147" y="210249"/>
                  <a:pt x="121116" y="235269"/>
                </a:cubicBezTo>
                <a:cubicBezTo>
                  <a:pt x="130731" y="269786"/>
                  <a:pt x="141516" y="304004"/>
                  <a:pt x="152823" y="338010"/>
                </a:cubicBezTo>
                <a:cubicBezTo>
                  <a:pt x="157418" y="351828"/>
                  <a:pt x="164524" y="364837"/>
                  <a:pt x="170877" y="378027"/>
                </a:cubicBezTo>
                <a:cubicBezTo>
                  <a:pt x="172587" y="381579"/>
                  <a:pt x="175985" y="384280"/>
                  <a:pt x="178114" y="387682"/>
                </a:cubicBezTo>
                <a:cubicBezTo>
                  <a:pt x="179669" y="390165"/>
                  <a:pt x="181977" y="393824"/>
                  <a:pt x="181150" y="395764"/>
                </a:cubicBezTo>
                <a:cubicBezTo>
                  <a:pt x="179907" y="398676"/>
                  <a:pt x="176540" y="401705"/>
                  <a:pt x="173480" y="402568"/>
                </a:cubicBezTo>
                <a:cubicBezTo>
                  <a:pt x="169302" y="403746"/>
                  <a:pt x="164551" y="403164"/>
                  <a:pt x="160067" y="402936"/>
                </a:cubicBezTo>
                <a:cubicBezTo>
                  <a:pt x="147066" y="402274"/>
                  <a:pt x="134081" y="400859"/>
                  <a:pt x="121081" y="400766"/>
                </a:cubicBezTo>
                <a:cubicBezTo>
                  <a:pt x="104362" y="400647"/>
                  <a:pt x="87638" y="401607"/>
                  <a:pt x="70912" y="401955"/>
                </a:cubicBezTo>
                <a:cubicBezTo>
                  <a:pt x="49820" y="402394"/>
                  <a:pt x="28725" y="402712"/>
                  <a:pt x="7630" y="402999"/>
                </a:cubicBezTo>
                <a:cubicBezTo>
                  <a:pt x="5684" y="403026"/>
                  <a:pt x="3731" y="402452"/>
                  <a:pt x="710" y="401995"/>
                </a:cubicBezTo>
                <a:cubicBezTo>
                  <a:pt x="219" y="386620"/>
                  <a:pt x="-871" y="371682"/>
                  <a:pt x="1308" y="356708"/>
                </a:cubicBezTo>
                <a:cubicBezTo>
                  <a:pt x="1659" y="354298"/>
                  <a:pt x="2471" y="351920"/>
                  <a:pt x="2554" y="349510"/>
                </a:cubicBezTo>
                <a:cubicBezTo>
                  <a:pt x="3459" y="323419"/>
                  <a:pt x="4345" y="297328"/>
                  <a:pt x="5071" y="271231"/>
                </a:cubicBezTo>
                <a:cubicBezTo>
                  <a:pt x="5979" y="238591"/>
                  <a:pt x="6733" y="205947"/>
                  <a:pt x="7554" y="172079"/>
                </a:cubicBezTo>
                <a:moveTo>
                  <a:pt x="98286" y="163566"/>
                </a:moveTo>
                <a:cubicBezTo>
                  <a:pt x="89288" y="112116"/>
                  <a:pt x="86355" y="60033"/>
                  <a:pt x="83497" y="8289"/>
                </a:cubicBezTo>
                <a:cubicBezTo>
                  <a:pt x="65606" y="5845"/>
                  <a:pt x="24110" y="6470"/>
                  <a:pt x="15161" y="9148"/>
                </a:cubicBezTo>
                <a:cubicBezTo>
                  <a:pt x="15161" y="52045"/>
                  <a:pt x="15527" y="94996"/>
                  <a:pt x="15058" y="137939"/>
                </a:cubicBezTo>
                <a:cubicBezTo>
                  <a:pt x="14587" y="180919"/>
                  <a:pt x="13597" y="223900"/>
                  <a:pt x="12252" y="266862"/>
                </a:cubicBezTo>
                <a:cubicBezTo>
                  <a:pt x="10912" y="309638"/>
                  <a:pt x="8849" y="352391"/>
                  <a:pt x="7068" y="395996"/>
                </a:cubicBezTo>
                <a:cubicBezTo>
                  <a:pt x="62774" y="395996"/>
                  <a:pt x="116821" y="395996"/>
                  <a:pt x="171647" y="395996"/>
                </a:cubicBezTo>
                <a:cubicBezTo>
                  <a:pt x="148550" y="352016"/>
                  <a:pt x="132566" y="306307"/>
                  <a:pt x="119950" y="259496"/>
                </a:cubicBezTo>
                <a:cubicBezTo>
                  <a:pt x="111608" y="228543"/>
                  <a:pt x="105493" y="196989"/>
                  <a:pt x="98286" y="163566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141" name="Free-form: Shape 4140">
            <a:extLst>
              <a:ext uri="{FF2B5EF4-FFF2-40B4-BE49-F238E27FC236}">
                <a16:creationId xmlns:a16="http://schemas.microsoft.com/office/drawing/2014/main" id="{7D40125E-69F5-81B4-574A-98227D56500A}"/>
              </a:ext>
            </a:extLst>
          </p:cNvPr>
          <p:cNvSpPr/>
          <p:nvPr/>
        </p:nvSpPr>
        <p:spPr>
          <a:xfrm>
            <a:off x="6796662" y="4996783"/>
            <a:ext cx="278519" cy="63075"/>
          </a:xfrm>
          <a:custGeom>
            <a:avLst/>
            <a:gdLst>
              <a:gd name="csX0" fmla="*/ 297312 w 337008"/>
              <a:gd name="csY0" fmla="*/ 59188 h 76321"/>
              <a:gd name="csX1" fmla="*/ 241991 w 337008"/>
              <a:gd name="csY1" fmla="*/ 66577 h 76321"/>
              <a:gd name="csX2" fmla="*/ 185243 w 337008"/>
              <a:gd name="csY2" fmla="*/ 73717 h 76321"/>
              <a:gd name="csX3" fmla="*/ 182797 w 337008"/>
              <a:gd name="csY3" fmla="*/ 73873 h 76321"/>
              <a:gd name="csX4" fmla="*/ 19866 w 337008"/>
              <a:gd name="csY4" fmla="*/ 76320 h 76321"/>
              <a:gd name="csX5" fmla="*/ 12650 w 337008"/>
              <a:gd name="csY5" fmla="*/ 75242 h 76321"/>
              <a:gd name="csX6" fmla="*/ 19 w 337008"/>
              <a:gd name="csY6" fmla="*/ 59006 h 76321"/>
              <a:gd name="csX7" fmla="*/ 11 w 337008"/>
              <a:gd name="csY7" fmla="*/ 18266 h 76321"/>
              <a:gd name="csX8" fmla="*/ 13547 w 337008"/>
              <a:gd name="csY8" fmla="*/ 17427 h 76321"/>
              <a:gd name="csX9" fmla="*/ 109279 w 337008"/>
              <a:gd name="csY9" fmla="*/ 17200 h 76321"/>
              <a:gd name="csX10" fmla="*/ 173714 w 337008"/>
              <a:gd name="csY10" fmla="*/ 12645 h 76321"/>
              <a:gd name="csX11" fmla="*/ 205309 w 337008"/>
              <a:gd name="csY11" fmla="*/ 10096 h 76321"/>
              <a:gd name="csX12" fmla="*/ 245485 w 337008"/>
              <a:gd name="csY12" fmla="*/ 7449 h 76321"/>
              <a:gd name="csX13" fmla="*/ 288955 w 337008"/>
              <a:gd name="csY13" fmla="*/ 1844 h 76321"/>
              <a:gd name="csX14" fmla="*/ 307132 w 337008"/>
              <a:gd name="csY14" fmla="*/ 164 h 76321"/>
              <a:gd name="csX15" fmla="*/ 324030 w 337008"/>
              <a:gd name="csY15" fmla="*/ 9691 h 76321"/>
              <a:gd name="csX16" fmla="*/ 336033 w 337008"/>
              <a:gd name="csY16" fmla="*/ 39107 h 76321"/>
              <a:gd name="csX17" fmla="*/ 328060 w 337008"/>
              <a:gd name="csY17" fmla="*/ 52413 h 76321"/>
              <a:gd name="csX18" fmla="*/ 297312 w 337008"/>
              <a:gd name="csY18" fmla="*/ 59188 h 76321"/>
              <a:gd name="csX19" fmla="*/ 207688 w 337008"/>
              <a:gd name="csY19" fmla="*/ 64284 h 76321"/>
              <a:gd name="csX20" fmla="*/ 330050 w 337008"/>
              <a:gd name="csY20" fmla="*/ 45606 h 76321"/>
              <a:gd name="csX21" fmla="*/ 317356 w 337008"/>
              <a:gd name="csY21" fmla="*/ 11297 h 76321"/>
              <a:gd name="csX22" fmla="*/ 304170 w 337008"/>
              <a:gd name="csY22" fmla="*/ 5545 h 76321"/>
              <a:gd name="csX23" fmla="*/ 273851 w 337008"/>
              <a:gd name="csY23" fmla="*/ 10014 h 76321"/>
              <a:gd name="csX24" fmla="*/ 163935 w 337008"/>
              <a:gd name="csY24" fmla="*/ 20274 h 76321"/>
              <a:gd name="csX25" fmla="*/ 17973 w 337008"/>
              <a:gd name="csY25" fmla="*/ 22950 h 76321"/>
              <a:gd name="csX26" fmla="*/ 7372 w 337008"/>
              <a:gd name="csY26" fmla="*/ 23601 h 76321"/>
              <a:gd name="csX27" fmla="*/ 7372 w 337008"/>
              <a:gd name="csY27" fmla="*/ 67898 h 76321"/>
              <a:gd name="csX28" fmla="*/ 207688 w 337008"/>
              <a:gd name="csY28" fmla="*/ 64284 h 7632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</a:cxnLst>
            <a:rect l="l" t="t" r="r" b="b"/>
            <a:pathLst>
              <a:path w="337008" h="76321">
                <a:moveTo>
                  <a:pt x="297312" y="59188"/>
                </a:moveTo>
                <a:cubicBezTo>
                  <a:pt x="278167" y="61672"/>
                  <a:pt x="260091" y="64212"/>
                  <a:pt x="241991" y="66577"/>
                </a:cubicBezTo>
                <a:cubicBezTo>
                  <a:pt x="223087" y="69047"/>
                  <a:pt x="204161" y="71350"/>
                  <a:pt x="185243" y="73717"/>
                </a:cubicBezTo>
                <a:cubicBezTo>
                  <a:pt x="184433" y="73818"/>
                  <a:pt x="183613" y="73861"/>
                  <a:pt x="182797" y="73873"/>
                </a:cubicBezTo>
                <a:cubicBezTo>
                  <a:pt x="128487" y="74710"/>
                  <a:pt x="74176" y="75556"/>
                  <a:pt x="19866" y="76320"/>
                </a:cubicBezTo>
                <a:cubicBezTo>
                  <a:pt x="17463" y="76354"/>
                  <a:pt x="15013" y="75797"/>
                  <a:pt x="12650" y="75242"/>
                </a:cubicBezTo>
                <a:cubicBezTo>
                  <a:pt x="80" y="72288"/>
                  <a:pt x="58" y="72258"/>
                  <a:pt x="19" y="59006"/>
                </a:cubicBezTo>
                <a:cubicBezTo>
                  <a:pt x="-19" y="45942"/>
                  <a:pt x="11" y="32877"/>
                  <a:pt x="11" y="18266"/>
                </a:cubicBezTo>
                <a:cubicBezTo>
                  <a:pt x="4987" y="17944"/>
                  <a:pt x="9266" y="17435"/>
                  <a:pt x="13547" y="17427"/>
                </a:cubicBezTo>
                <a:cubicBezTo>
                  <a:pt x="45459" y="17362"/>
                  <a:pt x="77385" y="17975"/>
                  <a:pt x="109279" y="17200"/>
                </a:cubicBezTo>
                <a:cubicBezTo>
                  <a:pt x="130782" y="16677"/>
                  <a:pt x="152239" y="14265"/>
                  <a:pt x="173714" y="12645"/>
                </a:cubicBezTo>
                <a:cubicBezTo>
                  <a:pt x="184250" y="11850"/>
                  <a:pt x="194770" y="10836"/>
                  <a:pt x="205309" y="10096"/>
                </a:cubicBezTo>
                <a:cubicBezTo>
                  <a:pt x="218698" y="9156"/>
                  <a:pt x="232139" y="8783"/>
                  <a:pt x="245485" y="7449"/>
                </a:cubicBezTo>
                <a:cubicBezTo>
                  <a:pt x="260017" y="5997"/>
                  <a:pt x="274456" y="3648"/>
                  <a:pt x="288955" y="1844"/>
                </a:cubicBezTo>
                <a:cubicBezTo>
                  <a:pt x="294991" y="1094"/>
                  <a:pt x="301100" y="930"/>
                  <a:pt x="307132" y="164"/>
                </a:cubicBezTo>
                <a:cubicBezTo>
                  <a:pt x="315239" y="-865"/>
                  <a:pt x="320841" y="3022"/>
                  <a:pt x="324030" y="9691"/>
                </a:cubicBezTo>
                <a:cubicBezTo>
                  <a:pt x="328594" y="19236"/>
                  <a:pt x="332712" y="29070"/>
                  <a:pt x="336033" y="39107"/>
                </a:cubicBezTo>
                <a:cubicBezTo>
                  <a:pt x="338557" y="46735"/>
                  <a:pt x="336278" y="50185"/>
                  <a:pt x="328060" y="52413"/>
                </a:cubicBezTo>
                <a:cubicBezTo>
                  <a:pt x="318273" y="55068"/>
                  <a:pt x="308277" y="56950"/>
                  <a:pt x="297312" y="59188"/>
                </a:cubicBezTo>
                <a:moveTo>
                  <a:pt x="207688" y="64284"/>
                </a:moveTo>
                <a:cubicBezTo>
                  <a:pt x="248681" y="60632"/>
                  <a:pt x="289317" y="54812"/>
                  <a:pt x="330050" y="45606"/>
                </a:cubicBezTo>
                <a:cubicBezTo>
                  <a:pt x="327603" y="32443"/>
                  <a:pt x="323777" y="21532"/>
                  <a:pt x="317356" y="11297"/>
                </a:cubicBezTo>
                <a:cubicBezTo>
                  <a:pt x="313908" y="5803"/>
                  <a:pt x="310145" y="4465"/>
                  <a:pt x="304170" y="5545"/>
                </a:cubicBezTo>
                <a:cubicBezTo>
                  <a:pt x="294121" y="7361"/>
                  <a:pt x="284007" y="9006"/>
                  <a:pt x="273851" y="10014"/>
                </a:cubicBezTo>
                <a:cubicBezTo>
                  <a:pt x="237233" y="13650"/>
                  <a:pt x="200632" y="17661"/>
                  <a:pt x="163935" y="20274"/>
                </a:cubicBezTo>
                <a:cubicBezTo>
                  <a:pt x="115360" y="23734"/>
                  <a:pt x="66701" y="25937"/>
                  <a:pt x="17973" y="22950"/>
                </a:cubicBezTo>
                <a:cubicBezTo>
                  <a:pt x="14492" y="22737"/>
                  <a:pt x="10959" y="23361"/>
                  <a:pt x="7372" y="23601"/>
                </a:cubicBezTo>
                <a:cubicBezTo>
                  <a:pt x="7372" y="38609"/>
                  <a:pt x="7372" y="52361"/>
                  <a:pt x="7372" y="67898"/>
                </a:cubicBezTo>
                <a:cubicBezTo>
                  <a:pt x="74001" y="69806"/>
                  <a:pt x="139746" y="71025"/>
                  <a:pt x="207688" y="64284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142" name="Free-form: Shape 4141">
            <a:extLst>
              <a:ext uri="{FF2B5EF4-FFF2-40B4-BE49-F238E27FC236}">
                <a16:creationId xmlns:a16="http://schemas.microsoft.com/office/drawing/2014/main" id="{21767CF2-56C4-D3ED-2EB6-67E6C4D8E663}"/>
              </a:ext>
            </a:extLst>
          </p:cNvPr>
          <p:cNvSpPr/>
          <p:nvPr/>
        </p:nvSpPr>
        <p:spPr>
          <a:xfrm>
            <a:off x="6801630" y="4801853"/>
            <a:ext cx="250796" cy="176607"/>
          </a:xfrm>
          <a:custGeom>
            <a:avLst/>
            <a:gdLst>
              <a:gd name="csX0" fmla="*/ 14160 w 303463"/>
              <a:gd name="csY0" fmla="*/ 7889 h 213695"/>
              <a:gd name="csX1" fmla="*/ 195033 w 303463"/>
              <a:gd name="csY1" fmla="*/ 0 h 213695"/>
              <a:gd name="csX2" fmla="*/ 197208 w 303463"/>
              <a:gd name="csY2" fmla="*/ 5635 h 213695"/>
              <a:gd name="csX3" fmla="*/ 227014 w 303463"/>
              <a:gd name="csY3" fmla="*/ 60660 h 213695"/>
              <a:gd name="csX4" fmla="*/ 265823 w 303463"/>
              <a:gd name="csY4" fmla="*/ 98217 h 213695"/>
              <a:gd name="csX5" fmla="*/ 303210 w 303463"/>
              <a:gd name="csY5" fmla="*/ 180358 h 213695"/>
              <a:gd name="csX6" fmla="*/ 303282 w 303463"/>
              <a:gd name="csY6" fmla="*/ 193964 h 213695"/>
              <a:gd name="csX7" fmla="*/ 4971 w 303463"/>
              <a:gd name="csY7" fmla="*/ 213017 h 213695"/>
              <a:gd name="csX8" fmla="*/ 5093 w 303463"/>
              <a:gd name="csY8" fmla="*/ 173484 h 213695"/>
              <a:gd name="csX9" fmla="*/ 4767 w 303463"/>
              <a:gd name="csY9" fmla="*/ 54607 h 213695"/>
              <a:gd name="csX10" fmla="*/ 0 w 303463"/>
              <a:gd name="csY10" fmla="*/ 7887 h 213695"/>
              <a:gd name="csX11" fmla="*/ 14160 w 303463"/>
              <a:gd name="csY11" fmla="*/ 7889 h 21369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303463" h="213695">
                <a:moveTo>
                  <a:pt x="14160" y="7889"/>
                </a:moveTo>
                <a:cubicBezTo>
                  <a:pt x="75371" y="8627"/>
                  <a:pt x="135292" y="5744"/>
                  <a:pt x="195033" y="0"/>
                </a:cubicBezTo>
                <a:cubicBezTo>
                  <a:pt x="196084" y="2662"/>
                  <a:pt x="196986" y="4099"/>
                  <a:pt x="197208" y="5635"/>
                </a:cubicBezTo>
                <a:cubicBezTo>
                  <a:pt x="200391" y="27650"/>
                  <a:pt x="211307" y="45450"/>
                  <a:pt x="227014" y="60660"/>
                </a:cubicBezTo>
                <a:cubicBezTo>
                  <a:pt x="239947" y="73182"/>
                  <a:pt x="253006" y="85577"/>
                  <a:pt x="265823" y="98217"/>
                </a:cubicBezTo>
                <a:cubicBezTo>
                  <a:pt x="288727" y="120806"/>
                  <a:pt x="299071" y="149215"/>
                  <a:pt x="303210" y="180358"/>
                </a:cubicBezTo>
                <a:cubicBezTo>
                  <a:pt x="303735" y="184317"/>
                  <a:pt x="303282" y="188405"/>
                  <a:pt x="303282" y="193964"/>
                </a:cubicBezTo>
                <a:cubicBezTo>
                  <a:pt x="204065" y="208804"/>
                  <a:pt x="105022" y="216044"/>
                  <a:pt x="4971" y="213017"/>
                </a:cubicBezTo>
                <a:cubicBezTo>
                  <a:pt x="4971" y="199268"/>
                  <a:pt x="4314" y="186332"/>
                  <a:pt x="5093" y="173484"/>
                </a:cubicBezTo>
                <a:cubicBezTo>
                  <a:pt x="7497" y="133835"/>
                  <a:pt x="8211" y="94216"/>
                  <a:pt x="4767" y="54607"/>
                </a:cubicBezTo>
                <a:cubicBezTo>
                  <a:pt x="3464" y="39611"/>
                  <a:pt x="1725" y="24653"/>
                  <a:pt x="0" y="7887"/>
                </a:cubicBezTo>
                <a:cubicBezTo>
                  <a:pt x="4390" y="7887"/>
                  <a:pt x="8696" y="7887"/>
                  <a:pt x="14160" y="7889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143" name="Free-form: Shape 4142">
            <a:extLst>
              <a:ext uri="{FF2B5EF4-FFF2-40B4-BE49-F238E27FC236}">
                <a16:creationId xmlns:a16="http://schemas.microsoft.com/office/drawing/2014/main" id="{358A3C18-10BF-35A3-5415-80FBC035ECE4}"/>
              </a:ext>
            </a:extLst>
          </p:cNvPr>
          <p:cNvSpPr/>
          <p:nvPr/>
        </p:nvSpPr>
        <p:spPr>
          <a:xfrm>
            <a:off x="6756693" y="4096747"/>
            <a:ext cx="172783" cy="168104"/>
          </a:xfrm>
          <a:custGeom>
            <a:avLst/>
            <a:gdLst>
              <a:gd name="csX0" fmla="*/ 10475 w 209067"/>
              <a:gd name="csY0" fmla="*/ 41718 h 203406"/>
              <a:gd name="csX1" fmla="*/ 100250 w 209067"/>
              <a:gd name="csY1" fmla="*/ 1265 h 203406"/>
              <a:gd name="csX2" fmla="*/ 206681 w 209067"/>
              <a:gd name="csY2" fmla="*/ 98526 h 203406"/>
              <a:gd name="csX3" fmla="*/ 134647 w 209067"/>
              <a:gd name="csY3" fmla="*/ 202431 h 203406"/>
              <a:gd name="csX4" fmla="*/ 40986 w 209067"/>
              <a:gd name="csY4" fmla="*/ 171438 h 203406"/>
              <a:gd name="csX5" fmla="*/ 143 w 209067"/>
              <a:gd name="csY5" fmla="*/ 85158 h 203406"/>
              <a:gd name="csX6" fmla="*/ 10475 w 209067"/>
              <a:gd name="csY6" fmla="*/ 41718 h 20340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</a:cxnLst>
            <a:rect l="l" t="t" r="r" b="b"/>
            <a:pathLst>
              <a:path w="209067" h="203406">
                <a:moveTo>
                  <a:pt x="10475" y="41718"/>
                </a:moveTo>
                <a:cubicBezTo>
                  <a:pt x="31065" y="6021"/>
                  <a:pt x="63171" y="-3865"/>
                  <a:pt x="100250" y="1265"/>
                </a:cubicBezTo>
                <a:cubicBezTo>
                  <a:pt x="157191" y="9144"/>
                  <a:pt x="196951" y="51394"/>
                  <a:pt x="206681" y="98526"/>
                </a:cubicBezTo>
                <a:cubicBezTo>
                  <a:pt x="219504" y="160635"/>
                  <a:pt x="178523" y="196657"/>
                  <a:pt x="134647" y="202431"/>
                </a:cubicBezTo>
                <a:cubicBezTo>
                  <a:pt x="98365" y="207204"/>
                  <a:pt x="68101" y="194086"/>
                  <a:pt x="40986" y="171438"/>
                </a:cubicBezTo>
                <a:cubicBezTo>
                  <a:pt x="14115" y="148994"/>
                  <a:pt x="2457" y="119007"/>
                  <a:pt x="143" y="85158"/>
                </a:cubicBezTo>
                <a:cubicBezTo>
                  <a:pt x="-869" y="70364"/>
                  <a:pt x="3586" y="56015"/>
                  <a:pt x="10475" y="41718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144" name="Free-form: Shape 4143">
            <a:extLst>
              <a:ext uri="{FF2B5EF4-FFF2-40B4-BE49-F238E27FC236}">
                <a16:creationId xmlns:a16="http://schemas.microsoft.com/office/drawing/2014/main" id="{9E3D17B3-A578-A727-E9CC-08F7FD08B138}"/>
              </a:ext>
            </a:extLst>
          </p:cNvPr>
          <p:cNvSpPr/>
          <p:nvPr/>
        </p:nvSpPr>
        <p:spPr>
          <a:xfrm>
            <a:off x="6804954" y="4380301"/>
            <a:ext cx="129859" cy="34160"/>
          </a:xfrm>
          <a:custGeom>
            <a:avLst/>
            <a:gdLst>
              <a:gd name="csX0" fmla="*/ 69625 w 157129"/>
              <a:gd name="csY0" fmla="*/ 0 h 41334"/>
              <a:gd name="csX1" fmla="*/ 119596 w 157129"/>
              <a:gd name="csY1" fmla="*/ 1945 h 41334"/>
              <a:gd name="csX2" fmla="*/ 150973 w 157129"/>
              <a:gd name="csY2" fmla="*/ 14889 h 41334"/>
              <a:gd name="csX3" fmla="*/ 151351 w 157129"/>
              <a:gd name="csY3" fmla="*/ 34058 h 41334"/>
              <a:gd name="csX4" fmla="*/ 133492 w 157129"/>
              <a:gd name="csY4" fmla="*/ 40697 h 41334"/>
              <a:gd name="csX5" fmla="*/ 106556 w 157129"/>
              <a:gd name="csY5" fmla="*/ 41092 h 41334"/>
              <a:gd name="csX6" fmla="*/ 13373 w 157129"/>
              <a:gd name="csY6" fmla="*/ 40708 h 41334"/>
              <a:gd name="csX7" fmla="*/ 1312 w 157129"/>
              <a:gd name="csY7" fmla="*/ 40191 h 41334"/>
              <a:gd name="csX8" fmla="*/ 3367 w 157129"/>
              <a:gd name="csY8" fmla="*/ 13162 h 41334"/>
              <a:gd name="csX9" fmla="*/ 20752 w 157129"/>
              <a:gd name="csY9" fmla="*/ 1879 h 41334"/>
              <a:gd name="csX10" fmla="*/ 52625 w 157129"/>
              <a:gd name="csY10" fmla="*/ 1332 h 41334"/>
              <a:gd name="csX11" fmla="*/ 69625 w 157129"/>
              <a:gd name="csY11" fmla="*/ 0 h 4133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157129" h="41334">
                <a:moveTo>
                  <a:pt x="69625" y="0"/>
                </a:moveTo>
                <a:cubicBezTo>
                  <a:pt x="87054" y="491"/>
                  <a:pt x="103407" y="373"/>
                  <a:pt x="119596" y="1945"/>
                </a:cubicBezTo>
                <a:cubicBezTo>
                  <a:pt x="131020" y="3055"/>
                  <a:pt x="141713" y="7767"/>
                  <a:pt x="150973" y="14889"/>
                </a:cubicBezTo>
                <a:cubicBezTo>
                  <a:pt x="158820" y="20925"/>
                  <a:pt x="159403" y="28236"/>
                  <a:pt x="151351" y="34058"/>
                </a:cubicBezTo>
                <a:cubicBezTo>
                  <a:pt x="146355" y="37671"/>
                  <a:pt x="139678" y="39910"/>
                  <a:pt x="133492" y="40697"/>
                </a:cubicBezTo>
                <a:cubicBezTo>
                  <a:pt x="124640" y="41824"/>
                  <a:pt x="115547" y="41120"/>
                  <a:pt x="106556" y="41092"/>
                </a:cubicBezTo>
                <a:cubicBezTo>
                  <a:pt x="75495" y="40996"/>
                  <a:pt x="44434" y="40872"/>
                  <a:pt x="13373" y="40708"/>
                </a:cubicBezTo>
                <a:cubicBezTo>
                  <a:pt x="9391" y="40687"/>
                  <a:pt x="5410" y="40374"/>
                  <a:pt x="1312" y="40191"/>
                </a:cubicBezTo>
                <a:cubicBezTo>
                  <a:pt x="-1416" y="30384"/>
                  <a:pt x="523" y="21512"/>
                  <a:pt x="3367" y="13162"/>
                </a:cubicBezTo>
                <a:cubicBezTo>
                  <a:pt x="5963" y="5538"/>
                  <a:pt x="12701" y="2077"/>
                  <a:pt x="20752" y="1879"/>
                </a:cubicBezTo>
                <a:cubicBezTo>
                  <a:pt x="31375" y="1617"/>
                  <a:pt x="42004" y="1647"/>
                  <a:pt x="52625" y="1332"/>
                </a:cubicBezTo>
                <a:cubicBezTo>
                  <a:pt x="57918" y="1176"/>
                  <a:pt x="63195" y="535"/>
                  <a:pt x="69625" y="0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145" name="Free-form: Shape 4144">
            <a:extLst>
              <a:ext uri="{FF2B5EF4-FFF2-40B4-BE49-F238E27FC236}">
                <a16:creationId xmlns:a16="http://schemas.microsoft.com/office/drawing/2014/main" id="{4D8904E8-70CD-1023-EE68-A88655F3EA18}"/>
              </a:ext>
            </a:extLst>
          </p:cNvPr>
          <p:cNvSpPr/>
          <p:nvPr/>
        </p:nvSpPr>
        <p:spPr>
          <a:xfrm>
            <a:off x="6800333" y="4448032"/>
            <a:ext cx="136016" cy="321684"/>
          </a:xfrm>
          <a:custGeom>
            <a:avLst/>
            <a:gdLst>
              <a:gd name="csX0" fmla="*/ 91265 w 164579"/>
              <a:gd name="csY0" fmla="*/ 157878 h 389238"/>
              <a:gd name="csX1" fmla="*/ 112882 w 164579"/>
              <a:gd name="csY1" fmla="*/ 252738 h 389238"/>
              <a:gd name="csX2" fmla="*/ 164579 w 164579"/>
              <a:gd name="csY2" fmla="*/ 389238 h 389238"/>
              <a:gd name="csX3" fmla="*/ 0 w 164579"/>
              <a:gd name="csY3" fmla="*/ 389238 h 389238"/>
              <a:gd name="csX4" fmla="*/ 5184 w 164579"/>
              <a:gd name="csY4" fmla="*/ 260105 h 389238"/>
              <a:gd name="csX5" fmla="*/ 7989 w 164579"/>
              <a:gd name="csY5" fmla="*/ 131182 h 389238"/>
              <a:gd name="csX6" fmla="*/ 8093 w 164579"/>
              <a:gd name="csY6" fmla="*/ 2390 h 389238"/>
              <a:gd name="csX7" fmla="*/ 76429 w 164579"/>
              <a:gd name="csY7" fmla="*/ 1531 h 389238"/>
              <a:gd name="csX8" fmla="*/ 91265 w 164579"/>
              <a:gd name="csY8" fmla="*/ 157878 h 38923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</a:cxnLst>
            <a:rect l="l" t="t" r="r" b="b"/>
            <a:pathLst>
              <a:path w="164579" h="389238">
                <a:moveTo>
                  <a:pt x="91265" y="157878"/>
                </a:moveTo>
                <a:cubicBezTo>
                  <a:pt x="98425" y="190232"/>
                  <a:pt x="104539" y="221785"/>
                  <a:pt x="112882" y="252738"/>
                </a:cubicBezTo>
                <a:cubicBezTo>
                  <a:pt x="125498" y="299549"/>
                  <a:pt x="141482" y="345258"/>
                  <a:pt x="164579" y="389238"/>
                </a:cubicBezTo>
                <a:cubicBezTo>
                  <a:pt x="109753" y="389238"/>
                  <a:pt x="55706" y="389238"/>
                  <a:pt x="0" y="389238"/>
                </a:cubicBezTo>
                <a:cubicBezTo>
                  <a:pt x="1781" y="345633"/>
                  <a:pt x="3844" y="302880"/>
                  <a:pt x="5184" y="260105"/>
                </a:cubicBezTo>
                <a:cubicBezTo>
                  <a:pt x="6529" y="217143"/>
                  <a:pt x="7519" y="174162"/>
                  <a:pt x="7989" y="131182"/>
                </a:cubicBezTo>
                <a:cubicBezTo>
                  <a:pt x="8459" y="88239"/>
                  <a:pt x="8093" y="45287"/>
                  <a:pt x="8093" y="2390"/>
                </a:cubicBezTo>
                <a:cubicBezTo>
                  <a:pt x="17041" y="-288"/>
                  <a:pt x="58537" y="-913"/>
                  <a:pt x="76429" y="1531"/>
                </a:cubicBezTo>
                <a:cubicBezTo>
                  <a:pt x="79287" y="53276"/>
                  <a:pt x="82219" y="105359"/>
                  <a:pt x="91265" y="157878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146" name="Free-form: Shape 4145">
            <a:extLst>
              <a:ext uri="{FF2B5EF4-FFF2-40B4-BE49-F238E27FC236}">
                <a16:creationId xmlns:a16="http://schemas.microsoft.com/office/drawing/2014/main" id="{3DE27187-0F1A-1E72-1526-5B3A08062C24}"/>
              </a:ext>
            </a:extLst>
          </p:cNvPr>
          <p:cNvSpPr/>
          <p:nvPr/>
        </p:nvSpPr>
        <p:spPr>
          <a:xfrm>
            <a:off x="6802753" y="5001079"/>
            <a:ext cx="266675" cy="53060"/>
          </a:xfrm>
          <a:custGeom>
            <a:avLst/>
            <a:gdLst>
              <a:gd name="csX0" fmla="*/ 199184 w 322677"/>
              <a:gd name="csY0" fmla="*/ 59136 h 64202"/>
              <a:gd name="csX1" fmla="*/ 0 w 322677"/>
              <a:gd name="csY1" fmla="*/ 62697 h 64202"/>
              <a:gd name="csX2" fmla="*/ 0 w 322677"/>
              <a:gd name="csY2" fmla="*/ 18400 h 64202"/>
              <a:gd name="csX3" fmla="*/ 10601 w 322677"/>
              <a:gd name="csY3" fmla="*/ 17750 h 64202"/>
              <a:gd name="csX4" fmla="*/ 156563 w 322677"/>
              <a:gd name="csY4" fmla="*/ 15074 h 64202"/>
              <a:gd name="csX5" fmla="*/ 266479 w 322677"/>
              <a:gd name="csY5" fmla="*/ 4814 h 64202"/>
              <a:gd name="csX6" fmla="*/ 296798 w 322677"/>
              <a:gd name="csY6" fmla="*/ 344 h 64202"/>
              <a:gd name="csX7" fmla="*/ 309983 w 322677"/>
              <a:gd name="csY7" fmla="*/ 6097 h 64202"/>
              <a:gd name="csX8" fmla="*/ 322678 w 322677"/>
              <a:gd name="csY8" fmla="*/ 40406 h 64202"/>
              <a:gd name="csX9" fmla="*/ 199184 w 322677"/>
              <a:gd name="csY9" fmla="*/ 59136 h 6420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322677" h="64202">
                <a:moveTo>
                  <a:pt x="199184" y="59136"/>
                </a:moveTo>
                <a:cubicBezTo>
                  <a:pt x="132374" y="65824"/>
                  <a:pt x="66629" y="64605"/>
                  <a:pt x="0" y="62697"/>
                </a:cubicBezTo>
                <a:cubicBezTo>
                  <a:pt x="0" y="47160"/>
                  <a:pt x="0" y="33409"/>
                  <a:pt x="0" y="18400"/>
                </a:cubicBezTo>
                <a:cubicBezTo>
                  <a:pt x="3587" y="18160"/>
                  <a:pt x="7120" y="17536"/>
                  <a:pt x="10601" y="17750"/>
                </a:cubicBezTo>
                <a:cubicBezTo>
                  <a:pt x="59329" y="20736"/>
                  <a:pt x="107987" y="18533"/>
                  <a:pt x="156563" y="15074"/>
                </a:cubicBezTo>
                <a:cubicBezTo>
                  <a:pt x="193260" y="12461"/>
                  <a:pt x="229860" y="8449"/>
                  <a:pt x="266479" y="4814"/>
                </a:cubicBezTo>
                <a:cubicBezTo>
                  <a:pt x="276635" y="3806"/>
                  <a:pt x="286748" y="2160"/>
                  <a:pt x="296798" y="344"/>
                </a:cubicBezTo>
                <a:cubicBezTo>
                  <a:pt x="302773" y="-735"/>
                  <a:pt x="306536" y="602"/>
                  <a:pt x="309983" y="6097"/>
                </a:cubicBezTo>
                <a:cubicBezTo>
                  <a:pt x="316405" y="16331"/>
                  <a:pt x="320231" y="27243"/>
                  <a:pt x="322678" y="40406"/>
                </a:cubicBezTo>
                <a:cubicBezTo>
                  <a:pt x="281944" y="49611"/>
                  <a:pt x="241309" y="55431"/>
                  <a:pt x="199184" y="59136"/>
                </a:cubicBezTo>
                <a:close/>
              </a:path>
            </a:pathLst>
          </a:custGeom>
          <a:solidFill>
            <a:schemeClr val="bg1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976" name="Free-form: Shape 3975">
            <a:extLst>
              <a:ext uri="{FF2B5EF4-FFF2-40B4-BE49-F238E27FC236}">
                <a16:creationId xmlns:a16="http://schemas.microsoft.com/office/drawing/2014/main" id="{F2966B63-4AAB-B7D7-67A7-3F46C00563ED}"/>
              </a:ext>
            </a:extLst>
          </p:cNvPr>
          <p:cNvSpPr/>
          <p:nvPr/>
        </p:nvSpPr>
        <p:spPr>
          <a:xfrm>
            <a:off x="6563936" y="3915062"/>
            <a:ext cx="674754" cy="1812235"/>
          </a:xfrm>
          <a:custGeom>
            <a:avLst/>
            <a:gdLst>
              <a:gd name="csX0" fmla="*/ 898754 w 1315852"/>
              <a:gd name="csY0" fmla="*/ 1637125 h 3212801"/>
              <a:gd name="csX1" fmla="*/ 900426 w 1315852"/>
              <a:gd name="csY1" fmla="*/ 1643802 h 3212801"/>
              <a:gd name="csX2" fmla="*/ 903549 w 1315852"/>
              <a:gd name="csY2" fmla="*/ 1709345 h 3212801"/>
              <a:gd name="csX3" fmla="*/ 908512 w 1315852"/>
              <a:gd name="csY3" fmla="*/ 1750739 h 3212801"/>
              <a:gd name="csX4" fmla="*/ 911839 w 1315852"/>
              <a:gd name="csY4" fmla="*/ 1783999 h 3212801"/>
              <a:gd name="csX5" fmla="*/ 919775 w 1315852"/>
              <a:gd name="csY5" fmla="*/ 1846044 h 3212801"/>
              <a:gd name="csX6" fmla="*/ 928724 w 1315852"/>
              <a:gd name="csY6" fmla="*/ 1912212 h 3212801"/>
              <a:gd name="csX7" fmla="*/ 943556 w 1315852"/>
              <a:gd name="csY7" fmla="*/ 1998602 h 3212801"/>
              <a:gd name="csX8" fmla="*/ 967918 w 1315852"/>
              <a:gd name="csY8" fmla="*/ 2121455 h 3212801"/>
              <a:gd name="csX9" fmla="*/ 988236 w 1315852"/>
              <a:gd name="csY9" fmla="*/ 2216813 h 3212801"/>
              <a:gd name="csX10" fmla="*/ 1028961 w 1315852"/>
              <a:gd name="csY10" fmla="*/ 2386212 h 3212801"/>
              <a:gd name="csX11" fmla="*/ 1055369 w 1315852"/>
              <a:gd name="csY11" fmla="*/ 2485963 h 3212801"/>
              <a:gd name="csX12" fmla="*/ 1069125 w 1315852"/>
              <a:gd name="csY12" fmla="*/ 2501571 h 3212801"/>
              <a:gd name="csX13" fmla="*/ 1104775 w 1315852"/>
              <a:gd name="csY13" fmla="*/ 2517672 h 3212801"/>
              <a:gd name="csX14" fmla="*/ 1117910 w 1315852"/>
              <a:gd name="csY14" fmla="*/ 2527831 h 3212801"/>
              <a:gd name="csX15" fmla="*/ 1122737 w 1315852"/>
              <a:gd name="csY15" fmla="*/ 2552282 h 3212801"/>
              <a:gd name="csX16" fmla="*/ 1114779 w 1315852"/>
              <a:gd name="csY16" fmla="*/ 2570125 h 3212801"/>
              <a:gd name="csX17" fmla="*/ 1114207 w 1315852"/>
              <a:gd name="csY17" fmla="*/ 2618225 h 3212801"/>
              <a:gd name="csX18" fmla="*/ 1148150 w 1315852"/>
              <a:gd name="csY18" fmla="*/ 2663984 h 3212801"/>
              <a:gd name="csX19" fmla="*/ 1206600 w 1315852"/>
              <a:gd name="csY19" fmla="*/ 2720256 h 3212801"/>
              <a:gd name="csX20" fmla="*/ 1275524 w 1315852"/>
              <a:gd name="csY20" fmla="*/ 2850317 h 3212801"/>
              <a:gd name="csX21" fmla="*/ 1277353 w 1315852"/>
              <a:gd name="csY21" fmla="*/ 2897326 h 3212801"/>
              <a:gd name="csX22" fmla="*/ 1271355 w 1315852"/>
              <a:gd name="csY22" fmla="*/ 2935725 h 3212801"/>
              <a:gd name="csX23" fmla="*/ 1274691 w 1315852"/>
              <a:gd name="csY23" fmla="*/ 2954335 h 3212801"/>
              <a:gd name="csX24" fmla="*/ 1301797 w 1315852"/>
              <a:gd name="csY24" fmla="*/ 3028744 h 3212801"/>
              <a:gd name="csX25" fmla="*/ 1311943 w 1315852"/>
              <a:gd name="csY25" fmla="*/ 3082025 h 3212801"/>
              <a:gd name="csX26" fmla="*/ 1315801 w 1315852"/>
              <a:gd name="csY26" fmla="*/ 3133440 h 3212801"/>
              <a:gd name="csX27" fmla="*/ 1307182 w 1315852"/>
              <a:gd name="csY27" fmla="*/ 3146201 h 3212801"/>
              <a:gd name="csX28" fmla="*/ 1280933 w 1315852"/>
              <a:gd name="csY28" fmla="*/ 3155733 h 3212801"/>
              <a:gd name="csX29" fmla="*/ 1169576 w 1315852"/>
              <a:gd name="csY29" fmla="*/ 3181105 h 3212801"/>
              <a:gd name="csX30" fmla="*/ 1098129 w 1315852"/>
              <a:gd name="csY30" fmla="*/ 3192005 h 3212801"/>
              <a:gd name="csX31" fmla="*/ 1025959 w 1315852"/>
              <a:gd name="csY31" fmla="*/ 3198069 h 3212801"/>
              <a:gd name="csX32" fmla="*/ 969161 w 1315852"/>
              <a:gd name="csY32" fmla="*/ 3203391 h 3212801"/>
              <a:gd name="csX33" fmla="*/ 966367 w 1315852"/>
              <a:gd name="csY33" fmla="*/ 3203587 h 3212801"/>
              <a:gd name="csX34" fmla="*/ 890991 w 1315852"/>
              <a:gd name="csY34" fmla="*/ 3206415 h 3212801"/>
              <a:gd name="csX35" fmla="*/ 786197 w 1315852"/>
              <a:gd name="csY35" fmla="*/ 3209641 h 3212801"/>
              <a:gd name="csX36" fmla="*/ 618254 w 1315852"/>
              <a:gd name="csY36" fmla="*/ 3211234 h 3212801"/>
              <a:gd name="csX37" fmla="*/ 506392 w 1315852"/>
              <a:gd name="csY37" fmla="*/ 3209195 h 3212801"/>
              <a:gd name="csX38" fmla="*/ 443638 w 1315852"/>
              <a:gd name="csY38" fmla="*/ 3206415 h 3212801"/>
              <a:gd name="csX39" fmla="*/ 389301 w 1315852"/>
              <a:gd name="csY39" fmla="*/ 3203597 h 3212801"/>
              <a:gd name="csX40" fmla="*/ 305884 w 1315852"/>
              <a:gd name="csY40" fmla="*/ 3197747 h 3212801"/>
              <a:gd name="csX41" fmla="*/ 216151 w 1315852"/>
              <a:gd name="csY41" fmla="*/ 3186940 h 3212801"/>
              <a:gd name="csX42" fmla="*/ 141593 w 1315852"/>
              <a:gd name="csY42" fmla="*/ 3177824 h 3212801"/>
              <a:gd name="csX43" fmla="*/ 44929 w 1315852"/>
              <a:gd name="csY43" fmla="*/ 3157176 h 3212801"/>
              <a:gd name="csX44" fmla="*/ 10154 w 1315852"/>
              <a:gd name="csY44" fmla="*/ 3146750 h 3212801"/>
              <a:gd name="csX45" fmla="*/ 112 w 1315852"/>
              <a:gd name="csY45" fmla="*/ 3132149 h 3212801"/>
              <a:gd name="csX46" fmla="*/ 5263 w 1315852"/>
              <a:gd name="csY46" fmla="*/ 3080960 h 3212801"/>
              <a:gd name="csX47" fmla="*/ 13758 w 1315852"/>
              <a:gd name="csY47" fmla="*/ 3031612 h 3212801"/>
              <a:gd name="csX48" fmla="*/ 40996 w 1315852"/>
              <a:gd name="csY48" fmla="*/ 2960204 h 3212801"/>
              <a:gd name="csX49" fmla="*/ 43510 w 1315852"/>
              <a:gd name="csY49" fmla="*/ 2944616 h 3212801"/>
              <a:gd name="csX50" fmla="*/ 36916 w 1315852"/>
              <a:gd name="csY50" fmla="*/ 2875457 h 3212801"/>
              <a:gd name="csX51" fmla="*/ 46646 w 1315852"/>
              <a:gd name="csY51" fmla="*/ 2827778 h 3212801"/>
              <a:gd name="csX52" fmla="*/ 108895 w 1315852"/>
              <a:gd name="csY52" fmla="*/ 2723307 h 3212801"/>
              <a:gd name="csX53" fmla="*/ 188375 w 1315852"/>
              <a:gd name="csY53" fmla="*/ 2646399 h 3212801"/>
              <a:gd name="csX54" fmla="*/ 211535 w 1315852"/>
              <a:gd name="csY54" fmla="*/ 2605867 h 3212801"/>
              <a:gd name="csX55" fmla="*/ 205182 w 1315852"/>
              <a:gd name="csY55" fmla="*/ 2571418 h 3212801"/>
              <a:gd name="csX56" fmla="*/ 196651 w 1315852"/>
              <a:gd name="csY56" fmla="*/ 2557085 h 3212801"/>
              <a:gd name="csX57" fmla="*/ 209021 w 1315852"/>
              <a:gd name="csY57" fmla="*/ 2521560 h 3212801"/>
              <a:gd name="csX58" fmla="*/ 245764 w 1315852"/>
              <a:gd name="csY58" fmla="*/ 2504395 h 3212801"/>
              <a:gd name="csX59" fmla="*/ 263769 w 1315852"/>
              <a:gd name="csY59" fmla="*/ 2485128 h 3212801"/>
              <a:gd name="csX60" fmla="*/ 300045 w 1315852"/>
              <a:gd name="csY60" fmla="*/ 2354726 h 3212801"/>
              <a:gd name="csX61" fmla="*/ 326003 w 1315852"/>
              <a:gd name="csY61" fmla="*/ 2249117 h 3212801"/>
              <a:gd name="csX62" fmla="*/ 359250 w 1315852"/>
              <a:gd name="csY62" fmla="*/ 2092493 h 3212801"/>
              <a:gd name="csX63" fmla="*/ 378011 w 1315852"/>
              <a:gd name="csY63" fmla="*/ 1995496 h 3212801"/>
              <a:gd name="csX64" fmla="*/ 390230 w 1315852"/>
              <a:gd name="csY64" fmla="*/ 1915745 h 3212801"/>
              <a:gd name="csX65" fmla="*/ 400702 w 1315852"/>
              <a:gd name="csY65" fmla="*/ 1851249 h 3212801"/>
              <a:gd name="csX66" fmla="*/ 406954 w 1315852"/>
              <a:gd name="csY66" fmla="*/ 1788916 h 3212801"/>
              <a:gd name="csX67" fmla="*/ 412016 w 1315852"/>
              <a:gd name="csY67" fmla="*/ 1747526 h 3212801"/>
              <a:gd name="csX68" fmla="*/ 415185 w 1315852"/>
              <a:gd name="csY68" fmla="*/ 1712850 h 3212801"/>
              <a:gd name="csX69" fmla="*/ 418197 w 1315852"/>
              <a:gd name="csY69" fmla="*/ 1651507 h 3212801"/>
              <a:gd name="csX70" fmla="*/ 423324 w 1315852"/>
              <a:gd name="csY70" fmla="*/ 1583479 h 3212801"/>
              <a:gd name="csX71" fmla="*/ 426059 w 1315852"/>
              <a:gd name="csY71" fmla="*/ 1477299 h 3212801"/>
              <a:gd name="csX72" fmla="*/ 424204 w 1315852"/>
              <a:gd name="csY72" fmla="*/ 1473415 h 3212801"/>
              <a:gd name="csX73" fmla="*/ 390769 w 1315852"/>
              <a:gd name="csY73" fmla="*/ 1470003 h 3212801"/>
              <a:gd name="csX74" fmla="*/ 327487 w 1315852"/>
              <a:gd name="csY74" fmla="*/ 1460760 h 3212801"/>
              <a:gd name="csX75" fmla="*/ 289037 w 1315852"/>
              <a:gd name="csY75" fmla="*/ 1410705 h 3212801"/>
              <a:gd name="csX76" fmla="*/ 292610 w 1315852"/>
              <a:gd name="csY76" fmla="*/ 1374826 h 3212801"/>
              <a:gd name="csX77" fmla="*/ 335365 w 1315852"/>
              <a:gd name="csY77" fmla="*/ 1319956 h 3212801"/>
              <a:gd name="csX78" fmla="*/ 358966 w 1315852"/>
              <a:gd name="csY78" fmla="*/ 1286091 h 3212801"/>
              <a:gd name="csX79" fmla="*/ 390267 w 1315852"/>
              <a:gd name="csY79" fmla="*/ 1239202 h 3212801"/>
              <a:gd name="csX80" fmla="*/ 435898 w 1315852"/>
              <a:gd name="csY80" fmla="*/ 1202610 h 3212801"/>
              <a:gd name="csX81" fmla="*/ 443089 w 1315852"/>
              <a:gd name="csY81" fmla="*/ 1186662 h 3212801"/>
              <a:gd name="csX82" fmla="*/ 443336 w 1315852"/>
              <a:gd name="csY82" fmla="*/ 1174100 h 3212801"/>
              <a:gd name="csX83" fmla="*/ 432713 w 1315852"/>
              <a:gd name="csY83" fmla="*/ 1161284 h 3212801"/>
              <a:gd name="csX84" fmla="*/ 406712 w 1315852"/>
              <a:gd name="csY84" fmla="*/ 1151413 h 3212801"/>
              <a:gd name="csX85" fmla="*/ 399212 w 1315852"/>
              <a:gd name="csY85" fmla="*/ 1135845 h 3212801"/>
              <a:gd name="csX86" fmla="*/ 409719 w 1315852"/>
              <a:gd name="csY86" fmla="*/ 1113213 h 3212801"/>
              <a:gd name="csX87" fmla="*/ 414650 w 1315852"/>
              <a:gd name="csY87" fmla="*/ 1091062 h 3212801"/>
              <a:gd name="csX88" fmla="*/ 402048 w 1315852"/>
              <a:gd name="csY88" fmla="*/ 1042520 h 3212801"/>
              <a:gd name="csX89" fmla="*/ 366526 w 1315852"/>
              <a:gd name="csY89" fmla="*/ 932054 h 3212801"/>
              <a:gd name="csX90" fmla="*/ 304855 w 1315852"/>
              <a:gd name="csY90" fmla="*/ 733506 h 3212801"/>
              <a:gd name="csX91" fmla="*/ 273722 w 1315852"/>
              <a:gd name="csY91" fmla="*/ 639312 h 3212801"/>
              <a:gd name="csX92" fmla="*/ 242525 w 1315852"/>
              <a:gd name="csY92" fmla="*/ 527843 h 3212801"/>
              <a:gd name="csX93" fmla="*/ 245838 w 1315852"/>
              <a:gd name="csY93" fmla="*/ 485521 h 3212801"/>
              <a:gd name="csX94" fmla="*/ 258319 w 1315852"/>
              <a:gd name="csY94" fmla="*/ 473233 h 3212801"/>
              <a:gd name="csX95" fmla="*/ 291527 w 1315852"/>
              <a:gd name="csY95" fmla="*/ 463336 h 3212801"/>
              <a:gd name="csX96" fmla="*/ 373160 w 1315852"/>
              <a:gd name="csY96" fmla="*/ 454842 h 3212801"/>
              <a:gd name="csX97" fmla="*/ 427480 w 1315852"/>
              <a:gd name="csY97" fmla="*/ 451758 h 3212801"/>
              <a:gd name="csX98" fmla="*/ 477998 w 1315852"/>
              <a:gd name="csY98" fmla="*/ 447870 h 3212801"/>
              <a:gd name="csX99" fmla="*/ 479585 w 1315852"/>
              <a:gd name="csY99" fmla="*/ 442932 h 3212801"/>
              <a:gd name="csX100" fmla="*/ 488907 w 1315852"/>
              <a:gd name="csY100" fmla="*/ 421401 h 3212801"/>
              <a:gd name="csX101" fmla="*/ 492315 w 1315852"/>
              <a:gd name="csY101" fmla="*/ 409196 h 3212801"/>
              <a:gd name="csX102" fmla="*/ 498582 w 1315852"/>
              <a:gd name="csY102" fmla="*/ 396231 h 3212801"/>
              <a:gd name="csX103" fmla="*/ 531424 w 1315852"/>
              <a:gd name="csY103" fmla="*/ 365066 h 3212801"/>
              <a:gd name="csX104" fmla="*/ 567201 w 1315852"/>
              <a:gd name="csY104" fmla="*/ 305069 h 3212801"/>
              <a:gd name="csX105" fmla="*/ 580157 w 1315852"/>
              <a:gd name="csY105" fmla="*/ 281885 h 3212801"/>
              <a:gd name="csX106" fmla="*/ 575177 w 1315852"/>
              <a:gd name="csY106" fmla="*/ 258759 h 3212801"/>
              <a:gd name="csX107" fmla="*/ 472048 w 1315852"/>
              <a:gd name="csY107" fmla="*/ 283266 h 3212801"/>
              <a:gd name="csX108" fmla="*/ 473659 w 1315852"/>
              <a:gd name="csY108" fmla="*/ 112243 h 3212801"/>
              <a:gd name="csX109" fmla="*/ 487139 w 1315852"/>
              <a:gd name="csY109" fmla="*/ 114763 h 3212801"/>
              <a:gd name="csX110" fmla="*/ 569608 w 1315852"/>
              <a:gd name="csY110" fmla="*/ 140735 h 3212801"/>
              <a:gd name="csX111" fmla="*/ 585180 w 1315852"/>
              <a:gd name="csY111" fmla="*/ 124742 h 3212801"/>
              <a:gd name="csX112" fmla="*/ 563868 w 1315852"/>
              <a:gd name="csY112" fmla="*/ 70080 h 3212801"/>
              <a:gd name="csX113" fmla="*/ 546041 w 1315852"/>
              <a:gd name="csY113" fmla="*/ 26021 h 3212801"/>
              <a:gd name="csX114" fmla="*/ 568462 w 1315852"/>
              <a:gd name="csY114" fmla="*/ 18986 h 3212801"/>
              <a:gd name="csX115" fmla="*/ 637623 w 1315852"/>
              <a:gd name="csY115" fmla="*/ 2731 h 3212801"/>
              <a:gd name="csX116" fmla="*/ 692817 w 1315852"/>
              <a:gd name="csY116" fmla="*/ 4346 h 3212801"/>
              <a:gd name="csX117" fmla="*/ 759126 w 1315852"/>
              <a:gd name="csY117" fmla="*/ 20739 h 3212801"/>
              <a:gd name="csX118" fmla="*/ 774460 w 1315852"/>
              <a:gd name="csY118" fmla="*/ 24289 h 3212801"/>
              <a:gd name="csX119" fmla="*/ 751608 w 1315852"/>
              <a:gd name="csY119" fmla="*/ 81205 h 3212801"/>
              <a:gd name="csX120" fmla="*/ 731002 w 1315852"/>
              <a:gd name="csY120" fmla="*/ 141135 h 3212801"/>
              <a:gd name="csX121" fmla="*/ 749917 w 1315852"/>
              <a:gd name="csY121" fmla="*/ 137732 h 3212801"/>
              <a:gd name="csX122" fmla="*/ 836197 w 1315852"/>
              <a:gd name="csY122" fmla="*/ 114792 h 3212801"/>
              <a:gd name="csX123" fmla="*/ 843209 w 1315852"/>
              <a:gd name="csY123" fmla="*/ 113433 h 3212801"/>
              <a:gd name="csX124" fmla="*/ 844400 w 1315852"/>
              <a:gd name="csY124" fmla="*/ 119435 h 3212801"/>
              <a:gd name="csX125" fmla="*/ 847390 w 1315852"/>
              <a:gd name="csY125" fmla="*/ 232672 h 3212801"/>
              <a:gd name="csX126" fmla="*/ 850015 w 1315852"/>
              <a:gd name="csY126" fmla="*/ 261773 h 3212801"/>
              <a:gd name="csX127" fmla="*/ 850085 w 1315852"/>
              <a:gd name="csY127" fmla="*/ 280220 h 3212801"/>
              <a:gd name="csX128" fmla="*/ 815285 w 1315852"/>
              <a:gd name="csY128" fmla="*/ 272127 h 3212801"/>
              <a:gd name="csX129" fmla="*/ 757181 w 1315852"/>
              <a:gd name="csY129" fmla="*/ 257455 h 3212801"/>
              <a:gd name="csX130" fmla="*/ 732939 w 1315852"/>
              <a:gd name="csY130" fmla="*/ 263859 h 3212801"/>
              <a:gd name="csX131" fmla="*/ 739871 w 1315852"/>
              <a:gd name="csY131" fmla="*/ 279988 h 3212801"/>
              <a:gd name="csX132" fmla="*/ 725900 w 1315852"/>
              <a:gd name="csY132" fmla="*/ 292074 h 3212801"/>
              <a:gd name="csX133" fmla="*/ 747132 w 1315852"/>
              <a:gd name="csY133" fmla="*/ 298017 h 3212801"/>
              <a:gd name="csX134" fmla="*/ 768268 w 1315852"/>
              <a:gd name="csY134" fmla="*/ 327815 h 3212801"/>
              <a:gd name="csX135" fmla="*/ 785901 w 1315852"/>
              <a:gd name="csY135" fmla="*/ 362862 h 3212801"/>
              <a:gd name="csX136" fmla="*/ 798627 w 1315852"/>
              <a:gd name="csY136" fmla="*/ 374591 h 3212801"/>
              <a:gd name="csX137" fmla="*/ 815580 w 1315852"/>
              <a:gd name="csY137" fmla="*/ 387899 h 3212801"/>
              <a:gd name="csX138" fmla="*/ 813282 w 1315852"/>
              <a:gd name="csY138" fmla="*/ 390947 h 3212801"/>
              <a:gd name="csX139" fmla="*/ 776501 w 1315852"/>
              <a:gd name="csY139" fmla="*/ 393213 h 3212801"/>
              <a:gd name="csX140" fmla="*/ 702336 w 1315852"/>
              <a:gd name="csY140" fmla="*/ 381496 h 3212801"/>
              <a:gd name="csX141" fmla="*/ 662021 w 1315852"/>
              <a:gd name="csY141" fmla="*/ 378921 h 3212801"/>
              <a:gd name="csX142" fmla="*/ 651111 w 1315852"/>
              <a:gd name="csY142" fmla="*/ 386942 h 3212801"/>
              <a:gd name="csX143" fmla="*/ 648295 w 1315852"/>
              <a:gd name="csY143" fmla="*/ 437069 h 3212801"/>
              <a:gd name="csX144" fmla="*/ 659561 w 1315852"/>
              <a:gd name="csY144" fmla="*/ 448907 h 3212801"/>
              <a:gd name="csX145" fmla="*/ 799805 w 1315852"/>
              <a:gd name="csY145" fmla="*/ 449022 h 3212801"/>
              <a:gd name="csX146" fmla="*/ 811083 w 1315852"/>
              <a:gd name="csY146" fmla="*/ 439581 h 3212801"/>
              <a:gd name="csX147" fmla="*/ 817945 w 1315852"/>
              <a:gd name="csY147" fmla="*/ 425008 h 3212801"/>
              <a:gd name="csX148" fmla="*/ 828609 w 1315852"/>
              <a:gd name="csY148" fmla="*/ 403122 h 3212801"/>
              <a:gd name="csX149" fmla="*/ 838374 w 1315852"/>
              <a:gd name="csY149" fmla="*/ 406435 h 3212801"/>
              <a:gd name="csX150" fmla="*/ 844275 w 1315852"/>
              <a:gd name="csY150" fmla="*/ 430561 h 3212801"/>
              <a:gd name="csX151" fmla="*/ 865761 w 1315852"/>
              <a:gd name="csY151" fmla="*/ 447068 h 3212801"/>
              <a:gd name="csX152" fmla="*/ 885673 w 1315852"/>
              <a:gd name="csY152" fmla="*/ 449965 h 3212801"/>
              <a:gd name="csX153" fmla="*/ 904428 w 1315852"/>
              <a:gd name="csY153" fmla="*/ 454230 h 3212801"/>
              <a:gd name="csX154" fmla="*/ 930689 w 1315852"/>
              <a:gd name="csY154" fmla="*/ 457318 h 3212801"/>
              <a:gd name="csX155" fmla="*/ 1036296 w 1315852"/>
              <a:gd name="csY155" fmla="*/ 485877 h 3212801"/>
              <a:gd name="csX156" fmla="*/ 1076027 w 1315852"/>
              <a:gd name="csY156" fmla="*/ 535212 h 3212801"/>
              <a:gd name="csX157" fmla="*/ 1075403 w 1315852"/>
              <a:gd name="csY157" fmla="*/ 578208 h 3212801"/>
              <a:gd name="csX158" fmla="*/ 1028317 w 1315852"/>
              <a:gd name="csY158" fmla="*/ 728867 h 3212801"/>
              <a:gd name="csX159" fmla="*/ 983498 w 1315852"/>
              <a:gd name="csY159" fmla="*/ 858331 h 3212801"/>
              <a:gd name="csX160" fmla="*/ 948940 w 1315852"/>
              <a:gd name="csY160" fmla="*/ 961698 h 3212801"/>
              <a:gd name="csX161" fmla="*/ 911066 w 1315852"/>
              <a:gd name="csY161" fmla="*/ 1087385 h 3212801"/>
              <a:gd name="csX162" fmla="*/ 910828 w 1315852"/>
              <a:gd name="csY162" fmla="*/ 1098086 h 3212801"/>
              <a:gd name="csX163" fmla="*/ 911498 w 1315852"/>
              <a:gd name="csY163" fmla="*/ 1130209 h 3212801"/>
              <a:gd name="csX164" fmla="*/ 905716 w 1315852"/>
              <a:gd name="csY164" fmla="*/ 1140786 h 3212801"/>
              <a:gd name="csX165" fmla="*/ 904041 w 1315852"/>
              <a:gd name="csY165" fmla="*/ 1171694 h 3212801"/>
              <a:gd name="csX166" fmla="*/ 929797 w 1315852"/>
              <a:gd name="csY166" fmla="*/ 1202854 h 3212801"/>
              <a:gd name="csX167" fmla="*/ 956714 w 1315852"/>
              <a:gd name="csY167" fmla="*/ 1270749 h 3212801"/>
              <a:gd name="csX168" fmla="*/ 960074 w 1315852"/>
              <a:gd name="csY168" fmla="*/ 1289888 h 3212801"/>
              <a:gd name="csX169" fmla="*/ 975795 w 1315852"/>
              <a:gd name="csY169" fmla="*/ 1308746 h 3212801"/>
              <a:gd name="csX170" fmla="*/ 1002397 w 1315852"/>
              <a:gd name="csY170" fmla="*/ 1326635 h 3212801"/>
              <a:gd name="csX171" fmla="*/ 1018686 w 1315852"/>
              <a:gd name="csY171" fmla="*/ 1435905 h 3212801"/>
              <a:gd name="csX172" fmla="*/ 996257 w 1315852"/>
              <a:gd name="csY172" fmla="*/ 1454107 h 3212801"/>
              <a:gd name="csX173" fmla="*/ 970849 w 1315852"/>
              <a:gd name="csY173" fmla="*/ 1461303 h 3212801"/>
              <a:gd name="csX174" fmla="*/ 917943 w 1315852"/>
              <a:gd name="csY174" fmla="*/ 1464461 h 3212801"/>
              <a:gd name="csX175" fmla="*/ 905433 w 1315852"/>
              <a:gd name="csY175" fmla="*/ 1465358 h 3212801"/>
              <a:gd name="csX176" fmla="*/ 897863 w 1315852"/>
              <a:gd name="csY176" fmla="*/ 1474014 h 3212801"/>
              <a:gd name="csX177" fmla="*/ 897812 w 1315852"/>
              <a:gd name="csY177" fmla="*/ 1475415 h 3212801"/>
              <a:gd name="csX178" fmla="*/ 895549 w 1315852"/>
              <a:gd name="csY178" fmla="*/ 1519988 h 3212801"/>
              <a:gd name="csX179" fmla="*/ 895093 w 1315852"/>
              <a:gd name="csY179" fmla="*/ 1566174 h 3212801"/>
              <a:gd name="csX180" fmla="*/ 898754 w 1315852"/>
              <a:gd name="csY180" fmla="*/ 1637125 h 3212801"/>
              <a:gd name="csX181" fmla="*/ 654604 w 1315852"/>
              <a:gd name="csY181" fmla="*/ 2329281 h 3212801"/>
              <a:gd name="csX182" fmla="*/ 650429 w 1315852"/>
              <a:gd name="csY182" fmla="*/ 2271391 h 3212801"/>
              <a:gd name="csX183" fmla="*/ 648148 w 1315852"/>
              <a:gd name="csY183" fmla="*/ 2289942 h 3212801"/>
              <a:gd name="csX184" fmla="*/ 648156 w 1315852"/>
              <a:gd name="csY184" fmla="*/ 2367948 h 3212801"/>
              <a:gd name="csX185" fmla="*/ 655577 w 1315852"/>
              <a:gd name="csY185" fmla="*/ 2381454 h 3212801"/>
              <a:gd name="csX186" fmla="*/ 655485 w 1315852"/>
              <a:gd name="csY186" fmla="*/ 2404945 h 3212801"/>
              <a:gd name="csX187" fmla="*/ 651805 w 1315852"/>
              <a:gd name="csY187" fmla="*/ 2455510 h 3212801"/>
              <a:gd name="csX188" fmla="*/ 650902 w 1315852"/>
              <a:gd name="csY188" fmla="*/ 2395333 h 3212801"/>
              <a:gd name="csX189" fmla="*/ 649248 w 1315852"/>
              <a:gd name="csY189" fmla="*/ 2386025 h 3212801"/>
              <a:gd name="csX190" fmla="*/ 645333 w 1315852"/>
              <a:gd name="csY190" fmla="*/ 2386512 h 3212801"/>
              <a:gd name="csX191" fmla="*/ 645333 w 1315852"/>
              <a:gd name="csY191" fmla="*/ 2399858 h 3212801"/>
              <a:gd name="csX192" fmla="*/ 645232 w 1315852"/>
              <a:gd name="csY192" fmla="*/ 2471367 h 3212801"/>
              <a:gd name="csX193" fmla="*/ 643489 w 1315852"/>
              <a:gd name="csY193" fmla="*/ 2486535 h 3212801"/>
              <a:gd name="csX194" fmla="*/ 662548 w 1315852"/>
              <a:gd name="csY194" fmla="*/ 2510760 h 3212801"/>
              <a:gd name="csX195" fmla="*/ 942625 w 1315852"/>
              <a:gd name="csY195" fmla="*/ 2507990 h 3212801"/>
              <a:gd name="csX196" fmla="*/ 997309 w 1315852"/>
              <a:gd name="csY196" fmla="*/ 2507928 h 3212801"/>
              <a:gd name="csX197" fmla="*/ 1012693 w 1315852"/>
              <a:gd name="csY197" fmla="*/ 2507237 h 3212801"/>
              <a:gd name="csX198" fmla="*/ 1010948 w 1315852"/>
              <a:gd name="csY198" fmla="*/ 2493054 h 3212801"/>
              <a:gd name="csX199" fmla="*/ 982017 w 1315852"/>
              <a:gd name="csY199" fmla="*/ 2386719 h 3212801"/>
              <a:gd name="csX200" fmla="*/ 955543 w 1315852"/>
              <a:gd name="csY200" fmla="*/ 2275604 h 3212801"/>
              <a:gd name="csX201" fmla="*/ 922638 w 1315852"/>
              <a:gd name="csY201" fmla="*/ 2125997 h 3212801"/>
              <a:gd name="csX202" fmla="*/ 897474 w 1315852"/>
              <a:gd name="csY202" fmla="*/ 1994858 h 3212801"/>
              <a:gd name="csX203" fmla="*/ 878061 w 1315852"/>
              <a:gd name="csY203" fmla="*/ 1878280 h 3212801"/>
              <a:gd name="csX204" fmla="*/ 866965 w 1315852"/>
              <a:gd name="csY204" fmla="*/ 1791411 h 3212801"/>
              <a:gd name="csX205" fmla="*/ 863902 w 1315852"/>
              <a:gd name="csY205" fmla="*/ 1755335 h 3212801"/>
              <a:gd name="csX206" fmla="*/ 855983 w 1315852"/>
              <a:gd name="csY206" fmla="*/ 1677866 h 3212801"/>
              <a:gd name="csX207" fmla="*/ 852873 w 1315852"/>
              <a:gd name="csY207" fmla="*/ 1578685 h 3212801"/>
              <a:gd name="csX208" fmla="*/ 851635 w 1315852"/>
              <a:gd name="csY208" fmla="*/ 1535546 h 3212801"/>
              <a:gd name="csX209" fmla="*/ 850039 w 1315852"/>
              <a:gd name="csY209" fmla="*/ 1484182 h 3212801"/>
              <a:gd name="csX210" fmla="*/ 848486 w 1315852"/>
              <a:gd name="csY210" fmla="*/ 1472876 h 3212801"/>
              <a:gd name="csX211" fmla="*/ 832070 w 1315852"/>
              <a:gd name="csY211" fmla="*/ 1472888 h 3212801"/>
              <a:gd name="csX212" fmla="*/ 676784 w 1315852"/>
              <a:gd name="csY212" fmla="*/ 1475691 h 3212801"/>
              <a:gd name="csX213" fmla="*/ 662172 w 1315852"/>
              <a:gd name="csY213" fmla="*/ 1490031 h 3212801"/>
              <a:gd name="csX214" fmla="*/ 662153 w 1315852"/>
              <a:gd name="csY214" fmla="*/ 1497041 h 3212801"/>
              <a:gd name="csX215" fmla="*/ 659832 w 1315852"/>
              <a:gd name="csY215" fmla="*/ 1642548 h 3212801"/>
              <a:gd name="csX216" fmla="*/ 656544 w 1315852"/>
              <a:gd name="csY216" fmla="*/ 1761338 h 3212801"/>
              <a:gd name="csX217" fmla="*/ 654344 w 1315852"/>
              <a:gd name="csY217" fmla="*/ 1943296 h 3212801"/>
              <a:gd name="csX218" fmla="*/ 651002 w 1315852"/>
              <a:gd name="csY218" fmla="*/ 2137811 h 3212801"/>
              <a:gd name="csX219" fmla="*/ 650933 w 1315852"/>
              <a:gd name="csY219" fmla="*/ 2240168 h 3212801"/>
              <a:gd name="csX220" fmla="*/ 651273 w 1315852"/>
              <a:gd name="csY220" fmla="*/ 2249880 h 3212801"/>
              <a:gd name="csX221" fmla="*/ 658332 w 1315852"/>
              <a:gd name="csY221" fmla="*/ 2258024 h 3212801"/>
              <a:gd name="csX222" fmla="*/ 654604 w 1315852"/>
              <a:gd name="csY222" fmla="*/ 2329281 h 3212801"/>
              <a:gd name="csX223" fmla="*/ 999154 w 1315852"/>
              <a:gd name="csY223" fmla="*/ 2930680 h 3212801"/>
              <a:gd name="csX224" fmla="*/ 1224400 w 1315852"/>
              <a:gd name="csY224" fmla="*/ 2904672 h 3212801"/>
              <a:gd name="csX225" fmla="*/ 1225778 w 1315852"/>
              <a:gd name="csY225" fmla="*/ 2893948 h 3212801"/>
              <a:gd name="csX226" fmla="*/ 1197990 w 1315852"/>
              <a:gd name="csY226" fmla="*/ 2788499 h 3212801"/>
              <a:gd name="csX227" fmla="*/ 1156721 w 1315852"/>
              <a:gd name="csY227" fmla="*/ 2737429 h 3212801"/>
              <a:gd name="csX228" fmla="*/ 1096512 w 1315852"/>
              <a:gd name="csY228" fmla="*/ 2674794 h 3212801"/>
              <a:gd name="csX229" fmla="*/ 1056842 w 1315852"/>
              <a:gd name="csY229" fmla="*/ 2584575 h 3212801"/>
              <a:gd name="csX230" fmla="*/ 1055233 w 1315852"/>
              <a:gd name="csY230" fmla="*/ 2579758 h 3212801"/>
              <a:gd name="csX231" fmla="*/ 1017950 w 1315852"/>
              <a:gd name="csY231" fmla="*/ 2581956 h 3212801"/>
              <a:gd name="csX232" fmla="*/ 785764 w 1315852"/>
              <a:gd name="csY232" fmla="*/ 2595473 h 3212801"/>
              <a:gd name="csX233" fmla="*/ 665238 w 1315852"/>
              <a:gd name="csY233" fmla="*/ 2597498 h 3212801"/>
              <a:gd name="csX234" fmla="*/ 654332 w 1315852"/>
              <a:gd name="csY234" fmla="*/ 2598673 h 3212801"/>
              <a:gd name="csX235" fmla="*/ 653026 w 1315852"/>
              <a:gd name="csY235" fmla="*/ 2935427 h 3212801"/>
              <a:gd name="csX236" fmla="*/ 999154 w 1315852"/>
              <a:gd name="csY236" fmla="*/ 2930680 h 3212801"/>
              <a:gd name="csX237" fmla="*/ 947894 w 1315852"/>
              <a:gd name="csY237" fmla="*/ 3022480 h 3212801"/>
              <a:gd name="csX238" fmla="*/ 854096 w 1315852"/>
              <a:gd name="csY238" fmla="*/ 3026952 h 3212801"/>
              <a:gd name="csX239" fmla="*/ 676076 w 1315852"/>
              <a:gd name="csY239" fmla="*/ 3027217 h 3212801"/>
              <a:gd name="csX240" fmla="*/ 657155 w 1315852"/>
              <a:gd name="csY240" fmla="*/ 3027217 h 3212801"/>
              <a:gd name="csX241" fmla="*/ 650929 w 1315852"/>
              <a:gd name="csY241" fmla="*/ 3130009 h 3212801"/>
              <a:gd name="csX242" fmla="*/ 662475 w 1315852"/>
              <a:gd name="csY242" fmla="*/ 3131016 h 3212801"/>
              <a:gd name="csX243" fmla="*/ 775955 w 1315852"/>
              <a:gd name="csY243" fmla="*/ 3134982 h 3212801"/>
              <a:gd name="csX244" fmla="*/ 1061598 w 1315852"/>
              <a:gd name="csY244" fmla="*/ 3125377 h 3212801"/>
              <a:gd name="csX245" fmla="*/ 1249397 w 1315852"/>
              <a:gd name="csY245" fmla="*/ 3093967 h 3212801"/>
              <a:gd name="csX246" fmla="*/ 1262842 w 1315852"/>
              <a:gd name="csY246" fmla="*/ 3089764 h 3212801"/>
              <a:gd name="csX247" fmla="*/ 1244253 w 1315852"/>
              <a:gd name="csY247" fmla="*/ 3014005 h 3212801"/>
              <a:gd name="csX248" fmla="*/ 1237768 w 1315852"/>
              <a:gd name="csY248" fmla="*/ 3003206 h 3212801"/>
              <a:gd name="csX249" fmla="*/ 1217957 w 1315852"/>
              <a:gd name="csY249" fmla="*/ 2993424 h 3212801"/>
              <a:gd name="csX250" fmla="*/ 1163725 w 1315852"/>
              <a:gd name="csY250" fmla="*/ 3000119 h 3212801"/>
              <a:gd name="csX251" fmla="*/ 947894 w 1315852"/>
              <a:gd name="csY251" fmla="*/ 3022480 h 3212801"/>
              <a:gd name="csX252" fmla="*/ 784197 w 1315852"/>
              <a:gd name="csY252" fmla="*/ 1352777 h 3212801"/>
              <a:gd name="csX253" fmla="*/ 730991 w 1315852"/>
              <a:gd name="csY253" fmla="*/ 1354793 h 3212801"/>
              <a:gd name="csX254" fmla="*/ 676320 w 1315852"/>
              <a:gd name="csY254" fmla="*/ 1356902 h 3212801"/>
              <a:gd name="csX255" fmla="*/ 671906 w 1315852"/>
              <a:gd name="csY255" fmla="*/ 1418933 h 3212801"/>
              <a:gd name="csX256" fmla="*/ 685797 w 1315852"/>
              <a:gd name="csY256" fmla="*/ 1418917 h 3212801"/>
              <a:gd name="csX257" fmla="*/ 953300 w 1315852"/>
              <a:gd name="csY257" fmla="*/ 1410383 h 3212801"/>
              <a:gd name="csX258" fmla="*/ 968586 w 1315852"/>
              <a:gd name="csY258" fmla="*/ 1408564 h 3212801"/>
              <a:gd name="csX259" fmla="*/ 980375 w 1315852"/>
              <a:gd name="csY259" fmla="*/ 1394590 h 3212801"/>
              <a:gd name="csX260" fmla="*/ 965591 w 1315852"/>
              <a:gd name="csY260" fmla="*/ 1364447 h 3212801"/>
              <a:gd name="csX261" fmla="*/ 910211 w 1315852"/>
              <a:gd name="csY261" fmla="*/ 1348103 h 3212801"/>
              <a:gd name="csX262" fmla="*/ 784197 w 1315852"/>
              <a:gd name="csY262" fmla="*/ 1352777 h 3212801"/>
              <a:gd name="csX263" fmla="*/ 648129 w 1315852"/>
              <a:gd name="csY263" fmla="*/ 615881 h 3212801"/>
              <a:gd name="csX264" fmla="*/ 650869 w 1315852"/>
              <a:gd name="csY264" fmla="*/ 664591 h 3212801"/>
              <a:gd name="csX265" fmla="*/ 653223 w 1315852"/>
              <a:gd name="csY265" fmla="*/ 746994 h 3212801"/>
              <a:gd name="csX266" fmla="*/ 656163 w 1315852"/>
              <a:gd name="csY266" fmla="*/ 830737 h 3212801"/>
              <a:gd name="csX267" fmla="*/ 658740 w 1315852"/>
              <a:gd name="csY267" fmla="*/ 903281 h 3212801"/>
              <a:gd name="csX268" fmla="*/ 662209 w 1315852"/>
              <a:gd name="csY268" fmla="*/ 1019226 h 3212801"/>
              <a:gd name="csX269" fmla="*/ 665088 w 1315852"/>
              <a:gd name="csY269" fmla="*/ 1081942 h 3212801"/>
              <a:gd name="csX270" fmla="*/ 674628 w 1315852"/>
              <a:gd name="csY270" fmla="*/ 1090643 h 3212801"/>
              <a:gd name="csX271" fmla="*/ 762289 w 1315852"/>
              <a:gd name="csY271" fmla="*/ 1085865 h 3212801"/>
              <a:gd name="csX272" fmla="*/ 853046 w 1315852"/>
              <a:gd name="csY272" fmla="*/ 1082948 h 3212801"/>
              <a:gd name="csX273" fmla="*/ 854448 w 1315852"/>
              <a:gd name="csY273" fmla="*/ 1082924 h 3212801"/>
              <a:gd name="csX274" fmla="*/ 866364 w 1315852"/>
              <a:gd name="csY274" fmla="*/ 1074839 h 3212801"/>
              <a:gd name="csX275" fmla="*/ 891726 w 1315852"/>
              <a:gd name="csY275" fmla="*/ 1006797 h 3212801"/>
              <a:gd name="csX276" fmla="*/ 913720 w 1315852"/>
              <a:gd name="csY276" fmla="*/ 939278 h 3212801"/>
              <a:gd name="csX277" fmla="*/ 953952 w 1315852"/>
              <a:gd name="csY277" fmla="*/ 826060 h 3212801"/>
              <a:gd name="csX278" fmla="*/ 988796 w 1315852"/>
              <a:gd name="csY278" fmla="*/ 727233 h 3212801"/>
              <a:gd name="csX279" fmla="*/ 1036110 w 1315852"/>
              <a:gd name="csY279" fmla="*/ 592920 h 3212801"/>
              <a:gd name="csX280" fmla="*/ 1043677 w 1315852"/>
              <a:gd name="csY280" fmla="*/ 542152 h 3212801"/>
              <a:gd name="csX281" fmla="*/ 1030884 w 1315852"/>
              <a:gd name="csY281" fmla="*/ 517222 h 3212801"/>
              <a:gd name="csX282" fmla="*/ 1009162 w 1315852"/>
              <a:gd name="csY282" fmla="*/ 507963 h 3212801"/>
              <a:gd name="csX283" fmla="*/ 931266 w 1315852"/>
              <a:gd name="csY283" fmla="*/ 493552 h 3212801"/>
              <a:gd name="csX284" fmla="*/ 880100 w 1315852"/>
              <a:gd name="csY284" fmla="*/ 488348 h 3212801"/>
              <a:gd name="csX285" fmla="*/ 835610 w 1315852"/>
              <a:gd name="csY285" fmla="*/ 485330 h 3212801"/>
              <a:gd name="csX286" fmla="*/ 755014 w 1315852"/>
              <a:gd name="csY286" fmla="*/ 480162 h 3212801"/>
              <a:gd name="csX287" fmla="*/ 657249 w 1315852"/>
              <a:gd name="csY287" fmla="*/ 482686 h 3212801"/>
              <a:gd name="csX288" fmla="*/ 643184 w 1315852"/>
              <a:gd name="csY288" fmla="*/ 500211 h 3212801"/>
              <a:gd name="csX289" fmla="*/ 645220 w 1315852"/>
              <a:gd name="csY289" fmla="*/ 511112 h 3212801"/>
              <a:gd name="csX290" fmla="*/ 648129 w 1315852"/>
              <a:gd name="csY290" fmla="*/ 615881 h 3212801"/>
              <a:gd name="csX291" fmla="*/ 886495 w 1315852"/>
              <a:gd name="csY291" fmla="*/ 1207714 h 3212801"/>
              <a:gd name="csX292" fmla="*/ 881380 w 1315852"/>
              <a:gd name="csY292" fmla="*/ 1202980 h 3212801"/>
              <a:gd name="csX293" fmla="*/ 866913 w 1315852"/>
              <a:gd name="csY293" fmla="*/ 1175042 h 3212801"/>
              <a:gd name="csX294" fmla="*/ 866482 w 1315852"/>
              <a:gd name="csY294" fmla="*/ 1156869 h 3212801"/>
              <a:gd name="csX295" fmla="*/ 856429 w 1315852"/>
              <a:gd name="csY295" fmla="*/ 1147458 h 3212801"/>
              <a:gd name="csX296" fmla="*/ 790615 w 1315852"/>
              <a:gd name="csY296" fmla="*/ 1147813 h 3212801"/>
              <a:gd name="csX297" fmla="*/ 718484 w 1315852"/>
              <a:gd name="csY297" fmla="*/ 1153058 h 3212801"/>
              <a:gd name="csX298" fmla="*/ 671232 w 1315852"/>
              <a:gd name="csY298" fmla="*/ 1156034 h 3212801"/>
              <a:gd name="csX299" fmla="*/ 664146 w 1315852"/>
              <a:gd name="csY299" fmla="*/ 1168443 h 3212801"/>
              <a:gd name="csX300" fmla="*/ 667611 w 1315852"/>
              <a:gd name="csY300" fmla="*/ 1187354 h 3212801"/>
              <a:gd name="csX301" fmla="*/ 667803 w 1315852"/>
              <a:gd name="csY301" fmla="*/ 1283992 h 3212801"/>
              <a:gd name="csX302" fmla="*/ 683140 w 1315852"/>
              <a:gd name="csY302" fmla="*/ 1298850 h 3212801"/>
              <a:gd name="csX303" fmla="*/ 736011 w 1315852"/>
              <a:gd name="csY303" fmla="*/ 1296220 h 3212801"/>
              <a:gd name="csX304" fmla="*/ 830893 w 1315852"/>
              <a:gd name="csY304" fmla="*/ 1293324 h 3212801"/>
              <a:gd name="csX305" fmla="*/ 833691 w 1315852"/>
              <a:gd name="csY305" fmla="*/ 1293213 h 3212801"/>
              <a:gd name="csX306" fmla="*/ 903014 w 1315852"/>
              <a:gd name="csY306" fmla="*/ 1287831 h 3212801"/>
              <a:gd name="csX307" fmla="*/ 917225 w 1315852"/>
              <a:gd name="csY307" fmla="*/ 1271856 h 3212801"/>
              <a:gd name="csX308" fmla="*/ 886495 w 1315852"/>
              <a:gd name="csY308" fmla="*/ 1207714 h 321280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  <a:cxn ang="0">
                <a:pos x="csX170" y="csY170"/>
              </a:cxn>
              <a:cxn ang="0">
                <a:pos x="csX171" y="csY171"/>
              </a:cxn>
              <a:cxn ang="0">
                <a:pos x="csX172" y="csY172"/>
              </a:cxn>
              <a:cxn ang="0">
                <a:pos x="csX173" y="csY173"/>
              </a:cxn>
              <a:cxn ang="0">
                <a:pos x="csX174" y="csY174"/>
              </a:cxn>
              <a:cxn ang="0">
                <a:pos x="csX175" y="csY175"/>
              </a:cxn>
              <a:cxn ang="0">
                <a:pos x="csX176" y="csY176"/>
              </a:cxn>
              <a:cxn ang="0">
                <a:pos x="csX177" y="csY177"/>
              </a:cxn>
              <a:cxn ang="0">
                <a:pos x="csX178" y="csY178"/>
              </a:cxn>
              <a:cxn ang="0">
                <a:pos x="csX179" y="csY179"/>
              </a:cxn>
              <a:cxn ang="0">
                <a:pos x="csX180" y="csY180"/>
              </a:cxn>
              <a:cxn ang="0">
                <a:pos x="csX181" y="csY181"/>
              </a:cxn>
              <a:cxn ang="0">
                <a:pos x="csX182" y="csY182"/>
              </a:cxn>
              <a:cxn ang="0">
                <a:pos x="csX183" y="csY183"/>
              </a:cxn>
              <a:cxn ang="0">
                <a:pos x="csX184" y="csY184"/>
              </a:cxn>
              <a:cxn ang="0">
                <a:pos x="csX185" y="csY185"/>
              </a:cxn>
              <a:cxn ang="0">
                <a:pos x="csX186" y="csY186"/>
              </a:cxn>
              <a:cxn ang="0">
                <a:pos x="csX187" y="csY187"/>
              </a:cxn>
              <a:cxn ang="0">
                <a:pos x="csX188" y="csY188"/>
              </a:cxn>
              <a:cxn ang="0">
                <a:pos x="csX189" y="csY189"/>
              </a:cxn>
              <a:cxn ang="0">
                <a:pos x="csX190" y="csY190"/>
              </a:cxn>
              <a:cxn ang="0">
                <a:pos x="csX191" y="csY191"/>
              </a:cxn>
              <a:cxn ang="0">
                <a:pos x="csX192" y="csY192"/>
              </a:cxn>
              <a:cxn ang="0">
                <a:pos x="csX193" y="csY193"/>
              </a:cxn>
              <a:cxn ang="0">
                <a:pos x="csX194" y="csY194"/>
              </a:cxn>
              <a:cxn ang="0">
                <a:pos x="csX195" y="csY195"/>
              </a:cxn>
              <a:cxn ang="0">
                <a:pos x="csX196" y="csY196"/>
              </a:cxn>
              <a:cxn ang="0">
                <a:pos x="csX197" y="csY197"/>
              </a:cxn>
              <a:cxn ang="0">
                <a:pos x="csX198" y="csY198"/>
              </a:cxn>
              <a:cxn ang="0">
                <a:pos x="csX199" y="csY199"/>
              </a:cxn>
              <a:cxn ang="0">
                <a:pos x="csX200" y="csY200"/>
              </a:cxn>
              <a:cxn ang="0">
                <a:pos x="csX201" y="csY201"/>
              </a:cxn>
              <a:cxn ang="0">
                <a:pos x="csX202" y="csY202"/>
              </a:cxn>
              <a:cxn ang="0">
                <a:pos x="csX203" y="csY203"/>
              </a:cxn>
              <a:cxn ang="0">
                <a:pos x="csX204" y="csY204"/>
              </a:cxn>
              <a:cxn ang="0">
                <a:pos x="csX205" y="csY205"/>
              </a:cxn>
              <a:cxn ang="0">
                <a:pos x="csX206" y="csY206"/>
              </a:cxn>
              <a:cxn ang="0">
                <a:pos x="csX207" y="csY207"/>
              </a:cxn>
              <a:cxn ang="0">
                <a:pos x="csX208" y="csY208"/>
              </a:cxn>
              <a:cxn ang="0">
                <a:pos x="csX209" y="csY209"/>
              </a:cxn>
              <a:cxn ang="0">
                <a:pos x="csX210" y="csY210"/>
              </a:cxn>
              <a:cxn ang="0">
                <a:pos x="csX211" y="csY211"/>
              </a:cxn>
              <a:cxn ang="0">
                <a:pos x="csX212" y="csY212"/>
              </a:cxn>
              <a:cxn ang="0">
                <a:pos x="csX213" y="csY213"/>
              </a:cxn>
              <a:cxn ang="0">
                <a:pos x="csX214" y="csY214"/>
              </a:cxn>
              <a:cxn ang="0">
                <a:pos x="csX215" y="csY215"/>
              </a:cxn>
              <a:cxn ang="0">
                <a:pos x="csX216" y="csY216"/>
              </a:cxn>
              <a:cxn ang="0">
                <a:pos x="csX217" y="csY217"/>
              </a:cxn>
              <a:cxn ang="0">
                <a:pos x="csX218" y="csY218"/>
              </a:cxn>
              <a:cxn ang="0">
                <a:pos x="csX219" y="csY219"/>
              </a:cxn>
              <a:cxn ang="0">
                <a:pos x="csX220" y="csY220"/>
              </a:cxn>
              <a:cxn ang="0">
                <a:pos x="csX221" y="csY221"/>
              </a:cxn>
              <a:cxn ang="0">
                <a:pos x="csX222" y="csY222"/>
              </a:cxn>
              <a:cxn ang="0">
                <a:pos x="csX223" y="csY223"/>
              </a:cxn>
              <a:cxn ang="0">
                <a:pos x="csX224" y="csY224"/>
              </a:cxn>
              <a:cxn ang="0">
                <a:pos x="csX225" y="csY225"/>
              </a:cxn>
              <a:cxn ang="0">
                <a:pos x="csX226" y="csY226"/>
              </a:cxn>
              <a:cxn ang="0">
                <a:pos x="csX227" y="csY227"/>
              </a:cxn>
              <a:cxn ang="0">
                <a:pos x="csX228" y="csY228"/>
              </a:cxn>
              <a:cxn ang="0">
                <a:pos x="csX229" y="csY229"/>
              </a:cxn>
              <a:cxn ang="0">
                <a:pos x="csX230" y="csY230"/>
              </a:cxn>
              <a:cxn ang="0">
                <a:pos x="csX231" y="csY231"/>
              </a:cxn>
              <a:cxn ang="0">
                <a:pos x="csX232" y="csY232"/>
              </a:cxn>
              <a:cxn ang="0">
                <a:pos x="csX233" y="csY233"/>
              </a:cxn>
              <a:cxn ang="0">
                <a:pos x="csX234" y="csY234"/>
              </a:cxn>
              <a:cxn ang="0">
                <a:pos x="csX235" y="csY235"/>
              </a:cxn>
              <a:cxn ang="0">
                <a:pos x="csX236" y="csY236"/>
              </a:cxn>
              <a:cxn ang="0">
                <a:pos x="csX237" y="csY237"/>
              </a:cxn>
              <a:cxn ang="0">
                <a:pos x="csX238" y="csY238"/>
              </a:cxn>
              <a:cxn ang="0">
                <a:pos x="csX239" y="csY239"/>
              </a:cxn>
              <a:cxn ang="0">
                <a:pos x="csX240" y="csY240"/>
              </a:cxn>
              <a:cxn ang="0">
                <a:pos x="csX241" y="csY241"/>
              </a:cxn>
              <a:cxn ang="0">
                <a:pos x="csX242" y="csY242"/>
              </a:cxn>
              <a:cxn ang="0">
                <a:pos x="csX243" y="csY243"/>
              </a:cxn>
              <a:cxn ang="0">
                <a:pos x="csX244" y="csY244"/>
              </a:cxn>
              <a:cxn ang="0">
                <a:pos x="csX245" y="csY245"/>
              </a:cxn>
              <a:cxn ang="0">
                <a:pos x="csX246" y="csY246"/>
              </a:cxn>
              <a:cxn ang="0">
                <a:pos x="csX247" y="csY247"/>
              </a:cxn>
              <a:cxn ang="0">
                <a:pos x="csX248" y="csY248"/>
              </a:cxn>
              <a:cxn ang="0">
                <a:pos x="csX249" y="csY249"/>
              </a:cxn>
              <a:cxn ang="0">
                <a:pos x="csX250" y="csY250"/>
              </a:cxn>
              <a:cxn ang="0">
                <a:pos x="csX251" y="csY251"/>
              </a:cxn>
              <a:cxn ang="0">
                <a:pos x="csX252" y="csY252"/>
              </a:cxn>
              <a:cxn ang="0">
                <a:pos x="csX253" y="csY253"/>
              </a:cxn>
              <a:cxn ang="0">
                <a:pos x="csX254" y="csY254"/>
              </a:cxn>
              <a:cxn ang="0">
                <a:pos x="csX255" y="csY255"/>
              </a:cxn>
              <a:cxn ang="0">
                <a:pos x="csX256" y="csY256"/>
              </a:cxn>
              <a:cxn ang="0">
                <a:pos x="csX257" y="csY257"/>
              </a:cxn>
              <a:cxn ang="0">
                <a:pos x="csX258" y="csY258"/>
              </a:cxn>
              <a:cxn ang="0">
                <a:pos x="csX259" y="csY259"/>
              </a:cxn>
              <a:cxn ang="0">
                <a:pos x="csX260" y="csY260"/>
              </a:cxn>
              <a:cxn ang="0">
                <a:pos x="csX261" y="csY261"/>
              </a:cxn>
              <a:cxn ang="0">
                <a:pos x="csX262" y="csY262"/>
              </a:cxn>
              <a:cxn ang="0">
                <a:pos x="csX263" y="csY263"/>
              </a:cxn>
              <a:cxn ang="0">
                <a:pos x="csX264" y="csY264"/>
              </a:cxn>
              <a:cxn ang="0">
                <a:pos x="csX265" y="csY265"/>
              </a:cxn>
              <a:cxn ang="0">
                <a:pos x="csX266" y="csY266"/>
              </a:cxn>
              <a:cxn ang="0">
                <a:pos x="csX267" y="csY267"/>
              </a:cxn>
              <a:cxn ang="0">
                <a:pos x="csX268" y="csY268"/>
              </a:cxn>
              <a:cxn ang="0">
                <a:pos x="csX269" y="csY269"/>
              </a:cxn>
              <a:cxn ang="0">
                <a:pos x="csX270" y="csY270"/>
              </a:cxn>
              <a:cxn ang="0">
                <a:pos x="csX271" y="csY271"/>
              </a:cxn>
              <a:cxn ang="0">
                <a:pos x="csX272" y="csY272"/>
              </a:cxn>
              <a:cxn ang="0">
                <a:pos x="csX273" y="csY273"/>
              </a:cxn>
              <a:cxn ang="0">
                <a:pos x="csX274" y="csY274"/>
              </a:cxn>
              <a:cxn ang="0">
                <a:pos x="csX275" y="csY275"/>
              </a:cxn>
              <a:cxn ang="0">
                <a:pos x="csX276" y="csY276"/>
              </a:cxn>
              <a:cxn ang="0">
                <a:pos x="csX277" y="csY277"/>
              </a:cxn>
              <a:cxn ang="0">
                <a:pos x="csX278" y="csY278"/>
              </a:cxn>
              <a:cxn ang="0">
                <a:pos x="csX279" y="csY279"/>
              </a:cxn>
              <a:cxn ang="0">
                <a:pos x="csX280" y="csY280"/>
              </a:cxn>
              <a:cxn ang="0">
                <a:pos x="csX281" y="csY281"/>
              </a:cxn>
              <a:cxn ang="0">
                <a:pos x="csX282" y="csY282"/>
              </a:cxn>
              <a:cxn ang="0">
                <a:pos x="csX283" y="csY283"/>
              </a:cxn>
              <a:cxn ang="0">
                <a:pos x="csX284" y="csY284"/>
              </a:cxn>
              <a:cxn ang="0">
                <a:pos x="csX285" y="csY285"/>
              </a:cxn>
              <a:cxn ang="0">
                <a:pos x="csX286" y="csY286"/>
              </a:cxn>
              <a:cxn ang="0">
                <a:pos x="csX287" y="csY287"/>
              </a:cxn>
              <a:cxn ang="0">
                <a:pos x="csX288" y="csY288"/>
              </a:cxn>
              <a:cxn ang="0">
                <a:pos x="csX289" y="csY289"/>
              </a:cxn>
              <a:cxn ang="0">
                <a:pos x="csX290" y="csY290"/>
              </a:cxn>
              <a:cxn ang="0">
                <a:pos x="csX291" y="csY291"/>
              </a:cxn>
              <a:cxn ang="0">
                <a:pos x="csX292" y="csY292"/>
              </a:cxn>
              <a:cxn ang="0">
                <a:pos x="csX293" y="csY293"/>
              </a:cxn>
              <a:cxn ang="0">
                <a:pos x="csX294" y="csY294"/>
              </a:cxn>
              <a:cxn ang="0">
                <a:pos x="csX295" y="csY295"/>
              </a:cxn>
              <a:cxn ang="0">
                <a:pos x="csX296" y="csY296"/>
              </a:cxn>
              <a:cxn ang="0">
                <a:pos x="csX297" y="csY297"/>
              </a:cxn>
              <a:cxn ang="0">
                <a:pos x="csX298" y="csY298"/>
              </a:cxn>
              <a:cxn ang="0">
                <a:pos x="csX299" y="csY299"/>
              </a:cxn>
              <a:cxn ang="0">
                <a:pos x="csX300" y="csY300"/>
              </a:cxn>
              <a:cxn ang="0">
                <a:pos x="csX301" y="csY301"/>
              </a:cxn>
              <a:cxn ang="0">
                <a:pos x="csX302" y="csY302"/>
              </a:cxn>
              <a:cxn ang="0">
                <a:pos x="csX303" y="csY303"/>
              </a:cxn>
              <a:cxn ang="0">
                <a:pos x="csX304" y="csY304"/>
              </a:cxn>
              <a:cxn ang="0">
                <a:pos x="csX305" y="csY305"/>
              </a:cxn>
              <a:cxn ang="0">
                <a:pos x="csX306" y="csY306"/>
              </a:cxn>
              <a:cxn ang="0">
                <a:pos x="csX307" y="csY307"/>
              </a:cxn>
              <a:cxn ang="0">
                <a:pos x="csX308" y="csY308"/>
              </a:cxn>
            </a:cxnLst>
            <a:rect l="l" t="t" r="r" b="b"/>
            <a:pathLst>
              <a:path w="1315852" h="3212801">
                <a:moveTo>
                  <a:pt x="898754" y="1637125"/>
                </a:moveTo>
                <a:cubicBezTo>
                  <a:pt x="899614" y="1640179"/>
                  <a:pt x="900338" y="1641975"/>
                  <a:pt x="900426" y="1643802"/>
                </a:cubicBezTo>
                <a:cubicBezTo>
                  <a:pt x="901475" y="1665651"/>
                  <a:pt x="902040" y="1687530"/>
                  <a:pt x="903549" y="1709345"/>
                </a:cubicBezTo>
                <a:cubicBezTo>
                  <a:pt x="904508" y="1723191"/>
                  <a:pt x="906945" y="1736929"/>
                  <a:pt x="908512" y="1750739"/>
                </a:cubicBezTo>
                <a:cubicBezTo>
                  <a:pt x="909768" y="1761809"/>
                  <a:pt x="910504" y="1772940"/>
                  <a:pt x="911839" y="1783999"/>
                </a:cubicBezTo>
                <a:cubicBezTo>
                  <a:pt x="914339" y="1804698"/>
                  <a:pt x="917061" y="1825371"/>
                  <a:pt x="919775" y="1846044"/>
                </a:cubicBezTo>
                <a:cubicBezTo>
                  <a:pt x="922673" y="1868112"/>
                  <a:pt x="925267" y="1890230"/>
                  <a:pt x="928724" y="1912212"/>
                </a:cubicBezTo>
                <a:cubicBezTo>
                  <a:pt x="933262" y="1941073"/>
                  <a:pt x="938122" y="1969897"/>
                  <a:pt x="943556" y="1998602"/>
                </a:cubicBezTo>
                <a:cubicBezTo>
                  <a:pt x="951321" y="2039621"/>
                  <a:pt x="959572" y="2080549"/>
                  <a:pt x="967918" y="2121455"/>
                </a:cubicBezTo>
                <a:cubicBezTo>
                  <a:pt x="974414" y="2153298"/>
                  <a:pt x="980861" y="2185166"/>
                  <a:pt x="988236" y="2216813"/>
                </a:cubicBezTo>
                <a:cubicBezTo>
                  <a:pt x="1001417" y="2273372"/>
                  <a:pt x="1015007" y="2329839"/>
                  <a:pt x="1028961" y="2386212"/>
                </a:cubicBezTo>
                <a:cubicBezTo>
                  <a:pt x="1037223" y="2419597"/>
                  <a:pt x="1046464" y="2452740"/>
                  <a:pt x="1055369" y="2485963"/>
                </a:cubicBezTo>
                <a:cubicBezTo>
                  <a:pt x="1057341" y="2493320"/>
                  <a:pt x="1060485" y="2498788"/>
                  <a:pt x="1069125" y="2501571"/>
                </a:cubicBezTo>
                <a:cubicBezTo>
                  <a:pt x="1081467" y="2505544"/>
                  <a:pt x="1093147" y="2511758"/>
                  <a:pt x="1104775" y="2517672"/>
                </a:cubicBezTo>
                <a:cubicBezTo>
                  <a:pt x="1109642" y="2520148"/>
                  <a:pt x="1114279" y="2523752"/>
                  <a:pt x="1117910" y="2527831"/>
                </a:cubicBezTo>
                <a:cubicBezTo>
                  <a:pt x="1124099" y="2534784"/>
                  <a:pt x="1126976" y="2542950"/>
                  <a:pt x="1122737" y="2552282"/>
                </a:cubicBezTo>
                <a:cubicBezTo>
                  <a:pt x="1120041" y="2558217"/>
                  <a:pt x="1118208" y="2564666"/>
                  <a:pt x="1114779" y="2570125"/>
                </a:cubicBezTo>
                <a:cubicBezTo>
                  <a:pt x="1104671" y="2586210"/>
                  <a:pt x="1107442" y="2602158"/>
                  <a:pt x="1114207" y="2618225"/>
                </a:cubicBezTo>
                <a:cubicBezTo>
                  <a:pt x="1121782" y="2636214"/>
                  <a:pt x="1134908" y="2650364"/>
                  <a:pt x="1148150" y="2663984"/>
                </a:cubicBezTo>
                <a:cubicBezTo>
                  <a:pt x="1166992" y="2683364"/>
                  <a:pt x="1187718" y="2700911"/>
                  <a:pt x="1206600" y="2720256"/>
                </a:cubicBezTo>
                <a:cubicBezTo>
                  <a:pt x="1242228" y="2756756"/>
                  <a:pt x="1266941" y="2799706"/>
                  <a:pt x="1275524" y="2850317"/>
                </a:cubicBezTo>
                <a:cubicBezTo>
                  <a:pt x="1278084" y="2865409"/>
                  <a:pt x="1281110" y="2880935"/>
                  <a:pt x="1277353" y="2897326"/>
                </a:cubicBezTo>
                <a:cubicBezTo>
                  <a:pt x="1274514" y="2909711"/>
                  <a:pt x="1274674" y="2923014"/>
                  <a:pt x="1271355" y="2935725"/>
                </a:cubicBezTo>
                <a:cubicBezTo>
                  <a:pt x="1269750" y="2941870"/>
                  <a:pt x="1270927" y="2948063"/>
                  <a:pt x="1274691" y="2954335"/>
                </a:cubicBezTo>
                <a:cubicBezTo>
                  <a:pt x="1288477" y="2977303"/>
                  <a:pt x="1297024" y="3002358"/>
                  <a:pt x="1301797" y="3028744"/>
                </a:cubicBezTo>
                <a:cubicBezTo>
                  <a:pt x="1305016" y="3046537"/>
                  <a:pt x="1309526" y="3064135"/>
                  <a:pt x="1311943" y="3082025"/>
                </a:cubicBezTo>
                <a:cubicBezTo>
                  <a:pt x="1314240" y="3099026"/>
                  <a:pt x="1314491" y="3116299"/>
                  <a:pt x="1315801" y="3133440"/>
                </a:cubicBezTo>
                <a:cubicBezTo>
                  <a:pt x="1316312" y="3140137"/>
                  <a:pt x="1313007" y="3144001"/>
                  <a:pt x="1307182" y="3146201"/>
                </a:cubicBezTo>
                <a:cubicBezTo>
                  <a:pt x="1298468" y="3149492"/>
                  <a:pt x="1289929" y="3153581"/>
                  <a:pt x="1280933" y="3155733"/>
                </a:cubicBezTo>
                <a:cubicBezTo>
                  <a:pt x="1243908" y="3164594"/>
                  <a:pt x="1206866" y="3173472"/>
                  <a:pt x="1169576" y="3181105"/>
                </a:cubicBezTo>
                <a:cubicBezTo>
                  <a:pt x="1145999" y="3185932"/>
                  <a:pt x="1122051" y="3189224"/>
                  <a:pt x="1098129" y="3192005"/>
                </a:cubicBezTo>
                <a:cubicBezTo>
                  <a:pt x="1074162" y="3194791"/>
                  <a:pt x="1050013" y="3195993"/>
                  <a:pt x="1025959" y="3198069"/>
                </a:cubicBezTo>
                <a:cubicBezTo>
                  <a:pt x="1007015" y="3199703"/>
                  <a:pt x="988093" y="3201610"/>
                  <a:pt x="969161" y="3203391"/>
                </a:cubicBezTo>
                <a:cubicBezTo>
                  <a:pt x="968232" y="3203478"/>
                  <a:pt x="967299" y="3203552"/>
                  <a:pt x="966367" y="3203587"/>
                </a:cubicBezTo>
                <a:cubicBezTo>
                  <a:pt x="941242" y="3204545"/>
                  <a:pt x="916121" y="3205640"/>
                  <a:pt x="890991" y="3206415"/>
                </a:cubicBezTo>
                <a:cubicBezTo>
                  <a:pt x="856053" y="3207494"/>
                  <a:pt x="820973" y="3206720"/>
                  <a:pt x="786197" y="3209641"/>
                </a:cubicBezTo>
                <a:cubicBezTo>
                  <a:pt x="730188" y="3214346"/>
                  <a:pt x="674133" y="3212833"/>
                  <a:pt x="618254" y="3211234"/>
                </a:cubicBezTo>
                <a:cubicBezTo>
                  <a:pt x="580962" y="3210166"/>
                  <a:pt x="543663" y="3210429"/>
                  <a:pt x="506392" y="3209195"/>
                </a:cubicBezTo>
                <a:cubicBezTo>
                  <a:pt x="485466" y="3208502"/>
                  <a:pt x="464553" y="3207412"/>
                  <a:pt x="443638" y="3206415"/>
                </a:cubicBezTo>
                <a:cubicBezTo>
                  <a:pt x="425522" y="3205552"/>
                  <a:pt x="407401" y="3204739"/>
                  <a:pt x="389301" y="3203597"/>
                </a:cubicBezTo>
                <a:cubicBezTo>
                  <a:pt x="361481" y="3201842"/>
                  <a:pt x="333617" y="3200446"/>
                  <a:pt x="305884" y="3197747"/>
                </a:cubicBezTo>
                <a:cubicBezTo>
                  <a:pt x="275907" y="3194830"/>
                  <a:pt x="246063" y="3190549"/>
                  <a:pt x="216151" y="3186940"/>
                </a:cubicBezTo>
                <a:cubicBezTo>
                  <a:pt x="191288" y="3183939"/>
                  <a:pt x="166206" y="3182205"/>
                  <a:pt x="141593" y="3177824"/>
                </a:cubicBezTo>
                <a:cubicBezTo>
                  <a:pt x="109171" y="3172054"/>
                  <a:pt x="77055" y="3164497"/>
                  <a:pt x="44929" y="3157176"/>
                </a:cubicBezTo>
                <a:cubicBezTo>
                  <a:pt x="33156" y="3154493"/>
                  <a:pt x="21711" y="3150349"/>
                  <a:pt x="10154" y="3146750"/>
                </a:cubicBezTo>
                <a:cubicBezTo>
                  <a:pt x="3067" y="3144544"/>
                  <a:pt x="-715" y="3140051"/>
                  <a:pt x="112" y="3132149"/>
                </a:cubicBezTo>
                <a:cubicBezTo>
                  <a:pt x="1898" y="3115092"/>
                  <a:pt x="2952" y="3097941"/>
                  <a:pt x="5263" y="3080960"/>
                </a:cubicBezTo>
                <a:cubicBezTo>
                  <a:pt x="7512" y="3064431"/>
                  <a:pt x="11458" y="3048135"/>
                  <a:pt x="13758" y="3031612"/>
                </a:cubicBezTo>
                <a:cubicBezTo>
                  <a:pt x="17373" y="3005647"/>
                  <a:pt x="28643" y="2982695"/>
                  <a:pt x="40996" y="2960204"/>
                </a:cubicBezTo>
                <a:cubicBezTo>
                  <a:pt x="43921" y="2954879"/>
                  <a:pt x="44978" y="2950688"/>
                  <a:pt x="43510" y="2944616"/>
                </a:cubicBezTo>
                <a:cubicBezTo>
                  <a:pt x="38022" y="2921926"/>
                  <a:pt x="34351" y="2898766"/>
                  <a:pt x="36916" y="2875457"/>
                </a:cubicBezTo>
                <a:cubicBezTo>
                  <a:pt x="38685" y="2859391"/>
                  <a:pt x="42237" y="2843358"/>
                  <a:pt x="46646" y="2827778"/>
                </a:cubicBezTo>
                <a:cubicBezTo>
                  <a:pt x="58040" y="2787514"/>
                  <a:pt x="79014" y="2752619"/>
                  <a:pt x="108895" y="2723307"/>
                </a:cubicBezTo>
                <a:cubicBezTo>
                  <a:pt x="135212" y="2697491"/>
                  <a:pt x="162086" y="2672243"/>
                  <a:pt x="188375" y="2646399"/>
                </a:cubicBezTo>
                <a:cubicBezTo>
                  <a:pt x="199778" y="2635188"/>
                  <a:pt x="207849" y="2622209"/>
                  <a:pt x="211535" y="2605867"/>
                </a:cubicBezTo>
                <a:cubicBezTo>
                  <a:pt x="214510" y="2592678"/>
                  <a:pt x="211592" y="2582100"/>
                  <a:pt x="205182" y="2571418"/>
                </a:cubicBezTo>
                <a:cubicBezTo>
                  <a:pt x="202318" y="2566645"/>
                  <a:pt x="198777" y="2562163"/>
                  <a:pt x="196651" y="2557085"/>
                </a:cubicBezTo>
                <a:cubicBezTo>
                  <a:pt x="190347" y="2542031"/>
                  <a:pt x="194717" y="2529077"/>
                  <a:pt x="209021" y="2521560"/>
                </a:cubicBezTo>
                <a:cubicBezTo>
                  <a:pt x="220978" y="2515277"/>
                  <a:pt x="233317" y="2509655"/>
                  <a:pt x="245764" y="2504395"/>
                </a:cubicBezTo>
                <a:cubicBezTo>
                  <a:pt x="254856" y="2500554"/>
                  <a:pt x="261020" y="2495272"/>
                  <a:pt x="263769" y="2485128"/>
                </a:cubicBezTo>
                <a:cubicBezTo>
                  <a:pt x="275569" y="2441581"/>
                  <a:pt x="288425" y="2398319"/>
                  <a:pt x="300045" y="2354726"/>
                </a:cubicBezTo>
                <a:cubicBezTo>
                  <a:pt x="309381" y="2319703"/>
                  <a:pt x="318110" y="2284492"/>
                  <a:pt x="326003" y="2249117"/>
                </a:cubicBezTo>
                <a:cubicBezTo>
                  <a:pt x="337625" y="2197029"/>
                  <a:pt x="348457" y="2144762"/>
                  <a:pt x="359250" y="2092493"/>
                </a:cubicBezTo>
                <a:cubicBezTo>
                  <a:pt x="365909" y="2060243"/>
                  <a:pt x="372293" y="2027924"/>
                  <a:pt x="378011" y="1995496"/>
                </a:cubicBezTo>
                <a:cubicBezTo>
                  <a:pt x="382679" y="1969018"/>
                  <a:pt x="386061" y="1942315"/>
                  <a:pt x="390230" y="1915745"/>
                </a:cubicBezTo>
                <a:cubicBezTo>
                  <a:pt x="393606" y="1894227"/>
                  <a:pt x="397846" y="1872831"/>
                  <a:pt x="400702" y="1851249"/>
                </a:cubicBezTo>
                <a:cubicBezTo>
                  <a:pt x="403440" y="1830558"/>
                  <a:pt x="404754" y="1809683"/>
                  <a:pt x="406954" y="1788916"/>
                </a:cubicBezTo>
                <a:cubicBezTo>
                  <a:pt x="408419" y="1775096"/>
                  <a:pt x="410485" y="1761340"/>
                  <a:pt x="412016" y="1747526"/>
                </a:cubicBezTo>
                <a:cubicBezTo>
                  <a:pt x="413295" y="1735991"/>
                  <a:pt x="414503" y="1724431"/>
                  <a:pt x="415185" y="1712850"/>
                </a:cubicBezTo>
                <a:cubicBezTo>
                  <a:pt x="416387" y="1692414"/>
                  <a:pt x="416884" y="1671935"/>
                  <a:pt x="418197" y="1651507"/>
                </a:cubicBezTo>
                <a:cubicBezTo>
                  <a:pt x="419655" y="1628814"/>
                  <a:pt x="422378" y="1606186"/>
                  <a:pt x="423324" y="1583479"/>
                </a:cubicBezTo>
                <a:cubicBezTo>
                  <a:pt x="424797" y="1548109"/>
                  <a:pt x="425243" y="1512695"/>
                  <a:pt x="426059" y="1477299"/>
                </a:cubicBezTo>
                <a:cubicBezTo>
                  <a:pt x="426077" y="1476493"/>
                  <a:pt x="425310" y="1475668"/>
                  <a:pt x="424204" y="1473415"/>
                </a:cubicBezTo>
                <a:cubicBezTo>
                  <a:pt x="413635" y="1472358"/>
                  <a:pt x="402157" y="1471516"/>
                  <a:pt x="390769" y="1470003"/>
                </a:cubicBezTo>
                <a:cubicBezTo>
                  <a:pt x="369635" y="1467195"/>
                  <a:pt x="348419" y="1464707"/>
                  <a:pt x="327487" y="1460760"/>
                </a:cubicBezTo>
                <a:cubicBezTo>
                  <a:pt x="305605" y="1456634"/>
                  <a:pt x="286603" y="1433026"/>
                  <a:pt x="289037" y="1410705"/>
                </a:cubicBezTo>
                <a:cubicBezTo>
                  <a:pt x="290343" y="1398733"/>
                  <a:pt x="289247" y="1386137"/>
                  <a:pt x="292610" y="1374826"/>
                </a:cubicBezTo>
                <a:cubicBezTo>
                  <a:pt x="299584" y="1351367"/>
                  <a:pt x="313866" y="1331810"/>
                  <a:pt x="335365" y="1319956"/>
                </a:cubicBezTo>
                <a:cubicBezTo>
                  <a:pt x="349736" y="1312032"/>
                  <a:pt x="355513" y="1300196"/>
                  <a:pt x="358966" y="1286091"/>
                </a:cubicBezTo>
                <a:cubicBezTo>
                  <a:pt x="363751" y="1266546"/>
                  <a:pt x="376163" y="1252003"/>
                  <a:pt x="390267" y="1239202"/>
                </a:cubicBezTo>
                <a:cubicBezTo>
                  <a:pt x="404675" y="1226125"/>
                  <a:pt x="421167" y="1215364"/>
                  <a:pt x="435898" y="1202610"/>
                </a:cubicBezTo>
                <a:cubicBezTo>
                  <a:pt x="439929" y="1199120"/>
                  <a:pt x="441515" y="1192282"/>
                  <a:pt x="443089" y="1186662"/>
                </a:cubicBezTo>
                <a:cubicBezTo>
                  <a:pt x="444184" y="1182756"/>
                  <a:pt x="443471" y="1178302"/>
                  <a:pt x="443336" y="1174100"/>
                </a:cubicBezTo>
                <a:cubicBezTo>
                  <a:pt x="443002" y="1163708"/>
                  <a:pt x="442564" y="1164032"/>
                  <a:pt x="432713" y="1161284"/>
                </a:cubicBezTo>
                <a:cubicBezTo>
                  <a:pt x="423812" y="1158801"/>
                  <a:pt x="415102" y="1155322"/>
                  <a:pt x="406712" y="1151413"/>
                </a:cubicBezTo>
                <a:cubicBezTo>
                  <a:pt x="398571" y="1147621"/>
                  <a:pt x="396617" y="1143812"/>
                  <a:pt x="399212" y="1135845"/>
                </a:cubicBezTo>
                <a:cubicBezTo>
                  <a:pt x="401786" y="1127943"/>
                  <a:pt x="404616" y="1119485"/>
                  <a:pt x="409719" y="1113213"/>
                </a:cubicBezTo>
                <a:cubicBezTo>
                  <a:pt x="415540" y="1106060"/>
                  <a:pt x="416443" y="1098866"/>
                  <a:pt x="414650" y="1091062"/>
                </a:cubicBezTo>
                <a:cubicBezTo>
                  <a:pt x="410906" y="1074773"/>
                  <a:pt x="407015" y="1058465"/>
                  <a:pt x="402048" y="1042520"/>
                </a:cubicBezTo>
                <a:cubicBezTo>
                  <a:pt x="390546" y="1005592"/>
                  <a:pt x="378091" y="968962"/>
                  <a:pt x="366526" y="932054"/>
                </a:cubicBezTo>
                <a:cubicBezTo>
                  <a:pt x="345804" y="865923"/>
                  <a:pt x="325665" y="799609"/>
                  <a:pt x="304855" y="733506"/>
                </a:cubicBezTo>
                <a:cubicBezTo>
                  <a:pt x="294926" y="701966"/>
                  <a:pt x="283362" y="670934"/>
                  <a:pt x="273722" y="639312"/>
                </a:cubicBezTo>
                <a:cubicBezTo>
                  <a:pt x="262471" y="602404"/>
                  <a:pt x="251509" y="565342"/>
                  <a:pt x="242525" y="527843"/>
                </a:cubicBezTo>
                <a:cubicBezTo>
                  <a:pt x="239293" y="514353"/>
                  <a:pt x="237774" y="498828"/>
                  <a:pt x="245838" y="485521"/>
                </a:cubicBezTo>
                <a:cubicBezTo>
                  <a:pt x="248810" y="480617"/>
                  <a:pt x="253278" y="475342"/>
                  <a:pt x="258319" y="473233"/>
                </a:cubicBezTo>
                <a:cubicBezTo>
                  <a:pt x="268936" y="468788"/>
                  <a:pt x="280185" y="464871"/>
                  <a:pt x="291527" y="463336"/>
                </a:cubicBezTo>
                <a:cubicBezTo>
                  <a:pt x="318626" y="459667"/>
                  <a:pt x="345903" y="457192"/>
                  <a:pt x="373160" y="454842"/>
                </a:cubicBezTo>
                <a:cubicBezTo>
                  <a:pt x="391221" y="453285"/>
                  <a:pt x="409382" y="452934"/>
                  <a:pt x="427480" y="451758"/>
                </a:cubicBezTo>
                <a:cubicBezTo>
                  <a:pt x="444131" y="450676"/>
                  <a:pt x="460757" y="449212"/>
                  <a:pt x="477998" y="447870"/>
                </a:cubicBezTo>
                <a:cubicBezTo>
                  <a:pt x="478532" y="446298"/>
                  <a:pt x="479654" y="444590"/>
                  <a:pt x="479585" y="442932"/>
                </a:cubicBezTo>
                <a:cubicBezTo>
                  <a:pt x="479223" y="434201"/>
                  <a:pt x="480208" y="426475"/>
                  <a:pt x="488907" y="421401"/>
                </a:cubicBezTo>
                <a:cubicBezTo>
                  <a:pt x="493200" y="418897"/>
                  <a:pt x="494755" y="414446"/>
                  <a:pt x="492315" y="409196"/>
                </a:cubicBezTo>
                <a:cubicBezTo>
                  <a:pt x="489226" y="402552"/>
                  <a:pt x="492501" y="398939"/>
                  <a:pt x="498582" y="396231"/>
                </a:cubicBezTo>
                <a:cubicBezTo>
                  <a:pt x="513139" y="389749"/>
                  <a:pt x="523218" y="378073"/>
                  <a:pt x="531424" y="365066"/>
                </a:cubicBezTo>
                <a:cubicBezTo>
                  <a:pt x="543844" y="345378"/>
                  <a:pt x="555388" y="325136"/>
                  <a:pt x="567201" y="305069"/>
                </a:cubicBezTo>
                <a:cubicBezTo>
                  <a:pt x="571692" y="297440"/>
                  <a:pt x="576215" y="289801"/>
                  <a:pt x="580157" y="281885"/>
                </a:cubicBezTo>
                <a:cubicBezTo>
                  <a:pt x="585924" y="270307"/>
                  <a:pt x="585466" y="269028"/>
                  <a:pt x="575177" y="258759"/>
                </a:cubicBezTo>
                <a:cubicBezTo>
                  <a:pt x="540669" y="263385"/>
                  <a:pt x="508449" y="279582"/>
                  <a:pt x="472048" y="283266"/>
                </a:cubicBezTo>
                <a:cubicBezTo>
                  <a:pt x="468926" y="225961"/>
                  <a:pt x="477230" y="170326"/>
                  <a:pt x="473659" y="112243"/>
                </a:cubicBezTo>
                <a:cubicBezTo>
                  <a:pt x="479647" y="113333"/>
                  <a:pt x="483524" y="113631"/>
                  <a:pt x="487139" y="114763"/>
                </a:cubicBezTo>
                <a:cubicBezTo>
                  <a:pt x="514644" y="123375"/>
                  <a:pt x="541992" y="132503"/>
                  <a:pt x="569608" y="140735"/>
                </a:cubicBezTo>
                <a:cubicBezTo>
                  <a:pt x="584612" y="145208"/>
                  <a:pt x="590199" y="139652"/>
                  <a:pt x="585180" y="124742"/>
                </a:cubicBezTo>
                <a:cubicBezTo>
                  <a:pt x="578949" y="106227"/>
                  <a:pt x="571109" y="88251"/>
                  <a:pt x="563868" y="70080"/>
                </a:cubicBezTo>
                <a:cubicBezTo>
                  <a:pt x="558214" y="55891"/>
                  <a:pt x="552416" y="41758"/>
                  <a:pt x="546041" y="26021"/>
                </a:cubicBezTo>
                <a:cubicBezTo>
                  <a:pt x="554662" y="23284"/>
                  <a:pt x="561452" y="20680"/>
                  <a:pt x="568462" y="18986"/>
                </a:cubicBezTo>
                <a:cubicBezTo>
                  <a:pt x="591481" y="13422"/>
                  <a:pt x="614656" y="8495"/>
                  <a:pt x="637623" y="2731"/>
                </a:cubicBezTo>
                <a:cubicBezTo>
                  <a:pt x="656287" y="-1953"/>
                  <a:pt x="674559" y="-81"/>
                  <a:pt x="692817" y="4346"/>
                </a:cubicBezTo>
                <a:cubicBezTo>
                  <a:pt x="714944" y="9710"/>
                  <a:pt x="737021" y="15284"/>
                  <a:pt x="759126" y="20739"/>
                </a:cubicBezTo>
                <a:cubicBezTo>
                  <a:pt x="763594" y="21842"/>
                  <a:pt x="768092" y="22819"/>
                  <a:pt x="774460" y="24289"/>
                </a:cubicBezTo>
                <a:cubicBezTo>
                  <a:pt x="766727" y="43585"/>
                  <a:pt x="759317" y="62457"/>
                  <a:pt x="751608" y="81205"/>
                </a:cubicBezTo>
                <a:cubicBezTo>
                  <a:pt x="743947" y="99838"/>
                  <a:pt x="734803" y="117984"/>
                  <a:pt x="731002" y="141135"/>
                </a:cubicBezTo>
                <a:cubicBezTo>
                  <a:pt x="739490" y="139636"/>
                  <a:pt x="744805" y="139073"/>
                  <a:pt x="749917" y="137732"/>
                </a:cubicBezTo>
                <a:cubicBezTo>
                  <a:pt x="778702" y="130182"/>
                  <a:pt x="807436" y="122435"/>
                  <a:pt x="836197" y="114792"/>
                </a:cubicBezTo>
                <a:cubicBezTo>
                  <a:pt x="838352" y="114219"/>
                  <a:pt x="840584" y="113934"/>
                  <a:pt x="843209" y="113433"/>
                </a:cubicBezTo>
                <a:cubicBezTo>
                  <a:pt x="843710" y="115876"/>
                  <a:pt x="844352" y="117648"/>
                  <a:pt x="844400" y="119435"/>
                </a:cubicBezTo>
                <a:cubicBezTo>
                  <a:pt x="845405" y="157181"/>
                  <a:pt x="846208" y="194932"/>
                  <a:pt x="847390" y="232672"/>
                </a:cubicBezTo>
                <a:cubicBezTo>
                  <a:pt x="847695" y="242389"/>
                  <a:pt x="849334" y="252058"/>
                  <a:pt x="850015" y="261773"/>
                </a:cubicBezTo>
                <a:cubicBezTo>
                  <a:pt x="850401" y="267273"/>
                  <a:pt x="850085" y="272822"/>
                  <a:pt x="850085" y="280220"/>
                </a:cubicBezTo>
                <a:cubicBezTo>
                  <a:pt x="837463" y="277293"/>
                  <a:pt x="826347" y="274822"/>
                  <a:pt x="815285" y="272127"/>
                </a:cubicBezTo>
                <a:cubicBezTo>
                  <a:pt x="795873" y="267398"/>
                  <a:pt x="776299" y="263181"/>
                  <a:pt x="757181" y="257455"/>
                </a:cubicBezTo>
                <a:cubicBezTo>
                  <a:pt x="747363" y="254515"/>
                  <a:pt x="739983" y="255620"/>
                  <a:pt x="732939" y="263859"/>
                </a:cubicBezTo>
                <a:cubicBezTo>
                  <a:pt x="735150" y="269003"/>
                  <a:pt x="737509" y="274491"/>
                  <a:pt x="739871" y="279988"/>
                </a:cubicBezTo>
                <a:cubicBezTo>
                  <a:pt x="735196" y="284033"/>
                  <a:pt x="730592" y="288016"/>
                  <a:pt x="725900" y="292074"/>
                </a:cubicBezTo>
                <a:cubicBezTo>
                  <a:pt x="731987" y="302329"/>
                  <a:pt x="739718" y="300546"/>
                  <a:pt x="747132" y="298017"/>
                </a:cubicBezTo>
                <a:cubicBezTo>
                  <a:pt x="758463" y="305429"/>
                  <a:pt x="762190" y="317570"/>
                  <a:pt x="768268" y="327815"/>
                </a:cubicBezTo>
                <a:cubicBezTo>
                  <a:pt x="774924" y="339037"/>
                  <a:pt x="780217" y="351080"/>
                  <a:pt x="785901" y="362862"/>
                </a:cubicBezTo>
                <a:cubicBezTo>
                  <a:pt x="788639" y="368539"/>
                  <a:pt x="792017" y="372441"/>
                  <a:pt x="798627" y="374591"/>
                </a:cubicBezTo>
                <a:cubicBezTo>
                  <a:pt x="809488" y="378123"/>
                  <a:pt x="810054" y="379498"/>
                  <a:pt x="815580" y="387899"/>
                </a:cubicBezTo>
                <a:cubicBezTo>
                  <a:pt x="814864" y="388896"/>
                  <a:pt x="814194" y="390825"/>
                  <a:pt x="813282" y="390947"/>
                </a:cubicBezTo>
                <a:cubicBezTo>
                  <a:pt x="801085" y="392587"/>
                  <a:pt x="788983" y="395969"/>
                  <a:pt x="776501" y="393213"/>
                </a:cubicBezTo>
                <a:cubicBezTo>
                  <a:pt x="752021" y="387807"/>
                  <a:pt x="727631" y="382034"/>
                  <a:pt x="702336" y="381496"/>
                </a:cubicBezTo>
                <a:cubicBezTo>
                  <a:pt x="688886" y="381209"/>
                  <a:pt x="675464" y="379722"/>
                  <a:pt x="662021" y="378921"/>
                </a:cubicBezTo>
                <a:cubicBezTo>
                  <a:pt x="656307" y="378581"/>
                  <a:pt x="651557" y="380270"/>
                  <a:pt x="651111" y="386942"/>
                </a:cubicBezTo>
                <a:cubicBezTo>
                  <a:pt x="649994" y="403641"/>
                  <a:pt x="648739" y="420346"/>
                  <a:pt x="648295" y="437069"/>
                </a:cubicBezTo>
                <a:cubicBezTo>
                  <a:pt x="648034" y="446937"/>
                  <a:pt x="650047" y="448870"/>
                  <a:pt x="659561" y="448907"/>
                </a:cubicBezTo>
                <a:cubicBezTo>
                  <a:pt x="706308" y="449089"/>
                  <a:pt x="753056" y="448964"/>
                  <a:pt x="799805" y="449022"/>
                </a:cubicBezTo>
                <a:cubicBezTo>
                  <a:pt x="806377" y="449030"/>
                  <a:pt x="809905" y="446744"/>
                  <a:pt x="811083" y="439581"/>
                </a:cubicBezTo>
                <a:cubicBezTo>
                  <a:pt x="811941" y="434369"/>
                  <a:pt x="814063" y="427618"/>
                  <a:pt x="817945" y="425008"/>
                </a:cubicBezTo>
                <a:cubicBezTo>
                  <a:pt x="826399" y="419324"/>
                  <a:pt x="828426" y="411596"/>
                  <a:pt x="828609" y="403122"/>
                </a:cubicBezTo>
                <a:cubicBezTo>
                  <a:pt x="833858" y="400461"/>
                  <a:pt x="837181" y="402725"/>
                  <a:pt x="838374" y="406435"/>
                </a:cubicBezTo>
                <a:cubicBezTo>
                  <a:pt x="840905" y="414312"/>
                  <a:pt x="843515" y="422394"/>
                  <a:pt x="844275" y="430561"/>
                </a:cubicBezTo>
                <a:cubicBezTo>
                  <a:pt x="845704" y="445903"/>
                  <a:pt x="850511" y="450005"/>
                  <a:pt x="865761" y="447068"/>
                </a:cubicBezTo>
                <a:cubicBezTo>
                  <a:pt x="872626" y="445746"/>
                  <a:pt x="878915" y="445539"/>
                  <a:pt x="885673" y="449965"/>
                </a:cubicBezTo>
                <a:cubicBezTo>
                  <a:pt x="890708" y="453263"/>
                  <a:pt x="898041" y="453271"/>
                  <a:pt x="904428" y="454230"/>
                </a:cubicBezTo>
                <a:cubicBezTo>
                  <a:pt x="913142" y="455538"/>
                  <a:pt x="921904" y="456741"/>
                  <a:pt x="930689" y="457318"/>
                </a:cubicBezTo>
                <a:cubicBezTo>
                  <a:pt x="967829" y="459759"/>
                  <a:pt x="1003019" y="469066"/>
                  <a:pt x="1036296" y="485877"/>
                </a:cubicBezTo>
                <a:cubicBezTo>
                  <a:pt x="1057129" y="496401"/>
                  <a:pt x="1071673" y="512633"/>
                  <a:pt x="1076027" y="535212"/>
                </a:cubicBezTo>
                <a:cubicBezTo>
                  <a:pt x="1078694" y="549043"/>
                  <a:pt x="1078298" y="564366"/>
                  <a:pt x="1075403" y="578208"/>
                </a:cubicBezTo>
                <a:cubicBezTo>
                  <a:pt x="1064597" y="629873"/>
                  <a:pt x="1044688" y="678854"/>
                  <a:pt x="1028317" y="728867"/>
                </a:cubicBezTo>
                <a:cubicBezTo>
                  <a:pt x="1014112" y="772262"/>
                  <a:pt x="998310" y="815132"/>
                  <a:pt x="983498" y="858331"/>
                </a:cubicBezTo>
                <a:cubicBezTo>
                  <a:pt x="971714" y="892697"/>
                  <a:pt x="959865" y="927055"/>
                  <a:pt x="948940" y="961698"/>
                </a:cubicBezTo>
                <a:cubicBezTo>
                  <a:pt x="935780" y="1003426"/>
                  <a:pt x="923502" y="1045433"/>
                  <a:pt x="911066" y="1087385"/>
                </a:cubicBezTo>
                <a:cubicBezTo>
                  <a:pt x="910087" y="1090688"/>
                  <a:pt x="910738" y="1094511"/>
                  <a:pt x="910828" y="1098086"/>
                </a:cubicBezTo>
                <a:cubicBezTo>
                  <a:pt x="911096" y="1108800"/>
                  <a:pt x="911984" y="1119535"/>
                  <a:pt x="911498" y="1130209"/>
                </a:cubicBezTo>
                <a:cubicBezTo>
                  <a:pt x="911333" y="1133841"/>
                  <a:pt x="908325" y="1137771"/>
                  <a:pt x="905716" y="1140786"/>
                </a:cubicBezTo>
                <a:cubicBezTo>
                  <a:pt x="896689" y="1151217"/>
                  <a:pt x="895625" y="1160669"/>
                  <a:pt x="904041" y="1171694"/>
                </a:cubicBezTo>
                <a:cubicBezTo>
                  <a:pt x="912211" y="1182398"/>
                  <a:pt x="921368" y="1192341"/>
                  <a:pt x="929797" y="1202854"/>
                </a:cubicBezTo>
                <a:cubicBezTo>
                  <a:pt x="945705" y="1222696"/>
                  <a:pt x="952969" y="1246039"/>
                  <a:pt x="956714" y="1270749"/>
                </a:cubicBezTo>
                <a:cubicBezTo>
                  <a:pt x="957687" y="1277170"/>
                  <a:pt x="957779" y="1283963"/>
                  <a:pt x="960074" y="1289888"/>
                </a:cubicBezTo>
                <a:cubicBezTo>
                  <a:pt x="963075" y="1297631"/>
                  <a:pt x="967750" y="1304358"/>
                  <a:pt x="975795" y="1308746"/>
                </a:cubicBezTo>
                <a:cubicBezTo>
                  <a:pt x="985143" y="1313846"/>
                  <a:pt x="994116" y="1319926"/>
                  <a:pt x="1002397" y="1326635"/>
                </a:cubicBezTo>
                <a:cubicBezTo>
                  <a:pt x="1030424" y="1349343"/>
                  <a:pt x="1038408" y="1401530"/>
                  <a:pt x="1018686" y="1435905"/>
                </a:cubicBezTo>
                <a:cubicBezTo>
                  <a:pt x="1013500" y="1444943"/>
                  <a:pt x="1005098" y="1450152"/>
                  <a:pt x="996257" y="1454107"/>
                </a:cubicBezTo>
                <a:cubicBezTo>
                  <a:pt x="988281" y="1457674"/>
                  <a:pt x="979503" y="1460398"/>
                  <a:pt x="970849" y="1461303"/>
                </a:cubicBezTo>
                <a:cubicBezTo>
                  <a:pt x="953296" y="1463139"/>
                  <a:pt x="935587" y="1463487"/>
                  <a:pt x="917943" y="1464461"/>
                </a:cubicBezTo>
                <a:cubicBezTo>
                  <a:pt x="913762" y="1464691"/>
                  <a:pt x="909478" y="1464482"/>
                  <a:pt x="905433" y="1465358"/>
                </a:cubicBezTo>
                <a:cubicBezTo>
                  <a:pt x="901150" y="1466287"/>
                  <a:pt x="897709" y="1468792"/>
                  <a:pt x="897863" y="1474014"/>
                </a:cubicBezTo>
                <a:cubicBezTo>
                  <a:pt x="897877" y="1474480"/>
                  <a:pt x="897822" y="1474948"/>
                  <a:pt x="897812" y="1475415"/>
                </a:cubicBezTo>
                <a:cubicBezTo>
                  <a:pt x="897511" y="1490282"/>
                  <a:pt x="898056" y="1504999"/>
                  <a:pt x="895549" y="1519988"/>
                </a:cubicBezTo>
                <a:cubicBezTo>
                  <a:pt x="893039" y="1534995"/>
                  <a:pt x="894597" y="1550763"/>
                  <a:pt x="895093" y="1566174"/>
                </a:cubicBezTo>
                <a:cubicBezTo>
                  <a:pt x="895841" y="1589420"/>
                  <a:pt x="897215" y="1612646"/>
                  <a:pt x="898754" y="1637125"/>
                </a:cubicBezTo>
                <a:moveTo>
                  <a:pt x="654604" y="2329281"/>
                </a:moveTo>
                <a:cubicBezTo>
                  <a:pt x="652015" y="2310116"/>
                  <a:pt x="655822" y="2290495"/>
                  <a:pt x="650429" y="2271391"/>
                </a:cubicBezTo>
                <a:cubicBezTo>
                  <a:pt x="648307" y="2277580"/>
                  <a:pt x="648156" y="2283761"/>
                  <a:pt x="648148" y="2289942"/>
                </a:cubicBezTo>
                <a:cubicBezTo>
                  <a:pt x="648117" y="2315944"/>
                  <a:pt x="648093" y="2341946"/>
                  <a:pt x="648156" y="2367948"/>
                </a:cubicBezTo>
                <a:cubicBezTo>
                  <a:pt x="648168" y="2372820"/>
                  <a:pt x="646633" y="2378876"/>
                  <a:pt x="655577" y="2381454"/>
                </a:cubicBezTo>
                <a:cubicBezTo>
                  <a:pt x="655560" y="2389285"/>
                  <a:pt x="655756" y="2397123"/>
                  <a:pt x="655485" y="2404945"/>
                </a:cubicBezTo>
                <a:cubicBezTo>
                  <a:pt x="654880" y="2422378"/>
                  <a:pt x="654042" y="2439804"/>
                  <a:pt x="651805" y="2455510"/>
                </a:cubicBezTo>
                <a:cubicBezTo>
                  <a:pt x="651527" y="2435450"/>
                  <a:pt x="651319" y="2415390"/>
                  <a:pt x="650902" y="2395333"/>
                </a:cubicBezTo>
                <a:cubicBezTo>
                  <a:pt x="650837" y="2392220"/>
                  <a:pt x="649823" y="2389127"/>
                  <a:pt x="649248" y="2386025"/>
                </a:cubicBezTo>
                <a:cubicBezTo>
                  <a:pt x="647943" y="2386187"/>
                  <a:pt x="646638" y="2386350"/>
                  <a:pt x="645333" y="2386512"/>
                </a:cubicBezTo>
                <a:cubicBezTo>
                  <a:pt x="645333" y="2390961"/>
                  <a:pt x="645334" y="2395409"/>
                  <a:pt x="645333" y="2399858"/>
                </a:cubicBezTo>
                <a:cubicBezTo>
                  <a:pt x="645326" y="2423694"/>
                  <a:pt x="645418" y="2447532"/>
                  <a:pt x="645232" y="2471367"/>
                </a:cubicBezTo>
                <a:cubicBezTo>
                  <a:pt x="645193" y="2476432"/>
                  <a:pt x="644504" y="2481563"/>
                  <a:pt x="643489" y="2486535"/>
                </a:cubicBezTo>
                <a:cubicBezTo>
                  <a:pt x="639304" y="2507036"/>
                  <a:pt x="642157" y="2510950"/>
                  <a:pt x="662548" y="2510760"/>
                </a:cubicBezTo>
                <a:cubicBezTo>
                  <a:pt x="755908" y="2509888"/>
                  <a:pt x="849266" y="2508878"/>
                  <a:pt x="942625" y="2507990"/>
                </a:cubicBezTo>
                <a:cubicBezTo>
                  <a:pt x="960852" y="2507816"/>
                  <a:pt x="979082" y="2508002"/>
                  <a:pt x="997309" y="2507928"/>
                </a:cubicBezTo>
                <a:cubicBezTo>
                  <a:pt x="1001871" y="2507910"/>
                  <a:pt x="1006430" y="2507531"/>
                  <a:pt x="1012693" y="2507237"/>
                </a:cubicBezTo>
                <a:cubicBezTo>
                  <a:pt x="1012056" y="2501789"/>
                  <a:pt x="1012084" y="2497264"/>
                  <a:pt x="1010948" y="2493054"/>
                </a:cubicBezTo>
                <a:cubicBezTo>
                  <a:pt x="1001379" y="2457588"/>
                  <a:pt x="991103" y="2422306"/>
                  <a:pt x="982017" y="2386719"/>
                </a:cubicBezTo>
                <a:cubicBezTo>
                  <a:pt x="972598" y="2349832"/>
                  <a:pt x="963965" y="2312735"/>
                  <a:pt x="955543" y="2275604"/>
                </a:cubicBezTo>
                <a:cubicBezTo>
                  <a:pt x="944249" y="2225808"/>
                  <a:pt x="933022" y="2175988"/>
                  <a:pt x="922638" y="2125997"/>
                </a:cubicBezTo>
                <a:cubicBezTo>
                  <a:pt x="913587" y="2082421"/>
                  <a:pt x="905382" y="2038659"/>
                  <a:pt x="897474" y="1994858"/>
                </a:cubicBezTo>
                <a:cubicBezTo>
                  <a:pt x="890476" y="1956093"/>
                  <a:pt x="883980" y="1917224"/>
                  <a:pt x="878061" y="1878280"/>
                </a:cubicBezTo>
                <a:cubicBezTo>
                  <a:pt x="873675" y="1849428"/>
                  <a:pt x="870415" y="1820399"/>
                  <a:pt x="866965" y="1791411"/>
                </a:cubicBezTo>
                <a:cubicBezTo>
                  <a:pt x="865539" y="1779434"/>
                  <a:pt x="865114" y="1767342"/>
                  <a:pt x="863902" y="1755335"/>
                </a:cubicBezTo>
                <a:cubicBezTo>
                  <a:pt x="861296" y="1729506"/>
                  <a:pt x="857509" y="1703754"/>
                  <a:pt x="855983" y="1677866"/>
                </a:cubicBezTo>
                <a:cubicBezTo>
                  <a:pt x="854037" y="1644859"/>
                  <a:pt x="853904" y="1611748"/>
                  <a:pt x="852873" y="1578685"/>
                </a:cubicBezTo>
                <a:cubicBezTo>
                  <a:pt x="852423" y="1564271"/>
                  <a:pt x="849465" y="1549523"/>
                  <a:pt x="851635" y="1535546"/>
                </a:cubicBezTo>
                <a:cubicBezTo>
                  <a:pt x="854359" y="1517991"/>
                  <a:pt x="850206" y="1501278"/>
                  <a:pt x="850039" y="1484182"/>
                </a:cubicBezTo>
                <a:cubicBezTo>
                  <a:pt x="850005" y="1480667"/>
                  <a:pt x="849101" y="1477161"/>
                  <a:pt x="848486" y="1472876"/>
                </a:cubicBezTo>
                <a:cubicBezTo>
                  <a:pt x="842279" y="1472876"/>
                  <a:pt x="837173" y="1472798"/>
                  <a:pt x="832070" y="1472888"/>
                </a:cubicBezTo>
                <a:cubicBezTo>
                  <a:pt x="780308" y="1473806"/>
                  <a:pt x="728546" y="1474749"/>
                  <a:pt x="676784" y="1475691"/>
                </a:cubicBezTo>
                <a:cubicBezTo>
                  <a:pt x="663422" y="1475935"/>
                  <a:pt x="662442" y="1476899"/>
                  <a:pt x="662172" y="1490031"/>
                </a:cubicBezTo>
                <a:cubicBezTo>
                  <a:pt x="662124" y="1492367"/>
                  <a:pt x="662222" y="1494706"/>
                  <a:pt x="662153" y="1497041"/>
                </a:cubicBezTo>
                <a:cubicBezTo>
                  <a:pt x="660720" y="1545521"/>
                  <a:pt x="663794" y="1593996"/>
                  <a:pt x="659832" y="1642548"/>
                </a:cubicBezTo>
                <a:cubicBezTo>
                  <a:pt x="656616" y="1681972"/>
                  <a:pt x="657530" y="1721730"/>
                  <a:pt x="656544" y="1761338"/>
                </a:cubicBezTo>
                <a:cubicBezTo>
                  <a:pt x="655035" y="1821971"/>
                  <a:pt x="657667" y="1882583"/>
                  <a:pt x="654344" y="1943296"/>
                </a:cubicBezTo>
                <a:cubicBezTo>
                  <a:pt x="650802" y="2008002"/>
                  <a:pt x="651715" y="2072959"/>
                  <a:pt x="651002" y="2137811"/>
                </a:cubicBezTo>
                <a:cubicBezTo>
                  <a:pt x="650627" y="2171926"/>
                  <a:pt x="650929" y="2206049"/>
                  <a:pt x="650933" y="2240168"/>
                </a:cubicBezTo>
                <a:cubicBezTo>
                  <a:pt x="650933" y="2243439"/>
                  <a:pt x="650161" y="2247032"/>
                  <a:pt x="651273" y="2249880"/>
                </a:cubicBezTo>
                <a:cubicBezTo>
                  <a:pt x="652187" y="2252220"/>
                  <a:pt x="655368" y="2253675"/>
                  <a:pt x="658332" y="2258024"/>
                </a:cubicBezTo>
                <a:cubicBezTo>
                  <a:pt x="657587" y="2282352"/>
                  <a:pt x="656842" y="2306679"/>
                  <a:pt x="654604" y="2329281"/>
                </a:cubicBezTo>
                <a:moveTo>
                  <a:pt x="999154" y="2930680"/>
                </a:moveTo>
                <a:cubicBezTo>
                  <a:pt x="1074430" y="2924379"/>
                  <a:pt x="1149252" y="2914341"/>
                  <a:pt x="1224400" y="2904672"/>
                </a:cubicBezTo>
                <a:cubicBezTo>
                  <a:pt x="1224983" y="2900287"/>
                  <a:pt x="1225723" y="2897124"/>
                  <a:pt x="1225778" y="2893948"/>
                </a:cubicBezTo>
                <a:cubicBezTo>
                  <a:pt x="1226437" y="2856188"/>
                  <a:pt x="1218943" y="2820187"/>
                  <a:pt x="1197990" y="2788499"/>
                </a:cubicBezTo>
                <a:cubicBezTo>
                  <a:pt x="1185967" y="2770315"/>
                  <a:pt x="1171427" y="2753616"/>
                  <a:pt x="1156721" y="2737429"/>
                </a:cubicBezTo>
                <a:cubicBezTo>
                  <a:pt x="1137254" y="2716002"/>
                  <a:pt x="1115793" y="2696376"/>
                  <a:pt x="1096512" y="2674794"/>
                </a:cubicBezTo>
                <a:cubicBezTo>
                  <a:pt x="1073694" y="2649251"/>
                  <a:pt x="1056484" y="2620624"/>
                  <a:pt x="1056842" y="2584575"/>
                </a:cubicBezTo>
                <a:cubicBezTo>
                  <a:pt x="1056854" y="2583302"/>
                  <a:pt x="1056015" y="2582020"/>
                  <a:pt x="1055233" y="2579758"/>
                </a:cubicBezTo>
                <a:cubicBezTo>
                  <a:pt x="1042855" y="2580471"/>
                  <a:pt x="1030372" y="2580868"/>
                  <a:pt x="1017950" y="2581956"/>
                </a:cubicBezTo>
                <a:cubicBezTo>
                  <a:pt x="940684" y="2588728"/>
                  <a:pt x="863326" y="2593894"/>
                  <a:pt x="785764" y="2595473"/>
                </a:cubicBezTo>
                <a:cubicBezTo>
                  <a:pt x="745592" y="2596290"/>
                  <a:pt x="705413" y="2596778"/>
                  <a:pt x="665238" y="2597498"/>
                </a:cubicBezTo>
                <a:cubicBezTo>
                  <a:pt x="661698" y="2597562"/>
                  <a:pt x="658168" y="2598244"/>
                  <a:pt x="654332" y="2598673"/>
                </a:cubicBezTo>
                <a:cubicBezTo>
                  <a:pt x="664449" y="2711162"/>
                  <a:pt x="659668" y="2822547"/>
                  <a:pt x="653026" y="2935427"/>
                </a:cubicBezTo>
                <a:cubicBezTo>
                  <a:pt x="768837" y="2937973"/>
                  <a:pt x="882730" y="2939028"/>
                  <a:pt x="999154" y="2930680"/>
                </a:cubicBezTo>
                <a:moveTo>
                  <a:pt x="947894" y="3022480"/>
                </a:moveTo>
                <a:cubicBezTo>
                  <a:pt x="916629" y="3024040"/>
                  <a:pt x="885376" y="3026565"/>
                  <a:pt x="854096" y="3026952"/>
                </a:cubicBezTo>
                <a:cubicBezTo>
                  <a:pt x="794764" y="3027687"/>
                  <a:pt x="735417" y="3027198"/>
                  <a:pt x="676076" y="3027217"/>
                </a:cubicBezTo>
                <a:cubicBezTo>
                  <a:pt x="670121" y="3027219"/>
                  <a:pt x="664166" y="3027217"/>
                  <a:pt x="657155" y="3027217"/>
                </a:cubicBezTo>
                <a:cubicBezTo>
                  <a:pt x="655529" y="3062293"/>
                  <a:pt x="651846" y="3095886"/>
                  <a:pt x="650929" y="3130009"/>
                </a:cubicBezTo>
                <a:cubicBezTo>
                  <a:pt x="656057" y="3130467"/>
                  <a:pt x="659260" y="3130899"/>
                  <a:pt x="662475" y="3131016"/>
                </a:cubicBezTo>
                <a:cubicBezTo>
                  <a:pt x="700300" y="3132391"/>
                  <a:pt x="738118" y="3134111"/>
                  <a:pt x="775955" y="3134982"/>
                </a:cubicBezTo>
                <a:cubicBezTo>
                  <a:pt x="871340" y="3137178"/>
                  <a:pt x="966589" y="3135038"/>
                  <a:pt x="1061598" y="3125377"/>
                </a:cubicBezTo>
                <a:cubicBezTo>
                  <a:pt x="1124889" y="3118941"/>
                  <a:pt x="1187609" y="3109276"/>
                  <a:pt x="1249397" y="3093967"/>
                </a:cubicBezTo>
                <a:cubicBezTo>
                  <a:pt x="1253752" y="3092888"/>
                  <a:pt x="1257981" y="3091298"/>
                  <a:pt x="1262842" y="3089764"/>
                </a:cubicBezTo>
                <a:cubicBezTo>
                  <a:pt x="1259040" y="3062969"/>
                  <a:pt x="1254881" y="3037707"/>
                  <a:pt x="1244253" y="3014005"/>
                </a:cubicBezTo>
                <a:cubicBezTo>
                  <a:pt x="1242547" y="3010201"/>
                  <a:pt x="1239948" y="3006798"/>
                  <a:pt x="1237768" y="3003206"/>
                </a:cubicBezTo>
                <a:cubicBezTo>
                  <a:pt x="1233239" y="2995743"/>
                  <a:pt x="1227131" y="2992138"/>
                  <a:pt x="1217957" y="2993424"/>
                </a:cubicBezTo>
                <a:cubicBezTo>
                  <a:pt x="1199921" y="2995951"/>
                  <a:pt x="1181756" y="2997558"/>
                  <a:pt x="1163725" y="3000119"/>
                </a:cubicBezTo>
                <a:cubicBezTo>
                  <a:pt x="1092925" y="3010176"/>
                  <a:pt x="1021883" y="3017834"/>
                  <a:pt x="947894" y="3022480"/>
                </a:cubicBezTo>
                <a:moveTo>
                  <a:pt x="784197" y="1352777"/>
                </a:moveTo>
                <a:cubicBezTo>
                  <a:pt x="766462" y="1353462"/>
                  <a:pt x="748731" y="1354287"/>
                  <a:pt x="730991" y="1354793"/>
                </a:cubicBezTo>
                <a:cubicBezTo>
                  <a:pt x="712981" y="1355307"/>
                  <a:pt x="694940" y="1355183"/>
                  <a:pt x="676320" y="1356902"/>
                </a:cubicBezTo>
                <a:cubicBezTo>
                  <a:pt x="674799" y="1378289"/>
                  <a:pt x="673393" y="1398039"/>
                  <a:pt x="671906" y="1418933"/>
                </a:cubicBezTo>
                <a:cubicBezTo>
                  <a:pt x="677552" y="1418933"/>
                  <a:pt x="681678" y="1419046"/>
                  <a:pt x="685797" y="1418917"/>
                </a:cubicBezTo>
                <a:cubicBezTo>
                  <a:pt x="774966" y="1416107"/>
                  <a:pt x="864134" y="1413293"/>
                  <a:pt x="953300" y="1410383"/>
                </a:cubicBezTo>
                <a:cubicBezTo>
                  <a:pt x="958412" y="1410216"/>
                  <a:pt x="963542" y="1409471"/>
                  <a:pt x="968586" y="1408564"/>
                </a:cubicBezTo>
                <a:cubicBezTo>
                  <a:pt x="978218" y="1406833"/>
                  <a:pt x="980261" y="1404383"/>
                  <a:pt x="980375" y="1394590"/>
                </a:cubicBezTo>
                <a:cubicBezTo>
                  <a:pt x="980521" y="1382101"/>
                  <a:pt x="976026" y="1371666"/>
                  <a:pt x="965591" y="1364447"/>
                </a:cubicBezTo>
                <a:cubicBezTo>
                  <a:pt x="948967" y="1352947"/>
                  <a:pt x="930599" y="1347277"/>
                  <a:pt x="910211" y="1348103"/>
                </a:cubicBezTo>
                <a:cubicBezTo>
                  <a:pt x="869142" y="1349769"/>
                  <a:pt x="828062" y="1351175"/>
                  <a:pt x="784197" y="1352777"/>
                </a:cubicBezTo>
                <a:moveTo>
                  <a:pt x="648129" y="615881"/>
                </a:moveTo>
                <a:cubicBezTo>
                  <a:pt x="649058" y="632117"/>
                  <a:pt x="650192" y="648345"/>
                  <a:pt x="650869" y="664591"/>
                </a:cubicBezTo>
                <a:cubicBezTo>
                  <a:pt x="652013" y="692034"/>
                  <a:pt x="650274" y="719448"/>
                  <a:pt x="653223" y="746994"/>
                </a:cubicBezTo>
                <a:cubicBezTo>
                  <a:pt x="656187" y="774679"/>
                  <a:pt x="652958" y="802766"/>
                  <a:pt x="656163" y="830737"/>
                </a:cubicBezTo>
                <a:cubicBezTo>
                  <a:pt x="658910" y="854709"/>
                  <a:pt x="656763" y="879007"/>
                  <a:pt x="658740" y="903281"/>
                </a:cubicBezTo>
                <a:cubicBezTo>
                  <a:pt x="661875" y="941767"/>
                  <a:pt x="661060" y="980568"/>
                  <a:pt x="662209" y="1019226"/>
                </a:cubicBezTo>
                <a:cubicBezTo>
                  <a:pt x="662831" y="1040143"/>
                  <a:pt x="663923" y="1061048"/>
                  <a:pt x="665088" y="1081942"/>
                </a:cubicBezTo>
                <a:cubicBezTo>
                  <a:pt x="665498" y="1089302"/>
                  <a:pt x="668166" y="1091025"/>
                  <a:pt x="674628" y="1090643"/>
                </a:cubicBezTo>
                <a:cubicBezTo>
                  <a:pt x="703841" y="1088916"/>
                  <a:pt x="733054" y="1087111"/>
                  <a:pt x="762289" y="1085865"/>
                </a:cubicBezTo>
                <a:cubicBezTo>
                  <a:pt x="792528" y="1084574"/>
                  <a:pt x="822793" y="1083894"/>
                  <a:pt x="853046" y="1082948"/>
                </a:cubicBezTo>
                <a:cubicBezTo>
                  <a:pt x="853513" y="1082934"/>
                  <a:pt x="853981" y="1082919"/>
                  <a:pt x="854448" y="1082924"/>
                </a:cubicBezTo>
                <a:cubicBezTo>
                  <a:pt x="860299" y="1082998"/>
                  <a:pt x="864379" y="1080055"/>
                  <a:pt x="866364" y="1074839"/>
                </a:cubicBezTo>
                <a:cubicBezTo>
                  <a:pt x="874977" y="1052218"/>
                  <a:pt x="883766" y="1029650"/>
                  <a:pt x="891726" y="1006797"/>
                </a:cubicBezTo>
                <a:cubicBezTo>
                  <a:pt x="899510" y="984448"/>
                  <a:pt x="905967" y="961638"/>
                  <a:pt x="913720" y="939278"/>
                </a:cubicBezTo>
                <a:cubicBezTo>
                  <a:pt x="926840" y="901438"/>
                  <a:pt x="940566" y="863808"/>
                  <a:pt x="953952" y="826060"/>
                </a:cubicBezTo>
                <a:cubicBezTo>
                  <a:pt x="965626" y="793139"/>
                  <a:pt x="977165" y="760170"/>
                  <a:pt x="988796" y="727233"/>
                </a:cubicBezTo>
                <a:cubicBezTo>
                  <a:pt x="1004602" y="682474"/>
                  <a:pt x="1020729" y="637825"/>
                  <a:pt x="1036110" y="592920"/>
                </a:cubicBezTo>
                <a:cubicBezTo>
                  <a:pt x="1041693" y="576621"/>
                  <a:pt x="1044731" y="559627"/>
                  <a:pt x="1043677" y="542152"/>
                </a:cubicBezTo>
                <a:cubicBezTo>
                  <a:pt x="1043059" y="531887"/>
                  <a:pt x="1040345" y="522522"/>
                  <a:pt x="1030884" y="517222"/>
                </a:cubicBezTo>
                <a:cubicBezTo>
                  <a:pt x="1024045" y="513391"/>
                  <a:pt x="1016699" y="510004"/>
                  <a:pt x="1009162" y="507963"/>
                </a:cubicBezTo>
                <a:cubicBezTo>
                  <a:pt x="983620" y="501048"/>
                  <a:pt x="957981" y="494740"/>
                  <a:pt x="931266" y="493552"/>
                </a:cubicBezTo>
                <a:cubicBezTo>
                  <a:pt x="914169" y="492791"/>
                  <a:pt x="897177" y="489870"/>
                  <a:pt x="880100" y="488348"/>
                </a:cubicBezTo>
                <a:cubicBezTo>
                  <a:pt x="865298" y="487029"/>
                  <a:pt x="850441" y="486332"/>
                  <a:pt x="835610" y="485330"/>
                </a:cubicBezTo>
                <a:cubicBezTo>
                  <a:pt x="808745" y="483516"/>
                  <a:pt x="781896" y="480471"/>
                  <a:pt x="755014" y="480162"/>
                </a:cubicBezTo>
                <a:cubicBezTo>
                  <a:pt x="722439" y="479789"/>
                  <a:pt x="689836" y="481665"/>
                  <a:pt x="657249" y="482686"/>
                </a:cubicBezTo>
                <a:cubicBezTo>
                  <a:pt x="646583" y="483021"/>
                  <a:pt x="641424" y="489596"/>
                  <a:pt x="643184" y="500211"/>
                </a:cubicBezTo>
                <a:cubicBezTo>
                  <a:pt x="643789" y="503860"/>
                  <a:pt x="645104" y="507461"/>
                  <a:pt x="645220" y="511112"/>
                </a:cubicBezTo>
                <a:cubicBezTo>
                  <a:pt x="646298" y="545100"/>
                  <a:pt x="647185" y="579094"/>
                  <a:pt x="648129" y="615881"/>
                </a:cubicBezTo>
                <a:moveTo>
                  <a:pt x="886495" y="1207714"/>
                </a:moveTo>
                <a:cubicBezTo>
                  <a:pt x="884805" y="1206106"/>
                  <a:pt x="883380" y="1203949"/>
                  <a:pt x="881380" y="1202980"/>
                </a:cubicBezTo>
                <a:cubicBezTo>
                  <a:pt x="869508" y="1197225"/>
                  <a:pt x="866866" y="1186901"/>
                  <a:pt x="866913" y="1175042"/>
                </a:cubicBezTo>
                <a:cubicBezTo>
                  <a:pt x="866937" y="1168979"/>
                  <a:pt x="867225" y="1162853"/>
                  <a:pt x="866482" y="1156869"/>
                </a:cubicBezTo>
                <a:cubicBezTo>
                  <a:pt x="865810" y="1151447"/>
                  <a:pt x="863028" y="1147406"/>
                  <a:pt x="856429" y="1147458"/>
                </a:cubicBezTo>
                <a:cubicBezTo>
                  <a:pt x="834490" y="1147630"/>
                  <a:pt x="812519" y="1146897"/>
                  <a:pt x="790615" y="1147813"/>
                </a:cubicBezTo>
                <a:cubicBezTo>
                  <a:pt x="766540" y="1148819"/>
                  <a:pt x="742532" y="1151353"/>
                  <a:pt x="718484" y="1153058"/>
                </a:cubicBezTo>
                <a:cubicBezTo>
                  <a:pt x="702742" y="1154174"/>
                  <a:pt x="686965" y="1154817"/>
                  <a:pt x="671232" y="1156034"/>
                </a:cubicBezTo>
                <a:cubicBezTo>
                  <a:pt x="662945" y="1156675"/>
                  <a:pt x="661657" y="1159923"/>
                  <a:pt x="664146" y="1168443"/>
                </a:cubicBezTo>
                <a:cubicBezTo>
                  <a:pt x="665938" y="1174575"/>
                  <a:pt x="667544" y="1181027"/>
                  <a:pt x="667611" y="1187354"/>
                </a:cubicBezTo>
                <a:cubicBezTo>
                  <a:pt x="667956" y="1219564"/>
                  <a:pt x="667704" y="1251779"/>
                  <a:pt x="667803" y="1283992"/>
                </a:cubicBezTo>
                <a:cubicBezTo>
                  <a:pt x="667847" y="1297938"/>
                  <a:pt x="668871" y="1299219"/>
                  <a:pt x="683140" y="1298850"/>
                </a:cubicBezTo>
                <a:cubicBezTo>
                  <a:pt x="700774" y="1298393"/>
                  <a:pt x="718378" y="1296854"/>
                  <a:pt x="736011" y="1296220"/>
                </a:cubicBezTo>
                <a:cubicBezTo>
                  <a:pt x="767632" y="1295083"/>
                  <a:pt x="799265" y="1294272"/>
                  <a:pt x="830893" y="1293324"/>
                </a:cubicBezTo>
                <a:cubicBezTo>
                  <a:pt x="831826" y="1293296"/>
                  <a:pt x="832761" y="1293286"/>
                  <a:pt x="833691" y="1293213"/>
                </a:cubicBezTo>
                <a:cubicBezTo>
                  <a:pt x="856797" y="1291390"/>
                  <a:pt x="879886" y="1289299"/>
                  <a:pt x="903014" y="1287831"/>
                </a:cubicBezTo>
                <a:cubicBezTo>
                  <a:pt x="916073" y="1287002"/>
                  <a:pt x="919042" y="1284797"/>
                  <a:pt x="917225" y="1271856"/>
                </a:cubicBezTo>
                <a:cubicBezTo>
                  <a:pt x="913886" y="1248076"/>
                  <a:pt x="908472" y="1225007"/>
                  <a:pt x="886495" y="1207714"/>
                </a:cubicBezTo>
                <a:close/>
              </a:path>
            </a:pathLst>
          </a:custGeom>
          <a:solidFill>
            <a:srgbClr val="CDD9DF"/>
          </a:solidFill>
          <a:ln w="1401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977" name="Free-form: Shape 3976">
            <a:extLst>
              <a:ext uri="{FF2B5EF4-FFF2-40B4-BE49-F238E27FC236}">
                <a16:creationId xmlns:a16="http://schemas.microsoft.com/office/drawing/2014/main" id="{3B25F69D-91DA-2D77-E470-12EAA1339633}"/>
              </a:ext>
            </a:extLst>
          </p:cNvPr>
          <p:cNvSpPr/>
          <p:nvPr/>
        </p:nvSpPr>
        <p:spPr>
          <a:xfrm>
            <a:off x="6900734" y="4133290"/>
            <a:ext cx="74194" cy="29730"/>
          </a:xfrm>
          <a:custGeom>
            <a:avLst/>
            <a:gdLst>
              <a:gd name="csX0" fmla="*/ 94424 w 144688"/>
              <a:gd name="csY0" fmla="*/ 9299 h 52707"/>
              <a:gd name="csX1" fmla="*/ 121261 w 144688"/>
              <a:gd name="csY1" fmla="*/ 16460 h 52707"/>
              <a:gd name="csX2" fmla="*/ 143563 w 144688"/>
              <a:gd name="csY2" fmla="*/ 43347 h 52707"/>
              <a:gd name="csX3" fmla="*/ 144689 w 144688"/>
              <a:gd name="csY3" fmla="*/ 52708 h 52707"/>
              <a:gd name="csX4" fmla="*/ 349 w 144688"/>
              <a:gd name="csY4" fmla="*/ 52708 h 52707"/>
              <a:gd name="csX5" fmla="*/ 738 w 144688"/>
              <a:gd name="csY5" fmla="*/ 572 h 52707"/>
              <a:gd name="csX6" fmla="*/ 94424 w 144688"/>
              <a:gd name="csY6" fmla="*/ 9299 h 5270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</a:cxnLst>
            <a:rect l="l" t="t" r="r" b="b"/>
            <a:pathLst>
              <a:path w="144688" h="52707">
                <a:moveTo>
                  <a:pt x="94424" y="9299"/>
                </a:moveTo>
                <a:cubicBezTo>
                  <a:pt x="104138" y="11826"/>
                  <a:pt x="112739" y="14007"/>
                  <a:pt x="121261" y="16460"/>
                </a:cubicBezTo>
                <a:cubicBezTo>
                  <a:pt x="134742" y="20340"/>
                  <a:pt x="143121" y="28544"/>
                  <a:pt x="143563" y="43347"/>
                </a:cubicBezTo>
                <a:cubicBezTo>
                  <a:pt x="143645" y="46090"/>
                  <a:pt x="144206" y="48818"/>
                  <a:pt x="144689" y="52708"/>
                </a:cubicBezTo>
                <a:cubicBezTo>
                  <a:pt x="96675" y="52708"/>
                  <a:pt x="49316" y="52708"/>
                  <a:pt x="349" y="52708"/>
                </a:cubicBezTo>
                <a:cubicBezTo>
                  <a:pt x="-379" y="35695"/>
                  <a:pt x="172" y="18742"/>
                  <a:pt x="738" y="572"/>
                </a:cubicBezTo>
                <a:cubicBezTo>
                  <a:pt x="32910" y="-1712"/>
                  <a:pt x="63133" y="3179"/>
                  <a:pt x="94424" y="9299"/>
                </a:cubicBezTo>
                <a:close/>
              </a:path>
            </a:pathLst>
          </a:custGeom>
          <a:solidFill>
            <a:srgbClr val="FBFCFB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978" name="Free-form: Shape 3977">
            <a:extLst>
              <a:ext uri="{FF2B5EF4-FFF2-40B4-BE49-F238E27FC236}">
                <a16:creationId xmlns:a16="http://schemas.microsoft.com/office/drawing/2014/main" id="{CE60C160-5BB1-C06A-1102-A52A9569740A}"/>
              </a:ext>
            </a:extLst>
          </p:cNvPr>
          <p:cNvSpPr/>
          <p:nvPr/>
        </p:nvSpPr>
        <p:spPr>
          <a:xfrm>
            <a:off x="6898940" y="4750932"/>
            <a:ext cx="180394" cy="575186"/>
          </a:xfrm>
          <a:custGeom>
            <a:avLst/>
            <a:gdLst>
              <a:gd name="csX0" fmla="*/ 0 w 351791"/>
              <a:gd name="csY0" fmla="*/ 975370 h 1019713"/>
              <a:gd name="csX1" fmla="*/ 2187 w 351791"/>
              <a:gd name="csY1" fmla="*/ 923083 h 1019713"/>
              <a:gd name="csX2" fmla="*/ 2287 w 351791"/>
              <a:gd name="csY2" fmla="*/ 897079 h 1019713"/>
              <a:gd name="csX3" fmla="*/ 2799 w 351791"/>
              <a:gd name="csY3" fmla="*/ 849144 h 1019713"/>
              <a:gd name="csX4" fmla="*/ 5052 w 351791"/>
              <a:gd name="csY4" fmla="*/ 773650 h 1019713"/>
              <a:gd name="csX5" fmla="*/ 7113 w 351791"/>
              <a:gd name="csY5" fmla="*/ 630071 h 1019713"/>
              <a:gd name="csX6" fmla="*/ 9133 w 351791"/>
              <a:gd name="csY6" fmla="*/ 528600 h 1019713"/>
              <a:gd name="csX7" fmla="*/ 9163 w 351791"/>
              <a:gd name="csY7" fmla="*/ 497413 h 1019713"/>
              <a:gd name="csX8" fmla="*/ 11812 w 351791"/>
              <a:gd name="csY8" fmla="*/ 379910 h 1019713"/>
              <a:gd name="csX9" fmla="*/ 12024 w 351791"/>
              <a:gd name="csY9" fmla="*/ 348726 h 1019713"/>
              <a:gd name="csX10" fmla="*/ 14645 w 351791"/>
              <a:gd name="csY10" fmla="*/ 239691 h 1019713"/>
              <a:gd name="csX11" fmla="*/ 14784 w 351791"/>
              <a:gd name="csY11" fmla="*/ 214091 h 1019713"/>
              <a:gd name="csX12" fmla="*/ 17570 w 351791"/>
              <a:gd name="csY12" fmla="*/ 88165 h 1019713"/>
              <a:gd name="csX13" fmla="*/ 17615 w 351791"/>
              <a:gd name="csY13" fmla="*/ 37421 h 1019713"/>
              <a:gd name="csX14" fmla="*/ 18182 w 351791"/>
              <a:gd name="csY14" fmla="*/ 15484 h 1019713"/>
              <a:gd name="csX15" fmla="*/ 22091 w 351791"/>
              <a:gd name="csY15" fmla="*/ 2787 h 1019713"/>
              <a:gd name="csX16" fmla="*/ 54703 w 351791"/>
              <a:gd name="csY16" fmla="*/ 2968 h 1019713"/>
              <a:gd name="csX17" fmla="*/ 102677 w 351791"/>
              <a:gd name="csY17" fmla="*/ 2086 h 1019713"/>
              <a:gd name="csX18" fmla="*/ 175262 w 351791"/>
              <a:gd name="csY18" fmla="*/ 0 h 1019713"/>
              <a:gd name="csX19" fmla="*/ 189022 w 351791"/>
              <a:gd name="csY19" fmla="*/ 1595 h 1019713"/>
              <a:gd name="csX20" fmla="*/ 190628 w 351791"/>
              <a:gd name="csY20" fmla="*/ 112461 h 1019713"/>
              <a:gd name="csX21" fmla="*/ 191584 w 351791"/>
              <a:gd name="csY21" fmla="*/ 129605 h 1019713"/>
              <a:gd name="csX22" fmla="*/ 193429 w 351791"/>
              <a:gd name="csY22" fmla="*/ 173943 h 1019713"/>
              <a:gd name="csX23" fmla="*/ 194215 w 351791"/>
              <a:gd name="csY23" fmla="*/ 182908 h 1019713"/>
              <a:gd name="csX24" fmla="*/ 196316 w 351791"/>
              <a:gd name="csY24" fmla="*/ 215902 h 1019713"/>
              <a:gd name="csX25" fmla="*/ 196980 w 351791"/>
              <a:gd name="csY25" fmla="*/ 222182 h 1019713"/>
              <a:gd name="csX26" fmla="*/ 198972 w 351791"/>
              <a:gd name="csY26" fmla="*/ 249680 h 1019713"/>
              <a:gd name="csX27" fmla="*/ 199949 w 351791"/>
              <a:gd name="csY27" fmla="*/ 258553 h 1019713"/>
              <a:gd name="csX28" fmla="*/ 201912 w 351791"/>
              <a:gd name="csY28" fmla="*/ 280418 h 1019713"/>
              <a:gd name="csX29" fmla="*/ 202686 w 351791"/>
              <a:gd name="csY29" fmla="*/ 286632 h 1019713"/>
              <a:gd name="csX30" fmla="*/ 204600 w 351791"/>
              <a:gd name="csY30" fmla="*/ 308453 h 1019713"/>
              <a:gd name="csX31" fmla="*/ 205443 w 351791"/>
              <a:gd name="csY31" fmla="*/ 314650 h 1019713"/>
              <a:gd name="csX32" fmla="*/ 207431 w 351791"/>
              <a:gd name="csY32" fmla="*/ 333707 h 1019713"/>
              <a:gd name="csX33" fmla="*/ 208345 w 351791"/>
              <a:gd name="csY33" fmla="*/ 339842 h 1019713"/>
              <a:gd name="csX34" fmla="*/ 210218 w 351791"/>
              <a:gd name="csY34" fmla="*/ 356144 h 1019713"/>
              <a:gd name="csX35" fmla="*/ 211157 w 351791"/>
              <a:gd name="csY35" fmla="*/ 362375 h 1019713"/>
              <a:gd name="csX36" fmla="*/ 215820 w 351791"/>
              <a:gd name="csY36" fmla="*/ 398224 h 1019713"/>
              <a:gd name="csX37" fmla="*/ 216821 w 351791"/>
              <a:gd name="csY37" fmla="*/ 404425 h 1019713"/>
              <a:gd name="csX38" fmla="*/ 224187 w 351791"/>
              <a:gd name="csY38" fmla="*/ 451440 h 1019713"/>
              <a:gd name="csX39" fmla="*/ 225295 w 351791"/>
              <a:gd name="csY39" fmla="*/ 457691 h 1019713"/>
              <a:gd name="csX40" fmla="*/ 226831 w 351791"/>
              <a:gd name="csY40" fmla="*/ 468268 h 1019713"/>
              <a:gd name="csX41" fmla="*/ 228069 w 351791"/>
              <a:gd name="csY41" fmla="*/ 474360 h 1019713"/>
              <a:gd name="csX42" fmla="*/ 229778 w 351791"/>
              <a:gd name="csY42" fmla="*/ 485181 h 1019713"/>
              <a:gd name="csX43" fmla="*/ 230932 w 351791"/>
              <a:gd name="csY43" fmla="*/ 491348 h 1019713"/>
              <a:gd name="csX44" fmla="*/ 238095 w 351791"/>
              <a:gd name="csY44" fmla="*/ 532855 h 1019713"/>
              <a:gd name="csX45" fmla="*/ 239424 w 351791"/>
              <a:gd name="csY45" fmla="*/ 539021 h 1019713"/>
              <a:gd name="csX46" fmla="*/ 252120 w 351791"/>
              <a:gd name="csY46" fmla="*/ 605725 h 1019713"/>
              <a:gd name="csX47" fmla="*/ 253460 w 351791"/>
              <a:gd name="csY47" fmla="*/ 611945 h 1019713"/>
              <a:gd name="csX48" fmla="*/ 258622 w 351791"/>
              <a:gd name="csY48" fmla="*/ 639154 h 1019713"/>
              <a:gd name="csX49" fmla="*/ 285765 w 351791"/>
              <a:gd name="csY49" fmla="*/ 762817 h 1019713"/>
              <a:gd name="csX50" fmla="*/ 287284 w 351791"/>
              <a:gd name="csY50" fmla="*/ 768970 h 1019713"/>
              <a:gd name="csX51" fmla="*/ 351792 w 351791"/>
              <a:gd name="csY51" fmla="*/ 1017474 h 1019713"/>
              <a:gd name="csX52" fmla="*/ 308062 w 351791"/>
              <a:gd name="csY52" fmla="*/ 1016918 h 1019713"/>
              <a:gd name="csX53" fmla="*/ 241358 w 351791"/>
              <a:gd name="csY53" fmla="*/ 1016276 h 1019713"/>
              <a:gd name="csX54" fmla="*/ 229231 w 351791"/>
              <a:gd name="csY54" fmla="*/ 1017881 h 1019713"/>
              <a:gd name="csX55" fmla="*/ 0 w 351791"/>
              <a:gd name="csY55" fmla="*/ 1019714 h 1019713"/>
              <a:gd name="csX56" fmla="*/ 0 w 351791"/>
              <a:gd name="csY56" fmla="*/ 975370 h 101971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</a:cxnLst>
            <a:rect l="l" t="t" r="r" b="b"/>
            <a:pathLst>
              <a:path w="351791" h="1019713">
                <a:moveTo>
                  <a:pt x="0" y="975370"/>
                </a:moveTo>
                <a:cubicBezTo>
                  <a:pt x="743" y="957941"/>
                  <a:pt x="1582" y="940516"/>
                  <a:pt x="2187" y="923083"/>
                </a:cubicBezTo>
                <a:cubicBezTo>
                  <a:pt x="2458" y="915260"/>
                  <a:pt x="2262" y="907422"/>
                  <a:pt x="2287" y="897079"/>
                </a:cubicBezTo>
                <a:cubicBezTo>
                  <a:pt x="2463" y="879425"/>
                  <a:pt x="2631" y="864284"/>
                  <a:pt x="2799" y="849144"/>
                </a:cubicBezTo>
                <a:cubicBezTo>
                  <a:pt x="3544" y="824817"/>
                  <a:pt x="4289" y="800489"/>
                  <a:pt x="5052" y="773650"/>
                </a:cubicBezTo>
                <a:cubicBezTo>
                  <a:pt x="5751" y="724115"/>
                  <a:pt x="6432" y="677093"/>
                  <a:pt x="7113" y="630071"/>
                </a:cubicBezTo>
                <a:cubicBezTo>
                  <a:pt x="7598" y="596560"/>
                  <a:pt x="8084" y="563050"/>
                  <a:pt x="9133" y="528600"/>
                </a:cubicBezTo>
                <a:cubicBezTo>
                  <a:pt x="9465" y="518010"/>
                  <a:pt x="9234" y="508360"/>
                  <a:pt x="9163" y="497413"/>
                </a:cubicBezTo>
                <a:cubicBezTo>
                  <a:pt x="9957" y="457690"/>
                  <a:pt x="10592" y="419261"/>
                  <a:pt x="11812" y="379910"/>
                </a:cubicBezTo>
                <a:cubicBezTo>
                  <a:pt x="12221" y="369334"/>
                  <a:pt x="12045" y="359680"/>
                  <a:pt x="12024" y="348726"/>
                </a:cubicBezTo>
                <a:cubicBezTo>
                  <a:pt x="12813" y="311813"/>
                  <a:pt x="13446" y="276201"/>
                  <a:pt x="14645" y="239691"/>
                </a:cubicBezTo>
                <a:cubicBezTo>
                  <a:pt x="15021" y="230992"/>
                  <a:pt x="14832" y="223190"/>
                  <a:pt x="14784" y="214091"/>
                </a:cubicBezTo>
                <a:cubicBezTo>
                  <a:pt x="15615" y="171575"/>
                  <a:pt x="16305" y="130355"/>
                  <a:pt x="17570" y="88165"/>
                </a:cubicBezTo>
                <a:cubicBezTo>
                  <a:pt x="17924" y="71015"/>
                  <a:pt x="17703" y="54835"/>
                  <a:pt x="17615" y="37421"/>
                </a:cubicBezTo>
                <a:cubicBezTo>
                  <a:pt x="17715" y="29569"/>
                  <a:pt x="17682" y="22951"/>
                  <a:pt x="18182" y="15484"/>
                </a:cubicBezTo>
                <a:cubicBezTo>
                  <a:pt x="19427" y="10639"/>
                  <a:pt x="20141" y="6642"/>
                  <a:pt x="22091" y="2787"/>
                </a:cubicBezTo>
                <a:cubicBezTo>
                  <a:pt x="33455" y="2760"/>
                  <a:pt x="43581" y="2592"/>
                  <a:pt x="54703" y="2968"/>
                </a:cubicBezTo>
                <a:cubicBezTo>
                  <a:pt x="70921" y="2997"/>
                  <a:pt x="86144" y="2480"/>
                  <a:pt x="102677" y="2086"/>
                </a:cubicBezTo>
                <a:cubicBezTo>
                  <a:pt x="127444" y="1303"/>
                  <a:pt x="150901" y="399"/>
                  <a:pt x="175262" y="0"/>
                </a:cubicBezTo>
                <a:cubicBezTo>
                  <a:pt x="180415" y="388"/>
                  <a:pt x="184664" y="270"/>
                  <a:pt x="189022" y="1595"/>
                </a:cubicBezTo>
                <a:cubicBezTo>
                  <a:pt x="189796" y="39233"/>
                  <a:pt x="190459" y="75430"/>
                  <a:pt x="190628" y="112461"/>
                </a:cubicBezTo>
                <a:cubicBezTo>
                  <a:pt x="190659" y="118310"/>
                  <a:pt x="191185" y="123324"/>
                  <a:pt x="191584" y="129605"/>
                </a:cubicBezTo>
                <a:cubicBezTo>
                  <a:pt x="192268" y="145024"/>
                  <a:pt x="193079" y="159176"/>
                  <a:pt x="193429" y="173943"/>
                </a:cubicBezTo>
                <a:cubicBezTo>
                  <a:pt x="193407" y="176938"/>
                  <a:pt x="193846" y="179318"/>
                  <a:pt x="194215" y="182908"/>
                </a:cubicBezTo>
                <a:cubicBezTo>
                  <a:pt x="195008" y="194551"/>
                  <a:pt x="195871" y="204983"/>
                  <a:pt x="196316" y="215902"/>
                </a:cubicBezTo>
                <a:cubicBezTo>
                  <a:pt x="196287" y="217918"/>
                  <a:pt x="196676" y="219447"/>
                  <a:pt x="196980" y="222182"/>
                </a:cubicBezTo>
                <a:cubicBezTo>
                  <a:pt x="197737" y="231943"/>
                  <a:pt x="198578" y="240498"/>
                  <a:pt x="198972" y="249680"/>
                </a:cubicBezTo>
                <a:cubicBezTo>
                  <a:pt x="199023" y="252674"/>
                  <a:pt x="199521" y="255040"/>
                  <a:pt x="199949" y="258553"/>
                </a:cubicBezTo>
                <a:cubicBezTo>
                  <a:pt x="200695" y="266443"/>
                  <a:pt x="201512" y="273186"/>
                  <a:pt x="201912" y="280418"/>
                </a:cubicBezTo>
                <a:cubicBezTo>
                  <a:pt x="201915" y="282431"/>
                  <a:pt x="202335" y="283954"/>
                  <a:pt x="202686" y="286632"/>
                </a:cubicBezTo>
                <a:cubicBezTo>
                  <a:pt x="203420" y="294511"/>
                  <a:pt x="204221" y="301235"/>
                  <a:pt x="204600" y="308453"/>
                </a:cubicBezTo>
                <a:cubicBezTo>
                  <a:pt x="204617" y="310478"/>
                  <a:pt x="205056" y="312010"/>
                  <a:pt x="205443" y="314650"/>
                </a:cubicBezTo>
                <a:cubicBezTo>
                  <a:pt x="206209" y="321575"/>
                  <a:pt x="207026" y="327392"/>
                  <a:pt x="207431" y="333707"/>
                </a:cubicBezTo>
                <a:cubicBezTo>
                  <a:pt x="207477" y="335726"/>
                  <a:pt x="207935" y="337248"/>
                  <a:pt x="208345" y="339842"/>
                </a:cubicBezTo>
                <a:cubicBezTo>
                  <a:pt x="209075" y="345825"/>
                  <a:pt x="209853" y="350735"/>
                  <a:pt x="210218" y="356144"/>
                </a:cubicBezTo>
                <a:cubicBezTo>
                  <a:pt x="210268" y="358165"/>
                  <a:pt x="210732" y="359689"/>
                  <a:pt x="211157" y="362375"/>
                </a:cubicBezTo>
                <a:cubicBezTo>
                  <a:pt x="212820" y="374932"/>
                  <a:pt x="214522" y="386326"/>
                  <a:pt x="215820" y="398224"/>
                </a:cubicBezTo>
                <a:cubicBezTo>
                  <a:pt x="215896" y="400245"/>
                  <a:pt x="216376" y="401761"/>
                  <a:pt x="216821" y="404425"/>
                </a:cubicBezTo>
                <a:cubicBezTo>
                  <a:pt x="219381" y="420620"/>
                  <a:pt x="221974" y="435667"/>
                  <a:pt x="224187" y="451440"/>
                </a:cubicBezTo>
                <a:cubicBezTo>
                  <a:pt x="224310" y="453633"/>
                  <a:pt x="224814" y="455099"/>
                  <a:pt x="225295" y="457691"/>
                </a:cubicBezTo>
                <a:cubicBezTo>
                  <a:pt x="225916" y="461722"/>
                  <a:pt x="226560" y="464628"/>
                  <a:pt x="226831" y="468268"/>
                </a:cubicBezTo>
                <a:cubicBezTo>
                  <a:pt x="227002" y="470469"/>
                  <a:pt x="227545" y="471935"/>
                  <a:pt x="228069" y="474360"/>
                </a:cubicBezTo>
                <a:cubicBezTo>
                  <a:pt x="228757" y="478435"/>
                  <a:pt x="229465" y="481551"/>
                  <a:pt x="229778" y="485181"/>
                </a:cubicBezTo>
                <a:cubicBezTo>
                  <a:pt x="229895" y="487205"/>
                  <a:pt x="230405" y="488717"/>
                  <a:pt x="230932" y="491348"/>
                </a:cubicBezTo>
                <a:cubicBezTo>
                  <a:pt x="233462" y="505758"/>
                  <a:pt x="235976" y="519047"/>
                  <a:pt x="238095" y="532855"/>
                </a:cubicBezTo>
                <a:cubicBezTo>
                  <a:pt x="238266" y="534884"/>
                  <a:pt x="238832" y="536393"/>
                  <a:pt x="239424" y="539021"/>
                </a:cubicBezTo>
                <a:cubicBezTo>
                  <a:pt x="243794" y="561754"/>
                  <a:pt x="248139" y="583369"/>
                  <a:pt x="252120" y="605725"/>
                </a:cubicBezTo>
                <a:cubicBezTo>
                  <a:pt x="252314" y="607922"/>
                  <a:pt x="252872" y="609379"/>
                  <a:pt x="253460" y="611945"/>
                </a:cubicBezTo>
                <a:cubicBezTo>
                  <a:pt x="255190" y="621757"/>
                  <a:pt x="256700" y="630501"/>
                  <a:pt x="258622" y="639154"/>
                </a:cubicBezTo>
                <a:cubicBezTo>
                  <a:pt x="267724" y="680139"/>
                  <a:pt x="276939" y="721098"/>
                  <a:pt x="285765" y="762817"/>
                </a:cubicBezTo>
                <a:cubicBezTo>
                  <a:pt x="286023" y="765009"/>
                  <a:pt x="286629" y="766448"/>
                  <a:pt x="287284" y="768970"/>
                </a:cubicBezTo>
                <a:cubicBezTo>
                  <a:pt x="306160" y="852474"/>
                  <a:pt x="325237" y="934833"/>
                  <a:pt x="351792" y="1017474"/>
                </a:cubicBezTo>
                <a:cubicBezTo>
                  <a:pt x="335905" y="1017474"/>
                  <a:pt x="322480" y="1017474"/>
                  <a:pt x="308062" y="1016918"/>
                </a:cubicBezTo>
                <a:cubicBezTo>
                  <a:pt x="285165" y="1016306"/>
                  <a:pt x="263261" y="1016166"/>
                  <a:pt x="241358" y="1016276"/>
                </a:cubicBezTo>
                <a:cubicBezTo>
                  <a:pt x="237751" y="1016294"/>
                  <a:pt x="234149" y="1017408"/>
                  <a:pt x="229231" y="1017881"/>
                </a:cubicBezTo>
                <a:cubicBezTo>
                  <a:pt x="152375" y="1018399"/>
                  <a:pt x="76832" y="1019051"/>
                  <a:pt x="0" y="1019714"/>
                </a:cubicBezTo>
                <a:cubicBezTo>
                  <a:pt x="0" y="1004040"/>
                  <a:pt x="0" y="989705"/>
                  <a:pt x="0" y="975370"/>
                </a:cubicBezTo>
                <a:close/>
              </a:path>
            </a:pathLst>
          </a:custGeom>
          <a:solidFill>
            <a:srgbClr val="FEFEFD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979" name="Free-form: Shape 3978">
            <a:extLst>
              <a:ext uri="{FF2B5EF4-FFF2-40B4-BE49-F238E27FC236}">
                <a16:creationId xmlns:a16="http://schemas.microsoft.com/office/drawing/2014/main" id="{3DEE6FAA-D184-7129-A9CD-5AE45A3AB079}"/>
              </a:ext>
            </a:extLst>
          </p:cNvPr>
          <p:cNvSpPr/>
          <p:nvPr/>
        </p:nvSpPr>
        <p:spPr>
          <a:xfrm>
            <a:off x="6898800" y="5370218"/>
            <a:ext cx="293721" cy="201659"/>
          </a:xfrm>
          <a:custGeom>
            <a:avLst/>
            <a:gdLst>
              <a:gd name="csX0" fmla="*/ 344821 w 572791"/>
              <a:gd name="csY0" fmla="*/ 351014 h 357509"/>
              <a:gd name="csX1" fmla="*/ 0 w 572791"/>
              <a:gd name="csY1" fmla="*/ 355669 h 357509"/>
              <a:gd name="csX2" fmla="*/ 1306 w 572791"/>
              <a:gd name="csY2" fmla="*/ 18915 h 357509"/>
              <a:gd name="csX3" fmla="*/ 12212 w 572791"/>
              <a:gd name="csY3" fmla="*/ 17740 h 357509"/>
              <a:gd name="csX4" fmla="*/ 132738 w 572791"/>
              <a:gd name="csY4" fmla="*/ 15715 h 357509"/>
              <a:gd name="csX5" fmla="*/ 364924 w 572791"/>
              <a:gd name="csY5" fmla="*/ 2198 h 357509"/>
              <a:gd name="csX6" fmla="*/ 402207 w 572791"/>
              <a:gd name="csY6" fmla="*/ 0 h 357509"/>
              <a:gd name="csX7" fmla="*/ 403816 w 572791"/>
              <a:gd name="csY7" fmla="*/ 4817 h 357509"/>
              <a:gd name="csX8" fmla="*/ 443486 w 572791"/>
              <a:gd name="csY8" fmla="*/ 95035 h 357509"/>
              <a:gd name="csX9" fmla="*/ 503695 w 572791"/>
              <a:gd name="csY9" fmla="*/ 157671 h 357509"/>
              <a:gd name="csX10" fmla="*/ 544964 w 572791"/>
              <a:gd name="csY10" fmla="*/ 208741 h 357509"/>
              <a:gd name="csX11" fmla="*/ 572752 w 572791"/>
              <a:gd name="csY11" fmla="*/ 314190 h 357509"/>
              <a:gd name="csX12" fmla="*/ 571373 w 572791"/>
              <a:gd name="csY12" fmla="*/ 324914 h 357509"/>
              <a:gd name="csX13" fmla="*/ 344821 w 572791"/>
              <a:gd name="csY13" fmla="*/ 351014 h 35750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</a:cxnLst>
            <a:rect l="l" t="t" r="r" b="b"/>
            <a:pathLst>
              <a:path w="572791" h="357509">
                <a:moveTo>
                  <a:pt x="344821" y="351014"/>
                </a:moveTo>
                <a:cubicBezTo>
                  <a:pt x="229704" y="359270"/>
                  <a:pt x="115810" y="358215"/>
                  <a:pt x="0" y="355669"/>
                </a:cubicBezTo>
                <a:cubicBezTo>
                  <a:pt x="6641" y="242789"/>
                  <a:pt x="11423" y="131403"/>
                  <a:pt x="1306" y="18915"/>
                </a:cubicBezTo>
                <a:cubicBezTo>
                  <a:pt x="5142" y="18486"/>
                  <a:pt x="8671" y="17803"/>
                  <a:pt x="12212" y="17740"/>
                </a:cubicBezTo>
                <a:cubicBezTo>
                  <a:pt x="52386" y="17019"/>
                  <a:pt x="92565" y="16532"/>
                  <a:pt x="132738" y="15715"/>
                </a:cubicBezTo>
                <a:cubicBezTo>
                  <a:pt x="210300" y="14136"/>
                  <a:pt x="287658" y="8969"/>
                  <a:pt x="364924" y="2198"/>
                </a:cubicBezTo>
                <a:cubicBezTo>
                  <a:pt x="377346" y="1110"/>
                  <a:pt x="389829" y="713"/>
                  <a:pt x="402207" y="0"/>
                </a:cubicBezTo>
                <a:cubicBezTo>
                  <a:pt x="402989" y="2261"/>
                  <a:pt x="403828" y="3543"/>
                  <a:pt x="403816" y="4817"/>
                </a:cubicBezTo>
                <a:cubicBezTo>
                  <a:pt x="403458" y="40866"/>
                  <a:pt x="420668" y="69493"/>
                  <a:pt x="443486" y="95035"/>
                </a:cubicBezTo>
                <a:cubicBezTo>
                  <a:pt x="462767" y="116618"/>
                  <a:pt x="484228" y="136244"/>
                  <a:pt x="503695" y="157671"/>
                </a:cubicBezTo>
                <a:cubicBezTo>
                  <a:pt x="518401" y="173858"/>
                  <a:pt x="532941" y="190557"/>
                  <a:pt x="544964" y="208741"/>
                </a:cubicBezTo>
                <a:cubicBezTo>
                  <a:pt x="565917" y="240429"/>
                  <a:pt x="573411" y="276430"/>
                  <a:pt x="572752" y="314190"/>
                </a:cubicBezTo>
                <a:cubicBezTo>
                  <a:pt x="572696" y="317365"/>
                  <a:pt x="571957" y="320529"/>
                  <a:pt x="571373" y="324914"/>
                </a:cubicBezTo>
                <a:cubicBezTo>
                  <a:pt x="496226" y="334583"/>
                  <a:pt x="421404" y="344621"/>
                  <a:pt x="344821" y="351014"/>
                </a:cubicBezTo>
                <a:close/>
              </a:path>
            </a:pathLst>
          </a:custGeom>
          <a:solidFill>
            <a:srgbClr val="FEFEFD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980" name="Free-form: Shape 3979">
            <a:extLst>
              <a:ext uri="{FF2B5EF4-FFF2-40B4-BE49-F238E27FC236}">
                <a16:creationId xmlns:a16="http://schemas.microsoft.com/office/drawing/2014/main" id="{CBBE0002-5454-DA71-8BC1-DA46BD4CE1EF}"/>
              </a:ext>
            </a:extLst>
          </p:cNvPr>
          <p:cNvSpPr/>
          <p:nvPr/>
        </p:nvSpPr>
        <p:spPr>
          <a:xfrm>
            <a:off x="6897725" y="5603409"/>
            <a:ext cx="313782" cy="80437"/>
          </a:xfrm>
          <a:custGeom>
            <a:avLst/>
            <a:gdLst>
              <a:gd name="csX0" fmla="*/ 298270 w 611913"/>
              <a:gd name="csY0" fmla="*/ 29215 h 142602"/>
              <a:gd name="csX1" fmla="*/ 512796 w 611913"/>
              <a:gd name="csY1" fmla="*/ 6951 h 142602"/>
              <a:gd name="csX2" fmla="*/ 567029 w 611913"/>
              <a:gd name="csY2" fmla="*/ 256 h 142602"/>
              <a:gd name="csX3" fmla="*/ 586840 w 611913"/>
              <a:gd name="csY3" fmla="*/ 10038 h 142602"/>
              <a:gd name="csX4" fmla="*/ 593324 w 611913"/>
              <a:gd name="csY4" fmla="*/ 20837 h 142602"/>
              <a:gd name="csX5" fmla="*/ 611914 w 611913"/>
              <a:gd name="csY5" fmla="*/ 96596 h 142602"/>
              <a:gd name="csX6" fmla="*/ 598468 w 611913"/>
              <a:gd name="csY6" fmla="*/ 100799 h 142602"/>
              <a:gd name="csX7" fmla="*/ 410669 w 611913"/>
              <a:gd name="csY7" fmla="*/ 132209 h 142602"/>
              <a:gd name="csX8" fmla="*/ 125026 w 611913"/>
              <a:gd name="csY8" fmla="*/ 141814 h 142602"/>
              <a:gd name="csX9" fmla="*/ 11546 w 611913"/>
              <a:gd name="csY9" fmla="*/ 137848 h 142602"/>
              <a:gd name="csX10" fmla="*/ 0 w 611913"/>
              <a:gd name="csY10" fmla="*/ 136841 h 142602"/>
              <a:gd name="csX11" fmla="*/ 6226 w 611913"/>
              <a:gd name="csY11" fmla="*/ 34049 h 142602"/>
              <a:gd name="csX12" fmla="*/ 25148 w 611913"/>
              <a:gd name="csY12" fmla="*/ 34049 h 142602"/>
              <a:gd name="csX13" fmla="*/ 203168 w 611913"/>
              <a:gd name="csY13" fmla="*/ 33784 h 142602"/>
              <a:gd name="csX14" fmla="*/ 298270 w 611913"/>
              <a:gd name="csY14" fmla="*/ 29215 h 14260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</a:cxnLst>
            <a:rect l="l" t="t" r="r" b="b"/>
            <a:pathLst>
              <a:path w="611913" h="142602">
                <a:moveTo>
                  <a:pt x="298270" y="29215"/>
                </a:moveTo>
                <a:cubicBezTo>
                  <a:pt x="370954" y="24666"/>
                  <a:pt x="441996" y="17008"/>
                  <a:pt x="512796" y="6951"/>
                </a:cubicBezTo>
                <a:cubicBezTo>
                  <a:pt x="530827" y="4390"/>
                  <a:pt x="548992" y="2783"/>
                  <a:pt x="567029" y="256"/>
                </a:cubicBezTo>
                <a:cubicBezTo>
                  <a:pt x="576202" y="-1030"/>
                  <a:pt x="582311" y="2575"/>
                  <a:pt x="586840" y="10038"/>
                </a:cubicBezTo>
                <a:cubicBezTo>
                  <a:pt x="589020" y="13630"/>
                  <a:pt x="591618" y="17033"/>
                  <a:pt x="593324" y="20837"/>
                </a:cubicBezTo>
                <a:cubicBezTo>
                  <a:pt x="603952" y="44539"/>
                  <a:pt x="608111" y="69801"/>
                  <a:pt x="611914" y="96596"/>
                </a:cubicBezTo>
                <a:cubicBezTo>
                  <a:pt x="607052" y="98130"/>
                  <a:pt x="602824" y="99720"/>
                  <a:pt x="598468" y="100799"/>
                </a:cubicBezTo>
                <a:cubicBezTo>
                  <a:pt x="536680" y="116108"/>
                  <a:pt x="473961" y="125773"/>
                  <a:pt x="410669" y="132209"/>
                </a:cubicBezTo>
                <a:cubicBezTo>
                  <a:pt x="315660" y="141870"/>
                  <a:pt x="220411" y="144010"/>
                  <a:pt x="125026" y="141814"/>
                </a:cubicBezTo>
                <a:cubicBezTo>
                  <a:pt x="87189" y="140943"/>
                  <a:pt x="49371" y="139223"/>
                  <a:pt x="11546" y="137848"/>
                </a:cubicBezTo>
                <a:cubicBezTo>
                  <a:pt x="8331" y="137731"/>
                  <a:pt x="5128" y="137299"/>
                  <a:pt x="0" y="136841"/>
                </a:cubicBezTo>
                <a:cubicBezTo>
                  <a:pt x="917" y="102718"/>
                  <a:pt x="4600" y="69125"/>
                  <a:pt x="6226" y="34049"/>
                </a:cubicBezTo>
                <a:cubicBezTo>
                  <a:pt x="13237" y="34049"/>
                  <a:pt x="19192" y="34051"/>
                  <a:pt x="25148" y="34049"/>
                </a:cubicBezTo>
                <a:cubicBezTo>
                  <a:pt x="84488" y="34030"/>
                  <a:pt x="143836" y="34519"/>
                  <a:pt x="203168" y="33784"/>
                </a:cubicBezTo>
                <a:cubicBezTo>
                  <a:pt x="234447" y="33397"/>
                  <a:pt x="265701" y="30872"/>
                  <a:pt x="298270" y="29215"/>
                </a:cubicBezTo>
                <a:close/>
              </a:path>
            </a:pathLst>
          </a:custGeom>
          <a:solidFill>
            <a:srgbClr val="FEFDFB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981" name="Free-form: Shape 3980">
            <a:extLst>
              <a:ext uri="{FF2B5EF4-FFF2-40B4-BE49-F238E27FC236}">
                <a16:creationId xmlns:a16="http://schemas.microsoft.com/office/drawing/2014/main" id="{17D4D7F1-D832-9FFE-C0D1-4D52B04E375B}"/>
              </a:ext>
            </a:extLst>
          </p:cNvPr>
          <p:cNvSpPr/>
          <p:nvPr/>
        </p:nvSpPr>
        <p:spPr>
          <a:xfrm>
            <a:off x="6908482" y="4675438"/>
            <a:ext cx="158181" cy="40023"/>
          </a:xfrm>
          <a:custGeom>
            <a:avLst/>
            <a:gdLst>
              <a:gd name="csX0" fmla="*/ 113686 w 308472"/>
              <a:gd name="csY0" fmla="*/ 4708 h 70954"/>
              <a:gd name="csX1" fmla="*/ 238304 w 308472"/>
              <a:gd name="csY1" fmla="*/ 79 h 70954"/>
              <a:gd name="csX2" fmla="*/ 293684 w 308472"/>
              <a:gd name="csY2" fmla="*/ 16423 h 70954"/>
              <a:gd name="csX3" fmla="*/ 308469 w 308472"/>
              <a:gd name="csY3" fmla="*/ 46566 h 70954"/>
              <a:gd name="csX4" fmla="*/ 296679 w 308472"/>
              <a:gd name="csY4" fmla="*/ 60539 h 70954"/>
              <a:gd name="csX5" fmla="*/ 281393 w 308472"/>
              <a:gd name="csY5" fmla="*/ 62359 h 70954"/>
              <a:gd name="csX6" fmla="*/ 13891 w 308472"/>
              <a:gd name="csY6" fmla="*/ 70892 h 70954"/>
              <a:gd name="csX7" fmla="*/ 0 w 308472"/>
              <a:gd name="csY7" fmla="*/ 70909 h 70954"/>
              <a:gd name="csX8" fmla="*/ 4414 w 308472"/>
              <a:gd name="csY8" fmla="*/ 8877 h 70954"/>
              <a:gd name="csX9" fmla="*/ 59085 w 308472"/>
              <a:gd name="csY9" fmla="*/ 6769 h 70954"/>
              <a:gd name="csX10" fmla="*/ 113686 w 308472"/>
              <a:gd name="csY10" fmla="*/ 4708 h 7095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</a:cxnLst>
            <a:rect l="l" t="t" r="r" b="b"/>
            <a:pathLst>
              <a:path w="308472" h="70954">
                <a:moveTo>
                  <a:pt x="113686" y="4708"/>
                </a:moveTo>
                <a:cubicBezTo>
                  <a:pt x="156156" y="3151"/>
                  <a:pt x="197235" y="1744"/>
                  <a:pt x="238304" y="79"/>
                </a:cubicBezTo>
                <a:cubicBezTo>
                  <a:pt x="258693" y="-748"/>
                  <a:pt x="277061" y="4922"/>
                  <a:pt x="293684" y="16423"/>
                </a:cubicBezTo>
                <a:cubicBezTo>
                  <a:pt x="304119" y="23641"/>
                  <a:pt x="308615" y="34077"/>
                  <a:pt x="308469" y="46566"/>
                </a:cubicBezTo>
                <a:cubicBezTo>
                  <a:pt x="308355" y="56359"/>
                  <a:pt x="306312" y="58808"/>
                  <a:pt x="296679" y="60539"/>
                </a:cubicBezTo>
                <a:cubicBezTo>
                  <a:pt x="291635" y="61446"/>
                  <a:pt x="286506" y="62192"/>
                  <a:pt x="281393" y="62359"/>
                </a:cubicBezTo>
                <a:cubicBezTo>
                  <a:pt x="192228" y="65269"/>
                  <a:pt x="103059" y="68083"/>
                  <a:pt x="13891" y="70892"/>
                </a:cubicBezTo>
                <a:cubicBezTo>
                  <a:pt x="9772" y="71022"/>
                  <a:pt x="5645" y="70909"/>
                  <a:pt x="0" y="70909"/>
                </a:cubicBezTo>
                <a:cubicBezTo>
                  <a:pt x="1487" y="50015"/>
                  <a:pt x="2892" y="30265"/>
                  <a:pt x="4414" y="8877"/>
                </a:cubicBezTo>
                <a:cubicBezTo>
                  <a:pt x="23034" y="7159"/>
                  <a:pt x="41075" y="7283"/>
                  <a:pt x="59085" y="6769"/>
                </a:cubicBezTo>
                <a:cubicBezTo>
                  <a:pt x="76825" y="6262"/>
                  <a:pt x="94556" y="5438"/>
                  <a:pt x="113686" y="4708"/>
                </a:cubicBezTo>
                <a:close/>
              </a:path>
            </a:pathLst>
          </a:custGeom>
          <a:solidFill>
            <a:srgbClr val="FEFDFB"/>
          </a:solidFill>
          <a:ln w="1401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982" name="Free-form: Shape 3981">
            <a:extLst>
              <a:ext uri="{FF2B5EF4-FFF2-40B4-BE49-F238E27FC236}">
                <a16:creationId xmlns:a16="http://schemas.microsoft.com/office/drawing/2014/main" id="{7ACDA07E-6B96-429C-922A-BD1D605035F6}"/>
              </a:ext>
            </a:extLst>
          </p:cNvPr>
          <p:cNvSpPr/>
          <p:nvPr/>
        </p:nvSpPr>
        <p:spPr>
          <a:xfrm>
            <a:off x="6898992" y="4190994"/>
            <a:ext cx="196098" cy="333598"/>
          </a:xfrm>
          <a:custGeom>
            <a:avLst/>
            <a:gdLst>
              <a:gd name="csX0" fmla="*/ 14188 w 382415"/>
              <a:gd name="csY0" fmla="*/ 447946 h 591415"/>
              <a:gd name="csX1" fmla="*/ 12298 w 382415"/>
              <a:gd name="csY1" fmla="*/ 381038 h 591415"/>
              <a:gd name="csX2" fmla="*/ 11200 w 382415"/>
              <a:gd name="csY2" fmla="*/ 363835 h 591415"/>
              <a:gd name="csX3" fmla="*/ 9378 w 382415"/>
              <a:gd name="csY3" fmla="*/ 305508 h 591415"/>
              <a:gd name="csX4" fmla="*/ 8516 w 382415"/>
              <a:gd name="csY4" fmla="*/ 296482 h 591415"/>
              <a:gd name="csX5" fmla="*/ 6728 w 382415"/>
              <a:gd name="csY5" fmla="*/ 223958 h 591415"/>
              <a:gd name="csX6" fmla="*/ 5645 w 382415"/>
              <a:gd name="csY6" fmla="*/ 206735 h 591415"/>
              <a:gd name="csX7" fmla="*/ 3964 w 382415"/>
              <a:gd name="csY7" fmla="*/ 137053 h 591415"/>
              <a:gd name="csX8" fmla="*/ 2902 w 382415"/>
              <a:gd name="csY8" fmla="*/ 122565 h 591415"/>
              <a:gd name="csX9" fmla="*/ 1011 w 382415"/>
              <a:gd name="csY9" fmla="*/ 47301 h 591415"/>
              <a:gd name="csX10" fmla="*/ 20 w 382415"/>
              <a:gd name="csY10" fmla="*/ 32821 h 591415"/>
              <a:gd name="csX11" fmla="*/ 512 w 382415"/>
              <a:gd name="csY11" fmla="*/ 4394 h 591415"/>
              <a:gd name="csX12" fmla="*/ 2417 w 382415"/>
              <a:gd name="csY12" fmla="*/ 1592 h 591415"/>
              <a:gd name="csX13" fmla="*/ 115794 w 382415"/>
              <a:gd name="csY13" fmla="*/ 4 h 591415"/>
              <a:gd name="csX14" fmla="*/ 162265 w 382415"/>
              <a:gd name="csY14" fmla="*/ 2117 h 591415"/>
              <a:gd name="csX15" fmla="*/ 168630 w 382415"/>
              <a:gd name="csY15" fmla="*/ 1773 h 591415"/>
              <a:gd name="csX16" fmla="*/ 314663 w 382415"/>
              <a:gd name="csY16" fmla="*/ 18731 h 591415"/>
              <a:gd name="csX17" fmla="*/ 367127 w 382415"/>
              <a:gd name="csY17" fmla="*/ 32924 h 591415"/>
              <a:gd name="csX18" fmla="*/ 382384 w 382415"/>
              <a:gd name="csY18" fmla="*/ 56466 h 591415"/>
              <a:gd name="csX19" fmla="*/ 368394 w 382415"/>
              <a:gd name="csY19" fmla="*/ 120544 h 591415"/>
              <a:gd name="csX20" fmla="*/ 314675 w 382415"/>
              <a:gd name="csY20" fmla="*/ 270961 h 591415"/>
              <a:gd name="csX21" fmla="*/ 213644 w 382415"/>
              <a:gd name="csY21" fmla="*/ 563667 h 591415"/>
              <a:gd name="csX22" fmla="*/ 205897 w 382415"/>
              <a:gd name="csY22" fmla="*/ 585758 h 591415"/>
              <a:gd name="csX23" fmla="*/ 138249 w 382415"/>
              <a:gd name="csY23" fmla="*/ 587362 h 591415"/>
              <a:gd name="csX24" fmla="*/ 118197 w 382415"/>
              <a:gd name="csY24" fmla="*/ 588344 h 591415"/>
              <a:gd name="csX25" fmla="*/ 59707 w 382415"/>
              <a:gd name="csY25" fmla="*/ 590000 h 591415"/>
              <a:gd name="csX26" fmla="*/ 42516 w 382415"/>
              <a:gd name="csY26" fmla="*/ 591416 h 591415"/>
              <a:gd name="csX27" fmla="*/ 20811 w 382415"/>
              <a:gd name="csY27" fmla="*/ 591416 h 591415"/>
              <a:gd name="csX28" fmla="*/ 17902 w 382415"/>
              <a:gd name="csY28" fmla="*/ 546518 h 591415"/>
              <a:gd name="csX29" fmla="*/ 16779 w 382415"/>
              <a:gd name="csY29" fmla="*/ 526538 h 591415"/>
              <a:gd name="csX30" fmla="*/ 15163 w 382415"/>
              <a:gd name="csY30" fmla="*/ 459741 h 591415"/>
              <a:gd name="csX31" fmla="*/ 14188 w 382415"/>
              <a:gd name="csY31" fmla="*/ 447946 h 59141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</a:cxnLst>
            <a:rect l="l" t="t" r="r" b="b"/>
            <a:pathLst>
              <a:path w="382415" h="591415">
                <a:moveTo>
                  <a:pt x="14188" y="447946"/>
                </a:moveTo>
                <a:cubicBezTo>
                  <a:pt x="13448" y="426344"/>
                  <a:pt x="12708" y="404741"/>
                  <a:pt x="12298" y="381038"/>
                </a:cubicBezTo>
                <a:cubicBezTo>
                  <a:pt x="12152" y="373904"/>
                  <a:pt x="11676" y="368869"/>
                  <a:pt x="11200" y="363835"/>
                </a:cubicBezTo>
                <a:cubicBezTo>
                  <a:pt x="10498" y="345020"/>
                  <a:pt x="9796" y="326206"/>
                  <a:pt x="9378" y="305508"/>
                </a:cubicBezTo>
                <a:cubicBezTo>
                  <a:pt x="9280" y="301244"/>
                  <a:pt x="8898" y="298863"/>
                  <a:pt x="8516" y="296482"/>
                </a:cubicBezTo>
                <a:cubicBezTo>
                  <a:pt x="7809" y="273008"/>
                  <a:pt x="7102" y="249535"/>
                  <a:pt x="6728" y="223958"/>
                </a:cubicBezTo>
                <a:cubicBezTo>
                  <a:pt x="6589" y="216815"/>
                  <a:pt x="6117" y="211775"/>
                  <a:pt x="5645" y="206735"/>
                </a:cubicBezTo>
                <a:cubicBezTo>
                  <a:pt x="4976" y="184187"/>
                  <a:pt x="4307" y="161639"/>
                  <a:pt x="3964" y="137053"/>
                </a:cubicBezTo>
                <a:cubicBezTo>
                  <a:pt x="3828" y="130865"/>
                  <a:pt x="3365" y="126715"/>
                  <a:pt x="2902" y="122565"/>
                </a:cubicBezTo>
                <a:cubicBezTo>
                  <a:pt x="2158" y="98167"/>
                  <a:pt x="1414" y="73768"/>
                  <a:pt x="1011" y="47301"/>
                </a:cubicBezTo>
                <a:cubicBezTo>
                  <a:pt x="908" y="41095"/>
                  <a:pt x="464" y="36958"/>
                  <a:pt x="20" y="32821"/>
                </a:cubicBezTo>
                <a:cubicBezTo>
                  <a:pt x="-19" y="23766"/>
                  <a:pt x="-59" y="14711"/>
                  <a:pt x="512" y="4394"/>
                </a:cubicBezTo>
                <a:cubicBezTo>
                  <a:pt x="1883" y="2894"/>
                  <a:pt x="2314" y="2381"/>
                  <a:pt x="2417" y="1592"/>
                </a:cubicBezTo>
                <a:cubicBezTo>
                  <a:pt x="40209" y="1024"/>
                  <a:pt x="78000" y="223"/>
                  <a:pt x="115794" y="4"/>
                </a:cubicBezTo>
                <a:cubicBezTo>
                  <a:pt x="130708" y="-82"/>
                  <a:pt x="145630" y="1128"/>
                  <a:pt x="162265" y="2117"/>
                </a:cubicBezTo>
                <a:cubicBezTo>
                  <a:pt x="165531" y="2247"/>
                  <a:pt x="167081" y="2010"/>
                  <a:pt x="168630" y="1773"/>
                </a:cubicBezTo>
                <a:cubicBezTo>
                  <a:pt x="217325" y="7297"/>
                  <a:pt x="266121" y="12088"/>
                  <a:pt x="314663" y="18731"/>
                </a:cubicBezTo>
                <a:cubicBezTo>
                  <a:pt x="332471" y="21168"/>
                  <a:pt x="349777" y="27666"/>
                  <a:pt x="367127" y="32924"/>
                </a:cubicBezTo>
                <a:cubicBezTo>
                  <a:pt x="378391" y="36339"/>
                  <a:pt x="382842" y="44413"/>
                  <a:pt x="382384" y="56466"/>
                </a:cubicBezTo>
                <a:cubicBezTo>
                  <a:pt x="381538" y="78749"/>
                  <a:pt x="375716" y="99822"/>
                  <a:pt x="368394" y="120544"/>
                </a:cubicBezTo>
                <a:cubicBezTo>
                  <a:pt x="350655" y="170742"/>
                  <a:pt x="332173" y="220680"/>
                  <a:pt x="314675" y="270961"/>
                </a:cubicBezTo>
                <a:cubicBezTo>
                  <a:pt x="280751" y="368444"/>
                  <a:pt x="247300" y="466091"/>
                  <a:pt x="213644" y="563667"/>
                </a:cubicBezTo>
                <a:cubicBezTo>
                  <a:pt x="211232" y="570661"/>
                  <a:pt x="208750" y="577629"/>
                  <a:pt x="205897" y="585758"/>
                </a:cubicBezTo>
                <a:cubicBezTo>
                  <a:pt x="184079" y="586417"/>
                  <a:pt x="162247" y="587077"/>
                  <a:pt x="138249" y="587362"/>
                </a:cubicBezTo>
                <a:cubicBezTo>
                  <a:pt x="130120" y="587439"/>
                  <a:pt x="124159" y="587891"/>
                  <a:pt x="118197" y="588344"/>
                </a:cubicBezTo>
                <a:cubicBezTo>
                  <a:pt x="99397" y="589004"/>
                  <a:pt x="80596" y="589663"/>
                  <a:pt x="59707" y="590000"/>
                </a:cubicBezTo>
                <a:cubicBezTo>
                  <a:pt x="52584" y="590258"/>
                  <a:pt x="47550" y="590837"/>
                  <a:pt x="42516" y="591416"/>
                </a:cubicBezTo>
                <a:cubicBezTo>
                  <a:pt x="35565" y="591416"/>
                  <a:pt x="28614" y="591416"/>
                  <a:pt x="20811" y="591416"/>
                </a:cubicBezTo>
                <a:cubicBezTo>
                  <a:pt x="16891" y="577297"/>
                  <a:pt x="18678" y="562841"/>
                  <a:pt x="17902" y="546518"/>
                </a:cubicBezTo>
                <a:cubicBezTo>
                  <a:pt x="17764" y="538425"/>
                  <a:pt x="17271" y="532482"/>
                  <a:pt x="16779" y="526538"/>
                </a:cubicBezTo>
                <a:cubicBezTo>
                  <a:pt x="16131" y="504937"/>
                  <a:pt x="15482" y="483336"/>
                  <a:pt x="15163" y="459741"/>
                </a:cubicBezTo>
                <a:cubicBezTo>
                  <a:pt x="15057" y="454480"/>
                  <a:pt x="14622" y="451213"/>
                  <a:pt x="14188" y="447946"/>
                </a:cubicBezTo>
                <a:close/>
              </a:path>
            </a:pathLst>
          </a:custGeom>
          <a:solidFill>
            <a:srgbClr val="FEFEFD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983" name="Free-form: Shape 3982">
            <a:extLst>
              <a:ext uri="{FF2B5EF4-FFF2-40B4-BE49-F238E27FC236}">
                <a16:creationId xmlns:a16="http://schemas.microsoft.com/office/drawing/2014/main" id="{B2A2FA1B-416C-24A1-84D9-9A5940AC5172}"/>
              </a:ext>
            </a:extLst>
          </p:cNvPr>
          <p:cNvSpPr/>
          <p:nvPr/>
        </p:nvSpPr>
        <p:spPr>
          <a:xfrm>
            <a:off x="6908899" y="4566955"/>
            <a:ext cx="121373" cy="75919"/>
          </a:xfrm>
          <a:custGeom>
            <a:avLst/>
            <a:gdLst>
              <a:gd name="csX0" fmla="*/ 105130 w 236692"/>
              <a:gd name="csY0" fmla="*/ 130054 h 134592"/>
              <a:gd name="csX1" fmla="*/ 4609 w 236692"/>
              <a:gd name="csY1" fmla="*/ 134592 h 134592"/>
              <a:gd name="csX2" fmla="*/ 3775 w 236692"/>
              <a:gd name="csY2" fmla="*/ 121667 h 134592"/>
              <a:gd name="csX3" fmla="*/ 3868 w 236692"/>
              <a:gd name="csY3" fmla="*/ 51573 h 134592"/>
              <a:gd name="csX4" fmla="*/ 0 w 236692"/>
              <a:gd name="csY4" fmla="*/ 9673 h 134592"/>
              <a:gd name="csX5" fmla="*/ 184850 w 236692"/>
              <a:gd name="csY5" fmla="*/ 471 h 134592"/>
              <a:gd name="csX6" fmla="*/ 185564 w 236692"/>
              <a:gd name="csY6" fmla="*/ 15071 h 134592"/>
              <a:gd name="csX7" fmla="*/ 204819 w 236692"/>
              <a:gd name="csY7" fmla="*/ 54944 h 134592"/>
              <a:gd name="csX8" fmla="*/ 236693 w 236692"/>
              <a:gd name="csY8" fmla="*/ 123534 h 134592"/>
              <a:gd name="csX9" fmla="*/ 170865 w 236692"/>
              <a:gd name="csY9" fmla="*/ 126995 h 134592"/>
              <a:gd name="csX10" fmla="*/ 105130 w 236692"/>
              <a:gd name="csY10" fmla="*/ 130054 h 13459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</a:cxnLst>
            <a:rect l="l" t="t" r="r" b="b"/>
            <a:pathLst>
              <a:path w="236692" h="134592">
                <a:moveTo>
                  <a:pt x="105130" y="130054"/>
                </a:moveTo>
                <a:cubicBezTo>
                  <a:pt x="71180" y="131586"/>
                  <a:pt x="38558" y="133059"/>
                  <a:pt x="4609" y="134592"/>
                </a:cubicBezTo>
                <a:cubicBezTo>
                  <a:pt x="4277" y="129680"/>
                  <a:pt x="3770" y="125673"/>
                  <a:pt x="3775" y="121667"/>
                </a:cubicBezTo>
                <a:cubicBezTo>
                  <a:pt x="3800" y="98301"/>
                  <a:pt x="4430" y="74923"/>
                  <a:pt x="3868" y="51573"/>
                </a:cubicBezTo>
                <a:cubicBezTo>
                  <a:pt x="3536" y="37759"/>
                  <a:pt x="1384" y="23989"/>
                  <a:pt x="0" y="9673"/>
                </a:cubicBezTo>
                <a:cubicBezTo>
                  <a:pt x="9728" y="5925"/>
                  <a:pt x="156314" y="-2008"/>
                  <a:pt x="184850" y="471"/>
                </a:cubicBezTo>
                <a:cubicBezTo>
                  <a:pt x="185096" y="5177"/>
                  <a:pt x="185626" y="10128"/>
                  <a:pt x="185564" y="15071"/>
                </a:cubicBezTo>
                <a:cubicBezTo>
                  <a:pt x="185359" y="31609"/>
                  <a:pt x="191283" y="44787"/>
                  <a:pt x="204819" y="54944"/>
                </a:cubicBezTo>
                <a:cubicBezTo>
                  <a:pt x="227073" y="71641"/>
                  <a:pt x="235149" y="95272"/>
                  <a:pt x="236693" y="123534"/>
                </a:cubicBezTo>
                <a:cubicBezTo>
                  <a:pt x="214423" y="127191"/>
                  <a:pt x="192555" y="125928"/>
                  <a:pt x="170865" y="126995"/>
                </a:cubicBezTo>
                <a:cubicBezTo>
                  <a:pt x="149400" y="128051"/>
                  <a:pt x="127929" y="128999"/>
                  <a:pt x="105130" y="130054"/>
                </a:cubicBezTo>
                <a:close/>
              </a:path>
            </a:pathLst>
          </a:custGeom>
          <a:solidFill>
            <a:srgbClr val="FEFDFB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969" name="Free-form: Shape 3968">
            <a:extLst>
              <a:ext uri="{FF2B5EF4-FFF2-40B4-BE49-F238E27FC236}">
                <a16:creationId xmlns:a16="http://schemas.microsoft.com/office/drawing/2014/main" id="{14C88863-DE4C-330C-35C5-9700AEF7C75D}"/>
              </a:ext>
            </a:extLst>
          </p:cNvPr>
          <p:cNvSpPr/>
          <p:nvPr/>
        </p:nvSpPr>
        <p:spPr>
          <a:xfrm>
            <a:off x="855733" y="4176301"/>
            <a:ext cx="718138" cy="1550996"/>
          </a:xfrm>
          <a:custGeom>
            <a:avLst/>
            <a:gdLst>
              <a:gd name="csX0" fmla="*/ 576414 w 768725"/>
              <a:gd name="csY0" fmla="*/ 893042 h 1509319"/>
              <a:gd name="csX1" fmla="*/ 613047 w 768725"/>
              <a:gd name="csY1" fmla="*/ 1059329 h 1509319"/>
              <a:gd name="csX2" fmla="*/ 623337 w 768725"/>
              <a:gd name="csY2" fmla="*/ 1071825 h 1509319"/>
              <a:gd name="csX3" fmla="*/ 639863 w 768725"/>
              <a:gd name="csY3" fmla="*/ 1079946 h 1509319"/>
              <a:gd name="csX4" fmla="*/ 652266 w 768725"/>
              <a:gd name="csY4" fmla="*/ 1109045 h 1509319"/>
              <a:gd name="csX5" fmla="*/ 645501 w 768725"/>
              <a:gd name="csY5" fmla="*/ 1127466 h 1509319"/>
              <a:gd name="csX6" fmla="*/ 645547 w 768725"/>
              <a:gd name="csY6" fmla="*/ 1144138 h 1509319"/>
              <a:gd name="csX7" fmla="*/ 664589 w 768725"/>
              <a:gd name="csY7" fmla="*/ 1175322 h 1509319"/>
              <a:gd name="csX8" fmla="*/ 712015 w 768725"/>
              <a:gd name="csY8" fmla="*/ 1225118 h 1509319"/>
              <a:gd name="csX9" fmla="*/ 744465 w 768725"/>
              <a:gd name="csY9" fmla="*/ 1300385 h 1509319"/>
              <a:gd name="csX10" fmla="*/ 743270 w 768725"/>
              <a:gd name="csY10" fmla="*/ 1350524 h 1509319"/>
              <a:gd name="csX11" fmla="*/ 745429 w 768725"/>
              <a:gd name="csY11" fmla="*/ 1363274 h 1509319"/>
              <a:gd name="csX12" fmla="*/ 768672 w 768725"/>
              <a:gd name="csY12" fmla="*/ 1456512 h 1509319"/>
              <a:gd name="csX13" fmla="*/ 758521 w 768725"/>
              <a:gd name="csY13" fmla="*/ 1472434 h 1509319"/>
              <a:gd name="csX14" fmla="*/ 730455 w 768725"/>
              <a:gd name="csY14" fmla="*/ 1481228 h 1509319"/>
              <a:gd name="csX15" fmla="*/ 594867 w 768725"/>
              <a:gd name="csY15" fmla="*/ 1502210 h 1509319"/>
              <a:gd name="csX16" fmla="*/ 320018 w 768725"/>
              <a:gd name="csY16" fmla="*/ 1508300 h 1509319"/>
              <a:gd name="csX17" fmla="*/ 186464 w 768725"/>
              <a:gd name="csY17" fmla="*/ 1501258 h 1509319"/>
              <a:gd name="csX18" fmla="*/ 26582 w 768725"/>
              <a:gd name="csY18" fmla="*/ 1477021 h 1509319"/>
              <a:gd name="csX19" fmla="*/ 3929 w 768725"/>
              <a:gd name="csY19" fmla="*/ 1465652 h 1509319"/>
              <a:gd name="csX20" fmla="*/ 18 w 768725"/>
              <a:gd name="csY20" fmla="*/ 1456203 h 1509319"/>
              <a:gd name="csX21" fmla="*/ 4393 w 768725"/>
              <a:gd name="csY21" fmla="*/ 1417235 h 1509319"/>
              <a:gd name="csX22" fmla="*/ 19158 w 768725"/>
              <a:gd name="csY22" fmla="*/ 1370678 h 1509319"/>
              <a:gd name="csX23" fmla="*/ 23255 w 768725"/>
              <a:gd name="csY23" fmla="*/ 1342388 h 1509319"/>
              <a:gd name="csX24" fmla="*/ 38705 w 768725"/>
              <a:gd name="csY24" fmla="*/ 1247261 h 1509319"/>
              <a:gd name="csX25" fmla="*/ 58454 w 768725"/>
              <a:gd name="csY25" fmla="*/ 1220807 h 1509319"/>
              <a:gd name="csX26" fmla="*/ 103638 w 768725"/>
              <a:gd name="csY26" fmla="*/ 1175667 h 1509319"/>
              <a:gd name="csX27" fmla="*/ 122996 w 768725"/>
              <a:gd name="csY27" fmla="*/ 1146131 h 1509319"/>
              <a:gd name="csX28" fmla="*/ 122689 w 768725"/>
              <a:gd name="csY28" fmla="*/ 1128316 h 1509319"/>
              <a:gd name="csX29" fmla="*/ 116576 w 768725"/>
              <a:gd name="csY29" fmla="*/ 1113575 h 1509319"/>
              <a:gd name="csX30" fmla="*/ 127479 w 768725"/>
              <a:gd name="csY30" fmla="*/ 1081076 h 1509319"/>
              <a:gd name="csX31" fmla="*/ 137480 w 768725"/>
              <a:gd name="csY31" fmla="*/ 1076482 h 1509319"/>
              <a:gd name="csX32" fmla="*/ 157312 w 768725"/>
              <a:gd name="csY32" fmla="*/ 1053855 h 1509319"/>
              <a:gd name="csX33" fmla="*/ 178876 w 768725"/>
              <a:gd name="csY33" fmla="*/ 958120 h 1509319"/>
              <a:gd name="csX34" fmla="*/ 210165 w 768725"/>
              <a:gd name="csY34" fmla="*/ 781849 h 1509319"/>
              <a:gd name="csX35" fmla="*/ 223295 w 768725"/>
              <a:gd name="csY35" fmla="*/ 674755 h 1509319"/>
              <a:gd name="csX36" fmla="*/ 231121 w 768725"/>
              <a:gd name="csY36" fmla="*/ 564636 h 1509319"/>
              <a:gd name="csX37" fmla="*/ 235173 w 768725"/>
              <a:gd name="csY37" fmla="*/ 453038 h 1509319"/>
              <a:gd name="csX38" fmla="*/ 235001 w 768725"/>
              <a:gd name="csY38" fmla="*/ 443215 h 1509319"/>
              <a:gd name="csX39" fmla="*/ 224321 w 768725"/>
              <a:gd name="csY39" fmla="*/ 428479 h 1509319"/>
              <a:gd name="csX40" fmla="*/ 204712 w 768725"/>
              <a:gd name="csY40" fmla="*/ 418450 h 1509319"/>
              <a:gd name="csX41" fmla="*/ 184069 w 768725"/>
              <a:gd name="csY41" fmla="*/ 366060 h 1509319"/>
              <a:gd name="csX42" fmla="*/ 206519 w 768725"/>
              <a:gd name="csY42" fmla="*/ 338181 h 1509319"/>
              <a:gd name="csX43" fmla="*/ 226643 w 768725"/>
              <a:gd name="csY43" fmla="*/ 329113 h 1509319"/>
              <a:gd name="csX44" fmla="*/ 232085 w 768725"/>
              <a:gd name="csY44" fmla="*/ 311135 h 1509319"/>
              <a:gd name="csX45" fmla="*/ 221280 w 768725"/>
              <a:gd name="csY45" fmla="*/ 299552 h 1509319"/>
              <a:gd name="csX46" fmla="*/ 173478 w 768725"/>
              <a:gd name="csY46" fmla="*/ 230303 h 1509319"/>
              <a:gd name="csX47" fmla="*/ 141864 w 768725"/>
              <a:gd name="csY47" fmla="*/ 95780 h 1509319"/>
              <a:gd name="csX48" fmla="*/ 137158 w 768725"/>
              <a:gd name="csY48" fmla="*/ 37107 h 1509319"/>
              <a:gd name="csX49" fmla="*/ 148750 w 768725"/>
              <a:gd name="csY49" fmla="*/ 22335 h 1509319"/>
              <a:gd name="csX50" fmla="*/ 236982 w 768725"/>
              <a:gd name="csY50" fmla="*/ 7640 h 1509319"/>
              <a:gd name="csX51" fmla="*/ 246862 w 768725"/>
              <a:gd name="csY51" fmla="*/ 7580 h 1509319"/>
              <a:gd name="csX52" fmla="*/ 261473 w 768725"/>
              <a:gd name="csY52" fmla="*/ 86763 h 1509319"/>
              <a:gd name="csX53" fmla="*/ 306246 w 768725"/>
              <a:gd name="csY53" fmla="*/ 83559 h 1509319"/>
              <a:gd name="csX54" fmla="*/ 306960 w 768725"/>
              <a:gd name="csY54" fmla="*/ 71087 h 1509319"/>
              <a:gd name="csX55" fmla="*/ 306724 w 768725"/>
              <a:gd name="csY55" fmla="*/ 19491 h 1509319"/>
              <a:gd name="csX56" fmla="*/ 319581 w 768725"/>
              <a:gd name="csY56" fmla="*/ 4733 h 1509319"/>
              <a:gd name="csX57" fmla="*/ 430956 w 768725"/>
              <a:gd name="csY57" fmla="*/ 2070 h 1509319"/>
              <a:gd name="csX58" fmla="*/ 437066 w 768725"/>
              <a:gd name="csY58" fmla="*/ 2646 h 1509319"/>
              <a:gd name="csX59" fmla="*/ 460335 w 768725"/>
              <a:gd name="csY59" fmla="*/ 24205 h 1509319"/>
              <a:gd name="csX60" fmla="*/ 463579 w 768725"/>
              <a:gd name="csY60" fmla="*/ 62081 h 1509319"/>
              <a:gd name="csX61" fmla="*/ 463652 w 768725"/>
              <a:gd name="csY61" fmla="*/ 82953 h 1509319"/>
              <a:gd name="csX62" fmla="*/ 507205 w 768725"/>
              <a:gd name="csY62" fmla="*/ 85553 h 1509319"/>
              <a:gd name="csX63" fmla="*/ 513271 w 768725"/>
              <a:gd name="csY63" fmla="*/ 61890 h 1509319"/>
              <a:gd name="csX64" fmla="*/ 520203 w 768725"/>
              <a:gd name="csY64" fmla="*/ 18323 h 1509319"/>
              <a:gd name="csX65" fmla="*/ 534008 w 768725"/>
              <a:gd name="csY65" fmla="*/ 7785 h 1509319"/>
              <a:gd name="csX66" fmla="*/ 595925 w 768725"/>
              <a:gd name="csY66" fmla="*/ 16407 h 1509319"/>
              <a:gd name="csX67" fmla="*/ 619972 w 768725"/>
              <a:gd name="csY67" fmla="*/ 21156 h 1509319"/>
              <a:gd name="csX68" fmla="*/ 631161 w 768725"/>
              <a:gd name="csY68" fmla="*/ 36134 h 1509319"/>
              <a:gd name="csX69" fmla="*/ 628140 w 768725"/>
              <a:gd name="csY69" fmla="*/ 85104 h 1509319"/>
              <a:gd name="csX70" fmla="*/ 613954 w 768725"/>
              <a:gd name="csY70" fmla="*/ 179618 h 1509319"/>
              <a:gd name="csX71" fmla="*/ 586196 w 768725"/>
              <a:gd name="csY71" fmla="*/ 256886 h 1509319"/>
              <a:gd name="csX72" fmla="*/ 554619 w 768725"/>
              <a:gd name="csY72" fmla="*/ 295312 h 1509319"/>
              <a:gd name="csX73" fmla="*/ 538601 w 768725"/>
              <a:gd name="csY73" fmla="*/ 315001 h 1509319"/>
              <a:gd name="csX74" fmla="*/ 542630 w 768725"/>
              <a:gd name="csY74" fmla="*/ 326199 h 1509319"/>
              <a:gd name="csX75" fmla="*/ 560240 w 768725"/>
              <a:gd name="csY75" fmla="*/ 334912 h 1509319"/>
              <a:gd name="csX76" fmla="*/ 586933 w 768725"/>
              <a:gd name="csY76" fmla="*/ 371800 h 1509319"/>
              <a:gd name="csX77" fmla="*/ 563039 w 768725"/>
              <a:gd name="csY77" fmla="*/ 418184 h 1509319"/>
              <a:gd name="csX78" fmla="*/ 545522 w 768725"/>
              <a:gd name="csY78" fmla="*/ 427008 h 1509319"/>
              <a:gd name="csX79" fmla="*/ 535507 w 768725"/>
              <a:gd name="csY79" fmla="*/ 440667 h 1509319"/>
              <a:gd name="csX80" fmla="*/ 536723 w 768725"/>
              <a:gd name="csY80" fmla="*/ 537651 h 1509319"/>
              <a:gd name="csX81" fmla="*/ 539820 w 768725"/>
              <a:gd name="csY81" fmla="*/ 595237 h 1509319"/>
              <a:gd name="csX82" fmla="*/ 553105 w 768725"/>
              <a:gd name="csY82" fmla="*/ 746727 h 1509319"/>
              <a:gd name="csX83" fmla="*/ 576414 w 768725"/>
              <a:gd name="csY83" fmla="*/ 893042 h 1509319"/>
              <a:gd name="csX84" fmla="*/ 500356 w 768725"/>
              <a:gd name="csY84" fmla="*/ 473996 h 1509319"/>
              <a:gd name="csX85" fmla="*/ 499749 w 768725"/>
              <a:gd name="csY85" fmla="*/ 463598 h 1509319"/>
              <a:gd name="csX86" fmla="*/ 392525 w 768725"/>
              <a:gd name="csY86" fmla="*/ 471627 h 1509319"/>
              <a:gd name="csX87" fmla="*/ 392518 w 768725"/>
              <a:gd name="csY87" fmla="*/ 482742 h 1509319"/>
              <a:gd name="csX88" fmla="*/ 390814 w 768725"/>
              <a:gd name="csY88" fmla="*/ 596913 h 1509319"/>
              <a:gd name="csX89" fmla="*/ 385953 w 768725"/>
              <a:gd name="csY89" fmla="*/ 788374 h 1509319"/>
              <a:gd name="csX90" fmla="*/ 383485 w 768725"/>
              <a:gd name="csY90" fmla="*/ 884103 h 1509319"/>
              <a:gd name="csX91" fmla="*/ 380173 w 768725"/>
              <a:gd name="csY91" fmla="*/ 1035109 h 1509319"/>
              <a:gd name="csX92" fmla="*/ 378826 w 768725"/>
              <a:gd name="csY92" fmla="*/ 1068199 h 1509319"/>
              <a:gd name="csX93" fmla="*/ 380180 w 768725"/>
              <a:gd name="csY93" fmla="*/ 1074648 h 1509319"/>
              <a:gd name="csX94" fmla="*/ 446854 w 768725"/>
              <a:gd name="csY94" fmla="*/ 1074654 h 1509319"/>
              <a:gd name="csX95" fmla="*/ 513191 w 768725"/>
              <a:gd name="csY95" fmla="*/ 1074731 h 1509319"/>
              <a:gd name="csX96" fmla="*/ 580317 w 768725"/>
              <a:gd name="csY96" fmla="*/ 1075095 h 1509319"/>
              <a:gd name="csX97" fmla="*/ 500356 w 768725"/>
              <a:gd name="csY97" fmla="*/ 473996 h 1509319"/>
              <a:gd name="csX98" fmla="*/ 459731 w 768725"/>
              <a:gd name="csY98" fmla="*/ 1135086 h 1509319"/>
              <a:gd name="csX99" fmla="*/ 383756 w 768725"/>
              <a:gd name="csY99" fmla="*/ 1135086 h 1509319"/>
              <a:gd name="csX100" fmla="*/ 387612 w 768725"/>
              <a:gd name="csY100" fmla="*/ 1242590 h 1509319"/>
              <a:gd name="csX101" fmla="*/ 383907 w 768725"/>
              <a:gd name="csY101" fmla="*/ 1351330 h 1509319"/>
              <a:gd name="csX102" fmla="*/ 707112 w 768725"/>
              <a:gd name="csY102" fmla="*/ 1330559 h 1509319"/>
              <a:gd name="csX103" fmla="*/ 686366 w 768725"/>
              <a:gd name="csY103" fmla="*/ 1251637 h 1509319"/>
              <a:gd name="csX104" fmla="*/ 639403 w 768725"/>
              <a:gd name="csY104" fmla="*/ 1199952 h 1509319"/>
              <a:gd name="csX105" fmla="*/ 606292 w 768725"/>
              <a:gd name="csY105" fmla="*/ 1135508 h 1509319"/>
              <a:gd name="csX106" fmla="*/ 602971 w 768725"/>
              <a:gd name="csY106" fmla="*/ 1123400 h 1509319"/>
              <a:gd name="csX107" fmla="*/ 591474 w 768725"/>
              <a:gd name="csY107" fmla="*/ 1124633 h 1509319"/>
              <a:gd name="csX108" fmla="*/ 530551 w 768725"/>
              <a:gd name="csY108" fmla="*/ 1130880 h 1509319"/>
              <a:gd name="csX109" fmla="*/ 459731 w 768725"/>
              <a:gd name="csY109" fmla="*/ 1135086 h 1509319"/>
              <a:gd name="csX110" fmla="*/ 469505 w 768725"/>
              <a:gd name="csY110" fmla="*/ 116252 h 1509319"/>
              <a:gd name="csX111" fmla="*/ 443782 w 768725"/>
              <a:gd name="csY111" fmla="*/ 114911 h 1509319"/>
              <a:gd name="csX112" fmla="*/ 430007 w 768725"/>
              <a:gd name="csY112" fmla="*/ 99878 h 1509319"/>
              <a:gd name="csX113" fmla="*/ 429331 w 768725"/>
              <a:gd name="csY113" fmla="*/ 69197 h 1509319"/>
              <a:gd name="csX114" fmla="*/ 426333 w 768725"/>
              <a:gd name="csY114" fmla="*/ 34606 h 1509319"/>
              <a:gd name="csX115" fmla="*/ 377548 w 768725"/>
              <a:gd name="csY115" fmla="*/ 34613 h 1509319"/>
              <a:gd name="csX116" fmla="*/ 368004 w 768725"/>
              <a:gd name="csY116" fmla="*/ 44529 h 1509319"/>
              <a:gd name="csX117" fmla="*/ 366185 w 768725"/>
              <a:gd name="csY117" fmla="*/ 76343 h 1509319"/>
              <a:gd name="csX118" fmla="*/ 379384 w 768725"/>
              <a:gd name="csY118" fmla="*/ 206619 h 1509319"/>
              <a:gd name="csX119" fmla="*/ 390997 w 768725"/>
              <a:gd name="csY119" fmla="*/ 277965 h 1509319"/>
              <a:gd name="csX120" fmla="*/ 394040 w 768725"/>
              <a:gd name="csY120" fmla="*/ 305053 h 1509319"/>
              <a:gd name="csX121" fmla="*/ 501758 w 768725"/>
              <a:gd name="csY121" fmla="*/ 304814 h 1509319"/>
              <a:gd name="csX122" fmla="*/ 510340 w 768725"/>
              <a:gd name="csY122" fmla="*/ 299427 h 1509319"/>
              <a:gd name="csX123" fmla="*/ 526940 w 768725"/>
              <a:gd name="csY123" fmla="*/ 279822 h 1509319"/>
              <a:gd name="csX124" fmla="*/ 576920 w 768725"/>
              <a:gd name="csY124" fmla="*/ 192342 h 1509319"/>
              <a:gd name="csX125" fmla="*/ 594042 w 768725"/>
              <a:gd name="csY125" fmla="*/ 74918 h 1509319"/>
              <a:gd name="csX126" fmla="*/ 594159 w 768725"/>
              <a:gd name="csY126" fmla="*/ 49195 h 1509319"/>
              <a:gd name="csX127" fmla="*/ 554791 w 768725"/>
              <a:gd name="csY127" fmla="*/ 42552 h 1509319"/>
              <a:gd name="csX128" fmla="*/ 552461 w 768725"/>
              <a:gd name="csY128" fmla="*/ 55598 h 1509319"/>
              <a:gd name="csX129" fmla="*/ 544678 w 768725"/>
              <a:gd name="csY129" fmla="*/ 102721 h 1509319"/>
              <a:gd name="csX130" fmla="*/ 525701 w 768725"/>
              <a:gd name="csY130" fmla="*/ 118186 h 1509319"/>
              <a:gd name="csX131" fmla="*/ 469505 w 768725"/>
              <a:gd name="csY131" fmla="*/ 116252 h 1509319"/>
              <a:gd name="csX132" fmla="*/ 513928 w 768725"/>
              <a:gd name="csY132" fmla="*/ 1403203 h 1509319"/>
              <a:gd name="csX133" fmla="*/ 379322 w 768725"/>
              <a:gd name="csY133" fmla="*/ 1404000 h 1509319"/>
              <a:gd name="csX134" fmla="*/ 379322 w 768725"/>
              <a:gd name="csY134" fmla="*/ 1460424 h 1509319"/>
              <a:gd name="csX135" fmla="*/ 726554 w 768725"/>
              <a:gd name="csY135" fmla="*/ 1439225 h 1509319"/>
              <a:gd name="csX136" fmla="*/ 721089 w 768725"/>
              <a:gd name="csY136" fmla="*/ 1397750 h 1509319"/>
              <a:gd name="csX137" fmla="*/ 697967 w 768725"/>
              <a:gd name="csY137" fmla="*/ 1385046 h 1509319"/>
              <a:gd name="csX138" fmla="*/ 619039 w 768725"/>
              <a:gd name="csY138" fmla="*/ 1395892 h 1509319"/>
              <a:gd name="csX139" fmla="*/ 513928 w 768725"/>
              <a:gd name="csY139" fmla="*/ 1403203 h 1509319"/>
              <a:gd name="csX140" fmla="*/ 462814 w 768725"/>
              <a:gd name="csY140" fmla="*/ 375981 h 1509319"/>
              <a:gd name="csX141" fmla="*/ 538992 w 768725"/>
              <a:gd name="csY141" fmla="*/ 375736 h 1509319"/>
              <a:gd name="csX142" fmla="*/ 551835 w 768725"/>
              <a:gd name="csY142" fmla="*/ 373923 h 1509319"/>
              <a:gd name="csX143" fmla="*/ 539689 w 768725"/>
              <a:gd name="csY143" fmla="*/ 356085 h 1509319"/>
              <a:gd name="csX144" fmla="*/ 521074 w 768725"/>
              <a:gd name="csY144" fmla="*/ 344186 h 1509319"/>
              <a:gd name="csX145" fmla="*/ 503789 w 768725"/>
              <a:gd name="csY145" fmla="*/ 339280 h 1509319"/>
              <a:gd name="csX146" fmla="*/ 404270 w 768725"/>
              <a:gd name="csY146" fmla="*/ 339994 h 1509319"/>
              <a:gd name="csX147" fmla="*/ 393081 w 768725"/>
              <a:gd name="csY147" fmla="*/ 340868 h 1509319"/>
              <a:gd name="csX148" fmla="*/ 395001 w 768725"/>
              <a:gd name="csY148" fmla="*/ 375976 h 1509319"/>
              <a:gd name="csX149" fmla="*/ 462814 w 768725"/>
              <a:gd name="csY149" fmla="*/ 375981 h 150931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</a:cxnLst>
            <a:rect l="l" t="t" r="r" b="b"/>
            <a:pathLst>
              <a:path w="768725" h="1509319">
                <a:moveTo>
                  <a:pt x="576414" y="893042"/>
                </a:moveTo>
                <a:cubicBezTo>
                  <a:pt x="588806" y="949146"/>
                  <a:pt x="601091" y="1004202"/>
                  <a:pt x="613047" y="1059329"/>
                </a:cubicBezTo>
                <a:cubicBezTo>
                  <a:pt x="614432" y="1065716"/>
                  <a:pt x="617736" y="1069332"/>
                  <a:pt x="623337" y="1071825"/>
                </a:cubicBezTo>
                <a:cubicBezTo>
                  <a:pt x="628942" y="1074320"/>
                  <a:pt x="634521" y="1076938"/>
                  <a:pt x="639863" y="1079946"/>
                </a:cubicBezTo>
                <a:cubicBezTo>
                  <a:pt x="650944" y="1086186"/>
                  <a:pt x="655598" y="1096871"/>
                  <a:pt x="652266" y="1109045"/>
                </a:cubicBezTo>
                <a:cubicBezTo>
                  <a:pt x="650545" y="1115333"/>
                  <a:pt x="647953" y="1121401"/>
                  <a:pt x="645501" y="1127466"/>
                </a:cubicBezTo>
                <a:cubicBezTo>
                  <a:pt x="643225" y="1133097"/>
                  <a:pt x="643438" y="1138435"/>
                  <a:pt x="645547" y="1144138"/>
                </a:cubicBezTo>
                <a:cubicBezTo>
                  <a:pt x="649868" y="1155821"/>
                  <a:pt x="655892" y="1166306"/>
                  <a:pt x="664589" y="1175322"/>
                </a:cubicBezTo>
                <a:cubicBezTo>
                  <a:pt x="680503" y="1191819"/>
                  <a:pt x="696298" y="1208434"/>
                  <a:pt x="712015" y="1225118"/>
                </a:cubicBezTo>
                <a:cubicBezTo>
                  <a:pt x="731931" y="1246258"/>
                  <a:pt x="740856" y="1272032"/>
                  <a:pt x="744465" y="1300385"/>
                </a:cubicBezTo>
                <a:cubicBezTo>
                  <a:pt x="746614" y="1317273"/>
                  <a:pt x="744537" y="1333855"/>
                  <a:pt x="743270" y="1350524"/>
                </a:cubicBezTo>
                <a:cubicBezTo>
                  <a:pt x="742916" y="1355183"/>
                  <a:pt x="743079" y="1358990"/>
                  <a:pt x="745429" y="1363274"/>
                </a:cubicBezTo>
                <a:cubicBezTo>
                  <a:pt x="761335" y="1392276"/>
                  <a:pt x="766719" y="1423956"/>
                  <a:pt x="768672" y="1456512"/>
                </a:cubicBezTo>
                <a:cubicBezTo>
                  <a:pt x="769161" y="1464651"/>
                  <a:pt x="766327" y="1469951"/>
                  <a:pt x="758521" y="1472434"/>
                </a:cubicBezTo>
                <a:cubicBezTo>
                  <a:pt x="749176" y="1475406"/>
                  <a:pt x="739961" y="1478919"/>
                  <a:pt x="730455" y="1481228"/>
                </a:cubicBezTo>
                <a:cubicBezTo>
                  <a:pt x="685866" y="1492058"/>
                  <a:pt x="640613" y="1498445"/>
                  <a:pt x="594867" y="1502210"/>
                </a:cubicBezTo>
                <a:cubicBezTo>
                  <a:pt x="503351" y="1509743"/>
                  <a:pt x="411695" y="1510364"/>
                  <a:pt x="320018" y="1508300"/>
                </a:cubicBezTo>
                <a:cubicBezTo>
                  <a:pt x="275466" y="1507297"/>
                  <a:pt x="230913" y="1504582"/>
                  <a:pt x="186464" y="1501258"/>
                </a:cubicBezTo>
                <a:cubicBezTo>
                  <a:pt x="132610" y="1497231"/>
                  <a:pt x="79072" y="1490389"/>
                  <a:pt x="26582" y="1477021"/>
                </a:cubicBezTo>
                <a:cubicBezTo>
                  <a:pt x="18195" y="1474885"/>
                  <a:pt x="9735" y="1472585"/>
                  <a:pt x="3929" y="1465652"/>
                </a:cubicBezTo>
                <a:cubicBezTo>
                  <a:pt x="1807" y="1463117"/>
                  <a:pt x="-213" y="1459275"/>
                  <a:pt x="18" y="1456203"/>
                </a:cubicBezTo>
                <a:cubicBezTo>
                  <a:pt x="995" y="1443177"/>
                  <a:pt x="2714" y="1430200"/>
                  <a:pt x="4393" y="1417235"/>
                </a:cubicBezTo>
                <a:cubicBezTo>
                  <a:pt x="6515" y="1400846"/>
                  <a:pt x="11310" y="1385118"/>
                  <a:pt x="19158" y="1370678"/>
                </a:cubicBezTo>
                <a:cubicBezTo>
                  <a:pt x="24205" y="1361393"/>
                  <a:pt x="24576" y="1352443"/>
                  <a:pt x="23255" y="1342388"/>
                </a:cubicBezTo>
                <a:cubicBezTo>
                  <a:pt x="18901" y="1309218"/>
                  <a:pt x="21603" y="1276876"/>
                  <a:pt x="38705" y="1247261"/>
                </a:cubicBezTo>
                <a:cubicBezTo>
                  <a:pt x="44179" y="1237783"/>
                  <a:pt x="50956" y="1228786"/>
                  <a:pt x="58454" y="1220807"/>
                </a:cubicBezTo>
                <a:cubicBezTo>
                  <a:pt x="73024" y="1205299"/>
                  <a:pt x="88543" y="1190683"/>
                  <a:pt x="103638" y="1175667"/>
                </a:cubicBezTo>
                <a:cubicBezTo>
                  <a:pt x="112161" y="1167189"/>
                  <a:pt x="118801" y="1157513"/>
                  <a:pt x="122996" y="1146131"/>
                </a:cubicBezTo>
                <a:cubicBezTo>
                  <a:pt x="125249" y="1140016"/>
                  <a:pt x="125488" y="1134282"/>
                  <a:pt x="122689" y="1128316"/>
                </a:cubicBezTo>
                <a:cubicBezTo>
                  <a:pt x="120431" y="1123504"/>
                  <a:pt x="118446" y="1118553"/>
                  <a:pt x="116576" y="1113575"/>
                </a:cubicBezTo>
                <a:cubicBezTo>
                  <a:pt x="111153" y="1099133"/>
                  <a:pt x="114404" y="1089299"/>
                  <a:pt x="127479" y="1081076"/>
                </a:cubicBezTo>
                <a:cubicBezTo>
                  <a:pt x="130563" y="1079137"/>
                  <a:pt x="134000" y="1077564"/>
                  <a:pt x="137480" y="1076482"/>
                </a:cubicBezTo>
                <a:cubicBezTo>
                  <a:pt x="148800" y="1072962"/>
                  <a:pt x="154794" y="1065351"/>
                  <a:pt x="157312" y="1053855"/>
                </a:cubicBezTo>
                <a:cubicBezTo>
                  <a:pt x="164312" y="1021900"/>
                  <a:pt x="172752" y="990234"/>
                  <a:pt x="178876" y="958120"/>
                </a:cubicBezTo>
                <a:cubicBezTo>
                  <a:pt x="190055" y="899504"/>
                  <a:pt x="200649" y="840756"/>
                  <a:pt x="210165" y="781849"/>
                </a:cubicBezTo>
                <a:cubicBezTo>
                  <a:pt x="215898" y="746366"/>
                  <a:pt x="219868" y="710550"/>
                  <a:pt x="223295" y="674755"/>
                </a:cubicBezTo>
                <a:cubicBezTo>
                  <a:pt x="226801" y="638133"/>
                  <a:pt x="229185" y="601381"/>
                  <a:pt x="231121" y="564636"/>
                </a:cubicBezTo>
                <a:cubicBezTo>
                  <a:pt x="233079" y="527469"/>
                  <a:pt x="233899" y="490241"/>
                  <a:pt x="235173" y="453038"/>
                </a:cubicBezTo>
                <a:cubicBezTo>
                  <a:pt x="235285" y="449770"/>
                  <a:pt x="235108" y="446488"/>
                  <a:pt x="235001" y="443215"/>
                </a:cubicBezTo>
                <a:cubicBezTo>
                  <a:pt x="234761" y="435907"/>
                  <a:pt x="231291" y="431283"/>
                  <a:pt x="224321" y="428479"/>
                </a:cubicBezTo>
                <a:cubicBezTo>
                  <a:pt x="217531" y="425747"/>
                  <a:pt x="210873" y="422395"/>
                  <a:pt x="204712" y="418450"/>
                </a:cubicBezTo>
                <a:cubicBezTo>
                  <a:pt x="187562" y="407468"/>
                  <a:pt x="179141" y="385623"/>
                  <a:pt x="184069" y="366060"/>
                </a:cubicBezTo>
                <a:cubicBezTo>
                  <a:pt x="187270" y="353354"/>
                  <a:pt x="195406" y="344379"/>
                  <a:pt x="206519" y="338181"/>
                </a:cubicBezTo>
                <a:cubicBezTo>
                  <a:pt x="212922" y="334611"/>
                  <a:pt x="219930" y="332132"/>
                  <a:pt x="226643" y="329113"/>
                </a:cubicBezTo>
                <a:cubicBezTo>
                  <a:pt x="236636" y="324620"/>
                  <a:pt x="238185" y="320246"/>
                  <a:pt x="232085" y="311135"/>
                </a:cubicBezTo>
                <a:cubicBezTo>
                  <a:pt x="229169" y="306779"/>
                  <a:pt x="225643" y="302195"/>
                  <a:pt x="221280" y="299552"/>
                </a:cubicBezTo>
                <a:cubicBezTo>
                  <a:pt x="194874" y="283553"/>
                  <a:pt x="183766" y="257401"/>
                  <a:pt x="173478" y="230303"/>
                </a:cubicBezTo>
                <a:cubicBezTo>
                  <a:pt x="156973" y="186824"/>
                  <a:pt x="146078" y="142097"/>
                  <a:pt x="141864" y="95780"/>
                </a:cubicBezTo>
                <a:cubicBezTo>
                  <a:pt x="140086" y="76240"/>
                  <a:pt x="138323" y="56689"/>
                  <a:pt x="137158" y="37107"/>
                </a:cubicBezTo>
                <a:cubicBezTo>
                  <a:pt x="136482" y="25735"/>
                  <a:pt x="137408" y="24372"/>
                  <a:pt x="148750" y="22335"/>
                </a:cubicBezTo>
                <a:cubicBezTo>
                  <a:pt x="178094" y="17065"/>
                  <a:pt x="207551" y="12418"/>
                  <a:pt x="236982" y="7640"/>
                </a:cubicBezTo>
                <a:cubicBezTo>
                  <a:pt x="239748" y="7191"/>
                  <a:pt x="242650" y="7580"/>
                  <a:pt x="246862" y="7580"/>
                </a:cubicBezTo>
                <a:cubicBezTo>
                  <a:pt x="255824" y="32568"/>
                  <a:pt x="255201" y="59502"/>
                  <a:pt x="261473" y="86763"/>
                </a:cubicBezTo>
                <a:cubicBezTo>
                  <a:pt x="276122" y="85715"/>
                  <a:pt x="290587" y="84680"/>
                  <a:pt x="306246" y="83559"/>
                </a:cubicBezTo>
                <a:cubicBezTo>
                  <a:pt x="306524" y="78935"/>
                  <a:pt x="306966" y="75011"/>
                  <a:pt x="306960" y="71087"/>
                </a:cubicBezTo>
                <a:cubicBezTo>
                  <a:pt x="306936" y="53888"/>
                  <a:pt x="306633" y="36688"/>
                  <a:pt x="306724" y="19491"/>
                </a:cubicBezTo>
                <a:cubicBezTo>
                  <a:pt x="306789" y="7258"/>
                  <a:pt x="307148" y="6664"/>
                  <a:pt x="319581" y="4733"/>
                </a:cubicBezTo>
                <a:cubicBezTo>
                  <a:pt x="356571" y="-1011"/>
                  <a:pt x="393735" y="-1048"/>
                  <a:pt x="430956" y="2070"/>
                </a:cubicBezTo>
                <a:cubicBezTo>
                  <a:pt x="432994" y="2241"/>
                  <a:pt x="435026" y="2485"/>
                  <a:pt x="437066" y="2646"/>
                </a:cubicBezTo>
                <a:cubicBezTo>
                  <a:pt x="455684" y="4122"/>
                  <a:pt x="457626" y="5472"/>
                  <a:pt x="460335" y="24205"/>
                </a:cubicBezTo>
                <a:cubicBezTo>
                  <a:pt x="462146" y="36727"/>
                  <a:pt x="462770" y="49435"/>
                  <a:pt x="463579" y="62081"/>
                </a:cubicBezTo>
                <a:cubicBezTo>
                  <a:pt x="463995" y="68573"/>
                  <a:pt x="463652" y="75113"/>
                  <a:pt x="463652" y="82953"/>
                </a:cubicBezTo>
                <a:cubicBezTo>
                  <a:pt x="478793" y="83857"/>
                  <a:pt x="492851" y="84696"/>
                  <a:pt x="507205" y="85553"/>
                </a:cubicBezTo>
                <a:cubicBezTo>
                  <a:pt x="512102" y="78145"/>
                  <a:pt x="511920" y="69770"/>
                  <a:pt x="513271" y="61890"/>
                </a:cubicBezTo>
                <a:cubicBezTo>
                  <a:pt x="515756" y="47397"/>
                  <a:pt x="517439" y="32758"/>
                  <a:pt x="520203" y="18323"/>
                </a:cubicBezTo>
                <a:cubicBezTo>
                  <a:pt x="522330" y="7216"/>
                  <a:pt x="522926" y="6539"/>
                  <a:pt x="534008" y="7785"/>
                </a:cubicBezTo>
                <a:cubicBezTo>
                  <a:pt x="554709" y="10113"/>
                  <a:pt x="575316" y="13322"/>
                  <a:pt x="595925" y="16407"/>
                </a:cubicBezTo>
                <a:cubicBezTo>
                  <a:pt x="604001" y="17616"/>
                  <a:pt x="612093" y="19051"/>
                  <a:pt x="619972" y="21156"/>
                </a:cubicBezTo>
                <a:cubicBezTo>
                  <a:pt x="628887" y="23538"/>
                  <a:pt x="631496" y="26848"/>
                  <a:pt x="631161" y="36134"/>
                </a:cubicBezTo>
                <a:cubicBezTo>
                  <a:pt x="630572" y="52475"/>
                  <a:pt x="629765" y="68840"/>
                  <a:pt x="628140" y="85104"/>
                </a:cubicBezTo>
                <a:cubicBezTo>
                  <a:pt x="624968" y="116827"/>
                  <a:pt x="621618" y="148545"/>
                  <a:pt x="613954" y="179618"/>
                </a:cubicBezTo>
                <a:cubicBezTo>
                  <a:pt x="607361" y="206344"/>
                  <a:pt x="597791" y="231950"/>
                  <a:pt x="586196" y="256886"/>
                </a:cubicBezTo>
                <a:cubicBezTo>
                  <a:pt x="578940" y="272491"/>
                  <a:pt x="568647" y="285371"/>
                  <a:pt x="554619" y="295312"/>
                </a:cubicBezTo>
                <a:cubicBezTo>
                  <a:pt x="547467" y="300381"/>
                  <a:pt x="541673" y="306562"/>
                  <a:pt x="538601" y="315001"/>
                </a:cubicBezTo>
                <a:cubicBezTo>
                  <a:pt x="536802" y="319945"/>
                  <a:pt x="537533" y="323761"/>
                  <a:pt x="542630" y="326199"/>
                </a:cubicBezTo>
                <a:cubicBezTo>
                  <a:pt x="548539" y="329025"/>
                  <a:pt x="554513" y="331748"/>
                  <a:pt x="560240" y="334912"/>
                </a:cubicBezTo>
                <a:cubicBezTo>
                  <a:pt x="574874" y="342998"/>
                  <a:pt x="586216" y="353688"/>
                  <a:pt x="586933" y="371800"/>
                </a:cubicBezTo>
                <a:cubicBezTo>
                  <a:pt x="587721" y="391697"/>
                  <a:pt x="581146" y="407998"/>
                  <a:pt x="563039" y="418184"/>
                </a:cubicBezTo>
                <a:cubicBezTo>
                  <a:pt x="557338" y="421391"/>
                  <a:pt x="551634" y="424825"/>
                  <a:pt x="545522" y="427008"/>
                </a:cubicBezTo>
                <a:cubicBezTo>
                  <a:pt x="538690" y="429449"/>
                  <a:pt x="535443" y="433770"/>
                  <a:pt x="535507" y="440667"/>
                </a:cubicBezTo>
                <a:cubicBezTo>
                  <a:pt x="535813" y="472997"/>
                  <a:pt x="535953" y="505332"/>
                  <a:pt x="536723" y="537651"/>
                </a:cubicBezTo>
                <a:cubicBezTo>
                  <a:pt x="537181" y="556862"/>
                  <a:pt x="538274" y="576081"/>
                  <a:pt x="539820" y="595237"/>
                </a:cubicBezTo>
                <a:cubicBezTo>
                  <a:pt x="543897" y="645768"/>
                  <a:pt x="546950" y="696441"/>
                  <a:pt x="553105" y="746727"/>
                </a:cubicBezTo>
                <a:cubicBezTo>
                  <a:pt x="559060" y="795370"/>
                  <a:pt x="568372" y="843602"/>
                  <a:pt x="576414" y="893042"/>
                </a:cubicBezTo>
                <a:moveTo>
                  <a:pt x="500356" y="473996"/>
                </a:moveTo>
                <a:cubicBezTo>
                  <a:pt x="500146" y="470396"/>
                  <a:pt x="499936" y="466797"/>
                  <a:pt x="499749" y="463598"/>
                </a:cubicBezTo>
                <a:cubicBezTo>
                  <a:pt x="463731" y="466295"/>
                  <a:pt x="428548" y="468929"/>
                  <a:pt x="392525" y="471627"/>
                </a:cubicBezTo>
                <a:cubicBezTo>
                  <a:pt x="392525" y="475456"/>
                  <a:pt x="392570" y="479099"/>
                  <a:pt x="392518" y="482742"/>
                </a:cubicBezTo>
                <a:cubicBezTo>
                  <a:pt x="391977" y="520799"/>
                  <a:pt x="391669" y="558862"/>
                  <a:pt x="390814" y="596913"/>
                </a:cubicBezTo>
                <a:cubicBezTo>
                  <a:pt x="389379" y="660737"/>
                  <a:pt x="387596" y="724554"/>
                  <a:pt x="385953" y="788374"/>
                </a:cubicBezTo>
                <a:cubicBezTo>
                  <a:pt x="385132" y="820284"/>
                  <a:pt x="384217" y="852191"/>
                  <a:pt x="383485" y="884103"/>
                </a:cubicBezTo>
                <a:cubicBezTo>
                  <a:pt x="382329" y="934437"/>
                  <a:pt x="381336" y="984775"/>
                  <a:pt x="380173" y="1035109"/>
                </a:cubicBezTo>
                <a:cubicBezTo>
                  <a:pt x="379918" y="1046143"/>
                  <a:pt x="379172" y="1057166"/>
                  <a:pt x="378826" y="1068199"/>
                </a:cubicBezTo>
                <a:cubicBezTo>
                  <a:pt x="378768" y="1070073"/>
                  <a:pt x="379592" y="1071975"/>
                  <a:pt x="380180" y="1074648"/>
                </a:cubicBezTo>
                <a:cubicBezTo>
                  <a:pt x="402724" y="1074648"/>
                  <a:pt x="424789" y="1074626"/>
                  <a:pt x="446854" y="1074654"/>
                </a:cubicBezTo>
                <a:cubicBezTo>
                  <a:pt x="468967" y="1074682"/>
                  <a:pt x="491084" y="1075062"/>
                  <a:pt x="513191" y="1074731"/>
                </a:cubicBezTo>
                <a:cubicBezTo>
                  <a:pt x="535020" y="1074404"/>
                  <a:pt x="556890" y="1078397"/>
                  <a:pt x="580317" y="1075095"/>
                </a:cubicBezTo>
                <a:cubicBezTo>
                  <a:pt x="530688" y="877741"/>
                  <a:pt x="498514" y="679261"/>
                  <a:pt x="500356" y="473996"/>
                </a:cubicBezTo>
                <a:moveTo>
                  <a:pt x="459731" y="1135086"/>
                </a:moveTo>
                <a:cubicBezTo>
                  <a:pt x="434501" y="1135086"/>
                  <a:pt x="409270" y="1135086"/>
                  <a:pt x="383756" y="1135086"/>
                </a:cubicBezTo>
                <a:cubicBezTo>
                  <a:pt x="385145" y="1171037"/>
                  <a:pt x="387590" y="1206813"/>
                  <a:pt x="387612" y="1242590"/>
                </a:cubicBezTo>
                <a:cubicBezTo>
                  <a:pt x="387634" y="1278699"/>
                  <a:pt x="385252" y="1314810"/>
                  <a:pt x="383907" y="1351330"/>
                </a:cubicBezTo>
                <a:cubicBezTo>
                  <a:pt x="493016" y="1355954"/>
                  <a:pt x="600298" y="1349068"/>
                  <a:pt x="707112" y="1330559"/>
                </a:cubicBezTo>
                <a:cubicBezTo>
                  <a:pt x="710922" y="1301049"/>
                  <a:pt x="703971" y="1274394"/>
                  <a:pt x="686366" y="1251637"/>
                </a:cubicBezTo>
                <a:cubicBezTo>
                  <a:pt x="672164" y="1233278"/>
                  <a:pt x="655625" y="1216649"/>
                  <a:pt x="639403" y="1199952"/>
                </a:cubicBezTo>
                <a:cubicBezTo>
                  <a:pt x="621690" y="1181720"/>
                  <a:pt x="611031" y="1160243"/>
                  <a:pt x="606292" y="1135508"/>
                </a:cubicBezTo>
                <a:cubicBezTo>
                  <a:pt x="605546" y="1131614"/>
                  <a:pt x="604205" y="1127833"/>
                  <a:pt x="602971" y="1123400"/>
                </a:cubicBezTo>
                <a:cubicBezTo>
                  <a:pt x="598647" y="1123864"/>
                  <a:pt x="595062" y="1124258"/>
                  <a:pt x="591474" y="1124633"/>
                </a:cubicBezTo>
                <a:cubicBezTo>
                  <a:pt x="571170" y="1126753"/>
                  <a:pt x="550896" y="1129262"/>
                  <a:pt x="530551" y="1130880"/>
                </a:cubicBezTo>
                <a:cubicBezTo>
                  <a:pt x="507752" y="1132694"/>
                  <a:pt x="484887" y="1133699"/>
                  <a:pt x="459731" y="1135086"/>
                </a:cubicBezTo>
                <a:moveTo>
                  <a:pt x="469505" y="116252"/>
                </a:moveTo>
                <a:cubicBezTo>
                  <a:pt x="460926" y="115846"/>
                  <a:pt x="452288" y="115932"/>
                  <a:pt x="443782" y="114911"/>
                </a:cubicBezTo>
                <a:cubicBezTo>
                  <a:pt x="433023" y="113619"/>
                  <a:pt x="430601" y="110848"/>
                  <a:pt x="430007" y="99878"/>
                </a:cubicBezTo>
                <a:cubicBezTo>
                  <a:pt x="429457" y="89668"/>
                  <a:pt x="429903" y="79404"/>
                  <a:pt x="429331" y="69197"/>
                </a:cubicBezTo>
                <a:cubicBezTo>
                  <a:pt x="428702" y="57943"/>
                  <a:pt x="427414" y="46725"/>
                  <a:pt x="426333" y="34606"/>
                </a:cubicBezTo>
                <a:cubicBezTo>
                  <a:pt x="409217" y="34606"/>
                  <a:pt x="393383" y="34593"/>
                  <a:pt x="377548" y="34613"/>
                </a:cubicBezTo>
                <a:cubicBezTo>
                  <a:pt x="370973" y="34621"/>
                  <a:pt x="368175" y="37880"/>
                  <a:pt x="368004" y="44529"/>
                </a:cubicBezTo>
                <a:cubicBezTo>
                  <a:pt x="367731" y="55142"/>
                  <a:pt x="366531" y="65729"/>
                  <a:pt x="366185" y="76343"/>
                </a:cubicBezTo>
                <a:cubicBezTo>
                  <a:pt x="364748" y="120348"/>
                  <a:pt x="372586" y="163440"/>
                  <a:pt x="379384" y="206619"/>
                </a:cubicBezTo>
                <a:cubicBezTo>
                  <a:pt x="383132" y="230420"/>
                  <a:pt x="387281" y="254159"/>
                  <a:pt x="390997" y="277965"/>
                </a:cubicBezTo>
                <a:cubicBezTo>
                  <a:pt x="392356" y="286668"/>
                  <a:pt x="392988" y="295485"/>
                  <a:pt x="394040" y="305053"/>
                </a:cubicBezTo>
                <a:cubicBezTo>
                  <a:pt x="430625" y="305053"/>
                  <a:pt x="466194" y="305182"/>
                  <a:pt x="501758" y="304814"/>
                </a:cubicBezTo>
                <a:cubicBezTo>
                  <a:pt x="504672" y="304784"/>
                  <a:pt x="508099" y="301870"/>
                  <a:pt x="510340" y="299427"/>
                </a:cubicBezTo>
                <a:cubicBezTo>
                  <a:pt x="516125" y="293119"/>
                  <a:pt x="520822" y="285749"/>
                  <a:pt x="526940" y="279822"/>
                </a:cubicBezTo>
                <a:cubicBezTo>
                  <a:pt x="552103" y="255447"/>
                  <a:pt x="566819" y="225104"/>
                  <a:pt x="576920" y="192342"/>
                </a:cubicBezTo>
                <a:cubicBezTo>
                  <a:pt x="588690" y="154165"/>
                  <a:pt x="590063" y="114309"/>
                  <a:pt x="594042" y="74918"/>
                </a:cubicBezTo>
                <a:cubicBezTo>
                  <a:pt x="594852" y="66901"/>
                  <a:pt x="594159" y="58731"/>
                  <a:pt x="594159" y="49195"/>
                </a:cubicBezTo>
                <a:cubicBezTo>
                  <a:pt x="581125" y="46996"/>
                  <a:pt x="568493" y="44864"/>
                  <a:pt x="554791" y="42552"/>
                </a:cubicBezTo>
                <a:cubicBezTo>
                  <a:pt x="553857" y="47762"/>
                  <a:pt x="553099" y="51670"/>
                  <a:pt x="552461" y="55598"/>
                </a:cubicBezTo>
                <a:cubicBezTo>
                  <a:pt x="549905" y="71314"/>
                  <a:pt x="547903" y="87144"/>
                  <a:pt x="544678" y="102721"/>
                </a:cubicBezTo>
                <a:cubicBezTo>
                  <a:pt x="542363" y="113902"/>
                  <a:pt x="537010" y="118223"/>
                  <a:pt x="525701" y="118186"/>
                </a:cubicBezTo>
                <a:cubicBezTo>
                  <a:pt x="507730" y="118128"/>
                  <a:pt x="489762" y="117027"/>
                  <a:pt x="469505" y="116252"/>
                </a:cubicBezTo>
                <a:moveTo>
                  <a:pt x="513928" y="1403203"/>
                </a:moveTo>
                <a:cubicBezTo>
                  <a:pt x="469441" y="1403467"/>
                  <a:pt x="424955" y="1403730"/>
                  <a:pt x="379322" y="1404000"/>
                </a:cubicBezTo>
                <a:cubicBezTo>
                  <a:pt x="379322" y="1423089"/>
                  <a:pt x="379322" y="1440883"/>
                  <a:pt x="379322" y="1460424"/>
                </a:cubicBezTo>
                <a:cubicBezTo>
                  <a:pt x="496078" y="1471584"/>
                  <a:pt x="611510" y="1462301"/>
                  <a:pt x="726554" y="1439225"/>
                </a:cubicBezTo>
                <a:cubicBezTo>
                  <a:pt x="728615" y="1424350"/>
                  <a:pt x="725601" y="1410872"/>
                  <a:pt x="721089" y="1397750"/>
                </a:cubicBezTo>
                <a:cubicBezTo>
                  <a:pt x="717269" y="1386638"/>
                  <a:pt x="709802" y="1383286"/>
                  <a:pt x="697967" y="1385046"/>
                </a:cubicBezTo>
                <a:cubicBezTo>
                  <a:pt x="671697" y="1388954"/>
                  <a:pt x="645454" y="1393360"/>
                  <a:pt x="619039" y="1395892"/>
                </a:cubicBezTo>
                <a:cubicBezTo>
                  <a:pt x="584863" y="1399168"/>
                  <a:pt x="550531" y="1400815"/>
                  <a:pt x="513928" y="1403203"/>
                </a:cubicBezTo>
                <a:moveTo>
                  <a:pt x="462814" y="375981"/>
                </a:moveTo>
                <a:cubicBezTo>
                  <a:pt x="488207" y="375927"/>
                  <a:pt x="513601" y="375954"/>
                  <a:pt x="538992" y="375736"/>
                </a:cubicBezTo>
                <a:cubicBezTo>
                  <a:pt x="543170" y="375700"/>
                  <a:pt x="547338" y="374587"/>
                  <a:pt x="551835" y="373923"/>
                </a:cubicBezTo>
                <a:cubicBezTo>
                  <a:pt x="550780" y="364535"/>
                  <a:pt x="545320" y="360090"/>
                  <a:pt x="539689" y="356085"/>
                </a:cubicBezTo>
                <a:cubicBezTo>
                  <a:pt x="533696" y="351821"/>
                  <a:pt x="527145" y="348349"/>
                  <a:pt x="521074" y="344186"/>
                </a:cubicBezTo>
                <a:cubicBezTo>
                  <a:pt x="515783" y="340559"/>
                  <a:pt x="510232" y="339198"/>
                  <a:pt x="503789" y="339280"/>
                </a:cubicBezTo>
                <a:cubicBezTo>
                  <a:pt x="470618" y="339700"/>
                  <a:pt x="437443" y="339744"/>
                  <a:pt x="404270" y="339994"/>
                </a:cubicBezTo>
                <a:cubicBezTo>
                  <a:pt x="400758" y="340021"/>
                  <a:pt x="397250" y="340529"/>
                  <a:pt x="393081" y="340868"/>
                </a:cubicBezTo>
                <a:cubicBezTo>
                  <a:pt x="393653" y="352908"/>
                  <a:pt x="392145" y="363845"/>
                  <a:pt x="395001" y="375976"/>
                </a:cubicBezTo>
                <a:cubicBezTo>
                  <a:pt x="417133" y="375976"/>
                  <a:pt x="438745" y="375976"/>
                  <a:pt x="462814" y="375981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970" name="Free-form: Shape 3969">
            <a:extLst>
              <a:ext uri="{FF2B5EF4-FFF2-40B4-BE49-F238E27FC236}">
                <a16:creationId xmlns:a16="http://schemas.microsoft.com/office/drawing/2014/main" id="{70542AD2-5589-21B5-FCC7-522D537569B3}"/>
              </a:ext>
            </a:extLst>
          </p:cNvPr>
          <p:cNvSpPr/>
          <p:nvPr/>
        </p:nvSpPr>
        <p:spPr>
          <a:xfrm>
            <a:off x="1209628" y="4652699"/>
            <a:ext cx="188233" cy="629735"/>
          </a:xfrm>
          <a:custGeom>
            <a:avLst/>
            <a:gdLst>
              <a:gd name="csX0" fmla="*/ 121535 w 201493"/>
              <a:gd name="csY0" fmla="*/ 11562 h 612813"/>
              <a:gd name="csX1" fmla="*/ 201493 w 201493"/>
              <a:gd name="csY1" fmla="*/ 611498 h 612813"/>
              <a:gd name="csX2" fmla="*/ 134368 w 201493"/>
              <a:gd name="csY2" fmla="*/ 611133 h 612813"/>
              <a:gd name="csX3" fmla="*/ 68030 w 201493"/>
              <a:gd name="csY3" fmla="*/ 611056 h 612813"/>
              <a:gd name="csX4" fmla="*/ 1357 w 201493"/>
              <a:gd name="csY4" fmla="*/ 611050 h 612813"/>
              <a:gd name="csX5" fmla="*/ 3 w 201493"/>
              <a:gd name="csY5" fmla="*/ 604601 h 612813"/>
              <a:gd name="csX6" fmla="*/ 1350 w 201493"/>
              <a:gd name="csY6" fmla="*/ 571511 h 612813"/>
              <a:gd name="csX7" fmla="*/ 4661 w 201493"/>
              <a:gd name="csY7" fmla="*/ 420505 h 612813"/>
              <a:gd name="csX8" fmla="*/ 7130 w 201493"/>
              <a:gd name="csY8" fmla="*/ 324777 h 612813"/>
              <a:gd name="csX9" fmla="*/ 11991 w 201493"/>
              <a:gd name="csY9" fmla="*/ 133315 h 612813"/>
              <a:gd name="csX10" fmla="*/ 13695 w 201493"/>
              <a:gd name="csY10" fmla="*/ 19144 h 612813"/>
              <a:gd name="csX11" fmla="*/ 13702 w 201493"/>
              <a:gd name="csY11" fmla="*/ 8029 h 612813"/>
              <a:gd name="csX12" fmla="*/ 120926 w 201493"/>
              <a:gd name="csY12" fmla="*/ 0 h 612813"/>
              <a:gd name="csX13" fmla="*/ 121535 w 201493"/>
              <a:gd name="csY13" fmla="*/ 11562 h 61281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</a:cxnLst>
            <a:rect l="l" t="t" r="r" b="b"/>
            <a:pathLst>
              <a:path w="201493" h="612813">
                <a:moveTo>
                  <a:pt x="121535" y="11562"/>
                </a:moveTo>
                <a:cubicBezTo>
                  <a:pt x="119691" y="215664"/>
                  <a:pt x="151865" y="414144"/>
                  <a:pt x="201493" y="611498"/>
                </a:cubicBezTo>
                <a:cubicBezTo>
                  <a:pt x="178066" y="614799"/>
                  <a:pt x="156197" y="610806"/>
                  <a:pt x="134368" y="611133"/>
                </a:cubicBezTo>
                <a:cubicBezTo>
                  <a:pt x="112261" y="611465"/>
                  <a:pt x="90143" y="611084"/>
                  <a:pt x="68030" y="611056"/>
                </a:cubicBezTo>
                <a:cubicBezTo>
                  <a:pt x="45965" y="611028"/>
                  <a:pt x="23900" y="611050"/>
                  <a:pt x="1357" y="611050"/>
                </a:cubicBezTo>
                <a:cubicBezTo>
                  <a:pt x="769" y="608377"/>
                  <a:pt x="-56" y="606475"/>
                  <a:pt x="3" y="604601"/>
                </a:cubicBezTo>
                <a:cubicBezTo>
                  <a:pt x="349" y="593568"/>
                  <a:pt x="1095" y="582545"/>
                  <a:pt x="1350" y="571511"/>
                </a:cubicBezTo>
                <a:cubicBezTo>
                  <a:pt x="2513" y="521177"/>
                  <a:pt x="3506" y="470839"/>
                  <a:pt x="4661" y="420505"/>
                </a:cubicBezTo>
                <a:cubicBezTo>
                  <a:pt x="5393" y="388594"/>
                  <a:pt x="6308" y="356686"/>
                  <a:pt x="7130" y="324777"/>
                </a:cubicBezTo>
                <a:cubicBezTo>
                  <a:pt x="8772" y="260956"/>
                  <a:pt x="10555" y="197140"/>
                  <a:pt x="11991" y="133315"/>
                </a:cubicBezTo>
                <a:cubicBezTo>
                  <a:pt x="12846" y="95264"/>
                  <a:pt x="13154" y="57201"/>
                  <a:pt x="13695" y="19144"/>
                </a:cubicBezTo>
                <a:cubicBezTo>
                  <a:pt x="13746" y="15501"/>
                  <a:pt x="13702" y="11858"/>
                  <a:pt x="13702" y="8029"/>
                </a:cubicBezTo>
                <a:cubicBezTo>
                  <a:pt x="49725" y="5331"/>
                  <a:pt x="84908" y="2697"/>
                  <a:pt x="120926" y="0"/>
                </a:cubicBezTo>
                <a:cubicBezTo>
                  <a:pt x="121113" y="3199"/>
                  <a:pt x="121323" y="6798"/>
                  <a:pt x="121535" y="11562"/>
                </a:cubicBezTo>
                <a:close/>
              </a:path>
            </a:pathLst>
          </a:custGeom>
          <a:solidFill>
            <a:srgbClr val="FDFDFD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971" name="Free-form: Shape 3970">
            <a:extLst>
              <a:ext uri="{FF2B5EF4-FFF2-40B4-BE49-F238E27FC236}">
                <a16:creationId xmlns:a16="http://schemas.microsoft.com/office/drawing/2014/main" id="{9B53F1B7-0E71-DD7A-2195-DCBE1BE3624B}"/>
              </a:ext>
            </a:extLst>
          </p:cNvPr>
          <p:cNvSpPr/>
          <p:nvPr/>
        </p:nvSpPr>
        <p:spPr>
          <a:xfrm>
            <a:off x="1214236" y="5330722"/>
            <a:ext cx="303022" cy="235654"/>
          </a:xfrm>
          <a:custGeom>
            <a:avLst/>
            <a:gdLst>
              <a:gd name="csX0" fmla="*/ 77135 w 324367"/>
              <a:gd name="csY0" fmla="*/ 11670 h 229322"/>
              <a:gd name="csX1" fmla="*/ 146795 w 324367"/>
              <a:gd name="csY1" fmla="*/ 7480 h 229322"/>
              <a:gd name="csX2" fmla="*/ 207718 w 324367"/>
              <a:gd name="csY2" fmla="*/ 1232 h 229322"/>
              <a:gd name="csX3" fmla="*/ 219215 w 324367"/>
              <a:gd name="csY3" fmla="*/ 0 h 229322"/>
              <a:gd name="csX4" fmla="*/ 222536 w 324367"/>
              <a:gd name="csY4" fmla="*/ 12108 h 229322"/>
              <a:gd name="csX5" fmla="*/ 255647 w 324367"/>
              <a:gd name="csY5" fmla="*/ 76552 h 229322"/>
              <a:gd name="csX6" fmla="*/ 302610 w 324367"/>
              <a:gd name="csY6" fmla="*/ 128236 h 229322"/>
              <a:gd name="csX7" fmla="*/ 323355 w 324367"/>
              <a:gd name="csY7" fmla="*/ 207159 h 229322"/>
              <a:gd name="csX8" fmla="*/ 151 w 324367"/>
              <a:gd name="csY8" fmla="*/ 227930 h 229322"/>
              <a:gd name="csX9" fmla="*/ 3855 w 324367"/>
              <a:gd name="csY9" fmla="*/ 119190 h 229322"/>
              <a:gd name="csX10" fmla="*/ 0 w 324367"/>
              <a:gd name="csY10" fmla="*/ 11685 h 229322"/>
              <a:gd name="csX11" fmla="*/ 77135 w 324367"/>
              <a:gd name="csY11" fmla="*/ 11670 h 22932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324367" h="229322">
                <a:moveTo>
                  <a:pt x="77135" y="11670"/>
                </a:moveTo>
                <a:cubicBezTo>
                  <a:pt x="101131" y="10299"/>
                  <a:pt x="123996" y="9293"/>
                  <a:pt x="146795" y="7480"/>
                </a:cubicBezTo>
                <a:cubicBezTo>
                  <a:pt x="167139" y="5862"/>
                  <a:pt x="187413" y="3352"/>
                  <a:pt x="207718" y="1232"/>
                </a:cubicBezTo>
                <a:cubicBezTo>
                  <a:pt x="211305" y="858"/>
                  <a:pt x="214891" y="464"/>
                  <a:pt x="219215" y="0"/>
                </a:cubicBezTo>
                <a:cubicBezTo>
                  <a:pt x="220448" y="4433"/>
                  <a:pt x="221789" y="8213"/>
                  <a:pt x="222536" y="12108"/>
                </a:cubicBezTo>
                <a:cubicBezTo>
                  <a:pt x="227274" y="36843"/>
                  <a:pt x="237933" y="58320"/>
                  <a:pt x="255647" y="76552"/>
                </a:cubicBezTo>
                <a:cubicBezTo>
                  <a:pt x="271868" y="93249"/>
                  <a:pt x="288407" y="109878"/>
                  <a:pt x="302610" y="128236"/>
                </a:cubicBezTo>
                <a:cubicBezTo>
                  <a:pt x="320215" y="150993"/>
                  <a:pt x="327166" y="177648"/>
                  <a:pt x="323355" y="207159"/>
                </a:cubicBezTo>
                <a:cubicBezTo>
                  <a:pt x="216542" y="225668"/>
                  <a:pt x="109259" y="232554"/>
                  <a:pt x="151" y="227930"/>
                </a:cubicBezTo>
                <a:cubicBezTo>
                  <a:pt x="1495" y="191410"/>
                  <a:pt x="3878" y="155299"/>
                  <a:pt x="3855" y="119190"/>
                </a:cubicBezTo>
                <a:cubicBezTo>
                  <a:pt x="3834" y="83413"/>
                  <a:pt x="1388" y="47637"/>
                  <a:pt x="0" y="11685"/>
                </a:cubicBezTo>
                <a:cubicBezTo>
                  <a:pt x="25514" y="11685"/>
                  <a:pt x="50744" y="11685"/>
                  <a:pt x="77135" y="11670"/>
                </a:cubicBezTo>
                <a:close/>
              </a:path>
            </a:pathLst>
          </a:custGeom>
          <a:solidFill>
            <a:srgbClr val="FDFEFE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972" name="Free-form: Shape 3971">
            <a:extLst>
              <a:ext uri="{FF2B5EF4-FFF2-40B4-BE49-F238E27FC236}">
                <a16:creationId xmlns:a16="http://schemas.microsoft.com/office/drawing/2014/main" id="{A08C61B4-FE44-AAA0-6325-BF47C127E684}"/>
              </a:ext>
            </a:extLst>
          </p:cNvPr>
          <p:cNvSpPr/>
          <p:nvPr/>
        </p:nvSpPr>
        <p:spPr>
          <a:xfrm>
            <a:off x="1197660" y="4211858"/>
            <a:ext cx="213390" cy="277942"/>
          </a:xfrm>
          <a:custGeom>
            <a:avLst/>
            <a:gdLst>
              <a:gd name="csX0" fmla="*/ 104636 w 228422"/>
              <a:gd name="csY0" fmla="*/ 81707 h 270473"/>
              <a:gd name="csX1" fmla="*/ 159689 w 228422"/>
              <a:gd name="csY1" fmla="*/ 83584 h 270473"/>
              <a:gd name="csX2" fmla="*/ 178665 w 228422"/>
              <a:gd name="csY2" fmla="*/ 68119 h 270473"/>
              <a:gd name="csX3" fmla="*/ 186448 w 228422"/>
              <a:gd name="csY3" fmla="*/ 20996 h 270473"/>
              <a:gd name="csX4" fmla="*/ 188779 w 228422"/>
              <a:gd name="csY4" fmla="*/ 7950 h 270473"/>
              <a:gd name="csX5" fmla="*/ 228146 w 228422"/>
              <a:gd name="csY5" fmla="*/ 14593 h 270473"/>
              <a:gd name="csX6" fmla="*/ 228030 w 228422"/>
              <a:gd name="csY6" fmla="*/ 40316 h 270473"/>
              <a:gd name="csX7" fmla="*/ 210907 w 228422"/>
              <a:gd name="csY7" fmla="*/ 157740 h 270473"/>
              <a:gd name="csX8" fmla="*/ 160928 w 228422"/>
              <a:gd name="csY8" fmla="*/ 245220 h 270473"/>
              <a:gd name="csX9" fmla="*/ 144327 w 228422"/>
              <a:gd name="csY9" fmla="*/ 264825 h 270473"/>
              <a:gd name="csX10" fmla="*/ 135745 w 228422"/>
              <a:gd name="csY10" fmla="*/ 270212 h 270473"/>
              <a:gd name="csX11" fmla="*/ 28028 w 228422"/>
              <a:gd name="csY11" fmla="*/ 270451 h 270473"/>
              <a:gd name="csX12" fmla="*/ 24984 w 228422"/>
              <a:gd name="csY12" fmla="*/ 243363 h 270473"/>
              <a:gd name="csX13" fmla="*/ 13372 w 228422"/>
              <a:gd name="csY13" fmla="*/ 172017 h 270473"/>
              <a:gd name="csX14" fmla="*/ 172 w 228422"/>
              <a:gd name="csY14" fmla="*/ 41741 h 270473"/>
              <a:gd name="csX15" fmla="*/ 1991 w 228422"/>
              <a:gd name="csY15" fmla="*/ 9927 h 270473"/>
              <a:gd name="csX16" fmla="*/ 11535 w 228422"/>
              <a:gd name="csY16" fmla="*/ 11 h 270473"/>
              <a:gd name="csX17" fmla="*/ 60320 w 228422"/>
              <a:gd name="csY17" fmla="*/ 4 h 270473"/>
              <a:gd name="csX18" fmla="*/ 63319 w 228422"/>
              <a:gd name="csY18" fmla="*/ 34595 h 270473"/>
              <a:gd name="csX19" fmla="*/ 63995 w 228422"/>
              <a:gd name="csY19" fmla="*/ 65276 h 270473"/>
              <a:gd name="csX20" fmla="*/ 77770 w 228422"/>
              <a:gd name="csY20" fmla="*/ 80309 h 270473"/>
              <a:gd name="csX21" fmla="*/ 104636 w 228422"/>
              <a:gd name="csY21" fmla="*/ 81707 h 27047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</a:cxnLst>
            <a:rect l="l" t="t" r="r" b="b"/>
            <a:pathLst>
              <a:path w="228422" h="270473">
                <a:moveTo>
                  <a:pt x="104636" y="81707"/>
                </a:moveTo>
                <a:cubicBezTo>
                  <a:pt x="123750" y="82425"/>
                  <a:pt x="141717" y="83526"/>
                  <a:pt x="159689" y="83584"/>
                </a:cubicBezTo>
                <a:cubicBezTo>
                  <a:pt x="170998" y="83621"/>
                  <a:pt x="176351" y="79300"/>
                  <a:pt x="178665" y="68119"/>
                </a:cubicBezTo>
                <a:cubicBezTo>
                  <a:pt x="181890" y="52542"/>
                  <a:pt x="183892" y="36712"/>
                  <a:pt x="186448" y="20996"/>
                </a:cubicBezTo>
                <a:cubicBezTo>
                  <a:pt x="187087" y="17068"/>
                  <a:pt x="187844" y="13160"/>
                  <a:pt x="188779" y="7950"/>
                </a:cubicBezTo>
                <a:cubicBezTo>
                  <a:pt x="202480" y="10262"/>
                  <a:pt x="215113" y="12394"/>
                  <a:pt x="228146" y="14593"/>
                </a:cubicBezTo>
                <a:cubicBezTo>
                  <a:pt x="228146" y="24129"/>
                  <a:pt x="228839" y="32299"/>
                  <a:pt x="228030" y="40316"/>
                </a:cubicBezTo>
                <a:cubicBezTo>
                  <a:pt x="224051" y="79707"/>
                  <a:pt x="222678" y="119563"/>
                  <a:pt x="210907" y="157740"/>
                </a:cubicBezTo>
                <a:cubicBezTo>
                  <a:pt x="200806" y="190502"/>
                  <a:pt x="186090" y="220845"/>
                  <a:pt x="160928" y="245220"/>
                </a:cubicBezTo>
                <a:cubicBezTo>
                  <a:pt x="154810" y="251147"/>
                  <a:pt x="150112" y="258517"/>
                  <a:pt x="144327" y="264825"/>
                </a:cubicBezTo>
                <a:cubicBezTo>
                  <a:pt x="142086" y="267268"/>
                  <a:pt x="138659" y="270182"/>
                  <a:pt x="135745" y="270212"/>
                </a:cubicBezTo>
                <a:cubicBezTo>
                  <a:pt x="100181" y="270580"/>
                  <a:pt x="64612" y="270451"/>
                  <a:pt x="28028" y="270451"/>
                </a:cubicBezTo>
                <a:cubicBezTo>
                  <a:pt x="26976" y="260883"/>
                  <a:pt x="26343" y="252066"/>
                  <a:pt x="24984" y="243363"/>
                </a:cubicBezTo>
                <a:cubicBezTo>
                  <a:pt x="21268" y="219557"/>
                  <a:pt x="17119" y="195818"/>
                  <a:pt x="13372" y="172017"/>
                </a:cubicBezTo>
                <a:cubicBezTo>
                  <a:pt x="6574" y="128838"/>
                  <a:pt x="-1265" y="85746"/>
                  <a:pt x="172" y="41741"/>
                </a:cubicBezTo>
                <a:cubicBezTo>
                  <a:pt x="518" y="31127"/>
                  <a:pt x="1719" y="20540"/>
                  <a:pt x="1991" y="9927"/>
                </a:cubicBezTo>
                <a:cubicBezTo>
                  <a:pt x="2163" y="3278"/>
                  <a:pt x="4961" y="19"/>
                  <a:pt x="11535" y="11"/>
                </a:cubicBezTo>
                <a:cubicBezTo>
                  <a:pt x="27370" y="-9"/>
                  <a:pt x="43205" y="4"/>
                  <a:pt x="60320" y="4"/>
                </a:cubicBezTo>
                <a:cubicBezTo>
                  <a:pt x="61401" y="12123"/>
                  <a:pt x="62689" y="23341"/>
                  <a:pt x="63319" y="34595"/>
                </a:cubicBezTo>
                <a:cubicBezTo>
                  <a:pt x="63890" y="44802"/>
                  <a:pt x="63444" y="55066"/>
                  <a:pt x="63995" y="65276"/>
                </a:cubicBezTo>
                <a:cubicBezTo>
                  <a:pt x="64588" y="76246"/>
                  <a:pt x="67011" y="79017"/>
                  <a:pt x="77770" y="80309"/>
                </a:cubicBezTo>
                <a:cubicBezTo>
                  <a:pt x="86275" y="81330"/>
                  <a:pt x="94914" y="81244"/>
                  <a:pt x="104636" y="81707"/>
                </a:cubicBezTo>
                <a:close/>
              </a:path>
            </a:pathLst>
          </a:custGeom>
          <a:solidFill>
            <a:srgbClr val="FDFDFD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973" name="Free-form: Shape 3972">
            <a:extLst>
              <a:ext uri="{FF2B5EF4-FFF2-40B4-BE49-F238E27FC236}">
                <a16:creationId xmlns:a16="http://schemas.microsoft.com/office/drawing/2014/main" id="{A54EE4B4-E73F-7D9C-1100-A83A8DEF1E83}"/>
              </a:ext>
            </a:extLst>
          </p:cNvPr>
          <p:cNvSpPr/>
          <p:nvPr/>
        </p:nvSpPr>
        <p:spPr>
          <a:xfrm>
            <a:off x="1210093" y="5599138"/>
            <a:ext cx="324999" cy="82758"/>
          </a:xfrm>
          <a:custGeom>
            <a:avLst/>
            <a:gdLst>
              <a:gd name="csX0" fmla="*/ 135775 w 347893"/>
              <a:gd name="csY0" fmla="*/ 18580 h 80534"/>
              <a:gd name="csX1" fmla="*/ 239717 w 347893"/>
              <a:gd name="csY1" fmla="*/ 11288 h 80534"/>
              <a:gd name="csX2" fmla="*/ 318645 w 347893"/>
              <a:gd name="csY2" fmla="*/ 442 h 80534"/>
              <a:gd name="csX3" fmla="*/ 341767 w 347893"/>
              <a:gd name="csY3" fmla="*/ 13145 h 80534"/>
              <a:gd name="csX4" fmla="*/ 347232 w 347893"/>
              <a:gd name="csY4" fmla="*/ 54621 h 80534"/>
              <a:gd name="csX5" fmla="*/ 0 w 347893"/>
              <a:gd name="csY5" fmla="*/ 75820 h 80534"/>
              <a:gd name="csX6" fmla="*/ 0 w 347893"/>
              <a:gd name="csY6" fmla="*/ 19396 h 80534"/>
              <a:gd name="csX7" fmla="*/ 135775 w 347893"/>
              <a:gd name="csY7" fmla="*/ 18580 h 8053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</a:cxnLst>
            <a:rect l="l" t="t" r="r" b="b"/>
            <a:pathLst>
              <a:path w="347893" h="80534">
                <a:moveTo>
                  <a:pt x="135775" y="18580"/>
                </a:moveTo>
                <a:cubicBezTo>
                  <a:pt x="171209" y="16211"/>
                  <a:pt x="205541" y="14564"/>
                  <a:pt x="239717" y="11288"/>
                </a:cubicBezTo>
                <a:cubicBezTo>
                  <a:pt x="266132" y="8756"/>
                  <a:pt x="292375" y="4350"/>
                  <a:pt x="318645" y="442"/>
                </a:cubicBezTo>
                <a:cubicBezTo>
                  <a:pt x="330480" y="-1319"/>
                  <a:pt x="337947" y="2033"/>
                  <a:pt x="341767" y="13145"/>
                </a:cubicBezTo>
                <a:cubicBezTo>
                  <a:pt x="346279" y="26268"/>
                  <a:pt x="349293" y="39746"/>
                  <a:pt x="347232" y="54621"/>
                </a:cubicBezTo>
                <a:cubicBezTo>
                  <a:pt x="232188" y="77697"/>
                  <a:pt x="116756" y="86979"/>
                  <a:pt x="0" y="75820"/>
                </a:cubicBezTo>
                <a:cubicBezTo>
                  <a:pt x="0" y="56279"/>
                  <a:pt x="0" y="38485"/>
                  <a:pt x="0" y="19396"/>
                </a:cubicBezTo>
                <a:cubicBezTo>
                  <a:pt x="45633" y="19126"/>
                  <a:pt x="90119" y="18862"/>
                  <a:pt x="135775" y="18580"/>
                </a:cubicBezTo>
                <a:close/>
              </a:path>
            </a:pathLst>
          </a:custGeom>
          <a:solidFill>
            <a:srgbClr val="FCFDFD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974" name="Free-form: Shape 3973">
            <a:extLst>
              <a:ext uri="{FF2B5EF4-FFF2-40B4-BE49-F238E27FC236}">
                <a16:creationId xmlns:a16="http://schemas.microsoft.com/office/drawing/2014/main" id="{46DAB1D0-48FA-16EE-0DB9-BBAC9C572415}"/>
              </a:ext>
            </a:extLst>
          </p:cNvPr>
          <p:cNvSpPr/>
          <p:nvPr/>
        </p:nvSpPr>
        <p:spPr>
          <a:xfrm>
            <a:off x="1222947" y="4524945"/>
            <a:ext cx="148307" cy="37714"/>
          </a:xfrm>
          <a:custGeom>
            <a:avLst/>
            <a:gdLst>
              <a:gd name="csX0" fmla="*/ 68505 w 158754"/>
              <a:gd name="csY0" fmla="*/ 36702 h 36701"/>
              <a:gd name="csX1" fmla="*/ 1920 w 158754"/>
              <a:gd name="csY1" fmla="*/ 36699 h 36701"/>
              <a:gd name="csX2" fmla="*/ 0 w 158754"/>
              <a:gd name="csY2" fmla="*/ 1592 h 36701"/>
              <a:gd name="csX3" fmla="*/ 11189 w 158754"/>
              <a:gd name="csY3" fmla="*/ 718 h 36701"/>
              <a:gd name="csX4" fmla="*/ 110708 w 158754"/>
              <a:gd name="csY4" fmla="*/ 3 h 36701"/>
              <a:gd name="csX5" fmla="*/ 127993 w 158754"/>
              <a:gd name="csY5" fmla="*/ 4910 h 36701"/>
              <a:gd name="csX6" fmla="*/ 146608 w 158754"/>
              <a:gd name="csY6" fmla="*/ 16808 h 36701"/>
              <a:gd name="csX7" fmla="*/ 158755 w 158754"/>
              <a:gd name="csY7" fmla="*/ 34647 h 36701"/>
              <a:gd name="csX8" fmla="*/ 145911 w 158754"/>
              <a:gd name="csY8" fmla="*/ 36459 h 36701"/>
              <a:gd name="csX9" fmla="*/ 68505 w 158754"/>
              <a:gd name="csY9" fmla="*/ 36702 h 3670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158754" h="36701">
                <a:moveTo>
                  <a:pt x="68505" y="36702"/>
                </a:moveTo>
                <a:cubicBezTo>
                  <a:pt x="45664" y="36699"/>
                  <a:pt x="24052" y="36699"/>
                  <a:pt x="1920" y="36699"/>
                </a:cubicBezTo>
                <a:cubicBezTo>
                  <a:pt x="-935" y="24569"/>
                  <a:pt x="572" y="13631"/>
                  <a:pt x="0" y="1592"/>
                </a:cubicBezTo>
                <a:cubicBezTo>
                  <a:pt x="4169" y="1253"/>
                  <a:pt x="7677" y="744"/>
                  <a:pt x="11189" y="718"/>
                </a:cubicBezTo>
                <a:cubicBezTo>
                  <a:pt x="44362" y="468"/>
                  <a:pt x="77538" y="423"/>
                  <a:pt x="110708" y="3"/>
                </a:cubicBezTo>
                <a:cubicBezTo>
                  <a:pt x="117152" y="-78"/>
                  <a:pt x="122702" y="1282"/>
                  <a:pt x="127993" y="4910"/>
                </a:cubicBezTo>
                <a:cubicBezTo>
                  <a:pt x="134065" y="9072"/>
                  <a:pt x="140615" y="12545"/>
                  <a:pt x="146608" y="16808"/>
                </a:cubicBezTo>
                <a:cubicBezTo>
                  <a:pt x="152239" y="20814"/>
                  <a:pt x="157699" y="25259"/>
                  <a:pt x="158755" y="34647"/>
                </a:cubicBezTo>
                <a:cubicBezTo>
                  <a:pt x="154257" y="35310"/>
                  <a:pt x="150089" y="36424"/>
                  <a:pt x="145911" y="36459"/>
                </a:cubicBezTo>
                <a:cubicBezTo>
                  <a:pt x="120520" y="36677"/>
                  <a:pt x="95126" y="36650"/>
                  <a:pt x="68505" y="36702"/>
                </a:cubicBezTo>
                <a:close/>
              </a:path>
            </a:pathLst>
          </a:custGeom>
          <a:solidFill>
            <a:srgbClr val="FBFCFB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06" name="Free-form: Shape 4005">
            <a:extLst>
              <a:ext uri="{FF2B5EF4-FFF2-40B4-BE49-F238E27FC236}">
                <a16:creationId xmlns:a16="http://schemas.microsoft.com/office/drawing/2014/main" id="{21C3CE02-4EE3-9865-A03E-0641424A3A00}"/>
              </a:ext>
            </a:extLst>
          </p:cNvPr>
          <p:cNvSpPr/>
          <p:nvPr/>
        </p:nvSpPr>
        <p:spPr>
          <a:xfrm>
            <a:off x="10854659" y="4176301"/>
            <a:ext cx="718138" cy="1550996"/>
          </a:xfrm>
          <a:custGeom>
            <a:avLst/>
            <a:gdLst>
              <a:gd name="csX0" fmla="*/ 576414 w 768725"/>
              <a:gd name="csY0" fmla="*/ 893042 h 1509319"/>
              <a:gd name="csX1" fmla="*/ 613047 w 768725"/>
              <a:gd name="csY1" fmla="*/ 1059329 h 1509319"/>
              <a:gd name="csX2" fmla="*/ 623337 w 768725"/>
              <a:gd name="csY2" fmla="*/ 1071825 h 1509319"/>
              <a:gd name="csX3" fmla="*/ 639863 w 768725"/>
              <a:gd name="csY3" fmla="*/ 1079946 h 1509319"/>
              <a:gd name="csX4" fmla="*/ 652266 w 768725"/>
              <a:gd name="csY4" fmla="*/ 1109045 h 1509319"/>
              <a:gd name="csX5" fmla="*/ 645501 w 768725"/>
              <a:gd name="csY5" fmla="*/ 1127466 h 1509319"/>
              <a:gd name="csX6" fmla="*/ 645547 w 768725"/>
              <a:gd name="csY6" fmla="*/ 1144138 h 1509319"/>
              <a:gd name="csX7" fmla="*/ 664589 w 768725"/>
              <a:gd name="csY7" fmla="*/ 1175322 h 1509319"/>
              <a:gd name="csX8" fmla="*/ 712015 w 768725"/>
              <a:gd name="csY8" fmla="*/ 1225118 h 1509319"/>
              <a:gd name="csX9" fmla="*/ 744465 w 768725"/>
              <a:gd name="csY9" fmla="*/ 1300385 h 1509319"/>
              <a:gd name="csX10" fmla="*/ 743270 w 768725"/>
              <a:gd name="csY10" fmla="*/ 1350524 h 1509319"/>
              <a:gd name="csX11" fmla="*/ 745429 w 768725"/>
              <a:gd name="csY11" fmla="*/ 1363274 h 1509319"/>
              <a:gd name="csX12" fmla="*/ 768672 w 768725"/>
              <a:gd name="csY12" fmla="*/ 1456512 h 1509319"/>
              <a:gd name="csX13" fmla="*/ 758521 w 768725"/>
              <a:gd name="csY13" fmla="*/ 1472434 h 1509319"/>
              <a:gd name="csX14" fmla="*/ 730455 w 768725"/>
              <a:gd name="csY14" fmla="*/ 1481228 h 1509319"/>
              <a:gd name="csX15" fmla="*/ 594867 w 768725"/>
              <a:gd name="csY15" fmla="*/ 1502210 h 1509319"/>
              <a:gd name="csX16" fmla="*/ 320018 w 768725"/>
              <a:gd name="csY16" fmla="*/ 1508300 h 1509319"/>
              <a:gd name="csX17" fmla="*/ 186464 w 768725"/>
              <a:gd name="csY17" fmla="*/ 1501258 h 1509319"/>
              <a:gd name="csX18" fmla="*/ 26582 w 768725"/>
              <a:gd name="csY18" fmla="*/ 1477021 h 1509319"/>
              <a:gd name="csX19" fmla="*/ 3929 w 768725"/>
              <a:gd name="csY19" fmla="*/ 1465652 h 1509319"/>
              <a:gd name="csX20" fmla="*/ 18 w 768725"/>
              <a:gd name="csY20" fmla="*/ 1456203 h 1509319"/>
              <a:gd name="csX21" fmla="*/ 4393 w 768725"/>
              <a:gd name="csY21" fmla="*/ 1417235 h 1509319"/>
              <a:gd name="csX22" fmla="*/ 19158 w 768725"/>
              <a:gd name="csY22" fmla="*/ 1370678 h 1509319"/>
              <a:gd name="csX23" fmla="*/ 23255 w 768725"/>
              <a:gd name="csY23" fmla="*/ 1342388 h 1509319"/>
              <a:gd name="csX24" fmla="*/ 38705 w 768725"/>
              <a:gd name="csY24" fmla="*/ 1247261 h 1509319"/>
              <a:gd name="csX25" fmla="*/ 58454 w 768725"/>
              <a:gd name="csY25" fmla="*/ 1220807 h 1509319"/>
              <a:gd name="csX26" fmla="*/ 103638 w 768725"/>
              <a:gd name="csY26" fmla="*/ 1175667 h 1509319"/>
              <a:gd name="csX27" fmla="*/ 122996 w 768725"/>
              <a:gd name="csY27" fmla="*/ 1146131 h 1509319"/>
              <a:gd name="csX28" fmla="*/ 122689 w 768725"/>
              <a:gd name="csY28" fmla="*/ 1128316 h 1509319"/>
              <a:gd name="csX29" fmla="*/ 116576 w 768725"/>
              <a:gd name="csY29" fmla="*/ 1113575 h 1509319"/>
              <a:gd name="csX30" fmla="*/ 127479 w 768725"/>
              <a:gd name="csY30" fmla="*/ 1081076 h 1509319"/>
              <a:gd name="csX31" fmla="*/ 137480 w 768725"/>
              <a:gd name="csY31" fmla="*/ 1076482 h 1509319"/>
              <a:gd name="csX32" fmla="*/ 157312 w 768725"/>
              <a:gd name="csY32" fmla="*/ 1053855 h 1509319"/>
              <a:gd name="csX33" fmla="*/ 178876 w 768725"/>
              <a:gd name="csY33" fmla="*/ 958120 h 1509319"/>
              <a:gd name="csX34" fmla="*/ 210165 w 768725"/>
              <a:gd name="csY34" fmla="*/ 781849 h 1509319"/>
              <a:gd name="csX35" fmla="*/ 223295 w 768725"/>
              <a:gd name="csY35" fmla="*/ 674755 h 1509319"/>
              <a:gd name="csX36" fmla="*/ 231121 w 768725"/>
              <a:gd name="csY36" fmla="*/ 564636 h 1509319"/>
              <a:gd name="csX37" fmla="*/ 235173 w 768725"/>
              <a:gd name="csY37" fmla="*/ 453038 h 1509319"/>
              <a:gd name="csX38" fmla="*/ 235001 w 768725"/>
              <a:gd name="csY38" fmla="*/ 443215 h 1509319"/>
              <a:gd name="csX39" fmla="*/ 224321 w 768725"/>
              <a:gd name="csY39" fmla="*/ 428479 h 1509319"/>
              <a:gd name="csX40" fmla="*/ 204712 w 768725"/>
              <a:gd name="csY40" fmla="*/ 418450 h 1509319"/>
              <a:gd name="csX41" fmla="*/ 184069 w 768725"/>
              <a:gd name="csY41" fmla="*/ 366060 h 1509319"/>
              <a:gd name="csX42" fmla="*/ 206519 w 768725"/>
              <a:gd name="csY42" fmla="*/ 338181 h 1509319"/>
              <a:gd name="csX43" fmla="*/ 226643 w 768725"/>
              <a:gd name="csY43" fmla="*/ 329113 h 1509319"/>
              <a:gd name="csX44" fmla="*/ 232085 w 768725"/>
              <a:gd name="csY44" fmla="*/ 311135 h 1509319"/>
              <a:gd name="csX45" fmla="*/ 221280 w 768725"/>
              <a:gd name="csY45" fmla="*/ 299552 h 1509319"/>
              <a:gd name="csX46" fmla="*/ 173478 w 768725"/>
              <a:gd name="csY46" fmla="*/ 230303 h 1509319"/>
              <a:gd name="csX47" fmla="*/ 141864 w 768725"/>
              <a:gd name="csY47" fmla="*/ 95780 h 1509319"/>
              <a:gd name="csX48" fmla="*/ 137158 w 768725"/>
              <a:gd name="csY48" fmla="*/ 37107 h 1509319"/>
              <a:gd name="csX49" fmla="*/ 148750 w 768725"/>
              <a:gd name="csY49" fmla="*/ 22335 h 1509319"/>
              <a:gd name="csX50" fmla="*/ 236982 w 768725"/>
              <a:gd name="csY50" fmla="*/ 7640 h 1509319"/>
              <a:gd name="csX51" fmla="*/ 246862 w 768725"/>
              <a:gd name="csY51" fmla="*/ 7580 h 1509319"/>
              <a:gd name="csX52" fmla="*/ 261473 w 768725"/>
              <a:gd name="csY52" fmla="*/ 86763 h 1509319"/>
              <a:gd name="csX53" fmla="*/ 306246 w 768725"/>
              <a:gd name="csY53" fmla="*/ 83559 h 1509319"/>
              <a:gd name="csX54" fmla="*/ 306960 w 768725"/>
              <a:gd name="csY54" fmla="*/ 71087 h 1509319"/>
              <a:gd name="csX55" fmla="*/ 306724 w 768725"/>
              <a:gd name="csY55" fmla="*/ 19491 h 1509319"/>
              <a:gd name="csX56" fmla="*/ 319581 w 768725"/>
              <a:gd name="csY56" fmla="*/ 4733 h 1509319"/>
              <a:gd name="csX57" fmla="*/ 430956 w 768725"/>
              <a:gd name="csY57" fmla="*/ 2070 h 1509319"/>
              <a:gd name="csX58" fmla="*/ 437066 w 768725"/>
              <a:gd name="csY58" fmla="*/ 2646 h 1509319"/>
              <a:gd name="csX59" fmla="*/ 460335 w 768725"/>
              <a:gd name="csY59" fmla="*/ 24205 h 1509319"/>
              <a:gd name="csX60" fmla="*/ 463579 w 768725"/>
              <a:gd name="csY60" fmla="*/ 62081 h 1509319"/>
              <a:gd name="csX61" fmla="*/ 463652 w 768725"/>
              <a:gd name="csY61" fmla="*/ 82953 h 1509319"/>
              <a:gd name="csX62" fmla="*/ 507205 w 768725"/>
              <a:gd name="csY62" fmla="*/ 85553 h 1509319"/>
              <a:gd name="csX63" fmla="*/ 513271 w 768725"/>
              <a:gd name="csY63" fmla="*/ 61890 h 1509319"/>
              <a:gd name="csX64" fmla="*/ 520203 w 768725"/>
              <a:gd name="csY64" fmla="*/ 18323 h 1509319"/>
              <a:gd name="csX65" fmla="*/ 534008 w 768725"/>
              <a:gd name="csY65" fmla="*/ 7785 h 1509319"/>
              <a:gd name="csX66" fmla="*/ 595925 w 768725"/>
              <a:gd name="csY66" fmla="*/ 16407 h 1509319"/>
              <a:gd name="csX67" fmla="*/ 619972 w 768725"/>
              <a:gd name="csY67" fmla="*/ 21156 h 1509319"/>
              <a:gd name="csX68" fmla="*/ 631161 w 768725"/>
              <a:gd name="csY68" fmla="*/ 36134 h 1509319"/>
              <a:gd name="csX69" fmla="*/ 628140 w 768725"/>
              <a:gd name="csY69" fmla="*/ 85104 h 1509319"/>
              <a:gd name="csX70" fmla="*/ 613954 w 768725"/>
              <a:gd name="csY70" fmla="*/ 179618 h 1509319"/>
              <a:gd name="csX71" fmla="*/ 586196 w 768725"/>
              <a:gd name="csY71" fmla="*/ 256886 h 1509319"/>
              <a:gd name="csX72" fmla="*/ 554619 w 768725"/>
              <a:gd name="csY72" fmla="*/ 295312 h 1509319"/>
              <a:gd name="csX73" fmla="*/ 538601 w 768725"/>
              <a:gd name="csY73" fmla="*/ 315001 h 1509319"/>
              <a:gd name="csX74" fmla="*/ 542630 w 768725"/>
              <a:gd name="csY74" fmla="*/ 326199 h 1509319"/>
              <a:gd name="csX75" fmla="*/ 560240 w 768725"/>
              <a:gd name="csY75" fmla="*/ 334912 h 1509319"/>
              <a:gd name="csX76" fmla="*/ 586933 w 768725"/>
              <a:gd name="csY76" fmla="*/ 371800 h 1509319"/>
              <a:gd name="csX77" fmla="*/ 563039 w 768725"/>
              <a:gd name="csY77" fmla="*/ 418184 h 1509319"/>
              <a:gd name="csX78" fmla="*/ 545522 w 768725"/>
              <a:gd name="csY78" fmla="*/ 427008 h 1509319"/>
              <a:gd name="csX79" fmla="*/ 535507 w 768725"/>
              <a:gd name="csY79" fmla="*/ 440667 h 1509319"/>
              <a:gd name="csX80" fmla="*/ 536723 w 768725"/>
              <a:gd name="csY80" fmla="*/ 537651 h 1509319"/>
              <a:gd name="csX81" fmla="*/ 539820 w 768725"/>
              <a:gd name="csY81" fmla="*/ 595237 h 1509319"/>
              <a:gd name="csX82" fmla="*/ 553105 w 768725"/>
              <a:gd name="csY82" fmla="*/ 746727 h 1509319"/>
              <a:gd name="csX83" fmla="*/ 576414 w 768725"/>
              <a:gd name="csY83" fmla="*/ 893042 h 1509319"/>
              <a:gd name="csX84" fmla="*/ 500356 w 768725"/>
              <a:gd name="csY84" fmla="*/ 473996 h 1509319"/>
              <a:gd name="csX85" fmla="*/ 499749 w 768725"/>
              <a:gd name="csY85" fmla="*/ 463598 h 1509319"/>
              <a:gd name="csX86" fmla="*/ 392525 w 768725"/>
              <a:gd name="csY86" fmla="*/ 471627 h 1509319"/>
              <a:gd name="csX87" fmla="*/ 392518 w 768725"/>
              <a:gd name="csY87" fmla="*/ 482742 h 1509319"/>
              <a:gd name="csX88" fmla="*/ 390814 w 768725"/>
              <a:gd name="csY88" fmla="*/ 596913 h 1509319"/>
              <a:gd name="csX89" fmla="*/ 385953 w 768725"/>
              <a:gd name="csY89" fmla="*/ 788374 h 1509319"/>
              <a:gd name="csX90" fmla="*/ 383485 w 768725"/>
              <a:gd name="csY90" fmla="*/ 884103 h 1509319"/>
              <a:gd name="csX91" fmla="*/ 380173 w 768725"/>
              <a:gd name="csY91" fmla="*/ 1035109 h 1509319"/>
              <a:gd name="csX92" fmla="*/ 378826 w 768725"/>
              <a:gd name="csY92" fmla="*/ 1068199 h 1509319"/>
              <a:gd name="csX93" fmla="*/ 380180 w 768725"/>
              <a:gd name="csY93" fmla="*/ 1074648 h 1509319"/>
              <a:gd name="csX94" fmla="*/ 446854 w 768725"/>
              <a:gd name="csY94" fmla="*/ 1074654 h 1509319"/>
              <a:gd name="csX95" fmla="*/ 513191 w 768725"/>
              <a:gd name="csY95" fmla="*/ 1074731 h 1509319"/>
              <a:gd name="csX96" fmla="*/ 580317 w 768725"/>
              <a:gd name="csY96" fmla="*/ 1075095 h 1509319"/>
              <a:gd name="csX97" fmla="*/ 500356 w 768725"/>
              <a:gd name="csY97" fmla="*/ 473996 h 1509319"/>
              <a:gd name="csX98" fmla="*/ 459731 w 768725"/>
              <a:gd name="csY98" fmla="*/ 1135086 h 1509319"/>
              <a:gd name="csX99" fmla="*/ 383756 w 768725"/>
              <a:gd name="csY99" fmla="*/ 1135086 h 1509319"/>
              <a:gd name="csX100" fmla="*/ 387612 w 768725"/>
              <a:gd name="csY100" fmla="*/ 1242590 h 1509319"/>
              <a:gd name="csX101" fmla="*/ 383907 w 768725"/>
              <a:gd name="csY101" fmla="*/ 1351330 h 1509319"/>
              <a:gd name="csX102" fmla="*/ 707112 w 768725"/>
              <a:gd name="csY102" fmla="*/ 1330559 h 1509319"/>
              <a:gd name="csX103" fmla="*/ 686366 w 768725"/>
              <a:gd name="csY103" fmla="*/ 1251637 h 1509319"/>
              <a:gd name="csX104" fmla="*/ 639403 w 768725"/>
              <a:gd name="csY104" fmla="*/ 1199952 h 1509319"/>
              <a:gd name="csX105" fmla="*/ 606292 w 768725"/>
              <a:gd name="csY105" fmla="*/ 1135508 h 1509319"/>
              <a:gd name="csX106" fmla="*/ 602971 w 768725"/>
              <a:gd name="csY106" fmla="*/ 1123400 h 1509319"/>
              <a:gd name="csX107" fmla="*/ 591474 w 768725"/>
              <a:gd name="csY107" fmla="*/ 1124633 h 1509319"/>
              <a:gd name="csX108" fmla="*/ 530551 w 768725"/>
              <a:gd name="csY108" fmla="*/ 1130880 h 1509319"/>
              <a:gd name="csX109" fmla="*/ 459731 w 768725"/>
              <a:gd name="csY109" fmla="*/ 1135086 h 1509319"/>
              <a:gd name="csX110" fmla="*/ 469505 w 768725"/>
              <a:gd name="csY110" fmla="*/ 116252 h 1509319"/>
              <a:gd name="csX111" fmla="*/ 443782 w 768725"/>
              <a:gd name="csY111" fmla="*/ 114911 h 1509319"/>
              <a:gd name="csX112" fmla="*/ 430007 w 768725"/>
              <a:gd name="csY112" fmla="*/ 99878 h 1509319"/>
              <a:gd name="csX113" fmla="*/ 429331 w 768725"/>
              <a:gd name="csY113" fmla="*/ 69197 h 1509319"/>
              <a:gd name="csX114" fmla="*/ 426333 w 768725"/>
              <a:gd name="csY114" fmla="*/ 34606 h 1509319"/>
              <a:gd name="csX115" fmla="*/ 377548 w 768725"/>
              <a:gd name="csY115" fmla="*/ 34613 h 1509319"/>
              <a:gd name="csX116" fmla="*/ 368004 w 768725"/>
              <a:gd name="csY116" fmla="*/ 44529 h 1509319"/>
              <a:gd name="csX117" fmla="*/ 366185 w 768725"/>
              <a:gd name="csY117" fmla="*/ 76343 h 1509319"/>
              <a:gd name="csX118" fmla="*/ 379384 w 768725"/>
              <a:gd name="csY118" fmla="*/ 206619 h 1509319"/>
              <a:gd name="csX119" fmla="*/ 390997 w 768725"/>
              <a:gd name="csY119" fmla="*/ 277965 h 1509319"/>
              <a:gd name="csX120" fmla="*/ 394040 w 768725"/>
              <a:gd name="csY120" fmla="*/ 305053 h 1509319"/>
              <a:gd name="csX121" fmla="*/ 501758 w 768725"/>
              <a:gd name="csY121" fmla="*/ 304814 h 1509319"/>
              <a:gd name="csX122" fmla="*/ 510340 w 768725"/>
              <a:gd name="csY122" fmla="*/ 299427 h 1509319"/>
              <a:gd name="csX123" fmla="*/ 526940 w 768725"/>
              <a:gd name="csY123" fmla="*/ 279822 h 1509319"/>
              <a:gd name="csX124" fmla="*/ 576920 w 768725"/>
              <a:gd name="csY124" fmla="*/ 192342 h 1509319"/>
              <a:gd name="csX125" fmla="*/ 594042 w 768725"/>
              <a:gd name="csY125" fmla="*/ 74918 h 1509319"/>
              <a:gd name="csX126" fmla="*/ 594159 w 768725"/>
              <a:gd name="csY126" fmla="*/ 49195 h 1509319"/>
              <a:gd name="csX127" fmla="*/ 554791 w 768725"/>
              <a:gd name="csY127" fmla="*/ 42552 h 1509319"/>
              <a:gd name="csX128" fmla="*/ 552461 w 768725"/>
              <a:gd name="csY128" fmla="*/ 55598 h 1509319"/>
              <a:gd name="csX129" fmla="*/ 544678 w 768725"/>
              <a:gd name="csY129" fmla="*/ 102721 h 1509319"/>
              <a:gd name="csX130" fmla="*/ 525701 w 768725"/>
              <a:gd name="csY130" fmla="*/ 118186 h 1509319"/>
              <a:gd name="csX131" fmla="*/ 469505 w 768725"/>
              <a:gd name="csY131" fmla="*/ 116252 h 1509319"/>
              <a:gd name="csX132" fmla="*/ 513928 w 768725"/>
              <a:gd name="csY132" fmla="*/ 1403203 h 1509319"/>
              <a:gd name="csX133" fmla="*/ 379322 w 768725"/>
              <a:gd name="csY133" fmla="*/ 1404000 h 1509319"/>
              <a:gd name="csX134" fmla="*/ 379322 w 768725"/>
              <a:gd name="csY134" fmla="*/ 1460424 h 1509319"/>
              <a:gd name="csX135" fmla="*/ 726554 w 768725"/>
              <a:gd name="csY135" fmla="*/ 1439225 h 1509319"/>
              <a:gd name="csX136" fmla="*/ 721089 w 768725"/>
              <a:gd name="csY136" fmla="*/ 1397750 h 1509319"/>
              <a:gd name="csX137" fmla="*/ 697967 w 768725"/>
              <a:gd name="csY137" fmla="*/ 1385046 h 1509319"/>
              <a:gd name="csX138" fmla="*/ 619039 w 768725"/>
              <a:gd name="csY138" fmla="*/ 1395892 h 1509319"/>
              <a:gd name="csX139" fmla="*/ 513928 w 768725"/>
              <a:gd name="csY139" fmla="*/ 1403203 h 1509319"/>
              <a:gd name="csX140" fmla="*/ 462814 w 768725"/>
              <a:gd name="csY140" fmla="*/ 375981 h 1509319"/>
              <a:gd name="csX141" fmla="*/ 538992 w 768725"/>
              <a:gd name="csY141" fmla="*/ 375736 h 1509319"/>
              <a:gd name="csX142" fmla="*/ 551835 w 768725"/>
              <a:gd name="csY142" fmla="*/ 373923 h 1509319"/>
              <a:gd name="csX143" fmla="*/ 539689 w 768725"/>
              <a:gd name="csY143" fmla="*/ 356085 h 1509319"/>
              <a:gd name="csX144" fmla="*/ 521074 w 768725"/>
              <a:gd name="csY144" fmla="*/ 344186 h 1509319"/>
              <a:gd name="csX145" fmla="*/ 503789 w 768725"/>
              <a:gd name="csY145" fmla="*/ 339280 h 1509319"/>
              <a:gd name="csX146" fmla="*/ 404270 w 768725"/>
              <a:gd name="csY146" fmla="*/ 339994 h 1509319"/>
              <a:gd name="csX147" fmla="*/ 393081 w 768725"/>
              <a:gd name="csY147" fmla="*/ 340868 h 1509319"/>
              <a:gd name="csX148" fmla="*/ 395001 w 768725"/>
              <a:gd name="csY148" fmla="*/ 375976 h 1509319"/>
              <a:gd name="csX149" fmla="*/ 462814 w 768725"/>
              <a:gd name="csY149" fmla="*/ 375981 h 150931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</a:cxnLst>
            <a:rect l="l" t="t" r="r" b="b"/>
            <a:pathLst>
              <a:path w="768725" h="1509319">
                <a:moveTo>
                  <a:pt x="576414" y="893042"/>
                </a:moveTo>
                <a:cubicBezTo>
                  <a:pt x="588806" y="949146"/>
                  <a:pt x="601091" y="1004202"/>
                  <a:pt x="613047" y="1059329"/>
                </a:cubicBezTo>
                <a:cubicBezTo>
                  <a:pt x="614432" y="1065716"/>
                  <a:pt x="617736" y="1069332"/>
                  <a:pt x="623337" y="1071825"/>
                </a:cubicBezTo>
                <a:cubicBezTo>
                  <a:pt x="628942" y="1074320"/>
                  <a:pt x="634521" y="1076938"/>
                  <a:pt x="639863" y="1079946"/>
                </a:cubicBezTo>
                <a:cubicBezTo>
                  <a:pt x="650944" y="1086186"/>
                  <a:pt x="655598" y="1096871"/>
                  <a:pt x="652266" y="1109045"/>
                </a:cubicBezTo>
                <a:cubicBezTo>
                  <a:pt x="650545" y="1115333"/>
                  <a:pt x="647953" y="1121401"/>
                  <a:pt x="645501" y="1127466"/>
                </a:cubicBezTo>
                <a:cubicBezTo>
                  <a:pt x="643225" y="1133097"/>
                  <a:pt x="643438" y="1138435"/>
                  <a:pt x="645547" y="1144138"/>
                </a:cubicBezTo>
                <a:cubicBezTo>
                  <a:pt x="649868" y="1155821"/>
                  <a:pt x="655892" y="1166306"/>
                  <a:pt x="664589" y="1175322"/>
                </a:cubicBezTo>
                <a:cubicBezTo>
                  <a:pt x="680503" y="1191819"/>
                  <a:pt x="696298" y="1208434"/>
                  <a:pt x="712015" y="1225118"/>
                </a:cubicBezTo>
                <a:cubicBezTo>
                  <a:pt x="731931" y="1246258"/>
                  <a:pt x="740856" y="1272032"/>
                  <a:pt x="744465" y="1300385"/>
                </a:cubicBezTo>
                <a:cubicBezTo>
                  <a:pt x="746614" y="1317273"/>
                  <a:pt x="744537" y="1333855"/>
                  <a:pt x="743270" y="1350524"/>
                </a:cubicBezTo>
                <a:cubicBezTo>
                  <a:pt x="742916" y="1355183"/>
                  <a:pt x="743079" y="1358990"/>
                  <a:pt x="745429" y="1363274"/>
                </a:cubicBezTo>
                <a:cubicBezTo>
                  <a:pt x="761335" y="1392276"/>
                  <a:pt x="766719" y="1423956"/>
                  <a:pt x="768672" y="1456512"/>
                </a:cubicBezTo>
                <a:cubicBezTo>
                  <a:pt x="769161" y="1464651"/>
                  <a:pt x="766327" y="1469951"/>
                  <a:pt x="758521" y="1472434"/>
                </a:cubicBezTo>
                <a:cubicBezTo>
                  <a:pt x="749176" y="1475406"/>
                  <a:pt x="739961" y="1478919"/>
                  <a:pt x="730455" y="1481228"/>
                </a:cubicBezTo>
                <a:cubicBezTo>
                  <a:pt x="685866" y="1492058"/>
                  <a:pt x="640613" y="1498445"/>
                  <a:pt x="594867" y="1502210"/>
                </a:cubicBezTo>
                <a:cubicBezTo>
                  <a:pt x="503351" y="1509743"/>
                  <a:pt x="411695" y="1510364"/>
                  <a:pt x="320018" y="1508300"/>
                </a:cubicBezTo>
                <a:cubicBezTo>
                  <a:pt x="275466" y="1507297"/>
                  <a:pt x="230913" y="1504582"/>
                  <a:pt x="186464" y="1501258"/>
                </a:cubicBezTo>
                <a:cubicBezTo>
                  <a:pt x="132610" y="1497231"/>
                  <a:pt x="79072" y="1490389"/>
                  <a:pt x="26582" y="1477021"/>
                </a:cubicBezTo>
                <a:cubicBezTo>
                  <a:pt x="18195" y="1474885"/>
                  <a:pt x="9735" y="1472585"/>
                  <a:pt x="3929" y="1465652"/>
                </a:cubicBezTo>
                <a:cubicBezTo>
                  <a:pt x="1807" y="1463117"/>
                  <a:pt x="-213" y="1459275"/>
                  <a:pt x="18" y="1456203"/>
                </a:cubicBezTo>
                <a:cubicBezTo>
                  <a:pt x="995" y="1443177"/>
                  <a:pt x="2714" y="1430200"/>
                  <a:pt x="4393" y="1417235"/>
                </a:cubicBezTo>
                <a:cubicBezTo>
                  <a:pt x="6515" y="1400846"/>
                  <a:pt x="11310" y="1385118"/>
                  <a:pt x="19158" y="1370678"/>
                </a:cubicBezTo>
                <a:cubicBezTo>
                  <a:pt x="24205" y="1361393"/>
                  <a:pt x="24576" y="1352443"/>
                  <a:pt x="23255" y="1342388"/>
                </a:cubicBezTo>
                <a:cubicBezTo>
                  <a:pt x="18901" y="1309218"/>
                  <a:pt x="21603" y="1276876"/>
                  <a:pt x="38705" y="1247261"/>
                </a:cubicBezTo>
                <a:cubicBezTo>
                  <a:pt x="44179" y="1237783"/>
                  <a:pt x="50956" y="1228786"/>
                  <a:pt x="58454" y="1220807"/>
                </a:cubicBezTo>
                <a:cubicBezTo>
                  <a:pt x="73024" y="1205299"/>
                  <a:pt x="88543" y="1190683"/>
                  <a:pt x="103638" y="1175667"/>
                </a:cubicBezTo>
                <a:cubicBezTo>
                  <a:pt x="112161" y="1167189"/>
                  <a:pt x="118801" y="1157513"/>
                  <a:pt x="122996" y="1146131"/>
                </a:cubicBezTo>
                <a:cubicBezTo>
                  <a:pt x="125249" y="1140016"/>
                  <a:pt x="125488" y="1134282"/>
                  <a:pt x="122689" y="1128316"/>
                </a:cubicBezTo>
                <a:cubicBezTo>
                  <a:pt x="120431" y="1123504"/>
                  <a:pt x="118446" y="1118553"/>
                  <a:pt x="116576" y="1113575"/>
                </a:cubicBezTo>
                <a:cubicBezTo>
                  <a:pt x="111153" y="1099133"/>
                  <a:pt x="114404" y="1089299"/>
                  <a:pt x="127479" y="1081076"/>
                </a:cubicBezTo>
                <a:cubicBezTo>
                  <a:pt x="130563" y="1079137"/>
                  <a:pt x="134000" y="1077564"/>
                  <a:pt x="137480" y="1076482"/>
                </a:cubicBezTo>
                <a:cubicBezTo>
                  <a:pt x="148800" y="1072962"/>
                  <a:pt x="154794" y="1065351"/>
                  <a:pt x="157312" y="1053855"/>
                </a:cubicBezTo>
                <a:cubicBezTo>
                  <a:pt x="164312" y="1021900"/>
                  <a:pt x="172752" y="990234"/>
                  <a:pt x="178876" y="958120"/>
                </a:cubicBezTo>
                <a:cubicBezTo>
                  <a:pt x="190055" y="899504"/>
                  <a:pt x="200649" y="840756"/>
                  <a:pt x="210165" y="781849"/>
                </a:cubicBezTo>
                <a:cubicBezTo>
                  <a:pt x="215898" y="746366"/>
                  <a:pt x="219868" y="710550"/>
                  <a:pt x="223295" y="674755"/>
                </a:cubicBezTo>
                <a:cubicBezTo>
                  <a:pt x="226801" y="638133"/>
                  <a:pt x="229185" y="601381"/>
                  <a:pt x="231121" y="564636"/>
                </a:cubicBezTo>
                <a:cubicBezTo>
                  <a:pt x="233079" y="527469"/>
                  <a:pt x="233899" y="490241"/>
                  <a:pt x="235173" y="453038"/>
                </a:cubicBezTo>
                <a:cubicBezTo>
                  <a:pt x="235285" y="449770"/>
                  <a:pt x="235108" y="446488"/>
                  <a:pt x="235001" y="443215"/>
                </a:cubicBezTo>
                <a:cubicBezTo>
                  <a:pt x="234761" y="435907"/>
                  <a:pt x="231291" y="431283"/>
                  <a:pt x="224321" y="428479"/>
                </a:cubicBezTo>
                <a:cubicBezTo>
                  <a:pt x="217531" y="425747"/>
                  <a:pt x="210873" y="422395"/>
                  <a:pt x="204712" y="418450"/>
                </a:cubicBezTo>
                <a:cubicBezTo>
                  <a:pt x="187562" y="407468"/>
                  <a:pt x="179141" y="385623"/>
                  <a:pt x="184069" y="366060"/>
                </a:cubicBezTo>
                <a:cubicBezTo>
                  <a:pt x="187270" y="353354"/>
                  <a:pt x="195406" y="344379"/>
                  <a:pt x="206519" y="338181"/>
                </a:cubicBezTo>
                <a:cubicBezTo>
                  <a:pt x="212922" y="334611"/>
                  <a:pt x="219930" y="332132"/>
                  <a:pt x="226643" y="329113"/>
                </a:cubicBezTo>
                <a:cubicBezTo>
                  <a:pt x="236636" y="324620"/>
                  <a:pt x="238185" y="320246"/>
                  <a:pt x="232085" y="311135"/>
                </a:cubicBezTo>
                <a:cubicBezTo>
                  <a:pt x="229169" y="306779"/>
                  <a:pt x="225643" y="302195"/>
                  <a:pt x="221280" y="299552"/>
                </a:cubicBezTo>
                <a:cubicBezTo>
                  <a:pt x="194874" y="283553"/>
                  <a:pt x="183766" y="257401"/>
                  <a:pt x="173478" y="230303"/>
                </a:cubicBezTo>
                <a:cubicBezTo>
                  <a:pt x="156973" y="186824"/>
                  <a:pt x="146078" y="142097"/>
                  <a:pt x="141864" y="95780"/>
                </a:cubicBezTo>
                <a:cubicBezTo>
                  <a:pt x="140086" y="76240"/>
                  <a:pt x="138323" y="56689"/>
                  <a:pt x="137158" y="37107"/>
                </a:cubicBezTo>
                <a:cubicBezTo>
                  <a:pt x="136482" y="25735"/>
                  <a:pt x="137408" y="24372"/>
                  <a:pt x="148750" y="22335"/>
                </a:cubicBezTo>
                <a:cubicBezTo>
                  <a:pt x="178094" y="17065"/>
                  <a:pt x="207551" y="12418"/>
                  <a:pt x="236982" y="7640"/>
                </a:cubicBezTo>
                <a:cubicBezTo>
                  <a:pt x="239748" y="7191"/>
                  <a:pt x="242650" y="7580"/>
                  <a:pt x="246862" y="7580"/>
                </a:cubicBezTo>
                <a:cubicBezTo>
                  <a:pt x="255824" y="32568"/>
                  <a:pt x="255201" y="59502"/>
                  <a:pt x="261473" y="86763"/>
                </a:cubicBezTo>
                <a:cubicBezTo>
                  <a:pt x="276122" y="85715"/>
                  <a:pt x="290587" y="84680"/>
                  <a:pt x="306246" y="83559"/>
                </a:cubicBezTo>
                <a:cubicBezTo>
                  <a:pt x="306524" y="78935"/>
                  <a:pt x="306966" y="75011"/>
                  <a:pt x="306960" y="71087"/>
                </a:cubicBezTo>
                <a:cubicBezTo>
                  <a:pt x="306936" y="53888"/>
                  <a:pt x="306633" y="36688"/>
                  <a:pt x="306724" y="19491"/>
                </a:cubicBezTo>
                <a:cubicBezTo>
                  <a:pt x="306789" y="7258"/>
                  <a:pt x="307148" y="6664"/>
                  <a:pt x="319581" y="4733"/>
                </a:cubicBezTo>
                <a:cubicBezTo>
                  <a:pt x="356571" y="-1011"/>
                  <a:pt x="393735" y="-1048"/>
                  <a:pt x="430956" y="2070"/>
                </a:cubicBezTo>
                <a:cubicBezTo>
                  <a:pt x="432994" y="2241"/>
                  <a:pt x="435026" y="2485"/>
                  <a:pt x="437066" y="2646"/>
                </a:cubicBezTo>
                <a:cubicBezTo>
                  <a:pt x="455684" y="4122"/>
                  <a:pt x="457626" y="5472"/>
                  <a:pt x="460335" y="24205"/>
                </a:cubicBezTo>
                <a:cubicBezTo>
                  <a:pt x="462146" y="36727"/>
                  <a:pt x="462770" y="49435"/>
                  <a:pt x="463579" y="62081"/>
                </a:cubicBezTo>
                <a:cubicBezTo>
                  <a:pt x="463995" y="68573"/>
                  <a:pt x="463652" y="75113"/>
                  <a:pt x="463652" y="82953"/>
                </a:cubicBezTo>
                <a:cubicBezTo>
                  <a:pt x="478793" y="83857"/>
                  <a:pt x="492851" y="84696"/>
                  <a:pt x="507205" y="85553"/>
                </a:cubicBezTo>
                <a:cubicBezTo>
                  <a:pt x="512102" y="78145"/>
                  <a:pt x="511920" y="69770"/>
                  <a:pt x="513271" y="61890"/>
                </a:cubicBezTo>
                <a:cubicBezTo>
                  <a:pt x="515756" y="47397"/>
                  <a:pt x="517439" y="32758"/>
                  <a:pt x="520203" y="18323"/>
                </a:cubicBezTo>
                <a:cubicBezTo>
                  <a:pt x="522330" y="7216"/>
                  <a:pt x="522926" y="6539"/>
                  <a:pt x="534008" y="7785"/>
                </a:cubicBezTo>
                <a:cubicBezTo>
                  <a:pt x="554709" y="10113"/>
                  <a:pt x="575316" y="13322"/>
                  <a:pt x="595925" y="16407"/>
                </a:cubicBezTo>
                <a:cubicBezTo>
                  <a:pt x="604001" y="17616"/>
                  <a:pt x="612093" y="19051"/>
                  <a:pt x="619972" y="21156"/>
                </a:cubicBezTo>
                <a:cubicBezTo>
                  <a:pt x="628887" y="23538"/>
                  <a:pt x="631496" y="26848"/>
                  <a:pt x="631161" y="36134"/>
                </a:cubicBezTo>
                <a:cubicBezTo>
                  <a:pt x="630572" y="52475"/>
                  <a:pt x="629765" y="68840"/>
                  <a:pt x="628140" y="85104"/>
                </a:cubicBezTo>
                <a:cubicBezTo>
                  <a:pt x="624968" y="116827"/>
                  <a:pt x="621618" y="148545"/>
                  <a:pt x="613954" y="179618"/>
                </a:cubicBezTo>
                <a:cubicBezTo>
                  <a:pt x="607361" y="206344"/>
                  <a:pt x="597791" y="231950"/>
                  <a:pt x="586196" y="256886"/>
                </a:cubicBezTo>
                <a:cubicBezTo>
                  <a:pt x="578940" y="272491"/>
                  <a:pt x="568647" y="285371"/>
                  <a:pt x="554619" y="295312"/>
                </a:cubicBezTo>
                <a:cubicBezTo>
                  <a:pt x="547467" y="300381"/>
                  <a:pt x="541673" y="306562"/>
                  <a:pt x="538601" y="315001"/>
                </a:cubicBezTo>
                <a:cubicBezTo>
                  <a:pt x="536802" y="319945"/>
                  <a:pt x="537533" y="323761"/>
                  <a:pt x="542630" y="326199"/>
                </a:cubicBezTo>
                <a:cubicBezTo>
                  <a:pt x="548539" y="329025"/>
                  <a:pt x="554513" y="331748"/>
                  <a:pt x="560240" y="334912"/>
                </a:cubicBezTo>
                <a:cubicBezTo>
                  <a:pt x="574874" y="342998"/>
                  <a:pt x="586216" y="353688"/>
                  <a:pt x="586933" y="371800"/>
                </a:cubicBezTo>
                <a:cubicBezTo>
                  <a:pt x="587721" y="391697"/>
                  <a:pt x="581146" y="407998"/>
                  <a:pt x="563039" y="418184"/>
                </a:cubicBezTo>
                <a:cubicBezTo>
                  <a:pt x="557338" y="421391"/>
                  <a:pt x="551634" y="424825"/>
                  <a:pt x="545522" y="427008"/>
                </a:cubicBezTo>
                <a:cubicBezTo>
                  <a:pt x="538690" y="429449"/>
                  <a:pt x="535443" y="433770"/>
                  <a:pt x="535507" y="440667"/>
                </a:cubicBezTo>
                <a:cubicBezTo>
                  <a:pt x="535813" y="472997"/>
                  <a:pt x="535953" y="505332"/>
                  <a:pt x="536723" y="537651"/>
                </a:cubicBezTo>
                <a:cubicBezTo>
                  <a:pt x="537181" y="556862"/>
                  <a:pt x="538274" y="576081"/>
                  <a:pt x="539820" y="595237"/>
                </a:cubicBezTo>
                <a:cubicBezTo>
                  <a:pt x="543897" y="645768"/>
                  <a:pt x="546950" y="696441"/>
                  <a:pt x="553105" y="746727"/>
                </a:cubicBezTo>
                <a:cubicBezTo>
                  <a:pt x="559060" y="795370"/>
                  <a:pt x="568372" y="843602"/>
                  <a:pt x="576414" y="893042"/>
                </a:cubicBezTo>
                <a:moveTo>
                  <a:pt x="500356" y="473996"/>
                </a:moveTo>
                <a:cubicBezTo>
                  <a:pt x="500146" y="470396"/>
                  <a:pt x="499936" y="466797"/>
                  <a:pt x="499749" y="463598"/>
                </a:cubicBezTo>
                <a:cubicBezTo>
                  <a:pt x="463731" y="466295"/>
                  <a:pt x="428548" y="468929"/>
                  <a:pt x="392525" y="471627"/>
                </a:cubicBezTo>
                <a:cubicBezTo>
                  <a:pt x="392525" y="475456"/>
                  <a:pt x="392570" y="479099"/>
                  <a:pt x="392518" y="482742"/>
                </a:cubicBezTo>
                <a:cubicBezTo>
                  <a:pt x="391977" y="520799"/>
                  <a:pt x="391669" y="558862"/>
                  <a:pt x="390814" y="596913"/>
                </a:cubicBezTo>
                <a:cubicBezTo>
                  <a:pt x="389379" y="660737"/>
                  <a:pt x="387596" y="724554"/>
                  <a:pt x="385953" y="788374"/>
                </a:cubicBezTo>
                <a:cubicBezTo>
                  <a:pt x="385132" y="820284"/>
                  <a:pt x="384217" y="852191"/>
                  <a:pt x="383485" y="884103"/>
                </a:cubicBezTo>
                <a:cubicBezTo>
                  <a:pt x="382329" y="934437"/>
                  <a:pt x="381336" y="984775"/>
                  <a:pt x="380173" y="1035109"/>
                </a:cubicBezTo>
                <a:cubicBezTo>
                  <a:pt x="379918" y="1046143"/>
                  <a:pt x="379172" y="1057166"/>
                  <a:pt x="378826" y="1068199"/>
                </a:cubicBezTo>
                <a:cubicBezTo>
                  <a:pt x="378768" y="1070073"/>
                  <a:pt x="379592" y="1071975"/>
                  <a:pt x="380180" y="1074648"/>
                </a:cubicBezTo>
                <a:cubicBezTo>
                  <a:pt x="402724" y="1074648"/>
                  <a:pt x="424789" y="1074626"/>
                  <a:pt x="446854" y="1074654"/>
                </a:cubicBezTo>
                <a:cubicBezTo>
                  <a:pt x="468967" y="1074682"/>
                  <a:pt x="491084" y="1075062"/>
                  <a:pt x="513191" y="1074731"/>
                </a:cubicBezTo>
                <a:cubicBezTo>
                  <a:pt x="535020" y="1074404"/>
                  <a:pt x="556890" y="1078397"/>
                  <a:pt x="580317" y="1075095"/>
                </a:cubicBezTo>
                <a:cubicBezTo>
                  <a:pt x="530688" y="877741"/>
                  <a:pt x="498514" y="679261"/>
                  <a:pt x="500356" y="473996"/>
                </a:cubicBezTo>
                <a:moveTo>
                  <a:pt x="459731" y="1135086"/>
                </a:moveTo>
                <a:cubicBezTo>
                  <a:pt x="434501" y="1135086"/>
                  <a:pt x="409270" y="1135086"/>
                  <a:pt x="383756" y="1135086"/>
                </a:cubicBezTo>
                <a:cubicBezTo>
                  <a:pt x="385145" y="1171037"/>
                  <a:pt x="387590" y="1206813"/>
                  <a:pt x="387612" y="1242590"/>
                </a:cubicBezTo>
                <a:cubicBezTo>
                  <a:pt x="387634" y="1278699"/>
                  <a:pt x="385252" y="1314810"/>
                  <a:pt x="383907" y="1351330"/>
                </a:cubicBezTo>
                <a:cubicBezTo>
                  <a:pt x="493016" y="1355954"/>
                  <a:pt x="600298" y="1349068"/>
                  <a:pt x="707112" y="1330559"/>
                </a:cubicBezTo>
                <a:cubicBezTo>
                  <a:pt x="710922" y="1301049"/>
                  <a:pt x="703971" y="1274394"/>
                  <a:pt x="686366" y="1251637"/>
                </a:cubicBezTo>
                <a:cubicBezTo>
                  <a:pt x="672164" y="1233278"/>
                  <a:pt x="655625" y="1216649"/>
                  <a:pt x="639403" y="1199952"/>
                </a:cubicBezTo>
                <a:cubicBezTo>
                  <a:pt x="621690" y="1181720"/>
                  <a:pt x="611031" y="1160243"/>
                  <a:pt x="606292" y="1135508"/>
                </a:cubicBezTo>
                <a:cubicBezTo>
                  <a:pt x="605546" y="1131614"/>
                  <a:pt x="604205" y="1127833"/>
                  <a:pt x="602971" y="1123400"/>
                </a:cubicBezTo>
                <a:cubicBezTo>
                  <a:pt x="598647" y="1123864"/>
                  <a:pt x="595062" y="1124258"/>
                  <a:pt x="591474" y="1124633"/>
                </a:cubicBezTo>
                <a:cubicBezTo>
                  <a:pt x="571170" y="1126753"/>
                  <a:pt x="550896" y="1129262"/>
                  <a:pt x="530551" y="1130880"/>
                </a:cubicBezTo>
                <a:cubicBezTo>
                  <a:pt x="507752" y="1132694"/>
                  <a:pt x="484887" y="1133699"/>
                  <a:pt x="459731" y="1135086"/>
                </a:cubicBezTo>
                <a:moveTo>
                  <a:pt x="469505" y="116252"/>
                </a:moveTo>
                <a:cubicBezTo>
                  <a:pt x="460926" y="115846"/>
                  <a:pt x="452288" y="115932"/>
                  <a:pt x="443782" y="114911"/>
                </a:cubicBezTo>
                <a:cubicBezTo>
                  <a:pt x="433023" y="113619"/>
                  <a:pt x="430601" y="110848"/>
                  <a:pt x="430007" y="99878"/>
                </a:cubicBezTo>
                <a:cubicBezTo>
                  <a:pt x="429457" y="89668"/>
                  <a:pt x="429903" y="79404"/>
                  <a:pt x="429331" y="69197"/>
                </a:cubicBezTo>
                <a:cubicBezTo>
                  <a:pt x="428702" y="57943"/>
                  <a:pt x="427414" y="46725"/>
                  <a:pt x="426333" y="34606"/>
                </a:cubicBezTo>
                <a:cubicBezTo>
                  <a:pt x="409217" y="34606"/>
                  <a:pt x="393383" y="34593"/>
                  <a:pt x="377548" y="34613"/>
                </a:cubicBezTo>
                <a:cubicBezTo>
                  <a:pt x="370973" y="34621"/>
                  <a:pt x="368175" y="37880"/>
                  <a:pt x="368004" y="44529"/>
                </a:cubicBezTo>
                <a:cubicBezTo>
                  <a:pt x="367731" y="55142"/>
                  <a:pt x="366531" y="65729"/>
                  <a:pt x="366185" y="76343"/>
                </a:cubicBezTo>
                <a:cubicBezTo>
                  <a:pt x="364748" y="120348"/>
                  <a:pt x="372586" y="163440"/>
                  <a:pt x="379384" y="206619"/>
                </a:cubicBezTo>
                <a:cubicBezTo>
                  <a:pt x="383132" y="230420"/>
                  <a:pt x="387281" y="254159"/>
                  <a:pt x="390997" y="277965"/>
                </a:cubicBezTo>
                <a:cubicBezTo>
                  <a:pt x="392356" y="286668"/>
                  <a:pt x="392988" y="295485"/>
                  <a:pt x="394040" y="305053"/>
                </a:cubicBezTo>
                <a:cubicBezTo>
                  <a:pt x="430625" y="305053"/>
                  <a:pt x="466194" y="305182"/>
                  <a:pt x="501758" y="304814"/>
                </a:cubicBezTo>
                <a:cubicBezTo>
                  <a:pt x="504672" y="304784"/>
                  <a:pt x="508099" y="301870"/>
                  <a:pt x="510340" y="299427"/>
                </a:cubicBezTo>
                <a:cubicBezTo>
                  <a:pt x="516125" y="293119"/>
                  <a:pt x="520822" y="285749"/>
                  <a:pt x="526940" y="279822"/>
                </a:cubicBezTo>
                <a:cubicBezTo>
                  <a:pt x="552103" y="255447"/>
                  <a:pt x="566819" y="225104"/>
                  <a:pt x="576920" y="192342"/>
                </a:cubicBezTo>
                <a:cubicBezTo>
                  <a:pt x="588690" y="154165"/>
                  <a:pt x="590063" y="114309"/>
                  <a:pt x="594042" y="74918"/>
                </a:cubicBezTo>
                <a:cubicBezTo>
                  <a:pt x="594852" y="66901"/>
                  <a:pt x="594159" y="58731"/>
                  <a:pt x="594159" y="49195"/>
                </a:cubicBezTo>
                <a:cubicBezTo>
                  <a:pt x="581125" y="46996"/>
                  <a:pt x="568493" y="44864"/>
                  <a:pt x="554791" y="42552"/>
                </a:cubicBezTo>
                <a:cubicBezTo>
                  <a:pt x="553857" y="47762"/>
                  <a:pt x="553099" y="51670"/>
                  <a:pt x="552461" y="55598"/>
                </a:cubicBezTo>
                <a:cubicBezTo>
                  <a:pt x="549905" y="71314"/>
                  <a:pt x="547903" y="87144"/>
                  <a:pt x="544678" y="102721"/>
                </a:cubicBezTo>
                <a:cubicBezTo>
                  <a:pt x="542363" y="113902"/>
                  <a:pt x="537010" y="118223"/>
                  <a:pt x="525701" y="118186"/>
                </a:cubicBezTo>
                <a:cubicBezTo>
                  <a:pt x="507730" y="118128"/>
                  <a:pt x="489762" y="117027"/>
                  <a:pt x="469505" y="116252"/>
                </a:cubicBezTo>
                <a:moveTo>
                  <a:pt x="513928" y="1403203"/>
                </a:moveTo>
                <a:cubicBezTo>
                  <a:pt x="469441" y="1403467"/>
                  <a:pt x="424955" y="1403730"/>
                  <a:pt x="379322" y="1404000"/>
                </a:cubicBezTo>
                <a:cubicBezTo>
                  <a:pt x="379322" y="1423089"/>
                  <a:pt x="379322" y="1440883"/>
                  <a:pt x="379322" y="1460424"/>
                </a:cubicBezTo>
                <a:cubicBezTo>
                  <a:pt x="496078" y="1471584"/>
                  <a:pt x="611510" y="1462301"/>
                  <a:pt x="726554" y="1439225"/>
                </a:cubicBezTo>
                <a:cubicBezTo>
                  <a:pt x="728615" y="1424350"/>
                  <a:pt x="725601" y="1410872"/>
                  <a:pt x="721089" y="1397750"/>
                </a:cubicBezTo>
                <a:cubicBezTo>
                  <a:pt x="717269" y="1386638"/>
                  <a:pt x="709802" y="1383286"/>
                  <a:pt x="697967" y="1385046"/>
                </a:cubicBezTo>
                <a:cubicBezTo>
                  <a:pt x="671697" y="1388954"/>
                  <a:pt x="645454" y="1393360"/>
                  <a:pt x="619039" y="1395892"/>
                </a:cubicBezTo>
                <a:cubicBezTo>
                  <a:pt x="584863" y="1399168"/>
                  <a:pt x="550531" y="1400815"/>
                  <a:pt x="513928" y="1403203"/>
                </a:cubicBezTo>
                <a:moveTo>
                  <a:pt x="462814" y="375981"/>
                </a:moveTo>
                <a:cubicBezTo>
                  <a:pt x="488207" y="375927"/>
                  <a:pt x="513601" y="375954"/>
                  <a:pt x="538992" y="375736"/>
                </a:cubicBezTo>
                <a:cubicBezTo>
                  <a:pt x="543170" y="375700"/>
                  <a:pt x="547338" y="374587"/>
                  <a:pt x="551835" y="373923"/>
                </a:cubicBezTo>
                <a:cubicBezTo>
                  <a:pt x="550780" y="364535"/>
                  <a:pt x="545320" y="360090"/>
                  <a:pt x="539689" y="356085"/>
                </a:cubicBezTo>
                <a:cubicBezTo>
                  <a:pt x="533696" y="351821"/>
                  <a:pt x="527145" y="348349"/>
                  <a:pt x="521074" y="344186"/>
                </a:cubicBezTo>
                <a:cubicBezTo>
                  <a:pt x="515783" y="340559"/>
                  <a:pt x="510232" y="339198"/>
                  <a:pt x="503789" y="339280"/>
                </a:cubicBezTo>
                <a:cubicBezTo>
                  <a:pt x="470618" y="339700"/>
                  <a:pt x="437443" y="339744"/>
                  <a:pt x="404270" y="339994"/>
                </a:cubicBezTo>
                <a:cubicBezTo>
                  <a:pt x="400758" y="340021"/>
                  <a:pt x="397250" y="340529"/>
                  <a:pt x="393081" y="340868"/>
                </a:cubicBezTo>
                <a:cubicBezTo>
                  <a:pt x="393653" y="352908"/>
                  <a:pt x="392145" y="363845"/>
                  <a:pt x="395001" y="375976"/>
                </a:cubicBezTo>
                <a:cubicBezTo>
                  <a:pt x="417133" y="375976"/>
                  <a:pt x="438745" y="375976"/>
                  <a:pt x="462814" y="375981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07" name="Free-form: Shape 4006">
            <a:extLst>
              <a:ext uri="{FF2B5EF4-FFF2-40B4-BE49-F238E27FC236}">
                <a16:creationId xmlns:a16="http://schemas.microsoft.com/office/drawing/2014/main" id="{C8957A53-7544-349D-062F-43B90D35C8EE}"/>
              </a:ext>
            </a:extLst>
          </p:cNvPr>
          <p:cNvSpPr/>
          <p:nvPr/>
        </p:nvSpPr>
        <p:spPr>
          <a:xfrm>
            <a:off x="11208554" y="4652699"/>
            <a:ext cx="188233" cy="629735"/>
          </a:xfrm>
          <a:custGeom>
            <a:avLst/>
            <a:gdLst>
              <a:gd name="csX0" fmla="*/ 121535 w 201493"/>
              <a:gd name="csY0" fmla="*/ 11562 h 612813"/>
              <a:gd name="csX1" fmla="*/ 201493 w 201493"/>
              <a:gd name="csY1" fmla="*/ 611498 h 612813"/>
              <a:gd name="csX2" fmla="*/ 134368 w 201493"/>
              <a:gd name="csY2" fmla="*/ 611133 h 612813"/>
              <a:gd name="csX3" fmla="*/ 68030 w 201493"/>
              <a:gd name="csY3" fmla="*/ 611056 h 612813"/>
              <a:gd name="csX4" fmla="*/ 1357 w 201493"/>
              <a:gd name="csY4" fmla="*/ 611050 h 612813"/>
              <a:gd name="csX5" fmla="*/ 3 w 201493"/>
              <a:gd name="csY5" fmla="*/ 604601 h 612813"/>
              <a:gd name="csX6" fmla="*/ 1350 w 201493"/>
              <a:gd name="csY6" fmla="*/ 571511 h 612813"/>
              <a:gd name="csX7" fmla="*/ 4661 w 201493"/>
              <a:gd name="csY7" fmla="*/ 420505 h 612813"/>
              <a:gd name="csX8" fmla="*/ 7130 w 201493"/>
              <a:gd name="csY8" fmla="*/ 324777 h 612813"/>
              <a:gd name="csX9" fmla="*/ 11991 w 201493"/>
              <a:gd name="csY9" fmla="*/ 133315 h 612813"/>
              <a:gd name="csX10" fmla="*/ 13695 w 201493"/>
              <a:gd name="csY10" fmla="*/ 19144 h 612813"/>
              <a:gd name="csX11" fmla="*/ 13702 w 201493"/>
              <a:gd name="csY11" fmla="*/ 8029 h 612813"/>
              <a:gd name="csX12" fmla="*/ 120926 w 201493"/>
              <a:gd name="csY12" fmla="*/ 0 h 612813"/>
              <a:gd name="csX13" fmla="*/ 121535 w 201493"/>
              <a:gd name="csY13" fmla="*/ 11562 h 61281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</a:cxnLst>
            <a:rect l="l" t="t" r="r" b="b"/>
            <a:pathLst>
              <a:path w="201493" h="612813">
                <a:moveTo>
                  <a:pt x="121535" y="11562"/>
                </a:moveTo>
                <a:cubicBezTo>
                  <a:pt x="119691" y="215664"/>
                  <a:pt x="151865" y="414144"/>
                  <a:pt x="201493" y="611498"/>
                </a:cubicBezTo>
                <a:cubicBezTo>
                  <a:pt x="178066" y="614799"/>
                  <a:pt x="156197" y="610806"/>
                  <a:pt x="134368" y="611133"/>
                </a:cubicBezTo>
                <a:cubicBezTo>
                  <a:pt x="112261" y="611465"/>
                  <a:pt x="90143" y="611084"/>
                  <a:pt x="68030" y="611056"/>
                </a:cubicBezTo>
                <a:cubicBezTo>
                  <a:pt x="45965" y="611028"/>
                  <a:pt x="23900" y="611050"/>
                  <a:pt x="1357" y="611050"/>
                </a:cubicBezTo>
                <a:cubicBezTo>
                  <a:pt x="769" y="608377"/>
                  <a:pt x="-56" y="606475"/>
                  <a:pt x="3" y="604601"/>
                </a:cubicBezTo>
                <a:cubicBezTo>
                  <a:pt x="349" y="593568"/>
                  <a:pt x="1095" y="582545"/>
                  <a:pt x="1350" y="571511"/>
                </a:cubicBezTo>
                <a:cubicBezTo>
                  <a:pt x="2513" y="521177"/>
                  <a:pt x="3506" y="470839"/>
                  <a:pt x="4661" y="420505"/>
                </a:cubicBezTo>
                <a:cubicBezTo>
                  <a:pt x="5393" y="388594"/>
                  <a:pt x="6308" y="356686"/>
                  <a:pt x="7130" y="324777"/>
                </a:cubicBezTo>
                <a:cubicBezTo>
                  <a:pt x="8772" y="260956"/>
                  <a:pt x="10555" y="197140"/>
                  <a:pt x="11991" y="133315"/>
                </a:cubicBezTo>
                <a:cubicBezTo>
                  <a:pt x="12846" y="95264"/>
                  <a:pt x="13154" y="57201"/>
                  <a:pt x="13695" y="19144"/>
                </a:cubicBezTo>
                <a:cubicBezTo>
                  <a:pt x="13746" y="15501"/>
                  <a:pt x="13702" y="11858"/>
                  <a:pt x="13702" y="8029"/>
                </a:cubicBezTo>
                <a:cubicBezTo>
                  <a:pt x="49725" y="5331"/>
                  <a:pt x="84908" y="2697"/>
                  <a:pt x="120926" y="0"/>
                </a:cubicBezTo>
                <a:cubicBezTo>
                  <a:pt x="121113" y="3199"/>
                  <a:pt x="121323" y="6798"/>
                  <a:pt x="121535" y="11562"/>
                </a:cubicBezTo>
                <a:close/>
              </a:path>
            </a:pathLst>
          </a:custGeom>
          <a:solidFill>
            <a:srgbClr val="FDFDFD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08" name="Free-form: Shape 4007">
            <a:extLst>
              <a:ext uri="{FF2B5EF4-FFF2-40B4-BE49-F238E27FC236}">
                <a16:creationId xmlns:a16="http://schemas.microsoft.com/office/drawing/2014/main" id="{2089090E-3517-9ECB-250A-CDAA18D1AABA}"/>
              </a:ext>
            </a:extLst>
          </p:cNvPr>
          <p:cNvSpPr/>
          <p:nvPr/>
        </p:nvSpPr>
        <p:spPr>
          <a:xfrm>
            <a:off x="11213162" y="5330722"/>
            <a:ext cx="303022" cy="235654"/>
          </a:xfrm>
          <a:custGeom>
            <a:avLst/>
            <a:gdLst>
              <a:gd name="csX0" fmla="*/ 77135 w 324367"/>
              <a:gd name="csY0" fmla="*/ 11670 h 229322"/>
              <a:gd name="csX1" fmla="*/ 146795 w 324367"/>
              <a:gd name="csY1" fmla="*/ 7480 h 229322"/>
              <a:gd name="csX2" fmla="*/ 207718 w 324367"/>
              <a:gd name="csY2" fmla="*/ 1232 h 229322"/>
              <a:gd name="csX3" fmla="*/ 219215 w 324367"/>
              <a:gd name="csY3" fmla="*/ 0 h 229322"/>
              <a:gd name="csX4" fmla="*/ 222536 w 324367"/>
              <a:gd name="csY4" fmla="*/ 12108 h 229322"/>
              <a:gd name="csX5" fmla="*/ 255647 w 324367"/>
              <a:gd name="csY5" fmla="*/ 76552 h 229322"/>
              <a:gd name="csX6" fmla="*/ 302610 w 324367"/>
              <a:gd name="csY6" fmla="*/ 128236 h 229322"/>
              <a:gd name="csX7" fmla="*/ 323355 w 324367"/>
              <a:gd name="csY7" fmla="*/ 207159 h 229322"/>
              <a:gd name="csX8" fmla="*/ 151 w 324367"/>
              <a:gd name="csY8" fmla="*/ 227930 h 229322"/>
              <a:gd name="csX9" fmla="*/ 3855 w 324367"/>
              <a:gd name="csY9" fmla="*/ 119190 h 229322"/>
              <a:gd name="csX10" fmla="*/ 0 w 324367"/>
              <a:gd name="csY10" fmla="*/ 11685 h 229322"/>
              <a:gd name="csX11" fmla="*/ 77135 w 324367"/>
              <a:gd name="csY11" fmla="*/ 11670 h 22932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324367" h="229322">
                <a:moveTo>
                  <a:pt x="77135" y="11670"/>
                </a:moveTo>
                <a:cubicBezTo>
                  <a:pt x="101131" y="10299"/>
                  <a:pt x="123996" y="9293"/>
                  <a:pt x="146795" y="7480"/>
                </a:cubicBezTo>
                <a:cubicBezTo>
                  <a:pt x="167139" y="5862"/>
                  <a:pt x="187413" y="3352"/>
                  <a:pt x="207718" y="1232"/>
                </a:cubicBezTo>
                <a:cubicBezTo>
                  <a:pt x="211305" y="858"/>
                  <a:pt x="214891" y="464"/>
                  <a:pt x="219215" y="0"/>
                </a:cubicBezTo>
                <a:cubicBezTo>
                  <a:pt x="220448" y="4433"/>
                  <a:pt x="221789" y="8213"/>
                  <a:pt x="222536" y="12108"/>
                </a:cubicBezTo>
                <a:cubicBezTo>
                  <a:pt x="227274" y="36843"/>
                  <a:pt x="237933" y="58320"/>
                  <a:pt x="255647" y="76552"/>
                </a:cubicBezTo>
                <a:cubicBezTo>
                  <a:pt x="271868" y="93249"/>
                  <a:pt x="288407" y="109878"/>
                  <a:pt x="302610" y="128236"/>
                </a:cubicBezTo>
                <a:cubicBezTo>
                  <a:pt x="320215" y="150993"/>
                  <a:pt x="327166" y="177648"/>
                  <a:pt x="323355" y="207159"/>
                </a:cubicBezTo>
                <a:cubicBezTo>
                  <a:pt x="216542" y="225668"/>
                  <a:pt x="109259" y="232554"/>
                  <a:pt x="151" y="227930"/>
                </a:cubicBezTo>
                <a:cubicBezTo>
                  <a:pt x="1495" y="191410"/>
                  <a:pt x="3878" y="155299"/>
                  <a:pt x="3855" y="119190"/>
                </a:cubicBezTo>
                <a:cubicBezTo>
                  <a:pt x="3834" y="83413"/>
                  <a:pt x="1388" y="47637"/>
                  <a:pt x="0" y="11685"/>
                </a:cubicBezTo>
                <a:cubicBezTo>
                  <a:pt x="25514" y="11685"/>
                  <a:pt x="50744" y="11685"/>
                  <a:pt x="77135" y="11670"/>
                </a:cubicBezTo>
                <a:close/>
              </a:path>
            </a:pathLst>
          </a:custGeom>
          <a:solidFill>
            <a:srgbClr val="FDFEFE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09" name="Free-form: Shape 4008">
            <a:extLst>
              <a:ext uri="{FF2B5EF4-FFF2-40B4-BE49-F238E27FC236}">
                <a16:creationId xmlns:a16="http://schemas.microsoft.com/office/drawing/2014/main" id="{FE8D32F7-F20D-5F82-D93F-6F0FE2517257}"/>
              </a:ext>
            </a:extLst>
          </p:cNvPr>
          <p:cNvSpPr/>
          <p:nvPr/>
        </p:nvSpPr>
        <p:spPr>
          <a:xfrm>
            <a:off x="11196586" y="4211858"/>
            <a:ext cx="213390" cy="277942"/>
          </a:xfrm>
          <a:custGeom>
            <a:avLst/>
            <a:gdLst>
              <a:gd name="csX0" fmla="*/ 104636 w 228422"/>
              <a:gd name="csY0" fmla="*/ 81707 h 270473"/>
              <a:gd name="csX1" fmla="*/ 159689 w 228422"/>
              <a:gd name="csY1" fmla="*/ 83584 h 270473"/>
              <a:gd name="csX2" fmla="*/ 178665 w 228422"/>
              <a:gd name="csY2" fmla="*/ 68119 h 270473"/>
              <a:gd name="csX3" fmla="*/ 186448 w 228422"/>
              <a:gd name="csY3" fmla="*/ 20996 h 270473"/>
              <a:gd name="csX4" fmla="*/ 188779 w 228422"/>
              <a:gd name="csY4" fmla="*/ 7950 h 270473"/>
              <a:gd name="csX5" fmla="*/ 228146 w 228422"/>
              <a:gd name="csY5" fmla="*/ 14593 h 270473"/>
              <a:gd name="csX6" fmla="*/ 228030 w 228422"/>
              <a:gd name="csY6" fmla="*/ 40316 h 270473"/>
              <a:gd name="csX7" fmla="*/ 210907 w 228422"/>
              <a:gd name="csY7" fmla="*/ 157740 h 270473"/>
              <a:gd name="csX8" fmla="*/ 160928 w 228422"/>
              <a:gd name="csY8" fmla="*/ 245220 h 270473"/>
              <a:gd name="csX9" fmla="*/ 144327 w 228422"/>
              <a:gd name="csY9" fmla="*/ 264825 h 270473"/>
              <a:gd name="csX10" fmla="*/ 135745 w 228422"/>
              <a:gd name="csY10" fmla="*/ 270212 h 270473"/>
              <a:gd name="csX11" fmla="*/ 28028 w 228422"/>
              <a:gd name="csY11" fmla="*/ 270451 h 270473"/>
              <a:gd name="csX12" fmla="*/ 24984 w 228422"/>
              <a:gd name="csY12" fmla="*/ 243363 h 270473"/>
              <a:gd name="csX13" fmla="*/ 13372 w 228422"/>
              <a:gd name="csY13" fmla="*/ 172017 h 270473"/>
              <a:gd name="csX14" fmla="*/ 172 w 228422"/>
              <a:gd name="csY14" fmla="*/ 41741 h 270473"/>
              <a:gd name="csX15" fmla="*/ 1991 w 228422"/>
              <a:gd name="csY15" fmla="*/ 9927 h 270473"/>
              <a:gd name="csX16" fmla="*/ 11535 w 228422"/>
              <a:gd name="csY16" fmla="*/ 11 h 270473"/>
              <a:gd name="csX17" fmla="*/ 60320 w 228422"/>
              <a:gd name="csY17" fmla="*/ 4 h 270473"/>
              <a:gd name="csX18" fmla="*/ 63319 w 228422"/>
              <a:gd name="csY18" fmla="*/ 34595 h 270473"/>
              <a:gd name="csX19" fmla="*/ 63995 w 228422"/>
              <a:gd name="csY19" fmla="*/ 65276 h 270473"/>
              <a:gd name="csX20" fmla="*/ 77770 w 228422"/>
              <a:gd name="csY20" fmla="*/ 80309 h 270473"/>
              <a:gd name="csX21" fmla="*/ 104636 w 228422"/>
              <a:gd name="csY21" fmla="*/ 81707 h 27047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</a:cxnLst>
            <a:rect l="l" t="t" r="r" b="b"/>
            <a:pathLst>
              <a:path w="228422" h="270473">
                <a:moveTo>
                  <a:pt x="104636" y="81707"/>
                </a:moveTo>
                <a:cubicBezTo>
                  <a:pt x="123750" y="82425"/>
                  <a:pt x="141717" y="83526"/>
                  <a:pt x="159689" y="83584"/>
                </a:cubicBezTo>
                <a:cubicBezTo>
                  <a:pt x="170998" y="83621"/>
                  <a:pt x="176351" y="79300"/>
                  <a:pt x="178665" y="68119"/>
                </a:cubicBezTo>
                <a:cubicBezTo>
                  <a:pt x="181890" y="52542"/>
                  <a:pt x="183892" y="36712"/>
                  <a:pt x="186448" y="20996"/>
                </a:cubicBezTo>
                <a:cubicBezTo>
                  <a:pt x="187087" y="17068"/>
                  <a:pt x="187844" y="13160"/>
                  <a:pt x="188779" y="7950"/>
                </a:cubicBezTo>
                <a:cubicBezTo>
                  <a:pt x="202480" y="10262"/>
                  <a:pt x="215113" y="12394"/>
                  <a:pt x="228146" y="14593"/>
                </a:cubicBezTo>
                <a:cubicBezTo>
                  <a:pt x="228146" y="24129"/>
                  <a:pt x="228839" y="32299"/>
                  <a:pt x="228030" y="40316"/>
                </a:cubicBezTo>
                <a:cubicBezTo>
                  <a:pt x="224051" y="79707"/>
                  <a:pt x="222678" y="119563"/>
                  <a:pt x="210907" y="157740"/>
                </a:cubicBezTo>
                <a:cubicBezTo>
                  <a:pt x="200806" y="190502"/>
                  <a:pt x="186090" y="220845"/>
                  <a:pt x="160928" y="245220"/>
                </a:cubicBezTo>
                <a:cubicBezTo>
                  <a:pt x="154810" y="251147"/>
                  <a:pt x="150112" y="258517"/>
                  <a:pt x="144327" y="264825"/>
                </a:cubicBezTo>
                <a:cubicBezTo>
                  <a:pt x="142086" y="267268"/>
                  <a:pt x="138659" y="270182"/>
                  <a:pt x="135745" y="270212"/>
                </a:cubicBezTo>
                <a:cubicBezTo>
                  <a:pt x="100181" y="270580"/>
                  <a:pt x="64612" y="270451"/>
                  <a:pt x="28028" y="270451"/>
                </a:cubicBezTo>
                <a:cubicBezTo>
                  <a:pt x="26976" y="260883"/>
                  <a:pt x="26343" y="252066"/>
                  <a:pt x="24984" y="243363"/>
                </a:cubicBezTo>
                <a:cubicBezTo>
                  <a:pt x="21268" y="219557"/>
                  <a:pt x="17119" y="195818"/>
                  <a:pt x="13372" y="172017"/>
                </a:cubicBezTo>
                <a:cubicBezTo>
                  <a:pt x="6574" y="128838"/>
                  <a:pt x="-1265" y="85746"/>
                  <a:pt x="172" y="41741"/>
                </a:cubicBezTo>
                <a:cubicBezTo>
                  <a:pt x="518" y="31127"/>
                  <a:pt x="1719" y="20540"/>
                  <a:pt x="1991" y="9927"/>
                </a:cubicBezTo>
                <a:cubicBezTo>
                  <a:pt x="2163" y="3278"/>
                  <a:pt x="4961" y="19"/>
                  <a:pt x="11535" y="11"/>
                </a:cubicBezTo>
                <a:cubicBezTo>
                  <a:pt x="27370" y="-9"/>
                  <a:pt x="43205" y="4"/>
                  <a:pt x="60320" y="4"/>
                </a:cubicBezTo>
                <a:cubicBezTo>
                  <a:pt x="61401" y="12123"/>
                  <a:pt x="62689" y="23341"/>
                  <a:pt x="63319" y="34595"/>
                </a:cubicBezTo>
                <a:cubicBezTo>
                  <a:pt x="63890" y="44802"/>
                  <a:pt x="63444" y="55066"/>
                  <a:pt x="63995" y="65276"/>
                </a:cubicBezTo>
                <a:cubicBezTo>
                  <a:pt x="64588" y="76246"/>
                  <a:pt x="67011" y="79017"/>
                  <a:pt x="77770" y="80309"/>
                </a:cubicBezTo>
                <a:cubicBezTo>
                  <a:pt x="86275" y="81330"/>
                  <a:pt x="94914" y="81244"/>
                  <a:pt x="104636" y="81707"/>
                </a:cubicBezTo>
                <a:close/>
              </a:path>
            </a:pathLst>
          </a:custGeom>
          <a:solidFill>
            <a:srgbClr val="FDFDFD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10" name="Free-form: Shape 4009">
            <a:extLst>
              <a:ext uri="{FF2B5EF4-FFF2-40B4-BE49-F238E27FC236}">
                <a16:creationId xmlns:a16="http://schemas.microsoft.com/office/drawing/2014/main" id="{6E3FC001-0229-DEB9-D9B3-13499BF0FE06}"/>
              </a:ext>
            </a:extLst>
          </p:cNvPr>
          <p:cNvSpPr/>
          <p:nvPr/>
        </p:nvSpPr>
        <p:spPr>
          <a:xfrm>
            <a:off x="11209019" y="5599138"/>
            <a:ext cx="324999" cy="82758"/>
          </a:xfrm>
          <a:custGeom>
            <a:avLst/>
            <a:gdLst>
              <a:gd name="csX0" fmla="*/ 135775 w 347893"/>
              <a:gd name="csY0" fmla="*/ 18580 h 80534"/>
              <a:gd name="csX1" fmla="*/ 239717 w 347893"/>
              <a:gd name="csY1" fmla="*/ 11288 h 80534"/>
              <a:gd name="csX2" fmla="*/ 318645 w 347893"/>
              <a:gd name="csY2" fmla="*/ 442 h 80534"/>
              <a:gd name="csX3" fmla="*/ 341767 w 347893"/>
              <a:gd name="csY3" fmla="*/ 13145 h 80534"/>
              <a:gd name="csX4" fmla="*/ 347232 w 347893"/>
              <a:gd name="csY4" fmla="*/ 54621 h 80534"/>
              <a:gd name="csX5" fmla="*/ 0 w 347893"/>
              <a:gd name="csY5" fmla="*/ 75820 h 80534"/>
              <a:gd name="csX6" fmla="*/ 0 w 347893"/>
              <a:gd name="csY6" fmla="*/ 19396 h 80534"/>
              <a:gd name="csX7" fmla="*/ 135775 w 347893"/>
              <a:gd name="csY7" fmla="*/ 18580 h 8053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</a:cxnLst>
            <a:rect l="l" t="t" r="r" b="b"/>
            <a:pathLst>
              <a:path w="347893" h="80534">
                <a:moveTo>
                  <a:pt x="135775" y="18580"/>
                </a:moveTo>
                <a:cubicBezTo>
                  <a:pt x="171209" y="16211"/>
                  <a:pt x="205541" y="14564"/>
                  <a:pt x="239717" y="11288"/>
                </a:cubicBezTo>
                <a:cubicBezTo>
                  <a:pt x="266132" y="8756"/>
                  <a:pt x="292375" y="4350"/>
                  <a:pt x="318645" y="442"/>
                </a:cubicBezTo>
                <a:cubicBezTo>
                  <a:pt x="330480" y="-1319"/>
                  <a:pt x="337947" y="2033"/>
                  <a:pt x="341767" y="13145"/>
                </a:cubicBezTo>
                <a:cubicBezTo>
                  <a:pt x="346279" y="26268"/>
                  <a:pt x="349293" y="39746"/>
                  <a:pt x="347232" y="54621"/>
                </a:cubicBezTo>
                <a:cubicBezTo>
                  <a:pt x="232188" y="77697"/>
                  <a:pt x="116756" y="86979"/>
                  <a:pt x="0" y="75820"/>
                </a:cubicBezTo>
                <a:cubicBezTo>
                  <a:pt x="0" y="56279"/>
                  <a:pt x="0" y="38485"/>
                  <a:pt x="0" y="19396"/>
                </a:cubicBezTo>
                <a:cubicBezTo>
                  <a:pt x="45633" y="19126"/>
                  <a:pt x="90119" y="18862"/>
                  <a:pt x="135775" y="18580"/>
                </a:cubicBezTo>
                <a:close/>
              </a:path>
            </a:pathLst>
          </a:custGeom>
          <a:solidFill>
            <a:srgbClr val="FCFDFD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11" name="Free-form: Shape 4010">
            <a:extLst>
              <a:ext uri="{FF2B5EF4-FFF2-40B4-BE49-F238E27FC236}">
                <a16:creationId xmlns:a16="http://schemas.microsoft.com/office/drawing/2014/main" id="{F59A5454-0BE7-D779-9A60-04F505387E40}"/>
              </a:ext>
            </a:extLst>
          </p:cNvPr>
          <p:cNvSpPr/>
          <p:nvPr/>
        </p:nvSpPr>
        <p:spPr>
          <a:xfrm>
            <a:off x="11221873" y="4524945"/>
            <a:ext cx="148307" cy="37714"/>
          </a:xfrm>
          <a:custGeom>
            <a:avLst/>
            <a:gdLst>
              <a:gd name="csX0" fmla="*/ 68505 w 158754"/>
              <a:gd name="csY0" fmla="*/ 36702 h 36701"/>
              <a:gd name="csX1" fmla="*/ 1920 w 158754"/>
              <a:gd name="csY1" fmla="*/ 36699 h 36701"/>
              <a:gd name="csX2" fmla="*/ 0 w 158754"/>
              <a:gd name="csY2" fmla="*/ 1592 h 36701"/>
              <a:gd name="csX3" fmla="*/ 11189 w 158754"/>
              <a:gd name="csY3" fmla="*/ 718 h 36701"/>
              <a:gd name="csX4" fmla="*/ 110708 w 158754"/>
              <a:gd name="csY4" fmla="*/ 3 h 36701"/>
              <a:gd name="csX5" fmla="*/ 127993 w 158754"/>
              <a:gd name="csY5" fmla="*/ 4910 h 36701"/>
              <a:gd name="csX6" fmla="*/ 146608 w 158754"/>
              <a:gd name="csY6" fmla="*/ 16808 h 36701"/>
              <a:gd name="csX7" fmla="*/ 158755 w 158754"/>
              <a:gd name="csY7" fmla="*/ 34647 h 36701"/>
              <a:gd name="csX8" fmla="*/ 145911 w 158754"/>
              <a:gd name="csY8" fmla="*/ 36459 h 36701"/>
              <a:gd name="csX9" fmla="*/ 68505 w 158754"/>
              <a:gd name="csY9" fmla="*/ 36702 h 3670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158754" h="36701">
                <a:moveTo>
                  <a:pt x="68505" y="36702"/>
                </a:moveTo>
                <a:cubicBezTo>
                  <a:pt x="45664" y="36699"/>
                  <a:pt x="24052" y="36699"/>
                  <a:pt x="1920" y="36699"/>
                </a:cubicBezTo>
                <a:cubicBezTo>
                  <a:pt x="-935" y="24569"/>
                  <a:pt x="572" y="13631"/>
                  <a:pt x="0" y="1592"/>
                </a:cubicBezTo>
                <a:cubicBezTo>
                  <a:pt x="4169" y="1253"/>
                  <a:pt x="7677" y="744"/>
                  <a:pt x="11189" y="718"/>
                </a:cubicBezTo>
                <a:cubicBezTo>
                  <a:pt x="44362" y="468"/>
                  <a:pt x="77538" y="423"/>
                  <a:pt x="110708" y="3"/>
                </a:cubicBezTo>
                <a:cubicBezTo>
                  <a:pt x="117152" y="-78"/>
                  <a:pt x="122702" y="1282"/>
                  <a:pt x="127993" y="4910"/>
                </a:cubicBezTo>
                <a:cubicBezTo>
                  <a:pt x="134065" y="9072"/>
                  <a:pt x="140615" y="12545"/>
                  <a:pt x="146608" y="16808"/>
                </a:cubicBezTo>
                <a:cubicBezTo>
                  <a:pt x="152239" y="20814"/>
                  <a:pt x="157699" y="25259"/>
                  <a:pt x="158755" y="34647"/>
                </a:cubicBezTo>
                <a:cubicBezTo>
                  <a:pt x="154257" y="35310"/>
                  <a:pt x="150089" y="36424"/>
                  <a:pt x="145911" y="36459"/>
                </a:cubicBezTo>
                <a:cubicBezTo>
                  <a:pt x="120520" y="36677"/>
                  <a:pt x="95126" y="36650"/>
                  <a:pt x="68505" y="36702"/>
                </a:cubicBezTo>
                <a:close/>
              </a:path>
            </a:pathLst>
          </a:custGeom>
          <a:solidFill>
            <a:srgbClr val="FBFCFB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963" name="Free-form: Shape 3962">
            <a:extLst>
              <a:ext uri="{FF2B5EF4-FFF2-40B4-BE49-F238E27FC236}">
                <a16:creationId xmlns:a16="http://schemas.microsoft.com/office/drawing/2014/main" id="{ED1E291D-86BE-D24B-59B0-DC1852D39D79}"/>
              </a:ext>
            </a:extLst>
          </p:cNvPr>
          <p:cNvSpPr/>
          <p:nvPr/>
        </p:nvSpPr>
        <p:spPr>
          <a:xfrm>
            <a:off x="2240382" y="4195120"/>
            <a:ext cx="768280" cy="1532177"/>
          </a:xfrm>
          <a:custGeom>
            <a:avLst/>
            <a:gdLst>
              <a:gd name="csX0" fmla="*/ 703087 w 763849"/>
              <a:gd name="csY0" fmla="*/ 1241174 h 1523340"/>
              <a:gd name="csX1" fmla="*/ 732932 w 763849"/>
              <a:gd name="csY1" fmla="*/ 1359634 h 1523340"/>
              <a:gd name="csX2" fmla="*/ 735544 w 763849"/>
              <a:gd name="csY2" fmla="*/ 1377287 h 1523340"/>
              <a:gd name="csX3" fmla="*/ 756764 w 763849"/>
              <a:gd name="csY3" fmla="*/ 1458577 h 1523340"/>
              <a:gd name="csX4" fmla="*/ 757108 w 763849"/>
              <a:gd name="csY4" fmla="*/ 1465940 h 1523340"/>
              <a:gd name="csX5" fmla="*/ 744215 w 763849"/>
              <a:gd name="csY5" fmla="*/ 1488332 h 1523340"/>
              <a:gd name="csX6" fmla="*/ 712781 w 763849"/>
              <a:gd name="csY6" fmla="*/ 1498472 h 1523340"/>
              <a:gd name="csX7" fmla="*/ 625540 w 763849"/>
              <a:gd name="csY7" fmla="*/ 1511981 h 1523340"/>
              <a:gd name="csX8" fmla="*/ 488540 w 763849"/>
              <a:gd name="csY8" fmla="*/ 1522029 h 1523340"/>
              <a:gd name="csX9" fmla="*/ 306789 w 763849"/>
              <a:gd name="csY9" fmla="*/ 1523231 h 1523340"/>
              <a:gd name="csX10" fmla="*/ 200103 w 763849"/>
              <a:gd name="csY10" fmla="*/ 1518579 h 1523340"/>
              <a:gd name="csX11" fmla="*/ 31607 w 763849"/>
              <a:gd name="csY11" fmla="*/ 1493880 h 1523340"/>
              <a:gd name="csX12" fmla="*/ 5860 w 763849"/>
              <a:gd name="csY12" fmla="*/ 1482933 h 1523340"/>
              <a:gd name="csX13" fmla="*/ 32 w 763849"/>
              <a:gd name="csY13" fmla="*/ 1471774 h 1523340"/>
              <a:gd name="csX14" fmla="*/ 21295 w 763849"/>
              <a:gd name="csY14" fmla="*/ 1378237 h 1523340"/>
              <a:gd name="csX15" fmla="*/ 23169 w 763849"/>
              <a:gd name="csY15" fmla="*/ 1364271 h 1523340"/>
              <a:gd name="csX16" fmla="*/ 23871 w 763849"/>
              <a:gd name="csY16" fmla="*/ 1303132 h 1523340"/>
              <a:gd name="csX17" fmla="*/ 59740 w 763849"/>
              <a:gd name="csY17" fmla="*/ 1234649 h 1523340"/>
              <a:gd name="csX18" fmla="*/ 98899 w 763849"/>
              <a:gd name="csY18" fmla="*/ 1195619 h 1523340"/>
              <a:gd name="csX19" fmla="*/ 131493 w 763849"/>
              <a:gd name="csY19" fmla="*/ 1127593 h 1523340"/>
              <a:gd name="csX20" fmla="*/ 108213 w 763849"/>
              <a:gd name="csY20" fmla="*/ 1058723 h 1523340"/>
              <a:gd name="csX21" fmla="*/ 74370 w 763849"/>
              <a:gd name="csY21" fmla="*/ 1024929 h 1523340"/>
              <a:gd name="csX22" fmla="*/ 68137 w 763849"/>
              <a:gd name="csY22" fmla="*/ 987550 h 1523340"/>
              <a:gd name="csX23" fmla="*/ 86420 w 763849"/>
              <a:gd name="csY23" fmla="*/ 941991 h 1523340"/>
              <a:gd name="csX24" fmla="*/ 97082 w 763849"/>
              <a:gd name="csY24" fmla="*/ 828037 h 1523340"/>
              <a:gd name="csX25" fmla="*/ 61782 w 763849"/>
              <a:gd name="csY25" fmla="*/ 696973 h 1523340"/>
              <a:gd name="csX26" fmla="*/ 26901 w 763849"/>
              <a:gd name="csY26" fmla="*/ 547868 h 1523340"/>
              <a:gd name="csX27" fmla="*/ 20221 w 763849"/>
              <a:gd name="csY27" fmla="*/ 479529 h 1523340"/>
              <a:gd name="csX28" fmla="*/ 40808 w 763849"/>
              <a:gd name="csY28" fmla="*/ 334388 h 1523340"/>
              <a:gd name="csX29" fmla="*/ 65171 w 763849"/>
              <a:gd name="csY29" fmla="*/ 263707 h 1523340"/>
              <a:gd name="csX30" fmla="*/ 142827 w 763849"/>
              <a:gd name="csY30" fmla="*/ 171003 h 1523340"/>
              <a:gd name="csX31" fmla="*/ 172290 w 763849"/>
              <a:gd name="csY31" fmla="*/ 155872 h 1523340"/>
              <a:gd name="csX32" fmla="*/ 189008 w 763849"/>
              <a:gd name="csY32" fmla="*/ 148158 h 1523340"/>
              <a:gd name="csX33" fmla="*/ 212828 w 763849"/>
              <a:gd name="csY33" fmla="*/ 126123 h 1523340"/>
              <a:gd name="csX34" fmla="*/ 217217 w 763849"/>
              <a:gd name="csY34" fmla="*/ 118740 h 1523340"/>
              <a:gd name="csX35" fmla="*/ 253000 w 763849"/>
              <a:gd name="csY35" fmla="*/ 88998 h 1523340"/>
              <a:gd name="csX36" fmla="*/ 322085 w 763849"/>
              <a:gd name="csY36" fmla="*/ 72193 h 1523340"/>
              <a:gd name="csX37" fmla="*/ 330478 w 763849"/>
              <a:gd name="csY37" fmla="*/ 70387 h 1523340"/>
              <a:gd name="csX38" fmla="*/ 388016 w 763849"/>
              <a:gd name="csY38" fmla="*/ 35457 h 1523340"/>
              <a:gd name="csX39" fmla="*/ 421527 w 763849"/>
              <a:gd name="csY39" fmla="*/ 0 h 1523340"/>
              <a:gd name="csX40" fmla="*/ 424538 w 763849"/>
              <a:gd name="csY40" fmla="*/ 10833 h 1523340"/>
              <a:gd name="csX41" fmla="*/ 436339 w 763849"/>
              <a:gd name="csY41" fmla="*/ 121836 h 1523340"/>
              <a:gd name="csX42" fmla="*/ 449983 w 763849"/>
              <a:gd name="csY42" fmla="*/ 141450 h 1523340"/>
              <a:gd name="csX43" fmla="*/ 503299 w 763849"/>
              <a:gd name="csY43" fmla="*/ 169290 h 1523340"/>
              <a:gd name="csX44" fmla="*/ 551461 w 763849"/>
              <a:gd name="csY44" fmla="*/ 203111 h 1523340"/>
              <a:gd name="csX45" fmla="*/ 588803 w 763849"/>
              <a:gd name="csY45" fmla="*/ 252797 h 1523340"/>
              <a:gd name="csX46" fmla="*/ 634209 w 763849"/>
              <a:gd name="csY46" fmla="*/ 327081 h 1523340"/>
              <a:gd name="csX47" fmla="*/ 697923 w 763849"/>
              <a:gd name="csY47" fmla="*/ 384157 h 1523340"/>
              <a:gd name="csX48" fmla="*/ 729658 w 763849"/>
              <a:gd name="csY48" fmla="*/ 407288 h 1523340"/>
              <a:gd name="csX49" fmla="*/ 763354 w 763849"/>
              <a:gd name="csY49" fmla="*/ 471325 h 1523340"/>
              <a:gd name="csX50" fmla="*/ 757092 w 763849"/>
              <a:gd name="csY50" fmla="*/ 527116 h 1523340"/>
              <a:gd name="csX51" fmla="*/ 720673 w 763849"/>
              <a:gd name="csY51" fmla="*/ 570023 h 1523340"/>
              <a:gd name="csX52" fmla="*/ 704918 w 763849"/>
              <a:gd name="csY52" fmla="*/ 581294 h 1523340"/>
              <a:gd name="csX53" fmla="*/ 671960 w 763849"/>
              <a:gd name="csY53" fmla="*/ 595325 h 1523340"/>
              <a:gd name="csX54" fmla="*/ 633021 w 763849"/>
              <a:gd name="csY54" fmla="*/ 591397 h 1523340"/>
              <a:gd name="csX55" fmla="*/ 580696 w 763849"/>
              <a:gd name="csY55" fmla="*/ 556742 h 1523340"/>
              <a:gd name="csX56" fmla="*/ 545415 w 763849"/>
              <a:gd name="csY56" fmla="*/ 524617 h 1523340"/>
              <a:gd name="csX57" fmla="*/ 518889 w 763849"/>
              <a:gd name="csY57" fmla="*/ 516179 h 1523340"/>
              <a:gd name="csX58" fmla="*/ 472309 w 763849"/>
              <a:gd name="csY58" fmla="*/ 517812 h 1523340"/>
              <a:gd name="csX59" fmla="*/ 415953 w 763849"/>
              <a:gd name="csY59" fmla="*/ 517245 h 1523340"/>
              <a:gd name="csX60" fmla="*/ 403392 w 763849"/>
              <a:gd name="csY60" fmla="*/ 516539 h 1523340"/>
              <a:gd name="csX61" fmla="*/ 407957 w 763849"/>
              <a:gd name="csY61" fmla="*/ 542045 h 1523340"/>
              <a:gd name="csX62" fmla="*/ 434134 w 763849"/>
              <a:gd name="csY62" fmla="*/ 583349 h 1523340"/>
              <a:gd name="csX63" fmla="*/ 524267 w 763849"/>
              <a:gd name="csY63" fmla="*/ 683922 h 1523340"/>
              <a:gd name="csX64" fmla="*/ 614317 w 763849"/>
              <a:gd name="csY64" fmla="*/ 786085 h 1523340"/>
              <a:gd name="csX65" fmla="*/ 669590 w 763849"/>
              <a:gd name="csY65" fmla="*/ 921089 h 1523340"/>
              <a:gd name="csX66" fmla="*/ 647360 w 763849"/>
              <a:gd name="csY66" fmla="*/ 1057245 h 1523340"/>
              <a:gd name="csX67" fmla="*/ 627872 w 763849"/>
              <a:gd name="csY67" fmla="*/ 1102111 h 1523340"/>
              <a:gd name="csX68" fmla="*/ 642300 w 763849"/>
              <a:gd name="csY68" fmla="*/ 1175941 h 1523340"/>
              <a:gd name="csX69" fmla="*/ 668829 w 763849"/>
              <a:gd name="csY69" fmla="*/ 1206449 h 1523340"/>
              <a:gd name="csX70" fmla="*/ 703087 w 763849"/>
              <a:gd name="csY70" fmla="*/ 1241174 h 1523340"/>
              <a:gd name="csX71" fmla="*/ 648750 w 763849"/>
              <a:gd name="csY71" fmla="*/ 562343 h 1523340"/>
              <a:gd name="csX72" fmla="*/ 674049 w 763849"/>
              <a:gd name="csY72" fmla="*/ 562834 h 1523340"/>
              <a:gd name="csX73" fmla="*/ 660781 w 763849"/>
              <a:gd name="csY73" fmla="*/ 550178 h 1523340"/>
              <a:gd name="csX74" fmla="*/ 650911 w 763849"/>
              <a:gd name="csY74" fmla="*/ 534051 h 1523340"/>
              <a:gd name="csX75" fmla="*/ 660724 w 763849"/>
              <a:gd name="csY75" fmla="*/ 537605 h 1523340"/>
              <a:gd name="csX76" fmla="*/ 688133 w 763849"/>
              <a:gd name="csY76" fmla="*/ 543363 h 1523340"/>
              <a:gd name="csX77" fmla="*/ 731514 w 763849"/>
              <a:gd name="csY77" fmla="*/ 510767 h 1523340"/>
              <a:gd name="csX78" fmla="*/ 733611 w 763849"/>
              <a:gd name="csY78" fmla="*/ 466905 h 1523340"/>
              <a:gd name="csX79" fmla="*/ 708076 w 763849"/>
              <a:gd name="csY79" fmla="*/ 425975 h 1523340"/>
              <a:gd name="csX80" fmla="*/ 667538 w 763849"/>
              <a:gd name="csY80" fmla="*/ 398254 h 1523340"/>
              <a:gd name="csX81" fmla="*/ 601016 w 763849"/>
              <a:gd name="csY81" fmla="*/ 332127 h 1523340"/>
              <a:gd name="csX82" fmla="*/ 565354 w 763849"/>
              <a:gd name="csY82" fmla="*/ 270526 h 1523340"/>
              <a:gd name="csX83" fmla="*/ 490657 w 763849"/>
              <a:gd name="csY83" fmla="*/ 195121 h 1523340"/>
              <a:gd name="csX84" fmla="*/ 432834 w 763849"/>
              <a:gd name="csY84" fmla="*/ 165243 h 1523340"/>
              <a:gd name="csX85" fmla="*/ 407594 w 763849"/>
              <a:gd name="csY85" fmla="*/ 127852 h 1523340"/>
              <a:gd name="csX86" fmla="*/ 405020 w 763849"/>
              <a:gd name="csY86" fmla="*/ 69029 h 1523340"/>
              <a:gd name="csX87" fmla="*/ 403638 w 763849"/>
              <a:gd name="csY87" fmla="*/ 58130 h 1523340"/>
              <a:gd name="csX88" fmla="*/ 349776 w 763849"/>
              <a:gd name="csY88" fmla="*/ 133259 h 1523340"/>
              <a:gd name="csX89" fmla="*/ 326975 w 763849"/>
              <a:gd name="csY89" fmla="*/ 159669 h 1523340"/>
              <a:gd name="csX90" fmla="*/ 240374 w 763849"/>
              <a:gd name="csY90" fmla="*/ 221714 h 1523340"/>
              <a:gd name="csX91" fmla="*/ 171637 w 763849"/>
              <a:gd name="csY91" fmla="*/ 309087 h 1523340"/>
              <a:gd name="csX92" fmla="*/ 138048 w 763849"/>
              <a:gd name="csY92" fmla="*/ 516954 h 1523340"/>
              <a:gd name="csX93" fmla="*/ 163889 w 763849"/>
              <a:gd name="csY93" fmla="*/ 641780 h 1523340"/>
              <a:gd name="csX94" fmla="*/ 204800 w 763849"/>
              <a:gd name="csY94" fmla="*/ 787055 h 1523340"/>
              <a:gd name="csX95" fmla="*/ 218549 w 763849"/>
              <a:gd name="csY95" fmla="*/ 949545 h 1523340"/>
              <a:gd name="csX96" fmla="*/ 191487 w 763849"/>
              <a:gd name="csY96" fmla="*/ 1033064 h 1523340"/>
              <a:gd name="csX97" fmla="*/ 188729 w 763849"/>
              <a:gd name="csY97" fmla="*/ 1039835 h 1523340"/>
              <a:gd name="csX98" fmla="*/ 221417 w 763849"/>
              <a:gd name="csY98" fmla="*/ 1040799 h 1523340"/>
              <a:gd name="csX99" fmla="*/ 348895 w 763849"/>
              <a:gd name="csY99" fmla="*/ 1046759 h 1523340"/>
              <a:gd name="csX100" fmla="*/ 545369 w 763849"/>
              <a:gd name="csY100" fmla="*/ 1044456 h 1523340"/>
              <a:gd name="csX101" fmla="*/ 612424 w 763849"/>
              <a:gd name="csY101" fmla="*/ 1037365 h 1523340"/>
              <a:gd name="csX102" fmla="*/ 623169 w 763849"/>
              <a:gd name="csY102" fmla="*/ 1028873 h 1523340"/>
              <a:gd name="csX103" fmla="*/ 638508 w 763849"/>
              <a:gd name="csY103" fmla="*/ 959599 h 1523340"/>
              <a:gd name="csX104" fmla="*/ 609213 w 763849"/>
              <a:gd name="csY104" fmla="*/ 842075 h 1523340"/>
              <a:gd name="csX105" fmla="*/ 529367 w 763849"/>
              <a:gd name="csY105" fmla="*/ 735065 h 1523340"/>
              <a:gd name="csX106" fmla="*/ 403792 w 763849"/>
              <a:gd name="csY106" fmla="*/ 596993 h 1523340"/>
              <a:gd name="csX107" fmla="*/ 344708 w 763849"/>
              <a:gd name="csY107" fmla="*/ 511366 h 1523340"/>
              <a:gd name="csX108" fmla="*/ 324464 w 763849"/>
              <a:gd name="csY108" fmla="*/ 380084 h 1523340"/>
              <a:gd name="csX109" fmla="*/ 327688 w 763849"/>
              <a:gd name="csY109" fmla="*/ 373535 h 1523340"/>
              <a:gd name="csX110" fmla="*/ 330334 w 763849"/>
              <a:gd name="csY110" fmla="*/ 373641 h 1523340"/>
              <a:gd name="csX111" fmla="*/ 334272 w 763849"/>
              <a:gd name="csY111" fmla="*/ 384645 h 1523340"/>
              <a:gd name="csX112" fmla="*/ 365260 w 763849"/>
              <a:gd name="csY112" fmla="*/ 453955 h 1523340"/>
              <a:gd name="csX113" fmla="*/ 408246 w 763849"/>
              <a:gd name="csY113" fmla="*/ 483592 h 1523340"/>
              <a:gd name="csX114" fmla="*/ 464529 w 763849"/>
              <a:gd name="csY114" fmla="*/ 486187 h 1523340"/>
              <a:gd name="csX115" fmla="*/ 511119 w 763849"/>
              <a:gd name="csY115" fmla="*/ 484308 h 1523340"/>
              <a:gd name="csX116" fmla="*/ 567913 w 763849"/>
              <a:gd name="csY116" fmla="*/ 503736 h 1523340"/>
              <a:gd name="csX117" fmla="*/ 607611 w 763849"/>
              <a:gd name="csY117" fmla="*/ 540326 h 1523340"/>
              <a:gd name="csX118" fmla="*/ 648750 w 763849"/>
              <a:gd name="csY118" fmla="*/ 562343 h 1523340"/>
              <a:gd name="csX119" fmla="*/ 462594 w 763849"/>
              <a:gd name="csY119" fmla="*/ 1369008 h 1523340"/>
              <a:gd name="csX120" fmla="*/ 510357 w 763849"/>
              <a:gd name="csY120" fmla="*/ 1366345 h 1523340"/>
              <a:gd name="csX121" fmla="*/ 549434 w 763849"/>
              <a:gd name="csY121" fmla="*/ 1362956 h 1523340"/>
              <a:gd name="csX122" fmla="*/ 632369 w 763849"/>
              <a:gd name="csY122" fmla="*/ 1354439 h 1523340"/>
              <a:gd name="csX123" fmla="*/ 697252 w 763849"/>
              <a:gd name="csY123" fmla="*/ 1346424 h 1523340"/>
              <a:gd name="csX124" fmla="*/ 676674 w 763849"/>
              <a:gd name="csY124" fmla="*/ 1266396 h 1523340"/>
              <a:gd name="csX125" fmla="*/ 646594 w 763849"/>
              <a:gd name="csY125" fmla="*/ 1234108 h 1523340"/>
              <a:gd name="csX126" fmla="*/ 612063 w 763849"/>
              <a:gd name="csY126" fmla="*/ 1194382 h 1523340"/>
              <a:gd name="csX127" fmla="*/ 591616 w 763849"/>
              <a:gd name="csY127" fmla="*/ 1111541 h 1523340"/>
              <a:gd name="csX128" fmla="*/ 594320 w 763849"/>
              <a:gd name="csY128" fmla="*/ 1089609 h 1523340"/>
              <a:gd name="csX129" fmla="*/ 578634 w 763849"/>
              <a:gd name="csY129" fmla="*/ 1089642 h 1523340"/>
              <a:gd name="csX130" fmla="*/ 443931 w 763849"/>
              <a:gd name="csY130" fmla="*/ 1096700 h 1523340"/>
              <a:gd name="csX131" fmla="*/ 403417 w 763849"/>
              <a:gd name="csY131" fmla="*/ 1097156 h 1523340"/>
              <a:gd name="csX132" fmla="*/ 388348 w 763849"/>
              <a:gd name="csY132" fmla="*/ 1111502 h 1523340"/>
              <a:gd name="csX133" fmla="*/ 385048 w 763849"/>
              <a:gd name="csY133" fmla="*/ 1176431 h 1523340"/>
              <a:gd name="csX134" fmla="*/ 377687 w 763849"/>
              <a:gd name="csY134" fmla="*/ 1308672 h 1523340"/>
              <a:gd name="csX135" fmla="*/ 376823 w 763849"/>
              <a:gd name="csY135" fmla="*/ 1320897 h 1523340"/>
              <a:gd name="csX136" fmla="*/ 376781 w 763849"/>
              <a:gd name="csY136" fmla="*/ 1366151 h 1523340"/>
              <a:gd name="csX137" fmla="*/ 462594 w 763849"/>
              <a:gd name="csY137" fmla="*/ 1369008 h 1523340"/>
              <a:gd name="csX138" fmla="*/ 648494 w 763849"/>
              <a:gd name="csY138" fmla="*/ 1463981 h 1523340"/>
              <a:gd name="csX139" fmla="*/ 718746 w 763849"/>
              <a:gd name="csY139" fmla="*/ 1451892 h 1523340"/>
              <a:gd name="csX140" fmla="*/ 711827 w 763849"/>
              <a:gd name="csY140" fmla="*/ 1416835 h 1523340"/>
              <a:gd name="csX141" fmla="*/ 685812 w 763849"/>
              <a:gd name="csY141" fmla="*/ 1398502 h 1523340"/>
              <a:gd name="csX142" fmla="*/ 680924 w 763849"/>
              <a:gd name="csY142" fmla="*/ 1398973 h 1523340"/>
              <a:gd name="csX143" fmla="*/ 598278 w 763849"/>
              <a:gd name="csY143" fmla="*/ 1409218 h 1523340"/>
              <a:gd name="csX144" fmla="*/ 474765 w 763849"/>
              <a:gd name="csY144" fmla="*/ 1417945 h 1523340"/>
              <a:gd name="csX145" fmla="*/ 385143 w 763849"/>
              <a:gd name="csY145" fmla="*/ 1418978 h 1523340"/>
              <a:gd name="csX146" fmla="*/ 376639 w 763849"/>
              <a:gd name="csY146" fmla="*/ 1419613 h 1523340"/>
              <a:gd name="csX147" fmla="*/ 376639 w 763849"/>
              <a:gd name="csY147" fmla="*/ 1473939 h 1523340"/>
              <a:gd name="csX148" fmla="*/ 382089 w 763849"/>
              <a:gd name="csY148" fmla="*/ 1474854 h 1523340"/>
              <a:gd name="csX149" fmla="*/ 449536 w 763849"/>
              <a:gd name="csY149" fmla="*/ 1476855 h 1523340"/>
              <a:gd name="csX150" fmla="*/ 559930 w 763849"/>
              <a:gd name="csY150" fmla="*/ 1474307 h 1523340"/>
              <a:gd name="csX151" fmla="*/ 648494 w 763849"/>
              <a:gd name="csY151" fmla="*/ 1463981 h 152334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</a:cxnLst>
            <a:rect l="l" t="t" r="r" b="b"/>
            <a:pathLst>
              <a:path w="763849" h="1523340">
                <a:moveTo>
                  <a:pt x="703087" y="1241174"/>
                </a:moveTo>
                <a:cubicBezTo>
                  <a:pt x="732418" y="1276379"/>
                  <a:pt x="738825" y="1316526"/>
                  <a:pt x="732932" y="1359634"/>
                </a:cubicBezTo>
                <a:cubicBezTo>
                  <a:pt x="732067" y="1365959"/>
                  <a:pt x="732453" y="1371428"/>
                  <a:pt x="735544" y="1377287"/>
                </a:cubicBezTo>
                <a:cubicBezTo>
                  <a:pt x="748937" y="1402675"/>
                  <a:pt x="755318" y="1430010"/>
                  <a:pt x="756764" y="1458577"/>
                </a:cubicBezTo>
                <a:cubicBezTo>
                  <a:pt x="756887" y="1461031"/>
                  <a:pt x="756895" y="1463494"/>
                  <a:pt x="757108" y="1465940"/>
                </a:cubicBezTo>
                <a:cubicBezTo>
                  <a:pt x="758375" y="1480486"/>
                  <a:pt x="757802" y="1482498"/>
                  <a:pt x="744215" y="1488332"/>
                </a:cubicBezTo>
                <a:cubicBezTo>
                  <a:pt x="734126" y="1492664"/>
                  <a:pt x="723536" y="1496562"/>
                  <a:pt x="712781" y="1498472"/>
                </a:cubicBezTo>
                <a:cubicBezTo>
                  <a:pt x="683814" y="1503617"/>
                  <a:pt x="654674" y="1507832"/>
                  <a:pt x="625540" y="1511981"/>
                </a:cubicBezTo>
                <a:cubicBezTo>
                  <a:pt x="580114" y="1518449"/>
                  <a:pt x="534395" y="1521481"/>
                  <a:pt x="488540" y="1522029"/>
                </a:cubicBezTo>
                <a:cubicBezTo>
                  <a:pt x="427958" y="1522752"/>
                  <a:pt x="367367" y="1523658"/>
                  <a:pt x="306789" y="1523231"/>
                </a:cubicBezTo>
                <a:cubicBezTo>
                  <a:pt x="271215" y="1522980"/>
                  <a:pt x="235625" y="1520833"/>
                  <a:pt x="200103" y="1518579"/>
                </a:cubicBezTo>
                <a:cubicBezTo>
                  <a:pt x="143289" y="1514974"/>
                  <a:pt x="86915" y="1507766"/>
                  <a:pt x="31607" y="1493880"/>
                </a:cubicBezTo>
                <a:cubicBezTo>
                  <a:pt x="22666" y="1491635"/>
                  <a:pt x="14297" y="1486920"/>
                  <a:pt x="5860" y="1482933"/>
                </a:cubicBezTo>
                <a:cubicBezTo>
                  <a:pt x="1433" y="1480841"/>
                  <a:pt x="-262" y="1476934"/>
                  <a:pt x="32" y="1471774"/>
                </a:cubicBezTo>
                <a:cubicBezTo>
                  <a:pt x="1880" y="1439401"/>
                  <a:pt x="3993" y="1407192"/>
                  <a:pt x="21295" y="1378237"/>
                </a:cubicBezTo>
                <a:cubicBezTo>
                  <a:pt x="23526" y="1374504"/>
                  <a:pt x="23666" y="1368858"/>
                  <a:pt x="23169" y="1364271"/>
                </a:cubicBezTo>
                <a:cubicBezTo>
                  <a:pt x="20957" y="1343833"/>
                  <a:pt x="20482" y="1323540"/>
                  <a:pt x="23871" y="1303132"/>
                </a:cubicBezTo>
                <a:cubicBezTo>
                  <a:pt x="28332" y="1276267"/>
                  <a:pt x="41045" y="1253887"/>
                  <a:pt x="59740" y="1234649"/>
                </a:cubicBezTo>
                <a:cubicBezTo>
                  <a:pt x="72582" y="1221434"/>
                  <a:pt x="85657" y="1208434"/>
                  <a:pt x="98899" y="1195619"/>
                </a:cubicBezTo>
                <a:cubicBezTo>
                  <a:pt x="118216" y="1176926"/>
                  <a:pt x="130484" y="1154702"/>
                  <a:pt x="131493" y="1127593"/>
                </a:cubicBezTo>
                <a:cubicBezTo>
                  <a:pt x="132448" y="1101948"/>
                  <a:pt x="127125" y="1077868"/>
                  <a:pt x="108213" y="1058723"/>
                </a:cubicBezTo>
                <a:cubicBezTo>
                  <a:pt x="97010" y="1047381"/>
                  <a:pt x="85438" y="1036399"/>
                  <a:pt x="74370" y="1024929"/>
                </a:cubicBezTo>
                <a:cubicBezTo>
                  <a:pt x="63868" y="1014043"/>
                  <a:pt x="62267" y="1001475"/>
                  <a:pt x="68137" y="987550"/>
                </a:cubicBezTo>
                <a:cubicBezTo>
                  <a:pt x="74493" y="972473"/>
                  <a:pt x="80703" y="957319"/>
                  <a:pt x="86420" y="941991"/>
                </a:cubicBezTo>
                <a:cubicBezTo>
                  <a:pt x="100218" y="905001"/>
                  <a:pt x="99441" y="866690"/>
                  <a:pt x="97082" y="828037"/>
                </a:cubicBezTo>
                <a:cubicBezTo>
                  <a:pt x="94260" y="781809"/>
                  <a:pt x="76370" y="739899"/>
                  <a:pt x="61782" y="696973"/>
                </a:cubicBezTo>
                <a:cubicBezTo>
                  <a:pt x="45282" y="648419"/>
                  <a:pt x="33285" y="598770"/>
                  <a:pt x="26901" y="547868"/>
                </a:cubicBezTo>
                <a:cubicBezTo>
                  <a:pt x="24054" y="525160"/>
                  <a:pt x="21110" y="502364"/>
                  <a:pt x="20221" y="479529"/>
                </a:cubicBezTo>
                <a:cubicBezTo>
                  <a:pt x="18293" y="430013"/>
                  <a:pt x="26126" y="381610"/>
                  <a:pt x="40808" y="334388"/>
                </a:cubicBezTo>
                <a:cubicBezTo>
                  <a:pt x="48208" y="310588"/>
                  <a:pt x="55162" y="286441"/>
                  <a:pt x="65171" y="263707"/>
                </a:cubicBezTo>
                <a:cubicBezTo>
                  <a:pt x="81946" y="225606"/>
                  <a:pt x="106517" y="193071"/>
                  <a:pt x="142827" y="171003"/>
                </a:cubicBezTo>
                <a:cubicBezTo>
                  <a:pt x="152238" y="165283"/>
                  <a:pt x="162401" y="160787"/>
                  <a:pt x="172290" y="155872"/>
                </a:cubicBezTo>
                <a:cubicBezTo>
                  <a:pt x="177784" y="153142"/>
                  <a:pt x="183393" y="150635"/>
                  <a:pt x="189008" y="148158"/>
                </a:cubicBezTo>
                <a:cubicBezTo>
                  <a:pt x="199487" y="143534"/>
                  <a:pt x="207598" y="136426"/>
                  <a:pt x="212828" y="126123"/>
                </a:cubicBezTo>
                <a:cubicBezTo>
                  <a:pt x="214121" y="123575"/>
                  <a:pt x="215966" y="121304"/>
                  <a:pt x="217217" y="118740"/>
                </a:cubicBezTo>
                <a:cubicBezTo>
                  <a:pt x="224688" y="103433"/>
                  <a:pt x="237053" y="93440"/>
                  <a:pt x="253000" y="88998"/>
                </a:cubicBezTo>
                <a:cubicBezTo>
                  <a:pt x="275818" y="82642"/>
                  <a:pt x="299033" y="77711"/>
                  <a:pt x="322085" y="72193"/>
                </a:cubicBezTo>
                <a:cubicBezTo>
                  <a:pt x="324867" y="71527"/>
                  <a:pt x="327694" y="71045"/>
                  <a:pt x="330478" y="70387"/>
                </a:cubicBezTo>
                <a:cubicBezTo>
                  <a:pt x="364731" y="62297"/>
                  <a:pt x="364569" y="62151"/>
                  <a:pt x="388016" y="35457"/>
                </a:cubicBezTo>
                <a:cubicBezTo>
                  <a:pt x="398189" y="23875"/>
                  <a:pt x="409180" y="13010"/>
                  <a:pt x="421527" y="0"/>
                </a:cubicBezTo>
                <a:cubicBezTo>
                  <a:pt x="423000" y="5190"/>
                  <a:pt x="424219" y="7961"/>
                  <a:pt x="424538" y="10833"/>
                </a:cubicBezTo>
                <a:cubicBezTo>
                  <a:pt x="428638" y="47817"/>
                  <a:pt x="433030" y="84779"/>
                  <a:pt x="436339" y="121836"/>
                </a:cubicBezTo>
                <a:cubicBezTo>
                  <a:pt x="437236" y="131893"/>
                  <a:pt x="441545" y="137271"/>
                  <a:pt x="449983" y="141450"/>
                </a:cubicBezTo>
                <a:cubicBezTo>
                  <a:pt x="467954" y="150348"/>
                  <a:pt x="486187" y="158915"/>
                  <a:pt x="503299" y="169290"/>
                </a:cubicBezTo>
                <a:cubicBezTo>
                  <a:pt x="520041" y="179441"/>
                  <a:pt x="535883" y="191197"/>
                  <a:pt x="551461" y="203111"/>
                </a:cubicBezTo>
                <a:cubicBezTo>
                  <a:pt x="568416" y="216079"/>
                  <a:pt x="579195" y="234146"/>
                  <a:pt x="588803" y="252797"/>
                </a:cubicBezTo>
                <a:cubicBezTo>
                  <a:pt x="602134" y="278677"/>
                  <a:pt x="616556" y="303835"/>
                  <a:pt x="634209" y="327081"/>
                </a:cubicBezTo>
                <a:cubicBezTo>
                  <a:pt x="651797" y="350241"/>
                  <a:pt x="673980" y="368103"/>
                  <a:pt x="697923" y="384157"/>
                </a:cubicBezTo>
                <a:cubicBezTo>
                  <a:pt x="708787" y="391441"/>
                  <a:pt x="719007" y="399678"/>
                  <a:pt x="729658" y="407288"/>
                </a:cubicBezTo>
                <a:cubicBezTo>
                  <a:pt x="751657" y="423004"/>
                  <a:pt x="761259" y="445265"/>
                  <a:pt x="763354" y="471325"/>
                </a:cubicBezTo>
                <a:cubicBezTo>
                  <a:pt x="764877" y="490275"/>
                  <a:pt x="762919" y="509064"/>
                  <a:pt x="757092" y="527116"/>
                </a:cubicBezTo>
                <a:cubicBezTo>
                  <a:pt x="750932" y="546198"/>
                  <a:pt x="738296" y="560266"/>
                  <a:pt x="720673" y="570023"/>
                </a:cubicBezTo>
                <a:cubicBezTo>
                  <a:pt x="715048" y="573138"/>
                  <a:pt x="709487" y="576825"/>
                  <a:pt x="704918" y="581294"/>
                </a:cubicBezTo>
                <a:cubicBezTo>
                  <a:pt x="695625" y="590383"/>
                  <a:pt x="684728" y="595697"/>
                  <a:pt x="671960" y="595325"/>
                </a:cubicBezTo>
                <a:cubicBezTo>
                  <a:pt x="658939" y="594945"/>
                  <a:pt x="645743" y="594018"/>
                  <a:pt x="633021" y="591397"/>
                </a:cubicBezTo>
                <a:cubicBezTo>
                  <a:pt x="611233" y="586907"/>
                  <a:pt x="595034" y="572939"/>
                  <a:pt x="580696" y="556742"/>
                </a:cubicBezTo>
                <a:cubicBezTo>
                  <a:pt x="570081" y="544750"/>
                  <a:pt x="559052" y="533306"/>
                  <a:pt x="545415" y="524617"/>
                </a:cubicBezTo>
                <a:cubicBezTo>
                  <a:pt x="537261" y="519422"/>
                  <a:pt x="528551" y="515996"/>
                  <a:pt x="518889" y="516179"/>
                </a:cubicBezTo>
                <a:cubicBezTo>
                  <a:pt x="503357" y="516473"/>
                  <a:pt x="487839" y="517663"/>
                  <a:pt x="472309" y="517812"/>
                </a:cubicBezTo>
                <a:cubicBezTo>
                  <a:pt x="453527" y="517993"/>
                  <a:pt x="434738" y="517514"/>
                  <a:pt x="415953" y="517245"/>
                </a:cubicBezTo>
                <a:cubicBezTo>
                  <a:pt x="411976" y="517189"/>
                  <a:pt x="408003" y="516808"/>
                  <a:pt x="403392" y="516539"/>
                </a:cubicBezTo>
                <a:cubicBezTo>
                  <a:pt x="401207" y="526363"/>
                  <a:pt x="404857" y="534293"/>
                  <a:pt x="407957" y="542045"/>
                </a:cubicBezTo>
                <a:cubicBezTo>
                  <a:pt x="414092" y="557387"/>
                  <a:pt x="423168" y="571042"/>
                  <a:pt x="434134" y="583349"/>
                </a:cubicBezTo>
                <a:cubicBezTo>
                  <a:pt x="464083" y="616959"/>
                  <a:pt x="493980" y="650618"/>
                  <a:pt x="524267" y="683922"/>
                </a:cubicBezTo>
                <a:cubicBezTo>
                  <a:pt x="554818" y="717518"/>
                  <a:pt x="588291" y="748619"/>
                  <a:pt x="614317" y="786085"/>
                </a:cubicBezTo>
                <a:cubicBezTo>
                  <a:pt x="642656" y="826881"/>
                  <a:pt x="663974" y="871159"/>
                  <a:pt x="669590" y="921089"/>
                </a:cubicBezTo>
                <a:cubicBezTo>
                  <a:pt x="674894" y="968240"/>
                  <a:pt x="669774" y="1014226"/>
                  <a:pt x="647360" y="1057245"/>
                </a:cubicBezTo>
                <a:cubicBezTo>
                  <a:pt x="639830" y="1071697"/>
                  <a:pt x="630533" y="1085565"/>
                  <a:pt x="627872" y="1102111"/>
                </a:cubicBezTo>
                <a:cubicBezTo>
                  <a:pt x="623640" y="1128439"/>
                  <a:pt x="626183" y="1153784"/>
                  <a:pt x="642300" y="1175941"/>
                </a:cubicBezTo>
                <a:cubicBezTo>
                  <a:pt x="650201" y="1186801"/>
                  <a:pt x="659595" y="1196636"/>
                  <a:pt x="668829" y="1206449"/>
                </a:cubicBezTo>
                <a:cubicBezTo>
                  <a:pt x="679770" y="1218075"/>
                  <a:pt x="691267" y="1229177"/>
                  <a:pt x="703087" y="1241174"/>
                </a:cubicBezTo>
                <a:moveTo>
                  <a:pt x="648750" y="562343"/>
                </a:moveTo>
                <a:cubicBezTo>
                  <a:pt x="656729" y="562558"/>
                  <a:pt x="664698" y="567407"/>
                  <a:pt x="674049" y="562834"/>
                </a:cubicBezTo>
                <a:cubicBezTo>
                  <a:pt x="668990" y="558037"/>
                  <a:pt x="664729" y="554259"/>
                  <a:pt x="660781" y="550178"/>
                </a:cubicBezTo>
                <a:cubicBezTo>
                  <a:pt x="656713" y="545973"/>
                  <a:pt x="651493" y="542363"/>
                  <a:pt x="650911" y="534051"/>
                </a:cubicBezTo>
                <a:cubicBezTo>
                  <a:pt x="654940" y="535536"/>
                  <a:pt x="657753" y="536907"/>
                  <a:pt x="660724" y="537605"/>
                </a:cubicBezTo>
                <a:cubicBezTo>
                  <a:pt x="669824" y="539743"/>
                  <a:pt x="678915" y="542853"/>
                  <a:pt x="688133" y="543363"/>
                </a:cubicBezTo>
                <a:cubicBezTo>
                  <a:pt x="712019" y="544686"/>
                  <a:pt x="726964" y="534053"/>
                  <a:pt x="731514" y="510767"/>
                </a:cubicBezTo>
                <a:cubicBezTo>
                  <a:pt x="734296" y="496535"/>
                  <a:pt x="734146" y="481511"/>
                  <a:pt x="733611" y="466905"/>
                </a:cubicBezTo>
                <a:cubicBezTo>
                  <a:pt x="732951" y="448863"/>
                  <a:pt x="723348" y="435653"/>
                  <a:pt x="708076" y="425975"/>
                </a:cubicBezTo>
                <a:cubicBezTo>
                  <a:pt x="694258" y="417218"/>
                  <a:pt x="681056" y="407489"/>
                  <a:pt x="667538" y="398254"/>
                </a:cubicBezTo>
                <a:cubicBezTo>
                  <a:pt x="641278" y="380314"/>
                  <a:pt x="617580" y="359743"/>
                  <a:pt x="601016" y="332127"/>
                </a:cubicBezTo>
                <a:cubicBezTo>
                  <a:pt x="588810" y="311778"/>
                  <a:pt x="576093" y="291645"/>
                  <a:pt x="565354" y="270526"/>
                </a:cubicBezTo>
                <a:cubicBezTo>
                  <a:pt x="548401" y="237186"/>
                  <a:pt x="523821" y="212104"/>
                  <a:pt x="490657" y="195121"/>
                </a:cubicBezTo>
                <a:cubicBezTo>
                  <a:pt x="471346" y="185231"/>
                  <a:pt x="452394" y="174606"/>
                  <a:pt x="432834" y="165243"/>
                </a:cubicBezTo>
                <a:cubicBezTo>
                  <a:pt x="416725" y="157532"/>
                  <a:pt x="408325" y="145526"/>
                  <a:pt x="407594" y="127852"/>
                </a:cubicBezTo>
                <a:cubicBezTo>
                  <a:pt x="406783" y="108242"/>
                  <a:pt x="405935" y="88634"/>
                  <a:pt x="405020" y="69029"/>
                </a:cubicBezTo>
                <a:cubicBezTo>
                  <a:pt x="404882" y="66067"/>
                  <a:pt x="404287" y="63127"/>
                  <a:pt x="403638" y="58130"/>
                </a:cubicBezTo>
                <a:cubicBezTo>
                  <a:pt x="381792" y="82321"/>
                  <a:pt x="361650" y="104820"/>
                  <a:pt x="349776" y="133259"/>
                </a:cubicBezTo>
                <a:cubicBezTo>
                  <a:pt x="345032" y="144621"/>
                  <a:pt x="337822" y="153814"/>
                  <a:pt x="326975" y="159669"/>
                </a:cubicBezTo>
                <a:cubicBezTo>
                  <a:pt x="295461" y="176681"/>
                  <a:pt x="266610" y="197333"/>
                  <a:pt x="240374" y="221714"/>
                </a:cubicBezTo>
                <a:cubicBezTo>
                  <a:pt x="212881" y="247263"/>
                  <a:pt x="188313" y="275340"/>
                  <a:pt x="171637" y="309087"/>
                </a:cubicBezTo>
                <a:cubicBezTo>
                  <a:pt x="139180" y="374765"/>
                  <a:pt x="129692" y="444532"/>
                  <a:pt x="138048" y="516954"/>
                </a:cubicBezTo>
                <a:cubicBezTo>
                  <a:pt x="142936" y="559318"/>
                  <a:pt x="152518" y="600762"/>
                  <a:pt x="163889" y="641780"/>
                </a:cubicBezTo>
                <a:cubicBezTo>
                  <a:pt x="177329" y="690261"/>
                  <a:pt x="191989" y="738413"/>
                  <a:pt x="204800" y="787055"/>
                </a:cubicBezTo>
                <a:cubicBezTo>
                  <a:pt x="218820" y="840287"/>
                  <a:pt x="228587" y="894088"/>
                  <a:pt x="218549" y="949545"/>
                </a:cubicBezTo>
                <a:cubicBezTo>
                  <a:pt x="213279" y="978659"/>
                  <a:pt x="207130" y="1007359"/>
                  <a:pt x="191487" y="1033064"/>
                </a:cubicBezTo>
                <a:cubicBezTo>
                  <a:pt x="190499" y="1034686"/>
                  <a:pt x="190018" y="1036618"/>
                  <a:pt x="188729" y="1039835"/>
                </a:cubicBezTo>
                <a:cubicBezTo>
                  <a:pt x="200470" y="1040170"/>
                  <a:pt x="210952" y="1040298"/>
                  <a:pt x="221417" y="1040799"/>
                </a:cubicBezTo>
                <a:cubicBezTo>
                  <a:pt x="263912" y="1042835"/>
                  <a:pt x="306390" y="1046436"/>
                  <a:pt x="348895" y="1046759"/>
                </a:cubicBezTo>
                <a:cubicBezTo>
                  <a:pt x="414380" y="1047258"/>
                  <a:pt x="479896" y="1046092"/>
                  <a:pt x="545369" y="1044456"/>
                </a:cubicBezTo>
                <a:cubicBezTo>
                  <a:pt x="567764" y="1043897"/>
                  <a:pt x="590066" y="1039744"/>
                  <a:pt x="612424" y="1037365"/>
                </a:cubicBezTo>
                <a:cubicBezTo>
                  <a:pt x="617948" y="1036777"/>
                  <a:pt x="621342" y="1034139"/>
                  <a:pt x="623169" y="1028873"/>
                </a:cubicBezTo>
                <a:cubicBezTo>
                  <a:pt x="630975" y="1006370"/>
                  <a:pt x="637026" y="983472"/>
                  <a:pt x="638508" y="959599"/>
                </a:cubicBezTo>
                <a:cubicBezTo>
                  <a:pt x="641131" y="917363"/>
                  <a:pt x="628970" y="878727"/>
                  <a:pt x="609213" y="842075"/>
                </a:cubicBezTo>
                <a:cubicBezTo>
                  <a:pt x="587874" y="802491"/>
                  <a:pt x="559403" y="768169"/>
                  <a:pt x="529367" y="735065"/>
                </a:cubicBezTo>
                <a:cubicBezTo>
                  <a:pt x="487563" y="688992"/>
                  <a:pt x="445474" y="643176"/>
                  <a:pt x="403792" y="596993"/>
                </a:cubicBezTo>
                <a:cubicBezTo>
                  <a:pt x="380393" y="571066"/>
                  <a:pt x="360083" y="542922"/>
                  <a:pt x="344708" y="511366"/>
                </a:cubicBezTo>
                <a:cubicBezTo>
                  <a:pt x="324385" y="469655"/>
                  <a:pt x="317321" y="425966"/>
                  <a:pt x="324464" y="380084"/>
                </a:cubicBezTo>
                <a:cubicBezTo>
                  <a:pt x="324821" y="377789"/>
                  <a:pt x="326581" y="375713"/>
                  <a:pt x="327688" y="373535"/>
                </a:cubicBezTo>
                <a:cubicBezTo>
                  <a:pt x="328570" y="373570"/>
                  <a:pt x="329452" y="373606"/>
                  <a:pt x="330334" y="373641"/>
                </a:cubicBezTo>
                <a:cubicBezTo>
                  <a:pt x="331649" y="377308"/>
                  <a:pt x="333001" y="380963"/>
                  <a:pt x="334272" y="384645"/>
                </a:cubicBezTo>
                <a:cubicBezTo>
                  <a:pt x="342569" y="408660"/>
                  <a:pt x="351164" y="432573"/>
                  <a:pt x="365260" y="453955"/>
                </a:cubicBezTo>
                <a:cubicBezTo>
                  <a:pt x="375537" y="469544"/>
                  <a:pt x="388811" y="481767"/>
                  <a:pt x="408246" y="483592"/>
                </a:cubicBezTo>
                <a:cubicBezTo>
                  <a:pt x="426928" y="485346"/>
                  <a:pt x="445757" y="486037"/>
                  <a:pt x="464529" y="486187"/>
                </a:cubicBezTo>
                <a:cubicBezTo>
                  <a:pt x="480053" y="486311"/>
                  <a:pt x="495582" y="484792"/>
                  <a:pt x="511119" y="484308"/>
                </a:cubicBezTo>
                <a:cubicBezTo>
                  <a:pt x="532443" y="483644"/>
                  <a:pt x="551690" y="490014"/>
                  <a:pt x="567913" y="503736"/>
                </a:cubicBezTo>
                <a:cubicBezTo>
                  <a:pt x="581642" y="515348"/>
                  <a:pt x="594604" y="527888"/>
                  <a:pt x="607611" y="540326"/>
                </a:cubicBezTo>
                <a:cubicBezTo>
                  <a:pt x="618811" y="551038"/>
                  <a:pt x="631177" y="559300"/>
                  <a:pt x="648750" y="562343"/>
                </a:cubicBezTo>
                <a:moveTo>
                  <a:pt x="462594" y="1369008"/>
                </a:moveTo>
                <a:cubicBezTo>
                  <a:pt x="478517" y="1368137"/>
                  <a:pt x="494449" y="1367429"/>
                  <a:pt x="510357" y="1366345"/>
                </a:cubicBezTo>
                <a:cubicBezTo>
                  <a:pt x="523399" y="1365456"/>
                  <a:pt x="536424" y="1364247"/>
                  <a:pt x="549434" y="1362956"/>
                </a:cubicBezTo>
                <a:cubicBezTo>
                  <a:pt x="577089" y="1360213"/>
                  <a:pt x="604749" y="1357503"/>
                  <a:pt x="632369" y="1354439"/>
                </a:cubicBezTo>
                <a:cubicBezTo>
                  <a:pt x="653805" y="1352062"/>
                  <a:pt x="675183" y="1349170"/>
                  <a:pt x="697252" y="1346424"/>
                </a:cubicBezTo>
                <a:cubicBezTo>
                  <a:pt x="701148" y="1316348"/>
                  <a:pt x="695768" y="1289474"/>
                  <a:pt x="676674" y="1266396"/>
                </a:cubicBezTo>
                <a:cubicBezTo>
                  <a:pt x="667313" y="1255080"/>
                  <a:pt x="656878" y="1244625"/>
                  <a:pt x="646594" y="1234108"/>
                </a:cubicBezTo>
                <a:cubicBezTo>
                  <a:pt x="634298" y="1221533"/>
                  <a:pt x="621353" y="1209623"/>
                  <a:pt x="612063" y="1194382"/>
                </a:cubicBezTo>
                <a:cubicBezTo>
                  <a:pt x="596511" y="1168867"/>
                  <a:pt x="588079" y="1141707"/>
                  <a:pt x="591616" y="1111541"/>
                </a:cubicBezTo>
                <a:cubicBezTo>
                  <a:pt x="592450" y="1104432"/>
                  <a:pt x="593365" y="1097332"/>
                  <a:pt x="594320" y="1089609"/>
                </a:cubicBezTo>
                <a:cubicBezTo>
                  <a:pt x="588294" y="1089609"/>
                  <a:pt x="583452" y="1089392"/>
                  <a:pt x="578634" y="1089642"/>
                </a:cubicBezTo>
                <a:cubicBezTo>
                  <a:pt x="533732" y="1091976"/>
                  <a:pt x="488841" y="1094525"/>
                  <a:pt x="443931" y="1096700"/>
                </a:cubicBezTo>
                <a:cubicBezTo>
                  <a:pt x="430451" y="1097353"/>
                  <a:pt x="416923" y="1097005"/>
                  <a:pt x="403417" y="1097156"/>
                </a:cubicBezTo>
                <a:cubicBezTo>
                  <a:pt x="389337" y="1097313"/>
                  <a:pt x="388961" y="1097850"/>
                  <a:pt x="388348" y="1111502"/>
                </a:cubicBezTo>
                <a:cubicBezTo>
                  <a:pt x="387375" y="1133151"/>
                  <a:pt x="386231" y="1154793"/>
                  <a:pt x="385048" y="1176431"/>
                </a:cubicBezTo>
                <a:cubicBezTo>
                  <a:pt x="382637" y="1220514"/>
                  <a:pt x="380158" y="1264593"/>
                  <a:pt x="377687" y="1308672"/>
                </a:cubicBezTo>
                <a:cubicBezTo>
                  <a:pt x="377458" y="1312751"/>
                  <a:pt x="376852" y="1316821"/>
                  <a:pt x="376823" y="1320897"/>
                </a:cubicBezTo>
                <a:cubicBezTo>
                  <a:pt x="376717" y="1335880"/>
                  <a:pt x="376781" y="1350864"/>
                  <a:pt x="376781" y="1366151"/>
                </a:cubicBezTo>
                <a:cubicBezTo>
                  <a:pt x="404707" y="1370397"/>
                  <a:pt x="432477" y="1369351"/>
                  <a:pt x="462594" y="1369008"/>
                </a:cubicBezTo>
                <a:moveTo>
                  <a:pt x="648494" y="1463981"/>
                </a:moveTo>
                <a:cubicBezTo>
                  <a:pt x="671329" y="1460052"/>
                  <a:pt x="694163" y="1456122"/>
                  <a:pt x="718746" y="1451892"/>
                </a:cubicBezTo>
                <a:cubicBezTo>
                  <a:pt x="716257" y="1439067"/>
                  <a:pt x="714578" y="1427816"/>
                  <a:pt x="711827" y="1416835"/>
                </a:cubicBezTo>
                <a:cubicBezTo>
                  <a:pt x="707611" y="1400009"/>
                  <a:pt x="703502" y="1397423"/>
                  <a:pt x="685812" y="1398502"/>
                </a:cubicBezTo>
                <a:cubicBezTo>
                  <a:pt x="684179" y="1398602"/>
                  <a:pt x="682547" y="1398768"/>
                  <a:pt x="680924" y="1398973"/>
                </a:cubicBezTo>
                <a:cubicBezTo>
                  <a:pt x="653380" y="1402446"/>
                  <a:pt x="625911" y="1406752"/>
                  <a:pt x="598278" y="1409218"/>
                </a:cubicBezTo>
                <a:cubicBezTo>
                  <a:pt x="557171" y="1412886"/>
                  <a:pt x="515983" y="1415946"/>
                  <a:pt x="474765" y="1417945"/>
                </a:cubicBezTo>
                <a:cubicBezTo>
                  <a:pt x="444944" y="1419391"/>
                  <a:pt x="415021" y="1418680"/>
                  <a:pt x="385143" y="1418978"/>
                </a:cubicBezTo>
                <a:cubicBezTo>
                  <a:pt x="382419" y="1419005"/>
                  <a:pt x="379697" y="1419376"/>
                  <a:pt x="376639" y="1419613"/>
                </a:cubicBezTo>
                <a:cubicBezTo>
                  <a:pt x="376639" y="1438152"/>
                  <a:pt x="376639" y="1455909"/>
                  <a:pt x="376639" y="1473939"/>
                </a:cubicBezTo>
                <a:cubicBezTo>
                  <a:pt x="378971" y="1474343"/>
                  <a:pt x="380523" y="1474802"/>
                  <a:pt x="382089" y="1474854"/>
                </a:cubicBezTo>
                <a:cubicBezTo>
                  <a:pt x="404571" y="1475605"/>
                  <a:pt x="427058" y="1476986"/>
                  <a:pt x="449536" y="1476855"/>
                </a:cubicBezTo>
                <a:cubicBezTo>
                  <a:pt x="486344" y="1476639"/>
                  <a:pt x="523207" y="1476480"/>
                  <a:pt x="559930" y="1474307"/>
                </a:cubicBezTo>
                <a:cubicBezTo>
                  <a:pt x="588839" y="1472596"/>
                  <a:pt x="617570" y="1467884"/>
                  <a:pt x="648494" y="1463981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964" name="Free-form: Shape 3963">
            <a:extLst>
              <a:ext uri="{FF2B5EF4-FFF2-40B4-BE49-F238E27FC236}">
                <a16:creationId xmlns:a16="http://schemas.microsoft.com/office/drawing/2014/main" id="{75EB8372-5AD2-12EA-4A64-E5E8F7B564E6}"/>
              </a:ext>
            </a:extLst>
          </p:cNvPr>
          <p:cNvSpPr/>
          <p:nvPr/>
        </p:nvSpPr>
        <p:spPr>
          <a:xfrm>
            <a:off x="2376342" y="4253587"/>
            <a:ext cx="602220" cy="994481"/>
          </a:xfrm>
          <a:custGeom>
            <a:avLst/>
            <a:gdLst>
              <a:gd name="csX0" fmla="*/ 512604 w 598747"/>
              <a:gd name="csY0" fmla="*/ 503918 h 988745"/>
              <a:gd name="csX1" fmla="*/ 472435 w 598747"/>
              <a:gd name="csY1" fmla="*/ 482196 h 988745"/>
              <a:gd name="csX2" fmla="*/ 432737 w 598747"/>
              <a:gd name="csY2" fmla="*/ 445605 h 988745"/>
              <a:gd name="csX3" fmla="*/ 375943 w 598747"/>
              <a:gd name="csY3" fmla="*/ 426178 h 988745"/>
              <a:gd name="csX4" fmla="*/ 329354 w 598747"/>
              <a:gd name="csY4" fmla="*/ 428057 h 988745"/>
              <a:gd name="csX5" fmla="*/ 273070 w 598747"/>
              <a:gd name="csY5" fmla="*/ 425461 h 988745"/>
              <a:gd name="csX6" fmla="*/ 230084 w 598747"/>
              <a:gd name="csY6" fmla="*/ 395825 h 988745"/>
              <a:gd name="csX7" fmla="*/ 199097 w 598747"/>
              <a:gd name="csY7" fmla="*/ 326515 h 988745"/>
              <a:gd name="csX8" fmla="*/ 195158 w 598747"/>
              <a:gd name="csY8" fmla="*/ 315511 h 988745"/>
              <a:gd name="csX9" fmla="*/ 192512 w 598747"/>
              <a:gd name="csY9" fmla="*/ 315405 h 988745"/>
              <a:gd name="csX10" fmla="*/ 189288 w 598747"/>
              <a:gd name="csY10" fmla="*/ 321954 h 988745"/>
              <a:gd name="csX11" fmla="*/ 209532 w 598747"/>
              <a:gd name="csY11" fmla="*/ 453235 h 988745"/>
              <a:gd name="csX12" fmla="*/ 268616 w 598747"/>
              <a:gd name="csY12" fmla="*/ 538863 h 988745"/>
              <a:gd name="csX13" fmla="*/ 394191 w 598747"/>
              <a:gd name="csY13" fmla="*/ 676935 h 988745"/>
              <a:gd name="csX14" fmla="*/ 474037 w 598747"/>
              <a:gd name="csY14" fmla="*/ 783945 h 988745"/>
              <a:gd name="csX15" fmla="*/ 503332 w 598747"/>
              <a:gd name="csY15" fmla="*/ 901469 h 988745"/>
              <a:gd name="csX16" fmla="*/ 487993 w 598747"/>
              <a:gd name="csY16" fmla="*/ 970743 h 988745"/>
              <a:gd name="csX17" fmla="*/ 477248 w 598747"/>
              <a:gd name="csY17" fmla="*/ 979235 h 988745"/>
              <a:gd name="csX18" fmla="*/ 410194 w 598747"/>
              <a:gd name="csY18" fmla="*/ 986326 h 988745"/>
              <a:gd name="csX19" fmla="*/ 213720 w 598747"/>
              <a:gd name="csY19" fmla="*/ 988629 h 988745"/>
              <a:gd name="csX20" fmla="*/ 86242 w 598747"/>
              <a:gd name="csY20" fmla="*/ 982669 h 988745"/>
              <a:gd name="csX21" fmla="*/ 53553 w 598747"/>
              <a:gd name="csY21" fmla="*/ 981705 h 988745"/>
              <a:gd name="csX22" fmla="*/ 56311 w 598747"/>
              <a:gd name="csY22" fmla="*/ 974933 h 988745"/>
              <a:gd name="csX23" fmla="*/ 83373 w 598747"/>
              <a:gd name="csY23" fmla="*/ 891414 h 988745"/>
              <a:gd name="csX24" fmla="*/ 69625 w 598747"/>
              <a:gd name="csY24" fmla="*/ 728925 h 988745"/>
              <a:gd name="csX25" fmla="*/ 28713 w 598747"/>
              <a:gd name="csY25" fmla="*/ 583650 h 988745"/>
              <a:gd name="csX26" fmla="*/ 2872 w 598747"/>
              <a:gd name="csY26" fmla="*/ 458823 h 988745"/>
              <a:gd name="csX27" fmla="*/ 36461 w 598747"/>
              <a:gd name="csY27" fmla="*/ 250957 h 988745"/>
              <a:gd name="csX28" fmla="*/ 105198 w 598747"/>
              <a:gd name="csY28" fmla="*/ 163584 h 988745"/>
              <a:gd name="csX29" fmla="*/ 191800 w 598747"/>
              <a:gd name="csY29" fmla="*/ 101539 h 988745"/>
              <a:gd name="csX30" fmla="*/ 214600 w 598747"/>
              <a:gd name="csY30" fmla="*/ 75129 h 988745"/>
              <a:gd name="csX31" fmla="*/ 268462 w 598747"/>
              <a:gd name="csY31" fmla="*/ 0 h 988745"/>
              <a:gd name="csX32" fmla="*/ 269844 w 598747"/>
              <a:gd name="csY32" fmla="*/ 10898 h 988745"/>
              <a:gd name="csX33" fmla="*/ 272418 w 598747"/>
              <a:gd name="csY33" fmla="*/ 69722 h 988745"/>
              <a:gd name="csX34" fmla="*/ 297658 w 598747"/>
              <a:gd name="csY34" fmla="*/ 107113 h 988745"/>
              <a:gd name="csX35" fmla="*/ 355481 w 598747"/>
              <a:gd name="csY35" fmla="*/ 136991 h 988745"/>
              <a:gd name="csX36" fmla="*/ 430178 w 598747"/>
              <a:gd name="csY36" fmla="*/ 212396 h 988745"/>
              <a:gd name="csX37" fmla="*/ 465840 w 598747"/>
              <a:gd name="csY37" fmla="*/ 273997 h 988745"/>
              <a:gd name="csX38" fmla="*/ 532362 w 598747"/>
              <a:gd name="csY38" fmla="*/ 340124 h 988745"/>
              <a:gd name="csX39" fmla="*/ 572901 w 598747"/>
              <a:gd name="csY39" fmla="*/ 367845 h 988745"/>
              <a:gd name="csX40" fmla="*/ 598436 w 598747"/>
              <a:gd name="csY40" fmla="*/ 408775 h 988745"/>
              <a:gd name="csX41" fmla="*/ 596339 w 598747"/>
              <a:gd name="csY41" fmla="*/ 452637 h 988745"/>
              <a:gd name="csX42" fmla="*/ 552957 w 598747"/>
              <a:gd name="csY42" fmla="*/ 485233 h 988745"/>
              <a:gd name="csX43" fmla="*/ 525548 w 598747"/>
              <a:gd name="csY43" fmla="*/ 479475 h 988745"/>
              <a:gd name="csX44" fmla="*/ 515736 w 598747"/>
              <a:gd name="csY44" fmla="*/ 475921 h 988745"/>
              <a:gd name="csX45" fmla="*/ 525605 w 598747"/>
              <a:gd name="csY45" fmla="*/ 492048 h 988745"/>
              <a:gd name="csX46" fmla="*/ 538873 w 598747"/>
              <a:gd name="csY46" fmla="*/ 504704 h 988745"/>
              <a:gd name="csX47" fmla="*/ 512604 w 598747"/>
              <a:gd name="csY47" fmla="*/ 503918 h 988745"/>
              <a:gd name="csX48" fmla="*/ 332072 w 598747"/>
              <a:gd name="csY48" fmla="*/ 218143 h 988745"/>
              <a:gd name="csX49" fmla="*/ 334388 w 598747"/>
              <a:gd name="csY49" fmla="*/ 226400 h 988745"/>
              <a:gd name="csX50" fmla="*/ 372370 w 598747"/>
              <a:gd name="csY50" fmla="*/ 254505 h 988745"/>
              <a:gd name="csX51" fmla="*/ 405258 w 598747"/>
              <a:gd name="csY51" fmla="*/ 252089 h 988745"/>
              <a:gd name="csX52" fmla="*/ 409167 w 598747"/>
              <a:gd name="csY52" fmla="*/ 244359 h 988745"/>
              <a:gd name="csX53" fmla="*/ 396364 w 598747"/>
              <a:gd name="csY53" fmla="*/ 219471 h 988745"/>
              <a:gd name="csX54" fmla="*/ 365755 w 598747"/>
              <a:gd name="csY54" fmla="*/ 195821 h 988745"/>
              <a:gd name="csX55" fmla="*/ 333572 w 598747"/>
              <a:gd name="csY55" fmla="*/ 188536 h 988745"/>
              <a:gd name="csX56" fmla="*/ 322931 w 598747"/>
              <a:gd name="csY56" fmla="*/ 190843 h 988745"/>
              <a:gd name="csX57" fmla="*/ 329041 w 598747"/>
              <a:gd name="csY57" fmla="*/ 203001 h 988745"/>
              <a:gd name="csX58" fmla="*/ 332072 w 598747"/>
              <a:gd name="csY58" fmla="*/ 218143 h 98874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</a:cxnLst>
            <a:rect l="l" t="t" r="r" b="b"/>
            <a:pathLst>
              <a:path w="598747" h="988745">
                <a:moveTo>
                  <a:pt x="512604" y="503918"/>
                </a:moveTo>
                <a:cubicBezTo>
                  <a:pt x="496002" y="501170"/>
                  <a:pt x="483635" y="492907"/>
                  <a:pt x="472435" y="482196"/>
                </a:cubicBezTo>
                <a:cubicBezTo>
                  <a:pt x="459429" y="469758"/>
                  <a:pt x="446467" y="457218"/>
                  <a:pt x="432737" y="445605"/>
                </a:cubicBezTo>
                <a:cubicBezTo>
                  <a:pt x="416514" y="431883"/>
                  <a:pt x="397267" y="425513"/>
                  <a:pt x="375943" y="426178"/>
                </a:cubicBezTo>
                <a:cubicBezTo>
                  <a:pt x="360407" y="426662"/>
                  <a:pt x="344877" y="428180"/>
                  <a:pt x="329354" y="428057"/>
                </a:cubicBezTo>
                <a:cubicBezTo>
                  <a:pt x="310581" y="427907"/>
                  <a:pt x="291752" y="427215"/>
                  <a:pt x="273070" y="425461"/>
                </a:cubicBezTo>
                <a:cubicBezTo>
                  <a:pt x="253636" y="423637"/>
                  <a:pt x="240361" y="411413"/>
                  <a:pt x="230084" y="395825"/>
                </a:cubicBezTo>
                <a:cubicBezTo>
                  <a:pt x="215988" y="374443"/>
                  <a:pt x="207393" y="350530"/>
                  <a:pt x="199097" y="326515"/>
                </a:cubicBezTo>
                <a:cubicBezTo>
                  <a:pt x="197825" y="322833"/>
                  <a:pt x="196473" y="319178"/>
                  <a:pt x="195158" y="315511"/>
                </a:cubicBezTo>
                <a:cubicBezTo>
                  <a:pt x="194276" y="315475"/>
                  <a:pt x="193394" y="315440"/>
                  <a:pt x="192512" y="315405"/>
                </a:cubicBezTo>
                <a:cubicBezTo>
                  <a:pt x="191405" y="317583"/>
                  <a:pt x="189646" y="319659"/>
                  <a:pt x="189288" y="321954"/>
                </a:cubicBezTo>
                <a:cubicBezTo>
                  <a:pt x="182145" y="367836"/>
                  <a:pt x="189209" y="411525"/>
                  <a:pt x="209532" y="453235"/>
                </a:cubicBezTo>
                <a:cubicBezTo>
                  <a:pt x="224908" y="484792"/>
                  <a:pt x="245217" y="512936"/>
                  <a:pt x="268616" y="538863"/>
                </a:cubicBezTo>
                <a:cubicBezTo>
                  <a:pt x="310298" y="585046"/>
                  <a:pt x="352387" y="630861"/>
                  <a:pt x="394191" y="676935"/>
                </a:cubicBezTo>
                <a:cubicBezTo>
                  <a:pt x="424227" y="710039"/>
                  <a:pt x="452698" y="744360"/>
                  <a:pt x="474037" y="783945"/>
                </a:cubicBezTo>
                <a:cubicBezTo>
                  <a:pt x="493795" y="820596"/>
                  <a:pt x="505956" y="859233"/>
                  <a:pt x="503332" y="901469"/>
                </a:cubicBezTo>
                <a:cubicBezTo>
                  <a:pt x="501850" y="925342"/>
                  <a:pt x="495799" y="948239"/>
                  <a:pt x="487993" y="970743"/>
                </a:cubicBezTo>
                <a:cubicBezTo>
                  <a:pt x="486166" y="976009"/>
                  <a:pt x="482772" y="978647"/>
                  <a:pt x="477248" y="979235"/>
                </a:cubicBezTo>
                <a:cubicBezTo>
                  <a:pt x="454890" y="981614"/>
                  <a:pt x="432589" y="985767"/>
                  <a:pt x="410194" y="986326"/>
                </a:cubicBezTo>
                <a:cubicBezTo>
                  <a:pt x="344720" y="987961"/>
                  <a:pt x="279205" y="989128"/>
                  <a:pt x="213720" y="988629"/>
                </a:cubicBezTo>
                <a:cubicBezTo>
                  <a:pt x="171215" y="988306"/>
                  <a:pt x="128736" y="984705"/>
                  <a:pt x="86242" y="982669"/>
                </a:cubicBezTo>
                <a:cubicBezTo>
                  <a:pt x="75776" y="982167"/>
                  <a:pt x="65294" y="982040"/>
                  <a:pt x="53553" y="981705"/>
                </a:cubicBezTo>
                <a:cubicBezTo>
                  <a:pt x="54842" y="978488"/>
                  <a:pt x="55323" y="976556"/>
                  <a:pt x="56311" y="974933"/>
                </a:cubicBezTo>
                <a:cubicBezTo>
                  <a:pt x="71955" y="949229"/>
                  <a:pt x="78103" y="920529"/>
                  <a:pt x="83373" y="891414"/>
                </a:cubicBezTo>
                <a:cubicBezTo>
                  <a:pt x="93411" y="835958"/>
                  <a:pt x="83645" y="782156"/>
                  <a:pt x="69625" y="728925"/>
                </a:cubicBezTo>
                <a:cubicBezTo>
                  <a:pt x="56813" y="680283"/>
                  <a:pt x="42153" y="632130"/>
                  <a:pt x="28713" y="583650"/>
                </a:cubicBezTo>
                <a:cubicBezTo>
                  <a:pt x="17342" y="542631"/>
                  <a:pt x="7760" y="501188"/>
                  <a:pt x="2872" y="458823"/>
                </a:cubicBezTo>
                <a:cubicBezTo>
                  <a:pt x="-5484" y="386401"/>
                  <a:pt x="4005" y="316635"/>
                  <a:pt x="36461" y="250957"/>
                </a:cubicBezTo>
                <a:cubicBezTo>
                  <a:pt x="53137" y="217210"/>
                  <a:pt x="77705" y="189133"/>
                  <a:pt x="105198" y="163584"/>
                </a:cubicBezTo>
                <a:cubicBezTo>
                  <a:pt x="131434" y="139203"/>
                  <a:pt x="160285" y="118551"/>
                  <a:pt x="191800" y="101539"/>
                </a:cubicBezTo>
                <a:cubicBezTo>
                  <a:pt x="202646" y="95684"/>
                  <a:pt x="209856" y="86491"/>
                  <a:pt x="214600" y="75129"/>
                </a:cubicBezTo>
                <a:cubicBezTo>
                  <a:pt x="226474" y="46689"/>
                  <a:pt x="246616" y="24191"/>
                  <a:pt x="268462" y="0"/>
                </a:cubicBezTo>
                <a:cubicBezTo>
                  <a:pt x="269111" y="4997"/>
                  <a:pt x="269706" y="7937"/>
                  <a:pt x="269844" y="10898"/>
                </a:cubicBezTo>
                <a:cubicBezTo>
                  <a:pt x="270760" y="30504"/>
                  <a:pt x="271607" y="50112"/>
                  <a:pt x="272418" y="69722"/>
                </a:cubicBezTo>
                <a:cubicBezTo>
                  <a:pt x="273150" y="87396"/>
                  <a:pt x="281549" y="99401"/>
                  <a:pt x="297658" y="107113"/>
                </a:cubicBezTo>
                <a:cubicBezTo>
                  <a:pt x="317218" y="116476"/>
                  <a:pt x="336170" y="127101"/>
                  <a:pt x="355481" y="136991"/>
                </a:cubicBezTo>
                <a:cubicBezTo>
                  <a:pt x="388645" y="153974"/>
                  <a:pt x="413226" y="179056"/>
                  <a:pt x="430178" y="212396"/>
                </a:cubicBezTo>
                <a:cubicBezTo>
                  <a:pt x="440917" y="233515"/>
                  <a:pt x="453634" y="253647"/>
                  <a:pt x="465840" y="273997"/>
                </a:cubicBezTo>
                <a:cubicBezTo>
                  <a:pt x="482404" y="301613"/>
                  <a:pt x="506102" y="322183"/>
                  <a:pt x="532362" y="340124"/>
                </a:cubicBezTo>
                <a:cubicBezTo>
                  <a:pt x="545881" y="349359"/>
                  <a:pt x="559082" y="359088"/>
                  <a:pt x="572901" y="367845"/>
                </a:cubicBezTo>
                <a:cubicBezTo>
                  <a:pt x="588172" y="377523"/>
                  <a:pt x="597775" y="390733"/>
                  <a:pt x="598436" y="408775"/>
                </a:cubicBezTo>
                <a:cubicBezTo>
                  <a:pt x="598970" y="423381"/>
                  <a:pt x="599120" y="438404"/>
                  <a:pt x="596339" y="452637"/>
                </a:cubicBezTo>
                <a:cubicBezTo>
                  <a:pt x="591789" y="475923"/>
                  <a:pt x="576843" y="486555"/>
                  <a:pt x="552957" y="485233"/>
                </a:cubicBezTo>
                <a:cubicBezTo>
                  <a:pt x="543740" y="484722"/>
                  <a:pt x="534648" y="481613"/>
                  <a:pt x="525548" y="479475"/>
                </a:cubicBezTo>
                <a:cubicBezTo>
                  <a:pt x="522577" y="478776"/>
                  <a:pt x="519764" y="477405"/>
                  <a:pt x="515736" y="475921"/>
                </a:cubicBezTo>
                <a:cubicBezTo>
                  <a:pt x="516318" y="484233"/>
                  <a:pt x="521537" y="487842"/>
                  <a:pt x="525605" y="492048"/>
                </a:cubicBezTo>
                <a:cubicBezTo>
                  <a:pt x="529554" y="496129"/>
                  <a:pt x="533815" y="499907"/>
                  <a:pt x="538873" y="504704"/>
                </a:cubicBezTo>
                <a:cubicBezTo>
                  <a:pt x="529522" y="509277"/>
                  <a:pt x="521553" y="504428"/>
                  <a:pt x="512604" y="503918"/>
                </a:cubicBezTo>
                <a:moveTo>
                  <a:pt x="332072" y="218143"/>
                </a:moveTo>
                <a:cubicBezTo>
                  <a:pt x="332837" y="220898"/>
                  <a:pt x="333478" y="223695"/>
                  <a:pt x="334388" y="226400"/>
                </a:cubicBezTo>
                <a:cubicBezTo>
                  <a:pt x="341073" y="246268"/>
                  <a:pt x="351614" y="254460"/>
                  <a:pt x="372370" y="254505"/>
                </a:cubicBezTo>
                <a:cubicBezTo>
                  <a:pt x="383333" y="254529"/>
                  <a:pt x="394312" y="253121"/>
                  <a:pt x="405258" y="252089"/>
                </a:cubicBezTo>
                <a:cubicBezTo>
                  <a:pt x="409961" y="251646"/>
                  <a:pt x="411340" y="248568"/>
                  <a:pt x="409167" y="244359"/>
                </a:cubicBezTo>
                <a:cubicBezTo>
                  <a:pt x="404885" y="236068"/>
                  <a:pt x="400139" y="227985"/>
                  <a:pt x="396364" y="219471"/>
                </a:cubicBezTo>
                <a:cubicBezTo>
                  <a:pt x="390350" y="205908"/>
                  <a:pt x="379963" y="198663"/>
                  <a:pt x="365755" y="195821"/>
                </a:cubicBezTo>
                <a:cubicBezTo>
                  <a:pt x="354973" y="193665"/>
                  <a:pt x="344291" y="191003"/>
                  <a:pt x="333572" y="188536"/>
                </a:cubicBezTo>
                <a:cubicBezTo>
                  <a:pt x="329511" y="187602"/>
                  <a:pt x="325579" y="187007"/>
                  <a:pt x="322931" y="190843"/>
                </a:cubicBezTo>
                <a:cubicBezTo>
                  <a:pt x="325138" y="195129"/>
                  <a:pt x="327613" y="198884"/>
                  <a:pt x="329041" y="203001"/>
                </a:cubicBezTo>
                <a:cubicBezTo>
                  <a:pt x="330500" y="207204"/>
                  <a:pt x="330929" y="211764"/>
                  <a:pt x="332072" y="218143"/>
                </a:cubicBezTo>
                <a:close/>
              </a:path>
            </a:pathLst>
          </a:custGeom>
          <a:solidFill>
            <a:srgbClr val="FEFEFE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965" name="Free-form: Shape 3964">
            <a:extLst>
              <a:ext uri="{FF2B5EF4-FFF2-40B4-BE49-F238E27FC236}">
                <a16:creationId xmlns:a16="http://schemas.microsoft.com/office/drawing/2014/main" id="{5BB72421-92B5-4B74-0A7B-289F3BBA5DD0}"/>
              </a:ext>
            </a:extLst>
          </p:cNvPr>
          <p:cNvSpPr/>
          <p:nvPr/>
        </p:nvSpPr>
        <p:spPr>
          <a:xfrm>
            <a:off x="2619330" y="5290962"/>
            <a:ext cx="323545" cy="281480"/>
          </a:xfrm>
          <a:custGeom>
            <a:avLst/>
            <a:gdLst>
              <a:gd name="csX0" fmla="*/ 84645 w 321679"/>
              <a:gd name="csY0" fmla="*/ 279507 h 279857"/>
              <a:gd name="csX1" fmla="*/ 19 w 321679"/>
              <a:gd name="csY1" fmla="*/ 276629 h 279857"/>
              <a:gd name="csX2" fmla="*/ 61 w 321679"/>
              <a:gd name="csY2" fmla="*/ 231376 h 279857"/>
              <a:gd name="csX3" fmla="*/ 925 w 321679"/>
              <a:gd name="csY3" fmla="*/ 219150 h 279857"/>
              <a:gd name="csX4" fmla="*/ 8286 w 321679"/>
              <a:gd name="csY4" fmla="*/ 86910 h 279857"/>
              <a:gd name="csX5" fmla="*/ 11586 w 321679"/>
              <a:gd name="csY5" fmla="*/ 21981 h 279857"/>
              <a:gd name="csX6" fmla="*/ 26655 w 321679"/>
              <a:gd name="csY6" fmla="*/ 7635 h 279857"/>
              <a:gd name="csX7" fmla="*/ 67169 w 321679"/>
              <a:gd name="csY7" fmla="*/ 7178 h 279857"/>
              <a:gd name="csX8" fmla="*/ 201872 w 321679"/>
              <a:gd name="csY8" fmla="*/ 121 h 279857"/>
              <a:gd name="csX9" fmla="*/ 217558 w 321679"/>
              <a:gd name="csY9" fmla="*/ 87 h 279857"/>
              <a:gd name="csX10" fmla="*/ 214854 w 321679"/>
              <a:gd name="csY10" fmla="*/ 22019 h 279857"/>
              <a:gd name="csX11" fmla="*/ 235301 w 321679"/>
              <a:gd name="csY11" fmla="*/ 104861 h 279857"/>
              <a:gd name="csX12" fmla="*/ 269832 w 321679"/>
              <a:gd name="csY12" fmla="*/ 144587 h 279857"/>
              <a:gd name="csX13" fmla="*/ 299912 w 321679"/>
              <a:gd name="csY13" fmla="*/ 176874 h 279857"/>
              <a:gd name="csX14" fmla="*/ 320491 w 321679"/>
              <a:gd name="csY14" fmla="*/ 256903 h 279857"/>
              <a:gd name="csX15" fmla="*/ 255607 w 321679"/>
              <a:gd name="csY15" fmla="*/ 264918 h 279857"/>
              <a:gd name="csX16" fmla="*/ 172672 w 321679"/>
              <a:gd name="csY16" fmla="*/ 273435 h 279857"/>
              <a:gd name="csX17" fmla="*/ 133595 w 321679"/>
              <a:gd name="csY17" fmla="*/ 276823 h 279857"/>
              <a:gd name="csX18" fmla="*/ 84645 w 321679"/>
              <a:gd name="csY18" fmla="*/ 279507 h 27985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</a:cxnLst>
            <a:rect l="l" t="t" r="r" b="b"/>
            <a:pathLst>
              <a:path w="321679" h="279857">
                <a:moveTo>
                  <a:pt x="84645" y="279507"/>
                </a:moveTo>
                <a:cubicBezTo>
                  <a:pt x="55716" y="279830"/>
                  <a:pt x="27945" y="280875"/>
                  <a:pt x="19" y="276629"/>
                </a:cubicBezTo>
                <a:cubicBezTo>
                  <a:pt x="19" y="261343"/>
                  <a:pt x="-45" y="246359"/>
                  <a:pt x="61" y="231376"/>
                </a:cubicBezTo>
                <a:cubicBezTo>
                  <a:pt x="90" y="227299"/>
                  <a:pt x="696" y="223229"/>
                  <a:pt x="925" y="219150"/>
                </a:cubicBezTo>
                <a:cubicBezTo>
                  <a:pt x="3396" y="175071"/>
                  <a:pt x="5876" y="130992"/>
                  <a:pt x="8286" y="86910"/>
                </a:cubicBezTo>
                <a:cubicBezTo>
                  <a:pt x="9469" y="65271"/>
                  <a:pt x="10613" y="43630"/>
                  <a:pt x="11586" y="21981"/>
                </a:cubicBezTo>
                <a:cubicBezTo>
                  <a:pt x="12199" y="8328"/>
                  <a:pt x="12576" y="7792"/>
                  <a:pt x="26655" y="7635"/>
                </a:cubicBezTo>
                <a:cubicBezTo>
                  <a:pt x="40161" y="7484"/>
                  <a:pt x="53689" y="7831"/>
                  <a:pt x="67169" y="7178"/>
                </a:cubicBezTo>
                <a:cubicBezTo>
                  <a:pt x="112079" y="5004"/>
                  <a:pt x="156970" y="2455"/>
                  <a:pt x="201872" y="121"/>
                </a:cubicBezTo>
                <a:cubicBezTo>
                  <a:pt x="206690" y="-130"/>
                  <a:pt x="211533" y="87"/>
                  <a:pt x="217558" y="87"/>
                </a:cubicBezTo>
                <a:cubicBezTo>
                  <a:pt x="216603" y="7811"/>
                  <a:pt x="215688" y="14910"/>
                  <a:pt x="214854" y="22019"/>
                </a:cubicBezTo>
                <a:cubicBezTo>
                  <a:pt x="211318" y="52185"/>
                  <a:pt x="219749" y="79345"/>
                  <a:pt x="235301" y="104861"/>
                </a:cubicBezTo>
                <a:cubicBezTo>
                  <a:pt x="244591" y="120102"/>
                  <a:pt x="257536" y="132012"/>
                  <a:pt x="269832" y="144587"/>
                </a:cubicBezTo>
                <a:cubicBezTo>
                  <a:pt x="280116" y="155103"/>
                  <a:pt x="290551" y="165559"/>
                  <a:pt x="299912" y="176874"/>
                </a:cubicBezTo>
                <a:cubicBezTo>
                  <a:pt x="319006" y="199953"/>
                  <a:pt x="324386" y="226827"/>
                  <a:pt x="320491" y="256903"/>
                </a:cubicBezTo>
                <a:cubicBezTo>
                  <a:pt x="298421" y="259649"/>
                  <a:pt x="277043" y="262541"/>
                  <a:pt x="255607" y="264918"/>
                </a:cubicBezTo>
                <a:cubicBezTo>
                  <a:pt x="227987" y="267981"/>
                  <a:pt x="200327" y="270692"/>
                  <a:pt x="172672" y="273435"/>
                </a:cubicBezTo>
                <a:cubicBezTo>
                  <a:pt x="159662" y="274725"/>
                  <a:pt x="146637" y="275935"/>
                  <a:pt x="133595" y="276823"/>
                </a:cubicBezTo>
                <a:cubicBezTo>
                  <a:pt x="117688" y="277907"/>
                  <a:pt x="101755" y="278616"/>
                  <a:pt x="84645" y="279507"/>
                </a:cubicBezTo>
                <a:close/>
              </a:path>
            </a:pathLst>
          </a:custGeom>
          <a:solidFill>
            <a:srgbClr val="FDFEFE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966" name="Free-form: Shape 3965">
            <a:extLst>
              <a:ext uri="{FF2B5EF4-FFF2-40B4-BE49-F238E27FC236}">
                <a16:creationId xmlns:a16="http://schemas.microsoft.com/office/drawing/2014/main" id="{81EE08DF-3FA7-BDCD-1FEA-FC7D0E803434}"/>
              </a:ext>
            </a:extLst>
          </p:cNvPr>
          <p:cNvSpPr/>
          <p:nvPr/>
        </p:nvSpPr>
        <p:spPr>
          <a:xfrm>
            <a:off x="2619206" y="5601522"/>
            <a:ext cx="344091" cy="79029"/>
          </a:xfrm>
          <a:custGeom>
            <a:avLst/>
            <a:gdLst>
              <a:gd name="csX0" fmla="*/ 270798 w 342106"/>
              <a:gd name="csY0" fmla="*/ 65953 h 78573"/>
              <a:gd name="csX1" fmla="*/ 183290 w 342106"/>
              <a:gd name="csY1" fmla="*/ 76017 h 78573"/>
              <a:gd name="csX2" fmla="*/ 72897 w 342106"/>
              <a:gd name="csY2" fmla="*/ 78565 h 78573"/>
              <a:gd name="csX3" fmla="*/ 5450 w 342106"/>
              <a:gd name="csY3" fmla="*/ 76564 h 78573"/>
              <a:gd name="csX4" fmla="*/ 0 w 342106"/>
              <a:gd name="csY4" fmla="*/ 75649 h 78573"/>
              <a:gd name="csX5" fmla="*/ 0 w 342106"/>
              <a:gd name="csY5" fmla="*/ 21324 h 78573"/>
              <a:gd name="csX6" fmla="*/ 8504 w 342106"/>
              <a:gd name="csY6" fmla="*/ 20688 h 78573"/>
              <a:gd name="csX7" fmla="*/ 98126 w 342106"/>
              <a:gd name="csY7" fmla="*/ 19655 h 78573"/>
              <a:gd name="csX8" fmla="*/ 221639 w 342106"/>
              <a:gd name="csY8" fmla="*/ 10929 h 78573"/>
              <a:gd name="csX9" fmla="*/ 304285 w 342106"/>
              <a:gd name="csY9" fmla="*/ 683 h 78573"/>
              <a:gd name="csX10" fmla="*/ 309173 w 342106"/>
              <a:gd name="csY10" fmla="*/ 212 h 78573"/>
              <a:gd name="csX11" fmla="*/ 335187 w 342106"/>
              <a:gd name="csY11" fmla="*/ 18545 h 78573"/>
              <a:gd name="csX12" fmla="*/ 342106 w 342106"/>
              <a:gd name="csY12" fmla="*/ 53602 h 78573"/>
              <a:gd name="csX13" fmla="*/ 270798 w 342106"/>
              <a:gd name="csY13" fmla="*/ 65953 h 7857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</a:cxnLst>
            <a:rect l="l" t="t" r="r" b="b"/>
            <a:pathLst>
              <a:path w="342106" h="78573">
                <a:moveTo>
                  <a:pt x="270798" y="65953"/>
                </a:moveTo>
                <a:cubicBezTo>
                  <a:pt x="240931" y="69594"/>
                  <a:pt x="212199" y="74306"/>
                  <a:pt x="183290" y="76017"/>
                </a:cubicBezTo>
                <a:cubicBezTo>
                  <a:pt x="146568" y="78191"/>
                  <a:pt x="109704" y="78349"/>
                  <a:pt x="72897" y="78565"/>
                </a:cubicBezTo>
                <a:cubicBezTo>
                  <a:pt x="50419" y="78697"/>
                  <a:pt x="27931" y="77315"/>
                  <a:pt x="5450" y="76564"/>
                </a:cubicBezTo>
                <a:cubicBezTo>
                  <a:pt x="3884" y="76512"/>
                  <a:pt x="2332" y="76053"/>
                  <a:pt x="0" y="75649"/>
                </a:cubicBezTo>
                <a:cubicBezTo>
                  <a:pt x="0" y="57619"/>
                  <a:pt x="0" y="39863"/>
                  <a:pt x="0" y="21324"/>
                </a:cubicBezTo>
                <a:cubicBezTo>
                  <a:pt x="3058" y="21086"/>
                  <a:pt x="5779" y="20715"/>
                  <a:pt x="8504" y="20688"/>
                </a:cubicBezTo>
                <a:cubicBezTo>
                  <a:pt x="38382" y="20390"/>
                  <a:pt x="68305" y="21101"/>
                  <a:pt x="98126" y="19655"/>
                </a:cubicBezTo>
                <a:cubicBezTo>
                  <a:pt x="139343" y="17657"/>
                  <a:pt x="180532" y="14597"/>
                  <a:pt x="221639" y="10929"/>
                </a:cubicBezTo>
                <a:cubicBezTo>
                  <a:pt x="249272" y="8463"/>
                  <a:pt x="276741" y="4156"/>
                  <a:pt x="304285" y="683"/>
                </a:cubicBezTo>
                <a:cubicBezTo>
                  <a:pt x="305908" y="478"/>
                  <a:pt x="307539" y="312"/>
                  <a:pt x="309173" y="212"/>
                </a:cubicBezTo>
                <a:cubicBezTo>
                  <a:pt x="326863" y="-867"/>
                  <a:pt x="330972" y="1719"/>
                  <a:pt x="335187" y="18545"/>
                </a:cubicBezTo>
                <a:cubicBezTo>
                  <a:pt x="337939" y="29526"/>
                  <a:pt x="339618" y="40777"/>
                  <a:pt x="342106" y="53602"/>
                </a:cubicBezTo>
                <a:cubicBezTo>
                  <a:pt x="317523" y="57833"/>
                  <a:pt x="294689" y="61762"/>
                  <a:pt x="270798" y="65953"/>
                </a:cubicBezTo>
                <a:close/>
              </a:path>
            </a:pathLst>
          </a:custGeom>
          <a:solidFill>
            <a:srgbClr val="FCFCFC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967" name="Free-form: Shape 3966">
            <a:extLst>
              <a:ext uri="{FF2B5EF4-FFF2-40B4-BE49-F238E27FC236}">
                <a16:creationId xmlns:a16="http://schemas.microsoft.com/office/drawing/2014/main" id="{F1405AAC-0D4C-EEA1-6DD9-DAF7C6FBEA86}"/>
              </a:ext>
            </a:extLst>
          </p:cNvPr>
          <p:cNvSpPr/>
          <p:nvPr/>
        </p:nvSpPr>
        <p:spPr>
          <a:xfrm>
            <a:off x="2701146" y="4442517"/>
            <a:ext cx="87745" cy="67052"/>
          </a:xfrm>
          <a:custGeom>
            <a:avLst/>
            <a:gdLst>
              <a:gd name="csX0" fmla="*/ 9010 w 87239"/>
              <a:gd name="csY0" fmla="*/ 29316 h 66665"/>
              <a:gd name="csX1" fmla="*/ 6110 w 87239"/>
              <a:gd name="csY1" fmla="*/ 15162 h 66665"/>
              <a:gd name="csX2" fmla="*/ 0 w 87239"/>
              <a:gd name="csY2" fmla="*/ 3003 h 66665"/>
              <a:gd name="csX3" fmla="*/ 10641 w 87239"/>
              <a:gd name="csY3" fmla="*/ 697 h 66665"/>
              <a:gd name="csX4" fmla="*/ 42824 w 87239"/>
              <a:gd name="csY4" fmla="*/ 7981 h 66665"/>
              <a:gd name="csX5" fmla="*/ 73433 w 87239"/>
              <a:gd name="csY5" fmla="*/ 31631 h 66665"/>
              <a:gd name="csX6" fmla="*/ 86236 w 87239"/>
              <a:gd name="csY6" fmla="*/ 56519 h 66665"/>
              <a:gd name="csX7" fmla="*/ 82327 w 87239"/>
              <a:gd name="csY7" fmla="*/ 64249 h 66665"/>
              <a:gd name="csX8" fmla="*/ 49439 w 87239"/>
              <a:gd name="csY8" fmla="*/ 66665 h 66665"/>
              <a:gd name="csX9" fmla="*/ 11457 w 87239"/>
              <a:gd name="csY9" fmla="*/ 38560 h 66665"/>
              <a:gd name="csX10" fmla="*/ 9010 w 87239"/>
              <a:gd name="csY10" fmla="*/ 29316 h 6666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</a:cxnLst>
            <a:rect l="l" t="t" r="r" b="b"/>
            <a:pathLst>
              <a:path w="87239" h="66665">
                <a:moveTo>
                  <a:pt x="9010" y="29316"/>
                </a:moveTo>
                <a:cubicBezTo>
                  <a:pt x="7998" y="23924"/>
                  <a:pt x="7568" y="19365"/>
                  <a:pt x="6110" y="15162"/>
                </a:cubicBezTo>
                <a:cubicBezTo>
                  <a:pt x="4682" y="11044"/>
                  <a:pt x="2207" y="7289"/>
                  <a:pt x="0" y="3003"/>
                </a:cubicBezTo>
                <a:cubicBezTo>
                  <a:pt x="2648" y="-833"/>
                  <a:pt x="6580" y="-238"/>
                  <a:pt x="10641" y="697"/>
                </a:cubicBezTo>
                <a:cubicBezTo>
                  <a:pt x="21360" y="3163"/>
                  <a:pt x="32042" y="5825"/>
                  <a:pt x="42824" y="7981"/>
                </a:cubicBezTo>
                <a:cubicBezTo>
                  <a:pt x="57032" y="10823"/>
                  <a:pt x="67419" y="18068"/>
                  <a:pt x="73433" y="31631"/>
                </a:cubicBezTo>
                <a:cubicBezTo>
                  <a:pt x="77208" y="40146"/>
                  <a:pt x="81954" y="48228"/>
                  <a:pt x="86236" y="56519"/>
                </a:cubicBezTo>
                <a:cubicBezTo>
                  <a:pt x="88409" y="60728"/>
                  <a:pt x="87030" y="63806"/>
                  <a:pt x="82327" y="64249"/>
                </a:cubicBezTo>
                <a:cubicBezTo>
                  <a:pt x="71381" y="65282"/>
                  <a:pt x="60402" y="66689"/>
                  <a:pt x="49439" y="66665"/>
                </a:cubicBezTo>
                <a:cubicBezTo>
                  <a:pt x="28683" y="66620"/>
                  <a:pt x="18142" y="58428"/>
                  <a:pt x="11457" y="38560"/>
                </a:cubicBezTo>
                <a:cubicBezTo>
                  <a:pt x="10547" y="35855"/>
                  <a:pt x="9906" y="33058"/>
                  <a:pt x="9010" y="29316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13" name="Free-form: Shape 4012">
            <a:extLst>
              <a:ext uri="{FF2B5EF4-FFF2-40B4-BE49-F238E27FC236}">
                <a16:creationId xmlns:a16="http://schemas.microsoft.com/office/drawing/2014/main" id="{0FD38679-512C-FA7E-BE4A-50DCECF3ECF5}"/>
              </a:ext>
            </a:extLst>
          </p:cNvPr>
          <p:cNvSpPr/>
          <p:nvPr/>
        </p:nvSpPr>
        <p:spPr>
          <a:xfrm>
            <a:off x="9893969" y="3451777"/>
            <a:ext cx="634942" cy="1266262"/>
          </a:xfrm>
          <a:custGeom>
            <a:avLst/>
            <a:gdLst>
              <a:gd name="csX0" fmla="*/ 703087 w 763849"/>
              <a:gd name="csY0" fmla="*/ 1241174 h 1523340"/>
              <a:gd name="csX1" fmla="*/ 732932 w 763849"/>
              <a:gd name="csY1" fmla="*/ 1359634 h 1523340"/>
              <a:gd name="csX2" fmla="*/ 735544 w 763849"/>
              <a:gd name="csY2" fmla="*/ 1377287 h 1523340"/>
              <a:gd name="csX3" fmla="*/ 756764 w 763849"/>
              <a:gd name="csY3" fmla="*/ 1458577 h 1523340"/>
              <a:gd name="csX4" fmla="*/ 757108 w 763849"/>
              <a:gd name="csY4" fmla="*/ 1465940 h 1523340"/>
              <a:gd name="csX5" fmla="*/ 744215 w 763849"/>
              <a:gd name="csY5" fmla="*/ 1488332 h 1523340"/>
              <a:gd name="csX6" fmla="*/ 712781 w 763849"/>
              <a:gd name="csY6" fmla="*/ 1498472 h 1523340"/>
              <a:gd name="csX7" fmla="*/ 625540 w 763849"/>
              <a:gd name="csY7" fmla="*/ 1511981 h 1523340"/>
              <a:gd name="csX8" fmla="*/ 488540 w 763849"/>
              <a:gd name="csY8" fmla="*/ 1522029 h 1523340"/>
              <a:gd name="csX9" fmla="*/ 306789 w 763849"/>
              <a:gd name="csY9" fmla="*/ 1523231 h 1523340"/>
              <a:gd name="csX10" fmla="*/ 200103 w 763849"/>
              <a:gd name="csY10" fmla="*/ 1518579 h 1523340"/>
              <a:gd name="csX11" fmla="*/ 31607 w 763849"/>
              <a:gd name="csY11" fmla="*/ 1493880 h 1523340"/>
              <a:gd name="csX12" fmla="*/ 5860 w 763849"/>
              <a:gd name="csY12" fmla="*/ 1482933 h 1523340"/>
              <a:gd name="csX13" fmla="*/ 32 w 763849"/>
              <a:gd name="csY13" fmla="*/ 1471774 h 1523340"/>
              <a:gd name="csX14" fmla="*/ 21295 w 763849"/>
              <a:gd name="csY14" fmla="*/ 1378237 h 1523340"/>
              <a:gd name="csX15" fmla="*/ 23169 w 763849"/>
              <a:gd name="csY15" fmla="*/ 1364271 h 1523340"/>
              <a:gd name="csX16" fmla="*/ 23871 w 763849"/>
              <a:gd name="csY16" fmla="*/ 1303132 h 1523340"/>
              <a:gd name="csX17" fmla="*/ 59740 w 763849"/>
              <a:gd name="csY17" fmla="*/ 1234649 h 1523340"/>
              <a:gd name="csX18" fmla="*/ 98899 w 763849"/>
              <a:gd name="csY18" fmla="*/ 1195619 h 1523340"/>
              <a:gd name="csX19" fmla="*/ 131493 w 763849"/>
              <a:gd name="csY19" fmla="*/ 1127593 h 1523340"/>
              <a:gd name="csX20" fmla="*/ 108213 w 763849"/>
              <a:gd name="csY20" fmla="*/ 1058723 h 1523340"/>
              <a:gd name="csX21" fmla="*/ 74370 w 763849"/>
              <a:gd name="csY21" fmla="*/ 1024929 h 1523340"/>
              <a:gd name="csX22" fmla="*/ 68137 w 763849"/>
              <a:gd name="csY22" fmla="*/ 987550 h 1523340"/>
              <a:gd name="csX23" fmla="*/ 86420 w 763849"/>
              <a:gd name="csY23" fmla="*/ 941991 h 1523340"/>
              <a:gd name="csX24" fmla="*/ 97082 w 763849"/>
              <a:gd name="csY24" fmla="*/ 828037 h 1523340"/>
              <a:gd name="csX25" fmla="*/ 61782 w 763849"/>
              <a:gd name="csY25" fmla="*/ 696973 h 1523340"/>
              <a:gd name="csX26" fmla="*/ 26901 w 763849"/>
              <a:gd name="csY26" fmla="*/ 547868 h 1523340"/>
              <a:gd name="csX27" fmla="*/ 20221 w 763849"/>
              <a:gd name="csY27" fmla="*/ 479529 h 1523340"/>
              <a:gd name="csX28" fmla="*/ 40808 w 763849"/>
              <a:gd name="csY28" fmla="*/ 334388 h 1523340"/>
              <a:gd name="csX29" fmla="*/ 65171 w 763849"/>
              <a:gd name="csY29" fmla="*/ 263707 h 1523340"/>
              <a:gd name="csX30" fmla="*/ 142827 w 763849"/>
              <a:gd name="csY30" fmla="*/ 171003 h 1523340"/>
              <a:gd name="csX31" fmla="*/ 172290 w 763849"/>
              <a:gd name="csY31" fmla="*/ 155872 h 1523340"/>
              <a:gd name="csX32" fmla="*/ 189008 w 763849"/>
              <a:gd name="csY32" fmla="*/ 148158 h 1523340"/>
              <a:gd name="csX33" fmla="*/ 212828 w 763849"/>
              <a:gd name="csY33" fmla="*/ 126123 h 1523340"/>
              <a:gd name="csX34" fmla="*/ 217217 w 763849"/>
              <a:gd name="csY34" fmla="*/ 118740 h 1523340"/>
              <a:gd name="csX35" fmla="*/ 253000 w 763849"/>
              <a:gd name="csY35" fmla="*/ 88998 h 1523340"/>
              <a:gd name="csX36" fmla="*/ 322085 w 763849"/>
              <a:gd name="csY36" fmla="*/ 72193 h 1523340"/>
              <a:gd name="csX37" fmla="*/ 330478 w 763849"/>
              <a:gd name="csY37" fmla="*/ 70387 h 1523340"/>
              <a:gd name="csX38" fmla="*/ 388016 w 763849"/>
              <a:gd name="csY38" fmla="*/ 35457 h 1523340"/>
              <a:gd name="csX39" fmla="*/ 421527 w 763849"/>
              <a:gd name="csY39" fmla="*/ 0 h 1523340"/>
              <a:gd name="csX40" fmla="*/ 424538 w 763849"/>
              <a:gd name="csY40" fmla="*/ 10833 h 1523340"/>
              <a:gd name="csX41" fmla="*/ 436339 w 763849"/>
              <a:gd name="csY41" fmla="*/ 121836 h 1523340"/>
              <a:gd name="csX42" fmla="*/ 449983 w 763849"/>
              <a:gd name="csY42" fmla="*/ 141450 h 1523340"/>
              <a:gd name="csX43" fmla="*/ 503299 w 763849"/>
              <a:gd name="csY43" fmla="*/ 169290 h 1523340"/>
              <a:gd name="csX44" fmla="*/ 551461 w 763849"/>
              <a:gd name="csY44" fmla="*/ 203111 h 1523340"/>
              <a:gd name="csX45" fmla="*/ 588803 w 763849"/>
              <a:gd name="csY45" fmla="*/ 252797 h 1523340"/>
              <a:gd name="csX46" fmla="*/ 634209 w 763849"/>
              <a:gd name="csY46" fmla="*/ 327081 h 1523340"/>
              <a:gd name="csX47" fmla="*/ 697923 w 763849"/>
              <a:gd name="csY47" fmla="*/ 384157 h 1523340"/>
              <a:gd name="csX48" fmla="*/ 729658 w 763849"/>
              <a:gd name="csY48" fmla="*/ 407288 h 1523340"/>
              <a:gd name="csX49" fmla="*/ 763354 w 763849"/>
              <a:gd name="csY49" fmla="*/ 471325 h 1523340"/>
              <a:gd name="csX50" fmla="*/ 757092 w 763849"/>
              <a:gd name="csY50" fmla="*/ 527116 h 1523340"/>
              <a:gd name="csX51" fmla="*/ 720673 w 763849"/>
              <a:gd name="csY51" fmla="*/ 570023 h 1523340"/>
              <a:gd name="csX52" fmla="*/ 704918 w 763849"/>
              <a:gd name="csY52" fmla="*/ 581294 h 1523340"/>
              <a:gd name="csX53" fmla="*/ 671960 w 763849"/>
              <a:gd name="csY53" fmla="*/ 595325 h 1523340"/>
              <a:gd name="csX54" fmla="*/ 633021 w 763849"/>
              <a:gd name="csY54" fmla="*/ 591397 h 1523340"/>
              <a:gd name="csX55" fmla="*/ 580696 w 763849"/>
              <a:gd name="csY55" fmla="*/ 556742 h 1523340"/>
              <a:gd name="csX56" fmla="*/ 545415 w 763849"/>
              <a:gd name="csY56" fmla="*/ 524617 h 1523340"/>
              <a:gd name="csX57" fmla="*/ 518889 w 763849"/>
              <a:gd name="csY57" fmla="*/ 516179 h 1523340"/>
              <a:gd name="csX58" fmla="*/ 472309 w 763849"/>
              <a:gd name="csY58" fmla="*/ 517812 h 1523340"/>
              <a:gd name="csX59" fmla="*/ 415953 w 763849"/>
              <a:gd name="csY59" fmla="*/ 517245 h 1523340"/>
              <a:gd name="csX60" fmla="*/ 403392 w 763849"/>
              <a:gd name="csY60" fmla="*/ 516539 h 1523340"/>
              <a:gd name="csX61" fmla="*/ 407957 w 763849"/>
              <a:gd name="csY61" fmla="*/ 542045 h 1523340"/>
              <a:gd name="csX62" fmla="*/ 434134 w 763849"/>
              <a:gd name="csY62" fmla="*/ 583349 h 1523340"/>
              <a:gd name="csX63" fmla="*/ 524267 w 763849"/>
              <a:gd name="csY63" fmla="*/ 683922 h 1523340"/>
              <a:gd name="csX64" fmla="*/ 614317 w 763849"/>
              <a:gd name="csY64" fmla="*/ 786085 h 1523340"/>
              <a:gd name="csX65" fmla="*/ 669590 w 763849"/>
              <a:gd name="csY65" fmla="*/ 921089 h 1523340"/>
              <a:gd name="csX66" fmla="*/ 647360 w 763849"/>
              <a:gd name="csY66" fmla="*/ 1057245 h 1523340"/>
              <a:gd name="csX67" fmla="*/ 627872 w 763849"/>
              <a:gd name="csY67" fmla="*/ 1102111 h 1523340"/>
              <a:gd name="csX68" fmla="*/ 642300 w 763849"/>
              <a:gd name="csY68" fmla="*/ 1175941 h 1523340"/>
              <a:gd name="csX69" fmla="*/ 668829 w 763849"/>
              <a:gd name="csY69" fmla="*/ 1206449 h 1523340"/>
              <a:gd name="csX70" fmla="*/ 703087 w 763849"/>
              <a:gd name="csY70" fmla="*/ 1241174 h 1523340"/>
              <a:gd name="csX71" fmla="*/ 648750 w 763849"/>
              <a:gd name="csY71" fmla="*/ 562343 h 1523340"/>
              <a:gd name="csX72" fmla="*/ 674049 w 763849"/>
              <a:gd name="csY72" fmla="*/ 562834 h 1523340"/>
              <a:gd name="csX73" fmla="*/ 660781 w 763849"/>
              <a:gd name="csY73" fmla="*/ 550178 h 1523340"/>
              <a:gd name="csX74" fmla="*/ 650911 w 763849"/>
              <a:gd name="csY74" fmla="*/ 534051 h 1523340"/>
              <a:gd name="csX75" fmla="*/ 660724 w 763849"/>
              <a:gd name="csY75" fmla="*/ 537605 h 1523340"/>
              <a:gd name="csX76" fmla="*/ 688133 w 763849"/>
              <a:gd name="csY76" fmla="*/ 543363 h 1523340"/>
              <a:gd name="csX77" fmla="*/ 731514 w 763849"/>
              <a:gd name="csY77" fmla="*/ 510767 h 1523340"/>
              <a:gd name="csX78" fmla="*/ 733611 w 763849"/>
              <a:gd name="csY78" fmla="*/ 466905 h 1523340"/>
              <a:gd name="csX79" fmla="*/ 708076 w 763849"/>
              <a:gd name="csY79" fmla="*/ 425975 h 1523340"/>
              <a:gd name="csX80" fmla="*/ 667538 w 763849"/>
              <a:gd name="csY80" fmla="*/ 398254 h 1523340"/>
              <a:gd name="csX81" fmla="*/ 601016 w 763849"/>
              <a:gd name="csY81" fmla="*/ 332127 h 1523340"/>
              <a:gd name="csX82" fmla="*/ 565354 w 763849"/>
              <a:gd name="csY82" fmla="*/ 270526 h 1523340"/>
              <a:gd name="csX83" fmla="*/ 490657 w 763849"/>
              <a:gd name="csY83" fmla="*/ 195121 h 1523340"/>
              <a:gd name="csX84" fmla="*/ 432834 w 763849"/>
              <a:gd name="csY84" fmla="*/ 165243 h 1523340"/>
              <a:gd name="csX85" fmla="*/ 407594 w 763849"/>
              <a:gd name="csY85" fmla="*/ 127852 h 1523340"/>
              <a:gd name="csX86" fmla="*/ 405020 w 763849"/>
              <a:gd name="csY86" fmla="*/ 69029 h 1523340"/>
              <a:gd name="csX87" fmla="*/ 403638 w 763849"/>
              <a:gd name="csY87" fmla="*/ 58130 h 1523340"/>
              <a:gd name="csX88" fmla="*/ 349776 w 763849"/>
              <a:gd name="csY88" fmla="*/ 133259 h 1523340"/>
              <a:gd name="csX89" fmla="*/ 326975 w 763849"/>
              <a:gd name="csY89" fmla="*/ 159669 h 1523340"/>
              <a:gd name="csX90" fmla="*/ 240374 w 763849"/>
              <a:gd name="csY90" fmla="*/ 221714 h 1523340"/>
              <a:gd name="csX91" fmla="*/ 171637 w 763849"/>
              <a:gd name="csY91" fmla="*/ 309087 h 1523340"/>
              <a:gd name="csX92" fmla="*/ 138048 w 763849"/>
              <a:gd name="csY92" fmla="*/ 516954 h 1523340"/>
              <a:gd name="csX93" fmla="*/ 163889 w 763849"/>
              <a:gd name="csY93" fmla="*/ 641780 h 1523340"/>
              <a:gd name="csX94" fmla="*/ 204800 w 763849"/>
              <a:gd name="csY94" fmla="*/ 787055 h 1523340"/>
              <a:gd name="csX95" fmla="*/ 218549 w 763849"/>
              <a:gd name="csY95" fmla="*/ 949545 h 1523340"/>
              <a:gd name="csX96" fmla="*/ 191487 w 763849"/>
              <a:gd name="csY96" fmla="*/ 1033064 h 1523340"/>
              <a:gd name="csX97" fmla="*/ 188729 w 763849"/>
              <a:gd name="csY97" fmla="*/ 1039835 h 1523340"/>
              <a:gd name="csX98" fmla="*/ 221417 w 763849"/>
              <a:gd name="csY98" fmla="*/ 1040799 h 1523340"/>
              <a:gd name="csX99" fmla="*/ 348895 w 763849"/>
              <a:gd name="csY99" fmla="*/ 1046759 h 1523340"/>
              <a:gd name="csX100" fmla="*/ 545369 w 763849"/>
              <a:gd name="csY100" fmla="*/ 1044456 h 1523340"/>
              <a:gd name="csX101" fmla="*/ 612424 w 763849"/>
              <a:gd name="csY101" fmla="*/ 1037365 h 1523340"/>
              <a:gd name="csX102" fmla="*/ 623169 w 763849"/>
              <a:gd name="csY102" fmla="*/ 1028873 h 1523340"/>
              <a:gd name="csX103" fmla="*/ 638508 w 763849"/>
              <a:gd name="csY103" fmla="*/ 959599 h 1523340"/>
              <a:gd name="csX104" fmla="*/ 609213 w 763849"/>
              <a:gd name="csY104" fmla="*/ 842075 h 1523340"/>
              <a:gd name="csX105" fmla="*/ 529367 w 763849"/>
              <a:gd name="csY105" fmla="*/ 735065 h 1523340"/>
              <a:gd name="csX106" fmla="*/ 403792 w 763849"/>
              <a:gd name="csY106" fmla="*/ 596993 h 1523340"/>
              <a:gd name="csX107" fmla="*/ 344708 w 763849"/>
              <a:gd name="csY107" fmla="*/ 511366 h 1523340"/>
              <a:gd name="csX108" fmla="*/ 324464 w 763849"/>
              <a:gd name="csY108" fmla="*/ 380084 h 1523340"/>
              <a:gd name="csX109" fmla="*/ 327688 w 763849"/>
              <a:gd name="csY109" fmla="*/ 373535 h 1523340"/>
              <a:gd name="csX110" fmla="*/ 330334 w 763849"/>
              <a:gd name="csY110" fmla="*/ 373641 h 1523340"/>
              <a:gd name="csX111" fmla="*/ 334272 w 763849"/>
              <a:gd name="csY111" fmla="*/ 384645 h 1523340"/>
              <a:gd name="csX112" fmla="*/ 365260 w 763849"/>
              <a:gd name="csY112" fmla="*/ 453955 h 1523340"/>
              <a:gd name="csX113" fmla="*/ 408246 w 763849"/>
              <a:gd name="csY113" fmla="*/ 483592 h 1523340"/>
              <a:gd name="csX114" fmla="*/ 464529 w 763849"/>
              <a:gd name="csY114" fmla="*/ 486187 h 1523340"/>
              <a:gd name="csX115" fmla="*/ 511119 w 763849"/>
              <a:gd name="csY115" fmla="*/ 484308 h 1523340"/>
              <a:gd name="csX116" fmla="*/ 567913 w 763849"/>
              <a:gd name="csY116" fmla="*/ 503736 h 1523340"/>
              <a:gd name="csX117" fmla="*/ 607611 w 763849"/>
              <a:gd name="csY117" fmla="*/ 540326 h 1523340"/>
              <a:gd name="csX118" fmla="*/ 648750 w 763849"/>
              <a:gd name="csY118" fmla="*/ 562343 h 1523340"/>
              <a:gd name="csX119" fmla="*/ 462594 w 763849"/>
              <a:gd name="csY119" fmla="*/ 1369008 h 1523340"/>
              <a:gd name="csX120" fmla="*/ 510357 w 763849"/>
              <a:gd name="csY120" fmla="*/ 1366345 h 1523340"/>
              <a:gd name="csX121" fmla="*/ 549434 w 763849"/>
              <a:gd name="csY121" fmla="*/ 1362956 h 1523340"/>
              <a:gd name="csX122" fmla="*/ 632369 w 763849"/>
              <a:gd name="csY122" fmla="*/ 1354439 h 1523340"/>
              <a:gd name="csX123" fmla="*/ 697252 w 763849"/>
              <a:gd name="csY123" fmla="*/ 1346424 h 1523340"/>
              <a:gd name="csX124" fmla="*/ 676674 w 763849"/>
              <a:gd name="csY124" fmla="*/ 1266396 h 1523340"/>
              <a:gd name="csX125" fmla="*/ 646594 w 763849"/>
              <a:gd name="csY125" fmla="*/ 1234108 h 1523340"/>
              <a:gd name="csX126" fmla="*/ 612063 w 763849"/>
              <a:gd name="csY126" fmla="*/ 1194382 h 1523340"/>
              <a:gd name="csX127" fmla="*/ 591616 w 763849"/>
              <a:gd name="csY127" fmla="*/ 1111541 h 1523340"/>
              <a:gd name="csX128" fmla="*/ 594320 w 763849"/>
              <a:gd name="csY128" fmla="*/ 1089609 h 1523340"/>
              <a:gd name="csX129" fmla="*/ 578634 w 763849"/>
              <a:gd name="csY129" fmla="*/ 1089642 h 1523340"/>
              <a:gd name="csX130" fmla="*/ 443931 w 763849"/>
              <a:gd name="csY130" fmla="*/ 1096700 h 1523340"/>
              <a:gd name="csX131" fmla="*/ 403417 w 763849"/>
              <a:gd name="csY131" fmla="*/ 1097156 h 1523340"/>
              <a:gd name="csX132" fmla="*/ 388348 w 763849"/>
              <a:gd name="csY132" fmla="*/ 1111502 h 1523340"/>
              <a:gd name="csX133" fmla="*/ 385048 w 763849"/>
              <a:gd name="csY133" fmla="*/ 1176431 h 1523340"/>
              <a:gd name="csX134" fmla="*/ 377687 w 763849"/>
              <a:gd name="csY134" fmla="*/ 1308672 h 1523340"/>
              <a:gd name="csX135" fmla="*/ 376823 w 763849"/>
              <a:gd name="csY135" fmla="*/ 1320897 h 1523340"/>
              <a:gd name="csX136" fmla="*/ 376781 w 763849"/>
              <a:gd name="csY136" fmla="*/ 1366151 h 1523340"/>
              <a:gd name="csX137" fmla="*/ 462594 w 763849"/>
              <a:gd name="csY137" fmla="*/ 1369008 h 1523340"/>
              <a:gd name="csX138" fmla="*/ 648494 w 763849"/>
              <a:gd name="csY138" fmla="*/ 1463981 h 1523340"/>
              <a:gd name="csX139" fmla="*/ 718746 w 763849"/>
              <a:gd name="csY139" fmla="*/ 1451892 h 1523340"/>
              <a:gd name="csX140" fmla="*/ 711827 w 763849"/>
              <a:gd name="csY140" fmla="*/ 1416835 h 1523340"/>
              <a:gd name="csX141" fmla="*/ 685812 w 763849"/>
              <a:gd name="csY141" fmla="*/ 1398502 h 1523340"/>
              <a:gd name="csX142" fmla="*/ 680924 w 763849"/>
              <a:gd name="csY142" fmla="*/ 1398973 h 1523340"/>
              <a:gd name="csX143" fmla="*/ 598278 w 763849"/>
              <a:gd name="csY143" fmla="*/ 1409218 h 1523340"/>
              <a:gd name="csX144" fmla="*/ 474765 w 763849"/>
              <a:gd name="csY144" fmla="*/ 1417945 h 1523340"/>
              <a:gd name="csX145" fmla="*/ 385143 w 763849"/>
              <a:gd name="csY145" fmla="*/ 1418978 h 1523340"/>
              <a:gd name="csX146" fmla="*/ 376639 w 763849"/>
              <a:gd name="csY146" fmla="*/ 1419613 h 1523340"/>
              <a:gd name="csX147" fmla="*/ 376639 w 763849"/>
              <a:gd name="csY147" fmla="*/ 1473939 h 1523340"/>
              <a:gd name="csX148" fmla="*/ 382089 w 763849"/>
              <a:gd name="csY148" fmla="*/ 1474854 h 1523340"/>
              <a:gd name="csX149" fmla="*/ 449536 w 763849"/>
              <a:gd name="csY149" fmla="*/ 1476855 h 1523340"/>
              <a:gd name="csX150" fmla="*/ 559930 w 763849"/>
              <a:gd name="csY150" fmla="*/ 1474307 h 1523340"/>
              <a:gd name="csX151" fmla="*/ 648494 w 763849"/>
              <a:gd name="csY151" fmla="*/ 1463981 h 152334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</a:cxnLst>
            <a:rect l="l" t="t" r="r" b="b"/>
            <a:pathLst>
              <a:path w="763849" h="1523340">
                <a:moveTo>
                  <a:pt x="703087" y="1241174"/>
                </a:moveTo>
                <a:cubicBezTo>
                  <a:pt x="732418" y="1276379"/>
                  <a:pt x="738825" y="1316526"/>
                  <a:pt x="732932" y="1359634"/>
                </a:cubicBezTo>
                <a:cubicBezTo>
                  <a:pt x="732067" y="1365959"/>
                  <a:pt x="732453" y="1371428"/>
                  <a:pt x="735544" y="1377287"/>
                </a:cubicBezTo>
                <a:cubicBezTo>
                  <a:pt x="748937" y="1402675"/>
                  <a:pt x="755318" y="1430010"/>
                  <a:pt x="756764" y="1458577"/>
                </a:cubicBezTo>
                <a:cubicBezTo>
                  <a:pt x="756887" y="1461031"/>
                  <a:pt x="756895" y="1463494"/>
                  <a:pt x="757108" y="1465940"/>
                </a:cubicBezTo>
                <a:cubicBezTo>
                  <a:pt x="758375" y="1480486"/>
                  <a:pt x="757802" y="1482498"/>
                  <a:pt x="744215" y="1488332"/>
                </a:cubicBezTo>
                <a:cubicBezTo>
                  <a:pt x="734126" y="1492664"/>
                  <a:pt x="723536" y="1496562"/>
                  <a:pt x="712781" y="1498472"/>
                </a:cubicBezTo>
                <a:cubicBezTo>
                  <a:pt x="683814" y="1503617"/>
                  <a:pt x="654674" y="1507832"/>
                  <a:pt x="625540" y="1511981"/>
                </a:cubicBezTo>
                <a:cubicBezTo>
                  <a:pt x="580114" y="1518449"/>
                  <a:pt x="534395" y="1521481"/>
                  <a:pt x="488540" y="1522029"/>
                </a:cubicBezTo>
                <a:cubicBezTo>
                  <a:pt x="427958" y="1522752"/>
                  <a:pt x="367367" y="1523658"/>
                  <a:pt x="306789" y="1523231"/>
                </a:cubicBezTo>
                <a:cubicBezTo>
                  <a:pt x="271215" y="1522980"/>
                  <a:pt x="235625" y="1520833"/>
                  <a:pt x="200103" y="1518579"/>
                </a:cubicBezTo>
                <a:cubicBezTo>
                  <a:pt x="143289" y="1514974"/>
                  <a:pt x="86915" y="1507766"/>
                  <a:pt x="31607" y="1493880"/>
                </a:cubicBezTo>
                <a:cubicBezTo>
                  <a:pt x="22666" y="1491635"/>
                  <a:pt x="14297" y="1486920"/>
                  <a:pt x="5860" y="1482933"/>
                </a:cubicBezTo>
                <a:cubicBezTo>
                  <a:pt x="1433" y="1480841"/>
                  <a:pt x="-262" y="1476934"/>
                  <a:pt x="32" y="1471774"/>
                </a:cubicBezTo>
                <a:cubicBezTo>
                  <a:pt x="1880" y="1439401"/>
                  <a:pt x="3993" y="1407192"/>
                  <a:pt x="21295" y="1378237"/>
                </a:cubicBezTo>
                <a:cubicBezTo>
                  <a:pt x="23526" y="1374504"/>
                  <a:pt x="23666" y="1368858"/>
                  <a:pt x="23169" y="1364271"/>
                </a:cubicBezTo>
                <a:cubicBezTo>
                  <a:pt x="20957" y="1343833"/>
                  <a:pt x="20482" y="1323540"/>
                  <a:pt x="23871" y="1303132"/>
                </a:cubicBezTo>
                <a:cubicBezTo>
                  <a:pt x="28332" y="1276267"/>
                  <a:pt x="41045" y="1253887"/>
                  <a:pt x="59740" y="1234649"/>
                </a:cubicBezTo>
                <a:cubicBezTo>
                  <a:pt x="72582" y="1221434"/>
                  <a:pt x="85657" y="1208434"/>
                  <a:pt x="98899" y="1195619"/>
                </a:cubicBezTo>
                <a:cubicBezTo>
                  <a:pt x="118216" y="1176926"/>
                  <a:pt x="130484" y="1154702"/>
                  <a:pt x="131493" y="1127593"/>
                </a:cubicBezTo>
                <a:cubicBezTo>
                  <a:pt x="132448" y="1101948"/>
                  <a:pt x="127125" y="1077868"/>
                  <a:pt x="108213" y="1058723"/>
                </a:cubicBezTo>
                <a:cubicBezTo>
                  <a:pt x="97010" y="1047381"/>
                  <a:pt x="85438" y="1036399"/>
                  <a:pt x="74370" y="1024929"/>
                </a:cubicBezTo>
                <a:cubicBezTo>
                  <a:pt x="63868" y="1014043"/>
                  <a:pt x="62267" y="1001475"/>
                  <a:pt x="68137" y="987550"/>
                </a:cubicBezTo>
                <a:cubicBezTo>
                  <a:pt x="74493" y="972473"/>
                  <a:pt x="80703" y="957319"/>
                  <a:pt x="86420" y="941991"/>
                </a:cubicBezTo>
                <a:cubicBezTo>
                  <a:pt x="100218" y="905001"/>
                  <a:pt x="99441" y="866690"/>
                  <a:pt x="97082" y="828037"/>
                </a:cubicBezTo>
                <a:cubicBezTo>
                  <a:pt x="94260" y="781809"/>
                  <a:pt x="76370" y="739899"/>
                  <a:pt x="61782" y="696973"/>
                </a:cubicBezTo>
                <a:cubicBezTo>
                  <a:pt x="45282" y="648419"/>
                  <a:pt x="33285" y="598770"/>
                  <a:pt x="26901" y="547868"/>
                </a:cubicBezTo>
                <a:cubicBezTo>
                  <a:pt x="24054" y="525160"/>
                  <a:pt x="21110" y="502364"/>
                  <a:pt x="20221" y="479529"/>
                </a:cubicBezTo>
                <a:cubicBezTo>
                  <a:pt x="18293" y="430013"/>
                  <a:pt x="26126" y="381610"/>
                  <a:pt x="40808" y="334388"/>
                </a:cubicBezTo>
                <a:cubicBezTo>
                  <a:pt x="48208" y="310588"/>
                  <a:pt x="55162" y="286441"/>
                  <a:pt x="65171" y="263707"/>
                </a:cubicBezTo>
                <a:cubicBezTo>
                  <a:pt x="81946" y="225606"/>
                  <a:pt x="106517" y="193071"/>
                  <a:pt x="142827" y="171003"/>
                </a:cubicBezTo>
                <a:cubicBezTo>
                  <a:pt x="152238" y="165283"/>
                  <a:pt x="162401" y="160787"/>
                  <a:pt x="172290" y="155872"/>
                </a:cubicBezTo>
                <a:cubicBezTo>
                  <a:pt x="177784" y="153142"/>
                  <a:pt x="183393" y="150635"/>
                  <a:pt x="189008" y="148158"/>
                </a:cubicBezTo>
                <a:cubicBezTo>
                  <a:pt x="199487" y="143534"/>
                  <a:pt x="207598" y="136426"/>
                  <a:pt x="212828" y="126123"/>
                </a:cubicBezTo>
                <a:cubicBezTo>
                  <a:pt x="214121" y="123575"/>
                  <a:pt x="215966" y="121304"/>
                  <a:pt x="217217" y="118740"/>
                </a:cubicBezTo>
                <a:cubicBezTo>
                  <a:pt x="224688" y="103433"/>
                  <a:pt x="237053" y="93440"/>
                  <a:pt x="253000" y="88998"/>
                </a:cubicBezTo>
                <a:cubicBezTo>
                  <a:pt x="275818" y="82642"/>
                  <a:pt x="299033" y="77711"/>
                  <a:pt x="322085" y="72193"/>
                </a:cubicBezTo>
                <a:cubicBezTo>
                  <a:pt x="324867" y="71527"/>
                  <a:pt x="327694" y="71045"/>
                  <a:pt x="330478" y="70387"/>
                </a:cubicBezTo>
                <a:cubicBezTo>
                  <a:pt x="364731" y="62297"/>
                  <a:pt x="364569" y="62151"/>
                  <a:pt x="388016" y="35457"/>
                </a:cubicBezTo>
                <a:cubicBezTo>
                  <a:pt x="398189" y="23875"/>
                  <a:pt x="409180" y="13010"/>
                  <a:pt x="421527" y="0"/>
                </a:cubicBezTo>
                <a:cubicBezTo>
                  <a:pt x="423000" y="5190"/>
                  <a:pt x="424219" y="7961"/>
                  <a:pt x="424538" y="10833"/>
                </a:cubicBezTo>
                <a:cubicBezTo>
                  <a:pt x="428638" y="47817"/>
                  <a:pt x="433030" y="84779"/>
                  <a:pt x="436339" y="121836"/>
                </a:cubicBezTo>
                <a:cubicBezTo>
                  <a:pt x="437236" y="131893"/>
                  <a:pt x="441545" y="137271"/>
                  <a:pt x="449983" y="141450"/>
                </a:cubicBezTo>
                <a:cubicBezTo>
                  <a:pt x="467954" y="150348"/>
                  <a:pt x="486187" y="158915"/>
                  <a:pt x="503299" y="169290"/>
                </a:cubicBezTo>
                <a:cubicBezTo>
                  <a:pt x="520041" y="179441"/>
                  <a:pt x="535883" y="191197"/>
                  <a:pt x="551461" y="203111"/>
                </a:cubicBezTo>
                <a:cubicBezTo>
                  <a:pt x="568416" y="216079"/>
                  <a:pt x="579195" y="234146"/>
                  <a:pt x="588803" y="252797"/>
                </a:cubicBezTo>
                <a:cubicBezTo>
                  <a:pt x="602134" y="278677"/>
                  <a:pt x="616556" y="303835"/>
                  <a:pt x="634209" y="327081"/>
                </a:cubicBezTo>
                <a:cubicBezTo>
                  <a:pt x="651797" y="350241"/>
                  <a:pt x="673980" y="368103"/>
                  <a:pt x="697923" y="384157"/>
                </a:cubicBezTo>
                <a:cubicBezTo>
                  <a:pt x="708787" y="391441"/>
                  <a:pt x="719007" y="399678"/>
                  <a:pt x="729658" y="407288"/>
                </a:cubicBezTo>
                <a:cubicBezTo>
                  <a:pt x="751657" y="423004"/>
                  <a:pt x="761259" y="445265"/>
                  <a:pt x="763354" y="471325"/>
                </a:cubicBezTo>
                <a:cubicBezTo>
                  <a:pt x="764877" y="490275"/>
                  <a:pt x="762919" y="509064"/>
                  <a:pt x="757092" y="527116"/>
                </a:cubicBezTo>
                <a:cubicBezTo>
                  <a:pt x="750932" y="546198"/>
                  <a:pt x="738296" y="560266"/>
                  <a:pt x="720673" y="570023"/>
                </a:cubicBezTo>
                <a:cubicBezTo>
                  <a:pt x="715048" y="573138"/>
                  <a:pt x="709487" y="576825"/>
                  <a:pt x="704918" y="581294"/>
                </a:cubicBezTo>
                <a:cubicBezTo>
                  <a:pt x="695625" y="590383"/>
                  <a:pt x="684728" y="595697"/>
                  <a:pt x="671960" y="595325"/>
                </a:cubicBezTo>
                <a:cubicBezTo>
                  <a:pt x="658939" y="594945"/>
                  <a:pt x="645743" y="594018"/>
                  <a:pt x="633021" y="591397"/>
                </a:cubicBezTo>
                <a:cubicBezTo>
                  <a:pt x="611233" y="586907"/>
                  <a:pt x="595034" y="572939"/>
                  <a:pt x="580696" y="556742"/>
                </a:cubicBezTo>
                <a:cubicBezTo>
                  <a:pt x="570081" y="544750"/>
                  <a:pt x="559052" y="533306"/>
                  <a:pt x="545415" y="524617"/>
                </a:cubicBezTo>
                <a:cubicBezTo>
                  <a:pt x="537261" y="519422"/>
                  <a:pt x="528551" y="515996"/>
                  <a:pt x="518889" y="516179"/>
                </a:cubicBezTo>
                <a:cubicBezTo>
                  <a:pt x="503357" y="516473"/>
                  <a:pt x="487839" y="517663"/>
                  <a:pt x="472309" y="517812"/>
                </a:cubicBezTo>
                <a:cubicBezTo>
                  <a:pt x="453527" y="517993"/>
                  <a:pt x="434738" y="517514"/>
                  <a:pt x="415953" y="517245"/>
                </a:cubicBezTo>
                <a:cubicBezTo>
                  <a:pt x="411976" y="517189"/>
                  <a:pt x="408003" y="516808"/>
                  <a:pt x="403392" y="516539"/>
                </a:cubicBezTo>
                <a:cubicBezTo>
                  <a:pt x="401207" y="526363"/>
                  <a:pt x="404857" y="534293"/>
                  <a:pt x="407957" y="542045"/>
                </a:cubicBezTo>
                <a:cubicBezTo>
                  <a:pt x="414092" y="557387"/>
                  <a:pt x="423168" y="571042"/>
                  <a:pt x="434134" y="583349"/>
                </a:cubicBezTo>
                <a:cubicBezTo>
                  <a:pt x="464083" y="616959"/>
                  <a:pt x="493980" y="650618"/>
                  <a:pt x="524267" y="683922"/>
                </a:cubicBezTo>
                <a:cubicBezTo>
                  <a:pt x="554818" y="717518"/>
                  <a:pt x="588291" y="748619"/>
                  <a:pt x="614317" y="786085"/>
                </a:cubicBezTo>
                <a:cubicBezTo>
                  <a:pt x="642656" y="826881"/>
                  <a:pt x="663974" y="871159"/>
                  <a:pt x="669590" y="921089"/>
                </a:cubicBezTo>
                <a:cubicBezTo>
                  <a:pt x="674894" y="968240"/>
                  <a:pt x="669774" y="1014226"/>
                  <a:pt x="647360" y="1057245"/>
                </a:cubicBezTo>
                <a:cubicBezTo>
                  <a:pt x="639830" y="1071697"/>
                  <a:pt x="630533" y="1085565"/>
                  <a:pt x="627872" y="1102111"/>
                </a:cubicBezTo>
                <a:cubicBezTo>
                  <a:pt x="623640" y="1128439"/>
                  <a:pt x="626183" y="1153784"/>
                  <a:pt x="642300" y="1175941"/>
                </a:cubicBezTo>
                <a:cubicBezTo>
                  <a:pt x="650201" y="1186801"/>
                  <a:pt x="659595" y="1196636"/>
                  <a:pt x="668829" y="1206449"/>
                </a:cubicBezTo>
                <a:cubicBezTo>
                  <a:pt x="679770" y="1218075"/>
                  <a:pt x="691267" y="1229177"/>
                  <a:pt x="703087" y="1241174"/>
                </a:cubicBezTo>
                <a:moveTo>
                  <a:pt x="648750" y="562343"/>
                </a:moveTo>
                <a:cubicBezTo>
                  <a:pt x="656729" y="562558"/>
                  <a:pt x="664698" y="567407"/>
                  <a:pt x="674049" y="562834"/>
                </a:cubicBezTo>
                <a:cubicBezTo>
                  <a:pt x="668990" y="558037"/>
                  <a:pt x="664729" y="554259"/>
                  <a:pt x="660781" y="550178"/>
                </a:cubicBezTo>
                <a:cubicBezTo>
                  <a:pt x="656713" y="545973"/>
                  <a:pt x="651493" y="542363"/>
                  <a:pt x="650911" y="534051"/>
                </a:cubicBezTo>
                <a:cubicBezTo>
                  <a:pt x="654940" y="535536"/>
                  <a:pt x="657753" y="536907"/>
                  <a:pt x="660724" y="537605"/>
                </a:cubicBezTo>
                <a:cubicBezTo>
                  <a:pt x="669824" y="539743"/>
                  <a:pt x="678915" y="542853"/>
                  <a:pt x="688133" y="543363"/>
                </a:cubicBezTo>
                <a:cubicBezTo>
                  <a:pt x="712019" y="544686"/>
                  <a:pt x="726964" y="534053"/>
                  <a:pt x="731514" y="510767"/>
                </a:cubicBezTo>
                <a:cubicBezTo>
                  <a:pt x="734296" y="496535"/>
                  <a:pt x="734146" y="481511"/>
                  <a:pt x="733611" y="466905"/>
                </a:cubicBezTo>
                <a:cubicBezTo>
                  <a:pt x="732951" y="448863"/>
                  <a:pt x="723348" y="435653"/>
                  <a:pt x="708076" y="425975"/>
                </a:cubicBezTo>
                <a:cubicBezTo>
                  <a:pt x="694258" y="417218"/>
                  <a:pt x="681056" y="407489"/>
                  <a:pt x="667538" y="398254"/>
                </a:cubicBezTo>
                <a:cubicBezTo>
                  <a:pt x="641278" y="380314"/>
                  <a:pt x="617580" y="359743"/>
                  <a:pt x="601016" y="332127"/>
                </a:cubicBezTo>
                <a:cubicBezTo>
                  <a:pt x="588810" y="311778"/>
                  <a:pt x="576093" y="291645"/>
                  <a:pt x="565354" y="270526"/>
                </a:cubicBezTo>
                <a:cubicBezTo>
                  <a:pt x="548401" y="237186"/>
                  <a:pt x="523821" y="212104"/>
                  <a:pt x="490657" y="195121"/>
                </a:cubicBezTo>
                <a:cubicBezTo>
                  <a:pt x="471346" y="185231"/>
                  <a:pt x="452394" y="174606"/>
                  <a:pt x="432834" y="165243"/>
                </a:cubicBezTo>
                <a:cubicBezTo>
                  <a:pt x="416725" y="157532"/>
                  <a:pt x="408325" y="145526"/>
                  <a:pt x="407594" y="127852"/>
                </a:cubicBezTo>
                <a:cubicBezTo>
                  <a:pt x="406783" y="108242"/>
                  <a:pt x="405935" y="88634"/>
                  <a:pt x="405020" y="69029"/>
                </a:cubicBezTo>
                <a:cubicBezTo>
                  <a:pt x="404882" y="66067"/>
                  <a:pt x="404287" y="63127"/>
                  <a:pt x="403638" y="58130"/>
                </a:cubicBezTo>
                <a:cubicBezTo>
                  <a:pt x="381792" y="82321"/>
                  <a:pt x="361650" y="104820"/>
                  <a:pt x="349776" y="133259"/>
                </a:cubicBezTo>
                <a:cubicBezTo>
                  <a:pt x="345032" y="144621"/>
                  <a:pt x="337822" y="153814"/>
                  <a:pt x="326975" y="159669"/>
                </a:cubicBezTo>
                <a:cubicBezTo>
                  <a:pt x="295461" y="176681"/>
                  <a:pt x="266610" y="197333"/>
                  <a:pt x="240374" y="221714"/>
                </a:cubicBezTo>
                <a:cubicBezTo>
                  <a:pt x="212881" y="247263"/>
                  <a:pt x="188313" y="275340"/>
                  <a:pt x="171637" y="309087"/>
                </a:cubicBezTo>
                <a:cubicBezTo>
                  <a:pt x="139180" y="374765"/>
                  <a:pt x="129692" y="444532"/>
                  <a:pt x="138048" y="516954"/>
                </a:cubicBezTo>
                <a:cubicBezTo>
                  <a:pt x="142936" y="559318"/>
                  <a:pt x="152518" y="600762"/>
                  <a:pt x="163889" y="641780"/>
                </a:cubicBezTo>
                <a:cubicBezTo>
                  <a:pt x="177329" y="690261"/>
                  <a:pt x="191989" y="738413"/>
                  <a:pt x="204800" y="787055"/>
                </a:cubicBezTo>
                <a:cubicBezTo>
                  <a:pt x="218820" y="840287"/>
                  <a:pt x="228587" y="894088"/>
                  <a:pt x="218549" y="949545"/>
                </a:cubicBezTo>
                <a:cubicBezTo>
                  <a:pt x="213279" y="978659"/>
                  <a:pt x="207130" y="1007359"/>
                  <a:pt x="191487" y="1033064"/>
                </a:cubicBezTo>
                <a:cubicBezTo>
                  <a:pt x="190499" y="1034686"/>
                  <a:pt x="190018" y="1036618"/>
                  <a:pt x="188729" y="1039835"/>
                </a:cubicBezTo>
                <a:cubicBezTo>
                  <a:pt x="200470" y="1040170"/>
                  <a:pt x="210952" y="1040298"/>
                  <a:pt x="221417" y="1040799"/>
                </a:cubicBezTo>
                <a:cubicBezTo>
                  <a:pt x="263912" y="1042835"/>
                  <a:pt x="306390" y="1046436"/>
                  <a:pt x="348895" y="1046759"/>
                </a:cubicBezTo>
                <a:cubicBezTo>
                  <a:pt x="414380" y="1047258"/>
                  <a:pt x="479896" y="1046092"/>
                  <a:pt x="545369" y="1044456"/>
                </a:cubicBezTo>
                <a:cubicBezTo>
                  <a:pt x="567764" y="1043897"/>
                  <a:pt x="590066" y="1039744"/>
                  <a:pt x="612424" y="1037365"/>
                </a:cubicBezTo>
                <a:cubicBezTo>
                  <a:pt x="617948" y="1036777"/>
                  <a:pt x="621342" y="1034139"/>
                  <a:pt x="623169" y="1028873"/>
                </a:cubicBezTo>
                <a:cubicBezTo>
                  <a:pt x="630975" y="1006370"/>
                  <a:pt x="637026" y="983472"/>
                  <a:pt x="638508" y="959599"/>
                </a:cubicBezTo>
                <a:cubicBezTo>
                  <a:pt x="641131" y="917363"/>
                  <a:pt x="628970" y="878727"/>
                  <a:pt x="609213" y="842075"/>
                </a:cubicBezTo>
                <a:cubicBezTo>
                  <a:pt x="587874" y="802491"/>
                  <a:pt x="559403" y="768169"/>
                  <a:pt x="529367" y="735065"/>
                </a:cubicBezTo>
                <a:cubicBezTo>
                  <a:pt x="487563" y="688992"/>
                  <a:pt x="445474" y="643176"/>
                  <a:pt x="403792" y="596993"/>
                </a:cubicBezTo>
                <a:cubicBezTo>
                  <a:pt x="380393" y="571066"/>
                  <a:pt x="360083" y="542922"/>
                  <a:pt x="344708" y="511366"/>
                </a:cubicBezTo>
                <a:cubicBezTo>
                  <a:pt x="324385" y="469655"/>
                  <a:pt x="317321" y="425966"/>
                  <a:pt x="324464" y="380084"/>
                </a:cubicBezTo>
                <a:cubicBezTo>
                  <a:pt x="324821" y="377789"/>
                  <a:pt x="326581" y="375713"/>
                  <a:pt x="327688" y="373535"/>
                </a:cubicBezTo>
                <a:cubicBezTo>
                  <a:pt x="328570" y="373570"/>
                  <a:pt x="329452" y="373606"/>
                  <a:pt x="330334" y="373641"/>
                </a:cubicBezTo>
                <a:cubicBezTo>
                  <a:pt x="331649" y="377308"/>
                  <a:pt x="333001" y="380963"/>
                  <a:pt x="334272" y="384645"/>
                </a:cubicBezTo>
                <a:cubicBezTo>
                  <a:pt x="342569" y="408660"/>
                  <a:pt x="351164" y="432573"/>
                  <a:pt x="365260" y="453955"/>
                </a:cubicBezTo>
                <a:cubicBezTo>
                  <a:pt x="375537" y="469544"/>
                  <a:pt x="388811" y="481767"/>
                  <a:pt x="408246" y="483592"/>
                </a:cubicBezTo>
                <a:cubicBezTo>
                  <a:pt x="426928" y="485346"/>
                  <a:pt x="445757" y="486037"/>
                  <a:pt x="464529" y="486187"/>
                </a:cubicBezTo>
                <a:cubicBezTo>
                  <a:pt x="480053" y="486311"/>
                  <a:pt x="495582" y="484792"/>
                  <a:pt x="511119" y="484308"/>
                </a:cubicBezTo>
                <a:cubicBezTo>
                  <a:pt x="532443" y="483644"/>
                  <a:pt x="551690" y="490014"/>
                  <a:pt x="567913" y="503736"/>
                </a:cubicBezTo>
                <a:cubicBezTo>
                  <a:pt x="581642" y="515348"/>
                  <a:pt x="594604" y="527888"/>
                  <a:pt x="607611" y="540326"/>
                </a:cubicBezTo>
                <a:cubicBezTo>
                  <a:pt x="618811" y="551038"/>
                  <a:pt x="631177" y="559300"/>
                  <a:pt x="648750" y="562343"/>
                </a:cubicBezTo>
                <a:moveTo>
                  <a:pt x="462594" y="1369008"/>
                </a:moveTo>
                <a:cubicBezTo>
                  <a:pt x="478517" y="1368137"/>
                  <a:pt x="494449" y="1367429"/>
                  <a:pt x="510357" y="1366345"/>
                </a:cubicBezTo>
                <a:cubicBezTo>
                  <a:pt x="523399" y="1365456"/>
                  <a:pt x="536424" y="1364247"/>
                  <a:pt x="549434" y="1362956"/>
                </a:cubicBezTo>
                <a:cubicBezTo>
                  <a:pt x="577089" y="1360213"/>
                  <a:pt x="604749" y="1357503"/>
                  <a:pt x="632369" y="1354439"/>
                </a:cubicBezTo>
                <a:cubicBezTo>
                  <a:pt x="653805" y="1352062"/>
                  <a:pt x="675183" y="1349170"/>
                  <a:pt x="697252" y="1346424"/>
                </a:cubicBezTo>
                <a:cubicBezTo>
                  <a:pt x="701148" y="1316348"/>
                  <a:pt x="695768" y="1289474"/>
                  <a:pt x="676674" y="1266396"/>
                </a:cubicBezTo>
                <a:cubicBezTo>
                  <a:pt x="667313" y="1255080"/>
                  <a:pt x="656878" y="1244625"/>
                  <a:pt x="646594" y="1234108"/>
                </a:cubicBezTo>
                <a:cubicBezTo>
                  <a:pt x="634298" y="1221533"/>
                  <a:pt x="621353" y="1209623"/>
                  <a:pt x="612063" y="1194382"/>
                </a:cubicBezTo>
                <a:cubicBezTo>
                  <a:pt x="596511" y="1168867"/>
                  <a:pt x="588079" y="1141707"/>
                  <a:pt x="591616" y="1111541"/>
                </a:cubicBezTo>
                <a:cubicBezTo>
                  <a:pt x="592450" y="1104432"/>
                  <a:pt x="593365" y="1097332"/>
                  <a:pt x="594320" y="1089609"/>
                </a:cubicBezTo>
                <a:cubicBezTo>
                  <a:pt x="588294" y="1089609"/>
                  <a:pt x="583452" y="1089392"/>
                  <a:pt x="578634" y="1089642"/>
                </a:cubicBezTo>
                <a:cubicBezTo>
                  <a:pt x="533732" y="1091976"/>
                  <a:pt x="488841" y="1094525"/>
                  <a:pt x="443931" y="1096700"/>
                </a:cubicBezTo>
                <a:cubicBezTo>
                  <a:pt x="430451" y="1097353"/>
                  <a:pt x="416923" y="1097005"/>
                  <a:pt x="403417" y="1097156"/>
                </a:cubicBezTo>
                <a:cubicBezTo>
                  <a:pt x="389337" y="1097313"/>
                  <a:pt x="388961" y="1097850"/>
                  <a:pt x="388348" y="1111502"/>
                </a:cubicBezTo>
                <a:cubicBezTo>
                  <a:pt x="387375" y="1133151"/>
                  <a:pt x="386231" y="1154793"/>
                  <a:pt x="385048" y="1176431"/>
                </a:cubicBezTo>
                <a:cubicBezTo>
                  <a:pt x="382637" y="1220514"/>
                  <a:pt x="380158" y="1264593"/>
                  <a:pt x="377687" y="1308672"/>
                </a:cubicBezTo>
                <a:cubicBezTo>
                  <a:pt x="377458" y="1312751"/>
                  <a:pt x="376852" y="1316821"/>
                  <a:pt x="376823" y="1320897"/>
                </a:cubicBezTo>
                <a:cubicBezTo>
                  <a:pt x="376717" y="1335880"/>
                  <a:pt x="376781" y="1350864"/>
                  <a:pt x="376781" y="1366151"/>
                </a:cubicBezTo>
                <a:cubicBezTo>
                  <a:pt x="404707" y="1370397"/>
                  <a:pt x="432477" y="1369351"/>
                  <a:pt x="462594" y="1369008"/>
                </a:cubicBezTo>
                <a:moveTo>
                  <a:pt x="648494" y="1463981"/>
                </a:moveTo>
                <a:cubicBezTo>
                  <a:pt x="671329" y="1460052"/>
                  <a:pt x="694163" y="1456122"/>
                  <a:pt x="718746" y="1451892"/>
                </a:cubicBezTo>
                <a:cubicBezTo>
                  <a:pt x="716257" y="1439067"/>
                  <a:pt x="714578" y="1427816"/>
                  <a:pt x="711827" y="1416835"/>
                </a:cubicBezTo>
                <a:cubicBezTo>
                  <a:pt x="707611" y="1400009"/>
                  <a:pt x="703502" y="1397423"/>
                  <a:pt x="685812" y="1398502"/>
                </a:cubicBezTo>
                <a:cubicBezTo>
                  <a:pt x="684179" y="1398602"/>
                  <a:pt x="682547" y="1398768"/>
                  <a:pt x="680924" y="1398973"/>
                </a:cubicBezTo>
                <a:cubicBezTo>
                  <a:pt x="653380" y="1402446"/>
                  <a:pt x="625911" y="1406752"/>
                  <a:pt x="598278" y="1409218"/>
                </a:cubicBezTo>
                <a:cubicBezTo>
                  <a:pt x="557171" y="1412886"/>
                  <a:pt x="515983" y="1415946"/>
                  <a:pt x="474765" y="1417945"/>
                </a:cubicBezTo>
                <a:cubicBezTo>
                  <a:pt x="444944" y="1419391"/>
                  <a:pt x="415021" y="1418680"/>
                  <a:pt x="385143" y="1418978"/>
                </a:cubicBezTo>
                <a:cubicBezTo>
                  <a:pt x="382419" y="1419005"/>
                  <a:pt x="379697" y="1419376"/>
                  <a:pt x="376639" y="1419613"/>
                </a:cubicBezTo>
                <a:cubicBezTo>
                  <a:pt x="376639" y="1438152"/>
                  <a:pt x="376639" y="1455909"/>
                  <a:pt x="376639" y="1473939"/>
                </a:cubicBezTo>
                <a:cubicBezTo>
                  <a:pt x="378971" y="1474343"/>
                  <a:pt x="380523" y="1474802"/>
                  <a:pt x="382089" y="1474854"/>
                </a:cubicBezTo>
                <a:cubicBezTo>
                  <a:pt x="404571" y="1475605"/>
                  <a:pt x="427058" y="1476986"/>
                  <a:pt x="449536" y="1476855"/>
                </a:cubicBezTo>
                <a:cubicBezTo>
                  <a:pt x="486344" y="1476639"/>
                  <a:pt x="523207" y="1476480"/>
                  <a:pt x="559930" y="1474307"/>
                </a:cubicBezTo>
                <a:cubicBezTo>
                  <a:pt x="588839" y="1472596"/>
                  <a:pt x="617570" y="1467884"/>
                  <a:pt x="648494" y="1463981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14" name="Free-form: Shape 4013">
            <a:extLst>
              <a:ext uri="{FF2B5EF4-FFF2-40B4-BE49-F238E27FC236}">
                <a16:creationId xmlns:a16="http://schemas.microsoft.com/office/drawing/2014/main" id="{8DD42016-7EA5-8253-434A-8E11ED26D62B}"/>
              </a:ext>
            </a:extLst>
          </p:cNvPr>
          <p:cNvSpPr/>
          <p:nvPr/>
        </p:nvSpPr>
        <p:spPr>
          <a:xfrm>
            <a:off x="10006333" y="3500097"/>
            <a:ext cx="497703" cy="821885"/>
          </a:xfrm>
          <a:custGeom>
            <a:avLst/>
            <a:gdLst>
              <a:gd name="csX0" fmla="*/ 512604 w 598747"/>
              <a:gd name="csY0" fmla="*/ 503918 h 988745"/>
              <a:gd name="csX1" fmla="*/ 472435 w 598747"/>
              <a:gd name="csY1" fmla="*/ 482196 h 988745"/>
              <a:gd name="csX2" fmla="*/ 432737 w 598747"/>
              <a:gd name="csY2" fmla="*/ 445605 h 988745"/>
              <a:gd name="csX3" fmla="*/ 375943 w 598747"/>
              <a:gd name="csY3" fmla="*/ 426178 h 988745"/>
              <a:gd name="csX4" fmla="*/ 329354 w 598747"/>
              <a:gd name="csY4" fmla="*/ 428057 h 988745"/>
              <a:gd name="csX5" fmla="*/ 273070 w 598747"/>
              <a:gd name="csY5" fmla="*/ 425461 h 988745"/>
              <a:gd name="csX6" fmla="*/ 230084 w 598747"/>
              <a:gd name="csY6" fmla="*/ 395825 h 988745"/>
              <a:gd name="csX7" fmla="*/ 199097 w 598747"/>
              <a:gd name="csY7" fmla="*/ 326515 h 988745"/>
              <a:gd name="csX8" fmla="*/ 195158 w 598747"/>
              <a:gd name="csY8" fmla="*/ 315511 h 988745"/>
              <a:gd name="csX9" fmla="*/ 192512 w 598747"/>
              <a:gd name="csY9" fmla="*/ 315405 h 988745"/>
              <a:gd name="csX10" fmla="*/ 189288 w 598747"/>
              <a:gd name="csY10" fmla="*/ 321954 h 988745"/>
              <a:gd name="csX11" fmla="*/ 209532 w 598747"/>
              <a:gd name="csY11" fmla="*/ 453235 h 988745"/>
              <a:gd name="csX12" fmla="*/ 268616 w 598747"/>
              <a:gd name="csY12" fmla="*/ 538863 h 988745"/>
              <a:gd name="csX13" fmla="*/ 394191 w 598747"/>
              <a:gd name="csY13" fmla="*/ 676935 h 988745"/>
              <a:gd name="csX14" fmla="*/ 474037 w 598747"/>
              <a:gd name="csY14" fmla="*/ 783945 h 988745"/>
              <a:gd name="csX15" fmla="*/ 503332 w 598747"/>
              <a:gd name="csY15" fmla="*/ 901469 h 988745"/>
              <a:gd name="csX16" fmla="*/ 487993 w 598747"/>
              <a:gd name="csY16" fmla="*/ 970743 h 988745"/>
              <a:gd name="csX17" fmla="*/ 477248 w 598747"/>
              <a:gd name="csY17" fmla="*/ 979235 h 988745"/>
              <a:gd name="csX18" fmla="*/ 410194 w 598747"/>
              <a:gd name="csY18" fmla="*/ 986326 h 988745"/>
              <a:gd name="csX19" fmla="*/ 213720 w 598747"/>
              <a:gd name="csY19" fmla="*/ 988629 h 988745"/>
              <a:gd name="csX20" fmla="*/ 86242 w 598747"/>
              <a:gd name="csY20" fmla="*/ 982669 h 988745"/>
              <a:gd name="csX21" fmla="*/ 53553 w 598747"/>
              <a:gd name="csY21" fmla="*/ 981705 h 988745"/>
              <a:gd name="csX22" fmla="*/ 56311 w 598747"/>
              <a:gd name="csY22" fmla="*/ 974933 h 988745"/>
              <a:gd name="csX23" fmla="*/ 83373 w 598747"/>
              <a:gd name="csY23" fmla="*/ 891414 h 988745"/>
              <a:gd name="csX24" fmla="*/ 69625 w 598747"/>
              <a:gd name="csY24" fmla="*/ 728925 h 988745"/>
              <a:gd name="csX25" fmla="*/ 28713 w 598747"/>
              <a:gd name="csY25" fmla="*/ 583650 h 988745"/>
              <a:gd name="csX26" fmla="*/ 2872 w 598747"/>
              <a:gd name="csY26" fmla="*/ 458823 h 988745"/>
              <a:gd name="csX27" fmla="*/ 36461 w 598747"/>
              <a:gd name="csY27" fmla="*/ 250957 h 988745"/>
              <a:gd name="csX28" fmla="*/ 105198 w 598747"/>
              <a:gd name="csY28" fmla="*/ 163584 h 988745"/>
              <a:gd name="csX29" fmla="*/ 191800 w 598747"/>
              <a:gd name="csY29" fmla="*/ 101539 h 988745"/>
              <a:gd name="csX30" fmla="*/ 214600 w 598747"/>
              <a:gd name="csY30" fmla="*/ 75129 h 988745"/>
              <a:gd name="csX31" fmla="*/ 268462 w 598747"/>
              <a:gd name="csY31" fmla="*/ 0 h 988745"/>
              <a:gd name="csX32" fmla="*/ 269844 w 598747"/>
              <a:gd name="csY32" fmla="*/ 10898 h 988745"/>
              <a:gd name="csX33" fmla="*/ 272418 w 598747"/>
              <a:gd name="csY33" fmla="*/ 69722 h 988745"/>
              <a:gd name="csX34" fmla="*/ 297658 w 598747"/>
              <a:gd name="csY34" fmla="*/ 107113 h 988745"/>
              <a:gd name="csX35" fmla="*/ 355481 w 598747"/>
              <a:gd name="csY35" fmla="*/ 136991 h 988745"/>
              <a:gd name="csX36" fmla="*/ 430178 w 598747"/>
              <a:gd name="csY36" fmla="*/ 212396 h 988745"/>
              <a:gd name="csX37" fmla="*/ 465840 w 598747"/>
              <a:gd name="csY37" fmla="*/ 273997 h 988745"/>
              <a:gd name="csX38" fmla="*/ 532362 w 598747"/>
              <a:gd name="csY38" fmla="*/ 340124 h 988745"/>
              <a:gd name="csX39" fmla="*/ 572901 w 598747"/>
              <a:gd name="csY39" fmla="*/ 367845 h 988745"/>
              <a:gd name="csX40" fmla="*/ 598436 w 598747"/>
              <a:gd name="csY40" fmla="*/ 408775 h 988745"/>
              <a:gd name="csX41" fmla="*/ 596339 w 598747"/>
              <a:gd name="csY41" fmla="*/ 452637 h 988745"/>
              <a:gd name="csX42" fmla="*/ 552957 w 598747"/>
              <a:gd name="csY42" fmla="*/ 485233 h 988745"/>
              <a:gd name="csX43" fmla="*/ 525548 w 598747"/>
              <a:gd name="csY43" fmla="*/ 479475 h 988745"/>
              <a:gd name="csX44" fmla="*/ 515736 w 598747"/>
              <a:gd name="csY44" fmla="*/ 475921 h 988745"/>
              <a:gd name="csX45" fmla="*/ 525605 w 598747"/>
              <a:gd name="csY45" fmla="*/ 492048 h 988745"/>
              <a:gd name="csX46" fmla="*/ 538873 w 598747"/>
              <a:gd name="csY46" fmla="*/ 504704 h 988745"/>
              <a:gd name="csX47" fmla="*/ 512604 w 598747"/>
              <a:gd name="csY47" fmla="*/ 503918 h 988745"/>
              <a:gd name="csX48" fmla="*/ 332072 w 598747"/>
              <a:gd name="csY48" fmla="*/ 218143 h 988745"/>
              <a:gd name="csX49" fmla="*/ 334388 w 598747"/>
              <a:gd name="csY49" fmla="*/ 226400 h 988745"/>
              <a:gd name="csX50" fmla="*/ 372370 w 598747"/>
              <a:gd name="csY50" fmla="*/ 254505 h 988745"/>
              <a:gd name="csX51" fmla="*/ 405258 w 598747"/>
              <a:gd name="csY51" fmla="*/ 252089 h 988745"/>
              <a:gd name="csX52" fmla="*/ 409167 w 598747"/>
              <a:gd name="csY52" fmla="*/ 244359 h 988745"/>
              <a:gd name="csX53" fmla="*/ 396364 w 598747"/>
              <a:gd name="csY53" fmla="*/ 219471 h 988745"/>
              <a:gd name="csX54" fmla="*/ 365755 w 598747"/>
              <a:gd name="csY54" fmla="*/ 195821 h 988745"/>
              <a:gd name="csX55" fmla="*/ 333572 w 598747"/>
              <a:gd name="csY55" fmla="*/ 188536 h 988745"/>
              <a:gd name="csX56" fmla="*/ 322931 w 598747"/>
              <a:gd name="csY56" fmla="*/ 190843 h 988745"/>
              <a:gd name="csX57" fmla="*/ 329041 w 598747"/>
              <a:gd name="csY57" fmla="*/ 203001 h 988745"/>
              <a:gd name="csX58" fmla="*/ 332072 w 598747"/>
              <a:gd name="csY58" fmla="*/ 218143 h 98874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</a:cxnLst>
            <a:rect l="l" t="t" r="r" b="b"/>
            <a:pathLst>
              <a:path w="598747" h="988745">
                <a:moveTo>
                  <a:pt x="512604" y="503918"/>
                </a:moveTo>
                <a:cubicBezTo>
                  <a:pt x="496002" y="501170"/>
                  <a:pt x="483635" y="492907"/>
                  <a:pt x="472435" y="482196"/>
                </a:cubicBezTo>
                <a:cubicBezTo>
                  <a:pt x="459429" y="469758"/>
                  <a:pt x="446467" y="457218"/>
                  <a:pt x="432737" y="445605"/>
                </a:cubicBezTo>
                <a:cubicBezTo>
                  <a:pt x="416514" y="431883"/>
                  <a:pt x="397267" y="425513"/>
                  <a:pt x="375943" y="426178"/>
                </a:cubicBezTo>
                <a:cubicBezTo>
                  <a:pt x="360407" y="426662"/>
                  <a:pt x="344877" y="428180"/>
                  <a:pt x="329354" y="428057"/>
                </a:cubicBezTo>
                <a:cubicBezTo>
                  <a:pt x="310581" y="427907"/>
                  <a:pt x="291752" y="427215"/>
                  <a:pt x="273070" y="425461"/>
                </a:cubicBezTo>
                <a:cubicBezTo>
                  <a:pt x="253636" y="423637"/>
                  <a:pt x="240361" y="411413"/>
                  <a:pt x="230084" y="395825"/>
                </a:cubicBezTo>
                <a:cubicBezTo>
                  <a:pt x="215988" y="374443"/>
                  <a:pt x="207393" y="350530"/>
                  <a:pt x="199097" y="326515"/>
                </a:cubicBezTo>
                <a:cubicBezTo>
                  <a:pt x="197825" y="322833"/>
                  <a:pt x="196473" y="319178"/>
                  <a:pt x="195158" y="315511"/>
                </a:cubicBezTo>
                <a:cubicBezTo>
                  <a:pt x="194276" y="315475"/>
                  <a:pt x="193394" y="315440"/>
                  <a:pt x="192512" y="315405"/>
                </a:cubicBezTo>
                <a:cubicBezTo>
                  <a:pt x="191405" y="317583"/>
                  <a:pt x="189646" y="319659"/>
                  <a:pt x="189288" y="321954"/>
                </a:cubicBezTo>
                <a:cubicBezTo>
                  <a:pt x="182145" y="367836"/>
                  <a:pt x="189209" y="411525"/>
                  <a:pt x="209532" y="453235"/>
                </a:cubicBezTo>
                <a:cubicBezTo>
                  <a:pt x="224908" y="484792"/>
                  <a:pt x="245217" y="512936"/>
                  <a:pt x="268616" y="538863"/>
                </a:cubicBezTo>
                <a:cubicBezTo>
                  <a:pt x="310298" y="585046"/>
                  <a:pt x="352387" y="630861"/>
                  <a:pt x="394191" y="676935"/>
                </a:cubicBezTo>
                <a:cubicBezTo>
                  <a:pt x="424227" y="710039"/>
                  <a:pt x="452698" y="744360"/>
                  <a:pt x="474037" y="783945"/>
                </a:cubicBezTo>
                <a:cubicBezTo>
                  <a:pt x="493795" y="820596"/>
                  <a:pt x="505956" y="859233"/>
                  <a:pt x="503332" y="901469"/>
                </a:cubicBezTo>
                <a:cubicBezTo>
                  <a:pt x="501850" y="925342"/>
                  <a:pt x="495799" y="948239"/>
                  <a:pt x="487993" y="970743"/>
                </a:cubicBezTo>
                <a:cubicBezTo>
                  <a:pt x="486166" y="976009"/>
                  <a:pt x="482772" y="978647"/>
                  <a:pt x="477248" y="979235"/>
                </a:cubicBezTo>
                <a:cubicBezTo>
                  <a:pt x="454890" y="981614"/>
                  <a:pt x="432589" y="985767"/>
                  <a:pt x="410194" y="986326"/>
                </a:cubicBezTo>
                <a:cubicBezTo>
                  <a:pt x="344720" y="987961"/>
                  <a:pt x="279205" y="989128"/>
                  <a:pt x="213720" y="988629"/>
                </a:cubicBezTo>
                <a:cubicBezTo>
                  <a:pt x="171215" y="988306"/>
                  <a:pt x="128736" y="984705"/>
                  <a:pt x="86242" y="982669"/>
                </a:cubicBezTo>
                <a:cubicBezTo>
                  <a:pt x="75776" y="982167"/>
                  <a:pt x="65294" y="982040"/>
                  <a:pt x="53553" y="981705"/>
                </a:cubicBezTo>
                <a:cubicBezTo>
                  <a:pt x="54842" y="978488"/>
                  <a:pt x="55323" y="976556"/>
                  <a:pt x="56311" y="974933"/>
                </a:cubicBezTo>
                <a:cubicBezTo>
                  <a:pt x="71955" y="949229"/>
                  <a:pt x="78103" y="920529"/>
                  <a:pt x="83373" y="891414"/>
                </a:cubicBezTo>
                <a:cubicBezTo>
                  <a:pt x="93411" y="835958"/>
                  <a:pt x="83645" y="782156"/>
                  <a:pt x="69625" y="728925"/>
                </a:cubicBezTo>
                <a:cubicBezTo>
                  <a:pt x="56813" y="680283"/>
                  <a:pt x="42153" y="632130"/>
                  <a:pt x="28713" y="583650"/>
                </a:cubicBezTo>
                <a:cubicBezTo>
                  <a:pt x="17342" y="542631"/>
                  <a:pt x="7760" y="501188"/>
                  <a:pt x="2872" y="458823"/>
                </a:cubicBezTo>
                <a:cubicBezTo>
                  <a:pt x="-5484" y="386401"/>
                  <a:pt x="4005" y="316635"/>
                  <a:pt x="36461" y="250957"/>
                </a:cubicBezTo>
                <a:cubicBezTo>
                  <a:pt x="53137" y="217210"/>
                  <a:pt x="77705" y="189133"/>
                  <a:pt x="105198" y="163584"/>
                </a:cubicBezTo>
                <a:cubicBezTo>
                  <a:pt x="131434" y="139203"/>
                  <a:pt x="160285" y="118551"/>
                  <a:pt x="191800" y="101539"/>
                </a:cubicBezTo>
                <a:cubicBezTo>
                  <a:pt x="202646" y="95684"/>
                  <a:pt x="209856" y="86491"/>
                  <a:pt x="214600" y="75129"/>
                </a:cubicBezTo>
                <a:cubicBezTo>
                  <a:pt x="226474" y="46689"/>
                  <a:pt x="246616" y="24191"/>
                  <a:pt x="268462" y="0"/>
                </a:cubicBezTo>
                <a:cubicBezTo>
                  <a:pt x="269111" y="4997"/>
                  <a:pt x="269706" y="7937"/>
                  <a:pt x="269844" y="10898"/>
                </a:cubicBezTo>
                <a:cubicBezTo>
                  <a:pt x="270760" y="30504"/>
                  <a:pt x="271607" y="50112"/>
                  <a:pt x="272418" y="69722"/>
                </a:cubicBezTo>
                <a:cubicBezTo>
                  <a:pt x="273150" y="87396"/>
                  <a:pt x="281549" y="99401"/>
                  <a:pt x="297658" y="107113"/>
                </a:cubicBezTo>
                <a:cubicBezTo>
                  <a:pt x="317218" y="116476"/>
                  <a:pt x="336170" y="127101"/>
                  <a:pt x="355481" y="136991"/>
                </a:cubicBezTo>
                <a:cubicBezTo>
                  <a:pt x="388645" y="153974"/>
                  <a:pt x="413226" y="179056"/>
                  <a:pt x="430178" y="212396"/>
                </a:cubicBezTo>
                <a:cubicBezTo>
                  <a:pt x="440917" y="233515"/>
                  <a:pt x="453634" y="253647"/>
                  <a:pt x="465840" y="273997"/>
                </a:cubicBezTo>
                <a:cubicBezTo>
                  <a:pt x="482404" y="301613"/>
                  <a:pt x="506102" y="322183"/>
                  <a:pt x="532362" y="340124"/>
                </a:cubicBezTo>
                <a:cubicBezTo>
                  <a:pt x="545881" y="349359"/>
                  <a:pt x="559082" y="359088"/>
                  <a:pt x="572901" y="367845"/>
                </a:cubicBezTo>
                <a:cubicBezTo>
                  <a:pt x="588172" y="377523"/>
                  <a:pt x="597775" y="390733"/>
                  <a:pt x="598436" y="408775"/>
                </a:cubicBezTo>
                <a:cubicBezTo>
                  <a:pt x="598970" y="423381"/>
                  <a:pt x="599120" y="438404"/>
                  <a:pt x="596339" y="452637"/>
                </a:cubicBezTo>
                <a:cubicBezTo>
                  <a:pt x="591789" y="475923"/>
                  <a:pt x="576843" y="486555"/>
                  <a:pt x="552957" y="485233"/>
                </a:cubicBezTo>
                <a:cubicBezTo>
                  <a:pt x="543740" y="484722"/>
                  <a:pt x="534648" y="481613"/>
                  <a:pt x="525548" y="479475"/>
                </a:cubicBezTo>
                <a:cubicBezTo>
                  <a:pt x="522577" y="478776"/>
                  <a:pt x="519764" y="477405"/>
                  <a:pt x="515736" y="475921"/>
                </a:cubicBezTo>
                <a:cubicBezTo>
                  <a:pt x="516318" y="484233"/>
                  <a:pt x="521537" y="487842"/>
                  <a:pt x="525605" y="492048"/>
                </a:cubicBezTo>
                <a:cubicBezTo>
                  <a:pt x="529554" y="496129"/>
                  <a:pt x="533815" y="499907"/>
                  <a:pt x="538873" y="504704"/>
                </a:cubicBezTo>
                <a:cubicBezTo>
                  <a:pt x="529522" y="509277"/>
                  <a:pt x="521553" y="504428"/>
                  <a:pt x="512604" y="503918"/>
                </a:cubicBezTo>
                <a:moveTo>
                  <a:pt x="332072" y="218143"/>
                </a:moveTo>
                <a:cubicBezTo>
                  <a:pt x="332837" y="220898"/>
                  <a:pt x="333478" y="223695"/>
                  <a:pt x="334388" y="226400"/>
                </a:cubicBezTo>
                <a:cubicBezTo>
                  <a:pt x="341073" y="246268"/>
                  <a:pt x="351614" y="254460"/>
                  <a:pt x="372370" y="254505"/>
                </a:cubicBezTo>
                <a:cubicBezTo>
                  <a:pt x="383333" y="254529"/>
                  <a:pt x="394312" y="253121"/>
                  <a:pt x="405258" y="252089"/>
                </a:cubicBezTo>
                <a:cubicBezTo>
                  <a:pt x="409961" y="251646"/>
                  <a:pt x="411340" y="248568"/>
                  <a:pt x="409167" y="244359"/>
                </a:cubicBezTo>
                <a:cubicBezTo>
                  <a:pt x="404885" y="236068"/>
                  <a:pt x="400139" y="227985"/>
                  <a:pt x="396364" y="219471"/>
                </a:cubicBezTo>
                <a:cubicBezTo>
                  <a:pt x="390350" y="205908"/>
                  <a:pt x="379963" y="198663"/>
                  <a:pt x="365755" y="195821"/>
                </a:cubicBezTo>
                <a:cubicBezTo>
                  <a:pt x="354973" y="193665"/>
                  <a:pt x="344291" y="191003"/>
                  <a:pt x="333572" y="188536"/>
                </a:cubicBezTo>
                <a:cubicBezTo>
                  <a:pt x="329511" y="187602"/>
                  <a:pt x="325579" y="187007"/>
                  <a:pt x="322931" y="190843"/>
                </a:cubicBezTo>
                <a:cubicBezTo>
                  <a:pt x="325138" y="195129"/>
                  <a:pt x="327613" y="198884"/>
                  <a:pt x="329041" y="203001"/>
                </a:cubicBezTo>
                <a:cubicBezTo>
                  <a:pt x="330500" y="207204"/>
                  <a:pt x="330929" y="211764"/>
                  <a:pt x="332072" y="218143"/>
                </a:cubicBezTo>
                <a:close/>
              </a:path>
            </a:pathLst>
          </a:custGeom>
          <a:solidFill>
            <a:srgbClr val="FEFEFE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15" name="Free-form: Shape 4014">
            <a:extLst>
              <a:ext uri="{FF2B5EF4-FFF2-40B4-BE49-F238E27FC236}">
                <a16:creationId xmlns:a16="http://schemas.microsoft.com/office/drawing/2014/main" id="{47690F7C-30FB-21A2-7FE8-5B65D6A59340}"/>
              </a:ext>
            </a:extLst>
          </p:cNvPr>
          <p:cNvSpPr/>
          <p:nvPr/>
        </p:nvSpPr>
        <p:spPr>
          <a:xfrm>
            <a:off x="10207149" y="4357432"/>
            <a:ext cx="267393" cy="232628"/>
          </a:xfrm>
          <a:custGeom>
            <a:avLst/>
            <a:gdLst>
              <a:gd name="csX0" fmla="*/ 84645 w 321679"/>
              <a:gd name="csY0" fmla="*/ 279507 h 279857"/>
              <a:gd name="csX1" fmla="*/ 19 w 321679"/>
              <a:gd name="csY1" fmla="*/ 276629 h 279857"/>
              <a:gd name="csX2" fmla="*/ 61 w 321679"/>
              <a:gd name="csY2" fmla="*/ 231376 h 279857"/>
              <a:gd name="csX3" fmla="*/ 925 w 321679"/>
              <a:gd name="csY3" fmla="*/ 219150 h 279857"/>
              <a:gd name="csX4" fmla="*/ 8286 w 321679"/>
              <a:gd name="csY4" fmla="*/ 86910 h 279857"/>
              <a:gd name="csX5" fmla="*/ 11586 w 321679"/>
              <a:gd name="csY5" fmla="*/ 21981 h 279857"/>
              <a:gd name="csX6" fmla="*/ 26655 w 321679"/>
              <a:gd name="csY6" fmla="*/ 7635 h 279857"/>
              <a:gd name="csX7" fmla="*/ 67169 w 321679"/>
              <a:gd name="csY7" fmla="*/ 7178 h 279857"/>
              <a:gd name="csX8" fmla="*/ 201872 w 321679"/>
              <a:gd name="csY8" fmla="*/ 121 h 279857"/>
              <a:gd name="csX9" fmla="*/ 217558 w 321679"/>
              <a:gd name="csY9" fmla="*/ 87 h 279857"/>
              <a:gd name="csX10" fmla="*/ 214854 w 321679"/>
              <a:gd name="csY10" fmla="*/ 22019 h 279857"/>
              <a:gd name="csX11" fmla="*/ 235301 w 321679"/>
              <a:gd name="csY11" fmla="*/ 104861 h 279857"/>
              <a:gd name="csX12" fmla="*/ 269832 w 321679"/>
              <a:gd name="csY12" fmla="*/ 144587 h 279857"/>
              <a:gd name="csX13" fmla="*/ 299912 w 321679"/>
              <a:gd name="csY13" fmla="*/ 176874 h 279857"/>
              <a:gd name="csX14" fmla="*/ 320491 w 321679"/>
              <a:gd name="csY14" fmla="*/ 256903 h 279857"/>
              <a:gd name="csX15" fmla="*/ 255607 w 321679"/>
              <a:gd name="csY15" fmla="*/ 264918 h 279857"/>
              <a:gd name="csX16" fmla="*/ 172672 w 321679"/>
              <a:gd name="csY16" fmla="*/ 273435 h 279857"/>
              <a:gd name="csX17" fmla="*/ 133595 w 321679"/>
              <a:gd name="csY17" fmla="*/ 276823 h 279857"/>
              <a:gd name="csX18" fmla="*/ 84645 w 321679"/>
              <a:gd name="csY18" fmla="*/ 279507 h 27985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</a:cxnLst>
            <a:rect l="l" t="t" r="r" b="b"/>
            <a:pathLst>
              <a:path w="321679" h="279857">
                <a:moveTo>
                  <a:pt x="84645" y="279507"/>
                </a:moveTo>
                <a:cubicBezTo>
                  <a:pt x="55716" y="279830"/>
                  <a:pt x="27945" y="280875"/>
                  <a:pt x="19" y="276629"/>
                </a:cubicBezTo>
                <a:cubicBezTo>
                  <a:pt x="19" y="261343"/>
                  <a:pt x="-45" y="246359"/>
                  <a:pt x="61" y="231376"/>
                </a:cubicBezTo>
                <a:cubicBezTo>
                  <a:pt x="90" y="227299"/>
                  <a:pt x="696" y="223229"/>
                  <a:pt x="925" y="219150"/>
                </a:cubicBezTo>
                <a:cubicBezTo>
                  <a:pt x="3396" y="175071"/>
                  <a:pt x="5876" y="130992"/>
                  <a:pt x="8286" y="86910"/>
                </a:cubicBezTo>
                <a:cubicBezTo>
                  <a:pt x="9469" y="65271"/>
                  <a:pt x="10613" y="43630"/>
                  <a:pt x="11586" y="21981"/>
                </a:cubicBezTo>
                <a:cubicBezTo>
                  <a:pt x="12199" y="8328"/>
                  <a:pt x="12576" y="7792"/>
                  <a:pt x="26655" y="7635"/>
                </a:cubicBezTo>
                <a:cubicBezTo>
                  <a:pt x="40161" y="7484"/>
                  <a:pt x="53689" y="7831"/>
                  <a:pt x="67169" y="7178"/>
                </a:cubicBezTo>
                <a:cubicBezTo>
                  <a:pt x="112079" y="5004"/>
                  <a:pt x="156970" y="2455"/>
                  <a:pt x="201872" y="121"/>
                </a:cubicBezTo>
                <a:cubicBezTo>
                  <a:pt x="206690" y="-130"/>
                  <a:pt x="211533" y="87"/>
                  <a:pt x="217558" y="87"/>
                </a:cubicBezTo>
                <a:cubicBezTo>
                  <a:pt x="216603" y="7811"/>
                  <a:pt x="215688" y="14910"/>
                  <a:pt x="214854" y="22019"/>
                </a:cubicBezTo>
                <a:cubicBezTo>
                  <a:pt x="211318" y="52185"/>
                  <a:pt x="219749" y="79345"/>
                  <a:pt x="235301" y="104861"/>
                </a:cubicBezTo>
                <a:cubicBezTo>
                  <a:pt x="244591" y="120102"/>
                  <a:pt x="257536" y="132012"/>
                  <a:pt x="269832" y="144587"/>
                </a:cubicBezTo>
                <a:cubicBezTo>
                  <a:pt x="280116" y="155103"/>
                  <a:pt x="290551" y="165559"/>
                  <a:pt x="299912" y="176874"/>
                </a:cubicBezTo>
                <a:cubicBezTo>
                  <a:pt x="319006" y="199953"/>
                  <a:pt x="324386" y="226827"/>
                  <a:pt x="320491" y="256903"/>
                </a:cubicBezTo>
                <a:cubicBezTo>
                  <a:pt x="298421" y="259649"/>
                  <a:pt x="277043" y="262541"/>
                  <a:pt x="255607" y="264918"/>
                </a:cubicBezTo>
                <a:cubicBezTo>
                  <a:pt x="227987" y="267981"/>
                  <a:pt x="200327" y="270692"/>
                  <a:pt x="172672" y="273435"/>
                </a:cubicBezTo>
                <a:cubicBezTo>
                  <a:pt x="159662" y="274725"/>
                  <a:pt x="146637" y="275935"/>
                  <a:pt x="133595" y="276823"/>
                </a:cubicBezTo>
                <a:cubicBezTo>
                  <a:pt x="117688" y="277907"/>
                  <a:pt x="101755" y="278616"/>
                  <a:pt x="84645" y="279507"/>
                </a:cubicBezTo>
                <a:close/>
              </a:path>
            </a:pathLst>
          </a:custGeom>
          <a:solidFill>
            <a:srgbClr val="FDFEFE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16" name="Free-form: Shape 4015">
            <a:extLst>
              <a:ext uri="{FF2B5EF4-FFF2-40B4-BE49-F238E27FC236}">
                <a16:creationId xmlns:a16="http://schemas.microsoft.com/office/drawing/2014/main" id="{DBD25DD7-B43E-C23C-A2F4-AA6E69DCA543}"/>
              </a:ext>
            </a:extLst>
          </p:cNvPr>
          <p:cNvSpPr/>
          <p:nvPr/>
        </p:nvSpPr>
        <p:spPr>
          <a:xfrm>
            <a:off x="10207046" y="4614092"/>
            <a:ext cx="284372" cy="65313"/>
          </a:xfrm>
          <a:custGeom>
            <a:avLst/>
            <a:gdLst>
              <a:gd name="csX0" fmla="*/ 270798 w 342106"/>
              <a:gd name="csY0" fmla="*/ 65953 h 78573"/>
              <a:gd name="csX1" fmla="*/ 183290 w 342106"/>
              <a:gd name="csY1" fmla="*/ 76017 h 78573"/>
              <a:gd name="csX2" fmla="*/ 72897 w 342106"/>
              <a:gd name="csY2" fmla="*/ 78565 h 78573"/>
              <a:gd name="csX3" fmla="*/ 5450 w 342106"/>
              <a:gd name="csY3" fmla="*/ 76564 h 78573"/>
              <a:gd name="csX4" fmla="*/ 0 w 342106"/>
              <a:gd name="csY4" fmla="*/ 75649 h 78573"/>
              <a:gd name="csX5" fmla="*/ 0 w 342106"/>
              <a:gd name="csY5" fmla="*/ 21324 h 78573"/>
              <a:gd name="csX6" fmla="*/ 8504 w 342106"/>
              <a:gd name="csY6" fmla="*/ 20688 h 78573"/>
              <a:gd name="csX7" fmla="*/ 98126 w 342106"/>
              <a:gd name="csY7" fmla="*/ 19655 h 78573"/>
              <a:gd name="csX8" fmla="*/ 221639 w 342106"/>
              <a:gd name="csY8" fmla="*/ 10929 h 78573"/>
              <a:gd name="csX9" fmla="*/ 304285 w 342106"/>
              <a:gd name="csY9" fmla="*/ 683 h 78573"/>
              <a:gd name="csX10" fmla="*/ 309173 w 342106"/>
              <a:gd name="csY10" fmla="*/ 212 h 78573"/>
              <a:gd name="csX11" fmla="*/ 335187 w 342106"/>
              <a:gd name="csY11" fmla="*/ 18545 h 78573"/>
              <a:gd name="csX12" fmla="*/ 342106 w 342106"/>
              <a:gd name="csY12" fmla="*/ 53602 h 78573"/>
              <a:gd name="csX13" fmla="*/ 270798 w 342106"/>
              <a:gd name="csY13" fmla="*/ 65953 h 7857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</a:cxnLst>
            <a:rect l="l" t="t" r="r" b="b"/>
            <a:pathLst>
              <a:path w="342106" h="78573">
                <a:moveTo>
                  <a:pt x="270798" y="65953"/>
                </a:moveTo>
                <a:cubicBezTo>
                  <a:pt x="240931" y="69594"/>
                  <a:pt x="212199" y="74306"/>
                  <a:pt x="183290" y="76017"/>
                </a:cubicBezTo>
                <a:cubicBezTo>
                  <a:pt x="146568" y="78191"/>
                  <a:pt x="109704" y="78349"/>
                  <a:pt x="72897" y="78565"/>
                </a:cubicBezTo>
                <a:cubicBezTo>
                  <a:pt x="50419" y="78697"/>
                  <a:pt x="27931" y="77315"/>
                  <a:pt x="5450" y="76564"/>
                </a:cubicBezTo>
                <a:cubicBezTo>
                  <a:pt x="3884" y="76512"/>
                  <a:pt x="2332" y="76053"/>
                  <a:pt x="0" y="75649"/>
                </a:cubicBezTo>
                <a:cubicBezTo>
                  <a:pt x="0" y="57619"/>
                  <a:pt x="0" y="39863"/>
                  <a:pt x="0" y="21324"/>
                </a:cubicBezTo>
                <a:cubicBezTo>
                  <a:pt x="3058" y="21086"/>
                  <a:pt x="5779" y="20715"/>
                  <a:pt x="8504" y="20688"/>
                </a:cubicBezTo>
                <a:cubicBezTo>
                  <a:pt x="38382" y="20390"/>
                  <a:pt x="68305" y="21101"/>
                  <a:pt x="98126" y="19655"/>
                </a:cubicBezTo>
                <a:cubicBezTo>
                  <a:pt x="139343" y="17657"/>
                  <a:pt x="180532" y="14597"/>
                  <a:pt x="221639" y="10929"/>
                </a:cubicBezTo>
                <a:cubicBezTo>
                  <a:pt x="249272" y="8463"/>
                  <a:pt x="276741" y="4156"/>
                  <a:pt x="304285" y="683"/>
                </a:cubicBezTo>
                <a:cubicBezTo>
                  <a:pt x="305908" y="478"/>
                  <a:pt x="307539" y="312"/>
                  <a:pt x="309173" y="212"/>
                </a:cubicBezTo>
                <a:cubicBezTo>
                  <a:pt x="326863" y="-867"/>
                  <a:pt x="330972" y="1719"/>
                  <a:pt x="335187" y="18545"/>
                </a:cubicBezTo>
                <a:cubicBezTo>
                  <a:pt x="337939" y="29526"/>
                  <a:pt x="339618" y="40777"/>
                  <a:pt x="342106" y="53602"/>
                </a:cubicBezTo>
                <a:cubicBezTo>
                  <a:pt x="317523" y="57833"/>
                  <a:pt x="294689" y="61762"/>
                  <a:pt x="270798" y="65953"/>
                </a:cubicBezTo>
                <a:close/>
              </a:path>
            </a:pathLst>
          </a:custGeom>
          <a:solidFill>
            <a:srgbClr val="FCFCFC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17" name="Free-form: Shape 4016">
            <a:extLst>
              <a:ext uri="{FF2B5EF4-FFF2-40B4-BE49-F238E27FC236}">
                <a16:creationId xmlns:a16="http://schemas.microsoft.com/office/drawing/2014/main" id="{FEC5B8DD-4F3E-AA78-225A-2B41B3BFE71E}"/>
              </a:ext>
            </a:extLst>
          </p:cNvPr>
          <p:cNvSpPr/>
          <p:nvPr/>
        </p:nvSpPr>
        <p:spPr>
          <a:xfrm>
            <a:off x="10274766" y="3656237"/>
            <a:ext cx="72517" cy="55415"/>
          </a:xfrm>
          <a:custGeom>
            <a:avLst/>
            <a:gdLst>
              <a:gd name="csX0" fmla="*/ 9010 w 87239"/>
              <a:gd name="csY0" fmla="*/ 29316 h 66665"/>
              <a:gd name="csX1" fmla="*/ 6110 w 87239"/>
              <a:gd name="csY1" fmla="*/ 15162 h 66665"/>
              <a:gd name="csX2" fmla="*/ 0 w 87239"/>
              <a:gd name="csY2" fmla="*/ 3003 h 66665"/>
              <a:gd name="csX3" fmla="*/ 10641 w 87239"/>
              <a:gd name="csY3" fmla="*/ 697 h 66665"/>
              <a:gd name="csX4" fmla="*/ 42824 w 87239"/>
              <a:gd name="csY4" fmla="*/ 7981 h 66665"/>
              <a:gd name="csX5" fmla="*/ 73433 w 87239"/>
              <a:gd name="csY5" fmla="*/ 31631 h 66665"/>
              <a:gd name="csX6" fmla="*/ 86236 w 87239"/>
              <a:gd name="csY6" fmla="*/ 56519 h 66665"/>
              <a:gd name="csX7" fmla="*/ 82327 w 87239"/>
              <a:gd name="csY7" fmla="*/ 64249 h 66665"/>
              <a:gd name="csX8" fmla="*/ 49439 w 87239"/>
              <a:gd name="csY8" fmla="*/ 66665 h 66665"/>
              <a:gd name="csX9" fmla="*/ 11457 w 87239"/>
              <a:gd name="csY9" fmla="*/ 38560 h 66665"/>
              <a:gd name="csX10" fmla="*/ 9010 w 87239"/>
              <a:gd name="csY10" fmla="*/ 29316 h 6666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</a:cxnLst>
            <a:rect l="l" t="t" r="r" b="b"/>
            <a:pathLst>
              <a:path w="87239" h="66665">
                <a:moveTo>
                  <a:pt x="9010" y="29316"/>
                </a:moveTo>
                <a:cubicBezTo>
                  <a:pt x="7998" y="23924"/>
                  <a:pt x="7568" y="19365"/>
                  <a:pt x="6110" y="15162"/>
                </a:cubicBezTo>
                <a:cubicBezTo>
                  <a:pt x="4682" y="11044"/>
                  <a:pt x="2207" y="7289"/>
                  <a:pt x="0" y="3003"/>
                </a:cubicBezTo>
                <a:cubicBezTo>
                  <a:pt x="2648" y="-833"/>
                  <a:pt x="6580" y="-238"/>
                  <a:pt x="10641" y="697"/>
                </a:cubicBezTo>
                <a:cubicBezTo>
                  <a:pt x="21360" y="3163"/>
                  <a:pt x="32042" y="5825"/>
                  <a:pt x="42824" y="7981"/>
                </a:cubicBezTo>
                <a:cubicBezTo>
                  <a:pt x="57032" y="10823"/>
                  <a:pt x="67419" y="18068"/>
                  <a:pt x="73433" y="31631"/>
                </a:cubicBezTo>
                <a:cubicBezTo>
                  <a:pt x="77208" y="40146"/>
                  <a:pt x="81954" y="48228"/>
                  <a:pt x="86236" y="56519"/>
                </a:cubicBezTo>
                <a:cubicBezTo>
                  <a:pt x="88409" y="60728"/>
                  <a:pt x="87030" y="63806"/>
                  <a:pt x="82327" y="64249"/>
                </a:cubicBezTo>
                <a:cubicBezTo>
                  <a:pt x="71381" y="65282"/>
                  <a:pt x="60402" y="66689"/>
                  <a:pt x="49439" y="66665"/>
                </a:cubicBezTo>
                <a:cubicBezTo>
                  <a:pt x="28683" y="66620"/>
                  <a:pt x="18142" y="58428"/>
                  <a:pt x="11457" y="38560"/>
                </a:cubicBezTo>
                <a:cubicBezTo>
                  <a:pt x="10547" y="35855"/>
                  <a:pt x="9906" y="33058"/>
                  <a:pt x="9010" y="29316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147" name="Oval 4146">
            <a:extLst>
              <a:ext uri="{FF2B5EF4-FFF2-40B4-BE49-F238E27FC236}">
                <a16:creationId xmlns:a16="http://schemas.microsoft.com/office/drawing/2014/main" id="{2987FAE4-6605-B4C1-2785-89ADD6788CFE}"/>
              </a:ext>
            </a:extLst>
          </p:cNvPr>
          <p:cNvSpPr/>
          <p:nvPr/>
        </p:nvSpPr>
        <p:spPr>
          <a:xfrm>
            <a:off x="3586001" y="5581573"/>
            <a:ext cx="895351" cy="184149"/>
          </a:xfrm>
          <a:prstGeom prst="ellipse">
            <a:avLst/>
          </a:prstGeom>
          <a:solidFill>
            <a:schemeClr val="tx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149" name="Free-form: Shape 4148">
            <a:extLst>
              <a:ext uri="{FF2B5EF4-FFF2-40B4-BE49-F238E27FC236}">
                <a16:creationId xmlns:a16="http://schemas.microsoft.com/office/drawing/2014/main" id="{16192B1F-649C-3AB3-B1C2-6CA83FEA653B}"/>
              </a:ext>
            </a:extLst>
          </p:cNvPr>
          <p:cNvSpPr/>
          <p:nvPr/>
        </p:nvSpPr>
        <p:spPr>
          <a:xfrm>
            <a:off x="3682757" y="4006665"/>
            <a:ext cx="786746" cy="1711963"/>
          </a:xfrm>
          <a:custGeom>
            <a:avLst/>
            <a:gdLst>
              <a:gd name="csX0" fmla="*/ 466852 w 715223"/>
              <a:gd name="csY0" fmla="*/ 229083 h 1556330"/>
              <a:gd name="csX1" fmla="*/ 462328 w 715223"/>
              <a:gd name="csY1" fmla="*/ 242604 h 1556330"/>
              <a:gd name="csX2" fmla="*/ 496944 w 715223"/>
              <a:gd name="csY2" fmla="*/ 204739 h 1556330"/>
              <a:gd name="csX3" fmla="*/ 534359 w 715223"/>
              <a:gd name="csY3" fmla="*/ 270960 h 1556330"/>
              <a:gd name="csX4" fmla="*/ 540589 w 715223"/>
              <a:gd name="csY4" fmla="*/ 445986 h 1556330"/>
              <a:gd name="csX5" fmla="*/ 509727 w 715223"/>
              <a:gd name="csY5" fmla="*/ 496924 h 1556330"/>
              <a:gd name="csX6" fmla="*/ 505366 w 715223"/>
              <a:gd name="csY6" fmla="*/ 511893 h 1556330"/>
              <a:gd name="csX7" fmla="*/ 501982 w 715223"/>
              <a:gd name="csY7" fmla="*/ 530377 h 1556330"/>
              <a:gd name="csX8" fmla="*/ 505678 w 715223"/>
              <a:gd name="csY8" fmla="*/ 556455 h 1556330"/>
              <a:gd name="csX9" fmla="*/ 526115 w 715223"/>
              <a:gd name="csY9" fmla="*/ 591784 h 1556330"/>
              <a:gd name="csX10" fmla="*/ 541579 w 715223"/>
              <a:gd name="csY10" fmla="*/ 612264 h 1556330"/>
              <a:gd name="csX11" fmla="*/ 569572 w 715223"/>
              <a:gd name="csY11" fmla="*/ 643441 h 1556330"/>
              <a:gd name="csX12" fmla="*/ 555234 w 715223"/>
              <a:gd name="csY12" fmla="*/ 688473 h 1556330"/>
              <a:gd name="csX13" fmla="*/ 513278 w 715223"/>
              <a:gd name="csY13" fmla="*/ 700556 h 1556330"/>
              <a:gd name="csX14" fmla="*/ 488559 w 715223"/>
              <a:gd name="csY14" fmla="*/ 702821 h 1556330"/>
              <a:gd name="csX15" fmla="*/ 488544 w 715223"/>
              <a:gd name="csY15" fmla="*/ 718085 h 1556330"/>
              <a:gd name="csX16" fmla="*/ 526561 w 715223"/>
              <a:gd name="csY16" fmla="*/ 1010212 h 1556330"/>
              <a:gd name="csX17" fmla="*/ 569986 w 715223"/>
              <a:gd name="csY17" fmla="*/ 1153317 h 1556330"/>
              <a:gd name="csX18" fmla="*/ 587389 w 715223"/>
              <a:gd name="csY18" fmla="*/ 1172173 h 1556330"/>
              <a:gd name="csX19" fmla="*/ 606286 w 715223"/>
              <a:gd name="csY19" fmla="*/ 1180891 h 1556330"/>
              <a:gd name="csX20" fmla="*/ 613400 w 715223"/>
              <a:gd name="csY20" fmla="*/ 1204260 h 1556330"/>
              <a:gd name="csX21" fmla="*/ 605350 w 715223"/>
              <a:gd name="csY21" fmla="*/ 1216760 h 1556330"/>
              <a:gd name="csX22" fmla="*/ 600268 w 715223"/>
              <a:gd name="csY22" fmla="*/ 1220273 h 1556330"/>
              <a:gd name="csX23" fmla="*/ 610574 w 715223"/>
              <a:gd name="csY23" fmla="*/ 1258750 h 1556330"/>
              <a:gd name="csX24" fmla="*/ 672371 w 715223"/>
              <a:gd name="csY24" fmla="*/ 1319810 h 1556330"/>
              <a:gd name="csX25" fmla="*/ 675494 w 715223"/>
              <a:gd name="csY25" fmla="*/ 1323366 h 1556330"/>
              <a:gd name="csX26" fmla="*/ 692949 w 715223"/>
              <a:gd name="csY26" fmla="*/ 1396068 h 1556330"/>
              <a:gd name="csX27" fmla="*/ 690628 w 715223"/>
              <a:gd name="csY27" fmla="*/ 1414117 h 1556330"/>
              <a:gd name="csX28" fmla="*/ 695588 w 715223"/>
              <a:gd name="csY28" fmla="*/ 1421035 h 1556330"/>
              <a:gd name="csX29" fmla="*/ 694353 w 715223"/>
              <a:gd name="csY29" fmla="*/ 1425190 h 1556330"/>
              <a:gd name="csX30" fmla="*/ 689106 w 715223"/>
              <a:gd name="csY30" fmla="*/ 1428714 h 1556330"/>
              <a:gd name="csX31" fmla="*/ 695093 w 715223"/>
              <a:gd name="csY31" fmla="*/ 1428433 h 1556330"/>
              <a:gd name="csX32" fmla="*/ 697643 w 715223"/>
              <a:gd name="csY32" fmla="*/ 1432864 h 1556330"/>
              <a:gd name="csX33" fmla="*/ 698207 w 715223"/>
              <a:gd name="csY33" fmla="*/ 1441988 h 1556330"/>
              <a:gd name="csX34" fmla="*/ 715183 w 715223"/>
              <a:gd name="csY34" fmla="*/ 1508752 h 1556330"/>
              <a:gd name="csX35" fmla="*/ 701540 w 715223"/>
              <a:gd name="csY35" fmla="*/ 1526524 h 1556330"/>
              <a:gd name="csX36" fmla="*/ 581715 w 715223"/>
              <a:gd name="csY36" fmla="*/ 1548559 h 1556330"/>
              <a:gd name="csX37" fmla="*/ 522168 w 715223"/>
              <a:gd name="csY37" fmla="*/ 1553543 h 1556330"/>
              <a:gd name="csX38" fmla="*/ 450008 w 715223"/>
              <a:gd name="csY38" fmla="*/ 1556019 h 1556330"/>
              <a:gd name="csX39" fmla="*/ 245169 w 715223"/>
              <a:gd name="csY39" fmla="*/ 1553749 h 1556330"/>
              <a:gd name="csX40" fmla="*/ 221854 w 715223"/>
              <a:gd name="csY40" fmla="*/ 1553306 h 1556330"/>
              <a:gd name="csX41" fmla="*/ 168405 w 715223"/>
              <a:gd name="csY41" fmla="*/ 1548828 h 1556330"/>
              <a:gd name="csX42" fmla="*/ 126970 w 715223"/>
              <a:gd name="csY42" fmla="*/ 1546091 h 1556330"/>
              <a:gd name="csX43" fmla="*/ 104053 w 715223"/>
              <a:gd name="csY43" fmla="*/ 1542912 h 1556330"/>
              <a:gd name="csX44" fmla="*/ 65625 w 715223"/>
              <a:gd name="csY44" fmla="*/ 1536401 h 1556330"/>
              <a:gd name="csX45" fmla="*/ 10909 w 715223"/>
              <a:gd name="csY45" fmla="*/ 1524010 h 1556330"/>
              <a:gd name="csX46" fmla="*/ 8 w 715223"/>
              <a:gd name="csY46" fmla="*/ 1509263 h 1556330"/>
              <a:gd name="csX47" fmla="*/ 21158 w 715223"/>
              <a:gd name="csY47" fmla="*/ 1433611 h 1556330"/>
              <a:gd name="csX48" fmla="*/ 23462 w 715223"/>
              <a:gd name="csY48" fmla="*/ 1418658 h 1556330"/>
              <a:gd name="csX49" fmla="*/ 19643 w 715223"/>
              <a:gd name="csY49" fmla="*/ 1382324 h 1556330"/>
              <a:gd name="csX50" fmla="*/ 49060 w 715223"/>
              <a:gd name="csY50" fmla="*/ 1311832 h 1556330"/>
              <a:gd name="csX51" fmla="*/ 109176 w 715223"/>
              <a:gd name="csY51" fmla="*/ 1254078 h 1556330"/>
              <a:gd name="csX52" fmla="*/ 118319 w 715223"/>
              <a:gd name="csY52" fmla="*/ 1214801 h 1556330"/>
              <a:gd name="csX53" fmla="*/ 113082 w 715223"/>
              <a:gd name="csY53" fmla="*/ 1201084 h 1556330"/>
              <a:gd name="csX54" fmla="*/ 120417 w 715223"/>
              <a:gd name="csY54" fmla="*/ 1183950 h 1556330"/>
              <a:gd name="csX55" fmla="*/ 135209 w 715223"/>
              <a:gd name="csY55" fmla="*/ 1178138 h 1556330"/>
              <a:gd name="csX56" fmla="*/ 156535 w 715223"/>
              <a:gd name="csY56" fmla="*/ 1156396 h 1556330"/>
              <a:gd name="csX57" fmla="*/ 185647 w 715223"/>
              <a:gd name="csY57" fmla="*/ 1061682 h 1556330"/>
              <a:gd name="csX58" fmla="*/ 201074 w 715223"/>
              <a:gd name="csY58" fmla="*/ 1005093 h 1556330"/>
              <a:gd name="csX59" fmla="*/ 213864 w 715223"/>
              <a:gd name="csY59" fmla="*/ 943040 h 1556330"/>
              <a:gd name="csX60" fmla="*/ 223580 w 715223"/>
              <a:gd name="csY60" fmla="*/ 884167 h 1556330"/>
              <a:gd name="csX61" fmla="*/ 228827 w 715223"/>
              <a:gd name="csY61" fmla="*/ 839382 h 1556330"/>
              <a:gd name="csX62" fmla="*/ 233251 w 715223"/>
              <a:gd name="csY62" fmla="*/ 794539 h 1556330"/>
              <a:gd name="csX63" fmla="*/ 233413 w 715223"/>
              <a:gd name="csY63" fmla="*/ 708554 h 1556330"/>
              <a:gd name="csX64" fmla="*/ 232253 w 715223"/>
              <a:gd name="csY64" fmla="*/ 699181 h 1556330"/>
              <a:gd name="csX65" fmla="*/ 192775 w 715223"/>
              <a:gd name="csY65" fmla="*/ 693131 h 1556330"/>
              <a:gd name="csX66" fmla="*/ 166222 w 715223"/>
              <a:gd name="csY66" fmla="*/ 684229 h 1556330"/>
              <a:gd name="csX67" fmla="*/ 153485 w 715223"/>
              <a:gd name="csY67" fmla="*/ 649704 h 1556330"/>
              <a:gd name="csX68" fmla="*/ 179302 w 715223"/>
              <a:gd name="csY68" fmla="*/ 621006 h 1556330"/>
              <a:gd name="csX69" fmla="*/ 192182 w 715223"/>
              <a:gd name="csY69" fmla="*/ 601675 h 1556330"/>
              <a:gd name="csX70" fmla="*/ 204894 w 715223"/>
              <a:gd name="csY70" fmla="*/ 583417 h 1556330"/>
              <a:gd name="csX71" fmla="*/ 233213 w 715223"/>
              <a:gd name="csY71" fmla="*/ 564393 h 1556330"/>
              <a:gd name="csX72" fmla="*/ 229725 w 715223"/>
              <a:gd name="csY72" fmla="*/ 538177 h 1556330"/>
              <a:gd name="csX73" fmla="*/ 218771 w 715223"/>
              <a:gd name="csY73" fmla="*/ 532633 h 1556330"/>
              <a:gd name="csX74" fmla="*/ 215183 w 715223"/>
              <a:gd name="csY74" fmla="*/ 521568 h 1556330"/>
              <a:gd name="csX75" fmla="*/ 223368 w 715223"/>
              <a:gd name="csY75" fmla="*/ 508901 h 1556330"/>
              <a:gd name="csX76" fmla="*/ 218372 w 715223"/>
              <a:gd name="csY76" fmla="*/ 498135 h 1556330"/>
              <a:gd name="csX77" fmla="*/ 181440 w 715223"/>
              <a:gd name="csY77" fmla="*/ 432308 h 1556330"/>
              <a:gd name="csX78" fmla="*/ 167535 w 715223"/>
              <a:gd name="csY78" fmla="*/ 349841 h 1556330"/>
              <a:gd name="csX79" fmla="*/ 193488 w 715223"/>
              <a:gd name="csY79" fmla="*/ 262518 h 1556330"/>
              <a:gd name="csX80" fmla="*/ 237748 w 715223"/>
              <a:gd name="csY80" fmla="*/ 190690 h 1556330"/>
              <a:gd name="csX81" fmla="*/ 309459 w 715223"/>
              <a:gd name="csY81" fmla="*/ 102623 h 1556330"/>
              <a:gd name="csX82" fmla="*/ 310459 w 715223"/>
              <a:gd name="csY82" fmla="*/ 78521 h 1556330"/>
              <a:gd name="csX83" fmla="*/ 300267 w 715223"/>
              <a:gd name="csY83" fmla="*/ 57856 h 1556330"/>
              <a:gd name="csX84" fmla="*/ 332242 w 715223"/>
              <a:gd name="csY84" fmla="*/ 4422 h 1556330"/>
              <a:gd name="csX85" fmla="*/ 384904 w 715223"/>
              <a:gd name="csY85" fmla="*/ 5551 h 1556330"/>
              <a:gd name="csX86" fmla="*/ 409773 w 715223"/>
              <a:gd name="csY86" fmla="*/ 26778 h 1556330"/>
              <a:gd name="csX87" fmla="*/ 407026 w 715223"/>
              <a:gd name="csY87" fmla="*/ 46052 h 1556330"/>
              <a:gd name="csX88" fmla="*/ 402771 w 715223"/>
              <a:gd name="csY88" fmla="*/ 30951 h 1556330"/>
              <a:gd name="csX89" fmla="*/ 397038 w 715223"/>
              <a:gd name="csY89" fmla="*/ 30361 h 1556330"/>
              <a:gd name="csX90" fmla="*/ 360694 w 715223"/>
              <a:gd name="csY90" fmla="*/ 22760 h 1556330"/>
              <a:gd name="csX91" fmla="*/ 351669 w 715223"/>
              <a:gd name="csY91" fmla="*/ 31736 h 1556330"/>
              <a:gd name="csX92" fmla="*/ 351426 w 715223"/>
              <a:gd name="csY92" fmla="*/ 43987 h 1556330"/>
              <a:gd name="csX93" fmla="*/ 390968 w 715223"/>
              <a:gd name="csY93" fmla="*/ 68762 h 1556330"/>
              <a:gd name="csX94" fmla="*/ 401770 w 715223"/>
              <a:gd name="csY94" fmla="*/ 59025 h 1556330"/>
              <a:gd name="csX95" fmla="*/ 409619 w 715223"/>
              <a:gd name="csY95" fmla="*/ 55786 h 1556330"/>
              <a:gd name="csX96" fmla="*/ 410427 w 715223"/>
              <a:gd name="csY96" fmla="*/ 64256 h 1556330"/>
              <a:gd name="csX97" fmla="*/ 399453 w 715223"/>
              <a:gd name="csY97" fmla="*/ 81811 h 1556330"/>
              <a:gd name="csX98" fmla="*/ 399346 w 715223"/>
              <a:gd name="csY98" fmla="*/ 98083 h 1556330"/>
              <a:gd name="csX99" fmla="*/ 471592 w 715223"/>
              <a:gd name="csY99" fmla="*/ 180524 h 1556330"/>
              <a:gd name="csX100" fmla="*/ 473550 w 715223"/>
              <a:gd name="csY100" fmla="*/ 200923 h 1556330"/>
              <a:gd name="csX101" fmla="*/ 463677 w 715223"/>
              <a:gd name="csY101" fmla="*/ 223311 h 1556330"/>
              <a:gd name="csX102" fmla="*/ 466852 w 715223"/>
              <a:gd name="csY102" fmla="*/ 229083 h 1556330"/>
              <a:gd name="csX103" fmla="*/ 474186 w 715223"/>
              <a:gd name="csY103" fmla="*/ 928382 h 1556330"/>
              <a:gd name="csX104" fmla="*/ 459927 w 715223"/>
              <a:gd name="csY104" fmla="*/ 817790 h 1556330"/>
              <a:gd name="csX105" fmla="*/ 456025 w 715223"/>
              <a:gd name="csY105" fmla="*/ 706469 h 1556330"/>
              <a:gd name="csX106" fmla="*/ 366863 w 715223"/>
              <a:gd name="csY106" fmla="*/ 710754 h 1556330"/>
              <a:gd name="csX107" fmla="*/ 366159 w 715223"/>
              <a:gd name="csY107" fmla="*/ 719219 h 1556330"/>
              <a:gd name="csX108" fmla="*/ 364159 w 715223"/>
              <a:gd name="csY108" fmla="*/ 834581 h 1556330"/>
              <a:gd name="csX109" fmla="*/ 361633 w 715223"/>
              <a:gd name="csY109" fmla="*/ 940117 h 1556330"/>
              <a:gd name="csX110" fmla="*/ 358313 w 715223"/>
              <a:gd name="csY110" fmla="*/ 1053005 h 1556330"/>
              <a:gd name="csX111" fmla="*/ 358081 w 715223"/>
              <a:gd name="csY111" fmla="*/ 1057912 h 1556330"/>
              <a:gd name="csX112" fmla="*/ 353706 w 715223"/>
              <a:gd name="csY112" fmla="*/ 1164570 h 1556330"/>
              <a:gd name="csX113" fmla="*/ 354951 w 715223"/>
              <a:gd name="csY113" fmla="*/ 1172547 h 1556330"/>
              <a:gd name="csX114" fmla="*/ 540959 w 715223"/>
              <a:gd name="csY114" fmla="*/ 1175972 h 1556330"/>
              <a:gd name="csX115" fmla="*/ 474186 w 715223"/>
              <a:gd name="csY115" fmla="*/ 928382 h 1556330"/>
              <a:gd name="csX116" fmla="*/ 513768 w 715223"/>
              <a:gd name="csY116" fmla="*/ 1417676 h 1556330"/>
              <a:gd name="csX117" fmla="*/ 519822 w 715223"/>
              <a:gd name="csY117" fmla="*/ 1416700 h 1556330"/>
              <a:gd name="csX118" fmla="*/ 632041 w 715223"/>
              <a:gd name="csY118" fmla="*/ 1406122 h 1556330"/>
              <a:gd name="csX119" fmla="*/ 665040 w 715223"/>
              <a:gd name="csY119" fmla="*/ 1400634 h 1556330"/>
              <a:gd name="csX120" fmla="*/ 665677 w 715223"/>
              <a:gd name="csY120" fmla="*/ 1396126 h 1556330"/>
              <a:gd name="csX121" fmla="*/ 665529 w 715223"/>
              <a:gd name="csY121" fmla="*/ 1389994 h 1556330"/>
              <a:gd name="csX122" fmla="*/ 623046 w 715223"/>
              <a:gd name="csY122" fmla="*/ 1306238 h 1556330"/>
              <a:gd name="csX123" fmla="*/ 596015 w 715223"/>
              <a:gd name="csY123" fmla="*/ 1281285 h 1556330"/>
              <a:gd name="csX124" fmla="*/ 567683 w 715223"/>
              <a:gd name="csY124" fmla="*/ 1220059 h 1556330"/>
              <a:gd name="csX125" fmla="*/ 540273 w 715223"/>
              <a:gd name="csY125" fmla="*/ 1220129 h 1556330"/>
              <a:gd name="csX126" fmla="*/ 424010 w 715223"/>
              <a:gd name="csY126" fmla="*/ 1226781 h 1556330"/>
              <a:gd name="csX127" fmla="*/ 357832 w 715223"/>
              <a:gd name="csY127" fmla="*/ 1229178 h 1556330"/>
              <a:gd name="csX128" fmla="*/ 352386 w 715223"/>
              <a:gd name="csY128" fmla="*/ 1230616 h 1556330"/>
              <a:gd name="csX129" fmla="*/ 355852 w 715223"/>
              <a:gd name="csY129" fmla="*/ 1324222 h 1556330"/>
              <a:gd name="csX130" fmla="*/ 352930 w 715223"/>
              <a:gd name="csY130" fmla="*/ 1417867 h 1556330"/>
              <a:gd name="csX131" fmla="*/ 513768 w 715223"/>
              <a:gd name="csY131" fmla="*/ 1417676 h 1556330"/>
              <a:gd name="csX132" fmla="*/ 387930 w 715223"/>
              <a:gd name="csY132" fmla="*/ 499741 h 1556330"/>
              <a:gd name="csX133" fmla="*/ 456529 w 715223"/>
              <a:gd name="csY133" fmla="*/ 496826 h 1556330"/>
              <a:gd name="csX134" fmla="*/ 482355 w 715223"/>
              <a:gd name="csY134" fmla="*/ 485095 h 1556330"/>
              <a:gd name="csX135" fmla="*/ 528016 w 715223"/>
              <a:gd name="csY135" fmla="*/ 374829 h 1556330"/>
              <a:gd name="csX136" fmla="*/ 501375 w 715223"/>
              <a:gd name="csY136" fmla="*/ 261643 h 1556330"/>
              <a:gd name="csX137" fmla="*/ 493534 w 715223"/>
              <a:gd name="csY137" fmla="*/ 249818 h 1556330"/>
              <a:gd name="csX138" fmla="*/ 485920 w 715223"/>
              <a:gd name="csY138" fmla="*/ 260010 h 1556330"/>
              <a:gd name="csX139" fmla="*/ 453305 w 715223"/>
              <a:gd name="csY139" fmla="*/ 310523 h 1556330"/>
              <a:gd name="csX140" fmla="*/ 433678 w 715223"/>
              <a:gd name="csY140" fmla="*/ 338672 h 1556330"/>
              <a:gd name="csX141" fmla="*/ 403713 w 715223"/>
              <a:gd name="csY141" fmla="*/ 343710 h 1556330"/>
              <a:gd name="csX142" fmla="*/ 396427 w 715223"/>
              <a:gd name="csY142" fmla="*/ 315612 h 1556330"/>
              <a:gd name="csX143" fmla="*/ 399663 w 715223"/>
              <a:gd name="csY143" fmla="*/ 309000 h 1556330"/>
              <a:gd name="csX144" fmla="*/ 452097 w 715223"/>
              <a:gd name="csY144" fmla="*/ 200770 h 1556330"/>
              <a:gd name="csX145" fmla="*/ 450118 w 715223"/>
              <a:gd name="csY145" fmla="*/ 180596 h 1556330"/>
              <a:gd name="csX146" fmla="*/ 376545 w 715223"/>
              <a:gd name="csY146" fmla="*/ 105525 h 1556330"/>
              <a:gd name="csX147" fmla="*/ 368791 w 715223"/>
              <a:gd name="csY147" fmla="*/ 101653 h 1556330"/>
              <a:gd name="csX148" fmla="*/ 366449 w 715223"/>
              <a:gd name="csY148" fmla="*/ 144676 h 1556330"/>
              <a:gd name="csX149" fmla="*/ 365447 w 715223"/>
              <a:gd name="csY149" fmla="*/ 183946 h 1556330"/>
              <a:gd name="csX150" fmla="*/ 364738 w 715223"/>
              <a:gd name="csY150" fmla="*/ 298022 h 1556330"/>
              <a:gd name="csX151" fmla="*/ 373865 w 715223"/>
              <a:gd name="csY151" fmla="*/ 430096 h 1556330"/>
              <a:gd name="csX152" fmla="*/ 381088 w 715223"/>
              <a:gd name="csY152" fmla="*/ 492169 h 1556330"/>
              <a:gd name="csX153" fmla="*/ 387930 w 715223"/>
              <a:gd name="csY153" fmla="*/ 499741 h 1556330"/>
              <a:gd name="csX154" fmla="*/ 455850 w 715223"/>
              <a:gd name="csY154" fmla="*/ 1521476 h 1556330"/>
              <a:gd name="csX155" fmla="*/ 685121 w 715223"/>
              <a:gd name="csY155" fmla="*/ 1496509 h 1556330"/>
              <a:gd name="csX156" fmla="*/ 672999 w 715223"/>
              <a:gd name="csY156" fmla="*/ 1456665 h 1556330"/>
              <a:gd name="csX157" fmla="*/ 660009 w 715223"/>
              <a:gd name="csY157" fmla="*/ 1450249 h 1556330"/>
              <a:gd name="csX158" fmla="*/ 633248 w 715223"/>
              <a:gd name="csY158" fmla="*/ 1453589 h 1556330"/>
              <a:gd name="csX159" fmla="*/ 451131 w 715223"/>
              <a:gd name="csY159" fmla="*/ 1467458 h 1556330"/>
              <a:gd name="csX160" fmla="*/ 362719 w 715223"/>
              <a:gd name="csY160" fmla="*/ 1467934 h 1556330"/>
              <a:gd name="csX161" fmla="*/ 349983 w 715223"/>
              <a:gd name="csY161" fmla="*/ 1467936 h 1556330"/>
              <a:gd name="csX162" fmla="*/ 352220 w 715223"/>
              <a:gd name="csY162" fmla="*/ 1519140 h 1556330"/>
              <a:gd name="csX163" fmla="*/ 455850 w 715223"/>
              <a:gd name="csY163" fmla="*/ 1521476 h 1556330"/>
              <a:gd name="csX164" fmla="*/ 368682 w 715223"/>
              <a:gd name="csY164" fmla="*/ 544846 h 1556330"/>
              <a:gd name="csX165" fmla="*/ 363600 w 715223"/>
              <a:gd name="csY165" fmla="*/ 605633 h 1556330"/>
              <a:gd name="csX166" fmla="*/ 496351 w 715223"/>
              <a:gd name="csY166" fmla="*/ 601466 h 1556330"/>
              <a:gd name="csX167" fmla="*/ 485068 w 715223"/>
              <a:gd name="csY167" fmla="*/ 579288 h 1556330"/>
              <a:gd name="csX168" fmla="*/ 466524 w 715223"/>
              <a:gd name="csY168" fmla="*/ 541026 h 1556330"/>
              <a:gd name="csX169" fmla="*/ 465000 w 715223"/>
              <a:gd name="csY169" fmla="*/ 536289 h 1556330"/>
              <a:gd name="csX170" fmla="*/ 451328 w 715223"/>
              <a:gd name="csY170" fmla="*/ 536316 h 1556330"/>
              <a:gd name="csX171" fmla="*/ 390140 w 715223"/>
              <a:gd name="csY171" fmla="*/ 538979 h 1556330"/>
              <a:gd name="csX172" fmla="*/ 374215 w 715223"/>
              <a:gd name="csY172" fmla="*/ 539303 h 1556330"/>
              <a:gd name="csX173" fmla="*/ 368682 w 715223"/>
              <a:gd name="csY173" fmla="*/ 544846 h 1556330"/>
              <a:gd name="csX174" fmla="*/ 453915 w 715223"/>
              <a:gd name="csY174" fmla="*/ 635267 h 1556330"/>
              <a:gd name="csX175" fmla="*/ 374200 w 715223"/>
              <a:gd name="csY175" fmla="*/ 639402 h 1556330"/>
              <a:gd name="csX176" fmla="*/ 374200 w 715223"/>
              <a:gd name="csY176" fmla="*/ 673206 h 1556330"/>
              <a:gd name="csX177" fmla="*/ 386639 w 715223"/>
              <a:gd name="csY177" fmla="*/ 673718 h 1556330"/>
              <a:gd name="csX178" fmla="*/ 521198 w 715223"/>
              <a:gd name="csY178" fmla="*/ 668541 h 1556330"/>
              <a:gd name="csX179" fmla="*/ 534198 w 715223"/>
              <a:gd name="csY179" fmla="*/ 665521 h 1556330"/>
              <a:gd name="csX180" fmla="*/ 538413 w 715223"/>
              <a:gd name="csY180" fmla="*/ 652526 h 1556330"/>
              <a:gd name="csX181" fmla="*/ 529377 w 715223"/>
              <a:gd name="csY181" fmla="*/ 642895 h 1556330"/>
              <a:gd name="csX182" fmla="*/ 502829 w 715223"/>
              <a:gd name="csY182" fmla="*/ 634808 h 1556330"/>
              <a:gd name="csX183" fmla="*/ 453915 w 715223"/>
              <a:gd name="csY183" fmla="*/ 635267 h 155633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  <a:cxn ang="0">
                <a:pos x="csX170" y="csY170"/>
              </a:cxn>
              <a:cxn ang="0">
                <a:pos x="csX171" y="csY171"/>
              </a:cxn>
              <a:cxn ang="0">
                <a:pos x="csX172" y="csY172"/>
              </a:cxn>
              <a:cxn ang="0">
                <a:pos x="csX173" y="csY173"/>
              </a:cxn>
              <a:cxn ang="0">
                <a:pos x="csX174" y="csY174"/>
              </a:cxn>
              <a:cxn ang="0">
                <a:pos x="csX175" y="csY175"/>
              </a:cxn>
              <a:cxn ang="0">
                <a:pos x="csX176" y="csY176"/>
              </a:cxn>
              <a:cxn ang="0">
                <a:pos x="csX177" y="csY177"/>
              </a:cxn>
              <a:cxn ang="0">
                <a:pos x="csX178" y="csY178"/>
              </a:cxn>
              <a:cxn ang="0">
                <a:pos x="csX179" y="csY179"/>
              </a:cxn>
              <a:cxn ang="0">
                <a:pos x="csX180" y="csY180"/>
              </a:cxn>
              <a:cxn ang="0">
                <a:pos x="csX181" y="csY181"/>
              </a:cxn>
              <a:cxn ang="0">
                <a:pos x="csX182" y="csY182"/>
              </a:cxn>
              <a:cxn ang="0">
                <a:pos x="csX183" y="csY183"/>
              </a:cxn>
            </a:cxnLst>
            <a:rect l="l" t="t" r="r" b="b"/>
            <a:pathLst>
              <a:path w="715223" h="1556330">
                <a:moveTo>
                  <a:pt x="466852" y="229083"/>
                </a:moveTo>
                <a:cubicBezTo>
                  <a:pt x="465344" y="233590"/>
                  <a:pt x="463836" y="238097"/>
                  <a:pt x="462328" y="242604"/>
                </a:cubicBezTo>
                <a:cubicBezTo>
                  <a:pt x="476604" y="232528"/>
                  <a:pt x="484219" y="216936"/>
                  <a:pt x="496944" y="204739"/>
                </a:cubicBezTo>
                <a:cubicBezTo>
                  <a:pt x="511903" y="225901"/>
                  <a:pt x="524807" y="247414"/>
                  <a:pt x="534359" y="270960"/>
                </a:cubicBezTo>
                <a:cubicBezTo>
                  <a:pt x="557740" y="328591"/>
                  <a:pt x="560223" y="386926"/>
                  <a:pt x="540589" y="445986"/>
                </a:cubicBezTo>
                <a:cubicBezTo>
                  <a:pt x="534197" y="465215"/>
                  <a:pt x="524450" y="482672"/>
                  <a:pt x="509727" y="496924"/>
                </a:cubicBezTo>
                <a:cubicBezTo>
                  <a:pt x="505277" y="501232"/>
                  <a:pt x="502734" y="505157"/>
                  <a:pt x="505366" y="511893"/>
                </a:cubicBezTo>
                <a:cubicBezTo>
                  <a:pt x="507828" y="518196"/>
                  <a:pt x="505953" y="524402"/>
                  <a:pt x="501982" y="530377"/>
                </a:cubicBezTo>
                <a:cubicBezTo>
                  <a:pt x="495613" y="539961"/>
                  <a:pt x="496865" y="548901"/>
                  <a:pt x="505678" y="556455"/>
                </a:cubicBezTo>
                <a:cubicBezTo>
                  <a:pt x="516748" y="565943"/>
                  <a:pt x="523694" y="577557"/>
                  <a:pt x="526115" y="591784"/>
                </a:cubicBezTo>
                <a:cubicBezTo>
                  <a:pt x="527758" y="601445"/>
                  <a:pt x="532593" y="608029"/>
                  <a:pt x="541579" y="612264"/>
                </a:cubicBezTo>
                <a:cubicBezTo>
                  <a:pt x="555150" y="618662"/>
                  <a:pt x="564081" y="629523"/>
                  <a:pt x="569572" y="643441"/>
                </a:cubicBezTo>
                <a:cubicBezTo>
                  <a:pt x="576413" y="660776"/>
                  <a:pt x="570996" y="678245"/>
                  <a:pt x="555234" y="688473"/>
                </a:cubicBezTo>
                <a:cubicBezTo>
                  <a:pt x="542486" y="696746"/>
                  <a:pt x="528127" y="699474"/>
                  <a:pt x="513278" y="700556"/>
                </a:cubicBezTo>
                <a:cubicBezTo>
                  <a:pt x="505590" y="701115"/>
                  <a:pt x="497922" y="701952"/>
                  <a:pt x="488559" y="702821"/>
                </a:cubicBezTo>
                <a:cubicBezTo>
                  <a:pt x="488559" y="708552"/>
                  <a:pt x="488653" y="713320"/>
                  <a:pt x="488544" y="718085"/>
                </a:cubicBezTo>
                <a:cubicBezTo>
                  <a:pt x="486284" y="817406"/>
                  <a:pt x="502313" y="914319"/>
                  <a:pt x="526561" y="1010212"/>
                </a:cubicBezTo>
                <a:cubicBezTo>
                  <a:pt x="538799" y="1058612"/>
                  <a:pt x="553050" y="1106345"/>
                  <a:pt x="569986" y="1153317"/>
                </a:cubicBezTo>
                <a:cubicBezTo>
                  <a:pt x="573328" y="1162590"/>
                  <a:pt x="578279" y="1168740"/>
                  <a:pt x="587389" y="1172173"/>
                </a:cubicBezTo>
                <a:cubicBezTo>
                  <a:pt x="593869" y="1174616"/>
                  <a:pt x="600289" y="1177449"/>
                  <a:pt x="606286" y="1180891"/>
                </a:cubicBezTo>
                <a:cubicBezTo>
                  <a:pt x="617185" y="1187146"/>
                  <a:pt x="618776" y="1192931"/>
                  <a:pt x="613400" y="1204260"/>
                </a:cubicBezTo>
                <a:cubicBezTo>
                  <a:pt x="611475" y="1208315"/>
                  <a:pt x="609140" y="1212177"/>
                  <a:pt x="605350" y="1216760"/>
                </a:cubicBezTo>
                <a:cubicBezTo>
                  <a:pt x="602514" y="1218347"/>
                  <a:pt x="600399" y="1219189"/>
                  <a:pt x="600268" y="1220273"/>
                </a:cubicBezTo>
                <a:cubicBezTo>
                  <a:pt x="598551" y="1234430"/>
                  <a:pt x="599473" y="1247881"/>
                  <a:pt x="610574" y="1258750"/>
                </a:cubicBezTo>
                <a:cubicBezTo>
                  <a:pt x="631265" y="1279009"/>
                  <a:pt x="651790" y="1299438"/>
                  <a:pt x="672371" y="1319810"/>
                </a:cubicBezTo>
                <a:cubicBezTo>
                  <a:pt x="673495" y="1320922"/>
                  <a:pt x="674892" y="1321987"/>
                  <a:pt x="675494" y="1323366"/>
                </a:cubicBezTo>
                <a:cubicBezTo>
                  <a:pt x="685626" y="1346558"/>
                  <a:pt x="694775" y="1370031"/>
                  <a:pt x="692949" y="1396068"/>
                </a:cubicBezTo>
                <a:cubicBezTo>
                  <a:pt x="692525" y="1402108"/>
                  <a:pt x="691276" y="1408087"/>
                  <a:pt x="690628" y="1414117"/>
                </a:cubicBezTo>
                <a:cubicBezTo>
                  <a:pt x="690241" y="1417713"/>
                  <a:pt x="691290" y="1420628"/>
                  <a:pt x="695588" y="1421035"/>
                </a:cubicBezTo>
                <a:cubicBezTo>
                  <a:pt x="695527" y="1422155"/>
                  <a:pt x="695467" y="1423274"/>
                  <a:pt x="694353" y="1425190"/>
                </a:cubicBezTo>
                <a:cubicBezTo>
                  <a:pt x="691901" y="1426894"/>
                  <a:pt x="690503" y="1427804"/>
                  <a:pt x="689106" y="1428714"/>
                </a:cubicBezTo>
                <a:cubicBezTo>
                  <a:pt x="691101" y="1428620"/>
                  <a:pt x="693098" y="1428527"/>
                  <a:pt x="695093" y="1428433"/>
                </a:cubicBezTo>
                <a:cubicBezTo>
                  <a:pt x="695976" y="1429430"/>
                  <a:pt x="696859" y="1430427"/>
                  <a:pt x="697643" y="1432864"/>
                </a:cubicBezTo>
                <a:cubicBezTo>
                  <a:pt x="697724" y="1436887"/>
                  <a:pt x="697087" y="1439912"/>
                  <a:pt x="698207" y="1441988"/>
                </a:cubicBezTo>
                <a:cubicBezTo>
                  <a:pt x="709464" y="1462853"/>
                  <a:pt x="715798" y="1484864"/>
                  <a:pt x="715183" y="1508752"/>
                </a:cubicBezTo>
                <a:cubicBezTo>
                  <a:pt x="714863" y="1521166"/>
                  <a:pt x="713458" y="1523372"/>
                  <a:pt x="701540" y="1526524"/>
                </a:cubicBezTo>
                <a:cubicBezTo>
                  <a:pt x="662165" y="1536936"/>
                  <a:pt x="622006" y="1543243"/>
                  <a:pt x="581715" y="1548559"/>
                </a:cubicBezTo>
                <a:cubicBezTo>
                  <a:pt x="561988" y="1551162"/>
                  <a:pt x="542052" y="1552457"/>
                  <a:pt x="522168" y="1553543"/>
                </a:cubicBezTo>
                <a:cubicBezTo>
                  <a:pt x="498138" y="1554856"/>
                  <a:pt x="474063" y="1556013"/>
                  <a:pt x="450008" y="1556019"/>
                </a:cubicBezTo>
                <a:cubicBezTo>
                  <a:pt x="381724" y="1556035"/>
                  <a:pt x="313415" y="1557550"/>
                  <a:pt x="245169" y="1553749"/>
                </a:cubicBezTo>
                <a:cubicBezTo>
                  <a:pt x="237413" y="1553317"/>
                  <a:pt x="229596" y="1553867"/>
                  <a:pt x="221854" y="1553306"/>
                </a:cubicBezTo>
                <a:cubicBezTo>
                  <a:pt x="204023" y="1552015"/>
                  <a:pt x="186231" y="1550202"/>
                  <a:pt x="168405" y="1548828"/>
                </a:cubicBezTo>
                <a:cubicBezTo>
                  <a:pt x="154605" y="1547764"/>
                  <a:pt x="140762" y="1547242"/>
                  <a:pt x="126970" y="1546091"/>
                </a:cubicBezTo>
                <a:cubicBezTo>
                  <a:pt x="119295" y="1545451"/>
                  <a:pt x="111668" y="1544132"/>
                  <a:pt x="104053" y="1542912"/>
                </a:cubicBezTo>
                <a:cubicBezTo>
                  <a:pt x="91223" y="1540858"/>
                  <a:pt x="78344" y="1539011"/>
                  <a:pt x="65625" y="1536401"/>
                </a:cubicBezTo>
                <a:cubicBezTo>
                  <a:pt x="47307" y="1532642"/>
                  <a:pt x="29006" y="1528694"/>
                  <a:pt x="10909" y="1524010"/>
                </a:cubicBezTo>
                <a:cubicBezTo>
                  <a:pt x="744" y="1521379"/>
                  <a:pt x="119" y="1519620"/>
                  <a:pt x="8" y="1509263"/>
                </a:cubicBezTo>
                <a:cubicBezTo>
                  <a:pt x="-283" y="1482004"/>
                  <a:pt x="7525" y="1456906"/>
                  <a:pt x="21158" y="1433611"/>
                </a:cubicBezTo>
                <a:cubicBezTo>
                  <a:pt x="24128" y="1428537"/>
                  <a:pt x="25100" y="1424162"/>
                  <a:pt x="23462" y="1418658"/>
                </a:cubicBezTo>
                <a:cubicBezTo>
                  <a:pt x="19938" y="1406814"/>
                  <a:pt x="19145" y="1394638"/>
                  <a:pt x="19643" y="1382324"/>
                </a:cubicBezTo>
                <a:cubicBezTo>
                  <a:pt x="20741" y="1355171"/>
                  <a:pt x="29461" y="1331114"/>
                  <a:pt x="49060" y="1311832"/>
                </a:cubicBezTo>
                <a:cubicBezTo>
                  <a:pt x="68866" y="1292344"/>
                  <a:pt x="89102" y="1273294"/>
                  <a:pt x="109176" y="1254078"/>
                </a:cubicBezTo>
                <a:cubicBezTo>
                  <a:pt x="120788" y="1242961"/>
                  <a:pt x="123122" y="1229673"/>
                  <a:pt x="118319" y="1214801"/>
                </a:cubicBezTo>
                <a:cubicBezTo>
                  <a:pt x="116817" y="1210150"/>
                  <a:pt x="114697" y="1205702"/>
                  <a:pt x="113082" y="1201084"/>
                </a:cubicBezTo>
                <a:cubicBezTo>
                  <a:pt x="109606" y="1191147"/>
                  <a:pt x="110855" y="1188189"/>
                  <a:pt x="120417" y="1183950"/>
                </a:cubicBezTo>
                <a:cubicBezTo>
                  <a:pt x="125262" y="1181801"/>
                  <a:pt x="130109" y="1179394"/>
                  <a:pt x="135209" y="1178138"/>
                </a:cubicBezTo>
                <a:cubicBezTo>
                  <a:pt x="146972" y="1175241"/>
                  <a:pt x="153194" y="1166910"/>
                  <a:pt x="156535" y="1156396"/>
                </a:cubicBezTo>
                <a:cubicBezTo>
                  <a:pt x="166535" y="1124919"/>
                  <a:pt x="176229" y="1093339"/>
                  <a:pt x="185647" y="1061682"/>
                </a:cubicBezTo>
                <a:cubicBezTo>
                  <a:pt x="191222" y="1042945"/>
                  <a:pt x="196570" y="1024108"/>
                  <a:pt x="201074" y="1005093"/>
                </a:cubicBezTo>
                <a:cubicBezTo>
                  <a:pt x="205941" y="984550"/>
                  <a:pt x="210000" y="963801"/>
                  <a:pt x="213864" y="943040"/>
                </a:cubicBezTo>
                <a:cubicBezTo>
                  <a:pt x="217503" y="923489"/>
                  <a:pt x="220701" y="903846"/>
                  <a:pt x="223580" y="884167"/>
                </a:cubicBezTo>
                <a:cubicBezTo>
                  <a:pt x="225754" y="869301"/>
                  <a:pt x="227195" y="854324"/>
                  <a:pt x="228827" y="839382"/>
                </a:cubicBezTo>
                <a:cubicBezTo>
                  <a:pt x="230459" y="824446"/>
                  <a:pt x="232880" y="809515"/>
                  <a:pt x="233251" y="794539"/>
                </a:cubicBezTo>
                <a:cubicBezTo>
                  <a:pt x="233961" y="765893"/>
                  <a:pt x="233499" y="737217"/>
                  <a:pt x="233413" y="708554"/>
                </a:cubicBezTo>
                <a:cubicBezTo>
                  <a:pt x="233404" y="705465"/>
                  <a:pt x="232667" y="702378"/>
                  <a:pt x="232253" y="699181"/>
                </a:cubicBezTo>
                <a:cubicBezTo>
                  <a:pt x="218443" y="697138"/>
                  <a:pt x="205461" y="695831"/>
                  <a:pt x="192775" y="693131"/>
                </a:cubicBezTo>
                <a:cubicBezTo>
                  <a:pt x="183686" y="691197"/>
                  <a:pt x="174549" y="688305"/>
                  <a:pt x="166222" y="684229"/>
                </a:cubicBezTo>
                <a:cubicBezTo>
                  <a:pt x="151266" y="676909"/>
                  <a:pt x="147247" y="664789"/>
                  <a:pt x="153485" y="649704"/>
                </a:cubicBezTo>
                <a:cubicBezTo>
                  <a:pt x="158693" y="637111"/>
                  <a:pt x="168160" y="628190"/>
                  <a:pt x="179302" y="621006"/>
                </a:cubicBezTo>
                <a:cubicBezTo>
                  <a:pt x="186548" y="616334"/>
                  <a:pt x="191317" y="611105"/>
                  <a:pt x="192182" y="601675"/>
                </a:cubicBezTo>
                <a:cubicBezTo>
                  <a:pt x="192878" y="594094"/>
                  <a:pt x="197099" y="587626"/>
                  <a:pt x="204894" y="583417"/>
                </a:cubicBezTo>
                <a:cubicBezTo>
                  <a:pt x="214873" y="578030"/>
                  <a:pt x="224643" y="571774"/>
                  <a:pt x="233213" y="564393"/>
                </a:cubicBezTo>
                <a:cubicBezTo>
                  <a:pt x="242623" y="556289"/>
                  <a:pt x="240441" y="544193"/>
                  <a:pt x="229725" y="538177"/>
                </a:cubicBezTo>
                <a:cubicBezTo>
                  <a:pt x="226159" y="536176"/>
                  <a:pt x="222483" y="534351"/>
                  <a:pt x="218771" y="532633"/>
                </a:cubicBezTo>
                <a:cubicBezTo>
                  <a:pt x="213503" y="530196"/>
                  <a:pt x="212651" y="526226"/>
                  <a:pt x="215183" y="521568"/>
                </a:cubicBezTo>
                <a:cubicBezTo>
                  <a:pt x="217485" y="517332"/>
                  <a:pt x="220405" y="513432"/>
                  <a:pt x="223368" y="508901"/>
                </a:cubicBezTo>
                <a:cubicBezTo>
                  <a:pt x="221781" y="505376"/>
                  <a:pt x="220809" y="501165"/>
                  <a:pt x="218372" y="498135"/>
                </a:cubicBezTo>
                <a:cubicBezTo>
                  <a:pt x="202366" y="478231"/>
                  <a:pt x="190774" y="455961"/>
                  <a:pt x="181440" y="432308"/>
                </a:cubicBezTo>
                <a:cubicBezTo>
                  <a:pt x="170959" y="405748"/>
                  <a:pt x="164933" y="378186"/>
                  <a:pt x="167535" y="349841"/>
                </a:cubicBezTo>
                <a:cubicBezTo>
                  <a:pt x="170341" y="319265"/>
                  <a:pt x="179208" y="289917"/>
                  <a:pt x="193488" y="262518"/>
                </a:cubicBezTo>
                <a:cubicBezTo>
                  <a:pt x="206512" y="237529"/>
                  <a:pt x="220831" y="213359"/>
                  <a:pt x="237748" y="190690"/>
                </a:cubicBezTo>
                <a:cubicBezTo>
                  <a:pt x="260421" y="160310"/>
                  <a:pt x="282602" y="129592"/>
                  <a:pt x="309459" y="102623"/>
                </a:cubicBezTo>
                <a:cubicBezTo>
                  <a:pt x="316627" y="95424"/>
                  <a:pt x="316261" y="87541"/>
                  <a:pt x="310459" y="78521"/>
                </a:cubicBezTo>
                <a:cubicBezTo>
                  <a:pt x="306309" y="72071"/>
                  <a:pt x="301695" y="65150"/>
                  <a:pt x="300267" y="57856"/>
                </a:cubicBezTo>
                <a:cubicBezTo>
                  <a:pt x="295286" y="32423"/>
                  <a:pt x="314502" y="10133"/>
                  <a:pt x="332242" y="4422"/>
                </a:cubicBezTo>
                <a:cubicBezTo>
                  <a:pt x="349540" y="-1148"/>
                  <a:pt x="367530" y="-2176"/>
                  <a:pt x="384904" y="5551"/>
                </a:cubicBezTo>
                <a:cubicBezTo>
                  <a:pt x="395271" y="10161"/>
                  <a:pt x="403310" y="17760"/>
                  <a:pt x="409773" y="26778"/>
                </a:cubicBezTo>
                <a:cubicBezTo>
                  <a:pt x="415168" y="34307"/>
                  <a:pt x="413749" y="41584"/>
                  <a:pt x="407026" y="46052"/>
                </a:cubicBezTo>
                <a:cubicBezTo>
                  <a:pt x="405624" y="40964"/>
                  <a:pt x="404503" y="35849"/>
                  <a:pt x="402771" y="30951"/>
                </a:cubicBezTo>
                <a:cubicBezTo>
                  <a:pt x="401450" y="27216"/>
                  <a:pt x="399383" y="28477"/>
                  <a:pt x="397038" y="30361"/>
                </a:cubicBezTo>
                <a:cubicBezTo>
                  <a:pt x="384440" y="15986"/>
                  <a:pt x="377037" y="14494"/>
                  <a:pt x="360694" y="22760"/>
                </a:cubicBezTo>
                <a:cubicBezTo>
                  <a:pt x="353707" y="22767"/>
                  <a:pt x="352275" y="27176"/>
                  <a:pt x="351669" y="31736"/>
                </a:cubicBezTo>
                <a:cubicBezTo>
                  <a:pt x="351136" y="35760"/>
                  <a:pt x="351383" y="39899"/>
                  <a:pt x="351426" y="43987"/>
                </a:cubicBezTo>
                <a:cubicBezTo>
                  <a:pt x="351648" y="64919"/>
                  <a:pt x="372389" y="78115"/>
                  <a:pt x="390968" y="68762"/>
                </a:cubicBezTo>
                <a:cubicBezTo>
                  <a:pt x="395158" y="66653"/>
                  <a:pt x="398534" y="62629"/>
                  <a:pt x="401770" y="59025"/>
                </a:cubicBezTo>
                <a:cubicBezTo>
                  <a:pt x="404045" y="56491"/>
                  <a:pt x="405661" y="53409"/>
                  <a:pt x="409619" y="55786"/>
                </a:cubicBezTo>
                <a:cubicBezTo>
                  <a:pt x="413544" y="58145"/>
                  <a:pt x="412176" y="61347"/>
                  <a:pt x="410427" y="64256"/>
                </a:cubicBezTo>
                <a:cubicBezTo>
                  <a:pt x="406872" y="70170"/>
                  <a:pt x="403244" y="76046"/>
                  <a:pt x="399453" y="81811"/>
                </a:cubicBezTo>
                <a:cubicBezTo>
                  <a:pt x="394663" y="89097"/>
                  <a:pt x="394382" y="94032"/>
                  <a:pt x="399346" y="98083"/>
                </a:cubicBezTo>
                <a:cubicBezTo>
                  <a:pt x="428062" y="121519"/>
                  <a:pt x="450822" y="150083"/>
                  <a:pt x="471592" y="180524"/>
                </a:cubicBezTo>
                <a:cubicBezTo>
                  <a:pt x="476398" y="187569"/>
                  <a:pt x="476844" y="193688"/>
                  <a:pt x="473550" y="200923"/>
                </a:cubicBezTo>
                <a:cubicBezTo>
                  <a:pt x="470171" y="208346"/>
                  <a:pt x="467091" y="215905"/>
                  <a:pt x="463677" y="223311"/>
                </a:cubicBezTo>
                <a:cubicBezTo>
                  <a:pt x="461993" y="226965"/>
                  <a:pt x="462995" y="228697"/>
                  <a:pt x="466852" y="229083"/>
                </a:cubicBezTo>
                <a:moveTo>
                  <a:pt x="474186" y="928382"/>
                </a:moveTo>
                <a:cubicBezTo>
                  <a:pt x="469297" y="891529"/>
                  <a:pt x="462961" y="854794"/>
                  <a:pt x="459927" y="817790"/>
                </a:cubicBezTo>
                <a:cubicBezTo>
                  <a:pt x="456905" y="780939"/>
                  <a:pt x="457197" y="743817"/>
                  <a:pt x="456025" y="706469"/>
                </a:cubicBezTo>
                <a:cubicBezTo>
                  <a:pt x="425780" y="707923"/>
                  <a:pt x="396554" y="709327"/>
                  <a:pt x="366863" y="710754"/>
                </a:cubicBezTo>
                <a:cubicBezTo>
                  <a:pt x="366546" y="714450"/>
                  <a:pt x="366201" y="716832"/>
                  <a:pt x="366159" y="719219"/>
                </a:cubicBezTo>
                <a:cubicBezTo>
                  <a:pt x="365479" y="757672"/>
                  <a:pt x="364935" y="796129"/>
                  <a:pt x="364159" y="834581"/>
                </a:cubicBezTo>
                <a:cubicBezTo>
                  <a:pt x="363450" y="869762"/>
                  <a:pt x="362581" y="904941"/>
                  <a:pt x="361633" y="940117"/>
                </a:cubicBezTo>
                <a:cubicBezTo>
                  <a:pt x="360619" y="977749"/>
                  <a:pt x="359431" y="1015376"/>
                  <a:pt x="358313" y="1053005"/>
                </a:cubicBezTo>
                <a:cubicBezTo>
                  <a:pt x="358265" y="1054641"/>
                  <a:pt x="358149" y="1056276"/>
                  <a:pt x="358081" y="1057912"/>
                </a:cubicBezTo>
                <a:cubicBezTo>
                  <a:pt x="356598" y="1093463"/>
                  <a:pt x="355081" y="1129014"/>
                  <a:pt x="353706" y="1164570"/>
                </a:cubicBezTo>
                <a:cubicBezTo>
                  <a:pt x="353604" y="1167221"/>
                  <a:pt x="354516" y="1169911"/>
                  <a:pt x="354951" y="1172547"/>
                </a:cubicBezTo>
                <a:cubicBezTo>
                  <a:pt x="416984" y="1173689"/>
                  <a:pt x="478158" y="1174816"/>
                  <a:pt x="540959" y="1175972"/>
                </a:cubicBezTo>
                <a:cubicBezTo>
                  <a:pt x="513162" y="1094194"/>
                  <a:pt x="489081" y="1013598"/>
                  <a:pt x="474186" y="928382"/>
                </a:cubicBezTo>
                <a:moveTo>
                  <a:pt x="513768" y="1417676"/>
                </a:moveTo>
                <a:cubicBezTo>
                  <a:pt x="515785" y="1417344"/>
                  <a:pt x="517792" y="1416889"/>
                  <a:pt x="519822" y="1416700"/>
                </a:cubicBezTo>
                <a:cubicBezTo>
                  <a:pt x="557234" y="1413220"/>
                  <a:pt x="594682" y="1410089"/>
                  <a:pt x="632041" y="1406122"/>
                </a:cubicBezTo>
                <a:cubicBezTo>
                  <a:pt x="643122" y="1404945"/>
                  <a:pt x="654730" y="1405292"/>
                  <a:pt x="665040" y="1400634"/>
                </a:cubicBezTo>
                <a:cubicBezTo>
                  <a:pt x="665352" y="1398517"/>
                  <a:pt x="665651" y="1397324"/>
                  <a:pt x="665677" y="1396126"/>
                </a:cubicBezTo>
                <a:cubicBezTo>
                  <a:pt x="665722" y="1394084"/>
                  <a:pt x="665674" y="1392032"/>
                  <a:pt x="665529" y="1389994"/>
                </a:cubicBezTo>
                <a:cubicBezTo>
                  <a:pt x="663118" y="1356121"/>
                  <a:pt x="650063" y="1327787"/>
                  <a:pt x="623046" y="1306238"/>
                </a:cubicBezTo>
                <a:cubicBezTo>
                  <a:pt x="613485" y="1298611"/>
                  <a:pt x="605001" y="1289635"/>
                  <a:pt x="596015" y="1281285"/>
                </a:cubicBezTo>
                <a:cubicBezTo>
                  <a:pt x="578506" y="1265018"/>
                  <a:pt x="567837" y="1245446"/>
                  <a:pt x="567683" y="1220059"/>
                </a:cubicBezTo>
                <a:cubicBezTo>
                  <a:pt x="558046" y="1220059"/>
                  <a:pt x="549136" y="1219649"/>
                  <a:pt x="540273" y="1220129"/>
                </a:cubicBezTo>
                <a:cubicBezTo>
                  <a:pt x="501512" y="1222229"/>
                  <a:pt x="462775" y="1224768"/>
                  <a:pt x="424010" y="1226781"/>
                </a:cubicBezTo>
                <a:cubicBezTo>
                  <a:pt x="401969" y="1227926"/>
                  <a:pt x="379889" y="1228330"/>
                  <a:pt x="357832" y="1229178"/>
                </a:cubicBezTo>
                <a:cubicBezTo>
                  <a:pt x="355938" y="1229251"/>
                  <a:pt x="354076" y="1230151"/>
                  <a:pt x="352386" y="1230616"/>
                </a:cubicBezTo>
                <a:cubicBezTo>
                  <a:pt x="353642" y="1262222"/>
                  <a:pt x="355769" y="1293219"/>
                  <a:pt x="355852" y="1324222"/>
                </a:cubicBezTo>
                <a:cubicBezTo>
                  <a:pt x="355936" y="1355438"/>
                  <a:pt x="353988" y="1386659"/>
                  <a:pt x="352930" y="1417867"/>
                </a:cubicBezTo>
                <a:cubicBezTo>
                  <a:pt x="406069" y="1417867"/>
                  <a:pt x="458771" y="1417867"/>
                  <a:pt x="513768" y="1417676"/>
                </a:cubicBezTo>
                <a:moveTo>
                  <a:pt x="387930" y="499741"/>
                </a:moveTo>
                <a:cubicBezTo>
                  <a:pt x="410797" y="498777"/>
                  <a:pt x="433665" y="497860"/>
                  <a:pt x="456529" y="496826"/>
                </a:cubicBezTo>
                <a:cubicBezTo>
                  <a:pt x="466656" y="496369"/>
                  <a:pt x="475418" y="493371"/>
                  <a:pt x="482355" y="485095"/>
                </a:cubicBezTo>
                <a:cubicBezTo>
                  <a:pt x="509188" y="453083"/>
                  <a:pt x="525387" y="416636"/>
                  <a:pt x="528016" y="374829"/>
                </a:cubicBezTo>
                <a:cubicBezTo>
                  <a:pt x="530547" y="334558"/>
                  <a:pt x="520095" y="297041"/>
                  <a:pt x="501375" y="261643"/>
                </a:cubicBezTo>
                <a:cubicBezTo>
                  <a:pt x="499379" y="257869"/>
                  <a:pt x="496654" y="254482"/>
                  <a:pt x="493534" y="249818"/>
                </a:cubicBezTo>
                <a:cubicBezTo>
                  <a:pt x="490233" y="254212"/>
                  <a:pt x="487883" y="256986"/>
                  <a:pt x="485920" y="260010"/>
                </a:cubicBezTo>
                <a:cubicBezTo>
                  <a:pt x="475010" y="276824"/>
                  <a:pt x="464300" y="293767"/>
                  <a:pt x="453305" y="310523"/>
                </a:cubicBezTo>
                <a:cubicBezTo>
                  <a:pt x="447028" y="320089"/>
                  <a:pt x="440916" y="329858"/>
                  <a:pt x="433678" y="338672"/>
                </a:cubicBezTo>
                <a:cubicBezTo>
                  <a:pt x="425909" y="348131"/>
                  <a:pt x="413084" y="349691"/>
                  <a:pt x="403713" y="343710"/>
                </a:cubicBezTo>
                <a:cubicBezTo>
                  <a:pt x="394358" y="337739"/>
                  <a:pt x="391675" y="327526"/>
                  <a:pt x="396427" y="315612"/>
                </a:cubicBezTo>
                <a:cubicBezTo>
                  <a:pt x="397334" y="313339"/>
                  <a:pt x="398595" y="311210"/>
                  <a:pt x="399663" y="309000"/>
                </a:cubicBezTo>
                <a:cubicBezTo>
                  <a:pt x="417094" y="272900"/>
                  <a:pt x="434331" y="236704"/>
                  <a:pt x="452097" y="200770"/>
                </a:cubicBezTo>
                <a:cubicBezTo>
                  <a:pt x="455910" y="193060"/>
                  <a:pt x="455310" y="187173"/>
                  <a:pt x="450118" y="180596"/>
                </a:cubicBezTo>
                <a:cubicBezTo>
                  <a:pt x="428273" y="152922"/>
                  <a:pt x="405805" y="125901"/>
                  <a:pt x="376545" y="105525"/>
                </a:cubicBezTo>
                <a:cubicBezTo>
                  <a:pt x="374483" y="104089"/>
                  <a:pt x="372013" y="103239"/>
                  <a:pt x="368791" y="101653"/>
                </a:cubicBezTo>
                <a:cubicBezTo>
                  <a:pt x="367942" y="116965"/>
                  <a:pt x="367019" y="130814"/>
                  <a:pt x="366449" y="144676"/>
                </a:cubicBezTo>
                <a:cubicBezTo>
                  <a:pt x="365912" y="157758"/>
                  <a:pt x="365593" y="170854"/>
                  <a:pt x="365447" y="183946"/>
                </a:cubicBezTo>
                <a:cubicBezTo>
                  <a:pt x="365020" y="221975"/>
                  <a:pt x="363367" y="260055"/>
                  <a:pt x="364738" y="298022"/>
                </a:cubicBezTo>
                <a:cubicBezTo>
                  <a:pt x="366329" y="342101"/>
                  <a:pt x="370336" y="386106"/>
                  <a:pt x="373865" y="430096"/>
                </a:cubicBezTo>
                <a:cubicBezTo>
                  <a:pt x="375530" y="450849"/>
                  <a:pt x="378387" y="471514"/>
                  <a:pt x="381088" y="492169"/>
                </a:cubicBezTo>
                <a:cubicBezTo>
                  <a:pt x="381433" y="494807"/>
                  <a:pt x="384102" y="497143"/>
                  <a:pt x="387930" y="499741"/>
                </a:cubicBezTo>
                <a:moveTo>
                  <a:pt x="455850" y="1521476"/>
                </a:moveTo>
                <a:cubicBezTo>
                  <a:pt x="533043" y="1519612"/>
                  <a:pt x="609810" y="1514084"/>
                  <a:pt x="685121" y="1496509"/>
                </a:cubicBezTo>
                <a:cubicBezTo>
                  <a:pt x="683922" y="1481705"/>
                  <a:pt x="679199" y="1467708"/>
                  <a:pt x="672999" y="1456665"/>
                </a:cubicBezTo>
                <a:cubicBezTo>
                  <a:pt x="669933" y="1451203"/>
                  <a:pt x="666057" y="1449329"/>
                  <a:pt x="660009" y="1450249"/>
                </a:cubicBezTo>
                <a:cubicBezTo>
                  <a:pt x="651125" y="1451601"/>
                  <a:pt x="642144" y="1452308"/>
                  <a:pt x="633248" y="1453589"/>
                </a:cubicBezTo>
                <a:cubicBezTo>
                  <a:pt x="572852" y="1462289"/>
                  <a:pt x="511993" y="1465134"/>
                  <a:pt x="451131" y="1467458"/>
                </a:cubicBezTo>
                <a:cubicBezTo>
                  <a:pt x="421697" y="1468582"/>
                  <a:pt x="392192" y="1467837"/>
                  <a:pt x="362719" y="1467934"/>
                </a:cubicBezTo>
                <a:cubicBezTo>
                  <a:pt x="358386" y="1467948"/>
                  <a:pt x="354052" y="1467936"/>
                  <a:pt x="349983" y="1467936"/>
                </a:cubicBezTo>
                <a:cubicBezTo>
                  <a:pt x="347592" y="1485362"/>
                  <a:pt x="348606" y="1509458"/>
                  <a:pt x="352220" y="1519140"/>
                </a:cubicBezTo>
                <a:cubicBezTo>
                  <a:pt x="385617" y="1519916"/>
                  <a:pt x="419507" y="1520703"/>
                  <a:pt x="455850" y="1521476"/>
                </a:cubicBezTo>
                <a:moveTo>
                  <a:pt x="368682" y="544846"/>
                </a:moveTo>
                <a:cubicBezTo>
                  <a:pt x="374258" y="564891"/>
                  <a:pt x="370074" y="584394"/>
                  <a:pt x="363600" y="605633"/>
                </a:cubicBezTo>
                <a:cubicBezTo>
                  <a:pt x="408859" y="604212"/>
                  <a:pt x="452263" y="602850"/>
                  <a:pt x="496351" y="601466"/>
                </a:cubicBezTo>
                <a:cubicBezTo>
                  <a:pt x="496109" y="591095"/>
                  <a:pt x="491408" y="584247"/>
                  <a:pt x="485068" y="579288"/>
                </a:cubicBezTo>
                <a:cubicBezTo>
                  <a:pt x="472414" y="569391"/>
                  <a:pt x="466934" y="556602"/>
                  <a:pt x="466524" y="541026"/>
                </a:cubicBezTo>
                <a:cubicBezTo>
                  <a:pt x="466485" y="539528"/>
                  <a:pt x="465591" y="538053"/>
                  <a:pt x="465000" y="536289"/>
                </a:cubicBezTo>
                <a:cubicBezTo>
                  <a:pt x="460209" y="536289"/>
                  <a:pt x="455761" y="536132"/>
                  <a:pt x="451328" y="536316"/>
                </a:cubicBezTo>
                <a:cubicBezTo>
                  <a:pt x="430930" y="537159"/>
                  <a:pt x="410538" y="538137"/>
                  <a:pt x="390140" y="538979"/>
                </a:cubicBezTo>
                <a:cubicBezTo>
                  <a:pt x="384834" y="539198"/>
                  <a:pt x="379484" y="538790"/>
                  <a:pt x="374215" y="539303"/>
                </a:cubicBezTo>
                <a:cubicBezTo>
                  <a:pt x="372259" y="539494"/>
                  <a:pt x="370480" y="541498"/>
                  <a:pt x="368682" y="544846"/>
                </a:cubicBezTo>
                <a:moveTo>
                  <a:pt x="453915" y="635267"/>
                </a:moveTo>
                <a:cubicBezTo>
                  <a:pt x="427589" y="636632"/>
                  <a:pt x="401262" y="637998"/>
                  <a:pt x="374200" y="639402"/>
                </a:cubicBezTo>
                <a:cubicBezTo>
                  <a:pt x="374200" y="651578"/>
                  <a:pt x="374200" y="661970"/>
                  <a:pt x="374200" y="673206"/>
                </a:cubicBezTo>
                <a:cubicBezTo>
                  <a:pt x="378672" y="673406"/>
                  <a:pt x="382666" y="673863"/>
                  <a:pt x="386639" y="673718"/>
                </a:cubicBezTo>
                <a:cubicBezTo>
                  <a:pt x="431495" y="672082"/>
                  <a:pt x="476352" y="670422"/>
                  <a:pt x="521198" y="668541"/>
                </a:cubicBezTo>
                <a:cubicBezTo>
                  <a:pt x="525584" y="668357"/>
                  <a:pt x="530162" y="667254"/>
                  <a:pt x="534198" y="665521"/>
                </a:cubicBezTo>
                <a:cubicBezTo>
                  <a:pt x="540213" y="662938"/>
                  <a:pt x="541802" y="658194"/>
                  <a:pt x="538413" y="652526"/>
                </a:cubicBezTo>
                <a:cubicBezTo>
                  <a:pt x="536192" y="648813"/>
                  <a:pt x="532979" y="645251"/>
                  <a:pt x="529377" y="642895"/>
                </a:cubicBezTo>
                <a:cubicBezTo>
                  <a:pt x="521426" y="637695"/>
                  <a:pt x="512576" y="634669"/>
                  <a:pt x="502829" y="634808"/>
                </a:cubicBezTo>
                <a:cubicBezTo>
                  <a:pt x="487311" y="635030"/>
                  <a:pt x="471791" y="635092"/>
                  <a:pt x="453915" y="635267"/>
                </a:cubicBezTo>
                <a:close/>
              </a:path>
            </a:pathLst>
          </a:custGeom>
          <a:solidFill>
            <a:srgbClr val="CDD9DF"/>
          </a:solidFill>
          <a:ln w="12700" cap="flat">
            <a:solidFill>
              <a:srgbClr val="CDD9DF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150" name="Free-form: Shape 4149">
            <a:extLst>
              <a:ext uri="{FF2B5EF4-FFF2-40B4-BE49-F238E27FC236}">
                <a16:creationId xmlns:a16="http://schemas.microsoft.com/office/drawing/2014/main" id="{B9250BF9-C2CA-0F81-B533-3B07881BD102}"/>
              </a:ext>
            </a:extLst>
          </p:cNvPr>
          <p:cNvSpPr/>
          <p:nvPr/>
        </p:nvSpPr>
        <p:spPr>
          <a:xfrm>
            <a:off x="3672668" y="3998534"/>
            <a:ext cx="805241" cy="1728763"/>
          </a:xfrm>
          <a:custGeom>
            <a:avLst/>
            <a:gdLst>
              <a:gd name="csX0" fmla="*/ 406842 w 732037"/>
              <a:gd name="csY0" fmla="*/ 38347 h 1571603"/>
              <a:gd name="csX1" fmla="*/ 411944 w 732037"/>
              <a:gd name="csY1" fmla="*/ 38343 h 1571603"/>
              <a:gd name="csX2" fmla="*/ 416198 w 732037"/>
              <a:gd name="csY2" fmla="*/ 53444 h 1571603"/>
              <a:gd name="csX3" fmla="*/ 418945 w 732037"/>
              <a:gd name="csY3" fmla="*/ 34170 h 1571603"/>
              <a:gd name="csX4" fmla="*/ 394077 w 732037"/>
              <a:gd name="csY4" fmla="*/ 12943 h 1571603"/>
              <a:gd name="csX5" fmla="*/ 341415 w 732037"/>
              <a:gd name="csY5" fmla="*/ 11814 h 1571603"/>
              <a:gd name="csX6" fmla="*/ 309440 w 732037"/>
              <a:gd name="csY6" fmla="*/ 65249 h 1571603"/>
              <a:gd name="csX7" fmla="*/ 319632 w 732037"/>
              <a:gd name="csY7" fmla="*/ 85914 h 1571603"/>
              <a:gd name="csX8" fmla="*/ 318632 w 732037"/>
              <a:gd name="csY8" fmla="*/ 110015 h 1571603"/>
              <a:gd name="csX9" fmla="*/ 246921 w 732037"/>
              <a:gd name="csY9" fmla="*/ 198083 h 1571603"/>
              <a:gd name="csX10" fmla="*/ 202660 w 732037"/>
              <a:gd name="csY10" fmla="*/ 269911 h 1571603"/>
              <a:gd name="csX11" fmla="*/ 176707 w 732037"/>
              <a:gd name="csY11" fmla="*/ 357233 h 1571603"/>
              <a:gd name="csX12" fmla="*/ 190612 w 732037"/>
              <a:gd name="csY12" fmla="*/ 439700 h 1571603"/>
              <a:gd name="csX13" fmla="*/ 227544 w 732037"/>
              <a:gd name="csY13" fmla="*/ 505527 h 1571603"/>
              <a:gd name="csX14" fmla="*/ 232541 w 732037"/>
              <a:gd name="csY14" fmla="*/ 516294 h 1571603"/>
              <a:gd name="csX15" fmla="*/ 224356 w 732037"/>
              <a:gd name="csY15" fmla="*/ 528960 h 1571603"/>
              <a:gd name="csX16" fmla="*/ 227944 w 732037"/>
              <a:gd name="csY16" fmla="*/ 540026 h 1571603"/>
              <a:gd name="csX17" fmla="*/ 238897 w 732037"/>
              <a:gd name="csY17" fmla="*/ 545570 h 1571603"/>
              <a:gd name="csX18" fmla="*/ 242386 w 732037"/>
              <a:gd name="csY18" fmla="*/ 571785 h 1571603"/>
              <a:gd name="csX19" fmla="*/ 214067 w 732037"/>
              <a:gd name="csY19" fmla="*/ 590809 h 1571603"/>
              <a:gd name="csX20" fmla="*/ 201355 w 732037"/>
              <a:gd name="csY20" fmla="*/ 609067 h 1571603"/>
              <a:gd name="csX21" fmla="*/ 188474 w 732037"/>
              <a:gd name="csY21" fmla="*/ 628398 h 1571603"/>
              <a:gd name="csX22" fmla="*/ 162658 w 732037"/>
              <a:gd name="csY22" fmla="*/ 657096 h 1571603"/>
              <a:gd name="csX23" fmla="*/ 175395 w 732037"/>
              <a:gd name="csY23" fmla="*/ 691621 h 1571603"/>
              <a:gd name="csX24" fmla="*/ 201948 w 732037"/>
              <a:gd name="csY24" fmla="*/ 700523 h 1571603"/>
              <a:gd name="csX25" fmla="*/ 241426 w 732037"/>
              <a:gd name="csY25" fmla="*/ 706574 h 1571603"/>
              <a:gd name="csX26" fmla="*/ 242586 w 732037"/>
              <a:gd name="csY26" fmla="*/ 715946 h 1571603"/>
              <a:gd name="csX27" fmla="*/ 242424 w 732037"/>
              <a:gd name="csY27" fmla="*/ 801932 h 1571603"/>
              <a:gd name="csX28" fmla="*/ 238000 w 732037"/>
              <a:gd name="csY28" fmla="*/ 846774 h 1571603"/>
              <a:gd name="csX29" fmla="*/ 232752 w 732037"/>
              <a:gd name="csY29" fmla="*/ 891559 h 1571603"/>
              <a:gd name="csX30" fmla="*/ 223037 w 732037"/>
              <a:gd name="csY30" fmla="*/ 950433 h 1571603"/>
              <a:gd name="csX31" fmla="*/ 210247 w 732037"/>
              <a:gd name="csY31" fmla="*/ 1012485 h 1571603"/>
              <a:gd name="csX32" fmla="*/ 194820 w 732037"/>
              <a:gd name="csY32" fmla="*/ 1069074 h 1571603"/>
              <a:gd name="csX33" fmla="*/ 165707 w 732037"/>
              <a:gd name="csY33" fmla="*/ 1163788 h 1571603"/>
              <a:gd name="csX34" fmla="*/ 144382 w 732037"/>
              <a:gd name="csY34" fmla="*/ 1185530 h 1571603"/>
              <a:gd name="csX35" fmla="*/ 129590 w 732037"/>
              <a:gd name="csY35" fmla="*/ 1191342 h 1571603"/>
              <a:gd name="csX36" fmla="*/ 122255 w 732037"/>
              <a:gd name="csY36" fmla="*/ 1208476 h 1571603"/>
              <a:gd name="csX37" fmla="*/ 127491 w 732037"/>
              <a:gd name="csY37" fmla="*/ 1222193 h 1571603"/>
              <a:gd name="csX38" fmla="*/ 118348 w 732037"/>
              <a:gd name="csY38" fmla="*/ 1261470 h 1571603"/>
              <a:gd name="csX39" fmla="*/ 58232 w 732037"/>
              <a:gd name="csY39" fmla="*/ 1319224 h 1571603"/>
              <a:gd name="csX40" fmla="*/ 28815 w 732037"/>
              <a:gd name="csY40" fmla="*/ 1389717 h 1571603"/>
              <a:gd name="csX41" fmla="*/ 32634 w 732037"/>
              <a:gd name="csY41" fmla="*/ 1426050 h 1571603"/>
              <a:gd name="csX42" fmla="*/ 30331 w 732037"/>
              <a:gd name="csY42" fmla="*/ 1441003 h 1571603"/>
              <a:gd name="csX43" fmla="*/ 9180 w 732037"/>
              <a:gd name="csY43" fmla="*/ 1516655 h 1571603"/>
              <a:gd name="csX44" fmla="*/ 20082 w 732037"/>
              <a:gd name="csY44" fmla="*/ 1531402 h 1571603"/>
              <a:gd name="csX45" fmla="*/ 74798 w 732037"/>
              <a:gd name="csY45" fmla="*/ 1543794 h 1571603"/>
              <a:gd name="csX46" fmla="*/ 113225 w 732037"/>
              <a:gd name="csY46" fmla="*/ 1550305 h 1571603"/>
              <a:gd name="csX47" fmla="*/ 136142 w 732037"/>
              <a:gd name="csY47" fmla="*/ 1553484 h 1571603"/>
              <a:gd name="csX48" fmla="*/ 177578 w 732037"/>
              <a:gd name="csY48" fmla="*/ 1556220 h 1571603"/>
              <a:gd name="csX49" fmla="*/ 231027 w 732037"/>
              <a:gd name="csY49" fmla="*/ 1560698 h 1571603"/>
              <a:gd name="csX50" fmla="*/ 254342 w 732037"/>
              <a:gd name="csY50" fmla="*/ 1561142 h 1571603"/>
              <a:gd name="csX51" fmla="*/ 459180 w 732037"/>
              <a:gd name="csY51" fmla="*/ 1563411 h 1571603"/>
              <a:gd name="csX52" fmla="*/ 531340 w 732037"/>
              <a:gd name="csY52" fmla="*/ 1560936 h 1571603"/>
              <a:gd name="csX53" fmla="*/ 590888 w 732037"/>
              <a:gd name="csY53" fmla="*/ 1555951 h 1571603"/>
              <a:gd name="csX54" fmla="*/ 710712 w 732037"/>
              <a:gd name="csY54" fmla="*/ 1533916 h 1571603"/>
              <a:gd name="csX55" fmla="*/ 724356 w 732037"/>
              <a:gd name="csY55" fmla="*/ 1516144 h 1571603"/>
              <a:gd name="csX56" fmla="*/ 707380 w 732037"/>
              <a:gd name="csY56" fmla="*/ 1449380 h 1571603"/>
              <a:gd name="csX57" fmla="*/ 707050 w 732037"/>
              <a:gd name="csY57" fmla="*/ 1440881 h 1571603"/>
              <a:gd name="csX58" fmla="*/ 731479 w 732037"/>
              <a:gd name="csY58" fmla="*/ 1500017 h 1571603"/>
              <a:gd name="csX59" fmla="*/ 731163 w 732037"/>
              <a:gd name="csY59" fmla="*/ 1513759 h 1571603"/>
              <a:gd name="csX60" fmla="*/ 731650 w 732037"/>
              <a:gd name="csY60" fmla="*/ 1521766 h 1571603"/>
              <a:gd name="csX61" fmla="*/ 721896 w 732037"/>
              <a:gd name="csY61" fmla="*/ 1537319 h 1571603"/>
              <a:gd name="csX62" fmla="*/ 657740 w 732037"/>
              <a:gd name="csY62" fmla="*/ 1553265 h 1571603"/>
              <a:gd name="csX63" fmla="*/ 507791 w 732037"/>
              <a:gd name="csY63" fmla="*/ 1568943 h 1571603"/>
              <a:gd name="csX64" fmla="*/ 264676 w 732037"/>
              <a:gd name="csY64" fmla="*/ 1569724 h 1571603"/>
              <a:gd name="csX65" fmla="*/ 82743 w 732037"/>
              <a:gd name="csY65" fmla="*/ 1553254 h 1571603"/>
              <a:gd name="csX66" fmla="*/ 17072 w 732037"/>
              <a:gd name="csY66" fmla="*/ 1538153 h 1571603"/>
              <a:gd name="csX67" fmla="*/ 275 w 732037"/>
              <a:gd name="csY67" fmla="*/ 1513030 h 1571603"/>
              <a:gd name="csX68" fmla="*/ 20923 w 732037"/>
              <a:gd name="csY68" fmla="*/ 1441861 h 1571603"/>
              <a:gd name="csX69" fmla="*/ 23045 w 732037"/>
              <a:gd name="csY69" fmla="*/ 1423105 h 1571603"/>
              <a:gd name="csX70" fmla="*/ 30564 w 732037"/>
              <a:gd name="csY70" fmla="*/ 1346289 h 1571603"/>
              <a:gd name="csX71" fmla="*/ 71350 w 732037"/>
              <a:gd name="csY71" fmla="*/ 1295039 h 1571603"/>
              <a:gd name="csX72" fmla="*/ 112257 w 732037"/>
              <a:gd name="csY72" fmla="*/ 1255093 h 1571603"/>
              <a:gd name="csX73" fmla="*/ 115864 w 732037"/>
              <a:gd name="csY73" fmla="*/ 1217271 h 1571603"/>
              <a:gd name="csX74" fmla="*/ 112256 w 732037"/>
              <a:gd name="csY74" fmla="*/ 1210870 h 1571603"/>
              <a:gd name="csX75" fmla="*/ 121141 w 732037"/>
              <a:gd name="csY75" fmla="*/ 1186548 h 1571603"/>
              <a:gd name="csX76" fmla="*/ 136571 w 732037"/>
              <a:gd name="csY76" fmla="*/ 1179850 h 1571603"/>
              <a:gd name="csX77" fmla="*/ 158281 w 732037"/>
              <a:gd name="csY77" fmla="*/ 1157879 h 1571603"/>
              <a:gd name="csX78" fmla="*/ 187986 w 732037"/>
              <a:gd name="csY78" fmla="*/ 1059736 h 1571603"/>
              <a:gd name="csX79" fmla="*/ 217119 w 732037"/>
              <a:gd name="csY79" fmla="*/ 938896 h 1571603"/>
              <a:gd name="csX80" fmla="*/ 225792 w 732037"/>
              <a:gd name="csY80" fmla="*/ 893236 h 1571603"/>
              <a:gd name="csX81" fmla="*/ 226150 w 732037"/>
              <a:gd name="csY81" fmla="*/ 887970 h 1571603"/>
              <a:gd name="csX82" fmla="*/ 230782 w 732037"/>
              <a:gd name="csY82" fmla="*/ 853969 h 1571603"/>
              <a:gd name="csX83" fmla="*/ 230786 w 732037"/>
              <a:gd name="csY83" fmla="*/ 848558 h 1571603"/>
              <a:gd name="csX84" fmla="*/ 233315 w 732037"/>
              <a:gd name="csY84" fmla="*/ 824438 h 1571603"/>
              <a:gd name="csX85" fmla="*/ 233199 w 732037"/>
              <a:gd name="csY85" fmla="*/ 819050 h 1571603"/>
              <a:gd name="csX86" fmla="*/ 235848 w 732037"/>
              <a:gd name="csY86" fmla="*/ 782380 h 1571603"/>
              <a:gd name="csX87" fmla="*/ 237465 w 732037"/>
              <a:gd name="csY87" fmla="*/ 719113 h 1571603"/>
              <a:gd name="csX88" fmla="*/ 233057 w 732037"/>
              <a:gd name="csY88" fmla="*/ 713160 h 1571603"/>
              <a:gd name="csX89" fmla="*/ 203056 w 732037"/>
              <a:gd name="csY89" fmla="*/ 708405 h 1571603"/>
              <a:gd name="csX90" fmla="*/ 169628 w 732037"/>
              <a:gd name="csY90" fmla="*/ 698106 h 1571603"/>
              <a:gd name="csX91" fmla="*/ 153237 w 732037"/>
              <a:gd name="csY91" fmla="*/ 659111 h 1571603"/>
              <a:gd name="csX92" fmla="*/ 178365 w 732037"/>
              <a:gd name="csY92" fmla="*/ 626008 h 1571603"/>
              <a:gd name="csX93" fmla="*/ 191885 w 732037"/>
              <a:gd name="csY93" fmla="*/ 617513 h 1571603"/>
              <a:gd name="csX94" fmla="*/ 193681 w 732037"/>
              <a:gd name="csY94" fmla="*/ 610098 h 1571603"/>
              <a:gd name="csX95" fmla="*/ 213301 w 732037"/>
              <a:gd name="csY95" fmla="*/ 579885 h 1571603"/>
              <a:gd name="csX96" fmla="*/ 229635 w 732037"/>
              <a:gd name="csY96" fmla="*/ 571429 h 1571603"/>
              <a:gd name="csX97" fmla="*/ 237351 w 732037"/>
              <a:gd name="csY97" fmla="*/ 565882 h 1571603"/>
              <a:gd name="csX98" fmla="*/ 233673 w 732037"/>
              <a:gd name="csY98" fmla="*/ 550926 h 1571603"/>
              <a:gd name="csX99" fmla="*/ 226799 w 732037"/>
              <a:gd name="csY99" fmla="*/ 548359 h 1571603"/>
              <a:gd name="csX100" fmla="*/ 218639 w 732037"/>
              <a:gd name="csY100" fmla="*/ 522664 h 1571603"/>
              <a:gd name="csX101" fmla="*/ 218264 w 732037"/>
              <a:gd name="csY101" fmla="*/ 505463 h 1571603"/>
              <a:gd name="csX102" fmla="*/ 181762 w 732037"/>
              <a:gd name="csY102" fmla="*/ 437574 h 1571603"/>
              <a:gd name="csX103" fmla="*/ 185971 w 732037"/>
              <a:gd name="csY103" fmla="*/ 289069 h 1571603"/>
              <a:gd name="csX104" fmla="*/ 253787 w 732037"/>
              <a:gd name="csY104" fmla="*/ 175580 h 1571603"/>
              <a:gd name="csX105" fmla="*/ 309639 w 732037"/>
              <a:gd name="csY105" fmla="*/ 108695 h 1571603"/>
              <a:gd name="csX106" fmla="*/ 318061 w 732037"/>
              <a:gd name="csY106" fmla="*/ 98855 h 1571603"/>
              <a:gd name="csX107" fmla="*/ 304967 w 732037"/>
              <a:gd name="csY107" fmla="*/ 70056 h 1571603"/>
              <a:gd name="csX108" fmla="*/ 317012 w 732037"/>
              <a:gd name="csY108" fmla="*/ 19436 h 1571603"/>
              <a:gd name="csX109" fmla="*/ 415542 w 732037"/>
              <a:gd name="csY109" fmla="*/ 18221 h 1571603"/>
              <a:gd name="csX110" fmla="*/ 423203 w 732037"/>
              <a:gd name="csY110" fmla="*/ 82660 h 1571603"/>
              <a:gd name="csX111" fmla="*/ 413361 w 732037"/>
              <a:gd name="csY111" fmla="*/ 97975 h 1571603"/>
              <a:gd name="csX112" fmla="*/ 421654 w 732037"/>
              <a:gd name="csY112" fmla="*/ 106676 h 1571603"/>
              <a:gd name="csX113" fmla="*/ 487032 w 732037"/>
              <a:gd name="csY113" fmla="*/ 184632 h 1571603"/>
              <a:gd name="csX114" fmla="*/ 489213 w 732037"/>
              <a:gd name="csY114" fmla="*/ 208238 h 1571603"/>
              <a:gd name="csX115" fmla="*/ 476520 w 732037"/>
              <a:gd name="csY115" fmla="*/ 235738 h 1571603"/>
              <a:gd name="csX116" fmla="*/ 472850 w 732037"/>
              <a:gd name="csY116" fmla="*/ 230703 h 1571603"/>
              <a:gd name="csX117" fmla="*/ 482723 w 732037"/>
              <a:gd name="csY117" fmla="*/ 208315 h 1571603"/>
              <a:gd name="csX118" fmla="*/ 480764 w 732037"/>
              <a:gd name="csY118" fmla="*/ 187916 h 1571603"/>
              <a:gd name="csX119" fmla="*/ 408519 w 732037"/>
              <a:gd name="csY119" fmla="*/ 105475 h 1571603"/>
              <a:gd name="csX120" fmla="*/ 408625 w 732037"/>
              <a:gd name="csY120" fmla="*/ 89203 h 1571603"/>
              <a:gd name="csX121" fmla="*/ 419600 w 732037"/>
              <a:gd name="csY121" fmla="*/ 71648 h 1571603"/>
              <a:gd name="csX122" fmla="*/ 418792 w 732037"/>
              <a:gd name="csY122" fmla="*/ 63179 h 1571603"/>
              <a:gd name="csX123" fmla="*/ 410943 w 732037"/>
              <a:gd name="csY123" fmla="*/ 66417 h 1571603"/>
              <a:gd name="csX124" fmla="*/ 400140 w 732037"/>
              <a:gd name="csY124" fmla="*/ 76155 h 1571603"/>
              <a:gd name="csX125" fmla="*/ 360599 w 732037"/>
              <a:gd name="csY125" fmla="*/ 51379 h 1571603"/>
              <a:gd name="csX126" fmla="*/ 360842 w 732037"/>
              <a:gd name="csY126" fmla="*/ 39128 h 1571603"/>
              <a:gd name="csX127" fmla="*/ 369470 w 732037"/>
              <a:gd name="csY127" fmla="*/ 30960 h 1571603"/>
              <a:gd name="csX128" fmla="*/ 365613 w 732037"/>
              <a:gd name="csY128" fmla="*/ 49108 h 1571603"/>
              <a:gd name="csX129" fmla="*/ 389468 w 732037"/>
              <a:gd name="csY129" fmla="*/ 71608 h 1571603"/>
              <a:gd name="csX130" fmla="*/ 408822 w 732037"/>
              <a:gd name="csY130" fmla="*/ 46613 h 1571603"/>
              <a:gd name="csX131" fmla="*/ 406842 w 732037"/>
              <a:gd name="csY131" fmla="*/ 38347 h 157160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</a:cxnLst>
            <a:rect l="l" t="t" r="r" b="b"/>
            <a:pathLst>
              <a:path w="732037" h="1571603">
                <a:moveTo>
                  <a:pt x="406842" y="38347"/>
                </a:moveTo>
                <a:cubicBezTo>
                  <a:pt x="408555" y="35869"/>
                  <a:pt x="410622" y="34608"/>
                  <a:pt x="411944" y="38343"/>
                </a:cubicBezTo>
                <a:cubicBezTo>
                  <a:pt x="413676" y="43242"/>
                  <a:pt x="414797" y="48356"/>
                  <a:pt x="416198" y="53444"/>
                </a:cubicBezTo>
                <a:cubicBezTo>
                  <a:pt x="422922" y="48977"/>
                  <a:pt x="424340" y="41699"/>
                  <a:pt x="418945" y="34170"/>
                </a:cubicBezTo>
                <a:cubicBezTo>
                  <a:pt x="412483" y="25152"/>
                  <a:pt x="404444" y="17554"/>
                  <a:pt x="394077" y="12943"/>
                </a:cubicBezTo>
                <a:cubicBezTo>
                  <a:pt x="376702" y="5216"/>
                  <a:pt x="358713" y="6244"/>
                  <a:pt x="341415" y="11814"/>
                </a:cubicBezTo>
                <a:cubicBezTo>
                  <a:pt x="323675" y="17525"/>
                  <a:pt x="304459" y="39816"/>
                  <a:pt x="309440" y="65249"/>
                </a:cubicBezTo>
                <a:cubicBezTo>
                  <a:pt x="310868" y="72543"/>
                  <a:pt x="315482" y="79463"/>
                  <a:pt x="319632" y="85914"/>
                </a:cubicBezTo>
                <a:cubicBezTo>
                  <a:pt x="325434" y="94933"/>
                  <a:pt x="325800" y="102817"/>
                  <a:pt x="318632" y="110015"/>
                </a:cubicBezTo>
                <a:cubicBezTo>
                  <a:pt x="291775" y="136984"/>
                  <a:pt x="269594" y="167702"/>
                  <a:pt x="246921" y="198083"/>
                </a:cubicBezTo>
                <a:cubicBezTo>
                  <a:pt x="230003" y="220751"/>
                  <a:pt x="215685" y="244921"/>
                  <a:pt x="202660" y="269911"/>
                </a:cubicBezTo>
                <a:cubicBezTo>
                  <a:pt x="188381" y="297309"/>
                  <a:pt x="179513" y="326657"/>
                  <a:pt x="176707" y="357233"/>
                </a:cubicBezTo>
                <a:cubicBezTo>
                  <a:pt x="174106" y="385578"/>
                  <a:pt x="180131" y="413140"/>
                  <a:pt x="190612" y="439700"/>
                </a:cubicBezTo>
                <a:cubicBezTo>
                  <a:pt x="199946" y="463353"/>
                  <a:pt x="211538" y="485623"/>
                  <a:pt x="227544" y="505527"/>
                </a:cubicBezTo>
                <a:cubicBezTo>
                  <a:pt x="229982" y="508558"/>
                  <a:pt x="230954" y="512768"/>
                  <a:pt x="232541" y="516294"/>
                </a:cubicBezTo>
                <a:cubicBezTo>
                  <a:pt x="229578" y="520824"/>
                  <a:pt x="226658" y="524724"/>
                  <a:pt x="224356" y="528960"/>
                </a:cubicBezTo>
                <a:cubicBezTo>
                  <a:pt x="221823" y="533618"/>
                  <a:pt x="222675" y="537588"/>
                  <a:pt x="227944" y="540026"/>
                </a:cubicBezTo>
                <a:cubicBezTo>
                  <a:pt x="231656" y="541743"/>
                  <a:pt x="235331" y="543568"/>
                  <a:pt x="238897" y="545570"/>
                </a:cubicBezTo>
                <a:cubicBezTo>
                  <a:pt x="249613" y="551585"/>
                  <a:pt x="251795" y="563681"/>
                  <a:pt x="242386" y="571785"/>
                </a:cubicBezTo>
                <a:cubicBezTo>
                  <a:pt x="233816" y="579166"/>
                  <a:pt x="224045" y="585423"/>
                  <a:pt x="214067" y="590809"/>
                </a:cubicBezTo>
                <a:cubicBezTo>
                  <a:pt x="206271" y="595018"/>
                  <a:pt x="202051" y="601487"/>
                  <a:pt x="201355" y="609067"/>
                </a:cubicBezTo>
                <a:cubicBezTo>
                  <a:pt x="200489" y="618497"/>
                  <a:pt x="195720" y="623726"/>
                  <a:pt x="188474" y="628398"/>
                </a:cubicBezTo>
                <a:cubicBezTo>
                  <a:pt x="177332" y="635582"/>
                  <a:pt x="167866" y="644503"/>
                  <a:pt x="162658" y="657096"/>
                </a:cubicBezTo>
                <a:cubicBezTo>
                  <a:pt x="156420" y="672181"/>
                  <a:pt x="160439" y="684301"/>
                  <a:pt x="175395" y="691621"/>
                </a:cubicBezTo>
                <a:cubicBezTo>
                  <a:pt x="183722" y="695697"/>
                  <a:pt x="192859" y="698589"/>
                  <a:pt x="201948" y="700523"/>
                </a:cubicBezTo>
                <a:cubicBezTo>
                  <a:pt x="214634" y="703224"/>
                  <a:pt x="227616" y="704530"/>
                  <a:pt x="241426" y="706574"/>
                </a:cubicBezTo>
                <a:cubicBezTo>
                  <a:pt x="241839" y="709770"/>
                  <a:pt x="242576" y="712857"/>
                  <a:pt x="242586" y="715946"/>
                </a:cubicBezTo>
                <a:cubicBezTo>
                  <a:pt x="242672" y="744610"/>
                  <a:pt x="243133" y="773285"/>
                  <a:pt x="242424" y="801932"/>
                </a:cubicBezTo>
                <a:cubicBezTo>
                  <a:pt x="242053" y="816907"/>
                  <a:pt x="239631" y="831838"/>
                  <a:pt x="238000" y="846774"/>
                </a:cubicBezTo>
                <a:cubicBezTo>
                  <a:pt x="236368" y="861717"/>
                  <a:pt x="234927" y="876693"/>
                  <a:pt x="232752" y="891559"/>
                </a:cubicBezTo>
                <a:cubicBezTo>
                  <a:pt x="229873" y="911238"/>
                  <a:pt x="226675" y="930882"/>
                  <a:pt x="223037" y="950433"/>
                </a:cubicBezTo>
                <a:cubicBezTo>
                  <a:pt x="219173" y="971193"/>
                  <a:pt x="215113" y="991942"/>
                  <a:pt x="210247" y="1012485"/>
                </a:cubicBezTo>
                <a:cubicBezTo>
                  <a:pt x="205743" y="1031500"/>
                  <a:pt x="200395" y="1050337"/>
                  <a:pt x="194820" y="1069074"/>
                </a:cubicBezTo>
                <a:cubicBezTo>
                  <a:pt x="185401" y="1100731"/>
                  <a:pt x="175708" y="1132311"/>
                  <a:pt x="165707" y="1163788"/>
                </a:cubicBezTo>
                <a:cubicBezTo>
                  <a:pt x="162367" y="1174302"/>
                  <a:pt x="156145" y="1182634"/>
                  <a:pt x="144382" y="1185530"/>
                </a:cubicBezTo>
                <a:cubicBezTo>
                  <a:pt x="139281" y="1186787"/>
                  <a:pt x="134434" y="1189193"/>
                  <a:pt x="129590" y="1191342"/>
                </a:cubicBezTo>
                <a:cubicBezTo>
                  <a:pt x="120028" y="1195581"/>
                  <a:pt x="118779" y="1198539"/>
                  <a:pt x="122255" y="1208476"/>
                </a:cubicBezTo>
                <a:cubicBezTo>
                  <a:pt x="123870" y="1213094"/>
                  <a:pt x="125990" y="1217542"/>
                  <a:pt x="127491" y="1222193"/>
                </a:cubicBezTo>
                <a:cubicBezTo>
                  <a:pt x="132294" y="1237066"/>
                  <a:pt x="129961" y="1250353"/>
                  <a:pt x="118348" y="1261470"/>
                </a:cubicBezTo>
                <a:cubicBezTo>
                  <a:pt x="98275" y="1280686"/>
                  <a:pt x="78038" y="1299737"/>
                  <a:pt x="58232" y="1319224"/>
                </a:cubicBezTo>
                <a:cubicBezTo>
                  <a:pt x="38634" y="1338507"/>
                  <a:pt x="29913" y="1362564"/>
                  <a:pt x="28815" y="1389717"/>
                </a:cubicBezTo>
                <a:cubicBezTo>
                  <a:pt x="28318" y="1402031"/>
                  <a:pt x="29110" y="1414206"/>
                  <a:pt x="32634" y="1426050"/>
                </a:cubicBezTo>
                <a:cubicBezTo>
                  <a:pt x="34273" y="1431554"/>
                  <a:pt x="33300" y="1435929"/>
                  <a:pt x="30331" y="1441003"/>
                </a:cubicBezTo>
                <a:cubicBezTo>
                  <a:pt x="16698" y="1464298"/>
                  <a:pt x="8890" y="1489397"/>
                  <a:pt x="9180" y="1516655"/>
                </a:cubicBezTo>
                <a:cubicBezTo>
                  <a:pt x="9291" y="1527012"/>
                  <a:pt x="9917" y="1528771"/>
                  <a:pt x="20082" y="1531402"/>
                </a:cubicBezTo>
                <a:cubicBezTo>
                  <a:pt x="38179" y="1536086"/>
                  <a:pt x="56480" y="1540035"/>
                  <a:pt x="74798" y="1543794"/>
                </a:cubicBezTo>
                <a:cubicBezTo>
                  <a:pt x="87517" y="1546403"/>
                  <a:pt x="100396" y="1548250"/>
                  <a:pt x="113225" y="1550305"/>
                </a:cubicBezTo>
                <a:cubicBezTo>
                  <a:pt x="120841" y="1551524"/>
                  <a:pt x="128467" y="1552843"/>
                  <a:pt x="136142" y="1553484"/>
                </a:cubicBezTo>
                <a:cubicBezTo>
                  <a:pt x="149934" y="1554635"/>
                  <a:pt x="163778" y="1555156"/>
                  <a:pt x="177578" y="1556220"/>
                </a:cubicBezTo>
                <a:cubicBezTo>
                  <a:pt x="195403" y="1557595"/>
                  <a:pt x="213196" y="1559407"/>
                  <a:pt x="231027" y="1560698"/>
                </a:cubicBezTo>
                <a:cubicBezTo>
                  <a:pt x="238768" y="1561259"/>
                  <a:pt x="246585" y="1560709"/>
                  <a:pt x="254342" y="1561142"/>
                </a:cubicBezTo>
                <a:cubicBezTo>
                  <a:pt x="322588" y="1564942"/>
                  <a:pt x="390896" y="1563427"/>
                  <a:pt x="459180" y="1563411"/>
                </a:cubicBezTo>
                <a:cubicBezTo>
                  <a:pt x="483236" y="1563406"/>
                  <a:pt x="507311" y="1562248"/>
                  <a:pt x="531340" y="1560936"/>
                </a:cubicBezTo>
                <a:cubicBezTo>
                  <a:pt x="551225" y="1559849"/>
                  <a:pt x="571160" y="1558554"/>
                  <a:pt x="590888" y="1555951"/>
                </a:cubicBezTo>
                <a:cubicBezTo>
                  <a:pt x="631179" y="1550635"/>
                  <a:pt x="671338" y="1544328"/>
                  <a:pt x="710712" y="1533916"/>
                </a:cubicBezTo>
                <a:cubicBezTo>
                  <a:pt x="722630" y="1530764"/>
                  <a:pt x="724036" y="1528558"/>
                  <a:pt x="724356" y="1516144"/>
                </a:cubicBezTo>
                <a:cubicBezTo>
                  <a:pt x="724970" y="1492256"/>
                  <a:pt x="718637" y="1470245"/>
                  <a:pt x="707380" y="1449380"/>
                </a:cubicBezTo>
                <a:cubicBezTo>
                  <a:pt x="706259" y="1447304"/>
                  <a:pt x="706896" y="1444279"/>
                  <a:pt x="707050" y="1440881"/>
                </a:cubicBezTo>
                <a:cubicBezTo>
                  <a:pt x="722747" y="1457101"/>
                  <a:pt x="728653" y="1477963"/>
                  <a:pt x="731479" y="1500017"/>
                </a:cubicBezTo>
                <a:cubicBezTo>
                  <a:pt x="731992" y="1504029"/>
                  <a:pt x="731781" y="1508135"/>
                  <a:pt x="731163" y="1513759"/>
                </a:cubicBezTo>
                <a:cubicBezTo>
                  <a:pt x="730831" y="1517468"/>
                  <a:pt x="731241" y="1519618"/>
                  <a:pt x="731650" y="1521766"/>
                </a:cubicBezTo>
                <a:cubicBezTo>
                  <a:pt x="733191" y="1529956"/>
                  <a:pt x="730165" y="1535242"/>
                  <a:pt x="721896" y="1537319"/>
                </a:cubicBezTo>
                <a:cubicBezTo>
                  <a:pt x="700520" y="1542690"/>
                  <a:pt x="679367" y="1549248"/>
                  <a:pt x="657740" y="1553265"/>
                </a:cubicBezTo>
                <a:cubicBezTo>
                  <a:pt x="608220" y="1562464"/>
                  <a:pt x="558146" y="1566701"/>
                  <a:pt x="507791" y="1568943"/>
                </a:cubicBezTo>
                <a:cubicBezTo>
                  <a:pt x="426738" y="1572552"/>
                  <a:pt x="345677" y="1572161"/>
                  <a:pt x="264676" y="1569724"/>
                </a:cubicBezTo>
                <a:cubicBezTo>
                  <a:pt x="203800" y="1567891"/>
                  <a:pt x="142882" y="1563907"/>
                  <a:pt x="82743" y="1553254"/>
                </a:cubicBezTo>
                <a:cubicBezTo>
                  <a:pt x="60647" y="1549341"/>
                  <a:pt x="38739" y="1544032"/>
                  <a:pt x="17072" y="1538153"/>
                </a:cubicBezTo>
                <a:cubicBezTo>
                  <a:pt x="1381" y="1533894"/>
                  <a:pt x="-938" y="1529341"/>
                  <a:pt x="275" y="1513030"/>
                </a:cubicBezTo>
                <a:cubicBezTo>
                  <a:pt x="2146" y="1487871"/>
                  <a:pt x="7321" y="1463566"/>
                  <a:pt x="20923" y="1441861"/>
                </a:cubicBezTo>
                <a:cubicBezTo>
                  <a:pt x="24812" y="1435656"/>
                  <a:pt x="24566" y="1429699"/>
                  <a:pt x="23045" y="1423105"/>
                </a:cubicBezTo>
                <a:cubicBezTo>
                  <a:pt x="16952" y="1396684"/>
                  <a:pt x="19689" y="1370924"/>
                  <a:pt x="30564" y="1346289"/>
                </a:cubicBezTo>
                <a:cubicBezTo>
                  <a:pt x="39621" y="1325774"/>
                  <a:pt x="54481" y="1309709"/>
                  <a:pt x="71350" y="1295039"/>
                </a:cubicBezTo>
                <a:cubicBezTo>
                  <a:pt x="85712" y="1282550"/>
                  <a:pt x="99164" y="1268932"/>
                  <a:pt x="112257" y="1255093"/>
                </a:cubicBezTo>
                <a:cubicBezTo>
                  <a:pt x="122891" y="1243852"/>
                  <a:pt x="124955" y="1230879"/>
                  <a:pt x="115864" y="1217271"/>
                </a:cubicBezTo>
                <a:cubicBezTo>
                  <a:pt x="114506" y="1215239"/>
                  <a:pt x="113304" y="1213078"/>
                  <a:pt x="112256" y="1210870"/>
                </a:cubicBezTo>
                <a:cubicBezTo>
                  <a:pt x="106526" y="1198808"/>
                  <a:pt x="109052" y="1191969"/>
                  <a:pt x="121141" y="1186548"/>
                </a:cubicBezTo>
                <a:cubicBezTo>
                  <a:pt x="126274" y="1184246"/>
                  <a:pt x="131201" y="1180803"/>
                  <a:pt x="136571" y="1179850"/>
                </a:cubicBezTo>
                <a:cubicBezTo>
                  <a:pt x="149372" y="1177579"/>
                  <a:pt x="154892" y="1168948"/>
                  <a:pt x="158281" y="1157879"/>
                </a:cubicBezTo>
                <a:cubicBezTo>
                  <a:pt x="168288" y="1125194"/>
                  <a:pt x="179178" y="1092742"/>
                  <a:pt x="187986" y="1059736"/>
                </a:cubicBezTo>
                <a:cubicBezTo>
                  <a:pt x="198666" y="1019713"/>
                  <a:pt x="207813" y="979272"/>
                  <a:pt x="217119" y="938896"/>
                </a:cubicBezTo>
                <a:cubicBezTo>
                  <a:pt x="220491" y="924267"/>
                  <a:pt x="222410" y="909302"/>
                  <a:pt x="225792" y="893236"/>
                </a:cubicBezTo>
                <a:cubicBezTo>
                  <a:pt x="226444" y="890644"/>
                  <a:pt x="226297" y="889307"/>
                  <a:pt x="226150" y="887970"/>
                </a:cubicBezTo>
                <a:cubicBezTo>
                  <a:pt x="227450" y="877085"/>
                  <a:pt x="228750" y="866198"/>
                  <a:pt x="230782" y="853969"/>
                </a:cubicBezTo>
                <a:cubicBezTo>
                  <a:pt x="231271" y="851270"/>
                  <a:pt x="231029" y="849914"/>
                  <a:pt x="230786" y="848558"/>
                </a:cubicBezTo>
                <a:cubicBezTo>
                  <a:pt x="231390" y="840967"/>
                  <a:pt x="231993" y="833375"/>
                  <a:pt x="233315" y="824438"/>
                </a:cubicBezTo>
                <a:cubicBezTo>
                  <a:pt x="233755" y="821744"/>
                  <a:pt x="233477" y="820397"/>
                  <a:pt x="233199" y="819050"/>
                </a:cubicBezTo>
                <a:cubicBezTo>
                  <a:pt x="233786" y="807422"/>
                  <a:pt x="234374" y="795794"/>
                  <a:pt x="235848" y="782380"/>
                </a:cubicBezTo>
                <a:cubicBezTo>
                  <a:pt x="237047" y="760099"/>
                  <a:pt x="237488" y="739606"/>
                  <a:pt x="237465" y="719113"/>
                </a:cubicBezTo>
                <a:cubicBezTo>
                  <a:pt x="237463" y="717127"/>
                  <a:pt x="234595" y="715144"/>
                  <a:pt x="233057" y="713160"/>
                </a:cubicBezTo>
                <a:cubicBezTo>
                  <a:pt x="223043" y="711630"/>
                  <a:pt x="212881" y="710731"/>
                  <a:pt x="203056" y="708405"/>
                </a:cubicBezTo>
                <a:cubicBezTo>
                  <a:pt x="191716" y="705720"/>
                  <a:pt x="180144" y="702931"/>
                  <a:pt x="169628" y="698106"/>
                </a:cubicBezTo>
                <a:cubicBezTo>
                  <a:pt x="154505" y="691164"/>
                  <a:pt x="148867" y="675179"/>
                  <a:pt x="153237" y="659111"/>
                </a:cubicBezTo>
                <a:cubicBezTo>
                  <a:pt x="157196" y="644561"/>
                  <a:pt x="166649" y="634454"/>
                  <a:pt x="178365" y="626008"/>
                </a:cubicBezTo>
                <a:cubicBezTo>
                  <a:pt x="182258" y="623202"/>
                  <a:pt x="186579" y="620992"/>
                  <a:pt x="191885" y="617513"/>
                </a:cubicBezTo>
                <a:cubicBezTo>
                  <a:pt x="194882" y="614532"/>
                  <a:pt x="197062" y="612583"/>
                  <a:pt x="193681" y="610098"/>
                </a:cubicBezTo>
                <a:cubicBezTo>
                  <a:pt x="193381" y="595591"/>
                  <a:pt x="202034" y="586776"/>
                  <a:pt x="213301" y="579885"/>
                </a:cubicBezTo>
                <a:cubicBezTo>
                  <a:pt x="218517" y="576695"/>
                  <a:pt x="224270" y="574393"/>
                  <a:pt x="229635" y="571429"/>
                </a:cubicBezTo>
                <a:cubicBezTo>
                  <a:pt x="232401" y="569901"/>
                  <a:pt x="235344" y="568225"/>
                  <a:pt x="237351" y="565882"/>
                </a:cubicBezTo>
                <a:cubicBezTo>
                  <a:pt x="243193" y="559063"/>
                  <a:pt x="242021" y="554779"/>
                  <a:pt x="233673" y="550926"/>
                </a:cubicBezTo>
                <a:cubicBezTo>
                  <a:pt x="231458" y="549904"/>
                  <a:pt x="229049" y="549314"/>
                  <a:pt x="226799" y="548359"/>
                </a:cubicBezTo>
                <a:cubicBezTo>
                  <a:pt x="215108" y="543398"/>
                  <a:pt x="211118" y="532802"/>
                  <a:pt x="218639" y="522664"/>
                </a:cubicBezTo>
                <a:cubicBezTo>
                  <a:pt x="223647" y="515913"/>
                  <a:pt x="222661" y="511633"/>
                  <a:pt x="218264" y="505463"/>
                </a:cubicBezTo>
                <a:cubicBezTo>
                  <a:pt x="203255" y="484407"/>
                  <a:pt x="190650" y="461993"/>
                  <a:pt x="181762" y="437574"/>
                </a:cubicBezTo>
                <a:cubicBezTo>
                  <a:pt x="163530" y="387483"/>
                  <a:pt x="165826" y="338057"/>
                  <a:pt x="185971" y="289069"/>
                </a:cubicBezTo>
                <a:cubicBezTo>
                  <a:pt x="202921" y="247851"/>
                  <a:pt x="226229" y="210377"/>
                  <a:pt x="253787" y="175580"/>
                </a:cubicBezTo>
                <a:cubicBezTo>
                  <a:pt x="271814" y="152817"/>
                  <a:pt x="290973" y="130951"/>
                  <a:pt x="309639" y="108695"/>
                </a:cubicBezTo>
                <a:cubicBezTo>
                  <a:pt x="312744" y="104993"/>
                  <a:pt x="315922" y="101352"/>
                  <a:pt x="318061" y="98855"/>
                </a:cubicBezTo>
                <a:cubicBezTo>
                  <a:pt x="313257" y="88362"/>
                  <a:pt x="308695" y="79376"/>
                  <a:pt x="304967" y="70056"/>
                </a:cubicBezTo>
                <a:cubicBezTo>
                  <a:pt x="297146" y="50504"/>
                  <a:pt x="303366" y="33481"/>
                  <a:pt x="317012" y="19436"/>
                </a:cubicBezTo>
                <a:cubicBezTo>
                  <a:pt x="344741" y="-9105"/>
                  <a:pt x="393463" y="-3345"/>
                  <a:pt x="415542" y="18221"/>
                </a:cubicBezTo>
                <a:cubicBezTo>
                  <a:pt x="429559" y="31914"/>
                  <a:pt x="438373" y="56968"/>
                  <a:pt x="423203" y="82660"/>
                </a:cubicBezTo>
                <a:cubicBezTo>
                  <a:pt x="420306" y="87568"/>
                  <a:pt x="417047" y="92262"/>
                  <a:pt x="413361" y="97975"/>
                </a:cubicBezTo>
                <a:cubicBezTo>
                  <a:pt x="416167" y="100932"/>
                  <a:pt x="418781" y="103940"/>
                  <a:pt x="421654" y="106676"/>
                </a:cubicBezTo>
                <a:cubicBezTo>
                  <a:pt x="446372" y="130213"/>
                  <a:pt x="467902" y="156374"/>
                  <a:pt x="487032" y="184632"/>
                </a:cubicBezTo>
                <a:cubicBezTo>
                  <a:pt x="492374" y="192525"/>
                  <a:pt x="493990" y="199495"/>
                  <a:pt x="489213" y="208238"/>
                </a:cubicBezTo>
                <a:cubicBezTo>
                  <a:pt x="484525" y="216819"/>
                  <a:pt x="481033" y="226053"/>
                  <a:pt x="476520" y="235738"/>
                </a:cubicBezTo>
                <a:cubicBezTo>
                  <a:pt x="472168" y="236089"/>
                  <a:pt x="471165" y="234358"/>
                  <a:pt x="472850" y="230703"/>
                </a:cubicBezTo>
                <a:cubicBezTo>
                  <a:pt x="476263" y="223297"/>
                  <a:pt x="479344" y="215738"/>
                  <a:pt x="482723" y="208315"/>
                </a:cubicBezTo>
                <a:cubicBezTo>
                  <a:pt x="486016" y="201080"/>
                  <a:pt x="485571" y="194961"/>
                  <a:pt x="480764" y="187916"/>
                </a:cubicBezTo>
                <a:cubicBezTo>
                  <a:pt x="459995" y="157475"/>
                  <a:pt x="437234" y="128912"/>
                  <a:pt x="408519" y="105475"/>
                </a:cubicBezTo>
                <a:cubicBezTo>
                  <a:pt x="403555" y="101425"/>
                  <a:pt x="403835" y="96489"/>
                  <a:pt x="408625" y="89203"/>
                </a:cubicBezTo>
                <a:cubicBezTo>
                  <a:pt x="412416" y="83438"/>
                  <a:pt x="416045" y="77562"/>
                  <a:pt x="419600" y="71648"/>
                </a:cubicBezTo>
                <a:cubicBezTo>
                  <a:pt x="421349" y="68739"/>
                  <a:pt x="422717" y="65537"/>
                  <a:pt x="418792" y="63179"/>
                </a:cubicBezTo>
                <a:cubicBezTo>
                  <a:pt x="414834" y="60801"/>
                  <a:pt x="413218" y="63883"/>
                  <a:pt x="410943" y="66417"/>
                </a:cubicBezTo>
                <a:cubicBezTo>
                  <a:pt x="407706" y="70022"/>
                  <a:pt x="404330" y="74045"/>
                  <a:pt x="400140" y="76155"/>
                </a:cubicBezTo>
                <a:cubicBezTo>
                  <a:pt x="381561" y="85507"/>
                  <a:pt x="360821" y="72312"/>
                  <a:pt x="360599" y="51379"/>
                </a:cubicBezTo>
                <a:cubicBezTo>
                  <a:pt x="360556" y="47292"/>
                  <a:pt x="360308" y="43152"/>
                  <a:pt x="360842" y="39128"/>
                </a:cubicBezTo>
                <a:cubicBezTo>
                  <a:pt x="361447" y="34568"/>
                  <a:pt x="362880" y="30159"/>
                  <a:pt x="369470" y="30960"/>
                </a:cubicBezTo>
                <a:cubicBezTo>
                  <a:pt x="368501" y="37551"/>
                  <a:pt x="365745" y="43300"/>
                  <a:pt x="365613" y="49108"/>
                </a:cubicBezTo>
                <a:cubicBezTo>
                  <a:pt x="365328" y="61659"/>
                  <a:pt x="377498" y="72522"/>
                  <a:pt x="389468" y="71608"/>
                </a:cubicBezTo>
                <a:cubicBezTo>
                  <a:pt x="401478" y="70690"/>
                  <a:pt x="410127" y="59637"/>
                  <a:pt x="408822" y="46613"/>
                </a:cubicBezTo>
                <a:cubicBezTo>
                  <a:pt x="408542" y="43819"/>
                  <a:pt x="407521" y="41100"/>
                  <a:pt x="406842" y="38347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151" name="Free-form: Shape 4150">
            <a:extLst>
              <a:ext uri="{FF2B5EF4-FFF2-40B4-BE49-F238E27FC236}">
                <a16:creationId xmlns:a16="http://schemas.microsoft.com/office/drawing/2014/main" id="{9A383CDD-1BC1-F903-9EAB-23543BBB67A4}"/>
              </a:ext>
            </a:extLst>
          </p:cNvPr>
          <p:cNvSpPr/>
          <p:nvPr/>
        </p:nvSpPr>
        <p:spPr>
          <a:xfrm>
            <a:off x="4342309" y="5345736"/>
            <a:ext cx="110769" cy="223239"/>
          </a:xfrm>
          <a:custGeom>
            <a:avLst/>
            <a:gdLst>
              <a:gd name="csX0" fmla="*/ 96534 w 100699"/>
              <a:gd name="csY0" fmla="*/ 202912 h 202945"/>
              <a:gd name="csX1" fmla="*/ 91036 w 100699"/>
              <a:gd name="csY1" fmla="*/ 196780 h 202945"/>
              <a:gd name="csX2" fmla="*/ 93357 w 100699"/>
              <a:gd name="csY2" fmla="*/ 178731 h 202945"/>
              <a:gd name="csX3" fmla="*/ 75903 w 100699"/>
              <a:gd name="csY3" fmla="*/ 106029 h 202945"/>
              <a:gd name="csX4" fmla="*/ 72780 w 100699"/>
              <a:gd name="csY4" fmla="*/ 102473 h 202945"/>
              <a:gd name="csX5" fmla="*/ 10982 w 100699"/>
              <a:gd name="csY5" fmla="*/ 41414 h 202945"/>
              <a:gd name="csX6" fmla="*/ 676 w 100699"/>
              <a:gd name="csY6" fmla="*/ 2936 h 202945"/>
              <a:gd name="csX7" fmla="*/ 5198 w 100699"/>
              <a:gd name="csY7" fmla="*/ 0 h 202945"/>
              <a:gd name="csX8" fmla="*/ 15435 w 100699"/>
              <a:gd name="csY8" fmla="*/ 35855 h 202945"/>
              <a:gd name="csX9" fmla="*/ 44498 w 100699"/>
              <a:gd name="csY9" fmla="*/ 63833 h 202945"/>
              <a:gd name="csX10" fmla="*/ 81385 w 100699"/>
              <a:gd name="csY10" fmla="*/ 106005 h 202945"/>
              <a:gd name="csX11" fmla="*/ 98950 w 100699"/>
              <a:gd name="csY11" fmla="*/ 190063 h 202945"/>
              <a:gd name="csX12" fmla="*/ 96534 w 100699"/>
              <a:gd name="csY12" fmla="*/ 202912 h 20294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</a:cxnLst>
            <a:rect l="l" t="t" r="r" b="b"/>
            <a:pathLst>
              <a:path w="100699" h="202945">
                <a:moveTo>
                  <a:pt x="96534" y="202912"/>
                </a:moveTo>
                <a:cubicBezTo>
                  <a:pt x="91699" y="203291"/>
                  <a:pt x="90650" y="200377"/>
                  <a:pt x="91036" y="196780"/>
                </a:cubicBezTo>
                <a:cubicBezTo>
                  <a:pt x="91685" y="190750"/>
                  <a:pt x="92933" y="184771"/>
                  <a:pt x="93357" y="178731"/>
                </a:cubicBezTo>
                <a:cubicBezTo>
                  <a:pt x="95183" y="152694"/>
                  <a:pt x="86034" y="129222"/>
                  <a:pt x="75903" y="106029"/>
                </a:cubicBezTo>
                <a:cubicBezTo>
                  <a:pt x="75300" y="104650"/>
                  <a:pt x="73904" y="103585"/>
                  <a:pt x="72780" y="102473"/>
                </a:cubicBezTo>
                <a:cubicBezTo>
                  <a:pt x="52199" y="82101"/>
                  <a:pt x="31673" y="61673"/>
                  <a:pt x="10982" y="41414"/>
                </a:cubicBezTo>
                <a:cubicBezTo>
                  <a:pt x="-119" y="30544"/>
                  <a:pt x="-1041" y="17093"/>
                  <a:pt x="676" y="2936"/>
                </a:cubicBezTo>
                <a:cubicBezTo>
                  <a:pt x="808" y="1852"/>
                  <a:pt x="2922" y="1010"/>
                  <a:pt x="5198" y="0"/>
                </a:cubicBezTo>
                <a:cubicBezTo>
                  <a:pt x="2043" y="13772"/>
                  <a:pt x="5665" y="25821"/>
                  <a:pt x="15435" y="35855"/>
                </a:cubicBezTo>
                <a:cubicBezTo>
                  <a:pt x="24811" y="45486"/>
                  <a:pt x="35301" y="54047"/>
                  <a:pt x="44498" y="63833"/>
                </a:cubicBezTo>
                <a:cubicBezTo>
                  <a:pt x="57293" y="77447"/>
                  <a:pt x="70760" y="90773"/>
                  <a:pt x="81385" y="106005"/>
                </a:cubicBezTo>
                <a:cubicBezTo>
                  <a:pt x="98896" y="131109"/>
                  <a:pt x="103759" y="159808"/>
                  <a:pt x="98950" y="190063"/>
                </a:cubicBezTo>
                <a:cubicBezTo>
                  <a:pt x="98311" y="194082"/>
                  <a:pt x="97697" y="198105"/>
                  <a:pt x="96534" y="202912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152" name="Free-form: Shape 4151">
            <a:extLst>
              <a:ext uri="{FF2B5EF4-FFF2-40B4-BE49-F238E27FC236}">
                <a16:creationId xmlns:a16="http://schemas.microsoft.com/office/drawing/2014/main" id="{D7D281D7-FAF5-0799-5C51-B4EF65B44D9B}"/>
              </a:ext>
            </a:extLst>
          </p:cNvPr>
          <p:cNvSpPr/>
          <p:nvPr/>
        </p:nvSpPr>
        <p:spPr>
          <a:xfrm>
            <a:off x="3929355" y="4784253"/>
            <a:ext cx="4524" cy="73732"/>
          </a:xfrm>
          <a:custGeom>
            <a:avLst/>
            <a:gdLst>
              <a:gd name="csX0" fmla="*/ 0 w 4113"/>
              <a:gd name="csY0" fmla="*/ 0 h 67029"/>
              <a:gd name="csX1" fmla="*/ 4113 w 4113"/>
              <a:gd name="csY1" fmla="*/ 4824 h 67029"/>
              <a:gd name="csX2" fmla="*/ 2662 w 4113"/>
              <a:gd name="csY2" fmla="*/ 67030 h 67029"/>
              <a:gd name="csX3" fmla="*/ 631 w 4113"/>
              <a:gd name="csY3" fmla="*/ 55883 h 67029"/>
              <a:gd name="csX4" fmla="*/ 0 w 4113"/>
              <a:gd name="csY4" fmla="*/ 0 h 6702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4113" h="67029">
                <a:moveTo>
                  <a:pt x="0" y="0"/>
                </a:moveTo>
                <a:cubicBezTo>
                  <a:pt x="1242" y="855"/>
                  <a:pt x="4111" y="2838"/>
                  <a:pt x="4113" y="4824"/>
                </a:cubicBezTo>
                <a:cubicBezTo>
                  <a:pt x="4135" y="25317"/>
                  <a:pt x="3695" y="45810"/>
                  <a:pt x="2662" y="67030"/>
                </a:cubicBezTo>
                <a:cubicBezTo>
                  <a:pt x="1483" y="63799"/>
                  <a:pt x="680" y="59846"/>
                  <a:pt x="631" y="55883"/>
                </a:cubicBezTo>
                <a:cubicBezTo>
                  <a:pt x="404" y="37633"/>
                  <a:pt x="388" y="19381"/>
                  <a:pt x="0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153" name="Free-form: Shape 4152">
            <a:extLst>
              <a:ext uri="{FF2B5EF4-FFF2-40B4-BE49-F238E27FC236}">
                <a16:creationId xmlns:a16="http://schemas.microsoft.com/office/drawing/2014/main" id="{A419FF8C-F23C-106E-3E19-61C3119DD5F8}"/>
              </a:ext>
            </a:extLst>
          </p:cNvPr>
          <p:cNvSpPr/>
          <p:nvPr/>
        </p:nvSpPr>
        <p:spPr>
          <a:xfrm>
            <a:off x="4476746" y="5664891"/>
            <a:ext cx="1282" cy="7022"/>
          </a:xfrm>
          <a:custGeom>
            <a:avLst/>
            <a:gdLst>
              <a:gd name="csX0" fmla="*/ 1130 w 1165"/>
              <a:gd name="csY0" fmla="*/ 6385 h 6384"/>
              <a:gd name="csX1" fmla="*/ 49 w 1165"/>
              <a:gd name="csY1" fmla="*/ 0 h 6384"/>
              <a:gd name="csX2" fmla="*/ 1130 w 1165"/>
              <a:gd name="csY2" fmla="*/ 6385 h 638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165" h="6384">
                <a:moveTo>
                  <a:pt x="1130" y="6385"/>
                </a:moveTo>
                <a:cubicBezTo>
                  <a:pt x="260" y="4748"/>
                  <a:pt x="-149" y="2599"/>
                  <a:pt x="49" y="0"/>
                </a:cubicBezTo>
                <a:cubicBezTo>
                  <a:pt x="969" y="1658"/>
                  <a:pt x="1279" y="3765"/>
                  <a:pt x="1130" y="6385"/>
                </a:cubicBezTo>
                <a:close/>
              </a:path>
            </a:pathLst>
          </a:custGeom>
          <a:solidFill>
            <a:srgbClr val="939B9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154" name="Free-form: Shape 4153">
            <a:extLst>
              <a:ext uri="{FF2B5EF4-FFF2-40B4-BE49-F238E27FC236}">
                <a16:creationId xmlns:a16="http://schemas.microsoft.com/office/drawing/2014/main" id="{F4E11712-DE9D-D757-3771-43A813BB04D4}"/>
              </a:ext>
            </a:extLst>
          </p:cNvPr>
          <p:cNvSpPr/>
          <p:nvPr/>
        </p:nvSpPr>
        <p:spPr>
          <a:xfrm>
            <a:off x="4440774" y="5575236"/>
            <a:ext cx="6582" cy="3014"/>
          </a:xfrm>
          <a:custGeom>
            <a:avLst/>
            <a:gdLst>
              <a:gd name="csX0" fmla="*/ 5985 w 5984"/>
              <a:gd name="csY0" fmla="*/ 1832 h 2740"/>
              <a:gd name="csX1" fmla="*/ 0 w 5984"/>
              <a:gd name="csY1" fmla="*/ 2740 h 2740"/>
              <a:gd name="csX2" fmla="*/ 4930 w 5984"/>
              <a:gd name="csY2" fmla="*/ 0 h 2740"/>
              <a:gd name="csX3" fmla="*/ 5985 w 5984"/>
              <a:gd name="csY3" fmla="*/ 1832 h 274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</a:cxnLst>
            <a:rect l="l" t="t" r="r" b="b"/>
            <a:pathLst>
              <a:path w="5984" h="2740">
                <a:moveTo>
                  <a:pt x="5985" y="1832"/>
                </a:moveTo>
                <a:cubicBezTo>
                  <a:pt x="3992" y="2553"/>
                  <a:pt x="1996" y="2646"/>
                  <a:pt x="0" y="2740"/>
                </a:cubicBezTo>
                <a:cubicBezTo>
                  <a:pt x="1398" y="1830"/>
                  <a:pt x="2796" y="920"/>
                  <a:pt x="4930" y="0"/>
                </a:cubicBezTo>
                <a:cubicBezTo>
                  <a:pt x="5772" y="394"/>
                  <a:pt x="5877" y="799"/>
                  <a:pt x="5985" y="1832"/>
                </a:cubicBezTo>
                <a:close/>
              </a:path>
            </a:pathLst>
          </a:custGeom>
          <a:solidFill>
            <a:srgbClr val="8E9395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155" name="Free-form: Shape 4154">
            <a:extLst>
              <a:ext uri="{FF2B5EF4-FFF2-40B4-BE49-F238E27FC236}">
                <a16:creationId xmlns:a16="http://schemas.microsoft.com/office/drawing/2014/main" id="{94EA6E82-1EE7-7408-32CA-5C70847FCE6B}"/>
              </a:ext>
            </a:extLst>
          </p:cNvPr>
          <p:cNvSpPr/>
          <p:nvPr/>
        </p:nvSpPr>
        <p:spPr>
          <a:xfrm>
            <a:off x="3884310" y="4670295"/>
            <a:ext cx="3201" cy="6806"/>
          </a:xfrm>
          <a:custGeom>
            <a:avLst/>
            <a:gdLst>
              <a:gd name="csX0" fmla="*/ 815 w 2910"/>
              <a:gd name="csY0" fmla="*/ 0 h 6187"/>
              <a:gd name="csX1" fmla="*/ 113 w 2910"/>
              <a:gd name="csY1" fmla="*/ 6187 h 6187"/>
              <a:gd name="csX2" fmla="*/ 815 w 2910"/>
              <a:gd name="csY2" fmla="*/ 0 h 618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2910" h="6187">
                <a:moveTo>
                  <a:pt x="815" y="0"/>
                </a:moveTo>
                <a:cubicBezTo>
                  <a:pt x="4660" y="1891"/>
                  <a:pt x="2480" y="3840"/>
                  <a:pt x="113" y="6187"/>
                </a:cubicBezTo>
                <a:cubicBezTo>
                  <a:pt x="-172" y="4565"/>
                  <a:pt x="89" y="2579"/>
                  <a:pt x="815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156" name="Free-form: Shape 4155">
            <a:extLst>
              <a:ext uri="{FF2B5EF4-FFF2-40B4-BE49-F238E27FC236}">
                <a16:creationId xmlns:a16="http://schemas.microsoft.com/office/drawing/2014/main" id="{69CDFB2D-A4B2-32A1-C151-56F9349BFF5D}"/>
              </a:ext>
            </a:extLst>
          </p:cNvPr>
          <p:cNvSpPr/>
          <p:nvPr/>
        </p:nvSpPr>
        <p:spPr>
          <a:xfrm>
            <a:off x="3925952" y="4932350"/>
            <a:ext cx="932" cy="4433"/>
          </a:xfrm>
          <a:custGeom>
            <a:avLst/>
            <a:gdLst>
              <a:gd name="csX0" fmla="*/ 106 w 847"/>
              <a:gd name="csY0" fmla="*/ 0 h 4030"/>
              <a:gd name="csX1" fmla="*/ 732 w 847"/>
              <a:gd name="csY1" fmla="*/ 4031 h 4030"/>
              <a:gd name="csX2" fmla="*/ 106 w 847"/>
              <a:gd name="csY2" fmla="*/ 0 h 403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7" h="4030">
                <a:moveTo>
                  <a:pt x="106" y="0"/>
                </a:moveTo>
                <a:cubicBezTo>
                  <a:pt x="770" y="990"/>
                  <a:pt x="1013" y="2346"/>
                  <a:pt x="732" y="4031"/>
                </a:cubicBezTo>
                <a:cubicBezTo>
                  <a:pt x="34" y="3029"/>
                  <a:pt x="-141" y="1697"/>
                  <a:pt x="106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157" name="Free-form: Shape 4156">
            <a:extLst>
              <a:ext uri="{FF2B5EF4-FFF2-40B4-BE49-F238E27FC236}">
                <a16:creationId xmlns:a16="http://schemas.microsoft.com/office/drawing/2014/main" id="{14632881-4119-402A-CF36-9FEDD5BCF43A}"/>
              </a:ext>
            </a:extLst>
          </p:cNvPr>
          <p:cNvSpPr/>
          <p:nvPr/>
        </p:nvSpPr>
        <p:spPr>
          <a:xfrm>
            <a:off x="3920720" y="4975661"/>
            <a:ext cx="851" cy="4393"/>
          </a:xfrm>
          <a:custGeom>
            <a:avLst/>
            <a:gdLst>
              <a:gd name="csX0" fmla="*/ 195 w 774"/>
              <a:gd name="csY0" fmla="*/ 0 h 3994"/>
              <a:gd name="csX1" fmla="*/ 575 w 774"/>
              <a:gd name="csY1" fmla="*/ 3994 h 3994"/>
              <a:gd name="csX2" fmla="*/ 195 w 774"/>
              <a:gd name="csY2" fmla="*/ 0 h 399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774" h="3994">
                <a:moveTo>
                  <a:pt x="195" y="0"/>
                </a:moveTo>
                <a:cubicBezTo>
                  <a:pt x="794" y="1011"/>
                  <a:pt x="941" y="2348"/>
                  <a:pt x="575" y="3994"/>
                </a:cubicBezTo>
                <a:cubicBezTo>
                  <a:pt x="-44" y="2978"/>
                  <a:pt x="-151" y="1652"/>
                  <a:pt x="195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158" name="Free-form: Shape 4157">
            <a:extLst>
              <a:ext uri="{FF2B5EF4-FFF2-40B4-BE49-F238E27FC236}">
                <a16:creationId xmlns:a16="http://schemas.microsoft.com/office/drawing/2014/main" id="{F20CA31F-9404-C29A-2438-E4C1D9FB8472}"/>
              </a:ext>
            </a:extLst>
          </p:cNvPr>
          <p:cNvSpPr/>
          <p:nvPr/>
        </p:nvSpPr>
        <p:spPr>
          <a:xfrm>
            <a:off x="3928679" y="4899910"/>
            <a:ext cx="952" cy="4394"/>
          </a:xfrm>
          <a:custGeom>
            <a:avLst/>
            <a:gdLst>
              <a:gd name="csX0" fmla="*/ 71 w 865"/>
              <a:gd name="csY0" fmla="*/ 0 h 3995"/>
              <a:gd name="csX1" fmla="*/ 783 w 865"/>
              <a:gd name="csY1" fmla="*/ 3996 h 3995"/>
              <a:gd name="csX2" fmla="*/ 71 w 865"/>
              <a:gd name="csY2" fmla="*/ 0 h 399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65" h="3995">
                <a:moveTo>
                  <a:pt x="71" y="0"/>
                </a:moveTo>
                <a:cubicBezTo>
                  <a:pt x="740" y="963"/>
                  <a:pt x="1018" y="2311"/>
                  <a:pt x="783" y="3996"/>
                </a:cubicBezTo>
                <a:cubicBezTo>
                  <a:pt x="73" y="3017"/>
                  <a:pt x="-124" y="1701"/>
                  <a:pt x="71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159" name="Free-form: Shape 4158">
            <a:extLst>
              <a:ext uri="{FF2B5EF4-FFF2-40B4-BE49-F238E27FC236}">
                <a16:creationId xmlns:a16="http://schemas.microsoft.com/office/drawing/2014/main" id="{94829A4A-B4DA-2AC1-21A4-1FBBFD346C7C}"/>
              </a:ext>
            </a:extLst>
          </p:cNvPr>
          <p:cNvSpPr/>
          <p:nvPr/>
        </p:nvSpPr>
        <p:spPr>
          <a:xfrm>
            <a:off x="4071826" y="4783781"/>
            <a:ext cx="205986" cy="516453"/>
          </a:xfrm>
          <a:custGeom>
            <a:avLst/>
            <a:gdLst>
              <a:gd name="csX0" fmla="*/ 120604 w 187260"/>
              <a:gd name="csY0" fmla="*/ 222968 h 469503"/>
              <a:gd name="csX1" fmla="*/ 187261 w 187260"/>
              <a:gd name="csY1" fmla="*/ 469503 h 469503"/>
              <a:gd name="csX2" fmla="*/ 1253 w 187260"/>
              <a:gd name="csY2" fmla="*/ 466078 h 469503"/>
              <a:gd name="csX3" fmla="*/ 8 w 187260"/>
              <a:gd name="csY3" fmla="*/ 458101 h 469503"/>
              <a:gd name="csX4" fmla="*/ 4383 w 187260"/>
              <a:gd name="csY4" fmla="*/ 351443 h 469503"/>
              <a:gd name="csX5" fmla="*/ 4615 w 187260"/>
              <a:gd name="csY5" fmla="*/ 346536 h 469503"/>
              <a:gd name="csX6" fmla="*/ 7935 w 187260"/>
              <a:gd name="csY6" fmla="*/ 233648 h 469503"/>
              <a:gd name="csX7" fmla="*/ 10461 w 187260"/>
              <a:gd name="csY7" fmla="*/ 128112 h 469503"/>
              <a:gd name="csX8" fmla="*/ 12461 w 187260"/>
              <a:gd name="csY8" fmla="*/ 12750 h 469503"/>
              <a:gd name="csX9" fmla="*/ 13165 w 187260"/>
              <a:gd name="csY9" fmla="*/ 4285 h 469503"/>
              <a:gd name="csX10" fmla="*/ 102327 w 187260"/>
              <a:gd name="csY10" fmla="*/ 0 h 469503"/>
              <a:gd name="csX11" fmla="*/ 106229 w 187260"/>
              <a:gd name="csY11" fmla="*/ 111321 h 469503"/>
              <a:gd name="csX12" fmla="*/ 120604 w 187260"/>
              <a:gd name="csY12" fmla="*/ 222968 h 46950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</a:cxnLst>
            <a:rect l="l" t="t" r="r" b="b"/>
            <a:pathLst>
              <a:path w="187260" h="469503">
                <a:moveTo>
                  <a:pt x="120604" y="222968"/>
                </a:moveTo>
                <a:cubicBezTo>
                  <a:pt x="135383" y="307129"/>
                  <a:pt x="159464" y="387725"/>
                  <a:pt x="187261" y="469503"/>
                </a:cubicBezTo>
                <a:cubicBezTo>
                  <a:pt x="124460" y="468347"/>
                  <a:pt x="63286" y="467220"/>
                  <a:pt x="1253" y="466078"/>
                </a:cubicBezTo>
                <a:cubicBezTo>
                  <a:pt x="818" y="463442"/>
                  <a:pt x="-95" y="460752"/>
                  <a:pt x="8" y="458101"/>
                </a:cubicBezTo>
                <a:cubicBezTo>
                  <a:pt x="1383" y="422545"/>
                  <a:pt x="2900" y="386994"/>
                  <a:pt x="4383" y="351443"/>
                </a:cubicBezTo>
                <a:cubicBezTo>
                  <a:pt x="4451" y="349807"/>
                  <a:pt x="4566" y="348172"/>
                  <a:pt x="4615" y="346536"/>
                </a:cubicBezTo>
                <a:cubicBezTo>
                  <a:pt x="5732" y="308907"/>
                  <a:pt x="6921" y="271280"/>
                  <a:pt x="7935" y="233648"/>
                </a:cubicBezTo>
                <a:cubicBezTo>
                  <a:pt x="8883" y="198472"/>
                  <a:pt x="9752" y="163293"/>
                  <a:pt x="10461" y="128112"/>
                </a:cubicBezTo>
                <a:cubicBezTo>
                  <a:pt x="11237" y="89660"/>
                  <a:pt x="11781" y="51204"/>
                  <a:pt x="12461" y="12750"/>
                </a:cubicBezTo>
                <a:cubicBezTo>
                  <a:pt x="12503" y="10363"/>
                  <a:pt x="12848" y="7981"/>
                  <a:pt x="13165" y="4285"/>
                </a:cubicBezTo>
                <a:cubicBezTo>
                  <a:pt x="42856" y="2858"/>
                  <a:pt x="72082" y="1454"/>
                  <a:pt x="102327" y="0"/>
                </a:cubicBezTo>
                <a:cubicBezTo>
                  <a:pt x="103499" y="37348"/>
                  <a:pt x="103207" y="74470"/>
                  <a:pt x="106229" y="111321"/>
                </a:cubicBezTo>
                <a:cubicBezTo>
                  <a:pt x="109263" y="148326"/>
                  <a:pt x="115599" y="185060"/>
                  <a:pt x="120604" y="222968"/>
                </a:cubicBezTo>
                <a:close/>
              </a:path>
            </a:pathLst>
          </a:custGeom>
          <a:solidFill>
            <a:srgbClr val="FDFDFD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160" name="Free-form: Shape 4159">
            <a:extLst>
              <a:ext uri="{FF2B5EF4-FFF2-40B4-BE49-F238E27FC236}">
                <a16:creationId xmlns:a16="http://schemas.microsoft.com/office/drawing/2014/main" id="{7DE54DE7-AFB3-1DCC-84C9-CAF02CF49810}"/>
              </a:ext>
            </a:extLst>
          </p:cNvPr>
          <p:cNvSpPr/>
          <p:nvPr/>
        </p:nvSpPr>
        <p:spPr>
          <a:xfrm>
            <a:off x="4070383" y="5348551"/>
            <a:ext cx="344637" cy="217768"/>
          </a:xfrm>
          <a:custGeom>
            <a:avLst/>
            <a:gdLst>
              <a:gd name="csX0" fmla="*/ 160234 w 313306"/>
              <a:gd name="csY0" fmla="*/ 197876 h 197971"/>
              <a:gd name="csX1" fmla="*/ 544 w 313306"/>
              <a:gd name="csY1" fmla="*/ 197972 h 197971"/>
              <a:gd name="csX2" fmla="*/ 3466 w 313306"/>
              <a:gd name="csY2" fmla="*/ 104326 h 197971"/>
              <a:gd name="csX3" fmla="*/ 0 w 313306"/>
              <a:gd name="csY3" fmla="*/ 10720 h 197971"/>
              <a:gd name="csX4" fmla="*/ 5445 w 313306"/>
              <a:gd name="csY4" fmla="*/ 9282 h 197971"/>
              <a:gd name="csX5" fmla="*/ 71623 w 313306"/>
              <a:gd name="csY5" fmla="*/ 6885 h 197971"/>
              <a:gd name="csX6" fmla="*/ 187887 w 313306"/>
              <a:gd name="csY6" fmla="*/ 233 h 197971"/>
              <a:gd name="csX7" fmla="*/ 215297 w 313306"/>
              <a:gd name="csY7" fmla="*/ 163 h 197971"/>
              <a:gd name="csX8" fmla="*/ 243629 w 313306"/>
              <a:gd name="csY8" fmla="*/ 61389 h 197971"/>
              <a:gd name="csX9" fmla="*/ 270660 w 313306"/>
              <a:gd name="csY9" fmla="*/ 86342 h 197971"/>
              <a:gd name="csX10" fmla="*/ 313142 w 313306"/>
              <a:gd name="csY10" fmla="*/ 170098 h 197971"/>
              <a:gd name="csX11" fmla="*/ 313291 w 313306"/>
              <a:gd name="csY11" fmla="*/ 176231 h 197971"/>
              <a:gd name="csX12" fmla="*/ 312654 w 313306"/>
              <a:gd name="csY12" fmla="*/ 180738 h 197971"/>
              <a:gd name="csX13" fmla="*/ 279655 w 313306"/>
              <a:gd name="csY13" fmla="*/ 186226 h 197971"/>
              <a:gd name="csX14" fmla="*/ 167436 w 313306"/>
              <a:gd name="csY14" fmla="*/ 196805 h 197971"/>
              <a:gd name="csX15" fmla="*/ 160234 w 313306"/>
              <a:gd name="csY15" fmla="*/ 197876 h 19797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</a:cxnLst>
            <a:rect l="l" t="t" r="r" b="b"/>
            <a:pathLst>
              <a:path w="313306" h="197971">
                <a:moveTo>
                  <a:pt x="160234" y="197876"/>
                </a:moveTo>
                <a:cubicBezTo>
                  <a:pt x="106384" y="197972"/>
                  <a:pt x="53682" y="197972"/>
                  <a:pt x="544" y="197972"/>
                </a:cubicBezTo>
                <a:cubicBezTo>
                  <a:pt x="1602" y="166763"/>
                  <a:pt x="3550" y="135542"/>
                  <a:pt x="3466" y="104326"/>
                </a:cubicBezTo>
                <a:cubicBezTo>
                  <a:pt x="3383" y="73323"/>
                  <a:pt x="1255" y="42326"/>
                  <a:pt x="0" y="10720"/>
                </a:cubicBezTo>
                <a:cubicBezTo>
                  <a:pt x="1689" y="10255"/>
                  <a:pt x="3551" y="9355"/>
                  <a:pt x="5445" y="9282"/>
                </a:cubicBezTo>
                <a:cubicBezTo>
                  <a:pt x="27503" y="8435"/>
                  <a:pt x="49582" y="8030"/>
                  <a:pt x="71623" y="6885"/>
                </a:cubicBezTo>
                <a:cubicBezTo>
                  <a:pt x="110388" y="4872"/>
                  <a:pt x="149126" y="2333"/>
                  <a:pt x="187887" y="233"/>
                </a:cubicBezTo>
                <a:cubicBezTo>
                  <a:pt x="196749" y="-247"/>
                  <a:pt x="205660" y="163"/>
                  <a:pt x="215297" y="163"/>
                </a:cubicBezTo>
                <a:cubicBezTo>
                  <a:pt x="215450" y="25550"/>
                  <a:pt x="226120" y="45122"/>
                  <a:pt x="243629" y="61389"/>
                </a:cubicBezTo>
                <a:cubicBezTo>
                  <a:pt x="252615" y="69739"/>
                  <a:pt x="261099" y="78715"/>
                  <a:pt x="270660" y="86342"/>
                </a:cubicBezTo>
                <a:cubicBezTo>
                  <a:pt x="297676" y="107892"/>
                  <a:pt x="310731" y="136225"/>
                  <a:pt x="313142" y="170098"/>
                </a:cubicBezTo>
                <a:cubicBezTo>
                  <a:pt x="313287" y="172136"/>
                  <a:pt x="313335" y="174188"/>
                  <a:pt x="313291" y="176231"/>
                </a:cubicBezTo>
                <a:cubicBezTo>
                  <a:pt x="313265" y="177429"/>
                  <a:pt x="312966" y="178621"/>
                  <a:pt x="312654" y="180738"/>
                </a:cubicBezTo>
                <a:cubicBezTo>
                  <a:pt x="302343" y="185396"/>
                  <a:pt x="290736" y="185049"/>
                  <a:pt x="279655" y="186226"/>
                </a:cubicBezTo>
                <a:cubicBezTo>
                  <a:pt x="242295" y="190193"/>
                  <a:pt x="204847" y="193324"/>
                  <a:pt x="167436" y="196805"/>
                </a:cubicBezTo>
                <a:cubicBezTo>
                  <a:pt x="165405" y="196994"/>
                  <a:pt x="163399" y="197449"/>
                  <a:pt x="160234" y="197876"/>
                </a:cubicBezTo>
                <a:close/>
              </a:path>
            </a:pathLst>
          </a:custGeom>
          <a:solidFill>
            <a:srgbClr val="FDFEFE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161" name="Free-form: Shape 4160">
            <a:extLst>
              <a:ext uri="{FF2B5EF4-FFF2-40B4-BE49-F238E27FC236}">
                <a16:creationId xmlns:a16="http://schemas.microsoft.com/office/drawing/2014/main" id="{B10315ED-DBFC-5D52-1774-F43A458116CC}"/>
              </a:ext>
            </a:extLst>
          </p:cNvPr>
          <p:cNvSpPr/>
          <p:nvPr/>
        </p:nvSpPr>
        <p:spPr>
          <a:xfrm>
            <a:off x="4083382" y="4118485"/>
            <a:ext cx="180605" cy="437829"/>
          </a:xfrm>
          <a:custGeom>
            <a:avLst/>
            <a:gdLst>
              <a:gd name="csX0" fmla="*/ 22609 w 164186"/>
              <a:gd name="csY0" fmla="*/ 398026 h 398026"/>
              <a:gd name="csX1" fmla="*/ 16884 w 164186"/>
              <a:gd name="csY1" fmla="*/ 390515 h 398026"/>
              <a:gd name="csX2" fmla="*/ 9661 w 164186"/>
              <a:gd name="csY2" fmla="*/ 328443 h 398026"/>
              <a:gd name="csX3" fmla="*/ 534 w 164186"/>
              <a:gd name="csY3" fmla="*/ 196369 h 398026"/>
              <a:gd name="csX4" fmla="*/ 1243 w 164186"/>
              <a:gd name="csY4" fmla="*/ 82293 h 398026"/>
              <a:gd name="csX5" fmla="*/ 2245 w 164186"/>
              <a:gd name="csY5" fmla="*/ 43023 h 398026"/>
              <a:gd name="csX6" fmla="*/ 4587 w 164186"/>
              <a:gd name="csY6" fmla="*/ 0 h 398026"/>
              <a:gd name="csX7" fmla="*/ 12341 w 164186"/>
              <a:gd name="csY7" fmla="*/ 3872 h 398026"/>
              <a:gd name="csX8" fmla="*/ 85914 w 164186"/>
              <a:gd name="csY8" fmla="*/ 78943 h 398026"/>
              <a:gd name="csX9" fmla="*/ 87893 w 164186"/>
              <a:gd name="csY9" fmla="*/ 99117 h 398026"/>
              <a:gd name="csX10" fmla="*/ 35459 w 164186"/>
              <a:gd name="csY10" fmla="*/ 207346 h 398026"/>
              <a:gd name="csX11" fmla="*/ 32223 w 164186"/>
              <a:gd name="csY11" fmla="*/ 213959 h 398026"/>
              <a:gd name="csX12" fmla="*/ 39509 w 164186"/>
              <a:gd name="csY12" fmla="*/ 242056 h 398026"/>
              <a:gd name="csX13" fmla="*/ 69474 w 164186"/>
              <a:gd name="csY13" fmla="*/ 237019 h 398026"/>
              <a:gd name="csX14" fmla="*/ 89101 w 164186"/>
              <a:gd name="csY14" fmla="*/ 208870 h 398026"/>
              <a:gd name="csX15" fmla="*/ 121716 w 164186"/>
              <a:gd name="csY15" fmla="*/ 158357 h 398026"/>
              <a:gd name="csX16" fmla="*/ 129330 w 164186"/>
              <a:gd name="csY16" fmla="*/ 148165 h 398026"/>
              <a:gd name="csX17" fmla="*/ 137171 w 164186"/>
              <a:gd name="csY17" fmla="*/ 159989 h 398026"/>
              <a:gd name="csX18" fmla="*/ 163812 w 164186"/>
              <a:gd name="csY18" fmla="*/ 273175 h 398026"/>
              <a:gd name="csX19" fmla="*/ 118151 w 164186"/>
              <a:gd name="csY19" fmla="*/ 383442 h 398026"/>
              <a:gd name="csX20" fmla="*/ 92325 w 164186"/>
              <a:gd name="csY20" fmla="*/ 395173 h 398026"/>
              <a:gd name="csX21" fmla="*/ 22609 w 164186"/>
              <a:gd name="csY21" fmla="*/ 398026 h 39802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</a:cxnLst>
            <a:rect l="l" t="t" r="r" b="b"/>
            <a:pathLst>
              <a:path w="164186" h="398026">
                <a:moveTo>
                  <a:pt x="22609" y="398026"/>
                </a:moveTo>
                <a:cubicBezTo>
                  <a:pt x="19898" y="395489"/>
                  <a:pt x="17229" y="393154"/>
                  <a:pt x="16884" y="390515"/>
                </a:cubicBezTo>
                <a:cubicBezTo>
                  <a:pt x="14183" y="369861"/>
                  <a:pt x="11326" y="349196"/>
                  <a:pt x="9661" y="328443"/>
                </a:cubicBezTo>
                <a:cubicBezTo>
                  <a:pt x="6132" y="284452"/>
                  <a:pt x="2125" y="240448"/>
                  <a:pt x="534" y="196369"/>
                </a:cubicBezTo>
                <a:cubicBezTo>
                  <a:pt x="-837" y="158401"/>
                  <a:pt x="816" y="120322"/>
                  <a:pt x="1243" y="82293"/>
                </a:cubicBezTo>
                <a:cubicBezTo>
                  <a:pt x="1389" y="69201"/>
                  <a:pt x="1708" y="56105"/>
                  <a:pt x="2245" y="43023"/>
                </a:cubicBezTo>
                <a:cubicBezTo>
                  <a:pt x="2815" y="29160"/>
                  <a:pt x="3738" y="15312"/>
                  <a:pt x="4587" y="0"/>
                </a:cubicBezTo>
                <a:cubicBezTo>
                  <a:pt x="7809" y="1586"/>
                  <a:pt x="10279" y="2436"/>
                  <a:pt x="12341" y="3872"/>
                </a:cubicBezTo>
                <a:cubicBezTo>
                  <a:pt x="41601" y="24248"/>
                  <a:pt x="64069" y="51269"/>
                  <a:pt x="85914" y="78943"/>
                </a:cubicBezTo>
                <a:cubicBezTo>
                  <a:pt x="91106" y="85520"/>
                  <a:pt x="91706" y="91406"/>
                  <a:pt x="87893" y="99117"/>
                </a:cubicBezTo>
                <a:cubicBezTo>
                  <a:pt x="70127" y="135051"/>
                  <a:pt x="52890" y="171246"/>
                  <a:pt x="35459" y="207346"/>
                </a:cubicBezTo>
                <a:cubicBezTo>
                  <a:pt x="34391" y="209557"/>
                  <a:pt x="33130" y="211686"/>
                  <a:pt x="32223" y="213959"/>
                </a:cubicBezTo>
                <a:cubicBezTo>
                  <a:pt x="27471" y="225873"/>
                  <a:pt x="30154" y="236086"/>
                  <a:pt x="39509" y="242056"/>
                </a:cubicBezTo>
                <a:cubicBezTo>
                  <a:pt x="48880" y="248038"/>
                  <a:pt x="61705" y="246477"/>
                  <a:pt x="69474" y="237019"/>
                </a:cubicBezTo>
                <a:cubicBezTo>
                  <a:pt x="76712" y="228205"/>
                  <a:pt x="82824" y="218436"/>
                  <a:pt x="89101" y="208870"/>
                </a:cubicBezTo>
                <a:cubicBezTo>
                  <a:pt x="100096" y="192114"/>
                  <a:pt x="110806" y="175170"/>
                  <a:pt x="121716" y="158357"/>
                </a:cubicBezTo>
                <a:cubicBezTo>
                  <a:pt x="123679" y="155333"/>
                  <a:pt x="126029" y="152559"/>
                  <a:pt x="129330" y="148165"/>
                </a:cubicBezTo>
                <a:cubicBezTo>
                  <a:pt x="132450" y="152828"/>
                  <a:pt x="135175" y="156216"/>
                  <a:pt x="137171" y="159989"/>
                </a:cubicBezTo>
                <a:cubicBezTo>
                  <a:pt x="155891" y="195388"/>
                  <a:pt x="166343" y="232905"/>
                  <a:pt x="163812" y="273175"/>
                </a:cubicBezTo>
                <a:cubicBezTo>
                  <a:pt x="161183" y="314982"/>
                  <a:pt x="144984" y="351430"/>
                  <a:pt x="118151" y="383442"/>
                </a:cubicBezTo>
                <a:cubicBezTo>
                  <a:pt x="111214" y="391718"/>
                  <a:pt x="102452" y="394716"/>
                  <a:pt x="92325" y="395173"/>
                </a:cubicBezTo>
                <a:cubicBezTo>
                  <a:pt x="69461" y="396207"/>
                  <a:pt x="46593" y="397123"/>
                  <a:pt x="22609" y="398026"/>
                </a:cubicBezTo>
                <a:close/>
              </a:path>
            </a:pathLst>
          </a:custGeom>
          <a:solidFill>
            <a:srgbClr val="FCFDFD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162" name="Free-form: Shape 4161">
            <a:extLst>
              <a:ext uri="{FF2B5EF4-FFF2-40B4-BE49-F238E27FC236}">
                <a16:creationId xmlns:a16="http://schemas.microsoft.com/office/drawing/2014/main" id="{2CAF75E5-C769-93C6-7A9D-F77477A8840D}"/>
              </a:ext>
            </a:extLst>
          </p:cNvPr>
          <p:cNvSpPr/>
          <p:nvPr/>
        </p:nvSpPr>
        <p:spPr>
          <a:xfrm>
            <a:off x="4066313" y="5601692"/>
            <a:ext cx="370078" cy="78603"/>
          </a:xfrm>
          <a:custGeom>
            <a:avLst/>
            <a:gdLst>
              <a:gd name="csX0" fmla="*/ 105937 w 336434"/>
              <a:gd name="csY0" fmla="*/ 71458 h 71457"/>
              <a:gd name="csX1" fmla="*/ 3534 w 336434"/>
              <a:gd name="csY1" fmla="*/ 69115 h 71457"/>
              <a:gd name="csX2" fmla="*/ 1296 w 336434"/>
              <a:gd name="csY2" fmla="*/ 17910 h 71457"/>
              <a:gd name="csX3" fmla="*/ 14032 w 336434"/>
              <a:gd name="csY3" fmla="*/ 17908 h 71457"/>
              <a:gd name="csX4" fmla="*/ 102444 w 336434"/>
              <a:gd name="csY4" fmla="*/ 17433 h 71457"/>
              <a:gd name="csX5" fmla="*/ 284561 w 336434"/>
              <a:gd name="csY5" fmla="*/ 3564 h 71457"/>
              <a:gd name="csX6" fmla="*/ 311323 w 336434"/>
              <a:gd name="csY6" fmla="*/ 224 h 71457"/>
              <a:gd name="csX7" fmla="*/ 324313 w 336434"/>
              <a:gd name="csY7" fmla="*/ 6639 h 71457"/>
              <a:gd name="csX8" fmla="*/ 336434 w 336434"/>
              <a:gd name="csY8" fmla="*/ 46484 h 71457"/>
              <a:gd name="csX9" fmla="*/ 105937 w 336434"/>
              <a:gd name="csY9" fmla="*/ 71458 h 7145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336434" h="71457">
                <a:moveTo>
                  <a:pt x="105937" y="71458"/>
                </a:moveTo>
                <a:cubicBezTo>
                  <a:pt x="70820" y="70678"/>
                  <a:pt x="36930" y="69891"/>
                  <a:pt x="3534" y="69115"/>
                </a:cubicBezTo>
                <a:cubicBezTo>
                  <a:pt x="-81" y="59433"/>
                  <a:pt x="-1094" y="35337"/>
                  <a:pt x="1296" y="17910"/>
                </a:cubicBezTo>
                <a:cubicBezTo>
                  <a:pt x="5366" y="17910"/>
                  <a:pt x="9699" y="17923"/>
                  <a:pt x="14032" y="17908"/>
                </a:cubicBezTo>
                <a:cubicBezTo>
                  <a:pt x="43505" y="17812"/>
                  <a:pt x="73011" y="18557"/>
                  <a:pt x="102444" y="17433"/>
                </a:cubicBezTo>
                <a:cubicBezTo>
                  <a:pt x="163306" y="15109"/>
                  <a:pt x="224166" y="12264"/>
                  <a:pt x="284561" y="3564"/>
                </a:cubicBezTo>
                <a:cubicBezTo>
                  <a:pt x="293458" y="2283"/>
                  <a:pt x="302438" y="1575"/>
                  <a:pt x="311323" y="224"/>
                </a:cubicBezTo>
                <a:cubicBezTo>
                  <a:pt x="317371" y="-696"/>
                  <a:pt x="321247" y="1177"/>
                  <a:pt x="324313" y="6639"/>
                </a:cubicBezTo>
                <a:cubicBezTo>
                  <a:pt x="330512" y="17683"/>
                  <a:pt x="335236" y="31679"/>
                  <a:pt x="336434" y="46484"/>
                </a:cubicBezTo>
                <a:cubicBezTo>
                  <a:pt x="261124" y="64059"/>
                  <a:pt x="184356" y="69587"/>
                  <a:pt x="105937" y="71458"/>
                </a:cubicBezTo>
                <a:close/>
              </a:path>
            </a:pathLst>
          </a:custGeom>
          <a:solidFill>
            <a:srgbClr val="FCFCFC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163" name="Free-form: Shape 4162">
            <a:extLst>
              <a:ext uri="{FF2B5EF4-FFF2-40B4-BE49-F238E27FC236}">
                <a16:creationId xmlns:a16="http://schemas.microsoft.com/office/drawing/2014/main" id="{FD44BDEF-246F-F7AB-BAC1-47A5E0E71937}"/>
              </a:ext>
            </a:extLst>
          </p:cNvPr>
          <p:cNvSpPr/>
          <p:nvPr/>
        </p:nvSpPr>
        <p:spPr>
          <a:xfrm>
            <a:off x="4082717" y="4596515"/>
            <a:ext cx="146026" cy="76347"/>
          </a:xfrm>
          <a:custGeom>
            <a:avLst/>
            <a:gdLst>
              <a:gd name="csX0" fmla="*/ 5051 w 132751"/>
              <a:gd name="csY0" fmla="*/ 7534 h 69406"/>
              <a:gd name="csX1" fmla="*/ 10615 w 132751"/>
              <a:gd name="csY1" fmla="*/ 3077 h 69406"/>
              <a:gd name="csX2" fmla="*/ 26541 w 132751"/>
              <a:gd name="csY2" fmla="*/ 2752 h 69406"/>
              <a:gd name="csX3" fmla="*/ 87728 w 132751"/>
              <a:gd name="csY3" fmla="*/ 89 h 69406"/>
              <a:gd name="csX4" fmla="*/ 101400 w 132751"/>
              <a:gd name="csY4" fmla="*/ 62 h 69406"/>
              <a:gd name="csX5" fmla="*/ 102924 w 132751"/>
              <a:gd name="csY5" fmla="*/ 4800 h 69406"/>
              <a:gd name="csX6" fmla="*/ 121469 w 132751"/>
              <a:gd name="csY6" fmla="*/ 43062 h 69406"/>
              <a:gd name="csX7" fmla="*/ 132751 w 132751"/>
              <a:gd name="csY7" fmla="*/ 65240 h 69406"/>
              <a:gd name="csX8" fmla="*/ 0 w 132751"/>
              <a:gd name="csY8" fmla="*/ 69406 h 69406"/>
              <a:gd name="csX9" fmla="*/ 5051 w 132751"/>
              <a:gd name="csY9" fmla="*/ 7534 h 6940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132751" h="69406">
                <a:moveTo>
                  <a:pt x="5051" y="7534"/>
                </a:moveTo>
                <a:cubicBezTo>
                  <a:pt x="6880" y="5272"/>
                  <a:pt x="8659" y="3268"/>
                  <a:pt x="10615" y="3077"/>
                </a:cubicBezTo>
                <a:cubicBezTo>
                  <a:pt x="15884" y="2564"/>
                  <a:pt x="21234" y="2972"/>
                  <a:pt x="26541" y="2752"/>
                </a:cubicBezTo>
                <a:cubicBezTo>
                  <a:pt x="46938" y="1911"/>
                  <a:pt x="67330" y="933"/>
                  <a:pt x="87728" y="89"/>
                </a:cubicBezTo>
                <a:cubicBezTo>
                  <a:pt x="92161" y="-94"/>
                  <a:pt x="96609" y="62"/>
                  <a:pt x="101400" y="62"/>
                </a:cubicBezTo>
                <a:cubicBezTo>
                  <a:pt x="101991" y="1827"/>
                  <a:pt x="102885" y="3302"/>
                  <a:pt x="102924" y="4800"/>
                </a:cubicBezTo>
                <a:cubicBezTo>
                  <a:pt x="103334" y="20376"/>
                  <a:pt x="108815" y="33165"/>
                  <a:pt x="121469" y="43062"/>
                </a:cubicBezTo>
                <a:cubicBezTo>
                  <a:pt x="127809" y="48021"/>
                  <a:pt x="132509" y="54869"/>
                  <a:pt x="132751" y="65240"/>
                </a:cubicBezTo>
                <a:cubicBezTo>
                  <a:pt x="88663" y="66624"/>
                  <a:pt x="45259" y="67986"/>
                  <a:pt x="0" y="69406"/>
                </a:cubicBezTo>
                <a:cubicBezTo>
                  <a:pt x="6474" y="48167"/>
                  <a:pt x="10658" y="28665"/>
                  <a:pt x="5051" y="7534"/>
                </a:cubicBezTo>
                <a:close/>
              </a:path>
            </a:pathLst>
          </a:custGeom>
          <a:solidFill>
            <a:srgbClr val="FBFCFB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164" name="Free-form: Shape 4163">
            <a:extLst>
              <a:ext uri="{FF2B5EF4-FFF2-40B4-BE49-F238E27FC236}">
                <a16:creationId xmlns:a16="http://schemas.microsoft.com/office/drawing/2014/main" id="{3B9F0EA1-4474-4CAC-6689-5D31676F1A3A}"/>
              </a:ext>
            </a:extLst>
          </p:cNvPr>
          <p:cNvSpPr/>
          <p:nvPr/>
        </p:nvSpPr>
        <p:spPr>
          <a:xfrm>
            <a:off x="4094377" y="4704949"/>
            <a:ext cx="182562" cy="42836"/>
          </a:xfrm>
          <a:custGeom>
            <a:avLst/>
            <a:gdLst>
              <a:gd name="csX0" fmla="*/ 80894 w 165965"/>
              <a:gd name="csY0" fmla="*/ 440 h 38942"/>
              <a:gd name="csX1" fmla="*/ 128629 w 165965"/>
              <a:gd name="csY1" fmla="*/ 5 h 38942"/>
              <a:gd name="csX2" fmla="*/ 155177 w 165965"/>
              <a:gd name="csY2" fmla="*/ 8091 h 38942"/>
              <a:gd name="csX3" fmla="*/ 164213 w 165965"/>
              <a:gd name="csY3" fmla="*/ 17723 h 38942"/>
              <a:gd name="csX4" fmla="*/ 159998 w 165965"/>
              <a:gd name="csY4" fmla="*/ 30717 h 38942"/>
              <a:gd name="csX5" fmla="*/ 146998 w 165965"/>
              <a:gd name="csY5" fmla="*/ 33737 h 38942"/>
              <a:gd name="csX6" fmla="*/ 12439 w 165965"/>
              <a:gd name="csY6" fmla="*/ 38914 h 38942"/>
              <a:gd name="csX7" fmla="*/ 0 w 165965"/>
              <a:gd name="csY7" fmla="*/ 38402 h 38942"/>
              <a:gd name="csX8" fmla="*/ 0 w 165965"/>
              <a:gd name="csY8" fmla="*/ 4598 h 38942"/>
              <a:gd name="csX9" fmla="*/ 80894 w 165965"/>
              <a:gd name="csY9" fmla="*/ 440 h 3894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165965" h="38942">
                <a:moveTo>
                  <a:pt x="80894" y="440"/>
                </a:moveTo>
                <a:cubicBezTo>
                  <a:pt x="97591" y="288"/>
                  <a:pt x="113111" y="227"/>
                  <a:pt x="128629" y="5"/>
                </a:cubicBezTo>
                <a:cubicBezTo>
                  <a:pt x="138376" y="-135"/>
                  <a:pt x="147226" y="2891"/>
                  <a:pt x="155177" y="8091"/>
                </a:cubicBezTo>
                <a:cubicBezTo>
                  <a:pt x="158779" y="10447"/>
                  <a:pt x="161992" y="14009"/>
                  <a:pt x="164213" y="17723"/>
                </a:cubicBezTo>
                <a:cubicBezTo>
                  <a:pt x="167602" y="23390"/>
                  <a:pt x="166013" y="28134"/>
                  <a:pt x="159998" y="30717"/>
                </a:cubicBezTo>
                <a:cubicBezTo>
                  <a:pt x="155963" y="32450"/>
                  <a:pt x="151384" y="33554"/>
                  <a:pt x="146998" y="33737"/>
                </a:cubicBezTo>
                <a:cubicBezTo>
                  <a:pt x="102152" y="35619"/>
                  <a:pt x="57295" y="37279"/>
                  <a:pt x="12439" y="38914"/>
                </a:cubicBezTo>
                <a:cubicBezTo>
                  <a:pt x="8467" y="39059"/>
                  <a:pt x="4472" y="38602"/>
                  <a:pt x="0" y="38402"/>
                </a:cubicBezTo>
                <a:cubicBezTo>
                  <a:pt x="0" y="27166"/>
                  <a:pt x="0" y="16774"/>
                  <a:pt x="0" y="4598"/>
                </a:cubicBezTo>
                <a:cubicBezTo>
                  <a:pt x="27063" y="3194"/>
                  <a:pt x="53389" y="1829"/>
                  <a:pt x="80894" y="440"/>
                </a:cubicBezTo>
                <a:close/>
              </a:path>
            </a:pathLst>
          </a:custGeom>
          <a:solidFill>
            <a:srgbClr val="FBFCFB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165" name="Free-form: Shape 4164">
            <a:extLst>
              <a:ext uri="{FF2B5EF4-FFF2-40B4-BE49-F238E27FC236}">
                <a16:creationId xmlns:a16="http://schemas.microsoft.com/office/drawing/2014/main" id="{9D383EF2-6464-786D-D9EB-02ACCEBE666D}"/>
              </a:ext>
            </a:extLst>
          </p:cNvPr>
          <p:cNvSpPr/>
          <p:nvPr/>
        </p:nvSpPr>
        <p:spPr>
          <a:xfrm>
            <a:off x="4074837" y="4026352"/>
            <a:ext cx="47677" cy="51009"/>
          </a:xfrm>
          <a:custGeom>
            <a:avLst/>
            <a:gdLst>
              <a:gd name="csX0" fmla="*/ 40602 w 43343"/>
              <a:gd name="csY0" fmla="*/ 12465 h 46372"/>
              <a:gd name="csX1" fmla="*/ 43214 w 43343"/>
              <a:gd name="csY1" fmla="*/ 21324 h 46372"/>
              <a:gd name="csX2" fmla="*/ 23859 w 43343"/>
              <a:gd name="csY2" fmla="*/ 46319 h 46372"/>
              <a:gd name="csX3" fmla="*/ 5 w 43343"/>
              <a:gd name="csY3" fmla="*/ 23820 h 46372"/>
              <a:gd name="csX4" fmla="*/ 4855 w 43343"/>
              <a:gd name="csY4" fmla="*/ 5679 h 46372"/>
              <a:gd name="csX5" fmla="*/ 40602 w 43343"/>
              <a:gd name="csY5" fmla="*/ 12465 h 4637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</a:cxnLst>
            <a:rect l="l" t="t" r="r" b="b"/>
            <a:pathLst>
              <a:path w="43343" h="46372">
                <a:moveTo>
                  <a:pt x="40602" y="12465"/>
                </a:moveTo>
                <a:cubicBezTo>
                  <a:pt x="41913" y="15811"/>
                  <a:pt x="42933" y="18530"/>
                  <a:pt x="43214" y="21324"/>
                </a:cubicBezTo>
                <a:cubicBezTo>
                  <a:pt x="44519" y="34348"/>
                  <a:pt x="35870" y="45401"/>
                  <a:pt x="23859" y="46319"/>
                </a:cubicBezTo>
                <a:cubicBezTo>
                  <a:pt x="11890" y="47233"/>
                  <a:pt x="-280" y="36371"/>
                  <a:pt x="5" y="23820"/>
                </a:cubicBezTo>
                <a:cubicBezTo>
                  <a:pt x="136" y="18011"/>
                  <a:pt x="2893" y="12263"/>
                  <a:pt x="4855" y="5679"/>
                </a:cubicBezTo>
                <a:cubicBezTo>
                  <a:pt x="20601" y="-3403"/>
                  <a:pt x="28004" y="-1910"/>
                  <a:pt x="40602" y="12465"/>
                </a:cubicBezTo>
                <a:close/>
              </a:path>
            </a:pathLst>
          </a:custGeom>
          <a:solidFill>
            <a:srgbClr val="FBFCFB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7" name="Oval 86">
            <a:extLst>
              <a:ext uri="{FF2B5EF4-FFF2-40B4-BE49-F238E27FC236}">
                <a16:creationId xmlns:a16="http://schemas.microsoft.com/office/drawing/2014/main" id="{345058A3-B56A-8D2C-2529-A069897633F8}"/>
              </a:ext>
            </a:extLst>
          </p:cNvPr>
          <p:cNvSpPr/>
          <p:nvPr/>
        </p:nvSpPr>
        <p:spPr>
          <a:xfrm>
            <a:off x="7036157" y="3447972"/>
            <a:ext cx="797971" cy="178620"/>
          </a:xfrm>
          <a:prstGeom prst="ellipse">
            <a:avLst/>
          </a:prstGeom>
          <a:solidFill>
            <a:schemeClr val="tx1">
              <a:alpha val="5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8" name="Free-form: Shape 87">
            <a:extLst>
              <a:ext uri="{FF2B5EF4-FFF2-40B4-BE49-F238E27FC236}">
                <a16:creationId xmlns:a16="http://schemas.microsoft.com/office/drawing/2014/main" id="{12AAE034-2B50-A1FD-6F00-8F94A1016F41}"/>
              </a:ext>
            </a:extLst>
          </p:cNvPr>
          <p:cNvSpPr/>
          <p:nvPr/>
        </p:nvSpPr>
        <p:spPr>
          <a:xfrm>
            <a:off x="6891297" y="2442163"/>
            <a:ext cx="1171807" cy="1120198"/>
          </a:xfrm>
          <a:custGeom>
            <a:avLst/>
            <a:gdLst>
              <a:gd name="csX0" fmla="*/ 401579 w 1609516"/>
              <a:gd name="csY0" fmla="*/ 1495809 h 1538630"/>
              <a:gd name="csX1" fmla="*/ 400190 w 1609516"/>
              <a:gd name="csY1" fmla="*/ 1496004 h 1538630"/>
              <a:gd name="csX2" fmla="*/ 401224 w 1609516"/>
              <a:gd name="csY2" fmla="*/ 1496470 h 1538630"/>
              <a:gd name="csX3" fmla="*/ 401224 w 1609516"/>
              <a:gd name="csY3" fmla="*/ 1498590 h 1538630"/>
              <a:gd name="csX4" fmla="*/ 401579 w 1609516"/>
              <a:gd name="csY4" fmla="*/ 1498628 h 1538630"/>
              <a:gd name="csX5" fmla="*/ 401579 w 1609516"/>
              <a:gd name="csY5" fmla="*/ 1495809 h 1538630"/>
              <a:gd name="csX6" fmla="*/ 368755 w 1609516"/>
              <a:gd name="csY6" fmla="*/ 1486512 h 1538630"/>
              <a:gd name="csX7" fmla="*/ 364089 w 1609516"/>
              <a:gd name="csY7" fmla="*/ 1487354 h 1538630"/>
              <a:gd name="csX8" fmla="*/ 364089 w 1609516"/>
              <a:gd name="csY8" fmla="*/ 1487908 h 1538630"/>
              <a:gd name="csX9" fmla="*/ 1049801 w 1609516"/>
              <a:gd name="csY9" fmla="*/ 1484562 h 1538630"/>
              <a:gd name="csX10" fmla="*/ 1046735 w 1609516"/>
              <a:gd name="csY10" fmla="*/ 1485945 h 1538630"/>
              <a:gd name="csX11" fmla="*/ 1046955 w 1609516"/>
              <a:gd name="csY11" fmla="*/ 1486045 h 1538630"/>
              <a:gd name="csX12" fmla="*/ 1049801 w 1609516"/>
              <a:gd name="csY12" fmla="*/ 1485188 h 1538630"/>
              <a:gd name="csX13" fmla="*/ 351234 w 1609516"/>
              <a:gd name="csY13" fmla="*/ 1444508 h 1538630"/>
              <a:gd name="csX14" fmla="*/ 351234 w 1609516"/>
              <a:gd name="csY14" fmla="*/ 1444997 h 1538630"/>
              <a:gd name="csX15" fmla="*/ 351592 w 1609516"/>
              <a:gd name="csY15" fmla="*/ 1445078 h 1538630"/>
              <a:gd name="csX16" fmla="*/ 351908 w 1609516"/>
              <a:gd name="csY16" fmla="*/ 1431206 h 1538630"/>
              <a:gd name="csX17" fmla="*/ 351234 w 1609516"/>
              <a:gd name="csY17" fmla="*/ 1431611 h 1538630"/>
              <a:gd name="csX18" fmla="*/ 351234 w 1609516"/>
              <a:gd name="csY18" fmla="*/ 1432274 h 1538630"/>
              <a:gd name="csX19" fmla="*/ 358162 w 1609516"/>
              <a:gd name="csY19" fmla="*/ 1421494 h 1538630"/>
              <a:gd name="csX20" fmla="*/ 355921 w 1609516"/>
              <a:gd name="csY20" fmla="*/ 1423156 h 1538630"/>
              <a:gd name="csX21" fmla="*/ 355921 w 1609516"/>
              <a:gd name="csY21" fmla="*/ 1423548 h 1538630"/>
              <a:gd name="csX22" fmla="*/ 376098 w 1609516"/>
              <a:gd name="csY22" fmla="*/ 1408347 h 1538630"/>
              <a:gd name="csX23" fmla="*/ 370750 w 1609516"/>
              <a:gd name="csY23" fmla="*/ 1412245 h 1538630"/>
              <a:gd name="csX24" fmla="*/ 375023 w 1609516"/>
              <a:gd name="csY24" fmla="*/ 1411256 h 1538630"/>
              <a:gd name="csX25" fmla="*/ 421956 w 1609516"/>
              <a:gd name="csY25" fmla="*/ 1365623 h 1538630"/>
              <a:gd name="csX26" fmla="*/ 421765 w 1609516"/>
              <a:gd name="csY26" fmla="*/ 1366161 h 1538630"/>
              <a:gd name="csX27" fmla="*/ 421887 w 1609516"/>
              <a:gd name="csY27" fmla="*/ 1366161 h 1538630"/>
              <a:gd name="csX28" fmla="*/ 754553 w 1609516"/>
              <a:gd name="csY28" fmla="*/ 1360575 h 1538630"/>
              <a:gd name="csX29" fmla="*/ 754089 w 1609516"/>
              <a:gd name="csY29" fmla="*/ 1361433 h 1538630"/>
              <a:gd name="csX30" fmla="*/ 754431 w 1609516"/>
              <a:gd name="csY30" fmla="*/ 1361125 h 1538630"/>
              <a:gd name="csX31" fmla="*/ 1277973 w 1609516"/>
              <a:gd name="csY31" fmla="*/ 1332923 h 1538630"/>
              <a:gd name="csX32" fmla="*/ 1277944 w 1609516"/>
              <a:gd name="csY32" fmla="*/ 1332936 h 1538630"/>
              <a:gd name="csX33" fmla="*/ 1277949 w 1609516"/>
              <a:gd name="csY33" fmla="*/ 1333139 h 1538630"/>
              <a:gd name="csX34" fmla="*/ 1268556 w 1609516"/>
              <a:gd name="csY34" fmla="*/ 1321066 h 1538630"/>
              <a:gd name="csX35" fmla="*/ 1268556 w 1609516"/>
              <a:gd name="csY35" fmla="*/ 1325294 h 1538630"/>
              <a:gd name="csX36" fmla="*/ 1265432 w 1609516"/>
              <a:gd name="csY36" fmla="*/ 1325294 h 1538630"/>
              <a:gd name="csX37" fmla="*/ 1265432 w 1609516"/>
              <a:gd name="csY37" fmla="*/ 1340795 h 1538630"/>
              <a:gd name="csX38" fmla="*/ 1265476 w 1609516"/>
              <a:gd name="csY38" fmla="*/ 1340714 h 1538630"/>
              <a:gd name="csX39" fmla="*/ 1265476 w 1609516"/>
              <a:gd name="csY39" fmla="*/ 1325877 h 1538630"/>
              <a:gd name="csX40" fmla="*/ 1268600 w 1609516"/>
              <a:gd name="csY40" fmla="*/ 1325877 h 1538630"/>
              <a:gd name="csX41" fmla="*/ 1268600 w 1609516"/>
              <a:gd name="csY41" fmla="*/ 1321649 h 1538630"/>
              <a:gd name="csX42" fmla="*/ 1273286 w 1609516"/>
              <a:gd name="csY42" fmla="*/ 1321649 h 1538630"/>
              <a:gd name="csX43" fmla="*/ 1273227 w 1609516"/>
              <a:gd name="csY43" fmla="*/ 1321066 h 1538630"/>
              <a:gd name="csX44" fmla="*/ 827891 w 1609516"/>
              <a:gd name="csY44" fmla="*/ 1291474 h 1538630"/>
              <a:gd name="csX45" fmla="*/ 822601 w 1609516"/>
              <a:gd name="csY45" fmla="*/ 1291544 h 1538630"/>
              <a:gd name="csX46" fmla="*/ 818272 w 1609516"/>
              <a:gd name="csY46" fmla="*/ 1292220 h 1538630"/>
              <a:gd name="csX47" fmla="*/ 827891 w 1609516"/>
              <a:gd name="csY47" fmla="*/ 1292047 h 1538630"/>
              <a:gd name="csX48" fmla="*/ 856397 w 1609516"/>
              <a:gd name="csY48" fmla="*/ 1288691 h 1538630"/>
              <a:gd name="csX49" fmla="*/ 865903 w 1609516"/>
              <a:gd name="csY49" fmla="*/ 1290590 h 1538630"/>
              <a:gd name="csX50" fmla="*/ 859999 w 1609516"/>
              <a:gd name="csY50" fmla="*/ 1288752 h 1538630"/>
              <a:gd name="csX51" fmla="*/ 834694 w 1609516"/>
              <a:gd name="csY51" fmla="*/ 1288572 h 1538630"/>
              <a:gd name="csX52" fmla="*/ 828038 w 1609516"/>
              <a:gd name="csY52" fmla="*/ 1288654 h 1538630"/>
              <a:gd name="csX53" fmla="*/ 828038 w 1609516"/>
              <a:gd name="csY53" fmla="*/ 1289214 h 1538630"/>
              <a:gd name="csX54" fmla="*/ 229746 w 1609516"/>
              <a:gd name="csY54" fmla="*/ 1191418 h 1538630"/>
              <a:gd name="csX55" fmla="*/ 227402 w 1609516"/>
              <a:gd name="csY55" fmla="*/ 1191947 h 1538630"/>
              <a:gd name="csX56" fmla="*/ 229315 w 1609516"/>
              <a:gd name="csY56" fmla="*/ 1191947 h 1538630"/>
              <a:gd name="csX57" fmla="*/ 229315 w 1609516"/>
              <a:gd name="csY57" fmla="*/ 1194765 h 1538630"/>
              <a:gd name="csX58" fmla="*/ 231321 w 1609516"/>
              <a:gd name="csY58" fmla="*/ 1194765 h 1538630"/>
              <a:gd name="csX59" fmla="*/ 229746 w 1609516"/>
              <a:gd name="csY59" fmla="*/ 1194236 h 1538630"/>
              <a:gd name="csX60" fmla="*/ 229746 w 1609516"/>
              <a:gd name="csY60" fmla="*/ 1191418 h 1538630"/>
              <a:gd name="csX61" fmla="*/ 215687 w 1609516"/>
              <a:gd name="csY61" fmla="*/ 1187190 h 1538630"/>
              <a:gd name="csX62" fmla="*/ 215198 w 1609516"/>
              <a:gd name="csY62" fmla="*/ 1187720 h 1538630"/>
              <a:gd name="csX63" fmla="*/ 215256 w 1609516"/>
              <a:gd name="csY63" fmla="*/ 1187720 h 1538630"/>
              <a:gd name="csX64" fmla="*/ 215256 w 1609516"/>
              <a:gd name="csY64" fmla="*/ 1191947 h 1538630"/>
              <a:gd name="csX65" fmla="*/ 222721 w 1609516"/>
              <a:gd name="csY65" fmla="*/ 1191947 h 1538630"/>
              <a:gd name="csX66" fmla="*/ 215687 w 1609516"/>
              <a:gd name="csY66" fmla="*/ 1191418 h 1538630"/>
              <a:gd name="csX67" fmla="*/ 215687 w 1609516"/>
              <a:gd name="csY67" fmla="*/ 1187190 h 1538630"/>
              <a:gd name="csX68" fmla="*/ 1279678 w 1609516"/>
              <a:gd name="csY68" fmla="*/ 1082356 h 1538630"/>
              <a:gd name="csX69" fmla="*/ 1271680 w 1609516"/>
              <a:gd name="csY69" fmla="*/ 1084589 h 1538630"/>
              <a:gd name="csX70" fmla="*/ 1282181 w 1609516"/>
              <a:gd name="csY70" fmla="*/ 1082544 h 1538630"/>
              <a:gd name="csX71" fmla="*/ 117703 w 1609516"/>
              <a:gd name="csY71" fmla="*/ 941507 h 1538630"/>
              <a:gd name="csX72" fmla="*/ 112587 w 1609516"/>
              <a:gd name="csY72" fmla="*/ 941985 h 1538630"/>
              <a:gd name="csX73" fmla="*/ 112565 w 1609516"/>
              <a:gd name="csY73" fmla="*/ 942333 h 1538630"/>
              <a:gd name="csX74" fmla="*/ 115665 w 1609516"/>
              <a:gd name="csY74" fmla="*/ 941837 h 1538630"/>
              <a:gd name="csX75" fmla="*/ 144268 w 1609516"/>
              <a:gd name="csY75" fmla="*/ 939395 h 1538630"/>
              <a:gd name="csX76" fmla="*/ 143354 w 1609516"/>
              <a:gd name="csY76" fmla="*/ 939580 h 1538630"/>
              <a:gd name="csX77" fmla="*/ 144077 w 1609516"/>
              <a:gd name="csY77" fmla="*/ 939739 h 1538630"/>
              <a:gd name="csX78" fmla="*/ 162575 w 1609516"/>
              <a:gd name="csY78" fmla="*/ 933530 h 1538630"/>
              <a:gd name="csX79" fmla="*/ 161704 w 1609516"/>
              <a:gd name="csY79" fmla="*/ 935101 h 1538630"/>
              <a:gd name="csX80" fmla="*/ 170045 w 1609516"/>
              <a:gd name="csY80" fmla="*/ 933585 h 1538630"/>
              <a:gd name="csX81" fmla="*/ 1321645 w 1609516"/>
              <a:gd name="csY81" fmla="*/ 918415 h 1538630"/>
              <a:gd name="csX82" fmla="*/ 1321534 w 1609516"/>
              <a:gd name="csY82" fmla="*/ 920177 h 1538630"/>
              <a:gd name="csX83" fmla="*/ 1321740 w 1609516"/>
              <a:gd name="csY83" fmla="*/ 918415 h 1538630"/>
              <a:gd name="csX84" fmla="*/ 1319333 w 1609516"/>
              <a:gd name="csY84" fmla="*/ 915183 h 1538630"/>
              <a:gd name="csX85" fmla="*/ 1318544 w 1609516"/>
              <a:gd name="csY85" fmla="*/ 918029 h 1538630"/>
              <a:gd name="csX86" fmla="*/ 1318702 w 1609516"/>
              <a:gd name="csY86" fmla="*/ 918029 h 1538630"/>
              <a:gd name="csX87" fmla="*/ 1326355 w 1609516"/>
              <a:gd name="csY87" fmla="*/ 907109 h 1538630"/>
              <a:gd name="csX88" fmla="*/ 1326355 w 1609516"/>
              <a:gd name="csY88" fmla="*/ 910983 h 1538630"/>
              <a:gd name="csX89" fmla="*/ 1325831 w 1609516"/>
              <a:gd name="csY89" fmla="*/ 911101 h 1538630"/>
              <a:gd name="csX90" fmla="*/ 1326426 w 1609516"/>
              <a:gd name="csY90" fmla="*/ 911369 h 1538630"/>
              <a:gd name="csX91" fmla="*/ 1326426 w 1609516"/>
              <a:gd name="csY91" fmla="*/ 907141 h 1538630"/>
              <a:gd name="csX92" fmla="*/ 1328144 w 1609516"/>
              <a:gd name="csY92" fmla="*/ 892192 h 1538630"/>
              <a:gd name="csX93" fmla="*/ 1327667 w 1609516"/>
              <a:gd name="csY93" fmla="*/ 893446 h 1538630"/>
              <a:gd name="csX94" fmla="*/ 1327989 w 1609516"/>
              <a:gd name="csY94" fmla="*/ 893049 h 1538630"/>
              <a:gd name="csX95" fmla="*/ 49605 w 1609516"/>
              <a:gd name="csY95" fmla="*/ 887420 h 1538630"/>
              <a:gd name="csX96" fmla="*/ 48549 w 1609516"/>
              <a:gd name="csY96" fmla="*/ 891229 h 1538630"/>
              <a:gd name="csX97" fmla="*/ 49956 w 1609516"/>
              <a:gd name="csY97" fmla="*/ 887420 h 1538630"/>
              <a:gd name="csX98" fmla="*/ 1332266 w 1609516"/>
              <a:gd name="csY98" fmla="*/ 883369 h 1538630"/>
              <a:gd name="csX99" fmla="*/ 1329479 w 1609516"/>
              <a:gd name="csY99" fmla="*/ 884207 h 1538630"/>
              <a:gd name="csX100" fmla="*/ 1329509 w 1609516"/>
              <a:gd name="csY100" fmla="*/ 884816 h 1538630"/>
              <a:gd name="csX101" fmla="*/ 1329551 w 1609516"/>
              <a:gd name="csY101" fmla="*/ 884594 h 1538630"/>
              <a:gd name="csX102" fmla="*/ 1555987 w 1609516"/>
              <a:gd name="csY102" fmla="*/ 821766 h 1538630"/>
              <a:gd name="csX103" fmla="*/ 1555987 w 1609516"/>
              <a:gd name="csY103" fmla="*/ 822201 h 1538630"/>
              <a:gd name="csX104" fmla="*/ 1556081 w 1609516"/>
              <a:gd name="csY104" fmla="*/ 822189 h 1538630"/>
              <a:gd name="csX105" fmla="*/ 1565360 w 1609516"/>
              <a:gd name="csY105" fmla="*/ 810928 h 1538630"/>
              <a:gd name="csX106" fmla="*/ 1564871 w 1609516"/>
              <a:gd name="csY106" fmla="*/ 811809 h 1538630"/>
              <a:gd name="csX107" fmla="*/ 1567314 w 1609516"/>
              <a:gd name="csY107" fmla="*/ 810928 h 1538630"/>
              <a:gd name="csX108" fmla="*/ 1563797 w 1609516"/>
              <a:gd name="csY108" fmla="*/ 810928 h 1538630"/>
              <a:gd name="csX109" fmla="*/ 1556762 w 1609516"/>
              <a:gd name="csY109" fmla="*/ 814736 h 1538630"/>
              <a:gd name="csX110" fmla="*/ 1563797 w 1609516"/>
              <a:gd name="csY110" fmla="*/ 812197 h 1538630"/>
              <a:gd name="csX111" fmla="*/ 265833 w 1609516"/>
              <a:gd name="csY111" fmla="*/ 806020 h 1538630"/>
              <a:gd name="csX112" fmla="*/ 263704 w 1609516"/>
              <a:gd name="csY112" fmla="*/ 809861 h 1538630"/>
              <a:gd name="csX113" fmla="*/ 263704 w 1609516"/>
              <a:gd name="csY113" fmla="*/ 816750 h 1538630"/>
              <a:gd name="csX114" fmla="*/ 264113 w 1609516"/>
              <a:gd name="csY114" fmla="*/ 816565 h 1538630"/>
              <a:gd name="csX115" fmla="*/ 263918 w 1609516"/>
              <a:gd name="csY115" fmla="*/ 812777 h 1538630"/>
              <a:gd name="csX116" fmla="*/ 263774 w 1609516"/>
              <a:gd name="csY116" fmla="*/ 779374 h 1538630"/>
              <a:gd name="csX117" fmla="*/ 263704 w 1609516"/>
              <a:gd name="csY117" fmla="*/ 783086 h 1538630"/>
              <a:gd name="csX118" fmla="*/ 264484 w 1609516"/>
              <a:gd name="csY118" fmla="*/ 785816 h 1538630"/>
              <a:gd name="csX119" fmla="*/ 265265 w 1609516"/>
              <a:gd name="csY119" fmla="*/ 794448 h 1538630"/>
              <a:gd name="csX120" fmla="*/ 265217 w 1609516"/>
              <a:gd name="csY120" fmla="*/ 799730 h 1538630"/>
              <a:gd name="csX121" fmla="*/ 266556 w 1609516"/>
              <a:gd name="csY121" fmla="*/ 803466 h 1538630"/>
              <a:gd name="csX122" fmla="*/ 267237 w 1609516"/>
              <a:gd name="csY122" fmla="*/ 801063 h 1538630"/>
              <a:gd name="csX123" fmla="*/ 265675 w 1609516"/>
              <a:gd name="csY123" fmla="*/ 799654 h 1538630"/>
              <a:gd name="csX124" fmla="*/ 265675 w 1609516"/>
              <a:gd name="csY124" fmla="*/ 793841 h 1538630"/>
              <a:gd name="csX125" fmla="*/ 260988 w 1609516"/>
              <a:gd name="csY125" fmla="*/ 770061 h 1538630"/>
              <a:gd name="csX126" fmla="*/ 260988 w 1609516"/>
              <a:gd name="csY126" fmla="*/ 771364 h 1538630"/>
              <a:gd name="csX127" fmla="*/ 263497 w 1609516"/>
              <a:gd name="csY127" fmla="*/ 777263 h 1538630"/>
              <a:gd name="csX128" fmla="*/ 262551 w 1609516"/>
              <a:gd name="csY128" fmla="*/ 770061 h 1538630"/>
              <a:gd name="csX129" fmla="*/ 260988 w 1609516"/>
              <a:gd name="csY129" fmla="*/ 770061 h 1538630"/>
              <a:gd name="csX130" fmla="*/ 157888 w 1609516"/>
              <a:gd name="csY130" fmla="*/ 651686 h 1538630"/>
              <a:gd name="csX131" fmla="*/ 157415 w 1609516"/>
              <a:gd name="csY131" fmla="*/ 651764 h 1538630"/>
              <a:gd name="csX132" fmla="*/ 160373 w 1609516"/>
              <a:gd name="csY132" fmla="*/ 652274 h 1538630"/>
              <a:gd name="csX133" fmla="*/ 267237 w 1609516"/>
              <a:gd name="csY133" fmla="*/ 426537 h 1538630"/>
              <a:gd name="csX134" fmla="*/ 267237 w 1609516"/>
              <a:gd name="csY134" fmla="*/ 427619 h 1538630"/>
              <a:gd name="csX135" fmla="*/ 270380 w 1609516"/>
              <a:gd name="csY135" fmla="*/ 428137 h 1538630"/>
              <a:gd name="csX136" fmla="*/ 273548 w 1609516"/>
              <a:gd name="csY136" fmla="*/ 428680 h 1538630"/>
              <a:gd name="csX137" fmla="*/ 37605 w 1609516"/>
              <a:gd name="csY137" fmla="*/ 359270 h 1538630"/>
              <a:gd name="csX138" fmla="*/ 37103 w 1609516"/>
              <a:gd name="csY138" fmla="*/ 361533 h 1538630"/>
              <a:gd name="csX139" fmla="*/ 37605 w 1609516"/>
              <a:gd name="csY139" fmla="*/ 361382 h 1538630"/>
              <a:gd name="csX140" fmla="*/ 52477 w 1609516"/>
              <a:gd name="csY140" fmla="*/ 337570 h 1538630"/>
              <a:gd name="csX141" fmla="*/ 47288 w 1609516"/>
              <a:gd name="csY141" fmla="*/ 342340 h 1538630"/>
              <a:gd name="csX142" fmla="*/ 45805 w 1609516"/>
              <a:gd name="csY142" fmla="*/ 345093 h 1538630"/>
              <a:gd name="csX143" fmla="*/ 104291 w 1609516"/>
              <a:gd name="csY143" fmla="*/ 336166 h 1538630"/>
              <a:gd name="csX144" fmla="*/ 103776 w 1609516"/>
              <a:gd name="csY144" fmla="*/ 337559 h 1538630"/>
              <a:gd name="csX145" fmla="*/ 108925 w 1609516"/>
              <a:gd name="csY145" fmla="*/ 336166 h 1538630"/>
              <a:gd name="csX146" fmla="*/ 1309237 w 1609516"/>
              <a:gd name="csY146" fmla="*/ 322954 h 1538630"/>
              <a:gd name="csX147" fmla="*/ 1309180 w 1609516"/>
              <a:gd name="csY147" fmla="*/ 330559 h 1538630"/>
              <a:gd name="csX148" fmla="*/ 1309237 w 1609516"/>
              <a:gd name="csY148" fmla="*/ 330520 h 1538630"/>
              <a:gd name="csX149" fmla="*/ 1308964 w 1609516"/>
              <a:gd name="csY149" fmla="*/ 317715 h 1538630"/>
              <a:gd name="csX150" fmla="*/ 1309237 w 1609516"/>
              <a:gd name="csY150" fmla="*/ 318569 h 1538630"/>
              <a:gd name="csX151" fmla="*/ 1309237 w 1609516"/>
              <a:gd name="csY151" fmla="*/ 317838 h 1538630"/>
              <a:gd name="csX152" fmla="*/ 1310087 w 1609516"/>
              <a:gd name="csY152" fmla="*/ 313153 h 1538630"/>
              <a:gd name="csX153" fmla="*/ 1307609 w 1609516"/>
              <a:gd name="csY153" fmla="*/ 313473 h 1538630"/>
              <a:gd name="csX154" fmla="*/ 1308045 w 1609516"/>
              <a:gd name="csY154" fmla="*/ 314836 h 1538630"/>
              <a:gd name="csX155" fmla="*/ 1318544 w 1609516"/>
              <a:gd name="csY155" fmla="*/ 312064 h 1538630"/>
              <a:gd name="csX156" fmla="*/ 1316298 w 1609516"/>
              <a:gd name="csY156" fmla="*/ 312353 h 1538630"/>
              <a:gd name="csX157" fmla="*/ 1318544 w 1609516"/>
              <a:gd name="csY157" fmla="*/ 312205 h 1538630"/>
              <a:gd name="csX158" fmla="*/ 1084622 w 1609516"/>
              <a:gd name="csY158" fmla="*/ 267674 h 1538630"/>
              <a:gd name="csX159" fmla="*/ 1084227 w 1609516"/>
              <a:gd name="csY159" fmla="*/ 268378 h 1538630"/>
              <a:gd name="csX160" fmla="*/ 1079540 w 1609516"/>
              <a:gd name="csY160" fmla="*/ 268378 h 1538630"/>
              <a:gd name="csX161" fmla="*/ 1079603 w 1609516"/>
              <a:gd name="csY161" fmla="*/ 268477 h 1538630"/>
              <a:gd name="csX162" fmla="*/ 1084192 w 1609516"/>
              <a:gd name="csY162" fmla="*/ 268477 h 1538630"/>
              <a:gd name="csX163" fmla="*/ 956410 w 1609516"/>
              <a:gd name="csY163" fmla="*/ 266968 h 1538630"/>
              <a:gd name="csX164" fmla="*/ 957576 w 1609516"/>
              <a:gd name="csY164" fmla="*/ 267083 h 1538630"/>
              <a:gd name="csX165" fmla="*/ 957576 w 1609516"/>
              <a:gd name="csY165" fmla="*/ 269776 h 1538630"/>
              <a:gd name="csX166" fmla="*/ 957694 w 1609516"/>
              <a:gd name="csY166" fmla="*/ 269787 h 1538630"/>
              <a:gd name="csX167" fmla="*/ 957694 w 1609516"/>
              <a:gd name="csY167" fmla="*/ 266968 h 1538630"/>
              <a:gd name="csX168" fmla="*/ 1089372 w 1609516"/>
              <a:gd name="csY168" fmla="*/ 259220 h 1538630"/>
              <a:gd name="csX169" fmla="*/ 1085856 w 1609516"/>
              <a:gd name="csY169" fmla="*/ 265479 h 1538630"/>
              <a:gd name="csX170" fmla="*/ 1088878 w 1609516"/>
              <a:gd name="csY170" fmla="*/ 261431 h 1538630"/>
              <a:gd name="csX171" fmla="*/ 1018517 w 1609516"/>
              <a:gd name="csY171" fmla="*/ 223356 h 1538630"/>
              <a:gd name="csX172" fmla="*/ 1013866 w 1609516"/>
              <a:gd name="csY172" fmla="*/ 226190 h 1538630"/>
              <a:gd name="csX173" fmla="*/ 1013024 w 1609516"/>
              <a:gd name="csY173" fmla="*/ 227709 h 1538630"/>
              <a:gd name="csX174" fmla="*/ 1017055 w 1609516"/>
              <a:gd name="csY174" fmla="*/ 224692 h 1538630"/>
              <a:gd name="csX175" fmla="*/ 850645 w 1609516"/>
              <a:gd name="csY175" fmla="*/ 220099 h 1538630"/>
              <a:gd name="csX176" fmla="*/ 850897 w 1609516"/>
              <a:gd name="csY176" fmla="*/ 221488 h 1538630"/>
              <a:gd name="csX177" fmla="*/ 851470 w 1609516"/>
              <a:gd name="csY177" fmla="*/ 224692 h 1538630"/>
              <a:gd name="csX178" fmla="*/ 852860 w 1609516"/>
              <a:gd name="csY178" fmla="*/ 224692 h 1538630"/>
              <a:gd name="csX179" fmla="*/ 1155019 w 1609516"/>
              <a:gd name="csY179" fmla="*/ 35 h 1538630"/>
              <a:gd name="csX180" fmla="*/ 1174829 w 1609516"/>
              <a:gd name="csY180" fmla="*/ 4853 h 1538630"/>
              <a:gd name="csX181" fmla="*/ 1179418 w 1609516"/>
              <a:gd name="csY181" fmla="*/ 5998 h 1538630"/>
              <a:gd name="csX182" fmla="*/ 1201385 w 1609516"/>
              <a:gd name="csY182" fmla="*/ 22997 h 1538630"/>
              <a:gd name="csX183" fmla="*/ 1201678 w 1609516"/>
              <a:gd name="csY183" fmla="*/ 62191 h 1538630"/>
              <a:gd name="csX184" fmla="*/ 1198261 w 1609516"/>
              <a:gd name="csY184" fmla="*/ 68268 h 1538630"/>
              <a:gd name="csX185" fmla="*/ 1195723 w 1609516"/>
              <a:gd name="csY185" fmla="*/ 72672 h 1538630"/>
              <a:gd name="csX186" fmla="*/ 1193575 w 1609516"/>
              <a:gd name="csY186" fmla="*/ 75314 h 1538630"/>
              <a:gd name="csX187" fmla="*/ 1190450 w 1609516"/>
              <a:gd name="csY187" fmla="*/ 75314 h 1538630"/>
              <a:gd name="csX188" fmla="*/ 1189474 w 1609516"/>
              <a:gd name="csY188" fmla="*/ 79366 h 1538630"/>
              <a:gd name="csX189" fmla="*/ 1182445 w 1609516"/>
              <a:gd name="csY189" fmla="*/ 85707 h 1538630"/>
              <a:gd name="csX190" fmla="*/ 1177953 w 1609516"/>
              <a:gd name="csY190" fmla="*/ 86588 h 1538630"/>
              <a:gd name="csX191" fmla="*/ 1177953 w 1609516"/>
              <a:gd name="csY191" fmla="*/ 89406 h 1538630"/>
              <a:gd name="csX192" fmla="*/ 1170045 w 1609516"/>
              <a:gd name="csY192" fmla="*/ 94251 h 1538630"/>
              <a:gd name="csX193" fmla="*/ 1143806 w 1609516"/>
              <a:gd name="csY193" fmla="*/ 132828 h 1538630"/>
              <a:gd name="csX194" fmla="*/ 1137338 w 1609516"/>
              <a:gd name="csY194" fmla="*/ 141548 h 1538630"/>
              <a:gd name="csX195" fmla="*/ 1133970 w 1609516"/>
              <a:gd name="csY195" fmla="*/ 149403 h 1538630"/>
              <a:gd name="csX196" fmla="*/ 1127965 w 1609516"/>
              <a:gd name="csY196" fmla="*/ 164095 h 1538630"/>
              <a:gd name="csX197" fmla="*/ 1124762 w 1609516"/>
              <a:gd name="csY197" fmla="*/ 171802 h 1538630"/>
              <a:gd name="csX198" fmla="*/ 1119359 w 1609516"/>
              <a:gd name="csY198" fmla="*/ 184798 h 1538630"/>
              <a:gd name="csX199" fmla="*/ 1111014 w 1609516"/>
              <a:gd name="csY199" fmla="*/ 204941 h 1538630"/>
              <a:gd name="csX200" fmla="*/ 1109729 w 1609516"/>
              <a:gd name="csY200" fmla="*/ 208059 h 1538630"/>
              <a:gd name="csX201" fmla="*/ 1106395 w 1609516"/>
              <a:gd name="csY201" fmla="*/ 216170 h 1538630"/>
              <a:gd name="csX202" fmla="*/ 1102147 w 1609516"/>
              <a:gd name="csY202" fmla="*/ 224810 h 1538630"/>
              <a:gd name="csX203" fmla="*/ 1098261 w 1609516"/>
              <a:gd name="csY203" fmla="*/ 227262 h 1538630"/>
              <a:gd name="csX204" fmla="*/ 1098367 w 1609516"/>
              <a:gd name="csY204" fmla="*/ 238475 h 1538630"/>
              <a:gd name="csX205" fmla="*/ 1097331 w 1609516"/>
              <a:gd name="csY205" fmla="*/ 242358 h 1538630"/>
              <a:gd name="csX206" fmla="*/ 1096201 w 1609516"/>
              <a:gd name="csY206" fmla="*/ 246458 h 1538630"/>
              <a:gd name="csX207" fmla="*/ 1089440 w 1609516"/>
              <a:gd name="csY207" fmla="*/ 279206 h 1538630"/>
              <a:gd name="csX208" fmla="*/ 1087316 w 1609516"/>
              <a:gd name="csY208" fmla="*/ 283978 h 1538630"/>
              <a:gd name="csX209" fmla="*/ 1086822 w 1609516"/>
              <a:gd name="csY209" fmla="*/ 291822 h 1538630"/>
              <a:gd name="csX210" fmla="*/ 1086623 w 1609516"/>
              <a:gd name="csY210" fmla="*/ 296625 h 1538630"/>
              <a:gd name="csX211" fmla="*/ 1086437 w 1609516"/>
              <a:gd name="csY211" fmla="*/ 301681 h 1538630"/>
              <a:gd name="csX212" fmla="*/ 1086233 w 1609516"/>
              <a:gd name="csY212" fmla="*/ 306754 h 1538630"/>
              <a:gd name="csX213" fmla="*/ 1086007 w 1609516"/>
              <a:gd name="csY213" fmla="*/ 312619 h 1538630"/>
              <a:gd name="csX214" fmla="*/ 1087470 w 1609516"/>
              <a:gd name="csY214" fmla="*/ 320554 h 1538630"/>
              <a:gd name="csX215" fmla="*/ 1098285 w 1609516"/>
              <a:gd name="csY215" fmla="*/ 334611 h 1538630"/>
              <a:gd name="csX216" fmla="*/ 1102607 w 1609516"/>
              <a:gd name="csY216" fmla="*/ 337679 h 1538630"/>
              <a:gd name="csX217" fmla="*/ 1106095 w 1609516"/>
              <a:gd name="csY217" fmla="*/ 340248 h 1538630"/>
              <a:gd name="csX218" fmla="*/ 1106095 w 1609516"/>
              <a:gd name="csY218" fmla="*/ 343066 h 1538630"/>
              <a:gd name="csX219" fmla="*/ 1109220 w 1609516"/>
              <a:gd name="csY219" fmla="*/ 343419 h 1538630"/>
              <a:gd name="csX220" fmla="*/ 1126403 w 1609516"/>
              <a:gd name="csY220" fmla="*/ 350112 h 1538630"/>
              <a:gd name="csX221" fmla="*/ 1131871 w 1609516"/>
              <a:gd name="csY221" fmla="*/ 352579 h 1538630"/>
              <a:gd name="csX222" fmla="*/ 1135776 w 1609516"/>
              <a:gd name="csY222" fmla="*/ 354340 h 1538630"/>
              <a:gd name="csX223" fmla="*/ 1135776 w 1609516"/>
              <a:gd name="csY223" fmla="*/ 357158 h 1538630"/>
              <a:gd name="csX224" fmla="*/ 1170143 w 1609516"/>
              <a:gd name="csY224" fmla="*/ 354340 h 1538630"/>
              <a:gd name="csX225" fmla="*/ 1174634 w 1609516"/>
              <a:gd name="csY225" fmla="*/ 352579 h 1538630"/>
              <a:gd name="csX226" fmla="*/ 1190890 w 1609516"/>
              <a:gd name="csY226" fmla="*/ 342907 h 1538630"/>
              <a:gd name="csX227" fmla="*/ 1204021 w 1609516"/>
              <a:gd name="csY227" fmla="*/ 335404 h 1538630"/>
              <a:gd name="csX228" fmla="*/ 1223255 w 1609516"/>
              <a:gd name="csY228" fmla="*/ 319110 h 1538630"/>
              <a:gd name="csX229" fmla="*/ 1226868 w 1609516"/>
              <a:gd name="csY229" fmla="*/ 315587 h 1538630"/>
              <a:gd name="csX230" fmla="*/ 1231859 w 1609516"/>
              <a:gd name="csY230" fmla="*/ 303559 h 1538630"/>
              <a:gd name="csX231" fmla="*/ 1234178 w 1609516"/>
              <a:gd name="csY231" fmla="*/ 298059 h 1538630"/>
              <a:gd name="csX232" fmla="*/ 1237314 w 1609516"/>
              <a:gd name="csY232" fmla="*/ 288195 h 1538630"/>
              <a:gd name="csX233" fmla="*/ 1249811 w 1609516"/>
              <a:gd name="csY233" fmla="*/ 265559 h 1538630"/>
              <a:gd name="csX234" fmla="*/ 1252935 w 1609516"/>
              <a:gd name="csY234" fmla="*/ 265559 h 1538630"/>
              <a:gd name="csX235" fmla="*/ 1252935 w 1609516"/>
              <a:gd name="csY235" fmla="*/ 262741 h 1538630"/>
              <a:gd name="csX236" fmla="*/ 1296675 w 1609516"/>
              <a:gd name="csY236" fmla="*/ 252876 h 1538630"/>
              <a:gd name="csX237" fmla="*/ 1307609 w 1609516"/>
              <a:gd name="csY237" fmla="*/ 255695 h 1538630"/>
              <a:gd name="csX238" fmla="*/ 1307609 w 1609516"/>
              <a:gd name="csY238" fmla="*/ 258513 h 1538630"/>
              <a:gd name="csX239" fmla="*/ 1311887 w 1609516"/>
              <a:gd name="csY239" fmla="*/ 258832 h 1538630"/>
              <a:gd name="csX240" fmla="*/ 1326715 w 1609516"/>
              <a:gd name="csY240" fmla="*/ 269969 h 1538630"/>
              <a:gd name="csX241" fmla="*/ 1334165 w 1609516"/>
              <a:gd name="csY241" fmla="*/ 307836 h 1538630"/>
              <a:gd name="csX242" fmla="*/ 1329479 w 1609516"/>
              <a:gd name="csY242" fmla="*/ 314882 h 1538630"/>
              <a:gd name="csX243" fmla="*/ 1323231 w 1609516"/>
              <a:gd name="csY243" fmla="*/ 314882 h 1538630"/>
              <a:gd name="csX244" fmla="*/ 1323231 w 1609516"/>
              <a:gd name="csY244" fmla="*/ 317700 h 1538630"/>
              <a:gd name="csX245" fmla="*/ 1322774 w 1609516"/>
              <a:gd name="csY245" fmla="*/ 317838 h 1538630"/>
              <a:gd name="csX246" fmla="*/ 1323295 w 1609516"/>
              <a:gd name="csY246" fmla="*/ 317838 h 1538630"/>
              <a:gd name="csX247" fmla="*/ 1323295 w 1609516"/>
              <a:gd name="csY247" fmla="*/ 315019 h 1538630"/>
              <a:gd name="csX248" fmla="*/ 1327982 w 1609516"/>
              <a:gd name="csY248" fmla="*/ 315019 h 1538630"/>
              <a:gd name="csX249" fmla="*/ 1317047 w 1609516"/>
              <a:gd name="csY249" fmla="*/ 327702 h 1538630"/>
              <a:gd name="csX250" fmla="*/ 1315484 w 1609516"/>
              <a:gd name="csY250" fmla="*/ 331930 h 1538630"/>
              <a:gd name="csX251" fmla="*/ 1309139 w 1609516"/>
              <a:gd name="csY251" fmla="*/ 333603 h 1538630"/>
              <a:gd name="csX252" fmla="*/ 1305666 w 1609516"/>
              <a:gd name="csY252" fmla="*/ 334280 h 1538630"/>
              <a:gd name="csX253" fmla="*/ 1302988 w 1609516"/>
              <a:gd name="csY253" fmla="*/ 334748 h 1538630"/>
              <a:gd name="csX254" fmla="*/ 1305905 w 1609516"/>
              <a:gd name="csY254" fmla="*/ 332775 h 1538630"/>
              <a:gd name="csX255" fmla="*/ 1304485 w 1609516"/>
              <a:gd name="csY255" fmla="*/ 333202 h 1538630"/>
              <a:gd name="csX256" fmla="*/ 1301459 w 1609516"/>
              <a:gd name="csY256" fmla="*/ 336108 h 1538630"/>
              <a:gd name="csX257" fmla="*/ 1291989 w 1609516"/>
              <a:gd name="csY257" fmla="*/ 338839 h 1538630"/>
              <a:gd name="csX258" fmla="*/ 1290426 w 1609516"/>
              <a:gd name="csY258" fmla="*/ 343066 h 1538630"/>
              <a:gd name="csX259" fmla="*/ 1285740 w 1609516"/>
              <a:gd name="csY259" fmla="*/ 344123 h 1538630"/>
              <a:gd name="csX260" fmla="*/ 1237314 w 1609516"/>
              <a:gd name="csY260" fmla="*/ 382525 h 1538630"/>
              <a:gd name="csX261" fmla="*/ 1232628 w 1609516"/>
              <a:gd name="csY261" fmla="*/ 392389 h 1538630"/>
              <a:gd name="csX262" fmla="*/ 1228625 w 1609516"/>
              <a:gd name="csY262" fmla="*/ 398731 h 1538630"/>
              <a:gd name="csX263" fmla="*/ 1222822 w 1609516"/>
              <a:gd name="csY263" fmla="*/ 434798 h 1538630"/>
              <a:gd name="csX264" fmla="*/ 1260746 w 1609516"/>
              <a:gd name="csY264" fmla="*/ 485398 h 1538630"/>
              <a:gd name="csX265" fmla="*/ 1268556 w 1609516"/>
              <a:gd name="csY265" fmla="*/ 488216 h 1538630"/>
              <a:gd name="csX266" fmla="*/ 1268556 w 1609516"/>
              <a:gd name="csY266" fmla="*/ 491034 h 1538630"/>
              <a:gd name="csX267" fmla="*/ 1338852 w 1609516"/>
              <a:gd name="csY267" fmla="*/ 489625 h 1538630"/>
              <a:gd name="csX268" fmla="*/ 1347444 w 1609516"/>
              <a:gd name="csY268" fmla="*/ 488480 h 1538630"/>
              <a:gd name="csX269" fmla="*/ 1369362 w 1609516"/>
              <a:gd name="csY269" fmla="*/ 482513 h 1538630"/>
              <a:gd name="csX270" fmla="*/ 1388840 w 1609516"/>
              <a:gd name="csY270" fmla="*/ 478351 h 1538630"/>
              <a:gd name="csX271" fmla="*/ 1388840 w 1609516"/>
              <a:gd name="csY271" fmla="*/ 475533 h 1538630"/>
              <a:gd name="csX272" fmla="*/ 1395576 w 1609516"/>
              <a:gd name="csY272" fmla="*/ 473419 h 1538630"/>
              <a:gd name="csX273" fmla="*/ 1399365 w 1609516"/>
              <a:gd name="csY273" fmla="*/ 472230 h 1538630"/>
              <a:gd name="csX274" fmla="*/ 1407585 w 1609516"/>
              <a:gd name="csY274" fmla="*/ 471305 h 1538630"/>
              <a:gd name="csX275" fmla="*/ 1409147 w 1609516"/>
              <a:gd name="csY275" fmla="*/ 467078 h 1538630"/>
              <a:gd name="csX276" fmla="*/ 1416470 w 1609516"/>
              <a:gd name="csY276" fmla="*/ 464259 h 1538630"/>
              <a:gd name="csX277" fmla="*/ 1437949 w 1609516"/>
              <a:gd name="csY277" fmla="*/ 455011 h 1538630"/>
              <a:gd name="csX278" fmla="*/ 1452887 w 1609516"/>
              <a:gd name="csY278" fmla="*/ 450167 h 1538630"/>
              <a:gd name="csX279" fmla="*/ 1452887 w 1609516"/>
              <a:gd name="csY279" fmla="*/ 447349 h 1538630"/>
              <a:gd name="csX280" fmla="*/ 1455394 w 1609516"/>
              <a:gd name="csY280" fmla="*/ 446122 h 1538630"/>
              <a:gd name="csX281" fmla="*/ 1466653 w 1609516"/>
              <a:gd name="csY281" fmla="*/ 440567 h 1538630"/>
              <a:gd name="csX282" fmla="*/ 1470598 w 1609516"/>
              <a:gd name="csY282" fmla="*/ 438637 h 1538630"/>
              <a:gd name="csX283" fmla="*/ 1474397 w 1609516"/>
              <a:gd name="csY283" fmla="*/ 436752 h 1538630"/>
              <a:gd name="csX284" fmla="*/ 1477892 w 1609516"/>
              <a:gd name="csY284" fmla="*/ 435030 h 1538630"/>
              <a:gd name="csX285" fmla="*/ 1485691 w 1609516"/>
              <a:gd name="csY285" fmla="*/ 429029 h 1538630"/>
              <a:gd name="csX286" fmla="*/ 1488858 w 1609516"/>
              <a:gd name="csY286" fmla="*/ 427653 h 1538630"/>
              <a:gd name="csX287" fmla="*/ 1495943 w 1609516"/>
              <a:gd name="csY287" fmla="*/ 421454 h 1538630"/>
              <a:gd name="csX288" fmla="*/ 1538608 w 1609516"/>
              <a:gd name="csY288" fmla="*/ 388338 h 1538630"/>
              <a:gd name="csX289" fmla="*/ 1543490 w 1609516"/>
              <a:gd name="csY289" fmla="*/ 388161 h 1538630"/>
              <a:gd name="csX290" fmla="*/ 1547621 w 1609516"/>
              <a:gd name="csY290" fmla="*/ 387804 h 1538630"/>
              <a:gd name="csX291" fmla="*/ 1579418 w 1609516"/>
              <a:gd name="csY291" fmla="*/ 396617 h 1538630"/>
              <a:gd name="csX292" fmla="*/ 1583342 w 1609516"/>
              <a:gd name="csY292" fmla="*/ 398780 h 1538630"/>
              <a:gd name="csX293" fmla="*/ 1601288 w 1609516"/>
              <a:gd name="csY293" fmla="*/ 423392 h 1538630"/>
              <a:gd name="csX294" fmla="*/ 1594484 w 1609516"/>
              <a:gd name="csY294" fmla="*/ 460159 h 1538630"/>
              <a:gd name="csX295" fmla="*/ 1574732 w 1609516"/>
              <a:gd name="csY295" fmla="*/ 475533 h 1538630"/>
              <a:gd name="csX296" fmla="*/ 1572097 w 1609516"/>
              <a:gd name="csY296" fmla="*/ 477078 h 1538630"/>
              <a:gd name="csX297" fmla="*/ 1556066 w 1609516"/>
              <a:gd name="csY297" fmla="*/ 478737 h 1538630"/>
              <a:gd name="csX298" fmla="*/ 1548631 w 1609516"/>
              <a:gd name="csY298" fmla="*/ 478825 h 1538630"/>
              <a:gd name="csX299" fmla="*/ 1536991 w 1609516"/>
              <a:gd name="csY299" fmla="*/ 478889 h 1538630"/>
              <a:gd name="csX300" fmla="*/ 1498188 w 1609516"/>
              <a:gd name="csY300" fmla="*/ 485398 h 1538630"/>
              <a:gd name="csX301" fmla="*/ 1493892 w 1609516"/>
              <a:gd name="csY301" fmla="*/ 487600 h 1538630"/>
              <a:gd name="csX302" fmla="*/ 1490377 w 1609516"/>
              <a:gd name="csY302" fmla="*/ 489625 h 1538630"/>
              <a:gd name="csX303" fmla="*/ 1471650 w 1609516"/>
              <a:gd name="csY303" fmla="*/ 498185 h 1538630"/>
              <a:gd name="csX304" fmla="*/ 1459135 w 1609516"/>
              <a:gd name="csY304" fmla="*/ 505127 h 1538630"/>
              <a:gd name="csX305" fmla="*/ 1452594 w 1609516"/>
              <a:gd name="csY305" fmla="*/ 508033 h 1538630"/>
              <a:gd name="csX306" fmla="*/ 1427795 w 1609516"/>
              <a:gd name="csY306" fmla="*/ 520100 h 1538630"/>
              <a:gd name="csX307" fmla="*/ 1423733 w 1609516"/>
              <a:gd name="csY307" fmla="*/ 522148 h 1538630"/>
              <a:gd name="csX308" fmla="*/ 1419929 w 1609516"/>
              <a:gd name="csY308" fmla="*/ 524118 h 1538630"/>
              <a:gd name="csX309" fmla="*/ 1416487 w 1609516"/>
              <a:gd name="csY309" fmla="*/ 525883 h 1538630"/>
              <a:gd name="csX310" fmla="*/ 1412271 w 1609516"/>
              <a:gd name="csY310" fmla="*/ 531902 h 1538630"/>
              <a:gd name="csX311" fmla="*/ 1396650 w 1609516"/>
              <a:gd name="csY311" fmla="*/ 537539 h 1538630"/>
              <a:gd name="csX312" fmla="*/ 1396650 w 1609516"/>
              <a:gd name="csY312" fmla="*/ 540357 h 1538630"/>
              <a:gd name="csX313" fmla="*/ 1393495 w 1609516"/>
              <a:gd name="csY313" fmla="*/ 541502 h 1538630"/>
              <a:gd name="csX314" fmla="*/ 1362284 w 1609516"/>
              <a:gd name="csY314" fmla="*/ 558678 h 1538630"/>
              <a:gd name="csX315" fmla="*/ 1355937 w 1609516"/>
              <a:gd name="csY315" fmla="*/ 562905 h 1538630"/>
              <a:gd name="csX316" fmla="*/ 1334165 w 1609516"/>
              <a:gd name="csY316" fmla="*/ 578406 h 1538630"/>
              <a:gd name="csX317" fmla="*/ 1331200 w 1609516"/>
              <a:gd name="csY317" fmla="*/ 580559 h 1538630"/>
              <a:gd name="csX318" fmla="*/ 1322175 w 1609516"/>
              <a:gd name="csY318" fmla="*/ 596793 h 1538630"/>
              <a:gd name="csX319" fmla="*/ 1320106 w 1609516"/>
              <a:gd name="csY319" fmla="*/ 602363 h 1538630"/>
              <a:gd name="csX320" fmla="*/ 1328015 w 1609516"/>
              <a:gd name="csY320" fmla="*/ 647640 h 1538630"/>
              <a:gd name="csX321" fmla="*/ 1332604 w 1609516"/>
              <a:gd name="csY321" fmla="*/ 675643 h 1538630"/>
              <a:gd name="csX322" fmla="*/ 1335727 w 1609516"/>
              <a:gd name="csY322" fmla="*/ 675643 h 1538630"/>
              <a:gd name="csX323" fmla="*/ 1337741 w 1609516"/>
              <a:gd name="csY323" fmla="*/ 690059 h 1538630"/>
              <a:gd name="csX324" fmla="*/ 1338003 w 1609516"/>
              <a:gd name="csY324" fmla="*/ 696222 h 1538630"/>
              <a:gd name="csX325" fmla="*/ 1338340 w 1609516"/>
              <a:gd name="csY325" fmla="*/ 705887 h 1538630"/>
              <a:gd name="csX326" fmla="*/ 1345277 w 1609516"/>
              <a:gd name="csY326" fmla="*/ 733245 h 1538630"/>
              <a:gd name="csX327" fmla="*/ 1363162 w 1609516"/>
              <a:gd name="csY327" fmla="*/ 741612 h 1538630"/>
              <a:gd name="csX328" fmla="*/ 1384154 w 1609516"/>
              <a:gd name="csY328" fmla="*/ 748922 h 1538630"/>
              <a:gd name="csX329" fmla="*/ 1391476 w 1609516"/>
              <a:gd name="csY329" fmla="*/ 750419 h 1538630"/>
              <a:gd name="csX330" fmla="*/ 1395564 w 1609516"/>
              <a:gd name="csY330" fmla="*/ 751080 h 1538630"/>
              <a:gd name="csX331" fmla="*/ 1399775 w 1609516"/>
              <a:gd name="csY331" fmla="*/ 751740 h 1538630"/>
              <a:gd name="csX332" fmla="*/ 1403887 w 1609516"/>
              <a:gd name="csY332" fmla="*/ 752489 h 1538630"/>
              <a:gd name="csX333" fmla="*/ 1465383 w 1609516"/>
              <a:gd name="csY333" fmla="*/ 755969 h 1538630"/>
              <a:gd name="csX334" fmla="*/ 1470339 w 1609516"/>
              <a:gd name="csY334" fmla="*/ 755897 h 1538630"/>
              <a:gd name="csX335" fmla="*/ 1496809 w 1609516"/>
              <a:gd name="csY335" fmla="*/ 749313 h 1538630"/>
              <a:gd name="csX336" fmla="*/ 1515371 w 1609516"/>
              <a:gd name="csY336" fmla="*/ 743285 h 1538630"/>
              <a:gd name="csX337" fmla="*/ 1515371 w 1609516"/>
              <a:gd name="csY337" fmla="*/ 740467 h 1538630"/>
              <a:gd name="csX338" fmla="*/ 1537632 w 1609516"/>
              <a:gd name="csY338" fmla="*/ 737120 h 1538630"/>
              <a:gd name="csX339" fmla="*/ 1541657 w 1609516"/>
              <a:gd name="csY339" fmla="*/ 737127 h 1538630"/>
              <a:gd name="csX340" fmla="*/ 1574732 w 1609516"/>
              <a:gd name="csY340" fmla="*/ 748922 h 1538630"/>
              <a:gd name="csX341" fmla="*/ 1588791 w 1609516"/>
              <a:gd name="csY341" fmla="*/ 792608 h 1538630"/>
              <a:gd name="csX342" fmla="*/ 1584105 w 1609516"/>
              <a:gd name="csY342" fmla="*/ 805291 h 1538630"/>
              <a:gd name="csX343" fmla="*/ 1580981 w 1609516"/>
              <a:gd name="csY343" fmla="*/ 806700 h 1538630"/>
              <a:gd name="csX344" fmla="*/ 1578735 w 1609516"/>
              <a:gd name="csY344" fmla="*/ 810311 h 1538630"/>
              <a:gd name="csX345" fmla="*/ 1576295 w 1609516"/>
              <a:gd name="csY345" fmla="*/ 813746 h 1538630"/>
              <a:gd name="csX346" fmla="*/ 1571652 w 1609516"/>
              <a:gd name="csY346" fmla="*/ 813746 h 1538630"/>
              <a:gd name="csX347" fmla="*/ 1571785 w 1609516"/>
              <a:gd name="csY347" fmla="*/ 814106 h 1538630"/>
              <a:gd name="csX348" fmla="*/ 1574909 w 1609516"/>
              <a:gd name="csY348" fmla="*/ 815515 h 1538630"/>
              <a:gd name="csX349" fmla="*/ 1565463 w 1609516"/>
              <a:gd name="csY349" fmla="*/ 821839 h 1538630"/>
              <a:gd name="csX350" fmla="*/ 1562085 w 1609516"/>
              <a:gd name="csY350" fmla="*/ 822101 h 1538630"/>
              <a:gd name="csX351" fmla="*/ 1551301 w 1609516"/>
              <a:gd name="csY351" fmla="*/ 825020 h 1538630"/>
              <a:gd name="csX352" fmla="*/ 1551301 w 1609516"/>
              <a:gd name="csY352" fmla="*/ 827838 h 1538630"/>
              <a:gd name="csX353" fmla="*/ 1485380 w 1609516"/>
              <a:gd name="csY353" fmla="*/ 815007 h 1538630"/>
              <a:gd name="csX354" fmla="*/ 1431603 w 1609516"/>
              <a:gd name="csY354" fmla="*/ 808726 h 1538630"/>
              <a:gd name="csX355" fmla="*/ 1424140 w 1609516"/>
              <a:gd name="csY355" fmla="*/ 808542 h 1538630"/>
              <a:gd name="csX356" fmla="*/ 1406023 w 1609516"/>
              <a:gd name="csY356" fmla="*/ 808109 h 1538630"/>
              <a:gd name="csX357" fmla="*/ 1406023 w 1609516"/>
              <a:gd name="csY357" fmla="*/ 810928 h 1538630"/>
              <a:gd name="csX358" fmla="*/ 1403383 w 1609516"/>
              <a:gd name="csY358" fmla="*/ 811311 h 1538630"/>
              <a:gd name="csX359" fmla="*/ 1345442 w 1609516"/>
              <a:gd name="csY359" fmla="*/ 828907 h 1538630"/>
              <a:gd name="csX360" fmla="*/ 1337875 w 1609516"/>
              <a:gd name="csY360" fmla="*/ 856639 h 1538630"/>
              <a:gd name="csX361" fmla="*/ 1337692 w 1609516"/>
              <a:gd name="csY361" fmla="*/ 860171 h 1538630"/>
              <a:gd name="csX362" fmla="*/ 1337290 w 1609516"/>
              <a:gd name="csY362" fmla="*/ 868706 h 1538630"/>
              <a:gd name="csX363" fmla="*/ 1334165 w 1609516"/>
              <a:gd name="csY363" fmla="*/ 868706 h 1538630"/>
              <a:gd name="csX364" fmla="*/ 1334165 w 1609516"/>
              <a:gd name="csY364" fmla="*/ 870034 h 1538630"/>
              <a:gd name="csX365" fmla="*/ 1334237 w 1609516"/>
              <a:gd name="csY365" fmla="*/ 869093 h 1538630"/>
              <a:gd name="csX366" fmla="*/ 1335800 w 1609516"/>
              <a:gd name="csY366" fmla="*/ 869093 h 1538630"/>
              <a:gd name="csX367" fmla="*/ 1335995 w 1609516"/>
              <a:gd name="csY367" fmla="*/ 876491 h 1538630"/>
              <a:gd name="csX368" fmla="*/ 1336105 w 1609516"/>
              <a:gd name="csY368" fmla="*/ 880653 h 1538630"/>
              <a:gd name="csX369" fmla="*/ 1334294 w 1609516"/>
              <a:gd name="csY369" fmla="*/ 887271 h 1538630"/>
              <a:gd name="csX370" fmla="*/ 1331455 w 1609516"/>
              <a:gd name="csY370" fmla="*/ 896440 h 1538630"/>
              <a:gd name="csX371" fmla="*/ 1330887 w 1609516"/>
              <a:gd name="csY371" fmla="*/ 899969 h 1538630"/>
              <a:gd name="csX372" fmla="*/ 1330332 w 1609516"/>
              <a:gd name="csY372" fmla="*/ 903618 h 1538630"/>
              <a:gd name="csX373" fmla="*/ 1329209 w 1609516"/>
              <a:gd name="csY373" fmla="*/ 910797 h 1538630"/>
              <a:gd name="csX374" fmla="*/ 1328724 w 1609516"/>
              <a:gd name="csY374" fmla="*/ 913998 h 1538630"/>
              <a:gd name="csX375" fmla="*/ 1324865 w 1609516"/>
              <a:gd name="csY375" fmla="*/ 922643 h 1538630"/>
              <a:gd name="csX376" fmla="*/ 1322619 w 1609516"/>
              <a:gd name="csY376" fmla="*/ 937979 h 1538630"/>
              <a:gd name="csX377" fmla="*/ 1318744 w 1609516"/>
              <a:gd name="csY377" fmla="*/ 944961 h 1538630"/>
              <a:gd name="csX378" fmla="*/ 1318544 w 1609516"/>
              <a:gd name="csY378" fmla="*/ 946213 h 1538630"/>
              <a:gd name="csX379" fmla="*/ 1318251 w 1609516"/>
              <a:gd name="csY379" fmla="*/ 955285 h 1538630"/>
              <a:gd name="csX380" fmla="*/ 1318184 w 1609516"/>
              <a:gd name="csY380" fmla="*/ 960036 h 1538630"/>
              <a:gd name="csX381" fmla="*/ 1324024 w 1609516"/>
              <a:gd name="csY381" fmla="*/ 973660 h 1538630"/>
              <a:gd name="csX382" fmla="*/ 1329284 w 1609516"/>
              <a:gd name="csY382" fmla="*/ 983382 h 1538630"/>
              <a:gd name="csX383" fmla="*/ 1340414 w 1609516"/>
              <a:gd name="csY383" fmla="*/ 998354 h 1538630"/>
              <a:gd name="csX384" fmla="*/ 1346272 w 1609516"/>
              <a:gd name="csY384" fmla="*/ 1005048 h 1538630"/>
              <a:gd name="csX385" fmla="*/ 1394716 w 1609516"/>
              <a:gd name="csY385" fmla="*/ 1042740 h 1538630"/>
              <a:gd name="csX386" fmla="*/ 1401953 w 1609516"/>
              <a:gd name="csY386" fmla="*/ 1047374 h 1538630"/>
              <a:gd name="csX387" fmla="*/ 1427197 w 1609516"/>
              <a:gd name="csY387" fmla="*/ 1059061 h 1538630"/>
              <a:gd name="csX388" fmla="*/ 1437265 w 1609516"/>
              <a:gd name="csY388" fmla="*/ 1064588 h 1538630"/>
              <a:gd name="csX389" fmla="*/ 1437265 w 1609516"/>
              <a:gd name="csY389" fmla="*/ 1067406 h 1538630"/>
              <a:gd name="csX390" fmla="*/ 1440878 w 1609516"/>
              <a:gd name="csY390" fmla="*/ 1067847 h 1538630"/>
              <a:gd name="csX391" fmla="*/ 1447175 w 1609516"/>
              <a:gd name="csY391" fmla="*/ 1070753 h 1538630"/>
              <a:gd name="csX392" fmla="*/ 1457866 w 1609516"/>
              <a:gd name="csY392" fmla="*/ 1076830 h 1538630"/>
              <a:gd name="csX393" fmla="*/ 1462132 w 1609516"/>
              <a:gd name="csY393" fmla="*/ 1078696 h 1538630"/>
              <a:gd name="csX394" fmla="*/ 1465383 w 1609516"/>
              <a:gd name="csY394" fmla="*/ 1080089 h 1538630"/>
              <a:gd name="csX395" fmla="*/ 1465383 w 1609516"/>
              <a:gd name="csY395" fmla="*/ 1082908 h 1538630"/>
              <a:gd name="csX396" fmla="*/ 1468758 w 1609516"/>
              <a:gd name="csY396" fmla="*/ 1083975 h 1538630"/>
              <a:gd name="csX397" fmla="*/ 1481688 w 1609516"/>
              <a:gd name="csY397" fmla="*/ 1091187 h 1538630"/>
              <a:gd name="csX398" fmla="*/ 1486283 w 1609516"/>
              <a:gd name="csY398" fmla="*/ 1094236 h 1538630"/>
              <a:gd name="csX399" fmla="*/ 1494869 w 1609516"/>
              <a:gd name="csY399" fmla="*/ 1100171 h 1538630"/>
              <a:gd name="csX400" fmla="*/ 1544335 w 1609516"/>
              <a:gd name="csY400" fmla="*/ 1109518 h 1538630"/>
              <a:gd name="csX401" fmla="*/ 1593477 w 1609516"/>
              <a:gd name="csY401" fmla="*/ 1119900 h 1538630"/>
              <a:gd name="csX402" fmla="*/ 1605975 w 1609516"/>
              <a:gd name="csY402" fmla="*/ 1144913 h 1538630"/>
              <a:gd name="csX403" fmla="*/ 1609099 w 1609516"/>
              <a:gd name="csY403" fmla="*/ 1144913 h 1538630"/>
              <a:gd name="csX404" fmla="*/ 1609392 w 1609516"/>
              <a:gd name="csY404" fmla="*/ 1156892 h 1538630"/>
              <a:gd name="csX405" fmla="*/ 1609511 w 1609516"/>
              <a:gd name="csY405" fmla="*/ 1160272 h 1538630"/>
              <a:gd name="csX406" fmla="*/ 1604412 w 1609516"/>
              <a:gd name="csY406" fmla="*/ 1181553 h 1538630"/>
              <a:gd name="csX407" fmla="*/ 1601288 w 1609516"/>
              <a:gd name="csY407" fmla="*/ 1190009 h 1538630"/>
              <a:gd name="csX408" fmla="*/ 1598164 w 1609516"/>
              <a:gd name="csY408" fmla="*/ 1190009 h 1538630"/>
              <a:gd name="csX409" fmla="*/ 1597187 w 1609516"/>
              <a:gd name="csY409" fmla="*/ 1192739 h 1538630"/>
              <a:gd name="csX410" fmla="*/ 1595040 w 1609516"/>
              <a:gd name="csY410" fmla="*/ 1195645 h 1538630"/>
              <a:gd name="csX411" fmla="*/ 1585667 w 1609516"/>
              <a:gd name="csY411" fmla="*/ 1197055 h 1538630"/>
              <a:gd name="csX412" fmla="*/ 1582543 w 1609516"/>
              <a:gd name="csY412" fmla="*/ 1202691 h 1538630"/>
              <a:gd name="csX413" fmla="*/ 1562431 w 1609516"/>
              <a:gd name="csY413" fmla="*/ 1204365 h 1538630"/>
              <a:gd name="csX414" fmla="*/ 1558690 w 1609516"/>
              <a:gd name="csY414" fmla="*/ 1204417 h 1538630"/>
              <a:gd name="csX415" fmla="*/ 1521102 w 1609516"/>
              <a:gd name="csY415" fmla="*/ 1189585 h 1538630"/>
              <a:gd name="csX416" fmla="*/ 1505022 w 1609516"/>
              <a:gd name="csY416" fmla="*/ 1172041 h 1538630"/>
              <a:gd name="csX417" fmla="*/ 1457573 w 1609516"/>
              <a:gd name="csY417" fmla="*/ 1140686 h 1538630"/>
              <a:gd name="csX418" fmla="*/ 1457573 w 1609516"/>
              <a:gd name="csY418" fmla="*/ 1137867 h 1538630"/>
              <a:gd name="csX419" fmla="*/ 1452985 w 1609516"/>
              <a:gd name="csY419" fmla="*/ 1137339 h 1538630"/>
              <a:gd name="csX420" fmla="*/ 1448200 w 1609516"/>
              <a:gd name="csY420" fmla="*/ 1136458 h 1538630"/>
              <a:gd name="csX421" fmla="*/ 1446638 w 1609516"/>
              <a:gd name="csY421" fmla="*/ 1133640 h 1538630"/>
              <a:gd name="csX422" fmla="*/ 1438937 w 1609516"/>
              <a:gd name="csY422" fmla="*/ 1130601 h 1538630"/>
              <a:gd name="csX423" fmla="*/ 1429260 w 1609516"/>
              <a:gd name="csY423" fmla="*/ 1126770 h 1538630"/>
              <a:gd name="csX424" fmla="*/ 1411393 w 1609516"/>
              <a:gd name="csY424" fmla="*/ 1120340 h 1538630"/>
              <a:gd name="csX425" fmla="*/ 1391427 w 1609516"/>
              <a:gd name="csY425" fmla="*/ 1111191 h 1538630"/>
              <a:gd name="csX426" fmla="*/ 1381029 w 1609516"/>
              <a:gd name="csY426" fmla="*/ 1106865 h 1538630"/>
              <a:gd name="csX427" fmla="*/ 1381029 w 1609516"/>
              <a:gd name="csY427" fmla="*/ 1104046 h 1538630"/>
              <a:gd name="csX428" fmla="*/ 1377221 w 1609516"/>
              <a:gd name="csY428" fmla="*/ 1103605 h 1538630"/>
              <a:gd name="csX429" fmla="*/ 1357597 w 1609516"/>
              <a:gd name="csY429" fmla="*/ 1098409 h 1538630"/>
              <a:gd name="csX430" fmla="*/ 1352032 w 1609516"/>
              <a:gd name="csY430" fmla="*/ 1096736 h 1538630"/>
              <a:gd name="csX431" fmla="*/ 1348225 w 1609516"/>
              <a:gd name="csY431" fmla="*/ 1095590 h 1538630"/>
              <a:gd name="csX432" fmla="*/ 1348225 w 1609516"/>
              <a:gd name="csY432" fmla="*/ 1092772 h 1538630"/>
              <a:gd name="csX433" fmla="*/ 1337290 w 1609516"/>
              <a:gd name="csY433" fmla="*/ 1091363 h 1538630"/>
              <a:gd name="csX434" fmla="*/ 1337290 w 1609516"/>
              <a:gd name="csY434" fmla="*/ 1088544 h 1538630"/>
              <a:gd name="csX435" fmla="*/ 1331529 w 1609516"/>
              <a:gd name="csY435" fmla="*/ 1088104 h 1538630"/>
              <a:gd name="csX436" fmla="*/ 1323297 w 1609516"/>
              <a:gd name="csY436" fmla="*/ 1086611 h 1538630"/>
              <a:gd name="csX437" fmla="*/ 1323297 w 1609516"/>
              <a:gd name="csY437" fmla="*/ 1087618 h 1538630"/>
              <a:gd name="csX438" fmla="*/ 1319789 w 1609516"/>
              <a:gd name="csY438" fmla="*/ 1087310 h 1538630"/>
              <a:gd name="csX439" fmla="*/ 1262375 w 1609516"/>
              <a:gd name="csY439" fmla="*/ 1089028 h 1538630"/>
              <a:gd name="csX440" fmla="*/ 1258728 w 1609516"/>
              <a:gd name="csY440" fmla="*/ 1088205 h 1538630"/>
              <a:gd name="csX441" fmla="*/ 1246964 w 1609516"/>
              <a:gd name="csY441" fmla="*/ 1091489 h 1538630"/>
              <a:gd name="csX442" fmla="*/ 1223224 w 1609516"/>
              <a:gd name="csY442" fmla="*/ 1112865 h 1538630"/>
              <a:gd name="csX443" fmla="*/ 1213883 w 1609516"/>
              <a:gd name="csY443" fmla="*/ 1122366 h 1538630"/>
              <a:gd name="csX444" fmla="*/ 1212505 w 1609516"/>
              <a:gd name="csY444" fmla="*/ 1125708 h 1538630"/>
              <a:gd name="csX445" fmla="*/ 1204180 w 1609516"/>
              <a:gd name="csY445" fmla="*/ 1135561 h 1538630"/>
              <a:gd name="csX446" fmla="*/ 1200238 w 1609516"/>
              <a:gd name="csY446" fmla="*/ 1138999 h 1538630"/>
              <a:gd name="csX447" fmla="*/ 1192025 w 1609516"/>
              <a:gd name="csY447" fmla="*/ 1146022 h 1538630"/>
              <a:gd name="csX448" fmla="*/ 1173945 w 1609516"/>
              <a:gd name="csY448" fmla="*/ 1174749 h 1538630"/>
              <a:gd name="csX449" fmla="*/ 1173950 w 1609516"/>
              <a:gd name="csY449" fmla="*/ 1182610 h 1538630"/>
              <a:gd name="csX450" fmla="*/ 1173989 w 1609516"/>
              <a:gd name="csY450" fmla="*/ 1186765 h 1538630"/>
              <a:gd name="csX451" fmla="*/ 1182640 w 1609516"/>
              <a:gd name="csY451" fmla="*/ 1215374 h 1538630"/>
              <a:gd name="csX452" fmla="*/ 1185764 w 1609516"/>
              <a:gd name="csY452" fmla="*/ 1221804 h 1538630"/>
              <a:gd name="csX453" fmla="*/ 1187301 w 1609516"/>
              <a:gd name="csY453" fmla="*/ 1224859 h 1538630"/>
              <a:gd name="csX454" fmla="*/ 1190573 w 1609516"/>
              <a:gd name="csY454" fmla="*/ 1231740 h 1538630"/>
              <a:gd name="csX455" fmla="*/ 1205925 w 1609516"/>
              <a:gd name="csY455" fmla="*/ 1255163 h 1538630"/>
              <a:gd name="csX456" fmla="*/ 1212174 w 1609516"/>
              <a:gd name="csY456" fmla="*/ 1263134 h 1538630"/>
              <a:gd name="csX457" fmla="*/ 1235556 w 1609516"/>
              <a:gd name="csY457" fmla="*/ 1282538 h 1538630"/>
              <a:gd name="csX458" fmla="*/ 1238876 w 1609516"/>
              <a:gd name="csY458" fmla="*/ 1284426 h 1538630"/>
              <a:gd name="csX459" fmla="*/ 1238876 w 1609516"/>
              <a:gd name="csY459" fmla="*/ 1287245 h 1538630"/>
              <a:gd name="csX460" fmla="*/ 1242245 w 1609516"/>
              <a:gd name="csY460" fmla="*/ 1287663 h 1538630"/>
              <a:gd name="csX461" fmla="*/ 1271681 w 1609516"/>
              <a:gd name="csY461" fmla="*/ 1305565 h 1538630"/>
              <a:gd name="csX462" fmla="*/ 1271742 w 1609516"/>
              <a:gd name="csY462" fmla="*/ 1306172 h 1538630"/>
              <a:gd name="csX463" fmla="*/ 1278525 w 1609516"/>
              <a:gd name="csY463" fmla="*/ 1315767 h 1538630"/>
              <a:gd name="csX464" fmla="*/ 1281097 w 1609516"/>
              <a:gd name="csY464" fmla="*/ 1327286 h 1538630"/>
              <a:gd name="csX465" fmla="*/ 1277973 w 1609516"/>
              <a:gd name="csY465" fmla="*/ 1355470 h 1538630"/>
              <a:gd name="csX466" fmla="*/ 1277460 w 1609516"/>
              <a:gd name="csY466" fmla="*/ 1347025 h 1538630"/>
              <a:gd name="csX467" fmla="*/ 1273531 w 1609516"/>
              <a:gd name="csY467" fmla="*/ 1357991 h 1538630"/>
              <a:gd name="csX468" fmla="*/ 1263870 w 1609516"/>
              <a:gd name="csY468" fmla="*/ 1368980 h 1538630"/>
              <a:gd name="csX469" fmla="*/ 1246686 w 1609516"/>
              <a:gd name="csY469" fmla="*/ 1376026 h 1538630"/>
              <a:gd name="csX470" fmla="*/ 1246686 w 1609516"/>
              <a:gd name="csY470" fmla="*/ 1378844 h 1538630"/>
              <a:gd name="csX471" fmla="*/ 1231651 w 1609516"/>
              <a:gd name="csY471" fmla="*/ 1379196 h 1538630"/>
              <a:gd name="csX472" fmla="*/ 1227373 w 1609516"/>
              <a:gd name="csY472" fmla="*/ 1379340 h 1538630"/>
              <a:gd name="csX473" fmla="*/ 1206071 w 1609516"/>
              <a:gd name="csY473" fmla="*/ 1373207 h 1538630"/>
              <a:gd name="csX474" fmla="*/ 1202069 w 1609516"/>
              <a:gd name="csY474" fmla="*/ 1371798 h 1538630"/>
              <a:gd name="csX475" fmla="*/ 1184104 w 1609516"/>
              <a:gd name="csY475" fmla="*/ 1356176 h 1538630"/>
              <a:gd name="csX476" fmla="*/ 1177270 w 1609516"/>
              <a:gd name="csY476" fmla="*/ 1335247 h 1538630"/>
              <a:gd name="csX477" fmla="*/ 1169002 w 1609516"/>
              <a:gd name="csY477" fmla="*/ 1313464 h 1538630"/>
              <a:gd name="csX478" fmla="*/ 1163504 w 1609516"/>
              <a:gd name="csY478" fmla="*/ 1302130 h 1538630"/>
              <a:gd name="csX479" fmla="*/ 1162015 w 1609516"/>
              <a:gd name="csY479" fmla="*/ 1298788 h 1538630"/>
              <a:gd name="csX480" fmla="*/ 1160111 w 1609516"/>
              <a:gd name="csY480" fmla="*/ 1292656 h 1538630"/>
              <a:gd name="csX481" fmla="*/ 1154522 w 1609516"/>
              <a:gd name="csY481" fmla="*/ 1287245 h 1538630"/>
              <a:gd name="csX482" fmla="*/ 1151398 w 1609516"/>
              <a:gd name="csY482" fmla="*/ 1280199 h 1538630"/>
              <a:gd name="csX483" fmla="*/ 1144173 w 1609516"/>
              <a:gd name="csY483" fmla="*/ 1270774 h 1538630"/>
              <a:gd name="csX484" fmla="*/ 1142065 w 1609516"/>
              <a:gd name="csY484" fmla="*/ 1268160 h 1538630"/>
              <a:gd name="csX485" fmla="*/ 1135776 w 1609516"/>
              <a:gd name="csY485" fmla="*/ 1260470 h 1538630"/>
              <a:gd name="csX486" fmla="*/ 1132353 w 1609516"/>
              <a:gd name="csY486" fmla="*/ 1256247 h 1538630"/>
              <a:gd name="csX487" fmla="*/ 1112344 w 1609516"/>
              <a:gd name="csY487" fmla="*/ 1240741 h 1538630"/>
              <a:gd name="csX488" fmla="*/ 1106193 w 1609516"/>
              <a:gd name="csY488" fmla="*/ 1237570 h 1538630"/>
              <a:gd name="csX489" fmla="*/ 1101409 w 1609516"/>
              <a:gd name="csY489" fmla="*/ 1235104 h 1538630"/>
              <a:gd name="csX490" fmla="*/ 1101409 w 1609516"/>
              <a:gd name="csY490" fmla="*/ 1230876 h 1538630"/>
              <a:gd name="csX491" fmla="*/ 1065480 w 1609516"/>
              <a:gd name="csY491" fmla="*/ 1230876 h 1538630"/>
              <a:gd name="csX492" fmla="*/ 1063919 w 1609516"/>
              <a:gd name="csY492" fmla="*/ 1235104 h 1538630"/>
              <a:gd name="csX493" fmla="*/ 1059232 w 1609516"/>
              <a:gd name="csY493" fmla="*/ 1235104 h 1538630"/>
              <a:gd name="csX494" fmla="*/ 1059232 w 1609516"/>
              <a:gd name="csY494" fmla="*/ 1237922 h 1538630"/>
              <a:gd name="csX495" fmla="*/ 1040194 w 1609516"/>
              <a:gd name="csY495" fmla="*/ 1245761 h 1538630"/>
              <a:gd name="csX496" fmla="*/ 1030333 w 1609516"/>
              <a:gd name="csY496" fmla="*/ 1249901 h 1538630"/>
              <a:gd name="csX497" fmla="*/ 1013931 w 1609516"/>
              <a:gd name="csY497" fmla="*/ 1256242 h 1538630"/>
              <a:gd name="csX498" fmla="*/ 1005925 w 1609516"/>
              <a:gd name="csY498" fmla="*/ 1261615 h 1538630"/>
              <a:gd name="csX499" fmla="*/ 1004558 w 1609516"/>
              <a:gd name="csY499" fmla="*/ 1264697 h 1538630"/>
              <a:gd name="csX500" fmla="*/ 1002959 w 1609516"/>
              <a:gd name="csY500" fmla="*/ 1267961 h 1538630"/>
              <a:gd name="csX501" fmla="*/ 1000653 w 1609516"/>
              <a:gd name="csY501" fmla="*/ 1278965 h 1538630"/>
              <a:gd name="csX502" fmla="*/ 998297 w 1609516"/>
              <a:gd name="csY502" fmla="*/ 1294137 h 1538630"/>
              <a:gd name="csX503" fmla="*/ 996162 w 1609516"/>
              <a:gd name="csY503" fmla="*/ 1324765 h 1538630"/>
              <a:gd name="csX504" fmla="*/ 996164 w 1609516"/>
              <a:gd name="csY504" fmla="*/ 1327846 h 1538630"/>
              <a:gd name="csX505" fmla="*/ 1007780 w 1609516"/>
              <a:gd name="csY505" fmla="*/ 1403329 h 1538630"/>
              <a:gd name="csX506" fmla="*/ 1008940 w 1609516"/>
              <a:gd name="csY506" fmla="*/ 1407701 h 1538630"/>
              <a:gd name="csX507" fmla="*/ 1010080 w 1609516"/>
              <a:gd name="csY507" fmla="*/ 1411730 h 1538630"/>
              <a:gd name="csX508" fmla="*/ 1011075 w 1609516"/>
              <a:gd name="csY508" fmla="*/ 1415277 h 1538630"/>
              <a:gd name="csX509" fmla="*/ 1017055 w 1609516"/>
              <a:gd name="csY509" fmla="*/ 1422530 h 1538630"/>
              <a:gd name="csX510" fmla="*/ 1020277 w 1609516"/>
              <a:gd name="csY510" fmla="*/ 1427991 h 1538630"/>
              <a:gd name="csX511" fmla="*/ 1021796 w 1609516"/>
              <a:gd name="csY511" fmla="*/ 1430798 h 1538630"/>
              <a:gd name="csX512" fmla="*/ 1024579 w 1609516"/>
              <a:gd name="csY512" fmla="*/ 1437239 h 1538630"/>
              <a:gd name="csX513" fmla="*/ 1034043 w 1609516"/>
              <a:gd name="csY513" fmla="*/ 1448072 h 1538630"/>
              <a:gd name="csX514" fmla="*/ 1043782 w 1609516"/>
              <a:gd name="csY514" fmla="*/ 1464320 h 1538630"/>
              <a:gd name="csX515" fmla="*/ 1050458 w 1609516"/>
              <a:gd name="csY515" fmla="*/ 1472189 h 1538630"/>
              <a:gd name="csX516" fmla="*/ 1052926 w 1609516"/>
              <a:gd name="csY516" fmla="*/ 1482370 h 1538630"/>
              <a:gd name="csX517" fmla="*/ 1053316 w 1609516"/>
              <a:gd name="csY517" fmla="*/ 1496903 h 1538630"/>
              <a:gd name="csX518" fmla="*/ 1053352 w 1609516"/>
              <a:gd name="csY518" fmla="*/ 1500660 h 1538630"/>
              <a:gd name="csX519" fmla="*/ 1053341 w 1609516"/>
              <a:gd name="csY519" fmla="*/ 1504285 h 1538630"/>
              <a:gd name="csX520" fmla="*/ 1053329 w 1609516"/>
              <a:gd name="csY520" fmla="*/ 1507529 h 1538630"/>
              <a:gd name="csX521" fmla="*/ 1049801 w 1609516"/>
              <a:gd name="csY521" fmla="*/ 1516192 h 1538630"/>
              <a:gd name="csX522" fmla="*/ 1047312 w 1609516"/>
              <a:gd name="csY522" fmla="*/ 1516192 h 1538630"/>
              <a:gd name="csX523" fmla="*/ 1043611 w 1609516"/>
              <a:gd name="csY523" fmla="*/ 1522585 h 1538630"/>
              <a:gd name="csX524" fmla="*/ 1029552 w 1609516"/>
              <a:gd name="csY524" fmla="*/ 1529631 h 1538630"/>
              <a:gd name="csX525" fmla="*/ 1028771 w 1609516"/>
              <a:gd name="csY525" fmla="*/ 1532273 h 1538630"/>
              <a:gd name="csX526" fmla="*/ 1018013 w 1609516"/>
              <a:gd name="csY526" fmla="*/ 1537640 h 1538630"/>
              <a:gd name="csX527" fmla="*/ 981126 w 1609516"/>
              <a:gd name="csY527" fmla="*/ 1533859 h 1538630"/>
              <a:gd name="csX528" fmla="*/ 977227 w 1609516"/>
              <a:gd name="csY528" fmla="*/ 1531943 h 1538630"/>
              <a:gd name="csX529" fmla="*/ 955376 w 1609516"/>
              <a:gd name="csY529" fmla="*/ 1508751 h 1538630"/>
              <a:gd name="csX530" fmla="*/ 954571 w 1609516"/>
              <a:gd name="csY530" fmla="*/ 1500037 h 1538630"/>
              <a:gd name="csX531" fmla="*/ 951446 w 1609516"/>
              <a:gd name="csY531" fmla="*/ 1500037 h 1538630"/>
              <a:gd name="csX532" fmla="*/ 951251 w 1609516"/>
              <a:gd name="csY532" fmla="*/ 1487883 h 1538630"/>
              <a:gd name="csX533" fmla="*/ 951171 w 1609516"/>
              <a:gd name="csY533" fmla="*/ 1484431 h 1538630"/>
              <a:gd name="csX534" fmla="*/ 954571 w 1609516"/>
              <a:gd name="csY534" fmla="*/ 1466216 h 1538630"/>
              <a:gd name="csX535" fmla="*/ 954961 w 1609516"/>
              <a:gd name="csY535" fmla="*/ 1455118 h 1538630"/>
              <a:gd name="csX536" fmla="*/ 954932 w 1609516"/>
              <a:gd name="csY536" fmla="*/ 1451972 h 1538630"/>
              <a:gd name="csX537" fmla="*/ 945099 w 1609516"/>
              <a:gd name="csY537" fmla="*/ 1403594 h 1538630"/>
              <a:gd name="csX538" fmla="*/ 942366 w 1609516"/>
              <a:gd name="csY538" fmla="*/ 1393553 h 1538630"/>
              <a:gd name="csX539" fmla="*/ 934451 w 1609516"/>
              <a:gd name="csY539" fmla="*/ 1372734 h 1538630"/>
              <a:gd name="csX540" fmla="*/ 931974 w 1609516"/>
              <a:gd name="csY540" fmla="*/ 1365754 h 1538630"/>
              <a:gd name="csX541" fmla="*/ 931138 w 1609516"/>
              <a:gd name="csY541" fmla="*/ 1363343 h 1538630"/>
              <a:gd name="csX542" fmla="*/ 926452 w 1609516"/>
              <a:gd name="csY542" fmla="*/ 1361933 h 1538630"/>
              <a:gd name="csX543" fmla="*/ 918641 w 1609516"/>
              <a:gd name="csY543" fmla="*/ 1340795 h 1538630"/>
              <a:gd name="csX544" fmla="*/ 917079 w 1609516"/>
              <a:gd name="csY544" fmla="*/ 1335158 h 1538630"/>
              <a:gd name="csX545" fmla="*/ 913955 w 1609516"/>
              <a:gd name="csY545" fmla="*/ 1335158 h 1538630"/>
              <a:gd name="csX546" fmla="*/ 912057 w 1609516"/>
              <a:gd name="csY546" fmla="*/ 1330793 h 1538630"/>
              <a:gd name="csX547" fmla="*/ 902142 w 1609516"/>
              <a:gd name="csY547" fmla="*/ 1316222 h 1538630"/>
              <a:gd name="csX548" fmla="*/ 900091 w 1609516"/>
              <a:gd name="csY548" fmla="*/ 1313828 h 1538630"/>
              <a:gd name="csX549" fmla="*/ 878026 w 1609516"/>
              <a:gd name="csY549" fmla="*/ 1295700 h 1538630"/>
              <a:gd name="csX550" fmla="*/ 875134 w 1609516"/>
              <a:gd name="csY550" fmla="*/ 1293465 h 1538630"/>
              <a:gd name="csX551" fmla="*/ 869869 w 1609516"/>
              <a:gd name="csY551" fmla="*/ 1291826 h 1538630"/>
              <a:gd name="csX552" fmla="*/ 862384 w 1609516"/>
              <a:gd name="csY552" fmla="*/ 1291327 h 1538630"/>
              <a:gd name="csX553" fmla="*/ 844390 w 1609516"/>
              <a:gd name="csY553" fmla="*/ 1290461 h 1538630"/>
              <a:gd name="csX554" fmla="*/ 840476 w 1609516"/>
              <a:gd name="csY554" fmla="*/ 1290500 h 1538630"/>
              <a:gd name="csX555" fmla="*/ 831015 w 1609516"/>
              <a:gd name="csY555" fmla="*/ 1290637 h 1538630"/>
              <a:gd name="csX556" fmla="*/ 831015 w 1609516"/>
              <a:gd name="csY556" fmla="*/ 1293456 h 1538630"/>
              <a:gd name="csX557" fmla="*/ 818225 w 1609516"/>
              <a:gd name="csY557" fmla="*/ 1295570 h 1538630"/>
              <a:gd name="csX558" fmla="*/ 796774 w 1609516"/>
              <a:gd name="csY558" fmla="*/ 1297671 h 1538630"/>
              <a:gd name="csX559" fmla="*/ 783646 w 1609516"/>
              <a:gd name="csY559" fmla="*/ 1305736 h 1538630"/>
              <a:gd name="csX560" fmla="*/ 769263 w 1609516"/>
              <a:gd name="csY560" fmla="*/ 1327143 h 1538630"/>
              <a:gd name="csX561" fmla="*/ 764797 w 1609516"/>
              <a:gd name="csY561" fmla="*/ 1334360 h 1538630"/>
              <a:gd name="csX562" fmla="*/ 757875 w 1609516"/>
              <a:gd name="csY562" fmla="*/ 1353503 h 1538630"/>
              <a:gd name="csX563" fmla="*/ 755676 w 1609516"/>
              <a:gd name="csY563" fmla="*/ 1367455 h 1538630"/>
              <a:gd name="csX564" fmla="*/ 750558 w 1609516"/>
              <a:gd name="csY564" fmla="*/ 1399690 h 1538630"/>
              <a:gd name="csX565" fmla="*/ 753057 w 1609516"/>
              <a:gd name="csY565" fmla="*/ 1411256 h 1538630"/>
              <a:gd name="csX566" fmla="*/ 753057 w 1609516"/>
              <a:gd name="csY566" fmla="*/ 1416893 h 1538630"/>
              <a:gd name="csX567" fmla="*/ 756181 w 1609516"/>
              <a:gd name="csY567" fmla="*/ 1416893 h 1538630"/>
              <a:gd name="csX568" fmla="*/ 758133 w 1609516"/>
              <a:gd name="csY568" fmla="*/ 1436182 h 1538630"/>
              <a:gd name="csX569" fmla="*/ 758231 w 1609516"/>
              <a:gd name="csY569" fmla="*/ 1440781 h 1538630"/>
              <a:gd name="csX570" fmla="*/ 750713 w 1609516"/>
              <a:gd name="csY570" fmla="*/ 1465704 h 1538630"/>
              <a:gd name="csX571" fmla="*/ 748370 w 1609516"/>
              <a:gd name="csY571" fmla="*/ 1467185 h 1538630"/>
              <a:gd name="csX572" fmla="*/ 741633 w 1609516"/>
              <a:gd name="csY572" fmla="*/ 1473526 h 1538630"/>
              <a:gd name="csX573" fmla="*/ 728154 w 1609516"/>
              <a:gd name="csY573" fmla="*/ 1478343 h 1538630"/>
              <a:gd name="csX574" fmla="*/ 721814 w 1609516"/>
              <a:gd name="csY574" fmla="*/ 1480308 h 1538630"/>
              <a:gd name="csX575" fmla="*/ 708341 w 1609516"/>
              <a:gd name="csY575" fmla="*/ 1480661 h 1538630"/>
              <a:gd name="csX576" fmla="*/ 704637 w 1609516"/>
              <a:gd name="csY576" fmla="*/ 1480748 h 1538630"/>
              <a:gd name="csX577" fmla="*/ 668507 w 1609516"/>
              <a:gd name="csY577" fmla="*/ 1468418 h 1538630"/>
              <a:gd name="csX578" fmla="*/ 660178 w 1609516"/>
              <a:gd name="csY578" fmla="*/ 1450027 h 1538630"/>
              <a:gd name="csX579" fmla="*/ 657767 w 1609516"/>
              <a:gd name="csY579" fmla="*/ 1445078 h 1538630"/>
              <a:gd name="csX580" fmla="*/ 663369 w 1609516"/>
              <a:gd name="csY580" fmla="*/ 1409390 h 1538630"/>
              <a:gd name="csX581" fmla="*/ 671826 w 1609516"/>
              <a:gd name="csY581" fmla="*/ 1401392 h 1538630"/>
              <a:gd name="csX582" fmla="*/ 678075 w 1609516"/>
              <a:gd name="csY582" fmla="*/ 1390118 h 1538630"/>
              <a:gd name="csX583" fmla="*/ 684323 w 1609516"/>
              <a:gd name="csY583" fmla="*/ 1388709 h 1538630"/>
              <a:gd name="csX584" fmla="*/ 685293 w 1609516"/>
              <a:gd name="csY584" fmla="*/ 1384233 h 1538630"/>
              <a:gd name="csX585" fmla="*/ 686569 w 1609516"/>
              <a:gd name="csY585" fmla="*/ 1378404 h 1538630"/>
              <a:gd name="csX586" fmla="*/ 687207 w 1609516"/>
              <a:gd name="csY586" fmla="*/ 1375456 h 1538630"/>
              <a:gd name="csX587" fmla="*/ 690572 w 1609516"/>
              <a:gd name="csY587" fmla="*/ 1363343 h 1538630"/>
              <a:gd name="csX588" fmla="*/ 692495 w 1609516"/>
              <a:gd name="csY588" fmla="*/ 1323376 h 1538630"/>
              <a:gd name="csX589" fmla="*/ 692625 w 1609516"/>
              <a:gd name="csY589" fmla="*/ 1315006 h 1538630"/>
              <a:gd name="csX590" fmla="*/ 687447 w 1609516"/>
              <a:gd name="csY590" fmla="*/ 1287245 h 1538630"/>
              <a:gd name="csX591" fmla="*/ 682761 w 1609516"/>
              <a:gd name="csY591" fmla="*/ 1285835 h 1538630"/>
              <a:gd name="csX592" fmla="*/ 678954 w 1609516"/>
              <a:gd name="csY592" fmla="*/ 1281608 h 1538630"/>
              <a:gd name="csX593" fmla="*/ 668702 w 1609516"/>
              <a:gd name="csY593" fmla="*/ 1275971 h 1538630"/>
              <a:gd name="csX594" fmla="*/ 662454 w 1609516"/>
              <a:gd name="csY594" fmla="*/ 1270334 h 1538630"/>
              <a:gd name="csX595" fmla="*/ 654643 w 1609516"/>
              <a:gd name="csY595" fmla="*/ 1267516 h 1538630"/>
              <a:gd name="csX596" fmla="*/ 654643 w 1609516"/>
              <a:gd name="csY596" fmla="*/ 1264697 h 1538630"/>
              <a:gd name="csX597" fmla="*/ 650152 w 1609516"/>
              <a:gd name="csY597" fmla="*/ 1264345 h 1538630"/>
              <a:gd name="csX598" fmla="*/ 628087 w 1609516"/>
              <a:gd name="csY598" fmla="*/ 1257651 h 1538630"/>
              <a:gd name="csX599" fmla="*/ 628087 w 1609516"/>
              <a:gd name="csY599" fmla="*/ 1254833 h 1538630"/>
              <a:gd name="csX600" fmla="*/ 625121 w 1609516"/>
              <a:gd name="csY600" fmla="*/ 1254315 h 1538630"/>
              <a:gd name="csX601" fmla="*/ 621252 w 1609516"/>
              <a:gd name="csY601" fmla="*/ 1253600 h 1538630"/>
              <a:gd name="csX602" fmla="*/ 617409 w 1609516"/>
              <a:gd name="csY602" fmla="*/ 1252906 h 1538630"/>
              <a:gd name="csX603" fmla="*/ 610904 w 1609516"/>
              <a:gd name="csY603" fmla="*/ 1249196 h 1538630"/>
              <a:gd name="csX604" fmla="*/ 565739 w 1609516"/>
              <a:gd name="csY604" fmla="*/ 1271742 h 1538630"/>
              <a:gd name="csX605" fmla="*/ 546924 w 1609516"/>
              <a:gd name="csY605" fmla="*/ 1290829 h 1538630"/>
              <a:gd name="csX606" fmla="*/ 543635 w 1609516"/>
              <a:gd name="csY606" fmla="*/ 1294643 h 1538630"/>
              <a:gd name="csX607" fmla="*/ 540651 w 1609516"/>
              <a:gd name="csY607" fmla="*/ 1298188 h 1538630"/>
              <a:gd name="csX608" fmla="*/ 529673 w 1609516"/>
              <a:gd name="csY608" fmla="*/ 1305565 h 1538630"/>
              <a:gd name="csX609" fmla="*/ 526549 w 1609516"/>
              <a:gd name="csY609" fmla="*/ 1311202 h 1538630"/>
              <a:gd name="csX610" fmla="*/ 523425 w 1609516"/>
              <a:gd name="csY610" fmla="*/ 1311202 h 1538630"/>
              <a:gd name="csX611" fmla="*/ 523230 w 1609516"/>
              <a:gd name="csY611" fmla="*/ 1313580 h 1538630"/>
              <a:gd name="csX612" fmla="*/ 517732 w 1609516"/>
              <a:gd name="csY612" fmla="*/ 1319739 h 1538630"/>
              <a:gd name="csX613" fmla="*/ 502239 w 1609516"/>
              <a:gd name="csY613" fmla="*/ 1337096 h 1538630"/>
              <a:gd name="csX614" fmla="*/ 497058 w 1609516"/>
              <a:gd name="csY614" fmla="*/ 1344087 h 1538630"/>
              <a:gd name="csX615" fmla="*/ 494572 w 1609516"/>
              <a:gd name="csY615" fmla="*/ 1347465 h 1538630"/>
              <a:gd name="csX616" fmla="*/ 487776 w 1609516"/>
              <a:gd name="csY616" fmla="*/ 1356181 h 1538630"/>
              <a:gd name="csX617" fmla="*/ 481248 w 1609516"/>
              <a:gd name="csY617" fmla="*/ 1367571 h 1538630"/>
              <a:gd name="csX618" fmla="*/ 478123 w 1609516"/>
              <a:gd name="csY618" fmla="*/ 1367571 h 1538630"/>
              <a:gd name="csX619" fmla="*/ 477635 w 1609516"/>
              <a:gd name="csY619" fmla="*/ 1370565 h 1538630"/>
              <a:gd name="csX620" fmla="*/ 465626 w 1609516"/>
              <a:gd name="csY620" fmla="*/ 1388709 h 1538630"/>
              <a:gd name="csX621" fmla="*/ 461233 w 1609516"/>
              <a:gd name="csY621" fmla="*/ 1397340 h 1538630"/>
              <a:gd name="csX622" fmla="*/ 455765 w 1609516"/>
              <a:gd name="csY622" fmla="*/ 1408086 h 1538630"/>
              <a:gd name="csX623" fmla="*/ 439070 w 1609516"/>
              <a:gd name="csY623" fmla="*/ 1477490 h 1538630"/>
              <a:gd name="csX624" fmla="*/ 434384 w 1609516"/>
              <a:gd name="csY624" fmla="*/ 1478899 h 1538630"/>
              <a:gd name="csX625" fmla="*/ 432431 w 1609516"/>
              <a:gd name="csY625" fmla="*/ 1481982 h 1538630"/>
              <a:gd name="csX626" fmla="*/ 418763 w 1609516"/>
              <a:gd name="csY626" fmla="*/ 1494401 h 1538630"/>
              <a:gd name="csX627" fmla="*/ 415639 w 1609516"/>
              <a:gd name="csY627" fmla="*/ 1494401 h 1538630"/>
              <a:gd name="csX628" fmla="*/ 415639 w 1609516"/>
              <a:gd name="csY628" fmla="*/ 1497219 h 1538630"/>
              <a:gd name="csX629" fmla="*/ 406265 w 1609516"/>
              <a:gd name="csY629" fmla="*/ 1498628 h 1538630"/>
              <a:gd name="csX630" fmla="*/ 406265 w 1609516"/>
              <a:gd name="csY630" fmla="*/ 1501447 h 1538630"/>
              <a:gd name="csX631" fmla="*/ 375023 w 1609516"/>
              <a:gd name="csY631" fmla="*/ 1501447 h 1538630"/>
              <a:gd name="csX632" fmla="*/ 375023 w 1609516"/>
              <a:gd name="csY632" fmla="*/ 1499438 h 1538630"/>
              <a:gd name="csX633" fmla="*/ 374964 w 1609516"/>
              <a:gd name="csY633" fmla="*/ 1499436 h 1538630"/>
              <a:gd name="csX634" fmla="*/ 373179 w 1609516"/>
              <a:gd name="csY634" fmla="*/ 1498628 h 1538630"/>
              <a:gd name="csX635" fmla="*/ 365650 w 1609516"/>
              <a:gd name="csY635" fmla="*/ 1498628 h 1538630"/>
              <a:gd name="csX636" fmla="*/ 363134 w 1609516"/>
              <a:gd name="csY636" fmla="*/ 1494087 h 1538630"/>
              <a:gd name="csX637" fmla="*/ 362171 w 1609516"/>
              <a:gd name="csY637" fmla="*/ 1493651 h 1538630"/>
              <a:gd name="csX638" fmla="*/ 360609 w 1609516"/>
              <a:gd name="csY638" fmla="*/ 1490833 h 1538630"/>
              <a:gd name="csX639" fmla="*/ 363733 w 1609516"/>
              <a:gd name="csY639" fmla="*/ 1490833 h 1538630"/>
              <a:gd name="csX640" fmla="*/ 363733 w 1609516"/>
              <a:gd name="csY640" fmla="*/ 1489980 h 1538630"/>
              <a:gd name="csX641" fmla="*/ 348467 w 1609516"/>
              <a:gd name="csY641" fmla="*/ 1481717 h 1538630"/>
              <a:gd name="csX642" fmla="*/ 343872 w 1609516"/>
              <a:gd name="csY642" fmla="*/ 1461078 h 1538630"/>
              <a:gd name="csX643" fmla="*/ 343656 w 1609516"/>
              <a:gd name="csY643" fmla="*/ 1463649 h 1538630"/>
              <a:gd name="csX644" fmla="*/ 343424 w 1609516"/>
              <a:gd name="csY644" fmla="*/ 1466842 h 1538630"/>
              <a:gd name="csX645" fmla="*/ 341861 w 1609516"/>
              <a:gd name="csY645" fmla="*/ 1466842 h 1538630"/>
              <a:gd name="csX646" fmla="*/ 354143 w 1609516"/>
              <a:gd name="csY646" fmla="*/ 1420549 h 1538630"/>
              <a:gd name="csX647" fmla="*/ 376229 w 1609516"/>
              <a:gd name="csY647" fmla="*/ 1403427 h 1538630"/>
              <a:gd name="csX648" fmla="*/ 379491 w 1609516"/>
              <a:gd name="csY648" fmla="*/ 1404408 h 1538630"/>
              <a:gd name="csX649" fmla="*/ 379710 w 1609516"/>
              <a:gd name="csY649" fmla="*/ 1404210 h 1538630"/>
              <a:gd name="csX650" fmla="*/ 380882 w 1609516"/>
              <a:gd name="csY650" fmla="*/ 1401568 h 1538630"/>
              <a:gd name="csX651" fmla="*/ 392207 w 1609516"/>
              <a:gd name="csY651" fmla="*/ 1392936 h 1538630"/>
              <a:gd name="csX652" fmla="*/ 399542 w 1609516"/>
              <a:gd name="csY652" fmla="*/ 1386774 h 1538630"/>
              <a:gd name="csX653" fmla="*/ 405485 w 1609516"/>
              <a:gd name="csY653" fmla="*/ 1378917 h 1538630"/>
              <a:gd name="csX654" fmla="*/ 412008 w 1609516"/>
              <a:gd name="csY654" fmla="*/ 1369481 h 1538630"/>
              <a:gd name="csX655" fmla="*/ 421130 w 1609516"/>
              <a:gd name="csY655" fmla="*/ 1357057 h 1538630"/>
              <a:gd name="csX656" fmla="*/ 424676 w 1609516"/>
              <a:gd name="csY656" fmla="*/ 1348443 h 1538630"/>
              <a:gd name="csX657" fmla="*/ 427275 w 1609516"/>
              <a:gd name="csY657" fmla="*/ 1348443 h 1538630"/>
              <a:gd name="csX658" fmla="*/ 428135 w 1609516"/>
              <a:gd name="csY658" fmla="*/ 1345727 h 1538630"/>
              <a:gd name="csX659" fmla="*/ 432822 w 1609516"/>
              <a:gd name="csY659" fmla="*/ 1335158 h 1538630"/>
              <a:gd name="csX660" fmla="*/ 435946 w 1609516"/>
              <a:gd name="csY660" fmla="*/ 1335158 h 1538630"/>
              <a:gd name="csX661" fmla="*/ 437704 w 1609516"/>
              <a:gd name="csY661" fmla="*/ 1329786 h 1538630"/>
              <a:gd name="csX662" fmla="*/ 447394 w 1609516"/>
              <a:gd name="csY662" fmla="*/ 1311196 h 1538630"/>
              <a:gd name="csX663" fmla="*/ 469287 w 1609516"/>
              <a:gd name="csY663" fmla="*/ 1265964 h 1538630"/>
              <a:gd name="csX664" fmla="*/ 478178 w 1609516"/>
              <a:gd name="csY664" fmla="*/ 1246787 h 1538630"/>
              <a:gd name="csX665" fmla="*/ 480179 w 1609516"/>
              <a:gd name="csY665" fmla="*/ 1225768 h 1538630"/>
              <a:gd name="csX666" fmla="*/ 480250 w 1609516"/>
              <a:gd name="csY666" fmla="*/ 1217149 h 1538630"/>
              <a:gd name="csX667" fmla="*/ 462972 w 1609516"/>
              <a:gd name="csY667" fmla="*/ 1174827 h 1538630"/>
              <a:gd name="csX668" fmla="*/ 457468 w 1609516"/>
              <a:gd name="csY668" fmla="*/ 1169949 h 1538630"/>
              <a:gd name="csX669" fmla="*/ 440657 w 1609516"/>
              <a:gd name="csY669" fmla="*/ 1152570 h 1538630"/>
              <a:gd name="csX670" fmla="*/ 403142 w 1609516"/>
              <a:gd name="csY670" fmla="*/ 1122366 h 1538630"/>
              <a:gd name="csX671" fmla="*/ 401579 w 1609516"/>
              <a:gd name="csY671" fmla="*/ 1119547 h 1538630"/>
              <a:gd name="csX672" fmla="*/ 364564 w 1609516"/>
              <a:gd name="csY672" fmla="*/ 1118209 h 1538630"/>
              <a:gd name="csX673" fmla="*/ 357822 w 1609516"/>
              <a:gd name="csY673" fmla="*/ 1122041 h 1538630"/>
              <a:gd name="csX674" fmla="*/ 348077 w 1609516"/>
              <a:gd name="csY674" fmla="*/ 1125273 h 1538630"/>
              <a:gd name="csX675" fmla="*/ 334408 w 1609516"/>
              <a:gd name="csY675" fmla="*/ 1132230 h 1538630"/>
              <a:gd name="csX676" fmla="*/ 327964 w 1609516"/>
              <a:gd name="csY676" fmla="*/ 1134080 h 1538630"/>
              <a:gd name="csX677" fmla="*/ 279734 w 1609516"/>
              <a:gd name="csY677" fmla="*/ 1166051 h 1538630"/>
              <a:gd name="csX678" fmla="*/ 276609 w 1609516"/>
              <a:gd name="csY678" fmla="*/ 1173098 h 1538630"/>
              <a:gd name="csX679" fmla="*/ 260988 w 1609516"/>
              <a:gd name="csY679" fmla="*/ 1188599 h 1538630"/>
              <a:gd name="csX680" fmla="*/ 257956 w 1609516"/>
              <a:gd name="csY680" fmla="*/ 1191132 h 1538630"/>
              <a:gd name="csX681" fmla="*/ 243805 w 1609516"/>
              <a:gd name="csY681" fmla="*/ 1196629 h 1538630"/>
              <a:gd name="csX682" fmla="*/ 243805 w 1609516"/>
              <a:gd name="csY682" fmla="*/ 1194236 h 1538630"/>
              <a:gd name="csX683" fmla="*/ 240288 w 1609516"/>
              <a:gd name="csY683" fmla="*/ 1194765 h 1538630"/>
              <a:gd name="csX684" fmla="*/ 243374 w 1609516"/>
              <a:gd name="csY684" fmla="*/ 1194765 h 1538630"/>
              <a:gd name="csX685" fmla="*/ 243374 w 1609516"/>
              <a:gd name="csY685" fmla="*/ 1196797 h 1538630"/>
              <a:gd name="csX686" fmla="*/ 243805 w 1609516"/>
              <a:gd name="csY686" fmla="*/ 1196629 h 1538630"/>
              <a:gd name="csX687" fmla="*/ 243805 w 1609516"/>
              <a:gd name="csY687" fmla="*/ 1197055 h 1538630"/>
              <a:gd name="csX688" fmla="*/ 243374 w 1609516"/>
              <a:gd name="csY688" fmla="*/ 1197055 h 1538630"/>
              <a:gd name="csX689" fmla="*/ 243374 w 1609516"/>
              <a:gd name="csY689" fmla="*/ 1197584 h 1538630"/>
              <a:gd name="csX690" fmla="*/ 241319 w 1609516"/>
              <a:gd name="csY690" fmla="*/ 1197595 h 1538630"/>
              <a:gd name="csX691" fmla="*/ 238009 w 1609516"/>
              <a:gd name="csY691" fmla="*/ 1198881 h 1538630"/>
              <a:gd name="csX692" fmla="*/ 215687 w 1609516"/>
              <a:gd name="csY692" fmla="*/ 1198464 h 1538630"/>
              <a:gd name="csX693" fmla="*/ 215687 w 1609516"/>
              <a:gd name="csY693" fmla="*/ 1197734 h 1538630"/>
              <a:gd name="csX694" fmla="*/ 213936 w 1609516"/>
              <a:gd name="csY694" fmla="*/ 1197744 h 1538630"/>
              <a:gd name="csX695" fmla="*/ 207446 w 1609516"/>
              <a:gd name="csY695" fmla="*/ 1196175 h 1538630"/>
              <a:gd name="csX696" fmla="*/ 207822 w 1609516"/>
              <a:gd name="csY696" fmla="*/ 1195610 h 1538630"/>
              <a:gd name="csX697" fmla="*/ 184737 w 1609516"/>
              <a:gd name="csY697" fmla="*/ 1180936 h 1538630"/>
              <a:gd name="csX698" fmla="*/ 179270 w 1609516"/>
              <a:gd name="csY698" fmla="*/ 1154866 h 1538630"/>
              <a:gd name="csX699" fmla="*/ 179194 w 1609516"/>
              <a:gd name="csY699" fmla="*/ 1151621 h 1538630"/>
              <a:gd name="csX700" fmla="*/ 193195 w 1609516"/>
              <a:gd name="csY700" fmla="*/ 1120065 h 1538630"/>
              <a:gd name="csX701" fmla="*/ 229551 w 1609516"/>
              <a:gd name="csY701" fmla="*/ 1110299 h 1538630"/>
              <a:gd name="csX702" fmla="*/ 260988 w 1609516"/>
              <a:gd name="csY702" fmla="*/ 1108274 h 1538630"/>
              <a:gd name="csX703" fmla="*/ 260988 w 1609516"/>
              <a:gd name="csY703" fmla="*/ 1105455 h 1538630"/>
              <a:gd name="csX704" fmla="*/ 263911 w 1609516"/>
              <a:gd name="csY704" fmla="*/ 1104310 h 1538630"/>
              <a:gd name="csX705" fmla="*/ 286995 w 1609516"/>
              <a:gd name="csY705" fmla="*/ 1090185 h 1538630"/>
              <a:gd name="csX706" fmla="*/ 299358 w 1609516"/>
              <a:gd name="csY706" fmla="*/ 1080970 h 1538630"/>
              <a:gd name="csX707" fmla="*/ 317762 w 1609516"/>
              <a:gd name="csY707" fmla="*/ 1063272 h 1538630"/>
              <a:gd name="csX708" fmla="*/ 325035 w 1609516"/>
              <a:gd name="csY708" fmla="*/ 1057542 h 1538630"/>
              <a:gd name="csX709" fmla="*/ 325328 w 1609516"/>
              <a:gd name="csY709" fmla="*/ 1023104 h 1538630"/>
              <a:gd name="csX710" fmla="*/ 324544 w 1609516"/>
              <a:gd name="csY710" fmla="*/ 1019247 h 1538630"/>
              <a:gd name="csX711" fmla="*/ 317225 w 1609516"/>
              <a:gd name="csY711" fmla="*/ 996945 h 1538630"/>
              <a:gd name="csX712" fmla="*/ 315388 w 1609516"/>
              <a:gd name="csY712" fmla="*/ 992690 h 1538630"/>
              <a:gd name="csX713" fmla="*/ 276232 w 1609516"/>
              <a:gd name="csY713" fmla="*/ 950666 h 1538630"/>
              <a:gd name="csX714" fmla="*/ 271923 w 1609516"/>
              <a:gd name="csY714" fmla="*/ 949031 h 1538630"/>
              <a:gd name="csX715" fmla="*/ 268299 w 1609516"/>
              <a:gd name="csY715" fmla="*/ 947441 h 1538630"/>
              <a:gd name="csX716" fmla="*/ 199187 w 1609516"/>
              <a:gd name="csY716" fmla="*/ 938991 h 1538630"/>
              <a:gd name="csX717" fmla="*/ 193719 w 1609516"/>
              <a:gd name="csY717" fmla="*/ 938971 h 1538630"/>
              <a:gd name="csX718" fmla="*/ 188539 w 1609516"/>
              <a:gd name="csY718" fmla="*/ 938980 h 1538630"/>
              <a:gd name="csX719" fmla="*/ 183874 w 1609516"/>
              <a:gd name="csY719" fmla="*/ 938985 h 1538630"/>
              <a:gd name="csX720" fmla="*/ 173509 w 1609516"/>
              <a:gd name="csY720" fmla="*/ 940576 h 1538630"/>
              <a:gd name="csX721" fmla="*/ 161403 w 1609516"/>
              <a:gd name="csY721" fmla="*/ 940664 h 1538630"/>
              <a:gd name="csX722" fmla="*/ 158102 w 1609516"/>
              <a:gd name="csY722" fmla="*/ 940645 h 1538630"/>
              <a:gd name="csX723" fmla="*/ 150875 w 1609516"/>
              <a:gd name="csY723" fmla="*/ 940583 h 1538630"/>
              <a:gd name="csX724" fmla="*/ 148425 w 1609516"/>
              <a:gd name="csY724" fmla="*/ 940717 h 1538630"/>
              <a:gd name="csX725" fmla="*/ 149617 w 1609516"/>
              <a:gd name="csY725" fmla="*/ 940995 h 1538630"/>
              <a:gd name="csX726" fmla="*/ 149617 w 1609516"/>
              <a:gd name="csY726" fmla="*/ 942404 h 1538630"/>
              <a:gd name="csX727" fmla="*/ 146627 w 1609516"/>
              <a:gd name="csY727" fmla="*/ 942871 h 1538630"/>
              <a:gd name="csX728" fmla="*/ 110564 w 1609516"/>
              <a:gd name="csY728" fmla="*/ 949449 h 1538630"/>
              <a:gd name="csX729" fmla="*/ 111283 w 1609516"/>
              <a:gd name="csY729" fmla="*/ 946205 h 1538630"/>
              <a:gd name="csX730" fmla="*/ 101652 w 1609516"/>
              <a:gd name="csY730" fmla="*/ 956078 h 1538630"/>
              <a:gd name="csX731" fmla="*/ 98052 w 1609516"/>
              <a:gd name="csY731" fmla="*/ 958467 h 1538630"/>
              <a:gd name="csX732" fmla="*/ 67286 w 1609516"/>
              <a:gd name="csY732" fmla="*/ 972989 h 1538630"/>
              <a:gd name="csX733" fmla="*/ 67286 w 1609516"/>
              <a:gd name="csY733" fmla="*/ 975807 h 1538630"/>
              <a:gd name="csX734" fmla="*/ 31942 w 1609516"/>
              <a:gd name="csY734" fmla="*/ 976423 h 1538630"/>
              <a:gd name="csX735" fmla="*/ 5673 w 1609516"/>
              <a:gd name="csY735" fmla="*/ 953419 h 1538630"/>
              <a:gd name="csX736" fmla="*/ 4801 w 1609516"/>
              <a:gd name="csY736" fmla="*/ 944804 h 1538630"/>
              <a:gd name="csX737" fmla="*/ 1676 w 1609516"/>
              <a:gd name="csY737" fmla="*/ 944804 h 1538630"/>
              <a:gd name="csX738" fmla="*/ 17 w 1609516"/>
              <a:gd name="csY738" fmla="*/ 931857 h 1538630"/>
              <a:gd name="csX739" fmla="*/ 59 w 1609516"/>
              <a:gd name="csY739" fmla="*/ 927216 h 1538630"/>
              <a:gd name="csX740" fmla="*/ 115 w 1609516"/>
              <a:gd name="csY740" fmla="*/ 923666 h 1538630"/>
              <a:gd name="csX741" fmla="*/ 3238 w 1609516"/>
              <a:gd name="csY741" fmla="*/ 923666 h 1538630"/>
              <a:gd name="csX742" fmla="*/ 3238 w 1609516"/>
              <a:gd name="csY742" fmla="*/ 918029 h 1538630"/>
              <a:gd name="csX743" fmla="*/ 6363 w 1609516"/>
              <a:gd name="csY743" fmla="*/ 918029 h 1538630"/>
              <a:gd name="csX744" fmla="*/ 6656 w 1609516"/>
              <a:gd name="csY744" fmla="*/ 912832 h 1538630"/>
              <a:gd name="csX745" fmla="*/ 15736 w 1609516"/>
              <a:gd name="csY745" fmla="*/ 899709 h 1538630"/>
              <a:gd name="csX746" fmla="*/ 17243 w 1609516"/>
              <a:gd name="csY746" fmla="*/ 898894 h 1538630"/>
              <a:gd name="csX747" fmla="*/ 16800 w 1609516"/>
              <a:gd name="csY747" fmla="*/ 898694 h 1538630"/>
              <a:gd name="csX748" fmla="*/ 24988 w 1609516"/>
              <a:gd name="csY748" fmla="*/ 894101 h 1538630"/>
              <a:gd name="csX749" fmla="*/ 26768 w 1609516"/>
              <a:gd name="csY749" fmla="*/ 892399 h 1538630"/>
              <a:gd name="csX750" fmla="*/ 30198 w 1609516"/>
              <a:gd name="csY750" fmla="*/ 890164 h 1538630"/>
              <a:gd name="csX751" fmla="*/ 32204 w 1609516"/>
              <a:gd name="csY751" fmla="*/ 890054 h 1538630"/>
              <a:gd name="csX752" fmla="*/ 38914 w 1609516"/>
              <a:gd name="csY752" fmla="*/ 886291 h 1538630"/>
              <a:gd name="csX753" fmla="*/ 63664 w 1609516"/>
              <a:gd name="csY753" fmla="*/ 886011 h 1538630"/>
              <a:gd name="csX754" fmla="*/ 63664 w 1609516"/>
              <a:gd name="csY754" fmla="*/ 886531 h 1538630"/>
              <a:gd name="csX755" fmla="*/ 70784 w 1609516"/>
              <a:gd name="csY755" fmla="*/ 886647 h 1538630"/>
              <a:gd name="csX756" fmla="*/ 82126 w 1609516"/>
              <a:gd name="csY756" fmla="*/ 889845 h 1538630"/>
              <a:gd name="csX757" fmla="*/ 114149 w 1609516"/>
              <a:gd name="csY757" fmla="*/ 892663 h 1538630"/>
              <a:gd name="csX758" fmla="*/ 118836 w 1609516"/>
              <a:gd name="csY758" fmla="*/ 889845 h 1538630"/>
              <a:gd name="csX759" fmla="*/ 131626 w 1609516"/>
              <a:gd name="csY759" fmla="*/ 887114 h 1538630"/>
              <a:gd name="csX760" fmla="*/ 155116 w 1609516"/>
              <a:gd name="csY760" fmla="*/ 880913 h 1538630"/>
              <a:gd name="csX761" fmla="*/ 165406 w 1609516"/>
              <a:gd name="csY761" fmla="*/ 878483 h 1538630"/>
              <a:gd name="csX762" fmla="*/ 176634 w 1609516"/>
              <a:gd name="csY762" fmla="*/ 874343 h 1538630"/>
              <a:gd name="csX763" fmla="*/ 186397 w 1609516"/>
              <a:gd name="csY763" fmla="*/ 871524 h 1538630"/>
              <a:gd name="csX764" fmla="*/ 191871 w 1609516"/>
              <a:gd name="csY764" fmla="*/ 870033 h 1538630"/>
              <a:gd name="csX765" fmla="*/ 203483 w 1609516"/>
              <a:gd name="csY765" fmla="*/ 867208 h 1538630"/>
              <a:gd name="csX766" fmla="*/ 211001 w 1609516"/>
              <a:gd name="csY766" fmla="*/ 861660 h 1538630"/>
              <a:gd name="csX767" fmla="*/ 218031 w 1609516"/>
              <a:gd name="csY767" fmla="*/ 858577 h 1538630"/>
              <a:gd name="csX768" fmla="*/ 254740 w 1609516"/>
              <a:gd name="csY768" fmla="*/ 825020 h 1538630"/>
              <a:gd name="csX769" fmla="*/ 257864 w 1609516"/>
              <a:gd name="csY769" fmla="*/ 820792 h 1538630"/>
              <a:gd name="csX770" fmla="*/ 258318 w 1609516"/>
              <a:gd name="csY770" fmla="*/ 813810 h 1538630"/>
              <a:gd name="csX771" fmla="*/ 258378 w 1609516"/>
              <a:gd name="csY771" fmla="*/ 809502 h 1538630"/>
              <a:gd name="csX772" fmla="*/ 258389 w 1609516"/>
              <a:gd name="csY772" fmla="*/ 804845 h 1538630"/>
              <a:gd name="csX773" fmla="*/ 258420 w 1609516"/>
              <a:gd name="csY773" fmla="*/ 800036 h 1538630"/>
              <a:gd name="csX774" fmla="*/ 258443 w 1609516"/>
              <a:gd name="csY774" fmla="*/ 789939 h 1538630"/>
              <a:gd name="csX775" fmla="*/ 258566 w 1609516"/>
              <a:gd name="csY775" fmla="*/ 774594 h 1538630"/>
              <a:gd name="csX776" fmla="*/ 258584 w 1609516"/>
              <a:gd name="csY776" fmla="*/ 764771 h 1538630"/>
              <a:gd name="csX777" fmla="*/ 258652 w 1609516"/>
              <a:gd name="csY777" fmla="*/ 760174 h 1538630"/>
              <a:gd name="csX778" fmla="*/ 251616 w 1609516"/>
              <a:gd name="csY778" fmla="*/ 733421 h 1538630"/>
              <a:gd name="csX779" fmla="*/ 247613 w 1609516"/>
              <a:gd name="csY779" fmla="*/ 721883 h 1538630"/>
              <a:gd name="csX780" fmla="*/ 241291 w 1609516"/>
              <a:gd name="csY780" fmla="*/ 705644 h 1538630"/>
              <a:gd name="csX781" fmla="*/ 237557 w 1609516"/>
              <a:gd name="csY781" fmla="*/ 689735 h 1538630"/>
              <a:gd name="csX782" fmla="*/ 248492 w 1609516"/>
              <a:gd name="csY782" fmla="*/ 685507 h 1538630"/>
              <a:gd name="csX783" fmla="*/ 248492 w 1609516"/>
              <a:gd name="csY783" fmla="*/ 681279 h 1538630"/>
              <a:gd name="csX784" fmla="*/ 240681 w 1609516"/>
              <a:gd name="csY784" fmla="*/ 679870 h 1538630"/>
              <a:gd name="csX785" fmla="*/ 240681 w 1609516"/>
              <a:gd name="csY785" fmla="*/ 677052 h 1538630"/>
              <a:gd name="csX786" fmla="*/ 238094 w 1609516"/>
              <a:gd name="csY786" fmla="*/ 676645 h 1538630"/>
              <a:gd name="csX787" fmla="*/ 225841 w 1609516"/>
              <a:gd name="csY787" fmla="*/ 670886 h 1538630"/>
              <a:gd name="csX788" fmla="*/ 201531 w 1609516"/>
              <a:gd name="csY788" fmla="*/ 662508 h 1538630"/>
              <a:gd name="csX789" fmla="*/ 188252 w 1609516"/>
              <a:gd name="csY789" fmla="*/ 658644 h 1538630"/>
              <a:gd name="csX790" fmla="*/ 182431 w 1609516"/>
              <a:gd name="csY790" fmla="*/ 657327 h 1538630"/>
              <a:gd name="csX791" fmla="*/ 182431 w 1609516"/>
              <a:gd name="csY791" fmla="*/ 657613 h 1538630"/>
              <a:gd name="csX792" fmla="*/ 146503 w 1609516"/>
              <a:gd name="csY792" fmla="*/ 656204 h 1538630"/>
              <a:gd name="csX793" fmla="*/ 146503 w 1609516"/>
              <a:gd name="csY793" fmla="*/ 659022 h 1538630"/>
              <a:gd name="csX794" fmla="*/ 110378 w 1609516"/>
              <a:gd name="csY794" fmla="*/ 663778 h 1538630"/>
              <a:gd name="csX795" fmla="*/ 106453 w 1609516"/>
              <a:gd name="csY795" fmla="*/ 663836 h 1538630"/>
              <a:gd name="csX796" fmla="*/ 102751 w 1609516"/>
              <a:gd name="csY796" fmla="*/ 663811 h 1538630"/>
              <a:gd name="csX797" fmla="*/ 99449 w 1609516"/>
              <a:gd name="csY797" fmla="*/ 663797 h 1538630"/>
              <a:gd name="csX798" fmla="*/ 91828 w 1609516"/>
              <a:gd name="csY798" fmla="*/ 659022 h 1538630"/>
              <a:gd name="csX799" fmla="*/ 98077 w 1609516"/>
              <a:gd name="csY799" fmla="*/ 659022 h 1538630"/>
              <a:gd name="csX800" fmla="*/ 98077 w 1609516"/>
              <a:gd name="csY800" fmla="*/ 661841 h 1538630"/>
              <a:gd name="csX801" fmla="*/ 119023 w 1609516"/>
              <a:gd name="csY801" fmla="*/ 661357 h 1538630"/>
              <a:gd name="csX802" fmla="*/ 119536 w 1609516"/>
              <a:gd name="csY802" fmla="*/ 661197 h 1538630"/>
              <a:gd name="csX803" fmla="*/ 109853 w 1609516"/>
              <a:gd name="csY803" fmla="*/ 661639 h 1538630"/>
              <a:gd name="csX804" fmla="*/ 106552 w 1609516"/>
              <a:gd name="csY804" fmla="*/ 661619 h 1538630"/>
              <a:gd name="csX805" fmla="*/ 98528 w 1609516"/>
              <a:gd name="csY805" fmla="*/ 661550 h 1538630"/>
              <a:gd name="csX806" fmla="*/ 98528 w 1609516"/>
              <a:gd name="csY806" fmla="*/ 658732 h 1538630"/>
              <a:gd name="csX807" fmla="*/ 89155 w 1609516"/>
              <a:gd name="csY807" fmla="*/ 657323 h 1538630"/>
              <a:gd name="csX808" fmla="*/ 89155 w 1609516"/>
              <a:gd name="csY808" fmla="*/ 654504 h 1538630"/>
              <a:gd name="csX809" fmla="*/ 86397 w 1609516"/>
              <a:gd name="csY809" fmla="*/ 653442 h 1538630"/>
              <a:gd name="csX810" fmla="*/ 77049 w 1609516"/>
              <a:gd name="csY810" fmla="*/ 646137 h 1538630"/>
              <a:gd name="csX811" fmla="*/ 74145 w 1609516"/>
              <a:gd name="csY811" fmla="*/ 643192 h 1538630"/>
              <a:gd name="csX812" fmla="*/ 71972 w 1609516"/>
              <a:gd name="csY812" fmla="*/ 636185 h 1538630"/>
              <a:gd name="csX813" fmla="*/ 68848 w 1609516"/>
              <a:gd name="csY813" fmla="*/ 636185 h 1538630"/>
              <a:gd name="csX814" fmla="*/ 70410 w 1609516"/>
              <a:gd name="csY814" fmla="*/ 595317 h 1538630"/>
              <a:gd name="csX815" fmla="*/ 79782 w 1609516"/>
              <a:gd name="csY815" fmla="*/ 584043 h 1538630"/>
              <a:gd name="csX816" fmla="*/ 82656 w 1609516"/>
              <a:gd name="csY816" fmla="*/ 581115 h 1538630"/>
              <a:gd name="csX817" fmla="*/ 116694 w 1609516"/>
              <a:gd name="csY817" fmla="*/ 572323 h 1538630"/>
              <a:gd name="csX818" fmla="*/ 152031 w 1609516"/>
              <a:gd name="csY818" fmla="*/ 590385 h 1538630"/>
              <a:gd name="csX819" fmla="*/ 191474 w 1609516"/>
              <a:gd name="csY819" fmla="*/ 605886 h 1538630"/>
              <a:gd name="csX820" fmla="*/ 206314 w 1609516"/>
              <a:gd name="csY820" fmla="*/ 608000 h 1538630"/>
              <a:gd name="csX821" fmla="*/ 206314 w 1609516"/>
              <a:gd name="csY821" fmla="*/ 610818 h 1538630"/>
              <a:gd name="csX822" fmla="*/ 234433 w 1609516"/>
              <a:gd name="csY822" fmla="*/ 610818 h 1538630"/>
              <a:gd name="csX823" fmla="*/ 239522 w 1609516"/>
              <a:gd name="csY823" fmla="*/ 610802 h 1538630"/>
              <a:gd name="csX824" fmla="*/ 268799 w 1609516"/>
              <a:gd name="csY824" fmla="*/ 600954 h 1538630"/>
              <a:gd name="csX825" fmla="*/ 271740 w 1609516"/>
              <a:gd name="csY825" fmla="*/ 599325 h 1538630"/>
              <a:gd name="csX826" fmla="*/ 284420 w 1609516"/>
              <a:gd name="csY826" fmla="*/ 579816 h 1538630"/>
              <a:gd name="csX827" fmla="*/ 289399 w 1609516"/>
              <a:gd name="csY827" fmla="*/ 568630 h 1538630"/>
              <a:gd name="csX828" fmla="*/ 293958 w 1609516"/>
              <a:gd name="csY828" fmla="*/ 535838 h 1538630"/>
              <a:gd name="csX829" fmla="*/ 289107 w 1609516"/>
              <a:gd name="csY829" fmla="*/ 529084 h 1538630"/>
              <a:gd name="csX830" fmla="*/ 289107 w 1609516"/>
              <a:gd name="csY830" fmla="*/ 526265 h 1538630"/>
              <a:gd name="csX831" fmla="*/ 284420 w 1609516"/>
              <a:gd name="csY831" fmla="*/ 524856 h 1538630"/>
              <a:gd name="csX832" fmla="*/ 282858 w 1609516"/>
              <a:gd name="csY832" fmla="*/ 520628 h 1538630"/>
              <a:gd name="csX833" fmla="*/ 277977 w 1609516"/>
              <a:gd name="csY833" fmla="*/ 516577 h 1538630"/>
              <a:gd name="csX834" fmla="*/ 264925 w 1609516"/>
              <a:gd name="csY834" fmla="*/ 506443 h 1538630"/>
              <a:gd name="csX835" fmla="*/ 229746 w 1609516"/>
              <a:gd name="csY835" fmla="*/ 481170 h 1538630"/>
              <a:gd name="csX836" fmla="*/ 221057 w 1609516"/>
              <a:gd name="csY836" fmla="*/ 475445 h 1538630"/>
              <a:gd name="csX837" fmla="*/ 212563 w 1609516"/>
              <a:gd name="csY837" fmla="*/ 469896 h 1538630"/>
              <a:gd name="csX838" fmla="*/ 208889 w 1609516"/>
              <a:gd name="csY838" fmla="*/ 467491 h 1538630"/>
              <a:gd name="csX839" fmla="*/ 190406 w 1609516"/>
              <a:gd name="csY839" fmla="*/ 456382 h 1538630"/>
              <a:gd name="csX840" fmla="*/ 186942 w 1609516"/>
              <a:gd name="csY840" fmla="*/ 454460 h 1538630"/>
              <a:gd name="csX841" fmla="*/ 180041 w 1609516"/>
              <a:gd name="csY841" fmla="*/ 450696 h 1538630"/>
              <a:gd name="csX842" fmla="*/ 171948 w 1609516"/>
              <a:gd name="csY842" fmla="*/ 445940 h 1538630"/>
              <a:gd name="csX843" fmla="*/ 171948 w 1609516"/>
              <a:gd name="csY843" fmla="*/ 443121 h 1538630"/>
              <a:gd name="csX844" fmla="*/ 168482 w 1609516"/>
              <a:gd name="csY844" fmla="*/ 442708 h 1538630"/>
              <a:gd name="csX845" fmla="*/ 157107 w 1609516"/>
              <a:gd name="csY845" fmla="*/ 437044 h 1538630"/>
              <a:gd name="csX846" fmla="*/ 132559 w 1609516"/>
              <a:gd name="csY846" fmla="*/ 427510 h 1538630"/>
              <a:gd name="csX847" fmla="*/ 123522 w 1609516"/>
              <a:gd name="csY847" fmla="*/ 421983 h 1538630"/>
              <a:gd name="csX848" fmla="*/ 107986 w 1609516"/>
              <a:gd name="csY848" fmla="*/ 418730 h 1538630"/>
              <a:gd name="csX849" fmla="*/ 102494 w 1609516"/>
              <a:gd name="csY849" fmla="*/ 418622 h 1538630"/>
              <a:gd name="csX850" fmla="*/ 91157 w 1609516"/>
              <a:gd name="csY850" fmla="*/ 418490 h 1538630"/>
              <a:gd name="csX851" fmla="*/ 55277 w 1609516"/>
              <a:gd name="csY851" fmla="*/ 410445 h 1538630"/>
              <a:gd name="csX852" fmla="*/ 51665 w 1609516"/>
              <a:gd name="csY852" fmla="*/ 406481 h 1538630"/>
              <a:gd name="csX853" fmla="*/ 45904 w 1609516"/>
              <a:gd name="csY853" fmla="*/ 400492 h 1538630"/>
              <a:gd name="csX854" fmla="*/ 43152 w 1609516"/>
              <a:gd name="csY854" fmla="*/ 397564 h 1538630"/>
              <a:gd name="csX855" fmla="*/ 37605 w 1609516"/>
              <a:gd name="csY855" fmla="*/ 393798 h 1538630"/>
              <a:gd name="csX856" fmla="*/ 38995 w 1609516"/>
              <a:gd name="csY856" fmla="*/ 368712 h 1538630"/>
              <a:gd name="csX857" fmla="*/ 38666 w 1609516"/>
              <a:gd name="csY857" fmla="*/ 369724 h 1538630"/>
              <a:gd name="csX858" fmla="*/ 35542 w 1609516"/>
              <a:gd name="csY858" fmla="*/ 384081 h 1538630"/>
              <a:gd name="csX859" fmla="*/ 33326 w 1609516"/>
              <a:gd name="csY859" fmla="*/ 357791 h 1538630"/>
              <a:gd name="csX860" fmla="*/ 52725 w 1609516"/>
              <a:gd name="csY860" fmla="*/ 333349 h 1538630"/>
              <a:gd name="csX861" fmla="*/ 55222 w 1609516"/>
              <a:gd name="csY861" fmla="*/ 334475 h 1538630"/>
              <a:gd name="csX862" fmla="*/ 56222 w 1609516"/>
              <a:gd name="csY862" fmla="*/ 333347 h 1538630"/>
              <a:gd name="csX863" fmla="*/ 55871 w 1609516"/>
              <a:gd name="csY863" fmla="*/ 333347 h 1538630"/>
              <a:gd name="csX864" fmla="*/ 56346 w 1609516"/>
              <a:gd name="csY864" fmla="*/ 333207 h 1538630"/>
              <a:gd name="csX865" fmla="*/ 56351 w 1609516"/>
              <a:gd name="csY865" fmla="*/ 333202 h 1538630"/>
              <a:gd name="csX866" fmla="*/ 56365 w 1609516"/>
              <a:gd name="csY866" fmla="*/ 333202 h 1538630"/>
              <a:gd name="csX867" fmla="*/ 79571 w 1609516"/>
              <a:gd name="csY867" fmla="*/ 326360 h 1538630"/>
              <a:gd name="csX868" fmla="*/ 104297 w 1609516"/>
              <a:gd name="csY868" fmla="*/ 330529 h 1538630"/>
              <a:gd name="csX869" fmla="*/ 107170 w 1609516"/>
              <a:gd name="csY869" fmla="*/ 334417 h 1538630"/>
              <a:gd name="csX870" fmla="*/ 109366 w 1609516"/>
              <a:gd name="csY870" fmla="*/ 336046 h 1538630"/>
              <a:gd name="csX871" fmla="*/ 109463 w 1609516"/>
              <a:gd name="csY871" fmla="*/ 336020 h 1538630"/>
              <a:gd name="csX872" fmla="*/ 109463 w 1609516"/>
              <a:gd name="csY872" fmla="*/ 336118 h 1538630"/>
              <a:gd name="csX873" fmla="*/ 115226 w 1609516"/>
              <a:gd name="csY873" fmla="*/ 340394 h 1538630"/>
              <a:gd name="csX874" fmla="*/ 114010 w 1609516"/>
              <a:gd name="csY874" fmla="*/ 340120 h 1538630"/>
              <a:gd name="csX875" fmla="*/ 133285 w 1609516"/>
              <a:gd name="csY875" fmla="*/ 357423 h 1538630"/>
              <a:gd name="csX876" fmla="*/ 173509 w 1609516"/>
              <a:gd name="csY876" fmla="*/ 389571 h 1538630"/>
              <a:gd name="csX877" fmla="*/ 181711 w 1609516"/>
              <a:gd name="csY877" fmla="*/ 393270 h 1538630"/>
              <a:gd name="csX878" fmla="*/ 185507 w 1609516"/>
              <a:gd name="csY878" fmla="*/ 394976 h 1538630"/>
              <a:gd name="csX879" fmla="*/ 192658 w 1609516"/>
              <a:gd name="csY879" fmla="*/ 398257 h 1538630"/>
              <a:gd name="csX880" fmla="*/ 195966 w 1609516"/>
              <a:gd name="csY880" fmla="*/ 399788 h 1538630"/>
              <a:gd name="csX881" fmla="*/ 198833 w 1609516"/>
              <a:gd name="csY881" fmla="*/ 401131 h 1538630"/>
              <a:gd name="csX882" fmla="*/ 207877 w 1609516"/>
              <a:gd name="csY882" fmla="*/ 403663 h 1538630"/>
              <a:gd name="csX883" fmla="*/ 207877 w 1609516"/>
              <a:gd name="csY883" fmla="*/ 406481 h 1538630"/>
              <a:gd name="csX884" fmla="*/ 248492 w 1609516"/>
              <a:gd name="csY884" fmla="*/ 419428 h 1538630"/>
              <a:gd name="csX885" fmla="*/ 253965 w 1609516"/>
              <a:gd name="csY885" fmla="*/ 421000 h 1538630"/>
              <a:gd name="csX886" fmla="*/ 267237 w 1609516"/>
              <a:gd name="csY886" fmla="*/ 424801 h 1538630"/>
              <a:gd name="csX887" fmla="*/ 267237 w 1609516"/>
              <a:gd name="csY887" fmla="*/ 426451 h 1538630"/>
              <a:gd name="csX888" fmla="*/ 288701 w 1609516"/>
              <a:gd name="csY888" fmla="*/ 429217 h 1538630"/>
              <a:gd name="csX889" fmla="*/ 288701 w 1609516"/>
              <a:gd name="csY889" fmla="*/ 432036 h 1538630"/>
              <a:gd name="csX890" fmla="*/ 327010 w 1609516"/>
              <a:gd name="csY890" fmla="*/ 433628 h 1538630"/>
              <a:gd name="csX891" fmla="*/ 337486 w 1609516"/>
              <a:gd name="csY891" fmla="*/ 433637 h 1538630"/>
              <a:gd name="csX892" fmla="*/ 344229 w 1609516"/>
              <a:gd name="csY892" fmla="*/ 433632 h 1538630"/>
              <a:gd name="csX893" fmla="*/ 350323 w 1609516"/>
              <a:gd name="csY893" fmla="*/ 433627 h 1538630"/>
              <a:gd name="csX894" fmla="*/ 365245 w 1609516"/>
              <a:gd name="csY894" fmla="*/ 432036 h 1538630"/>
              <a:gd name="csX895" fmla="*/ 360797 w 1609516"/>
              <a:gd name="csY895" fmla="*/ 433759 h 1538630"/>
              <a:gd name="csX896" fmla="*/ 365650 w 1609516"/>
              <a:gd name="csY896" fmla="*/ 433257 h 1538630"/>
              <a:gd name="csX897" fmla="*/ 367213 w 1609516"/>
              <a:gd name="csY897" fmla="*/ 429029 h 1538630"/>
              <a:gd name="csX898" fmla="*/ 375188 w 1609516"/>
              <a:gd name="csY898" fmla="*/ 424906 h 1538630"/>
              <a:gd name="csX899" fmla="*/ 404704 w 1609516"/>
              <a:gd name="csY899" fmla="*/ 389571 h 1538630"/>
              <a:gd name="csX900" fmla="*/ 406265 w 1609516"/>
              <a:gd name="csY900" fmla="*/ 388161 h 1538630"/>
              <a:gd name="csX901" fmla="*/ 406559 w 1609516"/>
              <a:gd name="csY901" fmla="*/ 370106 h 1538630"/>
              <a:gd name="csX902" fmla="*/ 406617 w 1609516"/>
              <a:gd name="csY902" fmla="*/ 364973 h 1538630"/>
              <a:gd name="csX903" fmla="*/ 406626 w 1609516"/>
              <a:gd name="csY903" fmla="*/ 360038 h 1538630"/>
              <a:gd name="csX904" fmla="*/ 406645 w 1609516"/>
              <a:gd name="csY904" fmla="*/ 355503 h 1538630"/>
              <a:gd name="csX905" fmla="*/ 403142 w 1609516"/>
              <a:gd name="csY905" fmla="*/ 345885 h 1538630"/>
              <a:gd name="csX906" fmla="*/ 401579 w 1609516"/>
              <a:gd name="csY906" fmla="*/ 338663 h 1538630"/>
              <a:gd name="csX907" fmla="*/ 390938 w 1609516"/>
              <a:gd name="csY907" fmla="*/ 315939 h 1538630"/>
              <a:gd name="csX908" fmla="*/ 388976 w 1609516"/>
              <a:gd name="csY908" fmla="*/ 312762 h 1538630"/>
              <a:gd name="csX909" fmla="*/ 377934 w 1609516"/>
              <a:gd name="csY909" fmla="*/ 297817 h 1538630"/>
              <a:gd name="csX910" fmla="*/ 368775 w 1609516"/>
              <a:gd name="csY910" fmla="*/ 282470 h 1538630"/>
              <a:gd name="csX911" fmla="*/ 359890 w 1609516"/>
              <a:gd name="csY911" fmla="*/ 271284 h 1538630"/>
              <a:gd name="csX912" fmla="*/ 357374 w 1609516"/>
              <a:gd name="csY912" fmla="*/ 268288 h 1538630"/>
              <a:gd name="csX913" fmla="*/ 337533 w 1609516"/>
              <a:gd name="csY913" fmla="*/ 248649 h 1538630"/>
              <a:gd name="csX914" fmla="*/ 335214 w 1609516"/>
              <a:gd name="csY914" fmla="*/ 246369 h 1538630"/>
              <a:gd name="csX915" fmla="*/ 327085 w 1609516"/>
              <a:gd name="csY915" fmla="*/ 242571 h 1538630"/>
              <a:gd name="csX916" fmla="*/ 288785 w 1609516"/>
              <a:gd name="csY916" fmla="*/ 207968 h 1538630"/>
              <a:gd name="csX917" fmla="*/ 286373 w 1609516"/>
              <a:gd name="csY917" fmla="*/ 192544 h 1538630"/>
              <a:gd name="csX918" fmla="*/ 286385 w 1609516"/>
              <a:gd name="csY918" fmla="*/ 189190 h 1538630"/>
              <a:gd name="csX919" fmla="*/ 300042 w 1609516"/>
              <a:gd name="csY919" fmla="*/ 164095 h 1538630"/>
              <a:gd name="csX920" fmla="*/ 302757 w 1609516"/>
              <a:gd name="csY920" fmla="*/ 161381 h 1538630"/>
              <a:gd name="csX921" fmla="*/ 338411 w 1609516"/>
              <a:gd name="csY921" fmla="*/ 152293 h 1538630"/>
              <a:gd name="csX922" fmla="*/ 368482 w 1609516"/>
              <a:gd name="csY922" fmla="*/ 161893 h 1538630"/>
              <a:gd name="csX923" fmla="*/ 371899 w 1609516"/>
              <a:gd name="csY923" fmla="*/ 165505 h 1538630"/>
              <a:gd name="csX924" fmla="*/ 375121 w 1609516"/>
              <a:gd name="csY924" fmla="*/ 168587 h 1538630"/>
              <a:gd name="csX925" fmla="*/ 384982 w 1609516"/>
              <a:gd name="csY925" fmla="*/ 193777 h 1538630"/>
              <a:gd name="csX926" fmla="*/ 390352 w 1609516"/>
              <a:gd name="csY926" fmla="*/ 214563 h 1538630"/>
              <a:gd name="csX927" fmla="*/ 391529 w 1609516"/>
              <a:gd name="csY927" fmla="*/ 217626 h 1538630"/>
              <a:gd name="csX928" fmla="*/ 401579 w 1609516"/>
              <a:gd name="csY928" fmla="*/ 234556 h 1538630"/>
              <a:gd name="csX929" fmla="*/ 401579 w 1609516"/>
              <a:gd name="csY929" fmla="*/ 238784 h 1538630"/>
              <a:gd name="csX930" fmla="*/ 404215 w 1609516"/>
              <a:gd name="csY930" fmla="*/ 239753 h 1538630"/>
              <a:gd name="csX931" fmla="*/ 417811 w 1609516"/>
              <a:gd name="csY931" fmla="*/ 251996 h 1538630"/>
              <a:gd name="csX932" fmla="*/ 426866 w 1609516"/>
              <a:gd name="csY932" fmla="*/ 262300 h 1538630"/>
              <a:gd name="csX933" fmla="*/ 450097 w 1609516"/>
              <a:gd name="csY933" fmla="*/ 287628 h 1538630"/>
              <a:gd name="csX934" fmla="*/ 457425 w 1609516"/>
              <a:gd name="csY934" fmla="*/ 293920 h 1538630"/>
              <a:gd name="csX935" fmla="*/ 460940 w 1609516"/>
              <a:gd name="csY935" fmla="*/ 296562 h 1538630"/>
              <a:gd name="csX936" fmla="*/ 460940 w 1609516"/>
              <a:gd name="csY936" fmla="*/ 300790 h 1538630"/>
              <a:gd name="csX937" fmla="*/ 473437 w 1609516"/>
              <a:gd name="csY937" fmla="*/ 305018 h 1538630"/>
              <a:gd name="csX938" fmla="*/ 473437 w 1609516"/>
              <a:gd name="csY938" fmla="*/ 307836 h 1538630"/>
              <a:gd name="csX939" fmla="*/ 479881 w 1609516"/>
              <a:gd name="csY939" fmla="*/ 309862 h 1538630"/>
              <a:gd name="csX940" fmla="*/ 483505 w 1609516"/>
              <a:gd name="csY940" fmla="*/ 311001 h 1538630"/>
              <a:gd name="csX941" fmla="*/ 548419 w 1609516"/>
              <a:gd name="csY941" fmla="*/ 306427 h 1538630"/>
              <a:gd name="csX942" fmla="*/ 551842 w 1609516"/>
              <a:gd name="csY942" fmla="*/ 305127 h 1538630"/>
              <a:gd name="csX943" fmla="*/ 560232 w 1609516"/>
              <a:gd name="csY943" fmla="*/ 298148 h 1538630"/>
              <a:gd name="csX944" fmla="*/ 562972 w 1609516"/>
              <a:gd name="csY944" fmla="*/ 295252 h 1538630"/>
              <a:gd name="csX945" fmla="*/ 568086 w 1609516"/>
              <a:gd name="csY945" fmla="*/ 289152 h 1538630"/>
              <a:gd name="csX946" fmla="*/ 570289 w 1609516"/>
              <a:gd name="csY946" fmla="*/ 286697 h 1538630"/>
              <a:gd name="csX947" fmla="*/ 573413 w 1609516"/>
              <a:gd name="csY947" fmla="*/ 286697 h 1538630"/>
              <a:gd name="csX948" fmla="*/ 577220 w 1609516"/>
              <a:gd name="csY948" fmla="*/ 257016 h 1538630"/>
              <a:gd name="csX949" fmla="*/ 577235 w 1609516"/>
              <a:gd name="csY949" fmla="*/ 254206 h 1538630"/>
              <a:gd name="csX950" fmla="*/ 569443 w 1609516"/>
              <a:gd name="csY950" fmla="*/ 206049 h 1538630"/>
              <a:gd name="csX951" fmla="*/ 568726 w 1609516"/>
              <a:gd name="csY951" fmla="*/ 200735 h 1538630"/>
              <a:gd name="csX952" fmla="*/ 565602 w 1609516"/>
              <a:gd name="csY952" fmla="*/ 200735 h 1538630"/>
              <a:gd name="csX953" fmla="*/ 559549 w 1609516"/>
              <a:gd name="csY953" fmla="*/ 184441 h 1538630"/>
              <a:gd name="csX954" fmla="*/ 537484 w 1609516"/>
              <a:gd name="csY954" fmla="*/ 159867 h 1538630"/>
              <a:gd name="csX955" fmla="*/ 531235 w 1609516"/>
              <a:gd name="csY955" fmla="*/ 154230 h 1538630"/>
              <a:gd name="csX956" fmla="*/ 531235 w 1609516"/>
              <a:gd name="csY956" fmla="*/ 151412 h 1538630"/>
              <a:gd name="csX957" fmla="*/ 526549 w 1609516"/>
              <a:gd name="csY957" fmla="*/ 150003 h 1538630"/>
              <a:gd name="csX958" fmla="*/ 524304 w 1609516"/>
              <a:gd name="csY958" fmla="*/ 107198 h 1538630"/>
              <a:gd name="csX959" fmla="*/ 547052 w 1609516"/>
              <a:gd name="csY959" fmla="*/ 85972 h 1538630"/>
              <a:gd name="csX960" fmla="*/ 588460 w 1609516"/>
              <a:gd name="csY960" fmla="*/ 83538 h 1538630"/>
              <a:gd name="csX961" fmla="*/ 617152 w 1609516"/>
              <a:gd name="csY961" fmla="*/ 111954 h 1538630"/>
              <a:gd name="csX962" fmla="*/ 617884 w 1609516"/>
              <a:gd name="csY962" fmla="*/ 124175 h 1538630"/>
              <a:gd name="csX963" fmla="*/ 617917 w 1609516"/>
              <a:gd name="csY963" fmla="*/ 127607 h 1538630"/>
              <a:gd name="csX964" fmla="*/ 617919 w 1609516"/>
              <a:gd name="csY964" fmla="*/ 141969 h 1538630"/>
              <a:gd name="csX965" fmla="*/ 630625 w 1609516"/>
              <a:gd name="csY965" fmla="*/ 191311 h 1538630"/>
              <a:gd name="csX966" fmla="*/ 637850 w 1609516"/>
              <a:gd name="csY966" fmla="*/ 205139 h 1538630"/>
              <a:gd name="csX967" fmla="*/ 643708 w 1609516"/>
              <a:gd name="csY967" fmla="*/ 212009 h 1538630"/>
              <a:gd name="csX968" fmla="*/ 647027 w 1609516"/>
              <a:gd name="csY968" fmla="*/ 217645 h 1538630"/>
              <a:gd name="csX969" fmla="*/ 670264 w 1609516"/>
              <a:gd name="csY969" fmla="*/ 241603 h 1538630"/>
              <a:gd name="csX970" fmla="*/ 670264 w 1609516"/>
              <a:gd name="csY970" fmla="*/ 244421 h 1538630"/>
              <a:gd name="csX971" fmla="*/ 675634 w 1609516"/>
              <a:gd name="csY971" fmla="*/ 245742 h 1538630"/>
              <a:gd name="csX972" fmla="*/ 682761 w 1609516"/>
              <a:gd name="csY972" fmla="*/ 248649 h 1538630"/>
              <a:gd name="csX973" fmla="*/ 752092 w 1609516"/>
              <a:gd name="csY973" fmla="*/ 245076 h 1538630"/>
              <a:gd name="csX974" fmla="*/ 758433 w 1609516"/>
              <a:gd name="csY974" fmla="*/ 240485 h 1538630"/>
              <a:gd name="csX975" fmla="*/ 763991 w 1609516"/>
              <a:gd name="csY975" fmla="*/ 238784 h 1538630"/>
              <a:gd name="csX976" fmla="*/ 765315 w 1609516"/>
              <a:gd name="csY976" fmla="*/ 235778 h 1538630"/>
              <a:gd name="csX977" fmla="*/ 770923 w 1609516"/>
              <a:gd name="csY977" fmla="*/ 223459 h 1538630"/>
              <a:gd name="csX978" fmla="*/ 772998 w 1609516"/>
              <a:gd name="csY978" fmla="*/ 218934 h 1538630"/>
              <a:gd name="csX979" fmla="*/ 777562 w 1609516"/>
              <a:gd name="csY979" fmla="*/ 209895 h 1538630"/>
              <a:gd name="csX980" fmla="*/ 781175 w 1609516"/>
              <a:gd name="csY980" fmla="*/ 124637 h 1538630"/>
              <a:gd name="csX981" fmla="*/ 778051 w 1609516"/>
              <a:gd name="csY981" fmla="*/ 124637 h 1538630"/>
              <a:gd name="csX982" fmla="*/ 767116 w 1609516"/>
              <a:gd name="csY982" fmla="*/ 79542 h 1538630"/>
              <a:gd name="csX983" fmla="*/ 793379 w 1609516"/>
              <a:gd name="csY983" fmla="*/ 54000 h 1538630"/>
              <a:gd name="csX984" fmla="*/ 840688 w 1609516"/>
              <a:gd name="csY984" fmla="*/ 55503 h 1538630"/>
              <a:gd name="csX985" fmla="*/ 851470 w 1609516"/>
              <a:gd name="csY985" fmla="*/ 64040 h 1538630"/>
              <a:gd name="csX986" fmla="*/ 853997 w 1609516"/>
              <a:gd name="csY986" fmla="*/ 66529 h 1538630"/>
              <a:gd name="csX987" fmla="*/ 861488 w 1609516"/>
              <a:gd name="csY987" fmla="*/ 82057 h 1538630"/>
              <a:gd name="csX988" fmla="*/ 861937 w 1609516"/>
              <a:gd name="csY988" fmla="*/ 90492 h 1538630"/>
              <a:gd name="csX989" fmla="*/ 863826 w 1609516"/>
              <a:gd name="csY989" fmla="*/ 100715 h 1538630"/>
              <a:gd name="csX990" fmla="*/ 857577 w 1609516"/>
              <a:gd name="csY990" fmla="*/ 121853 h 1538630"/>
              <a:gd name="csX991" fmla="*/ 856015 w 1609516"/>
              <a:gd name="csY991" fmla="*/ 121853 h 1538630"/>
              <a:gd name="csX992" fmla="*/ 855442 w 1609516"/>
              <a:gd name="csY992" fmla="*/ 118919 h 1538630"/>
              <a:gd name="csX993" fmla="*/ 855417 w 1609516"/>
              <a:gd name="csY993" fmla="*/ 118798 h 1538630"/>
              <a:gd name="csX994" fmla="*/ 856157 w 1609516"/>
              <a:gd name="csY994" fmla="*/ 124637 h 1538630"/>
              <a:gd name="csX995" fmla="*/ 850623 w 1609516"/>
              <a:gd name="csY995" fmla="*/ 134701 h 1538630"/>
              <a:gd name="csX996" fmla="*/ 851325 w 1609516"/>
              <a:gd name="csY996" fmla="*/ 135968 h 1538630"/>
              <a:gd name="csX997" fmla="*/ 849886 w 1609516"/>
              <a:gd name="csY997" fmla="*/ 139843 h 1538630"/>
              <a:gd name="csX998" fmla="*/ 847786 w 1609516"/>
              <a:gd name="csY998" fmla="*/ 152889 h 1538630"/>
              <a:gd name="csX999" fmla="*/ 847767 w 1609516"/>
              <a:gd name="csY999" fmla="*/ 157768 h 1538630"/>
              <a:gd name="csX1000" fmla="*/ 847810 w 1609516"/>
              <a:gd name="csY1000" fmla="*/ 162919 h 1538630"/>
              <a:gd name="csX1001" fmla="*/ 847832 w 1609516"/>
              <a:gd name="csY1001" fmla="*/ 168227 h 1538630"/>
              <a:gd name="csX1002" fmla="*/ 850903 w 1609516"/>
              <a:gd name="csY1002" fmla="*/ 209013 h 1538630"/>
              <a:gd name="csX1003" fmla="*/ 852880 w 1609516"/>
              <a:gd name="csY1003" fmla="*/ 224692 h 1538630"/>
              <a:gd name="csX1004" fmla="*/ 854595 w 1609516"/>
              <a:gd name="csY1004" fmla="*/ 224692 h 1538630"/>
              <a:gd name="csX1005" fmla="*/ 856083 w 1609516"/>
              <a:gd name="csY1005" fmla="*/ 227268 h 1538630"/>
              <a:gd name="csX1006" fmla="*/ 879588 w 1609516"/>
              <a:gd name="csY1006" fmla="*/ 247239 h 1538630"/>
              <a:gd name="csX1007" fmla="*/ 885739 w 1609516"/>
              <a:gd name="csY1007" fmla="*/ 249618 h 1538630"/>
              <a:gd name="csX1008" fmla="*/ 890523 w 1609516"/>
              <a:gd name="csY1008" fmla="*/ 251467 h 1538630"/>
              <a:gd name="csX1009" fmla="*/ 890523 w 1609516"/>
              <a:gd name="csY1009" fmla="*/ 254285 h 1538630"/>
              <a:gd name="csX1010" fmla="*/ 920203 w 1609516"/>
              <a:gd name="csY1010" fmla="*/ 261332 h 1538630"/>
              <a:gd name="csX1011" fmla="*/ 920203 w 1609516"/>
              <a:gd name="csY1011" fmla="*/ 262741 h 1538630"/>
              <a:gd name="csX1012" fmla="*/ 910831 w 1609516"/>
              <a:gd name="csY1012" fmla="*/ 262741 h 1538630"/>
              <a:gd name="csX1013" fmla="*/ 910831 w 1609516"/>
              <a:gd name="csY1013" fmla="*/ 262864 h 1538630"/>
              <a:gd name="csX1014" fmla="*/ 927993 w 1609516"/>
              <a:gd name="csY1014" fmla="*/ 264177 h 1538630"/>
              <a:gd name="csX1015" fmla="*/ 939273 w 1609516"/>
              <a:gd name="csY1015" fmla="*/ 265285 h 1538630"/>
              <a:gd name="csX1016" fmla="*/ 940456 w 1609516"/>
              <a:gd name="csY1016" fmla="*/ 265191 h 1538630"/>
              <a:gd name="csX1017" fmla="*/ 991622 w 1609516"/>
              <a:gd name="csY1017" fmla="*/ 242329 h 1538630"/>
              <a:gd name="csX1018" fmla="*/ 1000803 w 1609516"/>
              <a:gd name="csY1018" fmla="*/ 236505 h 1538630"/>
              <a:gd name="csX1019" fmla="*/ 999806 w 1609516"/>
              <a:gd name="csY1019" fmla="*/ 236055 h 1538630"/>
              <a:gd name="csX1020" fmla="*/ 1003126 w 1609516"/>
              <a:gd name="csY1020" fmla="*/ 232851 h 1538630"/>
              <a:gd name="csX1021" fmla="*/ 1029487 w 1609516"/>
              <a:gd name="csY1021" fmla="*/ 205052 h 1538630"/>
              <a:gd name="csX1022" fmla="*/ 1029872 w 1609516"/>
              <a:gd name="csY1022" fmla="*/ 206442 h 1538630"/>
              <a:gd name="csX1023" fmla="*/ 1031614 w 1609516"/>
              <a:gd name="csY1023" fmla="*/ 203719 h 1538630"/>
              <a:gd name="csX1024" fmla="*/ 1038924 w 1609516"/>
              <a:gd name="csY1024" fmla="*/ 192280 h 1538630"/>
              <a:gd name="csX1025" fmla="*/ 1042049 w 1609516"/>
              <a:gd name="csY1025" fmla="*/ 190870 h 1538630"/>
              <a:gd name="csX1026" fmla="*/ 1044294 w 1609516"/>
              <a:gd name="csY1026" fmla="*/ 186026 h 1538630"/>
              <a:gd name="csX1027" fmla="*/ 1051422 w 1609516"/>
              <a:gd name="csY1027" fmla="*/ 178188 h 1538630"/>
              <a:gd name="csX1028" fmla="*/ 1052984 w 1609516"/>
              <a:gd name="csY1028" fmla="*/ 172551 h 1538630"/>
              <a:gd name="csX1029" fmla="*/ 1056108 w 1609516"/>
              <a:gd name="csY1029" fmla="*/ 172551 h 1538630"/>
              <a:gd name="csX1030" fmla="*/ 1059232 w 1609516"/>
              <a:gd name="csY1030" fmla="*/ 162686 h 1538630"/>
              <a:gd name="csX1031" fmla="*/ 1062357 w 1609516"/>
              <a:gd name="csY1031" fmla="*/ 162686 h 1538630"/>
              <a:gd name="csX1032" fmla="*/ 1063162 w 1609516"/>
              <a:gd name="csY1032" fmla="*/ 160258 h 1538630"/>
              <a:gd name="csX1033" fmla="*/ 1073292 w 1609516"/>
              <a:gd name="csY1033" fmla="*/ 140138 h 1538630"/>
              <a:gd name="csX1034" fmla="*/ 1076415 w 1609516"/>
              <a:gd name="csY1034" fmla="*/ 140138 h 1538630"/>
              <a:gd name="csX1035" fmla="*/ 1085294 w 1609516"/>
              <a:gd name="csY1035" fmla="*/ 117569 h 1538630"/>
              <a:gd name="csX1036" fmla="*/ 1087350 w 1609516"/>
              <a:gd name="csY1036" fmla="*/ 113363 h 1538630"/>
              <a:gd name="csX1037" fmla="*/ 1092037 w 1609516"/>
              <a:gd name="csY1037" fmla="*/ 111954 h 1538630"/>
              <a:gd name="csX1038" fmla="*/ 1092623 w 1609516"/>
              <a:gd name="csY1038" fmla="*/ 108695 h 1538630"/>
              <a:gd name="csX1039" fmla="*/ 1096723 w 1609516"/>
              <a:gd name="csY1039" fmla="*/ 100680 h 1538630"/>
              <a:gd name="csX1040" fmla="*/ 1098188 w 1609516"/>
              <a:gd name="csY1040" fmla="*/ 96013 h 1538630"/>
              <a:gd name="csX1041" fmla="*/ 1102288 w 1609516"/>
              <a:gd name="csY1041" fmla="*/ 87029 h 1538630"/>
              <a:gd name="csX1042" fmla="*/ 1104534 w 1609516"/>
              <a:gd name="csY1042" fmla="*/ 61222 h 1538630"/>
              <a:gd name="csX1043" fmla="*/ 1104381 w 1609516"/>
              <a:gd name="csY1043" fmla="*/ 55569 h 1538630"/>
              <a:gd name="csX1044" fmla="*/ 1104397 w 1609516"/>
              <a:gd name="csY1044" fmla="*/ 52335 h 1538630"/>
              <a:gd name="csX1045" fmla="*/ 1104436 w 1609516"/>
              <a:gd name="csY1045" fmla="*/ 48979 h 1538630"/>
              <a:gd name="csX1046" fmla="*/ 1104457 w 1609516"/>
              <a:gd name="csY1046" fmla="*/ 45575 h 1538630"/>
              <a:gd name="csX1047" fmla="*/ 1104534 w 1609516"/>
              <a:gd name="csY1047" fmla="*/ 37265 h 1538630"/>
              <a:gd name="csX1048" fmla="*/ 1107658 w 1609516"/>
              <a:gd name="csY1048" fmla="*/ 37265 h 1538630"/>
              <a:gd name="csX1049" fmla="*/ 1107463 w 1609516"/>
              <a:gd name="csY1049" fmla="*/ 31805 h 1538630"/>
              <a:gd name="csX1050" fmla="*/ 1107658 w 1609516"/>
              <a:gd name="csY1050" fmla="*/ 25991 h 1538630"/>
              <a:gd name="csX1051" fmla="*/ 1110782 w 1609516"/>
              <a:gd name="csY1051" fmla="*/ 23173 h 1538630"/>
              <a:gd name="csX1052" fmla="*/ 1111759 w 1609516"/>
              <a:gd name="csY1052" fmla="*/ 20091 h 1538630"/>
              <a:gd name="csX1053" fmla="*/ 1134507 w 1609516"/>
              <a:gd name="csY1053" fmla="*/ 2828 h 1538630"/>
              <a:gd name="csX1054" fmla="*/ 1155019 w 1609516"/>
              <a:gd name="csY1054" fmla="*/ 35 h 153863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  <a:cxn ang="0">
                <a:pos x="csX170" y="csY170"/>
              </a:cxn>
              <a:cxn ang="0">
                <a:pos x="csX171" y="csY171"/>
              </a:cxn>
              <a:cxn ang="0">
                <a:pos x="csX172" y="csY172"/>
              </a:cxn>
              <a:cxn ang="0">
                <a:pos x="csX173" y="csY173"/>
              </a:cxn>
              <a:cxn ang="0">
                <a:pos x="csX174" y="csY174"/>
              </a:cxn>
              <a:cxn ang="0">
                <a:pos x="csX175" y="csY175"/>
              </a:cxn>
              <a:cxn ang="0">
                <a:pos x="csX176" y="csY176"/>
              </a:cxn>
              <a:cxn ang="0">
                <a:pos x="csX177" y="csY177"/>
              </a:cxn>
              <a:cxn ang="0">
                <a:pos x="csX178" y="csY178"/>
              </a:cxn>
              <a:cxn ang="0">
                <a:pos x="csX179" y="csY179"/>
              </a:cxn>
              <a:cxn ang="0">
                <a:pos x="csX180" y="csY180"/>
              </a:cxn>
              <a:cxn ang="0">
                <a:pos x="csX181" y="csY181"/>
              </a:cxn>
              <a:cxn ang="0">
                <a:pos x="csX182" y="csY182"/>
              </a:cxn>
              <a:cxn ang="0">
                <a:pos x="csX183" y="csY183"/>
              </a:cxn>
              <a:cxn ang="0">
                <a:pos x="csX184" y="csY184"/>
              </a:cxn>
              <a:cxn ang="0">
                <a:pos x="csX185" y="csY185"/>
              </a:cxn>
              <a:cxn ang="0">
                <a:pos x="csX186" y="csY186"/>
              </a:cxn>
              <a:cxn ang="0">
                <a:pos x="csX187" y="csY187"/>
              </a:cxn>
              <a:cxn ang="0">
                <a:pos x="csX188" y="csY188"/>
              </a:cxn>
              <a:cxn ang="0">
                <a:pos x="csX189" y="csY189"/>
              </a:cxn>
              <a:cxn ang="0">
                <a:pos x="csX190" y="csY190"/>
              </a:cxn>
              <a:cxn ang="0">
                <a:pos x="csX191" y="csY191"/>
              </a:cxn>
              <a:cxn ang="0">
                <a:pos x="csX192" y="csY192"/>
              </a:cxn>
              <a:cxn ang="0">
                <a:pos x="csX193" y="csY193"/>
              </a:cxn>
              <a:cxn ang="0">
                <a:pos x="csX194" y="csY194"/>
              </a:cxn>
              <a:cxn ang="0">
                <a:pos x="csX195" y="csY195"/>
              </a:cxn>
              <a:cxn ang="0">
                <a:pos x="csX196" y="csY196"/>
              </a:cxn>
              <a:cxn ang="0">
                <a:pos x="csX197" y="csY197"/>
              </a:cxn>
              <a:cxn ang="0">
                <a:pos x="csX198" y="csY198"/>
              </a:cxn>
              <a:cxn ang="0">
                <a:pos x="csX199" y="csY199"/>
              </a:cxn>
              <a:cxn ang="0">
                <a:pos x="csX200" y="csY200"/>
              </a:cxn>
              <a:cxn ang="0">
                <a:pos x="csX201" y="csY201"/>
              </a:cxn>
              <a:cxn ang="0">
                <a:pos x="csX202" y="csY202"/>
              </a:cxn>
              <a:cxn ang="0">
                <a:pos x="csX203" y="csY203"/>
              </a:cxn>
              <a:cxn ang="0">
                <a:pos x="csX204" y="csY204"/>
              </a:cxn>
              <a:cxn ang="0">
                <a:pos x="csX205" y="csY205"/>
              </a:cxn>
              <a:cxn ang="0">
                <a:pos x="csX206" y="csY206"/>
              </a:cxn>
              <a:cxn ang="0">
                <a:pos x="csX207" y="csY207"/>
              </a:cxn>
              <a:cxn ang="0">
                <a:pos x="csX208" y="csY208"/>
              </a:cxn>
              <a:cxn ang="0">
                <a:pos x="csX209" y="csY209"/>
              </a:cxn>
              <a:cxn ang="0">
                <a:pos x="csX210" y="csY210"/>
              </a:cxn>
              <a:cxn ang="0">
                <a:pos x="csX211" y="csY211"/>
              </a:cxn>
              <a:cxn ang="0">
                <a:pos x="csX212" y="csY212"/>
              </a:cxn>
              <a:cxn ang="0">
                <a:pos x="csX213" y="csY213"/>
              </a:cxn>
              <a:cxn ang="0">
                <a:pos x="csX214" y="csY214"/>
              </a:cxn>
              <a:cxn ang="0">
                <a:pos x="csX215" y="csY215"/>
              </a:cxn>
              <a:cxn ang="0">
                <a:pos x="csX216" y="csY216"/>
              </a:cxn>
              <a:cxn ang="0">
                <a:pos x="csX217" y="csY217"/>
              </a:cxn>
              <a:cxn ang="0">
                <a:pos x="csX218" y="csY218"/>
              </a:cxn>
              <a:cxn ang="0">
                <a:pos x="csX219" y="csY219"/>
              </a:cxn>
              <a:cxn ang="0">
                <a:pos x="csX220" y="csY220"/>
              </a:cxn>
              <a:cxn ang="0">
                <a:pos x="csX221" y="csY221"/>
              </a:cxn>
              <a:cxn ang="0">
                <a:pos x="csX222" y="csY222"/>
              </a:cxn>
              <a:cxn ang="0">
                <a:pos x="csX223" y="csY223"/>
              </a:cxn>
              <a:cxn ang="0">
                <a:pos x="csX224" y="csY224"/>
              </a:cxn>
              <a:cxn ang="0">
                <a:pos x="csX225" y="csY225"/>
              </a:cxn>
              <a:cxn ang="0">
                <a:pos x="csX226" y="csY226"/>
              </a:cxn>
              <a:cxn ang="0">
                <a:pos x="csX227" y="csY227"/>
              </a:cxn>
              <a:cxn ang="0">
                <a:pos x="csX228" y="csY228"/>
              </a:cxn>
              <a:cxn ang="0">
                <a:pos x="csX229" y="csY229"/>
              </a:cxn>
              <a:cxn ang="0">
                <a:pos x="csX230" y="csY230"/>
              </a:cxn>
              <a:cxn ang="0">
                <a:pos x="csX231" y="csY231"/>
              </a:cxn>
              <a:cxn ang="0">
                <a:pos x="csX232" y="csY232"/>
              </a:cxn>
              <a:cxn ang="0">
                <a:pos x="csX233" y="csY233"/>
              </a:cxn>
              <a:cxn ang="0">
                <a:pos x="csX234" y="csY234"/>
              </a:cxn>
              <a:cxn ang="0">
                <a:pos x="csX235" y="csY235"/>
              </a:cxn>
              <a:cxn ang="0">
                <a:pos x="csX236" y="csY236"/>
              </a:cxn>
              <a:cxn ang="0">
                <a:pos x="csX237" y="csY237"/>
              </a:cxn>
              <a:cxn ang="0">
                <a:pos x="csX238" y="csY238"/>
              </a:cxn>
              <a:cxn ang="0">
                <a:pos x="csX239" y="csY239"/>
              </a:cxn>
              <a:cxn ang="0">
                <a:pos x="csX240" y="csY240"/>
              </a:cxn>
              <a:cxn ang="0">
                <a:pos x="csX241" y="csY241"/>
              </a:cxn>
              <a:cxn ang="0">
                <a:pos x="csX242" y="csY242"/>
              </a:cxn>
              <a:cxn ang="0">
                <a:pos x="csX243" y="csY243"/>
              </a:cxn>
              <a:cxn ang="0">
                <a:pos x="csX244" y="csY244"/>
              </a:cxn>
              <a:cxn ang="0">
                <a:pos x="csX245" y="csY245"/>
              </a:cxn>
              <a:cxn ang="0">
                <a:pos x="csX246" y="csY246"/>
              </a:cxn>
              <a:cxn ang="0">
                <a:pos x="csX247" y="csY247"/>
              </a:cxn>
              <a:cxn ang="0">
                <a:pos x="csX248" y="csY248"/>
              </a:cxn>
              <a:cxn ang="0">
                <a:pos x="csX249" y="csY249"/>
              </a:cxn>
              <a:cxn ang="0">
                <a:pos x="csX250" y="csY250"/>
              </a:cxn>
              <a:cxn ang="0">
                <a:pos x="csX251" y="csY251"/>
              </a:cxn>
              <a:cxn ang="0">
                <a:pos x="csX252" y="csY252"/>
              </a:cxn>
              <a:cxn ang="0">
                <a:pos x="csX253" y="csY253"/>
              </a:cxn>
              <a:cxn ang="0">
                <a:pos x="csX254" y="csY254"/>
              </a:cxn>
              <a:cxn ang="0">
                <a:pos x="csX255" y="csY255"/>
              </a:cxn>
              <a:cxn ang="0">
                <a:pos x="csX256" y="csY256"/>
              </a:cxn>
              <a:cxn ang="0">
                <a:pos x="csX257" y="csY257"/>
              </a:cxn>
              <a:cxn ang="0">
                <a:pos x="csX258" y="csY258"/>
              </a:cxn>
              <a:cxn ang="0">
                <a:pos x="csX259" y="csY259"/>
              </a:cxn>
              <a:cxn ang="0">
                <a:pos x="csX260" y="csY260"/>
              </a:cxn>
              <a:cxn ang="0">
                <a:pos x="csX261" y="csY261"/>
              </a:cxn>
              <a:cxn ang="0">
                <a:pos x="csX262" y="csY262"/>
              </a:cxn>
              <a:cxn ang="0">
                <a:pos x="csX263" y="csY263"/>
              </a:cxn>
              <a:cxn ang="0">
                <a:pos x="csX264" y="csY264"/>
              </a:cxn>
              <a:cxn ang="0">
                <a:pos x="csX265" y="csY265"/>
              </a:cxn>
              <a:cxn ang="0">
                <a:pos x="csX266" y="csY266"/>
              </a:cxn>
              <a:cxn ang="0">
                <a:pos x="csX267" y="csY267"/>
              </a:cxn>
              <a:cxn ang="0">
                <a:pos x="csX268" y="csY268"/>
              </a:cxn>
              <a:cxn ang="0">
                <a:pos x="csX269" y="csY269"/>
              </a:cxn>
              <a:cxn ang="0">
                <a:pos x="csX270" y="csY270"/>
              </a:cxn>
              <a:cxn ang="0">
                <a:pos x="csX271" y="csY271"/>
              </a:cxn>
              <a:cxn ang="0">
                <a:pos x="csX272" y="csY272"/>
              </a:cxn>
              <a:cxn ang="0">
                <a:pos x="csX273" y="csY273"/>
              </a:cxn>
              <a:cxn ang="0">
                <a:pos x="csX274" y="csY274"/>
              </a:cxn>
              <a:cxn ang="0">
                <a:pos x="csX275" y="csY275"/>
              </a:cxn>
              <a:cxn ang="0">
                <a:pos x="csX276" y="csY276"/>
              </a:cxn>
              <a:cxn ang="0">
                <a:pos x="csX277" y="csY277"/>
              </a:cxn>
              <a:cxn ang="0">
                <a:pos x="csX278" y="csY278"/>
              </a:cxn>
              <a:cxn ang="0">
                <a:pos x="csX279" y="csY279"/>
              </a:cxn>
              <a:cxn ang="0">
                <a:pos x="csX280" y="csY280"/>
              </a:cxn>
              <a:cxn ang="0">
                <a:pos x="csX281" y="csY281"/>
              </a:cxn>
              <a:cxn ang="0">
                <a:pos x="csX282" y="csY282"/>
              </a:cxn>
              <a:cxn ang="0">
                <a:pos x="csX283" y="csY283"/>
              </a:cxn>
              <a:cxn ang="0">
                <a:pos x="csX284" y="csY284"/>
              </a:cxn>
              <a:cxn ang="0">
                <a:pos x="csX285" y="csY285"/>
              </a:cxn>
              <a:cxn ang="0">
                <a:pos x="csX286" y="csY286"/>
              </a:cxn>
              <a:cxn ang="0">
                <a:pos x="csX287" y="csY287"/>
              </a:cxn>
              <a:cxn ang="0">
                <a:pos x="csX288" y="csY288"/>
              </a:cxn>
              <a:cxn ang="0">
                <a:pos x="csX289" y="csY289"/>
              </a:cxn>
              <a:cxn ang="0">
                <a:pos x="csX290" y="csY290"/>
              </a:cxn>
              <a:cxn ang="0">
                <a:pos x="csX291" y="csY291"/>
              </a:cxn>
              <a:cxn ang="0">
                <a:pos x="csX292" y="csY292"/>
              </a:cxn>
              <a:cxn ang="0">
                <a:pos x="csX293" y="csY293"/>
              </a:cxn>
              <a:cxn ang="0">
                <a:pos x="csX294" y="csY294"/>
              </a:cxn>
              <a:cxn ang="0">
                <a:pos x="csX295" y="csY295"/>
              </a:cxn>
              <a:cxn ang="0">
                <a:pos x="csX296" y="csY296"/>
              </a:cxn>
              <a:cxn ang="0">
                <a:pos x="csX297" y="csY297"/>
              </a:cxn>
              <a:cxn ang="0">
                <a:pos x="csX298" y="csY298"/>
              </a:cxn>
              <a:cxn ang="0">
                <a:pos x="csX299" y="csY299"/>
              </a:cxn>
              <a:cxn ang="0">
                <a:pos x="csX300" y="csY300"/>
              </a:cxn>
              <a:cxn ang="0">
                <a:pos x="csX301" y="csY301"/>
              </a:cxn>
              <a:cxn ang="0">
                <a:pos x="csX302" y="csY302"/>
              </a:cxn>
              <a:cxn ang="0">
                <a:pos x="csX303" y="csY303"/>
              </a:cxn>
              <a:cxn ang="0">
                <a:pos x="csX304" y="csY304"/>
              </a:cxn>
              <a:cxn ang="0">
                <a:pos x="csX305" y="csY305"/>
              </a:cxn>
              <a:cxn ang="0">
                <a:pos x="csX306" y="csY306"/>
              </a:cxn>
              <a:cxn ang="0">
                <a:pos x="csX307" y="csY307"/>
              </a:cxn>
              <a:cxn ang="0">
                <a:pos x="csX308" y="csY308"/>
              </a:cxn>
              <a:cxn ang="0">
                <a:pos x="csX309" y="csY309"/>
              </a:cxn>
              <a:cxn ang="0">
                <a:pos x="csX310" y="csY310"/>
              </a:cxn>
              <a:cxn ang="0">
                <a:pos x="csX311" y="csY311"/>
              </a:cxn>
              <a:cxn ang="0">
                <a:pos x="csX312" y="csY312"/>
              </a:cxn>
              <a:cxn ang="0">
                <a:pos x="csX313" y="csY313"/>
              </a:cxn>
              <a:cxn ang="0">
                <a:pos x="csX314" y="csY314"/>
              </a:cxn>
              <a:cxn ang="0">
                <a:pos x="csX315" y="csY315"/>
              </a:cxn>
              <a:cxn ang="0">
                <a:pos x="csX316" y="csY316"/>
              </a:cxn>
              <a:cxn ang="0">
                <a:pos x="csX317" y="csY317"/>
              </a:cxn>
              <a:cxn ang="0">
                <a:pos x="csX318" y="csY318"/>
              </a:cxn>
              <a:cxn ang="0">
                <a:pos x="csX319" y="csY319"/>
              </a:cxn>
              <a:cxn ang="0">
                <a:pos x="csX320" y="csY320"/>
              </a:cxn>
              <a:cxn ang="0">
                <a:pos x="csX321" y="csY321"/>
              </a:cxn>
              <a:cxn ang="0">
                <a:pos x="csX322" y="csY322"/>
              </a:cxn>
              <a:cxn ang="0">
                <a:pos x="csX323" y="csY323"/>
              </a:cxn>
              <a:cxn ang="0">
                <a:pos x="csX324" y="csY324"/>
              </a:cxn>
              <a:cxn ang="0">
                <a:pos x="csX325" y="csY325"/>
              </a:cxn>
              <a:cxn ang="0">
                <a:pos x="csX326" y="csY326"/>
              </a:cxn>
              <a:cxn ang="0">
                <a:pos x="csX327" y="csY327"/>
              </a:cxn>
              <a:cxn ang="0">
                <a:pos x="csX328" y="csY328"/>
              </a:cxn>
              <a:cxn ang="0">
                <a:pos x="csX329" y="csY329"/>
              </a:cxn>
              <a:cxn ang="0">
                <a:pos x="csX330" y="csY330"/>
              </a:cxn>
              <a:cxn ang="0">
                <a:pos x="csX331" y="csY331"/>
              </a:cxn>
              <a:cxn ang="0">
                <a:pos x="csX332" y="csY332"/>
              </a:cxn>
              <a:cxn ang="0">
                <a:pos x="csX333" y="csY333"/>
              </a:cxn>
              <a:cxn ang="0">
                <a:pos x="csX334" y="csY334"/>
              </a:cxn>
              <a:cxn ang="0">
                <a:pos x="csX335" y="csY335"/>
              </a:cxn>
              <a:cxn ang="0">
                <a:pos x="csX336" y="csY336"/>
              </a:cxn>
              <a:cxn ang="0">
                <a:pos x="csX337" y="csY337"/>
              </a:cxn>
              <a:cxn ang="0">
                <a:pos x="csX338" y="csY338"/>
              </a:cxn>
              <a:cxn ang="0">
                <a:pos x="csX339" y="csY339"/>
              </a:cxn>
              <a:cxn ang="0">
                <a:pos x="csX340" y="csY340"/>
              </a:cxn>
              <a:cxn ang="0">
                <a:pos x="csX341" y="csY341"/>
              </a:cxn>
              <a:cxn ang="0">
                <a:pos x="csX342" y="csY342"/>
              </a:cxn>
              <a:cxn ang="0">
                <a:pos x="csX343" y="csY343"/>
              </a:cxn>
              <a:cxn ang="0">
                <a:pos x="csX344" y="csY344"/>
              </a:cxn>
              <a:cxn ang="0">
                <a:pos x="csX345" y="csY345"/>
              </a:cxn>
              <a:cxn ang="0">
                <a:pos x="csX346" y="csY346"/>
              </a:cxn>
              <a:cxn ang="0">
                <a:pos x="csX347" y="csY347"/>
              </a:cxn>
              <a:cxn ang="0">
                <a:pos x="csX348" y="csY348"/>
              </a:cxn>
              <a:cxn ang="0">
                <a:pos x="csX349" y="csY349"/>
              </a:cxn>
              <a:cxn ang="0">
                <a:pos x="csX350" y="csY350"/>
              </a:cxn>
              <a:cxn ang="0">
                <a:pos x="csX351" y="csY351"/>
              </a:cxn>
              <a:cxn ang="0">
                <a:pos x="csX352" y="csY352"/>
              </a:cxn>
              <a:cxn ang="0">
                <a:pos x="csX353" y="csY353"/>
              </a:cxn>
              <a:cxn ang="0">
                <a:pos x="csX354" y="csY354"/>
              </a:cxn>
              <a:cxn ang="0">
                <a:pos x="csX355" y="csY355"/>
              </a:cxn>
              <a:cxn ang="0">
                <a:pos x="csX356" y="csY356"/>
              </a:cxn>
              <a:cxn ang="0">
                <a:pos x="csX357" y="csY357"/>
              </a:cxn>
              <a:cxn ang="0">
                <a:pos x="csX358" y="csY358"/>
              </a:cxn>
              <a:cxn ang="0">
                <a:pos x="csX359" y="csY359"/>
              </a:cxn>
              <a:cxn ang="0">
                <a:pos x="csX360" y="csY360"/>
              </a:cxn>
              <a:cxn ang="0">
                <a:pos x="csX361" y="csY361"/>
              </a:cxn>
              <a:cxn ang="0">
                <a:pos x="csX362" y="csY362"/>
              </a:cxn>
              <a:cxn ang="0">
                <a:pos x="csX363" y="csY363"/>
              </a:cxn>
              <a:cxn ang="0">
                <a:pos x="csX364" y="csY364"/>
              </a:cxn>
              <a:cxn ang="0">
                <a:pos x="csX365" y="csY365"/>
              </a:cxn>
              <a:cxn ang="0">
                <a:pos x="csX366" y="csY366"/>
              </a:cxn>
              <a:cxn ang="0">
                <a:pos x="csX367" y="csY367"/>
              </a:cxn>
              <a:cxn ang="0">
                <a:pos x="csX368" y="csY368"/>
              </a:cxn>
              <a:cxn ang="0">
                <a:pos x="csX369" y="csY369"/>
              </a:cxn>
              <a:cxn ang="0">
                <a:pos x="csX370" y="csY370"/>
              </a:cxn>
              <a:cxn ang="0">
                <a:pos x="csX371" y="csY371"/>
              </a:cxn>
              <a:cxn ang="0">
                <a:pos x="csX372" y="csY372"/>
              </a:cxn>
              <a:cxn ang="0">
                <a:pos x="csX373" y="csY373"/>
              </a:cxn>
              <a:cxn ang="0">
                <a:pos x="csX374" y="csY374"/>
              </a:cxn>
              <a:cxn ang="0">
                <a:pos x="csX375" y="csY375"/>
              </a:cxn>
              <a:cxn ang="0">
                <a:pos x="csX376" y="csY376"/>
              </a:cxn>
              <a:cxn ang="0">
                <a:pos x="csX377" y="csY377"/>
              </a:cxn>
              <a:cxn ang="0">
                <a:pos x="csX378" y="csY378"/>
              </a:cxn>
              <a:cxn ang="0">
                <a:pos x="csX379" y="csY379"/>
              </a:cxn>
              <a:cxn ang="0">
                <a:pos x="csX380" y="csY380"/>
              </a:cxn>
              <a:cxn ang="0">
                <a:pos x="csX381" y="csY381"/>
              </a:cxn>
              <a:cxn ang="0">
                <a:pos x="csX382" y="csY382"/>
              </a:cxn>
              <a:cxn ang="0">
                <a:pos x="csX383" y="csY383"/>
              </a:cxn>
              <a:cxn ang="0">
                <a:pos x="csX384" y="csY384"/>
              </a:cxn>
              <a:cxn ang="0">
                <a:pos x="csX385" y="csY385"/>
              </a:cxn>
              <a:cxn ang="0">
                <a:pos x="csX386" y="csY386"/>
              </a:cxn>
              <a:cxn ang="0">
                <a:pos x="csX387" y="csY387"/>
              </a:cxn>
              <a:cxn ang="0">
                <a:pos x="csX388" y="csY388"/>
              </a:cxn>
              <a:cxn ang="0">
                <a:pos x="csX389" y="csY389"/>
              </a:cxn>
              <a:cxn ang="0">
                <a:pos x="csX390" y="csY390"/>
              </a:cxn>
              <a:cxn ang="0">
                <a:pos x="csX391" y="csY391"/>
              </a:cxn>
              <a:cxn ang="0">
                <a:pos x="csX392" y="csY392"/>
              </a:cxn>
              <a:cxn ang="0">
                <a:pos x="csX393" y="csY393"/>
              </a:cxn>
              <a:cxn ang="0">
                <a:pos x="csX394" y="csY394"/>
              </a:cxn>
              <a:cxn ang="0">
                <a:pos x="csX395" y="csY395"/>
              </a:cxn>
              <a:cxn ang="0">
                <a:pos x="csX396" y="csY396"/>
              </a:cxn>
              <a:cxn ang="0">
                <a:pos x="csX397" y="csY397"/>
              </a:cxn>
              <a:cxn ang="0">
                <a:pos x="csX398" y="csY398"/>
              </a:cxn>
              <a:cxn ang="0">
                <a:pos x="csX399" y="csY399"/>
              </a:cxn>
              <a:cxn ang="0">
                <a:pos x="csX400" y="csY400"/>
              </a:cxn>
              <a:cxn ang="0">
                <a:pos x="csX401" y="csY401"/>
              </a:cxn>
              <a:cxn ang="0">
                <a:pos x="csX402" y="csY402"/>
              </a:cxn>
              <a:cxn ang="0">
                <a:pos x="csX403" y="csY403"/>
              </a:cxn>
              <a:cxn ang="0">
                <a:pos x="csX404" y="csY404"/>
              </a:cxn>
              <a:cxn ang="0">
                <a:pos x="csX405" y="csY405"/>
              </a:cxn>
              <a:cxn ang="0">
                <a:pos x="csX406" y="csY406"/>
              </a:cxn>
              <a:cxn ang="0">
                <a:pos x="csX407" y="csY407"/>
              </a:cxn>
              <a:cxn ang="0">
                <a:pos x="csX408" y="csY408"/>
              </a:cxn>
              <a:cxn ang="0">
                <a:pos x="csX409" y="csY409"/>
              </a:cxn>
              <a:cxn ang="0">
                <a:pos x="csX410" y="csY410"/>
              </a:cxn>
              <a:cxn ang="0">
                <a:pos x="csX411" y="csY411"/>
              </a:cxn>
              <a:cxn ang="0">
                <a:pos x="csX412" y="csY412"/>
              </a:cxn>
              <a:cxn ang="0">
                <a:pos x="csX413" y="csY413"/>
              </a:cxn>
              <a:cxn ang="0">
                <a:pos x="csX414" y="csY414"/>
              </a:cxn>
              <a:cxn ang="0">
                <a:pos x="csX415" y="csY415"/>
              </a:cxn>
              <a:cxn ang="0">
                <a:pos x="csX416" y="csY416"/>
              </a:cxn>
              <a:cxn ang="0">
                <a:pos x="csX417" y="csY417"/>
              </a:cxn>
              <a:cxn ang="0">
                <a:pos x="csX418" y="csY418"/>
              </a:cxn>
              <a:cxn ang="0">
                <a:pos x="csX419" y="csY419"/>
              </a:cxn>
              <a:cxn ang="0">
                <a:pos x="csX420" y="csY420"/>
              </a:cxn>
              <a:cxn ang="0">
                <a:pos x="csX421" y="csY421"/>
              </a:cxn>
              <a:cxn ang="0">
                <a:pos x="csX422" y="csY422"/>
              </a:cxn>
              <a:cxn ang="0">
                <a:pos x="csX423" y="csY423"/>
              </a:cxn>
              <a:cxn ang="0">
                <a:pos x="csX424" y="csY424"/>
              </a:cxn>
              <a:cxn ang="0">
                <a:pos x="csX425" y="csY425"/>
              </a:cxn>
              <a:cxn ang="0">
                <a:pos x="csX426" y="csY426"/>
              </a:cxn>
              <a:cxn ang="0">
                <a:pos x="csX427" y="csY427"/>
              </a:cxn>
              <a:cxn ang="0">
                <a:pos x="csX428" y="csY428"/>
              </a:cxn>
              <a:cxn ang="0">
                <a:pos x="csX429" y="csY429"/>
              </a:cxn>
              <a:cxn ang="0">
                <a:pos x="csX430" y="csY430"/>
              </a:cxn>
              <a:cxn ang="0">
                <a:pos x="csX431" y="csY431"/>
              </a:cxn>
              <a:cxn ang="0">
                <a:pos x="csX432" y="csY432"/>
              </a:cxn>
              <a:cxn ang="0">
                <a:pos x="csX433" y="csY433"/>
              </a:cxn>
              <a:cxn ang="0">
                <a:pos x="csX434" y="csY434"/>
              </a:cxn>
              <a:cxn ang="0">
                <a:pos x="csX435" y="csY435"/>
              </a:cxn>
              <a:cxn ang="0">
                <a:pos x="csX436" y="csY436"/>
              </a:cxn>
              <a:cxn ang="0">
                <a:pos x="csX437" y="csY437"/>
              </a:cxn>
              <a:cxn ang="0">
                <a:pos x="csX438" y="csY438"/>
              </a:cxn>
              <a:cxn ang="0">
                <a:pos x="csX439" y="csY439"/>
              </a:cxn>
              <a:cxn ang="0">
                <a:pos x="csX440" y="csY440"/>
              </a:cxn>
              <a:cxn ang="0">
                <a:pos x="csX441" y="csY441"/>
              </a:cxn>
              <a:cxn ang="0">
                <a:pos x="csX442" y="csY442"/>
              </a:cxn>
              <a:cxn ang="0">
                <a:pos x="csX443" y="csY443"/>
              </a:cxn>
              <a:cxn ang="0">
                <a:pos x="csX444" y="csY444"/>
              </a:cxn>
              <a:cxn ang="0">
                <a:pos x="csX445" y="csY445"/>
              </a:cxn>
              <a:cxn ang="0">
                <a:pos x="csX446" y="csY446"/>
              </a:cxn>
              <a:cxn ang="0">
                <a:pos x="csX447" y="csY447"/>
              </a:cxn>
              <a:cxn ang="0">
                <a:pos x="csX448" y="csY448"/>
              </a:cxn>
              <a:cxn ang="0">
                <a:pos x="csX449" y="csY449"/>
              </a:cxn>
              <a:cxn ang="0">
                <a:pos x="csX450" y="csY450"/>
              </a:cxn>
              <a:cxn ang="0">
                <a:pos x="csX451" y="csY451"/>
              </a:cxn>
              <a:cxn ang="0">
                <a:pos x="csX452" y="csY452"/>
              </a:cxn>
              <a:cxn ang="0">
                <a:pos x="csX453" y="csY453"/>
              </a:cxn>
              <a:cxn ang="0">
                <a:pos x="csX454" y="csY454"/>
              </a:cxn>
              <a:cxn ang="0">
                <a:pos x="csX455" y="csY455"/>
              </a:cxn>
              <a:cxn ang="0">
                <a:pos x="csX456" y="csY456"/>
              </a:cxn>
              <a:cxn ang="0">
                <a:pos x="csX457" y="csY457"/>
              </a:cxn>
              <a:cxn ang="0">
                <a:pos x="csX458" y="csY458"/>
              </a:cxn>
              <a:cxn ang="0">
                <a:pos x="csX459" y="csY459"/>
              </a:cxn>
              <a:cxn ang="0">
                <a:pos x="csX460" y="csY460"/>
              </a:cxn>
              <a:cxn ang="0">
                <a:pos x="csX461" y="csY461"/>
              </a:cxn>
              <a:cxn ang="0">
                <a:pos x="csX462" y="csY462"/>
              </a:cxn>
              <a:cxn ang="0">
                <a:pos x="csX463" y="csY463"/>
              </a:cxn>
              <a:cxn ang="0">
                <a:pos x="csX464" y="csY464"/>
              </a:cxn>
              <a:cxn ang="0">
                <a:pos x="csX465" y="csY465"/>
              </a:cxn>
              <a:cxn ang="0">
                <a:pos x="csX466" y="csY466"/>
              </a:cxn>
              <a:cxn ang="0">
                <a:pos x="csX467" y="csY467"/>
              </a:cxn>
              <a:cxn ang="0">
                <a:pos x="csX468" y="csY468"/>
              </a:cxn>
              <a:cxn ang="0">
                <a:pos x="csX469" y="csY469"/>
              </a:cxn>
              <a:cxn ang="0">
                <a:pos x="csX470" y="csY470"/>
              </a:cxn>
              <a:cxn ang="0">
                <a:pos x="csX471" y="csY471"/>
              </a:cxn>
              <a:cxn ang="0">
                <a:pos x="csX472" y="csY472"/>
              </a:cxn>
              <a:cxn ang="0">
                <a:pos x="csX473" y="csY473"/>
              </a:cxn>
              <a:cxn ang="0">
                <a:pos x="csX474" y="csY474"/>
              </a:cxn>
              <a:cxn ang="0">
                <a:pos x="csX475" y="csY475"/>
              </a:cxn>
              <a:cxn ang="0">
                <a:pos x="csX476" y="csY476"/>
              </a:cxn>
              <a:cxn ang="0">
                <a:pos x="csX477" y="csY477"/>
              </a:cxn>
              <a:cxn ang="0">
                <a:pos x="csX478" y="csY478"/>
              </a:cxn>
              <a:cxn ang="0">
                <a:pos x="csX479" y="csY479"/>
              </a:cxn>
              <a:cxn ang="0">
                <a:pos x="csX480" y="csY480"/>
              </a:cxn>
              <a:cxn ang="0">
                <a:pos x="csX481" y="csY481"/>
              </a:cxn>
              <a:cxn ang="0">
                <a:pos x="csX482" y="csY482"/>
              </a:cxn>
              <a:cxn ang="0">
                <a:pos x="csX483" y="csY483"/>
              </a:cxn>
              <a:cxn ang="0">
                <a:pos x="csX484" y="csY484"/>
              </a:cxn>
              <a:cxn ang="0">
                <a:pos x="csX485" y="csY485"/>
              </a:cxn>
              <a:cxn ang="0">
                <a:pos x="csX486" y="csY486"/>
              </a:cxn>
              <a:cxn ang="0">
                <a:pos x="csX487" y="csY487"/>
              </a:cxn>
              <a:cxn ang="0">
                <a:pos x="csX488" y="csY488"/>
              </a:cxn>
              <a:cxn ang="0">
                <a:pos x="csX489" y="csY489"/>
              </a:cxn>
              <a:cxn ang="0">
                <a:pos x="csX490" y="csY490"/>
              </a:cxn>
              <a:cxn ang="0">
                <a:pos x="csX491" y="csY491"/>
              </a:cxn>
              <a:cxn ang="0">
                <a:pos x="csX492" y="csY492"/>
              </a:cxn>
              <a:cxn ang="0">
                <a:pos x="csX493" y="csY493"/>
              </a:cxn>
              <a:cxn ang="0">
                <a:pos x="csX494" y="csY494"/>
              </a:cxn>
              <a:cxn ang="0">
                <a:pos x="csX495" y="csY495"/>
              </a:cxn>
              <a:cxn ang="0">
                <a:pos x="csX496" y="csY496"/>
              </a:cxn>
              <a:cxn ang="0">
                <a:pos x="csX497" y="csY497"/>
              </a:cxn>
              <a:cxn ang="0">
                <a:pos x="csX498" y="csY498"/>
              </a:cxn>
              <a:cxn ang="0">
                <a:pos x="csX499" y="csY499"/>
              </a:cxn>
              <a:cxn ang="0">
                <a:pos x="csX500" y="csY500"/>
              </a:cxn>
              <a:cxn ang="0">
                <a:pos x="csX501" y="csY501"/>
              </a:cxn>
              <a:cxn ang="0">
                <a:pos x="csX502" y="csY502"/>
              </a:cxn>
              <a:cxn ang="0">
                <a:pos x="csX503" y="csY503"/>
              </a:cxn>
              <a:cxn ang="0">
                <a:pos x="csX504" y="csY504"/>
              </a:cxn>
              <a:cxn ang="0">
                <a:pos x="csX505" y="csY505"/>
              </a:cxn>
              <a:cxn ang="0">
                <a:pos x="csX506" y="csY506"/>
              </a:cxn>
              <a:cxn ang="0">
                <a:pos x="csX507" y="csY507"/>
              </a:cxn>
              <a:cxn ang="0">
                <a:pos x="csX508" y="csY508"/>
              </a:cxn>
              <a:cxn ang="0">
                <a:pos x="csX509" y="csY509"/>
              </a:cxn>
              <a:cxn ang="0">
                <a:pos x="csX510" y="csY510"/>
              </a:cxn>
              <a:cxn ang="0">
                <a:pos x="csX511" y="csY511"/>
              </a:cxn>
              <a:cxn ang="0">
                <a:pos x="csX512" y="csY512"/>
              </a:cxn>
              <a:cxn ang="0">
                <a:pos x="csX513" y="csY513"/>
              </a:cxn>
              <a:cxn ang="0">
                <a:pos x="csX514" y="csY514"/>
              </a:cxn>
              <a:cxn ang="0">
                <a:pos x="csX515" y="csY515"/>
              </a:cxn>
              <a:cxn ang="0">
                <a:pos x="csX516" y="csY516"/>
              </a:cxn>
              <a:cxn ang="0">
                <a:pos x="csX517" y="csY517"/>
              </a:cxn>
              <a:cxn ang="0">
                <a:pos x="csX518" y="csY518"/>
              </a:cxn>
              <a:cxn ang="0">
                <a:pos x="csX519" y="csY519"/>
              </a:cxn>
              <a:cxn ang="0">
                <a:pos x="csX520" y="csY520"/>
              </a:cxn>
              <a:cxn ang="0">
                <a:pos x="csX521" y="csY521"/>
              </a:cxn>
              <a:cxn ang="0">
                <a:pos x="csX522" y="csY522"/>
              </a:cxn>
              <a:cxn ang="0">
                <a:pos x="csX523" y="csY523"/>
              </a:cxn>
              <a:cxn ang="0">
                <a:pos x="csX524" y="csY524"/>
              </a:cxn>
              <a:cxn ang="0">
                <a:pos x="csX525" y="csY525"/>
              </a:cxn>
              <a:cxn ang="0">
                <a:pos x="csX526" y="csY526"/>
              </a:cxn>
              <a:cxn ang="0">
                <a:pos x="csX527" y="csY527"/>
              </a:cxn>
              <a:cxn ang="0">
                <a:pos x="csX528" y="csY528"/>
              </a:cxn>
              <a:cxn ang="0">
                <a:pos x="csX529" y="csY529"/>
              </a:cxn>
              <a:cxn ang="0">
                <a:pos x="csX530" y="csY530"/>
              </a:cxn>
              <a:cxn ang="0">
                <a:pos x="csX531" y="csY531"/>
              </a:cxn>
              <a:cxn ang="0">
                <a:pos x="csX532" y="csY532"/>
              </a:cxn>
              <a:cxn ang="0">
                <a:pos x="csX533" y="csY533"/>
              </a:cxn>
              <a:cxn ang="0">
                <a:pos x="csX534" y="csY534"/>
              </a:cxn>
              <a:cxn ang="0">
                <a:pos x="csX535" y="csY535"/>
              </a:cxn>
              <a:cxn ang="0">
                <a:pos x="csX536" y="csY536"/>
              </a:cxn>
              <a:cxn ang="0">
                <a:pos x="csX537" y="csY537"/>
              </a:cxn>
              <a:cxn ang="0">
                <a:pos x="csX538" y="csY538"/>
              </a:cxn>
              <a:cxn ang="0">
                <a:pos x="csX539" y="csY539"/>
              </a:cxn>
              <a:cxn ang="0">
                <a:pos x="csX540" y="csY540"/>
              </a:cxn>
              <a:cxn ang="0">
                <a:pos x="csX541" y="csY541"/>
              </a:cxn>
              <a:cxn ang="0">
                <a:pos x="csX542" y="csY542"/>
              </a:cxn>
              <a:cxn ang="0">
                <a:pos x="csX543" y="csY543"/>
              </a:cxn>
              <a:cxn ang="0">
                <a:pos x="csX544" y="csY544"/>
              </a:cxn>
              <a:cxn ang="0">
                <a:pos x="csX545" y="csY545"/>
              </a:cxn>
              <a:cxn ang="0">
                <a:pos x="csX546" y="csY546"/>
              </a:cxn>
              <a:cxn ang="0">
                <a:pos x="csX547" y="csY547"/>
              </a:cxn>
              <a:cxn ang="0">
                <a:pos x="csX548" y="csY548"/>
              </a:cxn>
              <a:cxn ang="0">
                <a:pos x="csX549" y="csY549"/>
              </a:cxn>
              <a:cxn ang="0">
                <a:pos x="csX550" y="csY550"/>
              </a:cxn>
              <a:cxn ang="0">
                <a:pos x="csX551" y="csY551"/>
              </a:cxn>
              <a:cxn ang="0">
                <a:pos x="csX552" y="csY552"/>
              </a:cxn>
              <a:cxn ang="0">
                <a:pos x="csX553" y="csY553"/>
              </a:cxn>
              <a:cxn ang="0">
                <a:pos x="csX554" y="csY554"/>
              </a:cxn>
              <a:cxn ang="0">
                <a:pos x="csX555" y="csY555"/>
              </a:cxn>
              <a:cxn ang="0">
                <a:pos x="csX556" y="csY556"/>
              </a:cxn>
              <a:cxn ang="0">
                <a:pos x="csX557" y="csY557"/>
              </a:cxn>
              <a:cxn ang="0">
                <a:pos x="csX558" y="csY558"/>
              </a:cxn>
              <a:cxn ang="0">
                <a:pos x="csX559" y="csY559"/>
              </a:cxn>
              <a:cxn ang="0">
                <a:pos x="csX560" y="csY560"/>
              </a:cxn>
              <a:cxn ang="0">
                <a:pos x="csX561" y="csY561"/>
              </a:cxn>
              <a:cxn ang="0">
                <a:pos x="csX562" y="csY562"/>
              </a:cxn>
              <a:cxn ang="0">
                <a:pos x="csX563" y="csY563"/>
              </a:cxn>
              <a:cxn ang="0">
                <a:pos x="csX564" y="csY564"/>
              </a:cxn>
              <a:cxn ang="0">
                <a:pos x="csX565" y="csY565"/>
              </a:cxn>
              <a:cxn ang="0">
                <a:pos x="csX566" y="csY566"/>
              </a:cxn>
              <a:cxn ang="0">
                <a:pos x="csX567" y="csY567"/>
              </a:cxn>
              <a:cxn ang="0">
                <a:pos x="csX568" y="csY568"/>
              </a:cxn>
              <a:cxn ang="0">
                <a:pos x="csX569" y="csY569"/>
              </a:cxn>
              <a:cxn ang="0">
                <a:pos x="csX570" y="csY570"/>
              </a:cxn>
              <a:cxn ang="0">
                <a:pos x="csX571" y="csY571"/>
              </a:cxn>
              <a:cxn ang="0">
                <a:pos x="csX572" y="csY572"/>
              </a:cxn>
              <a:cxn ang="0">
                <a:pos x="csX573" y="csY573"/>
              </a:cxn>
              <a:cxn ang="0">
                <a:pos x="csX574" y="csY574"/>
              </a:cxn>
              <a:cxn ang="0">
                <a:pos x="csX575" y="csY575"/>
              </a:cxn>
              <a:cxn ang="0">
                <a:pos x="csX576" y="csY576"/>
              </a:cxn>
              <a:cxn ang="0">
                <a:pos x="csX577" y="csY577"/>
              </a:cxn>
              <a:cxn ang="0">
                <a:pos x="csX578" y="csY578"/>
              </a:cxn>
              <a:cxn ang="0">
                <a:pos x="csX579" y="csY579"/>
              </a:cxn>
              <a:cxn ang="0">
                <a:pos x="csX580" y="csY580"/>
              </a:cxn>
              <a:cxn ang="0">
                <a:pos x="csX581" y="csY581"/>
              </a:cxn>
              <a:cxn ang="0">
                <a:pos x="csX582" y="csY582"/>
              </a:cxn>
              <a:cxn ang="0">
                <a:pos x="csX583" y="csY583"/>
              </a:cxn>
              <a:cxn ang="0">
                <a:pos x="csX584" y="csY584"/>
              </a:cxn>
              <a:cxn ang="0">
                <a:pos x="csX585" y="csY585"/>
              </a:cxn>
              <a:cxn ang="0">
                <a:pos x="csX586" y="csY586"/>
              </a:cxn>
              <a:cxn ang="0">
                <a:pos x="csX587" y="csY587"/>
              </a:cxn>
              <a:cxn ang="0">
                <a:pos x="csX588" y="csY588"/>
              </a:cxn>
              <a:cxn ang="0">
                <a:pos x="csX589" y="csY589"/>
              </a:cxn>
              <a:cxn ang="0">
                <a:pos x="csX590" y="csY590"/>
              </a:cxn>
              <a:cxn ang="0">
                <a:pos x="csX591" y="csY591"/>
              </a:cxn>
              <a:cxn ang="0">
                <a:pos x="csX592" y="csY592"/>
              </a:cxn>
              <a:cxn ang="0">
                <a:pos x="csX593" y="csY593"/>
              </a:cxn>
              <a:cxn ang="0">
                <a:pos x="csX594" y="csY594"/>
              </a:cxn>
              <a:cxn ang="0">
                <a:pos x="csX595" y="csY595"/>
              </a:cxn>
              <a:cxn ang="0">
                <a:pos x="csX596" y="csY596"/>
              </a:cxn>
              <a:cxn ang="0">
                <a:pos x="csX597" y="csY597"/>
              </a:cxn>
              <a:cxn ang="0">
                <a:pos x="csX598" y="csY598"/>
              </a:cxn>
              <a:cxn ang="0">
                <a:pos x="csX599" y="csY599"/>
              </a:cxn>
              <a:cxn ang="0">
                <a:pos x="csX600" y="csY600"/>
              </a:cxn>
              <a:cxn ang="0">
                <a:pos x="csX601" y="csY601"/>
              </a:cxn>
              <a:cxn ang="0">
                <a:pos x="csX602" y="csY602"/>
              </a:cxn>
              <a:cxn ang="0">
                <a:pos x="csX603" y="csY603"/>
              </a:cxn>
              <a:cxn ang="0">
                <a:pos x="csX604" y="csY604"/>
              </a:cxn>
              <a:cxn ang="0">
                <a:pos x="csX605" y="csY605"/>
              </a:cxn>
              <a:cxn ang="0">
                <a:pos x="csX606" y="csY606"/>
              </a:cxn>
              <a:cxn ang="0">
                <a:pos x="csX607" y="csY607"/>
              </a:cxn>
              <a:cxn ang="0">
                <a:pos x="csX608" y="csY608"/>
              </a:cxn>
              <a:cxn ang="0">
                <a:pos x="csX609" y="csY609"/>
              </a:cxn>
              <a:cxn ang="0">
                <a:pos x="csX610" y="csY610"/>
              </a:cxn>
              <a:cxn ang="0">
                <a:pos x="csX611" y="csY611"/>
              </a:cxn>
              <a:cxn ang="0">
                <a:pos x="csX612" y="csY612"/>
              </a:cxn>
              <a:cxn ang="0">
                <a:pos x="csX613" y="csY613"/>
              </a:cxn>
              <a:cxn ang="0">
                <a:pos x="csX614" y="csY614"/>
              </a:cxn>
              <a:cxn ang="0">
                <a:pos x="csX615" y="csY615"/>
              </a:cxn>
              <a:cxn ang="0">
                <a:pos x="csX616" y="csY616"/>
              </a:cxn>
              <a:cxn ang="0">
                <a:pos x="csX617" y="csY617"/>
              </a:cxn>
              <a:cxn ang="0">
                <a:pos x="csX618" y="csY618"/>
              </a:cxn>
              <a:cxn ang="0">
                <a:pos x="csX619" y="csY619"/>
              </a:cxn>
              <a:cxn ang="0">
                <a:pos x="csX620" y="csY620"/>
              </a:cxn>
              <a:cxn ang="0">
                <a:pos x="csX621" y="csY621"/>
              </a:cxn>
              <a:cxn ang="0">
                <a:pos x="csX622" y="csY622"/>
              </a:cxn>
              <a:cxn ang="0">
                <a:pos x="csX623" y="csY623"/>
              </a:cxn>
              <a:cxn ang="0">
                <a:pos x="csX624" y="csY624"/>
              </a:cxn>
              <a:cxn ang="0">
                <a:pos x="csX625" y="csY625"/>
              </a:cxn>
              <a:cxn ang="0">
                <a:pos x="csX626" y="csY626"/>
              </a:cxn>
              <a:cxn ang="0">
                <a:pos x="csX627" y="csY627"/>
              </a:cxn>
              <a:cxn ang="0">
                <a:pos x="csX628" y="csY628"/>
              </a:cxn>
              <a:cxn ang="0">
                <a:pos x="csX629" y="csY629"/>
              </a:cxn>
              <a:cxn ang="0">
                <a:pos x="csX630" y="csY630"/>
              </a:cxn>
              <a:cxn ang="0">
                <a:pos x="csX631" y="csY631"/>
              </a:cxn>
              <a:cxn ang="0">
                <a:pos x="csX632" y="csY632"/>
              </a:cxn>
              <a:cxn ang="0">
                <a:pos x="csX633" y="csY633"/>
              </a:cxn>
              <a:cxn ang="0">
                <a:pos x="csX634" y="csY634"/>
              </a:cxn>
              <a:cxn ang="0">
                <a:pos x="csX635" y="csY635"/>
              </a:cxn>
              <a:cxn ang="0">
                <a:pos x="csX636" y="csY636"/>
              </a:cxn>
              <a:cxn ang="0">
                <a:pos x="csX637" y="csY637"/>
              </a:cxn>
              <a:cxn ang="0">
                <a:pos x="csX638" y="csY638"/>
              </a:cxn>
              <a:cxn ang="0">
                <a:pos x="csX639" y="csY639"/>
              </a:cxn>
              <a:cxn ang="0">
                <a:pos x="csX640" y="csY640"/>
              </a:cxn>
              <a:cxn ang="0">
                <a:pos x="csX641" y="csY641"/>
              </a:cxn>
              <a:cxn ang="0">
                <a:pos x="csX642" y="csY642"/>
              </a:cxn>
              <a:cxn ang="0">
                <a:pos x="csX643" y="csY643"/>
              </a:cxn>
              <a:cxn ang="0">
                <a:pos x="csX644" y="csY644"/>
              </a:cxn>
              <a:cxn ang="0">
                <a:pos x="csX645" y="csY645"/>
              </a:cxn>
              <a:cxn ang="0">
                <a:pos x="csX646" y="csY646"/>
              </a:cxn>
              <a:cxn ang="0">
                <a:pos x="csX647" y="csY647"/>
              </a:cxn>
              <a:cxn ang="0">
                <a:pos x="csX648" y="csY648"/>
              </a:cxn>
              <a:cxn ang="0">
                <a:pos x="csX649" y="csY649"/>
              </a:cxn>
              <a:cxn ang="0">
                <a:pos x="csX650" y="csY650"/>
              </a:cxn>
              <a:cxn ang="0">
                <a:pos x="csX651" y="csY651"/>
              </a:cxn>
              <a:cxn ang="0">
                <a:pos x="csX652" y="csY652"/>
              </a:cxn>
              <a:cxn ang="0">
                <a:pos x="csX653" y="csY653"/>
              </a:cxn>
              <a:cxn ang="0">
                <a:pos x="csX654" y="csY654"/>
              </a:cxn>
              <a:cxn ang="0">
                <a:pos x="csX655" y="csY655"/>
              </a:cxn>
              <a:cxn ang="0">
                <a:pos x="csX656" y="csY656"/>
              </a:cxn>
              <a:cxn ang="0">
                <a:pos x="csX657" y="csY657"/>
              </a:cxn>
              <a:cxn ang="0">
                <a:pos x="csX658" y="csY658"/>
              </a:cxn>
              <a:cxn ang="0">
                <a:pos x="csX659" y="csY659"/>
              </a:cxn>
              <a:cxn ang="0">
                <a:pos x="csX660" y="csY660"/>
              </a:cxn>
              <a:cxn ang="0">
                <a:pos x="csX661" y="csY661"/>
              </a:cxn>
              <a:cxn ang="0">
                <a:pos x="csX662" y="csY662"/>
              </a:cxn>
              <a:cxn ang="0">
                <a:pos x="csX663" y="csY663"/>
              </a:cxn>
              <a:cxn ang="0">
                <a:pos x="csX664" y="csY664"/>
              </a:cxn>
              <a:cxn ang="0">
                <a:pos x="csX665" y="csY665"/>
              </a:cxn>
              <a:cxn ang="0">
                <a:pos x="csX666" y="csY666"/>
              </a:cxn>
              <a:cxn ang="0">
                <a:pos x="csX667" y="csY667"/>
              </a:cxn>
              <a:cxn ang="0">
                <a:pos x="csX668" y="csY668"/>
              </a:cxn>
              <a:cxn ang="0">
                <a:pos x="csX669" y="csY669"/>
              </a:cxn>
              <a:cxn ang="0">
                <a:pos x="csX670" y="csY670"/>
              </a:cxn>
              <a:cxn ang="0">
                <a:pos x="csX671" y="csY671"/>
              </a:cxn>
              <a:cxn ang="0">
                <a:pos x="csX672" y="csY672"/>
              </a:cxn>
              <a:cxn ang="0">
                <a:pos x="csX673" y="csY673"/>
              </a:cxn>
              <a:cxn ang="0">
                <a:pos x="csX674" y="csY674"/>
              </a:cxn>
              <a:cxn ang="0">
                <a:pos x="csX675" y="csY675"/>
              </a:cxn>
              <a:cxn ang="0">
                <a:pos x="csX676" y="csY676"/>
              </a:cxn>
              <a:cxn ang="0">
                <a:pos x="csX677" y="csY677"/>
              </a:cxn>
              <a:cxn ang="0">
                <a:pos x="csX678" y="csY678"/>
              </a:cxn>
              <a:cxn ang="0">
                <a:pos x="csX679" y="csY679"/>
              </a:cxn>
              <a:cxn ang="0">
                <a:pos x="csX680" y="csY680"/>
              </a:cxn>
              <a:cxn ang="0">
                <a:pos x="csX681" y="csY681"/>
              </a:cxn>
              <a:cxn ang="0">
                <a:pos x="csX682" y="csY682"/>
              </a:cxn>
              <a:cxn ang="0">
                <a:pos x="csX683" y="csY683"/>
              </a:cxn>
              <a:cxn ang="0">
                <a:pos x="csX684" y="csY684"/>
              </a:cxn>
              <a:cxn ang="0">
                <a:pos x="csX685" y="csY685"/>
              </a:cxn>
              <a:cxn ang="0">
                <a:pos x="csX686" y="csY686"/>
              </a:cxn>
              <a:cxn ang="0">
                <a:pos x="csX687" y="csY687"/>
              </a:cxn>
              <a:cxn ang="0">
                <a:pos x="csX688" y="csY688"/>
              </a:cxn>
              <a:cxn ang="0">
                <a:pos x="csX689" y="csY689"/>
              </a:cxn>
              <a:cxn ang="0">
                <a:pos x="csX690" y="csY690"/>
              </a:cxn>
              <a:cxn ang="0">
                <a:pos x="csX691" y="csY691"/>
              </a:cxn>
              <a:cxn ang="0">
                <a:pos x="csX692" y="csY692"/>
              </a:cxn>
              <a:cxn ang="0">
                <a:pos x="csX693" y="csY693"/>
              </a:cxn>
              <a:cxn ang="0">
                <a:pos x="csX694" y="csY694"/>
              </a:cxn>
              <a:cxn ang="0">
                <a:pos x="csX695" y="csY695"/>
              </a:cxn>
              <a:cxn ang="0">
                <a:pos x="csX696" y="csY696"/>
              </a:cxn>
              <a:cxn ang="0">
                <a:pos x="csX697" y="csY697"/>
              </a:cxn>
              <a:cxn ang="0">
                <a:pos x="csX698" y="csY698"/>
              </a:cxn>
              <a:cxn ang="0">
                <a:pos x="csX699" y="csY699"/>
              </a:cxn>
              <a:cxn ang="0">
                <a:pos x="csX700" y="csY700"/>
              </a:cxn>
              <a:cxn ang="0">
                <a:pos x="csX701" y="csY701"/>
              </a:cxn>
              <a:cxn ang="0">
                <a:pos x="csX702" y="csY702"/>
              </a:cxn>
              <a:cxn ang="0">
                <a:pos x="csX703" y="csY703"/>
              </a:cxn>
              <a:cxn ang="0">
                <a:pos x="csX704" y="csY704"/>
              </a:cxn>
              <a:cxn ang="0">
                <a:pos x="csX705" y="csY705"/>
              </a:cxn>
              <a:cxn ang="0">
                <a:pos x="csX706" y="csY706"/>
              </a:cxn>
              <a:cxn ang="0">
                <a:pos x="csX707" y="csY707"/>
              </a:cxn>
              <a:cxn ang="0">
                <a:pos x="csX708" y="csY708"/>
              </a:cxn>
              <a:cxn ang="0">
                <a:pos x="csX709" y="csY709"/>
              </a:cxn>
              <a:cxn ang="0">
                <a:pos x="csX710" y="csY710"/>
              </a:cxn>
              <a:cxn ang="0">
                <a:pos x="csX711" y="csY711"/>
              </a:cxn>
              <a:cxn ang="0">
                <a:pos x="csX712" y="csY712"/>
              </a:cxn>
              <a:cxn ang="0">
                <a:pos x="csX713" y="csY713"/>
              </a:cxn>
              <a:cxn ang="0">
                <a:pos x="csX714" y="csY714"/>
              </a:cxn>
              <a:cxn ang="0">
                <a:pos x="csX715" y="csY715"/>
              </a:cxn>
              <a:cxn ang="0">
                <a:pos x="csX716" y="csY716"/>
              </a:cxn>
              <a:cxn ang="0">
                <a:pos x="csX717" y="csY717"/>
              </a:cxn>
              <a:cxn ang="0">
                <a:pos x="csX718" y="csY718"/>
              </a:cxn>
              <a:cxn ang="0">
                <a:pos x="csX719" y="csY719"/>
              </a:cxn>
              <a:cxn ang="0">
                <a:pos x="csX720" y="csY720"/>
              </a:cxn>
              <a:cxn ang="0">
                <a:pos x="csX721" y="csY721"/>
              </a:cxn>
              <a:cxn ang="0">
                <a:pos x="csX722" y="csY722"/>
              </a:cxn>
              <a:cxn ang="0">
                <a:pos x="csX723" y="csY723"/>
              </a:cxn>
              <a:cxn ang="0">
                <a:pos x="csX724" y="csY724"/>
              </a:cxn>
              <a:cxn ang="0">
                <a:pos x="csX725" y="csY725"/>
              </a:cxn>
              <a:cxn ang="0">
                <a:pos x="csX726" y="csY726"/>
              </a:cxn>
              <a:cxn ang="0">
                <a:pos x="csX727" y="csY727"/>
              </a:cxn>
              <a:cxn ang="0">
                <a:pos x="csX728" y="csY728"/>
              </a:cxn>
              <a:cxn ang="0">
                <a:pos x="csX729" y="csY729"/>
              </a:cxn>
              <a:cxn ang="0">
                <a:pos x="csX730" y="csY730"/>
              </a:cxn>
              <a:cxn ang="0">
                <a:pos x="csX731" y="csY731"/>
              </a:cxn>
              <a:cxn ang="0">
                <a:pos x="csX732" y="csY732"/>
              </a:cxn>
              <a:cxn ang="0">
                <a:pos x="csX733" y="csY733"/>
              </a:cxn>
              <a:cxn ang="0">
                <a:pos x="csX734" y="csY734"/>
              </a:cxn>
              <a:cxn ang="0">
                <a:pos x="csX735" y="csY735"/>
              </a:cxn>
              <a:cxn ang="0">
                <a:pos x="csX736" y="csY736"/>
              </a:cxn>
              <a:cxn ang="0">
                <a:pos x="csX737" y="csY737"/>
              </a:cxn>
              <a:cxn ang="0">
                <a:pos x="csX738" y="csY738"/>
              </a:cxn>
              <a:cxn ang="0">
                <a:pos x="csX739" y="csY739"/>
              </a:cxn>
              <a:cxn ang="0">
                <a:pos x="csX740" y="csY740"/>
              </a:cxn>
              <a:cxn ang="0">
                <a:pos x="csX741" y="csY741"/>
              </a:cxn>
              <a:cxn ang="0">
                <a:pos x="csX742" y="csY742"/>
              </a:cxn>
              <a:cxn ang="0">
                <a:pos x="csX743" y="csY743"/>
              </a:cxn>
              <a:cxn ang="0">
                <a:pos x="csX744" y="csY744"/>
              </a:cxn>
              <a:cxn ang="0">
                <a:pos x="csX745" y="csY745"/>
              </a:cxn>
              <a:cxn ang="0">
                <a:pos x="csX746" y="csY746"/>
              </a:cxn>
              <a:cxn ang="0">
                <a:pos x="csX747" y="csY747"/>
              </a:cxn>
              <a:cxn ang="0">
                <a:pos x="csX748" y="csY748"/>
              </a:cxn>
              <a:cxn ang="0">
                <a:pos x="csX749" y="csY749"/>
              </a:cxn>
              <a:cxn ang="0">
                <a:pos x="csX750" y="csY750"/>
              </a:cxn>
              <a:cxn ang="0">
                <a:pos x="csX751" y="csY751"/>
              </a:cxn>
              <a:cxn ang="0">
                <a:pos x="csX752" y="csY752"/>
              </a:cxn>
              <a:cxn ang="0">
                <a:pos x="csX753" y="csY753"/>
              </a:cxn>
              <a:cxn ang="0">
                <a:pos x="csX754" y="csY754"/>
              </a:cxn>
              <a:cxn ang="0">
                <a:pos x="csX755" y="csY755"/>
              </a:cxn>
              <a:cxn ang="0">
                <a:pos x="csX756" y="csY756"/>
              </a:cxn>
              <a:cxn ang="0">
                <a:pos x="csX757" y="csY757"/>
              </a:cxn>
              <a:cxn ang="0">
                <a:pos x="csX758" y="csY758"/>
              </a:cxn>
              <a:cxn ang="0">
                <a:pos x="csX759" y="csY759"/>
              </a:cxn>
              <a:cxn ang="0">
                <a:pos x="csX760" y="csY760"/>
              </a:cxn>
              <a:cxn ang="0">
                <a:pos x="csX761" y="csY761"/>
              </a:cxn>
              <a:cxn ang="0">
                <a:pos x="csX762" y="csY762"/>
              </a:cxn>
              <a:cxn ang="0">
                <a:pos x="csX763" y="csY763"/>
              </a:cxn>
              <a:cxn ang="0">
                <a:pos x="csX764" y="csY764"/>
              </a:cxn>
              <a:cxn ang="0">
                <a:pos x="csX765" y="csY765"/>
              </a:cxn>
              <a:cxn ang="0">
                <a:pos x="csX766" y="csY766"/>
              </a:cxn>
              <a:cxn ang="0">
                <a:pos x="csX767" y="csY767"/>
              </a:cxn>
              <a:cxn ang="0">
                <a:pos x="csX768" y="csY768"/>
              </a:cxn>
              <a:cxn ang="0">
                <a:pos x="csX769" y="csY769"/>
              </a:cxn>
              <a:cxn ang="0">
                <a:pos x="csX770" y="csY770"/>
              </a:cxn>
              <a:cxn ang="0">
                <a:pos x="csX771" y="csY771"/>
              </a:cxn>
              <a:cxn ang="0">
                <a:pos x="csX772" y="csY772"/>
              </a:cxn>
              <a:cxn ang="0">
                <a:pos x="csX773" y="csY773"/>
              </a:cxn>
              <a:cxn ang="0">
                <a:pos x="csX774" y="csY774"/>
              </a:cxn>
              <a:cxn ang="0">
                <a:pos x="csX775" y="csY775"/>
              </a:cxn>
              <a:cxn ang="0">
                <a:pos x="csX776" y="csY776"/>
              </a:cxn>
              <a:cxn ang="0">
                <a:pos x="csX777" y="csY777"/>
              </a:cxn>
              <a:cxn ang="0">
                <a:pos x="csX778" y="csY778"/>
              </a:cxn>
              <a:cxn ang="0">
                <a:pos x="csX779" y="csY779"/>
              </a:cxn>
              <a:cxn ang="0">
                <a:pos x="csX780" y="csY780"/>
              </a:cxn>
              <a:cxn ang="0">
                <a:pos x="csX781" y="csY781"/>
              </a:cxn>
              <a:cxn ang="0">
                <a:pos x="csX782" y="csY782"/>
              </a:cxn>
              <a:cxn ang="0">
                <a:pos x="csX783" y="csY783"/>
              </a:cxn>
              <a:cxn ang="0">
                <a:pos x="csX784" y="csY784"/>
              </a:cxn>
              <a:cxn ang="0">
                <a:pos x="csX785" y="csY785"/>
              </a:cxn>
              <a:cxn ang="0">
                <a:pos x="csX786" y="csY786"/>
              </a:cxn>
              <a:cxn ang="0">
                <a:pos x="csX787" y="csY787"/>
              </a:cxn>
              <a:cxn ang="0">
                <a:pos x="csX788" y="csY788"/>
              </a:cxn>
              <a:cxn ang="0">
                <a:pos x="csX789" y="csY789"/>
              </a:cxn>
              <a:cxn ang="0">
                <a:pos x="csX790" y="csY790"/>
              </a:cxn>
              <a:cxn ang="0">
                <a:pos x="csX791" y="csY791"/>
              </a:cxn>
              <a:cxn ang="0">
                <a:pos x="csX792" y="csY792"/>
              </a:cxn>
              <a:cxn ang="0">
                <a:pos x="csX793" y="csY793"/>
              </a:cxn>
              <a:cxn ang="0">
                <a:pos x="csX794" y="csY794"/>
              </a:cxn>
              <a:cxn ang="0">
                <a:pos x="csX795" y="csY795"/>
              </a:cxn>
              <a:cxn ang="0">
                <a:pos x="csX796" y="csY796"/>
              </a:cxn>
              <a:cxn ang="0">
                <a:pos x="csX797" y="csY797"/>
              </a:cxn>
              <a:cxn ang="0">
                <a:pos x="csX798" y="csY798"/>
              </a:cxn>
              <a:cxn ang="0">
                <a:pos x="csX799" y="csY799"/>
              </a:cxn>
              <a:cxn ang="0">
                <a:pos x="csX800" y="csY800"/>
              </a:cxn>
              <a:cxn ang="0">
                <a:pos x="csX801" y="csY801"/>
              </a:cxn>
              <a:cxn ang="0">
                <a:pos x="csX802" y="csY802"/>
              </a:cxn>
              <a:cxn ang="0">
                <a:pos x="csX803" y="csY803"/>
              </a:cxn>
              <a:cxn ang="0">
                <a:pos x="csX804" y="csY804"/>
              </a:cxn>
              <a:cxn ang="0">
                <a:pos x="csX805" y="csY805"/>
              </a:cxn>
              <a:cxn ang="0">
                <a:pos x="csX806" y="csY806"/>
              </a:cxn>
              <a:cxn ang="0">
                <a:pos x="csX807" y="csY807"/>
              </a:cxn>
              <a:cxn ang="0">
                <a:pos x="csX808" y="csY808"/>
              </a:cxn>
              <a:cxn ang="0">
                <a:pos x="csX809" y="csY809"/>
              </a:cxn>
              <a:cxn ang="0">
                <a:pos x="csX810" y="csY810"/>
              </a:cxn>
              <a:cxn ang="0">
                <a:pos x="csX811" y="csY811"/>
              </a:cxn>
              <a:cxn ang="0">
                <a:pos x="csX812" y="csY812"/>
              </a:cxn>
              <a:cxn ang="0">
                <a:pos x="csX813" y="csY813"/>
              </a:cxn>
              <a:cxn ang="0">
                <a:pos x="csX814" y="csY814"/>
              </a:cxn>
              <a:cxn ang="0">
                <a:pos x="csX815" y="csY815"/>
              </a:cxn>
              <a:cxn ang="0">
                <a:pos x="csX816" y="csY816"/>
              </a:cxn>
              <a:cxn ang="0">
                <a:pos x="csX817" y="csY817"/>
              </a:cxn>
              <a:cxn ang="0">
                <a:pos x="csX818" y="csY818"/>
              </a:cxn>
              <a:cxn ang="0">
                <a:pos x="csX819" y="csY819"/>
              </a:cxn>
              <a:cxn ang="0">
                <a:pos x="csX820" y="csY820"/>
              </a:cxn>
              <a:cxn ang="0">
                <a:pos x="csX821" y="csY821"/>
              </a:cxn>
              <a:cxn ang="0">
                <a:pos x="csX822" y="csY822"/>
              </a:cxn>
              <a:cxn ang="0">
                <a:pos x="csX823" y="csY823"/>
              </a:cxn>
              <a:cxn ang="0">
                <a:pos x="csX824" y="csY824"/>
              </a:cxn>
              <a:cxn ang="0">
                <a:pos x="csX825" y="csY825"/>
              </a:cxn>
              <a:cxn ang="0">
                <a:pos x="csX826" y="csY826"/>
              </a:cxn>
              <a:cxn ang="0">
                <a:pos x="csX827" y="csY827"/>
              </a:cxn>
              <a:cxn ang="0">
                <a:pos x="csX828" y="csY828"/>
              </a:cxn>
              <a:cxn ang="0">
                <a:pos x="csX829" y="csY829"/>
              </a:cxn>
              <a:cxn ang="0">
                <a:pos x="csX830" y="csY830"/>
              </a:cxn>
              <a:cxn ang="0">
                <a:pos x="csX831" y="csY831"/>
              </a:cxn>
              <a:cxn ang="0">
                <a:pos x="csX832" y="csY832"/>
              </a:cxn>
              <a:cxn ang="0">
                <a:pos x="csX833" y="csY833"/>
              </a:cxn>
              <a:cxn ang="0">
                <a:pos x="csX834" y="csY834"/>
              </a:cxn>
              <a:cxn ang="0">
                <a:pos x="csX835" y="csY835"/>
              </a:cxn>
              <a:cxn ang="0">
                <a:pos x="csX836" y="csY836"/>
              </a:cxn>
              <a:cxn ang="0">
                <a:pos x="csX837" y="csY837"/>
              </a:cxn>
              <a:cxn ang="0">
                <a:pos x="csX838" y="csY838"/>
              </a:cxn>
              <a:cxn ang="0">
                <a:pos x="csX839" y="csY839"/>
              </a:cxn>
              <a:cxn ang="0">
                <a:pos x="csX840" y="csY840"/>
              </a:cxn>
              <a:cxn ang="0">
                <a:pos x="csX841" y="csY841"/>
              </a:cxn>
              <a:cxn ang="0">
                <a:pos x="csX842" y="csY842"/>
              </a:cxn>
              <a:cxn ang="0">
                <a:pos x="csX843" y="csY843"/>
              </a:cxn>
              <a:cxn ang="0">
                <a:pos x="csX844" y="csY844"/>
              </a:cxn>
              <a:cxn ang="0">
                <a:pos x="csX845" y="csY845"/>
              </a:cxn>
              <a:cxn ang="0">
                <a:pos x="csX846" y="csY846"/>
              </a:cxn>
              <a:cxn ang="0">
                <a:pos x="csX847" y="csY847"/>
              </a:cxn>
              <a:cxn ang="0">
                <a:pos x="csX848" y="csY848"/>
              </a:cxn>
              <a:cxn ang="0">
                <a:pos x="csX849" y="csY849"/>
              </a:cxn>
              <a:cxn ang="0">
                <a:pos x="csX850" y="csY850"/>
              </a:cxn>
              <a:cxn ang="0">
                <a:pos x="csX851" y="csY851"/>
              </a:cxn>
              <a:cxn ang="0">
                <a:pos x="csX852" y="csY852"/>
              </a:cxn>
              <a:cxn ang="0">
                <a:pos x="csX853" y="csY853"/>
              </a:cxn>
              <a:cxn ang="0">
                <a:pos x="csX854" y="csY854"/>
              </a:cxn>
              <a:cxn ang="0">
                <a:pos x="csX855" y="csY855"/>
              </a:cxn>
              <a:cxn ang="0">
                <a:pos x="csX856" y="csY856"/>
              </a:cxn>
              <a:cxn ang="0">
                <a:pos x="csX857" y="csY857"/>
              </a:cxn>
              <a:cxn ang="0">
                <a:pos x="csX858" y="csY858"/>
              </a:cxn>
              <a:cxn ang="0">
                <a:pos x="csX859" y="csY859"/>
              </a:cxn>
              <a:cxn ang="0">
                <a:pos x="csX860" y="csY860"/>
              </a:cxn>
              <a:cxn ang="0">
                <a:pos x="csX861" y="csY861"/>
              </a:cxn>
              <a:cxn ang="0">
                <a:pos x="csX862" y="csY862"/>
              </a:cxn>
              <a:cxn ang="0">
                <a:pos x="csX863" y="csY863"/>
              </a:cxn>
              <a:cxn ang="0">
                <a:pos x="csX864" y="csY864"/>
              </a:cxn>
              <a:cxn ang="0">
                <a:pos x="csX865" y="csY865"/>
              </a:cxn>
              <a:cxn ang="0">
                <a:pos x="csX866" y="csY866"/>
              </a:cxn>
              <a:cxn ang="0">
                <a:pos x="csX867" y="csY867"/>
              </a:cxn>
              <a:cxn ang="0">
                <a:pos x="csX868" y="csY868"/>
              </a:cxn>
              <a:cxn ang="0">
                <a:pos x="csX869" y="csY869"/>
              </a:cxn>
              <a:cxn ang="0">
                <a:pos x="csX870" y="csY870"/>
              </a:cxn>
              <a:cxn ang="0">
                <a:pos x="csX871" y="csY871"/>
              </a:cxn>
              <a:cxn ang="0">
                <a:pos x="csX872" y="csY872"/>
              </a:cxn>
              <a:cxn ang="0">
                <a:pos x="csX873" y="csY873"/>
              </a:cxn>
              <a:cxn ang="0">
                <a:pos x="csX874" y="csY874"/>
              </a:cxn>
              <a:cxn ang="0">
                <a:pos x="csX875" y="csY875"/>
              </a:cxn>
              <a:cxn ang="0">
                <a:pos x="csX876" y="csY876"/>
              </a:cxn>
              <a:cxn ang="0">
                <a:pos x="csX877" y="csY877"/>
              </a:cxn>
              <a:cxn ang="0">
                <a:pos x="csX878" y="csY878"/>
              </a:cxn>
              <a:cxn ang="0">
                <a:pos x="csX879" y="csY879"/>
              </a:cxn>
              <a:cxn ang="0">
                <a:pos x="csX880" y="csY880"/>
              </a:cxn>
              <a:cxn ang="0">
                <a:pos x="csX881" y="csY881"/>
              </a:cxn>
              <a:cxn ang="0">
                <a:pos x="csX882" y="csY882"/>
              </a:cxn>
              <a:cxn ang="0">
                <a:pos x="csX883" y="csY883"/>
              </a:cxn>
              <a:cxn ang="0">
                <a:pos x="csX884" y="csY884"/>
              </a:cxn>
              <a:cxn ang="0">
                <a:pos x="csX885" y="csY885"/>
              </a:cxn>
              <a:cxn ang="0">
                <a:pos x="csX886" y="csY886"/>
              </a:cxn>
              <a:cxn ang="0">
                <a:pos x="csX887" y="csY887"/>
              </a:cxn>
              <a:cxn ang="0">
                <a:pos x="csX888" y="csY888"/>
              </a:cxn>
              <a:cxn ang="0">
                <a:pos x="csX889" y="csY889"/>
              </a:cxn>
              <a:cxn ang="0">
                <a:pos x="csX890" y="csY890"/>
              </a:cxn>
              <a:cxn ang="0">
                <a:pos x="csX891" y="csY891"/>
              </a:cxn>
              <a:cxn ang="0">
                <a:pos x="csX892" y="csY892"/>
              </a:cxn>
              <a:cxn ang="0">
                <a:pos x="csX893" y="csY893"/>
              </a:cxn>
              <a:cxn ang="0">
                <a:pos x="csX894" y="csY894"/>
              </a:cxn>
              <a:cxn ang="0">
                <a:pos x="csX895" y="csY895"/>
              </a:cxn>
              <a:cxn ang="0">
                <a:pos x="csX896" y="csY896"/>
              </a:cxn>
              <a:cxn ang="0">
                <a:pos x="csX897" y="csY897"/>
              </a:cxn>
              <a:cxn ang="0">
                <a:pos x="csX898" y="csY898"/>
              </a:cxn>
              <a:cxn ang="0">
                <a:pos x="csX899" y="csY899"/>
              </a:cxn>
              <a:cxn ang="0">
                <a:pos x="csX900" y="csY900"/>
              </a:cxn>
              <a:cxn ang="0">
                <a:pos x="csX901" y="csY901"/>
              </a:cxn>
              <a:cxn ang="0">
                <a:pos x="csX902" y="csY902"/>
              </a:cxn>
              <a:cxn ang="0">
                <a:pos x="csX903" y="csY903"/>
              </a:cxn>
              <a:cxn ang="0">
                <a:pos x="csX904" y="csY904"/>
              </a:cxn>
              <a:cxn ang="0">
                <a:pos x="csX905" y="csY905"/>
              </a:cxn>
              <a:cxn ang="0">
                <a:pos x="csX906" y="csY906"/>
              </a:cxn>
              <a:cxn ang="0">
                <a:pos x="csX907" y="csY907"/>
              </a:cxn>
              <a:cxn ang="0">
                <a:pos x="csX908" y="csY908"/>
              </a:cxn>
              <a:cxn ang="0">
                <a:pos x="csX909" y="csY909"/>
              </a:cxn>
              <a:cxn ang="0">
                <a:pos x="csX910" y="csY910"/>
              </a:cxn>
              <a:cxn ang="0">
                <a:pos x="csX911" y="csY911"/>
              </a:cxn>
              <a:cxn ang="0">
                <a:pos x="csX912" y="csY912"/>
              </a:cxn>
              <a:cxn ang="0">
                <a:pos x="csX913" y="csY913"/>
              </a:cxn>
              <a:cxn ang="0">
                <a:pos x="csX914" y="csY914"/>
              </a:cxn>
              <a:cxn ang="0">
                <a:pos x="csX915" y="csY915"/>
              </a:cxn>
              <a:cxn ang="0">
                <a:pos x="csX916" y="csY916"/>
              </a:cxn>
              <a:cxn ang="0">
                <a:pos x="csX917" y="csY917"/>
              </a:cxn>
              <a:cxn ang="0">
                <a:pos x="csX918" y="csY918"/>
              </a:cxn>
              <a:cxn ang="0">
                <a:pos x="csX919" y="csY919"/>
              </a:cxn>
              <a:cxn ang="0">
                <a:pos x="csX920" y="csY920"/>
              </a:cxn>
              <a:cxn ang="0">
                <a:pos x="csX921" y="csY921"/>
              </a:cxn>
              <a:cxn ang="0">
                <a:pos x="csX922" y="csY922"/>
              </a:cxn>
              <a:cxn ang="0">
                <a:pos x="csX923" y="csY923"/>
              </a:cxn>
              <a:cxn ang="0">
                <a:pos x="csX924" y="csY924"/>
              </a:cxn>
              <a:cxn ang="0">
                <a:pos x="csX925" y="csY925"/>
              </a:cxn>
              <a:cxn ang="0">
                <a:pos x="csX926" y="csY926"/>
              </a:cxn>
              <a:cxn ang="0">
                <a:pos x="csX927" y="csY927"/>
              </a:cxn>
              <a:cxn ang="0">
                <a:pos x="csX928" y="csY928"/>
              </a:cxn>
              <a:cxn ang="0">
                <a:pos x="csX929" y="csY929"/>
              </a:cxn>
              <a:cxn ang="0">
                <a:pos x="csX930" y="csY930"/>
              </a:cxn>
              <a:cxn ang="0">
                <a:pos x="csX931" y="csY931"/>
              </a:cxn>
              <a:cxn ang="0">
                <a:pos x="csX932" y="csY932"/>
              </a:cxn>
              <a:cxn ang="0">
                <a:pos x="csX933" y="csY933"/>
              </a:cxn>
              <a:cxn ang="0">
                <a:pos x="csX934" y="csY934"/>
              </a:cxn>
              <a:cxn ang="0">
                <a:pos x="csX935" y="csY935"/>
              </a:cxn>
              <a:cxn ang="0">
                <a:pos x="csX936" y="csY936"/>
              </a:cxn>
              <a:cxn ang="0">
                <a:pos x="csX937" y="csY937"/>
              </a:cxn>
              <a:cxn ang="0">
                <a:pos x="csX938" y="csY938"/>
              </a:cxn>
              <a:cxn ang="0">
                <a:pos x="csX939" y="csY939"/>
              </a:cxn>
              <a:cxn ang="0">
                <a:pos x="csX940" y="csY940"/>
              </a:cxn>
              <a:cxn ang="0">
                <a:pos x="csX941" y="csY941"/>
              </a:cxn>
              <a:cxn ang="0">
                <a:pos x="csX942" y="csY942"/>
              </a:cxn>
              <a:cxn ang="0">
                <a:pos x="csX943" y="csY943"/>
              </a:cxn>
              <a:cxn ang="0">
                <a:pos x="csX944" y="csY944"/>
              </a:cxn>
              <a:cxn ang="0">
                <a:pos x="csX945" y="csY945"/>
              </a:cxn>
              <a:cxn ang="0">
                <a:pos x="csX946" y="csY946"/>
              </a:cxn>
              <a:cxn ang="0">
                <a:pos x="csX947" y="csY947"/>
              </a:cxn>
              <a:cxn ang="0">
                <a:pos x="csX948" y="csY948"/>
              </a:cxn>
              <a:cxn ang="0">
                <a:pos x="csX949" y="csY949"/>
              </a:cxn>
              <a:cxn ang="0">
                <a:pos x="csX950" y="csY950"/>
              </a:cxn>
              <a:cxn ang="0">
                <a:pos x="csX951" y="csY951"/>
              </a:cxn>
              <a:cxn ang="0">
                <a:pos x="csX952" y="csY952"/>
              </a:cxn>
              <a:cxn ang="0">
                <a:pos x="csX953" y="csY953"/>
              </a:cxn>
              <a:cxn ang="0">
                <a:pos x="csX954" y="csY954"/>
              </a:cxn>
              <a:cxn ang="0">
                <a:pos x="csX955" y="csY955"/>
              </a:cxn>
              <a:cxn ang="0">
                <a:pos x="csX956" y="csY956"/>
              </a:cxn>
              <a:cxn ang="0">
                <a:pos x="csX957" y="csY957"/>
              </a:cxn>
              <a:cxn ang="0">
                <a:pos x="csX958" y="csY958"/>
              </a:cxn>
              <a:cxn ang="0">
                <a:pos x="csX959" y="csY959"/>
              </a:cxn>
              <a:cxn ang="0">
                <a:pos x="csX960" y="csY960"/>
              </a:cxn>
              <a:cxn ang="0">
                <a:pos x="csX961" y="csY961"/>
              </a:cxn>
              <a:cxn ang="0">
                <a:pos x="csX962" y="csY962"/>
              </a:cxn>
              <a:cxn ang="0">
                <a:pos x="csX963" y="csY963"/>
              </a:cxn>
              <a:cxn ang="0">
                <a:pos x="csX964" y="csY964"/>
              </a:cxn>
              <a:cxn ang="0">
                <a:pos x="csX965" y="csY965"/>
              </a:cxn>
              <a:cxn ang="0">
                <a:pos x="csX966" y="csY966"/>
              </a:cxn>
              <a:cxn ang="0">
                <a:pos x="csX967" y="csY967"/>
              </a:cxn>
              <a:cxn ang="0">
                <a:pos x="csX968" y="csY968"/>
              </a:cxn>
              <a:cxn ang="0">
                <a:pos x="csX969" y="csY969"/>
              </a:cxn>
              <a:cxn ang="0">
                <a:pos x="csX970" y="csY970"/>
              </a:cxn>
              <a:cxn ang="0">
                <a:pos x="csX971" y="csY971"/>
              </a:cxn>
              <a:cxn ang="0">
                <a:pos x="csX972" y="csY972"/>
              </a:cxn>
              <a:cxn ang="0">
                <a:pos x="csX973" y="csY973"/>
              </a:cxn>
              <a:cxn ang="0">
                <a:pos x="csX974" y="csY974"/>
              </a:cxn>
              <a:cxn ang="0">
                <a:pos x="csX975" y="csY975"/>
              </a:cxn>
              <a:cxn ang="0">
                <a:pos x="csX976" y="csY976"/>
              </a:cxn>
              <a:cxn ang="0">
                <a:pos x="csX977" y="csY977"/>
              </a:cxn>
              <a:cxn ang="0">
                <a:pos x="csX978" y="csY978"/>
              </a:cxn>
              <a:cxn ang="0">
                <a:pos x="csX979" y="csY979"/>
              </a:cxn>
              <a:cxn ang="0">
                <a:pos x="csX980" y="csY980"/>
              </a:cxn>
              <a:cxn ang="0">
                <a:pos x="csX981" y="csY981"/>
              </a:cxn>
              <a:cxn ang="0">
                <a:pos x="csX982" y="csY982"/>
              </a:cxn>
              <a:cxn ang="0">
                <a:pos x="csX983" y="csY983"/>
              </a:cxn>
              <a:cxn ang="0">
                <a:pos x="csX984" y="csY984"/>
              </a:cxn>
              <a:cxn ang="0">
                <a:pos x="csX985" y="csY985"/>
              </a:cxn>
              <a:cxn ang="0">
                <a:pos x="csX986" y="csY986"/>
              </a:cxn>
              <a:cxn ang="0">
                <a:pos x="csX987" y="csY987"/>
              </a:cxn>
              <a:cxn ang="0">
                <a:pos x="csX988" y="csY988"/>
              </a:cxn>
              <a:cxn ang="0">
                <a:pos x="csX989" y="csY989"/>
              </a:cxn>
              <a:cxn ang="0">
                <a:pos x="csX990" y="csY990"/>
              </a:cxn>
              <a:cxn ang="0">
                <a:pos x="csX991" y="csY991"/>
              </a:cxn>
              <a:cxn ang="0">
                <a:pos x="csX992" y="csY992"/>
              </a:cxn>
              <a:cxn ang="0">
                <a:pos x="csX993" y="csY993"/>
              </a:cxn>
              <a:cxn ang="0">
                <a:pos x="csX994" y="csY994"/>
              </a:cxn>
              <a:cxn ang="0">
                <a:pos x="csX995" y="csY995"/>
              </a:cxn>
              <a:cxn ang="0">
                <a:pos x="csX996" y="csY996"/>
              </a:cxn>
              <a:cxn ang="0">
                <a:pos x="csX997" y="csY997"/>
              </a:cxn>
              <a:cxn ang="0">
                <a:pos x="csX998" y="csY998"/>
              </a:cxn>
              <a:cxn ang="0">
                <a:pos x="csX999" y="csY999"/>
              </a:cxn>
              <a:cxn ang="0">
                <a:pos x="csX1000" y="csY1000"/>
              </a:cxn>
              <a:cxn ang="0">
                <a:pos x="csX1001" y="csY1001"/>
              </a:cxn>
              <a:cxn ang="0">
                <a:pos x="csX1002" y="csY1002"/>
              </a:cxn>
              <a:cxn ang="0">
                <a:pos x="csX1003" y="csY1003"/>
              </a:cxn>
              <a:cxn ang="0">
                <a:pos x="csX1004" y="csY1004"/>
              </a:cxn>
              <a:cxn ang="0">
                <a:pos x="csX1005" y="csY1005"/>
              </a:cxn>
              <a:cxn ang="0">
                <a:pos x="csX1006" y="csY1006"/>
              </a:cxn>
              <a:cxn ang="0">
                <a:pos x="csX1007" y="csY1007"/>
              </a:cxn>
              <a:cxn ang="0">
                <a:pos x="csX1008" y="csY1008"/>
              </a:cxn>
              <a:cxn ang="0">
                <a:pos x="csX1009" y="csY1009"/>
              </a:cxn>
              <a:cxn ang="0">
                <a:pos x="csX1010" y="csY1010"/>
              </a:cxn>
              <a:cxn ang="0">
                <a:pos x="csX1011" y="csY1011"/>
              </a:cxn>
              <a:cxn ang="0">
                <a:pos x="csX1012" y="csY1012"/>
              </a:cxn>
              <a:cxn ang="0">
                <a:pos x="csX1013" y="csY1013"/>
              </a:cxn>
              <a:cxn ang="0">
                <a:pos x="csX1014" y="csY1014"/>
              </a:cxn>
              <a:cxn ang="0">
                <a:pos x="csX1015" y="csY1015"/>
              </a:cxn>
              <a:cxn ang="0">
                <a:pos x="csX1016" y="csY1016"/>
              </a:cxn>
              <a:cxn ang="0">
                <a:pos x="csX1017" y="csY1017"/>
              </a:cxn>
              <a:cxn ang="0">
                <a:pos x="csX1018" y="csY1018"/>
              </a:cxn>
              <a:cxn ang="0">
                <a:pos x="csX1019" y="csY1019"/>
              </a:cxn>
              <a:cxn ang="0">
                <a:pos x="csX1020" y="csY1020"/>
              </a:cxn>
              <a:cxn ang="0">
                <a:pos x="csX1021" y="csY1021"/>
              </a:cxn>
              <a:cxn ang="0">
                <a:pos x="csX1022" y="csY1022"/>
              </a:cxn>
              <a:cxn ang="0">
                <a:pos x="csX1023" y="csY1023"/>
              </a:cxn>
              <a:cxn ang="0">
                <a:pos x="csX1024" y="csY1024"/>
              </a:cxn>
              <a:cxn ang="0">
                <a:pos x="csX1025" y="csY1025"/>
              </a:cxn>
              <a:cxn ang="0">
                <a:pos x="csX1026" y="csY1026"/>
              </a:cxn>
              <a:cxn ang="0">
                <a:pos x="csX1027" y="csY1027"/>
              </a:cxn>
              <a:cxn ang="0">
                <a:pos x="csX1028" y="csY1028"/>
              </a:cxn>
              <a:cxn ang="0">
                <a:pos x="csX1029" y="csY1029"/>
              </a:cxn>
              <a:cxn ang="0">
                <a:pos x="csX1030" y="csY1030"/>
              </a:cxn>
              <a:cxn ang="0">
                <a:pos x="csX1031" y="csY1031"/>
              </a:cxn>
              <a:cxn ang="0">
                <a:pos x="csX1032" y="csY1032"/>
              </a:cxn>
              <a:cxn ang="0">
                <a:pos x="csX1033" y="csY1033"/>
              </a:cxn>
              <a:cxn ang="0">
                <a:pos x="csX1034" y="csY1034"/>
              </a:cxn>
              <a:cxn ang="0">
                <a:pos x="csX1035" y="csY1035"/>
              </a:cxn>
              <a:cxn ang="0">
                <a:pos x="csX1036" y="csY1036"/>
              </a:cxn>
              <a:cxn ang="0">
                <a:pos x="csX1037" y="csY1037"/>
              </a:cxn>
              <a:cxn ang="0">
                <a:pos x="csX1038" y="csY1038"/>
              </a:cxn>
              <a:cxn ang="0">
                <a:pos x="csX1039" y="csY1039"/>
              </a:cxn>
              <a:cxn ang="0">
                <a:pos x="csX1040" y="csY1040"/>
              </a:cxn>
              <a:cxn ang="0">
                <a:pos x="csX1041" y="csY1041"/>
              </a:cxn>
              <a:cxn ang="0">
                <a:pos x="csX1042" y="csY1042"/>
              </a:cxn>
              <a:cxn ang="0">
                <a:pos x="csX1043" y="csY1043"/>
              </a:cxn>
              <a:cxn ang="0">
                <a:pos x="csX1044" y="csY1044"/>
              </a:cxn>
              <a:cxn ang="0">
                <a:pos x="csX1045" y="csY1045"/>
              </a:cxn>
              <a:cxn ang="0">
                <a:pos x="csX1046" y="csY1046"/>
              </a:cxn>
              <a:cxn ang="0">
                <a:pos x="csX1047" y="csY1047"/>
              </a:cxn>
              <a:cxn ang="0">
                <a:pos x="csX1048" y="csY1048"/>
              </a:cxn>
              <a:cxn ang="0">
                <a:pos x="csX1049" y="csY1049"/>
              </a:cxn>
              <a:cxn ang="0">
                <a:pos x="csX1050" y="csY1050"/>
              </a:cxn>
              <a:cxn ang="0">
                <a:pos x="csX1051" y="csY1051"/>
              </a:cxn>
              <a:cxn ang="0">
                <a:pos x="csX1052" y="csY1052"/>
              </a:cxn>
              <a:cxn ang="0">
                <a:pos x="csX1053" y="csY1053"/>
              </a:cxn>
              <a:cxn ang="0">
                <a:pos x="csX1054" y="csY1054"/>
              </a:cxn>
            </a:cxnLst>
            <a:rect l="l" t="t" r="r" b="b"/>
            <a:pathLst>
              <a:path w="1609516" h="1538630">
                <a:moveTo>
                  <a:pt x="401579" y="1495809"/>
                </a:moveTo>
                <a:lnTo>
                  <a:pt x="400190" y="1496004"/>
                </a:lnTo>
                <a:lnTo>
                  <a:pt x="401224" y="1496470"/>
                </a:lnTo>
                <a:lnTo>
                  <a:pt x="401224" y="1498590"/>
                </a:lnTo>
                <a:lnTo>
                  <a:pt x="401579" y="1498628"/>
                </a:lnTo>
                <a:cubicBezTo>
                  <a:pt x="401579" y="1497698"/>
                  <a:pt x="401579" y="1496768"/>
                  <a:pt x="401579" y="1495809"/>
                </a:cubicBezTo>
                <a:close/>
                <a:moveTo>
                  <a:pt x="368755" y="1486512"/>
                </a:moveTo>
                <a:lnTo>
                  <a:pt x="364089" y="1487354"/>
                </a:lnTo>
                <a:lnTo>
                  <a:pt x="364089" y="1487908"/>
                </a:lnTo>
                <a:close/>
                <a:moveTo>
                  <a:pt x="1049801" y="1484562"/>
                </a:moveTo>
                <a:lnTo>
                  <a:pt x="1046735" y="1485945"/>
                </a:lnTo>
                <a:lnTo>
                  <a:pt x="1046955" y="1486045"/>
                </a:lnTo>
                <a:lnTo>
                  <a:pt x="1049801" y="1485188"/>
                </a:lnTo>
                <a:close/>
                <a:moveTo>
                  <a:pt x="351234" y="1444508"/>
                </a:moveTo>
                <a:lnTo>
                  <a:pt x="351234" y="1444997"/>
                </a:lnTo>
                <a:lnTo>
                  <a:pt x="351592" y="1445078"/>
                </a:lnTo>
                <a:close/>
                <a:moveTo>
                  <a:pt x="351908" y="1431206"/>
                </a:moveTo>
                <a:lnTo>
                  <a:pt x="351234" y="1431611"/>
                </a:lnTo>
                <a:lnTo>
                  <a:pt x="351234" y="1432274"/>
                </a:lnTo>
                <a:close/>
                <a:moveTo>
                  <a:pt x="358162" y="1421494"/>
                </a:moveTo>
                <a:lnTo>
                  <a:pt x="355921" y="1423156"/>
                </a:lnTo>
                <a:lnTo>
                  <a:pt x="355921" y="1423548"/>
                </a:lnTo>
                <a:close/>
                <a:moveTo>
                  <a:pt x="376098" y="1408347"/>
                </a:moveTo>
                <a:lnTo>
                  <a:pt x="370750" y="1412245"/>
                </a:lnTo>
                <a:lnTo>
                  <a:pt x="375023" y="1411256"/>
                </a:lnTo>
                <a:close/>
                <a:moveTo>
                  <a:pt x="421956" y="1365623"/>
                </a:moveTo>
                <a:lnTo>
                  <a:pt x="421765" y="1366161"/>
                </a:lnTo>
                <a:lnTo>
                  <a:pt x="421887" y="1366161"/>
                </a:lnTo>
                <a:close/>
                <a:moveTo>
                  <a:pt x="754553" y="1360575"/>
                </a:moveTo>
                <a:lnTo>
                  <a:pt x="754089" y="1361433"/>
                </a:lnTo>
                <a:lnTo>
                  <a:pt x="754431" y="1361125"/>
                </a:lnTo>
                <a:close/>
                <a:moveTo>
                  <a:pt x="1277973" y="1332923"/>
                </a:moveTo>
                <a:lnTo>
                  <a:pt x="1277944" y="1332936"/>
                </a:lnTo>
                <a:lnTo>
                  <a:pt x="1277949" y="1333139"/>
                </a:lnTo>
                <a:close/>
                <a:moveTo>
                  <a:pt x="1268556" y="1321066"/>
                </a:moveTo>
                <a:cubicBezTo>
                  <a:pt x="1268556" y="1322461"/>
                  <a:pt x="1268556" y="1323856"/>
                  <a:pt x="1268556" y="1325294"/>
                </a:cubicBezTo>
                <a:cubicBezTo>
                  <a:pt x="1267525" y="1325294"/>
                  <a:pt x="1266495" y="1325294"/>
                  <a:pt x="1265432" y="1325294"/>
                </a:cubicBezTo>
                <a:cubicBezTo>
                  <a:pt x="1265432" y="1330409"/>
                  <a:pt x="1265432" y="1335525"/>
                  <a:pt x="1265432" y="1340795"/>
                </a:cubicBezTo>
                <a:lnTo>
                  <a:pt x="1265476" y="1340714"/>
                </a:lnTo>
                <a:lnTo>
                  <a:pt x="1265476" y="1325877"/>
                </a:lnTo>
                <a:cubicBezTo>
                  <a:pt x="1266507" y="1325877"/>
                  <a:pt x="1267538" y="1325877"/>
                  <a:pt x="1268600" y="1325877"/>
                </a:cubicBezTo>
                <a:cubicBezTo>
                  <a:pt x="1268600" y="1324482"/>
                  <a:pt x="1268600" y="1323086"/>
                  <a:pt x="1268600" y="1321649"/>
                </a:cubicBezTo>
                <a:cubicBezTo>
                  <a:pt x="1270147" y="1321649"/>
                  <a:pt x="1271693" y="1321649"/>
                  <a:pt x="1273286" y="1321649"/>
                </a:cubicBezTo>
                <a:lnTo>
                  <a:pt x="1273227" y="1321066"/>
                </a:lnTo>
                <a:close/>
                <a:moveTo>
                  <a:pt x="827891" y="1291474"/>
                </a:moveTo>
                <a:lnTo>
                  <a:pt x="822601" y="1291544"/>
                </a:lnTo>
                <a:lnTo>
                  <a:pt x="818272" y="1292220"/>
                </a:lnTo>
                <a:lnTo>
                  <a:pt x="827891" y="1292047"/>
                </a:lnTo>
                <a:close/>
                <a:moveTo>
                  <a:pt x="856397" y="1288691"/>
                </a:moveTo>
                <a:lnTo>
                  <a:pt x="865903" y="1290590"/>
                </a:lnTo>
                <a:lnTo>
                  <a:pt x="859999" y="1288752"/>
                </a:lnTo>
                <a:close/>
                <a:moveTo>
                  <a:pt x="834694" y="1288572"/>
                </a:moveTo>
                <a:lnTo>
                  <a:pt x="828038" y="1288654"/>
                </a:lnTo>
                <a:lnTo>
                  <a:pt x="828038" y="1289214"/>
                </a:lnTo>
                <a:close/>
                <a:moveTo>
                  <a:pt x="229746" y="1191418"/>
                </a:moveTo>
                <a:lnTo>
                  <a:pt x="227402" y="1191947"/>
                </a:lnTo>
                <a:lnTo>
                  <a:pt x="229315" y="1191947"/>
                </a:lnTo>
                <a:cubicBezTo>
                  <a:pt x="229315" y="1192877"/>
                  <a:pt x="229315" y="1193807"/>
                  <a:pt x="229315" y="1194765"/>
                </a:cubicBezTo>
                <a:lnTo>
                  <a:pt x="231321" y="1194765"/>
                </a:lnTo>
                <a:lnTo>
                  <a:pt x="229746" y="1194236"/>
                </a:lnTo>
                <a:cubicBezTo>
                  <a:pt x="229746" y="1193306"/>
                  <a:pt x="229746" y="1192376"/>
                  <a:pt x="229746" y="1191418"/>
                </a:cubicBezTo>
                <a:close/>
                <a:moveTo>
                  <a:pt x="215687" y="1187190"/>
                </a:moveTo>
                <a:lnTo>
                  <a:pt x="215198" y="1187720"/>
                </a:lnTo>
                <a:lnTo>
                  <a:pt x="215256" y="1187720"/>
                </a:lnTo>
                <a:cubicBezTo>
                  <a:pt x="215256" y="1189115"/>
                  <a:pt x="215256" y="1190510"/>
                  <a:pt x="215256" y="1191947"/>
                </a:cubicBezTo>
                <a:lnTo>
                  <a:pt x="222721" y="1191947"/>
                </a:lnTo>
                <a:lnTo>
                  <a:pt x="215687" y="1191418"/>
                </a:lnTo>
                <a:cubicBezTo>
                  <a:pt x="215687" y="1190023"/>
                  <a:pt x="215687" y="1188628"/>
                  <a:pt x="215687" y="1187190"/>
                </a:cubicBezTo>
                <a:close/>
                <a:moveTo>
                  <a:pt x="1279678" y="1082356"/>
                </a:moveTo>
                <a:lnTo>
                  <a:pt x="1271680" y="1084589"/>
                </a:lnTo>
                <a:lnTo>
                  <a:pt x="1282181" y="1082544"/>
                </a:lnTo>
                <a:close/>
                <a:moveTo>
                  <a:pt x="117703" y="941507"/>
                </a:moveTo>
                <a:lnTo>
                  <a:pt x="112587" y="941985"/>
                </a:lnTo>
                <a:lnTo>
                  <a:pt x="112565" y="942333"/>
                </a:lnTo>
                <a:lnTo>
                  <a:pt x="115665" y="941837"/>
                </a:lnTo>
                <a:close/>
                <a:moveTo>
                  <a:pt x="144268" y="939395"/>
                </a:moveTo>
                <a:lnTo>
                  <a:pt x="143354" y="939580"/>
                </a:lnTo>
                <a:lnTo>
                  <a:pt x="144077" y="939739"/>
                </a:lnTo>
                <a:close/>
                <a:moveTo>
                  <a:pt x="162575" y="933530"/>
                </a:moveTo>
                <a:lnTo>
                  <a:pt x="161704" y="935101"/>
                </a:lnTo>
                <a:lnTo>
                  <a:pt x="170045" y="933585"/>
                </a:lnTo>
                <a:close/>
                <a:moveTo>
                  <a:pt x="1321645" y="918415"/>
                </a:moveTo>
                <a:lnTo>
                  <a:pt x="1321534" y="920177"/>
                </a:lnTo>
                <a:lnTo>
                  <a:pt x="1321740" y="918415"/>
                </a:lnTo>
                <a:close/>
                <a:moveTo>
                  <a:pt x="1319333" y="915183"/>
                </a:moveTo>
                <a:lnTo>
                  <a:pt x="1318544" y="918029"/>
                </a:lnTo>
                <a:lnTo>
                  <a:pt x="1318702" y="918029"/>
                </a:lnTo>
                <a:close/>
                <a:moveTo>
                  <a:pt x="1326355" y="907109"/>
                </a:moveTo>
                <a:lnTo>
                  <a:pt x="1326355" y="910983"/>
                </a:lnTo>
                <a:lnTo>
                  <a:pt x="1325831" y="911101"/>
                </a:lnTo>
                <a:lnTo>
                  <a:pt x="1326426" y="911369"/>
                </a:lnTo>
                <a:cubicBezTo>
                  <a:pt x="1326426" y="909974"/>
                  <a:pt x="1326426" y="908579"/>
                  <a:pt x="1326426" y="907141"/>
                </a:cubicBezTo>
                <a:close/>
                <a:moveTo>
                  <a:pt x="1328144" y="892192"/>
                </a:moveTo>
                <a:lnTo>
                  <a:pt x="1327667" y="893446"/>
                </a:lnTo>
                <a:lnTo>
                  <a:pt x="1327989" y="893049"/>
                </a:lnTo>
                <a:close/>
                <a:moveTo>
                  <a:pt x="49605" y="887420"/>
                </a:moveTo>
                <a:lnTo>
                  <a:pt x="48549" y="891229"/>
                </a:lnTo>
                <a:lnTo>
                  <a:pt x="49956" y="887420"/>
                </a:lnTo>
                <a:close/>
                <a:moveTo>
                  <a:pt x="1332266" y="883369"/>
                </a:moveTo>
                <a:lnTo>
                  <a:pt x="1329479" y="884207"/>
                </a:lnTo>
                <a:lnTo>
                  <a:pt x="1329509" y="884816"/>
                </a:lnTo>
                <a:lnTo>
                  <a:pt x="1329551" y="884594"/>
                </a:lnTo>
                <a:close/>
                <a:moveTo>
                  <a:pt x="1555987" y="821766"/>
                </a:moveTo>
                <a:lnTo>
                  <a:pt x="1555987" y="822201"/>
                </a:lnTo>
                <a:lnTo>
                  <a:pt x="1556081" y="822189"/>
                </a:lnTo>
                <a:close/>
                <a:moveTo>
                  <a:pt x="1565360" y="810928"/>
                </a:moveTo>
                <a:lnTo>
                  <a:pt x="1564871" y="811809"/>
                </a:lnTo>
                <a:lnTo>
                  <a:pt x="1567314" y="810928"/>
                </a:lnTo>
                <a:close/>
                <a:moveTo>
                  <a:pt x="1563797" y="810928"/>
                </a:moveTo>
                <a:lnTo>
                  <a:pt x="1556762" y="814736"/>
                </a:lnTo>
                <a:lnTo>
                  <a:pt x="1563797" y="812197"/>
                </a:lnTo>
                <a:close/>
                <a:moveTo>
                  <a:pt x="265833" y="806020"/>
                </a:moveTo>
                <a:lnTo>
                  <a:pt x="263704" y="809861"/>
                </a:lnTo>
                <a:lnTo>
                  <a:pt x="263704" y="816750"/>
                </a:lnTo>
                <a:lnTo>
                  <a:pt x="264113" y="816565"/>
                </a:lnTo>
                <a:cubicBezTo>
                  <a:pt x="264048" y="815315"/>
                  <a:pt x="263984" y="814065"/>
                  <a:pt x="263918" y="812777"/>
                </a:cubicBezTo>
                <a:close/>
                <a:moveTo>
                  <a:pt x="263774" y="779374"/>
                </a:moveTo>
                <a:lnTo>
                  <a:pt x="263704" y="783086"/>
                </a:lnTo>
                <a:cubicBezTo>
                  <a:pt x="263961" y="783987"/>
                  <a:pt x="264219" y="784888"/>
                  <a:pt x="264484" y="785816"/>
                </a:cubicBezTo>
                <a:cubicBezTo>
                  <a:pt x="265299" y="788846"/>
                  <a:pt x="265316" y="791337"/>
                  <a:pt x="265265" y="794448"/>
                </a:cubicBezTo>
                <a:cubicBezTo>
                  <a:pt x="265103" y="797155"/>
                  <a:pt x="265022" y="798508"/>
                  <a:pt x="265217" y="799730"/>
                </a:cubicBezTo>
                <a:lnTo>
                  <a:pt x="266556" y="803466"/>
                </a:lnTo>
                <a:lnTo>
                  <a:pt x="267237" y="801063"/>
                </a:lnTo>
                <a:cubicBezTo>
                  <a:pt x="266721" y="800598"/>
                  <a:pt x="266206" y="800133"/>
                  <a:pt x="265675" y="799654"/>
                </a:cubicBezTo>
                <a:cubicBezTo>
                  <a:pt x="265601" y="797718"/>
                  <a:pt x="265617" y="795778"/>
                  <a:pt x="265675" y="793841"/>
                </a:cubicBezTo>
                <a:close/>
                <a:moveTo>
                  <a:pt x="260988" y="770061"/>
                </a:moveTo>
                <a:lnTo>
                  <a:pt x="260988" y="771364"/>
                </a:lnTo>
                <a:lnTo>
                  <a:pt x="263497" y="777263"/>
                </a:lnTo>
                <a:lnTo>
                  <a:pt x="262551" y="770061"/>
                </a:lnTo>
                <a:cubicBezTo>
                  <a:pt x="262035" y="770061"/>
                  <a:pt x="261520" y="770061"/>
                  <a:pt x="260988" y="770061"/>
                </a:cubicBezTo>
                <a:close/>
                <a:moveTo>
                  <a:pt x="157888" y="651686"/>
                </a:moveTo>
                <a:lnTo>
                  <a:pt x="157415" y="651764"/>
                </a:lnTo>
                <a:lnTo>
                  <a:pt x="160373" y="652274"/>
                </a:lnTo>
                <a:close/>
                <a:moveTo>
                  <a:pt x="267237" y="426537"/>
                </a:moveTo>
                <a:lnTo>
                  <a:pt x="267237" y="427619"/>
                </a:lnTo>
                <a:cubicBezTo>
                  <a:pt x="268274" y="427791"/>
                  <a:pt x="269311" y="427961"/>
                  <a:pt x="270380" y="428137"/>
                </a:cubicBezTo>
                <a:lnTo>
                  <a:pt x="273548" y="428680"/>
                </a:lnTo>
                <a:close/>
                <a:moveTo>
                  <a:pt x="37605" y="359270"/>
                </a:moveTo>
                <a:lnTo>
                  <a:pt x="37103" y="361533"/>
                </a:lnTo>
                <a:lnTo>
                  <a:pt x="37605" y="361382"/>
                </a:lnTo>
                <a:close/>
                <a:moveTo>
                  <a:pt x="52477" y="337570"/>
                </a:moveTo>
                <a:lnTo>
                  <a:pt x="47288" y="342340"/>
                </a:lnTo>
                <a:lnTo>
                  <a:pt x="45805" y="345093"/>
                </a:lnTo>
                <a:close/>
                <a:moveTo>
                  <a:pt x="104291" y="336166"/>
                </a:moveTo>
                <a:lnTo>
                  <a:pt x="103776" y="337559"/>
                </a:lnTo>
                <a:lnTo>
                  <a:pt x="108925" y="336166"/>
                </a:lnTo>
                <a:close/>
                <a:moveTo>
                  <a:pt x="1309237" y="322954"/>
                </a:moveTo>
                <a:lnTo>
                  <a:pt x="1309180" y="330559"/>
                </a:lnTo>
                <a:lnTo>
                  <a:pt x="1309237" y="330520"/>
                </a:lnTo>
                <a:close/>
                <a:moveTo>
                  <a:pt x="1308964" y="317715"/>
                </a:moveTo>
                <a:lnTo>
                  <a:pt x="1309237" y="318569"/>
                </a:lnTo>
                <a:lnTo>
                  <a:pt x="1309237" y="317838"/>
                </a:lnTo>
                <a:close/>
                <a:moveTo>
                  <a:pt x="1310087" y="313153"/>
                </a:moveTo>
                <a:lnTo>
                  <a:pt x="1307609" y="313473"/>
                </a:lnTo>
                <a:lnTo>
                  <a:pt x="1308045" y="314836"/>
                </a:lnTo>
                <a:close/>
                <a:moveTo>
                  <a:pt x="1318544" y="312064"/>
                </a:moveTo>
                <a:lnTo>
                  <a:pt x="1316298" y="312353"/>
                </a:lnTo>
                <a:lnTo>
                  <a:pt x="1318544" y="312205"/>
                </a:lnTo>
                <a:close/>
                <a:moveTo>
                  <a:pt x="1084622" y="267674"/>
                </a:moveTo>
                <a:lnTo>
                  <a:pt x="1084227" y="268378"/>
                </a:lnTo>
                <a:cubicBezTo>
                  <a:pt x="1082679" y="268378"/>
                  <a:pt x="1081133" y="268378"/>
                  <a:pt x="1079540" y="268378"/>
                </a:cubicBezTo>
                <a:lnTo>
                  <a:pt x="1079603" y="268477"/>
                </a:lnTo>
                <a:lnTo>
                  <a:pt x="1084192" y="268477"/>
                </a:lnTo>
                <a:close/>
                <a:moveTo>
                  <a:pt x="956410" y="266968"/>
                </a:moveTo>
                <a:lnTo>
                  <a:pt x="957576" y="267083"/>
                </a:lnTo>
                <a:lnTo>
                  <a:pt x="957576" y="269776"/>
                </a:lnTo>
                <a:lnTo>
                  <a:pt x="957694" y="269787"/>
                </a:lnTo>
                <a:cubicBezTo>
                  <a:pt x="957694" y="268857"/>
                  <a:pt x="957694" y="267927"/>
                  <a:pt x="957694" y="266968"/>
                </a:cubicBezTo>
                <a:close/>
                <a:moveTo>
                  <a:pt x="1089372" y="259220"/>
                </a:moveTo>
                <a:lnTo>
                  <a:pt x="1085856" y="265479"/>
                </a:lnTo>
                <a:lnTo>
                  <a:pt x="1088878" y="261431"/>
                </a:lnTo>
                <a:close/>
                <a:moveTo>
                  <a:pt x="1018517" y="223356"/>
                </a:moveTo>
                <a:lnTo>
                  <a:pt x="1013866" y="226190"/>
                </a:lnTo>
                <a:lnTo>
                  <a:pt x="1013024" y="227709"/>
                </a:lnTo>
                <a:lnTo>
                  <a:pt x="1017055" y="224692"/>
                </a:lnTo>
                <a:close/>
                <a:moveTo>
                  <a:pt x="850645" y="220099"/>
                </a:moveTo>
                <a:lnTo>
                  <a:pt x="850897" y="221488"/>
                </a:lnTo>
                <a:cubicBezTo>
                  <a:pt x="851086" y="222545"/>
                  <a:pt x="851275" y="223602"/>
                  <a:pt x="851470" y="224692"/>
                </a:cubicBezTo>
                <a:lnTo>
                  <a:pt x="852860" y="224692"/>
                </a:lnTo>
                <a:close/>
                <a:moveTo>
                  <a:pt x="1155019" y="35"/>
                </a:moveTo>
                <a:cubicBezTo>
                  <a:pt x="1161775" y="275"/>
                  <a:pt x="1168415" y="1783"/>
                  <a:pt x="1174829" y="4853"/>
                </a:cubicBezTo>
                <a:cubicBezTo>
                  <a:pt x="1176343" y="5231"/>
                  <a:pt x="1177858" y="5609"/>
                  <a:pt x="1179418" y="5998"/>
                </a:cubicBezTo>
                <a:cubicBezTo>
                  <a:pt x="1189392" y="9487"/>
                  <a:pt x="1196322" y="14392"/>
                  <a:pt x="1201385" y="22997"/>
                </a:cubicBezTo>
                <a:cubicBezTo>
                  <a:pt x="1206849" y="35244"/>
                  <a:pt x="1206940" y="49865"/>
                  <a:pt x="1201678" y="62191"/>
                </a:cubicBezTo>
                <a:cubicBezTo>
                  <a:pt x="1200594" y="64241"/>
                  <a:pt x="1199461" y="66271"/>
                  <a:pt x="1198261" y="68268"/>
                </a:cubicBezTo>
                <a:cubicBezTo>
                  <a:pt x="1197423" y="69721"/>
                  <a:pt x="1196586" y="71175"/>
                  <a:pt x="1195723" y="72672"/>
                </a:cubicBezTo>
                <a:cubicBezTo>
                  <a:pt x="1194659" y="73980"/>
                  <a:pt x="1194659" y="73980"/>
                  <a:pt x="1193575" y="75314"/>
                </a:cubicBezTo>
                <a:cubicBezTo>
                  <a:pt x="1192544" y="75314"/>
                  <a:pt x="1191512" y="75314"/>
                  <a:pt x="1190450" y="75314"/>
                </a:cubicBezTo>
                <a:cubicBezTo>
                  <a:pt x="1190128" y="76651"/>
                  <a:pt x="1189806" y="77988"/>
                  <a:pt x="1189474" y="79366"/>
                </a:cubicBezTo>
                <a:cubicBezTo>
                  <a:pt x="1187326" y="83769"/>
                  <a:pt x="1187326" y="83769"/>
                  <a:pt x="1182445" y="85707"/>
                </a:cubicBezTo>
                <a:cubicBezTo>
                  <a:pt x="1180962" y="85998"/>
                  <a:pt x="1179480" y="86289"/>
                  <a:pt x="1177953" y="86588"/>
                </a:cubicBezTo>
                <a:cubicBezTo>
                  <a:pt x="1177953" y="87518"/>
                  <a:pt x="1177953" y="88448"/>
                  <a:pt x="1177953" y="89406"/>
                </a:cubicBezTo>
                <a:cubicBezTo>
                  <a:pt x="1175369" y="91088"/>
                  <a:pt x="1172720" y="92688"/>
                  <a:pt x="1170045" y="94251"/>
                </a:cubicBezTo>
                <a:cubicBezTo>
                  <a:pt x="1154651" y="104199"/>
                  <a:pt x="1148918" y="116979"/>
                  <a:pt x="1143806" y="132828"/>
                </a:cubicBezTo>
                <a:cubicBezTo>
                  <a:pt x="1142095" y="137144"/>
                  <a:pt x="1140989" y="138617"/>
                  <a:pt x="1137338" y="141548"/>
                </a:cubicBezTo>
                <a:cubicBezTo>
                  <a:pt x="1136166" y="144148"/>
                  <a:pt x="1134992" y="146751"/>
                  <a:pt x="1133970" y="149403"/>
                </a:cubicBezTo>
                <a:cubicBezTo>
                  <a:pt x="1132069" y="154334"/>
                  <a:pt x="1130006" y="159210"/>
                  <a:pt x="1127965" y="164095"/>
                </a:cubicBezTo>
                <a:cubicBezTo>
                  <a:pt x="1126897" y="166664"/>
                  <a:pt x="1125830" y="169233"/>
                  <a:pt x="1124762" y="171802"/>
                </a:cubicBezTo>
                <a:cubicBezTo>
                  <a:pt x="1122961" y="176134"/>
                  <a:pt x="1121160" y="180466"/>
                  <a:pt x="1119359" y="184798"/>
                </a:cubicBezTo>
                <a:cubicBezTo>
                  <a:pt x="1116567" y="191508"/>
                  <a:pt x="1113778" y="198220"/>
                  <a:pt x="1111014" y="204941"/>
                </a:cubicBezTo>
                <a:cubicBezTo>
                  <a:pt x="1110590" y="205970"/>
                  <a:pt x="1110165" y="206999"/>
                  <a:pt x="1109729" y="208059"/>
                </a:cubicBezTo>
                <a:cubicBezTo>
                  <a:pt x="1108615" y="210762"/>
                  <a:pt x="1107505" y="213466"/>
                  <a:pt x="1106395" y="216170"/>
                </a:cubicBezTo>
                <a:cubicBezTo>
                  <a:pt x="1104320" y="220956"/>
                  <a:pt x="1103283" y="223349"/>
                  <a:pt x="1102147" y="224810"/>
                </a:cubicBezTo>
                <a:lnTo>
                  <a:pt x="1098261" y="227262"/>
                </a:lnTo>
                <a:lnTo>
                  <a:pt x="1098367" y="238475"/>
                </a:lnTo>
                <a:cubicBezTo>
                  <a:pt x="1098025" y="239757"/>
                  <a:pt x="1097684" y="241038"/>
                  <a:pt x="1097331" y="242358"/>
                </a:cubicBezTo>
                <a:cubicBezTo>
                  <a:pt x="1096958" y="243711"/>
                  <a:pt x="1096585" y="245064"/>
                  <a:pt x="1096201" y="246458"/>
                </a:cubicBezTo>
                <a:cubicBezTo>
                  <a:pt x="1093302" y="257363"/>
                  <a:pt x="1090901" y="268062"/>
                  <a:pt x="1089440" y="279206"/>
                </a:cubicBezTo>
                <a:cubicBezTo>
                  <a:pt x="1088878" y="282569"/>
                  <a:pt x="1088878" y="282569"/>
                  <a:pt x="1087316" y="283978"/>
                </a:cubicBezTo>
                <a:cubicBezTo>
                  <a:pt x="1087070" y="286587"/>
                  <a:pt x="1086924" y="289205"/>
                  <a:pt x="1086822" y="291822"/>
                </a:cubicBezTo>
                <a:cubicBezTo>
                  <a:pt x="1086756" y="293408"/>
                  <a:pt x="1086691" y="294993"/>
                  <a:pt x="1086623" y="296625"/>
                </a:cubicBezTo>
                <a:cubicBezTo>
                  <a:pt x="1086562" y="298294"/>
                  <a:pt x="1086501" y="299962"/>
                  <a:pt x="1086437" y="301681"/>
                </a:cubicBezTo>
                <a:cubicBezTo>
                  <a:pt x="1086336" y="304192"/>
                  <a:pt x="1086336" y="304192"/>
                  <a:pt x="1086233" y="306754"/>
                </a:cubicBezTo>
                <a:lnTo>
                  <a:pt x="1086007" y="312619"/>
                </a:lnTo>
                <a:lnTo>
                  <a:pt x="1087470" y="320554"/>
                </a:lnTo>
                <a:cubicBezTo>
                  <a:pt x="1089648" y="325409"/>
                  <a:pt x="1093111" y="329799"/>
                  <a:pt x="1098285" y="334611"/>
                </a:cubicBezTo>
                <a:cubicBezTo>
                  <a:pt x="1100424" y="336130"/>
                  <a:pt x="1100424" y="336130"/>
                  <a:pt x="1102607" y="337679"/>
                </a:cubicBezTo>
                <a:cubicBezTo>
                  <a:pt x="1104334" y="338951"/>
                  <a:pt x="1104334" y="338951"/>
                  <a:pt x="1106095" y="340248"/>
                </a:cubicBezTo>
                <a:cubicBezTo>
                  <a:pt x="1106095" y="341178"/>
                  <a:pt x="1106095" y="342108"/>
                  <a:pt x="1106095" y="343066"/>
                </a:cubicBezTo>
                <a:cubicBezTo>
                  <a:pt x="1107127" y="343183"/>
                  <a:pt x="1108158" y="343299"/>
                  <a:pt x="1109220" y="343419"/>
                </a:cubicBezTo>
                <a:cubicBezTo>
                  <a:pt x="1115473" y="344829"/>
                  <a:pt x="1120724" y="347416"/>
                  <a:pt x="1126403" y="350112"/>
                </a:cubicBezTo>
                <a:cubicBezTo>
                  <a:pt x="1128207" y="350926"/>
                  <a:pt x="1130012" y="351740"/>
                  <a:pt x="1131871" y="352579"/>
                </a:cubicBezTo>
                <a:cubicBezTo>
                  <a:pt x="1133159" y="353160"/>
                  <a:pt x="1134448" y="353741"/>
                  <a:pt x="1135776" y="354340"/>
                </a:cubicBezTo>
                <a:cubicBezTo>
                  <a:pt x="1135776" y="355270"/>
                  <a:pt x="1135776" y="356200"/>
                  <a:pt x="1135776" y="357158"/>
                </a:cubicBezTo>
                <a:cubicBezTo>
                  <a:pt x="1148107" y="360029"/>
                  <a:pt x="1158679" y="359101"/>
                  <a:pt x="1170143" y="354340"/>
                </a:cubicBezTo>
                <a:cubicBezTo>
                  <a:pt x="1172366" y="353468"/>
                  <a:pt x="1172366" y="353468"/>
                  <a:pt x="1174634" y="352579"/>
                </a:cubicBezTo>
                <a:cubicBezTo>
                  <a:pt x="1180354" y="349689"/>
                  <a:pt x="1185568" y="346355"/>
                  <a:pt x="1190890" y="342907"/>
                </a:cubicBezTo>
                <a:cubicBezTo>
                  <a:pt x="1195169" y="340228"/>
                  <a:pt x="1199557" y="337821"/>
                  <a:pt x="1204021" y="335404"/>
                </a:cubicBezTo>
                <a:cubicBezTo>
                  <a:pt x="1211989" y="330886"/>
                  <a:pt x="1217509" y="325766"/>
                  <a:pt x="1223255" y="319110"/>
                </a:cubicBezTo>
                <a:cubicBezTo>
                  <a:pt x="1224447" y="317947"/>
                  <a:pt x="1225639" y="316784"/>
                  <a:pt x="1226868" y="315587"/>
                </a:cubicBezTo>
                <a:cubicBezTo>
                  <a:pt x="1229855" y="311593"/>
                  <a:pt x="1230852" y="308240"/>
                  <a:pt x="1231859" y="303559"/>
                </a:cubicBezTo>
                <a:cubicBezTo>
                  <a:pt x="1232628" y="300790"/>
                  <a:pt x="1232628" y="300790"/>
                  <a:pt x="1234178" y="298059"/>
                </a:cubicBezTo>
                <a:cubicBezTo>
                  <a:pt x="1235964" y="294761"/>
                  <a:pt x="1236623" y="291807"/>
                  <a:pt x="1237314" y="288195"/>
                </a:cubicBezTo>
                <a:cubicBezTo>
                  <a:pt x="1239360" y="278571"/>
                  <a:pt x="1242414" y="272733"/>
                  <a:pt x="1249811" y="265559"/>
                </a:cubicBezTo>
                <a:cubicBezTo>
                  <a:pt x="1250842" y="265559"/>
                  <a:pt x="1251873" y="265559"/>
                  <a:pt x="1252935" y="265559"/>
                </a:cubicBezTo>
                <a:cubicBezTo>
                  <a:pt x="1252935" y="264629"/>
                  <a:pt x="1252935" y="263699"/>
                  <a:pt x="1252935" y="262741"/>
                </a:cubicBezTo>
                <a:cubicBezTo>
                  <a:pt x="1265591" y="253427"/>
                  <a:pt x="1280762" y="251648"/>
                  <a:pt x="1296675" y="252876"/>
                </a:cubicBezTo>
                <a:cubicBezTo>
                  <a:pt x="1300535" y="253563"/>
                  <a:pt x="1303901" y="254478"/>
                  <a:pt x="1307609" y="255695"/>
                </a:cubicBezTo>
                <a:cubicBezTo>
                  <a:pt x="1307609" y="256625"/>
                  <a:pt x="1307609" y="257555"/>
                  <a:pt x="1307609" y="258513"/>
                </a:cubicBezTo>
                <a:cubicBezTo>
                  <a:pt x="1309021" y="258619"/>
                  <a:pt x="1310432" y="258723"/>
                  <a:pt x="1311887" y="258832"/>
                </a:cubicBezTo>
                <a:cubicBezTo>
                  <a:pt x="1319573" y="260476"/>
                  <a:pt x="1322149" y="264416"/>
                  <a:pt x="1326715" y="269969"/>
                </a:cubicBezTo>
                <a:cubicBezTo>
                  <a:pt x="1334402" y="281220"/>
                  <a:pt x="1336114" y="294839"/>
                  <a:pt x="1334165" y="307836"/>
                </a:cubicBezTo>
                <a:cubicBezTo>
                  <a:pt x="1332176" y="311898"/>
                  <a:pt x="1332176" y="311898"/>
                  <a:pt x="1329479" y="314882"/>
                </a:cubicBezTo>
                <a:cubicBezTo>
                  <a:pt x="1327417" y="314882"/>
                  <a:pt x="1325355" y="314882"/>
                  <a:pt x="1323231" y="314882"/>
                </a:cubicBezTo>
                <a:cubicBezTo>
                  <a:pt x="1323231" y="315812"/>
                  <a:pt x="1323231" y="316742"/>
                  <a:pt x="1323231" y="317700"/>
                </a:cubicBezTo>
                <a:lnTo>
                  <a:pt x="1322774" y="317838"/>
                </a:lnTo>
                <a:lnTo>
                  <a:pt x="1323295" y="317838"/>
                </a:lnTo>
                <a:cubicBezTo>
                  <a:pt x="1323295" y="316907"/>
                  <a:pt x="1323295" y="315977"/>
                  <a:pt x="1323295" y="315019"/>
                </a:cubicBezTo>
                <a:cubicBezTo>
                  <a:pt x="1324842" y="315019"/>
                  <a:pt x="1326388" y="315019"/>
                  <a:pt x="1327982" y="315019"/>
                </a:cubicBezTo>
                <a:cubicBezTo>
                  <a:pt x="1325845" y="321328"/>
                  <a:pt x="1322753" y="323742"/>
                  <a:pt x="1317047" y="327702"/>
                </a:cubicBezTo>
                <a:cubicBezTo>
                  <a:pt x="1316531" y="329097"/>
                  <a:pt x="1316016" y="330492"/>
                  <a:pt x="1315484" y="331930"/>
                </a:cubicBezTo>
                <a:cubicBezTo>
                  <a:pt x="1312599" y="332959"/>
                  <a:pt x="1312599" y="332959"/>
                  <a:pt x="1309139" y="333603"/>
                </a:cubicBezTo>
                <a:cubicBezTo>
                  <a:pt x="1307993" y="333827"/>
                  <a:pt x="1306847" y="334050"/>
                  <a:pt x="1305666" y="334280"/>
                </a:cubicBezTo>
                <a:cubicBezTo>
                  <a:pt x="1304783" y="334434"/>
                  <a:pt x="1303899" y="334589"/>
                  <a:pt x="1302988" y="334748"/>
                </a:cubicBezTo>
                <a:lnTo>
                  <a:pt x="1305905" y="332775"/>
                </a:lnTo>
                <a:lnTo>
                  <a:pt x="1304485" y="333202"/>
                </a:lnTo>
                <a:cubicBezTo>
                  <a:pt x="1302987" y="334640"/>
                  <a:pt x="1302987" y="334640"/>
                  <a:pt x="1301459" y="336108"/>
                </a:cubicBezTo>
                <a:cubicBezTo>
                  <a:pt x="1298237" y="338839"/>
                  <a:pt x="1298237" y="338839"/>
                  <a:pt x="1291989" y="338839"/>
                </a:cubicBezTo>
                <a:cubicBezTo>
                  <a:pt x="1291473" y="340234"/>
                  <a:pt x="1290957" y="341629"/>
                  <a:pt x="1290426" y="343066"/>
                </a:cubicBezTo>
                <a:cubicBezTo>
                  <a:pt x="1288879" y="343415"/>
                  <a:pt x="1287333" y="343764"/>
                  <a:pt x="1285740" y="344123"/>
                </a:cubicBezTo>
                <a:cubicBezTo>
                  <a:pt x="1266905" y="348491"/>
                  <a:pt x="1249005" y="369098"/>
                  <a:pt x="1237314" y="382525"/>
                </a:cubicBezTo>
                <a:cubicBezTo>
                  <a:pt x="1235678" y="385783"/>
                  <a:pt x="1234122" y="389075"/>
                  <a:pt x="1232628" y="392389"/>
                </a:cubicBezTo>
                <a:cubicBezTo>
                  <a:pt x="1231317" y="394515"/>
                  <a:pt x="1229981" y="396629"/>
                  <a:pt x="1228625" y="398731"/>
                </a:cubicBezTo>
                <a:cubicBezTo>
                  <a:pt x="1221457" y="410300"/>
                  <a:pt x="1219465" y="421836"/>
                  <a:pt x="1222822" y="434798"/>
                </a:cubicBezTo>
                <a:cubicBezTo>
                  <a:pt x="1229360" y="453710"/>
                  <a:pt x="1244088" y="472467"/>
                  <a:pt x="1260746" y="485398"/>
                </a:cubicBezTo>
                <a:cubicBezTo>
                  <a:pt x="1264961" y="487349"/>
                  <a:pt x="1264961" y="487349"/>
                  <a:pt x="1268556" y="488216"/>
                </a:cubicBezTo>
                <a:cubicBezTo>
                  <a:pt x="1268556" y="489146"/>
                  <a:pt x="1268556" y="490076"/>
                  <a:pt x="1268556" y="491034"/>
                </a:cubicBezTo>
                <a:cubicBezTo>
                  <a:pt x="1288790" y="497071"/>
                  <a:pt x="1319055" y="498555"/>
                  <a:pt x="1338852" y="489625"/>
                </a:cubicBezTo>
                <a:cubicBezTo>
                  <a:pt x="1341711" y="489213"/>
                  <a:pt x="1344575" y="488837"/>
                  <a:pt x="1347444" y="488480"/>
                </a:cubicBezTo>
                <a:cubicBezTo>
                  <a:pt x="1355372" y="487345"/>
                  <a:pt x="1362033" y="485390"/>
                  <a:pt x="1369362" y="482513"/>
                </a:cubicBezTo>
                <a:cubicBezTo>
                  <a:pt x="1375665" y="480318"/>
                  <a:pt x="1382189" y="479322"/>
                  <a:pt x="1388840" y="478351"/>
                </a:cubicBezTo>
                <a:cubicBezTo>
                  <a:pt x="1388840" y="477421"/>
                  <a:pt x="1388840" y="476492"/>
                  <a:pt x="1388840" y="475533"/>
                </a:cubicBezTo>
                <a:cubicBezTo>
                  <a:pt x="1391083" y="474821"/>
                  <a:pt x="1393329" y="474118"/>
                  <a:pt x="1395576" y="473419"/>
                </a:cubicBezTo>
                <a:cubicBezTo>
                  <a:pt x="1396827" y="473027"/>
                  <a:pt x="1398077" y="472635"/>
                  <a:pt x="1399365" y="472230"/>
                </a:cubicBezTo>
                <a:cubicBezTo>
                  <a:pt x="1402899" y="471305"/>
                  <a:pt x="1402899" y="471305"/>
                  <a:pt x="1407585" y="471305"/>
                </a:cubicBezTo>
                <a:cubicBezTo>
                  <a:pt x="1408101" y="469910"/>
                  <a:pt x="1408616" y="468515"/>
                  <a:pt x="1409147" y="467078"/>
                </a:cubicBezTo>
                <a:cubicBezTo>
                  <a:pt x="1412388" y="465580"/>
                  <a:pt x="1412388" y="465580"/>
                  <a:pt x="1416470" y="464259"/>
                </a:cubicBezTo>
                <a:cubicBezTo>
                  <a:pt x="1424029" y="461705"/>
                  <a:pt x="1431130" y="458955"/>
                  <a:pt x="1437949" y="455011"/>
                </a:cubicBezTo>
                <a:cubicBezTo>
                  <a:pt x="1442765" y="452574"/>
                  <a:pt x="1447553" y="451394"/>
                  <a:pt x="1452887" y="450167"/>
                </a:cubicBezTo>
                <a:cubicBezTo>
                  <a:pt x="1452887" y="449237"/>
                  <a:pt x="1452887" y="448307"/>
                  <a:pt x="1452887" y="447349"/>
                </a:cubicBezTo>
                <a:cubicBezTo>
                  <a:pt x="1453714" y="446944"/>
                  <a:pt x="1454541" y="446539"/>
                  <a:pt x="1455394" y="446122"/>
                </a:cubicBezTo>
                <a:cubicBezTo>
                  <a:pt x="1459151" y="444278"/>
                  <a:pt x="1462902" y="442422"/>
                  <a:pt x="1466653" y="440567"/>
                </a:cubicBezTo>
                <a:cubicBezTo>
                  <a:pt x="1467955" y="439930"/>
                  <a:pt x="1469256" y="439293"/>
                  <a:pt x="1470598" y="438637"/>
                </a:cubicBezTo>
                <a:cubicBezTo>
                  <a:pt x="1471852" y="438016"/>
                  <a:pt x="1473105" y="437393"/>
                  <a:pt x="1474397" y="436752"/>
                </a:cubicBezTo>
                <a:cubicBezTo>
                  <a:pt x="1475550" y="436184"/>
                  <a:pt x="1476703" y="435616"/>
                  <a:pt x="1477892" y="435030"/>
                </a:cubicBezTo>
                <a:cubicBezTo>
                  <a:pt x="1480966" y="433279"/>
                  <a:pt x="1483173" y="431373"/>
                  <a:pt x="1485691" y="429029"/>
                </a:cubicBezTo>
                <a:cubicBezTo>
                  <a:pt x="1486737" y="428575"/>
                  <a:pt x="1487781" y="428121"/>
                  <a:pt x="1488858" y="427653"/>
                </a:cubicBezTo>
                <a:cubicBezTo>
                  <a:pt x="1492438" y="425977"/>
                  <a:pt x="1493705" y="424453"/>
                  <a:pt x="1495943" y="421454"/>
                </a:cubicBezTo>
                <a:cubicBezTo>
                  <a:pt x="1507114" y="407544"/>
                  <a:pt x="1519758" y="393513"/>
                  <a:pt x="1538608" y="388338"/>
                </a:cubicBezTo>
                <a:cubicBezTo>
                  <a:pt x="1541025" y="388250"/>
                  <a:pt x="1541025" y="388250"/>
                  <a:pt x="1543490" y="388161"/>
                </a:cubicBezTo>
                <a:cubicBezTo>
                  <a:pt x="1545535" y="387984"/>
                  <a:pt x="1545535" y="387984"/>
                  <a:pt x="1547621" y="387804"/>
                </a:cubicBezTo>
                <a:cubicBezTo>
                  <a:pt x="1560659" y="387094"/>
                  <a:pt x="1568716" y="390117"/>
                  <a:pt x="1579418" y="396617"/>
                </a:cubicBezTo>
                <a:cubicBezTo>
                  <a:pt x="1581361" y="397687"/>
                  <a:pt x="1581361" y="397687"/>
                  <a:pt x="1583342" y="398780"/>
                </a:cubicBezTo>
                <a:cubicBezTo>
                  <a:pt x="1593703" y="405068"/>
                  <a:pt x="1598513" y="412459"/>
                  <a:pt x="1601288" y="423392"/>
                </a:cubicBezTo>
                <a:cubicBezTo>
                  <a:pt x="1603295" y="436596"/>
                  <a:pt x="1603517" y="449033"/>
                  <a:pt x="1594484" y="460159"/>
                </a:cubicBezTo>
                <a:cubicBezTo>
                  <a:pt x="1588468" y="466462"/>
                  <a:pt x="1582607" y="471150"/>
                  <a:pt x="1574732" y="475533"/>
                </a:cubicBezTo>
                <a:cubicBezTo>
                  <a:pt x="1573862" y="476043"/>
                  <a:pt x="1572993" y="476553"/>
                  <a:pt x="1572097" y="477078"/>
                </a:cubicBezTo>
                <a:cubicBezTo>
                  <a:pt x="1566828" y="478935"/>
                  <a:pt x="1561641" y="478744"/>
                  <a:pt x="1556066" y="478737"/>
                </a:cubicBezTo>
                <a:cubicBezTo>
                  <a:pt x="1553587" y="478765"/>
                  <a:pt x="1551109" y="478795"/>
                  <a:pt x="1548631" y="478825"/>
                </a:cubicBezTo>
                <a:cubicBezTo>
                  <a:pt x="1544751" y="478857"/>
                  <a:pt x="1540871" y="478880"/>
                  <a:pt x="1536991" y="478889"/>
                </a:cubicBezTo>
                <a:cubicBezTo>
                  <a:pt x="1516714" y="478693"/>
                  <a:pt x="1516714" y="478693"/>
                  <a:pt x="1498188" y="485398"/>
                </a:cubicBezTo>
                <a:cubicBezTo>
                  <a:pt x="1496062" y="486488"/>
                  <a:pt x="1496062" y="486488"/>
                  <a:pt x="1493892" y="487600"/>
                </a:cubicBezTo>
                <a:cubicBezTo>
                  <a:pt x="1492733" y="488268"/>
                  <a:pt x="1491573" y="488937"/>
                  <a:pt x="1490377" y="489625"/>
                </a:cubicBezTo>
                <a:cubicBezTo>
                  <a:pt x="1484304" y="493012"/>
                  <a:pt x="1478212" y="495675"/>
                  <a:pt x="1471650" y="498185"/>
                </a:cubicBezTo>
                <a:cubicBezTo>
                  <a:pt x="1467148" y="500054"/>
                  <a:pt x="1463242" y="502632"/>
                  <a:pt x="1459135" y="505127"/>
                </a:cubicBezTo>
                <a:cubicBezTo>
                  <a:pt x="1456968" y="506120"/>
                  <a:pt x="1454786" y="507086"/>
                  <a:pt x="1452594" y="508033"/>
                </a:cubicBezTo>
                <a:cubicBezTo>
                  <a:pt x="1444148" y="511772"/>
                  <a:pt x="1435969" y="515903"/>
                  <a:pt x="1427795" y="520100"/>
                </a:cubicBezTo>
                <a:cubicBezTo>
                  <a:pt x="1425784" y="521114"/>
                  <a:pt x="1425784" y="521114"/>
                  <a:pt x="1423733" y="522148"/>
                </a:cubicBezTo>
                <a:cubicBezTo>
                  <a:pt x="1422478" y="522798"/>
                  <a:pt x="1421223" y="523449"/>
                  <a:pt x="1419929" y="524118"/>
                </a:cubicBezTo>
                <a:cubicBezTo>
                  <a:pt x="1418794" y="524701"/>
                  <a:pt x="1417658" y="525283"/>
                  <a:pt x="1416487" y="525883"/>
                </a:cubicBezTo>
                <a:cubicBezTo>
                  <a:pt x="1413349" y="527646"/>
                  <a:pt x="1413349" y="527646"/>
                  <a:pt x="1412271" y="531902"/>
                </a:cubicBezTo>
                <a:cubicBezTo>
                  <a:pt x="1407205" y="535203"/>
                  <a:pt x="1402819" y="536744"/>
                  <a:pt x="1396650" y="537539"/>
                </a:cubicBezTo>
                <a:cubicBezTo>
                  <a:pt x="1396650" y="538469"/>
                  <a:pt x="1396650" y="539399"/>
                  <a:pt x="1396650" y="540357"/>
                </a:cubicBezTo>
                <a:cubicBezTo>
                  <a:pt x="1395609" y="540735"/>
                  <a:pt x="1394568" y="541113"/>
                  <a:pt x="1393495" y="541502"/>
                </a:cubicBezTo>
                <a:cubicBezTo>
                  <a:pt x="1381840" y="545973"/>
                  <a:pt x="1372279" y="551715"/>
                  <a:pt x="1362284" y="558678"/>
                </a:cubicBezTo>
                <a:cubicBezTo>
                  <a:pt x="1360170" y="560088"/>
                  <a:pt x="1358055" y="561497"/>
                  <a:pt x="1355937" y="562905"/>
                </a:cubicBezTo>
                <a:cubicBezTo>
                  <a:pt x="1348556" y="567937"/>
                  <a:pt x="1341292" y="573085"/>
                  <a:pt x="1334165" y="578406"/>
                </a:cubicBezTo>
                <a:cubicBezTo>
                  <a:pt x="1332697" y="579472"/>
                  <a:pt x="1332697" y="579472"/>
                  <a:pt x="1331200" y="580559"/>
                </a:cubicBezTo>
                <a:cubicBezTo>
                  <a:pt x="1325067" y="585430"/>
                  <a:pt x="1323406" y="589771"/>
                  <a:pt x="1322175" y="596793"/>
                </a:cubicBezTo>
                <a:cubicBezTo>
                  <a:pt x="1321669" y="599545"/>
                  <a:pt x="1321669" y="599545"/>
                  <a:pt x="1320106" y="602363"/>
                </a:cubicBezTo>
                <a:cubicBezTo>
                  <a:pt x="1318419" y="618189"/>
                  <a:pt x="1322416" y="632767"/>
                  <a:pt x="1328015" y="647640"/>
                </a:cubicBezTo>
                <a:cubicBezTo>
                  <a:pt x="1331267" y="656625"/>
                  <a:pt x="1333170" y="666179"/>
                  <a:pt x="1332604" y="675643"/>
                </a:cubicBezTo>
                <a:cubicBezTo>
                  <a:pt x="1333634" y="675643"/>
                  <a:pt x="1334665" y="675643"/>
                  <a:pt x="1335727" y="675643"/>
                </a:cubicBezTo>
                <a:cubicBezTo>
                  <a:pt x="1337571" y="680632"/>
                  <a:pt x="1337591" y="684795"/>
                  <a:pt x="1337741" y="690059"/>
                </a:cubicBezTo>
                <a:cubicBezTo>
                  <a:pt x="1337826" y="692114"/>
                  <a:pt x="1337913" y="694168"/>
                  <a:pt x="1338003" y="696222"/>
                </a:cubicBezTo>
                <a:cubicBezTo>
                  <a:pt x="1338142" y="699444"/>
                  <a:pt x="1338266" y="702664"/>
                  <a:pt x="1338340" y="705887"/>
                </a:cubicBezTo>
                <a:cubicBezTo>
                  <a:pt x="1338372" y="720474"/>
                  <a:pt x="1338372" y="720474"/>
                  <a:pt x="1345277" y="733245"/>
                </a:cubicBezTo>
                <a:cubicBezTo>
                  <a:pt x="1350822" y="737861"/>
                  <a:pt x="1355921" y="739823"/>
                  <a:pt x="1363162" y="741612"/>
                </a:cubicBezTo>
                <a:cubicBezTo>
                  <a:pt x="1370672" y="743533"/>
                  <a:pt x="1377197" y="745750"/>
                  <a:pt x="1384154" y="748922"/>
                </a:cubicBezTo>
                <a:cubicBezTo>
                  <a:pt x="1387833" y="749898"/>
                  <a:pt x="1387833" y="749898"/>
                  <a:pt x="1391476" y="750419"/>
                </a:cubicBezTo>
                <a:cubicBezTo>
                  <a:pt x="1393499" y="750747"/>
                  <a:pt x="1393499" y="750747"/>
                  <a:pt x="1395564" y="751080"/>
                </a:cubicBezTo>
                <a:cubicBezTo>
                  <a:pt x="1397648" y="751407"/>
                  <a:pt x="1397648" y="751407"/>
                  <a:pt x="1399775" y="751740"/>
                </a:cubicBezTo>
                <a:cubicBezTo>
                  <a:pt x="1401810" y="752111"/>
                  <a:pt x="1401810" y="752111"/>
                  <a:pt x="1403887" y="752489"/>
                </a:cubicBezTo>
                <a:cubicBezTo>
                  <a:pt x="1424247" y="756131"/>
                  <a:pt x="1444708" y="756350"/>
                  <a:pt x="1465383" y="755969"/>
                </a:cubicBezTo>
                <a:cubicBezTo>
                  <a:pt x="1467019" y="755945"/>
                  <a:pt x="1468654" y="755921"/>
                  <a:pt x="1470339" y="755897"/>
                </a:cubicBezTo>
                <a:cubicBezTo>
                  <a:pt x="1480128" y="755450"/>
                  <a:pt x="1487899" y="752933"/>
                  <a:pt x="1496809" y="749313"/>
                </a:cubicBezTo>
                <a:cubicBezTo>
                  <a:pt x="1502876" y="746888"/>
                  <a:pt x="1509049" y="745091"/>
                  <a:pt x="1515371" y="743285"/>
                </a:cubicBezTo>
                <a:cubicBezTo>
                  <a:pt x="1515371" y="742356"/>
                  <a:pt x="1515371" y="741425"/>
                  <a:pt x="1515371" y="740467"/>
                </a:cubicBezTo>
                <a:cubicBezTo>
                  <a:pt x="1522710" y="737103"/>
                  <a:pt x="1529583" y="737106"/>
                  <a:pt x="1537632" y="737120"/>
                </a:cubicBezTo>
                <a:cubicBezTo>
                  <a:pt x="1538960" y="737122"/>
                  <a:pt x="1540289" y="737124"/>
                  <a:pt x="1541657" y="737127"/>
                </a:cubicBezTo>
                <a:cubicBezTo>
                  <a:pt x="1555502" y="737372"/>
                  <a:pt x="1564314" y="740697"/>
                  <a:pt x="1574732" y="748922"/>
                </a:cubicBezTo>
                <a:cubicBezTo>
                  <a:pt x="1586507" y="762822"/>
                  <a:pt x="1590347" y="775219"/>
                  <a:pt x="1588791" y="792608"/>
                </a:cubicBezTo>
                <a:cubicBezTo>
                  <a:pt x="1587728" y="797050"/>
                  <a:pt x="1586468" y="801261"/>
                  <a:pt x="1584105" y="805291"/>
                </a:cubicBezTo>
                <a:cubicBezTo>
                  <a:pt x="1583074" y="805756"/>
                  <a:pt x="1582043" y="806221"/>
                  <a:pt x="1580981" y="806700"/>
                </a:cubicBezTo>
                <a:cubicBezTo>
                  <a:pt x="1580240" y="807892"/>
                  <a:pt x="1579499" y="809083"/>
                  <a:pt x="1578735" y="810311"/>
                </a:cubicBezTo>
                <a:cubicBezTo>
                  <a:pt x="1577930" y="811445"/>
                  <a:pt x="1577124" y="812579"/>
                  <a:pt x="1576295" y="813746"/>
                </a:cubicBezTo>
                <a:lnTo>
                  <a:pt x="1571652" y="813746"/>
                </a:lnTo>
                <a:lnTo>
                  <a:pt x="1571785" y="814106"/>
                </a:lnTo>
                <a:cubicBezTo>
                  <a:pt x="1572816" y="814571"/>
                  <a:pt x="1573846" y="815036"/>
                  <a:pt x="1574909" y="815515"/>
                </a:cubicBezTo>
                <a:cubicBezTo>
                  <a:pt x="1572126" y="818758"/>
                  <a:pt x="1569968" y="820871"/>
                  <a:pt x="1565463" y="821839"/>
                </a:cubicBezTo>
                <a:lnTo>
                  <a:pt x="1562085" y="822101"/>
                </a:lnTo>
                <a:lnTo>
                  <a:pt x="1551301" y="825020"/>
                </a:lnTo>
                <a:cubicBezTo>
                  <a:pt x="1551301" y="825950"/>
                  <a:pt x="1551301" y="826880"/>
                  <a:pt x="1551301" y="827838"/>
                </a:cubicBezTo>
                <a:cubicBezTo>
                  <a:pt x="1526697" y="828735"/>
                  <a:pt x="1507496" y="825036"/>
                  <a:pt x="1485380" y="815007"/>
                </a:cubicBezTo>
                <a:cubicBezTo>
                  <a:pt x="1468723" y="807743"/>
                  <a:pt x="1449749" y="809144"/>
                  <a:pt x="1431603" y="808726"/>
                </a:cubicBezTo>
                <a:cubicBezTo>
                  <a:pt x="1429115" y="808665"/>
                  <a:pt x="1426627" y="808604"/>
                  <a:pt x="1424140" y="808542"/>
                </a:cubicBezTo>
                <a:cubicBezTo>
                  <a:pt x="1418101" y="808392"/>
                  <a:pt x="1412062" y="808249"/>
                  <a:pt x="1406023" y="808109"/>
                </a:cubicBezTo>
                <a:cubicBezTo>
                  <a:pt x="1406023" y="809040"/>
                  <a:pt x="1406023" y="809970"/>
                  <a:pt x="1406023" y="810928"/>
                </a:cubicBezTo>
                <a:cubicBezTo>
                  <a:pt x="1404716" y="811118"/>
                  <a:pt x="1404716" y="811118"/>
                  <a:pt x="1403383" y="811311"/>
                </a:cubicBezTo>
                <a:cubicBezTo>
                  <a:pt x="1372054" y="815110"/>
                  <a:pt x="1372054" y="815110"/>
                  <a:pt x="1345442" y="828907"/>
                </a:cubicBezTo>
                <a:cubicBezTo>
                  <a:pt x="1338843" y="837605"/>
                  <a:pt x="1338313" y="846434"/>
                  <a:pt x="1337875" y="856639"/>
                </a:cubicBezTo>
                <a:cubicBezTo>
                  <a:pt x="1337815" y="857805"/>
                  <a:pt x="1337754" y="858970"/>
                  <a:pt x="1337692" y="860171"/>
                </a:cubicBezTo>
                <a:cubicBezTo>
                  <a:pt x="1337547" y="863016"/>
                  <a:pt x="1337417" y="865861"/>
                  <a:pt x="1337290" y="868706"/>
                </a:cubicBezTo>
                <a:cubicBezTo>
                  <a:pt x="1336258" y="868706"/>
                  <a:pt x="1335228" y="868706"/>
                  <a:pt x="1334165" y="868706"/>
                </a:cubicBezTo>
                <a:lnTo>
                  <a:pt x="1334165" y="870034"/>
                </a:lnTo>
                <a:lnTo>
                  <a:pt x="1334237" y="869093"/>
                </a:lnTo>
                <a:cubicBezTo>
                  <a:pt x="1334753" y="869093"/>
                  <a:pt x="1335268" y="869093"/>
                  <a:pt x="1335800" y="869093"/>
                </a:cubicBezTo>
                <a:cubicBezTo>
                  <a:pt x="1335884" y="871559"/>
                  <a:pt x="1335944" y="874025"/>
                  <a:pt x="1335995" y="876491"/>
                </a:cubicBezTo>
                <a:cubicBezTo>
                  <a:pt x="1336030" y="877865"/>
                  <a:pt x="1336067" y="879238"/>
                  <a:pt x="1336105" y="880653"/>
                </a:cubicBezTo>
                <a:cubicBezTo>
                  <a:pt x="1335800" y="884594"/>
                  <a:pt x="1335800" y="884594"/>
                  <a:pt x="1334294" y="887271"/>
                </a:cubicBezTo>
                <a:cubicBezTo>
                  <a:pt x="1332567" y="890428"/>
                  <a:pt x="1331982" y="892964"/>
                  <a:pt x="1331455" y="896440"/>
                </a:cubicBezTo>
                <a:cubicBezTo>
                  <a:pt x="1331267" y="897605"/>
                  <a:pt x="1331080" y="898769"/>
                  <a:pt x="1330887" y="899969"/>
                </a:cubicBezTo>
                <a:cubicBezTo>
                  <a:pt x="1330704" y="901174"/>
                  <a:pt x="1330521" y="902378"/>
                  <a:pt x="1330332" y="903618"/>
                </a:cubicBezTo>
                <a:cubicBezTo>
                  <a:pt x="1329968" y="906013"/>
                  <a:pt x="1329594" y="908405"/>
                  <a:pt x="1329209" y="910797"/>
                </a:cubicBezTo>
                <a:cubicBezTo>
                  <a:pt x="1329049" y="911853"/>
                  <a:pt x="1328889" y="912910"/>
                  <a:pt x="1328724" y="913998"/>
                </a:cubicBezTo>
                <a:cubicBezTo>
                  <a:pt x="1327933" y="917233"/>
                  <a:pt x="1326525" y="919703"/>
                  <a:pt x="1324865" y="922643"/>
                </a:cubicBezTo>
                <a:cubicBezTo>
                  <a:pt x="1323924" y="927743"/>
                  <a:pt x="1323282" y="932845"/>
                  <a:pt x="1322619" y="937979"/>
                </a:cubicBezTo>
                <a:lnTo>
                  <a:pt x="1318744" y="944961"/>
                </a:lnTo>
                <a:lnTo>
                  <a:pt x="1318544" y="946213"/>
                </a:lnTo>
                <a:cubicBezTo>
                  <a:pt x="1318360" y="949234"/>
                  <a:pt x="1318271" y="952260"/>
                  <a:pt x="1318251" y="955285"/>
                </a:cubicBezTo>
                <a:cubicBezTo>
                  <a:pt x="1318218" y="957637"/>
                  <a:pt x="1318218" y="957637"/>
                  <a:pt x="1318184" y="960036"/>
                </a:cubicBezTo>
                <a:cubicBezTo>
                  <a:pt x="1318624" y="965530"/>
                  <a:pt x="1319569" y="969724"/>
                  <a:pt x="1324024" y="973660"/>
                </a:cubicBezTo>
                <a:cubicBezTo>
                  <a:pt x="1327197" y="976583"/>
                  <a:pt x="1327950" y="979494"/>
                  <a:pt x="1329284" y="983382"/>
                </a:cubicBezTo>
                <a:cubicBezTo>
                  <a:pt x="1331875" y="990106"/>
                  <a:pt x="1334445" y="993582"/>
                  <a:pt x="1340414" y="998354"/>
                </a:cubicBezTo>
                <a:cubicBezTo>
                  <a:pt x="1342397" y="1000564"/>
                  <a:pt x="1344347" y="1002798"/>
                  <a:pt x="1346272" y="1005048"/>
                </a:cubicBezTo>
                <a:cubicBezTo>
                  <a:pt x="1360055" y="1020713"/>
                  <a:pt x="1376247" y="1031879"/>
                  <a:pt x="1394716" y="1042740"/>
                </a:cubicBezTo>
                <a:cubicBezTo>
                  <a:pt x="1397172" y="1044228"/>
                  <a:pt x="1399581" y="1045779"/>
                  <a:pt x="1401953" y="1047374"/>
                </a:cubicBezTo>
                <a:cubicBezTo>
                  <a:pt x="1410065" y="1052802"/>
                  <a:pt x="1417529" y="1056366"/>
                  <a:pt x="1427197" y="1059061"/>
                </a:cubicBezTo>
                <a:cubicBezTo>
                  <a:pt x="1431243" y="1060437"/>
                  <a:pt x="1434061" y="1061979"/>
                  <a:pt x="1437265" y="1064588"/>
                </a:cubicBezTo>
                <a:cubicBezTo>
                  <a:pt x="1437265" y="1065518"/>
                  <a:pt x="1437265" y="1066448"/>
                  <a:pt x="1437265" y="1067406"/>
                </a:cubicBezTo>
                <a:cubicBezTo>
                  <a:pt x="1439053" y="1067624"/>
                  <a:pt x="1439053" y="1067624"/>
                  <a:pt x="1440878" y="1067847"/>
                </a:cubicBezTo>
                <a:cubicBezTo>
                  <a:pt x="1445076" y="1068815"/>
                  <a:pt x="1445076" y="1068815"/>
                  <a:pt x="1447175" y="1070753"/>
                </a:cubicBezTo>
                <a:cubicBezTo>
                  <a:pt x="1450417" y="1073622"/>
                  <a:pt x="1453781" y="1075060"/>
                  <a:pt x="1457866" y="1076830"/>
                </a:cubicBezTo>
                <a:cubicBezTo>
                  <a:pt x="1459274" y="1077446"/>
                  <a:pt x="1460681" y="1078062"/>
                  <a:pt x="1462132" y="1078696"/>
                </a:cubicBezTo>
                <a:cubicBezTo>
                  <a:pt x="1463204" y="1079156"/>
                  <a:pt x="1464278" y="1079616"/>
                  <a:pt x="1465383" y="1080089"/>
                </a:cubicBezTo>
                <a:cubicBezTo>
                  <a:pt x="1465383" y="1081019"/>
                  <a:pt x="1465383" y="1081949"/>
                  <a:pt x="1465383" y="1082908"/>
                </a:cubicBezTo>
                <a:cubicBezTo>
                  <a:pt x="1466497" y="1083260"/>
                  <a:pt x="1467611" y="1083612"/>
                  <a:pt x="1468758" y="1083975"/>
                </a:cubicBezTo>
                <a:cubicBezTo>
                  <a:pt x="1473648" y="1085905"/>
                  <a:pt x="1477426" y="1088296"/>
                  <a:pt x="1481688" y="1091187"/>
                </a:cubicBezTo>
                <a:cubicBezTo>
                  <a:pt x="1483204" y="1092193"/>
                  <a:pt x="1484721" y="1093200"/>
                  <a:pt x="1486283" y="1094236"/>
                </a:cubicBezTo>
                <a:cubicBezTo>
                  <a:pt x="1489170" y="1096185"/>
                  <a:pt x="1492029" y="1098166"/>
                  <a:pt x="1494869" y="1100171"/>
                </a:cubicBezTo>
                <a:cubicBezTo>
                  <a:pt x="1510181" y="1107906"/>
                  <a:pt x="1527080" y="1109898"/>
                  <a:pt x="1544335" y="1109518"/>
                </a:cubicBezTo>
                <a:cubicBezTo>
                  <a:pt x="1579932" y="1108798"/>
                  <a:pt x="1579932" y="1108798"/>
                  <a:pt x="1593477" y="1119900"/>
                </a:cubicBezTo>
                <a:cubicBezTo>
                  <a:pt x="1600636" y="1127255"/>
                  <a:pt x="1604889" y="1135120"/>
                  <a:pt x="1605975" y="1144913"/>
                </a:cubicBezTo>
                <a:cubicBezTo>
                  <a:pt x="1607006" y="1144913"/>
                  <a:pt x="1608036" y="1144913"/>
                  <a:pt x="1609099" y="1144913"/>
                </a:cubicBezTo>
                <a:cubicBezTo>
                  <a:pt x="1609227" y="1148907"/>
                  <a:pt x="1609319" y="1152897"/>
                  <a:pt x="1609392" y="1156892"/>
                </a:cubicBezTo>
                <a:cubicBezTo>
                  <a:pt x="1609451" y="1158565"/>
                  <a:pt x="1609451" y="1158565"/>
                  <a:pt x="1609511" y="1160272"/>
                </a:cubicBezTo>
                <a:cubicBezTo>
                  <a:pt x="1609621" y="1168378"/>
                  <a:pt x="1607970" y="1174108"/>
                  <a:pt x="1604412" y="1181553"/>
                </a:cubicBezTo>
                <a:cubicBezTo>
                  <a:pt x="1603354" y="1184367"/>
                  <a:pt x="1602306" y="1187183"/>
                  <a:pt x="1601288" y="1190009"/>
                </a:cubicBezTo>
                <a:cubicBezTo>
                  <a:pt x="1600257" y="1190009"/>
                  <a:pt x="1599226" y="1190009"/>
                  <a:pt x="1598164" y="1190009"/>
                </a:cubicBezTo>
                <a:cubicBezTo>
                  <a:pt x="1597842" y="1190910"/>
                  <a:pt x="1597520" y="1191810"/>
                  <a:pt x="1597187" y="1192739"/>
                </a:cubicBezTo>
                <a:cubicBezTo>
                  <a:pt x="1596479" y="1193698"/>
                  <a:pt x="1595770" y="1194657"/>
                  <a:pt x="1595040" y="1195645"/>
                </a:cubicBezTo>
                <a:cubicBezTo>
                  <a:pt x="1591916" y="1196115"/>
                  <a:pt x="1588791" y="1196585"/>
                  <a:pt x="1585667" y="1197055"/>
                </a:cubicBezTo>
                <a:cubicBezTo>
                  <a:pt x="1583871" y="1199826"/>
                  <a:pt x="1583871" y="1199826"/>
                  <a:pt x="1582543" y="1202691"/>
                </a:cubicBezTo>
                <a:cubicBezTo>
                  <a:pt x="1575997" y="1204710"/>
                  <a:pt x="1569266" y="1204360"/>
                  <a:pt x="1562431" y="1204365"/>
                </a:cubicBezTo>
                <a:cubicBezTo>
                  <a:pt x="1561196" y="1204382"/>
                  <a:pt x="1559962" y="1204399"/>
                  <a:pt x="1558690" y="1204417"/>
                </a:cubicBezTo>
                <a:cubicBezTo>
                  <a:pt x="1543339" y="1204452"/>
                  <a:pt x="1531981" y="1199267"/>
                  <a:pt x="1521102" y="1189585"/>
                </a:cubicBezTo>
                <a:cubicBezTo>
                  <a:pt x="1515403" y="1183953"/>
                  <a:pt x="1510116" y="1178123"/>
                  <a:pt x="1505022" y="1172041"/>
                </a:cubicBezTo>
                <a:cubicBezTo>
                  <a:pt x="1493200" y="1158177"/>
                  <a:pt x="1475492" y="1147115"/>
                  <a:pt x="1457573" y="1140686"/>
                </a:cubicBezTo>
                <a:cubicBezTo>
                  <a:pt x="1457573" y="1139755"/>
                  <a:pt x="1457573" y="1138826"/>
                  <a:pt x="1457573" y="1137867"/>
                </a:cubicBezTo>
                <a:cubicBezTo>
                  <a:pt x="1456059" y="1137693"/>
                  <a:pt x="1454544" y="1137518"/>
                  <a:pt x="1452985" y="1137339"/>
                </a:cubicBezTo>
                <a:cubicBezTo>
                  <a:pt x="1451406" y="1137048"/>
                  <a:pt x="1449827" y="1136758"/>
                  <a:pt x="1448200" y="1136458"/>
                </a:cubicBezTo>
                <a:cubicBezTo>
                  <a:pt x="1447685" y="1135528"/>
                  <a:pt x="1447169" y="1134598"/>
                  <a:pt x="1446638" y="1133640"/>
                </a:cubicBezTo>
                <a:cubicBezTo>
                  <a:pt x="1444091" y="1132586"/>
                  <a:pt x="1441535" y="1131550"/>
                  <a:pt x="1438937" y="1130601"/>
                </a:cubicBezTo>
                <a:cubicBezTo>
                  <a:pt x="1435668" y="1129399"/>
                  <a:pt x="1432469" y="1128095"/>
                  <a:pt x="1429260" y="1126770"/>
                </a:cubicBezTo>
                <a:cubicBezTo>
                  <a:pt x="1423389" y="1124389"/>
                  <a:pt x="1417431" y="1122349"/>
                  <a:pt x="1411393" y="1120340"/>
                </a:cubicBezTo>
                <a:cubicBezTo>
                  <a:pt x="1404143" y="1117867"/>
                  <a:pt x="1397842" y="1115090"/>
                  <a:pt x="1391427" y="1111191"/>
                </a:cubicBezTo>
                <a:cubicBezTo>
                  <a:pt x="1388139" y="1109274"/>
                  <a:pt x="1384723" y="1108010"/>
                  <a:pt x="1381029" y="1106865"/>
                </a:cubicBezTo>
                <a:cubicBezTo>
                  <a:pt x="1381029" y="1105934"/>
                  <a:pt x="1381029" y="1105004"/>
                  <a:pt x="1381029" y="1104046"/>
                </a:cubicBezTo>
                <a:cubicBezTo>
                  <a:pt x="1379773" y="1103901"/>
                  <a:pt x="1378516" y="1103755"/>
                  <a:pt x="1377221" y="1103605"/>
                </a:cubicBezTo>
                <a:cubicBezTo>
                  <a:pt x="1370425" y="1102422"/>
                  <a:pt x="1364120" y="1100465"/>
                  <a:pt x="1357597" y="1098409"/>
                </a:cubicBezTo>
                <a:cubicBezTo>
                  <a:pt x="1355761" y="1097857"/>
                  <a:pt x="1353924" y="1097304"/>
                  <a:pt x="1352032" y="1096736"/>
                </a:cubicBezTo>
                <a:cubicBezTo>
                  <a:pt x="1350776" y="1096358"/>
                  <a:pt x="1349519" y="1095980"/>
                  <a:pt x="1348225" y="1095590"/>
                </a:cubicBezTo>
                <a:cubicBezTo>
                  <a:pt x="1348225" y="1094661"/>
                  <a:pt x="1348225" y="1093730"/>
                  <a:pt x="1348225" y="1092772"/>
                </a:cubicBezTo>
                <a:cubicBezTo>
                  <a:pt x="1344616" y="1092307"/>
                  <a:pt x="1341007" y="1091842"/>
                  <a:pt x="1337290" y="1091363"/>
                </a:cubicBezTo>
                <a:cubicBezTo>
                  <a:pt x="1337290" y="1090433"/>
                  <a:pt x="1337290" y="1089503"/>
                  <a:pt x="1337290" y="1088544"/>
                </a:cubicBezTo>
                <a:cubicBezTo>
                  <a:pt x="1334438" y="1088327"/>
                  <a:pt x="1334438" y="1088327"/>
                  <a:pt x="1331529" y="1088104"/>
                </a:cubicBezTo>
                <a:lnTo>
                  <a:pt x="1323297" y="1086611"/>
                </a:lnTo>
                <a:lnTo>
                  <a:pt x="1323297" y="1087618"/>
                </a:lnTo>
                <a:cubicBezTo>
                  <a:pt x="1322139" y="1087517"/>
                  <a:pt x="1320982" y="1087415"/>
                  <a:pt x="1319789" y="1087310"/>
                </a:cubicBezTo>
                <a:cubicBezTo>
                  <a:pt x="1300429" y="1085771"/>
                  <a:pt x="1281330" y="1084680"/>
                  <a:pt x="1262375" y="1089028"/>
                </a:cubicBezTo>
                <a:lnTo>
                  <a:pt x="1258728" y="1088205"/>
                </a:lnTo>
                <a:lnTo>
                  <a:pt x="1246964" y="1091489"/>
                </a:lnTo>
                <a:cubicBezTo>
                  <a:pt x="1237239" y="1097222"/>
                  <a:pt x="1228703" y="1103434"/>
                  <a:pt x="1223224" y="1112865"/>
                </a:cubicBezTo>
                <a:cubicBezTo>
                  <a:pt x="1220867" y="1116643"/>
                  <a:pt x="1217262" y="1119317"/>
                  <a:pt x="1213883" y="1122366"/>
                </a:cubicBezTo>
                <a:cubicBezTo>
                  <a:pt x="1213428" y="1123469"/>
                  <a:pt x="1212973" y="1124572"/>
                  <a:pt x="1212505" y="1125708"/>
                </a:cubicBezTo>
                <a:cubicBezTo>
                  <a:pt x="1210449" y="1130067"/>
                  <a:pt x="1207984" y="1132315"/>
                  <a:pt x="1204180" y="1135561"/>
                </a:cubicBezTo>
                <a:cubicBezTo>
                  <a:pt x="1202879" y="1136695"/>
                  <a:pt x="1201578" y="1137829"/>
                  <a:pt x="1200238" y="1138999"/>
                </a:cubicBezTo>
                <a:cubicBezTo>
                  <a:pt x="1197504" y="1141343"/>
                  <a:pt x="1194765" y="1143684"/>
                  <a:pt x="1192025" y="1146022"/>
                </a:cubicBezTo>
                <a:cubicBezTo>
                  <a:pt x="1181899" y="1154869"/>
                  <a:pt x="1174983" y="1161763"/>
                  <a:pt x="1173945" y="1174749"/>
                </a:cubicBezTo>
                <a:cubicBezTo>
                  <a:pt x="1173902" y="1177369"/>
                  <a:pt x="1173905" y="1179990"/>
                  <a:pt x="1173950" y="1182610"/>
                </a:cubicBezTo>
                <a:cubicBezTo>
                  <a:pt x="1173963" y="1183981"/>
                  <a:pt x="1173975" y="1185352"/>
                  <a:pt x="1173989" y="1186765"/>
                </a:cubicBezTo>
                <a:cubicBezTo>
                  <a:pt x="1174321" y="1197573"/>
                  <a:pt x="1176809" y="1205883"/>
                  <a:pt x="1182640" y="1215374"/>
                </a:cubicBezTo>
                <a:cubicBezTo>
                  <a:pt x="1183703" y="1217509"/>
                  <a:pt x="1184746" y="1219652"/>
                  <a:pt x="1185764" y="1221804"/>
                </a:cubicBezTo>
                <a:cubicBezTo>
                  <a:pt x="1186271" y="1222812"/>
                  <a:pt x="1186779" y="1223821"/>
                  <a:pt x="1187301" y="1224859"/>
                </a:cubicBezTo>
                <a:cubicBezTo>
                  <a:pt x="1188431" y="1227137"/>
                  <a:pt x="1189517" y="1229433"/>
                  <a:pt x="1190573" y="1231740"/>
                </a:cubicBezTo>
                <a:cubicBezTo>
                  <a:pt x="1194650" y="1240409"/>
                  <a:pt x="1199581" y="1247688"/>
                  <a:pt x="1205925" y="1255163"/>
                </a:cubicBezTo>
                <a:cubicBezTo>
                  <a:pt x="1208103" y="1257757"/>
                  <a:pt x="1210188" y="1260417"/>
                  <a:pt x="1212174" y="1263134"/>
                </a:cubicBezTo>
                <a:cubicBezTo>
                  <a:pt x="1218757" y="1272043"/>
                  <a:pt x="1225157" y="1277324"/>
                  <a:pt x="1235556" y="1282538"/>
                </a:cubicBezTo>
                <a:cubicBezTo>
                  <a:pt x="1236652" y="1283161"/>
                  <a:pt x="1237747" y="1283784"/>
                  <a:pt x="1238876" y="1284426"/>
                </a:cubicBezTo>
                <a:cubicBezTo>
                  <a:pt x="1238876" y="1285356"/>
                  <a:pt x="1238876" y="1286287"/>
                  <a:pt x="1238876" y="1287245"/>
                </a:cubicBezTo>
                <a:cubicBezTo>
                  <a:pt x="1239988" y="1287383"/>
                  <a:pt x="1241099" y="1287521"/>
                  <a:pt x="1242245" y="1287663"/>
                </a:cubicBezTo>
                <a:cubicBezTo>
                  <a:pt x="1253043" y="1290072"/>
                  <a:pt x="1264916" y="1297690"/>
                  <a:pt x="1271681" y="1305565"/>
                </a:cubicBezTo>
                <a:lnTo>
                  <a:pt x="1271742" y="1306172"/>
                </a:lnTo>
                <a:lnTo>
                  <a:pt x="1278525" y="1315767"/>
                </a:lnTo>
                <a:cubicBezTo>
                  <a:pt x="1279797" y="1319398"/>
                  <a:pt x="1280365" y="1323346"/>
                  <a:pt x="1281097" y="1327286"/>
                </a:cubicBezTo>
                <a:cubicBezTo>
                  <a:pt x="1281916" y="1337121"/>
                  <a:pt x="1281807" y="1346176"/>
                  <a:pt x="1277973" y="1355470"/>
                </a:cubicBezTo>
                <a:lnTo>
                  <a:pt x="1277460" y="1347025"/>
                </a:lnTo>
                <a:lnTo>
                  <a:pt x="1273531" y="1357991"/>
                </a:lnTo>
                <a:cubicBezTo>
                  <a:pt x="1270940" y="1361892"/>
                  <a:pt x="1267521" y="1365435"/>
                  <a:pt x="1263870" y="1368980"/>
                </a:cubicBezTo>
                <a:cubicBezTo>
                  <a:pt x="1258351" y="1372929"/>
                  <a:pt x="1253850" y="1376026"/>
                  <a:pt x="1246686" y="1376026"/>
                </a:cubicBezTo>
                <a:cubicBezTo>
                  <a:pt x="1246686" y="1376956"/>
                  <a:pt x="1246686" y="1377886"/>
                  <a:pt x="1246686" y="1378844"/>
                </a:cubicBezTo>
                <a:cubicBezTo>
                  <a:pt x="1241676" y="1379009"/>
                  <a:pt x="1236665" y="1379109"/>
                  <a:pt x="1231651" y="1379196"/>
                </a:cubicBezTo>
                <a:cubicBezTo>
                  <a:pt x="1230240" y="1379244"/>
                  <a:pt x="1228828" y="1379291"/>
                  <a:pt x="1227373" y="1379340"/>
                </a:cubicBezTo>
                <a:cubicBezTo>
                  <a:pt x="1218287" y="1379460"/>
                  <a:pt x="1213363" y="1378568"/>
                  <a:pt x="1206071" y="1373207"/>
                </a:cubicBezTo>
                <a:cubicBezTo>
                  <a:pt x="1204751" y="1372742"/>
                  <a:pt x="1203430" y="1372277"/>
                  <a:pt x="1202069" y="1371798"/>
                </a:cubicBezTo>
                <a:cubicBezTo>
                  <a:pt x="1193777" y="1368730"/>
                  <a:pt x="1188124" y="1363294"/>
                  <a:pt x="1184104" y="1356176"/>
                </a:cubicBezTo>
                <a:cubicBezTo>
                  <a:pt x="1180965" y="1349259"/>
                  <a:pt x="1178852" y="1342590"/>
                  <a:pt x="1177270" y="1335247"/>
                </a:cubicBezTo>
                <a:cubicBezTo>
                  <a:pt x="1175525" y="1327352"/>
                  <a:pt x="1172911" y="1320677"/>
                  <a:pt x="1169002" y="1313464"/>
                </a:cubicBezTo>
                <a:cubicBezTo>
                  <a:pt x="1166989" y="1309737"/>
                  <a:pt x="1165215" y="1305976"/>
                  <a:pt x="1163504" y="1302130"/>
                </a:cubicBezTo>
                <a:cubicBezTo>
                  <a:pt x="1163013" y="1301027"/>
                  <a:pt x="1162521" y="1299924"/>
                  <a:pt x="1162015" y="1298788"/>
                </a:cubicBezTo>
                <a:cubicBezTo>
                  <a:pt x="1160770" y="1295700"/>
                  <a:pt x="1160770" y="1295700"/>
                  <a:pt x="1160111" y="1292656"/>
                </a:cubicBezTo>
                <a:cubicBezTo>
                  <a:pt x="1159345" y="1289507"/>
                  <a:pt x="1159345" y="1289507"/>
                  <a:pt x="1154522" y="1287245"/>
                </a:cubicBezTo>
                <a:cubicBezTo>
                  <a:pt x="1153465" y="1284902"/>
                  <a:pt x="1152426" y="1282552"/>
                  <a:pt x="1151398" y="1280199"/>
                </a:cubicBezTo>
                <a:cubicBezTo>
                  <a:pt x="1149056" y="1276983"/>
                  <a:pt x="1146686" y="1273874"/>
                  <a:pt x="1144173" y="1270774"/>
                </a:cubicBezTo>
                <a:cubicBezTo>
                  <a:pt x="1143477" y="1269912"/>
                  <a:pt x="1142782" y="1269049"/>
                  <a:pt x="1142065" y="1268160"/>
                </a:cubicBezTo>
                <a:cubicBezTo>
                  <a:pt x="1139981" y="1265589"/>
                  <a:pt x="1137880" y="1263029"/>
                  <a:pt x="1135776" y="1260470"/>
                </a:cubicBezTo>
                <a:cubicBezTo>
                  <a:pt x="1134647" y="1259076"/>
                  <a:pt x="1133517" y="1257683"/>
                  <a:pt x="1132353" y="1256247"/>
                </a:cubicBezTo>
                <a:cubicBezTo>
                  <a:pt x="1126291" y="1249045"/>
                  <a:pt x="1121408" y="1244606"/>
                  <a:pt x="1112344" y="1240741"/>
                </a:cubicBezTo>
                <a:cubicBezTo>
                  <a:pt x="1110285" y="1239698"/>
                  <a:pt x="1108234" y="1238642"/>
                  <a:pt x="1106193" y="1237570"/>
                </a:cubicBezTo>
                <a:cubicBezTo>
                  <a:pt x="1104615" y="1236756"/>
                  <a:pt x="1103036" y="1235942"/>
                  <a:pt x="1101409" y="1235104"/>
                </a:cubicBezTo>
                <a:cubicBezTo>
                  <a:pt x="1101409" y="1233708"/>
                  <a:pt x="1101409" y="1232313"/>
                  <a:pt x="1101409" y="1230876"/>
                </a:cubicBezTo>
                <a:cubicBezTo>
                  <a:pt x="1089553" y="1230876"/>
                  <a:pt x="1077697" y="1230876"/>
                  <a:pt x="1065480" y="1230876"/>
                </a:cubicBezTo>
                <a:cubicBezTo>
                  <a:pt x="1064965" y="1232271"/>
                  <a:pt x="1064450" y="1233666"/>
                  <a:pt x="1063919" y="1235104"/>
                </a:cubicBezTo>
                <a:cubicBezTo>
                  <a:pt x="1062372" y="1235104"/>
                  <a:pt x="1060826" y="1235104"/>
                  <a:pt x="1059232" y="1235104"/>
                </a:cubicBezTo>
                <a:cubicBezTo>
                  <a:pt x="1059232" y="1236033"/>
                  <a:pt x="1059232" y="1236964"/>
                  <a:pt x="1059232" y="1237922"/>
                </a:cubicBezTo>
                <a:cubicBezTo>
                  <a:pt x="1052964" y="1240850"/>
                  <a:pt x="1046842" y="1243613"/>
                  <a:pt x="1040194" y="1245761"/>
                </a:cubicBezTo>
                <a:cubicBezTo>
                  <a:pt x="1036552" y="1246941"/>
                  <a:pt x="1033682" y="1248088"/>
                  <a:pt x="1030333" y="1249901"/>
                </a:cubicBezTo>
                <a:cubicBezTo>
                  <a:pt x="1025129" y="1252717"/>
                  <a:pt x="1019615" y="1254371"/>
                  <a:pt x="1013931" y="1256242"/>
                </a:cubicBezTo>
                <a:cubicBezTo>
                  <a:pt x="1009870" y="1257688"/>
                  <a:pt x="1008221" y="1258277"/>
                  <a:pt x="1005925" y="1261615"/>
                </a:cubicBezTo>
                <a:cubicBezTo>
                  <a:pt x="1005474" y="1262632"/>
                  <a:pt x="1005023" y="1263649"/>
                  <a:pt x="1004558" y="1264697"/>
                </a:cubicBezTo>
                <a:cubicBezTo>
                  <a:pt x="1004030" y="1265774"/>
                  <a:pt x="1003503" y="1266852"/>
                  <a:pt x="1002959" y="1267961"/>
                </a:cubicBezTo>
                <a:cubicBezTo>
                  <a:pt x="1001408" y="1271808"/>
                  <a:pt x="1000922" y="1274896"/>
                  <a:pt x="1000653" y="1278965"/>
                </a:cubicBezTo>
                <a:cubicBezTo>
                  <a:pt x="1000303" y="1284158"/>
                  <a:pt x="999467" y="1289055"/>
                  <a:pt x="998297" y="1294137"/>
                </a:cubicBezTo>
                <a:cubicBezTo>
                  <a:pt x="996204" y="1304306"/>
                  <a:pt x="996129" y="1314460"/>
                  <a:pt x="996162" y="1324765"/>
                </a:cubicBezTo>
                <a:cubicBezTo>
                  <a:pt x="996163" y="1325782"/>
                  <a:pt x="996163" y="1326799"/>
                  <a:pt x="996164" y="1327846"/>
                </a:cubicBezTo>
                <a:cubicBezTo>
                  <a:pt x="996263" y="1353742"/>
                  <a:pt x="1001081" y="1378188"/>
                  <a:pt x="1007780" y="1403329"/>
                </a:cubicBezTo>
                <a:cubicBezTo>
                  <a:pt x="1008163" y="1404772"/>
                  <a:pt x="1008546" y="1406215"/>
                  <a:pt x="1008940" y="1407701"/>
                </a:cubicBezTo>
                <a:cubicBezTo>
                  <a:pt x="1009316" y="1409030"/>
                  <a:pt x="1009693" y="1410360"/>
                  <a:pt x="1010080" y="1411730"/>
                </a:cubicBezTo>
                <a:cubicBezTo>
                  <a:pt x="1010409" y="1412900"/>
                  <a:pt x="1010737" y="1414071"/>
                  <a:pt x="1011075" y="1415277"/>
                </a:cubicBezTo>
                <a:cubicBezTo>
                  <a:pt x="1012501" y="1418612"/>
                  <a:pt x="1014136" y="1420168"/>
                  <a:pt x="1017055" y="1422530"/>
                </a:cubicBezTo>
                <a:cubicBezTo>
                  <a:pt x="1018770" y="1425162"/>
                  <a:pt x="1018770" y="1425162"/>
                  <a:pt x="1020277" y="1427991"/>
                </a:cubicBezTo>
                <a:cubicBezTo>
                  <a:pt x="1020778" y="1428917"/>
                  <a:pt x="1021280" y="1429844"/>
                  <a:pt x="1021796" y="1430798"/>
                </a:cubicBezTo>
                <a:cubicBezTo>
                  <a:pt x="1023303" y="1433804"/>
                  <a:pt x="1023303" y="1433804"/>
                  <a:pt x="1024579" y="1437239"/>
                </a:cubicBezTo>
                <a:cubicBezTo>
                  <a:pt x="1026915" y="1441803"/>
                  <a:pt x="1030098" y="1444534"/>
                  <a:pt x="1034043" y="1448072"/>
                </a:cubicBezTo>
                <a:lnTo>
                  <a:pt x="1043782" y="1464320"/>
                </a:lnTo>
                <a:lnTo>
                  <a:pt x="1050458" y="1472189"/>
                </a:lnTo>
                <a:cubicBezTo>
                  <a:pt x="1051737" y="1475181"/>
                  <a:pt x="1052277" y="1478513"/>
                  <a:pt x="1052926" y="1482370"/>
                </a:cubicBezTo>
                <a:cubicBezTo>
                  <a:pt x="1053325" y="1487224"/>
                  <a:pt x="1053364" y="1492038"/>
                  <a:pt x="1053316" y="1496903"/>
                </a:cubicBezTo>
                <a:cubicBezTo>
                  <a:pt x="1053328" y="1498142"/>
                  <a:pt x="1053340" y="1499382"/>
                  <a:pt x="1053352" y="1500660"/>
                </a:cubicBezTo>
                <a:cubicBezTo>
                  <a:pt x="1053348" y="1501856"/>
                  <a:pt x="1053344" y="1503052"/>
                  <a:pt x="1053341" y="1504285"/>
                </a:cubicBezTo>
                <a:cubicBezTo>
                  <a:pt x="1053336" y="1505355"/>
                  <a:pt x="1053333" y="1506426"/>
                  <a:pt x="1053329" y="1507529"/>
                </a:cubicBezTo>
                <a:cubicBezTo>
                  <a:pt x="1052876" y="1510927"/>
                  <a:pt x="1051672" y="1513237"/>
                  <a:pt x="1049801" y="1516192"/>
                </a:cubicBezTo>
                <a:lnTo>
                  <a:pt x="1047312" y="1516192"/>
                </a:lnTo>
                <a:lnTo>
                  <a:pt x="1043611" y="1522585"/>
                </a:lnTo>
                <a:cubicBezTo>
                  <a:pt x="1035301" y="1529631"/>
                  <a:pt x="1035301" y="1529631"/>
                  <a:pt x="1029552" y="1529631"/>
                </a:cubicBezTo>
                <a:cubicBezTo>
                  <a:pt x="1029294" y="1530503"/>
                  <a:pt x="1029036" y="1531375"/>
                  <a:pt x="1028771" y="1532273"/>
                </a:cubicBezTo>
                <a:cubicBezTo>
                  <a:pt x="1025795" y="1536076"/>
                  <a:pt x="1022970" y="1536733"/>
                  <a:pt x="1018013" y="1537640"/>
                </a:cubicBezTo>
                <a:cubicBezTo>
                  <a:pt x="1005216" y="1539038"/>
                  <a:pt x="992573" y="1539816"/>
                  <a:pt x="981126" y="1533859"/>
                </a:cubicBezTo>
                <a:cubicBezTo>
                  <a:pt x="979840" y="1533226"/>
                  <a:pt x="978553" y="1532594"/>
                  <a:pt x="977227" y="1531943"/>
                </a:cubicBezTo>
                <a:cubicBezTo>
                  <a:pt x="965286" y="1525877"/>
                  <a:pt x="959626" y="1520520"/>
                  <a:pt x="955376" y="1508751"/>
                </a:cubicBezTo>
                <a:cubicBezTo>
                  <a:pt x="954571" y="1505674"/>
                  <a:pt x="954571" y="1505674"/>
                  <a:pt x="954571" y="1500037"/>
                </a:cubicBezTo>
                <a:cubicBezTo>
                  <a:pt x="953539" y="1500037"/>
                  <a:pt x="952508" y="1500037"/>
                  <a:pt x="951446" y="1500037"/>
                </a:cubicBezTo>
                <a:cubicBezTo>
                  <a:pt x="951361" y="1495986"/>
                  <a:pt x="951299" y="1491935"/>
                  <a:pt x="951251" y="1487883"/>
                </a:cubicBezTo>
                <a:cubicBezTo>
                  <a:pt x="951224" y="1486744"/>
                  <a:pt x="951198" y="1485605"/>
                  <a:pt x="951171" y="1484431"/>
                </a:cubicBezTo>
                <a:cubicBezTo>
                  <a:pt x="951110" y="1477657"/>
                  <a:pt x="952093" y="1472660"/>
                  <a:pt x="954571" y="1466216"/>
                </a:cubicBezTo>
                <a:cubicBezTo>
                  <a:pt x="954867" y="1462451"/>
                  <a:pt x="955016" y="1458876"/>
                  <a:pt x="954961" y="1455118"/>
                </a:cubicBezTo>
                <a:cubicBezTo>
                  <a:pt x="954951" y="1454080"/>
                  <a:pt x="954942" y="1453042"/>
                  <a:pt x="954932" y="1451972"/>
                </a:cubicBezTo>
                <a:cubicBezTo>
                  <a:pt x="954606" y="1435235"/>
                  <a:pt x="952568" y="1419050"/>
                  <a:pt x="945099" y="1403594"/>
                </a:cubicBezTo>
                <a:cubicBezTo>
                  <a:pt x="943714" y="1400177"/>
                  <a:pt x="943046" y="1397128"/>
                  <a:pt x="942366" y="1393553"/>
                </a:cubicBezTo>
                <a:cubicBezTo>
                  <a:pt x="940837" y="1386134"/>
                  <a:pt x="937840" y="1379609"/>
                  <a:pt x="934451" y="1372734"/>
                </a:cubicBezTo>
                <a:cubicBezTo>
                  <a:pt x="932701" y="1368980"/>
                  <a:pt x="932701" y="1368980"/>
                  <a:pt x="931974" y="1365754"/>
                </a:cubicBezTo>
                <a:cubicBezTo>
                  <a:pt x="931699" y="1364958"/>
                  <a:pt x="931422" y="1364162"/>
                  <a:pt x="931138" y="1363343"/>
                </a:cubicBezTo>
                <a:cubicBezTo>
                  <a:pt x="929592" y="1362878"/>
                  <a:pt x="928045" y="1362413"/>
                  <a:pt x="926452" y="1361933"/>
                </a:cubicBezTo>
                <a:cubicBezTo>
                  <a:pt x="921830" y="1355261"/>
                  <a:pt x="920323" y="1348382"/>
                  <a:pt x="918641" y="1340795"/>
                </a:cubicBezTo>
                <a:cubicBezTo>
                  <a:pt x="918133" y="1338914"/>
                  <a:pt x="917616" y="1337034"/>
                  <a:pt x="917079" y="1335158"/>
                </a:cubicBezTo>
                <a:cubicBezTo>
                  <a:pt x="916048" y="1335158"/>
                  <a:pt x="915018" y="1335158"/>
                  <a:pt x="913955" y="1335158"/>
                </a:cubicBezTo>
                <a:cubicBezTo>
                  <a:pt x="913329" y="1333718"/>
                  <a:pt x="912703" y="1332277"/>
                  <a:pt x="912057" y="1330793"/>
                </a:cubicBezTo>
                <a:cubicBezTo>
                  <a:pt x="909497" y="1325424"/>
                  <a:pt x="906114" y="1320822"/>
                  <a:pt x="902142" y="1316222"/>
                </a:cubicBezTo>
                <a:cubicBezTo>
                  <a:pt x="901465" y="1315432"/>
                  <a:pt x="900788" y="1314642"/>
                  <a:pt x="900091" y="1313828"/>
                </a:cubicBezTo>
                <a:cubicBezTo>
                  <a:pt x="893705" y="1306618"/>
                  <a:pt x="886350" y="1301049"/>
                  <a:pt x="878026" y="1295700"/>
                </a:cubicBezTo>
                <a:cubicBezTo>
                  <a:pt x="876595" y="1294594"/>
                  <a:pt x="876595" y="1294594"/>
                  <a:pt x="875134" y="1293465"/>
                </a:cubicBezTo>
                <a:lnTo>
                  <a:pt x="869869" y="1291826"/>
                </a:lnTo>
                <a:lnTo>
                  <a:pt x="862384" y="1291327"/>
                </a:lnTo>
                <a:cubicBezTo>
                  <a:pt x="856441" y="1290067"/>
                  <a:pt x="850461" y="1290346"/>
                  <a:pt x="844390" y="1290461"/>
                </a:cubicBezTo>
                <a:cubicBezTo>
                  <a:pt x="842453" y="1290480"/>
                  <a:pt x="842453" y="1290480"/>
                  <a:pt x="840476" y="1290500"/>
                </a:cubicBezTo>
                <a:cubicBezTo>
                  <a:pt x="837322" y="1290532"/>
                  <a:pt x="834169" y="1290583"/>
                  <a:pt x="831015" y="1290637"/>
                </a:cubicBezTo>
                <a:cubicBezTo>
                  <a:pt x="831015" y="1291568"/>
                  <a:pt x="831015" y="1292498"/>
                  <a:pt x="831015" y="1293456"/>
                </a:cubicBezTo>
                <a:cubicBezTo>
                  <a:pt x="826519" y="1294808"/>
                  <a:pt x="822922" y="1295235"/>
                  <a:pt x="818225" y="1295570"/>
                </a:cubicBezTo>
                <a:lnTo>
                  <a:pt x="796774" y="1297671"/>
                </a:lnTo>
                <a:lnTo>
                  <a:pt x="783646" y="1305736"/>
                </a:lnTo>
                <a:cubicBezTo>
                  <a:pt x="776915" y="1312506"/>
                  <a:pt x="772692" y="1318638"/>
                  <a:pt x="769263" y="1327143"/>
                </a:cubicBezTo>
                <a:cubicBezTo>
                  <a:pt x="767116" y="1332340"/>
                  <a:pt x="767116" y="1332340"/>
                  <a:pt x="764797" y="1334360"/>
                </a:cubicBezTo>
                <a:lnTo>
                  <a:pt x="757875" y="1353503"/>
                </a:lnTo>
                <a:lnTo>
                  <a:pt x="755676" y="1367455"/>
                </a:lnTo>
                <a:lnTo>
                  <a:pt x="750558" y="1399690"/>
                </a:lnTo>
                <a:lnTo>
                  <a:pt x="753057" y="1411256"/>
                </a:lnTo>
                <a:cubicBezTo>
                  <a:pt x="753057" y="1413117"/>
                  <a:pt x="753057" y="1414976"/>
                  <a:pt x="753057" y="1416893"/>
                </a:cubicBezTo>
                <a:cubicBezTo>
                  <a:pt x="754087" y="1416893"/>
                  <a:pt x="755119" y="1416893"/>
                  <a:pt x="756181" y="1416893"/>
                </a:cubicBezTo>
                <a:cubicBezTo>
                  <a:pt x="759348" y="1422607"/>
                  <a:pt x="758101" y="1429902"/>
                  <a:pt x="758133" y="1436182"/>
                </a:cubicBezTo>
                <a:cubicBezTo>
                  <a:pt x="758182" y="1438458"/>
                  <a:pt x="758182" y="1438458"/>
                  <a:pt x="758231" y="1440781"/>
                </a:cubicBezTo>
                <a:cubicBezTo>
                  <a:pt x="758283" y="1450271"/>
                  <a:pt x="758174" y="1458360"/>
                  <a:pt x="750713" y="1465704"/>
                </a:cubicBezTo>
                <a:cubicBezTo>
                  <a:pt x="749940" y="1466193"/>
                  <a:pt x="749167" y="1466681"/>
                  <a:pt x="748370" y="1467185"/>
                </a:cubicBezTo>
                <a:cubicBezTo>
                  <a:pt x="743665" y="1470047"/>
                  <a:pt x="743665" y="1470047"/>
                  <a:pt x="741633" y="1473526"/>
                </a:cubicBezTo>
                <a:cubicBezTo>
                  <a:pt x="737793" y="1477248"/>
                  <a:pt x="733582" y="1477483"/>
                  <a:pt x="728154" y="1478343"/>
                </a:cubicBezTo>
                <a:cubicBezTo>
                  <a:pt x="724855" y="1478778"/>
                  <a:pt x="724855" y="1478778"/>
                  <a:pt x="721814" y="1480308"/>
                </a:cubicBezTo>
                <a:cubicBezTo>
                  <a:pt x="717303" y="1480523"/>
                  <a:pt x="712854" y="1480634"/>
                  <a:pt x="708341" y="1480661"/>
                </a:cubicBezTo>
                <a:cubicBezTo>
                  <a:pt x="707118" y="1480690"/>
                  <a:pt x="705896" y="1480719"/>
                  <a:pt x="704637" y="1480748"/>
                </a:cubicBezTo>
                <a:cubicBezTo>
                  <a:pt x="690446" y="1480834"/>
                  <a:pt x="679632" y="1476246"/>
                  <a:pt x="668507" y="1468418"/>
                </a:cubicBezTo>
                <a:cubicBezTo>
                  <a:pt x="662823" y="1463224"/>
                  <a:pt x="661745" y="1456995"/>
                  <a:pt x="660178" y="1450027"/>
                </a:cubicBezTo>
                <a:cubicBezTo>
                  <a:pt x="659725" y="1446589"/>
                  <a:pt x="659725" y="1446589"/>
                  <a:pt x="657767" y="1445078"/>
                </a:cubicBezTo>
                <a:cubicBezTo>
                  <a:pt x="656859" y="1433686"/>
                  <a:pt x="655965" y="1419178"/>
                  <a:pt x="663369" y="1409390"/>
                </a:cubicBezTo>
                <a:cubicBezTo>
                  <a:pt x="666078" y="1406601"/>
                  <a:pt x="668921" y="1404013"/>
                  <a:pt x="671826" y="1401392"/>
                </a:cubicBezTo>
                <a:cubicBezTo>
                  <a:pt x="675197" y="1397623"/>
                  <a:pt x="677125" y="1394916"/>
                  <a:pt x="678075" y="1390118"/>
                </a:cubicBezTo>
                <a:cubicBezTo>
                  <a:pt x="680137" y="1389653"/>
                  <a:pt x="682199" y="1389188"/>
                  <a:pt x="684323" y="1388709"/>
                </a:cubicBezTo>
                <a:cubicBezTo>
                  <a:pt x="684643" y="1387232"/>
                  <a:pt x="684964" y="1385755"/>
                  <a:pt x="685293" y="1384233"/>
                </a:cubicBezTo>
                <a:cubicBezTo>
                  <a:pt x="685718" y="1382290"/>
                  <a:pt x="686144" y="1380347"/>
                  <a:pt x="686569" y="1378404"/>
                </a:cubicBezTo>
                <a:cubicBezTo>
                  <a:pt x="686885" y="1376945"/>
                  <a:pt x="686885" y="1376945"/>
                  <a:pt x="687207" y="1375456"/>
                </a:cubicBezTo>
                <a:cubicBezTo>
                  <a:pt x="688115" y="1371315"/>
                  <a:pt x="689090" y="1367353"/>
                  <a:pt x="690572" y="1363343"/>
                </a:cubicBezTo>
                <a:cubicBezTo>
                  <a:pt x="692411" y="1350128"/>
                  <a:pt x="692374" y="1336672"/>
                  <a:pt x="692495" y="1323376"/>
                </a:cubicBezTo>
                <a:cubicBezTo>
                  <a:pt x="692524" y="1320586"/>
                  <a:pt x="692574" y="1317796"/>
                  <a:pt x="692625" y="1315006"/>
                </a:cubicBezTo>
                <a:cubicBezTo>
                  <a:pt x="692853" y="1300589"/>
                  <a:pt x="692853" y="1300589"/>
                  <a:pt x="687447" y="1287245"/>
                </a:cubicBezTo>
                <a:cubicBezTo>
                  <a:pt x="685901" y="1286780"/>
                  <a:pt x="684354" y="1286315"/>
                  <a:pt x="682761" y="1285835"/>
                </a:cubicBezTo>
                <a:cubicBezTo>
                  <a:pt x="680876" y="1283743"/>
                  <a:pt x="680876" y="1283743"/>
                  <a:pt x="678954" y="1281608"/>
                </a:cubicBezTo>
                <a:cubicBezTo>
                  <a:pt x="674854" y="1277278"/>
                  <a:pt x="674356" y="1276958"/>
                  <a:pt x="668702" y="1275971"/>
                </a:cubicBezTo>
                <a:cubicBezTo>
                  <a:pt x="666619" y="1274092"/>
                  <a:pt x="664536" y="1272213"/>
                  <a:pt x="662454" y="1270334"/>
                </a:cubicBezTo>
                <a:cubicBezTo>
                  <a:pt x="658341" y="1268566"/>
                  <a:pt x="658341" y="1268566"/>
                  <a:pt x="654643" y="1267516"/>
                </a:cubicBezTo>
                <a:cubicBezTo>
                  <a:pt x="654643" y="1266585"/>
                  <a:pt x="654643" y="1265656"/>
                  <a:pt x="654643" y="1264697"/>
                </a:cubicBezTo>
                <a:cubicBezTo>
                  <a:pt x="653161" y="1264581"/>
                  <a:pt x="651679" y="1264465"/>
                  <a:pt x="650152" y="1264345"/>
                </a:cubicBezTo>
                <a:cubicBezTo>
                  <a:pt x="642318" y="1263373"/>
                  <a:pt x="635297" y="1260465"/>
                  <a:pt x="628087" y="1257651"/>
                </a:cubicBezTo>
                <a:cubicBezTo>
                  <a:pt x="628087" y="1256721"/>
                  <a:pt x="628087" y="1255791"/>
                  <a:pt x="628087" y="1254833"/>
                </a:cubicBezTo>
                <a:cubicBezTo>
                  <a:pt x="627108" y="1254662"/>
                  <a:pt x="626129" y="1254491"/>
                  <a:pt x="625121" y="1254315"/>
                </a:cubicBezTo>
                <a:cubicBezTo>
                  <a:pt x="623845" y="1254079"/>
                  <a:pt x="622568" y="1253843"/>
                  <a:pt x="621252" y="1253600"/>
                </a:cubicBezTo>
                <a:cubicBezTo>
                  <a:pt x="619984" y="1253371"/>
                  <a:pt x="618716" y="1253142"/>
                  <a:pt x="617409" y="1252906"/>
                </a:cubicBezTo>
                <a:cubicBezTo>
                  <a:pt x="614027" y="1252014"/>
                  <a:pt x="614027" y="1252014"/>
                  <a:pt x="610904" y="1249196"/>
                </a:cubicBezTo>
                <a:cubicBezTo>
                  <a:pt x="592259" y="1248653"/>
                  <a:pt x="578635" y="1260869"/>
                  <a:pt x="565739" y="1271742"/>
                </a:cubicBezTo>
                <a:cubicBezTo>
                  <a:pt x="558808" y="1277725"/>
                  <a:pt x="552763" y="1283983"/>
                  <a:pt x="546924" y="1290829"/>
                </a:cubicBezTo>
                <a:cubicBezTo>
                  <a:pt x="545838" y="1292087"/>
                  <a:pt x="544753" y="1293346"/>
                  <a:pt x="543635" y="1294643"/>
                </a:cubicBezTo>
                <a:cubicBezTo>
                  <a:pt x="542650" y="1295813"/>
                  <a:pt x="541666" y="1296983"/>
                  <a:pt x="540651" y="1298188"/>
                </a:cubicBezTo>
                <a:cubicBezTo>
                  <a:pt x="537294" y="1301526"/>
                  <a:pt x="533978" y="1303337"/>
                  <a:pt x="529673" y="1305565"/>
                </a:cubicBezTo>
                <a:cubicBezTo>
                  <a:pt x="527599" y="1308478"/>
                  <a:pt x="527599" y="1308478"/>
                  <a:pt x="526549" y="1311202"/>
                </a:cubicBezTo>
                <a:cubicBezTo>
                  <a:pt x="525518" y="1311202"/>
                  <a:pt x="524487" y="1311202"/>
                  <a:pt x="523425" y="1311202"/>
                </a:cubicBezTo>
                <a:cubicBezTo>
                  <a:pt x="523360" y="1311986"/>
                  <a:pt x="523296" y="1312771"/>
                  <a:pt x="523230" y="1313580"/>
                </a:cubicBezTo>
                <a:cubicBezTo>
                  <a:pt x="521863" y="1316839"/>
                  <a:pt x="521863" y="1316839"/>
                  <a:pt x="517732" y="1319739"/>
                </a:cubicBezTo>
                <a:cubicBezTo>
                  <a:pt x="511111" y="1324565"/>
                  <a:pt x="506875" y="1330731"/>
                  <a:pt x="502239" y="1337096"/>
                </a:cubicBezTo>
                <a:cubicBezTo>
                  <a:pt x="500512" y="1339427"/>
                  <a:pt x="498785" y="1341757"/>
                  <a:pt x="497058" y="1344087"/>
                </a:cubicBezTo>
                <a:cubicBezTo>
                  <a:pt x="495827" y="1345760"/>
                  <a:pt x="495827" y="1345760"/>
                  <a:pt x="494572" y="1347465"/>
                </a:cubicBezTo>
                <a:cubicBezTo>
                  <a:pt x="492366" y="1350414"/>
                  <a:pt x="490094" y="1353304"/>
                  <a:pt x="487776" y="1356181"/>
                </a:cubicBezTo>
                <a:cubicBezTo>
                  <a:pt x="484805" y="1359972"/>
                  <a:pt x="482865" y="1363193"/>
                  <a:pt x="481248" y="1367571"/>
                </a:cubicBezTo>
                <a:cubicBezTo>
                  <a:pt x="480216" y="1367571"/>
                  <a:pt x="479186" y="1367571"/>
                  <a:pt x="478123" y="1367571"/>
                </a:cubicBezTo>
                <a:cubicBezTo>
                  <a:pt x="477963" y="1368558"/>
                  <a:pt x="477801" y="1369547"/>
                  <a:pt x="477635" y="1370565"/>
                </a:cubicBezTo>
                <a:cubicBezTo>
                  <a:pt x="475602" y="1378236"/>
                  <a:pt x="471952" y="1383371"/>
                  <a:pt x="465626" y="1388709"/>
                </a:cubicBezTo>
                <a:cubicBezTo>
                  <a:pt x="462272" y="1392748"/>
                  <a:pt x="462272" y="1392748"/>
                  <a:pt x="461233" y="1397340"/>
                </a:cubicBezTo>
                <a:cubicBezTo>
                  <a:pt x="460030" y="1401461"/>
                  <a:pt x="458298" y="1404501"/>
                  <a:pt x="455765" y="1408086"/>
                </a:cubicBezTo>
                <a:cubicBezTo>
                  <a:pt x="442829" y="1428603"/>
                  <a:pt x="441572" y="1454548"/>
                  <a:pt x="439070" y="1477490"/>
                </a:cubicBezTo>
                <a:cubicBezTo>
                  <a:pt x="437524" y="1477955"/>
                  <a:pt x="435977" y="1478420"/>
                  <a:pt x="434384" y="1478899"/>
                </a:cubicBezTo>
                <a:cubicBezTo>
                  <a:pt x="433739" y="1479916"/>
                  <a:pt x="433095" y="1480933"/>
                  <a:pt x="432431" y="1481982"/>
                </a:cubicBezTo>
                <a:cubicBezTo>
                  <a:pt x="428860" y="1487159"/>
                  <a:pt x="424291" y="1490903"/>
                  <a:pt x="418763" y="1494401"/>
                </a:cubicBezTo>
                <a:cubicBezTo>
                  <a:pt x="417731" y="1494401"/>
                  <a:pt x="416701" y="1494401"/>
                  <a:pt x="415639" y="1494401"/>
                </a:cubicBezTo>
                <a:cubicBezTo>
                  <a:pt x="415639" y="1495330"/>
                  <a:pt x="415639" y="1496260"/>
                  <a:pt x="415639" y="1497219"/>
                </a:cubicBezTo>
                <a:cubicBezTo>
                  <a:pt x="412546" y="1497684"/>
                  <a:pt x="409453" y="1498149"/>
                  <a:pt x="406265" y="1498628"/>
                </a:cubicBezTo>
                <a:cubicBezTo>
                  <a:pt x="406265" y="1499559"/>
                  <a:pt x="406265" y="1500488"/>
                  <a:pt x="406265" y="1501447"/>
                </a:cubicBezTo>
                <a:cubicBezTo>
                  <a:pt x="395955" y="1501447"/>
                  <a:pt x="385645" y="1501447"/>
                  <a:pt x="375023" y="1501447"/>
                </a:cubicBezTo>
                <a:lnTo>
                  <a:pt x="375023" y="1499438"/>
                </a:lnTo>
                <a:lnTo>
                  <a:pt x="374964" y="1499436"/>
                </a:lnTo>
                <a:lnTo>
                  <a:pt x="373179" y="1498628"/>
                </a:lnTo>
                <a:lnTo>
                  <a:pt x="365650" y="1498628"/>
                </a:lnTo>
                <a:lnTo>
                  <a:pt x="363134" y="1494087"/>
                </a:lnTo>
                <a:lnTo>
                  <a:pt x="362171" y="1493651"/>
                </a:lnTo>
                <a:cubicBezTo>
                  <a:pt x="361656" y="1492722"/>
                  <a:pt x="361140" y="1491791"/>
                  <a:pt x="360609" y="1490833"/>
                </a:cubicBezTo>
                <a:cubicBezTo>
                  <a:pt x="361640" y="1490833"/>
                  <a:pt x="362671" y="1490833"/>
                  <a:pt x="363733" y="1490833"/>
                </a:cubicBezTo>
                <a:lnTo>
                  <a:pt x="363733" y="1489980"/>
                </a:lnTo>
                <a:lnTo>
                  <a:pt x="348467" y="1481717"/>
                </a:lnTo>
                <a:lnTo>
                  <a:pt x="343872" y="1461078"/>
                </a:lnTo>
                <a:lnTo>
                  <a:pt x="343656" y="1463649"/>
                </a:lnTo>
                <a:cubicBezTo>
                  <a:pt x="343541" y="1465230"/>
                  <a:pt x="343541" y="1465230"/>
                  <a:pt x="343424" y="1466842"/>
                </a:cubicBezTo>
                <a:cubicBezTo>
                  <a:pt x="342908" y="1466842"/>
                  <a:pt x="342393" y="1466842"/>
                  <a:pt x="341861" y="1466842"/>
                </a:cubicBezTo>
                <a:cubicBezTo>
                  <a:pt x="340987" y="1449564"/>
                  <a:pt x="340999" y="1434331"/>
                  <a:pt x="354143" y="1420549"/>
                </a:cubicBezTo>
                <a:cubicBezTo>
                  <a:pt x="360765" y="1414011"/>
                  <a:pt x="367631" y="1407790"/>
                  <a:pt x="376229" y="1403427"/>
                </a:cubicBezTo>
                <a:lnTo>
                  <a:pt x="379491" y="1404408"/>
                </a:lnTo>
                <a:lnTo>
                  <a:pt x="379710" y="1404210"/>
                </a:lnTo>
                <a:cubicBezTo>
                  <a:pt x="380290" y="1402902"/>
                  <a:pt x="380290" y="1402902"/>
                  <a:pt x="380882" y="1401568"/>
                </a:cubicBezTo>
                <a:cubicBezTo>
                  <a:pt x="383675" y="1397284"/>
                  <a:pt x="387587" y="1395610"/>
                  <a:pt x="392207" y="1392936"/>
                </a:cubicBezTo>
                <a:lnTo>
                  <a:pt x="399542" y="1386774"/>
                </a:lnTo>
                <a:lnTo>
                  <a:pt x="405485" y="1378917"/>
                </a:lnTo>
                <a:cubicBezTo>
                  <a:pt x="408065" y="1375974"/>
                  <a:pt x="410029" y="1372774"/>
                  <a:pt x="412008" y="1369481"/>
                </a:cubicBezTo>
                <a:cubicBezTo>
                  <a:pt x="414759" y="1365166"/>
                  <a:pt x="417963" y="1361131"/>
                  <a:pt x="421130" y="1357057"/>
                </a:cubicBezTo>
                <a:cubicBezTo>
                  <a:pt x="423073" y="1354140"/>
                  <a:pt x="423985" y="1351767"/>
                  <a:pt x="424676" y="1348443"/>
                </a:cubicBezTo>
                <a:lnTo>
                  <a:pt x="427275" y="1348443"/>
                </a:lnTo>
                <a:lnTo>
                  <a:pt x="428135" y="1345727"/>
                </a:lnTo>
                <a:cubicBezTo>
                  <a:pt x="429370" y="1341828"/>
                  <a:pt x="430645" y="1338666"/>
                  <a:pt x="432822" y="1335158"/>
                </a:cubicBezTo>
                <a:cubicBezTo>
                  <a:pt x="433853" y="1335158"/>
                  <a:pt x="434884" y="1335158"/>
                  <a:pt x="435946" y="1335158"/>
                </a:cubicBezTo>
                <a:cubicBezTo>
                  <a:pt x="436526" y="1333385"/>
                  <a:pt x="437106" y="1331613"/>
                  <a:pt x="437704" y="1329786"/>
                </a:cubicBezTo>
                <a:cubicBezTo>
                  <a:pt x="440162" y="1323132"/>
                  <a:pt x="443602" y="1317301"/>
                  <a:pt x="447394" y="1311196"/>
                </a:cubicBezTo>
                <a:cubicBezTo>
                  <a:pt x="456493" y="1296485"/>
                  <a:pt x="463325" y="1281864"/>
                  <a:pt x="469287" y="1265964"/>
                </a:cubicBezTo>
                <a:cubicBezTo>
                  <a:pt x="474589" y="1252134"/>
                  <a:pt x="474589" y="1252134"/>
                  <a:pt x="478178" y="1246787"/>
                </a:cubicBezTo>
                <a:cubicBezTo>
                  <a:pt x="481232" y="1240246"/>
                  <a:pt x="480204" y="1232766"/>
                  <a:pt x="480179" y="1225768"/>
                </a:cubicBezTo>
                <a:cubicBezTo>
                  <a:pt x="480174" y="1222894"/>
                  <a:pt x="480210" y="1220023"/>
                  <a:pt x="480250" y="1217149"/>
                </a:cubicBezTo>
                <a:cubicBezTo>
                  <a:pt x="480260" y="1199291"/>
                  <a:pt x="476718" y="1187768"/>
                  <a:pt x="462972" y="1174827"/>
                </a:cubicBezTo>
                <a:cubicBezTo>
                  <a:pt x="461148" y="1173192"/>
                  <a:pt x="459312" y="1171566"/>
                  <a:pt x="457468" y="1169949"/>
                </a:cubicBezTo>
                <a:cubicBezTo>
                  <a:pt x="451412" y="1164522"/>
                  <a:pt x="445876" y="1158660"/>
                  <a:pt x="440657" y="1152570"/>
                </a:cubicBezTo>
                <a:cubicBezTo>
                  <a:pt x="430474" y="1140786"/>
                  <a:pt x="418230" y="1128998"/>
                  <a:pt x="403142" y="1122366"/>
                </a:cubicBezTo>
                <a:cubicBezTo>
                  <a:pt x="402626" y="1121436"/>
                  <a:pt x="402110" y="1120506"/>
                  <a:pt x="401579" y="1119547"/>
                </a:cubicBezTo>
                <a:cubicBezTo>
                  <a:pt x="390472" y="1115326"/>
                  <a:pt x="375918" y="1114217"/>
                  <a:pt x="364564" y="1118209"/>
                </a:cubicBezTo>
                <a:cubicBezTo>
                  <a:pt x="362278" y="1119428"/>
                  <a:pt x="360026" y="1120704"/>
                  <a:pt x="357822" y="1122041"/>
                </a:cubicBezTo>
                <a:cubicBezTo>
                  <a:pt x="354521" y="1123884"/>
                  <a:pt x="351862" y="1124582"/>
                  <a:pt x="348077" y="1125273"/>
                </a:cubicBezTo>
                <a:cubicBezTo>
                  <a:pt x="341765" y="1126696"/>
                  <a:pt x="339382" y="1128619"/>
                  <a:pt x="334408" y="1132230"/>
                </a:cubicBezTo>
                <a:cubicBezTo>
                  <a:pt x="332284" y="1132909"/>
                  <a:pt x="330131" y="1133519"/>
                  <a:pt x="327964" y="1134080"/>
                </a:cubicBezTo>
                <a:cubicBezTo>
                  <a:pt x="309975" y="1139067"/>
                  <a:pt x="290592" y="1152117"/>
                  <a:pt x="279734" y="1166051"/>
                </a:cubicBezTo>
                <a:cubicBezTo>
                  <a:pt x="277929" y="1169534"/>
                  <a:pt x="277929" y="1169534"/>
                  <a:pt x="276609" y="1173098"/>
                </a:cubicBezTo>
                <a:cubicBezTo>
                  <a:pt x="272413" y="1180804"/>
                  <a:pt x="269322" y="1184144"/>
                  <a:pt x="260988" y="1188599"/>
                </a:cubicBezTo>
                <a:cubicBezTo>
                  <a:pt x="259988" y="1189435"/>
                  <a:pt x="258987" y="1190271"/>
                  <a:pt x="257956" y="1191132"/>
                </a:cubicBezTo>
                <a:lnTo>
                  <a:pt x="243805" y="1196629"/>
                </a:lnTo>
                <a:lnTo>
                  <a:pt x="243805" y="1194236"/>
                </a:lnTo>
                <a:lnTo>
                  <a:pt x="240288" y="1194765"/>
                </a:lnTo>
                <a:lnTo>
                  <a:pt x="243374" y="1194765"/>
                </a:lnTo>
                <a:lnTo>
                  <a:pt x="243374" y="1196797"/>
                </a:lnTo>
                <a:lnTo>
                  <a:pt x="243805" y="1196629"/>
                </a:lnTo>
                <a:lnTo>
                  <a:pt x="243805" y="1197055"/>
                </a:lnTo>
                <a:lnTo>
                  <a:pt x="243374" y="1197055"/>
                </a:lnTo>
                <a:lnTo>
                  <a:pt x="243374" y="1197584"/>
                </a:lnTo>
                <a:lnTo>
                  <a:pt x="241319" y="1197595"/>
                </a:lnTo>
                <a:lnTo>
                  <a:pt x="238009" y="1198881"/>
                </a:lnTo>
                <a:cubicBezTo>
                  <a:pt x="231012" y="1199584"/>
                  <a:pt x="223620" y="1198927"/>
                  <a:pt x="215687" y="1198464"/>
                </a:cubicBezTo>
                <a:lnTo>
                  <a:pt x="215687" y="1197734"/>
                </a:lnTo>
                <a:lnTo>
                  <a:pt x="213936" y="1197744"/>
                </a:lnTo>
                <a:cubicBezTo>
                  <a:pt x="210570" y="1197584"/>
                  <a:pt x="210570" y="1197584"/>
                  <a:pt x="207446" y="1196175"/>
                </a:cubicBezTo>
                <a:lnTo>
                  <a:pt x="207822" y="1195610"/>
                </a:lnTo>
                <a:lnTo>
                  <a:pt x="184737" y="1180936"/>
                </a:lnTo>
                <a:cubicBezTo>
                  <a:pt x="180258" y="1172216"/>
                  <a:pt x="179226" y="1164355"/>
                  <a:pt x="179270" y="1154866"/>
                </a:cubicBezTo>
                <a:cubicBezTo>
                  <a:pt x="179233" y="1153260"/>
                  <a:pt x="179233" y="1153260"/>
                  <a:pt x="179194" y="1151621"/>
                </a:cubicBezTo>
                <a:cubicBezTo>
                  <a:pt x="179182" y="1139523"/>
                  <a:pt x="183658" y="1128837"/>
                  <a:pt x="193195" y="1120065"/>
                </a:cubicBezTo>
                <a:cubicBezTo>
                  <a:pt x="204265" y="1110959"/>
                  <a:pt x="215062" y="1110626"/>
                  <a:pt x="229551" y="1110299"/>
                </a:cubicBezTo>
                <a:cubicBezTo>
                  <a:pt x="240132" y="1110024"/>
                  <a:pt x="250506" y="1109652"/>
                  <a:pt x="260988" y="1108274"/>
                </a:cubicBezTo>
                <a:cubicBezTo>
                  <a:pt x="260988" y="1107344"/>
                  <a:pt x="260988" y="1106413"/>
                  <a:pt x="260988" y="1105455"/>
                </a:cubicBezTo>
                <a:cubicBezTo>
                  <a:pt x="261953" y="1105078"/>
                  <a:pt x="262918" y="1104699"/>
                  <a:pt x="263911" y="1104310"/>
                </a:cubicBezTo>
                <a:cubicBezTo>
                  <a:pt x="272903" y="1100557"/>
                  <a:pt x="279802" y="1096307"/>
                  <a:pt x="286995" y="1090185"/>
                </a:cubicBezTo>
                <a:cubicBezTo>
                  <a:pt x="290956" y="1086897"/>
                  <a:pt x="295114" y="1083955"/>
                  <a:pt x="299358" y="1080970"/>
                </a:cubicBezTo>
                <a:cubicBezTo>
                  <a:pt x="306613" y="1075692"/>
                  <a:pt x="312234" y="1070023"/>
                  <a:pt x="317762" y="1063272"/>
                </a:cubicBezTo>
                <a:cubicBezTo>
                  <a:pt x="320349" y="1060360"/>
                  <a:pt x="320349" y="1060360"/>
                  <a:pt x="325035" y="1057542"/>
                </a:cubicBezTo>
                <a:cubicBezTo>
                  <a:pt x="329912" y="1045734"/>
                  <a:pt x="327928" y="1035103"/>
                  <a:pt x="325328" y="1023104"/>
                </a:cubicBezTo>
                <a:cubicBezTo>
                  <a:pt x="325069" y="1021831"/>
                  <a:pt x="324811" y="1020559"/>
                  <a:pt x="324544" y="1019247"/>
                </a:cubicBezTo>
                <a:cubicBezTo>
                  <a:pt x="322876" y="1011407"/>
                  <a:pt x="320562" y="1004340"/>
                  <a:pt x="317225" y="996945"/>
                </a:cubicBezTo>
                <a:cubicBezTo>
                  <a:pt x="316619" y="995541"/>
                  <a:pt x="316013" y="994137"/>
                  <a:pt x="315388" y="992690"/>
                </a:cubicBezTo>
                <a:cubicBezTo>
                  <a:pt x="306307" y="972561"/>
                  <a:pt x="298931" y="959343"/>
                  <a:pt x="276232" y="950666"/>
                </a:cubicBezTo>
                <a:cubicBezTo>
                  <a:pt x="274810" y="950127"/>
                  <a:pt x="273388" y="949587"/>
                  <a:pt x="271923" y="949031"/>
                </a:cubicBezTo>
                <a:cubicBezTo>
                  <a:pt x="270129" y="948244"/>
                  <a:pt x="270129" y="948244"/>
                  <a:pt x="268299" y="947441"/>
                </a:cubicBezTo>
                <a:cubicBezTo>
                  <a:pt x="247071" y="938140"/>
                  <a:pt x="222259" y="939051"/>
                  <a:pt x="199187" y="938991"/>
                </a:cubicBezTo>
                <a:cubicBezTo>
                  <a:pt x="197383" y="938984"/>
                  <a:pt x="195579" y="938978"/>
                  <a:pt x="193719" y="938971"/>
                </a:cubicBezTo>
                <a:cubicBezTo>
                  <a:pt x="192010" y="938974"/>
                  <a:pt x="190300" y="938977"/>
                  <a:pt x="188539" y="938980"/>
                </a:cubicBezTo>
                <a:cubicBezTo>
                  <a:pt x="187000" y="938981"/>
                  <a:pt x="185460" y="938983"/>
                  <a:pt x="183874" y="938985"/>
                </a:cubicBezTo>
                <a:cubicBezTo>
                  <a:pt x="180148" y="939150"/>
                  <a:pt x="177092" y="939720"/>
                  <a:pt x="173509" y="940576"/>
                </a:cubicBezTo>
                <a:cubicBezTo>
                  <a:pt x="169458" y="940674"/>
                  <a:pt x="165452" y="940710"/>
                  <a:pt x="161403" y="940664"/>
                </a:cubicBezTo>
                <a:cubicBezTo>
                  <a:pt x="160314" y="940658"/>
                  <a:pt x="159224" y="940651"/>
                  <a:pt x="158102" y="940645"/>
                </a:cubicBezTo>
                <a:lnTo>
                  <a:pt x="150875" y="940583"/>
                </a:lnTo>
                <a:lnTo>
                  <a:pt x="148425" y="940717"/>
                </a:lnTo>
                <a:lnTo>
                  <a:pt x="149617" y="940995"/>
                </a:lnTo>
                <a:cubicBezTo>
                  <a:pt x="149617" y="941459"/>
                  <a:pt x="149617" y="941924"/>
                  <a:pt x="149617" y="942404"/>
                </a:cubicBezTo>
                <a:cubicBezTo>
                  <a:pt x="148630" y="942558"/>
                  <a:pt x="147643" y="942712"/>
                  <a:pt x="146627" y="942871"/>
                </a:cubicBezTo>
                <a:cubicBezTo>
                  <a:pt x="134541" y="944804"/>
                  <a:pt x="122553" y="947081"/>
                  <a:pt x="110564" y="949449"/>
                </a:cubicBezTo>
                <a:lnTo>
                  <a:pt x="111283" y="946205"/>
                </a:lnTo>
                <a:lnTo>
                  <a:pt x="101652" y="956078"/>
                </a:lnTo>
                <a:cubicBezTo>
                  <a:pt x="99870" y="957260"/>
                  <a:pt x="99870" y="957260"/>
                  <a:pt x="98052" y="958467"/>
                </a:cubicBezTo>
                <a:cubicBezTo>
                  <a:pt x="75683" y="972989"/>
                  <a:pt x="75683" y="972989"/>
                  <a:pt x="67286" y="972989"/>
                </a:cubicBezTo>
                <a:cubicBezTo>
                  <a:pt x="67286" y="973918"/>
                  <a:pt x="67286" y="974848"/>
                  <a:pt x="67286" y="975807"/>
                </a:cubicBezTo>
                <a:cubicBezTo>
                  <a:pt x="55713" y="979519"/>
                  <a:pt x="43549" y="980689"/>
                  <a:pt x="31942" y="976423"/>
                </a:cubicBezTo>
                <a:cubicBezTo>
                  <a:pt x="19953" y="970870"/>
                  <a:pt x="10774" y="964932"/>
                  <a:pt x="5673" y="953419"/>
                </a:cubicBezTo>
                <a:cubicBezTo>
                  <a:pt x="4801" y="950441"/>
                  <a:pt x="4801" y="950441"/>
                  <a:pt x="4801" y="944804"/>
                </a:cubicBezTo>
                <a:cubicBezTo>
                  <a:pt x="3770" y="944804"/>
                  <a:pt x="2739" y="944804"/>
                  <a:pt x="1676" y="944804"/>
                </a:cubicBezTo>
                <a:cubicBezTo>
                  <a:pt x="-34" y="940174"/>
                  <a:pt x="-41" y="936720"/>
                  <a:pt x="17" y="931857"/>
                </a:cubicBezTo>
                <a:cubicBezTo>
                  <a:pt x="31" y="930325"/>
                  <a:pt x="45" y="928794"/>
                  <a:pt x="59" y="927216"/>
                </a:cubicBezTo>
                <a:cubicBezTo>
                  <a:pt x="78" y="926044"/>
                  <a:pt x="96" y="924873"/>
                  <a:pt x="115" y="923666"/>
                </a:cubicBezTo>
                <a:cubicBezTo>
                  <a:pt x="1145" y="923666"/>
                  <a:pt x="2176" y="923666"/>
                  <a:pt x="3238" y="923666"/>
                </a:cubicBezTo>
                <a:cubicBezTo>
                  <a:pt x="3238" y="921805"/>
                  <a:pt x="3238" y="919945"/>
                  <a:pt x="3238" y="918029"/>
                </a:cubicBezTo>
                <a:cubicBezTo>
                  <a:pt x="4270" y="918029"/>
                  <a:pt x="5300" y="918029"/>
                  <a:pt x="6363" y="918029"/>
                </a:cubicBezTo>
                <a:cubicBezTo>
                  <a:pt x="6459" y="916314"/>
                  <a:pt x="6556" y="914599"/>
                  <a:pt x="6656" y="912832"/>
                </a:cubicBezTo>
                <a:cubicBezTo>
                  <a:pt x="7542" y="906455"/>
                  <a:pt x="10104" y="903750"/>
                  <a:pt x="15736" y="899709"/>
                </a:cubicBezTo>
                <a:lnTo>
                  <a:pt x="17243" y="898894"/>
                </a:lnTo>
                <a:lnTo>
                  <a:pt x="16800" y="898694"/>
                </a:lnTo>
                <a:lnTo>
                  <a:pt x="24988" y="894101"/>
                </a:lnTo>
                <a:lnTo>
                  <a:pt x="26768" y="892399"/>
                </a:lnTo>
                <a:cubicBezTo>
                  <a:pt x="28282" y="891122"/>
                  <a:pt x="29038" y="890483"/>
                  <a:pt x="30198" y="890164"/>
                </a:cubicBezTo>
                <a:lnTo>
                  <a:pt x="32204" y="890054"/>
                </a:lnTo>
                <a:lnTo>
                  <a:pt x="38914" y="886291"/>
                </a:lnTo>
                <a:cubicBezTo>
                  <a:pt x="47169" y="885770"/>
                  <a:pt x="55396" y="885800"/>
                  <a:pt x="63664" y="886011"/>
                </a:cubicBezTo>
                <a:lnTo>
                  <a:pt x="63664" y="886531"/>
                </a:lnTo>
                <a:lnTo>
                  <a:pt x="70784" y="886647"/>
                </a:lnTo>
                <a:cubicBezTo>
                  <a:pt x="74787" y="887000"/>
                  <a:pt x="77233" y="887948"/>
                  <a:pt x="82126" y="889845"/>
                </a:cubicBezTo>
                <a:cubicBezTo>
                  <a:pt x="92427" y="893791"/>
                  <a:pt x="103139" y="893710"/>
                  <a:pt x="114149" y="892663"/>
                </a:cubicBezTo>
                <a:cubicBezTo>
                  <a:pt x="115696" y="891733"/>
                  <a:pt x="117242" y="890803"/>
                  <a:pt x="118836" y="889845"/>
                </a:cubicBezTo>
                <a:cubicBezTo>
                  <a:pt x="123097" y="888850"/>
                  <a:pt x="127325" y="887944"/>
                  <a:pt x="131626" y="887114"/>
                </a:cubicBezTo>
                <a:cubicBezTo>
                  <a:pt x="139750" y="885542"/>
                  <a:pt x="147376" y="883653"/>
                  <a:pt x="155116" y="880913"/>
                </a:cubicBezTo>
                <a:cubicBezTo>
                  <a:pt x="158498" y="879775"/>
                  <a:pt x="161861" y="879076"/>
                  <a:pt x="165406" y="878483"/>
                </a:cubicBezTo>
                <a:cubicBezTo>
                  <a:pt x="170342" y="877655"/>
                  <a:pt x="172265" y="876971"/>
                  <a:pt x="176634" y="874343"/>
                </a:cubicBezTo>
                <a:cubicBezTo>
                  <a:pt x="179863" y="873335"/>
                  <a:pt x="183123" y="872404"/>
                  <a:pt x="186397" y="871524"/>
                </a:cubicBezTo>
                <a:cubicBezTo>
                  <a:pt x="189107" y="870786"/>
                  <a:pt x="189107" y="870786"/>
                  <a:pt x="191871" y="870033"/>
                </a:cubicBezTo>
                <a:cubicBezTo>
                  <a:pt x="195731" y="869023"/>
                  <a:pt x="199587" y="868093"/>
                  <a:pt x="203483" y="867208"/>
                </a:cubicBezTo>
                <a:cubicBezTo>
                  <a:pt x="208339" y="866199"/>
                  <a:pt x="208339" y="866199"/>
                  <a:pt x="211001" y="861660"/>
                </a:cubicBezTo>
                <a:cubicBezTo>
                  <a:pt x="214174" y="860102"/>
                  <a:pt x="214174" y="860102"/>
                  <a:pt x="218031" y="858577"/>
                </a:cubicBezTo>
                <a:cubicBezTo>
                  <a:pt x="236068" y="850629"/>
                  <a:pt x="245199" y="840442"/>
                  <a:pt x="254740" y="825020"/>
                </a:cubicBezTo>
                <a:cubicBezTo>
                  <a:pt x="255771" y="823625"/>
                  <a:pt x="256802" y="822230"/>
                  <a:pt x="257864" y="820792"/>
                </a:cubicBezTo>
                <a:cubicBezTo>
                  <a:pt x="258359" y="817506"/>
                  <a:pt x="258359" y="817506"/>
                  <a:pt x="258318" y="813810"/>
                </a:cubicBezTo>
                <a:cubicBezTo>
                  <a:pt x="258338" y="812388"/>
                  <a:pt x="258358" y="810967"/>
                  <a:pt x="258378" y="809502"/>
                </a:cubicBezTo>
                <a:cubicBezTo>
                  <a:pt x="258382" y="807965"/>
                  <a:pt x="258385" y="806429"/>
                  <a:pt x="258389" y="804845"/>
                </a:cubicBezTo>
                <a:cubicBezTo>
                  <a:pt x="258399" y="803258"/>
                  <a:pt x="258410" y="801671"/>
                  <a:pt x="258420" y="800036"/>
                </a:cubicBezTo>
                <a:cubicBezTo>
                  <a:pt x="258436" y="796670"/>
                  <a:pt x="258443" y="793305"/>
                  <a:pt x="258443" y="789939"/>
                </a:cubicBezTo>
                <a:cubicBezTo>
                  <a:pt x="258450" y="784823"/>
                  <a:pt x="258506" y="779709"/>
                  <a:pt x="258566" y="774594"/>
                </a:cubicBezTo>
                <a:cubicBezTo>
                  <a:pt x="258575" y="771319"/>
                  <a:pt x="258581" y="768045"/>
                  <a:pt x="258584" y="764771"/>
                </a:cubicBezTo>
                <a:cubicBezTo>
                  <a:pt x="258618" y="762495"/>
                  <a:pt x="258618" y="762495"/>
                  <a:pt x="258652" y="760174"/>
                </a:cubicBezTo>
                <a:cubicBezTo>
                  <a:pt x="258586" y="750030"/>
                  <a:pt x="256266" y="742584"/>
                  <a:pt x="251616" y="733421"/>
                </a:cubicBezTo>
                <a:cubicBezTo>
                  <a:pt x="250163" y="729605"/>
                  <a:pt x="248880" y="725752"/>
                  <a:pt x="247613" y="721883"/>
                </a:cubicBezTo>
                <a:cubicBezTo>
                  <a:pt x="245789" y="716328"/>
                  <a:pt x="243913" y="710939"/>
                  <a:pt x="241291" y="705644"/>
                </a:cubicBezTo>
                <a:cubicBezTo>
                  <a:pt x="238691" y="700096"/>
                  <a:pt x="238136" y="695685"/>
                  <a:pt x="237557" y="689735"/>
                </a:cubicBezTo>
                <a:cubicBezTo>
                  <a:pt x="244977" y="685507"/>
                  <a:pt x="244977" y="685507"/>
                  <a:pt x="248492" y="685507"/>
                </a:cubicBezTo>
                <a:cubicBezTo>
                  <a:pt x="248492" y="684112"/>
                  <a:pt x="248492" y="682717"/>
                  <a:pt x="248492" y="681279"/>
                </a:cubicBezTo>
                <a:cubicBezTo>
                  <a:pt x="245914" y="680815"/>
                  <a:pt x="243337" y="680350"/>
                  <a:pt x="240681" y="679870"/>
                </a:cubicBezTo>
                <a:cubicBezTo>
                  <a:pt x="240681" y="678940"/>
                  <a:pt x="240681" y="678010"/>
                  <a:pt x="240681" y="677052"/>
                </a:cubicBezTo>
                <a:cubicBezTo>
                  <a:pt x="239827" y="676917"/>
                  <a:pt x="238973" y="676783"/>
                  <a:pt x="238094" y="676645"/>
                </a:cubicBezTo>
                <a:cubicBezTo>
                  <a:pt x="233442" y="675371"/>
                  <a:pt x="229939" y="673242"/>
                  <a:pt x="225841" y="670886"/>
                </a:cubicBezTo>
                <a:cubicBezTo>
                  <a:pt x="217808" y="666564"/>
                  <a:pt x="210635" y="664241"/>
                  <a:pt x="201531" y="662508"/>
                </a:cubicBezTo>
                <a:cubicBezTo>
                  <a:pt x="196896" y="661541"/>
                  <a:pt x="192682" y="660199"/>
                  <a:pt x="188252" y="658644"/>
                </a:cubicBezTo>
                <a:lnTo>
                  <a:pt x="182431" y="657327"/>
                </a:lnTo>
                <a:lnTo>
                  <a:pt x="182431" y="657613"/>
                </a:lnTo>
                <a:cubicBezTo>
                  <a:pt x="170575" y="657148"/>
                  <a:pt x="158718" y="656683"/>
                  <a:pt x="146503" y="656204"/>
                </a:cubicBezTo>
                <a:cubicBezTo>
                  <a:pt x="146503" y="657133"/>
                  <a:pt x="146503" y="658064"/>
                  <a:pt x="146503" y="659022"/>
                </a:cubicBezTo>
                <a:cubicBezTo>
                  <a:pt x="134359" y="662326"/>
                  <a:pt x="123013" y="663700"/>
                  <a:pt x="110378" y="663778"/>
                </a:cubicBezTo>
                <a:cubicBezTo>
                  <a:pt x="108435" y="663806"/>
                  <a:pt x="108435" y="663806"/>
                  <a:pt x="106453" y="663836"/>
                </a:cubicBezTo>
                <a:cubicBezTo>
                  <a:pt x="105231" y="663828"/>
                  <a:pt x="104009" y="663820"/>
                  <a:pt x="102751" y="663811"/>
                </a:cubicBezTo>
                <a:cubicBezTo>
                  <a:pt x="101117" y="663804"/>
                  <a:pt x="101117" y="663804"/>
                  <a:pt x="99449" y="663797"/>
                </a:cubicBezTo>
                <a:cubicBezTo>
                  <a:pt x="95696" y="663097"/>
                  <a:pt x="94265" y="661615"/>
                  <a:pt x="91828" y="659022"/>
                </a:cubicBezTo>
                <a:cubicBezTo>
                  <a:pt x="93890" y="659022"/>
                  <a:pt x="95953" y="659022"/>
                  <a:pt x="98077" y="659022"/>
                </a:cubicBezTo>
                <a:cubicBezTo>
                  <a:pt x="98077" y="659952"/>
                  <a:pt x="98077" y="660882"/>
                  <a:pt x="98077" y="661841"/>
                </a:cubicBezTo>
                <a:cubicBezTo>
                  <a:pt x="108735" y="662045"/>
                  <a:pt x="114063" y="662148"/>
                  <a:pt x="119023" y="661357"/>
                </a:cubicBezTo>
                <a:lnTo>
                  <a:pt x="119536" y="661197"/>
                </a:lnTo>
                <a:lnTo>
                  <a:pt x="109853" y="661639"/>
                </a:lnTo>
                <a:cubicBezTo>
                  <a:pt x="108764" y="661632"/>
                  <a:pt x="107675" y="661626"/>
                  <a:pt x="106552" y="661619"/>
                </a:cubicBezTo>
                <a:cubicBezTo>
                  <a:pt x="103877" y="661603"/>
                  <a:pt x="101203" y="661577"/>
                  <a:pt x="98528" y="661550"/>
                </a:cubicBezTo>
                <a:cubicBezTo>
                  <a:pt x="98528" y="660620"/>
                  <a:pt x="98528" y="659691"/>
                  <a:pt x="98528" y="658732"/>
                </a:cubicBezTo>
                <a:cubicBezTo>
                  <a:pt x="95435" y="658267"/>
                  <a:pt x="92342" y="657802"/>
                  <a:pt x="89155" y="657323"/>
                </a:cubicBezTo>
                <a:cubicBezTo>
                  <a:pt x="89155" y="656393"/>
                  <a:pt x="89155" y="655462"/>
                  <a:pt x="89155" y="654504"/>
                </a:cubicBezTo>
                <a:cubicBezTo>
                  <a:pt x="87790" y="653978"/>
                  <a:pt x="87790" y="653978"/>
                  <a:pt x="86397" y="653442"/>
                </a:cubicBezTo>
                <a:cubicBezTo>
                  <a:pt x="82415" y="651438"/>
                  <a:pt x="80039" y="649232"/>
                  <a:pt x="77049" y="646137"/>
                </a:cubicBezTo>
                <a:cubicBezTo>
                  <a:pt x="75611" y="644679"/>
                  <a:pt x="75611" y="644679"/>
                  <a:pt x="74145" y="643192"/>
                </a:cubicBezTo>
                <a:cubicBezTo>
                  <a:pt x="71972" y="640412"/>
                  <a:pt x="71972" y="640412"/>
                  <a:pt x="71972" y="636185"/>
                </a:cubicBezTo>
                <a:cubicBezTo>
                  <a:pt x="70941" y="636185"/>
                  <a:pt x="69910" y="636185"/>
                  <a:pt x="68848" y="636185"/>
                </a:cubicBezTo>
                <a:cubicBezTo>
                  <a:pt x="64250" y="621928"/>
                  <a:pt x="64695" y="609404"/>
                  <a:pt x="70410" y="595317"/>
                </a:cubicBezTo>
                <a:cubicBezTo>
                  <a:pt x="73096" y="591142"/>
                  <a:pt x="76144" y="587574"/>
                  <a:pt x="79782" y="584043"/>
                </a:cubicBezTo>
                <a:cubicBezTo>
                  <a:pt x="81205" y="582594"/>
                  <a:pt x="81205" y="582594"/>
                  <a:pt x="82656" y="581115"/>
                </a:cubicBezTo>
                <a:cubicBezTo>
                  <a:pt x="91488" y="574027"/>
                  <a:pt x="105133" y="571806"/>
                  <a:pt x="116694" y="572323"/>
                </a:cubicBezTo>
                <a:cubicBezTo>
                  <a:pt x="131556" y="574113"/>
                  <a:pt x="142046" y="580551"/>
                  <a:pt x="152031" y="590385"/>
                </a:cubicBezTo>
                <a:cubicBezTo>
                  <a:pt x="162272" y="600009"/>
                  <a:pt x="176992" y="605062"/>
                  <a:pt x="191474" y="605886"/>
                </a:cubicBezTo>
                <a:cubicBezTo>
                  <a:pt x="196845" y="606192"/>
                  <a:pt x="201203" y="606463"/>
                  <a:pt x="206314" y="608000"/>
                </a:cubicBezTo>
                <a:cubicBezTo>
                  <a:pt x="206314" y="608930"/>
                  <a:pt x="206314" y="609860"/>
                  <a:pt x="206314" y="610818"/>
                </a:cubicBezTo>
                <a:cubicBezTo>
                  <a:pt x="215689" y="610902"/>
                  <a:pt x="225058" y="610898"/>
                  <a:pt x="234433" y="610818"/>
                </a:cubicBezTo>
                <a:cubicBezTo>
                  <a:pt x="236112" y="610813"/>
                  <a:pt x="237791" y="610808"/>
                  <a:pt x="239522" y="610802"/>
                </a:cubicBezTo>
                <a:cubicBezTo>
                  <a:pt x="251005" y="610364"/>
                  <a:pt x="259257" y="606564"/>
                  <a:pt x="268799" y="600954"/>
                </a:cubicBezTo>
                <a:cubicBezTo>
                  <a:pt x="269770" y="600416"/>
                  <a:pt x="270740" y="599879"/>
                  <a:pt x="271740" y="599325"/>
                </a:cubicBezTo>
                <a:cubicBezTo>
                  <a:pt x="279452" y="594430"/>
                  <a:pt x="281420" y="587464"/>
                  <a:pt x="284420" y="579816"/>
                </a:cubicBezTo>
                <a:cubicBezTo>
                  <a:pt x="286047" y="576075"/>
                  <a:pt x="287725" y="572353"/>
                  <a:pt x="289399" y="568630"/>
                </a:cubicBezTo>
                <a:cubicBezTo>
                  <a:pt x="294095" y="558121"/>
                  <a:pt x="299004" y="547070"/>
                  <a:pt x="293958" y="535838"/>
                </a:cubicBezTo>
                <a:cubicBezTo>
                  <a:pt x="292436" y="533533"/>
                  <a:pt x="290781" y="531301"/>
                  <a:pt x="289107" y="529084"/>
                </a:cubicBezTo>
                <a:cubicBezTo>
                  <a:pt x="289107" y="528153"/>
                  <a:pt x="289107" y="527223"/>
                  <a:pt x="289107" y="526265"/>
                </a:cubicBezTo>
                <a:cubicBezTo>
                  <a:pt x="287560" y="525800"/>
                  <a:pt x="286014" y="525335"/>
                  <a:pt x="284420" y="524856"/>
                </a:cubicBezTo>
                <a:cubicBezTo>
                  <a:pt x="283905" y="523461"/>
                  <a:pt x="283389" y="522066"/>
                  <a:pt x="282858" y="520628"/>
                </a:cubicBezTo>
                <a:cubicBezTo>
                  <a:pt x="280750" y="518590"/>
                  <a:pt x="280750" y="518590"/>
                  <a:pt x="277977" y="516577"/>
                </a:cubicBezTo>
                <a:cubicBezTo>
                  <a:pt x="273591" y="513232"/>
                  <a:pt x="269227" y="509874"/>
                  <a:pt x="264925" y="506443"/>
                </a:cubicBezTo>
                <a:cubicBezTo>
                  <a:pt x="253596" y="497433"/>
                  <a:pt x="242132" y="488987"/>
                  <a:pt x="229746" y="481170"/>
                </a:cubicBezTo>
                <a:cubicBezTo>
                  <a:pt x="226846" y="479266"/>
                  <a:pt x="223950" y="477358"/>
                  <a:pt x="221057" y="475445"/>
                </a:cubicBezTo>
                <a:cubicBezTo>
                  <a:pt x="218227" y="473594"/>
                  <a:pt x="215396" y="471744"/>
                  <a:pt x="212563" y="469896"/>
                </a:cubicBezTo>
                <a:cubicBezTo>
                  <a:pt x="211351" y="469102"/>
                  <a:pt x="210138" y="468309"/>
                  <a:pt x="208889" y="467491"/>
                </a:cubicBezTo>
                <a:cubicBezTo>
                  <a:pt x="202848" y="463599"/>
                  <a:pt x="196732" y="459888"/>
                  <a:pt x="190406" y="456382"/>
                </a:cubicBezTo>
                <a:cubicBezTo>
                  <a:pt x="189263" y="455748"/>
                  <a:pt x="188119" y="455114"/>
                  <a:pt x="186942" y="454460"/>
                </a:cubicBezTo>
                <a:cubicBezTo>
                  <a:pt x="184648" y="453196"/>
                  <a:pt x="182348" y="451941"/>
                  <a:pt x="180041" y="450696"/>
                </a:cubicBezTo>
                <a:cubicBezTo>
                  <a:pt x="177292" y="449185"/>
                  <a:pt x="174612" y="447571"/>
                  <a:pt x="171948" y="445940"/>
                </a:cubicBezTo>
                <a:cubicBezTo>
                  <a:pt x="171948" y="445009"/>
                  <a:pt x="171948" y="444079"/>
                  <a:pt x="171948" y="443121"/>
                </a:cubicBezTo>
                <a:cubicBezTo>
                  <a:pt x="170804" y="442985"/>
                  <a:pt x="169660" y="442848"/>
                  <a:pt x="168482" y="442708"/>
                </a:cubicBezTo>
                <a:cubicBezTo>
                  <a:pt x="163547" y="441576"/>
                  <a:pt x="161063" y="439897"/>
                  <a:pt x="157107" y="437044"/>
                </a:cubicBezTo>
                <a:cubicBezTo>
                  <a:pt x="149345" y="431895"/>
                  <a:pt x="141843" y="429626"/>
                  <a:pt x="132559" y="427510"/>
                </a:cubicBezTo>
                <a:cubicBezTo>
                  <a:pt x="128067" y="426168"/>
                  <a:pt x="126607" y="425060"/>
                  <a:pt x="123522" y="421983"/>
                </a:cubicBezTo>
                <a:cubicBezTo>
                  <a:pt x="118310" y="419033"/>
                  <a:pt x="114076" y="418794"/>
                  <a:pt x="107986" y="418730"/>
                </a:cubicBezTo>
                <a:cubicBezTo>
                  <a:pt x="106174" y="418694"/>
                  <a:pt x="104362" y="418659"/>
                  <a:pt x="102494" y="418622"/>
                </a:cubicBezTo>
                <a:cubicBezTo>
                  <a:pt x="98715" y="418573"/>
                  <a:pt x="94936" y="418529"/>
                  <a:pt x="91157" y="418490"/>
                </a:cubicBezTo>
                <a:cubicBezTo>
                  <a:pt x="78470" y="418231"/>
                  <a:pt x="65485" y="417940"/>
                  <a:pt x="55277" y="410445"/>
                </a:cubicBezTo>
                <a:cubicBezTo>
                  <a:pt x="54084" y="409137"/>
                  <a:pt x="52893" y="407829"/>
                  <a:pt x="51665" y="406481"/>
                </a:cubicBezTo>
                <a:cubicBezTo>
                  <a:pt x="49752" y="404480"/>
                  <a:pt x="47831" y="402483"/>
                  <a:pt x="45904" y="400492"/>
                </a:cubicBezTo>
                <a:cubicBezTo>
                  <a:pt x="44996" y="399526"/>
                  <a:pt x="44088" y="398559"/>
                  <a:pt x="43152" y="397564"/>
                </a:cubicBezTo>
                <a:cubicBezTo>
                  <a:pt x="40865" y="395062"/>
                  <a:pt x="40865" y="395062"/>
                  <a:pt x="37605" y="393798"/>
                </a:cubicBezTo>
                <a:lnTo>
                  <a:pt x="38995" y="368712"/>
                </a:lnTo>
                <a:lnTo>
                  <a:pt x="38666" y="369724"/>
                </a:lnTo>
                <a:cubicBezTo>
                  <a:pt x="37003" y="374506"/>
                  <a:pt x="36202" y="379113"/>
                  <a:pt x="35542" y="384081"/>
                </a:cubicBezTo>
                <a:cubicBezTo>
                  <a:pt x="30313" y="376119"/>
                  <a:pt x="31188" y="366593"/>
                  <a:pt x="33326" y="357791"/>
                </a:cubicBezTo>
                <a:cubicBezTo>
                  <a:pt x="37176" y="347767"/>
                  <a:pt x="44536" y="340769"/>
                  <a:pt x="52725" y="333349"/>
                </a:cubicBezTo>
                <a:lnTo>
                  <a:pt x="55222" y="334475"/>
                </a:lnTo>
                <a:lnTo>
                  <a:pt x="56222" y="333347"/>
                </a:lnTo>
                <a:lnTo>
                  <a:pt x="55871" y="333347"/>
                </a:lnTo>
                <a:lnTo>
                  <a:pt x="56346" y="333207"/>
                </a:lnTo>
                <a:lnTo>
                  <a:pt x="56351" y="333202"/>
                </a:lnTo>
                <a:lnTo>
                  <a:pt x="56365" y="333202"/>
                </a:lnTo>
                <a:lnTo>
                  <a:pt x="79571" y="326360"/>
                </a:lnTo>
                <a:cubicBezTo>
                  <a:pt x="87782" y="326037"/>
                  <a:pt x="96164" y="327572"/>
                  <a:pt x="104297" y="330529"/>
                </a:cubicBezTo>
                <a:lnTo>
                  <a:pt x="107170" y="334417"/>
                </a:lnTo>
                <a:lnTo>
                  <a:pt x="109366" y="336046"/>
                </a:lnTo>
                <a:lnTo>
                  <a:pt x="109463" y="336020"/>
                </a:lnTo>
                <a:lnTo>
                  <a:pt x="109463" y="336118"/>
                </a:lnTo>
                <a:lnTo>
                  <a:pt x="115226" y="340394"/>
                </a:lnTo>
                <a:lnTo>
                  <a:pt x="114010" y="340120"/>
                </a:lnTo>
                <a:lnTo>
                  <a:pt x="133285" y="357423"/>
                </a:lnTo>
                <a:cubicBezTo>
                  <a:pt x="142471" y="373187"/>
                  <a:pt x="155564" y="382744"/>
                  <a:pt x="173509" y="389571"/>
                </a:cubicBezTo>
                <a:cubicBezTo>
                  <a:pt x="176254" y="390785"/>
                  <a:pt x="178988" y="392017"/>
                  <a:pt x="181711" y="393270"/>
                </a:cubicBezTo>
                <a:cubicBezTo>
                  <a:pt x="182964" y="393833"/>
                  <a:pt x="184216" y="394396"/>
                  <a:pt x="185507" y="394976"/>
                </a:cubicBezTo>
                <a:cubicBezTo>
                  <a:pt x="187897" y="396058"/>
                  <a:pt x="190281" y="397151"/>
                  <a:pt x="192658" y="398257"/>
                </a:cubicBezTo>
                <a:cubicBezTo>
                  <a:pt x="193749" y="398762"/>
                  <a:pt x="194841" y="399267"/>
                  <a:pt x="195966" y="399788"/>
                </a:cubicBezTo>
                <a:cubicBezTo>
                  <a:pt x="196912" y="400231"/>
                  <a:pt x="197858" y="400674"/>
                  <a:pt x="198833" y="401131"/>
                </a:cubicBezTo>
                <a:cubicBezTo>
                  <a:pt x="201808" y="402326"/>
                  <a:pt x="204701" y="403032"/>
                  <a:pt x="207877" y="403663"/>
                </a:cubicBezTo>
                <a:cubicBezTo>
                  <a:pt x="207877" y="404593"/>
                  <a:pt x="207877" y="405523"/>
                  <a:pt x="207877" y="406481"/>
                </a:cubicBezTo>
                <a:cubicBezTo>
                  <a:pt x="221233" y="411377"/>
                  <a:pt x="234752" y="415503"/>
                  <a:pt x="248492" y="419428"/>
                </a:cubicBezTo>
                <a:cubicBezTo>
                  <a:pt x="250298" y="419947"/>
                  <a:pt x="252104" y="420466"/>
                  <a:pt x="253965" y="421000"/>
                </a:cubicBezTo>
                <a:cubicBezTo>
                  <a:pt x="258388" y="422270"/>
                  <a:pt x="262812" y="423537"/>
                  <a:pt x="267237" y="424801"/>
                </a:cubicBezTo>
                <a:lnTo>
                  <a:pt x="267237" y="426451"/>
                </a:lnTo>
                <a:lnTo>
                  <a:pt x="288701" y="429217"/>
                </a:lnTo>
                <a:cubicBezTo>
                  <a:pt x="288701" y="430147"/>
                  <a:pt x="288701" y="431078"/>
                  <a:pt x="288701" y="432036"/>
                </a:cubicBezTo>
                <a:cubicBezTo>
                  <a:pt x="301487" y="433472"/>
                  <a:pt x="314148" y="433662"/>
                  <a:pt x="327010" y="433628"/>
                </a:cubicBezTo>
                <a:cubicBezTo>
                  <a:pt x="330502" y="433621"/>
                  <a:pt x="333994" y="433628"/>
                  <a:pt x="337486" y="433637"/>
                </a:cubicBezTo>
                <a:cubicBezTo>
                  <a:pt x="339734" y="433637"/>
                  <a:pt x="341982" y="433635"/>
                  <a:pt x="344229" y="433632"/>
                </a:cubicBezTo>
                <a:cubicBezTo>
                  <a:pt x="347246" y="433630"/>
                  <a:pt x="347246" y="433630"/>
                  <a:pt x="350323" y="433627"/>
                </a:cubicBezTo>
                <a:cubicBezTo>
                  <a:pt x="355445" y="433459"/>
                  <a:pt x="360220" y="432915"/>
                  <a:pt x="365245" y="432036"/>
                </a:cubicBezTo>
                <a:lnTo>
                  <a:pt x="360797" y="433759"/>
                </a:lnTo>
                <a:lnTo>
                  <a:pt x="365650" y="433257"/>
                </a:lnTo>
                <a:cubicBezTo>
                  <a:pt x="366166" y="431861"/>
                  <a:pt x="366682" y="430466"/>
                  <a:pt x="367213" y="429029"/>
                </a:cubicBezTo>
                <a:cubicBezTo>
                  <a:pt x="369854" y="427628"/>
                  <a:pt x="372501" y="426234"/>
                  <a:pt x="375188" y="424906"/>
                </a:cubicBezTo>
                <a:cubicBezTo>
                  <a:pt x="390245" y="417204"/>
                  <a:pt x="397438" y="403183"/>
                  <a:pt x="404704" y="389571"/>
                </a:cubicBezTo>
                <a:cubicBezTo>
                  <a:pt x="405219" y="389105"/>
                  <a:pt x="405734" y="388641"/>
                  <a:pt x="406265" y="388161"/>
                </a:cubicBezTo>
                <a:cubicBezTo>
                  <a:pt x="406663" y="382152"/>
                  <a:pt x="406555" y="376125"/>
                  <a:pt x="406559" y="370106"/>
                </a:cubicBezTo>
                <a:cubicBezTo>
                  <a:pt x="406578" y="368412"/>
                  <a:pt x="406597" y="366718"/>
                  <a:pt x="406617" y="364973"/>
                </a:cubicBezTo>
                <a:cubicBezTo>
                  <a:pt x="406620" y="363344"/>
                  <a:pt x="406622" y="361715"/>
                  <a:pt x="406626" y="360038"/>
                </a:cubicBezTo>
                <a:cubicBezTo>
                  <a:pt x="406632" y="358541"/>
                  <a:pt x="406638" y="357045"/>
                  <a:pt x="406645" y="355503"/>
                </a:cubicBezTo>
                <a:cubicBezTo>
                  <a:pt x="406264" y="351503"/>
                  <a:pt x="405326" y="349318"/>
                  <a:pt x="403142" y="345885"/>
                </a:cubicBezTo>
                <a:cubicBezTo>
                  <a:pt x="402583" y="343484"/>
                  <a:pt x="402067" y="341075"/>
                  <a:pt x="401579" y="338663"/>
                </a:cubicBezTo>
                <a:cubicBezTo>
                  <a:pt x="399365" y="330323"/>
                  <a:pt x="395538" y="323370"/>
                  <a:pt x="390938" y="315939"/>
                </a:cubicBezTo>
                <a:cubicBezTo>
                  <a:pt x="390290" y="314890"/>
                  <a:pt x="389642" y="313842"/>
                  <a:pt x="388976" y="312762"/>
                </a:cubicBezTo>
                <a:cubicBezTo>
                  <a:pt x="385623" y="307500"/>
                  <a:pt x="382070" y="302607"/>
                  <a:pt x="377934" y="297817"/>
                </a:cubicBezTo>
                <a:cubicBezTo>
                  <a:pt x="373788" y="292978"/>
                  <a:pt x="371423" y="288111"/>
                  <a:pt x="368775" y="282470"/>
                </a:cubicBezTo>
                <a:cubicBezTo>
                  <a:pt x="366035" y="278585"/>
                  <a:pt x="362994" y="274937"/>
                  <a:pt x="359890" y="271284"/>
                </a:cubicBezTo>
                <a:cubicBezTo>
                  <a:pt x="359059" y="270296"/>
                  <a:pt x="358230" y="269307"/>
                  <a:pt x="357374" y="268288"/>
                </a:cubicBezTo>
                <a:cubicBezTo>
                  <a:pt x="351312" y="261177"/>
                  <a:pt x="344882" y="254704"/>
                  <a:pt x="337533" y="248649"/>
                </a:cubicBezTo>
                <a:cubicBezTo>
                  <a:pt x="336767" y="247896"/>
                  <a:pt x="336002" y="247144"/>
                  <a:pt x="335214" y="246369"/>
                </a:cubicBezTo>
                <a:cubicBezTo>
                  <a:pt x="332597" y="243963"/>
                  <a:pt x="332597" y="243963"/>
                  <a:pt x="327085" y="242571"/>
                </a:cubicBezTo>
                <a:cubicBezTo>
                  <a:pt x="309670" y="236923"/>
                  <a:pt x="296614" y="222751"/>
                  <a:pt x="288785" y="207968"/>
                </a:cubicBezTo>
                <a:cubicBezTo>
                  <a:pt x="286673" y="202851"/>
                  <a:pt x="286348" y="197968"/>
                  <a:pt x="286373" y="192544"/>
                </a:cubicBezTo>
                <a:cubicBezTo>
                  <a:pt x="286377" y="191437"/>
                  <a:pt x="286381" y="190330"/>
                  <a:pt x="286385" y="189190"/>
                </a:cubicBezTo>
                <a:cubicBezTo>
                  <a:pt x="286881" y="178340"/>
                  <a:pt x="291581" y="171728"/>
                  <a:pt x="300042" y="164095"/>
                </a:cubicBezTo>
                <a:cubicBezTo>
                  <a:pt x="301386" y="162752"/>
                  <a:pt x="301386" y="162752"/>
                  <a:pt x="302757" y="161381"/>
                </a:cubicBezTo>
                <a:cubicBezTo>
                  <a:pt x="312597" y="152504"/>
                  <a:pt x="325185" y="152675"/>
                  <a:pt x="338411" y="152293"/>
                </a:cubicBezTo>
                <a:cubicBezTo>
                  <a:pt x="350839" y="152463"/>
                  <a:pt x="359094" y="154554"/>
                  <a:pt x="368482" y="161893"/>
                </a:cubicBezTo>
                <a:cubicBezTo>
                  <a:pt x="369609" y="163085"/>
                  <a:pt x="370737" y="164277"/>
                  <a:pt x="371899" y="165505"/>
                </a:cubicBezTo>
                <a:cubicBezTo>
                  <a:pt x="372962" y="166522"/>
                  <a:pt x="374026" y="167539"/>
                  <a:pt x="375121" y="168587"/>
                </a:cubicBezTo>
                <a:cubicBezTo>
                  <a:pt x="381050" y="176351"/>
                  <a:pt x="384520" y="184328"/>
                  <a:pt x="384982" y="193777"/>
                </a:cubicBezTo>
                <a:cubicBezTo>
                  <a:pt x="385464" y="201192"/>
                  <a:pt x="387638" y="207607"/>
                  <a:pt x="390352" y="214563"/>
                </a:cubicBezTo>
                <a:cubicBezTo>
                  <a:pt x="390934" y="216079"/>
                  <a:pt x="390934" y="216079"/>
                  <a:pt x="391529" y="217626"/>
                </a:cubicBezTo>
                <a:cubicBezTo>
                  <a:pt x="394082" y="223926"/>
                  <a:pt x="397412" y="228969"/>
                  <a:pt x="401579" y="234556"/>
                </a:cubicBezTo>
                <a:cubicBezTo>
                  <a:pt x="401579" y="235952"/>
                  <a:pt x="401579" y="237347"/>
                  <a:pt x="401579" y="238784"/>
                </a:cubicBezTo>
                <a:cubicBezTo>
                  <a:pt x="402884" y="239263"/>
                  <a:pt x="402884" y="239263"/>
                  <a:pt x="404215" y="239753"/>
                </a:cubicBezTo>
                <a:cubicBezTo>
                  <a:pt x="410099" y="242765"/>
                  <a:pt x="414395" y="246733"/>
                  <a:pt x="417811" y="251996"/>
                </a:cubicBezTo>
                <a:cubicBezTo>
                  <a:pt x="420462" y="255897"/>
                  <a:pt x="423407" y="258959"/>
                  <a:pt x="426866" y="262300"/>
                </a:cubicBezTo>
                <a:cubicBezTo>
                  <a:pt x="435101" y="270407"/>
                  <a:pt x="442641" y="278936"/>
                  <a:pt x="450097" y="287628"/>
                </a:cubicBezTo>
                <a:cubicBezTo>
                  <a:pt x="453081" y="291117"/>
                  <a:pt x="453081" y="291117"/>
                  <a:pt x="457425" y="293920"/>
                </a:cubicBezTo>
                <a:cubicBezTo>
                  <a:pt x="458585" y="294792"/>
                  <a:pt x="459745" y="295664"/>
                  <a:pt x="460940" y="296562"/>
                </a:cubicBezTo>
                <a:cubicBezTo>
                  <a:pt x="460940" y="297957"/>
                  <a:pt x="460940" y="299352"/>
                  <a:pt x="460940" y="300790"/>
                </a:cubicBezTo>
                <a:cubicBezTo>
                  <a:pt x="465063" y="302782"/>
                  <a:pt x="468862" y="304133"/>
                  <a:pt x="473437" y="305018"/>
                </a:cubicBezTo>
                <a:cubicBezTo>
                  <a:pt x="473437" y="305947"/>
                  <a:pt x="473437" y="306877"/>
                  <a:pt x="473437" y="307836"/>
                </a:cubicBezTo>
                <a:cubicBezTo>
                  <a:pt x="475581" y="308519"/>
                  <a:pt x="477730" y="309193"/>
                  <a:pt x="479881" y="309862"/>
                </a:cubicBezTo>
                <a:cubicBezTo>
                  <a:pt x="481077" y="310237"/>
                  <a:pt x="482273" y="310614"/>
                  <a:pt x="483505" y="311001"/>
                </a:cubicBezTo>
                <a:cubicBezTo>
                  <a:pt x="505448" y="316843"/>
                  <a:pt x="527690" y="314359"/>
                  <a:pt x="548419" y="306427"/>
                </a:cubicBezTo>
                <a:cubicBezTo>
                  <a:pt x="549548" y="305998"/>
                  <a:pt x="550678" y="305569"/>
                  <a:pt x="551842" y="305127"/>
                </a:cubicBezTo>
                <a:cubicBezTo>
                  <a:pt x="555376" y="303227"/>
                  <a:pt x="557584" y="300980"/>
                  <a:pt x="560232" y="298148"/>
                </a:cubicBezTo>
                <a:cubicBezTo>
                  <a:pt x="561137" y="297192"/>
                  <a:pt x="562041" y="296236"/>
                  <a:pt x="562972" y="295252"/>
                </a:cubicBezTo>
                <a:cubicBezTo>
                  <a:pt x="564755" y="293274"/>
                  <a:pt x="566459" y="291237"/>
                  <a:pt x="568086" y="289152"/>
                </a:cubicBezTo>
                <a:cubicBezTo>
                  <a:pt x="568813" y="288342"/>
                  <a:pt x="569539" y="287532"/>
                  <a:pt x="570289" y="286697"/>
                </a:cubicBezTo>
                <a:cubicBezTo>
                  <a:pt x="571319" y="286697"/>
                  <a:pt x="572350" y="286697"/>
                  <a:pt x="573413" y="286697"/>
                </a:cubicBezTo>
                <a:cubicBezTo>
                  <a:pt x="577408" y="276984"/>
                  <a:pt x="577197" y="267284"/>
                  <a:pt x="577220" y="257016"/>
                </a:cubicBezTo>
                <a:cubicBezTo>
                  <a:pt x="577227" y="255625"/>
                  <a:pt x="577227" y="255625"/>
                  <a:pt x="577235" y="254206"/>
                </a:cubicBezTo>
                <a:cubicBezTo>
                  <a:pt x="577257" y="237553"/>
                  <a:pt x="574604" y="222055"/>
                  <a:pt x="569443" y="206049"/>
                </a:cubicBezTo>
                <a:cubicBezTo>
                  <a:pt x="568726" y="203553"/>
                  <a:pt x="568726" y="203553"/>
                  <a:pt x="568726" y="200735"/>
                </a:cubicBezTo>
                <a:cubicBezTo>
                  <a:pt x="567695" y="200735"/>
                  <a:pt x="566664" y="200735"/>
                  <a:pt x="565602" y="200735"/>
                </a:cubicBezTo>
                <a:cubicBezTo>
                  <a:pt x="563274" y="195295"/>
                  <a:pt x="561092" y="190108"/>
                  <a:pt x="559549" y="184441"/>
                </a:cubicBezTo>
                <a:cubicBezTo>
                  <a:pt x="555572" y="173477"/>
                  <a:pt x="547043" y="167105"/>
                  <a:pt x="537484" y="159867"/>
                </a:cubicBezTo>
                <a:cubicBezTo>
                  <a:pt x="533579" y="156609"/>
                  <a:pt x="533579" y="156609"/>
                  <a:pt x="531235" y="154230"/>
                </a:cubicBezTo>
                <a:cubicBezTo>
                  <a:pt x="531235" y="153301"/>
                  <a:pt x="531235" y="152371"/>
                  <a:pt x="531235" y="151412"/>
                </a:cubicBezTo>
                <a:cubicBezTo>
                  <a:pt x="529689" y="150947"/>
                  <a:pt x="528143" y="150482"/>
                  <a:pt x="526549" y="150003"/>
                </a:cubicBezTo>
                <a:cubicBezTo>
                  <a:pt x="519904" y="137298"/>
                  <a:pt x="519105" y="120357"/>
                  <a:pt x="524304" y="107198"/>
                </a:cubicBezTo>
                <a:cubicBezTo>
                  <a:pt x="529443" y="97376"/>
                  <a:pt x="535781" y="90193"/>
                  <a:pt x="547052" y="85972"/>
                </a:cubicBezTo>
                <a:cubicBezTo>
                  <a:pt x="559924" y="81835"/>
                  <a:pt x="575221" y="79746"/>
                  <a:pt x="588460" y="83538"/>
                </a:cubicBezTo>
                <a:cubicBezTo>
                  <a:pt x="601643" y="89713"/>
                  <a:pt x="611835" y="99450"/>
                  <a:pt x="617152" y="111954"/>
                </a:cubicBezTo>
                <a:cubicBezTo>
                  <a:pt x="617935" y="116052"/>
                  <a:pt x="617954" y="120024"/>
                  <a:pt x="617884" y="124175"/>
                </a:cubicBezTo>
                <a:cubicBezTo>
                  <a:pt x="617896" y="125307"/>
                  <a:pt x="617906" y="126440"/>
                  <a:pt x="617917" y="127607"/>
                </a:cubicBezTo>
                <a:cubicBezTo>
                  <a:pt x="617963" y="132394"/>
                  <a:pt x="617938" y="137181"/>
                  <a:pt x="617919" y="141969"/>
                </a:cubicBezTo>
                <a:cubicBezTo>
                  <a:pt x="617899" y="160184"/>
                  <a:pt x="619422" y="175572"/>
                  <a:pt x="630625" y="191311"/>
                </a:cubicBezTo>
                <a:cubicBezTo>
                  <a:pt x="633753" y="195891"/>
                  <a:pt x="636431" y="199900"/>
                  <a:pt x="637850" y="205139"/>
                </a:cubicBezTo>
                <a:cubicBezTo>
                  <a:pt x="638615" y="209623"/>
                  <a:pt x="638615" y="209623"/>
                  <a:pt x="643708" y="212009"/>
                </a:cubicBezTo>
                <a:cubicBezTo>
                  <a:pt x="645380" y="214563"/>
                  <a:pt x="645380" y="214563"/>
                  <a:pt x="647027" y="217645"/>
                </a:cubicBezTo>
                <a:cubicBezTo>
                  <a:pt x="652549" y="227016"/>
                  <a:pt x="660443" y="235696"/>
                  <a:pt x="670264" y="241603"/>
                </a:cubicBezTo>
                <a:cubicBezTo>
                  <a:pt x="670264" y="242532"/>
                  <a:pt x="670264" y="243462"/>
                  <a:pt x="670264" y="244421"/>
                </a:cubicBezTo>
                <a:cubicBezTo>
                  <a:pt x="672036" y="244857"/>
                  <a:pt x="673808" y="245293"/>
                  <a:pt x="675634" y="245742"/>
                </a:cubicBezTo>
                <a:cubicBezTo>
                  <a:pt x="681199" y="247239"/>
                  <a:pt x="681199" y="247239"/>
                  <a:pt x="682761" y="248649"/>
                </a:cubicBezTo>
                <a:cubicBezTo>
                  <a:pt x="704487" y="252065"/>
                  <a:pt x="732606" y="256402"/>
                  <a:pt x="752092" y="245076"/>
                </a:cubicBezTo>
                <a:cubicBezTo>
                  <a:pt x="754252" y="243599"/>
                  <a:pt x="756372" y="242073"/>
                  <a:pt x="758433" y="240485"/>
                </a:cubicBezTo>
                <a:cubicBezTo>
                  <a:pt x="760867" y="238784"/>
                  <a:pt x="760867" y="238784"/>
                  <a:pt x="763991" y="238784"/>
                </a:cubicBezTo>
                <a:cubicBezTo>
                  <a:pt x="764647" y="237296"/>
                  <a:pt x="764647" y="237296"/>
                  <a:pt x="765315" y="235778"/>
                </a:cubicBezTo>
                <a:cubicBezTo>
                  <a:pt x="767151" y="231659"/>
                  <a:pt x="769030" y="227557"/>
                  <a:pt x="770923" y="223459"/>
                </a:cubicBezTo>
                <a:cubicBezTo>
                  <a:pt x="771608" y="221966"/>
                  <a:pt x="772292" y="220472"/>
                  <a:pt x="772998" y="218934"/>
                </a:cubicBezTo>
                <a:cubicBezTo>
                  <a:pt x="774429" y="215885"/>
                  <a:pt x="775968" y="212878"/>
                  <a:pt x="777562" y="209895"/>
                </a:cubicBezTo>
                <a:cubicBezTo>
                  <a:pt x="787607" y="185732"/>
                  <a:pt x="788559" y="149501"/>
                  <a:pt x="781175" y="124637"/>
                </a:cubicBezTo>
                <a:cubicBezTo>
                  <a:pt x="780144" y="124637"/>
                  <a:pt x="779113" y="124637"/>
                  <a:pt x="778051" y="124637"/>
                </a:cubicBezTo>
                <a:cubicBezTo>
                  <a:pt x="768501" y="110080"/>
                  <a:pt x="762898" y="96653"/>
                  <a:pt x="767116" y="79542"/>
                </a:cubicBezTo>
                <a:cubicBezTo>
                  <a:pt x="772286" y="69057"/>
                  <a:pt x="781456" y="58252"/>
                  <a:pt x="793379" y="54000"/>
                </a:cubicBezTo>
                <a:cubicBezTo>
                  <a:pt x="808369" y="49250"/>
                  <a:pt x="826058" y="49579"/>
                  <a:pt x="840688" y="55503"/>
                </a:cubicBezTo>
                <a:cubicBezTo>
                  <a:pt x="845183" y="57759"/>
                  <a:pt x="848037" y="60575"/>
                  <a:pt x="851470" y="64040"/>
                </a:cubicBezTo>
                <a:cubicBezTo>
                  <a:pt x="852721" y="65272"/>
                  <a:pt x="852721" y="65272"/>
                  <a:pt x="853997" y="66529"/>
                </a:cubicBezTo>
                <a:cubicBezTo>
                  <a:pt x="858396" y="71505"/>
                  <a:pt x="860490" y="76640"/>
                  <a:pt x="861488" y="82057"/>
                </a:cubicBezTo>
                <a:lnTo>
                  <a:pt x="861937" y="90492"/>
                </a:lnTo>
                <a:lnTo>
                  <a:pt x="863826" y="100715"/>
                </a:lnTo>
                <a:cubicBezTo>
                  <a:pt x="862141" y="107853"/>
                  <a:pt x="859866" y="114857"/>
                  <a:pt x="857577" y="121853"/>
                </a:cubicBezTo>
                <a:cubicBezTo>
                  <a:pt x="857062" y="121853"/>
                  <a:pt x="856547" y="121853"/>
                  <a:pt x="856015" y="121853"/>
                </a:cubicBezTo>
                <a:cubicBezTo>
                  <a:pt x="855731" y="120401"/>
                  <a:pt x="855731" y="120401"/>
                  <a:pt x="855442" y="118919"/>
                </a:cubicBezTo>
                <a:lnTo>
                  <a:pt x="855417" y="118798"/>
                </a:lnTo>
                <a:lnTo>
                  <a:pt x="856157" y="124637"/>
                </a:lnTo>
                <a:lnTo>
                  <a:pt x="850623" y="134701"/>
                </a:lnTo>
                <a:lnTo>
                  <a:pt x="851325" y="135968"/>
                </a:lnTo>
                <a:cubicBezTo>
                  <a:pt x="850851" y="137246"/>
                  <a:pt x="850376" y="138525"/>
                  <a:pt x="849886" y="139843"/>
                </a:cubicBezTo>
                <a:cubicBezTo>
                  <a:pt x="848171" y="144505"/>
                  <a:pt x="847798" y="148002"/>
                  <a:pt x="847786" y="152889"/>
                </a:cubicBezTo>
                <a:cubicBezTo>
                  <a:pt x="847779" y="154500"/>
                  <a:pt x="847773" y="156109"/>
                  <a:pt x="847767" y="157768"/>
                </a:cubicBezTo>
                <a:cubicBezTo>
                  <a:pt x="847782" y="159468"/>
                  <a:pt x="847796" y="161167"/>
                  <a:pt x="847810" y="162919"/>
                </a:cubicBezTo>
                <a:cubicBezTo>
                  <a:pt x="847821" y="165546"/>
                  <a:pt x="847821" y="165546"/>
                  <a:pt x="847832" y="168227"/>
                </a:cubicBezTo>
                <a:cubicBezTo>
                  <a:pt x="847980" y="181934"/>
                  <a:pt x="849003" y="195419"/>
                  <a:pt x="850903" y="209013"/>
                </a:cubicBezTo>
                <a:lnTo>
                  <a:pt x="852880" y="224692"/>
                </a:lnTo>
                <a:lnTo>
                  <a:pt x="854595" y="224692"/>
                </a:lnTo>
                <a:cubicBezTo>
                  <a:pt x="855086" y="225542"/>
                  <a:pt x="855577" y="226392"/>
                  <a:pt x="856083" y="227268"/>
                </a:cubicBezTo>
                <a:cubicBezTo>
                  <a:pt x="862358" y="237839"/>
                  <a:pt x="866924" y="242785"/>
                  <a:pt x="879588" y="247239"/>
                </a:cubicBezTo>
                <a:cubicBezTo>
                  <a:pt x="881642" y="248025"/>
                  <a:pt x="883692" y="248817"/>
                  <a:pt x="885739" y="249618"/>
                </a:cubicBezTo>
                <a:cubicBezTo>
                  <a:pt x="887318" y="250227"/>
                  <a:pt x="888897" y="250838"/>
                  <a:pt x="890523" y="251467"/>
                </a:cubicBezTo>
                <a:cubicBezTo>
                  <a:pt x="890523" y="252397"/>
                  <a:pt x="890523" y="253327"/>
                  <a:pt x="890523" y="254285"/>
                </a:cubicBezTo>
                <a:cubicBezTo>
                  <a:pt x="900347" y="257061"/>
                  <a:pt x="910127" y="259425"/>
                  <a:pt x="920203" y="261332"/>
                </a:cubicBezTo>
                <a:cubicBezTo>
                  <a:pt x="920203" y="261796"/>
                  <a:pt x="920203" y="262262"/>
                  <a:pt x="920203" y="262741"/>
                </a:cubicBezTo>
                <a:cubicBezTo>
                  <a:pt x="917111" y="262741"/>
                  <a:pt x="914018" y="262741"/>
                  <a:pt x="910831" y="262741"/>
                </a:cubicBezTo>
                <a:lnTo>
                  <a:pt x="910831" y="262864"/>
                </a:lnTo>
                <a:lnTo>
                  <a:pt x="927993" y="264177"/>
                </a:lnTo>
                <a:lnTo>
                  <a:pt x="939273" y="265285"/>
                </a:lnTo>
                <a:lnTo>
                  <a:pt x="940456" y="265191"/>
                </a:lnTo>
                <a:cubicBezTo>
                  <a:pt x="962552" y="263054"/>
                  <a:pt x="974979" y="255295"/>
                  <a:pt x="991622" y="242329"/>
                </a:cubicBezTo>
                <a:lnTo>
                  <a:pt x="1000803" y="236505"/>
                </a:lnTo>
                <a:lnTo>
                  <a:pt x="999806" y="236055"/>
                </a:lnTo>
                <a:cubicBezTo>
                  <a:pt x="1000902" y="234997"/>
                  <a:pt x="1001997" y="233941"/>
                  <a:pt x="1003126" y="232851"/>
                </a:cubicBezTo>
                <a:cubicBezTo>
                  <a:pt x="1012364" y="223880"/>
                  <a:pt x="1021184" y="214752"/>
                  <a:pt x="1029487" y="205052"/>
                </a:cubicBezTo>
                <a:lnTo>
                  <a:pt x="1029872" y="206442"/>
                </a:lnTo>
                <a:lnTo>
                  <a:pt x="1031614" y="203719"/>
                </a:lnTo>
                <a:cubicBezTo>
                  <a:pt x="1033221" y="199204"/>
                  <a:pt x="1035713" y="196017"/>
                  <a:pt x="1038924" y="192280"/>
                </a:cubicBezTo>
                <a:cubicBezTo>
                  <a:pt x="1039956" y="191815"/>
                  <a:pt x="1040987" y="191349"/>
                  <a:pt x="1042049" y="190870"/>
                </a:cubicBezTo>
                <a:cubicBezTo>
                  <a:pt x="1043161" y="188473"/>
                  <a:pt x="1043161" y="188473"/>
                  <a:pt x="1044294" y="186026"/>
                </a:cubicBezTo>
                <a:cubicBezTo>
                  <a:pt x="1046735" y="181006"/>
                  <a:pt x="1046735" y="181006"/>
                  <a:pt x="1051422" y="178188"/>
                </a:cubicBezTo>
                <a:cubicBezTo>
                  <a:pt x="1052553" y="175286"/>
                  <a:pt x="1052553" y="175286"/>
                  <a:pt x="1052984" y="172551"/>
                </a:cubicBezTo>
                <a:cubicBezTo>
                  <a:pt x="1054014" y="172551"/>
                  <a:pt x="1055046" y="172551"/>
                  <a:pt x="1056108" y="172551"/>
                </a:cubicBezTo>
                <a:cubicBezTo>
                  <a:pt x="1057139" y="169295"/>
                  <a:pt x="1058170" y="166040"/>
                  <a:pt x="1059232" y="162686"/>
                </a:cubicBezTo>
                <a:cubicBezTo>
                  <a:pt x="1060263" y="162686"/>
                  <a:pt x="1061295" y="162686"/>
                  <a:pt x="1062357" y="162686"/>
                </a:cubicBezTo>
                <a:cubicBezTo>
                  <a:pt x="1062755" y="161484"/>
                  <a:pt x="1062755" y="161484"/>
                  <a:pt x="1063162" y="160258"/>
                </a:cubicBezTo>
                <a:cubicBezTo>
                  <a:pt x="1065716" y="152917"/>
                  <a:pt x="1068813" y="146686"/>
                  <a:pt x="1073292" y="140138"/>
                </a:cubicBezTo>
                <a:cubicBezTo>
                  <a:pt x="1074322" y="140138"/>
                  <a:pt x="1075353" y="140138"/>
                  <a:pt x="1076415" y="140138"/>
                </a:cubicBezTo>
                <a:cubicBezTo>
                  <a:pt x="1079808" y="132748"/>
                  <a:pt x="1082509" y="125160"/>
                  <a:pt x="1085294" y="117569"/>
                </a:cubicBezTo>
                <a:cubicBezTo>
                  <a:pt x="1085972" y="116181"/>
                  <a:pt x="1086651" y="114793"/>
                  <a:pt x="1087350" y="113363"/>
                </a:cubicBezTo>
                <a:cubicBezTo>
                  <a:pt x="1089671" y="112666"/>
                  <a:pt x="1089671" y="112666"/>
                  <a:pt x="1092037" y="111954"/>
                </a:cubicBezTo>
                <a:cubicBezTo>
                  <a:pt x="1092230" y="110879"/>
                  <a:pt x="1092423" y="109803"/>
                  <a:pt x="1092623" y="108695"/>
                </a:cubicBezTo>
                <a:cubicBezTo>
                  <a:pt x="1093599" y="104908"/>
                  <a:pt x="1093599" y="104908"/>
                  <a:pt x="1096723" y="100680"/>
                </a:cubicBezTo>
                <a:cubicBezTo>
                  <a:pt x="1097207" y="99140"/>
                  <a:pt x="1097689" y="97599"/>
                  <a:pt x="1098188" y="96013"/>
                </a:cubicBezTo>
                <a:cubicBezTo>
                  <a:pt x="1099847" y="90815"/>
                  <a:pt x="1099847" y="90815"/>
                  <a:pt x="1102288" y="87029"/>
                </a:cubicBezTo>
                <a:cubicBezTo>
                  <a:pt x="1106061" y="79186"/>
                  <a:pt x="1107564" y="69424"/>
                  <a:pt x="1104534" y="61222"/>
                </a:cubicBezTo>
                <a:cubicBezTo>
                  <a:pt x="1104409" y="59341"/>
                  <a:pt x="1104366" y="57454"/>
                  <a:pt x="1104381" y="55569"/>
                </a:cubicBezTo>
                <a:cubicBezTo>
                  <a:pt x="1104386" y="54501"/>
                  <a:pt x="1104391" y="53434"/>
                  <a:pt x="1104397" y="52335"/>
                </a:cubicBezTo>
                <a:cubicBezTo>
                  <a:pt x="1104410" y="51228"/>
                  <a:pt x="1104423" y="50120"/>
                  <a:pt x="1104436" y="48979"/>
                </a:cubicBezTo>
                <a:cubicBezTo>
                  <a:pt x="1104443" y="47856"/>
                  <a:pt x="1104451" y="46733"/>
                  <a:pt x="1104457" y="45575"/>
                </a:cubicBezTo>
                <a:cubicBezTo>
                  <a:pt x="1104476" y="42805"/>
                  <a:pt x="1104504" y="40035"/>
                  <a:pt x="1104534" y="37265"/>
                </a:cubicBezTo>
                <a:cubicBezTo>
                  <a:pt x="1105565" y="37265"/>
                  <a:pt x="1106596" y="37265"/>
                  <a:pt x="1107658" y="37265"/>
                </a:cubicBezTo>
                <a:cubicBezTo>
                  <a:pt x="1107561" y="34562"/>
                  <a:pt x="1107561" y="34562"/>
                  <a:pt x="1107463" y="31805"/>
                </a:cubicBezTo>
                <a:cubicBezTo>
                  <a:pt x="1107353" y="28733"/>
                  <a:pt x="1107353" y="28733"/>
                  <a:pt x="1107658" y="25991"/>
                </a:cubicBezTo>
                <a:cubicBezTo>
                  <a:pt x="1108689" y="25062"/>
                  <a:pt x="1109720" y="24131"/>
                  <a:pt x="1110782" y="23173"/>
                </a:cubicBezTo>
                <a:cubicBezTo>
                  <a:pt x="1111104" y="22156"/>
                  <a:pt x="1111427" y="21138"/>
                  <a:pt x="1111759" y="20091"/>
                </a:cubicBezTo>
                <a:cubicBezTo>
                  <a:pt x="1116393" y="11539"/>
                  <a:pt x="1124927" y="6390"/>
                  <a:pt x="1134507" y="2828"/>
                </a:cubicBezTo>
                <a:cubicBezTo>
                  <a:pt x="1141389" y="825"/>
                  <a:pt x="1148262" y="-204"/>
                  <a:pt x="1155019" y="35"/>
                </a:cubicBezTo>
                <a:close/>
              </a:path>
            </a:pathLst>
          </a:custGeom>
          <a:solidFill>
            <a:schemeClr val="accent3"/>
          </a:solidFill>
          <a:ln w="2232" cap="flat">
            <a:noFill/>
            <a:prstDash val="solid"/>
            <a:miter/>
          </a:ln>
          <a:effectLst>
            <a:innerShdw blurRad="63500" dist="190500" dir="8100000">
              <a:schemeClr val="accent3">
                <a:lumMod val="75000"/>
                <a:alpha val="50000"/>
              </a:schemeClr>
            </a:innerShdw>
          </a:effectLst>
        </p:spPr>
        <p:txBody>
          <a:bodyPr wrap="squar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9" name="Oval 88">
            <a:extLst>
              <a:ext uri="{FF2B5EF4-FFF2-40B4-BE49-F238E27FC236}">
                <a16:creationId xmlns:a16="http://schemas.microsoft.com/office/drawing/2014/main" id="{2335A757-D475-21B3-1DA7-A1C945E09153}"/>
              </a:ext>
            </a:extLst>
          </p:cNvPr>
          <p:cNvSpPr/>
          <p:nvPr/>
        </p:nvSpPr>
        <p:spPr>
          <a:xfrm>
            <a:off x="7322037" y="2825789"/>
            <a:ext cx="117120" cy="117120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0" name="Oval 89">
            <a:extLst>
              <a:ext uri="{FF2B5EF4-FFF2-40B4-BE49-F238E27FC236}">
                <a16:creationId xmlns:a16="http://schemas.microsoft.com/office/drawing/2014/main" id="{E9EA2C80-F919-8331-9CD4-661A66C99FD5}"/>
              </a:ext>
            </a:extLst>
          </p:cNvPr>
          <p:cNvSpPr/>
          <p:nvPr/>
        </p:nvSpPr>
        <p:spPr>
          <a:xfrm>
            <a:off x="7478383" y="2928338"/>
            <a:ext cx="117120" cy="117120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1" name="Oval 90">
            <a:extLst>
              <a:ext uri="{FF2B5EF4-FFF2-40B4-BE49-F238E27FC236}">
                <a16:creationId xmlns:a16="http://schemas.microsoft.com/office/drawing/2014/main" id="{7000F67D-18A6-0A2B-3F8A-3F65BD8EA124}"/>
              </a:ext>
            </a:extLst>
          </p:cNvPr>
          <p:cNvSpPr/>
          <p:nvPr/>
        </p:nvSpPr>
        <p:spPr>
          <a:xfrm>
            <a:off x="7364906" y="3119146"/>
            <a:ext cx="91681" cy="91681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2" name="Oval 91">
            <a:extLst>
              <a:ext uri="{FF2B5EF4-FFF2-40B4-BE49-F238E27FC236}">
                <a16:creationId xmlns:a16="http://schemas.microsoft.com/office/drawing/2014/main" id="{8EDD22B0-980F-469E-6CF3-59B476F71494}"/>
              </a:ext>
            </a:extLst>
          </p:cNvPr>
          <p:cNvSpPr/>
          <p:nvPr/>
        </p:nvSpPr>
        <p:spPr>
          <a:xfrm>
            <a:off x="7609511" y="3098132"/>
            <a:ext cx="117120" cy="117120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3" name="Oval 92">
            <a:extLst>
              <a:ext uri="{FF2B5EF4-FFF2-40B4-BE49-F238E27FC236}">
                <a16:creationId xmlns:a16="http://schemas.microsoft.com/office/drawing/2014/main" id="{CB3F6703-98AC-C392-7041-2156B2B902F8}"/>
              </a:ext>
            </a:extLst>
          </p:cNvPr>
          <p:cNvSpPr/>
          <p:nvPr/>
        </p:nvSpPr>
        <p:spPr>
          <a:xfrm>
            <a:off x="7647336" y="2854368"/>
            <a:ext cx="79294" cy="79294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690" name="Rectangle 3689">
            <a:extLst>
              <a:ext uri="{FF2B5EF4-FFF2-40B4-BE49-F238E27FC236}">
                <a16:creationId xmlns:a16="http://schemas.microsoft.com/office/drawing/2014/main" id="{CB04EF73-D7D0-4750-8C9A-436AC82817FF}"/>
              </a:ext>
            </a:extLst>
          </p:cNvPr>
          <p:cNvSpPr/>
          <p:nvPr/>
        </p:nvSpPr>
        <p:spPr>
          <a:xfrm>
            <a:off x="6499529" y="1719844"/>
            <a:ext cx="1807674" cy="49387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Early </a:t>
            </a:r>
            <a:b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elapse</a:t>
            </a:r>
            <a:r>
              <a:rPr kumimoji="0" lang="en-GB" sz="2000" b="1" i="0" u="none" strike="noStrike" kern="1200" cap="none" spc="0" normalizeH="0" baseline="3000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6</a:t>
            </a:r>
          </a:p>
        </p:txBody>
      </p:sp>
      <p:sp>
        <p:nvSpPr>
          <p:cNvPr id="3693" name="Oval 3692">
            <a:extLst>
              <a:ext uri="{FF2B5EF4-FFF2-40B4-BE49-F238E27FC236}">
                <a16:creationId xmlns:a16="http://schemas.microsoft.com/office/drawing/2014/main" id="{3A1FE4AC-6B2A-E3D4-C30D-E05E5E9A26B3}"/>
              </a:ext>
            </a:extLst>
          </p:cNvPr>
          <p:cNvSpPr/>
          <p:nvPr/>
        </p:nvSpPr>
        <p:spPr>
          <a:xfrm>
            <a:off x="7138490" y="2701382"/>
            <a:ext cx="636194" cy="621381"/>
          </a:xfrm>
          <a:prstGeom prst="ellipse">
            <a:avLst/>
          </a:prstGeom>
          <a:solidFill>
            <a:srgbClr val="275368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wrap="square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1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706" name="Arc 3705">
            <a:extLst>
              <a:ext uri="{FF2B5EF4-FFF2-40B4-BE49-F238E27FC236}">
                <a16:creationId xmlns:a16="http://schemas.microsoft.com/office/drawing/2014/main" id="{C93B2EE0-DC40-CB0A-7A92-80220F56F2E3}"/>
              </a:ext>
            </a:extLst>
          </p:cNvPr>
          <p:cNvSpPr/>
          <p:nvPr/>
        </p:nvSpPr>
        <p:spPr bwMode="auto">
          <a:xfrm>
            <a:off x="7324936" y="2874277"/>
            <a:ext cx="270393" cy="270393"/>
          </a:xfrm>
          <a:prstGeom prst="arc">
            <a:avLst>
              <a:gd name="adj1" fmla="val 9767057"/>
              <a:gd name="adj2" fmla="val 8179379"/>
            </a:avLst>
          </a:prstGeom>
          <a:noFill/>
          <a:ln w="19050" cap="rnd" cmpd="sng" algn="ctr">
            <a:solidFill>
              <a:schemeClr val="bg1"/>
            </a:solidFill>
            <a:prstDash val="solid"/>
            <a:round/>
            <a:headEnd type="none" w="med" len="med"/>
            <a:tailEnd type="arrow" w="med" len="sm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0" fontAlgn="auto" latinLnBrk="0" hangingPunct="0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707" name="Rectangle: Rounded Corners 930">
            <a:extLst>
              <a:ext uri="{FF2B5EF4-FFF2-40B4-BE49-F238E27FC236}">
                <a16:creationId xmlns:a16="http://schemas.microsoft.com/office/drawing/2014/main" id="{5CAAE176-7831-E591-BEC3-10E6411215A1}"/>
              </a:ext>
            </a:extLst>
          </p:cNvPr>
          <p:cNvSpPr/>
          <p:nvPr/>
        </p:nvSpPr>
        <p:spPr>
          <a:xfrm rot="10800000" flipH="1">
            <a:off x="7413900" y="2910015"/>
            <a:ext cx="50405" cy="145103"/>
          </a:xfrm>
          <a:custGeom>
            <a:avLst/>
            <a:gdLst>
              <a:gd name="connsiteX0" fmla="*/ 0 w 111188"/>
              <a:gd name="connsiteY0" fmla="*/ 7045 h 177237"/>
              <a:gd name="connsiteX1" fmla="*/ 7045 w 111188"/>
              <a:gd name="connsiteY1" fmla="*/ 0 h 177237"/>
              <a:gd name="connsiteX2" fmla="*/ 104143 w 111188"/>
              <a:gd name="connsiteY2" fmla="*/ 0 h 177237"/>
              <a:gd name="connsiteX3" fmla="*/ 111188 w 111188"/>
              <a:gd name="connsiteY3" fmla="*/ 7045 h 177237"/>
              <a:gd name="connsiteX4" fmla="*/ 111188 w 111188"/>
              <a:gd name="connsiteY4" fmla="*/ 170192 h 177237"/>
              <a:gd name="connsiteX5" fmla="*/ 104143 w 111188"/>
              <a:gd name="connsiteY5" fmla="*/ 177237 h 177237"/>
              <a:gd name="connsiteX6" fmla="*/ 7045 w 111188"/>
              <a:gd name="connsiteY6" fmla="*/ 177237 h 177237"/>
              <a:gd name="connsiteX7" fmla="*/ 0 w 111188"/>
              <a:gd name="connsiteY7" fmla="*/ 170192 h 177237"/>
              <a:gd name="connsiteX8" fmla="*/ 0 w 111188"/>
              <a:gd name="connsiteY8" fmla="*/ 7045 h 177237"/>
              <a:gd name="connsiteX0" fmla="*/ 0 w 111188"/>
              <a:gd name="connsiteY0" fmla="*/ 170192 h 261632"/>
              <a:gd name="connsiteX1" fmla="*/ 0 w 111188"/>
              <a:gd name="connsiteY1" fmla="*/ 7045 h 261632"/>
              <a:gd name="connsiteX2" fmla="*/ 7045 w 111188"/>
              <a:gd name="connsiteY2" fmla="*/ 0 h 261632"/>
              <a:gd name="connsiteX3" fmla="*/ 104143 w 111188"/>
              <a:gd name="connsiteY3" fmla="*/ 0 h 261632"/>
              <a:gd name="connsiteX4" fmla="*/ 111188 w 111188"/>
              <a:gd name="connsiteY4" fmla="*/ 7045 h 261632"/>
              <a:gd name="connsiteX5" fmla="*/ 111188 w 111188"/>
              <a:gd name="connsiteY5" fmla="*/ 170192 h 261632"/>
              <a:gd name="connsiteX6" fmla="*/ 104143 w 111188"/>
              <a:gd name="connsiteY6" fmla="*/ 177237 h 261632"/>
              <a:gd name="connsiteX7" fmla="*/ 7045 w 111188"/>
              <a:gd name="connsiteY7" fmla="*/ 177237 h 261632"/>
              <a:gd name="connsiteX8" fmla="*/ 91440 w 111188"/>
              <a:gd name="connsiteY8" fmla="*/ 261632 h 261632"/>
              <a:gd name="connsiteX0" fmla="*/ 0 w 111188"/>
              <a:gd name="connsiteY0" fmla="*/ 170192 h 177237"/>
              <a:gd name="connsiteX1" fmla="*/ 0 w 111188"/>
              <a:gd name="connsiteY1" fmla="*/ 7045 h 177237"/>
              <a:gd name="connsiteX2" fmla="*/ 7045 w 111188"/>
              <a:gd name="connsiteY2" fmla="*/ 0 h 177237"/>
              <a:gd name="connsiteX3" fmla="*/ 104143 w 111188"/>
              <a:gd name="connsiteY3" fmla="*/ 0 h 177237"/>
              <a:gd name="connsiteX4" fmla="*/ 111188 w 111188"/>
              <a:gd name="connsiteY4" fmla="*/ 7045 h 177237"/>
              <a:gd name="connsiteX5" fmla="*/ 111188 w 111188"/>
              <a:gd name="connsiteY5" fmla="*/ 170192 h 177237"/>
              <a:gd name="connsiteX6" fmla="*/ 104143 w 111188"/>
              <a:gd name="connsiteY6" fmla="*/ 177237 h 177237"/>
              <a:gd name="connsiteX7" fmla="*/ 7045 w 111188"/>
              <a:gd name="connsiteY7" fmla="*/ 177237 h 177237"/>
              <a:gd name="connsiteX0" fmla="*/ 0 w 111188"/>
              <a:gd name="connsiteY0" fmla="*/ 170192 h 177237"/>
              <a:gd name="connsiteX1" fmla="*/ 0 w 111188"/>
              <a:gd name="connsiteY1" fmla="*/ 7045 h 177237"/>
              <a:gd name="connsiteX2" fmla="*/ 7045 w 111188"/>
              <a:gd name="connsiteY2" fmla="*/ 0 h 177237"/>
              <a:gd name="connsiteX3" fmla="*/ 104143 w 111188"/>
              <a:gd name="connsiteY3" fmla="*/ 0 h 177237"/>
              <a:gd name="connsiteX4" fmla="*/ 111188 w 111188"/>
              <a:gd name="connsiteY4" fmla="*/ 7045 h 177237"/>
              <a:gd name="connsiteX5" fmla="*/ 111188 w 111188"/>
              <a:gd name="connsiteY5" fmla="*/ 170192 h 177237"/>
              <a:gd name="connsiteX6" fmla="*/ 104143 w 111188"/>
              <a:gd name="connsiteY6" fmla="*/ 177237 h 177237"/>
              <a:gd name="connsiteX0" fmla="*/ 0 w 111188"/>
              <a:gd name="connsiteY0" fmla="*/ 7045 h 177237"/>
              <a:gd name="connsiteX1" fmla="*/ 7045 w 111188"/>
              <a:gd name="connsiteY1" fmla="*/ 0 h 177237"/>
              <a:gd name="connsiteX2" fmla="*/ 104143 w 111188"/>
              <a:gd name="connsiteY2" fmla="*/ 0 h 177237"/>
              <a:gd name="connsiteX3" fmla="*/ 111188 w 111188"/>
              <a:gd name="connsiteY3" fmla="*/ 7045 h 177237"/>
              <a:gd name="connsiteX4" fmla="*/ 111188 w 111188"/>
              <a:gd name="connsiteY4" fmla="*/ 170192 h 177237"/>
              <a:gd name="connsiteX5" fmla="*/ 104143 w 111188"/>
              <a:gd name="connsiteY5" fmla="*/ 177237 h 177237"/>
              <a:gd name="connsiteX0" fmla="*/ 0 w 104143"/>
              <a:gd name="connsiteY0" fmla="*/ 0 h 177237"/>
              <a:gd name="connsiteX1" fmla="*/ 97098 w 104143"/>
              <a:gd name="connsiteY1" fmla="*/ 0 h 177237"/>
              <a:gd name="connsiteX2" fmla="*/ 104143 w 104143"/>
              <a:gd name="connsiteY2" fmla="*/ 7045 h 177237"/>
              <a:gd name="connsiteX3" fmla="*/ 104143 w 104143"/>
              <a:gd name="connsiteY3" fmla="*/ 170192 h 177237"/>
              <a:gd name="connsiteX4" fmla="*/ 97098 w 104143"/>
              <a:gd name="connsiteY4" fmla="*/ 177237 h 177237"/>
              <a:gd name="connsiteX0" fmla="*/ 0 w 104143"/>
              <a:gd name="connsiteY0" fmla="*/ 0 h 170192"/>
              <a:gd name="connsiteX1" fmla="*/ 97098 w 104143"/>
              <a:gd name="connsiteY1" fmla="*/ 0 h 170192"/>
              <a:gd name="connsiteX2" fmla="*/ 104143 w 104143"/>
              <a:gd name="connsiteY2" fmla="*/ 7045 h 170192"/>
              <a:gd name="connsiteX3" fmla="*/ 104143 w 104143"/>
              <a:gd name="connsiteY3" fmla="*/ 170192 h 170192"/>
              <a:gd name="connsiteX0" fmla="*/ 0 w 91897"/>
              <a:gd name="connsiteY0" fmla="*/ 0 h 243446"/>
              <a:gd name="connsiteX1" fmla="*/ 84852 w 91897"/>
              <a:gd name="connsiteY1" fmla="*/ 73254 h 243446"/>
              <a:gd name="connsiteX2" fmla="*/ 91897 w 91897"/>
              <a:gd name="connsiteY2" fmla="*/ 80299 h 243446"/>
              <a:gd name="connsiteX3" fmla="*/ 91897 w 91897"/>
              <a:gd name="connsiteY3" fmla="*/ 243446 h 2434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897" h="243446">
                <a:moveTo>
                  <a:pt x="0" y="0"/>
                </a:moveTo>
                <a:lnTo>
                  <a:pt x="84852" y="73254"/>
                </a:lnTo>
                <a:cubicBezTo>
                  <a:pt x="88743" y="73254"/>
                  <a:pt x="91897" y="76408"/>
                  <a:pt x="91897" y="80299"/>
                </a:cubicBezTo>
                <a:lnTo>
                  <a:pt x="91897" y="243446"/>
                </a:lnTo>
              </a:path>
            </a:pathLst>
          </a:custGeom>
          <a:ln w="19050" cap="rnd">
            <a:solidFill>
              <a:schemeClr val="bg1"/>
            </a:solidFill>
            <a:rou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167" name="Oval 4166">
            <a:extLst>
              <a:ext uri="{FF2B5EF4-FFF2-40B4-BE49-F238E27FC236}">
                <a16:creationId xmlns:a16="http://schemas.microsoft.com/office/drawing/2014/main" id="{789A5176-3C77-72A6-11D0-CAEA5F8D8D68}"/>
              </a:ext>
            </a:extLst>
          </p:cNvPr>
          <p:cNvSpPr/>
          <p:nvPr/>
        </p:nvSpPr>
        <p:spPr>
          <a:xfrm>
            <a:off x="7872251" y="5581573"/>
            <a:ext cx="895351" cy="184149"/>
          </a:xfrm>
          <a:prstGeom prst="ellipse">
            <a:avLst/>
          </a:prstGeom>
          <a:solidFill>
            <a:schemeClr val="tx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207" name="Free-form: Shape 4206">
            <a:extLst>
              <a:ext uri="{FF2B5EF4-FFF2-40B4-BE49-F238E27FC236}">
                <a16:creationId xmlns:a16="http://schemas.microsoft.com/office/drawing/2014/main" id="{750AF71E-5BB0-1411-56E3-CCB6378A0DE1}"/>
              </a:ext>
            </a:extLst>
          </p:cNvPr>
          <p:cNvSpPr/>
          <p:nvPr/>
        </p:nvSpPr>
        <p:spPr>
          <a:xfrm>
            <a:off x="7969007" y="4006665"/>
            <a:ext cx="786746" cy="1711963"/>
          </a:xfrm>
          <a:custGeom>
            <a:avLst/>
            <a:gdLst>
              <a:gd name="csX0" fmla="*/ 466852 w 715223"/>
              <a:gd name="csY0" fmla="*/ 229083 h 1556330"/>
              <a:gd name="csX1" fmla="*/ 462328 w 715223"/>
              <a:gd name="csY1" fmla="*/ 242604 h 1556330"/>
              <a:gd name="csX2" fmla="*/ 496944 w 715223"/>
              <a:gd name="csY2" fmla="*/ 204739 h 1556330"/>
              <a:gd name="csX3" fmla="*/ 534359 w 715223"/>
              <a:gd name="csY3" fmla="*/ 270960 h 1556330"/>
              <a:gd name="csX4" fmla="*/ 540589 w 715223"/>
              <a:gd name="csY4" fmla="*/ 445986 h 1556330"/>
              <a:gd name="csX5" fmla="*/ 509727 w 715223"/>
              <a:gd name="csY5" fmla="*/ 496924 h 1556330"/>
              <a:gd name="csX6" fmla="*/ 505366 w 715223"/>
              <a:gd name="csY6" fmla="*/ 511893 h 1556330"/>
              <a:gd name="csX7" fmla="*/ 501982 w 715223"/>
              <a:gd name="csY7" fmla="*/ 530377 h 1556330"/>
              <a:gd name="csX8" fmla="*/ 505678 w 715223"/>
              <a:gd name="csY8" fmla="*/ 556455 h 1556330"/>
              <a:gd name="csX9" fmla="*/ 526115 w 715223"/>
              <a:gd name="csY9" fmla="*/ 591784 h 1556330"/>
              <a:gd name="csX10" fmla="*/ 541579 w 715223"/>
              <a:gd name="csY10" fmla="*/ 612264 h 1556330"/>
              <a:gd name="csX11" fmla="*/ 569572 w 715223"/>
              <a:gd name="csY11" fmla="*/ 643441 h 1556330"/>
              <a:gd name="csX12" fmla="*/ 555234 w 715223"/>
              <a:gd name="csY12" fmla="*/ 688473 h 1556330"/>
              <a:gd name="csX13" fmla="*/ 513278 w 715223"/>
              <a:gd name="csY13" fmla="*/ 700556 h 1556330"/>
              <a:gd name="csX14" fmla="*/ 488559 w 715223"/>
              <a:gd name="csY14" fmla="*/ 702821 h 1556330"/>
              <a:gd name="csX15" fmla="*/ 488544 w 715223"/>
              <a:gd name="csY15" fmla="*/ 718085 h 1556330"/>
              <a:gd name="csX16" fmla="*/ 526561 w 715223"/>
              <a:gd name="csY16" fmla="*/ 1010212 h 1556330"/>
              <a:gd name="csX17" fmla="*/ 569986 w 715223"/>
              <a:gd name="csY17" fmla="*/ 1153317 h 1556330"/>
              <a:gd name="csX18" fmla="*/ 587389 w 715223"/>
              <a:gd name="csY18" fmla="*/ 1172173 h 1556330"/>
              <a:gd name="csX19" fmla="*/ 606286 w 715223"/>
              <a:gd name="csY19" fmla="*/ 1180891 h 1556330"/>
              <a:gd name="csX20" fmla="*/ 613400 w 715223"/>
              <a:gd name="csY20" fmla="*/ 1204260 h 1556330"/>
              <a:gd name="csX21" fmla="*/ 605350 w 715223"/>
              <a:gd name="csY21" fmla="*/ 1216760 h 1556330"/>
              <a:gd name="csX22" fmla="*/ 600268 w 715223"/>
              <a:gd name="csY22" fmla="*/ 1220273 h 1556330"/>
              <a:gd name="csX23" fmla="*/ 610574 w 715223"/>
              <a:gd name="csY23" fmla="*/ 1258750 h 1556330"/>
              <a:gd name="csX24" fmla="*/ 672371 w 715223"/>
              <a:gd name="csY24" fmla="*/ 1319810 h 1556330"/>
              <a:gd name="csX25" fmla="*/ 675494 w 715223"/>
              <a:gd name="csY25" fmla="*/ 1323366 h 1556330"/>
              <a:gd name="csX26" fmla="*/ 692949 w 715223"/>
              <a:gd name="csY26" fmla="*/ 1396068 h 1556330"/>
              <a:gd name="csX27" fmla="*/ 690628 w 715223"/>
              <a:gd name="csY27" fmla="*/ 1414117 h 1556330"/>
              <a:gd name="csX28" fmla="*/ 695588 w 715223"/>
              <a:gd name="csY28" fmla="*/ 1421035 h 1556330"/>
              <a:gd name="csX29" fmla="*/ 694353 w 715223"/>
              <a:gd name="csY29" fmla="*/ 1425190 h 1556330"/>
              <a:gd name="csX30" fmla="*/ 689106 w 715223"/>
              <a:gd name="csY30" fmla="*/ 1428714 h 1556330"/>
              <a:gd name="csX31" fmla="*/ 695093 w 715223"/>
              <a:gd name="csY31" fmla="*/ 1428433 h 1556330"/>
              <a:gd name="csX32" fmla="*/ 697643 w 715223"/>
              <a:gd name="csY32" fmla="*/ 1432864 h 1556330"/>
              <a:gd name="csX33" fmla="*/ 698207 w 715223"/>
              <a:gd name="csY33" fmla="*/ 1441988 h 1556330"/>
              <a:gd name="csX34" fmla="*/ 715183 w 715223"/>
              <a:gd name="csY34" fmla="*/ 1508752 h 1556330"/>
              <a:gd name="csX35" fmla="*/ 701540 w 715223"/>
              <a:gd name="csY35" fmla="*/ 1526524 h 1556330"/>
              <a:gd name="csX36" fmla="*/ 581715 w 715223"/>
              <a:gd name="csY36" fmla="*/ 1548559 h 1556330"/>
              <a:gd name="csX37" fmla="*/ 522168 w 715223"/>
              <a:gd name="csY37" fmla="*/ 1553543 h 1556330"/>
              <a:gd name="csX38" fmla="*/ 450008 w 715223"/>
              <a:gd name="csY38" fmla="*/ 1556019 h 1556330"/>
              <a:gd name="csX39" fmla="*/ 245169 w 715223"/>
              <a:gd name="csY39" fmla="*/ 1553749 h 1556330"/>
              <a:gd name="csX40" fmla="*/ 221854 w 715223"/>
              <a:gd name="csY40" fmla="*/ 1553306 h 1556330"/>
              <a:gd name="csX41" fmla="*/ 168405 w 715223"/>
              <a:gd name="csY41" fmla="*/ 1548828 h 1556330"/>
              <a:gd name="csX42" fmla="*/ 126970 w 715223"/>
              <a:gd name="csY42" fmla="*/ 1546091 h 1556330"/>
              <a:gd name="csX43" fmla="*/ 104053 w 715223"/>
              <a:gd name="csY43" fmla="*/ 1542912 h 1556330"/>
              <a:gd name="csX44" fmla="*/ 65625 w 715223"/>
              <a:gd name="csY44" fmla="*/ 1536401 h 1556330"/>
              <a:gd name="csX45" fmla="*/ 10909 w 715223"/>
              <a:gd name="csY45" fmla="*/ 1524010 h 1556330"/>
              <a:gd name="csX46" fmla="*/ 8 w 715223"/>
              <a:gd name="csY46" fmla="*/ 1509263 h 1556330"/>
              <a:gd name="csX47" fmla="*/ 21158 w 715223"/>
              <a:gd name="csY47" fmla="*/ 1433611 h 1556330"/>
              <a:gd name="csX48" fmla="*/ 23462 w 715223"/>
              <a:gd name="csY48" fmla="*/ 1418658 h 1556330"/>
              <a:gd name="csX49" fmla="*/ 19643 w 715223"/>
              <a:gd name="csY49" fmla="*/ 1382324 h 1556330"/>
              <a:gd name="csX50" fmla="*/ 49060 w 715223"/>
              <a:gd name="csY50" fmla="*/ 1311832 h 1556330"/>
              <a:gd name="csX51" fmla="*/ 109176 w 715223"/>
              <a:gd name="csY51" fmla="*/ 1254078 h 1556330"/>
              <a:gd name="csX52" fmla="*/ 118319 w 715223"/>
              <a:gd name="csY52" fmla="*/ 1214801 h 1556330"/>
              <a:gd name="csX53" fmla="*/ 113082 w 715223"/>
              <a:gd name="csY53" fmla="*/ 1201084 h 1556330"/>
              <a:gd name="csX54" fmla="*/ 120417 w 715223"/>
              <a:gd name="csY54" fmla="*/ 1183950 h 1556330"/>
              <a:gd name="csX55" fmla="*/ 135209 w 715223"/>
              <a:gd name="csY55" fmla="*/ 1178138 h 1556330"/>
              <a:gd name="csX56" fmla="*/ 156535 w 715223"/>
              <a:gd name="csY56" fmla="*/ 1156396 h 1556330"/>
              <a:gd name="csX57" fmla="*/ 185647 w 715223"/>
              <a:gd name="csY57" fmla="*/ 1061682 h 1556330"/>
              <a:gd name="csX58" fmla="*/ 201074 w 715223"/>
              <a:gd name="csY58" fmla="*/ 1005093 h 1556330"/>
              <a:gd name="csX59" fmla="*/ 213864 w 715223"/>
              <a:gd name="csY59" fmla="*/ 943040 h 1556330"/>
              <a:gd name="csX60" fmla="*/ 223580 w 715223"/>
              <a:gd name="csY60" fmla="*/ 884167 h 1556330"/>
              <a:gd name="csX61" fmla="*/ 228827 w 715223"/>
              <a:gd name="csY61" fmla="*/ 839382 h 1556330"/>
              <a:gd name="csX62" fmla="*/ 233251 w 715223"/>
              <a:gd name="csY62" fmla="*/ 794539 h 1556330"/>
              <a:gd name="csX63" fmla="*/ 233413 w 715223"/>
              <a:gd name="csY63" fmla="*/ 708554 h 1556330"/>
              <a:gd name="csX64" fmla="*/ 232253 w 715223"/>
              <a:gd name="csY64" fmla="*/ 699181 h 1556330"/>
              <a:gd name="csX65" fmla="*/ 192775 w 715223"/>
              <a:gd name="csY65" fmla="*/ 693131 h 1556330"/>
              <a:gd name="csX66" fmla="*/ 166222 w 715223"/>
              <a:gd name="csY66" fmla="*/ 684229 h 1556330"/>
              <a:gd name="csX67" fmla="*/ 153485 w 715223"/>
              <a:gd name="csY67" fmla="*/ 649704 h 1556330"/>
              <a:gd name="csX68" fmla="*/ 179302 w 715223"/>
              <a:gd name="csY68" fmla="*/ 621006 h 1556330"/>
              <a:gd name="csX69" fmla="*/ 192182 w 715223"/>
              <a:gd name="csY69" fmla="*/ 601675 h 1556330"/>
              <a:gd name="csX70" fmla="*/ 204894 w 715223"/>
              <a:gd name="csY70" fmla="*/ 583417 h 1556330"/>
              <a:gd name="csX71" fmla="*/ 233213 w 715223"/>
              <a:gd name="csY71" fmla="*/ 564393 h 1556330"/>
              <a:gd name="csX72" fmla="*/ 229725 w 715223"/>
              <a:gd name="csY72" fmla="*/ 538177 h 1556330"/>
              <a:gd name="csX73" fmla="*/ 218771 w 715223"/>
              <a:gd name="csY73" fmla="*/ 532633 h 1556330"/>
              <a:gd name="csX74" fmla="*/ 215183 w 715223"/>
              <a:gd name="csY74" fmla="*/ 521568 h 1556330"/>
              <a:gd name="csX75" fmla="*/ 223368 w 715223"/>
              <a:gd name="csY75" fmla="*/ 508901 h 1556330"/>
              <a:gd name="csX76" fmla="*/ 218372 w 715223"/>
              <a:gd name="csY76" fmla="*/ 498135 h 1556330"/>
              <a:gd name="csX77" fmla="*/ 181440 w 715223"/>
              <a:gd name="csY77" fmla="*/ 432308 h 1556330"/>
              <a:gd name="csX78" fmla="*/ 167535 w 715223"/>
              <a:gd name="csY78" fmla="*/ 349841 h 1556330"/>
              <a:gd name="csX79" fmla="*/ 193488 w 715223"/>
              <a:gd name="csY79" fmla="*/ 262518 h 1556330"/>
              <a:gd name="csX80" fmla="*/ 237748 w 715223"/>
              <a:gd name="csY80" fmla="*/ 190690 h 1556330"/>
              <a:gd name="csX81" fmla="*/ 309459 w 715223"/>
              <a:gd name="csY81" fmla="*/ 102623 h 1556330"/>
              <a:gd name="csX82" fmla="*/ 310459 w 715223"/>
              <a:gd name="csY82" fmla="*/ 78521 h 1556330"/>
              <a:gd name="csX83" fmla="*/ 300267 w 715223"/>
              <a:gd name="csY83" fmla="*/ 57856 h 1556330"/>
              <a:gd name="csX84" fmla="*/ 332242 w 715223"/>
              <a:gd name="csY84" fmla="*/ 4422 h 1556330"/>
              <a:gd name="csX85" fmla="*/ 384904 w 715223"/>
              <a:gd name="csY85" fmla="*/ 5551 h 1556330"/>
              <a:gd name="csX86" fmla="*/ 409773 w 715223"/>
              <a:gd name="csY86" fmla="*/ 26778 h 1556330"/>
              <a:gd name="csX87" fmla="*/ 407026 w 715223"/>
              <a:gd name="csY87" fmla="*/ 46052 h 1556330"/>
              <a:gd name="csX88" fmla="*/ 402771 w 715223"/>
              <a:gd name="csY88" fmla="*/ 30951 h 1556330"/>
              <a:gd name="csX89" fmla="*/ 397038 w 715223"/>
              <a:gd name="csY89" fmla="*/ 30361 h 1556330"/>
              <a:gd name="csX90" fmla="*/ 360694 w 715223"/>
              <a:gd name="csY90" fmla="*/ 22760 h 1556330"/>
              <a:gd name="csX91" fmla="*/ 351669 w 715223"/>
              <a:gd name="csY91" fmla="*/ 31736 h 1556330"/>
              <a:gd name="csX92" fmla="*/ 351426 w 715223"/>
              <a:gd name="csY92" fmla="*/ 43987 h 1556330"/>
              <a:gd name="csX93" fmla="*/ 390968 w 715223"/>
              <a:gd name="csY93" fmla="*/ 68762 h 1556330"/>
              <a:gd name="csX94" fmla="*/ 401770 w 715223"/>
              <a:gd name="csY94" fmla="*/ 59025 h 1556330"/>
              <a:gd name="csX95" fmla="*/ 409619 w 715223"/>
              <a:gd name="csY95" fmla="*/ 55786 h 1556330"/>
              <a:gd name="csX96" fmla="*/ 410427 w 715223"/>
              <a:gd name="csY96" fmla="*/ 64256 h 1556330"/>
              <a:gd name="csX97" fmla="*/ 399453 w 715223"/>
              <a:gd name="csY97" fmla="*/ 81811 h 1556330"/>
              <a:gd name="csX98" fmla="*/ 399346 w 715223"/>
              <a:gd name="csY98" fmla="*/ 98083 h 1556330"/>
              <a:gd name="csX99" fmla="*/ 471592 w 715223"/>
              <a:gd name="csY99" fmla="*/ 180524 h 1556330"/>
              <a:gd name="csX100" fmla="*/ 473550 w 715223"/>
              <a:gd name="csY100" fmla="*/ 200923 h 1556330"/>
              <a:gd name="csX101" fmla="*/ 463677 w 715223"/>
              <a:gd name="csY101" fmla="*/ 223311 h 1556330"/>
              <a:gd name="csX102" fmla="*/ 466852 w 715223"/>
              <a:gd name="csY102" fmla="*/ 229083 h 1556330"/>
              <a:gd name="csX103" fmla="*/ 474186 w 715223"/>
              <a:gd name="csY103" fmla="*/ 928382 h 1556330"/>
              <a:gd name="csX104" fmla="*/ 459927 w 715223"/>
              <a:gd name="csY104" fmla="*/ 817790 h 1556330"/>
              <a:gd name="csX105" fmla="*/ 456025 w 715223"/>
              <a:gd name="csY105" fmla="*/ 706469 h 1556330"/>
              <a:gd name="csX106" fmla="*/ 366863 w 715223"/>
              <a:gd name="csY106" fmla="*/ 710754 h 1556330"/>
              <a:gd name="csX107" fmla="*/ 366159 w 715223"/>
              <a:gd name="csY107" fmla="*/ 719219 h 1556330"/>
              <a:gd name="csX108" fmla="*/ 364159 w 715223"/>
              <a:gd name="csY108" fmla="*/ 834581 h 1556330"/>
              <a:gd name="csX109" fmla="*/ 361633 w 715223"/>
              <a:gd name="csY109" fmla="*/ 940117 h 1556330"/>
              <a:gd name="csX110" fmla="*/ 358313 w 715223"/>
              <a:gd name="csY110" fmla="*/ 1053005 h 1556330"/>
              <a:gd name="csX111" fmla="*/ 358081 w 715223"/>
              <a:gd name="csY111" fmla="*/ 1057912 h 1556330"/>
              <a:gd name="csX112" fmla="*/ 353706 w 715223"/>
              <a:gd name="csY112" fmla="*/ 1164570 h 1556330"/>
              <a:gd name="csX113" fmla="*/ 354951 w 715223"/>
              <a:gd name="csY113" fmla="*/ 1172547 h 1556330"/>
              <a:gd name="csX114" fmla="*/ 540959 w 715223"/>
              <a:gd name="csY114" fmla="*/ 1175972 h 1556330"/>
              <a:gd name="csX115" fmla="*/ 474186 w 715223"/>
              <a:gd name="csY115" fmla="*/ 928382 h 1556330"/>
              <a:gd name="csX116" fmla="*/ 513768 w 715223"/>
              <a:gd name="csY116" fmla="*/ 1417676 h 1556330"/>
              <a:gd name="csX117" fmla="*/ 519822 w 715223"/>
              <a:gd name="csY117" fmla="*/ 1416700 h 1556330"/>
              <a:gd name="csX118" fmla="*/ 632041 w 715223"/>
              <a:gd name="csY118" fmla="*/ 1406122 h 1556330"/>
              <a:gd name="csX119" fmla="*/ 665040 w 715223"/>
              <a:gd name="csY119" fmla="*/ 1400634 h 1556330"/>
              <a:gd name="csX120" fmla="*/ 665677 w 715223"/>
              <a:gd name="csY120" fmla="*/ 1396126 h 1556330"/>
              <a:gd name="csX121" fmla="*/ 665529 w 715223"/>
              <a:gd name="csY121" fmla="*/ 1389994 h 1556330"/>
              <a:gd name="csX122" fmla="*/ 623046 w 715223"/>
              <a:gd name="csY122" fmla="*/ 1306238 h 1556330"/>
              <a:gd name="csX123" fmla="*/ 596015 w 715223"/>
              <a:gd name="csY123" fmla="*/ 1281285 h 1556330"/>
              <a:gd name="csX124" fmla="*/ 567683 w 715223"/>
              <a:gd name="csY124" fmla="*/ 1220059 h 1556330"/>
              <a:gd name="csX125" fmla="*/ 540273 w 715223"/>
              <a:gd name="csY125" fmla="*/ 1220129 h 1556330"/>
              <a:gd name="csX126" fmla="*/ 424010 w 715223"/>
              <a:gd name="csY126" fmla="*/ 1226781 h 1556330"/>
              <a:gd name="csX127" fmla="*/ 357832 w 715223"/>
              <a:gd name="csY127" fmla="*/ 1229178 h 1556330"/>
              <a:gd name="csX128" fmla="*/ 352386 w 715223"/>
              <a:gd name="csY128" fmla="*/ 1230616 h 1556330"/>
              <a:gd name="csX129" fmla="*/ 355852 w 715223"/>
              <a:gd name="csY129" fmla="*/ 1324222 h 1556330"/>
              <a:gd name="csX130" fmla="*/ 352930 w 715223"/>
              <a:gd name="csY130" fmla="*/ 1417867 h 1556330"/>
              <a:gd name="csX131" fmla="*/ 513768 w 715223"/>
              <a:gd name="csY131" fmla="*/ 1417676 h 1556330"/>
              <a:gd name="csX132" fmla="*/ 387930 w 715223"/>
              <a:gd name="csY132" fmla="*/ 499741 h 1556330"/>
              <a:gd name="csX133" fmla="*/ 456529 w 715223"/>
              <a:gd name="csY133" fmla="*/ 496826 h 1556330"/>
              <a:gd name="csX134" fmla="*/ 482355 w 715223"/>
              <a:gd name="csY134" fmla="*/ 485095 h 1556330"/>
              <a:gd name="csX135" fmla="*/ 528016 w 715223"/>
              <a:gd name="csY135" fmla="*/ 374829 h 1556330"/>
              <a:gd name="csX136" fmla="*/ 501375 w 715223"/>
              <a:gd name="csY136" fmla="*/ 261643 h 1556330"/>
              <a:gd name="csX137" fmla="*/ 493534 w 715223"/>
              <a:gd name="csY137" fmla="*/ 249818 h 1556330"/>
              <a:gd name="csX138" fmla="*/ 485920 w 715223"/>
              <a:gd name="csY138" fmla="*/ 260010 h 1556330"/>
              <a:gd name="csX139" fmla="*/ 453305 w 715223"/>
              <a:gd name="csY139" fmla="*/ 310523 h 1556330"/>
              <a:gd name="csX140" fmla="*/ 433678 w 715223"/>
              <a:gd name="csY140" fmla="*/ 338672 h 1556330"/>
              <a:gd name="csX141" fmla="*/ 403713 w 715223"/>
              <a:gd name="csY141" fmla="*/ 343710 h 1556330"/>
              <a:gd name="csX142" fmla="*/ 396427 w 715223"/>
              <a:gd name="csY142" fmla="*/ 315612 h 1556330"/>
              <a:gd name="csX143" fmla="*/ 399663 w 715223"/>
              <a:gd name="csY143" fmla="*/ 309000 h 1556330"/>
              <a:gd name="csX144" fmla="*/ 452097 w 715223"/>
              <a:gd name="csY144" fmla="*/ 200770 h 1556330"/>
              <a:gd name="csX145" fmla="*/ 450118 w 715223"/>
              <a:gd name="csY145" fmla="*/ 180596 h 1556330"/>
              <a:gd name="csX146" fmla="*/ 376545 w 715223"/>
              <a:gd name="csY146" fmla="*/ 105525 h 1556330"/>
              <a:gd name="csX147" fmla="*/ 368791 w 715223"/>
              <a:gd name="csY147" fmla="*/ 101653 h 1556330"/>
              <a:gd name="csX148" fmla="*/ 366449 w 715223"/>
              <a:gd name="csY148" fmla="*/ 144676 h 1556330"/>
              <a:gd name="csX149" fmla="*/ 365447 w 715223"/>
              <a:gd name="csY149" fmla="*/ 183946 h 1556330"/>
              <a:gd name="csX150" fmla="*/ 364738 w 715223"/>
              <a:gd name="csY150" fmla="*/ 298022 h 1556330"/>
              <a:gd name="csX151" fmla="*/ 373865 w 715223"/>
              <a:gd name="csY151" fmla="*/ 430096 h 1556330"/>
              <a:gd name="csX152" fmla="*/ 381088 w 715223"/>
              <a:gd name="csY152" fmla="*/ 492169 h 1556330"/>
              <a:gd name="csX153" fmla="*/ 387930 w 715223"/>
              <a:gd name="csY153" fmla="*/ 499741 h 1556330"/>
              <a:gd name="csX154" fmla="*/ 455850 w 715223"/>
              <a:gd name="csY154" fmla="*/ 1521476 h 1556330"/>
              <a:gd name="csX155" fmla="*/ 685121 w 715223"/>
              <a:gd name="csY155" fmla="*/ 1496509 h 1556330"/>
              <a:gd name="csX156" fmla="*/ 672999 w 715223"/>
              <a:gd name="csY156" fmla="*/ 1456665 h 1556330"/>
              <a:gd name="csX157" fmla="*/ 660009 w 715223"/>
              <a:gd name="csY157" fmla="*/ 1450249 h 1556330"/>
              <a:gd name="csX158" fmla="*/ 633248 w 715223"/>
              <a:gd name="csY158" fmla="*/ 1453589 h 1556330"/>
              <a:gd name="csX159" fmla="*/ 451131 w 715223"/>
              <a:gd name="csY159" fmla="*/ 1467458 h 1556330"/>
              <a:gd name="csX160" fmla="*/ 362719 w 715223"/>
              <a:gd name="csY160" fmla="*/ 1467934 h 1556330"/>
              <a:gd name="csX161" fmla="*/ 349983 w 715223"/>
              <a:gd name="csY161" fmla="*/ 1467936 h 1556330"/>
              <a:gd name="csX162" fmla="*/ 352220 w 715223"/>
              <a:gd name="csY162" fmla="*/ 1519140 h 1556330"/>
              <a:gd name="csX163" fmla="*/ 455850 w 715223"/>
              <a:gd name="csY163" fmla="*/ 1521476 h 1556330"/>
              <a:gd name="csX164" fmla="*/ 368682 w 715223"/>
              <a:gd name="csY164" fmla="*/ 544846 h 1556330"/>
              <a:gd name="csX165" fmla="*/ 363600 w 715223"/>
              <a:gd name="csY165" fmla="*/ 605633 h 1556330"/>
              <a:gd name="csX166" fmla="*/ 496351 w 715223"/>
              <a:gd name="csY166" fmla="*/ 601466 h 1556330"/>
              <a:gd name="csX167" fmla="*/ 485068 w 715223"/>
              <a:gd name="csY167" fmla="*/ 579288 h 1556330"/>
              <a:gd name="csX168" fmla="*/ 466524 w 715223"/>
              <a:gd name="csY168" fmla="*/ 541026 h 1556330"/>
              <a:gd name="csX169" fmla="*/ 465000 w 715223"/>
              <a:gd name="csY169" fmla="*/ 536289 h 1556330"/>
              <a:gd name="csX170" fmla="*/ 451328 w 715223"/>
              <a:gd name="csY170" fmla="*/ 536316 h 1556330"/>
              <a:gd name="csX171" fmla="*/ 390140 w 715223"/>
              <a:gd name="csY171" fmla="*/ 538979 h 1556330"/>
              <a:gd name="csX172" fmla="*/ 374215 w 715223"/>
              <a:gd name="csY172" fmla="*/ 539303 h 1556330"/>
              <a:gd name="csX173" fmla="*/ 368682 w 715223"/>
              <a:gd name="csY173" fmla="*/ 544846 h 1556330"/>
              <a:gd name="csX174" fmla="*/ 453915 w 715223"/>
              <a:gd name="csY174" fmla="*/ 635267 h 1556330"/>
              <a:gd name="csX175" fmla="*/ 374200 w 715223"/>
              <a:gd name="csY175" fmla="*/ 639402 h 1556330"/>
              <a:gd name="csX176" fmla="*/ 374200 w 715223"/>
              <a:gd name="csY176" fmla="*/ 673206 h 1556330"/>
              <a:gd name="csX177" fmla="*/ 386639 w 715223"/>
              <a:gd name="csY177" fmla="*/ 673718 h 1556330"/>
              <a:gd name="csX178" fmla="*/ 521198 w 715223"/>
              <a:gd name="csY178" fmla="*/ 668541 h 1556330"/>
              <a:gd name="csX179" fmla="*/ 534198 w 715223"/>
              <a:gd name="csY179" fmla="*/ 665521 h 1556330"/>
              <a:gd name="csX180" fmla="*/ 538413 w 715223"/>
              <a:gd name="csY180" fmla="*/ 652526 h 1556330"/>
              <a:gd name="csX181" fmla="*/ 529377 w 715223"/>
              <a:gd name="csY181" fmla="*/ 642895 h 1556330"/>
              <a:gd name="csX182" fmla="*/ 502829 w 715223"/>
              <a:gd name="csY182" fmla="*/ 634808 h 1556330"/>
              <a:gd name="csX183" fmla="*/ 453915 w 715223"/>
              <a:gd name="csY183" fmla="*/ 635267 h 155633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  <a:cxn ang="0">
                <a:pos x="csX170" y="csY170"/>
              </a:cxn>
              <a:cxn ang="0">
                <a:pos x="csX171" y="csY171"/>
              </a:cxn>
              <a:cxn ang="0">
                <a:pos x="csX172" y="csY172"/>
              </a:cxn>
              <a:cxn ang="0">
                <a:pos x="csX173" y="csY173"/>
              </a:cxn>
              <a:cxn ang="0">
                <a:pos x="csX174" y="csY174"/>
              </a:cxn>
              <a:cxn ang="0">
                <a:pos x="csX175" y="csY175"/>
              </a:cxn>
              <a:cxn ang="0">
                <a:pos x="csX176" y="csY176"/>
              </a:cxn>
              <a:cxn ang="0">
                <a:pos x="csX177" y="csY177"/>
              </a:cxn>
              <a:cxn ang="0">
                <a:pos x="csX178" y="csY178"/>
              </a:cxn>
              <a:cxn ang="0">
                <a:pos x="csX179" y="csY179"/>
              </a:cxn>
              <a:cxn ang="0">
                <a:pos x="csX180" y="csY180"/>
              </a:cxn>
              <a:cxn ang="0">
                <a:pos x="csX181" y="csY181"/>
              </a:cxn>
              <a:cxn ang="0">
                <a:pos x="csX182" y="csY182"/>
              </a:cxn>
              <a:cxn ang="0">
                <a:pos x="csX183" y="csY183"/>
              </a:cxn>
            </a:cxnLst>
            <a:rect l="l" t="t" r="r" b="b"/>
            <a:pathLst>
              <a:path w="715223" h="1556330">
                <a:moveTo>
                  <a:pt x="466852" y="229083"/>
                </a:moveTo>
                <a:cubicBezTo>
                  <a:pt x="465344" y="233590"/>
                  <a:pt x="463836" y="238097"/>
                  <a:pt x="462328" y="242604"/>
                </a:cubicBezTo>
                <a:cubicBezTo>
                  <a:pt x="476604" y="232528"/>
                  <a:pt x="484219" y="216936"/>
                  <a:pt x="496944" y="204739"/>
                </a:cubicBezTo>
                <a:cubicBezTo>
                  <a:pt x="511903" y="225901"/>
                  <a:pt x="524807" y="247414"/>
                  <a:pt x="534359" y="270960"/>
                </a:cubicBezTo>
                <a:cubicBezTo>
                  <a:pt x="557740" y="328591"/>
                  <a:pt x="560223" y="386926"/>
                  <a:pt x="540589" y="445986"/>
                </a:cubicBezTo>
                <a:cubicBezTo>
                  <a:pt x="534197" y="465215"/>
                  <a:pt x="524450" y="482672"/>
                  <a:pt x="509727" y="496924"/>
                </a:cubicBezTo>
                <a:cubicBezTo>
                  <a:pt x="505277" y="501232"/>
                  <a:pt x="502734" y="505157"/>
                  <a:pt x="505366" y="511893"/>
                </a:cubicBezTo>
                <a:cubicBezTo>
                  <a:pt x="507828" y="518196"/>
                  <a:pt x="505953" y="524402"/>
                  <a:pt x="501982" y="530377"/>
                </a:cubicBezTo>
                <a:cubicBezTo>
                  <a:pt x="495613" y="539961"/>
                  <a:pt x="496865" y="548901"/>
                  <a:pt x="505678" y="556455"/>
                </a:cubicBezTo>
                <a:cubicBezTo>
                  <a:pt x="516748" y="565943"/>
                  <a:pt x="523694" y="577557"/>
                  <a:pt x="526115" y="591784"/>
                </a:cubicBezTo>
                <a:cubicBezTo>
                  <a:pt x="527758" y="601445"/>
                  <a:pt x="532593" y="608029"/>
                  <a:pt x="541579" y="612264"/>
                </a:cubicBezTo>
                <a:cubicBezTo>
                  <a:pt x="555150" y="618662"/>
                  <a:pt x="564081" y="629523"/>
                  <a:pt x="569572" y="643441"/>
                </a:cubicBezTo>
                <a:cubicBezTo>
                  <a:pt x="576413" y="660776"/>
                  <a:pt x="570996" y="678245"/>
                  <a:pt x="555234" y="688473"/>
                </a:cubicBezTo>
                <a:cubicBezTo>
                  <a:pt x="542486" y="696746"/>
                  <a:pt x="528127" y="699474"/>
                  <a:pt x="513278" y="700556"/>
                </a:cubicBezTo>
                <a:cubicBezTo>
                  <a:pt x="505590" y="701115"/>
                  <a:pt x="497922" y="701952"/>
                  <a:pt x="488559" y="702821"/>
                </a:cubicBezTo>
                <a:cubicBezTo>
                  <a:pt x="488559" y="708552"/>
                  <a:pt x="488653" y="713320"/>
                  <a:pt x="488544" y="718085"/>
                </a:cubicBezTo>
                <a:cubicBezTo>
                  <a:pt x="486284" y="817406"/>
                  <a:pt x="502313" y="914319"/>
                  <a:pt x="526561" y="1010212"/>
                </a:cubicBezTo>
                <a:cubicBezTo>
                  <a:pt x="538799" y="1058612"/>
                  <a:pt x="553050" y="1106345"/>
                  <a:pt x="569986" y="1153317"/>
                </a:cubicBezTo>
                <a:cubicBezTo>
                  <a:pt x="573328" y="1162590"/>
                  <a:pt x="578279" y="1168740"/>
                  <a:pt x="587389" y="1172173"/>
                </a:cubicBezTo>
                <a:cubicBezTo>
                  <a:pt x="593869" y="1174616"/>
                  <a:pt x="600289" y="1177449"/>
                  <a:pt x="606286" y="1180891"/>
                </a:cubicBezTo>
                <a:cubicBezTo>
                  <a:pt x="617185" y="1187146"/>
                  <a:pt x="618776" y="1192931"/>
                  <a:pt x="613400" y="1204260"/>
                </a:cubicBezTo>
                <a:cubicBezTo>
                  <a:pt x="611475" y="1208315"/>
                  <a:pt x="609140" y="1212177"/>
                  <a:pt x="605350" y="1216760"/>
                </a:cubicBezTo>
                <a:cubicBezTo>
                  <a:pt x="602514" y="1218347"/>
                  <a:pt x="600399" y="1219189"/>
                  <a:pt x="600268" y="1220273"/>
                </a:cubicBezTo>
                <a:cubicBezTo>
                  <a:pt x="598551" y="1234430"/>
                  <a:pt x="599473" y="1247881"/>
                  <a:pt x="610574" y="1258750"/>
                </a:cubicBezTo>
                <a:cubicBezTo>
                  <a:pt x="631265" y="1279009"/>
                  <a:pt x="651790" y="1299438"/>
                  <a:pt x="672371" y="1319810"/>
                </a:cubicBezTo>
                <a:cubicBezTo>
                  <a:pt x="673495" y="1320922"/>
                  <a:pt x="674892" y="1321987"/>
                  <a:pt x="675494" y="1323366"/>
                </a:cubicBezTo>
                <a:cubicBezTo>
                  <a:pt x="685626" y="1346558"/>
                  <a:pt x="694775" y="1370031"/>
                  <a:pt x="692949" y="1396068"/>
                </a:cubicBezTo>
                <a:cubicBezTo>
                  <a:pt x="692525" y="1402108"/>
                  <a:pt x="691276" y="1408087"/>
                  <a:pt x="690628" y="1414117"/>
                </a:cubicBezTo>
                <a:cubicBezTo>
                  <a:pt x="690241" y="1417713"/>
                  <a:pt x="691290" y="1420628"/>
                  <a:pt x="695588" y="1421035"/>
                </a:cubicBezTo>
                <a:cubicBezTo>
                  <a:pt x="695527" y="1422155"/>
                  <a:pt x="695467" y="1423274"/>
                  <a:pt x="694353" y="1425190"/>
                </a:cubicBezTo>
                <a:cubicBezTo>
                  <a:pt x="691901" y="1426894"/>
                  <a:pt x="690503" y="1427804"/>
                  <a:pt x="689106" y="1428714"/>
                </a:cubicBezTo>
                <a:cubicBezTo>
                  <a:pt x="691101" y="1428620"/>
                  <a:pt x="693098" y="1428527"/>
                  <a:pt x="695093" y="1428433"/>
                </a:cubicBezTo>
                <a:cubicBezTo>
                  <a:pt x="695976" y="1429430"/>
                  <a:pt x="696859" y="1430427"/>
                  <a:pt x="697643" y="1432864"/>
                </a:cubicBezTo>
                <a:cubicBezTo>
                  <a:pt x="697724" y="1436887"/>
                  <a:pt x="697087" y="1439912"/>
                  <a:pt x="698207" y="1441988"/>
                </a:cubicBezTo>
                <a:cubicBezTo>
                  <a:pt x="709464" y="1462853"/>
                  <a:pt x="715798" y="1484864"/>
                  <a:pt x="715183" y="1508752"/>
                </a:cubicBezTo>
                <a:cubicBezTo>
                  <a:pt x="714863" y="1521166"/>
                  <a:pt x="713458" y="1523372"/>
                  <a:pt x="701540" y="1526524"/>
                </a:cubicBezTo>
                <a:cubicBezTo>
                  <a:pt x="662165" y="1536936"/>
                  <a:pt x="622006" y="1543243"/>
                  <a:pt x="581715" y="1548559"/>
                </a:cubicBezTo>
                <a:cubicBezTo>
                  <a:pt x="561988" y="1551162"/>
                  <a:pt x="542052" y="1552457"/>
                  <a:pt x="522168" y="1553543"/>
                </a:cubicBezTo>
                <a:cubicBezTo>
                  <a:pt x="498138" y="1554856"/>
                  <a:pt x="474063" y="1556013"/>
                  <a:pt x="450008" y="1556019"/>
                </a:cubicBezTo>
                <a:cubicBezTo>
                  <a:pt x="381724" y="1556035"/>
                  <a:pt x="313415" y="1557550"/>
                  <a:pt x="245169" y="1553749"/>
                </a:cubicBezTo>
                <a:cubicBezTo>
                  <a:pt x="237413" y="1553317"/>
                  <a:pt x="229596" y="1553867"/>
                  <a:pt x="221854" y="1553306"/>
                </a:cubicBezTo>
                <a:cubicBezTo>
                  <a:pt x="204023" y="1552015"/>
                  <a:pt x="186231" y="1550202"/>
                  <a:pt x="168405" y="1548828"/>
                </a:cubicBezTo>
                <a:cubicBezTo>
                  <a:pt x="154605" y="1547764"/>
                  <a:pt x="140762" y="1547242"/>
                  <a:pt x="126970" y="1546091"/>
                </a:cubicBezTo>
                <a:cubicBezTo>
                  <a:pt x="119295" y="1545451"/>
                  <a:pt x="111668" y="1544132"/>
                  <a:pt x="104053" y="1542912"/>
                </a:cubicBezTo>
                <a:cubicBezTo>
                  <a:pt x="91223" y="1540858"/>
                  <a:pt x="78344" y="1539011"/>
                  <a:pt x="65625" y="1536401"/>
                </a:cubicBezTo>
                <a:cubicBezTo>
                  <a:pt x="47307" y="1532642"/>
                  <a:pt x="29006" y="1528694"/>
                  <a:pt x="10909" y="1524010"/>
                </a:cubicBezTo>
                <a:cubicBezTo>
                  <a:pt x="744" y="1521379"/>
                  <a:pt x="119" y="1519620"/>
                  <a:pt x="8" y="1509263"/>
                </a:cubicBezTo>
                <a:cubicBezTo>
                  <a:pt x="-283" y="1482004"/>
                  <a:pt x="7525" y="1456906"/>
                  <a:pt x="21158" y="1433611"/>
                </a:cubicBezTo>
                <a:cubicBezTo>
                  <a:pt x="24128" y="1428537"/>
                  <a:pt x="25100" y="1424162"/>
                  <a:pt x="23462" y="1418658"/>
                </a:cubicBezTo>
                <a:cubicBezTo>
                  <a:pt x="19938" y="1406814"/>
                  <a:pt x="19145" y="1394638"/>
                  <a:pt x="19643" y="1382324"/>
                </a:cubicBezTo>
                <a:cubicBezTo>
                  <a:pt x="20741" y="1355171"/>
                  <a:pt x="29461" y="1331114"/>
                  <a:pt x="49060" y="1311832"/>
                </a:cubicBezTo>
                <a:cubicBezTo>
                  <a:pt x="68866" y="1292344"/>
                  <a:pt x="89102" y="1273294"/>
                  <a:pt x="109176" y="1254078"/>
                </a:cubicBezTo>
                <a:cubicBezTo>
                  <a:pt x="120788" y="1242961"/>
                  <a:pt x="123122" y="1229673"/>
                  <a:pt x="118319" y="1214801"/>
                </a:cubicBezTo>
                <a:cubicBezTo>
                  <a:pt x="116817" y="1210150"/>
                  <a:pt x="114697" y="1205702"/>
                  <a:pt x="113082" y="1201084"/>
                </a:cubicBezTo>
                <a:cubicBezTo>
                  <a:pt x="109606" y="1191147"/>
                  <a:pt x="110855" y="1188189"/>
                  <a:pt x="120417" y="1183950"/>
                </a:cubicBezTo>
                <a:cubicBezTo>
                  <a:pt x="125262" y="1181801"/>
                  <a:pt x="130109" y="1179394"/>
                  <a:pt x="135209" y="1178138"/>
                </a:cubicBezTo>
                <a:cubicBezTo>
                  <a:pt x="146972" y="1175241"/>
                  <a:pt x="153194" y="1166910"/>
                  <a:pt x="156535" y="1156396"/>
                </a:cubicBezTo>
                <a:cubicBezTo>
                  <a:pt x="166535" y="1124919"/>
                  <a:pt x="176229" y="1093339"/>
                  <a:pt x="185647" y="1061682"/>
                </a:cubicBezTo>
                <a:cubicBezTo>
                  <a:pt x="191222" y="1042945"/>
                  <a:pt x="196570" y="1024108"/>
                  <a:pt x="201074" y="1005093"/>
                </a:cubicBezTo>
                <a:cubicBezTo>
                  <a:pt x="205941" y="984550"/>
                  <a:pt x="210000" y="963801"/>
                  <a:pt x="213864" y="943040"/>
                </a:cubicBezTo>
                <a:cubicBezTo>
                  <a:pt x="217503" y="923489"/>
                  <a:pt x="220701" y="903846"/>
                  <a:pt x="223580" y="884167"/>
                </a:cubicBezTo>
                <a:cubicBezTo>
                  <a:pt x="225754" y="869301"/>
                  <a:pt x="227195" y="854324"/>
                  <a:pt x="228827" y="839382"/>
                </a:cubicBezTo>
                <a:cubicBezTo>
                  <a:pt x="230459" y="824446"/>
                  <a:pt x="232880" y="809515"/>
                  <a:pt x="233251" y="794539"/>
                </a:cubicBezTo>
                <a:cubicBezTo>
                  <a:pt x="233961" y="765893"/>
                  <a:pt x="233499" y="737217"/>
                  <a:pt x="233413" y="708554"/>
                </a:cubicBezTo>
                <a:cubicBezTo>
                  <a:pt x="233404" y="705465"/>
                  <a:pt x="232667" y="702378"/>
                  <a:pt x="232253" y="699181"/>
                </a:cubicBezTo>
                <a:cubicBezTo>
                  <a:pt x="218443" y="697138"/>
                  <a:pt x="205461" y="695831"/>
                  <a:pt x="192775" y="693131"/>
                </a:cubicBezTo>
                <a:cubicBezTo>
                  <a:pt x="183686" y="691197"/>
                  <a:pt x="174549" y="688305"/>
                  <a:pt x="166222" y="684229"/>
                </a:cubicBezTo>
                <a:cubicBezTo>
                  <a:pt x="151266" y="676909"/>
                  <a:pt x="147247" y="664789"/>
                  <a:pt x="153485" y="649704"/>
                </a:cubicBezTo>
                <a:cubicBezTo>
                  <a:pt x="158693" y="637111"/>
                  <a:pt x="168160" y="628190"/>
                  <a:pt x="179302" y="621006"/>
                </a:cubicBezTo>
                <a:cubicBezTo>
                  <a:pt x="186548" y="616334"/>
                  <a:pt x="191317" y="611105"/>
                  <a:pt x="192182" y="601675"/>
                </a:cubicBezTo>
                <a:cubicBezTo>
                  <a:pt x="192878" y="594094"/>
                  <a:pt x="197099" y="587626"/>
                  <a:pt x="204894" y="583417"/>
                </a:cubicBezTo>
                <a:cubicBezTo>
                  <a:pt x="214873" y="578030"/>
                  <a:pt x="224643" y="571774"/>
                  <a:pt x="233213" y="564393"/>
                </a:cubicBezTo>
                <a:cubicBezTo>
                  <a:pt x="242623" y="556289"/>
                  <a:pt x="240441" y="544193"/>
                  <a:pt x="229725" y="538177"/>
                </a:cubicBezTo>
                <a:cubicBezTo>
                  <a:pt x="226159" y="536176"/>
                  <a:pt x="222483" y="534351"/>
                  <a:pt x="218771" y="532633"/>
                </a:cubicBezTo>
                <a:cubicBezTo>
                  <a:pt x="213503" y="530196"/>
                  <a:pt x="212651" y="526226"/>
                  <a:pt x="215183" y="521568"/>
                </a:cubicBezTo>
                <a:cubicBezTo>
                  <a:pt x="217485" y="517332"/>
                  <a:pt x="220405" y="513432"/>
                  <a:pt x="223368" y="508901"/>
                </a:cubicBezTo>
                <a:cubicBezTo>
                  <a:pt x="221781" y="505376"/>
                  <a:pt x="220809" y="501165"/>
                  <a:pt x="218372" y="498135"/>
                </a:cubicBezTo>
                <a:cubicBezTo>
                  <a:pt x="202366" y="478231"/>
                  <a:pt x="190774" y="455961"/>
                  <a:pt x="181440" y="432308"/>
                </a:cubicBezTo>
                <a:cubicBezTo>
                  <a:pt x="170959" y="405748"/>
                  <a:pt x="164933" y="378186"/>
                  <a:pt x="167535" y="349841"/>
                </a:cubicBezTo>
                <a:cubicBezTo>
                  <a:pt x="170341" y="319265"/>
                  <a:pt x="179208" y="289917"/>
                  <a:pt x="193488" y="262518"/>
                </a:cubicBezTo>
                <a:cubicBezTo>
                  <a:pt x="206512" y="237529"/>
                  <a:pt x="220831" y="213359"/>
                  <a:pt x="237748" y="190690"/>
                </a:cubicBezTo>
                <a:cubicBezTo>
                  <a:pt x="260421" y="160310"/>
                  <a:pt x="282602" y="129592"/>
                  <a:pt x="309459" y="102623"/>
                </a:cubicBezTo>
                <a:cubicBezTo>
                  <a:pt x="316627" y="95424"/>
                  <a:pt x="316261" y="87541"/>
                  <a:pt x="310459" y="78521"/>
                </a:cubicBezTo>
                <a:cubicBezTo>
                  <a:pt x="306309" y="72071"/>
                  <a:pt x="301695" y="65150"/>
                  <a:pt x="300267" y="57856"/>
                </a:cubicBezTo>
                <a:cubicBezTo>
                  <a:pt x="295286" y="32423"/>
                  <a:pt x="314502" y="10133"/>
                  <a:pt x="332242" y="4422"/>
                </a:cubicBezTo>
                <a:cubicBezTo>
                  <a:pt x="349540" y="-1148"/>
                  <a:pt x="367530" y="-2176"/>
                  <a:pt x="384904" y="5551"/>
                </a:cubicBezTo>
                <a:cubicBezTo>
                  <a:pt x="395271" y="10161"/>
                  <a:pt x="403310" y="17760"/>
                  <a:pt x="409773" y="26778"/>
                </a:cubicBezTo>
                <a:cubicBezTo>
                  <a:pt x="415168" y="34307"/>
                  <a:pt x="413749" y="41584"/>
                  <a:pt x="407026" y="46052"/>
                </a:cubicBezTo>
                <a:cubicBezTo>
                  <a:pt x="405624" y="40964"/>
                  <a:pt x="404503" y="35849"/>
                  <a:pt x="402771" y="30951"/>
                </a:cubicBezTo>
                <a:cubicBezTo>
                  <a:pt x="401450" y="27216"/>
                  <a:pt x="399383" y="28477"/>
                  <a:pt x="397038" y="30361"/>
                </a:cubicBezTo>
                <a:cubicBezTo>
                  <a:pt x="384440" y="15986"/>
                  <a:pt x="377037" y="14494"/>
                  <a:pt x="360694" y="22760"/>
                </a:cubicBezTo>
                <a:cubicBezTo>
                  <a:pt x="353707" y="22767"/>
                  <a:pt x="352275" y="27176"/>
                  <a:pt x="351669" y="31736"/>
                </a:cubicBezTo>
                <a:cubicBezTo>
                  <a:pt x="351136" y="35760"/>
                  <a:pt x="351383" y="39899"/>
                  <a:pt x="351426" y="43987"/>
                </a:cubicBezTo>
                <a:cubicBezTo>
                  <a:pt x="351648" y="64919"/>
                  <a:pt x="372389" y="78115"/>
                  <a:pt x="390968" y="68762"/>
                </a:cubicBezTo>
                <a:cubicBezTo>
                  <a:pt x="395158" y="66653"/>
                  <a:pt x="398534" y="62629"/>
                  <a:pt x="401770" y="59025"/>
                </a:cubicBezTo>
                <a:cubicBezTo>
                  <a:pt x="404045" y="56491"/>
                  <a:pt x="405661" y="53409"/>
                  <a:pt x="409619" y="55786"/>
                </a:cubicBezTo>
                <a:cubicBezTo>
                  <a:pt x="413544" y="58145"/>
                  <a:pt x="412176" y="61347"/>
                  <a:pt x="410427" y="64256"/>
                </a:cubicBezTo>
                <a:cubicBezTo>
                  <a:pt x="406872" y="70170"/>
                  <a:pt x="403244" y="76046"/>
                  <a:pt x="399453" y="81811"/>
                </a:cubicBezTo>
                <a:cubicBezTo>
                  <a:pt x="394663" y="89097"/>
                  <a:pt x="394382" y="94032"/>
                  <a:pt x="399346" y="98083"/>
                </a:cubicBezTo>
                <a:cubicBezTo>
                  <a:pt x="428062" y="121519"/>
                  <a:pt x="450822" y="150083"/>
                  <a:pt x="471592" y="180524"/>
                </a:cubicBezTo>
                <a:cubicBezTo>
                  <a:pt x="476398" y="187569"/>
                  <a:pt x="476844" y="193688"/>
                  <a:pt x="473550" y="200923"/>
                </a:cubicBezTo>
                <a:cubicBezTo>
                  <a:pt x="470171" y="208346"/>
                  <a:pt x="467091" y="215905"/>
                  <a:pt x="463677" y="223311"/>
                </a:cubicBezTo>
                <a:cubicBezTo>
                  <a:pt x="461993" y="226965"/>
                  <a:pt x="462995" y="228697"/>
                  <a:pt x="466852" y="229083"/>
                </a:cubicBezTo>
                <a:moveTo>
                  <a:pt x="474186" y="928382"/>
                </a:moveTo>
                <a:cubicBezTo>
                  <a:pt x="469297" y="891529"/>
                  <a:pt x="462961" y="854794"/>
                  <a:pt x="459927" y="817790"/>
                </a:cubicBezTo>
                <a:cubicBezTo>
                  <a:pt x="456905" y="780939"/>
                  <a:pt x="457197" y="743817"/>
                  <a:pt x="456025" y="706469"/>
                </a:cubicBezTo>
                <a:cubicBezTo>
                  <a:pt x="425780" y="707923"/>
                  <a:pt x="396554" y="709327"/>
                  <a:pt x="366863" y="710754"/>
                </a:cubicBezTo>
                <a:cubicBezTo>
                  <a:pt x="366546" y="714450"/>
                  <a:pt x="366201" y="716832"/>
                  <a:pt x="366159" y="719219"/>
                </a:cubicBezTo>
                <a:cubicBezTo>
                  <a:pt x="365479" y="757672"/>
                  <a:pt x="364935" y="796129"/>
                  <a:pt x="364159" y="834581"/>
                </a:cubicBezTo>
                <a:cubicBezTo>
                  <a:pt x="363450" y="869762"/>
                  <a:pt x="362581" y="904941"/>
                  <a:pt x="361633" y="940117"/>
                </a:cubicBezTo>
                <a:cubicBezTo>
                  <a:pt x="360619" y="977749"/>
                  <a:pt x="359431" y="1015376"/>
                  <a:pt x="358313" y="1053005"/>
                </a:cubicBezTo>
                <a:cubicBezTo>
                  <a:pt x="358265" y="1054641"/>
                  <a:pt x="358149" y="1056276"/>
                  <a:pt x="358081" y="1057912"/>
                </a:cubicBezTo>
                <a:cubicBezTo>
                  <a:pt x="356598" y="1093463"/>
                  <a:pt x="355081" y="1129014"/>
                  <a:pt x="353706" y="1164570"/>
                </a:cubicBezTo>
                <a:cubicBezTo>
                  <a:pt x="353604" y="1167221"/>
                  <a:pt x="354516" y="1169911"/>
                  <a:pt x="354951" y="1172547"/>
                </a:cubicBezTo>
                <a:cubicBezTo>
                  <a:pt x="416984" y="1173689"/>
                  <a:pt x="478158" y="1174816"/>
                  <a:pt x="540959" y="1175972"/>
                </a:cubicBezTo>
                <a:cubicBezTo>
                  <a:pt x="513162" y="1094194"/>
                  <a:pt x="489081" y="1013598"/>
                  <a:pt x="474186" y="928382"/>
                </a:cubicBezTo>
                <a:moveTo>
                  <a:pt x="513768" y="1417676"/>
                </a:moveTo>
                <a:cubicBezTo>
                  <a:pt x="515785" y="1417344"/>
                  <a:pt x="517792" y="1416889"/>
                  <a:pt x="519822" y="1416700"/>
                </a:cubicBezTo>
                <a:cubicBezTo>
                  <a:pt x="557234" y="1413220"/>
                  <a:pt x="594682" y="1410089"/>
                  <a:pt x="632041" y="1406122"/>
                </a:cubicBezTo>
                <a:cubicBezTo>
                  <a:pt x="643122" y="1404945"/>
                  <a:pt x="654730" y="1405292"/>
                  <a:pt x="665040" y="1400634"/>
                </a:cubicBezTo>
                <a:cubicBezTo>
                  <a:pt x="665352" y="1398517"/>
                  <a:pt x="665651" y="1397324"/>
                  <a:pt x="665677" y="1396126"/>
                </a:cubicBezTo>
                <a:cubicBezTo>
                  <a:pt x="665722" y="1394084"/>
                  <a:pt x="665674" y="1392032"/>
                  <a:pt x="665529" y="1389994"/>
                </a:cubicBezTo>
                <a:cubicBezTo>
                  <a:pt x="663118" y="1356121"/>
                  <a:pt x="650063" y="1327787"/>
                  <a:pt x="623046" y="1306238"/>
                </a:cubicBezTo>
                <a:cubicBezTo>
                  <a:pt x="613485" y="1298611"/>
                  <a:pt x="605001" y="1289635"/>
                  <a:pt x="596015" y="1281285"/>
                </a:cubicBezTo>
                <a:cubicBezTo>
                  <a:pt x="578506" y="1265018"/>
                  <a:pt x="567837" y="1245446"/>
                  <a:pt x="567683" y="1220059"/>
                </a:cubicBezTo>
                <a:cubicBezTo>
                  <a:pt x="558046" y="1220059"/>
                  <a:pt x="549136" y="1219649"/>
                  <a:pt x="540273" y="1220129"/>
                </a:cubicBezTo>
                <a:cubicBezTo>
                  <a:pt x="501512" y="1222229"/>
                  <a:pt x="462775" y="1224768"/>
                  <a:pt x="424010" y="1226781"/>
                </a:cubicBezTo>
                <a:cubicBezTo>
                  <a:pt x="401969" y="1227926"/>
                  <a:pt x="379889" y="1228330"/>
                  <a:pt x="357832" y="1229178"/>
                </a:cubicBezTo>
                <a:cubicBezTo>
                  <a:pt x="355938" y="1229251"/>
                  <a:pt x="354076" y="1230151"/>
                  <a:pt x="352386" y="1230616"/>
                </a:cubicBezTo>
                <a:cubicBezTo>
                  <a:pt x="353642" y="1262222"/>
                  <a:pt x="355769" y="1293219"/>
                  <a:pt x="355852" y="1324222"/>
                </a:cubicBezTo>
                <a:cubicBezTo>
                  <a:pt x="355936" y="1355438"/>
                  <a:pt x="353988" y="1386659"/>
                  <a:pt x="352930" y="1417867"/>
                </a:cubicBezTo>
                <a:cubicBezTo>
                  <a:pt x="406069" y="1417867"/>
                  <a:pt x="458771" y="1417867"/>
                  <a:pt x="513768" y="1417676"/>
                </a:cubicBezTo>
                <a:moveTo>
                  <a:pt x="387930" y="499741"/>
                </a:moveTo>
                <a:cubicBezTo>
                  <a:pt x="410797" y="498777"/>
                  <a:pt x="433665" y="497860"/>
                  <a:pt x="456529" y="496826"/>
                </a:cubicBezTo>
                <a:cubicBezTo>
                  <a:pt x="466656" y="496369"/>
                  <a:pt x="475418" y="493371"/>
                  <a:pt x="482355" y="485095"/>
                </a:cubicBezTo>
                <a:cubicBezTo>
                  <a:pt x="509188" y="453083"/>
                  <a:pt x="525387" y="416636"/>
                  <a:pt x="528016" y="374829"/>
                </a:cubicBezTo>
                <a:cubicBezTo>
                  <a:pt x="530547" y="334558"/>
                  <a:pt x="520095" y="297041"/>
                  <a:pt x="501375" y="261643"/>
                </a:cubicBezTo>
                <a:cubicBezTo>
                  <a:pt x="499379" y="257869"/>
                  <a:pt x="496654" y="254482"/>
                  <a:pt x="493534" y="249818"/>
                </a:cubicBezTo>
                <a:cubicBezTo>
                  <a:pt x="490233" y="254212"/>
                  <a:pt x="487883" y="256986"/>
                  <a:pt x="485920" y="260010"/>
                </a:cubicBezTo>
                <a:cubicBezTo>
                  <a:pt x="475010" y="276824"/>
                  <a:pt x="464300" y="293767"/>
                  <a:pt x="453305" y="310523"/>
                </a:cubicBezTo>
                <a:cubicBezTo>
                  <a:pt x="447028" y="320089"/>
                  <a:pt x="440916" y="329858"/>
                  <a:pt x="433678" y="338672"/>
                </a:cubicBezTo>
                <a:cubicBezTo>
                  <a:pt x="425909" y="348131"/>
                  <a:pt x="413084" y="349691"/>
                  <a:pt x="403713" y="343710"/>
                </a:cubicBezTo>
                <a:cubicBezTo>
                  <a:pt x="394358" y="337739"/>
                  <a:pt x="391675" y="327526"/>
                  <a:pt x="396427" y="315612"/>
                </a:cubicBezTo>
                <a:cubicBezTo>
                  <a:pt x="397334" y="313339"/>
                  <a:pt x="398595" y="311210"/>
                  <a:pt x="399663" y="309000"/>
                </a:cubicBezTo>
                <a:cubicBezTo>
                  <a:pt x="417094" y="272900"/>
                  <a:pt x="434331" y="236704"/>
                  <a:pt x="452097" y="200770"/>
                </a:cubicBezTo>
                <a:cubicBezTo>
                  <a:pt x="455910" y="193060"/>
                  <a:pt x="455310" y="187173"/>
                  <a:pt x="450118" y="180596"/>
                </a:cubicBezTo>
                <a:cubicBezTo>
                  <a:pt x="428273" y="152922"/>
                  <a:pt x="405805" y="125901"/>
                  <a:pt x="376545" y="105525"/>
                </a:cubicBezTo>
                <a:cubicBezTo>
                  <a:pt x="374483" y="104089"/>
                  <a:pt x="372013" y="103239"/>
                  <a:pt x="368791" y="101653"/>
                </a:cubicBezTo>
                <a:cubicBezTo>
                  <a:pt x="367942" y="116965"/>
                  <a:pt x="367019" y="130814"/>
                  <a:pt x="366449" y="144676"/>
                </a:cubicBezTo>
                <a:cubicBezTo>
                  <a:pt x="365912" y="157758"/>
                  <a:pt x="365593" y="170854"/>
                  <a:pt x="365447" y="183946"/>
                </a:cubicBezTo>
                <a:cubicBezTo>
                  <a:pt x="365020" y="221975"/>
                  <a:pt x="363367" y="260055"/>
                  <a:pt x="364738" y="298022"/>
                </a:cubicBezTo>
                <a:cubicBezTo>
                  <a:pt x="366329" y="342101"/>
                  <a:pt x="370336" y="386106"/>
                  <a:pt x="373865" y="430096"/>
                </a:cubicBezTo>
                <a:cubicBezTo>
                  <a:pt x="375530" y="450849"/>
                  <a:pt x="378387" y="471514"/>
                  <a:pt x="381088" y="492169"/>
                </a:cubicBezTo>
                <a:cubicBezTo>
                  <a:pt x="381433" y="494807"/>
                  <a:pt x="384102" y="497143"/>
                  <a:pt x="387930" y="499741"/>
                </a:cubicBezTo>
                <a:moveTo>
                  <a:pt x="455850" y="1521476"/>
                </a:moveTo>
                <a:cubicBezTo>
                  <a:pt x="533043" y="1519612"/>
                  <a:pt x="609810" y="1514084"/>
                  <a:pt x="685121" y="1496509"/>
                </a:cubicBezTo>
                <a:cubicBezTo>
                  <a:pt x="683922" y="1481705"/>
                  <a:pt x="679199" y="1467708"/>
                  <a:pt x="672999" y="1456665"/>
                </a:cubicBezTo>
                <a:cubicBezTo>
                  <a:pt x="669933" y="1451203"/>
                  <a:pt x="666057" y="1449329"/>
                  <a:pt x="660009" y="1450249"/>
                </a:cubicBezTo>
                <a:cubicBezTo>
                  <a:pt x="651125" y="1451601"/>
                  <a:pt x="642144" y="1452308"/>
                  <a:pt x="633248" y="1453589"/>
                </a:cubicBezTo>
                <a:cubicBezTo>
                  <a:pt x="572852" y="1462289"/>
                  <a:pt x="511993" y="1465134"/>
                  <a:pt x="451131" y="1467458"/>
                </a:cubicBezTo>
                <a:cubicBezTo>
                  <a:pt x="421697" y="1468582"/>
                  <a:pt x="392192" y="1467837"/>
                  <a:pt x="362719" y="1467934"/>
                </a:cubicBezTo>
                <a:cubicBezTo>
                  <a:pt x="358386" y="1467948"/>
                  <a:pt x="354052" y="1467936"/>
                  <a:pt x="349983" y="1467936"/>
                </a:cubicBezTo>
                <a:cubicBezTo>
                  <a:pt x="347592" y="1485362"/>
                  <a:pt x="348606" y="1509458"/>
                  <a:pt x="352220" y="1519140"/>
                </a:cubicBezTo>
                <a:cubicBezTo>
                  <a:pt x="385617" y="1519916"/>
                  <a:pt x="419507" y="1520703"/>
                  <a:pt x="455850" y="1521476"/>
                </a:cubicBezTo>
                <a:moveTo>
                  <a:pt x="368682" y="544846"/>
                </a:moveTo>
                <a:cubicBezTo>
                  <a:pt x="374258" y="564891"/>
                  <a:pt x="370074" y="584394"/>
                  <a:pt x="363600" y="605633"/>
                </a:cubicBezTo>
                <a:cubicBezTo>
                  <a:pt x="408859" y="604212"/>
                  <a:pt x="452263" y="602850"/>
                  <a:pt x="496351" y="601466"/>
                </a:cubicBezTo>
                <a:cubicBezTo>
                  <a:pt x="496109" y="591095"/>
                  <a:pt x="491408" y="584247"/>
                  <a:pt x="485068" y="579288"/>
                </a:cubicBezTo>
                <a:cubicBezTo>
                  <a:pt x="472414" y="569391"/>
                  <a:pt x="466934" y="556602"/>
                  <a:pt x="466524" y="541026"/>
                </a:cubicBezTo>
                <a:cubicBezTo>
                  <a:pt x="466485" y="539528"/>
                  <a:pt x="465591" y="538053"/>
                  <a:pt x="465000" y="536289"/>
                </a:cubicBezTo>
                <a:cubicBezTo>
                  <a:pt x="460209" y="536289"/>
                  <a:pt x="455761" y="536132"/>
                  <a:pt x="451328" y="536316"/>
                </a:cubicBezTo>
                <a:cubicBezTo>
                  <a:pt x="430930" y="537159"/>
                  <a:pt x="410538" y="538137"/>
                  <a:pt x="390140" y="538979"/>
                </a:cubicBezTo>
                <a:cubicBezTo>
                  <a:pt x="384834" y="539198"/>
                  <a:pt x="379484" y="538790"/>
                  <a:pt x="374215" y="539303"/>
                </a:cubicBezTo>
                <a:cubicBezTo>
                  <a:pt x="372259" y="539494"/>
                  <a:pt x="370480" y="541498"/>
                  <a:pt x="368682" y="544846"/>
                </a:cubicBezTo>
                <a:moveTo>
                  <a:pt x="453915" y="635267"/>
                </a:moveTo>
                <a:cubicBezTo>
                  <a:pt x="427589" y="636632"/>
                  <a:pt x="401262" y="637998"/>
                  <a:pt x="374200" y="639402"/>
                </a:cubicBezTo>
                <a:cubicBezTo>
                  <a:pt x="374200" y="651578"/>
                  <a:pt x="374200" y="661970"/>
                  <a:pt x="374200" y="673206"/>
                </a:cubicBezTo>
                <a:cubicBezTo>
                  <a:pt x="378672" y="673406"/>
                  <a:pt x="382666" y="673863"/>
                  <a:pt x="386639" y="673718"/>
                </a:cubicBezTo>
                <a:cubicBezTo>
                  <a:pt x="431495" y="672082"/>
                  <a:pt x="476352" y="670422"/>
                  <a:pt x="521198" y="668541"/>
                </a:cubicBezTo>
                <a:cubicBezTo>
                  <a:pt x="525584" y="668357"/>
                  <a:pt x="530162" y="667254"/>
                  <a:pt x="534198" y="665521"/>
                </a:cubicBezTo>
                <a:cubicBezTo>
                  <a:pt x="540213" y="662938"/>
                  <a:pt x="541802" y="658194"/>
                  <a:pt x="538413" y="652526"/>
                </a:cubicBezTo>
                <a:cubicBezTo>
                  <a:pt x="536192" y="648813"/>
                  <a:pt x="532979" y="645251"/>
                  <a:pt x="529377" y="642895"/>
                </a:cubicBezTo>
                <a:cubicBezTo>
                  <a:pt x="521426" y="637695"/>
                  <a:pt x="512576" y="634669"/>
                  <a:pt x="502829" y="634808"/>
                </a:cubicBezTo>
                <a:cubicBezTo>
                  <a:pt x="487311" y="635030"/>
                  <a:pt x="471791" y="635092"/>
                  <a:pt x="453915" y="635267"/>
                </a:cubicBezTo>
                <a:close/>
              </a:path>
            </a:pathLst>
          </a:custGeom>
          <a:solidFill>
            <a:srgbClr val="CDD9DF"/>
          </a:solidFill>
          <a:ln w="12700" cap="flat">
            <a:solidFill>
              <a:srgbClr val="CDD9DF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208" name="Free-form: Shape 4207">
            <a:extLst>
              <a:ext uri="{FF2B5EF4-FFF2-40B4-BE49-F238E27FC236}">
                <a16:creationId xmlns:a16="http://schemas.microsoft.com/office/drawing/2014/main" id="{3462E263-5E29-5EDD-CBA4-DE535CE41D23}"/>
              </a:ext>
            </a:extLst>
          </p:cNvPr>
          <p:cNvSpPr/>
          <p:nvPr/>
        </p:nvSpPr>
        <p:spPr>
          <a:xfrm>
            <a:off x="7958918" y="3998534"/>
            <a:ext cx="805241" cy="1728763"/>
          </a:xfrm>
          <a:custGeom>
            <a:avLst/>
            <a:gdLst>
              <a:gd name="csX0" fmla="*/ 406842 w 732037"/>
              <a:gd name="csY0" fmla="*/ 38347 h 1571603"/>
              <a:gd name="csX1" fmla="*/ 411944 w 732037"/>
              <a:gd name="csY1" fmla="*/ 38343 h 1571603"/>
              <a:gd name="csX2" fmla="*/ 416198 w 732037"/>
              <a:gd name="csY2" fmla="*/ 53444 h 1571603"/>
              <a:gd name="csX3" fmla="*/ 418945 w 732037"/>
              <a:gd name="csY3" fmla="*/ 34170 h 1571603"/>
              <a:gd name="csX4" fmla="*/ 394077 w 732037"/>
              <a:gd name="csY4" fmla="*/ 12943 h 1571603"/>
              <a:gd name="csX5" fmla="*/ 341415 w 732037"/>
              <a:gd name="csY5" fmla="*/ 11814 h 1571603"/>
              <a:gd name="csX6" fmla="*/ 309440 w 732037"/>
              <a:gd name="csY6" fmla="*/ 65249 h 1571603"/>
              <a:gd name="csX7" fmla="*/ 319632 w 732037"/>
              <a:gd name="csY7" fmla="*/ 85914 h 1571603"/>
              <a:gd name="csX8" fmla="*/ 318632 w 732037"/>
              <a:gd name="csY8" fmla="*/ 110015 h 1571603"/>
              <a:gd name="csX9" fmla="*/ 246921 w 732037"/>
              <a:gd name="csY9" fmla="*/ 198083 h 1571603"/>
              <a:gd name="csX10" fmla="*/ 202660 w 732037"/>
              <a:gd name="csY10" fmla="*/ 269911 h 1571603"/>
              <a:gd name="csX11" fmla="*/ 176707 w 732037"/>
              <a:gd name="csY11" fmla="*/ 357233 h 1571603"/>
              <a:gd name="csX12" fmla="*/ 190612 w 732037"/>
              <a:gd name="csY12" fmla="*/ 439700 h 1571603"/>
              <a:gd name="csX13" fmla="*/ 227544 w 732037"/>
              <a:gd name="csY13" fmla="*/ 505527 h 1571603"/>
              <a:gd name="csX14" fmla="*/ 232541 w 732037"/>
              <a:gd name="csY14" fmla="*/ 516294 h 1571603"/>
              <a:gd name="csX15" fmla="*/ 224356 w 732037"/>
              <a:gd name="csY15" fmla="*/ 528960 h 1571603"/>
              <a:gd name="csX16" fmla="*/ 227944 w 732037"/>
              <a:gd name="csY16" fmla="*/ 540026 h 1571603"/>
              <a:gd name="csX17" fmla="*/ 238897 w 732037"/>
              <a:gd name="csY17" fmla="*/ 545570 h 1571603"/>
              <a:gd name="csX18" fmla="*/ 242386 w 732037"/>
              <a:gd name="csY18" fmla="*/ 571785 h 1571603"/>
              <a:gd name="csX19" fmla="*/ 214067 w 732037"/>
              <a:gd name="csY19" fmla="*/ 590809 h 1571603"/>
              <a:gd name="csX20" fmla="*/ 201355 w 732037"/>
              <a:gd name="csY20" fmla="*/ 609067 h 1571603"/>
              <a:gd name="csX21" fmla="*/ 188474 w 732037"/>
              <a:gd name="csY21" fmla="*/ 628398 h 1571603"/>
              <a:gd name="csX22" fmla="*/ 162658 w 732037"/>
              <a:gd name="csY22" fmla="*/ 657096 h 1571603"/>
              <a:gd name="csX23" fmla="*/ 175395 w 732037"/>
              <a:gd name="csY23" fmla="*/ 691621 h 1571603"/>
              <a:gd name="csX24" fmla="*/ 201948 w 732037"/>
              <a:gd name="csY24" fmla="*/ 700523 h 1571603"/>
              <a:gd name="csX25" fmla="*/ 241426 w 732037"/>
              <a:gd name="csY25" fmla="*/ 706574 h 1571603"/>
              <a:gd name="csX26" fmla="*/ 242586 w 732037"/>
              <a:gd name="csY26" fmla="*/ 715946 h 1571603"/>
              <a:gd name="csX27" fmla="*/ 242424 w 732037"/>
              <a:gd name="csY27" fmla="*/ 801932 h 1571603"/>
              <a:gd name="csX28" fmla="*/ 238000 w 732037"/>
              <a:gd name="csY28" fmla="*/ 846774 h 1571603"/>
              <a:gd name="csX29" fmla="*/ 232752 w 732037"/>
              <a:gd name="csY29" fmla="*/ 891559 h 1571603"/>
              <a:gd name="csX30" fmla="*/ 223037 w 732037"/>
              <a:gd name="csY30" fmla="*/ 950433 h 1571603"/>
              <a:gd name="csX31" fmla="*/ 210247 w 732037"/>
              <a:gd name="csY31" fmla="*/ 1012485 h 1571603"/>
              <a:gd name="csX32" fmla="*/ 194820 w 732037"/>
              <a:gd name="csY32" fmla="*/ 1069074 h 1571603"/>
              <a:gd name="csX33" fmla="*/ 165707 w 732037"/>
              <a:gd name="csY33" fmla="*/ 1163788 h 1571603"/>
              <a:gd name="csX34" fmla="*/ 144382 w 732037"/>
              <a:gd name="csY34" fmla="*/ 1185530 h 1571603"/>
              <a:gd name="csX35" fmla="*/ 129590 w 732037"/>
              <a:gd name="csY35" fmla="*/ 1191342 h 1571603"/>
              <a:gd name="csX36" fmla="*/ 122255 w 732037"/>
              <a:gd name="csY36" fmla="*/ 1208476 h 1571603"/>
              <a:gd name="csX37" fmla="*/ 127491 w 732037"/>
              <a:gd name="csY37" fmla="*/ 1222193 h 1571603"/>
              <a:gd name="csX38" fmla="*/ 118348 w 732037"/>
              <a:gd name="csY38" fmla="*/ 1261470 h 1571603"/>
              <a:gd name="csX39" fmla="*/ 58232 w 732037"/>
              <a:gd name="csY39" fmla="*/ 1319224 h 1571603"/>
              <a:gd name="csX40" fmla="*/ 28815 w 732037"/>
              <a:gd name="csY40" fmla="*/ 1389717 h 1571603"/>
              <a:gd name="csX41" fmla="*/ 32634 w 732037"/>
              <a:gd name="csY41" fmla="*/ 1426050 h 1571603"/>
              <a:gd name="csX42" fmla="*/ 30331 w 732037"/>
              <a:gd name="csY42" fmla="*/ 1441003 h 1571603"/>
              <a:gd name="csX43" fmla="*/ 9180 w 732037"/>
              <a:gd name="csY43" fmla="*/ 1516655 h 1571603"/>
              <a:gd name="csX44" fmla="*/ 20082 w 732037"/>
              <a:gd name="csY44" fmla="*/ 1531402 h 1571603"/>
              <a:gd name="csX45" fmla="*/ 74798 w 732037"/>
              <a:gd name="csY45" fmla="*/ 1543794 h 1571603"/>
              <a:gd name="csX46" fmla="*/ 113225 w 732037"/>
              <a:gd name="csY46" fmla="*/ 1550305 h 1571603"/>
              <a:gd name="csX47" fmla="*/ 136142 w 732037"/>
              <a:gd name="csY47" fmla="*/ 1553484 h 1571603"/>
              <a:gd name="csX48" fmla="*/ 177578 w 732037"/>
              <a:gd name="csY48" fmla="*/ 1556220 h 1571603"/>
              <a:gd name="csX49" fmla="*/ 231027 w 732037"/>
              <a:gd name="csY49" fmla="*/ 1560698 h 1571603"/>
              <a:gd name="csX50" fmla="*/ 254342 w 732037"/>
              <a:gd name="csY50" fmla="*/ 1561142 h 1571603"/>
              <a:gd name="csX51" fmla="*/ 459180 w 732037"/>
              <a:gd name="csY51" fmla="*/ 1563411 h 1571603"/>
              <a:gd name="csX52" fmla="*/ 531340 w 732037"/>
              <a:gd name="csY52" fmla="*/ 1560936 h 1571603"/>
              <a:gd name="csX53" fmla="*/ 590888 w 732037"/>
              <a:gd name="csY53" fmla="*/ 1555951 h 1571603"/>
              <a:gd name="csX54" fmla="*/ 710712 w 732037"/>
              <a:gd name="csY54" fmla="*/ 1533916 h 1571603"/>
              <a:gd name="csX55" fmla="*/ 724356 w 732037"/>
              <a:gd name="csY55" fmla="*/ 1516144 h 1571603"/>
              <a:gd name="csX56" fmla="*/ 707380 w 732037"/>
              <a:gd name="csY56" fmla="*/ 1449380 h 1571603"/>
              <a:gd name="csX57" fmla="*/ 707050 w 732037"/>
              <a:gd name="csY57" fmla="*/ 1440881 h 1571603"/>
              <a:gd name="csX58" fmla="*/ 731479 w 732037"/>
              <a:gd name="csY58" fmla="*/ 1500017 h 1571603"/>
              <a:gd name="csX59" fmla="*/ 731163 w 732037"/>
              <a:gd name="csY59" fmla="*/ 1513759 h 1571603"/>
              <a:gd name="csX60" fmla="*/ 731650 w 732037"/>
              <a:gd name="csY60" fmla="*/ 1521766 h 1571603"/>
              <a:gd name="csX61" fmla="*/ 721896 w 732037"/>
              <a:gd name="csY61" fmla="*/ 1537319 h 1571603"/>
              <a:gd name="csX62" fmla="*/ 657740 w 732037"/>
              <a:gd name="csY62" fmla="*/ 1553265 h 1571603"/>
              <a:gd name="csX63" fmla="*/ 507791 w 732037"/>
              <a:gd name="csY63" fmla="*/ 1568943 h 1571603"/>
              <a:gd name="csX64" fmla="*/ 264676 w 732037"/>
              <a:gd name="csY64" fmla="*/ 1569724 h 1571603"/>
              <a:gd name="csX65" fmla="*/ 82743 w 732037"/>
              <a:gd name="csY65" fmla="*/ 1553254 h 1571603"/>
              <a:gd name="csX66" fmla="*/ 17072 w 732037"/>
              <a:gd name="csY66" fmla="*/ 1538153 h 1571603"/>
              <a:gd name="csX67" fmla="*/ 275 w 732037"/>
              <a:gd name="csY67" fmla="*/ 1513030 h 1571603"/>
              <a:gd name="csX68" fmla="*/ 20923 w 732037"/>
              <a:gd name="csY68" fmla="*/ 1441861 h 1571603"/>
              <a:gd name="csX69" fmla="*/ 23045 w 732037"/>
              <a:gd name="csY69" fmla="*/ 1423105 h 1571603"/>
              <a:gd name="csX70" fmla="*/ 30564 w 732037"/>
              <a:gd name="csY70" fmla="*/ 1346289 h 1571603"/>
              <a:gd name="csX71" fmla="*/ 71350 w 732037"/>
              <a:gd name="csY71" fmla="*/ 1295039 h 1571603"/>
              <a:gd name="csX72" fmla="*/ 112257 w 732037"/>
              <a:gd name="csY72" fmla="*/ 1255093 h 1571603"/>
              <a:gd name="csX73" fmla="*/ 115864 w 732037"/>
              <a:gd name="csY73" fmla="*/ 1217271 h 1571603"/>
              <a:gd name="csX74" fmla="*/ 112256 w 732037"/>
              <a:gd name="csY74" fmla="*/ 1210870 h 1571603"/>
              <a:gd name="csX75" fmla="*/ 121141 w 732037"/>
              <a:gd name="csY75" fmla="*/ 1186548 h 1571603"/>
              <a:gd name="csX76" fmla="*/ 136571 w 732037"/>
              <a:gd name="csY76" fmla="*/ 1179850 h 1571603"/>
              <a:gd name="csX77" fmla="*/ 158281 w 732037"/>
              <a:gd name="csY77" fmla="*/ 1157879 h 1571603"/>
              <a:gd name="csX78" fmla="*/ 187986 w 732037"/>
              <a:gd name="csY78" fmla="*/ 1059736 h 1571603"/>
              <a:gd name="csX79" fmla="*/ 217119 w 732037"/>
              <a:gd name="csY79" fmla="*/ 938896 h 1571603"/>
              <a:gd name="csX80" fmla="*/ 225792 w 732037"/>
              <a:gd name="csY80" fmla="*/ 893236 h 1571603"/>
              <a:gd name="csX81" fmla="*/ 226150 w 732037"/>
              <a:gd name="csY81" fmla="*/ 887970 h 1571603"/>
              <a:gd name="csX82" fmla="*/ 230782 w 732037"/>
              <a:gd name="csY82" fmla="*/ 853969 h 1571603"/>
              <a:gd name="csX83" fmla="*/ 230786 w 732037"/>
              <a:gd name="csY83" fmla="*/ 848558 h 1571603"/>
              <a:gd name="csX84" fmla="*/ 233315 w 732037"/>
              <a:gd name="csY84" fmla="*/ 824438 h 1571603"/>
              <a:gd name="csX85" fmla="*/ 233199 w 732037"/>
              <a:gd name="csY85" fmla="*/ 819050 h 1571603"/>
              <a:gd name="csX86" fmla="*/ 235848 w 732037"/>
              <a:gd name="csY86" fmla="*/ 782380 h 1571603"/>
              <a:gd name="csX87" fmla="*/ 237465 w 732037"/>
              <a:gd name="csY87" fmla="*/ 719113 h 1571603"/>
              <a:gd name="csX88" fmla="*/ 233057 w 732037"/>
              <a:gd name="csY88" fmla="*/ 713160 h 1571603"/>
              <a:gd name="csX89" fmla="*/ 203056 w 732037"/>
              <a:gd name="csY89" fmla="*/ 708405 h 1571603"/>
              <a:gd name="csX90" fmla="*/ 169628 w 732037"/>
              <a:gd name="csY90" fmla="*/ 698106 h 1571603"/>
              <a:gd name="csX91" fmla="*/ 153237 w 732037"/>
              <a:gd name="csY91" fmla="*/ 659111 h 1571603"/>
              <a:gd name="csX92" fmla="*/ 178365 w 732037"/>
              <a:gd name="csY92" fmla="*/ 626008 h 1571603"/>
              <a:gd name="csX93" fmla="*/ 191885 w 732037"/>
              <a:gd name="csY93" fmla="*/ 617513 h 1571603"/>
              <a:gd name="csX94" fmla="*/ 193681 w 732037"/>
              <a:gd name="csY94" fmla="*/ 610098 h 1571603"/>
              <a:gd name="csX95" fmla="*/ 213301 w 732037"/>
              <a:gd name="csY95" fmla="*/ 579885 h 1571603"/>
              <a:gd name="csX96" fmla="*/ 229635 w 732037"/>
              <a:gd name="csY96" fmla="*/ 571429 h 1571603"/>
              <a:gd name="csX97" fmla="*/ 237351 w 732037"/>
              <a:gd name="csY97" fmla="*/ 565882 h 1571603"/>
              <a:gd name="csX98" fmla="*/ 233673 w 732037"/>
              <a:gd name="csY98" fmla="*/ 550926 h 1571603"/>
              <a:gd name="csX99" fmla="*/ 226799 w 732037"/>
              <a:gd name="csY99" fmla="*/ 548359 h 1571603"/>
              <a:gd name="csX100" fmla="*/ 218639 w 732037"/>
              <a:gd name="csY100" fmla="*/ 522664 h 1571603"/>
              <a:gd name="csX101" fmla="*/ 218264 w 732037"/>
              <a:gd name="csY101" fmla="*/ 505463 h 1571603"/>
              <a:gd name="csX102" fmla="*/ 181762 w 732037"/>
              <a:gd name="csY102" fmla="*/ 437574 h 1571603"/>
              <a:gd name="csX103" fmla="*/ 185971 w 732037"/>
              <a:gd name="csY103" fmla="*/ 289069 h 1571603"/>
              <a:gd name="csX104" fmla="*/ 253787 w 732037"/>
              <a:gd name="csY104" fmla="*/ 175580 h 1571603"/>
              <a:gd name="csX105" fmla="*/ 309639 w 732037"/>
              <a:gd name="csY105" fmla="*/ 108695 h 1571603"/>
              <a:gd name="csX106" fmla="*/ 318061 w 732037"/>
              <a:gd name="csY106" fmla="*/ 98855 h 1571603"/>
              <a:gd name="csX107" fmla="*/ 304967 w 732037"/>
              <a:gd name="csY107" fmla="*/ 70056 h 1571603"/>
              <a:gd name="csX108" fmla="*/ 317012 w 732037"/>
              <a:gd name="csY108" fmla="*/ 19436 h 1571603"/>
              <a:gd name="csX109" fmla="*/ 415542 w 732037"/>
              <a:gd name="csY109" fmla="*/ 18221 h 1571603"/>
              <a:gd name="csX110" fmla="*/ 423203 w 732037"/>
              <a:gd name="csY110" fmla="*/ 82660 h 1571603"/>
              <a:gd name="csX111" fmla="*/ 413361 w 732037"/>
              <a:gd name="csY111" fmla="*/ 97975 h 1571603"/>
              <a:gd name="csX112" fmla="*/ 421654 w 732037"/>
              <a:gd name="csY112" fmla="*/ 106676 h 1571603"/>
              <a:gd name="csX113" fmla="*/ 487032 w 732037"/>
              <a:gd name="csY113" fmla="*/ 184632 h 1571603"/>
              <a:gd name="csX114" fmla="*/ 489213 w 732037"/>
              <a:gd name="csY114" fmla="*/ 208238 h 1571603"/>
              <a:gd name="csX115" fmla="*/ 476520 w 732037"/>
              <a:gd name="csY115" fmla="*/ 235738 h 1571603"/>
              <a:gd name="csX116" fmla="*/ 472850 w 732037"/>
              <a:gd name="csY116" fmla="*/ 230703 h 1571603"/>
              <a:gd name="csX117" fmla="*/ 482723 w 732037"/>
              <a:gd name="csY117" fmla="*/ 208315 h 1571603"/>
              <a:gd name="csX118" fmla="*/ 480764 w 732037"/>
              <a:gd name="csY118" fmla="*/ 187916 h 1571603"/>
              <a:gd name="csX119" fmla="*/ 408519 w 732037"/>
              <a:gd name="csY119" fmla="*/ 105475 h 1571603"/>
              <a:gd name="csX120" fmla="*/ 408625 w 732037"/>
              <a:gd name="csY120" fmla="*/ 89203 h 1571603"/>
              <a:gd name="csX121" fmla="*/ 419600 w 732037"/>
              <a:gd name="csY121" fmla="*/ 71648 h 1571603"/>
              <a:gd name="csX122" fmla="*/ 418792 w 732037"/>
              <a:gd name="csY122" fmla="*/ 63179 h 1571603"/>
              <a:gd name="csX123" fmla="*/ 410943 w 732037"/>
              <a:gd name="csY123" fmla="*/ 66417 h 1571603"/>
              <a:gd name="csX124" fmla="*/ 400140 w 732037"/>
              <a:gd name="csY124" fmla="*/ 76155 h 1571603"/>
              <a:gd name="csX125" fmla="*/ 360599 w 732037"/>
              <a:gd name="csY125" fmla="*/ 51379 h 1571603"/>
              <a:gd name="csX126" fmla="*/ 360842 w 732037"/>
              <a:gd name="csY126" fmla="*/ 39128 h 1571603"/>
              <a:gd name="csX127" fmla="*/ 369470 w 732037"/>
              <a:gd name="csY127" fmla="*/ 30960 h 1571603"/>
              <a:gd name="csX128" fmla="*/ 365613 w 732037"/>
              <a:gd name="csY128" fmla="*/ 49108 h 1571603"/>
              <a:gd name="csX129" fmla="*/ 389468 w 732037"/>
              <a:gd name="csY129" fmla="*/ 71608 h 1571603"/>
              <a:gd name="csX130" fmla="*/ 408822 w 732037"/>
              <a:gd name="csY130" fmla="*/ 46613 h 1571603"/>
              <a:gd name="csX131" fmla="*/ 406842 w 732037"/>
              <a:gd name="csY131" fmla="*/ 38347 h 157160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</a:cxnLst>
            <a:rect l="l" t="t" r="r" b="b"/>
            <a:pathLst>
              <a:path w="732037" h="1571603">
                <a:moveTo>
                  <a:pt x="406842" y="38347"/>
                </a:moveTo>
                <a:cubicBezTo>
                  <a:pt x="408555" y="35869"/>
                  <a:pt x="410622" y="34608"/>
                  <a:pt x="411944" y="38343"/>
                </a:cubicBezTo>
                <a:cubicBezTo>
                  <a:pt x="413676" y="43242"/>
                  <a:pt x="414797" y="48356"/>
                  <a:pt x="416198" y="53444"/>
                </a:cubicBezTo>
                <a:cubicBezTo>
                  <a:pt x="422922" y="48977"/>
                  <a:pt x="424340" y="41699"/>
                  <a:pt x="418945" y="34170"/>
                </a:cubicBezTo>
                <a:cubicBezTo>
                  <a:pt x="412483" y="25152"/>
                  <a:pt x="404444" y="17554"/>
                  <a:pt x="394077" y="12943"/>
                </a:cubicBezTo>
                <a:cubicBezTo>
                  <a:pt x="376702" y="5216"/>
                  <a:pt x="358713" y="6244"/>
                  <a:pt x="341415" y="11814"/>
                </a:cubicBezTo>
                <a:cubicBezTo>
                  <a:pt x="323675" y="17525"/>
                  <a:pt x="304459" y="39816"/>
                  <a:pt x="309440" y="65249"/>
                </a:cubicBezTo>
                <a:cubicBezTo>
                  <a:pt x="310868" y="72543"/>
                  <a:pt x="315482" y="79463"/>
                  <a:pt x="319632" y="85914"/>
                </a:cubicBezTo>
                <a:cubicBezTo>
                  <a:pt x="325434" y="94933"/>
                  <a:pt x="325800" y="102817"/>
                  <a:pt x="318632" y="110015"/>
                </a:cubicBezTo>
                <a:cubicBezTo>
                  <a:pt x="291775" y="136984"/>
                  <a:pt x="269594" y="167702"/>
                  <a:pt x="246921" y="198083"/>
                </a:cubicBezTo>
                <a:cubicBezTo>
                  <a:pt x="230003" y="220751"/>
                  <a:pt x="215685" y="244921"/>
                  <a:pt x="202660" y="269911"/>
                </a:cubicBezTo>
                <a:cubicBezTo>
                  <a:pt x="188381" y="297309"/>
                  <a:pt x="179513" y="326657"/>
                  <a:pt x="176707" y="357233"/>
                </a:cubicBezTo>
                <a:cubicBezTo>
                  <a:pt x="174106" y="385578"/>
                  <a:pt x="180131" y="413140"/>
                  <a:pt x="190612" y="439700"/>
                </a:cubicBezTo>
                <a:cubicBezTo>
                  <a:pt x="199946" y="463353"/>
                  <a:pt x="211538" y="485623"/>
                  <a:pt x="227544" y="505527"/>
                </a:cubicBezTo>
                <a:cubicBezTo>
                  <a:pt x="229982" y="508558"/>
                  <a:pt x="230954" y="512768"/>
                  <a:pt x="232541" y="516294"/>
                </a:cubicBezTo>
                <a:cubicBezTo>
                  <a:pt x="229578" y="520824"/>
                  <a:pt x="226658" y="524724"/>
                  <a:pt x="224356" y="528960"/>
                </a:cubicBezTo>
                <a:cubicBezTo>
                  <a:pt x="221823" y="533618"/>
                  <a:pt x="222675" y="537588"/>
                  <a:pt x="227944" y="540026"/>
                </a:cubicBezTo>
                <a:cubicBezTo>
                  <a:pt x="231656" y="541743"/>
                  <a:pt x="235331" y="543568"/>
                  <a:pt x="238897" y="545570"/>
                </a:cubicBezTo>
                <a:cubicBezTo>
                  <a:pt x="249613" y="551585"/>
                  <a:pt x="251795" y="563681"/>
                  <a:pt x="242386" y="571785"/>
                </a:cubicBezTo>
                <a:cubicBezTo>
                  <a:pt x="233816" y="579166"/>
                  <a:pt x="224045" y="585423"/>
                  <a:pt x="214067" y="590809"/>
                </a:cubicBezTo>
                <a:cubicBezTo>
                  <a:pt x="206271" y="595018"/>
                  <a:pt x="202051" y="601487"/>
                  <a:pt x="201355" y="609067"/>
                </a:cubicBezTo>
                <a:cubicBezTo>
                  <a:pt x="200489" y="618497"/>
                  <a:pt x="195720" y="623726"/>
                  <a:pt x="188474" y="628398"/>
                </a:cubicBezTo>
                <a:cubicBezTo>
                  <a:pt x="177332" y="635582"/>
                  <a:pt x="167866" y="644503"/>
                  <a:pt x="162658" y="657096"/>
                </a:cubicBezTo>
                <a:cubicBezTo>
                  <a:pt x="156420" y="672181"/>
                  <a:pt x="160439" y="684301"/>
                  <a:pt x="175395" y="691621"/>
                </a:cubicBezTo>
                <a:cubicBezTo>
                  <a:pt x="183722" y="695697"/>
                  <a:pt x="192859" y="698589"/>
                  <a:pt x="201948" y="700523"/>
                </a:cubicBezTo>
                <a:cubicBezTo>
                  <a:pt x="214634" y="703224"/>
                  <a:pt x="227616" y="704530"/>
                  <a:pt x="241426" y="706574"/>
                </a:cubicBezTo>
                <a:cubicBezTo>
                  <a:pt x="241839" y="709770"/>
                  <a:pt x="242576" y="712857"/>
                  <a:pt x="242586" y="715946"/>
                </a:cubicBezTo>
                <a:cubicBezTo>
                  <a:pt x="242672" y="744610"/>
                  <a:pt x="243133" y="773285"/>
                  <a:pt x="242424" y="801932"/>
                </a:cubicBezTo>
                <a:cubicBezTo>
                  <a:pt x="242053" y="816907"/>
                  <a:pt x="239631" y="831838"/>
                  <a:pt x="238000" y="846774"/>
                </a:cubicBezTo>
                <a:cubicBezTo>
                  <a:pt x="236368" y="861717"/>
                  <a:pt x="234927" y="876693"/>
                  <a:pt x="232752" y="891559"/>
                </a:cubicBezTo>
                <a:cubicBezTo>
                  <a:pt x="229873" y="911238"/>
                  <a:pt x="226675" y="930882"/>
                  <a:pt x="223037" y="950433"/>
                </a:cubicBezTo>
                <a:cubicBezTo>
                  <a:pt x="219173" y="971193"/>
                  <a:pt x="215113" y="991942"/>
                  <a:pt x="210247" y="1012485"/>
                </a:cubicBezTo>
                <a:cubicBezTo>
                  <a:pt x="205743" y="1031500"/>
                  <a:pt x="200395" y="1050337"/>
                  <a:pt x="194820" y="1069074"/>
                </a:cubicBezTo>
                <a:cubicBezTo>
                  <a:pt x="185401" y="1100731"/>
                  <a:pt x="175708" y="1132311"/>
                  <a:pt x="165707" y="1163788"/>
                </a:cubicBezTo>
                <a:cubicBezTo>
                  <a:pt x="162367" y="1174302"/>
                  <a:pt x="156145" y="1182634"/>
                  <a:pt x="144382" y="1185530"/>
                </a:cubicBezTo>
                <a:cubicBezTo>
                  <a:pt x="139281" y="1186787"/>
                  <a:pt x="134434" y="1189193"/>
                  <a:pt x="129590" y="1191342"/>
                </a:cubicBezTo>
                <a:cubicBezTo>
                  <a:pt x="120028" y="1195581"/>
                  <a:pt x="118779" y="1198539"/>
                  <a:pt x="122255" y="1208476"/>
                </a:cubicBezTo>
                <a:cubicBezTo>
                  <a:pt x="123870" y="1213094"/>
                  <a:pt x="125990" y="1217542"/>
                  <a:pt x="127491" y="1222193"/>
                </a:cubicBezTo>
                <a:cubicBezTo>
                  <a:pt x="132294" y="1237066"/>
                  <a:pt x="129961" y="1250353"/>
                  <a:pt x="118348" y="1261470"/>
                </a:cubicBezTo>
                <a:cubicBezTo>
                  <a:pt x="98275" y="1280686"/>
                  <a:pt x="78038" y="1299737"/>
                  <a:pt x="58232" y="1319224"/>
                </a:cubicBezTo>
                <a:cubicBezTo>
                  <a:pt x="38634" y="1338507"/>
                  <a:pt x="29913" y="1362564"/>
                  <a:pt x="28815" y="1389717"/>
                </a:cubicBezTo>
                <a:cubicBezTo>
                  <a:pt x="28318" y="1402031"/>
                  <a:pt x="29110" y="1414206"/>
                  <a:pt x="32634" y="1426050"/>
                </a:cubicBezTo>
                <a:cubicBezTo>
                  <a:pt x="34273" y="1431554"/>
                  <a:pt x="33300" y="1435929"/>
                  <a:pt x="30331" y="1441003"/>
                </a:cubicBezTo>
                <a:cubicBezTo>
                  <a:pt x="16698" y="1464298"/>
                  <a:pt x="8890" y="1489397"/>
                  <a:pt x="9180" y="1516655"/>
                </a:cubicBezTo>
                <a:cubicBezTo>
                  <a:pt x="9291" y="1527012"/>
                  <a:pt x="9917" y="1528771"/>
                  <a:pt x="20082" y="1531402"/>
                </a:cubicBezTo>
                <a:cubicBezTo>
                  <a:pt x="38179" y="1536086"/>
                  <a:pt x="56480" y="1540035"/>
                  <a:pt x="74798" y="1543794"/>
                </a:cubicBezTo>
                <a:cubicBezTo>
                  <a:pt x="87517" y="1546403"/>
                  <a:pt x="100396" y="1548250"/>
                  <a:pt x="113225" y="1550305"/>
                </a:cubicBezTo>
                <a:cubicBezTo>
                  <a:pt x="120841" y="1551524"/>
                  <a:pt x="128467" y="1552843"/>
                  <a:pt x="136142" y="1553484"/>
                </a:cubicBezTo>
                <a:cubicBezTo>
                  <a:pt x="149934" y="1554635"/>
                  <a:pt x="163778" y="1555156"/>
                  <a:pt x="177578" y="1556220"/>
                </a:cubicBezTo>
                <a:cubicBezTo>
                  <a:pt x="195403" y="1557595"/>
                  <a:pt x="213196" y="1559407"/>
                  <a:pt x="231027" y="1560698"/>
                </a:cubicBezTo>
                <a:cubicBezTo>
                  <a:pt x="238768" y="1561259"/>
                  <a:pt x="246585" y="1560709"/>
                  <a:pt x="254342" y="1561142"/>
                </a:cubicBezTo>
                <a:cubicBezTo>
                  <a:pt x="322588" y="1564942"/>
                  <a:pt x="390896" y="1563427"/>
                  <a:pt x="459180" y="1563411"/>
                </a:cubicBezTo>
                <a:cubicBezTo>
                  <a:pt x="483236" y="1563406"/>
                  <a:pt x="507311" y="1562248"/>
                  <a:pt x="531340" y="1560936"/>
                </a:cubicBezTo>
                <a:cubicBezTo>
                  <a:pt x="551225" y="1559849"/>
                  <a:pt x="571160" y="1558554"/>
                  <a:pt x="590888" y="1555951"/>
                </a:cubicBezTo>
                <a:cubicBezTo>
                  <a:pt x="631179" y="1550635"/>
                  <a:pt x="671338" y="1544328"/>
                  <a:pt x="710712" y="1533916"/>
                </a:cubicBezTo>
                <a:cubicBezTo>
                  <a:pt x="722630" y="1530764"/>
                  <a:pt x="724036" y="1528558"/>
                  <a:pt x="724356" y="1516144"/>
                </a:cubicBezTo>
                <a:cubicBezTo>
                  <a:pt x="724970" y="1492256"/>
                  <a:pt x="718637" y="1470245"/>
                  <a:pt x="707380" y="1449380"/>
                </a:cubicBezTo>
                <a:cubicBezTo>
                  <a:pt x="706259" y="1447304"/>
                  <a:pt x="706896" y="1444279"/>
                  <a:pt x="707050" y="1440881"/>
                </a:cubicBezTo>
                <a:cubicBezTo>
                  <a:pt x="722747" y="1457101"/>
                  <a:pt x="728653" y="1477963"/>
                  <a:pt x="731479" y="1500017"/>
                </a:cubicBezTo>
                <a:cubicBezTo>
                  <a:pt x="731992" y="1504029"/>
                  <a:pt x="731781" y="1508135"/>
                  <a:pt x="731163" y="1513759"/>
                </a:cubicBezTo>
                <a:cubicBezTo>
                  <a:pt x="730831" y="1517468"/>
                  <a:pt x="731241" y="1519618"/>
                  <a:pt x="731650" y="1521766"/>
                </a:cubicBezTo>
                <a:cubicBezTo>
                  <a:pt x="733191" y="1529956"/>
                  <a:pt x="730165" y="1535242"/>
                  <a:pt x="721896" y="1537319"/>
                </a:cubicBezTo>
                <a:cubicBezTo>
                  <a:pt x="700520" y="1542690"/>
                  <a:pt x="679367" y="1549248"/>
                  <a:pt x="657740" y="1553265"/>
                </a:cubicBezTo>
                <a:cubicBezTo>
                  <a:pt x="608220" y="1562464"/>
                  <a:pt x="558146" y="1566701"/>
                  <a:pt x="507791" y="1568943"/>
                </a:cubicBezTo>
                <a:cubicBezTo>
                  <a:pt x="426738" y="1572552"/>
                  <a:pt x="345677" y="1572161"/>
                  <a:pt x="264676" y="1569724"/>
                </a:cubicBezTo>
                <a:cubicBezTo>
                  <a:pt x="203800" y="1567891"/>
                  <a:pt x="142882" y="1563907"/>
                  <a:pt x="82743" y="1553254"/>
                </a:cubicBezTo>
                <a:cubicBezTo>
                  <a:pt x="60647" y="1549341"/>
                  <a:pt x="38739" y="1544032"/>
                  <a:pt x="17072" y="1538153"/>
                </a:cubicBezTo>
                <a:cubicBezTo>
                  <a:pt x="1381" y="1533894"/>
                  <a:pt x="-938" y="1529341"/>
                  <a:pt x="275" y="1513030"/>
                </a:cubicBezTo>
                <a:cubicBezTo>
                  <a:pt x="2146" y="1487871"/>
                  <a:pt x="7321" y="1463566"/>
                  <a:pt x="20923" y="1441861"/>
                </a:cubicBezTo>
                <a:cubicBezTo>
                  <a:pt x="24812" y="1435656"/>
                  <a:pt x="24566" y="1429699"/>
                  <a:pt x="23045" y="1423105"/>
                </a:cubicBezTo>
                <a:cubicBezTo>
                  <a:pt x="16952" y="1396684"/>
                  <a:pt x="19689" y="1370924"/>
                  <a:pt x="30564" y="1346289"/>
                </a:cubicBezTo>
                <a:cubicBezTo>
                  <a:pt x="39621" y="1325774"/>
                  <a:pt x="54481" y="1309709"/>
                  <a:pt x="71350" y="1295039"/>
                </a:cubicBezTo>
                <a:cubicBezTo>
                  <a:pt x="85712" y="1282550"/>
                  <a:pt x="99164" y="1268932"/>
                  <a:pt x="112257" y="1255093"/>
                </a:cubicBezTo>
                <a:cubicBezTo>
                  <a:pt x="122891" y="1243852"/>
                  <a:pt x="124955" y="1230879"/>
                  <a:pt x="115864" y="1217271"/>
                </a:cubicBezTo>
                <a:cubicBezTo>
                  <a:pt x="114506" y="1215239"/>
                  <a:pt x="113304" y="1213078"/>
                  <a:pt x="112256" y="1210870"/>
                </a:cubicBezTo>
                <a:cubicBezTo>
                  <a:pt x="106526" y="1198808"/>
                  <a:pt x="109052" y="1191969"/>
                  <a:pt x="121141" y="1186548"/>
                </a:cubicBezTo>
                <a:cubicBezTo>
                  <a:pt x="126274" y="1184246"/>
                  <a:pt x="131201" y="1180803"/>
                  <a:pt x="136571" y="1179850"/>
                </a:cubicBezTo>
                <a:cubicBezTo>
                  <a:pt x="149372" y="1177579"/>
                  <a:pt x="154892" y="1168948"/>
                  <a:pt x="158281" y="1157879"/>
                </a:cubicBezTo>
                <a:cubicBezTo>
                  <a:pt x="168288" y="1125194"/>
                  <a:pt x="179178" y="1092742"/>
                  <a:pt x="187986" y="1059736"/>
                </a:cubicBezTo>
                <a:cubicBezTo>
                  <a:pt x="198666" y="1019713"/>
                  <a:pt x="207813" y="979272"/>
                  <a:pt x="217119" y="938896"/>
                </a:cubicBezTo>
                <a:cubicBezTo>
                  <a:pt x="220491" y="924267"/>
                  <a:pt x="222410" y="909302"/>
                  <a:pt x="225792" y="893236"/>
                </a:cubicBezTo>
                <a:cubicBezTo>
                  <a:pt x="226444" y="890644"/>
                  <a:pt x="226297" y="889307"/>
                  <a:pt x="226150" y="887970"/>
                </a:cubicBezTo>
                <a:cubicBezTo>
                  <a:pt x="227450" y="877085"/>
                  <a:pt x="228750" y="866198"/>
                  <a:pt x="230782" y="853969"/>
                </a:cubicBezTo>
                <a:cubicBezTo>
                  <a:pt x="231271" y="851270"/>
                  <a:pt x="231029" y="849914"/>
                  <a:pt x="230786" y="848558"/>
                </a:cubicBezTo>
                <a:cubicBezTo>
                  <a:pt x="231390" y="840967"/>
                  <a:pt x="231993" y="833375"/>
                  <a:pt x="233315" y="824438"/>
                </a:cubicBezTo>
                <a:cubicBezTo>
                  <a:pt x="233755" y="821744"/>
                  <a:pt x="233477" y="820397"/>
                  <a:pt x="233199" y="819050"/>
                </a:cubicBezTo>
                <a:cubicBezTo>
                  <a:pt x="233786" y="807422"/>
                  <a:pt x="234374" y="795794"/>
                  <a:pt x="235848" y="782380"/>
                </a:cubicBezTo>
                <a:cubicBezTo>
                  <a:pt x="237047" y="760099"/>
                  <a:pt x="237488" y="739606"/>
                  <a:pt x="237465" y="719113"/>
                </a:cubicBezTo>
                <a:cubicBezTo>
                  <a:pt x="237463" y="717127"/>
                  <a:pt x="234595" y="715144"/>
                  <a:pt x="233057" y="713160"/>
                </a:cubicBezTo>
                <a:cubicBezTo>
                  <a:pt x="223043" y="711630"/>
                  <a:pt x="212881" y="710731"/>
                  <a:pt x="203056" y="708405"/>
                </a:cubicBezTo>
                <a:cubicBezTo>
                  <a:pt x="191716" y="705720"/>
                  <a:pt x="180144" y="702931"/>
                  <a:pt x="169628" y="698106"/>
                </a:cubicBezTo>
                <a:cubicBezTo>
                  <a:pt x="154505" y="691164"/>
                  <a:pt x="148867" y="675179"/>
                  <a:pt x="153237" y="659111"/>
                </a:cubicBezTo>
                <a:cubicBezTo>
                  <a:pt x="157196" y="644561"/>
                  <a:pt x="166649" y="634454"/>
                  <a:pt x="178365" y="626008"/>
                </a:cubicBezTo>
                <a:cubicBezTo>
                  <a:pt x="182258" y="623202"/>
                  <a:pt x="186579" y="620992"/>
                  <a:pt x="191885" y="617513"/>
                </a:cubicBezTo>
                <a:cubicBezTo>
                  <a:pt x="194882" y="614532"/>
                  <a:pt x="197062" y="612583"/>
                  <a:pt x="193681" y="610098"/>
                </a:cubicBezTo>
                <a:cubicBezTo>
                  <a:pt x="193381" y="595591"/>
                  <a:pt x="202034" y="586776"/>
                  <a:pt x="213301" y="579885"/>
                </a:cubicBezTo>
                <a:cubicBezTo>
                  <a:pt x="218517" y="576695"/>
                  <a:pt x="224270" y="574393"/>
                  <a:pt x="229635" y="571429"/>
                </a:cubicBezTo>
                <a:cubicBezTo>
                  <a:pt x="232401" y="569901"/>
                  <a:pt x="235344" y="568225"/>
                  <a:pt x="237351" y="565882"/>
                </a:cubicBezTo>
                <a:cubicBezTo>
                  <a:pt x="243193" y="559063"/>
                  <a:pt x="242021" y="554779"/>
                  <a:pt x="233673" y="550926"/>
                </a:cubicBezTo>
                <a:cubicBezTo>
                  <a:pt x="231458" y="549904"/>
                  <a:pt x="229049" y="549314"/>
                  <a:pt x="226799" y="548359"/>
                </a:cubicBezTo>
                <a:cubicBezTo>
                  <a:pt x="215108" y="543398"/>
                  <a:pt x="211118" y="532802"/>
                  <a:pt x="218639" y="522664"/>
                </a:cubicBezTo>
                <a:cubicBezTo>
                  <a:pt x="223647" y="515913"/>
                  <a:pt x="222661" y="511633"/>
                  <a:pt x="218264" y="505463"/>
                </a:cubicBezTo>
                <a:cubicBezTo>
                  <a:pt x="203255" y="484407"/>
                  <a:pt x="190650" y="461993"/>
                  <a:pt x="181762" y="437574"/>
                </a:cubicBezTo>
                <a:cubicBezTo>
                  <a:pt x="163530" y="387483"/>
                  <a:pt x="165826" y="338057"/>
                  <a:pt x="185971" y="289069"/>
                </a:cubicBezTo>
                <a:cubicBezTo>
                  <a:pt x="202921" y="247851"/>
                  <a:pt x="226229" y="210377"/>
                  <a:pt x="253787" y="175580"/>
                </a:cubicBezTo>
                <a:cubicBezTo>
                  <a:pt x="271814" y="152817"/>
                  <a:pt x="290973" y="130951"/>
                  <a:pt x="309639" y="108695"/>
                </a:cubicBezTo>
                <a:cubicBezTo>
                  <a:pt x="312744" y="104993"/>
                  <a:pt x="315922" y="101352"/>
                  <a:pt x="318061" y="98855"/>
                </a:cubicBezTo>
                <a:cubicBezTo>
                  <a:pt x="313257" y="88362"/>
                  <a:pt x="308695" y="79376"/>
                  <a:pt x="304967" y="70056"/>
                </a:cubicBezTo>
                <a:cubicBezTo>
                  <a:pt x="297146" y="50504"/>
                  <a:pt x="303366" y="33481"/>
                  <a:pt x="317012" y="19436"/>
                </a:cubicBezTo>
                <a:cubicBezTo>
                  <a:pt x="344741" y="-9105"/>
                  <a:pt x="393463" y="-3345"/>
                  <a:pt x="415542" y="18221"/>
                </a:cubicBezTo>
                <a:cubicBezTo>
                  <a:pt x="429559" y="31914"/>
                  <a:pt x="438373" y="56968"/>
                  <a:pt x="423203" y="82660"/>
                </a:cubicBezTo>
                <a:cubicBezTo>
                  <a:pt x="420306" y="87568"/>
                  <a:pt x="417047" y="92262"/>
                  <a:pt x="413361" y="97975"/>
                </a:cubicBezTo>
                <a:cubicBezTo>
                  <a:pt x="416167" y="100932"/>
                  <a:pt x="418781" y="103940"/>
                  <a:pt x="421654" y="106676"/>
                </a:cubicBezTo>
                <a:cubicBezTo>
                  <a:pt x="446372" y="130213"/>
                  <a:pt x="467902" y="156374"/>
                  <a:pt x="487032" y="184632"/>
                </a:cubicBezTo>
                <a:cubicBezTo>
                  <a:pt x="492374" y="192525"/>
                  <a:pt x="493990" y="199495"/>
                  <a:pt x="489213" y="208238"/>
                </a:cubicBezTo>
                <a:cubicBezTo>
                  <a:pt x="484525" y="216819"/>
                  <a:pt x="481033" y="226053"/>
                  <a:pt x="476520" y="235738"/>
                </a:cubicBezTo>
                <a:cubicBezTo>
                  <a:pt x="472168" y="236089"/>
                  <a:pt x="471165" y="234358"/>
                  <a:pt x="472850" y="230703"/>
                </a:cubicBezTo>
                <a:cubicBezTo>
                  <a:pt x="476263" y="223297"/>
                  <a:pt x="479344" y="215738"/>
                  <a:pt x="482723" y="208315"/>
                </a:cubicBezTo>
                <a:cubicBezTo>
                  <a:pt x="486016" y="201080"/>
                  <a:pt x="485571" y="194961"/>
                  <a:pt x="480764" y="187916"/>
                </a:cubicBezTo>
                <a:cubicBezTo>
                  <a:pt x="459995" y="157475"/>
                  <a:pt x="437234" y="128912"/>
                  <a:pt x="408519" y="105475"/>
                </a:cubicBezTo>
                <a:cubicBezTo>
                  <a:pt x="403555" y="101425"/>
                  <a:pt x="403835" y="96489"/>
                  <a:pt x="408625" y="89203"/>
                </a:cubicBezTo>
                <a:cubicBezTo>
                  <a:pt x="412416" y="83438"/>
                  <a:pt x="416045" y="77562"/>
                  <a:pt x="419600" y="71648"/>
                </a:cubicBezTo>
                <a:cubicBezTo>
                  <a:pt x="421349" y="68739"/>
                  <a:pt x="422717" y="65537"/>
                  <a:pt x="418792" y="63179"/>
                </a:cubicBezTo>
                <a:cubicBezTo>
                  <a:pt x="414834" y="60801"/>
                  <a:pt x="413218" y="63883"/>
                  <a:pt x="410943" y="66417"/>
                </a:cubicBezTo>
                <a:cubicBezTo>
                  <a:pt x="407706" y="70022"/>
                  <a:pt x="404330" y="74045"/>
                  <a:pt x="400140" y="76155"/>
                </a:cubicBezTo>
                <a:cubicBezTo>
                  <a:pt x="381561" y="85507"/>
                  <a:pt x="360821" y="72312"/>
                  <a:pt x="360599" y="51379"/>
                </a:cubicBezTo>
                <a:cubicBezTo>
                  <a:pt x="360556" y="47292"/>
                  <a:pt x="360308" y="43152"/>
                  <a:pt x="360842" y="39128"/>
                </a:cubicBezTo>
                <a:cubicBezTo>
                  <a:pt x="361447" y="34568"/>
                  <a:pt x="362880" y="30159"/>
                  <a:pt x="369470" y="30960"/>
                </a:cubicBezTo>
                <a:cubicBezTo>
                  <a:pt x="368501" y="37551"/>
                  <a:pt x="365745" y="43300"/>
                  <a:pt x="365613" y="49108"/>
                </a:cubicBezTo>
                <a:cubicBezTo>
                  <a:pt x="365328" y="61659"/>
                  <a:pt x="377498" y="72522"/>
                  <a:pt x="389468" y="71608"/>
                </a:cubicBezTo>
                <a:cubicBezTo>
                  <a:pt x="401478" y="70690"/>
                  <a:pt x="410127" y="59637"/>
                  <a:pt x="408822" y="46613"/>
                </a:cubicBezTo>
                <a:cubicBezTo>
                  <a:pt x="408542" y="43819"/>
                  <a:pt x="407521" y="41100"/>
                  <a:pt x="406842" y="38347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209" name="Free-form: Shape 4208">
            <a:extLst>
              <a:ext uri="{FF2B5EF4-FFF2-40B4-BE49-F238E27FC236}">
                <a16:creationId xmlns:a16="http://schemas.microsoft.com/office/drawing/2014/main" id="{C909F7FC-BE54-6B76-3F28-14648C320704}"/>
              </a:ext>
            </a:extLst>
          </p:cNvPr>
          <p:cNvSpPr/>
          <p:nvPr/>
        </p:nvSpPr>
        <p:spPr>
          <a:xfrm>
            <a:off x="8628559" y="5345736"/>
            <a:ext cx="110769" cy="223239"/>
          </a:xfrm>
          <a:custGeom>
            <a:avLst/>
            <a:gdLst>
              <a:gd name="csX0" fmla="*/ 96534 w 100699"/>
              <a:gd name="csY0" fmla="*/ 202912 h 202945"/>
              <a:gd name="csX1" fmla="*/ 91036 w 100699"/>
              <a:gd name="csY1" fmla="*/ 196780 h 202945"/>
              <a:gd name="csX2" fmla="*/ 93357 w 100699"/>
              <a:gd name="csY2" fmla="*/ 178731 h 202945"/>
              <a:gd name="csX3" fmla="*/ 75903 w 100699"/>
              <a:gd name="csY3" fmla="*/ 106029 h 202945"/>
              <a:gd name="csX4" fmla="*/ 72780 w 100699"/>
              <a:gd name="csY4" fmla="*/ 102473 h 202945"/>
              <a:gd name="csX5" fmla="*/ 10982 w 100699"/>
              <a:gd name="csY5" fmla="*/ 41414 h 202945"/>
              <a:gd name="csX6" fmla="*/ 676 w 100699"/>
              <a:gd name="csY6" fmla="*/ 2936 h 202945"/>
              <a:gd name="csX7" fmla="*/ 5198 w 100699"/>
              <a:gd name="csY7" fmla="*/ 0 h 202945"/>
              <a:gd name="csX8" fmla="*/ 15435 w 100699"/>
              <a:gd name="csY8" fmla="*/ 35855 h 202945"/>
              <a:gd name="csX9" fmla="*/ 44498 w 100699"/>
              <a:gd name="csY9" fmla="*/ 63833 h 202945"/>
              <a:gd name="csX10" fmla="*/ 81385 w 100699"/>
              <a:gd name="csY10" fmla="*/ 106005 h 202945"/>
              <a:gd name="csX11" fmla="*/ 98950 w 100699"/>
              <a:gd name="csY11" fmla="*/ 190063 h 202945"/>
              <a:gd name="csX12" fmla="*/ 96534 w 100699"/>
              <a:gd name="csY12" fmla="*/ 202912 h 20294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</a:cxnLst>
            <a:rect l="l" t="t" r="r" b="b"/>
            <a:pathLst>
              <a:path w="100699" h="202945">
                <a:moveTo>
                  <a:pt x="96534" y="202912"/>
                </a:moveTo>
                <a:cubicBezTo>
                  <a:pt x="91699" y="203291"/>
                  <a:pt x="90650" y="200377"/>
                  <a:pt x="91036" y="196780"/>
                </a:cubicBezTo>
                <a:cubicBezTo>
                  <a:pt x="91685" y="190750"/>
                  <a:pt x="92933" y="184771"/>
                  <a:pt x="93357" y="178731"/>
                </a:cubicBezTo>
                <a:cubicBezTo>
                  <a:pt x="95183" y="152694"/>
                  <a:pt x="86034" y="129222"/>
                  <a:pt x="75903" y="106029"/>
                </a:cubicBezTo>
                <a:cubicBezTo>
                  <a:pt x="75300" y="104650"/>
                  <a:pt x="73904" y="103585"/>
                  <a:pt x="72780" y="102473"/>
                </a:cubicBezTo>
                <a:cubicBezTo>
                  <a:pt x="52199" y="82101"/>
                  <a:pt x="31673" y="61673"/>
                  <a:pt x="10982" y="41414"/>
                </a:cubicBezTo>
                <a:cubicBezTo>
                  <a:pt x="-119" y="30544"/>
                  <a:pt x="-1041" y="17093"/>
                  <a:pt x="676" y="2936"/>
                </a:cubicBezTo>
                <a:cubicBezTo>
                  <a:pt x="808" y="1852"/>
                  <a:pt x="2922" y="1010"/>
                  <a:pt x="5198" y="0"/>
                </a:cubicBezTo>
                <a:cubicBezTo>
                  <a:pt x="2043" y="13772"/>
                  <a:pt x="5665" y="25821"/>
                  <a:pt x="15435" y="35855"/>
                </a:cubicBezTo>
                <a:cubicBezTo>
                  <a:pt x="24811" y="45486"/>
                  <a:pt x="35301" y="54047"/>
                  <a:pt x="44498" y="63833"/>
                </a:cubicBezTo>
                <a:cubicBezTo>
                  <a:pt x="57293" y="77447"/>
                  <a:pt x="70760" y="90773"/>
                  <a:pt x="81385" y="106005"/>
                </a:cubicBezTo>
                <a:cubicBezTo>
                  <a:pt x="98896" y="131109"/>
                  <a:pt x="103759" y="159808"/>
                  <a:pt x="98950" y="190063"/>
                </a:cubicBezTo>
                <a:cubicBezTo>
                  <a:pt x="98311" y="194082"/>
                  <a:pt x="97697" y="198105"/>
                  <a:pt x="96534" y="202912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210" name="Free-form: Shape 4209">
            <a:extLst>
              <a:ext uri="{FF2B5EF4-FFF2-40B4-BE49-F238E27FC236}">
                <a16:creationId xmlns:a16="http://schemas.microsoft.com/office/drawing/2014/main" id="{F2CF336B-E62E-D334-B6B3-090535FB567B}"/>
              </a:ext>
            </a:extLst>
          </p:cNvPr>
          <p:cNvSpPr/>
          <p:nvPr/>
        </p:nvSpPr>
        <p:spPr>
          <a:xfrm>
            <a:off x="8215605" y="4784253"/>
            <a:ext cx="4524" cy="73732"/>
          </a:xfrm>
          <a:custGeom>
            <a:avLst/>
            <a:gdLst>
              <a:gd name="csX0" fmla="*/ 0 w 4113"/>
              <a:gd name="csY0" fmla="*/ 0 h 67029"/>
              <a:gd name="csX1" fmla="*/ 4113 w 4113"/>
              <a:gd name="csY1" fmla="*/ 4824 h 67029"/>
              <a:gd name="csX2" fmla="*/ 2662 w 4113"/>
              <a:gd name="csY2" fmla="*/ 67030 h 67029"/>
              <a:gd name="csX3" fmla="*/ 631 w 4113"/>
              <a:gd name="csY3" fmla="*/ 55883 h 67029"/>
              <a:gd name="csX4" fmla="*/ 0 w 4113"/>
              <a:gd name="csY4" fmla="*/ 0 h 6702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4113" h="67029">
                <a:moveTo>
                  <a:pt x="0" y="0"/>
                </a:moveTo>
                <a:cubicBezTo>
                  <a:pt x="1242" y="855"/>
                  <a:pt x="4111" y="2838"/>
                  <a:pt x="4113" y="4824"/>
                </a:cubicBezTo>
                <a:cubicBezTo>
                  <a:pt x="4135" y="25317"/>
                  <a:pt x="3695" y="45810"/>
                  <a:pt x="2662" y="67030"/>
                </a:cubicBezTo>
                <a:cubicBezTo>
                  <a:pt x="1483" y="63799"/>
                  <a:pt x="680" y="59846"/>
                  <a:pt x="631" y="55883"/>
                </a:cubicBezTo>
                <a:cubicBezTo>
                  <a:pt x="404" y="37633"/>
                  <a:pt x="388" y="19381"/>
                  <a:pt x="0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211" name="Free-form: Shape 4210">
            <a:extLst>
              <a:ext uri="{FF2B5EF4-FFF2-40B4-BE49-F238E27FC236}">
                <a16:creationId xmlns:a16="http://schemas.microsoft.com/office/drawing/2014/main" id="{F95961C5-28BA-70D8-6D26-C3B68EA1F962}"/>
              </a:ext>
            </a:extLst>
          </p:cNvPr>
          <p:cNvSpPr/>
          <p:nvPr/>
        </p:nvSpPr>
        <p:spPr>
          <a:xfrm>
            <a:off x="8762996" y="5664891"/>
            <a:ext cx="1282" cy="7022"/>
          </a:xfrm>
          <a:custGeom>
            <a:avLst/>
            <a:gdLst>
              <a:gd name="csX0" fmla="*/ 1130 w 1165"/>
              <a:gd name="csY0" fmla="*/ 6385 h 6384"/>
              <a:gd name="csX1" fmla="*/ 49 w 1165"/>
              <a:gd name="csY1" fmla="*/ 0 h 6384"/>
              <a:gd name="csX2" fmla="*/ 1130 w 1165"/>
              <a:gd name="csY2" fmla="*/ 6385 h 638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165" h="6384">
                <a:moveTo>
                  <a:pt x="1130" y="6385"/>
                </a:moveTo>
                <a:cubicBezTo>
                  <a:pt x="260" y="4748"/>
                  <a:pt x="-149" y="2599"/>
                  <a:pt x="49" y="0"/>
                </a:cubicBezTo>
                <a:cubicBezTo>
                  <a:pt x="969" y="1658"/>
                  <a:pt x="1279" y="3765"/>
                  <a:pt x="1130" y="6385"/>
                </a:cubicBezTo>
                <a:close/>
              </a:path>
            </a:pathLst>
          </a:custGeom>
          <a:solidFill>
            <a:srgbClr val="939B9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212" name="Free-form: Shape 4211">
            <a:extLst>
              <a:ext uri="{FF2B5EF4-FFF2-40B4-BE49-F238E27FC236}">
                <a16:creationId xmlns:a16="http://schemas.microsoft.com/office/drawing/2014/main" id="{AF4F3A7C-0893-ABC7-ACCB-9BF86EECD591}"/>
              </a:ext>
            </a:extLst>
          </p:cNvPr>
          <p:cNvSpPr/>
          <p:nvPr/>
        </p:nvSpPr>
        <p:spPr>
          <a:xfrm>
            <a:off x="8727024" y="5575236"/>
            <a:ext cx="6582" cy="3014"/>
          </a:xfrm>
          <a:custGeom>
            <a:avLst/>
            <a:gdLst>
              <a:gd name="csX0" fmla="*/ 5985 w 5984"/>
              <a:gd name="csY0" fmla="*/ 1832 h 2740"/>
              <a:gd name="csX1" fmla="*/ 0 w 5984"/>
              <a:gd name="csY1" fmla="*/ 2740 h 2740"/>
              <a:gd name="csX2" fmla="*/ 4930 w 5984"/>
              <a:gd name="csY2" fmla="*/ 0 h 2740"/>
              <a:gd name="csX3" fmla="*/ 5985 w 5984"/>
              <a:gd name="csY3" fmla="*/ 1832 h 274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</a:cxnLst>
            <a:rect l="l" t="t" r="r" b="b"/>
            <a:pathLst>
              <a:path w="5984" h="2740">
                <a:moveTo>
                  <a:pt x="5985" y="1832"/>
                </a:moveTo>
                <a:cubicBezTo>
                  <a:pt x="3992" y="2553"/>
                  <a:pt x="1996" y="2646"/>
                  <a:pt x="0" y="2740"/>
                </a:cubicBezTo>
                <a:cubicBezTo>
                  <a:pt x="1398" y="1830"/>
                  <a:pt x="2796" y="920"/>
                  <a:pt x="4930" y="0"/>
                </a:cubicBezTo>
                <a:cubicBezTo>
                  <a:pt x="5772" y="394"/>
                  <a:pt x="5877" y="799"/>
                  <a:pt x="5985" y="1832"/>
                </a:cubicBezTo>
                <a:close/>
              </a:path>
            </a:pathLst>
          </a:custGeom>
          <a:solidFill>
            <a:srgbClr val="8E9395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213" name="Free-form: Shape 4212">
            <a:extLst>
              <a:ext uri="{FF2B5EF4-FFF2-40B4-BE49-F238E27FC236}">
                <a16:creationId xmlns:a16="http://schemas.microsoft.com/office/drawing/2014/main" id="{3BD7DFFD-15BA-2E45-C304-4F75247FA9E0}"/>
              </a:ext>
            </a:extLst>
          </p:cNvPr>
          <p:cNvSpPr/>
          <p:nvPr/>
        </p:nvSpPr>
        <p:spPr>
          <a:xfrm>
            <a:off x="8170560" y="4670295"/>
            <a:ext cx="3201" cy="6806"/>
          </a:xfrm>
          <a:custGeom>
            <a:avLst/>
            <a:gdLst>
              <a:gd name="csX0" fmla="*/ 815 w 2910"/>
              <a:gd name="csY0" fmla="*/ 0 h 6187"/>
              <a:gd name="csX1" fmla="*/ 113 w 2910"/>
              <a:gd name="csY1" fmla="*/ 6187 h 6187"/>
              <a:gd name="csX2" fmla="*/ 815 w 2910"/>
              <a:gd name="csY2" fmla="*/ 0 h 618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2910" h="6187">
                <a:moveTo>
                  <a:pt x="815" y="0"/>
                </a:moveTo>
                <a:cubicBezTo>
                  <a:pt x="4660" y="1891"/>
                  <a:pt x="2480" y="3840"/>
                  <a:pt x="113" y="6187"/>
                </a:cubicBezTo>
                <a:cubicBezTo>
                  <a:pt x="-172" y="4565"/>
                  <a:pt x="89" y="2579"/>
                  <a:pt x="815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214" name="Free-form: Shape 4213">
            <a:extLst>
              <a:ext uri="{FF2B5EF4-FFF2-40B4-BE49-F238E27FC236}">
                <a16:creationId xmlns:a16="http://schemas.microsoft.com/office/drawing/2014/main" id="{AAFE4539-9FA2-C398-B7C0-9F24531B33F6}"/>
              </a:ext>
            </a:extLst>
          </p:cNvPr>
          <p:cNvSpPr/>
          <p:nvPr/>
        </p:nvSpPr>
        <p:spPr>
          <a:xfrm>
            <a:off x="8212202" y="4932350"/>
            <a:ext cx="932" cy="4433"/>
          </a:xfrm>
          <a:custGeom>
            <a:avLst/>
            <a:gdLst>
              <a:gd name="csX0" fmla="*/ 106 w 847"/>
              <a:gd name="csY0" fmla="*/ 0 h 4030"/>
              <a:gd name="csX1" fmla="*/ 732 w 847"/>
              <a:gd name="csY1" fmla="*/ 4031 h 4030"/>
              <a:gd name="csX2" fmla="*/ 106 w 847"/>
              <a:gd name="csY2" fmla="*/ 0 h 403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7" h="4030">
                <a:moveTo>
                  <a:pt x="106" y="0"/>
                </a:moveTo>
                <a:cubicBezTo>
                  <a:pt x="770" y="990"/>
                  <a:pt x="1013" y="2346"/>
                  <a:pt x="732" y="4031"/>
                </a:cubicBezTo>
                <a:cubicBezTo>
                  <a:pt x="34" y="3029"/>
                  <a:pt x="-141" y="1697"/>
                  <a:pt x="106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215" name="Free-form: Shape 4214">
            <a:extLst>
              <a:ext uri="{FF2B5EF4-FFF2-40B4-BE49-F238E27FC236}">
                <a16:creationId xmlns:a16="http://schemas.microsoft.com/office/drawing/2014/main" id="{A4BA6F98-1EF0-EB3A-DC0D-C50EBE2D39EE}"/>
              </a:ext>
            </a:extLst>
          </p:cNvPr>
          <p:cNvSpPr/>
          <p:nvPr/>
        </p:nvSpPr>
        <p:spPr>
          <a:xfrm>
            <a:off x="8206970" y="4975661"/>
            <a:ext cx="851" cy="4393"/>
          </a:xfrm>
          <a:custGeom>
            <a:avLst/>
            <a:gdLst>
              <a:gd name="csX0" fmla="*/ 195 w 774"/>
              <a:gd name="csY0" fmla="*/ 0 h 3994"/>
              <a:gd name="csX1" fmla="*/ 575 w 774"/>
              <a:gd name="csY1" fmla="*/ 3994 h 3994"/>
              <a:gd name="csX2" fmla="*/ 195 w 774"/>
              <a:gd name="csY2" fmla="*/ 0 h 399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774" h="3994">
                <a:moveTo>
                  <a:pt x="195" y="0"/>
                </a:moveTo>
                <a:cubicBezTo>
                  <a:pt x="794" y="1011"/>
                  <a:pt x="941" y="2348"/>
                  <a:pt x="575" y="3994"/>
                </a:cubicBezTo>
                <a:cubicBezTo>
                  <a:pt x="-44" y="2978"/>
                  <a:pt x="-151" y="1652"/>
                  <a:pt x="195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216" name="Free-form: Shape 4215">
            <a:extLst>
              <a:ext uri="{FF2B5EF4-FFF2-40B4-BE49-F238E27FC236}">
                <a16:creationId xmlns:a16="http://schemas.microsoft.com/office/drawing/2014/main" id="{4F4AA8CB-70B8-30B5-7BDF-C21AFC455427}"/>
              </a:ext>
            </a:extLst>
          </p:cNvPr>
          <p:cNvSpPr/>
          <p:nvPr/>
        </p:nvSpPr>
        <p:spPr>
          <a:xfrm>
            <a:off x="8214929" y="4899910"/>
            <a:ext cx="952" cy="4394"/>
          </a:xfrm>
          <a:custGeom>
            <a:avLst/>
            <a:gdLst>
              <a:gd name="csX0" fmla="*/ 71 w 865"/>
              <a:gd name="csY0" fmla="*/ 0 h 3995"/>
              <a:gd name="csX1" fmla="*/ 783 w 865"/>
              <a:gd name="csY1" fmla="*/ 3996 h 3995"/>
              <a:gd name="csX2" fmla="*/ 71 w 865"/>
              <a:gd name="csY2" fmla="*/ 0 h 399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65" h="3995">
                <a:moveTo>
                  <a:pt x="71" y="0"/>
                </a:moveTo>
                <a:cubicBezTo>
                  <a:pt x="740" y="963"/>
                  <a:pt x="1018" y="2311"/>
                  <a:pt x="783" y="3996"/>
                </a:cubicBezTo>
                <a:cubicBezTo>
                  <a:pt x="73" y="3017"/>
                  <a:pt x="-124" y="1701"/>
                  <a:pt x="71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217" name="Free-form: Shape 4216">
            <a:extLst>
              <a:ext uri="{FF2B5EF4-FFF2-40B4-BE49-F238E27FC236}">
                <a16:creationId xmlns:a16="http://schemas.microsoft.com/office/drawing/2014/main" id="{B7B68C7D-527E-3E32-8293-B421DFC369BE}"/>
              </a:ext>
            </a:extLst>
          </p:cNvPr>
          <p:cNvSpPr/>
          <p:nvPr/>
        </p:nvSpPr>
        <p:spPr>
          <a:xfrm>
            <a:off x="8358076" y="4783781"/>
            <a:ext cx="205986" cy="516453"/>
          </a:xfrm>
          <a:custGeom>
            <a:avLst/>
            <a:gdLst>
              <a:gd name="csX0" fmla="*/ 120604 w 187260"/>
              <a:gd name="csY0" fmla="*/ 222968 h 469503"/>
              <a:gd name="csX1" fmla="*/ 187261 w 187260"/>
              <a:gd name="csY1" fmla="*/ 469503 h 469503"/>
              <a:gd name="csX2" fmla="*/ 1253 w 187260"/>
              <a:gd name="csY2" fmla="*/ 466078 h 469503"/>
              <a:gd name="csX3" fmla="*/ 8 w 187260"/>
              <a:gd name="csY3" fmla="*/ 458101 h 469503"/>
              <a:gd name="csX4" fmla="*/ 4383 w 187260"/>
              <a:gd name="csY4" fmla="*/ 351443 h 469503"/>
              <a:gd name="csX5" fmla="*/ 4615 w 187260"/>
              <a:gd name="csY5" fmla="*/ 346536 h 469503"/>
              <a:gd name="csX6" fmla="*/ 7935 w 187260"/>
              <a:gd name="csY6" fmla="*/ 233648 h 469503"/>
              <a:gd name="csX7" fmla="*/ 10461 w 187260"/>
              <a:gd name="csY7" fmla="*/ 128112 h 469503"/>
              <a:gd name="csX8" fmla="*/ 12461 w 187260"/>
              <a:gd name="csY8" fmla="*/ 12750 h 469503"/>
              <a:gd name="csX9" fmla="*/ 13165 w 187260"/>
              <a:gd name="csY9" fmla="*/ 4285 h 469503"/>
              <a:gd name="csX10" fmla="*/ 102327 w 187260"/>
              <a:gd name="csY10" fmla="*/ 0 h 469503"/>
              <a:gd name="csX11" fmla="*/ 106229 w 187260"/>
              <a:gd name="csY11" fmla="*/ 111321 h 469503"/>
              <a:gd name="csX12" fmla="*/ 120604 w 187260"/>
              <a:gd name="csY12" fmla="*/ 222968 h 46950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</a:cxnLst>
            <a:rect l="l" t="t" r="r" b="b"/>
            <a:pathLst>
              <a:path w="187260" h="469503">
                <a:moveTo>
                  <a:pt x="120604" y="222968"/>
                </a:moveTo>
                <a:cubicBezTo>
                  <a:pt x="135383" y="307129"/>
                  <a:pt x="159464" y="387725"/>
                  <a:pt x="187261" y="469503"/>
                </a:cubicBezTo>
                <a:cubicBezTo>
                  <a:pt x="124460" y="468347"/>
                  <a:pt x="63286" y="467220"/>
                  <a:pt x="1253" y="466078"/>
                </a:cubicBezTo>
                <a:cubicBezTo>
                  <a:pt x="818" y="463442"/>
                  <a:pt x="-95" y="460752"/>
                  <a:pt x="8" y="458101"/>
                </a:cubicBezTo>
                <a:cubicBezTo>
                  <a:pt x="1383" y="422545"/>
                  <a:pt x="2900" y="386994"/>
                  <a:pt x="4383" y="351443"/>
                </a:cubicBezTo>
                <a:cubicBezTo>
                  <a:pt x="4451" y="349807"/>
                  <a:pt x="4566" y="348172"/>
                  <a:pt x="4615" y="346536"/>
                </a:cubicBezTo>
                <a:cubicBezTo>
                  <a:pt x="5732" y="308907"/>
                  <a:pt x="6921" y="271280"/>
                  <a:pt x="7935" y="233648"/>
                </a:cubicBezTo>
                <a:cubicBezTo>
                  <a:pt x="8883" y="198472"/>
                  <a:pt x="9752" y="163293"/>
                  <a:pt x="10461" y="128112"/>
                </a:cubicBezTo>
                <a:cubicBezTo>
                  <a:pt x="11237" y="89660"/>
                  <a:pt x="11781" y="51204"/>
                  <a:pt x="12461" y="12750"/>
                </a:cubicBezTo>
                <a:cubicBezTo>
                  <a:pt x="12503" y="10363"/>
                  <a:pt x="12848" y="7981"/>
                  <a:pt x="13165" y="4285"/>
                </a:cubicBezTo>
                <a:cubicBezTo>
                  <a:pt x="42856" y="2858"/>
                  <a:pt x="72082" y="1454"/>
                  <a:pt x="102327" y="0"/>
                </a:cubicBezTo>
                <a:cubicBezTo>
                  <a:pt x="103499" y="37348"/>
                  <a:pt x="103207" y="74470"/>
                  <a:pt x="106229" y="111321"/>
                </a:cubicBezTo>
                <a:cubicBezTo>
                  <a:pt x="109263" y="148326"/>
                  <a:pt x="115599" y="185060"/>
                  <a:pt x="120604" y="222968"/>
                </a:cubicBezTo>
                <a:close/>
              </a:path>
            </a:pathLst>
          </a:custGeom>
          <a:solidFill>
            <a:srgbClr val="FDFDFD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218" name="Free-form: Shape 4217">
            <a:extLst>
              <a:ext uri="{FF2B5EF4-FFF2-40B4-BE49-F238E27FC236}">
                <a16:creationId xmlns:a16="http://schemas.microsoft.com/office/drawing/2014/main" id="{7A4411AE-322F-3665-4F86-7BAEE9F5C459}"/>
              </a:ext>
            </a:extLst>
          </p:cNvPr>
          <p:cNvSpPr/>
          <p:nvPr/>
        </p:nvSpPr>
        <p:spPr>
          <a:xfrm>
            <a:off x="8356633" y="5348551"/>
            <a:ext cx="344637" cy="217768"/>
          </a:xfrm>
          <a:custGeom>
            <a:avLst/>
            <a:gdLst>
              <a:gd name="csX0" fmla="*/ 160234 w 313306"/>
              <a:gd name="csY0" fmla="*/ 197876 h 197971"/>
              <a:gd name="csX1" fmla="*/ 544 w 313306"/>
              <a:gd name="csY1" fmla="*/ 197972 h 197971"/>
              <a:gd name="csX2" fmla="*/ 3466 w 313306"/>
              <a:gd name="csY2" fmla="*/ 104326 h 197971"/>
              <a:gd name="csX3" fmla="*/ 0 w 313306"/>
              <a:gd name="csY3" fmla="*/ 10720 h 197971"/>
              <a:gd name="csX4" fmla="*/ 5445 w 313306"/>
              <a:gd name="csY4" fmla="*/ 9282 h 197971"/>
              <a:gd name="csX5" fmla="*/ 71623 w 313306"/>
              <a:gd name="csY5" fmla="*/ 6885 h 197971"/>
              <a:gd name="csX6" fmla="*/ 187887 w 313306"/>
              <a:gd name="csY6" fmla="*/ 233 h 197971"/>
              <a:gd name="csX7" fmla="*/ 215297 w 313306"/>
              <a:gd name="csY7" fmla="*/ 163 h 197971"/>
              <a:gd name="csX8" fmla="*/ 243629 w 313306"/>
              <a:gd name="csY8" fmla="*/ 61389 h 197971"/>
              <a:gd name="csX9" fmla="*/ 270660 w 313306"/>
              <a:gd name="csY9" fmla="*/ 86342 h 197971"/>
              <a:gd name="csX10" fmla="*/ 313142 w 313306"/>
              <a:gd name="csY10" fmla="*/ 170098 h 197971"/>
              <a:gd name="csX11" fmla="*/ 313291 w 313306"/>
              <a:gd name="csY11" fmla="*/ 176231 h 197971"/>
              <a:gd name="csX12" fmla="*/ 312654 w 313306"/>
              <a:gd name="csY12" fmla="*/ 180738 h 197971"/>
              <a:gd name="csX13" fmla="*/ 279655 w 313306"/>
              <a:gd name="csY13" fmla="*/ 186226 h 197971"/>
              <a:gd name="csX14" fmla="*/ 167436 w 313306"/>
              <a:gd name="csY14" fmla="*/ 196805 h 197971"/>
              <a:gd name="csX15" fmla="*/ 160234 w 313306"/>
              <a:gd name="csY15" fmla="*/ 197876 h 19797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</a:cxnLst>
            <a:rect l="l" t="t" r="r" b="b"/>
            <a:pathLst>
              <a:path w="313306" h="197971">
                <a:moveTo>
                  <a:pt x="160234" y="197876"/>
                </a:moveTo>
                <a:cubicBezTo>
                  <a:pt x="106384" y="197972"/>
                  <a:pt x="53682" y="197972"/>
                  <a:pt x="544" y="197972"/>
                </a:cubicBezTo>
                <a:cubicBezTo>
                  <a:pt x="1602" y="166763"/>
                  <a:pt x="3550" y="135542"/>
                  <a:pt x="3466" y="104326"/>
                </a:cubicBezTo>
                <a:cubicBezTo>
                  <a:pt x="3383" y="73323"/>
                  <a:pt x="1255" y="42326"/>
                  <a:pt x="0" y="10720"/>
                </a:cubicBezTo>
                <a:cubicBezTo>
                  <a:pt x="1689" y="10255"/>
                  <a:pt x="3551" y="9355"/>
                  <a:pt x="5445" y="9282"/>
                </a:cubicBezTo>
                <a:cubicBezTo>
                  <a:pt x="27503" y="8435"/>
                  <a:pt x="49582" y="8030"/>
                  <a:pt x="71623" y="6885"/>
                </a:cubicBezTo>
                <a:cubicBezTo>
                  <a:pt x="110388" y="4872"/>
                  <a:pt x="149126" y="2333"/>
                  <a:pt x="187887" y="233"/>
                </a:cubicBezTo>
                <a:cubicBezTo>
                  <a:pt x="196749" y="-247"/>
                  <a:pt x="205660" y="163"/>
                  <a:pt x="215297" y="163"/>
                </a:cubicBezTo>
                <a:cubicBezTo>
                  <a:pt x="215450" y="25550"/>
                  <a:pt x="226120" y="45122"/>
                  <a:pt x="243629" y="61389"/>
                </a:cubicBezTo>
                <a:cubicBezTo>
                  <a:pt x="252615" y="69739"/>
                  <a:pt x="261099" y="78715"/>
                  <a:pt x="270660" y="86342"/>
                </a:cubicBezTo>
                <a:cubicBezTo>
                  <a:pt x="297676" y="107892"/>
                  <a:pt x="310731" y="136225"/>
                  <a:pt x="313142" y="170098"/>
                </a:cubicBezTo>
                <a:cubicBezTo>
                  <a:pt x="313287" y="172136"/>
                  <a:pt x="313335" y="174188"/>
                  <a:pt x="313291" y="176231"/>
                </a:cubicBezTo>
                <a:cubicBezTo>
                  <a:pt x="313265" y="177429"/>
                  <a:pt x="312966" y="178621"/>
                  <a:pt x="312654" y="180738"/>
                </a:cubicBezTo>
                <a:cubicBezTo>
                  <a:pt x="302343" y="185396"/>
                  <a:pt x="290736" y="185049"/>
                  <a:pt x="279655" y="186226"/>
                </a:cubicBezTo>
                <a:cubicBezTo>
                  <a:pt x="242295" y="190193"/>
                  <a:pt x="204847" y="193324"/>
                  <a:pt x="167436" y="196805"/>
                </a:cubicBezTo>
                <a:cubicBezTo>
                  <a:pt x="165405" y="196994"/>
                  <a:pt x="163399" y="197449"/>
                  <a:pt x="160234" y="197876"/>
                </a:cubicBezTo>
                <a:close/>
              </a:path>
            </a:pathLst>
          </a:custGeom>
          <a:solidFill>
            <a:srgbClr val="FDFEFE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219" name="Free-form: Shape 4218">
            <a:extLst>
              <a:ext uri="{FF2B5EF4-FFF2-40B4-BE49-F238E27FC236}">
                <a16:creationId xmlns:a16="http://schemas.microsoft.com/office/drawing/2014/main" id="{6F89196D-C0D0-B298-8C0C-D23CEF9B40A2}"/>
              </a:ext>
            </a:extLst>
          </p:cNvPr>
          <p:cNvSpPr/>
          <p:nvPr/>
        </p:nvSpPr>
        <p:spPr>
          <a:xfrm>
            <a:off x="8369632" y="4118485"/>
            <a:ext cx="180605" cy="437829"/>
          </a:xfrm>
          <a:custGeom>
            <a:avLst/>
            <a:gdLst>
              <a:gd name="csX0" fmla="*/ 22609 w 164186"/>
              <a:gd name="csY0" fmla="*/ 398026 h 398026"/>
              <a:gd name="csX1" fmla="*/ 16884 w 164186"/>
              <a:gd name="csY1" fmla="*/ 390515 h 398026"/>
              <a:gd name="csX2" fmla="*/ 9661 w 164186"/>
              <a:gd name="csY2" fmla="*/ 328443 h 398026"/>
              <a:gd name="csX3" fmla="*/ 534 w 164186"/>
              <a:gd name="csY3" fmla="*/ 196369 h 398026"/>
              <a:gd name="csX4" fmla="*/ 1243 w 164186"/>
              <a:gd name="csY4" fmla="*/ 82293 h 398026"/>
              <a:gd name="csX5" fmla="*/ 2245 w 164186"/>
              <a:gd name="csY5" fmla="*/ 43023 h 398026"/>
              <a:gd name="csX6" fmla="*/ 4587 w 164186"/>
              <a:gd name="csY6" fmla="*/ 0 h 398026"/>
              <a:gd name="csX7" fmla="*/ 12341 w 164186"/>
              <a:gd name="csY7" fmla="*/ 3872 h 398026"/>
              <a:gd name="csX8" fmla="*/ 85914 w 164186"/>
              <a:gd name="csY8" fmla="*/ 78943 h 398026"/>
              <a:gd name="csX9" fmla="*/ 87893 w 164186"/>
              <a:gd name="csY9" fmla="*/ 99117 h 398026"/>
              <a:gd name="csX10" fmla="*/ 35459 w 164186"/>
              <a:gd name="csY10" fmla="*/ 207346 h 398026"/>
              <a:gd name="csX11" fmla="*/ 32223 w 164186"/>
              <a:gd name="csY11" fmla="*/ 213959 h 398026"/>
              <a:gd name="csX12" fmla="*/ 39509 w 164186"/>
              <a:gd name="csY12" fmla="*/ 242056 h 398026"/>
              <a:gd name="csX13" fmla="*/ 69474 w 164186"/>
              <a:gd name="csY13" fmla="*/ 237019 h 398026"/>
              <a:gd name="csX14" fmla="*/ 89101 w 164186"/>
              <a:gd name="csY14" fmla="*/ 208870 h 398026"/>
              <a:gd name="csX15" fmla="*/ 121716 w 164186"/>
              <a:gd name="csY15" fmla="*/ 158357 h 398026"/>
              <a:gd name="csX16" fmla="*/ 129330 w 164186"/>
              <a:gd name="csY16" fmla="*/ 148165 h 398026"/>
              <a:gd name="csX17" fmla="*/ 137171 w 164186"/>
              <a:gd name="csY17" fmla="*/ 159989 h 398026"/>
              <a:gd name="csX18" fmla="*/ 163812 w 164186"/>
              <a:gd name="csY18" fmla="*/ 273175 h 398026"/>
              <a:gd name="csX19" fmla="*/ 118151 w 164186"/>
              <a:gd name="csY19" fmla="*/ 383442 h 398026"/>
              <a:gd name="csX20" fmla="*/ 92325 w 164186"/>
              <a:gd name="csY20" fmla="*/ 395173 h 398026"/>
              <a:gd name="csX21" fmla="*/ 22609 w 164186"/>
              <a:gd name="csY21" fmla="*/ 398026 h 39802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</a:cxnLst>
            <a:rect l="l" t="t" r="r" b="b"/>
            <a:pathLst>
              <a:path w="164186" h="398026">
                <a:moveTo>
                  <a:pt x="22609" y="398026"/>
                </a:moveTo>
                <a:cubicBezTo>
                  <a:pt x="19898" y="395489"/>
                  <a:pt x="17229" y="393154"/>
                  <a:pt x="16884" y="390515"/>
                </a:cubicBezTo>
                <a:cubicBezTo>
                  <a:pt x="14183" y="369861"/>
                  <a:pt x="11326" y="349196"/>
                  <a:pt x="9661" y="328443"/>
                </a:cubicBezTo>
                <a:cubicBezTo>
                  <a:pt x="6132" y="284452"/>
                  <a:pt x="2125" y="240448"/>
                  <a:pt x="534" y="196369"/>
                </a:cubicBezTo>
                <a:cubicBezTo>
                  <a:pt x="-837" y="158401"/>
                  <a:pt x="816" y="120322"/>
                  <a:pt x="1243" y="82293"/>
                </a:cubicBezTo>
                <a:cubicBezTo>
                  <a:pt x="1389" y="69201"/>
                  <a:pt x="1708" y="56105"/>
                  <a:pt x="2245" y="43023"/>
                </a:cubicBezTo>
                <a:cubicBezTo>
                  <a:pt x="2815" y="29160"/>
                  <a:pt x="3738" y="15312"/>
                  <a:pt x="4587" y="0"/>
                </a:cubicBezTo>
                <a:cubicBezTo>
                  <a:pt x="7809" y="1586"/>
                  <a:pt x="10279" y="2436"/>
                  <a:pt x="12341" y="3872"/>
                </a:cubicBezTo>
                <a:cubicBezTo>
                  <a:pt x="41601" y="24248"/>
                  <a:pt x="64069" y="51269"/>
                  <a:pt x="85914" y="78943"/>
                </a:cubicBezTo>
                <a:cubicBezTo>
                  <a:pt x="91106" y="85520"/>
                  <a:pt x="91706" y="91406"/>
                  <a:pt x="87893" y="99117"/>
                </a:cubicBezTo>
                <a:cubicBezTo>
                  <a:pt x="70127" y="135051"/>
                  <a:pt x="52890" y="171246"/>
                  <a:pt x="35459" y="207346"/>
                </a:cubicBezTo>
                <a:cubicBezTo>
                  <a:pt x="34391" y="209557"/>
                  <a:pt x="33130" y="211686"/>
                  <a:pt x="32223" y="213959"/>
                </a:cubicBezTo>
                <a:cubicBezTo>
                  <a:pt x="27471" y="225873"/>
                  <a:pt x="30154" y="236086"/>
                  <a:pt x="39509" y="242056"/>
                </a:cubicBezTo>
                <a:cubicBezTo>
                  <a:pt x="48880" y="248038"/>
                  <a:pt x="61705" y="246477"/>
                  <a:pt x="69474" y="237019"/>
                </a:cubicBezTo>
                <a:cubicBezTo>
                  <a:pt x="76712" y="228205"/>
                  <a:pt x="82824" y="218436"/>
                  <a:pt x="89101" y="208870"/>
                </a:cubicBezTo>
                <a:cubicBezTo>
                  <a:pt x="100096" y="192114"/>
                  <a:pt x="110806" y="175170"/>
                  <a:pt x="121716" y="158357"/>
                </a:cubicBezTo>
                <a:cubicBezTo>
                  <a:pt x="123679" y="155333"/>
                  <a:pt x="126029" y="152559"/>
                  <a:pt x="129330" y="148165"/>
                </a:cubicBezTo>
                <a:cubicBezTo>
                  <a:pt x="132450" y="152828"/>
                  <a:pt x="135175" y="156216"/>
                  <a:pt x="137171" y="159989"/>
                </a:cubicBezTo>
                <a:cubicBezTo>
                  <a:pt x="155891" y="195388"/>
                  <a:pt x="166343" y="232905"/>
                  <a:pt x="163812" y="273175"/>
                </a:cubicBezTo>
                <a:cubicBezTo>
                  <a:pt x="161183" y="314982"/>
                  <a:pt x="144984" y="351430"/>
                  <a:pt x="118151" y="383442"/>
                </a:cubicBezTo>
                <a:cubicBezTo>
                  <a:pt x="111214" y="391718"/>
                  <a:pt x="102452" y="394716"/>
                  <a:pt x="92325" y="395173"/>
                </a:cubicBezTo>
                <a:cubicBezTo>
                  <a:pt x="69461" y="396207"/>
                  <a:pt x="46593" y="397123"/>
                  <a:pt x="22609" y="398026"/>
                </a:cubicBezTo>
                <a:close/>
              </a:path>
            </a:pathLst>
          </a:custGeom>
          <a:solidFill>
            <a:srgbClr val="FCFDFD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220" name="Free-form: Shape 4219">
            <a:extLst>
              <a:ext uri="{FF2B5EF4-FFF2-40B4-BE49-F238E27FC236}">
                <a16:creationId xmlns:a16="http://schemas.microsoft.com/office/drawing/2014/main" id="{B18CE18B-0A60-EAE6-2E0E-8B8DC46B5E71}"/>
              </a:ext>
            </a:extLst>
          </p:cNvPr>
          <p:cNvSpPr/>
          <p:nvPr/>
        </p:nvSpPr>
        <p:spPr>
          <a:xfrm>
            <a:off x="8352563" y="5601692"/>
            <a:ext cx="370078" cy="78603"/>
          </a:xfrm>
          <a:custGeom>
            <a:avLst/>
            <a:gdLst>
              <a:gd name="csX0" fmla="*/ 105937 w 336434"/>
              <a:gd name="csY0" fmla="*/ 71458 h 71457"/>
              <a:gd name="csX1" fmla="*/ 3534 w 336434"/>
              <a:gd name="csY1" fmla="*/ 69115 h 71457"/>
              <a:gd name="csX2" fmla="*/ 1296 w 336434"/>
              <a:gd name="csY2" fmla="*/ 17910 h 71457"/>
              <a:gd name="csX3" fmla="*/ 14032 w 336434"/>
              <a:gd name="csY3" fmla="*/ 17908 h 71457"/>
              <a:gd name="csX4" fmla="*/ 102444 w 336434"/>
              <a:gd name="csY4" fmla="*/ 17433 h 71457"/>
              <a:gd name="csX5" fmla="*/ 284561 w 336434"/>
              <a:gd name="csY5" fmla="*/ 3564 h 71457"/>
              <a:gd name="csX6" fmla="*/ 311323 w 336434"/>
              <a:gd name="csY6" fmla="*/ 224 h 71457"/>
              <a:gd name="csX7" fmla="*/ 324313 w 336434"/>
              <a:gd name="csY7" fmla="*/ 6639 h 71457"/>
              <a:gd name="csX8" fmla="*/ 336434 w 336434"/>
              <a:gd name="csY8" fmla="*/ 46484 h 71457"/>
              <a:gd name="csX9" fmla="*/ 105937 w 336434"/>
              <a:gd name="csY9" fmla="*/ 71458 h 7145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336434" h="71457">
                <a:moveTo>
                  <a:pt x="105937" y="71458"/>
                </a:moveTo>
                <a:cubicBezTo>
                  <a:pt x="70820" y="70678"/>
                  <a:pt x="36930" y="69891"/>
                  <a:pt x="3534" y="69115"/>
                </a:cubicBezTo>
                <a:cubicBezTo>
                  <a:pt x="-81" y="59433"/>
                  <a:pt x="-1094" y="35337"/>
                  <a:pt x="1296" y="17910"/>
                </a:cubicBezTo>
                <a:cubicBezTo>
                  <a:pt x="5366" y="17910"/>
                  <a:pt x="9699" y="17923"/>
                  <a:pt x="14032" y="17908"/>
                </a:cubicBezTo>
                <a:cubicBezTo>
                  <a:pt x="43505" y="17812"/>
                  <a:pt x="73011" y="18557"/>
                  <a:pt x="102444" y="17433"/>
                </a:cubicBezTo>
                <a:cubicBezTo>
                  <a:pt x="163306" y="15109"/>
                  <a:pt x="224166" y="12264"/>
                  <a:pt x="284561" y="3564"/>
                </a:cubicBezTo>
                <a:cubicBezTo>
                  <a:pt x="293458" y="2283"/>
                  <a:pt x="302438" y="1575"/>
                  <a:pt x="311323" y="224"/>
                </a:cubicBezTo>
                <a:cubicBezTo>
                  <a:pt x="317371" y="-696"/>
                  <a:pt x="321247" y="1177"/>
                  <a:pt x="324313" y="6639"/>
                </a:cubicBezTo>
                <a:cubicBezTo>
                  <a:pt x="330512" y="17683"/>
                  <a:pt x="335236" y="31679"/>
                  <a:pt x="336434" y="46484"/>
                </a:cubicBezTo>
                <a:cubicBezTo>
                  <a:pt x="261124" y="64059"/>
                  <a:pt x="184356" y="69587"/>
                  <a:pt x="105937" y="71458"/>
                </a:cubicBezTo>
                <a:close/>
              </a:path>
            </a:pathLst>
          </a:custGeom>
          <a:solidFill>
            <a:srgbClr val="FCFCFC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221" name="Free-form: Shape 4220">
            <a:extLst>
              <a:ext uri="{FF2B5EF4-FFF2-40B4-BE49-F238E27FC236}">
                <a16:creationId xmlns:a16="http://schemas.microsoft.com/office/drawing/2014/main" id="{B1EEFFC5-80DD-C20C-177D-3DA218112859}"/>
              </a:ext>
            </a:extLst>
          </p:cNvPr>
          <p:cNvSpPr/>
          <p:nvPr/>
        </p:nvSpPr>
        <p:spPr>
          <a:xfrm>
            <a:off x="8368967" y="4596515"/>
            <a:ext cx="146026" cy="76347"/>
          </a:xfrm>
          <a:custGeom>
            <a:avLst/>
            <a:gdLst>
              <a:gd name="csX0" fmla="*/ 5051 w 132751"/>
              <a:gd name="csY0" fmla="*/ 7534 h 69406"/>
              <a:gd name="csX1" fmla="*/ 10615 w 132751"/>
              <a:gd name="csY1" fmla="*/ 3077 h 69406"/>
              <a:gd name="csX2" fmla="*/ 26541 w 132751"/>
              <a:gd name="csY2" fmla="*/ 2752 h 69406"/>
              <a:gd name="csX3" fmla="*/ 87728 w 132751"/>
              <a:gd name="csY3" fmla="*/ 89 h 69406"/>
              <a:gd name="csX4" fmla="*/ 101400 w 132751"/>
              <a:gd name="csY4" fmla="*/ 62 h 69406"/>
              <a:gd name="csX5" fmla="*/ 102924 w 132751"/>
              <a:gd name="csY5" fmla="*/ 4800 h 69406"/>
              <a:gd name="csX6" fmla="*/ 121469 w 132751"/>
              <a:gd name="csY6" fmla="*/ 43062 h 69406"/>
              <a:gd name="csX7" fmla="*/ 132751 w 132751"/>
              <a:gd name="csY7" fmla="*/ 65240 h 69406"/>
              <a:gd name="csX8" fmla="*/ 0 w 132751"/>
              <a:gd name="csY8" fmla="*/ 69406 h 69406"/>
              <a:gd name="csX9" fmla="*/ 5051 w 132751"/>
              <a:gd name="csY9" fmla="*/ 7534 h 6940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132751" h="69406">
                <a:moveTo>
                  <a:pt x="5051" y="7534"/>
                </a:moveTo>
                <a:cubicBezTo>
                  <a:pt x="6880" y="5272"/>
                  <a:pt x="8659" y="3268"/>
                  <a:pt x="10615" y="3077"/>
                </a:cubicBezTo>
                <a:cubicBezTo>
                  <a:pt x="15884" y="2564"/>
                  <a:pt x="21234" y="2972"/>
                  <a:pt x="26541" y="2752"/>
                </a:cubicBezTo>
                <a:cubicBezTo>
                  <a:pt x="46938" y="1911"/>
                  <a:pt x="67330" y="933"/>
                  <a:pt x="87728" y="89"/>
                </a:cubicBezTo>
                <a:cubicBezTo>
                  <a:pt x="92161" y="-94"/>
                  <a:pt x="96609" y="62"/>
                  <a:pt x="101400" y="62"/>
                </a:cubicBezTo>
                <a:cubicBezTo>
                  <a:pt x="101991" y="1827"/>
                  <a:pt x="102885" y="3302"/>
                  <a:pt x="102924" y="4800"/>
                </a:cubicBezTo>
                <a:cubicBezTo>
                  <a:pt x="103334" y="20376"/>
                  <a:pt x="108815" y="33165"/>
                  <a:pt x="121469" y="43062"/>
                </a:cubicBezTo>
                <a:cubicBezTo>
                  <a:pt x="127809" y="48021"/>
                  <a:pt x="132509" y="54869"/>
                  <a:pt x="132751" y="65240"/>
                </a:cubicBezTo>
                <a:cubicBezTo>
                  <a:pt x="88663" y="66624"/>
                  <a:pt x="45259" y="67986"/>
                  <a:pt x="0" y="69406"/>
                </a:cubicBezTo>
                <a:cubicBezTo>
                  <a:pt x="6474" y="48167"/>
                  <a:pt x="10658" y="28665"/>
                  <a:pt x="5051" y="7534"/>
                </a:cubicBezTo>
                <a:close/>
              </a:path>
            </a:pathLst>
          </a:custGeom>
          <a:solidFill>
            <a:srgbClr val="FBFCFB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222" name="Free-form: Shape 4221">
            <a:extLst>
              <a:ext uri="{FF2B5EF4-FFF2-40B4-BE49-F238E27FC236}">
                <a16:creationId xmlns:a16="http://schemas.microsoft.com/office/drawing/2014/main" id="{12145A04-A1E6-9B15-07FD-F07E9A02EF01}"/>
              </a:ext>
            </a:extLst>
          </p:cNvPr>
          <p:cNvSpPr/>
          <p:nvPr/>
        </p:nvSpPr>
        <p:spPr>
          <a:xfrm>
            <a:off x="8380627" y="4704949"/>
            <a:ext cx="182562" cy="42836"/>
          </a:xfrm>
          <a:custGeom>
            <a:avLst/>
            <a:gdLst>
              <a:gd name="csX0" fmla="*/ 80894 w 165965"/>
              <a:gd name="csY0" fmla="*/ 440 h 38942"/>
              <a:gd name="csX1" fmla="*/ 128629 w 165965"/>
              <a:gd name="csY1" fmla="*/ 5 h 38942"/>
              <a:gd name="csX2" fmla="*/ 155177 w 165965"/>
              <a:gd name="csY2" fmla="*/ 8091 h 38942"/>
              <a:gd name="csX3" fmla="*/ 164213 w 165965"/>
              <a:gd name="csY3" fmla="*/ 17723 h 38942"/>
              <a:gd name="csX4" fmla="*/ 159998 w 165965"/>
              <a:gd name="csY4" fmla="*/ 30717 h 38942"/>
              <a:gd name="csX5" fmla="*/ 146998 w 165965"/>
              <a:gd name="csY5" fmla="*/ 33737 h 38942"/>
              <a:gd name="csX6" fmla="*/ 12439 w 165965"/>
              <a:gd name="csY6" fmla="*/ 38914 h 38942"/>
              <a:gd name="csX7" fmla="*/ 0 w 165965"/>
              <a:gd name="csY7" fmla="*/ 38402 h 38942"/>
              <a:gd name="csX8" fmla="*/ 0 w 165965"/>
              <a:gd name="csY8" fmla="*/ 4598 h 38942"/>
              <a:gd name="csX9" fmla="*/ 80894 w 165965"/>
              <a:gd name="csY9" fmla="*/ 440 h 3894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165965" h="38942">
                <a:moveTo>
                  <a:pt x="80894" y="440"/>
                </a:moveTo>
                <a:cubicBezTo>
                  <a:pt x="97591" y="288"/>
                  <a:pt x="113111" y="227"/>
                  <a:pt x="128629" y="5"/>
                </a:cubicBezTo>
                <a:cubicBezTo>
                  <a:pt x="138376" y="-135"/>
                  <a:pt x="147226" y="2891"/>
                  <a:pt x="155177" y="8091"/>
                </a:cubicBezTo>
                <a:cubicBezTo>
                  <a:pt x="158779" y="10447"/>
                  <a:pt x="161992" y="14009"/>
                  <a:pt x="164213" y="17723"/>
                </a:cubicBezTo>
                <a:cubicBezTo>
                  <a:pt x="167602" y="23390"/>
                  <a:pt x="166013" y="28134"/>
                  <a:pt x="159998" y="30717"/>
                </a:cubicBezTo>
                <a:cubicBezTo>
                  <a:pt x="155963" y="32450"/>
                  <a:pt x="151384" y="33554"/>
                  <a:pt x="146998" y="33737"/>
                </a:cubicBezTo>
                <a:cubicBezTo>
                  <a:pt x="102152" y="35619"/>
                  <a:pt x="57295" y="37279"/>
                  <a:pt x="12439" y="38914"/>
                </a:cubicBezTo>
                <a:cubicBezTo>
                  <a:pt x="8467" y="39059"/>
                  <a:pt x="4472" y="38602"/>
                  <a:pt x="0" y="38402"/>
                </a:cubicBezTo>
                <a:cubicBezTo>
                  <a:pt x="0" y="27166"/>
                  <a:pt x="0" y="16774"/>
                  <a:pt x="0" y="4598"/>
                </a:cubicBezTo>
                <a:cubicBezTo>
                  <a:pt x="27063" y="3194"/>
                  <a:pt x="53389" y="1829"/>
                  <a:pt x="80894" y="440"/>
                </a:cubicBezTo>
                <a:close/>
              </a:path>
            </a:pathLst>
          </a:custGeom>
          <a:solidFill>
            <a:srgbClr val="FBFCFB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223" name="Free-form: Shape 4222">
            <a:extLst>
              <a:ext uri="{FF2B5EF4-FFF2-40B4-BE49-F238E27FC236}">
                <a16:creationId xmlns:a16="http://schemas.microsoft.com/office/drawing/2014/main" id="{D4B633BA-8B21-354F-AF29-83CE8FF13D86}"/>
              </a:ext>
            </a:extLst>
          </p:cNvPr>
          <p:cNvSpPr/>
          <p:nvPr/>
        </p:nvSpPr>
        <p:spPr>
          <a:xfrm>
            <a:off x="8361087" y="4026352"/>
            <a:ext cx="47677" cy="51009"/>
          </a:xfrm>
          <a:custGeom>
            <a:avLst/>
            <a:gdLst>
              <a:gd name="csX0" fmla="*/ 40602 w 43343"/>
              <a:gd name="csY0" fmla="*/ 12465 h 46372"/>
              <a:gd name="csX1" fmla="*/ 43214 w 43343"/>
              <a:gd name="csY1" fmla="*/ 21324 h 46372"/>
              <a:gd name="csX2" fmla="*/ 23859 w 43343"/>
              <a:gd name="csY2" fmla="*/ 46319 h 46372"/>
              <a:gd name="csX3" fmla="*/ 5 w 43343"/>
              <a:gd name="csY3" fmla="*/ 23820 h 46372"/>
              <a:gd name="csX4" fmla="*/ 4855 w 43343"/>
              <a:gd name="csY4" fmla="*/ 5679 h 46372"/>
              <a:gd name="csX5" fmla="*/ 40602 w 43343"/>
              <a:gd name="csY5" fmla="*/ 12465 h 4637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</a:cxnLst>
            <a:rect l="l" t="t" r="r" b="b"/>
            <a:pathLst>
              <a:path w="43343" h="46372">
                <a:moveTo>
                  <a:pt x="40602" y="12465"/>
                </a:moveTo>
                <a:cubicBezTo>
                  <a:pt x="41913" y="15811"/>
                  <a:pt x="42933" y="18530"/>
                  <a:pt x="43214" y="21324"/>
                </a:cubicBezTo>
                <a:cubicBezTo>
                  <a:pt x="44519" y="34348"/>
                  <a:pt x="35870" y="45401"/>
                  <a:pt x="23859" y="46319"/>
                </a:cubicBezTo>
                <a:cubicBezTo>
                  <a:pt x="11890" y="47233"/>
                  <a:pt x="-280" y="36371"/>
                  <a:pt x="5" y="23820"/>
                </a:cubicBezTo>
                <a:cubicBezTo>
                  <a:pt x="136" y="18011"/>
                  <a:pt x="2893" y="12263"/>
                  <a:pt x="4855" y="5679"/>
                </a:cubicBezTo>
                <a:cubicBezTo>
                  <a:pt x="20601" y="-3403"/>
                  <a:pt x="28004" y="-1910"/>
                  <a:pt x="40602" y="12465"/>
                </a:cubicBezTo>
                <a:close/>
              </a:path>
            </a:pathLst>
          </a:custGeom>
          <a:solidFill>
            <a:srgbClr val="FBFCFB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205" name="Oval 4204">
            <a:extLst>
              <a:ext uri="{FF2B5EF4-FFF2-40B4-BE49-F238E27FC236}">
                <a16:creationId xmlns:a16="http://schemas.microsoft.com/office/drawing/2014/main" id="{117A982D-3A0E-0C42-E5C0-8D89B9A485ED}"/>
              </a:ext>
            </a:extLst>
          </p:cNvPr>
          <p:cNvSpPr/>
          <p:nvPr/>
        </p:nvSpPr>
        <p:spPr>
          <a:xfrm>
            <a:off x="5002083" y="5639719"/>
            <a:ext cx="868414" cy="126003"/>
          </a:xfrm>
          <a:prstGeom prst="ellipse">
            <a:avLst/>
          </a:prstGeom>
          <a:solidFill>
            <a:schemeClr val="tx1">
              <a:alpha val="6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187" name="Free-form: Shape 4186">
            <a:extLst>
              <a:ext uri="{FF2B5EF4-FFF2-40B4-BE49-F238E27FC236}">
                <a16:creationId xmlns:a16="http://schemas.microsoft.com/office/drawing/2014/main" id="{DC0BFB35-0633-7F18-7F12-F395860552A7}"/>
              </a:ext>
            </a:extLst>
          </p:cNvPr>
          <p:cNvSpPr/>
          <p:nvPr/>
        </p:nvSpPr>
        <p:spPr>
          <a:xfrm flipH="1">
            <a:off x="5164082" y="3915062"/>
            <a:ext cx="674754" cy="1812235"/>
          </a:xfrm>
          <a:custGeom>
            <a:avLst/>
            <a:gdLst>
              <a:gd name="csX0" fmla="*/ 96263 w 729419"/>
              <a:gd name="csY0" fmla="*/ 2076207 h 2076207"/>
              <a:gd name="csX1" fmla="*/ 63862 w 729419"/>
              <a:gd name="csY1" fmla="*/ 2065388 h 2076207"/>
              <a:gd name="csX2" fmla="*/ 16555 w 729419"/>
              <a:gd name="csY2" fmla="*/ 2050152 h 2076207"/>
              <a:gd name="csX3" fmla="*/ 15 w 729419"/>
              <a:gd name="csY3" fmla="*/ 2023802 h 2076207"/>
              <a:gd name="csX4" fmla="*/ 18368 w 729419"/>
              <a:gd name="csY4" fmla="*/ 1940709 h 2076207"/>
              <a:gd name="csX5" fmla="*/ 22139 w 729419"/>
              <a:gd name="csY5" fmla="*/ 1907268 h 2076207"/>
              <a:gd name="csX6" fmla="*/ 57941 w 729419"/>
              <a:gd name="csY6" fmla="*/ 1774163 h 2076207"/>
              <a:gd name="csX7" fmla="*/ 102478 w 729419"/>
              <a:gd name="csY7" fmla="*/ 1720275 h 2076207"/>
              <a:gd name="csX8" fmla="*/ 108579 w 729419"/>
              <a:gd name="csY8" fmla="*/ 1650967 h 2076207"/>
              <a:gd name="csX9" fmla="*/ 115628 w 729419"/>
              <a:gd name="csY9" fmla="*/ 1625405 h 2076207"/>
              <a:gd name="csX10" fmla="*/ 156323 w 729419"/>
              <a:gd name="csY10" fmla="*/ 1560181 h 2076207"/>
              <a:gd name="csX11" fmla="*/ 199424 w 729419"/>
              <a:gd name="csY11" fmla="*/ 1364729 h 2076207"/>
              <a:gd name="csX12" fmla="*/ 216779 w 729419"/>
              <a:gd name="csY12" fmla="*/ 1219490 h 2076207"/>
              <a:gd name="csX13" fmla="*/ 229755 w 729419"/>
              <a:gd name="csY13" fmla="*/ 1099357 h 2076207"/>
              <a:gd name="csX14" fmla="*/ 232707 w 729419"/>
              <a:gd name="csY14" fmla="*/ 1056423 h 2076207"/>
              <a:gd name="csX15" fmla="*/ 235622 w 729419"/>
              <a:gd name="csY15" fmla="*/ 952675 h 2076207"/>
              <a:gd name="csX16" fmla="*/ 235445 w 729419"/>
              <a:gd name="csY16" fmla="*/ 780278 h 2076207"/>
              <a:gd name="csX17" fmla="*/ 214544 w 729419"/>
              <a:gd name="csY17" fmla="*/ 756435 h 2076207"/>
              <a:gd name="csX18" fmla="*/ 172569 w 729419"/>
              <a:gd name="csY18" fmla="*/ 742582 h 2076207"/>
              <a:gd name="csX19" fmla="*/ 168784 w 729419"/>
              <a:gd name="csY19" fmla="*/ 669116 h 2076207"/>
              <a:gd name="csX20" fmla="*/ 191657 w 729419"/>
              <a:gd name="csY20" fmla="*/ 630765 h 2076207"/>
              <a:gd name="csX21" fmla="*/ 208150 w 729419"/>
              <a:gd name="csY21" fmla="*/ 609084 h 2076207"/>
              <a:gd name="csX22" fmla="*/ 216756 w 729419"/>
              <a:gd name="csY22" fmla="*/ 558673 h 2076207"/>
              <a:gd name="csX23" fmla="*/ 209092 w 729419"/>
              <a:gd name="csY23" fmla="*/ 521540 h 2076207"/>
              <a:gd name="csX24" fmla="*/ 204683 w 729419"/>
              <a:gd name="csY24" fmla="*/ 474024 h 2076207"/>
              <a:gd name="csX25" fmla="*/ 115483 w 729419"/>
              <a:gd name="csY25" fmla="*/ 213499 h 2076207"/>
              <a:gd name="csX26" fmla="*/ 102909 w 729419"/>
              <a:gd name="csY26" fmla="*/ 182297 h 2076207"/>
              <a:gd name="csX27" fmla="*/ 104315 w 729419"/>
              <a:gd name="csY27" fmla="*/ 163968 h 2076207"/>
              <a:gd name="csX28" fmla="*/ 122444 w 729419"/>
              <a:gd name="csY28" fmla="*/ 160805 h 2076207"/>
              <a:gd name="csX29" fmla="*/ 170283 w 729419"/>
              <a:gd name="csY29" fmla="*/ 187783 h 2076207"/>
              <a:gd name="csX30" fmla="*/ 180938 w 729419"/>
              <a:gd name="csY30" fmla="*/ 195322 h 2076207"/>
              <a:gd name="csX31" fmla="*/ 221419 w 729419"/>
              <a:gd name="csY31" fmla="*/ 138058 h 2076207"/>
              <a:gd name="csX32" fmla="*/ 294099 w 729419"/>
              <a:gd name="csY32" fmla="*/ 91372 h 2076207"/>
              <a:gd name="csX33" fmla="*/ 302307 w 729419"/>
              <a:gd name="csY33" fmla="*/ 76560 h 2076207"/>
              <a:gd name="csX34" fmla="*/ 320284 w 729419"/>
              <a:gd name="csY34" fmla="*/ 8414 h 2076207"/>
              <a:gd name="csX35" fmla="*/ 324784 w 729419"/>
              <a:gd name="csY35" fmla="*/ 946 h 2076207"/>
              <a:gd name="csX36" fmla="*/ 399212 w 729419"/>
              <a:gd name="csY36" fmla="*/ 0 h 2076207"/>
              <a:gd name="csX37" fmla="*/ 425980 w 729419"/>
              <a:gd name="csY37" fmla="*/ 78301 h 2076207"/>
              <a:gd name="csX38" fmla="*/ 431861 w 729419"/>
              <a:gd name="csY38" fmla="*/ 90312 h 2076207"/>
              <a:gd name="csX39" fmla="*/ 540349 w 729419"/>
              <a:gd name="csY39" fmla="*/ 187946 h 2076207"/>
              <a:gd name="csX40" fmla="*/ 545555 w 729419"/>
              <a:gd name="csY40" fmla="*/ 197828 h 2076207"/>
              <a:gd name="csX41" fmla="*/ 587318 w 729419"/>
              <a:gd name="csY41" fmla="*/ 171260 h 2076207"/>
              <a:gd name="csX42" fmla="*/ 601503 w 729419"/>
              <a:gd name="csY42" fmla="*/ 163707 h 2076207"/>
              <a:gd name="csX43" fmla="*/ 625254 w 729419"/>
              <a:gd name="csY43" fmla="*/ 163123 h 2076207"/>
              <a:gd name="csX44" fmla="*/ 625468 w 729419"/>
              <a:gd name="csY44" fmla="*/ 187579 h 2076207"/>
              <a:gd name="csX45" fmla="*/ 597543 w 729419"/>
              <a:gd name="csY45" fmla="*/ 251872 h 2076207"/>
              <a:gd name="csX46" fmla="*/ 531831 w 729419"/>
              <a:gd name="csY46" fmla="*/ 442689 h 2076207"/>
              <a:gd name="csX47" fmla="*/ 519888 w 729419"/>
              <a:gd name="csY47" fmla="*/ 501474 h 2076207"/>
              <a:gd name="csX48" fmla="*/ 522506 w 729419"/>
              <a:gd name="csY48" fmla="*/ 525086 h 2076207"/>
              <a:gd name="csX49" fmla="*/ 516235 w 729419"/>
              <a:gd name="csY49" fmla="*/ 555946 h 2076207"/>
              <a:gd name="csX50" fmla="*/ 521332 w 729419"/>
              <a:gd name="csY50" fmla="*/ 610676 h 2076207"/>
              <a:gd name="csX51" fmla="*/ 541382 w 729419"/>
              <a:gd name="csY51" fmla="*/ 642597 h 2076207"/>
              <a:gd name="csX52" fmla="*/ 557031 w 729419"/>
              <a:gd name="csY52" fmla="*/ 667949 h 2076207"/>
              <a:gd name="csX53" fmla="*/ 553994 w 729419"/>
              <a:gd name="csY53" fmla="*/ 744146 h 2076207"/>
              <a:gd name="csX54" fmla="*/ 508215 w 729419"/>
              <a:gd name="csY54" fmla="*/ 758841 h 2076207"/>
              <a:gd name="csX55" fmla="*/ 497442 w 729419"/>
              <a:gd name="csY55" fmla="*/ 771256 h 2076207"/>
              <a:gd name="csX56" fmla="*/ 493005 w 729419"/>
              <a:gd name="csY56" fmla="*/ 922055 h 2076207"/>
              <a:gd name="csX57" fmla="*/ 502900 w 729419"/>
              <a:gd name="csY57" fmla="*/ 1114191 h 2076207"/>
              <a:gd name="csX58" fmla="*/ 508800 w 729419"/>
              <a:gd name="csY58" fmla="*/ 1205474 h 2076207"/>
              <a:gd name="csX59" fmla="*/ 522952 w 729419"/>
              <a:gd name="csY59" fmla="*/ 1320065 h 2076207"/>
              <a:gd name="csX60" fmla="*/ 554682 w 729419"/>
              <a:gd name="csY60" fmla="*/ 1501203 h 2076207"/>
              <a:gd name="csX61" fmla="*/ 576958 w 729419"/>
              <a:gd name="csY61" fmla="*/ 1593963 h 2076207"/>
              <a:gd name="csX62" fmla="*/ 595349 w 729419"/>
              <a:gd name="csY62" fmla="*/ 1613498 h 2076207"/>
              <a:gd name="csX63" fmla="*/ 613936 w 729419"/>
              <a:gd name="csY63" fmla="*/ 1624058 h 2076207"/>
              <a:gd name="csX64" fmla="*/ 620938 w 729419"/>
              <a:gd name="csY64" fmla="*/ 1652071 h 2076207"/>
              <a:gd name="csX65" fmla="*/ 630805 w 729419"/>
              <a:gd name="csY65" fmla="*/ 1721702 h 2076207"/>
              <a:gd name="csX66" fmla="*/ 685830 w 729419"/>
              <a:gd name="csY66" fmla="*/ 1792915 h 2076207"/>
              <a:gd name="csX67" fmla="*/ 708904 w 729419"/>
              <a:gd name="csY67" fmla="*/ 1890290 h 2076207"/>
              <a:gd name="csX68" fmla="*/ 716580 w 729419"/>
              <a:gd name="csY68" fmla="*/ 1951136 h 2076207"/>
              <a:gd name="csX69" fmla="*/ 729397 w 729419"/>
              <a:gd name="csY69" fmla="*/ 2030261 h 2076207"/>
              <a:gd name="csX70" fmla="*/ 714212 w 729419"/>
              <a:gd name="csY70" fmla="*/ 2049544 h 2076207"/>
              <a:gd name="csX71" fmla="*/ 645428 w 729419"/>
              <a:gd name="csY71" fmla="*/ 2070825 h 2076207"/>
              <a:gd name="csX72" fmla="*/ 635822 w 729419"/>
              <a:gd name="csY72" fmla="*/ 2075145 h 2076207"/>
              <a:gd name="csX73" fmla="*/ 588428 w 729419"/>
              <a:gd name="csY73" fmla="*/ 2075144 h 2076207"/>
              <a:gd name="csX74" fmla="*/ 590041 w 729419"/>
              <a:gd name="csY74" fmla="*/ 2071383 h 2076207"/>
              <a:gd name="csX75" fmla="*/ 667788 w 729419"/>
              <a:gd name="csY75" fmla="*/ 2056852 h 2076207"/>
              <a:gd name="csX76" fmla="*/ 706629 w 729419"/>
              <a:gd name="csY76" fmla="*/ 2044290 h 2076207"/>
              <a:gd name="csX77" fmla="*/ 702674 w 729419"/>
              <a:gd name="csY77" fmla="*/ 2041581 h 2076207"/>
              <a:gd name="csX78" fmla="*/ 544974 w 729419"/>
              <a:gd name="csY78" fmla="*/ 2071274 h 2076207"/>
              <a:gd name="csX79" fmla="*/ 538352 w 729419"/>
              <a:gd name="csY79" fmla="*/ 2076207 h 2076207"/>
              <a:gd name="csX80" fmla="*/ 96263 w 729419"/>
              <a:gd name="csY80" fmla="*/ 2076207 h 2076207"/>
              <a:gd name="csX81" fmla="*/ 489970 w 729419"/>
              <a:gd name="csY81" fmla="*/ 152208 h 2076207"/>
              <a:gd name="csX82" fmla="*/ 490754 w 729419"/>
              <a:gd name="csY82" fmla="*/ 152592 h 2076207"/>
              <a:gd name="csX83" fmla="*/ 489489 w 729419"/>
              <a:gd name="csY83" fmla="*/ 149547 h 2076207"/>
              <a:gd name="csX84" fmla="*/ 393621 w 729419"/>
              <a:gd name="csY84" fmla="*/ 99259 h 2076207"/>
              <a:gd name="csX85" fmla="*/ 390419 w 729419"/>
              <a:gd name="csY85" fmla="*/ 18568 h 2076207"/>
              <a:gd name="csX86" fmla="*/ 334131 w 729419"/>
              <a:gd name="csY86" fmla="*/ 24327 h 2076207"/>
              <a:gd name="csX87" fmla="*/ 344678 w 729419"/>
              <a:gd name="csY87" fmla="*/ 101259 h 2076207"/>
              <a:gd name="csX88" fmla="*/ 298854 w 729419"/>
              <a:gd name="csY88" fmla="*/ 114003 h 2076207"/>
              <a:gd name="csX89" fmla="*/ 237456 w 729419"/>
              <a:gd name="csY89" fmla="*/ 154340 h 2076207"/>
              <a:gd name="csX90" fmla="*/ 240382 w 729419"/>
              <a:gd name="csY90" fmla="*/ 154035 h 2076207"/>
              <a:gd name="csX91" fmla="*/ 262731 w 729419"/>
              <a:gd name="csY91" fmla="*/ 170426 h 2076207"/>
              <a:gd name="csX92" fmla="*/ 279169 w 729419"/>
              <a:gd name="csY92" fmla="*/ 193173 h 2076207"/>
              <a:gd name="csX93" fmla="*/ 327717 w 729419"/>
              <a:gd name="csY93" fmla="*/ 188556 h 2076207"/>
              <a:gd name="csX94" fmla="*/ 348052 w 729419"/>
              <a:gd name="csY94" fmla="*/ 156919 h 2076207"/>
              <a:gd name="csX95" fmla="*/ 380330 w 729419"/>
              <a:gd name="csY95" fmla="*/ 156483 h 2076207"/>
              <a:gd name="csX96" fmla="*/ 408490 w 729419"/>
              <a:gd name="csY96" fmla="*/ 195400 h 2076207"/>
              <a:gd name="csX97" fmla="*/ 445346 w 729419"/>
              <a:gd name="csY97" fmla="*/ 197582 h 2076207"/>
              <a:gd name="csX98" fmla="*/ 464798 w 729419"/>
              <a:gd name="csY98" fmla="*/ 174107 h 2076207"/>
              <a:gd name="csX99" fmla="*/ 489970 w 729419"/>
              <a:gd name="csY99" fmla="*/ 152208 h 2076207"/>
              <a:gd name="csX100" fmla="*/ 140694 w 729419"/>
              <a:gd name="csY100" fmla="*/ 201837 h 2076207"/>
              <a:gd name="csX101" fmla="*/ 139834 w 729419"/>
              <a:gd name="csY101" fmla="*/ 201482 h 2076207"/>
              <a:gd name="csX102" fmla="*/ 140812 w 729419"/>
              <a:gd name="csY102" fmla="*/ 204941 h 2076207"/>
              <a:gd name="csX103" fmla="*/ 144631 w 729419"/>
              <a:gd name="csY103" fmla="*/ 217811 h 2076207"/>
              <a:gd name="csX104" fmla="*/ 201241 w 729419"/>
              <a:gd name="csY104" fmla="*/ 373387 h 2076207"/>
              <a:gd name="csX105" fmla="*/ 235971 w 729419"/>
              <a:gd name="csY105" fmla="*/ 504451 h 2076207"/>
              <a:gd name="csX106" fmla="*/ 247475 w 729419"/>
              <a:gd name="csY106" fmla="*/ 513241 h 2076207"/>
              <a:gd name="csX107" fmla="*/ 289066 w 729419"/>
              <a:gd name="csY107" fmla="*/ 511170 h 2076207"/>
              <a:gd name="csX108" fmla="*/ 378229 w 729419"/>
              <a:gd name="csY108" fmla="*/ 511084 h 2076207"/>
              <a:gd name="csX109" fmla="*/ 470850 w 729419"/>
              <a:gd name="csY109" fmla="*/ 516341 h 2076207"/>
              <a:gd name="csX110" fmla="*/ 492933 w 729419"/>
              <a:gd name="csY110" fmla="*/ 497969 h 2076207"/>
              <a:gd name="csX111" fmla="*/ 557617 w 729419"/>
              <a:gd name="csY111" fmla="*/ 280398 h 2076207"/>
              <a:gd name="csX112" fmla="*/ 588788 w 729419"/>
              <a:gd name="csY112" fmla="*/ 200385 h 2076207"/>
              <a:gd name="csX113" fmla="*/ 530958 w 729419"/>
              <a:gd name="csY113" fmla="*/ 232968 h 2076207"/>
              <a:gd name="csX114" fmla="*/ 483823 w 729419"/>
              <a:gd name="csY114" fmla="*/ 190364 h 2076207"/>
              <a:gd name="csX115" fmla="*/ 466649 w 729419"/>
              <a:gd name="csY115" fmla="*/ 209061 h 2076207"/>
              <a:gd name="csX116" fmla="*/ 399941 w 729419"/>
              <a:gd name="csY116" fmla="*/ 216988 h 2076207"/>
              <a:gd name="csX117" fmla="*/ 363018 w 729419"/>
              <a:gd name="csY117" fmla="*/ 179615 h 2076207"/>
              <a:gd name="csX118" fmla="*/ 308839 w 729419"/>
              <a:gd name="csY118" fmla="*/ 227846 h 2076207"/>
              <a:gd name="csX119" fmla="*/ 245077 w 729419"/>
              <a:gd name="csY119" fmla="*/ 192402 h 2076207"/>
              <a:gd name="csX120" fmla="*/ 242829 w 729419"/>
              <a:gd name="csY120" fmla="*/ 198815 h 2076207"/>
              <a:gd name="csX121" fmla="*/ 168452 w 729419"/>
              <a:gd name="csY121" fmla="*/ 219348 h 2076207"/>
              <a:gd name="csX122" fmla="*/ 140694 w 729419"/>
              <a:gd name="csY122" fmla="*/ 201837 h 2076207"/>
              <a:gd name="csX123" fmla="*/ 259999 w 729419"/>
              <a:gd name="csY123" fmla="*/ 966699 h 2076207"/>
              <a:gd name="csX124" fmla="*/ 257072 w 729419"/>
              <a:gd name="csY124" fmla="*/ 1070424 h 2076207"/>
              <a:gd name="csX125" fmla="*/ 251372 w 729419"/>
              <a:gd name="csY125" fmla="*/ 1157618 h 2076207"/>
              <a:gd name="csX126" fmla="*/ 232677 w 729419"/>
              <a:gd name="csY126" fmla="*/ 1320279 h 2076207"/>
              <a:gd name="csX127" fmla="*/ 209182 w 729419"/>
              <a:gd name="csY127" fmla="*/ 1468667 h 2076207"/>
              <a:gd name="csX128" fmla="*/ 175302 w 729419"/>
              <a:gd name="csY128" fmla="*/ 1616623 h 2076207"/>
              <a:gd name="csX129" fmla="*/ 182769 w 729419"/>
              <a:gd name="csY129" fmla="*/ 1629786 h 2076207"/>
              <a:gd name="csX130" fmla="*/ 212156 w 729419"/>
              <a:gd name="csY130" fmla="*/ 1632656 h 2076207"/>
              <a:gd name="csX131" fmla="*/ 351295 w 729419"/>
              <a:gd name="csY131" fmla="*/ 1632801 h 2076207"/>
              <a:gd name="csX132" fmla="*/ 376150 w 729419"/>
              <a:gd name="csY132" fmla="*/ 1608307 h 2076207"/>
              <a:gd name="csX133" fmla="*/ 373450 w 729419"/>
              <a:gd name="csY133" fmla="*/ 1457291 h 2076207"/>
              <a:gd name="csX134" fmla="*/ 370936 w 729419"/>
              <a:gd name="csY134" fmla="*/ 1342736 h 2076207"/>
              <a:gd name="csX135" fmla="*/ 368328 w 729419"/>
              <a:gd name="csY135" fmla="*/ 1203878 h 2076207"/>
              <a:gd name="csX136" fmla="*/ 367836 w 729419"/>
              <a:gd name="csY136" fmla="*/ 813478 h 2076207"/>
              <a:gd name="csX137" fmla="*/ 365240 w 729419"/>
              <a:gd name="csY137" fmla="*/ 773243 h 2076207"/>
              <a:gd name="csX138" fmla="*/ 353084 w 729419"/>
              <a:gd name="csY138" fmla="*/ 762083 h 2076207"/>
              <a:gd name="csX139" fmla="*/ 280966 w 729419"/>
              <a:gd name="csY139" fmla="*/ 759855 h 2076207"/>
              <a:gd name="csX140" fmla="*/ 259965 w 729419"/>
              <a:gd name="csY140" fmla="*/ 779553 h 2076207"/>
              <a:gd name="csX141" fmla="*/ 262341 w 729419"/>
              <a:gd name="csY141" fmla="*/ 856275 h 2076207"/>
              <a:gd name="csX142" fmla="*/ 259999 w 729419"/>
              <a:gd name="csY142" fmla="*/ 966699 h 2076207"/>
              <a:gd name="csX143" fmla="*/ 55556 w 729419"/>
              <a:gd name="csY143" fmla="*/ 1835827 h 2076207"/>
              <a:gd name="csX144" fmla="*/ 49393 w 729419"/>
              <a:gd name="csY144" fmla="*/ 1878155 h 2076207"/>
              <a:gd name="csX145" fmla="*/ 73949 w 729419"/>
              <a:gd name="csY145" fmla="*/ 1905781 h 2076207"/>
              <a:gd name="csX146" fmla="*/ 110073 w 729419"/>
              <a:gd name="csY146" fmla="*/ 1909068 h 2076207"/>
              <a:gd name="csX147" fmla="*/ 224745 w 729419"/>
              <a:gd name="csY147" fmla="*/ 1921652 h 2076207"/>
              <a:gd name="csX148" fmla="*/ 347327 w 729419"/>
              <a:gd name="csY148" fmla="*/ 1924778 h 2076207"/>
              <a:gd name="csX149" fmla="*/ 363345 w 729419"/>
              <a:gd name="csY149" fmla="*/ 1923293 h 2076207"/>
              <a:gd name="csX150" fmla="*/ 373787 w 729419"/>
              <a:gd name="csY150" fmla="*/ 1911200 h 2076207"/>
              <a:gd name="csX151" fmla="*/ 376623 w 729419"/>
              <a:gd name="csY151" fmla="*/ 1696741 h 2076207"/>
              <a:gd name="csX152" fmla="*/ 360437 w 729419"/>
              <a:gd name="csY152" fmla="*/ 1681289 h 2076207"/>
              <a:gd name="csX153" fmla="*/ 263503 w 729419"/>
              <a:gd name="csY153" fmla="*/ 1678179 h 2076207"/>
              <a:gd name="csX154" fmla="*/ 160381 w 729419"/>
              <a:gd name="csY154" fmla="*/ 1670405 h 2076207"/>
              <a:gd name="csX155" fmla="*/ 143321 w 729419"/>
              <a:gd name="csY155" fmla="*/ 1685538 h 2076207"/>
              <a:gd name="csX156" fmla="*/ 124769 w 729419"/>
              <a:gd name="csY156" fmla="*/ 1738195 h 2076207"/>
              <a:gd name="csX157" fmla="*/ 90593 w 729419"/>
              <a:gd name="csY157" fmla="*/ 1779570 h 2076207"/>
              <a:gd name="csX158" fmla="*/ 55556 w 729419"/>
              <a:gd name="csY158" fmla="*/ 1835827 h 2076207"/>
              <a:gd name="csX159" fmla="*/ 378900 w 729419"/>
              <a:gd name="csY159" fmla="*/ 2007280 h 2076207"/>
              <a:gd name="csX160" fmla="*/ 378887 w 729419"/>
              <a:gd name="csY160" fmla="*/ 1995127 h 2076207"/>
              <a:gd name="csX161" fmla="*/ 359084 w 729419"/>
              <a:gd name="csY161" fmla="*/ 1975964 h 2076207"/>
              <a:gd name="csX162" fmla="*/ 247288 w 729419"/>
              <a:gd name="csY162" fmla="*/ 1973305 h 2076207"/>
              <a:gd name="csX163" fmla="*/ 201692 w 729419"/>
              <a:gd name="csY163" fmla="*/ 1970275 h 2076207"/>
              <a:gd name="csX164" fmla="*/ 57962 w 729419"/>
              <a:gd name="csY164" fmla="*/ 1952648 h 2076207"/>
              <a:gd name="csX165" fmla="*/ 39194 w 729419"/>
              <a:gd name="csY165" fmla="*/ 1963552 h 2076207"/>
              <a:gd name="csX166" fmla="*/ 30066 w 729419"/>
              <a:gd name="csY166" fmla="*/ 2006631 h 2076207"/>
              <a:gd name="csX167" fmla="*/ 40232 w 729419"/>
              <a:gd name="csY167" fmla="*/ 2019486 h 2076207"/>
              <a:gd name="csX168" fmla="*/ 238186 w 729419"/>
              <a:gd name="csY168" fmla="*/ 2046096 h 2076207"/>
              <a:gd name="csX169" fmla="*/ 342155 w 729419"/>
              <a:gd name="csY169" fmla="*/ 2046441 h 2076207"/>
              <a:gd name="csX170" fmla="*/ 378900 w 729419"/>
              <a:gd name="csY170" fmla="*/ 2007280 h 2076207"/>
              <a:gd name="csX171" fmla="*/ 310220 w 729419"/>
              <a:gd name="csY171" fmla="*/ 554288 h 2076207"/>
              <a:gd name="csX172" fmla="*/ 259136 w 729419"/>
              <a:gd name="csY172" fmla="*/ 556881 h 2076207"/>
              <a:gd name="csX173" fmla="*/ 249085 w 729419"/>
              <a:gd name="csY173" fmla="*/ 567981 h 2076207"/>
              <a:gd name="csX174" fmla="*/ 249141 w 729419"/>
              <a:gd name="csY174" fmla="*/ 605644 h 2076207"/>
              <a:gd name="csX175" fmla="*/ 262628 w 729419"/>
              <a:gd name="csY175" fmla="*/ 605627 h 2076207"/>
              <a:gd name="csX176" fmla="*/ 369608 w 729419"/>
              <a:gd name="csY176" fmla="*/ 603027 h 2076207"/>
              <a:gd name="csX177" fmla="*/ 463931 w 729419"/>
              <a:gd name="csY177" fmla="*/ 605146 h 2076207"/>
              <a:gd name="csX178" fmla="*/ 478113 w 729419"/>
              <a:gd name="csY178" fmla="*/ 595843 h 2076207"/>
              <a:gd name="csX179" fmla="*/ 478796 w 729419"/>
              <a:gd name="csY179" fmla="*/ 556832 h 2076207"/>
              <a:gd name="csX180" fmla="*/ 310220 w 729419"/>
              <a:gd name="csY180" fmla="*/ 554288 h 2076207"/>
              <a:gd name="csX181" fmla="*/ 348836 w 729419"/>
              <a:gd name="csY181" fmla="*/ 684115 h 2076207"/>
              <a:gd name="csX182" fmla="*/ 281333 w 729419"/>
              <a:gd name="csY182" fmla="*/ 683313 h 2076207"/>
              <a:gd name="csX183" fmla="*/ 212728 w 729419"/>
              <a:gd name="csY183" fmla="*/ 681931 h 2076207"/>
              <a:gd name="csX184" fmla="*/ 187283 w 729419"/>
              <a:gd name="csY184" fmla="*/ 689555 h 2076207"/>
              <a:gd name="csX185" fmla="*/ 186163 w 729419"/>
              <a:gd name="csY185" fmla="*/ 718266 h 2076207"/>
              <a:gd name="csX186" fmla="*/ 209894 w 729419"/>
              <a:gd name="csY186" fmla="*/ 726798 h 2076207"/>
              <a:gd name="csX187" fmla="*/ 334814 w 729419"/>
              <a:gd name="csY187" fmla="*/ 732494 h 2076207"/>
              <a:gd name="csX188" fmla="*/ 364856 w 729419"/>
              <a:gd name="csY188" fmla="*/ 707963 h 2076207"/>
              <a:gd name="csX189" fmla="*/ 348836 w 729419"/>
              <a:gd name="csY189" fmla="*/ 684115 h 2076207"/>
              <a:gd name="csX190" fmla="*/ 298865 w 729419"/>
              <a:gd name="csY190" fmla="*/ 621954 h 2076207"/>
              <a:gd name="csX191" fmla="*/ 251619 w 729419"/>
              <a:gd name="csY191" fmla="*/ 622133 h 2076207"/>
              <a:gd name="csX192" fmla="*/ 214459 w 729419"/>
              <a:gd name="csY192" fmla="*/ 636230 h 2076207"/>
              <a:gd name="csX193" fmla="*/ 221436 w 729419"/>
              <a:gd name="csY193" fmla="*/ 654205 h 2076207"/>
              <a:gd name="csX194" fmla="*/ 272412 w 729419"/>
              <a:gd name="csY194" fmla="*/ 657250 h 2076207"/>
              <a:gd name="csX195" fmla="*/ 349094 w 729419"/>
              <a:gd name="csY195" fmla="*/ 659282 h 2076207"/>
              <a:gd name="csX196" fmla="*/ 362996 w 729419"/>
              <a:gd name="csY196" fmla="*/ 644234 h 2076207"/>
              <a:gd name="csX197" fmla="*/ 348472 w 729419"/>
              <a:gd name="csY197" fmla="*/ 624649 h 2076207"/>
              <a:gd name="csX198" fmla="*/ 298865 w 729419"/>
              <a:gd name="csY198" fmla="*/ 621954 h 2076207"/>
              <a:gd name="csX199" fmla="*/ 227796 w 729419"/>
              <a:gd name="csY199" fmla="*/ 528000 h 2076207"/>
              <a:gd name="csX200" fmla="*/ 241009 w 729419"/>
              <a:gd name="csY200" fmla="*/ 545897 h 2076207"/>
              <a:gd name="csX201" fmla="*/ 282607 w 729419"/>
              <a:gd name="csY201" fmla="*/ 543480 h 2076207"/>
              <a:gd name="csX202" fmla="*/ 354213 w 729419"/>
              <a:gd name="csY202" fmla="*/ 543384 h 2076207"/>
              <a:gd name="csX203" fmla="*/ 365334 w 729419"/>
              <a:gd name="csY203" fmla="*/ 533397 h 2076207"/>
              <a:gd name="csX204" fmla="*/ 354531 w 729419"/>
              <a:gd name="csY204" fmla="*/ 521620 h 2076207"/>
              <a:gd name="csX205" fmla="*/ 259169 w 729419"/>
              <a:gd name="csY205" fmla="*/ 521978 h 2076207"/>
              <a:gd name="csX206" fmla="*/ 227796 w 729419"/>
              <a:gd name="csY206" fmla="*/ 528000 h 2076207"/>
              <a:gd name="csX207" fmla="*/ 508068 w 729419"/>
              <a:gd name="csY207" fmla="*/ 190710 h 2076207"/>
              <a:gd name="csX208" fmla="*/ 521293 w 729419"/>
              <a:gd name="csY208" fmla="*/ 205907 h 2076207"/>
              <a:gd name="csX209" fmla="*/ 525175 w 729419"/>
              <a:gd name="csY209" fmla="*/ 202985 h 2076207"/>
              <a:gd name="csX210" fmla="*/ 500276 w 729419"/>
              <a:gd name="csY210" fmla="*/ 160640 h 2076207"/>
              <a:gd name="csX211" fmla="*/ 497122 w 729419"/>
              <a:gd name="csY211" fmla="*/ 162007 h 2076207"/>
              <a:gd name="csX212" fmla="*/ 508068 w 729419"/>
              <a:gd name="csY212" fmla="*/ 190710 h 2076207"/>
              <a:gd name="csX213" fmla="*/ 215522 w 729419"/>
              <a:gd name="csY213" fmla="*/ 197296 h 2076207"/>
              <a:gd name="csX214" fmla="*/ 234029 w 729419"/>
              <a:gd name="csY214" fmla="*/ 162725 h 2076207"/>
              <a:gd name="csX215" fmla="*/ 229000 w 729419"/>
              <a:gd name="csY215" fmla="*/ 159902 h 2076207"/>
              <a:gd name="csX216" fmla="*/ 204824 w 729419"/>
              <a:gd name="csY216" fmla="*/ 199677 h 2076207"/>
              <a:gd name="csX217" fmla="*/ 207990 w 729419"/>
              <a:gd name="csY217" fmla="*/ 202198 h 2076207"/>
              <a:gd name="csX218" fmla="*/ 215522 w 729419"/>
              <a:gd name="csY218" fmla="*/ 197296 h 2076207"/>
              <a:gd name="csX219" fmla="*/ 484400 w 729419"/>
              <a:gd name="csY219" fmla="*/ 863693 h 2076207"/>
              <a:gd name="csX220" fmla="*/ 484400 w 729419"/>
              <a:gd name="csY220" fmla="*/ 896678 h 2076207"/>
              <a:gd name="csX221" fmla="*/ 486181 w 729419"/>
              <a:gd name="csY221" fmla="*/ 896585 h 2076207"/>
              <a:gd name="csX222" fmla="*/ 486181 w 729419"/>
              <a:gd name="csY222" fmla="*/ 795289 h 2076207"/>
              <a:gd name="csX223" fmla="*/ 484406 w 729419"/>
              <a:gd name="csY223" fmla="*/ 795283 h 2076207"/>
              <a:gd name="csX224" fmla="*/ 484400 w 729419"/>
              <a:gd name="csY224" fmla="*/ 863693 h 2076207"/>
              <a:gd name="csX225" fmla="*/ 720241 w 729419"/>
              <a:gd name="csY225" fmla="*/ 2030666 h 2076207"/>
              <a:gd name="csX226" fmla="*/ 721175 w 729419"/>
              <a:gd name="csY226" fmla="*/ 2029733 h 2076207"/>
              <a:gd name="csX227" fmla="*/ 720241 w 729419"/>
              <a:gd name="csY227" fmla="*/ 2030666 h 2076207"/>
              <a:gd name="csX228" fmla="*/ 715702 w 729419"/>
              <a:gd name="csY228" fmla="*/ 2037051 h 2076207"/>
              <a:gd name="csX229" fmla="*/ 715702 w 729419"/>
              <a:gd name="csY229" fmla="*/ 2037051 h 2076207"/>
              <a:gd name="csX230" fmla="*/ 709953 w 729419"/>
              <a:gd name="csY230" fmla="*/ 2040017 h 2076207"/>
              <a:gd name="csX231" fmla="*/ 710209 w 729419"/>
              <a:gd name="csY231" fmla="*/ 2039597 h 2076207"/>
              <a:gd name="csX232" fmla="*/ 709953 w 729419"/>
              <a:gd name="csY232" fmla="*/ 2040017 h 2076207"/>
              <a:gd name="csX0" fmla="*/ 96263 w 729419"/>
              <a:gd name="csY0" fmla="*/ 2076207 h 2076207"/>
              <a:gd name="csX1" fmla="*/ 63862 w 729419"/>
              <a:gd name="csY1" fmla="*/ 2065388 h 2076207"/>
              <a:gd name="csX2" fmla="*/ 16555 w 729419"/>
              <a:gd name="csY2" fmla="*/ 2050152 h 2076207"/>
              <a:gd name="csX3" fmla="*/ 15 w 729419"/>
              <a:gd name="csY3" fmla="*/ 2023802 h 2076207"/>
              <a:gd name="csX4" fmla="*/ 18368 w 729419"/>
              <a:gd name="csY4" fmla="*/ 1940709 h 2076207"/>
              <a:gd name="csX5" fmla="*/ 22139 w 729419"/>
              <a:gd name="csY5" fmla="*/ 1907268 h 2076207"/>
              <a:gd name="csX6" fmla="*/ 57941 w 729419"/>
              <a:gd name="csY6" fmla="*/ 1774163 h 2076207"/>
              <a:gd name="csX7" fmla="*/ 102478 w 729419"/>
              <a:gd name="csY7" fmla="*/ 1720275 h 2076207"/>
              <a:gd name="csX8" fmla="*/ 108579 w 729419"/>
              <a:gd name="csY8" fmla="*/ 1650967 h 2076207"/>
              <a:gd name="csX9" fmla="*/ 115628 w 729419"/>
              <a:gd name="csY9" fmla="*/ 1625405 h 2076207"/>
              <a:gd name="csX10" fmla="*/ 156323 w 729419"/>
              <a:gd name="csY10" fmla="*/ 1560181 h 2076207"/>
              <a:gd name="csX11" fmla="*/ 199424 w 729419"/>
              <a:gd name="csY11" fmla="*/ 1364729 h 2076207"/>
              <a:gd name="csX12" fmla="*/ 216779 w 729419"/>
              <a:gd name="csY12" fmla="*/ 1219490 h 2076207"/>
              <a:gd name="csX13" fmla="*/ 229755 w 729419"/>
              <a:gd name="csY13" fmla="*/ 1099357 h 2076207"/>
              <a:gd name="csX14" fmla="*/ 232707 w 729419"/>
              <a:gd name="csY14" fmla="*/ 1056423 h 2076207"/>
              <a:gd name="csX15" fmla="*/ 235622 w 729419"/>
              <a:gd name="csY15" fmla="*/ 952675 h 2076207"/>
              <a:gd name="csX16" fmla="*/ 235445 w 729419"/>
              <a:gd name="csY16" fmla="*/ 780278 h 2076207"/>
              <a:gd name="csX17" fmla="*/ 214544 w 729419"/>
              <a:gd name="csY17" fmla="*/ 756435 h 2076207"/>
              <a:gd name="csX18" fmla="*/ 172569 w 729419"/>
              <a:gd name="csY18" fmla="*/ 742582 h 2076207"/>
              <a:gd name="csX19" fmla="*/ 168784 w 729419"/>
              <a:gd name="csY19" fmla="*/ 669116 h 2076207"/>
              <a:gd name="csX20" fmla="*/ 191657 w 729419"/>
              <a:gd name="csY20" fmla="*/ 630765 h 2076207"/>
              <a:gd name="csX21" fmla="*/ 208150 w 729419"/>
              <a:gd name="csY21" fmla="*/ 609084 h 2076207"/>
              <a:gd name="csX22" fmla="*/ 216756 w 729419"/>
              <a:gd name="csY22" fmla="*/ 558673 h 2076207"/>
              <a:gd name="csX23" fmla="*/ 209092 w 729419"/>
              <a:gd name="csY23" fmla="*/ 521540 h 2076207"/>
              <a:gd name="csX24" fmla="*/ 204683 w 729419"/>
              <a:gd name="csY24" fmla="*/ 474024 h 2076207"/>
              <a:gd name="csX25" fmla="*/ 115483 w 729419"/>
              <a:gd name="csY25" fmla="*/ 213499 h 2076207"/>
              <a:gd name="csX26" fmla="*/ 102909 w 729419"/>
              <a:gd name="csY26" fmla="*/ 182297 h 2076207"/>
              <a:gd name="csX27" fmla="*/ 104315 w 729419"/>
              <a:gd name="csY27" fmla="*/ 163968 h 2076207"/>
              <a:gd name="csX28" fmla="*/ 122444 w 729419"/>
              <a:gd name="csY28" fmla="*/ 160805 h 2076207"/>
              <a:gd name="csX29" fmla="*/ 170283 w 729419"/>
              <a:gd name="csY29" fmla="*/ 187783 h 2076207"/>
              <a:gd name="csX30" fmla="*/ 180938 w 729419"/>
              <a:gd name="csY30" fmla="*/ 195322 h 2076207"/>
              <a:gd name="csX31" fmla="*/ 221419 w 729419"/>
              <a:gd name="csY31" fmla="*/ 138058 h 2076207"/>
              <a:gd name="csX32" fmla="*/ 294099 w 729419"/>
              <a:gd name="csY32" fmla="*/ 91372 h 2076207"/>
              <a:gd name="csX33" fmla="*/ 302307 w 729419"/>
              <a:gd name="csY33" fmla="*/ 76560 h 2076207"/>
              <a:gd name="csX34" fmla="*/ 320284 w 729419"/>
              <a:gd name="csY34" fmla="*/ 8414 h 2076207"/>
              <a:gd name="csX35" fmla="*/ 324784 w 729419"/>
              <a:gd name="csY35" fmla="*/ 946 h 2076207"/>
              <a:gd name="csX36" fmla="*/ 399212 w 729419"/>
              <a:gd name="csY36" fmla="*/ 0 h 2076207"/>
              <a:gd name="csX37" fmla="*/ 425980 w 729419"/>
              <a:gd name="csY37" fmla="*/ 78301 h 2076207"/>
              <a:gd name="csX38" fmla="*/ 431861 w 729419"/>
              <a:gd name="csY38" fmla="*/ 90312 h 2076207"/>
              <a:gd name="csX39" fmla="*/ 540349 w 729419"/>
              <a:gd name="csY39" fmla="*/ 187946 h 2076207"/>
              <a:gd name="csX40" fmla="*/ 545555 w 729419"/>
              <a:gd name="csY40" fmla="*/ 197828 h 2076207"/>
              <a:gd name="csX41" fmla="*/ 587318 w 729419"/>
              <a:gd name="csY41" fmla="*/ 171260 h 2076207"/>
              <a:gd name="csX42" fmla="*/ 601503 w 729419"/>
              <a:gd name="csY42" fmla="*/ 163707 h 2076207"/>
              <a:gd name="csX43" fmla="*/ 625254 w 729419"/>
              <a:gd name="csY43" fmla="*/ 163123 h 2076207"/>
              <a:gd name="csX44" fmla="*/ 625468 w 729419"/>
              <a:gd name="csY44" fmla="*/ 187579 h 2076207"/>
              <a:gd name="csX45" fmla="*/ 597543 w 729419"/>
              <a:gd name="csY45" fmla="*/ 251872 h 2076207"/>
              <a:gd name="csX46" fmla="*/ 531831 w 729419"/>
              <a:gd name="csY46" fmla="*/ 442689 h 2076207"/>
              <a:gd name="csX47" fmla="*/ 519888 w 729419"/>
              <a:gd name="csY47" fmla="*/ 501474 h 2076207"/>
              <a:gd name="csX48" fmla="*/ 522506 w 729419"/>
              <a:gd name="csY48" fmla="*/ 525086 h 2076207"/>
              <a:gd name="csX49" fmla="*/ 516235 w 729419"/>
              <a:gd name="csY49" fmla="*/ 555946 h 2076207"/>
              <a:gd name="csX50" fmla="*/ 521332 w 729419"/>
              <a:gd name="csY50" fmla="*/ 610676 h 2076207"/>
              <a:gd name="csX51" fmla="*/ 541382 w 729419"/>
              <a:gd name="csY51" fmla="*/ 642597 h 2076207"/>
              <a:gd name="csX52" fmla="*/ 557031 w 729419"/>
              <a:gd name="csY52" fmla="*/ 667949 h 2076207"/>
              <a:gd name="csX53" fmla="*/ 553994 w 729419"/>
              <a:gd name="csY53" fmla="*/ 744146 h 2076207"/>
              <a:gd name="csX54" fmla="*/ 508215 w 729419"/>
              <a:gd name="csY54" fmla="*/ 758841 h 2076207"/>
              <a:gd name="csX55" fmla="*/ 497442 w 729419"/>
              <a:gd name="csY55" fmla="*/ 771256 h 2076207"/>
              <a:gd name="csX56" fmla="*/ 493005 w 729419"/>
              <a:gd name="csY56" fmla="*/ 922055 h 2076207"/>
              <a:gd name="csX57" fmla="*/ 502900 w 729419"/>
              <a:gd name="csY57" fmla="*/ 1114191 h 2076207"/>
              <a:gd name="csX58" fmla="*/ 508800 w 729419"/>
              <a:gd name="csY58" fmla="*/ 1205474 h 2076207"/>
              <a:gd name="csX59" fmla="*/ 522952 w 729419"/>
              <a:gd name="csY59" fmla="*/ 1320065 h 2076207"/>
              <a:gd name="csX60" fmla="*/ 554682 w 729419"/>
              <a:gd name="csY60" fmla="*/ 1501203 h 2076207"/>
              <a:gd name="csX61" fmla="*/ 576958 w 729419"/>
              <a:gd name="csY61" fmla="*/ 1593963 h 2076207"/>
              <a:gd name="csX62" fmla="*/ 595349 w 729419"/>
              <a:gd name="csY62" fmla="*/ 1613498 h 2076207"/>
              <a:gd name="csX63" fmla="*/ 613936 w 729419"/>
              <a:gd name="csY63" fmla="*/ 1624058 h 2076207"/>
              <a:gd name="csX64" fmla="*/ 620938 w 729419"/>
              <a:gd name="csY64" fmla="*/ 1652071 h 2076207"/>
              <a:gd name="csX65" fmla="*/ 630805 w 729419"/>
              <a:gd name="csY65" fmla="*/ 1721702 h 2076207"/>
              <a:gd name="csX66" fmla="*/ 685830 w 729419"/>
              <a:gd name="csY66" fmla="*/ 1792915 h 2076207"/>
              <a:gd name="csX67" fmla="*/ 708904 w 729419"/>
              <a:gd name="csY67" fmla="*/ 1890290 h 2076207"/>
              <a:gd name="csX68" fmla="*/ 716580 w 729419"/>
              <a:gd name="csY68" fmla="*/ 1951136 h 2076207"/>
              <a:gd name="csX69" fmla="*/ 729397 w 729419"/>
              <a:gd name="csY69" fmla="*/ 2030261 h 2076207"/>
              <a:gd name="csX70" fmla="*/ 714212 w 729419"/>
              <a:gd name="csY70" fmla="*/ 2049544 h 2076207"/>
              <a:gd name="csX71" fmla="*/ 645428 w 729419"/>
              <a:gd name="csY71" fmla="*/ 2070825 h 2076207"/>
              <a:gd name="csX72" fmla="*/ 635822 w 729419"/>
              <a:gd name="csY72" fmla="*/ 2075145 h 2076207"/>
              <a:gd name="csX73" fmla="*/ 588428 w 729419"/>
              <a:gd name="csY73" fmla="*/ 2075144 h 2076207"/>
              <a:gd name="csX74" fmla="*/ 590041 w 729419"/>
              <a:gd name="csY74" fmla="*/ 2071383 h 2076207"/>
              <a:gd name="csX75" fmla="*/ 667788 w 729419"/>
              <a:gd name="csY75" fmla="*/ 2056852 h 2076207"/>
              <a:gd name="csX76" fmla="*/ 706629 w 729419"/>
              <a:gd name="csY76" fmla="*/ 2044290 h 2076207"/>
              <a:gd name="csX77" fmla="*/ 702674 w 729419"/>
              <a:gd name="csY77" fmla="*/ 2041581 h 2076207"/>
              <a:gd name="csX78" fmla="*/ 544974 w 729419"/>
              <a:gd name="csY78" fmla="*/ 2071274 h 2076207"/>
              <a:gd name="csX79" fmla="*/ 538352 w 729419"/>
              <a:gd name="csY79" fmla="*/ 2076207 h 2076207"/>
              <a:gd name="csX80" fmla="*/ 96263 w 729419"/>
              <a:gd name="csY80" fmla="*/ 2076207 h 2076207"/>
              <a:gd name="csX81" fmla="*/ 489970 w 729419"/>
              <a:gd name="csY81" fmla="*/ 152208 h 2076207"/>
              <a:gd name="csX82" fmla="*/ 490754 w 729419"/>
              <a:gd name="csY82" fmla="*/ 152592 h 2076207"/>
              <a:gd name="csX83" fmla="*/ 489489 w 729419"/>
              <a:gd name="csY83" fmla="*/ 149547 h 2076207"/>
              <a:gd name="csX84" fmla="*/ 393621 w 729419"/>
              <a:gd name="csY84" fmla="*/ 99259 h 2076207"/>
              <a:gd name="csX85" fmla="*/ 390419 w 729419"/>
              <a:gd name="csY85" fmla="*/ 18568 h 2076207"/>
              <a:gd name="csX86" fmla="*/ 334131 w 729419"/>
              <a:gd name="csY86" fmla="*/ 24327 h 2076207"/>
              <a:gd name="csX87" fmla="*/ 344678 w 729419"/>
              <a:gd name="csY87" fmla="*/ 101259 h 2076207"/>
              <a:gd name="csX88" fmla="*/ 298854 w 729419"/>
              <a:gd name="csY88" fmla="*/ 114003 h 2076207"/>
              <a:gd name="csX89" fmla="*/ 237456 w 729419"/>
              <a:gd name="csY89" fmla="*/ 154340 h 2076207"/>
              <a:gd name="csX90" fmla="*/ 240382 w 729419"/>
              <a:gd name="csY90" fmla="*/ 154035 h 2076207"/>
              <a:gd name="csX91" fmla="*/ 262731 w 729419"/>
              <a:gd name="csY91" fmla="*/ 170426 h 2076207"/>
              <a:gd name="csX92" fmla="*/ 279169 w 729419"/>
              <a:gd name="csY92" fmla="*/ 193173 h 2076207"/>
              <a:gd name="csX93" fmla="*/ 327717 w 729419"/>
              <a:gd name="csY93" fmla="*/ 188556 h 2076207"/>
              <a:gd name="csX94" fmla="*/ 348052 w 729419"/>
              <a:gd name="csY94" fmla="*/ 156919 h 2076207"/>
              <a:gd name="csX95" fmla="*/ 380330 w 729419"/>
              <a:gd name="csY95" fmla="*/ 156483 h 2076207"/>
              <a:gd name="csX96" fmla="*/ 408490 w 729419"/>
              <a:gd name="csY96" fmla="*/ 195400 h 2076207"/>
              <a:gd name="csX97" fmla="*/ 445346 w 729419"/>
              <a:gd name="csY97" fmla="*/ 197582 h 2076207"/>
              <a:gd name="csX98" fmla="*/ 464798 w 729419"/>
              <a:gd name="csY98" fmla="*/ 174107 h 2076207"/>
              <a:gd name="csX99" fmla="*/ 489970 w 729419"/>
              <a:gd name="csY99" fmla="*/ 152208 h 2076207"/>
              <a:gd name="csX100" fmla="*/ 140694 w 729419"/>
              <a:gd name="csY100" fmla="*/ 201837 h 2076207"/>
              <a:gd name="csX101" fmla="*/ 139834 w 729419"/>
              <a:gd name="csY101" fmla="*/ 201482 h 2076207"/>
              <a:gd name="csX102" fmla="*/ 140812 w 729419"/>
              <a:gd name="csY102" fmla="*/ 204941 h 2076207"/>
              <a:gd name="csX103" fmla="*/ 144631 w 729419"/>
              <a:gd name="csY103" fmla="*/ 217811 h 2076207"/>
              <a:gd name="csX104" fmla="*/ 201241 w 729419"/>
              <a:gd name="csY104" fmla="*/ 373387 h 2076207"/>
              <a:gd name="csX105" fmla="*/ 235971 w 729419"/>
              <a:gd name="csY105" fmla="*/ 504451 h 2076207"/>
              <a:gd name="csX106" fmla="*/ 247475 w 729419"/>
              <a:gd name="csY106" fmla="*/ 513241 h 2076207"/>
              <a:gd name="csX107" fmla="*/ 289066 w 729419"/>
              <a:gd name="csY107" fmla="*/ 511170 h 2076207"/>
              <a:gd name="csX108" fmla="*/ 378229 w 729419"/>
              <a:gd name="csY108" fmla="*/ 511084 h 2076207"/>
              <a:gd name="csX109" fmla="*/ 470850 w 729419"/>
              <a:gd name="csY109" fmla="*/ 516341 h 2076207"/>
              <a:gd name="csX110" fmla="*/ 492933 w 729419"/>
              <a:gd name="csY110" fmla="*/ 497969 h 2076207"/>
              <a:gd name="csX111" fmla="*/ 557617 w 729419"/>
              <a:gd name="csY111" fmla="*/ 280398 h 2076207"/>
              <a:gd name="csX112" fmla="*/ 588788 w 729419"/>
              <a:gd name="csY112" fmla="*/ 200385 h 2076207"/>
              <a:gd name="csX113" fmla="*/ 530958 w 729419"/>
              <a:gd name="csY113" fmla="*/ 232968 h 2076207"/>
              <a:gd name="csX114" fmla="*/ 483823 w 729419"/>
              <a:gd name="csY114" fmla="*/ 190364 h 2076207"/>
              <a:gd name="csX115" fmla="*/ 466649 w 729419"/>
              <a:gd name="csY115" fmla="*/ 209061 h 2076207"/>
              <a:gd name="csX116" fmla="*/ 399941 w 729419"/>
              <a:gd name="csY116" fmla="*/ 216988 h 2076207"/>
              <a:gd name="csX117" fmla="*/ 363018 w 729419"/>
              <a:gd name="csY117" fmla="*/ 179615 h 2076207"/>
              <a:gd name="csX118" fmla="*/ 308839 w 729419"/>
              <a:gd name="csY118" fmla="*/ 227846 h 2076207"/>
              <a:gd name="csX119" fmla="*/ 245077 w 729419"/>
              <a:gd name="csY119" fmla="*/ 192402 h 2076207"/>
              <a:gd name="csX120" fmla="*/ 242829 w 729419"/>
              <a:gd name="csY120" fmla="*/ 198815 h 2076207"/>
              <a:gd name="csX121" fmla="*/ 168452 w 729419"/>
              <a:gd name="csY121" fmla="*/ 219348 h 2076207"/>
              <a:gd name="csX122" fmla="*/ 140694 w 729419"/>
              <a:gd name="csY122" fmla="*/ 201837 h 2076207"/>
              <a:gd name="csX123" fmla="*/ 259999 w 729419"/>
              <a:gd name="csY123" fmla="*/ 966699 h 2076207"/>
              <a:gd name="csX124" fmla="*/ 257072 w 729419"/>
              <a:gd name="csY124" fmla="*/ 1070424 h 2076207"/>
              <a:gd name="csX125" fmla="*/ 251372 w 729419"/>
              <a:gd name="csY125" fmla="*/ 1157618 h 2076207"/>
              <a:gd name="csX126" fmla="*/ 232677 w 729419"/>
              <a:gd name="csY126" fmla="*/ 1320279 h 2076207"/>
              <a:gd name="csX127" fmla="*/ 209182 w 729419"/>
              <a:gd name="csY127" fmla="*/ 1468667 h 2076207"/>
              <a:gd name="csX128" fmla="*/ 175302 w 729419"/>
              <a:gd name="csY128" fmla="*/ 1616623 h 2076207"/>
              <a:gd name="csX129" fmla="*/ 182769 w 729419"/>
              <a:gd name="csY129" fmla="*/ 1629786 h 2076207"/>
              <a:gd name="csX130" fmla="*/ 212156 w 729419"/>
              <a:gd name="csY130" fmla="*/ 1632656 h 2076207"/>
              <a:gd name="csX131" fmla="*/ 351295 w 729419"/>
              <a:gd name="csY131" fmla="*/ 1632801 h 2076207"/>
              <a:gd name="csX132" fmla="*/ 376150 w 729419"/>
              <a:gd name="csY132" fmla="*/ 1608307 h 2076207"/>
              <a:gd name="csX133" fmla="*/ 373450 w 729419"/>
              <a:gd name="csY133" fmla="*/ 1457291 h 2076207"/>
              <a:gd name="csX134" fmla="*/ 370936 w 729419"/>
              <a:gd name="csY134" fmla="*/ 1342736 h 2076207"/>
              <a:gd name="csX135" fmla="*/ 368328 w 729419"/>
              <a:gd name="csY135" fmla="*/ 1203878 h 2076207"/>
              <a:gd name="csX136" fmla="*/ 367836 w 729419"/>
              <a:gd name="csY136" fmla="*/ 813478 h 2076207"/>
              <a:gd name="csX137" fmla="*/ 365240 w 729419"/>
              <a:gd name="csY137" fmla="*/ 773243 h 2076207"/>
              <a:gd name="csX138" fmla="*/ 353084 w 729419"/>
              <a:gd name="csY138" fmla="*/ 762083 h 2076207"/>
              <a:gd name="csX139" fmla="*/ 280966 w 729419"/>
              <a:gd name="csY139" fmla="*/ 759855 h 2076207"/>
              <a:gd name="csX140" fmla="*/ 259965 w 729419"/>
              <a:gd name="csY140" fmla="*/ 779553 h 2076207"/>
              <a:gd name="csX141" fmla="*/ 262341 w 729419"/>
              <a:gd name="csY141" fmla="*/ 856275 h 2076207"/>
              <a:gd name="csX142" fmla="*/ 259999 w 729419"/>
              <a:gd name="csY142" fmla="*/ 966699 h 2076207"/>
              <a:gd name="csX143" fmla="*/ 55556 w 729419"/>
              <a:gd name="csY143" fmla="*/ 1835827 h 2076207"/>
              <a:gd name="csX144" fmla="*/ 49393 w 729419"/>
              <a:gd name="csY144" fmla="*/ 1878155 h 2076207"/>
              <a:gd name="csX145" fmla="*/ 73949 w 729419"/>
              <a:gd name="csY145" fmla="*/ 1905781 h 2076207"/>
              <a:gd name="csX146" fmla="*/ 110073 w 729419"/>
              <a:gd name="csY146" fmla="*/ 1909068 h 2076207"/>
              <a:gd name="csX147" fmla="*/ 224745 w 729419"/>
              <a:gd name="csY147" fmla="*/ 1921652 h 2076207"/>
              <a:gd name="csX148" fmla="*/ 347327 w 729419"/>
              <a:gd name="csY148" fmla="*/ 1924778 h 2076207"/>
              <a:gd name="csX149" fmla="*/ 363345 w 729419"/>
              <a:gd name="csY149" fmla="*/ 1923293 h 2076207"/>
              <a:gd name="csX150" fmla="*/ 373787 w 729419"/>
              <a:gd name="csY150" fmla="*/ 1911200 h 2076207"/>
              <a:gd name="csX151" fmla="*/ 376623 w 729419"/>
              <a:gd name="csY151" fmla="*/ 1696741 h 2076207"/>
              <a:gd name="csX152" fmla="*/ 360437 w 729419"/>
              <a:gd name="csY152" fmla="*/ 1681289 h 2076207"/>
              <a:gd name="csX153" fmla="*/ 263503 w 729419"/>
              <a:gd name="csY153" fmla="*/ 1678179 h 2076207"/>
              <a:gd name="csX154" fmla="*/ 160381 w 729419"/>
              <a:gd name="csY154" fmla="*/ 1670405 h 2076207"/>
              <a:gd name="csX155" fmla="*/ 143321 w 729419"/>
              <a:gd name="csY155" fmla="*/ 1685538 h 2076207"/>
              <a:gd name="csX156" fmla="*/ 124769 w 729419"/>
              <a:gd name="csY156" fmla="*/ 1738195 h 2076207"/>
              <a:gd name="csX157" fmla="*/ 90593 w 729419"/>
              <a:gd name="csY157" fmla="*/ 1779570 h 2076207"/>
              <a:gd name="csX158" fmla="*/ 55556 w 729419"/>
              <a:gd name="csY158" fmla="*/ 1835827 h 2076207"/>
              <a:gd name="csX159" fmla="*/ 378900 w 729419"/>
              <a:gd name="csY159" fmla="*/ 2007280 h 2076207"/>
              <a:gd name="csX160" fmla="*/ 378887 w 729419"/>
              <a:gd name="csY160" fmla="*/ 1995127 h 2076207"/>
              <a:gd name="csX161" fmla="*/ 359084 w 729419"/>
              <a:gd name="csY161" fmla="*/ 1975964 h 2076207"/>
              <a:gd name="csX162" fmla="*/ 247288 w 729419"/>
              <a:gd name="csY162" fmla="*/ 1973305 h 2076207"/>
              <a:gd name="csX163" fmla="*/ 201692 w 729419"/>
              <a:gd name="csY163" fmla="*/ 1970275 h 2076207"/>
              <a:gd name="csX164" fmla="*/ 57962 w 729419"/>
              <a:gd name="csY164" fmla="*/ 1952648 h 2076207"/>
              <a:gd name="csX165" fmla="*/ 39194 w 729419"/>
              <a:gd name="csY165" fmla="*/ 1963552 h 2076207"/>
              <a:gd name="csX166" fmla="*/ 30066 w 729419"/>
              <a:gd name="csY166" fmla="*/ 2006631 h 2076207"/>
              <a:gd name="csX167" fmla="*/ 40232 w 729419"/>
              <a:gd name="csY167" fmla="*/ 2019486 h 2076207"/>
              <a:gd name="csX168" fmla="*/ 238186 w 729419"/>
              <a:gd name="csY168" fmla="*/ 2046096 h 2076207"/>
              <a:gd name="csX169" fmla="*/ 342155 w 729419"/>
              <a:gd name="csY169" fmla="*/ 2046441 h 2076207"/>
              <a:gd name="csX170" fmla="*/ 378900 w 729419"/>
              <a:gd name="csY170" fmla="*/ 2007280 h 2076207"/>
              <a:gd name="csX171" fmla="*/ 310220 w 729419"/>
              <a:gd name="csY171" fmla="*/ 554288 h 2076207"/>
              <a:gd name="csX172" fmla="*/ 259136 w 729419"/>
              <a:gd name="csY172" fmla="*/ 556881 h 2076207"/>
              <a:gd name="csX173" fmla="*/ 249085 w 729419"/>
              <a:gd name="csY173" fmla="*/ 567981 h 2076207"/>
              <a:gd name="csX174" fmla="*/ 249141 w 729419"/>
              <a:gd name="csY174" fmla="*/ 605644 h 2076207"/>
              <a:gd name="csX175" fmla="*/ 262628 w 729419"/>
              <a:gd name="csY175" fmla="*/ 605627 h 2076207"/>
              <a:gd name="csX176" fmla="*/ 369608 w 729419"/>
              <a:gd name="csY176" fmla="*/ 603027 h 2076207"/>
              <a:gd name="csX177" fmla="*/ 463931 w 729419"/>
              <a:gd name="csY177" fmla="*/ 605146 h 2076207"/>
              <a:gd name="csX178" fmla="*/ 478113 w 729419"/>
              <a:gd name="csY178" fmla="*/ 595843 h 2076207"/>
              <a:gd name="csX179" fmla="*/ 478796 w 729419"/>
              <a:gd name="csY179" fmla="*/ 556832 h 2076207"/>
              <a:gd name="csX180" fmla="*/ 310220 w 729419"/>
              <a:gd name="csY180" fmla="*/ 554288 h 2076207"/>
              <a:gd name="csX181" fmla="*/ 348836 w 729419"/>
              <a:gd name="csY181" fmla="*/ 684115 h 2076207"/>
              <a:gd name="csX182" fmla="*/ 281333 w 729419"/>
              <a:gd name="csY182" fmla="*/ 683313 h 2076207"/>
              <a:gd name="csX183" fmla="*/ 212728 w 729419"/>
              <a:gd name="csY183" fmla="*/ 681931 h 2076207"/>
              <a:gd name="csX184" fmla="*/ 187283 w 729419"/>
              <a:gd name="csY184" fmla="*/ 689555 h 2076207"/>
              <a:gd name="csX185" fmla="*/ 186163 w 729419"/>
              <a:gd name="csY185" fmla="*/ 718266 h 2076207"/>
              <a:gd name="csX186" fmla="*/ 209894 w 729419"/>
              <a:gd name="csY186" fmla="*/ 726798 h 2076207"/>
              <a:gd name="csX187" fmla="*/ 334814 w 729419"/>
              <a:gd name="csY187" fmla="*/ 732494 h 2076207"/>
              <a:gd name="csX188" fmla="*/ 364856 w 729419"/>
              <a:gd name="csY188" fmla="*/ 707963 h 2076207"/>
              <a:gd name="csX189" fmla="*/ 348836 w 729419"/>
              <a:gd name="csY189" fmla="*/ 684115 h 2076207"/>
              <a:gd name="csX190" fmla="*/ 298865 w 729419"/>
              <a:gd name="csY190" fmla="*/ 621954 h 2076207"/>
              <a:gd name="csX191" fmla="*/ 251619 w 729419"/>
              <a:gd name="csY191" fmla="*/ 622133 h 2076207"/>
              <a:gd name="csX192" fmla="*/ 214459 w 729419"/>
              <a:gd name="csY192" fmla="*/ 636230 h 2076207"/>
              <a:gd name="csX193" fmla="*/ 221436 w 729419"/>
              <a:gd name="csY193" fmla="*/ 654205 h 2076207"/>
              <a:gd name="csX194" fmla="*/ 272412 w 729419"/>
              <a:gd name="csY194" fmla="*/ 657250 h 2076207"/>
              <a:gd name="csX195" fmla="*/ 349094 w 729419"/>
              <a:gd name="csY195" fmla="*/ 659282 h 2076207"/>
              <a:gd name="csX196" fmla="*/ 362996 w 729419"/>
              <a:gd name="csY196" fmla="*/ 644234 h 2076207"/>
              <a:gd name="csX197" fmla="*/ 348472 w 729419"/>
              <a:gd name="csY197" fmla="*/ 624649 h 2076207"/>
              <a:gd name="csX198" fmla="*/ 298865 w 729419"/>
              <a:gd name="csY198" fmla="*/ 621954 h 2076207"/>
              <a:gd name="csX199" fmla="*/ 227796 w 729419"/>
              <a:gd name="csY199" fmla="*/ 528000 h 2076207"/>
              <a:gd name="csX200" fmla="*/ 241009 w 729419"/>
              <a:gd name="csY200" fmla="*/ 545897 h 2076207"/>
              <a:gd name="csX201" fmla="*/ 282607 w 729419"/>
              <a:gd name="csY201" fmla="*/ 543480 h 2076207"/>
              <a:gd name="csX202" fmla="*/ 354213 w 729419"/>
              <a:gd name="csY202" fmla="*/ 543384 h 2076207"/>
              <a:gd name="csX203" fmla="*/ 365334 w 729419"/>
              <a:gd name="csY203" fmla="*/ 533397 h 2076207"/>
              <a:gd name="csX204" fmla="*/ 354531 w 729419"/>
              <a:gd name="csY204" fmla="*/ 521620 h 2076207"/>
              <a:gd name="csX205" fmla="*/ 259169 w 729419"/>
              <a:gd name="csY205" fmla="*/ 521978 h 2076207"/>
              <a:gd name="csX206" fmla="*/ 227796 w 729419"/>
              <a:gd name="csY206" fmla="*/ 528000 h 2076207"/>
              <a:gd name="csX207" fmla="*/ 508068 w 729419"/>
              <a:gd name="csY207" fmla="*/ 190710 h 2076207"/>
              <a:gd name="csX208" fmla="*/ 521293 w 729419"/>
              <a:gd name="csY208" fmla="*/ 205907 h 2076207"/>
              <a:gd name="csX209" fmla="*/ 525175 w 729419"/>
              <a:gd name="csY209" fmla="*/ 202985 h 2076207"/>
              <a:gd name="csX210" fmla="*/ 500276 w 729419"/>
              <a:gd name="csY210" fmla="*/ 160640 h 2076207"/>
              <a:gd name="csX211" fmla="*/ 497122 w 729419"/>
              <a:gd name="csY211" fmla="*/ 162007 h 2076207"/>
              <a:gd name="csX212" fmla="*/ 508068 w 729419"/>
              <a:gd name="csY212" fmla="*/ 190710 h 2076207"/>
              <a:gd name="csX213" fmla="*/ 215522 w 729419"/>
              <a:gd name="csY213" fmla="*/ 197296 h 2076207"/>
              <a:gd name="csX214" fmla="*/ 234029 w 729419"/>
              <a:gd name="csY214" fmla="*/ 162725 h 2076207"/>
              <a:gd name="csX215" fmla="*/ 229000 w 729419"/>
              <a:gd name="csY215" fmla="*/ 159902 h 2076207"/>
              <a:gd name="csX216" fmla="*/ 204824 w 729419"/>
              <a:gd name="csY216" fmla="*/ 199677 h 2076207"/>
              <a:gd name="csX217" fmla="*/ 207990 w 729419"/>
              <a:gd name="csY217" fmla="*/ 202198 h 2076207"/>
              <a:gd name="csX218" fmla="*/ 215522 w 729419"/>
              <a:gd name="csY218" fmla="*/ 197296 h 2076207"/>
              <a:gd name="csX219" fmla="*/ 484400 w 729419"/>
              <a:gd name="csY219" fmla="*/ 863693 h 2076207"/>
              <a:gd name="csX220" fmla="*/ 484400 w 729419"/>
              <a:gd name="csY220" fmla="*/ 896678 h 2076207"/>
              <a:gd name="csX221" fmla="*/ 486181 w 729419"/>
              <a:gd name="csY221" fmla="*/ 896585 h 2076207"/>
              <a:gd name="csX222" fmla="*/ 486181 w 729419"/>
              <a:gd name="csY222" fmla="*/ 795289 h 2076207"/>
              <a:gd name="csX223" fmla="*/ 484400 w 729419"/>
              <a:gd name="csY223" fmla="*/ 863693 h 2076207"/>
              <a:gd name="csX224" fmla="*/ 720241 w 729419"/>
              <a:gd name="csY224" fmla="*/ 2030666 h 2076207"/>
              <a:gd name="csX225" fmla="*/ 721175 w 729419"/>
              <a:gd name="csY225" fmla="*/ 2029733 h 2076207"/>
              <a:gd name="csX226" fmla="*/ 720241 w 729419"/>
              <a:gd name="csY226" fmla="*/ 2030666 h 2076207"/>
              <a:gd name="csX227" fmla="*/ 715702 w 729419"/>
              <a:gd name="csY227" fmla="*/ 2037051 h 2076207"/>
              <a:gd name="csX228" fmla="*/ 715702 w 729419"/>
              <a:gd name="csY228" fmla="*/ 2037051 h 2076207"/>
              <a:gd name="csX229" fmla="*/ 709953 w 729419"/>
              <a:gd name="csY229" fmla="*/ 2040017 h 2076207"/>
              <a:gd name="csX230" fmla="*/ 710209 w 729419"/>
              <a:gd name="csY230" fmla="*/ 2039597 h 2076207"/>
              <a:gd name="csX231" fmla="*/ 709953 w 729419"/>
              <a:gd name="csY231" fmla="*/ 2040017 h 2076207"/>
              <a:gd name="csX0" fmla="*/ 96263 w 729419"/>
              <a:gd name="csY0" fmla="*/ 2076207 h 2076207"/>
              <a:gd name="csX1" fmla="*/ 63862 w 729419"/>
              <a:gd name="csY1" fmla="*/ 2065388 h 2076207"/>
              <a:gd name="csX2" fmla="*/ 16555 w 729419"/>
              <a:gd name="csY2" fmla="*/ 2050152 h 2076207"/>
              <a:gd name="csX3" fmla="*/ 15 w 729419"/>
              <a:gd name="csY3" fmla="*/ 2023802 h 2076207"/>
              <a:gd name="csX4" fmla="*/ 18368 w 729419"/>
              <a:gd name="csY4" fmla="*/ 1940709 h 2076207"/>
              <a:gd name="csX5" fmla="*/ 22139 w 729419"/>
              <a:gd name="csY5" fmla="*/ 1907268 h 2076207"/>
              <a:gd name="csX6" fmla="*/ 57941 w 729419"/>
              <a:gd name="csY6" fmla="*/ 1774163 h 2076207"/>
              <a:gd name="csX7" fmla="*/ 102478 w 729419"/>
              <a:gd name="csY7" fmla="*/ 1720275 h 2076207"/>
              <a:gd name="csX8" fmla="*/ 108579 w 729419"/>
              <a:gd name="csY8" fmla="*/ 1650967 h 2076207"/>
              <a:gd name="csX9" fmla="*/ 115628 w 729419"/>
              <a:gd name="csY9" fmla="*/ 1625405 h 2076207"/>
              <a:gd name="csX10" fmla="*/ 156323 w 729419"/>
              <a:gd name="csY10" fmla="*/ 1560181 h 2076207"/>
              <a:gd name="csX11" fmla="*/ 199424 w 729419"/>
              <a:gd name="csY11" fmla="*/ 1364729 h 2076207"/>
              <a:gd name="csX12" fmla="*/ 216779 w 729419"/>
              <a:gd name="csY12" fmla="*/ 1219490 h 2076207"/>
              <a:gd name="csX13" fmla="*/ 229755 w 729419"/>
              <a:gd name="csY13" fmla="*/ 1099357 h 2076207"/>
              <a:gd name="csX14" fmla="*/ 232707 w 729419"/>
              <a:gd name="csY14" fmla="*/ 1056423 h 2076207"/>
              <a:gd name="csX15" fmla="*/ 235622 w 729419"/>
              <a:gd name="csY15" fmla="*/ 952675 h 2076207"/>
              <a:gd name="csX16" fmla="*/ 235445 w 729419"/>
              <a:gd name="csY16" fmla="*/ 780278 h 2076207"/>
              <a:gd name="csX17" fmla="*/ 214544 w 729419"/>
              <a:gd name="csY17" fmla="*/ 756435 h 2076207"/>
              <a:gd name="csX18" fmla="*/ 172569 w 729419"/>
              <a:gd name="csY18" fmla="*/ 742582 h 2076207"/>
              <a:gd name="csX19" fmla="*/ 168784 w 729419"/>
              <a:gd name="csY19" fmla="*/ 669116 h 2076207"/>
              <a:gd name="csX20" fmla="*/ 191657 w 729419"/>
              <a:gd name="csY20" fmla="*/ 630765 h 2076207"/>
              <a:gd name="csX21" fmla="*/ 208150 w 729419"/>
              <a:gd name="csY21" fmla="*/ 609084 h 2076207"/>
              <a:gd name="csX22" fmla="*/ 216756 w 729419"/>
              <a:gd name="csY22" fmla="*/ 558673 h 2076207"/>
              <a:gd name="csX23" fmla="*/ 209092 w 729419"/>
              <a:gd name="csY23" fmla="*/ 521540 h 2076207"/>
              <a:gd name="csX24" fmla="*/ 204683 w 729419"/>
              <a:gd name="csY24" fmla="*/ 474024 h 2076207"/>
              <a:gd name="csX25" fmla="*/ 115483 w 729419"/>
              <a:gd name="csY25" fmla="*/ 213499 h 2076207"/>
              <a:gd name="csX26" fmla="*/ 102909 w 729419"/>
              <a:gd name="csY26" fmla="*/ 182297 h 2076207"/>
              <a:gd name="csX27" fmla="*/ 104315 w 729419"/>
              <a:gd name="csY27" fmla="*/ 163968 h 2076207"/>
              <a:gd name="csX28" fmla="*/ 122444 w 729419"/>
              <a:gd name="csY28" fmla="*/ 160805 h 2076207"/>
              <a:gd name="csX29" fmla="*/ 170283 w 729419"/>
              <a:gd name="csY29" fmla="*/ 187783 h 2076207"/>
              <a:gd name="csX30" fmla="*/ 180938 w 729419"/>
              <a:gd name="csY30" fmla="*/ 195322 h 2076207"/>
              <a:gd name="csX31" fmla="*/ 221419 w 729419"/>
              <a:gd name="csY31" fmla="*/ 138058 h 2076207"/>
              <a:gd name="csX32" fmla="*/ 294099 w 729419"/>
              <a:gd name="csY32" fmla="*/ 91372 h 2076207"/>
              <a:gd name="csX33" fmla="*/ 302307 w 729419"/>
              <a:gd name="csY33" fmla="*/ 76560 h 2076207"/>
              <a:gd name="csX34" fmla="*/ 320284 w 729419"/>
              <a:gd name="csY34" fmla="*/ 8414 h 2076207"/>
              <a:gd name="csX35" fmla="*/ 324784 w 729419"/>
              <a:gd name="csY35" fmla="*/ 946 h 2076207"/>
              <a:gd name="csX36" fmla="*/ 399212 w 729419"/>
              <a:gd name="csY36" fmla="*/ 0 h 2076207"/>
              <a:gd name="csX37" fmla="*/ 425980 w 729419"/>
              <a:gd name="csY37" fmla="*/ 78301 h 2076207"/>
              <a:gd name="csX38" fmla="*/ 431861 w 729419"/>
              <a:gd name="csY38" fmla="*/ 90312 h 2076207"/>
              <a:gd name="csX39" fmla="*/ 540349 w 729419"/>
              <a:gd name="csY39" fmla="*/ 187946 h 2076207"/>
              <a:gd name="csX40" fmla="*/ 545555 w 729419"/>
              <a:gd name="csY40" fmla="*/ 197828 h 2076207"/>
              <a:gd name="csX41" fmla="*/ 587318 w 729419"/>
              <a:gd name="csY41" fmla="*/ 171260 h 2076207"/>
              <a:gd name="csX42" fmla="*/ 601503 w 729419"/>
              <a:gd name="csY42" fmla="*/ 163707 h 2076207"/>
              <a:gd name="csX43" fmla="*/ 625254 w 729419"/>
              <a:gd name="csY43" fmla="*/ 163123 h 2076207"/>
              <a:gd name="csX44" fmla="*/ 625468 w 729419"/>
              <a:gd name="csY44" fmla="*/ 187579 h 2076207"/>
              <a:gd name="csX45" fmla="*/ 597543 w 729419"/>
              <a:gd name="csY45" fmla="*/ 251872 h 2076207"/>
              <a:gd name="csX46" fmla="*/ 531831 w 729419"/>
              <a:gd name="csY46" fmla="*/ 442689 h 2076207"/>
              <a:gd name="csX47" fmla="*/ 519888 w 729419"/>
              <a:gd name="csY47" fmla="*/ 501474 h 2076207"/>
              <a:gd name="csX48" fmla="*/ 522506 w 729419"/>
              <a:gd name="csY48" fmla="*/ 525086 h 2076207"/>
              <a:gd name="csX49" fmla="*/ 516235 w 729419"/>
              <a:gd name="csY49" fmla="*/ 555946 h 2076207"/>
              <a:gd name="csX50" fmla="*/ 521332 w 729419"/>
              <a:gd name="csY50" fmla="*/ 610676 h 2076207"/>
              <a:gd name="csX51" fmla="*/ 541382 w 729419"/>
              <a:gd name="csY51" fmla="*/ 642597 h 2076207"/>
              <a:gd name="csX52" fmla="*/ 557031 w 729419"/>
              <a:gd name="csY52" fmla="*/ 667949 h 2076207"/>
              <a:gd name="csX53" fmla="*/ 553994 w 729419"/>
              <a:gd name="csY53" fmla="*/ 744146 h 2076207"/>
              <a:gd name="csX54" fmla="*/ 508215 w 729419"/>
              <a:gd name="csY54" fmla="*/ 758841 h 2076207"/>
              <a:gd name="csX55" fmla="*/ 497442 w 729419"/>
              <a:gd name="csY55" fmla="*/ 771256 h 2076207"/>
              <a:gd name="csX56" fmla="*/ 493005 w 729419"/>
              <a:gd name="csY56" fmla="*/ 922055 h 2076207"/>
              <a:gd name="csX57" fmla="*/ 502900 w 729419"/>
              <a:gd name="csY57" fmla="*/ 1114191 h 2076207"/>
              <a:gd name="csX58" fmla="*/ 508800 w 729419"/>
              <a:gd name="csY58" fmla="*/ 1205474 h 2076207"/>
              <a:gd name="csX59" fmla="*/ 522952 w 729419"/>
              <a:gd name="csY59" fmla="*/ 1320065 h 2076207"/>
              <a:gd name="csX60" fmla="*/ 554682 w 729419"/>
              <a:gd name="csY60" fmla="*/ 1501203 h 2076207"/>
              <a:gd name="csX61" fmla="*/ 576958 w 729419"/>
              <a:gd name="csY61" fmla="*/ 1593963 h 2076207"/>
              <a:gd name="csX62" fmla="*/ 595349 w 729419"/>
              <a:gd name="csY62" fmla="*/ 1613498 h 2076207"/>
              <a:gd name="csX63" fmla="*/ 613936 w 729419"/>
              <a:gd name="csY63" fmla="*/ 1624058 h 2076207"/>
              <a:gd name="csX64" fmla="*/ 620938 w 729419"/>
              <a:gd name="csY64" fmla="*/ 1652071 h 2076207"/>
              <a:gd name="csX65" fmla="*/ 630805 w 729419"/>
              <a:gd name="csY65" fmla="*/ 1721702 h 2076207"/>
              <a:gd name="csX66" fmla="*/ 685830 w 729419"/>
              <a:gd name="csY66" fmla="*/ 1792915 h 2076207"/>
              <a:gd name="csX67" fmla="*/ 708904 w 729419"/>
              <a:gd name="csY67" fmla="*/ 1890290 h 2076207"/>
              <a:gd name="csX68" fmla="*/ 716580 w 729419"/>
              <a:gd name="csY68" fmla="*/ 1951136 h 2076207"/>
              <a:gd name="csX69" fmla="*/ 729397 w 729419"/>
              <a:gd name="csY69" fmla="*/ 2030261 h 2076207"/>
              <a:gd name="csX70" fmla="*/ 714212 w 729419"/>
              <a:gd name="csY70" fmla="*/ 2049544 h 2076207"/>
              <a:gd name="csX71" fmla="*/ 645428 w 729419"/>
              <a:gd name="csY71" fmla="*/ 2070825 h 2076207"/>
              <a:gd name="csX72" fmla="*/ 635822 w 729419"/>
              <a:gd name="csY72" fmla="*/ 2075145 h 2076207"/>
              <a:gd name="csX73" fmla="*/ 588428 w 729419"/>
              <a:gd name="csY73" fmla="*/ 2075144 h 2076207"/>
              <a:gd name="csX74" fmla="*/ 590041 w 729419"/>
              <a:gd name="csY74" fmla="*/ 2071383 h 2076207"/>
              <a:gd name="csX75" fmla="*/ 667788 w 729419"/>
              <a:gd name="csY75" fmla="*/ 2056852 h 2076207"/>
              <a:gd name="csX76" fmla="*/ 706629 w 729419"/>
              <a:gd name="csY76" fmla="*/ 2044290 h 2076207"/>
              <a:gd name="csX77" fmla="*/ 702674 w 729419"/>
              <a:gd name="csY77" fmla="*/ 2041581 h 2076207"/>
              <a:gd name="csX78" fmla="*/ 544974 w 729419"/>
              <a:gd name="csY78" fmla="*/ 2071274 h 2076207"/>
              <a:gd name="csX79" fmla="*/ 538352 w 729419"/>
              <a:gd name="csY79" fmla="*/ 2076207 h 2076207"/>
              <a:gd name="csX80" fmla="*/ 96263 w 729419"/>
              <a:gd name="csY80" fmla="*/ 2076207 h 2076207"/>
              <a:gd name="csX81" fmla="*/ 489970 w 729419"/>
              <a:gd name="csY81" fmla="*/ 152208 h 2076207"/>
              <a:gd name="csX82" fmla="*/ 490754 w 729419"/>
              <a:gd name="csY82" fmla="*/ 152592 h 2076207"/>
              <a:gd name="csX83" fmla="*/ 489489 w 729419"/>
              <a:gd name="csY83" fmla="*/ 149547 h 2076207"/>
              <a:gd name="csX84" fmla="*/ 393621 w 729419"/>
              <a:gd name="csY84" fmla="*/ 99259 h 2076207"/>
              <a:gd name="csX85" fmla="*/ 390419 w 729419"/>
              <a:gd name="csY85" fmla="*/ 18568 h 2076207"/>
              <a:gd name="csX86" fmla="*/ 334131 w 729419"/>
              <a:gd name="csY86" fmla="*/ 24327 h 2076207"/>
              <a:gd name="csX87" fmla="*/ 344678 w 729419"/>
              <a:gd name="csY87" fmla="*/ 101259 h 2076207"/>
              <a:gd name="csX88" fmla="*/ 298854 w 729419"/>
              <a:gd name="csY88" fmla="*/ 114003 h 2076207"/>
              <a:gd name="csX89" fmla="*/ 237456 w 729419"/>
              <a:gd name="csY89" fmla="*/ 154340 h 2076207"/>
              <a:gd name="csX90" fmla="*/ 240382 w 729419"/>
              <a:gd name="csY90" fmla="*/ 154035 h 2076207"/>
              <a:gd name="csX91" fmla="*/ 262731 w 729419"/>
              <a:gd name="csY91" fmla="*/ 170426 h 2076207"/>
              <a:gd name="csX92" fmla="*/ 279169 w 729419"/>
              <a:gd name="csY92" fmla="*/ 193173 h 2076207"/>
              <a:gd name="csX93" fmla="*/ 327717 w 729419"/>
              <a:gd name="csY93" fmla="*/ 188556 h 2076207"/>
              <a:gd name="csX94" fmla="*/ 348052 w 729419"/>
              <a:gd name="csY94" fmla="*/ 156919 h 2076207"/>
              <a:gd name="csX95" fmla="*/ 380330 w 729419"/>
              <a:gd name="csY95" fmla="*/ 156483 h 2076207"/>
              <a:gd name="csX96" fmla="*/ 408490 w 729419"/>
              <a:gd name="csY96" fmla="*/ 195400 h 2076207"/>
              <a:gd name="csX97" fmla="*/ 445346 w 729419"/>
              <a:gd name="csY97" fmla="*/ 197582 h 2076207"/>
              <a:gd name="csX98" fmla="*/ 464798 w 729419"/>
              <a:gd name="csY98" fmla="*/ 174107 h 2076207"/>
              <a:gd name="csX99" fmla="*/ 489970 w 729419"/>
              <a:gd name="csY99" fmla="*/ 152208 h 2076207"/>
              <a:gd name="csX100" fmla="*/ 140694 w 729419"/>
              <a:gd name="csY100" fmla="*/ 201837 h 2076207"/>
              <a:gd name="csX101" fmla="*/ 139834 w 729419"/>
              <a:gd name="csY101" fmla="*/ 201482 h 2076207"/>
              <a:gd name="csX102" fmla="*/ 140812 w 729419"/>
              <a:gd name="csY102" fmla="*/ 204941 h 2076207"/>
              <a:gd name="csX103" fmla="*/ 144631 w 729419"/>
              <a:gd name="csY103" fmla="*/ 217811 h 2076207"/>
              <a:gd name="csX104" fmla="*/ 201241 w 729419"/>
              <a:gd name="csY104" fmla="*/ 373387 h 2076207"/>
              <a:gd name="csX105" fmla="*/ 235971 w 729419"/>
              <a:gd name="csY105" fmla="*/ 504451 h 2076207"/>
              <a:gd name="csX106" fmla="*/ 247475 w 729419"/>
              <a:gd name="csY106" fmla="*/ 513241 h 2076207"/>
              <a:gd name="csX107" fmla="*/ 289066 w 729419"/>
              <a:gd name="csY107" fmla="*/ 511170 h 2076207"/>
              <a:gd name="csX108" fmla="*/ 378229 w 729419"/>
              <a:gd name="csY108" fmla="*/ 511084 h 2076207"/>
              <a:gd name="csX109" fmla="*/ 470850 w 729419"/>
              <a:gd name="csY109" fmla="*/ 516341 h 2076207"/>
              <a:gd name="csX110" fmla="*/ 492933 w 729419"/>
              <a:gd name="csY110" fmla="*/ 497969 h 2076207"/>
              <a:gd name="csX111" fmla="*/ 557617 w 729419"/>
              <a:gd name="csY111" fmla="*/ 280398 h 2076207"/>
              <a:gd name="csX112" fmla="*/ 588788 w 729419"/>
              <a:gd name="csY112" fmla="*/ 200385 h 2076207"/>
              <a:gd name="csX113" fmla="*/ 530958 w 729419"/>
              <a:gd name="csY113" fmla="*/ 232968 h 2076207"/>
              <a:gd name="csX114" fmla="*/ 483823 w 729419"/>
              <a:gd name="csY114" fmla="*/ 190364 h 2076207"/>
              <a:gd name="csX115" fmla="*/ 466649 w 729419"/>
              <a:gd name="csY115" fmla="*/ 209061 h 2076207"/>
              <a:gd name="csX116" fmla="*/ 399941 w 729419"/>
              <a:gd name="csY116" fmla="*/ 216988 h 2076207"/>
              <a:gd name="csX117" fmla="*/ 363018 w 729419"/>
              <a:gd name="csY117" fmla="*/ 179615 h 2076207"/>
              <a:gd name="csX118" fmla="*/ 308839 w 729419"/>
              <a:gd name="csY118" fmla="*/ 227846 h 2076207"/>
              <a:gd name="csX119" fmla="*/ 245077 w 729419"/>
              <a:gd name="csY119" fmla="*/ 192402 h 2076207"/>
              <a:gd name="csX120" fmla="*/ 242829 w 729419"/>
              <a:gd name="csY120" fmla="*/ 198815 h 2076207"/>
              <a:gd name="csX121" fmla="*/ 168452 w 729419"/>
              <a:gd name="csY121" fmla="*/ 219348 h 2076207"/>
              <a:gd name="csX122" fmla="*/ 140694 w 729419"/>
              <a:gd name="csY122" fmla="*/ 201837 h 2076207"/>
              <a:gd name="csX123" fmla="*/ 259999 w 729419"/>
              <a:gd name="csY123" fmla="*/ 966699 h 2076207"/>
              <a:gd name="csX124" fmla="*/ 257072 w 729419"/>
              <a:gd name="csY124" fmla="*/ 1070424 h 2076207"/>
              <a:gd name="csX125" fmla="*/ 251372 w 729419"/>
              <a:gd name="csY125" fmla="*/ 1157618 h 2076207"/>
              <a:gd name="csX126" fmla="*/ 232677 w 729419"/>
              <a:gd name="csY126" fmla="*/ 1320279 h 2076207"/>
              <a:gd name="csX127" fmla="*/ 209182 w 729419"/>
              <a:gd name="csY127" fmla="*/ 1468667 h 2076207"/>
              <a:gd name="csX128" fmla="*/ 175302 w 729419"/>
              <a:gd name="csY128" fmla="*/ 1616623 h 2076207"/>
              <a:gd name="csX129" fmla="*/ 182769 w 729419"/>
              <a:gd name="csY129" fmla="*/ 1629786 h 2076207"/>
              <a:gd name="csX130" fmla="*/ 212156 w 729419"/>
              <a:gd name="csY130" fmla="*/ 1632656 h 2076207"/>
              <a:gd name="csX131" fmla="*/ 351295 w 729419"/>
              <a:gd name="csY131" fmla="*/ 1632801 h 2076207"/>
              <a:gd name="csX132" fmla="*/ 376150 w 729419"/>
              <a:gd name="csY132" fmla="*/ 1608307 h 2076207"/>
              <a:gd name="csX133" fmla="*/ 373450 w 729419"/>
              <a:gd name="csY133" fmla="*/ 1457291 h 2076207"/>
              <a:gd name="csX134" fmla="*/ 370936 w 729419"/>
              <a:gd name="csY134" fmla="*/ 1342736 h 2076207"/>
              <a:gd name="csX135" fmla="*/ 368328 w 729419"/>
              <a:gd name="csY135" fmla="*/ 1203878 h 2076207"/>
              <a:gd name="csX136" fmla="*/ 367836 w 729419"/>
              <a:gd name="csY136" fmla="*/ 813478 h 2076207"/>
              <a:gd name="csX137" fmla="*/ 365240 w 729419"/>
              <a:gd name="csY137" fmla="*/ 773243 h 2076207"/>
              <a:gd name="csX138" fmla="*/ 353084 w 729419"/>
              <a:gd name="csY138" fmla="*/ 762083 h 2076207"/>
              <a:gd name="csX139" fmla="*/ 280966 w 729419"/>
              <a:gd name="csY139" fmla="*/ 759855 h 2076207"/>
              <a:gd name="csX140" fmla="*/ 259965 w 729419"/>
              <a:gd name="csY140" fmla="*/ 779553 h 2076207"/>
              <a:gd name="csX141" fmla="*/ 262341 w 729419"/>
              <a:gd name="csY141" fmla="*/ 856275 h 2076207"/>
              <a:gd name="csX142" fmla="*/ 259999 w 729419"/>
              <a:gd name="csY142" fmla="*/ 966699 h 2076207"/>
              <a:gd name="csX143" fmla="*/ 55556 w 729419"/>
              <a:gd name="csY143" fmla="*/ 1835827 h 2076207"/>
              <a:gd name="csX144" fmla="*/ 49393 w 729419"/>
              <a:gd name="csY144" fmla="*/ 1878155 h 2076207"/>
              <a:gd name="csX145" fmla="*/ 73949 w 729419"/>
              <a:gd name="csY145" fmla="*/ 1905781 h 2076207"/>
              <a:gd name="csX146" fmla="*/ 110073 w 729419"/>
              <a:gd name="csY146" fmla="*/ 1909068 h 2076207"/>
              <a:gd name="csX147" fmla="*/ 224745 w 729419"/>
              <a:gd name="csY147" fmla="*/ 1921652 h 2076207"/>
              <a:gd name="csX148" fmla="*/ 347327 w 729419"/>
              <a:gd name="csY148" fmla="*/ 1924778 h 2076207"/>
              <a:gd name="csX149" fmla="*/ 363345 w 729419"/>
              <a:gd name="csY149" fmla="*/ 1923293 h 2076207"/>
              <a:gd name="csX150" fmla="*/ 373787 w 729419"/>
              <a:gd name="csY150" fmla="*/ 1911200 h 2076207"/>
              <a:gd name="csX151" fmla="*/ 376623 w 729419"/>
              <a:gd name="csY151" fmla="*/ 1696741 h 2076207"/>
              <a:gd name="csX152" fmla="*/ 360437 w 729419"/>
              <a:gd name="csY152" fmla="*/ 1681289 h 2076207"/>
              <a:gd name="csX153" fmla="*/ 263503 w 729419"/>
              <a:gd name="csY153" fmla="*/ 1678179 h 2076207"/>
              <a:gd name="csX154" fmla="*/ 160381 w 729419"/>
              <a:gd name="csY154" fmla="*/ 1670405 h 2076207"/>
              <a:gd name="csX155" fmla="*/ 143321 w 729419"/>
              <a:gd name="csY155" fmla="*/ 1685538 h 2076207"/>
              <a:gd name="csX156" fmla="*/ 124769 w 729419"/>
              <a:gd name="csY156" fmla="*/ 1738195 h 2076207"/>
              <a:gd name="csX157" fmla="*/ 90593 w 729419"/>
              <a:gd name="csY157" fmla="*/ 1779570 h 2076207"/>
              <a:gd name="csX158" fmla="*/ 55556 w 729419"/>
              <a:gd name="csY158" fmla="*/ 1835827 h 2076207"/>
              <a:gd name="csX159" fmla="*/ 378900 w 729419"/>
              <a:gd name="csY159" fmla="*/ 2007280 h 2076207"/>
              <a:gd name="csX160" fmla="*/ 378887 w 729419"/>
              <a:gd name="csY160" fmla="*/ 1995127 h 2076207"/>
              <a:gd name="csX161" fmla="*/ 359084 w 729419"/>
              <a:gd name="csY161" fmla="*/ 1975964 h 2076207"/>
              <a:gd name="csX162" fmla="*/ 247288 w 729419"/>
              <a:gd name="csY162" fmla="*/ 1973305 h 2076207"/>
              <a:gd name="csX163" fmla="*/ 201692 w 729419"/>
              <a:gd name="csY163" fmla="*/ 1970275 h 2076207"/>
              <a:gd name="csX164" fmla="*/ 57962 w 729419"/>
              <a:gd name="csY164" fmla="*/ 1952648 h 2076207"/>
              <a:gd name="csX165" fmla="*/ 39194 w 729419"/>
              <a:gd name="csY165" fmla="*/ 1963552 h 2076207"/>
              <a:gd name="csX166" fmla="*/ 30066 w 729419"/>
              <a:gd name="csY166" fmla="*/ 2006631 h 2076207"/>
              <a:gd name="csX167" fmla="*/ 40232 w 729419"/>
              <a:gd name="csY167" fmla="*/ 2019486 h 2076207"/>
              <a:gd name="csX168" fmla="*/ 238186 w 729419"/>
              <a:gd name="csY168" fmla="*/ 2046096 h 2076207"/>
              <a:gd name="csX169" fmla="*/ 342155 w 729419"/>
              <a:gd name="csY169" fmla="*/ 2046441 h 2076207"/>
              <a:gd name="csX170" fmla="*/ 378900 w 729419"/>
              <a:gd name="csY170" fmla="*/ 2007280 h 2076207"/>
              <a:gd name="csX171" fmla="*/ 310220 w 729419"/>
              <a:gd name="csY171" fmla="*/ 554288 h 2076207"/>
              <a:gd name="csX172" fmla="*/ 259136 w 729419"/>
              <a:gd name="csY172" fmla="*/ 556881 h 2076207"/>
              <a:gd name="csX173" fmla="*/ 249085 w 729419"/>
              <a:gd name="csY173" fmla="*/ 567981 h 2076207"/>
              <a:gd name="csX174" fmla="*/ 249141 w 729419"/>
              <a:gd name="csY174" fmla="*/ 605644 h 2076207"/>
              <a:gd name="csX175" fmla="*/ 262628 w 729419"/>
              <a:gd name="csY175" fmla="*/ 605627 h 2076207"/>
              <a:gd name="csX176" fmla="*/ 369608 w 729419"/>
              <a:gd name="csY176" fmla="*/ 603027 h 2076207"/>
              <a:gd name="csX177" fmla="*/ 463931 w 729419"/>
              <a:gd name="csY177" fmla="*/ 605146 h 2076207"/>
              <a:gd name="csX178" fmla="*/ 478113 w 729419"/>
              <a:gd name="csY178" fmla="*/ 595843 h 2076207"/>
              <a:gd name="csX179" fmla="*/ 478796 w 729419"/>
              <a:gd name="csY179" fmla="*/ 556832 h 2076207"/>
              <a:gd name="csX180" fmla="*/ 310220 w 729419"/>
              <a:gd name="csY180" fmla="*/ 554288 h 2076207"/>
              <a:gd name="csX181" fmla="*/ 348836 w 729419"/>
              <a:gd name="csY181" fmla="*/ 684115 h 2076207"/>
              <a:gd name="csX182" fmla="*/ 281333 w 729419"/>
              <a:gd name="csY182" fmla="*/ 683313 h 2076207"/>
              <a:gd name="csX183" fmla="*/ 212728 w 729419"/>
              <a:gd name="csY183" fmla="*/ 681931 h 2076207"/>
              <a:gd name="csX184" fmla="*/ 187283 w 729419"/>
              <a:gd name="csY184" fmla="*/ 689555 h 2076207"/>
              <a:gd name="csX185" fmla="*/ 186163 w 729419"/>
              <a:gd name="csY185" fmla="*/ 718266 h 2076207"/>
              <a:gd name="csX186" fmla="*/ 209894 w 729419"/>
              <a:gd name="csY186" fmla="*/ 726798 h 2076207"/>
              <a:gd name="csX187" fmla="*/ 334814 w 729419"/>
              <a:gd name="csY187" fmla="*/ 732494 h 2076207"/>
              <a:gd name="csX188" fmla="*/ 364856 w 729419"/>
              <a:gd name="csY188" fmla="*/ 707963 h 2076207"/>
              <a:gd name="csX189" fmla="*/ 348836 w 729419"/>
              <a:gd name="csY189" fmla="*/ 684115 h 2076207"/>
              <a:gd name="csX190" fmla="*/ 298865 w 729419"/>
              <a:gd name="csY190" fmla="*/ 621954 h 2076207"/>
              <a:gd name="csX191" fmla="*/ 251619 w 729419"/>
              <a:gd name="csY191" fmla="*/ 622133 h 2076207"/>
              <a:gd name="csX192" fmla="*/ 214459 w 729419"/>
              <a:gd name="csY192" fmla="*/ 636230 h 2076207"/>
              <a:gd name="csX193" fmla="*/ 221436 w 729419"/>
              <a:gd name="csY193" fmla="*/ 654205 h 2076207"/>
              <a:gd name="csX194" fmla="*/ 272412 w 729419"/>
              <a:gd name="csY194" fmla="*/ 657250 h 2076207"/>
              <a:gd name="csX195" fmla="*/ 349094 w 729419"/>
              <a:gd name="csY195" fmla="*/ 659282 h 2076207"/>
              <a:gd name="csX196" fmla="*/ 362996 w 729419"/>
              <a:gd name="csY196" fmla="*/ 644234 h 2076207"/>
              <a:gd name="csX197" fmla="*/ 348472 w 729419"/>
              <a:gd name="csY197" fmla="*/ 624649 h 2076207"/>
              <a:gd name="csX198" fmla="*/ 298865 w 729419"/>
              <a:gd name="csY198" fmla="*/ 621954 h 2076207"/>
              <a:gd name="csX199" fmla="*/ 227796 w 729419"/>
              <a:gd name="csY199" fmla="*/ 528000 h 2076207"/>
              <a:gd name="csX200" fmla="*/ 241009 w 729419"/>
              <a:gd name="csY200" fmla="*/ 545897 h 2076207"/>
              <a:gd name="csX201" fmla="*/ 282607 w 729419"/>
              <a:gd name="csY201" fmla="*/ 543480 h 2076207"/>
              <a:gd name="csX202" fmla="*/ 354213 w 729419"/>
              <a:gd name="csY202" fmla="*/ 543384 h 2076207"/>
              <a:gd name="csX203" fmla="*/ 365334 w 729419"/>
              <a:gd name="csY203" fmla="*/ 533397 h 2076207"/>
              <a:gd name="csX204" fmla="*/ 354531 w 729419"/>
              <a:gd name="csY204" fmla="*/ 521620 h 2076207"/>
              <a:gd name="csX205" fmla="*/ 259169 w 729419"/>
              <a:gd name="csY205" fmla="*/ 521978 h 2076207"/>
              <a:gd name="csX206" fmla="*/ 227796 w 729419"/>
              <a:gd name="csY206" fmla="*/ 528000 h 2076207"/>
              <a:gd name="csX207" fmla="*/ 508068 w 729419"/>
              <a:gd name="csY207" fmla="*/ 190710 h 2076207"/>
              <a:gd name="csX208" fmla="*/ 521293 w 729419"/>
              <a:gd name="csY208" fmla="*/ 205907 h 2076207"/>
              <a:gd name="csX209" fmla="*/ 525175 w 729419"/>
              <a:gd name="csY209" fmla="*/ 202985 h 2076207"/>
              <a:gd name="csX210" fmla="*/ 500276 w 729419"/>
              <a:gd name="csY210" fmla="*/ 160640 h 2076207"/>
              <a:gd name="csX211" fmla="*/ 497122 w 729419"/>
              <a:gd name="csY211" fmla="*/ 162007 h 2076207"/>
              <a:gd name="csX212" fmla="*/ 508068 w 729419"/>
              <a:gd name="csY212" fmla="*/ 190710 h 2076207"/>
              <a:gd name="csX213" fmla="*/ 215522 w 729419"/>
              <a:gd name="csY213" fmla="*/ 197296 h 2076207"/>
              <a:gd name="csX214" fmla="*/ 234029 w 729419"/>
              <a:gd name="csY214" fmla="*/ 162725 h 2076207"/>
              <a:gd name="csX215" fmla="*/ 229000 w 729419"/>
              <a:gd name="csY215" fmla="*/ 159902 h 2076207"/>
              <a:gd name="csX216" fmla="*/ 204824 w 729419"/>
              <a:gd name="csY216" fmla="*/ 199677 h 2076207"/>
              <a:gd name="csX217" fmla="*/ 207990 w 729419"/>
              <a:gd name="csY217" fmla="*/ 202198 h 2076207"/>
              <a:gd name="csX218" fmla="*/ 215522 w 729419"/>
              <a:gd name="csY218" fmla="*/ 197296 h 2076207"/>
              <a:gd name="csX219" fmla="*/ 484400 w 729419"/>
              <a:gd name="csY219" fmla="*/ 863693 h 2076207"/>
              <a:gd name="csX220" fmla="*/ 484400 w 729419"/>
              <a:gd name="csY220" fmla="*/ 896678 h 2076207"/>
              <a:gd name="csX221" fmla="*/ 486181 w 729419"/>
              <a:gd name="csY221" fmla="*/ 896585 h 2076207"/>
              <a:gd name="csX222" fmla="*/ 486181 w 729419"/>
              <a:gd name="csY222" fmla="*/ 795289 h 2076207"/>
              <a:gd name="csX223" fmla="*/ 720241 w 729419"/>
              <a:gd name="csY223" fmla="*/ 2030666 h 2076207"/>
              <a:gd name="csX224" fmla="*/ 721175 w 729419"/>
              <a:gd name="csY224" fmla="*/ 2029733 h 2076207"/>
              <a:gd name="csX225" fmla="*/ 720241 w 729419"/>
              <a:gd name="csY225" fmla="*/ 2030666 h 2076207"/>
              <a:gd name="csX226" fmla="*/ 715702 w 729419"/>
              <a:gd name="csY226" fmla="*/ 2037051 h 2076207"/>
              <a:gd name="csX227" fmla="*/ 715702 w 729419"/>
              <a:gd name="csY227" fmla="*/ 2037051 h 2076207"/>
              <a:gd name="csX228" fmla="*/ 709953 w 729419"/>
              <a:gd name="csY228" fmla="*/ 2040017 h 2076207"/>
              <a:gd name="csX229" fmla="*/ 710209 w 729419"/>
              <a:gd name="csY229" fmla="*/ 2039597 h 2076207"/>
              <a:gd name="csX230" fmla="*/ 709953 w 729419"/>
              <a:gd name="csY230" fmla="*/ 2040017 h 2076207"/>
              <a:gd name="csX0" fmla="*/ 96263 w 729419"/>
              <a:gd name="csY0" fmla="*/ 2076207 h 2076207"/>
              <a:gd name="csX1" fmla="*/ 63862 w 729419"/>
              <a:gd name="csY1" fmla="*/ 2065388 h 2076207"/>
              <a:gd name="csX2" fmla="*/ 16555 w 729419"/>
              <a:gd name="csY2" fmla="*/ 2050152 h 2076207"/>
              <a:gd name="csX3" fmla="*/ 15 w 729419"/>
              <a:gd name="csY3" fmla="*/ 2023802 h 2076207"/>
              <a:gd name="csX4" fmla="*/ 18368 w 729419"/>
              <a:gd name="csY4" fmla="*/ 1940709 h 2076207"/>
              <a:gd name="csX5" fmla="*/ 22139 w 729419"/>
              <a:gd name="csY5" fmla="*/ 1907268 h 2076207"/>
              <a:gd name="csX6" fmla="*/ 57941 w 729419"/>
              <a:gd name="csY6" fmla="*/ 1774163 h 2076207"/>
              <a:gd name="csX7" fmla="*/ 102478 w 729419"/>
              <a:gd name="csY7" fmla="*/ 1720275 h 2076207"/>
              <a:gd name="csX8" fmla="*/ 108579 w 729419"/>
              <a:gd name="csY8" fmla="*/ 1650967 h 2076207"/>
              <a:gd name="csX9" fmla="*/ 115628 w 729419"/>
              <a:gd name="csY9" fmla="*/ 1625405 h 2076207"/>
              <a:gd name="csX10" fmla="*/ 156323 w 729419"/>
              <a:gd name="csY10" fmla="*/ 1560181 h 2076207"/>
              <a:gd name="csX11" fmla="*/ 199424 w 729419"/>
              <a:gd name="csY11" fmla="*/ 1364729 h 2076207"/>
              <a:gd name="csX12" fmla="*/ 216779 w 729419"/>
              <a:gd name="csY12" fmla="*/ 1219490 h 2076207"/>
              <a:gd name="csX13" fmla="*/ 229755 w 729419"/>
              <a:gd name="csY13" fmla="*/ 1099357 h 2076207"/>
              <a:gd name="csX14" fmla="*/ 232707 w 729419"/>
              <a:gd name="csY14" fmla="*/ 1056423 h 2076207"/>
              <a:gd name="csX15" fmla="*/ 235622 w 729419"/>
              <a:gd name="csY15" fmla="*/ 952675 h 2076207"/>
              <a:gd name="csX16" fmla="*/ 235445 w 729419"/>
              <a:gd name="csY16" fmla="*/ 780278 h 2076207"/>
              <a:gd name="csX17" fmla="*/ 214544 w 729419"/>
              <a:gd name="csY17" fmla="*/ 756435 h 2076207"/>
              <a:gd name="csX18" fmla="*/ 172569 w 729419"/>
              <a:gd name="csY18" fmla="*/ 742582 h 2076207"/>
              <a:gd name="csX19" fmla="*/ 168784 w 729419"/>
              <a:gd name="csY19" fmla="*/ 669116 h 2076207"/>
              <a:gd name="csX20" fmla="*/ 191657 w 729419"/>
              <a:gd name="csY20" fmla="*/ 630765 h 2076207"/>
              <a:gd name="csX21" fmla="*/ 208150 w 729419"/>
              <a:gd name="csY21" fmla="*/ 609084 h 2076207"/>
              <a:gd name="csX22" fmla="*/ 216756 w 729419"/>
              <a:gd name="csY22" fmla="*/ 558673 h 2076207"/>
              <a:gd name="csX23" fmla="*/ 209092 w 729419"/>
              <a:gd name="csY23" fmla="*/ 521540 h 2076207"/>
              <a:gd name="csX24" fmla="*/ 204683 w 729419"/>
              <a:gd name="csY24" fmla="*/ 474024 h 2076207"/>
              <a:gd name="csX25" fmla="*/ 115483 w 729419"/>
              <a:gd name="csY25" fmla="*/ 213499 h 2076207"/>
              <a:gd name="csX26" fmla="*/ 102909 w 729419"/>
              <a:gd name="csY26" fmla="*/ 182297 h 2076207"/>
              <a:gd name="csX27" fmla="*/ 104315 w 729419"/>
              <a:gd name="csY27" fmla="*/ 163968 h 2076207"/>
              <a:gd name="csX28" fmla="*/ 122444 w 729419"/>
              <a:gd name="csY28" fmla="*/ 160805 h 2076207"/>
              <a:gd name="csX29" fmla="*/ 170283 w 729419"/>
              <a:gd name="csY29" fmla="*/ 187783 h 2076207"/>
              <a:gd name="csX30" fmla="*/ 180938 w 729419"/>
              <a:gd name="csY30" fmla="*/ 195322 h 2076207"/>
              <a:gd name="csX31" fmla="*/ 221419 w 729419"/>
              <a:gd name="csY31" fmla="*/ 138058 h 2076207"/>
              <a:gd name="csX32" fmla="*/ 294099 w 729419"/>
              <a:gd name="csY32" fmla="*/ 91372 h 2076207"/>
              <a:gd name="csX33" fmla="*/ 302307 w 729419"/>
              <a:gd name="csY33" fmla="*/ 76560 h 2076207"/>
              <a:gd name="csX34" fmla="*/ 320284 w 729419"/>
              <a:gd name="csY34" fmla="*/ 8414 h 2076207"/>
              <a:gd name="csX35" fmla="*/ 324784 w 729419"/>
              <a:gd name="csY35" fmla="*/ 946 h 2076207"/>
              <a:gd name="csX36" fmla="*/ 399212 w 729419"/>
              <a:gd name="csY36" fmla="*/ 0 h 2076207"/>
              <a:gd name="csX37" fmla="*/ 425980 w 729419"/>
              <a:gd name="csY37" fmla="*/ 78301 h 2076207"/>
              <a:gd name="csX38" fmla="*/ 431861 w 729419"/>
              <a:gd name="csY38" fmla="*/ 90312 h 2076207"/>
              <a:gd name="csX39" fmla="*/ 540349 w 729419"/>
              <a:gd name="csY39" fmla="*/ 187946 h 2076207"/>
              <a:gd name="csX40" fmla="*/ 545555 w 729419"/>
              <a:gd name="csY40" fmla="*/ 197828 h 2076207"/>
              <a:gd name="csX41" fmla="*/ 587318 w 729419"/>
              <a:gd name="csY41" fmla="*/ 171260 h 2076207"/>
              <a:gd name="csX42" fmla="*/ 601503 w 729419"/>
              <a:gd name="csY42" fmla="*/ 163707 h 2076207"/>
              <a:gd name="csX43" fmla="*/ 625254 w 729419"/>
              <a:gd name="csY43" fmla="*/ 163123 h 2076207"/>
              <a:gd name="csX44" fmla="*/ 625468 w 729419"/>
              <a:gd name="csY44" fmla="*/ 187579 h 2076207"/>
              <a:gd name="csX45" fmla="*/ 597543 w 729419"/>
              <a:gd name="csY45" fmla="*/ 251872 h 2076207"/>
              <a:gd name="csX46" fmla="*/ 531831 w 729419"/>
              <a:gd name="csY46" fmla="*/ 442689 h 2076207"/>
              <a:gd name="csX47" fmla="*/ 519888 w 729419"/>
              <a:gd name="csY47" fmla="*/ 501474 h 2076207"/>
              <a:gd name="csX48" fmla="*/ 522506 w 729419"/>
              <a:gd name="csY48" fmla="*/ 525086 h 2076207"/>
              <a:gd name="csX49" fmla="*/ 516235 w 729419"/>
              <a:gd name="csY49" fmla="*/ 555946 h 2076207"/>
              <a:gd name="csX50" fmla="*/ 521332 w 729419"/>
              <a:gd name="csY50" fmla="*/ 610676 h 2076207"/>
              <a:gd name="csX51" fmla="*/ 541382 w 729419"/>
              <a:gd name="csY51" fmla="*/ 642597 h 2076207"/>
              <a:gd name="csX52" fmla="*/ 557031 w 729419"/>
              <a:gd name="csY52" fmla="*/ 667949 h 2076207"/>
              <a:gd name="csX53" fmla="*/ 553994 w 729419"/>
              <a:gd name="csY53" fmla="*/ 744146 h 2076207"/>
              <a:gd name="csX54" fmla="*/ 508215 w 729419"/>
              <a:gd name="csY54" fmla="*/ 758841 h 2076207"/>
              <a:gd name="csX55" fmla="*/ 497442 w 729419"/>
              <a:gd name="csY55" fmla="*/ 771256 h 2076207"/>
              <a:gd name="csX56" fmla="*/ 493005 w 729419"/>
              <a:gd name="csY56" fmla="*/ 922055 h 2076207"/>
              <a:gd name="csX57" fmla="*/ 502900 w 729419"/>
              <a:gd name="csY57" fmla="*/ 1114191 h 2076207"/>
              <a:gd name="csX58" fmla="*/ 508800 w 729419"/>
              <a:gd name="csY58" fmla="*/ 1205474 h 2076207"/>
              <a:gd name="csX59" fmla="*/ 522952 w 729419"/>
              <a:gd name="csY59" fmla="*/ 1320065 h 2076207"/>
              <a:gd name="csX60" fmla="*/ 554682 w 729419"/>
              <a:gd name="csY60" fmla="*/ 1501203 h 2076207"/>
              <a:gd name="csX61" fmla="*/ 576958 w 729419"/>
              <a:gd name="csY61" fmla="*/ 1593963 h 2076207"/>
              <a:gd name="csX62" fmla="*/ 595349 w 729419"/>
              <a:gd name="csY62" fmla="*/ 1613498 h 2076207"/>
              <a:gd name="csX63" fmla="*/ 613936 w 729419"/>
              <a:gd name="csY63" fmla="*/ 1624058 h 2076207"/>
              <a:gd name="csX64" fmla="*/ 620938 w 729419"/>
              <a:gd name="csY64" fmla="*/ 1652071 h 2076207"/>
              <a:gd name="csX65" fmla="*/ 630805 w 729419"/>
              <a:gd name="csY65" fmla="*/ 1721702 h 2076207"/>
              <a:gd name="csX66" fmla="*/ 685830 w 729419"/>
              <a:gd name="csY66" fmla="*/ 1792915 h 2076207"/>
              <a:gd name="csX67" fmla="*/ 708904 w 729419"/>
              <a:gd name="csY67" fmla="*/ 1890290 h 2076207"/>
              <a:gd name="csX68" fmla="*/ 716580 w 729419"/>
              <a:gd name="csY68" fmla="*/ 1951136 h 2076207"/>
              <a:gd name="csX69" fmla="*/ 729397 w 729419"/>
              <a:gd name="csY69" fmla="*/ 2030261 h 2076207"/>
              <a:gd name="csX70" fmla="*/ 714212 w 729419"/>
              <a:gd name="csY70" fmla="*/ 2049544 h 2076207"/>
              <a:gd name="csX71" fmla="*/ 645428 w 729419"/>
              <a:gd name="csY71" fmla="*/ 2070825 h 2076207"/>
              <a:gd name="csX72" fmla="*/ 635822 w 729419"/>
              <a:gd name="csY72" fmla="*/ 2075145 h 2076207"/>
              <a:gd name="csX73" fmla="*/ 588428 w 729419"/>
              <a:gd name="csY73" fmla="*/ 2075144 h 2076207"/>
              <a:gd name="csX74" fmla="*/ 590041 w 729419"/>
              <a:gd name="csY74" fmla="*/ 2071383 h 2076207"/>
              <a:gd name="csX75" fmla="*/ 667788 w 729419"/>
              <a:gd name="csY75" fmla="*/ 2056852 h 2076207"/>
              <a:gd name="csX76" fmla="*/ 706629 w 729419"/>
              <a:gd name="csY76" fmla="*/ 2044290 h 2076207"/>
              <a:gd name="csX77" fmla="*/ 702674 w 729419"/>
              <a:gd name="csY77" fmla="*/ 2041581 h 2076207"/>
              <a:gd name="csX78" fmla="*/ 544974 w 729419"/>
              <a:gd name="csY78" fmla="*/ 2071274 h 2076207"/>
              <a:gd name="csX79" fmla="*/ 538352 w 729419"/>
              <a:gd name="csY79" fmla="*/ 2076207 h 2076207"/>
              <a:gd name="csX80" fmla="*/ 96263 w 729419"/>
              <a:gd name="csY80" fmla="*/ 2076207 h 2076207"/>
              <a:gd name="csX81" fmla="*/ 489970 w 729419"/>
              <a:gd name="csY81" fmla="*/ 152208 h 2076207"/>
              <a:gd name="csX82" fmla="*/ 490754 w 729419"/>
              <a:gd name="csY82" fmla="*/ 152592 h 2076207"/>
              <a:gd name="csX83" fmla="*/ 489489 w 729419"/>
              <a:gd name="csY83" fmla="*/ 149547 h 2076207"/>
              <a:gd name="csX84" fmla="*/ 393621 w 729419"/>
              <a:gd name="csY84" fmla="*/ 99259 h 2076207"/>
              <a:gd name="csX85" fmla="*/ 390419 w 729419"/>
              <a:gd name="csY85" fmla="*/ 18568 h 2076207"/>
              <a:gd name="csX86" fmla="*/ 334131 w 729419"/>
              <a:gd name="csY86" fmla="*/ 24327 h 2076207"/>
              <a:gd name="csX87" fmla="*/ 344678 w 729419"/>
              <a:gd name="csY87" fmla="*/ 101259 h 2076207"/>
              <a:gd name="csX88" fmla="*/ 298854 w 729419"/>
              <a:gd name="csY88" fmla="*/ 114003 h 2076207"/>
              <a:gd name="csX89" fmla="*/ 237456 w 729419"/>
              <a:gd name="csY89" fmla="*/ 154340 h 2076207"/>
              <a:gd name="csX90" fmla="*/ 240382 w 729419"/>
              <a:gd name="csY90" fmla="*/ 154035 h 2076207"/>
              <a:gd name="csX91" fmla="*/ 262731 w 729419"/>
              <a:gd name="csY91" fmla="*/ 170426 h 2076207"/>
              <a:gd name="csX92" fmla="*/ 279169 w 729419"/>
              <a:gd name="csY92" fmla="*/ 193173 h 2076207"/>
              <a:gd name="csX93" fmla="*/ 327717 w 729419"/>
              <a:gd name="csY93" fmla="*/ 188556 h 2076207"/>
              <a:gd name="csX94" fmla="*/ 348052 w 729419"/>
              <a:gd name="csY94" fmla="*/ 156919 h 2076207"/>
              <a:gd name="csX95" fmla="*/ 380330 w 729419"/>
              <a:gd name="csY95" fmla="*/ 156483 h 2076207"/>
              <a:gd name="csX96" fmla="*/ 408490 w 729419"/>
              <a:gd name="csY96" fmla="*/ 195400 h 2076207"/>
              <a:gd name="csX97" fmla="*/ 445346 w 729419"/>
              <a:gd name="csY97" fmla="*/ 197582 h 2076207"/>
              <a:gd name="csX98" fmla="*/ 464798 w 729419"/>
              <a:gd name="csY98" fmla="*/ 174107 h 2076207"/>
              <a:gd name="csX99" fmla="*/ 489970 w 729419"/>
              <a:gd name="csY99" fmla="*/ 152208 h 2076207"/>
              <a:gd name="csX100" fmla="*/ 140694 w 729419"/>
              <a:gd name="csY100" fmla="*/ 201837 h 2076207"/>
              <a:gd name="csX101" fmla="*/ 139834 w 729419"/>
              <a:gd name="csY101" fmla="*/ 201482 h 2076207"/>
              <a:gd name="csX102" fmla="*/ 140812 w 729419"/>
              <a:gd name="csY102" fmla="*/ 204941 h 2076207"/>
              <a:gd name="csX103" fmla="*/ 144631 w 729419"/>
              <a:gd name="csY103" fmla="*/ 217811 h 2076207"/>
              <a:gd name="csX104" fmla="*/ 201241 w 729419"/>
              <a:gd name="csY104" fmla="*/ 373387 h 2076207"/>
              <a:gd name="csX105" fmla="*/ 235971 w 729419"/>
              <a:gd name="csY105" fmla="*/ 504451 h 2076207"/>
              <a:gd name="csX106" fmla="*/ 247475 w 729419"/>
              <a:gd name="csY106" fmla="*/ 513241 h 2076207"/>
              <a:gd name="csX107" fmla="*/ 289066 w 729419"/>
              <a:gd name="csY107" fmla="*/ 511170 h 2076207"/>
              <a:gd name="csX108" fmla="*/ 378229 w 729419"/>
              <a:gd name="csY108" fmla="*/ 511084 h 2076207"/>
              <a:gd name="csX109" fmla="*/ 470850 w 729419"/>
              <a:gd name="csY109" fmla="*/ 516341 h 2076207"/>
              <a:gd name="csX110" fmla="*/ 492933 w 729419"/>
              <a:gd name="csY110" fmla="*/ 497969 h 2076207"/>
              <a:gd name="csX111" fmla="*/ 557617 w 729419"/>
              <a:gd name="csY111" fmla="*/ 280398 h 2076207"/>
              <a:gd name="csX112" fmla="*/ 588788 w 729419"/>
              <a:gd name="csY112" fmla="*/ 200385 h 2076207"/>
              <a:gd name="csX113" fmla="*/ 530958 w 729419"/>
              <a:gd name="csY113" fmla="*/ 232968 h 2076207"/>
              <a:gd name="csX114" fmla="*/ 483823 w 729419"/>
              <a:gd name="csY114" fmla="*/ 190364 h 2076207"/>
              <a:gd name="csX115" fmla="*/ 466649 w 729419"/>
              <a:gd name="csY115" fmla="*/ 209061 h 2076207"/>
              <a:gd name="csX116" fmla="*/ 399941 w 729419"/>
              <a:gd name="csY116" fmla="*/ 216988 h 2076207"/>
              <a:gd name="csX117" fmla="*/ 363018 w 729419"/>
              <a:gd name="csY117" fmla="*/ 179615 h 2076207"/>
              <a:gd name="csX118" fmla="*/ 308839 w 729419"/>
              <a:gd name="csY118" fmla="*/ 227846 h 2076207"/>
              <a:gd name="csX119" fmla="*/ 245077 w 729419"/>
              <a:gd name="csY119" fmla="*/ 192402 h 2076207"/>
              <a:gd name="csX120" fmla="*/ 242829 w 729419"/>
              <a:gd name="csY120" fmla="*/ 198815 h 2076207"/>
              <a:gd name="csX121" fmla="*/ 168452 w 729419"/>
              <a:gd name="csY121" fmla="*/ 219348 h 2076207"/>
              <a:gd name="csX122" fmla="*/ 140694 w 729419"/>
              <a:gd name="csY122" fmla="*/ 201837 h 2076207"/>
              <a:gd name="csX123" fmla="*/ 259999 w 729419"/>
              <a:gd name="csY123" fmla="*/ 966699 h 2076207"/>
              <a:gd name="csX124" fmla="*/ 257072 w 729419"/>
              <a:gd name="csY124" fmla="*/ 1070424 h 2076207"/>
              <a:gd name="csX125" fmla="*/ 251372 w 729419"/>
              <a:gd name="csY125" fmla="*/ 1157618 h 2076207"/>
              <a:gd name="csX126" fmla="*/ 232677 w 729419"/>
              <a:gd name="csY126" fmla="*/ 1320279 h 2076207"/>
              <a:gd name="csX127" fmla="*/ 209182 w 729419"/>
              <a:gd name="csY127" fmla="*/ 1468667 h 2076207"/>
              <a:gd name="csX128" fmla="*/ 175302 w 729419"/>
              <a:gd name="csY128" fmla="*/ 1616623 h 2076207"/>
              <a:gd name="csX129" fmla="*/ 182769 w 729419"/>
              <a:gd name="csY129" fmla="*/ 1629786 h 2076207"/>
              <a:gd name="csX130" fmla="*/ 212156 w 729419"/>
              <a:gd name="csY130" fmla="*/ 1632656 h 2076207"/>
              <a:gd name="csX131" fmla="*/ 351295 w 729419"/>
              <a:gd name="csY131" fmla="*/ 1632801 h 2076207"/>
              <a:gd name="csX132" fmla="*/ 376150 w 729419"/>
              <a:gd name="csY132" fmla="*/ 1608307 h 2076207"/>
              <a:gd name="csX133" fmla="*/ 373450 w 729419"/>
              <a:gd name="csY133" fmla="*/ 1457291 h 2076207"/>
              <a:gd name="csX134" fmla="*/ 370936 w 729419"/>
              <a:gd name="csY134" fmla="*/ 1342736 h 2076207"/>
              <a:gd name="csX135" fmla="*/ 368328 w 729419"/>
              <a:gd name="csY135" fmla="*/ 1203878 h 2076207"/>
              <a:gd name="csX136" fmla="*/ 367836 w 729419"/>
              <a:gd name="csY136" fmla="*/ 813478 h 2076207"/>
              <a:gd name="csX137" fmla="*/ 365240 w 729419"/>
              <a:gd name="csY137" fmla="*/ 773243 h 2076207"/>
              <a:gd name="csX138" fmla="*/ 353084 w 729419"/>
              <a:gd name="csY138" fmla="*/ 762083 h 2076207"/>
              <a:gd name="csX139" fmla="*/ 280966 w 729419"/>
              <a:gd name="csY139" fmla="*/ 759855 h 2076207"/>
              <a:gd name="csX140" fmla="*/ 259965 w 729419"/>
              <a:gd name="csY140" fmla="*/ 779553 h 2076207"/>
              <a:gd name="csX141" fmla="*/ 262341 w 729419"/>
              <a:gd name="csY141" fmla="*/ 856275 h 2076207"/>
              <a:gd name="csX142" fmla="*/ 259999 w 729419"/>
              <a:gd name="csY142" fmla="*/ 966699 h 2076207"/>
              <a:gd name="csX143" fmla="*/ 55556 w 729419"/>
              <a:gd name="csY143" fmla="*/ 1835827 h 2076207"/>
              <a:gd name="csX144" fmla="*/ 49393 w 729419"/>
              <a:gd name="csY144" fmla="*/ 1878155 h 2076207"/>
              <a:gd name="csX145" fmla="*/ 73949 w 729419"/>
              <a:gd name="csY145" fmla="*/ 1905781 h 2076207"/>
              <a:gd name="csX146" fmla="*/ 110073 w 729419"/>
              <a:gd name="csY146" fmla="*/ 1909068 h 2076207"/>
              <a:gd name="csX147" fmla="*/ 224745 w 729419"/>
              <a:gd name="csY147" fmla="*/ 1921652 h 2076207"/>
              <a:gd name="csX148" fmla="*/ 347327 w 729419"/>
              <a:gd name="csY148" fmla="*/ 1924778 h 2076207"/>
              <a:gd name="csX149" fmla="*/ 363345 w 729419"/>
              <a:gd name="csY149" fmla="*/ 1923293 h 2076207"/>
              <a:gd name="csX150" fmla="*/ 373787 w 729419"/>
              <a:gd name="csY150" fmla="*/ 1911200 h 2076207"/>
              <a:gd name="csX151" fmla="*/ 376623 w 729419"/>
              <a:gd name="csY151" fmla="*/ 1696741 h 2076207"/>
              <a:gd name="csX152" fmla="*/ 360437 w 729419"/>
              <a:gd name="csY152" fmla="*/ 1681289 h 2076207"/>
              <a:gd name="csX153" fmla="*/ 263503 w 729419"/>
              <a:gd name="csY153" fmla="*/ 1678179 h 2076207"/>
              <a:gd name="csX154" fmla="*/ 160381 w 729419"/>
              <a:gd name="csY154" fmla="*/ 1670405 h 2076207"/>
              <a:gd name="csX155" fmla="*/ 143321 w 729419"/>
              <a:gd name="csY155" fmla="*/ 1685538 h 2076207"/>
              <a:gd name="csX156" fmla="*/ 124769 w 729419"/>
              <a:gd name="csY156" fmla="*/ 1738195 h 2076207"/>
              <a:gd name="csX157" fmla="*/ 90593 w 729419"/>
              <a:gd name="csY157" fmla="*/ 1779570 h 2076207"/>
              <a:gd name="csX158" fmla="*/ 55556 w 729419"/>
              <a:gd name="csY158" fmla="*/ 1835827 h 2076207"/>
              <a:gd name="csX159" fmla="*/ 378900 w 729419"/>
              <a:gd name="csY159" fmla="*/ 2007280 h 2076207"/>
              <a:gd name="csX160" fmla="*/ 378887 w 729419"/>
              <a:gd name="csY160" fmla="*/ 1995127 h 2076207"/>
              <a:gd name="csX161" fmla="*/ 359084 w 729419"/>
              <a:gd name="csY161" fmla="*/ 1975964 h 2076207"/>
              <a:gd name="csX162" fmla="*/ 247288 w 729419"/>
              <a:gd name="csY162" fmla="*/ 1973305 h 2076207"/>
              <a:gd name="csX163" fmla="*/ 201692 w 729419"/>
              <a:gd name="csY163" fmla="*/ 1970275 h 2076207"/>
              <a:gd name="csX164" fmla="*/ 57962 w 729419"/>
              <a:gd name="csY164" fmla="*/ 1952648 h 2076207"/>
              <a:gd name="csX165" fmla="*/ 39194 w 729419"/>
              <a:gd name="csY165" fmla="*/ 1963552 h 2076207"/>
              <a:gd name="csX166" fmla="*/ 30066 w 729419"/>
              <a:gd name="csY166" fmla="*/ 2006631 h 2076207"/>
              <a:gd name="csX167" fmla="*/ 40232 w 729419"/>
              <a:gd name="csY167" fmla="*/ 2019486 h 2076207"/>
              <a:gd name="csX168" fmla="*/ 238186 w 729419"/>
              <a:gd name="csY168" fmla="*/ 2046096 h 2076207"/>
              <a:gd name="csX169" fmla="*/ 342155 w 729419"/>
              <a:gd name="csY169" fmla="*/ 2046441 h 2076207"/>
              <a:gd name="csX170" fmla="*/ 378900 w 729419"/>
              <a:gd name="csY170" fmla="*/ 2007280 h 2076207"/>
              <a:gd name="csX171" fmla="*/ 310220 w 729419"/>
              <a:gd name="csY171" fmla="*/ 554288 h 2076207"/>
              <a:gd name="csX172" fmla="*/ 259136 w 729419"/>
              <a:gd name="csY172" fmla="*/ 556881 h 2076207"/>
              <a:gd name="csX173" fmla="*/ 249085 w 729419"/>
              <a:gd name="csY173" fmla="*/ 567981 h 2076207"/>
              <a:gd name="csX174" fmla="*/ 249141 w 729419"/>
              <a:gd name="csY174" fmla="*/ 605644 h 2076207"/>
              <a:gd name="csX175" fmla="*/ 262628 w 729419"/>
              <a:gd name="csY175" fmla="*/ 605627 h 2076207"/>
              <a:gd name="csX176" fmla="*/ 369608 w 729419"/>
              <a:gd name="csY176" fmla="*/ 603027 h 2076207"/>
              <a:gd name="csX177" fmla="*/ 463931 w 729419"/>
              <a:gd name="csY177" fmla="*/ 605146 h 2076207"/>
              <a:gd name="csX178" fmla="*/ 478113 w 729419"/>
              <a:gd name="csY178" fmla="*/ 595843 h 2076207"/>
              <a:gd name="csX179" fmla="*/ 478796 w 729419"/>
              <a:gd name="csY179" fmla="*/ 556832 h 2076207"/>
              <a:gd name="csX180" fmla="*/ 310220 w 729419"/>
              <a:gd name="csY180" fmla="*/ 554288 h 2076207"/>
              <a:gd name="csX181" fmla="*/ 348836 w 729419"/>
              <a:gd name="csY181" fmla="*/ 684115 h 2076207"/>
              <a:gd name="csX182" fmla="*/ 281333 w 729419"/>
              <a:gd name="csY182" fmla="*/ 683313 h 2076207"/>
              <a:gd name="csX183" fmla="*/ 212728 w 729419"/>
              <a:gd name="csY183" fmla="*/ 681931 h 2076207"/>
              <a:gd name="csX184" fmla="*/ 187283 w 729419"/>
              <a:gd name="csY184" fmla="*/ 689555 h 2076207"/>
              <a:gd name="csX185" fmla="*/ 186163 w 729419"/>
              <a:gd name="csY185" fmla="*/ 718266 h 2076207"/>
              <a:gd name="csX186" fmla="*/ 209894 w 729419"/>
              <a:gd name="csY186" fmla="*/ 726798 h 2076207"/>
              <a:gd name="csX187" fmla="*/ 334814 w 729419"/>
              <a:gd name="csY187" fmla="*/ 732494 h 2076207"/>
              <a:gd name="csX188" fmla="*/ 364856 w 729419"/>
              <a:gd name="csY188" fmla="*/ 707963 h 2076207"/>
              <a:gd name="csX189" fmla="*/ 348836 w 729419"/>
              <a:gd name="csY189" fmla="*/ 684115 h 2076207"/>
              <a:gd name="csX190" fmla="*/ 298865 w 729419"/>
              <a:gd name="csY190" fmla="*/ 621954 h 2076207"/>
              <a:gd name="csX191" fmla="*/ 251619 w 729419"/>
              <a:gd name="csY191" fmla="*/ 622133 h 2076207"/>
              <a:gd name="csX192" fmla="*/ 214459 w 729419"/>
              <a:gd name="csY192" fmla="*/ 636230 h 2076207"/>
              <a:gd name="csX193" fmla="*/ 221436 w 729419"/>
              <a:gd name="csY193" fmla="*/ 654205 h 2076207"/>
              <a:gd name="csX194" fmla="*/ 272412 w 729419"/>
              <a:gd name="csY194" fmla="*/ 657250 h 2076207"/>
              <a:gd name="csX195" fmla="*/ 349094 w 729419"/>
              <a:gd name="csY195" fmla="*/ 659282 h 2076207"/>
              <a:gd name="csX196" fmla="*/ 362996 w 729419"/>
              <a:gd name="csY196" fmla="*/ 644234 h 2076207"/>
              <a:gd name="csX197" fmla="*/ 348472 w 729419"/>
              <a:gd name="csY197" fmla="*/ 624649 h 2076207"/>
              <a:gd name="csX198" fmla="*/ 298865 w 729419"/>
              <a:gd name="csY198" fmla="*/ 621954 h 2076207"/>
              <a:gd name="csX199" fmla="*/ 227796 w 729419"/>
              <a:gd name="csY199" fmla="*/ 528000 h 2076207"/>
              <a:gd name="csX200" fmla="*/ 241009 w 729419"/>
              <a:gd name="csY200" fmla="*/ 545897 h 2076207"/>
              <a:gd name="csX201" fmla="*/ 282607 w 729419"/>
              <a:gd name="csY201" fmla="*/ 543480 h 2076207"/>
              <a:gd name="csX202" fmla="*/ 354213 w 729419"/>
              <a:gd name="csY202" fmla="*/ 543384 h 2076207"/>
              <a:gd name="csX203" fmla="*/ 365334 w 729419"/>
              <a:gd name="csY203" fmla="*/ 533397 h 2076207"/>
              <a:gd name="csX204" fmla="*/ 354531 w 729419"/>
              <a:gd name="csY204" fmla="*/ 521620 h 2076207"/>
              <a:gd name="csX205" fmla="*/ 259169 w 729419"/>
              <a:gd name="csY205" fmla="*/ 521978 h 2076207"/>
              <a:gd name="csX206" fmla="*/ 227796 w 729419"/>
              <a:gd name="csY206" fmla="*/ 528000 h 2076207"/>
              <a:gd name="csX207" fmla="*/ 508068 w 729419"/>
              <a:gd name="csY207" fmla="*/ 190710 h 2076207"/>
              <a:gd name="csX208" fmla="*/ 521293 w 729419"/>
              <a:gd name="csY208" fmla="*/ 205907 h 2076207"/>
              <a:gd name="csX209" fmla="*/ 525175 w 729419"/>
              <a:gd name="csY209" fmla="*/ 202985 h 2076207"/>
              <a:gd name="csX210" fmla="*/ 500276 w 729419"/>
              <a:gd name="csY210" fmla="*/ 160640 h 2076207"/>
              <a:gd name="csX211" fmla="*/ 497122 w 729419"/>
              <a:gd name="csY211" fmla="*/ 162007 h 2076207"/>
              <a:gd name="csX212" fmla="*/ 508068 w 729419"/>
              <a:gd name="csY212" fmla="*/ 190710 h 2076207"/>
              <a:gd name="csX213" fmla="*/ 215522 w 729419"/>
              <a:gd name="csY213" fmla="*/ 197296 h 2076207"/>
              <a:gd name="csX214" fmla="*/ 234029 w 729419"/>
              <a:gd name="csY214" fmla="*/ 162725 h 2076207"/>
              <a:gd name="csX215" fmla="*/ 229000 w 729419"/>
              <a:gd name="csY215" fmla="*/ 159902 h 2076207"/>
              <a:gd name="csX216" fmla="*/ 204824 w 729419"/>
              <a:gd name="csY216" fmla="*/ 199677 h 2076207"/>
              <a:gd name="csX217" fmla="*/ 207990 w 729419"/>
              <a:gd name="csY217" fmla="*/ 202198 h 2076207"/>
              <a:gd name="csX218" fmla="*/ 215522 w 729419"/>
              <a:gd name="csY218" fmla="*/ 197296 h 2076207"/>
              <a:gd name="csX219" fmla="*/ 484400 w 729419"/>
              <a:gd name="csY219" fmla="*/ 896678 h 2076207"/>
              <a:gd name="csX220" fmla="*/ 486181 w 729419"/>
              <a:gd name="csY220" fmla="*/ 896585 h 2076207"/>
              <a:gd name="csX221" fmla="*/ 486181 w 729419"/>
              <a:gd name="csY221" fmla="*/ 795289 h 2076207"/>
              <a:gd name="csX222" fmla="*/ 720241 w 729419"/>
              <a:gd name="csY222" fmla="*/ 2030666 h 2076207"/>
              <a:gd name="csX223" fmla="*/ 721175 w 729419"/>
              <a:gd name="csY223" fmla="*/ 2029733 h 2076207"/>
              <a:gd name="csX224" fmla="*/ 720241 w 729419"/>
              <a:gd name="csY224" fmla="*/ 2030666 h 2076207"/>
              <a:gd name="csX225" fmla="*/ 715702 w 729419"/>
              <a:gd name="csY225" fmla="*/ 2037051 h 2076207"/>
              <a:gd name="csX226" fmla="*/ 715702 w 729419"/>
              <a:gd name="csY226" fmla="*/ 2037051 h 2076207"/>
              <a:gd name="csX227" fmla="*/ 709953 w 729419"/>
              <a:gd name="csY227" fmla="*/ 2040017 h 2076207"/>
              <a:gd name="csX228" fmla="*/ 710209 w 729419"/>
              <a:gd name="csY228" fmla="*/ 2039597 h 2076207"/>
              <a:gd name="csX229" fmla="*/ 709953 w 729419"/>
              <a:gd name="csY229" fmla="*/ 2040017 h 2076207"/>
              <a:gd name="csX0" fmla="*/ 96263 w 729419"/>
              <a:gd name="csY0" fmla="*/ 2076207 h 2076207"/>
              <a:gd name="csX1" fmla="*/ 63862 w 729419"/>
              <a:gd name="csY1" fmla="*/ 2065388 h 2076207"/>
              <a:gd name="csX2" fmla="*/ 16555 w 729419"/>
              <a:gd name="csY2" fmla="*/ 2050152 h 2076207"/>
              <a:gd name="csX3" fmla="*/ 15 w 729419"/>
              <a:gd name="csY3" fmla="*/ 2023802 h 2076207"/>
              <a:gd name="csX4" fmla="*/ 18368 w 729419"/>
              <a:gd name="csY4" fmla="*/ 1940709 h 2076207"/>
              <a:gd name="csX5" fmla="*/ 22139 w 729419"/>
              <a:gd name="csY5" fmla="*/ 1907268 h 2076207"/>
              <a:gd name="csX6" fmla="*/ 57941 w 729419"/>
              <a:gd name="csY6" fmla="*/ 1774163 h 2076207"/>
              <a:gd name="csX7" fmla="*/ 102478 w 729419"/>
              <a:gd name="csY7" fmla="*/ 1720275 h 2076207"/>
              <a:gd name="csX8" fmla="*/ 108579 w 729419"/>
              <a:gd name="csY8" fmla="*/ 1650967 h 2076207"/>
              <a:gd name="csX9" fmla="*/ 115628 w 729419"/>
              <a:gd name="csY9" fmla="*/ 1625405 h 2076207"/>
              <a:gd name="csX10" fmla="*/ 156323 w 729419"/>
              <a:gd name="csY10" fmla="*/ 1560181 h 2076207"/>
              <a:gd name="csX11" fmla="*/ 199424 w 729419"/>
              <a:gd name="csY11" fmla="*/ 1364729 h 2076207"/>
              <a:gd name="csX12" fmla="*/ 216779 w 729419"/>
              <a:gd name="csY12" fmla="*/ 1219490 h 2076207"/>
              <a:gd name="csX13" fmla="*/ 229755 w 729419"/>
              <a:gd name="csY13" fmla="*/ 1099357 h 2076207"/>
              <a:gd name="csX14" fmla="*/ 232707 w 729419"/>
              <a:gd name="csY14" fmla="*/ 1056423 h 2076207"/>
              <a:gd name="csX15" fmla="*/ 235622 w 729419"/>
              <a:gd name="csY15" fmla="*/ 952675 h 2076207"/>
              <a:gd name="csX16" fmla="*/ 235445 w 729419"/>
              <a:gd name="csY16" fmla="*/ 780278 h 2076207"/>
              <a:gd name="csX17" fmla="*/ 214544 w 729419"/>
              <a:gd name="csY17" fmla="*/ 756435 h 2076207"/>
              <a:gd name="csX18" fmla="*/ 172569 w 729419"/>
              <a:gd name="csY18" fmla="*/ 742582 h 2076207"/>
              <a:gd name="csX19" fmla="*/ 168784 w 729419"/>
              <a:gd name="csY19" fmla="*/ 669116 h 2076207"/>
              <a:gd name="csX20" fmla="*/ 191657 w 729419"/>
              <a:gd name="csY20" fmla="*/ 630765 h 2076207"/>
              <a:gd name="csX21" fmla="*/ 208150 w 729419"/>
              <a:gd name="csY21" fmla="*/ 609084 h 2076207"/>
              <a:gd name="csX22" fmla="*/ 216756 w 729419"/>
              <a:gd name="csY22" fmla="*/ 558673 h 2076207"/>
              <a:gd name="csX23" fmla="*/ 209092 w 729419"/>
              <a:gd name="csY23" fmla="*/ 521540 h 2076207"/>
              <a:gd name="csX24" fmla="*/ 204683 w 729419"/>
              <a:gd name="csY24" fmla="*/ 474024 h 2076207"/>
              <a:gd name="csX25" fmla="*/ 115483 w 729419"/>
              <a:gd name="csY25" fmla="*/ 213499 h 2076207"/>
              <a:gd name="csX26" fmla="*/ 102909 w 729419"/>
              <a:gd name="csY26" fmla="*/ 182297 h 2076207"/>
              <a:gd name="csX27" fmla="*/ 104315 w 729419"/>
              <a:gd name="csY27" fmla="*/ 163968 h 2076207"/>
              <a:gd name="csX28" fmla="*/ 122444 w 729419"/>
              <a:gd name="csY28" fmla="*/ 160805 h 2076207"/>
              <a:gd name="csX29" fmla="*/ 170283 w 729419"/>
              <a:gd name="csY29" fmla="*/ 187783 h 2076207"/>
              <a:gd name="csX30" fmla="*/ 180938 w 729419"/>
              <a:gd name="csY30" fmla="*/ 195322 h 2076207"/>
              <a:gd name="csX31" fmla="*/ 221419 w 729419"/>
              <a:gd name="csY31" fmla="*/ 138058 h 2076207"/>
              <a:gd name="csX32" fmla="*/ 294099 w 729419"/>
              <a:gd name="csY32" fmla="*/ 91372 h 2076207"/>
              <a:gd name="csX33" fmla="*/ 302307 w 729419"/>
              <a:gd name="csY33" fmla="*/ 76560 h 2076207"/>
              <a:gd name="csX34" fmla="*/ 320284 w 729419"/>
              <a:gd name="csY34" fmla="*/ 8414 h 2076207"/>
              <a:gd name="csX35" fmla="*/ 324784 w 729419"/>
              <a:gd name="csY35" fmla="*/ 946 h 2076207"/>
              <a:gd name="csX36" fmla="*/ 399212 w 729419"/>
              <a:gd name="csY36" fmla="*/ 0 h 2076207"/>
              <a:gd name="csX37" fmla="*/ 425980 w 729419"/>
              <a:gd name="csY37" fmla="*/ 78301 h 2076207"/>
              <a:gd name="csX38" fmla="*/ 431861 w 729419"/>
              <a:gd name="csY38" fmla="*/ 90312 h 2076207"/>
              <a:gd name="csX39" fmla="*/ 540349 w 729419"/>
              <a:gd name="csY39" fmla="*/ 187946 h 2076207"/>
              <a:gd name="csX40" fmla="*/ 545555 w 729419"/>
              <a:gd name="csY40" fmla="*/ 197828 h 2076207"/>
              <a:gd name="csX41" fmla="*/ 587318 w 729419"/>
              <a:gd name="csY41" fmla="*/ 171260 h 2076207"/>
              <a:gd name="csX42" fmla="*/ 601503 w 729419"/>
              <a:gd name="csY42" fmla="*/ 163707 h 2076207"/>
              <a:gd name="csX43" fmla="*/ 625254 w 729419"/>
              <a:gd name="csY43" fmla="*/ 163123 h 2076207"/>
              <a:gd name="csX44" fmla="*/ 625468 w 729419"/>
              <a:gd name="csY44" fmla="*/ 187579 h 2076207"/>
              <a:gd name="csX45" fmla="*/ 597543 w 729419"/>
              <a:gd name="csY45" fmla="*/ 251872 h 2076207"/>
              <a:gd name="csX46" fmla="*/ 531831 w 729419"/>
              <a:gd name="csY46" fmla="*/ 442689 h 2076207"/>
              <a:gd name="csX47" fmla="*/ 519888 w 729419"/>
              <a:gd name="csY47" fmla="*/ 501474 h 2076207"/>
              <a:gd name="csX48" fmla="*/ 522506 w 729419"/>
              <a:gd name="csY48" fmla="*/ 525086 h 2076207"/>
              <a:gd name="csX49" fmla="*/ 516235 w 729419"/>
              <a:gd name="csY49" fmla="*/ 555946 h 2076207"/>
              <a:gd name="csX50" fmla="*/ 521332 w 729419"/>
              <a:gd name="csY50" fmla="*/ 610676 h 2076207"/>
              <a:gd name="csX51" fmla="*/ 541382 w 729419"/>
              <a:gd name="csY51" fmla="*/ 642597 h 2076207"/>
              <a:gd name="csX52" fmla="*/ 557031 w 729419"/>
              <a:gd name="csY52" fmla="*/ 667949 h 2076207"/>
              <a:gd name="csX53" fmla="*/ 553994 w 729419"/>
              <a:gd name="csY53" fmla="*/ 744146 h 2076207"/>
              <a:gd name="csX54" fmla="*/ 508215 w 729419"/>
              <a:gd name="csY54" fmla="*/ 758841 h 2076207"/>
              <a:gd name="csX55" fmla="*/ 497442 w 729419"/>
              <a:gd name="csY55" fmla="*/ 771256 h 2076207"/>
              <a:gd name="csX56" fmla="*/ 493005 w 729419"/>
              <a:gd name="csY56" fmla="*/ 922055 h 2076207"/>
              <a:gd name="csX57" fmla="*/ 502900 w 729419"/>
              <a:gd name="csY57" fmla="*/ 1114191 h 2076207"/>
              <a:gd name="csX58" fmla="*/ 508800 w 729419"/>
              <a:gd name="csY58" fmla="*/ 1205474 h 2076207"/>
              <a:gd name="csX59" fmla="*/ 522952 w 729419"/>
              <a:gd name="csY59" fmla="*/ 1320065 h 2076207"/>
              <a:gd name="csX60" fmla="*/ 554682 w 729419"/>
              <a:gd name="csY60" fmla="*/ 1501203 h 2076207"/>
              <a:gd name="csX61" fmla="*/ 576958 w 729419"/>
              <a:gd name="csY61" fmla="*/ 1593963 h 2076207"/>
              <a:gd name="csX62" fmla="*/ 595349 w 729419"/>
              <a:gd name="csY62" fmla="*/ 1613498 h 2076207"/>
              <a:gd name="csX63" fmla="*/ 613936 w 729419"/>
              <a:gd name="csY63" fmla="*/ 1624058 h 2076207"/>
              <a:gd name="csX64" fmla="*/ 620938 w 729419"/>
              <a:gd name="csY64" fmla="*/ 1652071 h 2076207"/>
              <a:gd name="csX65" fmla="*/ 630805 w 729419"/>
              <a:gd name="csY65" fmla="*/ 1721702 h 2076207"/>
              <a:gd name="csX66" fmla="*/ 685830 w 729419"/>
              <a:gd name="csY66" fmla="*/ 1792915 h 2076207"/>
              <a:gd name="csX67" fmla="*/ 708904 w 729419"/>
              <a:gd name="csY67" fmla="*/ 1890290 h 2076207"/>
              <a:gd name="csX68" fmla="*/ 716580 w 729419"/>
              <a:gd name="csY68" fmla="*/ 1951136 h 2076207"/>
              <a:gd name="csX69" fmla="*/ 729397 w 729419"/>
              <a:gd name="csY69" fmla="*/ 2030261 h 2076207"/>
              <a:gd name="csX70" fmla="*/ 714212 w 729419"/>
              <a:gd name="csY70" fmla="*/ 2049544 h 2076207"/>
              <a:gd name="csX71" fmla="*/ 645428 w 729419"/>
              <a:gd name="csY71" fmla="*/ 2070825 h 2076207"/>
              <a:gd name="csX72" fmla="*/ 635822 w 729419"/>
              <a:gd name="csY72" fmla="*/ 2075145 h 2076207"/>
              <a:gd name="csX73" fmla="*/ 588428 w 729419"/>
              <a:gd name="csY73" fmla="*/ 2075144 h 2076207"/>
              <a:gd name="csX74" fmla="*/ 590041 w 729419"/>
              <a:gd name="csY74" fmla="*/ 2071383 h 2076207"/>
              <a:gd name="csX75" fmla="*/ 667788 w 729419"/>
              <a:gd name="csY75" fmla="*/ 2056852 h 2076207"/>
              <a:gd name="csX76" fmla="*/ 706629 w 729419"/>
              <a:gd name="csY76" fmla="*/ 2044290 h 2076207"/>
              <a:gd name="csX77" fmla="*/ 702674 w 729419"/>
              <a:gd name="csY77" fmla="*/ 2041581 h 2076207"/>
              <a:gd name="csX78" fmla="*/ 544974 w 729419"/>
              <a:gd name="csY78" fmla="*/ 2071274 h 2076207"/>
              <a:gd name="csX79" fmla="*/ 538352 w 729419"/>
              <a:gd name="csY79" fmla="*/ 2076207 h 2076207"/>
              <a:gd name="csX80" fmla="*/ 96263 w 729419"/>
              <a:gd name="csY80" fmla="*/ 2076207 h 2076207"/>
              <a:gd name="csX81" fmla="*/ 489970 w 729419"/>
              <a:gd name="csY81" fmla="*/ 152208 h 2076207"/>
              <a:gd name="csX82" fmla="*/ 490754 w 729419"/>
              <a:gd name="csY82" fmla="*/ 152592 h 2076207"/>
              <a:gd name="csX83" fmla="*/ 489489 w 729419"/>
              <a:gd name="csY83" fmla="*/ 149547 h 2076207"/>
              <a:gd name="csX84" fmla="*/ 393621 w 729419"/>
              <a:gd name="csY84" fmla="*/ 99259 h 2076207"/>
              <a:gd name="csX85" fmla="*/ 390419 w 729419"/>
              <a:gd name="csY85" fmla="*/ 18568 h 2076207"/>
              <a:gd name="csX86" fmla="*/ 334131 w 729419"/>
              <a:gd name="csY86" fmla="*/ 24327 h 2076207"/>
              <a:gd name="csX87" fmla="*/ 344678 w 729419"/>
              <a:gd name="csY87" fmla="*/ 101259 h 2076207"/>
              <a:gd name="csX88" fmla="*/ 298854 w 729419"/>
              <a:gd name="csY88" fmla="*/ 114003 h 2076207"/>
              <a:gd name="csX89" fmla="*/ 237456 w 729419"/>
              <a:gd name="csY89" fmla="*/ 154340 h 2076207"/>
              <a:gd name="csX90" fmla="*/ 240382 w 729419"/>
              <a:gd name="csY90" fmla="*/ 154035 h 2076207"/>
              <a:gd name="csX91" fmla="*/ 262731 w 729419"/>
              <a:gd name="csY91" fmla="*/ 170426 h 2076207"/>
              <a:gd name="csX92" fmla="*/ 279169 w 729419"/>
              <a:gd name="csY92" fmla="*/ 193173 h 2076207"/>
              <a:gd name="csX93" fmla="*/ 327717 w 729419"/>
              <a:gd name="csY93" fmla="*/ 188556 h 2076207"/>
              <a:gd name="csX94" fmla="*/ 348052 w 729419"/>
              <a:gd name="csY94" fmla="*/ 156919 h 2076207"/>
              <a:gd name="csX95" fmla="*/ 380330 w 729419"/>
              <a:gd name="csY95" fmla="*/ 156483 h 2076207"/>
              <a:gd name="csX96" fmla="*/ 408490 w 729419"/>
              <a:gd name="csY96" fmla="*/ 195400 h 2076207"/>
              <a:gd name="csX97" fmla="*/ 445346 w 729419"/>
              <a:gd name="csY97" fmla="*/ 197582 h 2076207"/>
              <a:gd name="csX98" fmla="*/ 464798 w 729419"/>
              <a:gd name="csY98" fmla="*/ 174107 h 2076207"/>
              <a:gd name="csX99" fmla="*/ 489970 w 729419"/>
              <a:gd name="csY99" fmla="*/ 152208 h 2076207"/>
              <a:gd name="csX100" fmla="*/ 140694 w 729419"/>
              <a:gd name="csY100" fmla="*/ 201837 h 2076207"/>
              <a:gd name="csX101" fmla="*/ 139834 w 729419"/>
              <a:gd name="csY101" fmla="*/ 201482 h 2076207"/>
              <a:gd name="csX102" fmla="*/ 140812 w 729419"/>
              <a:gd name="csY102" fmla="*/ 204941 h 2076207"/>
              <a:gd name="csX103" fmla="*/ 144631 w 729419"/>
              <a:gd name="csY103" fmla="*/ 217811 h 2076207"/>
              <a:gd name="csX104" fmla="*/ 201241 w 729419"/>
              <a:gd name="csY104" fmla="*/ 373387 h 2076207"/>
              <a:gd name="csX105" fmla="*/ 235971 w 729419"/>
              <a:gd name="csY105" fmla="*/ 504451 h 2076207"/>
              <a:gd name="csX106" fmla="*/ 247475 w 729419"/>
              <a:gd name="csY106" fmla="*/ 513241 h 2076207"/>
              <a:gd name="csX107" fmla="*/ 289066 w 729419"/>
              <a:gd name="csY107" fmla="*/ 511170 h 2076207"/>
              <a:gd name="csX108" fmla="*/ 378229 w 729419"/>
              <a:gd name="csY108" fmla="*/ 511084 h 2076207"/>
              <a:gd name="csX109" fmla="*/ 470850 w 729419"/>
              <a:gd name="csY109" fmla="*/ 516341 h 2076207"/>
              <a:gd name="csX110" fmla="*/ 492933 w 729419"/>
              <a:gd name="csY110" fmla="*/ 497969 h 2076207"/>
              <a:gd name="csX111" fmla="*/ 557617 w 729419"/>
              <a:gd name="csY111" fmla="*/ 280398 h 2076207"/>
              <a:gd name="csX112" fmla="*/ 588788 w 729419"/>
              <a:gd name="csY112" fmla="*/ 200385 h 2076207"/>
              <a:gd name="csX113" fmla="*/ 530958 w 729419"/>
              <a:gd name="csY113" fmla="*/ 232968 h 2076207"/>
              <a:gd name="csX114" fmla="*/ 483823 w 729419"/>
              <a:gd name="csY114" fmla="*/ 190364 h 2076207"/>
              <a:gd name="csX115" fmla="*/ 466649 w 729419"/>
              <a:gd name="csY115" fmla="*/ 209061 h 2076207"/>
              <a:gd name="csX116" fmla="*/ 399941 w 729419"/>
              <a:gd name="csY116" fmla="*/ 216988 h 2076207"/>
              <a:gd name="csX117" fmla="*/ 363018 w 729419"/>
              <a:gd name="csY117" fmla="*/ 179615 h 2076207"/>
              <a:gd name="csX118" fmla="*/ 308839 w 729419"/>
              <a:gd name="csY118" fmla="*/ 227846 h 2076207"/>
              <a:gd name="csX119" fmla="*/ 245077 w 729419"/>
              <a:gd name="csY119" fmla="*/ 192402 h 2076207"/>
              <a:gd name="csX120" fmla="*/ 242829 w 729419"/>
              <a:gd name="csY120" fmla="*/ 198815 h 2076207"/>
              <a:gd name="csX121" fmla="*/ 168452 w 729419"/>
              <a:gd name="csY121" fmla="*/ 219348 h 2076207"/>
              <a:gd name="csX122" fmla="*/ 140694 w 729419"/>
              <a:gd name="csY122" fmla="*/ 201837 h 2076207"/>
              <a:gd name="csX123" fmla="*/ 259999 w 729419"/>
              <a:gd name="csY123" fmla="*/ 966699 h 2076207"/>
              <a:gd name="csX124" fmla="*/ 257072 w 729419"/>
              <a:gd name="csY124" fmla="*/ 1070424 h 2076207"/>
              <a:gd name="csX125" fmla="*/ 251372 w 729419"/>
              <a:gd name="csY125" fmla="*/ 1157618 h 2076207"/>
              <a:gd name="csX126" fmla="*/ 232677 w 729419"/>
              <a:gd name="csY126" fmla="*/ 1320279 h 2076207"/>
              <a:gd name="csX127" fmla="*/ 209182 w 729419"/>
              <a:gd name="csY127" fmla="*/ 1468667 h 2076207"/>
              <a:gd name="csX128" fmla="*/ 175302 w 729419"/>
              <a:gd name="csY128" fmla="*/ 1616623 h 2076207"/>
              <a:gd name="csX129" fmla="*/ 182769 w 729419"/>
              <a:gd name="csY129" fmla="*/ 1629786 h 2076207"/>
              <a:gd name="csX130" fmla="*/ 212156 w 729419"/>
              <a:gd name="csY130" fmla="*/ 1632656 h 2076207"/>
              <a:gd name="csX131" fmla="*/ 351295 w 729419"/>
              <a:gd name="csY131" fmla="*/ 1632801 h 2076207"/>
              <a:gd name="csX132" fmla="*/ 376150 w 729419"/>
              <a:gd name="csY132" fmla="*/ 1608307 h 2076207"/>
              <a:gd name="csX133" fmla="*/ 373450 w 729419"/>
              <a:gd name="csY133" fmla="*/ 1457291 h 2076207"/>
              <a:gd name="csX134" fmla="*/ 370936 w 729419"/>
              <a:gd name="csY134" fmla="*/ 1342736 h 2076207"/>
              <a:gd name="csX135" fmla="*/ 368328 w 729419"/>
              <a:gd name="csY135" fmla="*/ 1203878 h 2076207"/>
              <a:gd name="csX136" fmla="*/ 367836 w 729419"/>
              <a:gd name="csY136" fmla="*/ 813478 h 2076207"/>
              <a:gd name="csX137" fmla="*/ 365240 w 729419"/>
              <a:gd name="csY137" fmla="*/ 773243 h 2076207"/>
              <a:gd name="csX138" fmla="*/ 353084 w 729419"/>
              <a:gd name="csY138" fmla="*/ 762083 h 2076207"/>
              <a:gd name="csX139" fmla="*/ 280966 w 729419"/>
              <a:gd name="csY139" fmla="*/ 759855 h 2076207"/>
              <a:gd name="csX140" fmla="*/ 259965 w 729419"/>
              <a:gd name="csY140" fmla="*/ 779553 h 2076207"/>
              <a:gd name="csX141" fmla="*/ 262341 w 729419"/>
              <a:gd name="csY141" fmla="*/ 856275 h 2076207"/>
              <a:gd name="csX142" fmla="*/ 259999 w 729419"/>
              <a:gd name="csY142" fmla="*/ 966699 h 2076207"/>
              <a:gd name="csX143" fmla="*/ 55556 w 729419"/>
              <a:gd name="csY143" fmla="*/ 1835827 h 2076207"/>
              <a:gd name="csX144" fmla="*/ 49393 w 729419"/>
              <a:gd name="csY144" fmla="*/ 1878155 h 2076207"/>
              <a:gd name="csX145" fmla="*/ 73949 w 729419"/>
              <a:gd name="csY145" fmla="*/ 1905781 h 2076207"/>
              <a:gd name="csX146" fmla="*/ 110073 w 729419"/>
              <a:gd name="csY146" fmla="*/ 1909068 h 2076207"/>
              <a:gd name="csX147" fmla="*/ 224745 w 729419"/>
              <a:gd name="csY147" fmla="*/ 1921652 h 2076207"/>
              <a:gd name="csX148" fmla="*/ 347327 w 729419"/>
              <a:gd name="csY148" fmla="*/ 1924778 h 2076207"/>
              <a:gd name="csX149" fmla="*/ 363345 w 729419"/>
              <a:gd name="csY149" fmla="*/ 1923293 h 2076207"/>
              <a:gd name="csX150" fmla="*/ 373787 w 729419"/>
              <a:gd name="csY150" fmla="*/ 1911200 h 2076207"/>
              <a:gd name="csX151" fmla="*/ 376623 w 729419"/>
              <a:gd name="csY151" fmla="*/ 1696741 h 2076207"/>
              <a:gd name="csX152" fmla="*/ 360437 w 729419"/>
              <a:gd name="csY152" fmla="*/ 1681289 h 2076207"/>
              <a:gd name="csX153" fmla="*/ 263503 w 729419"/>
              <a:gd name="csY153" fmla="*/ 1678179 h 2076207"/>
              <a:gd name="csX154" fmla="*/ 160381 w 729419"/>
              <a:gd name="csY154" fmla="*/ 1670405 h 2076207"/>
              <a:gd name="csX155" fmla="*/ 143321 w 729419"/>
              <a:gd name="csY155" fmla="*/ 1685538 h 2076207"/>
              <a:gd name="csX156" fmla="*/ 124769 w 729419"/>
              <a:gd name="csY156" fmla="*/ 1738195 h 2076207"/>
              <a:gd name="csX157" fmla="*/ 90593 w 729419"/>
              <a:gd name="csY157" fmla="*/ 1779570 h 2076207"/>
              <a:gd name="csX158" fmla="*/ 55556 w 729419"/>
              <a:gd name="csY158" fmla="*/ 1835827 h 2076207"/>
              <a:gd name="csX159" fmla="*/ 378900 w 729419"/>
              <a:gd name="csY159" fmla="*/ 2007280 h 2076207"/>
              <a:gd name="csX160" fmla="*/ 378887 w 729419"/>
              <a:gd name="csY160" fmla="*/ 1995127 h 2076207"/>
              <a:gd name="csX161" fmla="*/ 359084 w 729419"/>
              <a:gd name="csY161" fmla="*/ 1975964 h 2076207"/>
              <a:gd name="csX162" fmla="*/ 247288 w 729419"/>
              <a:gd name="csY162" fmla="*/ 1973305 h 2076207"/>
              <a:gd name="csX163" fmla="*/ 201692 w 729419"/>
              <a:gd name="csY163" fmla="*/ 1970275 h 2076207"/>
              <a:gd name="csX164" fmla="*/ 57962 w 729419"/>
              <a:gd name="csY164" fmla="*/ 1952648 h 2076207"/>
              <a:gd name="csX165" fmla="*/ 39194 w 729419"/>
              <a:gd name="csY165" fmla="*/ 1963552 h 2076207"/>
              <a:gd name="csX166" fmla="*/ 30066 w 729419"/>
              <a:gd name="csY166" fmla="*/ 2006631 h 2076207"/>
              <a:gd name="csX167" fmla="*/ 40232 w 729419"/>
              <a:gd name="csY167" fmla="*/ 2019486 h 2076207"/>
              <a:gd name="csX168" fmla="*/ 238186 w 729419"/>
              <a:gd name="csY168" fmla="*/ 2046096 h 2076207"/>
              <a:gd name="csX169" fmla="*/ 342155 w 729419"/>
              <a:gd name="csY169" fmla="*/ 2046441 h 2076207"/>
              <a:gd name="csX170" fmla="*/ 378900 w 729419"/>
              <a:gd name="csY170" fmla="*/ 2007280 h 2076207"/>
              <a:gd name="csX171" fmla="*/ 310220 w 729419"/>
              <a:gd name="csY171" fmla="*/ 554288 h 2076207"/>
              <a:gd name="csX172" fmla="*/ 259136 w 729419"/>
              <a:gd name="csY172" fmla="*/ 556881 h 2076207"/>
              <a:gd name="csX173" fmla="*/ 249085 w 729419"/>
              <a:gd name="csY173" fmla="*/ 567981 h 2076207"/>
              <a:gd name="csX174" fmla="*/ 249141 w 729419"/>
              <a:gd name="csY174" fmla="*/ 605644 h 2076207"/>
              <a:gd name="csX175" fmla="*/ 262628 w 729419"/>
              <a:gd name="csY175" fmla="*/ 605627 h 2076207"/>
              <a:gd name="csX176" fmla="*/ 369608 w 729419"/>
              <a:gd name="csY176" fmla="*/ 603027 h 2076207"/>
              <a:gd name="csX177" fmla="*/ 463931 w 729419"/>
              <a:gd name="csY177" fmla="*/ 605146 h 2076207"/>
              <a:gd name="csX178" fmla="*/ 478113 w 729419"/>
              <a:gd name="csY178" fmla="*/ 595843 h 2076207"/>
              <a:gd name="csX179" fmla="*/ 478796 w 729419"/>
              <a:gd name="csY179" fmla="*/ 556832 h 2076207"/>
              <a:gd name="csX180" fmla="*/ 310220 w 729419"/>
              <a:gd name="csY180" fmla="*/ 554288 h 2076207"/>
              <a:gd name="csX181" fmla="*/ 348836 w 729419"/>
              <a:gd name="csY181" fmla="*/ 684115 h 2076207"/>
              <a:gd name="csX182" fmla="*/ 281333 w 729419"/>
              <a:gd name="csY182" fmla="*/ 683313 h 2076207"/>
              <a:gd name="csX183" fmla="*/ 212728 w 729419"/>
              <a:gd name="csY183" fmla="*/ 681931 h 2076207"/>
              <a:gd name="csX184" fmla="*/ 187283 w 729419"/>
              <a:gd name="csY184" fmla="*/ 689555 h 2076207"/>
              <a:gd name="csX185" fmla="*/ 186163 w 729419"/>
              <a:gd name="csY185" fmla="*/ 718266 h 2076207"/>
              <a:gd name="csX186" fmla="*/ 209894 w 729419"/>
              <a:gd name="csY186" fmla="*/ 726798 h 2076207"/>
              <a:gd name="csX187" fmla="*/ 334814 w 729419"/>
              <a:gd name="csY187" fmla="*/ 732494 h 2076207"/>
              <a:gd name="csX188" fmla="*/ 364856 w 729419"/>
              <a:gd name="csY188" fmla="*/ 707963 h 2076207"/>
              <a:gd name="csX189" fmla="*/ 348836 w 729419"/>
              <a:gd name="csY189" fmla="*/ 684115 h 2076207"/>
              <a:gd name="csX190" fmla="*/ 298865 w 729419"/>
              <a:gd name="csY190" fmla="*/ 621954 h 2076207"/>
              <a:gd name="csX191" fmla="*/ 251619 w 729419"/>
              <a:gd name="csY191" fmla="*/ 622133 h 2076207"/>
              <a:gd name="csX192" fmla="*/ 214459 w 729419"/>
              <a:gd name="csY192" fmla="*/ 636230 h 2076207"/>
              <a:gd name="csX193" fmla="*/ 221436 w 729419"/>
              <a:gd name="csY193" fmla="*/ 654205 h 2076207"/>
              <a:gd name="csX194" fmla="*/ 272412 w 729419"/>
              <a:gd name="csY194" fmla="*/ 657250 h 2076207"/>
              <a:gd name="csX195" fmla="*/ 349094 w 729419"/>
              <a:gd name="csY195" fmla="*/ 659282 h 2076207"/>
              <a:gd name="csX196" fmla="*/ 362996 w 729419"/>
              <a:gd name="csY196" fmla="*/ 644234 h 2076207"/>
              <a:gd name="csX197" fmla="*/ 348472 w 729419"/>
              <a:gd name="csY197" fmla="*/ 624649 h 2076207"/>
              <a:gd name="csX198" fmla="*/ 298865 w 729419"/>
              <a:gd name="csY198" fmla="*/ 621954 h 2076207"/>
              <a:gd name="csX199" fmla="*/ 227796 w 729419"/>
              <a:gd name="csY199" fmla="*/ 528000 h 2076207"/>
              <a:gd name="csX200" fmla="*/ 241009 w 729419"/>
              <a:gd name="csY200" fmla="*/ 545897 h 2076207"/>
              <a:gd name="csX201" fmla="*/ 282607 w 729419"/>
              <a:gd name="csY201" fmla="*/ 543480 h 2076207"/>
              <a:gd name="csX202" fmla="*/ 354213 w 729419"/>
              <a:gd name="csY202" fmla="*/ 543384 h 2076207"/>
              <a:gd name="csX203" fmla="*/ 365334 w 729419"/>
              <a:gd name="csY203" fmla="*/ 533397 h 2076207"/>
              <a:gd name="csX204" fmla="*/ 354531 w 729419"/>
              <a:gd name="csY204" fmla="*/ 521620 h 2076207"/>
              <a:gd name="csX205" fmla="*/ 259169 w 729419"/>
              <a:gd name="csY205" fmla="*/ 521978 h 2076207"/>
              <a:gd name="csX206" fmla="*/ 227796 w 729419"/>
              <a:gd name="csY206" fmla="*/ 528000 h 2076207"/>
              <a:gd name="csX207" fmla="*/ 508068 w 729419"/>
              <a:gd name="csY207" fmla="*/ 190710 h 2076207"/>
              <a:gd name="csX208" fmla="*/ 521293 w 729419"/>
              <a:gd name="csY208" fmla="*/ 205907 h 2076207"/>
              <a:gd name="csX209" fmla="*/ 525175 w 729419"/>
              <a:gd name="csY209" fmla="*/ 202985 h 2076207"/>
              <a:gd name="csX210" fmla="*/ 500276 w 729419"/>
              <a:gd name="csY210" fmla="*/ 160640 h 2076207"/>
              <a:gd name="csX211" fmla="*/ 497122 w 729419"/>
              <a:gd name="csY211" fmla="*/ 162007 h 2076207"/>
              <a:gd name="csX212" fmla="*/ 508068 w 729419"/>
              <a:gd name="csY212" fmla="*/ 190710 h 2076207"/>
              <a:gd name="csX213" fmla="*/ 215522 w 729419"/>
              <a:gd name="csY213" fmla="*/ 197296 h 2076207"/>
              <a:gd name="csX214" fmla="*/ 234029 w 729419"/>
              <a:gd name="csY214" fmla="*/ 162725 h 2076207"/>
              <a:gd name="csX215" fmla="*/ 229000 w 729419"/>
              <a:gd name="csY215" fmla="*/ 159902 h 2076207"/>
              <a:gd name="csX216" fmla="*/ 204824 w 729419"/>
              <a:gd name="csY216" fmla="*/ 199677 h 2076207"/>
              <a:gd name="csX217" fmla="*/ 207990 w 729419"/>
              <a:gd name="csY217" fmla="*/ 202198 h 2076207"/>
              <a:gd name="csX218" fmla="*/ 215522 w 729419"/>
              <a:gd name="csY218" fmla="*/ 197296 h 2076207"/>
              <a:gd name="csX219" fmla="*/ 484400 w 729419"/>
              <a:gd name="csY219" fmla="*/ 896678 h 2076207"/>
              <a:gd name="csX220" fmla="*/ 486181 w 729419"/>
              <a:gd name="csY220" fmla="*/ 896585 h 2076207"/>
              <a:gd name="csX221" fmla="*/ 486181 w 729419"/>
              <a:gd name="csY221" fmla="*/ 795289 h 2076207"/>
              <a:gd name="csX222" fmla="*/ 720241 w 729419"/>
              <a:gd name="csY222" fmla="*/ 2030666 h 2076207"/>
              <a:gd name="csX223" fmla="*/ 721175 w 729419"/>
              <a:gd name="csY223" fmla="*/ 2029733 h 2076207"/>
              <a:gd name="csX224" fmla="*/ 720241 w 729419"/>
              <a:gd name="csY224" fmla="*/ 2030666 h 2076207"/>
              <a:gd name="csX225" fmla="*/ 715702 w 729419"/>
              <a:gd name="csY225" fmla="*/ 2037051 h 2076207"/>
              <a:gd name="csX226" fmla="*/ 715702 w 729419"/>
              <a:gd name="csY226" fmla="*/ 2037051 h 2076207"/>
              <a:gd name="csX0" fmla="*/ 96263 w 729419"/>
              <a:gd name="csY0" fmla="*/ 2076207 h 2091729"/>
              <a:gd name="csX1" fmla="*/ 63862 w 729419"/>
              <a:gd name="csY1" fmla="*/ 2065388 h 2091729"/>
              <a:gd name="csX2" fmla="*/ 16555 w 729419"/>
              <a:gd name="csY2" fmla="*/ 2050152 h 2091729"/>
              <a:gd name="csX3" fmla="*/ 15 w 729419"/>
              <a:gd name="csY3" fmla="*/ 2023802 h 2091729"/>
              <a:gd name="csX4" fmla="*/ 18368 w 729419"/>
              <a:gd name="csY4" fmla="*/ 1940709 h 2091729"/>
              <a:gd name="csX5" fmla="*/ 22139 w 729419"/>
              <a:gd name="csY5" fmla="*/ 1907268 h 2091729"/>
              <a:gd name="csX6" fmla="*/ 57941 w 729419"/>
              <a:gd name="csY6" fmla="*/ 1774163 h 2091729"/>
              <a:gd name="csX7" fmla="*/ 102478 w 729419"/>
              <a:gd name="csY7" fmla="*/ 1720275 h 2091729"/>
              <a:gd name="csX8" fmla="*/ 108579 w 729419"/>
              <a:gd name="csY8" fmla="*/ 1650967 h 2091729"/>
              <a:gd name="csX9" fmla="*/ 115628 w 729419"/>
              <a:gd name="csY9" fmla="*/ 1625405 h 2091729"/>
              <a:gd name="csX10" fmla="*/ 156323 w 729419"/>
              <a:gd name="csY10" fmla="*/ 1560181 h 2091729"/>
              <a:gd name="csX11" fmla="*/ 199424 w 729419"/>
              <a:gd name="csY11" fmla="*/ 1364729 h 2091729"/>
              <a:gd name="csX12" fmla="*/ 216779 w 729419"/>
              <a:gd name="csY12" fmla="*/ 1219490 h 2091729"/>
              <a:gd name="csX13" fmla="*/ 229755 w 729419"/>
              <a:gd name="csY13" fmla="*/ 1099357 h 2091729"/>
              <a:gd name="csX14" fmla="*/ 232707 w 729419"/>
              <a:gd name="csY14" fmla="*/ 1056423 h 2091729"/>
              <a:gd name="csX15" fmla="*/ 235622 w 729419"/>
              <a:gd name="csY15" fmla="*/ 952675 h 2091729"/>
              <a:gd name="csX16" fmla="*/ 235445 w 729419"/>
              <a:gd name="csY16" fmla="*/ 780278 h 2091729"/>
              <a:gd name="csX17" fmla="*/ 214544 w 729419"/>
              <a:gd name="csY17" fmla="*/ 756435 h 2091729"/>
              <a:gd name="csX18" fmla="*/ 172569 w 729419"/>
              <a:gd name="csY18" fmla="*/ 742582 h 2091729"/>
              <a:gd name="csX19" fmla="*/ 168784 w 729419"/>
              <a:gd name="csY19" fmla="*/ 669116 h 2091729"/>
              <a:gd name="csX20" fmla="*/ 191657 w 729419"/>
              <a:gd name="csY20" fmla="*/ 630765 h 2091729"/>
              <a:gd name="csX21" fmla="*/ 208150 w 729419"/>
              <a:gd name="csY21" fmla="*/ 609084 h 2091729"/>
              <a:gd name="csX22" fmla="*/ 216756 w 729419"/>
              <a:gd name="csY22" fmla="*/ 558673 h 2091729"/>
              <a:gd name="csX23" fmla="*/ 209092 w 729419"/>
              <a:gd name="csY23" fmla="*/ 521540 h 2091729"/>
              <a:gd name="csX24" fmla="*/ 204683 w 729419"/>
              <a:gd name="csY24" fmla="*/ 474024 h 2091729"/>
              <a:gd name="csX25" fmla="*/ 115483 w 729419"/>
              <a:gd name="csY25" fmla="*/ 213499 h 2091729"/>
              <a:gd name="csX26" fmla="*/ 102909 w 729419"/>
              <a:gd name="csY26" fmla="*/ 182297 h 2091729"/>
              <a:gd name="csX27" fmla="*/ 104315 w 729419"/>
              <a:gd name="csY27" fmla="*/ 163968 h 2091729"/>
              <a:gd name="csX28" fmla="*/ 122444 w 729419"/>
              <a:gd name="csY28" fmla="*/ 160805 h 2091729"/>
              <a:gd name="csX29" fmla="*/ 170283 w 729419"/>
              <a:gd name="csY29" fmla="*/ 187783 h 2091729"/>
              <a:gd name="csX30" fmla="*/ 180938 w 729419"/>
              <a:gd name="csY30" fmla="*/ 195322 h 2091729"/>
              <a:gd name="csX31" fmla="*/ 221419 w 729419"/>
              <a:gd name="csY31" fmla="*/ 138058 h 2091729"/>
              <a:gd name="csX32" fmla="*/ 294099 w 729419"/>
              <a:gd name="csY32" fmla="*/ 91372 h 2091729"/>
              <a:gd name="csX33" fmla="*/ 302307 w 729419"/>
              <a:gd name="csY33" fmla="*/ 76560 h 2091729"/>
              <a:gd name="csX34" fmla="*/ 320284 w 729419"/>
              <a:gd name="csY34" fmla="*/ 8414 h 2091729"/>
              <a:gd name="csX35" fmla="*/ 324784 w 729419"/>
              <a:gd name="csY35" fmla="*/ 946 h 2091729"/>
              <a:gd name="csX36" fmla="*/ 399212 w 729419"/>
              <a:gd name="csY36" fmla="*/ 0 h 2091729"/>
              <a:gd name="csX37" fmla="*/ 425980 w 729419"/>
              <a:gd name="csY37" fmla="*/ 78301 h 2091729"/>
              <a:gd name="csX38" fmla="*/ 431861 w 729419"/>
              <a:gd name="csY38" fmla="*/ 90312 h 2091729"/>
              <a:gd name="csX39" fmla="*/ 540349 w 729419"/>
              <a:gd name="csY39" fmla="*/ 187946 h 2091729"/>
              <a:gd name="csX40" fmla="*/ 545555 w 729419"/>
              <a:gd name="csY40" fmla="*/ 197828 h 2091729"/>
              <a:gd name="csX41" fmla="*/ 587318 w 729419"/>
              <a:gd name="csY41" fmla="*/ 171260 h 2091729"/>
              <a:gd name="csX42" fmla="*/ 601503 w 729419"/>
              <a:gd name="csY42" fmla="*/ 163707 h 2091729"/>
              <a:gd name="csX43" fmla="*/ 625254 w 729419"/>
              <a:gd name="csY43" fmla="*/ 163123 h 2091729"/>
              <a:gd name="csX44" fmla="*/ 625468 w 729419"/>
              <a:gd name="csY44" fmla="*/ 187579 h 2091729"/>
              <a:gd name="csX45" fmla="*/ 597543 w 729419"/>
              <a:gd name="csY45" fmla="*/ 251872 h 2091729"/>
              <a:gd name="csX46" fmla="*/ 531831 w 729419"/>
              <a:gd name="csY46" fmla="*/ 442689 h 2091729"/>
              <a:gd name="csX47" fmla="*/ 519888 w 729419"/>
              <a:gd name="csY47" fmla="*/ 501474 h 2091729"/>
              <a:gd name="csX48" fmla="*/ 522506 w 729419"/>
              <a:gd name="csY48" fmla="*/ 525086 h 2091729"/>
              <a:gd name="csX49" fmla="*/ 516235 w 729419"/>
              <a:gd name="csY49" fmla="*/ 555946 h 2091729"/>
              <a:gd name="csX50" fmla="*/ 521332 w 729419"/>
              <a:gd name="csY50" fmla="*/ 610676 h 2091729"/>
              <a:gd name="csX51" fmla="*/ 541382 w 729419"/>
              <a:gd name="csY51" fmla="*/ 642597 h 2091729"/>
              <a:gd name="csX52" fmla="*/ 557031 w 729419"/>
              <a:gd name="csY52" fmla="*/ 667949 h 2091729"/>
              <a:gd name="csX53" fmla="*/ 553994 w 729419"/>
              <a:gd name="csY53" fmla="*/ 744146 h 2091729"/>
              <a:gd name="csX54" fmla="*/ 508215 w 729419"/>
              <a:gd name="csY54" fmla="*/ 758841 h 2091729"/>
              <a:gd name="csX55" fmla="*/ 497442 w 729419"/>
              <a:gd name="csY55" fmla="*/ 771256 h 2091729"/>
              <a:gd name="csX56" fmla="*/ 493005 w 729419"/>
              <a:gd name="csY56" fmla="*/ 922055 h 2091729"/>
              <a:gd name="csX57" fmla="*/ 502900 w 729419"/>
              <a:gd name="csY57" fmla="*/ 1114191 h 2091729"/>
              <a:gd name="csX58" fmla="*/ 508800 w 729419"/>
              <a:gd name="csY58" fmla="*/ 1205474 h 2091729"/>
              <a:gd name="csX59" fmla="*/ 522952 w 729419"/>
              <a:gd name="csY59" fmla="*/ 1320065 h 2091729"/>
              <a:gd name="csX60" fmla="*/ 554682 w 729419"/>
              <a:gd name="csY60" fmla="*/ 1501203 h 2091729"/>
              <a:gd name="csX61" fmla="*/ 576958 w 729419"/>
              <a:gd name="csY61" fmla="*/ 1593963 h 2091729"/>
              <a:gd name="csX62" fmla="*/ 595349 w 729419"/>
              <a:gd name="csY62" fmla="*/ 1613498 h 2091729"/>
              <a:gd name="csX63" fmla="*/ 613936 w 729419"/>
              <a:gd name="csY63" fmla="*/ 1624058 h 2091729"/>
              <a:gd name="csX64" fmla="*/ 620938 w 729419"/>
              <a:gd name="csY64" fmla="*/ 1652071 h 2091729"/>
              <a:gd name="csX65" fmla="*/ 630805 w 729419"/>
              <a:gd name="csY65" fmla="*/ 1721702 h 2091729"/>
              <a:gd name="csX66" fmla="*/ 685830 w 729419"/>
              <a:gd name="csY66" fmla="*/ 1792915 h 2091729"/>
              <a:gd name="csX67" fmla="*/ 708904 w 729419"/>
              <a:gd name="csY67" fmla="*/ 1890290 h 2091729"/>
              <a:gd name="csX68" fmla="*/ 716580 w 729419"/>
              <a:gd name="csY68" fmla="*/ 1951136 h 2091729"/>
              <a:gd name="csX69" fmla="*/ 729397 w 729419"/>
              <a:gd name="csY69" fmla="*/ 2030261 h 2091729"/>
              <a:gd name="csX70" fmla="*/ 714212 w 729419"/>
              <a:gd name="csY70" fmla="*/ 2049544 h 2091729"/>
              <a:gd name="csX71" fmla="*/ 645428 w 729419"/>
              <a:gd name="csY71" fmla="*/ 2070825 h 2091729"/>
              <a:gd name="csX72" fmla="*/ 635822 w 729419"/>
              <a:gd name="csY72" fmla="*/ 2075145 h 2091729"/>
              <a:gd name="csX73" fmla="*/ 588428 w 729419"/>
              <a:gd name="csY73" fmla="*/ 2075144 h 2091729"/>
              <a:gd name="csX74" fmla="*/ 590041 w 729419"/>
              <a:gd name="csY74" fmla="*/ 2071383 h 2091729"/>
              <a:gd name="csX75" fmla="*/ 667788 w 729419"/>
              <a:gd name="csY75" fmla="*/ 2056852 h 2091729"/>
              <a:gd name="csX76" fmla="*/ 706629 w 729419"/>
              <a:gd name="csY76" fmla="*/ 2044290 h 2091729"/>
              <a:gd name="csX77" fmla="*/ 702674 w 729419"/>
              <a:gd name="csY77" fmla="*/ 2041581 h 2091729"/>
              <a:gd name="csX78" fmla="*/ 544974 w 729419"/>
              <a:gd name="csY78" fmla="*/ 2071274 h 2091729"/>
              <a:gd name="csX79" fmla="*/ 538352 w 729419"/>
              <a:gd name="csY79" fmla="*/ 2076207 h 2091729"/>
              <a:gd name="csX80" fmla="*/ 96263 w 729419"/>
              <a:gd name="csY80" fmla="*/ 2076207 h 2091729"/>
              <a:gd name="csX81" fmla="*/ 489970 w 729419"/>
              <a:gd name="csY81" fmla="*/ 152208 h 2091729"/>
              <a:gd name="csX82" fmla="*/ 490754 w 729419"/>
              <a:gd name="csY82" fmla="*/ 152592 h 2091729"/>
              <a:gd name="csX83" fmla="*/ 489489 w 729419"/>
              <a:gd name="csY83" fmla="*/ 149547 h 2091729"/>
              <a:gd name="csX84" fmla="*/ 393621 w 729419"/>
              <a:gd name="csY84" fmla="*/ 99259 h 2091729"/>
              <a:gd name="csX85" fmla="*/ 390419 w 729419"/>
              <a:gd name="csY85" fmla="*/ 18568 h 2091729"/>
              <a:gd name="csX86" fmla="*/ 334131 w 729419"/>
              <a:gd name="csY86" fmla="*/ 24327 h 2091729"/>
              <a:gd name="csX87" fmla="*/ 344678 w 729419"/>
              <a:gd name="csY87" fmla="*/ 101259 h 2091729"/>
              <a:gd name="csX88" fmla="*/ 298854 w 729419"/>
              <a:gd name="csY88" fmla="*/ 114003 h 2091729"/>
              <a:gd name="csX89" fmla="*/ 237456 w 729419"/>
              <a:gd name="csY89" fmla="*/ 154340 h 2091729"/>
              <a:gd name="csX90" fmla="*/ 240382 w 729419"/>
              <a:gd name="csY90" fmla="*/ 154035 h 2091729"/>
              <a:gd name="csX91" fmla="*/ 262731 w 729419"/>
              <a:gd name="csY91" fmla="*/ 170426 h 2091729"/>
              <a:gd name="csX92" fmla="*/ 279169 w 729419"/>
              <a:gd name="csY92" fmla="*/ 193173 h 2091729"/>
              <a:gd name="csX93" fmla="*/ 327717 w 729419"/>
              <a:gd name="csY93" fmla="*/ 188556 h 2091729"/>
              <a:gd name="csX94" fmla="*/ 348052 w 729419"/>
              <a:gd name="csY94" fmla="*/ 156919 h 2091729"/>
              <a:gd name="csX95" fmla="*/ 380330 w 729419"/>
              <a:gd name="csY95" fmla="*/ 156483 h 2091729"/>
              <a:gd name="csX96" fmla="*/ 408490 w 729419"/>
              <a:gd name="csY96" fmla="*/ 195400 h 2091729"/>
              <a:gd name="csX97" fmla="*/ 445346 w 729419"/>
              <a:gd name="csY97" fmla="*/ 197582 h 2091729"/>
              <a:gd name="csX98" fmla="*/ 464798 w 729419"/>
              <a:gd name="csY98" fmla="*/ 174107 h 2091729"/>
              <a:gd name="csX99" fmla="*/ 489970 w 729419"/>
              <a:gd name="csY99" fmla="*/ 152208 h 2091729"/>
              <a:gd name="csX100" fmla="*/ 140694 w 729419"/>
              <a:gd name="csY100" fmla="*/ 201837 h 2091729"/>
              <a:gd name="csX101" fmla="*/ 139834 w 729419"/>
              <a:gd name="csY101" fmla="*/ 201482 h 2091729"/>
              <a:gd name="csX102" fmla="*/ 140812 w 729419"/>
              <a:gd name="csY102" fmla="*/ 204941 h 2091729"/>
              <a:gd name="csX103" fmla="*/ 144631 w 729419"/>
              <a:gd name="csY103" fmla="*/ 217811 h 2091729"/>
              <a:gd name="csX104" fmla="*/ 201241 w 729419"/>
              <a:gd name="csY104" fmla="*/ 373387 h 2091729"/>
              <a:gd name="csX105" fmla="*/ 235971 w 729419"/>
              <a:gd name="csY105" fmla="*/ 504451 h 2091729"/>
              <a:gd name="csX106" fmla="*/ 247475 w 729419"/>
              <a:gd name="csY106" fmla="*/ 513241 h 2091729"/>
              <a:gd name="csX107" fmla="*/ 289066 w 729419"/>
              <a:gd name="csY107" fmla="*/ 511170 h 2091729"/>
              <a:gd name="csX108" fmla="*/ 378229 w 729419"/>
              <a:gd name="csY108" fmla="*/ 511084 h 2091729"/>
              <a:gd name="csX109" fmla="*/ 470850 w 729419"/>
              <a:gd name="csY109" fmla="*/ 516341 h 2091729"/>
              <a:gd name="csX110" fmla="*/ 492933 w 729419"/>
              <a:gd name="csY110" fmla="*/ 497969 h 2091729"/>
              <a:gd name="csX111" fmla="*/ 557617 w 729419"/>
              <a:gd name="csY111" fmla="*/ 280398 h 2091729"/>
              <a:gd name="csX112" fmla="*/ 588788 w 729419"/>
              <a:gd name="csY112" fmla="*/ 200385 h 2091729"/>
              <a:gd name="csX113" fmla="*/ 530958 w 729419"/>
              <a:gd name="csY113" fmla="*/ 232968 h 2091729"/>
              <a:gd name="csX114" fmla="*/ 483823 w 729419"/>
              <a:gd name="csY114" fmla="*/ 190364 h 2091729"/>
              <a:gd name="csX115" fmla="*/ 466649 w 729419"/>
              <a:gd name="csY115" fmla="*/ 209061 h 2091729"/>
              <a:gd name="csX116" fmla="*/ 399941 w 729419"/>
              <a:gd name="csY116" fmla="*/ 216988 h 2091729"/>
              <a:gd name="csX117" fmla="*/ 363018 w 729419"/>
              <a:gd name="csY117" fmla="*/ 179615 h 2091729"/>
              <a:gd name="csX118" fmla="*/ 308839 w 729419"/>
              <a:gd name="csY118" fmla="*/ 227846 h 2091729"/>
              <a:gd name="csX119" fmla="*/ 245077 w 729419"/>
              <a:gd name="csY119" fmla="*/ 192402 h 2091729"/>
              <a:gd name="csX120" fmla="*/ 242829 w 729419"/>
              <a:gd name="csY120" fmla="*/ 198815 h 2091729"/>
              <a:gd name="csX121" fmla="*/ 168452 w 729419"/>
              <a:gd name="csY121" fmla="*/ 219348 h 2091729"/>
              <a:gd name="csX122" fmla="*/ 140694 w 729419"/>
              <a:gd name="csY122" fmla="*/ 201837 h 2091729"/>
              <a:gd name="csX123" fmla="*/ 259999 w 729419"/>
              <a:gd name="csY123" fmla="*/ 966699 h 2091729"/>
              <a:gd name="csX124" fmla="*/ 257072 w 729419"/>
              <a:gd name="csY124" fmla="*/ 1070424 h 2091729"/>
              <a:gd name="csX125" fmla="*/ 251372 w 729419"/>
              <a:gd name="csY125" fmla="*/ 1157618 h 2091729"/>
              <a:gd name="csX126" fmla="*/ 232677 w 729419"/>
              <a:gd name="csY126" fmla="*/ 1320279 h 2091729"/>
              <a:gd name="csX127" fmla="*/ 209182 w 729419"/>
              <a:gd name="csY127" fmla="*/ 1468667 h 2091729"/>
              <a:gd name="csX128" fmla="*/ 175302 w 729419"/>
              <a:gd name="csY128" fmla="*/ 1616623 h 2091729"/>
              <a:gd name="csX129" fmla="*/ 182769 w 729419"/>
              <a:gd name="csY129" fmla="*/ 1629786 h 2091729"/>
              <a:gd name="csX130" fmla="*/ 212156 w 729419"/>
              <a:gd name="csY130" fmla="*/ 1632656 h 2091729"/>
              <a:gd name="csX131" fmla="*/ 351295 w 729419"/>
              <a:gd name="csY131" fmla="*/ 1632801 h 2091729"/>
              <a:gd name="csX132" fmla="*/ 376150 w 729419"/>
              <a:gd name="csY132" fmla="*/ 1608307 h 2091729"/>
              <a:gd name="csX133" fmla="*/ 373450 w 729419"/>
              <a:gd name="csY133" fmla="*/ 1457291 h 2091729"/>
              <a:gd name="csX134" fmla="*/ 370936 w 729419"/>
              <a:gd name="csY134" fmla="*/ 1342736 h 2091729"/>
              <a:gd name="csX135" fmla="*/ 368328 w 729419"/>
              <a:gd name="csY135" fmla="*/ 1203878 h 2091729"/>
              <a:gd name="csX136" fmla="*/ 367836 w 729419"/>
              <a:gd name="csY136" fmla="*/ 813478 h 2091729"/>
              <a:gd name="csX137" fmla="*/ 365240 w 729419"/>
              <a:gd name="csY137" fmla="*/ 773243 h 2091729"/>
              <a:gd name="csX138" fmla="*/ 353084 w 729419"/>
              <a:gd name="csY138" fmla="*/ 762083 h 2091729"/>
              <a:gd name="csX139" fmla="*/ 280966 w 729419"/>
              <a:gd name="csY139" fmla="*/ 759855 h 2091729"/>
              <a:gd name="csX140" fmla="*/ 259965 w 729419"/>
              <a:gd name="csY140" fmla="*/ 779553 h 2091729"/>
              <a:gd name="csX141" fmla="*/ 262341 w 729419"/>
              <a:gd name="csY141" fmla="*/ 856275 h 2091729"/>
              <a:gd name="csX142" fmla="*/ 259999 w 729419"/>
              <a:gd name="csY142" fmla="*/ 966699 h 2091729"/>
              <a:gd name="csX143" fmla="*/ 55556 w 729419"/>
              <a:gd name="csY143" fmla="*/ 1835827 h 2091729"/>
              <a:gd name="csX144" fmla="*/ 49393 w 729419"/>
              <a:gd name="csY144" fmla="*/ 1878155 h 2091729"/>
              <a:gd name="csX145" fmla="*/ 73949 w 729419"/>
              <a:gd name="csY145" fmla="*/ 1905781 h 2091729"/>
              <a:gd name="csX146" fmla="*/ 110073 w 729419"/>
              <a:gd name="csY146" fmla="*/ 1909068 h 2091729"/>
              <a:gd name="csX147" fmla="*/ 224745 w 729419"/>
              <a:gd name="csY147" fmla="*/ 1921652 h 2091729"/>
              <a:gd name="csX148" fmla="*/ 347327 w 729419"/>
              <a:gd name="csY148" fmla="*/ 1924778 h 2091729"/>
              <a:gd name="csX149" fmla="*/ 363345 w 729419"/>
              <a:gd name="csY149" fmla="*/ 1923293 h 2091729"/>
              <a:gd name="csX150" fmla="*/ 373787 w 729419"/>
              <a:gd name="csY150" fmla="*/ 1911200 h 2091729"/>
              <a:gd name="csX151" fmla="*/ 376623 w 729419"/>
              <a:gd name="csY151" fmla="*/ 1696741 h 2091729"/>
              <a:gd name="csX152" fmla="*/ 360437 w 729419"/>
              <a:gd name="csY152" fmla="*/ 1681289 h 2091729"/>
              <a:gd name="csX153" fmla="*/ 263503 w 729419"/>
              <a:gd name="csY153" fmla="*/ 1678179 h 2091729"/>
              <a:gd name="csX154" fmla="*/ 160381 w 729419"/>
              <a:gd name="csY154" fmla="*/ 1670405 h 2091729"/>
              <a:gd name="csX155" fmla="*/ 143321 w 729419"/>
              <a:gd name="csY155" fmla="*/ 1685538 h 2091729"/>
              <a:gd name="csX156" fmla="*/ 124769 w 729419"/>
              <a:gd name="csY156" fmla="*/ 1738195 h 2091729"/>
              <a:gd name="csX157" fmla="*/ 90593 w 729419"/>
              <a:gd name="csY157" fmla="*/ 1779570 h 2091729"/>
              <a:gd name="csX158" fmla="*/ 55556 w 729419"/>
              <a:gd name="csY158" fmla="*/ 1835827 h 2091729"/>
              <a:gd name="csX159" fmla="*/ 378900 w 729419"/>
              <a:gd name="csY159" fmla="*/ 2007280 h 2091729"/>
              <a:gd name="csX160" fmla="*/ 378887 w 729419"/>
              <a:gd name="csY160" fmla="*/ 1995127 h 2091729"/>
              <a:gd name="csX161" fmla="*/ 359084 w 729419"/>
              <a:gd name="csY161" fmla="*/ 1975964 h 2091729"/>
              <a:gd name="csX162" fmla="*/ 247288 w 729419"/>
              <a:gd name="csY162" fmla="*/ 1973305 h 2091729"/>
              <a:gd name="csX163" fmla="*/ 201692 w 729419"/>
              <a:gd name="csY163" fmla="*/ 1970275 h 2091729"/>
              <a:gd name="csX164" fmla="*/ 57962 w 729419"/>
              <a:gd name="csY164" fmla="*/ 1952648 h 2091729"/>
              <a:gd name="csX165" fmla="*/ 39194 w 729419"/>
              <a:gd name="csY165" fmla="*/ 1963552 h 2091729"/>
              <a:gd name="csX166" fmla="*/ 30066 w 729419"/>
              <a:gd name="csY166" fmla="*/ 2006631 h 2091729"/>
              <a:gd name="csX167" fmla="*/ 40232 w 729419"/>
              <a:gd name="csY167" fmla="*/ 2019486 h 2091729"/>
              <a:gd name="csX168" fmla="*/ 238186 w 729419"/>
              <a:gd name="csY168" fmla="*/ 2046096 h 2091729"/>
              <a:gd name="csX169" fmla="*/ 342155 w 729419"/>
              <a:gd name="csY169" fmla="*/ 2046441 h 2091729"/>
              <a:gd name="csX170" fmla="*/ 378900 w 729419"/>
              <a:gd name="csY170" fmla="*/ 2007280 h 2091729"/>
              <a:gd name="csX171" fmla="*/ 310220 w 729419"/>
              <a:gd name="csY171" fmla="*/ 554288 h 2091729"/>
              <a:gd name="csX172" fmla="*/ 259136 w 729419"/>
              <a:gd name="csY172" fmla="*/ 556881 h 2091729"/>
              <a:gd name="csX173" fmla="*/ 249085 w 729419"/>
              <a:gd name="csY173" fmla="*/ 567981 h 2091729"/>
              <a:gd name="csX174" fmla="*/ 249141 w 729419"/>
              <a:gd name="csY174" fmla="*/ 605644 h 2091729"/>
              <a:gd name="csX175" fmla="*/ 262628 w 729419"/>
              <a:gd name="csY175" fmla="*/ 605627 h 2091729"/>
              <a:gd name="csX176" fmla="*/ 369608 w 729419"/>
              <a:gd name="csY176" fmla="*/ 603027 h 2091729"/>
              <a:gd name="csX177" fmla="*/ 463931 w 729419"/>
              <a:gd name="csY177" fmla="*/ 605146 h 2091729"/>
              <a:gd name="csX178" fmla="*/ 478113 w 729419"/>
              <a:gd name="csY178" fmla="*/ 595843 h 2091729"/>
              <a:gd name="csX179" fmla="*/ 478796 w 729419"/>
              <a:gd name="csY179" fmla="*/ 556832 h 2091729"/>
              <a:gd name="csX180" fmla="*/ 310220 w 729419"/>
              <a:gd name="csY180" fmla="*/ 554288 h 2091729"/>
              <a:gd name="csX181" fmla="*/ 348836 w 729419"/>
              <a:gd name="csY181" fmla="*/ 684115 h 2091729"/>
              <a:gd name="csX182" fmla="*/ 281333 w 729419"/>
              <a:gd name="csY182" fmla="*/ 683313 h 2091729"/>
              <a:gd name="csX183" fmla="*/ 212728 w 729419"/>
              <a:gd name="csY183" fmla="*/ 681931 h 2091729"/>
              <a:gd name="csX184" fmla="*/ 187283 w 729419"/>
              <a:gd name="csY184" fmla="*/ 689555 h 2091729"/>
              <a:gd name="csX185" fmla="*/ 186163 w 729419"/>
              <a:gd name="csY185" fmla="*/ 718266 h 2091729"/>
              <a:gd name="csX186" fmla="*/ 209894 w 729419"/>
              <a:gd name="csY186" fmla="*/ 726798 h 2091729"/>
              <a:gd name="csX187" fmla="*/ 334814 w 729419"/>
              <a:gd name="csY187" fmla="*/ 732494 h 2091729"/>
              <a:gd name="csX188" fmla="*/ 364856 w 729419"/>
              <a:gd name="csY188" fmla="*/ 707963 h 2091729"/>
              <a:gd name="csX189" fmla="*/ 348836 w 729419"/>
              <a:gd name="csY189" fmla="*/ 684115 h 2091729"/>
              <a:gd name="csX190" fmla="*/ 298865 w 729419"/>
              <a:gd name="csY190" fmla="*/ 621954 h 2091729"/>
              <a:gd name="csX191" fmla="*/ 251619 w 729419"/>
              <a:gd name="csY191" fmla="*/ 622133 h 2091729"/>
              <a:gd name="csX192" fmla="*/ 214459 w 729419"/>
              <a:gd name="csY192" fmla="*/ 636230 h 2091729"/>
              <a:gd name="csX193" fmla="*/ 221436 w 729419"/>
              <a:gd name="csY193" fmla="*/ 654205 h 2091729"/>
              <a:gd name="csX194" fmla="*/ 272412 w 729419"/>
              <a:gd name="csY194" fmla="*/ 657250 h 2091729"/>
              <a:gd name="csX195" fmla="*/ 349094 w 729419"/>
              <a:gd name="csY195" fmla="*/ 659282 h 2091729"/>
              <a:gd name="csX196" fmla="*/ 362996 w 729419"/>
              <a:gd name="csY196" fmla="*/ 644234 h 2091729"/>
              <a:gd name="csX197" fmla="*/ 348472 w 729419"/>
              <a:gd name="csY197" fmla="*/ 624649 h 2091729"/>
              <a:gd name="csX198" fmla="*/ 298865 w 729419"/>
              <a:gd name="csY198" fmla="*/ 621954 h 2091729"/>
              <a:gd name="csX199" fmla="*/ 227796 w 729419"/>
              <a:gd name="csY199" fmla="*/ 528000 h 2091729"/>
              <a:gd name="csX200" fmla="*/ 241009 w 729419"/>
              <a:gd name="csY200" fmla="*/ 545897 h 2091729"/>
              <a:gd name="csX201" fmla="*/ 282607 w 729419"/>
              <a:gd name="csY201" fmla="*/ 543480 h 2091729"/>
              <a:gd name="csX202" fmla="*/ 354213 w 729419"/>
              <a:gd name="csY202" fmla="*/ 543384 h 2091729"/>
              <a:gd name="csX203" fmla="*/ 365334 w 729419"/>
              <a:gd name="csY203" fmla="*/ 533397 h 2091729"/>
              <a:gd name="csX204" fmla="*/ 354531 w 729419"/>
              <a:gd name="csY204" fmla="*/ 521620 h 2091729"/>
              <a:gd name="csX205" fmla="*/ 259169 w 729419"/>
              <a:gd name="csY205" fmla="*/ 521978 h 2091729"/>
              <a:gd name="csX206" fmla="*/ 227796 w 729419"/>
              <a:gd name="csY206" fmla="*/ 528000 h 2091729"/>
              <a:gd name="csX207" fmla="*/ 508068 w 729419"/>
              <a:gd name="csY207" fmla="*/ 190710 h 2091729"/>
              <a:gd name="csX208" fmla="*/ 521293 w 729419"/>
              <a:gd name="csY208" fmla="*/ 205907 h 2091729"/>
              <a:gd name="csX209" fmla="*/ 525175 w 729419"/>
              <a:gd name="csY209" fmla="*/ 202985 h 2091729"/>
              <a:gd name="csX210" fmla="*/ 500276 w 729419"/>
              <a:gd name="csY210" fmla="*/ 160640 h 2091729"/>
              <a:gd name="csX211" fmla="*/ 497122 w 729419"/>
              <a:gd name="csY211" fmla="*/ 162007 h 2091729"/>
              <a:gd name="csX212" fmla="*/ 508068 w 729419"/>
              <a:gd name="csY212" fmla="*/ 190710 h 2091729"/>
              <a:gd name="csX213" fmla="*/ 215522 w 729419"/>
              <a:gd name="csY213" fmla="*/ 197296 h 2091729"/>
              <a:gd name="csX214" fmla="*/ 234029 w 729419"/>
              <a:gd name="csY214" fmla="*/ 162725 h 2091729"/>
              <a:gd name="csX215" fmla="*/ 229000 w 729419"/>
              <a:gd name="csY215" fmla="*/ 159902 h 2091729"/>
              <a:gd name="csX216" fmla="*/ 204824 w 729419"/>
              <a:gd name="csY216" fmla="*/ 199677 h 2091729"/>
              <a:gd name="csX217" fmla="*/ 207990 w 729419"/>
              <a:gd name="csY217" fmla="*/ 202198 h 2091729"/>
              <a:gd name="csX218" fmla="*/ 215522 w 729419"/>
              <a:gd name="csY218" fmla="*/ 197296 h 2091729"/>
              <a:gd name="csX219" fmla="*/ 484400 w 729419"/>
              <a:gd name="csY219" fmla="*/ 896678 h 2091729"/>
              <a:gd name="csX220" fmla="*/ 486181 w 729419"/>
              <a:gd name="csY220" fmla="*/ 896585 h 2091729"/>
              <a:gd name="csX221" fmla="*/ 486181 w 729419"/>
              <a:gd name="csY221" fmla="*/ 795289 h 2091729"/>
              <a:gd name="csX222" fmla="*/ 720241 w 729419"/>
              <a:gd name="csY222" fmla="*/ 2030666 h 2091729"/>
              <a:gd name="csX223" fmla="*/ 721175 w 729419"/>
              <a:gd name="csY223" fmla="*/ 2029733 h 2091729"/>
              <a:gd name="csX224" fmla="*/ 720241 w 729419"/>
              <a:gd name="csY224" fmla="*/ 2030666 h 2091729"/>
              <a:gd name="csX225" fmla="*/ 715702 w 729419"/>
              <a:gd name="csY225" fmla="*/ 2037051 h 2091729"/>
              <a:gd name="csX226" fmla="*/ 715702 w 729419"/>
              <a:gd name="csY226" fmla="*/ 2037051 h 2091729"/>
              <a:gd name="csX0" fmla="*/ 96263 w 729419"/>
              <a:gd name="csY0" fmla="*/ 2076207 h 2102400"/>
              <a:gd name="csX1" fmla="*/ 63862 w 729419"/>
              <a:gd name="csY1" fmla="*/ 2065388 h 2102400"/>
              <a:gd name="csX2" fmla="*/ 16555 w 729419"/>
              <a:gd name="csY2" fmla="*/ 2050152 h 2102400"/>
              <a:gd name="csX3" fmla="*/ 15 w 729419"/>
              <a:gd name="csY3" fmla="*/ 2023802 h 2102400"/>
              <a:gd name="csX4" fmla="*/ 18368 w 729419"/>
              <a:gd name="csY4" fmla="*/ 1940709 h 2102400"/>
              <a:gd name="csX5" fmla="*/ 22139 w 729419"/>
              <a:gd name="csY5" fmla="*/ 1907268 h 2102400"/>
              <a:gd name="csX6" fmla="*/ 57941 w 729419"/>
              <a:gd name="csY6" fmla="*/ 1774163 h 2102400"/>
              <a:gd name="csX7" fmla="*/ 102478 w 729419"/>
              <a:gd name="csY7" fmla="*/ 1720275 h 2102400"/>
              <a:gd name="csX8" fmla="*/ 108579 w 729419"/>
              <a:gd name="csY8" fmla="*/ 1650967 h 2102400"/>
              <a:gd name="csX9" fmla="*/ 115628 w 729419"/>
              <a:gd name="csY9" fmla="*/ 1625405 h 2102400"/>
              <a:gd name="csX10" fmla="*/ 156323 w 729419"/>
              <a:gd name="csY10" fmla="*/ 1560181 h 2102400"/>
              <a:gd name="csX11" fmla="*/ 199424 w 729419"/>
              <a:gd name="csY11" fmla="*/ 1364729 h 2102400"/>
              <a:gd name="csX12" fmla="*/ 216779 w 729419"/>
              <a:gd name="csY12" fmla="*/ 1219490 h 2102400"/>
              <a:gd name="csX13" fmla="*/ 229755 w 729419"/>
              <a:gd name="csY13" fmla="*/ 1099357 h 2102400"/>
              <a:gd name="csX14" fmla="*/ 232707 w 729419"/>
              <a:gd name="csY14" fmla="*/ 1056423 h 2102400"/>
              <a:gd name="csX15" fmla="*/ 235622 w 729419"/>
              <a:gd name="csY15" fmla="*/ 952675 h 2102400"/>
              <a:gd name="csX16" fmla="*/ 235445 w 729419"/>
              <a:gd name="csY16" fmla="*/ 780278 h 2102400"/>
              <a:gd name="csX17" fmla="*/ 214544 w 729419"/>
              <a:gd name="csY17" fmla="*/ 756435 h 2102400"/>
              <a:gd name="csX18" fmla="*/ 172569 w 729419"/>
              <a:gd name="csY18" fmla="*/ 742582 h 2102400"/>
              <a:gd name="csX19" fmla="*/ 168784 w 729419"/>
              <a:gd name="csY19" fmla="*/ 669116 h 2102400"/>
              <a:gd name="csX20" fmla="*/ 191657 w 729419"/>
              <a:gd name="csY20" fmla="*/ 630765 h 2102400"/>
              <a:gd name="csX21" fmla="*/ 208150 w 729419"/>
              <a:gd name="csY21" fmla="*/ 609084 h 2102400"/>
              <a:gd name="csX22" fmla="*/ 216756 w 729419"/>
              <a:gd name="csY22" fmla="*/ 558673 h 2102400"/>
              <a:gd name="csX23" fmla="*/ 209092 w 729419"/>
              <a:gd name="csY23" fmla="*/ 521540 h 2102400"/>
              <a:gd name="csX24" fmla="*/ 204683 w 729419"/>
              <a:gd name="csY24" fmla="*/ 474024 h 2102400"/>
              <a:gd name="csX25" fmla="*/ 115483 w 729419"/>
              <a:gd name="csY25" fmla="*/ 213499 h 2102400"/>
              <a:gd name="csX26" fmla="*/ 102909 w 729419"/>
              <a:gd name="csY26" fmla="*/ 182297 h 2102400"/>
              <a:gd name="csX27" fmla="*/ 104315 w 729419"/>
              <a:gd name="csY27" fmla="*/ 163968 h 2102400"/>
              <a:gd name="csX28" fmla="*/ 122444 w 729419"/>
              <a:gd name="csY28" fmla="*/ 160805 h 2102400"/>
              <a:gd name="csX29" fmla="*/ 170283 w 729419"/>
              <a:gd name="csY29" fmla="*/ 187783 h 2102400"/>
              <a:gd name="csX30" fmla="*/ 180938 w 729419"/>
              <a:gd name="csY30" fmla="*/ 195322 h 2102400"/>
              <a:gd name="csX31" fmla="*/ 221419 w 729419"/>
              <a:gd name="csY31" fmla="*/ 138058 h 2102400"/>
              <a:gd name="csX32" fmla="*/ 294099 w 729419"/>
              <a:gd name="csY32" fmla="*/ 91372 h 2102400"/>
              <a:gd name="csX33" fmla="*/ 302307 w 729419"/>
              <a:gd name="csY33" fmla="*/ 76560 h 2102400"/>
              <a:gd name="csX34" fmla="*/ 320284 w 729419"/>
              <a:gd name="csY34" fmla="*/ 8414 h 2102400"/>
              <a:gd name="csX35" fmla="*/ 324784 w 729419"/>
              <a:gd name="csY35" fmla="*/ 946 h 2102400"/>
              <a:gd name="csX36" fmla="*/ 399212 w 729419"/>
              <a:gd name="csY36" fmla="*/ 0 h 2102400"/>
              <a:gd name="csX37" fmla="*/ 425980 w 729419"/>
              <a:gd name="csY37" fmla="*/ 78301 h 2102400"/>
              <a:gd name="csX38" fmla="*/ 431861 w 729419"/>
              <a:gd name="csY38" fmla="*/ 90312 h 2102400"/>
              <a:gd name="csX39" fmla="*/ 540349 w 729419"/>
              <a:gd name="csY39" fmla="*/ 187946 h 2102400"/>
              <a:gd name="csX40" fmla="*/ 545555 w 729419"/>
              <a:gd name="csY40" fmla="*/ 197828 h 2102400"/>
              <a:gd name="csX41" fmla="*/ 587318 w 729419"/>
              <a:gd name="csY41" fmla="*/ 171260 h 2102400"/>
              <a:gd name="csX42" fmla="*/ 601503 w 729419"/>
              <a:gd name="csY42" fmla="*/ 163707 h 2102400"/>
              <a:gd name="csX43" fmla="*/ 625254 w 729419"/>
              <a:gd name="csY43" fmla="*/ 163123 h 2102400"/>
              <a:gd name="csX44" fmla="*/ 625468 w 729419"/>
              <a:gd name="csY44" fmla="*/ 187579 h 2102400"/>
              <a:gd name="csX45" fmla="*/ 597543 w 729419"/>
              <a:gd name="csY45" fmla="*/ 251872 h 2102400"/>
              <a:gd name="csX46" fmla="*/ 531831 w 729419"/>
              <a:gd name="csY46" fmla="*/ 442689 h 2102400"/>
              <a:gd name="csX47" fmla="*/ 519888 w 729419"/>
              <a:gd name="csY47" fmla="*/ 501474 h 2102400"/>
              <a:gd name="csX48" fmla="*/ 522506 w 729419"/>
              <a:gd name="csY48" fmla="*/ 525086 h 2102400"/>
              <a:gd name="csX49" fmla="*/ 516235 w 729419"/>
              <a:gd name="csY49" fmla="*/ 555946 h 2102400"/>
              <a:gd name="csX50" fmla="*/ 521332 w 729419"/>
              <a:gd name="csY50" fmla="*/ 610676 h 2102400"/>
              <a:gd name="csX51" fmla="*/ 541382 w 729419"/>
              <a:gd name="csY51" fmla="*/ 642597 h 2102400"/>
              <a:gd name="csX52" fmla="*/ 557031 w 729419"/>
              <a:gd name="csY52" fmla="*/ 667949 h 2102400"/>
              <a:gd name="csX53" fmla="*/ 553994 w 729419"/>
              <a:gd name="csY53" fmla="*/ 744146 h 2102400"/>
              <a:gd name="csX54" fmla="*/ 508215 w 729419"/>
              <a:gd name="csY54" fmla="*/ 758841 h 2102400"/>
              <a:gd name="csX55" fmla="*/ 497442 w 729419"/>
              <a:gd name="csY55" fmla="*/ 771256 h 2102400"/>
              <a:gd name="csX56" fmla="*/ 493005 w 729419"/>
              <a:gd name="csY56" fmla="*/ 922055 h 2102400"/>
              <a:gd name="csX57" fmla="*/ 502900 w 729419"/>
              <a:gd name="csY57" fmla="*/ 1114191 h 2102400"/>
              <a:gd name="csX58" fmla="*/ 508800 w 729419"/>
              <a:gd name="csY58" fmla="*/ 1205474 h 2102400"/>
              <a:gd name="csX59" fmla="*/ 522952 w 729419"/>
              <a:gd name="csY59" fmla="*/ 1320065 h 2102400"/>
              <a:gd name="csX60" fmla="*/ 554682 w 729419"/>
              <a:gd name="csY60" fmla="*/ 1501203 h 2102400"/>
              <a:gd name="csX61" fmla="*/ 576958 w 729419"/>
              <a:gd name="csY61" fmla="*/ 1593963 h 2102400"/>
              <a:gd name="csX62" fmla="*/ 595349 w 729419"/>
              <a:gd name="csY62" fmla="*/ 1613498 h 2102400"/>
              <a:gd name="csX63" fmla="*/ 613936 w 729419"/>
              <a:gd name="csY63" fmla="*/ 1624058 h 2102400"/>
              <a:gd name="csX64" fmla="*/ 620938 w 729419"/>
              <a:gd name="csY64" fmla="*/ 1652071 h 2102400"/>
              <a:gd name="csX65" fmla="*/ 630805 w 729419"/>
              <a:gd name="csY65" fmla="*/ 1721702 h 2102400"/>
              <a:gd name="csX66" fmla="*/ 685830 w 729419"/>
              <a:gd name="csY66" fmla="*/ 1792915 h 2102400"/>
              <a:gd name="csX67" fmla="*/ 708904 w 729419"/>
              <a:gd name="csY67" fmla="*/ 1890290 h 2102400"/>
              <a:gd name="csX68" fmla="*/ 716580 w 729419"/>
              <a:gd name="csY68" fmla="*/ 1951136 h 2102400"/>
              <a:gd name="csX69" fmla="*/ 729397 w 729419"/>
              <a:gd name="csY69" fmla="*/ 2030261 h 2102400"/>
              <a:gd name="csX70" fmla="*/ 714212 w 729419"/>
              <a:gd name="csY70" fmla="*/ 2049544 h 2102400"/>
              <a:gd name="csX71" fmla="*/ 645428 w 729419"/>
              <a:gd name="csY71" fmla="*/ 2070825 h 2102400"/>
              <a:gd name="csX72" fmla="*/ 635822 w 729419"/>
              <a:gd name="csY72" fmla="*/ 2075145 h 2102400"/>
              <a:gd name="csX73" fmla="*/ 588428 w 729419"/>
              <a:gd name="csY73" fmla="*/ 2075144 h 2102400"/>
              <a:gd name="csX74" fmla="*/ 590041 w 729419"/>
              <a:gd name="csY74" fmla="*/ 2071383 h 2102400"/>
              <a:gd name="csX75" fmla="*/ 667788 w 729419"/>
              <a:gd name="csY75" fmla="*/ 2056852 h 2102400"/>
              <a:gd name="csX76" fmla="*/ 706629 w 729419"/>
              <a:gd name="csY76" fmla="*/ 2044290 h 2102400"/>
              <a:gd name="csX77" fmla="*/ 702674 w 729419"/>
              <a:gd name="csY77" fmla="*/ 2041581 h 2102400"/>
              <a:gd name="csX78" fmla="*/ 544974 w 729419"/>
              <a:gd name="csY78" fmla="*/ 2071274 h 2102400"/>
              <a:gd name="csX79" fmla="*/ 538352 w 729419"/>
              <a:gd name="csY79" fmla="*/ 2076207 h 2102400"/>
              <a:gd name="csX80" fmla="*/ 96263 w 729419"/>
              <a:gd name="csY80" fmla="*/ 2076207 h 2102400"/>
              <a:gd name="csX81" fmla="*/ 489970 w 729419"/>
              <a:gd name="csY81" fmla="*/ 152208 h 2102400"/>
              <a:gd name="csX82" fmla="*/ 490754 w 729419"/>
              <a:gd name="csY82" fmla="*/ 152592 h 2102400"/>
              <a:gd name="csX83" fmla="*/ 489489 w 729419"/>
              <a:gd name="csY83" fmla="*/ 149547 h 2102400"/>
              <a:gd name="csX84" fmla="*/ 393621 w 729419"/>
              <a:gd name="csY84" fmla="*/ 99259 h 2102400"/>
              <a:gd name="csX85" fmla="*/ 390419 w 729419"/>
              <a:gd name="csY85" fmla="*/ 18568 h 2102400"/>
              <a:gd name="csX86" fmla="*/ 334131 w 729419"/>
              <a:gd name="csY86" fmla="*/ 24327 h 2102400"/>
              <a:gd name="csX87" fmla="*/ 344678 w 729419"/>
              <a:gd name="csY87" fmla="*/ 101259 h 2102400"/>
              <a:gd name="csX88" fmla="*/ 298854 w 729419"/>
              <a:gd name="csY88" fmla="*/ 114003 h 2102400"/>
              <a:gd name="csX89" fmla="*/ 237456 w 729419"/>
              <a:gd name="csY89" fmla="*/ 154340 h 2102400"/>
              <a:gd name="csX90" fmla="*/ 240382 w 729419"/>
              <a:gd name="csY90" fmla="*/ 154035 h 2102400"/>
              <a:gd name="csX91" fmla="*/ 262731 w 729419"/>
              <a:gd name="csY91" fmla="*/ 170426 h 2102400"/>
              <a:gd name="csX92" fmla="*/ 279169 w 729419"/>
              <a:gd name="csY92" fmla="*/ 193173 h 2102400"/>
              <a:gd name="csX93" fmla="*/ 327717 w 729419"/>
              <a:gd name="csY93" fmla="*/ 188556 h 2102400"/>
              <a:gd name="csX94" fmla="*/ 348052 w 729419"/>
              <a:gd name="csY94" fmla="*/ 156919 h 2102400"/>
              <a:gd name="csX95" fmla="*/ 380330 w 729419"/>
              <a:gd name="csY95" fmla="*/ 156483 h 2102400"/>
              <a:gd name="csX96" fmla="*/ 408490 w 729419"/>
              <a:gd name="csY96" fmla="*/ 195400 h 2102400"/>
              <a:gd name="csX97" fmla="*/ 445346 w 729419"/>
              <a:gd name="csY97" fmla="*/ 197582 h 2102400"/>
              <a:gd name="csX98" fmla="*/ 464798 w 729419"/>
              <a:gd name="csY98" fmla="*/ 174107 h 2102400"/>
              <a:gd name="csX99" fmla="*/ 489970 w 729419"/>
              <a:gd name="csY99" fmla="*/ 152208 h 2102400"/>
              <a:gd name="csX100" fmla="*/ 140694 w 729419"/>
              <a:gd name="csY100" fmla="*/ 201837 h 2102400"/>
              <a:gd name="csX101" fmla="*/ 139834 w 729419"/>
              <a:gd name="csY101" fmla="*/ 201482 h 2102400"/>
              <a:gd name="csX102" fmla="*/ 140812 w 729419"/>
              <a:gd name="csY102" fmla="*/ 204941 h 2102400"/>
              <a:gd name="csX103" fmla="*/ 144631 w 729419"/>
              <a:gd name="csY103" fmla="*/ 217811 h 2102400"/>
              <a:gd name="csX104" fmla="*/ 201241 w 729419"/>
              <a:gd name="csY104" fmla="*/ 373387 h 2102400"/>
              <a:gd name="csX105" fmla="*/ 235971 w 729419"/>
              <a:gd name="csY105" fmla="*/ 504451 h 2102400"/>
              <a:gd name="csX106" fmla="*/ 247475 w 729419"/>
              <a:gd name="csY106" fmla="*/ 513241 h 2102400"/>
              <a:gd name="csX107" fmla="*/ 289066 w 729419"/>
              <a:gd name="csY107" fmla="*/ 511170 h 2102400"/>
              <a:gd name="csX108" fmla="*/ 378229 w 729419"/>
              <a:gd name="csY108" fmla="*/ 511084 h 2102400"/>
              <a:gd name="csX109" fmla="*/ 470850 w 729419"/>
              <a:gd name="csY109" fmla="*/ 516341 h 2102400"/>
              <a:gd name="csX110" fmla="*/ 492933 w 729419"/>
              <a:gd name="csY110" fmla="*/ 497969 h 2102400"/>
              <a:gd name="csX111" fmla="*/ 557617 w 729419"/>
              <a:gd name="csY111" fmla="*/ 280398 h 2102400"/>
              <a:gd name="csX112" fmla="*/ 588788 w 729419"/>
              <a:gd name="csY112" fmla="*/ 200385 h 2102400"/>
              <a:gd name="csX113" fmla="*/ 530958 w 729419"/>
              <a:gd name="csY113" fmla="*/ 232968 h 2102400"/>
              <a:gd name="csX114" fmla="*/ 483823 w 729419"/>
              <a:gd name="csY114" fmla="*/ 190364 h 2102400"/>
              <a:gd name="csX115" fmla="*/ 466649 w 729419"/>
              <a:gd name="csY115" fmla="*/ 209061 h 2102400"/>
              <a:gd name="csX116" fmla="*/ 399941 w 729419"/>
              <a:gd name="csY116" fmla="*/ 216988 h 2102400"/>
              <a:gd name="csX117" fmla="*/ 363018 w 729419"/>
              <a:gd name="csY117" fmla="*/ 179615 h 2102400"/>
              <a:gd name="csX118" fmla="*/ 308839 w 729419"/>
              <a:gd name="csY118" fmla="*/ 227846 h 2102400"/>
              <a:gd name="csX119" fmla="*/ 245077 w 729419"/>
              <a:gd name="csY119" fmla="*/ 192402 h 2102400"/>
              <a:gd name="csX120" fmla="*/ 242829 w 729419"/>
              <a:gd name="csY120" fmla="*/ 198815 h 2102400"/>
              <a:gd name="csX121" fmla="*/ 168452 w 729419"/>
              <a:gd name="csY121" fmla="*/ 219348 h 2102400"/>
              <a:gd name="csX122" fmla="*/ 140694 w 729419"/>
              <a:gd name="csY122" fmla="*/ 201837 h 2102400"/>
              <a:gd name="csX123" fmla="*/ 259999 w 729419"/>
              <a:gd name="csY123" fmla="*/ 966699 h 2102400"/>
              <a:gd name="csX124" fmla="*/ 257072 w 729419"/>
              <a:gd name="csY124" fmla="*/ 1070424 h 2102400"/>
              <a:gd name="csX125" fmla="*/ 251372 w 729419"/>
              <a:gd name="csY125" fmla="*/ 1157618 h 2102400"/>
              <a:gd name="csX126" fmla="*/ 232677 w 729419"/>
              <a:gd name="csY126" fmla="*/ 1320279 h 2102400"/>
              <a:gd name="csX127" fmla="*/ 209182 w 729419"/>
              <a:gd name="csY127" fmla="*/ 1468667 h 2102400"/>
              <a:gd name="csX128" fmla="*/ 175302 w 729419"/>
              <a:gd name="csY128" fmla="*/ 1616623 h 2102400"/>
              <a:gd name="csX129" fmla="*/ 182769 w 729419"/>
              <a:gd name="csY129" fmla="*/ 1629786 h 2102400"/>
              <a:gd name="csX130" fmla="*/ 212156 w 729419"/>
              <a:gd name="csY130" fmla="*/ 1632656 h 2102400"/>
              <a:gd name="csX131" fmla="*/ 351295 w 729419"/>
              <a:gd name="csY131" fmla="*/ 1632801 h 2102400"/>
              <a:gd name="csX132" fmla="*/ 376150 w 729419"/>
              <a:gd name="csY132" fmla="*/ 1608307 h 2102400"/>
              <a:gd name="csX133" fmla="*/ 373450 w 729419"/>
              <a:gd name="csY133" fmla="*/ 1457291 h 2102400"/>
              <a:gd name="csX134" fmla="*/ 370936 w 729419"/>
              <a:gd name="csY134" fmla="*/ 1342736 h 2102400"/>
              <a:gd name="csX135" fmla="*/ 368328 w 729419"/>
              <a:gd name="csY135" fmla="*/ 1203878 h 2102400"/>
              <a:gd name="csX136" fmla="*/ 367836 w 729419"/>
              <a:gd name="csY136" fmla="*/ 813478 h 2102400"/>
              <a:gd name="csX137" fmla="*/ 365240 w 729419"/>
              <a:gd name="csY137" fmla="*/ 773243 h 2102400"/>
              <a:gd name="csX138" fmla="*/ 353084 w 729419"/>
              <a:gd name="csY138" fmla="*/ 762083 h 2102400"/>
              <a:gd name="csX139" fmla="*/ 280966 w 729419"/>
              <a:gd name="csY139" fmla="*/ 759855 h 2102400"/>
              <a:gd name="csX140" fmla="*/ 259965 w 729419"/>
              <a:gd name="csY140" fmla="*/ 779553 h 2102400"/>
              <a:gd name="csX141" fmla="*/ 262341 w 729419"/>
              <a:gd name="csY141" fmla="*/ 856275 h 2102400"/>
              <a:gd name="csX142" fmla="*/ 259999 w 729419"/>
              <a:gd name="csY142" fmla="*/ 966699 h 2102400"/>
              <a:gd name="csX143" fmla="*/ 55556 w 729419"/>
              <a:gd name="csY143" fmla="*/ 1835827 h 2102400"/>
              <a:gd name="csX144" fmla="*/ 49393 w 729419"/>
              <a:gd name="csY144" fmla="*/ 1878155 h 2102400"/>
              <a:gd name="csX145" fmla="*/ 73949 w 729419"/>
              <a:gd name="csY145" fmla="*/ 1905781 h 2102400"/>
              <a:gd name="csX146" fmla="*/ 110073 w 729419"/>
              <a:gd name="csY146" fmla="*/ 1909068 h 2102400"/>
              <a:gd name="csX147" fmla="*/ 224745 w 729419"/>
              <a:gd name="csY147" fmla="*/ 1921652 h 2102400"/>
              <a:gd name="csX148" fmla="*/ 347327 w 729419"/>
              <a:gd name="csY148" fmla="*/ 1924778 h 2102400"/>
              <a:gd name="csX149" fmla="*/ 363345 w 729419"/>
              <a:gd name="csY149" fmla="*/ 1923293 h 2102400"/>
              <a:gd name="csX150" fmla="*/ 373787 w 729419"/>
              <a:gd name="csY150" fmla="*/ 1911200 h 2102400"/>
              <a:gd name="csX151" fmla="*/ 376623 w 729419"/>
              <a:gd name="csY151" fmla="*/ 1696741 h 2102400"/>
              <a:gd name="csX152" fmla="*/ 360437 w 729419"/>
              <a:gd name="csY152" fmla="*/ 1681289 h 2102400"/>
              <a:gd name="csX153" fmla="*/ 263503 w 729419"/>
              <a:gd name="csY153" fmla="*/ 1678179 h 2102400"/>
              <a:gd name="csX154" fmla="*/ 160381 w 729419"/>
              <a:gd name="csY154" fmla="*/ 1670405 h 2102400"/>
              <a:gd name="csX155" fmla="*/ 143321 w 729419"/>
              <a:gd name="csY155" fmla="*/ 1685538 h 2102400"/>
              <a:gd name="csX156" fmla="*/ 124769 w 729419"/>
              <a:gd name="csY156" fmla="*/ 1738195 h 2102400"/>
              <a:gd name="csX157" fmla="*/ 90593 w 729419"/>
              <a:gd name="csY157" fmla="*/ 1779570 h 2102400"/>
              <a:gd name="csX158" fmla="*/ 55556 w 729419"/>
              <a:gd name="csY158" fmla="*/ 1835827 h 2102400"/>
              <a:gd name="csX159" fmla="*/ 378900 w 729419"/>
              <a:gd name="csY159" fmla="*/ 2007280 h 2102400"/>
              <a:gd name="csX160" fmla="*/ 378887 w 729419"/>
              <a:gd name="csY160" fmla="*/ 1995127 h 2102400"/>
              <a:gd name="csX161" fmla="*/ 359084 w 729419"/>
              <a:gd name="csY161" fmla="*/ 1975964 h 2102400"/>
              <a:gd name="csX162" fmla="*/ 247288 w 729419"/>
              <a:gd name="csY162" fmla="*/ 1973305 h 2102400"/>
              <a:gd name="csX163" fmla="*/ 201692 w 729419"/>
              <a:gd name="csY163" fmla="*/ 1970275 h 2102400"/>
              <a:gd name="csX164" fmla="*/ 57962 w 729419"/>
              <a:gd name="csY164" fmla="*/ 1952648 h 2102400"/>
              <a:gd name="csX165" fmla="*/ 39194 w 729419"/>
              <a:gd name="csY165" fmla="*/ 1963552 h 2102400"/>
              <a:gd name="csX166" fmla="*/ 30066 w 729419"/>
              <a:gd name="csY166" fmla="*/ 2006631 h 2102400"/>
              <a:gd name="csX167" fmla="*/ 40232 w 729419"/>
              <a:gd name="csY167" fmla="*/ 2019486 h 2102400"/>
              <a:gd name="csX168" fmla="*/ 238186 w 729419"/>
              <a:gd name="csY168" fmla="*/ 2046096 h 2102400"/>
              <a:gd name="csX169" fmla="*/ 342155 w 729419"/>
              <a:gd name="csY169" fmla="*/ 2046441 h 2102400"/>
              <a:gd name="csX170" fmla="*/ 378900 w 729419"/>
              <a:gd name="csY170" fmla="*/ 2007280 h 2102400"/>
              <a:gd name="csX171" fmla="*/ 310220 w 729419"/>
              <a:gd name="csY171" fmla="*/ 554288 h 2102400"/>
              <a:gd name="csX172" fmla="*/ 259136 w 729419"/>
              <a:gd name="csY172" fmla="*/ 556881 h 2102400"/>
              <a:gd name="csX173" fmla="*/ 249085 w 729419"/>
              <a:gd name="csY173" fmla="*/ 567981 h 2102400"/>
              <a:gd name="csX174" fmla="*/ 249141 w 729419"/>
              <a:gd name="csY174" fmla="*/ 605644 h 2102400"/>
              <a:gd name="csX175" fmla="*/ 262628 w 729419"/>
              <a:gd name="csY175" fmla="*/ 605627 h 2102400"/>
              <a:gd name="csX176" fmla="*/ 369608 w 729419"/>
              <a:gd name="csY176" fmla="*/ 603027 h 2102400"/>
              <a:gd name="csX177" fmla="*/ 463931 w 729419"/>
              <a:gd name="csY177" fmla="*/ 605146 h 2102400"/>
              <a:gd name="csX178" fmla="*/ 478113 w 729419"/>
              <a:gd name="csY178" fmla="*/ 595843 h 2102400"/>
              <a:gd name="csX179" fmla="*/ 478796 w 729419"/>
              <a:gd name="csY179" fmla="*/ 556832 h 2102400"/>
              <a:gd name="csX180" fmla="*/ 310220 w 729419"/>
              <a:gd name="csY180" fmla="*/ 554288 h 2102400"/>
              <a:gd name="csX181" fmla="*/ 348836 w 729419"/>
              <a:gd name="csY181" fmla="*/ 684115 h 2102400"/>
              <a:gd name="csX182" fmla="*/ 281333 w 729419"/>
              <a:gd name="csY182" fmla="*/ 683313 h 2102400"/>
              <a:gd name="csX183" fmla="*/ 212728 w 729419"/>
              <a:gd name="csY183" fmla="*/ 681931 h 2102400"/>
              <a:gd name="csX184" fmla="*/ 187283 w 729419"/>
              <a:gd name="csY184" fmla="*/ 689555 h 2102400"/>
              <a:gd name="csX185" fmla="*/ 186163 w 729419"/>
              <a:gd name="csY185" fmla="*/ 718266 h 2102400"/>
              <a:gd name="csX186" fmla="*/ 209894 w 729419"/>
              <a:gd name="csY186" fmla="*/ 726798 h 2102400"/>
              <a:gd name="csX187" fmla="*/ 334814 w 729419"/>
              <a:gd name="csY187" fmla="*/ 732494 h 2102400"/>
              <a:gd name="csX188" fmla="*/ 364856 w 729419"/>
              <a:gd name="csY188" fmla="*/ 707963 h 2102400"/>
              <a:gd name="csX189" fmla="*/ 348836 w 729419"/>
              <a:gd name="csY189" fmla="*/ 684115 h 2102400"/>
              <a:gd name="csX190" fmla="*/ 298865 w 729419"/>
              <a:gd name="csY190" fmla="*/ 621954 h 2102400"/>
              <a:gd name="csX191" fmla="*/ 251619 w 729419"/>
              <a:gd name="csY191" fmla="*/ 622133 h 2102400"/>
              <a:gd name="csX192" fmla="*/ 214459 w 729419"/>
              <a:gd name="csY192" fmla="*/ 636230 h 2102400"/>
              <a:gd name="csX193" fmla="*/ 221436 w 729419"/>
              <a:gd name="csY193" fmla="*/ 654205 h 2102400"/>
              <a:gd name="csX194" fmla="*/ 272412 w 729419"/>
              <a:gd name="csY194" fmla="*/ 657250 h 2102400"/>
              <a:gd name="csX195" fmla="*/ 349094 w 729419"/>
              <a:gd name="csY195" fmla="*/ 659282 h 2102400"/>
              <a:gd name="csX196" fmla="*/ 362996 w 729419"/>
              <a:gd name="csY196" fmla="*/ 644234 h 2102400"/>
              <a:gd name="csX197" fmla="*/ 348472 w 729419"/>
              <a:gd name="csY197" fmla="*/ 624649 h 2102400"/>
              <a:gd name="csX198" fmla="*/ 298865 w 729419"/>
              <a:gd name="csY198" fmla="*/ 621954 h 2102400"/>
              <a:gd name="csX199" fmla="*/ 227796 w 729419"/>
              <a:gd name="csY199" fmla="*/ 528000 h 2102400"/>
              <a:gd name="csX200" fmla="*/ 241009 w 729419"/>
              <a:gd name="csY200" fmla="*/ 545897 h 2102400"/>
              <a:gd name="csX201" fmla="*/ 282607 w 729419"/>
              <a:gd name="csY201" fmla="*/ 543480 h 2102400"/>
              <a:gd name="csX202" fmla="*/ 354213 w 729419"/>
              <a:gd name="csY202" fmla="*/ 543384 h 2102400"/>
              <a:gd name="csX203" fmla="*/ 365334 w 729419"/>
              <a:gd name="csY203" fmla="*/ 533397 h 2102400"/>
              <a:gd name="csX204" fmla="*/ 354531 w 729419"/>
              <a:gd name="csY204" fmla="*/ 521620 h 2102400"/>
              <a:gd name="csX205" fmla="*/ 259169 w 729419"/>
              <a:gd name="csY205" fmla="*/ 521978 h 2102400"/>
              <a:gd name="csX206" fmla="*/ 227796 w 729419"/>
              <a:gd name="csY206" fmla="*/ 528000 h 2102400"/>
              <a:gd name="csX207" fmla="*/ 508068 w 729419"/>
              <a:gd name="csY207" fmla="*/ 190710 h 2102400"/>
              <a:gd name="csX208" fmla="*/ 521293 w 729419"/>
              <a:gd name="csY208" fmla="*/ 205907 h 2102400"/>
              <a:gd name="csX209" fmla="*/ 525175 w 729419"/>
              <a:gd name="csY209" fmla="*/ 202985 h 2102400"/>
              <a:gd name="csX210" fmla="*/ 500276 w 729419"/>
              <a:gd name="csY210" fmla="*/ 160640 h 2102400"/>
              <a:gd name="csX211" fmla="*/ 497122 w 729419"/>
              <a:gd name="csY211" fmla="*/ 162007 h 2102400"/>
              <a:gd name="csX212" fmla="*/ 508068 w 729419"/>
              <a:gd name="csY212" fmla="*/ 190710 h 2102400"/>
              <a:gd name="csX213" fmla="*/ 215522 w 729419"/>
              <a:gd name="csY213" fmla="*/ 197296 h 2102400"/>
              <a:gd name="csX214" fmla="*/ 234029 w 729419"/>
              <a:gd name="csY214" fmla="*/ 162725 h 2102400"/>
              <a:gd name="csX215" fmla="*/ 229000 w 729419"/>
              <a:gd name="csY215" fmla="*/ 159902 h 2102400"/>
              <a:gd name="csX216" fmla="*/ 204824 w 729419"/>
              <a:gd name="csY216" fmla="*/ 199677 h 2102400"/>
              <a:gd name="csX217" fmla="*/ 207990 w 729419"/>
              <a:gd name="csY217" fmla="*/ 202198 h 2102400"/>
              <a:gd name="csX218" fmla="*/ 215522 w 729419"/>
              <a:gd name="csY218" fmla="*/ 197296 h 2102400"/>
              <a:gd name="csX219" fmla="*/ 484400 w 729419"/>
              <a:gd name="csY219" fmla="*/ 896678 h 2102400"/>
              <a:gd name="csX220" fmla="*/ 486181 w 729419"/>
              <a:gd name="csY220" fmla="*/ 896585 h 2102400"/>
              <a:gd name="csX221" fmla="*/ 486181 w 729419"/>
              <a:gd name="csY221" fmla="*/ 795289 h 2102400"/>
              <a:gd name="csX222" fmla="*/ 720241 w 729419"/>
              <a:gd name="csY222" fmla="*/ 2030666 h 2102400"/>
              <a:gd name="csX223" fmla="*/ 721175 w 729419"/>
              <a:gd name="csY223" fmla="*/ 2029733 h 2102400"/>
              <a:gd name="csX224" fmla="*/ 720241 w 729419"/>
              <a:gd name="csY224" fmla="*/ 2030666 h 2102400"/>
              <a:gd name="csX225" fmla="*/ 715702 w 729419"/>
              <a:gd name="csY225" fmla="*/ 2037051 h 2102400"/>
              <a:gd name="csX226" fmla="*/ 715702 w 729419"/>
              <a:gd name="csY226" fmla="*/ 2037051 h 2102400"/>
              <a:gd name="csX0" fmla="*/ 96263 w 729419"/>
              <a:gd name="csY0" fmla="*/ 2076207 h 2076207"/>
              <a:gd name="csX1" fmla="*/ 63862 w 729419"/>
              <a:gd name="csY1" fmla="*/ 2065388 h 2076207"/>
              <a:gd name="csX2" fmla="*/ 16555 w 729419"/>
              <a:gd name="csY2" fmla="*/ 2050152 h 2076207"/>
              <a:gd name="csX3" fmla="*/ 15 w 729419"/>
              <a:gd name="csY3" fmla="*/ 2023802 h 2076207"/>
              <a:gd name="csX4" fmla="*/ 18368 w 729419"/>
              <a:gd name="csY4" fmla="*/ 1940709 h 2076207"/>
              <a:gd name="csX5" fmla="*/ 22139 w 729419"/>
              <a:gd name="csY5" fmla="*/ 1907268 h 2076207"/>
              <a:gd name="csX6" fmla="*/ 57941 w 729419"/>
              <a:gd name="csY6" fmla="*/ 1774163 h 2076207"/>
              <a:gd name="csX7" fmla="*/ 102478 w 729419"/>
              <a:gd name="csY7" fmla="*/ 1720275 h 2076207"/>
              <a:gd name="csX8" fmla="*/ 108579 w 729419"/>
              <a:gd name="csY8" fmla="*/ 1650967 h 2076207"/>
              <a:gd name="csX9" fmla="*/ 115628 w 729419"/>
              <a:gd name="csY9" fmla="*/ 1625405 h 2076207"/>
              <a:gd name="csX10" fmla="*/ 156323 w 729419"/>
              <a:gd name="csY10" fmla="*/ 1560181 h 2076207"/>
              <a:gd name="csX11" fmla="*/ 199424 w 729419"/>
              <a:gd name="csY11" fmla="*/ 1364729 h 2076207"/>
              <a:gd name="csX12" fmla="*/ 216779 w 729419"/>
              <a:gd name="csY12" fmla="*/ 1219490 h 2076207"/>
              <a:gd name="csX13" fmla="*/ 229755 w 729419"/>
              <a:gd name="csY13" fmla="*/ 1099357 h 2076207"/>
              <a:gd name="csX14" fmla="*/ 232707 w 729419"/>
              <a:gd name="csY14" fmla="*/ 1056423 h 2076207"/>
              <a:gd name="csX15" fmla="*/ 235622 w 729419"/>
              <a:gd name="csY15" fmla="*/ 952675 h 2076207"/>
              <a:gd name="csX16" fmla="*/ 235445 w 729419"/>
              <a:gd name="csY16" fmla="*/ 780278 h 2076207"/>
              <a:gd name="csX17" fmla="*/ 214544 w 729419"/>
              <a:gd name="csY17" fmla="*/ 756435 h 2076207"/>
              <a:gd name="csX18" fmla="*/ 172569 w 729419"/>
              <a:gd name="csY18" fmla="*/ 742582 h 2076207"/>
              <a:gd name="csX19" fmla="*/ 168784 w 729419"/>
              <a:gd name="csY19" fmla="*/ 669116 h 2076207"/>
              <a:gd name="csX20" fmla="*/ 191657 w 729419"/>
              <a:gd name="csY20" fmla="*/ 630765 h 2076207"/>
              <a:gd name="csX21" fmla="*/ 208150 w 729419"/>
              <a:gd name="csY21" fmla="*/ 609084 h 2076207"/>
              <a:gd name="csX22" fmla="*/ 216756 w 729419"/>
              <a:gd name="csY22" fmla="*/ 558673 h 2076207"/>
              <a:gd name="csX23" fmla="*/ 209092 w 729419"/>
              <a:gd name="csY23" fmla="*/ 521540 h 2076207"/>
              <a:gd name="csX24" fmla="*/ 204683 w 729419"/>
              <a:gd name="csY24" fmla="*/ 474024 h 2076207"/>
              <a:gd name="csX25" fmla="*/ 115483 w 729419"/>
              <a:gd name="csY25" fmla="*/ 213499 h 2076207"/>
              <a:gd name="csX26" fmla="*/ 102909 w 729419"/>
              <a:gd name="csY26" fmla="*/ 182297 h 2076207"/>
              <a:gd name="csX27" fmla="*/ 104315 w 729419"/>
              <a:gd name="csY27" fmla="*/ 163968 h 2076207"/>
              <a:gd name="csX28" fmla="*/ 122444 w 729419"/>
              <a:gd name="csY28" fmla="*/ 160805 h 2076207"/>
              <a:gd name="csX29" fmla="*/ 170283 w 729419"/>
              <a:gd name="csY29" fmla="*/ 187783 h 2076207"/>
              <a:gd name="csX30" fmla="*/ 180938 w 729419"/>
              <a:gd name="csY30" fmla="*/ 195322 h 2076207"/>
              <a:gd name="csX31" fmla="*/ 221419 w 729419"/>
              <a:gd name="csY31" fmla="*/ 138058 h 2076207"/>
              <a:gd name="csX32" fmla="*/ 294099 w 729419"/>
              <a:gd name="csY32" fmla="*/ 91372 h 2076207"/>
              <a:gd name="csX33" fmla="*/ 302307 w 729419"/>
              <a:gd name="csY33" fmla="*/ 76560 h 2076207"/>
              <a:gd name="csX34" fmla="*/ 320284 w 729419"/>
              <a:gd name="csY34" fmla="*/ 8414 h 2076207"/>
              <a:gd name="csX35" fmla="*/ 324784 w 729419"/>
              <a:gd name="csY35" fmla="*/ 946 h 2076207"/>
              <a:gd name="csX36" fmla="*/ 399212 w 729419"/>
              <a:gd name="csY36" fmla="*/ 0 h 2076207"/>
              <a:gd name="csX37" fmla="*/ 425980 w 729419"/>
              <a:gd name="csY37" fmla="*/ 78301 h 2076207"/>
              <a:gd name="csX38" fmla="*/ 431861 w 729419"/>
              <a:gd name="csY38" fmla="*/ 90312 h 2076207"/>
              <a:gd name="csX39" fmla="*/ 540349 w 729419"/>
              <a:gd name="csY39" fmla="*/ 187946 h 2076207"/>
              <a:gd name="csX40" fmla="*/ 545555 w 729419"/>
              <a:gd name="csY40" fmla="*/ 197828 h 2076207"/>
              <a:gd name="csX41" fmla="*/ 587318 w 729419"/>
              <a:gd name="csY41" fmla="*/ 171260 h 2076207"/>
              <a:gd name="csX42" fmla="*/ 601503 w 729419"/>
              <a:gd name="csY42" fmla="*/ 163707 h 2076207"/>
              <a:gd name="csX43" fmla="*/ 625254 w 729419"/>
              <a:gd name="csY43" fmla="*/ 163123 h 2076207"/>
              <a:gd name="csX44" fmla="*/ 625468 w 729419"/>
              <a:gd name="csY44" fmla="*/ 187579 h 2076207"/>
              <a:gd name="csX45" fmla="*/ 597543 w 729419"/>
              <a:gd name="csY45" fmla="*/ 251872 h 2076207"/>
              <a:gd name="csX46" fmla="*/ 531831 w 729419"/>
              <a:gd name="csY46" fmla="*/ 442689 h 2076207"/>
              <a:gd name="csX47" fmla="*/ 519888 w 729419"/>
              <a:gd name="csY47" fmla="*/ 501474 h 2076207"/>
              <a:gd name="csX48" fmla="*/ 522506 w 729419"/>
              <a:gd name="csY48" fmla="*/ 525086 h 2076207"/>
              <a:gd name="csX49" fmla="*/ 516235 w 729419"/>
              <a:gd name="csY49" fmla="*/ 555946 h 2076207"/>
              <a:gd name="csX50" fmla="*/ 521332 w 729419"/>
              <a:gd name="csY50" fmla="*/ 610676 h 2076207"/>
              <a:gd name="csX51" fmla="*/ 541382 w 729419"/>
              <a:gd name="csY51" fmla="*/ 642597 h 2076207"/>
              <a:gd name="csX52" fmla="*/ 557031 w 729419"/>
              <a:gd name="csY52" fmla="*/ 667949 h 2076207"/>
              <a:gd name="csX53" fmla="*/ 553994 w 729419"/>
              <a:gd name="csY53" fmla="*/ 744146 h 2076207"/>
              <a:gd name="csX54" fmla="*/ 508215 w 729419"/>
              <a:gd name="csY54" fmla="*/ 758841 h 2076207"/>
              <a:gd name="csX55" fmla="*/ 497442 w 729419"/>
              <a:gd name="csY55" fmla="*/ 771256 h 2076207"/>
              <a:gd name="csX56" fmla="*/ 493005 w 729419"/>
              <a:gd name="csY56" fmla="*/ 922055 h 2076207"/>
              <a:gd name="csX57" fmla="*/ 502900 w 729419"/>
              <a:gd name="csY57" fmla="*/ 1114191 h 2076207"/>
              <a:gd name="csX58" fmla="*/ 508800 w 729419"/>
              <a:gd name="csY58" fmla="*/ 1205474 h 2076207"/>
              <a:gd name="csX59" fmla="*/ 522952 w 729419"/>
              <a:gd name="csY59" fmla="*/ 1320065 h 2076207"/>
              <a:gd name="csX60" fmla="*/ 554682 w 729419"/>
              <a:gd name="csY60" fmla="*/ 1501203 h 2076207"/>
              <a:gd name="csX61" fmla="*/ 576958 w 729419"/>
              <a:gd name="csY61" fmla="*/ 1593963 h 2076207"/>
              <a:gd name="csX62" fmla="*/ 595349 w 729419"/>
              <a:gd name="csY62" fmla="*/ 1613498 h 2076207"/>
              <a:gd name="csX63" fmla="*/ 613936 w 729419"/>
              <a:gd name="csY63" fmla="*/ 1624058 h 2076207"/>
              <a:gd name="csX64" fmla="*/ 620938 w 729419"/>
              <a:gd name="csY64" fmla="*/ 1652071 h 2076207"/>
              <a:gd name="csX65" fmla="*/ 630805 w 729419"/>
              <a:gd name="csY65" fmla="*/ 1721702 h 2076207"/>
              <a:gd name="csX66" fmla="*/ 685830 w 729419"/>
              <a:gd name="csY66" fmla="*/ 1792915 h 2076207"/>
              <a:gd name="csX67" fmla="*/ 708904 w 729419"/>
              <a:gd name="csY67" fmla="*/ 1890290 h 2076207"/>
              <a:gd name="csX68" fmla="*/ 716580 w 729419"/>
              <a:gd name="csY68" fmla="*/ 1951136 h 2076207"/>
              <a:gd name="csX69" fmla="*/ 729397 w 729419"/>
              <a:gd name="csY69" fmla="*/ 2030261 h 2076207"/>
              <a:gd name="csX70" fmla="*/ 714212 w 729419"/>
              <a:gd name="csY70" fmla="*/ 2049544 h 2076207"/>
              <a:gd name="csX71" fmla="*/ 645428 w 729419"/>
              <a:gd name="csY71" fmla="*/ 2070825 h 2076207"/>
              <a:gd name="csX72" fmla="*/ 635822 w 729419"/>
              <a:gd name="csY72" fmla="*/ 2075145 h 2076207"/>
              <a:gd name="csX73" fmla="*/ 588428 w 729419"/>
              <a:gd name="csY73" fmla="*/ 2075144 h 2076207"/>
              <a:gd name="csX74" fmla="*/ 590041 w 729419"/>
              <a:gd name="csY74" fmla="*/ 2071383 h 2076207"/>
              <a:gd name="csX75" fmla="*/ 667788 w 729419"/>
              <a:gd name="csY75" fmla="*/ 2056852 h 2076207"/>
              <a:gd name="csX76" fmla="*/ 706629 w 729419"/>
              <a:gd name="csY76" fmla="*/ 2044290 h 2076207"/>
              <a:gd name="csX77" fmla="*/ 702674 w 729419"/>
              <a:gd name="csY77" fmla="*/ 2041581 h 2076207"/>
              <a:gd name="csX78" fmla="*/ 544974 w 729419"/>
              <a:gd name="csY78" fmla="*/ 2071274 h 2076207"/>
              <a:gd name="csX79" fmla="*/ 96263 w 729419"/>
              <a:gd name="csY79" fmla="*/ 2076207 h 2076207"/>
              <a:gd name="csX80" fmla="*/ 489970 w 729419"/>
              <a:gd name="csY80" fmla="*/ 152208 h 2076207"/>
              <a:gd name="csX81" fmla="*/ 490754 w 729419"/>
              <a:gd name="csY81" fmla="*/ 152592 h 2076207"/>
              <a:gd name="csX82" fmla="*/ 489489 w 729419"/>
              <a:gd name="csY82" fmla="*/ 149547 h 2076207"/>
              <a:gd name="csX83" fmla="*/ 393621 w 729419"/>
              <a:gd name="csY83" fmla="*/ 99259 h 2076207"/>
              <a:gd name="csX84" fmla="*/ 390419 w 729419"/>
              <a:gd name="csY84" fmla="*/ 18568 h 2076207"/>
              <a:gd name="csX85" fmla="*/ 334131 w 729419"/>
              <a:gd name="csY85" fmla="*/ 24327 h 2076207"/>
              <a:gd name="csX86" fmla="*/ 344678 w 729419"/>
              <a:gd name="csY86" fmla="*/ 101259 h 2076207"/>
              <a:gd name="csX87" fmla="*/ 298854 w 729419"/>
              <a:gd name="csY87" fmla="*/ 114003 h 2076207"/>
              <a:gd name="csX88" fmla="*/ 237456 w 729419"/>
              <a:gd name="csY88" fmla="*/ 154340 h 2076207"/>
              <a:gd name="csX89" fmla="*/ 240382 w 729419"/>
              <a:gd name="csY89" fmla="*/ 154035 h 2076207"/>
              <a:gd name="csX90" fmla="*/ 262731 w 729419"/>
              <a:gd name="csY90" fmla="*/ 170426 h 2076207"/>
              <a:gd name="csX91" fmla="*/ 279169 w 729419"/>
              <a:gd name="csY91" fmla="*/ 193173 h 2076207"/>
              <a:gd name="csX92" fmla="*/ 327717 w 729419"/>
              <a:gd name="csY92" fmla="*/ 188556 h 2076207"/>
              <a:gd name="csX93" fmla="*/ 348052 w 729419"/>
              <a:gd name="csY93" fmla="*/ 156919 h 2076207"/>
              <a:gd name="csX94" fmla="*/ 380330 w 729419"/>
              <a:gd name="csY94" fmla="*/ 156483 h 2076207"/>
              <a:gd name="csX95" fmla="*/ 408490 w 729419"/>
              <a:gd name="csY95" fmla="*/ 195400 h 2076207"/>
              <a:gd name="csX96" fmla="*/ 445346 w 729419"/>
              <a:gd name="csY96" fmla="*/ 197582 h 2076207"/>
              <a:gd name="csX97" fmla="*/ 464798 w 729419"/>
              <a:gd name="csY97" fmla="*/ 174107 h 2076207"/>
              <a:gd name="csX98" fmla="*/ 489970 w 729419"/>
              <a:gd name="csY98" fmla="*/ 152208 h 2076207"/>
              <a:gd name="csX99" fmla="*/ 140694 w 729419"/>
              <a:gd name="csY99" fmla="*/ 201837 h 2076207"/>
              <a:gd name="csX100" fmla="*/ 139834 w 729419"/>
              <a:gd name="csY100" fmla="*/ 201482 h 2076207"/>
              <a:gd name="csX101" fmla="*/ 140812 w 729419"/>
              <a:gd name="csY101" fmla="*/ 204941 h 2076207"/>
              <a:gd name="csX102" fmla="*/ 144631 w 729419"/>
              <a:gd name="csY102" fmla="*/ 217811 h 2076207"/>
              <a:gd name="csX103" fmla="*/ 201241 w 729419"/>
              <a:gd name="csY103" fmla="*/ 373387 h 2076207"/>
              <a:gd name="csX104" fmla="*/ 235971 w 729419"/>
              <a:gd name="csY104" fmla="*/ 504451 h 2076207"/>
              <a:gd name="csX105" fmla="*/ 247475 w 729419"/>
              <a:gd name="csY105" fmla="*/ 513241 h 2076207"/>
              <a:gd name="csX106" fmla="*/ 289066 w 729419"/>
              <a:gd name="csY106" fmla="*/ 511170 h 2076207"/>
              <a:gd name="csX107" fmla="*/ 378229 w 729419"/>
              <a:gd name="csY107" fmla="*/ 511084 h 2076207"/>
              <a:gd name="csX108" fmla="*/ 470850 w 729419"/>
              <a:gd name="csY108" fmla="*/ 516341 h 2076207"/>
              <a:gd name="csX109" fmla="*/ 492933 w 729419"/>
              <a:gd name="csY109" fmla="*/ 497969 h 2076207"/>
              <a:gd name="csX110" fmla="*/ 557617 w 729419"/>
              <a:gd name="csY110" fmla="*/ 280398 h 2076207"/>
              <a:gd name="csX111" fmla="*/ 588788 w 729419"/>
              <a:gd name="csY111" fmla="*/ 200385 h 2076207"/>
              <a:gd name="csX112" fmla="*/ 530958 w 729419"/>
              <a:gd name="csY112" fmla="*/ 232968 h 2076207"/>
              <a:gd name="csX113" fmla="*/ 483823 w 729419"/>
              <a:gd name="csY113" fmla="*/ 190364 h 2076207"/>
              <a:gd name="csX114" fmla="*/ 466649 w 729419"/>
              <a:gd name="csY114" fmla="*/ 209061 h 2076207"/>
              <a:gd name="csX115" fmla="*/ 399941 w 729419"/>
              <a:gd name="csY115" fmla="*/ 216988 h 2076207"/>
              <a:gd name="csX116" fmla="*/ 363018 w 729419"/>
              <a:gd name="csY116" fmla="*/ 179615 h 2076207"/>
              <a:gd name="csX117" fmla="*/ 308839 w 729419"/>
              <a:gd name="csY117" fmla="*/ 227846 h 2076207"/>
              <a:gd name="csX118" fmla="*/ 245077 w 729419"/>
              <a:gd name="csY118" fmla="*/ 192402 h 2076207"/>
              <a:gd name="csX119" fmla="*/ 242829 w 729419"/>
              <a:gd name="csY119" fmla="*/ 198815 h 2076207"/>
              <a:gd name="csX120" fmla="*/ 168452 w 729419"/>
              <a:gd name="csY120" fmla="*/ 219348 h 2076207"/>
              <a:gd name="csX121" fmla="*/ 140694 w 729419"/>
              <a:gd name="csY121" fmla="*/ 201837 h 2076207"/>
              <a:gd name="csX122" fmla="*/ 259999 w 729419"/>
              <a:gd name="csY122" fmla="*/ 966699 h 2076207"/>
              <a:gd name="csX123" fmla="*/ 257072 w 729419"/>
              <a:gd name="csY123" fmla="*/ 1070424 h 2076207"/>
              <a:gd name="csX124" fmla="*/ 251372 w 729419"/>
              <a:gd name="csY124" fmla="*/ 1157618 h 2076207"/>
              <a:gd name="csX125" fmla="*/ 232677 w 729419"/>
              <a:gd name="csY125" fmla="*/ 1320279 h 2076207"/>
              <a:gd name="csX126" fmla="*/ 209182 w 729419"/>
              <a:gd name="csY126" fmla="*/ 1468667 h 2076207"/>
              <a:gd name="csX127" fmla="*/ 175302 w 729419"/>
              <a:gd name="csY127" fmla="*/ 1616623 h 2076207"/>
              <a:gd name="csX128" fmla="*/ 182769 w 729419"/>
              <a:gd name="csY128" fmla="*/ 1629786 h 2076207"/>
              <a:gd name="csX129" fmla="*/ 212156 w 729419"/>
              <a:gd name="csY129" fmla="*/ 1632656 h 2076207"/>
              <a:gd name="csX130" fmla="*/ 351295 w 729419"/>
              <a:gd name="csY130" fmla="*/ 1632801 h 2076207"/>
              <a:gd name="csX131" fmla="*/ 376150 w 729419"/>
              <a:gd name="csY131" fmla="*/ 1608307 h 2076207"/>
              <a:gd name="csX132" fmla="*/ 373450 w 729419"/>
              <a:gd name="csY132" fmla="*/ 1457291 h 2076207"/>
              <a:gd name="csX133" fmla="*/ 370936 w 729419"/>
              <a:gd name="csY133" fmla="*/ 1342736 h 2076207"/>
              <a:gd name="csX134" fmla="*/ 368328 w 729419"/>
              <a:gd name="csY134" fmla="*/ 1203878 h 2076207"/>
              <a:gd name="csX135" fmla="*/ 367836 w 729419"/>
              <a:gd name="csY135" fmla="*/ 813478 h 2076207"/>
              <a:gd name="csX136" fmla="*/ 365240 w 729419"/>
              <a:gd name="csY136" fmla="*/ 773243 h 2076207"/>
              <a:gd name="csX137" fmla="*/ 353084 w 729419"/>
              <a:gd name="csY137" fmla="*/ 762083 h 2076207"/>
              <a:gd name="csX138" fmla="*/ 280966 w 729419"/>
              <a:gd name="csY138" fmla="*/ 759855 h 2076207"/>
              <a:gd name="csX139" fmla="*/ 259965 w 729419"/>
              <a:gd name="csY139" fmla="*/ 779553 h 2076207"/>
              <a:gd name="csX140" fmla="*/ 262341 w 729419"/>
              <a:gd name="csY140" fmla="*/ 856275 h 2076207"/>
              <a:gd name="csX141" fmla="*/ 259999 w 729419"/>
              <a:gd name="csY141" fmla="*/ 966699 h 2076207"/>
              <a:gd name="csX142" fmla="*/ 55556 w 729419"/>
              <a:gd name="csY142" fmla="*/ 1835827 h 2076207"/>
              <a:gd name="csX143" fmla="*/ 49393 w 729419"/>
              <a:gd name="csY143" fmla="*/ 1878155 h 2076207"/>
              <a:gd name="csX144" fmla="*/ 73949 w 729419"/>
              <a:gd name="csY144" fmla="*/ 1905781 h 2076207"/>
              <a:gd name="csX145" fmla="*/ 110073 w 729419"/>
              <a:gd name="csY145" fmla="*/ 1909068 h 2076207"/>
              <a:gd name="csX146" fmla="*/ 224745 w 729419"/>
              <a:gd name="csY146" fmla="*/ 1921652 h 2076207"/>
              <a:gd name="csX147" fmla="*/ 347327 w 729419"/>
              <a:gd name="csY147" fmla="*/ 1924778 h 2076207"/>
              <a:gd name="csX148" fmla="*/ 363345 w 729419"/>
              <a:gd name="csY148" fmla="*/ 1923293 h 2076207"/>
              <a:gd name="csX149" fmla="*/ 373787 w 729419"/>
              <a:gd name="csY149" fmla="*/ 1911200 h 2076207"/>
              <a:gd name="csX150" fmla="*/ 376623 w 729419"/>
              <a:gd name="csY150" fmla="*/ 1696741 h 2076207"/>
              <a:gd name="csX151" fmla="*/ 360437 w 729419"/>
              <a:gd name="csY151" fmla="*/ 1681289 h 2076207"/>
              <a:gd name="csX152" fmla="*/ 263503 w 729419"/>
              <a:gd name="csY152" fmla="*/ 1678179 h 2076207"/>
              <a:gd name="csX153" fmla="*/ 160381 w 729419"/>
              <a:gd name="csY153" fmla="*/ 1670405 h 2076207"/>
              <a:gd name="csX154" fmla="*/ 143321 w 729419"/>
              <a:gd name="csY154" fmla="*/ 1685538 h 2076207"/>
              <a:gd name="csX155" fmla="*/ 124769 w 729419"/>
              <a:gd name="csY155" fmla="*/ 1738195 h 2076207"/>
              <a:gd name="csX156" fmla="*/ 90593 w 729419"/>
              <a:gd name="csY156" fmla="*/ 1779570 h 2076207"/>
              <a:gd name="csX157" fmla="*/ 55556 w 729419"/>
              <a:gd name="csY157" fmla="*/ 1835827 h 2076207"/>
              <a:gd name="csX158" fmla="*/ 378900 w 729419"/>
              <a:gd name="csY158" fmla="*/ 2007280 h 2076207"/>
              <a:gd name="csX159" fmla="*/ 378887 w 729419"/>
              <a:gd name="csY159" fmla="*/ 1995127 h 2076207"/>
              <a:gd name="csX160" fmla="*/ 359084 w 729419"/>
              <a:gd name="csY160" fmla="*/ 1975964 h 2076207"/>
              <a:gd name="csX161" fmla="*/ 247288 w 729419"/>
              <a:gd name="csY161" fmla="*/ 1973305 h 2076207"/>
              <a:gd name="csX162" fmla="*/ 201692 w 729419"/>
              <a:gd name="csY162" fmla="*/ 1970275 h 2076207"/>
              <a:gd name="csX163" fmla="*/ 57962 w 729419"/>
              <a:gd name="csY163" fmla="*/ 1952648 h 2076207"/>
              <a:gd name="csX164" fmla="*/ 39194 w 729419"/>
              <a:gd name="csY164" fmla="*/ 1963552 h 2076207"/>
              <a:gd name="csX165" fmla="*/ 30066 w 729419"/>
              <a:gd name="csY165" fmla="*/ 2006631 h 2076207"/>
              <a:gd name="csX166" fmla="*/ 40232 w 729419"/>
              <a:gd name="csY166" fmla="*/ 2019486 h 2076207"/>
              <a:gd name="csX167" fmla="*/ 238186 w 729419"/>
              <a:gd name="csY167" fmla="*/ 2046096 h 2076207"/>
              <a:gd name="csX168" fmla="*/ 342155 w 729419"/>
              <a:gd name="csY168" fmla="*/ 2046441 h 2076207"/>
              <a:gd name="csX169" fmla="*/ 378900 w 729419"/>
              <a:gd name="csY169" fmla="*/ 2007280 h 2076207"/>
              <a:gd name="csX170" fmla="*/ 310220 w 729419"/>
              <a:gd name="csY170" fmla="*/ 554288 h 2076207"/>
              <a:gd name="csX171" fmla="*/ 259136 w 729419"/>
              <a:gd name="csY171" fmla="*/ 556881 h 2076207"/>
              <a:gd name="csX172" fmla="*/ 249085 w 729419"/>
              <a:gd name="csY172" fmla="*/ 567981 h 2076207"/>
              <a:gd name="csX173" fmla="*/ 249141 w 729419"/>
              <a:gd name="csY173" fmla="*/ 605644 h 2076207"/>
              <a:gd name="csX174" fmla="*/ 262628 w 729419"/>
              <a:gd name="csY174" fmla="*/ 605627 h 2076207"/>
              <a:gd name="csX175" fmla="*/ 369608 w 729419"/>
              <a:gd name="csY175" fmla="*/ 603027 h 2076207"/>
              <a:gd name="csX176" fmla="*/ 463931 w 729419"/>
              <a:gd name="csY176" fmla="*/ 605146 h 2076207"/>
              <a:gd name="csX177" fmla="*/ 478113 w 729419"/>
              <a:gd name="csY177" fmla="*/ 595843 h 2076207"/>
              <a:gd name="csX178" fmla="*/ 478796 w 729419"/>
              <a:gd name="csY178" fmla="*/ 556832 h 2076207"/>
              <a:gd name="csX179" fmla="*/ 310220 w 729419"/>
              <a:gd name="csY179" fmla="*/ 554288 h 2076207"/>
              <a:gd name="csX180" fmla="*/ 348836 w 729419"/>
              <a:gd name="csY180" fmla="*/ 684115 h 2076207"/>
              <a:gd name="csX181" fmla="*/ 281333 w 729419"/>
              <a:gd name="csY181" fmla="*/ 683313 h 2076207"/>
              <a:gd name="csX182" fmla="*/ 212728 w 729419"/>
              <a:gd name="csY182" fmla="*/ 681931 h 2076207"/>
              <a:gd name="csX183" fmla="*/ 187283 w 729419"/>
              <a:gd name="csY183" fmla="*/ 689555 h 2076207"/>
              <a:gd name="csX184" fmla="*/ 186163 w 729419"/>
              <a:gd name="csY184" fmla="*/ 718266 h 2076207"/>
              <a:gd name="csX185" fmla="*/ 209894 w 729419"/>
              <a:gd name="csY185" fmla="*/ 726798 h 2076207"/>
              <a:gd name="csX186" fmla="*/ 334814 w 729419"/>
              <a:gd name="csY186" fmla="*/ 732494 h 2076207"/>
              <a:gd name="csX187" fmla="*/ 364856 w 729419"/>
              <a:gd name="csY187" fmla="*/ 707963 h 2076207"/>
              <a:gd name="csX188" fmla="*/ 348836 w 729419"/>
              <a:gd name="csY188" fmla="*/ 684115 h 2076207"/>
              <a:gd name="csX189" fmla="*/ 298865 w 729419"/>
              <a:gd name="csY189" fmla="*/ 621954 h 2076207"/>
              <a:gd name="csX190" fmla="*/ 251619 w 729419"/>
              <a:gd name="csY190" fmla="*/ 622133 h 2076207"/>
              <a:gd name="csX191" fmla="*/ 214459 w 729419"/>
              <a:gd name="csY191" fmla="*/ 636230 h 2076207"/>
              <a:gd name="csX192" fmla="*/ 221436 w 729419"/>
              <a:gd name="csY192" fmla="*/ 654205 h 2076207"/>
              <a:gd name="csX193" fmla="*/ 272412 w 729419"/>
              <a:gd name="csY193" fmla="*/ 657250 h 2076207"/>
              <a:gd name="csX194" fmla="*/ 349094 w 729419"/>
              <a:gd name="csY194" fmla="*/ 659282 h 2076207"/>
              <a:gd name="csX195" fmla="*/ 362996 w 729419"/>
              <a:gd name="csY195" fmla="*/ 644234 h 2076207"/>
              <a:gd name="csX196" fmla="*/ 348472 w 729419"/>
              <a:gd name="csY196" fmla="*/ 624649 h 2076207"/>
              <a:gd name="csX197" fmla="*/ 298865 w 729419"/>
              <a:gd name="csY197" fmla="*/ 621954 h 2076207"/>
              <a:gd name="csX198" fmla="*/ 227796 w 729419"/>
              <a:gd name="csY198" fmla="*/ 528000 h 2076207"/>
              <a:gd name="csX199" fmla="*/ 241009 w 729419"/>
              <a:gd name="csY199" fmla="*/ 545897 h 2076207"/>
              <a:gd name="csX200" fmla="*/ 282607 w 729419"/>
              <a:gd name="csY200" fmla="*/ 543480 h 2076207"/>
              <a:gd name="csX201" fmla="*/ 354213 w 729419"/>
              <a:gd name="csY201" fmla="*/ 543384 h 2076207"/>
              <a:gd name="csX202" fmla="*/ 365334 w 729419"/>
              <a:gd name="csY202" fmla="*/ 533397 h 2076207"/>
              <a:gd name="csX203" fmla="*/ 354531 w 729419"/>
              <a:gd name="csY203" fmla="*/ 521620 h 2076207"/>
              <a:gd name="csX204" fmla="*/ 259169 w 729419"/>
              <a:gd name="csY204" fmla="*/ 521978 h 2076207"/>
              <a:gd name="csX205" fmla="*/ 227796 w 729419"/>
              <a:gd name="csY205" fmla="*/ 528000 h 2076207"/>
              <a:gd name="csX206" fmla="*/ 508068 w 729419"/>
              <a:gd name="csY206" fmla="*/ 190710 h 2076207"/>
              <a:gd name="csX207" fmla="*/ 521293 w 729419"/>
              <a:gd name="csY207" fmla="*/ 205907 h 2076207"/>
              <a:gd name="csX208" fmla="*/ 525175 w 729419"/>
              <a:gd name="csY208" fmla="*/ 202985 h 2076207"/>
              <a:gd name="csX209" fmla="*/ 500276 w 729419"/>
              <a:gd name="csY209" fmla="*/ 160640 h 2076207"/>
              <a:gd name="csX210" fmla="*/ 497122 w 729419"/>
              <a:gd name="csY210" fmla="*/ 162007 h 2076207"/>
              <a:gd name="csX211" fmla="*/ 508068 w 729419"/>
              <a:gd name="csY211" fmla="*/ 190710 h 2076207"/>
              <a:gd name="csX212" fmla="*/ 215522 w 729419"/>
              <a:gd name="csY212" fmla="*/ 197296 h 2076207"/>
              <a:gd name="csX213" fmla="*/ 234029 w 729419"/>
              <a:gd name="csY213" fmla="*/ 162725 h 2076207"/>
              <a:gd name="csX214" fmla="*/ 229000 w 729419"/>
              <a:gd name="csY214" fmla="*/ 159902 h 2076207"/>
              <a:gd name="csX215" fmla="*/ 204824 w 729419"/>
              <a:gd name="csY215" fmla="*/ 199677 h 2076207"/>
              <a:gd name="csX216" fmla="*/ 207990 w 729419"/>
              <a:gd name="csY216" fmla="*/ 202198 h 2076207"/>
              <a:gd name="csX217" fmla="*/ 215522 w 729419"/>
              <a:gd name="csY217" fmla="*/ 197296 h 2076207"/>
              <a:gd name="csX218" fmla="*/ 484400 w 729419"/>
              <a:gd name="csY218" fmla="*/ 896678 h 2076207"/>
              <a:gd name="csX219" fmla="*/ 486181 w 729419"/>
              <a:gd name="csY219" fmla="*/ 896585 h 2076207"/>
              <a:gd name="csX220" fmla="*/ 486181 w 729419"/>
              <a:gd name="csY220" fmla="*/ 795289 h 2076207"/>
              <a:gd name="csX221" fmla="*/ 720241 w 729419"/>
              <a:gd name="csY221" fmla="*/ 2030666 h 2076207"/>
              <a:gd name="csX222" fmla="*/ 721175 w 729419"/>
              <a:gd name="csY222" fmla="*/ 2029733 h 2076207"/>
              <a:gd name="csX223" fmla="*/ 720241 w 729419"/>
              <a:gd name="csY223" fmla="*/ 2030666 h 2076207"/>
              <a:gd name="csX224" fmla="*/ 715702 w 729419"/>
              <a:gd name="csY224" fmla="*/ 2037051 h 2076207"/>
              <a:gd name="csX225" fmla="*/ 715702 w 729419"/>
              <a:gd name="csY225" fmla="*/ 2037051 h 2076207"/>
              <a:gd name="csX0" fmla="*/ 96263 w 748195"/>
              <a:gd name="csY0" fmla="*/ 2076207 h 2076207"/>
              <a:gd name="csX1" fmla="*/ 63862 w 748195"/>
              <a:gd name="csY1" fmla="*/ 2065388 h 2076207"/>
              <a:gd name="csX2" fmla="*/ 16555 w 748195"/>
              <a:gd name="csY2" fmla="*/ 2050152 h 2076207"/>
              <a:gd name="csX3" fmla="*/ 15 w 748195"/>
              <a:gd name="csY3" fmla="*/ 2023802 h 2076207"/>
              <a:gd name="csX4" fmla="*/ 18368 w 748195"/>
              <a:gd name="csY4" fmla="*/ 1940709 h 2076207"/>
              <a:gd name="csX5" fmla="*/ 22139 w 748195"/>
              <a:gd name="csY5" fmla="*/ 1907268 h 2076207"/>
              <a:gd name="csX6" fmla="*/ 57941 w 748195"/>
              <a:gd name="csY6" fmla="*/ 1774163 h 2076207"/>
              <a:gd name="csX7" fmla="*/ 102478 w 748195"/>
              <a:gd name="csY7" fmla="*/ 1720275 h 2076207"/>
              <a:gd name="csX8" fmla="*/ 108579 w 748195"/>
              <a:gd name="csY8" fmla="*/ 1650967 h 2076207"/>
              <a:gd name="csX9" fmla="*/ 115628 w 748195"/>
              <a:gd name="csY9" fmla="*/ 1625405 h 2076207"/>
              <a:gd name="csX10" fmla="*/ 156323 w 748195"/>
              <a:gd name="csY10" fmla="*/ 1560181 h 2076207"/>
              <a:gd name="csX11" fmla="*/ 199424 w 748195"/>
              <a:gd name="csY11" fmla="*/ 1364729 h 2076207"/>
              <a:gd name="csX12" fmla="*/ 216779 w 748195"/>
              <a:gd name="csY12" fmla="*/ 1219490 h 2076207"/>
              <a:gd name="csX13" fmla="*/ 229755 w 748195"/>
              <a:gd name="csY13" fmla="*/ 1099357 h 2076207"/>
              <a:gd name="csX14" fmla="*/ 232707 w 748195"/>
              <a:gd name="csY14" fmla="*/ 1056423 h 2076207"/>
              <a:gd name="csX15" fmla="*/ 235622 w 748195"/>
              <a:gd name="csY15" fmla="*/ 952675 h 2076207"/>
              <a:gd name="csX16" fmla="*/ 235445 w 748195"/>
              <a:gd name="csY16" fmla="*/ 780278 h 2076207"/>
              <a:gd name="csX17" fmla="*/ 214544 w 748195"/>
              <a:gd name="csY17" fmla="*/ 756435 h 2076207"/>
              <a:gd name="csX18" fmla="*/ 172569 w 748195"/>
              <a:gd name="csY18" fmla="*/ 742582 h 2076207"/>
              <a:gd name="csX19" fmla="*/ 168784 w 748195"/>
              <a:gd name="csY19" fmla="*/ 669116 h 2076207"/>
              <a:gd name="csX20" fmla="*/ 191657 w 748195"/>
              <a:gd name="csY20" fmla="*/ 630765 h 2076207"/>
              <a:gd name="csX21" fmla="*/ 208150 w 748195"/>
              <a:gd name="csY21" fmla="*/ 609084 h 2076207"/>
              <a:gd name="csX22" fmla="*/ 216756 w 748195"/>
              <a:gd name="csY22" fmla="*/ 558673 h 2076207"/>
              <a:gd name="csX23" fmla="*/ 209092 w 748195"/>
              <a:gd name="csY23" fmla="*/ 521540 h 2076207"/>
              <a:gd name="csX24" fmla="*/ 204683 w 748195"/>
              <a:gd name="csY24" fmla="*/ 474024 h 2076207"/>
              <a:gd name="csX25" fmla="*/ 115483 w 748195"/>
              <a:gd name="csY25" fmla="*/ 213499 h 2076207"/>
              <a:gd name="csX26" fmla="*/ 102909 w 748195"/>
              <a:gd name="csY26" fmla="*/ 182297 h 2076207"/>
              <a:gd name="csX27" fmla="*/ 104315 w 748195"/>
              <a:gd name="csY27" fmla="*/ 163968 h 2076207"/>
              <a:gd name="csX28" fmla="*/ 122444 w 748195"/>
              <a:gd name="csY28" fmla="*/ 160805 h 2076207"/>
              <a:gd name="csX29" fmla="*/ 170283 w 748195"/>
              <a:gd name="csY29" fmla="*/ 187783 h 2076207"/>
              <a:gd name="csX30" fmla="*/ 180938 w 748195"/>
              <a:gd name="csY30" fmla="*/ 195322 h 2076207"/>
              <a:gd name="csX31" fmla="*/ 221419 w 748195"/>
              <a:gd name="csY31" fmla="*/ 138058 h 2076207"/>
              <a:gd name="csX32" fmla="*/ 294099 w 748195"/>
              <a:gd name="csY32" fmla="*/ 91372 h 2076207"/>
              <a:gd name="csX33" fmla="*/ 302307 w 748195"/>
              <a:gd name="csY33" fmla="*/ 76560 h 2076207"/>
              <a:gd name="csX34" fmla="*/ 320284 w 748195"/>
              <a:gd name="csY34" fmla="*/ 8414 h 2076207"/>
              <a:gd name="csX35" fmla="*/ 324784 w 748195"/>
              <a:gd name="csY35" fmla="*/ 946 h 2076207"/>
              <a:gd name="csX36" fmla="*/ 399212 w 748195"/>
              <a:gd name="csY36" fmla="*/ 0 h 2076207"/>
              <a:gd name="csX37" fmla="*/ 425980 w 748195"/>
              <a:gd name="csY37" fmla="*/ 78301 h 2076207"/>
              <a:gd name="csX38" fmla="*/ 431861 w 748195"/>
              <a:gd name="csY38" fmla="*/ 90312 h 2076207"/>
              <a:gd name="csX39" fmla="*/ 540349 w 748195"/>
              <a:gd name="csY39" fmla="*/ 187946 h 2076207"/>
              <a:gd name="csX40" fmla="*/ 545555 w 748195"/>
              <a:gd name="csY40" fmla="*/ 197828 h 2076207"/>
              <a:gd name="csX41" fmla="*/ 587318 w 748195"/>
              <a:gd name="csY41" fmla="*/ 171260 h 2076207"/>
              <a:gd name="csX42" fmla="*/ 601503 w 748195"/>
              <a:gd name="csY42" fmla="*/ 163707 h 2076207"/>
              <a:gd name="csX43" fmla="*/ 625254 w 748195"/>
              <a:gd name="csY43" fmla="*/ 163123 h 2076207"/>
              <a:gd name="csX44" fmla="*/ 625468 w 748195"/>
              <a:gd name="csY44" fmla="*/ 187579 h 2076207"/>
              <a:gd name="csX45" fmla="*/ 597543 w 748195"/>
              <a:gd name="csY45" fmla="*/ 251872 h 2076207"/>
              <a:gd name="csX46" fmla="*/ 531831 w 748195"/>
              <a:gd name="csY46" fmla="*/ 442689 h 2076207"/>
              <a:gd name="csX47" fmla="*/ 519888 w 748195"/>
              <a:gd name="csY47" fmla="*/ 501474 h 2076207"/>
              <a:gd name="csX48" fmla="*/ 522506 w 748195"/>
              <a:gd name="csY48" fmla="*/ 525086 h 2076207"/>
              <a:gd name="csX49" fmla="*/ 516235 w 748195"/>
              <a:gd name="csY49" fmla="*/ 555946 h 2076207"/>
              <a:gd name="csX50" fmla="*/ 521332 w 748195"/>
              <a:gd name="csY50" fmla="*/ 610676 h 2076207"/>
              <a:gd name="csX51" fmla="*/ 541382 w 748195"/>
              <a:gd name="csY51" fmla="*/ 642597 h 2076207"/>
              <a:gd name="csX52" fmla="*/ 557031 w 748195"/>
              <a:gd name="csY52" fmla="*/ 667949 h 2076207"/>
              <a:gd name="csX53" fmla="*/ 553994 w 748195"/>
              <a:gd name="csY53" fmla="*/ 744146 h 2076207"/>
              <a:gd name="csX54" fmla="*/ 508215 w 748195"/>
              <a:gd name="csY54" fmla="*/ 758841 h 2076207"/>
              <a:gd name="csX55" fmla="*/ 497442 w 748195"/>
              <a:gd name="csY55" fmla="*/ 771256 h 2076207"/>
              <a:gd name="csX56" fmla="*/ 493005 w 748195"/>
              <a:gd name="csY56" fmla="*/ 922055 h 2076207"/>
              <a:gd name="csX57" fmla="*/ 502900 w 748195"/>
              <a:gd name="csY57" fmla="*/ 1114191 h 2076207"/>
              <a:gd name="csX58" fmla="*/ 508800 w 748195"/>
              <a:gd name="csY58" fmla="*/ 1205474 h 2076207"/>
              <a:gd name="csX59" fmla="*/ 522952 w 748195"/>
              <a:gd name="csY59" fmla="*/ 1320065 h 2076207"/>
              <a:gd name="csX60" fmla="*/ 554682 w 748195"/>
              <a:gd name="csY60" fmla="*/ 1501203 h 2076207"/>
              <a:gd name="csX61" fmla="*/ 576958 w 748195"/>
              <a:gd name="csY61" fmla="*/ 1593963 h 2076207"/>
              <a:gd name="csX62" fmla="*/ 595349 w 748195"/>
              <a:gd name="csY62" fmla="*/ 1613498 h 2076207"/>
              <a:gd name="csX63" fmla="*/ 613936 w 748195"/>
              <a:gd name="csY63" fmla="*/ 1624058 h 2076207"/>
              <a:gd name="csX64" fmla="*/ 620938 w 748195"/>
              <a:gd name="csY64" fmla="*/ 1652071 h 2076207"/>
              <a:gd name="csX65" fmla="*/ 630805 w 748195"/>
              <a:gd name="csY65" fmla="*/ 1721702 h 2076207"/>
              <a:gd name="csX66" fmla="*/ 685830 w 748195"/>
              <a:gd name="csY66" fmla="*/ 1792915 h 2076207"/>
              <a:gd name="csX67" fmla="*/ 708904 w 748195"/>
              <a:gd name="csY67" fmla="*/ 1890290 h 2076207"/>
              <a:gd name="csX68" fmla="*/ 716580 w 748195"/>
              <a:gd name="csY68" fmla="*/ 1951136 h 2076207"/>
              <a:gd name="csX69" fmla="*/ 729397 w 748195"/>
              <a:gd name="csY69" fmla="*/ 2030261 h 2076207"/>
              <a:gd name="csX70" fmla="*/ 714212 w 748195"/>
              <a:gd name="csY70" fmla="*/ 2049544 h 2076207"/>
              <a:gd name="csX71" fmla="*/ 645428 w 748195"/>
              <a:gd name="csY71" fmla="*/ 2070825 h 2076207"/>
              <a:gd name="csX72" fmla="*/ 635822 w 748195"/>
              <a:gd name="csY72" fmla="*/ 2075145 h 2076207"/>
              <a:gd name="csX73" fmla="*/ 588428 w 748195"/>
              <a:gd name="csY73" fmla="*/ 2075144 h 2076207"/>
              <a:gd name="csX74" fmla="*/ 590041 w 748195"/>
              <a:gd name="csY74" fmla="*/ 2071383 h 2076207"/>
              <a:gd name="csX75" fmla="*/ 667788 w 748195"/>
              <a:gd name="csY75" fmla="*/ 2056852 h 2076207"/>
              <a:gd name="csX76" fmla="*/ 706629 w 748195"/>
              <a:gd name="csY76" fmla="*/ 2044290 h 2076207"/>
              <a:gd name="csX77" fmla="*/ 702674 w 748195"/>
              <a:gd name="csY77" fmla="*/ 2041581 h 2076207"/>
              <a:gd name="csX78" fmla="*/ 96263 w 748195"/>
              <a:gd name="csY78" fmla="*/ 2076207 h 2076207"/>
              <a:gd name="csX79" fmla="*/ 489970 w 748195"/>
              <a:gd name="csY79" fmla="*/ 152208 h 2076207"/>
              <a:gd name="csX80" fmla="*/ 490754 w 748195"/>
              <a:gd name="csY80" fmla="*/ 152592 h 2076207"/>
              <a:gd name="csX81" fmla="*/ 489489 w 748195"/>
              <a:gd name="csY81" fmla="*/ 149547 h 2076207"/>
              <a:gd name="csX82" fmla="*/ 393621 w 748195"/>
              <a:gd name="csY82" fmla="*/ 99259 h 2076207"/>
              <a:gd name="csX83" fmla="*/ 390419 w 748195"/>
              <a:gd name="csY83" fmla="*/ 18568 h 2076207"/>
              <a:gd name="csX84" fmla="*/ 334131 w 748195"/>
              <a:gd name="csY84" fmla="*/ 24327 h 2076207"/>
              <a:gd name="csX85" fmla="*/ 344678 w 748195"/>
              <a:gd name="csY85" fmla="*/ 101259 h 2076207"/>
              <a:gd name="csX86" fmla="*/ 298854 w 748195"/>
              <a:gd name="csY86" fmla="*/ 114003 h 2076207"/>
              <a:gd name="csX87" fmla="*/ 237456 w 748195"/>
              <a:gd name="csY87" fmla="*/ 154340 h 2076207"/>
              <a:gd name="csX88" fmla="*/ 240382 w 748195"/>
              <a:gd name="csY88" fmla="*/ 154035 h 2076207"/>
              <a:gd name="csX89" fmla="*/ 262731 w 748195"/>
              <a:gd name="csY89" fmla="*/ 170426 h 2076207"/>
              <a:gd name="csX90" fmla="*/ 279169 w 748195"/>
              <a:gd name="csY90" fmla="*/ 193173 h 2076207"/>
              <a:gd name="csX91" fmla="*/ 327717 w 748195"/>
              <a:gd name="csY91" fmla="*/ 188556 h 2076207"/>
              <a:gd name="csX92" fmla="*/ 348052 w 748195"/>
              <a:gd name="csY92" fmla="*/ 156919 h 2076207"/>
              <a:gd name="csX93" fmla="*/ 380330 w 748195"/>
              <a:gd name="csY93" fmla="*/ 156483 h 2076207"/>
              <a:gd name="csX94" fmla="*/ 408490 w 748195"/>
              <a:gd name="csY94" fmla="*/ 195400 h 2076207"/>
              <a:gd name="csX95" fmla="*/ 445346 w 748195"/>
              <a:gd name="csY95" fmla="*/ 197582 h 2076207"/>
              <a:gd name="csX96" fmla="*/ 464798 w 748195"/>
              <a:gd name="csY96" fmla="*/ 174107 h 2076207"/>
              <a:gd name="csX97" fmla="*/ 489970 w 748195"/>
              <a:gd name="csY97" fmla="*/ 152208 h 2076207"/>
              <a:gd name="csX98" fmla="*/ 140694 w 748195"/>
              <a:gd name="csY98" fmla="*/ 201837 h 2076207"/>
              <a:gd name="csX99" fmla="*/ 139834 w 748195"/>
              <a:gd name="csY99" fmla="*/ 201482 h 2076207"/>
              <a:gd name="csX100" fmla="*/ 140812 w 748195"/>
              <a:gd name="csY100" fmla="*/ 204941 h 2076207"/>
              <a:gd name="csX101" fmla="*/ 144631 w 748195"/>
              <a:gd name="csY101" fmla="*/ 217811 h 2076207"/>
              <a:gd name="csX102" fmla="*/ 201241 w 748195"/>
              <a:gd name="csY102" fmla="*/ 373387 h 2076207"/>
              <a:gd name="csX103" fmla="*/ 235971 w 748195"/>
              <a:gd name="csY103" fmla="*/ 504451 h 2076207"/>
              <a:gd name="csX104" fmla="*/ 247475 w 748195"/>
              <a:gd name="csY104" fmla="*/ 513241 h 2076207"/>
              <a:gd name="csX105" fmla="*/ 289066 w 748195"/>
              <a:gd name="csY105" fmla="*/ 511170 h 2076207"/>
              <a:gd name="csX106" fmla="*/ 378229 w 748195"/>
              <a:gd name="csY106" fmla="*/ 511084 h 2076207"/>
              <a:gd name="csX107" fmla="*/ 470850 w 748195"/>
              <a:gd name="csY107" fmla="*/ 516341 h 2076207"/>
              <a:gd name="csX108" fmla="*/ 492933 w 748195"/>
              <a:gd name="csY108" fmla="*/ 497969 h 2076207"/>
              <a:gd name="csX109" fmla="*/ 557617 w 748195"/>
              <a:gd name="csY109" fmla="*/ 280398 h 2076207"/>
              <a:gd name="csX110" fmla="*/ 588788 w 748195"/>
              <a:gd name="csY110" fmla="*/ 200385 h 2076207"/>
              <a:gd name="csX111" fmla="*/ 530958 w 748195"/>
              <a:gd name="csY111" fmla="*/ 232968 h 2076207"/>
              <a:gd name="csX112" fmla="*/ 483823 w 748195"/>
              <a:gd name="csY112" fmla="*/ 190364 h 2076207"/>
              <a:gd name="csX113" fmla="*/ 466649 w 748195"/>
              <a:gd name="csY113" fmla="*/ 209061 h 2076207"/>
              <a:gd name="csX114" fmla="*/ 399941 w 748195"/>
              <a:gd name="csY114" fmla="*/ 216988 h 2076207"/>
              <a:gd name="csX115" fmla="*/ 363018 w 748195"/>
              <a:gd name="csY115" fmla="*/ 179615 h 2076207"/>
              <a:gd name="csX116" fmla="*/ 308839 w 748195"/>
              <a:gd name="csY116" fmla="*/ 227846 h 2076207"/>
              <a:gd name="csX117" fmla="*/ 245077 w 748195"/>
              <a:gd name="csY117" fmla="*/ 192402 h 2076207"/>
              <a:gd name="csX118" fmla="*/ 242829 w 748195"/>
              <a:gd name="csY118" fmla="*/ 198815 h 2076207"/>
              <a:gd name="csX119" fmla="*/ 168452 w 748195"/>
              <a:gd name="csY119" fmla="*/ 219348 h 2076207"/>
              <a:gd name="csX120" fmla="*/ 140694 w 748195"/>
              <a:gd name="csY120" fmla="*/ 201837 h 2076207"/>
              <a:gd name="csX121" fmla="*/ 259999 w 748195"/>
              <a:gd name="csY121" fmla="*/ 966699 h 2076207"/>
              <a:gd name="csX122" fmla="*/ 257072 w 748195"/>
              <a:gd name="csY122" fmla="*/ 1070424 h 2076207"/>
              <a:gd name="csX123" fmla="*/ 251372 w 748195"/>
              <a:gd name="csY123" fmla="*/ 1157618 h 2076207"/>
              <a:gd name="csX124" fmla="*/ 232677 w 748195"/>
              <a:gd name="csY124" fmla="*/ 1320279 h 2076207"/>
              <a:gd name="csX125" fmla="*/ 209182 w 748195"/>
              <a:gd name="csY125" fmla="*/ 1468667 h 2076207"/>
              <a:gd name="csX126" fmla="*/ 175302 w 748195"/>
              <a:gd name="csY126" fmla="*/ 1616623 h 2076207"/>
              <a:gd name="csX127" fmla="*/ 182769 w 748195"/>
              <a:gd name="csY127" fmla="*/ 1629786 h 2076207"/>
              <a:gd name="csX128" fmla="*/ 212156 w 748195"/>
              <a:gd name="csY128" fmla="*/ 1632656 h 2076207"/>
              <a:gd name="csX129" fmla="*/ 351295 w 748195"/>
              <a:gd name="csY129" fmla="*/ 1632801 h 2076207"/>
              <a:gd name="csX130" fmla="*/ 376150 w 748195"/>
              <a:gd name="csY130" fmla="*/ 1608307 h 2076207"/>
              <a:gd name="csX131" fmla="*/ 373450 w 748195"/>
              <a:gd name="csY131" fmla="*/ 1457291 h 2076207"/>
              <a:gd name="csX132" fmla="*/ 370936 w 748195"/>
              <a:gd name="csY132" fmla="*/ 1342736 h 2076207"/>
              <a:gd name="csX133" fmla="*/ 368328 w 748195"/>
              <a:gd name="csY133" fmla="*/ 1203878 h 2076207"/>
              <a:gd name="csX134" fmla="*/ 367836 w 748195"/>
              <a:gd name="csY134" fmla="*/ 813478 h 2076207"/>
              <a:gd name="csX135" fmla="*/ 365240 w 748195"/>
              <a:gd name="csY135" fmla="*/ 773243 h 2076207"/>
              <a:gd name="csX136" fmla="*/ 353084 w 748195"/>
              <a:gd name="csY136" fmla="*/ 762083 h 2076207"/>
              <a:gd name="csX137" fmla="*/ 280966 w 748195"/>
              <a:gd name="csY137" fmla="*/ 759855 h 2076207"/>
              <a:gd name="csX138" fmla="*/ 259965 w 748195"/>
              <a:gd name="csY138" fmla="*/ 779553 h 2076207"/>
              <a:gd name="csX139" fmla="*/ 262341 w 748195"/>
              <a:gd name="csY139" fmla="*/ 856275 h 2076207"/>
              <a:gd name="csX140" fmla="*/ 259999 w 748195"/>
              <a:gd name="csY140" fmla="*/ 966699 h 2076207"/>
              <a:gd name="csX141" fmla="*/ 55556 w 748195"/>
              <a:gd name="csY141" fmla="*/ 1835827 h 2076207"/>
              <a:gd name="csX142" fmla="*/ 49393 w 748195"/>
              <a:gd name="csY142" fmla="*/ 1878155 h 2076207"/>
              <a:gd name="csX143" fmla="*/ 73949 w 748195"/>
              <a:gd name="csY143" fmla="*/ 1905781 h 2076207"/>
              <a:gd name="csX144" fmla="*/ 110073 w 748195"/>
              <a:gd name="csY144" fmla="*/ 1909068 h 2076207"/>
              <a:gd name="csX145" fmla="*/ 224745 w 748195"/>
              <a:gd name="csY145" fmla="*/ 1921652 h 2076207"/>
              <a:gd name="csX146" fmla="*/ 347327 w 748195"/>
              <a:gd name="csY146" fmla="*/ 1924778 h 2076207"/>
              <a:gd name="csX147" fmla="*/ 363345 w 748195"/>
              <a:gd name="csY147" fmla="*/ 1923293 h 2076207"/>
              <a:gd name="csX148" fmla="*/ 373787 w 748195"/>
              <a:gd name="csY148" fmla="*/ 1911200 h 2076207"/>
              <a:gd name="csX149" fmla="*/ 376623 w 748195"/>
              <a:gd name="csY149" fmla="*/ 1696741 h 2076207"/>
              <a:gd name="csX150" fmla="*/ 360437 w 748195"/>
              <a:gd name="csY150" fmla="*/ 1681289 h 2076207"/>
              <a:gd name="csX151" fmla="*/ 263503 w 748195"/>
              <a:gd name="csY151" fmla="*/ 1678179 h 2076207"/>
              <a:gd name="csX152" fmla="*/ 160381 w 748195"/>
              <a:gd name="csY152" fmla="*/ 1670405 h 2076207"/>
              <a:gd name="csX153" fmla="*/ 143321 w 748195"/>
              <a:gd name="csY153" fmla="*/ 1685538 h 2076207"/>
              <a:gd name="csX154" fmla="*/ 124769 w 748195"/>
              <a:gd name="csY154" fmla="*/ 1738195 h 2076207"/>
              <a:gd name="csX155" fmla="*/ 90593 w 748195"/>
              <a:gd name="csY155" fmla="*/ 1779570 h 2076207"/>
              <a:gd name="csX156" fmla="*/ 55556 w 748195"/>
              <a:gd name="csY156" fmla="*/ 1835827 h 2076207"/>
              <a:gd name="csX157" fmla="*/ 378900 w 748195"/>
              <a:gd name="csY157" fmla="*/ 2007280 h 2076207"/>
              <a:gd name="csX158" fmla="*/ 378887 w 748195"/>
              <a:gd name="csY158" fmla="*/ 1995127 h 2076207"/>
              <a:gd name="csX159" fmla="*/ 359084 w 748195"/>
              <a:gd name="csY159" fmla="*/ 1975964 h 2076207"/>
              <a:gd name="csX160" fmla="*/ 247288 w 748195"/>
              <a:gd name="csY160" fmla="*/ 1973305 h 2076207"/>
              <a:gd name="csX161" fmla="*/ 201692 w 748195"/>
              <a:gd name="csY161" fmla="*/ 1970275 h 2076207"/>
              <a:gd name="csX162" fmla="*/ 57962 w 748195"/>
              <a:gd name="csY162" fmla="*/ 1952648 h 2076207"/>
              <a:gd name="csX163" fmla="*/ 39194 w 748195"/>
              <a:gd name="csY163" fmla="*/ 1963552 h 2076207"/>
              <a:gd name="csX164" fmla="*/ 30066 w 748195"/>
              <a:gd name="csY164" fmla="*/ 2006631 h 2076207"/>
              <a:gd name="csX165" fmla="*/ 40232 w 748195"/>
              <a:gd name="csY165" fmla="*/ 2019486 h 2076207"/>
              <a:gd name="csX166" fmla="*/ 238186 w 748195"/>
              <a:gd name="csY166" fmla="*/ 2046096 h 2076207"/>
              <a:gd name="csX167" fmla="*/ 342155 w 748195"/>
              <a:gd name="csY167" fmla="*/ 2046441 h 2076207"/>
              <a:gd name="csX168" fmla="*/ 378900 w 748195"/>
              <a:gd name="csY168" fmla="*/ 2007280 h 2076207"/>
              <a:gd name="csX169" fmla="*/ 310220 w 748195"/>
              <a:gd name="csY169" fmla="*/ 554288 h 2076207"/>
              <a:gd name="csX170" fmla="*/ 259136 w 748195"/>
              <a:gd name="csY170" fmla="*/ 556881 h 2076207"/>
              <a:gd name="csX171" fmla="*/ 249085 w 748195"/>
              <a:gd name="csY171" fmla="*/ 567981 h 2076207"/>
              <a:gd name="csX172" fmla="*/ 249141 w 748195"/>
              <a:gd name="csY172" fmla="*/ 605644 h 2076207"/>
              <a:gd name="csX173" fmla="*/ 262628 w 748195"/>
              <a:gd name="csY173" fmla="*/ 605627 h 2076207"/>
              <a:gd name="csX174" fmla="*/ 369608 w 748195"/>
              <a:gd name="csY174" fmla="*/ 603027 h 2076207"/>
              <a:gd name="csX175" fmla="*/ 463931 w 748195"/>
              <a:gd name="csY175" fmla="*/ 605146 h 2076207"/>
              <a:gd name="csX176" fmla="*/ 478113 w 748195"/>
              <a:gd name="csY176" fmla="*/ 595843 h 2076207"/>
              <a:gd name="csX177" fmla="*/ 478796 w 748195"/>
              <a:gd name="csY177" fmla="*/ 556832 h 2076207"/>
              <a:gd name="csX178" fmla="*/ 310220 w 748195"/>
              <a:gd name="csY178" fmla="*/ 554288 h 2076207"/>
              <a:gd name="csX179" fmla="*/ 348836 w 748195"/>
              <a:gd name="csY179" fmla="*/ 684115 h 2076207"/>
              <a:gd name="csX180" fmla="*/ 281333 w 748195"/>
              <a:gd name="csY180" fmla="*/ 683313 h 2076207"/>
              <a:gd name="csX181" fmla="*/ 212728 w 748195"/>
              <a:gd name="csY181" fmla="*/ 681931 h 2076207"/>
              <a:gd name="csX182" fmla="*/ 187283 w 748195"/>
              <a:gd name="csY182" fmla="*/ 689555 h 2076207"/>
              <a:gd name="csX183" fmla="*/ 186163 w 748195"/>
              <a:gd name="csY183" fmla="*/ 718266 h 2076207"/>
              <a:gd name="csX184" fmla="*/ 209894 w 748195"/>
              <a:gd name="csY184" fmla="*/ 726798 h 2076207"/>
              <a:gd name="csX185" fmla="*/ 334814 w 748195"/>
              <a:gd name="csY185" fmla="*/ 732494 h 2076207"/>
              <a:gd name="csX186" fmla="*/ 364856 w 748195"/>
              <a:gd name="csY186" fmla="*/ 707963 h 2076207"/>
              <a:gd name="csX187" fmla="*/ 348836 w 748195"/>
              <a:gd name="csY187" fmla="*/ 684115 h 2076207"/>
              <a:gd name="csX188" fmla="*/ 298865 w 748195"/>
              <a:gd name="csY188" fmla="*/ 621954 h 2076207"/>
              <a:gd name="csX189" fmla="*/ 251619 w 748195"/>
              <a:gd name="csY189" fmla="*/ 622133 h 2076207"/>
              <a:gd name="csX190" fmla="*/ 214459 w 748195"/>
              <a:gd name="csY190" fmla="*/ 636230 h 2076207"/>
              <a:gd name="csX191" fmla="*/ 221436 w 748195"/>
              <a:gd name="csY191" fmla="*/ 654205 h 2076207"/>
              <a:gd name="csX192" fmla="*/ 272412 w 748195"/>
              <a:gd name="csY192" fmla="*/ 657250 h 2076207"/>
              <a:gd name="csX193" fmla="*/ 349094 w 748195"/>
              <a:gd name="csY193" fmla="*/ 659282 h 2076207"/>
              <a:gd name="csX194" fmla="*/ 362996 w 748195"/>
              <a:gd name="csY194" fmla="*/ 644234 h 2076207"/>
              <a:gd name="csX195" fmla="*/ 348472 w 748195"/>
              <a:gd name="csY195" fmla="*/ 624649 h 2076207"/>
              <a:gd name="csX196" fmla="*/ 298865 w 748195"/>
              <a:gd name="csY196" fmla="*/ 621954 h 2076207"/>
              <a:gd name="csX197" fmla="*/ 227796 w 748195"/>
              <a:gd name="csY197" fmla="*/ 528000 h 2076207"/>
              <a:gd name="csX198" fmla="*/ 241009 w 748195"/>
              <a:gd name="csY198" fmla="*/ 545897 h 2076207"/>
              <a:gd name="csX199" fmla="*/ 282607 w 748195"/>
              <a:gd name="csY199" fmla="*/ 543480 h 2076207"/>
              <a:gd name="csX200" fmla="*/ 354213 w 748195"/>
              <a:gd name="csY200" fmla="*/ 543384 h 2076207"/>
              <a:gd name="csX201" fmla="*/ 365334 w 748195"/>
              <a:gd name="csY201" fmla="*/ 533397 h 2076207"/>
              <a:gd name="csX202" fmla="*/ 354531 w 748195"/>
              <a:gd name="csY202" fmla="*/ 521620 h 2076207"/>
              <a:gd name="csX203" fmla="*/ 259169 w 748195"/>
              <a:gd name="csY203" fmla="*/ 521978 h 2076207"/>
              <a:gd name="csX204" fmla="*/ 227796 w 748195"/>
              <a:gd name="csY204" fmla="*/ 528000 h 2076207"/>
              <a:gd name="csX205" fmla="*/ 508068 w 748195"/>
              <a:gd name="csY205" fmla="*/ 190710 h 2076207"/>
              <a:gd name="csX206" fmla="*/ 521293 w 748195"/>
              <a:gd name="csY206" fmla="*/ 205907 h 2076207"/>
              <a:gd name="csX207" fmla="*/ 525175 w 748195"/>
              <a:gd name="csY207" fmla="*/ 202985 h 2076207"/>
              <a:gd name="csX208" fmla="*/ 500276 w 748195"/>
              <a:gd name="csY208" fmla="*/ 160640 h 2076207"/>
              <a:gd name="csX209" fmla="*/ 497122 w 748195"/>
              <a:gd name="csY209" fmla="*/ 162007 h 2076207"/>
              <a:gd name="csX210" fmla="*/ 508068 w 748195"/>
              <a:gd name="csY210" fmla="*/ 190710 h 2076207"/>
              <a:gd name="csX211" fmla="*/ 215522 w 748195"/>
              <a:gd name="csY211" fmla="*/ 197296 h 2076207"/>
              <a:gd name="csX212" fmla="*/ 234029 w 748195"/>
              <a:gd name="csY212" fmla="*/ 162725 h 2076207"/>
              <a:gd name="csX213" fmla="*/ 229000 w 748195"/>
              <a:gd name="csY213" fmla="*/ 159902 h 2076207"/>
              <a:gd name="csX214" fmla="*/ 204824 w 748195"/>
              <a:gd name="csY214" fmla="*/ 199677 h 2076207"/>
              <a:gd name="csX215" fmla="*/ 207990 w 748195"/>
              <a:gd name="csY215" fmla="*/ 202198 h 2076207"/>
              <a:gd name="csX216" fmla="*/ 215522 w 748195"/>
              <a:gd name="csY216" fmla="*/ 197296 h 2076207"/>
              <a:gd name="csX217" fmla="*/ 484400 w 748195"/>
              <a:gd name="csY217" fmla="*/ 896678 h 2076207"/>
              <a:gd name="csX218" fmla="*/ 486181 w 748195"/>
              <a:gd name="csY218" fmla="*/ 896585 h 2076207"/>
              <a:gd name="csX219" fmla="*/ 486181 w 748195"/>
              <a:gd name="csY219" fmla="*/ 795289 h 2076207"/>
              <a:gd name="csX220" fmla="*/ 720241 w 748195"/>
              <a:gd name="csY220" fmla="*/ 2030666 h 2076207"/>
              <a:gd name="csX221" fmla="*/ 721175 w 748195"/>
              <a:gd name="csY221" fmla="*/ 2029733 h 2076207"/>
              <a:gd name="csX222" fmla="*/ 720241 w 748195"/>
              <a:gd name="csY222" fmla="*/ 2030666 h 2076207"/>
              <a:gd name="csX223" fmla="*/ 715702 w 748195"/>
              <a:gd name="csY223" fmla="*/ 2037051 h 2076207"/>
              <a:gd name="csX224" fmla="*/ 715702 w 748195"/>
              <a:gd name="csY224" fmla="*/ 2037051 h 2076207"/>
              <a:gd name="csX0" fmla="*/ 96263 w 748195"/>
              <a:gd name="csY0" fmla="*/ 2076207 h 2076207"/>
              <a:gd name="csX1" fmla="*/ 63862 w 748195"/>
              <a:gd name="csY1" fmla="*/ 2065388 h 2076207"/>
              <a:gd name="csX2" fmla="*/ 16555 w 748195"/>
              <a:gd name="csY2" fmla="*/ 2050152 h 2076207"/>
              <a:gd name="csX3" fmla="*/ 15 w 748195"/>
              <a:gd name="csY3" fmla="*/ 2023802 h 2076207"/>
              <a:gd name="csX4" fmla="*/ 18368 w 748195"/>
              <a:gd name="csY4" fmla="*/ 1940709 h 2076207"/>
              <a:gd name="csX5" fmla="*/ 22139 w 748195"/>
              <a:gd name="csY5" fmla="*/ 1907268 h 2076207"/>
              <a:gd name="csX6" fmla="*/ 57941 w 748195"/>
              <a:gd name="csY6" fmla="*/ 1774163 h 2076207"/>
              <a:gd name="csX7" fmla="*/ 102478 w 748195"/>
              <a:gd name="csY7" fmla="*/ 1720275 h 2076207"/>
              <a:gd name="csX8" fmla="*/ 108579 w 748195"/>
              <a:gd name="csY8" fmla="*/ 1650967 h 2076207"/>
              <a:gd name="csX9" fmla="*/ 115628 w 748195"/>
              <a:gd name="csY9" fmla="*/ 1625405 h 2076207"/>
              <a:gd name="csX10" fmla="*/ 156323 w 748195"/>
              <a:gd name="csY10" fmla="*/ 1560181 h 2076207"/>
              <a:gd name="csX11" fmla="*/ 199424 w 748195"/>
              <a:gd name="csY11" fmla="*/ 1364729 h 2076207"/>
              <a:gd name="csX12" fmla="*/ 216779 w 748195"/>
              <a:gd name="csY12" fmla="*/ 1219490 h 2076207"/>
              <a:gd name="csX13" fmla="*/ 229755 w 748195"/>
              <a:gd name="csY13" fmla="*/ 1099357 h 2076207"/>
              <a:gd name="csX14" fmla="*/ 232707 w 748195"/>
              <a:gd name="csY14" fmla="*/ 1056423 h 2076207"/>
              <a:gd name="csX15" fmla="*/ 235622 w 748195"/>
              <a:gd name="csY15" fmla="*/ 952675 h 2076207"/>
              <a:gd name="csX16" fmla="*/ 235445 w 748195"/>
              <a:gd name="csY16" fmla="*/ 780278 h 2076207"/>
              <a:gd name="csX17" fmla="*/ 214544 w 748195"/>
              <a:gd name="csY17" fmla="*/ 756435 h 2076207"/>
              <a:gd name="csX18" fmla="*/ 172569 w 748195"/>
              <a:gd name="csY18" fmla="*/ 742582 h 2076207"/>
              <a:gd name="csX19" fmla="*/ 168784 w 748195"/>
              <a:gd name="csY19" fmla="*/ 669116 h 2076207"/>
              <a:gd name="csX20" fmla="*/ 191657 w 748195"/>
              <a:gd name="csY20" fmla="*/ 630765 h 2076207"/>
              <a:gd name="csX21" fmla="*/ 208150 w 748195"/>
              <a:gd name="csY21" fmla="*/ 609084 h 2076207"/>
              <a:gd name="csX22" fmla="*/ 216756 w 748195"/>
              <a:gd name="csY22" fmla="*/ 558673 h 2076207"/>
              <a:gd name="csX23" fmla="*/ 209092 w 748195"/>
              <a:gd name="csY23" fmla="*/ 521540 h 2076207"/>
              <a:gd name="csX24" fmla="*/ 204683 w 748195"/>
              <a:gd name="csY24" fmla="*/ 474024 h 2076207"/>
              <a:gd name="csX25" fmla="*/ 115483 w 748195"/>
              <a:gd name="csY25" fmla="*/ 213499 h 2076207"/>
              <a:gd name="csX26" fmla="*/ 102909 w 748195"/>
              <a:gd name="csY26" fmla="*/ 182297 h 2076207"/>
              <a:gd name="csX27" fmla="*/ 104315 w 748195"/>
              <a:gd name="csY27" fmla="*/ 163968 h 2076207"/>
              <a:gd name="csX28" fmla="*/ 122444 w 748195"/>
              <a:gd name="csY28" fmla="*/ 160805 h 2076207"/>
              <a:gd name="csX29" fmla="*/ 170283 w 748195"/>
              <a:gd name="csY29" fmla="*/ 187783 h 2076207"/>
              <a:gd name="csX30" fmla="*/ 180938 w 748195"/>
              <a:gd name="csY30" fmla="*/ 195322 h 2076207"/>
              <a:gd name="csX31" fmla="*/ 221419 w 748195"/>
              <a:gd name="csY31" fmla="*/ 138058 h 2076207"/>
              <a:gd name="csX32" fmla="*/ 294099 w 748195"/>
              <a:gd name="csY32" fmla="*/ 91372 h 2076207"/>
              <a:gd name="csX33" fmla="*/ 302307 w 748195"/>
              <a:gd name="csY33" fmla="*/ 76560 h 2076207"/>
              <a:gd name="csX34" fmla="*/ 320284 w 748195"/>
              <a:gd name="csY34" fmla="*/ 8414 h 2076207"/>
              <a:gd name="csX35" fmla="*/ 324784 w 748195"/>
              <a:gd name="csY35" fmla="*/ 946 h 2076207"/>
              <a:gd name="csX36" fmla="*/ 399212 w 748195"/>
              <a:gd name="csY36" fmla="*/ 0 h 2076207"/>
              <a:gd name="csX37" fmla="*/ 425980 w 748195"/>
              <a:gd name="csY37" fmla="*/ 78301 h 2076207"/>
              <a:gd name="csX38" fmla="*/ 431861 w 748195"/>
              <a:gd name="csY38" fmla="*/ 90312 h 2076207"/>
              <a:gd name="csX39" fmla="*/ 540349 w 748195"/>
              <a:gd name="csY39" fmla="*/ 187946 h 2076207"/>
              <a:gd name="csX40" fmla="*/ 545555 w 748195"/>
              <a:gd name="csY40" fmla="*/ 197828 h 2076207"/>
              <a:gd name="csX41" fmla="*/ 587318 w 748195"/>
              <a:gd name="csY41" fmla="*/ 171260 h 2076207"/>
              <a:gd name="csX42" fmla="*/ 601503 w 748195"/>
              <a:gd name="csY42" fmla="*/ 163707 h 2076207"/>
              <a:gd name="csX43" fmla="*/ 625254 w 748195"/>
              <a:gd name="csY43" fmla="*/ 163123 h 2076207"/>
              <a:gd name="csX44" fmla="*/ 625468 w 748195"/>
              <a:gd name="csY44" fmla="*/ 187579 h 2076207"/>
              <a:gd name="csX45" fmla="*/ 597543 w 748195"/>
              <a:gd name="csY45" fmla="*/ 251872 h 2076207"/>
              <a:gd name="csX46" fmla="*/ 531831 w 748195"/>
              <a:gd name="csY46" fmla="*/ 442689 h 2076207"/>
              <a:gd name="csX47" fmla="*/ 519888 w 748195"/>
              <a:gd name="csY47" fmla="*/ 501474 h 2076207"/>
              <a:gd name="csX48" fmla="*/ 522506 w 748195"/>
              <a:gd name="csY48" fmla="*/ 525086 h 2076207"/>
              <a:gd name="csX49" fmla="*/ 516235 w 748195"/>
              <a:gd name="csY49" fmla="*/ 555946 h 2076207"/>
              <a:gd name="csX50" fmla="*/ 521332 w 748195"/>
              <a:gd name="csY50" fmla="*/ 610676 h 2076207"/>
              <a:gd name="csX51" fmla="*/ 541382 w 748195"/>
              <a:gd name="csY51" fmla="*/ 642597 h 2076207"/>
              <a:gd name="csX52" fmla="*/ 557031 w 748195"/>
              <a:gd name="csY52" fmla="*/ 667949 h 2076207"/>
              <a:gd name="csX53" fmla="*/ 553994 w 748195"/>
              <a:gd name="csY53" fmla="*/ 744146 h 2076207"/>
              <a:gd name="csX54" fmla="*/ 508215 w 748195"/>
              <a:gd name="csY54" fmla="*/ 758841 h 2076207"/>
              <a:gd name="csX55" fmla="*/ 497442 w 748195"/>
              <a:gd name="csY55" fmla="*/ 771256 h 2076207"/>
              <a:gd name="csX56" fmla="*/ 493005 w 748195"/>
              <a:gd name="csY56" fmla="*/ 922055 h 2076207"/>
              <a:gd name="csX57" fmla="*/ 502900 w 748195"/>
              <a:gd name="csY57" fmla="*/ 1114191 h 2076207"/>
              <a:gd name="csX58" fmla="*/ 508800 w 748195"/>
              <a:gd name="csY58" fmla="*/ 1205474 h 2076207"/>
              <a:gd name="csX59" fmla="*/ 522952 w 748195"/>
              <a:gd name="csY59" fmla="*/ 1320065 h 2076207"/>
              <a:gd name="csX60" fmla="*/ 554682 w 748195"/>
              <a:gd name="csY60" fmla="*/ 1501203 h 2076207"/>
              <a:gd name="csX61" fmla="*/ 576958 w 748195"/>
              <a:gd name="csY61" fmla="*/ 1593963 h 2076207"/>
              <a:gd name="csX62" fmla="*/ 595349 w 748195"/>
              <a:gd name="csY62" fmla="*/ 1613498 h 2076207"/>
              <a:gd name="csX63" fmla="*/ 613936 w 748195"/>
              <a:gd name="csY63" fmla="*/ 1624058 h 2076207"/>
              <a:gd name="csX64" fmla="*/ 620938 w 748195"/>
              <a:gd name="csY64" fmla="*/ 1652071 h 2076207"/>
              <a:gd name="csX65" fmla="*/ 630805 w 748195"/>
              <a:gd name="csY65" fmla="*/ 1721702 h 2076207"/>
              <a:gd name="csX66" fmla="*/ 685830 w 748195"/>
              <a:gd name="csY66" fmla="*/ 1792915 h 2076207"/>
              <a:gd name="csX67" fmla="*/ 708904 w 748195"/>
              <a:gd name="csY67" fmla="*/ 1890290 h 2076207"/>
              <a:gd name="csX68" fmla="*/ 716580 w 748195"/>
              <a:gd name="csY68" fmla="*/ 1951136 h 2076207"/>
              <a:gd name="csX69" fmla="*/ 729397 w 748195"/>
              <a:gd name="csY69" fmla="*/ 2030261 h 2076207"/>
              <a:gd name="csX70" fmla="*/ 714212 w 748195"/>
              <a:gd name="csY70" fmla="*/ 2049544 h 2076207"/>
              <a:gd name="csX71" fmla="*/ 645428 w 748195"/>
              <a:gd name="csY71" fmla="*/ 2070825 h 2076207"/>
              <a:gd name="csX72" fmla="*/ 635822 w 748195"/>
              <a:gd name="csY72" fmla="*/ 2075145 h 2076207"/>
              <a:gd name="csX73" fmla="*/ 588428 w 748195"/>
              <a:gd name="csY73" fmla="*/ 2075144 h 2076207"/>
              <a:gd name="csX74" fmla="*/ 667788 w 748195"/>
              <a:gd name="csY74" fmla="*/ 2056852 h 2076207"/>
              <a:gd name="csX75" fmla="*/ 706629 w 748195"/>
              <a:gd name="csY75" fmla="*/ 2044290 h 2076207"/>
              <a:gd name="csX76" fmla="*/ 702674 w 748195"/>
              <a:gd name="csY76" fmla="*/ 2041581 h 2076207"/>
              <a:gd name="csX77" fmla="*/ 96263 w 748195"/>
              <a:gd name="csY77" fmla="*/ 2076207 h 2076207"/>
              <a:gd name="csX78" fmla="*/ 489970 w 748195"/>
              <a:gd name="csY78" fmla="*/ 152208 h 2076207"/>
              <a:gd name="csX79" fmla="*/ 490754 w 748195"/>
              <a:gd name="csY79" fmla="*/ 152592 h 2076207"/>
              <a:gd name="csX80" fmla="*/ 489489 w 748195"/>
              <a:gd name="csY80" fmla="*/ 149547 h 2076207"/>
              <a:gd name="csX81" fmla="*/ 393621 w 748195"/>
              <a:gd name="csY81" fmla="*/ 99259 h 2076207"/>
              <a:gd name="csX82" fmla="*/ 390419 w 748195"/>
              <a:gd name="csY82" fmla="*/ 18568 h 2076207"/>
              <a:gd name="csX83" fmla="*/ 334131 w 748195"/>
              <a:gd name="csY83" fmla="*/ 24327 h 2076207"/>
              <a:gd name="csX84" fmla="*/ 344678 w 748195"/>
              <a:gd name="csY84" fmla="*/ 101259 h 2076207"/>
              <a:gd name="csX85" fmla="*/ 298854 w 748195"/>
              <a:gd name="csY85" fmla="*/ 114003 h 2076207"/>
              <a:gd name="csX86" fmla="*/ 237456 w 748195"/>
              <a:gd name="csY86" fmla="*/ 154340 h 2076207"/>
              <a:gd name="csX87" fmla="*/ 240382 w 748195"/>
              <a:gd name="csY87" fmla="*/ 154035 h 2076207"/>
              <a:gd name="csX88" fmla="*/ 262731 w 748195"/>
              <a:gd name="csY88" fmla="*/ 170426 h 2076207"/>
              <a:gd name="csX89" fmla="*/ 279169 w 748195"/>
              <a:gd name="csY89" fmla="*/ 193173 h 2076207"/>
              <a:gd name="csX90" fmla="*/ 327717 w 748195"/>
              <a:gd name="csY90" fmla="*/ 188556 h 2076207"/>
              <a:gd name="csX91" fmla="*/ 348052 w 748195"/>
              <a:gd name="csY91" fmla="*/ 156919 h 2076207"/>
              <a:gd name="csX92" fmla="*/ 380330 w 748195"/>
              <a:gd name="csY92" fmla="*/ 156483 h 2076207"/>
              <a:gd name="csX93" fmla="*/ 408490 w 748195"/>
              <a:gd name="csY93" fmla="*/ 195400 h 2076207"/>
              <a:gd name="csX94" fmla="*/ 445346 w 748195"/>
              <a:gd name="csY94" fmla="*/ 197582 h 2076207"/>
              <a:gd name="csX95" fmla="*/ 464798 w 748195"/>
              <a:gd name="csY95" fmla="*/ 174107 h 2076207"/>
              <a:gd name="csX96" fmla="*/ 489970 w 748195"/>
              <a:gd name="csY96" fmla="*/ 152208 h 2076207"/>
              <a:gd name="csX97" fmla="*/ 140694 w 748195"/>
              <a:gd name="csY97" fmla="*/ 201837 h 2076207"/>
              <a:gd name="csX98" fmla="*/ 139834 w 748195"/>
              <a:gd name="csY98" fmla="*/ 201482 h 2076207"/>
              <a:gd name="csX99" fmla="*/ 140812 w 748195"/>
              <a:gd name="csY99" fmla="*/ 204941 h 2076207"/>
              <a:gd name="csX100" fmla="*/ 144631 w 748195"/>
              <a:gd name="csY100" fmla="*/ 217811 h 2076207"/>
              <a:gd name="csX101" fmla="*/ 201241 w 748195"/>
              <a:gd name="csY101" fmla="*/ 373387 h 2076207"/>
              <a:gd name="csX102" fmla="*/ 235971 w 748195"/>
              <a:gd name="csY102" fmla="*/ 504451 h 2076207"/>
              <a:gd name="csX103" fmla="*/ 247475 w 748195"/>
              <a:gd name="csY103" fmla="*/ 513241 h 2076207"/>
              <a:gd name="csX104" fmla="*/ 289066 w 748195"/>
              <a:gd name="csY104" fmla="*/ 511170 h 2076207"/>
              <a:gd name="csX105" fmla="*/ 378229 w 748195"/>
              <a:gd name="csY105" fmla="*/ 511084 h 2076207"/>
              <a:gd name="csX106" fmla="*/ 470850 w 748195"/>
              <a:gd name="csY106" fmla="*/ 516341 h 2076207"/>
              <a:gd name="csX107" fmla="*/ 492933 w 748195"/>
              <a:gd name="csY107" fmla="*/ 497969 h 2076207"/>
              <a:gd name="csX108" fmla="*/ 557617 w 748195"/>
              <a:gd name="csY108" fmla="*/ 280398 h 2076207"/>
              <a:gd name="csX109" fmla="*/ 588788 w 748195"/>
              <a:gd name="csY109" fmla="*/ 200385 h 2076207"/>
              <a:gd name="csX110" fmla="*/ 530958 w 748195"/>
              <a:gd name="csY110" fmla="*/ 232968 h 2076207"/>
              <a:gd name="csX111" fmla="*/ 483823 w 748195"/>
              <a:gd name="csY111" fmla="*/ 190364 h 2076207"/>
              <a:gd name="csX112" fmla="*/ 466649 w 748195"/>
              <a:gd name="csY112" fmla="*/ 209061 h 2076207"/>
              <a:gd name="csX113" fmla="*/ 399941 w 748195"/>
              <a:gd name="csY113" fmla="*/ 216988 h 2076207"/>
              <a:gd name="csX114" fmla="*/ 363018 w 748195"/>
              <a:gd name="csY114" fmla="*/ 179615 h 2076207"/>
              <a:gd name="csX115" fmla="*/ 308839 w 748195"/>
              <a:gd name="csY115" fmla="*/ 227846 h 2076207"/>
              <a:gd name="csX116" fmla="*/ 245077 w 748195"/>
              <a:gd name="csY116" fmla="*/ 192402 h 2076207"/>
              <a:gd name="csX117" fmla="*/ 242829 w 748195"/>
              <a:gd name="csY117" fmla="*/ 198815 h 2076207"/>
              <a:gd name="csX118" fmla="*/ 168452 w 748195"/>
              <a:gd name="csY118" fmla="*/ 219348 h 2076207"/>
              <a:gd name="csX119" fmla="*/ 140694 w 748195"/>
              <a:gd name="csY119" fmla="*/ 201837 h 2076207"/>
              <a:gd name="csX120" fmla="*/ 259999 w 748195"/>
              <a:gd name="csY120" fmla="*/ 966699 h 2076207"/>
              <a:gd name="csX121" fmla="*/ 257072 w 748195"/>
              <a:gd name="csY121" fmla="*/ 1070424 h 2076207"/>
              <a:gd name="csX122" fmla="*/ 251372 w 748195"/>
              <a:gd name="csY122" fmla="*/ 1157618 h 2076207"/>
              <a:gd name="csX123" fmla="*/ 232677 w 748195"/>
              <a:gd name="csY123" fmla="*/ 1320279 h 2076207"/>
              <a:gd name="csX124" fmla="*/ 209182 w 748195"/>
              <a:gd name="csY124" fmla="*/ 1468667 h 2076207"/>
              <a:gd name="csX125" fmla="*/ 175302 w 748195"/>
              <a:gd name="csY125" fmla="*/ 1616623 h 2076207"/>
              <a:gd name="csX126" fmla="*/ 182769 w 748195"/>
              <a:gd name="csY126" fmla="*/ 1629786 h 2076207"/>
              <a:gd name="csX127" fmla="*/ 212156 w 748195"/>
              <a:gd name="csY127" fmla="*/ 1632656 h 2076207"/>
              <a:gd name="csX128" fmla="*/ 351295 w 748195"/>
              <a:gd name="csY128" fmla="*/ 1632801 h 2076207"/>
              <a:gd name="csX129" fmla="*/ 376150 w 748195"/>
              <a:gd name="csY129" fmla="*/ 1608307 h 2076207"/>
              <a:gd name="csX130" fmla="*/ 373450 w 748195"/>
              <a:gd name="csY130" fmla="*/ 1457291 h 2076207"/>
              <a:gd name="csX131" fmla="*/ 370936 w 748195"/>
              <a:gd name="csY131" fmla="*/ 1342736 h 2076207"/>
              <a:gd name="csX132" fmla="*/ 368328 w 748195"/>
              <a:gd name="csY132" fmla="*/ 1203878 h 2076207"/>
              <a:gd name="csX133" fmla="*/ 367836 w 748195"/>
              <a:gd name="csY133" fmla="*/ 813478 h 2076207"/>
              <a:gd name="csX134" fmla="*/ 365240 w 748195"/>
              <a:gd name="csY134" fmla="*/ 773243 h 2076207"/>
              <a:gd name="csX135" fmla="*/ 353084 w 748195"/>
              <a:gd name="csY135" fmla="*/ 762083 h 2076207"/>
              <a:gd name="csX136" fmla="*/ 280966 w 748195"/>
              <a:gd name="csY136" fmla="*/ 759855 h 2076207"/>
              <a:gd name="csX137" fmla="*/ 259965 w 748195"/>
              <a:gd name="csY137" fmla="*/ 779553 h 2076207"/>
              <a:gd name="csX138" fmla="*/ 262341 w 748195"/>
              <a:gd name="csY138" fmla="*/ 856275 h 2076207"/>
              <a:gd name="csX139" fmla="*/ 259999 w 748195"/>
              <a:gd name="csY139" fmla="*/ 966699 h 2076207"/>
              <a:gd name="csX140" fmla="*/ 55556 w 748195"/>
              <a:gd name="csY140" fmla="*/ 1835827 h 2076207"/>
              <a:gd name="csX141" fmla="*/ 49393 w 748195"/>
              <a:gd name="csY141" fmla="*/ 1878155 h 2076207"/>
              <a:gd name="csX142" fmla="*/ 73949 w 748195"/>
              <a:gd name="csY142" fmla="*/ 1905781 h 2076207"/>
              <a:gd name="csX143" fmla="*/ 110073 w 748195"/>
              <a:gd name="csY143" fmla="*/ 1909068 h 2076207"/>
              <a:gd name="csX144" fmla="*/ 224745 w 748195"/>
              <a:gd name="csY144" fmla="*/ 1921652 h 2076207"/>
              <a:gd name="csX145" fmla="*/ 347327 w 748195"/>
              <a:gd name="csY145" fmla="*/ 1924778 h 2076207"/>
              <a:gd name="csX146" fmla="*/ 363345 w 748195"/>
              <a:gd name="csY146" fmla="*/ 1923293 h 2076207"/>
              <a:gd name="csX147" fmla="*/ 373787 w 748195"/>
              <a:gd name="csY147" fmla="*/ 1911200 h 2076207"/>
              <a:gd name="csX148" fmla="*/ 376623 w 748195"/>
              <a:gd name="csY148" fmla="*/ 1696741 h 2076207"/>
              <a:gd name="csX149" fmla="*/ 360437 w 748195"/>
              <a:gd name="csY149" fmla="*/ 1681289 h 2076207"/>
              <a:gd name="csX150" fmla="*/ 263503 w 748195"/>
              <a:gd name="csY150" fmla="*/ 1678179 h 2076207"/>
              <a:gd name="csX151" fmla="*/ 160381 w 748195"/>
              <a:gd name="csY151" fmla="*/ 1670405 h 2076207"/>
              <a:gd name="csX152" fmla="*/ 143321 w 748195"/>
              <a:gd name="csY152" fmla="*/ 1685538 h 2076207"/>
              <a:gd name="csX153" fmla="*/ 124769 w 748195"/>
              <a:gd name="csY153" fmla="*/ 1738195 h 2076207"/>
              <a:gd name="csX154" fmla="*/ 90593 w 748195"/>
              <a:gd name="csY154" fmla="*/ 1779570 h 2076207"/>
              <a:gd name="csX155" fmla="*/ 55556 w 748195"/>
              <a:gd name="csY155" fmla="*/ 1835827 h 2076207"/>
              <a:gd name="csX156" fmla="*/ 378900 w 748195"/>
              <a:gd name="csY156" fmla="*/ 2007280 h 2076207"/>
              <a:gd name="csX157" fmla="*/ 378887 w 748195"/>
              <a:gd name="csY157" fmla="*/ 1995127 h 2076207"/>
              <a:gd name="csX158" fmla="*/ 359084 w 748195"/>
              <a:gd name="csY158" fmla="*/ 1975964 h 2076207"/>
              <a:gd name="csX159" fmla="*/ 247288 w 748195"/>
              <a:gd name="csY159" fmla="*/ 1973305 h 2076207"/>
              <a:gd name="csX160" fmla="*/ 201692 w 748195"/>
              <a:gd name="csY160" fmla="*/ 1970275 h 2076207"/>
              <a:gd name="csX161" fmla="*/ 57962 w 748195"/>
              <a:gd name="csY161" fmla="*/ 1952648 h 2076207"/>
              <a:gd name="csX162" fmla="*/ 39194 w 748195"/>
              <a:gd name="csY162" fmla="*/ 1963552 h 2076207"/>
              <a:gd name="csX163" fmla="*/ 30066 w 748195"/>
              <a:gd name="csY163" fmla="*/ 2006631 h 2076207"/>
              <a:gd name="csX164" fmla="*/ 40232 w 748195"/>
              <a:gd name="csY164" fmla="*/ 2019486 h 2076207"/>
              <a:gd name="csX165" fmla="*/ 238186 w 748195"/>
              <a:gd name="csY165" fmla="*/ 2046096 h 2076207"/>
              <a:gd name="csX166" fmla="*/ 342155 w 748195"/>
              <a:gd name="csY166" fmla="*/ 2046441 h 2076207"/>
              <a:gd name="csX167" fmla="*/ 378900 w 748195"/>
              <a:gd name="csY167" fmla="*/ 2007280 h 2076207"/>
              <a:gd name="csX168" fmla="*/ 310220 w 748195"/>
              <a:gd name="csY168" fmla="*/ 554288 h 2076207"/>
              <a:gd name="csX169" fmla="*/ 259136 w 748195"/>
              <a:gd name="csY169" fmla="*/ 556881 h 2076207"/>
              <a:gd name="csX170" fmla="*/ 249085 w 748195"/>
              <a:gd name="csY170" fmla="*/ 567981 h 2076207"/>
              <a:gd name="csX171" fmla="*/ 249141 w 748195"/>
              <a:gd name="csY171" fmla="*/ 605644 h 2076207"/>
              <a:gd name="csX172" fmla="*/ 262628 w 748195"/>
              <a:gd name="csY172" fmla="*/ 605627 h 2076207"/>
              <a:gd name="csX173" fmla="*/ 369608 w 748195"/>
              <a:gd name="csY173" fmla="*/ 603027 h 2076207"/>
              <a:gd name="csX174" fmla="*/ 463931 w 748195"/>
              <a:gd name="csY174" fmla="*/ 605146 h 2076207"/>
              <a:gd name="csX175" fmla="*/ 478113 w 748195"/>
              <a:gd name="csY175" fmla="*/ 595843 h 2076207"/>
              <a:gd name="csX176" fmla="*/ 478796 w 748195"/>
              <a:gd name="csY176" fmla="*/ 556832 h 2076207"/>
              <a:gd name="csX177" fmla="*/ 310220 w 748195"/>
              <a:gd name="csY177" fmla="*/ 554288 h 2076207"/>
              <a:gd name="csX178" fmla="*/ 348836 w 748195"/>
              <a:gd name="csY178" fmla="*/ 684115 h 2076207"/>
              <a:gd name="csX179" fmla="*/ 281333 w 748195"/>
              <a:gd name="csY179" fmla="*/ 683313 h 2076207"/>
              <a:gd name="csX180" fmla="*/ 212728 w 748195"/>
              <a:gd name="csY180" fmla="*/ 681931 h 2076207"/>
              <a:gd name="csX181" fmla="*/ 187283 w 748195"/>
              <a:gd name="csY181" fmla="*/ 689555 h 2076207"/>
              <a:gd name="csX182" fmla="*/ 186163 w 748195"/>
              <a:gd name="csY182" fmla="*/ 718266 h 2076207"/>
              <a:gd name="csX183" fmla="*/ 209894 w 748195"/>
              <a:gd name="csY183" fmla="*/ 726798 h 2076207"/>
              <a:gd name="csX184" fmla="*/ 334814 w 748195"/>
              <a:gd name="csY184" fmla="*/ 732494 h 2076207"/>
              <a:gd name="csX185" fmla="*/ 364856 w 748195"/>
              <a:gd name="csY185" fmla="*/ 707963 h 2076207"/>
              <a:gd name="csX186" fmla="*/ 348836 w 748195"/>
              <a:gd name="csY186" fmla="*/ 684115 h 2076207"/>
              <a:gd name="csX187" fmla="*/ 298865 w 748195"/>
              <a:gd name="csY187" fmla="*/ 621954 h 2076207"/>
              <a:gd name="csX188" fmla="*/ 251619 w 748195"/>
              <a:gd name="csY188" fmla="*/ 622133 h 2076207"/>
              <a:gd name="csX189" fmla="*/ 214459 w 748195"/>
              <a:gd name="csY189" fmla="*/ 636230 h 2076207"/>
              <a:gd name="csX190" fmla="*/ 221436 w 748195"/>
              <a:gd name="csY190" fmla="*/ 654205 h 2076207"/>
              <a:gd name="csX191" fmla="*/ 272412 w 748195"/>
              <a:gd name="csY191" fmla="*/ 657250 h 2076207"/>
              <a:gd name="csX192" fmla="*/ 349094 w 748195"/>
              <a:gd name="csY192" fmla="*/ 659282 h 2076207"/>
              <a:gd name="csX193" fmla="*/ 362996 w 748195"/>
              <a:gd name="csY193" fmla="*/ 644234 h 2076207"/>
              <a:gd name="csX194" fmla="*/ 348472 w 748195"/>
              <a:gd name="csY194" fmla="*/ 624649 h 2076207"/>
              <a:gd name="csX195" fmla="*/ 298865 w 748195"/>
              <a:gd name="csY195" fmla="*/ 621954 h 2076207"/>
              <a:gd name="csX196" fmla="*/ 227796 w 748195"/>
              <a:gd name="csY196" fmla="*/ 528000 h 2076207"/>
              <a:gd name="csX197" fmla="*/ 241009 w 748195"/>
              <a:gd name="csY197" fmla="*/ 545897 h 2076207"/>
              <a:gd name="csX198" fmla="*/ 282607 w 748195"/>
              <a:gd name="csY198" fmla="*/ 543480 h 2076207"/>
              <a:gd name="csX199" fmla="*/ 354213 w 748195"/>
              <a:gd name="csY199" fmla="*/ 543384 h 2076207"/>
              <a:gd name="csX200" fmla="*/ 365334 w 748195"/>
              <a:gd name="csY200" fmla="*/ 533397 h 2076207"/>
              <a:gd name="csX201" fmla="*/ 354531 w 748195"/>
              <a:gd name="csY201" fmla="*/ 521620 h 2076207"/>
              <a:gd name="csX202" fmla="*/ 259169 w 748195"/>
              <a:gd name="csY202" fmla="*/ 521978 h 2076207"/>
              <a:gd name="csX203" fmla="*/ 227796 w 748195"/>
              <a:gd name="csY203" fmla="*/ 528000 h 2076207"/>
              <a:gd name="csX204" fmla="*/ 508068 w 748195"/>
              <a:gd name="csY204" fmla="*/ 190710 h 2076207"/>
              <a:gd name="csX205" fmla="*/ 521293 w 748195"/>
              <a:gd name="csY205" fmla="*/ 205907 h 2076207"/>
              <a:gd name="csX206" fmla="*/ 525175 w 748195"/>
              <a:gd name="csY206" fmla="*/ 202985 h 2076207"/>
              <a:gd name="csX207" fmla="*/ 500276 w 748195"/>
              <a:gd name="csY207" fmla="*/ 160640 h 2076207"/>
              <a:gd name="csX208" fmla="*/ 497122 w 748195"/>
              <a:gd name="csY208" fmla="*/ 162007 h 2076207"/>
              <a:gd name="csX209" fmla="*/ 508068 w 748195"/>
              <a:gd name="csY209" fmla="*/ 190710 h 2076207"/>
              <a:gd name="csX210" fmla="*/ 215522 w 748195"/>
              <a:gd name="csY210" fmla="*/ 197296 h 2076207"/>
              <a:gd name="csX211" fmla="*/ 234029 w 748195"/>
              <a:gd name="csY211" fmla="*/ 162725 h 2076207"/>
              <a:gd name="csX212" fmla="*/ 229000 w 748195"/>
              <a:gd name="csY212" fmla="*/ 159902 h 2076207"/>
              <a:gd name="csX213" fmla="*/ 204824 w 748195"/>
              <a:gd name="csY213" fmla="*/ 199677 h 2076207"/>
              <a:gd name="csX214" fmla="*/ 207990 w 748195"/>
              <a:gd name="csY214" fmla="*/ 202198 h 2076207"/>
              <a:gd name="csX215" fmla="*/ 215522 w 748195"/>
              <a:gd name="csY215" fmla="*/ 197296 h 2076207"/>
              <a:gd name="csX216" fmla="*/ 484400 w 748195"/>
              <a:gd name="csY216" fmla="*/ 896678 h 2076207"/>
              <a:gd name="csX217" fmla="*/ 486181 w 748195"/>
              <a:gd name="csY217" fmla="*/ 896585 h 2076207"/>
              <a:gd name="csX218" fmla="*/ 486181 w 748195"/>
              <a:gd name="csY218" fmla="*/ 795289 h 2076207"/>
              <a:gd name="csX219" fmla="*/ 720241 w 748195"/>
              <a:gd name="csY219" fmla="*/ 2030666 h 2076207"/>
              <a:gd name="csX220" fmla="*/ 721175 w 748195"/>
              <a:gd name="csY220" fmla="*/ 2029733 h 2076207"/>
              <a:gd name="csX221" fmla="*/ 720241 w 748195"/>
              <a:gd name="csY221" fmla="*/ 2030666 h 2076207"/>
              <a:gd name="csX222" fmla="*/ 715702 w 748195"/>
              <a:gd name="csY222" fmla="*/ 2037051 h 2076207"/>
              <a:gd name="csX223" fmla="*/ 715702 w 748195"/>
              <a:gd name="csY223" fmla="*/ 2037051 h 2076207"/>
              <a:gd name="csX0" fmla="*/ 96263 w 748195"/>
              <a:gd name="csY0" fmla="*/ 2076207 h 2076207"/>
              <a:gd name="csX1" fmla="*/ 63862 w 748195"/>
              <a:gd name="csY1" fmla="*/ 2065388 h 2076207"/>
              <a:gd name="csX2" fmla="*/ 16555 w 748195"/>
              <a:gd name="csY2" fmla="*/ 2050152 h 2076207"/>
              <a:gd name="csX3" fmla="*/ 15 w 748195"/>
              <a:gd name="csY3" fmla="*/ 2023802 h 2076207"/>
              <a:gd name="csX4" fmla="*/ 18368 w 748195"/>
              <a:gd name="csY4" fmla="*/ 1940709 h 2076207"/>
              <a:gd name="csX5" fmla="*/ 22139 w 748195"/>
              <a:gd name="csY5" fmla="*/ 1907268 h 2076207"/>
              <a:gd name="csX6" fmla="*/ 57941 w 748195"/>
              <a:gd name="csY6" fmla="*/ 1774163 h 2076207"/>
              <a:gd name="csX7" fmla="*/ 102478 w 748195"/>
              <a:gd name="csY7" fmla="*/ 1720275 h 2076207"/>
              <a:gd name="csX8" fmla="*/ 108579 w 748195"/>
              <a:gd name="csY8" fmla="*/ 1650967 h 2076207"/>
              <a:gd name="csX9" fmla="*/ 115628 w 748195"/>
              <a:gd name="csY9" fmla="*/ 1625405 h 2076207"/>
              <a:gd name="csX10" fmla="*/ 156323 w 748195"/>
              <a:gd name="csY10" fmla="*/ 1560181 h 2076207"/>
              <a:gd name="csX11" fmla="*/ 199424 w 748195"/>
              <a:gd name="csY11" fmla="*/ 1364729 h 2076207"/>
              <a:gd name="csX12" fmla="*/ 216779 w 748195"/>
              <a:gd name="csY12" fmla="*/ 1219490 h 2076207"/>
              <a:gd name="csX13" fmla="*/ 229755 w 748195"/>
              <a:gd name="csY13" fmla="*/ 1099357 h 2076207"/>
              <a:gd name="csX14" fmla="*/ 232707 w 748195"/>
              <a:gd name="csY14" fmla="*/ 1056423 h 2076207"/>
              <a:gd name="csX15" fmla="*/ 235622 w 748195"/>
              <a:gd name="csY15" fmla="*/ 952675 h 2076207"/>
              <a:gd name="csX16" fmla="*/ 235445 w 748195"/>
              <a:gd name="csY16" fmla="*/ 780278 h 2076207"/>
              <a:gd name="csX17" fmla="*/ 214544 w 748195"/>
              <a:gd name="csY17" fmla="*/ 756435 h 2076207"/>
              <a:gd name="csX18" fmla="*/ 172569 w 748195"/>
              <a:gd name="csY18" fmla="*/ 742582 h 2076207"/>
              <a:gd name="csX19" fmla="*/ 168784 w 748195"/>
              <a:gd name="csY19" fmla="*/ 669116 h 2076207"/>
              <a:gd name="csX20" fmla="*/ 191657 w 748195"/>
              <a:gd name="csY20" fmla="*/ 630765 h 2076207"/>
              <a:gd name="csX21" fmla="*/ 208150 w 748195"/>
              <a:gd name="csY21" fmla="*/ 609084 h 2076207"/>
              <a:gd name="csX22" fmla="*/ 216756 w 748195"/>
              <a:gd name="csY22" fmla="*/ 558673 h 2076207"/>
              <a:gd name="csX23" fmla="*/ 209092 w 748195"/>
              <a:gd name="csY23" fmla="*/ 521540 h 2076207"/>
              <a:gd name="csX24" fmla="*/ 204683 w 748195"/>
              <a:gd name="csY24" fmla="*/ 474024 h 2076207"/>
              <a:gd name="csX25" fmla="*/ 115483 w 748195"/>
              <a:gd name="csY25" fmla="*/ 213499 h 2076207"/>
              <a:gd name="csX26" fmla="*/ 102909 w 748195"/>
              <a:gd name="csY26" fmla="*/ 182297 h 2076207"/>
              <a:gd name="csX27" fmla="*/ 104315 w 748195"/>
              <a:gd name="csY27" fmla="*/ 163968 h 2076207"/>
              <a:gd name="csX28" fmla="*/ 122444 w 748195"/>
              <a:gd name="csY28" fmla="*/ 160805 h 2076207"/>
              <a:gd name="csX29" fmla="*/ 170283 w 748195"/>
              <a:gd name="csY29" fmla="*/ 187783 h 2076207"/>
              <a:gd name="csX30" fmla="*/ 180938 w 748195"/>
              <a:gd name="csY30" fmla="*/ 195322 h 2076207"/>
              <a:gd name="csX31" fmla="*/ 221419 w 748195"/>
              <a:gd name="csY31" fmla="*/ 138058 h 2076207"/>
              <a:gd name="csX32" fmla="*/ 294099 w 748195"/>
              <a:gd name="csY32" fmla="*/ 91372 h 2076207"/>
              <a:gd name="csX33" fmla="*/ 302307 w 748195"/>
              <a:gd name="csY33" fmla="*/ 76560 h 2076207"/>
              <a:gd name="csX34" fmla="*/ 320284 w 748195"/>
              <a:gd name="csY34" fmla="*/ 8414 h 2076207"/>
              <a:gd name="csX35" fmla="*/ 324784 w 748195"/>
              <a:gd name="csY35" fmla="*/ 946 h 2076207"/>
              <a:gd name="csX36" fmla="*/ 399212 w 748195"/>
              <a:gd name="csY36" fmla="*/ 0 h 2076207"/>
              <a:gd name="csX37" fmla="*/ 425980 w 748195"/>
              <a:gd name="csY37" fmla="*/ 78301 h 2076207"/>
              <a:gd name="csX38" fmla="*/ 431861 w 748195"/>
              <a:gd name="csY38" fmla="*/ 90312 h 2076207"/>
              <a:gd name="csX39" fmla="*/ 540349 w 748195"/>
              <a:gd name="csY39" fmla="*/ 187946 h 2076207"/>
              <a:gd name="csX40" fmla="*/ 545555 w 748195"/>
              <a:gd name="csY40" fmla="*/ 197828 h 2076207"/>
              <a:gd name="csX41" fmla="*/ 587318 w 748195"/>
              <a:gd name="csY41" fmla="*/ 171260 h 2076207"/>
              <a:gd name="csX42" fmla="*/ 601503 w 748195"/>
              <a:gd name="csY42" fmla="*/ 163707 h 2076207"/>
              <a:gd name="csX43" fmla="*/ 625254 w 748195"/>
              <a:gd name="csY43" fmla="*/ 163123 h 2076207"/>
              <a:gd name="csX44" fmla="*/ 625468 w 748195"/>
              <a:gd name="csY44" fmla="*/ 187579 h 2076207"/>
              <a:gd name="csX45" fmla="*/ 597543 w 748195"/>
              <a:gd name="csY45" fmla="*/ 251872 h 2076207"/>
              <a:gd name="csX46" fmla="*/ 531831 w 748195"/>
              <a:gd name="csY46" fmla="*/ 442689 h 2076207"/>
              <a:gd name="csX47" fmla="*/ 519888 w 748195"/>
              <a:gd name="csY47" fmla="*/ 501474 h 2076207"/>
              <a:gd name="csX48" fmla="*/ 522506 w 748195"/>
              <a:gd name="csY48" fmla="*/ 525086 h 2076207"/>
              <a:gd name="csX49" fmla="*/ 516235 w 748195"/>
              <a:gd name="csY49" fmla="*/ 555946 h 2076207"/>
              <a:gd name="csX50" fmla="*/ 521332 w 748195"/>
              <a:gd name="csY50" fmla="*/ 610676 h 2076207"/>
              <a:gd name="csX51" fmla="*/ 541382 w 748195"/>
              <a:gd name="csY51" fmla="*/ 642597 h 2076207"/>
              <a:gd name="csX52" fmla="*/ 557031 w 748195"/>
              <a:gd name="csY52" fmla="*/ 667949 h 2076207"/>
              <a:gd name="csX53" fmla="*/ 553994 w 748195"/>
              <a:gd name="csY53" fmla="*/ 744146 h 2076207"/>
              <a:gd name="csX54" fmla="*/ 508215 w 748195"/>
              <a:gd name="csY54" fmla="*/ 758841 h 2076207"/>
              <a:gd name="csX55" fmla="*/ 497442 w 748195"/>
              <a:gd name="csY55" fmla="*/ 771256 h 2076207"/>
              <a:gd name="csX56" fmla="*/ 493005 w 748195"/>
              <a:gd name="csY56" fmla="*/ 922055 h 2076207"/>
              <a:gd name="csX57" fmla="*/ 502900 w 748195"/>
              <a:gd name="csY57" fmla="*/ 1114191 h 2076207"/>
              <a:gd name="csX58" fmla="*/ 508800 w 748195"/>
              <a:gd name="csY58" fmla="*/ 1205474 h 2076207"/>
              <a:gd name="csX59" fmla="*/ 522952 w 748195"/>
              <a:gd name="csY59" fmla="*/ 1320065 h 2076207"/>
              <a:gd name="csX60" fmla="*/ 554682 w 748195"/>
              <a:gd name="csY60" fmla="*/ 1501203 h 2076207"/>
              <a:gd name="csX61" fmla="*/ 576958 w 748195"/>
              <a:gd name="csY61" fmla="*/ 1593963 h 2076207"/>
              <a:gd name="csX62" fmla="*/ 595349 w 748195"/>
              <a:gd name="csY62" fmla="*/ 1613498 h 2076207"/>
              <a:gd name="csX63" fmla="*/ 613936 w 748195"/>
              <a:gd name="csY63" fmla="*/ 1624058 h 2076207"/>
              <a:gd name="csX64" fmla="*/ 620938 w 748195"/>
              <a:gd name="csY64" fmla="*/ 1652071 h 2076207"/>
              <a:gd name="csX65" fmla="*/ 630805 w 748195"/>
              <a:gd name="csY65" fmla="*/ 1721702 h 2076207"/>
              <a:gd name="csX66" fmla="*/ 685830 w 748195"/>
              <a:gd name="csY66" fmla="*/ 1792915 h 2076207"/>
              <a:gd name="csX67" fmla="*/ 708904 w 748195"/>
              <a:gd name="csY67" fmla="*/ 1890290 h 2076207"/>
              <a:gd name="csX68" fmla="*/ 716580 w 748195"/>
              <a:gd name="csY68" fmla="*/ 1951136 h 2076207"/>
              <a:gd name="csX69" fmla="*/ 729397 w 748195"/>
              <a:gd name="csY69" fmla="*/ 2030261 h 2076207"/>
              <a:gd name="csX70" fmla="*/ 714212 w 748195"/>
              <a:gd name="csY70" fmla="*/ 2049544 h 2076207"/>
              <a:gd name="csX71" fmla="*/ 645428 w 748195"/>
              <a:gd name="csY71" fmla="*/ 2070825 h 2076207"/>
              <a:gd name="csX72" fmla="*/ 588428 w 748195"/>
              <a:gd name="csY72" fmla="*/ 2075144 h 2076207"/>
              <a:gd name="csX73" fmla="*/ 667788 w 748195"/>
              <a:gd name="csY73" fmla="*/ 2056852 h 2076207"/>
              <a:gd name="csX74" fmla="*/ 706629 w 748195"/>
              <a:gd name="csY74" fmla="*/ 2044290 h 2076207"/>
              <a:gd name="csX75" fmla="*/ 702674 w 748195"/>
              <a:gd name="csY75" fmla="*/ 2041581 h 2076207"/>
              <a:gd name="csX76" fmla="*/ 96263 w 748195"/>
              <a:gd name="csY76" fmla="*/ 2076207 h 2076207"/>
              <a:gd name="csX77" fmla="*/ 489970 w 748195"/>
              <a:gd name="csY77" fmla="*/ 152208 h 2076207"/>
              <a:gd name="csX78" fmla="*/ 490754 w 748195"/>
              <a:gd name="csY78" fmla="*/ 152592 h 2076207"/>
              <a:gd name="csX79" fmla="*/ 489489 w 748195"/>
              <a:gd name="csY79" fmla="*/ 149547 h 2076207"/>
              <a:gd name="csX80" fmla="*/ 393621 w 748195"/>
              <a:gd name="csY80" fmla="*/ 99259 h 2076207"/>
              <a:gd name="csX81" fmla="*/ 390419 w 748195"/>
              <a:gd name="csY81" fmla="*/ 18568 h 2076207"/>
              <a:gd name="csX82" fmla="*/ 334131 w 748195"/>
              <a:gd name="csY82" fmla="*/ 24327 h 2076207"/>
              <a:gd name="csX83" fmla="*/ 344678 w 748195"/>
              <a:gd name="csY83" fmla="*/ 101259 h 2076207"/>
              <a:gd name="csX84" fmla="*/ 298854 w 748195"/>
              <a:gd name="csY84" fmla="*/ 114003 h 2076207"/>
              <a:gd name="csX85" fmla="*/ 237456 w 748195"/>
              <a:gd name="csY85" fmla="*/ 154340 h 2076207"/>
              <a:gd name="csX86" fmla="*/ 240382 w 748195"/>
              <a:gd name="csY86" fmla="*/ 154035 h 2076207"/>
              <a:gd name="csX87" fmla="*/ 262731 w 748195"/>
              <a:gd name="csY87" fmla="*/ 170426 h 2076207"/>
              <a:gd name="csX88" fmla="*/ 279169 w 748195"/>
              <a:gd name="csY88" fmla="*/ 193173 h 2076207"/>
              <a:gd name="csX89" fmla="*/ 327717 w 748195"/>
              <a:gd name="csY89" fmla="*/ 188556 h 2076207"/>
              <a:gd name="csX90" fmla="*/ 348052 w 748195"/>
              <a:gd name="csY90" fmla="*/ 156919 h 2076207"/>
              <a:gd name="csX91" fmla="*/ 380330 w 748195"/>
              <a:gd name="csY91" fmla="*/ 156483 h 2076207"/>
              <a:gd name="csX92" fmla="*/ 408490 w 748195"/>
              <a:gd name="csY92" fmla="*/ 195400 h 2076207"/>
              <a:gd name="csX93" fmla="*/ 445346 w 748195"/>
              <a:gd name="csY93" fmla="*/ 197582 h 2076207"/>
              <a:gd name="csX94" fmla="*/ 464798 w 748195"/>
              <a:gd name="csY94" fmla="*/ 174107 h 2076207"/>
              <a:gd name="csX95" fmla="*/ 489970 w 748195"/>
              <a:gd name="csY95" fmla="*/ 152208 h 2076207"/>
              <a:gd name="csX96" fmla="*/ 140694 w 748195"/>
              <a:gd name="csY96" fmla="*/ 201837 h 2076207"/>
              <a:gd name="csX97" fmla="*/ 139834 w 748195"/>
              <a:gd name="csY97" fmla="*/ 201482 h 2076207"/>
              <a:gd name="csX98" fmla="*/ 140812 w 748195"/>
              <a:gd name="csY98" fmla="*/ 204941 h 2076207"/>
              <a:gd name="csX99" fmla="*/ 144631 w 748195"/>
              <a:gd name="csY99" fmla="*/ 217811 h 2076207"/>
              <a:gd name="csX100" fmla="*/ 201241 w 748195"/>
              <a:gd name="csY100" fmla="*/ 373387 h 2076207"/>
              <a:gd name="csX101" fmla="*/ 235971 w 748195"/>
              <a:gd name="csY101" fmla="*/ 504451 h 2076207"/>
              <a:gd name="csX102" fmla="*/ 247475 w 748195"/>
              <a:gd name="csY102" fmla="*/ 513241 h 2076207"/>
              <a:gd name="csX103" fmla="*/ 289066 w 748195"/>
              <a:gd name="csY103" fmla="*/ 511170 h 2076207"/>
              <a:gd name="csX104" fmla="*/ 378229 w 748195"/>
              <a:gd name="csY104" fmla="*/ 511084 h 2076207"/>
              <a:gd name="csX105" fmla="*/ 470850 w 748195"/>
              <a:gd name="csY105" fmla="*/ 516341 h 2076207"/>
              <a:gd name="csX106" fmla="*/ 492933 w 748195"/>
              <a:gd name="csY106" fmla="*/ 497969 h 2076207"/>
              <a:gd name="csX107" fmla="*/ 557617 w 748195"/>
              <a:gd name="csY107" fmla="*/ 280398 h 2076207"/>
              <a:gd name="csX108" fmla="*/ 588788 w 748195"/>
              <a:gd name="csY108" fmla="*/ 200385 h 2076207"/>
              <a:gd name="csX109" fmla="*/ 530958 w 748195"/>
              <a:gd name="csY109" fmla="*/ 232968 h 2076207"/>
              <a:gd name="csX110" fmla="*/ 483823 w 748195"/>
              <a:gd name="csY110" fmla="*/ 190364 h 2076207"/>
              <a:gd name="csX111" fmla="*/ 466649 w 748195"/>
              <a:gd name="csY111" fmla="*/ 209061 h 2076207"/>
              <a:gd name="csX112" fmla="*/ 399941 w 748195"/>
              <a:gd name="csY112" fmla="*/ 216988 h 2076207"/>
              <a:gd name="csX113" fmla="*/ 363018 w 748195"/>
              <a:gd name="csY113" fmla="*/ 179615 h 2076207"/>
              <a:gd name="csX114" fmla="*/ 308839 w 748195"/>
              <a:gd name="csY114" fmla="*/ 227846 h 2076207"/>
              <a:gd name="csX115" fmla="*/ 245077 w 748195"/>
              <a:gd name="csY115" fmla="*/ 192402 h 2076207"/>
              <a:gd name="csX116" fmla="*/ 242829 w 748195"/>
              <a:gd name="csY116" fmla="*/ 198815 h 2076207"/>
              <a:gd name="csX117" fmla="*/ 168452 w 748195"/>
              <a:gd name="csY117" fmla="*/ 219348 h 2076207"/>
              <a:gd name="csX118" fmla="*/ 140694 w 748195"/>
              <a:gd name="csY118" fmla="*/ 201837 h 2076207"/>
              <a:gd name="csX119" fmla="*/ 259999 w 748195"/>
              <a:gd name="csY119" fmla="*/ 966699 h 2076207"/>
              <a:gd name="csX120" fmla="*/ 257072 w 748195"/>
              <a:gd name="csY120" fmla="*/ 1070424 h 2076207"/>
              <a:gd name="csX121" fmla="*/ 251372 w 748195"/>
              <a:gd name="csY121" fmla="*/ 1157618 h 2076207"/>
              <a:gd name="csX122" fmla="*/ 232677 w 748195"/>
              <a:gd name="csY122" fmla="*/ 1320279 h 2076207"/>
              <a:gd name="csX123" fmla="*/ 209182 w 748195"/>
              <a:gd name="csY123" fmla="*/ 1468667 h 2076207"/>
              <a:gd name="csX124" fmla="*/ 175302 w 748195"/>
              <a:gd name="csY124" fmla="*/ 1616623 h 2076207"/>
              <a:gd name="csX125" fmla="*/ 182769 w 748195"/>
              <a:gd name="csY125" fmla="*/ 1629786 h 2076207"/>
              <a:gd name="csX126" fmla="*/ 212156 w 748195"/>
              <a:gd name="csY126" fmla="*/ 1632656 h 2076207"/>
              <a:gd name="csX127" fmla="*/ 351295 w 748195"/>
              <a:gd name="csY127" fmla="*/ 1632801 h 2076207"/>
              <a:gd name="csX128" fmla="*/ 376150 w 748195"/>
              <a:gd name="csY128" fmla="*/ 1608307 h 2076207"/>
              <a:gd name="csX129" fmla="*/ 373450 w 748195"/>
              <a:gd name="csY129" fmla="*/ 1457291 h 2076207"/>
              <a:gd name="csX130" fmla="*/ 370936 w 748195"/>
              <a:gd name="csY130" fmla="*/ 1342736 h 2076207"/>
              <a:gd name="csX131" fmla="*/ 368328 w 748195"/>
              <a:gd name="csY131" fmla="*/ 1203878 h 2076207"/>
              <a:gd name="csX132" fmla="*/ 367836 w 748195"/>
              <a:gd name="csY132" fmla="*/ 813478 h 2076207"/>
              <a:gd name="csX133" fmla="*/ 365240 w 748195"/>
              <a:gd name="csY133" fmla="*/ 773243 h 2076207"/>
              <a:gd name="csX134" fmla="*/ 353084 w 748195"/>
              <a:gd name="csY134" fmla="*/ 762083 h 2076207"/>
              <a:gd name="csX135" fmla="*/ 280966 w 748195"/>
              <a:gd name="csY135" fmla="*/ 759855 h 2076207"/>
              <a:gd name="csX136" fmla="*/ 259965 w 748195"/>
              <a:gd name="csY136" fmla="*/ 779553 h 2076207"/>
              <a:gd name="csX137" fmla="*/ 262341 w 748195"/>
              <a:gd name="csY137" fmla="*/ 856275 h 2076207"/>
              <a:gd name="csX138" fmla="*/ 259999 w 748195"/>
              <a:gd name="csY138" fmla="*/ 966699 h 2076207"/>
              <a:gd name="csX139" fmla="*/ 55556 w 748195"/>
              <a:gd name="csY139" fmla="*/ 1835827 h 2076207"/>
              <a:gd name="csX140" fmla="*/ 49393 w 748195"/>
              <a:gd name="csY140" fmla="*/ 1878155 h 2076207"/>
              <a:gd name="csX141" fmla="*/ 73949 w 748195"/>
              <a:gd name="csY141" fmla="*/ 1905781 h 2076207"/>
              <a:gd name="csX142" fmla="*/ 110073 w 748195"/>
              <a:gd name="csY142" fmla="*/ 1909068 h 2076207"/>
              <a:gd name="csX143" fmla="*/ 224745 w 748195"/>
              <a:gd name="csY143" fmla="*/ 1921652 h 2076207"/>
              <a:gd name="csX144" fmla="*/ 347327 w 748195"/>
              <a:gd name="csY144" fmla="*/ 1924778 h 2076207"/>
              <a:gd name="csX145" fmla="*/ 363345 w 748195"/>
              <a:gd name="csY145" fmla="*/ 1923293 h 2076207"/>
              <a:gd name="csX146" fmla="*/ 373787 w 748195"/>
              <a:gd name="csY146" fmla="*/ 1911200 h 2076207"/>
              <a:gd name="csX147" fmla="*/ 376623 w 748195"/>
              <a:gd name="csY147" fmla="*/ 1696741 h 2076207"/>
              <a:gd name="csX148" fmla="*/ 360437 w 748195"/>
              <a:gd name="csY148" fmla="*/ 1681289 h 2076207"/>
              <a:gd name="csX149" fmla="*/ 263503 w 748195"/>
              <a:gd name="csY149" fmla="*/ 1678179 h 2076207"/>
              <a:gd name="csX150" fmla="*/ 160381 w 748195"/>
              <a:gd name="csY150" fmla="*/ 1670405 h 2076207"/>
              <a:gd name="csX151" fmla="*/ 143321 w 748195"/>
              <a:gd name="csY151" fmla="*/ 1685538 h 2076207"/>
              <a:gd name="csX152" fmla="*/ 124769 w 748195"/>
              <a:gd name="csY152" fmla="*/ 1738195 h 2076207"/>
              <a:gd name="csX153" fmla="*/ 90593 w 748195"/>
              <a:gd name="csY153" fmla="*/ 1779570 h 2076207"/>
              <a:gd name="csX154" fmla="*/ 55556 w 748195"/>
              <a:gd name="csY154" fmla="*/ 1835827 h 2076207"/>
              <a:gd name="csX155" fmla="*/ 378900 w 748195"/>
              <a:gd name="csY155" fmla="*/ 2007280 h 2076207"/>
              <a:gd name="csX156" fmla="*/ 378887 w 748195"/>
              <a:gd name="csY156" fmla="*/ 1995127 h 2076207"/>
              <a:gd name="csX157" fmla="*/ 359084 w 748195"/>
              <a:gd name="csY157" fmla="*/ 1975964 h 2076207"/>
              <a:gd name="csX158" fmla="*/ 247288 w 748195"/>
              <a:gd name="csY158" fmla="*/ 1973305 h 2076207"/>
              <a:gd name="csX159" fmla="*/ 201692 w 748195"/>
              <a:gd name="csY159" fmla="*/ 1970275 h 2076207"/>
              <a:gd name="csX160" fmla="*/ 57962 w 748195"/>
              <a:gd name="csY160" fmla="*/ 1952648 h 2076207"/>
              <a:gd name="csX161" fmla="*/ 39194 w 748195"/>
              <a:gd name="csY161" fmla="*/ 1963552 h 2076207"/>
              <a:gd name="csX162" fmla="*/ 30066 w 748195"/>
              <a:gd name="csY162" fmla="*/ 2006631 h 2076207"/>
              <a:gd name="csX163" fmla="*/ 40232 w 748195"/>
              <a:gd name="csY163" fmla="*/ 2019486 h 2076207"/>
              <a:gd name="csX164" fmla="*/ 238186 w 748195"/>
              <a:gd name="csY164" fmla="*/ 2046096 h 2076207"/>
              <a:gd name="csX165" fmla="*/ 342155 w 748195"/>
              <a:gd name="csY165" fmla="*/ 2046441 h 2076207"/>
              <a:gd name="csX166" fmla="*/ 378900 w 748195"/>
              <a:gd name="csY166" fmla="*/ 2007280 h 2076207"/>
              <a:gd name="csX167" fmla="*/ 310220 w 748195"/>
              <a:gd name="csY167" fmla="*/ 554288 h 2076207"/>
              <a:gd name="csX168" fmla="*/ 259136 w 748195"/>
              <a:gd name="csY168" fmla="*/ 556881 h 2076207"/>
              <a:gd name="csX169" fmla="*/ 249085 w 748195"/>
              <a:gd name="csY169" fmla="*/ 567981 h 2076207"/>
              <a:gd name="csX170" fmla="*/ 249141 w 748195"/>
              <a:gd name="csY170" fmla="*/ 605644 h 2076207"/>
              <a:gd name="csX171" fmla="*/ 262628 w 748195"/>
              <a:gd name="csY171" fmla="*/ 605627 h 2076207"/>
              <a:gd name="csX172" fmla="*/ 369608 w 748195"/>
              <a:gd name="csY172" fmla="*/ 603027 h 2076207"/>
              <a:gd name="csX173" fmla="*/ 463931 w 748195"/>
              <a:gd name="csY173" fmla="*/ 605146 h 2076207"/>
              <a:gd name="csX174" fmla="*/ 478113 w 748195"/>
              <a:gd name="csY174" fmla="*/ 595843 h 2076207"/>
              <a:gd name="csX175" fmla="*/ 478796 w 748195"/>
              <a:gd name="csY175" fmla="*/ 556832 h 2076207"/>
              <a:gd name="csX176" fmla="*/ 310220 w 748195"/>
              <a:gd name="csY176" fmla="*/ 554288 h 2076207"/>
              <a:gd name="csX177" fmla="*/ 348836 w 748195"/>
              <a:gd name="csY177" fmla="*/ 684115 h 2076207"/>
              <a:gd name="csX178" fmla="*/ 281333 w 748195"/>
              <a:gd name="csY178" fmla="*/ 683313 h 2076207"/>
              <a:gd name="csX179" fmla="*/ 212728 w 748195"/>
              <a:gd name="csY179" fmla="*/ 681931 h 2076207"/>
              <a:gd name="csX180" fmla="*/ 187283 w 748195"/>
              <a:gd name="csY180" fmla="*/ 689555 h 2076207"/>
              <a:gd name="csX181" fmla="*/ 186163 w 748195"/>
              <a:gd name="csY181" fmla="*/ 718266 h 2076207"/>
              <a:gd name="csX182" fmla="*/ 209894 w 748195"/>
              <a:gd name="csY182" fmla="*/ 726798 h 2076207"/>
              <a:gd name="csX183" fmla="*/ 334814 w 748195"/>
              <a:gd name="csY183" fmla="*/ 732494 h 2076207"/>
              <a:gd name="csX184" fmla="*/ 364856 w 748195"/>
              <a:gd name="csY184" fmla="*/ 707963 h 2076207"/>
              <a:gd name="csX185" fmla="*/ 348836 w 748195"/>
              <a:gd name="csY185" fmla="*/ 684115 h 2076207"/>
              <a:gd name="csX186" fmla="*/ 298865 w 748195"/>
              <a:gd name="csY186" fmla="*/ 621954 h 2076207"/>
              <a:gd name="csX187" fmla="*/ 251619 w 748195"/>
              <a:gd name="csY187" fmla="*/ 622133 h 2076207"/>
              <a:gd name="csX188" fmla="*/ 214459 w 748195"/>
              <a:gd name="csY188" fmla="*/ 636230 h 2076207"/>
              <a:gd name="csX189" fmla="*/ 221436 w 748195"/>
              <a:gd name="csY189" fmla="*/ 654205 h 2076207"/>
              <a:gd name="csX190" fmla="*/ 272412 w 748195"/>
              <a:gd name="csY190" fmla="*/ 657250 h 2076207"/>
              <a:gd name="csX191" fmla="*/ 349094 w 748195"/>
              <a:gd name="csY191" fmla="*/ 659282 h 2076207"/>
              <a:gd name="csX192" fmla="*/ 362996 w 748195"/>
              <a:gd name="csY192" fmla="*/ 644234 h 2076207"/>
              <a:gd name="csX193" fmla="*/ 348472 w 748195"/>
              <a:gd name="csY193" fmla="*/ 624649 h 2076207"/>
              <a:gd name="csX194" fmla="*/ 298865 w 748195"/>
              <a:gd name="csY194" fmla="*/ 621954 h 2076207"/>
              <a:gd name="csX195" fmla="*/ 227796 w 748195"/>
              <a:gd name="csY195" fmla="*/ 528000 h 2076207"/>
              <a:gd name="csX196" fmla="*/ 241009 w 748195"/>
              <a:gd name="csY196" fmla="*/ 545897 h 2076207"/>
              <a:gd name="csX197" fmla="*/ 282607 w 748195"/>
              <a:gd name="csY197" fmla="*/ 543480 h 2076207"/>
              <a:gd name="csX198" fmla="*/ 354213 w 748195"/>
              <a:gd name="csY198" fmla="*/ 543384 h 2076207"/>
              <a:gd name="csX199" fmla="*/ 365334 w 748195"/>
              <a:gd name="csY199" fmla="*/ 533397 h 2076207"/>
              <a:gd name="csX200" fmla="*/ 354531 w 748195"/>
              <a:gd name="csY200" fmla="*/ 521620 h 2076207"/>
              <a:gd name="csX201" fmla="*/ 259169 w 748195"/>
              <a:gd name="csY201" fmla="*/ 521978 h 2076207"/>
              <a:gd name="csX202" fmla="*/ 227796 w 748195"/>
              <a:gd name="csY202" fmla="*/ 528000 h 2076207"/>
              <a:gd name="csX203" fmla="*/ 508068 w 748195"/>
              <a:gd name="csY203" fmla="*/ 190710 h 2076207"/>
              <a:gd name="csX204" fmla="*/ 521293 w 748195"/>
              <a:gd name="csY204" fmla="*/ 205907 h 2076207"/>
              <a:gd name="csX205" fmla="*/ 525175 w 748195"/>
              <a:gd name="csY205" fmla="*/ 202985 h 2076207"/>
              <a:gd name="csX206" fmla="*/ 500276 w 748195"/>
              <a:gd name="csY206" fmla="*/ 160640 h 2076207"/>
              <a:gd name="csX207" fmla="*/ 497122 w 748195"/>
              <a:gd name="csY207" fmla="*/ 162007 h 2076207"/>
              <a:gd name="csX208" fmla="*/ 508068 w 748195"/>
              <a:gd name="csY208" fmla="*/ 190710 h 2076207"/>
              <a:gd name="csX209" fmla="*/ 215522 w 748195"/>
              <a:gd name="csY209" fmla="*/ 197296 h 2076207"/>
              <a:gd name="csX210" fmla="*/ 234029 w 748195"/>
              <a:gd name="csY210" fmla="*/ 162725 h 2076207"/>
              <a:gd name="csX211" fmla="*/ 229000 w 748195"/>
              <a:gd name="csY211" fmla="*/ 159902 h 2076207"/>
              <a:gd name="csX212" fmla="*/ 204824 w 748195"/>
              <a:gd name="csY212" fmla="*/ 199677 h 2076207"/>
              <a:gd name="csX213" fmla="*/ 207990 w 748195"/>
              <a:gd name="csY213" fmla="*/ 202198 h 2076207"/>
              <a:gd name="csX214" fmla="*/ 215522 w 748195"/>
              <a:gd name="csY214" fmla="*/ 197296 h 2076207"/>
              <a:gd name="csX215" fmla="*/ 484400 w 748195"/>
              <a:gd name="csY215" fmla="*/ 896678 h 2076207"/>
              <a:gd name="csX216" fmla="*/ 486181 w 748195"/>
              <a:gd name="csY216" fmla="*/ 896585 h 2076207"/>
              <a:gd name="csX217" fmla="*/ 486181 w 748195"/>
              <a:gd name="csY217" fmla="*/ 795289 h 2076207"/>
              <a:gd name="csX218" fmla="*/ 720241 w 748195"/>
              <a:gd name="csY218" fmla="*/ 2030666 h 2076207"/>
              <a:gd name="csX219" fmla="*/ 721175 w 748195"/>
              <a:gd name="csY219" fmla="*/ 2029733 h 2076207"/>
              <a:gd name="csX220" fmla="*/ 720241 w 748195"/>
              <a:gd name="csY220" fmla="*/ 2030666 h 2076207"/>
              <a:gd name="csX221" fmla="*/ 715702 w 748195"/>
              <a:gd name="csY221" fmla="*/ 2037051 h 2076207"/>
              <a:gd name="csX222" fmla="*/ 715702 w 748195"/>
              <a:gd name="csY222" fmla="*/ 2037051 h 2076207"/>
              <a:gd name="csX0" fmla="*/ 96263 w 748195"/>
              <a:gd name="csY0" fmla="*/ 2076207 h 2076207"/>
              <a:gd name="csX1" fmla="*/ 63862 w 748195"/>
              <a:gd name="csY1" fmla="*/ 2065388 h 2076207"/>
              <a:gd name="csX2" fmla="*/ 16555 w 748195"/>
              <a:gd name="csY2" fmla="*/ 2050152 h 2076207"/>
              <a:gd name="csX3" fmla="*/ 15 w 748195"/>
              <a:gd name="csY3" fmla="*/ 2023802 h 2076207"/>
              <a:gd name="csX4" fmla="*/ 18368 w 748195"/>
              <a:gd name="csY4" fmla="*/ 1940709 h 2076207"/>
              <a:gd name="csX5" fmla="*/ 22139 w 748195"/>
              <a:gd name="csY5" fmla="*/ 1907268 h 2076207"/>
              <a:gd name="csX6" fmla="*/ 57941 w 748195"/>
              <a:gd name="csY6" fmla="*/ 1774163 h 2076207"/>
              <a:gd name="csX7" fmla="*/ 102478 w 748195"/>
              <a:gd name="csY7" fmla="*/ 1720275 h 2076207"/>
              <a:gd name="csX8" fmla="*/ 108579 w 748195"/>
              <a:gd name="csY8" fmla="*/ 1650967 h 2076207"/>
              <a:gd name="csX9" fmla="*/ 115628 w 748195"/>
              <a:gd name="csY9" fmla="*/ 1625405 h 2076207"/>
              <a:gd name="csX10" fmla="*/ 156323 w 748195"/>
              <a:gd name="csY10" fmla="*/ 1560181 h 2076207"/>
              <a:gd name="csX11" fmla="*/ 199424 w 748195"/>
              <a:gd name="csY11" fmla="*/ 1364729 h 2076207"/>
              <a:gd name="csX12" fmla="*/ 216779 w 748195"/>
              <a:gd name="csY12" fmla="*/ 1219490 h 2076207"/>
              <a:gd name="csX13" fmla="*/ 229755 w 748195"/>
              <a:gd name="csY13" fmla="*/ 1099357 h 2076207"/>
              <a:gd name="csX14" fmla="*/ 232707 w 748195"/>
              <a:gd name="csY14" fmla="*/ 1056423 h 2076207"/>
              <a:gd name="csX15" fmla="*/ 235622 w 748195"/>
              <a:gd name="csY15" fmla="*/ 952675 h 2076207"/>
              <a:gd name="csX16" fmla="*/ 235445 w 748195"/>
              <a:gd name="csY16" fmla="*/ 780278 h 2076207"/>
              <a:gd name="csX17" fmla="*/ 214544 w 748195"/>
              <a:gd name="csY17" fmla="*/ 756435 h 2076207"/>
              <a:gd name="csX18" fmla="*/ 172569 w 748195"/>
              <a:gd name="csY18" fmla="*/ 742582 h 2076207"/>
              <a:gd name="csX19" fmla="*/ 168784 w 748195"/>
              <a:gd name="csY19" fmla="*/ 669116 h 2076207"/>
              <a:gd name="csX20" fmla="*/ 191657 w 748195"/>
              <a:gd name="csY20" fmla="*/ 630765 h 2076207"/>
              <a:gd name="csX21" fmla="*/ 208150 w 748195"/>
              <a:gd name="csY21" fmla="*/ 609084 h 2076207"/>
              <a:gd name="csX22" fmla="*/ 216756 w 748195"/>
              <a:gd name="csY22" fmla="*/ 558673 h 2076207"/>
              <a:gd name="csX23" fmla="*/ 209092 w 748195"/>
              <a:gd name="csY23" fmla="*/ 521540 h 2076207"/>
              <a:gd name="csX24" fmla="*/ 204683 w 748195"/>
              <a:gd name="csY24" fmla="*/ 474024 h 2076207"/>
              <a:gd name="csX25" fmla="*/ 115483 w 748195"/>
              <a:gd name="csY25" fmla="*/ 213499 h 2076207"/>
              <a:gd name="csX26" fmla="*/ 102909 w 748195"/>
              <a:gd name="csY26" fmla="*/ 182297 h 2076207"/>
              <a:gd name="csX27" fmla="*/ 104315 w 748195"/>
              <a:gd name="csY27" fmla="*/ 163968 h 2076207"/>
              <a:gd name="csX28" fmla="*/ 122444 w 748195"/>
              <a:gd name="csY28" fmla="*/ 160805 h 2076207"/>
              <a:gd name="csX29" fmla="*/ 170283 w 748195"/>
              <a:gd name="csY29" fmla="*/ 187783 h 2076207"/>
              <a:gd name="csX30" fmla="*/ 180938 w 748195"/>
              <a:gd name="csY30" fmla="*/ 195322 h 2076207"/>
              <a:gd name="csX31" fmla="*/ 221419 w 748195"/>
              <a:gd name="csY31" fmla="*/ 138058 h 2076207"/>
              <a:gd name="csX32" fmla="*/ 294099 w 748195"/>
              <a:gd name="csY32" fmla="*/ 91372 h 2076207"/>
              <a:gd name="csX33" fmla="*/ 302307 w 748195"/>
              <a:gd name="csY33" fmla="*/ 76560 h 2076207"/>
              <a:gd name="csX34" fmla="*/ 320284 w 748195"/>
              <a:gd name="csY34" fmla="*/ 8414 h 2076207"/>
              <a:gd name="csX35" fmla="*/ 324784 w 748195"/>
              <a:gd name="csY35" fmla="*/ 946 h 2076207"/>
              <a:gd name="csX36" fmla="*/ 399212 w 748195"/>
              <a:gd name="csY36" fmla="*/ 0 h 2076207"/>
              <a:gd name="csX37" fmla="*/ 425980 w 748195"/>
              <a:gd name="csY37" fmla="*/ 78301 h 2076207"/>
              <a:gd name="csX38" fmla="*/ 431861 w 748195"/>
              <a:gd name="csY38" fmla="*/ 90312 h 2076207"/>
              <a:gd name="csX39" fmla="*/ 540349 w 748195"/>
              <a:gd name="csY39" fmla="*/ 187946 h 2076207"/>
              <a:gd name="csX40" fmla="*/ 545555 w 748195"/>
              <a:gd name="csY40" fmla="*/ 197828 h 2076207"/>
              <a:gd name="csX41" fmla="*/ 587318 w 748195"/>
              <a:gd name="csY41" fmla="*/ 171260 h 2076207"/>
              <a:gd name="csX42" fmla="*/ 601503 w 748195"/>
              <a:gd name="csY42" fmla="*/ 163707 h 2076207"/>
              <a:gd name="csX43" fmla="*/ 625254 w 748195"/>
              <a:gd name="csY43" fmla="*/ 163123 h 2076207"/>
              <a:gd name="csX44" fmla="*/ 625468 w 748195"/>
              <a:gd name="csY44" fmla="*/ 187579 h 2076207"/>
              <a:gd name="csX45" fmla="*/ 597543 w 748195"/>
              <a:gd name="csY45" fmla="*/ 251872 h 2076207"/>
              <a:gd name="csX46" fmla="*/ 531831 w 748195"/>
              <a:gd name="csY46" fmla="*/ 442689 h 2076207"/>
              <a:gd name="csX47" fmla="*/ 519888 w 748195"/>
              <a:gd name="csY47" fmla="*/ 501474 h 2076207"/>
              <a:gd name="csX48" fmla="*/ 522506 w 748195"/>
              <a:gd name="csY48" fmla="*/ 525086 h 2076207"/>
              <a:gd name="csX49" fmla="*/ 516235 w 748195"/>
              <a:gd name="csY49" fmla="*/ 555946 h 2076207"/>
              <a:gd name="csX50" fmla="*/ 521332 w 748195"/>
              <a:gd name="csY50" fmla="*/ 610676 h 2076207"/>
              <a:gd name="csX51" fmla="*/ 541382 w 748195"/>
              <a:gd name="csY51" fmla="*/ 642597 h 2076207"/>
              <a:gd name="csX52" fmla="*/ 557031 w 748195"/>
              <a:gd name="csY52" fmla="*/ 667949 h 2076207"/>
              <a:gd name="csX53" fmla="*/ 553994 w 748195"/>
              <a:gd name="csY53" fmla="*/ 744146 h 2076207"/>
              <a:gd name="csX54" fmla="*/ 508215 w 748195"/>
              <a:gd name="csY54" fmla="*/ 758841 h 2076207"/>
              <a:gd name="csX55" fmla="*/ 497442 w 748195"/>
              <a:gd name="csY55" fmla="*/ 771256 h 2076207"/>
              <a:gd name="csX56" fmla="*/ 493005 w 748195"/>
              <a:gd name="csY56" fmla="*/ 922055 h 2076207"/>
              <a:gd name="csX57" fmla="*/ 502900 w 748195"/>
              <a:gd name="csY57" fmla="*/ 1114191 h 2076207"/>
              <a:gd name="csX58" fmla="*/ 508800 w 748195"/>
              <a:gd name="csY58" fmla="*/ 1205474 h 2076207"/>
              <a:gd name="csX59" fmla="*/ 522952 w 748195"/>
              <a:gd name="csY59" fmla="*/ 1320065 h 2076207"/>
              <a:gd name="csX60" fmla="*/ 554682 w 748195"/>
              <a:gd name="csY60" fmla="*/ 1501203 h 2076207"/>
              <a:gd name="csX61" fmla="*/ 576958 w 748195"/>
              <a:gd name="csY61" fmla="*/ 1593963 h 2076207"/>
              <a:gd name="csX62" fmla="*/ 595349 w 748195"/>
              <a:gd name="csY62" fmla="*/ 1613498 h 2076207"/>
              <a:gd name="csX63" fmla="*/ 613936 w 748195"/>
              <a:gd name="csY63" fmla="*/ 1624058 h 2076207"/>
              <a:gd name="csX64" fmla="*/ 620938 w 748195"/>
              <a:gd name="csY64" fmla="*/ 1652071 h 2076207"/>
              <a:gd name="csX65" fmla="*/ 630805 w 748195"/>
              <a:gd name="csY65" fmla="*/ 1721702 h 2076207"/>
              <a:gd name="csX66" fmla="*/ 685830 w 748195"/>
              <a:gd name="csY66" fmla="*/ 1792915 h 2076207"/>
              <a:gd name="csX67" fmla="*/ 708904 w 748195"/>
              <a:gd name="csY67" fmla="*/ 1890290 h 2076207"/>
              <a:gd name="csX68" fmla="*/ 716580 w 748195"/>
              <a:gd name="csY68" fmla="*/ 1951136 h 2076207"/>
              <a:gd name="csX69" fmla="*/ 729397 w 748195"/>
              <a:gd name="csY69" fmla="*/ 2030261 h 2076207"/>
              <a:gd name="csX70" fmla="*/ 714212 w 748195"/>
              <a:gd name="csY70" fmla="*/ 2049544 h 2076207"/>
              <a:gd name="csX71" fmla="*/ 645428 w 748195"/>
              <a:gd name="csY71" fmla="*/ 2070825 h 2076207"/>
              <a:gd name="csX72" fmla="*/ 667788 w 748195"/>
              <a:gd name="csY72" fmla="*/ 2056852 h 2076207"/>
              <a:gd name="csX73" fmla="*/ 706629 w 748195"/>
              <a:gd name="csY73" fmla="*/ 2044290 h 2076207"/>
              <a:gd name="csX74" fmla="*/ 702674 w 748195"/>
              <a:gd name="csY74" fmla="*/ 2041581 h 2076207"/>
              <a:gd name="csX75" fmla="*/ 96263 w 748195"/>
              <a:gd name="csY75" fmla="*/ 2076207 h 2076207"/>
              <a:gd name="csX76" fmla="*/ 489970 w 748195"/>
              <a:gd name="csY76" fmla="*/ 152208 h 2076207"/>
              <a:gd name="csX77" fmla="*/ 490754 w 748195"/>
              <a:gd name="csY77" fmla="*/ 152592 h 2076207"/>
              <a:gd name="csX78" fmla="*/ 489489 w 748195"/>
              <a:gd name="csY78" fmla="*/ 149547 h 2076207"/>
              <a:gd name="csX79" fmla="*/ 393621 w 748195"/>
              <a:gd name="csY79" fmla="*/ 99259 h 2076207"/>
              <a:gd name="csX80" fmla="*/ 390419 w 748195"/>
              <a:gd name="csY80" fmla="*/ 18568 h 2076207"/>
              <a:gd name="csX81" fmla="*/ 334131 w 748195"/>
              <a:gd name="csY81" fmla="*/ 24327 h 2076207"/>
              <a:gd name="csX82" fmla="*/ 344678 w 748195"/>
              <a:gd name="csY82" fmla="*/ 101259 h 2076207"/>
              <a:gd name="csX83" fmla="*/ 298854 w 748195"/>
              <a:gd name="csY83" fmla="*/ 114003 h 2076207"/>
              <a:gd name="csX84" fmla="*/ 237456 w 748195"/>
              <a:gd name="csY84" fmla="*/ 154340 h 2076207"/>
              <a:gd name="csX85" fmla="*/ 240382 w 748195"/>
              <a:gd name="csY85" fmla="*/ 154035 h 2076207"/>
              <a:gd name="csX86" fmla="*/ 262731 w 748195"/>
              <a:gd name="csY86" fmla="*/ 170426 h 2076207"/>
              <a:gd name="csX87" fmla="*/ 279169 w 748195"/>
              <a:gd name="csY87" fmla="*/ 193173 h 2076207"/>
              <a:gd name="csX88" fmla="*/ 327717 w 748195"/>
              <a:gd name="csY88" fmla="*/ 188556 h 2076207"/>
              <a:gd name="csX89" fmla="*/ 348052 w 748195"/>
              <a:gd name="csY89" fmla="*/ 156919 h 2076207"/>
              <a:gd name="csX90" fmla="*/ 380330 w 748195"/>
              <a:gd name="csY90" fmla="*/ 156483 h 2076207"/>
              <a:gd name="csX91" fmla="*/ 408490 w 748195"/>
              <a:gd name="csY91" fmla="*/ 195400 h 2076207"/>
              <a:gd name="csX92" fmla="*/ 445346 w 748195"/>
              <a:gd name="csY92" fmla="*/ 197582 h 2076207"/>
              <a:gd name="csX93" fmla="*/ 464798 w 748195"/>
              <a:gd name="csY93" fmla="*/ 174107 h 2076207"/>
              <a:gd name="csX94" fmla="*/ 489970 w 748195"/>
              <a:gd name="csY94" fmla="*/ 152208 h 2076207"/>
              <a:gd name="csX95" fmla="*/ 140694 w 748195"/>
              <a:gd name="csY95" fmla="*/ 201837 h 2076207"/>
              <a:gd name="csX96" fmla="*/ 139834 w 748195"/>
              <a:gd name="csY96" fmla="*/ 201482 h 2076207"/>
              <a:gd name="csX97" fmla="*/ 140812 w 748195"/>
              <a:gd name="csY97" fmla="*/ 204941 h 2076207"/>
              <a:gd name="csX98" fmla="*/ 144631 w 748195"/>
              <a:gd name="csY98" fmla="*/ 217811 h 2076207"/>
              <a:gd name="csX99" fmla="*/ 201241 w 748195"/>
              <a:gd name="csY99" fmla="*/ 373387 h 2076207"/>
              <a:gd name="csX100" fmla="*/ 235971 w 748195"/>
              <a:gd name="csY100" fmla="*/ 504451 h 2076207"/>
              <a:gd name="csX101" fmla="*/ 247475 w 748195"/>
              <a:gd name="csY101" fmla="*/ 513241 h 2076207"/>
              <a:gd name="csX102" fmla="*/ 289066 w 748195"/>
              <a:gd name="csY102" fmla="*/ 511170 h 2076207"/>
              <a:gd name="csX103" fmla="*/ 378229 w 748195"/>
              <a:gd name="csY103" fmla="*/ 511084 h 2076207"/>
              <a:gd name="csX104" fmla="*/ 470850 w 748195"/>
              <a:gd name="csY104" fmla="*/ 516341 h 2076207"/>
              <a:gd name="csX105" fmla="*/ 492933 w 748195"/>
              <a:gd name="csY105" fmla="*/ 497969 h 2076207"/>
              <a:gd name="csX106" fmla="*/ 557617 w 748195"/>
              <a:gd name="csY106" fmla="*/ 280398 h 2076207"/>
              <a:gd name="csX107" fmla="*/ 588788 w 748195"/>
              <a:gd name="csY107" fmla="*/ 200385 h 2076207"/>
              <a:gd name="csX108" fmla="*/ 530958 w 748195"/>
              <a:gd name="csY108" fmla="*/ 232968 h 2076207"/>
              <a:gd name="csX109" fmla="*/ 483823 w 748195"/>
              <a:gd name="csY109" fmla="*/ 190364 h 2076207"/>
              <a:gd name="csX110" fmla="*/ 466649 w 748195"/>
              <a:gd name="csY110" fmla="*/ 209061 h 2076207"/>
              <a:gd name="csX111" fmla="*/ 399941 w 748195"/>
              <a:gd name="csY111" fmla="*/ 216988 h 2076207"/>
              <a:gd name="csX112" fmla="*/ 363018 w 748195"/>
              <a:gd name="csY112" fmla="*/ 179615 h 2076207"/>
              <a:gd name="csX113" fmla="*/ 308839 w 748195"/>
              <a:gd name="csY113" fmla="*/ 227846 h 2076207"/>
              <a:gd name="csX114" fmla="*/ 245077 w 748195"/>
              <a:gd name="csY114" fmla="*/ 192402 h 2076207"/>
              <a:gd name="csX115" fmla="*/ 242829 w 748195"/>
              <a:gd name="csY115" fmla="*/ 198815 h 2076207"/>
              <a:gd name="csX116" fmla="*/ 168452 w 748195"/>
              <a:gd name="csY116" fmla="*/ 219348 h 2076207"/>
              <a:gd name="csX117" fmla="*/ 140694 w 748195"/>
              <a:gd name="csY117" fmla="*/ 201837 h 2076207"/>
              <a:gd name="csX118" fmla="*/ 259999 w 748195"/>
              <a:gd name="csY118" fmla="*/ 966699 h 2076207"/>
              <a:gd name="csX119" fmla="*/ 257072 w 748195"/>
              <a:gd name="csY119" fmla="*/ 1070424 h 2076207"/>
              <a:gd name="csX120" fmla="*/ 251372 w 748195"/>
              <a:gd name="csY120" fmla="*/ 1157618 h 2076207"/>
              <a:gd name="csX121" fmla="*/ 232677 w 748195"/>
              <a:gd name="csY121" fmla="*/ 1320279 h 2076207"/>
              <a:gd name="csX122" fmla="*/ 209182 w 748195"/>
              <a:gd name="csY122" fmla="*/ 1468667 h 2076207"/>
              <a:gd name="csX123" fmla="*/ 175302 w 748195"/>
              <a:gd name="csY123" fmla="*/ 1616623 h 2076207"/>
              <a:gd name="csX124" fmla="*/ 182769 w 748195"/>
              <a:gd name="csY124" fmla="*/ 1629786 h 2076207"/>
              <a:gd name="csX125" fmla="*/ 212156 w 748195"/>
              <a:gd name="csY125" fmla="*/ 1632656 h 2076207"/>
              <a:gd name="csX126" fmla="*/ 351295 w 748195"/>
              <a:gd name="csY126" fmla="*/ 1632801 h 2076207"/>
              <a:gd name="csX127" fmla="*/ 376150 w 748195"/>
              <a:gd name="csY127" fmla="*/ 1608307 h 2076207"/>
              <a:gd name="csX128" fmla="*/ 373450 w 748195"/>
              <a:gd name="csY128" fmla="*/ 1457291 h 2076207"/>
              <a:gd name="csX129" fmla="*/ 370936 w 748195"/>
              <a:gd name="csY129" fmla="*/ 1342736 h 2076207"/>
              <a:gd name="csX130" fmla="*/ 368328 w 748195"/>
              <a:gd name="csY130" fmla="*/ 1203878 h 2076207"/>
              <a:gd name="csX131" fmla="*/ 367836 w 748195"/>
              <a:gd name="csY131" fmla="*/ 813478 h 2076207"/>
              <a:gd name="csX132" fmla="*/ 365240 w 748195"/>
              <a:gd name="csY132" fmla="*/ 773243 h 2076207"/>
              <a:gd name="csX133" fmla="*/ 353084 w 748195"/>
              <a:gd name="csY133" fmla="*/ 762083 h 2076207"/>
              <a:gd name="csX134" fmla="*/ 280966 w 748195"/>
              <a:gd name="csY134" fmla="*/ 759855 h 2076207"/>
              <a:gd name="csX135" fmla="*/ 259965 w 748195"/>
              <a:gd name="csY135" fmla="*/ 779553 h 2076207"/>
              <a:gd name="csX136" fmla="*/ 262341 w 748195"/>
              <a:gd name="csY136" fmla="*/ 856275 h 2076207"/>
              <a:gd name="csX137" fmla="*/ 259999 w 748195"/>
              <a:gd name="csY137" fmla="*/ 966699 h 2076207"/>
              <a:gd name="csX138" fmla="*/ 55556 w 748195"/>
              <a:gd name="csY138" fmla="*/ 1835827 h 2076207"/>
              <a:gd name="csX139" fmla="*/ 49393 w 748195"/>
              <a:gd name="csY139" fmla="*/ 1878155 h 2076207"/>
              <a:gd name="csX140" fmla="*/ 73949 w 748195"/>
              <a:gd name="csY140" fmla="*/ 1905781 h 2076207"/>
              <a:gd name="csX141" fmla="*/ 110073 w 748195"/>
              <a:gd name="csY141" fmla="*/ 1909068 h 2076207"/>
              <a:gd name="csX142" fmla="*/ 224745 w 748195"/>
              <a:gd name="csY142" fmla="*/ 1921652 h 2076207"/>
              <a:gd name="csX143" fmla="*/ 347327 w 748195"/>
              <a:gd name="csY143" fmla="*/ 1924778 h 2076207"/>
              <a:gd name="csX144" fmla="*/ 363345 w 748195"/>
              <a:gd name="csY144" fmla="*/ 1923293 h 2076207"/>
              <a:gd name="csX145" fmla="*/ 373787 w 748195"/>
              <a:gd name="csY145" fmla="*/ 1911200 h 2076207"/>
              <a:gd name="csX146" fmla="*/ 376623 w 748195"/>
              <a:gd name="csY146" fmla="*/ 1696741 h 2076207"/>
              <a:gd name="csX147" fmla="*/ 360437 w 748195"/>
              <a:gd name="csY147" fmla="*/ 1681289 h 2076207"/>
              <a:gd name="csX148" fmla="*/ 263503 w 748195"/>
              <a:gd name="csY148" fmla="*/ 1678179 h 2076207"/>
              <a:gd name="csX149" fmla="*/ 160381 w 748195"/>
              <a:gd name="csY149" fmla="*/ 1670405 h 2076207"/>
              <a:gd name="csX150" fmla="*/ 143321 w 748195"/>
              <a:gd name="csY150" fmla="*/ 1685538 h 2076207"/>
              <a:gd name="csX151" fmla="*/ 124769 w 748195"/>
              <a:gd name="csY151" fmla="*/ 1738195 h 2076207"/>
              <a:gd name="csX152" fmla="*/ 90593 w 748195"/>
              <a:gd name="csY152" fmla="*/ 1779570 h 2076207"/>
              <a:gd name="csX153" fmla="*/ 55556 w 748195"/>
              <a:gd name="csY153" fmla="*/ 1835827 h 2076207"/>
              <a:gd name="csX154" fmla="*/ 378900 w 748195"/>
              <a:gd name="csY154" fmla="*/ 2007280 h 2076207"/>
              <a:gd name="csX155" fmla="*/ 378887 w 748195"/>
              <a:gd name="csY155" fmla="*/ 1995127 h 2076207"/>
              <a:gd name="csX156" fmla="*/ 359084 w 748195"/>
              <a:gd name="csY156" fmla="*/ 1975964 h 2076207"/>
              <a:gd name="csX157" fmla="*/ 247288 w 748195"/>
              <a:gd name="csY157" fmla="*/ 1973305 h 2076207"/>
              <a:gd name="csX158" fmla="*/ 201692 w 748195"/>
              <a:gd name="csY158" fmla="*/ 1970275 h 2076207"/>
              <a:gd name="csX159" fmla="*/ 57962 w 748195"/>
              <a:gd name="csY159" fmla="*/ 1952648 h 2076207"/>
              <a:gd name="csX160" fmla="*/ 39194 w 748195"/>
              <a:gd name="csY160" fmla="*/ 1963552 h 2076207"/>
              <a:gd name="csX161" fmla="*/ 30066 w 748195"/>
              <a:gd name="csY161" fmla="*/ 2006631 h 2076207"/>
              <a:gd name="csX162" fmla="*/ 40232 w 748195"/>
              <a:gd name="csY162" fmla="*/ 2019486 h 2076207"/>
              <a:gd name="csX163" fmla="*/ 238186 w 748195"/>
              <a:gd name="csY163" fmla="*/ 2046096 h 2076207"/>
              <a:gd name="csX164" fmla="*/ 342155 w 748195"/>
              <a:gd name="csY164" fmla="*/ 2046441 h 2076207"/>
              <a:gd name="csX165" fmla="*/ 378900 w 748195"/>
              <a:gd name="csY165" fmla="*/ 2007280 h 2076207"/>
              <a:gd name="csX166" fmla="*/ 310220 w 748195"/>
              <a:gd name="csY166" fmla="*/ 554288 h 2076207"/>
              <a:gd name="csX167" fmla="*/ 259136 w 748195"/>
              <a:gd name="csY167" fmla="*/ 556881 h 2076207"/>
              <a:gd name="csX168" fmla="*/ 249085 w 748195"/>
              <a:gd name="csY168" fmla="*/ 567981 h 2076207"/>
              <a:gd name="csX169" fmla="*/ 249141 w 748195"/>
              <a:gd name="csY169" fmla="*/ 605644 h 2076207"/>
              <a:gd name="csX170" fmla="*/ 262628 w 748195"/>
              <a:gd name="csY170" fmla="*/ 605627 h 2076207"/>
              <a:gd name="csX171" fmla="*/ 369608 w 748195"/>
              <a:gd name="csY171" fmla="*/ 603027 h 2076207"/>
              <a:gd name="csX172" fmla="*/ 463931 w 748195"/>
              <a:gd name="csY172" fmla="*/ 605146 h 2076207"/>
              <a:gd name="csX173" fmla="*/ 478113 w 748195"/>
              <a:gd name="csY173" fmla="*/ 595843 h 2076207"/>
              <a:gd name="csX174" fmla="*/ 478796 w 748195"/>
              <a:gd name="csY174" fmla="*/ 556832 h 2076207"/>
              <a:gd name="csX175" fmla="*/ 310220 w 748195"/>
              <a:gd name="csY175" fmla="*/ 554288 h 2076207"/>
              <a:gd name="csX176" fmla="*/ 348836 w 748195"/>
              <a:gd name="csY176" fmla="*/ 684115 h 2076207"/>
              <a:gd name="csX177" fmla="*/ 281333 w 748195"/>
              <a:gd name="csY177" fmla="*/ 683313 h 2076207"/>
              <a:gd name="csX178" fmla="*/ 212728 w 748195"/>
              <a:gd name="csY178" fmla="*/ 681931 h 2076207"/>
              <a:gd name="csX179" fmla="*/ 187283 w 748195"/>
              <a:gd name="csY179" fmla="*/ 689555 h 2076207"/>
              <a:gd name="csX180" fmla="*/ 186163 w 748195"/>
              <a:gd name="csY180" fmla="*/ 718266 h 2076207"/>
              <a:gd name="csX181" fmla="*/ 209894 w 748195"/>
              <a:gd name="csY181" fmla="*/ 726798 h 2076207"/>
              <a:gd name="csX182" fmla="*/ 334814 w 748195"/>
              <a:gd name="csY182" fmla="*/ 732494 h 2076207"/>
              <a:gd name="csX183" fmla="*/ 364856 w 748195"/>
              <a:gd name="csY183" fmla="*/ 707963 h 2076207"/>
              <a:gd name="csX184" fmla="*/ 348836 w 748195"/>
              <a:gd name="csY184" fmla="*/ 684115 h 2076207"/>
              <a:gd name="csX185" fmla="*/ 298865 w 748195"/>
              <a:gd name="csY185" fmla="*/ 621954 h 2076207"/>
              <a:gd name="csX186" fmla="*/ 251619 w 748195"/>
              <a:gd name="csY186" fmla="*/ 622133 h 2076207"/>
              <a:gd name="csX187" fmla="*/ 214459 w 748195"/>
              <a:gd name="csY187" fmla="*/ 636230 h 2076207"/>
              <a:gd name="csX188" fmla="*/ 221436 w 748195"/>
              <a:gd name="csY188" fmla="*/ 654205 h 2076207"/>
              <a:gd name="csX189" fmla="*/ 272412 w 748195"/>
              <a:gd name="csY189" fmla="*/ 657250 h 2076207"/>
              <a:gd name="csX190" fmla="*/ 349094 w 748195"/>
              <a:gd name="csY190" fmla="*/ 659282 h 2076207"/>
              <a:gd name="csX191" fmla="*/ 362996 w 748195"/>
              <a:gd name="csY191" fmla="*/ 644234 h 2076207"/>
              <a:gd name="csX192" fmla="*/ 348472 w 748195"/>
              <a:gd name="csY192" fmla="*/ 624649 h 2076207"/>
              <a:gd name="csX193" fmla="*/ 298865 w 748195"/>
              <a:gd name="csY193" fmla="*/ 621954 h 2076207"/>
              <a:gd name="csX194" fmla="*/ 227796 w 748195"/>
              <a:gd name="csY194" fmla="*/ 528000 h 2076207"/>
              <a:gd name="csX195" fmla="*/ 241009 w 748195"/>
              <a:gd name="csY195" fmla="*/ 545897 h 2076207"/>
              <a:gd name="csX196" fmla="*/ 282607 w 748195"/>
              <a:gd name="csY196" fmla="*/ 543480 h 2076207"/>
              <a:gd name="csX197" fmla="*/ 354213 w 748195"/>
              <a:gd name="csY197" fmla="*/ 543384 h 2076207"/>
              <a:gd name="csX198" fmla="*/ 365334 w 748195"/>
              <a:gd name="csY198" fmla="*/ 533397 h 2076207"/>
              <a:gd name="csX199" fmla="*/ 354531 w 748195"/>
              <a:gd name="csY199" fmla="*/ 521620 h 2076207"/>
              <a:gd name="csX200" fmla="*/ 259169 w 748195"/>
              <a:gd name="csY200" fmla="*/ 521978 h 2076207"/>
              <a:gd name="csX201" fmla="*/ 227796 w 748195"/>
              <a:gd name="csY201" fmla="*/ 528000 h 2076207"/>
              <a:gd name="csX202" fmla="*/ 508068 w 748195"/>
              <a:gd name="csY202" fmla="*/ 190710 h 2076207"/>
              <a:gd name="csX203" fmla="*/ 521293 w 748195"/>
              <a:gd name="csY203" fmla="*/ 205907 h 2076207"/>
              <a:gd name="csX204" fmla="*/ 525175 w 748195"/>
              <a:gd name="csY204" fmla="*/ 202985 h 2076207"/>
              <a:gd name="csX205" fmla="*/ 500276 w 748195"/>
              <a:gd name="csY205" fmla="*/ 160640 h 2076207"/>
              <a:gd name="csX206" fmla="*/ 497122 w 748195"/>
              <a:gd name="csY206" fmla="*/ 162007 h 2076207"/>
              <a:gd name="csX207" fmla="*/ 508068 w 748195"/>
              <a:gd name="csY207" fmla="*/ 190710 h 2076207"/>
              <a:gd name="csX208" fmla="*/ 215522 w 748195"/>
              <a:gd name="csY208" fmla="*/ 197296 h 2076207"/>
              <a:gd name="csX209" fmla="*/ 234029 w 748195"/>
              <a:gd name="csY209" fmla="*/ 162725 h 2076207"/>
              <a:gd name="csX210" fmla="*/ 229000 w 748195"/>
              <a:gd name="csY210" fmla="*/ 159902 h 2076207"/>
              <a:gd name="csX211" fmla="*/ 204824 w 748195"/>
              <a:gd name="csY211" fmla="*/ 199677 h 2076207"/>
              <a:gd name="csX212" fmla="*/ 207990 w 748195"/>
              <a:gd name="csY212" fmla="*/ 202198 h 2076207"/>
              <a:gd name="csX213" fmla="*/ 215522 w 748195"/>
              <a:gd name="csY213" fmla="*/ 197296 h 2076207"/>
              <a:gd name="csX214" fmla="*/ 484400 w 748195"/>
              <a:gd name="csY214" fmla="*/ 896678 h 2076207"/>
              <a:gd name="csX215" fmla="*/ 486181 w 748195"/>
              <a:gd name="csY215" fmla="*/ 896585 h 2076207"/>
              <a:gd name="csX216" fmla="*/ 486181 w 748195"/>
              <a:gd name="csY216" fmla="*/ 795289 h 2076207"/>
              <a:gd name="csX217" fmla="*/ 720241 w 748195"/>
              <a:gd name="csY217" fmla="*/ 2030666 h 2076207"/>
              <a:gd name="csX218" fmla="*/ 721175 w 748195"/>
              <a:gd name="csY218" fmla="*/ 2029733 h 2076207"/>
              <a:gd name="csX219" fmla="*/ 720241 w 748195"/>
              <a:gd name="csY219" fmla="*/ 2030666 h 2076207"/>
              <a:gd name="csX220" fmla="*/ 715702 w 748195"/>
              <a:gd name="csY220" fmla="*/ 2037051 h 2076207"/>
              <a:gd name="csX221" fmla="*/ 715702 w 748195"/>
              <a:gd name="csY221" fmla="*/ 2037051 h 2076207"/>
              <a:gd name="csX0" fmla="*/ 96263 w 748195"/>
              <a:gd name="csY0" fmla="*/ 2076207 h 2076207"/>
              <a:gd name="csX1" fmla="*/ 63862 w 748195"/>
              <a:gd name="csY1" fmla="*/ 2065388 h 2076207"/>
              <a:gd name="csX2" fmla="*/ 16555 w 748195"/>
              <a:gd name="csY2" fmla="*/ 2050152 h 2076207"/>
              <a:gd name="csX3" fmla="*/ 15 w 748195"/>
              <a:gd name="csY3" fmla="*/ 2023802 h 2076207"/>
              <a:gd name="csX4" fmla="*/ 18368 w 748195"/>
              <a:gd name="csY4" fmla="*/ 1940709 h 2076207"/>
              <a:gd name="csX5" fmla="*/ 22139 w 748195"/>
              <a:gd name="csY5" fmla="*/ 1907268 h 2076207"/>
              <a:gd name="csX6" fmla="*/ 57941 w 748195"/>
              <a:gd name="csY6" fmla="*/ 1774163 h 2076207"/>
              <a:gd name="csX7" fmla="*/ 102478 w 748195"/>
              <a:gd name="csY7" fmla="*/ 1720275 h 2076207"/>
              <a:gd name="csX8" fmla="*/ 108579 w 748195"/>
              <a:gd name="csY8" fmla="*/ 1650967 h 2076207"/>
              <a:gd name="csX9" fmla="*/ 115628 w 748195"/>
              <a:gd name="csY9" fmla="*/ 1625405 h 2076207"/>
              <a:gd name="csX10" fmla="*/ 156323 w 748195"/>
              <a:gd name="csY10" fmla="*/ 1560181 h 2076207"/>
              <a:gd name="csX11" fmla="*/ 199424 w 748195"/>
              <a:gd name="csY11" fmla="*/ 1364729 h 2076207"/>
              <a:gd name="csX12" fmla="*/ 216779 w 748195"/>
              <a:gd name="csY12" fmla="*/ 1219490 h 2076207"/>
              <a:gd name="csX13" fmla="*/ 229755 w 748195"/>
              <a:gd name="csY13" fmla="*/ 1099357 h 2076207"/>
              <a:gd name="csX14" fmla="*/ 232707 w 748195"/>
              <a:gd name="csY14" fmla="*/ 1056423 h 2076207"/>
              <a:gd name="csX15" fmla="*/ 235622 w 748195"/>
              <a:gd name="csY15" fmla="*/ 952675 h 2076207"/>
              <a:gd name="csX16" fmla="*/ 235445 w 748195"/>
              <a:gd name="csY16" fmla="*/ 780278 h 2076207"/>
              <a:gd name="csX17" fmla="*/ 214544 w 748195"/>
              <a:gd name="csY17" fmla="*/ 756435 h 2076207"/>
              <a:gd name="csX18" fmla="*/ 172569 w 748195"/>
              <a:gd name="csY18" fmla="*/ 742582 h 2076207"/>
              <a:gd name="csX19" fmla="*/ 168784 w 748195"/>
              <a:gd name="csY19" fmla="*/ 669116 h 2076207"/>
              <a:gd name="csX20" fmla="*/ 191657 w 748195"/>
              <a:gd name="csY20" fmla="*/ 630765 h 2076207"/>
              <a:gd name="csX21" fmla="*/ 208150 w 748195"/>
              <a:gd name="csY21" fmla="*/ 609084 h 2076207"/>
              <a:gd name="csX22" fmla="*/ 216756 w 748195"/>
              <a:gd name="csY22" fmla="*/ 558673 h 2076207"/>
              <a:gd name="csX23" fmla="*/ 209092 w 748195"/>
              <a:gd name="csY23" fmla="*/ 521540 h 2076207"/>
              <a:gd name="csX24" fmla="*/ 204683 w 748195"/>
              <a:gd name="csY24" fmla="*/ 474024 h 2076207"/>
              <a:gd name="csX25" fmla="*/ 115483 w 748195"/>
              <a:gd name="csY25" fmla="*/ 213499 h 2076207"/>
              <a:gd name="csX26" fmla="*/ 102909 w 748195"/>
              <a:gd name="csY26" fmla="*/ 182297 h 2076207"/>
              <a:gd name="csX27" fmla="*/ 104315 w 748195"/>
              <a:gd name="csY27" fmla="*/ 163968 h 2076207"/>
              <a:gd name="csX28" fmla="*/ 122444 w 748195"/>
              <a:gd name="csY28" fmla="*/ 160805 h 2076207"/>
              <a:gd name="csX29" fmla="*/ 170283 w 748195"/>
              <a:gd name="csY29" fmla="*/ 187783 h 2076207"/>
              <a:gd name="csX30" fmla="*/ 180938 w 748195"/>
              <a:gd name="csY30" fmla="*/ 195322 h 2076207"/>
              <a:gd name="csX31" fmla="*/ 221419 w 748195"/>
              <a:gd name="csY31" fmla="*/ 138058 h 2076207"/>
              <a:gd name="csX32" fmla="*/ 294099 w 748195"/>
              <a:gd name="csY32" fmla="*/ 91372 h 2076207"/>
              <a:gd name="csX33" fmla="*/ 302307 w 748195"/>
              <a:gd name="csY33" fmla="*/ 76560 h 2076207"/>
              <a:gd name="csX34" fmla="*/ 320284 w 748195"/>
              <a:gd name="csY34" fmla="*/ 8414 h 2076207"/>
              <a:gd name="csX35" fmla="*/ 324784 w 748195"/>
              <a:gd name="csY35" fmla="*/ 946 h 2076207"/>
              <a:gd name="csX36" fmla="*/ 399212 w 748195"/>
              <a:gd name="csY36" fmla="*/ 0 h 2076207"/>
              <a:gd name="csX37" fmla="*/ 425980 w 748195"/>
              <a:gd name="csY37" fmla="*/ 78301 h 2076207"/>
              <a:gd name="csX38" fmla="*/ 431861 w 748195"/>
              <a:gd name="csY38" fmla="*/ 90312 h 2076207"/>
              <a:gd name="csX39" fmla="*/ 540349 w 748195"/>
              <a:gd name="csY39" fmla="*/ 187946 h 2076207"/>
              <a:gd name="csX40" fmla="*/ 545555 w 748195"/>
              <a:gd name="csY40" fmla="*/ 197828 h 2076207"/>
              <a:gd name="csX41" fmla="*/ 587318 w 748195"/>
              <a:gd name="csY41" fmla="*/ 171260 h 2076207"/>
              <a:gd name="csX42" fmla="*/ 601503 w 748195"/>
              <a:gd name="csY42" fmla="*/ 163707 h 2076207"/>
              <a:gd name="csX43" fmla="*/ 625254 w 748195"/>
              <a:gd name="csY43" fmla="*/ 163123 h 2076207"/>
              <a:gd name="csX44" fmla="*/ 625468 w 748195"/>
              <a:gd name="csY44" fmla="*/ 187579 h 2076207"/>
              <a:gd name="csX45" fmla="*/ 597543 w 748195"/>
              <a:gd name="csY45" fmla="*/ 251872 h 2076207"/>
              <a:gd name="csX46" fmla="*/ 531831 w 748195"/>
              <a:gd name="csY46" fmla="*/ 442689 h 2076207"/>
              <a:gd name="csX47" fmla="*/ 519888 w 748195"/>
              <a:gd name="csY47" fmla="*/ 501474 h 2076207"/>
              <a:gd name="csX48" fmla="*/ 522506 w 748195"/>
              <a:gd name="csY48" fmla="*/ 525086 h 2076207"/>
              <a:gd name="csX49" fmla="*/ 516235 w 748195"/>
              <a:gd name="csY49" fmla="*/ 555946 h 2076207"/>
              <a:gd name="csX50" fmla="*/ 521332 w 748195"/>
              <a:gd name="csY50" fmla="*/ 610676 h 2076207"/>
              <a:gd name="csX51" fmla="*/ 541382 w 748195"/>
              <a:gd name="csY51" fmla="*/ 642597 h 2076207"/>
              <a:gd name="csX52" fmla="*/ 557031 w 748195"/>
              <a:gd name="csY52" fmla="*/ 667949 h 2076207"/>
              <a:gd name="csX53" fmla="*/ 553994 w 748195"/>
              <a:gd name="csY53" fmla="*/ 744146 h 2076207"/>
              <a:gd name="csX54" fmla="*/ 508215 w 748195"/>
              <a:gd name="csY54" fmla="*/ 758841 h 2076207"/>
              <a:gd name="csX55" fmla="*/ 497442 w 748195"/>
              <a:gd name="csY55" fmla="*/ 771256 h 2076207"/>
              <a:gd name="csX56" fmla="*/ 493005 w 748195"/>
              <a:gd name="csY56" fmla="*/ 922055 h 2076207"/>
              <a:gd name="csX57" fmla="*/ 502900 w 748195"/>
              <a:gd name="csY57" fmla="*/ 1114191 h 2076207"/>
              <a:gd name="csX58" fmla="*/ 508800 w 748195"/>
              <a:gd name="csY58" fmla="*/ 1205474 h 2076207"/>
              <a:gd name="csX59" fmla="*/ 522952 w 748195"/>
              <a:gd name="csY59" fmla="*/ 1320065 h 2076207"/>
              <a:gd name="csX60" fmla="*/ 554682 w 748195"/>
              <a:gd name="csY60" fmla="*/ 1501203 h 2076207"/>
              <a:gd name="csX61" fmla="*/ 576958 w 748195"/>
              <a:gd name="csY61" fmla="*/ 1593963 h 2076207"/>
              <a:gd name="csX62" fmla="*/ 595349 w 748195"/>
              <a:gd name="csY62" fmla="*/ 1613498 h 2076207"/>
              <a:gd name="csX63" fmla="*/ 613936 w 748195"/>
              <a:gd name="csY63" fmla="*/ 1624058 h 2076207"/>
              <a:gd name="csX64" fmla="*/ 620938 w 748195"/>
              <a:gd name="csY64" fmla="*/ 1652071 h 2076207"/>
              <a:gd name="csX65" fmla="*/ 630805 w 748195"/>
              <a:gd name="csY65" fmla="*/ 1721702 h 2076207"/>
              <a:gd name="csX66" fmla="*/ 685830 w 748195"/>
              <a:gd name="csY66" fmla="*/ 1792915 h 2076207"/>
              <a:gd name="csX67" fmla="*/ 708904 w 748195"/>
              <a:gd name="csY67" fmla="*/ 1890290 h 2076207"/>
              <a:gd name="csX68" fmla="*/ 716580 w 748195"/>
              <a:gd name="csY68" fmla="*/ 1951136 h 2076207"/>
              <a:gd name="csX69" fmla="*/ 729397 w 748195"/>
              <a:gd name="csY69" fmla="*/ 2030261 h 2076207"/>
              <a:gd name="csX70" fmla="*/ 714212 w 748195"/>
              <a:gd name="csY70" fmla="*/ 2049544 h 2076207"/>
              <a:gd name="csX71" fmla="*/ 667788 w 748195"/>
              <a:gd name="csY71" fmla="*/ 2056852 h 2076207"/>
              <a:gd name="csX72" fmla="*/ 706629 w 748195"/>
              <a:gd name="csY72" fmla="*/ 2044290 h 2076207"/>
              <a:gd name="csX73" fmla="*/ 702674 w 748195"/>
              <a:gd name="csY73" fmla="*/ 2041581 h 2076207"/>
              <a:gd name="csX74" fmla="*/ 96263 w 748195"/>
              <a:gd name="csY74" fmla="*/ 2076207 h 2076207"/>
              <a:gd name="csX75" fmla="*/ 489970 w 748195"/>
              <a:gd name="csY75" fmla="*/ 152208 h 2076207"/>
              <a:gd name="csX76" fmla="*/ 490754 w 748195"/>
              <a:gd name="csY76" fmla="*/ 152592 h 2076207"/>
              <a:gd name="csX77" fmla="*/ 489489 w 748195"/>
              <a:gd name="csY77" fmla="*/ 149547 h 2076207"/>
              <a:gd name="csX78" fmla="*/ 393621 w 748195"/>
              <a:gd name="csY78" fmla="*/ 99259 h 2076207"/>
              <a:gd name="csX79" fmla="*/ 390419 w 748195"/>
              <a:gd name="csY79" fmla="*/ 18568 h 2076207"/>
              <a:gd name="csX80" fmla="*/ 334131 w 748195"/>
              <a:gd name="csY80" fmla="*/ 24327 h 2076207"/>
              <a:gd name="csX81" fmla="*/ 344678 w 748195"/>
              <a:gd name="csY81" fmla="*/ 101259 h 2076207"/>
              <a:gd name="csX82" fmla="*/ 298854 w 748195"/>
              <a:gd name="csY82" fmla="*/ 114003 h 2076207"/>
              <a:gd name="csX83" fmla="*/ 237456 w 748195"/>
              <a:gd name="csY83" fmla="*/ 154340 h 2076207"/>
              <a:gd name="csX84" fmla="*/ 240382 w 748195"/>
              <a:gd name="csY84" fmla="*/ 154035 h 2076207"/>
              <a:gd name="csX85" fmla="*/ 262731 w 748195"/>
              <a:gd name="csY85" fmla="*/ 170426 h 2076207"/>
              <a:gd name="csX86" fmla="*/ 279169 w 748195"/>
              <a:gd name="csY86" fmla="*/ 193173 h 2076207"/>
              <a:gd name="csX87" fmla="*/ 327717 w 748195"/>
              <a:gd name="csY87" fmla="*/ 188556 h 2076207"/>
              <a:gd name="csX88" fmla="*/ 348052 w 748195"/>
              <a:gd name="csY88" fmla="*/ 156919 h 2076207"/>
              <a:gd name="csX89" fmla="*/ 380330 w 748195"/>
              <a:gd name="csY89" fmla="*/ 156483 h 2076207"/>
              <a:gd name="csX90" fmla="*/ 408490 w 748195"/>
              <a:gd name="csY90" fmla="*/ 195400 h 2076207"/>
              <a:gd name="csX91" fmla="*/ 445346 w 748195"/>
              <a:gd name="csY91" fmla="*/ 197582 h 2076207"/>
              <a:gd name="csX92" fmla="*/ 464798 w 748195"/>
              <a:gd name="csY92" fmla="*/ 174107 h 2076207"/>
              <a:gd name="csX93" fmla="*/ 489970 w 748195"/>
              <a:gd name="csY93" fmla="*/ 152208 h 2076207"/>
              <a:gd name="csX94" fmla="*/ 140694 w 748195"/>
              <a:gd name="csY94" fmla="*/ 201837 h 2076207"/>
              <a:gd name="csX95" fmla="*/ 139834 w 748195"/>
              <a:gd name="csY95" fmla="*/ 201482 h 2076207"/>
              <a:gd name="csX96" fmla="*/ 140812 w 748195"/>
              <a:gd name="csY96" fmla="*/ 204941 h 2076207"/>
              <a:gd name="csX97" fmla="*/ 144631 w 748195"/>
              <a:gd name="csY97" fmla="*/ 217811 h 2076207"/>
              <a:gd name="csX98" fmla="*/ 201241 w 748195"/>
              <a:gd name="csY98" fmla="*/ 373387 h 2076207"/>
              <a:gd name="csX99" fmla="*/ 235971 w 748195"/>
              <a:gd name="csY99" fmla="*/ 504451 h 2076207"/>
              <a:gd name="csX100" fmla="*/ 247475 w 748195"/>
              <a:gd name="csY100" fmla="*/ 513241 h 2076207"/>
              <a:gd name="csX101" fmla="*/ 289066 w 748195"/>
              <a:gd name="csY101" fmla="*/ 511170 h 2076207"/>
              <a:gd name="csX102" fmla="*/ 378229 w 748195"/>
              <a:gd name="csY102" fmla="*/ 511084 h 2076207"/>
              <a:gd name="csX103" fmla="*/ 470850 w 748195"/>
              <a:gd name="csY103" fmla="*/ 516341 h 2076207"/>
              <a:gd name="csX104" fmla="*/ 492933 w 748195"/>
              <a:gd name="csY104" fmla="*/ 497969 h 2076207"/>
              <a:gd name="csX105" fmla="*/ 557617 w 748195"/>
              <a:gd name="csY105" fmla="*/ 280398 h 2076207"/>
              <a:gd name="csX106" fmla="*/ 588788 w 748195"/>
              <a:gd name="csY106" fmla="*/ 200385 h 2076207"/>
              <a:gd name="csX107" fmla="*/ 530958 w 748195"/>
              <a:gd name="csY107" fmla="*/ 232968 h 2076207"/>
              <a:gd name="csX108" fmla="*/ 483823 w 748195"/>
              <a:gd name="csY108" fmla="*/ 190364 h 2076207"/>
              <a:gd name="csX109" fmla="*/ 466649 w 748195"/>
              <a:gd name="csY109" fmla="*/ 209061 h 2076207"/>
              <a:gd name="csX110" fmla="*/ 399941 w 748195"/>
              <a:gd name="csY110" fmla="*/ 216988 h 2076207"/>
              <a:gd name="csX111" fmla="*/ 363018 w 748195"/>
              <a:gd name="csY111" fmla="*/ 179615 h 2076207"/>
              <a:gd name="csX112" fmla="*/ 308839 w 748195"/>
              <a:gd name="csY112" fmla="*/ 227846 h 2076207"/>
              <a:gd name="csX113" fmla="*/ 245077 w 748195"/>
              <a:gd name="csY113" fmla="*/ 192402 h 2076207"/>
              <a:gd name="csX114" fmla="*/ 242829 w 748195"/>
              <a:gd name="csY114" fmla="*/ 198815 h 2076207"/>
              <a:gd name="csX115" fmla="*/ 168452 w 748195"/>
              <a:gd name="csY115" fmla="*/ 219348 h 2076207"/>
              <a:gd name="csX116" fmla="*/ 140694 w 748195"/>
              <a:gd name="csY116" fmla="*/ 201837 h 2076207"/>
              <a:gd name="csX117" fmla="*/ 259999 w 748195"/>
              <a:gd name="csY117" fmla="*/ 966699 h 2076207"/>
              <a:gd name="csX118" fmla="*/ 257072 w 748195"/>
              <a:gd name="csY118" fmla="*/ 1070424 h 2076207"/>
              <a:gd name="csX119" fmla="*/ 251372 w 748195"/>
              <a:gd name="csY119" fmla="*/ 1157618 h 2076207"/>
              <a:gd name="csX120" fmla="*/ 232677 w 748195"/>
              <a:gd name="csY120" fmla="*/ 1320279 h 2076207"/>
              <a:gd name="csX121" fmla="*/ 209182 w 748195"/>
              <a:gd name="csY121" fmla="*/ 1468667 h 2076207"/>
              <a:gd name="csX122" fmla="*/ 175302 w 748195"/>
              <a:gd name="csY122" fmla="*/ 1616623 h 2076207"/>
              <a:gd name="csX123" fmla="*/ 182769 w 748195"/>
              <a:gd name="csY123" fmla="*/ 1629786 h 2076207"/>
              <a:gd name="csX124" fmla="*/ 212156 w 748195"/>
              <a:gd name="csY124" fmla="*/ 1632656 h 2076207"/>
              <a:gd name="csX125" fmla="*/ 351295 w 748195"/>
              <a:gd name="csY125" fmla="*/ 1632801 h 2076207"/>
              <a:gd name="csX126" fmla="*/ 376150 w 748195"/>
              <a:gd name="csY126" fmla="*/ 1608307 h 2076207"/>
              <a:gd name="csX127" fmla="*/ 373450 w 748195"/>
              <a:gd name="csY127" fmla="*/ 1457291 h 2076207"/>
              <a:gd name="csX128" fmla="*/ 370936 w 748195"/>
              <a:gd name="csY128" fmla="*/ 1342736 h 2076207"/>
              <a:gd name="csX129" fmla="*/ 368328 w 748195"/>
              <a:gd name="csY129" fmla="*/ 1203878 h 2076207"/>
              <a:gd name="csX130" fmla="*/ 367836 w 748195"/>
              <a:gd name="csY130" fmla="*/ 813478 h 2076207"/>
              <a:gd name="csX131" fmla="*/ 365240 w 748195"/>
              <a:gd name="csY131" fmla="*/ 773243 h 2076207"/>
              <a:gd name="csX132" fmla="*/ 353084 w 748195"/>
              <a:gd name="csY132" fmla="*/ 762083 h 2076207"/>
              <a:gd name="csX133" fmla="*/ 280966 w 748195"/>
              <a:gd name="csY133" fmla="*/ 759855 h 2076207"/>
              <a:gd name="csX134" fmla="*/ 259965 w 748195"/>
              <a:gd name="csY134" fmla="*/ 779553 h 2076207"/>
              <a:gd name="csX135" fmla="*/ 262341 w 748195"/>
              <a:gd name="csY135" fmla="*/ 856275 h 2076207"/>
              <a:gd name="csX136" fmla="*/ 259999 w 748195"/>
              <a:gd name="csY136" fmla="*/ 966699 h 2076207"/>
              <a:gd name="csX137" fmla="*/ 55556 w 748195"/>
              <a:gd name="csY137" fmla="*/ 1835827 h 2076207"/>
              <a:gd name="csX138" fmla="*/ 49393 w 748195"/>
              <a:gd name="csY138" fmla="*/ 1878155 h 2076207"/>
              <a:gd name="csX139" fmla="*/ 73949 w 748195"/>
              <a:gd name="csY139" fmla="*/ 1905781 h 2076207"/>
              <a:gd name="csX140" fmla="*/ 110073 w 748195"/>
              <a:gd name="csY140" fmla="*/ 1909068 h 2076207"/>
              <a:gd name="csX141" fmla="*/ 224745 w 748195"/>
              <a:gd name="csY141" fmla="*/ 1921652 h 2076207"/>
              <a:gd name="csX142" fmla="*/ 347327 w 748195"/>
              <a:gd name="csY142" fmla="*/ 1924778 h 2076207"/>
              <a:gd name="csX143" fmla="*/ 363345 w 748195"/>
              <a:gd name="csY143" fmla="*/ 1923293 h 2076207"/>
              <a:gd name="csX144" fmla="*/ 373787 w 748195"/>
              <a:gd name="csY144" fmla="*/ 1911200 h 2076207"/>
              <a:gd name="csX145" fmla="*/ 376623 w 748195"/>
              <a:gd name="csY145" fmla="*/ 1696741 h 2076207"/>
              <a:gd name="csX146" fmla="*/ 360437 w 748195"/>
              <a:gd name="csY146" fmla="*/ 1681289 h 2076207"/>
              <a:gd name="csX147" fmla="*/ 263503 w 748195"/>
              <a:gd name="csY147" fmla="*/ 1678179 h 2076207"/>
              <a:gd name="csX148" fmla="*/ 160381 w 748195"/>
              <a:gd name="csY148" fmla="*/ 1670405 h 2076207"/>
              <a:gd name="csX149" fmla="*/ 143321 w 748195"/>
              <a:gd name="csY149" fmla="*/ 1685538 h 2076207"/>
              <a:gd name="csX150" fmla="*/ 124769 w 748195"/>
              <a:gd name="csY150" fmla="*/ 1738195 h 2076207"/>
              <a:gd name="csX151" fmla="*/ 90593 w 748195"/>
              <a:gd name="csY151" fmla="*/ 1779570 h 2076207"/>
              <a:gd name="csX152" fmla="*/ 55556 w 748195"/>
              <a:gd name="csY152" fmla="*/ 1835827 h 2076207"/>
              <a:gd name="csX153" fmla="*/ 378900 w 748195"/>
              <a:gd name="csY153" fmla="*/ 2007280 h 2076207"/>
              <a:gd name="csX154" fmla="*/ 378887 w 748195"/>
              <a:gd name="csY154" fmla="*/ 1995127 h 2076207"/>
              <a:gd name="csX155" fmla="*/ 359084 w 748195"/>
              <a:gd name="csY155" fmla="*/ 1975964 h 2076207"/>
              <a:gd name="csX156" fmla="*/ 247288 w 748195"/>
              <a:gd name="csY156" fmla="*/ 1973305 h 2076207"/>
              <a:gd name="csX157" fmla="*/ 201692 w 748195"/>
              <a:gd name="csY157" fmla="*/ 1970275 h 2076207"/>
              <a:gd name="csX158" fmla="*/ 57962 w 748195"/>
              <a:gd name="csY158" fmla="*/ 1952648 h 2076207"/>
              <a:gd name="csX159" fmla="*/ 39194 w 748195"/>
              <a:gd name="csY159" fmla="*/ 1963552 h 2076207"/>
              <a:gd name="csX160" fmla="*/ 30066 w 748195"/>
              <a:gd name="csY160" fmla="*/ 2006631 h 2076207"/>
              <a:gd name="csX161" fmla="*/ 40232 w 748195"/>
              <a:gd name="csY161" fmla="*/ 2019486 h 2076207"/>
              <a:gd name="csX162" fmla="*/ 238186 w 748195"/>
              <a:gd name="csY162" fmla="*/ 2046096 h 2076207"/>
              <a:gd name="csX163" fmla="*/ 342155 w 748195"/>
              <a:gd name="csY163" fmla="*/ 2046441 h 2076207"/>
              <a:gd name="csX164" fmla="*/ 378900 w 748195"/>
              <a:gd name="csY164" fmla="*/ 2007280 h 2076207"/>
              <a:gd name="csX165" fmla="*/ 310220 w 748195"/>
              <a:gd name="csY165" fmla="*/ 554288 h 2076207"/>
              <a:gd name="csX166" fmla="*/ 259136 w 748195"/>
              <a:gd name="csY166" fmla="*/ 556881 h 2076207"/>
              <a:gd name="csX167" fmla="*/ 249085 w 748195"/>
              <a:gd name="csY167" fmla="*/ 567981 h 2076207"/>
              <a:gd name="csX168" fmla="*/ 249141 w 748195"/>
              <a:gd name="csY168" fmla="*/ 605644 h 2076207"/>
              <a:gd name="csX169" fmla="*/ 262628 w 748195"/>
              <a:gd name="csY169" fmla="*/ 605627 h 2076207"/>
              <a:gd name="csX170" fmla="*/ 369608 w 748195"/>
              <a:gd name="csY170" fmla="*/ 603027 h 2076207"/>
              <a:gd name="csX171" fmla="*/ 463931 w 748195"/>
              <a:gd name="csY171" fmla="*/ 605146 h 2076207"/>
              <a:gd name="csX172" fmla="*/ 478113 w 748195"/>
              <a:gd name="csY172" fmla="*/ 595843 h 2076207"/>
              <a:gd name="csX173" fmla="*/ 478796 w 748195"/>
              <a:gd name="csY173" fmla="*/ 556832 h 2076207"/>
              <a:gd name="csX174" fmla="*/ 310220 w 748195"/>
              <a:gd name="csY174" fmla="*/ 554288 h 2076207"/>
              <a:gd name="csX175" fmla="*/ 348836 w 748195"/>
              <a:gd name="csY175" fmla="*/ 684115 h 2076207"/>
              <a:gd name="csX176" fmla="*/ 281333 w 748195"/>
              <a:gd name="csY176" fmla="*/ 683313 h 2076207"/>
              <a:gd name="csX177" fmla="*/ 212728 w 748195"/>
              <a:gd name="csY177" fmla="*/ 681931 h 2076207"/>
              <a:gd name="csX178" fmla="*/ 187283 w 748195"/>
              <a:gd name="csY178" fmla="*/ 689555 h 2076207"/>
              <a:gd name="csX179" fmla="*/ 186163 w 748195"/>
              <a:gd name="csY179" fmla="*/ 718266 h 2076207"/>
              <a:gd name="csX180" fmla="*/ 209894 w 748195"/>
              <a:gd name="csY180" fmla="*/ 726798 h 2076207"/>
              <a:gd name="csX181" fmla="*/ 334814 w 748195"/>
              <a:gd name="csY181" fmla="*/ 732494 h 2076207"/>
              <a:gd name="csX182" fmla="*/ 364856 w 748195"/>
              <a:gd name="csY182" fmla="*/ 707963 h 2076207"/>
              <a:gd name="csX183" fmla="*/ 348836 w 748195"/>
              <a:gd name="csY183" fmla="*/ 684115 h 2076207"/>
              <a:gd name="csX184" fmla="*/ 298865 w 748195"/>
              <a:gd name="csY184" fmla="*/ 621954 h 2076207"/>
              <a:gd name="csX185" fmla="*/ 251619 w 748195"/>
              <a:gd name="csY185" fmla="*/ 622133 h 2076207"/>
              <a:gd name="csX186" fmla="*/ 214459 w 748195"/>
              <a:gd name="csY186" fmla="*/ 636230 h 2076207"/>
              <a:gd name="csX187" fmla="*/ 221436 w 748195"/>
              <a:gd name="csY187" fmla="*/ 654205 h 2076207"/>
              <a:gd name="csX188" fmla="*/ 272412 w 748195"/>
              <a:gd name="csY188" fmla="*/ 657250 h 2076207"/>
              <a:gd name="csX189" fmla="*/ 349094 w 748195"/>
              <a:gd name="csY189" fmla="*/ 659282 h 2076207"/>
              <a:gd name="csX190" fmla="*/ 362996 w 748195"/>
              <a:gd name="csY190" fmla="*/ 644234 h 2076207"/>
              <a:gd name="csX191" fmla="*/ 348472 w 748195"/>
              <a:gd name="csY191" fmla="*/ 624649 h 2076207"/>
              <a:gd name="csX192" fmla="*/ 298865 w 748195"/>
              <a:gd name="csY192" fmla="*/ 621954 h 2076207"/>
              <a:gd name="csX193" fmla="*/ 227796 w 748195"/>
              <a:gd name="csY193" fmla="*/ 528000 h 2076207"/>
              <a:gd name="csX194" fmla="*/ 241009 w 748195"/>
              <a:gd name="csY194" fmla="*/ 545897 h 2076207"/>
              <a:gd name="csX195" fmla="*/ 282607 w 748195"/>
              <a:gd name="csY195" fmla="*/ 543480 h 2076207"/>
              <a:gd name="csX196" fmla="*/ 354213 w 748195"/>
              <a:gd name="csY196" fmla="*/ 543384 h 2076207"/>
              <a:gd name="csX197" fmla="*/ 365334 w 748195"/>
              <a:gd name="csY197" fmla="*/ 533397 h 2076207"/>
              <a:gd name="csX198" fmla="*/ 354531 w 748195"/>
              <a:gd name="csY198" fmla="*/ 521620 h 2076207"/>
              <a:gd name="csX199" fmla="*/ 259169 w 748195"/>
              <a:gd name="csY199" fmla="*/ 521978 h 2076207"/>
              <a:gd name="csX200" fmla="*/ 227796 w 748195"/>
              <a:gd name="csY200" fmla="*/ 528000 h 2076207"/>
              <a:gd name="csX201" fmla="*/ 508068 w 748195"/>
              <a:gd name="csY201" fmla="*/ 190710 h 2076207"/>
              <a:gd name="csX202" fmla="*/ 521293 w 748195"/>
              <a:gd name="csY202" fmla="*/ 205907 h 2076207"/>
              <a:gd name="csX203" fmla="*/ 525175 w 748195"/>
              <a:gd name="csY203" fmla="*/ 202985 h 2076207"/>
              <a:gd name="csX204" fmla="*/ 500276 w 748195"/>
              <a:gd name="csY204" fmla="*/ 160640 h 2076207"/>
              <a:gd name="csX205" fmla="*/ 497122 w 748195"/>
              <a:gd name="csY205" fmla="*/ 162007 h 2076207"/>
              <a:gd name="csX206" fmla="*/ 508068 w 748195"/>
              <a:gd name="csY206" fmla="*/ 190710 h 2076207"/>
              <a:gd name="csX207" fmla="*/ 215522 w 748195"/>
              <a:gd name="csY207" fmla="*/ 197296 h 2076207"/>
              <a:gd name="csX208" fmla="*/ 234029 w 748195"/>
              <a:gd name="csY208" fmla="*/ 162725 h 2076207"/>
              <a:gd name="csX209" fmla="*/ 229000 w 748195"/>
              <a:gd name="csY209" fmla="*/ 159902 h 2076207"/>
              <a:gd name="csX210" fmla="*/ 204824 w 748195"/>
              <a:gd name="csY210" fmla="*/ 199677 h 2076207"/>
              <a:gd name="csX211" fmla="*/ 207990 w 748195"/>
              <a:gd name="csY211" fmla="*/ 202198 h 2076207"/>
              <a:gd name="csX212" fmla="*/ 215522 w 748195"/>
              <a:gd name="csY212" fmla="*/ 197296 h 2076207"/>
              <a:gd name="csX213" fmla="*/ 484400 w 748195"/>
              <a:gd name="csY213" fmla="*/ 896678 h 2076207"/>
              <a:gd name="csX214" fmla="*/ 486181 w 748195"/>
              <a:gd name="csY214" fmla="*/ 896585 h 2076207"/>
              <a:gd name="csX215" fmla="*/ 486181 w 748195"/>
              <a:gd name="csY215" fmla="*/ 795289 h 2076207"/>
              <a:gd name="csX216" fmla="*/ 720241 w 748195"/>
              <a:gd name="csY216" fmla="*/ 2030666 h 2076207"/>
              <a:gd name="csX217" fmla="*/ 721175 w 748195"/>
              <a:gd name="csY217" fmla="*/ 2029733 h 2076207"/>
              <a:gd name="csX218" fmla="*/ 720241 w 748195"/>
              <a:gd name="csY218" fmla="*/ 2030666 h 2076207"/>
              <a:gd name="csX219" fmla="*/ 715702 w 748195"/>
              <a:gd name="csY219" fmla="*/ 2037051 h 2076207"/>
              <a:gd name="csX220" fmla="*/ 715702 w 748195"/>
              <a:gd name="csY220" fmla="*/ 2037051 h 2076207"/>
              <a:gd name="csX0" fmla="*/ 96263 w 748195"/>
              <a:gd name="csY0" fmla="*/ 2076207 h 2076207"/>
              <a:gd name="csX1" fmla="*/ 63862 w 748195"/>
              <a:gd name="csY1" fmla="*/ 2065388 h 2076207"/>
              <a:gd name="csX2" fmla="*/ 16555 w 748195"/>
              <a:gd name="csY2" fmla="*/ 2050152 h 2076207"/>
              <a:gd name="csX3" fmla="*/ 15 w 748195"/>
              <a:gd name="csY3" fmla="*/ 2023802 h 2076207"/>
              <a:gd name="csX4" fmla="*/ 18368 w 748195"/>
              <a:gd name="csY4" fmla="*/ 1940709 h 2076207"/>
              <a:gd name="csX5" fmla="*/ 22139 w 748195"/>
              <a:gd name="csY5" fmla="*/ 1907268 h 2076207"/>
              <a:gd name="csX6" fmla="*/ 57941 w 748195"/>
              <a:gd name="csY6" fmla="*/ 1774163 h 2076207"/>
              <a:gd name="csX7" fmla="*/ 102478 w 748195"/>
              <a:gd name="csY7" fmla="*/ 1720275 h 2076207"/>
              <a:gd name="csX8" fmla="*/ 108579 w 748195"/>
              <a:gd name="csY8" fmla="*/ 1650967 h 2076207"/>
              <a:gd name="csX9" fmla="*/ 115628 w 748195"/>
              <a:gd name="csY9" fmla="*/ 1625405 h 2076207"/>
              <a:gd name="csX10" fmla="*/ 156323 w 748195"/>
              <a:gd name="csY10" fmla="*/ 1560181 h 2076207"/>
              <a:gd name="csX11" fmla="*/ 199424 w 748195"/>
              <a:gd name="csY11" fmla="*/ 1364729 h 2076207"/>
              <a:gd name="csX12" fmla="*/ 216779 w 748195"/>
              <a:gd name="csY12" fmla="*/ 1219490 h 2076207"/>
              <a:gd name="csX13" fmla="*/ 229755 w 748195"/>
              <a:gd name="csY13" fmla="*/ 1099357 h 2076207"/>
              <a:gd name="csX14" fmla="*/ 232707 w 748195"/>
              <a:gd name="csY14" fmla="*/ 1056423 h 2076207"/>
              <a:gd name="csX15" fmla="*/ 235622 w 748195"/>
              <a:gd name="csY15" fmla="*/ 952675 h 2076207"/>
              <a:gd name="csX16" fmla="*/ 235445 w 748195"/>
              <a:gd name="csY16" fmla="*/ 780278 h 2076207"/>
              <a:gd name="csX17" fmla="*/ 214544 w 748195"/>
              <a:gd name="csY17" fmla="*/ 756435 h 2076207"/>
              <a:gd name="csX18" fmla="*/ 172569 w 748195"/>
              <a:gd name="csY18" fmla="*/ 742582 h 2076207"/>
              <a:gd name="csX19" fmla="*/ 168784 w 748195"/>
              <a:gd name="csY19" fmla="*/ 669116 h 2076207"/>
              <a:gd name="csX20" fmla="*/ 191657 w 748195"/>
              <a:gd name="csY20" fmla="*/ 630765 h 2076207"/>
              <a:gd name="csX21" fmla="*/ 208150 w 748195"/>
              <a:gd name="csY21" fmla="*/ 609084 h 2076207"/>
              <a:gd name="csX22" fmla="*/ 216756 w 748195"/>
              <a:gd name="csY22" fmla="*/ 558673 h 2076207"/>
              <a:gd name="csX23" fmla="*/ 209092 w 748195"/>
              <a:gd name="csY23" fmla="*/ 521540 h 2076207"/>
              <a:gd name="csX24" fmla="*/ 204683 w 748195"/>
              <a:gd name="csY24" fmla="*/ 474024 h 2076207"/>
              <a:gd name="csX25" fmla="*/ 115483 w 748195"/>
              <a:gd name="csY25" fmla="*/ 213499 h 2076207"/>
              <a:gd name="csX26" fmla="*/ 102909 w 748195"/>
              <a:gd name="csY26" fmla="*/ 182297 h 2076207"/>
              <a:gd name="csX27" fmla="*/ 104315 w 748195"/>
              <a:gd name="csY27" fmla="*/ 163968 h 2076207"/>
              <a:gd name="csX28" fmla="*/ 122444 w 748195"/>
              <a:gd name="csY28" fmla="*/ 160805 h 2076207"/>
              <a:gd name="csX29" fmla="*/ 170283 w 748195"/>
              <a:gd name="csY29" fmla="*/ 187783 h 2076207"/>
              <a:gd name="csX30" fmla="*/ 180938 w 748195"/>
              <a:gd name="csY30" fmla="*/ 195322 h 2076207"/>
              <a:gd name="csX31" fmla="*/ 221419 w 748195"/>
              <a:gd name="csY31" fmla="*/ 138058 h 2076207"/>
              <a:gd name="csX32" fmla="*/ 294099 w 748195"/>
              <a:gd name="csY32" fmla="*/ 91372 h 2076207"/>
              <a:gd name="csX33" fmla="*/ 302307 w 748195"/>
              <a:gd name="csY33" fmla="*/ 76560 h 2076207"/>
              <a:gd name="csX34" fmla="*/ 320284 w 748195"/>
              <a:gd name="csY34" fmla="*/ 8414 h 2076207"/>
              <a:gd name="csX35" fmla="*/ 324784 w 748195"/>
              <a:gd name="csY35" fmla="*/ 946 h 2076207"/>
              <a:gd name="csX36" fmla="*/ 399212 w 748195"/>
              <a:gd name="csY36" fmla="*/ 0 h 2076207"/>
              <a:gd name="csX37" fmla="*/ 425980 w 748195"/>
              <a:gd name="csY37" fmla="*/ 78301 h 2076207"/>
              <a:gd name="csX38" fmla="*/ 431861 w 748195"/>
              <a:gd name="csY38" fmla="*/ 90312 h 2076207"/>
              <a:gd name="csX39" fmla="*/ 540349 w 748195"/>
              <a:gd name="csY39" fmla="*/ 187946 h 2076207"/>
              <a:gd name="csX40" fmla="*/ 545555 w 748195"/>
              <a:gd name="csY40" fmla="*/ 197828 h 2076207"/>
              <a:gd name="csX41" fmla="*/ 587318 w 748195"/>
              <a:gd name="csY41" fmla="*/ 171260 h 2076207"/>
              <a:gd name="csX42" fmla="*/ 601503 w 748195"/>
              <a:gd name="csY42" fmla="*/ 163707 h 2076207"/>
              <a:gd name="csX43" fmla="*/ 625254 w 748195"/>
              <a:gd name="csY43" fmla="*/ 163123 h 2076207"/>
              <a:gd name="csX44" fmla="*/ 625468 w 748195"/>
              <a:gd name="csY44" fmla="*/ 187579 h 2076207"/>
              <a:gd name="csX45" fmla="*/ 597543 w 748195"/>
              <a:gd name="csY45" fmla="*/ 251872 h 2076207"/>
              <a:gd name="csX46" fmla="*/ 531831 w 748195"/>
              <a:gd name="csY46" fmla="*/ 442689 h 2076207"/>
              <a:gd name="csX47" fmla="*/ 519888 w 748195"/>
              <a:gd name="csY47" fmla="*/ 501474 h 2076207"/>
              <a:gd name="csX48" fmla="*/ 522506 w 748195"/>
              <a:gd name="csY48" fmla="*/ 525086 h 2076207"/>
              <a:gd name="csX49" fmla="*/ 516235 w 748195"/>
              <a:gd name="csY49" fmla="*/ 555946 h 2076207"/>
              <a:gd name="csX50" fmla="*/ 521332 w 748195"/>
              <a:gd name="csY50" fmla="*/ 610676 h 2076207"/>
              <a:gd name="csX51" fmla="*/ 541382 w 748195"/>
              <a:gd name="csY51" fmla="*/ 642597 h 2076207"/>
              <a:gd name="csX52" fmla="*/ 557031 w 748195"/>
              <a:gd name="csY52" fmla="*/ 667949 h 2076207"/>
              <a:gd name="csX53" fmla="*/ 553994 w 748195"/>
              <a:gd name="csY53" fmla="*/ 744146 h 2076207"/>
              <a:gd name="csX54" fmla="*/ 508215 w 748195"/>
              <a:gd name="csY54" fmla="*/ 758841 h 2076207"/>
              <a:gd name="csX55" fmla="*/ 497442 w 748195"/>
              <a:gd name="csY55" fmla="*/ 771256 h 2076207"/>
              <a:gd name="csX56" fmla="*/ 493005 w 748195"/>
              <a:gd name="csY56" fmla="*/ 922055 h 2076207"/>
              <a:gd name="csX57" fmla="*/ 502900 w 748195"/>
              <a:gd name="csY57" fmla="*/ 1114191 h 2076207"/>
              <a:gd name="csX58" fmla="*/ 508800 w 748195"/>
              <a:gd name="csY58" fmla="*/ 1205474 h 2076207"/>
              <a:gd name="csX59" fmla="*/ 522952 w 748195"/>
              <a:gd name="csY59" fmla="*/ 1320065 h 2076207"/>
              <a:gd name="csX60" fmla="*/ 554682 w 748195"/>
              <a:gd name="csY60" fmla="*/ 1501203 h 2076207"/>
              <a:gd name="csX61" fmla="*/ 576958 w 748195"/>
              <a:gd name="csY61" fmla="*/ 1593963 h 2076207"/>
              <a:gd name="csX62" fmla="*/ 595349 w 748195"/>
              <a:gd name="csY62" fmla="*/ 1613498 h 2076207"/>
              <a:gd name="csX63" fmla="*/ 613936 w 748195"/>
              <a:gd name="csY63" fmla="*/ 1624058 h 2076207"/>
              <a:gd name="csX64" fmla="*/ 620938 w 748195"/>
              <a:gd name="csY64" fmla="*/ 1652071 h 2076207"/>
              <a:gd name="csX65" fmla="*/ 630805 w 748195"/>
              <a:gd name="csY65" fmla="*/ 1721702 h 2076207"/>
              <a:gd name="csX66" fmla="*/ 685830 w 748195"/>
              <a:gd name="csY66" fmla="*/ 1792915 h 2076207"/>
              <a:gd name="csX67" fmla="*/ 708904 w 748195"/>
              <a:gd name="csY67" fmla="*/ 1890290 h 2076207"/>
              <a:gd name="csX68" fmla="*/ 716580 w 748195"/>
              <a:gd name="csY68" fmla="*/ 1951136 h 2076207"/>
              <a:gd name="csX69" fmla="*/ 729397 w 748195"/>
              <a:gd name="csY69" fmla="*/ 2030261 h 2076207"/>
              <a:gd name="csX70" fmla="*/ 714212 w 748195"/>
              <a:gd name="csY70" fmla="*/ 2049544 h 2076207"/>
              <a:gd name="csX71" fmla="*/ 706629 w 748195"/>
              <a:gd name="csY71" fmla="*/ 2044290 h 2076207"/>
              <a:gd name="csX72" fmla="*/ 702674 w 748195"/>
              <a:gd name="csY72" fmla="*/ 2041581 h 2076207"/>
              <a:gd name="csX73" fmla="*/ 96263 w 748195"/>
              <a:gd name="csY73" fmla="*/ 2076207 h 2076207"/>
              <a:gd name="csX74" fmla="*/ 489970 w 748195"/>
              <a:gd name="csY74" fmla="*/ 152208 h 2076207"/>
              <a:gd name="csX75" fmla="*/ 490754 w 748195"/>
              <a:gd name="csY75" fmla="*/ 152592 h 2076207"/>
              <a:gd name="csX76" fmla="*/ 489489 w 748195"/>
              <a:gd name="csY76" fmla="*/ 149547 h 2076207"/>
              <a:gd name="csX77" fmla="*/ 393621 w 748195"/>
              <a:gd name="csY77" fmla="*/ 99259 h 2076207"/>
              <a:gd name="csX78" fmla="*/ 390419 w 748195"/>
              <a:gd name="csY78" fmla="*/ 18568 h 2076207"/>
              <a:gd name="csX79" fmla="*/ 334131 w 748195"/>
              <a:gd name="csY79" fmla="*/ 24327 h 2076207"/>
              <a:gd name="csX80" fmla="*/ 344678 w 748195"/>
              <a:gd name="csY80" fmla="*/ 101259 h 2076207"/>
              <a:gd name="csX81" fmla="*/ 298854 w 748195"/>
              <a:gd name="csY81" fmla="*/ 114003 h 2076207"/>
              <a:gd name="csX82" fmla="*/ 237456 w 748195"/>
              <a:gd name="csY82" fmla="*/ 154340 h 2076207"/>
              <a:gd name="csX83" fmla="*/ 240382 w 748195"/>
              <a:gd name="csY83" fmla="*/ 154035 h 2076207"/>
              <a:gd name="csX84" fmla="*/ 262731 w 748195"/>
              <a:gd name="csY84" fmla="*/ 170426 h 2076207"/>
              <a:gd name="csX85" fmla="*/ 279169 w 748195"/>
              <a:gd name="csY85" fmla="*/ 193173 h 2076207"/>
              <a:gd name="csX86" fmla="*/ 327717 w 748195"/>
              <a:gd name="csY86" fmla="*/ 188556 h 2076207"/>
              <a:gd name="csX87" fmla="*/ 348052 w 748195"/>
              <a:gd name="csY87" fmla="*/ 156919 h 2076207"/>
              <a:gd name="csX88" fmla="*/ 380330 w 748195"/>
              <a:gd name="csY88" fmla="*/ 156483 h 2076207"/>
              <a:gd name="csX89" fmla="*/ 408490 w 748195"/>
              <a:gd name="csY89" fmla="*/ 195400 h 2076207"/>
              <a:gd name="csX90" fmla="*/ 445346 w 748195"/>
              <a:gd name="csY90" fmla="*/ 197582 h 2076207"/>
              <a:gd name="csX91" fmla="*/ 464798 w 748195"/>
              <a:gd name="csY91" fmla="*/ 174107 h 2076207"/>
              <a:gd name="csX92" fmla="*/ 489970 w 748195"/>
              <a:gd name="csY92" fmla="*/ 152208 h 2076207"/>
              <a:gd name="csX93" fmla="*/ 140694 w 748195"/>
              <a:gd name="csY93" fmla="*/ 201837 h 2076207"/>
              <a:gd name="csX94" fmla="*/ 139834 w 748195"/>
              <a:gd name="csY94" fmla="*/ 201482 h 2076207"/>
              <a:gd name="csX95" fmla="*/ 140812 w 748195"/>
              <a:gd name="csY95" fmla="*/ 204941 h 2076207"/>
              <a:gd name="csX96" fmla="*/ 144631 w 748195"/>
              <a:gd name="csY96" fmla="*/ 217811 h 2076207"/>
              <a:gd name="csX97" fmla="*/ 201241 w 748195"/>
              <a:gd name="csY97" fmla="*/ 373387 h 2076207"/>
              <a:gd name="csX98" fmla="*/ 235971 w 748195"/>
              <a:gd name="csY98" fmla="*/ 504451 h 2076207"/>
              <a:gd name="csX99" fmla="*/ 247475 w 748195"/>
              <a:gd name="csY99" fmla="*/ 513241 h 2076207"/>
              <a:gd name="csX100" fmla="*/ 289066 w 748195"/>
              <a:gd name="csY100" fmla="*/ 511170 h 2076207"/>
              <a:gd name="csX101" fmla="*/ 378229 w 748195"/>
              <a:gd name="csY101" fmla="*/ 511084 h 2076207"/>
              <a:gd name="csX102" fmla="*/ 470850 w 748195"/>
              <a:gd name="csY102" fmla="*/ 516341 h 2076207"/>
              <a:gd name="csX103" fmla="*/ 492933 w 748195"/>
              <a:gd name="csY103" fmla="*/ 497969 h 2076207"/>
              <a:gd name="csX104" fmla="*/ 557617 w 748195"/>
              <a:gd name="csY104" fmla="*/ 280398 h 2076207"/>
              <a:gd name="csX105" fmla="*/ 588788 w 748195"/>
              <a:gd name="csY105" fmla="*/ 200385 h 2076207"/>
              <a:gd name="csX106" fmla="*/ 530958 w 748195"/>
              <a:gd name="csY106" fmla="*/ 232968 h 2076207"/>
              <a:gd name="csX107" fmla="*/ 483823 w 748195"/>
              <a:gd name="csY107" fmla="*/ 190364 h 2076207"/>
              <a:gd name="csX108" fmla="*/ 466649 w 748195"/>
              <a:gd name="csY108" fmla="*/ 209061 h 2076207"/>
              <a:gd name="csX109" fmla="*/ 399941 w 748195"/>
              <a:gd name="csY109" fmla="*/ 216988 h 2076207"/>
              <a:gd name="csX110" fmla="*/ 363018 w 748195"/>
              <a:gd name="csY110" fmla="*/ 179615 h 2076207"/>
              <a:gd name="csX111" fmla="*/ 308839 w 748195"/>
              <a:gd name="csY111" fmla="*/ 227846 h 2076207"/>
              <a:gd name="csX112" fmla="*/ 245077 w 748195"/>
              <a:gd name="csY112" fmla="*/ 192402 h 2076207"/>
              <a:gd name="csX113" fmla="*/ 242829 w 748195"/>
              <a:gd name="csY113" fmla="*/ 198815 h 2076207"/>
              <a:gd name="csX114" fmla="*/ 168452 w 748195"/>
              <a:gd name="csY114" fmla="*/ 219348 h 2076207"/>
              <a:gd name="csX115" fmla="*/ 140694 w 748195"/>
              <a:gd name="csY115" fmla="*/ 201837 h 2076207"/>
              <a:gd name="csX116" fmla="*/ 259999 w 748195"/>
              <a:gd name="csY116" fmla="*/ 966699 h 2076207"/>
              <a:gd name="csX117" fmla="*/ 257072 w 748195"/>
              <a:gd name="csY117" fmla="*/ 1070424 h 2076207"/>
              <a:gd name="csX118" fmla="*/ 251372 w 748195"/>
              <a:gd name="csY118" fmla="*/ 1157618 h 2076207"/>
              <a:gd name="csX119" fmla="*/ 232677 w 748195"/>
              <a:gd name="csY119" fmla="*/ 1320279 h 2076207"/>
              <a:gd name="csX120" fmla="*/ 209182 w 748195"/>
              <a:gd name="csY120" fmla="*/ 1468667 h 2076207"/>
              <a:gd name="csX121" fmla="*/ 175302 w 748195"/>
              <a:gd name="csY121" fmla="*/ 1616623 h 2076207"/>
              <a:gd name="csX122" fmla="*/ 182769 w 748195"/>
              <a:gd name="csY122" fmla="*/ 1629786 h 2076207"/>
              <a:gd name="csX123" fmla="*/ 212156 w 748195"/>
              <a:gd name="csY123" fmla="*/ 1632656 h 2076207"/>
              <a:gd name="csX124" fmla="*/ 351295 w 748195"/>
              <a:gd name="csY124" fmla="*/ 1632801 h 2076207"/>
              <a:gd name="csX125" fmla="*/ 376150 w 748195"/>
              <a:gd name="csY125" fmla="*/ 1608307 h 2076207"/>
              <a:gd name="csX126" fmla="*/ 373450 w 748195"/>
              <a:gd name="csY126" fmla="*/ 1457291 h 2076207"/>
              <a:gd name="csX127" fmla="*/ 370936 w 748195"/>
              <a:gd name="csY127" fmla="*/ 1342736 h 2076207"/>
              <a:gd name="csX128" fmla="*/ 368328 w 748195"/>
              <a:gd name="csY128" fmla="*/ 1203878 h 2076207"/>
              <a:gd name="csX129" fmla="*/ 367836 w 748195"/>
              <a:gd name="csY129" fmla="*/ 813478 h 2076207"/>
              <a:gd name="csX130" fmla="*/ 365240 w 748195"/>
              <a:gd name="csY130" fmla="*/ 773243 h 2076207"/>
              <a:gd name="csX131" fmla="*/ 353084 w 748195"/>
              <a:gd name="csY131" fmla="*/ 762083 h 2076207"/>
              <a:gd name="csX132" fmla="*/ 280966 w 748195"/>
              <a:gd name="csY132" fmla="*/ 759855 h 2076207"/>
              <a:gd name="csX133" fmla="*/ 259965 w 748195"/>
              <a:gd name="csY133" fmla="*/ 779553 h 2076207"/>
              <a:gd name="csX134" fmla="*/ 262341 w 748195"/>
              <a:gd name="csY134" fmla="*/ 856275 h 2076207"/>
              <a:gd name="csX135" fmla="*/ 259999 w 748195"/>
              <a:gd name="csY135" fmla="*/ 966699 h 2076207"/>
              <a:gd name="csX136" fmla="*/ 55556 w 748195"/>
              <a:gd name="csY136" fmla="*/ 1835827 h 2076207"/>
              <a:gd name="csX137" fmla="*/ 49393 w 748195"/>
              <a:gd name="csY137" fmla="*/ 1878155 h 2076207"/>
              <a:gd name="csX138" fmla="*/ 73949 w 748195"/>
              <a:gd name="csY138" fmla="*/ 1905781 h 2076207"/>
              <a:gd name="csX139" fmla="*/ 110073 w 748195"/>
              <a:gd name="csY139" fmla="*/ 1909068 h 2076207"/>
              <a:gd name="csX140" fmla="*/ 224745 w 748195"/>
              <a:gd name="csY140" fmla="*/ 1921652 h 2076207"/>
              <a:gd name="csX141" fmla="*/ 347327 w 748195"/>
              <a:gd name="csY141" fmla="*/ 1924778 h 2076207"/>
              <a:gd name="csX142" fmla="*/ 363345 w 748195"/>
              <a:gd name="csY142" fmla="*/ 1923293 h 2076207"/>
              <a:gd name="csX143" fmla="*/ 373787 w 748195"/>
              <a:gd name="csY143" fmla="*/ 1911200 h 2076207"/>
              <a:gd name="csX144" fmla="*/ 376623 w 748195"/>
              <a:gd name="csY144" fmla="*/ 1696741 h 2076207"/>
              <a:gd name="csX145" fmla="*/ 360437 w 748195"/>
              <a:gd name="csY145" fmla="*/ 1681289 h 2076207"/>
              <a:gd name="csX146" fmla="*/ 263503 w 748195"/>
              <a:gd name="csY146" fmla="*/ 1678179 h 2076207"/>
              <a:gd name="csX147" fmla="*/ 160381 w 748195"/>
              <a:gd name="csY147" fmla="*/ 1670405 h 2076207"/>
              <a:gd name="csX148" fmla="*/ 143321 w 748195"/>
              <a:gd name="csY148" fmla="*/ 1685538 h 2076207"/>
              <a:gd name="csX149" fmla="*/ 124769 w 748195"/>
              <a:gd name="csY149" fmla="*/ 1738195 h 2076207"/>
              <a:gd name="csX150" fmla="*/ 90593 w 748195"/>
              <a:gd name="csY150" fmla="*/ 1779570 h 2076207"/>
              <a:gd name="csX151" fmla="*/ 55556 w 748195"/>
              <a:gd name="csY151" fmla="*/ 1835827 h 2076207"/>
              <a:gd name="csX152" fmla="*/ 378900 w 748195"/>
              <a:gd name="csY152" fmla="*/ 2007280 h 2076207"/>
              <a:gd name="csX153" fmla="*/ 378887 w 748195"/>
              <a:gd name="csY153" fmla="*/ 1995127 h 2076207"/>
              <a:gd name="csX154" fmla="*/ 359084 w 748195"/>
              <a:gd name="csY154" fmla="*/ 1975964 h 2076207"/>
              <a:gd name="csX155" fmla="*/ 247288 w 748195"/>
              <a:gd name="csY155" fmla="*/ 1973305 h 2076207"/>
              <a:gd name="csX156" fmla="*/ 201692 w 748195"/>
              <a:gd name="csY156" fmla="*/ 1970275 h 2076207"/>
              <a:gd name="csX157" fmla="*/ 57962 w 748195"/>
              <a:gd name="csY157" fmla="*/ 1952648 h 2076207"/>
              <a:gd name="csX158" fmla="*/ 39194 w 748195"/>
              <a:gd name="csY158" fmla="*/ 1963552 h 2076207"/>
              <a:gd name="csX159" fmla="*/ 30066 w 748195"/>
              <a:gd name="csY159" fmla="*/ 2006631 h 2076207"/>
              <a:gd name="csX160" fmla="*/ 40232 w 748195"/>
              <a:gd name="csY160" fmla="*/ 2019486 h 2076207"/>
              <a:gd name="csX161" fmla="*/ 238186 w 748195"/>
              <a:gd name="csY161" fmla="*/ 2046096 h 2076207"/>
              <a:gd name="csX162" fmla="*/ 342155 w 748195"/>
              <a:gd name="csY162" fmla="*/ 2046441 h 2076207"/>
              <a:gd name="csX163" fmla="*/ 378900 w 748195"/>
              <a:gd name="csY163" fmla="*/ 2007280 h 2076207"/>
              <a:gd name="csX164" fmla="*/ 310220 w 748195"/>
              <a:gd name="csY164" fmla="*/ 554288 h 2076207"/>
              <a:gd name="csX165" fmla="*/ 259136 w 748195"/>
              <a:gd name="csY165" fmla="*/ 556881 h 2076207"/>
              <a:gd name="csX166" fmla="*/ 249085 w 748195"/>
              <a:gd name="csY166" fmla="*/ 567981 h 2076207"/>
              <a:gd name="csX167" fmla="*/ 249141 w 748195"/>
              <a:gd name="csY167" fmla="*/ 605644 h 2076207"/>
              <a:gd name="csX168" fmla="*/ 262628 w 748195"/>
              <a:gd name="csY168" fmla="*/ 605627 h 2076207"/>
              <a:gd name="csX169" fmla="*/ 369608 w 748195"/>
              <a:gd name="csY169" fmla="*/ 603027 h 2076207"/>
              <a:gd name="csX170" fmla="*/ 463931 w 748195"/>
              <a:gd name="csY170" fmla="*/ 605146 h 2076207"/>
              <a:gd name="csX171" fmla="*/ 478113 w 748195"/>
              <a:gd name="csY171" fmla="*/ 595843 h 2076207"/>
              <a:gd name="csX172" fmla="*/ 478796 w 748195"/>
              <a:gd name="csY172" fmla="*/ 556832 h 2076207"/>
              <a:gd name="csX173" fmla="*/ 310220 w 748195"/>
              <a:gd name="csY173" fmla="*/ 554288 h 2076207"/>
              <a:gd name="csX174" fmla="*/ 348836 w 748195"/>
              <a:gd name="csY174" fmla="*/ 684115 h 2076207"/>
              <a:gd name="csX175" fmla="*/ 281333 w 748195"/>
              <a:gd name="csY175" fmla="*/ 683313 h 2076207"/>
              <a:gd name="csX176" fmla="*/ 212728 w 748195"/>
              <a:gd name="csY176" fmla="*/ 681931 h 2076207"/>
              <a:gd name="csX177" fmla="*/ 187283 w 748195"/>
              <a:gd name="csY177" fmla="*/ 689555 h 2076207"/>
              <a:gd name="csX178" fmla="*/ 186163 w 748195"/>
              <a:gd name="csY178" fmla="*/ 718266 h 2076207"/>
              <a:gd name="csX179" fmla="*/ 209894 w 748195"/>
              <a:gd name="csY179" fmla="*/ 726798 h 2076207"/>
              <a:gd name="csX180" fmla="*/ 334814 w 748195"/>
              <a:gd name="csY180" fmla="*/ 732494 h 2076207"/>
              <a:gd name="csX181" fmla="*/ 364856 w 748195"/>
              <a:gd name="csY181" fmla="*/ 707963 h 2076207"/>
              <a:gd name="csX182" fmla="*/ 348836 w 748195"/>
              <a:gd name="csY182" fmla="*/ 684115 h 2076207"/>
              <a:gd name="csX183" fmla="*/ 298865 w 748195"/>
              <a:gd name="csY183" fmla="*/ 621954 h 2076207"/>
              <a:gd name="csX184" fmla="*/ 251619 w 748195"/>
              <a:gd name="csY184" fmla="*/ 622133 h 2076207"/>
              <a:gd name="csX185" fmla="*/ 214459 w 748195"/>
              <a:gd name="csY185" fmla="*/ 636230 h 2076207"/>
              <a:gd name="csX186" fmla="*/ 221436 w 748195"/>
              <a:gd name="csY186" fmla="*/ 654205 h 2076207"/>
              <a:gd name="csX187" fmla="*/ 272412 w 748195"/>
              <a:gd name="csY187" fmla="*/ 657250 h 2076207"/>
              <a:gd name="csX188" fmla="*/ 349094 w 748195"/>
              <a:gd name="csY188" fmla="*/ 659282 h 2076207"/>
              <a:gd name="csX189" fmla="*/ 362996 w 748195"/>
              <a:gd name="csY189" fmla="*/ 644234 h 2076207"/>
              <a:gd name="csX190" fmla="*/ 348472 w 748195"/>
              <a:gd name="csY190" fmla="*/ 624649 h 2076207"/>
              <a:gd name="csX191" fmla="*/ 298865 w 748195"/>
              <a:gd name="csY191" fmla="*/ 621954 h 2076207"/>
              <a:gd name="csX192" fmla="*/ 227796 w 748195"/>
              <a:gd name="csY192" fmla="*/ 528000 h 2076207"/>
              <a:gd name="csX193" fmla="*/ 241009 w 748195"/>
              <a:gd name="csY193" fmla="*/ 545897 h 2076207"/>
              <a:gd name="csX194" fmla="*/ 282607 w 748195"/>
              <a:gd name="csY194" fmla="*/ 543480 h 2076207"/>
              <a:gd name="csX195" fmla="*/ 354213 w 748195"/>
              <a:gd name="csY195" fmla="*/ 543384 h 2076207"/>
              <a:gd name="csX196" fmla="*/ 365334 w 748195"/>
              <a:gd name="csY196" fmla="*/ 533397 h 2076207"/>
              <a:gd name="csX197" fmla="*/ 354531 w 748195"/>
              <a:gd name="csY197" fmla="*/ 521620 h 2076207"/>
              <a:gd name="csX198" fmla="*/ 259169 w 748195"/>
              <a:gd name="csY198" fmla="*/ 521978 h 2076207"/>
              <a:gd name="csX199" fmla="*/ 227796 w 748195"/>
              <a:gd name="csY199" fmla="*/ 528000 h 2076207"/>
              <a:gd name="csX200" fmla="*/ 508068 w 748195"/>
              <a:gd name="csY200" fmla="*/ 190710 h 2076207"/>
              <a:gd name="csX201" fmla="*/ 521293 w 748195"/>
              <a:gd name="csY201" fmla="*/ 205907 h 2076207"/>
              <a:gd name="csX202" fmla="*/ 525175 w 748195"/>
              <a:gd name="csY202" fmla="*/ 202985 h 2076207"/>
              <a:gd name="csX203" fmla="*/ 500276 w 748195"/>
              <a:gd name="csY203" fmla="*/ 160640 h 2076207"/>
              <a:gd name="csX204" fmla="*/ 497122 w 748195"/>
              <a:gd name="csY204" fmla="*/ 162007 h 2076207"/>
              <a:gd name="csX205" fmla="*/ 508068 w 748195"/>
              <a:gd name="csY205" fmla="*/ 190710 h 2076207"/>
              <a:gd name="csX206" fmla="*/ 215522 w 748195"/>
              <a:gd name="csY206" fmla="*/ 197296 h 2076207"/>
              <a:gd name="csX207" fmla="*/ 234029 w 748195"/>
              <a:gd name="csY207" fmla="*/ 162725 h 2076207"/>
              <a:gd name="csX208" fmla="*/ 229000 w 748195"/>
              <a:gd name="csY208" fmla="*/ 159902 h 2076207"/>
              <a:gd name="csX209" fmla="*/ 204824 w 748195"/>
              <a:gd name="csY209" fmla="*/ 199677 h 2076207"/>
              <a:gd name="csX210" fmla="*/ 207990 w 748195"/>
              <a:gd name="csY210" fmla="*/ 202198 h 2076207"/>
              <a:gd name="csX211" fmla="*/ 215522 w 748195"/>
              <a:gd name="csY211" fmla="*/ 197296 h 2076207"/>
              <a:gd name="csX212" fmla="*/ 484400 w 748195"/>
              <a:gd name="csY212" fmla="*/ 896678 h 2076207"/>
              <a:gd name="csX213" fmla="*/ 486181 w 748195"/>
              <a:gd name="csY213" fmla="*/ 896585 h 2076207"/>
              <a:gd name="csX214" fmla="*/ 486181 w 748195"/>
              <a:gd name="csY214" fmla="*/ 795289 h 2076207"/>
              <a:gd name="csX215" fmla="*/ 720241 w 748195"/>
              <a:gd name="csY215" fmla="*/ 2030666 h 2076207"/>
              <a:gd name="csX216" fmla="*/ 721175 w 748195"/>
              <a:gd name="csY216" fmla="*/ 2029733 h 2076207"/>
              <a:gd name="csX217" fmla="*/ 720241 w 748195"/>
              <a:gd name="csY217" fmla="*/ 2030666 h 2076207"/>
              <a:gd name="csX218" fmla="*/ 715702 w 748195"/>
              <a:gd name="csY218" fmla="*/ 2037051 h 2076207"/>
              <a:gd name="csX219" fmla="*/ 715702 w 748195"/>
              <a:gd name="csY219" fmla="*/ 2037051 h 2076207"/>
              <a:gd name="csX0" fmla="*/ 96263 w 729414"/>
              <a:gd name="csY0" fmla="*/ 2076207 h 2076207"/>
              <a:gd name="csX1" fmla="*/ 63862 w 729414"/>
              <a:gd name="csY1" fmla="*/ 2065388 h 2076207"/>
              <a:gd name="csX2" fmla="*/ 16555 w 729414"/>
              <a:gd name="csY2" fmla="*/ 2050152 h 2076207"/>
              <a:gd name="csX3" fmla="*/ 15 w 729414"/>
              <a:gd name="csY3" fmla="*/ 2023802 h 2076207"/>
              <a:gd name="csX4" fmla="*/ 18368 w 729414"/>
              <a:gd name="csY4" fmla="*/ 1940709 h 2076207"/>
              <a:gd name="csX5" fmla="*/ 22139 w 729414"/>
              <a:gd name="csY5" fmla="*/ 1907268 h 2076207"/>
              <a:gd name="csX6" fmla="*/ 57941 w 729414"/>
              <a:gd name="csY6" fmla="*/ 1774163 h 2076207"/>
              <a:gd name="csX7" fmla="*/ 102478 w 729414"/>
              <a:gd name="csY7" fmla="*/ 1720275 h 2076207"/>
              <a:gd name="csX8" fmla="*/ 108579 w 729414"/>
              <a:gd name="csY8" fmla="*/ 1650967 h 2076207"/>
              <a:gd name="csX9" fmla="*/ 115628 w 729414"/>
              <a:gd name="csY9" fmla="*/ 1625405 h 2076207"/>
              <a:gd name="csX10" fmla="*/ 156323 w 729414"/>
              <a:gd name="csY10" fmla="*/ 1560181 h 2076207"/>
              <a:gd name="csX11" fmla="*/ 199424 w 729414"/>
              <a:gd name="csY11" fmla="*/ 1364729 h 2076207"/>
              <a:gd name="csX12" fmla="*/ 216779 w 729414"/>
              <a:gd name="csY12" fmla="*/ 1219490 h 2076207"/>
              <a:gd name="csX13" fmla="*/ 229755 w 729414"/>
              <a:gd name="csY13" fmla="*/ 1099357 h 2076207"/>
              <a:gd name="csX14" fmla="*/ 232707 w 729414"/>
              <a:gd name="csY14" fmla="*/ 1056423 h 2076207"/>
              <a:gd name="csX15" fmla="*/ 235622 w 729414"/>
              <a:gd name="csY15" fmla="*/ 952675 h 2076207"/>
              <a:gd name="csX16" fmla="*/ 235445 w 729414"/>
              <a:gd name="csY16" fmla="*/ 780278 h 2076207"/>
              <a:gd name="csX17" fmla="*/ 214544 w 729414"/>
              <a:gd name="csY17" fmla="*/ 756435 h 2076207"/>
              <a:gd name="csX18" fmla="*/ 172569 w 729414"/>
              <a:gd name="csY18" fmla="*/ 742582 h 2076207"/>
              <a:gd name="csX19" fmla="*/ 168784 w 729414"/>
              <a:gd name="csY19" fmla="*/ 669116 h 2076207"/>
              <a:gd name="csX20" fmla="*/ 191657 w 729414"/>
              <a:gd name="csY20" fmla="*/ 630765 h 2076207"/>
              <a:gd name="csX21" fmla="*/ 208150 w 729414"/>
              <a:gd name="csY21" fmla="*/ 609084 h 2076207"/>
              <a:gd name="csX22" fmla="*/ 216756 w 729414"/>
              <a:gd name="csY22" fmla="*/ 558673 h 2076207"/>
              <a:gd name="csX23" fmla="*/ 209092 w 729414"/>
              <a:gd name="csY23" fmla="*/ 521540 h 2076207"/>
              <a:gd name="csX24" fmla="*/ 204683 w 729414"/>
              <a:gd name="csY24" fmla="*/ 474024 h 2076207"/>
              <a:gd name="csX25" fmla="*/ 115483 w 729414"/>
              <a:gd name="csY25" fmla="*/ 213499 h 2076207"/>
              <a:gd name="csX26" fmla="*/ 102909 w 729414"/>
              <a:gd name="csY26" fmla="*/ 182297 h 2076207"/>
              <a:gd name="csX27" fmla="*/ 104315 w 729414"/>
              <a:gd name="csY27" fmla="*/ 163968 h 2076207"/>
              <a:gd name="csX28" fmla="*/ 122444 w 729414"/>
              <a:gd name="csY28" fmla="*/ 160805 h 2076207"/>
              <a:gd name="csX29" fmla="*/ 170283 w 729414"/>
              <a:gd name="csY29" fmla="*/ 187783 h 2076207"/>
              <a:gd name="csX30" fmla="*/ 180938 w 729414"/>
              <a:gd name="csY30" fmla="*/ 195322 h 2076207"/>
              <a:gd name="csX31" fmla="*/ 221419 w 729414"/>
              <a:gd name="csY31" fmla="*/ 138058 h 2076207"/>
              <a:gd name="csX32" fmla="*/ 294099 w 729414"/>
              <a:gd name="csY32" fmla="*/ 91372 h 2076207"/>
              <a:gd name="csX33" fmla="*/ 302307 w 729414"/>
              <a:gd name="csY33" fmla="*/ 76560 h 2076207"/>
              <a:gd name="csX34" fmla="*/ 320284 w 729414"/>
              <a:gd name="csY34" fmla="*/ 8414 h 2076207"/>
              <a:gd name="csX35" fmla="*/ 324784 w 729414"/>
              <a:gd name="csY35" fmla="*/ 946 h 2076207"/>
              <a:gd name="csX36" fmla="*/ 399212 w 729414"/>
              <a:gd name="csY36" fmla="*/ 0 h 2076207"/>
              <a:gd name="csX37" fmla="*/ 425980 w 729414"/>
              <a:gd name="csY37" fmla="*/ 78301 h 2076207"/>
              <a:gd name="csX38" fmla="*/ 431861 w 729414"/>
              <a:gd name="csY38" fmla="*/ 90312 h 2076207"/>
              <a:gd name="csX39" fmla="*/ 540349 w 729414"/>
              <a:gd name="csY39" fmla="*/ 187946 h 2076207"/>
              <a:gd name="csX40" fmla="*/ 545555 w 729414"/>
              <a:gd name="csY40" fmla="*/ 197828 h 2076207"/>
              <a:gd name="csX41" fmla="*/ 587318 w 729414"/>
              <a:gd name="csY41" fmla="*/ 171260 h 2076207"/>
              <a:gd name="csX42" fmla="*/ 601503 w 729414"/>
              <a:gd name="csY42" fmla="*/ 163707 h 2076207"/>
              <a:gd name="csX43" fmla="*/ 625254 w 729414"/>
              <a:gd name="csY43" fmla="*/ 163123 h 2076207"/>
              <a:gd name="csX44" fmla="*/ 625468 w 729414"/>
              <a:gd name="csY44" fmla="*/ 187579 h 2076207"/>
              <a:gd name="csX45" fmla="*/ 597543 w 729414"/>
              <a:gd name="csY45" fmla="*/ 251872 h 2076207"/>
              <a:gd name="csX46" fmla="*/ 531831 w 729414"/>
              <a:gd name="csY46" fmla="*/ 442689 h 2076207"/>
              <a:gd name="csX47" fmla="*/ 519888 w 729414"/>
              <a:gd name="csY47" fmla="*/ 501474 h 2076207"/>
              <a:gd name="csX48" fmla="*/ 522506 w 729414"/>
              <a:gd name="csY48" fmla="*/ 525086 h 2076207"/>
              <a:gd name="csX49" fmla="*/ 516235 w 729414"/>
              <a:gd name="csY49" fmla="*/ 555946 h 2076207"/>
              <a:gd name="csX50" fmla="*/ 521332 w 729414"/>
              <a:gd name="csY50" fmla="*/ 610676 h 2076207"/>
              <a:gd name="csX51" fmla="*/ 541382 w 729414"/>
              <a:gd name="csY51" fmla="*/ 642597 h 2076207"/>
              <a:gd name="csX52" fmla="*/ 557031 w 729414"/>
              <a:gd name="csY52" fmla="*/ 667949 h 2076207"/>
              <a:gd name="csX53" fmla="*/ 553994 w 729414"/>
              <a:gd name="csY53" fmla="*/ 744146 h 2076207"/>
              <a:gd name="csX54" fmla="*/ 508215 w 729414"/>
              <a:gd name="csY54" fmla="*/ 758841 h 2076207"/>
              <a:gd name="csX55" fmla="*/ 497442 w 729414"/>
              <a:gd name="csY55" fmla="*/ 771256 h 2076207"/>
              <a:gd name="csX56" fmla="*/ 493005 w 729414"/>
              <a:gd name="csY56" fmla="*/ 922055 h 2076207"/>
              <a:gd name="csX57" fmla="*/ 502900 w 729414"/>
              <a:gd name="csY57" fmla="*/ 1114191 h 2076207"/>
              <a:gd name="csX58" fmla="*/ 508800 w 729414"/>
              <a:gd name="csY58" fmla="*/ 1205474 h 2076207"/>
              <a:gd name="csX59" fmla="*/ 522952 w 729414"/>
              <a:gd name="csY59" fmla="*/ 1320065 h 2076207"/>
              <a:gd name="csX60" fmla="*/ 554682 w 729414"/>
              <a:gd name="csY60" fmla="*/ 1501203 h 2076207"/>
              <a:gd name="csX61" fmla="*/ 576958 w 729414"/>
              <a:gd name="csY61" fmla="*/ 1593963 h 2076207"/>
              <a:gd name="csX62" fmla="*/ 595349 w 729414"/>
              <a:gd name="csY62" fmla="*/ 1613498 h 2076207"/>
              <a:gd name="csX63" fmla="*/ 613936 w 729414"/>
              <a:gd name="csY63" fmla="*/ 1624058 h 2076207"/>
              <a:gd name="csX64" fmla="*/ 620938 w 729414"/>
              <a:gd name="csY64" fmla="*/ 1652071 h 2076207"/>
              <a:gd name="csX65" fmla="*/ 630805 w 729414"/>
              <a:gd name="csY65" fmla="*/ 1721702 h 2076207"/>
              <a:gd name="csX66" fmla="*/ 685830 w 729414"/>
              <a:gd name="csY66" fmla="*/ 1792915 h 2076207"/>
              <a:gd name="csX67" fmla="*/ 708904 w 729414"/>
              <a:gd name="csY67" fmla="*/ 1890290 h 2076207"/>
              <a:gd name="csX68" fmla="*/ 716580 w 729414"/>
              <a:gd name="csY68" fmla="*/ 1951136 h 2076207"/>
              <a:gd name="csX69" fmla="*/ 729397 w 729414"/>
              <a:gd name="csY69" fmla="*/ 2030261 h 2076207"/>
              <a:gd name="csX70" fmla="*/ 714212 w 729414"/>
              <a:gd name="csY70" fmla="*/ 2049544 h 2076207"/>
              <a:gd name="csX71" fmla="*/ 706629 w 729414"/>
              <a:gd name="csY71" fmla="*/ 2044290 h 2076207"/>
              <a:gd name="csX72" fmla="*/ 96263 w 729414"/>
              <a:gd name="csY72" fmla="*/ 2076207 h 2076207"/>
              <a:gd name="csX73" fmla="*/ 489970 w 729414"/>
              <a:gd name="csY73" fmla="*/ 152208 h 2076207"/>
              <a:gd name="csX74" fmla="*/ 490754 w 729414"/>
              <a:gd name="csY74" fmla="*/ 152592 h 2076207"/>
              <a:gd name="csX75" fmla="*/ 489489 w 729414"/>
              <a:gd name="csY75" fmla="*/ 149547 h 2076207"/>
              <a:gd name="csX76" fmla="*/ 393621 w 729414"/>
              <a:gd name="csY76" fmla="*/ 99259 h 2076207"/>
              <a:gd name="csX77" fmla="*/ 390419 w 729414"/>
              <a:gd name="csY77" fmla="*/ 18568 h 2076207"/>
              <a:gd name="csX78" fmla="*/ 334131 w 729414"/>
              <a:gd name="csY78" fmla="*/ 24327 h 2076207"/>
              <a:gd name="csX79" fmla="*/ 344678 w 729414"/>
              <a:gd name="csY79" fmla="*/ 101259 h 2076207"/>
              <a:gd name="csX80" fmla="*/ 298854 w 729414"/>
              <a:gd name="csY80" fmla="*/ 114003 h 2076207"/>
              <a:gd name="csX81" fmla="*/ 237456 w 729414"/>
              <a:gd name="csY81" fmla="*/ 154340 h 2076207"/>
              <a:gd name="csX82" fmla="*/ 240382 w 729414"/>
              <a:gd name="csY82" fmla="*/ 154035 h 2076207"/>
              <a:gd name="csX83" fmla="*/ 262731 w 729414"/>
              <a:gd name="csY83" fmla="*/ 170426 h 2076207"/>
              <a:gd name="csX84" fmla="*/ 279169 w 729414"/>
              <a:gd name="csY84" fmla="*/ 193173 h 2076207"/>
              <a:gd name="csX85" fmla="*/ 327717 w 729414"/>
              <a:gd name="csY85" fmla="*/ 188556 h 2076207"/>
              <a:gd name="csX86" fmla="*/ 348052 w 729414"/>
              <a:gd name="csY86" fmla="*/ 156919 h 2076207"/>
              <a:gd name="csX87" fmla="*/ 380330 w 729414"/>
              <a:gd name="csY87" fmla="*/ 156483 h 2076207"/>
              <a:gd name="csX88" fmla="*/ 408490 w 729414"/>
              <a:gd name="csY88" fmla="*/ 195400 h 2076207"/>
              <a:gd name="csX89" fmla="*/ 445346 w 729414"/>
              <a:gd name="csY89" fmla="*/ 197582 h 2076207"/>
              <a:gd name="csX90" fmla="*/ 464798 w 729414"/>
              <a:gd name="csY90" fmla="*/ 174107 h 2076207"/>
              <a:gd name="csX91" fmla="*/ 489970 w 729414"/>
              <a:gd name="csY91" fmla="*/ 152208 h 2076207"/>
              <a:gd name="csX92" fmla="*/ 140694 w 729414"/>
              <a:gd name="csY92" fmla="*/ 201837 h 2076207"/>
              <a:gd name="csX93" fmla="*/ 139834 w 729414"/>
              <a:gd name="csY93" fmla="*/ 201482 h 2076207"/>
              <a:gd name="csX94" fmla="*/ 140812 w 729414"/>
              <a:gd name="csY94" fmla="*/ 204941 h 2076207"/>
              <a:gd name="csX95" fmla="*/ 144631 w 729414"/>
              <a:gd name="csY95" fmla="*/ 217811 h 2076207"/>
              <a:gd name="csX96" fmla="*/ 201241 w 729414"/>
              <a:gd name="csY96" fmla="*/ 373387 h 2076207"/>
              <a:gd name="csX97" fmla="*/ 235971 w 729414"/>
              <a:gd name="csY97" fmla="*/ 504451 h 2076207"/>
              <a:gd name="csX98" fmla="*/ 247475 w 729414"/>
              <a:gd name="csY98" fmla="*/ 513241 h 2076207"/>
              <a:gd name="csX99" fmla="*/ 289066 w 729414"/>
              <a:gd name="csY99" fmla="*/ 511170 h 2076207"/>
              <a:gd name="csX100" fmla="*/ 378229 w 729414"/>
              <a:gd name="csY100" fmla="*/ 511084 h 2076207"/>
              <a:gd name="csX101" fmla="*/ 470850 w 729414"/>
              <a:gd name="csY101" fmla="*/ 516341 h 2076207"/>
              <a:gd name="csX102" fmla="*/ 492933 w 729414"/>
              <a:gd name="csY102" fmla="*/ 497969 h 2076207"/>
              <a:gd name="csX103" fmla="*/ 557617 w 729414"/>
              <a:gd name="csY103" fmla="*/ 280398 h 2076207"/>
              <a:gd name="csX104" fmla="*/ 588788 w 729414"/>
              <a:gd name="csY104" fmla="*/ 200385 h 2076207"/>
              <a:gd name="csX105" fmla="*/ 530958 w 729414"/>
              <a:gd name="csY105" fmla="*/ 232968 h 2076207"/>
              <a:gd name="csX106" fmla="*/ 483823 w 729414"/>
              <a:gd name="csY106" fmla="*/ 190364 h 2076207"/>
              <a:gd name="csX107" fmla="*/ 466649 w 729414"/>
              <a:gd name="csY107" fmla="*/ 209061 h 2076207"/>
              <a:gd name="csX108" fmla="*/ 399941 w 729414"/>
              <a:gd name="csY108" fmla="*/ 216988 h 2076207"/>
              <a:gd name="csX109" fmla="*/ 363018 w 729414"/>
              <a:gd name="csY109" fmla="*/ 179615 h 2076207"/>
              <a:gd name="csX110" fmla="*/ 308839 w 729414"/>
              <a:gd name="csY110" fmla="*/ 227846 h 2076207"/>
              <a:gd name="csX111" fmla="*/ 245077 w 729414"/>
              <a:gd name="csY111" fmla="*/ 192402 h 2076207"/>
              <a:gd name="csX112" fmla="*/ 242829 w 729414"/>
              <a:gd name="csY112" fmla="*/ 198815 h 2076207"/>
              <a:gd name="csX113" fmla="*/ 168452 w 729414"/>
              <a:gd name="csY113" fmla="*/ 219348 h 2076207"/>
              <a:gd name="csX114" fmla="*/ 140694 w 729414"/>
              <a:gd name="csY114" fmla="*/ 201837 h 2076207"/>
              <a:gd name="csX115" fmla="*/ 259999 w 729414"/>
              <a:gd name="csY115" fmla="*/ 966699 h 2076207"/>
              <a:gd name="csX116" fmla="*/ 257072 w 729414"/>
              <a:gd name="csY116" fmla="*/ 1070424 h 2076207"/>
              <a:gd name="csX117" fmla="*/ 251372 w 729414"/>
              <a:gd name="csY117" fmla="*/ 1157618 h 2076207"/>
              <a:gd name="csX118" fmla="*/ 232677 w 729414"/>
              <a:gd name="csY118" fmla="*/ 1320279 h 2076207"/>
              <a:gd name="csX119" fmla="*/ 209182 w 729414"/>
              <a:gd name="csY119" fmla="*/ 1468667 h 2076207"/>
              <a:gd name="csX120" fmla="*/ 175302 w 729414"/>
              <a:gd name="csY120" fmla="*/ 1616623 h 2076207"/>
              <a:gd name="csX121" fmla="*/ 182769 w 729414"/>
              <a:gd name="csY121" fmla="*/ 1629786 h 2076207"/>
              <a:gd name="csX122" fmla="*/ 212156 w 729414"/>
              <a:gd name="csY122" fmla="*/ 1632656 h 2076207"/>
              <a:gd name="csX123" fmla="*/ 351295 w 729414"/>
              <a:gd name="csY123" fmla="*/ 1632801 h 2076207"/>
              <a:gd name="csX124" fmla="*/ 376150 w 729414"/>
              <a:gd name="csY124" fmla="*/ 1608307 h 2076207"/>
              <a:gd name="csX125" fmla="*/ 373450 w 729414"/>
              <a:gd name="csY125" fmla="*/ 1457291 h 2076207"/>
              <a:gd name="csX126" fmla="*/ 370936 w 729414"/>
              <a:gd name="csY126" fmla="*/ 1342736 h 2076207"/>
              <a:gd name="csX127" fmla="*/ 368328 w 729414"/>
              <a:gd name="csY127" fmla="*/ 1203878 h 2076207"/>
              <a:gd name="csX128" fmla="*/ 367836 w 729414"/>
              <a:gd name="csY128" fmla="*/ 813478 h 2076207"/>
              <a:gd name="csX129" fmla="*/ 365240 w 729414"/>
              <a:gd name="csY129" fmla="*/ 773243 h 2076207"/>
              <a:gd name="csX130" fmla="*/ 353084 w 729414"/>
              <a:gd name="csY130" fmla="*/ 762083 h 2076207"/>
              <a:gd name="csX131" fmla="*/ 280966 w 729414"/>
              <a:gd name="csY131" fmla="*/ 759855 h 2076207"/>
              <a:gd name="csX132" fmla="*/ 259965 w 729414"/>
              <a:gd name="csY132" fmla="*/ 779553 h 2076207"/>
              <a:gd name="csX133" fmla="*/ 262341 w 729414"/>
              <a:gd name="csY133" fmla="*/ 856275 h 2076207"/>
              <a:gd name="csX134" fmla="*/ 259999 w 729414"/>
              <a:gd name="csY134" fmla="*/ 966699 h 2076207"/>
              <a:gd name="csX135" fmla="*/ 55556 w 729414"/>
              <a:gd name="csY135" fmla="*/ 1835827 h 2076207"/>
              <a:gd name="csX136" fmla="*/ 49393 w 729414"/>
              <a:gd name="csY136" fmla="*/ 1878155 h 2076207"/>
              <a:gd name="csX137" fmla="*/ 73949 w 729414"/>
              <a:gd name="csY137" fmla="*/ 1905781 h 2076207"/>
              <a:gd name="csX138" fmla="*/ 110073 w 729414"/>
              <a:gd name="csY138" fmla="*/ 1909068 h 2076207"/>
              <a:gd name="csX139" fmla="*/ 224745 w 729414"/>
              <a:gd name="csY139" fmla="*/ 1921652 h 2076207"/>
              <a:gd name="csX140" fmla="*/ 347327 w 729414"/>
              <a:gd name="csY140" fmla="*/ 1924778 h 2076207"/>
              <a:gd name="csX141" fmla="*/ 363345 w 729414"/>
              <a:gd name="csY141" fmla="*/ 1923293 h 2076207"/>
              <a:gd name="csX142" fmla="*/ 373787 w 729414"/>
              <a:gd name="csY142" fmla="*/ 1911200 h 2076207"/>
              <a:gd name="csX143" fmla="*/ 376623 w 729414"/>
              <a:gd name="csY143" fmla="*/ 1696741 h 2076207"/>
              <a:gd name="csX144" fmla="*/ 360437 w 729414"/>
              <a:gd name="csY144" fmla="*/ 1681289 h 2076207"/>
              <a:gd name="csX145" fmla="*/ 263503 w 729414"/>
              <a:gd name="csY145" fmla="*/ 1678179 h 2076207"/>
              <a:gd name="csX146" fmla="*/ 160381 w 729414"/>
              <a:gd name="csY146" fmla="*/ 1670405 h 2076207"/>
              <a:gd name="csX147" fmla="*/ 143321 w 729414"/>
              <a:gd name="csY147" fmla="*/ 1685538 h 2076207"/>
              <a:gd name="csX148" fmla="*/ 124769 w 729414"/>
              <a:gd name="csY148" fmla="*/ 1738195 h 2076207"/>
              <a:gd name="csX149" fmla="*/ 90593 w 729414"/>
              <a:gd name="csY149" fmla="*/ 1779570 h 2076207"/>
              <a:gd name="csX150" fmla="*/ 55556 w 729414"/>
              <a:gd name="csY150" fmla="*/ 1835827 h 2076207"/>
              <a:gd name="csX151" fmla="*/ 378900 w 729414"/>
              <a:gd name="csY151" fmla="*/ 2007280 h 2076207"/>
              <a:gd name="csX152" fmla="*/ 378887 w 729414"/>
              <a:gd name="csY152" fmla="*/ 1995127 h 2076207"/>
              <a:gd name="csX153" fmla="*/ 359084 w 729414"/>
              <a:gd name="csY153" fmla="*/ 1975964 h 2076207"/>
              <a:gd name="csX154" fmla="*/ 247288 w 729414"/>
              <a:gd name="csY154" fmla="*/ 1973305 h 2076207"/>
              <a:gd name="csX155" fmla="*/ 201692 w 729414"/>
              <a:gd name="csY155" fmla="*/ 1970275 h 2076207"/>
              <a:gd name="csX156" fmla="*/ 57962 w 729414"/>
              <a:gd name="csY156" fmla="*/ 1952648 h 2076207"/>
              <a:gd name="csX157" fmla="*/ 39194 w 729414"/>
              <a:gd name="csY157" fmla="*/ 1963552 h 2076207"/>
              <a:gd name="csX158" fmla="*/ 30066 w 729414"/>
              <a:gd name="csY158" fmla="*/ 2006631 h 2076207"/>
              <a:gd name="csX159" fmla="*/ 40232 w 729414"/>
              <a:gd name="csY159" fmla="*/ 2019486 h 2076207"/>
              <a:gd name="csX160" fmla="*/ 238186 w 729414"/>
              <a:gd name="csY160" fmla="*/ 2046096 h 2076207"/>
              <a:gd name="csX161" fmla="*/ 342155 w 729414"/>
              <a:gd name="csY161" fmla="*/ 2046441 h 2076207"/>
              <a:gd name="csX162" fmla="*/ 378900 w 729414"/>
              <a:gd name="csY162" fmla="*/ 2007280 h 2076207"/>
              <a:gd name="csX163" fmla="*/ 310220 w 729414"/>
              <a:gd name="csY163" fmla="*/ 554288 h 2076207"/>
              <a:gd name="csX164" fmla="*/ 259136 w 729414"/>
              <a:gd name="csY164" fmla="*/ 556881 h 2076207"/>
              <a:gd name="csX165" fmla="*/ 249085 w 729414"/>
              <a:gd name="csY165" fmla="*/ 567981 h 2076207"/>
              <a:gd name="csX166" fmla="*/ 249141 w 729414"/>
              <a:gd name="csY166" fmla="*/ 605644 h 2076207"/>
              <a:gd name="csX167" fmla="*/ 262628 w 729414"/>
              <a:gd name="csY167" fmla="*/ 605627 h 2076207"/>
              <a:gd name="csX168" fmla="*/ 369608 w 729414"/>
              <a:gd name="csY168" fmla="*/ 603027 h 2076207"/>
              <a:gd name="csX169" fmla="*/ 463931 w 729414"/>
              <a:gd name="csY169" fmla="*/ 605146 h 2076207"/>
              <a:gd name="csX170" fmla="*/ 478113 w 729414"/>
              <a:gd name="csY170" fmla="*/ 595843 h 2076207"/>
              <a:gd name="csX171" fmla="*/ 478796 w 729414"/>
              <a:gd name="csY171" fmla="*/ 556832 h 2076207"/>
              <a:gd name="csX172" fmla="*/ 310220 w 729414"/>
              <a:gd name="csY172" fmla="*/ 554288 h 2076207"/>
              <a:gd name="csX173" fmla="*/ 348836 w 729414"/>
              <a:gd name="csY173" fmla="*/ 684115 h 2076207"/>
              <a:gd name="csX174" fmla="*/ 281333 w 729414"/>
              <a:gd name="csY174" fmla="*/ 683313 h 2076207"/>
              <a:gd name="csX175" fmla="*/ 212728 w 729414"/>
              <a:gd name="csY175" fmla="*/ 681931 h 2076207"/>
              <a:gd name="csX176" fmla="*/ 187283 w 729414"/>
              <a:gd name="csY176" fmla="*/ 689555 h 2076207"/>
              <a:gd name="csX177" fmla="*/ 186163 w 729414"/>
              <a:gd name="csY177" fmla="*/ 718266 h 2076207"/>
              <a:gd name="csX178" fmla="*/ 209894 w 729414"/>
              <a:gd name="csY178" fmla="*/ 726798 h 2076207"/>
              <a:gd name="csX179" fmla="*/ 334814 w 729414"/>
              <a:gd name="csY179" fmla="*/ 732494 h 2076207"/>
              <a:gd name="csX180" fmla="*/ 364856 w 729414"/>
              <a:gd name="csY180" fmla="*/ 707963 h 2076207"/>
              <a:gd name="csX181" fmla="*/ 348836 w 729414"/>
              <a:gd name="csY181" fmla="*/ 684115 h 2076207"/>
              <a:gd name="csX182" fmla="*/ 298865 w 729414"/>
              <a:gd name="csY182" fmla="*/ 621954 h 2076207"/>
              <a:gd name="csX183" fmla="*/ 251619 w 729414"/>
              <a:gd name="csY183" fmla="*/ 622133 h 2076207"/>
              <a:gd name="csX184" fmla="*/ 214459 w 729414"/>
              <a:gd name="csY184" fmla="*/ 636230 h 2076207"/>
              <a:gd name="csX185" fmla="*/ 221436 w 729414"/>
              <a:gd name="csY185" fmla="*/ 654205 h 2076207"/>
              <a:gd name="csX186" fmla="*/ 272412 w 729414"/>
              <a:gd name="csY186" fmla="*/ 657250 h 2076207"/>
              <a:gd name="csX187" fmla="*/ 349094 w 729414"/>
              <a:gd name="csY187" fmla="*/ 659282 h 2076207"/>
              <a:gd name="csX188" fmla="*/ 362996 w 729414"/>
              <a:gd name="csY188" fmla="*/ 644234 h 2076207"/>
              <a:gd name="csX189" fmla="*/ 348472 w 729414"/>
              <a:gd name="csY189" fmla="*/ 624649 h 2076207"/>
              <a:gd name="csX190" fmla="*/ 298865 w 729414"/>
              <a:gd name="csY190" fmla="*/ 621954 h 2076207"/>
              <a:gd name="csX191" fmla="*/ 227796 w 729414"/>
              <a:gd name="csY191" fmla="*/ 528000 h 2076207"/>
              <a:gd name="csX192" fmla="*/ 241009 w 729414"/>
              <a:gd name="csY192" fmla="*/ 545897 h 2076207"/>
              <a:gd name="csX193" fmla="*/ 282607 w 729414"/>
              <a:gd name="csY193" fmla="*/ 543480 h 2076207"/>
              <a:gd name="csX194" fmla="*/ 354213 w 729414"/>
              <a:gd name="csY194" fmla="*/ 543384 h 2076207"/>
              <a:gd name="csX195" fmla="*/ 365334 w 729414"/>
              <a:gd name="csY195" fmla="*/ 533397 h 2076207"/>
              <a:gd name="csX196" fmla="*/ 354531 w 729414"/>
              <a:gd name="csY196" fmla="*/ 521620 h 2076207"/>
              <a:gd name="csX197" fmla="*/ 259169 w 729414"/>
              <a:gd name="csY197" fmla="*/ 521978 h 2076207"/>
              <a:gd name="csX198" fmla="*/ 227796 w 729414"/>
              <a:gd name="csY198" fmla="*/ 528000 h 2076207"/>
              <a:gd name="csX199" fmla="*/ 508068 w 729414"/>
              <a:gd name="csY199" fmla="*/ 190710 h 2076207"/>
              <a:gd name="csX200" fmla="*/ 521293 w 729414"/>
              <a:gd name="csY200" fmla="*/ 205907 h 2076207"/>
              <a:gd name="csX201" fmla="*/ 525175 w 729414"/>
              <a:gd name="csY201" fmla="*/ 202985 h 2076207"/>
              <a:gd name="csX202" fmla="*/ 500276 w 729414"/>
              <a:gd name="csY202" fmla="*/ 160640 h 2076207"/>
              <a:gd name="csX203" fmla="*/ 497122 w 729414"/>
              <a:gd name="csY203" fmla="*/ 162007 h 2076207"/>
              <a:gd name="csX204" fmla="*/ 508068 w 729414"/>
              <a:gd name="csY204" fmla="*/ 190710 h 2076207"/>
              <a:gd name="csX205" fmla="*/ 215522 w 729414"/>
              <a:gd name="csY205" fmla="*/ 197296 h 2076207"/>
              <a:gd name="csX206" fmla="*/ 234029 w 729414"/>
              <a:gd name="csY206" fmla="*/ 162725 h 2076207"/>
              <a:gd name="csX207" fmla="*/ 229000 w 729414"/>
              <a:gd name="csY207" fmla="*/ 159902 h 2076207"/>
              <a:gd name="csX208" fmla="*/ 204824 w 729414"/>
              <a:gd name="csY208" fmla="*/ 199677 h 2076207"/>
              <a:gd name="csX209" fmla="*/ 207990 w 729414"/>
              <a:gd name="csY209" fmla="*/ 202198 h 2076207"/>
              <a:gd name="csX210" fmla="*/ 215522 w 729414"/>
              <a:gd name="csY210" fmla="*/ 197296 h 2076207"/>
              <a:gd name="csX211" fmla="*/ 484400 w 729414"/>
              <a:gd name="csY211" fmla="*/ 896678 h 2076207"/>
              <a:gd name="csX212" fmla="*/ 486181 w 729414"/>
              <a:gd name="csY212" fmla="*/ 896585 h 2076207"/>
              <a:gd name="csX213" fmla="*/ 486181 w 729414"/>
              <a:gd name="csY213" fmla="*/ 795289 h 2076207"/>
              <a:gd name="csX214" fmla="*/ 720241 w 729414"/>
              <a:gd name="csY214" fmla="*/ 2030666 h 2076207"/>
              <a:gd name="csX215" fmla="*/ 721175 w 729414"/>
              <a:gd name="csY215" fmla="*/ 2029733 h 2076207"/>
              <a:gd name="csX216" fmla="*/ 720241 w 729414"/>
              <a:gd name="csY216" fmla="*/ 2030666 h 2076207"/>
              <a:gd name="csX217" fmla="*/ 715702 w 729414"/>
              <a:gd name="csY217" fmla="*/ 2037051 h 2076207"/>
              <a:gd name="csX218" fmla="*/ 715702 w 729414"/>
              <a:gd name="csY218" fmla="*/ 2037051 h 2076207"/>
              <a:gd name="csX0" fmla="*/ 96263 w 765535"/>
              <a:gd name="csY0" fmla="*/ 2076207 h 2076207"/>
              <a:gd name="csX1" fmla="*/ 63862 w 765535"/>
              <a:gd name="csY1" fmla="*/ 2065388 h 2076207"/>
              <a:gd name="csX2" fmla="*/ 16555 w 765535"/>
              <a:gd name="csY2" fmla="*/ 2050152 h 2076207"/>
              <a:gd name="csX3" fmla="*/ 15 w 765535"/>
              <a:gd name="csY3" fmla="*/ 2023802 h 2076207"/>
              <a:gd name="csX4" fmla="*/ 18368 w 765535"/>
              <a:gd name="csY4" fmla="*/ 1940709 h 2076207"/>
              <a:gd name="csX5" fmla="*/ 22139 w 765535"/>
              <a:gd name="csY5" fmla="*/ 1907268 h 2076207"/>
              <a:gd name="csX6" fmla="*/ 57941 w 765535"/>
              <a:gd name="csY6" fmla="*/ 1774163 h 2076207"/>
              <a:gd name="csX7" fmla="*/ 102478 w 765535"/>
              <a:gd name="csY7" fmla="*/ 1720275 h 2076207"/>
              <a:gd name="csX8" fmla="*/ 108579 w 765535"/>
              <a:gd name="csY8" fmla="*/ 1650967 h 2076207"/>
              <a:gd name="csX9" fmla="*/ 115628 w 765535"/>
              <a:gd name="csY9" fmla="*/ 1625405 h 2076207"/>
              <a:gd name="csX10" fmla="*/ 156323 w 765535"/>
              <a:gd name="csY10" fmla="*/ 1560181 h 2076207"/>
              <a:gd name="csX11" fmla="*/ 199424 w 765535"/>
              <a:gd name="csY11" fmla="*/ 1364729 h 2076207"/>
              <a:gd name="csX12" fmla="*/ 216779 w 765535"/>
              <a:gd name="csY12" fmla="*/ 1219490 h 2076207"/>
              <a:gd name="csX13" fmla="*/ 229755 w 765535"/>
              <a:gd name="csY13" fmla="*/ 1099357 h 2076207"/>
              <a:gd name="csX14" fmla="*/ 232707 w 765535"/>
              <a:gd name="csY14" fmla="*/ 1056423 h 2076207"/>
              <a:gd name="csX15" fmla="*/ 235622 w 765535"/>
              <a:gd name="csY15" fmla="*/ 952675 h 2076207"/>
              <a:gd name="csX16" fmla="*/ 235445 w 765535"/>
              <a:gd name="csY16" fmla="*/ 780278 h 2076207"/>
              <a:gd name="csX17" fmla="*/ 214544 w 765535"/>
              <a:gd name="csY17" fmla="*/ 756435 h 2076207"/>
              <a:gd name="csX18" fmla="*/ 172569 w 765535"/>
              <a:gd name="csY18" fmla="*/ 742582 h 2076207"/>
              <a:gd name="csX19" fmla="*/ 168784 w 765535"/>
              <a:gd name="csY19" fmla="*/ 669116 h 2076207"/>
              <a:gd name="csX20" fmla="*/ 191657 w 765535"/>
              <a:gd name="csY20" fmla="*/ 630765 h 2076207"/>
              <a:gd name="csX21" fmla="*/ 208150 w 765535"/>
              <a:gd name="csY21" fmla="*/ 609084 h 2076207"/>
              <a:gd name="csX22" fmla="*/ 216756 w 765535"/>
              <a:gd name="csY22" fmla="*/ 558673 h 2076207"/>
              <a:gd name="csX23" fmla="*/ 209092 w 765535"/>
              <a:gd name="csY23" fmla="*/ 521540 h 2076207"/>
              <a:gd name="csX24" fmla="*/ 204683 w 765535"/>
              <a:gd name="csY24" fmla="*/ 474024 h 2076207"/>
              <a:gd name="csX25" fmla="*/ 115483 w 765535"/>
              <a:gd name="csY25" fmla="*/ 213499 h 2076207"/>
              <a:gd name="csX26" fmla="*/ 102909 w 765535"/>
              <a:gd name="csY26" fmla="*/ 182297 h 2076207"/>
              <a:gd name="csX27" fmla="*/ 104315 w 765535"/>
              <a:gd name="csY27" fmla="*/ 163968 h 2076207"/>
              <a:gd name="csX28" fmla="*/ 122444 w 765535"/>
              <a:gd name="csY28" fmla="*/ 160805 h 2076207"/>
              <a:gd name="csX29" fmla="*/ 170283 w 765535"/>
              <a:gd name="csY29" fmla="*/ 187783 h 2076207"/>
              <a:gd name="csX30" fmla="*/ 180938 w 765535"/>
              <a:gd name="csY30" fmla="*/ 195322 h 2076207"/>
              <a:gd name="csX31" fmla="*/ 221419 w 765535"/>
              <a:gd name="csY31" fmla="*/ 138058 h 2076207"/>
              <a:gd name="csX32" fmla="*/ 294099 w 765535"/>
              <a:gd name="csY32" fmla="*/ 91372 h 2076207"/>
              <a:gd name="csX33" fmla="*/ 302307 w 765535"/>
              <a:gd name="csY33" fmla="*/ 76560 h 2076207"/>
              <a:gd name="csX34" fmla="*/ 320284 w 765535"/>
              <a:gd name="csY34" fmla="*/ 8414 h 2076207"/>
              <a:gd name="csX35" fmla="*/ 324784 w 765535"/>
              <a:gd name="csY35" fmla="*/ 946 h 2076207"/>
              <a:gd name="csX36" fmla="*/ 399212 w 765535"/>
              <a:gd name="csY36" fmla="*/ 0 h 2076207"/>
              <a:gd name="csX37" fmla="*/ 425980 w 765535"/>
              <a:gd name="csY37" fmla="*/ 78301 h 2076207"/>
              <a:gd name="csX38" fmla="*/ 431861 w 765535"/>
              <a:gd name="csY38" fmla="*/ 90312 h 2076207"/>
              <a:gd name="csX39" fmla="*/ 540349 w 765535"/>
              <a:gd name="csY39" fmla="*/ 187946 h 2076207"/>
              <a:gd name="csX40" fmla="*/ 545555 w 765535"/>
              <a:gd name="csY40" fmla="*/ 197828 h 2076207"/>
              <a:gd name="csX41" fmla="*/ 587318 w 765535"/>
              <a:gd name="csY41" fmla="*/ 171260 h 2076207"/>
              <a:gd name="csX42" fmla="*/ 601503 w 765535"/>
              <a:gd name="csY42" fmla="*/ 163707 h 2076207"/>
              <a:gd name="csX43" fmla="*/ 625254 w 765535"/>
              <a:gd name="csY43" fmla="*/ 163123 h 2076207"/>
              <a:gd name="csX44" fmla="*/ 625468 w 765535"/>
              <a:gd name="csY44" fmla="*/ 187579 h 2076207"/>
              <a:gd name="csX45" fmla="*/ 597543 w 765535"/>
              <a:gd name="csY45" fmla="*/ 251872 h 2076207"/>
              <a:gd name="csX46" fmla="*/ 531831 w 765535"/>
              <a:gd name="csY46" fmla="*/ 442689 h 2076207"/>
              <a:gd name="csX47" fmla="*/ 519888 w 765535"/>
              <a:gd name="csY47" fmla="*/ 501474 h 2076207"/>
              <a:gd name="csX48" fmla="*/ 522506 w 765535"/>
              <a:gd name="csY48" fmla="*/ 525086 h 2076207"/>
              <a:gd name="csX49" fmla="*/ 516235 w 765535"/>
              <a:gd name="csY49" fmla="*/ 555946 h 2076207"/>
              <a:gd name="csX50" fmla="*/ 521332 w 765535"/>
              <a:gd name="csY50" fmla="*/ 610676 h 2076207"/>
              <a:gd name="csX51" fmla="*/ 541382 w 765535"/>
              <a:gd name="csY51" fmla="*/ 642597 h 2076207"/>
              <a:gd name="csX52" fmla="*/ 557031 w 765535"/>
              <a:gd name="csY52" fmla="*/ 667949 h 2076207"/>
              <a:gd name="csX53" fmla="*/ 553994 w 765535"/>
              <a:gd name="csY53" fmla="*/ 744146 h 2076207"/>
              <a:gd name="csX54" fmla="*/ 508215 w 765535"/>
              <a:gd name="csY54" fmla="*/ 758841 h 2076207"/>
              <a:gd name="csX55" fmla="*/ 497442 w 765535"/>
              <a:gd name="csY55" fmla="*/ 771256 h 2076207"/>
              <a:gd name="csX56" fmla="*/ 493005 w 765535"/>
              <a:gd name="csY56" fmla="*/ 922055 h 2076207"/>
              <a:gd name="csX57" fmla="*/ 502900 w 765535"/>
              <a:gd name="csY57" fmla="*/ 1114191 h 2076207"/>
              <a:gd name="csX58" fmla="*/ 508800 w 765535"/>
              <a:gd name="csY58" fmla="*/ 1205474 h 2076207"/>
              <a:gd name="csX59" fmla="*/ 522952 w 765535"/>
              <a:gd name="csY59" fmla="*/ 1320065 h 2076207"/>
              <a:gd name="csX60" fmla="*/ 554682 w 765535"/>
              <a:gd name="csY60" fmla="*/ 1501203 h 2076207"/>
              <a:gd name="csX61" fmla="*/ 576958 w 765535"/>
              <a:gd name="csY61" fmla="*/ 1593963 h 2076207"/>
              <a:gd name="csX62" fmla="*/ 595349 w 765535"/>
              <a:gd name="csY62" fmla="*/ 1613498 h 2076207"/>
              <a:gd name="csX63" fmla="*/ 613936 w 765535"/>
              <a:gd name="csY63" fmla="*/ 1624058 h 2076207"/>
              <a:gd name="csX64" fmla="*/ 620938 w 765535"/>
              <a:gd name="csY64" fmla="*/ 1652071 h 2076207"/>
              <a:gd name="csX65" fmla="*/ 630805 w 765535"/>
              <a:gd name="csY65" fmla="*/ 1721702 h 2076207"/>
              <a:gd name="csX66" fmla="*/ 685830 w 765535"/>
              <a:gd name="csY66" fmla="*/ 1792915 h 2076207"/>
              <a:gd name="csX67" fmla="*/ 708904 w 765535"/>
              <a:gd name="csY67" fmla="*/ 1890290 h 2076207"/>
              <a:gd name="csX68" fmla="*/ 716580 w 765535"/>
              <a:gd name="csY68" fmla="*/ 1951136 h 2076207"/>
              <a:gd name="csX69" fmla="*/ 729397 w 765535"/>
              <a:gd name="csY69" fmla="*/ 2030261 h 2076207"/>
              <a:gd name="csX70" fmla="*/ 714212 w 765535"/>
              <a:gd name="csY70" fmla="*/ 2049544 h 2076207"/>
              <a:gd name="csX71" fmla="*/ 96263 w 765535"/>
              <a:gd name="csY71" fmla="*/ 2076207 h 2076207"/>
              <a:gd name="csX72" fmla="*/ 489970 w 765535"/>
              <a:gd name="csY72" fmla="*/ 152208 h 2076207"/>
              <a:gd name="csX73" fmla="*/ 490754 w 765535"/>
              <a:gd name="csY73" fmla="*/ 152592 h 2076207"/>
              <a:gd name="csX74" fmla="*/ 489489 w 765535"/>
              <a:gd name="csY74" fmla="*/ 149547 h 2076207"/>
              <a:gd name="csX75" fmla="*/ 393621 w 765535"/>
              <a:gd name="csY75" fmla="*/ 99259 h 2076207"/>
              <a:gd name="csX76" fmla="*/ 390419 w 765535"/>
              <a:gd name="csY76" fmla="*/ 18568 h 2076207"/>
              <a:gd name="csX77" fmla="*/ 334131 w 765535"/>
              <a:gd name="csY77" fmla="*/ 24327 h 2076207"/>
              <a:gd name="csX78" fmla="*/ 344678 w 765535"/>
              <a:gd name="csY78" fmla="*/ 101259 h 2076207"/>
              <a:gd name="csX79" fmla="*/ 298854 w 765535"/>
              <a:gd name="csY79" fmla="*/ 114003 h 2076207"/>
              <a:gd name="csX80" fmla="*/ 237456 w 765535"/>
              <a:gd name="csY80" fmla="*/ 154340 h 2076207"/>
              <a:gd name="csX81" fmla="*/ 240382 w 765535"/>
              <a:gd name="csY81" fmla="*/ 154035 h 2076207"/>
              <a:gd name="csX82" fmla="*/ 262731 w 765535"/>
              <a:gd name="csY82" fmla="*/ 170426 h 2076207"/>
              <a:gd name="csX83" fmla="*/ 279169 w 765535"/>
              <a:gd name="csY83" fmla="*/ 193173 h 2076207"/>
              <a:gd name="csX84" fmla="*/ 327717 w 765535"/>
              <a:gd name="csY84" fmla="*/ 188556 h 2076207"/>
              <a:gd name="csX85" fmla="*/ 348052 w 765535"/>
              <a:gd name="csY85" fmla="*/ 156919 h 2076207"/>
              <a:gd name="csX86" fmla="*/ 380330 w 765535"/>
              <a:gd name="csY86" fmla="*/ 156483 h 2076207"/>
              <a:gd name="csX87" fmla="*/ 408490 w 765535"/>
              <a:gd name="csY87" fmla="*/ 195400 h 2076207"/>
              <a:gd name="csX88" fmla="*/ 445346 w 765535"/>
              <a:gd name="csY88" fmla="*/ 197582 h 2076207"/>
              <a:gd name="csX89" fmla="*/ 464798 w 765535"/>
              <a:gd name="csY89" fmla="*/ 174107 h 2076207"/>
              <a:gd name="csX90" fmla="*/ 489970 w 765535"/>
              <a:gd name="csY90" fmla="*/ 152208 h 2076207"/>
              <a:gd name="csX91" fmla="*/ 140694 w 765535"/>
              <a:gd name="csY91" fmla="*/ 201837 h 2076207"/>
              <a:gd name="csX92" fmla="*/ 139834 w 765535"/>
              <a:gd name="csY92" fmla="*/ 201482 h 2076207"/>
              <a:gd name="csX93" fmla="*/ 140812 w 765535"/>
              <a:gd name="csY93" fmla="*/ 204941 h 2076207"/>
              <a:gd name="csX94" fmla="*/ 144631 w 765535"/>
              <a:gd name="csY94" fmla="*/ 217811 h 2076207"/>
              <a:gd name="csX95" fmla="*/ 201241 w 765535"/>
              <a:gd name="csY95" fmla="*/ 373387 h 2076207"/>
              <a:gd name="csX96" fmla="*/ 235971 w 765535"/>
              <a:gd name="csY96" fmla="*/ 504451 h 2076207"/>
              <a:gd name="csX97" fmla="*/ 247475 w 765535"/>
              <a:gd name="csY97" fmla="*/ 513241 h 2076207"/>
              <a:gd name="csX98" fmla="*/ 289066 w 765535"/>
              <a:gd name="csY98" fmla="*/ 511170 h 2076207"/>
              <a:gd name="csX99" fmla="*/ 378229 w 765535"/>
              <a:gd name="csY99" fmla="*/ 511084 h 2076207"/>
              <a:gd name="csX100" fmla="*/ 470850 w 765535"/>
              <a:gd name="csY100" fmla="*/ 516341 h 2076207"/>
              <a:gd name="csX101" fmla="*/ 492933 w 765535"/>
              <a:gd name="csY101" fmla="*/ 497969 h 2076207"/>
              <a:gd name="csX102" fmla="*/ 557617 w 765535"/>
              <a:gd name="csY102" fmla="*/ 280398 h 2076207"/>
              <a:gd name="csX103" fmla="*/ 588788 w 765535"/>
              <a:gd name="csY103" fmla="*/ 200385 h 2076207"/>
              <a:gd name="csX104" fmla="*/ 530958 w 765535"/>
              <a:gd name="csY104" fmla="*/ 232968 h 2076207"/>
              <a:gd name="csX105" fmla="*/ 483823 w 765535"/>
              <a:gd name="csY105" fmla="*/ 190364 h 2076207"/>
              <a:gd name="csX106" fmla="*/ 466649 w 765535"/>
              <a:gd name="csY106" fmla="*/ 209061 h 2076207"/>
              <a:gd name="csX107" fmla="*/ 399941 w 765535"/>
              <a:gd name="csY107" fmla="*/ 216988 h 2076207"/>
              <a:gd name="csX108" fmla="*/ 363018 w 765535"/>
              <a:gd name="csY108" fmla="*/ 179615 h 2076207"/>
              <a:gd name="csX109" fmla="*/ 308839 w 765535"/>
              <a:gd name="csY109" fmla="*/ 227846 h 2076207"/>
              <a:gd name="csX110" fmla="*/ 245077 w 765535"/>
              <a:gd name="csY110" fmla="*/ 192402 h 2076207"/>
              <a:gd name="csX111" fmla="*/ 242829 w 765535"/>
              <a:gd name="csY111" fmla="*/ 198815 h 2076207"/>
              <a:gd name="csX112" fmla="*/ 168452 w 765535"/>
              <a:gd name="csY112" fmla="*/ 219348 h 2076207"/>
              <a:gd name="csX113" fmla="*/ 140694 w 765535"/>
              <a:gd name="csY113" fmla="*/ 201837 h 2076207"/>
              <a:gd name="csX114" fmla="*/ 259999 w 765535"/>
              <a:gd name="csY114" fmla="*/ 966699 h 2076207"/>
              <a:gd name="csX115" fmla="*/ 257072 w 765535"/>
              <a:gd name="csY115" fmla="*/ 1070424 h 2076207"/>
              <a:gd name="csX116" fmla="*/ 251372 w 765535"/>
              <a:gd name="csY116" fmla="*/ 1157618 h 2076207"/>
              <a:gd name="csX117" fmla="*/ 232677 w 765535"/>
              <a:gd name="csY117" fmla="*/ 1320279 h 2076207"/>
              <a:gd name="csX118" fmla="*/ 209182 w 765535"/>
              <a:gd name="csY118" fmla="*/ 1468667 h 2076207"/>
              <a:gd name="csX119" fmla="*/ 175302 w 765535"/>
              <a:gd name="csY119" fmla="*/ 1616623 h 2076207"/>
              <a:gd name="csX120" fmla="*/ 182769 w 765535"/>
              <a:gd name="csY120" fmla="*/ 1629786 h 2076207"/>
              <a:gd name="csX121" fmla="*/ 212156 w 765535"/>
              <a:gd name="csY121" fmla="*/ 1632656 h 2076207"/>
              <a:gd name="csX122" fmla="*/ 351295 w 765535"/>
              <a:gd name="csY122" fmla="*/ 1632801 h 2076207"/>
              <a:gd name="csX123" fmla="*/ 376150 w 765535"/>
              <a:gd name="csY123" fmla="*/ 1608307 h 2076207"/>
              <a:gd name="csX124" fmla="*/ 373450 w 765535"/>
              <a:gd name="csY124" fmla="*/ 1457291 h 2076207"/>
              <a:gd name="csX125" fmla="*/ 370936 w 765535"/>
              <a:gd name="csY125" fmla="*/ 1342736 h 2076207"/>
              <a:gd name="csX126" fmla="*/ 368328 w 765535"/>
              <a:gd name="csY126" fmla="*/ 1203878 h 2076207"/>
              <a:gd name="csX127" fmla="*/ 367836 w 765535"/>
              <a:gd name="csY127" fmla="*/ 813478 h 2076207"/>
              <a:gd name="csX128" fmla="*/ 365240 w 765535"/>
              <a:gd name="csY128" fmla="*/ 773243 h 2076207"/>
              <a:gd name="csX129" fmla="*/ 353084 w 765535"/>
              <a:gd name="csY129" fmla="*/ 762083 h 2076207"/>
              <a:gd name="csX130" fmla="*/ 280966 w 765535"/>
              <a:gd name="csY130" fmla="*/ 759855 h 2076207"/>
              <a:gd name="csX131" fmla="*/ 259965 w 765535"/>
              <a:gd name="csY131" fmla="*/ 779553 h 2076207"/>
              <a:gd name="csX132" fmla="*/ 262341 w 765535"/>
              <a:gd name="csY132" fmla="*/ 856275 h 2076207"/>
              <a:gd name="csX133" fmla="*/ 259999 w 765535"/>
              <a:gd name="csY133" fmla="*/ 966699 h 2076207"/>
              <a:gd name="csX134" fmla="*/ 55556 w 765535"/>
              <a:gd name="csY134" fmla="*/ 1835827 h 2076207"/>
              <a:gd name="csX135" fmla="*/ 49393 w 765535"/>
              <a:gd name="csY135" fmla="*/ 1878155 h 2076207"/>
              <a:gd name="csX136" fmla="*/ 73949 w 765535"/>
              <a:gd name="csY136" fmla="*/ 1905781 h 2076207"/>
              <a:gd name="csX137" fmla="*/ 110073 w 765535"/>
              <a:gd name="csY137" fmla="*/ 1909068 h 2076207"/>
              <a:gd name="csX138" fmla="*/ 224745 w 765535"/>
              <a:gd name="csY138" fmla="*/ 1921652 h 2076207"/>
              <a:gd name="csX139" fmla="*/ 347327 w 765535"/>
              <a:gd name="csY139" fmla="*/ 1924778 h 2076207"/>
              <a:gd name="csX140" fmla="*/ 363345 w 765535"/>
              <a:gd name="csY140" fmla="*/ 1923293 h 2076207"/>
              <a:gd name="csX141" fmla="*/ 373787 w 765535"/>
              <a:gd name="csY141" fmla="*/ 1911200 h 2076207"/>
              <a:gd name="csX142" fmla="*/ 376623 w 765535"/>
              <a:gd name="csY142" fmla="*/ 1696741 h 2076207"/>
              <a:gd name="csX143" fmla="*/ 360437 w 765535"/>
              <a:gd name="csY143" fmla="*/ 1681289 h 2076207"/>
              <a:gd name="csX144" fmla="*/ 263503 w 765535"/>
              <a:gd name="csY144" fmla="*/ 1678179 h 2076207"/>
              <a:gd name="csX145" fmla="*/ 160381 w 765535"/>
              <a:gd name="csY145" fmla="*/ 1670405 h 2076207"/>
              <a:gd name="csX146" fmla="*/ 143321 w 765535"/>
              <a:gd name="csY146" fmla="*/ 1685538 h 2076207"/>
              <a:gd name="csX147" fmla="*/ 124769 w 765535"/>
              <a:gd name="csY147" fmla="*/ 1738195 h 2076207"/>
              <a:gd name="csX148" fmla="*/ 90593 w 765535"/>
              <a:gd name="csY148" fmla="*/ 1779570 h 2076207"/>
              <a:gd name="csX149" fmla="*/ 55556 w 765535"/>
              <a:gd name="csY149" fmla="*/ 1835827 h 2076207"/>
              <a:gd name="csX150" fmla="*/ 378900 w 765535"/>
              <a:gd name="csY150" fmla="*/ 2007280 h 2076207"/>
              <a:gd name="csX151" fmla="*/ 378887 w 765535"/>
              <a:gd name="csY151" fmla="*/ 1995127 h 2076207"/>
              <a:gd name="csX152" fmla="*/ 359084 w 765535"/>
              <a:gd name="csY152" fmla="*/ 1975964 h 2076207"/>
              <a:gd name="csX153" fmla="*/ 247288 w 765535"/>
              <a:gd name="csY153" fmla="*/ 1973305 h 2076207"/>
              <a:gd name="csX154" fmla="*/ 201692 w 765535"/>
              <a:gd name="csY154" fmla="*/ 1970275 h 2076207"/>
              <a:gd name="csX155" fmla="*/ 57962 w 765535"/>
              <a:gd name="csY155" fmla="*/ 1952648 h 2076207"/>
              <a:gd name="csX156" fmla="*/ 39194 w 765535"/>
              <a:gd name="csY156" fmla="*/ 1963552 h 2076207"/>
              <a:gd name="csX157" fmla="*/ 30066 w 765535"/>
              <a:gd name="csY157" fmla="*/ 2006631 h 2076207"/>
              <a:gd name="csX158" fmla="*/ 40232 w 765535"/>
              <a:gd name="csY158" fmla="*/ 2019486 h 2076207"/>
              <a:gd name="csX159" fmla="*/ 238186 w 765535"/>
              <a:gd name="csY159" fmla="*/ 2046096 h 2076207"/>
              <a:gd name="csX160" fmla="*/ 342155 w 765535"/>
              <a:gd name="csY160" fmla="*/ 2046441 h 2076207"/>
              <a:gd name="csX161" fmla="*/ 378900 w 765535"/>
              <a:gd name="csY161" fmla="*/ 2007280 h 2076207"/>
              <a:gd name="csX162" fmla="*/ 310220 w 765535"/>
              <a:gd name="csY162" fmla="*/ 554288 h 2076207"/>
              <a:gd name="csX163" fmla="*/ 259136 w 765535"/>
              <a:gd name="csY163" fmla="*/ 556881 h 2076207"/>
              <a:gd name="csX164" fmla="*/ 249085 w 765535"/>
              <a:gd name="csY164" fmla="*/ 567981 h 2076207"/>
              <a:gd name="csX165" fmla="*/ 249141 w 765535"/>
              <a:gd name="csY165" fmla="*/ 605644 h 2076207"/>
              <a:gd name="csX166" fmla="*/ 262628 w 765535"/>
              <a:gd name="csY166" fmla="*/ 605627 h 2076207"/>
              <a:gd name="csX167" fmla="*/ 369608 w 765535"/>
              <a:gd name="csY167" fmla="*/ 603027 h 2076207"/>
              <a:gd name="csX168" fmla="*/ 463931 w 765535"/>
              <a:gd name="csY168" fmla="*/ 605146 h 2076207"/>
              <a:gd name="csX169" fmla="*/ 478113 w 765535"/>
              <a:gd name="csY169" fmla="*/ 595843 h 2076207"/>
              <a:gd name="csX170" fmla="*/ 478796 w 765535"/>
              <a:gd name="csY170" fmla="*/ 556832 h 2076207"/>
              <a:gd name="csX171" fmla="*/ 310220 w 765535"/>
              <a:gd name="csY171" fmla="*/ 554288 h 2076207"/>
              <a:gd name="csX172" fmla="*/ 348836 w 765535"/>
              <a:gd name="csY172" fmla="*/ 684115 h 2076207"/>
              <a:gd name="csX173" fmla="*/ 281333 w 765535"/>
              <a:gd name="csY173" fmla="*/ 683313 h 2076207"/>
              <a:gd name="csX174" fmla="*/ 212728 w 765535"/>
              <a:gd name="csY174" fmla="*/ 681931 h 2076207"/>
              <a:gd name="csX175" fmla="*/ 187283 w 765535"/>
              <a:gd name="csY175" fmla="*/ 689555 h 2076207"/>
              <a:gd name="csX176" fmla="*/ 186163 w 765535"/>
              <a:gd name="csY176" fmla="*/ 718266 h 2076207"/>
              <a:gd name="csX177" fmla="*/ 209894 w 765535"/>
              <a:gd name="csY177" fmla="*/ 726798 h 2076207"/>
              <a:gd name="csX178" fmla="*/ 334814 w 765535"/>
              <a:gd name="csY178" fmla="*/ 732494 h 2076207"/>
              <a:gd name="csX179" fmla="*/ 364856 w 765535"/>
              <a:gd name="csY179" fmla="*/ 707963 h 2076207"/>
              <a:gd name="csX180" fmla="*/ 348836 w 765535"/>
              <a:gd name="csY180" fmla="*/ 684115 h 2076207"/>
              <a:gd name="csX181" fmla="*/ 298865 w 765535"/>
              <a:gd name="csY181" fmla="*/ 621954 h 2076207"/>
              <a:gd name="csX182" fmla="*/ 251619 w 765535"/>
              <a:gd name="csY182" fmla="*/ 622133 h 2076207"/>
              <a:gd name="csX183" fmla="*/ 214459 w 765535"/>
              <a:gd name="csY183" fmla="*/ 636230 h 2076207"/>
              <a:gd name="csX184" fmla="*/ 221436 w 765535"/>
              <a:gd name="csY184" fmla="*/ 654205 h 2076207"/>
              <a:gd name="csX185" fmla="*/ 272412 w 765535"/>
              <a:gd name="csY185" fmla="*/ 657250 h 2076207"/>
              <a:gd name="csX186" fmla="*/ 349094 w 765535"/>
              <a:gd name="csY186" fmla="*/ 659282 h 2076207"/>
              <a:gd name="csX187" fmla="*/ 362996 w 765535"/>
              <a:gd name="csY187" fmla="*/ 644234 h 2076207"/>
              <a:gd name="csX188" fmla="*/ 348472 w 765535"/>
              <a:gd name="csY188" fmla="*/ 624649 h 2076207"/>
              <a:gd name="csX189" fmla="*/ 298865 w 765535"/>
              <a:gd name="csY189" fmla="*/ 621954 h 2076207"/>
              <a:gd name="csX190" fmla="*/ 227796 w 765535"/>
              <a:gd name="csY190" fmla="*/ 528000 h 2076207"/>
              <a:gd name="csX191" fmla="*/ 241009 w 765535"/>
              <a:gd name="csY191" fmla="*/ 545897 h 2076207"/>
              <a:gd name="csX192" fmla="*/ 282607 w 765535"/>
              <a:gd name="csY192" fmla="*/ 543480 h 2076207"/>
              <a:gd name="csX193" fmla="*/ 354213 w 765535"/>
              <a:gd name="csY193" fmla="*/ 543384 h 2076207"/>
              <a:gd name="csX194" fmla="*/ 365334 w 765535"/>
              <a:gd name="csY194" fmla="*/ 533397 h 2076207"/>
              <a:gd name="csX195" fmla="*/ 354531 w 765535"/>
              <a:gd name="csY195" fmla="*/ 521620 h 2076207"/>
              <a:gd name="csX196" fmla="*/ 259169 w 765535"/>
              <a:gd name="csY196" fmla="*/ 521978 h 2076207"/>
              <a:gd name="csX197" fmla="*/ 227796 w 765535"/>
              <a:gd name="csY197" fmla="*/ 528000 h 2076207"/>
              <a:gd name="csX198" fmla="*/ 508068 w 765535"/>
              <a:gd name="csY198" fmla="*/ 190710 h 2076207"/>
              <a:gd name="csX199" fmla="*/ 521293 w 765535"/>
              <a:gd name="csY199" fmla="*/ 205907 h 2076207"/>
              <a:gd name="csX200" fmla="*/ 525175 w 765535"/>
              <a:gd name="csY200" fmla="*/ 202985 h 2076207"/>
              <a:gd name="csX201" fmla="*/ 500276 w 765535"/>
              <a:gd name="csY201" fmla="*/ 160640 h 2076207"/>
              <a:gd name="csX202" fmla="*/ 497122 w 765535"/>
              <a:gd name="csY202" fmla="*/ 162007 h 2076207"/>
              <a:gd name="csX203" fmla="*/ 508068 w 765535"/>
              <a:gd name="csY203" fmla="*/ 190710 h 2076207"/>
              <a:gd name="csX204" fmla="*/ 215522 w 765535"/>
              <a:gd name="csY204" fmla="*/ 197296 h 2076207"/>
              <a:gd name="csX205" fmla="*/ 234029 w 765535"/>
              <a:gd name="csY205" fmla="*/ 162725 h 2076207"/>
              <a:gd name="csX206" fmla="*/ 229000 w 765535"/>
              <a:gd name="csY206" fmla="*/ 159902 h 2076207"/>
              <a:gd name="csX207" fmla="*/ 204824 w 765535"/>
              <a:gd name="csY207" fmla="*/ 199677 h 2076207"/>
              <a:gd name="csX208" fmla="*/ 207990 w 765535"/>
              <a:gd name="csY208" fmla="*/ 202198 h 2076207"/>
              <a:gd name="csX209" fmla="*/ 215522 w 765535"/>
              <a:gd name="csY209" fmla="*/ 197296 h 2076207"/>
              <a:gd name="csX210" fmla="*/ 484400 w 765535"/>
              <a:gd name="csY210" fmla="*/ 896678 h 2076207"/>
              <a:gd name="csX211" fmla="*/ 486181 w 765535"/>
              <a:gd name="csY211" fmla="*/ 896585 h 2076207"/>
              <a:gd name="csX212" fmla="*/ 486181 w 765535"/>
              <a:gd name="csY212" fmla="*/ 795289 h 2076207"/>
              <a:gd name="csX213" fmla="*/ 720241 w 765535"/>
              <a:gd name="csY213" fmla="*/ 2030666 h 2076207"/>
              <a:gd name="csX214" fmla="*/ 721175 w 765535"/>
              <a:gd name="csY214" fmla="*/ 2029733 h 2076207"/>
              <a:gd name="csX215" fmla="*/ 720241 w 765535"/>
              <a:gd name="csY215" fmla="*/ 2030666 h 2076207"/>
              <a:gd name="csX216" fmla="*/ 715702 w 765535"/>
              <a:gd name="csY216" fmla="*/ 2037051 h 2076207"/>
              <a:gd name="csX217" fmla="*/ 715702 w 765535"/>
              <a:gd name="csY217" fmla="*/ 2037051 h 2076207"/>
              <a:gd name="csX0" fmla="*/ 96263 w 733006"/>
              <a:gd name="csY0" fmla="*/ 2076207 h 2076207"/>
              <a:gd name="csX1" fmla="*/ 63862 w 733006"/>
              <a:gd name="csY1" fmla="*/ 2065388 h 2076207"/>
              <a:gd name="csX2" fmla="*/ 16555 w 733006"/>
              <a:gd name="csY2" fmla="*/ 2050152 h 2076207"/>
              <a:gd name="csX3" fmla="*/ 15 w 733006"/>
              <a:gd name="csY3" fmla="*/ 2023802 h 2076207"/>
              <a:gd name="csX4" fmla="*/ 18368 w 733006"/>
              <a:gd name="csY4" fmla="*/ 1940709 h 2076207"/>
              <a:gd name="csX5" fmla="*/ 22139 w 733006"/>
              <a:gd name="csY5" fmla="*/ 1907268 h 2076207"/>
              <a:gd name="csX6" fmla="*/ 57941 w 733006"/>
              <a:gd name="csY6" fmla="*/ 1774163 h 2076207"/>
              <a:gd name="csX7" fmla="*/ 102478 w 733006"/>
              <a:gd name="csY7" fmla="*/ 1720275 h 2076207"/>
              <a:gd name="csX8" fmla="*/ 108579 w 733006"/>
              <a:gd name="csY8" fmla="*/ 1650967 h 2076207"/>
              <a:gd name="csX9" fmla="*/ 115628 w 733006"/>
              <a:gd name="csY9" fmla="*/ 1625405 h 2076207"/>
              <a:gd name="csX10" fmla="*/ 156323 w 733006"/>
              <a:gd name="csY10" fmla="*/ 1560181 h 2076207"/>
              <a:gd name="csX11" fmla="*/ 199424 w 733006"/>
              <a:gd name="csY11" fmla="*/ 1364729 h 2076207"/>
              <a:gd name="csX12" fmla="*/ 216779 w 733006"/>
              <a:gd name="csY12" fmla="*/ 1219490 h 2076207"/>
              <a:gd name="csX13" fmla="*/ 229755 w 733006"/>
              <a:gd name="csY13" fmla="*/ 1099357 h 2076207"/>
              <a:gd name="csX14" fmla="*/ 232707 w 733006"/>
              <a:gd name="csY14" fmla="*/ 1056423 h 2076207"/>
              <a:gd name="csX15" fmla="*/ 235622 w 733006"/>
              <a:gd name="csY15" fmla="*/ 952675 h 2076207"/>
              <a:gd name="csX16" fmla="*/ 235445 w 733006"/>
              <a:gd name="csY16" fmla="*/ 780278 h 2076207"/>
              <a:gd name="csX17" fmla="*/ 214544 w 733006"/>
              <a:gd name="csY17" fmla="*/ 756435 h 2076207"/>
              <a:gd name="csX18" fmla="*/ 172569 w 733006"/>
              <a:gd name="csY18" fmla="*/ 742582 h 2076207"/>
              <a:gd name="csX19" fmla="*/ 168784 w 733006"/>
              <a:gd name="csY19" fmla="*/ 669116 h 2076207"/>
              <a:gd name="csX20" fmla="*/ 191657 w 733006"/>
              <a:gd name="csY20" fmla="*/ 630765 h 2076207"/>
              <a:gd name="csX21" fmla="*/ 208150 w 733006"/>
              <a:gd name="csY21" fmla="*/ 609084 h 2076207"/>
              <a:gd name="csX22" fmla="*/ 216756 w 733006"/>
              <a:gd name="csY22" fmla="*/ 558673 h 2076207"/>
              <a:gd name="csX23" fmla="*/ 209092 w 733006"/>
              <a:gd name="csY23" fmla="*/ 521540 h 2076207"/>
              <a:gd name="csX24" fmla="*/ 204683 w 733006"/>
              <a:gd name="csY24" fmla="*/ 474024 h 2076207"/>
              <a:gd name="csX25" fmla="*/ 115483 w 733006"/>
              <a:gd name="csY25" fmla="*/ 213499 h 2076207"/>
              <a:gd name="csX26" fmla="*/ 102909 w 733006"/>
              <a:gd name="csY26" fmla="*/ 182297 h 2076207"/>
              <a:gd name="csX27" fmla="*/ 104315 w 733006"/>
              <a:gd name="csY27" fmla="*/ 163968 h 2076207"/>
              <a:gd name="csX28" fmla="*/ 122444 w 733006"/>
              <a:gd name="csY28" fmla="*/ 160805 h 2076207"/>
              <a:gd name="csX29" fmla="*/ 170283 w 733006"/>
              <a:gd name="csY29" fmla="*/ 187783 h 2076207"/>
              <a:gd name="csX30" fmla="*/ 180938 w 733006"/>
              <a:gd name="csY30" fmla="*/ 195322 h 2076207"/>
              <a:gd name="csX31" fmla="*/ 221419 w 733006"/>
              <a:gd name="csY31" fmla="*/ 138058 h 2076207"/>
              <a:gd name="csX32" fmla="*/ 294099 w 733006"/>
              <a:gd name="csY32" fmla="*/ 91372 h 2076207"/>
              <a:gd name="csX33" fmla="*/ 302307 w 733006"/>
              <a:gd name="csY33" fmla="*/ 76560 h 2076207"/>
              <a:gd name="csX34" fmla="*/ 320284 w 733006"/>
              <a:gd name="csY34" fmla="*/ 8414 h 2076207"/>
              <a:gd name="csX35" fmla="*/ 324784 w 733006"/>
              <a:gd name="csY35" fmla="*/ 946 h 2076207"/>
              <a:gd name="csX36" fmla="*/ 399212 w 733006"/>
              <a:gd name="csY36" fmla="*/ 0 h 2076207"/>
              <a:gd name="csX37" fmla="*/ 425980 w 733006"/>
              <a:gd name="csY37" fmla="*/ 78301 h 2076207"/>
              <a:gd name="csX38" fmla="*/ 431861 w 733006"/>
              <a:gd name="csY38" fmla="*/ 90312 h 2076207"/>
              <a:gd name="csX39" fmla="*/ 540349 w 733006"/>
              <a:gd name="csY39" fmla="*/ 187946 h 2076207"/>
              <a:gd name="csX40" fmla="*/ 545555 w 733006"/>
              <a:gd name="csY40" fmla="*/ 197828 h 2076207"/>
              <a:gd name="csX41" fmla="*/ 587318 w 733006"/>
              <a:gd name="csY41" fmla="*/ 171260 h 2076207"/>
              <a:gd name="csX42" fmla="*/ 601503 w 733006"/>
              <a:gd name="csY42" fmla="*/ 163707 h 2076207"/>
              <a:gd name="csX43" fmla="*/ 625254 w 733006"/>
              <a:gd name="csY43" fmla="*/ 163123 h 2076207"/>
              <a:gd name="csX44" fmla="*/ 625468 w 733006"/>
              <a:gd name="csY44" fmla="*/ 187579 h 2076207"/>
              <a:gd name="csX45" fmla="*/ 597543 w 733006"/>
              <a:gd name="csY45" fmla="*/ 251872 h 2076207"/>
              <a:gd name="csX46" fmla="*/ 531831 w 733006"/>
              <a:gd name="csY46" fmla="*/ 442689 h 2076207"/>
              <a:gd name="csX47" fmla="*/ 519888 w 733006"/>
              <a:gd name="csY47" fmla="*/ 501474 h 2076207"/>
              <a:gd name="csX48" fmla="*/ 522506 w 733006"/>
              <a:gd name="csY48" fmla="*/ 525086 h 2076207"/>
              <a:gd name="csX49" fmla="*/ 516235 w 733006"/>
              <a:gd name="csY49" fmla="*/ 555946 h 2076207"/>
              <a:gd name="csX50" fmla="*/ 521332 w 733006"/>
              <a:gd name="csY50" fmla="*/ 610676 h 2076207"/>
              <a:gd name="csX51" fmla="*/ 541382 w 733006"/>
              <a:gd name="csY51" fmla="*/ 642597 h 2076207"/>
              <a:gd name="csX52" fmla="*/ 557031 w 733006"/>
              <a:gd name="csY52" fmla="*/ 667949 h 2076207"/>
              <a:gd name="csX53" fmla="*/ 553994 w 733006"/>
              <a:gd name="csY53" fmla="*/ 744146 h 2076207"/>
              <a:gd name="csX54" fmla="*/ 508215 w 733006"/>
              <a:gd name="csY54" fmla="*/ 758841 h 2076207"/>
              <a:gd name="csX55" fmla="*/ 497442 w 733006"/>
              <a:gd name="csY55" fmla="*/ 771256 h 2076207"/>
              <a:gd name="csX56" fmla="*/ 493005 w 733006"/>
              <a:gd name="csY56" fmla="*/ 922055 h 2076207"/>
              <a:gd name="csX57" fmla="*/ 502900 w 733006"/>
              <a:gd name="csY57" fmla="*/ 1114191 h 2076207"/>
              <a:gd name="csX58" fmla="*/ 508800 w 733006"/>
              <a:gd name="csY58" fmla="*/ 1205474 h 2076207"/>
              <a:gd name="csX59" fmla="*/ 522952 w 733006"/>
              <a:gd name="csY59" fmla="*/ 1320065 h 2076207"/>
              <a:gd name="csX60" fmla="*/ 554682 w 733006"/>
              <a:gd name="csY60" fmla="*/ 1501203 h 2076207"/>
              <a:gd name="csX61" fmla="*/ 576958 w 733006"/>
              <a:gd name="csY61" fmla="*/ 1593963 h 2076207"/>
              <a:gd name="csX62" fmla="*/ 595349 w 733006"/>
              <a:gd name="csY62" fmla="*/ 1613498 h 2076207"/>
              <a:gd name="csX63" fmla="*/ 613936 w 733006"/>
              <a:gd name="csY63" fmla="*/ 1624058 h 2076207"/>
              <a:gd name="csX64" fmla="*/ 620938 w 733006"/>
              <a:gd name="csY64" fmla="*/ 1652071 h 2076207"/>
              <a:gd name="csX65" fmla="*/ 630805 w 733006"/>
              <a:gd name="csY65" fmla="*/ 1721702 h 2076207"/>
              <a:gd name="csX66" fmla="*/ 685830 w 733006"/>
              <a:gd name="csY66" fmla="*/ 1792915 h 2076207"/>
              <a:gd name="csX67" fmla="*/ 708904 w 733006"/>
              <a:gd name="csY67" fmla="*/ 1890290 h 2076207"/>
              <a:gd name="csX68" fmla="*/ 716580 w 733006"/>
              <a:gd name="csY68" fmla="*/ 1951136 h 2076207"/>
              <a:gd name="csX69" fmla="*/ 729397 w 733006"/>
              <a:gd name="csY69" fmla="*/ 2030261 h 2076207"/>
              <a:gd name="csX70" fmla="*/ 714212 w 733006"/>
              <a:gd name="csY70" fmla="*/ 2049544 h 2076207"/>
              <a:gd name="csX71" fmla="*/ 96263 w 733006"/>
              <a:gd name="csY71" fmla="*/ 2076207 h 2076207"/>
              <a:gd name="csX72" fmla="*/ 489970 w 733006"/>
              <a:gd name="csY72" fmla="*/ 152208 h 2076207"/>
              <a:gd name="csX73" fmla="*/ 490754 w 733006"/>
              <a:gd name="csY73" fmla="*/ 152592 h 2076207"/>
              <a:gd name="csX74" fmla="*/ 489489 w 733006"/>
              <a:gd name="csY74" fmla="*/ 149547 h 2076207"/>
              <a:gd name="csX75" fmla="*/ 393621 w 733006"/>
              <a:gd name="csY75" fmla="*/ 99259 h 2076207"/>
              <a:gd name="csX76" fmla="*/ 390419 w 733006"/>
              <a:gd name="csY76" fmla="*/ 18568 h 2076207"/>
              <a:gd name="csX77" fmla="*/ 334131 w 733006"/>
              <a:gd name="csY77" fmla="*/ 24327 h 2076207"/>
              <a:gd name="csX78" fmla="*/ 344678 w 733006"/>
              <a:gd name="csY78" fmla="*/ 101259 h 2076207"/>
              <a:gd name="csX79" fmla="*/ 298854 w 733006"/>
              <a:gd name="csY79" fmla="*/ 114003 h 2076207"/>
              <a:gd name="csX80" fmla="*/ 237456 w 733006"/>
              <a:gd name="csY80" fmla="*/ 154340 h 2076207"/>
              <a:gd name="csX81" fmla="*/ 240382 w 733006"/>
              <a:gd name="csY81" fmla="*/ 154035 h 2076207"/>
              <a:gd name="csX82" fmla="*/ 262731 w 733006"/>
              <a:gd name="csY82" fmla="*/ 170426 h 2076207"/>
              <a:gd name="csX83" fmla="*/ 279169 w 733006"/>
              <a:gd name="csY83" fmla="*/ 193173 h 2076207"/>
              <a:gd name="csX84" fmla="*/ 327717 w 733006"/>
              <a:gd name="csY84" fmla="*/ 188556 h 2076207"/>
              <a:gd name="csX85" fmla="*/ 348052 w 733006"/>
              <a:gd name="csY85" fmla="*/ 156919 h 2076207"/>
              <a:gd name="csX86" fmla="*/ 380330 w 733006"/>
              <a:gd name="csY86" fmla="*/ 156483 h 2076207"/>
              <a:gd name="csX87" fmla="*/ 408490 w 733006"/>
              <a:gd name="csY87" fmla="*/ 195400 h 2076207"/>
              <a:gd name="csX88" fmla="*/ 445346 w 733006"/>
              <a:gd name="csY88" fmla="*/ 197582 h 2076207"/>
              <a:gd name="csX89" fmla="*/ 464798 w 733006"/>
              <a:gd name="csY89" fmla="*/ 174107 h 2076207"/>
              <a:gd name="csX90" fmla="*/ 489970 w 733006"/>
              <a:gd name="csY90" fmla="*/ 152208 h 2076207"/>
              <a:gd name="csX91" fmla="*/ 140694 w 733006"/>
              <a:gd name="csY91" fmla="*/ 201837 h 2076207"/>
              <a:gd name="csX92" fmla="*/ 139834 w 733006"/>
              <a:gd name="csY92" fmla="*/ 201482 h 2076207"/>
              <a:gd name="csX93" fmla="*/ 140812 w 733006"/>
              <a:gd name="csY93" fmla="*/ 204941 h 2076207"/>
              <a:gd name="csX94" fmla="*/ 144631 w 733006"/>
              <a:gd name="csY94" fmla="*/ 217811 h 2076207"/>
              <a:gd name="csX95" fmla="*/ 201241 w 733006"/>
              <a:gd name="csY95" fmla="*/ 373387 h 2076207"/>
              <a:gd name="csX96" fmla="*/ 235971 w 733006"/>
              <a:gd name="csY96" fmla="*/ 504451 h 2076207"/>
              <a:gd name="csX97" fmla="*/ 247475 w 733006"/>
              <a:gd name="csY97" fmla="*/ 513241 h 2076207"/>
              <a:gd name="csX98" fmla="*/ 289066 w 733006"/>
              <a:gd name="csY98" fmla="*/ 511170 h 2076207"/>
              <a:gd name="csX99" fmla="*/ 378229 w 733006"/>
              <a:gd name="csY99" fmla="*/ 511084 h 2076207"/>
              <a:gd name="csX100" fmla="*/ 470850 w 733006"/>
              <a:gd name="csY100" fmla="*/ 516341 h 2076207"/>
              <a:gd name="csX101" fmla="*/ 492933 w 733006"/>
              <a:gd name="csY101" fmla="*/ 497969 h 2076207"/>
              <a:gd name="csX102" fmla="*/ 557617 w 733006"/>
              <a:gd name="csY102" fmla="*/ 280398 h 2076207"/>
              <a:gd name="csX103" fmla="*/ 588788 w 733006"/>
              <a:gd name="csY103" fmla="*/ 200385 h 2076207"/>
              <a:gd name="csX104" fmla="*/ 530958 w 733006"/>
              <a:gd name="csY104" fmla="*/ 232968 h 2076207"/>
              <a:gd name="csX105" fmla="*/ 483823 w 733006"/>
              <a:gd name="csY105" fmla="*/ 190364 h 2076207"/>
              <a:gd name="csX106" fmla="*/ 466649 w 733006"/>
              <a:gd name="csY106" fmla="*/ 209061 h 2076207"/>
              <a:gd name="csX107" fmla="*/ 399941 w 733006"/>
              <a:gd name="csY107" fmla="*/ 216988 h 2076207"/>
              <a:gd name="csX108" fmla="*/ 363018 w 733006"/>
              <a:gd name="csY108" fmla="*/ 179615 h 2076207"/>
              <a:gd name="csX109" fmla="*/ 308839 w 733006"/>
              <a:gd name="csY109" fmla="*/ 227846 h 2076207"/>
              <a:gd name="csX110" fmla="*/ 245077 w 733006"/>
              <a:gd name="csY110" fmla="*/ 192402 h 2076207"/>
              <a:gd name="csX111" fmla="*/ 242829 w 733006"/>
              <a:gd name="csY111" fmla="*/ 198815 h 2076207"/>
              <a:gd name="csX112" fmla="*/ 168452 w 733006"/>
              <a:gd name="csY112" fmla="*/ 219348 h 2076207"/>
              <a:gd name="csX113" fmla="*/ 140694 w 733006"/>
              <a:gd name="csY113" fmla="*/ 201837 h 2076207"/>
              <a:gd name="csX114" fmla="*/ 259999 w 733006"/>
              <a:gd name="csY114" fmla="*/ 966699 h 2076207"/>
              <a:gd name="csX115" fmla="*/ 257072 w 733006"/>
              <a:gd name="csY115" fmla="*/ 1070424 h 2076207"/>
              <a:gd name="csX116" fmla="*/ 251372 w 733006"/>
              <a:gd name="csY116" fmla="*/ 1157618 h 2076207"/>
              <a:gd name="csX117" fmla="*/ 232677 w 733006"/>
              <a:gd name="csY117" fmla="*/ 1320279 h 2076207"/>
              <a:gd name="csX118" fmla="*/ 209182 w 733006"/>
              <a:gd name="csY118" fmla="*/ 1468667 h 2076207"/>
              <a:gd name="csX119" fmla="*/ 175302 w 733006"/>
              <a:gd name="csY119" fmla="*/ 1616623 h 2076207"/>
              <a:gd name="csX120" fmla="*/ 182769 w 733006"/>
              <a:gd name="csY120" fmla="*/ 1629786 h 2076207"/>
              <a:gd name="csX121" fmla="*/ 212156 w 733006"/>
              <a:gd name="csY121" fmla="*/ 1632656 h 2076207"/>
              <a:gd name="csX122" fmla="*/ 351295 w 733006"/>
              <a:gd name="csY122" fmla="*/ 1632801 h 2076207"/>
              <a:gd name="csX123" fmla="*/ 376150 w 733006"/>
              <a:gd name="csY123" fmla="*/ 1608307 h 2076207"/>
              <a:gd name="csX124" fmla="*/ 373450 w 733006"/>
              <a:gd name="csY124" fmla="*/ 1457291 h 2076207"/>
              <a:gd name="csX125" fmla="*/ 370936 w 733006"/>
              <a:gd name="csY125" fmla="*/ 1342736 h 2076207"/>
              <a:gd name="csX126" fmla="*/ 368328 w 733006"/>
              <a:gd name="csY126" fmla="*/ 1203878 h 2076207"/>
              <a:gd name="csX127" fmla="*/ 367836 w 733006"/>
              <a:gd name="csY127" fmla="*/ 813478 h 2076207"/>
              <a:gd name="csX128" fmla="*/ 365240 w 733006"/>
              <a:gd name="csY128" fmla="*/ 773243 h 2076207"/>
              <a:gd name="csX129" fmla="*/ 353084 w 733006"/>
              <a:gd name="csY129" fmla="*/ 762083 h 2076207"/>
              <a:gd name="csX130" fmla="*/ 280966 w 733006"/>
              <a:gd name="csY130" fmla="*/ 759855 h 2076207"/>
              <a:gd name="csX131" fmla="*/ 259965 w 733006"/>
              <a:gd name="csY131" fmla="*/ 779553 h 2076207"/>
              <a:gd name="csX132" fmla="*/ 262341 w 733006"/>
              <a:gd name="csY132" fmla="*/ 856275 h 2076207"/>
              <a:gd name="csX133" fmla="*/ 259999 w 733006"/>
              <a:gd name="csY133" fmla="*/ 966699 h 2076207"/>
              <a:gd name="csX134" fmla="*/ 55556 w 733006"/>
              <a:gd name="csY134" fmla="*/ 1835827 h 2076207"/>
              <a:gd name="csX135" fmla="*/ 49393 w 733006"/>
              <a:gd name="csY135" fmla="*/ 1878155 h 2076207"/>
              <a:gd name="csX136" fmla="*/ 73949 w 733006"/>
              <a:gd name="csY136" fmla="*/ 1905781 h 2076207"/>
              <a:gd name="csX137" fmla="*/ 110073 w 733006"/>
              <a:gd name="csY137" fmla="*/ 1909068 h 2076207"/>
              <a:gd name="csX138" fmla="*/ 224745 w 733006"/>
              <a:gd name="csY138" fmla="*/ 1921652 h 2076207"/>
              <a:gd name="csX139" fmla="*/ 347327 w 733006"/>
              <a:gd name="csY139" fmla="*/ 1924778 h 2076207"/>
              <a:gd name="csX140" fmla="*/ 363345 w 733006"/>
              <a:gd name="csY140" fmla="*/ 1923293 h 2076207"/>
              <a:gd name="csX141" fmla="*/ 373787 w 733006"/>
              <a:gd name="csY141" fmla="*/ 1911200 h 2076207"/>
              <a:gd name="csX142" fmla="*/ 376623 w 733006"/>
              <a:gd name="csY142" fmla="*/ 1696741 h 2076207"/>
              <a:gd name="csX143" fmla="*/ 360437 w 733006"/>
              <a:gd name="csY143" fmla="*/ 1681289 h 2076207"/>
              <a:gd name="csX144" fmla="*/ 263503 w 733006"/>
              <a:gd name="csY144" fmla="*/ 1678179 h 2076207"/>
              <a:gd name="csX145" fmla="*/ 160381 w 733006"/>
              <a:gd name="csY145" fmla="*/ 1670405 h 2076207"/>
              <a:gd name="csX146" fmla="*/ 143321 w 733006"/>
              <a:gd name="csY146" fmla="*/ 1685538 h 2076207"/>
              <a:gd name="csX147" fmla="*/ 124769 w 733006"/>
              <a:gd name="csY147" fmla="*/ 1738195 h 2076207"/>
              <a:gd name="csX148" fmla="*/ 90593 w 733006"/>
              <a:gd name="csY148" fmla="*/ 1779570 h 2076207"/>
              <a:gd name="csX149" fmla="*/ 55556 w 733006"/>
              <a:gd name="csY149" fmla="*/ 1835827 h 2076207"/>
              <a:gd name="csX150" fmla="*/ 378900 w 733006"/>
              <a:gd name="csY150" fmla="*/ 2007280 h 2076207"/>
              <a:gd name="csX151" fmla="*/ 378887 w 733006"/>
              <a:gd name="csY151" fmla="*/ 1995127 h 2076207"/>
              <a:gd name="csX152" fmla="*/ 359084 w 733006"/>
              <a:gd name="csY152" fmla="*/ 1975964 h 2076207"/>
              <a:gd name="csX153" fmla="*/ 247288 w 733006"/>
              <a:gd name="csY153" fmla="*/ 1973305 h 2076207"/>
              <a:gd name="csX154" fmla="*/ 201692 w 733006"/>
              <a:gd name="csY154" fmla="*/ 1970275 h 2076207"/>
              <a:gd name="csX155" fmla="*/ 57962 w 733006"/>
              <a:gd name="csY155" fmla="*/ 1952648 h 2076207"/>
              <a:gd name="csX156" fmla="*/ 39194 w 733006"/>
              <a:gd name="csY156" fmla="*/ 1963552 h 2076207"/>
              <a:gd name="csX157" fmla="*/ 30066 w 733006"/>
              <a:gd name="csY157" fmla="*/ 2006631 h 2076207"/>
              <a:gd name="csX158" fmla="*/ 40232 w 733006"/>
              <a:gd name="csY158" fmla="*/ 2019486 h 2076207"/>
              <a:gd name="csX159" fmla="*/ 238186 w 733006"/>
              <a:gd name="csY159" fmla="*/ 2046096 h 2076207"/>
              <a:gd name="csX160" fmla="*/ 342155 w 733006"/>
              <a:gd name="csY160" fmla="*/ 2046441 h 2076207"/>
              <a:gd name="csX161" fmla="*/ 378900 w 733006"/>
              <a:gd name="csY161" fmla="*/ 2007280 h 2076207"/>
              <a:gd name="csX162" fmla="*/ 310220 w 733006"/>
              <a:gd name="csY162" fmla="*/ 554288 h 2076207"/>
              <a:gd name="csX163" fmla="*/ 259136 w 733006"/>
              <a:gd name="csY163" fmla="*/ 556881 h 2076207"/>
              <a:gd name="csX164" fmla="*/ 249085 w 733006"/>
              <a:gd name="csY164" fmla="*/ 567981 h 2076207"/>
              <a:gd name="csX165" fmla="*/ 249141 w 733006"/>
              <a:gd name="csY165" fmla="*/ 605644 h 2076207"/>
              <a:gd name="csX166" fmla="*/ 262628 w 733006"/>
              <a:gd name="csY166" fmla="*/ 605627 h 2076207"/>
              <a:gd name="csX167" fmla="*/ 369608 w 733006"/>
              <a:gd name="csY167" fmla="*/ 603027 h 2076207"/>
              <a:gd name="csX168" fmla="*/ 463931 w 733006"/>
              <a:gd name="csY168" fmla="*/ 605146 h 2076207"/>
              <a:gd name="csX169" fmla="*/ 478113 w 733006"/>
              <a:gd name="csY169" fmla="*/ 595843 h 2076207"/>
              <a:gd name="csX170" fmla="*/ 478796 w 733006"/>
              <a:gd name="csY170" fmla="*/ 556832 h 2076207"/>
              <a:gd name="csX171" fmla="*/ 310220 w 733006"/>
              <a:gd name="csY171" fmla="*/ 554288 h 2076207"/>
              <a:gd name="csX172" fmla="*/ 348836 w 733006"/>
              <a:gd name="csY172" fmla="*/ 684115 h 2076207"/>
              <a:gd name="csX173" fmla="*/ 281333 w 733006"/>
              <a:gd name="csY173" fmla="*/ 683313 h 2076207"/>
              <a:gd name="csX174" fmla="*/ 212728 w 733006"/>
              <a:gd name="csY174" fmla="*/ 681931 h 2076207"/>
              <a:gd name="csX175" fmla="*/ 187283 w 733006"/>
              <a:gd name="csY175" fmla="*/ 689555 h 2076207"/>
              <a:gd name="csX176" fmla="*/ 186163 w 733006"/>
              <a:gd name="csY176" fmla="*/ 718266 h 2076207"/>
              <a:gd name="csX177" fmla="*/ 209894 w 733006"/>
              <a:gd name="csY177" fmla="*/ 726798 h 2076207"/>
              <a:gd name="csX178" fmla="*/ 334814 w 733006"/>
              <a:gd name="csY178" fmla="*/ 732494 h 2076207"/>
              <a:gd name="csX179" fmla="*/ 364856 w 733006"/>
              <a:gd name="csY179" fmla="*/ 707963 h 2076207"/>
              <a:gd name="csX180" fmla="*/ 348836 w 733006"/>
              <a:gd name="csY180" fmla="*/ 684115 h 2076207"/>
              <a:gd name="csX181" fmla="*/ 298865 w 733006"/>
              <a:gd name="csY181" fmla="*/ 621954 h 2076207"/>
              <a:gd name="csX182" fmla="*/ 251619 w 733006"/>
              <a:gd name="csY182" fmla="*/ 622133 h 2076207"/>
              <a:gd name="csX183" fmla="*/ 214459 w 733006"/>
              <a:gd name="csY183" fmla="*/ 636230 h 2076207"/>
              <a:gd name="csX184" fmla="*/ 221436 w 733006"/>
              <a:gd name="csY184" fmla="*/ 654205 h 2076207"/>
              <a:gd name="csX185" fmla="*/ 272412 w 733006"/>
              <a:gd name="csY185" fmla="*/ 657250 h 2076207"/>
              <a:gd name="csX186" fmla="*/ 349094 w 733006"/>
              <a:gd name="csY186" fmla="*/ 659282 h 2076207"/>
              <a:gd name="csX187" fmla="*/ 362996 w 733006"/>
              <a:gd name="csY187" fmla="*/ 644234 h 2076207"/>
              <a:gd name="csX188" fmla="*/ 348472 w 733006"/>
              <a:gd name="csY188" fmla="*/ 624649 h 2076207"/>
              <a:gd name="csX189" fmla="*/ 298865 w 733006"/>
              <a:gd name="csY189" fmla="*/ 621954 h 2076207"/>
              <a:gd name="csX190" fmla="*/ 227796 w 733006"/>
              <a:gd name="csY190" fmla="*/ 528000 h 2076207"/>
              <a:gd name="csX191" fmla="*/ 241009 w 733006"/>
              <a:gd name="csY191" fmla="*/ 545897 h 2076207"/>
              <a:gd name="csX192" fmla="*/ 282607 w 733006"/>
              <a:gd name="csY192" fmla="*/ 543480 h 2076207"/>
              <a:gd name="csX193" fmla="*/ 354213 w 733006"/>
              <a:gd name="csY193" fmla="*/ 543384 h 2076207"/>
              <a:gd name="csX194" fmla="*/ 365334 w 733006"/>
              <a:gd name="csY194" fmla="*/ 533397 h 2076207"/>
              <a:gd name="csX195" fmla="*/ 354531 w 733006"/>
              <a:gd name="csY195" fmla="*/ 521620 h 2076207"/>
              <a:gd name="csX196" fmla="*/ 259169 w 733006"/>
              <a:gd name="csY196" fmla="*/ 521978 h 2076207"/>
              <a:gd name="csX197" fmla="*/ 227796 w 733006"/>
              <a:gd name="csY197" fmla="*/ 528000 h 2076207"/>
              <a:gd name="csX198" fmla="*/ 508068 w 733006"/>
              <a:gd name="csY198" fmla="*/ 190710 h 2076207"/>
              <a:gd name="csX199" fmla="*/ 521293 w 733006"/>
              <a:gd name="csY199" fmla="*/ 205907 h 2076207"/>
              <a:gd name="csX200" fmla="*/ 525175 w 733006"/>
              <a:gd name="csY200" fmla="*/ 202985 h 2076207"/>
              <a:gd name="csX201" fmla="*/ 500276 w 733006"/>
              <a:gd name="csY201" fmla="*/ 160640 h 2076207"/>
              <a:gd name="csX202" fmla="*/ 497122 w 733006"/>
              <a:gd name="csY202" fmla="*/ 162007 h 2076207"/>
              <a:gd name="csX203" fmla="*/ 508068 w 733006"/>
              <a:gd name="csY203" fmla="*/ 190710 h 2076207"/>
              <a:gd name="csX204" fmla="*/ 215522 w 733006"/>
              <a:gd name="csY204" fmla="*/ 197296 h 2076207"/>
              <a:gd name="csX205" fmla="*/ 234029 w 733006"/>
              <a:gd name="csY205" fmla="*/ 162725 h 2076207"/>
              <a:gd name="csX206" fmla="*/ 229000 w 733006"/>
              <a:gd name="csY206" fmla="*/ 159902 h 2076207"/>
              <a:gd name="csX207" fmla="*/ 204824 w 733006"/>
              <a:gd name="csY207" fmla="*/ 199677 h 2076207"/>
              <a:gd name="csX208" fmla="*/ 207990 w 733006"/>
              <a:gd name="csY208" fmla="*/ 202198 h 2076207"/>
              <a:gd name="csX209" fmla="*/ 215522 w 733006"/>
              <a:gd name="csY209" fmla="*/ 197296 h 2076207"/>
              <a:gd name="csX210" fmla="*/ 484400 w 733006"/>
              <a:gd name="csY210" fmla="*/ 896678 h 2076207"/>
              <a:gd name="csX211" fmla="*/ 486181 w 733006"/>
              <a:gd name="csY211" fmla="*/ 896585 h 2076207"/>
              <a:gd name="csX212" fmla="*/ 486181 w 733006"/>
              <a:gd name="csY212" fmla="*/ 795289 h 2076207"/>
              <a:gd name="csX213" fmla="*/ 720241 w 733006"/>
              <a:gd name="csY213" fmla="*/ 2030666 h 2076207"/>
              <a:gd name="csX214" fmla="*/ 721175 w 733006"/>
              <a:gd name="csY214" fmla="*/ 2029733 h 2076207"/>
              <a:gd name="csX215" fmla="*/ 720241 w 733006"/>
              <a:gd name="csY215" fmla="*/ 2030666 h 2076207"/>
              <a:gd name="csX216" fmla="*/ 715702 w 733006"/>
              <a:gd name="csY216" fmla="*/ 2037051 h 2076207"/>
              <a:gd name="csX217" fmla="*/ 715702 w 733006"/>
              <a:gd name="csY217" fmla="*/ 2037051 h 2076207"/>
              <a:gd name="csX0" fmla="*/ 96263 w 733006"/>
              <a:gd name="csY0" fmla="*/ 2076207 h 2084524"/>
              <a:gd name="csX1" fmla="*/ 63862 w 733006"/>
              <a:gd name="csY1" fmla="*/ 2065388 h 2084524"/>
              <a:gd name="csX2" fmla="*/ 16555 w 733006"/>
              <a:gd name="csY2" fmla="*/ 2050152 h 2084524"/>
              <a:gd name="csX3" fmla="*/ 15 w 733006"/>
              <a:gd name="csY3" fmla="*/ 2023802 h 2084524"/>
              <a:gd name="csX4" fmla="*/ 18368 w 733006"/>
              <a:gd name="csY4" fmla="*/ 1940709 h 2084524"/>
              <a:gd name="csX5" fmla="*/ 22139 w 733006"/>
              <a:gd name="csY5" fmla="*/ 1907268 h 2084524"/>
              <a:gd name="csX6" fmla="*/ 57941 w 733006"/>
              <a:gd name="csY6" fmla="*/ 1774163 h 2084524"/>
              <a:gd name="csX7" fmla="*/ 102478 w 733006"/>
              <a:gd name="csY7" fmla="*/ 1720275 h 2084524"/>
              <a:gd name="csX8" fmla="*/ 108579 w 733006"/>
              <a:gd name="csY8" fmla="*/ 1650967 h 2084524"/>
              <a:gd name="csX9" fmla="*/ 115628 w 733006"/>
              <a:gd name="csY9" fmla="*/ 1625405 h 2084524"/>
              <a:gd name="csX10" fmla="*/ 156323 w 733006"/>
              <a:gd name="csY10" fmla="*/ 1560181 h 2084524"/>
              <a:gd name="csX11" fmla="*/ 199424 w 733006"/>
              <a:gd name="csY11" fmla="*/ 1364729 h 2084524"/>
              <a:gd name="csX12" fmla="*/ 216779 w 733006"/>
              <a:gd name="csY12" fmla="*/ 1219490 h 2084524"/>
              <a:gd name="csX13" fmla="*/ 229755 w 733006"/>
              <a:gd name="csY13" fmla="*/ 1099357 h 2084524"/>
              <a:gd name="csX14" fmla="*/ 232707 w 733006"/>
              <a:gd name="csY14" fmla="*/ 1056423 h 2084524"/>
              <a:gd name="csX15" fmla="*/ 235622 w 733006"/>
              <a:gd name="csY15" fmla="*/ 952675 h 2084524"/>
              <a:gd name="csX16" fmla="*/ 235445 w 733006"/>
              <a:gd name="csY16" fmla="*/ 780278 h 2084524"/>
              <a:gd name="csX17" fmla="*/ 214544 w 733006"/>
              <a:gd name="csY17" fmla="*/ 756435 h 2084524"/>
              <a:gd name="csX18" fmla="*/ 172569 w 733006"/>
              <a:gd name="csY18" fmla="*/ 742582 h 2084524"/>
              <a:gd name="csX19" fmla="*/ 168784 w 733006"/>
              <a:gd name="csY19" fmla="*/ 669116 h 2084524"/>
              <a:gd name="csX20" fmla="*/ 191657 w 733006"/>
              <a:gd name="csY20" fmla="*/ 630765 h 2084524"/>
              <a:gd name="csX21" fmla="*/ 208150 w 733006"/>
              <a:gd name="csY21" fmla="*/ 609084 h 2084524"/>
              <a:gd name="csX22" fmla="*/ 216756 w 733006"/>
              <a:gd name="csY22" fmla="*/ 558673 h 2084524"/>
              <a:gd name="csX23" fmla="*/ 209092 w 733006"/>
              <a:gd name="csY23" fmla="*/ 521540 h 2084524"/>
              <a:gd name="csX24" fmla="*/ 204683 w 733006"/>
              <a:gd name="csY24" fmla="*/ 474024 h 2084524"/>
              <a:gd name="csX25" fmla="*/ 115483 w 733006"/>
              <a:gd name="csY25" fmla="*/ 213499 h 2084524"/>
              <a:gd name="csX26" fmla="*/ 102909 w 733006"/>
              <a:gd name="csY26" fmla="*/ 182297 h 2084524"/>
              <a:gd name="csX27" fmla="*/ 104315 w 733006"/>
              <a:gd name="csY27" fmla="*/ 163968 h 2084524"/>
              <a:gd name="csX28" fmla="*/ 122444 w 733006"/>
              <a:gd name="csY28" fmla="*/ 160805 h 2084524"/>
              <a:gd name="csX29" fmla="*/ 170283 w 733006"/>
              <a:gd name="csY29" fmla="*/ 187783 h 2084524"/>
              <a:gd name="csX30" fmla="*/ 180938 w 733006"/>
              <a:gd name="csY30" fmla="*/ 195322 h 2084524"/>
              <a:gd name="csX31" fmla="*/ 221419 w 733006"/>
              <a:gd name="csY31" fmla="*/ 138058 h 2084524"/>
              <a:gd name="csX32" fmla="*/ 294099 w 733006"/>
              <a:gd name="csY32" fmla="*/ 91372 h 2084524"/>
              <a:gd name="csX33" fmla="*/ 302307 w 733006"/>
              <a:gd name="csY33" fmla="*/ 76560 h 2084524"/>
              <a:gd name="csX34" fmla="*/ 320284 w 733006"/>
              <a:gd name="csY34" fmla="*/ 8414 h 2084524"/>
              <a:gd name="csX35" fmla="*/ 324784 w 733006"/>
              <a:gd name="csY35" fmla="*/ 946 h 2084524"/>
              <a:gd name="csX36" fmla="*/ 399212 w 733006"/>
              <a:gd name="csY36" fmla="*/ 0 h 2084524"/>
              <a:gd name="csX37" fmla="*/ 425980 w 733006"/>
              <a:gd name="csY37" fmla="*/ 78301 h 2084524"/>
              <a:gd name="csX38" fmla="*/ 431861 w 733006"/>
              <a:gd name="csY38" fmla="*/ 90312 h 2084524"/>
              <a:gd name="csX39" fmla="*/ 540349 w 733006"/>
              <a:gd name="csY39" fmla="*/ 187946 h 2084524"/>
              <a:gd name="csX40" fmla="*/ 545555 w 733006"/>
              <a:gd name="csY40" fmla="*/ 197828 h 2084524"/>
              <a:gd name="csX41" fmla="*/ 587318 w 733006"/>
              <a:gd name="csY41" fmla="*/ 171260 h 2084524"/>
              <a:gd name="csX42" fmla="*/ 601503 w 733006"/>
              <a:gd name="csY42" fmla="*/ 163707 h 2084524"/>
              <a:gd name="csX43" fmla="*/ 625254 w 733006"/>
              <a:gd name="csY43" fmla="*/ 163123 h 2084524"/>
              <a:gd name="csX44" fmla="*/ 625468 w 733006"/>
              <a:gd name="csY44" fmla="*/ 187579 h 2084524"/>
              <a:gd name="csX45" fmla="*/ 597543 w 733006"/>
              <a:gd name="csY45" fmla="*/ 251872 h 2084524"/>
              <a:gd name="csX46" fmla="*/ 531831 w 733006"/>
              <a:gd name="csY46" fmla="*/ 442689 h 2084524"/>
              <a:gd name="csX47" fmla="*/ 519888 w 733006"/>
              <a:gd name="csY47" fmla="*/ 501474 h 2084524"/>
              <a:gd name="csX48" fmla="*/ 522506 w 733006"/>
              <a:gd name="csY48" fmla="*/ 525086 h 2084524"/>
              <a:gd name="csX49" fmla="*/ 516235 w 733006"/>
              <a:gd name="csY49" fmla="*/ 555946 h 2084524"/>
              <a:gd name="csX50" fmla="*/ 521332 w 733006"/>
              <a:gd name="csY50" fmla="*/ 610676 h 2084524"/>
              <a:gd name="csX51" fmla="*/ 541382 w 733006"/>
              <a:gd name="csY51" fmla="*/ 642597 h 2084524"/>
              <a:gd name="csX52" fmla="*/ 557031 w 733006"/>
              <a:gd name="csY52" fmla="*/ 667949 h 2084524"/>
              <a:gd name="csX53" fmla="*/ 553994 w 733006"/>
              <a:gd name="csY53" fmla="*/ 744146 h 2084524"/>
              <a:gd name="csX54" fmla="*/ 508215 w 733006"/>
              <a:gd name="csY54" fmla="*/ 758841 h 2084524"/>
              <a:gd name="csX55" fmla="*/ 497442 w 733006"/>
              <a:gd name="csY55" fmla="*/ 771256 h 2084524"/>
              <a:gd name="csX56" fmla="*/ 493005 w 733006"/>
              <a:gd name="csY56" fmla="*/ 922055 h 2084524"/>
              <a:gd name="csX57" fmla="*/ 502900 w 733006"/>
              <a:gd name="csY57" fmla="*/ 1114191 h 2084524"/>
              <a:gd name="csX58" fmla="*/ 508800 w 733006"/>
              <a:gd name="csY58" fmla="*/ 1205474 h 2084524"/>
              <a:gd name="csX59" fmla="*/ 522952 w 733006"/>
              <a:gd name="csY59" fmla="*/ 1320065 h 2084524"/>
              <a:gd name="csX60" fmla="*/ 554682 w 733006"/>
              <a:gd name="csY60" fmla="*/ 1501203 h 2084524"/>
              <a:gd name="csX61" fmla="*/ 576958 w 733006"/>
              <a:gd name="csY61" fmla="*/ 1593963 h 2084524"/>
              <a:gd name="csX62" fmla="*/ 595349 w 733006"/>
              <a:gd name="csY62" fmla="*/ 1613498 h 2084524"/>
              <a:gd name="csX63" fmla="*/ 613936 w 733006"/>
              <a:gd name="csY63" fmla="*/ 1624058 h 2084524"/>
              <a:gd name="csX64" fmla="*/ 620938 w 733006"/>
              <a:gd name="csY64" fmla="*/ 1652071 h 2084524"/>
              <a:gd name="csX65" fmla="*/ 630805 w 733006"/>
              <a:gd name="csY65" fmla="*/ 1721702 h 2084524"/>
              <a:gd name="csX66" fmla="*/ 685830 w 733006"/>
              <a:gd name="csY66" fmla="*/ 1792915 h 2084524"/>
              <a:gd name="csX67" fmla="*/ 708904 w 733006"/>
              <a:gd name="csY67" fmla="*/ 1890290 h 2084524"/>
              <a:gd name="csX68" fmla="*/ 716580 w 733006"/>
              <a:gd name="csY68" fmla="*/ 1951136 h 2084524"/>
              <a:gd name="csX69" fmla="*/ 729397 w 733006"/>
              <a:gd name="csY69" fmla="*/ 2030261 h 2084524"/>
              <a:gd name="csX70" fmla="*/ 714212 w 733006"/>
              <a:gd name="csY70" fmla="*/ 2049544 h 2084524"/>
              <a:gd name="csX71" fmla="*/ 96263 w 733006"/>
              <a:gd name="csY71" fmla="*/ 2076207 h 2084524"/>
              <a:gd name="csX72" fmla="*/ 489970 w 733006"/>
              <a:gd name="csY72" fmla="*/ 152208 h 2084524"/>
              <a:gd name="csX73" fmla="*/ 490754 w 733006"/>
              <a:gd name="csY73" fmla="*/ 152592 h 2084524"/>
              <a:gd name="csX74" fmla="*/ 489489 w 733006"/>
              <a:gd name="csY74" fmla="*/ 149547 h 2084524"/>
              <a:gd name="csX75" fmla="*/ 393621 w 733006"/>
              <a:gd name="csY75" fmla="*/ 99259 h 2084524"/>
              <a:gd name="csX76" fmla="*/ 390419 w 733006"/>
              <a:gd name="csY76" fmla="*/ 18568 h 2084524"/>
              <a:gd name="csX77" fmla="*/ 334131 w 733006"/>
              <a:gd name="csY77" fmla="*/ 24327 h 2084524"/>
              <a:gd name="csX78" fmla="*/ 344678 w 733006"/>
              <a:gd name="csY78" fmla="*/ 101259 h 2084524"/>
              <a:gd name="csX79" fmla="*/ 298854 w 733006"/>
              <a:gd name="csY79" fmla="*/ 114003 h 2084524"/>
              <a:gd name="csX80" fmla="*/ 237456 w 733006"/>
              <a:gd name="csY80" fmla="*/ 154340 h 2084524"/>
              <a:gd name="csX81" fmla="*/ 240382 w 733006"/>
              <a:gd name="csY81" fmla="*/ 154035 h 2084524"/>
              <a:gd name="csX82" fmla="*/ 262731 w 733006"/>
              <a:gd name="csY82" fmla="*/ 170426 h 2084524"/>
              <a:gd name="csX83" fmla="*/ 279169 w 733006"/>
              <a:gd name="csY83" fmla="*/ 193173 h 2084524"/>
              <a:gd name="csX84" fmla="*/ 327717 w 733006"/>
              <a:gd name="csY84" fmla="*/ 188556 h 2084524"/>
              <a:gd name="csX85" fmla="*/ 348052 w 733006"/>
              <a:gd name="csY85" fmla="*/ 156919 h 2084524"/>
              <a:gd name="csX86" fmla="*/ 380330 w 733006"/>
              <a:gd name="csY86" fmla="*/ 156483 h 2084524"/>
              <a:gd name="csX87" fmla="*/ 408490 w 733006"/>
              <a:gd name="csY87" fmla="*/ 195400 h 2084524"/>
              <a:gd name="csX88" fmla="*/ 445346 w 733006"/>
              <a:gd name="csY88" fmla="*/ 197582 h 2084524"/>
              <a:gd name="csX89" fmla="*/ 464798 w 733006"/>
              <a:gd name="csY89" fmla="*/ 174107 h 2084524"/>
              <a:gd name="csX90" fmla="*/ 489970 w 733006"/>
              <a:gd name="csY90" fmla="*/ 152208 h 2084524"/>
              <a:gd name="csX91" fmla="*/ 140694 w 733006"/>
              <a:gd name="csY91" fmla="*/ 201837 h 2084524"/>
              <a:gd name="csX92" fmla="*/ 139834 w 733006"/>
              <a:gd name="csY92" fmla="*/ 201482 h 2084524"/>
              <a:gd name="csX93" fmla="*/ 140812 w 733006"/>
              <a:gd name="csY93" fmla="*/ 204941 h 2084524"/>
              <a:gd name="csX94" fmla="*/ 144631 w 733006"/>
              <a:gd name="csY94" fmla="*/ 217811 h 2084524"/>
              <a:gd name="csX95" fmla="*/ 201241 w 733006"/>
              <a:gd name="csY95" fmla="*/ 373387 h 2084524"/>
              <a:gd name="csX96" fmla="*/ 235971 w 733006"/>
              <a:gd name="csY96" fmla="*/ 504451 h 2084524"/>
              <a:gd name="csX97" fmla="*/ 247475 w 733006"/>
              <a:gd name="csY97" fmla="*/ 513241 h 2084524"/>
              <a:gd name="csX98" fmla="*/ 289066 w 733006"/>
              <a:gd name="csY98" fmla="*/ 511170 h 2084524"/>
              <a:gd name="csX99" fmla="*/ 378229 w 733006"/>
              <a:gd name="csY99" fmla="*/ 511084 h 2084524"/>
              <a:gd name="csX100" fmla="*/ 470850 w 733006"/>
              <a:gd name="csY100" fmla="*/ 516341 h 2084524"/>
              <a:gd name="csX101" fmla="*/ 492933 w 733006"/>
              <a:gd name="csY101" fmla="*/ 497969 h 2084524"/>
              <a:gd name="csX102" fmla="*/ 557617 w 733006"/>
              <a:gd name="csY102" fmla="*/ 280398 h 2084524"/>
              <a:gd name="csX103" fmla="*/ 588788 w 733006"/>
              <a:gd name="csY103" fmla="*/ 200385 h 2084524"/>
              <a:gd name="csX104" fmla="*/ 530958 w 733006"/>
              <a:gd name="csY104" fmla="*/ 232968 h 2084524"/>
              <a:gd name="csX105" fmla="*/ 483823 w 733006"/>
              <a:gd name="csY105" fmla="*/ 190364 h 2084524"/>
              <a:gd name="csX106" fmla="*/ 466649 w 733006"/>
              <a:gd name="csY106" fmla="*/ 209061 h 2084524"/>
              <a:gd name="csX107" fmla="*/ 399941 w 733006"/>
              <a:gd name="csY107" fmla="*/ 216988 h 2084524"/>
              <a:gd name="csX108" fmla="*/ 363018 w 733006"/>
              <a:gd name="csY108" fmla="*/ 179615 h 2084524"/>
              <a:gd name="csX109" fmla="*/ 308839 w 733006"/>
              <a:gd name="csY109" fmla="*/ 227846 h 2084524"/>
              <a:gd name="csX110" fmla="*/ 245077 w 733006"/>
              <a:gd name="csY110" fmla="*/ 192402 h 2084524"/>
              <a:gd name="csX111" fmla="*/ 242829 w 733006"/>
              <a:gd name="csY111" fmla="*/ 198815 h 2084524"/>
              <a:gd name="csX112" fmla="*/ 168452 w 733006"/>
              <a:gd name="csY112" fmla="*/ 219348 h 2084524"/>
              <a:gd name="csX113" fmla="*/ 140694 w 733006"/>
              <a:gd name="csY113" fmla="*/ 201837 h 2084524"/>
              <a:gd name="csX114" fmla="*/ 259999 w 733006"/>
              <a:gd name="csY114" fmla="*/ 966699 h 2084524"/>
              <a:gd name="csX115" fmla="*/ 257072 w 733006"/>
              <a:gd name="csY115" fmla="*/ 1070424 h 2084524"/>
              <a:gd name="csX116" fmla="*/ 251372 w 733006"/>
              <a:gd name="csY116" fmla="*/ 1157618 h 2084524"/>
              <a:gd name="csX117" fmla="*/ 232677 w 733006"/>
              <a:gd name="csY117" fmla="*/ 1320279 h 2084524"/>
              <a:gd name="csX118" fmla="*/ 209182 w 733006"/>
              <a:gd name="csY118" fmla="*/ 1468667 h 2084524"/>
              <a:gd name="csX119" fmla="*/ 175302 w 733006"/>
              <a:gd name="csY119" fmla="*/ 1616623 h 2084524"/>
              <a:gd name="csX120" fmla="*/ 182769 w 733006"/>
              <a:gd name="csY120" fmla="*/ 1629786 h 2084524"/>
              <a:gd name="csX121" fmla="*/ 212156 w 733006"/>
              <a:gd name="csY121" fmla="*/ 1632656 h 2084524"/>
              <a:gd name="csX122" fmla="*/ 351295 w 733006"/>
              <a:gd name="csY122" fmla="*/ 1632801 h 2084524"/>
              <a:gd name="csX123" fmla="*/ 376150 w 733006"/>
              <a:gd name="csY123" fmla="*/ 1608307 h 2084524"/>
              <a:gd name="csX124" fmla="*/ 373450 w 733006"/>
              <a:gd name="csY124" fmla="*/ 1457291 h 2084524"/>
              <a:gd name="csX125" fmla="*/ 370936 w 733006"/>
              <a:gd name="csY125" fmla="*/ 1342736 h 2084524"/>
              <a:gd name="csX126" fmla="*/ 368328 w 733006"/>
              <a:gd name="csY126" fmla="*/ 1203878 h 2084524"/>
              <a:gd name="csX127" fmla="*/ 367836 w 733006"/>
              <a:gd name="csY127" fmla="*/ 813478 h 2084524"/>
              <a:gd name="csX128" fmla="*/ 365240 w 733006"/>
              <a:gd name="csY128" fmla="*/ 773243 h 2084524"/>
              <a:gd name="csX129" fmla="*/ 353084 w 733006"/>
              <a:gd name="csY129" fmla="*/ 762083 h 2084524"/>
              <a:gd name="csX130" fmla="*/ 280966 w 733006"/>
              <a:gd name="csY130" fmla="*/ 759855 h 2084524"/>
              <a:gd name="csX131" fmla="*/ 259965 w 733006"/>
              <a:gd name="csY131" fmla="*/ 779553 h 2084524"/>
              <a:gd name="csX132" fmla="*/ 262341 w 733006"/>
              <a:gd name="csY132" fmla="*/ 856275 h 2084524"/>
              <a:gd name="csX133" fmla="*/ 259999 w 733006"/>
              <a:gd name="csY133" fmla="*/ 966699 h 2084524"/>
              <a:gd name="csX134" fmla="*/ 55556 w 733006"/>
              <a:gd name="csY134" fmla="*/ 1835827 h 2084524"/>
              <a:gd name="csX135" fmla="*/ 49393 w 733006"/>
              <a:gd name="csY135" fmla="*/ 1878155 h 2084524"/>
              <a:gd name="csX136" fmla="*/ 73949 w 733006"/>
              <a:gd name="csY136" fmla="*/ 1905781 h 2084524"/>
              <a:gd name="csX137" fmla="*/ 110073 w 733006"/>
              <a:gd name="csY137" fmla="*/ 1909068 h 2084524"/>
              <a:gd name="csX138" fmla="*/ 224745 w 733006"/>
              <a:gd name="csY138" fmla="*/ 1921652 h 2084524"/>
              <a:gd name="csX139" fmla="*/ 347327 w 733006"/>
              <a:gd name="csY139" fmla="*/ 1924778 h 2084524"/>
              <a:gd name="csX140" fmla="*/ 363345 w 733006"/>
              <a:gd name="csY140" fmla="*/ 1923293 h 2084524"/>
              <a:gd name="csX141" fmla="*/ 373787 w 733006"/>
              <a:gd name="csY141" fmla="*/ 1911200 h 2084524"/>
              <a:gd name="csX142" fmla="*/ 376623 w 733006"/>
              <a:gd name="csY142" fmla="*/ 1696741 h 2084524"/>
              <a:gd name="csX143" fmla="*/ 360437 w 733006"/>
              <a:gd name="csY143" fmla="*/ 1681289 h 2084524"/>
              <a:gd name="csX144" fmla="*/ 263503 w 733006"/>
              <a:gd name="csY144" fmla="*/ 1678179 h 2084524"/>
              <a:gd name="csX145" fmla="*/ 160381 w 733006"/>
              <a:gd name="csY145" fmla="*/ 1670405 h 2084524"/>
              <a:gd name="csX146" fmla="*/ 143321 w 733006"/>
              <a:gd name="csY146" fmla="*/ 1685538 h 2084524"/>
              <a:gd name="csX147" fmla="*/ 124769 w 733006"/>
              <a:gd name="csY147" fmla="*/ 1738195 h 2084524"/>
              <a:gd name="csX148" fmla="*/ 90593 w 733006"/>
              <a:gd name="csY148" fmla="*/ 1779570 h 2084524"/>
              <a:gd name="csX149" fmla="*/ 55556 w 733006"/>
              <a:gd name="csY149" fmla="*/ 1835827 h 2084524"/>
              <a:gd name="csX150" fmla="*/ 378900 w 733006"/>
              <a:gd name="csY150" fmla="*/ 2007280 h 2084524"/>
              <a:gd name="csX151" fmla="*/ 378887 w 733006"/>
              <a:gd name="csY151" fmla="*/ 1995127 h 2084524"/>
              <a:gd name="csX152" fmla="*/ 359084 w 733006"/>
              <a:gd name="csY152" fmla="*/ 1975964 h 2084524"/>
              <a:gd name="csX153" fmla="*/ 247288 w 733006"/>
              <a:gd name="csY153" fmla="*/ 1973305 h 2084524"/>
              <a:gd name="csX154" fmla="*/ 201692 w 733006"/>
              <a:gd name="csY154" fmla="*/ 1970275 h 2084524"/>
              <a:gd name="csX155" fmla="*/ 57962 w 733006"/>
              <a:gd name="csY155" fmla="*/ 1952648 h 2084524"/>
              <a:gd name="csX156" fmla="*/ 39194 w 733006"/>
              <a:gd name="csY156" fmla="*/ 1963552 h 2084524"/>
              <a:gd name="csX157" fmla="*/ 30066 w 733006"/>
              <a:gd name="csY157" fmla="*/ 2006631 h 2084524"/>
              <a:gd name="csX158" fmla="*/ 40232 w 733006"/>
              <a:gd name="csY158" fmla="*/ 2019486 h 2084524"/>
              <a:gd name="csX159" fmla="*/ 238186 w 733006"/>
              <a:gd name="csY159" fmla="*/ 2046096 h 2084524"/>
              <a:gd name="csX160" fmla="*/ 342155 w 733006"/>
              <a:gd name="csY160" fmla="*/ 2046441 h 2084524"/>
              <a:gd name="csX161" fmla="*/ 378900 w 733006"/>
              <a:gd name="csY161" fmla="*/ 2007280 h 2084524"/>
              <a:gd name="csX162" fmla="*/ 310220 w 733006"/>
              <a:gd name="csY162" fmla="*/ 554288 h 2084524"/>
              <a:gd name="csX163" fmla="*/ 259136 w 733006"/>
              <a:gd name="csY163" fmla="*/ 556881 h 2084524"/>
              <a:gd name="csX164" fmla="*/ 249085 w 733006"/>
              <a:gd name="csY164" fmla="*/ 567981 h 2084524"/>
              <a:gd name="csX165" fmla="*/ 249141 w 733006"/>
              <a:gd name="csY165" fmla="*/ 605644 h 2084524"/>
              <a:gd name="csX166" fmla="*/ 262628 w 733006"/>
              <a:gd name="csY166" fmla="*/ 605627 h 2084524"/>
              <a:gd name="csX167" fmla="*/ 369608 w 733006"/>
              <a:gd name="csY167" fmla="*/ 603027 h 2084524"/>
              <a:gd name="csX168" fmla="*/ 463931 w 733006"/>
              <a:gd name="csY168" fmla="*/ 605146 h 2084524"/>
              <a:gd name="csX169" fmla="*/ 478113 w 733006"/>
              <a:gd name="csY169" fmla="*/ 595843 h 2084524"/>
              <a:gd name="csX170" fmla="*/ 478796 w 733006"/>
              <a:gd name="csY170" fmla="*/ 556832 h 2084524"/>
              <a:gd name="csX171" fmla="*/ 310220 w 733006"/>
              <a:gd name="csY171" fmla="*/ 554288 h 2084524"/>
              <a:gd name="csX172" fmla="*/ 348836 w 733006"/>
              <a:gd name="csY172" fmla="*/ 684115 h 2084524"/>
              <a:gd name="csX173" fmla="*/ 281333 w 733006"/>
              <a:gd name="csY173" fmla="*/ 683313 h 2084524"/>
              <a:gd name="csX174" fmla="*/ 212728 w 733006"/>
              <a:gd name="csY174" fmla="*/ 681931 h 2084524"/>
              <a:gd name="csX175" fmla="*/ 187283 w 733006"/>
              <a:gd name="csY175" fmla="*/ 689555 h 2084524"/>
              <a:gd name="csX176" fmla="*/ 186163 w 733006"/>
              <a:gd name="csY176" fmla="*/ 718266 h 2084524"/>
              <a:gd name="csX177" fmla="*/ 209894 w 733006"/>
              <a:gd name="csY177" fmla="*/ 726798 h 2084524"/>
              <a:gd name="csX178" fmla="*/ 334814 w 733006"/>
              <a:gd name="csY178" fmla="*/ 732494 h 2084524"/>
              <a:gd name="csX179" fmla="*/ 364856 w 733006"/>
              <a:gd name="csY179" fmla="*/ 707963 h 2084524"/>
              <a:gd name="csX180" fmla="*/ 348836 w 733006"/>
              <a:gd name="csY180" fmla="*/ 684115 h 2084524"/>
              <a:gd name="csX181" fmla="*/ 298865 w 733006"/>
              <a:gd name="csY181" fmla="*/ 621954 h 2084524"/>
              <a:gd name="csX182" fmla="*/ 251619 w 733006"/>
              <a:gd name="csY182" fmla="*/ 622133 h 2084524"/>
              <a:gd name="csX183" fmla="*/ 214459 w 733006"/>
              <a:gd name="csY183" fmla="*/ 636230 h 2084524"/>
              <a:gd name="csX184" fmla="*/ 221436 w 733006"/>
              <a:gd name="csY184" fmla="*/ 654205 h 2084524"/>
              <a:gd name="csX185" fmla="*/ 272412 w 733006"/>
              <a:gd name="csY185" fmla="*/ 657250 h 2084524"/>
              <a:gd name="csX186" fmla="*/ 349094 w 733006"/>
              <a:gd name="csY186" fmla="*/ 659282 h 2084524"/>
              <a:gd name="csX187" fmla="*/ 362996 w 733006"/>
              <a:gd name="csY187" fmla="*/ 644234 h 2084524"/>
              <a:gd name="csX188" fmla="*/ 348472 w 733006"/>
              <a:gd name="csY188" fmla="*/ 624649 h 2084524"/>
              <a:gd name="csX189" fmla="*/ 298865 w 733006"/>
              <a:gd name="csY189" fmla="*/ 621954 h 2084524"/>
              <a:gd name="csX190" fmla="*/ 227796 w 733006"/>
              <a:gd name="csY190" fmla="*/ 528000 h 2084524"/>
              <a:gd name="csX191" fmla="*/ 241009 w 733006"/>
              <a:gd name="csY191" fmla="*/ 545897 h 2084524"/>
              <a:gd name="csX192" fmla="*/ 282607 w 733006"/>
              <a:gd name="csY192" fmla="*/ 543480 h 2084524"/>
              <a:gd name="csX193" fmla="*/ 354213 w 733006"/>
              <a:gd name="csY193" fmla="*/ 543384 h 2084524"/>
              <a:gd name="csX194" fmla="*/ 365334 w 733006"/>
              <a:gd name="csY194" fmla="*/ 533397 h 2084524"/>
              <a:gd name="csX195" fmla="*/ 354531 w 733006"/>
              <a:gd name="csY195" fmla="*/ 521620 h 2084524"/>
              <a:gd name="csX196" fmla="*/ 259169 w 733006"/>
              <a:gd name="csY196" fmla="*/ 521978 h 2084524"/>
              <a:gd name="csX197" fmla="*/ 227796 w 733006"/>
              <a:gd name="csY197" fmla="*/ 528000 h 2084524"/>
              <a:gd name="csX198" fmla="*/ 508068 w 733006"/>
              <a:gd name="csY198" fmla="*/ 190710 h 2084524"/>
              <a:gd name="csX199" fmla="*/ 521293 w 733006"/>
              <a:gd name="csY199" fmla="*/ 205907 h 2084524"/>
              <a:gd name="csX200" fmla="*/ 525175 w 733006"/>
              <a:gd name="csY200" fmla="*/ 202985 h 2084524"/>
              <a:gd name="csX201" fmla="*/ 500276 w 733006"/>
              <a:gd name="csY201" fmla="*/ 160640 h 2084524"/>
              <a:gd name="csX202" fmla="*/ 497122 w 733006"/>
              <a:gd name="csY202" fmla="*/ 162007 h 2084524"/>
              <a:gd name="csX203" fmla="*/ 508068 w 733006"/>
              <a:gd name="csY203" fmla="*/ 190710 h 2084524"/>
              <a:gd name="csX204" fmla="*/ 215522 w 733006"/>
              <a:gd name="csY204" fmla="*/ 197296 h 2084524"/>
              <a:gd name="csX205" fmla="*/ 234029 w 733006"/>
              <a:gd name="csY205" fmla="*/ 162725 h 2084524"/>
              <a:gd name="csX206" fmla="*/ 229000 w 733006"/>
              <a:gd name="csY206" fmla="*/ 159902 h 2084524"/>
              <a:gd name="csX207" fmla="*/ 204824 w 733006"/>
              <a:gd name="csY207" fmla="*/ 199677 h 2084524"/>
              <a:gd name="csX208" fmla="*/ 207990 w 733006"/>
              <a:gd name="csY208" fmla="*/ 202198 h 2084524"/>
              <a:gd name="csX209" fmla="*/ 215522 w 733006"/>
              <a:gd name="csY209" fmla="*/ 197296 h 2084524"/>
              <a:gd name="csX210" fmla="*/ 484400 w 733006"/>
              <a:gd name="csY210" fmla="*/ 896678 h 2084524"/>
              <a:gd name="csX211" fmla="*/ 486181 w 733006"/>
              <a:gd name="csY211" fmla="*/ 896585 h 2084524"/>
              <a:gd name="csX212" fmla="*/ 486181 w 733006"/>
              <a:gd name="csY212" fmla="*/ 795289 h 2084524"/>
              <a:gd name="csX213" fmla="*/ 720241 w 733006"/>
              <a:gd name="csY213" fmla="*/ 2030666 h 2084524"/>
              <a:gd name="csX214" fmla="*/ 721175 w 733006"/>
              <a:gd name="csY214" fmla="*/ 2029733 h 2084524"/>
              <a:gd name="csX215" fmla="*/ 720241 w 733006"/>
              <a:gd name="csY215" fmla="*/ 2030666 h 2084524"/>
              <a:gd name="csX216" fmla="*/ 715702 w 733006"/>
              <a:gd name="csY216" fmla="*/ 2037051 h 2084524"/>
              <a:gd name="csX217" fmla="*/ 715702 w 733006"/>
              <a:gd name="csY217" fmla="*/ 2037051 h 2084524"/>
              <a:gd name="csX0" fmla="*/ 96263 w 733006"/>
              <a:gd name="csY0" fmla="*/ 2076207 h 2095135"/>
              <a:gd name="csX1" fmla="*/ 63862 w 733006"/>
              <a:gd name="csY1" fmla="*/ 2065388 h 2095135"/>
              <a:gd name="csX2" fmla="*/ 16555 w 733006"/>
              <a:gd name="csY2" fmla="*/ 2050152 h 2095135"/>
              <a:gd name="csX3" fmla="*/ 15 w 733006"/>
              <a:gd name="csY3" fmla="*/ 2023802 h 2095135"/>
              <a:gd name="csX4" fmla="*/ 18368 w 733006"/>
              <a:gd name="csY4" fmla="*/ 1940709 h 2095135"/>
              <a:gd name="csX5" fmla="*/ 22139 w 733006"/>
              <a:gd name="csY5" fmla="*/ 1907268 h 2095135"/>
              <a:gd name="csX6" fmla="*/ 57941 w 733006"/>
              <a:gd name="csY6" fmla="*/ 1774163 h 2095135"/>
              <a:gd name="csX7" fmla="*/ 102478 w 733006"/>
              <a:gd name="csY7" fmla="*/ 1720275 h 2095135"/>
              <a:gd name="csX8" fmla="*/ 108579 w 733006"/>
              <a:gd name="csY8" fmla="*/ 1650967 h 2095135"/>
              <a:gd name="csX9" fmla="*/ 115628 w 733006"/>
              <a:gd name="csY9" fmla="*/ 1625405 h 2095135"/>
              <a:gd name="csX10" fmla="*/ 156323 w 733006"/>
              <a:gd name="csY10" fmla="*/ 1560181 h 2095135"/>
              <a:gd name="csX11" fmla="*/ 199424 w 733006"/>
              <a:gd name="csY11" fmla="*/ 1364729 h 2095135"/>
              <a:gd name="csX12" fmla="*/ 216779 w 733006"/>
              <a:gd name="csY12" fmla="*/ 1219490 h 2095135"/>
              <a:gd name="csX13" fmla="*/ 229755 w 733006"/>
              <a:gd name="csY13" fmla="*/ 1099357 h 2095135"/>
              <a:gd name="csX14" fmla="*/ 232707 w 733006"/>
              <a:gd name="csY14" fmla="*/ 1056423 h 2095135"/>
              <a:gd name="csX15" fmla="*/ 235622 w 733006"/>
              <a:gd name="csY15" fmla="*/ 952675 h 2095135"/>
              <a:gd name="csX16" fmla="*/ 235445 w 733006"/>
              <a:gd name="csY16" fmla="*/ 780278 h 2095135"/>
              <a:gd name="csX17" fmla="*/ 214544 w 733006"/>
              <a:gd name="csY17" fmla="*/ 756435 h 2095135"/>
              <a:gd name="csX18" fmla="*/ 172569 w 733006"/>
              <a:gd name="csY18" fmla="*/ 742582 h 2095135"/>
              <a:gd name="csX19" fmla="*/ 168784 w 733006"/>
              <a:gd name="csY19" fmla="*/ 669116 h 2095135"/>
              <a:gd name="csX20" fmla="*/ 191657 w 733006"/>
              <a:gd name="csY20" fmla="*/ 630765 h 2095135"/>
              <a:gd name="csX21" fmla="*/ 208150 w 733006"/>
              <a:gd name="csY21" fmla="*/ 609084 h 2095135"/>
              <a:gd name="csX22" fmla="*/ 216756 w 733006"/>
              <a:gd name="csY22" fmla="*/ 558673 h 2095135"/>
              <a:gd name="csX23" fmla="*/ 209092 w 733006"/>
              <a:gd name="csY23" fmla="*/ 521540 h 2095135"/>
              <a:gd name="csX24" fmla="*/ 204683 w 733006"/>
              <a:gd name="csY24" fmla="*/ 474024 h 2095135"/>
              <a:gd name="csX25" fmla="*/ 115483 w 733006"/>
              <a:gd name="csY25" fmla="*/ 213499 h 2095135"/>
              <a:gd name="csX26" fmla="*/ 102909 w 733006"/>
              <a:gd name="csY26" fmla="*/ 182297 h 2095135"/>
              <a:gd name="csX27" fmla="*/ 104315 w 733006"/>
              <a:gd name="csY27" fmla="*/ 163968 h 2095135"/>
              <a:gd name="csX28" fmla="*/ 122444 w 733006"/>
              <a:gd name="csY28" fmla="*/ 160805 h 2095135"/>
              <a:gd name="csX29" fmla="*/ 170283 w 733006"/>
              <a:gd name="csY29" fmla="*/ 187783 h 2095135"/>
              <a:gd name="csX30" fmla="*/ 180938 w 733006"/>
              <a:gd name="csY30" fmla="*/ 195322 h 2095135"/>
              <a:gd name="csX31" fmla="*/ 221419 w 733006"/>
              <a:gd name="csY31" fmla="*/ 138058 h 2095135"/>
              <a:gd name="csX32" fmla="*/ 294099 w 733006"/>
              <a:gd name="csY32" fmla="*/ 91372 h 2095135"/>
              <a:gd name="csX33" fmla="*/ 302307 w 733006"/>
              <a:gd name="csY33" fmla="*/ 76560 h 2095135"/>
              <a:gd name="csX34" fmla="*/ 320284 w 733006"/>
              <a:gd name="csY34" fmla="*/ 8414 h 2095135"/>
              <a:gd name="csX35" fmla="*/ 324784 w 733006"/>
              <a:gd name="csY35" fmla="*/ 946 h 2095135"/>
              <a:gd name="csX36" fmla="*/ 399212 w 733006"/>
              <a:gd name="csY36" fmla="*/ 0 h 2095135"/>
              <a:gd name="csX37" fmla="*/ 425980 w 733006"/>
              <a:gd name="csY37" fmla="*/ 78301 h 2095135"/>
              <a:gd name="csX38" fmla="*/ 431861 w 733006"/>
              <a:gd name="csY38" fmla="*/ 90312 h 2095135"/>
              <a:gd name="csX39" fmla="*/ 540349 w 733006"/>
              <a:gd name="csY39" fmla="*/ 187946 h 2095135"/>
              <a:gd name="csX40" fmla="*/ 545555 w 733006"/>
              <a:gd name="csY40" fmla="*/ 197828 h 2095135"/>
              <a:gd name="csX41" fmla="*/ 587318 w 733006"/>
              <a:gd name="csY41" fmla="*/ 171260 h 2095135"/>
              <a:gd name="csX42" fmla="*/ 601503 w 733006"/>
              <a:gd name="csY42" fmla="*/ 163707 h 2095135"/>
              <a:gd name="csX43" fmla="*/ 625254 w 733006"/>
              <a:gd name="csY43" fmla="*/ 163123 h 2095135"/>
              <a:gd name="csX44" fmla="*/ 625468 w 733006"/>
              <a:gd name="csY44" fmla="*/ 187579 h 2095135"/>
              <a:gd name="csX45" fmla="*/ 597543 w 733006"/>
              <a:gd name="csY45" fmla="*/ 251872 h 2095135"/>
              <a:gd name="csX46" fmla="*/ 531831 w 733006"/>
              <a:gd name="csY46" fmla="*/ 442689 h 2095135"/>
              <a:gd name="csX47" fmla="*/ 519888 w 733006"/>
              <a:gd name="csY47" fmla="*/ 501474 h 2095135"/>
              <a:gd name="csX48" fmla="*/ 522506 w 733006"/>
              <a:gd name="csY48" fmla="*/ 525086 h 2095135"/>
              <a:gd name="csX49" fmla="*/ 516235 w 733006"/>
              <a:gd name="csY49" fmla="*/ 555946 h 2095135"/>
              <a:gd name="csX50" fmla="*/ 521332 w 733006"/>
              <a:gd name="csY50" fmla="*/ 610676 h 2095135"/>
              <a:gd name="csX51" fmla="*/ 541382 w 733006"/>
              <a:gd name="csY51" fmla="*/ 642597 h 2095135"/>
              <a:gd name="csX52" fmla="*/ 557031 w 733006"/>
              <a:gd name="csY52" fmla="*/ 667949 h 2095135"/>
              <a:gd name="csX53" fmla="*/ 553994 w 733006"/>
              <a:gd name="csY53" fmla="*/ 744146 h 2095135"/>
              <a:gd name="csX54" fmla="*/ 508215 w 733006"/>
              <a:gd name="csY54" fmla="*/ 758841 h 2095135"/>
              <a:gd name="csX55" fmla="*/ 497442 w 733006"/>
              <a:gd name="csY55" fmla="*/ 771256 h 2095135"/>
              <a:gd name="csX56" fmla="*/ 493005 w 733006"/>
              <a:gd name="csY56" fmla="*/ 922055 h 2095135"/>
              <a:gd name="csX57" fmla="*/ 502900 w 733006"/>
              <a:gd name="csY57" fmla="*/ 1114191 h 2095135"/>
              <a:gd name="csX58" fmla="*/ 508800 w 733006"/>
              <a:gd name="csY58" fmla="*/ 1205474 h 2095135"/>
              <a:gd name="csX59" fmla="*/ 522952 w 733006"/>
              <a:gd name="csY59" fmla="*/ 1320065 h 2095135"/>
              <a:gd name="csX60" fmla="*/ 554682 w 733006"/>
              <a:gd name="csY60" fmla="*/ 1501203 h 2095135"/>
              <a:gd name="csX61" fmla="*/ 576958 w 733006"/>
              <a:gd name="csY61" fmla="*/ 1593963 h 2095135"/>
              <a:gd name="csX62" fmla="*/ 595349 w 733006"/>
              <a:gd name="csY62" fmla="*/ 1613498 h 2095135"/>
              <a:gd name="csX63" fmla="*/ 613936 w 733006"/>
              <a:gd name="csY63" fmla="*/ 1624058 h 2095135"/>
              <a:gd name="csX64" fmla="*/ 620938 w 733006"/>
              <a:gd name="csY64" fmla="*/ 1652071 h 2095135"/>
              <a:gd name="csX65" fmla="*/ 630805 w 733006"/>
              <a:gd name="csY65" fmla="*/ 1721702 h 2095135"/>
              <a:gd name="csX66" fmla="*/ 685830 w 733006"/>
              <a:gd name="csY66" fmla="*/ 1792915 h 2095135"/>
              <a:gd name="csX67" fmla="*/ 708904 w 733006"/>
              <a:gd name="csY67" fmla="*/ 1890290 h 2095135"/>
              <a:gd name="csX68" fmla="*/ 716580 w 733006"/>
              <a:gd name="csY68" fmla="*/ 1951136 h 2095135"/>
              <a:gd name="csX69" fmla="*/ 729397 w 733006"/>
              <a:gd name="csY69" fmla="*/ 2030261 h 2095135"/>
              <a:gd name="csX70" fmla="*/ 714212 w 733006"/>
              <a:gd name="csY70" fmla="*/ 2049544 h 2095135"/>
              <a:gd name="csX71" fmla="*/ 96263 w 733006"/>
              <a:gd name="csY71" fmla="*/ 2076207 h 2095135"/>
              <a:gd name="csX72" fmla="*/ 489970 w 733006"/>
              <a:gd name="csY72" fmla="*/ 152208 h 2095135"/>
              <a:gd name="csX73" fmla="*/ 490754 w 733006"/>
              <a:gd name="csY73" fmla="*/ 152592 h 2095135"/>
              <a:gd name="csX74" fmla="*/ 489489 w 733006"/>
              <a:gd name="csY74" fmla="*/ 149547 h 2095135"/>
              <a:gd name="csX75" fmla="*/ 393621 w 733006"/>
              <a:gd name="csY75" fmla="*/ 99259 h 2095135"/>
              <a:gd name="csX76" fmla="*/ 390419 w 733006"/>
              <a:gd name="csY76" fmla="*/ 18568 h 2095135"/>
              <a:gd name="csX77" fmla="*/ 334131 w 733006"/>
              <a:gd name="csY77" fmla="*/ 24327 h 2095135"/>
              <a:gd name="csX78" fmla="*/ 344678 w 733006"/>
              <a:gd name="csY78" fmla="*/ 101259 h 2095135"/>
              <a:gd name="csX79" fmla="*/ 298854 w 733006"/>
              <a:gd name="csY79" fmla="*/ 114003 h 2095135"/>
              <a:gd name="csX80" fmla="*/ 237456 w 733006"/>
              <a:gd name="csY80" fmla="*/ 154340 h 2095135"/>
              <a:gd name="csX81" fmla="*/ 240382 w 733006"/>
              <a:gd name="csY81" fmla="*/ 154035 h 2095135"/>
              <a:gd name="csX82" fmla="*/ 262731 w 733006"/>
              <a:gd name="csY82" fmla="*/ 170426 h 2095135"/>
              <a:gd name="csX83" fmla="*/ 279169 w 733006"/>
              <a:gd name="csY83" fmla="*/ 193173 h 2095135"/>
              <a:gd name="csX84" fmla="*/ 327717 w 733006"/>
              <a:gd name="csY84" fmla="*/ 188556 h 2095135"/>
              <a:gd name="csX85" fmla="*/ 348052 w 733006"/>
              <a:gd name="csY85" fmla="*/ 156919 h 2095135"/>
              <a:gd name="csX86" fmla="*/ 380330 w 733006"/>
              <a:gd name="csY86" fmla="*/ 156483 h 2095135"/>
              <a:gd name="csX87" fmla="*/ 408490 w 733006"/>
              <a:gd name="csY87" fmla="*/ 195400 h 2095135"/>
              <a:gd name="csX88" fmla="*/ 445346 w 733006"/>
              <a:gd name="csY88" fmla="*/ 197582 h 2095135"/>
              <a:gd name="csX89" fmla="*/ 464798 w 733006"/>
              <a:gd name="csY89" fmla="*/ 174107 h 2095135"/>
              <a:gd name="csX90" fmla="*/ 489970 w 733006"/>
              <a:gd name="csY90" fmla="*/ 152208 h 2095135"/>
              <a:gd name="csX91" fmla="*/ 140694 w 733006"/>
              <a:gd name="csY91" fmla="*/ 201837 h 2095135"/>
              <a:gd name="csX92" fmla="*/ 139834 w 733006"/>
              <a:gd name="csY92" fmla="*/ 201482 h 2095135"/>
              <a:gd name="csX93" fmla="*/ 140812 w 733006"/>
              <a:gd name="csY93" fmla="*/ 204941 h 2095135"/>
              <a:gd name="csX94" fmla="*/ 144631 w 733006"/>
              <a:gd name="csY94" fmla="*/ 217811 h 2095135"/>
              <a:gd name="csX95" fmla="*/ 201241 w 733006"/>
              <a:gd name="csY95" fmla="*/ 373387 h 2095135"/>
              <a:gd name="csX96" fmla="*/ 235971 w 733006"/>
              <a:gd name="csY96" fmla="*/ 504451 h 2095135"/>
              <a:gd name="csX97" fmla="*/ 247475 w 733006"/>
              <a:gd name="csY97" fmla="*/ 513241 h 2095135"/>
              <a:gd name="csX98" fmla="*/ 289066 w 733006"/>
              <a:gd name="csY98" fmla="*/ 511170 h 2095135"/>
              <a:gd name="csX99" fmla="*/ 378229 w 733006"/>
              <a:gd name="csY99" fmla="*/ 511084 h 2095135"/>
              <a:gd name="csX100" fmla="*/ 470850 w 733006"/>
              <a:gd name="csY100" fmla="*/ 516341 h 2095135"/>
              <a:gd name="csX101" fmla="*/ 492933 w 733006"/>
              <a:gd name="csY101" fmla="*/ 497969 h 2095135"/>
              <a:gd name="csX102" fmla="*/ 557617 w 733006"/>
              <a:gd name="csY102" fmla="*/ 280398 h 2095135"/>
              <a:gd name="csX103" fmla="*/ 588788 w 733006"/>
              <a:gd name="csY103" fmla="*/ 200385 h 2095135"/>
              <a:gd name="csX104" fmla="*/ 530958 w 733006"/>
              <a:gd name="csY104" fmla="*/ 232968 h 2095135"/>
              <a:gd name="csX105" fmla="*/ 483823 w 733006"/>
              <a:gd name="csY105" fmla="*/ 190364 h 2095135"/>
              <a:gd name="csX106" fmla="*/ 466649 w 733006"/>
              <a:gd name="csY106" fmla="*/ 209061 h 2095135"/>
              <a:gd name="csX107" fmla="*/ 399941 w 733006"/>
              <a:gd name="csY107" fmla="*/ 216988 h 2095135"/>
              <a:gd name="csX108" fmla="*/ 363018 w 733006"/>
              <a:gd name="csY108" fmla="*/ 179615 h 2095135"/>
              <a:gd name="csX109" fmla="*/ 308839 w 733006"/>
              <a:gd name="csY109" fmla="*/ 227846 h 2095135"/>
              <a:gd name="csX110" fmla="*/ 245077 w 733006"/>
              <a:gd name="csY110" fmla="*/ 192402 h 2095135"/>
              <a:gd name="csX111" fmla="*/ 242829 w 733006"/>
              <a:gd name="csY111" fmla="*/ 198815 h 2095135"/>
              <a:gd name="csX112" fmla="*/ 168452 w 733006"/>
              <a:gd name="csY112" fmla="*/ 219348 h 2095135"/>
              <a:gd name="csX113" fmla="*/ 140694 w 733006"/>
              <a:gd name="csY113" fmla="*/ 201837 h 2095135"/>
              <a:gd name="csX114" fmla="*/ 259999 w 733006"/>
              <a:gd name="csY114" fmla="*/ 966699 h 2095135"/>
              <a:gd name="csX115" fmla="*/ 257072 w 733006"/>
              <a:gd name="csY115" fmla="*/ 1070424 h 2095135"/>
              <a:gd name="csX116" fmla="*/ 251372 w 733006"/>
              <a:gd name="csY116" fmla="*/ 1157618 h 2095135"/>
              <a:gd name="csX117" fmla="*/ 232677 w 733006"/>
              <a:gd name="csY117" fmla="*/ 1320279 h 2095135"/>
              <a:gd name="csX118" fmla="*/ 209182 w 733006"/>
              <a:gd name="csY118" fmla="*/ 1468667 h 2095135"/>
              <a:gd name="csX119" fmla="*/ 175302 w 733006"/>
              <a:gd name="csY119" fmla="*/ 1616623 h 2095135"/>
              <a:gd name="csX120" fmla="*/ 182769 w 733006"/>
              <a:gd name="csY120" fmla="*/ 1629786 h 2095135"/>
              <a:gd name="csX121" fmla="*/ 212156 w 733006"/>
              <a:gd name="csY121" fmla="*/ 1632656 h 2095135"/>
              <a:gd name="csX122" fmla="*/ 351295 w 733006"/>
              <a:gd name="csY122" fmla="*/ 1632801 h 2095135"/>
              <a:gd name="csX123" fmla="*/ 376150 w 733006"/>
              <a:gd name="csY123" fmla="*/ 1608307 h 2095135"/>
              <a:gd name="csX124" fmla="*/ 373450 w 733006"/>
              <a:gd name="csY124" fmla="*/ 1457291 h 2095135"/>
              <a:gd name="csX125" fmla="*/ 370936 w 733006"/>
              <a:gd name="csY125" fmla="*/ 1342736 h 2095135"/>
              <a:gd name="csX126" fmla="*/ 368328 w 733006"/>
              <a:gd name="csY126" fmla="*/ 1203878 h 2095135"/>
              <a:gd name="csX127" fmla="*/ 367836 w 733006"/>
              <a:gd name="csY127" fmla="*/ 813478 h 2095135"/>
              <a:gd name="csX128" fmla="*/ 365240 w 733006"/>
              <a:gd name="csY128" fmla="*/ 773243 h 2095135"/>
              <a:gd name="csX129" fmla="*/ 353084 w 733006"/>
              <a:gd name="csY129" fmla="*/ 762083 h 2095135"/>
              <a:gd name="csX130" fmla="*/ 280966 w 733006"/>
              <a:gd name="csY130" fmla="*/ 759855 h 2095135"/>
              <a:gd name="csX131" fmla="*/ 259965 w 733006"/>
              <a:gd name="csY131" fmla="*/ 779553 h 2095135"/>
              <a:gd name="csX132" fmla="*/ 262341 w 733006"/>
              <a:gd name="csY132" fmla="*/ 856275 h 2095135"/>
              <a:gd name="csX133" fmla="*/ 259999 w 733006"/>
              <a:gd name="csY133" fmla="*/ 966699 h 2095135"/>
              <a:gd name="csX134" fmla="*/ 55556 w 733006"/>
              <a:gd name="csY134" fmla="*/ 1835827 h 2095135"/>
              <a:gd name="csX135" fmla="*/ 49393 w 733006"/>
              <a:gd name="csY135" fmla="*/ 1878155 h 2095135"/>
              <a:gd name="csX136" fmla="*/ 73949 w 733006"/>
              <a:gd name="csY136" fmla="*/ 1905781 h 2095135"/>
              <a:gd name="csX137" fmla="*/ 110073 w 733006"/>
              <a:gd name="csY137" fmla="*/ 1909068 h 2095135"/>
              <a:gd name="csX138" fmla="*/ 224745 w 733006"/>
              <a:gd name="csY138" fmla="*/ 1921652 h 2095135"/>
              <a:gd name="csX139" fmla="*/ 347327 w 733006"/>
              <a:gd name="csY139" fmla="*/ 1924778 h 2095135"/>
              <a:gd name="csX140" fmla="*/ 363345 w 733006"/>
              <a:gd name="csY140" fmla="*/ 1923293 h 2095135"/>
              <a:gd name="csX141" fmla="*/ 373787 w 733006"/>
              <a:gd name="csY141" fmla="*/ 1911200 h 2095135"/>
              <a:gd name="csX142" fmla="*/ 376623 w 733006"/>
              <a:gd name="csY142" fmla="*/ 1696741 h 2095135"/>
              <a:gd name="csX143" fmla="*/ 360437 w 733006"/>
              <a:gd name="csY143" fmla="*/ 1681289 h 2095135"/>
              <a:gd name="csX144" fmla="*/ 263503 w 733006"/>
              <a:gd name="csY144" fmla="*/ 1678179 h 2095135"/>
              <a:gd name="csX145" fmla="*/ 160381 w 733006"/>
              <a:gd name="csY145" fmla="*/ 1670405 h 2095135"/>
              <a:gd name="csX146" fmla="*/ 143321 w 733006"/>
              <a:gd name="csY146" fmla="*/ 1685538 h 2095135"/>
              <a:gd name="csX147" fmla="*/ 124769 w 733006"/>
              <a:gd name="csY147" fmla="*/ 1738195 h 2095135"/>
              <a:gd name="csX148" fmla="*/ 90593 w 733006"/>
              <a:gd name="csY148" fmla="*/ 1779570 h 2095135"/>
              <a:gd name="csX149" fmla="*/ 55556 w 733006"/>
              <a:gd name="csY149" fmla="*/ 1835827 h 2095135"/>
              <a:gd name="csX150" fmla="*/ 378900 w 733006"/>
              <a:gd name="csY150" fmla="*/ 2007280 h 2095135"/>
              <a:gd name="csX151" fmla="*/ 378887 w 733006"/>
              <a:gd name="csY151" fmla="*/ 1995127 h 2095135"/>
              <a:gd name="csX152" fmla="*/ 359084 w 733006"/>
              <a:gd name="csY152" fmla="*/ 1975964 h 2095135"/>
              <a:gd name="csX153" fmla="*/ 247288 w 733006"/>
              <a:gd name="csY153" fmla="*/ 1973305 h 2095135"/>
              <a:gd name="csX154" fmla="*/ 201692 w 733006"/>
              <a:gd name="csY154" fmla="*/ 1970275 h 2095135"/>
              <a:gd name="csX155" fmla="*/ 57962 w 733006"/>
              <a:gd name="csY155" fmla="*/ 1952648 h 2095135"/>
              <a:gd name="csX156" fmla="*/ 39194 w 733006"/>
              <a:gd name="csY156" fmla="*/ 1963552 h 2095135"/>
              <a:gd name="csX157" fmla="*/ 30066 w 733006"/>
              <a:gd name="csY157" fmla="*/ 2006631 h 2095135"/>
              <a:gd name="csX158" fmla="*/ 40232 w 733006"/>
              <a:gd name="csY158" fmla="*/ 2019486 h 2095135"/>
              <a:gd name="csX159" fmla="*/ 238186 w 733006"/>
              <a:gd name="csY159" fmla="*/ 2046096 h 2095135"/>
              <a:gd name="csX160" fmla="*/ 342155 w 733006"/>
              <a:gd name="csY160" fmla="*/ 2046441 h 2095135"/>
              <a:gd name="csX161" fmla="*/ 378900 w 733006"/>
              <a:gd name="csY161" fmla="*/ 2007280 h 2095135"/>
              <a:gd name="csX162" fmla="*/ 310220 w 733006"/>
              <a:gd name="csY162" fmla="*/ 554288 h 2095135"/>
              <a:gd name="csX163" fmla="*/ 259136 w 733006"/>
              <a:gd name="csY163" fmla="*/ 556881 h 2095135"/>
              <a:gd name="csX164" fmla="*/ 249085 w 733006"/>
              <a:gd name="csY164" fmla="*/ 567981 h 2095135"/>
              <a:gd name="csX165" fmla="*/ 249141 w 733006"/>
              <a:gd name="csY165" fmla="*/ 605644 h 2095135"/>
              <a:gd name="csX166" fmla="*/ 262628 w 733006"/>
              <a:gd name="csY166" fmla="*/ 605627 h 2095135"/>
              <a:gd name="csX167" fmla="*/ 369608 w 733006"/>
              <a:gd name="csY167" fmla="*/ 603027 h 2095135"/>
              <a:gd name="csX168" fmla="*/ 463931 w 733006"/>
              <a:gd name="csY168" fmla="*/ 605146 h 2095135"/>
              <a:gd name="csX169" fmla="*/ 478113 w 733006"/>
              <a:gd name="csY169" fmla="*/ 595843 h 2095135"/>
              <a:gd name="csX170" fmla="*/ 478796 w 733006"/>
              <a:gd name="csY170" fmla="*/ 556832 h 2095135"/>
              <a:gd name="csX171" fmla="*/ 310220 w 733006"/>
              <a:gd name="csY171" fmla="*/ 554288 h 2095135"/>
              <a:gd name="csX172" fmla="*/ 348836 w 733006"/>
              <a:gd name="csY172" fmla="*/ 684115 h 2095135"/>
              <a:gd name="csX173" fmla="*/ 281333 w 733006"/>
              <a:gd name="csY173" fmla="*/ 683313 h 2095135"/>
              <a:gd name="csX174" fmla="*/ 212728 w 733006"/>
              <a:gd name="csY174" fmla="*/ 681931 h 2095135"/>
              <a:gd name="csX175" fmla="*/ 187283 w 733006"/>
              <a:gd name="csY175" fmla="*/ 689555 h 2095135"/>
              <a:gd name="csX176" fmla="*/ 186163 w 733006"/>
              <a:gd name="csY176" fmla="*/ 718266 h 2095135"/>
              <a:gd name="csX177" fmla="*/ 209894 w 733006"/>
              <a:gd name="csY177" fmla="*/ 726798 h 2095135"/>
              <a:gd name="csX178" fmla="*/ 334814 w 733006"/>
              <a:gd name="csY178" fmla="*/ 732494 h 2095135"/>
              <a:gd name="csX179" fmla="*/ 364856 w 733006"/>
              <a:gd name="csY179" fmla="*/ 707963 h 2095135"/>
              <a:gd name="csX180" fmla="*/ 348836 w 733006"/>
              <a:gd name="csY180" fmla="*/ 684115 h 2095135"/>
              <a:gd name="csX181" fmla="*/ 298865 w 733006"/>
              <a:gd name="csY181" fmla="*/ 621954 h 2095135"/>
              <a:gd name="csX182" fmla="*/ 251619 w 733006"/>
              <a:gd name="csY182" fmla="*/ 622133 h 2095135"/>
              <a:gd name="csX183" fmla="*/ 214459 w 733006"/>
              <a:gd name="csY183" fmla="*/ 636230 h 2095135"/>
              <a:gd name="csX184" fmla="*/ 221436 w 733006"/>
              <a:gd name="csY184" fmla="*/ 654205 h 2095135"/>
              <a:gd name="csX185" fmla="*/ 272412 w 733006"/>
              <a:gd name="csY185" fmla="*/ 657250 h 2095135"/>
              <a:gd name="csX186" fmla="*/ 349094 w 733006"/>
              <a:gd name="csY186" fmla="*/ 659282 h 2095135"/>
              <a:gd name="csX187" fmla="*/ 362996 w 733006"/>
              <a:gd name="csY187" fmla="*/ 644234 h 2095135"/>
              <a:gd name="csX188" fmla="*/ 348472 w 733006"/>
              <a:gd name="csY188" fmla="*/ 624649 h 2095135"/>
              <a:gd name="csX189" fmla="*/ 298865 w 733006"/>
              <a:gd name="csY189" fmla="*/ 621954 h 2095135"/>
              <a:gd name="csX190" fmla="*/ 227796 w 733006"/>
              <a:gd name="csY190" fmla="*/ 528000 h 2095135"/>
              <a:gd name="csX191" fmla="*/ 241009 w 733006"/>
              <a:gd name="csY191" fmla="*/ 545897 h 2095135"/>
              <a:gd name="csX192" fmla="*/ 282607 w 733006"/>
              <a:gd name="csY192" fmla="*/ 543480 h 2095135"/>
              <a:gd name="csX193" fmla="*/ 354213 w 733006"/>
              <a:gd name="csY193" fmla="*/ 543384 h 2095135"/>
              <a:gd name="csX194" fmla="*/ 365334 w 733006"/>
              <a:gd name="csY194" fmla="*/ 533397 h 2095135"/>
              <a:gd name="csX195" fmla="*/ 354531 w 733006"/>
              <a:gd name="csY195" fmla="*/ 521620 h 2095135"/>
              <a:gd name="csX196" fmla="*/ 259169 w 733006"/>
              <a:gd name="csY196" fmla="*/ 521978 h 2095135"/>
              <a:gd name="csX197" fmla="*/ 227796 w 733006"/>
              <a:gd name="csY197" fmla="*/ 528000 h 2095135"/>
              <a:gd name="csX198" fmla="*/ 508068 w 733006"/>
              <a:gd name="csY198" fmla="*/ 190710 h 2095135"/>
              <a:gd name="csX199" fmla="*/ 521293 w 733006"/>
              <a:gd name="csY199" fmla="*/ 205907 h 2095135"/>
              <a:gd name="csX200" fmla="*/ 525175 w 733006"/>
              <a:gd name="csY200" fmla="*/ 202985 h 2095135"/>
              <a:gd name="csX201" fmla="*/ 500276 w 733006"/>
              <a:gd name="csY201" fmla="*/ 160640 h 2095135"/>
              <a:gd name="csX202" fmla="*/ 497122 w 733006"/>
              <a:gd name="csY202" fmla="*/ 162007 h 2095135"/>
              <a:gd name="csX203" fmla="*/ 508068 w 733006"/>
              <a:gd name="csY203" fmla="*/ 190710 h 2095135"/>
              <a:gd name="csX204" fmla="*/ 215522 w 733006"/>
              <a:gd name="csY204" fmla="*/ 197296 h 2095135"/>
              <a:gd name="csX205" fmla="*/ 234029 w 733006"/>
              <a:gd name="csY205" fmla="*/ 162725 h 2095135"/>
              <a:gd name="csX206" fmla="*/ 229000 w 733006"/>
              <a:gd name="csY206" fmla="*/ 159902 h 2095135"/>
              <a:gd name="csX207" fmla="*/ 204824 w 733006"/>
              <a:gd name="csY207" fmla="*/ 199677 h 2095135"/>
              <a:gd name="csX208" fmla="*/ 207990 w 733006"/>
              <a:gd name="csY208" fmla="*/ 202198 h 2095135"/>
              <a:gd name="csX209" fmla="*/ 215522 w 733006"/>
              <a:gd name="csY209" fmla="*/ 197296 h 2095135"/>
              <a:gd name="csX210" fmla="*/ 484400 w 733006"/>
              <a:gd name="csY210" fmla="*/ 896678 h 2095135"/>
              <a:gd name="csX211" fmla="*/ 486181 w 733006"/>
              <a:gd name="csY211" fmla="*/ 896585 h 2095135"/>
              <a:gd name="csX212" fmla="*/ 486181 w 733006"/>
              <a:gd name="csY212" fmla="*/ 795289 h 2095135"/>
              <a:gd name="csX213" fmla="*/ 720241 w 733006"/>
              <a:gd name="csY213" fmla="*/ 2030666 h 2095135"/>
              <a:gd name="csX214" fmla="*/ 721175 w 733006"/>
              <a:gd name="csY214" fmla="*/ 2029733 h 2095135"/>
              <a:gd name="csX215" fmla="*/ 720241 w 733006"/>
              <a:gd name="csY215" fmla="*/ 2030666 h 2095135"/>
              <a:gd name="csX216" fmla="*/ 715702 w 733006"/>
              <a:gd name="csY216" fmla="*/ 2037051 h 2095135"/>
              <a:gd name="csX217" fmla="*/ 715702 w 733006"/>
              <a:gd name="csY217" fmla="*/ 2037051 h 2095135"/>
              <a:gd name="csX0" fmla="*/ 96263 w 733006"/>
              <a:gd name="csY0" fmla="*/ 2076207 h 2095135"/>
              <a:gd name="csX1" fmla="*/ 63862 w 733006"/>
              <a:gd name="csY1" fmla="*/ 2065388 h 2095135"/>
              <a:gd name="csX2" fmla="*/ 16555 w 733006"/>
              <a:gd name="csY2" fmla="*/ 2050152 h 2095135"/>
              <a:gd name="csX3" fmla="*/ 15 w 733006"/>
              <a:gd name="csY3" fmla="*/ 2023802 h 2095135"/>
              <a:gd name="csX4" fmla="*/ 18368 w 733006"/>
              <a:gd name="csY4" fmla="*/ 1940709 h 2095135"/>
              <a:gd name="csX5" fmla="*/ 22139 w 733006"/>
              <a:gd name="csY5" fmla="*/ 1907268 h 2095135"/>
              <a:gd name="csX6" fmla="*/ 57941 w 733006"/>
              <a:gd name="csY6" fmla="*/ 1774163 h 2095135"/>
              <a:gd name="csX7" fmla="*/ 102478 w 733006"/>
              <a:gd name="csY7" fmla="*/ 1720275 h 2095135"/>
              <a:gd name="csX8" fmla="*/ 108579 w 733006"/>
              <a:gd name="csY8" fmla="*/ 1650967 h 2095135"/>
              <a:gd name="csX9" fmla="*/ 115628 w 733006"/>
              <a:gd name="csY9" fmla="*/ 1625405 h 2095135"/>
              <a:gd name="csX10" fmla="*/ 156323 w 733006"/>
              <a:gd name="csY10" fmla="*/ 1560181 h 2095135"/>
              <a:gd name="csX11" fmla="*/ 199424 w 733006"/>
              <a:gd name="csY11" fmla="*/ 1364729 h 2095135"/>
              <a:gd name="csX12" fmla="*/ 216779 w 733006"/>
              <a:gd name="csY12" fmla="*/ 1219490 h 2095135"/>
              <a:gd name="csX13" fmla="*/ 229755 w 733006"/>
              <a:gd name="csY13" fmla="*/ 1099357 h 2095135"/>
              <a:gd name="csX14" fmla="*/ 232707 w 733006"/>
              <a:gd name="csY14" fmla="*/ 1056423 h 2095135"/>
              <a:gd name="csX15" fmla="*/ 235622 w 733006"/>
              <a:gd name="csY15" fmla="*/ 952675 h 2095135"/>
              <a:gd name="csX16" fmla="*/ 235445 w 733006"/>
              <a:gd name="csY16" fmla="*/ 780278 h 2095135"/>
              <a:gd name="csX17" fmla="*/ 214544 w 733006"/>
              <a:gd name="csY17" fmla="*/ 756435 h 2095135"/>
              <a:gd name="csX18" fmla="*/ 172569 w 733006"/>
              <a:gd name="csY18" fmla="*/ 742582 h 2095135"/>
              <a:gd name="csX19" fmla="*/ 168784 w 733006"/>
              <a:gd name="csY19" fmla="*/ 669116 h 2095135"/>
              <a:gd name="csX20" fmla="*/ 191657 w 733006"/>
              <a:gd name="csY20" fmla="*/ 630765 h 2095135"/>
              <a:gd name="csX21" fmla="*/ 208150 w 733006"/>
              <a:gd name="csY21" fmla="*/ 609084 h 2095135"/>
              <a:gd name="csX22" fmla="*/ 216756 w 733006"/>
              <a:gd name="csY22" fmla="*/ 558673 h 2095135"/>
              <a:gd name="csX23" fmla="*/ 209092 w 733006"/>
              <a:gd name="csY23" fmla="*/ 521540 h 2095135"/>
              <a:gd name="csX24" fmla="*/ 204683 w 733006"/>
              <a:gd name="csY24" fmla="*/ 474024 h 2095135"/>
              <a:gd name="csX25" fmla="*/ 115483 w 733006"/>
              <a:gd name="csY25" fmla="*/ 213499 h 2095135"/>
              <a:gd name="csX26" fmla="*/ 102909 w 733006"/>
              <a:gd name="csY26" fmla="*/ 182297 h 2095135"/>
              <a:gd name="csX27" fmla="*/ 104315 w 733006"/>
              <a:gd name="csY27" fmla="*/ 163968 h 2095135"/>
              <a:gd name="csX28" fmla="*/ 122444 w 733006"/>
              <a:gd name="csY28" fmla="*/ 160805 h 2095135"/>
              <a:gd name="csX29" fmla="*/ 170283 w 733006"/>
              <a:gd name="csY29" fmla="*/ 187783 h 2095135"/>
              <a:gd name="csX30" fmla="*/ 180938 w 733006"/>
              <a:gd name="csY30" fmla="*/ 195322 h 2095135"/>
              <a:gd name="csX31" fmla="*/ 221419 w 733006"/>
              <a:gd name="csY31" fmla="*/ 138058 h 2095135"/>
              <a:gd name="csX32" fmla="*/ 294099 w 733006"/>
              <a:gd name="csY32" fmla="*/ 91372 h 2095135"/>
              <a:gd name="csX33" fmla="*/ 302307 w 733006"/>
              <a:gd name="csY33" fmla="*/ 76560 h 2095135"/>
              <a:gd name="csX34" fmla="*/ 320284 w 733006"/>
              <a:gd name="csY34" fmla="*/ 8414 h 2095135"/>
              <a:gd name="csX35" fmla="*/ 324784 w 733006"/>
              <a:gd name="csY35" fmla="*/ 946 h 2095135"/>
              <a:gd name="csX36" fmla="*/ 399212 w 733006"/>
              <a:gd name="csY36" fmla="*/ 0 h 2095135"/>
              <a:gd name="csX37" fmla="*/ 425980 w 733006"/>
              <a:gd name="csY37" fmla="*/ 78301 h 2095135"/>
              <a:gd name="csX38" fmla="*/ 431861 w 733006"/>
              <a:gd name="csY38" fmla="*/ 90312 h 2095135"/>
              <a:gd name="csX39" fmla="*/ 540349 w 733006"/>
              <a:gd name="csY39" fmla="*/ 187946 h 2095135"/>
              <a:gd name="csX40" fmla="*/ 545555 w 733006"/>
              <a:gd name="csY40" fmla="*/ 197828 h 2095135"/>
              <a:gd name="csX41" fmla="*/ 587318 w 733006"/>
              <a:gd name="csY41" fmla="*/ 171260 h 2095135"/>
              <a:gd name="csX42" fmla="*/ 601503 w 733006"/>
              <a:gd name="csY42" fmla="*/ 163707 h 2095135"/>
              <a:gd name="csX43" fmla="*/ 625254 w 733006"/>
              <a:gd name="csY43" fmla="*/ 163123 h 2095135"/>
              <a:gd name="csX44" fmla="*/ 625468 w 733006"/>
              <a:gd name="csY44" fmla="*/ 187579 h 2095135"/>
              <a:gd name="csX45" fmla="*/ 597543 w 733006"/>
              <a:gd name="csY45" fmla="*/ 251872 h 2095135"/>
              <a:gd name="csX46" fmla="*/ 531831 w 733006"/>
              <a:gd name="csY46" fmla="*/ 442689 h 2095135"/>
              <a:gd name="csX47" fmla="*/ 519888 w 733006"/>
              <a:gd name="csY47" fmla="*/ 501474 h 2095135"/>
              <a:gd name="csX48" fmla="*/ 522506 w 733006"/>
              <a:gd name="csY48" fmla="*/ 525086 h 2095135"/>
              <a:gd name="csX49" fmla="*/ 516235 w 733006"/>
              <a:gd name="csY49" fmla="*/ 555946 h 2095135"/>
              <a:gd name="csX50" fmla="*/ 521332 w 733006"/>
              <a:gd name="csY50" fmla="*/ 610676 h 2095135"/>
              <a:gd name="csX51" fmla="*/ 541382 w 733006"/>
              <a:gd name="csY51" fmla="*/ 642597 h 2095135"/>
              <a:gd name="csX52" fmla="*/ 557031 w 733006"/>
              <a:gd name="csY52" fmla="*/ 667949 h 2095135"/>
              <a:gd name="csX53" fmla="*/ 553994 w 733006"/>
              <a:gd name="csY53" fmla="*/ 744146 h 2095135"/>
              <a:gd name="csX54" fmla="*/ 508215 w 733006"/>
              <a:gd name="csY54" fmla="*/ 758841 h 2095135"/>
              <a:gd name="csX55" fmla="*/ 497442 w 733006"/>
              <a:gd name="csY55" fmla="*/ 771256 h 2095135"/>
              <a:gd name="csX56" fmla="*/ 493005 w 733006"/>
              <a:gd name="csY56" fmla="*/ 922055 h 2095135"/>
              <a:gd name="csX57" fmla="*/ 502900 w 733006"/>
              <a:gd name="csY57" fmla="*/ 1114191 h 2095135"/>
              <a:gd name="csX58" fmla="*/ 508800 w 733006"/>
              <a:gd name="csY58" fmla="*/ 1205474 h 2095135"/>
              <a:gd name="csX59" fmla="*/ 522952 w 733006"/>
              <a:gd name="csY59" fmla="*/ 1320065 h 2095135"/>
              <a:gd name="csX60" fmla="*/ 554682 w 733006"/>
              <a:gd name="csY60" fmla="*/ 1501203 h 2095135"/>
              <a:gd name="csX61" fmla="*/ 576958 w 733006"/>
              <a:gd name="csY61" fmla="*/ 1593963 h 2095135"/>
              <a:gd name="csX62" fmla="*/ 595349 w 733006"/>
              <a:gd name="csY62" fmla="*/ 1613498 h 2095135"/>
              <a:gd name="csX63" fmla="*/ 613936 w 733006"/>
              <a:gd name="csY63" fmla="*/ 1624058 h 2095135"/>
              <a:gd name="csX64" fmla="*/ 620938 w 733006"/>
              <a:gd name="csY64" fmla="*/ 1652071 h 2095135"/>
              <a:gd name="csX65" fmla="*/ 630805 w 733006"/>
              <a:gd name="csY65" fmla="*/ 1721702 h 2095135"/>
              <a:gd name="csX66" fmla="*/ 685830 w 733006"/>
              <a:gd name="csY66" fmla="*/ 1792915 h 2095135"/>
              <a:gd name="csX67" fmla="*/ 708904 w 733006"/>
              <a:gd name="csY67" fmla="*/ 1890290 h 2095135"/>
              <a:gd name="csX68" fmla="*/ 716580 w 733006"/>
              <a:gd name="csY68" fmla="*/ 1951136 h 2095135"/>
              <a:gd name="csX69" fmla="*/ 729397 w 733006"/>
              <a:gd name="csY69" fmla="*/ 2030261 h 2095135"/>
              <a:gd name="csX70" fmla="*/ 714212 w 733006"/>
              <a:gd name="csY70" fmla="*/ 2049544 h 2095135"/>
              <a:gd name="csX71" fmla="*/ 96263 w 733006"/>
              <a:gd name="csY71" fmla="*/ 2076207 h 2095135"/>
              <a:gd name="csX72" fmla="*/ 489970 w 733006"/>
              <a:gd name="csY72" fmla="*/ 152208 h 2095135"/>
              <a:gd name="csX73" fmla="*/ 490754 w 733006"/>
              <a:gd name="csY73" fmla="*/ 152592 h 2095135"/>
              <a:gd name="csX74" fmla="*/ 489489 w 733006"/>
              <a:gd name="csY74" fmla="*/ 149547 h 2095135"/>
              <a:gd name="csX75" fmla="*/ 393621 w 733006"/>
              <a:gd name="csY75" fmla="*/ 99259 h 2095135"/>
              <a:gd name="csX76" fmla="*/ 390419 w 733006"/>
              <a:gd name="csY76" fmla="*/ 18568 h 2095135"/>
              <a:gd name="csX77" fmla="*/ 334131 w 733006"/>
              <a:gd name="csY77" fmla="*/ 24327 h 2095135"/>
              <a:gd name="csX78" fmla="*/ 344678 w 733006"/>
              <a:gd name="csY78" fmla="*/ 101259 h 2095135"/>
              <a:gd name="csX79" fmla="*/ 298854 w 733006"/>
              <a:gd name="csY79" fmla="*/ 114003 h 2095135"/>
              <a:gd name="csX80" fmla="*/ 237456 w 733006"/>
              <a:gd name="csY80" fmla="*/ 154340 h 2095135"/>
              <a:gd name="csX81" fmla="*/ 240382 w 733006"/>
              <a:gd name="csY81" fmla="*/ 154035 h 2095135"/>
              <a:gd name="csX82" fmla="*/ 262731 w 733006"/>
              <a:gd name="csY82" fmla="*/ 170426 h 2095135"/>
              <a:gd name="csX83" fmla="*/ 279169 w 733006"/>
              <a:gd name="csY83" fmla="*/ 193173 h 2095135"/>
              <a:gd name="csX84" fmla="*/ 327717 w 733006"/>
              <a:gd name="csY84" fmla="*/ 188556 h 2095135"/>
              <a:gd name="csX85" fmla="*/ 348052 w 733006"/>
              <a:gd name="csY85" fmla="*/ 156919 h 2095135"/>
              <a:gd name="csX86" fmla="*/ 380330 w 733006"/>
              <a:gd name="csY86" fmla="*/ 156483 h 2095135"/>
              <a:gd name="csX87" fmla="*/ 408490 w 733006"/>
              <a:gd name="csY87" fmla="*/ 195400 h 2095135"/>
              <a:gd name="csX88" fmla="*/ 445346 w 733006"/>
              <a:gd name="csY88" fmla="*/ 197582 h 2095135"/>
              <a:gd name="csX89" fmla="*/ 464798 w 733006"/>
              <a:gd name="csY89" fmla="*/ 174107 h 2095135"/>
              <a:gd name="csX90" fmla="*/ 489970 w 733006"/>
              <a:gd name="csY90" fmla="*/ 152208 h 2095135"/>
              <a:gd name="csX91" fmla="*/ 140694 w 733006"/>
              <a:gd name="csY91" fmla="*/ 201837 h 2095135"/>
              <a:gd name="csX92" fmla="*/ 139834 w 733006"/>
              <a:gd name="csY92" fmla="*/ 201482 h 2095135"/>
              <a:gd name="csX93" fmla="*/ 140812 w 733006"/>
              <a:gd name="csY93" fmla="*/ 204941 h 2095135"/>
              <a:gd name="csX94" fmla="*/ 144631 w 733006"/>
              <a:gd name="csY94" fmla="*/ 217811 h 2095135"/>
              <a:gd name="csX95" fmla="*/ 201241 w 733006"/>
              <a:gd name="csY95" fmla="*/ 373387 h 2095135"/>
              <a:gd name="csX96" fmla="*/ 235971 w 733006"/>
              <a:gd name="csY96" fmla="*/ 504451 h 2095135"/>
              <a:gd name="csX97" fmla="*/ 247475 w 733006"/>
              <a:gd name="csY97" fmla="*/ 513241 h 2095135"/>
              <a:gd name="csX98" fmla="*/ 289066 w 733006"/>
              <a:gd name="csY98" fmla="*/ 511170 h 2095135"/>
              <a:gd name="csX99" fmla="*/ 378229 w 733006"/>
              <a:gd name="csY99" fmla="*/ 511084 h 2095135"/>
              <a:gd name="csX100" fmla="*/ 470850 w 733006"/>
              <a:gd name="csY100" fmla="*/ 516341 h 2095135"/>
              <a:gd name="csX101" fmla="*/ 492933 w 733006"/>
              <a:gd name="csY101" fmla="*/ 497969 h 2095135"/>
              <a:gd name="csX102" fmla="*/ 557617 w 733006"/>
              <a:gd name="csY102" fmla="*/ 280398 h 2095135"/>
              <a:gd name="csX103" fmla="*/ 588788 w 733006"/>
              <a:gd name="csY103" fmla="*/ 200385 h 2095135"/>
              <a:gd name="csX104" fmla="*/ 530958 w 733006"/>
              <a:gd name="csY104" fmla="*/ 232968 h 2095135"/>
              <a:gd name="csX105" fmla="*/ 483823 w 733006"/>
              <a:gd name="csY105" fmla="*/ 190364 h 2095135"/>
              <a:gd name="csX106" fmla="*/ 466649 w 733006"/>
              <a:gd name="csY106" fmla="*/ 209061 h 2095135"/>
              <a:gd name="csX107" fmla="*/ 399941 w 733006"/>
              <a:gd name="csY107" fmla="*/ 216988 h 2095135"/>
              <a:gd name="csX108" fmla="*/ 363018 w 733006"/>
              <a:gd name="csY108" fmla="*/ 179615 h 2095135"/>
              <a:gd name="csX109" fmla="*/ 308839 w 733006"/>
              <a:gd name="csY109" fmla="*/ 227846 h 2095135"/>
              <a:gd name="csX110" fmla="*/ 245077 w 733006"/>
              <a:gd name="csY110" fmla="*/ 192402 h 2095135"/>
              <a:gd name="csX111" fmla="*/ 242829 w 733006"/>
              <a:gd name="csY111" fmla="*/ 198815 h 2095135"/>
              <a:gd name="csX112" fmla="*/ 168452 w 733006"/>
              <a:gd name="csY112" fmla="*/ 219348 h 2095135"/>
              <a:gd name="csX113" fmla="*/ 140694 w 733006"/>
              <a:gd name="csY113" fmla="*/ 201837 h 2095135"/>
              <a:gd name="csX114" fmla="*/ 259999 w 733006"/>
              <a:gd name="csY114" fmla="*/ 966699 h 2095135"/>
              <a:gd name="csX115" fmla="*/ 257072 w 733006"/>
              <a:gd name="csY115" fmla="*/ 1070424 h 2095135"/>
              <a:gd name="csX116" fmla="*/ 251372 w 733006"/>
              <a:gd name="csY116" fmla="*/ 1157618 h 2095135"/>
              <a:gd name="csX117" fmla="*/ 232677 w 733006"/>
              <a:gd name="csY117" fmla="*/ 1320279 h 2095135"/>
              <a:gd name="csX118" fmla="*/ 209182 w 733006"/>
              <a:gd name="csY118" fmla="*/ 1468667 h 2095135"/>
              <a:gd name="csX119" fmla="*/ 175302 w 733006"/>
              <a:gd name="csY119" fmla="*/ 1616623 h 2095135"/>
              <a:gd name="csX120" fmla="*/ 182769 w 733006"/>
              <a:gd name="csY120" fmla="*/ 1629786 h 2095135"/>
              <a:gd name="csX121" fmla="*/ 212156 w 733006"/>
              <a:gd name="csY121" fmla="*/ 1632656 h 2095135"/>
              <a:gd name="csX122" fmla="*/ 351295 w 733006"/>
              <a:gd name="csY122" fmla="*/ 1632801 h 2095135"/>
              <a:gd name="csX123" fmla="*/ 376150 w 733006"/>
              <a:gd name="csY123" fmla="*/ 1608307 h 2095135"/>
              <a:gd name="csX124" fmla="*/ 373450 w 733006"/>
              <a:gd name="csY124" fmla="*/ 1457291 h 2095135"/>
              <a:gd name="csX125" fmla="*/ 370936 w 733006"/>
              <a:gd name="csY125" fmla="*/ 1342736 h 2095135"/>
              <a:gd name="csX126" fmla="*/ 368328 w 733006"/>
              <a:gd name="csY126" fmla="*/ 1203878 h 2095135"/>
              <a:gd name="csX127" fmla="*/ 367836 w 733006"/>
              <a:gd name="csY127" fmla="*/ 813478 h 2095135"/>
              <a:gd name="csX128" fmla="*/ 365240 w 733006"/>
              <a:gd name="csY128" fmla="*/ 773243 h 2095135"/>
              <a:gd name="csX129" fmla="*/ 353084 w 733006"/>
              <a:gd name="csY129" fmla="*/ 762083 h 2095135"/>
              <a:gd name="csX130" fmla="*/ 280966 w 733006"/>
              <a:gd name="csY130" fmla="*/ 759855 h 2095135"/>
              <a:gd name="csX131" fmla="*/ 259965 w 733006"/>
              <a:gd name="csY131" fmla="*/ 779553 h 2095135"/>
              <a:gd name="csX132" fmla="*/ 262341 w 733006"/>
              <a:gd name="csY132" fmla="*/ 856275 h 2095135"/>
              <a:gd name="csX133" fmla="*/ 259999 w 733006"/>
              <a:gd name="csY133" fmla="*/ 966699 h 2095135"/>
              <a:gd name="csX134" fmla="*/ 55556 w 733006"/>
              <a:gd name="csY134" fmla="*/ 1835827 h 2095135"/>
              <a:gd name="csX135" fmla="*/ 49393 w 733006"/>
              <a:gd name="csY135" fmla="*/ 1878155 h 2095135"/>
              <a:gd name="csX136" fmla="*/ 73949 w 733006"/>
              <a:gd name="csY136" fmla="*/ 1905781 h 2095135"/>
              <a:gd name="csX137" fmla="*/ 110073 w 733006"/>
              <a:gd name="csY137" fmla="*/ 1909068 h 2095135"/>
              <a:gd name="csX138" fmla="*/ 224745 w 733006"/>
              <a:gd name="csY138" fmla="*/ 1921652 h 2095135"/>
              <a:gd name="csX139" fmla="*/ 347327 w 733006"/>
              <a:gd name="csY139" fmla="*/ 1924778 h 2095135"/>
              <a:gd name="csX140" fmla="*/ 363345 w 733006"/>
              <a:gd name="csY140" fmla="*/ 1923293 h 2095135"/>
              <a:gd name="csX141" fmla="*/ 373787 w 733006"/>
              <a:gd name="csY141" fmla="*/ 1911200 h 2095135"/>
              <a:gd name="csX142" fmla="*/ 376623 w 733006"/>
              <a:gd name="csY142" fmla="*/ 1696741 h 2095135"/>
              <a:gd name="csX143" fmla="*/ 360437 w 733006"/>
              <a:gd name="csY143" fmla="*/ 1681289 h 2095135"/>
              <a:gd name="csX144" fmla="*/ 263503 w 733006"/>
              <a:gd name="csY144" fmla="*/ 1678179 h 2095135"/>
              <a:gd name="csX145" fmla="*/ 160381 w 733006"/>
              <a:gd name="csY145" fmla="*/ 1670405 h 2095135"/>
              <a:gd name="csX146" fmla="*/ 143321 w 733006"/>
              <a:gd name="csY146" fmla="*/ 1685538 h 2095135"/>
              <a:gd name="csX147" fmla="*/ 124769 w 733006"/>
              <a:gd name="csY147" fmla="*/ 1738195 h 2095135"/>
              <a:gd name="csX148" fmla="*/ 90593 w 733006"/>
              <a:gd name="csY148" fmla="*/ 1779570 h 2095135"/>
              <a:gd name="csX149" fmla="*/ 55556 w 733006"/>
              <a:gd name="csY149" fmla="*/ 1835827 h 2095135"/>
              <a:gd name="csX150" fmla="*/ 378900 w 733006"/>
              <a:gd name="csY150" fmla="*/ 2007280 h 2095135"/>
              <a:gd name="csX151" fmla="*/ 378887 w 733006"/>
              <a:gd name="csY151" fmla="*/ 1995127 h 2095135"/>
              <a:gd name="csX152" fmla="*/ 359084 w 733006"/>
              <a:gd name="csY152" fmla="*/ 1975964 h 2095135"/>
              <a:gd name="csX153" fmla="*/ 247288 w 733006"/>
              <a:gd name="csY153" fmla="*/ 1973305 h 2095135"/>
              <a:gd name="csX154" fmla="*/ 201692 w 733006"/>
              <a:gd name="csY154" fmla="*/ 1970275 h 2095135"/>
              <a:gd name="csX155" fmla="*/ 57962 w 733006"/>
              <a:gd name="csY155" fmla="*/ 1952648 h 2095135"/>
              <a:gd name="csX156" fmla="*/ 39194 w 733006"/>
              <a:gd name="csY156" fmla="*/ 1963552 h 2095135"/>
              <a:gd name="csX157" fmla="*/ 30066 w 733006"/>
              <a:gd name="csY157" fmla="*/ 2006631 h 2095135"/>
              <a:gd name="csX158" fmla="*/ 40232 w 733006"/>
              <a:gd name="csY158" fmla="*/ 2019486 h 2095135"/>
              <a:gd name="csX159" fmla="*/ 238186 w 733006"/>
              <a:gd name="csY159" fmla="*/ 2046096 h 2095135"/>
              <a:gd name="csX160" fmla="*/ 342155 w 733006"/>
              <a:gd name="csY160" fmla="*/ 2046441 h 2095135"/>
              <a:gd name="csX161" fmla="*/ 378900 w 733006"/>
              <a:gd name="csY161" fmla="*/ 2007280 h 2095135"/>
              <a:gd name="csX162" fmla="*/ 310220 w 733006"/>
              <a:gd name="csY162" fmla="*/ 554288 h 2095135"/>
              <a:gd name="csX163" fmla="*/ 259136 w 733006"/>
              <a:gd name="csY163" fmla="*/ 556881 h 2095135"/>
              <a:gd name="csX164" fmla="*/ 249085 w 733006"/>
              <a:gd name="csY164" fmla="*/ 567981 h 2095135"/>
              <a:gd name="csX165" fmla="*/ 249141 w 733006"/>
              <a:gd name="csY165" fmla="*/ 605644 h 2095135"/>
              <a:gd name="csX166" fmla="*/ 262628 w 733006"/>
              <a:gd name="csY166" fmla="*/ 605627 h 2095135"/>
              <a:gd name="csX167" fmla="*/ 369608 w 733006"/>
              <a:gd name="csY167" fmla="*/ 603027 h 2095135"/>
              <a:gd name="csX168" fmla="*/ 463931 w 733006"/>
              <a:gd name="csY168" fmla="*/ 605146 h 2095135"/>
              <a:gd name="csX169" fmla="*/ 478113 w 733006"/>
              <a:gd name="csY169" fmla="*/ 595843 h 2095135"/>
              <a:gd name="csX170" fmla="*/ 478796 w 733006"/>
              <a:gd name="csY170" fmla="*/ 556832 h 2095135"/>
              <a:gd name="csX171" fmla="*/ 310220 w 733006"/>
              <a:gd name="csY171" fmla="*/ 554288 h 2095135"/>
              <a:gd name="csX172" fmla="*/ 348836 w 733006"/>
              <a:gd name="csY172" fmla="*/ 684115 h 2095135"/>
              <a:gd name="csX173" fmla="*/ 281333 w 733006"/>
              <a:gd name="csY173" fmla="*/ 683313 h 2095135"/>
              <a:gd name="csX174" fmla="*/ 212728 w 733006"/>
              <a:gd name="csY174" fmla="*/ 681931 h 2095135"/>
              <a:gd name="csX175" fmla="*/ 187283 w 733006"/>
              <a:gd name="csY175" fmla="*/ 689555 h 2095135"/>
              <a:gd name="csX176" fmla="*/ 186163 w 733006"/>
              <a:gd name="csY176" fmla="*/ 718266 h 2095135"/>
              <a:gd name="csX177" fmla="*/ 209894 w 733006"/>
              <a:gd name="csY177" fmla="*/ 726798 h 2095135"/>
              <a:gd name="csX178" fmla="*/ 334814 w 733006"/>
              <a:gd name="csY178" fmla="*/ 732494 h 2095135"/>
              <a:gd name="csX179" fmla="*/ 364856 w 733006"/>
              <a:gd name="csY179" fmla="*/ 707963 h 2095135"/>
              <a:gd name="csX180" fmla="*/ 348836 w 733006"/>
              <a:gd name="csY180" fmla="*/ 684115 h 2095135"/>
              <a:gd name="csX181" fmla="*/ 298865 w 733006"/>
              <a:gd name="csY181" fmla="*/ 621954 h 2095135"/>
              <a:gd name="csX182" fmla="*/ 251619 w 733006"/>
              <a:gd name="csY182" fmla="*/ 622133 h 2095135"/>
              <a:gd name="csX183" fmla="*/ 214459 w 733006"/>
              <a:gd name="csY183" fmla="*/ 636230 h 2095135"/>
              <a:gd name="csX184" fmla="*/ 221436 w 733006"/>
              <a:gd name="csY184" fmla="*/ 654205 h 2095135"/>
              <a:gd name="csX185" fmla="*/ 272412 w 733006"/>
              <a:gd name="csY185" fmla="*/ 657250 h 2095135"/>
              <a:gd name="csX186" fmla="*/ 349094 w 733006"/>
              <a:gd name="csY186" fmla="*/ 659282 h 2095135"/>
              <a:gd name="csX187" fmla="*/ 362996 w 733006"/>
              <a:gd name="csY187" fmla="*/ 644234 h 2095135"/>
              <a:gd name="csX188" fmla="*/ 348472 w 733006"/>
              <a:gd name="csY188" fmla="*/ 624649 h 2095135"/>
              <a:gd name="csX189" fmla="*/ 298865 w 733006"/>
              <a:gd name="csY189" fmla="*/ 621954 h 2095135"/>
              <a:gd name="csX190" fmla="*/ 227796 w 733006"/>
              <a:gd name="csY190" fmla="*/ 528000 h 2095135"/>
              <a:gd name="csX191" fmla="*/ 241009 w 733006"/>
              <a:gd name="csY191" fmla="*/ 545897 h 2095135"/>
              <a:gd name="csX192" fmla="*/ 282607 w 733006"/>
              <a:gd name="csY192" fmla="*/ 543480 h 2095135"/>
              <a:gd name="csX193" fmla="*/ 354213 w 733006"/>
              <a:gd name="csY193" fmla="*/ 543384 h 2095135"/>
              <a:gd name="csX194" fmla="*/ 365334 w 733006"/>
              <a:gd name="csY194" fmla="*/ 533397 h 2095135"/>
              <a:gd name="csX195" fmla="*/ 354531 w 733006"/>
              <a:gd name="csY195" fmla="*/ 521620 h 2095135"/>
              <a:gd name="csX196" fmla="*/ 259169 w 733006"/>
              <a:gd name="csY196" fmla="*/ 521978 h 2095135"/>
              <a:gd name="csX197" fmla="*/ 227796 w 733006"/>
              <a:gd name="csY197" fmla="*/ 528000 h 2095135"/>
              <a:gd name="csX198" fmla="*/ 508068 w 733006"/>
              <a:gd name="csY198" fmla="*/ 190710 h 2095135"/>
              <a:gd name="csX199" fmla="*/ 521293 w 733006"/>
              <a:gd name="csY199" fmla="*/ 205907 h 2095135"/>
              <a:gd name="csX200" fmla="*/ 525175 w 733006"/>
              <a:gd name="csY200" fmla="*/ 202985 h 2095135"/>
              <a:gd name="csX201" fmla="*/ 500276 w 733006"/>
              <a:gd name="csY201" fmla="*/ 160640 h 2095135"/>
              <a:gd name="csX202" fmla="*/ 497122 w 733006"/>
              <a:gd name="csY202" fmla="*/ 162007 h 2095135"/>
              <a:gd name="csX203" fmla="*/ 508068 w 733006"/>
              <a:gd name="csY203" fmla="*/ 190710 h 2095135"/>
              <a:gd name="csX204" fmla="*/ 215522 w 733006"/>
              <a:gd name="csY204" fmla="*/ 197296 h 2095135"/>
              <a:gd name="csX205" fmla="*/ 234029 w 733006"/>
              <a:gd name="csY205" fmla="*/ 162725 h 2095135"/>
              <a:gd name="csX206" fmla="*/ 229000 w 733006"/>
              <a:gd name="csY206" fmla="*/ 159902 h 2095135"/>
              <a:gd name="csX207" fmla="*/ 204824 w 733006"/>
              <a:gd name="csY207" fmla="*/ 199677 h 2095135"/>
              <a:gd name="csX208" fmla="*/ 207990 w 733006"/>
              <a:gd name="csY208" fmla="*/ 202198 h 2095135"/>
              <a:gd name="csX209" fmla="*/ 215522 w 733006"/>
              <a:gd name="csY209" fmla="*/ 197296 h 2095135"/>
              <a:gd name="csX210" fmla="*/ 484400 w 733006"/>
              <a:gd name="csY210" fmla="*/ 896678 h 2095135"/>
              <a:gd name="csX211" fmla="*/ 486181 w 733006"/>
              <a:gd name="csY211" fmla="*/ 896585 h 2095135"/>
              <a:gd name="csX212" fmla="*/ 486181 w 733006"/>
              <a:gd name="csY212" fmla="*/ 795289 h 2095135"/>
              <a:gd name="csX213" fmla="*/ 720241 w 733006"/>
              <a:gd name="csY213" fmla="*/ 2030666 h 2095135"/>
              <a:gd name="csX214" fmla="*/ 721175 w 733006"/>
              <a:gd name="csY214" fmla="*/ 2029733 h 2095135"/>
              <a:gd name="csX215" fmla="*/ 720241 w 733006"/>
              <a:gd name="csY215" fmla="*/ 2030666 h 2095135"/>
              <a:gd name="csX216" fmla="*/ 715702 w 733006"/>
              <a:gd name="csY216" fmla="*/ 2037051 h 2095135"/>
              <a:gd name="csX217" fmla="*/ 715702 w 733006"/>
              <a:gd name="csY217" fmla="*/ 2037051 h 2095135"/>
              <a:gd name="csX0" fmla="*/ 96263 w 733006"/>
              <a:gd name="csY0" fmla="*/ 2076207 h 2095135"/>
              <a:gd name="csX1" fmla="*/ 63862 w 733006"/>
              <a:gd name="csY1" fmla="*/ 2065388 h 2095135"/>
              <a:gd name="csX2" fmla="*/ 16555 w 733006"/>
              <a:gd name="csY2" fmla="*/ 2050152 h 2095135"/>
              <a:gd name="csX3" fmla="*/ 15 w 733006"/>
              <a:gd name="csY3" fmla="*/ 2023802 h 2095135"/>
              <a:gd name="csX4" fmla="*/ 18368 w 733006"/>
              <a:gd name="csY4" fmla="*/ 1940709 h 2095135"/>
              <a:gd name="csX5" fmla="*/ 22139 w 733006"/>
              <a:gd name="csY5" fmla="*/ 1907268 h 2095135"/>
              <a:gd name="csX6" fmla="*/ 57941 w 733006"/>
              <a:gd name="csY6" fmla="*/ 1774163 h 2095135"/>
              <a:gd name="csX7" fmla="*/ 102478 w 733006"/>
              <a:gd name="csY7" fmla="*/ 1720275 h 2095135"/>
              <a:gd name="csX8" fmla="*/ 108579 w 733006"/>
              <a:gd name="csY8" fmla="*/ 1650967 h 2095135"/>
              <a:gd name="csX9" fmla="*/ 115628 w 733006"/>
              <a:gd name="csY9" fmla="*/ 1625405 h 2095135"/>
              <a:gd name="csX10" fmla="*/ 156323 w 733006"/>
              <a:gd name="csY10" fmla="*/ 1560181 h 2095135"/>
              <a:gd name="csX11" fmla="*/ 199424 w 733006"/>
              <a:gd name="csY11" fmla="*/ 1364729 h 2095135"/>
              <a:gd name="csX12" fmla="*/ 216779 w 733006"/>
              <a:gd name="csY12" fmla="*/ 1219490 h 2095135"/>
              <a:gd name="csX13" fmla="*/ 229755 w 733006"/>
              <a:gd name="csY13" fmla="*/ 1099357 h 2095135"/>
              <a:gd name="csX14" fmla="*/ 232707 w 733006"/>
              <a:gd name="csY14" fmla="*/ 1056423 h 2095135"/>
              <a:gd name="csX15" fmla="*/ 235622 w 733006"/>
              <a:gd name="csY15" fmla="*/ 952675 h 2095135"/>
              <a:gd name="csX16" fmla="*/ 235445 w 733006"/>
              <a:gd name="csY16" fmla="*/ 780278 h 2095135"/>
              <a:gd name="csX17" fmla="*/ 214544 w 733006"/>
              <a:gd name="csY17" fmla="*/ 756435 h 2095135"/>
              <a:gd name="csX18" fmla="*/ 172569 w 733006"/>
              <a:gd name="csY18" fmla="*/ 742582 h 2095135"/>
              <a:gd name="csX19" fmla="*/ 168784 w 733006"/>
              <a:gd name="csY19" fmla="*/ 669116 h 2095135"/>
              <a:gd name="csX20" fmla="*/ 191657 w 733006"/>
              <a:gd name="csY20" fmla="*/ 630765 h 2095135"/>
              <a:gd name="csX21" fmla="*/ 208150 w 733006"/>
              <a:gd name="csY21" fmla="*/ 609084 h 2095135"/>
              <a:gd name="csX22" fmla="*/ 216756 w 733006"/>
              <a:gd name="csY22" fmla="*/ 558673 h 2095135"/>
              <a:gd name="csX23" fmla="*/ 209092 w 733006"/>
              <a:gd name="csY23" fmla="*/ 521540 h 2095135"/>
              <a:gd name="csX24" fmla="*/ 204683 w 733006"/>
              <a:gd name="csY24" fmla="*/ 474024 h 2095135"/>
              <a:gd name="csX25" fmla="*/ 115483 w 733006"/>
              <a:gd name="csY25" fmla="*/ 213499 h 2095135"/>
              <a:gd name="csX26" fmla="*/ 102909 w 733006"/>
              <a:gd name="csY26" fmla="*/ 182297 h 2095135"/>
              <a:gd name="csX27" fmla="*/ 104315 w 733006"/>
              <a:gd name="csY27" fmla="*/ 163968 h 2095135"/>
              <a:gd name="csX28" fmla="*/ 122444 w 733006"/>
              <a:gd name="csY28" fmla="*/ 160805 h 2095135"/>
              <a:gd name="csX29" fmla="*/ 170283 w 733006"/>
              <a:gd name="csY29" fmla="*/ 187783 h 2095135"/>
              <a:gd name="csX30" fmla="*/ 180938 w 733006"/>
              <a:gd name="csY30" fmla="*/ 195322 h 2095135"/>
              <a:gd name="csX31" fmla="*/ 221419 w 733006"/>
              <a:gd name="csY31" fmla="*/ 138058 h 2095135"/>
              <a:gd name="csX32" fmla="*/ 294099 w 733006"/>
              <a:gd name="csY32" fmla="*/ 91372 h 2095135"/>
              <a:gd name="csX33" fmla="*/ 302307 w 733006"/>
              <a:gd name="csY33" fmla="*/ 76560 h 2095135"/>
              <a:gd name="csX34" fmla="*/ 320284 w 733006"/>
              <a:gd name="csY34" fmla="*/ 8414 h 2095135"/>
              <a:gd name="csX35" fmla="*/ 324784 w 733006"/>
              <a:gd name="csY35" fmla="*/ 946 h 2095135"/>
              <a:gd name="csX36" fmla="*/ 399212 w 733006"/>
              <a:gd name="csY36" fmla="*/ 0 h 2095135"/>
              <a:gd name="csX37" fmla="*/ 425980 w 733006"/>
              <a:gd name="csY37" fmla="*/ 78301 h 2095135"/>
              <a:gd name="csX38" fmla="*/ 431861 w 733006"/>
              <a:gd name="csY38" fmla="*/ 90312 h 2095135"/>
              <a:gd name="csX39" fmla="*/ 540349 w 733006"/>
              <a:gd name="csY39" fmla="*/ 187946 h 2095135"/>
              <a:gd name="csX40" fmla="*/ 545555 w 733006"/>
              <a:gd name="csY40" fmla="*/ 197828 h 2095135"/>
              <a:gd name="csX41" fmla="*/ 587318 w 733006"/>
              <a:gd name="csY41" fmla="*/ 171260 h 2095135"/>
              <a:gd name="csX42" fmla="*/ 601503 w 733006"/>
              <a:gd name="csY42" fmla="*/ 163707 h 2095135"/>
              <a:gd name="csX43" fmla="*/ 625254 w 733006"/>
              <a:gd name="csY43" fmla="*/ 163123 h 2095135"/>
              <a:gd name="csX44" fmla="*/ 625468 w 733006"/>
              <a:gd name="csY44" fmla="*/ 187579 h 2095135"/>
              <a:gd name="csX45" fmla="*/ 597543 w 733006"/>
              <a:gd name="csY45" fmla="*/ 251872 h 2095135"/>
              <a:gd name="csX46" fmla="*/ 531831 w 733006"/>
              <a:gd name="csY46" fmla="*/ 442689 h 2095135"/>
              <a:gd name="csX47" fmla="*/ 519888 w 733006"/>
              <a:gd name="csY47" fmla="*/ 501474 h 2095135"/>
              <a:gd name="csX48" fmla="*/ 522506 w 733006"/>
              <a:gd name="csY48" fmla="*/ 525086 h 2095135"/>
              <a:gd name="csX49" fmla="*/ 516235 w 733006"/>
              <a:gd name="csY49" fmla="*/ 555946 h 2095135"/>
              <a:gd name="csX50" fmla="*/ 521332 w 733006"/>
              <a:gd name="csY50" fmla="*/ 610676 h 2095135"/>
              <a:gd name="csX51" fmla="*/ 541382 w 733006"/>
              <a:gd name="csY51" fmla="*/ 642597 h 2095135"/>
              <a:gd name="csX52" fmla="*/ 557031 w 733006"/>
              <a:gd name="csY52" fmla="*/ 667949 h 2095135"/>
              <a:gd name="csX53" fmla="*/ 553994 w 733006"/>
              <a:gd name="csY53" fmla="*/ 744146 h 2095135"/>
              <a:gd name="csX54" fmla="*/ 508215 w 733006"/>
              <a:gd name="csY54" fmla="*/ 758841 h 2095135"/>
              <a:gd name="csX55" fmla="*/ 497442 w 733006"/>
              <a:gd name="csY55" fmla="*/ 771256 h 2095135"/>
              <a:gd name="csX56" fmla="*/ 493005 w 733006"/>
              <a:gd name="csY56" fmla="*/ 922055 h 2095135"/>
              <a:gd name="csX57" fmla="*/ 502900 w 733006"/>
              <a:gd name="csY57" fmla="*/ 1114191 h 2095135"/>
              <a:gd name="csX58" fmla="*/ 508800 w 733006"/>
              <a:gd name="csY58" fmla="*/ 1205474 h 2095135"/>
              <a:gd name="csX59" fmla="*/ 522952 w 733006"/>
              <a:gd name="csY59" fmla="*/ 1320065 h 2095135"/>
              <a:gd name="csX60" fmla="*/ 554682 w 733006"/>
              <a:gd name="csY60" fmla="*/ 1501203 h 2095135"/>
              <a:gd name="csX61" fmla="*/ 576958 w 733006"/>
              <a:gd name="csY61" fmla="*/ 1593963 h 2095135"/>
              <a:gd name="csX62" fmla="*/ 595349 w 733006"/>
              <a:gd name="csY62" fmla="*/ 1613498 h 2095135"/>
              <a:gd name="csX63" fmla="*/ 613936 w 733006"/>
              <a:gd name="csY63" fmla="*/ 1624058 h 2095135"/>
              <a:gd name="csX64" fmla="*/ 620938 w 733006"/>
              <a:gd name="csY64" fmla="*/ 1652071 h 2095135"/>
              <a:gd name="csX65" fmla="*/ 630805 w 733006"/>
              <a:gd name="csY65" fmla="*/ 1721702 h 2095135"/>
              <a:gd name="csX66" fmla="*/ 685830 w 733006"/>
              <a:gd name="csY66" fmla="*/ 1792915 h 2095135"/>
              <a:gd name="csX67" fmla="*/ 708904 w 733006"/>
              <a:gd name="csY67" fmla="*/ 1890290 h 2095135"/>
              <a:gd name="csX68" fmla="*/ 716580 w 733006"/>
              <a:gd name="csY68" fmla="*/ 1951136 h 2095135"/>
              <a:gd name="csX69" fmla="*/ 729397 w 733006"/>
              <a:gd name="csY69" fmla="*/ 2030261 h 2095135"/>
              <a:gd name="csX70" fmla="*/ 714212 w 733006"/>
              <a:gd name="csY70" fmla="*/ 2049544 h 2095135"/>
              <a:gd name="csX71" fmla="*/ 96263 w 733006"/>
              <a:gd name="csY71" fmla="*/ 2076207 h 2095135"/>
              <a:gd name="csX72" fmla="*/ 489970 w 733006"/>
              <a:gd name="csY72" fmla="*/ 152208 h 2095135"/>
              <a:gd name="csX73" fmla="*/ 490754 w 733006"/>
              <a:gd name="csY73" fmla="*/ 152592 h 2095135"/>
              <a:gd name="csX74" fmla="*/ 489489 w 733006"/>
              <a:gd name="csY74" fmla="*/ 149547 h 2095135"/>
              <a:gd name="csX75" fmla="*/ 393621 w 733006"/>
              <a:gd name="csY75" fmla="*/ 99259 h 2095135"/>
              <a:gd name="csX76" fmla="*/ 390419 w 733006"/>
              <a:gd name="csY76" fmla="*/ 18568 h 2095135"/>
              <a:gd name="csX77" fmla="*/ 334131 w 733006"/>
              <a:gd name="csY77" fmla="*/ 24327 h 2095135"/>
              <a:gd name="csX78" fmla="*/ 344678 w 733006"/>
              <a:gd name="csY78" fmla="*/ 101259 h 2095135"/>
              <a:gd name="csX79" fmla="*/ 298854 w 733006"/>
              <a:gd name="csY79" fmla="*/ 114003 h 2095135"/>
              <a:gd name="csX80" fmla="*/ 237456 w 733006"/>
              <a:gd name="csY80" fmla="*/ 154340 h 2095135"/>
              <a:gd name="csX81" fmla="*/ 240382 w 733006"/>
              <a:gd name="csY81" fmla="*/ 154035 h 2095135"/>
              <a:gd name="csX82" fmla="*/ 262731 w 733006"/>
              <a:gd name="csY82" fmla="*/ 170426 h 2095135"/>
              <a:gd name="csX83" fmla="*/ 279169 w 733006"/>
              <a:gd name="csY83" fmla="*/ 193173 h 2095135"/>
              <a:gd name="csX84" fmla="*/ 327717 w 733006"/>
              <a:gd name="csY84" fmla="*/ 188556 h 2095135"/>
              <a:gd name="csX85" fmla="*/ 348052 w 733006"/>
              <a:gd name="csY85" fmla="*/ 156919 h 2095135"/>
              <a:gd name="csX86" fmla="*/ 380330 w 733006"/>
              <a:gd name="csY86" fmla="*/ 156483 h 2095135"/>
              <a:gd name="csX87" fmla="*/ 408490 w 733006"/>
              <a:gd name="csY87" fmla="*/ 195400 h 2095135"/>
              <a:gd name="csX88" fmla="*/ 445346 w 733006"/>
              <a:gd name="csY88" fmla="*/ 197582 h 2095135"/>
              <a:gd name="csX89" fmla="*/ 464798 w 733006"/>
              <a:gd name="csY89" fmla="*/ 174107 h 2095135"/>
              <a:gd name="csX90" fmla="*/ 489970 w 733006"/>
              <a:gd name="csY90" fmla="*/ 152208 h 2095135"/>
              <a:gd name="csX91" fmla="*/ 140694 w 733006"/>
              <a:gd name="csY91" fmla="*/ 201837 h 2095135"/>
              <a:gd name="csX92" fmla="*/ 139834 w 733006"/>
              <a:gd name="csY92" fmla="*/ 201482 h 2095135"/>
              <a:gd name="csX93" fmla="*/ 140812 w 733006"/>
              <a:gd name="csY93" fmla="*/ 204941 h 2095135"/>
              <a:gd name="csX94" fmla="*/ 144631 w 733006"/>
              <a:gd name="csY94" fmla="*/ 217811 h 2095135"/>
              <a:gd name="csX95" fmla="*/ 201241 w 733006"/>
              <a:gd name="csY95" fmla="*/ 373387 h 2095135"/>
              <a:gd name="csX96" fmla="*/ 235971 w 733006"/>
              <a:gd name="csY96" fmla="*/ 504451 h 2095135"/>
              <a:gd name="csX97" fmla="*/ 247475 w 733006"/>
              <a:gd name="csY97" fmla="*/ 513241 h 2095135"/>
              <a:gd name="csX98" fmla="*/ 289066 w 733006"/>
              <a:gd name="csY98" fmla="*/ 511170 h 2095135"/>
              <a:gd name="csX99" fmla="*/ 378229 w 733006"/>
              <a:gd name="csY99" fmla="*/ 511084 h 2095135"/>
              <a:gd name="csX100" fmla="*/ 470850 w 733006"/>
              <a:gd name="csY100" fmla="*/ 516341 h 2095135"/>
              <a:gd name="csX101" fmla="*/ 492933 w 733006"/>
              <a:gd name="csY101" fmla="*/ 497969 h 2095135"/>
              <a:gd name="csX102" fmla="*/ 557617 w 733006"/>
              <a:gd name="csY102" fmla="*/ 280398 h 2095135"/>
              <a:gd name="csX103" fmla="*/ 588788 w 733006"/>
              <a:gd name="csY103" fmla="*/ 200385 h 2095135"/>
              <a:gd name="csX104" fmla="*/ 530958 w 733006"/>
              <a:gd name="csY104" fmla="*/ 232968 h 2095135"/>
              <a:gd name="csX105" fmla="*/ 483823 w 733006"/>
              <a:gd name="csY105" fmla="*/ 190364 h 2095135"/>
              <a:gd name="csX106" fmla="*/ 466649 w 733006"/>
              <a:gd name="csY106" fmla="*/ 209061 h 2095135"/>
              <a:gd name="csX107" fmla="*/ 399941 w 733006"/>
              <a:gd name="csY107" fmla="*/ 216988 h 2095135"/>
              <a:gd name="csX108" fmla="*/ 363018 w 733006"/>
              <a:gd name="csY108" fmla="*/ 179615 h 2095135"/>
              <a:gd name="csX109" fmla="*/ 308839 w 733006"/>
              <a:gd name="csY109" fmla="*/ 227846 h 2095135"/>
              <a:gd name="csX110" fmla="*/ 245077 w 733006"/>
              <a:gd name="csY110" fmla="*/ 192402 h 2095135"/>
              <a:gd name="csX111" fmla="*/ 242829 w 733006"/>
              <a:gd name="csY111" fmla="*/ 198815 h 2095135"/>
              <a:gd name="csX112" fmla="*/ 168452 w 733006"/>
              <a:gd name="csY112" fmla="*/ 219348 h 2095135"/>
              <a:gd name="csX113" fmla="*/ 140694 w 733006"/>
              <a:gd name="csY113" fmla="*/ 201837 h 2095135"/>
              <a:gd name="csX114" fmla="*/ 259999 w 733006"/>
              <a:gd name="csY114" fmla="*/ 966699 h 2095135"/>
              <a:gd name="csX115" fmla="*/ 257072 w 733006"/>
              <a:gd name="csY115" fmla="*/ 1070424 h 2095135"/>
              <a:gd name="csX116" fmla="*/ 251372 w 733006"/>
              <a:gd name="csY116" fmla="*/ 1157618 h 2095135"/>
              <a:gd name="csX117" fmla="*/ 232677 w 733006"/>
              <a:gd name="csY117" fmla="*/ 1320279 h 2095135"/>
              <a:gd name="csX118" fmla="*/ 209182 w 733006"/>
              <a:gd name="csY118" fmla="*/ 1468667 h 2095135"/>
              <a:gd name="csX119" fmla="*/ 175302 w 733006"/>
              <a:gd name="csY119" fmla="*/ 1616623 h 2095135"/>
              <a:gd name="csX120" fmla="*/ 182769 w 733006"/>
              <a:gd name="csY120" fmla="*/ 1629786 h 2095135"/>
              <a:gd name="csX121" fmla="*/ 212156 w 733006"/>
              <a:gd name="csY121" fmla="*/ 1632656 h 2095135"/>
              <a:gd name="csX122" fmla="*/ 351295 w 733006"/>
              <a:gd name="csY122" fmla="*/ 1632801 h 2095135"/>
              <a:gd name="csX123" fmla="*/ 376150 w 733006"/>
              <a:gd name="csY123" fmla="*/ 1608307 h 2095135"/>
              <a:gd name="csX124" fmla="*/ 373450 w 733006"/>
              <a:gd name="csY124" fmla="*/ 1457291 h 2095135"/>
              <a:gd name="csX125" fmla="*/ 370936 w 733006"/>
              <a:gd name="csY125" fmla="*/ 1342736 h 2095135"/>
              <a:gd name="csX126" fmla="*/ 368328 w 733006"/>
              <a:gd name="csY126" fmla="*/ 1203878 h 2095135"/>
              <a:gd name="csX127" fmla="*/ 367836 w 733006"/>
              <a:gd name="csY127" fmla="*/ 813478 h 2095135"/>
              <a:gd name="csX128" fmla="*/ 365240 w 733006"/>
              <a:gd name="csY128" fmla="*/ 773243 h 2095135"/>
              <a:gd name="csX129" fmla="*/ 353084 w 733006"/>
              <a:gd name="csY129" fmla="*/ 762083 h 2095135"/>
              <a:gd name="csX130" fmla="*/ 280966 w 733006"/>
              <a:gd name="csY130" fmla="*/ 759855 h 2095135"/>
              <a:gd name="csX131" fmla="*/ 259965 w 733006"/>
              <a:gd name="csY131" fmla="*/ 779553 h 2095135"/>
              <a:gd name="csX132" fmla="*/ 262341 w 733006"/>
              <a:gd name="csY132" fmla="*/ 856275 h 2095135"/>
              <a:gd name="csX133" fmla="*/ 259999 w 733006"/>
              <a:gd name="csY133" fmla="*/ 966699 h 2095135"/>
              <a:gd name="csX134" fmla="*/ 55556 w 733006"/>
              <a:gd name="csY134" fmla="*/ 1835827 h 2095135"/>
              <a:gd name="csX135" fmla="*/ 49393 w 733006"/>
              <a:gd name="csY135" fmla="*/ 1878155 h 2095135"/>
              <a:gd name="csX136" fmla="*/ 73949 w 733006"/>
              <a:gd name="csY136" fmla="*/ 1905781 h 2095135"/>
              <a:gd name="csX137" fmla="*/ 110073 w 733006"/>
              <a:gd name="csY137" fmla="*/ 1909068 h 2095135"/>
              <a:gd name="csX138" fmla="*/ 224745 w 733006"/>
              <a:gd name="csY138" fmla="*/ 1921652 h 2095135"/>
              <a:gd name="csX139" fmla="*/ 347327 w 733006"/>
              <a:gd name="csY139" fmla="*/ 1924778 h 2095135"/>
              <a:gd name="csX140" fmla="*/ 363345 w 733006"/>
              <a:gd name="csY140" fmla="*/ 1923293 h 2095135"/>
              <a:gd name="csX141" fmla="*/ 373787 w 733006"/>
              <a:gd name="csY141" fmla="*/ 1911200 h 2095135"/>
              <a:gd name="csX142" fmla="*/ 376623 w 733006"/>
              <a:gd name="csY142" fmla="*/ 1696741 h 2095135"/>
              <a:gd name="csX143" fmla="*/ 360437 w 733006"/>
              <a:gd name="csY143" fmla="*/ 1681289 h 2095135"/>
              <a:gd name="csX144" fmla="*/ 263503 w 733006"/>
              <a:gd name="csY144" fmla="*/ 1678179 h 2095135"/>
              <a:gd name="csX145" fmla="*/ 160381 w 733006"/>
              <a:gd name="csY145" fmla="*/ 1670405 h 2095135"/>
              <a:gd name="csX146" fmla="*/ 143321 w 733006"/>
              <a:gd name="csY146" fmla="*/ 1685538 h 2095135"/>
              <a:gd name="csX147" fmla="*/ 124769 w 733006"/>
              <a:gd name="csY147" fmla="*/ 1738195 h 2095135"/>
              <a:gd name="csX148" fmla="*/ 90593 w 733006"/>
              <a:gd name="csY148" fmla="*/ 1779570 h 2095135"/>
              <a:gd name="csX149" fmla="*/ 55556 w 733006"/>
              <a:gd name="csY149" fmla="*/ 1835827 h 2095135"/>
              <a:gd name="csX150" fmla="*/ 378900 w 733006"/>
              <a:gd name="csY150" fmla="*/ 2007280 h 2095135"/>
              <a:gd name="csX151" fmla="*/ 378887 w 733006"/>
              <a:gd name="csY151" fmla="*/ 1995127 h 2095135"/>
              <a:gd name="csX152" fmla="*/ 359084 w 733006"/>
              <a:gd name="csY152" fmla="*/ 1975964 h 2095135"/>
              <a:gd name="csX153" fmla="*/ 247288 w 733006"/>
              <a:gd name="csY153" fmla="*/ 1973305 h 2095135"/>
              <a:gd name="csX154" fmla="*/ 201692 w 733006"/>
              <a:gd name="csY154" fmla="*/ 1970275 h 2095135"/>
              <a:gd name="csX155" fmla="*/ 57962 w 733006"/>
              <a:gd name="csY155" fmla="*/ 1952648 h 2095135"/>
              <a:gd name="csX156" fmla="*/ 39194 w 733006"/>
              <a:gd name="csY156" fmla="*/ 1963552 h 2095135"/>
              <a:gd name="csX157" fmla="*/ 30066 w 733006"/>
              <a:gd name="csY157" fmla="*/ 2006631 h 2095135"/>
              <a:gd name="csX158" fmla="*/ 40232 w 733006"/>
              <a:gd name="csY158" fmla="*/ 2019486 h 2095135"/>
              <a:gd name="csX159" fmla="*/ 238186 w 733006"/>
              <a:gd name="csY159" fmla="*/ 2046096 h 2095135"/>
              <a:gd name="csX160" fmla="*/ 342155 w 733006"/>
              <a:gd name="csY160" fmla="*/ 2046441 h 2095135"/>
              <a:gd name="csX161" fmla="*/ 378900 w 733006"/>
              <a:gd name="csY161" fmla="*/ 2007280 h 2095135"/>
              <a:gd name="csX162" fmla="*/ 310220 w 733006"/>
              <a:gd name="csY162" fmla="*/ 554288 h 2095135"/>
              <a:gd name="csX163" fmla="*/ 259136 w 733006"/>
              <a:gd name="csY163" fmla="*/ 556881 h 2095135"/>
              <a:gd name="csX164" fmla="*/ 249085 w 733006"/>
              <a:gd name="csY164" fmla="*/ 567981 h 2095135"/>
              <a:gd name="csX165" fmla="*/ 249141 w 733006"/>
              <a:gd name="csY165" fmla="*/ 605644 h 2095135"/>
              <a:gd name="csX166" fmla="*/ 262628 w 733006"/>
              <a:gd name="csY166" fmla="*/ 605627 h 2095135"/>
              <a:gd name="csX167" fmla="*/ 369608 w 733006"/>
              <a:gd name="csY167" fmla="*/ 603027 h 2095135"/>
              <a:gd name="csX168" fmla="*/ 463931 w 733006"/>
              <a:gd name="csY168" fmla="*/ 605146 h 2095135"/>
              <a:gd name="csX169" fmla="*/ 478113 w 733006"/>
              <a:gd name="csY169" fmla="*/ 595843 h 2095135"/>
              <a:gd name="csX170" fmla="*/ 478796 w 733006"/>
              <a:gd name="csY170" fmla="*/ 556832 h 2095135"/>
              <a:gd name="csX171" fmla="*/ 310220 w 733006"/>
              <a:gd name="csY171" fmla="*/ 554288 h 2095135"/>
              <a:gd name="csX172" fmla="*/ 348836 w 733006"/>
              <a:gd name="csY172" fmla="*/ 684115 h 2095135"/>
              <a:gd name="csX173" fmla="*/ 281333 w 733006"/>
              <a:gd name="csY173" fmla="*/ 683313 h 2095135"/>
              <a:gd name="csX174" fmla="*/ 212728 w 733006"/>
              <a:gd name="csY174" fmla="*/ 681931 h 2095135"/>
              <a:gd name="csX175" fmla="*/ 187283 w 733006"/>
              <a:gd name="csY175" fmla="*/ 689555 h 2095135"/>
              <a:gd name="csX176" fmla="*/ 186163 w 733006"/>
              <a:gd name="csY176" fmla="*/ 718266 h 2095135"/>
              <a:gd name="csX177" fmla="*/ 209894 w 733006"/>
              <a:gd name="csY177" fmla="*/ 726798 h 2095135"/>
              <a:gd name="csX178" fmla="*/ 334814 w 733006"/>
              <a:gd name="csY178" fmla="*/ 732494 h 2095135"/>
              <a:gd name="csX179" fmla="*/ 364856 w 733006"/>
              <a:gd name="csY179" fmla="*/ 707963 h 2095135"/>
              <a:gd name="csX180" fmla="*/ 348836 w 733006"/>
              <a:gd name="csY180" fmla="*/ 684115 h 2095135"/>
              <a:gd name="csX181" fmla="*/ 298865 w 733006"/>
              <a:gd name="csY181" fmla="*/ 621954 h 2095135"/>
              <a:gd name="csX182" fmla="*/ 251619 w 733006"/>
              <a:gd name="csY182" fmla="*/ 622133 h 2095135"/>
              <a:gd name="csX183" fmla="*/ 214459 w 733006"/>
              <a:gd name="csY183" fmla="*/ 636230 h 2095135"/>
              <a:gd name="csX184" fmla="*/ 221436 w 733006"/>
              <a:gd name="csY184" fmla="*/ 654205 h 2095135"/>
              <a:gd name="csX185" fmla="*/ 272412 w 733006"/>
              <a:gd name="csY185" fmla="*/ 657250 h 2095135"/>
              <a:gd name="csX186" fmla="*/ 349094 w 733006"/>
              <a:gd name="csY186" fmla="*/ 659282 h 2095135"/>
              <a:gd name="csX187" fmla="*/ 362996 w 733006"/>
              <a:gd name="csY187" fmla="*/ 644234 h 2095135"/>
              <a:gd name="csX188" fmla="*/ 348472 w 733006"/>
              <a:gd name="csY188" fmla="*/ 624649 h 2095135"/>
              <a:gd name="csX189" fmla="*/ 298865 w 733006"/>
              <a:gd name="csY189" fmla="*/ 621954 h 2095135"/>
              <a:gd name="csX190" fmla="*/ 227796 w 733006"/>
              <a:gd name="csY190" fmla="*/ 528000 h 2095135"/>
              <a:gd name="csX191" fmla="*/ 241009 w 733006"/>
              <a:gd name="csY191" fmla="*/ 545897 h 2095135"/>
              <a:gd name="csX192" fmla="*/ 282607 w 733006"/>
              <a:gd name="csY192" fmla="*/ 543480 h 2095135"/>
              <a:gd name="csX193" fmla="*/ 354213 w 733006"/>
              <a:gd name="csY193" fmla="*/ 543384 h 2095135"/>
              <a:gd name="csX194" fmla="*/ 365334 w 733006"/>
              <a:gd name="csY194" fmla="*/ 533397 h 2095135"/>
              <a:gd name="csX195" fmla="*/ 354531 w 733006"/>
              <a:gd name="csY195" fmla="*/ 521620 h 2095135"/>
              <a:gd name="csX196" fmla="*/ 259169 w 733006"/>
              <a:gd name="csY196" fmla="*/ 521978 h 2095135"/>
              <a:gd name="csX197" fmla="*/ 227796 w 733006"/>
              <a:gd name="csY197" fmla="*/ 528000 h 2095135"/>
              <a:gd name="csX198" fmla="*/ 508068 w 733006"/>
              <a:gd name="csY198" fmla="*/ 190710 h 2095135"/>
              <a:gd name="csX199" fmla="*/ 521293 w 733006"/>
              <a:gd name="csY199" fmla="*/ 205907 h 2095135"/>
              <a:gd name="csX200" fmla="*/ 525175 w 733006"/>
              <a:gd name="csY200" fmla="*/ 202985 h 2095135"/>
              <a:gd name="csX201" fmla="*/ 500276 w 733006"/>
              <a:gd name="csY201" fmla="*/ 160640 h 2095135"/>
              <a:gd name="csX202" fmla="*/ 497122 w 733006"/>
              <a:gd name="csY202" fmla="*/ 162007 h 2095135"/>
              <a:gd name="csX203" fmla="*/ 508068 w 733006"/>
              <a:gd name="csY203" fmla="*/ 190710 h 2095135"/>
              <a:gd name="csX204" fmla="*/ 215522 w 733006"/>
              <a:gd name="csY204" fmla="*/ 197296 h 2095135"/>
              <a:gd name="csX205" fmla="*/ 234029 w 733006"/>
              <a:gd name="csY205" fmla="*/ 162725 h 2095135"/>
              <a:gd name="csX206" fmla="*/ 229000 w 733006"/>
              <a:gd name="csY206" fmla="*/ 159902 h 2095135"/>
              <a:gd name="csX207" fmla="*/ 204824 w 733006"/>
              <a:gd name="csY207" fmla="*/ 199677 h 2095135"/>
              <a:gd name="csX208" fmla="*/ 207990 w 733006"/>
              <a:gd name="csY208" fmla="*/ 202198 h 2095135"/>
              <a:gd name="csX209" fmla="*/ 215522 w 733006"/>
              <a:gd name="csY209" fmla="*/ 197296 h 2095135"/>
              <a:gd name="csX210" fmla="*/ 484400 w 733006"/>
              <a:gd name="csY210" fmla="*/ 896678 h 2095135"/>
              <a:gd name="csX211" fmla="*/ 486181 w 733006"/>
              <a:gd name="csY211" fmla="*/ 896585 h 2095135"/>
              <a:gd name="csX212" fmla="*/ 486181 w 733006"/>
              <a:gd name="csY212" fmla="*/ 795289 h 2095135"/>
              <a:gd name="csX213" fmla="*/ 720241 w 733006"/>
              <a:gd name="csY213" fmla="*/ 2030666 h 2095135"/>
              <a:gd name="csX214" fmla="*/ 721175 w 733006"/>
              <a:gd name="csY214" fmla="*/ 2029733 h 2095135"/>
              <a:gd name="csX215" fmla="*/ 720241 w 733006"/>
              <a:gd name="csY215" fmla="*/ 2030666 h 2095135"/>
              <a:gd name="csX0" fmla="*/ 96263 w 733006"/>
              <a:gd name="csY0" fmla="*/ 2076207 h 2095135"/>
              <a:gd name="csX1" fmla="*/ 63862 w 733006"/>
              <a:gd name="csY1" fmla="*/ 2065388 h 2095135"/>
              <a:gd name="csX2" fmla="*/ 16555 w 733006"/>
              <a:gd name="csY2" fmla="*/ 2050152 h 2095135"/>
              <a:gd name="csX3" fmla="*/ 15 w 733006"/>
              <a:gd name="csY3" fmla="*/ 2023802 h 2095135"/>
              <a:gd name="csX4" fmla="*/ 18368 w 733006"/>
              <a:gd name="csY4" fmla="*/ 1940709 h 2095135"/>
              <a:gd name="csX5" fmla="*/ 22139 w 733006"/>
              <a:gd name="csY5" fmla="*/ 1907268 h 2095135"/>
              <a:gd name="csX6" fmla="*/ 57941 w 733006"/>
              <a:gd name="csY6" fmla="*/ 1774163 h 2095135"/>
              <a:gd name="csX7" fmla="*/ 102478 w 733006"/>
              <a:gd name="csY7" fmla="*/ 1720275 h 2095135"/>
              <a:gd name="csX8" fmla="*/ 108579 w 733006"/>
              <a:gd name="csY8" fmla="*/ 1650967 h 2095135"/>
              <a:gd name="csX9" fmla="*/ 115628 w 733006"/>
              <a:gd name="csY9" fmla="*/ 1625405 h 2095135"/>
              <a:gd name="csX10" fmla="*/ 156323 w 733006"/>
              <a:gd name="csY10" fmla="*/ 1560181 h 2095135"/>
              <a:gd name="csX11" fmla="*/ 199424 w 733006"/>
              <a:gd name="csY11" fmla="*/ 1364729 h 2095135"/>
              <a:gd name="csX12" fmla="*/ 216779 w 733006"/>
              <a:gd name="csY12" fmla="*/ 1219490 h 2095135"/>
              <a:gd name="csX13" fmla="*/ 229755 w 733006"/>
              <a:gd name="csY13" fmla="*/ 1099357 h 2095135"/>
              <a:gd name="csX14" fmla="*/ 232707 w 733006"/>
              <a:gd name="csY14" fmla="*/ 1056423 h 2095135"/>
              <a:gd name="csX15" fmla="*/ 235622 w 733006"/>
              <a:gd name="csY15" fmla="*/ 952675 h 2095135"/>
              <a:gd name="csX16" fmla="*/ 235445 w 733006"/>
              <a:gd name="csY16" fmla="*/ 780278 h 2095135"/>
              <a:gd name="csX17" fmla="*/ 214544 w 733006"/>
              <a:gd name="csY17" fmla="*/ 756435 h 2095135"/>
              <a:gd name="csX18" fmla="*/ 172569 w 733006"/>
              <a:gd name="csY18" fmla="*/ 742582 h 2095135"/>
              <a:gd name="csX19" fmla="*/ 168784 w 733006"/>
              <a:gd name="csY19" fmla="*/ 669116 h 2095135"/>
              <a:gd name="csX20" fmla="*/ 191657 w 733006"/>
              <a:gd name="csY20" fmla="*/ 630765 h 2095135"/>
              <a:gd name="csX21" fmla="*/ 208150 w 733006"/>
              <a:gd name="csY21" fmla="*/ 609084 h 2095135"/>
              <a:gd name="csX22" fmla="*/ 216756 w 733006"/>
              <a:gd name="csY22" fmla="*/ 558673 h 2095135"/>
              <a:gd name="csX23" fmla="*/ 209092 w 733006"/>
              <a:gd name="csY23" fmla="*/ 521540 h 2095135"/>
              <a:gd name="csX24" fmla="*/ 204683 w 733006"/>
              <a:gd name="csY24" fmla="*/ 474024 h 2095135"/>
              <a:gd name="csX25" fmla="*/ 115483 w 733006"/>
              <a:gd name="csY25" fmla="*/ 213499 h 2095135"/>
              <a:gd name="csX26" fmla="*/ 102909 w 733006"/>
              <a:gd name="csY26" fmla="*/ 182297 h 2095135"/>
              <a:gd name="csX27" fmla="*/ 104315 w 733006"/>
              <a:gd name="csY27" fmla="*/ 163968 h 2095135"/>
              <a:gd name="csX28" fmla="*/ 122444 w 733006"/>
              <a:gd name="csY28" fmla="*/ 160805 h 2095135"/>
              <a:gd name="csX29" fmla="*/ 170283 w 733006"/>
              <a:gd name="csY29" fmla="*/ 187783 h 2095135"/>
              <a:gd name="csX30" fmla="*/ 180938 w 733006"/>
              <a:gd name="csY30" fmla="*/ 195322 h 2095135"/>
              <a:gd name="csX31" fmla="*/ 221419 w 733006"/>
              <a:gd name="csY31" fmla="*/ 138058 h 2095135"/>
              <a:gd name="csX32" fmla="*/ 294099 w 733006"/>
              <a:gd name="csY32" fmla="*/ 91372 h 2095135"/>
              <a:gd name="csX33" fmla="*/ 302307 w 733006"/>
              <a:gd name="csY33" fmla="*/ 76560 h 2095135"/>
              <a:gd name="csX34" fmla="*/ 320284 w 733006"/>
              <a:gd name="csY34" fmla="*/ 8414 h 2095135"/>
              <a:gd name="csX35" fmla="*/ 324784 w 733006"/>
              <a:gd name="csY35" fmla="*/ 946 h 2095135"/>
              <a:gd name="csX36" fmla="*/ 399212 w 733006"/>
              <a:gd name="csY36" fmla="*/ 0 h 2095135"/>
              <a:gd name="csX37" fmla="*/ 425980 w 733006"/>
              <a:gd name="csY37" fmla="*/ 78301 h 2095135"/>
              <a:gd name="csX38" fmla="*/ 431861 w 733006"/>
              <a:gd name="csY38" fmla="*/ 90312 h 2095135"/>
              <a:gd name="csX39" fmla="*/ 540349 w 733006"/>
              <a:gd name="csY39" fmla="*/ 187946 h 2095135"/>
              <a:gd name="csX40" fmla="*/ 545555 w 733006"/>
              <a:gd name="csY40" fmla="*/ 197828 h 2095135"/>
              <a:gd name="csX41" fmla="*/ 587318 w 733006"/>
              <a:gd name="csY41" fmla="*/ 171260 h 2095135"/>
              <a:gd name="csX42" fmla="*/ 601503 w 733006"/>
              <a:gd name="csY42" fmla="*/ 163707 h 2095135"/>
              <a:gd name="csX43" fmla="*/ 625254 w 733006"/>
              <a:gd name="csY43" fmla="*/ 163123 h 2095135"/>
              <a:gd name="csX44" fmla="*/ 625468 w 733006"/>
              <a:gd name="csY44" fmla="*/ 187579 h 2095135"/>
              <a:gd name="csX45" fmla="*/ 597543 w 733006"/>
              <a:gd name="csY45" fmla="*/ 251872 h 2095135"/>
              <a:gd name="csX46" fmla="*/ 531831 w 733006"/>
              <a:gd name="csY46" fmla="*/ 442689 h 2095135"/>
              <a:gd name="csX47" fmla="*/ 519888 w 733006"/>
              <a:gd name="csY47" fmla="*/ 501474 h 2095135"/>
              <a:gd name="csX48" fmla="*/ 522506 w 733006"/>
              <a:gd name="csY48" fmla="*/ 525086 h 2095135"/>
              <a:gd name="csX49" fmla="*/ 516235 w 733006"/>
              <a:gd name="csY49" fmla="*/ 555946 h 2095135"/>
              <a:gd name="csX50" fmla="*/ 521332 w 733006"/>
              <a:gd name="csY50" fmla="*/ 610676 h 2095135"/>
              <a:gd name="csX51" fmla="*/ 541382 w 733006"/>
              <a:gd name="csY51" fmla="*/ 642597 h 2095135"/>
              <a:gd name="csX52" fmla="*/ 557031 w 733006"/>
              <a:gd name="csY52" fmla="*/ 667949 h 2095135"/>
              <a:gd name="csX53" fmla="*/ 553994 w 733006"/>
              <a:gd name="csY53" fmla="*/ 744146 h 2095135"/>
              <a:gd name="csX54" fmla="*/ 508215 w 733006"/>
              <a:gd name="csY54" fmla="*/ 758841 h 2095135"/>
              <a:gd name="csX55" fmla="*/ 497442 w 733006"/>
              <a:gd name="csY55" fmla="*/ 771256 h 2095135"/>
              <a:gd name="csX56" fmla="*/ 493005 w 733006"/>
              <a:gd name="csY56" fmla="*/ 922055 h 2095135"/>
              <a:gd name="csX57" fmla="*/ 502900 w 733006"/>
              <a:gd name="csY57" fmla="*/ 1114191 h 2095135"/>
              <a:gd name="csX58" fmla="*/ 508800 w 733006"/>
              <a:gd name="csY58" fmla="*/ 1205474 h 2095135"/>
              <a:gd name="csX59" fmla="*/ 522952 w 733006"/>
              <a:gd name="csY59" fmla="*/ 1320065 h 2095135"/>
              <a:gd name="csX60" fmla="*/ 554682 w 733006"/>
              <a:gd name="csY60" fmla="*/ 1501203 h 2095135"/>
              <a:gd name="csX61" fmla="*/ 576958 w 733006"/>
              <a:gd name="csY61" fmla="*/ 1593963 h 2095135"/>
              <a:gd name="csX62" fmla="*/ 595349 w 733006"/>
              <a:gd name="csY62" fmla="*/ 1613498 h 2095135"/>
              <a:gd name="csX63" fmla="*/ 613936 w 733006"/>
              <a:gd name="csY63" fmla="*/ 1624058 h 2095135"/>
              <a:gd name="csX64" fmla="*/ 620938 w 733006"/>
              <a:gd name="csY64" fmla="*/ 1652071 h 2095135"/>
              <a:gd name="csX65" fmla="*/ 630805 w 733006"/>
              <a:gd name="csY65" fmla="*/ 1721702 h 2095135"/>
              <a:gd name="csX66" fmla="*/ 685830 w 733006"/>
              <a:gd name="csY66" fmla="*/ 1792915 h 2095135"/>
              <a:gd name="csX67" fmla="*/ 708904 w 733006"/>
              <a:gd name="csY67" fmla="*/ 1890290 h 2095135"/>
              <a:gd name="csX68" fmla="*/ 716580 w 733006"/>
              <a:gd name="csY68" fmla="*/ 1951136 h 2095135"/>
              <a:gd name="csX69" fmla="*/ 729397 w 733006"/>
              <a:gd name="csY69" fmla="*/ 2030261 h 2095135"/>
              <a:gd name="csX70" fmla="*/ 714212 w 733006"/>
              <a:gd name="csY70" fmla="*/ 2049544 h 2095135"/>
              <a:gd name="csX71" fmla="*/ 96263 w 733006"/>
              <a:gd name="csY71" fmla="*/ 2076207 h 2095135"/>
              <a:gd name="csX72" fmla="*/ 489970 w 733006"/>
              <a:gd name="csY72" fmla="*/ 152208 h 2095135"/>
              <a:gd name="csX73" fmla="*/ 490754 w 733006"/>
              <a:gd name="csY73" fmla="*/ 152592 h 2095135"/>
              <a:gd name="csX74" fmla="*/ 489489 w 733006"/>
              <a:gd name="csY74" fmla="*/ 149547 h 2095135"/>
              <a:gd name="csX75" fmla="*/ 393621 w 733006"/>
              <a:gd name="csY75" fmla="*/ 99259 h 2095135"/>
              <a:gd name="csX76" fmla="*/ 390419 w 733006"/>
              <a:gd name="csY76" fmla="*/ 18568 h 2095135"/>
              <a:gd name="csX77" fmla="*/ 334131 w 733006"/>
              <a:gd name="csY77" fmla="*/ 24327 h 2095135"/>
              <a:gd name="csX78" fmla="*/ 344678 w 733006"/>
              <a:gd name="csY78" fmla="*/ 101259 h 2095135"/>
              <a:gd name="csX79" fmla="*/ 298854 w 733006"/>
              <a:gd name="csY79" fmla="*/ 114003 h 2095135"/>
              <a:gd name="csX80" fmla="*/ 237456 w 733006"/>
              <a:gd name="csY80" fmla="*/ 154340 h 2095135"/>
              <a:gd name="csX81" fmla="*/ 240382 w 733006"/>
              <a:gd name="csY81" fmla="*/ 154035 h 2095135"/>
              <a:gd name="csX82" fmla="*/ 262731 w 733006"/>
              <a:gd name="csY82" fmla="*/ 170426 h 2095135"/>
              <a:gd name="csX83" fmla="*/ 279169 w 733006"/>
              <a:gd name="csY83" fmla="*/ 193173 h 2095135"/>
              <a:gd name="csX84" fmla="*/ 327717 w 733006"/>
              <a:gd name="csY84" fmla="*/ 188556 h 2095135"/>
              <a:gd name="csX85" fmla="*/ 348052 w 733006"/>
              <a:gd name="csY85" fmla="*/ 156919 h 2095135"/>
              <a:gd name="csX86" fmla="*/ 380330 w 733006"/>
              <a:gd name="csY86" fmla="*/ 156483 h 2095135"/>
              <a:gd name="csX87" fmla="*/ 408490 w 733006"/>
              <a:gd name="csY87" fmla="*/ 195400 h 2095135"/>
              <a:gd name="csX88" fmla="*/ 445346 w 733006"/>
              <a:gd name="csY88" fmla="*/ 197582 h 2095135"/>
              <a:gd name="csX89" fmla="*/ 464798 w 733006"/>
              <a:gd name="csY89" fmla="*/ 174107 h 2095135"/>
              <a:gd name="csX90" fmla="*/ 489970 w 733006"/>
              <a:gd name="csY90" fmla="*/ 152208 h 2095135"/>
              <a:gd name="csX91" fmla="*/ 140694 w 733006"/>
              <a:gd name="csY91" fmla="*/ 201837 h 2095135"/>
              <a:gd name="csX92" fmla="*/ 139834 w 733006"/>
              <a:gd name="csY92" fmla="*/ 201482 h 2095135"/>
              <a:gd name="csX93" fmla="*/ 140812 w 733006"/>
              <a:gd name="csY93" fmla="*/ 204941 h 2095135"/>
              <a:gd name="csX94" fmla="*/ 144631 w 733006"/>
              <a:gd name="csY94" fmla="*/ 217811 h 2095135"/>
              <a:gd name="csX95" fmla="*/ 201241 w 733006"/>
              <a:gd name="csY95" fmla="*/ 373387 h 2095135"/>
              <a:gd name="csX96" fmla="*/ 235971 w 733006"/>
              <a:gd name="csY96" fmla="*/ 504451 h 2095135"/>
              <a:gd name="csX97" fmla="*/ 247475 w 733006"/>
              <a:gd name="csY97" fmla="*/ 513241 h 2095135"/>
              <a:gd name="csX98" fmla="*/ 289066 w 733006"/>
              <a:gd name="csY98" fmla="*/ 511170 h 2095135"/>
              <a:gd name="csX99" fmla="*/ 378229 w 733006"/>
              <a:gd name="csY99" fmla="*/ 511084 h 2095135"/>
              <a:gd name="csX100" fmla="*/ 470850 w 733006"/>
              <a:gd name="csY100" fmla="*/ 516341 h 2095135"/>
              <a:gd name="csX101" fmla="*/ 492933 w 733006"/>
              <a:gd name="csY101" fmla="*/ 497969 h 2095135"/>
              <a:gd name="csX102" fmla="*/ 557617 w 733006"/>
              <a:gd name="csY102" fmla="*/ 280398 h 2095135"/>
              <a:gd name="csX103" fmla="*/ 588788 w 733006"/>
              <a:gd name="csY103" fmla="*/ 200385 h 2095135"/>
              <a:gd name="csX104" fmla="*/ 530958 w 733006"/>
              <a:gd name="csY104" fmla="*/ 232968 h 2095135"/>
              <a:gd name="csX105" fmla="*/ 483823 w 733006"/>
              <a:gd name="csY105" fmla="*/ 190364 h 2095135"/>
              <a:gd name="csX106" fmla="*/ 466649 w 733006"/>
              <a:gd name="csY106" fmla="*/ 209061 h 2095135"/>
              <a:gd name="csX107" fmla="*/ 399941 w 733006"/>
              <a:gd name="csY107" fmla="*/ 216988 h 2095135"/>
              <a:gd name="csX108" fmla="*/ 363018 w 733006"/>
              <a:gd name="csY108" fmla="*/ 179615 h 2095135"/>
              <a:gd name="csX109" fmla="*/ 308839 w 733006"/>
              <a:gd name="csY109" fmla="*/ 227846 h 2095135"/>
              <a:gd name="csX110" fmla="*/ 245077 w 733006"/>
              <a:gd name="csY110" fmla="*/ 192402 h 2095135"/>
              <a:gd name="csX111" fmla="*/ 242829 w 733006"/>
              <a:gd name="csY111" fmla="*/ 198815 h 2095135"/>
              <a:gd name="csX112" fmla="*/ 168452 w 733006"/>
              <a:gd name="csY112" fmla="*/ 219348 h 2095135"/>
              <a:gd name="csX113" fmla="*/ 140694 w 733006"/>
              <a:gd name="csY113" fmla="*/ 201837 h 2095135"/>
              <a:gd name="csX114" fmla="*/ 259999 w 733006"/>
              <a:gd name="csY114" fmla="*/ 966699 h 2095135"/>
              <a:gd name="csX115" fmla="*/ 257072 w 733006"/>
              <a:gd name="csY115" fmla="*/ 1070424 h 2095135"/>
              <a:gd name="csX116" fmla="*/ 251372 w 733006"/>
              <a:gd name="csY116" fmla="*/ 1157618 h 2095135"/>
              <a:gd name="csX117" fmla="*/ 232677 w 733006"/>
              <a:gd name="csY117" fmla="*/ 1320279 h 2095135"/>
              <a:gd name="csX118" fmla="*/ 209182 w 733006"/>
              <a:gd name="csY118" fmla="*/ 1468667 h 2095135"/>
              <a:gd name="csX119" fmla="*/ 175302 w 733006"/>
              <a:gd name="csY119" fmla="*/ 1616623 h 2095135"/>
              <a:gd name="csX120" fmla="*/ 182769 w 733006"/>
              <a:gd name="csY120" fmla="*/ 1629786 h 2095135"/>
              <a:gd name="csX121" fmla="*/ 212156 w 733006"/>
              <a:gd name="csY121" fmla="*/ 1632656 h 2095135"/>
              <a:gd name="csX122" fmla="*/ 351295 w 733006"/>
              <a:gd name="csY122" fmla="*/ 1632801 h 2095135"/>
              <a:gd name="csX123" fmla="*/ 376150 w 733006"/>
              <a:gd name="csY123" fmla="*/ 1608307 h 2095135"/>
              <a:gd name="csX124" fmla="*/ 373450 w 733006"/>
              <a:gd name="csY124" fmla="*/ 1457291 h 2095135"/>
              <a:gd name="csX125" fmla="*/ 370936 w 733006"/>
              <a:gd name="csY125" fmla="*/ 1342736 h 2095135"/>
              <a:gd name="csX126" fmla="*/ 368328 w 733006"/>
              <a:gd name="csY126" fmla="*/ 1203878 h 2095135"/>
              <a:gd name="csX127" fmla="*/ 367836 w 733006"/>
              <a:gd name="csY127" fmla="*/ 813478 h 2095135"/>
              <a:gd name="csX128" fmla="*/ 365240 w 733006"/>
              <a:gd name="csY128" fmla="*/ 773243 h 2095135"/>
              <a:gd name="csX129" fmla="*/ 353084 w 733006"/>
              <a:gd name="csY129" fmla="*/ 762083 h 2095135"/>
              <a:gd name="csX130" fmla="*/ 280966 w 733006"/>
              <a:gd name="csY130" fmla="*/ 759855 h 2095135"/>
              <a:gd name="csX131" fmla="*/ 259965 w 733006"/>
              <a:gd name="csY131" fmla="*/ 779553 h 2095135"/>
              <a:gd name="csX132" fmla="*/ 262341 w 733006"/>
              <a:gd name="csY132" fmla="*/ 856275 h 2095135"/>
              <a:gd name="csX133" fmla="*/ 259999 w 733006"/>
              <a:gd name="csY133" fmla="*/ 966699 h 2095135"/>
              <a:gd name="csX134" fmla="*/ 55556 w 733006"/>
              <a:gd name="csY134" fmla="*/ 1835827 h 2095135"/>
              <a:gd name="csX135" fmla="*/ 49393 w 733006"/>
              <a:gd name="csY135" fmla="*/ 1878155 h 2095135"/>
              <a:gd name="csX136" fmla="*/ 73949 w 733006"/>
              <a:gd name="csY136" fmla="*/ 1905781 h 2095135"/>
              <a:gd name="csX137" fmla="*/ 110073 w 733006"/>
              <a:gd name="csY137" fmla="*/ 1909068 h 2095135"/>
              <a:gd name="csX138" fmla="*/ 224745 w 733006"/>
              <a:gd name="csY138" fmla="*/ 1921652 h 2095135"/>
              <a:gd name="csX139" fmla="*/ 347327 w 733006"/>
              <a:gd name="csY139" fmla="*/ 1924778 h 2095135"/>
              <a:gd name="csX140" fmla="*/ 363345 w 733006"/>
              <a:gd name="csY140" fmla="*/ 1923293 h 2095135"/>
              <a:gd name="csX141" fmla="*/ 373787 w 733006"/>
              <a:gd name="csY141" fmla="*/ 1911200 h 2095135"/>
              <a:gd name="csX142" fmla="*/ 376623 w 733006"/>
              <a:gd name="csY142" fmla="*/ 1696741 h 2095135"/>
              <a:gd name="csX143" fmla="*/ 360437 w 733006"/>
              <a:gd name="csY143" fmla="*/ 1681289 h 2095135"/>
              <a:gd name="csX144" fmla="*/ 263503 w 733006"/>
              <a:gd name="csY144" fmla="*/ 1678179 h 2095135"/>
              <a:gd name="csX145" fmla="*/ 160381 w 733006"/>
              <a:gd name="csY145" fmla="*/ 1670405 h 2095135"/>
              <a:gd name="csX146" fmla="*/ 143321 w 733006"/>
              <a:gd name="csY146" fmla="*/ 1685538 h 2095135"/>
              <a:gd name="csX147" fmla="*/ 124769 w 733006"/>
              <a:gd name="csY147" fmla="*/ 1738195 h 2095135"/>
              <a:gd name="csX148" fmla="*/ 90593 w 733006"/>
              <a:gd name="csY148" fmla="*/ 1779570 h 2095135"/>
              <a:gd name="csX149" fmla="*/ 55556 w 733006"/>
              <a:gd name="csY149" fmla="*/ 1835827 h 2095135"/>
              <a:gd name="csX150" fmla="*/ 378900 w 733006"/>
              <a:gd name="csY150" fmla="*/ 2007280 h 2095135"/>
              <a:gd name="csX151" fmla="*/ 378887 w 733006"/>
              <a:gd name="csY151" fmla="*/ 1995127 h 2095135"/>
              <a:gd name="csX152" fmla="*/ 359084 w 733006"/>
              <a:gd name="csY152" fmla="*/ 1975964 h 2095135"/>
              <a:gd name="csX153" fmla="*/ 247288 w 733006"/>
              <a:gd name="csY153" fmla="*/ 1973305 h 2095135"/>
              <a:gd name="csX154" fmla="*/ 201692 w 733006"/>
              <a:gd name="csY154" fmla="*/ 1970275 h 2095135"/>
              <a:gd name="csX155" fmla="*/ 57962 w 733006"/>
              <a:gd name="csY155" fmla="*/ 1952648 h 2095135"/>
              <a:gd name="csX156" fmla="*/ 39194 w 733006"/>
              <a:gd name="csY156" fmla="*/ 1963552 h 2095135"/>
              <a:gd name="csX157" fmla="*/ 30066 w 733006"/>
              <a:gd name="csY157" fmla="*/ 2006631 h 2095135"/>
              <a:gd name="csX158" fmla="*/ 40232 w 733006"/>
              <a:gd name="csY158" fmla="*/ 2019486 h 2095135"/>
              <a:gd name="csX159" fmla="*/ 238186 w 733006"/>
              <a:gd name="csY159" fmla="*/ 2046096 h 2095135"/>
              <a:gd name="csX160" fmla="*/ 342155 w 733006"/>
              <a:gd name="csY160" fmla="*/ 2046441 h 2095135"/>
              <a:gd name="csX161" fmla="*/ 378900 w 733006"/>
              <a:gd name="csY161" fmla="*/ 2007280 h 2095135"/>
              <a:gd name="csX162" fmla="*/ 310220 w 733006"/>
              <a:gd name="csY162" fmla="*/ 554288 h 2095135"/>
              <a:gd name="csX163" fmla="*/ 259136 w 733006"/>
              <a:gd name="csY163" fmla="*/ 556881 h 2095135"/>
              <a:gd name="csX164" fmla="*/ 249085 w 733006"/>
              <a:gd name="csY164" fmla="*/ 567981 h 2095135"/>
              <a:gd name="csX165" fmla="*/ 249141 w 733006"/>
              <a:gd name="csY165" fmla="*/ 605644 h 2095135"/>
              <a:gd name="csX166" fmla="*/ 262628 w 733006"/>
              <a:gd name="csY166" fmla="*/ 605627 h 2095135"/>
              <a:gd name="csX167" fmla="*/ 369608 w 733006"/>
              <a:gd name="csY167" fmla="*/ 603027 h 2095135"/>
              <a:gd name="csX168" fmla="*/ 463931 w 733006"/>
              <a:gd name="csY168" fmla="*/ 605146 h 2095135"/>
              <a:gd name="csX169" fmla="*/ 478113 w 733006"/>
              <a:gd name="csY169" fmla="*/ 595843 h 2095135"/>
              <a:gd name="csX170" fmla="*/ 478796 w 733006"/>
              <a:gd name="csY170" fmla="*/ 556832 h 2095135"/>
              <a:gd name="csX171" fmla="*/ 310220 w 733006"/>
              <a:gd name="csY171" fmla="*/ 554288 h 2095135"/>
              <a:gd name="csX172" fmla="*/ 348836 w 733006"/>
              <a:gd name="csY172" fmla="*/ 684115 h 2095135"/>
              <a:gd name="csX173" fmla="*/ 281333 w 733006"/>
              <a:gd name="csY173" fmla="*/ 683313 h 2095135"/>
              <a:gd name="csX174" fmla="*/ 212728 w 733006"/>
              <a:gd name="csY174" fmla="*/ 681931 h 2095135"/>
              <a:gd name="csX175" fmla="*/ 187283 w 733006"/>
              <a:gd name="csY175" fmla="*/ 689555 h 2095135"/>
              <a:gd name="csX176" fmla="*/ 186163 w 733006"/>
              <a:gd name="csY176" fmla="*/ 718266 h 2095135"/>
              <a:gd name="csX177" fmla="*/ 209894 w 733006"/>
              <a:gd name="csY177" fmla="*/ 726798 h 2095135"/>
              <a:gd name="csX178" fmla="*/ 334814 w 733006"/>
              <a:gd name="csY178" fmla="*/ 732494 h 2095135"/>
              <a:gd name="csX179" fmla="*/ 364856 w 733006"/>
              <a:gd name="csY179" fmla="*/ 707963 h 2095135"/>
              <a:gd name="csX180" fmla="*/ 348836 w 733006"/>
              <a:gd name="csY180" fmla="*/ 684115 h 2095135"/>
              <a:gd name="csX181" fmla="*/ 298865 w 733006"/>
              <a:gd name="csY181" fmla="*/ 621954 h 2095135"/>
              <a:gd name="csX182" fmla="*/ 251619 w 733006"/>
              <a:gd name="csY182" fmla="*/ 622133 h 2095135"/>
              <a:gd name="csX183" fmla="*/ 214459 w 733006"/>
              <a:gd name="csY183" fmla="*/ 636230 h 2095135"/>
              <a:gd name="csX184" fmla="*/ 221436 w 733006"/>
              <a:gd name="csY184" fmla="*/ 654205 h 2095135"/>
              <a:gd name="csX185" fmla="*/ 272412 w 733006"/>
              <a:gd name="csY185" fmla="*/ 657250 h 2095135"/>
              <a:gd name="csX186" fmla="*/ 349094 w 733006"/>
              <a:gd name="csY186" fmla="*/ 659282 h 2095135"/>
              <a:gd name="csX187" fmla="*/ 362996 w 733006"/>
              <a:gd name="csY187" fmla="*/ 644234 h 2095135"/>
              <a:gd name="csX188" fmla="*/ 348472 w 733006"/>
              <a:gd name="csY188" fmla="*/ 624649 h 2095135"/>
              <a:gd name="csX189" fmla="*/ 298865 w 733006"/>
              <a:gd name="csY189" fmla="*/ 621954 h 2095135"/>
              <a:gd name="csX190" fmla="*/ 227796 w 733006"/>
              <a:gd name="csY190" fmla="*/ 528000 h 2095135"/>
              <a:gd name="csX191" fmla="*/ 241009 w 733006"/>
              <a:gd name="csY191" fmla="*/ 545897 h 2095135"/>
              <a:gd name="csX192" fmla="*/ 282607 w 733006"/>
              <a:gd name="csY192" fmla="*/ 543480 h 2095135"/>
              <a:gd name="csX193" fmla="*/ 354213 w 733006"/>
              <a:gd name="csY193" fmla="*/ 543384 h 2095135"/>
              <a:gd name="csX194" fmla="*/ 365334 w 733006"/>
              <a:gd name="csY194" fmla="*/ 533397 h 2095135"/>
              <a:gd name="csX195" fmla="*/ 354531 w 733006"/>
              <a:gd name="csY195" fmla="*/ 521620 h 2095135"/>
              <a:gd name="csX196" fmla="*/ 259169 w 733006"/>
              <a:gd name="csY196" fmla="*/ 521978 h 2095135"/>
              <a:gd name="csX197" fmla="*/ 227796 w 733006"/>
              <a:gd name="csY197" fmla="*/ 528000 h 2095135"/>
              <a:gd name="csX198" fmla="*/ 508068 w 733006"/>
              <a:gd name="csY198" fmla="*/ 190710 h 2095135"/>
              <a:gd name="csX199" fmla="*/ 521293 w 733006"/>
              <a:gd name="csY199" fmla="*/ 205907 h 2095135"/>
              <a:gd name="csX200" fmla="*/ 525175 w 733006"/>
              <a:gd name="csY200" fmla="*/ 202985 h 2095135"/>
              <a:gd name="csX201" fmla="*/ 500276 w 733006"/>
              <a:gd name="csY201" fmla="*/ 160640 h 2095135"/>
              <a:gd name="csX202" fmla="*/ 497122 w 733006"/>
              <a:gd name="csY202" fmla="*/ 162007 h 2095135"/>
              <a:gd name="csX203" fmla="*/ 508068 w 733006"/>
              <a:gd name="csY203" fmla="*/ 190710 h 2095135"/>
              <a:gd name="csX204" fmla="*/ 215522 w 733006"/>
              <a:gd name="csY204" fmla="*/ 197296 h 2095135"/>
              <a:gd name="csX205" fmla="*/ 234029 w 733006"/>
              <a:gd name="csY205" fmla="*/ 162725 h 2095135"/>
              <a:gd name="csX206" fmla="*/ 229000 w 733006"/>
              <a:gd name="csY206" fmla="*/ 159902 h 2095135"/>
              <a:gd name="csX207" fmla="*/ 204824 w 733006"/>
              <a:gd name="csY207" fmla="*/ 199677 h 2095135"/>
              <a:gd name="csX208" fmla="*/ 207990 w 733006"/>
              <a:gd name="csY208" fmla="*/ 202198 h 2095135"/>
              <a:gd name="csX209" fmla="*/ 215522 w 733006"/>
              <a:gd name="csY209" fmla="*/ 197296 h 2095135"/>
              <a:gd name="csX210" fmla="*/ 484400 w 733006"/>
              <a:gd name="csY210" fmla="*/ 896678 h 2095135"/>
              <a:gd name="csX211" fmla="*/ 486181 w 733006"/>
              <a:gd name="csY211" fmla="*/ 896585 h 2095135"/>
              <a:gd name="csX212" fmla="*/ 486181 w 733006"/>
              <a:gd name="csY212" fmla="*/ 795289 h 2095135"/>
              <a:gd name="csX213" fmla="*/ 720241 w 733006"/>
              <a:gd name="csY213" fmla="*/ 2030666 h 2095135"/>
              <a:gd name="csX214" fmla="*/ 721175 w 733006"/>
              <a:gd name="csY214" fmla="*/ 2029733 h 2095135"/>
              <a:gd name="csX0" fmla="*/ 96263 w 733006"/>
              <a:gd name="csY0" fmla="*/ 2076207 h 2095135"/>
              <a:gd name="csX1" fmla="*/ 63862 w 733006"/>
              <a:gd name="csY1" fmla="*/ 2065388 h 2095135"/>
              <a:gd name="csX2" fmla="*/ 16555 w 733006"/>
              <a:gd name="csY2" fmla="*/ 2050152 h 2095135"/>
              <a:gd name="csX3" fmla="*/ 15 w 733006"/>
              <a:gd name="csY3" fmla="*/ 2023802 h 2095135"/>
              <a:gd name="csX4" fmla="*/ 18368 w 733006"/>
              <a:gd name="csY4" fmla="*/ 1940709 h 2095135"/>
              <a:gd name="csX5" fmla="*/ 22139 w 733006"/>
              <a:gd name="csY5" fmla="*/ 1907268 h 2095135"/>
              <a:gd name="csX6" fmla="*/ 57941 w 733006"/>
              <a:gd name="csY6" fmla="*/ 1774163 h 2095135"/>
              <a:gd name="csX7" fmla="*/ 102478 w 733006"/>
              <a:gd name="csY7" fmla="*/ 1720275 h 2095135"/>
              <a:gd name="csX8" fmla="*/ 108579 w 733006"/>
              <a:gd name="csY8" fmla="*/ 1650967 h 2095135"/>
              <a:gd name="csX9" fmla="*/ 115628 w 733006"/>
              <a:gd name="csY9" fmla="*/ 1625405 h 2095135"/>
              <a:gd name="csX10" fmla="*/ 156323 w 733006"/>
              <a:gd name="csY10" fmla="*/ 1560181 h 2095135"/>
              <a:gd name="csX11" fmla="*/ 199424 w 733006"/>
              <a:gd name="csY11" fmla="*/ 1364729 h 2095135"/>
              <a:gd name="csX12" fmla="*/ 216779 w 733006"/>
              <a:gd name="csY12" fmla="*/ 1219490 h 2095135"/>
              <a:gd name="csX13" fmla="*/ 229755 w 733006"/>
              <a:gd name="csY13" fmla="*/ 1099357 h 2095135"/>
              <a:gd name="csX14" fmla="*/ 232707 w 733006"/>
              <a:gd name="csY14" fmla="*/ 1056423 h 2095135"/>
              <a:gd name="csX15" fmla="*/ 235622 w 733006"/>
              <a:gd name="csY15" fmla="*/ 952675 h 2095135"/>
              <a:gd name="csX16" fmla="*/ 235445 w 733006"/>
              <a:gd name="csY16" fmla="*/ 780278 h 2095135"/>
              <a:gd name="csX17" fmla="*/ 214544 w 733006"/>
              <a:gd name="csY17" fmla="*/ 756435 h 2095135"/>
              <a:gd name="csX18" fmla="*/ 172569 w 733006"/>
              <a:gd name="csY18" fmla="*/ 742582 h 2095135"/>
              <a:gd name="csX19" fmla="*/ 168784 w 733006"/>
              <a:gd name="csY19" fmla="*/ 669116 h 2095135"/>
              <a:gd name="csX20" fmla="*/ 191657 w 733006"/>
              <a:gd name="csY20" fmla="*/ 630765 h 2095135"/>
              <a:gd name="csX21" fmla="*/ 208150 w 733006"/>
              <a:gd name="csY21" fmla="*/ 609084 h 2095135"/>
              <a:gd name="csX22" fmla="*/ 216756 w 733006"/>
              <a:gd name="csY22" fmla="*/ 558673 h 2095135"/>
              <a:gd name="csX23" fmla="*/ 209092 w 733006"/>
              <a:gd name="csY23" fmla="*/ 521540 h 2095135"/>
              <a:gd name="csX24" fmla="*/ 204683 w 733006"/>
              <a:gd name="csY24" fmla="*/ 474024 h 2095135"/>
              <a:gd name="csX25" fmla="*/ 115483 w 733006"/>
              <a:gd name="csY25" fmla="*/ 213499 h 2095135"/>
              <a:gd name="csX26" fmla="*/ 102909 w 733006"/>
              <a:gd name="csY26" fmla="*/ 182297 h 2095135"/>
              <a:gd name="csX27" fmla="*/ 104315 w 733006"/>
              <a:gd name="csY27" fmla="*/ 163968 h 2095135"/>
              <a:gd name="csX28" fmla="*/ 122444 w 733006"/>
              <a:gd name="csY28" fmla="*/ 160805 h 2095135"/>
              <a:gd name="csX29" fmla="*/ 170283 w 733006"/>
              <a:gd name="csY29" fmla="*/ 187783 h 2095135"/>
              <a:gd name="csX30" fmla="*/ 180938 w 733006"/>
              <a:gd name="csY30" fmla="*/ 195322 h 2095135"/>
              <a:gd name="csX31" fmla="*/ 221419 w 733006"/>
              <a:gd name="csY31" fmla="*/ 138058 h 2095135"/>
              <a:gd name="csX32" fmla="*/ 294099 w 733006"/>
              <a:gd name="csY32" fmla="*/ 91372 h 2095135"/>
              <a:gd name="csX33" fmla="*/ 302307 w 733006"/>
              <a:gd name="csY33" fmla="*/ 76560 h 2095135"/>
              <a:gd name="csX34" fmla="*/ 320284 w 733006"/>
              <a:gd name="csY34" fmla="*/ 8414 h 2095135"/>
              <a:gd name="csX35" fmla="*/ 324784 w 733006"/>
              <a:gd name="csY35" fmla="*/ 946 h 2095135"/>
              <a:gd name="csX36" fmla="*/ 399212 w 733006"/>
              <a:gd name="csY36" fmla="*/ 0 h 2095135"/>
              <a:gd name="csX37" fmla="*/ 425980 w 733006"/>
              <a:gd name="csY37" fmla="*/ 78301 h 2095135"/>
              <a:gd name="csX38" fmla="*/ 431861 w 733006"/>
              <a:gd name="csY38" fmla="*/ 90312 h 2095135"/>
              <a:gd name="csX39" fmla="*/ 540349 w 733006"/>
              <a:gd name="csY39" fmla="*/ 187946 h 2095135"/>
              <a:gd name="csX40" fmla="*/ 545555 w 733006"/>
              <a:gd name="csY40" fmla="*/ 197828 h 2095135"/>
              <a:gd name="csX41" fmla="*/ 587318 w 733006"/>
              <a:gd name="csY41" fmla="*/ 171260 h 2095135"/>
              <a:gd name="csX42" fmla="*/ 601503 w 733006"/>
              <a:gd name="csY42" fmla="*/ 163707 h 2095135"/>
              <a:gd name="csX43" fmla="*/ 625254 w 733006"/>
              <a:gd name="csY43" fmla="*/ 163123 h 2095135"/>
              <a:gd name="csX44" fmla="*/ 625468 w 733006"/>
              <a:gd name="csY44" fmla="*/ 187579 h 2095135"/>
              <a:gd name="csX45" fmla="*/ 597543 w 733006"/>
              <a:gd name="csY45" fmla="*/ 251872 h 2095135"/>
              <a:gd name="csX46" fmla="*/ 531831 w 733006"/>
              <a:gd name="csY46" fmla="*/ 442689 h 2095135"/>
              <a:gd name="csX47" fmla="*/ 519888 w 733006"/>
              <a:gd name="csY47" fmla="*/ 501474 h 2095135"/>
              <a:gd name="csX48" fmla="*/ 522506 w 733006"/>
              <a:gd name="csY48" fmla="*/ 525086 h 2095135"/>
              <a:gd name="csX49" fmla="*/ 516235 w 733006"/>
              <a:gd name="csY49" fmla="*/ 555946 h 2095135"/>
              <a:gd name="csX50" fmla="*/ 521332 w 733006"/>
              <a:gd name="csY50" fmla="*/ 610676 h 2095135"/>
              <a:gd name="csX51" fmla="*/ 541382 w 733006"/>
              <a:gd name="csY51" fmla="*/ 642597 h 2095135"/>
              <a:gd name="csX52" fmla="*/ 557031 w 733006"/>
              <a:gd name="csY52" fmla="*/ 667949 h 2095135"/>
              <a:gd name="csX53" fmla="*/ 553994 w 733006"/>
              <a:gd name="csY53" fmla="*/ 744146 h 2095135"/>
              <a:gd name="csX54" fmla="*/ 508215 w 733006"/>
              <a:gd name="csY54" fmla="*/ 758841 h 2095135"/>
              <a:gd name="csX55" fmla="*/ 497442 w 733006"/>
              <a:gd name="csY55" fmla="*/ 771256 h 2095135"/>
              <a:gd name="csX56" fmla="*/ 493005 w 733006"/>
              <a:gd name="csY56" fmla="*/ 922055 h 2095135"/>
              <a:gd name="csX57" fmla="*/ 502900 w 733006"/>
              <a:gd name="csY57" fmla="*/ 1114191 h 2095135"/>
              <a:gd name="csX58" fmla="*/ 508800 w 733006"/>
              <a:gd name="csY58" fmla="*/ 1205474 h 2095135"/>
              <a:gd name="csX59" fmla="*/ 522952 w 733006"/>
              <a:gd name="csY59" fmla="*/ 1320065 h 2095135"/>
              <a:gd name="csX60" fmla="*/ 554682 w 733006"/>
              <a:gd name="csY60" fmla="*/ 1501203 h 2095135"/>
              <a:gd name="csX61" fmla="*/ 576958 w 733006"/>
              <a:gd name="csY61" fmla="*/ 1593963 h 2095135"/>
              <a:gd name="csX62" fmla="*/ 595349 w 733006"/>
              <a:gd name="csY62" fmla="*/ 1613498 h 2095135"/>
              <a:gd name="csX63" fmla="*/ 613936 w 733006"/>
              <a:gd name="csY63" fmla="*/ 1624058 h 2095135"/>
              <a:gd name="csX64" fmla="*/ 620938 w 733006"/>
              <a:gd name="csY64" fmla="*/ 1652071 h 2095135"/>
              <a:gd name="csX65" fmla="*/ 630805 w 733006"/>
              <a:gd name="csY65" fmla="*/ 1721702 h 2095135"/>
              <a:gd name="csX66" fmla="*/ 685830 w 733006"/>
              <a:gd name="csY66" fmla="*/ 1792915 h 2095135"/>
              <a:gd name="csX67" fmla="*/ 708904 w 733006"/>
              <a:gd name="csY67" fmla="*/ 1890290 h 2095135"/>
              <a:gd name="csX68" fmla="*/ 716580 w 733006"/>
              <a:gd name="csY68" fmla="*/ 1951136 h 2095135"/>
              <a:gd name="csX69" fmla="*/ 729397 w 733006"/>
              <a:gd name="csY69" fmla="*/ 2030261 h 2095135"/>
              <a:gd name="csX70" fmla="*/ 714212 w 733006"/>
              <a:gd name="csY70" fmla="*/ 2049544 h 2095135"/>
              <a:gd name="csX71" fmla="*/ 96263 w 733006"/>
              <a:gd name="csY71" fmla="*/ 2076207 h 2095135"/>
              <a:gd name="csX72" fmla="*/ 489970 w 733006"/>
              <a:gd name="csY72" fmla="*/ 152208 h 2095135"/>
              <a:gd name="csX73" fmla="*/ 490754 w 733006"/>
              <a:gd name="csY73" fmla="*/ 152592 h 2095135"/>
              <a:gd name="csX74" fmla="*/ 489489 w 733006"/>
              <a:gd name="csY74" fmla="*/ 149547 h 2095135"/>
              <a:gd name="csX75" fmla="*/ 393621 w 733006"/>
              <a:gd name="csY75" fmla="*/ 99259 h 2095135"/>
              <a:gd name="csX76" fmla="*/ 390419 w 733006"/>
              <a:gd name="csY76" fmla="*/ 18568 h 2095135"/>
              <a:gd name="csX77" fmla="*/ 334131 w 733006"/>
              <a:gd name="csY77" fmla="*/ 24327 h 2095135"/>
              <a:gd name="csX78" fmla="*/ 344678 w 733006"/>
              <a:gd name="csY78" fmla="*/ 101259 h 2095135"/>
              <a:gd name="csX79" fmla="*/ 298854 w 733006"/>
              <a:gd name="csY79" fmla="*/ 114003 h 2095135"/>
              <a:gd name="csX80" fmla="*/ 237456 w 733006"/>
              <a:gd name="csY80" fmla="*/ 154340 h 2095135"/>
              <a:gd name="csX81" fmla="*/ 240382 w 733006"/>
              <a:gd name="csY81" fmla="*/ 154035 h 2095135"/>
              <a:gd name="csX82" fmla="*/ 262731 w 733006"/>
              <a:gd name="csY82" fmla="*/ 170426 h 2095135"/>
              <a:gd name="csX83" fmla="*/ 279169 w 733006"/>
              <a:gd name="csY83" fmla="*/ 193173 h 2095135"/>
              <a:gd name="csX84" fmla="*/ 327717 w 733006"/>
              <a:gd name="csY84" fmla="*/ 188556 h 2095135"/>
              <a:gd name="csX85" fmla="*/ 348052 w 733006"/>
              <a:gd name="csY85" fmla="*/ 156919 h 2095135"/>
              <a:gd name="csX86" fmla="*/ 380330 w 733006"/>
              <a:gd name="csY86" fmla="*/ 156483 h 2095135"/>
              <a:gd name="csX87" fmla="*/ 408490 w 733006"/>
              <a:gd name="csY87" fmla="*/ 195400 h 2095135"/>
              <a:gd name="csX88" fmla="*/ 445346 w 733006"/>
              <a:gd name="csY88" fmla="*/ 197582 h 2095135"/>
              <a:gd name="csX89" fmla="*/ 464798 w 733006"/>
              <a:gd name="csY89" fmla="*/ 174107 h 2095135"/>
              <a:gd name="csX90" fmla="*/ 489970 w 733006"/>
              <a:gd name="csY90" fmla="*/ 152208 h 2095135"/>
              <a:gd name="csX91" fmla="*/ 140694 w 733006"/>
              <a:gd name="csY91" fmla="*/ 201837 h 2095135"/>
              <a:gd name="csX92" fmla="*/ 139834 w 733006"/>
              <a:gd name="csY92" fmla="*/ 201482 h 2095135"/>
              <a:gd name="csX93" fmla="*/ 140812 w 733006"/>
              <a:gd name="csY93" fmla="*/ 204941 h 2095135"/>
              <a:gd name="csX94" fmla="*/ 144631 w 733006"/>
              <a:gd name="csY94" fmla="*/ 217811 h 2095135"/>
              <a:gd name="csX95" fmla="*/ 201241 w 733006"/>
              <a:gd name="csY95" fmla="*/ 373387 h 2095135"/>
              <a:gd name="csX96" fmla="*/ 235971 w 733006"/>
              <a:gd name="csY96" fmla="*/ 504451 h 2095135"/>
              <a:gd name="csX97" fmla="*/ 247475 w 733006"/>
              <a:gd name="csY97" fmla="*/ 513241 h 2095135"/>
              <a:gd name="csX98" fmla="*/ 289066 w 733006"/>
              <a:gd name="csY98" fmla="*/ 511170 h 2095135"/>
              <a:gd name="csX99" fmla="*/ 378229 w 733006"/>
              <a:gd name="csY99" fmla="*/ 511084 h 2095135"/>
              <a:gd name="csX100" fmla="*/ 470850 w 733006"/>
              <a:gd name="csY100" fmla="*/ 516341 h 2095135"/>
              <a:gd name="csX101" fmla="*/ 492933 w 733006"/>
              <a:gd name="csY101" fmla="*/ 497969 h 2095135"/>
              <a:gd name="csX102" fmla="*/ 557617 w 733006"/>
              <a:gd name="csY102" fmla="*/ 280398 h 2095135"/>
              <a:gd name="csX103" fmla="*/ 588788 w 733006"/>
              <a:gd name="csY103" fmla="*/ 200385 h 2095135"/>
              <a:gd name="csX104" fmla="*/ 530958 w 733006"/>
              <a:gd name="csY104" fmla="*/ 232968 h 2095135"/>
              <a:gd name="csX105" fmla="*/ 483823 w 733006"/>
              <a:gd name="csY105" fmla="*/ 190364 h 2095135"/>
              <a:gd name="csX106" fmla="*/ 466649 w 733006"/>
              <a:gd name="csY106" fmla="*/ 209061 h 2095135"/>
              <a:gd name="csX107" fmla="*/ 399941 w 733006"/>
              <a:gd name="csY107" fmla="*/ 216988 h 2095135"/>
              <a:gd name="csX108" fmla="*/ 363018 w 733006"/>
              <a:gd name="csY108" fmla="*/ 179615 h 2095135"/>
              <a:gd name="csX109" fmla="*/ 308839 w 733006"/>
              <a:gd name="csY109" fmla="*/ 227846 h 2095135"/>
              <a:gd name="csX110" fmla="*/ 245077 w 733006"/>
              <a:gd name="csY110" fmla="*/ 192402 h 2095135"/>
              <a:gd name="csX111" fmla="*/ 242829 w 733006"/>
              <a:gd name="csY111" fmla="*/ 198815 h 2095135"/>
              <a:gd name="csX112" fmla="*/ 168452 w 733006"/>
              <a:gd name="csY112" fmla="*/ 219348 h 2095135"/>
              <a:gd name="csX113" fmla="*/ 140694 w 733006"/>
              <a:gd name="csY113" fmla="*/ 201837 h 2095135"/>
              <a:gd name="csX114" fmla="*/ 259999 w 733006"/>
              <a:gd name="csY114" fmla="*/ 966699 h 2095135"/>
              <a:gd name="csX115" fmla="*/ 257072 w 733006"/>
              <a:gd name="csY115" fmla="*/ 1070424 h 2095135"/>
              <a:gd name="csX116" fmla="*/ 251372 w 733006"/>
              <a:gd name="csY116" fmla="*/ 1157618 h 2095135"/>
              <a:gd name="csX117" fmla="*/ 232677 w 733006"/>
              <a:gd name="csY117" fmla="*/ 1320279 h 2095135"/>
              <a:gd name="csX118" fmla="*/ 209182 w 733006"/>
              <a:gd name="csY118" fmla="*/ 1468667 h 2095135"/>
              <a:gd name="csX119" fmla="*/ 175302 w 733006"/>
              <a:gd name="csY119" fmla="*/ 1616623 h 2095135"/>
              <a:gd name="csX120" fmla="*/ 182769 w 733006"/>
              <a:gd name="csY120" fmla="*/ 1629786 h 2095135"/>
              <a:gd name="csX121" fmla="*/ 212156 w 733006"/>
              <a:gd name="csY121" fmla="*/ 1632656 h 2095135"/>
              <a:gd name="csX122" fmla="*/ 351295 w 733006"/>
              <a:gd name="csY122" fmla="*/ 1632801 h 2095135"/>
              <a:gd name="csX123" fmla="*/ 376150 w 733006"/>
              <a:gd name="csY123" fmla="*/ 1608307 h 2095135"/>
              <a:gd name="csX124" fmla="*/ 373450 w 733006"/>
              <a:gd name="csY124" fmla="*/ 1457291 h 2095135"/>
              <a:gd name="csX125" fmla="*/ 370936 w 733006"/>
              <a:gd name="csY125" fmla="*/ 1342736 h 2095135"/>
              <a:gd name="csX126" fmla="*/ 368328 w 733006"/>
              <a:gd name="csY126" fmla="*/ 1203878 h 2095135"/>
              <a:gd name="csX127" fmla="*/ 367836 w 733006"/>
              <a:gd name="csY127" fmla="*/ 813478 h 2095135"/>
              <a:gd name="csX128" fmla="*/ 365240 w 733006"/>
              <a:gd name="csY128" fmla="*/ 773243 h 2095135"/>
              <a:gd name="csX129" fmla="*/ 353084 w 733006"/>
              <a:gd name="csY129" fmla="*/ 762083 h 2095135"/>
              <a:gd name="csX130" fmla="*/ 280966 w 733006"/>
              <a:gd name="csY130" fmla="*/ 759855 h 2095135"/>
              <a:gd name="csX131" fmla="*/ 259965 w 733006"/>
              <a:gd name="csY131" fmla="*/ 779553 h 2095135"/>
              <a:gd name="csX132" fmla="*/ 262341 w 733006"/>
              <a:gd name="csY132" fmla="*/ 856275 h 2095135"/>
              <a:gd name="csX133" fmla="*/ 259999 w 733006"/>
              <a:gd name="csY133" fmla="*/ 966699 h 2095135"/>
              <a:gd name="csX134" fmla="*/ 55556 w 733006"/>
              <a:gd name="csY134" fmla="*/ 1835827 h 2095135"/>
              <a:gd name="csX135" fmla="*/ 49393 w 733006"/>
              <a:gd name="csY135" fmla="*/ 1878155 h 2095135"/>
              <a:gd name="csX136" fmla="*/ 73949 w 733006"/>
              <a:gd name="csY136" fmla="*/ 1905781 h 2095135"/>
              <a:gd name="csX137" fmla="*/ 110073 w 733006"/>
              <a:gd name="csY137" fmla="*/ 1909068 h 2095135"/>
              <a:gd name="csX138" fmla="*/ 224745 w 733006"/>
              <a:gd name="csY138" fmla="*/ 1921652 h 2095135"/>
              <a:gd name="csX139" fmla="*/ 347327 w 733006"/>
              <a:gd name="csY139" fmla="*/ 1924778 h 2095135"/>
              <a:gd name="csX140" fmla="*/ 363345 w 733006"/>
              <a:gd name="csY140" fmla="*/ 1923293 h 2095135"/>
              <a:gd name="csX141" fmla="*/ 373787 w 733006"/>
              <a:gd name="csY141" fmla="*/ 1911200 h 2095135"/>
              <a:gd name="csX142" fmla="*/ 376623 w 733006"/>
              <a:gd name="csY142" fmla="*/ 1696741 h 2095135"/>
              <a:gd name="csX143" fmla="*/ 360437 w 733006"/>
              <a:gd name="csY143" fmla="*/ 1681289 h 2095135"/>
              <a:gd name="csX144" fmla="*/ 263503 w 733006"/>
              <a:gd name="csY144" fmla="*/ 1678179 h 2095135"/>
              <a:gd name="csX145" fmla="*/ 160381 w 733006"/>
              <a:gd name="csY145" fmla="*/ 1670405 h 2095135"/>
              <a:gd name="csX146" fmla="*/ 143321 w 733006"/>
              <a:gd name="csY146" fmla="*/ 1685538 h 2095135"/>
              <a:gd name="csX147" fmla="*/ 124769 w 733006"/>
              <a:gd name="csY147" fmla="*/ 1738195 h 2095135"/>
              <a:gd name="csX148" fmla="*/ 90593 w 733006"/>
              <a:gd name="csY148" fmla="*/ 1779570 h 2095135"/>
              <a:gd name="csX149" fmla="*/ 55556 w 733006"/>
              <a:gd name="csY149" fmla="*/ 1835827 h 2095135"/>
              <a:gd name="csX150" fmla="*/ 378900 w 733006"/>
              <a:gd name="csY150" fmla="*/ 2007280 h 2095135"/>
              <a:gd name="csX151" fmla="*/ 378887 w 733006"/>
              <a:gd name="csY151" fmla="*/ 1995127 h 2095135"/>
              <a:gd name="csX152" fmla="*/ 359084 w 733006"/>
              <a:gd name="csY152" fmla="*/ 1975964 h 2095135"/>
              <a:gd name="csX153" fmla="*/ 247288 w 733006"/>
              <a:gd name="csY153" fmla="*/ 1973305 h 2095135"/>
              <a:gd name="csX154" fmla="*/ 201692 w 733006"/>
              <a:gd name="csY154" fmla="*/ 1970275 h 2095135"/>
              <a:gd name="csX155" fmla="*/ 57962 w 733006"/>
              <a:gd name="csY155" fmla="*/ 1952648 h 2095135"/>
              <a:gd name="csX156" fmla="*/ 39194 w 733006"/>
              <a:gd name="csY156" fmla="*/ 1963552 h 2095135"/>
              <a:gd name="csX157" fmla="*/ 30066 w 733006"/>
              <a:gd name="csY157" fmla="*/ 2006631 h 2095135"/>
              <a:gd name="csX158" fmla="*/ 40232 w 733006"/>
              <a:gd name="csY158" fmla="*/ 2019486 h 2095135"/>
              <a:gd name="csX159" fmla="*/ 238186 w 733006"/>
              <a:gd name="csY159" fmla="*/ 2046096 h 2095135"/>
              <a:gd name="csX160" fmla="*/ 342155 w 733006"/>
              <a:gd name="csY160" fmla="*/ 2046441 h 2095135"/>
              <a:gd name="csX161" fmla="*/ 378900 w 733006"/>
              <a:gd name="csY161" fmla="*/ 2007280 h 2095135"/>
              <a:gd name="csX162" fmla="*/ 310220 w 733006"/>
              <a:gd name="csY162" fmla="*/ 554288 h 2095135"/>
              <a:gd name="csX163" fmla="*/ 259136 w 733006"/>
              <a:gd name="csY163" fmla="*/ 556881 h 2095135"/>
              <a:gd name="csX164" fmla="*/ 249085 w 733006"/>
              <a:gd name="csY164" fmla="*/ 567981 h 2095135"/>
              <a:gd name="csX165" fmla="*/ 249141 w 733006"/>
              <a:gd name="csY165" fmla="*/ 605644 h 2095135"/>
              <a:gd name="csX166" fmla="*/ 262628 w 733006"/>
              <a:gd name="csY166" fmla="*/ 605627 h 2095135"/>
              <a:gd name="csX167" fmla="*/ 369608 w 733006"/>
              <a:gd name="csY167" fmla="*/ 603027 h 2095135"/>
              <a:gd name="csX168" fmla="*/ 463931 w 733006"/>
              <a:gd name="csY168" fmla="*/ 605146 h 2095135"/>
              <a:gd name="csX169" fmla="*/ 478113 w 733006"/>
              <a:gd name="csY169" fmla="*/ 595843 h 2095135"/>
              <a:gd name="csX170" fmla="*/ 478796 w 733006"/>
              <a:gd name="csY170" fmla="*/ 556832 h 2095135"/>
              <a:gd name="csX171" fmla="*/ 310220 w 733006"/>
              <a:gd name="csY171" fmla="*/ 554288 h 2095135"/>
              <a:gd name="csX172" fmla="*/ 348836 w 733006"/>
              <a:gd name="csY172" fmla="*/ 684115 h 2095135"/>
              <a:gd name="csX173" fmla="*/ 281333 w 733006"/>
              <a:gd name="csY173" fmla="*/ 683313 h 2095135"/>
              <a:gd name="csX174" fmla="*/ 212728 w 733006"/>
              <a:gd name="csY174" fmla="*/ 681931 h 2095135"/>
              <a:gd name="csX175" fmla="*/ 187283 w 733006"/>
              <a:gd name="csY175" fmla="*/ 689555 h 2095135"/>
              <a:gd name="csX176" fmla="*/ 186163 w 733006"/>
              <a:gd name="csY176" fmla="*/ 718266 h 2095135"/>
              <a:gd name="csX177" fmla="*/ 209894 w 733006"/>
              <a:gd name="csY177" fmla="*/ 726798 h 2095135"/>
              <a:gd name="csX178" fmla="*/ 334814 w 733006"/>
              <a:gd name="csY178" fmla="*/ 732494 h 2095135"/>
              <a:gd name="csX179" fmla="*/ 364856 w 733006"/>
              <a:gd name="csY179" fmla="*/ 707963 h 2095135"/>
              <a:gd name="csX180" fmla="*/ 348836 w 733006"/>
              <a:gd name="csY180" fmla="*/ 684115 h 2095135"/>
              <a:gd name="csX181" fmla="*/ 298865 w 733006"/>
              <a:gd name="csY181" fmla="*/ 621954 h 2095135"/>
              <a:gd name="csX182" fmla="*/ 251619 w 733006"/>
              <a:gd name="csY182" fmla="*/ 622133 h 2095135"/>
              <a:gd name="csX183" fmla="*/ 214459 w 733006"/>
              <a:gd name="csY183" fmla="*/ 636230 h 2095135"/>
              <a:gd name="csX184" fmla="*/ 221436 w 733006"/>
              <a:gd name="csY184" fmla="*/ 654205 h 2095135"/>
              <a:gd name="csX185" fmla="*/ 272412 w 733006"/>
              <a:gd name="csY185" fmla="*/ 657250 h 2095135"/>
              <a:gd name="csX186" fmla="*/ 349094 w 733006"/>
              <a:gd name="csY186" fmla="*/ 659282 h 2095135"/>
              <a:gd name="csX187" fmla="*/ 362996 w 733006"/>
              <a:gd name="csY187" fmla="*/ 644234 h 2095135"/>
              <a:gd name="csX188" fmla="*/ 348472 w 733006"/>
              <a:gd name="csY188" fmla="*/ 624649 h 2095135"/>
              <a:gd name="csX189" fmla="*/ 298865 w 733006"/>
              <a:gd name="csY189" fmla="*/ 621954 h 2095135"/>
              <a:gd name="csX190" fmla="*/ 227796 w 733006"/>
              <a:gd name="csY190" fmla="*/ 528000 h 2095135"/>
              <a:gd name="csX191" fmla="*/ 241009 w 733006"/>
              <a:gd name="csY191" fmla="*/ 545897 h 2095135"/>
              <a:gd name="csX192" fmla="*/ 282607 w 733006"/>
              <a:gd name="csY192" fmla="*/ 543480 h 2095135"/>
              <a:gd name="csX193" fmla="*/ 354213 w 733006"/>
              <a:gd name="csY193" fmla="*/ 543384 h 2095135"/>
              <a:gd name="csX194" fmla="*/ 365334 w 733006"/>
              <a:gd name="csY194" fmla="*/ 533397 h 2095135"/>
              <a:gd name="csX195" fmla="*/ 354531 w 733006"/>
              <a:gd name="csY195" fmla="*/ 521620 h 2095135"/>
              <a:gd name="csX196" fmla="*/ 259169 w 733006"/>
              <a:gd name="csY196" fmla="*/ 521978 h 2095135"/>
              <a:gd name="csX197" fmla="*/ 227796 w 733006"/>
              <a:gd name="csY197" fmla="*/ 528000 h 2095135"/>
              <a:gd name="csX198" fmla="*/ 508068 w 733006"/>
              <a:gd name="csY198" fmla="*/ 190710 h 2095135"/>
              <a:gd name="csX199" fmla="*/ 521293 w 733006"/>
              <a:gd name="csY199" fmla="*/ 205907 h 2095135"/>
              <a:gd name="csX200" fmla="*/ 525175 w 733006"/>
              <a:gd name="csY200" fmla="*/ 202985 h 2095135"/>
              <a:gd name="csX201" fmla="*/ 500276 w 733006"/>
              <a:gd name="csY201" fmla="*/ 160640 h 2095135"/>
              <a:gd name="csX202" fmla="*/ 497122 w 733006"/>
              <a:gd name="csY202" fmla="*/ 162007 h 2095135"/>
              <a:gd name="csX203" fmla="*/ 508068 w 733006"/>
              <a:gd name="csY203" fmla="*/ 190710 h 2095135"/>
              <a:gd name="csX204" fmla="*/ 215522 w 733006"/>
              <a:gd name="csY204" fmla="*/ 197296 h 2095135"/>
              <a:gd name="csX205" fmla="*/ 234029 w 733006"/>
              <a:gd name="csY205" fmla="*/ 162725 h 2095135"/>
              <a:gd name="csX206" fmla="*/ 229000 w 733006"/>
              <a:gd name="csY206" fmla="*/ 159902 h 2095135"/>
              <a:gd name="csX207" fmla="*/ 204824 w 733006"/>
              <a:gd name="csY207" fmla="*/ 199677 h 2095135"/>
              <a:gd name="csX208" fmla="*/ 207990 w 733006"/>
              <a:gd name="csY208" fmla="*/ 202198 h 2095135"/>
              <a:gd name="csX209" fmla="*/ 215522 w 733006"/>
              <a:gd name="csY209" fmla="*/ 197296 h 2095135"/>
              <a:gd name="csX210" fmla="*/ 484400 w 733006"/>
              <a:gd name="csY210" fmla="*/ 896678 h 2095135"/>
              <a:gd name="csX211" fmla="*/ 486181 w 733006"/>
              <a:gd name="csY211" fmla="*/ 896585 h 2095135"/>
              <a:gd name="csX212" fmla="*/ 486181 w 733006"/>
              <a:gd name="csY212" fmla="*/ 795289 h 2095135"/>
              <a:gd name="csX0" fmla="*/ 96263 w 733006"/>
              <a:gd name="csY0" fmla="*/ 2076207 h 2099709"/>
              <a:gd name="csX1" fmla="*/ 63862 w 733006"/>
              <a:gd name="csY1" fmla="*/ 2065388 h 2099709"/>
              <a:gd name="csX2" fmla="*/ 16555 w 733006"/>
              <a:gd name="csY2" fmla="*/ 2050152 h 2099709"/>
              <a:gd name="csX3" fmla="*/ 15 w 733006"/>
              <a:gd name="csY3" fmla="*/ 2023802 h 2099709"/>
              <a:gd name="csX4" fmla="*/ 18368 w 733006"/>
              <a:gd name="csY4" fmla="*/ 1940709 h 2099709"/>
              <a:gd name="csX5" fmla="*/ 22139 w 733006"/>
              <a:gd name="csY5" fmla="*/ 1907268 h 2099709"/>
              <a:gd name="csX6" fmla="*/ 57941 w 733006"/>
              <a:gd name="csY6" fmla="*/ 1774163 h 2099709"/>
              <a:gd name="csX7" fmla="*/ 102478 w 733006"/>
              <a:gd name="csY7" fmla="*/ 1720275 h 2099709"/>
              <a:gd name="csX8" fmla="*/ 108579 w 733006"/>
              <a:gd name="csY8" fmla="*/ 1650967 h 2099709"/>
              <a:gd name="csX9" fmla="*/ 115628 w 733006"/>
              <a:gd name="csY9" fmla="*/ 1625405 h 2099709"/>
              <a:gd name="csX10" fmla="*/ 156323 w 733006"/>
              <a:gd name="csY10" fmla="*/ 1560181 h 2099709"/>
              <a:gd name="csX11" fmla="*/ 199424 w 733006"/>
              <a:gd name="csY11" fmla="*/ 1364729 h 2099709"/>
              <a:gd name="csX12" fmla="*/ 216779 w 733006"/>
              <a:gd name="csY12" fmla="*/ 1219490 h 2099709"/>
              <a:gd name="csX13" fmla="*/ 229755 w 733006"/>
              <a:gd name="csY13" fmla="*/ 1099357 h 2099709"/>
              <a:gd name="csX14" fmla="*/ 232707 w 733006"/>
              <a:gd name="csY14" fmla="*/ 1056423 h 2099709"/>
              <a:gd name="csX15" fmla="*/ 235622 w 733006"/>
              <a:gd name="csY15" fmla="*/ 952675 h 2099709"/>
              <a:gd name="csX16" fmla="*/ 235445 w 733006"/>
              <a:gd name="csY16" fmla="*/ 780278 h 2099709"/>
              <a:gd name="csX17" fmla="*/ 214544 w 733006"/>
              <a:gd name="csY17" fmla="*/ 756435 h 2099709"/>
              <a:gd name="csX18" fmla="*/ 172569 w 733006"/>
              <a:gd name="csY18" fmla="*/ 742582 h 2099709"/>
              <a:gd name="csX19" fmla="*/ 168784 w 733006"/>
              <a:gd name="csY19" fmla="*/ 669116 h 2099709"/>
              <a:gd name="csX20" fmla="*/ 191657 w 733006"/>
              <a:gd name="csY20" fmla="*/ 630765 h 2099709"/>
              <a:gd name="csX21" fmla="*/ 208150 w 733006"/>
              <a:gd name="csY21" fmla="*/ 609084 h 2099709"/>
              <a:gd name="csX22" fmla="*/ 216756 w 733006"/>
              <a:gd name="csY22" fmla="*/ 558673 h 2099709"/>
              <a:gd name="csX23" fmla="*/ 209092 w 733006"/>
              <a:gd name="csY23" fmla="*/ 521540 h 2099709"/>
              <a:gd name="csX24" fmla="*/ 204683 w 733006"/>
              <a:gd name="csY24" fmla="*/ 474024 h 2099709"/>
              <a:gd name="csX25" fmla="*/ 115483 w 733006"/>
              <a:gd name="csY25" fmla="*/ 213499 h 2099709"/>
              <a:gd name="csX26" fmla="*/ 102909 w 733006"/>
              <a:gd name="csY26" fmla="*/ 182297 h 2099709"/>
              <a:gd name="csX27" fmla="*/ 104315 w 733006"/>
              <a:gd name="csY27" fmla="*/ 163968 h 2099709"/>
              <a:gd name="csX28" fmla="*/ 122444 w 733006"/>
              <a:gd name="csY28" fmla="*/ 160805 h 2099709"/>
              <a:gd name="csX29" fmla="*/ 170283 w 733006"/>
              <a:gd name="csY29" fmla="*/ 187783 h 2099709"/>
              <a:gd name="csX30" fmla="*/ 180938 w 733006"/>
              <a:gd name="csY30" fmla="*/ 195322 h 2099709"/>
              <a:gd name="csX31" fmla="*/ 221419 w 733006"/>
              <a:gd name="csY31" fmla="*/ 138058 h 2099709"/>
              <a:gd name="csX32" fmla="*/ 294099 w 733006"/>
              <a:gd name="csY32" fmla="*/ 91372 h 2099709"/>
              <a:gd name="csX33" fmla="*/ 302307 w 733006"/>
              <a:gd name="csY33" fmla="*/ 76560 h 2099709"/>
              <a:gd name="csX34" fmla="*/ 320284 w 733006"/>
              <a:gd name="csY34" fmla="*/ 8414 h 2099709"/>
              <a:gd name="csX35" fmla="*/ 324784 w 733006"/>
              <a:gd name="csY35" fmla="*/ 946 h 2099709"/>
              <a:gd name="csX36" fmla="*/ 399212 w 733006"/>
              <a:gd name="csY36" fmla="*/ 0 h 2099709"/>
              <a:gd name="csX37" fmla="*/ 425980 w 733006"/>
              <a:gd name="csY37" fmla="*/ 78301 h 2099709"/>
              <a:gd name="csX38" fmla="*/ 431861 w 733006"/>
              <a:gd name="csY38" fmla="*/ 90312 h 2099709"/>
              <a:gd name="csX39" fmla="*/ 540349 w 733006"/>
              <a:gd name="csY39" fmla="*/ 187946 h 2099709"/>
              <a:gd name="csX40" fmla="*/ 545555 w 733006"/>
              <a:gd name="csY40" fmla="*/ 197828 h 2099709"/>
              <a:gd name="csX41" fmla="*/ 587318 w 733006"/>
              <a:gd name="csY41" fmla="*/ 171260 h 2099709"/>
              <a:gd name="csX42" fmla="*/ 601503 w 733006"/>
              <a:gd name="csY42" fmla="*/ 163707 h 2099709"/>
              <a:gd name="csX43" fmla="*/ 625254 w 733006"/>
              <a:gd name="csY43" fmla="*/ 163123 h 2099709"/>
              <a:gd name="csX44" fmla="*/ 625468 w 733006"/>
              <a:gd name="csY44" fmla="*/ 187579 h 2099709"/>
              <a:gd name="csX45" fmla="*/ 597543 w 733006"/>
              <a:gd name="csY45" fmla="*/ 251872 h 2099709"/>
              <a:gd name="csX46" fmla="*/ 531831 w 733006"/>
              <a:gd name="csY46" fmla="*/ 442689 h 2099709"/>
              <a:gd name="csX47" fmla="*/ 519888 w 733006"/>
              <a:gd name="csY47" fmla="*/ 501474 h 2099709"/>
              <a:gd name="csX48" fmla="*/ 522506 w 733006"/>
              <a:gd name="csY48" fmla="*/ 525086 h 2099709"/>
              <a:gd name="csX49" fmla="*/ 516235 w 733006"/>
              <a:gd name="csY49" fmla="*/ 555946 h 2099709"/>
              <a:gd name="csX50" fmla="*/ 521332 w 733006"/>
              <a:gd name="csY50" fmla="*/ 610676 h 2099709"/>
              <a:gd name="csX51" fmla="*/ 541382 w 733006"/>
              <a:gd name="csY51" fmla="*/ 642597 h 2099709"/>
              <a:gd name="csX52" fmla="*/ 557031 w 733006"/>
              <a:gd name="csY52" fmla="*/ 667949 h 2099709"/>
              <a:gd name="csX53" fmla="*/ 553994 w 733006"/>
              <a:gd name="csY53" fmla="*/ 744146 h 2099709"/>
              <a:gd name="csX54" fmla="*/ 508215 w 733006"/>
              <a:gd name="csY54" fmla="*/ 758841 h 2099709"/>
              <a:gd name="csX55" fmla="*/ 497442 w 733006"/>
              <a:gd name="csY55" fmla="*/ 771256 h 2099709"/>
              <a:gd name="csX56" fmla="*/ 493005 w 733006"/>
              <a:gd name="csY56" fmla="*/ 922055 h 2099709"/>
              <a:gd name="csX57" fmla="*/ 502900 w 733006"/>
              <a:gd name="csY57" fmla="*/ 1114191 h 2099709"/>
              <a:gd name="csX58" fmla="*/ 508800 w 733006"/>
              <a:gd name="csY58" fmla="*/ 1205474 h 2099709"/>
              <a:gd name="csX59" fmla="*/ 522952 w 733006"/>
              <a:gd name="csY59" fmla="*/ 1320065 h 2099709"/>
              <a:gd name="csX60" fmla="*/ 554682 w 733006"/>
              <a:gd name="csY60" fmla="*/ 1501203 h 2099709"/>
              <a:gd name="csX61" fmla="*/ 576958 w 733006"/>
              <a:gd name="csY61" fmla="*/ 1593963 h 2099709"/>
              <a:gd name="csX62" fmla="*/ 595349 w 733006"/>
              <a:gd name="csY62" fmla="*/ 1613498 h 2099709"/>
              <a:gd name="csX63" fmla="*/ 613936 w 733006"/>
              <a:gd name="csY63" fmla="*/ 1624058 h 2099709"/>
              <a:gd name="csX64" fmla="*/ 620938 w 733006"/>
              <a:gd name="csY64" fmla="*/ 1652071 h 2099709"/>
              <a:gd name="csX65" fmla="*/ 630805 w 733006"/>
              <a:gd name="csY65" fmla="*/ 1721702 h 2099709"/>
              <a:gd name="csX66" fmla="*/ 685830 w 733006"/>
              <a:gd name="csY66" fmla="*/ 1792915 h 2099709"/>
              <a:gd name="csX67" fmla="*/ 708904 w 733006"/>
              <a:gd name="csY67" fmla="*/ 1890290 h 2099709"/>
              <a:gd name="csX68" fmla="*/ 716580 w 733006"/>
              <a:gd name="csY68" fmla="*/ 1951136 h 2099709"/>
              <a:gd name="csX69" fmla="*/ 729397 w 733006"/>
              <a:gd name="csY69" fmla="*/ 2030261 h 2099709"/>
              <a:gd name="csX70" fmla="*/ 714212 w 733006"/>
              <a:gd name="csY70" fmla="*/ 2059069 h 2099709"/>
              <a:gd name="csX71" fmla="*/ 96263 w 733006"/>
              <a:gd name="csY71" fmla="*/ 2076207 h 2099709"/>
              <a:gd name="csX72" fmla="*/ 489970 w 733006"/>
              <a:gd name="csY72" fmla="*/ 152208 h 2099709"/>
              <a:gd name="csX73" fmla="*/ 490754 w 733006"/>
              <a:gd name="csY73" fmla="*/ 152592 h 2099709"/>
              <a:gd name="csX74" fmla="*/ 489489 w 733006"/>
              <a:gd name="csY74" fmla="*/ 149547 h 2099709"/>
              <a:gd name="csX75" fmla="*/ 393621 w 733006"/>
              <a:gd name="csY75" fmla="*/ 99259 h 2099709"/>
              <a:gd name="csX76" fmla="*/ 390419 w 733006"/>
              <a:gd name="csY76" fmla="*/ 18568 h 2099709"/>
              <a:gd name="csX77" fmla="*/ 334131 w 733006"/>
              <a:gd name="csY77" fmla="*/ 24327 h 2099709"/>
              <a:gd name="csX78" fmla="*/ 344678 w 733006"/>
              <a:gd name="csY78" fmla="*/ 101259 h 2099709"/>
              <a:gd name="csX79" fmla="*/ 298854 w 733006"/>
              <a:gd name="csY79" fmla="*/ 114003 h 2099709"/>
              <a:gd name="csX80" fmla="*/ 237456 w 733006"/>
              <a:gd name="csY80" fmla="*/ 154340 h 2099709"/>
              <a:gd name="csX81" fmla="*/ 240382 w 733006"/>
              <a:gd name="csY81" fmla="*/ 154035 h 2099709"/>
              <a:gd name="csX82" fmla="*/ 262731 w 733006"/>
              <a:gd name="csY82" fmla="*/ 170426 h 2099709"/>
              <a:gd name="csX83" fmla="*/ 279169 w 733006"/>
              <a:gd name="csY83" fmla="*/ 193173 h 2099709"/>
              <a:gd name="csX84" fmla="*/ 327717 w 733006"/>
              <a:gd name="csY84" fmla="*/ 188556 h 2099709"/>
              <a:gd name="csX85" fmla="*/ 348052 w 733006"/>
              <a:gd name="csY85" fmla="*/ 156919 h 2099709"/>
              <a:gd name="csX86" fmla="*/ 380330 w 733006"/>
              <a:gd name="csY86" fmla="*/ 156483 h 2099709"/>
              <a:gd name="csX87" fmla="*/ 408490 w 733006"/>
              <a:gd name="csY87" fmla="*/ 195400 h 2099709"/>
              <a:gd name="csX88" fmla="*/ 445346 w 733006"/>
              <a:gd name="csY88" fmla="*/ 197582 h 2099709"/>
              <a:gd name="csX89" fmla="*/ 464798 w 733006"/>
              <a:gd name="csY89" fmla="*/ 174107 h 2099709"/>
              <a:gd name="csX90" fmla="*/ 489970 w 733006"/>
              <a:gd name="csY90" fmla="*/ 152208 h 2099709"/>
              <a:gd name="csX91" fmla="*/ 140694 w 733006"/>
              <a:gd name="csY91" fmla="*/ 201837 h 2099709"/>
              <a:gd name="csX92" fmla="*/ 139834 w 733006"/>
              <a:gd name="csY92" fmla="*/ 201482 h 2099709"/>
              <a:gd name="csX93" fmla="*/ 140812 w 733006"/>
              <a:gd name="csY93" fmla="*/ 204941 h 2099709"/>
              <a:gd name="csX94" fmla="*/ 144631 w 733006"/>
              <a:gd name="csY94" fmla="*/ 217811 h 2099709"/>
              <a:gd name="csX95" fmla="*/ 201241 w 733006"/>
              <a:gd name="csY95" fmla="*/ 373387 h 2099709"/>
              <a:gd name="csX96" fmla="*/ 235971 w 733006"/>
              <a:gd name="csY96" fmla="*/ 504451 h 2099709"/>
              <a:gd name="csX97" fmla="*/ 247475 w 733006"/>
              <a:gd name="csY97" fmla="*/ 513241 h 2099709"/>
              <a:gd name="csX98" fmla="*/ 289066 w 733006"/>
              <a:gd name="csY98" fmla="*/ 511170 h 2099709"/>
              <a:gd name="csX99" fmla="*/ 378229 w 733006"/>
              <a:gd name="csY99" fmla="*/ 511084 h 2099709"/>
              <a:gd name="csX100" fmla="*/ 470850 w 733006"/>
              <a:gd name="csY100" fmla="*/ 516341 h 2099709"/>
              <a:gd name="csX101" fmla="*/ 492933 w 733006"/>
              <a:gd name="csY101" fmla="*/ 497969 h 2099709"/>
              <a:gd name="csX102" fmla="*/ 557617 w 733006"/>
              <a:gd name="csY102" fmla="*/ 280398 h 2099709"/>
              <a:gd name="csX103" fmla="*/ 588788 w 733006"/>
              <a:gd name="csY103" fmla="*/ 200385 h 2099709"/>
              <a:gd name="csX104" fmla="*/ 530958 w 733006"/>
              <a:gd name="csY104" fmla="*/ 232968 h 2099709"/>
              <a:gd name="csX105" fmla="*/ 483823 w 733006"/>
              <a:gd name="csY105" fmla="*/ 190364 h 2099709"/>
              <a:gd name="csX106" fmla="*/ 466649 w 733006"/>
              <a:gd name="csY106" fmla="*/ 209061 h 2099709"/>
              <a:gd name="csX107" fmla="*/ 399941 w 733006"/>
              <a:gd name="csY107" fmla="*/ 216988 h 2099709"/>
              <a:gd name="csX108" fmla="*/ 363018 w 733006"/>
              <a:gd name="csY108" fmla="*/ 179615 h 2099709"/>
              <a:gd name="csX109" fmla="*/ 308839 w 733006"/>
              <a:gd name="csY109" fmla="*/ 227846 h 2099709"/>
              <a:gd name="csX110" fmla="*/ 245077 w 733006"/>
              <a:gd name="csY110" fmla="*/ 192402 h 2099709"/>
              <a:gd name="csX111" fmla="*/ 242829 w 733006"/>
              <a:gd name="csY111" fmla="*/ 198815 h 2099709"/>
              <a:gd name="csX112" fmla="*/ 168452 w 733006"/>
              <a:gd name="csY112" fmla="*/ 219348 h 2099709"/>
              <a:gd name="csX113" fmla="*/ 140694 w 733006"/>
              <a:gd name="csY113" fmla="*/ 201837 h 2099709"/>
              <a:gd name="csX114" fmla="*/ 259999 w 733006"/>
              <a:gd name="csY114" fmla="*/ 966699 h 2099709"/>
              <a:gd name="csX115" fmla="*/ 257072 w 733006"/>
              <a:gd name="csY115" fmla="*/ 1070424 h 2099709"/>
              <a:gd name="csX116" fmla="*/ 251372 w 733006"/>
              <a:gd name="csY116" fmla="*/ 1157618 h 2099709"/>
              <a:gd name="csX117" fmla="*/ 232677 w 733006"/>
              <a:gd name="csY117" fmla="*/ 1320279 h 2099709"/>
              <a:gd name="csX118" fmla="*/ 209182 w 733006"/>
              <a:gd name="csY118" fmla="*/ 1468667 h 2099709"/>
              <a:gd name="csX119" fmla="*/ 175302 w 733006"/>
              <a:gd name="csY119" fmla="*/ 1616623 h 2099709"/>
              <a:gd name="csX120" fmla="*/ 182769 w 733006"/>
              <a:gd name="csY120" fmla="*/ 1629786 h 2099709"/>
              <a:gd name="csX121" fmla="*/ 212156 w 733006"/>
              <a:gd name="csY121" fmla="*/ 1632656 h 2099709"/>
              <a:gd name="csX122" fmla="*/ 351295 w 733006"/>
              <a:gd name="csY122" fmla="*/ 1632801 h 2099709"/>
              <a:gd name="csX123" fmla="*/ 376150 w 733006"/>
              <a:gd name="csY123" fmla="*/ 1608307 h 2099709"/>
              <a:gd name="csX124" fmla="*/ 373450 w 733006"/>
              <a:gd name="csY124" fmla="*/ 1457291 h 2099709"/>
              <a:gd name="csX125" fmla="*/ 370936 w 733006"/>
              <a:gd name="csY125" fmla="*/ 1342736 h 2099709"/>
              <a:gd name="csX126" fmla="*/ 368328 w 733006"/>
              <a:gd name="csY126" fmla="*/ 1203878 h 2099709"/>
              <a:gd name="csX127" fmla="*/ 367836 w 733006"/>
              <a:gd name="csY127" fmla="*/ 813478 h 2099709"/>
              <a:gd name="csX128" fmla="*/ 365240 w 733006"/>
              <a:gd name="csY128" fmla="*/ 773243 h 2099709"/>
              <a:gd name="csX129" fmla="*/ 353084 w 733006"/>
              <a:gd name="csY129" fmla="*/ 762083 h 2099709"/>
              <a:gd name="csX130" fmla="*/ 280966 w 733006"/>
              <a:gd name="csY130" fmla="*/ 759855 h 2099709"/>
              <a:gd name="csX131" fmla="*/ 259965 w 733006"/>
              <a:gd name="csY131" fmla="*/ 779553 h 2099709"/>
              <a:gd name="csX132" fmla="*/ 262341 w 733006"/>
              <a:gd name="csY132" fmla="*/ 856275 h 2099709"/>
              <a:gd name="csX133" fmla="*/ 259999 w 733006"/>
              <a:gd name="csY133" fmla="*/ 966699 h 2099709"/>
              <a:gd name="csX134" fmla="*/ 55556 w 733006"/>
              <a:gd name="csY134" fmla="*/ 1835827 h 2099709"/>
              <a:gd name="csX135" fmla="*/ 49393 w 733006"/>
              <a:gd name="csY135" fmla="*/ 1878155 h 2099709"/>
              <a:gd name="csX136" fmla="*/ 73949 w 733006"/>
              <a:gd name="csY136" fmla="*/ 1905781 h 2099709"/>
              <a:gd name="csX137" fmla="*/ 110073 w 733006"/>
              <a:gd name="csY137" fmla="*/ 1909068 h 2099709"/>
              <a:gd name="csX138" fmla="*/ 224745 w 733006"/>
              <a:gd name="csY138" fmla="*/ 1921652 h 2099709"/>
              <a:gd name="csX139" fmla="*/ 347327 w 733006"/>
              <a:gd name="csY139" fmla="*/ 1924778 h 2099709"/>
              <a:gd name="csX140" fmla="*/ 363345 w 733006"/>
              <a:gd name="csY140" fmla="*/ 1923293 h 2099709"/>
              <a:gd name="csX141" fmla="*/ 373787 w 733006"/>
              <a:gd name="csY141" fmla="*/ 1911200 h 2099709"/>
              <a:gd name="csX142" fmla="*/ 376623 w 733006"/>
              <a:gd name="csY142" fmla="*/ 1696741 h 2099709"/>
              <a:gd name="csX143" fmla="*/ 360437 w 733006"/>
              <a:gd name="csY143" fmla="*/ 1681289 h 2099709"/>
              <a:gd name="csX144" fmla="*/ 263503 w 733006"/>
              <a:gd name="csY144" fmla="*/ 1678179 h 2099709"/>
              <a:gd name="csX145" fmla="*/ 160381 w 733006"/>
              <a:gd name="csY145" fmla="*/ 1670405 h 2099709"/>
              <a:gd name="csX146" fmla="*/ 143321 w 733006"/>
              <a:gd name="csY146" fmla="*/ 1685538 h 2099709"/>
              <a:gd name="csX147" fmla="*/ 124769 w 733006"/>
              <a:gd name="csY147" fmla="*/ 1738195 h 2099709"/>
              <a:gd name="csX148" fmla="*/ 90593 w 733006"/>
              <a:gd name="csY148" fmla="*/ 1779570 h 2099709"/>
              <a:gd name="csX149" fmla="*/ 55556 w 733006"/>
              <a:gd name="csY149" fmla="*/ 1835827 h 2099709"/>
              <a:gd name="csX150" fmla="*/ 378900 w 733006"/>
              <a:gd name="csY150" fmla="*/ 2007280 h 2099709"/>
              <a:gd name="csX151" fmla="*/ 378887 w 733006"/>
              <a:gd name="csY151" fmla="*/ 1995127 h 2099709"/>
              <a:gd name="csX152" fmla="*/ 359084 w 733006"/>
              <a:gd name="csY152" fmla="*/ 1975964 h 2099709"/>
              <a:gd name="csX153" fmla="*/ 247288 w 733006"/>
              <a:gd name="csY153" fmla="*/ 1973305 h 2099709"/>
              <a:gd name="csX154" fmla="*/ 201692 w 733006"/>
              <a:gd name="csY154" fmla="*/ 1970275 h 2099709"/>
              <a:gd name="csX155" fmla="*/ 57962 w 733006"/>
              <a:gd name="csY155" fmla="*/ 1952648 h 2099709"/>
              <a:gd name="csX156" fmla="*/ 39194 w 733006"/>
              <a:gd name="csY156" fmla="*/ 1963552 h 2099709"/>
              <a:gd name="csX157" fmla="*/ 30066 w 733006"/>
              <a:gd name="csY157" fmla="*/ 2006631 h 2099709"/>
              <a:gd name="csX158" fmla="*/ 40232 w 733006"/>
              <a:gd name="csY158" fmla="*/ 2019486 h 2099709"/>
              <a:gd name="csX159" fmla="*/ 238186 w 733006"/>
              <a:gd name="csY159" fmla="*/ 2046096 h 2099709"/>
              <a:gd name="csX160" fmla="*/ 342155 w 733006"/>
              <a:gd name="csY160" fmla="*/ 2046441 h 2099709"/>
              <a:gd name="csX161" fmla="*/ 378900 w 733006"/>
              <a:gd name="csY161" fmla="*/ 2007280 h 2099709"/>
              <a:gd name="csX162" fmla="*/ 310220 w 733006"/>
              <a:gd name="csY162" fmla="*/ 554288 h 2099709"/>
              <a:gd name="csX163" fmla="*/ 259136 w 733006"/>
              <a:gd name="csY163" fmla="*/ 556881 h 2099709"/>
              <a:gd name="csX164" fmla="*/ 249085 w 733006"/>
              <a:gd name="csY164" fmla="*/ 567981 h 2099709"/>
              <a:gd name="csX165" fmla="*/ 249141 w 733006"/>
              <a:gd name="csY165" fmla="*/ 605644 h 2099709"/>
              <a:gd name="csX166" fmla="*/ 262628 w 733006"/>
              <a:gd name="csY166" fmla="*/ 605627 h 2099709"/>
              <a:gd name="csX167" fmla="*/ 369608 w 733006"/>
              <a:gd name="csY167" fmla="*/ 603027 h 2099709"/>
              <a:gd name="csX168" fmla="*/ 463931 w 733006"/>
              <a:gd name="csY168" fmla="*/ 605146 h 2099709"/>
              <a:gd name="csX169" fmla="*/ 478113 w 733006"/>
              <a:gd name="csY169" fmla="*/ 595843 h 2099709"/>
              <a:gd name="csX170" fmla="*/ 478796 w 733006"/>
              <a:gd name="csY170" fmla="*/ 556832 h 2099709"/>
              <a:gd name="csX171" fmla="*/ 310220 w 733006"/>
              <a:gd name="csY171" fmla="*/ 554288 h 2099709"/>
              <a:gd name="csX172" fmla="*/ 348836 w 733006"/>
              <a:gd name="csY172" fmla="*/ 684115 h 2099709"/>
              <a:gd name="csX173" fmla="*/ 281333 w 733006"/>
              <a:gd name="csY173" fmla="*/ 683313 h 2099709"/>
              <a:gd name="csX174" fmla="*/ 212728 w 733006"/>
              <a:gd name="csY174" fmla="*/ 681931 h 2099709"/>
              <a:gd name="csX175" fmla="*/ 187283 w 733006"/>
              <a:gd name="csY175" fmla="*/ 689555 h 2099709"/>
              <a:gd name="csX176" fmla="*/ 186163 w 733006"/>
              <a:gd name="csY176" fmla="*/ 718266 h 2099709"/>
              <a:gd name="csX177" fmla="*/ 209894 w 733006"/>
              <a:gd name="csY177" fmla="*/ 726798 h 2099709"/>
              <a:gd name="csX178" fmla="*/ 334814 w 733006"/>
              <a:gd name="csY178" fmla="*/ 732494 h 2099709"/>
              <a:gd name="csX179" fmla="*/ 364856 w 733006"/>
              <a:gd name="csY179" fmla="*/ 707963 h 2099709"/>
              <a:gd name="csX180" fmla="*/ 348836 w 733006"/>
              <a:gd name="csY180" fmla="*/ 684115 h 2099709"/>
              <a:gd name="csX181" fmla="*/ 298865 w 733006"/>
              <a:gd name="csY181" fmla="*/ 621954 h 2099709"/>
              <a:gd name="csX182" fmla="*/ 251619 w 733006"/>
              <a:gd name="csY182" fmla="*/ 622133 h 2099709"/>
              <a:gd name="csX183" fmla="*/ 214459 w 733006"/>
              <a:gd name="csY183" fmla="*/ 636230 h 2099709"/>
              <a:gd name="csX184" fmla="*/ 221436 w 733006"/>
              <a:gd name="csY184" fmla="*/ 654205 h 2099709"/>
              <a:gd name="csX185" fmla="*/ 272412 w 733006"/>
              <a:gd name="csY185" fmla="*/ 657250 h 2099709"/>
              <a:gd name="csX186" fmla="*/ 349094 w 733006"/>
              <a:gd name="csY186" fmla="*/ 659282 h 2099709"/>
              <a:gd name="csX187" fmla="*/ 362996 w 733006"/>
              <a:gd name="csY187" fmla="*/ 644234 h 2099709"/>
              <a:gd name="csX188" fmla="*/ 348472 w 733006"/>
              <a:gd name="csY188" fmla="*/ 624649 h 2099709"/>
              <a:gd name="csX189" fmla="*/ 298865 w 733006"/>
              <a:gd name="csY189" fmla="*/ 621954 h 2099709"/>
              <a:gd name="csX190" fmla="*/ 227796 w 733006"/>
              <a:gd name="csY190" fmla="*/ 528000 h 2099709"/>
              <a:gd name="csX191" fmla="*/ 241009 w 733006"/>
              <a:gd name="csY191" fmla="*/ 545897 h 2099709"/>
              <a:gd name="csX192" fmla="*/ 282607 w 733006"/>
              <a:gd name="csY192" fmla="*/ 543480 h 2099709"/>
              <a:gd name="csX193" fmla="*/ 354213 w 733006"/>
              <a:gd name="csY193" fmla="*/ 543384 h 2099709"/>
              <a:gd name="csX194" fmla="*/ 365334 w 733006"/>
              <a:gd name="csY194" fmla="*/ 533397 h 2099709"/>
              <a:gd name="csX195" fmla="*/ 354531 w 733006"/>
              <a:gd name="csY195" fmla="*/ 521620 h 2099709"/>
              <a:gd name="csX196" fmla="*/ 259169 w 733006"/>
              <a:gd name="csY196" fmla="*/ 521978 h 2099709"/>
              <a:gd name="csX197" fmla="*/ 227796 w 733006"/>
              <a:gd name="csY197" fmla="*/ 528000 h 2099709"/>
              <a:gd name="csX198" fmla="*/ 508068 w 733006"/>
              <a:gd name="csY198" fmla="*/ 190710 h 2099709"/>
              <a:gd name="csX199" fmla="*/ 521293 w 733006"/>
              <a:gd name="csY199" fmla="*/ 205907 h 2099709"/>
              <a:gd name="csX200" fmla="*/ 525175 w 733006"/>
              <a:gd name="csY200" fmla="*/ 202985 h 2099709"/>
              <a:gd name="csX201" fmla="*/ 500276 w 733006"/>
              <a:gd name="csY201" fmla="*/ 160640 h 2099709"/>
              <a:gd name="csX202" fmla="*/ 497122 w 733006"/>
              <a:gd name="csY202" fmla="*/ 162007 h 2099709"/>
              <a:gd name="csX203" fmla="*/ 508068 w 733006"/>
              <a:gd name="csY203" fmla="*/ 190710 h 2099709"/>
              <a:gd name="csX204" fmla="*/ 215522 w 733006"/>
              <a:gd name="csY204" fmla="*/ 197296 h 2099709"/>
              <a:gd name="csX205" fmla="*/ 234029 w 733006"/>
              <a:gd name="csY205" fmla="*/ 162725 h 2099709"/>
              <a:gd name="csX206" fmla="*/ 229000 w 733006"/>
              <a:gd name="csY206" fmla="*/ 159902 h 2099709"/>
              <a:gd name="csX207" fmla="*/ 204824 w 733006"/>
              <a:gd name="csY207" fmla="*/ 199677 h 2099709"/>
              <a:gd name="csX208" fmla="*/ 207990 w 733006"/>
              <a:gd name="csY208" fmla="*/ 202198 h 2099709"/>
              <a:gd name="csX209" fmla="*/ 215522 w 733006"/>
              <a:gd name="csY209" fmla="*/ 197296 h 2099709"/>
              <a:gd name="csX210" fmla="*/ 484400 w 733006"/>
              <a:gd name="csY210" fmla="*/ 896678 h 2099709"/>
              <a:gd name="csX211" fmla="*/ 486181 w 733006"/>
              <a:gd name="csY211" fmla="*/ 896585 h 2099709"/>
              <a:gd name="csX212" fmla="*/ 486181 w 733006"/>
              <a:gd name="csY212" fmla="*/ 795289 h 2099709"/>
              <a:gd name="csX0" fmla="*/ 96263 w 733006"/>
              <a:gd name="csY0" fmla="*/ 2076207 h 2091287"/>
              <a:gd name="csX1" fmla="*/ 63862 w 733006"/>
              <a:gd name="csY1" fmla="*/ 2065388 h 2091287"/>
              <a:gd name="csX2" fmla="*/ 16555 w 733006"/>
              <a:gd name="csY2" fmla="*/ 2050152 h 2091287"/>
              <a:gd name="csX3" fmla="*/ 15 w 733006"/>
              <a:gd name="csY3" fmla="*/ 2023802 h 2091287"/>
              <a:gd name="csX4" fmla="*/ 18368 w 733006"/>
              <a:gd name="csY4" fmla="*/ 1940709 h 2091287"/>
              <a:gd name="csX5" fmla="*/ 22139 w 733006"/>
              <a:gd name="csY5" fmla="*/ 1907268 h 2091287"/>
              <a:gd name="csX6" fmla="*/ 57941 w 733006"/>
              <a:gd name="csY6" fmla="*/ 1774163 h 2091287"/>
              <a:gd name="csX7" fmla="*/ 102478 w 733006"/>
              <a:gd name="csY7" fmla="*/ 1720275 h 2091287"/>
              <a:gd name="csX8" fmla="*/ 108579 w 733006"/>
              <a:gd name="csY8" fmla="*/ 1650967 h 2091287"/>
              <a:gd name="csX9" fmla="*/ 115628 w 733006"/>
              <a:gd name="csY9" fmla="*/ 1625405 h 2091287"/>
              <a:gd name="csX10" fmla="*/ 156323 w 733006"/>
              <a:gd name="csY10" fmla="*/ 1560181 h 2091287"/>
              <a:gd name="csX11" fmla="*/ 199424 w 733006"/>
              <a:gd name="csY11" fmla="*/ 1364729 h 2091287"/>
              <a:gd name="csX12" fmla="*/ 216779 w 733006"/>
              <a:gd name="csY12" fmla="*/ 1219490 h 2091287"/>
              <a:gd name="csX13" fmla="*/ 229755 w 733006"/>
              <a:gd name="csY13" fmla="*/ 1099357 h 2091287"/>
              <a:gd name="csX14" fmla="*/ 232707 w 733006"/>
              <a:gd name="csY14" fmla="*/ 1056423 h 2091287"/>
              <a:gd name="csX15" fmla="*/ 235622 w 733006"/>
              <a:gd name="csY15" fmla="*/ 952675 h 2091287"/>
              <a:gd name="csX16" fmla="*/ 235445 w 733006"/>
              <a:gd name="csY16" fmla="*/ 780278 h 2091287"/>
              <a:gd name="csX17" fmla="*/ 214544 w 733006"/>
              <a:gd name="csY17" fmla="*/ 756435 h 2091287"/>
              <a:gd name="csX18" fmla="*/ 172569 w 733006"/>
              <a:gd name="csY18" fmla="*/ 742582 h 2091287"/>
              <a:gd name="csX19" fmla="*/ 168784 w 733006"/>
              <a:gd name="csY19" fmla="*/ 669116 h 2091287"/>
              <a:gd name="csX20" fmla="*/ 191657 w 733006"/>
              <a:gd name="csY20" fmla="*/ 630765 h 2091287"/>
              <a:gd name="csX21" fmla="*/ 208150 w 733006"/>
              <a:gd name="csY21" fmla="*/ 609084 h 2091287"/>
              <a:gd name="csX22" fmla="*/ 216756 w 733006"/>
              <a:gd name="csY22" fmla="*/ 558673 h 2091287"/>
              <a:gd name="csX23" fmla="*/ 209092 w 733006"/>
              <a:gd name="csY23" fmla="*/ 521540 h 2091287"/>
              <a:gd name="csX24" fmla="*/ 204683 w 733006"/>
              <a:gd name="csY24" fmla="*/ 474024 h 2091287"/>
              <a:gd name="csX25" fmla="*/ 115483 w 733006"/>
              <a:gd name="csY25" fmla="*/ 213499 h 2091287"/>
              <a:gd name="csX26" fmla="*/ 102909 w 733006"/>
              <a:gd name="csY26" fmla="*/ 182297 h 2091287"/>
              <a:gd name="csX27" fmla="*/ 104315 w 733006"/>
              <a:gd name="csY27" fmla="*/ 163968 h 2091287"/>
              <a:gd name="csX28" fmla="*/ 122444 w 733006"/>
              <a:gd name="csY28" fmla="*/ 160805 h 2091287"/>
              <a:gd name="csX29" fmla="*/ 170283 w 733006"/>
              <a:gd name="csY29" fmla="*/ 187783 h 2091287"/>
              <a:gd name="csX30" fmla="*/ 180938 w 733006"/>
              <a:gd name="csY30" fmla="*/ 195322 h 2091287"/>
              <a:gd name="csX31" fmla="*/ 221419 w 733006"/>
              <a:gd name="csY31" fmla="*/ 138058 h 2091287"/>
              <a:gd name="csX32" fmla="*/ 294099 w 733006"/>
              <a:gd name="csY32" fmla="*/ 91372 h 2091287"/>
              <a:gd name="csX33" fmla="*/ 302307 w 733006"/>
              <a:gd name="csY33" fmla="*/ 76560 h 2091287"/>
              <a:gd name="csX34" fmla="*/ 320284 w 733006"/>
              <a:gd name="csY34" fmla="*/ 8414 h 2091287"/>
              <a:gd name="csX35" fmla="*/ 324784 w 733006"/>
              <a:gd name="csY35" fmla="*/ 946 h 2091287"/>
              <a:gd name="csX36" fmla="*/ 399212 w 733006"/>
              <a:gd name="csY36" fmla="*/ 0 h 2091287"/>
              <a:gd name="csX37" fmla="*/ 425980 w 733006"/>
              <a:gd name="csY37" fmla="*/ 78301 h 2091287"/>
              <a:gd name="csX38" fmla="*/ 431861 w 733006"/>
              <a:gd name="csY38" fmla="*/ 90312 h 2091287"/>
              <a:gd name="csX39" fmla="*/ 540349 w 733006"/>
              <a:gd name="csY39" fmla="*/ 187946 h 2091287"/>
              <a:gd name="csX40" fmla="*/ 545555 w 733006"/>
              <a:gd name="csY40" fmla="*/ 197828 h 2091287"/>
              <a:gd name="csX41" fmla="*/ 587318 w 733006"/>
              <a:gd name="csY41" fmla="*/ 171260 h 2091287"/>
              <a:gd name="csX42" fmla="*/ 601503 w 733006"/>
              <a:gd name="csY42" fmla="*/ 163707 h 2091287"/>
              <a:gd name="csX43" fmla="*/ 625254 w 733006"/>
              <a:gd name="csY43" fmla="*/ 163123 h 2091287"/>
              <a:gd name="csX44" fmla="*/ 625468 w 733006"/>
              <a:gd name="csY44" fmla="*/ 187579 h 2091287"/>
              <a:gd name="csX45" fmla="*/ 597543 w 733006"/>
              <a:gd name="csY45" fmla="*/ 251872 h 2091287"/>
              <a:gd name="csX46" fmla="*/ 531831 w 733006"/>
              <a:gd name="csY46" fmla="*/ 442689 h 2091287"/>
              <a:gd name="csX47" fmla="*/ 519888 w 733006"/>
              <a:gd name="csY47" fmla="*/ 501474 h 2091287"/>
              <a:gd name="csX48" fmla="*/ 522506 w 733006"/>
              <a:gd name="csY48" fmla="*/ 525086 h 2091287"/>
              <a:gd name="csX49" fmla="*/ 516235 w 733006"/>
              <a:gd name="csY49" fmla="*/ 555946 h 2091287"/>
              <a:gd name="csX50" fmla="*/ 521332 w 733006"/>
              <a:gd name="csY50" fmla="*/ 610676 h 2091287"/>
              <a:gd name="csX51" fmla="*/ 541382 w 733006"/>
              <a:gd name="csY51" fmla="*/ 642597 h 2091287"/>
              <a:gd name="csX52" fmla="*/ 557031 w 733006"/>
              <a:gd name="csY52" fmla="*/ 667949 h 2091287"/>
              <a:gd name="csX53" fmla="*/ 553994 w 733006"/>
              <a:gd name="csY53" fmla="*/ 744146 h 2091287"/>
              <a:gd name="csX54" fmla="*/ 508215 w 733006"/>
              <a:gd name="csY54" fmla="*/ 758841 h 2091287"/>
              <a:gd name="csX55" fmla="*/ 497442 w 733006"/>
              <a:gd name="csY55" fmla="*/ 771256 h 2091287"/>
              <a:gd name="csX56" fmla="*/ 493005 w 733006"/>
              <a:gd name="csY56" fmla="*/ 922055 h 2091287"/>
              <a:gd name="csX57" fmla="*/ 502900 w 733006"/>
              <a:gd name="csY57" fmla="*/ 1114191 h 2091287"/>
              <a:gd name="csX58" fmla="*/ 508800 w 733006"/>
              <a:gd name="csY58" fmla="*/ 1205474 h 2091287"/>
              <a:gd name="csX59" fmla="*/ 522952 w 733006"/>
              <a:gd name="csY59" fmla="*/ 1320065 h 2091287"/>
              <a:gd name="csX60" fmla="*/ 554682 w 733006"/>
              <a:gd name="csY60" fmla="*/ 1501203 h 2091287"/>
              <a:gd name="csX61" fmla="*/ 576958 w 733006"/>
              <a:gd name="csY61" fmla="*/ 1593963 h 2091287"/>
              <a:gd name="csX62" fmla="*/ 595349 w 733006"/>
              <a:gd name="csY62" fmla="*/ 1613498 h 2091287"/>
              <a:gd name="csX63" fmla="*/ 613936 w 733006"/>
              <a:gd name="csY63" fmla="*/ 1624058 h 2091287"/>
              <a:gd name="csX64" fmla="*/ 620938 w 733006"/>
              <a:gd name="csY64" fmla="*/ 1652071 h 2091287"/>
              <a:gd name="csX65" fmla="*/ 630805 w 733006"/>
              <a:gd name="csY65" fmla="*/ 1721702 h 2091287"/>
              <a:gd name="csX66" fmla="*/ 685830 w 733006"/>
              <a:gd name="csY66" fmla="*/ 1792915 h 2091287"/>
              <a:gd name="csX67" fmla="*/ 708904 w 733006"/>
              <a:gd name="csY67" fmla="*/ 1890290 h 2091287"/>
              <a:gd name="csX68" fmla="*/ 716580 w 733006"/>
              <a:gd name="csY68" fmla="*/ 1951136 h 2091287"/>
              <a:gd name="csX69" fmla="*/ 729397 w 733006"/>
              <a:gd name="csY69" fmla="*/ 2030261 h 2091287"/>
              <a:gd name="csX70" fmla="*/ 714212 w 733006"/>
              <a:gd name="csY70" fmla="*/ 2059069 h 2091287"/>
              <a:gd name="csX71" fmla="*/ 96263 w 733006"/>
              <a:gd name="csY71" fmla="*/ 2076207 h 2091287"/>
              <a:gd name="csX72" fmla="*/ 489970 w 733006"/>
              <a:gd name="csY72" fmla="*/ 152208 h 2091287"/>
              <a:gd name="csX73" fmla="*/ 490754 w 733006"/>
              <a:gd name="csY73" fmla="*/ 152592 h 2091287"/>
              <a:gd name="csX74" fmla="*/ 489489 w 733006"/>
              <a:gd name="csY74" fmla="*/ 149547 h 2091287"/>
              <a:gd name="csX75" fmla="*/ 393621 w 733006"/>
              <a:gd name="csY75" fmla="*/ 99259 h 2091287"/>
              <a:gd name="csX76" fmla="*/ 390419 w 733006"/>
              <a:gd name="csY76" fmla="*/ 18568 h 2091287"/>
              <a:gd name="csX77" fmla="*/ 334131 w 733006"/>
              <a:gd name="csY77" fmla="*/ 24327 h 2091287"/>
              <a:gd name="csX78" fmla="*/ 344678 w 733006"/>
              <a:gd name="csY78" fmla="*/ 101259 h 2091287"/>
              <a:gd name="csX79" fmla="*/ 298854 w 733006"/>
              <a:gd name="csY79" fmla="*/ 114003 h 2091287"/>
              <a:gd name="csX80" fmla="*/ 237456 w 733006"/>
              <a:gd name="csY80" fmla="*/ 154340 h 2091287"/>
              <a:gd name="csX81" fmla="*/ 240382 w 733006"/>
              <a:gd name="csY81" fmla="*/ 154035 h 2091287"/>
              <a:gd name="csX82" fmla="*/ 262731 w 733006"/>
              <a:gd name="csY82" fmla="*/ 170426 h 2091287"/>
              <a:gd name="csX83" fmla="*/ 279169 w 733006"/>
              <a:gd name="csY83" fmla="*/ 193173 h 2091287"/>
              <a:gd name="csX84" fmla="*/ 327717 w 733006"/>
              <a:gd name="csY84" fmla="*/ 188556 h 2091287"/>
              <a:gd name="csX85" fmla="*/ 348052 w 733006"/>
              <a:gd name="csY85" fmla="*/ 156919 h 2091287"/>
              <a:gd name="csX86" fmla="*/ 380330 w 733006"/>
              <a:gd name="csY86" fmla="*/ 156483 h 2091287"/>
              <a:gd name="csX87" fmla="*/ 408490 w 733006"/>
              <a:gd name="csY87" fmla="*/ 195400 h 2091287"/>
              <a:gd name="csX88" fmla="*/ 445346 w 733006"/>
              <a:gd name="csY88" fmla="*/ 197582 h 2091287"/>
              <a:gd name="csX89" fmla="*/ 464798 w 733006"/>
              <a:gd name="csY89" fmla="*/ 174107 h 2091287"/>
              <a:gd name="csX90" fmla="*/ 489970 w 733006"/>
              <a:gd name="csY90" fmla="*/ 152208 h 2091287"/>
              <a:gd name="csX91" fmla="*/ 140694 w 733006"/>
              <a:gd name="csY91" fmla="*/ 201837 h 2091287"/>
              <a:gd name="csX92" fmla="*/ 139834 w 733006"/>
              <a:gd name="csY92" fmla="*/ 201482 h 2091287"/>
              <a:gd name="csX93" fmla="*/ 140812 w 733006"/>
              <a:gd name="csY93" fmla="*/ 204941 h 2091287"/>
              <a:gd name="csX94" fmla="*/ 144631 w 733006"/>
              <a:gd name="csY94" fmla="*/ 217811 h 2091287"/>
              <a:gd name="csX95" fmla="*/ 201241 w 733006"/>
              <a:gd name="csY95" fmla="*/ 373387 h 2091287"/>
              <a:gd name="csX96" fmla="*/ 235971 w 733006"/>
              <a:gd name="csY96" fmla="*/ 504451 h 2091287"/>
              <a:gd name="csX97" fmla="*/ 247475 w 733006"/>
              <a:gd name="csY97" fmla="*/ 513241 h 2091287"/>
              <a:gd name="csX98" fmla="*/ 289066 w 733006"/>
              <a:gd name="csY98" fmla="*/ 511170 h 2091287"/>
              <a:gd name="csX99" fmla="*/ 378229 w 733006"/>
              <a:gd name="csY99" fmla="*/ 511084 h 2091287"/>
              <a:gd name="csX100" fmla="*/ 470850 w 733006"/>
              <a:gd name="csY100" fmla="*/ 516341 h 2091287"/>
              <a:gd name="csX101" fmla="*/ 492933 w 733006"/>
              <a:gd name="csY101" fmla="*/ 497969 h 2091287"/>
              <a:gd name="csX102" fmla="*/ 557617 w 733006"/>
              <a:gd name="csY102" fmla="*/ 280398 h 2091287"/>
              <a:gd name="csX103" fmla="*/ 588788 w 733006"/>
              <a:gd name="csY103" fmla="*/ 200385 h 2091287"/>
              <a:gd name="csX104" fmla="*/ 530958 w 733006"/>
              <a:gd name="csY104" fmla="*/ 232968 h 2091287"/>
              <a:gd name="csX105" fmla="*/ 483823 w 733006"/>
              <a:gd name="csY105" fmla="*/ 190364 h 2091287"/>
              <a:gd name="csX106" fmla="*/ 466649 w 733006"/>
              <a:gd name="csY106" fmla="*/ 209061 h 2091287"/>
              <a:gd name="csX107" fmla="*/ 399941 w 733006"/>
              <a:gd name="csY107" fmla="*/ 216988 h 2091287"/>
              <a:gd name="csX108" fmla="*/ 363018 w 733006"/>
              <a:gd name="csY108" fmla="*/ 179615 h 2091287"/>
              <a:gd name="csX109" fmla="*/ 308839 w 733006"/>
              <a:gd name="csY109" fmla="*/ 227846 h 2091287"/>
              <a:gd name="csX110" fmla="*/ 245077 w 733006"/>
              <a:gd name="csY110" fmla="*/ 192402 h 2091287"/>
              <a:gd name="csX111" fmla="*/ 242829 w 733006"/>
              <a:gd name="csY111" fmla="*/ 198815 h 2091287"/>
              <a:gd name="csX112" fmla="*/ 168452 w 733006"/>
              <a:gd name="csY112" fmla="*/ 219348 h 2091287"/>
              <a:gd name="csX113" fmla="*/ 140694 w 733006"/>
              <a:gd name="csY113" fmla="*/ 201837 h 2091287"/>
              <a:gd name="csX114" fmla="*/ 259999 w 733006"/>
              <a:gd name="csY114" fmla="*/ 966699 h 2091287"/>
              <a:gd name="csX115" fmla="*/ 257072 w 733006"/>
              <a:gd name="csY115" fmla="*/ 1070424 h 2091287"/>
              <a:gd name="csX116" fmla="*/ 251372 w 733006"/>
              <a:gd name="csY116" fmla="*/ 1157618 h 2091287"/>
              <a:gd name="csX117" fmla="*/ 232677 w 733006"/>
              <a:gd name="csY117" fmla="*/ 1320279 h 2091287"/>
              <a:gd name="csX118" fmla="*/ 209182 w 733006"/>
              <a:gd name="csY118" fmla="*/ 1468667 h 2091287"/>
              <a:gd name="csX119" fmla="*/ 175302 w 733006"/>
              <a:gd name="csY119" fmla="*/ 1616623 h 2091287"/>
              <a:gd name="csX120" fmla="*/ 182769 w 733006"/>
              <a:gd name="csY120" fmla="*/ 1629786 h 2091287"/>
              <a:gd name="csX121" fmla="*/ 212156 w 733006"/>
              <a:gd name="csY121" fmla="*/ 1632656 h 2091287"/>
              <a:gd name="csX122" fmla="*/ 351295 w 733006"/>
              <a:gd name="csY122" fmla="*/ 1632801 h 2091287"/>
              <a:gd name="csX123" fmla="*/ 376150 w 733006"/>
              <a:gd name="csY123" fmla="*/ 1608307 h 2091287"/>
              <a:gd name="csX124" fmla="*/ 373450 w 733006"/>
              <a:gd name="csY124" fmla="*/ 1457291 h 2091287"/>
              <a:gd name="csX125" fmla="*/ 370936 w 733006"/>
              <a:gd name="csY125" fmla="*/ 1342736 h 2091287"/>
              <a:gd name="csX126" fmla="*/ 368328 w 733006"/>
              <a:gd name="csY126" fmla="*/ 1203878 h 2091287"/>
              <a:gd name="csX127" fmla="*/ 367836 w 733006"/>
              <a:gd name="csY127" fmla="*/ 813478 h 2091287"/>
              <a:gd name="csX128" fmla="*/ 365240 w 733006"/>
              <a:gd name="csY128" fmla="*/ 773243 h 2091287"/>
              <a:gd name="csX129" fmla="*/ 353084 w 733006"/>
              <a:gd name="csY129" fmla="*/ 762083 h 2091287"/>
              <a:gd name="csX130" fmla="*/ 280966 w 733006"/>
              <a:gd name="csY130" fmla="*/ 759855 h 2091287"/>
              <a:gd name="csX131" fmla="*/ 259965 w 733006"/>
              <a:gd name="csY131" fmla="*/ 779553 h 2091287"/>
              <a:gd name="csX132" fmla="*/ 262341 w 733006"/>
              <a:gd name="csY132" fmla="*/ 856275 h 2091287"/>
              <a:gd name="csX133" fmla="*/ 259999 w 733006"/>
              <a:gd name="csY133" fmla="*/ 966699 h 2091287"/>
              <a:gd name="csX134" fmla="*/ 55556 w 733006"/>
              <a:gd name="csY134" fmla="*/ 1835827 h 2091287"/>
              <a:gd name="csX135" fmla="*/ 49393 w 733006"/>
              <a:gd name="csY135" fmla="*/ 1878155 h 2091287"/>
              <a:gd name="csX136" fmla="*/ 73949 w 733006"/>
              <a:gd name="csY136" fmla="*/ 1905781 h 2091287"/>
              <a:gd name="csX137" fmla="*/ 110073 w 733006"/>
              <a:gd name="csY137" fmla="*/ 1909068 h 2091287"/>
              <a:gd name="csX138" fmla="*/ 224745 w 733006"/>
              <a:gd name="csY138" fmla="*/ 1921652 h 2091287"/>
              <a:gd name="csX139" fmla="*/ 347327 w 733006"/>
              <a:gd name="csY139" fmla="*/ 1924778 h 2091287"/>
              <a:gd name="csX140" fmla="*/ 363345 w 733006"/>
              <a:gd name="csY140" fmla="*/ 1923293 h 2091287"/>
              <a:gd name="csX141" fmla="*/ 373787 w 733006"/>
              <a:gd name="csY141" fmla="*/ 1911200 h 2091287"/>
              <a:gd name="csX142" fmla="*/ 376623 w 733006"/>
              <a:gd name="csY142" fmla="*/ 1696741 h 2091287"/>
              <a:gd name="csX143" fmla="*/ 360437 w 733006"/>
              <a:gd name="csY143" fmla="*/ 1681289 h 2091287"/>
              <a:gd name="csX144" fmla="*/ 263503 w 733006"/>
              <a:gd name="csY144" fmla="*/ 1678179 h 2091287"/>
              <a:gd name="csX145" fmla="*/ 160381 w 733006"/>
              <a:gd name="csY145" fmla="*/ 1670405 h 2091287"/>
              <a:gd name="csX146" fmla="*/ 143321 w 733006"/>
              <a:gd name="csY146" fmla="*/ 1685538 h 2091287"/>
              <a:gd name="csX147" fmla="*/ 124769 w 733006"/>
              <a:gd name="csY147" fmla="*/ 1738195 h 2091287"/>
              <a:gd name="csX148" fmla="*/ 90593 w 733006"/>
              <a:gd name="csY148" fmla="*/ 1779570 h 2091287"/>
              <a:gd name="csX149" fmla="*/ 55556 w 733006"/>
              <a:gd name="csY149" fmla="*/ 1835827 h 2091287"/>
              <a:gd name="csX150" fmla="*/ 378900 w 733006"/>
              <a:gd name="csY150" fmla="*/ 2007280 h 2091287"/>
              <a:gd name="csX151" fmla="*/ 378887 w 733006"/>
              <a:gd name="csY151" fmla="*/ 1995127 h 2091287"/>
              <a:gd name="csX152" fmla="*/ 359084 w 733006"/>
              <a:gd name="csY152" fmla="*/ 1975964 h 2091287"/>
              <a:gd name="csX153" fmla="*/ 247288 w 733006"/>
              <a:gd name="csY153" fmla="*/ 1973305 h 2091287"/>
              <a:gd name="csX154" fmla="*/ 201692 w 733006"/>
              <a:gd name="csY154" fmla="*/ 1970275 h 2091287"/>
              <a:gd name="csX155" fmla="*/ 57962 w 733006"/>
              <a:gd name="csY155" fmla="*/ 1952648 h 2091287"/>
              <a:gd name="csX156" fmla="*/ 39194 w 733006"/>
              <a:gd name="csY156" fmla="*/ 1963552 h 2091287"/>
              <a:gd name="csX157" fmla="*/ 30066 w 733006"/>
              <a:gd name="csY157" fmla="*/ 2006631 h 2091287"/>
              <a:gd name="csX158" fmla="*/ 40232 w 733006"/>
              <a:gd name="csY158" fmla="*/ 2019486 h 2091287"/>
              <a:gd name="csX159" fmla="*/ 238186 w 733006"/>
              <a:gd name="csY159" fmla="*/ 2046096 h 2091287"/>
              <a:gd name="csX160" fmla="*/ 342155 w 733006"/>
              <a:gd name="csY160" fmla="*/ 2046441 h 2091287"/>
              <a:gd name="csX161" fmla="*/ 378900 w 733006"/>
              <a:gd name="csY161" fmla="*/ 2007280 h 2091287"/>
              <a:gd name="csX162" fmla="*/ 310220 w 733006"/>
              <a:gd name="csY162" fmla="*/ 554288 h 2091287"/>
              <a:gd name="csX163" fmla="*/ 259136 w 733006"/>
              <a:gd name="csY163" fmla="*/ 556881 h 2091287"/>
              <a:gd name="csX164" fmla="*/ 249085 w 733006"/>
              <a:gd name="csY164" fmla="*/ 567981 h 2091287"/>
              <a:gd name="csX165" fmla="*/ 249141 w 733006"/>
              <a:gd name="csY165" fmla="*/ 605644 h 2091287"/>
              <a:gd name="csX166" fmla="*/ 262628 w 733006"/>
              <a:gd name="csY166" fmla="*/ 605627 h 2091287"/>
              <a:gd name="csX167" fmla="*/ 369608 w 733006"/>
              <a:gd name="csY167" fmla="*/ 603027 h 2091287"/>
              <a:gd name="csX168" fmla="*/ 463931 w 733006"/>
              <a:gd name="csY168" fmla="*/ 605146 h 2091287"/>
              <a:gd name="csX169" fmla="*/ 478113 w 733006"/>
              <a:gd name="csY169" fmla="*/ 595843 h 2091287"/>
              <a:gd name="csX170" fmla="*/ 478796 w 733006"/>
              <a:gd name="csY170" fmla="*/ 556832 h 2091287"/>
              <a:gd name="csX171" fmla="*/ 310220 w 733006"/>
              <a:gd name="csY171" fmla="*/ 554288 h 2091287"/>
              <a:gd name="csX172" fmla="*/ 348836 w 733006"/>
              <a:gd name="csY172" fmla="*/ 684115 h 2091287"/>
              <a:gd name="csX173" fmla="*/ 281333 w 733006"/>
              <a:gd name="csY173" fmla="*/ 683313 h 2091287"/>
              <a:gd name="csX174" fmla="*/ 212728 w 733006"/>
              <a:gd name="csY174" fmla="*/ 681931 h 2091287"/>
              <a:gd name="csX175" fmla="*/ 187283 w 733006"/>
              <a:gd name="csY175" fmla="*/ 689555 h 2091287"/>
              <a:gd name="csX176" fmla="*/ 186163 w 733006"/>
              <a:gd name="csY176" fmla="*/ 718266 h 2091287"/>
              <a:gd name="csX177" fmla="*/ 209894 w 733006"/>
              <a:gd name="csY177" fmla="*/ 726798 h 2091287"/>
              <a:gd name="csX178" fmla="*/ 334814 w 733006"/>
              <a:gd name="csY178" fmla="*/ 732494 h 2091287"/>
              <a:gd name="csX179" fmla="*/ 364856 w 733006"/>
              <a:gd name="csY179" fmla="*/ 707963 h 2091287"/>
              <a:gd name="csX180" fmla="*/ 348836 w 733006"/>
              <a:gd name="csY180" fmla="*/ 684115 h 2091287"/>
              <a:gd name="csX181" fmla="*/ 298865 w 733006"/>
              <a:gd name="csY181" fmla="*/ 621954 h 2091287"/>
              <a:gd name="csX182" fmla="*/ 251619 w 733006"/>
              <a:gd name="csY182" fmla="*/ 622133 h 2091287"/>
              <a:gd name="csX183" fmla="*/ 214459 w 733006"/>
              <a:gd name="csY183" fmla="*/ 636230 h 2091287"/>
              <a:gd name="csX184" fmla="*/ 221436 w 733006"/>
              <a:gd name="csY184" fmla="*/ 654205 h 2091287"/>
              <a:gd name="csX185" fmla="*/ 272412 w 733006"/>
              <a:gd name="csY185" fmla="*/ 657250 h 2091287"/>
              <a:gd name="csX186" fmla="*/ 349094 w 733006"/>
              <a:gd name="csY186" fmla="*/ 659282 h 2091287"/>
              <a:gd name="csX187" fmla="*/ 362996 w 733006"/>
              <a:gd name="csY187" fmla="*/ 644234 h 2091287"/>
              <a:gd name="csX188" fmla="*/ 348472 w 733006"/>
              <a:gd name="csY188" fmla="*/ 624649 h 2091287"/>
              <a:gd name="csX189" fmla="*/ 298865 w 733006"/>
              <a:gd name="csY189" fmla="*/ 621954 h 2091287"/>
              <a:gd name="csX190" fmla="*/ 227796 w 733006"/>
              <a:gd name="csY190" fmla="*/ 528000 h 2091287"/>
              <a:gd name="csX191" fmla="*/ 241009 w 733006"/>
              <a:gd name="csY191" fmla="*/ 545897 h 2091287"/>
              <a:gd name="csX192" fmla="*/ 282607 w 733006"/>
              <a:gd name="csY192" fmla="*/ 543480 h 2091287"/>
              <a:gd name="csX193" fmla="*/ 354213 w 733006"/>
              <a:gd name="csY193" fmla="*/ 543384 h 2091287"/>
              <a:gd name="csX194" fmla="*/ 365334 w 733006"/>
              <a:gd name="csY194" fmla="*/ 533397 h 2091287"/>
              <a:gd name="csX195" fmla="*/ 354531 w 733006"/>
              <a:gd name="csY195" fmla="*/ 521620 h 2091287"/>
              <a:gd name="csX196" fmla="*/ 259169 w 733006"/>
              <a:gd name="csY196" fmla="*/ 521978 h 2091287"/>
              <a:gd name="csX197" fmla="*/ 227796 w 733006"/>
              <a:gd name="csY197" fmla="*/ 528000 h 2091287"/>
              <a:gd name="csX198" fmla="*/ 508068 w 733006"/>
              <a:gd name="csY198" fmla="*/ 190710 h 2091287"/>
              <a:gd name="csX199" fmla="*/ 521293 w 733006"/>
              <a:gd name="csY199" fmla="*/ 205907 h 2091287"/>
              <a:gd name="csX200" fmla="*/ 525175 w 733006"/>
              <a:gd name="csY200" fmla="*/ 202985 h 2091287"/>
              <a:gd name="csX201" fmla="*/ 500276 w 733006"/>
              <a:gd name="csY201" fmla="*/ 160640 h 2091287"/>
              <a:gd name="csX202" fmla="*/ 497122 w 733006"/>
              <a:gd name="csY202" fmla="*/ 162007 h 2091287"/>
              <a:gd name="csX203" fmla="*/ 508068 w 733006"/>
              <a:gd name="csY203" fmla="*/ 190710 h 2091287"/>
              <a:gd name="csX204" fmla="*/ 215522 w 733006"/>
              <a:gd name="csY204" fmla="*/ 197296 h 2091287"/>
              <a:gd name="csX205" fmla="*/ 234029 w 733006"/>
              <a:gd name="csY205" fmla="*/ 162725 h 2091287"/>
              <a:gd name="csX206" fmla="*/ 229000 w 733006"/>
              <a:gd name="csY206" fmla="*/ 159902 h 2091287"/>
              <a:gd name="csX207" fmla="*/ 204824 w 733006"/>
              <a:gd name="csY207" fmla="*/ 199677 h 2091287"/>
              <a:gd name="csX208" fmla="*/ 207990 w 733006"/>
              <a:gd name="csY208" fmla="*/ 202198 h 2091287"/>
              <a:gd name="csX209" fmla="*/ 215522 w 733006"/>
              <a:gd name="csY209" fmla="*/ 197296 h 2091287"/>
              <a:gd name="csX210" fmla="*/ 484400 w 733006"/>
              <a:gd name="csY210" fmla="*/ 896678 h 2091287"/>
              <a:gd name="csX211" fmla="*/ 486181 w 733006"/>
              <a:gd name="csY211" fmla="*/ 896585 h 2091287"/>
              <a:gd name="csX212" fmla="*/ 486181 w 733006"/>
              <a:gd name="csY212" fmla="*/ 795289 h 2091287"/>
              <a:gd name="csX0" fmla="*/ 96263 w 733006"/>
              <a:gd name="csY0" fmla="*/ 2076207 h 2092038"/>
              <a:gd name="csX1" fmla="*/ 63862 w 733006"/>
              <a:gd name="csY1" fmla="*/ 2065388 h 2092038"/>
              <a:gd name="csX2" fmla="*/ 16555 w 733006"/>
              <a:gd name="csY2" fmla="*/ 2050152 h 2092038"/>
              <a:gd name="csX3" fmla="*/ 15 w 733006"/>
              <a:gd name="csY3" fmla="*/ 2023802 h 2092038"/>
              <a:gd name="csX4" fmla="*/ 18368 w 733006"/>
              <a:gd name="csY4" fmla="*/ 1940709 h 2092038"/>
              <a:gd name="csX5" fmla="*/ 22139 w 733006"/>
              <a:gd name="csY5" fmla="*/ 1907268 h 2092038"/>
              <a:gd name="csX6" fmla="*/ 57941 w 733006"/>
              <a:gd name="csY6" fmla="*/ 1774163 h 2092038"/>
              <a:gd name="csX7" fmla="*/ 102478 w 733006"/>
              <a:gd name="csY7" fmla="*/ 1720275 h 2092038"/>
              <a:gd name="csX8" fmla="*/ 108579 w 733006"/>
              <a:gd name="csY8" fmla="*/ 1650967 h 2092038"/>
              <a:gd name="csX9" fmla="*/ 115628 w 733006"/>
              <a:gd name="csY9" fmla="*/ 1625405 h 2092038"/>
              <a:gd name="csX10" fmla="*/ 156323 w 733006"/>
              <a:gd name="csY10" fmla="*/ 1560181 h 2092038"/>
              <a:gd name="csX11" fmla="*/ 199424 w 733006"/>
              <a:gd name="csY11" fmla="*/ 1364729 h 2092038"/>
              <a:gd name="csX12" fmla="*/ 216779 w 733006"/>
              <a:gd name="csY12" fmla="*/ 1219490 h 2092038"/>
              <a:gd name="csX13" fmla="*/ 229755 w 733006"/>
              <a:gd name="csY13" fmla="*/ 1099357 h 2092038"/>
              <a:gd name="csX14" fmla="*/ 232707 w 733006"/>
              <a:gd name="csY14" fmla="*/ 1056423 h 2092038"/>
              <a:gd name="csX15" fmla="*/ 235622 w 733006"/>
              <a:gd name="csY15" fmla="*/ 952675 h 2092038"/>
              <a:gd name="csX16" fmla="*/ 235445 w 733006"/>
              <a:gd name="csY16" fmla="*/ 780278 h 2092038"/>
              <a:gd name="csX17" fmla="*/ 214544 w 733006"/>
              <a:gd name="csY17" fmla="*/ 756435 h 2092038"/>
              <a:gd name="csX18" fmla="*/ 172569 w 733006"/>
              <a:gd name="csY18" fmla="*/ 742582 h 2092038"/>
              <a:gd name="csX19" fmla="*/ 168784 w 733006"/>
              <a:gd name="csY19" fmla="*/ 669116 h 2092038"/>
              <a:gd name="csX20" fmla="*/ 191657 w 733006"/>
              <a:gd name="csY20" fmla="*/ 630765 h 2092038"/>
              <a:gd name="csX21" fmla="*/ 208150 w 733006"/>
              <a:gd name="csY21" fmla="*/ 609084 h 2092038"/>
              <a:gd name="csX22" fmla="*/ 216756 w 733006"/>
              <a:gd name="csY22" fmla="*/ 558673 h 2092038"/>
              <a:gd name="csX23" fmla="*/ 209092 w 733006"/>
              <a:gd name="csY23" fmla="*/ 521540 h 2092038"/>
              <a:gd name="csX24" fmla="*/ 204683 w 733006"/>
              <a:gd name="csY24" fmla="*/ 474024 h 2092038"/>
              <a:gd name="csX25" fmla="*/ 115483 w 733006"/>
              <a:gd name="csY25" fmla="*/ 213499 h 2092038"/>
              <a:gd name="csX26" fmla="*/ 102909 w 733006"/>
              <a:gd name="csY26" fmla="*/ 182297 h 2092038"/>
              <a:gd name="csX27" fmla="*/ 104315 w 733006"/>
              <a:gd name="csY27" fmla="*/ 163968 h 2092038"/>
              <a:gd name="csX28" fmla="*/ 122444 w 733006"/>
              <a:gd name="csY28" fmla="*/ 160805 h 2092038"/>
              <a:gd name="csX29" fmla="*/ 170283 w 733006"/>
              <a:gd name="csY29" fmla="*/ 187783 h 2092038"/>
              <a:gd name="csX30" fmla="*/ 180938 w 733006"/>
              <a:gd name="csY30" fmla="*/ 195322 h 2092038"/>
              <a:gd name="csX31" fmla="*/ 221419 w 733006"/>
              <a:gd name="csY31" fmla="*/ 138058 h 2092038"/>
              <a:gd name="csX32" fmla="*/ 294099 w 733006"/>
              <a:gd name="csY32" fmla="*/ 91372 h 2092038"/>
              <a:gd name="csX33" fmla="*/ 302307 w 733006"/>
              <a:gd name="csY33" fmla="*/ 76560 h 2092038"/>
              <a:gd name="csX34" fmla="*/ 320284 w 733006"/>
              <a:gd name="csY34" fmla="*/ 8414 h 2092038"/>
              <a:gd name="csX35" fmla="*/ 324784 w 733006"/>
              <a:gd name="csY35" fmla="*/ 946 h 2092038"/>
              <a:gd name="csX36" fmla="*/ 399212 w 733006"/>
              <a:gd name="csY36" fmla="*/ 0 h 2092038"/>
              <a:gd name="csX37" fmla="*/ 425980 w 733006"/>
              <a:gd name="csY37" fmla="*/ 78301 h 2092038"/>
              <a:gd name="csX38" fmla="*/ 431861 w 733006"/>
              <a:gd name="csY38" fmla="*/ 90312 h 2092038"/>
              <a:gd name="csX39" fmla="*/ 540349 w 733006"/>
              <a:gd name="csY39" fmla="*/ 187946 h 2092038"/>
              <a:gd name="csX40" fmla="*/ 545555 w 733006"/>
              <a:gd name="csY40" fmla="*/ 197828 h 2092038"/>
              <a:gd name="csX41" fmla="*/ 587318 w 733006"/>
              <a:gd name="csY41" fmla="*/ 171260 h 2092038"/>
              <a:gd name="csX42" fmla="*/ 601503 w 733006"/>
              <a:gd name="csY42" fmla="*/ 163707 h 2092038"/>
              <a:gd name="csX43" fmla="*/ 625254 w 733006"/>
              <a:gd name="csY43" fmla="*/ 163123 h 2092038"/>
              <a:gd name="csX44" fmla="*/ 625468 w 733006"/>
              <a:gd name="csY44" fmla="*/ 187579 h 2092038"/>
              <a:gd name="csX45" fmla="*/ 597543 w 733006"/>
              <a:gd name="csY45" fmla="*/ 251872 h 2092038"/>
              <a:gd name="csX46" fmla="*/ 531831 w 733006"/>
              <a:gd name="csY46" fmla="*/ 442689 h 2092038"/>
              <a:gd name="csX47" fmla="*/ 519888 w 733006"/>
              <a:gd name="csY47" fmla="*/ 501474 h 2092038"/>
              <a:gd name="csX48" fmla="*/ 522506 w 733006"/>
              <a:gd name="csY48" fmla="*/ 525086 h 2092038"/>
              <a:gd name="csX49" fmla="*/ 516235 w 733006"/>
              <a:gd name="csY49" fmla="*/ 555946 h 2092038"/>
              <a:gd name="csX50" fmla="*/ 521332 w 733006"/>
              <a:gd name="csY50" fmla="*/ 610676 h 2092038"/>
              <a:gd name="csX51" fmla="*/ 541382 w 733006"/>
              <a:gd name="csY51" fmla="*/ 642597 h 2092038"/>
              <a:gd name="csX52" fmla="*/ 557031 w 733006"/>
              <a:gd name="csY52" fmla="*/ 667949 h 2092038"/>
              <a:gd name="csX53" fmla="*/ 553994 w 733006"/>
              <a:gd name="csY53" fmla="*/ 744146 h 2092038"/>
              <a:gd name="csX54" fmla="*/ 508215 w 733006"/>
              <a:gd name="csY54" fmla="*/ 758841 h 2092038"/>
              <a:gd name="csX55" fmla="*/ 497442 w 733006"/>
              <a:gd name="csY55" fmla="*/ 771256 h 2092038"/>
              <a:gd name="csX56" fmla="*/ 493005 w 733006"/>
              <a:gd name="csY56" fmla="*/ 922055 h 2092038"/>
              <a:gd name="csX57" fmla="*/ 502900 w 733006"/>
              <a:gd name="csY57" fmla="*/ 1114191 h 2092038"/>
              <a:gd name="csX58" fmla="*/ 508800 w 733006"/>
              <a:gd name="csY58" fmla="*/ 1205474 h 2092038"/>
              <a:gd name="csX59" fmla="*/ 522952 w 733006"/>
              <a:gd name="csY59" fmla="*/ 1320065 h 2092038"/>
              <a:gd name="csX60" fmla="*/ 554682 w 733006"/>
              <a:gd name="csY60" fmla="*/ 1501203 h 2092038"/>
              <a:gd name="csX61" fmla="*/ 576958 w 733006"/>
              <a:gd name="csY61" fmla="*/ 1593963 h 2092038"/>
              <a:gd name="csX62" fmla="*/ 595349 w 733006"/>
              <a:gd name="csY62" fmla="*/ 1613498 h 2092038"/>
              <a:gd name="csX63" fmla="*/ 613936 w 733006"/>
              <a:gd name="csY63" fmla="*/ 1624058 h 2092038"/>
              <a:gd name="csX64" fmla="*/ 620938 w 733006"/>
              <a:gd name="csY64" fmla="*/ 1652071 h 2092038"/>
              <a:gd name="csX65" fmla="*/ 630805 w 733006"/>
              <a:gd name="csY65" fmla="*/ 1721702 h 2092038"/>
              <a:gd name="csX66" fmla="*/ 685830 w 733006"/>
              <a:gd name="csY66" fmla="*/ 1792915 h 2092038"/>
              <a:gd name="csX67" fmla="*/ 708904 w 733006"/>
              <a:gd name="csY67" fmla="*/ 1890290 h 2092038"/>
              <a:gd name="csX68" fmla="*/ 716580 w 733006"/>
              <a:gd name="csY68" fmla="*/ 1951136 h 2092038"/>
              <a:gd name="csX69" fmla="*/ 729397 w 733006"/>
              <a:gd name="csY69" fmla="*/ 2030261 h 2092038"/>
              <a:gd name="csX70" fmla="*/ 714212 w 733006"/>
              <a:gd name="csY70" fmla="*/ 2059069 h 2092038"/>
              <a:gd name="csX71" fmla="*/ 96263 w 733006"/>
              <a:gd name="csY71" fmla="*/ 2076207 h 2092038"/>
              <a:gd name="csX72" fmla="*/ 489970 w 733006"/>
              <a:gd name="csY72" fmla="*/ 152208 h 2092038"/>
              <a:gd name="csX73" fmla="*/ 490754 w 733006"/>
              <a:gd name="csY73" fmla="*/ 152592 h 2092038"/>
              <a:gd name="csX74" fmla="*/ 489489 w 733006"/>
              <a:gd name="csY74" fmla="*/ 149547 h 2092038"/>
              <a:gd name="csX75" fmla="*/ 393621 w 733006"/>
              <a:gd name="csY75" fmla="*/ 99259 h 2092038"/>
              <a:gd name="csX76" fmla="*/ 390419 w 733006"/>
              <a:gd name="csY76" fmla="*/ 18568 h 2092038"/>
              <a:gd name="csX77" fmla="*/ 334131 w 733006"/>
              <a:gd name="csY77" fmla="*/ 24327 h 2092038"/>
              <a:gd name="csX78" fmla="*/ 344678 w 733006"/>
              <a:gd name="csY78" fmla="*/ 101259 h 2092038"/>
              <a:gd name="csX79" fmla="*/ 298854 w 733006"/>
              <a:gd name="csY79" fmla="*/ 114003 h 2092038"/>
              <a:gd name="csX80" fmla="*/ 237456 w 733006"/>
              <a:gd name="csY80" fmla="*/ 154340 h 2092038"/>
              <a:gd name="csX81" fmla="*/ 240382 w 733006"/>
              <a:gd name="csY81" fmla="*/ 154035 h 2092038"/>
              <a:gd name="csX82" fmla="*/ 262731 w 733006"/>
              <a:gd name="csY82" fmla="*/ 170426 h 2092038"/>
              <a:gd name="csX83" fmla="*/ 279169 w 733006"/>
              <a:gd name="csY83" fmla="*/ 193173 h 2092038"/>
              <a:gd name="csX84" fmla="*/ 327717 w 733006"/>
              <a:gd name="csY84" fmla="*/ 188556 h 2092038"/>
              <a:gd name="csX85" fmla="*/ 348052 w 733006"/>
              <a:gd name="csY85" fmla="*/ 156919 h 2092038"/>
              <a:gd name="csX86" fmla="*/ 380330 w 733006"/>
              <a:gd name="csY86" fmla="*/ 156483 h 2092038"/>
              <a:gd name="csX87" fmla="*/ 408490 w 733006"/>
              <a:gd name="csY87" fmla="*/ 195400 h 2092038"/>
              <a:gd name="csX88" fmla="*/ 445346 w 733006"/>
              <a:gd name="csY88" fmla="*/ 197582 h 2092038"/>
              <a:gd name="csX89" fmla="*/ 464798 w 733006"/>
              <a:gd name="csY89" fmla="*/ 174107 h 2092038"/>
              <a:gd name="csX90" fmla="*/ 489970 w 733006"/>
              <a:gd name="csY90" fmla="*/ 152208 h 2092038"/>
              <a:gd name="csX91" fmla="*/ 140694 w 733006"/>
              <a:gd name="csY91" fmla="*/ 201837 h 2092038"/>
              <a:gd name="csX92" fmla="*/ 139834 w 733006"/>
              <a:gd name="csY92" fmla="*/ 201482 h 2092038"/>
              <a:gd name="csX93" fmla="*/ 140812 w 733006"/>
              <a:gd name="csY93" fmla="*/ 204941 h 2092038"/>
              <a:gd name="csX94" fmla="*/ 144631 w 733006"/>
              <a:gd name="csY94" fmla="*/ 217811 h 2092038"/>
              <a:gd name="csX95" fmla="*/ 201241 w 733006"/>
              <a:gd name="csY95" fmla="*/ 373387 h 2092038"/>
              <a:gd name="csX96" fmla="*/ 235971 w 733006"/>
              <a:gd name="csY96" fmla="*/ 504451 h 2092038"/>
              <a:gd name="csX97" fmla="*/ 247475 w 733006"/>
              <a:gd name="csY97" fmla="*/ 513241 h 2092038"/>
              <a:gd name="csX98" fmla="*/ 289066 w 733006"/>
              <a:gd name="csY98" fmla="*/ 511170 h 2092038"/>
              <a:gd name="csX99" fmla="*/ 378229 w 733006"/>
              <a:gd name="csY99" fmla="*/ 511084 h 2092038"/>
              <a:gd name="csX100" fmla="*/ 470850 w 733006"/>
              <a:gd name="csY100" fmla="*/ 516341 h 2092038"/>
              <a:gd name="csX101" fmla="*/ 492933 w 733006"/>
              <a:gd name="csY101" fmla="*/ 497969 h 2092038"/>
              <a:gd name="csX102" fmla="*/ 557617 w 733006"/>
              <a:gd name="csY102" fmla="*/ 280398 h 2092038"/>
              <a:gd name="csX103" fmla="*/ 588788 w 733006"/>
              <a:gd name="csY103" fmla="*/ 200385 h 2092038"/>
              <a:gd name="csX104" fmla="*/ 530958 w 733006"/>
              <a:gd name="csY104" fmla="*/ 232968 h 2092038"/>
              <a:gd name="csX105" fmla="*/ 483823 w 733006"/>
              <a:gd name="csY105" fmla="*/ 190364 h 2092038"/>
              <a:gd name="csX106" fmla="*/ 466649 w 733006"/>
              <a:gd name="csY106" fmla="*/ 209061 h 2092038"/>
              <a:gd name="csX107" fmla="*/ 399941 w 733006"/>
              <a:gd name="csY107" fmla="*/ 216988 h 2092038"/>
              <a:gd name="csX108" fmla="*/ 363018 w 733006"/>
              <a:gd name="csY108" fmla="*/ 179615 h 2092038"/>
              <a:gd name="csX109" fmla="*/ 308839 w 733006"/>
              <a:gd name="csY109" fmla="*/ 227846 h 2092038"/>
              <a:gd name="csX110" fmla="*/ 245077 w 733006"/>
              <a:gd name="csY110" fmla="*/ 192402 h 2092038"/>
              <a:gd name="csX111" fmla="*/ 242829 w 733006"/>
              <a:gd name="csY111" fmla="*/ 198815 h 2092038"/>
              <a:gd name="csX112" fmla="*/ 168452 w 733006"/>
              <a:gd name="csY112" fmla="*/ 219348 h 2092038"/>
              <a:gd name="csX113" fmla="*/ 140694 w 733006"/>
              <a:gd name="csY113" fmla="*/ 201837 h 2092038"/>
              <a:gd name="csX114" fmla="*/ 259999 w 733006"/>
              <a:gd name="csY114" fmla="*/ 966699 h 2092038"/>
              <a:gd name="csX115" fmla="*/ 257072 w 733006"/>
              <a:gd name="csY115" fmla="*/ 1070424 h 2092038"/>
              <a:gd name="csX116" fmla="*/ 251372 w 733006"/>
              <a:gd name="csY116" fmla="*/ 1157618 h 2092038"/>
              <a:gd name="csX117" fmla="*/ 232677 w 733006"/>
              <a:gd name="csY117" fmla="*/ 1320279 h 2092038"/>
              <a:gd name="csX118" fmla="*/ 209182 w 733006"/>
              <a:gd name="csY118" fmla="*/ 1468667 h 2092038"/>
              <a:gd name="csX119" fmla="*/ 175302 w 733006"/>
              <a:gd name="csY119" fmla="*/ 1616623 h 2092038"/>
              <a:gd name="csX120" fmla="*/ 182769 w 733006"/>
              <a:gd name="csY120" fmla="*/ 1629786 h 2092038"/>
              <a:gd name="csX121" fmla="*/ 212156 w 733006"/>
              <a:gd name="csY121" fmla="*/ 1632656 h 2092038"/>
              <a:gd name="csX122" fmla="*/ 351295 w 733006"/>
              <a:gd name="csY122" fmla="*/ 1632801 h 2092038"/>
              <a:gd name="csX123" fmla="*/ 376150 w 733006"/>
              <a:gd name="csY123" fmla="*/ 1608307 h 2092038"/>
              <a:gd name="csX124" fmla="*/ 373450 w 733006"/>
              <a:gd name="csY124" fmla="*/ 1457291 h 2092038"/>
              <a:gd name="csX125" fmla="*/ 370936 w 733006"/>
              <a:gd name="csY125" fmla="*/ 1342736 h 2092038"/>
              <a:gd name="csX126" fmla="*/ 368328 w 733006"/>
              <a:gd name="csY126" fmla="*/ 1203878 h 2092038"/>
              <a:gd name="csX127" fmla="*/ 367836 w 733006"/>
              <a:gd name="csY127" fmla="*/ 813478 h 2092038"/>
              <a:gd name="csX128" fmla="*/ 365240 w 733006"/>
              <a:gd name="csY128" fmla="*/ 773243 h 2092038"/>
              <a:gd name="csX129" fmla="*/ 353084 w 733006"/>
              <a:gd name="csY129" fmla="*/ 762083 h 2092038"/>
              <a:gd name="csX130" fmla="*/ 280966 w 733006"/>
              <a:gd name="csY130" fmla="*/ 759855 h 2092038"/>
              <a:gd name="csX131" fmla="*/ 259965 w 733006"/>
              <a:gd name="csY131" fmla="*/ 779553 h 2092038"/>
              <a:gd name="csX132" fmla="*/ 262341 w 733006"/>
              <a:gd name="csY132" fmla="*/ 856275 h 2092038"/>
              <a:gd name="csX133" fmla="*/ 259999 w 733006"/>
              <a:gd name="csY133" fmla="*/ 966699 h 2092038"/>
              <a:gd name="csX134" fmla="*/ 55556 w 733006"/>
              <a:gd name="csY134" fmla="*/ 1835827 h 2092038"/>
              <a:gd name="csX135" fmla="*/ 49393 w 733006"/>
              <a:gd name="csY135" fmla="*/ 1878155 h 2092038"/>
              <a:gd name="csX136" fmla="*/ 73949 w 733006"/>
              <a:gd name="csY136" fmla="*/ 1905781 h 2092038"/>
              <a:gd name="csX137" fmla="*/ 110073 w 733006"/>
              <a:gd name="csY137" fmla="*/ 1909068 h 2092038"/>
              <a:gd name="csX138" fmla="*/ 224745 w 733006"/>
              <a:gd name="csY138" fmla="*/ 1921652 h 2092038"/>
              <a:gd name="csX139" fmla="*/ 347327 w 733006"/>
              <a:gd name="csY139" fmla="*/ 1924778 h 2092038"/>
              <a:gd name="csX140" fmla="*/ 363345 w 733006"/>
              <a:gd name="csY140" fmla="*/ 1923293 h 2092038"/>
              <a:gd name="csX141" fmla="*/ 373787 w 733006"/>
              <a:gd name="csY141" fmla="*/ 1911200 h 2092038"/>
              <a:gd name="csX142" fmla="*/ 376623 w 733006"/>
              <a:gd name="csY142" fmla="*/ 1696741 h 2092038"/>
              <a:gd name="csX143" fmla="*/ 360437 w 733006"/>
              <a:gd name="csY143" fmla="*/ 1681289 h 2092038"/>
              <a:gd name="csX144" fmla="*/ 263503 w 733006"/>
              <a:gd name="csY144" fmla="*/ 1678179 h 2092038"/>
              <a:gd name="csX145" fmla="*/ 160381 w 733006"/>
              <a:gd name="csY145" fmla="*/ 1670405 h 2092038"/>
              <a:gd name="csX146" fmla="*/ 143321 w 733006"/>
              <a:gd name="csY146" fmla="*/ 1685538 h 2092038"/>
              <a:gd name="csX147" fmla="*/ 124769 w 733006"/>
              <a:gd name="csY147" fmla="*/ 1738195 h 2092038"/>
              <a:gd name="csX148" fmla="*/ 90593 w 733006"/>
              <a:gd name="csY148" fmla="*/ 1779570 h 2092038"/>
              <a:gd name="csX149" fmla="*/ 55556 w 733006"/>
              <a:gd name="csY149" fmla="*/ 1835827 h 2092038"/>
              <a:gd name="csX150" fmla="*/ 378900 w 733006"/>
              <a:gd name="csY150" fmla="*/ 2007280 h 2092038"/>
              <a:gd name="csX151" fmla="*/ 378887 w 733006"/>
              <a:gd name="csY151" fmla="*/ 1995127 h 2092038"/>
              <a:gd name="csX152" fmla="*/ 359084 w 733006"/>
              <a:gd name="csY152" fmla="*/ 1975964 h 2092038"/>
              <a:gd name="csX153" fmla="*/ 247288 w 733006"/>
              <a:gd name="csY153" fmla="*/ 1973305 h 2092038"/>
              <a:gd name="csX154" fmla="*/ 201692 w 733006"/>
              <a:gd name="csY154" fmla="*/ 1970275 h 2092038"/>
              <a:gd name="csX155" fmla="*/ 57962 w 733006"/>
              <a:gd name="csY155" fmla="*/ 1952648 h 2092038"/>
              <a:gd name="csX156" fmla="*/ 39194 w 733006"/>
              <a:gd name="csY156" fmla="*/ 1963552 h 2092038"/>
              <a:gd name="csX157" fmla="*/ 30066 w 733006"/>
              <a:gd name="csY157" fmla="*/ 2006631 h 2092038"/>
              <a:gd name="csX158" fmla="*/ 40232 w 733006"/>
              <a:gd name="csY158" fmla="*/ 2019486 h 2092038"/>
              <a:gd name="csX159" fmla="*/ 238186 w 733006"/>
              <a:gd name="csY159" fmla="*/ 2046096 h 2092038"/>
              <a:gd name="csX160" fmla="*/ 342155 w 733006"/>
              <a:gd name="csY160" fmla="*/ 2046441 h 2092038"/>
              <a:gd name="csX161" fmla="*/ 378900 w 733006"/>
              <a:gd name="csY161" fmla="*/ 2007280 h 2092038"/>
              <a:gd name="csX162" fmla="*/ 310220 w 733006"/>
              <a:gd name="csY162" fmla="*/ 554288 h 2092038"/>
              <a:gd name="csX163" fmla="*/ 259136 w 733006"/>
              <a:gd name="csY163" fmla="*/ 556881 h 2092038"/>
              <a:gd name="csX164" fmla="*/ 249085 w 733006"/>
              <a:gd name="csY164" fmla="*/ 567981 h 2092038"/>
              <a:gd name="csX165" fmla="*/ 249141 w 733006"/>
              <a:gd name="csY165" fmla="*/ 605644 h 2092038"/>
              <a:gd name="csX166" fmla="*/ 262628 w 733006"/>
              <a:gd name="csY166" fmla="*/ 605627 h 2092038"/>
              <a:gd name="csX167" fmla="*/ 369608 w 733006"/>
              <a:gd name="csY167" fmla="*/ 603027 h 2092038"/>
              <a:gd name="csX168" fmla="*/ 463931 w 733006"/>
              <a:gd name="csY168" fmla="*/ 605146 h 2092038"/>
              <a:gd name="csX169" fmla="*/ 478113 w 733006"/>
              <a:gd name="csY169" fmla="*/ 595843 h 2092038"/>
              <a:gd name="csX170" fmla="*/ 478796 w 733006"/>
              <a:gd name="csY170" fmla="*/ 556832 h 2092038"/>
              <a:gd name="csX171" fmla="*/ 310220 w 733006"/>
              <a:gd name="csY171" fmla="*/ 554288 h 2092038"/>
              <a:gd name="csX172" fmla="*/ 348836 w 733006"/>
              <a:gd name="csY172" fmla="*/ 684115 h 2092038"/>
              <a:gd name="csX173" fmla="*/ 281333 w 733006"/>
              <a:gd name="csY173" fmla="*/ 683313 h 2092038"/>
              <a:gd name="csX174" fmla="*/ 212728 w 733006"/>
              <a:gd name="csY174" fmla="*/ 681931 h 2092038"/>
              <a:gd name="csX175" fmla="*/ 187283 w 733006"/>
              <a:gd name="csY175" fmla="*/ 689555 h 2092038"/>
              <a:gd name="csX176" fmla="*/ 186163 w 733006"/>
              <a:gd name="csY176" fmla="*/ 718266 h 2092038"/>
              <a:gd name="csX177" fmla="*/ 209894 w 733006"/>
              <a:gd name="csY177" fmla="*/ 726798 h 2092038"/>
              <a:gd name="csX178" fmla="*/ 334814 w 733006"/>
              <a:gd name="csY178" fmla="*/ 732494 h 2092038"/>
              <a:gd name="csX179" fmla="*/ 364856 w 733006"/>
              <a:gd name="csY179" fmla="*/ 707963 h 2092038"/>
              <a:gd name="csX180" fmla="*/ 348836 w 733006"/>
              <a:gd name="csY180" fmla="*/ 684115 h 2092038"/>
              <a:gd name="csX181" fmla="*/ 298865 w 733006"/>
              <a:gd name="csY181" fmla="*/ 621954 h 2092038"/>
              <a:gd name="csX182" fmla="*/ 251619 w 733006"/>
              <a:gd name="csY182" fmla="*/ 622133 h 2092038"/>
              <a:gd name="csX183" fmla="*/ 214459 w 733006"/>
              <a:gd name="csY183" fmla="*/ 636230 h 2092038"/>
              <a:gd name="csX184" fmla="*/ 221436 w 733006"/>
              <a:gd name="csY184" fmla="*/ 654205 h 2092038"/>
              <a:gd name="csX185" fmla="*/ 272412 w 733006"/>
              <a:gd name="csY185" fmla="*/ 657250 h 2092038"/>
              <a:gd name="csX186" fmla="*/ 349094 w 733006"/>
              <a:gd name="csY186" fmla="*/ 659282 h 2092038"/>
              <a:gd name="csX187" fmla="*/ 362996 w 733006"/>
              <a:gd name="csY187" fmla="*/ 644234 h 2092038"/>
              <a:gd name="csX188" fmla="*/ 348472 w 733006"/>
              <a:gd name="csY188" fmla="*/ 624649 h 2092038"/>
              <a:gd name="csX189" fmla="*/ 298865 w 733006"/>
              <a:gd name="csY189" fmla="*/ 621954 h 2092038"/>
              <a:gd name="csX190" fmla="*/ 227796 w 733006"/>
              <a:gd name="csY190" fmla="*/ 528000 h 2092038"/>
              <a:gd name="csX191" fmla="*/ 241009 w 733006"/>
              <a:gd name="csY191" fmla="*/ 545897 h 2092038"/>
              <a:gd name="csX192" fmla="*/ 282607 w 733006"/>
              <a:gd name="csY192" fmla="*/ 543480 h 2092038"/>
              <a:gd name="csX193" fmla="*/ 354213 w 733006"/>
              <a:gd name="csY193" fmla="*/ 543384 h 2092038"/>
              <a:gd name="csX194" fmla="*/ 365334 w 733006"/>
              <a:gd name="csY194" fmla="*/ 533397 h 2092038"/>
              <a:gd name="csX195" fmla="*/ 354531 w 733006"/>
              <a:gd name="csY195" fmla="*/ 521620 h 2092038"/>
              <a:gd name="csX196" fmla="*/ 259169 w 733006"/>
              <a:gd name="csY196" fmla="*/ 521978 h 2092038"/>
              <a:gd name="csX197" fmla="*/ 227796 w 733006"/>
              <a:gd name="csY197" fmla="*/ 528000 h 2092038"/>
              <a:gd name="csX198" fmla="*/ 508068 w 733006"/>
              <a:gd name="csY198" fmla="*/ 190710 h 2092038"/>
              <a:gd name="csX199" fmla="*/ 521293 w 733006"/>
              <a:gd name="csY199" fmla="*/ 205907 h 2092038"/>
              <a:gd name="csX200" fmla="*/ 525175 w 733006"/>
              <a:gd name="csY200" fmla="*/ 202985 h 2092038"/>
              <a:gd name="csX201" fmla="*/ 500276 w 733006"/>
              <a:gd name="csY201" fmla="*/ 160640 h 2092038"/>
              <a:gd name="csX202" fmla="*/ 497122 w 733006"/>
              <a:gd name="csY202" fmla="*/ 162007 h 2092038"/>
              <a:gd name="csX203" fmla="*/ 508068 w 733006"/>
              <a:gd name="csY203" fmla="*/ 190710 h 2092038"/>
              <a:gd name="csX204" fmla="*/ 215522 w 733006"/>
              <a:gd name="csY204" fmla="*/ 197296 h 2092038"/>
              <a:gd name="csX205" fmla="*/ 234029 w 733006"/>
              <a:gd name="csY205" fmla="*/ 162725 h 2092038"/>
              <a:gd name="csX206" fmla="*/ 229000 w 733006"/>
              <a:gd name="csY206" fmla="*/ 159902 h 2092038"/>
              <a:gd name="csX207" fmla="*/ 204824 w 733006"/>
              <a:gd name="csY207" fmla="*/ 199677 h 2092038"/>
              <a:gd name="csX208" fmla="*/ 207990 w 733006"/>
              <a:gd name="csY208" fmla="*/ 202198 h 2092038"/>
              <a:gd name="csX209" fmla="*/ 215522 w 733006"/>
              <a:gd name="csY209" fmla="*/ 197296 h 2092038"/>
              <a:gd name="csX210" fmla="*/ 484400 w 733006"/>
              <a:gd name="csY210" fmla="*/ 896678 h 2092038"/>
              <a:gd name="csX211" fmla="*/ 486181 w 733006"/>
              <a:gd name="csY211" fmla="*/ 896585 h 2092038"/>
              <a:gd name="csX212" fmla="*/ 486181 w 733006"/>
              <a:gd name="csY212" fmla="*/ 795289 h 2092038"/>
              <a:gd name="csX0" fmla="*/ 96263 w 733006"/>
              <a:gd name="csY0" fmla="*/ 2076207 h 2092038"/>
              <a:gd name="csX1" fmla="*/ 63862 w 733006"/>
              <a:gd name="csY1" fmla="*/ 2065388 h 2092038"/>
              <a:gd name="csX2" fmla="*/ 16555 w 733006"/>
              <a:gd name="csY2" fmla="*/ 2050152 h 2092038"/>
              <a:gd name="csX3" fmla="*/ 15 w 733006"/>
              <a:gd name="csY3" fmla="*/ 2023802 h 2092038"/>
              <a:gd name="csX4" fmla="*/ 18368 w 733006"/>
              <a:gd name="csY4" fmla="*/ 1940709 h 2092038"/>
              <a:gd name="csX5" fmla="*/ 22139 w 733006"/>
              <a:gd name="csY5" fmla="*/ 1907268 h 2092038"/>
              <a:gd name="csX6" fmla="*/ 57941 w 733006"/>
              <a:gd name="csY6" fmla="*/ 1774163 h 2092038"/>
              <a:gd name="csX7" fmla="*/ 102478 w 733006"/>
              <a:gd name="csY7" fmla="*/ 1720275 h 2092038"/>
              <a:gd name="csX8" fmla="*/ 108579 w 733006"/>
              <a:gd name="csY8" fmla="*/ 1650967 h 2092038"/>
              <a:gd name="csX9" fmla="*/ 115628 w 733006"/>
              <a:gd name="csY9" fmla="*/ 1625405 h 2092038"/>
              <a:gd name="csX10" fmla="*/ 156323 w 733006"/>
              <a:gd name="csY10" fmla="*/ 1560181 h 2092038"/>
              <a:gd name="csX11" fmla="*/ 199424 w 733006"/>
              <a:gd name="csY11" fmla="*/ 1364729 h 2092038"/>
              <a:gd name="csX12" fmla="*/ 216779 w 733006"/>
              <a:gd name="csY12" fmla="*/ 1219490 h 2092038"/>
              <a:gd name="csX13" fmla="*/ 229755 w 733006"/>
              <a:gd name="csY13" fmla="*/ 1099357 h 2092038"/>
              <a:gd name="csX14" fmla="*/ 232707 w 733006"/>
              <a:gd name="csY14" fmla="*/ 1056423 h 2092038"/>
              <a:gd name="csX15" fmla="*/ 235622 w 733006"/>
              <a:gd name="csY15" fmla="*/ 952675 h 2092038"/>
              <a:gd name="csX16" fmla="*/ 235445 w 733006"/>
              <a:gd name="csY16" fmla="*/ 780278 h 2092038"/>
              <a:gd name="csX17" fmla="*/ 214544 w 733006"/>
              <a:gd name="csY17" fmla="*/ 756435 h 2092038"/>
              <a:gd name="csX18" fmla="*/ 172569 w 733006"/>
              <a:gd name="csY18" fmla="*/ 742582 h 2092038"/>
              <a:gd name="csX19" fmla="*/ 168784 w 733006"/>
              <a:gd name="csY19" fmla="*/ 669116 h 2092038"/>
              <a:gd name="csX20" fmla="*/ 191657 w 733006"/>
              <a:gd name="csY20" fmla="*/ 630765 h 2092038"/>
              <a:gd name="csX21" fmla="*/ 208150 w 733006"/>
              <a:gd name="csY21" fmla="*/ 609084 h 2092038"/>
              <a:gd name="csX22" fmla="*/ 216756 w 733006"/>
              <a:gd name="csY22" fmla="*/ 558673 h 2092038"/>
              <a:gd name="csX23" fmla="*/ 209092 w 733006"/>
              <a:gd name="csY23" fmla="*/ 521540 h 2092038"/>
              <a:gd name="csX24" fmla="*/ 204683 w 733006"/>
              <a:gd name="csY24" fmla="*/ 474024 h 2092038"/>
              <a:gd name="csX25" fmla="*/ 115483 w 733006"/>
              <a:gd name="csY25" fmla="*/ 213499 h 2092038"/>
              <a:gd name="csX26" fmla="*/ 102909 w 733006"/>
              <a:gd name="csY26" fmla="*/ 182297 h 2092038"/>
              <a:gd name="csX27" fmla="*/ 104315 w 733006"/>
              <a:gd name="csY27" fmla="*/ 163968 h 2092038"/>
              <a:gd name="csX28" fmla="*/ 122444 w 733006"/>
              <a:gd name="csY28" fmla="*/ 160805 h 2092038"/>
              <a:gd name="csX29" fmla="*/ 170283 w 733006"/>
              <a:gd name="csY29" fmla="*/ 187783 h 2092038"/>
              <a:gd name="csX30" fmla="*/ 180938 w 733006"/>
              <a:gd name="csY30" fmla="*/ 195322 h 2092038"/>
              <a:gd name="csX31" fmla="*/ 221419 w 733006"/>
              <a:gd name="csY31" fmla="*/ 138058 h 2092038"/>
              <a:gd name="csX32" fmla="*/ 294099 w 733006"/>
              <a:gd name="csY32" fmla="*/ 91372 h 2092038"/>
              <a:gd name="csX33" fmla="*/ 302307 w 733006"/>
              <a:gd name="csY33" fmla="*/ 76560 h 2092038"/>
              <a:gd name="csX34" fmla="*/ 320284 w 733006"/>
              <a:gd name="csY34" fmla="*/ 8414 h 2092038"/>
              <a:gd name="csX35" fmla="*/ 324784 w 733006"/>
              <a:gd name="csY35" fmla="*/ 946 h 2092038"/>
              <a:gd name="csX36" fmla="*/ 399212 w 733006"/>
              <a:gd name="csY36" fmla="*/ 0 h 2092038"/>
              <a:gd name="csX37" fmla="*/ 425980 w 733006"/>
              <a:gd name="csY37" fmla="*/ 78301 h 2092038"/>
              <a:gd name="csX38" fmla="*/ 431861 w 733006"/>
              <a:gd name="csY38" fmla="*/ 90312 h 2092038"/>
              <a:gd name="csX39" fmla="*/ 540349 w 733006"/>
              <a:gd name="csY39" fmla="*/ 187946 h 2092038"/>
              <a:gd name="csX40" fmla="*/ 545555 w 733006"/>
              <a:gd name="csY40" fmla="*/ 197828 h 2092038"/>
              <a:gd name="csX41" fmla="*/ 587318 w 733006"/>
              <a:gd name="csY41" fmla="*/ 171260 h 2092038"/>
              <a:gd name="csX42" fmla="*/ 601503 w 733006"/>
              <a:gd name="csY42" fmla="*/ 163707 h 2092038"/>
              <a:gd name="csX43" fmla="*/ 625254 w 733006"/>
              <a:gd name="csY43" fmla="*/ 163123 h 2092038"/>
              <a:gd name="csX44" fmla="*/ 625468 w 733006"/>
              <a:gd name="csY44" fmla="*/ 187579 h 2092038"/>
              <a:gd name="csX45" fmla="*/ 597543 w 733006"/>
              <a:gd name="csY45" fmla="*/ 251872 h 2092038"/>
              <a:gd name="csX46" fmla="*/ 531831 w 733006"/>
              <a:gd name="csY46" fmla="*/ 442689 h 2092038"/>
              <a:gd name="csX47" fmla="*/ 519888 w 733006"/>
              <a:gd name="csY47" fmla="*/ 501474 h 2092038"/>
              <a:gd name="csX48" fmla="*/ 522506 w 733006"/>
              <a:gd name="csY48" fmla="*/ 525086 h 2092038"/>
              <a:gd name="csX49" fmla="*/ 516235 w 733006"/>
              <a:gd name="csY49" fmla="*/ 555946 h 2092038"/>
              <a:gd name="csX50" fmla="*/ 521332 w 733006"/>
              <a:gd name="csY50" fmla="*/ 610676 h 2092038"/>
              <a:gd name="csX51" fmla="*/ 541382 w 733006"/>
              <a:gd name="csY51" fmla="*/ 642597 h 2092038"/>
              <a:gd name="csX52" fmla="*/ 557031 w 733006"/>
              <a:gd name="csY52" fmla="*/ 667949 h 2092038"/>
              <a:gd name="csX53" fmla="*/ 553994 w 733006"/>
              <a:gd name="csY53" fmla="*/ 744146 h 2092038"/>
              <a:gd name="csX54" fmla="*/ 508215 w 733006"/>
              <a:gd name="csY54" fmla="*/ 758841 h 2092038"/>
              <a:gd name="csX55" fmla="*/ 497442 w 733006"/>
              <a:gd name="csY55" fmla="*/ 771256 h 2092038"/>
              <a:gd name="csX56" fmla="*/ 493005 w 733006"/>
              <a:gd name="csY56" fmla="*/ 922055 h 2092038"/>
              <a:gd name="csX57" fmla="*/ 502900 w 733006"/>
              <a:gd name="csY57" fmla="*/ 1114191 h 2092038"/>
              <a:gd name="csX58" fmla="*/ 508800 w 733006"/>
              <a:gd name="csY58" fmla="*/ 1205474 h 2092038"/>
              <a:gd name="csX59" fmla="*/ 522952 w 733006"/>
              <a:gd name="csY59" fmla="*/ 1320065 h 2092038"/>
              <a:gd name="csX60" fmla="*/ 554682 w 733006"/>
              <a:gd name="csY60" fmla="*/ 1501203 h 2092038"/>
              <a:gd name="csX61" fmla="*/ 576958 w 733006"/>
              <a:gd name="csY61" fmla="*/ 1593963 h 2092038"/>
              <a:gd name="csX62" fmla="*/ 595349 w 733006"/>
              <a:gd name="csY62" fmla="*/ 1613498 h 2092038"/>
              <a:gd name="csX63" fmla="*/ 613936 w 733006"/>
              <a:gd name="csY63" fmla="*/ 1624058 h 2092038"/>
              <a:gd name="csX64" fmla="*/ 620938 w 733006"/>
              <a:gd name="csY64" fmla="*/ 1652071 h 2092038"/>
              <a:gd name="csX65" fmla="*/ 630805 w 733006"/>
              <a:gd name="csY65" fmla="*/ 1721702 h 2092038"/>
              <a:gd name="csX66" fmla="*/ 685830 w 733006"/>
              <a:gd name="csY66" fmla="*/ 1792915 h 2092038"/>
              <a:gd name="csX67" fmla="*/ 708904 w 733006"/>
              <a:gd name="csY67" fmla="*/ 1890290 h 2092038"/>
              <a:gd name="csX68" fmla="*/ 716580 w 733006"/>
              <a:gd name="csY68" fmla="*/ 1951136 h 2092038"/>
              <a:gd name="csX69" fmla="*/ 729397 w 733006"/>
              <a:gd name="csY69" fmla="*/ 2030261 h 2092038"/>
              <a:gd name="csX70" fmla="*/ 714212 w 733006"/>
              <a:gd name="csY70" fmla="*/ 2059069 h 2092038"/>
              <a:gd name="csX71" fmla="*/ 96263 w 733006"/>
              <a:gd name="csY71" fmla="*/ 2076207 h 2092038"/>
              <a:gd name="csX72" fmla="*/ 489970 w 733006"/>
              <a:gd name="csY72" fmla="*/ 152208 h 2092038"/>
              <a:gd name="csX73" fmla="*/ 490754 w 733006"/>
              <a:gd name="csY73" fmla="*/ 152592 h 2092038"/>
              <a:gd name="csX74" fmla="*/ 489489 w 733006"/>
              <a:gd name="csY74" fmla="*/ 149547 h 2092038"/>
              <a:gd name="csX75" fmla="*/ 393621 w 733006"/>
              <a:gd name="csY75" fmla="*/ 99259 h 2092038"/>
              <a:gd name="csX76" fmla="*/ 390419 w 733006"/>
              <a:gd name="csY76" fmla="*/ 18568 h 2092038"/>
              <a:gd name="csX77" fmla="*/ 334131 w 733006"/>
              <a:gd name="csY77" fmla="*/ 24327 h 2092038"/>
              <a:gd name="csX78" fmla="*/ 344678 w 733006"/>
              <a:gd name="csY78" fmla="*/ 101259 h 2092038"/>
              <a:gd name="csX79" fmla="*/ 298854 w 733006"/>
              <a:gd name="csY79" fmla="*/ 114003 h 2092038"/>
              <a:gd name="csX80" fmla="*/ 237456 w 733006"/>
              <a:gd name="csY80" fmla="*/ 154340 h 2092038"/>
              <a:gd name="csX81" fmla="*/ 240382 w 733006"/>
              <a:gd name="csY81" fmla="*/ 154035 h 2092038"/>
              <a:gd name="csX82" fmla="*/ 262731 w 733006"/>
              <a:gd name="csY82" fmla="*/ 170426 h 2092038"/>
              <a:gd name="csX83" fmla="*/ 279169 w 733006"/>
              <a:gd name="csY83" fmla="*/ 193173 h 2092038"/>
              <a:gd name="csX84" fmla="*/ 327717 w 733006"/>
              <a:gd name="csY84" fmla="*/ 188556 h 2092038"/>
              <a:gd name="csX85" fmla="*/ 348052 w 733006"/>
              <a:gd name="csY85" fmla="*/ 156919 h 2092038"/>
              <a:gd name="csX86" fmla="*/ 380330 w 733006"/>
              <a:gd name="csY86" fmla="*/ 156483 h 2092038"/>
              <a:gd name="csX87" fmla="*/ 408490 w 733006"/>
              <a:gd name="csY87" fmla="*/ 195400 h 2092038"/>
              <a:gd name="csX88" fmla="*/ 445346 w 733006"/>
              <a:gd name="csY88" fmla="*/ 197582 h 2092038"/>
              <a:gd name="csX89" fmla="*/ 464798 w 733006"/>
              <a:gd name="csY89" fmla="*/ 174107 h 2092038"/>
              <a:gd name="csX90" fmla="*/ 489970 w 733006"/>
              <a:gd name="csY90" fmla="*/ 152208 h 2092038"/>
              <a:gd name="csX91" fmla="*/ 140694 w 733006"/>
              <a:gd name="csY91" fmla="*/ 201837 h 2092038"/>
              <a:gd name="csX92" fmla="*/ 139834 w 733006"/>
              <a:gd name="csY92" fmla="*/ 201482 h 2092038"/>
              <a:gd name="csX93" fmla="*/ 140812 w 733006"/>
              <a:gd name="csY93" fmla="*/ 204941 h 2092038"/>
              <a:gd name="csX94" fmla="*/ 144631 w 733006"/>
              <a:gd name="csY94" fmla="*/ 217811 h 2092038"/>
              <a:gd name="csX95" fmla="*/ 201241 w 733006"/>
              <a:gd name="csY95" fmla="*/ 373387 h 2092038"/>
              <a:gd name="csX96" fmla="*/ 235971 w 733006"/>
              <a:gd name="csY96" fmla="*/ 504451 h 2092038"/>
              <a:gd name="csX97" fmla="*/ 247475 w 733006"/>
              <a:gd name="csY97" fmla="*/ 513241 h 2092038"/>
              <a:gd name="csX98" fmla="*/ 289066 w 733006"/>
              <a:gd name="csY98" fmla="*/ 511170 h 2092038"/>
              <a:gd name="csX99" fmla="*/ 378229 w 733006"/>
              <a:gd name="csY99" fmla="*/ 511084 h 2092038"/>
              <a:gd name="csX100" fmla="*/ 470850 w 733006"/>
              <a:gd name="csY100" fmla="*/ 516341 h 2092038"/>
              <a:gd name="csX101" fmla="*/ 492933 w 733006"/>
              <a:gd name="csY101" fmla="*/ 497969 h 2092038"/>
              <a:gd name="csX102" fmla="*/ 557617 w 733006"/>
              <a:gd name="csY102" fmla="*/ 280398 h 2092038"/>
              <a:gd name="csX103" fmla="*/ 588788 w 733006"/>
              <a:gd name="csY103" fmla="*/ 200385 h 2092038"/>
              <a:gd name="csX104" fmla="*/ 530958 w 733006"/>
              <a:gd name="csY104" fmla="*/ 232968 h 2092038"/>
              <a:gd name="csX105" fmla="*/ 483823 w 733006"/>
              <a:gd name="csY105" fmla="*/ 190364 h 2092038"/>
              <a:gd name="csX106" fmla="*/ 466649 w 733006"/>
              <a:gd name="csY106" fmla="*/ 209061 h 2092038"/>
              <a:gd name="csX107" fmla="*/ 399941 w 733006"/>
              <a:gd name="csY107" fmla="*/ 216988 h 2092038"/>
              <a:gd name="csX108" fmla="*/ 363018 w 733006"/>
              <a:gd name="csY108" fmla="*/ 179615 h 2092038"/>
              <a:gd name="csX109" fmla="*/ 308839 w 733006"/>
              <a:gd name="csY109" fmla="*/ 227846 h 2092038"/>
              <a:gd name="csX110" fmla="*/ 245077 w 733006"/>
              <a:gd name="csY110" fmla="*/ 192402 h 2092038"/>
              <a:gd name="csX111" fmla="*/ 242829 w 733006"/>
              <a:gd name="csY111" fmla="*/ 198815 h 2092038"/>
              <a:gd name="csX112" fmla="*/ 168452 w 733006"/>
              <a:gd name="csY112" fmla="*/ 219348 h 2092038"/>
              <a:gd name="csX113" fmla="*/ 140694 w 733006"/>
              <a:gd name="csY113" fmla="*/ 201837 h 2092038"/>
              <a:gd name="csX114" fmla="*/ 259999 w 733006"/>
              <a:gd name="csY114" fmla="*/ 966699 h 2092038"/>
              <a:gd name="csX115" fmla="*/ 257072 w 733006"/>
              <a:gd name="csY115" fmla="*/ 1070424 h 2092038"/>
              <a:gd name="csX116" fmla="*/ 251372 w 733006"/>
              <a:gd name="csY116" fmla="*/ 1157618 h 2092038"/>
              <a:gd name="csX117" fmla="*/ 232677 w 733006"/>
              <a:gd name="csY117" fmla="*/ 1320279 h 2092038"/>
              <a:gd name="csX118" fmla="*/ 209182 w 733006"/>
              <a:gd name="csY118" fmla="*/ 1468667 h 2092038"/>
              <a:gd name="csX119" fmla="*/ 175302 w 733006"/>
              <a:gd name="csY119" fmla="*/ 1616623 h 2092038"/>
              <a:gd name="csX120" fmla="*/ 182769 w 733006"/>
              <a:gd name="csY120" fmla="*/ 1629786 h 2092038"/>
              <a:gd name="csX121" fmla="*/ 212156 w 733006"/>
              <a:gd name="csY121" fmla="*/ 1632656 h 2092038"/>
              <a:gd name="csX122" fmla="*/ 351295 w 733006"/>
              <a:gd name="csY122" fmla="*/ 1632801 h 2092038"/>
              <a:gd name="csX123" fmla="*/ 376150 w 733006"/>
              <a:gd name="csY123" fmla="*/ 1608307 h 2092038"/>
              <a:gd name="csX124" fmla="*/ 373450 w 733006"/>
              <a:gd name="csY124" fmla="*/ 1457291 h 2092038"/>
              <a:gd name="csX125" fmla="*/ 370936 w 733006"/>
              <a:gd name="csY125" fmla="*/ 1342736 h 2092038"/>
              <a:gd name="csX126" fmla="*/ 368328 w 733006"/>
              <a:gd name="csY126" fmla="*/ 1203878 h 2092038"/>
              <a:gd name="csX127" fmla="*/ 367836 w 733006"/>
              <a:gd name="csY127" fmla="*/ 813478 h 2092038"/>
              <a:gd name="csX128" fmla="*/ 365240 w 733006"/>
              <a:gd name="csY128" fmla="*/ 773243 h 2092038"/>
              <a:gd name="csX129" fmla="*/ 353084 w 733006"/>
              <a:gd name="csY129" fmla="*/ 762083 h 2092038"/>
              <a:gd name="csX130" fmla="*/ 280966 w 733006"/>
              <a:gd name="csY130" fmla="*/ 759855 h 2092038"/>
              <a:gd name="csX131" fmla="*/ 259965 w 733006"/>
              <a:gd name="csY131" fmla="*/ 779553 h 2092038"/>
              <a:gd name="csX132" fmla="*/ 262341 w 733006"/>
              <a:gd name="csY132" fmla="*/ 856275 h 2092038"/>
              <a:gd name="csX133" fmla="*/ 259999 w 733006"/>
              <a:gd name="csY133" fmla="*/ 966699 h 2092038"/>
              <a:gd name="csX134" fmla="*/ 55556 w 733006"/>
              <a:gd name="csY134" fmla="*/ 1835827 h 2092038"/>
              <a:gd name="csX135" fmla="*/ 49393 w 733006"/>
              <a:gd name="csY135" fmla="*/ 1878155 h 2092038"/>
              <a:gd name="csX136" fmla="*/ 73949 w 733006"/>
              <a:gd name="csY136" fmla="*/ 1905781 h 2092038"/>
              <a:gd name="csX137" fmla="*/ 110073 w 733006"/>
              <a:gd name="csY137" fmla="*/ 1909068 h 2092038"/>
              <a:gd name="csX138" fmla="*/ 224745 w 733006"/>
              <a:gd name="csY138" fmla="*/ 1921652 h 2092038"/>
              <a:gd name="csX139" fmla="*/ 347327 w 733006"/>
              <a:gd name="csY139" fmla="*/ 1924778 h 2092038"/>
              <a:gd name="csX140" fmla="*/ 363345 w 733006"/>
              <a:gd name="csY140" fmla="*/ 1923293 h 2092038"/>
              <a:gd name="csX141" fmla="*/ 373787 w 733006"/>
              <a:gd name="csY141" fmla="*/ 1911200 h 2092038"/>
              <a:gd name="csX142" fmla="*/ 376623 w 733006"/>
              <a:gd name="csY142" fmla="*/ 1696741 h 2092038"/>
              <a:gd name="csX143" fmla="*/ 360437 w 733006"/>
              <a:gd name="csY143" fmla="*/ 1681289 h 2092038"/>
              <a:gd name="csX144" fmla="*/ 263503 w 733006"/>
              <a:gd name="csY144" fmla="*/ 1678179 h 2092038"/>
              <a:gd name="csX145" fmla="*/ 160381 w 733006"/>
              <a:gd name="csY145" fmla="*/ 1670405 h 2092038"/>
              <a:gd name="csX146" fmla="*/ 143321 w 733006"/>
              <a:gd name="csY146" fmla="*/ 1685538 h 2092038"/>
              <a:gd name="csX147" fmla="*/ 124769 w 733006"/>
              <a:gd name="csY147" fmla="*/ 1738195 h 2092038"/>
              <a:gd name="csX148" fmla="*/ 90593 w 733006"/>
              <a:gd name="csY148" fmla="*/ 1779570 h 2092038"/>
              <a:gd name="csX149" fmla="*/ 55556 w 733006"/>
              <a:gd name="csY149" fmla="*/ 1835827 h 2092038"/>
              <a:gd name="csX150" fmla="*/ 378900 w 733006"/>
              <a:gd name="csY150" fmla="*/ 2007280 h 2092038"/>
              <a:gd name="csX151" fmla="*/ 378887 w 733006"/>
              <a:gd name="csY151" fmla="*/ 1995127 h 2092038"/>
              <a:gd name="csX152" fmla="*/ 359084 w 733006"/>
              <a:gd name="csY152" fmla="*/ 1975964 h 2092038"/>
              <a:gd name="csX153" fmla="*/ 247288 w 733006"/>
              <a:gd name="csY153" fmla="*/ 1973305 h 2092038"/>
              <a:gd name="csX154" fmla="*/ 201692 w 733006"/>
              <a:gd name="csY154" fmla="*/ 1970275 h 2092038"/>
              <a:gd name="csX155" fmla="*/ 57962 w 733006"/>
              <a:gd name="csY155" fmla="*/ 1952648 h 2092038"/>
              <a:gd name="csX156" fmla="*/ 39194 w 733006"/>
              <a:gd name="csY156" fmla="*/ 1963552 h 2092038"/>
              <a:gd name="csX157" fmla="*/ 30066 w 733006"/>
              <a:gd name="csY157" fmla="*/ 2006631 h 2092038"/>
              <a:gd name="csX158" fmla="*/ 40232 w 733006"/>
              <a:gd name="csY158" fmla="*/ 2019486 h 2092038"/>
              <a:gd name="csX159" fmla="*/ 238186 w 733006"/>
              <a:gd name="csY159" fmla="*/ 2046096 h 2092038"/>
              <a:gd name="csX160" fmla="*/ 342155 w 733006"/>
              <a:gd name="csY160" fmla="*/ 2046441 h 2092038"/>
              <a:gd name="csX161" fmla="*/ 378900 w 733006"/>
              <a:gd name="csY161" fmla="*/ 2007280 h 2092038"/>
              <a:gd name="csX162" fmla="*/ 310220 w 733006"/>
              <a:gd name="csY162" fmla="*/ 554288 h 2092038"/>
              <a:gd name="csX163" fmla="*/ 259136 w 733006"/>
              <a:gd name="csY163" fmla="*/ 556881 h 2092038"/>
              <a:gd name="csX164" fmla="*/ 249085 w 733006"/>
              <a:gd name="csY164" fmla="*/ 567981 h 2092038"/>
              <a:gd name="csX165" fmla="*/ 249141 w 733006"/>
              <a:gd name="csY165" fmla="*/ 605644 h 2092038"/>
              <a:gd name="csX166" fmla="*/ 262628 w 733006"/>
              <a:gd name="csY166" fmla="*/ 605627 h 2092038"/>
              <a:gd name="csX167" fmla="*/ 369608 w 733006"/>
              <a:gd name="csY167" fmla="*/ 603027 h 2092038"/>
              <a:gd name="csX168" fmla="*/ 463931 w 733006"/>
              <a:gd name="csY168" fmla="*/ 605146 h 2092038"/>
              <a:gd name="csX169" fmla="*/ 478113 w 733006"/>
              <a:gd name="csY169" fmla="*/ 595843 h 2092038"/>
              <a:gd name="csX170" fmla="*/ 478796 w 733006"/>
              <a:gd name="csY170" fmla="*/ 556832 h 2092038"/>
              <a:gd name="csX171" fmla="*/ 310220 w 733006"/>
              <a:gd name="csY171" fmla="*/ 554288 h 2092038"/>
              <a:gd name="csX172" fmla="*/ 348836 w 733006"/>
              <a:gd name="csY172" fmla="*/ 684115 h 2092038"/>
              <a:gd name="csX173" fmla="*/ 281333 w 733006"/>
              <a:gd name="csY173" fmla="*/ 683313 h 2092038"/>
              <a:gd name="csX174" fmla="*/ 212728 w 733006"/>
              <a:gd name="csY174" fmla="*/ 681931 h 2092038"/>
              <a:gd name="csX175" fmla="*/ 187283 w 733006"/>
              <a:gd name="csY175" fmla="*/ 689555 h 2092038"/>
              <a:gd name="csX176" fmla="*/ 186163 w 733006"/>
              <a:gd name="csY176" fmla="*/ 718266 h 2092038"/>
              <a:gd name="csX177" fmla="*/ 209894 w 733006"/>
              <a:gd name="csY177" fmla="*/ 726798 h 2092038"/>
              <a:gd name="csX178" fmla="*/ 334814 w 733006"/>
              <a:gd name="csY178" fmla="*/ 732494 h 2092038"/>
              <a:gd name="csX179" fmla="*/ 364856 w 733006"/>
              <a:gd name="csY179" fmla="*/ 707963 h 2092038"/>
              <a:gd name="csX180" fmla="*/ 348836 w 733006"/>
              <a:gd name="csY180" fmla="*/ 684115 h 2092038"/>
              <a:gd name="csX181" fmla="*/ 298865 w 733006"/>
              <a:gd name="csY181" fmla="*/ 621954 h 2092038"/>
              <a:gd name="csX182" fmla="*/ 251619 w 733006"/>
              <a:gd name="csY182" fmla="*/ 622133 h 2092038"/>
              <a:gd name="csX183" fmla="*/ 214459 w 733006"/>
              <a:gd name="csY183" fmla="*/ 636230 h 2092038"/>
              <a:gd name="csX184" fmla="*/ 221436 w 733006"/>
              <a:gd name="csY184" fmla="*/ 654205 h 2092038"/>
              <a:gd name="csX185" fmla="*/ 272412 w 733006"/>
              <a:gd name="csY185" fmla="*/ 657250 h 2092038"/>
              <a:gd name="csX186" fmla="*/ 349094 w 733006"/>
              <a:gd name="csY186" fmla="*/ 659282 h 2092038"/>
              <a:gd name="csX187" fmla="*/ 362996 w 733006"/>
              <a:gd name="csY187" fmla="*/ 644234 h 2092038"/>
              <a:gd name="csX188" fmla="*/ 348472 w 733006"/>
              <a:gd name="csY188" fmla="*/ 624649 h 2092038"/>
              <a:gd name="csX189" fmla="*/ 298865 w 733006"/>
              <a:gd name="csY189" fmla="*/ 621954 h 2092038"/>
              <a:gd name="csX190" fmla="*/ 227796 w 733006"/>
              <a:gd name="csY190" fmla="*/ 528000 h 2092038"/>
              <a:gd name="csX191" fmla="*/ 241009 w 733006"/>
              <a:gd name="csY191" fmla="*/ 545897 h 2092038"/>
              <a:gd name="csX192" fmla="*/ 282607 w 733006"/>
              <a:gd name="csY192" fmla="*/ 543480 h 2092038"/>
              <a:gd name="csX193" fmla="*/ 354213 w 733006"/>
              <a:gd name="csY193" fmla="*/ 543384 h 2092038"/>
              <a:gd name="csX194" fmla="*/ 365334 w 733006"/>
              <a:gd name="csY194" fmla="*/ 533397 h 2092038"/>
              <a:gd name="csX195" fmla="*/ 354531 w 733006"/>
              <a:gd name="csY195" fmla="*/ 521620 h 2092038"/>
              <a:gd name="csX196" fmla="*/ 259169 w 733006"/>
              <a:gd name="csY196" fmla="*/ 521978 h 2092038"/>
              <a:gd name="csX197" fmla="*/ 227796 w 733006"/>
              <a:gd name="csY197" fmla="*/ 528000 h 2092038"/>
              <a:gd name="csX198" fmla="*/ 508068 w 733006"/>
              <a:gd name="csY198" fmla="*/ 190710 h 2092038"/>
              <a:gd name="csX199" fmla="*/ 521293 w 733006"/>
              <a:gd name="csY199" fmla="*/ 205907 h 2092038"/>
              <a:gd name="csX200" fmla="*/ 525175 w 733006"/>
              <a:gd name="csY200" fmla="*/ 202985 h 2092038"/>
              <a:gd name="csX201" fmla="*/ 500276 w 733006"/>
              <a:gd name="csY201" fmla="*/ 160640 h 2092038"/>
              <a:gd name="csX202" fmla="*/ 497122 w 733006"/>
              <a:gd name="csY202" fmla="*/ 162007 h 2092038"/>
              <a:gd name="csX203" fmla="*/ 508068 w 733006"/>
              <a:gd name="csY203" fmla="*/ 190710 h 2092038"/>
              <a:gd name="csX204" fmla="*/ 215522 w 733006"/>
              <a:gd name="csY204" fmla="*/ 197296 h 2092038"/>
              <a:gd name="csX205" fmla="*/ 234029 w 733006"/>
              <a:gd name="csY205" fmla="*/ 162725 h 2092038"/>
              <a:gd name="csX206" fmla="*/ 229000 w 733006"/>
              <a:gd name="csY206" fmla="*/ 159902 h 2092038"/>
              <a:gd name="csX207" fmla="*/ 204824 w 733006"/>
              <a:gd name="csY207" fmla="*/ 199677 h 2092038"/>
              <a:gd name="csX208" fmla="*/ 207990 w 733006"/>
              <a:gd name="csY208" fmla="*/ 202198 h 2092038"/>
              <a:gd name="csX209" fmla="*/ 215522 w 733006"/>
              <a:gd name="csY209" fmla="*/ 197296 h 2092038"/>
              <a:gd name="csX210" fmla="*/ 484400 w 733006"/>
              <a:gd name="csY210" fmla="*/ 896678 h 2092038"/>
              <a:gd name="csX211" fmla="*/ 486181 w 733006"/>
              <a:gd name="csY211" fmla="*/ 896585 h 209203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  <a:cxn ang="0">
                <a:pos x="csX170" y="csY170"/>
              </a:cxn>
              <a:cxn ang="0">
                <a:pos x="csX171" y="csY171"/>
              </a:cxn>
              <a:cxn ang="0">
                <a:pos x="csX172" y="csY172"/>
              </a:cxn>
              <a:cxn ang="0">
                <a:pos x="csX173" y="csY173"/>
              </a:cxn>
              <a:cxn ang="0">
                <a:pos x="csX174" y="csY174"/>
              </a:cxn>
              <a:cxn ang="0">
                <a:pos x="csX175" y="csY175"/>
              </a:cxn>
              <a:cxn ang="0">
                <a:pos x="csX176" y="csY176"/>
              </a:cxn>
              <a:cxn ang="0">
                <a:pos x="csX177" y="csY177"/>
              </a:cxn>
              <a:cxn ang="0">
                <a:pos x="csX178" y="csY178"/>
              </a:cxn>
              <a:cxn ang="0">
                <a:pos x="csX179" y="csY179"/>
              </a:cxn>
              <a:cxn ang="0">
                <a:pos x="csX180" y="csY180"/>
              </a:cxn>
              <a:cxn ang="0">
                <a:pos x="csX181" y="csY181"/>
              </a:cxn>
              <a:cxn ang="0">
                <a:pos x="csX182" y="csY182"/>
              </a:cxn>
              <a:cxn ang="0">
                <a:pos x="csX183" y="csY183"/>
              </a:cxn>
              <a:cxn ang="0">
                <a:pos x="csX184" y="csY184"/>
              </a:cxn>
              <a:cxn ang="0">
                <a:pos x="csX185" y="csY185"/>
              </a:cxn>
              <a:cxn ang="0">
                <a:pos x="csX186" y="csY186"/>
              </a:cxn>
              <a:cxn ang="0">
                <a:pos x="csX187" y="csY187"/>
              </a:cxn>
              <a:cxn ang="0">
                <a:pos x="csX188" y="csY188"/>
              </a:cxn>
              <a:cxn ang="0">
                <a:pos x="csX189" y="csY189"/>
              </a:cxn>
              <a:cxn ang="0">
                <a:pos x="csX190" y="csY190"/>
              </a:cxn>
              <a:cxn ang="0">
                <a:pos x="csX191" y="csY191"/>
              </a:cxn>
              <a:cxn ang="0">
                <a:pos x="csX192" y="csY192"/>
              </a:cxn>
              <a:cxn ang="0">
                <a:pos x="csX193" y="csY193"/>
              </a:cxn>
              <a:cxn ang="0">
                <a:pos x="csX194" y="csY194"/>
              </a:cxn>
              <a:cxn ang="0">
                <a:pos x="csX195" y="csY195"/>
              </a:cxn>
              <a:cxn ang="0">
                <a:pos x="csX196" y="csY196"/>
              </a:cxn>
              <a:cxn ang="0">
                <a:pos x="csX197" y="csY197"/>
              </a:cxn>
              <a:cxn ang="0">
                <a:pos x="csX198" y="csY198"/>
              </a:cxn>
              <a:cxn ang="0">
                <a:pos x="csX199" y="csY199"/>
              </a:cxn>
              <a:cxn ang="0">
                <a:pos x="csX200" y="csY200"/>
              </a:cxn>
              <a:cxn ang="0">
                <a:pos x="csX201" y="csY201"/>
              </a:cxn>
              <a:cxn ang="0">
                <a:pos x="csX202" y="csY202"/>
              </a:cxn>
              <a:cxn ang="0">
                <a:pos x="csX203" y="csY203"/>
              </a:cxn>
              <a:cxn ang="0">
                <a:pos x="csX204" y="csY204"/>
              </a:cxn>
              <a:cxn ang="0">
                <a:pos x="csX205" y="csY205"/>
              </a:cxn>
              <a:cxn ang="0">
                <a:pos x="csX206" y="csY206"/>
              </a:cxn>
              <a:cxn ang="0">
                <a:pos x="csX207" y="csY207"/>
              </a:cxn>
              <a:cxn ang="0">
                <a:pos x="csX208" y="csY208"/>
              </a:cxn>
              <a:cxn ang="0">
                <a:pos x="csX209" y="csY209"/>
              </a:cxn>
              <a:cxn ang="0">
                <a:pos x="csX210" y="csY210"/>
              </a:cxn>
              <a:cxn ang="0">
                <a:pos x="csX211" y="csY211"/>
              </a:cxn>
            </a:cxnLst>
            <a:rect l="l" t="t" r="r" b="b"/>
            <a:pathLst>
              <a:path w="733006" h="2092038">
                <a:moveTo>
                  <a:pt x="96263" y="2076207"/>
                </a:moveTo>
                <a:cubicBezTo>
                  <a:pt x="84622" y="2072588"/>
                  <a:pt x="74304" y="2068797"/>
                  <a:pt x="63862" y="2065388"/>
                </a:cubicBezTo>
                <a:cubicBezTo>
                  <a:pt x="48109" y="2060246"/>
                  <a:pt x="32006" y="2056058"/>
                  <a:pt x="16555" y="2050152"/>
                </a:cubicBezTo>
                <a:cubicBezTo>
                  <a:pt x="5209" y="2045814"/>
                  <a:pt x="-330" y="2037145"/>
                  <a:pt x="15" y="2023802"/>
                </a:cubicBezTo>
                <a:cubicBezTo>
                  <a:pt x="765" y="1994802"/>
                  <a:pt x="4044" y="1967023"/>
                  <a:pt x="18368" y="1940709"/>
                </a:cubicBezTo>
                <a:cubicBezTo>
                  <a:pt x="23362" y="1931533"/>
                  <a:pt x="23064" y="1918361"/>
                  <a:pt x="22139" y="1907268"/>
                </a:cubicBezTo>
                <a:cubicBezTo>
                  <a:pt x="18065" y="1858417"/>
                  <a:pt x="26015" y="1813128"/>
                  <a:pt x="57941" y="1774163"/>
                </a:cubicBezTo>
                <a:cubicBezTo>
                  <a:pt x="72712" y="1756135"/>
                  <a:pt x="88476" y="1738872"/>
                  <a:pt x="102478" y="1720275"/>
                </a:cubicBezTo>
                <a:cubicBezTo>
                  <a:pt x="118580" y="1698889"/>
                  <a:pt x="125626" y="1676081"/>
                  <a:pt x="108579" y="1650967"/>
                </a:cubicBezTo>
                <a:cubicBezTo>
                  <a:pt x="101716" y="1640856"/>
                  <a:pt x="106464" y="1629113"/>
                  <a:pt x="115628" y="1625405"/>
                </a:cubicBezTo>
                <a:cubicBezTo>
                  <a:pt x="145731" y="1613224"/>
                  <a:pt x="150205" y="1585698"/>
                  <a:pt x="156323" y="1560181"/>
                </a:cubicBezTo>
                <a:cubicBezTo>
                  <a:pt x="171878" y="1495304"/>
                  <a:pt x="187443" y="1430322"/>
                  <a:pt x="199424" y="1364729"/>
                </a:cubicBezTo>
                <a:cubicBezTo>
                  <a:pt x="208169" y="1316855"/>
                  <a:pt x="211328" y="1267955"/>
                  <a:pt x="216779" y="1219490"/>
                </a:cubicBezTo>
                <a:cubicBezTo>
                  <a:pt x="221281" y="1179465"/>
                  <a:pt x="225637" y="1139423"/>
                  <a:pt x="229755" y="1099357"/>
                </a:cubicBezTo>
                <a:cubicBezTo>
                  <a:pt x="231222" y="1085094"/>
                  <a:pt x="232195" y="1070753"/>
                  <a:pt x="232707" y="1056423"/>
                </a:cubicBezTo>
                <a:cubicBezTo>
                  <a:pt x="233940" y="1021849"/>
                  <a:pt x="235378" y="987264"/>
                  <a:pt x="235622" y="952675"/>
                </a:cubicBezTo>
                <a:cubicBezTo>
                  <a:pt x="236027" y="895212"/>
                  <a:pt x="235593" y="837744"/>
                  <a:pt x="235445" y="780278"/>
                </a:cubicBezTo>
                <a:cubicBezTo>
                  <a:pt x="235394" y="760454"/>
                  <a:pt x="234309" y="760517"/>
                  <a:pt x="214544" y="756435"/>
                </a:cubicBezTo>
                <a:cubicBezTo>
                  <a:pt x="200172" y="753466"/>
                  <a:pt x="185446" y="749377"/>
                  <a:pt x="172569" y="742582"/>
                </a:cubicBezTo>
                <a:cubicBezTo>
                  <a:pt x="144482" y="727762"/>
                  <a:pt x="142615" y="693725"/>
                  <a:pt x="168784" y="669116"/>
                </a:cubicBezTo>
                <a:cubicBezTo>
                  <a:pt x="180480" y="658118"/>
                  <a:pt x="190377" y="648461"/>
                  <a:pt x="191657" y="630765"/>
                </a:cubicBezTo>
                <a:cubicBezTo>
                  <a:pt x="192214" y="623073"/>
                  <a:pt x="200977" y="614427"/>
                  <a:pt x="208150" y="609084"/>
                </a:cubicBezTo>
                <a:cubicBezTo>
                  <a:pt x="222906" y="598094"/>
                  <a:pt x="228637" y="573234"/>
                  <a:pt x="216756" y="558673"/>
                </a:cubicBezTo>
                <a:cubicBezTo>
                  <a:pt x="207342" y="547135"/>
                  <a:pt x="206480" y="536349"/>
                  <a:pt x="209092" y="521540"/>
                </a:cubicBezTo>
                <a:cubicBezTo>
                  <a:pt x="211760" y="506404"/>
                  <a:pt x="207878" y="489633"/>
                  <a:pt x="204683" y="474024"/>
                </a:cubicBezTo>
                <a:cubicBezTo>
                  <a:pt x="186129" y="383394"/>
                  <a:pt x="153540" y="297499"/>
                  <a:pt x="115483" y="213499"/>
                </a:cubicBezTo>
                <a:cubicBezTo>
                  <a:pt x="110852" y="203278"/>
                  <a:pt x="105956" y="193025"/>
                  <a:pt x="102909" y="182297"/>
                </a:cubicBezTo>
                <a:cubicBezTo>
                  <a:pt x="101269" y="176526"/>
                  <a:pt x="100978" y="167554"/>
                  <a:pt x="104315" y="163968"/>
                </a:cubicBezTo>
                <a:cubicBezTo>
                  <a:pt x="107766" y="160259"/>
                  <a:pt x="117669" y="158539"/>
                  <a:pt x="122444" y="160805"/>
                </a:cubicBezTo>
                <a:cubicBezTo>
                  <a:pt x="138944" y="168636"/>
                  <a:pt x="154489" y="178499"/>
                  <a:pt x="170283" y="187783"/>
                </a:cubicBezTo>
                <a:cubicBezTo>
                  <a:pt x="174481" y="190250"/>
                  <a:pt x="178270" y="193414"/>
                  <a:pt x="180938" y="195322"/>
                </a:cubicBezTo>
                <a:cubicBezTo>
                  <a:pt x="194562" y="175763"/>
                  <a:pt x="206327" y="155469"/>
                  <a:pt x="221419" y="138058"/>
                </a:cubicBezTo>
                <a:cubicBezTo>
                  <a:pt x="240743" y="115763"/>
                  <a:pt x="265109" y="99467"/>
                  <a:pt x="294099" y="91372"/>
                </a:cubicBezTo>
                <a:cubicBezTo>
                  <a:pt x="302124" y="89131"/>
                  <a:pt x="305271" y="84852"/>
                  <a:pt x="302307" y="76560"/>
                </a:cubicBezTo>
                <a:cubicBezTo>
                  <a:pt x="292733" y="49783"/>
                  <a:pt x="299732" y="27331"/>
                  <a:pt x="320284" y="8414"/>
                </a:cubicBezTo>
                <a:cubicBezTo>
                  <a:pt x="322179" y="6669"/>
                  <a:pt x="323302" y="4085"/>
                  <a:pt x="324784" y="946"/>
                </a:cubicBezTo>
                <a:cubicBezTo>
                  <a:pt x="349171" y="0"/>
                  <a:pt x="373558" y="0"/>
                  <a:pt x="399212" y="0"/>
                </a:cubicBezTo>
                <a:cubicBezTo>
                  <a:pt x="426476" y="20404"/>
                  <a:pt x="437031" y="45903"/>
                  <a:pt x="425980" y="78301"/>
                </a:cubicBezTo>
                <a:cubicBezTo>
                  <a:pt x="423801" y="84690"/>
                  <a:pt x="424928" y="88239"/>
                  <a:pt x="431861" y="90312"/>
                </a:cubicBezTo>
                <a:cubicBezTo>
                  <a:pt x="483382" y="105720"/>
                  <a:pt x="518342" y="139660"/>
                  <a:pt x="540349" y="187946"/>
                </a:cubicBezTo>
                <a:cubicBezTo>
                  <a:pt x="541642" y="190784"/>
                  <a:pt x="543251" y="193478"/>
                  <a:pt x="545555" y="197828"/>
                </a:cubicBezTo>
                <a:lnTo>
                  <a:pt x="587318" y="171260"/>
                </a:lnTo>
                <a:cubicBezTo>
                  <a:pt x="591878" y="168403"/>
                  <a:pt x="596472" y="164665"/>
                  <a:pt x="601503" y="163707"/>
                </a:cubicBezTo>
                <a:cubicBezTo>
                  <a:pt x="609371" y="162208"/>
                  <a:pt x="619646" y="159555"/>
                  <a:pt x="625254" y="163123"/>
                </a:cubicBezTo>
                <a:cubicBezTo>
                  <a:pt x="634332" y="168899"/>
                  <a:pt x="629055" y="179274"/>
                  <a:pt x="625468" y="187579"/>
                </a:cubicBezTo>
                <a:cubicBezTo>
                  <a:pt x="616205" y="209030"/>
                  <a:pt x="606562" y="230320"/>
                  <a:pt x="597543" y="251872"/>
                </a:cubicBezTo>
                <a:cubicBezTo>
                  <a:pt x="571520" y="314052"/>
                  <a:pt x="547757" y="377046"/>
                  <a:pt x="531831" y="442689"/>
                </a:cubicBezTo>
                <a:cubicBezTo>
                  <a:pt x="527117" y="462116"/>
                  <a:pt x="522945" y="481733"/>
                  <a:pt x="519888" y="501474"/>
                </a:cubicBezTo>
                <a:cubicBezTo>
                  <a:pt x="518711" y="509073"/>
                  <a:pt x="520088" y="517665"/>
                  <a:pt x="522506" y="525086"/>
                </a:cubicBezTo>
                <a:cubicBezTo>
                  <a:pt x="526398" y="537038"/>
                  <a:pt x="525185" y="546687"/>
                  <a:pt x="516235" y="555946"/>
                </a:cubicBezTo>
                <a:cubicBezTo>
                  <a:pt x="498902" y="573877"/>
                  <a:pt x="501328" y="596490"/>
                  <a:pt x="521332" y="610676"/>
                </a:cubicBezTo>
                <a:cubicBezTo>
                  <a:pt x="532355" y="618492"/>
                  <a:pt x="539977" y="628449"/>
                  <a:pt x="541382" y="642597"/>
                </a:cubicBezTo>
                <a:cubicBezTo>
                  <a:pt x="542451" y="653366"/>
                  <a:pt x="548191" y="661148"/>
                  <a:pt x="557031" y="667949"/>
                </a:cubicBezTo>
                <a:cubicBezTo>
                  <a:pt x="583453" y="688277"/>
                  <a:pt x="588691" y="725427"/>
                  <a:pt x="553994" y="744146"/>
                </a:cubicBezTo>
                <a:cubicBezTo>
                  <a:pt x="540107" y="751637"/>
                  <a:pt x="523756" y="754889"/>
                  <a:pt x="508215" y="758841"/>
                </a:cubicBezTo>
                <a:cubicBezTo>
                  <a:pt x="500805" y="760726"/>
                  <a:pt x="497665" y="763405"/>
                  <a:pt x="497442" y="771256"/>
                </a:cubicBezTo>
                <a:cubicBezTo>
                  <a:pt x="496012" y="821532"/>
                  <a:pt x="492028" y="871838"/>
                  <a:pt x="493005" y="922055"/>
                </a:cubicBezTo>
                <a:cubicBezTo>
                  <a:pt x="494253" y="986140"/>
                  <a:pt x="499320" y="1050155"/>
                  <a:pt x="502900" y="1114191"/>
                </a:cubicBezTo>
                <a:cubicBezTo>
                  <a:pt x="504603" y="1144637"/>
                  <a:pt x="505797" y="1175148"/>
                  <a:pt x="508800" y="1205474"/>
                </a:cubicBezTo>
                <a:cubicBezTo>
                  <a:pt x="512592" y="1243768"/>
                  <a:pt x="516901" y="1282076"/>
                  <a:pt x="522952" y="1320065"/>
                </a:cubicBezTo>
                <a:cubicBezTo>
                  <a:pt x="532594" y="1380596"/>
                  <a:pt x="543267" y="1440980"/>
                  <a:pt x="554682" y="1501203"/>
                </a:cubicBezTo>
                <a:cubicBezTo>
                  <a:pt x="560600" y="1532428"/>
                  <a:pt x="568175" y="1563425"/>
                  <a:pt x="576958" y="1593963"/>
                </a:cubicBezTo>
                <a:cubicBezTo>
                  <a:pt x="579170" y="1601655"/>
                  <a:pt x="588378" y="1607829"/>
                  <a:pt x="595349" y="1613498"/>
                </a:cubicBezTo>
                <a:cubicBezTo>
                  <a:pt x="600799" y="1617931"/>
                  <a:pt x="608289" y="1619804"/>
                  <a:pt x="613936" y="1624058"/>
                </a:cubicBezTo>
                <a:cubicBezTo>
                  <a:pt x="623433" y="1631212"/>
                  <a:pt x="627187" y="1639642"/>
                  <a:pt x="620938" y="1652071"/>
                </a:cubicBezTo>
                <a:cubicBezTo>
                  <a:pt x="606287" y="1681209"/>
                  <a:pt x="609918" y="1697027"/>
                  <a:pt x="630805" y="1721702"/>
                </a:cubicBezTo>
                <a:cubicBezTo>
                  <a:pt x="650178" y="1744588"/>
                  <a:pt x="669167" y="1768040"/>
                  <a:pt x="685830" y="1792915"/>
                </a:cubicBezTo>
                <a:cubicBezTo>
                  <a:pt x="705320" y="1822011"/>
                  <a:pt x="711650" y="1855198"/>
                  <a:pt x="708904" y="1890290"/>
                </a:cubicBezTo>
                <a:cubicBezTo>
                  <a:pt x="707288" y="1910935"/>
                  <a:pt x="700766" y="1942639"/>
                  <a:pt x="716580" y="1951136"/>
                </a:cubicBezTo>
                <a:cubicBezTo>
                  <a:pt x="724392" y="1976483"/>
                  <a:pt x="727122" y="2003652"/>
                  <a:pt x="729397" y="2030261"/>
                </a:cubicBezTo>
                <a:cubicBezTo>
                  <a:pt x="729925" y="2036427"/>
                  <a:pt x="743534" y="2056174"/>
                  <a:pt x="714212" y="2059069"/>
                </a:cubicBezTo>
                <a:cubicBezTo>
                  <a:pt x="561064" y="2100066"/>
                  <a:pt x="334540" y="2099227"/>
                  <a:pt x="96263" y="2076207"/>
                </a:cubicBezTo>
                <a:moveTo>
                  <a:pt x="489970" y="152208"/>
                </a:moveTo>
                <a:lnTo>
                  <a:pt x="490754" y="152592"/>
                </a:lnTo>
                <a:cubicBezTo>
                  <a:pt x="490404" y="152187"/>
                  <a:pt x="490054" y="151782"/>
                  <a:pt x="489489" y="149547"/>
                </a:cubicBezTo>
                <a:cubicBezTo>
                  <a:pt x="463400" y="121956"/>
                  <a:pt x="429823" y="108227"/>
                  <a:pt x="393621" y="99259"/>
                </a:cubicBezTo>
                <a:cubicBezTo>
                  <a:pt x="416086" y="61028"/>
                  <a:pt x="414929" y="37233"/>
                  <a:pt x="390419" y="18568"/>
                </a:cubicBezTo>
                <a:cubicBezTo>
                  <a:pt x="373896" y="5985"/>
                  <a:pt x="349634" y="8467"/>
                  <a:pt x="334131" y="24327"/>
                </a:cubicBezTo>
                <a:cubicBezTo>
                  <a:pt x="312288" y="46673"/>
                  <a:pt x="314608" y="63885"/>
                  <a:pt x="344678" y="101259"/>
                </a:cubicBezTo>
                <a:cubicBezTo>
                  <a:pt x="329276" y="105420"/>
                  <a:pt x="313421" y="108117"/>
                  <a:pt x="298854" y="114003"/>
                </a:cubicBezTo>
                <a:cubicBezTo>
                  <a:pt x="276159" y="123172"/>
                  <a:pt x="253379" y="133071"/>
                  <a:pt x="237456" y="154340"/>
                </a:cubicBezTo>
                <a:cubicBezTo>
                  <a:pt x="237723" y="154250"/>
                  <a:pt x="237990" y="154159"/>
                  <a:pt x="240382" y="154035"/>
                </a:cubicBezTo>
                <a:cubicBezTo>
                  <a:pt x="252637" y="152964"/>
                  <a:pt x="257233" y="162164"/>
                  <a:pt x="262731" y="170426"/>
                </a:cubicBezTo>
                <a:cubicBezTo>
                  <a:pt x="267919" y="178225"/>
                  <a:pt x="272568" y="186734"/>
                  <a:pt x="279169" y="193173"/>
                </a:cubicBezTo>
                <a:cubicBezTo>
                  <a:pt x="294554" y="208182"/>
                  <a:pt x="315173" y="206011"/>
                  <a:pt x="327717" y="188556"/>
                </a:cubicBezTo>
                <a:cubicBezTo>
                  <a:pt x="335023" y="178390"/>
                  <a:pt x="341313" y="167493"/>
                  <a:pt x="348052" y="156919"/>
                </a:cubicBezTo>
                <a:cubicBezTo>
                  <a:pt x="360173" y="137899"/>
                  <a:pt x="367728" y="137921"/>
                  <a:pt x="380330" y="156483"/>
                </a:cubicBezTo>
                <a:cubicBezTo>
                  <a:pt x="389331" y="169741"/>
                  <a:pt x="397761" y="183648"/>
                  <a:pt x="408490" y="195400"/>
                </a:cubicBezTo>
                <a:cubicBezTo>
                  <a:pt x="419907" y="207908"/>
                  <a:pt x="432311" y="208318"/>
                  <a:pt x="445346" y="197582"/>
                </a:cubicBezTo>
                <a:cubicBezTo>
                  <a:pt x="453059" y="191228"/>
                  <a:pt x="458941" y="182413"/>
                  <a:pt x="464798" y="174107"/>
                </a:cubicBezTo>
                <a:cubicBezTo>
                  <a:pt x="471492" y="164615"/>
                  <a:pt x="476269" y="153399"/>
                  <a:pt x="489970" y="152208"/>
                </a:cubicBezTo>
                <a:moveTo>
                  <a:pt x="140694" y="201837"/>
                </a:moveTo>
                <a:lnTo>
                  <a:pt x="139834" y="201482"/>
                </a:lnTo>
                <a:cubicBezTo>
                  <a:pt x="140167" y="201940"/>
                  <a:pt x="140499" y="202398"/>
                  <a:pt x="140812" y="204941"/>
                </a:cubicBezTo>
                <a:cubicBezTo>
                  <a:pt x="142073" y="209235"/>
                  <a:pt x="143094" y="213618"/>
                  <a:pt x="144631" y="217811"/>
                </a:cubicBezTo>
                <a:cubicBezTo>
                  <a:pt x="163630" y="269630"/>
                  <a:pt x="184359" y="320889"/>
                  <a:pt x="201241" y="373387"/>
                </a:cubicBezTo>
                <a:cubicBezTo>
                  <a:pt x="215057" y="416348"/>
                  <a:pt x="224086" y="460838"/>
                  <a:pt x="235971" y="504451"/>
                </a:cubicBezTo>
                <a:cubicBezTo>
                  <a:pt x="237017" y="508291"/>
                  <a:pt x="243450" y="513153"/>
                  <a:pt x="247475" y="513241"/>
                </a:cubicBezTo>
                <a:cubicBezTo>
                  <a:pt x="261316" y="513543"/>
                  <a:pt x="275190" y="511373"/>
                  <a:pt x="289066" y="511170"/>
                </a:cubicBezTo>
                <a:cubicBezTo>
                  <a:pt x="318784" y="510736"/>
                  <a:pt x="348532" y="510226"/>
                  <a:pt x="378229" y="511084"/>
                </a:cubicBezTo>
                <a:cubicBezTo>
                  <a:pt x="409129" y="511977"/>
                  <a:pt x="440005" y="514145"/>
                  <a:pt x="470850" y="516341"/>
                </a:cubicBezTo>
                <a:cubicBezTo>
                  <a:pt x="488515" y="517598"/>
                  <a:pt x="488581" y="517383"/>
                  <a:pt x="492933" y="497969"/>
                </a:cubicBezTo>
                <a:cubicBezTo>
                  <a:pt x="509517" y="423981"/>
                  <a:pt x="529141" y="350878"/>
                  <a:pt x="557617" y="280398"/>
                </a:cubicBezTo>
                <a:cubicBezTo>
                  <a:pt x="568115" y="254415"/>
                  <a:pt x="577983" y="228177"/>
                  <a:pt x="588788" y="200385"/>
                </a:cubicBezTo>
                <a:cubicBezTo>
                  <a:pt x="568882" y="211746"/>
                  <a:pt x="556897" y="233442"/>
                  <a:pt x="530958" y="232968"/>
                </a:cubicBezTo>
                <a:cubicBezTo>
                  <a:pt x="501919" y="232437"/>
                  <a:pt x="492615" y="212474"/>
                  <a:pt x="483823" y="190364"/>
                </a:cubicBezTo>
                <a:cubicBezTo>
                  <a:pt x="477516" y="197154"/>
                  <a:pt x="471372" y="202589"/>
                  <a:pt x="466649" y="209061"/>
                </a:cubicBezTo>
                <a:cubicBezTo>
                  <a:pt x="449398" y="232702"/>
                  <a:pt x="420396" y="235708"/>
                  <a:pt x="399941" y="216988"/>
                </a:cubicBezTo>
                <a:cubicBezTo>
                  <a:pt x="387278" y="205398"/>
                  <a:pt x="375741" y="192577"/>
                  <a:pt x="363018" y="179615"/>
                </a:cubicBezTo>
                <a:cubicBezTo>
                  <a:pt x="350255" y="200356"/>
                  <a:pt x="336990" y="223707"/>
                  <a:pt x="308839" y="227846"/>
                </a:cubicBezTo>
                <a:cubicBezTo>
                  <a:pt x="280122" y="232067"/>
                  <a:pt x="262039" y="213088"/>
                  <a:pt x="245077" y="192402"/>
                </a:cubicBezTo>
                <a:cubicBezTo>
                  <a:pt x="244011" y="195470"/>
                  <a:pt x="243549" y="197200"/>
                  <a:pt x="242829" y="198815"/>
                </a:cubicBezTo>
                <a:cubicBezTo>
                  <a:pt x="227987" y="232132"/>
                  <a:pt x="198552" y="240117"/>
                  <a:pt x="168452" y="219348"/>
                </a:cubicBezTo>
                <a:cubicBezTo>
                  <a:pt x="159660" y="213282"/>
                  <a:pt x="150196" y="208189"/>
                  <a:pt x="140694" y="201837"/>
                </a:cubicBezTo>
                <a:moveTo>
                  <a:pt x="259999" y="966699"/>
                </a:moveTo>
                <a:cubicBezTo>
                  <a:pt x="259066" y="1001276"/>
                  <a:pt x="258555" y="1035871"/>
                  <a:pt x="257072" y="1070424"/>
                </a:cubicBezTo>
                <a:cubicBezTo>
                  <a:pt x="255822" y="1099520"/>
                  <a:pt x="254332" y="1128659"/>
                  <a:pt x="251372" y="1157618"/>
                </a:cubicBezTo>
                <a:cubicBezTo>
                  <a:pt x="245822" y="1211910"/>
                  <a:pt x="239941" y="1266195"/>
                  <a:pt x="232677" y="1320279"/>
                </a:cubicBezTo>
                <a:cubicBezTo>
                  <a:pt x="226012" y="1369906"/>
                  <a:pt x="218692" y="1419525"/>
                  <a:pt x="209182" y="1468667"/>
                </a:cubicBezTo>
                <a:cubicBezTo>
                  <a:pt x="199574" y="1518317"/>
                  <a:pt x="187234" y="1567453"/>
                  <a:pt x="175302" y="1616623"/>
                </a:cubicBezTo>
                <a:cubicBezTo>
                  <a:pt x="173247" y="1625091"/>
                  <a:pt x="175038" y="1628715"/>
                  <a:pt x="182769" y="1629786"/>
                </a:cubicBezTo>
                <a:cubicBezTo>
                  <a:pt x="192516" y="1631137"/>
                  <a:pt x="202351" y="1632591"/>
                  <a:pt x="212156" y="1632656"/>
                </a:cubicBezTo>
                <a:lnTo>
                  <a:pt x="351295" y="1632801"/>
                </a:lnTo>
                <a:cubicBezTo>
                  <a:pt x="371086" y="1632783"/>
                  <a:pt x="376419" y="1627831"/>
                  <a:pt x="376150" y="1608307"/>
                </a:cubicBezTo>
                <a:cubicBezTo>
                  <a:pt x="375456" y="1557965"/>
                  <a:pt x="374444" y="1507628"/>
                  <a:pt x="373450" y="1457291"/>
                </a:cubicBezTo>
                <a:cubicBezTo>
                  <a:pt x="372695" y="1419104"/>
                  <a:pt x="371725" y="1380922"/>
                  <a:pt x="370936" y="1342736"/>
                </a:cubicBezTo>
                <a:cubicBezTo>
                  <a:pt x="369980" y="1296451"/>
                  <a:pt x="368481" y="1250167"/>
                  <a:pt x="368328" y="1203878"/>
                </a:cubicBezTo>
                <a:cubicBezTo>
                  <a:pt x="367898" y="1073746"/>
                  <a:pt x="368114" y="943611"/>
                  <a:pt x="367836" y="813478"/>
                </a:cubicBezTo>
                <a:cubicBezTo>
                  <a:pt x="367808" y="800064"/>
                  <a:pt x="366292" y="786643"/>
                  <a:pt x="365240" y="773243"/>
                </a:cubicBezTo>
                <a:cubicBezTo>
                  <a:pt x="364669" y="765967"/>
                  <a:pt x="361177" y="762219"/>
                  <a:pt x="353084" y="762083"/>
                </a:cubicBezTo>
                <a:cubicBezTo>
                  <a:pt x="329039" y="761680"/>
                  <a:pt x="305010" y="760323"/>
                  <a:pt x="280966" y="759855"/>
                </a:cubicBezTo>
                <a:cubicBezTo>
                  <a:pt x="262974" y="759505"/>
                  <a:pt x="259584" y="762728"/>
                  <a:pt x="259965" y="779553"/>
                </a:cubicBezTo>
                <a:cubicBezTo>
                  <a:pt x="260545" y="805134"/>
                  <a:pt x="262417" y="830704"/>
                  <a:pt x="262341" y="856275"/>
                </a:cubicBezTo>
                <a:cubicBezTo>
                  <a:pt x="262235" y="892209"/>
                  <a:pt x="260847" y="928139"/>
                  <a:pt x="259999" y="966699"/>
                </a:cubicBezTo>
                <a:moveTo>
                  <a:pt x="55556" y="1835827"/>
                </a:moveTo>
                <a:cubicBezTo>
                  <a:pt x="53401" y="1849932"/>
                  <a:pt x="49990" y="1863984"/>
                  <a:pt x="49393" y="1878155"/>
                </a:cubicBezTo>
                <a:cubicBezTo>
                  <a:pt x="48549" y="1898208"/>
                  <a:pt x="54196" y="1903667"/>
                  <a:pt x="73949" y="1905781"/>
                </a:cubicBezTo>
                <a:cubicBezTo>
                  <a:pt x="85970" y="1907068"/>
                  <a:pt x="98058" y="1907739"/>
                  <a:pt x="110073" y="1909068"/>
                </a:cubicBezTo>
                <a:cubicBezTo>
                  <a:pt x="148299" y="1913297"/>
                  <a:pt x="186412" y="1919134"/>
                  <a:pt x="224745" y="1921652"/>
                </a:cubicBezTo>
                <a:cubicBezTo>
                  <a:pt x="265500" y="1924329"/>
                  <a:pt x="306455" y="1923995"/>
                  <a:pt x="347327" y="1924778"/>
                </a:cubicBezTo>
                <a:cubicBezTo>
                  <a:pt x="352654" y="1924880"/>
                  <a:pt x="357999" y="1923751"/>
                  <a:pt x="363345" y="1923293"/>
                </a:cubicBezTo>
                <a:cubicBezTo>
                  <a:pt x="370812" y="1922652"/>
                  <a:pt x="373724" y="1919361"/>
                  <a:pt x="373787" y="1911200"/>
                </a:cubicBezTo>
                <a:cubicBezTo>
                  <a:pt x="374339" y="1839709"/>
                  <a:pt x="375066" y="1768215"/>
                  <a:pt x="376623" y="1696741"/>
                </a:cubicBezTo>
                <a:cubicBezTo>
                  <a:pt x="376910" y="1683555"/>
                  <a:pt x="372147" y="1681381"/>
                  <a:pt x="360437" y="1681289"/>
                </a:cubicBezTo>
                <a:cubicBezTo>
                  <a:pt x="328117" y="1681033"/>
                  <a:pt x="295777" y="1679974"/>
                  <a:pt x="263503" y="1678179"/>
                </a:cubicBezTo>
                <a:cubicBezTo>
                  <a:pt x="229090" y="1676266"/>
                  <a:pt x="194719" y="1673423"/>
                  <a:pt x="160381" y="1670405"/>
                </a:cubicBezTo>
                <a:cubicBezTo>
                  <a:pt x="148387" y="1669350"/>
                  <a:pt x="145963" y="1675505"/>
                  <a:pt x="143321" y="1685538"/>
                </a:cubicBezTo>
                <a:cubicBezTo>
                  <a:pt x="138582" y="1703537"/>
                  <a:pt x="133802" y="1722215"/>
                  <a:pt x="124769" y="1738195"/>
                </a:cubicBezTo>
                <a:cubicBezTo>
                  <a:pt x="116109" y="1753517"/>
                  <a:pt x="101000" y="1765040"/>
                  <a:pt x="90593" y="1779570"/>
                </a:cubicBezTo>
                <a:cubicBezTo>
                  <a:pt x="78162" y="1796924"/>
                  <a:pt x="67717" y="1815700"/>
                  <a:pt x="55556" y="1835827"/>
                </a:cubicBezTo>
                <a:moveTo>
                  <a:pt x="378900" y="2007280"/>
                </a:moveTo>
                <a:cubicBezTo>
                  <a:pt x="378896" y="2003229"/>
                  <a:pt x="378901" y="1999178"/>
                  <a:pt x="378887" y="1995127"/>
                </a:cubicBezTo>
                <a:cubicBezTo>
                  <a:pt x="378824" y="1976033"/>
                  <a:pt x="378817" y="1976317"/>
                  <a:pt x="359084" y="1975964"/>
                </a:cubicBezTo>
                <a:lnTo>
                  <a:pt x="247288" y="1973305"/>
                </a:lnTo>
                <a:cubicBezTo>
                  <a:pt x="232069" y="1972838"/>
                  <a:pt x="216796" y="1972093"/>
                  <a:pt x="201692" y="1970275"/>
                </a:cubicBezTo>
                <a:lnTo>
                  <a:pt x="57962" y="1952648"/>
                </a:lnTo>
                <a:cubicBezTo>
                  <a:pt x="51898" y="1952011"/>
                  <a:pt x="41206" y="1958134"/>
                  <a:pt x="39194" y="1963552"/>
                </a:cubicBezTo>
                <a:cubicBezTo>
                  <a:pt x="34138" y="1977168"/>
                  <a:pt x="32687" y="1992148"/>
                  <a:pt x="30066" y="2006631"/>
                </a:cubicBezTo>
                <a:cubicBezTo>
                  <a:pt x="28649" y="2014460"/>
                  <a:pt x="32955" y="2017729"/>
                  <a:pt x="40232" y="2019486"/>
                </a:cubicBezTo>
                <a:cubicBezTo>
                  <a:pt x="105307" y="2035198"/>
                  <a:pt x="171489" y="2043035"/>
                  <a:pt x="238186" y="2046096"/>
                </a:cubicBezTo>
                <a:cubicBezTo>
                  <a:pt x="272775" y="2047683"/>
                  <a:pt x="307494" y="2046505"/>
                  <a:pt x="342155" y="2046441"/>
                </a:cubicBezTo>
                <a:cubicBezTo>
                  <a:pt x="378858" y="2046373"/>
                  <a:pt x="378858" y="2046303"/>
                  <a:pt x="378900" y="2007280"/>
                </a:cubicBezTo>
                <a:moveTo>
                  <a:pt x="310220" y="554288"/>
                </a:moveTo>
                <a:lnTo>
                  <a:pt x="259136" y="556881"/>
                </a:lnTo>
                <a:cubicBezTo>
                  <a:pt x="251446" y="557144"/>
                  <a:pt x="248963" y="560888"/>
                  <a:pt x="249085" y="567981"/>
                </a:cubicBezTo>
                <a:cubicBezTo>
                  <a:pt x="249291" y="580007"/>
                  <a:pt x="249141" y="592039"/>
                  <a:pt x="249141" y="605644"/>
                </a:cubicBezTo>
                <a:cubicBezTo>
                  <a:pt x="252942" y="605644"/>
                  <a:pt x="257788" y="605750"/>
                  <a:pt x="262628" y="605627"/>
                </a:cubicBezTo>
                <a:cubicBezTo>
                  <a:pt x="298288" y="604718"/>
                  <a:pt x="333947" y="603084"/>
                  <a:pt x="369608" y="603027"/>
                </a:cubicBezTo>
                <a:cubicBezTo>
                  <a:pt x="401047" y="602977"/>
                  <a:pt x="432489" y="605109"/>
                  <a:pt x="463931" y="605146"/>
                </a:cubicBezTo>
                <a:cubicBezTo>
                  <a:pt x="468882" y="605152"/>
                  <a:pt x="477522" y="599724"/>
                  <a:pt x="478113" y="595843"/>
                </a:cubicBezTo>
                <a:cubicBezTo>
                  <a:pt x="479968" y="583658"/>
                  <a:pt x="478796" y="571012"/>
                  <a:pt x="478796" y="556832"/>
                </a:cubicBezTo>
                <a:lnTo>
                  <a:pt x="310220" y="554288"/>
                </a:lnTo>
                <a:moveTo>
                  <a:pt x="348836" y="684115"/>
                </a:moveTo>
                <a:lnTo>
                  <a:pt x="281333" y="683313"/>
                </a:lnTo>
                <a:cubicBezTo>
                  <a:pt x="258459" y="682880"/>
                  <a:pt x="235573" y="681397"/>
                  <a:pt x="212728" y="681931"/>
                </a:cubicBezTo>
                <a:cubicBezTo>
                  <a:pt x="204151" y="682132"/>
                  <a:pt x="195144" y="685643"/>
                  <a:pt x="187283" y="689555"/>
                </a:cubicBezTo>
                <a:cubicBezTo>
                  <a:pt x="176092" y="695122"/>
                  <a:pt x="175412" y="711787"/>
                  <a:pt x="186163" y="718266"/>
                </a:cubicBezTo>
                <a:cubicBezTo>
                  <a:pt x="193268" y="722548"/>
                  <a:pt x="201790" y="726298"/>
                  <a:pt x="209894" y="726798"/>
                </a:cubicBezTo>
                <a:cubicBezTo>
                  <a:pt x="251494" y="729369"/>
                  <a:pt x="293151" y="731218"/>
                  <a:pt x="334814" y="732494"/>
                </a:cubicBezTo>
                <a:cubicBezTo>
                  <a:pt x="360875" y="733292"/>
                  <a:pt x="360845" y="732630"/>
                  <a:pt x="364856" y="707963"/>
                </a:cubicBezTo>
                <a:cubicBezTo>
                  <a:pt x="366759" y="696261"/>
                  <a:pt x="364119" y="687361"/>
                  <a:pt x="348836" y="684115"/>
                </a:cubicBezTo>
                <a:moveTo>
                  <a:pt x="298865" y="621954"/>
                </a:moveTo>
                <a:cubicBezTo>
                  <a:pt x="283113" y="621947"/>
                  <a:pt x="267325" y="621283"/>
                  <a:pt x="251619" y="622133"/>
                </a:cubicBezTo>
                <a:cubicBezTo>
                  <a:pt x="238016" y="622869"/>
                  <a:pt x="223730" y="622855"/>
                  <a:pt x="214459" y="636230"/>
                </a:cubicBezTo>
                <a:cubicBezTo>
                  <a:pt x="208245" y="645195"/>
                  <a:pt x="210589" y="653121"/>
                  <a:pt x="221436" y="654205"/>
                </a:cubicBezTo>
                <a:cubicBezTo>
                  <a:pt x="238362" y="655895"/>
                  <a:pt x="255402" y="656613"/>
                  <a:pt x="272412" y="657250"/>
                </a:cubicBezTo>
                <a:cubicBezTo>
                  <a:pt x="297964" y="658207"/>
                  <a:pt x="323529" y="659053"/>
                  <a:pt x="349094" y="659282"/>
                </a:cubicBezTo>
                <a:cubicBezTo>
                  <a:pt x="358195" y="659363"/>
                  <a:pt x="363477" y="655246"/>
                  <a:pt x="362996" y="644234"/>
                </a:cubicBezTo>
                <a:cubicBezTo>
                  <a:pt x="362527" y="633519"/>
                  <a:pt x="361239" y="625376"/>
                  <a:pt x="348472" y="624649"/>
                </a:cubicBezTo>
                <a:lnTo>
                  <a:pt x="298865" y="621954"/>
                </a:lnTo>
                <a:moveTo>
                  <a:pt x="227796" y="528000"/>
                </a:moveTo>
                <a:cubicBezTo>
                  <a:pt x="224777" y="540795"/>
                  <a:pt x="228095" y="545993"/>
                  <a:pt x="241009" y="545897"/>
                </a:cubicBezTo>
                <a:cubicBezTo>
                  <a:pt x="254880" y="545792"/>
                  <a:pt x="268730" y="543734"/>
                  <a:pt x="282607" y="543480"/>
                </a:cubicBezTo>
                <a:cubicBezTo>
                  <a:pt x="306469" y="543043"/>
                  <a:pt x="330344" y="543266"/>
                  <a:pt x="354213" y="543384"/>
                </a:cubicBezTo>
                <a:cubicBezTo>
                  <a:pt x="361191" y="543419"/>
                  <a:pt x="365298" y="541242"/>
                  <a:pt x="365334" y="533397"/>
                </a:cubicBezTo>
                <a:cubicBezTo>
                  <a:pt x="365369" y="525778"/>
                  <a:pt x="362988" y="521561"/>
                  <a:pt x="354531" y="521620"/>
                </a:cubicBezTo>
                <a:lnTo>
                  <a:pt x="259169" y="521978"/>
                </a:lnTo>
                <a:cubicBezTo>
                  <a:pt x="249027" y="522159"/>
                  <a:pt x="238927" y="524679"/>
                  <a:pt x="227796" y="528000"/>
                </a:cubicBezTo>
                <a:moveTo>
                  <a:pt x="508068" y="190710"/>
                </a:moveTo>
                <a:lnTo>
                  <a:pt x="521293" y="205907"/>
                </a:lnTo>
                <a:lnTo>
                  <a:pt x="525175" y="202985"/>
                </a:lnTo>
                <a:cubicBezTo>
                  <a:pt x="522014" y="185953"/>
                  <a:pt x="510916" y="173426"/>
                  <a:pt x="500276" y="160640"/>
                </a:cubicBezTo>
                <a:lnTo>
                  <a:pt x="497122" y="162007"/>
                </a:lnTo>
                <a:cubicBezTo>
                  <a:pt x="500457" y="170983"/>
                  <a:pt x="503791" y="179959"/>
                  <a:pt x="508068" y="190710"/>
                </a:cubicBezTo>
                <a:moveTo>
                  <a:pt x="215522" y="197296"/>
                </a:moveTo>
                <a:lnTo>
                  <a:pt x="234029" y="162725"/>
                </a:lnTo>
                <a:lnTo>
                  <a:pt x="229000" y="159902"/>
                </a:lnTo>
                <a:lnTo>
                  <a:pt x="204824" y="199677"/>
                </a:lnTo>
                <a:lnTo>
                  <a:pt x="207990" y="202198"/>
                </a:lnTo>
                <a:cubicBezTo>
                  <a:pt x="210047" y="201020"/>
                  <a:pt x="212104" y="199843"/>
                  <a:pt x="215522" y="197296"/>
                </a:cubicBezTo>
                <a:moveTo>
                  <a:pt x="484400" y="896678"/>
                </a:moveTo>
                <a:lnTo>
                  <a:pt x="486181" y="896585"/>
                </a:lnTo>
              </a:path>
            </a:pathLst>
          </a:custGeom>
          <a:solidFill>
            <a:srgbClr val="CCD6DA"/>
          </a:solidFill>
          <a:ln w="2699" cap="flat">
            <a:solidFill>
              <a:srgbClr val="CDD9DF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188" name="Free-form: Shape 4187">
            <a:extLst>
              <a:ext uri="{FF2B5EF4-FFF2-40B4-BE49-F238E27FC236}">
                <a16:creationId xmlns:a16="http://schemas.microsoft.com/office/drawing/2014/main" id="{CE4D3B2F-1E88-10BF-3DEA-B0B382110A77}"/>
              </a:ext>
            </a:extLst>
          </p:cNvPr>
          <p:cNvSpPr/>
          <p:nvPr/>
        </p:nvSpPr>
        <p:spPr>
          <a:xfrm flipH="1">
            <a:off x="5492571" y="4573266"/>
            <a:ext cx="185619" cy="756263"/>
          </a:xfrm>
          <a:custGeom>
            <a:avLst/>
            <a:gdLst>
              <a:gd name="csX0" fmla="*/ 85488 w 201644"/>
              <a:gd name="csY0" fmla="*/ 205555 h 873028"/>
              <a:gd name="csX1" fmla="*/ 87827 w 201644"/>
              <a:gd name="csY1" fmla="*/ 96444 h 873028"/>
              <a:gd name="csX2" fmla="*/ 85450 w 201644"/>
              <a:gd name="csY2" fmla="*/ 19723 h 873028"/>
              <a:gd name="csX3" fmla="*/ 106451 w 201644"/>
              <a:gd name="csY3" fmla="*/ 25 h 873028"/>
              <a:gd name="csX4" fmla="*/ 178569 w 201644"/>
              <a:gd name="csY4" fmla="*/ 2252 h 873028"/>
              <a:gd name="csX5" fmla="*/ 190725 w 201644"/>
              <a:gd name="csY5" fmla="*/ 13413 h 873028"/>
              <a:gd name="csX6" fmla="*/ 193322 w 201644"/>
              <a:gd name="csY6" fmla="*/ 53648 h 873028"/>
              <a:gd name="csX7" fmla="*/ 193813 w 201644"/>
              <a:gd name="csY7" fmla="*/ 444048 h 873028"/>
              <a:gd name="csX8" fmla="*/ 196421 w 201644"/>
              <a:gd name="csY8" fmla="*/ 582906 h 873028"/>
              <a:gd name="csX9" fmla="*/ 198935 w 201644"/>
              <a:gd name="csY9" fmla="*/ 697460 h 873028"/>
              <a:gd name="csX10" fmla="*/ 201635 w 201644"/>
              <a:gd name="csY10" fmla="*/ 848476 h 873028"/>
              <a:gd name="csX11" fmla="*/ 176780 w 201644"/>
              <a:gd name="csY11" fmla="*/ 872971 h 873028"/>
              <a:gd name="csX12" fmla="*/ 37642 w 201644"/>
              <a:gd name="csY12" fmla="*/ 872825 h 873028"/>
              <a:gd name="csX13" fmla="*/ 8254 w 201644"/>
              <a:gd name="csY13" fmla="*/ 869956 h 873028"/>
              <a:gd name="csX14" fmla="*/ 787 w 201644"/>
              <a:gd name="csY14" fmla="*/ 856792 h 873028"/>
              <a:gd name="csX15" fmla="*/ 34667 w 201644"/>
              <a:gd name="csY15" fmla="*/ 708837 h 873028"/>
              <a:gd name="csX16" fmla="*/ 58163 w 201644"/>
              <a:gd name="csY16" fmla="*/ 560448 h 873028"/>
              <a:gd name="csX17" fmla="*/ 76857 w 201644"/>
              <a:gd name="csY17" fmla="*/ 397787 h 873028"/>
              <a:gd name="csX18" fmla="*/ 82557 w 201644"/>
              <a:gd name="csY18" fmla="*/ 310594 h 873028"/>
              <a:gd name="csX19" fmla="*/ 85488 w 201644"/>
              <a:gd name="csY19" fmla="*/ 205555 h 87302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</a:cxnLst>
            <a:rect l="l" t="t" r="r" b="b"/>
            <a:pathLst>
              <a:path w="201644" h="873028">
                <a:moveTo>
                  <a:pt x="85488" y="205555"/>
                </a:moveTo>
                <a:cubicBezTo>
                  <a:pt x="86332" y="168309"/>
                  <a:pt x="87720" y="132378"/>
                  <a:pt x="87827" y="96444"/>
                </a:cubicBezTo>
                <a:cubicBezTo>
                  <a:pt x="87903" y="70874"/>
                  <a:pt x="86030" y="45303"/>
                  <a:pt x="85450" y="19723"/>
                </a:cubicBezTo>
                <a:cubicBezTo>
                  <a:pt x="85069" y="2897"/>
                  <a:pt x="88460" y="-326"/>
                  <a:pt x="106451" y="25"/>
                </a:cubicBezTo>
                <a:cubicBezTo>
                  <a:pt x="130496" y="493"/>
                  <a:pt x="154524" y="1849"/>
                  <a:pt x="178569" y="2252"/>
                </a:cubicBezTo>
                <a:cubicBezTo>
                  <a:pt x="186663" y="2388"/>
                  <a:pt x="190154" y="6137"/>
                  <a:pt x="190725" y="13413"/>
                </a:cubicBezTo>
                <a:cubicBezTo>
                  <a:pt x="191778" y="26813"/>
                  <a:pt x="193293" y="40233"/>
                  <a:pt x="193322" y="53648"/>
                </a:cubicBezTo>
                <a:cubicBezTo>
                  <a:pt x="193599" y="183781"/>
                  <a:pt x="193383" y="313915"/>
                  <a:pt x="193813" y="444048"/>
                </a:cubicBezTo>
                <a:cubicBezTo>
                  <a:pt x="193967" y="490336"/>
                  <a:pt x="195465" y="536621"/>
                  <a:pt x="196421" y="582906"/>
                </a:cubicBezTo>
                <a:cubicBezTo>
                  <a:pt x="197210" y="621092"/>
                  <a:pt x="198181" y="659274"/>
                  <a:pt x="198935" y="697460"/>
                </a:cubicBezTo>
                <a:cubicBezTo>
                  <a:pt x="199930" y="747797"/>
                  <a:pt x="200941" y="798134"/>
                  <a:pt x="201635" y="848476"/>
                </a:cubicBezTo>
                <a:cubicBezTo>
                  <a:pt x="201904" y="868001"/>
                  <a:pt x="196572" y="872953"/>
                  <a:pt x="176780" y="872971"/>
                </a:cubicBezTo>
                <a:cubicBezTo>
                  <a:pt x="130401" y="873012"/>
                  <a:pt x="84020" y="873131"/>
                  <a:pt x="37642" y="872825"/>
                </a:cubicBezTo>
                <a:cubicBezTo>
                  <a:pt x="27836" y="872761"/>
                  <a:pt x="18001" y="871306"/>
                  <a:pt x="8254" y="869956"/>
                </a:cubicBezTo>
                <a:cubicBezTo>
                  <a:pt x="524" y="868885"/>
                  <a:pt x="-1268" y="865260"/>
                  <a:pt x="787" y="856792"/>
                </a:cubicBezTo>
                <a:cubicBezTo>
                  <a:pt x="12720" y="807623"/>
                  <a:pt x="25059" y="758486"/>
                  <a:pt x="34667" y="708837"/>
                </a:cubicBezTo>
                <a:cubicBezTo>
                  <a:pt x="44177" y="659694"/>
                  <a:pt x="51498" y="610075"/>
                  <a:pt x="58163" y="560448"/>
                </a:cubicBezTo>
                <a:cubicBezTo>
                  <a:pt x="65426" y="506364"/>
                  <a:pt x="71307" y="452080"/>
                  <a:pt x="76857" y="397787"/>
                </a:cubicBezTo>
                <a:cubicBezTo>
                  <a:pt x="79817" y="368829"/>
                  <a:pt x="81308" y="339690"/>
                  <a:pt x="82557" y="310594"/>
                </a:cubicBezTo>
                <a:cubicBezTo>
                  <a:pt x="84040" y="276041"/>
                  <a:pt x="84552" y="241446"/>
                  <a:pt x="85488" y="205555"/>
                </a:cubicBezTo>
                <a:close/>
              </a:path>
            </a:pathLst>
          </a:custGeom>
          <a:solidFill>
            <a:schemeClr val="bg1"/>
          </a:solidFill>
          <a:ln w="2699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189" name="Free-form: Shape 4188">
            <a:extLst>
              <a:ext uri="{FF2B5EF4-FFF2-40B4-BE49-F238E27FC236}">
                <a16:creationId xmlns:a16="http://schemas.microsoft.com/office/drawing/2014/main" id="{881A5020-4314-9D48-9FA9-C4B1764145C4}"/>
              </a:ext>
            </a:extLst>
          </p:cNvPr>
          <p:cNvSpPr/>
          <p:nvPr/>
        </p:nvSpPr>
        <p:spPr>
          <a:xfrm flipH="1">
            <a:off x="5293483" y="4061926"/>
            <a:ext cx="208544" cy="300793"/>
          </a:xfrm>
          <a:custGeom>
            <a:avLst/>
            <a:gdLst>
              <a:gd name="csX0" fmla="*/ 778 w 226548"/>
              <a:gd name="csY0" fmla="*/ 0 h 337161"/>
              <a:gd name="csX1" fmla="*/ 37702 w 226548"/>
              <a:gd name="csY1" fmla="*/ 37373 h 337161"/>
              <a:gd name="csX2" fmla="*/ 104410 w 226548"/>
              <a:gd name="csY2" fmla="*/ 29446 h 337161"/>
              <a:gd name="csX3" fmla="*/ 121584 w 226548"/>
              <a:gd name="csY3" fmla="*/ 10749 h 337161"/>
              <a:gd name="csX4" fmla="*/ 168719 w 226548"/>
              <a:gd name="csY4" fmla="*/ 53353 h 337161"/>
              <a:gd name="csX5" fmla="*/ 226548 w 226548"/>
              <a:gd name="csY5" fmla="*/ 20770 h 337161"/>
              <a:gd name="csX6" fmla="*/ 195378 w 226548"/>
              <a:gd name="csY6" fmla="*/ 100783 h 337161"/>
              <a:gd name="csX7" fmla="*/ 130693 w 226548"/>
              <a:gd name="csY7" fmla="*/ 318354 h 337161"/>
              <a:gd name="csX8" fmla="*/ 108611 w 226548"/>
              <a:gd name="csY8" fmla="*/ 336726 h 337161"/>
              <a:gd name="csX9" fmla="*/ 15990 w 226548"/>
              <a:gd name="csY9" fmla="*/ 331469 h 337161"/>
              <a:gd name="csX10" fmla="*/ 0 w 226548"/>
              <a:gd name="csY10" fmla="*/ 331485 h 337161"/>
              <a:gd name="csX11" fmla="*/ 0 w 226548"/>
              <a:gd name="csY11" fmla="*/ 1107 h 33716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226548" h="337161">
                <a:moveTo>
                  <a:pt x="778" y="0"/>
                </a:moveTo>
                <a:cubicBezTo>
                  <a:pt x="13501" y="12962"/>
                  <a:pt x="25038" y="25783"/>
                  <a:pt x="37702" y="37373"/>
                </a:cubicBezTo>
                <a:cubicBezTo>
                  <a:pt x="58156" y="56093"/>
                  <a:pt x="87159" y="53087"/>
                  <a:pt x="104410" y="29446"/>
                </a:cubicBezTo>
                <a:cubicBezTo>
                  <a:pt x="109133" y="22974"/>
                  <a:pt x="115276" y="17539"/>
                  <a:pt x="121584" y="10749"/>
                </a:cubicBezTo>
                <a:cubicBezTo>
                  <a:pt x="130376" y="32859"/>
                  <a:pt x="139680" y="52822"/>
                  <a:pt x="168719" y="53353"/>
                </a:cubicBezTo>
                <a:cubicBezTo>
                  <a:pt x="194658" y="53827"/>
                  <a:pt x="206643" y="32131"/>
                  <a:pt x="226548" y="20770"/>
                </a:cubicBezTo>
                <a:cubicBezTo>
                  <a:pt x="215744" y="48562"/>
                  <a:pt x="205876" y="74800"/>
                  <a:pt x="195378" y="100783"/>
                </a:cubicBezTo>
                <a:cubicBezTo>
                  <a:pt x="166902" y="171263"/>
                  <a:pt x="147278" y="244366"/>
                  <a:pt x="130693" y="318354"/>
                </a:cubicBezTo>
                <a:cubicBezTo>
                  <a:pt x="126342" y="337768"/>
                  <a:pt x="126276" y="337983"/>
                  <a:pt x="108611" y="336726"/>
                </a:cubicBezTo>
                <a:cubicBezTo>
                  <a:pt x="77766" y="334530"/>
                  <a:pt x="46890" y="332362"/>
                  <a:pt x="15990" y="331469"/>
                </a:cubicBezTo>
                <a:lnTo>
                  <a:pt x="0" y="331485"/>
                </a:lnTo>
                <a:lnTo>
                  <a:pt x="0" y="1107"/>
                </a:lnTo>
                <a:close/>
              </a:path>
            </a:pathLst>
          </a:custGeom>
          <a:solidFill>
            <a:srgbClr val="CCD6DA"/>
          </a:solidFill>
          <a:ln w="2699" cap="flat">
            <a:noFill/>
            <a:prstDash val="solid"/>
            <a:miter/>
          </a:ln>
        </p:spPr>
        <p:txBody>
          <a:bodyPr wrap="squar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190" name="Free-form: Shape 4189">
            <a:extLst>
              <a:ext uri="{FF2B5EF4-FFF2-40B4-BE49-F238E27FC236}">
                <a16:creationId xmlns:a16="http://schemas.microsoft.com/office/drawing/2014/main" id="{5A677E33-E118-97CC-AAD8-43F39360FCE0}"/>
              </a:ext>
            </a:extLst>
          </p:cNvPr>
          <p:cNvSpPr/>
          <p:nvPr/>
        </p:nvSpPr>
        <p:spPr>
          <a:xfrm flipH="1">
            <a:off x="5492132" y="5361952"/>
            <a:ext cx="301310" cy="220459"/>
          </a:xfrm>
          <a:custGeom>
            <a:avLst/>
            <a:gdLst>
              <a:gd name="csX0" fmla="*/ 6671 w 327322"/>
              <a:gd name="csY0" fmla="*/ 164556 h 254497"/>
              <a:gd name="csX1" fmla="*/ 41280 w 327322"/>
              <a:gd name="csY1" fmla="*/ 109282 h 254497"/>
              <a:gd name="csX2" fmla="*/ 75457 w 327322"/>
              <a:gd name="csY2" fmla="*/ 67908 h 254497"/>
              <a:gd name="csX3" fmla="*/ 94008 w 327322"/>
              <a:gd name="csY3" fmla="*/ 15251 h 254497"/>
              <a:gd name="csX4" fmla="*/ 111068 w 327322"/>
              <a:gd name="csY4" fmla="*/ 117 h 254497"/>
              <a:gd name="csX5" fmla="*/ 214190 w 327322"/>
              <a:gd name="csY5" fmla="*/ 7891 h 254497"/>
              <a:gd name="csX6" fmla="*/ 311124 w 327322"/>
              <a:gd name="csY6" fmla="*/ 11001 h 254497"/>
              <a:gd name="csX7" fmla="*/ 327310 w 327322"/>
              <a:gd name="csY7" fmla="*/ 26454 h 254497"/>
              <a:gd name="csX8" fmla="*/ 324474 w 327322"/>
              <a:gd name="csY8" fmla="*/ 240912 h 254497"/>
              <a:gd name="csX9" fmla="*/ 314032 w 327322"/>
              <a:gd name="csY9" fmla="*/ 253005 h 254497"/>
              <a:gd name="csX10" fmla="*/ 298014 w 327322"/>
              <a:gd name="csY10" fmla="*/ 254491 h 254497"/>
              <a:gd name="csX11" fmla="*/ 175432 w 327322"/>
              <a:gd name="csY11" fmla="*/ 251365 h 254497"/>
              <a:gd name="csX12" fmla="*/ 60761 w 327322"/>
              <a:gd name="csY12" fmla="*/ 238781 h 254497"/>
              <a:gd name="csX13" fmla="*/ 24636 w 327322"/>
              <a:gd name="csY13" fmla="*/ 235494 h 254497"/>
              <a:gd name="csX14" fmla="*/ 80 w 327322"/>
              <a:gd name="csY14" fmla="*/ 207868 h 254497"/>
              <a:gd name="csX15" fmla="*/ 6671 w 327322"/>
              <a:gd name="csY15" fmla="*/ 164556 h 25449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</a:cxnLst>
            <a:rect l="l" t="t" r="r" b="b"/>
            <a:pathLst>
              <a:path w="327322" h="254497">
                <a:moveTo>
                  <a:pt x="6671" y="164556"/>
                </a:moveTo>
                <a:cubicBezTo>
                  <a:pt x="18404" y="145412"/>
                  <a:pt x="28850" y="126637"/>
                  <a:pt x="41280" y="109282"/>
                </a:cubicBezTo>
                <a:cubicBezTo>
                  <a:pt x="51687" y="94752"/>
                  <a:pt x="66796" y="83230"/>
                  <a:pt x="75457" y="67908"/>
                </a:cubicBezTo>
                <a:cubicBezTo>
                  <a:pt x="84489" y="51927"/>
                  <a:pt x="89269" y="33249"/>
                  <a:pt x="94008" y="15251"/>
                </a:cubicBezTo>
                <a:cubicBezTo>
                  <a:pt x="96650" y="5217"/>
                  <a:pt x="99074" y="-938"/>
                  <a:pt x="111068" y="117"/>
                </a:cubicBezTo>
                <a:cubicBezTo>
                  <a:pt x="145406" y="3136"/>
                  <a:pt x="179777" y="5978"/>
                  <a:pt x="214190" y="7891"/>
                </a:cubicBezTo>
                <a:cubicBezTo>
                  <a:pt x="246464" y="9686"/>
                  <a:pt x="278804" y="10746"/>
                  <a:pt x="311124" y="11001"/>
                </a:cubicBezTo>
                <a:cubicBezTo>
                  <a:pt x="322834" y="11094"/>
                  <a:pt x="327597" y="13267"/>
                  <a:pt x="327310" y="26454"/>
                </a:cubicBezTo>
                <a:cubicBezTo>
                  <a:pt x="325754" y="97927"/>
                  <a:pt x="325026" y="169421"/>
                  <a:pt x="324474" y="240912"/>
                </a:cubicBezTo>
                <a:cubicBezTo>
                  <a:pt x="324411" y="249073"/>
                  <a:pt x="321499" y="252364"/>
                  <a:pt x="314032" y="253005"/>
                </a:cubicBezTo>
                <a:cubicBezTo>
                  <a:pt x="308686" y="253463"/>
                  <a:pt x="303341" y="254593"/>
                  <a:pt x="298014" y="254491"/>
                </a:cubicBezTo>
                <a:cubicBezTo>
                  <a:pt x="257142" y="253707"/>
                  <a:pt x="216187" y="254041"/>
                  <a:pt x="175432" y="251365"/>
                </a:cubicBezTo>
                <a:cubicBezTo>
                  <a:pt x="137099" y="248847"/>
                  <a:pt x="98986" y="243009"/>
                  <a:pt x="60761" y="238781"/>
                </a:cubicBezTo>
                <a:cubicBezTo>
                  <a:pt x="48745" y="237452"/>
                  <a:pt x="36657" y="236780"/>
                  <a:pt x="24636" y="235494"/>
                </a:cubicBezTo>
                <a:cubicBezTo>
                  <a:pt x="4883" y="233380"/>
                  <a:pt x="-764" y="227920"/>
                  <a:pt x="80" y="207868"/>
                </a:cubicBezTo>
                <a:cubicBezTo>
                  <a:pt x="677" y="193697"/>
                  <a:pt x="4088" y="179644"/>
                  <a:pt x="6671" y="164556"/>
                </a:cubicBezTo>
                <a:close/>
              </a:path>
            </a:pathLst>
          </a:custGeom>
          <a:solidFill>
            <a:schemeClr val="bg1"/>
          </a:solidFill>
          <a:ln w="2699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191" name="Free-form: Shape 4190">
            <a:extLst>
              <a:ext uri="{FF2B5EF4-FFF2-40B4-BE49-F238E27FC236}">
                <a16:creationId xmlns:a16="http://schemas.microsoft.com/office/drawing/2014/main" id="{285FF73C-FF62-92E1-D471-1E98AADBBF38}"/>
              </a:ext>
            </a:extLst>
          </p:cNvPr>
          <p:cNvSpPr/>
          <p:nvPr/>
        </p:nvSpPr>
        <p:spPr>
          <a:xfrm flipH="1">
            <a:off x="5490047" y="5606508"/>
            <a:ext cx="321360" cy="81704"/>
          </a:xfrm>
          <a:custGeom>
            <a:avLst/>
            <a:gdLst>
              <a:gd name="csX0" fmla="*/ 349104 w 349103"/>
              <a:gd name="csY0" fmla="*/ 55996 h 94319"/>
              <a:gd name="csX1" fmla="*/ 312357 w 349103"/>
              <a:gd name="csY1" fmla="*/ 93839 h 94319"/>
              <a:gd name="csX2" fmla="*/ 208388 w 349103"/>
              <a:gd name="csY2" fmla="*/ 93494 h 94319"/>
              <a:gd name="csX3" fmla="*/ 10435 w 349103"/>
              <a:gd name="csY3" fmla="*/ 66884 h 94319"/>
              <a:gd name="csX4" fmla="*/ 269 w 349103"/>
              <a:gd name="csY4" fmla="*/ 54029 h 94319"/>
              <a:gd name="csX5" fmla="*/ 9397 w 349103"/>
              <a:gd name="csY5" fmla="*/ 10950 h 94319"/>
              <a:gd name="csX6" fmla="*/ 28165 w 349103"/>
              <a:gd name="csY6" fmla="*/ 46 h 94319"/>
              <a:gd name="csX7" fmla="*/ 171895 w 349103"/>
              <a:gd name="csY7" fmla="*/ 17673 h 94319"/>
              <a:gd name="csX8" fmla="*/ 217491 w 349103"/>
              <a:gd name="csY8" fmla="*/ 20703 h 94319"/>
              <a:gd name="csX9" fmla="*/ 329287 w 349103"/>
              <a:gd name="csY9" fmla="*/ 23362 h 94319"/>
              <a:gd name="csX10" fmla="*/ 349090 w 349103"/>
              <a:gd name="csY10" fmla="*/ 42524 h 94319"/>
              <a:gd name="csX11" fmla="*/ 349104 w 349103"/>
              <a:gd name="csY11" fmla="*/ 55996 h 9431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349103" h="94319">
                <a:moveTo>
                  <a:pt x="349104" y="55996"/>
                </a:moveTo>
                <a:cubicBezTo>
                  <a:pt x="349060" y="93701"/>
                  <a:pt x="349061" y="93771"/>
                  <a:pt x="312357" y="93839"/>
                </a:cubicBezTo>
                <a:cubicBezTo>
                  <a:pt x="277697" y="93903"/>
                  <a:pt x="242977" y="95081"/>
                  <a:pt x="208388" y="93494"/>
                </a:cubicBezTo>
                <a:cubicBezTo>
                  <a:pt x="141692" y="90433"/>
                  <a:pt x="75510" y="82596"/>
                  <a:pt x="10435" y="66884"/>
                </a:cubicBezTo>
                <a:cubicBezTo>
                  <a:pt x="3157" y="65127"/>
                  <a:pt x="-1148" y="61858"/>
                  <a:pt x="269" y="54029"/>
                </a:cubicBezTo>
                <a:cubicBezTo>
                  <a:pt x="2890" y="39546"/>
                  <a:pt x="4341" y="24565"/>
                  <a:pt x="9397" y="10950"/>
                </a:cubicBezTo>
                <a:cubicBezTo>
                  <a:pt x="11408" y="5532"/>
                  <a:pt x="22101" y="-591"/>
                  <a:pt x="28165" y="46"/>
                </a:cubicBezTo>
                <a:cubicBezTo>
                  <a:pt x="76162" y="5087"/>
                  <a:pt x="123969" y="11902"/>
                  <a:pt x="171895" y="17673"/>
                </a:cubicBezTo>
                <a:cubicBezTo>
                  <a:pt x="186999" y="19491"/>
                  <a:pt x="202271" y="20235"/>
                  <a:pt x="217491" y="20703"/>
                </a:cubicBezTo>
                <a:cubicBezTo>
                  <a:pt x="254748" y="21848"/>
                  <a:pt x="292017" y="22695"/>
                  <a:pt x="329287" y="23362"/>
                </a:cubicBezTo>
                <a:cubicBezTo>
                  <a:pt x="349020" y="23715"/>
                  <a:pt x="349026" y="23431"/>
                  <a:pt x="349090" y="42524"/>
                </a:cubicBezTo>
                <a:cubicBezTo>
                  <a:pt x="349103" y="46576"/>
                  <a:pt x="349099" y="50627"/>
                  <a:pt x="349104" y="55996"/>
                </a:cubicBezTo>
                <a:close/>
              </a:path>
            </a:pathLst>
          </a:custGeom>
          <a:solidFill>
            <a:schemeClr val="bg1"/>
          </a:solidFill>
          <a:ln w="2699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192" name="Free-form: Shape 4191">
            <a:extLst>
              <a:ext uri="{FF2B5EF4-FFF2-40B4-BE49-F238E27FC236}">
                <a16:creationId xmlns:a16="http://schemas.microsoft.com/office/drawing/2014/main" id="{DDE15B59-93D5-5386-2939-096B2CFD4CBF}"/>
              </a:ext>
            </a:extLst>
          </p:cNvPr>
          <p:cNvSpPr/>
          <p:nvPr/>
        </p:nvSpPr>
        <p:spPr>
          <a:xfrm flipH="1">
            <a:off x="5388073" y="3924206"/>
            <a:ext cx="231399" cy="168639"/>
          </a:xfrm>
          <a:custGeom>
            <a:avLst/>
            <a:gdLst>
              <a:gd name="csX0" fmla="*/ 0 w 251376"/>
              <a:gd name="csY0" fmla="*/ 143557 h 194676"/>
              <a:gd name="csX1" fmla="*/ 60552 w 251376"/>
              <a:gd name="csY1" fmla="*/ 103445 h 194676"/>
              <a:gd name="csX2" fmla="*/ 106376 w 251376"/>
              <a:gd name="csY2" fmla="*/ 90701 h 194676"/>
              <a:gd name="csX3" fmla="*/ 95829 w 251376"/>
              <a:gd name="csY3" fmla="*/ 13769 h 194676"/>
              <a:gd name="csX4" fmla="*/ 152117 w 251376"/>
              <a:gd name="csY4" fmla="*/ 8010 h 194676"/>
              <a:gd name="csX5" fmla="*/ 155319 w 251376"/>
              <a:gd name="csY5" fmla="*/ 88701 h 194676"/>
              <a:gd name="csX6" fmla="*/ 251288 w 251376"/>
              <a:gd name="csY6" fmla="*/ 139911 h 194676"/>
              <a:gd name="csX7" fmla="*/ 251376 w 251376"/>
              <a:gd name="csY7" fmla="*/ 140847 h 194676"/>
              <a:gd name="csX8" fmla="*/ 226496 w 251376"/>
              <a:gd name="csY8" fmla="*/ 163548 h 194676"/>
              <a:gd name="csX9" fmla="*/ 207044 w 251376"/>
              <a:gd name="csY9" fmla="*/ 187024 h 194676"/>
              <a:gd name="csX10" fmla="*/ 170188 w 251376"/>
              <a:gd name="csY10" fmla="*/ 184842 h 194676"/>
              <a:gd name="csX11" fmla="*/ 142028 w 251376"/>
              <a:gd name="csY11" fmla="*/ 145925 h 194676"/>
              <a:gd name="csX12" fmla="*/ 109750 w 251376"/>
              <a:gd name="csY12" fmla="*/ 146361 h 194676"/>
              <a:gd name="csX13" fmla="*/ 89415 w 251376"/>
              <a:gd name="csY13" fmla="*/ 177998 h 194676"/>
              <a:gd name="csX14" fmla="*/ 40867 w 251376"/>
              <a:gd name="csY14" fmla="*/ 182615 h 194676"/>
              <a:gd name="csX15" fmla="*/ 24429 w 251376"/>
              <a:gd name="csY15" fmla="*/ 159868 h 194676"/>
              <a:gd name="csX16" fmla="*/ 1027 w 251376"/>
              <a:gd name="csY16" fmla="*/ 143506 h 194676"/>
              <a:gd name="csX17" fmla="*/ 0 w 251376"/>
              <a:gd name="csY17" fmla="*/ 143557 h 19467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</a:cxnLst>
            <a:rect l="l" t="t" r="r" b="b"/>
            <a:pathLst>
              <a:path w="251376" h="194676">
                <a:moveTo>
                  <a:pt x="0" y="143557"/>
                </a:moveTo>
                <a:cubicBezTo>
                  <a:pt x="15077" y="122513"/>
                  <a:pt x="37857" y="112614"/>
                  <a:pt x="60552" y="103445"/>
                </a:cubicBezTo>
                <a:cubicBezTo>
                  <a:pt x="75119" y="97559"/>
                  <a:pt x="90974" y="94861"/>
                  <a:pt x="106376" y="90701"/>
                </a:cubicBezTo>
                <a:cubicBezTo>
                  <a:pt x="76306" y="53327"/>
                  <a:pt x="73986" y="36115"/>
                  <a:pt x="95829" y="13769"/>
                </a:cubicBezTo>
                <a:cubicBezTo>
                  <a:pt x="111332" y="-2091"/>
                  <a:pt x="135594" y="-4573"/>
                  <a:pt x="152117" y="8010"/>
                </a:cubicBezTo>
                <a:cubicBezTo>
                  <a:pt x="176627" y="26675"/>
                  <a:pt x="177784" y="50470"/>
                  <a:pt x="155319" y="88701"/>
                </a:cubicBezTo>
                <a:cubicBezTo>
                  <a:pt x="191521" y="97669"/>
                  <a:pt x="225098" y="111398"/>
                  <a:pt x="251288" y="139911"/>
                </a:cubicBezTo>
                <a:cubicBezTo>
                  <a:pt x="251389" y="140832"/>
                  <a:pt x="251376" y="140847"/>
                  <a:pt x="251376" y="140847"/>
                </a:cubicBezTo>
                <a:cubicBezTo>
                  <a:pt x="237967" y="142841"/>
                  <a:pt x="233190" y="154057"/>
                  <a:pt x="226496" y="163548"/>
                </a:cubicBezTo>
                <a:cubicBezTo>
                  <a:pt x="220639" y="171855"/>
                  <a:pt x="214757" y="180670"/>
                  <a:pt x="207044" y="187024"/>
                </a:cubicBezTo>
                <a:cubicBezTo>
                  <a:pt x="194009" y="197760"/>
                  <a:pt x="181605" y="197350"/>
                  <a:pt x="170188" y="184842"/>
                </a:cubicBezTo>
                <a:cubicBezTo>
                  <a:pt x="159459" y="173090"/>
                  <a:pt x="151029" y="159183"/>
                  <a:pt x="142028" y="145925"/>
                </a:cubicBezTo>
                <a:cubicBezTo>
                  <a:pt x="129426" y="127363"/>
                  <a:pt x="121871" y="127341"/>
                  <a:pt x="109750" y="146361"/>
                </a:cubicBezTo>
                <a:cubicBezTo>
                  <a:pt x="103011" y="156935"/>
                  <a:pt x="96721" y="167832"/>
                  <a:pt x="89415" y="177998"/>
                </a:cubicBezTo>
                <a:cubicBezTo>
                  <a:pt x="76871" y="195453"/>
                  <a:pt x="56252" y="197624"/>
                  <a:pt x="40867" y="182615"/>
                </a:cubicBezTo>
                <a:cubicBezTo>
                  <a:pt x="34266" y="176176"/>
                  <a:pt x="29617" y="167667"/>
                  <a:pt x="24429" y="159868"/>
                </a:cubicBezTo>
                <a:cubicBezTo>
                  <a:pt x="18931" y="151605"/>
                  <a:pt x="14335" y="142406"/>
                  <a:pt x="1027" y="143506"/>
                </a:cubicBezTo>
                <a:cubicBezTo>
                  <a:pt x="-26" y="143536"/>
                  <a:pt x="0" y="143557"/>
                  <a:pt x="0" y="143557"/>
                </a:cubicBezTo>
                <a:close/>
              </a:path>
            </a:pathLst>
          </a:custGeom>
          <a:solidFill>
            <a:srgbClr val="FCFCFB"/>
          </a:solidFill>
          <a:ln w="2699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193" name="Free-form: Shape 4192">
            <a:extLst>
              <a:ext uri="{FF2B5EF4-FFF2-40B4-BE49-F238E27FC236}">
                <a16:creationId xmlns:a16="http://schemas.microsoft.com/office/drawing/2014/main" id="{A5846275-018F-9BA4-5C45-1E1702E31902}"/>
              </a:ext>
            </a:extLst>
          </p:cNvPr>
          <p:cNvSpPr/>
          <p:nvPr/>
        </p:nvSpPr>
        <p:spPr>
          <a:xfrm flipH="1">
            <a:off x="5504661" y="4395210"/>
            <a:ext cx="104890" cy="54608"/>
          </a:xfrm>
          <a:custGeom>
            <a:avLst/>
            <a:gdLst>
              <a:gd name="csX0" fmla="*/ 62457 w 230080"/>
              <a:gd name="csY0" fmla="*/ 0 h 51402"/>
              <a:gd name="csX1" fmla="*/ 229715 w 230080"/>
              <a:gd name="csY1" fmla="*/ 2548 h 51402"/>
              <a:gd name="csX2" fmla="*/ 229033 w 230080"/>
              <a:gd name="csY2" fmla="*/ 41559 h 51402"/>
              <a:gd name="csX3" fmla="*/ 214851 w 230080"/>
              <a:gd name="csY3" fmla="*/ 50862 h 51402"/>
              <a:gd name="csX4" fmla="*/ 120527 w 230080"/>
              <a:gd name="csY4" fmla="*/ 48743 h 51402"/>
              <a:gd name="csX5" fmla="*/ 13547 w 230080"/>
              <a:gd name="csY5" fmla="*/ 51342 h 51402"/>
              <a:gd name="csX6" fmla="*/ 61 w 230080"/>
              <a:gd name="csY6" fmla="*/ 51359 h 51402"/>
              <a:gd name="csX7" fmla="*/ 4 w 230080"/>
              <a:gd name="csY7" fmla="*/ 13697 h 51402"/>
              <a:gd name="csX8" fmla="*/ 10055 w 230080"/>
              <a:gd name="csY8" fmla="*/ 2596 h 51402"/>
              <a:gd name="csX9" fmla="*/ 62457 w 230080"/>
              <a:gd name="csY9" fmla="*/ 0 h 5140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230080" h="51402">
                <a:moveTo>
                  <a:pt x="62457" y="0"/>
                </a:moveTo>
                <a:cubicBezTo>
                  <a:pt x="118516" y="838"/>
                  <a:pt x="173258" y="1679"/>
                  <a:pt x="229715" y="2548"/>
                </a:cubicBezTo>
                <a:cubicBezTo>
                  <a:pt x="229715" y="16728"/>
                  <a:pt x="230888" y="29374"/>
                  <a:pt x="229033" y="41559"/>
                </a:cubicBezTo>
                <a:cubicBezTo>
                  <a:pt x="228442" y="45440"/>
                  <a:pt x="219802" y="50868"/>
                  <a:pt x="214851" y="50862"/>
                </a:cubicBezTo>
                <a:cubicBezTo>
                  <a:pt x="183409" y="50825"/>
                  <a:pt x="151967" y="48693"/>
                  <a:pt x="120527" y="48743"/>
                </a:cubicBezTo>
                <a:cubicBezTo>
                  <a:pt x="84866" y="48800"/>
                  <a:pt x="49208" y="50434"/>
                  <a:pt x="13547" y="51342"/>
                </a:cubicBezTo>
                <a:cubicBezTo>
                  <a:pt x="8707" y="51466"/>
                  <a:pt x="3861" y="51359"/>
                  <a:pt x="61" y="51359"/>
                </a:cubicBezTo>
                <a:cubicBezTo>
                  <a:pt x="61" y="37755"/>
                  <a:pt x="210" y="25723"/>
                  <a:pt x="4" y="13697"/>
                </a:cubicBezTo>
                <a:cubicBezTo>
                  <a:pt x="-117" y="6604"/>
                  <a:pt x="2365" y="2860"/>
                  <a:pt x="10055" y="2596"/>
                </a:cubicBezTo>
                <a:cubicBezTo>
                  <a:pt x="27093" y="2012"/>
                  <a:pt x="44112" y="901"/>
                  <a:pt x="62457" y="0"/>
                </a:cubicBezTo>
                <a:close/>
              </a:path>
            </a:pathLst>
          </a:custGeom>
          <a:solidFill>
            <a:srgbClr val="FCFCFB"/>
          </a:solidFill>
          <a:ln w="2699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194" name="Free-form: Shape 4193">
            <a:extLst>
              <a:ext uri="{FF2B5EF4-FFF2-40B4-BE49-F238E27FC236}">
                <a16:creationId xmlns:a16="http://schemas.microsoft.com/office/drawing/2014/main" id="{1A798956-D2A2-41F8-B621-BF5C6A0545E8}"/>
              </a:ext>
            </a:extLst>
          </p:cNvPr>
          <p:cNvSpPr/>
          <p:nvPr/>
        </p:nvSpPr>
        <p:spPr>
          <a:xfrm flipH="1">
            <a:off x="5502473" y="4505686"/>
            <a:ext cx="172065" cy="44062"/>
          </a:xfrm>
          <a:custGeom>
            <a:avLst/>
            <a:gdLst>
              <a:gd name="csX0" fmla="*/ 171523 w 186920"/>
              <a:gd name="csY0" fmla="*/ 2414 h 50865"/>
              <a:gd name="csX1" fmla="*/ 186375 w 186920"/>
              <a:gd name="csY1" fmla="*/ 26146 h 50865"/>
              <a:gd name="csX2" fmla="*/ 156333 w 186920"/>
              <a:gd name="csY2" fmla="*/ 50678 h 50865"/>
              <a:gd name="csX3" fmla="*/ 31413 w 186920"/>
              <a:gd name="csY3" fmla="*/ 44982 h 50865"/>
              <a:gd name="csX4" fmla="*/ 7682 w 186920"/>
              <a:gd name="csY4" fmla="*/ 36449 h 50865"/>
              <a:gd name="csX5" fmla="*/ 8802 w 186920"/>
              <a:gd name="csY5" fmla="*/ 7738 h 50865"/>
              <a:gd name="csX6" fmla="*/ 34247 w 186920"/>
              <a:gd name="csY6" fmla="*/ 115 h 50865"/>
              <a:gd name="csX7" fmla="*/ 102852 w 186920"/>
              <a:gd name="csY7" fmla="*/ 1497 h 50865"/>
              <a:gd name="csX8" fmla="*/ 171523 w 186920"/>
              <a:gd name="csY8" fmla="*/ 2414 h 5086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</a:cxnLst>
            <a:rect l="l" t="t" r="r" b="b"/>
            <a:pathLst>
              <a:path w="186920" h="50865">
                <a:moveTo>
                  <a:pt x="171523" y="2414"/>
                </a:moveTo>
                <a:cubicBezTo>
                  <a:pt x="185638" y="5545"/>
                  <a:pt x="188278" y="14444"/>
                  <a:pt x="186375" y="26146"/>
                </a:cubicBezTo>
                <a:cubicBezTo>
                  <a:pt x="182364" y="50813"/>
                  <a:pt x="182394" y="51476"/>
                  <a:pt x="156333" y="50678"/>
                </a:cubicBezTo>
                <a:cubicBezTo>
                  <a:pt x="114670" y="49402"/>
                  <a:pt x="73013" y="47552"/>
                  <a:pt x="31413" y="44982"/>
                </a:cubicBezTo>
                <a:cubicBezTo>
                  <a:pt x="23309" y="44481"/>
                  <a:pt x="14787" y="40731"/>
                  <a:pt x="7682" y="36449"/>
                </a:cubicBezTo>
                <a:cubicBezTo>
                  <a:pt x="-3069" y="29971"/>
                  <a:pt x="-2389" y="13306"/>
                  <a:pt x="8802" y="7738"/>
                </a:cubicBezTo>
                <a:cubicBezTo>
                  <a:pt x="16663" y="3827"/>
                  <a:pt x="25670" y="315"/>
                  <a:pt x="34247" y="115"/>
                </a:cubicBezTo>
                <a:cubicBezTo>
                  <a:pt x="57092" y="-420"/>
                  <a:pt x="79978" y="1064"/>
                  <a:pt x="102852" y="1497"/>
                </a:cubicBezTo>
                <a:cubicBezTo>
                  <a:pt x="125350" y="1922"/>
                  <a:pt x="147854" y="2044"/>
                  <a:pt x="171523" y="2414"/>
                </a:cubicBezTo>
                <a:close/>
              </a:path>
            </a:pathLst>
          </a:custGeom>
          <a:solidFill>
            <a:srgbClr val="FCFCFB"/>
          </a:solidFill>
          <a:ln w="2699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195" name="Free-form: Shape 4194">
            <a:extLst>
              <a:ext uri="{FF2B5EF4-FFF2-40B4-BE49-F238E27FC236}">
                <a16:creationId xmlns:a16="http://schemas.microsoft.com/office/drawing/2014/main" id="{9E5B8364-4C02-474F-3E88-DB1F27A2281E}"/>
              </a:ext>
            </a:extLst>
          </p:cNvPr>
          <p:cNvSpPr/>
          <p:nvPr/>
        </p:nvSpPr>
        <p:spPr>
          <a:xfrm flipH="1">
            <a:off x="5504661" y="4453611"/>
            <a:ext cx="139877" cy="32556"/>
          </a:xfrm>
          <a:custGeom>
            <a:avLst/>
            <a:gdLst>
              <a:gd name="csX0" fmla="*/ 89107 w 151953"/>
              <a:gd name="csY0" fmla="*/ 252 h 37582"/>
              <a:gd name="csX1" fmla="*/ 137399 w 151953"/>
              <a:gd name="csY1" fmla="*/ 2948 h 37582"/>
              <a:gd name="csX2" fmla="*/ 151923 w 151953"/>
              <a:gd name="csY2" fmla="*/ 22533 h 37582"/>
              <a:gd name="csX3" fmla="*/ 138022 w 151953"/>
              <a:gd name="csY3" fmla="*/ 37581 h 37582"/>
              <a:gd name="csX4" fmla="*/ 61340 w 151953"/>
              <a:gd name="csY4" fmla="*/ 35549 h 37582"/>
              <a:gd name="csX5" fmla="*/ 10364 w 151953"/>
              <a:gd name="csY5" fmla="*/ 32504 h 37582"/>
              <a:gd name="csX6" fmla="*/ 3387 w 151953"/>
              <a:gd name="csY6" fmla="*/ 14529 h 37582"/>
              <a:gd name="csX7" fmla="*/ 40547 w 151953"/>
              <a:gd name="csY7" fmla="*/ 433 h 37582"/>
              <a:gd name="csX8" fmla="*/ 89107 w 151953"/>
              <a:gd name="csY8" fmla="*/ 252 h 3758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</a:cxnLst>
            <a:rect l="l" t="t" r="r" b="b"/>
            <a:pathLst>
              <a:path w="151953" h="37582">
                <a:moveTo>
                  <a:pt x="89107" y="252"/>
                </a:moveTo>
                <a:cubicBezTo>
                  <a:pt x="106080" y="1151"/>
                  <a:pt x="121739" y="2057"/>
                  <a:pt x="137399" y="2948"/>
                </a:cubicBezTo>
                <a:cubicBezTo>
                  <a:pt x="150166" y="3675"/>
                  <a:pt x="151455" y="11818"/>
                  <a:pt x="151923" y="22533"/>
                </a:cubicBezTo>
                <a:cubicBezTo>
                  <a:pt x="152405" y="33546"/>
                  <a:pt x="147123" y="37663"/>
                  <a:pt x="138022" y="37581"/>
                </a:cubicBezTo>
                <a:cubicBezTo>
                  <a:pt x="112456" y="37353"/>
                  <a:pt x="86891" y="36506"/>
                  <a:pt x="61340" y="35549"/>
                </a:cubicBezTo>
                <a:cubicBezTo>
                  <a:pt x="44330" y="34912"/>
                  <a:pt x="27290" y="34194"/>
                  <a:pt x="10364" y="32504"/>
                </a:cubicBezTo>
                <a:cubicBezTo>
                  <a:pt x="-484" y="31420"/>
                  <a:pt x="-2827" y="23494"/>
                  <a:pt x="3387" y="14529"/>
                </a:cubicBezTo>
                <a:cubicBezTo>
                  <a:pt x="12657" y="1154"/>
                  <a:pt x="26943" y="1169"/>
                  <a:pt x="40547" y="433"/>
                </a:cubicBezTo>
                <a:cubicBezTo>
                  <a:pt x="56253" y="-417"/>
                  <a:pt x="72041" y="246"/>
                  <a:pt x="89107" y="252"/>
                </a:cubicBezTo>
                <a:close/>
              </a:path>
            </a:pathLst>
          </a:custGeom>
          <a:solidFill>
            <a:srgbClr val="FCFCFB"/>
          </a:solidFill>
          <a:ln w="2699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196" name="Free-form: Shape 4195">
            <a:extLst>
              <a:ext uri="{FF2B5EF4-FFF2-40B4-BE49-F238E27FC236}">
                <a16:creationId xmlns:a16="http://schemas.microsoft.com/office/drawing/2014/main" id="{4E34C705-9E73-AA1F-8462-27AB61C3E918}"/>
              </a:ext>
            </a:extLst>
          </p:cNvPr>
          <p:cNvSpPr/>
          <p:nvPr/>
        </p:nvSpPr>
        <p:spPr>
          <a:xfrm flipH="1">
            <a:off x="5502535" y="4366914"/>
            <a:ext cx="127355" cy="21031"/>
          </a:xfrm>
          <a:custGeom>
            <a:avLst/>
            <a:gdLst>
              <a:gd name="csX0" fmla="*/ 1318 w 138350"/>
              <a:gd name="csY0" fmla="*/ 5445 h 24278"/>
              <a:gd name="csX1" fmla="*/ 32185 w 138350"/>
              <a:gd name="csY1" fmla="*/ 359 h 24278"/>
              <a:gd name="csX2" fmla="*/ 127547 w 138350"/>
              <a:gd name="csY2" fmla="*/ 1 h 24278"/>
              <a:gd name="csX3" fmla="*/ 138350 w 138350"/>
              <a:gd name="csY3" fmla="*/ 11778 h 24278"/>
              <a:gd name="csX4" fmla="*/ 127229 w 138350"/>
              <a:gd name="csY4" fmla="*/ 21765 h 24278"/>
              <a:gd name="csX5" fmla="*/ 55623 w 138350"/>
              <a:gd name="csY5" fmla="*/ 21860 h 24278"/>
              <a:gd name="csX6" fmla="*/ 14025 w 138350"/>
              <a:gd name="csY6" fmla="*/ 24277 h 24278"/>
              <a:gd name="csX7" fmla="*/ 1318 w 138350"/>
              <a:gd name="csY7" fmla="*/ 5445 h 2427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</a:cxnLst>
            <a:rect l="l" t="t" r="r" b="b"/>
            <a:pathLst>
              <a:path w="138350" h="24278">
                <a:moveTo>
                  <a:pt x="1318" y="5445"/>
                </a:moveTo>
                <a:cubicBezTo>
                  <a:pt x="11943" y="3060"/>
                  <a:pt x="22043" y="540"/>
                  <a:pt x="32185" y="359"/>
                </a:cubicBezTo>
                <a:cubicBezTo>
                  <a:pt x="63964" y="-209"/>
                  <a:pt x="95760" y="221"/>
                  <a:pt x="127547" y="1"/>
                </a:cubicBezTo>
                <a:cubicBezTo>
                  <a:pt x="136004" y="-58"/>
                  <a:pt x="138385" y="4159"/>
                  <a:pt x="138350" y="11778"/>
                </a:cubicBezTo>
                <a:cubicBezTo>
                  <a:pt x="138314" y="19623"/>
                  <a:pt x="134207" y="21799"/>
                  <a:pt x="127229" y="21765"/>
                </a:cubicBezTo>
                <a:cubicBezTo>
                  <a:pt x="103360" y="21647"/>
                  <a:pt x="79485" y="21423"/>
                  <a:pt x="55623" y="21860"/>
                </a:cubicBezTo>
                <a:cubicBezTo>
                  <a:pt x="41746" y="22114"/>
                  <a:pt x="27896" y="24173"/>
                  <a:pt x="14025" y="24277"/>
                </a:cubicBezTo>
                <a:cubicBezTo>
                  <a:pt x="1111" y="24374"/>
                  <a:pt x="-2207" y="19176"/>
                  <a:pt x="1318" y="5445"/>
                </a:cubicBezTo>
                <a:close/>
              </a:path>
            </a:pathLst>
          </a:custGeom>
          <a:solidFill>
            <a:srgbClr val="FCFCFB"/>
          </a:solidFill>
          <a:ln w="2699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197" name="Free-form: Shape 4196">
            <a:extLst>
              <a:ext uri="{FF2B5EF4-FFF2-40B4-BE49-F238E27FC236}">
                <a16:creationId xmlns:a16="http://schemas.microsoft.com/office/drawing/2014/main" id="{D07B7971-0F00-C69F-2D33-CD05F982DFD9}"/>
              </a:ext>
            </a:extLst>
          </p:cNvPr>
          <p:cNvSpPr/>
          <p:nvPr/>
        </p:nvSpPr>
        <p:spPr>
          <a:xfrm flipH="1">
            <a:off x="5355397" y="4054214"/>
            <a:ext cx="25824" cy="39213"/>
          </a:xfrm>
          <a:custGeom>
            <a:avLst/>
            <a:gdLst>
              <a:gd name="csX0" fmla="*/ 10475 w 28053"/>
              <a:gd name="csY0" fmla="*/ 29183 h 45267"/>
              <a:gd name="csX1" fmla="*/ 0 w 28053"/>
              <a:gd name="csY1" fmla="*/ 1367 h 45267"/>
              <a:gd name="csX2" fmla="*/ 3154 w 28053"/>
              <a:gd name="csY2" fmla="*/ 0 h 45267"/>
              <a:gd name="csX3" fmla="*/ 28053 w 28053"/>
              <a:gd name="csY3" fmla="*/ 42345 h 45267"/>
              <a:gd name="csX4" fmla="*/ 24171 w 28053"/>
              <a:gd name="csY4" fmla="*/ 45267 h 45267"/>
              <a:gd name="csX5" fmla="*/ 10475 w 28053"/>
              <a:gd name="csY5" fmla="*/ 29183 h 4526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</a:cxnLst>
            <a:rect l="l" t="t" r="r" b="b"/>
            <a:pathLst>
              <a:path w="28053" h="45267">
                <a:moveTo>
                  <a:pt x="10475" y="29183"/>
                </a:moveTo>
                <a:cubicBezTo>
                  <a:pt x="6669" y="19319"/>
                  <a:pt x="3335" y="10343"/>
                  <a:pt x="0" y="1367"/>
                </a:cubicBezTo>
                <a:cubicBezTo>
                  <a:pt x="1051" y="911"/>
                  <a:pt x="2102" y="456"/>
                  <a:pt x="3154" y="0"/>
                </a:cubicBezTo>
                <a:cubicBezTo>
                  <a:pt x="13794" y="12787"/>
                  <a:pt x="24893" y="25314"/>
                  <a:pt x="28053" y="42345"/>
                </a:cubicBezTo>
                <a:cubicBezTo>
                  <a:pt x="26759" y="43319"/>
                  <a:pt x="25465" y="44293"/>
                  <a:pt x="24171" y="45267"/>
                </a:cubicBezTo>
                <a:cubicBezTo>
                  <a:pt x="19762" y="40202"/>
                  <a:pt x="15354" y="35136"/>
                  <a:pt x="10475" y="29183"/>
                </a:cubicBezTo>
                <a:close/>
              </a:path>
            </a:pathLst>
          </a:custGeom>
          <a:solidFill>
            <a:srgbClr val="CCD6DA"/>
          </a:solidFill>
          <a:ln w="2699" cap="flat">
            <a:solidFill>
              <a:srgbClr val="CDD9DF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198" name="Free-form: Shape 4197">
            <a:extLst>
              <a:ext uri="{FF2B5EF4-FFF2-40B4-BE49-F238E27FC236}">
                <a16:creationId xmlns:a16="http://schemas.microsoft.com/office/drawing/2014/main" id="{354ABEBA-B2EF-4544-5B1B-E4E7F946216A}"/>
              </a:ext>
            </a:extLst>
          </p:cNvPr>
          <p:cNvSpPr/>
          <p:nvPr/>
        </p:nvSpPr>
        <p:spPr>
          <a:xfrm flipH="1">
            <a:off x="5623407" y="4053576"/>
            <a:ext cx="26883" cy="36638"/>
          </a:xfrm>
          <a:custGeom>
            <a:avLst/>
            <a:gdLst>
              <a:gd name="csX0" fmla="*/ 10018 w 29204"/>
              <a:gd name="csY0" fmla="*/ 38080 h 42295"/>
              <a:gd name="csX1" fmla="*/ 3166 w 29204"/>
              <a:gd name="csY1" fmla="*/ 42296 h 42295"/>
              <a:gd name="csX2" fmla="*/ 0 w 29204"/>
              <a:gd name="csY2" fmla="*/ 39775 h 42295"/>
              <a:gd name="csX3" fmla="*/ 24176 w 29204"/>
              <a:gd name="csY3" fmla="*/ 0 h 42295"/>
              <a:gd name="csX4" fmla="*/ 29205 w 29204"/>
              <a:gd name="csY4" fmla="*/ 2823 h 42295"/>
              <a:gd name="csX5" fmla="*/ 10018 w 29204"/>
              <a:gd name="csY5" fmla="*/ 38080 h 4229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</a:cxnLst>
            <a:rect l="l" t="t" r="r" b="b"/>
            <a:pathLst>
              <a:path w="29204" h="42295">
                <a:moveTo>
                  <a:pt x="10018" y="38080"/>
                </a:moveTo>
                <a:cubicBezTo>
                  <a:pt x="7280" y="39942"/>
                  <a:pt x="5223" y="41119"/>
                  <a:pt x="3166" y="42296"/>
                </a:cubicBezTo>
                <a:cubicBezTo>
                  <a:pt x="2111" y="41456"/>
                  <a:pt x="1056" y="40615"/>
                  <a:pt x="0" y="39775"/>
                </a:cubicBezTo>
                <a:cubicBezTo>
                  <a:pt x="8059" y="26517"/>
                  <a:pt x="16118" y="13258"/>
                  <a:pt x="24176" y="0"/>
                </a:cubicBezTo>
                <a:cubicBezTo>
                  <a:pt x="25853" y="941"/>
                  <a:pt x="27529" y="1882"/>
                  <a:pt x="29205" y="2823"/>
                </a:cubicBezTo>
                <a:cubicBezTo>
                  <a:pt x="23036" y="14347"/>
                  <a:pt x="16867" y="25871"/>
                  <a:pt x="10018" y="38080"/>
                </a:cubicBezTo>
                <a:close/>
              </a:path>
            </a:pathLst>
          </a:custGeom>
          <a:solidFill>
            <a:srgbClr val="FCFCFB"/>
          </a:solidFill>
          <a:ln w="2699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199" name="Free-form: Shape 4198">
            <a:extLst>
              <a:ext uri="{FF2B5EF4-FFF2-40B4-BE49-F238E27FC236}">
                <a16:creationId xmlns:a16="http://schemas.microsoft.com/office/drawing/2014/main" id="{769F69D4-FD5C-059B-180B-64A0BDEB50CA}"/>
              </a:ext>
            </a:extLst>
          </p:cNvPr>
          <p:cNvSpPr/>
          <p:nvPr/>
        </p:nvSpPr>
        <p:spPr>
          <a:xfrm flipH="1">
            <a:off x="5709074" y="4089595"/>
            <a:ext cx="1040" cy="1148"/>
          </a:xfrm>
          <a:custGeom>
            <a:avLst/>
            <a:gdLst>
              <a:gd name="csX0" fmla="*/ 1053 w 1130"/>
              <a:gd name="csY0" fmla="*/ 1326 h 1325"/>
              <a:gd name="csX1" fmla="*/ 0 w 1130"/>
              <a:gd name="csY1" fmla="*/ 0 h 1325"/>
              <a:gd name="csX2" fmla="*/ 1033 w 1130"/>
              <a:gd name="csY2" fmla="*/ 761 h 1325"/>
              <a:gd name="csX3" fmla="*/ 1053 w 1130"/>
              <a:gd name="csY3" fmla="*/ 1326 h 132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</a:cxnLst>
            <a:rect l="l" t="t" r="r" b="b"/>
            <a:pathLst>
              <a:path w="1130" h="1325">
                <a:moveTo>
                  <a:pt x="1053" y="1326"/>
                </a:moveTo>
                <a:cubicBezTo>
                  <a:pt x="665" y="916"/>
                  <a:pt x="333" y="458"/>
                  <a:pt x="0" y="0"/>
                </a:cubicBezTo>
                <a:cubicBezTo>
                  <a:pt x="287" y="118"/>
                  <a:pt x="574" y="236"/>
                  <a:pt x="1033" y="761"/>
                </a:cubicBezTo>
                <a:cubicBezTo>
                  <a:pt x="1206" y="1168"/>
                  <a:pt x="1108" y="1277"/>
                  <a:pt x="1053" y="1326"/>
                </a:cubicBezTo>
                <a:close/>
              </a:path>
            </a:pathLst>
          </a:custGeom>
          <a:solidFill>
            <a:srgbClr val="FCFCFB"/>
          </a:solidFill>
          <a:ln w="2699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200" name="Free-form: Shape 4199">
            <a:extLst>
              <a:ext uri="{FF2B5EF4-FFF2-40B4-BE49-F238E27FC236}">
                <a16:creationId xmlns:a16="http://schemas.microsoft.com/office/drawing/2014/main" id="{8CBB98E4-1B42-D490-042D-DA3E6553B622}"/>
              </a:ext>
            </a:extLst>
          </p:cNvPr>
          <p:cNvSpPr/>
          <p:nvPr/>
        </p:nvSpPr>
        <p:spPr>
          <a:xfrm flipH="1">
            <a:off x="5619502" y="4048534"/>
            <a:ext cx="402" cy="129"/>
          </a:xfrm>
          <a:custGeom>
            <a:avLst/>
            <a:gdLst>
              <a:gd name="csX0" fmla="*/ 434 w 437"/>
              <a:gd name="csY0" fmla="*/ 0 h 149"/>
              <a:gd name="csX1" fmla="*/ 46 w 437"/>
              <a:gd name="csY1" fmla="*/ 146 h 149"/>
              <a:gd name="csX2" fmla="*/ 434 w 437"/>
              <a:gd name="csY2" fmla="*/ 0 h 14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437" h="149">
                <a:moveTo>
                  <a:pt x="434" y="0"/>
                </a:moveTo>
                <a:cubicBezTo>
                  <a:pt x="157" y="78"/>
                  <a:pt x="-110" y="168"/>
                  <a:pt x="46" y="146"/>
                </a:cubicBezTo>
                <a:cubicBezTo>
                  <a:pt x="469" y="33"/>
                  <a:pt x="443" y="12"/>
                  <a:pt x="434" y="0"/>
                </a:cubicBezTo>
                <a:close/>
              </a:path>
            </a:pathLst>
          </a:custGeom>
          <a:solidFill>
            <a:srgbClr val="FCFCFB"/>
          </a:solidFill>
          <a:ln w="2699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201" name="Free-form: Shape 4200">
            <a:extLst>
              <a:ext uri="{FF2B5EF4-FFF2-40B4-BE49-F238E27FC236}">
                <a16:creationId xmlns:a16="http://schemas.microsoft.com/office/drawing/2014/main" id="{AF5A18C8-73F4-5EF9-1189-042CB617F661}"/>
              </a:ext>
            </a:extLst>
          </p:cNvPr>
          <p:cNvSpPr/>
          <p:nvPr/>
        </p:nvSpPr>
        <p:spPr>
          <a:xfrm flipH="1">
            <a:off x="5387083" y="4046197"/>
            <a:ext cx="975" cy="1046"/>
          </a:xfrm>
          <a:custGeom>
            <a:avLst/>
            <a:gdLst>
              <a:gd name="csX0" fmla="*/ 4 w 1059"/>
              <a:gd name="csY0" fmla="*/ 0 h 1207"/>
              <a:gd name="csX1" fmla="*/ 1060 w 1059"/>
              <a:gd name="csY1" fmla="*/ 1208 h 1207"/>
              <a:gd name="csX2" fmla="*/ 130 w 1059"/>
              <a:gd name="csY2" fmla="*/ 422 h 1207"/>
              <a:gd name="csX3" fmla="*/ 4 w 1059"/>
              <a:gd name="csY3" fmla="*/ 0 h 120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</a:cxnLst>
            <a:rect l="l" t="t" r="r" b="b"/>
            <a:pathLst>
              <a:path w="1059" h="1207">
                <a:moveTo>
                  <a:pt x="4" y="0"/>
                </a:moveTo>
                <a:cubicBezTo>
                  <a:pt x="360" y="398"/>
                  <a:pt x="710" y="803"/>
                  <a:pt x="1060" y="1208"/>
                </a:cubicBezTo>
                <a:cubicBezTo>
                  <a:pt x="798" y="1080"/>
                  <a:pt x="537" y="952"/>
                  <a:pt x="130" y="422"/>
                </a:cubicBezTo>
                <a:cubicBezTo>
                  <a:pt x="-16" y="21"/>
                  <a:pt x="-3" y="6"/>
                  <a:pt x="4" y="0"/>
                </a:cubicBezTo>
                <a:close/>
              </a:path>
            </a:pathLst>
          </a:custGeom>
          <a:solidFill>
            <a:srgbClr val="CCD6DA"/>
          </a:solidFill>
          <a:ln w="2699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202" name="Free-form: Shape 4201">
            <a:extLst>
              <a:ext uri="{FF2B5EF4-FFF2-40B4-BE49-F238E27FC236}">
                <a16:creationId xmlns:a16="http://schemas.microsoft.com/office/drawing/2014/main" id="{5F20F5A5-7DE7-BAD6-5C2A-CE76D0B9544E}"/>
              </a:ext>
            </a:extLst>
          </p:cNvPr>
          <p:cNvSpPr/>
          <p:nvPr/>
        </p:nvSpPr>
        <p:spPr>
          <a:xfrm flipH="1">
            <a:off x="5393599" y="4395210"/>
            <a:ext cx="104890" cy="54608"/>
          </a:xfrm>
          <a:custGeom>
            <a:avLst/>
            <a:gdLst>
              <a:gd name="csX0" fmla="*/ 62457 w 230080"/>
              <a:gd name="csY0" fmla="*/ 0 h 51402"/>
              <a:gd name="csX1" fmla="*/ 229715 w 230080"/>
              <a:gd name="csY1" fmla="*/ 2548 h 51402"/>
              <a:gd name="csX2" fmla="*/ 229033 w 230080"/>
              <a:gd name="csY2" fmla="*/ 41559 h 51402"/>
              <a:gd name="csX3" fmla="*/ 214851 w 230080"/>
              <a:gd name="csY3" fmla="*/ 50862 h 51402"/>
              <a:gd name="csX4" fmla="*/ 120527 w 230080"/>
              <a:gd name="csY4" fmla="*/ 48743 h 51402"/>
              <a:gd name="csX5" fmla="*/ 13547 w 230080"/>
              <a:gd name="csY5" fmla="*/ 51342 h 51402"/>
              <a:gd name="csX6" fmla="*/ 61 w 230080"/>
              <a:gd name="csY6" fmla="*/ 51359 h 51402"/>
              <a:gd name="csX7" fmla="*/ 4 w 230080"/>
              <a:gd name="csY7" fmla="*/ 13697 h 51402"/>
              <a:gd name="csX8" fmla="*/ 10055 w 230080"/>
              <a:gd name="csY8" fmla="*/ 2596 h 51402"/>
              <a:gd name="csX9" fmla="*/ 62457 w 230080"/>
              <a:gd name="csY9" fmla="*/ 0 h 5140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230080" h="51402">
                <a:moveTo>
                  <a:pt x="62457" y="0"/>
                </a:moveTo>
                <a:cubicBezTo>
                  <a:pt x="118516" y="838"/>
                  <a:pt x="173258" y="1679"/>
                  <a:pt x="229715" y="2548"/>
                </a:cubicBezTo>
                <a:cubicBezTo>
                  <a:pt x="229715" y="16728"/>
                  <a:pt x="230888" y="29374"/>
                  <a:pt x="229033" y="41559"/>
                </a:cubicBezTo>
                <a:cubicBezTo>
                  <a:pt x="228442" y="45440"/>
                  <a:pt x="219802" y="50868"/>
                  <a:pt x="214851" y="50862"/>
                </a:cubicBezTo>
                <a:cubicBezTo>
                  <a:pt x="183409" y="50825"/>
                  <a:pt x="151967" y="48693"/>
                  <a:pt x="120527" y="48743"/>
                </a:cubicBezTo>
                <a:cubicBezTo>
                  <a:pt x="84866" y="48800"/>
                  <a:pt x="49208" y="50434"/>
                  <a:pt x="13547" y="51342"/>
                </a:cubicBezTo>
                <a:cubicBezTo>
                  <a:pt x="8707" y="51466"/>
                  <a:pt x="3861" y="51359"/>
                  <a:pt x="61" y="51359"/>
                </a:cubicBezTo>
                <a:cubicBezTo>
                  <a:pt x="61" y="37755"/>
                  <a:pt x="210" y="25723"/>
                  <a:pt x="4" y="13697"/>
                </a:cubicBezTo>
                <a:cubicBezTo>
                  <a:pt x="-117" y="6604"/>
                  <a:pt x="2365" y="2860"/>
                  <a:pt x="10055" y="2596"/>
                </a:cubicBezTo>
                <a:cubicBezTo>
                  <a:pt x="27093" y="2012"/>
                  <a:pt x="44112" y="901"/>
                  <a:pt x="62457" y="0"/>
                </a:cubicBezTo>
                <a:close/>
              </a:path>
            </a:pathLst>
          </a:custGeom>
          <a:solidFill>
            <a:srgbClr val="CCD6DA"/>
          </a:solidFill>
          <a:ln w="2699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203" name="Free-form: Shape 4202">
            <a:extLst>
              <a:ext uri="{FF2B5EF4-FFF2-40B4-BE49-F238E27FC236}">
                <a16:creationId xmlns:a16="http://schemas.microsoft.com/office/drawing/2014/main" id="{31D1D908-2A29-642A-A53F-FED2C12EC537}"/>
              </a:ext>
            </a:extLst>
          </p:cNvPr>
          <p:cNvSpPr/>
          <p:nvPr/>
        </p:nvSpPr>
        <p:spPr>
          <a:xfrm>
            <a:off x="5498077" y="4061926"/>
            <a:ext cx="219201" cy="300793"/>
          </a:xfrm>
          <a:custGeom>
            <a:avLst/>
            <a:gdLst>
              <a:gd name="csX0" fmla="*/ 778 w 226548"/>
              <a:gd name="csY0" fmla="*/ 0 h 337161"/>
              <a:gd name="csX1" fmla="*/ 37702 w 226548"/>
              <a:gd name="csY1" fmla="*/ 37373 h 337161"/>
              <a:gd name="csX2" fmla="*/ 104410 w 226548"/>
              <a:gd name="csY2" fmla="*/ 29446 h 337161"/>
              <a:gd name="csX3" fmla="*/ 121584 w 226548"/>
              <a:gd name="csY3" fmla="*/ 10749 h 337161"/>
              <a:gd name="csX4" fmla="*/ 168719 w 226548"/>
              <a:gd name="csY4" fmla="*/ 53353 h 337161"/>
              <a:gd name="csX5" fmla="*/ 226548 w 226548"/>
              <a:gd name="csY5" fmla="*/ 20770 h 337161"/>
              <a:gd name="csX6" fmla="*/ 195378 w 226548"/>
              <a:gd name="csY6" fmla="*/ 100783 h 337161"/>
              <a:gd name="csX7" fmla="*/ 130693 w 226548"/>
              <a:gd name="csY7" fmla="*/ 318354 h 337161"/>
              <a:gd name="csX8" fmla="*/ 108611 w 226548"/>
              <a:gd name="csY8" fmla="*/ 336726 h 337161"/>
              <a:gd name="csX9" fmla="*/ 15990 w 226548"/>
              <a:gd name="csY9" fmla="*/ 331469 h 337161"/>
              <a:gd name="csX10" fmla="*/ 0 w 226548"/>
              <a:gd name="csY10" fmla="*/ 331485 h 337161"/>
              <a:gd name="csX11" fmla="*/ 0 w 226548"/>
              <a:gd name="csY11" fmla="*/ 1107 h 33716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226548" h="337161">
                <a:moveTo>
                  <a:pt x="778" y="0"/>
                </a:moveTo>
                <a:cubicBezTo>
                  <a:pt x="13501" y="12962"/>
                  <a:pt x="25038" y="25783"/>
                  <a:pt x="37702" y="37373"/>
                </a:cubicBezTo>
                <a:cubicBezTo>
                  <a:pt x="58156" y="56093"/>
                  <a:pt x="87159" y="53087"/>
                  <a:pt x="104410" y="29446"/>
                </a:cubicBezTo>
                <a:cubicBezTo>
                  <a:pt x="109133" y="22974"/>
                  <a:pt x="115276" y="17539"/>
                  <a:pt x="121584" y="10749"/>
                </a:cubicBezTo>
                <a:cubicBezTo>
                  <a:pt x="130376" y="32859"/>
                  <a:pt x="139680" y="52822"/>
                  <a:pt x="168719" y="53353"/>
                </a:cubicBezTo>
                <a:cubicBezTo>
                  <a:pt x="194658" y="53827"/>
                  <a:pt x="206643" y="32131"/>
                  <a:pt x="226548" y="20770"/>
                </a:cubicBezTo>
                <a:cubicBezTo>
                  <a:pt x="215744" y="48562"/>
                  <a:pt x="205876" y="74800"/>
                  <a:pt x="195378" y="100783"/>
                </a:cubicBezTo>
                <a:cubicBezTo>
                  <a:pt x="166902" y="171263"/>
                  <a:pt x="147278" y="244366"/>
                  <a:pt x="130693" y="318354"/>
                </a:cubicBezTo>
                <a:cubicBezTo>
                  <a:pt x="126342" y="337768"/>
                  <a:pt x="126276" y="337983"/>
                  <a:pt x="108611" y="336726"/>
                </a:cubicBezTo>
                <a:cubicBezTo>
                  <a:pt x="77766" y="334530"/>
                  <a:pt x="46890" y="332362"/>
                  <a:pt x="15990" y="331469"/>
                </a:cubicBezTo>
                <a:lnTo>
                  <a:pt x="0" y="331485"/>
                </a:lnTo>
                <a:lnTo>
                  <a:pt x="0" y="1107"/>
                </a:lnTo>
                <a:close/>
              </a:path>
            </a:pathLst>
          </a:custGeom>
          <a:solidFill>
            <a:schemeClr val="bg1"/>
          </a:solidFill>
          <a:ln w="2699" cap="flat">
            <a:noFill/>
            <a:prstDash val="solid"/>
            <a:miter/>
          </a:ln>
        </p:spPr>
        <p:txBody>
          <a:bodyPr wrap="squar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204" name="Free-form: Shape 4203">
            <a:extLst>
              <a:ext uri="{FF2B5EF4-FFF2-40B4-BE49-F238E27FC236}">
                <a16:creationId xmlns:a16="http://schemas.microsoft.com/office/drawing/2014/main" id="{FD64172B-FC53-A72E-DCAF-28C0F853FA29}"/>
              </a:ext>
            </a:extLst>
          </p:cNvPr>
          <p:cNvSpPr/>
          <p:nvPr/>
        </p:nvSpPr>
        <p:spPr>
          <a:xfrm flipH="1">
            <a:off x="5387571" y="3924669"/>
            <a:ext cx="116581" cy="168176"/>
          </a:xfrm>
          <a:custGeom>
            <a:avLst/>
            <a:gdLst>
              <a:gd name="csX0" fmla="*/ 0 w 126645"/>
              <a:gd name="csY0" fmla="*/ 0 h 194142"/>
              <a:gd name="csX1" fmla="*/ 27386 w 126645"/>
              <a:gd name="csY1" fmla="*/ 7476 h 194142"/>
              <a:gd name="csX2" fmla="*/ 30588 w 126645"/>
              <a:gd name="csY2" fmla="*/ 88167 h 194142"/>
              <a:gd name="csX3" fmla="*/ 126557 w 126645"/>
              <a:gd name="csY3" fmla="*/ 139377 h 194142"/>
              <a:gd name="csX4" fmla="*/ 126645 w 126645"/>
              <a:gd name="csY4" fmla="*/ 140313 h 194142"/>
              <a:gd name="csX5" fmla="*/ 101765 w 126645"/>
              <a:gd name="csY5" fmla="*/ 163014 h 194142"/>
              <a:gd name="csX6" fmla="*/ 82313 w 126645"/>
              <a:gd name="csY6" fmla="*/ 186490 h 194142"/>
              <a:gd name="csX7" fmla="*/ 45457 w 126645"/>
              <a:gd name="csY7" fmla="*/ 184308 h 194142"/>
              <a:gd name="csX8" fmla="*/ 17297 w 126645"/>
              <a:gd name="csY8" fmla="*/ 145391 h 194142"/>
              <a:gd name="csX9" fmla="*/ 978 w 126645"/>
              <a:gd name="csY9" fmla="*/ 131516 h 194142"/>
              <a:gd name="csX10" fmla="*/ 0 w 126645"/>
              <a:gd name="csY10" fmla="*/ 132393 h 194142"/>
              <a:gd name="csX11" fmla="*/ 0 w 126645"/>
              <a:gd name="csY11" fmla="*/ 0 h 19414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126645" h="194142">
                <a:moveTo>
                  <a:pt x="0" y="0"/>
                </a:moveTo>
                <a:lnTo>
                  <a:pt x="27386" y="7476"/>
                </a:lnTo>
                <a:cubicBezTo>
                  <a:pt x="51896" y="26141"/>
                  <a:pt x="53053" y="49936"/>
                  <a:pt x="30588" y="88167"/>
                </a:cubicBezTo>
                <a:cubicBezTo>
                  <a:pt x="66790" y="97135"/>
                  <a:pt x="100367" y="110864"/>
                  <a:pt x="126557" y="139377"/>
                </a:cubicBezTo>
                <a:cubicBezTo>
                  <a:pt x="126658" y="140298"/>
                  <a:pt x="126645" y="140313"/>
                  <a:pt x="126645" y="140313"/>
                </a:cubicBezTo>
                <a:cubicBezTo>
                  <a:pt x="113236" y="142307"/>
                  <a:pt x="108459" y="153523"/>
                  <a:pt x="101765" y="163014"/>
                </a:cubicBezTo>
                <a:cubicBezTo>
                  <a:pt x="95908" y="171321"/>
                  <a:pt x="90026" y="180136"/>
                  <a:pt x="82313" y="186490"/>
                </a:cubicBezTo>
                <a:cubicBezTo>
                  <a:pt x="69278" y="197226"/>
                  <a:pt x="56874" y="196816"/>
                  <a:pt x="45457" y="184308"/>
                </a:cubicBezTo>
                <a:cubicBezTo>
                  <a:pt x="34728" y="172556"/>
                  <a:pt x="26298" y="158649"/>
                  <a:pt x="17297" y="145391"/>
                </a:cubicBezTo>
                <a:cubicBezTo>
                  <a:pt x="10996" y="136110"/>
                  <a:pt x="5957" y="131464"/>
                  <a:pt x="978" y="131516"/>
                </a:cubicBezTo>
                <a:lnTo>
                  <a:pt x="0" y="132393"/>
                </a:lnTo>
                <a:lnTo>
                  <a:pt x="0" y="0"/>
                </a:lnTo>
                <a:close/>
              </a:path>
            </a:pathLst>
          </a:custGeom>
          <a:solidFill>
            <a:srgbClr val="CCD6DA"/>
          </a:solidFill>
          <a:ln w="2699" cap="flat">
            <a:solidFill>
              <a:srgbClr val="CDD9DF"/>
            </a:solidFill>
            <a:prstDash val="solid"/>
            <a:miter/>
          </a:ln>
        </p:spPr>
        <p:txBody>
          <a:bodyPr wrap="squar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" name="Slide Number Placeholder 2">
            <a:extLst>
              <a:ext uri="{FF2B5EF4-FFF2-40B4-BE49-F238E27FC236}">
                <a16:creationId xmlns:a16="http://schemas.microsoft.com/office/drawing/2014/main" id="{1AC90ED2-C65C-79C3-BD96-5DA1D73BA4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651" y="6356350"/>
            <a:ext cx="383694" cy="365125"/>
          </a:xfrm>
        </p:spPr>
        <p:txBody>
          <a:bodyPr vert="horz" lIns="0" tIns="0" rIns="0" bIns="0"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01CC8E-1CEF-6746-999E-CF29FF00B1DC}" type="slidenum"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82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3" name="Free-form: Shape 22">
            <a:extLst>
              <a:ext uri="{FF2B5EF4-FFF2-40B4-BE49-F238E27FC236}">
                <a16:creationId xmlns:a16="http://schemas.microsoft.com/office/drawing/2014/main" id="{EA313B97-B804-023D-CE71-42CCA816996C}"/>
              </a:ext>
            </a:extLst>
          </p:cNvPr>
          <p:cNvSpPr/>
          <p:nvPr/>
        </p:nvSpPr>
        <p:spPr>
          <a:xfrm>
            <a:off x="6896100" y="3917230"/>
            <a:ext cx="106192" cy="220220"/>
          </a:xfrm>
          <a:custGeom>
            <a:avLst/>
            <a:gdLst>
              <a:gd name="csX0" fmla="*/ 0 w 89524"/>
              <a:gd name="csY0" fmla="*/ 0 h 220220"/>
              <a:gd name="csX1" fmla="*/ 8817 w 89524"/>
              <a:gd name="csY1" fmla="*/ 284 h 220220"/>
              <a:gd name="csX2" fmla="*/ 42819 w 89524"/>
              <a:gd name="csY2" fmla="*/ 9530 h 220220"/>
              <a:gd name="csX3" fmla="*/ 50683 w 89524"/>
              <a:gd name="csY3" fmla="*/ 11533 h 220220"/>
              <a:gd name="csX4" fmla="*/ 38964 w 89524"/>
              <a:gd name="csY4" fmla="*/ 43637 h 220220"/>
              <a:gd name="csX5" fmla="*/ 28398 w 89524"/>
              <a:gd name="csY5" fmla="*/ 77442 h 220220"/>
              <a:gd name="csX6" fmla="*/ 38097 w 89524"/>
              <a:gd name="csY6" fmla="*/ 75522 h 220220"/>
              <a:gd name="csX7" fmla="*/ 82341 w 89524"/>
              <a:gd name="csY7" fmla="*/ 62583 h 220220"/>
              <a:gd name="csX8" fmla="*/ 85936 w 89524"/>
              <a:gd name="csY8" fmla="*/ 61816 h 220220"/>
              <a:gd name="csX9" fmla="*/ 86547 w 89524"/>
              <a:gd name="csY9" fmla="*/ 65201 h 220220"/>
              <a:gd name="csX10" fmla="*/ 88080 w 89524"/>
              <a:gd name="csY10" fmla="*/ 129075 h 220220"/>
              <a:gd name="csX11" fmla="*/ 89426 w 89524"/>
              <a:gd name="csY11" fmla="*/ 145490 h 220220"/>
              <a:gd name="csX12" fmla="*/ 89462 w 89524"/>
              <a:gd name="csY12" fmla="*/ 155895 h 220220"/>
              <a:gd name="csX13" fmla="*/ 71617 w 89524"/>
              <a:gd name="csY13" fmla="*/ 151330 h 220220"/>
              <a:gd name="csX14" fmla="*/ 41822 w 89524"/>
              <a:gd name="csY14" fmla="*/ 143054 h 220220"/>
              <a:gd name="csX15" fmla="*/ 29391 w 89524"/>
              <a:gd name="csY15" fmla="*/ 146666 h 220220"/>
              <a:gd name="csX16" fmla="*/ 32946 w 89524"/>
              <a:gd name="csY16" fmla="*/ 155764 h 220220"/>
              <a:gd name="csX17" fmla="*/ 25782 w 89524"/>
              <a:gd name="csY17" fmla="*/ 162581 h 220220"/>
              <a:gd name="csX18" fmla="*/ 36669 w 89524"/>
              <a:gd name="csY18" fmla="*/ 165934 h 220220"/>
              <a:gd name="csX19" fmla="*/ 47507 w 89524"/>
              <a:gd name="csY19" fmla="*/ 182742 h 220220"/>
              <a:gd name="csX20" fmla="*/ 56549 w 89524"/>
              <a:gd name="csY20" fmla="*/ 202511 h 220220"/>
              <a:gd name="csX21" fmla="*/ 63075 w 89524"/>
              <a:gd name="csY21" fmla="*/ 209127 h 220220"/>
              <a:gd name="csX22" fmla="*/ 71768 w 89524"/>
              <a:gd name="csY22" fmla="*/ 216633 h 220220"/>
              <a:gd name="csX23" fmla="*/ 70590 w 89524"/>
              <a:gd name="csY23" fmla="*/ 218352 h 220220"/>
              <a:gd name="csX24" fmla="*/ 51729 w 89524"/>
              <a:gd name="csY24" fmla="*/ 219631 h 220220"/>
              <a:gd name="csX25" fmla="*/ 13698 w 89524"/>
              <a:gd name="csY25" fmla="*/ 213021 h 220220"/>
              <a:gd name="csX26" fmla="*/ 0 w 89524"/>
              <a:gd name="csY26" fmla="*/ 212059 h 220220"/>
              <a:gd name="csX0" fmla="*/ 0 w 89524"/>
              <a:gd name="csY0" fmla="*/ 0 h 220220"/>
              <a:gd name="csX1" fmla="*/ 8817 w 89524"/>
              <a:gd name="csY1" fmla="*/ 284 h 220220"/>
              <a:gd name="csX2" fmla="*/ 42819 w 89524"/>
              <a:gd name="csY2" fmla="*/ 9530 h 220220"/>
              <a:gd name="csX3" fmla="*/ 50683 w 89524"/>
              <a:gd name="csY3" fmla="*/ 11533 h 220220"/>
              <a:gd name="csX4" fmla="*/ 38964 w 89524"/>
              <a:gd name="csY4" fmla="*/ 43637 h 220220"/>
              <a:gd name="csX5" fmla="*/ 28398 w 89524"/>
              <a:gd name="csY5" fmla="*/ 77442 h 220220"/>
              <a:gd name="csX6" fmla="*/ 38097 w 89524"/>
              <a:gd name="csY6" fmla="*/ 75522 h 220220"/>
              <a:gd name="csX7" fmla="*/ 82341 w 89524"/>
              <a:gd name="csY7" fmla="*/ 62583 h 220220"/>
              <a:gd name="csX8" fmla="*/ 85936 w 89524"/>
              <a:gd name="csY8" fmla="*/ 61816 h 220220"/>
              <a:gd name="csX9" fmla="*/ 86547 w 89524"/>
              <a:gd name="csY9" fmla="*/ 65201 h 220220"/>
              <a:gd name="csX10" fmla="*/ 88080 w 89524"/>
              <a:gd name="csY10" fmla="*/ 129075 h 220220"/>
              <a:gd name="csX11" fmla="*/ 89426 w 89524"/>
              <a:gd name="csY11" fmla="*/ 145490 h 220220"/>
              <a:gd name="csX12" fmla="*/ 89462 w 89524"/>
              <a:gd name="csY12" fmla="*/ 155895 h 220220"/>
              <a:gd name="csX13" fmla="*/ 71617 w 89524"/>
              <a:gd name="csY13" fmla="*/ 151330 h 220220"/>
              <a:gd name="csX14" fmla="*/ 41822 w 89524"/>
              <a:gd name="csY14" fmla="*/ 143054 h 220220"/>
              <a:gd name="csX15" fmla="*/ 29391 w 89524"/>
              <a:gd name="csY15" fmla="*/ 146666 h 220220"/>
              <a:gd name="csX16" fmla="*/ 32946 w 89524"/>
              <a:gd name="csY16" fmla="*/ 155764 h 220220"/>
              <a:gd name="csX17" fmla="*/ 36669 w 89524"/>
              <a:gd name="csY17" fmla="*/ 165934 h 220220"/>
              <a:gd name="csX18" fmla="*/ 47507 w 89524"/>
              <a:gd name="csY18" fmla="*/ 182742 h 220220"/>
              <a:gd name="csX19" fmla="*/ 56549 w 89524"/>
              <a:gd name="csY19" fmla="*/ 202511 h 220220"/>
              <a:gd name="csX20" fmla="*/ 63075 w 89524"/>
              <a:gd name="csY20" fmla="*/ 209127 h 220220"/>
              <a:gd name="csX21" fmla="*/ 71768 w 89524"/>
              <a:gd name="csY21" fmla="*/ 216633 h 220220"/>
              <a:gd name="csX22" fmla="*/ 70590 w 89524"/>
              <a:gd name="csY22" fmla="*/ 218352 h 220220"/>
              <a:gd name="csX23" fmla="*/ 51729 w 89524"/>
              <a:gd name="csY23" fmla="*/ 219631 h 220220"/>
              <a:gd name="csX24" fmla="*/ 13698 w 89524"/>
              <a:gd name="csY24" fmla="*/ 213021 h 220220"/>
              <a:gd name="csX25" fmla="*/ 0 w 89524"/>
              <a:gd name="csY25" fmla="*/ 212059 h 220220"/>
              <a:gd name="csX26" fmla="*/ 0 w 89524"/>
              <a:gd name="csY26" fmla="*/ 0 h 220220"/>
              <a:gd name="csX0" fmla="*/ 0 w 89524"/>
              <a:gd name="csY0" fmla="*/ 0 h 220220"/>
              <a:gd name="csX1" fmla="*/ 8817 w 89524"/>
              <a:gd name="csY1" fmla="*/ 284 h 220220"/>
              <a:gd name="csX2" fmla="*/ 42819 w 89524"/>
              <a:gd name="csY2" fmla="*/ 9530 h 220220"/>
              <a:gd name="csX3" fmla="*/ 50683 w 89524"/>
              <a:gd name="csY3" fmla="*/ 11533 h 220220"/>
              <a:gd name="csX4" fmla="*/ 38964 w 89524"/>
              <a:gd name="csY4" fmla="*/ 43637 h 220220"/>
              <a:gd name="csX5" fmla="*/ 28398 w 89524"/>
              <a:gd name="csY5" fmla="*/ 77442 h 220220"/>
              <a:gd name="csX6" fmla="*/ 38097 w 89524"/>
              <a:gd name="csY6" fmla="*/ 75522 h 220220"/>
              <a:gd name="csX7" fmla="*/ 82341 w 89524"/>
              <a:gd name="csY7" fmla="*/ 62583 h 220220"/>
              <a:gd name="csX8" fmla="*/ 85936 w 89524"/>
              <a:gd name="csY8" fmla="*/ 61816 h 220220"/>
              <a:gd name="csX9" fmla="*/ 86547 w 89524"/>
              <a:gd name="csY9" fmla="*/ 65201 h 220220"/>
              <a:gd name="csX10" fmla="*/ 88080 w 89524"/>
              <a:gd name="csY10" fmla="*/ 129075 h 220220"/>
              <a:gd name="csX11" fmla="*/ 89426 w 89524"/>
              <a:gd name="csY11" fmla="*/ 145490 h 220220"/>
              <a:gd name="csX12" fmla="*/ 89462 w 89524"/>
              <a:gd name="csY12" fmla="*/ 155895 h 220220"/>
              <a:gd name="csX13" fmla="*/ 71617 w 89524"/>
              <a:gd name="csY13" fmla="*/ 151330 h 220220"/>
              <a:gd name="csX14" fmla="*/ 41822 w 89524"/>
              <a:gd name="csY14" fmla="*/ 143054 h 220220"/>
              <a:gd name="csX15" fmla="*/ 29391 w 89524"/>
              <a:gd name="csY15" fmla="*/ 146666 h 220220"/>
              <a:gd name="csX16" fmla="*/ 32946 w 89524"/>
              <a:gd name="csY16" fmla="*/ 155764 h 220220"/>
              <a:gd name="csX17" fmla="*/ 36669 w 89524"/>
              <a:gd name="csY17" fmla="*/ 165934 h 220220"/>
              <a:gd name="csX18" fmla="*/ 56549 w 89524"/>
              <a:gd name="csY18" fmla="*/ 202511 h 220220"/>
              <a:gd name="csX19" fmla="*/ 63075 w 89524"/>
              <a:gd name="csY19" fmla="*/ 209127 h 220220"/>
              <a:gd name="csX20" fmla="*/ 71768 w 89524"/>
              <a:gd name="csY20" fmla="*/ 216633 h 220220"/>
              <a:gd name="csX21" fmla="*/ 70590 w 89524"/>
              <a:gd name="csY21" fmla="*/ 218352 h 220220"/>
              <a:gd name="csX22" fmla="*/ 51729 w 89524"/>
              <a:gd name="csY22" fmla="*/ 219631 h 220220"/>
              <a:gd name="csX23" fmla="*/ 13698 w 89524"/>
              <a:gd name="csY23" fmla="*/ 213021 h 220220"/>
              <a:gd name="csX24" fmla="*/ 0 w 89524"/>
              <a:gd name="csY24" fmla="*/ 212059 h 220220"/>
              <a:gd name="csX25" fmla="*/ 0 w 89524"/>
              <a:gd name="csY25" fmla="*/ 0 h 22022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</a:cxnLst>
            <a:rect l="l" t="t" r="r" b="b"/>
            <a:pathLst>
              <a:path w="89524" h="220220">
                <a:moveTo>
                  <a:pt x="0" y="0"/>
                </a:moveTo>
                <a:lnTo>
                  <a:pt x="8817" y="284"/>
                </a:lnTo>
                <a:lnTo>
                  <a:pt x="42819" y="9530"/>
                </a:lnTo>
                <a:cubicBezTo>
                  <a:pt x="45111" y="10152"/>
                  <a:pt x="47417" y="10704"/>
                  <a:pt x="50683" y="11533"/>
                </a:cubicBezTo>
                <a:cubicBezTo>
                  <a:pt x="46717" y="22417"/>
                  <a:pt x="42917" y="33062"/>
                  <a:pt x="38964" y="43637"/>
                </a:cubicBezTo>
                <a:cubicBezTo>
                  <a:pt x="35036" y="54147"/>
                  <a:pt x="30347" y="64383"/>
                  <a:pt x="28398" y="77442"/>
                </a:cubicBezTo>
                <a:cubicBezTo>
                  <a:pt x="32750" y="76596"/>
                  <a:pt x="35476" y="76279"/>
                  <a:pt x="38097" y="75522"/>
                </a:cubicBezTo>
                <a:lnTo>
                  <a:pt x="82341" y="62583"/>
                </a:lnTo>
                <a:cubicBezTo>
                  <a:pt x="83446" y="62259"/>
                  <a:pt x="84590" y="62099"/>
                  <a:pt x="85936" y="61816"/>
                </a:cubicBezTo>
                <a:cubicBezTo>
                  <a:pt x="86193" y="63194"/>
                  <a:pt x="86522" y="64193"/>
                  <a:pt x="86547" y="65201"/>
                </a:cubicBezTo>
                <a:cubicBezTo>
                  <a:pt x="87062" y="86493"/>
                  <a:pt x="87474" y="107787"/>
                  <a:pt x="88080" y="129075"/>
                </a:cubicBezTo>
                <a:cubicBezTo>
                  <a:pt x="88237" y="134556"/>
                  <a:pt x="89077" y="140010"/>
                  <a:pt x="89426" y="145490"/>
                </a:cubicBezTo>
                <a:cubicBezTo>
                  <a:pt x="89624" y="148592"/>
                  <a:pt x="89462" y="151722"/>
                  <a:pt x="89462" y="155895"/>
                </a:cubicBezTo>
                <a:lnTo>
                  <a:pt x="71617" y="151330"/>
                </a:lnTo>
                <a:cubicBezTo>
                  <a:pt x="61663" y="148663"/>
                  <a:pt x="51626" y="146284"/>
                  <a:pt x="41822" y="143054"/>
                </a:cubicBezTo>
                <a:cubicBezTo>
                  <a:pt x="36788" y="141396"/>
                  <a:pt x="33003" y="142019"/>
                  <a:pt x="29391" y="146666"/>
                </a:cubicBezTo>
                <a:lnTo>
                  <a:pt x="32946" y="155764"/>
                </a:lnTo>
                <a:lnTo>
                  <a:pt x="36669" y="165934"/>
                </a:lnTo>
                <a:cubicBezTo>
                  <a:pt x="40603" y="173725"/>
                  <a:pt x="52148" y="195312"/>
                  <a:pt x="56549" y="202511"/>
                </a:cubicBezTo>
                <a:cubicBezTo>
                  <a:pt x="60950" y="209710"/>
                  <a:pt x="59686" y="207914"/>
                  <a:pt x="63075" y="209127"/>
                </a:cubicBezTo>
                <a:cubicBezTo>
                  <a:pt x="68645" y="211119"/>
                  <a:pt x="68935" y="211894"/>
                  <a:pt x="71768" y="216633"/>
                </a:cubicBezTo>
                <a:cubicBezTo>
                  <a:pt x="71401" y="217196"/>
                  <a:pt x="71058" y="218284"/>
                  <a:pt x="70590" y="218352"/>
                </a:cubicBezTo>
                <a:cubicBezTo>
                  <a:pt x="64336" y="219278"/>
                  <a:pt x="58130" y="221185"/>
                  <a:pt x="51729" y="219631"/>
                </a:cubicBezTo>
                <a:cubicBezTo>
                  <a:pt x="39176" y="216581"/>
                  <a:pt x="26669" y="213325"/>
                  <a:pt x="13698" y="213021"/>
                </a:cubicBezTo>
                <a:lnTo>
                  <a:pt x="0" y="212059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401" cap="flat">
            <a:solidFill>
              <a:srgbClr val="CDD9DF"/>
            </a:solidFill>
            <a:prstDash val="solid"/>
            <a:miter/>
          </a:ln>
        </p:spPr>
        <p:txBody>
          <a:bodyPr wrap="squar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5016577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37FA7DA-788B-C3D5-8BEA-799F81D34C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Oval 44">
            <a:extLst>
              <a:ext uri="{FF2B5EF4-FFF2-40B4-BE49-F238E27FC236}">
                <a16:creationId xmlns:a16="http://schemas.microsoft.com/office/drawing/2014/main" id="{AE8632B6-FD42-9BE5-3C98-188155D6529F}"/>
              </a:ext>
            </a:extLst>
          </p:cNvPr>
          <p:cNvSpPr/>
          <p:nvPr/>
        </p:nvSpPr>
        <p:spPr>
          <a:xfrm>
            <a:off x="3694466" y="3599821"/>
            <a:ext cx="1435100" cy="833749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05201EA5-3F12-F967-48B1-BB9043FC05E9}"/>
              </a:ext>
            </a:extLst>
          </p:cNvPr>
          <p:cNvSpPr/>
          <p:nvPr/>
        </p:nvSpPr>
        <p:spPr>
          <a:xfrm>
            <a:off x="3745266" y="3631571"/>
            <a:ext cx="1346199" cy="766061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6" name="Free-form: Shape 55">
            <a:extLst>
              <a:ext uri="{FF2B5EF4-FFF2-40B4-BE49-F238E27FC236}">
                <a16:creationId xmlns:a16="http://schemas.microsoft.com/office/drawing/2014/main" id="{CD83D2BD-A16D-5DC2-121F-4A2D922F8D4B}"/>
              </a:ext>
            </a:extLst>
          </p:cNvPr>
          <p:cNvSpPr/>
          <p:nvPr/>
        </p:nvSpPr>
        <p:spPr>
          <a:xfrm>
            <a:off x="2373490" y="3684270"/>
            <a:ext cx="1555925" cy="698500"/>
          </a:xfrm>
          <a:custGeom>
            <a:avLst/>
            <a:gdLst>
              <a:gd name="csX0" fmla="*/ 1504950 w 1524000"/>
              <a:gd name="csY0" fmla="*/ 171450 h 698500"/>
              <a:gd name="csX1" fmla="*/ 1206500 w 1524000"/>
              <a:gd name="csY1" fmla="*/ 0 h 698500"/>
              <a:gd name="csX2" fmla="*/ 0 w 1524000"/>
              <a:gd name="csY2" fmla="*/ 0 h 698500"/>
              <a:gd name="csX3" fmla="*/ 0 w 1524000"/>
              <a:gd name="csY3" fmla="*/ 698500 h 698500"/>
              <a:gd name="csX4" fmla="*/ 1270000 w 1524000"/>
              <a:gd name="csY4" fmla="*/ 698500 h 698500"/>
              <a:gd name="csX5" fmla="*/ 1524000 w 1524000"/>
              <a:gd name="csY5" fmla="*/ 444500 h 698500"/>
              <a:gd name="csX6" fmla="*/ 1504950 w 1524000"/>
              <a:gd name="csY6" fmla="*/ 171450 h 69850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</a:cxnLst>
            <a:rect l="l" t="t" r="r" b="b"/>
            <a:pathLst>
              <a:path w="1524000" h="698500">
                <a:moveTo>
                  <a:pt x="1504950" y="171450"/>
                </a:moveTo>
                <a:lnTo>
                  <a:pt x="1206500" y="0"/>
                </a:lnTo>
                <a:lnTo>
                  <a:pt x="0" y="0"/>
                </a:lnTo>
                <a:lnTo>
                  <a:pt x="0" y="698500"/>
                </a:lnTo>
                <a:lnTo>
                  <a:pt x="1270000" y="698500"/>
                </a:lnTo>
                <a:lnTo>
                  <a:pt x="1524000" y="444500"/>
                </a:lnTo>
                <a:lnTo>
                  <a:pt x="1504950" y="171450"/>
                </a:lnTo>
                <a:close/>
              </a:path>
            </a:pathLst>
          </a:custGeom>
          <a:solidFill>
            <a:schemeClr val="accent6">
              <a:lumMod val="75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E2157DE-A62D-7B2F-817F-F7174B1B2E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0647" y="311858"/>
            <a:ext cx="9789459" cy="632402"/>
          </a:xfrm>
        </p:spPr>
        <p:txBody>
          <a:bodyPr/>
          <a:lstStyle/>
          <a:p>
            <a:r>
              <a:rPr lang="en-GB"/>
              <a:t>Do we have the biomarkers we need to fully tailor our decisions for DLBCL patients?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9253310-9BD7-E3C1-C66C-59EC479AC26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70644" y="6028637"/>
            <a:ext cx="10866845" cy="691314"/>
          </a:xfrm>
        </p:spPr>
        <p:txBody>
          <a:bodyPr/>
          <a:lstStyle/>
          <a:p>
            <a:br>
              <a:rPr lang="en-GB" b="1"/>
            </a:br>
            <a:r>
              <a:rPr lang="en-GB" b="1"/>
              <a:t>*</a:t>
            </a:r>
            <a:r>
              <a:rPr lang="en-GB"/>
              <a:t>OS after anthracycline-based chemotherapy. ABC, activated B-cell-like; BL, Burkitt lymphoma; BN2, co-occurrence of mutations in BCL6/NOTCH2; CAF, cancer-associated fibroblast; Co-</a:t>
            </a:r>
            <a:r>
              <a:rPr lang="en-GB" err="1"/>
              <a:t>inh</a:t>
            </a:r>
            <a:r>
              <a:rPr lang="en-GB"/>
              <a:t>., co-inhibitory; DLBCL, diffuse large B-cell lymphoma; DZ, dark zone; EZB, co-occurrence of mutations in EZH2/BCL2; </a:t>
            </a:r>
            <a:r>
              <a:rPr lang="en-GB" err="1"/>
              <a:t>fDC</a:t>
            </a:r>
            <a:r>
              <a:rPr lang="en-GB"/>
              <a:t>, follicular dendritic cell; FMAC, fibroblast/macrophage; GC</a:t>
            </a:r>
            <a:r>
              <a:rPr lang="en-CH"/>
              <a:t>(</a:t>
            </a:r>
            <a:r>
              <a:rPr lang="en-GB"/>
              <a:t>B</a:t>
            </a:r>
            <a:r>
              <a:rPr lang="en-CH"/>
              <a:t>)</a:t>
            </a:r>
            <a:r>
              <a:rPr lang="en-GB"/>
              <a:t>, germinal-centre </a:t>
            </a:r>
            <a:r>
              <a:rPr lang="en-CH"/>
              <a:t>(</a:t>
            </a:r>
            <a:r>
              <a:rPr lang="en-GB"/>
              <a:t>B-cell-like</a:t>
            </a:r>
            <a:r>
              <a:rPr lang="en-CH"/>
              <a:t>)</a:t>
            </a:r>
            <a:r>
              <a:rPr lang="en-GB"/>
              <a:t>; HGBCL-DH-BCL2, high-grade B-cell lymphoma with MYC and BCL2 rearrangements; LN, lymph node; MCD, co-occurrence of mutations in MYD88/CD79B; MHC, major histocompatibility complex; MRC, marginal reticular cell; N1, genetic alteration in NOTCH1; OS, overall survival; SA-Mac, splenic architecture-associated macrophage; TEX, exhausted T cell; TRM, tissue-resident memory T cell. </a:t>
            </a:r>
            <a:r>
              <a:rPr lang="en-GB" b="1"/>
              <a:t>1. </a:t>
            </a:r>
            <a:r>
              <a:rPr lang="en-GB"/>
              <a:t>Rosenwald et al. </a:t>
            </a:r>
            <a:r>
              <a:rPr lang="en-GB" i="1"/>
              <a:t>N Engl J Med </a:t>
            </a:r>
            <a:r>
              <a:rPr lang="en-GB"/>
              <a:t>2002 </a:t>
            </a:r>
            <a:r>
              <a:rPr lang="en-GB" b="1"/>
              <a:t>2. </a:t>
            </a:r>
            <a:r>
              <a:rPr lang="en-GB"/>
              <a:t>Lenz et al. </a:t>
            </a:r>
            <a:r>
              <a:rPr lang="en-GB" i="1"/>
              <a:t>N Engl J Med</a:t>
            </a:r>
            <a:r>
              <a:rPr lang="en-GB"/>
              <a:t> 2008 </a:t>
            </a:r>
            <a:r>
              <a:rPr lang="en-GB" b="1"/>
              <a:t>3</a:t>
            </a:r>
            <a:r>
              <a:rPr lang="en-GB" b="1" i="1"/>
              <a:t>.</a:t>
            </a:r>
            <a:r>
              <a:rPr lang="en-GB" b="1"/>
              <a:t> </a:t>
            </a:r>
            <a:r>
              <a:rPr lang="en-GB" err="1"/>
              <a:t>Alduaij</a:t>
            </a:r>
            <a:r>
              <a:rPr lang="en-GB"/>
              <a:t> et al. </a:t>
            </a:r>
            <a:r>
              <a:rPr lang="en-GB" i="1"/>
              <a:t>Blood</a:t>
            </a:r>
            <a:r>
              <a:rPr lang="en-GB"/>
              <a:t> 2023 </a:t>
            </a:r>
            <a:r>
              <a:rPr lang="en-GB" b="1"/>
              <a:t>4.</a:t>
            </a:r>
            <a:r>
              <a:rPr lang="en-GB"/>
              <a:t> Zhao et al. Am J Clin </a:t>
            </a:r>
            <a:r>
              <a:rPr lang="en-GB" err="1"/>
              <a:t>Pathol</a:t>
            </a:r>
            <a:r>
              <a:rPr lang="en-GB"/>
              <a:t> 2025 </a:t>
            </a:r>
            <a:r>
              <a:rPr lang="en-GB" b="1"/>
              <a:t>5.</a:t>
            </a:r>
            <a:r>
              <a:rPr lang="en-GB"/>
              <a:t> Schmitz et al. </a:t>
            </a:r>
            <a:r>
              <a:rPr lang="en-GB" i="1"/>
              <a:t>N Engl J Med</a:t>
            </a:r>
            <a:r>
              <a:rPr lang="en-GB"/>
              <a:t> 2018.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1ACB10E2-6852-A29F-A79F-60168ADDCE26}"/>
              </a:ext>
            </a:extLst>
          </p:cNvPr>
          <p:cNvSpPr/>
          <p:nvPr/>
        </p:nvSpPr>
        <p:spPr>
          <a:xfrm>
            <a:off x="1552666" y="1786380"/>
            <a:ext cx="3239832" cy="33431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ell of origin</a:t>
            </a:r>
            <a:r>
              <a:rPr kumimoji="0" lang="en-GB" sz="1600" b="1" i="0" u="none" strike="noStrike" kern="1200" cap="none" spc="0" normalizeH="0" baseline="3000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BFD8183-E3AA-5B4A-2DC5-9BF8EF769DE0}"/>
              </a:ext>
            </a:extLst>
          </p:cNvPr>
          <p:cNvSpPr/>
          <p:nvPr/>
        </p:nvSpPr>
        <p:spPr>
          <a:xfrm>
            <a:off x="546867" y="1284369"/>
            <a:ext cx="5289610" cy="4894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Established biomarkers</a:t>
            </a:r>
            <a:endParaRPr kumimoji="0" lang="en-GB" sz="2000" b="0" i="0" u="none" strike="noStrike" kern="1200" cap="none" spc="0" normalizeH="0" baseline="3000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9C136BB4-8EBE-5F97-2EEC-ABF6EC5C49B9}"/>
              </a:ext>
            </a:extLst>
          </p:cNvPr>
          <p:cNvSpPr/>
          <p:nvPr/>
        </p:nvSpPr>
        <p:spPr>
          <a:xfrm>
            <a:off x="573739" y="1715303"/>
            <a:ext cx="5199661" cy="4134317"/>
          </a:xfrm>
          <a:prstGeom prst="roundRect">
            <a:avLst>
              <a:gd name="adj" fmla="val 1596"/>
            </a:avLst>
          </a:prstGeom>
          <a:noFill/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85DA7B57-B1FF-E8F5-3FA9-178AEF626A95}"/>
              </a:ext>
            </a:extLst>
          </p:cNvPr>
          <p:cNvSpPr/>
          <p:nvPr/>
        </p:nvSpPr>
        <p:spPr>
          <a:xfrm>
            <a:off x="1552666" y="2970873"/>
            <a:ext cx="3239832" cy="33431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efined cell of origin</a:t>
            </a:r>
            <a:r>
              <a:rPr kumimoji="0" lang="en-GB" sz="1600" b="1" i="0" u="none" strike="noStrike" kern="1200" cap="none" spc="0" normalizeH="0" baseline="3000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–4</a:t>
            </a: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C72C6E50-587E-289B-DF15-E8E2A0658A4A}"/>
              </a:ext>
            </a:extLst>
          </p:cNvPr>
          <p:cNvSpPr/>
          <p:nvPr/>
        </p:nvSpPr>
        <p:spPr>
          <a:xfrm>
            <a:off x="1552666" y="4535930"/>
            <a:ext cx="3239832" cy="33431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Genetic subtypes</a:t>
            </a:r>
            <a:r>
              <a:rPr kumimoji="0" lang="en-GB" sz="1600" b="1" i="0" u="none" strike="noStrike" kern="1200" cap="none" spc="0" normalizeH="0" baseline="3000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5</a:t>
            </a: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AD3AA632-8CB3-21B0-86C4-0D1599FF8443}"/>
              </a:ext>
            </a:extLst>
          </p:cNvPr>
          <p:cNvSpPr/>
          <p:nvPr/>
        </p:nvSpPr>
        <p:spPr>
          <a:xfrm>
            <a:off x="2103632" y="5574861"/>
            <a:ext cx="129968" cy="113399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30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2BD8DA61-076D-E2AB-B59C-54821BE54015}"/>
              </a:ext>
            </a:extLst>
          </p:cNvPr>
          <p:cNvSpPr/>
          <p:nvPr/>
        </p:nvSpPr>
        <p:spPr>
          <a:xfrm>
            <a:off x="3217683" y="5574861"/>
            <a:ext cx="129968" cy="113399"/>
          </a:xfrm>
          <a:prstGeom prst="roundRect">
            <a:avLst/>
          </a:prstGeom>
          <a:solidFill>
            <a:srgbClr val="F4734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30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9603E6A8-3256-C2CD-1971-E131C8FD2407}"/>
              </a:ext>
            </a:extLst>
          </p:cNvPr>
          <p:cNvSpPr/>
          <p:nvPr/>
        </p:nvSpPr>
        <p:spPr>
          <a:xfrm>
            <a:off x="2021602" y="5460490"/>
            <a:ext cx="1303283" cy="33431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Favourable</a:t>
            </a:r>
            <a:endParaRPr kumimoji="0" lang="en-GB" sz="1200" b="0" i="0" u="none" strike="noStrike" kern="1200" cap="none" spc="0" normalizeH="0" baseline="3000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F7410B9D-B21B-C7C7-A605-ADA115354C37}"/>
              </a:ext>
            </a:extLst>
          </p:cNvPr>
          <p:cNvSpPr/>
          <p:nvPr/>
        </p:nvSpPr>
        <p:spPr>
          <a:xfrm>
            <a:off x="3210322" y="5460490"/>
            <a:ext cx="1303283" cy="33431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Unfavourable</a:t>
            </a:r>
            <a:endParaRPr kumimoji="0" lang="en-GB" sz="1200" b="0" i="0" u="none" strike="noStrike" kern="1200" cap="none" spc="0" normalizeH="0" baseline="3000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1" name="Shape 3">
            <a:extLst>
              <a:ext uri="{FF2B5EF4-FFF2-40B4-BE49-F238E27FC236}">
                <a16:creationId xmlns:a16="http://schemas.microsoft.com/office/drawing/2014/main" id="{7018FB44-F1CD-9D90-52C0-01E31E15A413}"/>
              </a:ext>
            </a:extLst>
          </p:cNvPr>
          <p:cNvSpPr/>
          <p:nvPr/>
        </p:nvSpPr>
        <p:spPr>
          <a:xfrm>
            <a:off x="1725965" y="2206391"/>
            <a:ext cx="1181262" cy="471798"/>
          </a:xfrm>
          <a:prstGeom prst="roundRect">
            <a:avLst>
              <a:gd name="adj" fmla="val 8333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" name="Text 4">
            <a:extLst>
              <a:ext uri="{FF2B5EF4-FFF2-40B4-BE49-F238E27FC236}">
                <a16:creationId xmlns:a16="http://schemas.microsoft.com/office/drawing/2014/main" id="{E90AFDE2-8CB5-7BB6-9D46-ED5997C30AB6}"/>
              </a:ext>
            </a:extLst>
          </p:cNvPr>
          <p:cNvSpPr/>
          <p:nvPr/>
        </p:nvSpPr>
        <p:spPr>
          <a:xfrm>
            <a:off x="1725965" y="2327288"/>
            <a:ext cx="1181262" cy="2743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Arial" pitchFamily="34" charset="-122"/>
                <a:cs typeface="Arial" pitchFamily="34" charset="-120"/>
              </a:rPr>
              <a:t>GCB</a:t>
            </a: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" name="Text 5">
            <a:extLst>
              <a:ext uri="{FF2B5EF4-FFF2-40B4-BE49-F238E27FC236}">
                <a16:creationId xmlns:a16="http://schemas.microsoft.com/office/drawing/2014/main" id="{49F55858-1DCC-57AC-7FB0-DDD77984AB00}"/>
              </a:ext>
            </a:extLst>
          </p:cNvPr>
          <p:cNvSpPr/>
          <p:nvPr/>
        </p:nvSpPr>
        <p:spPr>
          <a:xfrm>
            <a:off x="1725965" y="2691289"/>
            <a:ext cx="1181262" cy="21945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Arial" pitchFamily="34" charset="-122"/>
                <a:cs typeface="Arial" pitchFamily="34" charset="-120"/>
              </a:rPr>
              <a:t>5-yr OS* ~60%</a:t>
            </a: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" name="Text 6">
            <a:extLst>
              <a:ext uri="{FF2B5EF4-FFF2-40B4-BE49-F238E27FC236}">
                <a16:creationId xmlns:a16="http://schemas.microsoft.com/office/drawing/2014/main" id="{C5183598-DAD6-5421-409D-E5C36503271C}"/>
              </a:ext>
            </a:extLst>
          </p:cNvPr>
          <p:cNvSpPr/>
          <p:nvPr/>
        </p:nvSpPr>
        <p:spPr>
          <a:xfrm>
            <a:off x="2983427" y="2337289"/>
            <a:ext cx="266737" cy="2743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1" u="none" strike="noStrike" kern="1200" cap="none" spc="0" normalizeH="0" baseline="0" noProof="0">
                <a:ln>
                  <a:noFill/>
                </a:ln>
                <a:solidFill>
                  <a:srgbClr val="6B6B6B"/>
                </a:solidFill>
                <a:effectLst/>
                <a:uLnTx/>
                <a:uFillTx/>
                <a:latin typeface="Aptos" panose="02110004020202020204"/>
                <a:ea typeface="Arial" pitchFamily="34" charset="-122"/>
                <a:cs typeface="Arial" pitchFamily="34" charset="-120"/>
              </a:rPr>
              <a:t>vs</a:t>
            </a: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" name="Shape 7">
            <a:extLst>
              <a:ext uri="{FF2B5EF4-FFF2-40B4-BE49-F238E27FC236}">
                <a16:creationId xmlns:a16="http://schemas.microsoft.com/office/drawing/2014/main" id="{9A216FD4-98B5-DB62-C00C-77B15E5390C4}"/>
              </a:ext>
            </a:extLst>
          </p:cNvPr>
          <p:cNvSpPr/>
          <p:nvPr/>
        </p:nvSpPr>
        <p:spPr>
          <a:xfrm>
            <a:off x="3318037" y="2206391"/>
            <a:ext cx="1430855" cy="471798"/>
          </a:xfrm>
          <a:prstGeom prst="roundRect">
            <a:avLst>
              <a:gd name="adj" fmla="val 8333"/>
            </a:avLst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6" name="Text 8">
            <a:extLst>
              <a:ext uri="{FF2B5EF4-FFF2-40B4-BE49-F238E27FC236}">
                <a16:creationId xmlns:a16="http://schemas.microsoft.com/office/drawing/2014/main" id="{DA56D6E0-A910-CA6E-B9F8-42146C9EA20A}"/>
              </a:ext>
            </a:extLst>
          </p:cNvPr>
          <p:cNvSpPr/>
          <p:nvPr/>
        </p:nvSpPr>
        <p:spPr>
          <a:xfrm>
            <a:off x="3173964" y="2209273"/>
            <a:ext cx="1798567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Arial" pitchFamily="34" charset="-122"/>
                <a:cs typeface="Arial" pitchFamily="34" charset="-120"/>
              </a:rPr>
              <a:t>Non-GCB</a:t>
            </a: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7" name="Shape 9">
            <a:extLst>
              <a:ext uri="{FF2B5EF4-FFF2-40B4-BE49-F238E27FC236}">
                <a16:creationId xmlns:a16="http://schemas.microsoft.com/office/drawing/2014/main" id="{3194DECE-CBEB-2F3F-DA5D-71D761170BE0}"/>
              </a:ext>
            </a:extLst>
          </p:cNvPr>
          <p:cNvSpPr/>
          <p:nvPr/>
        </p:nvSpPr>
        <p:spPr>
          <a:xfrm>
            <a:off x="3380988" y="2432730"/>
            <a:ext cx="548715" cy="164592"/>
          </a:xfrm>
          <a:prstGeom prst="roundRect">
            <a:avLst>
              <a:gd name="adj" fmla="val 22222"/>
            </a:avLst>
          </a:prstGeom>
          <a:solidFill>
            <a:schemeClr val="accent5">
              <a:alpha val="60000"/>
            </a:schemeClr>
          </a:solidFill>
          <a:ln w="3810">
            <a:noFill/>
            <a:prstDash val="solid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8" name="Text 10">
            <a:extLst>
              <a:ext uri="{FF2B5EF4-FFF2-40B4-BE49-F238E27FC236}">
                <a16:creationId xmlns:a16="http://schemas.microsoft.com/office/drawing/2014/main" id="{57F69AC7-446D-D292-E697-3C323EC10B9C}"/>
              </a:ext>
            </a:extLst>
          </p:cNvPr>
          <p:cNvSpPr/>
          <p:nvPr/>
        </p:nvSpPr>
        <p:spPr>
          <a:xfrm>
            <a:off x="3380988" y="2432158"/>
            <a:ext cx="548715" cy="1645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Arial" pitchFamily="34" charset="-122"/>
                <a:cs typeface="Arial" pitchFamily="34" charset="-120"/>
              </a:rPr>
              <a:t>ABC</a:t>
            </a: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9" name="Shape 11">
            <a:extLst>
              <a:ext uri="{FF2B5EF4-FFF2-40B4-BE49-F238E27FC236}">
                <a16:creationId xmlns:a16="http://schemas.microsoft.com/office/drawing/2014/main" id="{BBCA8E4F-D79A-F55A-86C1-3F549772DD2D}"/>
              </a:ext>
            </a:extLst>
          </p:cNvPr>
          <p:cNvSpPr/>
          <p:nvPr/>
        </p:nvSpPr>
        <p:spPr>
          <a:xfrm>
            <a:off x="3993212" y="2432730"/>
            <a:ext cx="671025" cy="164592"/>
          </a:xfrm>
          <a:prstGeom prst="roundRect">
            <a:avLst>
              <a:gd name="adj" fmla="val 22222"/>
            </a:avLst>
          </a:prstGeom>
          <a:solidFill>
            <a:schemeClr val="accent5">
              <a:alpha val="60000"/>
            </a:schemeClr>
          </a:solidFill>
          <a:ln w="3810">
            <a:noFill/>
            <a:prstDash val="solid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" name="Text 12">
            <a:extLst>
              <a:ext uri="{FF2B5EF4-FFF2-40B4-BE49-F238E27FC236}">
                <a16:creationId xmlns:a16="http://schemas.microsoft.com/office/drawing/2014/main" id="{CFDD4E8C-E625-07C9-58F2-6729999AAF49}"/>
              </a:ext>
            </a:extLst>
          </p:cNvPr>
          <p:cNvSpPr/>
          <p:nvPr/>
        </p:nvSpPr>
        <p:spPr>
          <a:xfrm>
            <a:off x="3933521" y="2432158"/>
            <a:ext cx="794216" cy="1645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Arial" pitchFamily="34" charset="-122"/>
                <a:cs typeface="Arial" pitchFamily="34" charset="-120"/>
              </a:rPr>
              <a:t>Type 3</a:t>
            </a:r>
            <a:endParaRPr kumimoji="0" lang="en-GB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1" name="Text 13">
            <a:extLst>
              <a:ext uri="{FF2B5EF4-FFF2-40B4-BE49-F238E27FC236}">
                <a16:creationId xmlns:a16="http://schemas.microsoft.com/office/drawing/2014/main" id="{23E5CD79-6D2F-AE29-6E09-CF3BACB14468}"/>
              </a:ext>
            </a:extLst>
          </p:cNvPr>
          <p:cNvSpPr/>
          <p:nvPr/>
        </p:nvSpPr>
        <p:spPr>
          <a:xfrm>
            <a:off x="3173964" y="2709577"/>
            <a:ext cx="1798567" cy="1828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Arial" pitchFamily="34" charset="-122"/>
                <a:cs typeface="Arial" pitchFamily="34" charset="-120"/>
              </a:rPr>
              <a:t>5-yr OS* ~35–39%</a:t>
            </a: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id="{BDF9CA21-6CDF-906C-728C-151783263741}"/>
              </a:ext>
            </a:extLst>
          </p:cNvPr>
          <p:cNvSpPr/>
          <p:nvPr/>
        </p:nvSpPr>
        <p:spPr>
          <a:xfrm>
            <a:off x="3846866" y="3766820"/>
            <a:ext cx="679449" cy="478412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rgbClr val="CDD9D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0" name="Text 5">
            <a:extLst>
              <a:ext uri="{FF2B5EF4-FFF2-40B4-BE49-F238E27FC236}">
                <a16:creationId xmlns:a16="http://schemas.microsoft.com/office/drawing/2014/main" id="{838B59A6-5958-617F-5A27-86432D4490B9}"/>
              </a:ext>
            </a:extLst>
          </p:cNvPr>
          <p:cNvSpPr/>
          <p:nvPr/>
        </p:nvSpPr>
        <p:spPr>
          <a:xfrm>
            <a:off x="2438943" y="3710071"/>
            <a:ext cx="1181262" cy="21945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Arial" pitchFamily="34" charset="-122"/>
                <a:cs typeface="Arial" pitchFamily="34" charset="-120"/>
              </a:rPr>
              <a:t>BL</a:t>
            </a: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1" name="Text 5">
            <a:extLst>
              <a:ext uri="{FF2B5EF4-FFF2-40B4-BE49-F238E27FC236}">
                <a16:creationId xmlns:a16="http://schemas.microsoft.com/office/drawing/2014/main" id="{65255605-0998-D5FE-6F86-583844CAD8B0}"/>
              </a:ext>
            </a:extLst>
          </p:cNvPr>
          <p:cNvSpPr/>
          <p:nvPr/>
        </p:nvSpPr>
        <p:spPr>
          <a:xfrm>
            <a:off x="2438943" y="3913271"/>
            <a:ext cx="1181262" cy="21945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Arial" pitchFamily="34" charset="-122"/>
                <a:cs typeface="Arial" pitchFamily="34" charset="-120"/>
              </a:rPr>
              <a:t>HGBCL-DH-BCL2</a:t>
            </a: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2" name="Text 5">
            <a:extLst>
              <a:ext uri="{FF2B5EF4-FFF2-40B4-BE49-F238E27FC236}">
                <a16:creationId xmlns:a16="http://schemas.microsoft.com/office/drawing/2014/main" id="{8DA80F01-4A25-88BF-A790-126A2EE8242F}"/>
              </a:ext>
            </a:extLst>
          </p:cNvPr>
          <p:cNvSpPr/>
          <p:nvPr/>
        </p:nvSpPr>
        <p:spPr>
          <a:xfrm>
            <a:off x="2438943" y="4135521"/>
            <a:ext cx="1181262" cy="21945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Arial" pitchFamily="34" charset="-122"/>
                <a:cs typeface="Arial" pitchFamily="34" charset="-120"/>
              </a:rPr>
              <a:t>GCB-DLBCL</a:t>
            </a:r>
          </a:p>
        </p:txBody>
      </p:sp>
      <p:sp>
        <p:nvSpPr>
          <p:cNvPr id="53" name="Text 5">
            <a:extLst>
              <a:ext uri="{FF2B5EF4-FFF2-40B4-BE49-F238E27FC236}">
                <a16:creationId xmlns:a16="http://schemas.microsoft.com/office/drawing/2014/main" id="{0A4A6B84-7D2F-15B9-D1F1-A88FA06C9947}"/>
              </a:ext>
            </a:extLst>
          </p:cNvPr>
          <p:cNvSpPr/>
          <p:nvPr/>
        </p:nvSpPr>
        <p:spPr>
          <a:xfrm>
            <a:off x="4280443" y="3602121"/>
            <a:ext cx="298649" cy="21945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Arial" pitchFamily="34" charset="-122"/>
                <a:cs typeface="Arial" pitchFamily="34" charset="-120"/>
              </a:rPr>
              <a:t>GC</a:t>
            </a: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4" name="Text 5">
            <a:extLst>
              <a:ext uri="{FF2B5EF4-FFF2-40B4-BE49-F238E27FC236}">
                <a16:creationId xmlns:a16="http://schemas.microsoft.com/office/drawing/2014/main" id="{45ACBE65-0B6A-F93F-5BE4-E7F8107023C7}"/>
              </a:ext>
            </a:extLst>
          </p:cNvPr>
          <p:cNvSpPr/>
          <p:nvPr/>
        </p:nvSpPr>
        <p:spPr>
          <a:xfrm>
            <a:off x="4545364" y="3919621"/>
            <a:ext cx="382978" cy="21945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Arial" pitchFamily="34" charset="-122"/>
                <a:cs typeface="Arial" pitchFamily="34" charset="-120"/>
              </a:rPr>
              <a:t>Light zone</a:t>
            </a: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5" name="Text 5">
            <a:extLst>
              <a:ext uri="{FF2B5EF4-FFF2-40B4-BE49-F238E27FC236}">
                <a16:creationId xmlns:a16="http://schemas.microsoft.com/office/drawing/2014/main" id="{727074D6-171B-FE9C-2DEB-61A54180C781}"/>
              </a:ext>
            </a:extLst>
          </p:cNvPr>
          <p:cNvSpPr/>
          <p:nvPr/>
        </p:nvSpPr>
        <p:spPr>
          <a:xfrm>
            <a:off x="3954815" y="3894221"/>
            <a:ext cx="433777" cy="21945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Arial" pitchFamily="34" charset="-122"/>
                <a:cs typeface="Arial" pitchFamily="34" charset="-120"/>
              </a:rPr>
              <a:t>Dark zone</a:t>
            </a: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7" name="Shape 30">
            <a:extLst>
              <a:ext uri="{FF2B5EF4-FFF2-40B4-BE49-F238E27FC236}">
                <a16:creationId xmlns:a16="http://schemas.microsoft.com/office/drawing/2014/main" id="{075CD619-A73D-F9F0-7A17-6954EFF0F78F}"/>
              </a:ext>
            </a:extLst>
          </p:cNvPr>
          <p:cNvSpPr/>
          <p:nvPr/>
        </p:nvSpPr>
        <p:spPr>
          <a:xfrm>
            <a:off x="1122525" y="4930902"/>
            <a:ext cx="966152" cy="438912"/>
          </a:xfrm>
          <a:prstGeom prst="roundRect">
            <a:avLst>
              <a:gd name="adj" fmla="val 12500"/>
            </a:avLst>
          </a:prstGeom>
          <a:solidFill>
            <a:srgbClr val="4CA1A6"/>
          </a:solidFill>
          <a:ln w="6350">
            <a:noFill/>
            <a:prstDash val="solid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8" name="Text 31">
            <a:extLst>
              <a:ext uri="{FF2B5EF4-FFF2-40B4-BE49-F238E27FC236}">
                <a16:creationId xmlns:a16="http://schemas.microsoft.com/office/drawing/2014/main" id="{14FA1B93-6AFB-0731-92E0-318FE174DB09}"/>
              </a:ext>
            </a:extLst>
          </p:cNvPr>
          <p:cNvSpPr/>
          <p:nvPr/>
        </p:nvSpPr>
        <p:spPr>
          <a:xfrm>
            <a:off x="1172372" y="4967478"/>
            <a:ext cx="868680" cy="21945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Arial" pitchFamily="34" charset="-122"/>
                <a:cs typeface="Arial" pitchFamily="34" charset="-120"/>
              </a:rPr>
              <a:t>EZB</a:t>
            </a: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9" name="Text 32">
            <a:extLst>
              <a:ext uri="{FF2B5EF4-FFF2-40B4-BE49-F238E27FC236}">
                <a16:creationId xmlns:a16="http://schemas.microsoft.com/office/drawing/2014/main" id="{F7189C2C-A6CF-AAF6-4635-9A5BED5D24CB}"/>
              </a:ext>
            </a:extLst>
          </p:cNvPr>
          <p:cNvSpPr/>
          <p:nvPr/>
        </p:nvSpPr>
        <p:spPr>
          <a:xfrm>
            <a:off x="1172372" y="5186934"/>
            <a:ext cx="868680" cy="14630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Arial" pitchFamily="34" charset="-122"/>
                <a:cs typeface="Arial" pitchFamily="34" charset="-120"/>
              </a:rPr>
              <a:t>GCB-enriched</a:t>
            </a:r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0" name="Shape 33">
            <a:extLst>
              <a:ext uri="{FF2B5EF4-FFF2-40B4-BE49-F238E27FC236}">
                <a16:creationId xmlns:a16="http://schemas.microsoft.com/office/drawing/2014/main" id="{85E72FB4-7C3D-793D-F6B5-EA65301FB687}"/>
              </a:ext>
            </a:extLst>
          </p:cNvPr>
          <p:cNvSpPr/>
          <p:nvPr/>
        </p:nvSpPr>
        <p:spPr>
          <a:xfrm>
            <a:off x="2115665" y="4930902"/>
            <a:ext cx="966152" cy="438912"/>
          </a:xfrm>
          <a:prstGeom prst="roundRect">
            <a:avLst>
              <a:gd name="adj" fmla="val 12500"/>
            </a:avLst>
          </a:prstGeom>
          <a:solidFill>
            <a:srgbClr val="4CA1A6"/>
          </a:solidFill>
          <a:ln w="6350">
            <a:noFill/>
            <a:prstDash val="solid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1" name="Text 34">
            <a:extLst>
              <a:ext uri="{FF2B5EF4-FFF2-40B4-BE49-F238E27FC236}">
                <a16:creationId xmlns:a16="http://schemas.microsoft.com/office/drawing/2014/main" id="{F814CADF-D5FA-5770-CEBE-FD58CBC868AD}"/>
              </a:ext>
            </a:extLst>
          </p:cNvPr>
          <p:cNvSpPr/>
          <p:nvPr/>
        </p:nvSpPr>
        <p:spPr>
          <a:xfrm>
            <a:off x="2132492" y="4967478"/>
            <a:ext cx="868680" cy="21945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Arial" pitchFamily="34" charset="-122"/>
                <a:cs typeface="Arial" pitchFamily="34" charset="-120"/>
              </a:rPr>
              <a:t>BN2</a:t>
            </a: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2" name="Text 35">
            <a:extLst>
              <a:ext uri="{FF2B5EF4-FFF2-40B4-BE49-F238E27FC236}">
                <a16:creationId xmlns:a16="http://schemas.microsoft.com/office/drawing/2014/main" id="{C94B8F68-7A9D-C335-24FE-C3F1294F2738}"/>
              </a:ext>
            </a:extLst>
          </p:cNvPr>
          <p:cNvSpPr/>
          <p:nvPr/>
        </p:nvSpPr>
        <p:spPr>
          <a:xfrm>
            <a:off x="2089058" y="5186934"/>
            <a:ext cx="955548" cy="14630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Arial" pitchFamily="34" charset="-122"/>
                <a:cs typeface="Arial" pitchFamily="34" charset="-120"/>
              </a:rPr>
              <a:t>ABC/Unclassified</a:t>
            </a:r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3" name="Shape 36">
            <a:extLst>
              <a:ext uri="{FF2B5EF4-FFF2-40B4-BE49-F238E27FC236}">
                <a16:creationId xmlns:a16="http://schemas.microsoft.com/office/drawing/2014/main" id="{BE027355-6911-3AAD-3D11-92CA474050A6}"/>
              </a:ext>
            </a:extLst>
          </p:cNvPr>
          <p:cNvSpPr/>
          <p:nvPr/>
        </p:nvSpPr>
        <p:spPr>
          <a:xfrm>
            <a:off x="3108805" y="4930902"/>
            <a:ext cx="966152" cy="438912"/>
          </a:xfrm>
          <a:prstGeom prst="roundRect">
            <a:avLst>
              <a:gd name="adj" fmla="val 12500"/>
            </a:avLst>
          </a:prstGeom>
          <a:solidFill>
            <a:srgbClr val="F47345"/>
          </a:solidFill>
          <a:ln w="6350">
            <a:noFill/>
            <a:prstDash val="solid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24" name="Text 37">
            <a:extLst>
              <a:ext uri="{FF2B5EF4-FFF2-40B4-BE49-F238E27FC236}">
                <a16:creationId xmlns:a16="http://schemas.microsoft.com/office/drawing/2014/main" id="{D32A2F02-7BF8-05C7-96A9-66E9ACDC341A}"/>
              </a:ext>
            </a:extLst>
          </p:cNvPr>
          <p:cNvSpPr/>
          <p:nvPr/>
        </p:nvSpPr>
        <p:spPr>
          <a:xfrm>
            <a:off x="3191672" y="4967478"/>
            <a:ext cx="868680" cy="21945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Arial" pitchFamily="34" charset="-122"/>
                <a:cs typeface="Arial" pitchFamily="34" charset="-120"/>
              </a:rPr>
              <a:t>MCD</a:t>
            </a: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25" name="Text 38">
            <a:extLst>
              <a:ext uri="{FF2B5EF4-FFF2-40B4-BE49-F238E27FC236}">
                <a16:creationId xmlns:a16="http://schemas.microsoft.com/office/drawing/2014/main" id="{1096C28A-0F39-CB07-346B-B7DC4E50522F}"/>
              </a:ext>
            </a:extLst>
          </p:cNvPr>
          <p:cNvSpPr/>
          <p:nvPr/>
        </p:nvSpPr>
        <p:spPr>
          <a:xfrm>
            <a:off x="3191672" y="5186934"/>
            <a:ext cx="868680" cy="14630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Arial" pitchFamily="34" charset="-122"/>
                <a:cs typeface="Arial" pitchFamily="34" charset="-120"/>
              </a:rPr>
              <a:t>ABC-enriched</a:t>
            </a:r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26" name="Shape 39">
            <a:extLst>
              <a:ext uri="{FF2B5EF4-FFF2-40B4-BE49-F238E27FC236}">
                <a16:creationId xmlns:a16="http://schemas.microsoft.com/office/drawing/2014/main" id="{98BF11B1-10A7-B9C9-6248-11B00F57477B}"/>
              </a:ext>
            </a:extLst>
          </p:cNvPr>
          <p:cNvSpPr/>
          <p:nvPr/>
        </p:nvSpPr>
        <p:spPr>
          <a:xfrm>
            <a:off x="4101945" y="4930902"/>
            <a:ext cx="966152" cy="438912"/>
          </a:xfrm>
          <a:prstGeom prst="roundRect">
            <a:avLst>
              <a:gd name="adj" fmla="val 12500"/>
            </a:avLst>
          </a:prstGeom>
          <a:solidFill>
            <a:srgbClr val="F47345"/>
          </a:solidFill>
          <a:ln w="6350">
            <a:noFill/>
            <a:prstDash val="solid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27" name="Text 40">
            <a:extLst>
              <a:ext uri="{FF2B5EF4-FFF2-40B4-BE49-F238E27FC236}">
                <a16:creationId xmlns:a16="http://schemas.microsoft.com/office/drawing/2014/main" id="{B572303F-EE9C-E33A-5829-E7B167A83935}"/>
              </a:ext>
            </a:extLst>
          </p:cNvPr>
          <p:cNvSpPr/>
          <p:nvPr/>
        </p:nvSpPr>
        <p:spPr>
          <a:xfrm>
            <a:off x="4151792" y="4967478"/>
            <a:ext cx="868680" cy="21945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Arial" pitchFamily="34" charset="-122"/>
                <a:cs typeface="Arial" pitchFamily="34" charset="-120"/>
              </a:rPr>
              <a:t>N1</a:t>
            </a: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29" name="Text 41">
            <a:extLst>
              <a:ext uri="{FF2B5EF4-FFF2-40B4-BE49-F238E27FC236}">
                <a16:creationId xmlns:a16="http://schemas.microsoft.com/office/drawing/2014/main" id="{6D45E2A5-1EAC-B569-EFBA-34F117B6D7D9}"/>
              </a:ext>
            </a:extLst>
          </p:cNvPr>
          <p:cNvSpPr/>
          <p:nvPr/>
        </p:nvSpPr>
        <p:spPr>
          <a:xfrm>
            <a:off x="4151792" y="5186934"/>
            <a:ext cx="868680" cy="14630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Arial" pitchFamily="34" charset="-122"/>
                <a:cs typeface="Arial" pitchFamily="34" charset="-120"/>
              </a:rPr>
              <a:t>ABC-enriched</a:t>
            </a:r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35" name="Text 21">
            <a:extLst>
              <a:ext uri="{FF2B5EF4-FFF2-40B4-BE49-F238E27FC236}">
                <a16:creationId xmlns:a16="http://schemas.microsoft.com/office/drawing/2014/main" id="{6C4E5571-F6BE-58B7-867B-AB2A564C0B0A}"/>
              </a:ext>
            </a:extLst>
          </p:cNvPr>
          <p:cNvSpPr/>
          <p:nvPr/>
        </p:nvSpPr>
        <p:spPr>
          <a:xfrm>
            <a:off x="1258097" y="3679811"/>
            <a:ext cx="984195" cy="304766"/>
          </a:xfrm>
          <a:prstGeom prst="roundRect">
            <a:avLst/>
          </a:prstGeom>
          <a:solidFill>
            <a:srgbClr val="4CA1A6"/>
          </a:solidFill>
          <a:ln w="6350">
            <a:noFill/>
            <a:prstDash val="solid"/>
          </a:ln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tromal-1</a:t>
            </a:r>
          </a:p>
        </p:txBody>
      </p:sp>
      <p:sp>
        <p:nvSpPr>
          <p:cNvPr id="1036" name="Text 26">
            <a:extLst>
              <a:ext uri="{FF2B5EF4-FFF2-40B4-BE49-F238E27FC236}">
                <a16:creationId xmlns:a16="http://schemas.microsoft.com/office/drawing/2014/main" id="{F0EE4C0C-8387-1714-D197-040CA7847D26}"/>
              </a:ext>
            </a:extLst>
          </p:cNvPr>
          <p:cNvSpPr/>
          <p:nvPr/>
        </p:nvSpPr>
        <p:spPr>
          <a:xfrm>
            <a:off x="1258097" y="4076700"/>
            <a:ext cx="1000532" cy="289129"/>
          </a:xfrm>
          <a:prstGeom prst="roundRect">
            <a:avLst/>
          </a:prstGeom>
          <a:solidFill>
            <a:srgbClr val="F47345"/>
          </a:solidFill>
          <a:ln w="6350">
            <a:noFill/>
            <a:prstDash val="solid"/>
          </a:ln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tromal-2</a:t>
            </a:r>
          </a:p>
        </p:txBody>
      </p:sp>
      <p:sp>
        <p:nvSpPr>
          <p:cNvPr id="1037" name="Text 5">
            <a:extLst>
              <a:ext uri="{FF2B5EF4-FFF2-40B4-BE49-F238E27FC236}">
                <a16:creationId xmlns:a16="http://schemas.microsoft.com/office/drawing/2014/main" id="{BA26FF38-A309-95E3-6ED1-4E5365F93F3D}"/>
              </a:ext>
            </a:extLst>
          </p:cNvPr>
          <p:cNvSpPr/>
          <p:nvPr/>
        </p:nvSpPr>
        <p:spPr>
          <a:xfrm>
            <a:off x="1285886" y="3348121"/>
            <a:ext cx="947714" cy="21945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Arial" pitchFamily="34" charset="-122"/>
                <a:cs typeface="Arial" pitchFamily="34" charset="-120"/>
              </a:rPr>
              <a:t>Stromal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Arial" pitchFamily="34" charset="-122"/>
                <a:cs typeface="Arial" pitchFamily="34" charset="-120"/>
              </a:rPr>
              <a:t>signatures</a:t>
            </a:r>
            <a:r>
              <a:rPr kumimoji="0" lang="en-GB" sz="1200" b="0" i="0" u="none" strike="noStrike" kern="1200" cap="none" spc="0" normalizeH="0" baseline="3000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Arial" pitchFamily="34" charset="-122"/>
                <a:cs typeface="Arial" pitchFamily="34" charset="-120"/>
              </a:rPr>
              <a:t>2</a:t>
            </a:r>
            <a:endParaRPr kumimoji="0" lang="en-GB" sz="1200" b="0" i="0" u="none" strike="noStrike" kern="1200" cap="none" spc="0" normalizeH="0" baseline="3000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38" name="Text 5">
            <a:extLst>
              <a:ext uri="{FF2B5EF4-FFF2-40B4-BE49-F238E27FC236}">
                <a16:creationId xmlns:a16="http://schemas.microsoft.com/office/drawing/2014/main" id="{87CB0103-9672-8892-FB84-33A246A82100}"/>
              </a:ext>
            </a:extLst>
          </p:cNvPr>
          <p:cNvSpPr/>
          <p:nvPr/>
        </p:nvSpPr>
        <p:spPr>
          <a:xfrm>
            <a:off x="2392877" y="3348121"/>
            <a:ext cx="1887566" cy="21945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Arial" pitchFamily="34" charset="-122"/>
                <a:cs typeface="Arial" pitchFamily="34" charset="-120"/>
              </a:rPr>
              <a:t>Dark-zone lymphomas</a:t>
            </a:r>
            <a:r>
              <a:rPr kumimoji="0" lang="en-GB" sz="1200" b="0" i="0" u="none" strike="noStrike" kern="1200" cap="none" spc="0" normalizeH="0" baseline="3000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Arial" pitchFamily="34" charset="-122"/>
                <a:cs typeface="Arial" pitchFamily="34" charset="-120"/>
              </a:rPr>
              <a:t>3,4</a:t>
            </a:r>
            <a:endParaRPr kumimoji="0" lang="en-GB" sz="1200" b="0" i="0" u="none" strike="noStrike" kern="1200" cap="none" spc="0" normalizeH="0" baseline="3000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8A7C1A5-E312-3B32-35A0-CC1807559C33}"/>
              </a:ext>
            </a:extLst>
          </p:cNvPr>
          <p:cNvSpPr/>
          <p:nvPr/>
        </p:nvSpPr>
        <p:spPr>
          <a:xfrm>
            <a:off x="-3051344" y="1474064"/>
            <a:ext cx="3101361" cy="4609174"/>
          </a:xfrm>
          <a:prstGeom prst="rect">
            <a:avLst/>
          </a:prstGeom>
          <a:solidFill>
            <a:srgbClr val="FFFFFF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11254441-0FFE-DF06-D597-058929E6F5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651" y="6356350"/>
            <a:ext cx="383694" cy="365125"/>
          </a:xfrm>
        </p:spPr>
        <p:txBody>
          <a:bodyPr vert="horz" lIns="0" tIns="0" rIns="0" bIns="0"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01CC8E-1CEF-6746-999E-CF29FF00B1DC}" type="slidenum"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82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4377550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ABAFEB9-04E4-4A19-A297-6AAB07F3565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Oval 44">
            <a:extLst>
              <a:ext uri="{FF2B5EF4-FFF2-40B4-BE49-F238E27FC236}">
                <a16:creationId xmlns:a16="http://schemas.microsoft.com/office/drawing/2014/main" id="{AF325D7A-36EC-6805-DA5E-E52777E1333E}"/>
              </a:ext>
            </a:extLst>
          </p:cNvPr>
          <p:cNvSpPr/>
          <p:nvPr/>
        </p:nvSpPr>
        <p:spPr>
          <a:xfrm>
            <a:off x="2013077" y="3961415"/>
            <a:ext cx="1435100" cy="833749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766F325B-A13F-D7E7-AAAE-79522722210A}"/>
              </a:ext>
            </a:extLst>
          </p:cNvPr>
          <p:cNvSpPr/>
          <p:nvPr/>
        </p:nvSpPr>
        <p:spPr>
          <a:xfrm>
            <a:off x="2063877" y="3993165"/>
            <a:ext cx="1346199" cy="766061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6" name="Free-form: Shape 55">
            <a:extLst>
              <a:ext uri="{FF2B5EF4-FFF2-40B4-BE49-F238E27FC236}">
                <a16:creationId xmlns:a16="http://schemas.microsoft.com/office/drawing/2014/main" id="{AEBC9CAB-5020-2945-8EB1-CF877953C348}"/>
              </a:ext>
            </a:extLst>
          </p:cNvPr>
          <p:cNvSpPr/>
          <p:nvPr/>
        </p:nvSpPr>
        <p:spPr>
          <a:xfrm>
            <a:off x="692101" y="4045864"/>
            <a:ext cx="1555925" cy="698500"/>
          </a:xfrm>
          <a:custGeom>
            <a:avLst/>
            <a:gdLst>
              <a:gd name="csX0" fmla="*/ 1504950 w 1524000"/>
              <a:gd name="csY0" fmla="*/ 171450 h 698500"/>
              <a:gd name="csX1" fmla="*/ 1206500 w 1524000"/>
              <a:gd name="csY1" fmla="*/ 0 h 698500"/>
              <a:gd name="csX2" fmla="*/ 0 w 1524000"/>
              <a:gd name="csY2" fmla="*/ 0 h 698500"/>
              <a:gd name="csX3" fmla="*/ 0 w 1524000"/>
              <a:gd name="csY3" fmla="*/ 698500 h 698500"/>
              <a:gd name="csX4" fmla="*/ 1270000 w 1524000"/>
              <a:gd name="csY4" fmla="*/ 698500 h 698500"/>
              <a:gd name="csX5" fmla="*/ 1524000 w 1524000"/>
              <a:gd name="csY5" fmla="*/ 444500 h 698500"/>
              <a:gd name="csX6" fmla="*/ 1504950 w 1524000"/>
              <a:gd name="csY6" fmla="*/ 171450 h 69850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</a:cxnLst>
            <a:rect l="l" t="t" r="r" b="b"/>
            <a:pathLst>
              <a:path w="1524000" h="698500">
                <a:moveTo>
                  <a:pt x="1504950" y="171450"/>
                </a:moveTo>
                <a:lnTo>
                  <a:pt x="1206500" y="0"/>
                </a:lnTo>
                <a:lnTo>
                  <a:pt x="0" y="0"/>
                </a:lnTo>
                <a:lnTo>
                  <a:pt x="0" y="698500"/>
                </a:lnTo>
                <a:lnTo>
                  <a:pt x="1270000" y="698500"/>
                </a:lnTo>
                <a:lnTo>
                  <a:pt x="1524000" y="444500"/>
                </a:lnTo>
                <a:lnTo>
                  <a:pt x="1504950" y="171450"/>
                </a:lnTo>
                <a:close/>
              </a:path>
            </a:pathLst>
          </a:custGeom>
          <a:solidFill>
            <a:schemeClr val="accent6">
              <a:lumMod val="75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14" name="Picture 2" descr="image">
            <a:extLst>
              <a:ext uri="{FF2B5EF4-FFF2-40B4-BE49-F238E27FC236}">
                <a16:creationId xmlns:a16="http://schemas.microsoft.com/office/drawing/2014/main" id="{1C70E31B-9FA8-ACCD-6506-11542258647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2031"/>
          <a:stretch>
            <a:fillRect/>
          </a:stretch>
        </p:blipFill>
        <p:spPr bwMode="auto">
          <a:xfrm>
            <a:off x="7626294" y="3061402"/>
            <a:ext cx="2939046" cy="2518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8AE2F98-C51F-42A3-40BE-0385755E17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0647" y="311858"/>
            <a:ext cx="9789459" cy="632402"/>
          </a:xfrm>
        </p:spPr>
        <p:txBody>
          <a:bodyPr/>
          <a:lstStyle/>
          <a:p>
            <a:r>
              <a:rPr lang="en-GB"/>
              <a:t>Do we have the biomarkers we need to fully tailor our decisions for DLBCL patients?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DC60E3B-41DD-B5D9-86E2-CC8C1810310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70644" y="5829300"/>
            <a:ext cx="10927606" cy="890651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A</a:t>
            </a:r>
            <a:r>
              <a:rPr lang="en-GB"/>
              <a:t>BC, activated B-cell-like; BL, Burkitt lymphoma; BN2, co-occurrence of mutations in BCL6/NOTCH2; CAF, cancer-associated fibroblast; Co-</a:t>
            </a:r>
            <a:r>
              <a:rPr lang="en-GB" err="1"/>
              <a:t>inh</a:t>
            </a:r>
            <a:r>
              <a:rPr lang="en-GB"/>
              <a:t>., co-inhibitory; </a:t>
            </a:r>
            <a:r>
              <a:rPr lang="en-GB" err="1"/>
              <a:t>ct</a:t>
            </a:r>
            <a:r>
              <a:rPr lang="en-GB"/>
              <a:t>-DNA, circulating tumour DNA; DLBCL, diffuse large B-cell lymphoma; DZ, dark zone; EZB, co-occurrence of mutations in EZH2/BCL2; </a:t>
            </a:r>
            <a:r>
              <a:rPr lang="en-GB" err="1"/>
              <a:t>fDC</a:t>
            </a:r>
            <a:r>
              <a:rPr lang="en-GB"/>
              <a:t>, follicular dendritic cell; FMAC, fibroblast/macrophage; GC</a:t>
            </a:r>
            <a:r>
              <a:rPr lang="en-CH"/>
              <a:t>(</a:t>
            </a:r>
            <a:r>
              <a:rPr lang="en-GB"/>
              <a:t>B</a:t>
            </a:r>
            <a:r>
              <a:rPr lang="en-CH"/>
              <a:t>)</a:t>
            </a:r>
            <a:r>
              <a:rPr lang="en-GB"/>
              <a:t>, germinal-centre </a:t>
            </a:r>
            <a:r>
              <a:rPr lang="en-CH"/>
              <a:t>(</a:t>
            </a:r>
            <a:r>
              <a:rPr lang="en-GB"/>
              <a:t>B-cell-like</a:t>
            </a:r>
            <a:r>
              <a:rPr lang="en-CH"/>
              <a:t>)</a:t>
            </a:r>
            <a:r>
              <a:rPr lang="en-GB"/>
              <a:t>; HGBCL-DH-BCL2, high-grade B-cell lymphoma with MYC and BCL2 rearrangements; LN, lymph node; MCD, co-occurrence of mutations in MYD88/CD79B; MHC, major histocompatibility complex; MRC, marginal reticular cell; MRD, minimal residual disease; N1, genetic alteration in NOTCH1; OS, overall survival; SA-Mac, splenic architecture-associated macrophage; TEX, exhausted T cell; TRM, tissue-resident memory T cell. </a:t>
            </a:r>
            <a:endParaRPr lang="en-CH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b="1"/>
              <a:t>1. </a:t>
            </a:r>
            <a:r>
              <a:rPr lang="en-GB"/>
              <a:t>Rosenwald et al. </a:t>
            </a:r>
            <a:r>
              <a:rPr lang="en-GB" i="1"/>
              <a:t>N Engl J Med </a:t>
            </a:r>
            <a:r>
              <a:rPr lang="en-GB"/>
              <a:t>2002 </a:t>
            </a:r>
            <a:r>
              <a:rPr lang="en-GB" b="1"/>
              <a:t>2. </a:t>
            </a:r>
            <a:r>
              <a:rPr lang="en-GB"/>
              <a:t>Lenz et al. </a:t>
            </a:r>
            <a:r>
              <a:rPr lang="en-GB" i="1"/>
              <a:t>N Engl J Med</a:t>
            </a:r>
            <a:r>
              <a:rPr lang="en-GB"/>
              <a:t> 2008 </a:t>
            </a:r>
            <a:r>
              <a:rPr lang="en-GB" b="1"/>
              <a:t>3</a:t>
            </a:r>
            <a:r>
              <a:rPr lang="en-GB" b="1" i="1"/>
              <a:t>.</a:t>
            </a:r>
            <a:r>
              <a:rPr lang="en-GB" b="1"/>
              <a:t> </a:t>
            </a:r>
            <a:r>
              <a:rPr lang="en-GB" err="1"/>
              <a:t>Alduaij</a:t>
            </a:r>
            <a:r>
              <a:rPr lang="en-GB"/>
              <a:t> et al. </a:t>
            </a:r>
            <a:r>
              <a:rPr lang="en-GB" i="1"/>
              <a:t>Blood</a:t>
            </a:r>
            <a:r>
              <a:rPr lang="en-GB"/>
              <a:t> 2023 </a:t>
            </a:r>
            <a:r>
              <a:rPr lang="en-GB" b="1"/>
              <a:t>4.</a:t>
            </a:r>
            <a:r>
              <a:rPr lang="en-GB"/>
              <a:t> Zhao et al. </a:t>
            </a:r>
            <a:r>
              <a:rPr lang="en-GB" i="1"/>
              <a:t>Am J Clin </a:t>
            </a:r>
            <a:r>
              <a:rPr lang="en-GB" i="1" err="1"/>
              <a:t>Pathol</a:t>
            </a:r>
            <a:r>
              <a:rPr lang="en-GB" i="1"/>
              <a:t> </a:t>
            </a:r>
            <a:r>
              <a:rPr lang="en-GB"/>
              <a:t>2025 </a:t>
            </a:r>
            <a:r>
              <a:rPr lang="en-GB" b="1"/>
              <a:t>5.</a:t>
            </a:r>
            <a:r>
              <a:rPr lang="en-GB"/>
              <a:t> Schmitz et al. </a:t>
            </a:r>
            <a:r>
              <a:rPr lang="en-GB" i="1"/>
              <a:t>N Engl J Med</a:t>
            </a:r>
            <a:r>
              <a:rPr lang="en-GB"/>
              <a:t> 2018 </a:t>
            </a:r>
            <a:r>
              <a:rPr lang="en-GB" b="1"/>
              <a:t>6.</a:t>
            </a:r>
            <a:r>
              <a:rPr lang="en-GB"/>
              <a:t> </a:t>
            </a:r>
            <a:r>
              <a:rPr lang="en-GB" err="1"/>
              <a:t>Trabolsi</a:t>
            </a:r>
            <a:r>
              <a:rPr lang="en-GB"/>
              <a:t> et al. </a:t>
            </a:r>
            <a:r>
              <a:rPr lang="fi-FI" i="1"/>
              <a:t>Blood Cancer J </a:t>
            </a:r>
            <a:r>
              <a:rPr lang="fi-FI"/>
              <a:t>2024</a:t>
            </a:r>
            <a:r>
              <a:rPr lang="en-GB"/>
              <a:t> </a:t>
            </a:r>
            <a:endParaRPr lang="en-CH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b="1"/>
              <a:t>7. </a:t>
            </a:r>
            <a:r>
              <a:rPr lang="en-GB"/>
              <a:t>Chong </a:t>
            </a:r>
            <a:r>
              <a:rPr lang="en-GB" i="1"/>
              <a:t>Am J </a:t>
            </a:r>
            <a:r>
              <a:rPr lang="en-GB" i="1" err="1"/>
              <a:t>Hematol</a:t>
            </a:r>
            <a:r>
              <a:rPr lang="en-GB"/>
              <a:t> 2026 </a:t>
            </a:r>
            <a:r>
              <a:rPr lang="en-GB" b="1"/>
              <a:t>8. </a:t>
            </a:r>
            <a:r>
              <a:rPr lang="en-GB"/>
              <a:t>Krupka et al. </a:t>
            </a:r>
            <a:r>
              <a:rPr lang="en-GB" i="1"/>
              <a:t>Blood </a:t>
            </a:r>
            <a:r>
              <a:rPr lang="en-GB"/>
              <a:t>2025 </a:t>
            </a:r>
            <a:r>
              <a:rPr lang="en-GB" b="1"/>
              <a:t>9. </a:t>
            </a:r>
            <a:r>
              <a:rPr lang="en-GB" err="1"/>
              <a:t>Chapuy</a:t>
            </a:r>
            <a:r>
              <a:rPr lang="en-GB"/>
              <a:t> et al. </a:t>
            </a:r>
            <a:r>
              <a:rPr lang="en-GB" i="1"/>
              <a:t>Blood </a:t>
            </a:r>
            <a:r>
              <a:rPr lang="en-GB"/>
              <a:t>2025 </a:t>
            </a:r>
            <a:r>
              <a:rPr lang="en-GB" b="1"/>
              <a:t>10.</a:t>
            </a:r>
            <a:r>
              <a:rPr lang="en-GB"/>
              <a:t> Wright et al. </a:t>
            </a:r>
            <a:r>
              <a:rPr lang="en-GB" i="1"/>
              <a:t>Cancer Cell</a:t>
            </a:r>
            <a:r>
              <a:rPr lang="en-GB"/>
              <a:t> 2020 </a:t>
            </a:r>
            <a:r>
              <a:rPr lang="en-GB" b="1"/>
              <a:t>11.</a:t>
            </a:r>
            <a:r>
              <a:rPr lang="en-GB"/>
              <a:t> Li et al. </a:t>
            </a:r>
            <a:r>
              <a:rPr lang="en-GB" i="1"/>
              <a:t>Cancer Cell</a:t>
            </a:r>
            <a:r>
              <a:rPr lang="en-GB"/>
              <a:t> 2025.  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742DF6B9-4F3B-E766-B0E8-DAA8B4E655DA}"/>
              </a:ext>
            </a:extLst>
          </p:cNvPr>
          <p:cNvSpPr/>
          <p:nvPr/>
        </p:nvSpPr>
        <p:spPr>
          <a:xfrm>
            <a:off x="667591" y="1786380"/>
            <a:ext cx="2799147" cy="33431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ell of origin</a:t>
            </a:r>
            <a:r>
              <a:rPr kumimoji="0" lang="en-GB" sz="1600" b="1" i="0" u="none" strike="noStrike" kern="1200" cap="none" spc="0" normalizeH="0" baseline="3000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9802063-6C0B-43D4-DCE9-44D27DDAA957}"/>
              </a:ext>
            </a:extLst>
          </p:cNvPr>
          <p:cNvSpPr/>
          <p:nvPr/>
        </p:nvSpPr>
        <p:spPr>
          <a:xfrm>
            <a:off x="-123535" y="1262659"/>
            <a:ext cx="4215209" cy="4894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Established biomarkers</a:t>
            </a:r>
            <a:endParaRPr kumimoji="0" lang="en-GB" sz="2000" b="0" i="0" u="none" strike="noStrike" kern="1200" cap="none" spc="0" normalizeH="0" baseline="3000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0F32D04-E66E-0E56-D805-CE9106091B30}"/>
              </a:ext>
            </a:extLst>
          </p:cNvPr>
          <p:cNvSpPr/>
          <p:nvPr/>
        </p:nvSpPr>
        <p:spPr>
          <a:xfrm>
            <a:off x="3621300" y="1266448"/>
            <a:ext cx="7702019" cy="4894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Emerging biomarkers</a:t>
            </a: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7EE6E62A-8FE3-76AD-5B63-DD811893E9EF}"/>
              </a:ext>
            </a:extLst>
          </p:cNvPr>
          <p:cNvSpPr/>
          <p:nvPr/>
        </p:nvSpPr>
        <p:spPr>
          <a:xfrm>
            <a:off x="573740" y="1715303"/>
            <a:ext cx="2958935" cy="4083517"/>
          </a:xfrm>
          <a:prstGeom prst="roundRect">
            <a:avLst>
              <a:gd name="adj" fmla="val 1799"/>
            </a:avLst>
          </a:prstGeom>
          <a:noFill/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A2803C22-7726-C4FF-B511-78F351FE0E08}"/>
              </a:ext>
            </a:extLst>
          </p:cNvPr>
          <p:cNvSpPr/>
          <p:nvPr/>
        </p:nvSpPr>
        <p:spPr>
          <a:xfrm>
            <a:off x="3621300" y="1715303"/>
            <a:ext cx="7702019" cy="4083517"/>
          </a:xfrm>
          <a:prstGeom prst="roundRect">
            <a:avLst>
              <a:gd name="adj" fmla="val 1799"/>
            </a:avLst>
          </a:prstGeom>
          <a:noFill/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D18F5952-BC08-0E2E-116E-3EAAF9C5F715}"/>
              </a:ext>
            </a:extLst>
          </p:cNvPr>
          <p:cNvSpPr/>
          <p:nvPr/>
        </p:nvSpPr>
        <p:spPr>
          <a:xfrm>
            <a:off x="4288432" y="2563830"/>
            <a:ext cx="2960135" cy="33431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Molecular classification</a:t>
            </a:r>
            <a:r>
              <a:rPr kumimoji="0" lang="en-GB" sz="1600" b="1" i="0" u="none" strike="noStrike" kern="1200" cap="none" spc="0" normalizeH="0" baseline="3000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8–10</a:t>
            </a: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7103160E-4D2A-2531-10DC-AC78D7D6A209}"/>
              </a:ext>
            </a:extLst>
          </p:cNvPr>
          <p:cNvSpPr/>
          <p:nvPr/>
        </p:nvSpPr>
        <p:spPr>
          <a:xfrm>
            <a:off x="7317694" y="2563830"/>
            <a:ext cx="3556246" cy="33431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Microenvironment archetypes</a:t>
            </a:r>
            <a:r>
              <a:rPr kumimoji="0" lang="en-GB" sz="1600" b="1" i="0" u="none" strike="noStrike" kern="1200" cap="none" spc="0" normalizeH="0" baseline="3000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1</a:t>
            </a: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D17E6F37-8918-29EB-E0CD-6A67BDA8ED31}"/>
              </a:ext>
            </a:extLst>
          </p:cNvPr>
          <p:cNvSpPr/>
          <p:nvPr/>
        </p:nvSpPr>
        <p:spPr>
          <a:xfrm>
            <a:off x="946364" y="5600590"/>
            <a:ext cx="129968" cy="113399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30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FCAB9501-4E4C-982B-1215-5D6033EBE339}"/>
              </a:ext>
            </a:extLst>
          </p:cNvPr>
          <p:cNvSpPr/>
          <p:nvPr/>
        </p:nvSpPr>
        <p:spPr>
          <a:xfrm>
            <a:off x="2060415" y="5600590"/>
            <a:ext cx="129968" cy="113399"/>
          </a:xfrm>
          <a:prstGeom prst="roundRect">
            <a:avLst/>
          </a:prstGeom>
          <a:solidFill>
            <a:srgbClr val="F4734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30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3E78AC3D-42E5-800F-5A7B-A382141B7249}"/>
              </a:ext>
            </a:extLst>
          </p:cNvPr>
          <p:cNvSpPr/>
          <p:nvPr/>
        </p:nvSpPr>
        <p:spPr>
          <a:xfrm>
            <a:off x="864334" y="5486219"/>
            <a:ext cx="1303283" cy="33431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Favourable</a:t>
            </a:r>
            <a:endParaRPr kumimoji="0" lang="en-GB" sz="1200" b="0" i="0" u="none" strike="noStrike" kern="1200" cap="none" spc="0" normalizeH="0" baseline="3000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93284E8D-B115-F43A-DE44-080B979C7A19}"/>
              </a:ext>
            </a:extLst>
          </p:cNvPr>
          <p:cNvSpPr/>
          <p:nvPr/>
        </p:nvSpPr>
        <p:spPr>
          <a:xfrm>
            <a:off x="2053054" y="5486219"/>
            <a:ext cx="1303283" cy="33431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Unfavourable</a:t>
            </a:r>
            <a:endParaRPr kumimoji="0" lang="en-GB" sz="1200" b="0" i="0" u="none" strike="noStrike" kern="1200" cap="none" spc="0" normalizeH="0" baseline="3000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" name="Text 4">
            <a:extLst>
              <a:ext uri="{FF2B5EF4-FFF2-40B4-BE49-F238E27FC236}">
                <a16:creationId xmlns:a16="http://schemas.microsoft.com/office/drawing/2014/main" id="{B90FF412-4BC7-E89F-C833-3A204613E8BE}"/>
              </a:ext>
            </a:extLst>
          </p:cNvPr>
          <p:cNvSpPr/>
          <p:nvPr/>
        </p:nvSpPr>
        <p:spPr>
          <a:xfrm>
            <a:off x="658103" y="2251088"/>
            <a:ext cx="1181262" cy="2743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" name="Text 6">
            <a:extLst>
              <a:ext uri="{FF2B5EF4-FFF2-40B4-BE49-F238E27FC236}">
                <a16:creationId xmlns:a16="http://schemas.microsoft.com/office/drawing/2014/main" id="{68875EF2-EF70-14C7-B889-04BA73047DA0}"/>
              </a:ext>
            </a:extLst>
          </p:cNvPr>
          <p:cNvSpPr/>
          <p:nvPr/>
        </p:nvSpPr>
        <p:spPr>
          <a:xfrm>
            <a:off x="1792736" y="2261089"/>
            <a:ext cx="266737" cy="2743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1" u="none" strike="noStrike" kern="1200" cap="none" spc="0" normalizeH="0" baseline="0" noProof="0">
                <a:ln>
                  <a:noFill/>
                </a:ln>
                <a:solidFill>
                  <a:srgbClr val="6B6B6B"/>
                </a:solidFill>
                <a:effectLst/>
                <a:uLnTx/>
                <a:uFillTx/>
                <a:latin typeface="Aptos" panose="02110004020202020204"/>
                <a:ea typeface="Arial" pitchFamily="34" charset="-122"/>
                <a:cs typeface="Arial" pitchFamily="34" charset="-120"/>
              </a:rPr>
              <a:t>vs</a:t>
            </a: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id="{2572AA26-431B-740D-1311-9EEE771DD7C9}"/>
              </a:ext>
            </a:extLst>
          </p:cNvPr>
          <p:cNvSpPr/>
          <p:nvPr/>
        </p:nvSpPr>
        <p:spPr>
          <a:xfrm>
            <a:off x="2165477" y="4128414"/>
            <a:ext cx="679449" cy="478412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rgbClr val="CDD9D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0" name="Text 5">
            <a:extLst>
              <a:ext uri="{FF2B5EF4-FFF2-40B4-BE49-F238E27FC236}">
                <a16:creationId xmlns:a16="http://schemas.microsoft.com/office/drawing/2014/main" id="{55136627-FD45-4E2D-E92B-D0DD8134E206}"/>
              </a:ext>
            </a:extLst>
          </p:cNvPr>
          <p:cNvSpPr/>
          <p:nvPr/>
        </p:nvSpPr>
        <p:spPr>
          <a:xfrm>
            <a:off x="757554" y="4071665"/>
            <a:ext cx="1181262" cy="21945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Arial" pitchFamily="34" charset="-122"/>
                <a:cs typeface="Arial" pitchFamily="34" charset="-120"/>
              </a:rPr>
              <a:t>BL</a:t>
            </a: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1" name="Text 5">
            <a:extLst>
              <a:ext uri="{FF2B5EF4-FFF2-40B4-BE49-F238E27FC236}">
                <a16:creationId xmlns:a16="http://schemas.microsoft.com/office/drawing/2014/main" id="{888E26DB-0F2E-70F6-6DD5-25F0EEA119CC}"/>
              </a:ext>
            </a:extLst>
          </p:cNvPr>
          <p:cNvSpPr/>
          <p:nvPr/>
        </p:nvSpPr>
        <p:spPr>
          <a:xfrm>
            <a:off x="757554" y="4274865"/>
            <a:ext cx="1181262" cy="21945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Arial" pitchFamily="34" charset="-122"/>
                <a:cs typeface="Arial" pitchFamily="34" charset="-120"/>
              </a:rPr>
              <a:t>HGBCL-DH-BCL2</a:t>
            </a: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2" name="Text 5">
            <a:extLst>
              <a:ext uri="{FF2B5EF4-FFF2-40B4-BE49-F238E27FC236}">
                <a16:creationId xmlns:a16="http://schemas.microsoft.com/office/drawing/2014/main" id="{311C4B34-0DFD-1C1B-39D7-94B2DC6631A0}"/>
              </a:ext>
            </a:extLst>
          </p:cNvPr>
          <p:cNvSpPr/>
          <p:nvPr/>
        </p:nvSpPr>
        <p:spPr>
          <a:xfrm>
            <a:off x="757554" y="4497115"/>
            <a:ext cx="1181262" cy="21945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Arial" pitchFamily="34" charset="-122"/>
                <a:cs typeface="Arial" pitchFamily="34" charset="-120"/>
              </a:rPr>
              <a:t>GCB-DLBCL</a:t>
            </a:r>
          </a:p>
        </p:txBody>
      </p:sp>
      <p:sp>
        <p:nvSpPr>
          <p:cNvPr id="53" name="Text 5">
            <a:extLst>
              <a:ext uri="{FF2B5EF4-FFF2-40B4-BE49-F238E27FC236}">
                <a16:creationId xmlns:a16="http://schemas.microsoft.com/office/drawing/2014/main" id="{CD60E6F8-CA5B-E837-93EE-3919B17E2837}"/>
              </a:ext>
            </a:extLst>
          </p:cNvPr>
          <p:cNvSpPr/>
          <p:nvPr/>
        </p:nvSpPr>
        <p:spPr>
          <a:xfrm>
            <a:off x="2599054" y="3963715"/>
            <a:ext cx="298649" cy="21945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Arial" pitchFamily="34" charset="-122"/>
                <a:cs typeface="Arial" pitchFamily="34" charset="-120"/>
              </a:rPr>
              <a:t>GC</a:t>
            </a: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4" name="Text 5">
            <a:extLst>
              <a:ext uri="{FF2B5EF4-FFF2-40B4-BE49-F238E27FC236}">
                <a16:creationId xmlns:a16="http://schemas.microsoft.com/office/drawing/2014/main" id="{75DA2563-4FE0-F01A-6DA0-1C3B30FF0C9C}"/>
              </a:ext>
            </a:extLst>
          </p:cNvPr>
          <p:cNvSpPr/>
          <p:nvPr/>
        </p:nvSpPr>
        <p:spPr>
          <a:xfrm>
            <a:off x="2863975" y="4281215"/>
            <a:ext cx="382978" cy="21945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Arial" pitchFamily="34" charset="-122"/>
                <a:cs typeface="Arial" pitchFamily="34" charset="-120"/>
              </a:rPr>
              <a:t>Light zone</a:t>
            </a: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5" name="Text 5">
            <a:extLst>
              <a:ext uri="{FF2B5EF4-FFF2-40B4-BE49-F238E27FC236}">
                <a16:creationId xmlns:a16="http://schemas.microsoft.com/office/drawing/2014/main" id="{8CE333C5-09F9-4742-68FA-D1ED605212F3}"/>
              </a:ext>
            </a:extLst>
          </p:cNvPr>
          <p:cNvSpPr/>
          <p:nvPr/>
        </p:nvSpPr>
        <p:spPr>
          <a:xfrm>
            <a:off x="2273426" y="4255815"/>
            <a:ext cx="433777" cy="21945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Arial" pitchFamily="34" charset="-122"/>
                <a:cs typeface="Arial" pitchFamily="34" charset="-120"/>
              </a:rPr>
              <a:t>Dark zone</a:t>
            </a: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37" name="Text 5">
            <a:extLst>
              <a:ext uri="{FF2B5EF4-FFF2-40B4-BE49-F238E27FC236}">
                <a16:creationId xmlns:a16="http://schemas.microsoft.com/office/drawing/2014/main" id="{C9FFECFD-AFDF-6620-65C6-24AAB5219FBD}"/>
              </a:ext>
            </a:extLst>
          </p:cNvPr>
          <p:cNvSpPr/>
          <p:nvPr/>
        </p:nvSpPr>
        <p:spPr>
          <a:xfrm>
            <a:off x="931058" y="3206628"/>
            <a:ext cx="855810" cy="21945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Arial" pitchFamily="34" charset="-122"/>
                <a:cs typeface="Arial" pitchFamily="34" charset="-120"/>
              </a:rPr>
              <a:t>Stromal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Arial" pitchFamily="34" charset="-122"/>
                <a:cs typeface="Arial" pitchFamily="34" charset="-120"/>
              </a:rPr>
              <a:t>signatures</a:t>
            </a:r>
            <a:r>
              <a:rPr kumimoji="0" lang="en-GB" sz="1200" b="0" i="0" u="none" strike="noStrike" kern="1200" cap="none" spc="0" normalizeH="0" baseline="3000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Arial" pitchFamily="34" charset="-122"/>
                <a:cs typeface="Arial" pitchFamily="34" charset="-120"/>
              </a:rPr>
              <a:t>2</a:t>
            </a:r>
            <a:endParaRPr kumimoji="0" lang="en-GB" sz="1200" b="0" i="0" u="none" strike="noStrike" kern="1200" cap="none" spc="0" normalizeH="0" baseline="3000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6" name="Shape 3">
            <a:extLst>
              <a:ext uri="{FF2B5EF4-FFF2-40B4-BE49-F238E27FC236}">
                <a16:creationId xmlns:a16="http://schemas.microsoft.com/office/drawing/2014/main" id="{8542553F-1423-52B6-FA80-0B84F7D98630}"/>
              </a:ext>
            </a:extLst>
          </p:cNvPr>
          <p:cNvSpPr/>
          <p:nvPr/>
        </p:nvSpPr>
        <p:spPr>
          <a:xfrm>
            <a:off x="764494" y="2189309"/>
            <a:ext cx="976250" cy="322244"/>
          </a:xfrm>
          <a:prstGeom prst="roundRect">
            <a:avLst>
              <a:gd name="adj" fmla="val 8333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2" name="Text 4">
            <a:extLst>
              <a:ext uri="{FF2B5EF4-FFF2-40B4-BE49-F238E27FC236}">
                <a16:creationId xmlns:a16="http://schemas.microsoft.com/office/drawing/2014/main" id="{59E7E49B-2A56-5B25-8EC8-DFA8BBA61D2D}"/>
              </a:ext>
            </a:extLst>
          </p:cNvPr>
          <p:cNvSpPr/>
          <p:nvPr/>
        </p:nvSpPr>
        <p:spPr>
          <a:xfrm>
            <a:off x="661988" y="2235429"/>
            <a:ext cx="1181262" cy="2743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Arial" pitchFamily="34" charset="-122"/>
                <a:cs typeface="Arial" pitchFamily="34" charset="-120"/>
              </a:rPr>
              <a:t>GCB</a:t>
            </a: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3" name="Shape 7">
            <a:extLst>
              <a:ext uri="{FF2B5EF4-FFF2-40B4-BE49-F238E27FC236}">
                <a16:creationId xmlns:a16="http://schemas.microsoft.com/office/drawing/2014/main" id="{61C6FE68-7254-5D6A-BF12-2ADAF24AD0B2}"/>
              </a:ext>
            </a:extLst>
          </p:cNvPr>
          <p:cNvSpPr/>
          <p:nvPr/>
        </p:nvSpPr>
        <p:spPr>
          <a:xfrm>
            <a:off x="2161873" y="2189309"/>
            <a:ext cx="1182525" cy="322244"/>
          </a:xfrm>
          <a:prstGeom prst="roundRect">
            <a:avLst>
              <a:gd name="adj" fmla="val 8333"/>
            </a:avLst>
          </a:prstGeom>
          <a:solidFill>
            <a:srgbClr val="F4734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4" name="Text 8">
            <a:extLst>
              <a:ext uri="{FF2B5EF4-FFF2-40B4-BE49-F238E27FC236}">
                <a16:creationId xmlns:a16="http://schemas.microsoft.com/office/drawing/2014/main" id="{2B7F94E0-9978-0114-0BB3-51F431CFEDC4}"/>
              </a:ext>
            </a:extLst>
          </p:cNvPr>
          <p:cNvSpPr/>
          <p:nvPr/>
        </p:nvSpPr>
        <p:spPr>
          <a:xfrm>
            <a:off x="1893635" y="2249847"/>
            <a:ext cx="1798567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Arial" pitchFamily="34" charset="-122"/>
                <a:cs typeface="Arial" pitchFamily="34" charset="-120"/>
              </a:rPr>
              <a:t>Non-GCB</a:t>
            </a: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8" name="Shape 30">
            <a:extLst>
              <a:ext uri="{FF2B5EF4-FFF2-40B4-BE49-F238E27FC236}">
                <a16:creationId xmlns:a16="http://schemas.microsoft.com/office/drawing/2014/main" id="{259BD66A-F5FB-0EA3-A786-24C430471608}"/>
              </a:ext>
            </a:extLst>
          </p:cNvPr>
          <p:cNvSpPr/>
          <p:nvPr/>
        </p:nvSpPr>
        <p:spPr>
          <a:xfrm>
            <a:off x="661988" y="5217550"/>
            <a:ext cx="610552" cy="247755"/>
          </a:xfrm>
          <a:prstGeom prst="roundRect">
            <a:avLst>
              <a:gd name="adj" fmla="val 12500"/>
            </a:avLst>
          </a:prstGeom>
          <a:solidFill>
            <a:srgbClr val="4CA1A6"/>
          </a:solidFill>
          <a:ln w="6350">
            <a:noFill/>
            <a:prstDash val="solid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9" name="Text 31">
            <a:extLst>
              <a:ext uri="{FF2B5EF4-FFF2-40B4-BE49-F238E27FC236}">
                <a16:creationId xmlns:a16="http://schemas.microsoft.com/office/drawing/2014/main" id="{B30E7011-8DB7-3651-F839-65BB271A9281}"/>
              </a:ext>
            </a:extLst>
          </p:cNvPr>
          <p:cNvSpPr/>
          <p:nvPr/>
        </p:nvSpPr>
        <p:spPr>
          <a:xfrm>
            <a:off x="692786" y="5279489"/>
            <a:ext cx="548955" cy="123877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Arial" pitchFamily="34" charset="-122"/>
                <a:cs typeface="Arial" pitchFamily="34" charset="-120"/>
              </a:rPr>
              <a:t>EZB</a:t>
            </a: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28" name="Shape 33">
            <a:extLst>
              <a:ext uri="{FF2B5EF4-FFF2-40B4-BE49-F238E27FC236}">
                <a16:creationId xmlns:a16="http://schemas.microsoft.com/office/drawing/2014/main" id="{F099CF1C-62C8-5970-CB98-9C16330492AD}"/>
              </a:ext>
            </a:extLst>
          </p:cNvPr>
          <p:cNvSpPr/>
          <p:nvPr/>
        </p:nvSpPr>
        <p:spPr>
          <a:xfrm>
            <a:off x="1394564" y="5217550"/>
            <a:ext cx="610552" cy="247755"/>
          </a:xfrm>
          <a:prstGeom prst="roundRect">
            <a:avLst>
              <a:gd name="adj" fmla="val 12500"/>
            </a:avLst>
          </a:prstGeom>
          <a:solidFill>
            <a:srgbClr val="4CA1A6"/>
          </a:solidFill>
          <a:ln w="6350">
            <a:noFill/>
            <a:prstDash val="solid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30" name="Text 34">
            <a:extLst>
              <a:ext uri="{FF2B5EF4-FFF2-40B4-BE49-F238E27FC236}">
                <a16:creationId xmlns:a16="http://schemas.microsoft.com/office/drawing/2014/main" id="{9BD4FA0A-067F-811A-D69F-CFECE2C61083}"/>
              </a:ext>
            </a:extLst>
          </p:cNvPr>
          <p:cNvSpPr/>
          <p:nvPr/>
        </p:nvSpPr>
        <p:spPr>
          <a:xfrm>
            <a:off x="1425362" y="5279489"/>
            <a:ext cx="548955" cy="123877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Arial" pitchFamily="34" charset="-122"/>
                <a:cs typeface="Arial" pitchFamily="34" charset="-120"/>
              </a:rPr>
              <a:t>BN2</a:t>
            </a: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31" name="Shape 36">
            <a:extLst>
              <a:ext uri="{FF2B5EF4-FFF2-40B4-BE49-F238E27FC236}">
                <a16:creationId xmlns:a16="http://schemas.microsoft.com/office/drawing/2014/main" id="{05251352-D957-3F59-718D-3504DA433937}"/>
              </a:ext>
            </a:extLst>
          </p:cNvPr>
          <p:cNvSpPr/>
          <p:nvPr/>
        </p:nvSpPr>
        <p:spPr>
          <a:xfrm>
            <a:off x="2127140" y="5217550"/>
            <a:ext cx="610552" cy="247755"/>
          </a:xfrm>
          <a:prstGeom prst="roundRect">
            <a:avLst>
              <a:gd name="adj" fmla="val 12500"/>
            </a:avLst>
          </a:prstGeom>
          <a:solidFill>
            <a:srgbClr val="F47345"/>
          </a:solidFill>
          <a:ln w="6350">
            <a:noFill/>
            <a:prstDash val="solid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32" name="Text 37">
            <a:extLst>
              <a:ext uri="{FF2B5EF4-FFF2-40B4-BE49-F238E27FC236}">
                <a16:creationId xmlns:a16="http://schemas.microsoft.com/office/drawing/2014/main" id="{B3B02275-64AB-5465-3865-A893941AB055}"/>
              </a:ext>
            </a:extLst>
          </p:cNvPr>
          <p:cNvSpPr/>
          <p:nvPr/>
        </p:nvSpPr>
        <p:spPr>
          <a:xfrm>
            <a:off x="2157938" y="5279489"/>
            <a:ext cx="548955" cy="123877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Arial" pitchFamily="34" charset="-122"/>
                <a:cs typeface="Arial" pitchFamily="34" charset="-120"/>
              </a:rPr>
              <a:t>MCD</a:t>
            </a: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33" name="Shape 39">
            <a:extLst>
              <a:ext uri="{FF2B5EF4-FFF2-40B4-BE49-F238E27FC236}">
                <a16:creationId xmlns:a16="http://schemas.microsoft.com/office/drawing/2014/main" id="{6C861382-4329-3EC2-FB5A-A8C97BFF8FFE}"/>
              </a:ext>
            </a:extLst>
          </p:cNvPr>
          <p:cNvSpPr/>
          <p:nvPr/>
        </p:nvSpPr>
        <p:spPr>
          <a:xfrm>
            <a:off x="2859716" y="5217550"/>
            <a:ext cx="610552" cy="247755"/>
          </a:xfrm>
          <a:prstGeom prst="roundRect">
            <a:avLst>
              <a:gd name="adj" fmla="val 12500"/>
            </a:avLst>
          </a:prstGeom>
          <a:solidFill>
            <a:srgbClr val="F47345"/>
          </a:solidFill>
          <a:ln w="6350">
            <a:noFill/>
            <a:prstDash val="solid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34" name="Text 40">
            <a:extLst>
              <a:ext uri="{FF2B5EF4-FFF2-40B4-BE49-F238E27FC236}">
                <a16:creationId xmlns:a16="http://schemas.microsoft.com/office/drawing/2014/main" id="{B03F1A73-38DE-8818-70A2-AFA5E3401C08}"/>
              </a:ext>
            </a:extLst>
          </p:cNvPr>
          <p:cNvSpPr/>
          <p:nvPr/>
        </p:nvSpPr>
        <p:spPr>
          <a:xfrm>
            <a:off x="2890514" y="5279489"/>
            <a:ext cx="548955" cy="123877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Arial" pitchFamily="34" charset="-122"/>
                <a:cs typeface="Arial" pitchFamily="34" charset="-120"/>
              </a:rPr>
              <a:t>N1</a:t>
            </a: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" name="Text 21">
            <a:extLst>
              <a:ext uri="{FF2B5EF4-FFF2-40B4-BE49-F238E27FC236}">
                <a16:creationId xmlns:a16="http://schemas.microsoft.com/office/drawing/2014/main" id="{62FC2F75-3DA4-6737-2E69-129B54836A3D}"/>
              </a:ext>
            </a:extLst>
          </p:cNvPr>
          <p:cNvSpPr/>
          <p:nvPr/>
        </p:nvSpPr>
        <p:spPr>
          <a:xfrm>
            <a:off x="2032683" y="3045191"/>
            <a:ext cx="984195" cy="304766"/>
          </a:xfrm>
          <a:prstGeom prst="roundRect">
            <a:avLst/>
          </a:prstGeom>
          <a:solidFill>
            <a:srgbClr val="4CA1A6"/>
          </a:solidFill>
          <a:ln w="6350">
            <a:noFill/>
            <a:prstDash val="solid"/>
          </a:ln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tromal-1</a:t>
            </a:r>
          </a:p>
        </p:txBody>
      </p:sp>
      <p:sp>
        <p:nvSpPr>
          <p:cNvPr id="7" name="Text 26">
            <a:extLst>
              <a:ext uri="{FF2B5EF4-FFF2-40B4-BE49-F238E27FC236}">
                <a16:creationId xmlns:a16="http://schemas.microsoft.com/office/drawing/2014/main" id="{B0B00A2E-49C1-CC08-23F3-1B3FD9DEE8F2}"/>
              </a:ext>
            </a:extLst>
          </p:cNvPr>
          <p:cNvSpPr/>
          <p:nvPr/>
        </p:nvSpPr>
        <p:spPr>
          <a:xfrm>
            <a:off x="2032683" y="3373841"/>
            <a:ext cx="1000532" cy="289129"/>
          </a:xfrm>
          <a:prstGeom prst="roundRect">
            <a:avLst/>
          </a:prstGeom>
          <a:solidFill>
            <a:srgbClr val="F47345"/>
          </a:solidFill>
          <a:ln w="6350">
            <a:noFill/>
            <a:prstDash val="solid"/>
          </a:ln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tromal-2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50465008-6392-85CA-EBC8-B7849C245104}"/>
              </a:ext>
            </a:extLst>
          </p:cNvPr>
          <p:cNvSpPr/>
          <p:nvPr/>
        </p:nvSpPr>
        <p:spPr>
          <a:xfrm>
            <a:off x="3977617" y="1858980"/>
            <a:ext cx="3581764" cy="33431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ntigen expression and evolution</a:t>
            </a:r>
            <a:r>
              <a:rPr kumimoji="0" lang="en-GB" sz="1600" b="1" i="0" u="none" strike="noStrike" kern="1200" cap="none" spc="0" normalizeH="0" baseline="3000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6,7</a:t>
            </a: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08E965F5-7C18-4145-A8A8-3C762D0BC338}"/>
              </a:ext>
            </a:extLst>
          </p:cNvPr>
          <p:cNvSpPr/>
          <p:nvPr/>
        </p:nvSpPr>
        <p:spPr>
          <a:xfrm>
            <a:off x="7679644" y="1858980"/>
            <a:ext cx="3109006" cy="33431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err="1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t</a:t>
            </a: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-DNA MRD</a:t>
            </a:r>
            <a:r>
              <a:rPr kumimoji="0" lang="en-GB" sz="1600" b="1" i="0" u="none" strike="noStrike" kern="1200" cap="none" spc="0" normalizeH="0" baseline="3000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7</a:t>
            </a:r>
          </a:p>
        </p:txBody>
      </p:sp>
      <p:sp>
        <p:nvSpPr>
          <p:cNvPr id="41" name="Text 13">
            <a:extLst>
              <a:ext uri="{FF2B5EF4-FFF2-40B4-BE49-F238E27FC236}">
                <a16:creationId xmlns:a16="http://schemas.microsoft.com/office/drawing/2014/main" id="{35BCF880-3C68-4F88-D112-7151CBA72A15}"/>
              </a:ext>
            </a:extLst>
          </p:cNvPr>
          <p:cNvSpPr/>
          <p:nvPr/>
        </p:nvSpPr>
        <p:spPr>
          <a:xfrm>
            <a:off x="4577315" y="2233327"/>
            <a:ext cx="2244526" cy="1828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Arial" pitchFamily="34" charset="-122"/>
                <a:cs typeface="Arial" pitchFamily="34" charset="-120"/>
              </a:rPr>
              <a:t>CD19, CD20, CD79b, CD30</a:t>
            </a: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8" name="Rectangle: Rounded Corners 57">
            <a:extLst>
              <a:ext uri="{FF2B5EF4-FFF2-40B4-BE49-F238E27FC236}">
                <a16:creationId xmlns:a16="http://schemas.microsoft.com/office/drawing/2014/main" id="{13446440-ACD9-7E86-DDDB-D21E6B336A54}"/>
              </a:ext>
            </a:extLst>
          </p:cNvPr>
          <p:cNvSpPr/>
          <p:nvPr/>
        </p:nvSpPr>
        <p:spPr>
          <a:xfrm>
            <a:off x="432329" y="2643213"/>
            <a:ext cx="3239832" cy="33431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efined cell of origin</a:t>
            </a:r>
            <a:r>
              <a:rPr kumimoji="0" lang="en-GB" sz="1600" b="1" i="0" u="none" strike="noStrike" kern="1200" cap="none" spc="0" normalizeH="0" baseline="3000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–4</a:t>
            </a:r>
          </a:p>
        </p:txBody>
      </p:sp>
      <p:sp>
        <p:nvSpPr>
          <p:cNvPr id="59" name="Rectangle: Rounded Corners 58">
            <a:extLst>
              <a:ext uri="{FF2B5EF4-FFF2-40B4-BE49-F238E27FC236}">
                <a16:creationId xmlns:a16="http://schemas.microsoft.com/office/drawing/2014/main" id="{4620D35F-6FFD-D79B-A7DD-319130608586}"/>
              </a:ext>
            </a:extLst>
          </p:cNvPr>
          <p:cNvSpPr/>
          <p:nvPr/>
        </p:nvSpPr>
        <p:spPr>
          <a:xfrm>
            <a:off x="432329" y="4810250"/>
            <a:ext cx="3239832" cy="33431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Genetic subtypes</a:t>
            </a:r>
            <a:r>
              <a:rPr kumimoji="0" lang="en-GB" sz="1600" b="1" i="0" u="none" strike="noStrike" kern="1200" cap="none" spc="0" normalizeH="0" baseline="3000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5</a:t>
            </a:r>
          </a:p>
        </p:txBody>
      </p:sp>
      <p:sp>
        <p:nvSpPr>
          <p:cNvPr id="61" name="Text 5">
            <a:extLst>
              <a:ext uri="{FF2B5EF4-FFF2-40B4-BE49-F238E27FC236}">
                <a16:creationId xmlns:a16="http://schemas.microsoft.com/office/drawing/2014/main" id="{0227AF1F-737E-28BB-5ECA-23BAAA1FAB50}"/>
              </a:ext>
            </a:extLst>
          </p:cNvPr>
          <p:cNvSpPr/>
          <p:nvPr/>
        </p:nvSpPr>
        <p:spPr>
          <a:xfrm>
            <a:off x="645566" y="3750891"/>
            <a:ext cx="1887566" cy="21945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Arial" pitchFamily="34" charset="-122"/>
                <a:cs typeface="Arial" pitchFamily="34" charset="-120"/>
              </a:rPr>
              <a:t>Dark-zone lymphomas</a:t>
            </a:r>
            <a:r>
              <a:rPr kumimoji="0" lang="en-GB" sz="1200" b="0" i="0" u="none" strike="noStrike" kern="1200" cap="none" spc="0" normalizeH="0" baseline="3000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Arial" pitchFamily="34" charset="-122"/>
                <a:cs typeface="Arial" pitchFamily="34" charset="-120"/>
              </a:rPr>
              <a:t>3,4</a:t>
            </a:r>
            <a:endParaRPr kumimoji="0" lang="en-GB" sz="1200" b="0" i="0" u="none" strike="noStrike" kern="1200" cap="none" spc="0" normalizeH="0" baseline="3000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grpSp>
        <p:nvGrpSpPr>
          <p:cNvPr id="62" name="Group 61">
            <a:extLst>
              <a:ext uri="{FF2B5EF4-FFF2-40B4-BE49-F238E27FC236}">
                <a16:creationId xmlns:a16="http://schemas.microsoft.com/office/drawing/2014/main" id="{22246E7D-DA11-A395-0EF6-297F8992C3C9}"/>
              </a:ext>
            </a:extLst>
          </p:cNvPr>
          <p:cNvGrpSpPr>
            <a:grpSpLocks noChangeAspect="1"/>
          </p:cNvGrpSpPr>
          <p:nvPr/>
        </p:nvGrpSpPr>
        <p:grpSpPr>
          <a:xfrm rot="5400000">
            <a:off x="9070344" y="2109858"/>
            <a:ext cx="202592" cy="486441"/>
            <a:chOff x="704611" y="1456658"/>
            <a:chExt cx="199531" cy="479091"/>
          </a:xfrm>
        </p:grpSpPr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F2A9CCF8-3D63-4600-C193-5E41E0AD0852}"/>
                </a:ext>
              </a:extLst>
            </p:cNvPr>
            <p:cNvGrpSpPr/>
            <p:nvPr/>
          </p:nvGrpSpPr>
          <p:grpSpPr>
            <a:xfrm flipH="1">
              <a:off x="705120" y="1456658"/>
              <a:ext cx="199022" cy="479091"/>
              <a:chOff x="3767341" y="2244425"/>
              <a:chExt cx="585304" cy="1408966"/>
            </a:xfrm>
            <a:noFill/>
          </p:grpSpPr>
          <p:sp>
            <p:nvSpPr>
              <p:cNvPr id="1039" name="Freeform: Shape 91">
                <a:extLst>
                  <a:ext uri="{FF2B5EF4-FFF2-40B4-BE49-F238E27FC236}">
                    <a16:creationId xmlns:a16="http://schemas.microsoft.com/office/drawing/2014/main" id="{3059548D-C3ED-62FF-C2A2-9A950BFD1DEB}"/>
                  </a:ext>
                </a:extLst>
              </p:cNvPr>
              <p:cNvSpPr/>
              <p:nvPr/>
            </p:nvSpPr>
            <p:spPr>
              <a:xfrm rot="4837695" flipH="1">
                <a:off x="3572300" y="2502917"/>
                <a:ext cx="1016473" cy="499490"/>
              </a:xfrm>
              <a:custGeom>
                <a:avLst/>
                <a:gdLst>
                  <a:gd name="connsiteX0" fmla="*/ 0 w 2617365"/>
                  <a:gd name="connsiteY0" fmla="*/ 939567 h 939567"/>
                  <a:gd name="connsiteX1" fmla="*/ 922789 w 2617365"/>
                  <a:gd name="connsiteY1" fmla="*/ 16778 h 939567"/>
                  <a:gd name="connsiteX2" fmla="*/ 1761688 w 2617365"/>
                  <a:gd name="connsiteY2" fmla="*/ 855677 h 939567"/>
                  <a:gd name="connsiteX3" fmla="*/ 2617365 w 2617365"/>
                  <a:gd name="connsiteY3" fmla="*/ 0 h 939567"/>
                  <a:gd name="connsiteX0" fmla="*/ 27 w 2617392"/>
                  <a:gd name="connsiteY0" fmla="*/ 939567 h 939567"/>
                  <a:gd name="connsiteX1" fmla="*/ 922816 w 2617392"/>
                  <a:gd name="connsiteY1" fmla="*/ 16778 h 939567"/>
                  <a:gd name="connsiteX2" fmla="*/ 1761715 w 2617392"/>
                  <a:gd name="connsiteY2" fmla="*/ 855677 h 939567"/>
                  <a:gd name="connsiteX3" fmla="*/ 2617392 w 2617392"/>
                  <a:gd name="connsiteY3" fmla="*/ 0 h 939567"/>
                  <a:gd name="connsiteX0" fmla="*/ 27 w 2617392"/>
                  <a:gd name="connsiteY0" fmla="*/ 939567 h 939567"/>
                  <a:gd name="connsiteX1" fmla="*/ 922816 w 2617392"/>
                  <a:gd name="connsiteY1" fmla="*/ 16778 h 939567"/>
                  <a:gd name="connsiteX2" fmla="*/ 1761715 w 2617392"/>
                  <a:gd name="connsiteY2" fmla="*/ 855677 h 939567"/>
                  <a:gd name="connsiteX3" fmla="*/ 2617392 w 2617392"/>
                  <a:gd name="connsiteY3" fmla="*/ 0 h 939567"/>
                  <a:gd name="connsiteX0" fmla="*/ 33 w 2617398"/>
                  <a:gd name="connsiteY0" fmla="*/ 939567 h 939567"/>
                  <a:gd name="connsiteX1" fmla="*/ 922822 w 2617398"/>
                  <a:gd name="connsiteY1" fmla="*/ 16778 h 939567"/>
                  <a:gd name="connsiteX2" fmla="*/ 1761721 w 2617398"/>
                  <a:gd name="connsiteY2" fmla="*/ 855677 h 939567"/>
                  <a:gd name="connsiteX3" fmla="*/ 2617398 w 2617398"/>
                  <a:gd name="connsiteY3" fmla="*/ 0 h 939567"/>
                  <a:gd name="connsiteX0" fmla="*/ 33 w 2617398"/>
                  <a:gd name="connsiteY0" fmla="*/ 939567 h 939567"/>
                  <a:gd name="connsiteX1" fmla="*/ 922822 w 2617398"/>
                  <a:gd name="connsiteY1" fmla="*/ 16778 h 939567"/>
                  <a:gd name="connsiteX2" fmla="*/ 1761721 w 2617398"/>
                  <a:gd name="connsiteY2" fmla="*/ 855677 h 939567"/>
                  <a:gd name="connsiteX3" fmla="*/ 2617398 w 2617398"/>
                  <a:gd name="connsiteY3" fmla="*/ 0 h 939567"/>
                  <a:gd name="connsiteX0" fmla="*/ 45 w 2617410"/>
                  <a:gd name="connsiteY0" fmla="*/ 939567 h 939567"/>
                  <a:gd name="connsiteX1" fmla="*/ 793294 w 2617410"/>
                  <a:gd name="connsiteY1" fmla="*/ 161558 h 939567"/>
                  <a:gd name="connsiteX2" fmla="*/ 1761733 w 2617410"/>
                  <a:gd name="connsiteY2" fmla="*/ 855677 h 939567"/>
                  <a:gd name="connsiteX3" fmla="*/ 2617410 w 2617410"/>
                  <a:gd name="connsiteY3" fmla="*/ 0 h 939567"/>
                  <a:gd name="connsiteX0" fmla="*/ 45 w 2617410"/>
                  <a:gd name="connsiteY0" fmla="*/ 939567 h 939567"/>
                  <a:gd name="connsiteX1" fmla="*/ 793294 w 2617410"/>
                  <a:gd name="connsiteY1" fmla="*/ 161558 h 939567"/>
                  <a:gd name="connsiteX2" fmla="*/ 1761733 w 2617410"/>
                  <a:gd name="connsiteY2" fmla="*/ 855677 h 939567"/>
                  <a:gd name="connsiteX3" fmla="*/ 2617410 w 2617410"/>
                  <a:gd name="connsiteY3" fmla="*/ 0 h 939567"/>
                  <a:gd name="connsiteX0" fmla="*/ 35 w 2617400"/>
                  <a:gd name="connsiteY0" fmla="*/ 939567 h 939567"/>
                  <a:gd name="connsiteX1" fmla="*/ 793284 w 2617400"/>
                  <a:gd name="connsiteY1" fmla="*/ 161558 h 939567"/>
                  <a:gd name="connsiteX2" fmla="*/ 1799823 w 2617400"/>
                  <a:gd name="connsiteY2" fmla="*/ 928067 h 939567"/>
                  <a:gd name="connsiteX3" fmla="*/ 2617400 w 2617400"/>
                  <a:gd name="connsiteY3" fmla="*/ 0 h 939567"/>
                  <a:gd name="connsiteX0" fmla="*/ 35 w 2617400"/>
                  <a:gd name="connsiteY0" fmla="*/ 939567 h 939567"/>
                  <a:gd name="connsiteX1" fmla="*/ 793284 w 2617400"/>
                  <a:gd name="connsiteY1" fmla="*/ 161558 h 939567"/>
                  <a:gd name="connsiteX2" fmla="*/ 1799823 w 2617400"/>
                  <a:gd name="connsiteY2" fmla="*/ 928067 h 939567"/>
                  <a:gd name="connsiteX3" fmla="*/ 2617400 w 2617400"/>
                  <a:gd name="connsiteY3" fmla="*/ 0 h 939567"/>
                  <a:gd name="connsiteX0" fmla="*/ 54 w 2617419"/>
                  <a:gd name="connsiteY0" fmla="*/ 939567 h 939567"/>
                  <a:gd name="connsiteX1" fmla="*/ 793303 w 2617419"/>
                  <a:gd name="connsiteY1" fmla="*/ 161558 h 939567"/>
                  <a:gd name="connsiteX2" fmla="*/ 1799842 w 2617419"/>
                  <a:gd name="connsiteY2" fmla="*/ 928067 h 939567"/>
                  <a:gd name="connsiteX3" fmla="*/ 2617419 w 2617419"/>
                  <a:gd name="connsiteY3" fmla="*/ 0 h 939567"/>
                  <a:gd name="connsiteX0" fmla="*/ 54 w 2602179"/>
                  <a:gd name="connsiteY0" fmla="*/ 778016 h 778016"/>
                  <a:gd name="connsiteX1" fmla="*/ 793303 w 2602179"/>
                  <a:gd name="connsiteY1" fmla="*/ 7 h 778016"/>
                  <a:gd name="connsiteX2" fmla="*/ 1799842 w 2602179"/>
                  <a:gd name="connsiteY2" fmla="*/ 766516 h 778016"/>
                  <a:gd name="connsiteX3" fmla="*/ 2602179 w 2602179"/>
                  <a:gd name="connsiteY3" fmla="*/ 28949 h 778016"/>
                  <a:gd name="connsiteX0" fmla="*/ 54 w 2438349"/>
                  <a:gd name="connsiteY0" fmla="*/ 778016 h 1419810"/>
                  <a:gd name="connsiteX1" fmla="*/ 793303 w 2438349"/>
                  <a:gd name="connsiteY1" fmla="*/ 7 h 1419810"/>
                  <a:gd name="connsiteX2" fmla="*/ 1799842 w 2438349"/>
                  <a:gd name="connsiteY2" fmla="*/ 766516 h 1419810"/>
                  <a:gd name="connsiteX3" fmla="*/ 2438349 w 2438349"/>
                  <a:gd name="connsiteY3" fmla="*/ 1309109 h 1419810"/>
                  <a:gd name="connsiteX0" fmla="*/ 54 w 2438349"/>
                  <a:gd name="connsiteY0" fmla="*/ 778016 h 1309109"/>
                  <a:gd name="connsiteX1" fmla="*/ 793303 w 2438349"/>
                  <a:gd name="connsiteY1" fmla="*/ 7 h 1309109"/>
                  <a:gd name="connsiteX2" fmla="*/ 1799842 w 2438349"/>
                  <a:gd name="connsiteY2" fmla="*/ 766516 h 1309109"/>
                  <a:gd name="connsiteX3" fmla="*/ 2438349 w 2438349"/>
                  <a:gd name="connsiteY3" fmla="*/ 1309109 h 1309109"/>
                  <a:gd name="connsiteX0" fmla="*/ 33 w 2438328"/>
                  <a:gd name="connsiteY0" fmla="*/ 778361 h 1309454"/>
                  <a:gd name="connsiteX1" fmla="*/ 793282 w 2438328"/>
                  <a:gd name="connsiteY1" fmla="*/ 352 h 1309454"/>
                  <a:gd name="connsiteX2" fmla="*/ 1628371 w 2438328"/>
                  <a:gd name="connsiteY2" fmla="*/ 686851 h 1309454"/>
                  <a:gd name="connsiteX3" fmla="*/ 2438328 w 2438328"/>
                  <a:gd name="connsiteY3" fmla="*/ 1309454 h 1309454"/>
                  <a:gd name="connsiteX0" fmla="*/ 33 w 2438328"/>
                  <a:gd name="connsiteY0" fmla="*/ 778494 h 1309587"/>
                  <a:gd name="connsiteX1" fmla="*/ 793282 w 2438328"/>
                  <a:gd name="connsiteY1" fmla="*/ 485 h 1309587"/>
                  <a:gd name="connsiteX2" fmla="*/ 1628371 w 2438328"/>
                  <a:gd name="connsiteY2" fmla="*/ 686984 h 1309587"/>
                  <a:gd name="connsiteX3" fmla="*/ 2438328 w 2438328"/>
                  <a:gd name="connsiteY3" fmla="*/ 1309587 h 1309587"/>
                  <a:gd name="connsiteX0" fmla="*/ 27 w 2556432"/>
                  <a:gd name="connsiteY0" fmla="*/ 671344 h 1309117"/>
                  <a:gd name="connsiteX1" fmla="*/ 911386 w 2556432"/>
                  <a:gd name="connsiteY1" fmla="*/ 15 h 1309117"/>
                  <a:gd name="connsiteX2" fmla="*/ 1746475 w 2556432"/>
                  <a:gd name="connsiteY2" fmla="*/ 686514 h 1309117"/>
                  <a:gd name="connsiteX3" fmla="*/ 2556432 w 2556432"/>
                  <a:gd name="connsiteY3" fmla="*/ 1309117 h 1309117"/>
                  <a:gd name="connsiteX0" fmla="*/ 0 w 2556405"/>
                  <a:gd name="connsiteY0" fmla="*/ 671347 h 1309120"/>
                  <a:gd name="connsiteX1" fmla="*/ 911359 w 2556405"/>
                  <a:gd name="connsiteY1" fmla="*/ 18 h 1309120"/>
                  <a:gd name="connsiteX2" fmla="*/ 1746448 w 2556405"/>
                  <a:gd name="connsiteY2" fmla="*/ 686517 h 1309120"/>
                  <a:gd name="connsiteX3" fmla="*/ 2556405 w 2556405"/>
                  <a:gd name="connsiteY3" fmla="*/ 1309120 h 1309120"/>
                  <a:gd name="connsiteX0" fmla="*/ 0 w 2556405"/>
                  <a:gd name="connsiteY0" fmla="*/ 672485 h 1310258"/>
                  <a:gd name="connsiteX1" fmla="*/ 911359 w 2556405"/>
                  <a:gd name="connsiteY1" fmla="*/ 1156 h 1310258"/>
                  <a:gd name="connsiteX2" fmla="*/ 1746448 w 2556405"/>
                  <a:gd name="connsiteY2" fmla="*/ 687655 h 1310258"/>
                  <a:gd name="connsiteX3" fmla="*/ 2556405 w 2556405"/>
                  <a:gd name="connsiteY3" fmla="*/ 1310258 h 1310258"/>
                  <a:gd name="connsiteX0" fmla="*/ 0 w 2556405"/>
                  <a:gd name="connsiteY0" fmla="*/ 672432 h 1310205"/>
                  <a:gd name="connsiteX1" fmla="*/ 911359 w 2556405"/>
                  <a:gd name="connsiteY1" fmla="*/ 1103 h 1310205"/>
                  <a:gd name="connsiteX2" fmla="*/ 1746448 w 2556405"/>
                  <a:gd name="connsiteY2" fmla="*/ 687602 h 1310205"/>
                  <a:gd name="connsiteX3" fmla="*/ 2556405 w 2556405"/>
                  <a:gd name="connsiteY3" fmla="*/ 1310205 h 1310205"/>
                  <a:gd name="connsiteX0" fmla="*/ 0 w 2556405"/>
                  <a:gd name="connsiteY0" fmla="*/ 672432 h 1310205"/>
                  <a:gd name="connsiteX1" fmla="*/ 778009 w 2556405"/>
                  <a:gd name="connsiteY1" fmla="*/ 1103 h 1310205"/>
                  <a:gd name="connsiteX2" fmla="*/ 1746448 w 2556405"/>
                  <a:gd name="connsiteY2" fmla="*/ 687602 h 1310205"/>
                  <a:gd name="connsiteX3" fmla="*/ 2556405 w 2556405"/>
                  <a:gd name="connsiteY3" fmla="*/ 1310205 h 1310205"/>
                  <a:gd name="connsiteX0" fmla="*/ 0 w 2556405"/>
                  <a:gd name="connsiteY0" fmla="*/ 672186 h 1309959"/>
                  <a:gd name="connsiteX1" fmla="*/ 778009 w 2556405"/>
                  <a:gd name="connsiteY1" fmla="*/ 857 h 1309959"/>
                  <a:gd name="connsiteX2" fmla="*/ 1746448 w 2556405"/>
                  <a:gd name="connsiteY2" fmla="*/ 687356 h 1309959"/>
                  <a:gd name="connsiteX3" fmla="*/ 2556405 w 2556405"/>
                  <a:gd name="connsiteY3" fmla="*/ 1309959 h 1309959"/>
                  <a:gd name="connsiteX0" fmla="*/ 0 w 2556405"/>
                  <a:gd name="connsiteY0" fmla="*/ 671347 h 1309120"/>
                  <a:gd name="connsiteX1" fmla="*/ 778009 w 2556405"/>
                  <a:gd name="connsiteY1" fmla="*/ 18 h 1309120"/>
                  <a:gd name="connsiteX2" fmla="*/ 1746448 w 2556405"/>
                  <a:gd name="connsiteY2" fmla="*/ 686517 h 1309120"/>
                  <a:gd name="connsiteX3" fmla="*/ 2556405 w 2556405"/>
                  <a:gd name="connsiteY3" fmla="*/ 1309120 h 1309120"/>
                  <a:gd name="connsiteX0" fmla="*/ 0 w 2556405"/>
                  <a:gd name="connsiteY0" fmla="*/ 671340 h 1309113"/>
                  <a:gd name="connsiteX1" fmla="*/ 778009 w 2556405"/>
                  <a:gd name="connsiteY1" fmla="*/ 11 h 1309113"/>
                  <a:gd name="connsiteX2" fmla="*/ 1746448 w 2556405"/>
                  <a:gd name="connsiteY2" fmla="*/ 686510 h 1309113"/>
                  <a:gd name="connsiteX3" fmla="*/ 2556405 w 2556405"/>
                  <a:gd name="connsiteY3" fmla="*/ 1309113 h 1309113"/>
                  <a:gd name="connsiteX0" fmla="*/ 0 w 2556405"/>
                  <a:gd name="connsiteY0" fmla="*/ 671340 h 1309113"/>
                  <a:gd name="connsiteX1" fmla="*/ 778009 w 2556405"/>
                  <a:gd name="connsiteY1" fmla="*/ 11 h 1309113"/>
                  <a:gd name="connsiteX2" fmla="*/ 1746448 w 2556405"/>
                  <a:gd name="connsiteY2" fmla="*/ 686510 h 1309113"/>
                  <a:gd name="connsiteX3" fmla="*/ 2556405 w 2556405"/>
                  <a:gd name="connsiteY3" fmla="*/ 1309113 h 1309113"/>
                  <a:gd name="connsiteX0" fmla="*/ 1 w 2593711"/>
                  <a:gd name="connsiteY0" fmla="*/ 644434 h 1309189"/>
                  <a:gd name="connsiteX1" fmla="*/ 815315 w 2593711"/>
                  <a:gd name="connsiteY1" fmla="*/ 87 h 1309189"/>
                  <a:gd name="connsiteX2" fmla="*/ 1783754 w 2593711"/>
                  <a:gd name="connsiteY2" fmla="*/ 686586 h 1309189"/>
                  <a:gd name="connsiteX3" fmla="*/ 2593711 w 2593711"/>
                  <a:gd name="connsiteY3" fmla="*/ 1309189 h 1309189"/>
                  <a:gd name="connsiteX0" fmla="*/ 1 w 2593711"/>
                  <a:gd name="connsiteY0" fmla="*/ 644481 h 1309236"/>
                  <a:gd name="connsiteX1" fmla="*/ 815315 w 2593711"/>
                  <a:gd name="connsiteY1" fmla="*/ 134 h 1309236"/>
                  <a:gd name="connsiteX2" fmla="*/ 1783754 w 2593711"/>
                  <a:gd name="connsiteY2" fmla="*/ 686633 h 1309236"/>
                  <a:gd name="connsiteX3" fmla="*/ 2593711 w 2593711"/>
                  <a:gd name="connsiteY3" fmla="*/ 1309236 h 1309236"/>
                  <a:gd name="connsiteX0" fmla="*/ 1 w 2638506"/>
                  <a:gd name="connsiteY0" fmla="*/ 648155 h 1309212"/>
                  <a:gd name="connsiteX1" fmla="*/ 860110 w 2638506"/>
                  <a:gd name="connsiteY1" fmla="*/ 110 h 1309212"/>
                  <a:gd name="connsiteX2" fmla="*/ 1828549 w 2638506"/>
                  <a:gd name="connsiteY2" fmla="*/ 686609 h 1309212"/>
                  <a:gd name="connsiteX3" fmla="*/ 2638506 w 2638506"/>
                  <a:gd name="connsiteY3" fmla="*/ 1309212 h 1309212"/>
                  <a:gd name="connsiteX0" fmla="*/ 1 w 2638506"/>
                  <a:gd name="connsiteY0" fmla="*/ 648197 h 1309254"/>
                  <a:gd name="connsiteX1" fmla="*/ 860110 w 2638506"/>
                  <a:gd name="connsiteY1" fmla="*/ 152 h 1309254"/>
                  <a:gd name="connsiteX2" fmla="*/ 1828549 w 2638506"/>
                  <a:gd name="connsiteY2" fmla="*/ 686651 h 1309254"/>
                  <a:gd name="connsiteX3" fmla="*/ 2638506 w 2638506"/>
                  <a:gd name="connsiteY3" fmla="*/ 1309254 h 1309254"/>
                  <a:gd name="connsiteX0" fmla="*/ 1 w 2638506"/>
                  <a:gd name="connsiteY0" fmla="*/ 649974 h 1311031"/>
                  <a:gd name="connsiteX1" fmla="*/ 860110 w 2638506"/>
                  <a:gd name="connsiteY1" fmla="*/ 1929 h 1311031"/>
                  <a:gd name="connsiteX2" fmla="*/ 1828549 w 2638506"/>
                  <a:gd name="connsiteY2" fmla="*/ 688428 h 1311031"/>
                  <a:gd name="connsiteX3" fmla="*/ 2638506 w 2638506"/>
                  <a:gd name="connsiteY3" fmla="*/ 1311031 h 1311031"/>
                  <a:gd name="connsiteX0" fmla="*/ 1 w 2638506"/>
                  <a:gd name="connsiteY0" fmla="*/ 649607 h 1310664"/>
                  <a:gd name="connsiteX1" fmla="*/ 860110 w 2638506"/>
                  <a:gd name="connsiteY1" fmla="*/ 1562 h 1310664"/>
                  <a:gd name="connsiteX2" fmla="*/ 1828549 w 2638506"/>
                  <a:gd name="connsiteY2" fmla="*/ 688061 h 1310664"/>
                  <a:gd name="connsiteX3" fmla="*/ 2638506 w 2638506"/>
                  <a:gd name="connsiteY3" fmla="*/ 1310664 h 1310664"/>
                  <a:gd name="connsiteX0" fmla="*/ 1 w 2638506"/>
                  <a:gd name="connsiteY0" fmla="*/ 649193 h 1310250"/>
                  <a:gd name="connsiteX1" fmla="*/ 860110 w 2638506"/>
                  <a:gd name="connsiteY1" fmla="*/ 1148 h 1310250"/>
                  <a:gd name="connsiteX2" fmla="*/ 1828549 w 2638506"/>
                  <a:gd name="connsiteY2" fmla="*/ 687647 h 1310250"/>
                  <a:gd name="connsiteX3" fmla="*/ 2638506 w 2638506"/>
                  <a:gd name="connsiteY3" fmla="*/ 1310250 h 1310250"/>
                  <a:gd name="connsiteX0" fmla="*/ 1 w 2638506"/>
                  <a:gd name="connsiteY0" fmla="*/ 650609 h 1311666"/>
                  <a:gd name="connsiteX1" fmla="*/ 860110 w 2638506"/>
                  <a:gd name="connsiteY1" fmla="*/ 2564 h 1311666"/>
                  <a:gd name="connsiteX2" fmla="*/ 1828549 w 2638506"/>
                  <a:gd name="connsiteY2" fmla="*/ 689063 h 1311666"/>
                  <a:gd name="connsiteX3" fmla="*/ 2638506 w 2638506"/>
                  <a:gd name="connsiteY3" fmla="*/ 1311666 h 1311666"/>
                  <a:gd name="connsiteX0" fmla="*/ 1 w 2638506"/>
                  <a:gd name="connsiteY0" fmla="*/ 649841 h 1310898"/>
                  <a:gd name="connsiteX1" fmla="*/ 860110 w 2638506"/>
                  <a:gd name="connsiteY1" fmla="*/ 1796 h 1310898"/>
                  <a:gd name="connsiteX2" fmla="*/ 1828549 w 2638506"/>
                  <a:gd name="connsiteY2" fmla="*/ 688295 h 1310898"/>
                  <a:gd name="connsiteX3" fmla="*/ 2638506 w 2638506"/>
                  <a:gd name="connsiteY3" fmla="*/ 1310898 h 1310898"/>
                  <a:gd name="connsiteX0" fmla="*/ 1 w 2638506"/>
                  <a:gd name="connsiteY0" fmla="*/ 649841 h 1310898"/>
                  <a:gd name="connsiteX1" fmla="*/ 860110 w 2638506"/>
                  <a:gd name="connsiteY1" fmla="*/ 1796 h 1310898"/>
                  <a:gd name="connsiteX2" fmla="*/ 1828549 w 2638506"/>
                  <a:gd name="connsiteY2" fmla="*/ 688295 h 1310898"/>
                  <a:gd name="connsiteX3" fmla="*/ 2638506 w 2638506"/>
                  <a:gd name="connsiteY3" fmla="*/ 1310898 h 1310898"/>
                  <a:gd name="connsiteX0" fmla="*/ 1 w 2664626"/>
                  <a:gd name="connsiteY0" fmla="*/ 635455 h 1309388"/>
                  <a:gd name="connsiteX1" fmla="*/ 886230 w 2664626"/>
                  <a:gd name="connsiteY1" fmla="*/ 286 h 1309388"/>
                  <a:gd name="connsiteX2" fmla="*/ 1854669 w 2664626"/>
                  <a:gd name="connsiteY2" fmla="*/ 686785 h 1309388"/>
                  <a:gd name="connsiteX3" fmla="*/ 2664626 w 2664626"/>
                  <a:gd name="connsiteY3" fmla="*/ 1309388 h 13093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664626" h="1309388">
                    <a:moveTo>
                      <a:pt x="1" y="635455"/>
                    </a:moveTo>
                    <a:cubicBezTo>
                      <a:pt x="160378" y="175322"/>
                      <a:pt x="577119" y="-8269"/>
                      <a:pt x="886230" y="286"/>
                    </a:cubicBezTo>
                    <a:cubicBezTo>
                      <a:pt x="1195341" y="8841"/>
                      <a:pt x="1553315" y="159574"/>
                      <a:pt x="1854669" y="686785"/>
                    </a:cubicBezTo>
                    <a:cubicBezTo>
                      <a:pt x="2156023" y="1213996"/>
                      <a:pt x="2452061" y="1284105"/>
                      <a:pt x="2664626" y="1309388"/>
                    </a:cubicBezTo>
                  </a:path>
                </a:pathLst>
              </a:custGeom>
              <a:grpFill/>
              <a:ln w="12700" cap="rnd">
                <a:solidFill>
                  <a:srgbClr val="7294A5"/>
                </a:solidFill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 rtlCol="0" anchor="ctr">
                <a:noAutofit/>
              </a:bodyPr>
              <a:lstStyle/>
              <a:p>
                <a:pPr marL="0" marR="0" lvl="0" indent="0" algn="ctr" defTabSz="45719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Imago"/>
                  <a:ea typeface="+mn-ea"/>
                  <a:cs typeface="+mn-cs"/>
                </a:endParaRPr>
              </a:p>
            </p:txBody>
          </p:sp>
          <p:sp>
            <p:nvSpPr>
              <p:cNvPr id="1041" name="Freeform: Shape 92">
                <a:extLst>
                  <a:ext uri="{FF2B5EF4-FFF2-40B4-BE49-F238E27FC236}">
                    <a16:creationId xmlns:a16="http://schemas.microsoft.com/office/drawing/2014/main" id="{65819BDF-391D-26DF-FDA9-14F0E5B97E8C}"/>
                  </a:ext>
                </a:extLst>
              </p:cNvPr>
              <p:cNvSpPr/>
              <p:nvPr/>
            </p:nvSpPr>
            <p:spPr>
              <a:xfrm rot="4837695" flipV="1">
                <a:off x="3555458" y="2895410"/>
                <a:ext cx="1016473" cy="499490"/>
              </a:xfrm>
              <a:custGeom>
                <a:avLst/>
                <a:gdLst>
                  <a:gd name="connsiteX0" fmla="*/ 0 w 2617365"/>
                  <a:gd name="connsiteY0" fmla="*/ 939567 h 939567"/>
                  <a:gd name="connsiteX1" fmla="*/ 922789 w 2617365"/>
                  <a:gd name="connsiteY1" fmla="*/ 16778 h 939567"/>
                  <a:gd name="connsiteX2" fmla="*/ 1761688 w 2617365"/>
                  <a:gd name="connsiteY2" fmla="*/ 855677 h 939567"/>
                  <a:gd name="connsiteX3" fmla="*/ 2617365 w 2617365"/>
                  <a:gd name="connsiteY3" fmla="*/ 0 h 939567"/>
                  <a:gd name="connsiteX0" fmla="*/ 27 w 2617392"/>
                  <a:gd name="connsiteY0" fmla="*/ 939567 h 939567"/>
                  <a:gd name="connsiteX1" fmla="*/ 922816 w 2617392"/>
                  <a:gd name="connsiteY1" fmla="*/ 16778 h 939567"/>
                  <a:gd name="connsiteX2" fmla="*/ 1761715 w 2617392"/>
                  <a:gd name="connsiteY2" fmla="*/ 855677 h 939567"/>
                  <a:gd name="connsiteX3" fmla="*/ 2617392 w 2617392"/>
                  <a:gd name="connsiteY3" fmla="*/ 0 h 939567"/>
                  <a:gd name="connsiteX0" fmla="*/ 27 w 2617392"/>
                  <a:gd name="connsiteY0" fmla="*/ 939567 h 939567"/>
                  <a:gd name="connsiteX1" fmla="*/ 922816 w 2617392"/>
                  <a:gd name="connsiteY1" fmla="*/ 16778 h 939567"/>
                  <a:gd name="connsiteX2" fmla="*/ 1761715 w 2617392"/>
                  <a:gd name="connsiteY2" fmla="*/ 855677 h 939567"/>
                  <a:gd name="connsiteX3" fmla="*/ 2617392 w 2617392"/>
                  <a:gd name="connsiteY3" fmla="*/ 0 h 939567"/>
                  <a:gd name="connsiteX0" fmla="*/ 33 w 2617398"/>
                  <a:gd name="connsiteY0" fmla="*/ 939567 h 939567"/>
                  <a:gd name="connsiteX1" fmla="*/ 922822 w 2617398"/>
                  <a:gd name="connsiteY1" fmla="*/ 16778 h 939567"/>
                  <a:gd name="connsiteX2" fmla="*/ 1761721 w 2617398"/>
                  <a:gd name="connsiteY2" fmla="*/ 855677 h 939567"/>
                  <a:gd name="connsiteX3" fmla="*/ 2617398 w 2617398"/>
                  <a:gd name="connsiteY3" fmla="*/ 0 h 939567"/>
                  <a:gd name="connsiteX0" fmla="*/ 33 w 2617398"/>
                  <a:gd name="connsiteY0" fmla="*/ 939567 h 939567"/>
                  <a:gd name="connsiteX1" fmla="*/ 922822 w 2617398"/>
                  <a:gd name="connsiteY1" fmla="*/ 16778 h 939567"/>
                  <a:gd name="connsiteX2" fmla="*/ 1761721 w 2617398"/>
                  <a:gd name="connsiteY2" fmla="*/ 855677 h 939567"/>
                  <a:gd name="connsiteX3" fmla="*/ 2617398 w 2617398"/>
                  <a:gd name="connsiteY3" fmla="*/ 0 h 939567"/>
                  <a:gd name="connsiteX0" fmla="*/ 45 w 2617410"/>
                  <a:gd name="connsiteY0" fmla="*/ 939567 h 939567"/>
                  <a:gd name="connsiteX1" fmla="*/ 793294 w 2617410"/>
                  <a:gd name="connsiteY1" fmla="*/ 161558 h 939567"/>
                  <a:gd name="connsiteX2" fmla="*/ 1761733 w 2617410"/>
                  <a:gd name="connsiteY2" fmla="*/ 855677 h 939567"/>
                  <a:gd name="connsiteX3" fmla="*/ 2617410 w 2617410"/>
                  <a:gd name="connsiteY3" fmla="*/ 0 h 939567"/>
                  <a:gd name="connsiteX0" fmla="*/ 45 w 2617410"/>
                  <a:gd name="connsiteY0" fmla="*/ 939567 h 939567"/>
                  <a:gd name="connsiteX1" fmla="*/ 793294 w 2617410"/>
                  <a:gd name="connsiteY1" fmla="*/ 161558 h 939567"/>
                  <a:gd name="connsiteX2" fmla="*/ 1761733 w 2617410"/>
                  <a:gd name="connsiteY2" fmla="*/ 855677 h 939567"/>
                  <a:gd name="connsiteX3" fmla="*/ 2617410 w 2617410"/>
                  <a:gd name="connsiteY3" fmla="*/ 0 h 939567"/>
                  <a:gd name="connsiteX0" fmla="*/ 35 w 2617400"/>
                  <a:gd name="connsiteY0" fmla="*/ 939567 h 939567"/>
                  <a:gd name="connsiteX1" fmla="*/ 793284 w 2617400"/>
                  <a:gd name="connsiteY1" fmla="*/ 161558 h 939567"/>
                  <a:gd name="connsiteX2" fmla="*/ 1799823 w 2617400"/>
                  <a:gd name="connsiteY2" fmla="*/ 928067 h 939567"/>
                  <a:gd name="connsiteX3" fmla="*/ 2617400 w 2617400"/>
                  <a:gd name="connsiteY3" fmla="*/ 0 h 939567"/>
                  <a:gd name="connsiteX0" fmla="*/ 35 w 2617400"/>
                  <a:gd name="connsiteY0" fmla="*/ 939567 h 939567"/>
                  <a:gd name="connsiteX1" fmla="*/ 793284 w 2617400"/>
                  <a:gd name="connsiteY1" fmla="*/ 161558 h 939567"/>
                  <a:gd name="connsiteX2" fmla="*/ 1799823 w 2617400"/>
                  <a:gd name="connsiteY2" fmla="*/ 928067 h 939567"/>
                  <a:gd name="connsiteX3" fmla="*/ 2617400 w 2617400"/>
                  <a:gd name="connsiteY3" fmla="*/ 0 h 939567"/>
                  <a:gd name="connsiteX0" fmla="*/ 54 w 2617419"/>
                  <a:gd name="connsiteY0" fmla="*/ 939567 h 939567"/>
                  <a:gd name="connsiteX1" fmla="*/ 793303 w 2617419"/>
                  <a:gd name="connsiteY1" fmla="*/ 161558 h 939567"/>
                  <a:gd name="connsiteX2" fmla="*/ 1799842 w 2617419"/>
                  <a:gd name="connsiteY2" fmla="*/ 928067 h 939567"/>
                  <a:gd name="connsiteX3" fmla="*/ 2617419 w 2617419"/>
                  <a:gd name="connsiteY3" fmla="*/ 0 h 939567"/>
                  <a:gd name="connsiteX0" fmla="*/ 54 w 2602179"/>
                  <a:gd name="connsiteY0" fmla="*/ 778016 h 778016"/>
                  <a:gd name="connsiteX1" fmla="*/ 793303 w 2602179"/>
                  <a:gd name="connsiteY1" fmla="*/ 7 h 778016"/>
                  <a:gd name="connsiteX2" fmla="*/ 1799842 w 2602179"/>
                  <a:gd name="connsiteY2" fmla="*/ 766516 h 778016"/>
                  <a:gd name="connsiteX3" fmla="*/ 2602179 w 2602179"/>
                  <a:gd name="connsiteY3" fmla="*/ 28949 h 778016"/>
                  <a:gd name="connsiteX0" fmla="*/ 54 w 2438349"/>
                  <a:gd name="connsiteY0" fmla="*/ 778016 h 1419810"/>
                  <a:gd name="connsiteX1" fmla="*/ 793303 w 2438349"/>
                  <a:gd name="connsiteY1" fmla="*/ 7 h 1419810"/>
                  <a:gd name="connsiteX2" fmla="*/ 1799842 w 2438349"/>
                  <a:gd name="connsiteY2" fmla="*/ 766516 h 1419810"/>
                  <a:gd name="connsiteX3" fmla="*/ 2438349 w 2438349"/>
                  <a:gd name="connsiteY3" fmla="*/ 1309109 h 1419810"/>
                  <a:gd name="connsiteX0" fmla="*/ 54 w 2438349"/>
                  <a:gd name="connsiteY0" fmla="*/ 778016 h 1309109"/>
                  <a:gd name="connsiteX1" fmla="*/ 793303 w 2438349"/>
                  <a:gd name="connsiteY1" fmla="*/ 7 h 1309109"/>
                  <a:gd name="connsiteX2" fmla="*/ 1799842 w 2438349"/>
                  <a:gd name="connsiteY2" fmla="*/ 766516 h 1309109"/>
                  <a:gd name="connsiteX3" fmla="*/ 2438349 w 2438349"/>
                  <a:gd name="connsiteY3" fmla="*/ 1309109 h 1309109"/>
                  <a:gd name="connsiteX0" fmla="*/ 33 w 2438328"/>
                  <a:gd name="connsiteY0" fmla="*/ 778361 h 1309454"/>
                  <a:gd name="connsiteX1" fmla="*/ 793282 w 2438328"/>
                  <a:gd name="connsiteY1" fmla="*/ 352 h 1309454"/>
                  <a:gd name="connsiteX2" fmla="*/ 1628371 w 2438328"/>
                  <a:gd name="connsiteY2" fmla="*/ 686851 h 1309454"/>
                  <a:gd name="connsiteX3" fmla="*/ 2438328 w 2438328"/>
                  <a:gd name="connsiteY3" fmla="*/ 1309454 h 1309454"/>
                  <a:gd name="connsiteX0" fmla="*/ 33 w 2438328"/>
                  <a:gd name="connsiteY0" fmla="*/ 778494 h 1309587"/>
                  <a:gd name="connsiteX1" fmla="*/ 793282 w 2438328"/>
                  <a:gd name="connsiteY1" fmla="*/ 485 h 1309587"/>
                  <a:gd name="connsiteX2" fmla="*/ 1628371 w 2438328"/>
                  <a:gd name="connsiteY2" fmla="*/ 686984 h 1309587"/>
                  <a:gd name="connsiteX3" fmla="*/ 2438328 w 2438328"/>
                  <a:gd name="connsiteY3" fmla="*/ 1309587 h 1309587"/>
                  <a:gd name="connsiteX0" fmla="*/ 27 w 2556432"/>
                  <a:gd name="connsiteY0" fmla="*/ 671344 h 1309117"/>
                  <a:gd name="connsiteX1" fmla="*/ 911386 w 2556432"/>
                  <a:gd name="connsiteY1" fmla="*/ 15 h 1309117"/>
                  <a:gd name="connsiteX2" fmla="*/ 1746475 w 2556432"/>
                  <a:gd name="connsiteY2" fmla="*/ 686514 h 1309117"/>
                  <a:gd name="connsiteX3" fmla="*/ 2556432 w 2556432"/>
                  <a:gd name="connsiteY3" fmla="*/ 1309117 h 1309117"/>
                  <a:gd name="connsiteX0" fmla="*/ 0 w 2556405"/>
                  <a:gd name="connsiteY0" fmla="*/ 671347 h 1309120"/>
                  <a:gd name="connsiteX1" fmla="*/ 911359 w 2556405"/>
                  <a:gd name="connsiteY1" fmla="*/ 18 h 1309120"/>
                  <a:gd name="connsiteX2" fmla="*/ 1746448 w 2556405"/>
                  <a:gd name="connsiteY2" fmla="*/ 686517 h 1309120"/>
                  <a:gd name="connsiteX3" fmla="*/ 2556405 w 2556405"/>
                  <a:gd name="connsiteY3" fmla="*/ 1309120 h 1309120"/>
                  <a:gd name="connsiteX0" fmla="*/ 0 w 2556405"/>
                  <a:gd name="connsiteY0" fmla="*/ 672485 h 1310258"/>
                  <a:gd name="connsiteX1" fmla="*/ 911359 w 2556405"/>
                  <a:gd name="connsiteY1" fmla="*/ 1156 h 1310258"/>
                  <a:gd name="connsiteX2" fmla="*/ 1746448 w 2556405"/>
                  <a:gd name="connsiteY2" fmla="*/ 687655 h 1310258"/>
                  <a:gd name="connsiteX3" fmla="*/ 2556405 w 2556405"/>
                  <a:gd name="connsiteY3" fmla="*/ 1310258 h 1310258"/>
                  <a:gd name="connsiteX0" fmla="*/ 0 w 2556405"/>
                  <a:gd name="connsiteY0" fmla="*/ 672432 h 1310205"/>
                  <a:gd name="connsiteX1" fmla="*/ 911359 w 2556405"/>
                  <a:gd name="connsiteY1" fmla="*/ 1103 h 1310205"/>
                  <a:gd name="connsiteX2" fmla="*/ 1746448 w 2556405"/>
                  <a:gd name="connsiteY2" fmla="*/ 687602 h 1310205"/>
                  <a:gd name="connsiteX3" fmla="*/ 2556405 w 2556405"/>
                  <a:gd name="connsiteY3" fmla="*/ 1310205 h 1310205"/>
                  <a:gd name="connsiteX0" fmla="*/ 0 w 2556405"/>
                  <a:gd name="connsiteY0" fmla="*/ 672432 h 1310205"/>
                  <a:gd name="connsiteX1" fmla="*/ 778009 w 2556405"/>
                  <a:gd name="connsiteY1" fmla="*/ 1103 h 1310205"/>
                  <a:gd name="connsiteX2" fmla="*/ 1746448 w 2556405"/>
                  <a:gd name="connsiteY2" fmla="*/ 687602 h 1310205"/>
                  <a:gd name="connsiteX3" fmla="*/ 2556405 w 2556405"/>
                  <a:gd name="connsiteY3" fmla="*/ 1310205 h 1310205"/>
                  <a:gd name="connsiteX0" fmla="*/ 0 w 2556405"/>
                  <a:gd name="connsiteY0" fmla="*/ 672186 h 1309959"/>
                  <a:gd name="connsiteX1" fmla="*/ 778009 w 2556405"/>
                  <a:gd name="connsiteY1" fmla="*/ 857 h 1309959"/>
                  <a:gd name="connsiteX2" fmla="*/ 1746448 w 2556405"/>
                  <a:gd name="connsiteY2" fmla="*/ 687356 h 1309959"/>
                  <a:gd name="connsiteX3" fmla="*/ 2556405 w 2556405"/>
                  <a:gd name="connsiteY3" fmla="*/ 1309959 h 1309959"/>
                  <a:gd name="connsiteX0" fmla="*/ 0 w 2556405"/>
                  <a:gd name="connsiteY0" fmla="*/ 671347 h 1309120"/>
                  <a:gd name="connsiteX1" fmla="*/ 778009 w 2556405"/>
                  <a:gd name="connsiteY1" fmla="*/ 18 h 1309120"/>
                  <a:gd name="connsiteX2" fmla="*/ 1746448 w 2556405"/>
                  <a:gd name="connsiteY2" fmla="*/ 686517 h 1309120"/>
                  <a:gd name="connsiteX3" fmla="*/ 2556405 w 2556405"/>
                  <a:gd name="connsiteY3" fmla="*/ 1309120 h 1309120"/>
                  <a:gd name="connsiteX0" fmla="*/ 0 w 2556405"/>
                  <a:gd name="connsiteY0" fmla="*/ 671340 h 1309113"/>
                  <a:gd name="connsiteX1" fmla="*/ 778009 w 2556405"/>
                  <a:gd name="connsiteY1" fmla="*/ 11 h 1309113"/>
                  <a:gd name="connsiteX2" fmla="*/ 1746448 w 2556405"/>
                  <a:gd name="connsiteY2" fmla="*/ 686510 h 1309113"/>
                  <a:gd name="connsiteX3" fmla="*/ 2556405 w 2556405"/>
                  <a:gd name="connsiteY3" fmla="*/ 1309113 h 1309113"/>
                  <a:gd name="connsiteX0" fmla="*/ 0 w 2556405"/>
                  <a:gd name="connsiteY0" fmla="*/ 671340 h 1309113"/>
                  <a:gd name="connsiteX1" fmla="*/ 778009 w 2556405"/>
                  <a:gd name="connsiteY1" fmla="*/ 11 h 1309113"/>
                  <a:gd name="connsiteX2" fmla="*/ 1746448 w 2556405"/>
                  <a:gd name="connsiteY2" fmla="*/ 686510 h 1309113"/>
                  <a:gd name="connsiteX3" fmla="*/ 2556405 w 2556405"/>
                  <a:gd name="connsiteY3" fmla="*/ 1309113 h 1309113"/>
                  <a:gd name="connsiteX0" fmla="*/ 1 w 2593711"/>
                  <a:gd name="connsiteY0" fmla="*/ 644434 h 1309189"/>
                  <a:gd name="connsiteX1" fmla="*/ 815315 w 2593711"/>
                  <a:gd name="connsiteY1" fmla="*/ 87 h 1309189"/>
                  <a:gd name="connsiteX2" fmla="*/ 1783754 w 2593711"/>
                  <a:gd name="connsiteY2" fmla="*/ 686586 h 1309189"/>
                  <a:gd name="connsiteX3" fmla="*/ 2593711 w 2593711"/>
                  <a:gd name="connsiteY3" fmla="*/ 1309189 h 1309189"/>
                  <a:gd name="connsiteX0" fmla="*/ 1 w 2593711"/>
                  <a:gd name="connsiteY0" fmla="*/ 644481 h 1309236"/>
                  <a:gd name="connsiteX1" fmla="*/ 815315 w 2593711"/>
                  <a:gd name="connsiteY1" fmla="*/ 134 h 1309236"/>
                  <a:gd name="connsiteX2" fmla="*/ 1783754 w 2593711"/>
                  <a:gd name="connsiteY2" fmla="*/ 686633 h 1309236"/>
                  <a:gd name="connsiteX3" fmla="*/ 2593711 w 2593711"/>
                  <a:gd name="connsiteY3" fmla="*/ 1309236 h 1309236"/>
                  <a:gd name="connsiteX0" fmla="*/ 1 w 2638506"/>
                  <a:gd name="connsiteY0" fmla="*/ 648155 h 1309212"/>
                  <a:gd name="connsiteX1" fmla="*/ 860110 w 2638506"/>
                  <a:gd name="connsiteY1" fmla="*/ 110 h 1309212"/>
                  <a:gd name="connsiteX2" fmla="*/ 1828549 w 2638506"/>
                  <a:gd name="connsiteY2" fmla="*/ 686609 h 1309212"/>
                  <a:gd name="connsiteX3" fmla="*/ 2638506 w 2638506"/>
                  <a:gd name="connsiteY3" fmla="*/ 1309212 h 1309212"/>
                  <a:gd name="connsiteX0" fmla="*/ 1 w 2638506"/>
                  <a:gd name="connsiteY0" fmla="*/ 648197 h 1309254"/>
                  <a:gd name="connsiteX1" fmla="*/ 860110 w 2638506"/>
                  <a:gd name="connsiteY1" fmla="*/ 152 h 1309254"/>
                  <a:gd name="connsiteX2" fmla="*/ 1828549 w 2638506"/>
                  <a:gd name="connsiteY2" fmla="*/ 686651 h 1309254"/>
                  <a:gd name="connsiteX3" fmla="*/ 2638506 w 2638506"/>
                  <a:gd name="connsiteY3" fmla="*/ 1309254 h 1309254"/>
                  <a:gd name="connsiteX0" fmla="*/ 1 w 2638506"/>
                  <a:gd name="connsiteY0" fmla="*/ 649974 h 1311031"/>
                  <a:gd name="connsiteX1" fmla="*/ 860110 w 2638506"/>
                  <a:gd name="connsiteY1" fmla="*/ 1929 h 1311031"/>
                  <a:gd name="connsiteX2" fmla="*/ 1828549 w 2638506"/>
                  <a:gd name="connsiteY2" fmla="*/ 688428 h 1311031"/>
                  <a:gd name="connsiteX3" fmla="*/ 2638506 w 2638506"/>
                  <a:gd name="connsiteY3" fmla="*/ 1311031 h 1311031"/>
                  <a:gd name="connsiteX0" fmla="*/ 1 w 2638506"/>
                  <a:gd name="connsiteY0" fmla="*/ 649607 h 1310664"/>
                  <a:gd name="connsiteX1" fmla="*/ 860110 w 2638506"/>
                  <a:gd name="connsiteY1" fmla="*/ 1562 h 1310664"/>
                  <a:gd name="connsiteX2" fmla="*/ 1828549 w 2638506"/>
                  <a:gd name="connsiteY2" fmla="*/ 688061 h 1310664"/>
                  <a:gd name="connsiteX3" fmla="*/ 2638506 w 2638506"/>
                  <a:gd name="connsiteY3" fmla="*/ 1310664 h 1310664"/>
                  <a:gd name="connsiteX0" fmla="*/ 1 w 2638506"/>
                  <a:gd name="connsiteY0" fmla="*/ 649193 h 1310250"/>
                  <a:gd name="connsiteX1" fmla="*/ 860110 w 2638506"/>
                  <a:gd name="connsiteY1" fmla="*/ 1148 h 1310250"/>
                  <a:gd name="connsiteX2" fmla="*/ 1828549 w 2638506"/>
                  <a:gd name="connsiteY2" fmla="*/ 687647 h 1310250"/>
                  <a:gd name="connsiteX3" fmla="*/ 2638506 w 2638506"/>
                  <a:gd name="connsiteY3" fmla="*/ 1310250 h 1310250"/>
                  <a:gd name="connsiteX0" fmla="*/ 1 w 2638506"/>
                  <a:gd name="connsiteY0" fmla="*/ 650609 h 1311666"/>
                  <a:gd name="connsiteX1" fmla="*/ 860110 w 2638506"/>
                  <a:gd name="connsiteY1" fmla="*/ 2564 h 1311666"/>
                  <a:gd name="connsiteX2" fmla="*/ 1828549 w 2638506"/>
                  <a:gd name="connsiteY2" fmla="*/ 689063 h 1311666"/>
                  <a:gd name="connsiteX3" fmla="*/ 2638506 w 2638506"/>
                  <a:gd name="connsiteY3" fmla="*/ 1311666 h 1311666"/>
                  <a:gd name="connsiteX0" fmla="*/ 1 w 2638506"/>
                  <a:gd name="connsiteY0" fmla="*/ 649841 h 1310898"/>
                  <a:gd name="connsiteX1" fmla="*/ 860110 w 2638506"/>
                  <a:gd name="connsiteY1" fmla="*/ 1796 h 1310898"/>
                  <a:gd name="connsiteX2" fmla="*/ 1828549 w 2638506"/>
                  <a:gd name="connsiteY2" fmla="*/ 688295 h 1310898"/>
                  <a:gd name="connsiteX3" fmla="*/ 2638506 w 2638506"/>
                  <a:gd name="connsiteY3" fmla="*/ 1310898 h 1310898"/>
                  <a:gd name="connsiteX0" fmla="*/ 1 w 2638506"/>
                  <a:gd name="connsiteY0" fmla="*/ 649841 h 1310898"/>
                  <a:gd name="connsiteX1" fmla="*/ 860110 w 2638506"/>
                  <a:gd name="connsiteY1" fmla="*/ 1796 h 1310898"/>
                  <a:gd name="connsiteX2" fmla="*/ 1828549 w 2638506"/>
                  <a:gd name="connsiteY2" fmla="*/ 688295 h 1310898"/>
                  <a:gd name="connsiteX3" fmla="*/ 2638506 w 2638506"/>
                  <a:gd name="connsiteY3" fmla="*/ 1310898 h 1310898"/>
                  <a:gd name="connsiteX0" fmla="*/ 1 w 2664626"/>
                  <a:gd name="connsiteY0" fmla="*/ 635455 h 1309388"/>
                  <a:gd name="connsiteX1" fmla="*/ 886230 w 2664626"/>
                  <a:gd name="connsiteY1" fmla="*/ 286 h 1309388"/>
                  <a:gd name="connsiteX2" fmla="*/ 1854669 w 2664626"/>
                  <a:gd name="connsiteY2" fmla="*/ 686785 h 1309388"/>
                  <a:gd name="connsiteX3" fmla="*/ 2664626 w 2664626"/>
                  <a:gd name="connsiteY3" fmla="*/ 1309388 h 13093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664626" h="1309388">
                    <a:moveTo>
                      <a:pt x="1" y="635455"/>
                    </a:moveTo>
                    <a:cubicBezTo>
                      <a:pt x="160378" y="175322"/>
                      <a:pt x="577119" y="-8269"/>
                      <a:pt x="886230" y="286"/>
                    </a:cubicBezTo>
                    <a:cubicBezTo>
                      <a:pt x="1195341" y="8841"/>
                      <a:pt x="1553315" y="159574"/>
                      <a:pt x="1854669" y="686785"/>
                    </a:cubicBezTo>
                    <a:cubicBezTo>
                      <a:pt x="2156023" y="1213996"/>
                      <a:pt x="2452061" y="1284105"/>
                      <a:pt x="2664626" y="1309388"/>
                    </a:cubicBezTo>
                  </a:path>
                </a:pathLst>
              </a:custGeom>
              <a:grpFill/>
              <a:ln w="12700" cap="rnd">
                <a:solidFill>
                  <a:srgbClr val="7294A5"/>
                </a:solidFill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 rtlCol="0" anchor="ctr">
                <a:noAutofit/>
              </a:bodyPr>
              <a:lstStyle/>
              <a:p>
                <a:pPr marL="0" marR="0" lvl="0" indent="0" algn="ctr" defTabSz="45719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Imago"/>
                  <a:ea typeface="+mn-ea"/>
                  <a:cs typeface="+mn-cs"/>
                </a:endParaRPr>
              </a:p>
            </p:txBody>
          </p:sp>
          <p:sp>
            <p:nvSpPr>
              <p:cNvPr id="1042" name="Freeform: Shape 93">
                <a:extLst>
                  <a:ext uri="{FF2B5EF4-FFF2-40B4-BE49-F238E27FC236}">
                    <a16:creationId xmlns:a16="http://schemas.microsoft.com/office/drawing/2014/main" id="{96703F90-A0C1-2EC4-2F96-2F6C1ADD5023}"/>
                  </a:ext>
                </a:extLst>
              </p:cNvPr>
              <p:cNvSpPr/>
              <p:nvPr/>
            </p:nvSpPr>
            <p:spPr>
              <a:xfrm rot="4837695" flipH="1">
                <a:off x="4082897" y="2290767"/>
                <a:ext cx="255606" cy="283890"/>
              </a:xfrm>
              <a:custGeom>
                <a:avLst/>
                <a:gdLst>
                  <a:gd name="connsiteX0" fmla="*/ 0 w 2617365"/>
                  <a:gd name="connsiteY0" fmla="*/ 939567 h 939567"/>
                  <a:gd name="connsiteX1" fmla="*/ 922789 w 2617365"/>
                  <a:gd name="connsiteY1" fmla="*/ 16778 h 939567"/>
                  <a:gd name="connsiteX2" fmla="*/ 1761688 w 2617365"/>
                  <a:gd name="connsiteY2" fmla="*/ 855677 h 939567"/>
                  <a:gd name="connsiteX3" fmla="*/ 2617365 w 2617365"/>
                  <a:gd name="connsiteY3" fmla="*/ 0 h 939567"/>
                  <a:gd name="connsiteX0" fmla="*/ 27 w 2617392"/>
                  <a:gd name="connsiteY0" fmla="*/ 939567 h 939567"/>
                  <a:gd name="connsiteX1" fmla="*/ 922816 w 2617392"/>
                  <a:gd name="connsiteY1" fmla="*/ 16778 h 939567"/>
                  <a:gd name="connsiteX2" fmla="*/ 1761715 w 2617392"/>
                  <a:gd name="connsiteY2" fmla="*/ 855677 h 939567"/>
                  <a:gd name="connsiteX3" fmla="*/ 2617392 w 2617392"/>
                  <a:gd name="connsiteY3" fmla="*/ 0 h 939567"/>
                  <a:gd name="connsiteX0" fmla="*/ 27 w 2617392"/>
                  <a:gd name="connsiteY0" fmla="*/ 939567 h 939567"/>
                  <a:gd name="connsiteX1" fmla="*/ 922816 w 2617392"/>
                  <a:gd name="connsiteY1" fmla="*/ 16778 h 939567"/>
                  <a:gd name="connsiteX2" fmla="*/ 1761715 w 2617392"/>
                  <a:gd name="connsiteY2" fmla="*/ 855677 h 939567"/>
                  <a:gd name="connsiteX3" fmla="*/ 2617392 w 2617392"/>
                  <a:gd name="connsiteY3" fmla="*/ 0 h 939567"/>
                  <a:gd name="connsiteX0" fmla="*/ 33 w 2617398"/>
                  <a:gd name="connsiteY0" fmla="*/ 939567 h 939567"/>
                  <a:gd name="connsiteX1" fmla="*/ 922822 w 2617398"/>
                  <a:gd name="connsiteY1" fmla="*/ 16778 h 939567"/>
                  <a:gd name="connsiteX2" fmla="*/ 1761721 w 2617398"/>
                  <a:gd name="connsiteY2" fmla="*/ 855677 h 939567"/>
                  <a:gd name="connsiteX3" fmla="*/ 2617398 w 2617398"/>
                  <a:gd name="connsiteY3" fmla="*/ 0 h 939567"/>
                  <a:gd name="connsiteX0" fmla="*/ 33 w 2617398"/>
                  <a:gd name="connsiteY0" fmla="*/ 939567 h 939567"/>
                  <a:gd name="connsiteX1" fmla="*/ 922822 w 2617398"/>
                  <a:gd name="connsiteY1" fmla="*/ 16778 h 939567"/>
                  <a:gd name="connsiteX2" fmla="*/ 1761721 w 2617398"/>
                  <a:gd name="connsiteY2" fmla="*/ 855677 h 939567"/>
                  <a:gd name="connsiteX3" fmla="*/ 2617398 w 2617398"/>
                  <a:gd name="connsiteY3" fmla="*/ 0 h 939567"/>
                  <a:gd name="connsiteX0" fmla="*/ 45 w 2617410"/>
                  <a:gd name="connsiteY0" fmla="*/ 939567 h 939567"/>
                  <a:gd name="connsiteX1" fmla="*/ 793294 w 2617410"/>
                  <a:gd name="connsiteY1" fmla="*/ 161558 h 939567"/>
                  <a:gd name="connsiteX2" fmla="*/ 1761733 w 2617410"/>
                  <a:gd name="connsiteY2" fmla="*/ 855677 h 939567"/>
                  <a:gd name="connsiteX3" fmla="*/ 2617410 w 2617410"/>
                  <a:gd name="connsiteY3" fmla="*/ 0 h 939567"/>
                  <a:gd name="connsiteX0" fmla="*/ 45 w 2617410"/>
                  <a:gd name="connsiteY0" fmla="*/ 939567 h 939567"/>
                  <a:gd name="connsiteX1" fmla="*/ 793294 w 2617410"/>
                  <a:gd name="connsiteY1" fmla="*/ 161558 h 939567"/>
                  <a:gd name="connsiteX2" fmla="*/ 1761733 w 2617410"/>
                  <a:gd name="connsiteY2" fmla="*/ 855677 h 939567"/>
                  <a:gd name="connsiteX3" fmla="*/ 2617410 w 2617410"/>
                  <a:gd name="connsiteY3" fmla="*/ 0 h 939567"/>
                  <a:gd name="connsiteX0" fmla="*/ 35 w 2617400"/>
                  <a:gd name="connsiteY0" fmla="*/ 939567 h 939567"/>
                  <a:gd name="connsiteX1" fmla="*/ 793284 w 2617400"/>
                  <a:gd name="connsiteY1" fmla="*/ 161558 h 939567"/>
                  <a:gd name="connsiteX2" fmla="*/ 1799823 w 2617400"/>
                  <a:gd name="connsiteY2" fmla="*/ 928067 h 939567"/>
                  <a:gd name="connsiteX3" fmla="*/ 2617400 w 2617400"/>
                  <a:gd name="connsiteY3" fmla="*/ 0 h 939567"/>
                  <a:gd name="connsiteX0" fmla="*/ 35 w 2617400"/>
                  <a:gd name="connsiteY0" fmla="*/ 939567 h 939567"/>
                  <a:gd name="connsiteX1" fmla="*/ 793284 w 2617400"/>
                  <a:gd name="connsiteY1" fmla="*/ 161558 h 939567"/>
                  <a:gd name="connsiteX2" fmla="*/ 1799823 w 2617400"/>
                  <a:gd name="connsiteY2" fmla="*/ 928067 h 939567"/>
                  <a:gd name="connsiteX3" fmla="*/ 2617400 w 2617400"/>
                  <a:gd name="connsiteY3" fmla="*/ 0 h 939567"/>
                  <a:gd name="connsiteX0" fmla="*/ 54 w 2617419"/>
                  <a:gd name="connsiteY0" fmla="*/ 939567 h 939567"/>
                  <a:gd name="connsiteX1" fmla="*/ 793303 w 2617419"/>
                  <a:gd name="connsiteY1" fmla="*/ 161558 h 939567"/>
                  <a:gd name="connsiteX2" fmla="*/ 1799842 w 2617419"/>
                  <a:gd name="connsiteY2" fmla="*/ 928067 h 939567"/>
                  <a:gd name="connsiteX3" fmla="*/ 2617419 w 2617419"/>
                  <a:gd name="connsiteY3" fmla="*/ 0 h 939567"/>
                  <a:gd name="connsiteX0" fmla="*/ 54 w 2602179"/>
                  <a:gd name="connsiteY0" fmla="*/ 778016 h 778016"/>
                  <a:gd name="connsiteX1" fmla="*/ 793303 w 2602179"/>
                  <a:gd name="connsiteY1" fmla="*/ 7 h 778016"/>
                  <a:gd name="connsiteX2" fmla="*/ 1799842 w 2602179"/>
                  <a:gd name="connsiteY2" fmla="*/ 766516 h 778016"/>
                  <a:gd name="connsiteX3" fmla="*/ 2602179 w 2602179"/>
                  <a:gd name="connsiteY3" fmla="*/ 28949 h 778016"/>
                  <a:gd name="connsiteX0" fmla="*/ 54 w 2438349"/>
                  <a:gd name="connsiteY0" fmla="*/ 778016 h 1419810"/>
                  <a:gd name="connsiteX1" fmla="*/ 793303 w 2438349"/>
                  <a:gd name="connsiteY1" fmla="*/ 7 h 1419810"/>
                  <a:gd name="connsiteX2" fmla="*/ 1799842 w 2438349"/>
                  <a:gd name="connsiteY2" fmla="*/ 766516 h 1419810"/>
                  <a:gd name="connsiteX3" fmla="*/ 2438349 w 2438349"/>
                  <a:gd name="connsiteY3" fmla="*/ 1309109 h 1419810"/>
                  <a:gd name="connsiteX0" fmla="*/ 54 w 2438349"/>
                  <a:gd name="connsiteY0" fmla="*/ 778016 h 1309109"/>
                  <a:gd name="connsiteX1" fmla="*/ 793303 w 2438349"/>
                  <a:gd name="connsiteY1" fmla="*/ 7 h 1309109"/>
                  <a:gd name="connsiteX2" fmla="*/ 1799842 w 2438349"/>
                  <a:gd name="connsiteY2" fmla="*/ 766516 h 1309109"/>
                  <a:gd name="connsiteX3" fmla="*/ 2438349 w 2438349"/>
                  <a:gd name="connsiteY3" fmla="*/ 1309109 h 1309109"/>
                  <a:gd name="connsiteX0" fmla="*/ 33 w 2438328"/>
                  <a:gd name="connsiteY0" fmla="*/ 778361 h 1309454"/>
                  <a:gd name="connsiteX1" fmla="*/ 793282 w 2438328"/>
                  <a:gd name="connsiteY1" fmla="*/ 352 h 1309454"/>
                  <a:gd name="connsiteX2" fmla="*/ 1628371 w 2438328"/>
                  <a:gd name="connsiteY2" fmla="*/ 686851 h 1309454"/>
                  <a:gd name="connsiteX3" fmla="*/ 2438328 w 2438328"/>
                  <a:gd name="connsiteY3" fmla="*/ 1309454 h 1309454"/>
                  <a:gd name="connsiteX0" fmla="*/ 33 w 2438328"/>
                  <a:gd name="connsiteY0" fmla="*/ 778494 h 1309587"/>
                  <a:gd name="connsiteX1" fmla="*/ 793282 w 2438328"/>
                  <a:gd name="connsiteY1" fmla="*/ 485 h 1309587"/>
                  <a:gd name="connsiteX2" fmla="*/ 1628371 w 2438328"/>
                  <a:gd name="connsiteY2" fmla="*/ 686984 h 1309587"/>
                  <a:gd name="connsiteX3" fmla="*/ 2438328 w 2438328"/>
                  <a:gd name="connsiteY3" fmla="*/ 1309587 h 1309587"/>
                  <a:gd name="connsiteX0" fmla="*/ 27 w 2556432"/>
                  <a:gd name="connsiteY0" fmla="*/ 671344 h 1309117"/>
                  <a:gd name="connsiteX1" fmla="*/ 911386 w 2556432"/>
                  <a:gd name="connsiteY1" fmla="*/ 15 h 1309117"/>
                  <a:gd name="connsiteX2" fmla="*/ 1746475 w 2556432"/>
                  <a:gd name="connsiteY2" fmla="*/ 686514 h 1309117"/>
                  <a:gd name="connsiteX3" fmla="*/ 2556432 w 2556432"/>
                  <a:gd name="connsiteY3" fmla="*/ 1309117 h 1309117"/>
                  <a:gd name="connsiteX0" fmla="*/ 0 w 2556405"/>
                  <a:gd name="connsiteY0" fmla="*/ 671347 h 1309120"/>
                  <a:gd name="connsiteX1" fmla="*/ 911359 w 2556405"/>
                  <a:gd name="connsiteY1" fmla="*/ 18 h 1309120"/>
                  <a:gd name="connsiteX2" fmla="*/ 1746448 w 2556405"/>
                  <a:gd name="connsiteY2" fmla="*/ 686517 h 1309120"/>
                  <a:gd name="connsiteX3" fmla="*/ 2556405 w 2556405"/>
                  <a:gd name="connsiteY3" fmla="*/ 1309120 h 1309120"/>
                  <a:gd name="connsiteX0" fmla="*/ 0 w 2556405"/>
                  <a:gd name="connsiteY0" fmla="*/ 672485 h 1310258"/>
                  <a:gd name="connsiteX1" fmla="*/ 911359 w 2556405"/>
                  <a:gd name="connsiteY1" fmla="*/ 1156 h 1310258"/>
                  <a:gd name="connsiteX2" fmla="*/ 1746448 w 2556405"/>
                  <a:gd name="connsiteY2" fmla="*/ 687655 h 1310258"/>
                  <a:gd name="connsiteX3" fmla="*/ 2556405 w 2556405"/>
                  <a:gd name="connsiteY3" fmla="*/ 1310258 h 1310258"/>
                  <a:gd name="connsiteX0" fmla="*/ 0 w 2556405"/>
                  <a:gd name="connsiteY0" fmla="*/ 672432 h 1310205"/>
                  <a:gd name="connsiteX1" fmla="*/ 911359 w 2556405"/>
                  <a:gd name="connsiteY1" fmla="*/ 1103 h 1310205"/>
                  <a:gd name="connsiteX2" fmla="*/ 1746448 w 2556405"/>
                  <a:gd name="connsiteY2" fmla="*/ 687602 h 1310205"/>
                  <a:gd name="connsiteX3" fmla="*/ 2556405 w 2556405"/>
                  <a:gd name="connsiteY3" fmla="*/ 1310205 h 1310205"/>
                  <a:gd name="connsiteX0" fmla="*/ 0 w 2556405"/>
                  <a:gd name="connsiteY0" fmla="*/ 672432 h 1310205"/>
                  <a:gd name="connsiteX1" fmla="*/ 778009 w 2556405"/>
                  <a:gd name="connsiteY1" fmla="*/ 1103 h 1310205"/>
                  <a:gd name="connsiteX2" fmla="*/ 1746448 w 2556405"/>
                  <a:gd name="connsiteY2" fmla="*/ 687602 h 1310205"/>
                  <a:gd name="connsiteX3" fmla="*/ 2556405 w 2556405"/>
                  <a:gd name="connsiteY3" fmla="*/ 1310205 h 1310205"/>
                  <a:gd name="connsiteX0" fmla="*/ 0 w 2556405"/>
                  <a:gd name="connsiteY0" fmla="*/ 672186 h 1309959"/>
                  <a:gd name="connsiteX1" fmla="*/ 778009 w 2556405"/>
                  <a:gd name="connsiteY1" fmla="*/ 857 h 1309959"/>
                  <a:gd name="connsiteX2" fmla="*/ 1746448 w 2556405"/>
                  <a:gd name="connsiteY2" fmla="*/ 687356 h 1309959"/>
                  <a:gd name="connsiteX3" fmla="*/ 2556405 w 2556405"/>
                  <a:gd name="connsiteY3" fmla="*/ 1309959 h 1309959"/>
                  <a:gd name="connsiteX0" fmla="*/ 0 w 2556405"/>
                  <a:gd name="connsiteY0" fmla="*/ 671347 h 1309120"/>
                  <a:gd name="connsiteX1" fmla="*/ 778009 w 2556405"/>
                  <a:gd name="connsiteY1" fmla="*/ 18 h 1309120"/>
                  <a:gd name="connsiteX2" fmla="*/ 1746448 w 2556405"/>
                  <a:gd name="connsiteY2" fmla="*/ 686517 h 1309120"/>
                  <a:gd name="connsiteX3" fmla="*/ 2556405 w 2556405"/>
                  <a:gd name="connsiteY3" fmla="*/ 1309120 h 1309120"/>
                  <a:gd name="connsiteX0" fmla="*/ 0 w 2556405"/>
                  <a:gd name="connsiteY0" fmla="*/ 671340 h 1309113"/>
                  <a:gd name="connsiteX1" fmla="*/ 778009 w 2556405"/>
                  <a:gd name="connsiteY1" fmla="*/ 11 h 1309113"/>
                  <a:gd name="connsiteX2" fmla="*/ 1746448 w 2556405"/>
                  <a:gd name="connsiteY2" fmla="*/ 686510 h 1309113"/>
                  <a:gd name="connsiteX3" fmla="*/ 2556405 w 2556405"/>
                  <a:gd name="connsiteY3" fmla="*/ 1309113 h 1309113"/>
                  <a:gd name="connsiteX0" fmla="*/ 0 w 2556405"/>
                  <a:gd name="connsiteY0" fmla="*/ 671340 h 1309113"/>
                  <a:gd name="connsiteX1" fmla="*/ 778009 w 2556405"/>
                  <a:gd name="connsiteY1" fmla="*/ 11 h 1309113"/>
                  <a:gd name="connsiteX2" fmla="*/ 1746448 w 2556405"/>
                  <a:gd name="connsiteY2" fmla="*/ 686510 h 1309113"/>
                  <a:gd name="connsiteX3" fmla="*/ 2556405 w 2556405"/>
                  <a:gd name="connsiteY3" fmla="*/ 1309113 h 1309113"/>
                  <a:gd name="connsiteX0" fmla="*/ 1 w 2593711"/>
                  <a:gd name="connsiteY0" fmla="*/ 644434 h 1309189"/>
                  <a:gd name="connsiteX1" fmla="*/ 815315 w 2593711"/>
                  <a:gd name="connsiteY1" fmla="*/ 87 h 1309189"/>
                  <a:gd name="connsiteX2" fmla="*/ 1783754 w 2593711"/>
                  <a:gd name="connsiteY2" fmla="*/ 686586 h 1309189"/>
                  <a:gd name="connsiteX3" fmla="*/ 2593711 w 2593711"/>
                  <a:gd name="connsiteY3" fmla="*/ 1309189 h 1309189"/>
                  <a:gd name="connsiteX0" fmla="*/ 1 w 2593711"/>
                  <a:gd name="connsiteY0" fmla="*/ 644481 h 1309236"/>
                  <a:gd name="connsiteX1" fmla="*/ 815315 w 2593711"/>
                  <a:gd name="connsiteY1" fmla="*/ 134 h 1309236"/>
                  <a:gd name="connsiteX2" fmla="*/ 1783754 w 2593711"/>
                  <a:gd name="connsiteY2" fmla="*/ 686633 h 1309236"/>
                  <a:gd name="connsiteX3" fmla="*/ 2593711 w 2593711"/>
                  <a:gd name="connsiteY3" fmla="*/ 1309236 h 1309236"/>
                  <a:gd name="connsiteX0" fmla="*/ 1 w 2638506"/>
                  <a:gd name="connsiteY0" fmla="*/ 648155 h 1309212"/>
                  <a:gd name="connsiteX1" fmla="*/ 860110 w 2638506"/>
                  <a:gd name="connsiteY1" fmla="*/ 110 h 1309212"/>
                  <a:gd name="connsiteX2" fmla="*/ 1828549 w 2638506"/>
                  <a:gd name="connsiteY2" fmla="*/ 686609 h 1309212"/>
                  <a:gd name="connsiteX3" fmla="*/ 2638506 w 2638506"/>
                  <a:gd name="connsiteY3" fmla="*/ 1309212 h 1309212"/>
                  <a:gd name="connsiteX0" fmla="*/ 1 w 2638506"/>
                  <a:gd name="connsiteY0" fmla="*/ 648197 h 1309254"/>
                  <a:gd name="connsiteX1" fmla="*/ 860110 w 2638506"/>
                  <a:gd name="connsiteY1" fmla="*/ 152 h 1309254"/>
                  <a:gd name="connsiteX2" fmla="*/ 1828549 w 2638506"/>
                  <a:gd name="connsiteY2" fmla="*/ 686651 h 1309254"/>
                  <a:gd name="connsiteX3" fmla="*/ 2638506 w 2638506"/>
                  <a:gd name="connsiteY3" fmla="*/ 1309254 h 1309254"/>
                  <a:gd name="connsiteX0" fmla="*/ 1 w 2638506"/>
                  <a:gd name="connsiteY0" fmla="*/ 649974 h 1311031"/>
                  <a:gd name="connsiteX1" fmla="*/ 860110 w 2638506"/>
                  <a:gd name="connsiteY1" fmla="*/ 1929 h 1311031"/>
                  <a:gd name="connsiteX2" fmla="*/ 1828549 w 2638506"/>
                  <a:gd name="connsiteY2" fmla="*/ 688428 h 1311031"/>
                  <a:gd name="connsiteX3" fmla="*/ 2638506 w 2638506"/>
                  <a:gd name="connsiteY3" fmla="*/ 1311031 h 1311031"/>
                  <a:gd name="connsiteX0" fmla="*/ 1 w 2638506"/>
                  <a:gd name="connsiteY0" fmla="*/ 649607 h 1310664"/>
                  <a:gd name="connsiteX1" fmla="*/ 860110 w 2638506"/>
                  <a:gd name="connsiteY1" fmla="*/ 1562 h 1310664"/>
                  <a:gd name="connsiteX2" fmla="*/ 1828549 w 2638506"/>
                  <a:gd name="connsiteY2" fmla="*/ 688061 h 1310664"/>
                  <a:gd name="connsiteX3" fmla="*/ 2638506 w 2638506"/>
                  <a:gd name="connsiteY3" fmla="*/ 1310664 h 1310664"/>
                  <a:gd name="connsiteX0" fmla="*/ 1 w 2638506"/>
                  <a:gd name="connsiteY0" fmla="*/ 649193 h 1310250"/>
                  <a:gd name="connsiteX1" fmla="*/ 860110 w 2638506"/>
                  <a:gd name="connsiteY1" fmla="*/ 1148 h 1310250"/>
                  <a:gd name="connsiteX2" fmla="*/ 1828549 w 2638506"/>
                  <a:gd name="connsiteY2" fmla="*/ 687647 h 1310250"/>
                  <a:gd name="connsiteX3" fmla="*/ 2638506 w 2638506"/>
                  <a:gd name="connsiteY3" fmla="*/ 1310250 h 1310250"/>
                  <a:gd name="connsiteX0" fmla="*/ 1 w 2638506"/>
                  <a:gd name="connsiteY0" fmla="*/ 650609 h 1311666"/>
                  <a:gd name="connsiteX1" fmla="*/ 860110 w 2638506"/>
                  <a:gd name="connsiteY1" fmla="*/ 2564 h 1311666"/>
                  <a:gd name="connsiteX2" fmla="*/ 1828549 w 2638506"/>
                  <a:gd name="connsiteY2" fmla="*/ 689063 h 1311666"/>
                  <a:gd name="connsiteX3" fmla="*/ 2638506 w 2638506"/>
                  <a:gd name="connsiteY3" fmla="*/ 1311666 h 1311666"/>
                  <a:gd name="connsiteX0" fmla="*/ 1 w 2638506"/>
                  <a:gd name="connsiteY0" fmla="*/ 649841 h 1310898"/>
                  <a:gd name="connsiteX1" fmla="*/ 860110 w 2638506"/>
                  <a:gd name="connsiteY1" fmla="*/ 1796 h 1310898"/>
                  <a:gd name="connsiteX2" fmla="*/ 1828549 w 2638506"/>
                  <a:gd name="connsiteY2" fmla="*/ 688295 h 1310898"/>
                  <a:gd name="connsiteX3" fmla="*/ 2638506 w 2638506"/>
                  <a:gd name="connsiteY3" fmla="*/ 1310898 h 1310898"/>
                  <a:gd name="connsiteX0" fmla="*/ 1 w 2638506"/>
                  <a:gd name="connsiteY0" fmla="*/ 649841 h 1310898"/>
                  <a:gd name="connsiteX1" fmla="*/ 860110 w 2638506"/>
                  <a:gd name="connsiteY1" fmla="*/ 1796 h 1310898"/>
                  <a:gd name="connsiteX2" fmla="*/ 1828549 w 2638506"/>
                  <a:gd name="connsiteY2" fmla="*/ 688295 h 1310898"/>
                  <a:gd name="connsiteX3" fmla="*/ 2638506 w 2638506"/>
                  <a:gd name="connsiteY3" fmla="*/ 1310898 h 1310898"/>
                  <a:gd name="connsiteX0" fmla="*/ 1 w 2664626"/>
                  <a:gd name="connsiteY0" fmla="*/ 635455 h 1309388"/>
                  <a:gd name="connsiteX1" fmla="*/ 886230 w 2664626"/>
                  <a:gd name="connsiteY1" fmla="*/ 286 h 1309388"/>
                  <a:gd name="connsiteX2" fmla="*/ 1854669 w 2664626"/>
                  <a:gd name="connsiteY2" fmla="*/ 686785 h 1309388"/>
                  <a:gd name="connsiteX3" fmla="*/ 2664626 w 2664626"/>
                  <a:gd name="connsiteY3" fmla="*/ 1309388 h 1309388"/>
                  <a:gd name="connsiteX0" fmla="*/ 1 w 1854668"/>
                  <a:gd name="connsiteY0" fmla="*/ 635455 h 686786"/>
                  <a:gd name="connsiteX1" fmla="*/ 886230 w 1854668"/>
                  <a:gd name="connsiteY1" fmla="*/ 286 h 686786"/>
                  <a:gd name="connsiteX2" fmla="*/ 1854669 w 1854668"/>
                  <a:gd name="connsiteY2" fmla="*/ 686785 h 686786"/>
                  <a:gd name="connsiteX0" fmla="*/ 1 w 886231"/>
                  <a:gd name="connsiteY0" fmla="*/ 635455 h 635455"/>
                  <a:gd name="connsiteX1" fmla="*/ 886230 w 886231"/>
                  <a:gd name="connsiteY1" fmla="*/ 286 h 635455"/>
                  <a:gd name="connsiteX0" fmla="*/ 1 w 886231"/>
                  <a:gd name="connsiteY0" fmla="*/ 635460 h 635460"/>
                  <a:gd name="connsiteX1" fmla="*/ 490191 w 886231"/>
                  <a:gd name="connsiteY1" fmla="*/ 91024 h 635460"/>
                  <a:gd name="connsiteX2" fmla="*/ 886230 w 886231"/>
                  <a:gd name="connsiteY2" fmla="*/ 291 h 635460"/>
                  <a:gd name="connsiteX0" fmla="*/ 1 w 886231"/>
                  <a:gd name="connsiteY0" fmla="*/ 636018 h 636018"/>
                  <a:gd name="connsiteX1" fmla="*/ 490191 w 886231"/>
                  <a:gd name="connsiteY1" fmla="*/ 91582 h 636018"/>
                  <a:gd name="connsiteX2" fmla="*/ 886230 w 886231"/>
                  <a:gd name="connsiteY2" fmla="*/ 849 h 636018"/>
                  <a:gd name="connsiteX0" fmla="*/ 1 w 886231"/>
                  <a:gd name="connsiteY0" fmla="*/ 638967 h 638967"/>
                  <a:gd name="connsiteX1" fmla="*/ 490191 w 886231"/>
                  <a:gd name="connsiteY1" fmla="*/ 94531 h 638967"/>
                  <a:gd name="connsiteX2" fmla="*/ 886230 w 886231"/>
                  <a:gd name="connsiteY2" fmla="*/ 3798 h 638967"/>
                  <a:gd name="connsiteX0" fmla="*/ 1 w 490191"/>
                  <a:gd name="connsiteY0" fmla="*/ 544435 h 544435"/>
                  <a:gd name="connsiteX1" fmla="*/ 490191 w 490191"/>
                  <a:gd name="connsiteY1" fmla="*/ -1 h 544435"/>
                  <a:gd name="connsiteX0" fmla="*/ 1 w 490191"/>
                  <a:gd name="connsiteY0" fmla="*/ 544435 h 544435"/>
                  <a:gd name="connsiteX1" fmla="*/ 490191 w 490191"/>
                  <a:gd name="connsiteY1" fmla="*/ -1 h 544435"/>
                  <a:gd name="connsiteX0" fmla="*/ 1 w 490191"/>
                  <a:gd name="connsiteY0" fmla="*/ 544435 h 544435"/>
                  <a:gd name="connsiteX1" fmla="*/ 490191 w 490191"/>
                  <a:gd name="connsiteY1" fmla="*/ -1 h 544435"/>
                  <a:gd name="connsiteX0" fmla="*/ 1 w 490191"/>
                  <a:gd name="connsiteY0" fmla="*/ 544435 h 544435"/>
                  <a:gd name="connsiteX1" fmla="*/ 490191 w 490191"/>
                  <a:gd name="connsiteY1" fmla="*/ -1 h 5444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90191" h="544435">
                    <a:moveTo>
                      <a:pt x="1" y="544435"/>
                    </a:moveTo>
                    <a:cubicBezTo>
                      <a:pt x="59974" y="349650"/>
                      <a:pt x="307478" y="61023"/>
                      <a:pt x="490191" y="-1"/>
                    </a:cubicBezTo>
                  </a:path>
                </a:pathLst>
              </a:custGeom>
              <a:grpFill/>
              <a:ln w="12700" cap="rnd">
                <a:solidFill>
                  <a:srgbClr val="7294A5"/>
                </a:solidFill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 rtlCol="0" anchor="ctr">
                <a:noAutofit/>
              </a:bodyPr>
              <a:lstStyle/>
              <a:p>
                <a:pPr marL="0" marR="0" lvl="0" indent="0" algn="ctr" defTabSz="45719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Imago"/>
                  <a:ea typeface="+mn-ea"/>
                  <a:cs typeface="+mn-cs"/>
                </a:endParaRPr>
              </a:p>
            </p:txBody>
          </p:sp>
          <p:sp>
            <p:nvSpPr>
              <p:cNvPr id="1043" name="Freeform: Shape 94">
                <a:extLst>
                  <a:ext uri="{FF2B5EF4-FFF2-40B4-BE49-F238E27FC236}">
                    <a16:creationId xmlns:a16="http://schemas.microsoft.com/office/drawing/2014/main" id="{CD053F8E-F0E3-0971-7252-D67BB9A0A08D}"/>
                  </a:ext>
                </a:extLst>
              </p:cNvPr>
              <p:cNvSpPr/>
              <p:nvPr/>
            </p:nvSpPr>
            <p:spPr>
              <a:xfrm rot="4837695" flipV="1">
                <a:off x="3781483" y="3318306"/>
                <a:ext cx="255606" cy="283890"/>
              </a:xfrm>
              <a:custGeom>
                <a:avLst/>
                <a:gdLst>
                  <a:gd name="connsiteX0" fmla="*/ 0 w 2617365"/>
                  <a:gd name="connsiteY0" fmla="*/ 939567 h 939567"/>
                  <a:gd name="connsiteX1" fmla="*/ 922789 w 2617365"/>
                  <a:gd name="connsiteY1" fmla="*/ 16778 h 939567"/>
                  <a:gd name="connsiteX2" fmla="*/ 1761688 w 2617365"/>
                  <a:gd name="connsiteY2" fmla="*/ 855677 h 939567"/>
                  <a:gd name="connsiteX3" fmla="*/ 2617365 w 2617365"/>
                  <a:gd name="connsiteY3" fmla="*/ 0 h 939567"/>
                  <a:gd name="connsiteX0" fmla="*/ 27 w 2617392"/>
                  <a:gd name="connsiteY0" fmla="*/ 939567 h 939567"/>
                  <a:gd name="connsiteX1" fmla="*/ 922816 w 2617392"/>
                  <a:gd name="connsiteY1" fmla="*/ 16778 h 939567"/>
                  <a:gd name="connsiteX2" fmla="*/ 1761715 w 2617392"/>
                  <a:gd name="connsiteY2" fmla="*/ 855677 h 939567"/>
                  <a:gd name="connsiteX3" fmla="*/ 2617392 w 2617392"/>
                  <a:gd name="connsiteY3" fmla="*/ 0 h 939567"/>
                  <a:gd name="connsiteX0" fmla="*/ 27 w 2617392"/>
                  <a:gd name="connsiteY0" fmla="*/ 939567 h 939567"/>
                  <a:gd name="connsiteX1" fmla="*/ 922816 w 2617392"/>
                  <a:gd name="connsiteY1" fmla="*/ 16778 h 939567"/>
                  <a:gd name="connsiteX2" fmla="*/ 1761715 w 2617392"/>
                  <a:gd name="connsiteY2" fmla="*/ 855677 h 939567"/>
                  <a:gd name="connsiteX3" fmla="*/ 2617392 w 2617392"/>
                  <a:gd name="connsiteY3" fmla="*/ 0 h 939567"/>
                  <a:gd name="connsiteX0" fmla="*/ 33 w 2617398"/>
                  <a:gd name="connsiteY0" fmla="*/ 939567 h 939567"/>
                  <a:gd name="connsiteX1" fmla="*/ 922822 w 2617398"/>
                  <a:gd name="connsiteY1" fmla="*/ 16778 h 939567"/>
                  <a:gd name="connsiteX2" fmla="*/ 1761721 w 2617398"/>
                  <a:gd name="connsiteY2" fmla="*/ 855677 h 939567"/>
                  <a:gd name="connsiteX3" fmla="*/ 2617398 w 2617398"/>
                  <a:gd name="connsiteY3" fmla="*/ 0 h 939567"/>
                  <a:gd name="connsiteX0" fmla="*/ 33 w 2617398"/>
                  <a:gd name="connsiteY0" fmla="*/ 939567 h 939567"/>
                  <a:gd name="connsiteX1" fmla="*/ 922822 w 2617398"/>
                  <a:gd name="connsiteY1" fmla="*/ 16778 h 939567"/>
                  <a:gd name="connsiteX2" fmla="*/ 1761721 w 2617398"/>
                  <a:gd name="connsiteY2" fmla="*/ 855677 h 939567"/>
                  <a:gd name="connsiteX3" fmla="*/ 2617398 w 2617398"/>
                  <a:gd name="connsiteY3" fmla="*/ 0 h 939567"/>
                  <a:gd name="connsiteX0" fmla="*/ 45 w 2617410"/>
                  <a:gd name="connsiteY0" fmla="*/ 939567 h 939567"/>
                  <a:gd name="connsiteX1" fmla="*/ 793294 w 2617410"/>
                  <a:gd name="connsiteY1" fmla="*/ 161558 h 939567"/>
                  <a:gd name="connsiteX2" fmla="*/ 1761733 w 2617410"/>
                  <a:gd name="connsiteY2" fmla="*/ 855677 h 939567"/>
                  <a:gd name="connsiteX3" fmla="*/ 2617410 w 2617410"/>
                  <a:gd name="connsiteY3" fmla="*/ 0 h 939567"/>
                  <a:gd name="connsiteX0" fmla="*/ 45 w 2617410"/>
                  <a:gd name="connsiteY0" fmla="*/ 939567 h 939567"/>
                  <a:gd name="connsiteX1" fmla="*/ 793294 w 2617410"/>
                  <a:gd name="connsiteY1" fmla="*/ 161558 h 939567"/>
                  <a:gd name="connsiteX2" fmla="*/ 1761733 w 2617410"/>
                  <a:gd name="connsiteY2" fmla="*/ 855677 h 939567"/>
                  <a:gd name="connsiteX3" fmla="*/ 2617410 w 2617410"/>
                  <a:gd name="connsiteY3" fmla="*/ 0 h 939567"/>
                  <a:gd name="connsiteX0" fmla="*/ 35 w 2617400"/>
                  <a:gd name="connsiteY0" fmla="*/ 939567 h 939567"/>
                  <a:gd name="connsiteX1" fmla="*/ 793284 w 2617400"/>
                  <a:gd name="connsiteY1" fmla="*/ 161558 h 939567"/>
                  <a:gd name="connsiteX2" fmla="*/ 1799823 w 2617400"/>
                  <a:gd name="connsiteY2" fmla="*/ 928067 h 939567"/>
                  <a:gd name="connsiteX3" fmla="*/ 2617400 w 2617400"/>
                  <a:gd name="connsiteY3" fmla="*/ 0 h 939567"/>
                  <a:gd name="connsiteX0" fmla="*/ 35 w 2617400"/>
                  <a:gd name="connsiteY0" fmla="*/ 939567 h 939567"/>
                  <a:gd name="connsiteX1" fmla="*/ 793284 w 2617400"/>
                  <a:gd name="connsiteY1" fmla="*/ 161558 h 939567"/>
                  <a:gd name="connsiteX2" fmla="*/ 1799823 w 2617400"/>
                  <a:gd name="connsiteY2" fmla="*/ 928067 h 939567"/>
                  <a:gd name="connsiteX3" fmla="*/ 2617400 w 2617400"/>
                  <a:gd name="connsiteY3" fmla="*/ 0 h 939567"/>
                  <a:gd name="connsiteX0" fmla="*/ 54 w 2617419"/>
                  <a:gd name="connsiteY0" fmla="*/ 939567 h 939567"/>
                  <a:gd name="connsiteX1" fmla="*/ 793303 w 2617419"/>
                  <a:gd name="connsiteY1" fmla="*/ 161558 h 939567"/>
                  <a:gd name="connsiteX2" fmla="*/ 1799842 w 2617419"/>
                  <a:gd name="connsiteY2" fmla="*/ 928067 h 939567"/>
                  <a:gd name="connsiteX3" fmla="*/ 2617419 w 2617419"/>
                  <a:gd name="connsiteY3" fmla="*/ 0 h 939567"/>
                  <a:gd name="connsiteX0" fmla="*/ 54 w 2602179"/>
                  <a:gd name="connsiteY0" fmla="*/ 778016 h 778016"/>
                  <a:gd name="connsiteX1" fmla="*/ 793303 w 2602179"/>
                  <a:gd name="connsiteY1" fmla="*/ 7 h 778016"/>
                  <a:gd name="connsiteX2" fmla="*/ 1799842 w 2602179"/>
                  <a:gd name="connsiteY2" fmla="*/ 766516 h 778016"/>
                  <a:gd name="connsiteX3" fmla="*/ 2602179 w 2602179"/>
                  <a:gd name="connsiteY3" fmla="*/ 28949 h 778016"/>
                  <a:gd name="connsiteX0" fmla="*/ 54 w 2438349"/>
                  <a:gd name="connsiteY0" fmla="*/ 778016 h 1419810"/>
                  <a:gd name="connsiteX1" fmla="*/ 793303 w 2438349"/>
                  <a:gd name="connsiteY1" fmla="*/ 7 h 1419810"/>
                  <a:gd name="connsiteX2" fmla="*/ 1799842 w 2438349"/>
                  <a:gd name="connsiteY2" fmla="*/ 766516 h 1419810"/>
                  <a:gd name="connsiteX3" fmla="*/ 2438349 w 2438349"/>
                  <a:gd name="connsiteY3" fmla="*/ 1309109 h 1419810"/>
                  <a:gd name="connsiteX0" fmla="*/ 54 w 2438349"/>
                  <a:gd name="connsiteY0" fmla="*/ 778016 h 1309109"/>
                  <a:gd name="connsiteX1" fmla="*/ 793303 w 2438349"/>
                  <a:gd name="connsiteY1" fmla="*/ 7 h 1309109"/>
                  <a:gd name="connsiteX2" fmla="*/ 1799842 w 2438349"/>
                  <a:gd name="connsiteY2" fmla="*/ 766516 h 1309109"/>
                  <a:gd name="connsiteX3" fmla="*/ 2438349 w 2438349"/>
                  <a:gd name="connsiteY3" fmla="*/ 1309109 h 1309109"/>
                  <a:gd name="connsiteX0" fmla="*/ 33 w 2438328"/>
                  <a:gd name="connsiteY0" fmla="*/ 778361 h 1309454"/>
                  <a:gd name="connsiteX1" fmla="*/ 793282 w 2438328"/>
                  <a:gd name="connsiteY1" fmla="*/ 352 h 1309454"/>
                  <a:gd name="connsiteX2" fmla="*/ 1628371 w 2438328"/>
                  <a:gd name="connsiteY2" fmla="*/ 686851 h 1309454"/>
                  <a:gd name="connsiteX3" fmla="*/ 2438328 w 2438328"/>
                  <a:gd name="connsiteY3" fmla="*/ 1309454 h 1309454"/>
                  <a:gd name="connsiteX0" fmla="*/ 33 w 2438328"/>
                  <a:gd name="connsiteY0" fmla="*/ 778494 h 1309587"/>
                  <a:gd name="connsiteX1" fmla="*/ 793282 w 2438328"/>
                  <a:gd name="connsiteY1" fmla="*/ 485 h 1309587"/>
                  <a:gd name="connsiteX2" fmla="*/ 1628371 w 2438328"/>
                  <a:gd name="connsiteY2" fmla="*/ 686984 h 1309587"/>
                  <a:gd name="connsiteX3" fmla="*/ 2438328 w 2438328"/>
                  <a:gd name="connsiteY3" fmla="*/ 1309587 h 1309587"/>
                  <a:gd name="connsiteX0" fmla="*/ 27 w 2556432"/>
                  <a:gd name="connsiteY0" fmla="*/ 671344 h 1309117"/>
                  <a:gd name="connsiteX1" fmla="*/ 911386 w 2556432"/>
                  <a:gd name="connsiteY1" fmla="*/ 15 h 1309117"/>
                  <a:gd name="connsiteX2" fmla="*/ 1746475 w 2556432"/>
                  <a:gd name="connsiteY2" fmla="*/ 686514 h 1309117"/>
                  <a:gd name="connsiteX3" fmla="*/ 2556432 w 2556432"/>
                  <a:gd name="connsiteY3" fmla="*/ 1309117 h 1309117"/>
                  <a:gd name="connsiteX0" fmla="*/ 0 w 2556405"/>
                  <a:gd name="connsiteY0" fmla="*/ 671347 h 1309120"/>
                  <a:gd name="connsiteX1" fmla="*/ 911359 w 2556405"/>
                  <a:gd name="connsiteY1" fmla="*/ 18 h 1309120"/>
                  <a:gd name="connsiteX2" fmla="*/ 1746448 w 2556405"/>
                  <a:gd name="connsiteY2" fmla="*/ 686517 h 1309120"/>
                  <a:gd name="connsiteX3" fmla="*/ 2556405 w 2556405"/>
                  <a:gd name="connsiteY3" fmla="*/ 1309120 h 1309120"/>
                  <a:gd name="connsiteX0" fmla="*/ 0 w 2556405"/>
                  <a:gd name="connsiteY0" fmla="*/ 672485 h 1310258"/>
                  <a:gd name="connsiteX1" fmla="*/ 911359 w 2556405"/>
                  <a:gd name="connsiteY1" fmla="*/ 1156 h 1310258"/>
                  <a:gd name="connsiteX2" fmla="*/ 1746448 w 2556405"/>
                  <a:gd name="connsiteY2" fmla="*/ 687655 h 1310258"/>
                  <a:gd name="connsiteX3" fmla="*/ 2556405 w 2556405"/>
                  <a:gd name="connsiteY3" fmla="*/ 1310258 h 1310258"/>
                  <a:gd name="connsiteX0" fmla="*/ 0 w 2556405"/>
                  <a:gd name="connsiteY0" fmla="*/ 672432 h 1310205"/>
                  <a:gd name="connsiteX1" fmla="*/ 911359 w 2556405"/>
                  <a:gd name="connsiteY1" fmla="*/ 1103 h 1310205"/>
                  <a:gd name="connsiteX2" fmla="*/ 1746448 w 2556405"/>
                  <a:gd name="connsiteY2" fmla="*/ 687602 h 1310205"/>
                  <a:gd name="connsiteX3" fmla="*/ 2556405 w 2556405"/>
                  <a:gd name="connsiteY3" fmla="*/ 1310205 h 1310205"/>
                  <a:gd name="connsiteX0" fmla="*/ 0 w 2556405"/>
                  <a:gd name="connsiteY0" fmla="*/ 672432 h 1310205"/>
                  <a:gd name="connsiteX1" fmla="*/ 778009 w 2556405"/>
                  <a:gd name="connsiteY1" fmla="*/ 1103 h 1310205"/>
                  <a:gd name="connsiteX2" fmla="*/ 1746448 w 2556405"/>
                  <a:gd name="connsiteY2" fmla="*/ 687602 h 1310205"/>
                  <a:gd name="connsiteX3" fmla="*/ 2556405 w 2556405"/>
                  <a:gd name="connsiteY3" fmla="*/ 1310205 h 1310205"/>
                  <a:gd name="connsiteX0" fmla="*/ 0 w 2556405"/>
                  <a:gd name="connsiteY0" fmla="*/ 672186 h 1309959"/>
                  <a:gd name="connsiteX1" fmla="*/ 778009 w 2556405"/>
                  <a:gd name="connsiteY1" fmla="*/ 857 h 1309959"/>
                  <a:gd name="connsiteX2" fmla="*/ 1746448 w 2556405"/>
                  <a:gd name="connsiteY2" fmla="*/ 687356 h 1309959"/>
                  <a:gd name="connsiteX3" fmla="*/ 2556405 w 2556405"/>
                  <a:gd name="connsiteY3" fmla="*/ 1309959 h 1309959"/>
                  <a:gd name="connsiteX0" fmla="*/ 0 w 2556405"/>
                  <a:gd name="connsiteY0" fmla="*/ 671347 h 1309120"/>
                  <a:gd name="connsiteX1" fmla="*/ 778009 w 2556405"/>
                  <a:gd name="connsiteY1" fmla="*/ 18 h 1309120"/>
                  <a:gd name="connsiteX2" fmla="*/ 1746448 w 2556405"/>
                  <a:gd name="connsiteY2" fmla="*/ 686517 h 1309120"/>
                  <a:gd name="connsiteX3" fmla="*/ 2556405 w 2556405"/>
                  <a:gd name="connsiteY3" fmla="*/ 1309120 h 1309120"/>
                  <a:gd name="connsiteX0" fmla="*/ 0 w 2556405"/>
                  <a:gd name="connsiteY0" fmla="*/ 671340 h 1309113"/>
                  <a:gd name="connsiteX1" fmla="*/ 778009 w 2556405"/>
                  <a:gd name="connsiteY1" fmla="*/ 11 h 1309113"/>
                  <a:gd name="connsiteX2" fmla="*/ 1746448 w 2556405"/>
                  <a:gd name="connsiteY2" fmla="*/ 686510 h 1309113"/>
                  <a:gd name="connsiteX3" fmla="*/ 2556405 w 2556405"/>
                  <a:gd name="connsiteY3" fmla="*/ 1309113 h 1309113"/>
                  <a:gd name="connsiteX0" fmla="*/ 0 w 2556405"/>
                  <a:gd name="connsiteY0" fmla="*/ 671340 h 1309113"/>
                  <a:gd name="connsiteX1" fmla="*/ 778009 w 2556405"/>
                  <a:gd name="connsiteY1" fmla="*/ 11 h 1309113"/>
                  <a:gd name="connsiteX2" fmla="*/ 1746448 w 2556405"/>
                  <a:gd name="connsiteY2" fmla="*/ 686510 h 1309113"/>
                  <a:gd name="connsiteX3" fmla="*/ 2556405 w 2556405"/>
                  <a:gd name="connsiteY3" fmla="*/ 1309113 h 1309113"/>
                  <a:gd name="connsiteX0" fmla="*/ 1 w 2593711"/>
                  <a:gd name="connsiteY0" fmla="*/ 644434 h 1309189"/>
                  <a:gd name="connsiteX1" fmla="*/ 815315 w 2593711"/>
                  <a:gd name="connsiteY1" fmla="*/ 87 h 1309189"/>
                  <a:gd name="connsiteX2" fmla="*/ 1783754 w 2593711"/>
                  <a:gd name="connsiteY2" fmla="*/ 686586 h 1309189"/>
                  <a:gd name="connsiteX3" fmla="*/ 2593711 w 2593711"/>
                  <a:gd name="connsiteY3" fmla="*/ 1309189 h 1309189"/>
                  <a:gd name="connsiteX0" fmla="*/ 1 w 2593711"/>
                  <a:gd name="connsiteY0" fmla="*/ 644481 h 1309236"/>
                  <a:gd name="connsiteX1" fmla="*/ 815315 w 2593711"/>
                  <a:gd name="connsiteY1" fmla="*/ 134 h 1309236"/>
                  <a:gd name="connsiteX2" fmla="*/ 1783754 w 2593711"/>
                  <a:gd name="connsiteY2" fmla="*/ 686633 h 1309236"/>
                  <a:gd name="connsiteX3" fmla="*/ 2593711 w 2593711"/>
                  <a:gd name="connsiteY3" fmla="*/ 1309236 h 1309236"/>
                  <a:gd name="connsiteX0" fmla="*/ 1 w 2638506"/>
                  <a:gd name="connsiteY0" fmla="*/ 648155 h 1309212"/>
                  <a:gd name="connsiteX1" fmla="*/ 860110 w 2638506"/>
                  <a:gd name="connsiteY1" fmla="*/ 110 h 1309212"/>
                  <a:gd name="connsiteX2" fmla="*/ 1828549 w 2638506"/>
                  <a:gd name="connsiteY2" fmla="*/ 686609 h 1309212"/>
                  <a:gd name="connsiteX3" fmla="*/ 2638506 w 2638506"/>
                  <a:gd name="connsiteY3" fmla="*/ 1309212 h 1309212"/>
                  <a:gd name="connsiteX0" fmla="*/ 1 w 2638506"/>
                  <a:gd name="connsiteY0" fmla="*/ 648197 h 1309254"/>
                  <a:gd name="connsiteX1" fmla="*/ 860110 w 2638506"/>
                  <a:gd name="connsiteY1" fmla="*/ 152 h 1309254"/>
                  <a:gd name="connsiteX2" fmla="*/ 1828549 w 2638506"/>
                  <a:gd name="connsiteY2" fmla="*/ 686651 h 1309254"/>
                  <a:gd name="connsiteX3" fmla="*/ 2638506 w 2638506"/>
                  <a:gd name="connsiteY3" fmla="*/ 1309254 h 1309254"/>
                  <a:gd name="connsiteX0" fmla="*/ 1 w 2638506"/>
                  <a:gd name="connsiteY0" fmla="*/ 649974 h 1311031"/>
                  <a:gd name="connsiteX1" fmla="*/ 860110 w 2638506"/>
                  <a:gd name="connsiteY1" fmla="*/ 1929 h 1311031"/>
                  <a:gd name="connsiteX2" fmla="*/ 1828549 w 2638506"/>
                  <a:gd name="connsiteY2" fmla="*/ 688428 h 1311031"/>
                  <a:gd name="connsiteX3" fmla="*/ 2638506 w 2638506"/>
                  <a:gd name="connsiteY3" fmla="*/ 1311031 h 1311031"/>
                  <a:gd name="connsiteX0" fmla="*/ 1 w 2638506"/>
                  <a:gd name="connsiteY0" fmla="*/ 649607 h 1310664"/>
                  <a:gd name="connsiteX1" fmla="*/ 860110 w 2638506"/>
                  <a:gd name="connsiteY1" fmla="*/ 1562 h 1310664"/>
                  <a:gd name="connsiteX2" fmla="*/ 1828549 w 2638506"/>
                  <a:gd name="connsiteY2" fmla="*/ 688061 h 1310664"/>
                  <a:gd name="connsiteX3" fmla="*/ 2638506 w 2638506"/>
                  <a:gd name="connsiteY3" fmla="*/ 1310664 h 1310664"/>
                  <a:gd name="connsiteX0" fmla="*/ 1 w 2638506"/>
                  <a:gd name="connsiteY0" fmla="*/ 649193 h 1310250"/>
                  <a:gd name="connsiteX1" fmla="*/ 860110 w 2638506"/>
                  <a:gd name="connsiteY1" fmla="*/ 1148 h 1310250"/>
                  <a:gd name="connsiteX2" fmla="*/ 1828549 w 2638506"/>
                  <a:gd name="connsiteY2" fmla="*/ 687647 h 1310250"/>
                  <a:gd name="connsiteX3" fmla="*/ 2638506 w 2638506"/>
                  <a:gd name="connsiteY3" fmla="*/ 1310250 h 1310250"/>
                  <a:gd name="connsiteX0" fmla="*/ 1 w 2638506"/>
                  <a:gd name="connsiteY0" fmla="*/ 650609 h 1311666"/>
                  <a:gd name="connsiteX1" fmla="*/ 860110 w 2638506"/>
                  <a:gd name="connsiteY1" fmla="*/ 2564 h 1311666"/>
                  <a:gd name="connsiteX2" fmla="*/ 1828549 w 2638506"/>
                  <a:gd name="connsiteY2" fmla="*/ 689063 h 1311666"/>
                  <a:gd name="connsiteX3" fmla="*/ 2638506 w 2638506"/>
                  <a:gd name="connsiteY3" fmla="*/ 1311666 h 1311666"/>
                  <a:gd name="connsiteX0" fmla="*/ 1 w 2638506"/>
                  <a:gd name="connsiteY0" fmla="*/ 649841 h 1310898"/>
                  <a:gd name="connsiteX1" fmla="*/ 860110 w 2638506"/>
                  <a:gd name="connsiteY1" fmla="*/ 1796 h 1310898"/>
                  <a:gd name="connsiteX2" fmla="*/ 1828549 w 2638506"/>
                  <a:gd name="connsiteY2" fmla="*/ 688295 h 1310898"/>
                  <a:gd name="connsiteX3" fmla="*/ 2638506 w 2638506"/>
                  <a:gd name="connsiteY3" fmla="*/ 1310898 h 1310898"/>
                  <a:gd name="connsiteX0" fmla="*/ 1 w 2638506"/>
                  <a:gd name="connsiteY0" fmla="*/ 649841 h 1310898"/>
                  <a:gd name="connsiteX1" fmla="*/ 860110 w 2638506"/>
                  <a:gd name="connsiteY1" fmla="*/ 1796 h 1310898"/>
                  <a:gd name="connsiteX2" fmla="*/ 1828549 w 2638506"/>
                  <a:gd name="connsiteY2" fmla="*/ 688295 h 1310898"/>
                  <a:gd name="connsiteX3" fmla="*/ 2638506 w 2638506"/>
                  <a:gd name="connsiteY3" fmla="*/ 1310898 h 1310898"/>
                  <a:gd name="connsiteX0" fmla="*/ 1 w 2664626"/>
                  <a:gd name="connsiteY0" fmla="*/ 635455 h 1309388"/>
                  <a:gd name="connsiteX1" fmla="*/ 886230 w 2664626"/>
                  <a:gd name="connsiteY1" fmla="*/ 286 h 1309388"/>
                  <a:gd name="connsiteX2" fmla="*/ 1854669 w 2664626"/>
                  <a:gd name="connsiteY2" fmla="*/ 686785 h 1309388"/>
                  <a:gd name="connsiteX3" fmla="*/ 2664626 w 2664626"/>
                  <a:gd name="connsiteY3" fmla="*/ 1309388 h 1309388"/>
                  <a:gd name="connsiteX0" fmla="*/ 1 w 1854668"/>
                  <a:gd name="connsiteY0" fmla="*/ 635455 h 686786"/>
                  <a:gd name="connsiteX1" fmla="*/ 886230 w 1854668"/>
                  <a:gd name="connsiteY1" fmla="*/ 286 h 686786"/>
                  <a:gd name="connsiteX2" fmla="*/ 1854669 w 1854668"/>
                  <a:gd name="connsiteY2" fmla="*/ 686785 h 686786"/>
                  <a:gd name="connsiteX0" fmla="*/ 1 w 886231"/>
                  <a:gd name="connsiteY0" fmla="*/ 635455 h 635455"/>
                  <a:gd name="connsiteX1" fmla="*/ 886230 w 886231"/>
                  <a:gd name="connsiteY1" fmla="*/ 286 h 635455"/>
                  <a:gd name="connsiteX0" fmla="*/ 1 w 886231"/>
                  <a:gd name="connsiteY0" fmla="*/ 635460 h 635460"/>
                  <a:gd name="connsiteX1" fmla="*/ 490191 w 886231"/>
                  <a:gd name="connsiteY1" fmla="*/ 91024 h 635460"/>
                  <a:gd name="connsiteX2" fmla="*/ 886230 w 886231"/>
                  <a:gd name="connsiteY2" fmla="*/ 291 h 635460"/>
                  <a:gd name="connsiteX0" fmla="*/ 1 w 886231"/>
                  <a:gd name="connsiteY0" fmla="*/ 636018 h 636018"/>
                  <a:gd name="connsiteX1" fmla="*/ 490191 w 886231"/>
                  <a:gd name="connsiteY1" fmla="*/ 91582 h 636018"/>
                  <a:gd name="connsiteX2" fmla="*/ 886230 w 886231"/>
                  <a:gd name="connsiteY2" fmla="*/ 849 h 636018"/>
                  <a:gd name="connsiteX0" fmla="*/ 1 w 886231"/>
                  <a:gd name="connsiteY0" fmla="*/ 638967 h 638967"/>
                  <a:gd name="connsiteX1" fmla="*/ 490191 w 886231"/>
                  <a:gd name="connsiteY1" fmla="*/ 94531 h 638967"/>
                  <a:gd name="connsiteX2" fmla="*/ 886230 w 886231"/>
                  <a:gd name="connsiteY2" fmla="*/ 3798 h 638967"/>
                  <a:gd name="connsiteX0" fmla="*/ 1 w 490191"/>
                  <a:gd name="connsiteY0" fmla="*/ 544435 h 544435"/>
                  <a:gd name="connsiteX1" fmla="*/ 490191 w 490191"/>
                  <a:gd name="connsiteY1" fmla="*/ -1 h 544435"/>
                  <a:gd name="connsiteX0" fmla="*/ 1 w 490191"/>
                  <a:gd name="connsiteY0" fmla="*/ 544435 h 544435"/>
                  <a:gd name="connsiteX1" fmla="*/ 490191 w 490191"/>
                  <a:gd name="connsiteY1" fmla="*/ -1 h 544435"/>
                  <a:gd name="connsiteX0" fmla="*/ 1 w 490191"/>
                  <a:gd name="connsiteY0" fmla="*/ 544435 h 544435"/>
                  <a:gd name="connsiteX1" fmla="*/ 490191 w 490191"/>
                  <a:gd name="connsiteY1" fmla="*/ -1 h 544435"/>
                  <a:gd name="connsiteX0" fmla="*/ 1 w 490191"/>
                  <a:gd name="connsiteY0" fmla="*/ 544435 h 544435"/>
                  <a:gd name="connsiteX1" fmla="*/ 490191 w 490191"/>
                  <a:gd name="connsiteY1" fmla="*/ -1 h 5444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90191" h="544435">
                    <a:moveTo>
                      <a:pt x="1" y="544435"/>
                    </a:moveTo>
                    <a:cubicBezTo>
                      <a:pt x="59974" y="349650"/>
                      <a:pt x="307478" y="61023"/>
                      <a:pt x="490191" y="-1"/>
                    </a:cubicBezTo>
                  </a:path>
                </a:pathLst>
              </a:custGeom>
              <a:grpFill/>
              <a:ln w="12700" cap="rnd">
                <a:solidFill>
                  <a:srgbClr val="7294A5"/>
                </a:solidFill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 rtlCol="0" anchor="ctr">
                <a:noAutofit/>
              </a:bodyPr>
              <a:lstStyle/>
              <a:p>
                <a:pPr marL="0" marR="0" lvl="0" indent="0" algn="ctr" defTabSz="45719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Imago"/>
                  <a:ea typeface="+mn-ea"/>
                  <a:cs typeface="+mn-cs"/>
                </a:endParaRPr>
              </a:p>
            </p:txBody>
          </p:sp>
        </p:grpSp>
        <p:cxnSp>
          <p:nvCxnSpPr>
            <p:cNvPr id="1024" name="Straight Connector 1023">
              <a:extLst>
                <a:ext uri="{FF2B5EF4-FFF2-40B4-BE49-F238E27FC236}">
                  <a16:creationId xmlns:a16="http://schemas.microsoft.com/office/drawing/2014/main" id="{DF3703E2-14C2-A15C-C541-AF2DDFA52424}"/>
                </a:ext>
              </a:extLst>
            </p:cNvPr>
            <p:cNvCxnSpPr/>
            <p:nvPr/>
          </p:nvCxnSpPr>
          <p:spPr>
            <a:xfrm>
              <a:off x="704611" y="1696455"/>
              <a:ext cx="187200" cy="0"/>
            </a:xfrm>
            <a:prstGeom prst="line">
              <a:avLst/>
            </a:prstGeom>
            <a:noFill/>
            <a:ln w="12700" cap="rnd">
              <a:solidFill>
                <a:srgbClr val="7294A5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5" name="Straight Connector 1024">
              <a:extLst>
                <a:ext uri="{FF2B5EF4-FFF2-40B4-BE49-F238E27FC236}">
                  <a16:creationId xmlns:a16="http://schemas.microsoft.com/office/drawing/2014/main" id="{68AEEE17-B06F-24E7-3EF3-316E00087113}"/>
                </a:ext>
              </a:extLst>
            </p:cNvPr>
            <p:cNvCxnSpPr/>
            <p:nvPr/>
          </p:nvCxnSpPr>
          <p:spPr>
            <a:xfrm>
              <a:off x="718764" y="1640191"/>
              <a:ext cx="158400" cy="0"/>
            </a:xfrm>
            <a:prstGeom prst="line">
              <a:avLst/>
            </a:prstGeom>
            <a:noFill/>
            <a:ln w="12700" cap="rnd">
              <a:solidFill>
                <a:srgbClr val="7294A5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6" name="Straight Connector 1025">
              <a:extLst>
                <a:ext uri="{FF2B5EF4-FFF2-40B4-BE49-F238E27FC236}">
                  <a16:creationId xmlns:a16="http://schemas.microsoft.com/office/drawing/2014/main" id="{82961EE6-9B32-1C30-5879-1E3F951EA185}"/>
                </a:ext>
              </a:extLst>
            </p:cNvPr>
            <p:cNvCxnSpPr/>
            <p:nvPr/>
          </p:nvCxnSpPr>
          <p:spPr>
            <a:xfrm>
              <a:off x="723526" y="1752719"/>
              <a:ext cx="151200" cy="0"/>
            </a:xfrm>
            <a:prstGeom prst="line">
              <a:avLst/>
            </a:prstGeom>
            <a:noFill/>
            <a:ln w="12700" cap="rnd">
              <a:solidFill>
                <a:srgbClr val="7294A5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7" name="Straight Connector 1026">
              <a:extLst>
                <a:ext uri="{FF2B5EF4-FFF2-40B4-BE49-F238E27FC236}">
                  <a16:creationId xmlns:a16="http://schemas.microsoft.com/office/drawing/2014/main" id="{11822D77-F4BB-ABC4-527C-5D468659106A}"/>
                </a:ext>
              </a:extLst>
            </p:cNvPr>
            <p:cNvCxnSpPr/>
            <p:nvPr/>
          </p:nvCxnSpPr>
          <p:spPr>
            <a:xfrm>
              <a:off x="711021" y="1892039"/>
              <a:ext cx="168771" cy="0"/>
            </a:xfrm>
            <a:prstGeom prst="line">
              <a:avLst/>
            </a:prstGeom>
            <a:noFill/>
            <a:ln w="12700" cap="rnd">
              <a:solidFill>
                <a:srgbClr val="7294A5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9" name="Straight Connector 1028">
              <a:extLst>
                <a:ext uri="{FF2B5EF4-FFF2-40B4-BE49-F238E27FC236}">
                  <a16:creationId xmlns:a16="http://schemas.microsoft.com/office/drawing/2014/main" id="{96B1E0D1-C4C6-91C8-BEA4-64AF967B7AE3}"/>
                </a:ext>
              </a:extLst>
            </p:cNvPr>
            <p:cNvCxnSpPr/>
            <p:nvPr/>
          </p:nvCxnSpPr>
          <p:spPr>
            <a:xfrm>
              <a:off x="727097" y="1495703"/>
              <a:ext cx="168771" cy="0"/>
            </a:xfrm>
            <a:prstGeom prst="line">
              <a:avLst/>
            </a:prstGeom>
            <a:noFill/>
            <a:ln w="12700" cap="rnd">
              <a:solidFill>
                <a:srgbClr val="7294A5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40" name="Rectangle 1039">
            <a:extLst>
              <a:ext uri="{FF2B5EF4-FFF2-40B4-BE49-F238E27FC236}">
                <a16:creationId xmlns:a16="http://schemas.microsoft.com/office/drawing/2014/main" id="{20E953EE-FF79-7551-2DA9-5E96C01E0885}"/>
              </a:ext>
            </a:extLst>
          </p:cNvPr>
          <p:cNvSpPr/>
          <p:nvPr/>
        </p:nvSpPr>
        <p:spPr>
          <a:xfrm>
            <a:off x="542691" y="1250486"/>
            <a:ext cx="3026946" cy="4609174"/>
          </a:xfrm>
          <a:prstGeom prst="rect">
            <a:avLst/>
          </a:prstGeom>
          <a:solidFill>
            <a:srgbClr val="FFFFFF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197BF550-9FF0-C4DA-5FC6-F43CB9CED2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651" y="6356350"/>
            <a:ext cx="383694" cy="365125"/>
          </a:xfrm>
        </p:spPr>
        <p:txBody>
          <a:bodyPr vert="horz" lIns="0" tIns="0" rIns="0" bIns="0"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01CC8E-1CEF-6746-999E-CF29FF00B1DC}" type="slidenum"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82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" name="Connector: Curved 2">
            <a:extLst>
              <a:ext uri="{FF2B5EF4-FFF2-40B4-BE49-F238E27FC236}">
                <a16:creationId xmlns:a16="http://schemas.microsoft.com/office/drawing/2014/main" id="{CCE20900-BDA4-DC40-A00E-2CCCB2B4EC95}"/>
              </a:ext>
            </a:extLst>
          </p:cNvPr>
          <p:cNvCxnSpPr>
            <a:cxnSpLocks/>
            <a:stCxn id="35" idx="4"/>
            <a:endCxn id="24" idx="0"/>
          </p:cNvCxnSpPr>
          <p:nvPr/>
        </p:nvCxnSpPr>
        <p:spPr>
          <a:xfrm rot="5400000">
            <a:off x="5376466" y="3535005"/>
            <a:ext cx="575470" cy="383382"/>
          </a:xfrm>
          <a:prstGeom prst="curvedConnector3">
            <a:avLst>
              <a:gd name="adj1" fmla="val 50000"/>
            </a:avLst>
          </a:prstGeom>
          <a:ln w="6350">
            <a:solidFill>
              <a:schemeClr val="tx2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" name="Connector: Curved 7">
            <a:extLst>
              <a:ext uri="{FF2B5EF4-FFF2-40B4-BE49-F238E27FC236}">
                <a16:creationId xmlns:a16="http://schemas.microsoft.com/office/drawing/2014/main" id="{D2C92F66-6693-2369-7577-C065F26C43E3}"/>
              </a:ext>
            </a:extLst>
          </p:cNvPr>
          <p:cNvCxnSpPr>
            <a:cxnSpLocks/>
            <a:stCxn id="35" idx="4"/>
            <a:endCxn id="25" idx="0"/>
          </p:cNvCxnSpPr>
          <p:nvPr/>
        </p:nvCxnSpPr>
        <p:spPr>
          <a:xfrm rot="5400000">
            <a:off x="5565776" y="3724315"/>
            <a:ext cx="575470" cy="4763"/>
          </a:xfrm>
          <a:prstGeom prst="curvedConnector3">
            <a:avLst>
              <a:gd name="adj1" fmla="val 50000"/>
            </a:avLst>
          </a:prstGeom>
          <a:ln w="6350">
            <a:solidFill>
              <a:schemeClr val="tx2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Connector: Curved 16">
            <a:extLst>
              <a:ext uri="{FF2B5EF4-FFF2-40B4-BE49-F238E27FC236}">
                <a16:creationId xmlns:a16="http://schemas.microsoft.com/office/drawing/2014/main" id="{396F5358-9E59-3FAD-C8FA-754F7A1565CD}"/>
              </a:ext>
            </a:extLst>
          </p:cNvPr>
          <p:cNvCxnSpPr>
            <a:cxnSpLocks/>
            <a:stCxn id="35" idx="4"/>
            <a:endCxn id="31" idx="0"/>
          </p:cNvCxnSpPr>
          <p:nvPr/>
        </p:nvCxnSpPr>
        <p:spPr>
          <a:xfrm rot="16200000" flipH="1">
            <a:off x="5791994" y="3502858"/>
            <a:ext cx="575470" cy="447675"/>
          </a:xfrm>
          <a:prstGeom prst="curvedConnector3">
            <a:avLst>
              <a:gd name="adj1" fmla="val 50000"/>
            </a:avLst>
          </a:prstGeom>
          <a:ln w="6350">
            <a:solidFill>
              <a:schemeClr val="tx2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Connector: Curved 17">
            <a:extLst>
              <a:ext uri="{FF2B5EF4-FFF2-40B4-BE49-F238E27FC236}">
                <a16:creationId xmlns:a16="http://schemas.microsoft.com/office/drawing/2014/main" id="{F44AA0A6-0752-D84C-D2CB-B7863D657B19}"/>
              </a:ext>
            </a:extLst>
          </p:cNvPr>
          <p:cNvCxnSpPr>
            <a:cxnSpLocks/>
            <a:stCxn id="35" idx="4"/>
            <a:endCxn id="33" idx="0"/>
          </p:cNvCxnSpPr>
          <p:nvPr/>
        </p:nvCxnSpPr>
        <p:spPr>
          <a:xfrm rot="16200000" flipH="1">
            <a:off x="5996782" y="3298071"/>
            <a:ext cx="575470" cy="857250"/>
          </a:xfrm>
          <a:prstGeom prst="curvedConnector3">
            <a:avLst>
              <a:gd name="adj1" fmla="val 50000"/>
            </a:avLst>
          </a:prstGeom>
          <a:ln w="6350">
            <a:solidFill>
              <a:schemeClr val="tx2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Connector: Curved 21">
            <a:extLst>
              <a:ext uri="{FF2B5EF4-FFF2-40B4-BE49-F238E27FC236}">
                <a16:creationId xmlns:a16="http://schemas.microsoft.com/office/drawing/2014/main" id="{B78ECFA0-FC17-18EA-622F-60EE1EC773AD}"/>
              </a:ext>
            </a:extLst>
          </p:cNvPr>
          <p:cNvCxnSpPr>
            <a:cxnSpLocks/>
            <a:stCxn id="35" idx="4"/>
            <a:endCxn id="23" idx="0"/>
          </p:cNvCxnSpPr>
          <p:nvPr/>
        </p:nvCxnSpPr>
        <p:spPr>
          <a:xfrm rot="5400000">
            <a:off x="5189538" y="3348077"/>
            <a:ext cx="575471" cy="757238"/>
          </a:xfrm>
          <a:prstGeom prst="curvedConnector3">
            <a:avLst>
              <a:gd name="adj1" fmla="val 50000"/>
            </a:avLst>
          </a:prstGeom>
          <a:ln w="6350">
            <a:solidFill>
              <a:schemeClr val="tx2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3" name="Oval 22">
            <a:extLst>
              <a:ext uri="{FF2B5EF4-FFF2-40B4-BE49-F238E27FC236}">
                <a16:creationId xmlns:a16="http://schemas.microsoft.com/office/drawing/2014/main" id="{678EA537-C45F-D6DE-BB56-96B9EC1E6CB8}"/>
              </a:ext>
            </a:extLst>
          </p:cNvPr>
          <p:cNvSpPr/>
          <p:nvPr/>
        </p:nvSpPr>
        <p:spPr>
          <a:xfrm>
            <a:off x="4963756" y="4014432"/>
            <a:ext cx="269795" cy="269795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2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563FD7E9-5423-3229-A10E-6B0ABB544841}"/>
              </a:ext>
            </a:extLst>
          </p:cNvPr>
          <p:cNvSpPr/>
          <p:nvPr/>
        </p:nvSpPr>
        <p:spPr>
          <a:xfrm>
            <a:off x="5337612" y="4014431"/>
            <a:ext cx="269795" cy="269795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2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BED698A1-CA5A-3C04-F4A7-E29EEBCA6C58}"/>
              </a:ext>
            </a:extLst>
          </p:cNvPr>
          <p:cNvSpPr/>
          <p:nvPr/>
        </p:nvSpPr>
        <p:spPr>
          <a:xfrm>
            <a:off x="5716231" y="4014431"/>
            <a:ext cx="269795" cy="269795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2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F5717052-6B71-C572-FE8C-715AA6F837DC}"/>
              </a:ext>
            </a:extLst>
          </p:cNvPr>
          <p:cNvSpPr/>
          <p:nvPr/>
        </p:nvSpPr>
        <p:spPr>
          <a:xfrm>
            <a:off x="6168669" y="4014431"/>
            <a:ext cx="269795" cy="269795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2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1F8925AA-7A7E-687D-CC85-C4DCEB2A244E}"/>
              </a:ext>
            </a:extLst>
          </p:cNvPr>
          <p:cNvSpPr/>
          <p:nvPr/>
        </p:nvSpPr>
        <p:spPr>
          <a:xfrm>
            <a:off x="6578244" y="4014431"/>
            <a:ext cx="269795" cy="269795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2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E6853805-3E91-86EF-957C-C2C0AE8471DB}"/>
              </a:ext>
            </a:extLst>
          </p:cNvPr>
          <p:cNvSpPr/>
          <p:nvPr/>
        </p:nvSpPr>
        <p:spPr>
          <a:xfrm>
            <a:off x="5606615" y="2940408"/>
            <a:ext cx="498553" cy="498553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2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371C1853-8698-19CC-AA3F-05E2D7A78B3D}"/>
              </a:ext>
            </a:extLst>
          </p:cNvPr>
          <p:cNvPicPr>
            <a:picLocks noChangeAspect="1"/>
          </p:cNvPicPr>
          <p:nvPr/>
        </p:nvPicPr>
        <p:blipFill>
          <a:blip r:embed="rId5">
            <a:clrChange>
              <a:clrFrom>
                <a:srgbClr val="FDFDFD"/>
              </a:clrFrom>
              <a:clrTo>
                <a:srgbClr val="FDFDFD">
                  <a:alpha val="0"/>
                </a:srgbClr>
              </a:clrTo>
            </a:clrChange>
          </a:blip>
          <a:srcRect l="52777" t="16805" r="5000" b="55556"/>
          <a:stretch>
            <a:fillRect/>
          </a:stretch>
        </p:blipFill>
        <p:spPr>
          <a:xfrm>
            <a:off x="5629075" y="3032799"/>
            <a:ext cx="510853" cy="334408"/>
          </a:xfrm>
          <a:prstGeom prst="rect">
            <a:avLst/>
          </a:prstGeom>
        </p:spPr>
      </p:pic>
      <p:sp>
        <p:nvSpPr>
          <p:cNvPr id="37" name="Text 13">
            <a:extLst>
              <a:ext uri="{FF2B5EF4-FFF2-40B4-BE49-F238E27FC236}">
                <a16:creationId xmlns:a16="http://schemas.microsoft.com/office/drawing/2014/main" id="{B4CB7245-CF46-32A0-9ABE-D4BE67B6A666}"/>
              </a:ext>
            </a:extLst>
          </p:cNvPr>
          <p:cNvSpPr/>
          <p:nvPr/>
        </p:nvSpPr>
        <p:spPr>
          <a:xfrm>
            <a:off x="5014671" y="3091370"/>
            <a:ext cx="549516" cy="1828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Arial" pitchFamily="34" charset="-122"/>
                <a:cs typeface="Arial" pitchFamily="34" charset="-120"/>
              </a:rPr>
              <a:t>DLBCL</a:t>
            </a:r>
            <a:endParaRPr kumimoji="0" lang="en-GB" sz="1200" b="1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0CFB5670-CC27-BA33-56F8-2FA9ACA63A9E}"/>
              </a:ext>
            </a:extLst>
          </p:cNvPr>
          <p:cNvSpPr/>
          <p:nvPr/>
        </p:nvSpPr>
        <p:spPr>
          <a:xfrm>
            <a:off x="4880367" y="3655171"/>
            <a:ext cx="306489" cy="172878"/>
          </a:xfrm>
          <a:prstGeom prst="roundRect">
            <a:avLst>
              <a:gd name="adj" fmla="val 36364"/>
            </a:avLst>
          </a:prstGeom>
          <a:solidFill>
            <a:srgbClr val="F2C6C4"/>
          </a:solidFill>
          <a:ln w="63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MCD</a:t>
            </a:r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41EDE4D5-56AF-91A4-365C-A6870358B4F5}"/>
              </a:ext>
            </a:extLst>
          </p:cNvPr>
          <p:cNvSpPr/>
          <p:nvPr/>
        </p:nvSpPr>
        <p:spPr>
          <a:xfrm>
            <a:off x="5211361" y="3655171"/>
            <a:ext cx="306489" cy="172878"/>
          </a:xfrm>
          <a:prstGeom prst="roundRect">
            <a:avLst>
              <a:gd name="adj" fmla="val 36364"/>
            </a:avLst>
          </a:prstGeom>
          <a:solidFill>
            <a:srgbClr val="FBDEC1"/>
          </a:solidFill>
          <a:ln w="63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EZB</a:t>
            </a:r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86D2B530-0493-52F3-8A24-20C14CAE41D7}"/>
              </a:ext>
            </a:extLst>
          </p:cNvPr>
          <p:cNvSpPr/>
          <p:nvPr/>
        </p:nvSpPr>
        <p:spPr>
          <a:xfrm>
            <a:off x="5511398" y="3655171"/>
            <a:ext cx="306489" cy="172878"/>
          </a:xfrm>
          <a:prstGeom prst="roundRect">
            <a:avLst>
              <a:gd name="adj" fmla="val 36364"/>
            </a:avLst>
          </a:prstGeom>
          <a:solidFill>
            <a:srgbClr val="D1E6D4"/>
          </a:solidFill>
          <a:ln w="63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T2</a:t>
            </a:r>
          </a:p>
        </p:txBody>
      </p:sp>
      <p:sp>
        <p:nvSpPr>
          <p:cNvPr id="57" name="Rectangle: Rounded Corners 56">
            <a:extLst>
              <a:ext uri="{FF2B5EF4-FFF2-40B4-BE49-F238E27FC236}">
                <a16:creationId xmlns:a16="http://schemas.microsoft.com/office/drawing/2014/main" id="{8F07F0B0-5331-A717-102F-7107FE5C77E6}"/>
              </a:ext>
            </a:extLst>
          </p:cNvPr>
          <p:cNvSpPr/>
          <p:nvPr/>
        </p:nvSpPr>
        <p:spPr>
          <a:xfrm>
            <a:off x="5894779" y="3655171"/>
            <a:ext cx="306489" cy="172878"/>
          </a:xfrm>
          <a:prstGeom prst="roundRect">
            <a:avLst>
              <a:gd name="adj" fmla="val 36364"/>
            </a:avLst>
          </a:prstGeom>
          <a:solidFill>
            <a:srgbClr val="D2DFF0"/>
          </a:solidFill>
          <a:ln w="63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53</a:t>
            </a:r>
          </a:p>
        </p:txBody>
      </p:sp>
      <p:sp>
        <p:nvSpPr>
          <p:cNvPr id="60" name="Rectangle: Rounded Corners 59">
            <a:extLst>
              <a:ext uri="{FF2B5EF4-FFF2-40B4-BE49-F238E27FC236}">
                <a16:creationId xmlns:a16="http://schemas.microsoft.com/office/drawing/2014/main" id="{4DC7498E-5FBC-24C0-81A8-6033C20DAFC1}"/>
              </a:ext>
            </a:extLst>
          </p:cNvPr>
          <p:cNvSpPr/>
          <p:nvPr/>
        </p:nvSpPr>
        <p:spPr>
          <a:xfrm>
            <a:off x="6266255" y="3655171"/>
            <a:ext cx="306489" cy="172878"/>
          </a:xfrm>
          <a:prstGeom prst="roundRect">
            <a:avLst>
              <a:gd name="adj" fmla="val 36364"/>
            </a:avLst>
          </a:prstGeom>
          <a:solidFill>
            <a:srgbClr val="DCCDE4"/>
          </a:solidFill>
          <a:ln w="63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BN2</a:t>
            </a:r>
          </a:p>
        </p:txBody>
      </p:sp>
      <p:sp>
        <p:nvSpPr>
          <p:cNvPr id="1035" name="Rectangle: Rounded Corners 1034">
            <a:extLst>
              <a:ext uri="{FF2B5EF4-FFF2-40B4-BE49-F238E27FC236}">
                <a16:creationId xmlns:a16="http://schemas.microsoft.com/office/drawing/2014/main" id="{4085C87B-0B68-3973-3B32-B58BCE9F17CB}"/>
              </a:ext>
            </a:extLst>
          </p:cNvPr>
          <p:cNvSpPr/>
          <p:nvPr/>
        </p:nvSpPr>
        <p:spPr>
          <a:xfrm>
            <a:off x="6602011" y="3655171"/>
            <a:ext cx="306489" cy="172878"/>
          </a:xfrm>
          <a:prstGeom prst="roundRect">
            <a:avLst>
              <a:gd name="adj" fmla="val 36364"/>
            </a:avLst>
          </a:prstGeom>
          <a:solidFill>
            <a:srgbClr val="DBDBDB"/>
          </a:solidFill>
          <a:ln w="63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Other</a:t>
            </a:r>
          </a:p>
        </p:txBody>
      </p:sp>
      <p:sp>
        <p:nvSpPr>
          <p:cNvPr id="1036" name="Text 13">
            <a:extLst>
              <a:ext uri="{FF2B5EF4-FFF2-40B4-BE49-F238E27FC236}">
                <a16:creationId xmlns:a16="http://schemas.microsoft.com/office/drawing/2014/main" id="{7167096D-1280-ED19-29D2-C5E8456CE3CA}"/>
              </a:ext>
            </a:extLst>
          </p:cNvPr>
          <p:cNvSpPr/>
          <p:nvPr/>
        </p:nvSpPr>
        <p:spPr>
          <a:xfrm>
            <a:off x="4024070" y="3650170"/>
            <a:ext cx="783763" cy="1828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err="1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Arial" pitchFamily="34" charset="-122"/>
                <a:cs typeface="Arial" pitchFamily="34" charset="-120"/>
              </a:rPr>
              <a:t>LymphGen</a:t>
            </a: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38" name="Text 13">
            <a:extLst>
              <a:ext uri="{FF2B5EF4-FFF2-40B4-BE49-F238E27FC236}">
                <a16:creationId xmlns:a16="http://schemas.microsoft.com/office/drawing/2014/main" id="{1CC25C7E-BCF0-B5AE-04A8-ED4F7D0D80BE}"/>
              </a:ext>
            </a:extLst>
          </p:cNvPr>
          <p:cNvSpPr/>
          <p:nvPr/>
        </p:nvSpPr>
        <p:spPr>
          <a:xfrm>
            <a:off x="4024070" y="4102608"/>
            <a:ext cx="783763" cy="1828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err="1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Arial" pitchFamily="34" charset="-122"/>
                <a:cs typeface="Arial" pitchFamily="34" charset="-120"/>
              </a:rPr>
              <a:t>DLBClass</a:t>
            </a: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44" name="Text 13">
            <a:extLst>
              <a:ext uri="{FF2B5EF4-FFF2-40B4-BE49-F238E27FC236}">
                <a16:creationId xmlns:a16="http://schemas.microsoft.com/office/drawing/2014/main" id="{369C9BE9-A54C-375A-F2F2-908D9989D323}"/>
              </a:ext>
            </a:extLst>
          </p:cNvPr>
          <p:cNvSpPr/>
          <p:nvPr/>
        </p:nvSpPr>
        <p:spPr>
          <a:xfrm>
            <a:off x="5140876" y="4471700"/>
            <a:ext cx="1551472" cy="1828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Arial" pitchFamily="34" charset="-122"/>
                <a:cs typeface="Arial" pitchFamily="34" charset="-120"/>
              </a:rPr>
              <a:t>Genetic subtyping</a:t>
            </a:r>
            <a:endParaRPr kumimoji="0" lang="en-GB" sz="1200" b="1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45" name="Text 13">
            <a:extLst>
              <a:ext uri="{FF2B5EF4-FFF2-40B4-BE49-F238E27FC236}">
                <a16:creationId xmlns:a16="http://schemas.microsoft.com/office/drawing/2014/main" id="{90EBE486-9907-25AE-8A67-E225B15A1D87}"/>
              </a:ext>
            </a:extLst>
          </p:cNvPr>
          <p:cNvSpPr/>
          <p:nvPr/>
        </p:nvSpPr>
        <p:spPr>
          <a:xfrm>
            <a:off x="4024070" y="4962239"/>
            <a:ext cx="783763" cy="1828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Arial" pitchFamily="34" charset="-122"/>
                <a:cs typeface="Arial" pitchFamily="34" charset="-120"/>
              </a:rPr>
              <a:t>Clinical impact</a:t>
            </a: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46" name="Text 13">
            <a:extLst>
              <a:ext uri="{FF2B5EF4-FFF2-40B4-BE49-F238E27FC236}">
                <a16:creationId xmlns:a16="http://schemas.microsoft.com/office/drawing/2014/main" id="{DC435254-5573-7254-6A41-0E541153948C}"/>
              </a:ext>
            </a:extLst>
          </p:cNvPr>
          <p:cNvSpPr/>
          <p:nvPr/>
        </p:nvSpPr>
        <p:spPr>
          <a:xfrm>
            <a:off x="4645575" y="5376576"/>
            <a:ext cx="851937" cy="1828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Arial" pitchFamily="34" charset="-122"/>
                <a:cs typeface="Arial" pitchFamily="34" charset="-120"/>
              </a:rPr>
              <a:t>Risk stratification</a:t>
            </a:r>
            <a:endParaRPr kumimoji="0" lang="en-GB" sz="900" b="1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47" name="Text 13">
            <a:extLst>
              <a:ext uri="{FF2B5EF4-FFF2-40B4-BE49-F238E27FC236}">
                <a16:creationId xmlns:a16="http://schemas.microsoft.com/office/drawing/2014/main" id="{BAE28FC1-5D45-DDA0-6E2D-81F622EB926A}"/>
              </a:ext>
            </a:extLst>
          </p:cNvPr>
          <p:cNvSpPr/>
          <p:nvPr/>
        </p:nvSpPr>
        <p:spPr>
          <a:xfrm>
            <a:off x="5441798" y="5376576"/>
            <a:ext cx="851937" cy="1828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Arial" pitchFamily="34" charset="-122"/>
                <a:cs typeface="Arial" pitchFamily="34" charset="-120"/>
              </a:rPr>
              <a:t>Biology-guided clinical trials</a:t>
            </a:r>
            <a:endParaRPr kumimoji="0" lang="en-GB" sz="900" b="1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48" name="Text 13">
            <a:extLst>
              <a:ext uri="{FF2B5EF4-FFF2-40B4-BE49-F238E27FC236}">
                <a16:creationId xmlns:a16="http://schemas.microsoft.com/office/drawing/2014/main" id="{26556760-A314-CBF0-5C54-BB7CF5C652C3}"/>
              </a:ext>
            </a:extLst>
          </p:cNvPr>
          <p:cNvSpPr/>
          <p:nvPr/>
        </p:nvSpPr>
        <p:spPr>
          <a:xfrm>
            <a:off x="6246660" y="5376576"/>
            <a:ext cx="851937" cy="1828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Arial" pitchFamily="34" charset="-122"/>
                <a:cs typeface="Arial" pitchFamily="34" charset="-120"/>
              </a:rPr>
              <a:t>Tailored treatment</a:t>
            </a:r>
            <a:endParaRPr kumimoji="0" lang="en-GB" sz="900" b="1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049" name="Connector: Curved 1048">
            <a:extLst>
              <a:ext uri="{FF2B5EF4-FFF2-40B4-BE49-F238E27FC236}">
                <a16:creationId xmlns:a16="http://schemas.microsoft.com/office/drawing/2014/main" id="{55F2CFB4-155C-A464-9BB0-D8EBEF7E6500}"/>
              </a:ext>
            </a:extLst>
          </p:cNvPr>
          <p:cNvCxnSpPr>
            <a:cxnSpLocks/>
            <a:stCxn id="35" idx="4"/>
            <a:endCxn id="38" idx="0"/>
          </p:cNvCxnSpPr>
          <p:nvPr/>
        </p:nvCxnSpPr>
        <p:spPr>
          <a:xfrm rot="5400000">
            <a:off x="5336647" y="3135926"/>
            <a:ext cx="216210" cy="822280"/>
          </a:xfrm>
          <a:prstGeom prst="curvedConnector3">
            <a:avLst/>
          </a:prstGeom>
          <a:ln w="6350">
            <a:solidFill>
              <a:schemeClr val="tx2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50" name="Connector: Curved 1049">
            <a:extLst>
              <a:ext uri="{FF2B5EF4-FFF2-40B4-BE49-F238E27FC236}">
                <a16:creationId xmlns:a16="http://schemas.microsoft.com/office/drawing/2014/main" id="{F72FE5B6-3F2F-9F00-6898-BD559FE530B1}"/>
              </a:ext>
            </a:extLst>
          </p:cNvPr>
          <p:cNvCxnSpPr>
            <a:cxnSpLocks/>
            <a:stCxn id="35" idx="4"/>
            <a:endCxn id="39" idx="0"/>
          </p:cNvCxnSpPr>
          <p:nvPr/>
        </p:nvCxnSpPr>
        <p:spPr>
          <a:xfrm rot="5400000">
            <a:off x="5502144" y="3301423"/>
            <a:ext cx="216210" cy="491286"/>
          </a:xfrm>
          <a:prstGeom prst="curvedConnector3">
            <a:avLst>
              <a:gd name="adj1" fmla="val 50000"/>
            </a:avLst>
          </a:prstGeom>
          <a:ln w="6350">
            <a:solidFill>
              <a:schemeClr val="tx2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51" name="Connector: Curved 1050">
            <a:extLst>
              <a:ext uri="{FF2B5EF4-FFF2-40B4-BE49-F238E27FC236}">
                <a16:creationId xmlns:a16="http://schemas.microsoft.com/office/drawing/2014/main" id="{BC5E80EF-7387-0E92-AE0D-B4221E47BE47}"/>
              </a:ext>
            </a:extLst>
          </p:cNvPr>
          <p:cNvCxnSpPr>
            <a:cxnSpLocks/>
            <a:stCxn id="35" idx="4"/>
            <a:endCxn id="40" idx="0"/>
          </p:cNvCxnSpPr>
          <p:nvPr/>
        </p:nvCxnSpPr>
        <p:spPr>
          <a:xfrm rot="5400000">
            <a:off x="5652163" y="3451442"/>
            <a:ext cx="216210" cy="191249"/>
          </a:xfrm>
          <a:prstGeom prst="curvedConnector3">
            <a:avLst>
              <a:gd name="adj1" fmla="val 50000"/>
            </a:avLst>
          </a:prstGeom>
          <a:ln w="6350">
            <a:solidFill>
              <a:schemeClr val="tx2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52" name="Connector: Curved 1051">
            <a:extLst>
              <a:ext uri="{FF2B5EF4-FFF2-40B4-BE49-F238E27FC236}">
                <a16:creationId xmlns:a16="http://schemas.microsoft.com/office/drawing/2014/main" id="{F961054A-653A-5DFB-0870-CD0C8BE9309B}"/>
              </a:ext>
            </a:extLst>
          </p:cNvPr>
          <p:cNvCxnSpPr>
            <a:cxnSpLocks/>
            <a:stCxn id="35" idx="4"/>
            <a:endCxn id="57" idx="0"/>
          </p:cNvCxnSpPr>
          <p:nvPr/>
        </p:nvCxnSpPr>
        <p:spPr>
          <a:xfrm rot="16200000" flipH="1">
            <a:off x="5843853" y="3451000"/>
            <a:ext cx="216210" cy="192132"/>
          </a:xfrm>
          <a:prstGeom prst="curvedConnector3">
            <a:avLst>
              <a:gd name="adj1" fmla="val 50000"/>
            </a:avLst>
          </a:prstGeom>
          <a:ln w="6350">
            <a:solidFill>
              <a:schemeClr val="tx2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53" name="Connector: Curved 1052">
            <a:extLst>
              <a:ext uri="{FF2B5EF4-FFF2-40B4-BE49-F238E27FC236}">
                <a16:creationId xmlns:a16="http://schemas.microsoft.com/office/drawing/2014/main" id="{779A4077-AE44-69F9-CD16-1AB63F6AE06F}"/>
              </a:ext>
            </a:extLst>
          </p:cNvPr>
          <p:cNvCxnSpPr>
            <a:cxnSpLocks/>
            <a:stCxn id="35" idx="4"/>
            <a:endCxn id="60" idx="0"/>
          </p:cNvCxnSpPr>
          <p:nvPr/>
        </p:nvCxnSpPr>
        <p:spPr>
          <a:xfrm rot="16200000" flipH="1">
            <a:off x="6029591" y="3265262"/>
            <a:ext cx="216210" cy="563608"/>
          </a:xfrm>
          <a:prstGeom prst="curvedConnector3">
            <a:avLst>
              <a:gd name="adj1" fmla="val 50000"/>
            </a:avLst>
          </a:prstGeom>
          <a:ln w="6350">
            <a:solidFill>
              <a:schemeClr val="tx2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54" name="Connector: Curved 1053">
            <a:extLst>
              <a:ext uri="{FF2B5EF4-FFF2-40B4-BE49-F238E27FC236}">
                <a16:creationId xmlns:a16="http://schemas.microsoft.com/office/drawing/2014/main" id="{ED3DDBB9-7C05-D9C3-A9C6-D6EEC29BCB0A}"/>
              </a:ext>
            </a:extLst>
          </p:cNvPr>
          <p:cNvCxnSpPr>
            <a:cxnSpLocks/>
            <a:stCxn id="35" idx="4"/>
            <a:endCxn id="1035" idx="0"/>
          </p:cNvCxnSpPr>
          <p:nvPr/>
        </p:nvCxnSpPr>
        <p:spPr>
          <a:xfrm rot="16200000" flipH="1">
            <a:off x="6197469" y="3097384"/>
            <a:ext cx="216210" cy="899364"/>
          </a:xfrm>
          <a:prstGeom prst="curvedConnector3">
            <a:avLst>
              <a:gd name="adj1" fmla="val 50000"/>
            </a:avLst>
          </a:prstGeom>
          <a:ln w="6350">
            <a:solidFill>
              <a:schemeClr val="tx2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055" name="Group 1054">
            <a:extLst>
              <a:ext uri="{FF2B5EF4-FFF2-40B4-BE49-F238E27FC236}">
                <a16:creationId xmlns:a16="http://schemas.microsoft.com/office/drawing/2014/main" id="{1E50C095-ABB0-1CD6-0BA8-440E561562D2}"/>
              </a:ext>
            </a:extLst>
          </p:cNvPr>
          <p:cNvGrpSpPr>
            <a:grpSpLocks noChangeAspect="1"/>
          </p:cNvGrpSpPr>
          <p:nvPr/>
        </p:nvGrpSpPr>
        <p:grpSpPr>
          <a:xfrm rot="2938125">
            <a:off x="5061417" y="4046716"/>
            <a:ext cx="87490" cy="210070"/>
            <a:chOff x="704611" y="1456658"/>
            <a:chExt cx="199531" cy="479091"/>
          </a:xfrm>
        </p:grpSpPr>
        <p:grpSp>
          <p:nvGrpSpPr>
            <p:cNvPr id="1056" name="Group 1055">
              <a:extLst>
                <a:ext uri="{FF2B5EF4-FFF2-40B4-BE49-F238E27FC236}">
                  <a16:creationId xmlns:a16="http://schemas.microsoft.com/office/drawing/2014/main" id="{B381055E-8288-4B3C-5EBB-3FAD3294E070}"/>
                </a:ext>
              </a:extLst>
            </p:cNvPr>
            <p:cNvGrpSpPr/>
            <p:nvPr/>
          </p:nvGrpSpPr>
          <p:grpSpPr>
            <a:xfrm flipH="1">
              <a:off x="705120" y="1456658"/>
              <a:ext cx="199022" cy="479091"/>
              <a:chOff x="3767341" y="2244425"/>
              <a:chExt cx="585304" cy="1408966"/>
            </a:xfrm>
            <a:noFill/>
          </p:grpSpPr>
          <p:sp>
            <p:nvSpPr>
              <p:cNvPr id="1062" name="Freeform: Shape 91">
                <a:extLst>
                  <a:ext uri="{FF2B5EF4-FFF2-40B4-BE49-F238E27FC236}">
                    <a16:creationId xmlns:a16="http://schemas.microsoft.com/office/drawing/2014/main" id="{0E1532BE-298B-390E-5C6F-844A8BF1B972}"/>
                  </a:ext>
                </a:extLst>
              </p:cNvPr>
              <p:cNvSpPr/>
              <p:nvPr/>
            </p:nvSpPr>
            <p:spPr>
              <a:xfrm rot="4837695" flipH="1">
                <a:off x="3572300" y="2502917"/>
                <a:ext cx="1016473" cy="499490"/>
              </a:xfrm>
              <a:custGeom>
                <a:avLst/>
                <a:gdLst>
                  <a:gd name="connsiteX0" fmla="*/ 0 w 2617365"/>
                  <a:gd name="connsiteY0" fmla="*/ 939567 h 939567"/>
                  <a:gd name="connsiteX1" fmla="*/ 922789 w 2617365"/>
                  <a:gd name="connsiteY1" fmla="*/ 16778 h 939567"/>
                  <a:gd name="connsiteX2" fmla="*/ 1761688 w 2617365"/>
                  <a:gd name="connsiteY2" fmla="*/ 855677 h 939567"/>
                  <a:gd name="connsiteX3" fmla="*/ 2617365 w 2617365"/>
                  <a:gd name="connsiteY3" fmla="*/ 0 h 939567"/>
                  <a:gd name="connsiteX0" fmla="*/ 27 w 2617392"/>
                  <a:gd name="connsiteY0" fmla="*/ 939567 h 939567"/>
                  <a:gd name="connsiteX1" fmla="*/ 922816 w 2617392"/>
                  <a:gd name="connsiteY1" fmla="*/ 16778 h 939567"/>
                  <a:gd name="connsiteX2" fmla="*/ 1761715 w 2617392"/>
                  <a:gd name="connsiteY2" fmla="*/ 855677 h 939567"/>
                  <a:gd name="connsiteX3" fmla="*/ 2617392 w 2617392"/>
                  <a:gd name="connsiteY3" fmla="*/ 0 h 939567"/>
                  <a:gd name="connsiteX0" fmla="*/ 27 w 2617392"/>
                  <a:gd name="connsiteY0" fmla="*/ 939567 h 939567"/>
                  <a:gd name="connsiteX1" fmla="*/ 922816 w 2617392"/>
                  <a:gd name="connsiteY1" fmla="*/ 16778 h 939567"/>
                  <a:gd name="connsiteX2" fmla="*/ 1761715 w 2617392"/>
                  <a:gd name="connsiteY2" fmla="*/ 855677 h 939567"/>
                  <a:gd name="connsiteX3" fmla="*/ 2617392 w 2617392"/>
                  <a:gd name="connsiteY3" fmla="*/ 0 h 939567"/>
                  <a:gd name="connsiteX0" fmla="*/ 33 w 2617398"/>
                  <a:gd name="connsiteY0" fmla="*/ 939567 h 939567"/>
                  <a:gd name="connsiteX1" fmla="*/ 922822 w 2617398"/>
                  <a:gd name="connsiteY1" fmla="*/ 16778 h 939567"/>
                  <a:gd name="connsiteX2" fmla="*/ 1761721 w 2617398"/>
                  <a:gd name="connsiteY2" fmla="*/ 855677 h 939567"/>
                  <a:gd name="connsiteX3" fmla="*/ 2617398 w 2617398"/>
                  <a:gd name="connsiteY3" fmla="*/ 0 h 939567"/>
                  <a:gd name="connsiteX0" fmla="*/ 33 w 2617398"/>
                  <a:gd name="connsiteY0" fmla="*/ 939567 h 939567"/>
                  <a:gd name="connsiteX1" fmla="*/ 922822 w 2617398"/>
                  <a:gd name="connsiteY1" fmla="*/ 16778 h 939567"/>
                  <a:gd name="connsiteX2" fmla="*/ 1761721 w 2617398"/>
                  <a:gd name="connsiteY2" fmla="*/ 855677 h 939567"/>
                  <a:gd name="connsiteX3" fmla="*/ 2617398 w 2617398"/>
                  <a:gd name="connsiteY3" fmla="*/ 0 h 939567"/>
                  <a:gd name="connsiteX0" fmla="*/ 45 w 2617410"/>
                  <a:gd name="connsiteY0" fmla="*/ 939567 h 939567"/>
                  <a:gd name="connsiteX1" fmla="*/ 793294 w 2617410"/>
                  <a:gd name="connsiteY1" fmla="*/ 161558 h 939567"/>
                  <a:gd name="connsiteX2" fmla="*/ 1761733 w 2617410"/>
                  <a:gd name="connsiteY2" fmla="*/ 855677 h 939567"/>
                  <a:gd name="connsiteX3" fmla="*/ 2617410 w 2617410"/>
                  <a:gd name="connsiteY3" fmla="*/ 0 h 939567"/>
                  <a:gd name="connsiteX0" fmla="*/ 45 w 2617410"/>
                  <a:gd name="connsiteY0" fmla="*/ 939567 h 939567"/>
                  <a:gd name="connsiteX1" fmla="*/ 793294 w 2617410"/>
                  <a:gd name="connsiteY1" fmla="*/ 161558 h 939567"/>
                  <a:gd name="connsiteX2" fmla="*/ 1761733 w 2617410"/>
                  <a:gd name="connsiteY2" fmla="*/ 855677 h 939567"/>
                  <a:gd name="connsiteX3" fmla="*/ 2617410 w 2617410"/>
                  <a:gd name="connsiteY3" fmla="*/ 0 h 939567"/>
                  <a:gd name="connsiteX0" fmla="*/ 35 w 2617400"/>
                  <a:gd name="connsiteY0" fmla="*/ 939567 h 939567"/>
                  <a:gd name="connsiteX1" fmla="*/ 793284 w 2617400"/>
                  <a:gd name="connsiteY1" fmla="*/ 161558 h 939567"/>
                  <a:gd name="connsiteX2" fmla="*/ 1799823 w 2617400"/>
                  <a:gd name="connsiteY2" fmla="*/ 928067 h 939567"/>
                  <a:gd name="connsiteX3" fmla="*/ 2617400 w 2617400"/>
                  <a:gd name="connsiteY3" fmla="*/ 0 h 939567"/>
                  <a:gd name="connsiteX0" fmla="*/ 35 w 2617400"/>
                  <a:gd name="connsiteY0" fmla="*/ 939567 h 939567"/>
                  <a:gd name="connsiteX1" fmla="*/ 793284 w 2617400"/>
                  <a:gd name="connsiteY1" fmla="*/ 161558 h 939567"/>
                  <a:gd name="connsiteX2" fmla="*/ 1799823 w 2617400"/>
                  <a:gd name="connsiteY2" fmla="*/ 928067 h 939567"/>
                  <a:gd name="connsiteX3" fmla="*/ 2617400 w 2617400"/>
                  <a:gd name="connsiteY3" fmla="*/ 0 h 939567"/>
                  <a:gd name="connsiteX0" fmla="*/ 54 w 2617419"/>
                  <a:gd name="connsiteY0" fmla="*/ 939567 h 939567"/>
                  <a:gd name="connsiteX1" fmla="*/ 793303 w 2617419"/>
                  <a:gd name="connsiteY1" fmla="*/ 161558 h 939567"/>
                  <a:gd name="connsiteX2" fmla="*/ 1799842 w 2617419"/>
                  <a:gd name="connsiteY2" fmla="*/ 928067 h 939567"/>
                  <a:gd name="connsiteX3" fmla="*/ 2617419 w 2617419"/>
                  <a:gd name="connsiteY3" fmla="*/ 0 h 939567"/>
                  <a:gd name="connsiteX0" fmla="*/ 54 w 2602179"/>
                  <a:gd name="connsiteY0" fmla="*/ 778016 h 778016"/>
                  <a:gd name="connsiteX1" fmla="*/ 793303 w 2602179"/>
                  <a:gd name="connsiteY1" fmla="*/ 7 h 778016"/>
                  <a:gd name="connsiteX2" fmla="*/ 1799842 w 2602179"/>
                  <a:gd name="connsiteY2" fmla="*/ 766516 h 778016"/>
                  <a:gd name="connsiteX3" fmla="*/ 2602179 w 2602179"/>
                  <a:gd name="connsiteY3" fmla="*/ 28949 h 778016"/>
                  <a:gd name="connsiteX0" fmla="*/ 54 w 2438349"/>
                  <a:gd name="connsiteY0" fmla="*/ 778016 h 1419810"/>
                  <a:gd name="connsiteX1" fmla="*/ 793303 w 2438349"/>
                  <a:gd name="connsiteY1" fmla="*/ 7 h 1419810"/>
                  <a:gd name="connsiteX2" fmla="*/ 1799842 w 2438349"/>
                  <a:gd name="connsiteY2" fmla="*/ 766516 h 1419810"/>
                  <a:gd name="connsiteX3" fmla="*/ 2438349 w 2438349"/>
                  <a:gd name="connsiteY3" fmla="*/ 1309109 h 1419810"/>
                  <a:gd name="connsiteX0" fmla="*/ 54 w 2438349"/>
                  <a:gd name="connsiteY0" fmla="*/ 778016 h 1309109"/>
                  <a:gd name="connsiteX1" fmla="*/ 793303 w 2438349"/>
                  <a:gd name="connsiteY1" fmla="*/ 7 h 1309109"/>
                  <a:gd name="connsiteX2" fmla="*/ 1799842 w 2438349"/>
                  <a:gd name="connsiteY2" fmla="*/ 766516 h 1309109"/>
                  <a:gd name="connsiteX3" fmla="*/ 2438349 w 2438349"/>
                  <a:gd name="connsiteY3" fmla="*/ 1309109 h 1309109"/>
                  <a:gd name="connsiteX0" fmla="*/ 33 w 2438328"/>
                  <a:gd name="connsiteY0" fmla="*/ 778361 h 1309454"/>
                  <a:gd name="connsiteX1" fmla="*/ 793282 w 2438328"/>
                  <a:gd name="connsiteY1" fmla="*/ 352 h 1309454"/>
                  <a:gd name="connsiteX2" fmla="*/ 1628371 w 2438328"/>
                  <a:gd name="connsiteY2" fmla="*/ 686851 h 1309454"/>
                  <a:gd name="connsiteX3" fmla="*/ 2438328 w 2438328"/>
                  <a:gd name="connsiteY3" fmla="*/ 1309454 h 1309454"/>
                  <a:gd name="connsiteX0" fmla="*/ 33 w 2438328"/>
                  <a:gd name="connsiteY0" fmla="*/ 778494 h 1309587"/>
                  <a:gd name="connsiteX1" fmla="*/ 793282 w 2438328"/>
                  <a:gd name="connsiteY1" fmla="*/ 485 h 1309587"/>
                  <a:gd name="connsiteX2" fmla="*/ 1628371 w 2438328"/>
                  <a:gd name="connsiteY2" fmla="*/ 686984 h 1309587"/>
                  <a:gd name="connsiteX3" fmla="*/ 2438328 w 2438328"/>
                  <a:gd name="connsiteY3" fmla="*/ 1309587 h 1309587"/>
                  <a:gd name="connsiteX0" fmla="*/ 27 w 2556432"/>
                  <a:gd name="connsiteY0" fmla="*/ 671344 h 1309117"/>
                  <a:gd name="connsiteX1" fmla="*/ 911386 w 2556432"/>
                  <a:gd name="connsiteY1" fmla="*/ 15 h 1309117"/>
                  <a:gd name="connsiteX2" fmla="*/ 1746475 w 2556432"/>
                  <a:gd name="connsiteY2" fmla="*/ 686514 h 1309117"/>
                  <a:gd name="connsiteX3" fmla="*/ 2556432 w 2556432"/>
                  <a:gd name="connsiteY3" fmla="*/ 1309117 h 1309117"/>
                  <a:gd name="connsiteX0" fmla="*/ 0 w 2556405"/>
                  <a:gd name="connsiteY0" fmla="*/ 671347 h 1309120"/>
                  <a:gd name="connsiteX1" fmla="*/ 911359 w 2556405"/>
                  <a:gd name="connsiteY1" fmla="*/ 18 h 1309120"/>
                  <a:gd name="connsiteX2" fmla="*/ 1746448 w 2556405"/>
                  <a:gd name="connsiteY2" fmla="*/ 686517 h 1309120"/>
                  <a:gd name="connsiteX3" fmla="*/ 2556405 w 2556405"/>
                  <a:gd name="connsiteY3" fmla="*/ 1309120 h 1309120"/>
                  <a:gd name="connsiteX0" fmla="*/ 0 w 2556405"/>
                  <a:gd name="connsiteY0" fmla="*/ 672485 h 1310258"/>
                  <a:gd name="connsiteX1" fmla="*/ 911359 w 2556405"/>
                  <a:gd name="connsiteY1" fmla="*/ 1156 h 1310258"/>
                  <a:gd name="connsiteX2" fmla="*/ 1746448 w 2556405"/>
                  <a:gd name="connsiteY2" fmla="*/ 687655 h 1310258"/>
                  <a:gd name="connsiteX3" fmla="*/ 2556405 w 2556405"/>
                  <a:gd name="connsiteY3" fmla="*/ 1310258 h 1310258"/>
                  <a:gd name="connsiteX0" fmla="*/ 0 w 2556405"/>
                  <a:gd name="connsiteY0" fmla="*/ 672432 h 1310205"/>
                  <a:gd name="connsiteX1" fmla="*/ 911359 w 2556405"/>
                  <a:gd name="connsiteY1" fmla="*/ 1103 h 1310205"/>
                  <a:gd name="connsiteX2" fmla="*/ 1746448 w 2556405"/>
                  <a:gd name="connsiteY2" fmla="*/ 687602 h 1310205"/>
                  <a:gd name="connsiteX3" fmla="*/ 2556405 w 2556405"/>
                  <a:gd name="connsiteY3" fmla="*/ 1310205 h 1310205"/>
                  <a:gd name="connsiteX0" fmla="*/ 0 w 2556405"/>
                  <a:gd name="connsiteY0" fmla="*/ 672432 h 1310205"/>
                  <a:gd name="connsiteX1" fmla="*/ 778009 w 2556405"/>
                  <a:gd name="connsiteY1" fmla="*/ 1103 h 1310205"/>
                  <a:gd name="connsiteX2" fmla="*/ 1746448 w 2556405"/>
                  <a:gd name="connsiteY2" fmla="*/ 687602 h 1310205"/>
                  <a:gd name="connsiteX3" fmla="*/ 2556405 w 2556405"/>
                  <a:gd name="connsiteY3" fmla="*/ 1310205 h 1310205"/>
                  <a:gd name="connsiteX0" fmla="*/ 0 w 2556405"/>
                  <a:gd name="connsiteY0" fmla="*/ 672186 h 1309959"/>
                  <a:gd name="connsiteX1" fmla="*/ 778009 w 2556405"/>
                  <a:gd name="connsiteY1" fmla="*/ 857 h 1309959"/>
                  <a:gd name="connsiteX2" fmla="*/ 1746448 w 2556405"/>
                  <a:gd name="connsiteY2" fmla="*/ 687356 h 1309959"/>
                  <a:gd name="connsiteX3" fmla="*/ 2556405 w 2556405"/>
                  <a:gd name="connsiteY3" fmla="*/ 1309959 h 1309959"/>
                  <a:gd name="connsiteX0" fmla="*/ 0 w 2556405"/>
                  <a:gd name="connsiteY0" fmla="*/ 671347 h 1309120"/>
                  <a:gd name="connsiteX1" fmla="*/ 778009 w 2556405"/>
                  <a:gd name="connsiteY1" fmla="*/ 18 h 1309120"/>
                  <a:gd name="connsiteX2" fmla="*/ 1746448 w 2556405"/>
                  <a:gd name="connsiteY2" fmla="*/ 686517 h 1309120"/>
                  <a:gd name="connsiteX3" fmla="*/ 2556405 w 2556405"/>
                  <a:gd name="connsiteY3" fmla="*/ 1309120 h 1309120"/>
                  <a:gd name="connsiteX0" fmla="*/ 0 w 2556405"/>
                  <a:gd name="connsiteY0" fmla="*/ 671340 h 1309113"/>
                  <a:gd name="connsiteX1" fmla="*/ 778009 w 2556405"/>
                  <a:gd name="connsiteY1" fmla="*/ 11 h 1309113"/>
                  <a:gd name="connsiteX2" fmla="*/ 1746448 w 2556405"/>
                  <a:gd name="connsiteY2" fmla="*/ 686510 h 1309113"/>
                  <a:gd name="connsiteX3" fmla="*/ 2556405 w 2556405"/>
                  <a:gd name="connsiteY3" fmla="*/ 1309113 h 1309113"/>
                  <a:gd name="connsiteX0" fmla="*/ 0 w 2556405"/>
                  <a:gd name="connsiteY0" fmla="*/ 671340 h 1309113"/>
                  <a:gd name="connsiteX1" fmla="*/ 778009 w 2556405"/>
                  <a:gd name="connsiteY1" fmla="*/ 11 h 1309113"/>
                  <a:gd name="connsiteX2" fmla="*/ 1746448 w 2556405"/>
                  <a:gd name="connsiteY2" fmla="*/ 686510 h 1309113"/>
                  <a:gd name="connsiteX3" fmla="*/ 2556405 w 2556405"/>
                  <a:gd name="connsiteY3" fmla="*/ 1309113 h 1309113"/>
                  <a:gd name="connsiteX0" fmla="*/ 1 w 2593711"/>
                  <a:gd name="connsiteY0" fmla="*/ 644434 h 1309189"/>
                  <a:gd name="connsiteX1" fmla="*/ 815315 w 2593711"/>
                  <a:gd name="connsiteY1" fmla="*/ 87 h 1309189"/>
                  <a:gd name="connsiteX2" fmla="*/ 1783754 w 2593711"/>
                  <a:gd name="connsiteY2" fmla="*/ 686586 h 1309189"/>
                  <a:gd name="connsiteX3" fmla="*/ 2593711 w 2593711"/>
                  <a:gd name="connsiteY3" fmla="*/ 1309189 h 1309189"/>
                  <a:gd name="connsiteX0" fmla="*/ 1 w 2593711"/>
                  <a:gd name="connsiteY0" fmla="*/ 644481 h 1309236"/>
                  <a:gd name="connsiteX1" fmla="*/ 815315 w 2593711"/>
                  <a:gd name="connsiteY1" fmla="*/ 134 h 1309236"/>
                  <a:gd name="connsiteX2" fmla="*/ 1783754 w 2593711"/>
                  <a:gd name="connsiteY2" fmla="*/ 686633 h 1309236"/>
                  <a:gd name="connsiteX3" fmla="*/ 2593711 w 2593711"/>
                  <a:gd name="connsiteY3" fmla="*/ 1309236 h 1309236"/>
                  <a:gd name="connsiteX0" fmla="*/ 1 w 2638506"/>
                  <a:gd name="connsiteY0" fmla="*/ 648155 h 1309212"/>
                  <a:gd name="connsiteX1" fmla="*/ 860110 w 2638506"/>
                  <a:gd name="connsiteY1" fmla="*/ 110 h 1309212"/>
                  <a:gd name="connsiteX2" fmla="*/ 1828549 w 2638506"/>
                  <a:gd name="connsiteY2" fmla="*/ 686609 h 1309212"/>
                  <a:gd name="connsiteX3" fmla="*/ 2638506 w 2638506"/>
                  <a:gd name="connsiteY3" fmla="*/ 1309212 h 1309212"/>
                  <a:gd name="connsiteX0" fmla="*/ 1 w 2638506"/>
                  <a:gd name="connsiteY0" fmla="*/ 648197 h 1309254"/>
                  <a:gd name="connsiteX1" fmla="*/ 860110 w 2638506"/>
                  <a:gd name="connsiteY1" fmla="*/ 152 h 1309254"/>
                  <a:gd name="connsiteX2" fmla="*/ 1828549 w 2638506"/>
                  <a:gd name="connsiteY2" fmla="*/ 686651 h 1309254"/>
                  <a:gd name="connsiteX3" fmla="*/ 2638506 w 2638506"/>
                  <a:gd name="connsiteY3" fmla="*/ 1309254 h 1309254"/>
                  <a:gd name="connsiteX0" fmla="*/ 1 w 2638506"/>
                  <a:gd name="connsiteY0" fmla="*/ 649974 h 1311031"/>
                  <a:gd name="connsiteX1" fmla="*/ 860110 w 2638506"/>
                  <a:gd name="connsiteY1" fmla="*/ 1929 h 1311031"/>
                  <a:gd name="connsiteX2" fmla="*/ 1828549 w 2638506"/>
                  <a:gd name="connsiteY2" fmla="*/ 688428 h 1311031"/>
                  <a:gd name="connsiteX3" fmla="*/ 2638506 w 2638506"/>
                  <a:gd name="connsiteY3" fmla="*/ 1311031 h 1311031"/>
                  <a:gd name="connsiteX0" fmla="*/ 1 w 2638506"/>
                  <a:gd name="connsiteY0" fmla="*/ 649607 h 1310664"/>
                  <a:gd name="connsiteX1" fmla="*/ 860110 w 2638506"/>
                  <a:gd name="connsiteY1" fmla="*/ 1562 h 1310664"/>
                  <a:gd name="connsiteX2" fmla="*/ 1828549 w 2638506"/>
                  <a:gd name="connsiteY2" fmla="*/ 688061 h 1310664"/>
                  <a:gd name="connsiteX3" fmla="*/ 2638506 w 2638506"/>
                  <a:gd name="connsiteY3" fmla="*/ 1310664 h 1310664"/>
                  <a:gd name="connsiteX0" fmla="*/ 1 w 2638506"/>
                  <a:gd name="connsiteY0" fmla="*/ 649193 h 1310250"/>
                  <a:gd name="connsiteX1" fmla="*/ 860110 w 2638506"/>
                  <a:gd name="connsiteY1" fmla="*/ 1148 h 1310250"/>
                  <a:gd name="connsiteX2" fmla="*/ 1828549 w 2638506"/>
                  <a:gd name="connsiteY2" fmla="*/ 687647 h 1310250"/>
                  <a:gd name="connsiteX3" fmla="*/ 2638506 w 2638506"/>
                  <a:gd name="connsiteY3" fmla="*/ 1310250 h 1310250"/>
                  <a:gd name="connsiteX0" fmla="*/ 1 w 2638506"/>
                  <a:gd name="connsiteY0" fmla="*/ 650609 h 1311666"/>
                  <a:gd name="connsiteX1" fmla="*/ 860110 w 2638506"/>
                  <a:gd name="connsiteY1" fmla="*/ 2564 h 1311666"/>
                  <a:gd name="connsiteX2" fmla="*/ 1828549 w 2638506"/>
                  <a:gd name="connsiteY2" fmla="*/ 689063 h 1311666"/>
                  <a:gd name="connsiteX3" fmla="*/ 2638506 w 2638506"/>
                  <a:gd name="connsiteY3" fmla="*/ 1311666 h 1311666"/>
                  <a:gd name="connsiteX0" fmla="*/ 1 w 2638506"/>
                  <a:gd name="connsiteY0" fmla="*/ 649841 h 1310898"/>
                  <a:gd name="connsiteX1" fmla="*/ 860110 w 2638506"/>
                  <a:gd name="connsiteY1" fmla="*/ 1796 h 1310898"/>
                  <a:gd name="connsiteX2" fmla="*/ 1828549 w 2638506"/>
                  <a:gd name="connsiteY2" fmla="*/ 688295 h 1310898"/>
                  <a:gd name="connsiteX3" fmla="*/ 2638506 w 2638506"/>
                  <a:gd name="connsiteY3" fmla="*/ 1310898 h 1310898"/>
                  <a:gd name="connsiteX0" fmla="*/ 1 w 2638506"/>
                  <a:gd name="connsiteY0" fmla="*/ 649841 h 1310898"/>
                  <a:gd name="connsiteX1" fmla="*/ 860110 w 2638506"/>
                  <a:gd name="connsiteY1" fmla="*/ 1796 h 1310898"/>
                  <a:gd name="connsiteX2" fmla="*/ 1828549 w 2638506"/>
                  <a:gd name="connsiteY2" fmla="*/ 688295 h 1310898"/>
                  <a:gd name="connsiteX3" fmla="*/ 2638506 w 2638506"/>
                  <a:gd name="connsiteY3" fmla="*/ 1310898 h 1310898"/>
                  <a:gd name="connsiteX0" fmla="*/ 1 w 2664626"/>
                  <a:gd name="connsiteY0" fmla="*/ 635455 h 1309388"/>
                  <a:gd name="connsiteX1" fmla="*/ 886230 w 2664626"/>
                  <a:gd name="connsiteY1" fmla="*/ 286 h 1309388"/>
                  <a:gd name="connsiteX2" fmla="*/ 1854669 w 2664626"/>
                  <a:gd name="connsiteY2" fmla="*/ 686785 h 1309388"/>
                  <a:gd name="connsiteX3" fmla="*/ 2664626 w 2664626"/>
                  <a:gd name="connsiteY3" fmla="*/ 1309388 h 13093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664626" h="1309388">
                    <a:moveTo>
                      <a:pt x="1" y="635455"/>
                    </a:moveTo>
                    <a:cubicBezTo>
                      <a:pt x="160378" y="175322"/>
                      <a:pt x="577119" y="-8269"/>
                      <a:pt x="886230" y="286"/>
                    </a:cubicBezTo>
                    <a:cubicBezTo>
                      <a:pt x="1195341" y="8841"/>
                      <a:pt x="1553315" y="159574"/>
                      <a:pt x="1854669" y="686785"/>
                    </a:cubicBezTo>
                    <a:cubicBezTo>
                      <a:pt x="2156023" y="1213996"/>
                      <a:pt x="2452061" y="1284105"/>
                      <a:pt x="2664626" y="1309388"/>
                    </a:cubicBezTo>
                  </a:path>
                </a:pathLst>
              </a:custGeom>
              <a:grpFill/>
              <a:ln w="6350" cap="rnd">
                <a:solidFill>
                  <a:srgbClr val="B3736F"/>
                </a:solidFill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 rtlCol="0" anchor="ctr">
                <a:noAutofit/>
              </a:bodyPr>
              <a:lstStyle/>
              <a:p>
                <a:pPr marL="0" marR="0" lvl="0" indent="0" algn="ctr" defTabSz="45719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Imago"/>
                  <a:ea typeface="+mn-ea"/>
                  <a:cs typeface="+mn-cs"/>
                </a:endParaRPr>
              </a:p>
            </p:txBody>
          </p:sp>
          <p:sp>
            <p:nvSpPr>
              <p:cNvPr id="1063" name="Freeform: Shape 92">
                <a:extLst>
                  <a:ext uri="{FF2B5EF4-FFF2-40B4-BE49-F238E27FC236}">
                    <a16:creationId xmlns:a16="http://schemas.microsoft.com/office/drawing/2014/main" id="{74A235EA-5499-9A34-5A19-73E11914DFD7}"/>
                  </a:ext>
                </a:extLst>
              </p:cNvPr>
              <p:cNvSpPr/>
              <p:nvPr/>
            </p:nvSpPr>
            <p:spPr>
              <a:xfrm rot="4837695" flipV="1">
                <a:off x="3555458" y="2895410"/>
                <a:ext cx="1016473" cy="499490"/>
              </a:xfrm>
              <a:custGeom>
                <a:avLst/>
                <a:gdLst>
                  <a:gd name="connsiteX0" fmla="*/ 0 w 2617365"/>
                  <a:gd name="connsiteY0" fmla="*/ 939567 h 939567"/>
                  <a:gd name="connsiteX1" fmla="*/ 922789 w 2617365"/>
                  <a:gd name="connsiteY1" fmla="*/ 16778 h 939567"/>
                  <a:gd name="connsiteX2" fmla="*/ 1761688 w 2617365"/>
                  <a:gd name="connsiteY2" fmla="*/ 855677 h 939567"/>
                  <a:gd name="connsiteX3" fmla="*/ 2617365 w 2617365"/>
                  <a:gd name="connsiteY3" fmla="*/ 0 h 939567"/>
                  <a:gd name="connsiteX0" fmla="*/ 27 w 2617392"/>
                  <a:gd name="connsiteY0" fmla="*/ 939567 h 939567"/>
                  <a:gd name="connsiteX1" fmla="*/ 922816 w 2617392"/>
                  <a:gd name="connsiteY1" fmla="*/ 16778 h 939567"/>
                  <a:gd name="connsiteX2" fmla="*/ 1761715 w 2617392"/>
                  <a:gd name="connsiteY2" fmla="*/ 855677 h 939567"/>
                  <a:gd name="connsiteX3" fmla="*/ 2617392 w 2617392"/>
                  <a:gd name="connsiteY3" fmla="*/ 0 h 939567"/>
                  <a:gd name="connsiteX0" fmla="*/ 27 w 2617392"/>
                  <a:gd name="connsiteY0" fmla="*/ 939567 h 939567"/>
                  <a:gd name="connsiteX1" fmla="*/ 922816 w 2617392"/>
                  <a:gd name="connsiteY1" fmla="*/ 16778 h 939567"/>
                  <a:gd name="connsiteX2" fmla="*/ 1761715 w 2617392"/>
                  <a:gd name="connsiteY2" fmla="*/ 855677 h 939567"/>
                  <a:gd name="connsiteX3" fmla="*/ 2617392 w 2617392"/>
                  <a:gd name="connsiteY3" fmla="*/ 0 h 939567"/>
                  <a:gd name="connsiteX0" fmla="*/ 33 w 2617398"/>
                  <a:gd name="connsiteY0" fmla="*/ 939567 h 939567"/>
                  <a:gd name="connsiteX1" fmla="*/ 922822 w 2617398"/>
                  <a:gd name="connsiteY1" fmla="*/ 16778 h 939567"/>
                  <a:gd name="connsiteX2" fmla="*/ 1761721 w 2617398"/>
                  <a:gd name="connsiteY2" fmla="*/ 855677 h 939567"/>
                  <a:gd name="connsiteX3" fmla="*/ 2617398 w 2617398"/>
                  <a:gd name="connsiteY3" fmla="*/ 0 h 939567"/>
                  <a:gd name="connsiteX0" fmla="*/ 33 w 2617398"/>
                  <a:gd name="connsiteY0" fmla="*/ 939567 h 939567"/>
                  <a:gd name="connsiteX1" fmla="*/ 922822 w 2617398"/>
                  <a:gd name="connsiteY1" fmla="*/ 16778 h 939567"/>
                  <a:gd name="connsiteX2" fmla="*/ 1761721 w 2617398"/>
                  <a:gd name="connsiteY2" fmla="*/ 855677 h 939567"/>
                  <a:gd name="connsiteX3" fmla="*/ 2617398 w 2617398"/>
                  <a:gd name="connsiteY3" fmla="*/ 0 h 939567"/>
                  <a:gd name="connsiteX0" fmla="*/ 45 w 2617410"/>
                  <a:gd name="connsiteY0" fmla="*/ 939567 h 939567"/>
                  <a:gd name="connsiteX1" fmla="*/ 793294 w 2617410"/>
                  <a:gd name="connsiteY1" fmla="*/ 161558 h 939567"/>
                  <a:gd name="connsiteX2" fmla="*/ 1761733 w 2617410"/>
                  <a:gd name="connsiteY2" fmla="*/ 855677 h 939567"/>
                  <a:gd name="connsiteX3" fmla="*/ 2617410 w 2617410"/>
                  <a:gd name="connsiteY3" fmla="*/ 0 h 939567"/>
                  <a:gd name="connsiteX0" fmla="*/ 45 w 2617410"/>
                  <a:gd name="connsiteY0" fmla="*/ 939567 h 939567"/>
                  <a:gd name="connsiteX1" fmla="*/ 793294 w 2617410"/>
                  <a:gd name="connsiteY1" fmla="*/ 161558 h 939567"/>
                  <a:gd name="connsiteX2" fmla="*/ 1761733 w 2617410"/>
                  <a:gd name="connsiteY2" fmla="*/ 855677 h 939567"/>
                  <a:gd name="connsiteX3" fmla="*/ 2617410 w 2617410"/>
                  <a:gd name="connsiteY3" fmla="*/ 0 h 939567"/>
                  <a:gd name="connsiteX0" fmla="*/ 35 w 2617400"/>
                  <a:gd name="connsiteY0" fmla="*/ 939567 h 939567"/>
                  <a:gd name="connsiteX1" fmla="*/ 793284 w 2617400"/>
                  <a:gd name="connsiteY1" fmla="*/ 161558 h 939567"/>
                  <a:gd name="connsiteX2" fmla="*/ 1799823 w 2617400"/>
                  <a:gd name="connsiteY2" fmla="*/ 928067 h 939567"/>
                  <a:gd name="connsiteX3" fmla="*/ 2617400 w 2617400"/>
                  <a:gd name="connsiteY3" fmla="*/ 0 h 939567"/>
                  <a:gd name="connsiteX0" fmla="*/ 35 w 2617400"/>
                  <a:gd name="connsiteY0" fmla="*/ 939567 h 939567"/>
                  <a:gd name="connsiteX1" fmla="*/ 793284 w 2617400"/>
                  <a:gd name="connsiteY1" fmla="*/ 161558 h 939567"/>
                  <a:gd name="connsiteX2" fmla="*/ 1799823 w 2617400"/>
                  <a:gd name="connsiteY2" fmla="*/ 928067 h 939567"/>
                  <a:gd name="connsiteX3" fmla="*/ 2617400 w 2617400"/>
                  <a:gd name="connsiteY3" fmla="*/ 0 h 939567"/>
                  <a:gd name="connsiteX0" fmla="*/ 54 w 2617419"/>
                  <a:gd name="connsiteY0" fmla="*/ 939567 h 939567"/>
                  <a:gd name="connsiteX1" fmla="*/ 793303 w 2617419"/>
                  <a:gd name="connsiteY1" fmla="*/ 161558 h 939567"/>
                  <a:gd name="connsiteX2" fmla="*/ 1799842 w 2617419"/>
                  <a:gd name="connsiteY2" fmla="*/ 928067 h 939567"/>
                  <a:gd name="connsiteX3" fmla="*/ 2617419 w 2617419"/>
                  <a:gd name="connsiteY3" fmla="*/ 0 h 939567"/>
                  <a:gd name="connsiteX0" fmla="*/ 54 w 2602179"/>
                  <a:gd name="connsiteY0" fmla="*/ 778016 h 778016"/>
                  <a:gd name="connsiteX1" fmla="*/ 793303 w 2602179"/>
                  <a:gd name="connsiteY1" fmla="*/ 7 h 778016"/>
                  <a:gd name="connsiteX2" fmla="*/ 1799842 w 2602179"/>
                  <a:gd name="connsiteY2" fmla="*/ 766516 h 778016"/>
                  <a:gd name="connsiteX3" fmla="*/ 2602179 w 2602179"/>
                  <a:gd name="connsiteY3" fmla="*/ 28949 h 778016"/>
                  <a:gd name="connsiteX0" fmla="*/ 54 w 2438349"/>
                  <a:gd name="connsiteY0" fmla="*/ 778016 h 1419810"/>
                  <a:gd name="connsiteX1" fmla="*/ 793303 w 2438349"/>
                  <a:gd name="connsiteY1" fmla="*/ 7 h 1419810"/>
                  <a:gd name="connsiteX2" fmla="*/ 1799842 w 2438349"/>
                  <a:gd name="connsiteY2" fmla="*/ 766516 h 1419810"/>
                  <a:gd name="connsiteX3" fmla="*/ 2438349 w 2438349"/>
                  <a:gd name="connsiteY3" fmla="*/ 1309109 h 1419810"/>
                  <a:gd name="connsiteX0" fmla="*/ 54 w 2438349"/>
                  <a:gd name="connsiteY0" fmla="*/ 778016 h 1309109"/>
                  <a:gd name="connsiteX1" fmla="*/ 793303 w 2438349"/>
                  <a:gd name="connsiteY1" fmla="*/ 7 h 1309109"/>
                  <a:gd name="connsiteX2" fmla="*/ 1799842 w 2438349"/>
                  <a:gd name="connsiteY2" fmla="*/ 766516 h 1309109"/>
                  <a:gd name="connsiteX3" fmla="*/ 2438349 w 2438349"/>
                  <a:gd name="connsiteY3" fmla="*/ 1309109 h 1309109"/>
                  <a:gd name="connsiteX0" fmla="*/ 33 w 2438328"/>
                  <a:gd name="connsiteY0" fmla="*/ 778361 h 1309454"/>
                  <a:gd name="connsiteX1" fmla="*/ 793282 w 2438328"/>
                  <a:gd name="connsiteY1" fmla="*/ 352 h 1309454"/>
                  <a:gd name="connsiteX2" fmla="*/ 1628371 w 2438328"/>
                  <a:gd name="connsiteY2" fmla="*/ 686851 h 1309454"/>
                  <a:gd name="connsiteX3" fmla="*/ 2438328 w 2438328"/>
                  <a:gd name="connsiteY3" fmla="*/ 1309454 h 1309454"/>
                  <a:gd name="connsiteX0" fmla="*/ 33 w 2438328"/>
                  <a:gd name="connsiteY0" fmla="*/ 778494 h 1309587"/>
                  <a:gd name="connsiteX1" fmla="*/ 793282 w 2438328"/>
                  <a:gd name="connsiteY1" fmla="*/ 485 h 1309587"/>
                  <a:gd name="connsiteX2" fmla="*/ 1628371 w 2438328"/>
                  <a:gd name="connsiteY2" fmla="*/ 686984 h 1309587"/>
                  <a:gd name="connsiteX3" fmla="*/ 2438328 w 2438328"/>
                  <a:gd name="connsiteY3" fmla="*/ 1309587 h 1309587"/>
                  <a:gd name="connsiteX0" fmla="*/ 27 w 2556432"/>
                  <a:gd name="connsiteY0" fmla="*/ 671344 h 1309117"/>
                  <a:gd name="connsiteX1" fmla="*/ 911386 w 2556432"/>
                  <a:gd name="connsiteY1" fmla="*/ 15 h 1309117"/>
                  <a:gd name="connsiteX2" fmla="*/ 1746475 w 2556432"/>
                  <a:gd name="connsiteY2" fmla="*/ 686514 h 1309117"/>
                  <a:gd name="connsiteX3" fmla="*/ 2556432 w 2556432"/>
                  <a:gd name="connsiteY3" fmla="*/ 1309117 h 1309117"/>
                  <a:gd name="connsiteX0" fmla="*/ 0 w 2556405"/>
                  <a:gd name="connsiteY0" fmla="*/ 671347 h 1309120"/>
                  <a:gd name="connsiteX1" fmla="*/ 911359 w 2556405"/>
                  <a:gd name="connsiteY1" fmla="*/ 18 h 1309120"/>
                  <a:gd name="connsiteX2" fmla="*/ 1746448 w 2556405"/>
                  <a:gd name="connsiteY2" fmla="*/ 686517 h 1309120"/>
                  <a:gd name="connsiteX3" fmla="*/ 2556405 w 2556405"/>
                  <a:gd name="connsiteY3" fmla="*/ 1309120 h 1309120"/>
                  <a:gd name="connsiteX0" fmla="*/ 0 w 2556405"/>
                  <a:gd name="connsiteY0" fmla="*/ 672485 h 1310258"/>
                  <a:gd name="connsiteX1" fmla="*/ 911359 w 2556405"/>
                  <a:gd name="connsiteY1" fmla="*/ 1156 h 1310258"/>
                  <a:gd name="connsiteX2" fmla="*/ 1746448 w 2556405"/>
                  <a:gd name="connsiteY2" fmla="*/ 687655 h 1310258"/>
                  <a:gd name="connsiteX3" fmla="*/ 2556405 w 2556405"/>
                  <a:gd name="connsiteY3" fmla="*/ 1310258 h 1310258"/>
                  <a:gd name="connsiteX0" fmla="*/ 0 w 2556405"/>
                  <a:gd name="connsiteY0" fmla="*/ 672432 h 1310205"/>
                  <a:gd name="connsiteX1" fmla="*/ 911359 w 2556405"/>
                  <a:gd name="connsiteY1" fmla="*/ 1103 h 1310205"/>
                  <a:gd name="connsiteX2" fmla="*/ 1746448 w 2556405"/>
                  <a:gd name="connsiteY2" fmla="*/ 687602 h 1310205"/>
                  <a:gd name="connsiteX3" fmla="*/ 2556405 w 2556405"/>
                  <a:gd name="connsiteY3" fmla="*/ 1310205 h 1310205"/>
                  <a:gd name="connsiteX0" fmla="*/ 0 w 2556405"/>
                  <a:gd name="connsiteY0" fmla="*/ 672432 h 1310205"/>
                  <a:gd name="connsiteX1" fmla="*/ 778009 w 2556405"/>
                  <a:gd name="connsiteY1" fmla="*/ 1103 h 1310205"/>
                  <a:gd name="connsiteX2" fmla="*/ 1746448 w 2556405"/>
                  <a:gd name="connsiteY2" fmla="*/ 687602 h 1310205"/>
                  <a:gd name="connsiteX3" fmla="*/ 2556405 w 2556405"/>
                  <a:gd name="connsiteY3" fmla="*/ 1310205 h 1310205"/>
                  <a:gd name="connsiteX0" fmla="*/ 0 w 2556405"/>
                  <a:gd name="connsiteY0" fmla="*/ 672186 h 1309959"/>
                  <a:gd name="connsiteX1" fmla="*/ 778009 w 2556405"/>
                  <a:gd name="connsiteY1" fmla="*/ 857 h 1309959"/>
                  <a:gd name="connsiteX2" fmla="*/ 1746448 w 2556405"/>
                  <a:gd name="connsiteY2" fmla="*/ 687356 h 1309959"/>
                  <a:gd name="connsiteX3" fmla="*/ 2556405 w 2556405"/>
                  <a:gd name="connsiteY3" fmla="*/ 1309959 h 1309959"/>
                  <a:gd name="connsiteX0" fmla="*/ 0 w 2556405"/>
                  <a:gd name="connsiteY0" fmla="*/ 671347 h 1309120"/>
                  <a:gd name="connsiteX1" fmla="*/ 778009 w 2556405"/>
                  <a:gd name="connsiteY1" fmla="*/ 18 h 1309120"/>
                  <a:gd name="connsiteX2" fmla="*/ 1746448 w 2556405"/>
                  <a:gd name="connsiteY2" fmla="*/ 686517 h 1309120"/>
                  <a:gd name="connsiteX3" fmla="*/ 2556405 w 2556405"/>
                  <a:gd name="connsiteY3" fmla="*/ 1309120 h 1309120"/>
                  <a:gd name="connsiteX0" fmla="*/ 0 w 2556405"/>
                  <a:gd name="connsiteY0" fmla="*/ 671340 h 1309113"/>
                  <a:gd name="connsiteX1" fmla="*/ 778009 w 2556405"/>
                  <a:gd name="connsiteY1" fmla="*/ 11 h 1309113"/>
                  <a:gd name="connsiteX2" fmla="*/ 1746448 w 2556405"/>
                  <a:gd name="connsiteY2" fmla="*/ 686510 h 1309113"/>
                  <a:gd name="connsiteX3" fmla="*/ 2556405 w 2556405"/>
                  <a:gd name="connsiteY3" fmla="*/ 1309113 h 1309113"/>
                  <a:gd name="connsiteX0" fmla="*/ 0 w 2556405"/>
                  <a:gd name="connsiteY0" fmla="*/ 671340 h 1309113"/>
                  <a:gd name="connsiteX1" fmla="*/ 778009 w 2556405"/>
                  <a:gd name="connsiteY1" fmla="*/ 11 h 1309113"/>
                  <a:gd name="connsiteX2" fmla="*/ 1746448 w 2556405"/>
                  <a:gd name="connsiteY2" fmla="*/ 686510 h 1309113"/>
                  <a:gd name="connsiteX3" fmla="*/ 2556405 w 2556405"/>
                  <a:gd name="connsiteY3" fmla="*/ 1309113 h 1309113"/>
                  <a:gd name="connsiteX0" fmla="*/ 1 w 2593711"/>
                  <a:gd name="connsiteY0" fmla="*/ 644434 h 1309189"/>
                  <a:gd name="connsiteX1" fmla="*/ 815315 w 2593711"/>
                  <a:gd name="connsiteY1" fmla="*/ 87 h 1309189"/>
                  <a:gd name="connsiteX2" fmla="*/ 1783754 w 2593711"/>
                  <a:gd name="connsiteY2" fmla="*/ 686586 h 1309189"/>
                  <a:gd name="connsiteX3" fmla="*/ 2593711 w 2593711"/>
                  <a:gd name="connsiteY3" fmla="*/ 1309189 h 1309189"/>
                  <a:gd name="connsiteX0" fmla="*/ 1 w 2593711"/>
                  <a:gd name="connsiteY0" fmla="*/ 644481 h 1309236"/>
                  <a:gd name="connsiteX1" fmla="*/ 815315 w 2593711"/>
                  <a:gd name="connsiteY1" fmla="*/ 134 h 1309236"/>
                  <a:gd name="connsiteX2" fmla="*/ 1783754 w 2593711"/>
                  <a:gd name="connsiteY2" fmla="*/ 686633 h 1309236"/>
                  <a:gd name="connsiteX3" fmla="*/ 2593711 w 2593711"/>
                  <a:gd name="connsiteY3" fmla="*/ 1309236 h 1309236"/>
                  <a:gd name="connsiteX0" fmla="*/ 1 w 2638506"/>
                  <a:gd name="connsiteY0" fmla="*/ 648155 h 1309212"/>
                  <a:gd name="connsiteX1" fmla="*/ 860110 w 2638506"/>
                  <a:gd name="connsiteY1" fmla="*/ 110 h 1309212"/>
                  <a:gd name="connsiteX2" fmla="*/ 1828549 w 2638506"/>
                  <a:gd name="connsiteY2" fmla="*/ 686609 h 1309212"/>
                  <a:gd name="connsiteX3" fmla="*/ 2638506 w 2638506"/>
                  <a:gd name="connsiteY3" fmla="*/ 1309212 h 1309212"/>
                  <a:gd name="connsiteX0" fmla="*/ 1 w 2638506"/>
                  <a:gd name="connsiteY0" fmla="*/ 648197 h 1309254"/>
                  <a:gd name="connsiteX1" fmla="*/ 860110 w 2638506"/>
                  <a:gd name="connsiteY1" fmla="*/ 152 h 1309254"/>
                  <a:gd name="connsiteX2" fmla="*/ 1828549 w 2638506"/>
                  <a:gd name="connsiteY2" fmla="*/ 686651 h 1309254"/>
                  <a:gd name="connsiteX3" fmla="*/ 2638506 w 2638506"/>
                  <a:gd name="connsiteY3" fmla="*/ 1309254 h 1309254"/>
                  <a:gd name="connsiteX0" fmla="*/ 1 w 2638506"/>
                  <a:gd name="connsiteY0" fmla="*/ 649974 h 1311031"/>
                  <a:gd name="connsiteX1" fmla="*/ 860110 w 2638506"/>
                  <a:gd name="connsiteY1" fmla="*/ 1929 h 1311031"/>
                  <a:gd name="connsiteX2" fmla="*/ 1828549 w 2638506"/>
                  <a:gd name="connsiteY2" fmla="*/ 688428 h 1311031"/>
                  <a:gd name="connsiteX3" fmla="*/ 2638506 w 2638506"/>
                  <a:gd name="connsiteY3" fmla="*/ 1311031 h 1311031"/>
                  <a:gd name="connsiteX0" fmla="*/ 1 w 2638506"/>
                  <a:gd name="connsiteY0" fmla="*/ 649607 h 1310664"/>
                  <a:gd name="connsiteX1" fmla="*/ 860110 w 2638506"/>
                  <a:gd name="connsiteY1" fmla="*/ 1562 h 1310664"/>
                  <a:gd name="connsiteX2" fmla="*/ 1828549 w 2638506"/>
                  <a:gd name="connsiteY2" fmla="*/ 688061 h 1310664"/>
                  <a:gd name="connsiteX3" fmla="*/ 2638506 w 2638506"/>
                  <a:gd name="connsiteY3" fmla="*/ 1310664 h 1310664"/>
                  <a:gd name="connsiteX0" fmla="*/ 1 w 2638506"/>
                  <a:gd name="connsiteY0" fmla="*/ 649193 h 1310250"/>
                  <a:gd name="connsiteX1" fmla="*/ 860110 w 2638506"/>
                  <a:gd name="connsiteY1" fmla="*/ 1148 h 1310250"/>
                  <a:gd name="connsiteX2" fmla="*/ 1828549 w 2638506"/>
                  <a:gd name="connsiteY2" fmla="*/ 687647 h 1310250"/>
                  <a:gd name="connsiteX3" fmla="*/ 2638506 w 2638506"/>
                  <a:gd name="connsiteY3" fmla="*/ 1310250 h 1310250"/>
                  <a:gd name="connsiteX0" fmla="*/ 1 w 2638506"/>
                  <a:gd name="connsiteY0" fmla="*/ 650609 h 1311666"/>
                  <a:gd name="connsiteX1" fmla="*/ 860110 w 2638506"/>
                  <a:gd name="connsiteY1" fmla="*/ 2564 h 1311666"/>
                  <a:gd name="connsiteX2" fmla="*/ 1828549 w 2638506"/>
                  <a:gd name="connsiteY2" fmla="*/ 689063 h 1311666"/>
                  <a:gd name="connsiteX3" fmla="*/ 2638506 w 2638506"/>
                  <a:gd name="connsiteY3" fmla="*/ 1311666 h 1311666"/>
                  <a:gd name="connsiteX0" fmla="*/ 1 w 2638506"/>
                  <a:gd name="connsiteY0" fmla="*/ 649841 h 1310898"/>
                  <a:gd name="connsiteX1" fmla="*/ 860110 w 2638506"/>
                  <a:gd name="connsiteY1" fmla="*/ 1796 h 1310898"/>
                  <a:gd name="connsiteX2" fmla="*/ 1828549 w 2638506"/>
                  <a:gd name="connsiteY2" fmla="*/ 688295 h 1310898"/>
                  <a:gd name="connsiteX3" fmla="*/ 2638506 w 2638506"/>
                  <a:gd name="connsiteY3" fmla="*/ 1310898 h 1310898"/>
                  <a:gd name="connsiteX0" fmla="*/ 1 w 2638506"/>
                  <a:gd name="connsiteY0" fmla="*/ 649841 h 1310898"/>
                  <a:gd name="connsiteX1" fmla="*/ 860110 w 2638506"/>
                  <a:gd name="connsiteY1" fmla="*/ 1796 h 1310898"/>
                  <a:gd name="connsiteX2" fmla="*/ 1828549 w 2638506"/>
                  <a:gd name="connsiteY2" fmla="*/ 688295 h 1310898"/>
                  <a:gd name="connsiteX3" fmla="*/ 2638506 w 2638506"/>
                  <a:gd name="connsiteY3" fmla="*/ 1310898 h 1310898"/>
                  <a:gd name="connsiteX0" fmla="*/ 1 w 2664626"/>
                  <a:gd name="connsiteY0" fmla="*/ 635455 h 1309388"/>
                  <a:gd name="connsiteX1" fmla="*/ 886230 w 2664626"/>
                  <a:gd name="connsiteY1" fmla="*/ 286 h 1309388"/>
                  <a:gd name="connsiteX2" fmla="*/ 1854669 w 2664626"/>
                  <a:gd name="connsiteY2" fmla="*/ 686785 h 1309388"/>
                  <a:gd name="connsiteX3" fmla="*/ 2664626 w 2664626"/>
                  <a:gd name="connsiteY3" fmla="*/ 1309388 h 13093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664626" h="1309388">
                    <a:moveTo>
                      <a:pt x="1" y="635455"/>
                    </a:moveTo>
                    <a:cubicBezTo>
                      <a:pt x="160378" y="175322"/>
                      <a:pt x="577119" y="-8269"/>
                      <a:pt x="886230" y="286"/>
                    </a:cubicBezTo>
                    <a:cubicBezTo>
                      <a:pt x="1195341" y="8841"/>
                      <a:pt x="1553315" y="159574"/>
                      <a:pt x="1854669" y="686785"/>
                    </a:cubicBezTo>
                    <a:cubicBezTo>
                      <a:pt x="2156023" y="1213996"/>
                      <a:pt x="2452061" y="1284105"/>
                      <a:pt x="2664626" y="1309388"/>
                    </a:cubicBezTo>
                  </a:path>
                </a:pathLst>
              </a:custGeom>
              <a:grpFill/>
              <a:ln w="6350" cap="rnd">
                <a:solidFill>
                  <a:srgbClr val="B3736F"/>
                </a:solidFill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 rtlCol="0" anchor="ctr">
                <a:noAutofit/>
              </a:bodyPr>
              <a:lstStyle/>
              <a:p>
                <a:pPr marL="0" marR="0" lvl="0" indent="0" algn="ctr" defTabSz="45719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Imago"/>
                  <a:ea typeface="+mn-ea"/>
                  <a:cs typeface="+mn-cs"/>
                </a:endParaRPr>
              </a:p>
            </p:txBody>
          </p:sp>
          <p:sp>
            <p:nvSpPr>
              <p:cNvPr id="1064" name="Freeform: Shape 93">
                <a:extLst>
                  <a:ext uri="{FF2B5EF4-FFF2-40B4-BE49-F238E27FC236}">
                    <a16:creationId xmlns:a16="http://schemas.microsoft.com/office/drawing/2014/main" id="{3544B151-41E9-A27C-365E-5446868A54B5}"/>
                  </a:ext>
                </a:extLst>
              </p:cNvPr>
              <p:cNvSpPr/>
              <p:nvPr/>
            </p:nvSpPr>
            <p:spPr>
              <a:xfrm rot="4837695" flipH="1">
                <a:off x="4082897" y="2290767"/>
                <a:ext cx="255606" cy="283890"/>
              </a:xfrm>
              <a:custGeom>
                <a:avLst/>
                <a:gdLst>
                  <a:gd name="connsiteX0" fmla="*/ 0 w 2617365"/>
                  <a:gd name="connsiteY0" fmla="*/ 939567 h 939567"/>
                  <a:gd name="connsiteX1" fmla="*/ 922789 w 2617365"/>
                  <a:gd name="connsiteY1" fmla="*/ 16778 h 939567"/>
                  <a:gd name="connsiteX2" fmla="*/ 1761688 w 2617365"/>
                  <a:gd name="connsiteY2" fmla="*/ 855677 h 939567"/>
                  <a:gd name="connsiteX3" fmla="*/ 2617365 w 2617365"/>
                  <a:gd name="connsiteY3" fmla="*/ 0 h 939567"/>
                  <a:gd name="connsiteX0" fmla="*/ 27 w 2617392"/>
                  <a:gd name="connsiteY0" fmla="*/ 939567 h 939567"/>
                  <a:gd name="connsiteX1" fmla="*/ 922816 w 2617392"/>
                  <a:gd name="connsiteY1" fmla="*/ 16778 h 939567"/>
                  <a:gd name="connsiteX2" fmla="*/ 1761715 w 2617392"/>
                  <a:gd name="connsiteY2" fmla="*/ 855677 h 939567"/>
                  <a:gd name="connsiteX3" fmla="*/ 2617392 w 2617392"/>
                  <a:gd name="connsiteY3" fmla="*/ 0 h 939567"/>
                  <a:gd name="connsiteX0" fmla="*/ 27 w 2617392"/>
                  <a:gd name="connsiteY0" fmla="*/ 939567 h 939567"/>
                  <a:gd name="connsiteX1" fmla="*/ 922816 w 2617392"/>
                  <a:gd name="connsiteY1" fmla="*/ 16778 h 939567"/>
                  <a:gd name="connsiteX2" fmla="*/ 1761715 w 2617392"/>
                  <a:gd name="connsiteY2" fmla="*/ 855677 h 939567"/>
                  <a:gd name="connsiteX3" fmla="*/ 2617392 w 2617392"/>
                  <a:gd name="connsiteY3" fmla="*/ 0 h 939567"/>
                  <a:gd name="connsiteX0" fmla="*/ 33 w 2617398"/>
                  <a:gd name="connsiteY0" fmla="*/ 939567 h 939567"/>
                  <a:gd name="connsiteX1" fmla="*/ 922822 w 2617398"/>
                  <a:gd name="connsiteY1" fmla="*/ 16778 h 939567"/>
                  <a:gd name="connsiteX2" fmla="*/ 1761721 w 2617398"/>
                  <a:gd name="connsiteY2" fmla="*/ 855677 h 939567"/>
                  <a:gd name="connsiteX3" fmla="*/ 2617398 w 2617398"/>
                  <a:gd name="connsiteY3" fmla="*/ 0 h 939567"/>
                  <a:gd name="connsiteX0" fmla="*/ 33 w 2617398"/>
                  <a:gd name="connsiteY0" fmla="*/ 939567 h 939567"/>
                  <a:gd name="connsiteX1" fmla="*/ 922822 w 2617398"/>
                  <a:gd name="connsiteY1" fmla="*/ 16778 h 939567"/>
                  <a:gd name="connsiteX2" fmla="*/ 1761721 w 2617398"/>
                  <a:gd name="connsiteY2" fmla="*/ 855677 h 939567"/>
                  <a:gd name="connsiteX3" fmla="*/ 2617398 w 2617398"/>
                  <a:gd name="connsiteY3" fmla="*/ 0 h 939567"/>
                  <a:gd name="connsiteX0" fmla="*/ 45 w 2617410"/>
                  <a:gd name="connsiteY0" fmla="*/ 939567 h 939567"/>
                  <a:gd name="connsiteX1" fmla="*/ 793294 w 2617410"/>
                  <a:gd name="connsiteY1" fmla="*/ 161558 h 939567"/>
                  <a:gd name="connsiteX2" fmla="*/ 1761733 w 2617410"/>
                  <a:gd name="connsiteY2" fmla="*/ 855677 h 939567"/>
                  <a:gd name="connsiteX3" fmla="*/ 2617410 w 2617410"/>
                  <a:gd name="connsiteY3" fmla="*/ 0 h 939567"/>
                  <a:gd name="connsiteX0" fmla="*/ 45 w 2617410"/>
                  <a:gd name="connsiteY0" fmla="*/ 939567 h 939567"/>
                  <a:gd name="connsiteX1" fmla="*/ 793294 w 2617410"/>
                  <a:gd name="connsiteY1" fmla="*/ 161558 h 939567"/>
                  <a:gd name="connsiteX2" fmla="*/ 1761733 w 2617410"/>
                  <a:gd name="connsiteY2" fmla="*/ 855677 h 939567"/>
                  <a:gd name="connsiteX3" fmla="*/ 2617410 w 2617410"/>
                  <a:gd name="connsiteY3" fmla="*/ 0 h 939567"/>
                  <a:gd name="connsiteX0" fmla="*/ 35 w 2617400"/>
                  <a:gd name="connsiteY0" fmla="*/ 939567 h 939567"/>
                  <a:gd name="connsiteX1" fmla="*/ 793284 w 2617400"/>
                  <a:gd name="connsiteY1" fmla="*/ 161558 h 939567"/>
                  <a:gd name="connsiteX2" fmla="*/ 1799823 w 2617400"/>
                  <a:gd name="connsiteY2" fmla="*/ 928067 h 939567"/>
                  <a:gd name="connsiteX3" fmla="*/ 2617400 w 2617400"/>
                  <a:gd name="connsiteY3" fmla="*/ 0 h 939567"/>
                  <a:gd name="connsiteX0" fmla="*/ 35 w 2617400"/>
                  <a:gd name="connsiteY0" fmla="*/ 939567 h 939567"/>
                  <a:gd name="connsiteX1" fmla="*/ 793284 w 2617400"/>
                  <a:gd name="connsiteY1" fmla="*/ 161558 h 939567"/>
                  <a:gd name="connsiteX2" fmla="*/ 1799823 w 2617400"/>
                  <a:gd name="connsiteY2" fmla="*/ 928067 h 939567"/>
                  <a:gd name="connsiteX3" fmla="*/ 2617400 w 2617400"/>
                  <a:gd name="connsiteY3" fmla="*/ 0 h 939567"/>
                  <a:gd name="connsiteX0" fmla="*/ 54 w 2617419"/>
                  <a:gd name="connsiteY0" fmla="*/ 939567 h 939567"/>
                  <a:gd name="connsiteX1" fmla="*/ 793303 w 2617419"/>
                  <a:gd name="connsiteY1" fmla="*/ 161558 h 939567"/>
                  <a:gd name="connsiteX2" fmla="*/ 1799842 w 2617419"/>
                  <a:gd name="connsiteY2" fmla="*/ 928067 h 939567"/>
                  <a:gd name="connsiteX3" fmla="*/ 2617419 w 2617419"/>
                  <a:gd name="connsiteY3" fmla="*/ 0 h 939567"/>
                  <a:gd name="connsiteX0" fmla="*/ 54 w 2602179"/>
                  <a:gd name="connsiteY0" fmla="*/ 778016 h 778016"/>
                  <a:gd name="connsiteX1" fmla="*/ 793303 w 2602179"/>
                  <a:gd name="connsiteY1" fmla="*/ 7 h 778016"/>
                  <a:gd name="connsiteX2" fmla="*/ 1799842 w 2602179"/>
                  <a:gd name="connsiteY2" fmla="*/ 766516 h 778016"/>
                  <a:gd name="connsiteX3" fmla="*/ 2602179 w 2602179"/>
                  <a:gd name="connsiteY3" fmla="*/ 28949 h 778016"/>
                  <a:gd name="connsiteX0" fmla="*/ 54 w 2438349"/>
                  <a:gd name="connsiteY0" fmla="*/ 778016 h 1419810"/>
                  <a:gd name="connsiteX1" fmla="*/ 793303 w 2438349"/>
                  <a:gd name="connsiteY1" fmla="*/ 7 h 1419810"/>
                  <a:gd name="connsiteX2" fmla="*/ 1799842 w 2438349"/>
                  <a:gd name="connsiteY2" fmla="*/ 766516 h 1419810"/>
                  <a:gd name="connsiteX3" fmla="*/ 2438349 w 2438349"/>
                  <a:gd name="connsiteY3" fmla="*/ 1309109 h 1419810"/>
                  <a:gd name="connsiteX0" fmla="*/ 54 w 2438349"/>
                  <a:gd name="connsiteY0" fmla="*/ 778016 h 1309109"/>
                  <a:gd name="connsiteX1" fmla="*/ 793303 w 2438349"/>
                  <a:gd name="connsiteY1" fmla="*/ 7 h 1309109"/>
                  <a:gd name="connsiteX2" fmla="*/ 1799842 w 2438349"/>
                  <a:gd name="connsiteY2" fmla="*/ 766516 h 1309109"/>
                  <a:gd name="connsiteX3" fmla="*/ 2438349 w 2438349"/>
                  <a:gd name="connsiteY3" fmla="*/ 1309109 h 1309109"/>
                  <a:gd name="connsiteX0" fmla="*/ 33 w 2438328"/>
                  <a:gd name="connsiteY0" fmla="*/ 778361 h 1309454"/>
                  <a:gd name="connsiteX1" fmla="*/ 793282 w 2438328"/>
                  <a:gd name="connsiteY1" fmla="*/ 352 h 1309454"/>
                  <a:gd name="connsiteX2" fmla="*/ 1628371 w 2438328"/>
                  <a:gd name="connsiteY2" fmla="*/ 686851 h 1309454"/>
                  <a:gd name="connsiteX3" fmla="*/ 2438328 w 2438328"/>
                  <a:gd name="connsiteY3" fmla="*/ 1309454 h 1309454"/>
                  <a:gd name="connsiteX0" fmla="*/ 33 w 2438328"/>
                  <a:gd name="connsiteY0" fmla="*/ 778494 h 1309587"/>
                  <a:gd name="connsiteX1" fmla="*/ 793282 w 2438328"/>
                  <a:gd name="connsiteY1" fmla="*/ 485 h 1309587"/>
                  <a:gd name="connsiteX2" fmla="*/ 1628371 w 2438328"/>
                  <a:gd name="connsiteY2" fmla="*/ 686984 h 1309587"/>
                  <a:gd name="connsiteX3" fmla="*/ 2438328 w 2438328"/>
                  <a:gd name="connsiteY3" fmla="*/ 1309587 h 1309587"/>
                  <a:gd name="connsiteX0" fmla="*/ 27 w 2556432"/>
                  <a:gd name="connsiteY0" fmla="*/ 671344 h 1309117"/>
                  <a:gd name="connsiteX1" fmla="*/ 911386 w 2556432"/>
                  <a:gd name="connsiteY1" fmla="*/ 15 h 1309117"/>
                  <a:gd name="connsiteX2" fmla="*/ 1746475 w 2556432"/>
                  <a:gd name="connsiteY2" fmla="*/ 686514 h 1309117"/>
                  <a:gd name="connsiteX3" fmla="*/ 2556432 w 2556432"/>
                  <a:gd name="connsiteY3" fmla="*/ 1309117 h 1309117"/>
                  <a:gd name="connsiteX0" fmla="*/ 0 w 2556405"/>
                  <a:gd name="connsiteY0" fmla="*/ 671347 h 1309120"/>
                  <a:gd name="connsiteX1" fmla="*/ 911359 w 2556405"/>
                  <a:gd name="connsiteY1" fmla="*/ 18 h 1309120"/>
                  <a:gd name="connsiteX2" fmla="*/ 1746448 w 2556405"/>
                  <a:gd name="connsiteY2" fmla="*/ 686517 h 1309120"/>
                  <a:gd name="connsiteX3" fmla="*/ 2556405 w 2556405"/>
                  <a:gd name="connsiteY3" fmla="*/ 1309120 h 1309120"/>
                  <a:gd name="connsiteX0" fmla="*/ 0 w 2556405"/>
                  <a:gd name="connsiteY0" fmla="*/ 672485 h 1310258"/>
                  <a:gd name="connsiteX1" fmla="*/ 911359 w 2556405"/>
                  <a:gd name="connsiteY1" fmla="*/ 1156 h 1310258"/>
                  <a:gd name="connsiteX2" fmla="*/ 1746448 w 2556405"/>
                  <a:gd name="connsiteY2" fmla="*/ 687655 h 1310258"/>
                  <a:gd name="connsiteX3" fmla="*/ 2556405 w 2556405"/>
                  <a:gd name="connsiteY3" fmla="*/ 1310258 h 1310258"/>
                  <a:gd name="connsiteX0" fmla="*/ 0 w 2556405"/>
                  <a:gd name="connsiteY0" fmla="*/ 672432 h 1310205"/>
                  <a:gd name="connsiteX1" fmla="*/ 911359 w 2556405"/>
                  <a:gd name="connsiteY1" fmla="*/ 1103 h 1310205"/>
                  <a:gd name="connsiteX2" fmla="*/ 1746448 w 2556405"/>
                  <a:gd name="connsiteY2" fmla="*/ 687602 h 1310205"/>
                  <a:gd name="connsiteX3" fmla="*/ 2556405 w 2556405"/>
                  <a:gd name="connsiteY3" fmla="*/ 1310205 h 1310205"/>
                  <a:gd name="connsiteX0" fmla="*/ 0 w 2556405"/>
                  <a:gd name="connsiteY0" fmla="*/ 672432 h 1310205"/>
                  <a:gd name="connsiteX1" fmla="*/ 778009 w 2556405"/>
                  <a:gd name="connsiteY1" fmla="*/ 1103 h 1310205"/>
                  <a:gd name="connsiteX2" fmla="*/ 1746448 w 2556405"/>
                  <a:gd name="connsiteY2" fmla="*/ 687602 h 1310205"/>
                  <a:gd name="connsiteX3" fmla="*/ 2556405 w 2556405"/>
                  <a:gd name="connsiteY3" fmla="*/ 1310205 h 1310205"/>
                  <a:gd name="connsiteX0" fmla="*/ 0 w 2556405"/>
                  <a:gd name="connsiteY0" fmla="*/ 672186 h 1309959"/>
                  <a:gd name="connsiteX1" fmla="*/ 778009 w 2556405"/>
                  <a:gd name="connsiteY1" fmla="*/ 857 h 1309959"/>
                  <a:gd name="connsiteX2" fmla="*/ 1746448 w 2556405"/>
                  <a:gd name="connsiteY2" fmla="*/ 687356 h 1309959"/>
                  <a:gd name="connsiteX3" fmla="*/ 2556405 w 2556405"/>
                  <a:gd name="connsiteY3" fmla="*/ 1309959 h 1309959"/>
                  <a:gd name="connsiteX0" fmla="*/ 0 w 2556405"/>
                  <a:gd name="connsiteY0" fmla="*/ 671347 h 1309120"/>
                  <a:gd name="connsiteX1" fmla="*/ 778009 w 2556405"/>
                  <a:gd name="connsiteY1" fmla="*/ 18 h 1309120"/>
                  <a:gd name="connsiteX2" fmla="*/ 1746448 w 2556405"/>
                  <a:gd name="connsiteY2" fmla="*/ 686517 h 1309120"/>
                  <a:gd name="connsiteX3" fmla="*/ 2556405 w 2556405"/>
                  <a:gd name="connsiteY3" fmla="*/ 1309120 h 1309120"/>
                  <a:gd name="connsiteX0" fmla="*/ 0 w 2556405"/>
                  <a:gd name="connsiteY0" fmla="*/ 671340 h 1309113"/>
                  <a:gd name="connsiteX1" fmla="*/ 778009 w 2556405"/>
                  <a:gd name="connsiteY1" fmla="*/ 11 h 1309113"/>
                  <a:gd name="connsiteX2" fmla="*/ 1746448 w 2556405"/>
                  <a:gd name="connsiteY2" fmla="*/ 686510 h 1309113"/>
                  <a:gd name="connsiteX3" fmla="*/ 2556405 w 2556405"/>
                  <a:gd name="connsiteY3" fmla="*/ 1309113 h 1309113"/>
                  <a:gd name="connsiteX0" fmla="*/ 0 w 2556405"/>
                  <a:gd name="connsiteY0" fmla="*/ 671340 h 1309113"/>
                  <a:gd name="connsiteX1" fmla="*/ 778009 w 2556405"/>
                  <a:gd name="connsiteY1" fmla="*/ 11 h 1309113"/>
                  <a:gd name="connsiteX2" fmla="*/ 1746448 w 2556405"/>
                  <a:gd name="connsiteY2" fmla="*/ 686510 h 1309113"/>
                  <a:gd name="connsiteX3" fmla="*/ 2556405 w 2556405"/>
                  <a:gd name="connsiteY3" fmla="*/ 1309113 h 1309113"/>
                  <a:gd name="connsiteX0" fmla="*/ 1 w 2593711"/>
                  <a:gd name="connsiteY0" fmla="*/ 644434 h 1309189"/>
                  <a:gd name="connsiteX1" fmla="*/ 815315 w 2593711"/>
                  <a:gd name="connsiteY1" fmla="*/ 87 h 1309189"/>
                  <a:gd name="connsiteX2" fmla="*/ 1783754 w 2593711"/>
                  <a:gd name="connsiteY2" fmla="*/ 686586 h 1309189"/>
                  <a:gd name="connsiteX3" fmla="*/ 2593711 w 2593711"/>
                  <a:gd name="connsiteY3" fmla="*/ 1309189 h 1309189"/>
                  <a:gd name="connsiteX0" fmla="*/ 1 w 2593711"/>
                  <a:gd name="connsiteY0" fmla="*/ 644481 h 1309236"/>
                  <a:gd name="connsiteX1" fmla="*/ 815315 w 2593711"/>
                  <a:gd name="connsiteY1" fmla="*/ 134 h 1309236"/>
                  <a:gd name="connsiteX2" fmla="*/ 1783754 w 2593711"/>
                  <a:gd name="connsiteY2" fmla="*/ 686633 h 1309236"/>
                  <a:gd name="connsiteX3" fmla="*/ 2593711 w 2593711"/>
                  <a:gd name="connsiteY3" fmla="*/ 1309236 h 1309236"/>
                  <a:gd name="connsiteX0" fmla="*/ 1 w 2638506"/>
                  <a:gd name="connsiteY0" fmla="*/ 648155 h 1309212"/>
                  <a:gd name="connsiteX1" fmla="*/ 860110 w 2638506"/>
                  <a:gd name="connsiteY1" fmla="*/ 110 h 1309212"/>
                  <a:gd name="connsiteX2" fmla="*/ 1828549 w 2638506"/>
                  <a:gd name="connsiteY2" fmla="*/ 686609 h 1309212"/>
                  <a:gd name="connsiteX3" fmla="*/ 2638506 w 2638506"/>
                  <a:gd name="connsiteY3" fmla="*/ 1309212 h 1309212"/>
                  <a:gd name="connsiteX0" fmla="*/ 1 w 2638506"/>
                  <a:gd name="connsiteY0" fmla="*/ 648197 h 1309254"/>
                  <a:gd name="connsiteX1" fmla="*/ 860110 w 2638506"/>
                  <a:gd name="connsiteY1" fmla="*/ 152 h 1309254"/>
                  <a:gd name="connsiteX2" fmla="*/ 1828549 w 2638506"/>
                  <a:gd name="connsiteY2" fmla="*/ 686651 h 1309254"/>
                  <a:gd name="connsiteX3" fmla="*/ 2638506 w 2638506"/>
                  <a:gd name="connsiteY3" fmla="*/ 1309254 h 1309254"/>
                  <a:gd name="connsiteX0" fmla="*/ 1 w 2638506"/>
                  <a:gd name="connsiteY0" fmla="*/ 649974 h 1311031"/>
                  <a:gd name="connsiteX1" fmla="*/ 860110 w 2638506"/>
                  <a:gd name="connsiteY1" fmla="*/ 1929 h 1311031"/>
                  <a:gd name="connsiteX2" fmla="*/ 1828549 w 2638506"/>
                  <a:gd name="connsiteY2" fmla="*/ 688428 h 1311031"/>
                  <a:gd name="connsiteX3" fmla="*/ 2638506 w 2638506"/>
                  <a:gd name="connsiteY3" fmla="*/ 1311031 h 1311031"/>
                  <a:gd name="connsiteX0" fmla="*/ 1 w 2638506"/>
                  <a:gd name="connsiteY0" fmla="*/ 649607 h 1310664"/>
                  <a:gd name="connsiteX1" fmla="*/ 860110 w 2638506"/>
                  <a:gd name="connsiteY1" fmla="*/ 1562 h 1310664"/>
                  <a:gd name="connsiteX2" fmla="*/ 1828549 w 2638506"/>
                  <a:gd name="connsiteY2" fmla="*/ 688061 h 1310664"/>
                  <a:gd name="connsiteX3" fmla="*/ 2638506 w 2638506"/>
                  <a:gd name="connsiteY3" fmla="*/ 1310664 h 1310664"/>
                  <a:gd name="connsiteX0" fmla="*/ 1 w 2638506"/>
                  <a:gd name="connsiteY0" fmla="*/ 649193 h 1310250"/>
                  <a:gd name="connsiteX1" fmla="*/ 860110 w 2638506"/>
                  <a:gd name="connsiteY1" fmla="*/ 1148 h 1310250"/>
                  <a:gd name="connsiteX2" fmla="*/ 1828549 w 2638506"/>
                  <a:gd name="connsiteY2" fmla="*/ 687647 h 1310250"/>
                  <a:gd name="connsiteX3" fmla="*/ 2638506 w 2638506"/>
                  <a:gd name="connsiteY3" fmla="*/ 1310250 h 1310250"/>
                  <a:gd name="connsiteX0" fmla="*/ 1 w 2638506"/>
                  <a:gd name="connsiteY0" fmla="*/ 650609 h 1311666"/>
                  <a:gd name="connsiteX1" fmla="*/ 860110 w 2638506"/>
                  <a:gd name="connsiteY1" fmla="*/ 2564 h 1311666"/>
                  <a:gd name="connsiteX2" fmla="*/ 1828549 w 2638506"/>
                  <a:gd name="connsiteY2" fmla="*/ 689063 h 1311666"/>
                  <a:gd name="connsiteX3" fmla="*/ 2638506 w 2638506"/>
                  <a:gd name="connsiteY3" fmla="*/ 1311666 h 1311666"/>
                  <a:gd name="connsiteX0" fmla="*/ 1 w 2638506"/>
                  <a:gd name="connsiteY0" fmla="*/ 649841 h 1310898"/>
                  <a:gd name="connsiteX1" fmla="*/ 860110 w 2638506"/>
                  <a:gd name="connsiteY1" fmla="*/ 1796 h 1310898"/>
                  <a:gd name="connsiteX2" fmla="*/ 1828549 w 2638506"/>
                  <a:gd name="connsiteY2" fmla="*/ 688295 h 1310898"/>
                  <a:gd name="connsiteX3" fmla="*/ 2638506 w 2638506"/>
                  <a:gd name="connsiteY3" fmla="*/ 1310898 h 1310898"/>
                  <a:gd name="connsiteX0" fmla="*/ 1 w 2638506"/>
                  <a:gd name="connsiteY0" fmla="*/ 649841 h 1310898"/>
                  <a:gd name="connsiteX1" fmla="*/ 860110 w 2638506"/>
                  <a:gd name="connsiteY1" fmla="*/ 1796 h 1310898"/>
                  <a:gd name="connsiteX2" fmla="*/ 1828549 w 2638506"/>
                  <a:gd name="connsiteY2" fmla="*/ 688295 h 1310898"/>
                  <a:gd name="connsiteX3" fmla="*/ 2638506 w 2638506"/>
                  <a:gd name="connsiteY3" fmla="*/ 1310898 h 1310898"/>
                  <a:gd name="connsiteX0" fmla="*/ 1 w 2664626"/>
                  <a:gd name="connsiteY0" fmla="*/ 635455 h 1309388"/>
                  <a:gd name="connsiteX1" fmla="*/ 886230 w 2664626"/>
                  <a:gd name="connsiteY1" fmla="*/ 286 h 1309388"/>
                  <a:gd name="connsiteX2" fmla="*/ 1854669 w 2664626"/>
                  <a:gd name="connsiteY2" fmla="*/ 686785 h 1309388"/>
                  <a:gd name="connsiteX3" fmla="*/ 2664626 w 2664626"/>
                  <a:gd name="connsiteY3" fmla="*/ 1309388 h 1309388"/>
                  <a:gd name="connsiteX0" fmla="*/ 1 w 1854668"/>
                  <a:gd name="connsiteY0" fmla="*/ 635455 h 686786"/>
                  <a:gd name="connsiteX1" fmla="*/ 886230 w 1854668"/>
                  <a:gd name="connsiteY1" fmla="*/ 286 h 686786"/>
                  <a:gd name="connsiteX2" fmla="*/ 1854669 w 1854668"/>
                  <a:gd name="connsiteY2" fmla="*/ 686785 h 686786"/>
                  <a:gd name="connsiteX0" fmla="*/ 1 w 886231"/>
                  <a:gd name="connsiteY0" fmla="*/ 635455 h 635455"/>
                  <a:gd name="connsiteX1" fmla="*/ 886230 w 886231"/>
                  <a:gd name="connsiteY1" fmla="*/ 286 h 635455"/>
                  <a:gd name="connsiteX0" fmla="*/ 1 w 886231"/>
                  <a:gd name="connsiteY0" fmla="*/ 635460 h 635460"/>
                  <a:gd name="connsiteX1" fmla="*/ 490191 w 886231"/>
                  <a:gd name="connsiteY1" fmla="*/ 91024 h 635460"/>
                  <a:gd name="connsiteX2" fmla="*/ 886230 w 886231"/>
                  <a:gd name="connsiteY2" fmla="*/ 291 h 635460"/>
                  <a:gd name="connsiteX0" fmla="*/ 1 w 886231"/>
                  <a:gd name="connsiteY0" fmla="*/ 636018 h 636018"/>
                  <a:gd name="connsiteX1" fmla="*/ 490191 w 886231"/>
                  <a:gd name="connsiteY1" fmla="*/ 91582 h 636018"/>
                  <a:gd name="connsiteX2" fmla="*/ 886230 w 886231"/>
                  <a:gd name="connsiteY2" fmla="*/ 849 h 636018"/>
                  <a:gd name="connsiteX0" fmla="*/ 1 w 886231"/>
                  <a:gd name="connsiteY0" fmla="*/ 638967 h 638967"/>
                  <a:gd name="connsiteX1" fmla="*/ 490191 w 886231"/>
                  <a:gd name="connsiteY1" fmla="*/ 94531 h 638967"/>
                  <a:gd name="connsiteX2" fmla="*/ 886230 w 886231"/>
                  <a:gd name="connsiteY2" fmla="*/ 3798 h 638967"/>
                  <a:gd name="connsiteX0" fmla="*/ 1 w 490191"/>
                  <a:gd name="connsiteY0" fmla="*/ 544435 h 544435"/>
                  <a:gd name="connsiteX1" fmla="*/ 490191 w 490191"/>
                  <a:gd name="connsiteY1" fmla="*/ -1 h 544435"/>
                  <a:gd name="connsiteX0" fmla="*/ 1 w 490191"/>
                  <a:gd name="connsiteY0" fmla="*/ 544435 h 544435"/>
                  <a:gd name="connsiteX1" fmla="*/ 490191 w 490191"/>
                  <a:gd name="connsiteY1" fmla="*/ -1 h 544435"/>
                  <a:gd name="connsiteX0" fmla="*/ 1 w 490191"/>
                  <a:gd name="connsiteY0" fmla="*/ 544435 h 544435"/>
                  <a:gd name="connsiteX1" fmla="*/ 490191 w 490191"/>
                  <a:gd name="connsiteY1" fmla="*/ -1 h 544435"/>
                  <a:gd name="connsiteX0" fmla="*/ 1 w 490191"/>
                  <a:gd name="connsiteY0" fmla="*/ 544435 h 544435"/>
                  <a:gd name="connsiteX1" fmla="*/ 490191 w 490191"/>
                  <a:gd name="connsiteY1" fmla="*/ -1 h 5444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90191" h="544435">
                    <a:moveTo>
                      <a:pt x="1" y="544435"/>
                    </a:moveTo>
                    <a:cubicBezTo>
                      <a:pt x="59974" y="349650"/>
                      <a:pt x="307478" y="61023"/>
                      <a:pt x="490191" y="-1"/>
                    </a:cubicBezTo>
                  </a:path>
                </a:pathLst>
              </a:custGeom>
              <a:grpFill/>
              <a:ln w="6350" cap="rnd">
                <a:solidFill>
                  <a:srgbClr val="B3736F"/>
                </a:solidFill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 rtlCol="0" anchor="ctr">
                <a:noAutofit/>
              </a:bodyPr>
              <a:lstStyle/>
              <a:p>
                <a:pPr marL="0" marR="0" lvl="0" indent="0" algn="ctr" defTabSz="45719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Imago"/>
                  <a:ea typeface="+mn-ea"/>
                  <a:cs typeface="+mn-cs"/>
                </a:endParaRPr>
              </a:p>
            </p:txBody>
          </p:sp>
          <p:sp>
            <p:nvSpPr>
              <p:cNvPr id="1065" name="Freeform: Shape 94">
                <a:extLst>
                  <a:ext uri="{FF2B5EF4-FFF2-40B4-BE49-F238E27FC236}">
                    <a16:creationId xmlns:a16="http://schemas.microsoft.com/office/drawing/2014/main" id="{B2E983D1-CCFD-19D0-25EE-9FB5B06192E0}"/>
                  </a:ext>
                </a:extLst>
              </p:cNvPr>
              <p:cNvSpPr/>
              <p:nvPr/>
            </p:nvSpPr>
            <p:spPr>
              <a:xfrm rot="4837695" flipV="1">
                <a:off x="3781483" y="3318306"/>
                <a:ext cx="255606" cy="283890"/>
              </a:xfrm>
              <a:custGeom>
                <a:avLst/>
                <a:gdLst>
                  <a:gd name="connsiteX0" fmla="*/ 0 w 2617365"/>
                  <a:gd name="connsiteY0" fmla="*/ 939567 h 939567"/>
                  <a:gd name="connsiteX1" fmla="*/ 922789 w 2617365"/>
                  <a:gd name="connsiteY1" fmla="*/ 16778 h 939567"/>
                  <a:gd name="connsiteX2" fmla="*/ 1761688 w 2617365"/>
                  <a:gd name="connsiteY2" fmla="*/ 855677 h 939567"/>
                  <a:gd name="connsiteX3" fmla="*/ 2617365 w 2617365"/>
                  <a:gd name="connsiteY3" fmla="*/ 0 h 939567"/>
                  <a:gd name="connsiteX0" fmla="*/ 27 w 2617392"/>
                  <a:gd name="connsiteY0" fmla="*/ 939567 h 939567"/>
                  <a:gd name="connsiteX1" fmla="*/ 922816 w 2617392"/>
                  <a:gd name="connsiteY1" fmla="*/ 16778 h 939567"/>
                  <a:gd name="connsiteX2" fmla="*/ 1761715 w 2617392"/>
                  <a:gd name="connsiteY2" fmla="*/ 855677 h 939567"/>
                  <a:gd name="connsiteX3" fmla="*/ 2617392 w 2617392"/>
                  <a:gd name="connsiteY3" fmla="*/ 0 h 939567"/>
                  <a:gd name="connsiteX0" fmla="*/ 27 w 2617392"/>
                  <a:gd name="connsiteY0" fmla="*/ 939567 h 939567"/>
                  <a:gd name="connsiteX1" fmla="*/ 922816 w 2617392"/>
                  <a:gd name="connsiteY1" fmla="*/ 16778 h 939567"/>
                  <a:gd name="connsiteX2" fmla="*/ 1761715 w 2617392"/>
                  <a:gd name="connsiteY2" fmla="*/ 855677 h 939567"/>
                  <a:gd name="connsiteX3" fmla="*/ 2617392 w 2617392"/>
                  <a:gd name="connsiteY3" fmla="*/ 0 h 939567"/>
                  <a:gd name="connsiteX0" fmla="*/ 33 w 2617398"/>
                  <a:gd name="connsiteY0" fmla="*/ 939567 h 939567"/>
                  <a:gd name="connsiteX1" fmla="*/ 922822 w 2617398"/>
                  <a:gd name="connsiteY1" fmla="*/ 16778 h 939567"/>
                  <a:gd name="connsiteX2" fmla="*/ 1761721 w 2617398"/>
                  <a:gd name="connsiteY2" fmla="*/ 855677 h 939567"/>
                  <a:gd name="connsiteX3" fmla="*/ 2617398 w 2617398"/>
                  <a:gd name="connsiteY3" fmla="*/ 0 h 939567"/>
                  <a:gd name="connsiteX0" fmla="*/ 33 w 2617398"/>
                  <a:gd name="connsiteY0" fmla="*/ 939567 h 939567"/>
                  <a:gd name="connsiteX1" fmla="*/ 922822 w 2617398"/>
                  <a:gd name="connsiteY1" fmla="*/ 16778 h 939567"/>
                  <a:gd name="connsiteX2" fmla="*/ 1761721 w 2617398"/>
                  <a:gd name="connsiteY2" fmla="*/ 855677 h 939567"/>
                  <a:gd name="connsiteX3" fmla="*/ 2617398 w 2617398"/>
                  <a:gd name="connsiteY3" fmla="*/ 0 h 939567"/>
                  <a:gd name="connsiteX0" fmla="*/ 45 w 2617410"/>
                  <a:gd name="connsiteY0" fmla="*/ 939567 h 939567"/>
                  <a:gd name="connsiteX1" fmla="*/ 793294 w 2617410"/>
                  <a:gd name="connsiteY1" fmla="*/ 161558 h 939567"/>
                  <a:gd name="connsiteX2" fmla="*/ 1761733 w 2617410"/>
                  <a:gd name="connsiteY2" fmla="*/ 855677 h 939567"/>
                  <a:gd name="connsiteX3" fmla="*/ 2617410 w 2617410"/>
                  <a:gd name="connsiteY3" fmla="*/ 0 h 939567"/>
                  <a:gd name="connsiteX0" fmla="*/ 45 w 2617410"/>
                  <a:gd name="connsiteY0" fmla="*/ 939567 h 939567"/>
                  <a:gd name="connsiteX1" fmla="*/ 793294 w 2617410"/>
                  <a:gd name="connsiteY1" fmla="*/ 161558 h 939567"/>
                  <a:gd name="connsiteX2" fmla="*/ 1761733 w 2617410"/>
                  <a:gd name="connsiteY2" fmla="*/ 855677 h 939567"/>
                  <a:gd name="connsiteX3" fmla="*/ 2617410 w 2617410"/>
                  <a:gd name="connsiteY3" fmla="*/ 0 h 939567"/>
                  <a:gd name="connsiteX0" fmla="*/ 35 w 2617400"/>
                  <a:gd name="connsiteY0" fmla="*/ 939567 h 939567"/>
                  <a:gd name="connsiteX1" fmla="*/ 793284 w 2617400"/>
                  <a:gd name="connsiteY1" fmla="*/ 161558 h 939567"/>
                  <a:gd name="connsiteX2" fmla="*/ 1799823 w 2617400"/>
                  <a:gd name="connsiteY2" fmla="*/ 928067 h 939567"/>
                  <a:gd name="connsiteX3" fmla="*/ 2617400 w 2617400"/>
                  <a:gd name="connsiteY3" fmla="*/ 0 h 939567"/>
                  <a:gd name="connsiteX0" fmla="*/ 35 w 2617400"/>
                  <a:gd name="connsiteY0" fmla="*/ 939567 h 939567"/>
                  <a:gd name="connsiteX1" fmla="*/ 793284 w 2617400"/>
                  <a:gd name="connsiteY1" fmla="*/ 161558 h 939567"/>
                  <a:gd name="connsiteX2" fmla="*/ 1799823 w 2617400"/>
                  <a:gd name="connsiteY2" fmla="*/ 928067 h 939567"/>
                  <a:gd name="connsiteX3" fmla="*/ 2617400 w 2617400"/>
                  <a:gd name="connsiteY3" fmla="*/ 0 h 939567"/>
                  <a:gd name="connsiteX0" fmla="*/ 54 w 2617419"/>
                  <a:gd name="connsiteY0" fmla="*/ 939567 h 939567"/>
                  <a:gd name="connsiteX1" fmla="*/ 793303 w 2617419"/>
                  <a:gd name="connsiteY1" fmla="*/ 161558 h 939567"/>
                  <a:gd name="connsiteX2" fmla="*/ 1799842 w 2617419"/>
                  <a:gd name="connsiteY2" fmla="*/ 928067 h 939567"/>
                  <a:gd name="connsiteX3" fmla="*/ 2617419 w 2617419"/>
                  <a:gd name="connsiteY3" fmla="*/ 0 h 939567"/>
                  <a:gd name="connsiteX0" fmla="*/ 54 w 2602179"/>
                  <a:gd name="connsiteY0" fmla="*/ 778016 h 778016"/>
                  <a:gd name="connsiteX1" fmla="*/ 793303 w 2602179"/>
                  <a:gd name="connsiteY1" fmla="*/ 7 h 778016"/>
                  <a:gd name="connsiteX2" fmla="*/ 1799842 w 2602179"/>
                  <a:gd name="connsiteY2" fmla="*/ 766516 h 778016"/>
                  <a:gd name="connsiteX3" fmla="*/ 2602179 w 2602179"/>
                  <a:gd name="connsiteY3" fmla="*/ 28949 h 778016"/>
                  <a:gd name="connsiteX0" fmla="*/ 54 w 2438349"/>
                  <a:gd name="connsiteY0" fmla="*/ 778016 h 1419810"/>
                  <a:gd name="connsiteX1" fmla="*/ 793303 w 2438349"/>
                  <a:gd name="connsiteY1" fmla="*/ 7 h 1419810"/>
                  <a:gd name="connsiteX2" fmla="*/ 1799842 w 2438349"/>
                  <a:gd name="connsiteY2" fmla="*/ 766516 h 1419810"/>
                  <a:gd name="connsiteX3" fmla="*/ 2438349 w 2438349"/>
                  <a:gd name="connsiteY3" fmla="*/ 1309109 h 1419810"/>
                  <a:gd name="connsiteX0" fmla="*/ 54 w 2438349"/>
                  <a:gd name="connsiteY0" fmla="*/ 778016 h 1309109"/>
                  <a:gd name="connsiteX1" fmla="*/ 793303 w 2438349"/>
                  <a:gd name="connsiteY1" fmla="*/ 7 h 1309109"/>
                  <a:gd name="connsiteX2" fmla="*/ 1799842 w 2438349"/>
                  <a:gd name="connsiteY2" fmla="*/ 766516 h 1309109"/>
                  <a:gd name="connsiteX3" fmla="*/ 2438349 w 2438349"/>
                  <a:gd name="connsiteY3" fmla="*/ 1309109 h 1309109"/>
                  <a:gd name="connsiteX0" fmla="*/ 33 w 2438328"/>
                  <a:gd name="connsiteY0" fmla="*/ 778361 h 1309454"/>
                  <a:gd name="connsiteX1" fmla="*/ 793282 w 2438328"/>
                  <a:gd name="connsiteY1" fmla="*/ 352 h 1309454"/>
                  <a:gd name="connsiteX2" fmla="*/ 1628371 w 2438328"/>
                  <a:gd name="connsiteY2" fmla="*/ 686851 h 1309454"/>
                  <a:gd name="connsiteX3" fmla="*/ 2438328 w 2438328"/>
                  <a:gd name="connsiteY3" fmla="*/ 1309454 h 1309454"/>
                  <a:gd name="connsiteX0" fmla="*/ 33 w 2438328"/>
                  <a:gd name="connsiteY0" fmla="*/ 778494 h 1309587"/>
                  <a:gd name="connsiteX1" fmla="*/ 793282 w 2438328"/>
                  <a:gd name="connsiteY1" fmla="*/ 485 h 1309587"/>
                  <a:gd name="connsiteX2" fmla="*/ 1628371 w 2438328"/>
                  <a:gd name="connsiteY2" fmla="*/ 686984 h 1309587"/>
                  <a:gd name="connsiteX3" fmla="*/ 2438328 w 2438328"/>
                  <a:gd name="connsiteY3" fmla="*/ 1309587 h 1309587"/>
                  <a:gd name="connsiteX0" fmla="*/ 27 w 2556432"/>
                  <a:gd name="connsiteY0" fmla="*/ 671344 h 1309117"/>
                  <a:gd name="connsiteX1" fmla="*/ 911386 w 2556432"/>
                  <a:gd name="connsiteY1" fmla="*/ 15 h 1309117"/>
                  <a:gd name="connsiteX2" fmla="*/ 1746475 w 2556432"/>
                  <a:gd name="connsiteY2" fmla="*/ 686514 h 1309117"/>
                  <a:gd name="connsiteX3" fmla="*/ 2556432 w 2556432"/>
                  <a:gd name="connsiteY3" fmla="*/ 1309117 h 1309117"/>
                  <a:gd name="connsiteX0" fmla="*/ 0 w 2556405"/>
                  <a:gd name="connsiteY0" fmla="*/ 671347 h 1309120"/>
                  <a:gd name="connsiteX1" fmla="*/ 911359 w 2556405"/>
                  <a:gd name="connsiteY1" fmla="*/ 18 h 1309120"/>
                  <a:gd name="connsiteX2" fmla="*/ 1746448 w 2556405"/>
                  <a:gd name="connsiteY2" fmla="*/ 686517 h 1309120"/>
                  <a:gd name="connsiteX3" fmla="*/ 2556405 w 2556405"/>
                  <a:gd name="connsiteY3" fmla="*/ 1309120 h 1309120"/>
                  <a:gd name="connsiteX0" fmla="*/ 0 w 2556405"/>
                  <a:gd name="connsiteY0" fmla="*/ 672485 h 1310258"/>
                  <a:gd name="connsiteX1" fmla="*/ 911359 w 2556405"/>
                  <a:gd name="connsiteY1" fmla="*/ 1156 h 1310258"/>
                  <a:gd name="connsiteX2" fmla="*/ 1746448 w 2556405"/>
                  <a:gd name="connsiteY2" fmla="*/ 687655 h 1310258"/>
                  <a:gd name="connsiteX3" fmla="*/ 2556405 w 2556405"/>
                  <a:gd name="connsiteY3" fmla="*/ 1310258 h 1310258"/>
                  <a:gd name="connsiteX0" fmla="*/ 0 w 2556405"/>
                  <a:gd name="connsiteY0" fmla="*/ 672432 h 1310205"/>
                  <a:gd name="connsiteX1" fmla="*/ 911359 w 2556405"/>
                  <a:gd name="connsiteY1" fmla="*/ 1103 h 1310205"/>
                  <a:gd name="connsiteX2" fmla="*/ 1746448 w 2556405"/>
                  <a:gd name="connsiteY2" fmla="*/ 687602 h 1310205"/>
                  <a:gd name="connsiteX3" fmla="*/ 2556405 w 2556405"/>
                  <a:gd name="connsiteY3" fmla="*/ 1310205 h 1310205"/>
                  <a:gd name="connsiteX0" fmla="*/ 0 w 2556405"/>
                  <a:gd name="connsiteY0" fmla="*/ 672432 h 1310205"/>
                  <a:gd name="connsiteX1" fmla="*/ 778009 w 2556405"/>
                  <a:gd name="connsiteY1" fmla="*/ 1103 h 1310205"/>
                  <a:gd name="connsiteX2" fmla="*/ 1746448 w 2556405"/>
                  <a:gd name="connsiteY2" fmla="*/ 687602 h 1310205"/>
                  <a:gd name="connsiteX3" fmla="*/ 2556405 w 2556405"/>
                  <a:gd name="connsiteY3" fmla="*/ 1310205 h 1310205"/>
                  <a:gd name="connsiteX0" fmla="*/ 0 w 2556405"/>
                  <a:gd name="connsiteY0" fmla="*/ 672186 h 1309959"/>
                  <a:gd name="connsiteX1" fmla="*/ 778009 w 2556405"/>
                  <a:gd name="connsiteY1" fmla="*/ 857 h 1309959"/>
                  <a:gd name="connsiteX2" fmla="*/ 1746448 w 2556405"/>
                  <a:gd name="connsiteY2" fmla="*/ 687356 h 1309959"/>
                  <a:gd name="connsiteX3" fmla="*/ 2556405 w 2556405"/>
                  <a:gd name="connsiteY3" fmla="*/ 1309959 h 1309959"/>
                  <a:gd name="connsiteX0" fmla="*/ 0 w 2556405"/>
                  <a:gd name="connsiteY0" fmla="*/ 671347 h 1309120"/>
                  <a:gd name="connsiteX1" fmla="*/ 778009 w 2556405"/>
                  <a:gd name="connsiteY1" fmla="*/ 18 h 1309120"/>
                  <a:gd name="connsiteX2" fmla="*/ 1746448 w 2556405"/>
                  <a:gd name="connsiteY2" fmla="*/ 686517 h 1309120"/>
                  <a:gd name="connsiteX3" fmla="*/ 2556405 w 2556405"/>
                  <a:gd name="connsiteY3" fmla="*/ 1309120 h 1309120"/>
                  <a:gd name="connsiteX0" fmla="*/ 0 w 2556405"/>
                  <a:gd name="connsiteY0" fmla="*/ 671340 h 1309113"/>
                  <a:gd name="connsiteX1" fmla="*/ 778009 w 2556405"/>
                  <a:gd name="connsiteY1" fmla="*/ 11 h 1309113"/>
                  <a:gd name="connsiteX2" fmla="*/ 1746448 w 2556405"/>
                  <a:gd name="connsiteY2" fmla="*/ 686510 h 1309113"/>
                  <a:gd name="connsiteX3" fmla="*/ 2556405 w 2556405"/>
                  <a:gd name="connsiteY3" fmla="*/ 1309113 h 1309113"/>
                  <a:gd name="connsiteX0" fmla="*/ 0 w 2556405"/>
                  <a:gd name="connsiteY0" fmla="*/ 671340 h 1309113"/>
                  <a:gd name="connsiteX1" fmla="*/ 778009 w 2556405"/>
                  <a:gd name="connsiteY1" fmla="*/ 11 h 1309113"/>
                  <a:gd name="connsiteX2" fmla="*/ 1746448 w 2556405"/>
                  <a:gd name="connsiteY2" fmla="*/ 686510 h 1309113"/>
                  <a:gd name="connsiteX3" fmla="*/ 2556405 w 2556405"/>
                  <a:gd name="connsiteY3" fmla="*/ 1309113 h 1309113"/>
                  <a:gd name="connsiteX0" fmla="*/ 1 w 2593711"/>
                  <a:gd name="connsiteY0" fmla="*/ 644434 h 1309189"/>
                  <a:gd name="connsiteX1" fmla="*/ 815315 w 2593711"/>
                  <a:gd name="connsiteY1" fmla="*/ 87 h 1309189"/>
                  <a:gd name="connsiteX2" fmla="*/ 1783754 w 2593711"/>
                  <a:gd name="connsiteY2" fmla="*/ 686586 h 1309189"/>
                  <a:gd name="connsiteX3" fmla="*/ 2593711 w 2593711"/>
                  <a:gd name="connsiteY3" fmla="*/ 1309189 h 1309189"/>
                  <a:gd name="connsiteX0" fmla="*/ 1 w 2593711"/>
                  <a:gd name="connsiteY0" fmla="*/ 644481 h 1309236"/>
                  <a:gd name="connsiteX1" fmla="*/ 815315 w 2593711"/>
                  <a:gd name="connsiteY1" fmla="*/ 134 h 1309236"/>
                  <a:gd name="connsiteX2" fmla="*/ 1783754 w 2593711"/>
                  <a:gd name="connsiteY2" fmla="*/ 686633 h 1309236"/>
                  <a:gd name="connsiteX3" fmla="*/ 2593711 w 2593711"/>
                  <a:gd name="connsiteY3" fmla="*/ 1309236 h 1309236"/>
                  <a:gd name="connsiteX0" fmla="*/ 1 w 2638506"/>
                  <a:gd name="connsiteY0" fmla="*/ 648155 h 1309212"/>
                  <a:gd name="connsiteX1" fmla="*/ 860110 w 2638506"/>
                  <a:gd name="connsiteY1" fmla="*/ 110 h 1309212"/>
                  <a:gd name="connsiteX2" fmla="*/ 1828549 w 2638506"/>
                  <a:gd name="connsiteY2" fmla="*/ 686609 h 1309212"/>
                  <a:gd name="connsiteX3" fmla="*/ 2638506 w 2638506"/>
                  <a:gd name="connsiteY3" fmla="*/ 1309212 h 1309212"/>
                  <a:gd name="connsiteX0" fmla="*/ 1 w 2638506"/>
                  <a:gd name="connsiteY0" fmla="*/ 648197 h 1309254"/>
                  <a:gd name="connsiteX1" fmla="*/ 860110 w 2638506"/>
                  <a:gd name="connsiteY1" fmla="*/ 152 h 1309254"/>
                  <a:gd name="connsiteX2" fmla="*/ 1828549 w 2638506"/>
                  <a:gd name="connsiteY2" fmla="*/ 686651 h 1309254"/>
                  <a:gd name="connsiteX3" fmla="*/ 2638506 w 2638506"/>
                  <a:gd name="connsiteY3" fmla="*/ 1309254 h 1309254"/>
                  <a:gd name="connsiteX0" fmla="*/ 1 w 2638506"/>
                  <a:gd name="connsiteY0" fmla="*/ 649974 h 1311031"/>
                  <a:gd name="connsiteX1" fmla="*/ 860110 w 2638506"/>
                  <a:gd name="connsiteY1" fmla="*/ 1929 h 1311031"/>
                  <a:gd name="connsiteX2" fmla="*/ 1828549 w 2638506"/>
                  <a:gd name="connsiteY2" fmla="*/ 688428 h 1311031"/>
                  <a:gd name="connsiteX3" fmla="*/ 2638506 w 2638506"/>
                  <a:gd name="connsiteY3" fmla="*/ 1311031 h 1311031"/>
                  <a:gd name="connsiteX0" fmla="*/ 1 w 2638506"/>
                  <a:gd name="connsiteY0" fmla="*/ 649607 h 1310664"/>
                  <a:gd name="connsiteX1" fmla="*/ 860110 w 2638506"/>
                  <a:gd name="connsiteY1" fmla="*/ 1562 h 1310664"/>
                  <a:gd name="connsiteX2" fmla="*/ 1828549 w 2638506"/>
                  <a:gd name="connsiteY2" fmla="*/ 688061 h 1310664"/>
                  <a:gd name="connsiteX3" fmla="*/ 2638506 w 2638506"/>
                  <a:gd name="connsiteY3" fmla="*/ 1310664 h 1310664"/>
                  <a:gd name="connsiteX0" fmla="*/ 1 w 2638506"/>
                  <a:gd name="connsiteY0" fmla="*/ 649193 h 1310250"/>
                  <a:gd name="connsiteX1" fmla="*/ 860110 w 2638506"/>
                  <a:gd name="connsiteY1" fmla="*/ 1148 h 1310250"/>
                  <a:gd name="connsiteX2" fmla="*/ 1828549 w 2638506"/>
                  <a:gd name="connsiteY2" fmla="*/ 687647 h 1310250"/>
                  <a:gd name="connsiteX3" fmla="*/ 2638506 w 2638506"/>
                  <a:gd name="connsiteY3" fmla="*/ 1310250 h 1310250"/>
                  <a:gd name="connsiteX0" fmla="*/ 1 w 2638506"/>
                  <a:gd name="connsiteY0" fmla="*/ 650609 h 1311666"/>
                  <a:gd name="connsiteX1" fmla="*/ 860110 w 2638506"/>
                  <a:gd name="connsiteY1" fmla="*/ 2564 h 1311666"/>
                  <a:gd name="connsiteX2" fmla="*/ 1828549 w 2638506"/>
                  <a:gd name="connsiteY2" fmla="*/ 689063 h 1311666"/>
                  <a:gd name="connsiteX3" fmla="*/ 2638506 w 2638506"/>
                  <a:gd name="connsiteY3" fmla="*/ 1311666 h 1311666"/>
                  <a:gd name="connsiteX0" fmla="*/ 1 w 2638506"/>
                  <a:gd name="connsiteY0" fmla="*/ 649841 h 1310898"/>
                  <a:gd name="connsiteX1" fmla="*/ 860110 w 2638506"/>
                  <a:gd name="connsiteY1" fmla="*/ 1796 h 1310898"/>
                  <a:gd name="connsiteX2" fmla="*/ 1828549 w 2638506"/>
                  <a:gd name="connsiteY2" fmla="*/ 688295 h 1310898"/>
                  <a:gd name="connsiteX3" fmla="*/ 2638506 w 2638506"/>
                  <a:gd name="connsiteY3" fmla="*/ 1310898 h 1310898"/>
                  <a:gd name="connsiteX0" fmla="*/ 1 w 2638506"/>
                  <a:gd name="connsiteY0" fmla="*/ 649841 h 1310898"/>
                  <a:gd name="connsiteX1" fmla="*/ 860110 w 2638506"/>
                  <a:gd name="connsiteY1" fmla="*/ 1796 h 1310898"/>
                  <a:gd name="connsiteX2" fmla="*/ 1828549 w 2638506"/>
                  <a:gd name="connsiteY2" fmla="*/ 688295 h 1310898"/>
                  <a:gd name="connsiteX3" fmla="*/ 2638506 w 2638506"/>
                  <a:gd name="connsiteY3" fmla="*/ 1310898 h 1310898"/>
                  <a:gd name="connsiteX0" fmla="*/ 1 w 2664626"/>
                  <a:gd name="connsiteY0" fmla="*/ 635455 h 1309388"/>
                  <a:gd name="connsiteX1" fmla="*/ 886230 w 2664626"/>
                  <a:gd name="connsiteY1" fmla="*/ 286 h 1309388"/>
                  <a:gd name="connsiteX2" fmla="*/ 1854669 w 2664626"/>
                  <a:gd name="connsiteY2" fmla="*/ 686785 h 1309388"/>
                  <a:gd name="connsiteX3" fmla="*/ 2664626 w 2664626"/>
                  <a:gd name="connsiteY3" fmla="*/ 1309388 h 1309388"/>
                  <a:gd name="connsiteX0" fmla="*/ 1 w 1854668"/>
                  <a:gd name="connsiteY0" fmla="*/ 635455 h 686786"/>
                  <a:gd name="connsiteX1" fmla="*/ 886230 w 1854668"/>
                  <a:gd name="connsiteY1" fmla="*/ 286 h 686786"/>
                  <a:gd name="connsiteX2" fmla="*/ 1854669 w 1854668"/>
                  <a:gd name="connsiteY2" fmla="*/ 686785 h 686786"/>
                  <a:gd name="connsiteX0" fmla="*/ 1 w 886231"/>
                  <a:gd name="connsiteY0" fmla="*/ 635455 h 635455"/>
                  <a:gd name="connsiteX1" fmla="*/ 886230 w 886231"/>
                  <a:gd name="connsiteY1" fmla="*/ 286 h 635455"/>
                  <a:gd name="connsiteX0" fmla="*/ 1 w 886231"/>
                  <a:gd name="connsiteY0" fmla="*/ 635460 h 635460"/>
                  <a:gd name="connsiteX1" fmla="*/ 490191 w 886231"/>
                  <a:gd name="connsiteY1" fmla="*/ 91024 h 635460"/>
                  <a:gd name="connsiteX2" fmla="*/ 886230 w 886231"/>
                  <a:gd name="connsiteY2" fmla="*/ 291 h 635460"/>
                  <a:gd name="connsiteX0" fmla="*/ 1 w 886231"/>
                  <a:gd name="connsiteY0" fmla="*/ 636018 h 636018"/>
                  <a:gd name="connsiteX1" fmla="*/ 490191 w 886231"/>
                  <a:gd name="connsiteY1" fmla="*/ 91582 h 636018"/>
                  <a:gd name="connsiteX2" fmla="*/ 886230 w 886231"/>
                  <a:gd name="connsiteY2" fmla="*/ 849 h 636018"/>
                  <a:gd name="connsiteX0" fmla="*/ 1 w 886231"/>
                  <a:gd name="connsiteY0" fmla="*/ 638967 h 638967"/>
                  <a:gd name="connsiteX1" fmla="*/ 490191 w 886231"/>
                  <a:gd name="connsiteY1" fmla="*/ 94531 h 638967"/>
                  <a:gd name="connsiteX2" fmla="*/ 886230 w 886231"/>
                  <a:gd name="connsiteY2" fmla="*/ 3798 h 638967"/>
                  <a:gd name="connsiteX0" fmla="*/ 1 w 490191"/>
                  <a:gd name="connsiteY0" fmla="*/ 544435 h 544435"/>
                  <a:gd name="connsiteX1" fmla="*/ 490191 w 490191"/>
                  <a:gd name="connsiteY1" fmla="*/ -1 h 544435"/>
                  <a:gd name="connsiteX0" fmla="*/ 1 w 490191"/>
                  <a:gd name="connsiteY0" fmla="*/ 544435 h 544435"/>
                  <a:gd name="connsiteX1" fmla="*/ 490191 w 490191"/>
                  <a:gd name="connsiteY1" fmla="*/ -1 h 544435"/>
                  <a:gd name="connsiteX0" fmla="*/ 1 w 490191"/>
                  <a:gd name="connsiteY0" fmla="*/ 544435 h 544435"/>
                  <a:gd name="connsiteX1" fmla="*/ 490191 w 490191"/>
                  <a:gd name="connsiteY1" fmla="*/ -1 h 544435"/>
                  <a:gd name="connsiteX0" fmla="*/ 1 w 490191"/>
                  <a:gd name="connsiteY0" fmla="*/ 544435 h 544435"/>
                  <a:gd name="connsiteX1" fmla="*/ 490191 w 490191"/>
                  <a:gd name="connsiteY1" fmla="*/ -1 h 5444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90191" h="544435">
                    <a:moveTo>
                      <a:pt x="1" y="544435"/>
                    </a:moveTo>
                    <a:cubicBezTo>
                      <a:pt x="59974" y="349650"/>
                      <a:pt x="307478" y="61023"/>
                      <a:pt x="490191" y="-1"/>
                    </a:cubicBezTo>
                  </a:path>
                </a:pathLst>
              </a:custGeom>
              <a:grpFill/>
              <a:ln w="6350" cap="rnd">
                <a:solidFill>
                  <a:srgbClr val="B3736F"/>
                </a:solidFill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 rtlCol="0" anchor="ctr">
                <a:noAutofit/>
              </a:bodyPr>
              <a:lstStyle/>
              <a:p>
                <a:pPr marL="0" marR="0" lvl="0" indent="0" algn="ctr" defTabSz="45719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Imago"/>
                  <a:ea typeface="+mn-ea"/>
                  <a:cs typeface="+mn-cs"/>
                </a:endParaRPr>
              </a:p>
            </p:txBody>
          </p:sp>
        </p:grpSp>
        <p:cxnSp>
          <p:nvCxnSpPr>
            <p:cNvPr id="1057" name="Straight Connector 1056">
              <a:extLst>
                <a:ext uri="{FF2B5EF4-FFF2-40B4-BE49-F238E27FC236}">
                  <a16:creationId xmlns:a16="http://schemas.microsoft.com/office/drawing/2014/main" id="{2234C1D7-EA5B-EF09-E130-BAFB067F5362}"/>
                </a:ext>
              </a:extLst>
            </p:cNvPr>
            <p:cNvCxnSpPr/>
            <p:nvPr/>
          </p:nvCxnSpPr>
          <p:spPr>
            <a:xfrm>
              <a:off x="704611" y="1696455"/>
              <a:ext cx="187200" cy="0"/>
            </a:xfrm>
            <a:prstGeom prst="line">
              <a:avLst/>
            </a:prstGeom>
            <a:noFill/>
            <a:ln w="6350" cap="rnd">
              <a:solidFill>
                <a:srgbClr val="B3736F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8" name="Straight Connector 1057">
              <a:extLst>
                <a:ext uri="{FF2B5EF4-FFF2-40B4-BE49-F238E27FC236}">
                  <a16:creationId xmlns:a16="http://schemas.microsoft.com/office/drawing/2014/main" id="{F002D711-B05D-7E14-0AE4-132C6B541562}"/>
                </a:ext>
              </a:extLst>
            </p:cNvPr>
            <p:cNvCxnSpPr/>
            <p:nvPr/>
          </p:nvCxnSpPr>
          <p:spPr>
            <a:xfrm>
              <a:off x="718764" y="1640191"/>
              <a:ext cx="158400" cy="0"/>
            </a:xfrm>
            <a:prstGeom prst="line">
              <a:avLst/>
            </a:prstGeom>
            <a:noFill/>
            <a:ln w="6350" cap="rnd">
              <a:solidFill>
                <a:srgbClr val="B3736F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9" name="Straight Connector 1058">
              <a:extLst>
                <a:ext uri="{FF2B5EF4-FFF2-40B4-BE49-F238E27FC236}">
                  <a16:creationId xmlns:a16="http://schemas.microsoft.com/office/drawing/2014/main" id="{858A8B99-088C-1D38-B277-25ABC2B27433}"/>
                </a:ext>
              </a:extLst>
            </p:cNvPr>
            <p:cNvCxnSpPr/>
            <p:nvPr/>
          </p:nvCxnSpPr>
          <p:spPr>
            <a:xfrm>
              <a:off x="723526" y="1752719"/>
              <a:ext cx="151200" cy="0"/>
            </a:xfrm>
            <a:prstGeom prst="line">
              <a:avLst/>
            </a:prstGeom>
            <a:noFill/>
            <a:ln w="6350" cap="rnd">
              <a:solidFill>
                <a:srgbClr val="B3736F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0" name="Straight Connector 1059">
              <a:extLst>
                <a:ext uri="{FF2B5EF4-FFF2-40B4-BE49-F238E27FC236}">
                  <a16:creationId xmlns:a16="http://schemas.microsoft.com/office/drawing/2014/main" id="{020E62B1-4B20-E95F-E5E1-2D59BA92DEF3}"/>
                </a:ext>
              </a:extLst>
            </p:cNvPr>
            <p:cNvCxnSpPr/>
            <p:nvPr/>
          </p:nvCxnSpPr>
          <p:spPr>
            <a:xfrm>
              <a:off x="711021" y="1892039"/>
              <a:ext cx="168771" cy="0"/>
            </a:xfrm>
            <a:prstGeom prst="line">
              <a:avLst/>
            </a:prstGeom>
            <a:noFill/>
            <a:ln w="6350" cap="rnd">
              <a:solidFill>
                <a:srgbClr val="B3736F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1" name="Straight Connector 1060">
              <a:extLst>
                <a:ext uri="{FF2B5EF4-FFF2-40B4-BE49-F238E27FC236}">
                  <a16:creationId xmlns:a16="http://schemas.microsoft.com/office/drawing/2014/main" id="{89B618F5-80E3-C2B3-E755-A6C666CDAFCD}"/>
                </a:ext>
              </a:extLst>
            </p:cNvPr>
            <p:cNvCxnSpPr/>
            <p:nvPr/>
          </p:nvCxnSpPr>
          <p:spPr>
            <a:xfrm>
              <a:off x="727097" y="1495703"/>
              <a:ext cx="168771" cy="0"/>
            </a:xfrm>
            <a:prstGeom prst="line">
              <a:avLst/>
            </a:prstGeom>
            <a:noFill/>
            <a:ln w="6350" cap="rnd">
              <a:solidFill>
                <a:srgbClr val="B3736F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66" name="Text 13">
            <a:extLst>
              <a:ext uri="{FF2B5EF4-FFF2-40B4-BE49-F238E27FC236}">
                <a16:creationId xmlns:a16="http://schemas.microsoft.com/office/drawing/2014/main" id="{4B4EE681-FA6D-31F5-7AE5-EDC037C9E3E9}"/>
              </a:ext>
            </a:extLst>
          </p:cNvPr>
          <p:cNvSpPr/>
          <p:nvPr/>
        </p:nvSpPr>
        <p:spPr>
          <a:xfrm>
            <a:off x="4964665" y="4295491"/>
            <a:ext cx="278054" cy="1828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Arial" pitchFamily="34" charset="-122"/>
                <a:cs typeface="Arial" pitchFamily="34" charset="-120"/>
              </a:rPr>
              <a:t>C1</a:t>
            </a:r>
            <a:endParaRPr kumimoji="0" lang="en-GB" sz="1200" b="1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67" name="Text 13">
            <a:extLst>
              <a:ext uri="{FF2B5EF4-FFF2-40B4-BE49-F238E27FC236}">
                <a16:creationId xmlns:a16="http://schemas.microsoft.com/office/drawing/2014/main" id="{ECF5405F-DBF2-6678-E031-1783A662A465}"/>
              </a:ext>
            </a:extLst>
          </p:cNvPr>
          <p:cNvSpPr/>
          <p:nvPr/>
        </p:nvSpPr>
        <p:spPr>
          <a:xfrm>
            <a:off x="5331378" y="4295490"/>
            <a:ext cx="278054" cy="1828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Arial" pitchFamily="34" charset="-122"/>
                <a:cs typeface="Arial" pitchFamily="34" charset="-120"/>
              </a:rPr>
              <a:t>C2</a:t>
            </a:r>
            <a:endParaRPr kumimoji="0" lang="en-GB" sz="1200" b="1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68" name="Text 13">
            <a:extLst>
              <a:ext uri="{FF2B5EF4-FFF2-40B4-BE49-F238E27FC236}">
                <a16:creationId xmlns:a16="http://schemas.microsoft.com/office/drawing/2014/main" id="{0C7818C0-0233-449F-641C-4BD2665C4C4D}"/>
              </a:ext>
            </a:extLst>
          </p:cNvPr>
          <p:cNvSpPr/>
          <p:nvPr/>
        </p:nvSpPr>
        <p:spPr>
          <a:xfrm>
            <a:off x="5714759" y="4295490"/>
            <a:ext cx="278054" cy="1828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Arial" pitchFamily="34" charset="-122"/>
                <a:cs typeface="Arial" pitchFamily="34" charset="-120"/>
              </a:rPr>
              <a:t>C3</a:t>
            </a:r>
            <a:endParaRPr kumimoji="0" lang="en-GB" sz="1200" b="1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69" name="Text 13">
            <a:extLst>
              <a:ext uri="{FF2B5EF4-FFF2-40B4-BE49-F238E27FC236}">
                <a16:creationId xmlns:a16="http://schemas.microsoft.com/office/drawing/2014/main" id="{0F2C5552-9824-3894-B10C-067EA2FDCE0D}"/>
              </a:ext>
            </a:extLst>
          </p:cNvPr>
          <p:cNvSpPr/>
          <p:nvPr/>
        </p:nvSpPr>
        <p:spPr>
          <a:xfrm>
            <a:off x="6164815" y="4295490"/>
            <a:ext cx="278054" cy="1828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Arial" pitchFamily="34" charset="-122"/>
                <a:cs typeface="Arial" pitchFamily="34" charset="-120"/>
              </a:rPr>
              <a:t>C4</a:t>
            </a:r>
            <a:endParaRPr kumimoji="0" lang="en-GB" sz="1200" b="1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70" name="Text 13">
            <a:extLst>
              <a:ext uri="{FF2B5EF4-FFF2-40B4-BE49-F238E27FC236}">
                <a16:creationId xmlns:a16="http://schemas.microsoft.com/office/drawing/2014/main" id="{B3098B6D-EAC1-E8F5-7B3B-6AA7B6BE639F}"/>
              </a:ext>
            </a:extLst>
          </p:cNvPr>
          <p:cNvSpPr/>
          <p:nvPr/>
        </p:nvSpPr>
        <p:spPr>
          <a:xfrm>
            <a:off x="6598202" y="4295490"/>
            <a:ext cx="278054" cy="1828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Arial" pitchFamily="34" charset="-122"/>
                <a:cs typeface="Arial" pitchFamily="34" charset="-120"/>
              </a:rPr>
              <a:t>C4</a:t>
            </a:r>
            <a:endParaRPr kumimoji="0" lang="en-GB" sz="1200" b="1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grpSp>
        <p:nvGrpSpPr>
          <p:cNvPr id="1071" name="Group 1070">
            <a:extLst>
              <a:ext uri="{FF2B5EF4-FFF2-40B4-BE49-F238E27FC236}">
                <a16:creationId xmlns:a16="http://schemas.microsoft.com/office/drawing/2014/main" id="{88F5D6A5-2279-4DD5-B834-EF5E499122BE}"/>
              </a:ext>
            </a:extLst>
          </p:cNvPr>
          <p:cNvGrpSpPr>
            <a:grpSpLocks noChangeAspect="1"/>
          </p:cNvGrpSpPr>
          <p:nvPr/>
        </p:nvGrpSpPr>
        <p:grpSpPr>
          <a:xfrm rot="2938125">
            <a:off x="5430512" y="4046716"/>
            <a:ext cx="87490" cy="210070"/>
            <a:chOff x="704611" y="1456658"/>
            <a:chExt cx="199531" cy="479091"/>
          </a:xfrm>
        </p:grpSpPr>
        <p:grpSp>
          <p:nvGrpSpPr>
            <p:cNvPr id="1072" name="Group 1071">
              <a:extLst>
                <a:ext uri="{FF2B5EF4-FFF2-40B4-BE49-F238E27FC236}">
                  <a16:creationId xmlns:a16="http://schemas.microsoft.com/office/drawing/2014/main" id="{716DFAEF-A1DA-C564-A550-EC069E7166C0}"/>
                </a:ext>
              </a:extLst>
            </p:cNvPr>
            <p:cNvGrpSpPr/>
            <p:nvPr/>
          </p:nvGrpSpPr>
          <p:grpSpPr>
            <a:xfrm flipH="1">
              <a:off x="705120" y="1456658"/>
              <a:ext cx="199022" cy="479091"/>
              <a:chOff x="3767341" y="2244425"/>
              <a:chExt cx="585304" cy="1408966"/>
            </a:xfrm>
            <a:noFill/>
          </p:grpSpPr>
          <p:sp>
            <p:nvSpPr>
              <p:cNvPr id="1078" name="Freeform: Shape 91">
                <a:extLst>
                  <a:ext uri="{FF2B5EF4-FFF2-40B4-BE49-F238E27FC236}">
                    <a16:creationId xmlns:a16="http://schemas.microsoft.com/office/drawing/2014/main" id="{AE7C1793-ABE4-E987-9836-D687870E5694}"/>
                  </a:ext>
                </a:extLst>
              </p:cNvPr>
              <p:cNvSpPr/>
              <p:nvPr/>
            </p:nvSpPr>
            <p:spPr>
              <a:xfrm rot="4837695" flipH="1">
                <a:off x="3572300" y="2502917"/>
                <a:ext cx="1016473" cy="499490"/>
              </a:xfrm>
              <a:custGeom>
                <a:avLst/>
                <a:gdLst>
                  <a:gd name="connsiteX0" fmla="*/ 0 w 2617365"/>
                  <a:gd name="connsiteY0" fmla="*/ 939567 h 939567"/>
                  <a:gd name="connsiteX1" fmla="*/ 922789 w 2617365"/>
                  <a:gd name="connsiteY1" fmla="*/ 16778 h 939567"/>
                  <a:gd name="connsiteX2" fmla="*/ 1761688 w 2617365"/>
                  <a:gd name="connsiteY2" fmla="*/ 855677 h 939567"/>
                  <a:gd name="connsiteX3" fmla="*/ 2617365 w 2617365"/>
                  <a:gd name="connsiteY3" fmla="*/ 0 h 939567"/>
                  <a:gd name="connsiteX0" fmla="*/ 27 w 2617392"/>
                  <a:gd name="connsiteY0" fmla="*/ 939567 h 939567"/>
                  <a:gd name="connsiteX1" fmla="*/ 922816 w 2617392"/>
                  <a:gd name="connsiteY1" fmla="*/ 16778 h 939567"/>
                  <a:gd name="connsiteX2" fmla="*/ 1761715 w 2617392"/>
                  <a:gd name="connsiteY2" fmla="*/ 855677 h 939567"/>
                  <a:gd name="connsiteX3" fmla="*/ 2617392 w 2617392"/>
                  <a:gd name="connsiteY3" fmla="*/ 0 h 939567"/>
                  <a:gd name="connsiteX0" fmla="*/ 27 w 2617392"/>
                  <a:gd name="connsiteY0" fmla="*/ 939567 h 939567"/>
                  <a:gd name="connsiteX1" fmla="*/ 922816 w 2617392"/>
                  <a:gd name="connsiteY1" fmla="*/ 16778 h 939567"/>
                  <a:gd name="connsiteX2" fmla="*/ 1761715 w 2617392"/>
                  <a:gd name="connsiteY2" fmla="*/ 855677 h 939567"/>
                  <a:gd name="connsiteX3" fmla="*/ 2617392 w 2617392"/>
                  <a:gd name="connsiteY3" fmla="*/ 0 h 939567"/>
                  <a:gd name="connsiteX0" fmla="*/ 33 w 2617398"/>
                  <a:gd name="connsiteY0" fmla="*/ 939567 h 939567"/>
                  <a:gd name="connsiteX1" fmla="*/ 922822 w 2617398"/>
                  <a:gd name="connsiteY1" fmla="*/ 16778 h 939567"/>
                  <a:gd name="connsiteX2" fmla="*/ 1761721 w 2617398"/>
                  <a:gd name="connsiteY2" fmla="*/ 855677 h 939567"/>
                  <a:gd name="connsiteX3" fmla="*/ 2617398 w 2617398"/>
                  <a:gd name="connsiteY3" fmla="*/ 0 h 939567"/>
                  <a:gd name="connsiteX0" fmla="*/ 33 w 2617398"/>
                  <a:gd name="connsiteY0" fmla="*/ 939567 h 939567"/>
                  <a:gd name="connsiteX1" fmla="*/ 922822 w 2617398"/>
                  <a:gd name="connsiteY1" fmla="*/ 16778 h 939567"/>
                  <a:gd name="connsiteX2" fmla="*/ 1761721 w 2617398"/>
                  <a:gd name="connsiteY2" fmla="*/ 855677 h 939567"/>
                  <a:gd name="connsiteX3" fmla="*/ 2617398 w 2617398"/>
                  <a:gd name="connsiteY3" fmla="*/ 0 h 939567"/>
                  <a:gd name="connsiteX0" fmla="*/ 45 w 2617410"/>
                  <a:gd name="connsiteY0" fmla="*/ 939567 h 939567"/>
                  <a:gd name="connsiteX1" fmla="*/ 793294 w 2617410"/>
                  <a:gd name="connsiteY1" fmla="*/ 161558 h 939567"/>
                  <a:gd name="connsiteX2" fmla="*/ 1761733 w 2617410"/>
                  <a:gd name="connsiteY2" fmla="*/ 855677 h 939567"/>
                  <a:gd name="connsiteX3" fmla="*/ 2617410 w 2617410"/>
                  <a:gd name="connsiteY3" fmla="*/ 0 h 939567"/>
                  <a:gd name="connsiteX0" fmla="*/ 45 w 2617410"/>
                  <a:gd name="connsiteY0" fmla="*/ 939567 h 939567"/>
                  <a:gd name="connsiteX1" fmla="*/ 793294 w 2617410"/>
                  <a:gd name="connsiteY1" fmla="*/ 161558 h 939567"/>
                  <a:gd name="connsiteX2" fmla="*/ 1761733 w 2617410"/>
                  <a:gd name="connsiteY2" fmla="*/ 855677 h 939567"/>
                  <a:gd name="connsiteX3" fmla="*/ 2617410 w 2617410"/>
                  <a:gd name="connsiteY3" fmla="*/ 0 h 939567"/>
                  <a:gd name="connsiteX0" fmla="*/ 35 w 2617400"/>
                  <a:gd name="connsiteY0" fmla="*/ 939567 h 939567"/>
                  <a:gd name="connsiteX1" fmla="*/ 793284 w 2617400"/>
                  <a:gd name="connsiteY1" fmla="*/ 161558 h 939567"/>
                  <a:gd name="connsiteX2" fmla="*/ 1799823 w 2617400"/>
                  <a:gd name="connsiteY2" fmla="*/ 928067 h 939567"/>
                  <a:gd name="connsiteX3" fmla="*/ 2617400 w 2617400"/>
                  <a:gd name="connsiteY3" fmla="*/ 0 h 939567"/>
                  <a:gd name="connsiteX0" fmla="*/ 35 w 2617400"/>
                  <a:gd name="connsiteY0" fmla="*/ 939567 h 939567"/>
                  <a:gd name="connsiteX1" fmla="*/ 793284 w 2617400"/>
                  <a:gd name="connsiteY1" fmla="*/ 161558 h 939567"/>
                  <a:gd name="connsiteX2" fmla="*/ 1799823 w 2617400"/>
                  <a:gd name="connsiteY2" fmla="*/ 928067 h 939567"/>
                  <a:gd name="connsiteX3" fmla="*/ 2617400 w 2617400"/>
                  <a:gd name="connsiteY3" fmla="*/ 0 h 939567"/>
                  <a:gd name="connsiteX0" fmla="*/ 54 w 2617419"/>
                  <a:gd name="connsiteY0" fmla="*/ 939567 h 939567"/>
                  <a:gd name="connsiteX1" fmla="*/ 793303 w 2617419"/>
                  <a:gd name="connsiteY1" fmla="*/ 161558 h 939567"/>
                  <a:gd name="connsiteX2" fmla="*/ 1799842 w 2617419"/>
                  <a:gd name="connsiteY2" fmla="*/ 928067 h 939567"/>
                  <a:gd name="connsiteX3" fmla="*/ 2617419 w 2617419"/>
                  <a:gd name="connsiteY3" fmla="*/ 0 h 939567"/>
                  <a:gd name="connsiteX0" fmla="*/ 54 w 2602179"/>
                  <a:gd name="connsiteY0" fmla="*/ 778016 h 778016"/>
                  <a:gd name="connsiteX1" fmla="*/ 793303 w 2602179"/>
                  <a:gd name="connsiteY1" fmla="*/ 7 h 778016"/>
                  <a:gd name="connsiteX2" fmla="*/ 1799842 w 2602179"/>
                  <a:gd name="connsiteY2" fmla="*/ 766516 h 778016"/>
                  <a:gd name="connsiteX3" fmla="*/ 2602179 w 2602179"/>
                  <a:gd name="connsiteY3" fmla="*/ 28949 h 778016"/>
                  <a:gd name="connsiteX0" fmla="*/ 54 w 2438349"/>
                  <a:gd name="connsiteY0" fmla="*/ 778016 h 1419810"/>
                  <a:gd name="connsiteX1" fmla="*/ 793303 w 2438349"/>
                  <a:gd name="connsiteY1" fmla="*/ 7 h 1419810"/>
                  <a:gd name="connsiteX2" fmla="*/ 1799842 w 2438349"/>
                  <a:gd name="connsiteY2" fmla="*/ 766516 h 1419810"/>
                  <a:gd name="connsiteX3" fmla="*/ 2438349 w 2438349"/>
                  <a:gd name="connsiteY3" fmla="*/ 1309109 h 1419810"/>
                  <a:gd name="connsiteX0" fmla="*/ 54 w 2438349"/>
                  <a:gd name="connsiteY0" fmla="*/ 778016 h 1309109"/>
                  <a:gd name="connsiteX1" fmla="*/ 793303 w 2438349"/>
                  <a:gd name="connsiteY1" fmla="*/ 7 h 1309109"/>
                  <a:gd name="connsiteX2" fmla="*/ 1799842 w 2438349"/>
                  <a:gd name="connsiteY2" fmla="*/ 766516 h 1309109"/>
                  <a:gd name="connsiteX3" fmla="*/ 2438349 w 2438349"/>
                  <a:gd name="connsiteY3" fmla="*/ 1309109 h 1309109"/>
                  <a:gd name="connsiteX0" fmla="*/ 33 w 2438328"/>
                  <a:gd name="connsiteY0" fmla="*/ 778361 h 1309454"/>
                  <a:gd name="connsiteX1" fmla="*/ 793282 w 2438328"/>
                  <a:gd name="connsiteY1" fmla="*/ 352 h 1309454"/>
                  <a:gd name="connsiteX2" fmla="*/ 1628371 w 2438328"/>
                  <a:gd name="connsiteY2" fmla="*/ 686851 h 1309454"/>
                  <a:gd name="connsiteX3" fmla="*/ 2438328 w 2438328"/>
                  <a:gd name="connsiteY3" fmla="*/ 1309454 h 1309454"/>
                  <a:gd name="connsiteX0" fmla="*/ 33 w 2438328"/>
                  <a:gd name="connsiteY0" fmla="*/ 778494 h 1309587"/>
                  <a:gd name="connsiteX1" fmla="*/ 793282 w 2438328"/>
                  <a:gd name="connsiteY1" fmla="*/ 485 h 1309587"/>
                  <a:gd name="connsiteX2" fmla="*/ 1628371 w 2438328"/>
                  <a:gd name="connsiteY2" fmla="*/ 686984 h 1309587"/>
                  <a:gd name="connsiteX3" fmla="*/ 2438328 w 2438328"/>
                  <a:gd name="connsiteY3" fmla="*/ 1309587 h 1309587"/>
                  <a:gd name="connsiteX0" fmla="*/ 27 w 2556432"/>
                  <a:gd name="connsiteY0" fmla="*/ 671344 h 1309117"/>
                  <a:gd name="connsiteX1" fmla="*/ 911386 w 2556432"/>
                  <a:gd name="connsiteY1" fmla="*/ 15 h 1309117"/>
                  <a:gd name="connsiteX2" fmla="*/ 1746475 w 2556432"/>
                  <a:gd name="connsiteY2" fmla="*/ 686514 h 1309117"/>
                  <a:gd name="connsiteX3" fmla="*/ 2556432 w 2556432"/>
                  <a:gd name="connsiteY3" fmla="*/ 1309117 h 1309117"/>
                  <a:gd name="connsiteX0" fmla="*/ 0 w 2556405"/>
                  <a:gd name="connsiteY0" fmla="*/ 671347 h 1309120"/>
                  <a:gd name="connsiteX1" fmla="*/ 911359 w 2556405"/>
                  <a:gd name="connsiteY1" fmla="*/ 18 h 1309120"/>
                  <a:gd name="connsiteX2" fmla="*/ 1746448 w 2556405"/>
                  <a:gd name="connsiteY2" fmla="*/ 686517 h 1309120"/>
                  <a:gd name="connsiteX3" fmla="*/ 2556405 w 2556405"/>
                  <a:gd name="connsiteY3" fmla="*/ 1309120 h 1309120"/>
                  <a:gd name="connsiteX0" fmla="*/ 0 w 2556405"/>
                  <a:gd name="connsiteY0" fmla="*/ 672485 h 1310258"/>
                  <a:gd name="connsiteX1" fmla="*/ 911359 w 2556405"/>
                  <a:gd name="connsiteY1" fmla="*/ 1156 h 1310258"/>
                  <a:gd name="connsiteX2" fmla="*/ 1746448 w 2556405"/>
                  <a:gd name="connsiteY2" fmla="*/ 687655 h 1310258"/>
                  <a:gd name="connsiteX3" fmla="*/ 2556405 w 2556405"/>
                  <a:gd name="connsiteY3" fmla="*/ 1310258 h 1310258"/>
                  <a:gd name="connsiteX0" fmla="*/ 0 w 2556405"/>
                  <a:gd name="connsiteY0" fmla="*/ 672432 h 1310205"/>
                  <a:gd name="connsiteX1" fmla="*/ 911359 w 2556405"/>
                  <a:gd name="connsiteY1" fmla="*/ 1103 h 1310205"/>
                  <a:gd name="connsiteX2" fmla="*/ 1746448 w 2556405"/>
                  <a:gd name="connsiteY2" fmla="*/ 687602 h 1310205"/>
                  <a:gd name="connsiteX3" fmla="*/ 2556405 w 2556405"/>
                  <a:gd name="connsiteY3" fmla="*/ 1310205 h 1310205"/>
                  <a:gd name="connsiteX0" fmla="*/ 0 w 2556405"/>
                  <a:gd name="connsiteY0" fmla="*/ 672432 h 1310205"/>
                  <a:gd name="connsiteX1" fmla="*/ 778009 w 2556405"/>
                  <a:gd name="connsiteY1" fmla="*/ 1103 h 1310205"/>
                  <a:gd name="connsiteX2" fmla="*/ 1746448 w 2556405"/>
                  <a:gd name="connsiteY2" fmla="*/ 687602 h 1310205"/>
                  <a:gd name="connsiteX3" fmla="*/ 2556405 w 2556405"/>
                  <a:gd name="connsiteY3" fmla="*/ 1310205 h 1310205"/>
                  <a:gd name="connsiteX0" fmla="*/ 0 w 2556405"/>
                  <a:gd name="connsiteY0" fmla="*/ 672186 h 1309959"/>
                  <a:gd name="connsiteX1" fmla="*/ 778009 w 2556405"/>
                  <a:gd name="connsiteY1" fmla="*/ 857 h 1309959"/>
                  <a:gd name="connsiteX2" fmla="*/ 1746448 w 2556405"/>
                  <a:gd name="connsiteY2" fmla="*/ 687356 h 1309959"/>
                  <a:gd name="connsiteX3" fmla="*/ 2556405 w 2556405"/>
                  <a:gd name="connsiteY3" fmla="*/ 1309959 h 1309959"/>
                  <a:gd name="connsiteX0" fmla="*/ 0 w 2556405"/>
                  <a:gd name="connsiteY0" fmla="*/ 671347 h 1309120"/>
                  <a:gd name="connsiteX1" fmla="*/ 778009 w 2556405"/>
                  <a:gd name="connsiteY1" fmla="*/ 18 h 1309120"/>
                  <a:gd name="connsiteX2" fmla="*/ 1746448 w 2556405"/>
                  <a:gd name="connsiteY2" fmla="*/ 686517 h 1309120"/>
                  <a:gd name="connsiteX3" fmla="*/ 2556405 w 2556405"/>
                  <a:gd name="connsiteY3" fmla="*/ 1309120 h 1309120"/>
                  <a:gd name="connsiteX0" fmla="*/ 0 w 2556405"/>
                  <a:gd name="connsiteY0" fmla="*/ 671340 h 1309113"/>
                  <a:gd name="connsiteX1" fmla="*/ 778009 w 2556405"/>
                  <a:gd name="connsiteY1" fmla="*/ 11 h 1309113"/>
                  <a:gd name="connsiteX2" fmla="*/ 1746448 w 2556405"/>
                  <a:gd name="connsiteY2" fmla="*/ 686510 h 1309113"/>
                  <a:gd name="connsiteX3" fmla="*/ 2556405 w 2556405"/>
                  <a:gd name="connsiteY3" fmla="*/ 1309113 h 1309113"/>
                  <a:gd name="connsiteX0" fmla="*/ 0 w 2556405"/>
                  <a:gd name="connsiteY0" fmla="*/ 671340 h 1309113"/>
                  <a:gd name="connsiteX1" fmla="*/ 778009 w 2556405"/>
                  <a:gd name="connsiteY1" fmla="*/ 11 h 1309113"/>
                  <a:gd name="connsiteX2" fmla="*/ 1746448 w 2556405"/>
                  <a:gd name="connsiteY2" fmla="*/ 686510 h 1309113"/>
                  <a:gd name="connsiteX3" fmla="*/ 2556405 w 2556405"/>
                  <a:gd name="connsiteY3" fmla="*/ 1309113 h 1309113"/>
                  <a:gd name="connsiteX0" fmla="*/ 1 w 2593711"/>
                  <a:gd name="connsiteY0" fmla="*/ 644434 h 1309189"/>
                  <a:gd name="connsiteX1" fmla="*/ 815315 w 2593711"/>
                  <a:gd name="connsiteY1" fmla="*/ 87 h 1309189"/>
                  <a:gd name="connsiteX2" fmla="*/ 1783754 w 2593711"/>
                  <a:gd name="connsiteY2" fmla="*/ 686586 h 1309189"/>
                  <a:gd name="connsiteX3" fmla="*/ 2593711 w 2593711"/>
                  <a:gd name="connsiteY3" fmla="*/ 1309189 h 1309189"/>
                  <a:gd name="connsiteX0" fmla="*/ 1 w 2593711"/>
                  <a:gd name="connsiteY0" fmla="*/ 644481 h 1309236"/>
                  <a:gd name="connsiteX1" fmla="*/ 815315 w 2593711"/>
                  <a:gd name="connsiteY1" fmla="*/ 134 h 1309236"/>
                  <a:gd name="connsiteX2" fmla="*/ 1783754 w 2593711"/>
                  <a:gd name="connsiteY2" fmla="*/ 686633 h 1309236"/>
                  <a:gd name="connsiteX3" fmla="*/ 2593711 w 2593711"/>
                  <a:gd name="connsiteY3" fmla="*/ 1309236 h 1309236"/>
                  <a:gd name="connsiteX0" fmla="*/ 1 w 2638506"/>
                  <a:gd name="connsiteY0" fmla="*/ 648155 h 1309212"/>
                  <a:gd name="connsiteX1" fmla="*/ 860110 w 2638506"/>
                  <a:gd name="connsiteY1" fmla="*/ 110 h 1309212"/>
                  <a:gd name="connsiteX2" fmla="*/ 1828549 w 2638506"/>
                  <a:gd name="connsiteY2" fmla="*/ 686609 h 1309212"/>
                  <a:gd name="connsiteX3" fmla="*/ 2638506 w 2638506"/>
                  <a:gd name="connsiteY3" fmla="*/ 1309212 h 1309212"/>
                  <a:gd name="connsiteX0" fmla="*/ 1 w 2638506"/>
                  <a:gd name="connsiteY0" fmla="*/ 648197 h 1309254"/>
                  <a:gd name="connsiteX1" fmla="*/ 860110 w 2638506"/>
                  <a:gd name="connsiteY1" fmla="*/ 152 h 1309254"/>
                  <a:gd name="connsiteX2" fmla="*/ 1828549 w 2638506"/>
                  <a:gd name="connsiteY2" fmla="*/ 686651 h 1309254"/>
                  <a:gd name="connsiteX3" fmla="*/ 2638506 w 2638506"/>
                  <a:gd name="connsiteY3" fmla="*/ 1309254 h 1309254"/>
                  <a:gd name="connsiteX0" fmla="*/ 1 w 2638506"/>
                  <a:gd name="connsiteY0" fmla="*/ 649974 h 1311031"/>
                  <a:gd name="connsiteX1" fmla="*/ 860110 w 2638506"/>
                  <a:gd name="connsiteY1" fmla="*/ 1929 h 1311031"/>
                  <a:gd name="connsiteX2" fmla="*/ 1828549 w 2638506"/>
                  <a:gd name="connsiteY2" fmla="*/ 688428 h 1311031"/>
                  <a:gd name="connsiteX3" fmla="*/ 2638506 w 2638506"/>
                  <a:gd name="connsiteY3" fmla="*/ 1311031 h 1311031"/>
                  <a:gd name="connsiteX0" fmla="*/ 1 w 2638506"/>
                  <a:gd name="connsiteY0" fmla="*/ 649607 h 1310664"/>
                  <a:gd name="connsiteX1" fmla="*/ 860110 w 2638506"/>
                  <a:gd name="connsiteY1" fmla="*/ 1562 h 1310664"/>
                  <a:gd name="connsiteX2" fmla="*/ 1828549 w 2638506"/>
                  <a:gd name="connsiteY2" fmla="*/ 688061 h 1310664"/>
                  <a:gd name="connsiteX3" fmla="*/ 2638506 w 2638506"/>
                  <a:gd name="connsiteY3" fmla="*/ 1310664 h 1310664"/>
                  <a:gd name="connsiteX0" fmla="*/ 1 w 2638506"/>
                  <a:gd name="connsiteY0" fmla="*/ 649193 h 1310250"/>
                  <a:gd name="connsiteX1" fmla="*/ 860110 w 2638506"/>
                  <a:gd name="connsiteY1" fmla="*/ 1148 h 1310250"/>
                  <a:gd name="connsiteX2" fmla="*/ 1828549 w 2638506"/>
                  <a:gd name="connsiteY2" fmla="*/ 687647 h 1310250"/>
                  <a:gd name="connsiteX3" fmla="*/ 2638506 w 2638506"/>
                  <a:gd name="connsiteY3" fmla="*/ 1310250 h 1310250"/>
                  <a:gd name="connsiteX0" fmla="*/ 1 w 2638506"/>
                  <a:gd name="connsiteY0" fmla="*/ 650609 h 1311666"/>
                  <a:gd name="connsiteX1" fmla="*/ 860110 w 2638506"/>
                  <a:gd name="connsiteY1" fmla="*/ 2564 h 1311666"/>
                  <a:gd name="connsiteX2" fmla="*/ 1828549 w 2638506"/>
                  <a:gd name="connsiteY2" fmla="*/ 689063 h 1311666"/>
                  <a:gd name="connsiteX3" fmla="*/ 2638506 w 2638506"/>
                  <a:gd name="connsiteY3" fmla="*/ 1311666 h 1311666"/>
                  <a:gd name="connsiteX0" fmla="*/ 1 w 2638506"/>
                  <a:gd name="connsiteY0" fmla="*/ 649841 h 1310898"/>
                  <a:gd name="connsiteX1" fmla="*/ 860110 w 2638506"/>
                  <a:gd name="connsiteY1" fmla="*/ 1796 h 1310898"/>
                  <a:gd name="connsiteX2" fmla="*/ 1828549 w 2638506"/>
                  <a:gd name="connsiteY2" fmla="*/ 688295 h 1310898"/>
                  <a:gd name="connsiteX3" fmla="*/ 2638506 w 2638506"/>
                  <a:gd name="connsiteY3" fmla="*/ 1310898 h 1310898"/>
                  <a:gd name="connsiteX0" fmla="*/ 1 w 2638506"/>
                  <a:gd name="connsiteY0" fmla="*/ 649841 h 1310898"/>
                  <a:gd name="connsiteX1" fmla="*/ 860110 w 2638506"/>
                  <a:gd name="connsiteY1" fmla="*/ 1796 h 1310898"/>
                  <a:gd name="connsiteX2" fmla="*/ 1828549 w 2638506"/>
                  <a:gd name="connsiteY2" fmla="*/ 688295 h 1310898"/>
                  <a:gd name="connsiteX3" fmla="*/ 2638506 w 2638506"/>
                  <a:gd name="connsiteY3" fmla="*/ 1310898 h 1310898"/>
                  <a:gd name="connsiteX0" fmla="*/ 1 w 2664626"/>
                  <a:gd name="connsiteY0" fmla="*/ 635455 h 1309388"/>
                  <a:gd name="connsiteX1" fmla="*/ 886230 w 2664626"/>
                  <a:gd name="connsiteY1" fmla="*/ 286 h 1309388"/>
                  <a:gd name="connsiteX2" fmla="*/ 1854669 w 2664626"/>
                  <a:gd name="connsiteY2" fmla="*/ 686785 h 1309388"/>
                  <a:gd name="connsiteX3" fmla="*/ 2664626 w 2664626"/>
                  <a:gd name="connsiteY3" fmla="*/ 1309388 h 13093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664626" h="1309388">
                    <a:moveTo>
                      <a:pt x="1" y="635455"/>
                    </a:moveTo>
                    <a:cubicBezTo>
                      <a:pt x="160378" y="175322"/>
                      <a:pt x="577119" y="-8269"/>
                      <a:pt x="886230" y="286"/>
                    </a:cubicBezTo>
                    <a:cubicBezTo>
                      <a:pt x="1195341" y="8841"/>
                      <a:pt x="1553315" y="159574"/>
                      <a:pt x="1854669" y="686785"/>
                    </a:cubicBezTo>
                    <a:cubicBezTo>
                      <a:pt x="2156023" y="1213996"/>
                      <a:pt x="2452061" y="1284105"/>
                      <a:pt x="2664626" y="1309388"/>
                    </a:cubicBezTo>
                  </a:path>
                </a:pathLst>
              </a:custGeom>
              <a:grpFill/>
              <a:ln w="6350" cap="rnd">
                <a:solidFill>
                  <a:schemeClr val="accent1"/>
                </a:solidFill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 rtlCol="0" anchor="ctr">
                <a:noAutofit/>
              </a:bodyPr>
              <a:lstStyle/>
              <a:p>
                <a:pPr marL="0" marR="0" lvl="0" indent="0" algn="ctr" defTabSz="45719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Imago"/>
                  <a:ea typeface="+mn-ea"/>
                  <a:cs typeface="+mn-cs"/>
                </a:endParaRPr>
              </a:p>
            </p:txBody>
          </p:sp>
          <p:sp>
            <p:nvSpPr>
              <p:cNvPr id="1079" name="Freeform: Shape 92">
                <a:extLst>
                  <a:ext uri="{FF2B5EF4-FFF2-40B4-BE49-F238E27FC236}">
                    <a16:creationId xmlns:a16="http://schemas.microsoft.com/office/drawing/2014/main" id="{74F159DE-FDA0-E6D3-4D45-3C6176BFB7B0}"/>
                  </a:ext>
                </a:extLst>
              </p:cNvPr>
              <p:cNvSpPr/>
              <p:nvPr/>
            </p:nvSpPr>
            <p:spPr>
              <a:xfrm rot="4837695" flipV="1">
                <a:off x="3555458" y="2895410"/>
                <a:ext cx="1016473" cy="499490"/>
              </a:xfrm>
              <a:custGeom>
                <a:avLst/>
                <a:gdLst>
                  <a:gd name="connsiteX0" fmla="*/ 0 w 2617365"/>
                  <a:gd name="connsiteY0" fmla="*/ 939567 h 939567"/>
                  <a:gd name="connsiteX1" fmla="*/ 922789 w 2617365"/>
                  <a:gd name="connsiteY1" fmla="*/ 16778 h 939567"/>
                  <a:gd name="connsiteX2" fmla="*/ 1761688 w 2617365"/>
                  <a:gd name="connsiteY2" fmla="*/ 855677 h 939567"/>
                  <a:gd name="connsiteX3" fmla="*/ 2617365 w 2617365"/>
                  <a:gd name="connsiteY3" fmla="*/ 0 h 939567"/>
                  <a:gd name="connsiteX0" fmla="*/ 27 w 2617392"/>
                  <a:gd name="connsiteY0" fmla="*/ 939567 h 939567"/>
                  <a:gd name="connsiteX1" fmla="*/ 922816 w 2617392"/>
                  <a:gd name="connsiteY1" fmla="*/ 16778 h 939567"/>
                  <a:gd name="connsiteX2" fmla="*/ 1761715 w 2617392"/>
                  <a:gd name="connsiteY2" fmla="*/ 855677 h 939567"/>
                  <a:gd name="connsiteX3" fmla="*/ 2617392 w 2617392"/>
                  <a:gd name="connsiteY3" fmla="*/ 0 h 939567"/>
                  <a:gd name="connsiteX0" fmla="*/ 27 w 2617392"/>
                  <a:gd name="connsiteY0" fmla="*/ 939567 h 939567"/>
                  <a:gd name="connsiteX1" fmla="*/ 922816 w 2617392"/>
                  <a:gd name="connsiteY1" fmla="*/ 16778 h 939567"/>
                  <a:gd name="connsiteX2" fmla="*/ 1761715 w 2617392"/>
                  <a:gd name="connsiteY2" fmla="*/ 855677 h 939567"/>
                  <a:gd name="connsiteX3" fmla="*/ 2617392 w 2617392"/>
                  <a:gd name="connsiteY3" fmla="*/ 0 h 939567"/>
                  <a:gd name="connsiteX0" fmla="*/ 33 w 2617398"/>
                  <a:gd name="connsiteY0" fmla="*/ 939567 h 939567"/>
                  <a:gd name="connsiteX1" fmla="*/ 922822 w 2617398"/>
                  <a:gd name="connsiteY1" fmla="*/ 16778 h 939567"/>
                  <a:gd name="connsiteX2" fmla="*/ 1761721 w 2617398"/>
                  <a:gd name="connsiteY2" fmla="*/ 855677 h 939567"/>
                  <a:gd name="connsiteX3" fmla="*/ 2617398 w 2617398"/>
                  <a:gd name="connsiteY3" fmla="*/ 0 h 939567"/>
                  <a:gd name="connsiteX0" fmla="*/ 33 w 2617398"/>
                  <a:gd name="connsiteY0" fmla="*/ 939567 h 939567"/>
                  <a:gd name="connsiteX1" fmla="*/ 922822 w 2617398"/>
                  <a:gd name="connsiteY1" fmla="*/ 16778 h 939567"/>
                  <a:gd name="connsiteX2" fmla="*/ 1761721 w 2617398"/>
                  <a:gd name="connsiteY2" fmla="*/ 855677 h 939567"/>
                  <a:gd name="connsiteX3" fmla="*/ 2617398 w 2617398"/>
                  <a:gd name="connsiteY3" fmla="*/ 0 h 939567"/>
                  <a:gd name="connsiteX0" fmla="*/ 45 w 2617410"/>
                  <a:gd name="connsiteY0" fmla="*/ 939567 h 939567"/>
                  <a:gd name="connsiteX1" fmla="*/ 793294 w 2617410"/>
                  <a:gd name="connsiteY1" fmla="*/ 161558 h 939567"/>
                  <a:gd name="connsiteX2" fmla="*/ 1761733 w 2617410"/>
                  <a:gd name="connsiteY2" fmla="*/ 855677 h 939567"/>
                  <a:gd name="connsiteX3" fmla="*/ 2617410 w 2617410"/>
                  <a:gd name="connsiteY3" fmla="*/ 0 h 939567"/>
                  <a:gd name="connsiteX0" fmla="*/ 45 w 2617410"/>
                  <a:gd name="connsiteY0" fmla="*/ 939567 h 939567"/>
                  <a:gd name="connsiteX1" fmla="*/ 793294 w 2617410"/>
                  <a:gd name="connsiteY1" fmla="*/ 161558 h 939567"/>
                  <a:gd name="connsiteX2" fmla="*/ 1761733 w 2617410"/>
                  <a:gd name="connsiteY2" fmla="*/ 855677 h 939567"/>
                  <a:gd name="connsiteX3" fmla="*/ 2617410 w 2617410"/>
                  <a:gd name="connsiteY3" fmla="*/ 0 h 939567"/>
                  <a:gd name="connsiteX0" fmla="*/ 35 w 2617400"/>
                  <a:gd name="connsiteY0" fmla="*/ 939567 h 939567"/>
                  <a:gd name="connsiteX1" fmla="*/ 793284 w 2617400"/>
                  <a:gd name="connsiteY1" fmla="*/ 161558 h 939567"/>
                  <a:gd name="connsiteX2" fmla="*/ 1799823 w 2617400"/>
                  <a:gd name="connsiteY2" fmla="*/ 928067 h 939567"/>
                  <a:gd name="connsiteX3" fmla="*/ 2617400 w 2617400"/>
                  <a:gd name="connsiteY3" fmla="*/ 0 h 939567"/>
                  <a:gd name="connsiteX0" fmla="*/ 35 w 2617400"/>
                  <a:gd name="connsiteY0" fmla="*/ 939567 h 939567"/>
                  <a:gd name="connsiteX1" fmla="*/ 793284 w 2617400"/>
                  <a:gd name="connsiteY1" fmla="*/ 161558 h 939567"/>
                  <a:gd name="connsiteX2" fmla="*/ 1799823 w 2617400"/>
                  <a:gd name="connsiteY2" fmla="*/ 928067 h 939567"/>
                  <a:gd name="connsiteX3" fmla="*/ 2617400 w 2617400"/>
                  <a:gd name="connsiteY3" fmla="*/ 0 h 939567"/>
                  <a:gd name="connsiteX0" fmla="*/ 54 w 2617419"/>
                  <a:gd name="connsiteY0" fmla="*/ 939567 h 939567"/>
                  <a:gd name="connsiteX1" fmla="*/ 793303 w 2617419"/>
                  <a:gd name="connsiteY1" fmla="*/ 161558 h 939567"/>
                  <a:gd name="connsiteX2" fmla="*/ 1799842 w 2617419"/>
                  <a:gd name="connsiteY2" fmla="*/ 928067 h 939567"/>
                  <a:gd name="connsiteX3" fmla="*/ 2617419 w 2617419"/>
                  <a:gd name="connsiteY3" fmla="*/ 0 h 939567"/>
                  <a:gd name="connsiteX0" fmla="*/ 54 w 2602179"/>
                  <a:gd name="connsiteY0" fmla="*/ 778016 h 778016"/>
                  <a:gd name="connsiteX1" fmla="*/ 793303 w 2602179"/>
                  <a:gd name="connsiteY1" fmla="*/ 7 h 778016"/>
                  <a:gd name="connsiteX2" fmla="*/ 1799842 w 2602179"/>
                  <a:gd name="connsiteY2" fmla="*/ 766516 h 778016"/>
                  <a:gd name="connsiteX3" fmla="*/ 2602179 w 2602179"/>
                  <a:gd name="connsiteY3" fmla="*/ 28949 h 778016"/>
                  <a:gd name="connsiteX0" fmla="*/ 54 w 2438349"/>
                  <a:gd name="connsiteY0" fmla="*/ 778016 h 1419810"/>
                  <a:gd name="connsiteX1" fmla="*/ 793303 w 2438349"/>
                  <a:gd name="connsiteY1" fmla="*/ 7 h 1419810"/>
                  <a:gd name="connsiteX2" fmla="*/ 1799842 w 2438349"/>
                  <a:gd name="connsiteY2" fmla="*/ 766516 h 1419810"/>
                  <a:gd name="connsiteX3" fmla="*/ 2438349 w 2438349"/>
                  <a:gd name="connsiteY3" fmla="*/ 1309109 h 1419810"/>
                  <a:gd name="connsiteX0" fmla="*/ 54 w 2438349"/>
                  <a:gd name="connsiteY0" fmla="*/ 778016 h 1309109"/>
                  <a:gd name="connsiteX1" fmla="*/ 793303 w 2438349"/>
                  <a:gd name="connsiteY1" fmla="*/ 7 h 1309109"/>
                  <a:gd name="connsiteX2" fmla="*/ 1799842 w 2438349"/>
                  <a:gd name="connsiteY2" fmla="*/ 766516 h 1309109"/>
                  <a:gd name="connsiteX3" fmla="*/ 2438349 w 2438349"/>
                  <a:gd name="connsiteY3" fmla="*/ 1309109 h 1309109"/>
                  <a:gd name="connsiteX0" fmla="*/ 33 w 2438328"/>
                  <a:gd name="connsiteY0" fmla="*/ 778361 h 1309454"/>
                  <a:gd name="connsiteX1" fmla="*/ 793282 w 2438328"/>
                  <a:gd name="connsiteY1" fmla="*/ 352 h 1309454"/>
                  <a:gd name="connsiteX2" fmla="*/ 1628371 w 2438328"/>
                  <a:gd name="connsiteY2" fmla="*/ 686851 h 1309454"/>
                  <a:gd name="connsiteX3" fmla="*/ 2438328 w 2438328"/>
                  <a:gd name="connsiteY3" fmla="*/ 1309454 h 1309454"/>
                  <a:gd name="connsiteX0" fmla="*/ 33 w 2438328"/>
                  <a:gd name="connsiteY0" fmla="*/ 778494 h 1309587"/>
                  <a:gd name="connsiteX1" fmla="*/ 793282 w 2438328"/>
                  <a:gd name="connsiteY1" fmla="*/ 485 h 1309587"/>
                  <a:gd name="connsiteX2" fmla="*/ 1628371 w 2438328"/>
                  <a:gd name="connsiteY2" fmla="*/ 686984 h 1309587"/>
                  <a:gd name="connsiteX3" fmla="*/ 2438328 w 2438328"/>
                  <a:gd name="connsiteY3" fmla="*/ 1309587 h 1309587"/>
                  <a:gd name="connsiteX0" fmla="*/ 27 w 2556432"/>
                  <a:gd name="connsiteY0" fmla="*/ 671344 h 1309117"/>
                  <a:gd name="connsiteX1" fmla="*/ 911386 w 2556432"/>
                  <a:gd name="connsiteY1" fmla="*/ 15 h 1309117"/>
                  <a:gd name="connsiteX2" fmla="*/ 1746475 w 2556432"/>
                  <a:gd name="connsiteY2" fmla="*/ 686514 h 1309117"/>
                  <a:gd name="connsiteX3" fmla="*/ 2556432 w 2556432"/>
                  <a:gd name="connsiteY3" fmla="*/ 1309117 h 1309117"/>
                  <a:gd name="connsiteX0" fmla="*/ 0 w 2556405"/>
                  <a:gd name="connsiteY0" fmla="*/ 671347 h 1309120"/>
                  <a:gd name="connsiteX1" fmla="*/ 911359 w 2556405"/>
                  <a:gd name="connsiteY1" fmla="*/ 18 h 1309120"/>
                  <a:gd name="connsiteX2" fmla="*/ 1746448 w 2556405"/>
                  <a:gd name="connsiteY2" fmla="*/ 686517 h 1309120"/>
                  <a:gd name="connsiteX3" fmla="*/ 2556405 w 2556405"/>
                  <a:gd name="connsiteY3" fmla="*/ 1309120 h 1309120"/>
                  <a:gd name="connsiteX0" fmla="*/ 0 w 2556405"/>
                  <a:gd name="connsiteY0" fmla="*/ 672485 h 1310258"/>
                  <a:gd name="connsiteX1" fmla="*/ 911359 w 2556405"/>
                  <a:gd name="connsiteY1" fmla="*/ 1156 h 1310258"/>
                  <a:gd name="connsiteX2" fmla="*/ 1746448 w 2556405"/>
                  <a:gd name="connsiteY2" fmla="*/ 687655 h 1310258"/>
                  <a:gd name="connsiteX3" fmla="*/ 2556405 w 2556405"/>
                  <a:gd name="connsiteY3" fmla="*/ 1310258 h 1310258"/>
                  <a:gd name="connsiteX0" fmla="*/ 0 w 2556405"/>
                  <a:gd name="connsiteY0" fmla="*/ 672432 h 1310205"/>
                  <a:gd name="connsiteX1" fmla="*/ 911359 w 2556405"/>
                  <a:gd name="connsiteY1" fmla="*/ 1103 h 1310205"/>
                  <a:gd name="connsiteX2" fmla="*/ 1746448 w 2556405"/>
                  <a:gd name="connsiteY2" fmla="*/ 687602 h 1310205"/>
                  <a:gd name="connsiteX3" fmla="*/ 2556405 w 2556405"/>
                  <a:gd name="connsiteY3" fmla="*/ 1310205 h 1310205"/>
                  <a:gd name="connsiteX0" fmla="*/ 0 w 2556405"/>
                  <a:gd name="connsiteY0" fmla="*/ 672432 h 1310205"/>
                  <a:gd name="connsiteX1" fmla="*/ 778009 w 2556405"/>
                  <a:gd name="connsiteY1" fmla="*/ 1103 h 1310205"/>
                  <a:gd name="connsiteX2" fmla="*/ 1746448 w 2556405"/>
                  <a:gd name="connsiteY2" fmla="*/ 687602 h 1310205"/>
                  <a:gd name="connsiteX3" fmla="*/ 2556405 w 2556405"/>
                  <a:gd name="connsiteY3" fmla="*/ 1310205 h 1310205"/>
                  <a:gd name="connsiteX0" fmla="*/ 0 w 2556405"/>
                  <a:gd name="connsiteY0" fmla="*/ 672186 h 1309959"/>
                  <a:gd name="connsiteX1" fmla="*/ 778009 w 2556405"/>
                  <a:gd name="connsiteY1" fmla="*/ 857 h 1309959"/>
                  <a:gd name="connsiteX2" fmla="*/ 1746448 w 2556405"/>
                  <a:gd name="connsiteY2" fmla="*/ 687356 h 1309959"/>
                  <a:gd name="connsiteX3" fmla="*/ 2556405 w 2556405"/>
                  <a:gd name="connsiteY3" fmla="*/ 1309959 h 1309959"/>
                  <a:gd name="connsiteX0" fmla="*/ 0 w 2556405"/>
                  <a:gd name="connsiteY0" fmla="*/ 671347 h 1309120"/>
                  <a:gd name="connsiteX1" fmla="*/ 778009 w 2556405"/>
                  <a:gd name="connsiteY1" fmla="*/ 18 h 1309120"/>
                  <a:gd name="connsiteX2" fmla="*/ 1746448 w 2556405"/>
                  <a:gd name="connsiteY2" fmla="*/ 686517 h 1309120"/>
                  <a:gd name="connsiteX3" fmla="*/ 2556405 w 2556405"/>
                  <a:gd name="connsiteY3" fmla="*/ 1309120 h 1309120"/>
                  <a:gd name="connsiteX0" fmla="*/ 0 w 2556405"/>
                  <a:gd name="connsiteY0" fmla="*/ 671340 h 1309113"/>
                  <a:gd name="connsiteX1" fmla="*/ 778009 w 2556405"/>
                  <a:gd name="connsiteY1" fmla="*/ 11 h 1309113"/>
                  <a:gd name="connsiteX2" fmla="*/ 1746448 w 2556405"/>
                  <a:gd name="connsiteY2" fmla="*/ 686510 h 1309113"/>
                  <a:gd name="connsiteX3" fmla="*/ 2556405 w 2556405"/>
                  <a:gd name="connsiteY3" fmla="*/ 1309113 h 1309113"/>
                  <a:gd name="connsiteX0" fmla="*/ 0 w 2556405"/>
                  <a:gd name="connsiteY0" fmla="*/ 671340 h 1309113"/>
                  <a:gd name="connsiteX1" fmla="*/ 778009 w 2556405"/>
                  <a:gd name="connsiteY1" fmla="*/ 11 h 1309113"/>
                  <a:gd name="connsiteX2" fmla="*/ 1746448 w 2556405"/>
                  <a:gd name="connsiteY2" fmla="*/ 686510 h 1309113"/>
                  <a:gd name="connsiteX3" fmla="*/ 2556405 w 2556405"/>
                  <a:gd name="connsiteY3" fmla="*/ 1309113 h 1309113"/>
                  <a:gd name="connsiteX0" fmla="*/ 1 w 2593711"/>
                  <a:gd name="connsiteY0" fmla="*/ 644434 h 1309189"/>
                  <a:gd name="connsiteX1" fmla="*/ 815315 w 2593711"/>
                  <a:gd name="connsiteY1" fmla="*/ 87 h 1309189"/>
                  <a:gd name="connsiteX2" fmla="*/ 1783754 w 2593711"/>
                  <a:gd name="connsiteY2" fmla="*/ 686586 h 1309189"/>
                  <a:gd name="connsiteX3" fmla="*/ 2593711 w 2593711"/>
                  <a:gd name="connsiteY3" fmla="*/ 1309189 h 1309189"/>
                  <a:gd name="connsiteX0" fmla="*/ 1 w 2593711"/>
                  <a:gd name="connsiteY0" fmla="*/ 644481 h 1309236"/>
                  <a:gd name="connsiteX1" fmla="*/ 815315 w 2593711"/>
                  <a:gd name="connsiteY1" fmla="*/ 134 h 1309236"/>
                  <a:gd name="connsiteX2" fmla="*/ 1783754 w 2593711"/>
                  <a:gd name="connsiteY2" fmla="*/ 686633 h 1309236"/>
                  <a:gd name="connsiteX3" fmla="*/ 2593711 w 2593711"/>
                  <a:gd name="connsiteY3" fmla="*/ 1309236 h 1309236"/>
                  <a:gd name="connsiteX0" fmla="*/ 1 w 2638506"/>
                  <a:gd name="connsiteY0" fmla="*/ 648155 h 1309212"/>
                  <a:gd name="connsiteX1" fmla="*/ 860110 w 2638506"/>
                  <a:gd name="connsiteY1" fmla="*/ 110 h 1309212"/>
                  <a:gd name="connsiteX2" fmla="*/ 1828549 w 2638506"/>
                  <a:gd name="connsiteY2" fmla="*/ 686609 h 1309212"/>
                  <a:gd name="connsiteX3" fmla="*/ 2638506 w 2638506"/>
                  <a:gd name="connsiteY3" fmla="*/ 1309212 h 1309212"/>
                  <a:gd name="connsiteX0" fmla="*/ 1 w 2638506"/>
                  <a:gd name="connsiteY0" fmla="*/ 648197 h 1309254"/>
                  <a:gd name="connsiteX1" fmla="*/ 860110 w 2638506"/>
                  <a:gd name="connsiteY1" fmla="*/ 152 h 1309254"/>
                  <a:gd name="connsiteX2" fmla="*/ 1828549 w 2638506"/>
                  <a:gd name="connsiteY2" fmla="*/ 686651 h 1309254"/>
                  <a:gd name="connsiteX3" fmla="*/ 2638506 w 2638506"/>
                  <a:gd name="connsiteY3" fmla="*/ 1309254 h 1309254"/>
                  <a:gd name="connsiteX0" fmla="*/ 1 w 2638506"/>
                  <a:gd name="connsiteY0" fmla="*/ 649974 h 1311031"/>
                  <a:gd name="connsiteX1" fmla="*/ 860110 w 2638506"/>
                  <a:gd name="connsiteY1" fmla="*/ 1929 h 1311031"/>
                  <a:gd name="connsiteX2" fmla="*/ 1828549 w 2638506"/>
                  <a:gd name="connsiteY2" fmla="*/ 688428 h 1311031"/>
                  <a:gd name="connsiteX3" fmla="*/ 2638506 w 2638506"/>
                  <a:gd name="connsiteY3" fmla="*/ 1311031 h 1311031"/>
                  <a:gd name="connsiteX0" fmla="*/ 1 w 2638506"/>
                  <a:gd name="connsiteY0" fmla="*/ 649607 h 1310664"/>
                  <a:gd name="connsiteX1" fmla="*/ 860110 w 2638506"/>
                  <a:gd name="connsiteY1" fmla="*/ 1562 h 1310664"/>
                  <a:gd name="connsiteX2" fmla="*/ 1828549 w 2638506"/>
                  <a:gd name="connsiteY2" fmla="*/ 688061 h 1310664"/>
                  <a:gd name="connsiteX3" fmla="*/ 2638506 w 2638506"/>
                  <a:gd name="connsiteY3" fmla="*/ 1310664 h 1310664"/>
                  <a:gd name="connsiteX0" fmla="*/ 1 w 2638506"/>
                  <a:gd name="connsiteY0" fmla="*/ 649193 h 1310250"/>
                  <a:gd name="connsiteX1" fmla="*/ 860110 w 2638506"/>
                  <a:gd name="connsiteY1" fmla="*/ 1148 h 1310250"/>
                  <a:gd name="connsiteX2" fmla="*/ 1828549 w 2638506"/>
                  <a:gd name="connsiteY2" fmla="*/ 687647 h 1310250"/>
                  <a:gd name="connsiteX3" fmla="*/ 2638506 w 2638506"/>
                  <a:gd name="connsiteY3" fmla="*/ 1310250 h 1310250"/>
                  <a:gd name="connsiteX0" fmla="*/ 1 w 2638506"/>
                  <a:gd name="connsiteY0" fmla="*/ 650609 h 1311666"/>
                  <a:gd name="connsiteX1" fmla="*/ 860110 w 2638506"/>
                  <a:gd name="connsiteY1" fmla="*/ 2564 h 1311666"/>
                  <a:gd name="connsiteX2" fmla="*/ 1828549 w 2638506"/>
                  <a:gd name="connsiteY2" fmla="*/ 689063 h 1311666"/>
                  <a:gd name="connsiteX3" fmla="*/ 2638506 w 2638506"/>
                  <a:gd name="connsiteY3" fmla="*/ 1311666 h 1311666"/>
                  <a:gd name="connsiteX0" fmla="*/ 1 w 2638506"/>
                  <a:gd name="connsiteY0" fmla="*/ 649841 h 1310898"/>
                  <a:gd name="connsiteX1" fmla="*/ 860110 w 2638506"/>
                  <a:gd name="connsiteY1" fmla="*/ 1796 h 1310898"/>
                  <a:gd name="connsiteX2" fmla="*/ 1828549 w 2638506"/>
                  <a:gd name="connsiteY2" fmla="*/ 688295 h 1310898"/>
                  <a:gd name="connsiteX3" fmla="*/ 2638506 w 2638506"/>
                  <a:gd name="connsiteY3" fmla="*/ 1310898 h 1310898"/>
                  <a:gd name="connsiteX0" fmla="*/ 1 w 2638506"/>
                  <a:gd name="connsiteY0" fmla="*/ 649841 h 1310898"/>
                  <a:gd name="connsiteX1" fmla="*/ 860110 w 2638506"/>
                  <a:gd name="connsiteY1" fmla="*/ 1796 h 1310898"/>
                  <a:gd name="connsiteX2" fmla="*/ 1828549 w 2638506"/>
                  <a:gd name="connsiteY2" fmla="*/ 688295 h 1310898"/>
                  <a:gd name="connsiteX3" fmla="*/ 2638506 w 2638506"/>
                  <a:gd name="connsiteY3" fmla="*/ 1310898 h 1310898"/>
                  <a:gd name="connsiteX0" fmla="*/ 1 w 2664626"/>
                  <a:gd name="connsiteY0" fmla="*/ 635455 h 1309388"/>
                  <a:gd name="connsiteX1" fmla="*/ 886230 w 2664626"/>
                  <a:gd name="connsiteY1" fmla="*/ 286 h 1309388"/>
                  <a:gd name="connsiteX2" fmla="*/ 1854669 w 2664626"/>
                  <a:gd name="connsiteY2" fmla="*/ 686785 h 1309388"/>
                  <a:gd name="connsiteX3" fmla="*/ 2664626 w 2664626"/>
                  <a:gd name="connsiteY3" fmla="*/ 1309388 h 13093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664626" h="1309388">
                    <a:moveTo>
                      <a:pt x="1" y="635455"/>
                    </a:moveTo>
                    <a:cubicBezTo>
                      <a:pt x="160378" y="175322"/>
                      <a:pt x="577119" y="-8269"/>
                      <a:pt x="886230" y="286"/>
                    </a:cubicBezTo>
                    <a:cubicBezTo>
                      <a:pt x="1195341" y="8841"/>
                      <a:pt x="1553315" y="159574"/>
                      <a:pt x="1854669" y="686785"/>
                    </a:cubicBezTo>
                    <a:cubicBezTo>
                      <a:pt x="2156023" y="1213996"/>
                      <a:pt x="2452061" y="1284105"/>
                      <a:pt x="2664626" y="1309388"/>
                    </a:cubicBezTo>
                  </a:path>
                </a:pathLst>
              </a:custGeom>
              <a:grpFill/>
              <a:ln w="6350" cap="rnd">
                <a:solidFill>
                  <a:schemeClr val="accent1"/>
                </a:solidFill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 rtlCol="0" anchor="ctr">
                <a:noAutofit/>
              </a:bodyPr>
              <a:lstStyle/>
              <a:p>
                <a:pPr marL="0" marR="0" lvl="0" indent="0" algn="ctr" defTabSz="45719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Imago"/>
                  <a:ea typeface="+mn-ea"/>
                  <a:cs typeface="+mn-cs"/>
                </a:endParaRPr>
              </a:p>
            </p:txBody>
          </p:sp>
          <p:sp>
            <p:nvSpPr>
              <p:cNvPr id="1080" name="Freeform: Shape 93">
                <a:extLst>
                  <a:ext uri="{FF2B5EF4-FFF2-40B4-BE49-F238E27FC236}">
                    <a16:creationId xmlns:a16="http://schemas.microsoft.com/office/drawing/2014/main" id="{47A4F45D-7FAA-82FE-09BF-33CC0349975F}"/>
                  </a:ext>
                </a:extLst>
              </p:cNvPr>
              <p:cNvSpPr/>
              <p:nvPr/>
            </p:nvSpPr>
            <p:spPr>
              <a:xfrm rot="4837695" flipH="1">
                <a:off x="4082897" y="2290767"/>
                <a:ext cx="255606" cy="283890"/>
              </a:xfrm>
              <a:custGeom>
                <a:avLst/>
                <a:gdLst>
                  <a:gd name="connsiteX0" fmla="*/ 0 w 2617365"/>
                  <a:gd name="connsiteY0" fmla="*/ 939567 h 939567"/>
                  <a:gd name="connsiteX1" fmla="*/ 922789 w 2617365"/>
                  <a:gd name="connsiteY1" fmla="*/ 16778 h 939567"/>
                  <a:gd name="connsiteX2" fmla="*/ 1761688 w 2617365"/>
                  <a:gd name="connsiteY2" fmla="*/ 855677 h 939567"/>
                  <a:gd name="connsiteX3" fmla="*/ 2617365 w 2617365"/>
                  <a:gd name="connsiteY3" fmla="*/ 0 h 939567"/>
                  <a:gd name="connsiteX0" fmla="*/ 27 w 2617392"/>
                  <a:gd name="connsiteY0" fmla="*/ 939567 h 939567"/>
                  <a:gd name="connsiteX1" fmla="*/ 922816 w 2617392"/>
                  <a:gd name="connsiteY1" fmla="*/ 16778 h 939567"/>
                  <a:gd name="connsiteX2" fmla="*/ 1761715 w 2617392"/>
                  <a:gd name="connsiteY2" fmla="*/ 855677 h 939567"/>
                  <a:gd name="connsiteX3" fmla="*/ 2617392 w 2617392"/>
                  <a:gd name="connsiteY3" fmla="*/ 0 h 939567"/>
                  <a:gd name="connsiteX0" fmla="*/ 27 w 2617392"/>
                  <a:gd name="connsiteY0" fmla="*/ 939567 h 939567"/>
                  <a:gd name="connsiteX1" fmla="*/ 922816 w 2617392"/>
                  <a:gd name="connsiteY1" fmla="*/ 16778 h 939567"/>
                  <a:gd name="connsiteX2" fmla="*/ 1761715 w 2617392"/>
                  <a:gd name="connsiteY2" fmla="*/ 855677 h 939567"/>
                  <a:gd name="connsiteX3" fmla="*/ 2617392 w 2617392"/>
                  <a:gd name="connsiteY3" fmla="*/ 0 h 939567"/>
                  <a:gd name="connsiteX0" fmla="*/ 33 w 2617398"/>
                  <a:gd name="connsiteY0" fmla="*/ 939567 h 939567"/>
                  <a:gd name="connsiteX1" fmla="*/ 922822 w 2617398"/>
                  <a:gd name="connsiteY1" fmla="*/ 16778 h 939567"/>
                  <a:gd name="connsiteX2" fmla="*/ 1761721 w 2617398"/>
                  <a:gd name="connsiteY2" fmla="*/ 855677 h 939567"/>
                  <a:gd name="connsiteX3" fmla="*/ 2617398 w 2617398"/>
                  <a:gd name="connsiteY3" fmla="*/ 0 h 939567"/>
                  <a:gd name="connsiteX0" fmla="*/ 33 w 2617398"/>
                  <a:gd name="connsiteY0" fmla="*/ 939567 h 939567"/>
                  <a:gd name="connsiteX1" fmla="*/ 922822 w 2617398"/>
                  <a:gd name="connsiteY1" fmla="*/ 16778 h 939567"/>
                  <a:gd name="connsiteX2" fmla="*/ 1761721 w 2617398"/>
                  <a:gd name="connsiteY2" fmla="*/ 855677 h 939567"/>
                  <a:gd name="connsiteX3" fmla="*/ 2617398 w 2617398"/>
                  <a:gd name="connsiteY3" fmla="*/ 0 h 939567"/>
                  <a:gd name="connsiteX0" fmla="*/ 45 w 2617410"/>
                  <a:gd name="connsiteY0" fmla="*/ 939567 h 939567"/>
                  <a:gd name="connsiteX1" fmla="*/ 793294 w 2617410"/>
                  <a:gd name="connsiteY1" fmla="*/ 161558 h 939567"/>
                  <a:gd name="connsiteX2" fmla="*/ 1761733 w 2617410"/>
                  <a:gd name="connsiteY2" fmla="*/ 855677 h 939567"/>
                  <a:gd name="connsiteX3" fmla="*/ 2617410 w 2617410"/>
                  <a:gd name="connsiteY3" fmla="*/ 0 h 939567"/>
                  <a:gd name="connsiteX0" fmla="*/ 45 w 2617410"/>
                  <a:gd name="connsiteY0" fmla="*/ 939567 h 939567"/>
                  <a:gd name="connsiteX1" fmla="*/ 793294 w 2617410"/>
                  <a:gd name="connsiteY1" fmla="*/ 161558 h 939567"/>
                  <a:gd name="connsiteX2" fmla="*/ 1761733 w 2617410"/>
                  <a:gd name="connsiteY2" fmla="*/ 855677 h 939567"/>
                  <a:gd name="connsiteX3" fmla="*/ 2617410 w 2617410"/>
                  <a:gd name="connsiteY3" fmla="*/ 0 h 939567"/>
                  <a:gd name="connsiteX0" fmla="*/ 35 w 2617400"/>
                  <a:gd name="connsiteY0" fmla="*/ 939567 h 939567"/>
                  <a:gd name="connsiteX1" fmla="*/ 793284 w 2617400"/>
                  <a:gd name="connsiteY1" fmla="*/ 161558 h 939567"/>
                  <a:gd name="connsiteX2" fmla="*/ 1799823 w 2617400"/>
                  <a:gd name="connsiteY2" fmla="*/ 928067 h 939567"/>
                  <a:gd name="connsiteX3" fmla="*/ 2617400 w 2617400"/>
                  <a:gd name="connsiteY3" fmla="*/ 0 h 939567"/>
                  <a:gd name="connsiteX0" fmla="*/ 35 w 2617400"/>
                  <a:gd name="connsiteY0" fmla="*/ 939567 h 939567"/>
                  <a:gd name="connsiteX1" fmla="*/ 793284 w 2617400"/>
                  <a:gd name="connsiteY1" fmla="*/ 161558 h 939567"/>
                  <a:gd name="connsiteX2" fmla="*/ 1799823 w 2617400"/>
                  <a:gd name="connsiteY2" fmla="*/ 928067 h 939567"/>
                  <a:gd name="connsiteX3" fmla="*/ 2617400 w 2617400"/>
                  <a:gd name="connsiteY3" fmla="*/ 0 h 939567"/>
                  <a:gd name="connsiteX0" fmla="*/ 54 w 2617419"/>
                  <a:gd name="connsiteY0" fmla="*/ 939567 h 939567"/>
                  <a:gd name="connsiteX1" fmla="*/ 793303 w 2617419"/>
                  <a:gd name="connsiteY1" fmla="*/ 161558 h 939567"/>
                  <a:gd name="connsiteX2" fmla="*/ 1799842 w 2617419"/>
                  <a:gd name="connsiteY2" fmla="*/ 928067 h 939567"/>
                  <a:gd name="connsiteX3" fmla="*/ 2617419 w 2617419"/>
                  <a:gd name="connsiteY3" fmla="*/ 0 h 939567"/>
                  <a:gd name="connsiteX0" fmla="*/ 54 w 2602179"/>
                  <a:gd name="connsiteY0" fmla="*/ 778016 h 778016"/>
                  <a:gd name="connsiteX1" fmla="*/ 793303 w 2602179"/>
                  <a:gd name="connsiteY1" fmla="*/ 7 h 778016"/>
                  <a:gd name="connsiteX2" fmla="*/ 1799842 w 2602179"/>
                  <a:gd name="connsiteY2" fmla="*/ 766516 h 778016"/>
                  <a:gd name="connsiteX3" fmla="*/ 2602179 w 2602179"/>
                  <a:gd name="connsiteY3" fmla="*/ 28949 h 778016"/>
                  <a:gd name="connsiteX0" fmla="*/ 54 w 2438349"/>
                  <a:gd name="connsiteY0" fmla="*/ 778016 h 1419810"/>
                  <a:gd name="connsiteX1" fmla="*/ 793303 w 2438349"/>
                  <a:gd name="connsiteY1" fmla="*/ 7 h 1419810"/>
                  <a:gd name="connsiteX2" fmla="*/ 1799842 w 2438349"/>
                  <a:gd name="connsiteY2" fmla="*/ 766516 h 1419810"/>
                  <a:gd name="connsiteX3" fmla="*/ 2438349 w 2438349"/>
                  <a:gd name="connsiteY3" fmla="*/ 1309109 h 1419810"/>
                  <a:gd name="connsiteX0" fmla="*/ 54 w 2438349"/>
                  <a:gd name="connsiteY0" fmla="*/ 778016 h 1309109"/>
                  <a:gd name="connsiteX1" fmla="*/ 793303 w 2438349"/>
                  <a:gd name="connsiteY1" fmla="*/ 7 h 1309109"/>
                  <a:gd name="connsiteX2" fmla="*/ 1799842 w 2438349"/>
                  <a:gd name="connsiteY2" fmla="*/ 766516 h 1309109"/>
                  <a:gd name="connsiteX3" fmla="*/ 2438349 w 2438349"/>
                  <a:gd name="connsiteY3" fmla="*/ 1309109 h 1309109"/>
                  <a:gd name="connsiteX0" fmla="*/ 33 w 2438328"/>
                  <a:gd name="connsiteY0" fmla="*/ 778361 h 1309454"/>
                  <a:gd name="connsiteX1" fmla="*/ 793282 w 2438328"/>
                  <a:gd name="connsiteY1" fmla="*/ 352 h 1309454"/>
                  <a:gd name="connsiteX2" fmla="*/ 1628371 w 2438328"/>
                  <a:gd name="connsiteY2" fmla="*/ 686851 h 1309454"/>
                  <a:gd name="connsiteX3" fmla="*/ 2438328 w 2438328"/>
                  <a:gd name="connsiteY3" fmla="*/ 1309454 h 1309454"/>
                  <a:gd name="connsiteX0" fmla="*/ 33 w 2438328"/>
                  <a:gd name="connsiteY0" fmla="*/ 778494 h 1309587"/>
                  <a:gd name="connsiteX1" fmla="*/ 793282 w 2438328"/>
                  <a:gd name="connsiteY1" fmla="*/ 485 h 1309587"/>
                  <a:gd name="connsiteX2" fmla="*/ 1628371 w 2438328"/>
                  <a:gd name="connsiteY2" fmla="*/ 686984 h 1309587"/>
                  <a:gd name="connsiteX3" fmla="*/ 2438328 w 2438328"/>
                  <a:gd name="connsiteY3" fmla="*/ 1309587 h 1309587"/>
                  <a:gd name="connsiteX0" fmla="*/ 27 w 2556432"/>
                  <a:gd name="connsiteY0" fmla="*/ 671344 h 1309117"/>
                  <a:gd name="connsiteX1" fmla="*/ 911386 w 2556432"/>
                  <a:gd name="connsiteY1" fmla="*/ 15 h 1309117"/>
                  <a:gd name="connsiteX2" fmla="*/ 1746475 w 2556432"/>
                  <a:gd name="connsiteY2" fmla="*/ 686514 h 1309117"/>
                  <a:gd name="connsiteX3" fmla="*/ 2556432 w 2556432"/>
                  <a:gd name="connsiteY3" fmla="*/ 1309117 h 1309117"/>
                  <a:gd name="connsiteX0" fmla="*/ 0 w 2556405"/>
                  <a:gd name="connsiteY0" fmla="*/ 671347 h 1309120"/>
                  <a:gd name="connsiteX1" fmla="*/ 911359 w 2556405"/>
                  <a:gd name="connsiteY1" fmla="*/ 18 h 1309120"/>
                  <a:gd name="connsiteX2" fmla="*/ 1746448 w 2556405"/>
                  <a:gd name="connsiteY2" fmla="*/ 686517 h 1309120"/>
                  <a:gd name="connsiteX3" fmla="*/ 2556405 w 2556405"/>
                  <a:gd name="connsiteY3" fmla="*/ 1309120 h 1309120"/>
                  <a:gd name="connsiteX0" fmla="*/ 0 w 2556405"/>
                  <a:gd name="connsiteY0" fmla="*/ 672485 h 1310258"/>
                  <a:gd name="connsiteX1" fmla="*/ 911359 w 2556405"/>
                  <a:gd name="connsiteY1" fmla="*/ 1156 h 1310258"/>
                  <a:gd name="connsiteX2" fmla="*/ 1746448 w 2556405"/>
                  <a:gd name="connsiteY2" fmla="*/ 687655 h 1310258"/>
                  <a:gd name="connsiteX3" fmla="*/ 2556405 w 2556405"/>
                  <a:gd name="connsiteY3" fmla="*/ 1310258 h 1310258"/>
                  <a:gd name="connsiteX0" fmla="*/ 0 w 2556405"/>
                  <a:gd name="connsiteY0" fmla="*/ 672432 h 1310205"/>
                  <a:gd name="connsiteX1" fmla="*/ 911359 w 2556405"/>
                  <a:gd name="connsiteY1" fmla="*/ 1103 h 1310205"/>
                  <a:gd name="connsiteX2" fmla="*/ 1746448 w 2556405"/>
                  <a:gd name="connsiteY2" fmla="*/ 687602 h 1310205"/>
                  <a:gd name="connsiteX3" fmla="*/ 2556405 w 2556405"/>
                  <a:gd name="connsiteY3" fmla="*/ 1310205 h 1310205"/>
                  <a:gd name="connsiteX0" fmla="*/ 0 w 2556405"/>
                  <a:gd name="connsiteY0" fmla="*/ 672432 h 1310205"/>
                  <a:gd name="connsiteX1" fmla="*/ 778009 w 2556405"/>
                  <a:gd name="connsiteY1" fmla="*/ 1103 h 1310205"/>
                  <a:gd name="connsiteX2" fmla="*/ 1746448 w 2556405"/>
                  <a:gd name="connsiteY2" fmla="*/ 687602 h 1310205"/>
                  <a:gd name="connsiteX3" fmla="*/ 2556405 w 2556405"/>
                  <a:gd name="connsiteY3" fmla="*/ 1310205 h 1310205"/>
                  <a:gd name="connsiteX0" fmla="*/ 0 w 2556405"/>
                  <a:gd name="connsiteY0" fmla="*/ 672186 h 1309959"/>
                  <a:gd name="connsiteX1" fmla="*/ 778009 w 2556405"/>
                  <a:gd name="connsiteY1" fmla="*/ 857 h 1309959"/>
                  <a:gd name="connsiteX2" fmla="*/ 1746448 w 2556405"/>
                  <a:gd name="connsiteY2" fmla="*/ 687356 h 1309959"/>
                  <a:gd name="connsiteX3" fmla="*/ 2556405 w 2556405"/>
                  <a:gd name="connsiteY3" fmla="*/ 1309959 h 1309959"/>
                  <a:gd name="connsiteX0" fmla="*/ 0 w 2556405"/>
                  <a:gd name="connsiteY0" fmla="*/ 671347 h 1309120"/>
                  <a:gd name="connsiteX1" fmla="*/ 778009 w 2556405"/>
                  <a:gd name="connsiteY1" fmla="*/ 18 h 1309120"/>
                  <a:gd name="connsiteX2" fmla="*/ 1746448 w 2556405"/>
                  <a:gd name="connsiteY2" fmla="*/ 686517 h 1309120"/>
                  <a:gd name="connsiteX3" fmla="*/ 2556405 w 2556405"/>
                  <a:gd name="connsiteY3" fmla="*/ 1309120 h 1309120"/>
                  <a:gd name="connsiteX0" fmla="*/ 0 w 2556405"/>
                  <a:gd name="connsiteY0" fmla="*/ 671340 h 1309113"/>
                  <a:gd name="connsiteX1" fmla="*/ 778009 w 2556405"/>
                  <a:gd name="connsiteY1" fmla="*/ 11 h 1309113"/>
                  <a:gd name="connsiteX2" fmla="*/ 1746448 w 2556405"/>
                  <a:gd name="connsiteY2" fmla="*/ 686510 h 1309113"/>
                  <a:gd name="connsiteX3" fmla="*/ 2556405 w 2556405"/>
                  <a:gd name="connsiteY3" fmla="*/ 1309113 h 1309113"/>
                  <a:gd name="connsiteX0" fmla="*/ 0 w 2556405"/>
                  <a:gd name="connsiteY0" fmla="*/ 671340 h 1309113"/>
                  <a:gd name="connsiteX1" fmla="*/ 778009 w 2556405"/>
                  <a:gd name="connsiteY1" fmla="*/ 11 h 1309113"/>
                  <a:gd name="connsiteX2" fmla="*/ 1746448 w 2556405"/>
                  <a:gd name="connsiteY2" fmla="*/ 686510 h 1309113"/>
                  <a:gd name="connsiteX3" fmla="*/ 2556405 w 2556405"/>
                  <a:gd name="connsiteY3" fmla="*/ 1309113 h 1309113"/>
                  <a:gd name="connsiteX0" fmla="*/ 1 w 2593711"/>
                  <a:gd name="connsiteY0" fmla="*/ 644434 h 1309189"/>
                  <a:gd name="connsiteX1" fmla="*/ 815315 w 2593711"/>
                  <a:gd name="connsiteY1" fmla="*/ 87 h 1309189"/>
                  <a:gd name="connsiteX2" fmla="*/ 1783754 w 2593711"/>
                  <a:gd name="connsiteY2" fmla="*/ 686586 h 1309189"/>
                  <a:gd name="connsiteX3" fmla="*/ 2593711 w 2593711"/>
                  <a:gd name="connsiteY3" fmla="*/ 1309189 h 1309189"/>
                  <a:gd name="connsiteX0" fmla="*/ 1 w 2593711"/>
                  <a:gd name="connsiteY0" fmla="*/ 644481 h 1309236"/>
                  <a:gd name="connsiteX1" fmla="*/ 815315 w 2593711"/>
                  <a:gd name="connsiteY1" fmla="*/ 134 h 1309236"/>
                  <a:gd name="connsiteX2" fmla="*/ 1783754 w 2593711"/>
                  <a:gd name="connsiteY2" fmla="*/ 686633 h 1309236"/>
                  <a:gd name="connsiteX3" fmla="*/ 2593711 w 2593711"/>
                  <a:gd name="connsiteY3" fmla="*/ 1309236 h 1309236"/>
                  <a:gd name="connsiteX0" fmla="*/ 1 w 2638506"/>
                  <a:gd name="connsiteY0" fmla="*/ 648155 h 1309212"/>
                  <a:gd name="connsiteX1" fmla="*/ 860110 w 2638506"/>
                  <a:gd name="connsiteY1" fmla="*/ 110 h 1309212"/>
                  <a:gd name="connsiteX2" fmla="*/ 1828549 w 2638506"/>
                  <a:gd name="connsiteY2" fmla="*/ 686609 h 1309212"/>
                  <a:gd name="connsiteX3" fmla="*/ 2638506 w 2638506"/>
                  <a:gd name="connsiteY3" fmla="*/ 1309212 h 1309212"/>
                  <a:gd name="connsiteX0" fmla="*/ 1 w 2638506"/>
                  <a:gd name="connsiteY0" fmla="*/ 648197 h 1309254"/>
                  <a:gd name="connsiteX1" fmla="*/ 860110 w 2638506"/>
                  <a:gd name="connsiteY1" fmla="*/ 152 h 1309254"/>
                  <a:gd name="connsiteX2" fmla="*/ 1828549 w 2638506"/>
                  <a:gd name="connsiteY2" fmla="*/ 686651 h 1309254"/>
                  <a:gd name="connsiteX3" fmla="*/ 2638506 w 2638506"/>
                  <a:gd name="connsiteY3" fmla="*/ 1309254 h 1309254"/>
                  <a:gd name="connsiteX0" fmla="*/ 1 w 2638506"/>
                  <a:gd name="connsiteY0" fmla="*/ 649974 h 1311031"/>
                  <a:gd name="connsiteX1" fmla="*/ 860110 w 2638506"/>
                  <a:gd name="connsiteY1" fmla="*/ 1929 h 1311031"/>
                  <a:gd name="connsiteX2" fmla="*/ 1828549 w 2638506"/>
                  <a:gd name="connsiteY2" fmla="*/ 688428 h 1311031"/>
                  <a:gd name="connsiteX3" fmla="*/ 2638506 w 2638506"/>
                  <a:gd name="connsiteY3" fmla="*/ 1311031 h 1311031"/>
                  <a:gd name="connsiteX0" fmla="*/ 1 w 2638506"/>
                  <a:gd name="connsiteY0" fmla="*/ 649607 h 1310664"/>
                  <a:gd name="connsiteX1" fmla="*/ 860110 w 2638506"/>
                  <a:gd name="connsiteY1" fmla="*/ 1562 h 1310664"/>
                  <a:gd name="connsiteX2" fmla="*/ 1828549 w 2638506"/>
                  <a:gd name="connsiteY2" fmla="*/ 688061 h 1310664"/>
                  <a:gd name="connsiteX3" fmla="*/ 2638506 w 2638506"/>
                  <a:gd name="connsiteY3" fmla="*/ 1310664 h 1310664"/>
                  <a:gd name="connsiteX0" fmla="*/ 1 w 2638506"/>
                  <a:gd name="connsiteY0" fmla="*/ 649193 h 1310250"/>
                  <a:gd name="connsiteX1" fmla="*/ 860110 w 2638506"/>
                  <a:gd name="connsiteY1" fmla="*/ 1148 h 1310250"/>
                  <a:gd name="connsiteX2" fmla="*/ 1828549 w 2638506"/>
                  <a:gd name="connsiteY2" fmla="*/ 687647 h 1310250"/>
                  <a:gd name="connsiteX3" fmla="*/ 2638506 w 2638506"/>
                  <a:gd name="connsiteY3" fmla="*/ 1310250 h 1310250"/>
                  <a:gd name="connsiteX0" fmla="*/ 1 w 2638506"/>
                  <a:gd name="connsiteY0" fmla="*/ 650609 h 1311666"/>
                  <a:gd name="connsiteX1" fmla="*/ 860110 w 2638506"/>
                  <a:gd name="connsiteY1" fmla="*/ 2564 h 1311666"/>
                  <a:gd name="connsiteX2" fmla="*/ 1828549 w 2638506"/>
                  <a:gd name="connsiteY2" fmla="*/ 689063 h 1311666"/>
                  <a:gd name="connsiteX3" fmla="*/ 2638506 w 2638506"/>
                  <a:gd name="connsiteY3" fmla="*/ 1311666 h 1311666"/>
                  <a:gd name="connsiteX0" fmla="*/ 1 w 2638506"/>
                  <a:gd name="connsiteY0" fmla="*/ 649841 h 1310898"/>
                  <a:gd name="connsiteX1" fmla="*/ 860110 w 2638506"/>
                  <a:gd name="connsiteY1" fmla="*/ 1796 h 1310898"/>
                  <a:gd name="connsiteX2" fmla="*/ 1828549 w 2638506"/>
                  <a:gd name="connsiteY2" fmla="*/ 688295 h 1310898"/>
                  <a:gd name="connsiteX3" fmla="*/ 2638506 w 2638506"/>
                  <a:gd name="connsiteY3" fmla="*/ 1310898 h 1310898"/>
                  <a:gd name="connsiteX0" fmla="*/ 1 w 2638506"/>
                  <a:gd name="connsiteY0" fmla="*/ 649841 h 1310898"/>
                  <a:gd name="connsiteX1" fmla="*/ 860110 w 2638506"/>
                  <a:gd name="connsiteY1" fmla="*/ 1796 h 1310898"/>
                  <a:gd name="connsiteX2" fmla="*/ 1828549 w 2638506"/>
                  <a:gd name="connsiteY2" fmla="*/ 688295 h 1310898"/>
                  <a:gd name="connsiteX3" fmla="*/ 2638506 w 2638506"/>
                  <a:gd name="connsiteY3" fmla="*/ 1310898 h 1310898"/>
                  <a:gd name="connsiteX0" fmla="*/ 1 w 2664626"/>
                  <a:gd name="connsiteY0" fmla="*/ 635455 h 1309388"/>
                  <a:gd name="connsiteX1" fmla="*/ 886230 w 2664626"/>
                  <a:gd name="connsiteY1" fmla="*/ 286 h 1309388"/>
                  <a:gd name="connsiteX2" fmla="*/ 1854669 w 2664626"/>
                  <a:gd name="connsiteY2" fmla="*/ 686785 h 1309388"/>
                  <a:gd name="connsiteX3" fmla="*/ 2664626 w 2664626"/>
                  <a:gd name="connsiteY3" fmla="*/ 1309388 h 1309388"/>
                  <a:gd name="connsiteX0" fmla="*/ 1 w 1854668"/>
                  <a:gd name="connsiteY0" fmla="*/ 635455 h 686786"/>
                  <a:gd name="connsiteX1" fmla="*/ 886230 w 1854668"/>
                  <a:gd name="connsiteY1" fmla="*/ 286 h 686786"/>
                  <a:gd name="connsiteX2" fmla="*/ 1854669 w 1854668"/>
                  <a:gd name="connsiteY2" fmla="*/ 686785 h 686786"/>
                  <a:gd name="connsiteX0" fmla="*/ 1 w 886231"/>
                  <a:gd name="connsiteY0" fmla="*/ 635455 h 635455"/>
                  <a:gd name="connsiteX1" fmla="*/ 886230 w 886231"/>
                  <a:gd name="connsiteY1" fmla="*/ 286 h 635455"/>
                  <a:gd name="connsiteX0" fmla="*/ 1 w 886231"/>
                  <a:gd name="connsiteY0" fmla="*/ 635460 h 635460"/>
                  <a:gd name="connsiteX1" fmla="*/ 490191 w 886231"/>
                  <a:gd name="connsiteY1" fmla="*/ 91024 h 635460"/>
                  <a:gd name="connsiteX2" fmla="*/ 886230 w 886231"/>
                  <a:gd name="connsiteY2" fmla="*/ 291 h 635460"/>
                  <a:gd name="connsiteX0" fmla="*/ 1 w 886231"/>
                  <a:gd name="connsiteY0" fmla="*/ 636018 h 636018"/>
                  <a:gd name="connsiteX1" fmla="*/ 490191 w 886231"/>
                  <a:gd name="connsiteY1" fmla="*/ 91582 h 636018"/>
                  <a:gd name="connsiteX2" fmla="*/ 886230 w 886231"/>
                  <a:gd name="connsiteY2" fmla="*/ 849 h 636018"/>
                  <a:gd name="connsiteX0" fmla="*/ 1 w 886231"/>
                  <a:gd name="connsiteY0" fmla="*/ 638967 h 638967"/>
                  <a:gd name="connsiteX1" fmla="*/ 490191 w 886231"/>
                  <a:gd name="connsiteY1" fmla="*/ 94531 h 638967"/>
                  <a:gd name="connsiteX2" fmla="*/ 886230 w 886231"/>
                  <a:gd name="connsiteY2" fmla="*/ 3798 h 638967"/>
                  <a:gd name="connsiteX0" fmla="*/ 1 w 490191"/>
                  <a:gd name="connsiteY0" fmla="*/ 544435 h 544435"/>
                  <a:gd name="connsiteX1" fmla="*/ 490191 w 490191"/>
                  <a:gd name="connsiteY1" fmla="*/ -1 h 544435"/>
                  <a:gd name="connsiteX0" fmla="*/ 1 w 490191"/>
                  <a:gd name="connsiteY0" fmla="*/ 544435 h 544435"/>
                  <a:gd name="connsiteX1" fmla="*/ 490191 w 490191"/>
                  <a:gd name="connsiteY1" fmla="*/ -1 h 544435"/>
                  <a:gd name="connsiteX0" fmla="*/ 1 w 490191"/>
                  <a:gd name="connsiteY0" fmla="*/ 544435 h 544435"/>
                  <a:gd name="connsiteX1" fmla="*/ 490191 w 490191"/>
                  <a:gd name="connsiteY1" fmla="*/ -1 h 544435"/>
                  <a:gd name="connsiteX0" fmla="*/ 1 w 490191"/>
                  <a:gd name="connsiteY0" fmla="*/ 544435 h 544435"/>
                  <a:gd name="connsiteX1" fmla="*/ 490191 w 490191"/>
                  <a:gd name="connsiteY1" fmla="*/ -1 h 5444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90191" h="544435">
                    <a:moveTo>
                      <a:pt x="1" y="544435"/>
                    </a:moveTo>
                    <a:cubicBezTo>
                      <a:pt x="59974" y="349650"/>
                      <a:pt x="307478" y="61023"/>
                      <a:pt x="490191" y="-1"/>
                    </a:cubicBezTo>
                  </a:path>
                </a:pathLst>
              </a:custGeom>
              <a:grpFill/>
              <a:ln w="6350" cap="rnd">
                <a:solidFill>
                  <a:schemeClr val="accent1"/>
                </a:solidFill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 rtlCol="0" anchor="ctr">
                <a:noAutofit/>
              </a:bodyPr>
              <a:lstStyle/>
              <a:p>
                <a:pPr marL="0" marR="0" lvl="0" indent="0" algn="ctr" defTabSz="45719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Imago"/>
                  <a:ea typeface="+mn-ea"/>
                  <a:cs typeface="+mn-cs"/>
                </a:endParaRPr>
              </a:p>
            </p:txBody>
          </p:sp>
          <p:sp>
            <p:nvSpPr>
              <p:cNvPr id="1081" name="Freeform: Shape 94">
                <a:extLst>
                  <a:ext uri="{FF2B5EF4-FFF2-40B4-BE49-F238E27FC236}">
                    <a16:creationId xmlns:a16="http://schemas.microsoft.com/office/drawing/2014/main" id="{E189297D-ECA2-E688-7563-7C2EB38A0844}"/>
                  </a:ext>
                </a:extLst>
              </p:cNvPr>
              <p:cNvSpPr/>
              <p:nvPr/>
            </p:nvSpPr>
            <p:spPr>
              <a:xfrm rot="4837695" flipV="1">
                <a:off x="3781483" y="3318306"/>
                <a:ext cx="255606" cy="283890"/>
              </a:xfrm>
              <a:custGeom>
                <a:avLst/>
                <a:gdLst>
                  <a:gd name="connsiteX0" fmla="*/ 0 w 2617365"/>
                  <a:gd name="connsiteY0" fmla="*/ 939567 h 939567"/>
                  <a:gd name="connsiteX1" fmla="*/ 922789 w 2617365"/>
                  <a:gd name="connsiteY1" fmla="*/ 16778 h 939567"/>
                  <a:gd name="connsiteX2" fmla="*/ 1761688 w 2617365"/>
                  <a:gd name="connsiteY2" fmla="*/ 855677 h 939567"/>
                  <a:gd name="connsiteX3" fmla="*/ 2617365 w 2617365"/>
                  <a:gd name="connsiteY3" fmla="*/ 0 h 939567"/>
                  <a:gd name="connsiteX0" fmla="*/ 27 w 2617392"/>
                  <a:gd name="connsiteY0" fmla="*/ 939567 h 939567"/>
                  <a:gd name="connsiteX1" fmla="*/ 922816 w 2617392"/>
                  <a:gd name="connsiteY1" fmla="*/ 16778 h 939567"/>
                  <a:gd name="connsiteX2" fmla="*/ 1761715 w 2617392"/>
                  <a:gd name="connsiteY2" fmla="*/ 855677 h 939567"/>
                  <a:gd name="connsiteX3" fmla="*/ 2617392 w 2617392"/>
                  <a:gd name="connsiteY3" fmla="*/ 0 h 939567"/>
                  <a:gd name="connsiteX0" fmla="*/ 27 w 2617392"/>
                  <a:gd name="connsiteY0" fmla="*/ 939567 h 939567"/>
                  <a:gd name="connsiteX1" fmla="*/ 922816 w 2617392"/>
                  <a:gd name="connsiteY1" fmla="*/ 16778 h 939567"/>
                  <a:gd name="connsiteX2" fmla="*/ 1761715 w 2617392"/>
                  <a:gd name="connsiteY2" fmla="*/ 855677 h 939567"/>
                  <a:gd name="connsiteX3" fmla="*/ 2617392 w 2617392"/>
                  <a:gd name="connsiteY3" fmla="*/ 0 h 939567"/>
                  <a:gd name="connsiteX0" fmla="*/ 33 w 2617398"/>
                  <a:gd name="connsiteY0" fmla="*/ 939567 h 939567"/>
                  <a:gd name="connsiteX1" fmla="*/ 922822 w 2617398"/>
                  <a:gd name="connsiteY1" fmla="*/ 16778 h 939567"/>
                  <a:gd name="connsiteX2" fmla="*/ 1761721 w 2617398"/>
                  <a:gd name="connsiteY2" fmla="*/ 855677 h 939567"/>
                  <a:gd name="connsiteX3" fmla="*/ 2617398 w 2617398"/>
                  <a:gd name="connsiteY3" fmla="*/ 0 h 939567"/>
                  <a:gd name="connsiteX0" fmla="*/ 33 w 2617398"/>
                  <a:gd name="connsiteY0" fmla="*/ 939567 h 939567"/>
                  <a:gd name="connsiteX1" fmla="*/ 922822 w 2617398"/>
                  <a:gd name="connsiteY1" fmla="*/ 16778 h 939567"/>
                  <a:gd name="connsiteX2" fmla="*/ 1761721 w 2617398"/>
                  <a:gd name="connsiteY2" fmla="*/ 855677 h 939567"/>
                  <a:gd name="connsiteX3" fmla="*/ 2617398 w 2617398"/>
                  <a:gd name="connsiteY3" fmla="*/ 0 h 939567"/>
                  <a:gd name="connsiteX0" fmla="*/ 45 w 2617410"/>
                  <a:gd name="connsiteY0" fmla="*/ 939567 h 939567"/>
                  <a:gd name="connsiteX1" fmla="*/ 793294 w 2617410"/>
                  <a:gd name="connsiteY1" fmla="*/ 161558 h 939567"/>
                  <a:gd name="connsiteX2" fmla="*/ 1761733 w 2617410"/>
                  <a:gd name="connsiteY2" fmla="*/ 855677 h 939567"/>
                  <a:gd name="connsiteX3" fmla="*/ 2617410 w 2617410"/>
                  <a:gd name="connsiteY3" fmla="*/ 0 h 939567"/>
                  <a:gd name="connsiteX0" fmla="*/ 45 w 2617410"/>
                  <a:gd name="connsiteY0" fmla="*/ 939567 h 939567"/>
                  <a:gd name="connsiteX1" fmla="*/ 793294 w 2617410"/>
                  <a:gd name="connsiteY1" fmla="*/ 161558 h 939567"/>
                  <a:gd name="connsiteX2" fmla="*/ 1761733 w 2617410"/>
                  <a:gd name="connsiteY2" fmla="*/ 855677 h 939567"/>
                  <a:gd name="connsiteX3" fmla="*/ 2617410 w 2617410"/>
                  <a:gd name="connsiteY3" fmla="*/ 0 h 939567"/>
                  <a:gd name="connsiteX0" fmla="*/ 35 w 2617400"/>
                  <a:gd name="connsiteY0" fmla="*/ 939567 h 939567"/>
                  <a:gd name="connsiteX1" fmla="*/ 793284 w 2617400"/>
                  <a:gd name="connsiteY1" fmla="*/ 161558 h 939567"/>
                  <a:gd name="connsiteX2" fmla="*/ 1799823 w 2617400"/>
                  <a:gd name="connsiteY2" fmla="*/ 928067 h 939567"/>
                  <a:gd name="connsiteX3" fmla="*/ 2617400 w 2617400"/>
                  <a:gd name="connsiteY3" fmla="*/ 0 h 939567"/>
                  <a:gd name="connsiteX0" fmla="*/ 35 w 2617400"/>
                  <a:gd name="connsiteY0" fmla="*/ 939567 h 939567"/>
                  <a:gd name="connsiteX1" fmla="*/ 793284 w 2617400"/>
                  <a:gd name="connsiteY1" fmla="*/ 161558 h 939567"/>
                  <a:gd name="connsiteX2" fmla="*/ 1799823 w 2617400"/>
                  <a:gd name="connsiteY2" fmla="*/ 928067 h 939567"/>
                  <a:gd name="connsiteX3" fmla="*/ 2617400 w 2617400"/>
                  <a:gd name="connsiteY3" fmla="*/ 0 h 939567"/>
                  <a:gd name="connsiteX0" fmla="*/ 54 w 2617419"/>
                  <a:gd name="connsiteY0" fmla="*/ 939567 h 939567"/>
                  <a:gd name="connsiteX1" fmla="*/ 793303 w 2617419"/>
                  <a:gd name="connsiteY1" fmla="*/ 161558 h 939567"/>
                  <a:gd name="connsiteX2" fmla="*/ 1799842 w 2617419"/>
                  <a:gd name="connsiteY2" fmla="*/ 928067 h 939567"/>
                  <a:gd name="connsiteX3" fmla="*/ 2617419 w 2617419"/>
                  <a:gd name="connsiteY3" fmla="*/ 0 h 939567"/>
                  <a:gd name="connsiteX0" fmla="*/ 54 w 2602179"/>
                  <a:gd name="connsiteY0" fmla="*/ 778016 h 778016"/>
                  <a:gd name="connsiteX1" fmla="*/ 793303 w 2602179"/>
                  <a:gd name="connsiteY1" fmla="*/ 7 h 778016"/>
                  <a:gd name="connsiteX2" fmla="*/ 1799842 w 2602179"/>
                  <a:gd name="connsiteY2" fmla="*/ 766516 h 778016"/>
                  <a:gd name="connsiteX3" fmla="*/ 2602179 w 2602179"/>
                  <a:gd name="connsiteY3" fmla="*/ 28949 h 778016"/>
                  <a:gd name="connsiteX0" fmla="*/ 54 w 2438349"/>
                  <a:gd name="connsiteY0" fmla="*/ 778016 h 1419810"/>
                  <a:gd name="connsiteX1" fmla="*/ 793303 w 2438349"/>
                  <a:gd name="connsiteY1" fmla="*/ 7 h 1419810"/>
                  <a:gd name="connsiteX2" fmla="*/ 1799842 w 2438349"/>
                  <a:gd name="connsiteY2" fmla="*/ 766516 h 1419810"/>
                  <a:gd name="connsiteX3" fmla="*/ 2438349 w 2438349"/>
                  <a:gd name="connsiteY3" fmla="*/ 1309109 h 1419810"/>
                  <a:gd name="connsiteX0" fmla="*/ 54 w 2438349"/>
                  <a:gd name="connsiteY0" fmla="*/ 778016 h 1309109"/>
                  <a:gd name="connsiteX1" fmla="*/ 793303 w 2438349"/>
                  <a:gd name="connsiteY1" fmla="*/ 7 h 1309109"/>
                  <a:gd name="connsiteX2" fmla="*/ 1799842 w 2438349"/>
                  <a:gd name="connsiteY2" fmla="*/ 766516 h 1309109"/>
                  <a:gd name="connsiteX3" fmla="*/ 2438349 w 2438349"/>
                  <a:gd name="connsiteY3" fmla="*/ 1309109 h 1309109"/>
                  <a:gd name="connsiteX0" fmla="*/ 33 w 2438328"/>
                  <a:gd name="connsiteY0" fmla="*/ 778361 h 1309454"/>
                  <a:gd name="connsiteX1" fmla="*/ 793282 w 2438328"/>
                  <a:gd name="connsiteY1" fmla="*/ 352 h 1309454"/>
                  <a:gd name="connsiteX2" fmla="*/ 1628371 w 2438328"/>
                  <a:gd name="connsiteY2" fmla="*/ 686851 h 1309454"/>
                  <a:gd name="connsiteX3" fmla="*/ 2438328 w 2438328"/>
                  <a:gd name="connsiteY3" fmla="*/ 1309454 h 1309454"/>
                  <a:gd name="connsiteX0" fmla="*/ 33 w 2438328"/>
                  <a:gd name="connsiteY0" fmla="*/ 778494 h 1309587"/>
                  <a:gd name="connsiteX1" fmla="*/ 793282 w 2438328"/>
                  <a:gd name="connsiteY1" fmla="*/ 485 h 1309587"/>
                  <a:gd name="connsiteX2" fmla="*/ 1628371 w 2438328"/>
                  <a:gd name="connsiteY2" fmla="*/ 686984 h 1309587"/>
                  <a:gd name="connsiteX3" fmla="*/ 2438328 w 2438328"/>
                  <a:gd name="connsiteY3" fmla="*/ 1309587 h 1309587"/>
                  <a:gd name="connsiteX0" fmla="*/ 27 w 2556432"/>
                  <a:gd name="connsiteY0" fmla="*/ 671344 h 1309117"/>
                  <a:gd name="connsiteX1" fmla="*/ 911386 w 2556432"/>
                  <a:gd name="connsiteY1" fmla="*/ 15 h 1309117"/>
                  <a:gd name="connsiteX2" fmla="*/ 1746475 w 2556432"/>
                  <a:gd name="connsiteY2" fmla="*/ 686514 h 1309117"/>
                  <a:gd name="connsiteX3" fmla="*/ 2556432 w 2556432"/>
                  <a:gd name="connsiteY3" fmla="*/ 1309117 h 1309117"/>
                  <a:gd name="connsiteX0" fmla="*/ 0 w 2556405"/>
                  <a:gd name="connsiteY0" fmla="*/ 671347 h 1309120"/>
                  <a:gd name="connsiteX1" fmla="*/ 911359 w 2556405"/>
                  <a:gd name="connsiteY1" fmla="*/ 18 h 1309120"/>
                  <a:gd name="connsiteX2" fmla="*/ 1746448 w 2556405"/>
                  <a:gd name="connsiteY2" fmla="*/ 686517 h 1309120"/>
                  <a:gd name="connsiteX3" fmla="*/ 2556405 w 2556405"/>
                  <a:gd name="connsiteY3" fmla="*/ 1309120 h 1309120"/>
                  <a:gd name="connsiteX0" fmla="*/ 0 w 2556405"/>
                  <a:gd name="connsiteY0" fmla="*/ 672485 h 1310258"/>
                  <a:gd name="connsiteX1" fmla="*/ 911359 w 2556405"/>
                  <a:gd name="connsiteY1" fmla="*/ 1156 h 1310258"/>
                  <a:gd name="connsiteX2" fmla="*/ 1746448 w 2556405"/>
                  <a:gd name="connsiteY2" fmla="*/ 687655 h 1310258"/>
                  <a:gd name="connsiteX3" fmla="*/ 2556405 w 2556405"/>
                  <a:gd name="connsiteY3" fmla="*/ 1310258 h 1310258"/>
                  <a:gd name="connsiteX0" fmla="*/ 0 w 2556405"/>
                  <a:gd name="connsiteY0" fmla="*/ 672432 h 1310205"/>
                  <a:gd name="connsiteX1" fmla="*/ 911359 w 2556405"/>
                  <a:gd name="connsiteY1" fmla="*/ 1103 h 1310205"/>
                  <a:gd name="connsiteX2" fmla="*/ 1746448 w 2556405"/>
                  <a:gd name="connsiteY2" fmla="*/ 687602 h 1310205"/>
                  <a:gd name="connsiteX3" fmla="*/ 2556405 w 2556405"/>
                  <a:gd name="connsiteY3" fmla="*/ 1310205 h 1310205"/>
                  <a:gd name="connsiteX0" fmla="*/ 0 w 2556405"/>
                  <a:gd name="connsiteY0" fmla="*/ 672432 h 1310205"/>
                  <a:gd name="connsiteX1" fmla="*/ 778009 w 2556405"/>
                  <a:gd name="connsiteY1" fmla="*/ 1103 h 1310205"/>
                  <a:gd name="connsiteX2" fmla="*/ 1746448 w 2556405"/>
                  <a:gd name="connsiteY2" fmla="*/ 687602 h 1310205"/>
                  <a:gd name="connsiteX3" fmla="*/ 2556405 w 2556405"/>
                  <a:gd name="connsiteY3" fmla="*/ 1310205 h 1310205"/>
                  <a:gd name="connsiteX0" fmla="*/ 0 w 2556405"/>
                  <a:gd name="connsiteY0" fmla="*/ 672186 h 1309959"/>
                  <a:gd name="connsiteX1" fmla="*/ 778009 w 2556405"/>
                  <a:gd name="connsiteY1" fmla="*/ 857 h 1309959"/>
                  <a:gd name="connsiteX2" fmla="*/ 1746448 w 2556405"/>
                  <a:gd name="connsiteY2" fmla="*/ 687356 h 1309959"/>
                  <a:gd name="connsiteX3" fmla="*/ 2556405 w 2556405"/>
                  <a:gd name="connsiteY3" fmla="*/ 1309959 h 1309959"/>
                  <a:gd name="connsiteX0" fmla="*/ 0 w 2556405"/>
                  <a:gd name="connsiteY0" fmla="*/ 671347 h 1309120"/>
                  <a:gd name="connsiteX1" fmla="*/ 778009 w 2556405"/>
                  <a:gd name="connsiteY1" fmla="*/ 18 h 1309120"/>
                  <a:gd name="connsiteX2" fmla="*/ 1746448 w 2556405"/>
                  <a:gd name="connsiteY2" fmla="*/ 686517 h 1309120"/>
                  <a:gd name="connsiteX3" fmla="*/ 2556405 w 2556405"/>
                  <a:gd name="connsiteY3" fmla="*/ 1309120 h 1309120"/>
                  <a:gd name="connsiteX0" fmla="*/ 0 w 2556405"/>
                  <a:gd name="connsiteY0" fmla="*/ 671340 h 1309113"/>
                  <a:gd name="connsiteX1" fmla="*/ 778009 w 2556405"/>
                  <a:gd name="connsiteY1" fmla="*/ 11 h 1309113"/>
                  <a:gd name="connsiteX2" fmla="*/ 1746448 w 2556405"/>
                  <a:gd name="connsiteY2" fmla="*/ 686510 h 1309113"/>
                  <a:gd name="connsiteX3" fmla="*/ 2556405 w 2556405"/>
                  <a:gd name="connsiteY3" fmla="*/ 1309113 h 1309113"/>
                  <a:gd name="connsiteX0" fmla="*/ 0 w 2556405"/>
                  <a:gd name="connsiteY0" fmla="*/ 671340 h 1309113"/>
                  <a:gd name="connsiteX1" fmla="*/ 778009 w 2556405"/>
                  <a:gd name="connsiteY1" fmla="*/ 11 h 1309113"/>
                  <a:gd name="connsiteX2" fmla="*/ 1746448 w 2556405"/>
                  <a:gd name="connsiteY2" fmla="*/ 686510 h 1309113"/>
                  <a:gd name="connsiteX3" fmla="*/ 2556405 w 2556405"/>
                  <a:gd name="connsiteY3" fmla="*/ 1309113 h 1309113"/>
                  <a:gd name="connsiteX0" fmla="*/ 1 w 2593711"/>
                  <a:gd name="connsiteY0" fmla="*/ 644434 h 1309189"/>
                  <a:gd name="connsiteX1" fmla="*/ 815315 w 2593711"/>
                  <a:gd name="connsiteY1" fmla="*/ 87 h 1309189"/>
                  <a:gd name="connsiteX2" fmla="*/ 1783754 w 2593711"/>
                  <a:gd name="connsiteY2" fmla="*/ 686586 h 1309189"/>
                  <a:gd name="connsiteX3" fmla="*/ 2593711 w 2593711"/>
                  <a:gd name="connsiteY3" fmla="*/ 1309189 h 1309189"/>
                  <a:gd name="connsiteX0" fmla="*/ 1 w 2593711"/>
                  <a:gd name="connsiteY0" fmla="*/ 644481 h 1309236"/>
                  <a:gd name="connsiteX1" fmla="*/ 815315 w 2593711"/>
                  <a:gd name="connsiteY1" fmla="*/ 134 h 1309236"/>
                  <a:gd name="connsiteX2" fmla="*/ 1783754 w 2593711"/>
                  <a:gd name="connsiteY2" fmla="*/ 686633 h 1309236"/>
                  <a:gd name="connsiteX3" fmla="*/ 2593711 w 2593711"/>
                  <a:gd name="connsiteY3" fmla="*/ 1309236 h 1309236"/>
                  <a:gd name="connsiteX0" fmla="*/ 1 w 2638506"/>
                  <a:gd name="connsiteY0" fmla="*/ 648155 h 1309212"/>
                  <a:gd name="connsiteX1" fmla="*/ 860110 w 2638506"/>
                  <a:gd name="connsiteY1" fmla="*/ 110 h 1309212"/>
                  <a:gd name="connsiteX2" fmla="*/ 1828549 w 2638506"/>
                  <a:gd name="connsiteY2" fmla="*/ 686609 h 1309212"/>
                  <a:gd name="connsiteX3" fmla="*/ 2638506 w 2638506"/>
                  <a:gd name="connsiteY3" fmla="*/ 1309212 h 1309212"/>
                  <a:gd name="connsiteX0" fmla="*/ 1 w 2638506"/>
                  <a:gd name="connsiteY0" fmla="*/ 648197 h 1309254"/>
                  <a:gd name="connsiteX1" fmla="*/ 860110 w 2638506"/>
                  <a:gd name="connsiteY1" fmla="*/ 152 h 1309254"/>
                  <a:gd name="connsiteX2" fmla="*/ 1828549 w 2638506"/>
                  <a:gd name="connsiteY2" fmla="*/ 686651 h 1309254"/>
                  <a:gd name="connsiteX3" fmla="*/ 2638506 w 2638506"/>
                  <a:gd name="connsiteY3" fmla="*/ 1309254 h 1309254"/>
                  <a:gd name="connsiteX0" fmla="*/ 1 w 2638506"/>
                  <a:gd name="connsiteY0" fmla="*/ 649974 h 1311031"/>
                  <a:gd name="connsiteX1" fmla="*/ 860110 w 2638506"/>
                  <a:gd name="connsiteY1" fmla="*/ 1929 h 1311031"/>
                  <a:gd name="connsiteX2" fmla="*/ 1828549 w 2638506"/>
                  <a:gd name="connsiteY2" fmla="*/ 688428 h 1311031"/>
                  <a:gd name="connsiteX3" fmla="*/ 2638506 w 2638506"/>
                  <a:gd name="connsiteY3" fmla="*/ 1311031 h 1311031"/>
                  <a:gd name="connsiteX0" fmla="*/ 1 w 2638506"/>
                  <a:gd name="connsiteY0" fmla="*/ 649607 h 1310664"/>
                  <a:gd name="connsiteX1" fmla="*/ 860110 w 2638506"/>
                  <a:gd name="connsiteY1" fmla="*/ 1562 h 1310664"/>
                  <a:gd name="connsiteX2" fmla="*/ 1828549 w 2638506"/>
                  <a:gd name="connsiteY2" fmla="*/ 688061 h 1310664"/>
                  <a:gd name="connsiteX3" fmla="*/ 2638506 w 2638506"/>
                  <a:gd name="connsiteY3" fmla="*/ 1310664 h 1310664"/>
                  <a:gd name="connsiteX0" fmla="*/ 1 w 2638506"/>
                  <a:gd name="connsiteY0" fmla="*/ 649193 h 1310250"/>
                  <a:gd name="connsiteX1" fmla="*/ 860110 w 2638506"/>
                  <a:gd name="connsiteY1" fmla="*/ 1148 h 1310250"/>
                  <a:gd name="connsiteX2" fmla="*/ 1828549 w 2638506"/>
                  <a:gd name="connsiteY2" fmla="*/ 687647 h 1310250"/>
                  <a:gd name="connsiteX3" fmla="*/ 2638506 w 2638506"/>
                  <a:gd name="connsiteY3" fmla="*/ 1310250 h 1310250"/>
                  <a:gd name="connsiteX0" fmla="*/ 1 w 2638506"/>
                  <a:gd name="connsiteY0" fmla="*/ 650609 h 1311666"/>
                  <a:gd name="connsiteX1" fmla="*/ 860110 w 2638506"/>
                  <a:gd name="connsiteY1" fmla="*/ 2564 h 1311666"/>
                  <a:gd name="connsiteX2" fmla="*/ 1828549 w 2638506"/>
                  <a:gd name="connsiteY2" fmla="*/ 689063 h 1311666"/>
                  <a:gd name="connsiteX3" fmla="*/ 2638506 w 2638506"/>
                  <a:gd name="connsiteY3" fmla="*/ 1311666 h 1311666"/>
                  <a:gd name="connsiteX0" fmla="*/ 1 w 2638506"/>
                  <a:gd name="connsiteY0" fmla="*/ 649841 h 1310898"/>
                  <a:gd name="connsiteX1" fmla="*/ 860110 w 2638506"/>
                  <a:gd name="connsiteY1" fmla="*/ 1796 h 1310898"/>
                  <a:gd name="connsiteX2" fmla="*/ 1828549 w 2638506"/>
                  <a:gd name="connsiteY2" fmla="*/ 688295 h 1310898"/>
                  <a:gd name="connsiteX3" fmla="*/ 2638506 w 2638506"/>
                  <a:gd name="connsiteY3" fmla="*/ 1310898 h 1310898"/>
                  <a:gd name="connsiteX0" fmla="*/ 1 w 2638506"/>
                  <a:gd name="connsiteY0" fmla="*/ 649841 h 1310898"/>
                  <a:gd name="connsiteX1" fmla="*/ 860110 w 2638506"/>
                  <a:gd name="connsiteY1" fmla="*/ 1796 h 1310898"/>
                  <a:gd name="connsiteX2" fmla="*/ 1828549 w 2638506"/>
                  <a:gd name="connsiteY2" fmla="*/ 688295 h 1310898"/>
                  <a:gd name="connsiteX3" fmla="*/ 2638506 w 2638506"/>
                  <a:gd name="connsiteY3" fmla="*/ 1310898 h 1310898"/>
                  <a:gd name="connsiteX0" fmla="*/ 1 w 2664626"/>
                  <a:gd name="connsiteY0" fmla="*/ 635455 h 1309388"/>
                  <a:gd name="connsiteX1" fmla="*/ 886230 w 2664626"/>
                  <a:gd name="connsiteY1" fmla="*/ 286 h 1309388"/>
                  <a:gd name="connsiteX2" fmla="*/ 1854669 w 2664626"/>
                  <a:gd name="connsiteY2" fmla="*/ 686785 h 1309388"/>
                  <a:gd name="connsiteX3" fmla="*/ 2664626 w 2664626"/>
                  <a:gd name="connsiteY3" fmla="*/ 1309388 h 1309388"/>
                  <a:gd name="connsiteX0" fmla="*/ 1 w 1854668"/>
                  <a:gd name="connsiteY0" fmla="*/ 635455 h 686786"/>
                  <a:gd name="connsiteX1" fmla="*/ 886230 w 1854668"/>
                  <a:gd name="connsiteY1" fmla="*/ 286 h 686786"/>
                  <a:gd name="connsiteX2" fmla="*/ 1854669 w 1854668"/>
                  <a:gd name="connsiteY2" fmla="*/ 686785 h 686786"/>
                  <a:gd name="connsiteX0" fmla="*/ 1 w 886231"/>
                  <a:gd name="connsiteY0" fmla="*/ 635455 h 635455"/>
                  <a:gd name="connsiteX1" fmla="*/ 886230 w 886231"/>
                  <a:gd name="connsiteY1" fmla="*/ 286 h 635455"/>
                  <a:gd name="connsiteX0" fmla="*/ 1 w 886231"/>
                  <a:gd name="connsiteY0" fmla="*/ 635460 h 635460"/>
                  <a:gd name="connsiteX1" fmla="*/ 490191 w 886231"/>
                  <a:gd name="connsiteY1" fmla="*/ 91024 h 635460"/>
                  <a:gd name="connsiteX2" fmla="*/ 886230 w 886231"/>
                  <a:gd name="connsiteY2" fmla="*/ 291 h 635460"/>
                  <a:gd name="connsiteX0" fmla="*/ 1 w 886231"/>
                  <a:gd name="connsiteY0" fmla="*/ 636018 h 636018"/>
                  <a:gd name="connsiteX1" fmla="*/ 490191 w 886231"/>
                  <a:gd name="connsiteY1" fmla="*/ 91582 h 636018"/>
                  <a:gd name="connsiteX2" fmla="*/ 886230 w 886231"/>
                  <a:gd name="connsiteY2" fmla="*/ 849 h 636018"/>
                  <a:gd name="connsiteX0" fmla="*/ 1 w 886231"/>
                  <a:gd name="connsiteY0" fmla="*/ 638967 h 638967"/>
                  <a:gd name="connsiteX1" fmla="*/ 490191 w 886231"/>
                  <a:gd name="connsiteY1" fmla="*/ 94531 h 638967"/>
                  <a:gd name="connsiteX2" fmla="*/ 886230 w 886231"/>
                  <a:gd name="connsiteY2" fmla="*/ 3798 h 638967"/>
                  <a:gd name="connsiteX0" fmla="*/ 1 w 490191"/>
                  <a:gd name="connsiteY0" fmla="*/ 544435 h 544435"/>
                  <a:gd name="connsiteX1" fmla="*/ 490191 w 490191"/>
                  <a:gd name="connsiteY1" fmla="*/ -1 h 544435"/>
                  <a:gd name="connsiteX0" fmla="*/ 1 w 490191"/>
                  <a:gd name="connsiteY0" fmla="*/ 544435 h 544435"/>
                  <a:gd name="connsiteX1" fmla="*/ 490191 w 490191"/>
                  <a:gd name="connsiteY1" fmla="*/ -1 h 544435"/>
                  <a:gd name="connsiteX0" fmla="*/ 1 w 490191"/>
                  <a:gd name="connsiteY0" fmla="*/ 544435 h 544435"/>
                  <a:gd name="connsiteX1" fmla="*/ 490191 w 490191"/>
                  <a:gd name="connsiteY1" fmla="*/ -1 h 544435"/>
                  <a:gd name="connsiteX0" fmla="*/ 1 w 490191"/>
                  <a:gd name="connsiteY0" fmla="*/ 544435 h 544435"/>
                  <a:gd name="connsiteX1" fmla="*/ 490191 w 490191"/>
                  <a:gd name="connsiteY1" fmla="*/ -1 h 5444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90191" h="544435">
                    <a:moveTo>
                      <a:pt x="1" y="544435"/>
                    </a:moveTo>
                    <a:cubicBezTo>
                      <a:pt x="59974" y="349650"/>
                      <a:pt x="307478" y="61023"/>
                      <a:pt x="490191" y="-1"/>
                    </a:cubicBezTo>
                  </a:path>
                </a:pathLst>
              </a:custGeom>
              <a:grpFill/>
              <a:ln w="6350" cap="rnd">
                <a:solidFill>
                  <a:schemeClr val="accent1"/>
                </a:solidFill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 rtlCol="0" anchor="ctr">
                <a:noAutofit/>
              </a:bodyPr>
              <a:lstStyle/>
              <a:p>
                <a:pPr marL="0" marR="0" lvl="0" indent="0" algn="ctr" defTabSz="45719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Imago"/>
                  <a:ea typeface="+mn-ea"/>
                  <a:cs typeface="+mn-cs"/>
                </a:endParaRPr>
              </a:p>
            </p:txBody>
          </p:sp>
        </p:grpSp>
        <p:cxnSp>
          <p:nvCxnSpPr>
            <p:cNvPr id="1073" name="Straight Connector 1072">
              <a:extLst>
                <a:ext uri="{FF2B5EF4-FFF2-40B4-BE49-F238E27FC236}">
                  <a16:creationId xmlns:a16="http://schemas.microsoft.com/office/drawing/2014/main" id="{57EFD1ED-B305-24FE-AD60-42CD95C8B3B0}"/>
                </a:ext>
              </a:extLst>
            </p:cNvPr>
            <p:cNvCxnSpPr/>
            <p:nvPr/>
          </p:nvCxnSpPr>
          <p:spPr>
            <a:xfrm>
              <a:off x="704611" y="1696455"/>
              <a:ext cx="187200" cy="0"/>
            </a:xfrm>
            <a:prstGeom prst="line">
              <a:avLst/>
            </a:prstGeom>
            <a:noFill/>
            <a:ln w="6350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4" name="Straight Connector 1073">
              <a:extLst>
                <a:ext uri="{FF2B5EF4-FFF2-40B4-BE49-F238E27FC236}">
                  <a16:creationId xmlns:a16="http://schemas.microsoft.com/office/drawing/2014/main" id="{AF3686FB-ED39-0B0C-525F-FE019259A3C5}"/>
                </a:ext>
              </a:extLst>
            </p:cNvPr>
            <p:cNvCxnSpPr/>
            <p:nvPr/>
          </p:nvCxnSpPr>
          <p:spPr>
            <a:xfrm>
              <a:off x="718764" y="1640191"/>
              <a:ext cx="158400" cy="0"/>
            </a:xfrm>
            <a:prstGeom prst="line">
              <a:avLst/>
            </a:prstGeom>
            <a:noFill/>
            <a:ln w="6350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5" name="Straight Connector 1074">
              <a:extLst>
                <a:ext uri="{FF2B5EF4-FFF2-40B4-BE49-F238E27FC236}">
                  <a16:creationId xmlns:a16="http://schemas.microsoft.com/office/drawing/2014/main" id="{19932F47-071C-5134-19E6-2DDE604DE825}"/>
                </a:ext>
              </a:extLst>
            </p:cNvPr>
            <p:cNvCxnSpPr/>
            <p:nvPr/>
          </p:nvCxnSpPr>
          <p:spPr>
            <a:xfrm>
              <a:off x="723526" y="1752719"/>
              <a:ext cx="151200" cy="0"/>
            </a:xfrm>
            <a:prstGeom prst="line">
              <a:avLst/>
            </a:prstGeom>
            <a:noFill/>
            <a:ln w="6350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6" name="Straight Connector 1075">
              <a:extLst>
                <a:ext uri="{FF2B5EF4-FFF2-40B4-BE49-F238E27FC236}">
                  <a16:creationId xmlns:a16="http://schemas.microsoft.com/office/drawing/2014/main" id="{428288CD-D801-B31F-9B70-269343B0E229}"/>
                </a:ext>
              </a:extLst>
            </p:cNvPr>
            <p:cNvCxnSpPr/>
            <p:nvPr/>
          </p:nvCxnSpPr>
          <p:spPr>
            <a:xfrm>
              <a:off x="711021" y="1892039"/>
              <a:ext cx="168771" cy="0"/>
            </a:xfrm>
            <a:prstGeom prst="line">
              <a:avLst/>
            </a:prstGeom>
            <a:noFill/>
            <a:ln w="6350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7" name="Straight Connector 1076">
              <a:extLst>
                <a:ext uri="{FF2B5EF4-FFF2-40B4-BE49-F238E27FC236}">
                  <a16:creationId xmlns:a16="http://schemas.microsoft.com/office/drawing/2014/main" id="{E0728601-D3A9-671A-1D73-9214DC96608F}"/>
                </a:ext>
              </a:extLst>
            </p:cNvPr>
            <p:cNvCxnSpPr/>
            <p:nvPr/>
          </p:nvCxnSpPr>
          <p:spPr>
            <a:xfrm>
              <a:off x="727097" y="1495703"/>
              <a:ext cx="168771" cy="0"/>
            </a:xfrm>
            <a:prstGeom prst="line">
              <a:avLst/>
            </a:prstGeom>
            <a:noFill/>
            <a:ln w="6350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82" name="Group 1081">
            <a:extLst>
              <a:ext uri="{FF2B5EF4-FFF2-40B4-BE49-F238E27FC236}">
                <a16:creationId xmlns:a16="http://schemas.microsoft.com/office/drawing/2014/main" id="{5A8D7929-7F46-12B2-3CD8-65D93987A6EA}"/>
              </a:ext>
            </a:extLst>
          </p:cNvPr>
          <p:cNvGrpSpPr>
            <a:grpSpLocks noChangeAspect="1"/>
          </p:cNvGrpSpPr>
          <p:nvPr/>
        </p:nvGrpSpPr>
        <p:grpSpPr>
          <a:xfrm rot="2938125">
            <a:off x="5806749" y="4046717"/>
            <a:ext cx="87490" cy="210070"/>
            <a:chOff x="704611" y="1456658"/>
            <a:chExt cx="199531" cy="479091"/>
          </a:xfrm>
        </p:grpSpPr>
        <p:grpSp>
          <p:nvGrpSpPr>
            <p:cNvPr id="1083" name="Group 1082">
              <a:extLst>
                <a:ext uri="{FF2B5EF4-FFF2-40B4-BE49-F238E27FC236}">
                  <a16:creationId xmlns:a16="http://schemas.microsoft.com/office/drawing/2014/main" id="{711A7F4D-A70F-4239-B352-AA5473DF4654}"/>
                </a:ext>
              </a:extLst>
            </p:cNvPr>
            <p:cNvGrpSpPr/>
            <p:nvPr/>
          </p:nvGrpSpPr>
          <p:grpSpPr>
            <a:xfrm flipH="1">
              <a:off x="705120" y="1456658"/>
              <a:ext cx="199022" cy="479091"/>
              <a:chOff x="3767341" y="2244425"/>
              <a:chExt cx="585304" cy="1408966"/>
            </a:xfrm>
            <a:noFill/>
          </p:grpSpPr>
          <p:sp>
            <p:nvSpPr>
              <p:cNvPr id="1089" name="Freeform: Shape 91">
                <a:extLst>
                  <a:ext uri="{FF2B5EF4-FFF2-40B4-BE49-F238E27FC236}">
                    <a16:creationId xmlns:a16="http://schemas.microsoft.com/office/drawing/2014/main" id="{ED951256-2804-2253-3EC6-4A20EEA5AFB9}"/>
                  </a:ext>
                </a:extLst>
              </p:cNvPr>
              <p:cNvSpPr/>
              <p:nvPr/>
            </p:nvSpPr>
            <p:spPr>
              <a:xfrm rot="4837695" flipH="1">
                <a:off x="3572300" y="2502917"/>
                <a:ext cx="1016473" cy="499490"/>
              </a:xfrm>
              <a:custGeom>
                <a:avLst/>
                <a:gdLst>
                  <a:gd name="connsiteX0" fmla="*/ 0 w 2617365"/>
                  <a:gd name="connsiteY0" fmla="*/ 939567 h 939567"/>
                  <a:gd name="connsiteX1" fmla="*/ 922789 w 2617365"/>
                  <a:gd name="connsiteY1" fmla="*/ 16778 h 939567"/>
                  <a:gd name="connsiteX2" fmla="*/ 1761688 w 2617365"/>
                  <a:gd name="connsiteY2" fmla="*/ 855677 h 939567"/>
                  <a:gd name="connsiteX3" fmla="*/ 2617365 w 2617365"/>
                  <a:gd name="connsiteY3" fmla="*/ 0 h 939567"/>
                  <a:gd name="connsiteX0" fmla="*/ 27 w 2617392"/>
                  <a:gd name="connsiteY0" fmla="*/ 939567 h 939567"/>
                  <a:gd name="connsiteX1" fmla="*/ 922816 w 2617392"/>
                  <a:gd name="connsiteY1" fmla="*/ 16778 h 939567"/>
                  <a:gd name="connsiteX2" fmla="*/ 1761715 w 2617392"/>
                  <a:gd name="connsiteY2" fmla="*/ 855677 h 939567"/>
                  <a:gd name="connsiteX3" fmla="*/ 2617392 w 2617392"/>
                  <a:gd name="connsiteY3" fmla="*/ 0 h 939567"/>
                  <a:gd name="connsiteX0" fmla="*/ 27 w 2617392"/>
                  <a:gd name="connsiteY0" fmla="*/ 939567 h 939567"/>
                  <a:gd name="connsiteX1" fmla="*/ 922816 w 2617392"/>
                  <a:gd name="connsiteY1" fmla="*/ 16778 h 939567"/>
                  <a:gd name="connsiteX2" fmla="*/ 1761715 w 2617392"/>
                  <a:gd name="connsiteY2" fmla="*/ 855677 h 939567"/>
                  <a:gd name="connsiteX3" fmla="*/ 2617392 w 2617392"/>
                  <a:gd name="connsiteY3" fmla="*/ 0 h 939567"/>
                  <a:gd name="connsiteX0" fmla="*/ 33 w 2617398"/>
                  <a:gd name="connsiteY0" fmla="*/ 939567 h 939567"/>
                  <a:gd name="connsiteX1" fmla="*/ 922822 w 2617398"/>
                  <a:gd name="connsiteY1" fmla="*/ 16778 h 939567"/>
                  <a:gd name="connsiteX2" fmla="*/ 1761721 w 2617398"/>
                  <a:gd name="connsiteY2" fmla="*/ 855677 h 939567"/>
                  <a:gd name="connsiteX3" fmla="*/ 2617398 w 2617398"/>
                  <a:gd name="connsiteY3" fmla="*/ 0 h 939567"/>
                  <a:gd name="connsiteX0" fmla="*/ 33 w 2617398"/>
                  <a:gd name="connsiteY0" fmla="*/ 939567 h 939567"/>
                  <a:gd name="connsiteX1" fmla="*/ 922822 w 2617398"/>
                  <a:gd name="connsiteY1" fmla="*/ 16778 h 939567"/>
                  <a:gd name="connsiteX2" fmla="*/ 1761721 w 2617398"/>
                  <a:gd name="connsiteY2" fmla="*/ 855677 h 939567"/>
                  <a:gd name="connsiteX3" fmla="*/ 2617398 w 2617398"/>
                  <a:gd name="connsiteY3" fmla="*/ 0 h 939567"/>
                  <a:gd name="connsiteX0" fmla="*/ 45 w 2617410"/>
                  <a:gd name="connsiteY0" fmla="*/ 939567 h 939567"/>
                  <a:gd name="connsiteX1" fmla="*/ 793294 w 2617410"/>
                  <a:gd name="connsiteY1" fmla="*/ 161558 h 939567"/>
                  <a:gd name="connsiteX2" fmla="*/ 1761733 w 2617410"/>
                  <a:gd name="connsiteY2" fmla="*/ 855677 h 939567"/>
                  <a:gd name="connsiteX3" fmla="*/ 2617410 w 2617410"/>
                  <a:gd name="connsiteY3" fmla="*/ 0 h 939567"/>
                  <a:gd name="connsiteX0" fmla="*/ 45 w 2617410"/>
                  <a:gd name="connsiteY0" fmla="*/ 939567 h 939567"/>
                  <a:gd name="connsiteX1" fmla="*/ 793294 w 2617410"/>
                  <a:gd name="connsiteY1" fmla="*/ 161558 h 939567"/>
                  <a:gd name="connsiteX2" fmla="*/ 1761733 w 2617410"/>
                  <a:gd name="connsiteY2" fmla="*/ 855677 h 939567"/>
                  <a:gd name="connsiteX3" fmla="*/ 2617410 w 2617410"/>
                  <a:gd name="connsiteY3" fmla="*/ 0 h 939567"/>
                  <a:gd name="connsiteX0" fmla="*/ 35 w 2617400"/>
                  <a:gd name="connsiteY0" fmla="*/ 939567 h 939567"/>
                  <a:gd name="connsiteX1" fmla="*/ 793284 w 2617400"/>
                  <a:gd name="connsiteY1" fmla="*/ 161558 h 939567"/>
                  <a:gd name="connsiteX2" fmla="*/ 1799823 w 2617400"/>
                  <a:gd name="connsiteY2" fmla="*/ 928067 h 939567"/>
                  <a:gd name="connsiteX3" fmla="*/ 2617400 w 2617400"/>
                  <a:gd name="connsiteY3" fmla="*/ 0 h 939567"/>
                  <a:gd name="connsiteX0" fmla="*/ 35 w 2617400"/>
                  <a:gd name="connsiteY0" fmla="*/ 939567 h 939567"/>
                  <a:gd name="connsiteX1" fmla="*/ 793284 w 2617400"/>
                  <a:gd name="connsiteY1" fmla="*/ 161558 h 939567"/>
                  <a:gd name="connsiteX2" fmla="*/ 1799823 w 2617400"/>
                  <a:gd name="connsiteY2" fmla="*/ 928067 h 939567"/>
                  <a:gd name="connsiteX3" fmla="*/ 2617400 w 2617400"/>
                  <a:gd name="connsiteY3" fmla="*/ 0 h 939567"/>
                  <a:gd name="connsiteX0" fmla="*/ 54 w 2617419"/>
                  <a:gd name="connsiteY0" fmla="*/ 939567 h 939567"/>
                  <a:gd name="connsiteX1" fmla="*/ 793303 w 2617419"/>
                  <a:gd name="connsiteY1" fmla="*/ 161558 h 939567"/>
                  <a:gd name="connsiteX2" fmla="*/ 1799842 w 2617419"/>
                  <a:gd name="connsiteY2" fmla="*/ 928067 h 939567"/>
                  <a:gd name="connsiteX3" fmla="*/ 2617419 w 2617419"/>
                  <a:gd name="connsiteY3" fmla="*/ 0 h 939567"/>
                  <a:gd name="connsiteX0" fmla="*/ 54 w 2602179"/>
                  <a:gd name="connsiteY0" fmla="*/ 778016 h 778016"/>
                  <a:gd name="connsiteX1" fmla="*/ 793303 w 2602179"/>
                  <a:gd name="connsiteY1" fmla="*/ 7 h 778016"/>
                  <a:gd name="connsiteX2" fmla="*/ 1799842 w 2602179"/>
                  <a:gd name="connsiteY2" fmla="*/ 766516 h 778016"/>
                  <a:gd name="connsiteX3" fmla="*/ 2602179 w 2602179"/>
                  <a:gd name="connsiteY3" fmla="*/ 28949 h 778016"/>
                  <a:gd name="connsiteX0" fmla="*/ 54 w 2438349"/>
                  <a:gd name="connsiteY0" fmla="*/ 778016 h 1419810"/>
                  <a:gd name="connsiteX1" fmla="*/ 793303 w 2438349"/>
                  <a:gd name="connsiteY1" fmla="*/ 7 h 1419810"/>
                  <a:gd name="connsiteX2" fmla="*/ 1799842 w 2438349"/>
                  <a:gd name="connsiteY2" fmla="*/ 766516 h 1419810"/>
                  <a:gd name="connsiteX3" fmla="*/ 2438349 w 2438349"/>
                  <a:gd name="connsiteY3" fmla="*/ 1309109 h 1419810"/>
                  <a:gd name="connsiteX0" fmla="*/ 54 w 2438349"/>
                  <a:gd name="connsiteY0" fmla="*/ 778016 h 1309109"/>
                  <a:gd name="connsiteX1" fmla="*/ 793303 w 2438349"/>
                  <a:gd name="connsiteY1" fmla="*/ 7 h 1309109"/>
                  <a:gd name="connsiteX2" fmla="*/ 1799842 w 2438349"/>
                  <a:gd name="connsiteY2" fmla="*/ 766516 h 1309109"/>
                  <a:gd name="connsiteX3" fmla="*/ 2438349 w 2438349"/>
                  <a:gd name="connsiteY3" fmla="*/ 1309109 h 1309109"/>
                  <a:gd name="connsiteX0" fmla="*/ 33 w 2438328"/>
                  <a:gd name="connsiteY0" fmla="*/ 778361 h 1309454"/>
                  <a:gd name="connsiteX1" fmla="*/ 793282 w 2438328"/>
                  <a:gd name="connsiteY1" fmla="*/ 352 h 1309454"/>
                  <a:gd name="connsiteX2" fmla="*/ 1628371 w 2438328"/>
                  <a:gd name="connsiteY2" fmla="*/ 686851 h 1309454"/>
                  <a:gd name="connsiteX3" fmla="*/ 2438328 w 2438328"/>
                  <a:gd name="connsiteY3" fmla="*/ 1309454 h 1309454"/>
                  <a:gd name="connsiteX0" fmla="*/ 33 w 2438328"/>
                  <a:gd name="connsiteY0" fmla="*/ 778494 h 1309587"/>
                  <a:gd name="connsiteX1" fmla="*/ 793282 w 2438328"/>
                  <a:gd name="connsiteY1" fmla="*/ 485 h 1309587"/>
                  <a:gd name="connsiteX2" fmla="*/ 1628371 w 2438328"/>
                  <a:gd name="connsiteY2" fmla="*/ 686984 h 1309587"/>
                  <a:gd name="connsiteX3" fmla="*/ 2438328 w 2438328"/>
                  <a:gd name="connsiteY3" fmla="*/ 1309587 h 1309587"/>
                  <a:gd name="connsiteX0" fmla="*/ 27 w 2556432"/>
                  <a:gd name="connsiteY0" fmla="*/ 671344 h 1309117"/>
                  <a:gd name="connsiteX1" fmla="*/ 911386 w 2556432"/>
                  <a:gd name="connsiteY1" fmla="*/ 15 h 1309117"/>
                  <a:gd name="connsiteX2" fmla="*/ 1746475 w 2556432"/>
                  <a:gd name="connsiteY2" fmla="*/ 686514 h 1309117"/>
                  <a:gd name="connsiteX3" fmla="*/ 2556432 w 2556432"/>
                  <a:gd name="connsiteY3" fmla="*/ 1309117 h 1309117"/>
                  <a:gd name="connsiteX0" fmla="*/ 0 w 2556405"/>
                  <a:gd name="connsiteY0" fmla="*/ 671347 h 1309120"/>
                  <a:gd name="connsiteX1" fmla="*/ 911359 w 2556405"/>
                  <a:gd name="connsiteY1" fmla="*/ 18 h 1309120"/>
                  <a:gd name="connsiteX2" fmla="*/ 1746448 w 2556405"/>
                  <a:gd name="connsiteY2" fmla="*/ 686517 h 1309120"/>
                  <a:gd name="connsiteX3" fmla="*/ 2556405 w 2556405"/>
                  <a:gd name="connsiteY3" fmla="*/ 1309120 h 1309120"/>
                  <a:gd name="connsiteX0" fmla="*/ 0 w 2556405"/>
                  <a:gd name="connsiteY0" fmla="*/ 672485 h 1310258"/>
                  <a:gd name="connsiteX1" fmla="*/ 911359 w 2556405"/>
                  <a:gd name="connsiteY1" fmla="*/ 1156 h 1310258"/>
                  <a:gd name="connsiteX2" fmla="*/ 1746448 w 2556405"/>
                  <a:gd name="connsiteY2" fmla="*/ 687655 h 1310258"/>
                  <a:gd name="connsiteX3" fmla="*/ 2556405 w 2556405"/>
                  <a:gd name="connsiteY3" fmla="*/ 1310258 h 1310258"/>
                  <a:gd name="connsiteX0" fmla="*/ 0 w 2556405"/>
                  <a:gd name="connsiteY0" fmla="*/ 672432 h 1310205"/>
                  <a:gd name="connsiteX1" fmla="*/ 911359 w 2556405"/>
                  <a:gd name="connsiteY1" fmla="*/ 1103 h 1310205"/>
                  <a:gd name="connsiteX2" fmla="*/ 1746448 w 2556405"/>
                  <a:gd name="connsiteY2" fmla="*/ 687602 h 1310205"/>
                  <a:gd name="connsiteX3" fmla="*/ 2556405 w 2556405"/>
                  <a:gd name="connsiteY3" fmla="*/ 1310205 h 1310205"/>
                  <a:gd name="connsiteX0" fmla="*/ 0 w 2556405"/>
                  <a:gd name="connsiteY0" fmla="*/ 672432 h 1310205"/>
                  <a:gd name="connsiteX1" fmla="*/ 778009 w 2556405"/>
                  <a:gd name="connsiteY1" fmla="*/ 1103 h 1310205"/>
                  <a:gd name="connsiteX2" fmla="*/ 1746448 w 2556405"/>
                  <a:gd name="connsiteY2" fmla="*/ 687602 h 1310205"/>
                  <a:gd name="connsiteX3" fmla="*/ 2556405 w 2556405"/>
                  <a:gd name="connsiteY3" fmla="*/ 1310205 h 1310205"/>
                  <a:gd name="connsiteX0" fmla="*/ 0 w 2556405"/>
                  <a:gd name="connsiteY0" fmla="*/ 672186 h 1309959"/>
                  <a:gd name="connsiteX1" fmla="*/ 778009 w 2556405"/>
                  <a:gd name="connsiteY1" fmla="*/ 857 h 1309959"/>
                  <a:gd name="connsiteX2" fmla="*/ 1746448 w 2556405"/>
                  <a:gd name="connsiteY2" fmla="*/ 687356 h 1309959"/>
                  <a:gd name="connsiteX3" fmla="*/ 2556405 w 2556405"/>
                  <a:gd name="connsiteY3" fmla="*/ 1309959 h 1309959"/>
                  <a:gd name="connsiteX0" fmla="*/ 0 w 2556405"/>
                  <a:gd name="connsiteY0" fmla="*/ 671347 h 1309120"/>
                  <a:gd name="connsiteX1" fmla="*/ 778009 w 2556405"/>
                  <a:gd name="connsiteY1" fmla="*/ 18 h 1309120"/>
                  <a:gd name="connsiteX2" fmla="*/ 1746448 w 2556405"/>
                  <a:gd name="connsiteY2" fmla="*/ 686517 h 1309120"/>
                  <a:gd name="connsiteX3" fmla="*/ 2556405 w 2556405"/>
                  <a:gd name="connsiteY3" fmla="*/ 1309120 h 1309120"/>
                  <a:gd name="connsiteX0" fmla="*/ 0 w 2556405"/>
                  <a:gd name="connsiteY0" fmla="*/ 671340 h 1309113"/>
                  <a:gd name="connsiteX1" fmla="*/ 778009 w 2556405"/>
                  <a:gd name="connsiteY1" fmla="*/ 11 h 1309113"/>
                  <a:gd name="connsiteX2" fmla="*/ 1746448 w 2556405"/>
                  <a:gd name="connsiteY2" fmla="*/ 686510 h 1309113"/>
                  <a:gd name="connsiteX3" fmla="*/ 2556405 w 2556405"/>
                  <a:gd name="connsiteY3" fmla="*/ 1309113 h 1309113"/>
                  <a:gd name="connsiteX0" fmla="*/ 0 w 2556405"/>
                  <a:gd name="connsiteY0" fmla="*/ 671340 h 1309113"/>
                  <a:gd name="connsiteX1" fmla="*/ 778009 w 2556405"/>
                  <a:gd name="connsiteY1" fmla="*/ 11 h 1309113"/>
                  <a:gd name="connsiteX2" fmla="*/ 1746448 w 2556405"/>
                  <a:gd name="connsiteY2" fmla="*/ 686510 h 1309113"/>
                  <a:gd name="connsiteX3" fmla="*/ 2556405 w 2556405"/>
                  <a:gd name="connsiteY3" fmla="*/ 1309113 h 1309113"/>
                  <a:gd name="connsiteX0" fmla="*/ 1 w 2593711"/>
                  <a:gd name="connsiteY0" fmla="*/ 644434 h 1309189"/>
                  <a:gd name="connsiteX1" fmla="*/ 815315 w 2593711"/>
                  <a:gd name="connsiteY1" fmla="*/ 87 h 1309189"/>
                  <a:gd name="connsiteX2" fmla="*/ 1783754 w 2593711"/>
                  <a:gd name="connsiteY2" fmla="*/ 686586 h 1309189"/>
                  <a:gd name="connsiteX3" fmla="*/ 2593711 w 2593711"/>
                  <a:gd name="connsiteY3" fmla="*/ 1309189 h 1309189"/>
                  <a:gd name="connsiteX0" fmla="*/ 1 w 2593711"/>
                  <a:gd name="connsiteY0" fmla="*/ 644481 h 1309236"/>
                  <a:gd name="connsiteX1" fmla="*/ 815315 w 2593711"/>
                  <a:gd name="connsiteY1" fmla="*/ 134 h 1309236"/>
                  <a:gd name="connsiteX2" fmla="*/ 1783754 w 2593711"/>
                  <a:gd name="connsiteY2" fmla="*/ 686633 h 1309236"/>
                  <a:gd name="connsiteX3" fmla="*/ 2593711 w 2593711"/>
                  <a:gd name="connsiteY3" fmla="*/ 1309236 h 1309236"/>
                  <a:gd name="connsiteX0" fmla="*/ 1 w 2638506"/>
                  <a:gd name="connsiteY0" fmla="*/ 648155 h 1309212"/>
                  <a:gd name="connsiteX1" fmla="*/ 860110 w 2638506"/>
                  <a:gd name="connsiteY1" fmla="*/ 110 h 1309212"/>
                  <a:gd name="connsiteX2" fmla="*/ 1828549 w 2638506"/>
                  <a:gd name="connsiteY2" fmla="*/ 686609 h 1309212"/>
                  <a:gd name="connsiteX3" fmla="*/ 2638506 w 2638506"/>
                  <a:gd name="connsiteY3" fmla="*/ 1309212 h 1309212"/>
                  <a:gd name="connsiteX0" fmla="*/ 1 w 2638506"/>
                  <a:gd name="connsiteY0" fmla="*/ 648197 h 1309254"/>
                  <a:gd name="connsiteX1" fmla="*/ 860110 w 2638506"/>
                  <a:gd name="connsiteY1" fmla="*/ 152 h 1309254"/>
                  <a:gd name="connsiteX2" fmla="*/ 1828549 w 2638506"/>
                  <a:gd name="connsiteY2" fmla="*/ 686651 h 1309254"/>
                  <a:gd name="connsiteX3" fmla="*/ 2638506 w 2638506"/>
                  <a:gd name="connsiteY3" fmla="*/ 1309254 h 1309254"/>
                  <a:gd name="connsiteX0" fmla="*/ 1 w 2638506"/>
                  <a:gd name="connsiteY0" fmla="*/ 649974 h 1311031"/>
                  <a:gd name="connsiteX1" fmla="*/ 860110 w 2638506"/>
                  <a:gd name="connsiteY1" fmla="*/ 1929 h 1311031"/>
                  <a:gd name="connsiteX2" fmla="*/ 1828549 w 2638506"/>
                  <a:gd name="connsiteY2" fmla="*/ 688428 h 1311031"/>
                  <a:gd name="connsiteX3" fmla="*/ 2638506 w 2638506"/>
                  <a:gd name="connsiteY3" fmla="*/ 1311031 h 1311031"/>
                  <a:gd name="connsiteX0" fmla="*/ 1 w 2638506"/>
                  <a:gd name="connsiteY0" fmla="*/ 649607 h 1310664"/>
                  <a:gd name="connsiteX1" fmla="*/ 860110 w 2638506"/>
                  <a:gd name="connsiteY1" fmla="*/ 1562 h 1310664"/>
                  <a:gd name="connsiteX2" fmla="*/ 1828549 w 2638506"/>
                  <a:gd name="connsiteY2" fmla="*/ 688061 h 1310664"/>
                  <a:gd name="connsiteX3" fmla="*/ 2638506 w 2638506"/>
                  <a:gd name="connsiteY3" fmla="*/ 1310664 h 1310664"/>
                  <a:gd name="connsiteX0" fmla="*/ 1 w 2638506"/>
                  <a:gd name="connsiteY0" fmla="*/ 649193 h 1310250"/>
                  <a:gd name="connsiteX1" fmla="*/ 860110 w 2638506"/>
                  <a:gd name="connsiteY1" fmla="*/ 1148 h 1310250"/>
                  <a:gd name="connsiteX2" fmla="*/ 1828549 w 2638506"/>
                  <a:gd name="connsiteY2" fmla="*/ 687647 h 1310250"/>
                  <a:gd name="connsiteX3" fmla="*/ 2638506 w 2638506"/>
                  <a:gd name="connsiteY3" fmla="*/ 1310250 h 1310250"/>
                  <a:gd name="connsiteX0" fmla="*/ 1 w 2638506"/>
                  <a:gd name="connsiteY0" fmla="*/ 650609 h 1311666"/>
                  <a:gd name="connsiteX1" fmla="*/ 860110 w 2638506"/>
                  <a:gd name="connsiteY1" fmla="*/ 2564 h 1311666"/>
                  <a:gd name="connsiteX2" fmla="*/ 1828549 w 2638506"/>
                  <a:gd name="connsiteY2" fmla="*/ 689063 h 1311666"/>
                  <a:gd name="connsiteX3" fmla="*/ 2638506 w 2638506"/>
                  <a:gd name="connsiteY3" fmla="*/ 1311666 h 1311666"/>
                  <a:gd name="connsiteX0" fmla="*/ 1 w 2638506"/>
                  <a:gd name="connsiteY0" fmla="*/ 649841 h 1310898"/>
                  <a:gd name="connsiteX1" fmla="*/ 860110 w 2638506"/>
                  <a:gd name="connsiteY1" fmla="*/ 1796 h 1310898"/>
                  <a:gd name="connsiteX2" fmla="*/ 1828549 w 2638506"/>
                  <a:gd name="connsiteY2" fmla="*/ 688295 h 1310898"/>
                  <a:gd name="connsiteX3" fmla="*/ 2638506 w 2638506"/>
                  <a:gd name="connsiteY3" fmla="*/ 1310898 h 1310898"/>
                  <a:gd name="connsiteX0" fmla="*/ 1 w 2638506"/>
                  <a:gd name="connsiteY0" fmla="*/ 649841 h 1310898"/>
                  <a:gd name="connsiteX1" fmla="*/ 860110 w 2638506"/>
                  <a:gd name="connsiteY1" fmla="*/ 1796 h 1310898"/>
                  <a:gd name="connsiteX2" fmla="*/ 1828549 w 2638506"/>
                  <a:gd name="connsiteY2" fmla="*/ 688295 h 1310898"/>
                  <a:gd name="connsiteX3" fmla="*/ 2638506 w 2638506"/>
                  <a:gd name="connsiteY3" fmla="*/ 1310898 h 1310898"/>
                  <a:gd name="connsiteX0" fmla="*/ 1 w 2664626"/>
                  <a:gd name="connsiteY0" fmla="*/ 635455 h 1309388"/>
                  <a:gd name="connsiteX1" fmla="*/ 886230 w 2664626"/>
                  <a:gd name="connsiteY1" fmla="*/ 286 h 1309388"/>
                  <a:gd name="connsiteX2" fmla="*/ 1854669 w 2664626"/>
                  <a:gd name="connsiteY2" fmla="*/ 686785 h 1309388"/>
                  <a:gd name="connsiteX3" fmla="*/ 2664626 w 2664626"/>
                  <a:gd name="connsiteY3" fmla="*/ 1309388 h 13093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664626" h="1309388">
                    <a:moveTo>
                      <a:pt x="1" y="635455"/>
                    </a:moveTo>
                    <a:cubicBezTo>
                      <a:pt x="160378" y="175322"/>
                      <a:pt x="577119" y="-8269"/>
                      <a:pt x="886230" y="286"/>
                    </a:cubicBezTo>
                    <a:cubicBezTo>
                      <a:pt x="1195341" y="8841"/>
                      <a:pt x="1553315" y="159574"/>
                      <a:pt x="1854669" y="686785"/>
                    </a:cubicBezTo>
                    <a:cubicBezTo>
                      <a:pt x="2156023" y="1213996"/>
                      <a:pt x="2452061" y="1284105"/>
                      <a:pt x="2664626" y="1309388"/>
                    </a:cubicBezTo>
                  </a:path>
                </a:pathLst>
              </a:custGeom>
              <a:grpFill/>
              <a:ln w="6350" cap="rnd">
                <a:solidFill>
                  <a:schemeClr val="accent4"/>
                </a:solidFill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 rtlCol="0" anchor="ctr">
                <a:noAutofit/>
              </a:bodyPr>
              <a:lstStyle/>
              <a:p>
                <a:pPr marL="0" marR="0" lvl="0" indent="0" algn="ctr" defTabSz="45719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Imago"/>
                  <a:ea typeface="+mn-ea"/>
                  <a:cs typeface="+mn-cs"/>
                </a:endParaRPr>
              </a:p>
            </p:txBody>
          </p:sp>
          <p:sp>
            <p:nvSpPr>
              <p:cNvPr id="1090" name="Freeform: Shape 92">
                <a:extLst>
                  <a:ext uri="{FF2B5EF4-FFF2-40B4-BE49-F238E27FC236}">
                    <a16:creationId xmlns:a16="http://schemas.microsoft.com/office/drawing/2014/main" id="{C26DFFA3-5418-8C8C-1518-45EC22908E50}"/>
                  </a:ext>
                </a:extLst>
              </p:cNvPr>
              <p:cNvSpPr/>
              <p:nvPr/>
            </p:nvSpPr>
            <p:spPr>
              <a:xfrm rot="4837695" flipV="1">
                <a:off x="3555458" y="2895410"/>
                <a:ext cx="1016473" cy="499490"/>
              </a:xfrm>
              <a:custGeom>
                <a:avLst/>
                <a:gdLst>
                  <a:gd name="connsiteX0" fmla="*/ 0 w 2617365"/>
                  <a:gd name="connsiteY0" fmla="*/ 939567 h 939567"/>
                  <a:gd name="connsiteX1" fmla="*/ 922789 w 2617365"/>
                  <a:gd name="connsiteY1" fmla="*/ 16778 h 939567"/>
                  <a:gd name="connsiteX2" fmla="*/ 1761688 w 2617365"/>
                  <a:gd name="connsiteY2" fmla="*/ 855677 h 939567"/>
                  <a:gd name="connsiteX3" fmla="*/ 2617365 w 2617365"/>
                  <a:gd name="connsiteY3" fmla="*/ 0 h 939567"/>
                  <a:gd name="connsiteX0" fmla="*/ 27 w 2617392"/>
                  <a:gd name="connsiteY0" fmla="*/ 939567 h 939567"/>
                  <a:gd name="connsiteX1" fmla="*/ 922816 w 2617392"/>
                  <a:gd name="connsiteY1" fmla="*/ 16778 h 939567"/>
                  <a:gd name="connsiteX2" fmla="*/ 1761715 w 2617392"/>
                  <a:gd name="connsiteY2" fmla="*/ 855677 h 939567"/>
                  <a:gd name="connsiteX3" fmla="*/ 2617392 w 2617392"/>
                  <a:gd name="connsiteY3" fmla="*/ 0 h 939567"/>
                  <a:gd name="connsiteX0" fmla="*/ 27 w 2617392"/>
                  <a:gd name="connsiteY0" fmla="*/ 939567 h 939567"/>
                  <a:gd name="connsiteX1" fmla="*/ 922816 w 2617392"/>
                  <a:gd name="connsiteY1" fmla="*/ 16778 h 939567"/>
                  <a:gd name="connsiteX2" fmla="*/ 1761715 w 2617392"/>
                  <a:gd name="connsiteY2" fmla="*/ 855677 h 939567"/>
                  <a:gd name="connsiteX3" fmla="*/ 2617392 w 2617392"/>
                  <a:gd name="connsiteY3" fmla="*/ 0 h 939567"/>
                  <a:gd name="connsiteX0" fmla="*/ 33 w 2617398"/>
                  <a:gd name="connsiteY0" fmla="*/ 939567 h 939567"/>
                  <a:gd name="connsiteX1" fmla="*/ 922822 w 2617398"/>
                  <a:gd name="connsiteY1" fmla="*/ 16778 h 939567"/>
                  <a:gd name="connsiteX2" fmla="*/ 1761721 w 2617398"/>
                  <a:gd name="connsiteY2" fmla="*/ 855677 h 939567"/>
                  <a:gd name="connsiteX3" fmla="*/ 2617398 w 2617398"/>
                  <a:gd name="connsiteY3" fmla="*/ 0 h 939567"/>
                  <a:gd name="connsiteX0" fmla="*/ 33 w 2617398"/>
                  <a:gd name="connsiteY0" fmla="*/ 939567 h 939567"/>
                  <a:gd name="connsiteX1" fmla="*/ 922822 w 2617398"/>
                  <a:gd name="connsiteY1" fmla="*/ 16778 h 939567"/>
                  <a:gd name="connsiteX2" fmla="*/ 1761721 w 2617398"/>
                  <a:gd name="connsiteY2" fmla="*/ 855677 h 939567"/>
                  <a:gd name="connsiteX3" fmla="*/ 2617398 w 2617398"/>
                  <a:gd name="connsiteY3" fmla="*/ 0 h 939567"/>
                  <a:gd name="connsiteX0" fmla="*/ 45 w 2617410"/>
                  <a:gd name="connsiteY0" fmla="*/ 939567 h 939567"/>
                  <a:gd name="connsiteX1" fmla="*/ 793294 w 2617410"/>
                  <a:gd name="connsiteY1" fmla="*/ 161558 h 939567"/>
                  <a:gd name="connsiteX2" fmla="*/ 1761733 w 2617410"/>
                  <a:gd name="connsiteY2" fmla="*/ 855677 h 939567"/>
                  <a:gd name="connsiteX3" fmla="*/ 2617410 w 2617410"/>
                  <a:gd name="connsiteY3" fmla="*/ 0 h 939567"/>
                  <a:gd name="connsiteX0" fmla="*/ 45 w 2617410"/>
                  <a:gd name="connsiteY0" fmla="*/ 939567 h 939567"/>
                  <a:gd name="connsiteX1" fmla="*/ 793294 w 2617410"/>
                  <a:gd name="connsiteY1" fmla="*/ 161558 h 939567"/>
                  <a:gd name="connsiteX2" fmla="*/ 1761733 w 2617410"/>
                  <a:gd name="connsiteY2" fmla="*/ 855677 h 939567"/>
                  <a:gd name="connsiteX3" fmla="*/ 2617410 w 2617410"/>
                  <a:gd name="connsiteY3" fmla="*/ 0 h 939567"/>
                  <a:gd name="connsiteX0" fmla="*/ 35 w 2617400"/>
                  <a:gd name="connsiteY0" fmla="*/ 939567 h 939567"/>
                  <a:gd name="connsiteX1" fmla="*/ 793284 w 2617400"/>
                  <a:gd name="connsiteY1" fmla="*/ 161558 h 939567"/>
                  <a:gd name="connsiteX2" fmla="*/ 1799823 w 2617400"/>
                  <a:gd name="connsiteY2" fmla="*/ 928067 h 939567"/>
                  <a:gd name="connsiteX3" fmla="*/ 2617400 w 2617400"/>
                  <a:gd name="connsiteY3" fmla="*/ 0 h 939567"/>
                  <a:gd name="connsiteX0" fmla="*/ 35 w 2617400"/>
                  <a:gd name="connsiteY0" fmla="*/ 939567 h 939567"/>
                  <a:gd name="connsiteX1" fmla="*/ 793284 w 2617400"/>
                  <a:gd name="connsiteY1" fmla="*/ 161558 h 939567"/>
                  <a:gd name="connsiteX2" fmla="*/ 1799823 w 2617400"/>
                  <a:gd name="connsiteY2" fmla="*/ 928067 h 939567"/>
                  <a:gd name="connsiteX3" fmla="*/ 2617400 w 2617400"/>
                  <a:gd name="connsiteY3" fmla="*/ 0 h 939567"/>
                  <a:gd name="connsiteX0" fmla="*/ 54 w 2617419"/>
                  <a:gd name="connsiteY0" fmla="*/ 939567 h 939567"/>
                  <a:gd name="connsiteX1" fmla="*/ 793303 w 2617419"/>
                  <a:gd name="connsiteY1" fmla="*/ 161558 h 939567"/>
                  <a:gd name="connsiteX2" fmla="*/ 1799842 w 2617419"/>
                  <a:gd name="connsiteY2" fmla="*/ 928067 h 939567"/>
                  <a:gd name="connsiteX3" fmla="*/ 2617419 w 2617419"/>
                  <a:gd name="connsiteY3" fmla="*/ 0 h 939567"/>
                  <a:gd name="connsiteX0" fmla="*/ 54 w 2602179"/>
                  <a:gd name="connsiteY0" fmla="*/ 778016 h 778016"/>
                  <a:gd name="connsiteX1" fmla="*/ 793303 w 2602179"/>
                  <a:gd name="connsiteY1" fmla="*/ 7 h 778016"/>
                  <a:gd name="connsiteX2" fmla="*/ 1799842 w 2602179"/>
                  <a:gd name="connsiteY2" fmla="*/ 766516 h 778016"/>
                  <a:gd name="connsiteX3" fmla="*/ 2602179 w 2602179"/>
                  <a:gd name="connsiteY3" fmla="*/ 28949 h 778016"/>
                  <a:gd name="connsiteX0" fmla="*/ 54 w 2438349"/>
                  <a:gd name="connsiteY0" fmla="*/ 778016 h 1419810"/>
                  <a:gd name="connsiteX1" fmla="*/ 793303 w 2438349"/>
                  <a:gd name="connsiteY1" fmla="*/ 7 h 1419810"/>
                  <a:gd name="connsiteX2" fmla="*/ 1799842 w 2438349"/>
                  <a:gd name="connsiteY2" fmla="*/ 766516 h 1419810"/>
                  <a:gd name="connsiteX3" fmla="*/ 2438349 w 2438349"/>
                  <a:gd name="connsiteY3" fmla="*/ 1309109 h 1419810"/>
                  <a:gd name="connsiteX0" fmla="*/ 54 w 2438349"/>
                  <a:gd name="connsiteY0" fmla="*/ 778016 h 1309109"/>
                  <a:gd name="connsiteX1" fmla="*/ 793303 w 2438349"/>
                  <a:gd name="connsiteY1" fmla="*/ 7 h 1309109"/>
                  <a:gd name="connsiteX2" fmla="*/ 1799842 w 2438349"/>
                  <a:gd name="connsiteY2" fmla="*/ 766516 h 1309109"/>
                  <a:gd name="connsiteX3" fmla="*/ 2438349 w 2438349"/>
                  <a:gd name="connsiteY3" fmla="*/ 1309109 h 1309109"/>
                  <a:gd name="connsiteX0" fmla="*/ 33 w 2438328"/>
                  <a:gd name="connsiteY0" fmla="*/ 778361 h 1309454"/>
                  <a:gd name="connsiteX1" fmla="*/ 793282 w 2438328"/>
                  <a:gd name="connsiteY1" fmla="*/ 352 h 1309454"/>
                  <a:gd name="connsiteX2" fmla="*/ 1628371 w 2438328"/>
                  <a:gd name="connsiteY2" fmla="*/ 686851 h 1309454"/>
                  <a:gd name="connsiteX3" fmla="*/ 2438328 w 2438328"/>
                  <a:gd name="connsiteY3" fmla="*/ 1309454 h 1309454"/>
                  <a:gd name="connsiteX0" fmla="*/ 33 w 2438328"/>
                  <a:gd name="connsiteY0" fmla="*/ 778494 h 1309587"/>
                  <a:gd name="connsiteX1" fmla="*/ 793282 w 2438328"/>
                  <a:gd name="connsiteY1" fmla="*/ 485 h 1309587"/>
                  <a:gd name="connsiteX2" fmla="*/ 1628371 w 2438328"/>
                  <a:gd name="connsiteY2" fmla="*/ 686984 h 1309587"/>
                  <a:gd name="connsiteX3" fmla="*/ 2438328 w 2438328"/>
                  <a:gd name="connsiteY3" fmla="*/ 1309587 h 1309587"/>
                  <a:gd name="connsiteX0" fmla="*/ 27 w 2556432"/>
                  <a:gd name="connsiteY0" fmla="*/ 671344 h 1309117"/>
                  <a:gd name="connsiteX1" fmla="*/ 911386 w 2556432"/>
                  <a:gd name="connsiteY1" fmla="*/ 15 h 1309117"/>
                  <a:gd name="connsiteX2" fmla="*/ 1746475 w 2556432"/>
                  <a:gd name="connsiteY2" fmla="*/ 686514 h 1309117"/>
                  <a:gd name="connsiteX3" fmla="*/ 2556432 w 2556432"/>
                  <a:gd name="connsiteY3" fmla="*/ 1309117 h 1309117"/>
                  <a:gd name="connsiteX0" fmla="*/ 0 w 2556405"/>
                  <a:gd name="connsiteY0" fmla="*/ 671347 h 1309120"/>
                  <a:gd name="connsiteX1" fmla="*/ 911359 w 2556405"/>
                  <a:gd name="connsiteY1" fmla="*/ 18 h 1309120"/>
                  <a:gd name="connsiteX2" fmla="*/ 1746448 w 2556405"/>
                  <a:gd name="connsiteY2" fmla="*/ 686517 h 1309120"/>
                  <a:gd name="connsiteX3" fmla="*/ 2556405 w 2556405"/>
                  <a:gd name="connsiteY3" fmla="*/ 1309120 h 1309120"/>
                  <a:gd name="connsiteX0" fmla="*/ 0 w 2556405"/>
                  <a:gd name="connsiteY0" fmla="*/ 672485 h 1310258"/>
                  <a:gd name="connsiteX1" fmla="*/ 911359 w 2556405"/>
                  <a:gd name="connsiteY1" fmla="*/ 1156 h 1310258"/>
                  <a:gd name="connsiteX2" fmla="*/ 1746448 w 2556405"/>
                  <a:gd name="connsiteY2" fmla="*/ 687655 h 1310258"/>
                  <a:gd name="connsiteX3" fmla="*/ 2556405 w 2556405"/>
                  <a:gd name="connsiteY3" fmla="*/ 1310258 h 1310258"/>
                  <a:gd name="connsiteX0" fmla="*/ 0 w 2556405"/>
                  <a:gd name="connsiteY0" fmla="*/ 672432 h 1310205"/>
                  <a:gd name="connsiteX1" fmla="*/ 911359 w 2556405"/>
                  <a:gd name="connsiteY1" fmla="*/ 1103 h 1310205"/>
                  <a:gd name="connsiteX2" fmla="*/ 1746448 w 2556405"/>
                  <a:gd name="connsiteY2" fmla="*/ 687602 h 1310205"/>
                  <a:gd name="connsiteX3" fmla="*/ 2556405 w 2556405"/>
                  <a:gd name="connsiteY3" fmla="*/ 1310205 h 1310205"/>
                  <a:gd name="connsiteX0" fmla="*/ 0 w 2556405"/>
                  <a:gd name="connsiteY0" fmla="*/ 672432 h 1310205"/>
                  <a:gd name="connsiteX1" fmla="*/ 778009 w 2556405"/>
                  <a:gd name="connsiteY1" fmla="*/ 1103 h 1310205"/>
                  <a:gd name="connsiteX2" fmla="*/ 1746448 w 2556405"/>
                  <a:gd name="connsiteY2" fmla="*/ 687602 h 1310205"/>
                  <a:gd name="connsiteX3" fmla="*/ 2556405 w 2556405"/>
                  <a:gd name="connsiteY3" fmla="*/ 1310205 h 1310205"/>
                  <a:gd name="connsiteX0" fmla="*/ 0 w 2556405"/>
                  <a:gd name="connsiteY0" fmla="*/ 672186 h 1309959"/>
                  <a:gd name="connsiteX1" fmla="*/ 778009 w 2556405"/>
                  <a:gd name="connsiteY1" fmla="*/ 857 h 1309959"/>
                  <a:gd name="connsiteX2" fmla="*/ 1746448 w 2556405"/>
                  <a:gd name="connsiteY2" fmla="*/ 687356 h 1309959"/>
                  <a:gd name="connsiteX3" fmla="*/ 2556405 w 2556405"/>
                  <a:gd name="connsiteY3" fmla="*/ 1309959 h 1309959"/>
                  <a:gd name="connsiteX0" fmla="*/ 0 w 2556405"/>
                  <a:gd name="connsiteY0" fmla="*/ 671347 h 1309120"/>
                  <a:gd name="connsiteX1" fmla="*/ 778009 w 2556405"/>
                  <a:gd name="connsiteY1" fmla="*/ 18 h 1309120"/>
                  <a:gd name="connsiteX2" fmla="*/ 1746448 w 2556405"/>
                  <a:gd name="connsiteY2" fmla="*/ 686517 h 1309120"/>
                  <a:gd name="connsiteX3" fmla="*/ 2556405 w 2556405"/>
                  <a:gd name="connsiteY3" fmla="*/ 1309120 h 1309120"/>
                  <a:gd name="connsiteX0" fmla="*/ 0 w 2556405"/>
                  <a:gd name="connsiteY0" fmla="*/ 671340 h 1309113"/>
                  <a:gd name="connsiteX1" fmla="*/ 778009 w 2556405"/>
                  <a:gd name="connsiteY1" fmla="*/ 11 h 1309113"/>
                  <a:gd name="connsiteX2" fmla="*/ 1746448 w 2556405"/>
                  <a:gd name="connsiteY2" fmla="*/ 686510 h 1309113"/>
                  <a:gd name="connsiteX3" fmla="*/ 2556405 w 2556405"/>
                  <a:gd name="connsiteY3" fmla="*/ 1309113 h 1309113"/>
                  <a:gd name="connsiteX0" fmla="*/ 0 w 2556405"/>
                  <a:gd name="connsiteY0" fmla="*/ 671340 h 1309113"/>
                  <a:gd name="connsiteX1" fmla="*/ 778009 w 2556405"/>
                  <a:gd name="connsiteY1" fmla="*/ 11 h 1309113"/>
                  <a:gd name="connsiteX2" fmla="*/ 1746448 w 2556405"/>
                  <a:gd name="connsiteY2" fmla="*/ 686510 h 1309113"/>
                  <a:gd name="connsiteX3" fmla="*/ 2556405 w 2556405"/>
                  <a:gd name="connsiteY3" fmla="*/ 1309113 h 1309113"/>
                  <a:gd name="connsiteX0" fmla="*/ 1 w 2593711"/>
                  <a:gd name="connsiteY0" fmla="*/ 644434 h 1309189"/>
                  <a:gd name="connsiteX1" fmla="*/ 815315 w 2593711"/>
                  <a:gd name="connsiteY1" fmla="*/ 87 h 1309189"/>
                  <a:gd name="connsiteX2" fmla="*/ 1783754 w 2593711"/>
                  <a:gd name="connsiteY2" fmla="*/ 686586 h 1309189"/>
                  <a:gd name="connsiteX3" fmla="*/ 2593711 w 2593711"/>
                  <a:gd name="connsiteY3" fmla="*/ 1309189 h 1309189"/>
                  <a:gd name="connsiteX0" fmla="*/ 1 w 2593711"/>
                  <a:gd name="connsiteY0" fmla="*/ 644481 h 1309236"/>
                  <a:gd name="connsiteX1" fmla="*/ 815315 w 2593711"/>
                  <a:gd name="connsiteY1" fmla="*/ 134 h 1309236"/>
                  <a:gd name="connsiteX2" fmla="*/ 1783754 w 2593711"/>
                  <a:gd name="connsiteY2" fmla="*/ 686633 h 1309236"/>
                  <a:gd name="connsiteX3" fmla="*/ 2593711 w 2593711"/>
                  <a:gd name="connsiteY3" fmla="*/ 1309236 h 1309236"/>
                  <a:gd name="connsiteX0" fmla="*/ 1 w 2638506"/>
                  <a:gd name="connsiteY0" fmla="*/ 648155 h 1309212"/>
                  <a:gd name="connsiteX1" fmla="*/ 860110 w 2638506"/>
                  <a:gd name="connsiteY1" fmla="*/ 110 h 1309212"/>
                  <a:gd name="connsiteX2" fmla="*/ 1828549 w 2638506"/>
                  <a:gd name="connsiteY2" fmla="*/ 686609 h 1309212"/>
                  <a:gd name="connsiteX3" fmla="*/ 2638506 w 2638506"/>
                  <a:gd name="connsiteY3" fmla="*/ 1309212 h 1309212"/>
                  <a:gd name="connsiteX0" fmla="*/ 1 w 2638506"/>
                  <a:gd name="connsiteY0" fmla="*/ 648197 h 1309254"/>
                  <a:gd name="connsiteX1" fmla="*/ 860110 w 2638506"/>
                  <a:gd name="connsiteY1" fmla="*/ 152 h 1309254"/>
                  <a:gd name="connsiteX2" fmla="*/ 1828549 w 2638506"/>
                  <a:gd name="connsiteY2" fmla="*/ 686651 h 1309254"/>
                  <a:gd name="connsiteX3" fmla="*/ 2638506 w 2638506"/>
                  <a:gd name="connsiteY3" fmla="*/ 1309254 h 1309254"/>
                  <a:gd name="connsiteX0" fmla="*/ 1 w 2638506"/>
                  <a:gd name="connsiteY0" fmla="*/ 649974 h 1311031"/>
                  <a:gd name="connsiteX1" fmla="*/ 860110 w 2638506"/>
                  <a:gd name="connsiteY1" fmla="*/ 1929 h 1311031"/>
                  <a:gd name="connsiteX2" fmla="*/ 1828549 w 2638506"/>
                  <a:gd name="connsiteY2" fmla="*/ 688428 h 1311031"/>
                  <a:gd name="connsiteX3" fmla="*/ 2638506 w 2638506"/>
                  <a:gd name="connsiteY3" fmla="*/ 1311031 h 1311031"/>
                  <a:gd name="connsiteX0" fmla="*/ 1 w 2638506"/>
                  <a:gd name="connsiteY0" fmla="*/ 649607 h 1310664"/>
                  <a:gd name="connsiteX1" fmla="*/ 860110 w 2638506"/>
                  <a:gd name="connsiteY1" fmla="*/ 1562 h 1310664"/>
                  <a:gd name="connsiteX2" fmla="*/ 1828549 w 2638506"/>
                  <a:gd name="connsiteY2" fmla="*/ 688061 h 1310664"/>
                  <a:gd name="connsiteX3" fmla="*/ 2638506 w 2638506"/>
                  <a:gd name="connsiteY3" fmla="*/ 1310664 h 1310664"/>
                  <a:gd name="connsiteX0" fmla="*/ 1 w 2638506"/>
                  <a:gd name="connsiteY0" fmla="*/ 649193 h 1310250"/>
                  <a:gd name="connsiteX1" fmla="*/ 860110 w 2638506"/>
                  <a:gd name="connsiteY1" fmla="*/ 1148 h 1310250"/>
                  <a:gd name="connsiteX2" fmla="*/ 1828549 w 2638506"/>
                  <a:gd name="connsiteY2" fmla="*/ 687647 h 1310250"/>
                  <a:gd name="connsiteX3" fmla="*/ 2638506 w 2638506"/>
                  <a:gd name="connsiteY3" fmla="*/ 1310250 h 1310250"/>
                  <a:gd name="connsiteX0" fmla="*/ 1 w 2638506"/>
                  <a:gd name="connsiteY0" fmla="*/ 650609 h 1311666"/>
                  <a:gd name="connsiteX1" fmla="*/ 860110 w 2638506"/>
                  <a:gd name="connsiteY1" fmla="*/ 2564 h 1311666"/>
                  <a:gd name="connsiteX2" fmla="*/ 1828549 w 2638506"/>
                  <a:gd name="connsiteY2" fmla="*/ 689063 h 1311666"/>
                  <a:gd name="connsiteX3" fmla="*/ 2638506 w 2638506"/>
                  <a:gd name="connsiteY3" fmla="*/ 1311666 h 1311666"/>
                  <a:gd name="connsiteX0" fmla="*/ 1 w 2638506"/>
                  <a:gd name="connsiteY0" fmla="*/ 649841 h 1310898"/>
                  <a:gd name="connsiteX1" fmla="*/ 860110 w 2638506"/>
                  <a:gd name="connsiteY1" fmla="*/ 1796 h 1310898"/>
                  <a:gd name="connsiteX2" fmla="*/ 1828549 w 2638506"/>
                  <a:gd name="connsiteY2" fmla="*/ 688295 h 1310898"/>
                  <a:gd name="connsiteX3" fmla="*/ 2638506 w 2638506"/>
                  <a:gd name="connsiteY3" fmla="*/ 1310898 h 1310898"/>
                  <a:gd name="connsiteX0" fmla="*/ 1 w 2638506"/>
                  <a:gd name="connsiteY0" fmla="*/ 649841 h 1310898"/>
                  <a:gd name="connsiteX1" fmla="*/ 860110 w 2638506"/>
                  <a:gd name="connsiteY1" fmla="*/ 1796 h 1310898"/>
                  <a:gd name="connsiteX2" fmla="*/ 1828549 w 2638506"/>
                  <a:gd name="connsiteY2" fmla="*/ 688295 h 1310898"/>
                  <a:gd name="connsiteX3" fmla="*/ 2638506 w 2638506"/>
                  <a:gd name="connsiteY3" fmla="*/ 1310898 h 1310898"/>
                  <a:gd name="connsiteX0" fmla="*/ 1 w 2664626"/>
                  <a:gd name="connsiteY0" fmla="*/ 635455 h 1309388"/>
                  <a:gd name="connsiteX1" fmla="*/ 886230 w 2664626"/>
                  <a:gd name="connsiteY1" fmla="*/ 286 h 1309388"/>
                  <a:gd name="connsiteX2" fmla="*/ 1854669 w 2664626"/>
                  <a:gd name="connsiteY2" fmla="*/ 686785 h 1309388"/>
                  <a:gd name="connsiteX3" fmla="*/ 2664626 w 2664626"/>
                  <a:gd name="connsiteY3" fmla="*/ 1309388 h 13093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664626" h="1309388">
                    <a:moveTo>
                      <a:pt x="1" y="635455"/>
                    </a:moveTo>
                    <a:cubicBezTo>
                      <a:pt x="160378" y="175322"/>
                      <a:pt x="577119" y="-8269"/>
                      <a:pt x="886230" y="286"/>
                    </a:cubicBezTo>
                    <a:cubicBezTo>
                      <a:pt x="1195341" y="8841"/>
                      <a:pt x="1553315" y="159574"/>
                      <a:pt x="1854669" y="686785"/>
                    </a:cubicBezTo>
                    <a:cubicBezTo>
                      <a:pt x="2156023" y="1213996"/>
                      <a:pt x="2452061" y="1284105"/>
                      <a:pt x="2664626" y="1309388"/>
                    </a:cubicBezTo>
                  </a:path>
                </a:pathLst>
              </a:custGeom>
              <a:grpFill/>
              <a:ln w="6350" cap="rnd">
                <a:solidFill>
                  <a:schemeClr val="accent4"/>
                </a:solidFill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 rtlCol="0" anchor="ctr">
                <a:noAutofit/>
              </a:bodyPr>
              <a:lstStyle/>
              <a:p>
                <a:pPr marL="0" marR="0" lvl="0" indent="0" algn="ctr" defTabSz="45719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Imago"/>
                  <a:ea typeface="+mn-ea"/>
                  <a:cs typeface="+mn-cs"/>
                </a:endParaRPr>
              </a:p>
            </p:txBody>
          </p:sp>
          <p:sp>
            <p:nvSpPr>
              <p:cNvPr id="1091" name="Freeform: Shape 93">
                <a:extLst>
                  <a:ext uri="{FF2B5EF4-FFF2-40B4-BE49-F238E27FC236}">
                    <a16:creationId xmlns:a16="http://schemas.microsoft.com/office/drawing/2014/main" id="{E64D4994-DDC4-85E4-C373-454DE0274526}"/>
                  </a:ext>
                </a:extLst>
              </p:cNvPr>
              <p:cNvSpPr/>
              <p:nvPr/>
            </p:nvSpPr>
            <p:spPr>
              <a:xfrm rot="4837695" flipH="1">
                <a:off x="4082897" y="2290767"/>
                <a:ext cx="255606" cy="283890"/>
              </a:xfrm>
              <a:custGeom>
                <a:avLst/>
                <a:gdLst>
                  <a:gd name="connsiteX0" fmla="*/ 0 w 2617365"/>
                  <a:gd name="connsiteY0" fmla="*/ 939567 h 939567"/>
                  <a:gd name="connsiteX1" fmla="*/ 922789 w 2617365"/>
                  <a:gd name="connsiteY1" fmla="*/ 16778 h 939567"/>
                  <a:gd name="connsiteX2" fmla="*/ 1761688 w 2617365"/>
                  <a:gd name="connsiteY2" fmla="*/ 855677 h 939567"/>
                  <a:gd name="connsiteX3" fmla="*/ 2617365 w 2617365"/>
                  <a:gd name="connsiteY3" fmla="*/ 0 h 939567"/>
                  <a:gd name="connsiteX0" fmla="*/ 27 w 2617392"/>
                  <a:gd name="connsiteY0" fmla="*/ 939567 h 939567"/>
                  <a:gd name="connsiteX1" fmla="*/ 922816 w 2617392"/>
                  <a:gd name="connsiteY1" fmla="*/ 16778 h 939567"/>
                  <a:gd name="connsiteX2" fmla="*/ 1761715 w 2617392"/>
                  <a:gd name="connsiteY2" fmla="*/ 855677 h 939567"/>
                  <a:gd name="connsiteX3" fmla="*/ 2617392 w 2617392"/>
                  <a:gd name="connsiteY3" fmla="*/ 0 h 939567"/>
                  <a:gd name="connsiteX0" fmla="*/ 27 w 2617392"/>
                  <a:gd name="connsiteY0" fmla="*/ 939567 h 939567"/>
                  <a:gd name="connsiteX1" fmla="*/ 922816 w 2617392"/>
                  <a:gd name="connsiteY1" fmla="*/ 16778 h 939567"/>
                  <a:gd name="connsiteX2" fmla="*/ 1761715 w 2617392"/>
                  <a:gd name="connsiteY2" fmla="*/ 855677 h 939567"/>
                  <a:gd name="connsiteX3" fmla="*/ 2617392 w 2617392"/>
                  <a:gd name="connsiteY3" fmla="*/ 0 h 939567"/>
                  <a:gd name="connsiteX0" fmla="*/ 33 w 2617398"/>
                  <a:gd name="connsiteY0" fmla="*/ 939567 h 939567"/>
                  <a:gd name="connsiteX1" fmla="*/ 922822 w 2617398"/>
                  <a:gd name="connsiteY1" fmla="*/ 16778 h 939567"/>
                  <a:gd name="connsiteX2" fmla="*/ 1761721 w 2617398"/>
                  <a:gd name="connsiteY2" fmla="*/ 855677 h 939567"/>
                  <a:gd name="connsiteX3" fmla="*/ 2617398 w 2617398"/>
                  <a:gd name="connsiteY3" fmla="*/ 0 h 939567"/>
                  <a:gd name="connsiteX0" fmla="*/ 33 w 2617398"/>
                  <a:gd name="connsiteY0" fmla="*/ 939567 h 939567"/>
                  <a:gd name="connsiteX1" fmla="*/ 922822 w 2617398"/>
                  <a:gd name="connsiteY1" fmla="*/ 16778 h 939567"/>
                  <a:gd name="connsiteX2" fmla="*/ 1761721 w 2617398"/>
                  <a:gd name="connsiteY2" fmla="*/ 855677 h 939567"/>
                  <a:gd name="connsiteX3" fmla="*/ 2617398 w 2617398"/>
                  <a:gd name="connsiteY3" fmla="*/ 0 h 939567"/>
                  <a:gd name="connsiteX0" fmla="*/ 45 w 2617410"/>
                  <a:gd name="connsiteY0" fmla="*/ 939567 h 939567"/>
                  <a:gd name="connsiteX1" fmla="*/ 793294 w 2617410"/>
                  <a:gd name="connsiteY1" fmla="*/ 161558 h 939567"/>
                  <a:gd name="connsiteX2" fmla="*/ 1761733 w 2617410"/>
                  <a:gd name="connsiteY2" fmla="*/ 855677 h 939567"/>
                  <a:gd name="connsiteX3" fmla="*/ 2617410 w 2617410"/>
                  <a:gd name="connsiteY3" fmla="*/ 0 h 939567"/>
                  <a:gd name="connsiteX0" fmla="*/ 45 w 2617410"/>
                  <a:gd name="connsiteY0" fmla="*/ 939567 h 939567"/>
                  <a:gd name="connsiteX1" fmla="*/ 793294 w 2617410"/>
                  <a:gd name="connsiteY1" fmla="*/ 161558 h 939567"/>
                  <a:gd name="connsiteX2" fmla="*/ 1761733 w 2617410"/>
                  <a:gd name="connsiteY2" fmla="*/ 855677 h 939567"/>
                  <a:gd name="connsiteX3" fmla="*/ 2617410 w 2617410"/>
                  <a:gd name="connsiteY3" fmla="*/ 0 h 939567"/>
                  <a:gd name="connsiteX0" fmla="*/ 35 w 2617400"/>
                  <a:gd name="connsiteY0" fmla="*/ 939567 h 939567"/>
                  <a:gd name="connsiteX1" fmla="*/ 793284 w 2617400"/>
                  <a:gd name="connsiteY1" fmla="*/ 161558 h 939567"/>
                  <a:gd name="connsiteX2" fmla="*/ 1799823 w 2617400"/>
                  <a:gd name="connsiteY2" fmla="*/ 928067 h 939567"/>
                  <a:gd name="connsiteX3" fmla="*/ 2617400 w 2617400"/>
                  <a:gd name="connsiteY3" fmla="*/ 0 h 939567"/>
                  <a:gd name="connsiteX0" fmla="*/ 35 w 2617400"/>
                  <a:gd name="connsiteY0" fmla="*/ 939567 h 939567"/>
                  <a:gd name="connsiteX1" fmla="*/ 793284 w 2617400"/>
                  <a:gd name="connsiteY1" fmla="*/ 161558 h 939567"/>
                  <a:gd name="connsiteX2" fmla="*/ 1799823 w 2617400"/>
                  <a:gd name="connsiteY2" fmla="*/ 928067 h 939567"/>
                  <a:gd name="connsiteX3" fmla="*/ 2617400 w 2617400"/>
                  <a:gd name="connsiteY3" fmla="*/ 0 h 939567"/>
                  <a:gd name="connsiteX0" fmla="*/ 54 w 2617419"/>
                  <a:gd name="connsiteY0" fmla="*/ 939567 h 939567"/>
                  <a:gd name="connsiteX1" fmla="*/ 793303 w 2617419"/>
                  <a:gd name="connsiteY1" fmla="*/ 161558 h 939567"/>
                  <a:gd name="connsiteX2" fmla="*/ 1799842 w 2617419"/>
                  <a:gd name="connsiteY2" fmla="*/ 928067 h 939567"/>
                  <a:gd name="connsiteX3" fmla="*/ 2617419 w 2617419"/>
                  <a:gd name="connsiteY3" fmla="*/ 0 h 939567"/>
                  <a:gd name="connsiteX0" fmla="*/ 54 w 2602179"/>
                  <a:gd name="connsiteY0" fmla="*/ 778016 h 778016"/>
                  <a:gd name="connsiteX1" fmla="*/ 793303 w 2602179"/>
                  <a:gd name="connsiteY1" fmla="*/ 7 h 778016"/>
                  <a:gd name="connsiteX2" fmla="*/ 1799842 w 2602179"/>
                  <a:gd name="connsiteY2" fmla="*/ 766516 h 778016"/>
                  <a:gd name="connsiteX3" fmla="*/ 2602179 w 2602179"/>
                  <a:gd name="connsiteY3" fmla="*/ 28949 h 778016"/>
                  <a:gd name="connsiteX0" fmla="*/ 54 w 2438349"/>
                  <a:gd name="connsiteY0" fmla="*/ 778016 h 1419810"/>
                  <a:gd name="connsiteX1" fmla="*/ 793303 w 2438349"/>
                  <a:gd name="connsiteY1" fmla="*/ 7 h 1419810"/>
                  <a:gd name="connsiteX2" fmla="*/ 1799842 w 2438349"/>
                  <a:gd name="connsiteY2" fmla="*/ 766516 h 1419810"/>
                  <a:gd name="connsiteX3" fmla="*/ 2438349 w 2438349"/>
                  <a:gd name="connsiteY3" fmla="*/ 1309109 h 1419810"/>
                  <a:gd name="connsiteX0" fmla="*/ 54 w 2438349"/>
                  <a:gd name="connsiteY0" fmla="*/ 778016 h 1309109"/>
                  <a:gd name="connsiteX1" fmla="*/ 793303 w 2438349"/>
                  <a:gd name="connsiteY1" fmla="*/ 7 h 1309109"/>
                  <a:gd name="connsiteX2" fmla="*/ 1799842 w 2438349"/>
                  <a:gd name="connsiteY2" fmla="*/ 766516 h 1309109"/>
                  <a:gd name="connsiteX3" fmla="*/ 2438349 w 2438349"/>
                  <a:gd name="connsiteY3" fmla="*/ 1309109 h 1309109"/>
                  <a:gd name="connsiteX0" fmla="*/ 33 w 2438328"/>
                  <a:gd name="connsiteY0" fmla="*/ 778361 h 1309454"/>
                  <a:gd name="connsiteX1" fmla="*/ 793282 w 2438328"/>
                  <a:gd name="connsiteY1" fmla="*/ 352 h 1309454"/>
                  <a:gd name="connsiteX2" fmla="*/ 1628371 w 2438328"/>
                  <a:gd name="connsiteY2" fmla="*/ 686851 h 1309454"/>
                  <a:gd name="connsiteX3" fmla="*/ 2438328 w 2438328"/>
                  <a:gd name="connsiteY3" fmla="*/ 1309454 h 1309454"/>
                  <a:gd name="connsiteX0" fmla="*/ 33 w 2438328"/>
                  <a:gd name="connsiteY0" fmla="*/ 778494 h 1309587"/>
                  <a:gd name="connsiteX1" fmla="*/ 793282 w 2438328"/>
                  <a:gd name="connsiteY1" fmla="*/ 485 h 1309587"/>
                  <a:gd name="connsiteX2" fmla="*/ 1628371 w 2438328"/>
                  <a:gd name="connsiteY2" fmla="*/ 686984 h 1309587"/>
                  <a:gd name="connsiteX3" fmla="*/ 2438328 w 2438328"/>
                  <a:gd name="connsiteY3" fmla="*/ 1309587 h 1309587"/>
                  <a:gd name="connsiteX0" fmla="*/ 27 w 2556432"/>
                  <a:gd name="connsiteY0" fmla="*/ 671344 h 1309117"/>
                  <a:gd name="connsiteX1" fmla="*/ 911386 w 2556432"/>
                  <a:gd name="connsiteY1" fmla="*/ 15 h 1309117"/>
                  <a:gd name="connsiteX2" fmla="*/ 1746475 w 2556432"/>
                  <a:gd name="connsiteY2" fmla="*/ 686514 h 1309117"/>
                  <a:gd name="connsiteX3" fmla="*/ 2556432 w 2556432"/>
                  <a:gd name="connsiteY3" fmla="*/ 1309117 h 1309117"/>
                  <a:gd name="connsiteX0" fmla="*/ 0 w 2556405"/>
                  <a:gd name="connsiteY0" fmla="*/ 671347 h 1309120"/>
                  <a:gd name="connsiteX1" fmla="*/ 911359 w 2556405"/>
                  <a:gd name="connsiteY1" fmla="*/ 18 h 1309120"/>
                  <a:gd name="connsiteX2" fmla="*/ 1746448 w 2556405"/>
                  <a:gd name="connsiteY2" fmla="*/ 686517 h 1309120"/>
                  <a:gd name="connsiteX3" fmla="*/ 2556405 w 2556405"/>
                  <a:gd name="connsiteY3" fmla="*/ 1309120 h 1309120"/>
                  <a:gd name="connsiteX0" fmla="*/ 0 w 2556405"/>
                  <a:gd name="connsiteY0" fmla="*/ 672485 h 1310258"/>
                  <a:gd name="connsiteX1" fmla="*/ 911359 w 2556405"/>
                  <a:gd name="connsiteY1" fmla="*/ 1156 h 1310258"/>
                  <a:gd name="connsiteX2" fmla="*/ 1746448 w 2556405"/>
                  <a:gd name="connsiteY2" fmla="*/ 687655 h 1310258"/>
                  <a:gd name="connsiteX3" fmla="*/ 2556405 w 2556405"/>
                  <a:gd name="connsiteY3" fmla="*/ 1310258 h 1310258"/>
                  <a:gd name="connsiteX0" fmla="*/ 0 w 2556405"/>
                  <a:gd name="connsiteY0" fmla="*/ 672432 h 1310205"/>
                  <a:gd name="connsiteX1" fmla="*/ 911359 w 2556405"/>
                  <a:gd name="connsiteY1" fmla="*/ 1103 h 1310205"/>
                  <a:gd name="connsiteX2" fmla="*/ 1746448 w 2556405"/>
                  <a:gd name="connsiteY2" fmla="*/ 687602 h 1310205"/>
                  <a:gd name="connsiteX3" fmla="*/ 2556405 w 2556405"/>
                  <a:gd name="connsiteY3" fmla="*/ 1310205 h 1310205"/>
                  <a:gd name="connsiteX0" fmla="*/ 0 w 2556405"/>
                  <a:gd name="connsiteY0" fmla="*/ 672432 h 1310205"/>
                  <a:gd name="connsiteX1" fmla="*/ 778009 w 2556405"/>
                  <a:gd name="connsiteY1" fmla="*/ 1103 h 1310205"/>
                  <a:gd name="connsiteX2" fmla="*/ 1746448 w 2556405"/>
                  <a:gd name="connsiteY2" fmla="*/ 687602 h 1310205"/>
                  <a:gd name="connsiteX3" fmla="*/ 2556405 w 2556405"/>
                  <a:gd name="connsiteY3" fmla="*/ 1310205 h 1310205"/>
                  <a:gd name="connsiteX0" fmla="*/ 0 w 2556405"/>
                  <a:gd name="connsiteY0" fmla="*/ 672186 h 1309959"/>
                  <a:gd name="connsiteX1" fmla="*/ 778009 w 2556405"/>
                  <a:gd name="connsiteY1" fmla="*/ 857 h 1309959"/>
                  <a:gd name="connsiteX2" fmla="*/ 1746448 w 2556405"/>
                  <a:gd name="connsiteY2" fmla="*/ 687356 h 1309959"/>
                  <a:gd name="connsiteX3" fmla="*/ 2556405 w 2556405"/>
                  <a:gd name="connsiteY3" fmla="*/ 1309959 h 1309959"/>
                  <a:gd name="connsiteX0" fmla="*/ 0 w 2556405"/>
                  <a:gd name="connsiteY0" fmla="*/ 671347 h 1309120"/>
                  <a:gd name="connsiteX1" fmla="*/ 778009 w 2556405"/>
                  <a:gd name="connsiteY1" fmla="*/ 18 h 1309120"/>
                  <a:gd name="connsiteX2" fmla="*/ 1746448 w 2556405"/>
                  <a:gd name="connsiteY2" fmla="*/ 686517 h 1309120"/>
                  <a:gd name="connsiteX3" fmla="*/ 2556405 w 2556405"/>
                  <a:gd name="connsiteY3" fmla="*/ 1309120 h 1309120"/>
                  <a:gd name="connsiteX0" fmla="*/ 0 w 2556405"/>
                  <a:gd name="connsiteY0" fmla="*/ 671340 h 1309113"/>
                  <a:gd name="connsiteX1" fmla="*/ 778009 w 2556405"/>
                  <a:gd name="connsiteY1" fmla="*/ 11 h 1309113"/>
                  <a:gd name="connsiteX2" fmla="*/ 1746448 w 2556405"/>
                  <a:gd name="connsiteY2" fmla="*/ 686510 h 1309113"/>
                  <a:gd name="connsiteX3" fmla="*/ 2556405 w 2556405"/>
                  <a:gd name="connsiteY3" fmla="*/ 1309113 h 1309113"/>
                  <a:gd name="connsiteX0" fmla="*/ 0 w 2556405"/>
                  <a:gd name="connsiteY0" fmla="*/ 671340 h 1309113"/>
                  <a:gd name="connsiteX1" fmla="*/ 778009 w 2556405"/>
                  <a:gd name="connsiteY1" fmla="*/ 11 h 1309113"/>
                  <a:gd name="connsiteX2" fmla="*/ 1746448 w 2556405"/>
                  <a:gd name="connsiteY2" fmla="*/ 686510 h 1309113"/>
                  <a:gd name="connsiteX3" fmla="*/ 2556405 w 2556405"/>
                  <a:gd name="connsiteY3" fmla="*/ 1309113 h 1309113"/>
                  <a:gd name="connsiteX0" fmla="*/ 1 w 2593711"/>
                  <a:gd name="connsiteY0" fmla="*/ 644434 h 1309189"/>
                  <a:gd name="connsiteX1" fmla="*/ 815315 w 2593711"/>
                  <a:gd name="connsiteY1" fmla="*/ 87 h 1309189"/>
                  <a:gd name="connsiteX2" fmla="*/ 1783754 w 2593711"/>
                  <a:gd name="connsiteY2" fmla="*/ 686586 h 1309189"/>
                  <a:gd name="connsiteX3" fmla="*/ 2593711 w 2593711"/>
                  <a:gd name="connsiteY3" fmla="*/ 1309189 h 1309189"/>
                  <a:gd name="connsiteX0" fmla="*/ 1 w 2593711"/>
                  <a:gd name="connsiteY0" fmla="*/ 644481 h 1309236"/>
                  <a:gd name="connsiteX1" fmla="*/ 815315 w 2593711"/>
                  <a:gd name="connsiteY1" fmla="*/ 134 h 1309236"/>
                  <a:gd name="connsiteX2" fmla="*/ 1783754 w 2593711"/>
                  <a:gd name="connsiteY2" fmla="*/ 686633 h 1309236"/>
                  <a:gd name="connsiteX3" fmla="*/ 2593711 w 2593711"/>
                  <a:gd name="connsiteY3" fmla="*/ 1309236 h 1309236"/>
                  <a:gd name="connsiteX0" fmla="*/ 1 w 2638506"/>
                  <a:gd name="connsiteY0" fmla="*/ 648155 h 1309212"/>
                  <a:gd name="connsiteX1" fmla="*/ 860110 w 2638506"/>
                  <a:gd name="connsiteY1" fmla="*/ 110 h 1309212"/>
                  <a:gd name="connsiteX2" fmla="*/ 1828549 w 2638506"/>
                  <a:gd name="connsiteY2" fmla="*/ 686609 h 1309212"/>
                  <a:gd name="connsiteX3" fmla="*/ 2638506 w 2638506"/>
                  <a:gd name="connsiteY3" fmla="*/ 1309212 h 1309212"/>
                  <a:gd name="connsiteX0" fmla="*/ 1 w 2638506"/>
                  <a:gd name="connsiteY0" fmla="*/ 648197 h 1309254"/>
                  <a:gd name="connsiteX1" fmla="*/ 860110 w 2638506"/>
                  <a:gd name="connsiteY1" fmla="*/ 152 h 1309254"/>
                  <a:gd name="connsiteX2" fmla="*/ 1828549 w 2638506"/>
                  <a:gd name="connsiteY2" fmla="*/ 686651 h 1309254"/>
                  <a:gd name="connsiteX3" fmla="*/ 2638506 w 2638506"/>
                  <a:gd name="connsiteY3" fmla="*/ 1309254 h 1309254"/>
                  <a:gd name="connsiteX0" fmla="*/ 1 w 2638506"/>
                  <a:gd name="connsiteY0" fmla="*/ 649974 h 1311031"/>
                  <a:gd name="connsiteX1" fmla="*/ 860110 w 2638506"/>
                  <a:gd name="connsiteY1" fmla="*/ 1929 h 1311031"/>
                  <a:gd name="connsiteX2" fmla="*/ 1828549 w 2638506"/>
                  <a:gd name="connsiteY2" fmla="*/ 688428 h 1311031"/>
                  <a:gd name="connsiteX3" fmla="*/ 2638506 w 2638506"/>
                  <a:gd name="connsiteY3" fmla="*/ 1311031 h 1311031"/>
                  <a:gd name="connsiteX0" fmla="*/ 1 w 2638506"/>
                  <a:gd name="connsiteY0" fmla="*/ 649607 h 1310664"/>
                  <a:gd name="connsiteX1" fmla="*/ 860110 w 2638506"/>
                  <a:gd name="connsiteY1" fmla="*/ 1562 h 1310664"/>
                  <a:gd name="connsiteX2" fmla="*/ 1828549 w 2638506"/>
                  <a:gd name="connsiteY2" fmla="*/ 688061 h 1310664"/>
                  <a:gd name="connsiteX3" fmla="*/ 2638506 w 2638506"/>
                  <a:gd name="connsiteY3" fmla="*/ 1310664 h 1310664"/>
                  <a:gd name="connsiteX0" fmla="*/ 1 w 2638506"/>
                  <a:gd name="connsiteY0" fmla="*/ 649193 h 1310250"/>
                  <a:gd name="connsiteX1" fmla="*/ 860110 w 2638506"/>
                  <a:gd name="connsiteY1" fmla="*/ 1148 h 1310250"/>
                  <a:gd name="connsiteX2" fmla="*/ 1828549 w 2638506"/>
                  <a:gd name="connsiteY2" fmla="*/ 687647 h 1310250"/>
                  <a:gd name="connsiteX3" fmla="*/ 2638506 w 2638506"/>
                  <a:gd name="connsiteY3" fmla="*/ 1310250 h 1310250"/>
                  <a:gd name="connsiteX0" fmla="*/ 1 w 2638506"/>
                  <a:gd name="connsiteY0" fmla="*/ 650609 h 1311666"/>
                  <a:gd name="connsiteX1" fmla="*/ 860110 w 2638506"/>
                  <a:gd name="connsiteY1" fmla="*/ 2564 h 1311666"/>
                  <a:gd name="connsiteX2" fmla="*/ 1828549 w 2638506"/>
                  <a:gd name="connsiteY2" fmla="*/ 689063 h 1311666"/>
                  <a:gd name="connsiteX3" fmla="*/ 2638506 w 2638506"/>
                  <a:gd name="connsiteY3" fmla="*/ 1311666 h 1311666"/>
                  <a:gd name="connsiteX0" fmla="*/ 1 w 2638506"/>
                  <a:gd name="connsiteY0" fmla="*/ 649841 h 1310898"/>
                  <a:gd name="connsiteX1" fmla="*/ 860110 w 2638506"/>
                  <a:gd name="connsiteY1" fmla="*/ 1796 h 1310898"/>
                  <a:gd name="connsiteX2" fmla="*/ 1828549 w 2638506"/>
                  <a:gd name="connsiteY2" fmla="*/ 688295 h 1310898"/>
                  <a:gd name="connsiteX3" fmla="*/ 2638506 w 2638506"/>
                  <a:gd name="connsiteY3" fmla="*/ 1310898 h 1310898"/>
                  <a:gd name="connsiteX0" fmla="*/ 1 w 2638506"/>
                  <a:gd name="connsiteY0" fmla="*/ 649841 h 1310898"/>
                  <a:gd name="connsiteX1" fmla="*/ 860110 w 2638506"/>
                  <a:gd name="connsiteY1" fmla="*/ 1796 h 1310898"/>
                  <a:gd name="connsiteX2" fmla="*/ 1828549 w 2638506"/>
                  <a:gd name="connsiteY2" fmla="*/ 688295 h 1310898"/>
                  <a:gd name="connsiteX3" fmla="*/ 2638506 w 2638506"/>
                  <a:gd name="connsiteY3" fmla="*/ 1310898 h 1310898"/>
                  <a:gd name="connsiteX0" fmla="*/ 1 w 2664626"/>
                  <a:gd name="connsiteY0" fmla="*/ 635455 h 1309388"/>
                  <a:gd name="connsiteX1" fmla="*/ 886230 w 2664626"/>
                  <a:gd name="connsiteY1" fmla="*/ 286 h 1309388"/>
                  <a:gd name="connsiteX2" fmla="*/ 1854669 w 2664626"/>
                  <a:gd name="connsiteY2" fmla="*/ 686785 h 1309388"/>
                  <a:gd name="connsiteX3" fmla="*/ 2664626 w 2664626"/>
                  <a:gd name="connsiteY3" fmla="*/ 1309388 h 1309388"/>
                  <a:gd name="connsiteX0" fmla="*/ 1 w 1854668"/>
                  <a:gd name="connsiteY0" fmla="*/ 635455 h 686786"/>
                  <a:gd name="connsiteX1" fmla="*/ 886230 w 1854668"/>
                  <a:gd name="connsiteY1" fmla="*/ 286 h 686786"/>
                  <a:gd name="connsiteX2" fmla="*/ 1854669 w 1854668"/>
                  <a:gd name="connsiteY2" fmla="*/ 686785 h 686786"/>
                  <a:gd name="connsiteX0" fmla="*/ 1 w 886231"/>
                  <a:gd name="connsiteY0" fmla="*/ 635455 h 635455"/>
                  <a:gd name="connsiteX1" fmla="*/ 886230 w 886231"/>
                  <a:gd name="connsiteY1" fmla="*/ 286 h 635455"/>
                  <a:gd name="connsiteX0" fmla="*/ 1 w 886231"/>
                  <a:gd name="connsiteY0" fmla="*/ 635460 h 635460"/>
                  <a:gd name="connsiteX1" fmla="*/ 490191 w 886231"/>
                  <a:gd name="connsiteY1" fmla="*/ 91024 h 635460"/>
                  <a:gd name="connsiteX2" fmla="*/ 886230 w 886231"/>
                  <a:gd name="connsiteY2" fmla="*/ 291 h 635460"/>
                  <a:gd name="connsiteX0" fmla="*/ 1 w 886231"/>
                  <a:gd name="connsiteY0" fmla="*/ 636018 h 636018"/>
                  <a:gd name="connsiteX1" fmla="*/ 490191 w 886231"/>
                  <a:gd name="connsiteY1" fmla="*/ 91582 h 636018"/>
                  <a:gd name="connsiteX2" fmla="*/ 886230 w 886231"/>
                  <a:gd name="connsiteY2" fmla="*/ 849 h 636018"/>
                  <a:gd name="connsiteX0" fmla="*/ 1 w 886231"/>
                  <a:gd name="connsiteY0" fmla="*/ 638967 h 638967"/>
                  <a:gd name="connsiteX1" fmla="*/ 490191 w 886231"/>
                  <a:gd name="connsiteY1" fmla="*/ 94531 h 638967"/>
                  <a:gd name="connsiteX2" fmla="*/ 886230 w 886231"/>
                  <a:gd name="connsiteY2" fmla="*/ 3798 h 638967"/>
                  <a:gd name="connsiteX0" fmla="*/ 1 w 490191"/>
                  <a:gd name="connsiteY0" fmla="*/ 544435 h 544435"/>
                  <a:gd name="connsiteX1" fmla="*/ 490191 w 490191"/>
                  <a:gd name="connsiteY1" fmla="*/ -1 h 544435"/>
                  <a:gd name="connsiteX0" fmla="*/ 1 w 490191"/>
                  <a:gd name="connsiteY0" fmla="*/ 544435 h 544435"/>
                  <a:gd name="connsiteX1" fmla="*/ 490191 w 490191"/>
                  <a:gd name="connsiteY1" fmla="*/ -1 h 544435"/>
                  <a:gd name="connsiteX0" fmla="*/ 1 w 490191"/>
                  <a:gd name="connsiteY0" fmla="*/ 544435 h 544435"/>
                  <a:gd name="connsiteX1" fmla="*/ 490191 w 490191"/>
                  <a:gd name="connsiteY1" fmla="*/ -1 h 544435"/>
                  <a:gd name="connsiteX0" fmla="*/ 1 w 490191"/>
                  <a:gd name="connsiteY0" fmla="*/ 544435 h 544435"/>
                  <a:gd name="connsiteX1" fmla="*/ 490191 w 490191"/>
                  <a:gd name="connsiteY1" fmla="*/ -1 h 5444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90191" h="544435">
                    <a:moveTo>
                      <a:pt x="1" y="544435"/>
                    </a:moveTo>
                    <a:cubicBezTo>
                      <a:pt x="59974" y="349650"/>
                      <a:pt x="307478" y="61023"/>
                      <a:pt x="490191" y="-1"/>
                    </a:cubicBezTo>
                  </a:path>
                </a:pathLst>
              </a:custGeom>
              <a:grpFill/>
              <a:ln w="6350" cap="rnd">
                <a:solidFill>
                  <a:schemeClr val="accent4"/>
                </a:solidFill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 rtlCol="0" anchor="ctr">
                <a:noAutofit/>
              </a:bodyPr>
              <a:lstStyle/>
              <a:p>
                <a:pPr marL="0" marR="0" lvl="0" indent="0" algn="ctr" defTabSz="45719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Imago"/>
                  <a:ea typeface="+mn-ea"/>
                  <a:cs typeface="+mn-cs"/>
                </a:endParaRPr>
              </a:p>
            </p:txBody>
          </p:sp>
          <p:sp>
            <p:nvSpPr>
              <p:cNvPr id="1092" name="Freeform: Shape 94">
                <a:extLst>
                  <a:ext uri="{FF2B5EF4-FFF2-40B4-BE49-F238E27FC236}">
                    <a16:creationId xmlns:a16="http://schemas.microsoft.com/office/drawing/2014/main" id="{E24C957F-40C2-988F-4FA0-0057BF301F91}"/>
                  </a:ext>
                </a:extLst>
              </p:cNvPr>
              <p:cNvSpPr/>
              <p:nvPr/>
            </p:nvSpPr>
            <p:spPr>
              <a:xfrm rot="4837695" flipV="1">
                <a:off x="3781483" y="3318306"/>
                <a:ext cx="255606" cy="283890"/>
              </a:xfrm>
              <a:custGeom>
                <a:avLst/>
                <a:gdLst>
                  <a:gd name="connsiteX0" fmla="*/ 0 w 2617365"/>
                  <a:gd name="connsiteY0" fmla="*/ 939567 h 939567"/>
                  <a:gd name="connsiteX1" fmla="*/ 922789 w 2617365"/>
                  <a:gd name="connsiteY1" fmla="*/ 16778 h 939567"/>
                  <a:gd name="connsiteX2" fmla="*/ 1761688 w 2617365"/>
                  <a:gd name="connsiteY2" fmla="*/ 855677 h 939567"/>
                  <a:gd name="connsiteX3" fmla="*/ 2617365 w 2617365"/>
                  <a:gd name="connsiteY3" fmla="*/ 0 h 939567"/>
                  <a:gd name="connsiteX0" fmla="*/ 27 w 2617392"/>
                  <a:gd name="connsiteY0" fmla="*/ 939567 h 939567"/>
                  <a:gd name="connsiteX1" fmla="*/ 922816 w 2617392"/>
                  <a:gd name="connsiteY1" fmla="*/ 16778 h 939567"/>
                  <a:gd name="connsiteX2" fmla="*/ 1761715 w 2617392"/>
                  <a:gd name="connsiteY2" fmla="*/ 855677 h 939567"/>
                  <a:gd name="connsiteX3" fmla="*/ 2617392 w 2617392"/>
                  <a:gd name="connsiteY3" fmla="*/ 0 h 939567"/>
                  <a:gd name="connsiteX0" fmla="*/ 27 w 2617392"/>
                  <a:gd name="connsiteY0" fmla="*/ 939567 h 939567"/>
                  <a:gd name="connsiteX1" fmla="*/ 922816 w 2617392"/>
                  <a:gd name="connsiteY1" fmla="*/ 16778 h 939567"/>
                  <a:gd name="connsiteX2" fmla="*/ 1761715 w 2617392"/>
                  <a:gd name="connsiteY2" fmla="*/ 855677 h 939567"/>
                  <a:gd name="connsiteX3" fmla="*/ 2617392 w 2617392"/>
                  <a:gd name="connsiteY3" fmla="*/ 0 h 939567"/>
                  <a:gd name="connsiteX0" fmla="*/ 33 w 2617398"/>
                  <a:gd name="connsiteY0" fmla="*/ 939567 h 939567"/>
                  <a:gd name="connsiteX1" fmla="*/ 922822 w 2617398"/>
                  <a:gd name="connsiteY1" fmla="*/ 16778 h 939567"/>
                  <a:gd name="connsiteX2" fmla="*/ 1761721 w 2617398"/>
                  <a:gd name="connsiteY2" fmla="*/ 855677 h 939567"/>
                  <a:gd name="connsiteX3" fmla="*/ 2617398 w 2617398"/>
                  <a:gd name="connsiteY3" fmla="*/ 0 h 939567"/>
                  <a:gd name="connsiteX0" fmla="*/ 33 w 2617398"/>
                  <a:gd name="connsiteY0" fmla="*/ 939567 h 939567"/>
                  <a:gd name="connsiteX1" fmla="*/ 922822 w 2617398"/>
                  <a:gd name="connsiteY1" fmla="*/ 16778 h 939567"/>
                  <a:gd name="connsiteX2" fmla="*/ 1761721 w 2617398"/>
                  <a:gd name="connsiteY2" fmla="*/ 855677 h 939567"/>
                  <a:gd name="connsiteX3" fmla="*/ 2617398 w 2617398"/>
                  <a:gd name="connsiteY3" fmla="*/ 0 h 939567"/>
                  <a:gd name="connsiteX0" fmla="*/ 45 w 2617410"/>
                  <a:gd name="connsiteY0" fmla="*/ 939567 h 939567"/>
                  <a:gd name="connsiteX1" fmla="*/ 793294 w 2617410"/>
                  <a:gd name="connsiteY1" fmla="*/ 161558 h 939567"/>
                  <a:gd name="connsiteX2" fmla="*/ 1761733 w 2617410"/>
                  <a:gd name="connsiteY2" fmla="*/ 855677 h 939567"/>
                  <a:gd name="connsiteX3" fmla="*/ 2617410 w 2617410"/>
                  <a:gd name="connsiteY3" fmla="*/ 0 h 939567"/>
                  <a:gd name="connsiteX0" fmla="*/ 45 w 2617410"/>
                  <a:gd name="connsiteY0" fmla="*/ 939567 h 939567"/>
                  <a:gd name="connsiteX1" fmla="*/ 793294 w 2617410"/>
                  <a:gd name="connsiteY1" fmla="*/ 161558 h 939567"/>
                  <a:gd name="connsiteX2" fmla="*/ 1761733 w 2617410"/>
                  <a:gd name="connsiteY2" fmla="*/ 855677 h 939567"/>
                  <a:gd name="connsiteX3" fmla="*/ 2617410 w 2617410"/>
                  <a:gd name="connsiteY3" fmla="*/ 0 h 939567"/>
                  <a:gd name="connsiteX0" fmla="*/ 35 w 2617400"/>
                  <a:gd name="connsiteY0" fmla="*/ 939567 h 939567"/>
                  <a:gd name="connsiteX1" fmla="*/ 793284 w 2617400"/>
                  <a:gd name="connsiteY1" fmla="*/ 161558 h 939567"/>
                  <a:gd name="connsiteX2" fmla="*/ 1799823 w 2617400"/>
                  <a:gd name="connsiteY2" fmla="*/ 928067 h 939567"/>
                  <a:gd name="connsiteX3" fmla="*/ 2617400 w 2617400"/>
                  <a:gd name="connsiteY3" fmla="*/ 0 h 939567"/>
                  <a:gd name="connsiteX0" fmla="*/ 35 w 2617400"/>
                  <a:gd name="connsiteY0" fmla="*/ 939567 h 939567"/>
                  <a:gd name="connsiteX1" fmla="*/ 793284 w 2617400"/>
                  <a:gd name="connsiteY1" fmla="*/ 161558 h 939567"/>
                  <a:gd name="connsiteX2" fmla="*/ 1799823 w 2617400"/>
                  <a:gd name="connsiteY2" fmla="*/ 928067 h 939567"/>
                  <a:gd name="connsiteX3" fmla="*/ 2617400 w 2617400"/>
                  <a:gd name="connsiteY3" fmla="*/ 0 h 939567"/>
                  <a:gd name="connsiteX0" fmla="*/ 54 w 2617419"/>
                  <a:gd name="connsiteY0" fmla="*/ 939567 h 939567"/>
                  <a:gd name="connsiteX1" fmla="*/ 793303 w 2617419"/>
                  <a:gd name="connsiteY1" fmla="*/ 161558 h 939567"/>
                  <a:gd name="connsiteX2" fmla="*/ 1799842 w 2617419"/>
                  <a:gd name="connsiteY2" fmla="*/ 928067 h 939567"/>
                  <a:gd name="connsiteX3" fmla="*/ 2617419 w 2617419"/>
                  <a:gd name="connsiteY3" fmla="*/ 0 h 939567"/>
                  <a:gd name="connsiteX0" fmla="*/ 54 w 2602179"/>
                  <a:gd name="connsiteY0" fmla="*/ 778016 h 778016"/>
                  <a:gd name="connsiteX1" fmla="*/ 793303 w 2602179"/>
                  <a:gd name="connsiteY1" fmla="*/ 7 h 778016"/>
                  <a:gd name="connsiteX2" fmla="*/ 1799842 w 2602179"/>
                  <a:gd name="connsiteY2" fmla="*/ 766516 h 778016"/>
                  <a:gd name="connsiteX3" fmla="*/ 2602179 w 2602179"/>
                  <a:gd name="connsiteY3" fmla="*/ 28949 h 778016"/>
                  <a:gd name="connsiteX0" fmla="*/ 54 w 2438349"/>
                  <a:gd name="connsiteY0" fmla="*/ 778016 h 1419810"/>
                  <a:gd name="connsiteX1" fmla="*/ 793303 w 2438349"/>
                  <a:gd name="connsiteY1" fmla="*/ 7 h 1419810"/>
                  <a:gd name="connsiteX2" fmla="*/ 1799842 w 2438349"/>
                  <a:gd name="connsiteY2" fmla="*/ 766516 h 1419810"/>
                  <a:gd name="connsiteX3" fmla="*/ 2438349 w 2438349"/>
                  <a:gd name="connsiteY3" fmla="*/ 1309109 h 1419810"/>
                  <a:gd name="connsiteX0" fmla="*/ 54 w 2438349"/>
                  <a:gd name="connsiteY0" fmla="*/ 778016 h 1309109"/>
                  <a:gd name="connsiteX1" fmla="*/ 793303 w 2438349"/>
                  <a:gd name="connsiteY1" fmla="*/ 7 h 1309109"/>
                  <a:gd name="connsiteX2" fmla="*/ 1799842 w 2438349"/>
                  <a:gd name="connsiteY2" fmla="*/ 766516 h 1309109"/>
                  <a:gd name="connsiteX3" fmla="*/ 2438349 w 2438349"/>
                  <a:gd name="connsiteY3" fmla="*/ 1309109 h 1309109"/>
                  <a:gd name="connsiteX0" fmla="*/ 33 w 2438328"/>
                  <a:gd name="connsiteY0" fmla="*/ 778361 h 1309454"/>
                  <a:gd name="connsiteX1" fmla="*/ 793282 w 2438328"/>
                  <a:gd name="connsiteY1" fmla="*/ 352 h 1309454"/>
                  <a:gd name="connsiteX2" fmla="*/ 1628371 w 2438328"/>
                  <a:gd name="connsiteY2" fmla="*/ 686851 h 1309454"/>
                  <a:gd name="connsiteX3" fmla="*/ 2438328 w 2438328"/>
                  <a:gd name="connsiteY3" fmla="*/ 1309454 h 1309454"/>
                  <a:gd name="connsiteX0" fmla="*/ 33 w 2438328"/>
                  <a:gd name="connsiteY0" fmla="*/ 778494 h 1309587"/>
                  <a:gd name="connsiteX1" fmla="*/ 793282 w 2438328"/>
                  <a:gd name="connsiteY1" fmla="*/ 485 h 1309587"/>
                  <a:gd name="connsiteX2" fmla="*/ 1628371 w 2438328"/>
                  <a:gd name="connsiteY2" fmla="*/ 686984 h 1309587"/>
                  <a:gd name="connsiteX3" fmla="*/ 2438328 w 2438328"/>
                  <a:gd name="connsiteY3" fmla="*/ 1309587 h 1309587"/>
                  <a:gd name="connsiteX0" fmla="*/ 27 w 2556432"/>
                  <a:gd name="connsiteY0" fmla="*/ 671344 h 1309117"/>
                  <a:gd name="connsiteX1" fmla="*/ 911386 w 2556432"/>
                  <a:gd name="connsiteY1" fmla="*/ 15 h 1309117"/>
                  <a:gd name="connsiteX2" fmla="*/ 1746475 w 2556432"/>
                  <a:gd name="connsiteY2" fmla="*/ 686514 h 1309117"/>
                  <a:gd name="connsiteX3" fmla="*/ 2556432 w 2556432"/>
                  <a:gd name="connsiteY3" fmla="*/ 1309117 h 1309117"/>
                  <a:gd name="connsiteX0" fmla="*/ 0 w 2556405"/>
                  <a:gd name="connsiteY0" fmla="*/ 671347 h 1309120"/>
                  <a:gd name="connsiteX1" fmla="*/ 911359 w 2556405"/>
                  <a:gd name="connsiteY1" fmla="*/ 18 h 1309120"/>
                  <a:gd name="connsiteX2" fmla="*/ 1746448 w 2556405"/>
                  <a:gd name="connsiteY2" fmla="*/ 686517 h 1309120"/>
                  <a:gd name="connsiteX3" fmla="*/ 2556405 w 2556405"/>
                  <a:gd name="connsiteY3" fmla="*/ 1309120 h 1309120"/>
                  <a:gd name="connsiteX0" fmla="*/ 0 w 2556405"/>
                  <a:gd name="connsiteY0" fmla="*/ 672485 h 1310258"/>
                  <a:gd name="connsiteX1" fmla="*/ 911359 w 2556405"/>
                  <a:gd name="connsiteY1" fmla="*/ 1156 h 1310258"/>
                  <a:gd name="connsiteX2" fmla="*/ 1746448 w 2556405"/>
                  <a:gd name="connsiteY2" fmla="*/ 687655 h 1310258"/>
                  <a:gd name="connsiteX3" fmla="*/ 2556405 w 2556405"/>
                  <a:gd name="connsiteY3" fmla="*/ 1310258 h 1310258"/>
                  <a:gd name="connsiteX0" fmla="*/ 0 w 2556405"/>
                  <a:gd name="connsiteY0" fmla="*/ 672432 h 1310205"/>
                  <a:gd name="connsiteX1" fmla="*/ 911359 w 2556405"/>
                  <a:gd name="connsiteY1" fmla="*/ 1103 h 1310205"/>
                  <a:gd name="connsiteX2" fmla="*/ 1746448 w 2556405"/>
                  <a:gd name="connsiteY2" fmla="*/ 687602 h 1310205"/>
                  <a:gd name="connsiteX3" fmla="*/ 2556405 w 2556405"/>
                  <a:gd name="connsiteY3" fmla="*/ 1310205 h 1310205"/>
                  <a:gd name="connsiteX0" fmla="*/ 0 w 2556405"/>
                  <a:gd name="connsiteY0" fmla="*/ 672432 h 1310205"/>
                  <a:gd name="connsiteX1" fmla="*/ 778009 w 2556405"/>
                  <a:gd name="connsiteY1" fmla="*/ 1103 h 1310205"/>
                  <a:gd name="connsiteX2" fmla="*/ 1746448 w 2556405"/>
                  <a:gd name="connsiteY2" fmla="*/ 687602 h 1310205"/>
                  <a:gd name="connsiteX3" fmla="*/ 2556405 w 2556405"/>
                  <a:gd name="connsiteY3" fmla="*/ 1310205 h 1310205"/>
                  <a:gd name="connsiteX0" fmla="*/ 0 w 2556405"/>
                  <a:gd name="connsiteY0" fmla="*/ 672186 h 1309959"/>
                  <a:gd name="connsiteX1" fmla="*/ 778009 w 2556405"/>
                  <a:gd name="connsiteY1" fmla="*/ 857 h 1309959"/>
                  <a:gd name="connsiteX2" fmla="*/ 1746448 w 2556405"/>
                  <a:gd name="connsiteY2" fmla="*/ 687356 h 1309959"/>
                  <a:gd name="connsiteX3" fmla="*/ 2556405 w 2556405"/>
                  <a:gd name="connsiteY3" fmla="*/ 1309959 h 1309959"/>
                  <a:gd name="connsiteX0" fmla="*/ 0 w 2556405"/>
                  <a:gd name="connsiteY0" fmla="*/ 671347 h 1309120"/>
                  <a:gd name="connsiteX1" fmla="*/ 778009 w 2556405"/>
                  <a:gd name="connsiteY1" fmla="*/ 18 h 1309120"/>
                  <a:gd name="connsiteX2" fmla="*/ 1746448 w 2556405"/>
                  <a:gd name="connsiteY2" fmla="*/ 686517 h 1309120"/>
                  <a:gd name="connsiteX3" fmla="*/ 2556405 w 2556405"/>
                  <a:gd name="connsiteY3" fmla="*/ 1309120 h 1309120"/>
                  <a:gd name="connsiteX0" fmla="*/ 0 w 2556405"/>
                  <a:gd name="connsiteY0" fmla="*/ 671340 h 1309113"/>
                  <a:gd name="connsiteX1" fmla="*/ 778009 w 2556405"/>
                  <a:gd name="connsiteY1" fmla="*/ 11 h 1309113"/>
                  <a:gd name="connsiteX2" fmla="*/ 1746448 w 2556405"/>
                  <a:gd name="connsiteY2" fmla="*/ 686510 h 1309113"/>
                  <a:gd name="connsiteX3" fmla="*/ 2556405 w 2556405"/>
                  <a:gd name="connsiteY3" fmla="*/ 1309113 h 1309113"/>
                  <a:gd name="connsiteX0" fmla="*/ 0 w 2556405"/>
                  <a:gd name="connsiteY0" fmla="*/ 671340 h 1309113"/>
                  <a:gd name="connsiteX1" fmla="*/ 778009 w 2556405"/>
                  <a:gd name="connsiteY1" fmla="*/ 11 h 1309113"/>
                  <a:gd name="connsiteX2" fmla="*/ 1746448 w 2556405"/>
                  <a:gd name="connsiteY2" fmla="*/ 686510 h 1309113"/>
                  <a:gd name="connsiteX3" fmla="*/ 2556405 w 2556405"/>
                  <a:gd name="connsiteY3" fmla="*/ 1309113 h 1309113"/>
                  <a:gd name="connsiteX0" fmla="*/ 1 w 2593711"/>
                  <a:gd name="connsiteY0" fmla="*/ 644434 h 1309189"/>
                  <a:gd name="connsiteX1" fmla="*/ 815315 w 2593711"/>
                  <a:gd name="connsiteY1" fmla="*/ 87 h 1309189"/>
                  <a:gd name="connsiteX2" fmla="*/ 1783754 w 2593711"/>
                  <a:gd name="connsiteY2" fmla="*/ 686586 h 1309189"/>
                  <a:gd name="connsiteX3" fmla="*/ 2593711 w 2593711"/>
                  <a:gd name="connsiteY3" fmla="*/ 1309189 h 1309189"/>
                  <a:gd name="connsiteX0" fmla="*/ 1 w 2593711"/>
                  <a:gd name="connsiteY0" fmla="*/ 644481 h 1309236"/>
                  <a:gd name="connsiteX1" fmla="*/ 815315 w 2593711"/>
                  <a:gd name="connsiteY1" fmla="*/ 134 h 1309236"/>
                  <a:gd name="connsiteX2" fmla="*/ 1783754 w 2593711"/>
                  <a:gd name="connsiteY2" fmla="*/ 686633 h 1309236"/>
                  <a:gd name="connsiteX3" fmla="*/ 2593711 w 2593711"/>
                  <a:gd name="connsiteY3" fmla="*/ 1309236 h 1309236"/>
                  <a:gd name="connsiteX0" fmla="*/ 1 w 2638506"/>
                  <a:gd name="connsiteY0" fmla="*/ 648155 h 1309212"/>
                  <a:gd name="connsiteX1" fmla="*/ 860110 w 2638506"/>
                  <a:gd name="connsiteY1" fmla="*/ 110 h 1309212"/>
                  <a:gd name="connsiteX2" fmla="*/ 1828549 w 2638506"/>
                  <a:gd name="connsiteY2" fmla="*/ 686609 h 1309212"/>
                  <a:gd name="connsiteX3" fmla="*/ 2638506 w 2638506"/>
                  <a:gd name="connsiteY3" fmla="*/ 1309212 h 1309212"/>
                  <a:gd name="connsiteX0" fmla="*/ 1 w 2638506"/>
                  <a:gd name="connsiteY0" fmla="*/ 648197 h 1309254"/>
                  <a:gd name="connsiteX1" fmla="*/ 860110 w 2638506"/>
                  <a:gd name="connsiteY1" fmla="*/ 152 h 1309254"/>
                  <a:gd name="connsiteX2" fmla="*/ 1828549 w 2638506"/>
                  <a:gd name="connsiteY2" fmla="*/ 686651 h 1309254"/>
                  <a:gd name="connsiteX3" fmla="*/ 2638506 w 2638506"/>
                  <a:gd name="connsiteY3" fmla="*/ 1309254 h 1309254"/>
                  <a:gd name="connsiteX0" fmla="*/ 1 w 2638506"/>
                  <a:gd name="connsiteY0" fmla="*/ 649974 h 1311031"/>
                  <a:gd name="connsiteX1" fmla="*/ 860110 w 2638506"/>
                  <a:gd name="connsiteY1" fmla="*/ 1929 h 1311031"/>
                  <a:gd name="connsiteX2" fmla="*/ 1828549 w 2638506"/>
                  <a:gd name="connsiteY2" fmla="*/ 688428 h 1311031"/>
                  <a:gd name="connsiteX3" fmla="*/ 2638506 w 2638506"/>
                  <a:gd name="connsiteY3" fmla="*/ 1311031 h 1311031"/>
                  <a:gd name="connsiteX0" fmla="*/ 1 w 2638506"/>
                  <a:gd name="connsiteY0" fmla="*/ 649607 h 1310664"/>
                  <a:gd name="connsiteX1" fmla="*/ 860110 w 2638506"/>
                  <a:gd name="connsiteY1" fmla="*/ 1562 h 1310664"/>
                  <a:gd name="connsiteX2" fmla="*/ 1828549 w 2638506"/>
                  <a:gd name="connsiteY2" fmla="*/ 688061 h 1310664"/>
                  <a:gd name="connsiteX3" fmla="*/ 2638506 w 2638506"/>
                  <a:gd name="connsiteY3" fmla="*/ 1310664 h 1310664"/>
                  <a:gd name="connsiteX0" fmla="*/ 1 w 2638506"/>
                  <a:gd name="connsiteY0" fmla="*/ 649193 h 1310250"/>
                  <a:gd name="connsiteX1" fmla="*/ 860110 w 2638506"/>
                  <a:gd name="connsiteY1" fmla="*/ 1148 h 1310250"/>
                  <a:gd name="connsiteX2" fmla="*/ 1828549 w 2638506"/>
                  <a:gd name="connsiteY2" fmla="*/ 687647 h 1310250"/>
                  <a:gd name="connsiteX3" fmla="*/ 2638506 w 2638506"/>
                  <a:gd name="connsiteY3" fmla="*/ 1310250 h 1310250"/>
                  <a:gd name="connsiteX0" fmla="*/ 1 w 2638506"/>
                  <a:gd name="connsiteY0" fmla="*/ 650609 h 1311666"/>
                  <a:gd name="connsiteX1" fmla="*/ 860110 w 2638506"/>
                  <a:gd name="connsiteY1" fmla="*/ 2564 h 1311666"/>
                  <a:gd name="connsiteX2" fmla="*/ 1828549 w 2638506"/>
                  <a:gd name="connsiteY2" fmla="*/ 689063 h 1311666"/>
                  <a:gd name="connsiteX3" fmla="*/ 2638506 w 2638506"/>
                  <a:gd name="connsiteY3" fmla="*/ 1311666 h 1311666"/>
                  <a:gd name="connsiteX0" fmla="*/ 1 w 2638506"/>
                  <a:gd name="connsiteY0" fmla="*/ 649841 h 1310898"/>
                  <a:gd name="connsiteX1" fmla="*/ 860110 w 2638506"/>
                  <a:gd name="connsiteY1" fmla="*/ 1796 h 1310898"/>
                  <a:gd name="connsiteX2" fmla="*/ 1828549 w 2638506"/>
                  <a:gd name="connsiteY2" fmla="*/ 688295 h 1310898"/>
                  <a:gd name="connsiteX3" fmla="*/ 2638506 w 2638506"/>
                  <a:gd name="connsiteY3" fmla="*/ 1310898 h 1310898"/>
                  <a:gd name="connsiteX0" fmla="*/ 1 w 2638506"/>
                  <a:gd name="connsiteY0" fmla="*/ 649841 h 1310898"/>
                  <a:gd name="connsiteX1" fmla="*/ 860110 w 2638506"/>
                  <a:gd name="connsiteY1" fmla="*/ 1796 h 1310898"/>
                  <a:gd name="connsiteX2" fmla="*/ 1828549 w 2638506"/>
                  <a:gd name="connsiteY2" fmla="*/ 688295 h 1310898"/>
                  <a:gd name="connsiteX3" fmla="*/ 2638506 w 2638506"/>
                  <a:gd name="connsiteY3" fmla="*/ 1310898 h 1310898"/>
                  <a:gd name="connsiteX0" fmla="*/ 1 w 2664626"/>
                  <a:gd name="connsiteY0" fmla="*/ 635455 h 1309388"/>
                  <a:gd name="connsiteX1" fmla="*/ 886230 w 2664626"/>
                  <a:gd name="connsiteY1" fmla="*/ 286 h 1309388"/>
                  <a:gd name="connsiteX2" fmla="*/ 1854669 w 2664626"/>
                  <a:gd name="connsiteY2" fmla="*/ 686785 h 1309388"/>
                  <a:gd name="connsiteX3" fmla="*/ 2664626 w 2664626"/>
                  <a:gd name="connsiteY3" fmla="*/ 1309388 h 1309388"/>
                  <a:gd name="connsiteX0" fmla="*/ 1 w 1854668"/>
                  <a:gd name="connsiteY0" fmla="*/ 635455 h 686786"/>
                  <a:gd name="connsiteX1" fmla="*/ 886230 w 1854668"/>
                  <a:gd name="connsiteY1" fmla="*/ 286 h 686786"/>
                  <a:gd name="connsiteX2" fmla="*/ 1854669 w 1854668"/>
                  <a:gd name="connsiteY2" fmla="*/ 686785 h 686786"/>
                  <a:gd name="connsiteX0" fmla="*/ 1 w 886231"/>
                  <a:gd name="connsiteY0" fmla="*/ 635455 h 635455"/>
                  <a:gd name="connsiteX1" fmla="*/ 886230 w 886231"/>
                  <a:gd name="connsiteY1" fmla="*/ 286 h 635455"/>
                  <a:gd name="connsiteX0" fmla="*/ 1 w 886231"/>
                  <a:gd name="connsiteY0" fmla="*/ 635460 h 635460"/>
                  <a:gd name="connsiteX1" fmla="*/ 490191 w 886231"/>
                  <a:gd name="connsiteY1" fmla="*/ 91024 h 635460"/>
                  <a:gd name="connsiteX2" fmla="*/ 886230 w 886231"/>
                  <a:gd name="connsiteY2" fmla="*/ 291 h 635460"/>
                  <a:gd name="connsiteX0" fmla="*/ 1 w 886231"/>
                  <a:gd name="connsiteY0" fmla="*/ 636018 h 636018"/>
                  <a:gd name="connsiteX1" fmla="*/ 490191 w 886231"/>
                  <a:gd name="connsiteY1" fmla="*/ 91582 h 636018"/>
                  <a:gd name="connsiteX2" fmla="*/ 886230 w 886231"/>
                  <a:gd name="connsiteY2" fmla="*/ 849 h 636018"/>
                  <a:gd name="connsiteX0" fmla="*/ 1 w 886231"/>
                  <a:gd name="connsiteY0" fmla="*/ 638967 h 638967"/>
                  <a:gd name="connsiteX1" fmla="*/ 490191 w 886231"/>
                  <a:gd name="connsiteY1" fmla="*/ 94531 h 638967"/>
                  <a:gd name="connsiteX2" fmla="*/ 886230 w 886231"/>
                  <a:gd name="connsiteY2" fmla="*/ 3798 h 638967"/>
                  <a:gd name="connsiteX0" fmla="*/ 1 w 490191"/>
                  <a:gd name="connsiteY0" fmla="*/ 544435 h 544435"/>
                  <a:gd name="connsiteX1" fmla="*/ 490191 w 490191"/>
                  <a:gd name="connsiteY1" fmla="*/ -1 h 544435"/>
                  <a:gd name="connsiteX0" fmla="*/ 1 w 490191"/>
                  <a:gd name="connsiteY0" fmla="*/ 544435 h 544435"/>
                  <a:gd name="connsiteX1" fmla="*/ 490191 w 490191"/>
                  <a:gd name="connsiteY1" fmla="*/ -1 h 544435"/>
                  <a:gd name="connsiteX0" fmla="*/ 1 w 490191"/>
                  <a:gd name="connsiteY0" fmla="*/ 544435 h 544435"/>
                  <a:gd name="connsiteX1" fmla="*/ 490191 w 490191"/>
                  <a:gd name="connsiteY1" fmla="*/ -1 h 544435"/>
                  <a:gd name="connsiteX0" fmla="*/ 1 w 490191"/>
                  <a:gd name="connsiteY0" fmla="*/ 544435 h 544435"/>
                  <a:gd name="connsiteX1" fmla="*/ 490191 w 490191"/>
                  <a:gd name="connsiteY1" fmla="*/ -1 h 5444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90191" h="544435">
                    <a:moveTo>
                      <a:pt x="1" y="544435"/>
                    </a:moveTo>
                    <a:cubicBezTo>
                      <a:pt x="59974" y="349650"/>
                      <a:pt x="307478" y="61023"/>
                      <a:pt x="490191" y="-1"/>
                    </a:cubicBezTo>
                  </a:path>
                </a:pathLst>
              </a:custGeom>
              <a:grpFill/>
              <a:ln w="6350" cap="rnd">
                <a:solidFill>
                  <a:schemeClr val="accent4"/>
                </a:solidFill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 rtlCol="0" anchor="ctr">
                <a:noAutofit/>
              </a:bodyPr>
              <a:lstStyle/>
              <a:p>
                <a:pPr marL="0" marR="0" lvl="0" indent="0" algn="ctr" defTabSz="45719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Imago"/>
                  <a:ea typeface="+mn-ea"/>
                  <a:cs typeface="+mn-cs"/>
                </a:endParaRPr>
              </a:p>
            </p:txBody>
          </p:sp>
        </p:grpSp>
        <p:cxnSp>
          <p:nvCxnSpPr>
            <p:cNvPr id="1084" name="Straight Connector 1083">
              <a:extLst>
                <a:ext uri="{FF2B5EF4-FFF2-40B4-BE49-F238E27FC236}">
                  <a16:creationId xmlns:a16="http://schemas.microsoft.com/office/drawing/2014/main" id="{9CA7C25E-1320-2A47-A4AC-117CF26BBDEB}"/>
                </a:ext>
              </a:extLst>
            </p:cNvPr>
            <p:cNvCxnSpPr/>
            <p:nvPr/>
          </p:nvCxnSpPr>
          <p:spPr>
            <a:xfrm>
              <a:off x="704611" y="1696455"/>
              <a:ext cx="187200" cy="0"/>
            </a:xfrm>
            <a:prstGeom prst="line">
              <a:avLst/>
            </a:prstGeom>
            <a:noFill/>
            <a:ln w="6350" cap="rnd">
              <a:solidFill>
                <a:schemeClr val="accent4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5" name="Straight Connector 1084">
              <a:extLst>
                <a:ext uri="{FF2B5EF4-FFF2-40B4-BE49-F238E27FC236}">
                  <a16:creationId xmlns:a16="http://schemas.microsoft.com/office/drawing/2014/main" id="{DD46CDAC-B617-8135-EE5F-B6A1BBC0491C}"/>
                </a:ext>
              </a:extLst>
            </p:cNvPr>
            <p:cNvCxnSpPr/>
            <p:nvPr/>
          </p:nvCxnSpPr>
          <p:spPr>
            <a:xfrm>
              <a:off x="718764" y="1640191"/>
              <a:ext cx="158400" cy="0"/>
            </a:xfrm>
            <a:prstGeom prst="line">
              <a:avLst/>
            </a:prstGeom>
            <a:noFill/>
            <a:ln w="6350" cap="rnd">
              <a:solidFill>
                <a:schemeClr val="accent4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6" name="Straight Connector 1085">
              <a:extLst>
                <a:ext uri="{FF2B5EF4-FFF2-40B4-BE49-F238E27FC236}">
                  <a16:creationId xmlns:a16="http://schemas.microsoft.com/office/drawing/2014/main" id="{F4A1A053-AF65-7D6A-F279-CCB16BE5A0A5}"/>
                </a:ext>
              </a:extLst>
            </p:cNvPr>
            <p:cNvCxnSpPr/>
            <p:nvPr/>
          </p:nvCxnSpPr>
          <p:spPr>
            <a:xfrm>
              <a:off x="723526" y="1752719"/>
              <a:ext cx="151200" cy="0"/>
            </a:xfrm>
            <a:prstGeom prst="line">
              <a:avLst/>
            </a:prstGeom>
            <a:noFill/>
            <a:ln w="6350" cap="rnd">
              <a:solidFill>
                <a:schemeClr val="accent4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7" name="Straight Connector 1086">
              <a:extLst>
                <a:ext uri="{FF2B5EF4-FFF2-40B4-BE49-F238E27FC236}">
                  <a16:creationId xmlns:a16="http://schemas.microsoft.com/office/drawing/2014/main" id="{8313F37B-BE17-8101-25E8-651BC350B636}"/>
                </a:ext>
              </a:extLst>
            </p:cNvPr>
            <p:cNvCxnSpPr/>
            <p:nvPr/>
          </p:nvCxnSpPr>
          <p:spPr>
            <a:xfrm>
              <a:off x="711021" y="1892039"/>
              <a:ext cx="168771" cy="0"/>
            </a:xfrm>
            <a:prstGeom prst="line">
              <a:avLst/>
            </a:prstGeom>
            <a:noFill/>
            <a:ln w="6350" cap="rnd">
              <a:solidFill>
                <a:schemeClr val="accent4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8" name="Straight Connector 1087">
              <a:extLst>
                <a:ext uri="{FF2B5EF4-FFF2-40B4-BE49-F238E27FC236}">
                  <a16:creationId xmlns:a16="http://schemas.microsoft.com/office/drawing/2014/main" id="{4B69AB8F-5D68-4DF2-83E3-F86EBFC7DDE0}"/>
                </a:ext>
              </a:extLst>
            </p:cNvPr>
            <p:cNvCxnSpPr/>
            <p:nvPr/>
          </p:nvCxnSpPr>
          <p:spPr>
            <a:xfrm>
              <a:off x="727097" y="1495703"/>
              <a:ext cx="168771" cy="0"/>
            </a:xfrm>
            <a:prstGeom prst="line">
              <a:avLst/>
            </a:prstGeom>
            <a:noFill/>
            <a:ln w="6350" cap="rnd">
              <a:solidFill>
                <a:schemeClr val="accent4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93" name="Group 1092">
            <a:extLst>
              <a:ext uri="{FF2B5EF4-FFF2-40B4-BE49-F238E27FC236}">
                <a16:creationId xmlns:a16="http://schemas.microsoft.com/office/drawing/2014/main" id="{F523520E-229A-CD60-3F80-0743CC631115}"/>
              </a:ext>
            </a:extLst>
          </p:cNvPr>
          <p:cNvGrpSpPr>
            <a:grpSpLocks noChangeAspect="1"/>
          </p:cNvGrpSpPr>
          <p:nvPr/>
        </p:nvGrpSpPr>
        <p:grpSpPr>
          <a:xfrm rot="2938125">
            <a:off x="6259187" y="4046717"/>
            <a:ext cx="87490" cy="210070"/>
            <a:chOff x="704611" y="1456658"/>
            <a:chExt cx="199531" cy="479091"/>
          </a:xfrm>
        </p:grpSpPr>
        <p:grpSp>
          <p:nvGrpSpPr>
            <p:cNvPr id="1094" name="Group 1093">
              <a:extLst>
                <a:ext uri="{FF2B5EF4-FFF2-40B4-BE49-F238E27FC236}">
                  <a16:creationId xmlns:a16="http://schemas.microsoft.com/office/drawing/2014/main" id="{1EE79E3B-B136-D1D8-D8C1-804D99195348}"/>
                </a:ext>
              </a:extLst>
            </p:cNvPr>
            <p:cNvGrpSpPr/>
            <p:nvPr/>
          </p:nvGrpSpPr>
          <p:grpSpPr>
            <a:xfrm flipH="1">
              <a:off x="705120" y="1456658"/>
              <a:ext cx="199022" cy="479091"/>
              <a:chOff x="3767341" y="2244425"/>
              <a:chExt cx="585304" cy="1408966"/>
            </a:xfrm>
            <a:noFill/>
          </p:grpSpPr>
          <p:sp>
            <p:nvSpPr>
              <p:cNvPr id="1100" name="Freeform: Shape 91">
                <a:extLst>
                  <a:ext uri="{FF2B5EF4-FFF2-40B4-BE49-F238E27FC236}">
                    <a16:creationId xmlns:a16="http://schemas.microsoft.com/office/drawing/2014/main" id="{A5172DA7-AD7A-10CF-97B8-876EA560E12C}"/>
                  </a:ext>
                </a:extLst>
              </p:cNvPr>
              <p:cNvSpPr/>
              <p:nvPr/>
            </p:nvSpPr>
            <p:spPr>
              <a:xfrm rot="4837695" flipH="1">
                <a:off x="3572300" y="2502917"/>
                <a:ext cx="1016473" cy="499490"/>
              </a:xfrm>
              <a:custGeom>
                <a:avLst/>
                <a:gdLst>
                  <a:gd name="connsiteX0" fmla="*/ 0 w 2617365"/>
                  <a:gd name="connsiteY0" fmla="*/ 939567 h 939567"/>
                  <a:gd name="connsiteX1" fmla="*/ 922789 w 2617365"/>
                  <a:gd name="connsiteY1" fmla="*/ 16778 h 939567"/>
                  <a:gd name="connsiteX2" fmla="*/ 1761688 w 2617365"/>
                  <a:gd name="connsiteY2" fmla="*/ 855677 h 939567"/>
                  <a:gd name="connsiteX3" fmla="*/ 2617365 w 2617365"/>
                  <a:gd name="connsiteY3" fmla="*/ 0 h 939567"/>
                  <a:gd name="connsiteX0" fmla="*/ 27 w 2617392"/>
                  <a:gd name="connsiteY0" fmla="*/ 939567 h 939567"/>
                  <a:gd name="connsiteX1" fmla="*/ 922816 w 2617392"/>
                  <a:gd name="connsiteY1" fmla="*/ 16778 h 939567"/>
                  <a:gd name="connsiteX2" fmla="*/ 1761715 w 2617392"/>
                  <a:gd name="connsiteY2" fmla="*/ 855677 h 939567"/>
                  <a:gd name="connsiteX3" fmla="*/ 2617392 w 2617392"/>
                  <a:gd name="connsiteY3" fmla="*/ 0 h 939567"/>
                  <a:gd name="connsiteX0" fmla="*/ 27 w 2617392"/>
                  <a:gd name="connsiteY0" fmla="*/ 939567 h 939567"/>
                  <a:gd name="connsiteX1" fmla="*/ 922816 w 2617392"/>
                  <a:gd name="connsiteY1" fmla="*/ 16778 h 939567"/>
                  <a:gd name="connsiteX2" fmla="*/ 1761715 w 2617392"/>
                  <a:gd name="connsiteY2" fmla="*/ 855677 h 939567"/>
                  <a:gd name="connsiteX3" fmla="*/ 2617392 w 2617392"/>
                  <a:gd name="connsiteY3" fmla="*/ 0 h 939567"/>
                  <a:gd name="connsiteX0" fmla="*/ 33 w 2617398"/>
                  <a:gd name="connsiteY0" fmla="*/ 939567 h 939567"/>
                  <a:gd name="connsiteX1" fmla="*/ 922822 w 2617398"/>
                  <a:gd name="connsiteY1" fmla="*/ 16778 h 939567"/>
                  <a:gd name="connsiteX2" fmla="*/ 1761721 w 2617398"/>
                  <a:gd name="connsiteY2" fmla="*/ 855677 h 939567"/>
                  <a:gd name="connsiteX3" fmla="*/ 2617398 w 2617398"/>
                  <a:gd name="connsiteY3" fmla="*/ 0 h 939567"/>
                  <a:gd name="connsiteX0" fmla="*/ 33 w 2617398"/>
                  <a:gd name="connsiteY0" fmla="*/ 939567 h 939567"/>
                  <a:gd name="connsiteX1" fmla="*/ 922822 w 2617398"/>
                  <a:gd name="connsiteY1" fmla="*/ 16778 h 939567"/>
                  <a:gd name="connsiteX2" fmla="*/ 1761721 w 2617398"/>
                  <a:gd name="connsiteY2" fmla="*/ 855677 h 939567"/>
                  <a:gd name="connsiteX3" fmla="*/ 2617398 w 2617398"/>
                  <a:gd name="connsiteY3" fmla="*/ 0 h 939567"/>
                  <a:gd name="connsiteX0" fmla="*/ 45 w 2617410"/>
                  <a:gd name="connsiteY0" fmla="*/ 939567 h 939567"/>
                  <a:gd name="connsiteX1" fmla="*/ 793294 w 2617410"/>
                  <a:gd name="connsiteY1" fmla="*/ 161558 h 939567"/>
                  <a:gd name="connsiteX2" fmla="*/ 1761733 w 2617410"/>
                  <a:gd name="connsiteY2" fmla="*/ 855677 h 939567"/>
                  <a:gd name="connsiteX3" fmla="*/ 2617410 w 2617410"/>
                  <a:gd name="connsiteY3" fmla="*/ 0 h 939567"/>
                  <a:gd name="connsiteX0" fmla="*/ 45 w 2617410"/>
                  <a:gd name="connsiteY0" fmla="*/ 939567 h 939567"/>
                  <a:gd name="connsiteX1" fmla="*/ 793294 w 2617410"/>
                  <a:gd name="connsiteY1" fmla="*/ 161558 h 939567"/>
                  <a:gd name="connsiteX2" fmla="*/ 1761733 w 2617410"/>
                  <a:gd name="connsiteY2" fmla="*/ 855677 h 939567"/>
                  <a:gd name="connsiteX3" fmla="*/ 2617410 w 2617410"/>
                  <a:gd name="connsiteY3" fmla="*/ 0 h 939567"/>
                  <a:gd name="connsiteX0" fmla="*/ 35 w 2617400"/>
                  <a:gd name="connsiteY0" fmla="*/ 939567 h 939567"/>
                  <a:gd name="connsiteX1" fmla="*/ 793284 w 2617400"/>
                  <a:gd name="connsiteY1" fmla="*/ 161558 h 939567"/>
                  <a:gd name="connsiteX2" fmla="*/ 1799823 w 2617400"/>
                  <a:gd name="connsiteY2" fmla="*/ 928067 h 939567"/>
                  <a:gd name="connsiteX3" fmla="*/ 2617400 w 2617400"/>
                  <a:gd name="connsiteY3" fmla="*/ 0 h 939567"/>
                  <a:gd name="connsiteX0" fmla="*/ 35 w 2617400"/>
                  <a:gd name="connsiteY0" fmla="*/ 939567 h 939567"/>
                  <a:gd name="connsiteX1" fmla="*/ 793284 w 2617400"/>
                  <a:gd name="connsiteY1" fmla="*/ 161558 h 939567"/>
                  <a:gd name="connsiteX2" fmla="*/ 1799823 w 2617400"/>
                  <a:gd name="connsiteY2" fmla="*/ 928067 h 939567"/>
                  <a:gd name="connsiteX3" fmla="*/ 2617400 w 2617400"/>
                  <a:gd name="connsiteY3" fmla="*/ 0 h 939567"/>
                  <a:gd name="connsiteX0" fmla="*/ 54 w 2617419"/>
                  <a:gd name="connsiteY0" fmla="*/ 939567 h 939567"/>
                  <a:gd name="connsiteX1" fmla="*/ 793303 w 2617419"/>
                  <a:gd name="connsiteY1" fmla="*/ 161558 h 939567"/>
                  <a:gd name="connsiteX2" fmla="*/ 1799842 w 2617419"/>
                  <a:gd name="connsiteY2" fmla="*/ 928067 h 939567"/>
                  <a:gd name="connsiteX3" fmla="*/ 2617419 w 2617419"/>
                  <a:gd name="connsiteY3" fmla="*/ 0 h 939567"/>
                  <a:gd name="connsiteX0" fmla="*/ 54 w 2602179"/>
                  <a:gd name="connsiteY0" fmla="*/ 778016 h 778016"/>
                  <a:gd name="connsiteX1" fmla="*/ 793303 w 2602179"/>
                  <a:gd name="connsiteY1" fmla="*/ 7 h 778016"/>
                  <a:gd name="connsiteX2" fmla="*/ 1799842 w 2602179"/>
                  <a:gd name="connsiteY2" fmla="*/ 766516 h 778016"/>
                  <a:gd name="connsiteX3" fmla="*/ 2602179 w 2602179"/>
                  <a:gd name="connsiteY3" fmla="*/ 28949 h 778016"/>
                  <a:gd name="connsiteX0" fmla="*/ 54 w 2438349"/>
                  <a:gd name="connsiteY0" fmla="*/ 778016 h 1419810"/>
                  <a:gd name="connsiteX1" fmla="*/ 793303 w 2438349"/>
                  <a:gd name="connsiteY1" fmla="*/ 7 h 1419810"/>
                  <a:gd name="connsiteX2" fmla="*/ 1799842 w 2438349"/>
                  <a:gd name="connsiteY2" fmla="*/ 766516 h 1419810"/>
                  <a:gd name="connsiteX3" fmla="*/ 2438349 w 2438349"/>
                  <a:gd name="connsiteY3" fmla="*/ 1309109 h 1419810"/>
                  <a:gd name="connsiteX0" fmla="*/ 54 w 2438349"/>
                  <a:gd name="connsiteY0" fmla="*/ 778016 h 1309109"/>
                  <a:gd name="connsiteX1" fmla="*/ 793303 w 2438349"/>
                  <a:gd name="connsiteY1" fmla="*/ 7 h 1309109"/>
                  <a:gd name="connsiteX2" fmla="*/ 1799842 w 2438349"/>
                  <a:gd name="connsiteY2" fmla="*/ 766516 h 1309109"/>
                  <a:gd name="connsiteX3" fmla="*/ 2438349 w 2438349"/>
                  <a:gd name="connsiteY3" fmla="*/ 1309109 h 1309109"/>
                  <a:gd name="connsiteX0" fmla="*/ 33 w 2438328"/>
                  <a:gd name="connsiteY0" fmla="*/ 778361 h 1309454"/>
                  <a:gd name="connsiteX1" fmla="*/ 793282 w 2438328"/>
                  <a:gd name="connsiteY1" fmla="*/ 352 h 1309454"/>
                  <a:gd name="connsiteX2" fmla="*/ 1628371 w 2438328"/>
                  <a:gd name="connsiteY2" fmla="*/ 686851 h 1309454"/>
                  <a:gd name="connsiteX3" fmla="*/ 2438328 w 2438328"/>
                  <a:gd name="connsiteY3" fmla="*/ 1309454 h 1309454"/>
                  <a:gd name="connsiteX0" fmla="*/ 33 w 2438328"/>
                  <a:gd name="connsiteY0" fmla="*/ 778494 h 1309587"/>
                  <a:gd name="connsiteX1" fmla="*/ 793282 w 2438328"/>
                  <a:gd name="connsiteY1" fmla="*/ 485 h 1309587"/>
                  <a:gd name="connsiteX2" fmla="*/ 1628371 w 2438328"/>
                  <a:gd name="connsiteY2" fmla="*/ 686984 h 1309587"/>
                  <a:gd name="connsiteX3" fmla="*/ 2438328 w 2438328"/>
                  <a:gd name="connsiteY3" fmla="*/ 1309587 h 1309587"/>
                  <a:gd name="connsiteX0" fmla="*/ 27 w 2556432"/>
                  <a:gd name="connsiteY0" fmla="*/ 671344 h 1309117"/>
                  <a:gd name="connsiteX1" fmla="*/ 911386 w 2556432"/>
                  <a:gd name="connsiteY1" fmla="*/ 15 h 1309117"/>
                  <a:gd name="connsiteX2" fmla="*/ 1746475 w 2556432"/>
                  <a:gd name="connsiteY2" fmla="*/ 686514 h 1309117"/>
                  <a:gd name="connsiteX3" fmla="*/ 2556432 w 2556432"/>
                  <a:gd name="connsiteY3" fmla="*/ 1309117 h 1309117"/>
                  <a:gd name="connsiteX0" fmla="*/ 0 w 2556405"/>
                  <a:gd name="connsiteY0" fmla="*/ 671347 h 1309120"/>
                  <a:gd name="connsiteX1" fmla="*/ 911359 w 2556405"/>
                  <a:gd name="connsiteY1" fmla="*/ 18 h 1309120"/>
                  <a:gd name="connsiteX2" fmla="*/ 1746448 w 2556405"/>
                  <a:gd name="connsiteY2" fmla="*/ 686517 h 1309120"/>
                  <a:gd name="connsiteX3" fmla="*/ 2556405 w 2556405"/>
                  <a:gd name="connsiteY3" fmla="*/ 1309120 h 1309120"/>
                  <a:gd name="connsiteX0" fmla="*/ 0 w 2556405"/>
                  <a:gd name="connsiteY0" fmla="*/ 672485 h 1310258"/>
                  <a:gd name="connsiteX1" fmla="*/ 911359 w 2556405"/>
                  <a:gd name="connsiteY1" fmla="*/ 1156 h 1310258"/>
                  <a:gd name="connsiteX2" fmla="*/ 1746448 w 2556405"/>
                  <a:gd name="connsiteY2" fmla="*/ 687655 h 1310258"/>
                  <a:gd name="connsiteX3" fmla="*/ 2556405 w 2556405"/>
                  <a:gd name="connsiteY3" fmla="*/ 1310258 h 1310258"/>
                  <a:gd name="connsiteX0" fmla="*/ 0 w 2556405"/>
                  <a:gd name="connsiteY0" fmla="*/ 672432 h 1310205"/>
                  <a:gd name="connsiteX1" fmla="*/ 911359 w 2556405"/>
                  <a:gd name="connsiteY1" fmla="*/ 1103 h 1310205"/>
                  <a:gd name="connsiteX2" fmla="*/ 1746448 w 2556405"/>
                  <a:gd name="connsiteY2" fmla="*/ 687602 h 1310205"/>
                  <a:gd name="connsiteX3" fmla="*/ 2556405 w 2556405"/>
                  <a:gd name="connsiteY3" fmla="*/ 1310205 h 1310205"/>
                  <a:gd name="connsiteX0" fmla="*/ 0 w 2556405"/>
                  <a:gd name="connsiteY0" fmla="*/ 672432 h 1310205"/>
                  <a:gd name="connsiteX1" fmla="*/ 778009 w 2556405"/>
                  <a:gd name="connsiteY1" fmla="*/ 1103 h 1310205"/>
                  <a:gd name="connsiteX2" fmla="*/ 1746448 w 2556405"/>
                  <a:gd name="connsiteY2" fmla="*/ 687602 h 1310205"/>
                  <a:gd name="connsiteX3" fmla="*/ 2556405 w 2556405"/>
                  <a:gd name="connsiteY3" fmla="*/ 1310205 h 1310205"/>
                  <a:gd name="connsiteX0" fmla="*/ 0 w 2556405"/>
                  <a:gd name="connsiteY0" fmla="*/ 672186 h 1309959"/>
                  <a:gd name="connsiteX1" fmla="*/ 778009 w 2556405"/>
                  <a:gd name="connsiteY1" fmla="*/ 857 h 1309959"/>
                  <a:gd name="connsiteX2" fmla="*/ 1746448 w 2556405"/>
                  <a:gd name="connsiteY2" fmla="*/ 687356 h 1309959"/>
                  <a:gd name="connsiteX3" fmla="*/ 2556405 w 2556405"/>
                  <a:gd name="connsiteY3" fmla="*/ 1309959 h 1309959"/>
                  <a:gd name="connsiteX0" fmla="*/ 0 w 2556405"/>
                  <a:gd name="connsiteY0" fmla="*/ 671347 h 1309120"/>
                  <a:gd name="connsiteX1" fmla="*/ 778009 w 2556405"/>
                  <a:gd name="connsiteY1" fmla="*/ 18 h 1309120"/>
                  <a:gd name="connsiteX2" fmla="*/ 1746448 w 2556405"/>
                  <a:gd name="connsiteY2" fmla="*/ 686517 h 1309120"/>
                  <a:gd name="connsiteX3" fmla="*/ 2556405 w 2556405"/>
                  <a:gd name="connsiteY3" fmla="*/ 1309120 h 1309120"/>
                  <a:gd name="connsiteX0" fmla="*/ 0 w 2556405"/>
                  <a:gd name="connsiteY0" fmla="*/ 671340 h 1309113"/>
                  <a:gd name="connsiteX1" fmla="*/ 778009 w 2556405"/>
                  <a:gd name="connsiteY1" fmla="*/ 11 h 1309113"/>
                  <a:gd name="connsiteX2" fmla="*/ 1746448 w 2556405"/>
                  <a:gd name="connsiteY2" fmla="*/ 686510 h 1309113"/>
                  <a:gd name="connsiteX3" fmla="*/ 2556405 w 2556405"/>
                  <a:gd name="connsiteY3" fmla="*/ 1309113 h 1309113"/>
                  <a:gd name="connsiteX0" fmla="*/ 0 w 2556405"/>
                  <a:gd name="connsiteY0" fmla="*/ 671340 h 1309113"/>
                  <a:gd name="connsiteX1" fmla="*/ 778009 w 2556405"/>
                  <a:gd name="connsiteY1" fmla="*/ 11 h 1309113"/>
                  <a:gd name="connsiteX2" fmla="*/ 1746448 w 2556405"/>
                  <a:gd name="connsiteY2" fmla="*/ 686510 h 1309113"/>
                  <a:gd name="connsiteX3" fmla="*/ 2556405 w 2556405"/>
                  <a:gd name="connsiteY3" fmla="*/ 1309113 h 1309113"/>
                  <a:gd name="connsiteX0" fmla="*/ 1 w 2593711"/>
                  <a:gd name="connsiteY0" fmla="*/ 644434 h 1309189"/>
                  <a:gd name="connsiteX1" fmla="*/ 815315 w 2593711"/>
                  <a:gd name="connsiteY1" fmla="*/ 87 h 1309189"/>
                  <a:gd name="connsiteX2" fmla="*/ 1783754 w 2593711"/>
                  <a:gd name="connsiteY2" fmla="*/ 686586 h 1309189"/>
                  <a:gd name="connsiteX3" fmla="*/ 2593711 w 2593711"/>
                  <a:gd name="connsiteY3" fmla="*/ 1309189 h 1309189"/>
                  <a:gd name="connsiteX0" fmla="*/ 1 w 2593711"/>
                  <a:gd name="connsiteY0" fmla="*/ 644481 h 1309236"/>
                  <a:gd name="connsiteX1" fmla="*/ 815315 w 2593711"/>
                  <a:gd name="connsiteY1" fmla="*/ 134 h 1309236"/>
                  <a:gd name="connsiteX2" fmla="*/ 1783754 w 2593711"/>
                  <a:gd name="connsiteY2" fmla="*/ 686633 h 1309236"/>
                  <a:gd name="connsiteX3" fmla="*/ 2593711 w 2593711"/>
                  <a:gd name="connsiteY3" fmla="*/ 1309236 h 1309236"/>
                  <a:gd name="connsiteX0" fmla="*/ 1 w 2638506"/>
                  <a:gd name="connsiteY0" fmla="*/ 648155 h 1309212"/>
                  <a:gd name="connsiteX1" fmla="*/ 860110 w 2638506"/>
                  <a:gd name="connsiteY1" fmla="*/ 110 h 1309212"/>
                  <a:gd name="connsiteX2" fmla="*/ 1828549 w 2638506"/>
                  <a:gd name="connsiteY2" fmla="*/ 686609 h 1309212"/>
                  <a:gd name="connsiteX3" fmla="*/ 2638506 w 2638506"/>
                  <a:gd name="connsiteY3" fmla="*/ 1309212 h 1309212"/>
                  <a:gd name="connsiteX0" fmla="*/ 1 w 2638506"/>
                  <a:gd name="connsiteY0" fmla="*/ 648197 h 1309254"/>
                  <a:gd name="connsiteX1" fmla="*/ 860110 w 2638506"/>
                  <a:gd name="connsiteY1" fmla="*/ 152 h 1309254"/>
                  <a:gd name="connsiteX2" fmla="*/ 1828549 w 2638506"/>
                  <a:gd name="connsiteY2" fmla="*/ 686651 h 1309254"/>
                  <a:gd name="connsiteX3" fmla="*/ 2638506 w 2638506"/>
                  <a:gd name="connsiteY3" fmla="*/ 1309254 h 1309254"/>
                  <a:gd name="connsiteX0" fmla="*/ 1 w 2638506"/>
                  <a:gd name="connsiteY0" fmla="*/ 649974 h 1311031"/>
                  <a:gd name="connsiteX1" fmla="*/ 860110 w 2638506"/>
                  <a:gd name="connsiteY1" fmla="*/ 1929 h 1311031"/>
                  <a:gd name="connsiteX2" fmla="*/ 1828549 w 2638506"/>
                  <a:gd name="connsiteY2" fmla="*/ 688428 h 1311031"/>
                  <a:gd name="connsiteX3" fmla="*/ 2638506 w 2638506"/>
                  <a:gd name="connsiteY3" fmla="*/ 1311031 h 1311031"/>
                  <a:gd name="connsiteX0" fmla="*/ 1 w 2638506"/>
                  <a:gd name="connsiteY0" fmla="*/ 649607 h 1310664"/>
                  <a:gd name="connsiteX1" fmla="*/ 860110 w 2638506"/>
                  <a:gd name="connsiteY1" fmla="*/ 1562 h 1310664"/>
                  <a:gd name="connsiteX2" fmla="*/ 1828549 w 2638506"/>
                  <a:gd name="connsiteY2" fmla="*/ 688061 h 1310664"/>
                  <a:gd name="connsiteX3" fmla="*/ 2638506 w 2638506"/>
                  <a:gd name="connsiteY3" fmla="*/ 1310664 h 1310664"/>
                  <a:gd name="connsiteX0" fmla="*/ 1 w 2638506"/>
                  <a:gd name="connsiteY0" fmla="*/ 649193 h 1310250"/>
                  <a:gd name="connsiteX1" fmla="*/ 860110 w 2638506"/>
                  <a:gd name="connsiteY1" fmla="*/ 1148 h 1310250"/>
                  <a:gd name="connsiteX2" fmla="*/ 1828549 w 2638506"/>
                  <a:gd name="connsiteY2" fmla="*/ 687647 h 1310250"/>
                  <a:gd name="connsiteX3" fmla="*/ 2638506 w 2638506"/>
                  <a:gd name="connsiteY3" fmla="*/ 1310250 h 1310250"/>
                  <a:gd name="connsiteX0" fmla="*/ 1 w 2638506"/>
                  <a:gd name="connsiteY0" fmla="*/ 650609 h 1311666"/>
                  <a:gd name="connsiteX1" fmla="*/ 860110 w 2638506"/>
                  <a:gd name="connsiteY1" fmla="*/ 2564 h 1311666"/>
                  <a:gd name="connsiteX2" fmla="*/ 1828549 w 2638506"/>
                  <a:gd name="connsiteY2" fmla="*/ 689063 h 1311666"/>
                  <a:gd name="connsiteX3" fmla="*/ 2638506 w 2638506"/>
                  <a:gd name="connsiteY3" fmla="*/ 1311666 h 1311666"/>
                  <a:gd name="connsiteX0" fmla="*/ 1 w 2638506"/>
                  <a:gd name="connsiteY0" fmla="*/ 649841 h 1310898"/>
                  <a:gd name="connsiteX1" fmla="*/ 860110 w 2638506"/>
                  <a:gd name="connsiteY1" fmla="*/ 1796 h 1310898"/>
                  <a:gd name="connsiteX2" fmla="*/ 1828549 w 2638506"/>
                  <a:gd name="connsiteY2" fmla="*/ 688295 h 1310898"/>
                  <a:gd name="connsiteX3" fmla="*/ 2638506 w 2638506"/>
                  <a:gd name="connsiteY3" fmla="*/ 1310898 h 1310898"/>
                  <a:gd name="connsiteX0" fmla="*/ 1 w 2638506"/>
                  <a:gd name="connsiteY0" fmla="*/ 649841 h 1310898"/>
                  <a:gd name="connsiteX1" fmla="*/ 860110 w 2638506"/>
                  <a:gd name="connsiteY1" fmla="*/ 1796 h 1310898"/>
                  <a:gd name="connsiteX2" fmla="*/ 1828549 w 2638506"/>
                  <a:gd name="connsiteY2" fmla="*/ 688295 h 1310898"/>
                  <a:gd name="connsiteX3" fmla="*/ 2638506 w 2638506"/>
                  <a:gd name="connsiteY3" fmla="*/ 1310898 h 1310898"/>
                  <a:gd name="connsiteX0" fmla="*/ 1 w 2664626"/>
                  <a:gd name="connsiteY0" fmla="*/ 635455 h 1309388"/>
                  <a:gd name="connsiteX1" fmla="*/ 886230 w 2664626"/>
                  <a:gd name="connsiteY1" fmla="*/ 286 h 1309388"/>
                  <a:gd name="connsiteX2" fmla="*/ 1854669 w 2664626"/>
                  <a:gd name="connsiteY2" fmla="*/ 686785 h 1309388"/>
                  <a:gd name="connsiteX3" fmla="*/ 2664626 w 2664626"/>
                  <a:gd name="connsiteY3" fmla="*/ 1309388 h 13093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664626" h="1309388">
                    <a:moveTo>
                      <a:pt x="1" y="635455"/>
                    </a:moveTo>
                    <a:cubicBezTo>
                      <a:pt x="160378" y="175322"/>
                      <a:pt x="577119" y="-8269"/>
                      <a:pt x="886230" y="286"/>
                    </a:cubicBezTo>
                    <a:cubicBezTo>
                      <a:pt x="1195341" y="8841"/>
                      <a:pt x="1553315" y="159574"/>
                      <a:pt x="1854669" y="686785"/>
                    </a:cubicBezTo>
                    <a:cubicBezTo>
                      <a:pt x="2156023" y="1213996"/>
                      <a:pt x="2452061" y="1284105"/>
                      <a:pt x="2664626" y="1309388"/>
                    </a:cubicBezTo>
                  </a:path>
                </a:pathLst>
              </a:custGeom>
              <a:grpFill/>
              <a:ln w="6350" cap="rnd">
                <a:solidFill>
                  <a:schemeClr val="accent3"/>
                </a:solidFill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 rtlCol="0" anchor="ctr">
                <a:noAutofit/>
              </a:bodyPr>
              <a:lstStyle/>
              <a:p>
                <a:pPr marL="0" marR="0" lvl="0" indent="0" algn="ctr" defTabSz="45719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Imago"/>
                  <a:ea typeface="+mn-ea"/>
                  <a:cs typeface="+mn-cs"/>
                </a:endParaRPr>
              </a:p>
            </p:txBody>
          </p:sp>
          <p:sp>
            <p:nvSpPr>
              <p:cNvPr id="1101" name="Freeform: Shape 92">
                <a:extLst>
                  <a:ext uri="{FF2B5EF4-FFF2-40B4-BE49-F238E27FC236}">
                    <a16:creationId xmlns:a16="http://schemas.microsoft.com/office/drawing/2014/main" id="{8EC643AF-051F-0BBF-FA96-D043E56725E5}"/>
                  </a:ext>
                </a:extLst>
              </p:cNvPr>
              <p:cNvSpPr/>
              <p:nvPr/>
            </p:nvSpPr>
            <p:spPr>
              <a:xfrm rot="4837695" flipV="1">
                <a:off x="3555458" y="2895410"/>
                <a:ext cx="1016473" cy="499490"/>
              </a:xfrm>
              <a:custGeom>
                <a:avLst/>
                <a:gdLst>
                  <a:gd name="connsiteX0" fmla="*/ 0 w 2617365"/>
                  <a:gd name="connsiteY0" fmla="*/ 939567 h 939567"/>
                  <a:gd name="connsiteX1" fmla="*/ 922789 w 2617365"/>
                  <a:gd name="connsiteY1" fmla="*/ 16778 h 939567"/>
                  <a:gd name="connsiteX2" fmla="*/ 1761688 w 2617365"/>
                  <a:gd name="connsiteY2" fmla="*/ 855677 h 939567"/>
                  <a:gd name="connsiteX3" fmla="*/ 2617365 w 2617365"/>
                  <a:gd name="connsiteY3" fmla="*/ 0 h 939567"/>
                  <a:gd name="connsiteX0" fmla="*/ 27 w 2617392"/>
                  <a:gd name="connsiteY0" fmla="*/ 939567 h 939567"/>
                  <a:gd name="connsiteX1" fmla="*/ 922816 w 2617392"/>
                  <a:gd name="connsiteY1" fmla="*/ 16778 h 939567"/>
                  <a:gd name="connsiteX2" fmla="*/ 1761715 w 2617392"/>
                  <a:gd name="connsiteY2" fmla="*/ 855677 h 939567"/>
                  <a:gd name="connsiteX3" fmla="*/ 2617392 w 2617392"/>
                  <a:gd name="connsiteY3" fmla="*/ 0 h 939567"/>
                  <a:gd name="connsiteX0" fmla="*/ 27 w 2617392"/>
                  <a:gd name="connsiteY0" fmla="*/ 939567 h 939567"/>
                  <a:gd name="connsiteX1" fmla="*/ 922816 w 2617392"/>
                  <a:gd name="connsiteY1" fmla="*/ 16778 h 939567"/>
                  <a:gd name="connsiteX2" fmla="*/ 1761715 w 2617392"/>
                  <a:gd name="connsiteY2" fmla="*/ 855677 h 939567"/>
                  <a:gd name="connsiteX3" fmla="*/ 2617392 w 2617392"/>
                  <a:gd name="connsiteY3" fmla="*/ 0 h 939567"/>
                  <a:gd name="connsiteX0" fmla="*/ 33 w 2617398"/>
                  <a:gd name="connsiteY0" fmla="*/ 939567 h 939567"/>
                  <a:gd name="connsiteX1" fmla="*/ 922822 w 2617398"/>
                  <a:gd name="connsiteY1" fmla="*/ 16778 h 939567"/>
                  <a:gd name="connsiteX2" fmla="*/ 1761721 w 2617398"/>
                  <a:gd name="connsiteY2" fmla="*/ 855677 h 939567"/>
                  <a:gd name="connsiteX3" fmla="*/ 2617398 w 2617398"/>
                  <a:gd name="connsiteY3" fmla="*/ 0 h 939567"/>
                  <a:gd name="connsiteX0" fmla="*/ 33 w 2617398"/>
                  <a:gd name="connsiteY0" fmla="*/ 939567 h 939567"/>
                  <a:gd name="connsiteX1" fmla="*/ 922822 w 2617398"/>
                  <a:gd name="connsiteY1" fmla="*/ 16778 h 939567"/>
                  <a:gd name="connsiteX2" fmla="*/ 1761721 w 2617398"/>
                  <a:gd name="connsiteY2" fmla="*/ 855677 h 939567"/>
                  <a:gd name="connsiteX3" fmla="*/ 2617398 w 2617398"/>
                  <a:gd name="connsiteY3" fmla="*/ 0 h 939567"/>
                  <a:gd name="connsiteX0" fmla="*/ 45 w 2617410"/>
                  <a:gd name="connsiteY0" fmla="*/ 939567 h 939567"/>
                  <a:gd name="connsiteX1" fmla="*/ 793294 w 2617410"/>
                  <a:gd name="connsiteY1" fmla="*/ 161558 h 939567"/>
                  <a:gd name="connsiteX2" fmla="*/ 1761733 w 2617410"/>
                  <a:gd name="connsiteY2" fmla="*/ 855677 h 939567"/>
                  <a:gd name="connsiteX3" fmla="*/ 2617410 w 2617410"/>
                  <a:gd name="connsiteY3" fmla="*/ 0 h 939567"/>
                  <a:gd name="connsiteX0" fmla="*/ 45 w 2617410"/>
                  <a:gd name="connsiteY0" fmla="*/ 939567 h 939567"/>
                  <a:gd name="connsiteX1" fmla="*/ 793294 w 2617410"/>
                  <a:gd name="connsiteY1" fmla="*/ 161558 h 939567"/>
                  <a:gd name="connsiteX2" fmla="*/ 1761733 w 2617410"/>
                  <a:gd name="connsiteY2" fmla="*/ 855677 h 939567"/>
                  <a:gd name="connsiteX3" fmla="*/ 2617410 w 2617410"/>
                  <a:gd name="connsiteY3" fmla="*/ 0 h 939567"/>
                  <a:gd name="connsiteX0" fmla="*/ 35 w 2617400"/>
                  <a:gd name="connsiteY0" fmla="*/ 939567 h 939567"/>
                  <a:gd name="connsiteX1" fmla="*/ 793284 w 2617400"/>
                  <a:gd name="connsiteY1" fmla="*/ 161558 h 939567"/>
                  <a:gd name="connsiteX2" fmla="*/ 1799823 w 2617400"/>
                  <a:gd name="connsiteY2" fmla="*/ 928067 h 939567"/>
                  <a:gd name="connsiteX3" fmla="*/ 2617400 w 2617400"/>
                  <a:gd name="connsiteY3" fmla="*/ 0 h 939567"/>
                  <a:gd name="connsiteX0" fmla="*/ 35 w 2617400"/>
                  <a:gd name="connsiteY0" fmla="*/ 939567 h 939567"/>
                  <a:gd name="connsiteX1" fmla="*/ 793284 w 2617400"/>
                  <a:gd name="connsiteY1" fmla="*/ 161558 h 939567"/>
                  <a:gd name="connsiteX2" fmla="*/ 1799823 w 2617400"/>
                  <a:gd name="connsiteY2" fmla="*/ 928067 h 939567"/>
                  <a:gd name="connsiteX3" fmla="*/ 2617400 w 2617400"/>
                  <a:gd name="connsiteY3" fmla="*/ 0 h 939567"/>
                  <a:gd name="connsiteX0" fmla="*/ 54 w 2617419"/>
                  <a:gd name="connsiteY0" fmla="*/ 939567 h 939567"/>
                  <a:gd name="connsiteX1" fmla="*/ 793303 w 2617419"/>
                  <a:gd name="connsiteY1" fmla="*/ 161558 h 939567"/>
                  <a:gd name="connsiteX2" fmla="*/ 1799842 w 2617419"/>
                  <a:gd name="connsiteY2" fmla="*/ 928067 h 939567"/>
                  <a:gd name="connsiteX3" fmla="*/ 2617419 w 2617419"/>
                  <a:gd name="connsiteY3" fmla="*/ 0 h 939567"/>
                  <a:gd name="connsiteX0" fmla="*/ 54 w 2602179"/>
                  <a:gd name="connsiteY0" fmla="*/ 778016 h 778016"/>
                  <a:gd name="connsiteX1" fmla="*/ 793303 w 2602179"/>
                  <a:gd name="connsiteY1" fmla="*/ 7 h 778016"/>
                  <a:gd name="connsiteX2" fmla="*/ 1799842 w 2602179"/>
                  <a:gd name="connsiteY2" fmla="*/ 766516 h 778016"/>
                  <a:gd name="connsiteX3" fmla="*/ 2602179 w 2602179"/>
                  <a:gd name="connsiteY3" fmla="*/ 28949 h 778016"/>
                  <a:gd name="connsiteX0" fmla="*/ 54 w 2438349"/>
                  <a:gd name="connsiteY0" fmla="*/ 778016 h 1419810"/>
                  <a:gd name="connsiteX1" fmla="*/ 793303 w 2438349"/>
                  <a:gd name="connsiteY1" fmla="*/ 7 h 1419810"/>
                  <a:gd name="connsiteX2" fmla="*/ 1799842 w 2438349"/>
                  <a:gd name="connsiteY2" fmla="*/ 766516 h 1419810"/>
                  <a:gd name="connsiteX3" fmla="*/ 2438349 w 2438349"/>
                  <a:gd name="connsiteY3" fmla="*/ 1309109 h 1419810"/>
                  <a:gd name="connsiteX0" fmla="*/ 54 w 2438349"/>
                  <a:gd name="connsiteY0" fmla="*/ 778016 h 1309109"/>
                  <a:gd name="connsiteX1" fmla="*/ 793303 w 2438349"/>
                  <a:gd name="connsiteY1" fmla="*/ 7 h 1309109"/>
                  <a:gd name="connsiteX2" fmla="*/ 1799842 w 2438349"/>
                  <a:gd name="connsiteY2" fmla="*/ 766516 h 1309109"/>
                  <a:gd name="connsiteX3" fmla="*/ 2438349 w 2438349"/>
                  <a:gd name="connsiteY3" fmla="*/ 1309109 h 1309109"/>
                  <a:gd name="connsiteX0" fmla="*/ 33 w 2438328"/>
                  <a:gd name="connsiteY0" fmla="*/ 778361 h 1309454"/>
                  <a:gd name="connsiteX1" fmla="*/ 793282 w 2438328"/>
                  <a:gd name="connsiteY1" fmla="*/ 352 h 1309454"/>
                  <a:gd name="connsiteX2" fmla="*/ 1628371 w 2438328"/>
                  <a:gd name="connsiteY2" fmla="*/ 686851 h 1309454"/>
                  <a:gd name="connsiteX3" fmla="*/ 2438328 w 2438328"/>
                  <a:gd name="connsiteY3" fmla="*/ 1309454 h 1309454"/>
                  <a:gd name="connsiteX0" fmla="*/ 33 w 2438328"/>
                  <a:gd name="connsiteY0" fmla="*/ 778494 h 1309587"/>
                  <a:gd name="connsiteX1" fmla="*/ 793282 w 2438328"/>
                  <a:gd name="connsiteY1" fmla="*/ 485 h 1309587"/>
                  <a:gd name="connsiteX2" fmla="*/ 1628371 w 2438328"/>
                  <a:gd name="connsiteY2" fmla="*/ 686984 h 1309587"/>
                  <a:gd name="connsiteX3" fmla="*/ 2438328 w 2438328"/>
                  <a:gd name="connsiteY3" fmla="*/ 1309587 h 1309587"/>
                  <a:gd name="connsiteX0" fmla="*/ 27 w 2556432"/>
                  <a:gd name="connsiteY0" fmla="*/ 671344 h 1309117"/>
                  <a:gd name="connsiteX1" fmla="*/ 911386 w 2556432"/>
                  <a:gd name="connsiteY1" fmla="*/ 15 h 1309117"/>
                  <a:gd name="connsiteX2" fmla="*/ 1746475 w 2556432"/>
                  <a:gd name="connsiteY2" fmla="*/ 686514 h 1309117"/>
                  <a:gd name="connsiteX3" fmla="*/ 2556432 w 2556432"/>
                  <a:gd name="connsiteY3" fmla="*/ 1309117 h 1309117"/>
                  <a:gd name="connsiteX0" fmla="*/ 0 w 2556405"/>
                  <a:gd name="connsiteY0" fmla="*/ 671347 h 1309120"/>
                  <a:gd name="connsiteX1" fmla="*/ 911359 w 2556405"/>
                  <a:gd name="connsiteY1" fmla="*/ 18 h 1309120"/>
                  <a:gd name="connsiteX2" fmla="*/ 1746448 w 2556405"/>
                  <a:gd name="connsiteY2" fmla="*/ 686517 h 1309120"/>
                  <a:gd name="connsiteX3" fmla="*/ 2556405 w 2556405"/>
                  <a:gd name="connsiteY3" fmla="*/ 1309120 h 1309120"/>
                  <a:gd name="connsiteX0" fmla="*/ 0 w 2556405"/>
                  <a:gd name="connsiteY0" fmla="*/ 672485 h 1310258"/>
                  <a:gd name="connsiteX1" fmla="*/ 911359 w 2556405"/>
                  <a:gd name="connsiteY1" fmla="*/ 1156 h 1310258"/>
                  <a:gd name="connsiteX2" fmla="*/ 1746448 w 2556405"/>
                  <a:gd name="connsiteY2" fmla="*/ 687655 h 1310258"/>
                  <a:gd name="connsiteX3" fmla="*/ 2556405 w 2556405"/>
                  <a:gd name="connsiteY3" fmla="*/ 1310258 h 1310258"/>
                  <a:gd name="connsiteX0" fmla="*/ 0 w 2556405"/>
                  <a:gd name="connsiteY0" fmla="*/ 672432 h 1310205"/>
                  <a:gd name="connsiteX1" fmla="*/ 911359 w 2556405"/>
                  <a:gd name="connsiteY1" fmla="*/ 1103 h 1310205"/>
                  <a:gd name="connsiteX2" fmla="*/ 1746448 w 2556405"/>
                  <a:gd name="connsiteY2" fmla="*/ 687602 h 1310205"/>
                  <a:gd name="connsiteX3" fmla="*/ 2556405 w 2556405"/>
                  <a:gd name="connsiteY3" fmla="*/ 1310205 h 1310205"/>
                  <a:gd name="connsiteX0" fmla="*/ 0 w 2556405"/>
                  <a:gd name="connsiteY0" fmla="*/ 672432 h 1310205"/>
                  <a:gd name="connsiteX1" fmla="*/ 778009 w 2556405"/>
                  <a:gd name="connsiteY1" fmla="*/ 1103 h 1310205"/>
                  <a:gd name="connsiteX2" fmla="*/ 1746448 w 2556405"/>
                  <a:gd name="connsiteY2" fmla="*/ 687602 h 1310205"/>
                  <a:gd name="connsiteX3" fmla="*/ 2556405 w 2556405"/>
                  <a:gd name="connsiteY3" fmla="*/ 1310205 h 1310205"/>
                  <a:gd name="connsiteX0" fmla="*/ 0 w 2556405"/>
                  <a:gd name="connsiteY0" fmla="*/ 672186 h 1309959"/>
                  <a:gd name="connsiteX1" fmla="*/ 778009 w 2556405"/>
                  <a:gd name="connsiteY1" fmla="*/ 857 h 1309959"/>
                  <a:gd name="connsiteX2" fmla="*/ 1746448 w 2556405"/>
                  <a:gd name="connsiteY2" fmla="*/ 687356 h 1309959"/>
                  <a:gd name="connsiteX3" fmla="*/ 2556405 w 2556405"/>
                  <a:gd name="connsiteY3" fmla="*/ 1309959 h 1309959"/>
                  <a:gd name="connsiteX0" fmla="*/ 0 w 2556405"/>
                  <a:gd name="connsiteY0" fmla="*/ 671347 h 1309120"/>
                  <a:gd name="connsiteX1" fmla="*/ 778009 w 2556405"/>
                  <a:gd name="connsiteY1" fmla="*/ 18 h 1309120"/>
                  <a:gd name="connsiteX2" fmla="*/ 1746448 w 2556405"/>
                  <a:gd name="connsiteY2" fmla="*/ 686517 h 1309120"/>
                  <a:gd name="connsiteX3" fmla="*/ 2556405 w 2556405"/>
                  <a:gd name="connsiteY3" fmla="*/ 1309120 h 1309120"/>
                  <a:gd name="connsiteX0" fmla="*/ 0 w 2556405"/>
                  <a:gd name="connsiteY0" fmla="*/ 671340 h 1309113"/>
                  <a:gd name="connsiteX1" fmla="*/ 778009 w 2556405"/>
                  <a:gd name="connsiteY1" fmla="*/ 11 h 1309113"/>
                  <a:gd name="connsiteX2" fmla="*/ 1746448 w 2556405"/>
                  <a:gd name="connsiteY2" fmla="*/ 686510 h 1309113"/>
                  <a:gd name="connsiteX3" fmla="*/ 2556405 w 2556405"/>
                  <a:gd name="connsiteY3" fmla="*/ 1309113 h 1309113"/>
                  <a:gd name="connsiteX0" fmla="*/ 0 w 2556405"/>
                  <a:gd name="connsiteY0" fmla="*/ 671340 h 1309113"/>
                  <a:gd name="connsiteX1" fmla="*/ 778009 w 2556405"/>
                  <a:gd name="connsiteY1" fmla="*/ 11 h 1309113"/>
                  <a:gd name="connsiteX2" fmla="*/ 1746448 w 2556405"/>
                  <a:gd name="connsiteY2" fmla="*/ 686510 h 1309113"/>
                  <a:gd name="connsiteX3" fmla="*/ 2556405 w 2556405"/>
                  <a:gd name="connsiteY3" fmla="*/ 1309113 h 1309113"/>
                  <a:gd name="connsiteX0" fmla="*/ 1 w 2593711"/>
                  <a:gd name="connsiteY0" fmla="*/ 644434 h 1309189"/>
                  <a:gd name="connsiteX1" fmla="*/ 815315 w 2593711"/>
                  <a:gd name="connsiteY1" fmla="*/ 87 h 1309189"/>
                  <a:gd name="connsiteX2" fmla="*/ 1783754 w 2593711"/>
                  <a:gd name="connsiteY2" fmla="*/ 686586 h 1309189"/>
                  <a:gd name="connsiteX3" fmla="*/ 2593711 w 2593711"/>
                  <a:gd name="connsiteY3" fmla="*/ 1309189 h 1309189"/>
                  <a:gd name="connsiteX0" fmla="*/ 1 w 2593711"/>
                  <a:gd name="connsiteY0" fmla="*/ 644481 h 1309236"/>
                  <a:gd name="connsiteX1" fmla="*/ 815315 w 2593711"/>
                  <a:gd name="connsiteY1" fmla="*/ 134 h 1309236"/>
                  <a:gd name="connsiteX2" fmla="*/ 1783754 w 2593711"/>
                  <a:gd name="connsiteY2" fmla="*/ 686633 h 1309236"/>
                  <a:gd name="connsiteX3" fmla="*/ 2593711 w 2593711"/>
                  <a:gd name="connsiteY3" fmla="*/ 1309236 h 1309236"/>
                  <a:gd name="connsiteX0" fmla="*/ 1 w 2638506"/>
                  <a:gd name="connsiteY0" fmla="*/ 648155 h 1309212"/>
                  <a:gd name="connsiteX1" fmla="*/ 860110 w 2638506"/>
                  <a:gd name="connsiteY1" fmla="*/ 110 h 1309212"/>
                  <a:gd name="connsiteX2" fmla="*/ 1828549 w 2638506"/>
                  <a:gd name="connsiteY2" fmla="*/ 686609 h 1309212"/>
                  <a:gd name="connsiteX3" fmla="*/ 2638506 w 2638506"/>
                  <a:gd name="connsiteY3" fmla="*/ 1309212 h 1309212"/>
                  <a:gd name="connsiteX0" fmla="*/ 1 w 2638506"/>
                  <a:gd name="connsiteY0" fmla="*/ 648197 h 1309254"/>
                  <a:gd name="connsiteX1" fmla="*/ 860110 w 2638506"/>
                  <a:gd name="connsiteY1" fmla="*/ 152 h 1309254"/>
                  <a:gd name="connsiteX2" fmla="*/ 1828549 w 2638506"/>
                  <a:gd name="connsiteY2" fmla="*/ 686651 h 1309254"/>
                  <a:gd name="connsiteX3" fmla="*/ 2638506 w 2638506"/>
                  <a:gd name="connsiteY3" fmla="*/ 1309254 h 1309254"/>
                  <a:gd name="connsiteX0" fmla="*/ 1 w 2638506"/>
                  <a:gd name="connsiteY0" fmla="*/ 649974 h 1311031"/>
                  <a:gd name="connsiteX1" fmla="*/ 860110 w 2638506"/>
                  <a:gd name="connsiteY1" fmla="*/ 1929 h 1311031"/>
                  <a:gd name="connsiteX2" fmla="*/ 1828549 w 2638506"/>
                  <a:gd name="connsiteY2" fmla="*/ 688428 h 1311031"/>
                  <a:gd name="connsiteX3" fmla="*/ 2638506 w 2638506"/>
                  <a:gd name="connsiteY3" fmla="*/ 1311031 h 1311031"/>
                  <a:gd name="connsiteX0" fmla="*/ 1 w 2638506"/>
                  <a:gd name="connsiteY0" fmla="*/ 649607 h 1310664"/>
                  <a:gd name="connsiteX1" fmla="*/ 860110 w 2638506"/>
                  <a:gd name="connsiteY1" fmla="*/ 1562 h 1310664"/>
                  <a:gd name="connsiteX2" fmla="*/ 1828549 w 2638506"/>
                  <a:gd name="connsiteY2" fmla="*/ 688061 h 1310664"/>
                  <a:gd name="connsiteX3" fmla="*/ 2638506 w 2638506"/>
                  <a:gd name="connsiteY3" fmla="*/ 1310664 h 1310664"/>
                  <a:gd name="connsiteX0" fmla="*/ 1 w 2638506"/>
                  <a:gd name="connsiteY0" fmla="*/ 649193 h 1310250"/>
                  <a:gd name="connsiteX1" fmla="*/ 860110 w 2638506"/>
                  <a:gd name="connsiteY1" fmla="*/ 1148 h 1310250"/>
                  <a:gd name="connsiteX2" fmla="*/ 1828549 w 2638506"/>
                  <a:gd name="connsiteY2" fmla="*/ 687647 h 1310250"/>
                  <a:gd name="connsiteX3" fmla="*/ 2638506 w 2638506"/>
                  <a:gd name="connsiteY3" fmla="*/ 1310250 h 1310250"/>
                  <a:gd name="connsiteX0" fmla="*/ 1 w 2638506"/>
                  <a:gd name="connsiteY0" fmla="*/ 650609 h 1311666"/>
                  <a:gd name="connsiteX1" fmla="*/ 860110 w 2638506"/>
                  <a:gd name="connsiteY1" fmla="*/ 2564 h 1311666"/>
                  <a:gd name="connsiteX2" fmla="*/ 1828549 w 2638506"/>
                  <a:gd name="connsiteY2" fmla="*/ 689063 h 1311666"/>
                  <a:gd name="connsiteX3" fmla="*/ 2638506 w 2638506"/>
                  <a:gd name="connsiteY3" fmla="*/ 1311666 h 1311666"/>
                  <a:gd name="connsiteX0" fmla="*/ 1 w 2638506"/>
                  <a:gd name="connsiteY0" fmla="*/ 649841 h 1310898"/>
                  <a:gd name="connsiteX1" fmla="*/ 860110 w 2638506"/>
                  <a:gd name="connsiteY1" fmla="*/ 1796 h 1310898"/>
                  <a:gd name="connsiteX2" fmla="*/ 1828549 w 2638506"/>
                  <a:gd name="connsiteY2" fmla="*/ 688295 h 1310898"/>
                  <a:gd name="connsiteX3" fmla="*/ 2638506 w 2638506"/>
                  <a:gd name="connsiteY3" fmla="*/ 1310898 h 1310898"/>
                  <a:gd name="connsiteX0" fmla="*/ 1 w 2638506"/>
                  <a:gd name="connsiteY0" fmla="*/ 649841 h 1310898"/>
                  <a:gd name="connsiteX1" fmla="*/ 860110 w 2638506"/>
                  <a:gd name="connsiteY1" fmla="*/ 1796 h 1310898"/>
                  <a:gd name="connsiteX2" fmla="*/ 1828549 w 2638506"/>
                  <a:gd name="connsiteY2" fmla="*/ 688295 h 1310898"/>
                  <a:gd name="connsiteX3" fmla="*/ 2638506 w 2638506"/>
                  <a:gd name="connsiteY3" fmla="*/ 1310898 h 1310898"/>
                  <a:gd name="connsiteX0" fmla="*/ 1 w 2664626"/>
                  <a:gd name="connsiteY0" fmla="*/ 635455 h 1309388"/>
                  <a:gd name="connsiteX1" fmla="*/ 886230 w 2664626"/>
                  <a:gd name="connsiteY1" fmla="*/ 286 h 1309388"/>
                  <a:gd name="connsiteX2" fmla="*/ 1854669 w 2664626"/>
                  <a:gd name="connsiteY2" fmla="*/ 686785 h 1309388"/>
                  <a:gd name="connsiteX3" fmla="*/ 2664626 w 2664626"/>
                  <a:gd name="connsiteY3" fmla="*/ 1309388 h 13093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664626" h="1309388">
                    <a:moveTo>
                      <a:pt x="1" y="635455"/>
                    </a:moveTo>
                    <a:cubicBezTo>
                      <a:pt x="160378" y="175322"/>
                      <a:pt x="577119" y="-8269"/>
                      <a:pt x="886230" y="286"/>
                    </a:cubicBezTo>
                    <a:cubicBezTo>
                      <a:pt x="1195341" y="8841"/>
                      <a:pt x="1553315" y="159574"/>
                      <a:pt x="1854669" y="686785"/>
                    </a:cubicBezTo>
                    <a:cubicBezTo>
                      <a:pt x="2156023" y="1213996"/>
                      <a:pt x="2452061" y="1284105"/>
                      <a:pt x="2664626" y="1309388"/>
                    </a:cubicBezTo>
                  </a:path>
                </a:pathLst>
              </a:custGeom>
              <a:grpFill/>
              <a:ln w="6350" cap="rnd">
                <a:solidFill>
                  <a:schemeClr val="accent3"/>
                </a:solidFill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 rtlCol="0" anchor="ctr">
                <a:noAutofit/>
              </a:bodyPr>
              <a:lstStyle/>
              <a:p>
                <a:pPr marL="0" marR="0" lvl="0" indent="0" algn="ctr" defTabSz="45719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Imago"/>
                  <a:ea typeface="+mn-ea"/>
                  <a:cs typeface="+mn-cs"/>
                </a:endParaRPr>
              </a:p>
            </p:txBody>
          </p:sp>
          <p:sp>
            <p:nvSpPr>
              <p:cNvPr id="1102" name="Freeform: Shape 93">
                <a:extLst>
                  <a:ext uri="{FF2B5EF4-FFF2-40B4-BE49-F238E27FC236}">
                    <a16:creationId xmlns:a16="http://schemas.microsoft.com/office/drawing/2014/main" id="{EC10428D-9C82-018E-B2C6-A5AD69D2AB56}"/>
                  </a:ext>
                </a:extLst>
              </p:cNvPr>
              <p:cNvSpPr/>
              <p:nvPr/>
            </p:nvSpPr>
            <p:spPr>
              <a:xfrm rot="4837695" flipH="1">
                <a:off x="4082897" y="2290767"/>
                <a:ext cx="255606" cy="283890"/>
              </a:xfrm>
              <a:custGeom>
                <a:avLst/>
                <a:gdLst>
                  <a:gd name="connsiteX0" fmla="*/ 0 w 2617365"/>
                  <a:gd name="connsiteY0" fmla="*/ 939567 h 939567"/>
                  <a:gd name="connsiteX1" fmla="*/ 922789 w 2617365"/>
                  <a:gd name="connsiteY1" fmla="*/ 16778 h 939567"/>
                  <a:gd name="connsiteX2" fmla="*/ 1761688 w 2617365"/>
                  <a:gd name="connsiteY2" fmla="*/ 855677 h 939567"/>
                  <a:gd name="connsiteX3" fmla="*/ 2617365 w 2617365"/>
                  <a:gd name="connsiteY3" fmla="*/ 0 h 939567"/>
                  <a:gd name="connsiteX0" fmla="*/ 27 w 2617392"/>
                  <a:gd name="connsiteY0" fmla="*/ 939567 h 939567"/>
                  <a:gd name="connsiteX1" fmla="*/ 922816 w 2617392"/>
                  <a:gd name="connsiteY1" fmla="*/ 16778 h 939567"/>
                  <a:gd name="connsiteX2" fmla="*/ 1761715 w 2617392"/>
                  <a:gd name="connsiteY2" fmla="*/ 855677 h 939567"/>
                  <a:gd name="connsiteX3" fmla="*/ 2617392 w 2617392"/>
                  <a:gd name="connsiteY3" fmla="*/ 0 h 939567"/>
                  <a:gd name="connsiteX0" fmla="*/ 27 w 2617392"/>
                  <a:gd name="connsiteY0" fmla="*/ 939567 h 939567"/>
                  <a:gd name="connsiteX1" fmla="*/ 922816 w 2617392"/>
                  <a:gd name="connsiteY1" fmla="*/ 16778 h 939567"/>
                  <a:gd name="connsiteX2" fmla="*/ 1761715 w 2617392"/>
                  <a:gd name="connsiteY2" fmla="*/ 855677 h 939567"/>
                  <a:gd name="connsiteX3" fmla="*/ 2617392 w 2617392"/>
                  <a:gd name="connsiteY3" fmla="*/ 0 h 939567"/>
                  <a:gd name="connsiteX0" fmla="*/ 33 w 2617398"/>
                  <a:gd name="connsiteY0" fmla="*/ 939567 h 939567"/>
                  <a:gd name="connsiteX1" fmla="*/ 922822 w 2617398"/>
                  <a:gd name="connsiteY1" fmla="*/ 16778 h 939567"/>
                  <a:gd name="connsiteX2" fmla="*/ 1761721 w 2617398"/>
                  <a:gd name="connsiteY2" fmla="*/ 855677 h 939567"/>
                  <a:gd name="connsiteX3" fmla="*/ 2617398 w 2617398"/>
                  <a:gd name="connsiteY3" fmla="*/ 0 h 939567"/>
                  <a:gd name="connsiteX0" fmla="*/ 33 w 2617398"/>
                  <a:gd name="connsiteY0" fmla="*/ 939567 h 939567"/>
                  <a:gd name="connsiteX1" fmla="*/ 922822 w 2617398"/>
                  <a:gd name="connsiteY1" fmla="*/ 16778 h 939567"/>
                  <a:gd name="connsiteX2" fmla="*/ 1761721 w 2617398"/>
                  <a:gd name="connsiteY2" fmla="*/ 855677 h 939567"/>
                  <a:gd name="connsiteX3" fmla="*/ 2617398 w 2617398"/>
                  <a:gd name="connsiteY3" fmla="*/ 0 h 939567"/>
                  <a:gd name="connsiteX0" fmla="*/ 45 w 2617410"/>
                  <a:gd name="connsiteY0" fmla="*/ 939567 h 939567"/>
                  <a:gd name="connsiteX1" fmla="*/ 793294 w 2617410"/>
                  <a:gd name="connsiteY1" fmla="*/ 161558 h 939567"/>
                  <a:gd name="connsiteX2" fmla="*/ 1761733 w 2617410"/>
                  <a:gd name="connsiteY2" fmla="*/ 855677 h 939567"/>
                  <a:gd name="connsiteX3" fmla="*/ 2617410 w 2617410"/>
                  <a:gd name="connsiteY3" fmla="*/ 0 h 939567"/>
                  <a:gd name="connsiteX0" fmla="*/ 45 w 2617410"/>
                  <a:gd name="connsiteY0" fmla="*/ 939567 h 939567"/>
                  <a:gd name="connsiteX1" fmla="*/ 793294 w 2617410"/>
                  <a:gd name="connsiteY1" fmla="*/ 161558 h 939567"/>
                  <a:gd name="connsiteX2" fmla="*/ 1761733 w 2617410"/>
                  <a:gd name="connsiteY2" fmla="*/ 855677 h 939567"/>
                  <a:gd name="connsiteX3" fmla="*/ 2617410 w 2617410"/>
                  <a:gd name="connsiteY3" fmla="*/ 0 h 939567"/>
                  <a:gd name="connsiteX0" fmla="*/ 35 w 2617400"/>
                  <a:gd name="connsiteY0" fmla="*/ 939567 h 939567"/>
                  <a:gd name="connsiteX1" fmla="*/ 793284 w 2617400"/>
                  <a:gd name="connsiteY1" fmla="*/ 161558 h 939567"/>
                  <a:gd name="connsiteX2" fmla="*/ 1799823 w 2617400"/>
                  <a:gd name="connsiteY2" fmla="*/ 928067 h 939567"/>
                  <a:gd name="connsiteX3" fmla="*/ 2617400 w 2617400"/>
                  <a:gd name="connsiteY3" fmla="*/ 0 h 939567"/>
                  <a:gd name="connsiteX0" fmla="*/ 35 w 2617400"/>
                  <a:gd name="connsiteY0" fmla="*/ 939567 h 939567"/>
                  <a:gd name="connsiteX1" fmla="*/ 793284 w 2617400"/>
                  <a:gd name="connsiteY1" fmla="*/ 161558 h 939567"/>
                  <a:gd name="connsiteX2" fmla="*/ 1799823 w 2617400"/>
                  <a:gd name="connsiteY2" fmla="*/ 928067 h 939567"/>
                  <a:gd name="connsiteX3" fmla="*/ 2617400 w 2617400"/>
                  <a:gd name="connsiteY3" fmla="*/ 0 h 939567"/>
                  <a:gd name="connsiteX0" fmla="*/ 54 w 2617419"/>
                  <a:gd name="connsiteY0" fmla="*/ 939567 h 939567"/>
                  <a:gd name="connsiteX1" fmla="*/ 793303 w 2617419"/>
                  <a:gd name="connsiteY1" fmla="*/ 161558 h 939567"/>
                  <a:gd name="connsiteX2" fmla="*/ 1799842 w 2617419"/>
                  <a:gd name="connsiteY2" fmla="*/ 928067 h 939567"/>
                  <a:gd name="connsiteX3" fmla="*/ 2617419 w 2617419"/>
                  <a:gd name="connsiteY3" fmla="*/ 0 h 939567"/>
                  <a:gd name="connsiteX0" fmla="*/ 54 w 2602179"/>
                  <a:gd name="connsiteY0" fmla="*/ 778016 h 778016"/>
                  <a:gd name="connsiteX1" fmla="*/ 793303 w 2602179"/>
                  <a:gd name="connsiteY1" fmla="*/ 7 h 778016"/>
                  <a:gd name="connsiteX2" fmla="*/ 1799842 w 2602179"/>
                  <a:gd name="connsiteY2" fmla="*/ 766516 h 778016"/>
                  <a:gd name="connsiteX3" fmla="*/ 2602179 w 2602179"/>
                  <a:gd name="connsiteY3" fmla="*/ 28949 h 778016"/>
                  <a:gd name="connsiteX0" fmla="*/ 54 w 2438349"/>
                  <a:gd name="connsiteY0" fmla="*/ 778016 h 1419810"/>
                  <a:gd name="connsiteX1" fmla="*/ 793303 w 2438349"/>
                  <a:gd name="connsiteY1" fmla="*/ 7 h 1419810"/>
                  <a:gd name="connsiteX2" fmla="*/ 1799842 w 2438349"/>
                  <a:gd name="connsiteY2" fmla="*/ 766516 h 1419810"/>
                  <a:gd name="connsiteX3" fmla="*/ 2438349 w 2438349"/>
                  <a:gd name="connsiteY3" fmla="*/ 1309109 h 1419810"/>
                  <a:gd name="connsiteX0" fmla="*/ 54 w 2438349"/>
                  <a:gd name="connsiteY0" fmla="*/ 778016 h 1309109"/>
                  <a:gd name="connsiteX1" fmla="*/ 793303 w 2438349"/>
                  <a:gd name="connsiteY1" fmla="*/ 7 h 1309109"/>
                  <a:gd name="connsiteX2" fmla="*/ 1799842 w 2438349"/>
                  <a:gd name="connsiteY2" fmla="*/ 766516 h 1309109"/>
                  <a:gd name="connsiteX3" fmla="*/ 2438349 w 2438349"/>
                  <a:gd name="connsiteY3" fmla="*/ 1309109 h 1309109"/>
                  <a:gd name="connsiteX0" fmla="*/ 33 w 2438328"/>
                  <a:gd name="connsiteY0" fmla="*/ 778361 h 1309454"/>
                  <a:gd name="connsiteX1" fmla="*/ 793282 w 2438328"/>
                  <a:gd name="connsiteY1" fmla="*/ 352 h 1309454"/>
                  <a:gd name="connsiteX2" fmla="*/ 1628371 w 2438328"/>
                  <a:gd name="connsiteY2" fmla="*/ 686851 h 1309454"/>
                  <a:gd name="connsiteX3" fmla="*/ 2438328 w 2438328"/>
                  <a:gd name="connsiteY3" fmla="*/ 1309454 h 1309454"/>
                  <a:gd name="connsiteX0" fmla="*/ 33 w 2438328"/>
                  <a:gd name="connsiteY0" fmla="*/ 778494 h 1309587"/>
                  <a:gd name="connsiteX1" fmla="*/ 793282 w 2438328"/>
                  <a:gd name="connsiteY1" fmla="*/ 485 h 1309587"/>
                  <a:gd name="connsiteX2" fmla="*/ 1628371 w 2438328"/>
                  <a:gd name="connsiteY2" fmla="*/ 686984 h 1309587"/>
                  <a:gd name="connsiteX3" fmla="*/ 2438328 w 2438328"/>
                  <a:gd name="connsiteY3" fmla="*/ 1309587 h 1309587"/>
                  <a:gd name="connsiteX0" fmla="*/ 27 w 2556432"/>
                  <a:gd name="connsiteY0" fmla="*/ 671344 h 1309117"/>
                  <a:gd name="connsiteX1" fmla="*/ 911386 w 2556432"/>
                  <a:gd name="connsiteY1" fmla="*/ 15 h 1309117"/>
                  <a:gd name="connsiteX2" fmla="*/ 1746475 w 2556432"/>
                  <a:gd name="connsiteY2" fmla="*/ 686514 h 1309117"/>
                  <a:gd name="connsiteX3" fmla="*/ 2556432 w 2556432"/>
                  <a:gd name="connsiteY3" fmla="*/ 1309117 h 1309117"/>
                  <a:gd name="connsiteX0" fmla="*/ 0 w 2556405"/>
                  <a:gd name="connsiteY0" fmla="*/ 671347 h 1309120"/>
                  <a:gd name="connsiteX1" fmla="*/ 911359 w 2556405"/>
                  <a:gd name="connsiteY1" fmla="*/ 18 h 1309120"/>
                  <a:gd name="connsiteX2" fmla="*/ 1746448 w 2556405"/>
                  <a:gd name="connsiteY2" fmla="*/ 686517 h 1309120"/>
                  <a:gd name="connsiteX3" fmla="*/ 2556405 w 2556405"/>
                  <a:gd name="connsiteY3" fmla="*/ 1309120 h 1309120"/>
                  <a:gd name="connsiteX0" fmla="*/ 0 w 2556405"/>
                  <a:gd name="connsiteY0" fmla="*/ 672485 h 1310258"/>
                  <a:gd name="connsiteX1" fmla="*/ 911359 w 2556405"/>
                  <a:gd name="connsiteY1" fmla="*/ 1156 h 1310258"/>
                  <a:gd name="connsiteX2" fmla="*/ 1746448 w 2556405"/>
                  <a:gd name="connsiteY2" fmla="*/ 687655 h 1310258"/>
                  <a:gd name="connsiteX3" fmla="*/ 2556405 w 2556405"/>
                  <a:gd name="connsiteY3" fmla="*/ 1310258 h 1310258"/>
                  <a:gd name="connsiteX0" fmla="*/ 0 w 2556405"/>
                  <a:gd name="connsiteY0" fmla="*/ 672432 h 1310205"/>
                  <a:gd name="connsiteX1" fmla="*/ 911359 w 2556405"/>
                  <a:gd name="connsiteY1" fmla="*/ 1103 h 1310205"/>
                  <a:gd name="connsiteX2" fmla="*/ 1746448 w 2556405"/>
                  <a:gd name="connsiteY2" fmla="*/ 687602 h 1310205"/>
                  <a:gd name="connsiteX3" fmla="*/ 2556405 w 2556405"/>
                  <a:gd name="connsiteY3" fmla="*/ 1310205 h 1310205"/>
                  <a:gd name="connsiteX0" fmla="*/ 0 w 2556405"/>
                  <a:gd name="connsiteY0" fmla="*/ 672432 h 1310205"/>
                  <a:gd name="connsiteX1" fmla="*/ 778009 w 2556405"/>
                  <a:gd name="connsiteY1" fmla="*/ 1103 h 1310205"/>
                  <a:gd name="connsiteX2" fmla="*/ 1746448 w 2556405"/>
                  <a:gd name="connsiteY2" fmla="*/ 687602 h 1310205"/>
                  <a:gd name="connsiteX3" fmla="*/ 2556405 w 2556405"/>
                  <a:gd name="connsiteY3" fmla="*/ 1310205 h 1310205"/>
                  <a:gd name="connsiteX0" fmla="*/ 0 w 2556405"/>
                  <a:gd name="connsiteY0" fmla="*/ 672186 h 1309959"/>
                  <a:gd name="connsiteX1" fmla="*/ 778009 w 2556405"/>
                  <a:gd name="connsiteY1" fmla="*/ 857 h 1309959"/>
                  <a:gd name="connsiteX2" fmla="*/ 1746448 w 2556405"/>
                  <a:gd name="connsiteY2" fmla="*/ 687356 h 1309959"/>
                  <a:gd name="connsiteX3" fmla="*/ 2556405 w 2556405"/>
                  <a:gd name="connsiteY3" fmla="*/ 1309959 h 1309959"/>
                  <a:gd name="connsiteX0" fmla="*/ 0 w 2556405"/>
                  <a:gd name="connsiteY0" fmla="*/ 671347 h 1309120"/>
                  <a:gd name="connsiteX1" fmla="*/ 778009 w 2556405"/>
                  <a:gd name="connsiteY1" fmla="*/ 18 h 1309120"/>
                  <a:gd name="connsiteX2" fmla="*/ 1746448 w 2556405"/>
                  <a:gd name="connsiteY2" fmla="*/ 686517 h 1309120"/>
                  <a:gd name="connsiteX3" fmla="*/ 2556405 w 2556405"/>
                  <a:gd name="connsiteY3" fmla="*/ 1309120 h 1309120"/>
                  <a:gd name="connsiteX0" fmla="*/ 0 w 2556405"/>
                  <a:gd name="connsiteY0" fmla="*/ 671340 h 1309113"/>
                  <a:gd name="connsiteX1" fmla="*/ 778009 w 2556405"/>
                  <a:gd name="connsiteY1" fmla="*/ 11 h 1309113"/>
                  <a:gd name="connsiteX2" fmla="*/ 1746448 w 2556405"/>
                  <a:gd name="connsiteY2" fmla="*/ 686510 h 1309113"/>
                  <a:gd name="connsiteX3" fmla="*/ 2556405 w 2556405"/>
                  <a:gd name="connsiteY3" fmla="*/ 1309113 h 1309113"/>
                  <a:gd name="connsiteX0" fmla="*/ 0 w 2556405"/>
                  <a:gd name="connsiteY0" fmla="*/ 671340 h 1309113"/>
                  <a:gd name="connsiteX1" fmla="*/ 778009 w 2556405"/>
                  <a:gd name="connsiteY1" fmla="*/ 11 h 1309113"/>
                  <a:gd name="connsiteX2" fmla="*/ 1746448 w 2556405"/>
                  <a:gd name="connsiteY2" fmla="*/ 686510 h 1309113"/>
                  <a:gd name="connsiteX3" fmla="*/ 2556405 w 2556405"/>
                  <a:gd name="connsiteY3" fmla="*/ 1309113 h 1309113"/>
                  <a:gd name="connsiteX0" fmla="*/ 1 w 2593711"/>
                  <a:gd name="connsiteY0" fmla="*/ 644434 h 1309189"/>
                  <a:gd name="connsiteX1" fmla="*/ 815315 w 2593711"/>
                  <a:gd name="connsiteY1" fmla="*/ 87 h 1309189"/>
                  <a:gd name="connsiteX2" fmla="*/ 1783754 w 2593711"/>
                  <a:gd name="connsiteY2" fmla="*/ 686586 h 1309189"/>
                  <a:gd name="connsiteX3" fmla="*/ 2593711 w 2593711"/>
                  <a:gd name="connsiteY3" fmla="*/ 1309189 h 1309189"/>
                  <a:gd name="connsiteX0" fmla="*/ 1 w 2593711"/>
                  <a:gd name="connsiteY0" fmla="*/ 644481 h 1309236"/>
                  <a:gd name="connsiteX1" fmla="*/ 815315 w 2593711"/>
                  <a:gd name="connsiteY1" fmla="*/ 134 h 1309236"/>
                  <a:gd name="connsiteX2" fmla="*/ 1783754 w 2593711"/>
                  <a:gd name="connsiteY2" fmla="*/ 686633 h 1309236"/>
                  <a:gd name="connsiteX3" fmla="*/ 2593711 w 2593711"/>
                  <a:gd name="connsiteY3" fmla="*/ 1309236 h 1309236"/>
                  <a:gd name="connsiteX0" fmla="*/ 1 w 2638506"/>
                  <a:gd name="connsiteY0" fmla="*/ 648155 h 1309212"/>
                  <a:gd name="connsiteX1" fmla="*/ 860110 w 2638506"/>
                  <a:gd name="connsiteY1" fmla="*/ 110 h 1309212"/>
                  <a:gd name="connsiteX2" fmla="*/ 1828549 w 2638506"/>
                  <a:gd name="connsiteY2" fmla="*/ 686609 h 1309212"/>
                  <a:gd name="connsiteX3" fmla="*/ 2638506 w 2638506"/>
                  <a:gd name="connsiteY3" fmla="*/ 1309212 h 1309212"/>
                  <a:gd name="connsiteX0" fmla="*/ 1 w 2638506"/>
                  <a:gd name="connsiteY0" fmla="*/ 648197 h 1309254"/>
                  <a:gd name="connsiteX1" fmla="*/ 860110 w 2638506"/>
                  <a:gd name="connsiteY1" fmla="*/ 152 h 1309254"/>
                  <a:gd name="connsiteX2" fmla="*/ 1828549 w 2638506"/>
                  <a:gd name="connsiteY2" fmla="*/ 686651 h 1309254"/>
                  <a:gd name="connsiteX3" fmla="*/ 2638506 w 2638506"/>
                  <a:gd name="connsiteY3" fmla="*/ 1309254 h 1309254"/>
                  <a:gd name="connsiteX0" fmla="*/ 1 w 2638506"/>
                  <a:gd name="connsiteY0" fmla="*/ 649974 h 1311031"/>
                  <a:gd name="connsiteX1" fmla="*/ 860110 w 2638506"/>
                  <a:gd name="connsiteY1" fmla="*/ 1929 h 1311031"/>
                  <a:gd name="connsiteX2" fmla="*/ 1828549 w 2638506"/>
                  <a:gd name="connsiteY2" fmla="*/ 688428 h 1311031"/>
                  <a:gd name="connsiteX3" fmla="*/ 2638506 w 2638506"/>
                  <a:gd name="connsiteY3" fmla="*/ 1311031 h 1311031"/>
                  <a:gd name="connsiteX0" fmla="*/ 1 w 2638506"/>
                  <a:gd name="connsiteY0" fmla="*/ 649607 h 1310664"/>
                  <a:gd name="connsiteX1" fmla="*/ 860110 w 2638506"/>
                  <a:gd name="connsiteY1" fmla="*/ 1562 h 1310664"/>
                  <a:gd name="connsiteX2" fmla="*/ 1828549 w 2638506"/>
                  <a:gd name="connsiteY2" fmla="*/ 688061 h 1310664"/>
                  <a:gd name="connsiteX3" fmla="*/ 2638506 w 2638506"/>
                  <a:gd name="connsiteY3" fmla="*/ 1310664 h 1310664"/>
                  <a:gd name="connsiteX0" fmla="*/ 1 w 2638506"/>
                  <a:gd name="connsiteY0" fmla="*/ 649193 h 1310250"/>
                  <a:gd name="connsiteX1" fmla="*/ 860110 w 2638506"/>
                  <a:gd name="connsiteY1" fmla="*/ 1148 h 1310250"/>
                  <a:gd name="connsiteX2" fmla="*/ 1828549 w 2638506"/>
                  <a:gd name="connsiteY2" fmla="*/ 687647 h 1310250"/>
                  <a:gd name="connsiteX3" fmla="*/ 2638506 w 2638506"/>
                  <a:gd name="connsiteY3" fmla="*/ 1310250 h 1310250"/>
                  <a:gd name="connsiteX0" fmla="*/ 1 w 2638506"/>
                  <a:gd name="connsiteY0" fmla="*/ 650609 h 1311666"/>
                  <a:gd name="connsiteX1" fmla="*/ 860110 w 2638506"/>
                  <a:gd name="connsiteY1" fmla="*/ 2564 h 1311666"/>
                  <a:gd name="connsiteX2" fmla="*/ 1828549 w 2638506"/>
                  <a:gd name="connsiteY2" fmla="*/ 689063 h 1311666"/>
                  <a:gd name="connsiteX3" fmla="*/ 2638506 w 2638506"/>
                  <a:gd name="connsiteY3" fmla="*/ 1311666 h 1311666"/>
                  <a:gd name="connsiteX0" fmla="*/ 1 w 2638506"/>
                  <a:gd name="connsiteY0" fmla="*/ 649841 h 1310898"/>
                  <a:gd name="connsiteX1" fmla="*/ 860110 w 2638506"/>
                  <a:gd name="connsiteY1" fmla="*/ 1796 h 1310898"/>
                  <a:gd name="connsiteX2" fmla="*/ 1828549 w 2638506"/>
                  <a:gd name="connsiteY2" fmla="*/ 688295 h 1310898"/>
                  <a:gd name="connsiteX3" fmla="*/ 2638506 w 2638506"/>
                  <a:gd name="connsiteY3" fmla="*/ 1310898 h 1310898"/>
                  <a:gd name="connsiteX0" fmla="*/ 1 w 2638506"/>
                  <a:gd name="connsiteY0" fmla="*/ 649841 h 1310898"/>
                  <a:gd name="connsiteX1" fmla="*/ 860110 w 2638506"/>
                  <a:gd name="connsiteY1" fmla="*/ 1796 h 1310898"/>
                  <a:gd name="connsiteX2" fmla="*/ 1828549 w 2638506"/>
                  <a:gd name="connsiteY2" fmla="*/ 688295 h 1310898"/>
                  <a:gd name="connsiteX3" fmla="*/ 2638506 w 2638506"/>
                  <a:gd name="connsiteY3" fmla="*/ 1310898 h 1310898"/>
                  <a:gd name="connsiteX0" fmla="*/ 1 w 2664626"/>
                  <a:gd name="connsiteY0" fmla="*/ 635455 h 1309388"/>
                  <a:gd name="connsiteX1" fmla="*/ 886230 w 2664626"/>
                  <a:gd name="connsiteY1" fmla="*/ 286 h 1309388"/>
                  <a:gd name="connsiteX2" fmla="*/ 1854669 w 2664626"/>
                  <a:gd name="connsiteY2" fmla="*/ 686785 h 1309388"/>
                  <a:gd name="connsiteX3" fmla="*/ 2664626 w 2664626"/>
                  <a:gd name="connsiteY3" fmla="*/ 1309388 h 1309388"/>
                  <a:gd name="connsiteX0" fmla="*/ 1 w 1854668"/>
                  <a:gd name="connsiteY0" fmla="*/ 635455 h 686786"/>
                  <a:gd name="connsiteX1" fmla="*/ 886230 w 1854668"/>
                  <a:gd name="connsiteY1" fmla="*/ 286 h 686786"/>
                  <a:gd name="connsiteX2" fmla="*/ 1854669 w 1854668"/>
                  <a:gd name="connsiteY2" fmla="*/ 686785 h 686786"/>
                  <a:gd name="connsiteX0" fmla="*/ 1 w 886231"/>
                  <a:gd name="connsiteY0" fmla="*/ 635455 h 635455"/>
                  <a:gd name="connsiteX1" fmla="*/ 886230 w 886231"/>
                  <a:gd name="connsiteY1" fmla="*/ 286 h 635455"/>
                  <a:gd name="connsiteX0" fmla="*/ 1 w 886231"/>
                  <a:gd name="connsiteY0" fmla="*/ 635460 h 635460"/>
                  <a:gd name="connsiteX1" fmla="*/ 490191 w 886231"/>
                  <a:gd name="connsiteY1" fmla="*/ 91024 h 635460"/>
                  <a:gd name="connsiteX2" fmla="*/ 886230 w 886231"/>
                  <a:gd name="connsiteY2" fmla="*/ 291 h 635460"/>
                  <a:gd name="connsiteX0" fmla="*/ 1 w 886231"/>
                  <a:gd name="connsiteY0" fmla="*/ 636018 h 636018"/>
                  <a:gd name="connsiteX1" fmla="*/ 490191 w 886231"/>
                  <a:gd name="connsiteY1" fmla="*/ 91582 h 636018"/>
                  <a:gd name="connsiteX2" fmla="*/ 886230 w 886231"/>
                  <a:gd name="connsiteY2" fmla="*/ 849 h 636018"/>
                  <a:gd name="connsiteX0" fmla="*/ 1 w 886231"/>
                  <a:gd name="connsiteY0" fmla="*/ 638967 h 638967"/>
                  <a:gd name="connsiteX1" fmla="*/ 490191 w 886231"/>
                  <a:gd name="connsiteY1" fmla="*/ 94531 h 638967"/>
                  <a:gd name="connsiteX2" fmla="*/ 886230 w 886231"/>
                  <a:gd name="connsiteY2" fmla="*/ 3798 h 638967"/>
                  <a:gd name="connsiteX0" fmla="*/ 1 w 490191"/>
                  <a:gd name="connsiteY0" fmla="*/ 544435 h 544435"/>
                  <a:gd name="connsiteX1" fmla="*/ 490191 w 490191"/>
                  <a:gd name="connsiteY1" fmla="*/ -1 h 544435"/>
                  <a:gd name="connsiteX0" fmla="*/ 1 w 490191"/>
                  <a:gd name="connsiteY0" fmla="*/ 544435 h 544435"/>
                  <a:gd name="connsiteX1" fmla="*/ 490191 w 490191"/>
                  <a:gd name="connsiteY1" fmla="*/ -1 h 544435"/>
                  <a:gd name="connsiteX0" fmla="*/ 1 w 490191"/>
                  <a:gd name="connsiteY0" fmla="*/ 544435 h 544435"/>
                  <a:gd name="connsiteX1" fmla="*/ 490191 w 490191"/>
                  <a:gd name="connsiteY1" fmla="*/ -1 h 544435"/>
                  <a:gd name="connsiteX0" fmla="*/ 1 w 490191"/>
                  <a:gd name="connsiteY0" fmla="*/ 544435 h 544435"/>
                  <a:gd name="connsiteX1" fmla="*/ 490191 w 490191"/>
                  <a:gd name="connsiteY1" fmla="*/ -1 h 5444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90191" h="544435">
                    <a:moveTo>
                      <a:pt x="1" y="544435"/>
                    </a:moveTo>
                    <a:cubicBezTo>
                      <a:pt x="59974" y="349650"/>
                      <a:pt x="307478" y="61023"/>
                      <a:pt x="490191" y="-1"/>
                    </a:cubicBezTo>
                  </a:path>
                </a:pathLst>
              </a:custGeom>
              <a:grpFill/>
              <a:ln w="6350" cap="rnd">
                <a:solidFill>
                  <a:schemeClr val="accent3"/>
                </a:solidFill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 rtlCol="0" anchor="ctr">
                <a:noAutofit/>
              </a:bodyPr>
              <a:lstStyle/>
              <a:p>
                <a:pPr marL="0" marR="0" lvl="0" indent="0" algn="ctr" defTabSz="45719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Imago"/>
                  <a:ea typeface="+mn-ea"/>
                  <a:cs typeface="+mn-cs"/>
                </a:endParaRPr>
              </a:p>
            </p:txBody>
          </p:sp>
          <p:sp>
            <p:nvSpPr>
              <p:cNvPr id="1103" name="Freeform: Shape 94">
                <a:extLst>
                  <a:ext uri="{FF2B5EF4-FFF2-40B4-BE49-F238E27FC236}">
                    <a16:creationId xmlns:a16="http://schemas.microsoft.com/office/drawing/2014/main" id="{EEC0C6BD-355D-E43C-9B5B-C2D317349958}"/>
                  </a:ext>
                </a:extLst>
              </p:cNvPr>
              <p:cNvSpPr/>
              <p:nvPr/>
            </p:nvSpPr>
            <p:spPr>
              <a:xfrm rot="4837695" flipV="1">
                <a:off x="3781483" y="3318306"/>
                <a:ext cx="255606" cy="283890"/>
              </a:xfrm>
              <a:custGeom>
                <a:avLst/>
                <a:gdLst>
                  <a:gd name="connsiteX0" fmla="*/ 0 w 2617365"/>
                  <a:gd name="connsiteY0" fmla="*/ 939567 h 939567"/>
                  <a:gd name="connsiteX1" fmla="*/ 922789 w 2617365"/>
                  <a:gd name="connsiteY1" fmla="*/ 16778 h 939567"/>
                  <a:gd name="connsiteX2" fmla="*/ 1761688 w 2617365"/>
                  <a:gd name="connsiteY2" fmla="*/ 855677 h 939567"/>
                  <a:gd name="connsiteX3" fmla="*/ 2617365 w 2617365"/>
                  <a:gd name="connsiteY3" fmla="*/ 0 h 939567"/>
                  <a:gd name="connsiteX0" fmla="*/ 27 w 2617392"/>
                  <a:gd name="connsiteY0" fmla="*/ 939567 h 939567"/>
                  <a:gd name="connsiteX1" fmla="*/ 922816 w 2617392"/>
                  <a:gd name="connsiteY1" fmla="*/ 16778 h 939567"/>
                  <a:gd name="connsiteX2" fmla="*/ 1761715 w 2617392"/>
                  <a:gd name="connsiteY2" fmla="*/ 855677 h 939567"/>
                  <a:gd name="connsiteX3" fmla="*/ 2617392 w 2617392"/>
                  <a:gd name="connsiteY3" fmla="*/ 0 h 939567"/>
                  <a:gd name="connsiteX0" fmla="*/ 27 w 2617392"/>
                  <a:gd name="connsiteY0" fmla="*/ 939567 h 939567"/>
                  <a:gd name="connsiteX1" fmla="*/ 922816 w 2617392"/>
                  <a:gd name="connsiteY1" fmla="*/ 16778 h 939567"/>
                  <a:gd name="connsiteX2" fmla="*/ 1761715 w 2617392"/>
                  <a:gd name="connsiteY2" fmla="*/ 855677 h 939567"/>
                  <a:gd name="connsiteX3" fmla="*/ 2617392 w 2617392"/>
                  <a:gd name="connsiteY3" fmla="*/ 0 h 939567"/>
                  <a:gd name="connsiteX0" fmla="*/ 33 w 2617398"/>
                  <a:gd name="connsiteY0" fmla="*/ 939567 h 939567"/>
                  <a:gd name="connsiteX1" fmla="*/ 922822 w 2617398"/>
                  <a:gd name="connsiteY1" fmla="*/ 16778 h 939567"/>
                  <a:gd name="connsiteX2" fmla="*/ 1761721 w 2617398"/>
                  <a:gd name="connsiteY2" fmla="*/ 855677 h 939567"/>
                  <a:gd name="connsiteX3" fmla="*/ 2617398 w 2617398"/>
                  <a:gd name="connsiteY3" fmla="*/ 0 h 939567"/>
                  <a:gd name="connsiteX0" fmla="*/ 33 w 2617398"/>
                  <a:gd name="connsiteY0" fmla="*/ 939567 h 939567"/>
                  <a:gd name="connsiteX1" fmla="*/ 922822 w 2617398"/>
                  <a:gd name="connsiteY1" fmla="*/ 16778 h 939567"/>
                  <a:gd name="connsiteX2" fmla="*/ 1761721 w 2617398"/>
                  <a:gd name="connsiteY2" fmla="*/ 855677 h 939567"/>
                  <a:gd name="connsiteX3" fmla="*/ 2617398 w 2617398"/>
                  <a:gd name="connsiteY3" fmla="*/ 0 h 939567"/>
                  <a:gd name="connsiteX0" fmla="*/ 45 w 2617410"/>
                  <a:gd name="connsiteY0" fmla="*/ 939567 h 939567"/>
                  <a:gd name="connsiteX1" fmla="*/ 793294 w 2617410"/>
                  <a:gd name="connsiteY1" fmla="*/ 161558 h 939567"/>
                  <a:gd name="connsiteX2" fmla="*/ 1761733 w 2617410"/>
                  <a:gd name="connsiteY2" fmla="*/ 855677 h 939567"/>
                  <a:gd name="connsiteX3" fmla="*/ 2617410 w 2617410"/>
                  <a:gd name="connsiteY3" fmla="*/ 0 h 939567"/>
                  <a:gd name="connsiteX0" fmla="*/ 45 w 2617410"/>
                  <a:gd name="connsiteY0" fmla="*/ 939567 h 939567"/>
                  <a:gd name="connsiteX1" fmla="*/ 793294 w 2617410"/>
                  <a:gd name="connsiteY1" fmla="*/ 161558 h 939567"/>
                  <a:gd name="connsiteX2" fmla="*/ 1761733 w 2617410"/>
                  <a:gd name="connsiteY2" fmla="*/ 855677 h 939567"/>
                  <a:gd name="connsiteX3" fmla="*/ 2617410 w 2617410"/>
                  <a:gd name="connsiteY3" fmla="*/ 0 h 939567"/>
                  <a:gd name="connsiteX0" fmla="*/ 35 w 2617400"/>
                  <a:gd name="connsiteY0" fmla="*/ 939567 h 939567"/>
                  <a:gd name="connsiteX1" fmla="*/ 793284 w 2617400"/>
                  <a:gd name="connsiteY1" fmla="*/ 161558 h 939567"/>
                  <a:gd name="connsiteX2" fmla="*/ 1799823 w 2617400"/>
                  <a:gd name="connsiteY2" fmla="*/ 928067 h 939567"/>
                  <a:gd name="connsiteX3" fmla="*/ 2617400 w 2617400"/>
                  <a:gd name="connsiteY3" fmla="*/ 0 h 939567"/>
                  <a:gd name="connsiteX0" fmla="*/ 35 w 2617400"/>
                  <a:gd name="connsiteY0" fmla="*/ 939567 h 939567"/>
                  <a:gd name="connsiteX1" fmla="*/ 793284 w 2617400"/>
                  <a:gd name="connsiteY1" fmla="*/ 161558 h 939567"/>
                  <a:gd name="connsiteX2" fmla="*/ 1799823 w 2617400"/>
                  <a:gd name="connsiteY2" fmla="*/ 928067 h 939567"/>
                  <a:gd name="connsiteX3" fmla="*/ 2617400 w 2617400"/>
                  <a:gd name="connsiteY3" fmla="*/ 0 h 939567"/>
                  <a:gd name="connsiteX0" fmla="*/ 54 w 2617419"/>
                  <a:gd name="connsiteY0" fmla="*/ 939567 h 939567"/>
                  <a:gd name="connsiteX1" fmla="*/ 793303 w 2617419"/>
                  <a:gd name="connsiteY1" fmla="*/ 161558 h 939567"/>
                  <a:gd name="connsiteX2" fmla="*/ 1799842 w 2617419"/>
                  <a:gd name="connsiteY2" fmla="*/ 928067 h 939567"/>
                  <a:gd name="connsiteX3" fmla="*/ 2617419 w 2617419"/>
                  <a:gd name="connsiteY3" fmla="*/ 0 h 939567"/>
                  <a:gd name="connsiteX0" fmla="*/ 54 w 2602179"/>
                  <a:gd name="connsiteY0" fmla="*/ 778016 h 778016"/>
                  <a:gd name="connsiteX1" fmla="*/ 793303 w 2602179"/>
                  <a:gd name="connsiteY1" fmla="*/ 7 h 778016"/>
                  <a:gd name="connsiteX2" fmla="*/ 1799842 w 2602179"/>
                  <a:gd name="connsiteY2" fmla="*/ 766516 h 778016"/>
                  <a:gd name="connsiteX3" fmla="*/ 2602179 w 2602179"/>
                  <a:gd name="connsiteY3" fmla="*/ 28949 h 778016"/>
                  <a:gd name="connsiteX0" fmla="*/ 54 w 2438349"/>
                  <a:gd name="connsiteY0" fmla="*/ 778016 h 1419810"/>
                  <a:gd name="connsiteX1" fmla="*/ 793303 w 2438349"/>
                  <a:gd name="connsiteY1" fmla="*/ 7 h 1419810"/>
                  <a:gd name="connsiteX2" fmla="*/ 1799842 w 2438349"/>
                  <a:gd name="connsiteY2" fmla="*/ 766516 h 1419810"/>
                  <a:gd name="connsiteX3" fmla="*/ 2438349 w 2438349"/>
                  <a:gd name="connsiteY3" fmla="*/ 1309109 h 1419810"/>
                  <a:gd name="connsiteX0" fmla="*/ 54 w 2438349"/>
                  <a:gd name="connsiteY0" fmla="*/ 778016 h 1309109"/>
                  <a:gd name="connsiteX1" fmla="*/ 793303 w 2438349"/>
                  <a:gd name="connsiteY1" fmla="*/ 7 h 1309109"/>
                  <a:gd name="connsiteX2" fmla="*/ 1799842 w 2438349"/>
                  <a:gd name="connsiteY2" fmla="*/ 766516 h 1309109"/>
                  <a:gd name="connsiteX3" fmla="*/ 2438349 w 2438349"/>
                  <a:gd name="connsiteY3" fmla="*/ 1309109 h 1309109"/>
                  <a:gd name="connsiteX0" fmla="*/ 33 w 2438328"/>
                  <a:gd name="connsiteY0" fmla="*/ 778361 h 1309454"/>
                  <a:gd name="connsiteX1" fmla="*/ 793282 w 2438328"/>
                  <a:gd name="connsiteY1" fmla="*/ 352 h 1309454"/>
                  <a:gd name="connsiteX2" fmla="*/ 1628371 w 2438328"/>
                  <a:gd name="connsiteY2" fmla="*/ 686851 h 1309454"/>
                  <a:gd name="connsiteX3" fmla="*/ 2438328 w 2438328"/>
                  <a:gd name="connsiteY3" fmla="*/ 1309454 h 1309454"/>
                  <a:gd name="connsiteX0" fmla="*/ 33 w 2438328"/>
                  <a:gd name="connsiteY0" fmla="*/ 778494 h 1309587"/>
                  <a:gd name="connsiteX1" fmla="*/ 793282 w 2438328"/>
                  <a:gd name="connsiteY1" fmla="*/ 485 h 1309587"/>
                  <a:gd name="connsiteX2" fmla="*/ 1628371 w 2438328"/>
                  <a:gd name="connsiteY2" fmla="*/ 686984 h 1309587"/>
                  <a:gd name="connsiteX3" fmla="*/ 2438328 w 2438328"/>
                  <a:gd name="connsiteY3" fmla="*/ 1309587 h 1309587"/>
                  <a:gd name="connsiteX0" fmla="*/ 27 w 2556432"/>
                  <a:gd name="connsiteY0" fmla="*/ 671344 h 1309117"/>
                  <a:gd name="connsiteX1" fmla="*/ 911386 w 2556432"/>
                  <a:gd name="connsiteY1" fmla="*/ 15 h 1309117"/>
                  <a:gd name="connsiteX2" fmla="*/ 1746475 w 2556432"/>
                  <a:gd name="connsiteY2" fmla="*/ 686514 h 1309117"/>
                  <a:gd name="connsiteX3" fmla="*/ 2556432 w 2556432"/>
                  <a:gd name="connsiteY3" fmla="*/ 1309117 h 1309117"/>
                  <a:gd name="connsiteX0" fmla="*/ 0 w 2556405"/>
                  <a:gd name="connsiteY0" fmla="*/ 671347 h 1309120"/>
                  <a:gd name="connsiteX1" fmla="*/ 911359 w 2556405"/>
                  <a:gd name="connsiteY1" fmla="*/ 18 h 1309120"/>
                  <a:gd name="connsiteX2" fmla="*/ 1746448 w 2556405"/>
                  <a:gd name="connsiteY2" fmla="*/ 686517 h 1309120"/>
                  <a:gd name="connsiteX3" fmla="*/ 2556405 w 2556405"/>
                  <a:gd name="connsiteY3" fmla="*/ 1309120 h 1309120"/>
                  <a:gd name="connsiteX0" fmla="*/ 0 w 2556405"/>
                  <a:gd name="connsiteY0" fmla="*/ 672485 h 1310258"/>
                  <a:gd name="connsiteX1" fmla="*/ 911359 w 2556405"/>
                  <a:gd name="connsiteY1" fmla="*/ 1156 h 1310258"/>
                  <a:gd name="connsiteX2" fmla="*/ 1746448 w 2556405"/>
                  <a:gd name="connsiteY2" fmla="*/ 687655 h 1310258"/>
                  <a:gd name="connsiteX3" fmla="*/ 2556405 w 2556405"/>
                  <a:gd name="connsiteY3" fmla="*/ 1310258 h 1310258"/>
                  <a:gd name="connsiteX0" fmla="*/ 0 w 2556405"/>
                  <a:gd name="connsiteY0" fmla="*/ 672432 h 1310205"/>
                  <a:gd name="connsiteX1" fmla="*/ 911359 w 2556405"/>
                  <a:gd name="connsiteY1" fmla="*/ 1103 h 1310205"/>
                  <a:gd name="connsiteX2" fmla="*/ 1746448 w 2556405"/>
                  <a:gd name="connsiteY2" fmla="*/ 687602 h 1310205"/>
                  <a:gd name="connsiteX3" fmla="*/ 2556405 w 2556405"/>
                  <a:gd name="connsiteY3" fmla="*/ 1310205 h 1310205"/>
                  <a:gd name="connsiteX0" fmla="*/ 0 w 2556405"/>
                  <a:gd name="connsiteY0" fmla="*/ 672432 h 1310205"/>
                  <a:gd name="connsiteX1" fmla="*/ 778009 w 2556405"/>
                  <a:gd name="connsiteY1" fmla="*/ 1103 h 1310205"/>
                  <a:gd name="connsiteX2" fmla="*/ 1746448 w 2556405"/>
                  <a:gd name="connsiteY2" fmla="*/ 687602 h 1310205"/>
                  <a:gd name="connsiteX3" fmla="*/ 2556405 w 2556405"/>
                  <a:gd name="connsiteY3" fmla="*/ 1310205 h 1310205"/>
                  <a:gd name="connsiteX0" fmla="*/ 0 w 2556405"/>
                  <a:gd name="connsiteY0" fmla="*/ 672186 h 1309959"/>
                  <a:gd name="connsiteX1" fmla="*/ 778009 w 2556405"/>
                  <a:gd name="connsiteY1" fmla="*/ 857 h 1309959"/>
                  <a:gd name="connsiteX2" fmla="*/ 1746448 w 2556405"/>
                  <a:gd name="connsiteY2" fmla="*/ 687356 h 1309959"/>
                  <a:gd name="connsiteX3" fmla="*/ 2556405 w 2556405"/>
                  <a:gd name="connsiteY3" fmla="*/ 1309959 h 1309959"/>
                  <a:gd name="connsiteX0" fmla="*/ 0 w 2556405"/>
                  <a:gd name="connsiteY0" fmla="*/ 671347 h 1309120"/>
                  <a:gd name="connsiteX1" fmla="*/ 778009 w 2556405"/>
                  <a:gd name="connsiteY1" fmla="*/ 18 h 1309120"/>
                  <a:gd name="connsiteX2" fmla="*/ 1746448 w 2556405"/>
                  <a:gd name="connsiteY2" fmla="*/ 686517 h 1309120"/>
                  <a:gd name="connsiteX3" fmla="*/ 2556405 w 2556405"/>
                  <a:gd name="connsiteY3" fmla="*/ 1309120 h 1309120"/>
                  <a:gd name="connsiteX0" fmla="*/ 0 w 2556405"/>
                  <a:gd name="connsiteY0" fmla="*/ 671340 h 1309113"/>
                  <a:gd name="connsiteX1" fmla="*/ 778009 w 2556405"/>
                  <a:gd name="connsiteY1" fmla="*/ 11 h 1309113"/>
                  <a:gd name="connsiteX2" fmla="*/ 1746448 w 2556405"/>
                  <a:gd name="connsiteY2" fmla="*/ 686510 h 1309113"/>
                  <a:gd name="connsiteX3" fmla="*/ 2556405 w 2556405"/>
                  <a:gd name="connsiteY3" fmla="*/ 1309113 h 1309113"/>
                  <a:gd name="connsiteX0" fmla="*/ 0 w 2556405"/>
                  <a:gd name="connsiteY0" fmla="*/ 671340 h 1309113"/>
                  <a:gd name="connsiteX1" fmla="*/ 778009 w 2556405"/>
                  <a:gd name="connsiteY1" fmla="*/ 11 h 1309113"/>
                  <a:gd name="connsiteX2" fmla="*/ 1746448 w 2556405"/>
                  <a:gd name="connsiteY2" fmla="*/ 686510 h 1309113"/>
                  <a:gd name="connsiteX3" fmla="*/ 2556405 w 2556405"/>
                  <a:gd name="connsiteY3" fmla="*/ 1309113 h 1309113"/>
                  <a:gd name="connsiteX0" fmla="*/ 1 w 2593711"/>
                  <a:gd name="connsiteY0" fmla="*/ 644434 h 1309189"/>
                  <a:gd name="connsiteX1" fmla="*/ 815315 w 2593711"/>
                  <a:gd name="connsiteY1" fmla="*/ 87 h 1309189"/>
                  <a:gd name="connsiteX2" fmla="*/ 1783754 w 2593711"/>
                  <a:gd name="connsiteY2" fmla="*/ 686586 h 1309189"/>
                  <a:gd name="connsiteX3" fmla="*/ 2593711 w 2593711"/>
                  <a:gd name="connsiteY3" fmla="*/ 1309189 h 1309189"/>
                  <a:gd name="connsiteX0" fmla="*/ 1 w 2593711"/>
                  <a:gd name="connsiteY0" fmla="*/ 644481 h 1309236"/>
                  <a:gd name="connsiteX1" fmla="*/ 815315 w 2593711"/>
                  <a:gd name="connsiteY1" fmla="*/ 134 h 1309236"/>
                  <a:gd name="connsiteX2" fmla="*/ 1783754 w 2593711"/>
                  <a:gd name="connsiteY2" fmla="*/ 686633 h 1309236"/>
                  <a:gd name="connsiteX3" fmla="*/ 2593711 w 2593711"/>
                  <a:gd name="connsiteY3" fmla="*/ 1309236 h 1309236"/>
                  <a:gd name="connsiteX0" fmla="*/ 1 w 2638506"/>
                  <a:gd name="connsiteY0" fmla="*/ 648155 h 1309212"/>
                  <a:gd name="connsiteX1" fmla="*/ 860110 w 2638506"/>
                  <a:gd name="connsiteY1" fmla="*/ 110 h 1309212"/>
                  <a:gd name="connsiteX2" fmla="*/ 1828549 w 2638506"/>
                  <a:gd name="connsiteY2" fmla="*/ 686609 h 1309212"/>
                  <a:gd name="connsiteX3" fmla="*/ 2638506 w 2638506"/>
                  <a:gd name="connsiteY3" fmla="*/ 1309212 h 1309212"/>
                  <a:gd name="connsiteX0" fmla="*/ 1 w 2638506"/>
                  <a:gd name="connsiteY0" fmla="*/ 648197 h 1309254"/>
                  <a:gd name="connsiteX1" fmla="*/ 860110 w 2638506"/>
                  <a:gd name="connsiteY1" fmla="*/ 152 h 1309254"/>
                  <a:gd name="connsiteX2" fmla="*/ 1828549 w 2638506"/>
                  <a:gd name="connsiteY2" fmla="*/ 686651 h 1309254"/>
                  <a:gd name="connsiteX3" fmla="*/ 2638506 w 2638506"/>
                  <a:gd name="connsiteY3" fmla="*/ 1309254 h 1309254"/>
                  <a:gd name="connsiteX0" fmla="*/ 1 w 2638506"/>
                  <a:gd name="connsiteY0" fmla="*/ 649974 h 1311031"/>
                  <a:gd name="connsiteX1" fmla="*/ 860110 w 2638506"/>
                  <a:gd name="connsiteY1" fmla="*/ 1929 h 1311031"/>
                  <a:gd name="connsiteX2" fmla="*/ 1828549 w 2638506"/>
                  <a:gd name="connsiteY2" fmla="*/ 688428 h 1311031"/>
                  <a:gd name="connsiteX3" fmla="*/ 2638506 w 2638506"/>
                  <a:gd name="connsiteY3" fmla="*/ 1311031 h 1311031"/>
                  <a:gd name="connsiteX0" fmla="*/ 1 w 2638506"/>
                  <a:gd name="connsiteY0" fmla="*/ 649607 h 1310664"/>
                  <a:gd name="connsiteX1" fmla="*/ 860110 w 2638506"/>
                  <a:gd name="connsiteY1" fmla="*/ 1562 h 1310664"/>
                  <a:gd name="connsiteX2" fmla="*/ 1828549 w 2638506"/>
                  <a:gd name="connsiteY2" fmla="*/ 688061 h 1310664"/>
                  <a:gd name="connsiteX3" fmla="*/ 2638506 w 2638506"/>
                  <a:gd name="connsiteY3" fmla="*/ 1310664 h 1310664"/>
                  <a:gd name="connsiteX0" fmla="*/ 1 w 2638506"/>
                  <a:gd name="connsiteY0" fmla="*/ 649193 h 1310250"/>
                  <a:gd name="connsiteX1" fmla="*/ 860110 w 2638506"/>
                  <a:gd name="connsiteY1" fmla="*/ 1148 h 1310250"/>
                  <a:gd name="connsiteX2" fmla="*/ 1828549 w 2638506"/>
                  <a:gd name="connsiteY2" fmla="*/ 687647 h 1310250"/>
                  <a:gd name="connsiteX3" fmla="*/ 2638506 w 2638506"/>
                  <a:gd name="connsiteY3" fmla="*/ 1310250 h 1310250"/>
                  <a:gd name="connsiteX0" fmla="*/ 1 w 2638506"/>
                  <a:gd name="connsiteY0" fmla="*/ 650609 h 1311666"/>
                  <a:gd name="connsiteX1" fmla="*/ 860110 w 2638506"/>
                  <a:gd name="connsiteY1" fmla="*/ 2564 h 1311666"/>
                  <a:gd name="connsiteX2" fmla="*/ 1828549 w 2638506"/>
                  <a:gd name="connsiteY2" fmla="*/ 689063 h 1311666"/>
                  <a:gd name="connsiteX3" fmla="*/ 2638506 w 2638506"/>
                  <a:gd name="connsiteY3" fmla="*/ 1311666 h 1311666"/>
                  <a:gd name="connsiteX0" fmla="*/ 1 w 2638506"/>
                  <a:gd name="connsiteY0" fmla="*/ 649841 h 1310898"/>
                  <a:gd name="connsiteX1" fmla="*/ 860110 w 2638506"/>
                  <a:gd name="connsiteY1" fmla="*/ 1796 h 1310898"/>
                  <a:gd name="connsiteX2" fmla="*/ 1828549 w 2638506"/>
                  <a:gd name="connsiteY2" fmla="*/ 688295 h 1310898"/>
                  <a:gd name="connsiteX3" fmla="*/ 2638506 w 2638506"/>
                  <a:gd name="connsiteY3" fmla="*/ 1310898 h 1310898"/>
                  <a:gd name="connsiteX0" fmla="*/ 1 w 2638506"/>
                  <a:gd name="connsiteY0" fmla="*/ 649841 h 1310898"/>
                  <a:gd name="connsiteX1" fmla="*/ 860110 w 2638506"/>
                  <a:gd name="connsiteY1" fmla="*/ 1796 h 1310898"/>
                  <a:gd name="connsiteX2" fmla="*/ 1828549 w 2638506"/>
                  <a:gd name="connsiteY2" fmla="*/ 688295 h 1310898"/>
                  <a:gd name="connsiteX3" fmla="*/ 2638506 w 2638506"/>
                  <a:gd name="connsiteY3" fmla="*/ 1310898 h 1310898"/>
                  <a:gd name="connsiteX0" fmla="*/ 1 w 2664626"/>
                  <a:gd name="connsiteY0" fmla="*/ 635455 h 1309388"/>
                  <a:gd name="connsiteX1" fmla="*/ 886230 w 2664626"/>
                  <a:gd name="connsiteY1" fmla="*/ 286 h 1309388"/>
                  <a:gd name="connsiteX2" fmla="*/ 1854669 w 2664626"/>
                  <a:gd name="connsiteY2" fmla="*/ 686785 h 1309388"/>
                  <a:gd name="connsiteX3" fmla="*/ 2664626 w 2664626"/>
                  <a:gd name="connsiteY3" fmla="*/ 1309388 h 1309388"/>
                  <a:gd name="connsiteX0" fmla="*/ 1 w 1854668"/>
                  <a:gd name="connsiteY0" fmla="*/ 635455 h 686786"/>
                  <a:gd name="connsiteX1" fmla="*/ 886230 w 1854668"/>
                  <a:gd name="connsiteY1" fmla="*/ 286 h 686786"/>
                  <a:gd name="connsiteX2" fmla="*/ 1854669 w 1854668"/>
                  <a:gd name="connsiteY2" fmla="*/ 686785 h 686786"/>
                  <a:gd name="connsiteX0" fmla="*/ 1 w 886231"/>
                  <a:gd name="connsiteY0" fmla="*/ 635455 h 635455"/>
                  <a:gd name="connsiteX1" fmla="*/ 886230 w 886231"/>
                  <a:gd name="connsiteY1" fmla="*/ 286 h 635455"/>
                  <a:gd name="connsiteX0" fmla="*/ 1 w 886231"/>
                  <a:gd name="connsiteY0" fmla="*/ 635460 h 635460"/>
                  <a:gd name="connsiteX1" fmla="*/ 490191 w 886231"/>
                  <a:gd name="connsiteY1" fmla="*/ 91024 h 635460"/>
                  <a:gd name="connsiteX2" fmla="*/ 886230 w 886231"/>
                  <a:gd name="connsiteY2" fmla="*/ 291 h 635460"/>
                  <a:gd name="connsiteX0" fmla="*/ 1 w 886231"/>
                  <a:gd name="connsiteY0" fmla="*/ 636018 h 636018"/>
                  <a:gd name="connsiteX1" fmla="*/ 490191 w 886231"/>
                  <a:gd name="connsiteY1" fmla="*/ 91582 h 636018"/>
                  <a:gd name="connsiteX2" fmla="*/ 886230 w 886231"/>
                  <a:gd name="connsiteY2" fmla="*/ 849 h 636018"/>
                  <a:gd name="connsiteX0" fmla="*/ 1 w 886231"/>
                  <a:gd name="connsiteY0" fmla="*/ 638967 h 638967"/>
                  <a:gd name="connsiteX1" fmla="*/ 490191 w 886231"/>
                  <a:gd name="connsiteY1" fmla="*/ 94531 h 638967"/>
                  <a:gd name="connsiteX2" fmla="*/ 886230 w 886231"/>
                  <a:gd name="connsiteY2" fmla="*/ 3798 h 638967"/>
                  <a:gd name="connsiteX0" fmla="*/ 1 w 490191"/>
                  <a:gd name="connsiteY0" fmla="*/ 544435 h 544435"/>
                  <a:gd name="connsiteX1" fmla="*/ 490191 w 490191"/>
                  <a:gd name="connsiteY1" fmla="*/ -1 h 544435"/>
                  <a:gd name="connsiteX0" fmla="*/ 1 w 490191"/>
                  <a:gd name="connsiteY0" fmla="*/ 544435 h 544435"/>
                  <a:gd name="connsiteX1" fmla="*/ 490191 w 490191"/>
                  <a:gd name="connsiteY1" fmla="*/ -1 h 544435"/>
                  <a:gd name="connsiteX0" fmla="*/ 1 w 490191"/>
                  <a:gd name="connsiteY0" fmla="*/ 544435 h 544435"/>
                  <a:gd name="connsiteX1" fmla="*/ 490191 w 490191"/>
                  <a:gd name="connsiteY1" fmla="*/ -1 h 544435"/>
                  <a:gd name="connsiteX0" fmla="*/ 1 w 490191"/>
                  <a:gd name="connsiteY0" fmla="*/ 544435 h 544435"/>
                  <a:gd name="connsiteX1" fmla="*/ 490191 w 490191"/>
                  <a:gd name="connsiteY1" fmla="*/ -1 h 5444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90191" h="544435">
                    <a:moveTo>
                      <a:pt x="1" y="544435"/>
                    </a:moveTo>
                    <a:cubicBezTo>
                      <a:pt x="59974" y="349650"/>
                      <a:pt x="307478" y="61023"/>
                      <a:pt x="490191" y="-1"/>
                    </a:cubicBezTo>
                  </a:path>
                </a:pathLst>
              </a:custGeom>
              <a:grpFill/>
              <a:ln w="6350" cap="rnd">
                <a:solidFill>
                  <a:schemeClr val="accent3"/>
                </a:solidFill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 rtlCol="0" anchor="ctr">
                <a:noAutofit/>
              </a:bodyPr>
              <a:lstStyle/>
              <a:p>
                <a:pPr marL="0" marR="0" lvl="0" indent="0" algn="ctr" defTabSz="45719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Imago"/>
                  <a:ea typeface="+mn-ea"/>
                  <a:cs typeface="+mn-cs"/>
                </a:endParaRPr>
              </a:p>
            </p:txBody>
          </p:sp>
        </p:grpSp>
        <p:cxnSp>
          <p:nvCxnSpPr>
            <p:cNvPr id="1095" name="Straight Connector 1094">
              <a:extLst>
                <a:ext uri="{FF2B5EF4-FFF2-40B4-BE49-F238E27FC236}">
                  <a16:creationId xmlns:a16="http://schemas.microsoft.com/office/drawing/2014/main" id="{9C6C7BF4-F32E-5244-0A26-AFCA43613808}"/>
                </a:ext>
              </a:extLst>
            </p:cNvPr>
            <p:cNvCxnSpPr/>
            <p:nvPr/>
          </p:nvCxnSpPr>
          <p:spPr>
            <a:xfrm>
              <a:off x="704611" y="1696455"/>
              <a:ext cx="187200" cy="0"/>
            </a:xfrm>
            <a:prstGeom prst="line">
              <a:avLst/>
            </a:prstGeom>
            <a:noFill/>
            <a:ln w="6350" cap="rnd">
              <a:solidFill>
                <a:schemeClr val="accent3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6" name="Straight Connector 1095">
              <a:extLst>
                <a:ext uri="{FF2B5EF4-FFF2-40B4-BE49-F238E27FC236}">
                  <a16:creationId xmlns:a16="http://schemas.microsoft.com/office/drawing/2014/main" id="{91F48FA3-CD26-A738-CD89-4716F8493066}"/>
                </a:ext>
              </a:extLst>
            </p:cNvPr>
            <p:cNvCxnSpPr/>
            <p:nvPr/>
          </p:nvCxnSpPr>
          <p:spPr>
            <a:xfrm>
              <a:off x="718764" y="1640191"/>
              <a:ext cx="158400" cy="0"/>
            </a:xfrm>
            <a:prstGeom prst="line">
              <a:avLst/>
            </a:prstGeom>
            <a:noFill/>
            <a:ln w="6350" cap="rnd">
              <a:solidFill>
                <a:schemeClr val="accent3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7" name="Straight Connector 1096">
              <a:extLst>
                <a:ext uri="{FF2B5EF4-FFF2-40B4-BE49-F238E27FC236}">
                  <a16:creationId xmlns:a16="http://schemas.microsoft.com/office/drawing/2014/main" id="{86C8C914-4D6A-AA54-D150-F1BF09D3AF3A}"/>
                </a:ext>
              </a:extLst>
            </p:cNvPr>
            <p:cNvCxnSpPr/>
            <p:nvPr/>
          </p:nvCxnSpPr>
          <p:spPr>
            <a:xfrm>
              <a:off x="723526" y="1752719"/>
              <a:ext cx="151200" cy="0"/>
            </a:xfrm>
            <a:prstGeom prst="line">
              <a:avLst/>
            </a:prstGeom>
            <a:noFill/>
            <a:ln w="6350" cap="rnd">
              <a:solidFill>
                <a:schemeClr val="accent3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8" name="Straight Connector 1097">
              <a:extLst>
                <a:ext uri="{FF2B5EF4-FFF2-40B4-BE49-F238E27FC236}">
                  <a16:creationId xmlns:a16="http://schemas.microsoft.com/office/drawing/2014/main" id="{A924326B-07F5-4345-8EFB-556B3F59C2EB}"/>
                </a:ext>
              </a:extLst>
            </p:cNvPr>
            <p:cNvCxnSpPr/>
            <p:nvPr/>
          </p:nvCxnSpPr>
          <p:spPr>
            <a:xfrm>
              <a:off x="711021" y="1892039"/>
              <a:ext cx="168771" cy="0"/>
            </a:xfrm>
            <a:prstGeom prst="line">
              <a:avLst/>
            </a:prstGeom>
            <a:noFill/>
            <a:ln w="6350" cap="rnd">
              <a:solidFill>
                <a:schemeClr val="accent3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9" name="Straight Connector 1098">
              <a:extLst>
                <a:ext uri="{FF2B5EF4-FFF2-40B4-BE49-F238E27FC236}">
                  <a16:creationId xmlns:a16="http://schemas.microsoft.com/office/drawing/2014/main" id="{5ABBD4D5-7768-3319-E998-7B99BDB19451}"/>
                </a:ext>
              </a:extLst>
            </p:cNvPr>
            <p:cNvCxnSpPr/>
            <p:nvPr/>
          </p:nvCxnSpPr>
          <p:spPr>
            <a:xfrm>
              <a:off x="727097" y="1495703"/>
              <a:ext cx="168771" cy="0"/>
            </a:xfrm>
            <a:prstGeom prst="line">
              <a:avLst/>
            </a:prstGeom>
            <a:noFill/>
            <a:ln w="6350" cap="rnd">
              <a:solidFill>
                <a:schemeClr val="accent3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04" name="Group 1103">
            <a:extLst>
              <a:ext uri="{FF2B5EF4-FFF2-40B4-BE49-F238E27FC236}">
                <a16:creationId xmlns:a16="http://schemas.microsoft.com/office/drawing/2014/main" id="{AA9FFFAC-04F8-C37A-E822-7070093F8BD2}"/>
              </a:ext>
            </a:extLst>
          </p:cNvPr>
          <p:cNvGrpSpPr>
            <a:grpSpLocks noChangeAspect="1"/>
          </p:cNvGrpSpPr>
          <p:nvPr/>
        </p:nvGrpSpPr>
        <p:grpSpPr>
          <a:xfrm rot="2938125">
            <a:off x="6666380" y="4046718"/>
            <a:ext cx="87490" cy="210070"/>
            <a:chOff x="704611" y="1456658"/>
            <a:chExt cx="199531" cy="479091"/>
          </a:xfrm>
        </p:grpSpPr>
        <p:grpSp>
          <p:nvGrpSpPr>
            <p:cNvPr id="1105" name="Group 1104">
              <a:extLst>
                <a:ext uri="{FF2B5EF4-FFF2-40B4-BE49-F238E27FC236}">
                  <a16:creationId xmlns:a16="http://schemas.microsoft.com/office/drawing/2014/main" id="{45296962-C095-224E-9BFD-CF05B54A4784}"/>
                </a:ext>
              </a:extLst>
            </p:cNvPr>
            <p:cNvGrpSpPr/>
            <p:nvPr/>
          </p:nvGrpSpPr>
          <p:grpSpPr>
            <a:xfrm flipH="1">
              <a:off x="705120" y="1456658"/>
              <a:ext cx="199022" cy="479091"/>
              <a:chOff x="3767341" y="2244425"/>
              <a:chExt cx="585304" cy="1408966"/>
            </a:xfrm>
            <a:noFill/>
          </p:grpSpPr>
          <p:sp>
            <p:nvSpPr>
              <p:cNvPr id="1111" name="Freeform: Shape 91">
                <a:extLst>
                  <a:ext uri="{FF2B5EF4-FFF2-40B4-BE49-F238E27FC236}">
                    <a16:creationId xmlns:a16="http://schemas.microsoft.com/office/drawing/2014/main" id="{B03F5107-CFED-FF88-64E5-970A07DDC006}"/>
                  </a:ext>
                </a:extLst>
              </p:cNvPr>
              <p:cNvSpPr/>
              <p:nvPr/>
            </p:nvSpPr>
            <p:spPr>
              <a:xfrm rot="4837695" flipH="1">
                <a:off x="3572300" y="2502917"/>
                <a:ext cx="1016473" cy="499490"/>
              </a:xfrm>
              <a:custGeom>
                <a:avLst/>
                <a:gdLst>
                  <a:gd name="connsiteX0" fmla="*/ 0 w 2617365"/>
                  <a:gd name="connsiteY0" fmla="*/ 939567 h 939567"/>
                  <a:gd name="connsiteX1" fmla="*/ 922789 w 2617365"/>
                  <a:gd name="connsiteY1" fmla="*/ 16778 h 939567"/>
                  <a:gd name="connsiteX2" fmla="*/ 1761688 w 2617365"/>
                  <a:gd name="connsiteY2" fmla="*/ 855677 h 939567"/>
                  <a:gd name="connsiteX3" fmla="*/ 2617365 w 2617365"/>
                  <a:gd name="connsiteY3" fmla="*/ 0 h 939567"/>
                  <a:gd name="connsiteX0" fmla="*/ 27 w 2617392"/>
                  <a:gd name="connsiteY0" fmla="*/ 939567 h 939567"/>
                  <a:gd name="connsiteX1" fmla="*/ 922816 w 2617392"/>
                  <a:gd name="connsiteY1" fmla="*/ 16778 h 939567"/>
                  <a:gd name="connsiteX2" fmla="*/ 1761715 w 2617392"/>
                  <a:gd name="connsiteY2" fmla="*/ 855677 h 939567"/>
                  <a:gd name="connsiteX3" fmla="*/ 2617392 w 2617392"/>
                  <a:gd name="connsiteY3" fmla="*/ 0 h 939567"/>
                  <a:gd name="connsiteX0" fmla="*/ 27 w 2617392"/>
                  <a:gd name="connsiteY0" fmla="*/ 939567 h 939567"/>
                  <a:gd name="connsiteX1" fmla="*/ 922816 w 2617392"/>
                  <a:gd name="connsiteY1" fmla="*/ 16778 h 939567"/>
                  <a:gd name="connsiteX2" fmla="*/ 1761715 w 2617392"/>
                  <a:gd name="connsiteY2" fmla="*/ 855677 h 939567"/>
                  <a:gd name="connsiteX3" fmla="*/ 2617392 w 2617392"/>
                  <a:gd name="connsiteY3" fmla="*/ 0 h 939567"/>
                  <a:gd name="connsiteX0" fmla="*/ 33 w 2617398"/>
                  <a:gd name="connsiteY0" fmla="*/ 939567 h 939567"/>
                  <a:gd name="connsiteX1" fmla="*/ 922822 w 2617398"/>
                  <a:gd name="connsiteY1" fmla="*/ 16778 h 939567"/>
                  <a:gd name="connsiteX2" fmla="*/ 1761721 w 2617398"/>
                  <a:gd name="connsiteY2" fmla="*/ 855677 h 939567"/>
                  <a:gd name="connsiteX3" fmla="*/ 2617398 w 2617398"/>
                  <a:gd name="connsiteY3" fmla="*/ 0 h 939567"/>
                  <a:gd name="connsiteX0" fmla="*/ 33 w 2617398"/>
                  <a:gd name="connsiteY0" fmla="*/ 939567 h 939567"/>
                  <a:gd name="connsiteX1" fmla="*/ 922822 w 2617398"/>
                  <a:gd name="connsiteY1" fmla="*/ 16778 h 939567"/>
                  <a:gd name="connsiteX2" fmla="*/ 1761721 w 2617398"/>
                  <a:gd name="connsiteY2" fmla="*/ 855677 h 939567"/>
                  <a:gd name="connsiteX3" fmla="*/ 2617398 w 2617398"/>
                  <a:gd name="connsiteY3" fmla="*/ 0 h 939567"/>
                  <a:gd name="connsiteX0" fmla="*/ 45 w 2617410"/>
                  <a:gd name="connsiteY0" fmla="*/ 939567 h 939567"/>
                  <a:gd name="connsiteX1" fmla="*/ 793294 w 2617410"/>
                  <a:gd name="connsiteY1" fmla="*/ 161558 h 939567"/>
                  <a:gd name="connsiteX2" fmla="*/ 1761733 w 2617410"/>
                  <a:gd name="connsiteY2" fmla="*/ 855677 h 939567"/>
                  <a:gd name="connsiteX3" fmla="*/ 2617410 w 2617410"/>
                  <a:gd name="connsiteY3" fmla="*/ 0 h 939567"/>
                  <a:gd name="connsiteX0" fmla="*/ 45 w 2617410"/>
                  <a:gd name="connsiteY0" fmla="*/ 939567 h 939567"/>
                  <a:gd name="connsiteX1" fmla="*/ 793294 w 2617410"/>
                  <a:gd name="connsiteY1" fmla="*/ 161558 h 939567"/>
                  <a:gd name="connsiteX2" fmla="*/ 1761733 w 2617410"/>
                  <a:gd name="connsiteY2" fmla="*/ 855677 h 939567"/>
                  <a:gd name="connsiteX3" fmla="*/ 2617410 w 2617410"/>
                  <a:gd name="connsiteY3" fmla="*/ 0 h 939567"/>
                  <a:gd name="connsiteX0" fmla="*/ 35 w 2617400"/>
                  <a:gd name="connsiteY0" fmla="*/ 939567 h 939567"/>
                  <a:gd name="connsiteX1" fmla="*/ 793284 w 2617400"/>
                  <a:gd name="connsiteY1" fmla="*/ 161558 h 939567"/>
                  <a:gd name="connsiteX2" fmla="*/ 1799823 w 2617400"/>
                  <a:gd name="connsiteY2" fmla="*/ 928067 h 939567"/>
                  <a:gd name="connsiteX3" fmla="*/ 2617400 w 2617400"/>
                  <a:gd name="connsiteY3" fmla="*/ 0 h 939567"/>
                  <a:gd name="connsiteX0" fmla="*/ 35 w 2617400"/>
                  <a:gd name="connsiteY0" fmla="*/ 939567 h 939567"/>
                  <a:gd name="connsiteX1" fmla="*/ 793284 w 2617400"/>
                  <a:gd name="connsiteY1" fmla="*/ 161558 h 939567"/>
                  <a:gd name="connsiteX2" fmla="*/ 1799823 w 2617400"/>
                  <a:gd name="connsiteY2" fmla="*/ 928067 h 939567"/>
                  <a:gd name="connsiteX3" fmla="*/ 2617400 w 2617400"/>
                  <a:gd name="connsiteY3" fmla="*/ 0 h 939567"/>
                  <a:gd name="connsiteX0" fmla="*/ 54 w 2617419"/>
                  <a:gd name="connsiteY0" fmla="*/ 939567 h 939567"/>
                  <a:gd name="connsiteX1" fmla="*/ 793303 w 2617419"/>
                  <a:gd name="connsiteY1" fmla="*/ 161558 h 939567"/>
                  <a:gd name="connsiteX2" fmla="*/ 1799842 w 2617419"/>
                  <a:gd name="connsiteY2" fmla="*/ 928067 h 939567"/>
                  <a:gd name="connsiteX3" fmla="*/ 2617419 w 2617419"/>
                  <a:gd name="connsiteY3" fmla="*/ 0 h 939567"/>
                  <a:gd name="connsiteX0" fmla="*/ 54 w 2602179"/>
                  <a:gd name="connsiteY0" fmla="*/ 778016 h 778016"/>
                  <a:gd name="connsiteX1" fmla="*/ 793303 w 2602179"/>
                  <a:gd name="connsiteY1" fmla="*/ 7 h 778016"/>
                  <a:gd name="connsiteX2" fmla="*/ 1799842 w 2602179"/>
                  <a:gd name="connsiteY2" fmla="*/ 766516 h 778016"/>
                  <a:gd name="connsiteX3" fmla="*/ 2602179 w 2602179"/>
                  <a:gd name="connsiteY3" fmla="*/ 28949 h 778016"/>
                  <a:gd name="connsiteX0" fmla="*/ 54 w 2438349"/>
                  <a:gd name="connsiteY0" fmla="*/ 778016 h 1419810"/>
                  <a:gd name="connsiteX1" fmla="*/ 793303 w 2438349"/>
                  <a:gd name="connsiteY1" fmla="*/ 7 h 1419810"/>
                  <a:gd name="connsiteX2" fmla="*/ 1799842 w 2438349"/>
                  <a:gd name="connsiteY2" fmla="*/ 766516 h 1419810"/>
                  <a:gd name="connsiteX3" fmla="*/ 2438349 w 2438349"/>
                  <a:gd name="connsiteY3" fmla="*/ 1309109 h 1419810"/>
                  <a:gd name="connsiteX0" fmla="*/ 54 w 2438349"/>
                  <a:gd name="connsiteY0" fmla="*/ 778016 h 1309109"/>
                  <a:gd name="connsiteX1" fmla="*/ 793303 w 2438349"/>
                  <a:gd name="connsiteY1" fmla="*/ 7 h 1309109"/>
                  <a:gd name="connsiteX2" fmla="*/ 1799842 w 2438349"/>
                  <a:gd name="connsiteY2" fmla="*/ 766516 h 1309109"/>
                  <a:gd name="connsiteX3" fmla="*/ 2438349 w 2438349"/>
                  <a:gd name="connsiteY3" fmla="*/ 1309109 h 1309109"/>
                  <a:gd name="connsiteX0" fmla="*/ 33 w 2438328"/>
                  <a:gd name="connsiteY0" fmla="*/ 778361 h 1309454"/>
                  <a:gd name="connsiteX1" fmla="*/ 793282 w 2438328"/>
                  <a:gd name="connsiteY1" fmla="*/ 352 h 1309454"/>
                  <a:gd name="connsiteX2" fmla="*/ 1628371 w 2438328"/>
                  <a:gd name="connsiteY2" fmla="*/ 686851 h 1309454"/>
                  <a:gd name="connsiteX3" fmla="*/ 2438328 w 2438328"/>
                  <a:gd name="connsiteY3" fmla="*/ 1309454 h 1309454"/>
                  <a:gd name="connsiteX0" fmla="*/ 33 w 2438328"/>
                  <a:gd name="connsiteY0" fmla="*/ 778494 h 1309587"/>
                  <a:gd name="connsiteX1" fmla="*/ 793282 w 2438328"/>
                  <a:gd name="connsiteY1" fmla="*/ 485 h 1309587"/>
                  <a:gd name="connsiteX2" fmla="*/ 1628371 w 2438328"/>
                  <a:gd name="connsiteY2" fmla="*/ 686984 h 1309587"/>
                  <a:gd name="connsiteX3" fmla="*/ 2438328 w 2438328"/>
                  <a:gd name="connsiteY3" fmla="*/ 1309587 h 1309587"/>
                  <a:gd name="connsiteX0" fmla="*/ 27 w 2556432"/>
                  <a:gd name="connsiteY0" fmla="*/ 671344 h 1309117"/>
                  <a:gd name="connsiteX1" fmla="*/ 911386 w 2556432"/>
                  <a:gd name="connsiteY1" fmla="*/ 15 h 1309117"/>
                  <a:gd name="connsiteX2" fmla="*/ 1746475 w 2556432"/>
                  <a:gd name="connsiteY2" fmla="*/ 686514 h 1309117"/>
                  <a:gd name="connsiteX3" fmla="*/ 2556432 w 2556432"/>
                  <a:gd name="connsiteY3" fmla="*/ 1309117 h 1309117"/>
                  <a:gd name="connsiteX0" fmla="*/ 0 w 2556405"/>
                  <a:gd name="connsiteY0" fmla="*/ 671347 h 1309120"/>
                  <a:gd name="connsiteX1" fmla="*/ 911359 w 2556405"/>
                  <a:gd name="connsiteY1" fmla="*/ 18 h 1309120"/>
                  <a:gd name="connsiteX2" fmla="*/ 1746448 w 2556405"/>
                  <a:gd name="connsiteY2" fmla="*/ 686517 h 1309120"/>
                  <a:gd name="connsiteX3" fmla="*/ 2556405 w 2556405"/>
                  <a:gd name="connsiteY3" fmla="*/ 1309120 h 1309120"/>
                  <a:gd name="connsiteX0" fmla="*/ 0 w 2556405"/>
                  <a:gd name="connsiteY0" fmla="*/ 672485 h 1310258"/>
                  <a:gd name="connsiteX1" fmla="*/ 911359 w 2556405"/>
                  <a:gd name="connsiteY1" fmla="*/ 1156 h 1310258"/>
                  <a:gd name="connsiteX2" fmla="*/ 1746448 w 2556405"/>
                  <a:gd name="connsiteY2" fmla="*/ 687655 h 1310258"/>
                  <a:gd name="connsiteX3" fmla="*/ 2556405 w 2556405"/>
                  <a:gd name="connsiteY3" fmla="*/ 1310258 h 1310258"/>
                  <a:gd name="connsiteX0" fmla="*/ 0 w 2556405"/>
                  <a:gd name="connsiteY0" fmla="*/ 672432 h 1310205"/>
                  <a:gd name="connsiteX1" fmla="*/ 911359 w 2556405"/>
                  <a:gd name="connsiteY1" fmla="*/ 1103 h 1310205"/>
                  <a:gd name="connsiteX2" fmla="*/ 1746448 w 2556405"/>
                  <a:gd name="connsiteY2" fmla="*/ 687602 h 1310205"/>
                  <a:gd name="connsiteX3" fmla="*/ 2556405 w 2556405"/>
                  <a:gd name="connsiteY3" fmla="*/ 1310205 h 1310205"/>
                  <a:gd name="connsiteX0" fmla="*/ 0 w 2556405"/>
                  <a:gd name="connsiteY0" fmla="*/ 672432 h 1310205"/>
                  <a:gd name="connsiteX1" fmla="*/ 778009 w 2556405"/>
                  <a:gd name="connsiteY1" fmla="*/ 1103 h 1310205"/>
                  <a:gd name="connsiteX2" fmla="*/ 1746448 w 2556405"/>
                  <a:gd name="connsiteY2" fmla="*/ 687602 h 1310205"/>
                  <a:gd name="connsiteX3" fmla="*/ 2556405 w 2556405"/>
                  <a:gd name="connsiteY3" fmla="*/ 1310205 h 1310205"/>
                  <a:gd name="connsiteX0" fmla="*/ 0 w 2556405"/>
                  <a:gd name="connsiteY0" fmla="*/ 672186 h 1309959"/>
                  <a:gd name="connsiteX1" fmla="*/ 778009 w 2556405"/>
                  <a:gd name="connsiteY1" fmla="*/ 857 h 1309959"/>
                  <a:gd name="connsiteX2" fmla="*/ 1746448 w 2556405"/>
                  <a:gd name="connsiteY2" fmla="*/ 687356 h 1309959"/>
                  <a:gd name="connsiteX3" fmla="*/ 2556405 w 2556405"/>
                  <a:gd name="connsiteY3" fmla="*/ 1309959 h 1309959"/>
                  <a:gd name="connsiteX0" fmla="*/ 0 w 2556405"/>
                  <a:gd name="connsiteY0" fmla="*/ 671347 h 1309120"/>
                  <a:gd name="connsiteX1" fmla="*/ 778009 w 2556405"/>
                  <a:gd name="connsiteY1" fmla="*/ 18 h 1309120"/>
                  <a:gd name="connsiteX2" fmla="*/ 1746448 w 2556405"/>
                  <a:gd name="connsiteY2" fmla="*/ 686517 h 1309120"/>
                  <a:gd name="connsiteX3" fmla="*/ 2556405 w 2556405"/>
                  <a:gd name="connsiteY3" fmla="*/ 1309120 h 1309120"/>
                  <a:gd name="connsiteX0" fmla="*/ 0 w 2556405"/>
                  <a:gd name="connsiteY0" fmla="*/ 671340 h 1309113"/>
                  <a:gd name="connsiteX1" fmla="*/ 778009 w 2556405"/>
                  <a:gd name="connsiteY1" fmla="*/ 11 h 1309113"/>
                  <a:gd name="connsiteX2" fmla="*/ 1746448 w 2556405"/>
                  <a:gd name="connsiteY2" fmla="*/ 686510 h 1309113"/>
                  <a:gd name="connsiteX3" fmla="*/ 2556405 w 2556405"/>
                  <a:gd name="connsiteY3" fmla="*/ 1309113 h 1309113"/>
                  <a:gd name="connsiteX0" fmla="*/ 0 w 2556405"/>
                  <a:gd name="connsiteY0" fmla="*/ 671340 h 1309113"/>
                  <a:gd name="connsiteX1" fmla="*/ 778009 w 2556405"/>
                  <a:gd name="connsiteY1" fmla="*/ 11 h 1309113"/>
                  <a:gd name="connsiteX2" fmla="*/ 1746448 w 2556405"/>
                  <a:gd name="connsiteY2" fmla="*/ 686510 h 1309113"/>
                  <a:gd name="connsiteX3" fmla="*/ 2556405 w 2556405"/>
                  <a:gd name="connsiteY3" fmla="*/ 1309113 h 1309113"/>
                  <a:gd name="connsiteX0" fmla="*/ 1 w 2593711"/>
                  <a:gd name="connsiteY0" fmla="*/ 644434 h 1309189"/>
                  <a:gd name="connsiteX1" fmla="*/ 815315 w 2593711"/>
                  <a:gd name="connsiteY1" fmla="*/ 87 h 1309189"/>
                  <a:gd name="connsiteX2" fmla="*/ 1783754 w 2593711"/>
                  <a:gd name="connsiteY2" fmla="*/ 686586 h 1309189"/>
                  <a:gd name="connsiteX3" fmla="*/ 2593711 w 2593711"/>
                  <a:gd name="connsiteY3" fmla="*/ 1309189 h 1309189"/>
                  <a:gd name="connsiteX0" fmla="*/ 1 w 2593711"/>
                  <a:gd name="connsiteY0" fmla="*/ 644481 h 1309236"/>
                  <a:gd name="connsiteX1" fmla="*/ 815315 w 2593711"/>
                  <a:gd name="connsiteY1" fmla="*/ 134 h 1309236"/>
                  <a:gd name="connsiteX2" fmla="*/ 1783754 w 2593711"/>
                  <a:gd name="connsiteY2" fmla="*/ 686633 h 1309236"/>
                  <a:gd name="connsiteX3" fmla="*/ 2593711 w 2593711"/>
                  <a:gd name="connsiteY3" fmla="*/ 1309236 h 1309236"/>
                  <a:gd name="connsiteX0" fmla="*/ 1 w 2638506"/>
                  <a:gd name="connsiteY0" fmla="*/ 648155 h 1309212"/>
                  <a:gd name="connsiteX1" fmla="*/ 860110 w 2638506"/>
                  <a:gd name="connsiteY1" fmla="*/ 110 h 1309212"/>
                  <a:gd name="connsiteX2" fmla="*/ 1828549 w 2638506"/>
                  <a:gd name="connsiteY2" fmla="*/ 686609 h 1309212"/>
                  <a:gd name="connsiteX3" fmla="*/ 2638506 w 2638506"/>
                  <a:gd name="connsiteY3" fmla="*/ 1309212 h 1309212"/>
                  <a:gd name="connsiteX0" fmla="*/ 1 w 2638506"/>
                  <a:gd name="connsiteY0" fmla="*/ 648197 h 1309254"/>
                  <a:gd name="connsiteX1" fmla="*/ 860110 w 2638506"/>
                  <a:gd name="connsiteY1" fmla="*/ 152 h 1309254"/>
                  <a:gd name="connsiteX2" fmla="*/ 1828549 w 2638506"/>
                  <a:gd name="connsiteY2" fmla="*/ 686651 h 1309254"/>
                  <a:gd name="connsiteX3" fmla="*/ 2638506 w 2638506"/>
                  <a:gd name="connsiteY3" fmla="*/ 1309254 h 1309254"/>
                  <a:gd name="connsiteX0" fmla="*/ 1 w 2638506"/>
                  <a:gd name="connsiteY0" fmla="*/ 649974 h 1311031"/>
                  <a:gd name="connsiteX1" fmla="*/ 860110 w 2638506"/>
                  <a:gd name="connsiteY1" fmla="*/ 1929 h 1311031"/>
                  <a:gd name="connsiteX2" fmla="*/ 1828549 w 2638506"/>
                  <a:gd name="connsiteY2" fmla="*/ 688428 h 1311031"/>
                  <a:gd name="connsiteX3" fmla="*/ 2638506 w 2638506"/>
                  <a:gd name="connsiteY3" fmla="*/ 1311031 h 1311031"/>
                  <a:gd name="connsiteX0" fmla="*/ 1 w 2638506"/>
                  <a:gd name="connsiteY0" fmla="*/ 649607 h 1310664"/>
                  <a:gd name="connsiteX1" fmla="*/ 860110 w 2638506"/>
                  <a:gd name="connsiteY1" fmla="*/ 1562 h 1310664"/>
                  <a:gd name="connsiteX2" fmla="*/ 1828549 w 2638506"/>
                  <a:gd name="connsiteY2" fmla="*/ 688061 h 1310664"/>
                  <a:gd name="connsiteX3" fmla="*/ 2638506 w 2638506"/>
                  <a:gd name="connsiteY3" fmla="*/ 1310664 h 1310664"/>
                  <a:gd name="connsiteX0" fmla="*/ 1 w 2638506"/>
                  <a:gd name="connsiteY0" fmla="*/ 649193 h 1310250"/>
                  <a:gd name="connsiteX1" fmla="*/ 860110 w 2638506"/>
                  <a:gd name="connsiteY1" fmla="*/ 1148 h 1310250"/>
                  <a:gd name="connsiteX2" fmla="*/ 1828549 w 2638506"/>
                  <a:gd name="connsiteY2" fmla="*/ 687647 h 1310250"/>
                  <a:gd name="connsiteX3" fmla="*/ 2638506 w 2638506"/>
                  <a:gd name="connsiteY3" fmla="*/ 1310250 h 1310250"/>
                  <a:gd name="connsiteX0" fmla="*/ 1 w 2638506"/>
                  <a:gd name="connsiteY0" fmla="*/ 650609 h 1311666"/>
                  <a:gd name="connsiteX1" fmla="*/ 860110 w 2638506"/>
                  <a:gd name="connsiteY1" fmla="*/ 2564 h 1311666"/>
                  <a:gd name="connsiteX2" fmla="*/ 1828549 w 2638506"/>
                  <a:gd name="connsiteY2" fmla="*/ 689063 h 1311666"/>
                  <a:gd name="connsiteX3" fmla="*/ 2638506 w 2638506"/>
                  <a:gd name="connsiteY3" fmla="*/ 1311666 h 1311666"/>
                  <a:gd name="connsiteX0" fmla="*/ 1 w 2638506"/>
                  <a:gd name="connsiteY0" fmla="*/ 649841 h 1310898"/>
                  <a:gd name="connsiteX1" fmla="*/ 860110 w 2638506"/>
                  <a:gd name="connsiteY1" fmla="*/ 1796 h 1310898"/>
                  <a:gd name="connsiteX2" fmla="*/ 1828549 w 2638506"/>
                  <a:gd name="connsiteY2" fmla="*/ 688295 h 1310898"/>
                  <a:gd name="connsiteX3" fmla="*/ 2638506 w 2638506"/>
                  <a:gd name="connsiteY3" fmla="*/ 1310898 h 1310898"/>
                  <a:gd name="connsiteX0" fmla="*/ 1 w 2638506"/>
                  <a:gd name="connsiteY0" fmla="*/ 649841 h 1310898"/>
                  <a:gd name="connsiteX1" fmla="*/ 860110 w 2638506"/>
                  <a:gd name="connsiteY1" fmla="*/ 1796 h 1310898"/>
                  <a:gd name="connsiteX2" fmla="*/ 1828549 w 2638506"/>
                  <a:gd name="connsiteY2" fmla="*/ 688295 h 1310898"/>
                  <a:gd name="connsiteX3" fmla="*/ 2638506 w 2638506"/>
                  <a:gd name="connsiteY3" fmla="*/ 1310898 h 1310898"/>
                  <a:gd name="connsiteX0" fmla="*/ 1 w 2664626"/>
                  <a:gd name="connsiteY0" fmla="*/ 635455 h 1309388"/>
                  <a:gd name="connsiteX1" fmla="*/ 886230 w 2664626"/>
                  <a:gd name="connsiteY1" fmla="*/ 286 h 1309388"/>
                  <a:gd name="connsiteX2" fmla="*/ 1854669 w 2664626"/>
                  <a:gd name="connsiteY2" fmla="*/ 686785 h 1309388"/>
                  <a:gd name="connsiteX3" fmla="*/ 2664626 w 2664626"/>
                  <a:gd name="connsiteY3" fmla="*/ 1309388 h 13093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664626" h="1309388">
                    <a:moveTo>
                      <a:pt x="1" y="635455"/>
                    </a:moveTo>
                    <a:cubicBezTo>
                      <a:pt x="160378" y="175322"/>
                      <a:pt x="577119" y="-8269"/>
                      <a:pt x="886230" y="286"/>
                    </a:cubicBezTo>
                    <a:cubicBezTo>
                      <a:pt x="1195341" y="8841"/>
                      <a:pt x="1553315" y="159574"/>
                      <a:pt x="1854669" y="686785"/>
                    </a:cubicBezTo>
                    <a:cubicBezTo>
                      <a:pt x="2156023" y="1213996"/>
                      <a:pt x="2452061" y="1284105"/>
                      <a:pt x="2664626" y="1309388"/>
                    </a:cubicBezTo>
                  </a:path>
                </a:pathLst>
              </a:custGeom>
              <a:grpFill/>
              <a:ln w="6350" cap="rnd">
                <a:solidFill>
                  <a:schemeClr val="accent5"/>
                </a:solidFill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 rtlCol="0" anchor="ctr">
                <a:noAutofit/>
              </a:bodyPr>
              <a:lstStyle/>
              <a:p>
                <a:pPr marL="0" marR="0" lvl="0" indent="0" algn="ctr" defTabSz="45719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Imago"/>
                  <a:ea typeface="+mn-ea"/>
                  <a:cs typeface="+mn-cs"/>
                </a:endParaRPr>
              </a:p>
            </p:txBody>
          </p:sp>
          <p:sp>
            <p:nvSpPr>
              <p:cNvPr id="1112" name="Freeform: Shape 92">
                <a:extLst>
                  <a:ext uri="{FF2B5EF4-FFF2-40B4-BE49-F238E27FC236}">
                    <a16:creationId xmlns:a16="http://schemas.microsoft.com/office/drawing/2014/main" id="{0AC29E23-F406-8802-FD99-6BF31E95286E}"/>
                  </a:ext>
                </a:extLst>
              </p:cNvPr>
              <p:cNvSpPr/>
              <p:nvPr/>
            </p:nvSpPr>
            <p:spPr>
              <a:xfrm rot="4837695" flipV="1">
                <a:off x="3555458" y="2895410"/>
                <a:ext cx="1016473" cy="499490"/>
              </a:xfrm>
              <a:custGeom>
                <a:avLst/>
                <a:gdLst>
                  <a:gd name="connsiteX0" fmla="*/ 0 w 2617365"/>
                  <a:gd name="connsiteY0" fmla="*/ 939567 h 939567"/>
                  <a:gd name="connsiteX1" fmla="*/ 922789 w 2617365"/>
                  <a:gd name="connsiteY1" fmla="*/ 16778 h 939567"/>
                  <a:gd name="connsiteX2" fmla="*/ 1761688 w 2617365"/>
                  <a:gd name="connsiteY2" fmla="*/ 855677 h 939567"/>
                  <a:gd name="connsiteX3" fmla="*/ 2617365 w 2617365"/>
                  <a:gd name="connsiteY3" fmla="*/ 0 h 939567"/>
                  <a:gd name="connsiteX0" fmla="*/ 27 w 2617392"/>
                  <a:gd name="connsiteY0" fmla="*/ 939567 h 939567"/>
                  <a:gd name="connsiteX1" fmla="*/ 922816 w 2617392"/>
                  <a:gd name="connsiteY1" fmla="*/ 16778 h 939567"/>
                  <a:gd name="connsiteX2" fmla="*/ 1761715 w 2617392"/>
                  <a:gd name="connsiteY2" fmla="*/ 855677 h 939567"/>
                  <a:gd name="connsiteX3" fmla="*/ 2617392 w 2617392"/>
                  <a:gd name="connsiteY3" fmla="*/ 0 h 939567"/>
                  <a:gd name="connsiteX0" fmla="*/ 27 w 2617392"/>
                  <a:gd name="connsiteY0" fmla="*/ 939567 h 939567"/>
                  <a:gd name="connsiteX1" fmla="*/ 922816 w 2617392"/>
                  <a:gd name="connsiteY1" fmla="*/ 16778 h 939567"/>
                  <a:gd name="connsiteX2" fmla="*/ 1761715 w 2617392"/>
                  <a:gd name="connsiteY2" fmla="*/ 855677 h 939567"/>
                  <a:gd name="connsiteX3" fmla="*/ 2617392 w 2617392"/>
                  <a:gd name="connsiteY3" fmla="*/ 0 h 939567"/>
                  <a:gd name="connsiteX0" fmla="*/ 33 w 2617398"/>
                  <a:gd name="connsiteY0" fmla="*/ 939567 h 939567"/>
                  <a:gd name="connsiteX1" fmla="*/ 922822 w 2617398"/>
                  <a:gd name="connsiteY1" fmla="*/ 16778 h 939567"/>
                  <a:gd name="connsiteX2" fmla="*/ 1761721 w 2617398"/>
                  <a:gd name="connsiteY2" fmla="*/ 855677 h 939567"/>
                  <a:gd name="connsiteX3" fmla="*/ 2617398 w 2617398"/>
                  <a:gd name="connsiteY3" fmla="*/ 0 h 939567"/>
                  <a:gd name="connsiteX0" fmla="*/ 33 w 2617398"/>
                  <a:gd name="connsiteY0" fmla="*/ 939567 h 939567"/>
                  <a:gd name="connsiteX1" fmla="*/ 922822 w 2617398"/>
                  <a:gd name="connsiteY1" fmla="*/ 16778 h 939567"/>
                  <a:gd name="connsiteX2" fmla="*/ 1761721 w 2617398"/>
                  <a:gd name="connsiteY2" fmla="*/ 855677 h 939567"/>
                  <a:gd name="connsiteX3" fmla="*/ 2617398 w 2617398"/>
                  <a:gd name="connsiteY3" fmla="*/ 0 h 939567"/>
                  <a:gd name="connsiteX0" fmla="*/ 45 w 2617410"/>
                  <a:gd name="connsiteY0" fmla="*/ 939567 h 939567"/>
                  <a:gd name="connsiteX1" fmla="*/ 793294 w 2617410"/>
                  <a:gd name="connsiteY1" fmla="*/ 161558 h 939567"/>
                  <a:gd name="connsiteX2" fmla="*/ 1761733 w 2617410"/>
                  <a:gd name="connsiteY2" fmla="*/ 855677 h 939567"/>
                  <a:gd name="connsiteX3" fmla="*/ 2617410 w 2617410"/>
                  <a:gd name="connsiteY3" fmla="*/ 0 h 939567"/>
                  <a:gd name="connsiteX0" fmla="*/ 45 w 2617410"/>
                  <a:gd name="connsiteY0" fmla="*/ 939567 h 939567"/>
                  <a:gd name="connsiteX1" fmla="*/ 793294 w 2617410"/>
                  <a:gd name="connsiteY1" fmla="*/ 161558 h 939567"/>
                  <a:gd name="connsiteX2" fmla="*/ 1761733 w 2617410"/>
                  <a:gd name="connsiteY2" fmla="*/ 855677 h 939567"/>
                  <a:gd name="connsiteX3" fmla="*/ 2617410 w 2617410"/>
                  <a:gd name="connsiteY3" fmla="*/ 0 h 939567"/>
                  <a:gd name="connsiteX0" fmla="*/ 35 w 2617400"/>
                  <a:gd name="connsiteY0" fmla="*/ 939567 h 939567"/>
                  <a:gd name="connsiteX1" fmla="*/ 793284 w 2617400"/>
                  <a:gd name="connsiteY1" fmla="*/ 161558 h 939567"/>
                  <a:gd name="connsiteX2" fmla="*/ 1799823 w 2617400"/>
                  <a:gd name="connsiteY2" fmla="*/ 928067 h 939567"/>
                  <a:gd name="connsiteX3" fmla="*/ 2617400 w 2617400"/>
                  <a:gd name="connsiteY3" fmla="*/ 0 h 939567"/>
                  <a:gd name="connsiteX0" fmla="*/ 35 w 2617400"/>
                  <a:gd name="connsiteY0" fmla="*/ 939567 h 939567"/>
                  <a:gd name="connsiteX1" fmla="*/ 793284 w 2617400"/>
                  <a:gd name="connsiteY1" fmla="*/ 161558 h 939567"/>
                  <a:gd name="connsiteX2" fmla="*/ 1799823 w 2617400"/>
                  <a:gd name="connsiteY2" fmla="*/ 928067 h 939567"/>
                  <a:gd name="connsiteX3" fmla="*/ 2617400 w 2617400"/>
                  <a:gd name="connsiteY3" fmla="*/ 0 h 939567"/>
                  <a:gd name="connsiteX0" fmla="*/ 54 w 2617419"/>
                  <a:gd name="connsiteY0" fmla="*/ 939567 h 939567"/>
                  <a:gd name="connsiteX1" fmla="*/ 793303 w 2617419"/>
                  <a:gd name="connsiteY1" fmla="*/ 161558 h 939567"/>
                  <a:gd name="connsiteX2" fmla="*/ 1799842 w 2617419"/>
                  <a:gd name="connsiteY2" fmla="*/ 928067 h 939567"/>
                  <a:gd name="connsiteX3" fmla="*/ 2617419 w 2617419"/>
                  <a:gd name="connsiteY3" fmla="*/ 0 h 939567"/>
                  <a:gd name="connsiteX0" fmla="*/ 54 w 2602179"/>
                  <a:gd name="connsiteY0" fmla="*/ 778016 h 778016"/>
                  <a:gd name="connsiteX1" fmla="*/ 793303 w 2602179"/>
                  <a:gd name="connsiteY1" fmla="*/ 7 h 778016"/>
                  <a:gd name="connsiteX2" fmla="*/ 1799842 w 2602179"/>
                  <a:gd name="connsiteY2" fmla="*/ 766516 h 778016"/>
                  <a:gd name="connsiteX3" fmla="*/ 2602179 w 2602179"/>
                  <a:gd name="connsiteY3" fmla="*/ 28949 h 778016"/>
                  <a:gd name="connsiteX0" fmla="*/ 54 w 2438349"/>
                  <a:gd name="connsiteY0" fmla="*/ 778016 h 1419810"/>
                  <a:gd name="connsiteX1" fmla="*/ 793303 w 2438349"/>
                  <a:gd name="connsiteY1" fmla="*/ 7 h 1419810"/>
                  <a:gd name="connsiteX2" fmla="*/ 1799842 w 2438349"/>
                  <a:gd name="connsiteY2" fmla="*/ 766516 h 1419810"/>
                  <a:gd name="connsiteX3" fmla="*/ 2438349 w 2438349"/>
                  <a:gd name="connsiteY3" fmla="*/ 1309109 h 1419810"/>
                  <a:gd name="connsiteX0" fmla="*/ 54 w 2438349"/>
                  <a:gd name="connsiteY0" fmla="*/ 778016 h 1309109"/>
                  <a:gd name="connsiteX1" fmla="*/ 793303 w 2438349"/>
                  <a:gd name="connsiteY1" fmla="*/ 7 h 1309109"/>
                  <a:gd name="connsiteX2" fmla="*/ 1799842 w 2438349"/>
                  <a:gd name="connsiteY2" fmla="*/ 766516 h 1309109"/>
                  <a:gd name="connsiteX3" fmla="*/ 2438349 w 2438349"/>
                  <a:gd name="connsiteY3" fmla="*/ 1309109 h 1309109"/>
                  <a:gd name="connsiteX0" fmla="*/ 33 w 2438328"/>
                  <a:gd name="connsiteY0" fmla="*/ 778361 h 1309454"/>
                  <a:gd name="connsiteX1" fmla="*/ 793282 w 2438328"/>
                  <a:gd name="connsiteY1" fmla="*/ 352 h 1309454"/>
                  <a:gd name="connsiteX2" fmla="*/ 1628371 w 2438328"/>
                  <a:gd name="connsiteY2" fmla="*/ 686851 h 1309454"/>
                  <a:gd name="connsiteX3" fmla="*/ 2438328 w 2438328"/>
                  <a:gd name="connsiteY3" fmla="*/ 1309454 h 1309454"/>
                  <a:gd name="connsiteX0" fmla="*/ 33 w 2438328"/>
                  <a:gd name="connsiteY0" fmla="*/ 778494 h 1309587"/>
                  <a:gd name="connsiteX1" fmla="*/ 793282 w 2438328"/>
                  <a:gd name="connsiteY1" fmla="*/ 485 h 1309587"/>
                  <a:gd name="connsiteX2" fmla="*/ 1628371 w 2438328"/>
                  <a:gd name="connsiteY2" fmla="*/ 686984 h 1309587"/>
                  <a:gd name="connsiteX3" fmla="*/ 2438328 w 2438328"/>
                  <a:gd name="connsiteY3" fmla="*/ 1309587 h 1309587"/>
                  <a:gd name="connsiteX0" fmla="*/ 27 w 2556432"/>
                  <a:gd name="connsiteY0" fmla="*/ 671344 h 1309117"/>
                  <a:gd name="connsiteX1" fmla="*/ 911386 w 2556432"/>
                  <a:gd name="connsiteY1" fmla="*/ 15 h 1309117"/>
                  <a:gd name="connsiteX2" fmla="*/ 1746475 w 2556432"/>
                  <a:gd name="connsiteY2" fmla="*/ 686514 h 1309117"/>
                  <a:gd name="connsiteX3" fmla="*/ 2556432 w 2556432"/>
                  <a:gd name="connsiteY3" fmla="*/ 1309117 h 1309117"/>
                  <a:gd name="connsiteX0" fmla="*/ 0 w 2556405"/>
                  <a:gd name="connsiteY0" fmla="*/ 671347 h 1309120"/>
                  <a:gd name="connsiteX1" fmla="*/ 911359 w 2556405"/>
                  <a:gd name="connsiteY1" fmla="*/ 18 h 1309120"/>
                  <a:gd name="connsiteX2" fmla="*/ 1746448 w 2556405"/>
                  <a:gd name="connsiteY2" fmla="*/ 686517 h 1309120"/>
                  <a:gd name="connsiteX3" fmla="*/ 2556405 w 2556405"/>
                  <a:gd name="connsiteY3" fmla="*/ 1309120 h 1309120"/>
                  <a:gd name="connsiteX0" fmla="*/ 0 w 2556405"/>
                  <a:gd name="connsiteY0" fmla="*/ 672485 h 1310258"/>
                  <a:gd name="connsiteX1" fmla="*/ 911359 w 2556405"/>
                  <a:gd name="connsiteY1" fmla="*/ 1156 h 1310258"/>
                  <a:gd name="connsiteX2" fmla="*/ 1746448 w 2556405"/>
                  <a:gd name="connsiteY2" fmla="*/ 687655 h 1310258"/>
                  <a:gd name="connsiteX3" fmla="*/ 2556405 w 2556405"/>
                  <a:gd name="connsiteY3" fmla="*/ 1310258 h 1310258"/>
                  <a:gd name="connsiteX0" fmla="*/ 0 w 2556405"/>
                  <a:gd name="connsiteY0" fmla="*/ 672432 h 1310205"/>
                  <a:gd name="connsiteX1" fmla="*/ 911359 w 2556405"/>
                  <a:gd name="connsiteY1" fmla="*/ 1103 h 1310205"/>
                  <a:gd name="connsiteX2" fmla="*/ 1746448 w 2556405"/>
                  <a:gd name="connsiteY2" fmla="*/ 687602 h 1310205"/>
                  <a:gd name="connsiteX3" fmla="*/ 2556405 w 2556405"/>
                  <a:gd name="connsiteY3" fmla="*/ 1310205 h 1310205"/>
                  <a:gd name="connsiteX0" fmla="*/ 0 w 2556405"/>
                  <a:gd name="connsiteY0" fmla="*/ 672432 h 1310205"/>
                  <a:gd name="connsiteX1" fmla="*/ 778009 w 2556405"/>
                  <a:gd name="connsiteY1" fmla="*/ 1103 h 1310205"/>
                  <a:gd name="connsiteX2" fmla="*/ 1746448 w 2556405"/>
                  <a:gd name="connsiteY2" fmla="*/ 687602 h 1310205"/>
                  <a:gd name="connsiteX3" fmla="*/ 2556405 w 2556405"/>
                  <a:gd name="connsiteY3" fmla="*/ 1310205 h 1310205"/>
                  <a:gd name="connsiteX0" fmla="*/ 0 w 2556405"/>
                  <a:gd name="connsiteY0" fmla="*/ 672186 h 1309959"/>
                  <a:gd name="connsiteX1" fmla="*/ 778009 w 2556405"/>
                  <a:gd name="connsiteY1" fmla="*/ 857 h 1309959"/>
                  <a:gd name="connsiteX2" fmla="*/ 1746448 w 2556405"/>
                  <a:gd name="connsiteY2" fmla="*/ 687356 h 1309959"/>
                  <a:gd name="connsiteX3" fmla="*/ 2556405 w 2556405"/>
                  <a:gd name="connsiteY3" fmla="*/ 1309959 h 1309959"/>
                  <a:gd name="connsiteX0" fmla="*/ 0 w 2556405"/>
                  <a:gd name="connsiteY0" fmla="*/ 671347 h 1309120"/>
                  <a:gd name="connsiteX1" fmla="*/ 778009 w 2556405"/>
                  <a:gd name="connsiteY1" fmla="*/ 18 h 1309120"/>
                  <a:gd name="connsiteX2" fmla="*/ 1746448 w 2556405"/>
                  <a:gd name="connsiteY2" fmla="*/ 686517 h 1309120"/>
                  <a:gd name="connsiteX3" fmla="*/ 2556405 w 2556405"/>
                  <a:gd name="connsiteY3" fmla="*/ 1309120 h 1309120"/>
                  <a:gd name="connsiteX0" fmla="*/ 0 w 2556405"/>
                  <a:gd name="connsiteY0" fmla="*/ 671340 h 1309113"/>
                  <a:gd name="connsiteX1" fmla="*/ 778009 w 2556405"/>
                  <a:gd name="connsiteY1" fmla="*/ 11 h 1309113"/>
                  <a:gd name="connsiteX2" fmla="*/ 1746448 w 2556405"/>
                  <a:gd name="connsiteY2" fmla="*/ 686510 h 1309113"/>
                  <a:gd name="connsiteX3" fmla="*/ 2556405 w 2556405"/>
                  <a:gd name="connsiteY3" fmla="*/ 1309113 h 1309113"/>
                  <a:gd name="connsiteX0" fmla="*/ 0 w 2556405"/>
                  <a:gd name="connsiteY0" fmla="*/ 671340 h 1309113"/>
                  <a:gd name="connsiteX1" fmla="*/ 778009 w 2556405"/>
                  <a:gd name="connsiteY1" fmla="*/ 11 h 1309113"/>
                  <a:gd name="connsiteX2" fmla="*/ 1746448 w 2556405"/>
                  <a:gd name="connsiteY2" fmla="*/ 686510 h 1309113"/>
                  <a:gd name="connsiteX3" fmla="*/ 2556405 w 2556405"/>
                  <a:gd name="connsiteY3" fmla="*/ 1309113 h 1309113"/>
                  <a:gd name="connsiteX0" fmla="*/ 1 w 2593711"/>
                  <a:gd name="connsiteY0" fmla="*/ 644434 h 1309189"/>
                  <a:gd name="connsiteX1" fmla="*/ 815315 w 2593711"/>
                  <a:gd name="connsiteY1" fmla="*/ 87 h 1309189"/>
                  <a:gd name="connsiteX2" fmla="*/ 1783754 w 2593711"/>
                  <a:gd name="connsiteY2" fmla="*/ 686586 h 1309189"/>
                  <a:gd name="connsiteX3" fmla="*/ 2593711 w 2593711"/>
                  <a:gd name="connsiteY3" fmla="*/ 1309189 h 1309189"/>
                  <a:gd name="connsiteX0" fmla="*/ 1 w 2593711"/>
                  <a:gd name="connsiteY0" fmla="*/ 644481 h 1309236"/>
                  <a:gd name="connsiteX1" fmla="*/ 815315 w 2593711"/>
                  <a:gd name="connsiteY1" fmla="*/ 134 h 1309236"/>
                  <a:gd name="connsiteX2" fmla="*/ 1783754 w 2593711"/>
                  <a:gd name="connsiteY2" fmla="*/ 686633 h 1309236"/>
                  <a:gd name="connsiteX3" fmla="*/ 2593711 w 2593711"/>
                  <a:gd name="connsiteY3" fmla="*/ 1309236 h 1309236"/>
                  <a:gd name="connsiteX0" fmla="*/ 1 w 2638506"/>
                  <a:gd name="connsiteY0" fmla="*/ 648155 h 1309212"/>
                  <a:gd name="connsiteX1" fmla="*/ 860110 w 2638506"/>
                  <a:gd name="connsiteY1" fmla="*/ 110 h 1309212"/>
                  <a:gd name="connsiteX2" fmla="*/ 1828549 w 2638506"/>
                  <a:gd name="connsiteY2" fmla="*/ 686609 h 1309212"/>
                  <a:gd name="connsiteX3" fmla="*/ 2638506 w 2638506"/>
                  <a:gd name="connsiteY3" fmla="*/ 1309212 h 1309212"/>
                  <a:gd name="connsiteX0" fmla="*/ 1 w 2638506"/>
                  <a:gd name="connsiteY0" fmla="*/ 648197 h 1309254"/>
                  <a:gd name="connsiteX1" fmla="*/ 860110 w 2638506"/>
                  <a:gd name="connsiteY1" fmla="*/ 152 h 1309254"/>
                  <a:gd name="connsiteX2" fmla="*/ 1828549 w 2638506"/>
                  <a:gd name="connsiteY2" fmla="*/ 686651 h 1309254"/>
                  <a:gd name="connsiteX3" fmla="*/ 2638506 w 2638506"/>
                  <a:gd name="connsiteY3" fmla="*/ 1309254 h 1309254"/>
                  <a:gd name="connsiteX0" fmla="*/ 1 w 2638506"/>
                  <a:gd name="connsiteY0" fmla="*/ 649974 h 1311031"/>
                  <a:gd name="connsiteX1" fmla="*/ 860110 w 2638506"/>
                  <a:gd name="connsiteY1" fmla="*/ 1929 h 1311031"/>
                  <a:gd name="connsiteX2" fmla="*/ 1828549 w 2638506"/>
                  <a:gd name="connsiteY2" fmla="*/ 688428 h 1311031"/>
                  <a:gd name="connsiteX3" fmla="*/ 2638506 w 2638506"/>
                  <a:gd name="connsiteY3" fmla="*/ 1311031 h 1311031"/>
                  <a:gd name="connsiteX0" fmla="*/ 1 w 2638506"/>
                  <a:gd name="connsiteY0" fmla="*/ 649607 h 1310664"/>
                  <a:gd name="connsiteX1" fmla="*/ 860110 w 2638506"/>
                  <a:gd name="connsiteY1" fmla="*/ 1562 h 1310664"/>
                  <a:gd name="connsiteX2" fmla="*/ 1828549 w 2638506"/>
                  <a:gd name="connsiteY2" fmla="*/ 688061 h 1310664"/>
                  <a:gd name="connsiteX3" fmla="*/ 2638506 w 2638506"/>
                  <a:gd name="connsiteY3" fmla="*/ 1310664 h 1310664"/>
                  <a:gd name="connsiteX0" fmla="*/ 1 w 2638506"/>
                  <a:gd name="connsiteY0" fmla="*/ 649193 h 1310250"/>
                  <a:gd name="connsiteX1" fmla="*/ 860110 w 2638506"/>
                  <a:gd name="connsiteY1" fmla="*/ 1148 h 1310250"/>
                  <a:gd name="connsiteX2" fmla="*/ 1828549 w 2638506"/>
                  <a:gd name="connsiteY2" fmla="*/ 687647 h 1310250"/>
                  <a:gd name="connsiteX3" fmla="*/ 2638506 w 2638506"/>
                  <a:gd name="connsiteY3" fmla="*/ 1310250 h 1310250"/>
                  <a:gd name="connsiteX0" fmla="*/ 1 w 2638506"/>
                  <a:gd name="connsiteY0" fmla="*/ 650609 h 1311666"/>
                  <a:gd name="connsiteX1" fmla="*/ 860110 w 2638506"/>
                  <a:gd name="connsiteY1" fmla="*/ 2564 h 1311666"/>
                  <a:gd name="connsiteX2" fmla="*/ 1828549 w 2638506"/>
                  <a:gd name="connsiteY2" fmla="*/ 689063 h 1311666"/>
                  <a:gd name="connsiteX3" fmla="*/ 2638506 w 2638506"/>
                  <a:gd name="connsiteY3" fmla="*/ 1311666 h 1311666"/>
                  <a:gd name="connsiteX0" fmla="*/ 1 w 2638506"/>
                  <a:gd name="connsiteY0" fmla="*/ 649841 h 1310898"/>
                  <a:gd name="connsiteX1" fmla="*/ 860110 w 2638506"/>
                  <a:gd name="connsiteY1" fmla="*/ 1796 h 1310898"/>
                  <a:gd name="connsiteX2" fmla="*/ 1828549 w 2638506"/>
                  <a:gd name="connsiteY2" fmla="*/ 688295 h 1310898"/>
                  <a:gd name="connsiteX3" fmla="*/ 2638506 w 2638506"/>
                  <a:gd name="connsiteY3" fmla="*/ 1310898 h 1310898"/>
                  <a:gd name="connsiteX0" fmla="*/ 1 w 2638506"/>
                  <a:gd name="connsiteY0" fmla="*/ 649841 h 1310898"/>
                  <a:gd name="connsiteX1" fmla="*/ 860110 w 2638506"/>
                  <a:gd name="connsiteY1" fmla="*/ 1796 h 1310898"/>
                  <a:gd name="connsiteX2" fmla="*/ 1828549 w 2638506"/>
                  <a:gd name="connsiteY2" fmla="*/ 688295 h 1310898"/>
                  <a:gd name="connsiteX3" fmla="*/ 2638506 w 2638506"/>
                  <a:gd name="connsiteY3" fmla="*/ 1310898 h 1310898"/>
                  <a:gd name="connsiteX0" fmla="*/ 1 w 2664626"/>
                  <a:gd name="connsiteY0" fmla="*/ 635455 h 1309388"/>
                  <a:gd name="connsiteX1" fmla="*/ 886230 w 2664626"/>
                  <a:gd name="connsiteY1" fmla="*/ 286 h 1309388"/>
                  <a:gd name="connsiteX2" fmla="*/ 1854669 w 2664626"/>
                  <a:gd name="connsiteY2" fmla="*/ 686785 h 1309388"/>
                  <a:gd name="connsiteX3" fmla="*/ 2664626 w 2664626"/>
                  <a:gd name="connsiteY3" fmla="*/ 1309388 h 13093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664626" h="1309388">
                    <a:moveTo>
                      <a:pt x="1" y="635455"/>
                    </a:moveTo>
                    <a:cubicBezTo>
                      <a:pt x="160378" y="175322"/>
                      <a:pt x="577119" y="-8269"/>
                      <a:pt x="886230" y="286"/>
                    </a:cubicBezTo>
                    <a:cubicBezTo>
                      <a:pt x="1195341" y="8841"/>
                      <a:pt x="1553315" y="159574"/>
                      <a:pt x="1854669" y="686785"/>
                    </a:cubicBezTo>
                    <a:cubicBezTo>
                      <a:pt x="2156023" y="1213996"/>
                      <a:pt x="2452061" y="1284105"/>
                      <a:pt x="2664626" y="1309388"/>
                    </a:cubicBezTo>
                  </a:path>
                </a:pathLst>
              </a:custGeom>
              <a:grpFill/>
              <a:ln w="6350" cap="rnd">
                <a:solidFill>
                  <a:schemeClr val="accent5"/>
                </a:solidFill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 rtlCol="0" anchor="ctr">
                <a:noAutofit/>
              </a:bodyPr>
              <a:lstStyle/>
              <a:p>
                <a:pPr marL="0" marR="0" lvl="0" indent="0" algn="ctr" defTabSz="45719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Imago"/>
                  <a:ea typeface="+mn-ea"/>
                  <a:cs typeface="+mn-cs"/>
                </a:endParaRPr>
              </a:p>
            </p:txBody>
          </p:sp>
          <p:sp>
            <p:nvSpPr>
              <p:cNvPr id="1113" name="Freeform: Shape 93">
                <a:extLst>
                  <a:ext uri="{FF2B5EF4-FFF2-40B4-BE49-F238E27FC236}">
                    <a16:creationId xmlns:a16="http://schemas.microsoft.com/office/drawing/2014/main" id="{A623E65E-1E17-F01C-10F9-F8B3E00E1C4C}"/>
                  </a:ext>
                </a:extLst>
              </p:cNvPr>
              <p:cNvSpPr/>
              <p:nvPr/>
            </p:nvSpPr>
            <p:spPr>
              <a:xfrm rot="4837695" flipH="1">
                <a:off x="4082897" y="2290767"/>
                <a:ext cx="255606" cy="283890"/>
              </a:xfrm>
              <a:custGeom>
                <a:avLst/>
                <a:gdLst>
                  <a:gd name="connsiteX0" fmla="*/ 0 w 2617365"/>
                  <a:gd name="connsiteY0" fmla="*/ 939567 h 939567"/>
                  <a:gd name="connsiteX1" fmla="*/ 922789 w 2617365"/>
                  <a:gd name="connsiteY1" fmla="*/ 16778 h 939567"/>
                  <a:gd name="connsiteX2" fmla="*/ 1761688 w 2617365"/>
                  <a:gd name="connsiteY2" fmla="*/ 855677 h 939567"/>
                  <a:gd name="connsiteX3" fmla="*/ 2617365 w 2617365"/>
                  <a:gd name="connsiteY3" fmla="*/ 0 h 939567"/>
                  <a:gd name="connsiteX0" fmla="*/ 27 w 2617392"/>
                  <a:gd name="connsiteY0" fmla="*/ 939567 h 939567"/>
                  <a:gd name="connsiteX1" fmla="*/ 922816 w 2617392"/>
                  <a:gd name="connsiteY1" fmla="*/ 16778 h 939567"/>
                  <a:gd name="connsiteX2" fmla="*/ 1761715 w 2617392"/>
                  <a:gd name="connsiteY2" fmla="*/ 855677 h 939567"/>
                  <a:gd name="connsiteX3" fmla="*/ 2617392 w 2617392"/>
                  <a:gd name="connsiteY3" fmla="*/ 0 h 939567"/>
                  <a:gd name="connsiteX0" fmla="*/ 27 w 2617392"/>
                  <a:gd name="connsiteY0" fmla="*/ 939567 h 939567"/>
                  <a:gd name="connsiteX1" fmla="*/ 922816 w 2617392"/>
                  <a:gd name="connsiteY1" fmla="*/ 16778 h 939567"/>
                  <a:gd name="connsiteX2" fmla="*/ 1761715 w 2617392"/>
                  <a:gd name="connsiteY2" fmla="*/ 855677 h 939567"/>
                  <a:gd name="connsiteX3" fmla="*/ 2617392 w 2617392"/>
                  <a:gd name="connsiteY3" fmla="*/ 0 h 939567"/>
                  <a:gd name="connsiteX0" fmla="*/ 33 w 2617398"/>
                  <a:gd name="connsiteY0" fmla="*/ 939567 h 939567"/>
                  <a:gd name="connsiteX1" fmla="*/ 922822 w 2617398"/>
                  <a:gd name="connsiteY1" fmla="*/ 16778 h 939567"/>
                  <a:gd name="connsiteX2" fmla="*/ 1761721 w 2617398"/>
                  <a:gd name="connsiteY2" fmla="*/ 855677 h 939567"/>
                  <a:gd name="connsiteX3" fmla="*/ 2617398 w 2617398"/>
                  <a:gd name="connsiteY3" fmla="*/ 0 h 939567"/>
                  <a:gd name="connsiteX0" fmla="*/ 33 w 2617398"/>
                  <a:gd name="connsiteY0" fmla="*/ 939567 h 939567"/>
                  <a:gd name="connsiteX1" fmla="*/ 922822 w 2617398"/>
                  <a:gd name="connsiteY1" fmla="*/ 16778 h 939567"/>
                  <a:gd name="connsiteX2" fmla="*/ 1761721 w 2617398"/>
                  <a:gd name="connsiteY2" fmla="*/ 855677 h 939567"/>
                  <a:gd name="connsiteX3" fmla="*/ 2617398 w 2617398"/>
                  <a:gd name="connsiteY3" fmla="*/ 0 h 939567"/>
                  <a:gd name="connsiteX0" fmla="*/ 45 w 2617410"/>
                  <a:gd name="connsiteY0" fmla="*/ 939567 h 939567"/>
                  <a:gd name="connsiteX1" fmla="*/ 793294 w 2617410"/>
                  <a:gd name="connsiteY1" fmla="*/ 161558 h 939567"/>
                  <a:gd name="connsiteX2" fmla="*/ 1761733 w 2617410"/>
                  <a:gd name="connsiteY2" fmla="*/ 855677 h 939567"/>
                  <a:gd name="connsiteX3" fmla="*/ 2617410 w 2617410"/>
                  <a:gd name="connsiteY3" fmla="*/ 0 h 939567"/>
                  <a:gd name="connsiteX0" fmla="*/ 45 w 2617410"/>
                  <a:gd name="connsiteY0" fmla="*/ 939567 h 939567"/>
                  <a:gd name="connsiteX1" fmla="*/ 793294 w 2617410"/>
                  <a:gd name="connsiteY1" fmla="*/ 161558 h 939567"/>
                  <a:gd name="connsiteX2" fmla="*/ 1761733 w 2617410"/>
                  <a:gd name="connsiteY2" fmla="*/ 855677 h 939567"/>
                  <a:gd name="connsiteX3" fmla="*/ 2617410 w 2617410"/>
                  <a:gd name="connsiteY3" fmla="*/ 0 h 939567"/>
                  <a:gd name="connsiteX0" fmla="*/ 35 w 2617400"/>
                  <a:gd name="connsiteY0" fmla="*/ 939567 h 939567"/>
                  <a:gd name="connsiteX1" fmla="*/ 793284 w 2617400"/>
                  <a:gd name="connsiteY1" fmla="*/ 161558 h 939567"/>
                  <a:gd name="connsiteX2" fmla="*/ 1799823 w 2617400"/>
                  <a:gd name="connsiteY2" fmla="*/ 928067 h 939567"/>
                  <a:gd name="connsiteX3" fmla="*/ 2617400 w 2617400"/>
                  <a:gd name="connsiteY3" fmla="*/ 0 h 939567"/>
                  <a:gd name="connsiteX0" fmla="*/ 35 w 2617400"/>
                  <a:gd name="connsiteY0" fmla="*/ 939567 h 939567"/>
                  <a:gd name="connsiteX1" fmla="*/ 793284 w 2617400"/>
                  <a:gd name="connsiteY1" fmla="*/ 161558 h 939567"/>
                  <a:gd name="connsiteX2" fmla="*/ 1799823 w 2617400"/>
                  <a:gd name="connsiteY2" fmla="*/ 928067 h 939567"/>
                  <a:gd name="connsiteX3" fmla="*/ 2617400 w 2617400"/>
                  <a:gd name="connsiteY3" fmla="*/ 0 h 939567"/>
                  <a:gd name="connsiteX0" fmla="*/ 54 w 2617419"/>
                  <a:gd name="connsiteY0" fmla="*/ 939567 h 939567"/>
                  <a:gd name="connsiteX1" fmla="*/ 793303 w 2617419"/>
                  <a:gd name="connsiteY1" fmla="*/ 161558 h 939567"/>
                  <a:gd name="connsiteX2" fmla="*/ 1799842 w 2617419"/>
                  <a:gd name="connsiteY2" fmla="*/ 928067 h 939567"/>
                  <a:gd name="connsiteX3" fmla="*/ 2617419 w 2617419"/>
                  <a:gd name="connsiteY3" fmla="*/ 0 h 939567"/>
                  <a:gd name="connsiteX0" fmla="*/ 54 w 2602179"/>
                  <a:gd name="connsiteY0" fmla="*/ 778016 h 778016"/>
                  <a:gd name="connsiteX1" fmla="*/ 793303 w 2602179"/>
                  <a:gd name="connsiteY1" fmla="*/ 7 h 778016"/>
                  <a:gd name="connsiteX2" fmla="*/ 1799842 w 2602179"/>
                  <a:gd name="connsiteY2" fmla="*/ 766516 h 778016"/>
                  <a:gd name="connsiteX3" fmla="*/ 2602179 w 2602179"/>
                  <a:gd name="connsiteY3" fmla="*/ 28949 h 778016"/>
                  <a:gd name="connsiteX0" fmla="*/ 54 w 2438349"/>
                  <a:gd name="connsiteY0" fmla="*/ 778016 h 1419810"/>
                  <a:gd name="connsiteX1" fmla="*/ 793303 w 2438349"/>
                  <a:gd name="connsiteY1" fmla="*/ 7 h 1419810"/>
                  <a:gd name="connsiteX2" fmla="*/ 1799842 w 2438349"/>
                  <a:gd name="connsiteY2" fmla="*/ 766516 h 1419810"/>
                  <a:gd name="connsiteX3" fmla="*/ 2438349 w 2438349"/>
                  <a:gd name="connsiteY3" fmla="*/ 1309109 h 1419810"/>
                  <a:gd name="connsiteX0" fmla="*/ 54 w 2438349"/>
                  <a:gd name="connsiteY0" fmla="*/ 778016 h 1309109"/>
                  <a:gd name="connsiteX1" fmla="*/ 793303 w 2438349"/>
                  <a:gd name="connsiteY1" fmla="*/ 7 h 1309109"/>
                  <a:gd name="connsiteX2" fmla="*/ 1799842 w 2438349"/>
                  <a:gd name="connsiteY2" fmla="*/ 766516 h 1309109"/>
                  <a:gd name="connsiteX3" fmla="*/ 2438349 w 2438349"/>
                  <a:gd name="connsiteY3" fmla="*/ 1309109 h 1309109"/>
                  <a:gd name="connsiteX0" fmla="*/ 33 w 2438328"/>
                  <a:gd name="connsiteY0" fmla="*/ 778361 h 1309454"/>
                  <a:gd name="connsiteX1" fmla="*/ 793282 w 2438328"/>
                  <a:gd name="connsiteY1" fmla="*/ 352 h 1309454"/>
                  <a:gd name="connsiteX2" fmla="*/ 1628371 w 2438328"/>
                  <a:gd name="connsiteY2" fmla="*/ 686851 h 1309454"/>
                  <a:gd name="connsiteX3" fmla="*/ 2438328 w 2438328"/>
                  <a:gd name="connsiteY3" fmla="*/ 1309454 h 1309454"/>
                  <a:gd name="connsiteX0" fmla="*/ 33 w 2438328"/>
                  <a:gd name="connsiteY0" fmla="*/ 778494 h 1309587"/>
                  <a:gd name="connsiteX1" fmla="*/ 793282 w 2438328"/>
                  <a:gd name="connsiteY1" fmla="*/ 485 h 1309587"/>
                  <a:gd name="connsiteX2" fmla="*/ 1628371 w 2438328"/>
                  <a:gd name="connsiteY2" fmla="*/ 686984 h 1309587"/>
                  <a:gd name="connsiteX3" fmla="*/ 2438328 w 2438328"/>
                  <a:gd name="connsiteY3" fmla="*/ 1309587 h 1309587"/>
                  <a:gd name="connsiteX0" fmla="*/ 27 w 2556432"/>
                  <a:gd name="connsiteY0" fmla="*/ 671344 h 1309117"/>
                  <a:gd name="connsiteX1" fmla="*/ 911386 w 2556432"/>
                  <a:gd name="connsiteY1" fmla="*/ 15 h 1309117"/>
                  <a:gd name="connsiteX2" fmla="*/ 1746475 w 2556432"/>
                  <a:gd name="connsiteY2" fmla="*/ 686514 h 1309117"/>
                  <a:gd name="connsiteX3" fmla="*/ 2556432 w 2556432"/>
                  <a:gd name="connsiteY3" fmla="*/ 1309117 h 1309117"/>
                  <a:gd name="connsiteX0" fmla="*/ 0 w 2556405"/>
                  <a:gd name="connsiteY0" fmla="*/ 671347 h 1309120"/>
                  <a:gd name="connsiteX1" fmla="*/ 911359 w 2556405"/>
                  <a:gd name="connsiteY1" fmla="*/ 18 h 1309120"/>
                  <a:gd name="connsiteX2" fmla="*/ 1746448 w 2556405"/>
                  <a:gd name="connsiteY2" fmla="*/ 686517 h 1309120"/>
                  <a:gd name="connsiteX3" fmla="*/ 2556405 w 2556405"/>
                  <a:gd name="connsiteY3" fmla="*/ 1309120 h 1309120"/>
                  <a:gd name="connsiteX0" fmla="*/ 0 w 2556405"/>
                  <a:gd name="connsiteY0" fmla="*/ 672485 h 1310258"/>
                  <a:gd name="connsiteX1" fmla="*/ 911359 w 2556405"/>
                  <a:gd name="connsiteY1" fmla="*/ 1156 h 1310258"/>
                  <a:gd name="connsiteX2" fmla="*/ 1746448 w 2556405"/>
                  <a:gd name="connsiteY2" fmla="*/ 687655 h 1310258"/>
                  <a:gd name="connsiteX3" fmla="*/ 2556405 w 2556405"/>
                  <a:gd name="connsiteY3" fmla="*/ 1310258 h 1310258"/>
                  <a:gd name="connsiteX0" fmla="*/ 0 w 2556405"/>
                  <a:gd name="connsiteY0" fmla="*/ 672432 h 1310205"/>
                  <a:gd name="connsiteX1" fmla="*/ 911359 w 2556405"/>
                  <a:gd name="connsiteY1" fmla="*/ 1103 h 1310205"/>
                  <a:gd name="connsiteX2" fmla="*/ 1746448 w 2556405"/>
                  <a:gd name="connsiteY2" fmla="*/ 687602 h 1310205"/>
                  <a:gd name="connsiteX3" fmla="*/ 2556405 w 2556405"/>
                  <a:gd name="connsiteY3" fmla="*/ 1310205 h 1310205"/>
                  <a:gd name="connsiteX0" fmla="*/ 0 w 2556405"/>
                  <a:gd name="connsiteY0" fmla="*/ 672432 h 1310205"/>
                  <a:gd name="connsiteX1" fmla="*/ 778009 w 2556405"/>
                  <a:gd name="connsiteY1" fmla="*/ 1103 h 1310205"/>
                  <a:gd name="connsiteX2" fmla="*/ 1746448 w 2556405"/>
                  <a:gd name="connsiteY2" fmla="*/ 687602 h 1310205"/>
                  <a:gd name="connsiteX3" fmla="*/ 2556405 w 2556405"/>
                  <a:gd name="connsiteY3" fmla="*/ 1310205 h 1310205"/>
                  <a:gd name="connsiteX0" fmla="*/ 0 w 2556405"/>
                  <a:gd name="connsiteY0" fmla="*/ 672186 h 1309959"/>
                  <a:gd name="connsiteX1" fmla="*/ 778009 w 2556405"/>
                  <a:gd name="connsiteY1" fmla="*/ 857 h 1309959"/>
                  <a:gd name="connsiteX2" fmla="*/ 1746448 w 2556405"/>
                  <a:gd name="connsiteY2" fmla="*/ 687356 h 1309959"/>
                  <a:gd name="connsiteX3" fmla="*/ 2556405 w 2556405"/>
                  <a:gd name="connsiteY3" fmla="*/ 1309959 h 1309959"/>
                  <a:gd name="connsiteX0" fmla="*/ 0 w 2556405"/>
                  <a:gd name="connsiteY0" fmla="*/ 671347 h 1309120"/>
                  <a:gd name="connsiteX1" fmla="*/ 778009 w 2556405"/>
                  <a:gd name="connsiteY1" fmla="*/ 18 h 1309120"/>
                  <a:gd name="connsiteX2" fmla="*/ 1746448 w 2556405"/>
                  <a:gd name="connsiteY2" fmla="*/ 686517 h 1309120"/>
                  <a:gd name="connsiteX3" fmla="*/ 2556405 w 2556405"/>
                  <a:gd name="connsiteY3" fmla="*/ 1309120 h 1309120"/>
                  <a:gd name="connsiteX0" fmla="*/ 0 w 2556405"/>
                  <a:gd name="connsiteY0" fmla="*/ 671340 h 1309113"/>
                  <a:gd name="connsiteX1" fmla="*/ 778009 w 2556405"/>
                  <a:gd name="connsiteY1" fmla="*/ 11 h 1309113"/>
                  <a:gd name="connsiteX2" fmla="*/ 1746448 w 2556405"/>
                  <a:gd name="connsiteY2" fmla="*/ 686510 h 1309113"/>
                  <a:gd name="connsiteX3" fmla="*/ 2556405 w 2556405"/>
                  <a:gd name="connsiteY3" fmla="*/ 1309113 h 1309113"/>
                  <a:gd name="connsiteX0" fmla="*/ 0 w 2556405"/>
                  <a:gd name="connsiteY0" fmla="*/ 671340 h 1309113"/>
                  <a:gd name="connsiteX1" fmla="*/ 778009 w 2556405"/>
                  <a:gd name="connsiteY1" fmla="*/ 11 h 1309113"/>
                  <a:gd name="connsiteX2" fmla="*/ 1746448 w 2556405"/>
                  <a:gd name="connsiteY2" fmla="*/ 686510 h 1309113"/>
                  <a:gd name="connsiteX3" fmla="*/ 2556405 w 2556405"/>
                  <a:gd name="connsiteY3" fmla="*/ 1309113 h 1309113"/>
                  <a:gd name="connsiteX0" fmla="*/ 1 w 2593711"/>
                  <a:gd name="connsiteY0" fmla="*/ 644434 h 1309189"/>
                  <a:gd name="connsiteX1" fmla="*/ 815315 w 2593711"/>
                  <a:gd name="connsiteY1" fmla="*/ 87 h 1309189"/>
                  <a:gd name="connsiteX2" fmla="*/ 1783754 w 2593711"/>
                  <a:gd name="connsiteY2" fmla="*/ 686586 h 1309189"/>
                  <a:gd name="connsiteX3" fmla="*/ 2593711 w 2593711"/>
                  <a:gd name="connsiteY3" fmla="*/ 1309189 h 1309189"/>
                  <a:gd name="connsiteX0" fmla="*/ 1 w 2593711"/>
                  <a:gd name="connsiteY0" fmla="*/ 644481 h 1309236"/>
                  <a:gd name="connsiteX1" fmla="*/ 815315 w 2593711"/>
                  <a:gd name="connsiteY1" fmla="*/ 134 h 1309236"/>
                  <a:gd name="connsiteX2" fmla="*/ 1783754 w 2593711"/>
                  <a:gd name="connsiteY2" fmla="*/ 686633 h 1309236"/>
                  <a:gd name="connsiteX3" fmla="*/ 2593711 w 2593711"/>
                  <a:gd name="connsiteY3" fmla="*/ 1309236 h 1309236"/>
                  <a:gd name="connsiteX0" fmla="*/ 1 w 2638506"/>
                  <a:gd name="connsiteY0" fmla="*/ 648155 h 1309212"/>
                  <a:gd name="connsiteX1" fmla="*/ 860110 w 2638506"/>
                  <a:gd name="connsiteY1" fmla="*/ 110 h 1309212"/>
                  <a:gd name="connsiteX2" fmla="*/ 1828549 w 2638506"/>
                  <a:gd name="connsiteY2" fmla="*/ 686609 h 1309212"/>
                  <a:gd name="connsiteX3" fmla="*/ 2638506 w 2638506"/>
                  <a:gd name="connsiteY3" fmla="*/ 1309212 h 1309212"/>
                  <a:gd name="connsiteX0" fmla="*/ 1 w 2638506"/>
                  <a:gd name="connsiteY0" fmla="*/ 648197 h 1309254"/>
                  <a:gd name="connsiteX1" fmla="*/ 860110 w 2638506"/>
                  <a:gd name="connsiteY1" fmla="*/ 152 h 1309254"/>
                  <a:gd name="connsiteX2" fmla="*/ 1828549 w 2638506"/>
                  <a:gd name="connsiteY2" fmla="*/ 686651 h 1309254"/>
                  <a:gd name="connsiteX3" fmla="*/ 2638506 w 2638506"/>
                  <a:gd name="connsiteY3" fmla="*/ 1309254 h 1309254"/>
                  <a:gd name="connsiteX0" fmla="*/ 1 w 2638506"/>
                  <a:gd name="connsiteY0" fmla="*/ 649974 h 1311031"/>
                  <a:gd name="connsiteX1" fmla="*/ 860110 w 2638506"/>
                  <a:gd name="connsiteY1" fmla="*/ 1929 h 1311031"/>
                  <a:gd name="connsiteX2" fmla="*/ 1828549 w 2638506"/>
                  <a:gd name="connsiteY2" fmla="*/ 688428 h 1311031"/>
                  <a:gd name="connsiteX3" fmla="*/ 2638506 w 2638506"/>
                  <a:gd name="connsiteY3" fmla="*/ 1311031 h 1311031"/>
                  <a:gd name="connsiteX0" fmla="*/ 1 w 2638506"/>
                  <a:gd name="connsiteY0" fmla="*/ 649607 h 1310664"/>
                  <a:gd name="connsiteX1" fmla="*/ 860110 w 2638506"/>
                  <a:gd name="connsiteY1" fmla="*/ 1562 h 1310664"/>
                  <a:gd name="connsiteX2" fmla="*/ 1828549 w 2638506"/>
                  <a:gd name="connsiteY2" fmla="*/ 688061 h 1310664"/>
                  <a:gd name="connsiteX3" fmla="*/ 2638506 w 2638506"/>
                  <a:gd name="connsiteY3" fmla="*/ 1310664 h 1310664"/>
                  <a:gd name="connsiteX0" fmla="*/ 1 w 2638506"/>
                  <a:gd name="connsiteY0" fmla="*/ 649193 h 1310250"/>
                  <a:gd name="connsiteX1" fmla="*/ 860110 w 2638506"/>
                  <a:gd name="connsiteY1" fmla="*/ 1148 h 1310250"/>
                  <a:gd name="connsiteX2" fmla="*/ 1828549 w 2638506"/>
                  <a:gd name="connsiteY2" fmla="*/ 687647 h 1310250"/>
                  <a:gd name="connsiteX3" fmla="*/ 2638506 w 2638506"/>
                  <a:gd name="connsiteY3" fmla="*/ 1310250 h 1310250"/>
                  <a:gd name="connsiteX0" fmla="*/ 1 w 2638506"/>
                  <a:gd name="connsiteY0" fmla="*/ 650609 h 1311666"/>
                  <a:gd name="connsiteX1" fmla="*/ 860110 w 2638506"/>
                  <a:gd name="connsiteY1" fmla="*/ 2564 h 1311666"/>
                  <a:gd name="connsiteX2" fmla="*/ 1828549 w 2638506"/>
                  <a:gd name="connsiteY2" fmla="*/ 689063 h 1311666"/>
                  <a:gd name="connsiteX3" fmla="*/ 2638506 w 2638506"/>
                  <a:gd name="connsiteY3" fmla="*/ 1311666 h 1311666"/>
                  <a:gd name="connsiteX0" fmla="*/ 1 w 2638506"/>
                  <a:gd name="connsiteY0" fmla="*/ 649841 h 1310898"/>
                  <a:gd name="connsiteX1" fmla="*/ 860110 w 2638506"/>
                  <a:gd name="connsiteY1" fmla="*/ 1796 h 1310898"/>
                  <a:gd name="connsiteX2" fmla="*/ 1828549 w 2638506"/>
                  <a:gd name="connsiteY2" fmla="*/ 688295 h 1310898"/>
                  <a:gd name="connsiteX3" fmla="*/ 2638506 w 2638506"/>
                  <a:gd name="connsiteY3" fmla="*/ 1310898 h 1310898"/>
                  <a:gd name="connsiteX0" fmla="*/ 1 w 2638506"/>
                  <a:gd name="connsiteY0" fmla="*/ 649841 h 1310898"/>
                  <a:gd name="connsiteX1" fmla="*/ 860110 w 2638506"/>
                  <a:gd name="connsiteY1" fmla="*/ 1796 h 1310898"/>
                  <a:gd name="connsiteX2" fmla="*/ 1828549 w 2638506"/>
                  <a:gd name="connsiteY2" fmla="*/ 688295 h 1310898"/>
                  <a:gd name="connsiteX3" fmla="*/ 2638506 w 2638506"/>
                  <a:gd name="connsiteY3" fmla="*/ 1310898 h 1310898"/>
                  <a:gd name="connsiteX0" fmla="*/ 1 w 2664626"/>
                  <a:gd name="connsiteY0" fmla="*/ 635455 h 1309388"/>
                  <a:gd name="connsiteX1" fmla="*/ 886230 w 2664626"/>
                  <a:gd name="connsiteY1" fmla="*/ 286 h 1309388"/>
                  <a:gd name="connsiteX2" fmla="*/ 1854669 w 2664626"/>
                  <a:gd name="connsiteY2" fmla="*/ 686785 h 1309388"/>
                  <a:gd name="connsiteX3" fmla="*/ 2664626 w 2664626"/>
                  <a:gd name="connsiteY3" fmla="*/ 1309388 h 1309388"/>
                  <a:gd name="connsiteX0" fmla="*/ 1 w 1854668"/>
                  <a:gd name="connsiteY0" fmla="*/ 635455 h 686786"/>
                  <a:gd name="connsiteX1" fmla="*/ 886230 w 1854668"/>
                  <a:gd name="connsiteY1" fmla="*/ 286 h 686786"/>
                  <a:gd name="connsiteX2" fmla="*/ 1854669 w 1854668"/>
                  <a:gd name="connsiteY2" fmla="*/ 686785 h 686786"/>
                  <a:gd name="connsiteX0" fmla="*/ 1 w 886231"/>
                  <a:gd name="connsiteY0" fmla="*/ 635455 h 635455"/>
                  <a:gd name="connsiteX1" fmla="*/ 886230 w 886231"/>
                  <a:gd name="connsiteY1" fmla="*/ 286 h 635455"/>
                  <a:gd name="connsiteX0" fmla="*/ 1 w 886231"/>
                  <a:gd name="connsiteY0" fmla="*/ 635460 h 635460"/>
                  <a:gd name="connsiteX1" fmla="*/ 490191 w 886231"/>
                  <a:gd name="connsiteY1" fmla="*/ 91024 h 635460"/>
                  <a:gd name="connsiteX2" fmla="*/ 886230 w 886231"/>
                  <a:gd name="connsiteY2" fmla="*/ 291 h 635460"/>
                  <a:gd name="connsiteX0" fmla="*/ 1 w 886231"/>
                  <a:gd name="connsiteY0" fmla="*/ 636018 h 636018"/>
                  <a:gd name="connsiteX1" fmla="*/ 490191 w 886231"/>
                  <a:gd name="connsiteY1" fmla="*/ 91582 h 636018"/>
                  <a:gd name="connsiteX2" fmla="*/ 886230 w 886231"/>
                  <a:gd name="connsiteY2" fmla="*/ 849 h 636018"/>
                  <a:gd name="connsiteX0" fmla="*/ 1 w 886231"/>
                  <a:gd name="connsiteY0" fmla="*/ 638967 h 638967"/>
                  <a:gd name="connsiteX1" fmla="*/ 490191 w 886231"/>
                  <a:gd name="connsiteY1" fmla="*/ 94531 h 638967"/>
                  <a:gd name="connsiteX2" fmla="*/ 886230 w 886231"/>
                  <a:gd name="connsiteY2" fmla="*/ 3798 h 638967"/>
                  <a:gd name="connsiteX0" fmla="*/ 1 w 490191"/>
                  <a:gd name="connsiteY0" fmla="*/ 544435 h 544435"/>
                  <a:gd name="connsiteX1" fmla="*/ 490191 w 490191"/>
                  <a:gd name="connsiteY1" fmla="*/ -1 h 544435"/>
                  <a:gd name="connsiteX0" fmla="*/ 1 w 490191"/>
                  <a:gd name="connsiteY0" fmla="*/ 544435 h 544435"/>
                  <a:gd name="connsiteX1" fmla="*/ 490191 w 490191"/>
                  <a:gd name="connsiteY1" fmla="*/ -1 h 544435"/>
                  <a:gd name="connsiteX0" fmla="*/ 1 w 490191"/>
                  <a:gd name="connsiteY0" fmla="*/ 544435 h 544435"/>
                  <a:gd name="connsiteX1" fmla="*/ 490191 w 490191"/>
                  <a:gd name="connsiteY1" fmla="*/ -1 h 544435"/>
                  <a:gd name="connsiteX0" fmla="*/ 1 w 490191"/>
                  <a:gd name="connsiteY0" fmla="*/ 544435 h 544435"/>
                  <a:gd name="connsiteX1" fmla="*/ 490191 w 490191"/>
                  <a:gd name="connsiteY1" fmla="*/ -1 h 5444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90191" h="544435">
                    <a:moveTo>
                      <a:pt x="1" y="544435"/>
                    </a:moveTo>
                    <a:cubicBezTo>
                      <a:pt x="59974" y="349650"/>
                      <a:pt x="307478" y="61023"/>
                      <a:pt x="490191" y="-1"/>
                    </a:cubicBezTo>
                  </a:path>
                </a:pathLst>
              </a:custGeom>
              <a:grpFill/>
              <a:ln w="6350" cap="rnd">
                <a:solidFill>
                  <a:schemeClr val="accent5"/>
                </a:solidFill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 rtlCol="0" anchor="ctr">
                <a:noAutofit/>
              </a:bodyPr>
              <a:lstStyle/>
              <a:p>
                <a:pPr marL="0" marR="0" lvl="0" indent="0" algn="ctr" defTabSz="45719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Imago"/>
                  <a:ea typeface="+mn-ea"/>
                  <a:cs typeface="+mn-cs"/>
                </a:endParaRPr>
              </a:p>
            </p:txBody>
          </p:sp>
          <p:sp>
            <p:nvSpPr>
              <p:cNvPr id="1114" name="Freeform: Shape 94">
                <a:extLst>
                  <a:ext uri="{FF2B5EF4-FFF2-40B4-BE49-F238E27FC236}">
                    <a16:creationId xmlns:a16="http://schemas.microsoft.com/office/drawing/2014/main" id="{9CA178ED-AD81-3E24-5213-8C4AE8BF7EB9}"/>
                  </a:ext>
                </a:extLst>
              </p:cNvPr>
              <p:cNvSpPr/>
              <p:nvPr/>
            </p:nvSpPr>
            <p:spPr>
              <a:xfrm rot="4837695" flipV="1">
                <a:off x="3781483" y="3318306"/>
                <a:ext cx="255606" cy="283890"/>
              </a:xfrm>
              <a:custGeom>
                <a:avLst/>
                <a:gdLst>
                  <a:gd name="connsiteX0" fmla="*/ 0 w 2617365"/>
                  <a:gd name="connsiteY0" fmla="*/ 939567 h 939567"/>
                  <a:gd name="connsiteX1" fmla="*/ 922789 w 2617365"/>
                  <a:gd name="connsiteY1" fmla="*/ 16778 h 939567"/>
                  <a:gd name="connsiteX2" fmla="*/ 1761688 w 2617365"/>
                  <a:gd name="connsiteY2" fmla="*/ 855677 h 939567"/>
                  <a:gd name="connsiteX3" fmla="*/ 2617365 w 2617365"/>
                  <a:gd name="connsiteY3" fmla="*/ 0 h 939567"/>
                  <a:gd name="connsiteX0" fmla="*/ 27 w 2617392"/>
                  <a:gd name="connsiteY0" fmla="*/ 939567 h 939567"/>
                  <a:gd name="connsiteX1" fmla="*/ 922816 w 2617392"/>
                  <a:gd name="connsiteY1" fmla="*/ 16778 h 939567"/>
                  <a:gd name="connsiteX2" fmla="*/ 1761715 w 2617392"/>
                  <a:gd name="connsiteY2" fmla="*/ 855677 h 939567"/>
                  <a:gd name="connsiteX3" fmla="*/ 2617392 w 2617392"/>
                  <a:gd name="connsiteY3" fmla="*/ 0 h 939567"/>
                  <a:gd name="connsiteX0" fmla="*/ 27 w 2617392"/>
                  <a:gd name="connsiteY0" fmla="*/ 939567 h 939567"/>
                  <a:gd name="connsiteX1" fmla="*/ 922816 w 2617392"/>
                  <a:gd name="connsiteY1" fmla="*/ 16778 h 939567"/>
                  <a:gd name="connsiteX2" fmla="*/ 1761715 w 2617392"/>
                  <a:gd name="connsiteY2" fmla="*/ 855677 h 939567"/>
                  <a:gd name="connsiteX3" fmla="*/ 2617392 w 2617392"/>
                  <a:gd name="connsiteY3" fmla="*/ 0 h 939567"/>
                  <a:gd name="connsiteX0" fmla="*/ 33 w 2617398"/>
                  <a:gd name="connsiteY0" fmla="*/ 939567 h 939567"/>
                  <a:gd name="connsiteX1" fmla="*/ 922822 w 2617398"/>
                  <a:gd name="connsiteY1" fmla="*/ 16778 h 939567"/>
                  <a:gd name="connsiteX2" fmla="*/ 1761721 w 2617398"/>
                  <a:gd name="connsiteY2" fmla="*/ 855677 h 939567"/>
                  <a:gd name="connsiteX3" fmla="*/ 2617398 w 2617398"/>
                  <a:gd name="connsiteY3" fmla="*/ 0 h 939567"/>
                  <a:gd name="connsiteX0" fmla="*/ 33 w 2617398"/>
                  <a:gd name="connsiteY0" fmla="*/ 939567 h 939567"/>
                  <a:gd name="connsiteX1" fmla="*/ 922822 w 2617398"/>
                  <a:gd name="connsiteY1" fmla="*/ 16778 h 939567"/>
                  <a:gd name="connsiteX2" fmla="*/ 1761721 w 2617398"/>
                  <a:gd name="connsiteY2" fmla="*/ 855677 h 939567"/>
                  <a:gd name="connsiteX3" fmla="*/ 2617398 w 2617398"/>
                  <a:gd name="connsiteY3" fmla="*/ 0 h 939567"/>
                  <a:gd name="connsiteX0" fmla="*/ 45 w 2617410"/>
                  <a:gd name="connsiteY0" fmla="*/ 939567 h 939567"/>
                  <a:gd name="connsiteX1" fmla="*/ 793294 w 2617410"/>
                  <a:gd name="connsiteY1" fmla="*/ 161558 h 939567"/>
                  <a:gd name="connsiteX2" fmla="*/ 1761733 w 2617410"/>
                  <a:gd name="connsiteY2" fmla="*/ 855677 h 939567"/>
                  <a:gd name="connsiteX3" fmla="*/ 2617410 w 2617410"/>
                  <a:gd name="connsiteY3" fmla="*/ 0 h 939567"/>
                  <a:gd name="connsiteX0" fmla="*/ 45 w 2617410"/>
                  <a:gd name="connsiteY0" fmla="*/ 939567 h 939567"/>
                  <a:gd name="connsiteX1" fmla="*/ 793294 w 2617410"/>
                  <a:gd name="connsiteY1" fmla="*/ 161558 h 939567"/>
                  <a:gd name="connsiteX2" fmla="*/ 1761733 w 2617410"/>
                  <a:gd name="connsiteY2" fmla="*/ 855677 h 939567"/>
                  <a:gd name="connsiteX3" fmla="*/ 2617410 w 2617410"/>
                  <a:gd name="connsiteY3" fmla="*/ 0 h 939567"/>
                  <a:gd name="connsiteX0" fmla="*/ 35 w 2617400"/>
                  <a:gd name="connsiteY0" fmla="*/ 939567 h 939567"/>
                  <a:gd name="connsiteX1" fmla="*/ 793284 w 2617400"/>
                  <a:gd name="connsiteY1" fmla="*/ 161558 h 939567"/>
                  <a:gd name="connsiteX2" fmla="*/ 1799823 w 2617400"/>
                  <a:gd name="connsiteY2" fmla="*/ 928067 h 939567"/>
                  <a:gd name="connsiteX3" fmla="*/ 2617400 w 2617400"/>
                  <a:gd name="connsiteY3" fmla="*/ 0 h 939567"/>
                  <a:gd name="connsiteX0" fmla="*/ 35 w 2617400"/>
                  <a:gd name="connsiteY0" fmla="*/ 939567 h 939567"/>
                  <a:gd name="connsiteX1" fmla="*/ 793284 w 2617400"/>
                  <a:gd name="connsiteY1" fmla="*/ 161558 h 939567"/>
                  <a:gd name="connsiteX2" fmla="*/ 1799823 w 2617400"/>
                  <a:gd name="connsiteY2" fmla="*/ 928067 h 939567"/>
                  <a:gd name="connsiteX3" fmla="*/ 2617400 w 2617400"/>
                  <a:gd name="connsiteY3" fmla="*/ 0 h 939567"/>
                  <a:gd name="connsiteX0" fmla="*/ 54 w 2617419"/>
                  <a:gd name="connsiteY0" fmla="*/ 939567 h 939567"/>
                  <a:gd name="connsiteX1" fmla="*/ 793303 w 2617419"/>
                  <a:gd name="connsiteY1" fmla="*/ 161558 h 939567"/>
                  <a:gd name="connsiteX2" fmla="*/ 1799842 w 2617419"/>
                  <a:gd name="connsiteY2" fmla="*/ 928067 h 939567"/>
                  <a:gd name="connsiteX3" fmla="*/ 2617419 w 2617419"/>
                  <a:gd name="connsiteY3" fmla="*/ 0 h 939567"/>
                  <a:gd name="connsiteX0" fmla="*/ 54 w 2602179"/>
                  <a:gd name="connsiteY0" fmla="*/ 778016 h 778016"/>
                  <a:gd name="connsiteX1" fmla="*/ 793303 w 2602179"/>
                  <a:gd name="connsiteY1" fmla="*/ 7 h 778016"/>
                  <a:gd name="connsiteX2" fmla="*/ 1799842 w 2602179"/>
                  <a:gd name="connsiteY2" fmla="*/ 766516 h 778016"/>
                  <a:gd name="connsiteX3" fmla="*/ 2602179 w 2602179"/>
                  <a:gd name="connsiteY3" fmla="*/ 28949 h 778016"/>
                  <a:gd name="connsiteX0" fmla="*/ 54 w 2438349"/>
                  <a:gd name="connsiteY0" fmla="*/ 778016 h 1419810"/>
                  <a:gd name="connsiteX1" fmla="*/ 793303 w 2438349"/>
                  <a:gd name="connsiteY1" fmla="*/ 7 h 1419810"/>
                  <a:gd name="connsiteX2" fmla="*/ 1799842 w 2438349"/>
                  <a:gd name="connsiteY2" fmla="*/ 766516 h 1419810"/>
                  <a:gd name="connsiteX3" fmla="*/ 2438349 w 2438349"/>
                  <a:gd name="connsiteY3" fmla="*/ 1309109 h 1419810"/>
                  <a:gd name="connsiteX0" fmla="*/ 54 w 2438349"/>
                  <a:gd name="connsiteY0" fmla="*/ 778016 h 1309109"/>
                  <a:gd name="connsiteX1" fmla="*/ 793303 w 2438349"/>
                  <a:gd name="connsiteY1" fmla="*/ 7 h 1309109"/>
                  <a:gd name="connsiteX2" fmla="*/ 1799842 w 2438349"/>
                  <a:gd name="connsiteY2" fmla="*/ 766516 h 1309109"/>
                  <a:gd name="connsiteX3" fmla="*/ 2438349 w 2438349"/>
                  <a:gd name="connsiteY3" fmla="*/ 1309109 h 1309109"/>
                  <a:gd name="connsiteX0" fmla="*/ 33 w 2438328"/>
                  <a:gd name="connsiteY0" fmla="*/ 778361 h 1309454"/>
                  <a:gd name="connsiteX1" fmla="*/ 793282 w 2438328"/>
                  <a:gd name="connsiteY1" fmla="*/ 352 h 1309454"/>
                  <a:gd name="connsiteX2" fmla="*/ 1628371 w 2438328"/>
                  <a:gd name="connsiteY2" fmla="*/ 686851 h 1309454"/>
                  <a:gd name="connsiteX3" fmla="*/ 2438328 w 2438328"/>
                  <a:gd name="connsiteY3" fmla="*/ 1309454 h 1309454"/>
                  <a:gd name="connsiteX0" fmla="*/ 33 w 2438328"/>
                  <a:gd name="connsiteY0" fmla="*/ 778494 h 1309587"/>
                  <a:gd name="connsiteX1" fmla="*/ 793282 w 2438328"/>
                  <a:gd name="connsiteY1" fmla="*/ 485 h 1309587"/>
                  <a:gd name="connsiteX2" fmla="*/ 1628371 w 2438328"/>
                  <a:gd name="connsiteY2" fmla="*/ 686984 h 1309587"/>
                  <a:gd name="connsiteX3" fmla="*/ 2438328 w 2438328"/>
                  <a:gd name="connsiteY3" fmla="*/ 1309587 h 1309587"/>
                  <a:gd name="connsiteX0" fmla="*/ 27 w 2556432"/>
                  <a:gd name="connsiteY0" fmla="*/ 671344 h 1309117"/>
                  <a:gd name="connsiteX1" fmla="*/ 911386 w 2556432"/>
                  <a:gd name="connsiteY1" fmla="*/ 15 h 1309117"/>
                  <a:gd name="connsiteX2" fmla="*/ 1746475 w 2556432"/>
                  <a:gd name="connsiteY2" fmla="*/ 686514 h 1309117"/>
                  <a:gd name="connsiteX3" fmla="*/ 2556432 w 2556432"/>
                  <a:gd name="connsiteY3" fmla="*/ 1309117 h 1309117"/>
                  <a:gd name="connsiteX0" fmla="*/ 0 w 2556405"/>
                  <a:gd name="connsiteY0" fmla="*/ 671347 h 1309120"/>
                  <a:gd name="connsiteX1" fmla="*/ 911359 w 2556405"/>
                  <a:gd name="connsiteY1" fmla="*/ 18 h 1309120"/>
                  <a:gd name="connsiteX2" fmla="*/ 1746448 w 2556405"/>
                  <a:gd name="connsiteY2" fmla="*/ 686517 h 1309120"/>
                  <a:gd name="connsiteX3" fmla="*/ 2556405 w 2556405"/>
                  <a:gd name="connsiteY3" fmla="*/ 1309120 h 1309120"/>
                  <a:gd name="connsiteX0" fmla="*/ 0 w 2556405"/>
                  <a:gd name="connsiteY0" fmla="*/ 672485 h 1310258"/>
                  <a:gd name="connsiteX1" fmla="*/ 911359 w 2556405"/>
                  <a:gd name="connsiteY1" fmla="*/ 1156 h 1310258"/>
                  <a:gd name="connsiteX2" fmla="*/ 1746448 w 2556405"/>
                  <a:gd name="connsiteY2" fmla="*/ 687655 h 1310258"/>
                  <a:gd name="connsiteX3" fmla="*/ 2556405 w 2556405"/>
                  <a:gd name="connsiteY3" fmla="*/ 1310258 h 1310258"/>
                  <a:gd name="connsiteX0" fmla="*/ 0 w 2556405"/>
                  <a:gd name="connsiteY0" fmla="*/ 672432 h 1310205"/>
                  <a:gd name="connsiteX1" fmla="*/ 911359 w 2556405"/>
                  <a:gd name="connsiteY1" fmla="*/ 1103 h 1310205"/>
                  <a:gd name="connsiteX2" fmla="*/ 1746448 w 2556405"/>
                  <a:gd name="connsiteY2" fmla="*/ 687602 h 1310205"/>
                  <a:gd name="connsiteX3" fmla="*/ 2556405 w 2556405"/>
                  <a:gd name="connsiteY3" fmla="*/ 1310205 h 1310205"/>
                  <a:gd name="connsiteX0" fmla="*/ 0 w 2556405"/>
                  <a:gd name="connsiteY0" fmla="*/ 672432 h 1310205"/>
                  <a:gd name="connsiteX1" fmla="*/ 778009 w 2556405"/>
                  <a:gd name="connsiteY1" fmla="*/ 1103 h 1310205"/>
                  <a:gd name="connsiteX2" fmla="*/ 1746448 w 2556405"/>
                  <a:gd name="connsiteY2" fmla="*/ 687602 h 1310205"/>
                  <a:gd name="connsiteX3" fmla="*/ 2556405 w 2556405"/>
                  <a:gd name="connsiteY3" fmla="*/ 1310205 h 1310205"/>
                  <a:gd name="connsiteX0" fmla="*/ 0 w 2556405"/>
                  <a:gd name="connsiteY0" fmla="*/ 672186 h 1309959"/>
                  <a:gd name="connsiteX1" fmla="*/ 778009 w 2556405"/>
                  <a:gd name="connsiteY1" fmla="*/ 857 h 1309959"/>
                  <a:gd name="connsiteX2" fmla="*/ 1746448 w 2556405"/>
                  <a:gd name="connsiteY2" fmla="*/ 687356 h 1309959"/>
                  <a:gd name="connsiteX3" fmla="*/ 2556405 w 2556405"/>
                  <a:gd name="connsiteY3" fmla="*/ 1309959 h 1309959"/>
                  <a:gd name="connsiteX0" fmla="*/ 0 w 2556405"/>
                  <a:gd name="connsiteY0" fmla="*/ 671347 h 1309120"/>
                  <a:gd name="connsiteX1" fmla="*/ 778009 w 2556405"/>
                  <a:gd name="connsiteY1" fmla="*/ 18 h 1309120"/>
                  <a:gd name="connsiteX2" fmla="*/ 1746448 w 2556405"/>
                  <a:gd name="connsiteY2" fmla="*/ 686517 h 1309120"/>
                  <a:gd name="connsiteX3" fmla="*/ 2556405 w 2556405"/>
                  <a:gd name="connsiteY3" fmla="*/ 1309120 h 1309120"/>
                  <a:gd name="connsiteX0" fmla="*/ 0 w 2556405"/>
                  <a:gd name="connsiteY0" fmla="*/ 671340 h 1309113"/>
                  <a:gd name="connsiteX1" fmla="*/ 778009 w 2556405"/>
                  <a:gd name="connsiteY1" fmla="*/ 11 h 1309113"/>
                  <a:gd name="connsiteX2" fmla="*/ 1746448 w 2556405"/>
                  <a:gd name="connsiteY2" fmla="*/ 686510 h 1309113"/>
                  <a:gd name="connsiteX3" fmla="*/ 2556405 w 2556405"/>
                  <a:gd name="connsiteY3" fmla="*/ 1309113 h 1309113"/>
                  <a:gd name="connsiteX0" fmla="*/ 0 w 2556405"/>
                  <a:gd name="connsiteY0" fmla="*/ 671340 h 1309113"/>
                  <a:gd name="connsiteX1" fmla="*/ 778009 w 2556405"/>
                  <a:gd name="connsiteY1" fmla="*/ 11 h 1309113"/>
                  <a:gd name="connsiteX2" fmla="*/ 1746448 w 2556405"/>
                  <a:gd name="connsiteY2" fmla="*/ 686510 h 1309113"/>
                  <a:gd name="connsiteX3" fmla="*/ 2556405 w 2556405"/>
                  <a:gd name="connsiteY3" fmla="*/ 1309113 h 1309113"/>
                  <a:gd name="connsiteX0" fmla="*/ 1 w 2593711"/>
                  <a:gd name="connsiteY0" fmla="*/ 644434 h 1309189"/>
                  <a:gd name="connsiteX1" fmla="*/ 815315 w 2593711"/>
                  <a:gd name="connsiteY1" fmla="*/ 87 h 1309189"/>
                  <a:gd name="connsiteX2" fmla="*/ 1783754 w 2593711"/>
                  <a:gd name="connsiteY2" fmla="*/ 686586 h 1309189"/>
                  <a:gd name="connsiteX3" fmla="*/ 2593711 w 2593711"/>
                  <a:gd name="connsiteY3" fmla="*/ 1309189 h 1309189"/>
                  <a:gd name="connsiteX0" fmla="*/ 1 w 2593711"/>
                  <a:gd name="connsiteY0" fmla="*/ 644481 h 1309236"/>
                  <a:gd name="connsiteX1" fmla="*/ 815315 w 2593711"/>
                  <a:gd name="connsiteY1" fmla="*/ 134 h 1309236"/>
                  <a:gd name="connsiteX2" fmla="*/ 1783754 w 2593711"/>
                  <a:gd name="connsiteY2" fmla="*/ 686633 h 1309236"/>
                  <a:gd name="connsiteX3" fmla="*/ 2593711 w 2593711"/>
                  <a:gd name="connsiteY3" fmla="*/ 1309236 h 1309236"/>
                  <a:gd name="connsiteX0" fmla="*/ 1 w 2638506"/>
                  <a:gd name="connsiteY0" fmla="*/ 648155 h 1309212"/>
                  <a:gd name="connsiteX1" fmla="*/ 860110 w 2638506"/>
                  <a:gd name="connsiteY1" fmla="*/ 110 h 1309212"/>
                  <a:gd name="connsiteX2" fmla="*/ 1828549 w 2638506"/>
                  <a:gd name="connsiteY2" fmla="*/ 686609 h 1309212"/>
                  <a:gd name="connsiteX3" fmla="*/ 2638506 w 2638506"/>
                  <a:gd name="connsiteY3" fmla="*/ 1309212 h 1309212"/>
                  <a:gd name="connsiteX0" fmla="*/ 1 w 2638506"/>
                  <a:gd name="connsiteY0" fmla="*/ 648197 h 1309254"/>
                  <a:gd name="connsiteX1" fmla="*/ 860110 w 2638506"/>
                  <a:gd name="connsiteY1" fmla="*/ 152 h 1309254"/>
                  <a:gd name="connsiteX2" fmla="*/ 1828549 w 2638506"/>
                  <a:gd name="connsiteY2" fmla="*/ 686651 h 1309254"/>
                  <a:gd name="connsiteX3" fmla="*/ 2638506 w 2638506"/>
                  <a:gd name="connsiteY3" fmla="*/ 1309254 h 1309254"/>
                  <a:gd name="connsiteX0" fmla="*/ 1 w 2638506"/>
                  <a:gd name="connsiteY0" fmla="*/ 649974 h 1311031"/>
                  <a:gd name="connsiteX1" fmla="*/ 860110 w 2638506"/>
                  <a:gd name="connsiteY1" fmla="*/ 1929 h 1311031"/>
                  <a:gd name="connsiteX2" fmla="*/ 1828549 w 2638506"/>
                  <a:gd name="connsiteY2" fmla="*/ 688428 h 1311031"/>
                  <a:gd name="connsiteX3" fmla="*/ 2638506 w 2638506"/>
                  <a:gd name="connsiteY3" fmla="*/ 1311031 h 1311031"/>
                  <a:gd name="connsiteX0" fmla="*/ 1 w 2638506"/>
                  <a:gd name="connsiteY0" fmla="*/ 649607 h 1310664"/>
                  <a:gd name="connsiteX1" fmla="*/ 860110 w 2638506"/>
                  <a:gd name="connsiteY1" fmla="*/ 1562 h 1310664"/>
                  <a:gd name="connsiteX2" fmla="*/ 1828549 w 2638506"/>
                  <a:gd name="connsiteY2" fmla="*/ 688061 h 1310664"/>
                  <a:gd name="connsiteX3" fmla="*/ 2638506 w 2638506"/>
                  <a:gd name="connsiteY3" fmla="*/ 1310664 h 1310664"/>
                  <a:gd name="connsiteX0" fmla="*/ 1 w 2638506"/>
                  <a:gd name="connsiteY0" fmla="*/ 649193 h 1310250"/>
                  <a:gd name="connsiteX1" fmla="*/ 860110 w 2638506"/>
                  <a:gd name="connsiteY1" fmla="*/ 1148 h 1310250"/>
                  <a:gd name="connsiteX2" fmla="*/ 1828549 w 2638506"/>
                  <a:gd name="connsiteY2" fmla="*/ 687647 h 1310250"/>
                  <a:gd name="connsiteX3" fmla="*/ 2638506 w 2638506"/>
                  <a:gd name="connsiteY3" fmla="*/ 1310250 h 1310250"/>
                  <a:gd name="connsiteX0" fmla="*/ 1 w 2638506"/>
                  <a:gd name="connsiteY0" fmla="*/ 650609 h 1311666"/>
                  <a:gd name="connsiteX1" fmla="*/ 860110 w 2638506"/>
                  <a:gd name="connsiteY1" fmla="*/ 2564 h 1311666"/>
                  <a:gd name="connsiteX2" fmla="*/ 1828549 w 2638506"/>
                  <a:gd name="connsiteY2" fmla="*/ 689063 h 1311666"/>
                  <a:gd name="connsiteX3" fmla="*/ 2638506 w 2638506"/>
                  <a:gd name="connsiteY3" fmla="*/ 1311666 h 1311666"/>
                  <a:gd name="connsiteX0" fmla="*/ 1 w 2638506"/>
                  <a:gd name="connsiteY0" fmla="*/ 649841 h 1310898"/>
                  <a:gd name="connsiteX1" fmla="*/ 860110 w 2638506"/>
                  <a:gd name="connsiteY1" fmla="*/ 1796 h 1310898"/>
                  <a:gd name="connsiteX2" fmla="*/ 1828549 w 2638506"/>
                  <a:gd name="connsiteY2" fmla="*/ 688295 h 1310898"/>
                  <a:gd name="connsiteX3" fmla="*/ 2638506 w 2638506"/>
                  <a:gd name="connsiteY3" fmla="*/ 1310898 h 1310898"/>
                  <a:gd name="connsiteX0" fmla="*/ 1 w 2638506"/>
                  <a:gd name="connsiteY0" fmla="*/ 649841 h 1310898"/>
                  <a:gd name="connsiteX1" fmla="*/ 860110 w 2638506"/>
                  <a:gd name="connsiteY1" fmla="*/ 1796 h 1310898"/>
                  <a:gd name="connsiteX2" fmla="*/ 1828549 w 2638506"/>
                  <a:gd name="connsiteY2" fmla="*/ 688295 h 1310898"/>
                  <a:gd name="connsiteX3" fmla="*/ 2638506 w 2638506"/>
                  <a:gd name="connsiteY3" fmla="*/ 1310898 h 1310898"/>
                  <a:gd name="connsiteX0" fmla="*/ 1 w 2664626"/>
                  <a:gd name="connsiteY0" fmla="*/ 635455 h 1309388"/>
                  <a:gd name="connsiteX1" fmla="*/ 886230 w 2664626"/>
                  <a:gd name="connsiteY1" fmla="*/ 286 h 1309388"/>
                  <a:gd name="connsiteX2" fmla="*/ 1854669 w 2664626"/>
                  <a:gd name="connsiteY2" fmla="*/ 686785 h 1309388"/>
                  <a:gd name="connsiteX3" fmla="*/ 2664626 w 2664626"/>
                  <a:gd name="connsiteY3" fmla="*/ 1309388 h 1309388"/>
                  <a:gd name="connsiteX0" fmla="*/ 1 w 1854668"/>
                  <a:gd name="connsiteY0" fmla="*/ 635455 h 686786"/>
                  <a:gd name="connsiteX1" fmla="*/ 886230 w 1854668"/>
                  <a:gd name="connsiteY1" fmla="*/ 286 h 686786"/>
                  <a:gd name="connsiteX2" fmla="*/ 1854669 w 1854668"/>
                  <a:gd name="connsiteY2" fmla="*/ 686785 h 686786"/>
                  <a:gd name="connsiteX0" fmla="*/ 1 w 886231"/>
                  <a:gd name="connsiteY0" fmla="*/ 635455 h 635455"/>
                  <a:gd name="connsiteX1" fmla="*/ 886230 w 886231"/>
                  <a:gd name="connsiteY1" fmla="*/ 286 h 635455"/>
                  <a:gd name="connsiteX0" fmla="*/ 1 w 886231"/>
                  <a:gd name="connsiteY0" fmla="*/ 635460 h 635460"/>
                  <a:gd name="connsiteX1" fmla="*/ 490191 w 886231"/>
                  <a:gd name="connsiteY1" fmla="*/ 91024 h 635460"/>
                  <a:gd name="connsiteX2" fmla="*/ 886230 w 886231"/>
                  <a:gd name="connsiteY2" fmla="*/ 291 h 635460"/>
                  <a:gd name="connsiteX0" fmla="*/ 1 w 886231"/>
                  <a:gd name="connsiteY0" fmla="*/ 636018 h 636018"/>
                  <a:gd name="connsiteX1" fmla="*/ 490191 w 886231"/>
                  <a:gd name="connsiteY1" fmla="*/ 91582 h 636018"/>
                  <a:gd name="connsiteX2" fmla="*/ 886230 w 886231"/>
                  <a:gd name="connsiteY2" fmla="*/ 849 h 636018"/>
                  <a:gd name="connsiteX0" fmla="*/ 1 w 886231"/>
                  <a:gd name="connsiteY0" fmla="*/ 638967 h 638967"/>
                  <a:gd name="connsiteX1" fmla="*/ 490191 w 886231"/>
                  <a:gd name="connsiteY1" fmla="*/ 94531 h 638967"/>
                  <a:gd name="connsiteX2" fmla="*/ 886230 w 886231"/>
                  <a:gd name="connsiteY2" fmla="*/ 3798 h 638967"/>
                  <a:gd name="connsiteX0" fmla="*/ 1 w 490191"/>
                  <a:gd name="connsiteY0" fmla="*/ 544435 h 544435"/>
                  <a:gd name="connsiteX1" fmla="*/ 490191 w 490191"/>
                  <a:gd name="connsiteY1" fmla="*/ -1 h 544435"/>
                  <a:gd name="connsiteX0" fmla="*/ 1 w 490191"/>
                  <a:gd name="connsiteY0" fmla="*/ 544435 h 544435"/>
                  <a:gd name="connsiteX1" fmla="*/ 490191 w 490191"/>
                  <a:gd name="connsiteY1" fmla="*/ -1 h 544435"/>
                  <a:gd name="connsiteX0" fmla="*/ 1 w 490191"/>
                  <a:gd name="connsiteY0" fmla="*/ 544435 h 544435"/>
                  <a:gd name="connsiteX1" fmla="*/ 490191 w 490191"/>
                  <a:gd name="connsiteY1" fmla="*/ -1 h 544435"/>
                  <a:gd name="connsiteX0" fmla="*/ 1 w 490191"/>
                  <a:gd name="connsiteY0" fmla="*/ 544435 h 544435"/>
                  <a:gd name="connsiteX1" fmla="*/ 490191 w 490191"/>
                  <a:gd name="connsiteY1" fmla="*/ -1 h 5444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90191" h="544435">
                    <a:moveTo>
                      <a:pt x="1" y="544435"/>
                    </a:moveTo>
                    <a:cubicBezTo>
                      <a:pt x="59974" y="349650"/>
                      <a:pt x="307478" y="61023"/>
                      <a:pt x="490191" y="-1"/>
                    </a:cubicBezTo>
                  </a:path>
                </a:pathLst>
              </a:custGeom>
              <a:grpFill/>
              <a:ln w="6350" cap="rnd">
                <a:solidFill>
                  <a:schemeClr val="accent5"/>
                </a:solidFill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 rtlCol="0" anchor="ctr">
                <a:noAutofit/>
              </a:bodyPr>
              <a:lstStyle/>
              <a:p>
                <a:pPr marL="0" marR="0" lvl="0" indent="0" algn="ctr" defTabSz="45719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Imago"/>
                  <a:ea typeface="+mn-ea"/>
                  <a:cs typeface="+mn-cs"/>
                </a:endParaRPr>
              </a:p>
            </p:txBody>
          </p:sp>
        </p:grpSp>
        <p:cxnSp>
          <p:nvCxnSpPr>
            <p:cNvPr id="1106" name="Straight Connector 1105">
              <a:extLst>
                <a:ext uri="{FF2B5EF4-FFF2-40B4-BE49-F238E27FC236}">
                  <a16:creationId xmlns:a16="http://schemas.microsoft.com/office/drawing/2014/main" id="{D312AE95-857B-56E6-7C11-0672062B4EF3}"/>
                </a:ext>
              </a:extLst>
            </p:cNvPr>
            <p:cNvCxnSpPr/>
            <p:nvPr/>
          </p:nvCxnSpPr>
          <p:spPr>
            <a:xfrm>
              <a:off x="704611" y="1696455"/>
              <a:ext cx="187200" cy="0"/>
            </a:xfrm>
            <a:prstGeom prst="line">
              <a:avLst/>
            </a:prstGeom>
            <a:noFill/>
            <a:ln w="6350" cap="rnd">
              <a:solidFill>
                <a:schemeClr val="accent5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7" name="Straight Connector 1106">
              <a:extLst>
                <a:ext uri="{FF2B5EF4-FFF2-40B4-BE49-F238E27FC236}">
                  <a16:creationId xmlns:a16="http://schemas.microsoft.com/office/drawing/2014/main" id="{9DCD20A5-1431-2340-2890-2633B8D23307}"/>
                </a:ext>
              </a:extLst>
            </p:cNvPr>
            <p:cNvCxnSpPr/>
            <p:nvPr/>
          </p:nvCxnSpPr>
          <p:spPr>
            <a:xfrm>
              <a:off x="718764" y="1640191"/>
              <a:ext cx="158400" cy="0"/>
            </a:xfrm>
            <a:prstGeom prst="line">
              <a:avLst/>
            </a:prstGeom>
            <a:noFill/>
            <a:ln w="6350" cap="rnd">
              <a:solidFill>
                <a:schemeClr val="accent5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8" name="Straight Connector 1107">
              <a:extLst>
                <a:ext uri="{FF2B5EF4-FFF2-40B4-BE49-F238E27FC236}">
                  <a16:creationId xmlns:a16="http://schemas.microsoft.com/office/drawing/2014/main" id="{2BB70E71-6557-17E4-174B-22C5144B288D}"/>
                </a:ext>
              </a:extLst>
            </p:cNvPr>
            <p:cNvCxnSpPr/>
            <p:nvPr/>
          </p:nvCxnSpPr>
          <p:spPr>
            <a:xfrm>
              <a:off x="723526" y="1752719"/>
              <a:ext cx="151200" cy="0"/>
            </a:xfrm>
            <a:prstGeom prst="line">
              <a:avLst/>
            </a:prstGeom>
            <a:noFill/>
            <a:ln w="6350" cap="rnd">
              <a:solidFill>
                <a:schemeClr val="accent5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9" name="Straight Connector 1108">
              <a:extLst>
                <a:ext uri="{FF2B5EF4-FFF2-40B4-BE49-F238E27FC236}">
                  <a16:creationId xmlns:a16="http://schemas.microsoft.com/office/drawing/2014/main" id="{85C19739-2F38-BEB5-3323-5937832B3FA7}"/>
                </a:ext>
              </a:extLst>
            </p:cNvPr>
            <p:cNvCxnSpPr/>
            <p:nvPr/>
          </p:nvCxnSpPr>
          <p:spPr>
            <a:xfrm>
              <a:off x="711021" y="1892039"/>
              <a:ext cx="168771" cy="0"/>
            </a:xfrm>
            <a:prstGeom prst="line">
              <a:avLst/>
            </a:prstGeom>
            <a:noFill/>
            <a:ln w="6350" cap="rnd">
              <a:solidFill>
                <a:schemeClr val="accent5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0" name="Straight Connector 1109">
              <a:extLst>
                <a:ext uri="{FF2B5EF4-FFF2-40B4-BE49-F238E27FC236}">
                  <a16:creationId xmlns:a16="http://schemas.microsoft.com/office/drawing/2014/main" id="{41FB5AF5-175C-2A69-EC52-ED076075C6AE}"/>
                </a:ext>
              </a:extLst>
            </p:cNvPr>
            <p:cNvCxnSpPr/>
            <p:nvPr/>
          </p:nvCxnSpPr>
          <p:spPr>
            <a:xfrm>
              <a:off x="727097" y="1495703"/>
              <a:ext cx="168771" cy="0"/>
            </a:xfrm>
            <a:prstGeom prst="line">
              <a:avLst/>
            </a:prstGeom>
            <a:noFill/>
            <a:ln w="6350" cap="rnd">
              <a:solidFill>
                <a:schemeClr val="accent5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15" name="Oval 1114">
            <a:extLst>
              <a:ext uri="{FF2B5EF4-FFF2-40B4-BE49-F238E27FC236}">
                <a16:creationId xmlns:a16="http://schemas.microsoft.com/office/drawing/2014/main" id="{E94B5E61-5C14-93D2-1FC0-FE6A1D3B8252}"/>
              </a:ext>
            </a:extLst>
          </p:cNvPr>
          <p:cNvSpPr/>
          <p:nvPr/>
        </p:nvSpPr>
        <p:spPr>
          <a:xfrm>
            <a:off x="4866125" y="4864536"/>
            <a:ext cx="407908" cy="407908"/>
          </a:xfrm>
          <a:prstGeom prst="ellipse">
            <a:avLst/>
          </a:prstGeom>
          <a:solidFill>
            <a:srgbClr val="D8EAEA"/>
          </a:solidFill>
          <a:ln w="63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16" name="Oval 1115">
            <a:extLst>
              <a:ext uri="{FF2B5EF4-FFF2-40B4-BE49-F238E27FC236}">
                <a16:creationId xmlns:a16="http://schemas.microsoft.com/office/drawing/2014/main" id="{753413DD-1FD4-DDCB-D99D-525DEF921F48}"/>
              </a:ext>
            </a:extLst>
          </p:cNvPr>
          <p:cNvSpPr/>
          <p:nvPr/>
        </p:nvSpPr>
        <p:spPr>
          <a:xfrm>
            <a:off x="5642413" y="4864536"/>
            <a:ext cx="407908" cy="407908"/>
          </a:xfrm>
          <a:prstGeom prst="ellipse">
            <a:avLst/>
          </a:prstGeom>
          <a:solidFill>
            <a:srgbClr val="FCEAD1"/>
          </a:solidFill>
          <a:ln w="63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17" name="Oval 1116">
            <a:extLst>
              <a:ext uri="{FF2B5EF4-FFF2-40B4-BE49-F238E27FC236}">
                <a16:creationId xmlns:a16="http://schemas.microsoft.com/office/drawing/2014/main" id="{DF0F9E5F-6D38-2D1C-0727-D3FA1E51CDA7}"/>
              </a:ext>
            </a:extLst>
          </p:cNvPr>
          <p:cNvSpPr/>
          <p:nvPr/>
        </p:nvSpPr>
        <p:spPr>
          <a:xfrm>
            <a:off x="6442513" y="4864536"/>
            <a:ext cx="407908" cy="407908"/>
          </a:xfrm>
          <a:prstGeom prst="ellipse">
            <a:avLst/>
          </a:prstGeom>
          <a:solidFill>
            <a:srgbClr val="E7E0EF"/>
          </a:solidFill>
          <a:ln w="63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grpSp>
        <p:nvGrpSpPr>
          <p:cNvPr id="1118" name="Group 1117">
            <a:extLst>
              <a:ext uri="{FF2B5EF4-FFF2-40B4-BE49-F238E27FC236}">
                <a16:creationId xmlns:a16="http://schemas.microsoft.com/office/drawing/2014/main" id="{3A43F993-67D4-AC36-DC00-D4F6FAF8CA58}"/>
              </a:ext>
            </a:extLst>
          </p:cNvPr>
          <p:cNvGrpSpPr/>
          <p:nvPr/>
        </p:nvGrpSpPr>
        <p:grpSpPr>
          <a:xfrm>
            <a:off x="6518235" y="4943064"/>
            <a:ext cx="244349" cy="241017"/>
            <a:chOff x="5249972" y="1222604"/>
            <a:chExt cx="393240" cy="387875"/>
          </a:xfrm>
          <a:solidFill>
            <a:srgbClr val="E7E0EF"/>
          </a:solidFill>
        </p:grpSpPr>
        <p:sp>
          <p:nvSpPr>
            <p:cNvPr id="1119" name="Freeform: Shape 323">
              <a:extLst>
                <a:ext uri="{FF2B5EF4-FFF2-40B4-BE49-F238E27FC236}">
                  <a16:creationId xmlns:a16="http://schemas.microsoft.com/office/drawing/2014/main" id="{603F6FC2-0114-CB88-010D-7C85603713D1}"/>
                </a:ext>
              </a:extLst>
            </p:cNvPr>
            <p:cNvSpPr/>
            <p:nvPr/>
          </p:nvSpPr>
          <p:spPr>
            <a:xfrm rot="5400000">
              <a:off x="5410658" y="1222603"/>
              <a:ext cx="185396" cy="185397"/>
            </a:xfrm>
            <a:custGeom>
              <a:avLst/>
              <a:gdLst>
                <a:gd name="connsiteX0" fmla="*/ 0 w 1422363"/>
                <a:gd name="connsiteY0" fmla="*/ 941578 h 1422365"/>
                <a:gd name="connsiteX1" fmla="*/ 0 w 1422363"/>
                <a:gd name="connsiteY1" fmla="*/ 480787 h 1422365"/>
                <a:gd name="connsiteX2" fmla="*/ 480786 w 1422363"/>
                <a:gd name="connsiteY2" fmla="*/ 480787 h 1422365"/>
                <a:gd name="connsiteX3" fmla="*/ 480786 w 1422363"/>
                <a:gd name="connsiteY3" fmla="*/ 0 h 1422365"/>
                <a:gd name="connsiteX4" fmla="*/ 941576 w 1422363"/>
                <a:gd name="connsiteY4" fmla="*/ 0 h 1422365"/>
                <a:gd name="connsiteX5" fmla="*/ 941576 w 1422363"/>
                <a:gd name="connsiteY5" fmla="*/ 480787 h 1422365"/>
                <a:gd name="connsiteX6" fmla="*/ 1422363 w 1422363"/>
                <a:gd name="connsiteY6" fmla="*/ 480787 h 1422365"/>
                <a:gd name="connsiteX7" fmla="*/ 1422363 w 1422363"/>
                <a:gd name="connsiteY7" fmla="*/ 941578 h 1422365"/>
                <a:gd name="connsiteX8" fmla="*/ 941576 w 1422363"/>
                <a:gd name="connsiteY8" fmla="*/ 941578 h 1422365"/>
                <a:gd name="connsiteX9" fmla="*/ 941576 w 1422363"/>
                <a:gd name="connsiteY9" fmla="*/ 1422365 h 1422365"/>
                <a:gd name="connsiteX10" fmla="*/ 480786 w 1422363"/>
                <a:gd name="connsiteY10" fmla="*/ 1422365 h 1422365"/>
                <a:gd name="connsiteX11" fmla="*/ 480786 w 1422363"/>
                <a:gd name="connsiteY11" fmla="*/ 941578 h 1422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22363" h="1422365">
                  <a:moveTo>
                    <a:pt x="0" y="941578"/>
                  </a:moveTo>
                  <a:lnTo>
                    <a:pt x="0" y="480787"/>
                  </a:lnTo>
                  <a:lnTo>
                    <a:pt x="480786" y="480787"/>
                  </a:lnTo>
                  <a:lnTo>
                    <a:pt x="480786" y="0"/>
                  </a:lnTo>
                  <a:lnTo>
                    <a:pt x="941576" y="0"/>
                  </a:lnTo>
                  <a:lnTo>
                    <a:pt x="941576" y="480787"/>
                  </a:lnTo>
                  <a:lnTo>
                    <a:pt x="1422363" y="480787"/>
                  </a:lnTo>
                  <a:lnTo>
                    <a:pt x="1422363" y="941578"/>
                  </a:lnTo>
                  <a:lnTo>
                    <a:pt x="941576" y="941578"/>
                  </a:lnTo>
                  <a:lnTo>
                    <a:pt x="941576" y="1422365"/>
                  </a:lnTo>
                  <a:lnTo>
                    <a:pt x="480786" y="1422365"/>
                  </a:lnTo>
                  <a:lnTo>
                    <a:pt x="480786" y="941578"/>
                  </a:lnTo>
                  <a:close/>
                </a:path>
              </a:pathLst>
            </a:custGeom>
            <a:grpFill/>
            <a:ln w="6350">
              <a:solidFill>
                <a:srgbClr val="7030A0"/>
              </a:solidFill>
            </a:ln>
          </p:spPr>
          <p:txBody>
            <a:bodyPr rot="0" spcFirstLastPara="0" vertOverflow="overflow" horzOverflow="overflow" vert="horz" wrap="none" lIns="0" tIns="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mago" pitchFamily="2" charset="0"/>
                <a:ea typeface="+mn-ea"/>
                <a:cs typeface="+mn-cs"/>
              </a:endParaRPr>
            </a:p>
          </p:txBody>
        </p:sp>
        <p:grpSp>
          <p:nvGrpSpPr>
            <p:cNvPr id="1120" name="Group 1119">
              <a:extLst>
                <a:ext uri="{FF2B5EF4-FFF2-40B4-BE49-F238E27FC236}">
                  <a16:creationId xmlns:a16="http://schemas.microsoft.com/office/drawing/2014/main" id="{068CD64B-B9A8-2066-6FA7-C91BCF777BA7}"/>
                </a:ext>
              </a:extLst>
            </p:cNvPr>
            <p:cNvGrpSpPr/>
            <p:nvPr/>
          </p:nvGrpSpPr>
          <p:grpSpPr>
            <a:xfrm>
              <a:off x="5249972" y="1443159"/>
              <a:ext cx="393240" cy="167320"/>
              <a:chOff x="2496474" y="4068960"/>
              <a:chExt cx="2539018" cy="1080332"/>
            </a:xfrm>
            <a:grpFill/>
          </p:grpSpPr>
          <p:sp>
            <p:nvSpPr>
              <p:cNvPr id="1121" name="Freeform: Shape 1221">
                <a:extLst>
                  <a:ext uri="{FF2B5EF4-FFF2-40B4-BE49-F238E27FC236}">
                    <a16:creationId xmlns:a16="http://schemas.microsoft.com/office/drawing/2014/main" id="{6418BF09-8F73-6624-E2DD-B7C817AD9F0B}"/>
                  </a:ext>
                </a:extLst>
              </p:cNvPr>
              <p:cNvSpPr/>
              <p:nvPr/>
            </p:nvSpPr>
            <p:spPr>
              <a:xfrm>
                <a:off x="2800686" y="4068960"/>
                <a:ext cx="2234806" cy="1080332"/>
              </a:xfrm>
              <a:custGeom>
                <a:avLst/>
                <a:gdLst>
                  <a:gd name="connsiteX0" fmla="*/ 0 w 3649980"/>
                  <a:gd name="connsiteY0" fmla="*/ 1790700 h 1790700"/>
                  <a:gd name="connsiteX1" fmla="*/ 342900 w 3649980"/>
                  <a:gd name="connsiteY1" fmla="*/ 1440180 h 1790700"/>
                  <a:gd name="connsiteX2" fmla="*/ 1859280 w 3649980"/>
                  <a:gd name="connsiteY2" fmla="*/ 1440180 h 1790700"/>
                  <a:gd name="connsiteX3" fmla="*/ 3589020 w 3649980"/>
                  <a:gd name="connsiteY3" fmla="*/ 480060 h 1790700"/>
                  <a:gd name="connsiteX4" fmla="*/ 3649980 w 3649980"/>
                  <a:gd name="connsiteY4" fmla="*/ 129540 h 1790700"/>
                  <a:gd name="connsiteX5" fmla="*/ 3360420 w 3649980"/>
                  <a:gd name="connsiteY5" fmla="*/ 0 h 1790700"/>
                  <a:gd name="connsiteX6" fmla="*/ 2461260 w 3649980"/>
                  <a:gd name="connsiteY6" fmla="*/ 472440 h 1790700"/>
                  <a:gd name="connsiteX0" fmla="*/ 0 w 3649980"/>
                  <a:gd name="connsiteY0" fmla="*/ 1790700 h 1790700"/>
                  <a:gd name="connsiteX1" fmla="*/ 342900 w 3649980"/>
                  <a:gd name="connsiteY1" fmla="*/ 1440180 h 1790700"/>
                  <a:gd name="connsiteX2" fmla="*/ 1859280 w 3649980"/>
                  <a:gd name="connsiteY2" fmla="*/ 1440180 h 1790700"/>
                  <a:gd name="connsiteX3" fmla="*/ 3589020 w 3649980"/>
                  <a:gd name="connsiteY3" fmla="*/ 480060 h 1790700"/>
                  <a:gd name="connsiteX4" fmla="*/ 3649980 w 3649980"/>
                  <a:gd name="connsiteY4" fmla="*/ 129540 h 1790700"/>
                  <a:gd name="connsiteX5" fmla="*/ 3360420 w 3649980"/>
                  <a:gd name="connsiteY5" fmla="*/ 0 h 1790700"/>
                  <a:gd name="connsiteX6" fmla="*/ 2461260 w 3649980"/>
                  <a:gd name="connsiteY6" fmla="*/ 472440 h 1790700"/>
                  <a:gd name="connsiteX0" fmla="*/ 0 w 3670250"/>
                  <a:gd name="connsiteY0" fmla="*/ 1790700 h 1790700"/>
                  <a:gd name="connsiteX1" fmla="*/ 342900 w 3670250"/>
                  <a:gd name="connsiteY1" fmla="*/ 1440180 h 1790700"/>
                  <a:gd name="connsiteX2" fmla="*/ 1859280 w 3670250"/>
                  <a:gd name="connsiteY2" fmla="*/ 1440180 h 1790700"/>
                  <a:gd name="connsiteX3" fmla="*/ 3589020 w 3670250"/>
                  <a:gd name="connsiteY3" fmla="*/ 480060 h 1790700"/>
                  <a:gd name="connsiteX4" fmla="*/ 3649980 w 3670250"/>
                  <a:gd name="connsiteY4" fmla="*/ 129540 h 1790700"/>
                  <a:gd name="connsiteX5" fmla="*/ 3360420 w 3670250"/>
                  <a:gd name="connsiteY5" fmla="*/ 0 h 1790700"/>
                  <a:gd name="connsiteX6" fmla="*/ 2461260 w 3670250"/>
                  <a:gd name="connsiteY6" fmla="*/ 472440 h 1790700"/>
                  <a:gd name="connsiteX0" fmla="*/ 0 w 3680460"/>
                  <a:gd name="connsiteY0" fmla="*/ 1790700 h 1790700"/>
                  <a:gd name="connsiteX1" fmla="*/ 342900 w 3680460"/>
                  <a:gd name="connsiteY1" fmla="*/ 1440180 h 1790700"/>
                  <a:gd name="connsiteX2" fmla="*/ 1859280 w 3680460"/>
                  <a:gd name="connsiteY2" fmla="*/ 1440180 h 1790700"/>
                  <a:gd name="connsiteX3" fmla="*/ 3589020 w 3680460"/>
                  <a:gd name="connsiteY3" fmla="*/ 480060 h 1790700"/>
                  <a:gd name="connsiteX4" fmla="*/ 3649980 w 3680460"/>
                  <a:gd name="connsiteY4" fmla="*/ 129540 h 1790700"/>
                  <a:gd name="connsiteX5" fmla="*/ 3360420 w 3680460"/>
                  <a:gd name="connsiteY5" fmla="*/ 0 h 1790700"/>
                  <a:gd name="connsiteX6" fmla="*/ 2461260 w 3680460"/>
                  <a:gd name="connsiteY6" fmla="*/ 472440 h 1790700"/>
                  <a:gd name="connsiteX0" fmla="*/ 0 w 3680460"/>
                  <a:gd name="connsiteY0" fmla="*/ 1794613 h 1794613"/>
                  <a:gd name="connsiteX1" fmla="*/ 342900 w 3680460"/>
                  <a:gd name="connsiteY1" fmla="*/ 1444093 h 1794613"/>
                  <a:gd name="connsiteX2" fmla="*/ 1859280 w 3680460"/>
                  <a:gd name="connsiteY2" fmla="*/ 1444093 h 1794613"/>
                  <a:gd name="connsiteX3" fmla="*/ 3589020 w 3680460"/>
                  <a:gd name="connsiteY3" fmla="*/ 483973 h 1794613"/>
                  <a:gd name="connsiteX4" fmla="*/ 3649980 w 3680460"/>
                  <a:gd name="connsiteY4" fmla="*/ 133453 h 1794613"/>
                  <a:gd name="connsiteX5" fmla="*/ 3360420 w 3680460"/>
                  <a:gd name="connsiteY5" fmla="*/ 3913 h 1794613"/>
                  <a:gd name="connsiteX6" fmla="*/ 2461260 w 3680460"/>
                  <a:gd name="connsiteY6" fmla="*/ 476353 h 1794613"/>
                  <a:gd name="connsiteX0" fmla="*/ 0 w 3670229"/>
                  <a:gd name="connsiteY0" fmla="*/ 1781012 h 1781012"/>
                  <a:gd name="connsiteX1" fmla="*/ 342900 w 3670229"/>
                  <a:gd name="connsiteY1" fmla="*/ 1430492 h 1781012"/>
                  <a:gd name="connsiteX2" fmla="*/ 1859280 w 3670229"/>
                  <a:gd name="connsiteY2" fmla="*/ 1430492 h 1781012"/>
                  <a:gd name="connsiteX3" fmla="*/ 3589020 w 3670229"/>
                  <a:gd name="connsiteY3" fmla="*/ 470372 h 1781012"/>
                  <a:gd name="connsiteX4" fmla="*/ 3649980 w 3670229"/>
                  <a:gd name="connsiteY4" fmla="*/ 119852 h 1781012"/>
                  <a:gd name="connsiteX5" fmla="*/ 3346132 w 3670229"/>
                  <a:gd name="connsiteY5" fmla="*/ 2218 h 1781012"/>
                  <a:gd name="connsiteX6" fmla="*/ 2461260 w 3670229"/>
                  <a:gd name="connsiteY6" fmla="*/ 462752 h 1781012"/>
                  <a:gd name="connsiteX0" fmla="*/ 0 w 3670229"/>
                  <a:gd name="connsiteY0" fmla="*/ 1786138 h 1786138"/>
                  <a:gd name="connsiteX1" fmla="*/ 342900 w 3670229"/>
                  <a:gd name="connsiteY1" fmla="*/ 1435618 h 1786138"/>
                  <a:gd name="connsiteX2" fmla="*/ 1859280 w 3670229"/>
                  <a:gd name="connsiteY2" fmla="*/ 1435618 h 1786138"/>
                  <a:gd name="connsiteX3" fmla="*/ 3589020 w 3670229"/>
                  <a:gd name="connsiteY3" fmla="*/ 475498 h 1786138"/>
                  <a:gd name="connsiteX4" fmla="*/ 3649980 w 3670229"/>
                  <a:gd name="connsiteY4" fmla="*/ 124978 h 1786138"/>
                  <a:gd name="connsiteX5" fmla="*/ 3346132 w 3670229"/>
                  <a:gd name="connsiteY5" fmla="*/ 7344 h 1786138"/>
                  <a:gd name="connsiteX6" fmla="*/ 2461260 w 3670229"/>
                  <a:gd name="connsiteY6" fmla="*/ 467878 h 1786138"/>
                  <a:gd name="connsiteX0" fmla="*/ 0 w 3657088"/>
                  <a:gd name="connsiteY0" fmla="*/ 1785508 h 1785508"/>
                  <a:gd name="connsiteX1" fmla="*/ 342900 w 3657088"/>
                  <a:gd name="connsiteY1" fmla="*/ 1434988 h 1785508"/>
                  <a:gd name="connsiteX2" fmla="*/ 1859280 w 3657088"/>
                  <a:gd name="connsiteY2" fmla="*/ 1434988 h 1785508"/>
                  <a:gd name="connsiteX3" fmla="*/ 3589020 w 3657088"/>
                  <a:gd name="connsiteY3" fmla="*/ 474868 h 1785508"/>
                  <a:gd name="connsiteX4" fmla="*/ 3630930 w 3657088"/>
                  <a:gd name="connsiteY4" fmla="*/ 133873 h 1785508"/>
                  <a:gd name="connsiteX5" fmla="*/ 3346132 w 3657088"/>
                  <a:gd name="connsiteY5" fmla="*/ 6714 h 1785508"/>
                  <a:gd name="connsiteX6" fmla="*/ 2461260 w 3657088"/>
                  <a:gd name="connsiteY6" fmla="*/ 467248 h 1785508"/>
                  <a:gd name="connsiteX0" fmla="*/ 0 w 3673639"/>
                  <a:gd name="connsiteY0" fmla="*/ 1788509 h 1788509"/>
                  <a:gd name="connsiteX1" fmla="*/ 342900 w 3673639"/>
                  <a:gd name="connsiteY1" fmla="*/ 1437989 h 1788509"/>
                  <a:gd name="connsiteX2" fmla="*/ 1859280 w 3673639"/>
                  <a:gd name="connsiteY2" fmla="*/ 1437989 h 1788509"/>
                  <a:gd name="connsiteX3" fmla="*/ 3589020 w 3673639"/>
                  <a:gd name="connsiteY3" fmla="*/ 477869 h 1788509"/>
                  <a:gd name="connsiteX4" fmla="*/ 3630930 w 3673639"/>
                  <a:gd name="connsiteY4" fmla="*/ 136874 h 1788509"/>
                  <a:gd name="connsiteX5" fmla="*/ 3346132 w 3673639"/>
                  <a:gd name="connsiteY5" fmla="*/ 9715 h 1788509"/>
                  <a:gd name="connsiteX6" fmla="*/ 2461260 w 3673639"/>
                  <a:gd name="connsiteY6" fmla="*/ 470249 h 1788509"/>
                  <a:gd name="connsiteX0" fmla="*/ 0 w 3653181"/>
                  <a:gd name="connsiteY0" fmla="*/ 1785767 h 1785767"/>
                  <a:gd name="connsiteX1" fmla="*/ 342900 w 3653181"/>
                  <a:gd name="connsiteY1" fmla="*/ 1435247 h 1785767"/>
                  <a:gd name="connsiteX2" fmla="*/ 1859280 w 3653181"/>
                  <a:gd name="connsiteY2" fmla="*/ 1435247 h 1785767"/>
                  <a:gd name="connsiteX3" fmla="*/ 3579495 w 3653181"/>
                  <a:gd name="connsiteY3" fmla="*/ 501320 h 1785767"/>
                  <a:gd name="connsiteX4" fmla="*/ 3630930 w 3653181"/>
                  <a:gd name="connsiteY4" fmla="*/ 134132 h 1785767"/>
                  <a:gd name="connsiteX5" fmla="*/ 3346132 w 3653181"/>
                  <a:gd name="connsiteY5" fmla="*/ 6973 h 1785767"/>
                  <a:gd name="connsiteX6" fmla="*/ 2461260 w 3653181"/>
                  <a:gd name="connsiteY6" fmla="*/ 467507 h 1785767"/>
                  <a:gd name="connsiteX0" fmla="*/ 0 w 3657884"/>
                  <a:gd name="connsiteY0" fmla="*/ 1785767 h 1785767"/>
                  <a:gd name="connsiteX1" fmla="*/ 342900 w 3657884"/>
                  <a:gd name="connsiteY1" fmla="*/ 1435247 h 1785767"/>
                  <a:gd name="connsiteX2" fmla="*/ 1859280 w 3657884"/>
                  <a:gd name="connsiteY2" fmla="*/ 1435247 h 1785767"/>
                  <a:gd name="connsiteX3" fmla="*/ 3579495 w 3657884"/>
                  <a:gd name="connsiteY3" fmla="*/ 501320 h 1785767"/>
                  <a:gd name="connsiteX4" fmla="*/ 3630930 w 3657884"/>
                  <a:gd name="connsiteY4" fmla="*/ 134132 h 1785767"/>
                  <a:gd name="connsiteX5" fmla="*/ 3346132 w 3657884"/>
                  <a:gd name="connsiteY5" fmla="*/ 6973 h 1785767"/>
                  <a:gd name="connsiteX6" fmla="*/ 2461260 w 3657884"/>
                  <a:gd name="connsiteY6" fmla="*/ 467507 h 1785767"/>
                  <a:gd name="connsiteX0" fmla="*/ 0 w 3668129"/>
                  <a:gd name="connsiteY0" fmla="*/ 1788468 h 1788468"/>
                  <a:gd name="connsiteX1" fmla="*/ 342900 w 3668129"/>
                  <a:gd name="connsiteY1" fmla="*/ 1437948 h 1788468"/>
                  <a:gd name="connsiteX2" fmla="*/ 1859280 w 3668129"/>
                  <a:gd name="connsiteY2" fmla="*/ 1437948 h 1788468"/>
                  <a:gd name="connsiteX3" fmla="*/ 3579495 w 3668129"/>
                  <a:gd name="connsiteY3" fmla="*/ 504021 h 1788468"/>
                  <a:gd name="connsiteX4" fmla="*/ 3630930 w 3668129"/>
                  <a:gd name="connsiteY4" fmla="*/ 136833 h 1788468"/>
                  <a:gd name="connsiteX5" fmla="*/ 3346132 w 3668129"/>
                  <a:gd name="connsiteY5" fmla="*/ 9674 h 1788468"/>
                  <a:gd name="connsiteX6" fmla="*/ 2461260 w 3668129"/>
                  <a:gd name="connsiteY6" fmla="*/ 470208 h 1788468"/>
                  <a:gd name="connsiteX0" fmla="*/ 0 w 3668129"/>
                  <a:gd name="connsiteY0" fmla="*/ 1788468 h 1788468"/>
                  <a:gd name="connsiteX1" fmla="*/ 342900 w 3668129"/>
                  <a:gd name="connsiteY1" fmla="*/ 1437948 h 1788468"/>
                  <a:gd name="connsiteX2" fmla="*/ 1859280 w 3668129"/>
                  <a:gd name="connsiteY2" fmla="*/ 1437948 h 1788468"/>
                  <a:gd name="connsiteX3" fmla="*/ 3579495 w 3668129"/>
                  <a:gd name="connsiteY3" fmla="*/ 504021 h 1788468"/>
                  <a:gd name="connsiteX4" fmla="*/ 3630930 w 3668129"/>
                  <a:gd name="connsiteY4" fmla="*/ 136833 h 1788468"/>
                  <a:gd name="connsiteX5" fmla="*/ 3346132 w 3668129"/>
                  <a:gd name="connsiteY5" fmla="*/ 9674 h 1788468"/>
                  <a:gd name="connsiteX6" fmla="*/ 2461260 w 3668129"/>
                  <a:gd name="connsiteY6" fmla="*/ 470208 h 1788468"/>
                  <a:gd name="connsiteX0" fmla="*/ 0 w 3674565"/>
                  <a:gd name="connsiteY0" fmla="*/ 1789038 h 1789038"/>
                  <a:gd name="connsiteX1" fmla="*/ 342900 w 3674565"/>
                  <a:gd name="connsiteY1" fmla="*/ 1438518 h 1789038"/>
                  <a:gd name="connsiteX2" fmla="*/ 1859280 w 3674565"/>
                  <a:gd name="connsiteY2" fmla="*/ 1438518 h 1789038"/>
                  <a:gd name="connsiteX3" fmla="*/ 3579495 w 3674565"/>
                  <a:gd name="connsiteY3" fmla="*/ 504591 h 1789038"/>
                  <a:gd name="connsiteX4" fmla="*/ 3640455 w 3674565"/>
                  <a:gd name="connsiteY4" fmla="*/ 132641 h 1789038"/>
                  <a:gd name="connsiteX5" fmla="*/ 3346132 w 3674565"/>
                  <a:gd name="connsiteY5" fmla="*/ 10244 h 1789038"/>
                  <a:gd name="connsiteX6" fmla="*/ 2461260 w 3674565"/>
                  <a:gd name="connsiteY6" fmla="*/ 470778 h 1789038"/>
                  <a:gd name="connsiteX0" fmla="*/ 0 w 3673723"/>
                  <a:gd name="connsiteY0" fmla="*/ 1785885 h 1785885"/>
                  <a:gd name="connsiteX1" fmla="*/ 342900 w 3673723"/>
                  <a:gd name="connsiteY1" fmla="*/ 1435365 h 1785885"/>
                  <a:gd name="connsiteX2" fmla="*/ 1859280 w 3673723"/>
                  <a:gd name="connsiteY2" fmla="*/ 1435365 h 1785885"/>
                  <a:gd name="connsiteX3" fmla="*/ 3600926 w 3673723"/>
                  <a:gd name="connsiteY3" fmla="*/ 482388 h 1785885"/>
                  <a:gd name="connsiteX4" fmla="*/ 3640455 w 3673723"/>
                  <a:gd name="connsiteY4" fmla="*/ 129488 h 1785885"/>
                  <a:gd name="connsiteX5" fmla="*/ 3346132 w 3673723"/>
                  <a:gd name="connsiteY5" fmla="*/ 7091 h 1785885"/>
                  <a:gd name="connsiteX6" fmla="*/ 2461260 w 3673723"/>
                  <a:gd name="connsiteY6" fmla="*/ 467625 h 1785885"/>
                  <a:gd name="connsiteX0" fmla="*/ 0 w 3673723"/>
                  <a:gd name="connsiteY0" fmla="*/ 1785885 h 1785885"/>
                  <a:gd name="connsiteX1" fmla="*/ 361950 w 3673723"/>
                  <a:gd name="connsiteY1" fmla="*/ 1430603 h 1785885"/>
                  <a:gd name="connsiteX2" fmla="*/ 1859280 w 3673723"/>
                  <a:gd name="connsiteY2" fmla="*/ 1435365 h 1785885"/>
                  <a:gd name="connsiteX3" fmla="*/ 3600926 w 3673723"/>
                  <a:gd name="connsiteY3" fmla="*/ 482388 h 1785885"/>
                  <a:gd name="connsiteX4" fmla="*/ 3640455 w 3673723"/>
                  <a:gd name="connsiteY4" fmla="*/ 129488 h 1785885"/>
                  <a:gd name="connsiteX5" fmla="*/ 3346132 w 3673723"/>
                  <a:gd name="connsiteY5" fmla="*/ 7091 h 1785885"/>
                  <a:gd name="connsiteX6" fmla="*/ 2461260 w 3673723"/>
                  <a:gd name="connsiteY6" fmla="*/ 467625 h 1785885"/>
                  <a:gd name="connsiteX0" fmla="*/ 0 w 3673723"/>
                  <a:gd name="connsiteY0" fmla="*/ 1785885 h 1785885"/>
                  <a:gd name="connsiteX1" fmla="*/ 361950 w 3673723"/>
                  <a:gd name="connsiteY1" fmla="*/ 1430603 h 1785885"/>
                  <a:gd name="connsiteX2" fmla="*/ 1859280 w 3673723"/>
                  <a:gd name="connsiteY2" fmla="*/ 1435365 h 1785885"/>
                  <a:gd name="connsiteX3" fmla="*/ 3600926 w 3673723"/>
                  <a:gd name="connsiteY3" fmla="*/ 482388 h 1785885"/>
                  <a:gd name="connsiteX4" fmla="*/ 3640455 w 3673723"/>
                  <a:gd name="connsiteY4" fmla="*/ 129488 h 1785885"/>
                  <a:gd name="connsiteX5" fmla="*/ 3346132 w 3673723"/>
                  <a:gd name="connsiteY5" fmla="*/ 7091 h 1785885"/>
                  <a:gd name="connsiteX6" fmla="*/ 2461260 w 3673723"/>
                  <a:gd name="connsiteY6" fmla="*/ 467625 h 1785885"/>
                  <a:gd name="connsiteX0" fmla="*/ 0 w 3673723"/>
                  <a:gd name="connsiteY0" fmla="*/ 1785885 h 1785885"/>
                  <a:gd name="connsiteX1" fmla="*/ 361950 w 3673723"/>
                  <a:gd name="connsiteY1" fmla="*/ 1430603 h 1785885"/>
                  <a:gd name="connsiteX2" fmla="*/ 1859280 w 3673723"/>
                  <a:gd name="connsiteY2" fmla="*/ 1435365 h 1785885"/>
                  <a:gd name="connsiteX3" fmla="*/ 3600926 w 3673723"/>
                  <a:gd name="connsiteY3" fmla="*/ 482388 h 1785885"/>
                  <a:gd name="connsiteX4" fmla="*/ 3640455 w 3673723"/>
                  <a:gd name="connsiteY4" fmla="*/ 129488 h 1785885"/>
                  <a:gd name="connsiteX5" fmla="*/ 3346132 w 3673723"/>
                  <a:gd name="connsiteY5" fmla="*/ 7091 h 1785885"/>
                  <a:gd name="connsiteX6" fmla="*/ 2461260 w 3673723"/>
                  <a:gd name="connsiteY6" fmla="*/ 467625 h 1785885"/>
                  <a:gd name="connsiteX0" fmla="*/ 0 w 3673723"/>
                  <a:gd name="connsiteY0" fmla="*/ 1785885 h 1785885"/>
                  <a:gd name="connsiteX1" fmla="*/ 361950 w 3673723"/>
                  <a:gd name="connsiteY1" fmla="*/ 1430603 h 1785885"/>
                  <a:gd name="connsiteX2" fmla="*/ 1859280 w 3673723"/>
                  <a:gd name="connsiteY2" fmla="*/ 1435365 h 1785885"/>
                  <a:gd name="connsiteX3" fmla="*/ 3600926 w 3673723"/>
                  <a:gd name="connsiteY3" fmla="*/ 482388 h 1785885"/>
                  <a:gd name="connsiteX4" fmla="*/ 3640455 w 3673723"/>
                  <a:gd name="connsiteY4" fmla="*/ 129488 h 1785885"/>
                  <a:gd name="connsiteX5" fmla="*/ 3346132 w 3673723"/>
                  <a:gd name="connsiteY5" fmla="*/ 7091 h 1785885"/>
                  <a:gd name="connsiteX6" fmla="*/ 2461260 w 3673723"/>
                  <a:gd name="connsiteY6" fmla="*/ 467625 h 1785885"/>
                  <a:gd name="connsiteX0" fmla="*/ 0 w 3693687"/>
                  <a:gd name="connsiteY0" fmla="*/ 1789806 h 1789806"/>
                  <a:gd name="connsiteX1" fmla="*/ 361950 w 3693687"/>
                  <a:gd name="connsiteY1" fmla="*/ 1434524 h 1789806"/>
                  <a:gd name="connsiteX2" fmla="*/ 1859280 w 3693687"/>
                  <a:gd name="connsiteY2" fmla="*/ 1439286 h 1789806"/>
                  <a:gd name="connsiteX3" fmla="*/ 3600926 w 3693687"/>
                  <a:gd name="connsiteY3" fmla="*/ 486309 h 1789806"/>
                  <a:gd name="connsiteX4" fmla="*/ 3640455 w 3693687"/>
                  <a:gd name="connsiteY4" fmla="*/ 133409 h 1789806"/>
                  <a:gd name="connsiteX5" fmla="*/ 3346132 w 3693687"/>
                  <a:gd name="connsiteY5" fmla="*/ 11012 h 1789806"/>
                  <a:gd name="connsiteX6" fmla="*/ 2461260 w 3693687"/>
                  <a:gd name="connsiteY6" fmla="*/ 471546 h 1789806"/>
                  <a:gd name="connsiteX0" fmla="*/ 0 w 3689230"/>
                  <a:gd name="connsiteY0" fmla="*/ 1788874 h 1788874"/>
                  <a:gd name="connsiteX1" fmla="*/ 361950 w 3689230"/>
                  <a:gd name="connsiteY1" fmla="*/ 1433592 h 1788874"/>
                  <a:gd name="connsiteX2" fmla="*/ 1859280 w 3689230"/>
                  <a:gd name="connsiteY2" fmla="*/ 1438354 h 1788874"/>
                  <a:gd name="connsiteX3" fmla="*/ 3600926 w 3689230"/>
                  <a:gd name="connsiteY3" fmla="*/ 485377 h 1788874"/>
                  <a:gd name="connsiteX4" fmla="*/ 3633311 w 3689230"/>
                  <a:gd name="connsiteY4" fmla="*/ 139621 h 1788874"/>
                  <a:gd name="connsiteX5" fmla="*/ 3346132 w 3689230"/>
                  <a:gd name="connsiteY5" fmla="*/ 10080 h 1788874"/>
                  <a:gd name="connsiteX6" fmla="*/ 2461260 w 3689230"/>
                  <a:gd name="connsiteY6" fmla="*/ 470614 h 1788874"/>
                  <a:gd name="connsiteX0" fmla="*/ 0 w 3686231"/>
                  <a:gd name="connsiteY0" fmla="*/ 1789714 h 1789714"/>
                  <a:gd name="connsiteX1" fmla="*/ 361950 w 3686231"/>
                  <a:gd name="connsiteY1" fmla="*/ 1434432 h 1789714"/>
                  <a:gd name="connsiteX2" fmla="*/ 1859280 w 3686231"/>
                  <a:gd name="connsiteY2" fmla="*/ 1439194 h 1789714"/>
                  <a:gd name="connsiteX3" fmla="*/ 3600926 w 3686231"/>
                  <a:gd name="connsiteY3" fmla="*/ 486217 h 1789714"/>
                  <a:gd name="connsiteX4" fmla="*/ 3633311 w 3686231"/>
                  <a:gd name="connsiteY4" fmla="*/ 140461 h 1789714"/>
                  <a:gd name="connsiteX5" fmla="*/ 3346132 w 3686231"/>
                  <a:gd name="connsiteY5" fmla="*/ 10920 h 1789714"/>
                  <a:gd name="connsiteX6" fmla="*/ 2461260 w 3686231"/>
                  <a:gd name="connsiteY6" fmla="*/ 471454 h 1789714"/>
                  <a:gd name="connsiteX0" fmla="*/ 0 w 3656422"/>
                  <a:gd name="connsiteY0" fmla="*/ 1785568 h 1785568"/>
                  <a:gd name="connsiteX1" fmla="*/ 361950 w 3656422"/>
                  <a:gd name="connsiteY1" fmla="*/ 1430286 h 1785568"/>
                  <a:gd name="connsiteX2" fmla="*/ 1859280 w 3656422"/>
                  <a:gd name="connsiteY2" fmla="*/ 1435048 h 1785568"/>
                  <a:gd name="connsiteX3" fmla="*/ 3572351 w 3656422"/>
                  <a:gd name="connsiteY3" fmla="*/ 496358 h 1785568"/>
                  <a:gd name="connsiteX4" fmla="*/ 3633311 w 3656422"/>
                  <a:gd name="connsiteY4" fmla="*/ 136315 h 1785568"/>
                  <a:gd name="connsiteX5" fmla="*/ 3346132 w 3656422"/>
                  <a:gd name="connsiteY5" fmla="*/ 6774 h 1785568"/>
                  <a:gd name="connsiteX6" fmla="*/ 2461260 w 3656422"/>
                  <a:gd name="connsiteY6" fmla="*/ 467308 h 1785568"/>
                  <a:gd name="connsiteX0" fmla="*/ 0 w 3649015"/>
                  <a:gd name="connsiteY0" fmla="*/ 1785568 h 1785568"/>
                  <a:gd name="connsiteX1" fmla="*/ 361950 w 3649015"/>
                  <a:gd name="connsiteY1" fmla="*/ 1430286 h 1785568"/>
                  <a:gd name="connsiteX2" fmla="*/ 1859280 w 3649015"/>
                  <a:gd name="connsiteY2" fmla="*/ 1435048 h 1785568"/>
                  <a:gd name="connsiteX3" fmla="*/ 3572351 w 3649015"/>
                  <a:gd name="connsiteY3" fmla="*/ 496358 h 1785568"/>
                  <a:gd name="connsiteX4" fmla="*/ 3633311 w 3649015"/>
                  <a:gd name="connsiteY4" fmla="*/ 136315 h 1785568"/>
                  <a:gd name="connsiteX5" fmla="*/ 3346132 w 3649015"/>
                  <a:gd name="connsiteY5" fmla="*/ 6774 h 1785568"/>
                  <a:gd name="connsiteX6" fmla="*/ 2461260 w 3649015"/>
                  <a:gd name="connsiteY6" fmla="*/ 467308 h 1785568"/>
                  <a:gd name="connsiteX0" fmla="*/ 0 w 3651972"/>
                  <a:gd name="connsiteY0" fmla="*/ 1767671 h 1767671"/>
                  <a:gd name="connsiteX1" fmla="*/ 361950 w 3651972"/>
                  <a:gd name="connsiteY1" fmla="*/ 1412389 h 1767671"/>
                  <a:gd name="connsiteX2" fmla="*/ 1859280 w 3651972"/>
                  <a:gd name="connsiteY2" fmla="*/ 1417151 h 1767671"/>
                  <a:gd name="connsiteX3" fmla="*/ 3572351 w 3651972"/>
                  <a:gd name="connsiteY3" fmla="*/ 478461 h 1767671"/>
                  <a:gd name="connsiteX4" fmla="*/ 3633311 w 3651972"/>
                  <a:gd name="connsiteY4" fmla="*/ 118418 h 1767671"/>
                  <a:gd name="connsiteX5" fmla="*/ 3305651 w 3651972"/>
                  <a:gd name="connsiteY5" fmla="*/ 7927 h 1767671"/>
                  <a:gd name="connsiteX6" fmla="*/ 2461260 w 3651972"/>
                  <a:gd name="connsiteY6" fmla="*/ 449411 h 1767671"/>
                  <a:gd name="connsiteX0" fmla="*/ 0 w 3651972"/>
                  <a:gd name="connsiteY0" fmla="*/ 1775850 h 1775850"/>
                  <a:gd name="connsiteX1" fmla="*/ 361950 w 3651972"/>
                  <a:gd name="connsiteY1" fmla="*/ 1420568 h 1775850"/>
                  <a:gd name="connsiteX2" fmla="*/ 1859280 w 3651972"/>
                  <a:gd name="connsiteY2" fmla="*/ 1425330 h 1775850"/>
                  <a:gd name="connsiteX3" fmla="*/ 3572351 w 3651972"/>
                  <a:gd name="connsiteY3" fmla="*/ 486640 h 1775850"/>
                  <a:gd name="connsiteX4" fmla="*/ 3633311 w 3651972"/>
                  <a:gd name="connsiteY4" fmla="*/ 126597 h 1775850"/>
                  <a:gd name="connsiteX5" fmla="*/ 3305651 w 3651972"/>
                  <a:gd name="connsiteY5" fmla="*/ 16106 h 1775850"/>
                  <a:gd name="connsiteX6" fmla="*/ 2461260 w 3651972"/>
                  <a:gd name="connsiteY6" fmla="*/ 457590 h 1775850"/>
                  <a:gd name="connsiteX0" fmla="*/ 0 w 3651972"/>
                  <a:gd name="connsiteY0" fmla="*/ 1775850 h 1775850"/>
                  <a:gd name="connsiteX1" fmla="*/ 361950 w 3651972"/>
                  <a:gd name="connsiteY1" fmla="*/ 1420568 h 1775850"/>
                  <a:gd name="connsiteX2" fmla="*/ 1859280 w 3651972"/>
                  <a:gd name="connsiteY2" fmla="*/ 1425330 h 1775850"/>
                  <a:gd name="connsiteX3" fmla="*/ 3572351 w 3651972"/>
                  <a:gd name="connsiteY3" fmla="*/ 486640 h 1775850"/>
                  <a:gd name="connsiteX4" fmla="*/ 3633311 w 3651972"/>
                  <a:gd name="connsiteY4" fmla="*/ 126597 h 1775850"/>
                  <a:gd name="connsiteX5" fmla="*/ 3305651 w 3651972"/>
                  <a:gd name="connsiteY5" fmla="*/ 16106 h 1775850"/>
                  <a:gd name="connsiteX6" fmla="*/ 2461260 w 3651972"/>
                  <a:gd name="connsiteY6" fmla="*/ 457590 h 1775850"/>
                  <a:gd name="connsiteX0" fmla="*/ 0 w 3667722"/>
                  <a:gd name="connsiteY0" fmla="*/ 1784978 h 1784978"/>
                  <a:gd name="connsiteX1" fmla="*/ 361950 w 3667722"/>
                  <a:gd name="connsiteY1" fmla="*/ 1429696 h 1784978"/>
                  <a:gd name="connsiteX2" fmla="*/ 1859280 w 3667722"/>
                  <a:gd name="connsiteY2" fmla="*/ 1434458 h 1784978"/>
                  <a:gd name="connsiteX3" fmla="*/ 3572351 w 3667722"/>
                  <a:gd name="connsiteY3" fmla="*/ 495768 h 1784978"/>
                  <a:gd name="connsiteX4" fmla="*/ 3633311 w 3667722"/>
                  <a:gd name="connsiteY4" fmla="*/ 135725 h 1784978"/>
                  <a:gd name="connsiteX5" fmla="*/ 3305651 w 3667722"/>
                  <a:gd name="connsiteY5" fmla="*/ 25234 h 1784978"/>
                  <a:gd name="connsiteX6" fmla="*/ 2461260 w 3667722"/>
                  <a:gd name="connsiteY6" fmla="*/ 466718 h 1784978"/>
                  <a:gd name="connsiteX0" fmla="*/ 0 w 3680988"/>
                  <a:gd name="connsiteY0" fmla="*/ 1781456 h 1781456"/>
                  <a:gd name="connsiteX1" fmla="*/ 361950 w 3680988"/>
                  <a:gd name="connsiteY1" fmla="*/ 1426174 h 1781456"/>
                  <a:gd name="connsiteX2" fmla="*/ 1859280 w 3680988"/>
                  <a:gd name="connsiteY2" fmla="*/ 1430936 h 1781456"/>
                  <a:gd name="connsiteX3" fmla="*/ 3572351 w 3680988"/>
                  <a:gd name="connsiteY3" fmla="*/ 492246 h 1781456"/>
                  <a:gd name="connsiteX4" fmla="*/ 3649980 w 3680988"/>
                  <a:gd name="connsiteY4" fmla="*/ 148872 h 1781456"/>
                  <a:gd name="connsiteX5" fmla="*/ 3305651 w 3680988"/>
                  <a:gd name="connsiteY5" fmla="*/ 21712 h 1781456"/>
                  <a:gd name="connsiteX6" fmla="*/ 2461260 w 3680988"/>
                  <a:gd name="connsiteY6" fmla="*/ 463196 h 1781456"/>
                  <a:gd name="connsiteX0" fmla="*/ 0 w 3677895"/>
                  <a:gd name="connsiteY0" fmla="*/ 1778568 h 1778568"/>
                  <a:gd name="connsiteX1" fmla="*/ 361950 w 3677895"/>
                  <a:gd name="connsiteY1" fmla="*/ 1423286 h 1778568"/>
                  <a:gd name="connsiteX2" fmla="*/ 1859280 w 3677895"/>
                  <a:gd name="connsiteY2" fmla="*/ 1428048 h 1778568"/>
                  <a:gd name="connsiteX3" fmla="*/ 3572351 w 3677895"/>
                  <a:gd name="connsiteY3" fmla="*/ 489358 h 1778568"/>
                  <a:gd name="connsiteX4" fmla="*/ 3649980 w 3677895"/>
                  <a:gd name="connsiteY4" fmla="*/ 145984 h 1778568"/>
                  <a:gd name="connsiteX5" fmla="*/ 3305651 w 3677895"/>
                  <a:gd name="connsiteY5" fmla="*/ 18824 h 1778568"/>
                  <a:gd name="connsiteX6" fmla="*/ 2461260 w 3677895"/>
                  <a:gd name="connsiteY6" fmla="*/ 460308 h 1778568"/>
                  <a:gd name="connsiteX0" fmla="*/ 0 w 3677895"/>
                  <a:gd name="connsiteY0" fmla="*/ 1778568 h 1778568"/>
                  <a:gd name="connsiteX1" fmla="*/ 361950 w 3677895"/>
                  <a:gd name="connsiteY1" fmla="*/ 1423286 h 1778568"/>
                  <a:gd name="connsiteX2" fmla="*/ 1859280 w 3677895"/>
                  <a:gd name="connsiteY2" fmla="*/ 1428048 h 1778568"/>
                  <a:gd name="connsiteX3" fmla="*/ 3572351 w 3677895"/>
                  <a:gd name="connsiteY3" fmla="*/ 489358 h 1778568"/>
                  <a:gd name="connsiteX4" fmla="*/ 3649980 w 3677895"/>
                  <a:gd name="connsiteY4" fmla="*/ 145984 h 1778568"/>
                  <a:gd name="connsiteX5" fmla="*/ 3305651 w 3677895"/>
                  <a:gd name="connsiteY5" fmla="*/ 18824 h 1778568"/>
                  <a:gd name="connsiteX6" fmla="*/ 2461260 w 3677895"/>
                  <a:gd name="connsiteY6" fmla="*/ 460308 h 1778568"/>
                  <a:gd name="connsiteX0" fmla="*/ 0 w 3677895"/>
                  <a:gd name="connsiteY0" fmla="*/ 1819703 h 1819703"/>
                  <a:gd name="connsiteX1" fmla="*/ 361950 w 3677895"/>
                  <a:gd name="connsiteY1" fmla="*/ 1464421 h 1819703"/>
                  <a:gd name="connsiteX2" fmla="*/ 1859280 w 3677895"/>
                  <a:gd name="connsiteY2" fmla="*/ 1469183 h 1819703"/>
                  <a:gd name="connsiteX3" fmla="*/ 3572351 w 3677895"/>
                  <a:gd name="connsiteY3" fmla="*/ 530493 h 1819703"/>
                  <a:gd name="connsiteX4" fmla="*/ 3649980 w 3677895"/>
                  <a:gd name="connsiteY4" fmla="*/ 187119 h 1819703"/>
                  <a:gd name="connsiteX5" fmla="*/ 3305651 w 3677895"/>
                  <a:gd name="connsiteY5" fmla="*/ 59959 h 1819703"/>
                  <a:gd name="connsiteX6" fmla="*/ 2461260 w 3677895"/>
                  <a:gd name="connsiteY6" fmla="*/ 501443 h 1819703"/>
                  <a:gd name="connsiteX0" fmla="*/ 0 w 3677895"/>
                  <a:gd name="connsiteY0" fmla="*/ 1776510 h 1776510"/>
                  <a:gd name="connsiteX1" fmla="*/ 361950 w 3677895"/>
                  <a:gd name="connsiteY1" fmla="*/ 1421228 h 1776510"/>
                  <a:gd name="connsiteX2" fmla="*/ 1859280 w 3677895"/>
                  <a:gd name="connsiteY2" fmla="*/ 1425990 h 1776510"/>
                  <a:gd name="connsiteX3" fmla="*/ 3572351 w 3677895"/>
                  <a:gd name="connsiteY3" fmla="*/ 487300 h 1776510"/>
                  <a:gd name="connsiteX4" fmla="*/ 3649980 w 3677895"/>
                  <a:gd name="connsiteY4" fmla="*/ 143926 h 1776510"/>
                  <a:gd name="connsiteX5" fmla="*/ 3305651 w 3677895"/>
                  <a:gd name="connsiteY5" fmla="*/ 16766 h 1776510"/>
                  <a:gd name="connsiteX6" fmla="*/ 2461260 w 3677895"/>
                  <a:gd name="connsiteY6" fmla="*/ 458250 h 1776510"/>
                  <a:gd name="connsiteX0" fmla="*/ 0 w 3679956"/>
                  <a:gd name="connsiteY0" fmla="*/ 1778935 h 1778935"/>
                  <a:gd name="connsiteX1" fmla="*/ 361950 w 3679956"/>
                  <a:gd name="connsiteY1" fmla="*/ 1423653 h 1778935"/>
                  <a:gd name="connsiteX2" fmla="*/ 1859280 w 3679956"/>
                  <a:gd name="connsiteY2" fmla="*/ 1428415 h 1778935"/>
                  <a:gd name="connsiteX3" fmla="*/ 3572351 w 3679956"/>
                  <a:gd name="connsiteY3" fmla="*/ 489725 h 1778935"/>
                  <a:gd name="connsiteX4" fmla="*/ 3649980 w 3679956"/>
                  <a:gd name="connsiteY4" fmla="*/ 146351 h 1778935"/>
                  <a:gd name="connsiteX5" fmla="*/ 3305651 w 3679956"/>
                  <a:gd name="connsiteY5" fmla="*/ 19191 h 1778935"/>
                  <a:gd name="connsiteX6" fmla="*/ 2461260 w 3679956"/>
                  <a:gd name="connsiteY6" fmla="*/ 460675 h 17789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679956" h="1778935">
                    <a:moveTo>
                      <a:pt x="0" y="1778935"/>
                    </a:moveTo>
                    <a:cubicBezTo>
                      <a:pt x="120650" y="1660508"/>
                      <a:pt x="317500" y="1437305"/>
                      <a:pt x="361950" y="1423653"/>
                    </a:cubicBezTo>
                    <a:cubicBezTo>
                      <a:pt x="427673" y="1363327"/>
                      <a:pt x="1360170" y="1426828"/>
                      <a:pt x="1859280" y="1428415"/>
                    </a:cubicBezTo>
                    <a:cubicBezTo>
                      <a:pt x="1986280" y="1420795"/>
                      <a:pt x="3507741" y="535128"/>
                      <a:pt x="3572351" y="489725"/>
                    </a:cubicBezTo>
                    <a:cubicBezTo>
                      <a:pt x="3636961" y="444322"/>
                      <a:pt x="3727768" y="281923"/>
                      <a:pt x="3649980" y="146351"/>
                    </a:cubicBezTo>
                    <a:cubicBezTo>
                      <a:pt x="3572192" y="10779"/>
                      <a:pt x="3387090" y="-27957"/>
                      <a:pt x="3305651" y="19191"/>
                    </a:cubicBezTo>
                    <a:cubicBezTo>
                      <a:pt x="3224212" y="66339"/>
                      <a:pt x="2742724" y="313514"/>
                      <a:pt x="2461260" y="460675"/>
                    </a:cubicBezTo>
                  </a:path>
                </a:pathLst>
              </a:custGeom>
              <a:grpFill/>
              <a:ln w="6350" cap="rnd">
                <a:solidFill>
                  <a:srgbClr val="7030A0"/>
                </a:solidFill>
                <a:round/>
              </a:ln>
            </p:spPr>
            <p:txBody>
              <a:bodyPr vert="horz" wrap="none" lIns="0" tIns="0" rIns="0" bIns="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Imago" pitchFamily="2" charset="0"/>
                  <a:ea typeface="+mn-ea"/>
                  <a:cs typeface="+mn-cs"/>
                </a:endParaRPr>
              </a:p>
            </p:txBody>
          </p:sp>
          <p:sp>
            <p:nvSpPr>
              <p:cNvPr id="1122" name="Rectangle: Rounded Corners 23">
                <a:extLst>
                  <a:ext uri="{FF2B5EF4-FFF2-40B4-BE49-F238E27FC236}">
                    <a16:creationId xmlns:a16="http://schemas.microsoft.com/office/drawing/2014/main" id="{E386EAEE-614C-E847-D164-60222DA82213}"/>
                  </a:ext>
                </a:extLst>
              </p:cNvPr>
              <p:cNvSpPr/>
              <p:nvPr/>
            </p:nvSpPr>
            <p:spPr>
              <a:xfrm>
                <a:off x="2496474" y="4174992"/>
                <a:ext cx="1636020" cy="444275"/>
              </a:xfrm>
              <a:custGeom>
                <a:avLst/>
                <a:gdLst>
                  <a:gd name="connsiteX0" fmla="*/ 0 w 1892087"/>
                  <a:gd name="connsiteY0" fmla="*/ 331373 h 662746"/>
                  <a:gd name="connsiteX1" fmla="*/ 331373 w 1892087"/>
                  <a:gd name="connsiteY1" fmla="*/ 0 h 662746"/>
                  <a:gd name="connsiteX2" fmla="*/ 1560714 w 1892087"/>
                  <a:gd name="connsiteY2" fmla="*/ 0 h 662746"/>
                  <a:gd name="connsiteX3" fmla="*/ 1892087 w 1892087"/>
                  <a:gd name="connsiteY3" fmla="*/ 331373 h 662746"/>
                  <a:gd name="connsiteX4" fmla="*/ 1892087 w 1892087"/>
                  <a:gd name="connsiteY4" fmla="*/ 331373 h 662746"/>
                  <a:gd name="connsiteX5" fmla="*/ 1560714 w 1892087"/>
                  <a:gd name="connsiteY5" fmla="*/ 662746 h 662746"/>
                  <a:gd name="connsiteX6" fmla="*/ 331373 w 1892087"/>
                  <a:gd name="connsiteY6" fmla="*/ 662746 h 662746"/>
                  <a:gd name="connsiteX7" fmla="*/ 0 w 1892087"/>
                  <a:gd name="connsiteY7" fmla="*/ 331373 h 662746"/>
                  <a:gd name="connsiteX0" fmla="*/ 25923 w 1918010"/>
                  <a:gd name="connsiteY0" fmla="*/ 331373 h 667509"/>
                  <a:gd name="connsiteX1" fmla="*/ 357296 w 1918010"/>
                  <a:gd name="connsiteY1" fmla="*/ 0 h 667509"/>
                  <a:gd name="connsiteX2" fmla="*/ 1586637 w 1918010"/>
                  <a:gd name="connsiteY2" fmla="*/ 0 h 667509"/>
                  <a:gd name="connsiteX3" fmla="*/ 1918010 w 1918010"/>
                  <a:gd name="connsiteY3" fmla="*/ 331373 h 667509"/>
                  <a:gd name="connsiteX4" fmla="*/ 1918010 w 1918010"/>
                  <a:gd name="connsiteY4" fmla="*/ 331373 h 667509"/>
                  <a:gd name="connsiteX5" fmla="*/ 1586637 w 1918010"/>
                  <a:gd name="connsiteY5" fmla="*/ 662746 h 667509"/>
                  <a:gd name="connsiteX6" fmla="*/ 1009759 w 1918010"/>
                  <a:gd name="connsiteY6" fmla="*/ 667509 h 667509"/>
                  <a:gd name="connsiteX7" fmla="*/ 25923 w 1918010"/>
                  <a:gd name="connsiteY7" fmla="*/ 331373 h 667509"/>
                  <a:gd name="connsiteX0" fmla="*/ 25923 w 1918010"/>
                  <a:gd name="connsiteY0" fmla="*/ 331373 h 667509"/>
                  <a:gd name="connsiteX1" fmla="*/ 357296 w 1918010"/>
                  <a:gd name="connsiteY1" fmla="*/ 0 h 667509"/>
                  <a:gd name="connsiteX2" fmla="*/ 1586637 w 1918010"/>
                  <a:gd name="connsiteY2" fmla="*/ 0 h 667509"/>
                  <a:gd name="connsiteX3" fmla="*/ 1918010 w 1918010"/>
                  <a:gd name="connsiteY3" fmla="*/ 331373 h 667509"/>
                  <a:gd name="connsiteX4" fmla="*/ 1918010 w 1918010"/>
                  <a:gd name="connsiteY4" fmla="*/ 331373 h 667509"/>
                  <a:gd name="connsiteX5" fmla="*/ 1586637 w 1918010"/>
                  <a:gd name="connsiteY5" fmla="*/ 662746 h 667509"/>
                  <a:gd name="connsiteX6" fmla="*/ 1009759 w 1918010"/>
                  <a:gd name="connsiteY6" fmla="*/ 667509 h 667509"/>
                  <a:gd name="connsiteX7" fmla="*/ 117363 w 1918010"/>
                  <a:gd name="connsiteY7" fmla="*/ 422813 h 667509"/>
                  <a:gd name="connsiteX0" fmla="*/ 25923 w 1918010"/>
                  <a:gd name="connsiteY0" fmla="*/ 331373 h 667509"/>
                  <a:gd name="connsiteX1" fmla="*/ 357296 w 1918010"/>
                  <a:gd name="connsiteY1" fmla="*/ 0 h 667509"/>
                  <a:gd name="connsiteX2" fmla="*/ 1586637 w 1918010"/>
                  <a:gd name="connsiteY2" fmla="*/ 0 h 667509"/>
                  <a:gd name="connsiteX3" fmla="*/ 1918010 w 1918010"/>
                  <a:gd name="connsiteY3" fmla="*/ 331373 h 667509"/>
                  <a:gd name="connsiteX4" fmla="*/ 1918010 w 1918010"/>
                  <a:gd name="connsiteY4" fmla="*/ 331373 h 667509"/>
                  <a:gd name="connsiteX5" fmla="*/ 1586637 w 1918010"/>
                  <a:gd name="connsiteY5" fmla="*/ 662746 h 667509"/>
                  <a:gd name="connsiteX6" fmla="*/ 1009759 w 1918010"/>
                  <a:gd name="connsiteY6" fmla="*/ 667509 h 667509"/>
                  <a:gd name="connsiteX0" fmla="*/ 6927 w 2846752"/>
                  <a:gd name="connsiteY0" fmla="*/ 707610 h 707610"/>
                  <a:gd name="connsiteX1" fmla="*/ 1286038 w 2846752"/>
                  <a:gd name="connsiteY1" fmla="*/ 0 h 707610"/>
                  <a:gd name="connsiteX2" fmla="*/ 2515379 w 2846752"/>
                  <a:gd name="connsiteY2" fmla="*/ 0 h 707610"/>
                  <a:gd name="connsiteX3" fmla="*/ 2846752 w 2846752"/>
                  <a:gd name="connsiteY3" fmla="*/ 331373 h 707610"/>
                  <a:gd name="connsiteX4" fmla="*/ 2846752 w 2846752"/>
                  <a:gd name="connsiteY4" fmla="*/ 331373 h 707610"/>
                  <a:gd name="connsiteX5" fmla="*/ 2515379 w 2846752"/>
                  <a:gd name="connsiteY5" fmla="*/ 662746 h 707610"/>
                  <a:gd name="connsiteX6" fmla="*/ 1938501 w 2846752"/>
                  <a:gd name="connsiteY6" fmla="*/ 667509 h 707610"/>
                  <a:gd name="connsiteX0" fmla="*/ 0 w 2839825"/>
                  <a:gd name="connsiteY0" fmla="*/ 707610 h 707610"/>
                  <a:gd name="connsiteX1" fmla="*/ 1279111 w 2839825"/>
                  <a:gd name="connsiteY1" fmla="*/ 0 h 707610"/>
                  <a:gd name="connsiteX2" fmla="*/ 2508452 w 2839825"/>
                  <a:gd name="connsiteY2" fmla="*/ 0 h 707610"/>
                  <a:gd name="connsiteX3" fmla="*/ 2839825 w 2839825"/>
                  <a:gd name="connsiteY3" fmla="*/ 331373 h 707610"/>
                  <a:gd name="connsiteX4" fmla="*/ 2839825 w 2839825"/>
                  <a:gd name="connsiteY4" fmla="*/ 331373 h 707610"/>
                  <a:gd name="connsiteX5" fmla="*/ 2508452 w 2839825"/>
                  <a:gd name="connsiteY5" fmla="*/ 662746 h 707610"/>
                  <a:gd name="connsiteX6" fmla="*/ 1931574 w 2839825"/>
                  <a:gd name="connsiteY6" fmla="*/ 667509 h 707610"/>
                  <a:gd name="connsiteX0" fmla="*/ 0 w 2839825"/>
                  <a:gd name="connsiteY0" fmla="*/ 707610 h 707610"/>
                  <a:gd name="connsiteX1" fmla="*/ 1564861 w 2839825"/>
                  <a:gd name="connsiteY1" fmla="*/ 0 h 707610"/>
                  <a:gd name="connsiteX2" fmla="*/ 2508452 w 2839825"/>
                  <a:gd name="connsiteY2" fmla="*/ 0 h 707610"/>
                  <a:gd name="connsiteX3" fmla="*/ 2839825 w 2839825"/>
                  <a:gd name="connsiteY3" fmla="*/ 331373 h 707610"/>
                  <a:gd name="connsiteX4" fmla="*/ 2839825 w 2839825"/>
                  <a:gd name="connsiteY4" fmla="*/ 331373 h 707610"/>
                  <a:gd name="connsiteX5" fmla="*/ 2508452 w 2839825"/>
                  <a:gd name="connsiteY5" fmla="*/ 662746 h 707610"/>
                  <a:gd name="connsiteX6" fmla="*/ 1931574 w 2839825"/>
                  <a:gd name="connsiteY6" fmla="*/ 667509 h 707610"/>
                  <a:gd name="connsiteX0" fmla="*/ 0 w 2839825"/>
                  <a:gd name="connsiteY0" fmla="*/ 771178 h 771178"/>
                  <a:gd name="connsiteX1" fmla="*/ 860665 w 2839825"/>
                  <a:gd name="connsiteY1" fmla="*/ 41509 h 771178"/>
                  <a:gd name="connsiteX2" fmla="*/ 1564861 w 2839825"/>
                  <a:gd name="connsiteY2" fmla="*/ 63568 h 771178"/>
                  <a:gd name="connsiteX3" fmla="*/ 2508452 w 2839825"/>
                  <a:gd name="connsiteY3" fmla="*/ 63568 h 771178"/>
                  <a:gd name="connsiteX4" fmla="*/ 2839825 w 2839825"/>
                  <a:gd name="connsiteY4" fmla="*/ 394941 h 771178"/>
                  <a:gd name="connsiteX5" fmla="*/ 2839825 w 2839825"/>
                  <a:gd name="connsiteY5" fmla="*/ 394941 h 771178"/>
                  <a:gd name="connsiteX6" fmla="*/ 2508452 w 2839825"/>
                  <a:gd name="connsiteY6" fmla="*/ 726314 h 771178"/>
                  <a:gd name="connsiteX7" fmla="*/ 1931574 w 2839825"/>
                  <a:gd name="connsiteY7" fmla="*/ 731077 h 771178"/>
                  <a:gd name="connsiteX0" fmla="*/ 0 w 2839825"/>
                  <a:gd name="connsiteY0" fmla="*/ 771178 h 771178"/>
                  <a:gd name="connsiteX1" fmla="*/ 860665 w 2839825"/>
                  <a:gd name="connsiteY1" fmla="*/ 41509 h 771178"/>
                  <a:gd name="connsiteX2" fmla="*/ 1564861 w 2839825"/>
                  <a:gd name="connsiteY2" fmla="*/ 63568 h 771178"/>
                  <a:gd name="connsiteX3" fmla="*/ 2508452 w 2839825"/>
                  <a:gd name="connsiteY3" fmla="*/ 63568 h 771178"/>
                  <a:gd name="connsiteX4" fmla="*/ 2839825 w 2839825"/>
                  <a:gd name="connsiteY4" fmla="*/ 394941 h 771178"/>
                  <a:gd name="connsiteX5" fmla="*/ 2839825 w 2839825"/>
                  <a:gd name="connsiteY5" fmla="*/ 394941 h 771178"/>
                  <a:gd name="connsiteX6" fmla="*/ 2508452 w 2839825"/>
                  <a:gd name="connsiteY6" fmla="*/ 726314 h 771178"/>
                  <a:gd name="connsiteX7" fmla="*/ 1769649 w 2839825"/>
                  <a:gd name="connsiteY7" fmla="*/ 728696 h 7711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839825" h="771178">
                    <a:moveTo>
                      <a:pt x="0" y="771178"/>
                    </a:moveTo>
                    <a:cubicBezTo>
                      <a:pt x="162494" y="687666"/>
                      <a:pt x="599855" y="159444"/>
                      <a:pt x="860665" y="41509"/>
                    </a:cubicBezTo>
                    <a:cubicBezTo>
                      <a:pt x="1121475" y="-76426"/>
                      <a:pt x="1309280" y="97991"/>
                      <a:pt x="1564861" y="63568"/>
                    </a:cubicBezTo>
                    <a:lnTo>
                      <a:pt x="2508452" y="63568"/>
                    </a:lnTo>
                    <a:cubicBezTo>
                      <a:pt x="2691464" y="63568"/>
                      <a:pt x="2839825" y="211929"/>
                      <a:pt x="2839825" y="394941"/>
                    </a:cubicBezTo>
                    <a:lnTo>
                      <a:pt x="2839825" y="394941"/>
                    </a:lnTo>
                    <a:cubicBezTo>
                      <a:pt x="2839825" y="577953"/>
                      <a:pt x="2691464" y="726314"/>
                      <a:pt x="2508452" y="726314"/>
                    </a:cubicBezTo>
                    <a:lnTo>
                      <a:pt x="1769649" y="728696"/>
                    </a:lnTo>
                  </a:path>
                </a:pathLst>
              </a:custGeom>
              <a:grpFill/>
              <a:ln w="6350" cap="rnd">
                <a:solidFill>
                  <a:srgbClr val="7030A0"/>
                </a:solidFill>
                <a:round/>
              </a:ln>
            </p:spPr>
            <p:txBody>
              <a:bodyPr vert="horz" wrap="none" lIns="0" tIns="0" rIns="0" bIns="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Imago" pitchFamily="2" charset="0"/>
                  <a:ea typeface="+mn-ea"/>
                  <a:cs typeface="+mn-cs"/>
                </a:endParaRPr>
              </a:p>
            </p:txBody>
          </p:sp>
        </p:grpSp>
      </p:grpSp>
      <p:sp>
        <p:nvSpPr>
          <p:cNvPr id="1123" name="Arrow: Pentagon 1122">
            <a:extLst>
              <a:ext uri="{FF2B5EF4-FFF2-40B4-BE49-F238E27FC236}">
                <a16:creationId xmlns:a16="http://schemas.microsoft.com/office/drawing/2014/main" id="{F6DF54E4-0A8E-4922-0AC8-3598B3F3BD1D}"/>
              </a:ext>
            </a:extLst>
          </p:cNvPr>
          <p:cNvSpPr/>
          <p:nvPr/>
        </p:nvSpPr>
        <p:spPr>
          <a:xfrm rot="5400000">
            <a:off x="5819922" y="4688423"/>
            <a:ext cx="68567" cy="124813"/>
          </a:xfrm>
          <a:prstGeom prst="homePlate">
            <a:avLst>
              <a:gd name="adj" fmla="val 10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grpSp>
        <p:nvGrpSpPr>
          <p:cNvPr id="1124" name="Group 1123">
            <a:extLst>
              <a:ext uri="{FF2B5EF4-FFF2-40B4-BE49-F238E27FC236}">
                <a16:creationId xmlns:a16="http://schemas.microsoft.com/office/drawing/2014/main" id="{709AB915-722D-9835-88A9-4F42DF1FFDAF}"/>
              </a:ext>
            </a:extLst>
          </p:cNvPr>
          <p:cNvGrpSpPr/>
          <p:nvPr/>
        </p:nvGrpSpPr>
        <p:grpSpPr>
          <a:xfrm>
            <a:off x="5735937" y="4912846"/>
            <a:ext cx="190016" cy="291134"/>
            <a:chOff x="4624386" y="810199"/>
            <a:chExt cx="3415662" cy="5233414"/>
          </a:xfrm>
          <a:solidFill>
            <a:srgbClr val="FCEAD1"/>
          </a:solidFill>
        </p:grpSpPr>
        <p:sp>
          <p:nvSpPr>
            <p:cNvPr id="1125" name="Rectangle: Rounded Corners 1124">
              <a:extLst>
                <a:ext uri="{FF2B5EF4-FFF2-40B4-BE49-F238E27FC236}">
                  <a16:creationId xmlns:a16="http://schemas.microsoft.com/office/drawing/2014/main" id="{2F036281-D612-61AF-1BF6-1F6A34D6A738}"/>
                </a:ext>
              </a:extLst>
            </p:cNvPr>
            <p:cNvSpPr/>
            <p:nvPr/>
          </p:nvSpPr>
          <p:spPr>
            <a:xfrm>
              <a:off x="4624386" y="4398169"/>
              <a:ext cx="1745457" cy="235744"/>
            </a:xfrm>
            <a:prstGeom prst="roundRect">
              <a:avLst/>
            </a:prstGeom>
            <a:grpFill/>
            <a:ln w="952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1126" name="Rectangle: Rounded Corners 1125">
              <a:extLst>
                <a:ext uri="{FF2B5EF4-FFF2-40B4-BE49-F238E27FC236}">
                  <a16:creationId xmlns:a16="http://schemas.microsoft.com/office/drawing/2014/main" id="{445CEA72-9F7B-858B-BAA9-DCEC0700A3AF}"/>
                </a:ext>
              </a:extLst>
            </p:cNvPr>
            <p:cNvSpPr/>
            <p:nvPr/>
          </p:nvSpPr>
          <p:spPr>
            <a:xfrm>
              <a:off x="5879305" y="5784057"/>
              <a:ext cx="1543052" cy="259556"/>
            </a:xfrm>
            <a:prstGeom prst="roundRect">
              <a:avLst/>
            </a:prstGeom>
            <a:grpFill/>
            <a:ln w="952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1127" name="Freeform: Shape 1187">
              <a:extLst>
                <a:ext uri="{FF2B5EF4-FFF2-40B4-BE49-F238E27FC236}">
                  <a16:creationId xmlns:a16="http://schemas.microsoft.com/office/drawing/2014/main" id="{AD3645B2-624C-FD91-6715-0F5DA0A2A7A2}"/>
                </a:ext>
              </a:extLst>
            </p:cNvPr>
            <p:cNvSpPr/>
            <p:nvPr/>
          </p:nvSpPr>
          <p:spPr>
            <a:xfrm>
              <a:off x="5467826" y="2621280"/>
              <a:ext cx="2572222" cy="2622009"/>
            </a:xfrm>
            <a:custGeom>
              <a:avLst/>
              <a:gdLst>
                <a:gd name="connsiteX0" fmla="*/ 0 w 2430780"/>
                <a:gd name="connsiteY0" fmla="*/ 2004060 h 2004060"/>
                <a:gd name="connsiteX1" fmla="*/ 2430780 w 2430780"/>
                <a:gd name="connsiteY1" fmla="*/ 1783080 h 2004060"/>
                <a:gd name="connsiteX2" fmla="*/ 1882140 w 2430780"/>
                <a:gd name="connsiteY2" fmla="*/ 0 h 2004060"/>
                <a:gd name="connsiteX0" fmla="*/ 0 w 2512347"/>
                <a:gd name="connsiteY0" fmla="*/ 2004060 h 2004060"/>
                <a:gd name="connsiteX1" fmla="*/ 2430780 w 2512347"/>
                <a:gd name="connsiteY1" fmla="*/ 1783080 h 2004060"/>
                <a:gd name="connsiteX2" fmla="*/ 1882140 w 2512347"/>
                <a:gd name="connsiteY2" fmla="*/ 0 h 2004060"/>
                <a:gd name="connsiteX0" fmla="*/ 0 w 2567416"/>
                <a:gd name="connsiteY0" fmla="*/ 2004060 h 2004060"/>
                <a:gd name="connsiteX1" fmla="*/ 2430780 w 2567416"/>
                <a:gd name="connsiteY1" fmla="*/ 1783080 h 2004060"/>
                <a:gd name="connsiteX2" fmla="*/ 1882140 w 2567416"/>
                <a:gd name="connsiteY2" fmla="*/ 0 h 2004060"/>
                <a:gd name="connsiteX0" fmla="*/ 0 w 2567416"/>
                <a:gd name="connsiteY0" fmla="*/ 2004060 h 2354596"/>
                <a:gd name="connsiteX1" fmla="*/ 2430780 w 2567416"/>
                <a:gd name="connsiteY1" fmla="*/ 1783080 h 2354596"/>
                <a:gd name="connsiteX2" fmla="*/ 1882140 w 2567416"/>
                <a:gd name="connsiteY2" fmla="*/ 0 h 2354596"/>
                <a:gd name="connsiteX0" fmla="*/ 0 w 2548577"/>
                <a:gd name="connsiteY0" fmla="*/ 2004060 h 2489015"/>
                <a:gd name="connsiteX1" fmla="*/ 2430780 w 2548577"/>
                <a:gd name="connsiteY1" fmla="*/ 1783080 h 2489015"/>
                <a:gd name="connsiteX2" fmla="*/ 1882140 w 2548577"/>
                <a:gd name="connsiteY2" fmla="*/ 0 h 2489015"/>
                <a:gd name="connsiteX0" fmla="*/ 0 w 2534342"/>
                <a:gd name="connsiteY0" fmla="*/ 2004060 h 2489015"/>
                <a:gd name="connsiteX1" fmla="*/ 2430780 w 2534342"/>
                <a:gd name="connsiteY1" fmla="*/ 1783080 h 2489015"/>
                <a:gd name="connsiteX2" fmla="*/ 1882140 w 2534342"/>
                <a:gd name="connsiteY2" fmla="*/ 0 h 2489015"/>
                <a:gd name="connsiteX0" fmla="*/ 0 w 2534342"/>
                <a:gd name="connsiteY0" fmla="*/ 2004060 h 2607198"/>
                <a:gd name="connsiteX1" fmla="*/ 2430780 w 2534342"/>
                <a:gd name="connsiteY1" fmla="*/ 1783080 h 2607198"/>
                <a:gd name="connsiteX2" fmla="*/ 1882140 w 2534342"/>
                <a:gd name="connsiteY2" fmla="*/ 0 h 2607198"/>
                <a:gd name="connsiteX0" fmla="*/ 0 w 2580829"/>
                <a:gd name="connsiteY0" fmla="*/ 2013585 h 2486791"/>
                <a:gd name="connsiteX1" fmla="*/ 2456974 w 2580829"/>
                <a:gd name="connsiteY1" fmla="*/ 1783080 h 2486791"/>
                <a:gd name="connsiteX2" fmla="*/ 1908334 w 2580829"/>
                <a:gd name="connsiteY2" fmla="*/ 0 h 2486791"/>
                <a:gd name="connsiteX0" fmla="*/ 0 w 2580829"/>
                <a:gd name="connsiteY0" fmla="*/ 2013585 h 2585558"/>
                <a:gd name="connsiteX1" fmla="*/ 2456974 w 2580829"/>
                <a:gd name="connsiteY1" fmla="*/ 1783080 h 2585558"/>
                <a:gd name="connsiteX2" fmla="*/ 1908334 w 2580829"/>
                <a:gd name="connsiteY2" fmla="*/ 0 h 2585558"/>
                <a:gd name="connsiteX0" fmla="*/ 0 w 2559008"/>
                <a:gd name="connsiteY0" fmla="*/ 2013585 h 2650353"/>
                <a:gd name="connsiteX1" fmla="*/ 2456974 w 2559008"/>
                <a:gd name="connsiteY1" fmla="*/ 1783080 h 2650353"/>
                <a:gd name="connsiteX2" fmla="*/ 1908334 w 2559008"/>
                <a:gd name="connsiteY2" fmla="*/ 0 h 2650353"/>
                <a:gd name="connsiteX0" fmla="*/ 0 w 2559008"/>
                <a:gd name="connsiteY0" fmla="*/ 2013585 h 2616828"/>
                <a:gd name="connsiteX1" fmla="*/ 2456974 w 2559008"/>
                <a:gd name="connsiteY1" fmla="*/ 1783080 h 2616828"/>
                <a:gd name="connsiteX2" fmla="*/ 1908334 w 2559008"/>
                <a:gd name="connsiteY2" fmla="*/ 0 h 2616828"/>
                <a:gd name="connsiteX0" fmla="*/ 0 w 2559008"/>
                <a:gd name="connsiteY0" fmla="*/ 2013585 h 2608453"/>
                <a:gd name="connsiteX1" fmla="*/ 2456974 w 2559008"/>
                <a:gd name="connsiteY1" fmla="*/ 1783080 h 2608453"/>
                <a:gd name="connsiteX2" fmla="*/ 1908334 w 2559008"/>
                <a:gd name="connsiteY2" fmla="*/ 0 h 2608453"/>
                <a:gd name="connsiteX0" fmla="*/ 0 w 2548171"/>
                <a:gd name="connsiteY0" fmla="*/ 2013585 h 2622009"/>
                <a:gd name="connsiteX1" fmla="*/ 2456974 w 2548171"/>
                <a:gd name="connsiteY1" fmla="*/ 1783080 h 2622009"/>
                <a:gd name="connsiteX2" fmla="*/ 1908334 w 2548171"/>
                <a:gd name="connsiteY2" fmla="*/ 0 h 2622009"/>
                <a:gd name="connsiteX0" fmla="*/ 0 w 2562630"/>
                <a:gd name="connsiteY0" fmla="*/ 2013585 h 2622009"/>
                <a:gd name="connsiteX1" fmla="*/ 2456974 w 2562630"/>
                <a:gd name="connsiteY1" fmla="*/ 1783080 h 2622009"/>
                <a:gd name="connsiteX2" fmla="*/ 1908334 w 2562630"/>
                <a:gd name="connsiteY2" fmla="*/ 0 h 2622009"/>
                <a:gd name="connsiteX0" fmla="*/ 0 w 2572222"/>
                <a:gd name="connsiteY0" fmla="*/ 2013585 h 2622009"/>
                <a:gd name="connsiteX1" fmla="*/ 2456974 w 2572222"/>
                <a:gd name="connsiteY1" fmla="*/ 1783080 h 2622009"/>
                <a:gd name="connsiteX2" fmla="*/ 1908334 w 2572222"/>
                <a:gd name="connsiteY2" fmla="*/ 0 h 2622009"/>
                <a:gd name="connsiteX0" fmla="*/ 0 w 2572222"/>
                <a:gd name="connsiteY0" fmla="*/ 2013585 h 2622009"/>
                <a:gd name="connsiteX1" fmla="*/ 2456974 w 2572222"/>
                <a:gd name="connsiteY1" fmla="*/ 1783080 h 2622009"/>
                <a:gd name="connsiteX2" fmla="*/ 1908334 w 2572222"/>
                <a:gd name="connsiteY2" fmla="*/ 0 h 2622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572222" h="2622009">
                  <a:moveTo>
                    <a:pt x="0" y="2013585"/>
                  </a:moveTo>
                  <a:cubicBezTo>
                    <a:pt x="957898" y="3171826"/>
                    <a:pt x="2215118" y="2436177"/>
                    <a:pt x="2456974" y="1783080"/>
                  </a:cubicBezTo>
                  <a:cubicBezTo>
                    <a:pt x="2698830" y="1129983"/>
                    <a:pt x="2580164" y="462597"/>
                    <a:pt x="1908334" y="0"/>
                  </a:cubicBezTo>
                </a:path>
              </a:pathLst>
            </a:custGeom>
            <a:grpFill/>
            <a:ln w="952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1128" name="Freeform: Shape 1188">
              <a:extLst>
                <a:ext uri="{FF2B5EF4-FFF2-40B4-BE49-F238E27FC236}">
                  <a16:creationId xmlns:a16="http://schemas.microsoft.com/office/drawing/2014/main" id="{3B67CED1-F56E-1455-DF38-EE53D3131F57}"/>
                </a:ext>
              </a:extLst>
            </p:cNvPr>
            <p:cNvSpPr/>
            <p:nvPr/>
          </p:nvSpPr>
          <p:spPr>
            <a:xfrm>
              <a:off x="6829427" y="3020951"/>
              <a:ext cx="765654" cy="1735198"/>
            </a:xfrm>
            <a:custGeom>
              <a:avLst/>
              <a:gdLst>
                <a:gd name="connsiteX0" fmla="*/ 0 w 2430780"/>
                <a:gd name="connsiteY0" fmla="*/ 2004060 h 2004060"/>
                <a:gd name="connsiteX1" fmla="*/ 2430780 w 2430780"/>
                <a:gd name="connsiteY1" fmla="*/ 1783080 h 2004060"/>
                <a:gd name="connsiteX2" fmla="*/ 1882140 w 2430780"/>
                <a:gd name="connsiteY2" fmla="*/ 0 h 2004060"/>
                <a:gd name="connsiteX0" fmla="*/ 0 w 2512347"/>
                <a:gd name="connsiteY0" fmla="*/ 2004060 h 2004060"/>
                <a:gd name="connsiteX1" fmla="*/ 2430780 w 2512347"/>
                <a:gd name="connsiteY1" fmla="*/ 1783080 h 2004060"/>
                <a:gd name="connsiteX2" fmla="*/ 1882140 w 2512347"/>
                <a:gd name="connsiteY2" fmla="*/ 0 h 2004060"/>
                <a:gd name="connsiteX0" fmla="*/ 0 w 2567416"/>
                <a:gd name="connsiteY0" fmla="*/ 2004060 h 2004060"/>
                <a:gd name="connsiteX1" fmla="*/ 2430780 w 2567416"/>
                <a:gd name="connsiteY1" fmla="*/ 1783080 h 2004060"/>
                <a:gd name="connsiteX2" fmla="*/ 1882140 w 2567416"/>
                <a:gd name="connsiteY2" fmla="*/ 0 h 2004060"/>
                <a:gd name="connsiteX0" fmla="*/ 0 w 2567416"/>
                <a:gd name="connsiteY0" fmla="*/ 2004060 h 2354596"/>
                <a:gd name="connsiteX1" fmla="*/ 2430780 w 2567416"/>
                <a:gd name="connsiteY1" fmla="*/ 1783080 h 2354596"/>
                <a:gd name="connsiteX2" fmla="*/ 1882140 w 2567416"/>
                <a:gd name="connsiteY2" fmla="*/ 0 h 2354596"/>
                <a:gd name="connsiteX0" fmla="*/ 0 w 2548577"/>
                <a:gd name="connsiteY0" fmla="*/ 2004060 h 2489015"/>
                <a:gd name="connsiteX1" fmla="*/ 2430780 w 2548577"/>
                <a:gd name="connsiteY1" fmla="*/ 1783080 h 2489015"/>
                <a:gd name="connsiteX2" fmla="*/ 1882140 w 2548577"/>
                <a:gd name="connsiteY2" fmla="*/ 0 h 2489015"/>
                <a:gd name="connsiteX0" fmla="*/ 0 w 2534342"/>
                <a:gd name="connsiteY0" fmla="*/ 2004060 h 2489015"/>
                <a:gd name="connsiteX1" fmla="*/ 2430780 w 2534342"/>
                <a:gd name="connsiteY1" fmla="*/ 1783080 h 2489015"/>
                <a:gd name="connsiteX2" fmla="*/ 1882140 w 2534342"/>
                <a:gd name="connsiteY2" fmla="*/ 0 h 2489015"/>
                <a:gd name="connsiteX0" fmla="*/ 0 w 2534342"/>
                <a:gd name="connsiteY0" fmla="*/ 2004060 h 2607198"/>
                <a:gd name="connsiteX1" fmla="*/ 2430780 w 2534342"/>
                <a:gd name="connsiteY1" fmla="*/ 1783080 h 2607198"/>
                <a:gd name="connsiteX2" fmla="*/ 1882140 w 2534342"/>
                <a:gd name="connsiteY2" fmla="*/ 0 h 2607198"/>
                <a:gd name="connsiteX0" fmla="*/ 0 w 2580829"/>
                <a:gd name="connsiteY0" fmla="*/ 2013585 h 2486791"/>
                <a:gd name="connsiteX1" fmla="*/ 2456974 w 2580829"/>
                <a:gd name="connsiteY1" fmla="*/ 1783080 h 2486791"/>
                <a:gd name="connsiteX2" fmla="*/ 1908334 w 2580829"/>
                <a:gd name="connsiteY2" fmla="*/ 0 h 2486791"/>
                <a:gd name="connsiteX0" fmla="*/ 0 w 2580829"/>
                <a:gd name="connsiteY0" fmla="*/ 2013585 h 2585558"/>
                <a:gd name="connsiteX1" fmla="*/ 2456974 w 2580829"/>
                <a:gd name="connsiteY1" fmla="*/ 1783080 h 2585558"/>
                <a:gd name="connsiteX2" fmla="*/ 1908334 w 2580829"/>
                <a:gd name="connsiteY2" fmla="*/ 0 h 2585558"/>
                <a:gd name="connsiteX0" fmla="*/ 0 w 2559008"/>
                <a:gd name="connsiteY0" fmla="*/ 2013585 h 2650353"/>
                <a:gd name="connsiteX1" fmla="*/ 2456974 w 2559008"/>
                <a:gd name="connsiteY1" fmla="*/ 1783080 h 2650353"/>
                <a:gd name="connsiteX2" fmla="*/ 1908334 w 2559008"/>
                <a:gd name="connsiteY2" fmla="*/ 0 h 2650353"/>
                <a:gd name="connsiteX0" fmla="*/ 0 w 2559008"/>
                <a:gd name="connsiteY0" fmla="*/ 2013585 h 2616828"/>
                <a:gd name="connsiteX1" fmla="*/ 2456974 w 2559008"/>
                <a:gd name="connsiteY1" fmla="*/ 1783080 h 2616828"/>
                <a:gd name="connsiteX2" fmla="*/ 1908334 w 2559008"/>
                <a:gd name="connsiteY2" fmla="*/ 0 h 2616828"/>
                <a:gd name="connsiteX0" fmla="*/ 0 w 2559008"/>
                <a:gd name="connsiteY0" fmla="*/ 2013585 h 2608453"/>
                <a:gd name="connsiteX1" fmla="*/ 2456974 w 2559008"/>
                <a:gd name="connsiteY1" fmla="*/ 1783080 h 2608453"/>
                <a:gd name="connsiteX2" fmla="*/ 1908334 w 2559008"/>
                <a:gd name="connsiteY2" fmla="*/ 0 h 2608453"/>
                <a:gd name="connsiteX0" fmla="*/ 0 w 2548171"/>
                <a:gd name="connsiteY0" fmla="*/ 2013585 h 2622009"/>
                <a:gd name="connsiteX1" fmla="*/ 2456974 w 2548171"/>
                <a:gd name="connsiteY1" fmla="*/ 1783080 h 2622009"/>
                <a:gd name="connsiteX2" fmla="*/ 1908334 w 2548171"/>
                <a:gd name="connsiteY2" fmla="*/ 0 h 2622009"/>
                <a:gd name="connsiteX0" fmla="*/ 0 w 2562630"/>
                <a:gd name="connsiteY0" fmla="*/ 2013585 h 2622009"/>
                <a:gd name="connsiteX1" fmla="*/ 2456974 w 2562630"/>
                <a:gd name="connsiteY1" fmla="*/ 1783080 h 2622009"/>
                <a:gd name="connsiteX2" fmla="*/ 1908334 w 2562630"/>
                <a:gd name="connsiteY2" fmla="*/ 0 h 2622009"/>
                <a:gd name="connsiteX0" fmla="*/ 0 w 2572222"/>
                <a:gd name="connsiteY0" fmla="*/ 2013585 h 2622009"/>
                <a:gd name="connsiteX1" fmla="*/ 2456974 w 2572222"/>
                <a:gd name="connsiteY1" fmla="*/ 1783080 h 2622009"/>
                <a:gd name="connsiteX2" fmla="*/ 1908334 w 2572222"/>
                <a:gd name="connsiteY2" fmla="*/ 0 h 2622009"/>
                <a:gd name="connsiteX0" fmla="*/ 0 w 2572222"/>
                <a:gd name="connsiteY0" fmla="*/ 2013585 h 2622009"/>
                <a:gd name="connsiteX1" fmla="*/ 2456974 w 2572222"/>
                <a:gd name="connsiteY1" fmla="*/ 1783080 h 2622009"/>
                <a:gd name="connsiteX2" fmla="*/ 1908334 w 2572222"/>
                <a:gd name="connsiteY2" fmla="*/ 0 h 2622009"/>
                <a:gd name="connsiteX0" fmla="*/ 0 w 2572222"/>
                <a:gd name="connsiteY0" fmla="*/ 2013585 h 2605941"/>
                <a:gd name="connsiteX1" fmla="*/ 1384974 w 2572222"/>
                <a:gd name="connsiteY1" fmla="*/ 2603956 h 2605941"/>
                <a:gd name="connsiteX2" fmla="*/ 2456974 w 2572222"/>
                <a:gd name="connsiteY2" fmla="*/ 1783080 h 2605941"/>
                <a:gd name="connsiteX3" fmla="*/ 1908334 w 2572222"/>
                <a:gd name="connsiteY3" fmla="*/ 0 h 2605941"/>
                <a:gd name="connsiteX0" fmla="*/ 0 w 1187248"/>
                <a:gd name="connsiteY0" fmla="*/ 2603956 h 2603956"/>
                <a:gd name="connsiteX1" fmla="*/ 1072000 w 1187248"/>
                <a:gd name="connsiteY1" fmla="*/ 1783080 h 2603956"/>
                <a:gd name="connsiteX2" fmla="*/ 523360 w 1187248"/>
                <a:gd name="connsiteY2" fmla="*/ 0 h 2603956"/>
                <a:gd name="connsiteX0" fmla="*/ 0 w 1187248"/>
                <a:gd name="connsiteY0" fmla="*/ 2603956 h 2603956"/>
                <a:gd name="connsiteX1" fmla="*/ 1072000 w 1187248"/>
                <a:gd name="connsiteY1" fmla="*/ 1783080 h 2603956"/>
                <a:gd name="connsiteX2" fmla="*/ 523360 w 1187248"/>
                <a:gd name="connsiteY2" fmla="*/ 0 h 2603956"/>
                <a:gd name="connsiteX0" fmla="*/ 0 w 1147213"/>
                <a:gd name="connsiteY0" fmla="*/ 2603956 h 2603956"/>
                <a:gd name="connsiteX1" fmla="*/ 1072000 w 1147213"/>
                <a:gd name="connsiteY1" fmla="*/ 1783080 h 2603956"/>
                <a:gd name="connsiteX2" fmla="*/ 523360 w 1147213"/>
                <a:gd name="connsiteY2" fmla="*/ 0 h 2603956"/>
                <a:gd name="connsiteX0" fmla="*/ 0 w 1149317"/>
                <a:gd name="connsiteY0" fmla="*/ 2603956 h 2603956"/>
                <a:gd name="connsiteX1" fmla="*/ 1072000 w 1149317"/>
                <a:gd name="connsiteY1" fmla="*/ 1783080 h 2603956"/>
                <a:gd name="connsiteX2" fmla="*/ 523360 w 1149317"/>
                <a:gd name="connsiteY2" fmla="*/ 0 h 2603956"/>
                <a:gd name="connsiteX0" fmla="*/ 0 w 1149317"/>
                <a:gd name="connsiteY0" fmla="*/ 2603956 h 2604075"/>
                <a:gd name="connsiteX1" fmla="*/ 1072000 w 1149317"/>
                <a:gd name="connsiteY1" fmla="*/ 1783080 h 2604075"/>
                <a:gd name="connsiteX2" fmla="*/ 523360 w 1149317"/>
                <a:gd name="connsiteY2" fmla="*/ 0 h 2604075"/>
                <a:gd name="connsiteX0" fmla="*/ 0 w 1172216"/>
                <a:gd name="connsiteY0" fmla="*/ 2603956 h 2604075"/>
                <a:gd name="connsiteX1" fmla="*/ 1072000 w 1172216"/>
                <a:gd name="connsiteY1" fmla="*/ 1783080 h 2604075"/>
                <a:gd name="connsiteX2" fmla="*/ 523360 w 1172216"/>
                <a:gd name="connsiteY2" fmla="*/ 0 h 2604075"/>
                <a:gd name="connsiteX0" fmla="*/ 0 w 1161663"/>
                <a:gd name="connsiteY0" fmla="*/ 2603956 h 2604070"/>
                <a:gd name="connsiteX1" fmla="*/ 1072000 w 1161663"/>
                <a:gd name="connsiteY1" fmla="*/ 1783080 h 2604070"/>
                <a:gd name="connsiteX2" fmla="*/ 523360 w 1161663"/>
                <a:gd name="connsiteY2" fmla="*/ 0 h 2604070"/>
                <a:gd name="connsiteX0" fmla="*/ 0 w 1148316"/>
                <a:gd name="connsiteY0" fmla="*/ 2603956 h 2604061"/>
                <a:gd name="connsiteX1" fmla="*/ 1052941 w 1148316"/>
                <a:gd name="connsiteY1" fmla="*/ 1740199 h 2604061"/>
                <a:gd name="connsiteX2" fmla="*/ 523360 w 1148316"/>
                <a:gd name="connsiteY2" fmla="*/ 0 h 2604061"/>
                <a:gd name="connsiteX0" fmla="*/ 0 w 1166555"/>
                <a:gd name="connsiteY0" fmla="*/ 2603956 h 2604061"/>
                <a:gd name="connsiteX1" fmla="*/ 1052941 w 1166555"/>
                <a:gd name="connsiteY1" fmla="*/ 1740199 h 2604061"/>
                <a:gd name="connsiteX2" fmla="*/ 523360 w 1166555"/>
                <a:gd name="connsiteY2" fmla="*/ 0 h 2604061"/>
                <a:gd name="connsiteX0" fmla="*/ 0 w 1169315"/>
                <a:gd name="connsiteY0" fmla="*/ 2603956 h 2604061"/>
                <a:gd name="connsiteX1" fmla="*/ 1052941 w 1169315"/>
                <a:gd name="connsiteY1" fmla="*/ 1740199 h 2604061"/>
                <a:gd name="connsiteX2" fmla="*/ 523360 w 1169315"/>
                <a:gd name="connsiteY2" fmla="*/ 0 h 2604061"/>
                <a:gd name="connsiteX0" fmla="*/ 0 w 1169315"/>
                <a:gd name="connsiteY0" fmla="*/ 2603956 h 2603956"/>
                <a:gd name="connsiteX1" fmla="*/ 1052941 w 1169315"/>
                <a:gd name="connsiteY1" fmla="*/ 1740199 h 2603956"/>
                <a:gd name="connsiteX2" fmla="*/ 523360 w 1169315"/>
                <a:gd name="connsiteY2" fmla="*/ 0 h 2603956"/>
                <a:gd name="connsiteX0" fmla="*/ 0 w 1169315"/>
                <a:gd name="connsiteY0" fmla="*/ 2603956 h 2603956"/>
                <a:gd name="connsiteX1" fmla="*/ 1052941 w 1169315"/>
                <a:gd name="connsiteY1" fmla="*/ 1740199 h 2603956"/>
                <a:gd name="connsiteX2" fmla="*/ 523360 w 1169315"/>
                <a:gd name="connsiteY2" fmla="*/ 0 h 2603956"/>
                <a:gd name="connsiteX0" fmla="*/ 0 w 1217546"/>
                <a:gd name="connsiteY0" fmla="*/ 2603956 h 2603956"/>
                <a:gd name="connsiteX1" fmla="*/ 1124410 w 1217546"/>
                <a:gd name="connsiteY1" fmla="*/ 1497203 h 2603956"/>
                <a:gd name="connsiteX2" fmla="*/ 523360 w 1217546"/>
                <a:gd name="connsiteY2" fmla="*/ 0 h 2603956"/>
                <a:gd name="connsiteX0" fmla="*/ 0 w 1175425"/>
                <a:gd name="connsiteY0" fmla="*/ 2603956 h 2603956"/>
                <a:gd name="connsiteX1" fmla="*/ 1124410 w 1175425"/>
                <a:gd name="connsiteY1" fmla="*/ 1497203 h 2603956"/>
                <a:gd name="connsiteX2" fmla="*/ 523360 w 1175425"/>
                <a:gd name="connsiteY2" fmla="*/ 0 h 2603956"/>
                <a:gd name="connsiteX0" fmla="*/ 0 w 1148992"/>
                <a:gd name="connsiteY0" fmla="*/ 2603956 h 2603956"/>
                <a:gd name="connsiteX1" fmla="*/ 1124410 w 1148992"/>
                <a:gd name="connsiteY1" fmla="*/ 1497203 h 2603956"/>
                <a:gd name="connsiteX2" fmla="*/ 523360 w 1148992"/>
                <a:gd name="connsiteY2" fmla="*/ 0 h 2603956"/>
                <a:gd name="connsiteX0" fmla="*/ 0 w 1148992"/>
                <a:gd name="connsiteY0" fmla="*/ 2603956 h 2603956"/>
                <a:gd name="connsiteX1" fmla="*/ 1124410 w 1148992"/>
                <a:gd name="connsiteY1" fmla="*/ 1497203 h 2603956"/>
                <a:gd name="connsiteX2" fmla="*/ 523360 w 1148992"/>
                <a:gd name="connsiteY2" fmla="*/ 0 h 2603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48992" h="2603956">
                  <a:moveTo>
                    <a:pt x="0" y="2603956"/>
                  </a:moveTo>
                  <a:cubicBezTo>
                    <a:pt x="785903" y="2460717"/>
                    <a:pt x="1087432" y="1750070"/>
                    <a:pt x="1124410" y="1497203"/>
                  </a:cubicBezTo>
                  <a:cubicBezTo>
                    <a:pt x="1161388" y="1244336"/>
                    <a:pt x="1252364" y="534067"/>
                    <a:pt x="523360" y="0"/>
                  </a:cubicBezTo>
                </a:path>
              </a:pathLst>
            </a:custGeom>
            <a:grpFill/>
            <a:ln w="952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grpSp>
          <p:nvGrpSpPr>
            <p:cNvPr id="1129" name="Group 1128">
              <a:extLst>
                <a:ext uri="{FF2B5EF4-FFF2-40B4-BE49-F238E27FC236}">
                  <a16:creationId xmlns:a16="http://schemas.microsoft.com/office/drawing/2014/main" id="{76615FFF-0DAA-E388-C230-501B0E576B11}"/>
                </a:ext>
              </a:extLst>
            </p:cNvPr>
            <p:cNvGrpSpPr/>
            <p:nvPr/>
          </p:nvGrpSpPr>
          <p:grpSpPr>
            <a:xfrm rot="1798977">
              <a:off x="6042256" y="810199"/>
              <a:ext cx="1185863" cy="3037700"/>
              <a:chOff x="6096000" y="832228"/>
              <a:chExt cx="1185863" cy="3037700"/>
            </a:xfrm>
            <a:grpFill/>
          </p:grpSpPr>
          <p:sp>
            <p:nvSpPr>
              <p:cNvPr id="1136" name="Rectangle: Top Corners Rounded 1135">
                <a:extLst>
                  <a:ext uri="{FF2B5EF4-FFF2-40B4-BE49-F238E27FC236}">
                    <a16:creationId xmlns:a16="http://schemas.microsoft.com/office/drawing/2014/main" id="{FC978AD9-67BA-EF65-38A9-8D3E3D3F153A}"/>
                  </a:ext>
                </a:extLst>
              </p:cNvPr>
              <p:cNvSpPr/>
              <p:nvPr/>
            </p:nvSpPr>
            <p:spPr>
              <a:xfrm>
                <a:off x="6220372" y="1093472"/>
                <a:ext cx="937118" cy="2333555"/>
              </a:xfrm>
              <a:prstGeom prst="round2SameRect">
                <a:avLst>
                  <a:gd name="adj1" fmla="val 12445"/>
                  <a:gd name="adj2" fmla="val 0"/>
                </a:avLst>
              </a:prstGeom>
              <a:grpFill/>
              <a:ln w="9525" cap="rnd">
                <a:solidFill>
                  <a:schemeClr val="accent1"/>
                </a:solidFill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137" name="Rectangle: Top Corners Rounded 1136">
                <a:extLst>
                  <a:ext uri="{FF2B5EF4-FFF2-40B4-BE49-F238E27FC236}">
                    <a16:creationId xmlns:a16="http://schemas.microsoft.com/office/drawing/2014/main" id="{CC0CBF86-DA9F-BADC-473D-42037F567E30}"/>
                  </a:ext>
                </a:extLst>
              </p:cNvPr>
              <p:cNvSpPr/>
              <p:nvPr/>
            </p:nvSpPr>
            <p:spPr>
              <a:xfrm>
                <a:off x="6392465" y="832228"/>
                <a:ext cx="592932" cy="259401"/>
              </a:xfrm>
              <a:prstGeom prst="round2SameRect">
                <a:avLst>
                  <a:gd name="adj1" fmla="val 31722"/>
                  <a:gd name="adj2" fmla="val 0"/>
                </a:avLst>
              </a:prstGeom>
              <a:grpFill/>
              <a:ln w="9525" cap="rnd">
                <a:solidFill>
                  <a:schemeClr val="accent1"/>
                </a:solidFill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138" name="Rectangle: Rounded Corners 1137">
                <a:extLst>
                  <a:ext uri="{FF2B5EF4-FFF2-40B4-BE49-F238E27FC236}">
                    <a16:creationId xmlns:a16="http://schemas.microsoft.com/office/drawing/2014/main" id="{BB9568E5-591C-0F33-6DC6-98A13E6B23D6}"/>
                  </a:ext>
                </a:extLst>
              </p:cNvPr>
              <p:cNvSpPr/>
              <p:nvPr/>
            </p:nvSpPr>
            <p:spPr>
              <a:xfrm>
                <a:off x="6096000" y="3428074"/>
                <a:ext cx="1185863" cy="206158"/>
              </a:xfrm>
              <a:prstGeom prst="roundRect">
                <a:avLst/>
              </a:prstGeom>
              <a:grpFill/>
              <a:ln w="9525" cap="rnd">
                <a:solidFill>
                  <a:schemeClr val="accent1"/>
                </a:solidFill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139" name="Rectangle: Top Corners Rounded 1138">
                <a:extLst>
                  <a:ext uri="{FF2B5EF4-FFF2-40B4-BE49-F238E27FC236}">
                    <a16:creationId xmlns:a16="http://schemas.microsoft.com/office/drawing/2014/main" id="{4FA235CE-BE08-91AB-00BD-76016873F9FC}"/>
                  </a:ext>
                </a:extLst>
              </p:cNvPr>
              <p:cNvSpPr/>
              <p:nvPr/>
            </p:nvSpPr>
            <p:spPr>
              <a:xfrm rot="10800000">
                <a:off x="6291262" y="3634229"/>
                <a:ext cx="224943" cy="235699"/>
              </a:xfrm>
              <a:prstGeom prst="round2SameRect">
                <a:avLst>
                  <a:gd name="adj1" fmla="val 12445"/>
                  <a:gd name="adj2" fmla="val 0"/>
                </a:avLst>
              </a:prstGeom>
              <a:grpFill/>
              <a:ln w="9525" cap="rnd">
                <a:solidFill>
                  <a:schemeClr val="accent1"/>
                </a:solidFill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140" name="Rectangle: Top Corners Rounded 1139">
                <a:extLst>
                  <a:ext uri="{FF2B5EF4-FFF2-40B4-BE49-F238E27FC236}">
                    <a16:creationId xmlns:a16="http://schemas.microsoft.com/office/drawing/2014/main" id="{66A089B9-358C-9D22-8256-8C350CE89DCB}"/>
                  </a:ext>
                </a:extLst>
              </p:cNvPr>
              <p:cNvSpPr/>
              <p:nvPr/>
            </p:nvSpPr>
            <p:spPr>
              <a:xfrm rot="10800000">
                <a:off x="6863317" y="3634229"/>
                <a:ext cx="224943" cy="235699"/>
              </a:xfrm>
              <a:prstGeom prst="round2SameRect">
                <a:avLst>
                  <a:gd name="adj1" fmla="val 12445"/>
                  <a:gd name="adj2" fmla="val 0"/>
                </a:avLst>
              </a:prstGeom>
              <a:grpFill/>
              <a:ln w="9525" cap="rnd">
                <a:solidFill>
                  <a:schemeClr val="accent1"/>
                </a:solidFill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</p:grpSp>
        <p:sp>
          <p:nvSpPr>
            <p:cNvPr id="1130" name="Rectangle: Rounded Corners 6">
              <a:extLst>
                <a:ext uri="{FF2B5EF4-FFF2-40B4-BE49-F238E27FC236}">
                  <a16:creationId xmlns:a16="http://schemas.microsoft.com/office/drawing/2014/main" id="{023BC3BB-01BC-7342-CB2B-3A8D41F5375B}"/>
                </a:ext>
              </a:extLst>
            </p:cNvPr>
            <p:cNvSpPr/>
            <p:nvPr/>
          </p:nvSpPr>
          <p:spPr>
            <a:xfrm>
              <a:off x="6086475" y="4633866"/>
              <a:ext cx="1083470" cy="1150190"/>
            </a:xfrm>
            <a:custGeom>
              <a:avLst/>
              <a:gdLst>
                <a:gd name="connsiteX0" fmla="*/ 0 w 1083470"/>
                <a:gd name="connsiteY0" fmla="*/ 0 h 1150144"/>
                <a:gd name="connsiteX1" fmla="*/ 0 w 1083470"/>
                <a:gd name="connsiteY1" fmla="*/ 0 h 1150144"/>
                <a:gd name="connsiteX2" fmla="*/ 1083470 w 1083470"/>
                <a:gd name="connsiteY2" fmla="*/ 0 h 1150144"/>
                <a:gd name="connsiteX3" fmla="*/ 1083470 w 1083470"/>
                <a:gd name="connsiteY3" fmla="*/ 0 h 1150144"/>
                <a:gd name="connsiteX4" fmla="*/ 1083470 w 1083470"/>
                <a:gd name="connsiteY4" fmla="*/ 1150144 h 1150144"/>
                <a:gd name="connsiteX5" fmla="*/ 1083470 w 1083470"/>
                <a:gd name="connsiteY5" fmla="*/ 1150144 h 1150144"/>
                <a:gd name="connsiteX6" fmla="*/ 0 w 1083470"/>
                <a:gd name="connsiteY6" fmla="*/ 1150144 h 1150144"/>
                <a:gd name="connsiteX7" fmla="*/ 0 w 1083470"/>
                <a:gd name="connsiteY7" fmla="*/ 1150144 h 1150144"/>
                <a:gd name="connsiteX8" fmla="*/ 0 w 1083470"/>
                <a:gd name="connsiteY8" fmla="*/ 0 h 1150144"/>
                <a:gd name="connsiteX0" fmla="*/ 0 w 1083470"/>
                <a:gd name="connsiteY0" fmla="*/ 0 h 1150144"/>
                <a:gd name="connsiteX1" fmla="*/ 0 w 1083470"/>
                <a:gd name="connsiteY1" fmla="*/ 0 h 1150144"/>
                <a:gd name="connsiteX2" fmla="*/ 1083470 w 1083470"/>
                <a:gd name="connsiteY2" fmla="*/ 0 h 1150144"/>
                <a:gd name="connsiteX3" fmla="*/ 621508 w 1083470"/>
                <a:gd name="connsiteY3" fmla="*/ 0 h 1150144"/>
                <a:gd name="connsiteX4" fmla="*/ 1083470 w 1083470"/>
                <a:gd name="connsiteY4" fmla="*/ 1150144 h 1150144"/>
                <a:gd name="connsiteX5" fmla="*/ 1083470 w 1083470"/>
                <a:gd name="connsiteY5" fmla="*/ 1150144 h 1150144"/>
                <a:gd name="connsiteX6" fmla="*/ 0 w 1083470"/>
                <a:gd name="connsiteY6" fmla="*/ 1150144 h 1150144"/>
                <a:gd name="connsiteX7" fmla="*/ 0 w 1083470"/>
                <a:gd name="connsiteY7" fmla="*/ 1150144 h 1150144"/>
                <a:gd name="connsiteX8" fmla="*/ 0 w 1083470"/>
                <a:gd name="connsiteY8" fmla="*/ 0 h 1150144"/>
                <a:gd name="connsiteX0" fmla="*/ 0 w 1083470"/>
                <a:gd name="connsiteY0" fmla="*/ 0 h 1150144"/>
                <a:gd name="connsiteX1" fmla="*/ 0 w 1083470"/>
                <a:gd name="connsiteY1" fmla="*/ 0 h 1150144"/>
                <a:gd name="connsiteX2" fmla="*/ 1083470 w 1083470"/>
                <a:gd name="connsiteY2" fmla="*/ 0 h 1150144"/>
                <a:gd name="connsiteX3" fmla="*/ 747714 w 1083470"/>
                <a:gd name="connsiteY3" fmla="*/ 123825 h 1150144"/>
                <a:gd name="connsiteX4" fmla="*/ 1083470 w 1083470"/>
                <a:gd name="connsiteY4" fmla="*/ 1150144 h 1150144"/>
                <a:gd name="connsiteX5" fmla="*/ 1083470 w 1083470"/>
                <a:gd name="connsiteY5" fmla="*/ 1150144 h 1150144"/>
                <a:gd name="connsiteX6" fmla="*/ 0 w 1083470"/>
                <a:gd name="connsiteY6" fmla="*/ 1150144 h 1150144"/>
                <a:gd name="connsiteX7" fmla="*/ 0 w 1083470"/>
                <a:gd name="connsiteY7" fmla="*/ 1150144 h 1150144"/>
                <a:gd name="connsiteX8" fmla="*/ 0 w 1083470"/>
                <a:gd name="connsiteY8" fmla="*/ 0 h 1150144"/>
                <a:gd name="connsiteX0" fmla="*/ 0 w 1083470"/>
                <a:gd name="connsiteY0" fmla="*/ 0 h 1150144"/>
                <a:gd name="connsiteX1" fmla="*/ 0 w 1083470"/>
                <a:gd name="connsiteY1" fmla="*/ 0 h 1150144"/>
                <a:gd name="connsiteX2" fmla="*/ 609602 w 1083470"/>
                <a:gd name="connsiteY2" fmla="*/ 0 h 1150144"/>
                <a:gd name="connsiteX3" fmla="*/ 747714 w 1083470"/>
                <a:gd name="connsiteY3" fmla="*/ 123825 h 1150144"/>
                <a:gd name="connsiteX4" fmla="*/ 1083470 w 1083470"/>
                <a:gd name="connsiteY4" fmla="*/ 1150144 h 1150144"/>
                <a:gd name="connsiteX5" fmla="*/ 1083470 w 1083470"/>
                <a:gd name="connsiteY5" fmla="*/ 1150144 h 1150144"/>
                <a:gd name="connsiteX6" fmla="*/ 0 w 1083470"/>
                <a:gd name="connsiteY6" fmla="*/ 1150144 h 1150144"/>
                <a:gd name="connsiteX7" fmla="*/ 0 w 1083470"/>
                <a:gd name="connsiteY7" fmla="*/ 1150144 h 1150144"/>
                <a:gd name="connsiteX8" fmla="*/ 0 w 1083470"/>
                <a:gd name="connsiteY8" fmla="*/ 0 h 1150144"/>
                <a:gd name="connsiteX0" fmla="*/ 0 w 1083470"/>
                <a:gd name="connsiteY0" fmla="*/ 0 h 1150144"/>
                <a:gd name="connsiteX1" fmla="*/ 0 w 1083470"/>
                <a:gd name="connsiteY1" fmla="*/ 0 h 1150144"/>
                <a:gd name="connsiteX2" fmla="*/ 609602 w 1083470"/>
                <a:gd name="connsiteY2" fmla="*/ 0 h 1150144"/>
                <a:gd name="connsiteX3" fmla="*/ 747714 w 1083470"/>
                <a:gd name="connsiteY3" fmla="*/ 123825 h 1150144"/>
                <a:gd name="connsiteX4" fmla="*/ 1083470 w 1083470"/>
                <a:gd name="connsiteY4" fmla="*/ 1150144 h 1150144"/>
                <a:gd name="connsiteX5" fmla="*/ 1083470 w 1083470"/>
                <a:gd name="connsiteY5" fmla="*/ 1150144 h 1150144"/>
                <a:gd name="connsiteX6" fmla="*/ 0 w 1083470"/>
                <a:gd name="connsiteY6" fmla="*/ 1150144 h 1150144"/>
                <a:gd name="connsiteX7" fmla="*/ 0 w 1083470"/>
                <a:gd name="connsiteY7" fmla="*/ 1150144 h 1150144"/>
                <a:gd name="connsiteX8" fmla="*/ 0 w 1083470"/>
                <a:gd name="connsiteY8" fmla="*/ 0 h 1150144"/>
                <a:gd name="connsiteX0" fmla="*/ 0 w 1083470"/>
                <a:gd name="connsiteY0" fmla="*/ 0 h 1150144"/>
                <a:gd name="connsiteX1" fmla="*/ 0 w 1083470"/>
                <a:gd name="connsiteY1" fmla="*/ 0 h 1150144"/>
                <a:gd name="connsiteX2" fmla="*/ 609602 w 1083470"/>
                <a:gd name="connsiteY2" fmla="*/ 0 h 1150144"/>
                <a:gd name="connsiteX3" fmla="*/ 747714 w 1083470"/>
                <a:gd name="connsiteY3" fmla="*/ 123825 h 1150144"/>
                <a:gd name="connsiteX4" fmla="*/ 1083470 w 1083470"/>
                <a:gd name="connsiteY4" fmla="*/ 1150144 h 1150144"/>
                <a:gd name="connsiteX5" fmla="*/ 1083470 w 1083470"/>
                <a:gd name="connsiteY5" fmla="*/ 1150144 h 1150144"/>
                <a:gd name="connsiteX6" fmla="*/ 0 w 1083470"/>
                <a:gd name="connsiteY6" fmla="*/ 1150144 h 1150144"/>
                <a:gd name="connsiteX7" fmla="*/ 0 w 1083470"/>
                <a:gd name="connsiteY7" fmla="*/ 1150144 h 1150144"/>
                <a:gd name="connsiteX8" fmla="*/ 0 w 1083470"/>
                <a:gd name="connsiteY8" fmla="*/ 0 h 1150144"/>
                <a:gd name="connsiteX0" fmla="*/ 0 w 1083470"/>
                <a:gd name="connsiteY0" fmla="*/ 27 h 1150171"/>
                <a:gd name="connsiteX1" fmla="*/ 0 w 1083470"/>
                <a:gd name="connsiteY1" fmla="*/ 27 h 1150171"/>
                <a:gd name="connsiteX2" fmla="*/ 609602 w 1083470"/>
                <a:gd name="connsiteY2" fmla="*/ 27 h 1150171"/>
                <a:gd name="connsiteX3" fmla="*/ 747714 w 1083470"/>
                <a:gd name="connsiteY3" fmla="*/ 123852 h 1150171"/>
                <a:gd name="connsiteX4" fmla="*/ 1083470 w 1083470"/>
                <a:gd name="connsiteY4" fmla="*/ 1150171 h 1150171"/>
                <a:gd name="connsiteX5" fmla="*/ 1083470 w 1083470"/>
                <a:gd name="connsiteY5" fmla="*/ 1150171 h 1150171"/>
                <a:gd name="connsiteX6" fmla="*/ 0 w 1083470"/>
                <a:gd name="connsiteY6" fmla="*/ 1150171 h 1150171"/>
                <a:gd name="connsiteX7" fmla="*/ 0 w 1083470"/>
                <a:gd name="connsiteY7" fmla="*/ 1150171 h 1150171"/>
                <a:gd name="connsiteX8" fmla="*/ 0 w 1083470"/>
                <a:gd name="connsiteY8" fmla="*/ 27 h 1150171"/>
                <a:gd name="connsiteX0" fmla="*/ 0 w 1083470"/>
                <a:gd name="connsiteY0" fmla="*/ 46 h 1150190"/>
                <a:gd name="connsiteX1" fmla="*/ 0 w 1083470"/>
                <a:gd name="connsiteY1" fmla="*/ 46 h 1150190"/>
                <a:gd name="connsiteX2" fmla="*/ 609602 w 1083470"/>
                <a:gd name="connsiteY2" fmla="*/ 46 h 1150190"/>
                <a:gd name="connsiteX3" fmla="*/ 747714 w 1083470"/>
                <a:gd name="connsiteY3" fmla="*/ 123871 h 1150190"/>
                <a:gd name="connsiteX4" fmla="*/ 1083470 w 1083470"/>
                <a:gd name="connsiteY4" fmla="*/ 1150190 h 1150190"/>
                <a:gd name="connsiteX5" fmla="*/ 1083470 w 1083470"/>
                <a:gd name="connsiteY5" fmla="*/ 1150190 h 1150190"/>
                <a:gd name="connsiteX6" fmla="*/ 0 w 1083470"/>
                <a:gd name="connsiteY6" fmla="*/ 1150190 h 1150190"/>
                <a:gd name="connsiteX7" fmla="*/ 0 w 1083470"/>
                <a:gd name="connsiteY7" fmla="*/ 1150190 h 1150190"/>
                <a:gd name="connsiteX8" fmla="*/ 0 w 1083470"/>
                <a:gd name="connsiteY8" fmla="*/ 46 h 1150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83470" h="1150190">
                  <a:moveTo>
                    <a:pt x="0" y="46"/>
                  </a:moveTo>
                  <a:lnTo>
                    <a:pt x="0" y="46"/>
                  </a:lnTo>
                  <a:lnTo>
                    <a:pt x="609602" y="46"/>
                  </a:lnTo>
                  <a:cubicBezTo>
                    <a:pt x="693739" y="-1541"/>
                    <a:pt x="725489" y="37352"/>
                    <a:pt x="747714" y="123871"/>
                  </a:cubicBezTo>
                  <a:lnTo>
                    <a:pt x="1083470" y="1150190"/>
                  </a:lnTo>
                  <a:lnTo>
                    <a:pt x="1083470" y="1150190"/>
                  </a:lnTo>
                  <a:lnTo>
                    <a:pt x="0" y="1150190"/>
                  </a:lnTo>
                  <a:lnTo>
                    <a:pt x="0" y="1150190"/>
                  </a:lnTo>
                  <a:lnTo>
                    <a:pt x="0" y="46"/>
                  </a:lnTo>
                  <a:close/>
                </a:path>
              </a:pathLst>
            </a:custGeom>
            <a:grpFill/>
            <a:ln w="952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grpSp>
          <p:nvGrpSpPr>
            <p:cNvPr id="1131" name="Group 1130">
              <a:extLst>
                <a:ext uri="{FF2B5EF4-FFF2-40B4-BE49-F238E27FC236}">
                  <a16:creationId xmlns:a16="http://schemas.microsoft.com/office/drawing/2014/main" id="{3ED003EB-0657-83A9-3B16-5595C8B33182}"/>
                </a:ext>
              </a:extLst>
            </p:cNvPr>
            <p:cNvGrpSpPr/>
            <p:nvPr/>
          </p:nvGrpSpPr>
          <p:grpSpPr>
            <a:xfrm>
              <a:off x="6320967" y="4954317"/>
              <a:ext cx="423446" cy="423446"/>
              <a:chOff x="6679406" y="2394898"/>
              <a:chExt cx="850966" cy="850966"/>
            </a:xfrm>
            <a:grpFill/>
          </p:grpSpPr>
          <p:sp>
            <p:nvSpPr>
              <p:cNvPr id="1134" name="Oval 1133">
                <a:extLst>
                  <a:ext uri="{FF2B5EF4-FFF2-40B4-BE49-F238E27FC236}">
                    <a16:creationId xmlns:a16="http://schemas.microsoft.com/office/drawing/2014/main" id="{8E328494-D194-D1DA-06F5-EED04F778EB2}"/>
                  </a:ext>
                </a:extLst>
              </p:cNvPr>
              <p:cNvSpPr/>
              <p:nvPr/>
            </p:nvSpPr>
            <p:spPr>
              <a:xfrm>
                <a:off x="6820698" y="2547613"/>
                <a:ext cx="545534" cy="545534"/>
              </a:xfrm>
              <a:prstGeom prst="ellipse">
                <a:avLst/>
              </a:prstGeom>
              <a:grpFill/>
              <a:ln w="9525" cap="rnd">
                <a:solidFill>
                  <a:schemeClr val="accent1"/>
                </a:solidFill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135" name="Oval 1134">
                <a:extLst>
                  <a:ext uri="{FF2B5EF4-FFF2-40B4-BE49-F238E27FC236}">
                    <a16:creationId xmlns:a16="http://schemas.microsoft.com/office/drawing/2014/main" id="{79D9CB07-F0DB-C348-78AC-7ECE45818C57}"/>
                  </a:ext>
                </a:extLst>
              </p:cNvPr>
              <p:cNvSpPr/>
              <p:nvPr/>
            </p:nvSpPr>
            <p:spPr>
              <a:xfrm>
                <a:off x="6679406" y="2394898"/>
                <a:ext cx="850966" cy="850966"/>
              </a:xfrm>
              <a:prstGeom prst="ellipse">
                <a:avLst/>
              </a:prstGeom>
              <a:grpFill/>
              <a:ln w="9525" cap="rnd">
                <a:solidFill>
                  <a:schemeClr val="accent1"/>
                </a:solidFill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</p:grpSp>
        <p:sp>
          <p:nvSpPr>
            <p:cNvPr id="1132" name="Oval 1131">
              <a:extLst>
                <a:ext uri="{FF2B5EF4-FFF2-40B4-BE49-F238E27FC236}">
                  <a16:creationId xmlns:a16="http://schemas.microsoft.com/office/drawing/2014/main" id="{A32510E1-055F-26CB-03B5-2B1D0EDF977A}"/>
                </a:ext>
              </a:extLst>
            </p:cNvPr>
            <p:cNvSpPr/>
            <p:nvPr/>
          </p:nvSpPr>
          <p:spPr>
            <a:xfrm>
              <a:off x="6527006" y="2242498"/>
              <a:ext cx="850966" cy="850966"/>
            </a:xfrm>
            <a:prstGeom prst="ellipse">
              <a:avLst/>
            </a:prstGeom>
            <a:grpFill/>
            <a:ln w="952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1133" name="Oval 1132">
              <a:extLst>
                <a:ext uri="{FF2B5EF4-FFF2-40B4-BE49-F238E27FC236}">
                  <a16:creationId xmlns:a16="http://schemas.microsoft.com/office/drawing/2014/main" id="{BC48BCB1-AF55-AEA6-25D1-1F71B75130AB}"/>
                </a:ext>
              </a:extLst>
            </p:cNvPr>
            <p:cNvSpPr/>
            <p:nvPr/>
          </p:nvSpPr>
          <p:spPr>
            <a:xfrm>
              <a:off x="6763546" y="2474118"/>
              <a:ext cx="387727" cy="387727"/>
            </a:xfrm>
            <a:prstGeom prst="ellipse">
              <a:avLst/>
            </a:prstGeom>
            <a:grpFill/>
            <a:ln w="952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</p:grpSp>
      <p:pic>
        <p:nvPicPr>
          <p:cNvPr id="1141" name="Graphic 1140" descr="Shield outline">
            <a:extLst>
              <a:ext uri="{FF2B5EF4-FFF2-40B4-BE49-F238E27FC236}">
                <a16:creationId xmlns:a16="http://schemas.microsoft.com/office/drawing/2014/main" id="{8C4BAA0C-4F0C-B2B3-45F6-576D5598A9E4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891023" y="4889436"/>
            <a:ext cx="360493" cy="3604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789872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0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0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0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10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10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0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10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10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10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10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10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10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0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3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6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9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2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5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8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1" dur="500"/>
                                        <p:tgtEl>
                                          <p:spTgt spid="10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4" dur="500"/>
                                        <p:tgtEl>
                                          <p:spTgt spid="10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7" dur="500"/>
                                        <p:tgtEl>
                                          <p:spTgt spid="10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0" dur="500"/>
                                        <p:tgtEl>
                                          <p:spTgt spid="10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3" dur="500"/>
                                        <p:tgtEl>
                                          <p:spTgt spid="10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6" dur="500"/>
                                        <p:tgtEl>
                                          <p:spTgt spid="10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9" dur="500"/>
                                        <p:tgtEl>
                                          <p:spTgt spid="10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2" dur="500"/>
                                        <p:tgtEl>
                                          <p:spTgt spid="10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5" dur="500"/>
                                        <p:tgtEl>
                                          <p:spTgt spid="10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8" dur="500"/>
                                        <p:tgtEl>
                                          <p:spTgt spid="10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1" dur="500"/>
                                        <p:tgtEl>
                                          <p:spTgt spid="10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4" dur="500"/>
                                        <p:tgtEl>
                                          <p:spTgt spid="1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7" dur="500"/>
                                        <p:tgtEl>
                                          <p:spTgt spid="1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0" dur="500"/>
                                        <p:tgtEl>
                                          <p:spTgt spid="1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3" dur="500"/>
                                        <p:tgtEl>
                                          <p:spTgt spid="1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6" dur="500"/>
                                        <p:tgtEl>
                                          <p:spTgt spid="11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9" dur="500"/>
                                        <p:tgtEl>
                                          <p:spTgt spid="11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2" dur="500"/>
                                        <p:tgtEl>
                                          <p:spTgt spid="11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5" dur="500"/>
                                        <p:tgtEl>
                                          <p:spTgt spid="11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8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6" grpId="0" animBg="1"/>
      <p:bldP spid="19" grpId="0"/>
      <p:bldP spid="20" grpId="0"/>
      <p:bldP spid="10" grpId="0"/>
      <p:bldP spid="21" grpId="0"/>
      <p:bldP spid="41" grpId="0" animBg="1"/>
      <p:bldP spid="23" grpId="0" animBg="1"/>
      <p:bldP spid="24" grpId="0" animBg="1"/>
      <p:bldP spid="25" grpId="0" animBg="1"/>
      <p:bldP spid="31" grpId="0" animBg="1"/>
      <p:bldP spid="33" grpId="0" animBg="1"/>
      <p:bldP spid="35" grpId="0" animBg="1"/>
      <p:bldP spid="37" grpId="0" animBg="1"/>
      <p:bldP spid="38" grpId="0" animBg="1"/>
      <p:bldP spid="39" grpId="0" animBg="1"/>
      <p:bldP spid="40" grpId="0" animBg="1"/>
      <p:bldP spid="57" grpId="0" animBg="1"/>
      <p:bldP spid="60" grpId="0" animBg="1"/>
      <p:bldP spid="1035" grpId="0" animBg="1"/>
      <p:bldP spid="1036" grpId="0" animBg="1"/>
      <p:bldP spid="1038" grpId="0" animBg="1"/>
      <p:bldP spid="1044" grpId="0" animBg="1"/>
      <p:bldP spid="1045" grpId="0" animBg="1"/>
      <p:bldP spid="1046" grpId="0" animBg="1"/>
      <p:bldP spid="1047" grpId="0" animBg="1"/>
      <p:bldP spid="1048" grpId="0" animBg="1"/>
      <p:bldP spid="1066" grpId="0" animBg="1"/>
      <p:bldP spid="1067" grpId="0" animBg="1"/>
      <p:bldP spid="1068" grpId="0" animBg="1"/>
      <p:bldP spid="1069" grpId="0" animBg="1"/>
      <p:bldP spid="1070" grpId="0" animBg="1"/>
      <p:bldP spid="1115" grpId="0" animBg="1"/>
      <p:bldP spid="1116" grpId="0" animBg="1"/>
      <p:bldP spid="1117" grpId="0" animBg="1"/>
      <p:bldP spid="1123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2A96E7DF-7B65-98BA-FDC9-9EFF8DB7F3FA}"/>
              </a:ext>
            </a:extLst>
          </p:cNvPr>
          <p:cNvSpPr txBox="1">
            <a:spLocks/>
          </p:cNvSpPr>
          <p:nvPr/>
        </p:nvSpPr>
        <p:spPr>
          <a:xfrm>
            <a:off x="1592170" y="5436069"/>
            <a:ext cx="634877" cy="634877"/>
          </a:xfrm>
          <a:prstGeom prst="ellipse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2"/>
              </a:gs>
            </a:gsLst>
            <a:lin ang="13500000" scaled="1"/>
            <a:tileRect/>
          </a:gradFill>
        </p:spPr>
        <p:txBody>
          <a:bodyPr anchor="ctr" anchorCtr="1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</a:p>
        </p:txBody>
      </p:sp>
      <p:sp>
        <p:nvSpPr>
          <p:cNvPr id="28" name="Title 6">
            <a:extLst>
              <a:ext uri="{FF2B5EF4-FFF2-40B4-BE49-F238E27FC236}">
                <a16:creationId xmlns:a16="http://schemas.microsoft.com/office/drawing/2014/main" id="{45D54DB2-0015-E2E4-815F-676C70F77C98}"/>
              </a:ext>
            </a:extLst>
          </p:cNvPr>
          <p:cNvSpPr txBox="1">
            <a:spLocks/>
          </p:cNvSpPr>
          <p:nvPr/>
        </p:nvSpPr>
        <p:spPr>
          <a:xfrm>
            <a:off x="2540734" y="5417830"/>
            <a:ext cx="8700197" cy="666914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 Display" panose="02110004020202020204"/>
                <a:ea typeface="+mj-ea"/>
                <a:cs typeface="+mj-cs"/>
              </a:rPr>
              <a:t>Some novel biomarkers are emerging to guide tailored treatment decisions and sequencing, but more research is needed</a:t>
            </a:r>
          </a:p>
        </p:txBody>
      </p:sp>
      <p:sp>
        <p:nvSpPr>
          <p:cNvPr id="18" name="Title 6">
            <a:extLst>
              <a:ext uri="{FF2B5EF4-FFF2-40B4-BE49-F238E27FC236}">
                <a16:creationId xmlns:a16="http://schemas.microsoft.com/office/drawing/2014/main" id="{99B0D84A-8FF5-B755-C911-755FDE200A31}"/>
              </a:ext>
            </a:extLst>
          </p:cNvPr>
          <p:cNvSpPr txBox="1">
            <a:spLocks/>
          </p:cNvSpPr>
          <p:nvPr/>
        </p:nvSpPr>
        <p:spPr>
          <a:xfrm>
            <a:off x="2587180" y="1461422"/>
            <a:ext cx="8700197" cy="672775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 Display" panose="02110004020202020204"/>
                <a:ea typeface="+mj-ea"/>
                <a:cs typeface="+mj-cs"/>
              </a:rPr>
              <a:t>The treatment landscape of R/R DLBCL has changed extensively in the past few years, providing more options for patients</a:t>
            </a:r>
          </a:p>
        </p:txBody>
      </p:sp>
      <p:sp>
        <p:nvSpPr>
          <p:cNvPr id="19" name="Title 6">
            <a:extLst>
              <a:ext uri="{FF2B5EF4-FFF2-40B4-BE49-F238E27FC236}">
                <a16:creationId xmlns:a16="http://schemas.microsoft.com/office/drawing/2014/main" id="{A329A16F-C1A9-2DA8-B651-D8445653CBC2}"/>
              </a:ext>
            </a:extLst>
          </p:cNvPr>
          <p:cNvSpPr txBox="1">
            <a:spLocks/>
          </p:cNvSpPr>
          <p:nvPr/>
        </p:nvSpPr>
        <p:spPr>
          <a:xfrm>
            <a:off x="2567559" y="2614651"/>
            <a:ext cx="8700188" cy="999313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 Display" panose="02110004020202020204"/>
                <a:ea typeface="+mj-ea"/>
                <a:cs typeface="+mj-cs"/>
              </a:rPr>
              <a:t>Updated guidelines exist to support clinical decision-making in R/R DLBCL, with a significant proportion of patients not ultimately receiving the intended therapy, or experiencing failur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C27B1383-7607-9317-8ACD-A2D78F414827}"/>
              </a:ext>
            </a:extLst>
          </p:cNvPr>
          <p:cNvSpPr txBox="1">
            <a:spLocks/>
          </p:cNvSpPr>
          <p:nvPr/>
        </p:nvSpPr>
        <p:spPr>
          <a:xfrm>
            <a:off x="1592170" y="1480597"/>
            <a:ext cx="634877" cy="634877"/>
          </a:xfrm>
          <a:prstGeom prst="ellipse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2"/>
              </a:gs>
            </a:gsLst>
            <a:lin ang="13500000" scaled="1"/>
            <a:tileRect/>
          </a:gradFill>
        </p:spPr>
        <p:txBody>
          <a:bodyPr anchor="ctr" anchorCtr="1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</a:p>
        </p:txBody>
      </p:sp>
      <p:sp>
        <p:nvSpPr>
          <p:cNvPr id="37" name="Free-form: Shape 36">
            <a:extLst>
              <a:ext uri="{FF2B5EF4-FFF2-40B4-BE49-F238E27FC236}">
                <a16:creationId xmlns:a16="http://schemas.microsoft.com/office/drawing/2014/main" id="{D3D12850-BEBF-D570-7C41-93F4C69EC9FE}"/>
              </a:ext>
            </a:extLst>
          </p:cNvPr>
          <p:cNvSpPr/>
          <p:nvPr/>
        </p:nvSpPr>
        <p:spPr>
          <a:xfrm>
            <a:off x="1769205" y="1561710"/>
            <a:ext cx="265675" cy="428896"/>
          </a:xfrm>
          <a:custGeom>
            <a:avLst/>
            <a:gdLst>
              <a:gd name="csX0" fmla="*/ 300387 w 350251"/>
              <a:gd name="csY0" fmla="*/ 521640 h 631082"/>
              <a:gd name="csX1" fmla="*/ 319437 w 350251"/>
              <a:gd name="csY1" fmla="*/ 489731 h 631082"/>
              <a:gd name="csX2" fmla="*/ 319437 w 350251"/>
              <a:gd name="csY2" fmla="*/ 486588 h 631082"/>
              <a:gd name="csX3" fmla="*/ 290862 w 350251"/>
              <a:gd name="csY3" fmla="*/ 450965 h 631082"/>
              <a:gd name="csX4" fmla="*/ 290862 w 350251"/>
              <a:gd name="csY4" fmla="*/ 412007 h 631082"/>
              <a:gd name="csX5" fmla="*/ 305625 w 350251"/>
              <a:gd name="csY5" fmla="*/ 313328 h 631082"/>
              <a:gd name="csX6" fmla="*/ 219900 w 350251"/>
              <a:gd name="csY6" fmla="*/ 238843 h 631082"/>
              <a:gd name="csX7" fmla="*/ 200850 w 350251"/>
              <a:gd name="csY7" fmla="*/ 216554 h 631082"/>
              <a:gd name="csX8" fmla="*/ 231521 w 350251"/>
              <a:gd name="csY8" fmla="*/ 222746 h 631082"/>
              <a:gd name="csX9" fmla="*/ 267430 w 350251"/>
              <a:gd name="csY9" fmla="*/ 237319 h 631082"/>
              <a:gd name="csX10" fmla="*/ 314007 w 350251"/>
              <a:gd name="csY10" fmla="*/ 235985 h 631082"/>
              <a:gd name="csX11" fmla="*/ 348583 w 350251"/>
              <a:gd name="csY11" fmla="*/ 166643 h 631082"/>
              <a:gd name="csX12" fmla="*/ 275241 w 350251"/>
              <a:gd name="csY12" fmla="*/ 103493 h 631082"/>
              <a:gd name="csX13" fmla="*/ 272669 w 350251"/>
              <a:gd name="csY13" fmla="*/ 85490 h 631082"/>
              <a:gd name="csX14" fmla="*/ 212280 w 350251"/>
              <a:gd name="csY14" fmla="*/ 41485 h 631082"/>
              <a:gd name="csX15" fmla="*/ 208375 w 350251"/>
              <a:gd name="csY15" fmla="*/ 3385 h 631082"/>
              <a:gd name="csX16" fmla="*/ 30639 w 350251"/>
              <a:gd name="csY16" fmla="*/ 96920 h 631082"/>
              <a:gd name="csX17" fmla="*/ 27972 w 350251"/>
              <a:gd name="csY17" fmla="*/ 315995 h 631082"/>
              <a:gd name="csX18" fmla="*/ 61881 w 350251"/>
              <a:gd name="csY18" fmla="*/ 401720 h 631082"/>
              <a:gd name="csX19" fmla="*/ 61881 w 350251"/>
              <a:gd name="csY19" fmla="*/ 450965 h 631082"/>
              <a:gd name="csX20" fmla="*/ 33306 w 350251"/>
              <a:gd name="csY20" fmla="*/ 486588 h 631082"/>
              <a:gd name="csX21" fmla="*/ 33306 w 350251"/>
              <a:gd name="csY21" fmla="*/ 489731 h 631082"/>
              <a:gd name="csX22" fmla="*/ 52356 w 350251"/>
              <a:gd name="csY22" fmla="*/ 521640 h 631082"/>
              <a:gd name="csX23" fmla="*/ 52356 w 350251"/>
              <a:gd name="csY23" fmla="*/ 554882 h 631082"/>
              <a:gd name="csX24" fmla="*/ 14256 w 350251"/>
              <a:gd name="csY24" fmla="*/ 554882 h 631082"/>
              <a:gd name="csX25" fmla="*/ 14256 w 350251"/>
              <a:gd name="csY25" fmla="*/ 631082 h 631082"/>
              <a:gd name="csX26" fmla="*/ 338106 w 350251"/>
              <a:gd name="csY26" fmla="*/ 631082 h 631082"/>
              <a:gd name="csX27" fmla="*/ 338106 w 350251"/>
              <a:gd name="csY27" fmla="*/ 554882 h 631082"/>
              <a:gd name="csX28" fmla="*/ 300006 w 350251"/>
              <a:gd name="csY28" fmla="*/ 554882 h 63108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</a:cxnLst>
            <a:rect l="l" t="t" r="r" b="b"/>
            <a:pathLst>
              <a:path w="350251" h="631082">
                <a:moveTo>
                  <a:pt x="300387" y="521640"/>
                </a:moveTo>
                <a:cubicBezTo>
                  <a:pt x="312040" y="515232"/>
                  <a:pt x="319325" y="503030"/>
                  <a:pt x="319437" y="489731"/>
                </a:cubicBezTo>
                <a:lnTo>
                  <a:pt x="319437" y="486588"/>
                </a:lnTo>
                <a:cubicBezTo>
                  <a:pt x="319335" y="469520"/>
                  <a:pt x="307501" y="454767"/>
                  <a:pt x="290862" y="450965"/>
                </a:cubicBezTo>
                <a:lnTo>
                  <a:pt x="290862" y="412007"/>
                </a:lnTo>
                <a:cubicBezTo>
                  <a:pt x="315184" y="385078"/>
                  <a:pt x="321001" y="346196"/>
                  <a:pt x="305625" y="313328"/>
                </a:cubicBezTo>
                <a:cubicBezTo>
                  <a:pt x="294005" y="286849"/>
                  <a:pt x="239427" y="249606"/>
                  <a:pt x="219900" y="238843"/>
                </a:cubicBezTo>
                <a:cubicBezTo>
                  <a:pt x="211091" y="233929"/>
                  <a:pt x="204332" y="226022"/>
                  <a:pt x="200850" y="216554"/>
                </a:cubicBezTo>
                <a:cubicBezTo>
                  <a:pt x="209715" y="222914"/>
                  <a:pt x="220882" y="225169"/>
                  <a:pt x="231521" y="222746"/>
                </a:cubicBezTo>
                <a:cubicBezTo>
                  <a:pt x="248571" y="216554"/>
                  <a:pt x="263334" y="232271"/>
                  <a:pt x="267430" y="237319"/>
                </a:cubicBezTo>
                <a:cubicBezTo>
                  <a:pt x="278003" y="249035"/>
                  <a:pt x="296958" y="243224"/>
                  <a:pt x="314007" y="235985"/>
                </a:cubicBezTo>
                <a:cubicBezTo>
                  <a:pt x="340825" y="224316"/>
                  <a:pt x="355401" y="195084"/>
                  <a:pt x="348583" y="166643"/>
                </a:cubicBezTo>
                <a:cubicBezTo>
                  <a:pt x="348107" y="152070"/>
                  <a:pt x="275241" y="103493"/>
                  <a:pt x="275241" y="103493"/>
                </a:cubicBezTo>
                <a:lnTo>
                  <a:pt x="272669" y="85490"/>
                </a:lnTo>
                <a:cubicBezTo>
                  <a:pt x="272669" y="82347"/>
                  <a:pt x="261429" y="49867"/>
                  <a:pt x="212280" y="41485"/>
                </a:cubicBezTo>
                <a:cubicBezTo>
                  <a:pt x="212280" y="41485"/>
                  <a:pt x="221139" y="9671"/>
                  <a:pt x="208375" y="3385"/>
                </a:cubicBezTo>
                <a:cubicBezTo>
                  <a:pt x="181705" y="-8902"/>
                  <a:pt x="84550" y="10052"/>
                  <a:pt x="30639" y="96920"/>
                </a:cubicBezTo>
                <a:cubicBezTo>
                  <a:pt x="-9271" y="161214"/>
                  <a:pt x="-10224" y="239033"/>
                  <a:pt x="27972" y="315995"/>
                </a:cubicBezTo>
                <a:cubicBezTo>
                  <a:pt x="37497" y="335045"/>
                  <a:pt x="61881" y="373145"/>
                  <a:pt x="61881" y="401720"/>
                </a:cubicBezTo>
                <a:lnTo>
                  <a:pt x="61881" y="450965"/>
                </a:lnTo>
                <a:cubicBezTo>
                  <a:pt x="45241" y="454767"/>
                  <a:pt x="33408" y="469520"/>
                  <a:pt x="33306" y="486588"/>
                </a:cubicBezTo>
                <a:lnTo>
                  <a:pt x="33306" y="489731"/>
                </a:lnTo>
                <a:cubicBezTo>
                  <a:pt x="33417" y="503030"/>
                  <a:pt x="40702" y="515232"/>
                  <a:pt x="52356" y="521640"/>
                </a:cubicBezTo>
                <a:lnTo>
                  <a:pt x="52356" y="554882"/>
                </a:lnTo>
                <a:lnTo>
                  <a:pt x="14256" y="554882"/>
                </a:lnTo>
                <a:lnTo>
                  <a:pt x="14256" y="631082"/>
                </a:lnTo>
                <a:lnTo>
                  <a:pt x="338106" y="631082"/>
                </a:lnTo>
                <a:lnTo>
                  <a:pt x="338106" y="554882"/>
                </a:lnTo>
                <a:lnTo>
                  <a:pt x="300006" y="55488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ffectLst>
            <a:innerShdw dist="50800" dir="10800000">
              <a:schemeClr val="accent1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B136685B-6CE5-57AD-802D-4333ED533356}"/>
              </a:ext>
            </a:extLst>
          </p:cNvPr>
          <p:cNvSpPr txBox="1">
            <a:spLocks/>
          </p:cNvSpPr>
          <p:nvPr/>
        </p:nvSpPr>
        <p:spPr>
          <a:xfrm>
            <a:off x="1592170" y="2799088"/>
            <a:ext cx="634877" cy="634877"/>
          </a:xfrm>
          <a:prstGeom prst="ellipse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2"/>
              </a:gs>
            </a:gsLst>
            <a:lin ang="13500000" scaled="1"/>
            <a:tileRect/>
          </a:gradFill>
        </p:spPr>
        <p:txBody>
          <a:bodyPr anchor="ctr" anchorCtr="1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</a:p>
        </p:txBody>
      </p:sp>
      <p:sp>
        <p:nvSpPr>
          <p:cNvPr id="17" name="Title 6">
            <a:extLst>
              <a:ext uri="{FF2B5EF4-FFF2-40B4-BE49-F238E27FC236}">
                <a16:creationId xmlns:a16="http://schemas.microsoft.com/office/drawing/2014/main" id="{72BF8341-FA54-0439-726E-1099DC6281B2}"/>
              </a:ext>
            </a:extLst>
          </p:cNvPr>
          <p:cNvSpPr txBox="1">
            <a:spLocks/>
          </p:cNvSpPr>
          <p:nvPr/>
        </p:nvSpPr>
        <p:spPr>
          <a:xfrm>
            <a:off x="2594385" y="4011336"/>
            <a:ext cx="8646544" cy="999313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 Display" panose="02110004020202020204"/>
                <a:ea typeface="+mj-ea"/>
                <a:cs typeface="+mj-cs"/>
              </a:rPr>
              <a:t>Also, access to new therapies is uneven across Europe and there's still a gap between scientific advancement, treatment opportunities and results, with remaining unmet needs for patients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218E6366-0D4A-2B22-AA9D-9D0218B22089}"/>
              </a:ext>
            </a:extLst>
          </p:cNvPr>
          <p:cNvSpPr txBox="1">
            <a:spLocks/>
          </p:cNvSpPr>
          <p:nvPr/>
        </p:nvSpPr>
        <p:spPr>
          <a:xfrm>
            <a:off x="1592170" y="4117579"/>
            <a:ext cx="634877" cy="634877"/>
          </a:xfrm>
          <a:prstGeom prst="ellipse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2"/>
              </a:gs>
            </a:gsLst>
            <a:lin ang="13500000" scaled="1"/>
            <a:tileRect/>
          </a:gradFill>
        </p:spPr>
        <p:txBody>
          <a:bodyPr anchor="ctr" anchorCtr="1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9E0BCAFF-CF87-D9FB-E598-D0757C9CE2D7}"/>
              </a:ext>
            </a:extLst>
          </p:cNvPr>
          <p:cNvSpPr txBox="1">
            <a:spLocks/>
          </p:cNvSpPr>
          <p:nvPr/>
        </p:nvSpPr>
        <p:spPr>
          <a:xfrm>
            <a:off x="1592170" y="397029"/>
            <a:ext cx="8700191" cy="655776"/>
          </a:xfrm>
          <a:prstGeom prst="rect">
            <a:avLst/>
          </a:prstGeom>
        </p:spPr>
        <p:txBody>
          <a:bodyPr vert="horz" lIns="90000" tIns="46800" rIns="90000" bIns="4680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400" b="0" i="0" kern="1200">
                <a:solidFill>
                  <a:schemeClr val="tx2"/>
                </a:solidFill>
                <a:latin typeface="Aptos" panose="020B000402020202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0B0004020202020204" pitchFamily="34" charset="0"/>
                <a:ea typeface="+mj-ea"/>
                <a:cs typeface="+mj-cs"/>
              </a:rPr>
              <a:t>Summary</a:t>
            </a:r>
          </a:p>
        </p:txBody>
      </p:sp>
      <p:sp>
        <p:nvSpPr>
          <p:cNvPr id="42" name="Free-form: Shape 41">
            <a:extLst>
              <a:ext uri="{FF2B5EF4-FFF2-40B4-BE49-F238E27FC236}">
                <a16:creationId xmlns:a16="http://schemas.microsoft.com/office/drawing/2014/main" id="{88ED0500-FBA7-B7B1-082F-83BA3C4691B2}"/>
              </a:ext>
            </a:extLst>
          </p:cNvPr>
          <p:cNvSpPr/>
          <p:nvPr/>
        </p:nvSpPr>
        <p:spPr>
          <a:xfrm>
            <a:off x="1769205" y="2890447"/>
            <a:ext cx="265675" cy="428896"/>
          </a:xfrm>
          <a:custGeom>
            <a:avLst/>
            <a:gdLst>
              <a:gd name="csX0" fmla="*/ 300387 w 350251"/>
              <a:gd name="csY0" fmla="*/ 521640 h 631082"/>
              <a:gd name="csX1" fmla="*/ 319437 w 350251"/>
              <a:gd name="csY1" fmla="*/ 489731 h 631082"/>
              <a:gd name="csX2" fmla="*/ 319437 w 350251"/>
              <a:gd name="csY2" fmla="*/ 486588 h 631082"/>
              <a:gd name="csX3" fmla="*/ 290862 w 350251"/>
              <a:gd name="csY3" fmla="*/ 450965 h 631082"/>
              <a:gd name="csX4" fmla="*/ 290862 w 350251"/>
              <a:gd name="csY4" fmla="*/ 412007 h 631082"/>
              <a:gd name="csX5" fmla="*/ 305625 w 350251"/>
              <a:gd name="csY5" fmla="*/ 313328 h 631082"/>
              <a:gd name="csX6" fmla="*/ 219900 w 350251"/>
              <a:gd name="csY6" fmla="*/ 238843 h 631082"/>
              <a:gd name="csX7" fmla="*/ 200850 w 350251"/>
              <a:gd name="csY7" fmla="*/ 216554 h 631082"/>
              <a:gd name="csX8" fmla="*/ 231521 w 350251"/>
              <a:gd name="csY8" fmla="*/ 222746 h 631082"/>
              <a:gd name="csX9" fmla="*/ 267430 w 350251"/>
              <a:gd name="csY9" fmla="*/ 237319 h 631082"/>
              <a:gd name="csX10" fmla="*/ 314007 w 350251"/>
              <a:gd name="csY10" fmla="*/ 235985 h 631082"/>
              <a:gd name="csX11" fmla="*/ 348583 w 350251"/>
              <a:gd name="csY11" fmla="*/ 166643 h 631082"/>
              <a:gd name="csX12" fmla="*/ 275241 w 350251"/>
              <a:gd name="csY12" fmla="*/ 103493 h 631082"/>
              <a:gd name="csX13" fmla="*/ 272669 w 350251"/>
              <a:gd name="csY13" fmla="*/ 85490 h 631082"/>
              <a:gd name="csX14" fmla="*/ 212280 w 350251"/>
              <a:gd name="csY14" fmla="*/ 41485 h 631082"/>
              <a:gd name="csX15" fmla="*/ 208375 w 350251"/>
              <a:gd name="csY15" fmla="*/ 3385 h 631082"/>
              <a:gd name="csX16" fmla="*/ 30639 w 350251"/>
              <a:gd name="csY16" fmla="*/ 96920 h 631082"/>
              <a:gd name="csX17" fmla="*/ 27972 w 350251"/>
              <a:gd name="csY17" fmla="*/ 315995 h 631082"/>
              <a:gd name="csX18" fmla="*/ 61881 w 350251"/>
              <a:gd name="csY18" fmla="*/ 401720 h 631082"/>
              <a:gd name="csX19" fmla="*/ 61881 w 350251"/>
              <a:gd name="csY19" fmla="*/ 450965 h 631082"/>
              <a:gd name="csX20" fmla="*/ 33306 w 350251"/>
              <a:gd name="csY20" fmla="*/ 486588 h 631082"/>
              <a:gd name="csX21" fmla="*/ 33306 w 350251"/>
              <a:gd name="csY21" fmla="*/ 489731 h 631082"/>
              <a:gd name="csX22" fmla="*/ 52356 w 350251"/>
              <a:gd name="csY22" fmla="*/ 521640 h 631082"/>
              <a:gd name="csX23" fmla="*/ 52356 w 350251"/>
              <a:gd name="csY23" fmla="*/ 554882 h 631082"/>
              <a:gd name="csX24" fmla="*/ 14256 w 350251"/>
              <a:gd name="csY24" fmla="*/ 554882 h 631082"/>
              <a:gd name="csX25" fmla="*/ 14256 w 350251"/>
              <a:gd name="csY25" fmla="*/ 631082 h 631082"/>
              <a:gd name="csX26" fmla="*/ 338106 w 350251"/>
              <a:gd name="csY26" fmla="*/ 631082 h 631082"/>
              <a:gd name="csX27" fmla="*/ 338106 w 350251"/>
              <a:gd name="csY27" fmla="*/ 554882 h 631082"/>
              <a:gd name="csX28" fmla="*/ 300006 w 350251"/>
              <a:gd name="csY28" fmla="*/ 554882 h 63108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</a:cxnLst>
            <a:rect l="l" t="t" r="r" b="b"/>
            <a:pathLst>
              <a:path w="350251" h="631082">
                <a:moveTo>
                  <a:pt x="300387" y="521640"/>
                </a:moveTo>
                <a:cubicBezTo>
                  <a:pt x="312040" y="515232"/>
                  <a:pt x="319325" y="503030"/>
                  <a:pt x="319437" y="489731"/>
                </a:cubicBezTo>
                <a:lnTo>
                  <a:pt x="319437" y="486588"/>
                </a:lnTo>
                <a:cubicBezTo>
                  <a:pt x="319335" y="469520"/>
                  <a:pt x="307501" y="454767"/>
                  <a:pt x="290862" y="450965"/>
                </a:cubicBezTo>
                <a:lnTo>
                  <a:pt x="290862" y="412007"/>
                </a:lnTo>
                <a:cubicBezTo>
                  <a:pt x="315184" y="385078"/>
                  <a:pt x="321001" y="346196"/>
                  <a:pt x="305625" y="313328"/>
                </a:cubicBezTo>
                <a:cubicBezTo>
                  <a:pt x="294005" y="286849"/>
                  <a:pt x="239427" y="249606"/>
                  <a:pt x="219900" y="238843"/>
                </a:cubicBezTo>
                <a:cubicBezTo>
                  <a:pt x="211091" y="233929"/>
                  <a:pt x="204332" y="226022"/>
                  <a:pt x="200850" y="216554"/>
                </a:cubicBezTo>
                <a:cubicBezTo>
                  <a:pt x="209715" y="222914"/>
                  <a:pt x="220882" y="225169"/>
                  <a:pt x="231521" y="222746"/>
                </a:cubicBezTo>
                <a:cubicBezTo>
                  <a:pt x="248571" y="216554"/>
                  <a:pt x="263334" y="232271"/>
                  <a:pt x="267430" y="237319"/>
                </a:cubicBezTo>
                <a:cubicBezTo>
                  <a:pt x="278003" y="249035"/>
                  <a:pt x="296958" y="243224"/>
                  <a:pt x="314007" y="235985"/>
                </a:cubicBezTo>
                <a:cubicBezTo>
                  <a:pt x="340825" y="224316"/>
                  <a:pt x="355401" y="195084"/>
                  <a:pt x="348583" y="166643"/>
                </a:cubicBezTo>
                <a:cubicBezTo>
                  <a:pt x="348107" y="152070"/>
                  <a:pt x="275241" y="103493"/>
                  <a:pt x="275241" y="103493"/>
                </a:cubicBezTo>
                <a:lnTo>
                  <a:pt x="272669" y="85490"/>
                </a:lnTo>
                <a:cubicBezTo>
                  <a:pt x="272669" y="82347"/>
                  <a:pt x="261429" y="49867"/>
                  <a:pt x="212280" y="41485"/>
                </a:cubicBezTo>
                <a:cubicBezTo>
                  <a:pt x="212280" y="41485"/>
                  <a:pt x="221139" y="9671"/>
                  <a:pt x="208375" y="3385"/>
                </a:cubicBezTo>
                <a:cubicBezTo>
                  <a:pt x="181705" y="-8902"/>
                  <a:pt x="84550" y="10052"/>
                  <a:pt x="30639" y="96920"/>
                </a:cubicBezTo>
                <a:cubicBezTo>
                  <a:pt x="-9271" y="161214"/>
                  <a:pt x="-10224" y="239033"/>
                  <a:pt x="27972" y="315995"/>
                </a:cubicBezTo>
                <a:cubicBezTo>
                  <a:pt x="37497" y="335045"/>
                  <a:pt x="61881" y="373145"/>
                  <a:pt x="61881" y="401720"/>
                </a:cubicBezTo>
                <a:lnTo>
                  <a:pt x="61881" y="450965"/>
                </a:lnTo>
                <a:cubicBezTo>
                  <a:pt x="45241" y="454767"/>
                  <a:pt x="33408" y="469520"/>
                  <a:pt x="33306" y="486588"/>
                </a:cubicBezTo>
                <a:lnTo>
                  <a:pt x="33306" y="489731"/>
                </a:lnTo>
                <a:cubicBezTo>
                  <a:pt x="33417" y="503030"/>
                  <a:pt x="40702" y="515232"/>
                  <a:pt x="52356" y="521640"/>
                </a:cubicBezTo>
                <a:lnTo>
                  <a:pt x="52356" y="554882"/>
                </a:lnTo>
                <a:lnTo>
                  <a:pt x="14256" y="554882"/>
                </a:lnTo>
                <a:lnTo>
                  <a:pt x="14256" y="631082"/>
                </a:lnTo>
                <a:lnTo>
                  <a:pt x="338106" y="631082"/>
                </a:lnTo>
                <a:lnTo>
                  <a:pt x="338106" y="554882"/>
                </a:lnTo>
                <a:lnTo>
                  <a:pt x="300006" y="55488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ffectLst>
            <a:innerShdw dist="50800" dir="10800000">
              <a:schemeClr val="accent1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3" name="Free-form: Shape 42">
            <a:extLst>
              <a:ext uri="{FF2B5EF4-FFF2-40B4-BE49-F238E27FC236}">
                <a16:creationId xmlns:a16="http://schemas.microsoft.com/office/drawing/2014/main" id="{3E61068A-39CE-59D5-A743-DF6289535C1B}"/>
              </a:ext>
            </a:extLst>
          </p:cNvPr>
          <p:cNvSpPr/>
          <p:nvPr/>
        </p:nvSpPr>
        <p:spPr>
          <a:xfrm>
            <a:off x="1769205" y="4212041"/>
            <a:ext cx="265675" cy="428896"/>
          </a:xfrm>
          <a:custGeom>
            <a:avLst/>
            <a:gdLst>
              <a:gd name="csX0" fmla="*/ 300387 w 350251"/>
              <a:gd name="csY0" fmla="*/ 521640 h 631082"/>
              <a:gd name="csX1" fmla="*/ 319437 w 350251"/>
              <a:gd name="csY1" fmla="*/ 489731 h 631082"/>
              <a:gd name="csX2" fmla="*/ 319437 w 350251"/>
              <a:gd name="csY2" fmla="*/ 486588 h 631082"/>
              <a:gd name="csX3" fmla="*/ 290862 w 350251"/>
              <a:gd name="csY3" fmla="*/ 450965 h 631082"/>
              <a:gd name="csX4" fmla="*/ 290862 w 350251"/>
              <a:gd name="csY4" fmla="*/ 412007 h 631082"/>
              <a:gd name="csX5" fmla="*/ 305625 w 350251"/>
              <a:gd name="csY5" fmla="*/ 313328 h 631082"/>
              <a:gd name="csX6" fmla="*/ 219900 w 350251"/>
              <a:gd name="csY6" fmla="*/ 238843 h 631082"/>
              <a:gd name="csX7" fmla="*/ 200850 w 350251"/>
              <a:gd name="csY7" fmla="*/ 216554 h 631082"/>
              <a:gd name="csX8" fmla="*/ 231521 w 350251"/>
              <a:gd name="csY8" fmla="*/ 222746 h 631082"/>
              <a:gd name="csX9" fmla="*/ 267430 w 350251"/>
              <a:gd name="csY9" fmla="*/ 237319 h 631082"/>
              <a:gd name="csX10" fmla="*/ 314007 w 350251"/>
              <a:gd name="csY10" fmla="*/ 235985 h 631082"/>
              <a:gd name="csX11" fmla="*/ 348583 w 350251"/>
              <a:gd name="csY11" fmla="*/ 166643 h 631082"/>
              <a:gd name="csX12" fmla="*/ 275241 w 350251"/>
              <a:gd name="csY12" fmla="*/ 103493 h 631082"/>
              <a:gd name="csX13" fmla="*/ 272669 w 350251"/>
              <a:gd name="csY13" fmla="*/ 85490 h 631082"/>
              <a:gd name="csX14" fmla="*/ 212280 w 350251"/>
              <a:gd name="csY14" fmla="*/ 41485 h 631082"/>
              <a:gd name="csX15" fmla="*/ 208375 w 350251"/>
              <a:gd name="csY15" fmla="*/ 3385 h 631082"/>
              <a:gd name="csX16" fmla="*/ 30639 w 350251"/>
              <a:gd name="csY16" fmla="*/ 96920 h 631082"/>
              <a:gd name="csX17" fmla="*/ 27972 w 350251"/>
              <a:gd name="csY17" fmla="*/ 315995 h 631082"/>
              <a:gd name="csX18" fmla="*/ 61881 w 350251"/>
              <a:gd name="csY18" fmla="*/ 401720 h 631082"/>
              <a:gd name="csX19" fmla="*/ 61881 w 350251"/>
              <a:gd name="csY19" fmla="*/ 450965 h 631082"/>
              <a:gd name="csX20" fmla="*/ 33306 w 350251"/>
              <a:gd name="csY20" fmla="*/ 486588 h 631082"/>
              <a:gd name="csX21" fmla="*/ 33306 w 350251"/>
              <a:gd name="csY21" fmla="*/ 489731 h 631082"/>
              <a:gd name="csX22" fmla="*/ 52356 w 350251"/>
              <a:gd name="csY22" fmla="*/ 521640 h 631082"/>
              <a:gd name="csX23" fmla="*/ 52356 w 350251"/>
              <a:gd name="csY23" fmla="*/ 554882 h 631082"/>
              <a:gd name="csX24" fmla="*/ 14256 w 350251"/>
              <a:gd name="csY24" fmla="*/ 554882 h 631082"/>
              <a:gd name="csX25" fmla="*/ 14256 w 350251"/>
              <a:gd name="csY25" fmla="*/ 631082 h 631082"/>
              <a:gd name="csX26" fmla="*/ 338106 w 350251"/>
              <a:gd name="csY26" fmla="*/ 631082 h 631082"/>
              <a:gd name="csX27" fmla="*/ 338106 w 350251"/>
              <a:gd name="csY27" fmla="*/ 554882 h 631082"/>
              <a:gd name="csX28" fmla="*/ 300006 w 350251"/>
              <a:gd name="csY28" fmla="*/ 554882 h 63108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</a:cxnLst>
            <a:rect l="l" t="t" r="r" b="b"/>
            <a:pathLst>
              <a:path w="350251" h="631082">
                <a:moveTo>
                  <a:pt x="300387" y="521640"/>
                </a:moveTo>
                <a:cubicBezTo>
                  <a:pt x="312040" y="515232"/>
                  <a:pt x="319325" y="503030"/>
                  <a:pt x="319437" y="489731"/>
                </a:cubicBezTo>
                <a:lnTo>
                  <a:pt x="319437" y="486588"/>
                </a:lnTo>
                <a:cubicBezTo>
                  <a:pt x="319335" y="469520"/>
                  <a:pt x="307501" y="454767"/>
                  <a:pt x="290862" y="450965"/>
                </a:cubicBezTo>
                <a:lnTo>
                  <a:pt x="290862" y="412007"/>
                </a:lnTo>
                <a:cubicBezTo>
                  <a:pt x="315184" y="385078"/>
                  <a:pt x="321001" y="346196"/>
                  <a:pt x="305625" y="313328"/>
                </a:cubicBezTo>
                <a:cubicBezTo>
                  <a:pt x="294005" y="286849"/>
                  <a:pt x="239427" y="249606"/>
                  <a:pt x="219900" y="238843"/>
                </a:cubicBezTo>
                <a:cubicBezTo>
                  <a:pt x="211091" y="233929"/>
                  <a:pt x="204332" y="226022"/>
                  <a:pt x="200850" y="216554"/>
                </a:cubicBezTo>
                <a:cubicBezTo>
                  <a:pt x="209715" y="222914"/>
                  <a:pt x="220882" y="225169"/>
                  <a:pt x="231521" y="222746"/>
                </a:cubicBezTo>
                <a:cubicBezTo>
                  <a:pt x="248571" y="216554"/>
                  <a:pt x="263334" y="232271"/>
                  <a:pt x="267430" y="237319"/>
                </a:cubicBezTo>
                <a:cubicBezTo>
                  <a:pt x="278003" y="249035"/>
                  <a:pt x="296958" y="243224"/>
                  <a:pt x="314007" y="235985"/>
                </a:cubicBezTo>
                <a:cubicBezTo>
                  <a:pt x="340825" y="224316"/>
                  <a:pt x="355401" y="195084"/>
                  <a:pt x="348583" y="166643"/>
                </a:cubicBezTo>
                <a:cubicBezTo>
                  <a:pt x="348107" y="152070"/>
                  <a:pt x="275241" y="103493"/>
                  <a:pt x="275241" y="103493"/>
                </a:cubicBezTo>
                <a:lnTo>
                  <a:pt x="272669" y="85490"/>
                </a:lnTo>
                <a:cubicBezTo>
                  <a:pt x="272669" y="82347"/>
                  <a:pt x="261429" y="49867"/>
                  <a:pt x="212280" y="41485"/>
                </a:cubicBezTo>
                <a:cubicBezTo>
                  <a:pt x="212280" y="41485"/>
                  <a:pt x="221139" y="9671"/>
                  <a:pt x="208375" y="3385"/>
                </a:cubicBezTo>
                <a:cubicBezTo>
                  <a:pt x="181705" y="-8902"/>
                  <a:pt x="84550" y="10052"/>
                  <a:pt x="30639" y="96920"/>
                </a:cubicBezTo>
                <a:cubicBezTo>
                  <a:pt x="-9271" y="161214"/>
                  <a:pt x="-10224" y="239033"/>
                  <a:pt x="27972" y="315995"/>
                </a:cubicBezTo>
                <a:cubicBezTo>
                  <a:pt x="37497" y="335045"/>
                  <a:pt x="61881" y="373145"/>
                  <a:pt x="61881" y="401720"/>
                </a:cubicBezTo>
                <a:lnTo>
                  <a:pt x="61881" y="450965"/>
                </a:lnTo>
                <a:cubicBezTo>
                  <a:pt x="45241" y="454767"/>
                  <a:pt x="33408" y="469520"/>
                  <a:pt x="33306" y="486588"/>
                </a:cubicBezTo>
                <a:lnTo>
                  <a:pt x="33306" y="489731"/>
                </a:lnTo>
                <a:cubicBezTo>
                  <a:pt x="33417" y="503030"/>
                  <a:pt x="40702" y="515232"/>
                  <a:pt x="52356" y="521640"/>
                </a:cubicBezTo>
                <a:lnTo>
                  <a:pt x="52356" y="554882"/>
                </a:lnTo>
                <a:lnTo>
                  <a:pt x="14256" y="554882"/>
                </a:lnTo>
                <a:lnTo>
                  <a:pt x="14256" y="631082"/>
                </a:lnTo>
                <a:lnTo>
                  <a:pt x="338106" y="631082"/>
                </a:lnTo>
                <a:lnTo>
                  <a:pt x="338106" y="554882"/>
                </a:lnTo>
                <a:lnTo>
                  <a:pt x="300006" y="55488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ffectLst>
            <a:innerShdw dist="50800" dir="10800000">
              <a:schemeClr val="accent1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4" name="Free-form: Shape 43">
            <a:extLst>
              <a:ext uri="{FF2B5EF4-FFF2-40B4-BE49-F238E27FC236}">
                <a16:creationId xmlns:a16="http://schemas.microsoft.com/office/drawing/2014/main" id="{3AE73E8C-90E3-FFC1-A7CA-222542AE577E}"/>
              </a:ext>
            </a:extLst>
          </p:cNvPr>
          <p:cNvSpPr/>
          <p:nvPr/>
        </p:nvSpPr>
        <p:spPr>
          <a:xfrm>
            <a:off x="1769205" y="5512203"/>
            <a:ext cx="265675" cy="428896"/>
          </a:xfrm>
          <a:custGeom>
            <a:avLst/>
            <a:gdLst>
              <a:gd name="csX0" fmla="*/ 300387 w 350251"/>
              <a:gd name="csY0" fmla="*/ 521640 h 631082"/>
              <a:gd name="csX1" fmla="*/ 319437 w 350251"/>
              <a:gd name="csY1" fmla="*/ 489731 h 631082"/>
              <a:gd name="csX2" fmla="*/ 319437 w 350251"/>
              <a:gd name="csY2" fmla="*/ 486588 h 631082"/>
              <a:gd name="csX3" fmla="*/ 290862 w 350251"/>
              <a:gd name="csY3" fmla="*/ 450965 h 631082"/>
              <a:gd name="csX4" fmla="*/ 290862 w 350251"/>
              <a:gd name="csY4" fmla="*/ 412007 h 631082"/>
              <a:gd name="csX5" fmla="*/ 305625 w 350251"/>
              <a:gd name="csY5" fmla="*/ 313328 h 631082"/>
              <a:gd name="csX6" fmla="*/ 219900 w 350251"/>
              <a:gd name="csY6" fmla="*/ 238843 h 631082"/>
              <a:gd name="csX7" fmla="*/ 200850 w 350251"/>
              <a:gd name="csY7" fmla="*/ 216554 h 631082"/>
              <a:gd name="csX8" fmla="*/ 231521 w 350251"/>
              <a:gd name="csY8" fmla="*/ 222746 h 631082"/>
              <a:gd name="csX9" fmla="*/ 267430 w 350251"/>
              <a:gd name="csY9" fmla="*/ 237319 h 631082"/>
              <a:gd name="csX10" fmla="*/ 314007 w 350251"/>
              <a:gd name="csY10" fmla="*/ 235985 h 631082"/>
              <a:gd name="csX11" fmla="*/ 348583 w 350251"/>
              <a:gd name="csY11" fmla="*/ 166643 h 631082"/>
              <a:gd name="csX12" fmla="*/ 275241 w 350251"/>
              <a:gd name="csY12" fmla="*/ 103493 h 631082"/>
              <a:gd name="csX13" fmla="*/ 272669 w 350251"/>
              <a:gd name="csY13" fmla="*/ 85490 h 631082"/>
              <a:gd name="csX14" fmla="*/ 212280 w 350251"/>
              <a:gd name="csY14" fmla="*/ 41485 h 631082"/>
              <a:gd name="csX15" fmla="*/ 208375 w 350251"/>
              <a:gd name="csY15" fmla="*/ 3385 h 631082"/>
              <a:gd name="csX16" fmla="*/ 30639 w 350251"/>
              <a:gd name="csY16" fmla="*/ 96920 h 631082"/>
              <a:gd name="csX17" fmla="*/ 27972 w 350251"/>
              <a:gd name="csY17" fmla="*/ 315995 h 631082"/>
              <a:gd name="csX18" fmla="*/ 61881 w 350251"/>
              <a:gd name="csY18" fmla="*/ 401720 h 631082"/>
              <a:gd name="csX19" fmla="*/ 61881 w 350251"/>
              <a:gd name="csY19" fmla="*/ 450965 h 631082"/>
              <a:gd name="csX20" fmla="*/ 33306 w 350251"/>
              <a:gd name="csY20" fmla="*/ 486588 h 631082"/>
              <a:gd name="csX21" fmla="*/ 33306 w 350251"/>
              <a:gd name="csY21" fmla="*/ 489731 h 631082"/>
              <a:gd name="csX22" fmla="*/ 52356 w 350251"/>
              <a:gd name="csY22" fmla="*/ 521640 h 631082"/>
              <a:gd name="csX23" fmla="*/ 52356 w 350251"/>
              <a:gd name="csY23" fmla="*/ 554882 h 631082"/>
              <a:gd name="csX24" fmla="*/ 14256 w 350251"/>
              <a:gd name="csY24" fmla="*/ 554882 h 631082"/>
              <a:gd name="csX25" fmla="*/ 14256 w 350251"/>
              <a:gd name="csY25" fmla="*/ 631082 h 631082"/>
              <a:gd name="csX26" fmla="*/ 338106 w 350251"/>
              <a:gd name="csY26" fmla="*/ 631082 h 631082"/>
              <a:gd name="csX27" fmla="*/ 338106 w 350251"/>
              <a:gd name="csY27" fmla="*/ 554882 h 631082"/>
              <a:gd name="csX28" fmla="*/ 300006 w 350251"/>
              <a:gd name="csY28" fmla="*/ 554882 h 63108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</a:cxnLst>
            <a:rect l="l" t="t" r="r" b="b"/>
            <a:pathLst>
              <a:path w="350251" h="631082">
                <a:moveTo>
                  <a:pt x="300387" y="521640"/>
                </a:moveTo>
                <a:cubicBezTo>
                  <a:pt x="312040" y="515232"/>
                  <a:pt x="319325" y="503030"/>
                  <a:pt x="319437" y="489731"/>
                </a:cubicBezTo>
                <a:lnTo>
                  <a:pt x="319437" y="486588"/>
                </a:lnTo>
                <a:cubicBezTo>
                  <a:pt x="319335" y="469520"/>
                  <a:pt x="307501" y="454767"/>
                  <a:pt x="290862" y="450965"/>
                </a:cubicBezTo>
                <a:lnTo>
                  <a:pt x="290862" y="412007"/>
                </a:lnTo>
                <a:cubicBezTo>
                  <a:pt x="315184" y="385078"/>
                  <a:pt x="321001" y="346196"/>
                  <a:pt x="305625" y="313328"/>
                </a:cubicBezTo>
                <a:cubicBezTo>
                  <a:pt x="294005" y="286849"/>
                  <a:pt x="239427" y="249606"/>
                  <a:pt x="219900" y="238843"/>
                </a:cubicBezTo>
                <a:cubicBezTo>
                  <a:pt x="211091" y="233929"/>
                  <a:pt x="204332" y="226022"/>
                  <a:pt x="200850" y="216554"/>
                </a:cubicBezTo>
                <a:cubicBezTo>
                  <a:pt x="209715" y="222914"/>
                  <a:pt x="220882" y="225169"/>
                  <a:pt x="231521" y="222746"/>
                </a:cubicBezTo>
                <a:cubicBezTo>
                  <a:pt x="248571" y="216554"/>
                  <a:pt x="263334" y="232271"/>
                  <a:pt x="267430" y="237319"/>
                </a:cubicBezTo>
                <a:cubicBezTo>
                  <a:pt x="278003" y="249035"/>
                  <a:pt x="296958" y="243224"/>
                  <a:pt x="314007" y="235985"/>
                </a:cubicBezTo>
                <a:cubicBezTo>
                  <a:pt x="340825" y="224316"/>
                  <a:pt x="355401" y="195084"/>
                  <a:pt x="348583" y="166643"/>
                </a:cubicBezTo>
                <a:cubicBezTo>
                  <a:pt x="348107" y="152070"/>
                  <a:pt x="275241" y="103493"/>
                  <a:pt x="275241" y="103493"/>
                </a:cubicBezTo>
                <a:lnTo>
                  <a:pt x="272669" y="85490"/>
                </a:lnTo>
                <a:cubicBezTo>
                  <a:pt x="272669" y="82347"/>
                  <a:pt x="261429" y="49867"/>
                  <a:pt x="212280" y="41485"/>
                </a:cubicBezTo>
                <a:cubicBezTo>
                  <a:pt x="212280" y="41485"/>
                  <a:pt x="221139" y="9671"/>
                  <a:pt x="208375" y="3385"/>
                </a:cubicBezTo>
                <a:cubicBezTo>
                  <a:pt x="181705" y="-8902"/>
                  <a:pt x="84550" y="10052"/>
                  <a:pt x="30639" y="96920"/>
                </a:cubicBezTo>
                <a:cubicBezTo>
                  <a:pt x="-9271" y="161214"/>
                  <a:pt x="-10224" y="239033"/>
                  <a:pt x="27972" y="315995"/>
                </a:cubicBezTo>
                <a:cubicBezTo>
                  <a:pt x="37497" y="335045"/>
                  <a:pt x="61881" y="373145"/>
                  <a:pt x="61881" y="401720"/>
                </a:cubicBezTo>
                <a:lnTo>
                  <a:pt x="61881" y="450965"/>
                </a:lnTo>
                <a:cubicBezTo>
                  <a:pt x="45241" y="454767"/>
                  <a:pt x="33408" y="469520"/>
                  <a:pt x="33306" y="486588"/>
                </a:cubicBezTo>
                <a:lnTo>
                  <a:pt x="33306" y="489731"/>
                </a:lnTo>
                <a:cubicBezTo>
                  <a:pt x="33417" y="503030"/>
                  <a:pt x="40702" y="515232"/>
                  <a:pt x="52356" y="521640"/>
                </a:cubicBezTo>
                <a:lnTo>
                  <a:pt x="52356" y="554882"/>
                </a:lnTo>
                <a:lnTo>
                  <a:pt x="14256" y="554882"/>
                </a:lnTo>
                <a:lnTo>
                  <a:pt x="14256" y="631082"/>
                </a:lnTo>
                <a:lnTo>
                  <a:pt x="338106" y="631082"/>
                </a:lnTo>
                <a:lnTo>
                  <a:pt x="338106" y="554882"/>
                </a:lnTo>
                <a:lnTo>
                  <a:pt x="300006" y="55488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ffectLst>
            <a:innerShdw dist="50800" dir="10800000">
              <a:schemeClr val="accent1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" name="Slide Number Placeholder 2">
            <a:extLst>
              <a:ext uri="{FF2B5EF4-FFF2-40B4-BE49-F238E27FC236}">
                <a16:creationId xmlns:a16="http://schemas.microsoft.com/office/drawing/2014/main" id="{24FF48F7-E978-0888-7A68-73CE00F11E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651" y="6356350"/>
            <a:ext cx="383694" cy="365125"/>
          </a:xfrm>
        </p:spPr>
        <p:txBody>
          <a:bodyPr vert="horz" lIns="0" tIns="0" rIns="0" bIns="0"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01CC8E-1CEF-6746-999E-CF29FF00B1DC}" type="slidenum"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82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4172603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0515C28-959F-62A7-DE41-2E80DD2D6EE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EBF3E0AC-7564-BB45-87A6-8EE54170B3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GB" sz="4800" b="1" i="0" u="none" strike="noStrike" kern="1200" cap="none" spc="0" normalizeH="0" baseline="0" noProof="0" dirty="0">
                <a:ln>
                  <a:noFill/>
                </a:ln>
                <a:solidFill>
                  <a:srgbClr val="EB9200"/>
                </a:solidFill>
                <a:effectLst/>
                <a:uLnTx/>
                <a:uFillTx/>
                <a:latin typeface="Aptos" panose="020B0004020202020204" pitchFamily="34" charset="0"/>
                <a:ea typeface="+mj-ea"/>
                <a:cs typeface="+mj-cs"/>
              </a:rPr>
              <a:t>Current options under scrutiny: What still limits outcomes? </a:t>
            </a:r>
            <a:br>
              <a:rPr kumimoji="0" lang="en-GB" sz="4800" b="1" i="0" u="none" strike="noStrike" kern="1200" cap="none" spc="0" normalizeH="0" baseline="0" noProof="0" dirty="0">
                <a:ln>
                  <a:noFill/>
                </a:ln>
                <a:solidFill>
                  <a:srgbClr val="EB9200"/>
                </a:solidFill>
                <a:effectLst/>
                <a:uLnTx/>
                <a:uFillTx/>
                <a:latin typeface="Aptos" panose="020B0004020202020204" pitchFamily="34" charset="0"/>
                <a:ea typeface="+mj-ea"/>
                <a:cs typeface="+mj-cs"/>
              </a:rPr>
            </a:br>
            <a:br>
              <a:rPr kumimoji="0" lang="en-GB" sz="4800" b="1" i="0" u="none" strike="noStrike" kern="1200" cap="none" spc="0" normalizeH="0" baseline="0" noProof="0" dirty="0">
                <a:ln>
                  <a:noFill/>
                </a:ln>
                <a:solidFill>
                  <a:srgbClr val="EB9200"/>
                </a:solidFill>
                <a:effectLst/>
                <a:uLnTx/>
                <a:uFillTx/>
                <a:latin typeface="Aptos" panose="020B0004020202020204" pitchFamily="34" charset="0"/>
                <a:ea typeface="+mj-ea"/>
                <a:cs typeface="+mj-cs"/>
              </a:rPr>
            </a:br>
            <a:r>
              <a:rPr kumimoji="0" lang="en-GB" sz="4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0B0004020202020204" pitchFamily="34" charset="0"/>
                <a:ea typeface="+mj-ea"/>
                <a:cs typeface="+mj-cs"/>
              </a:rPr>
              <a:t>Professor Andrew Davies</a:t>
            </a:r>
            <a:br>
              <a:rPr kumimoji="0" lang="en-GB" sz="4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0B0004020202020204" pitchFamily="34" charset="0"/>
                <a:ea typeface="+mj-ea"/>
                <a:cs typeface="+mj-cs"/>
              </a:rPr>
            </a:br>
            <a:r>
              <a:rPr kumimoji="0" lang="en-GB" sz="2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0B0004020202020204" pitchFamily="34" charset="0"/>
                <a:ea typeface="+mj-ea"/>
                <a:cs typeface="+mj-cs"/>
              </a:rPr>
              <a:t>University of Southampton, </a:t>
            </a:r>
            <a:br>
              <a:rPr kumimoji="0" lang="en-GB" sz="2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0B0004020202020204" pitchFamily="34" charset="0"/>
                <a:ea typeface="+mj-ea"/>
                <a:cs typeface="+mj-cs"/>
              </a:rPr>
            </a:br>
            <a:r>
              <a:rPr kumimoji="0" lang="en-GB" sz="2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0B0004020202020204" pitchFamily="34" charset="0"/>
                <a:ea typeface="+mj-ea"/>
                <a:cs typeface="+mj-cs"/>
              </a:rPr>
              <a:t>Southampton, United Kingdom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4119133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AAA2D7C6-85D4-E9F6-25DD-47DA23DB55A1}"/>
              </a:ext>
            </a:extLst>
          </p:cNvPr>
          <p:cNvSpPr txBox="1"/>
          <p:nvPr/>
        </p:nvSpPr>
        <p:spPr>
          <a:xfrm>
            <a:off x="6521701" y="3210688"/>
            <a:ext cx="2237983" cy="1692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o intention to proceed to ASCT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93116CDF-AFEA-9E29-DB25-73568221FEDF}"/>
              </a:ext>
            </a:extLst>
          </p:cNvPr>
          <p:cNvSpPr txBox="1"/>
          <p:nvPr/>
        </p:nvSpPr>
        <p:spPr>
          <a:xfrm>
            <a:off x="8701116" y="3210688"/>
            <a:ext cx="1124590" cy="1692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SCT eligibl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265F77A-4AC0-C314-CB1A-2115D7EB17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0647" y="311858"/>
            <a:ext cx="10335005" cy="632402"/>
          </a:xfrm>
        </p:spPr>
        <p:txBody>
          <a:bodyPr/>
          <a:lstStyle/>
          <a:p>
            <a:r>
              <a:rPr lang="en-GB" dirty="0"/>
              <a:t>Guidelines recommend CAR-T for eligible patients refractory to 1L therapy, or who relapse within 12 months</a:t>
            </a:r>
            <a:r>
              <a:rPr lang="en-GB" baseline="30000" dirty="0"/>
              <a:t>1</a:t>
            </a:r>
            <a:endParaRPr lang="en-GB" spc="-30" baseline="3000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351699A-FF66-1888-42CB-BF00748BB13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GB" dirty="0"/>
              <a:t>*CAR-T cell therapy may not be appropriate in patients with PS&gt;2 or who have a large tumour volume and/or rapidly increasing LDH level. †2L immunochemotherapy before HDT/ASCT, in case of CMR, go to HDT/ASCT [IA]. 1L, first line; 2L, second line; 3L+, third line and beyond; ASCT, autologous stem cell transplantation; </a:t>
            </a:r>
            <a:r>
              <a:rPr lang="en-GB" dirty="0" err="1"/>
              <a:t>axi</a:t>
            </a:r>
            <a:r>
              <a:rPr lang="en-GB" dirty="0"/>
              <a:t>-cel, </a:t>
            </a:r>
            <a:r>
              <a:rPr lang="en-GB" dirty="0" err="1"/>
              <a:t>axicabtagene</a:t>
            </a:r>
            <a:r>
              <a:rPr lang="en-GB" dirty="0"/>
              <a:t> </a:t>
            </a:r>
            <a:r>
              <a:rPr lang="en-GB" dirty="0" err="1"/>
              <a:t>ciloleucel</a:t>
            </a:r>
            <a:r>
              <a:rPr lang="en-GB" dirty="0"/>
              <a:t>; CAR-T, chimeric antigen receptor T-cell therapy; </a:t>
            </a:r>
            <a:endParaRPr lang="en-CH" dirty="0"/>
          </a:p>
          <a:p>
            <a:r>
              <a:rPr lang="en-GB" dirty="0"/>
              <a:t>C(M)R, complete (metabolic) response; Epcor, </a:t>
            </a:r>
            <a:r>
              <a:rPr lang="en-GB" dirty="0" err="1"/>
              <a:t>epcoritamab</a:t>
            </a:r>
            <a:r>
              <a:rPr lang="en-GB" dirty="0"/>
              <a:t>; </a:t>
            </a:r>
            <a:r>
              <a:rPr lang="en-GB" dirty="0" err="1"/>
              <a:t>GemOx</a:t>
            </a:r>
            <a:r>
              <a:rPr lang="en-GB" dirty="0"/>
              <a:t>, gemcitabine and oxaliplatin; </a:t>
            </a:r>
            <a:r>
              <a:rPr lang="en-GB" dirty="0" err="1"/>
              <a:t>Glofit</a:t>
            </a:r>
            <a:r>
              <a:rPr lang="en-GB" dirty="0"/>
              <a:t>, </a:t>
            </a:r>
            <a:r>
              <a:rPr lang="en-GB" dirty="0" err="1"/>
              <a:t>glofitamab</a:t>
            </a:r>
            <a:r>
              <a:rPr lang="en-GB" dirty="0"/>
              <a:t>; HDT, high-dose therapy; LBCL, large B-cell lymphoma; LDH, lactate dehydrogenase; </a:t>
            </a:r>
            <a:endParaRPr lang="en-CH" dirty="0"/>
          </a:p>
          <a:p>
            <a:r>
              <a:rPr lang="en-GB" dirty="0" err="1"/>
              <a:t>len</a:t>
            </a:r>
            <a:r>
              <a:rPr lang="en-GB" dirty="0"/>
              <a:t>, lenalidomide; </a:t>
            </a:r>
            <a:r>
              <a:rPr lang="en-GB" dirty="0" err="1"/>
              <a:t>liso</a:t>
            </a:r>
            <a:r>
              <a:rPr lang="en-GB" dirty="0"/>
              <a:t>-cel, </a:t>
            </a:r>
            <a:r>
              <a:rPr lang="en-GB" dirty="0" err="1"/>
              <a:t>lisocabtagene</a:t>
            </a:r>
            <a:r>
              <a:rPr lang="en-GB" dirty="0"/>
              <a:t> </a:t>
            </a:r>
            <a:r>
              <a:rPr lang="en-GB" dirty="0" err="1"/>
              <a:t>maraleucel</a:t>
            </a:r>
            <a:r>
              <a:rPr lang="en-GB" dirty="0"/>
              <a:t>; Pola-BR, </a:t>
            </a:r>
            <a:r>
              <a:rPr lang="en-GB" dirty="0" err="1"/>
              <a:t>polatuzumab</a:t>
            </a:r>
            <a:r>
              <a:rPr lang="en-GB" dirty="0"/>
              <a:t> vedotin, </a:t>
            </a:r>
            <a:r>
              <a:rPr lang="en-GB" dirty="0" err="1"/>
              <a:t>bendamustine</a:t>
            </a:r>
            <a:r>
              <a:rPr lang="en-GB" dirty="0"/>
              <a:t> and rituximab; Pola-R-CHP, </a:t>
            </a:r>
            <a:r>
              <a:rPr lang="en-GB" dirty="0" err="1"/>
              <a:t>polatuzumab</a:t>
            </a:r>
            <a:r>
              <a:rPr lang="en-GB" dirty="0"/>
              <a:t> vedotin, rituximab, cyclophosphamide, doxorubicin, prednisone; PR, partial response; PS, performance status; R-CHOP, rituximab, cyclophosphamide, doxorubicin, vincristine, prednisone; Tafa, </a:t>
            </a:r>
            <a:r>
              <a:rPr lang="en-GB" dirty="0" err="1"/>
              <a:t>tafasitamab</a:t>
            </a:r>
            <a:r>
              <a:rPr lang="en-GB" dirty="0"/>
              <a:t>. </a:t>
            </a:r>
            <a:r>
              <a:rPr lang="en-GB" b="1" dirty="0"/>
              <a:t>1. </a:t>
            </a:r>
            <a:r>
              <a:rPr lang="en-GB" dirty="0" err="1"/>
              <a:t>Thieblemont</a:t>
            </a:r>
            <a:r>
              <a:rPr lang="en-GB" dirty="0"/>
              <a:t> et al. </a:t>
            </a:r>
            <a:r>
              <a:rPr lang="en-GB" i="1" dirty="0" err="1"/>
              <a:t>Hemasphere</a:t>
            </a:r>
            <a:r>
              <a:rPr lang="en-GB" dirty="0"/>
              <a:t> 2025.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4CAB7421-8237-ABF2-5F65-8E01948089BE}"/>
              </a:ext>
            </a:extLst>
          </p:cNvPr>
          <p:cNvSpPr/>
          <p:nvPr/>
        </p:nvSpPr>
        <p:spPr>
          <a:xfrm>
            <a:off x="3104147" y="3654931"/>
            <a:ext cx="5564068" cy="918469"/>
          </a:xfrm>
          <a:prstGeom prst="roundRect">
            <a:avLst>
              <a:gd name="adj" fmla="val 8884"/>
            </a:avLst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72000" rtlCol="0" anchor="ctr"/>
          <a:lstStyle/>
          <a:p>
            <a:pPr marL="144000" marR="0" lvl="0" indent="-144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8EF45253-13E3-39BD-3CC5-643A1B014ABA}"/>
              </a:ext>
            </a:extLst>
          </p:cNvPr>
          <p:cNvSpPr/>
          <p:nvPr/>
        </p:nvSpPr>
        <p:spPr>
          <a:xfrm>
            <a:off x="573741" y="2665052"/>
            <a:ext cx="10924759" cy="1980000"/>
          </a:xfrm>
          <a:prstGeom prst="roundRect">
            <a:avLst>
              <a:gd name="adj" fmla="val 2875"/>
            </a:avLst>
          </a:prstGeom>
          <a:noFill/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FE112309-6A09-2631-0F1B-4DF1AF35BBFD}"/>
              </a:ext>
            </a:extLst>
          </p:cNvPr>
          <p:cNvSpPr/>
          <p:nvPr/>
        </p:nvSpPr>
        <p:spPr>
          <a:xfrm>
            <a:off x="7437099" y="2856113"/>
            <a:ext cx="2353433" cy="283039"/>
          </a:xfrm>
          <a:prstGeom prst="roundRect">
            <a:avLst>
              <a:gd name="adj" fmla="val 16664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elapse after 12 months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EF270148-6C8D-5BE1-661F-F954A3714494}"/>
              </a:ext>
            </a:extLst>
          </p:cNvPr>
          <p:cNvSpPr/>
          <p:nvPr/>
        </p:nvSpPr>
        <p:spPr>
          <a:xfrm>
            <a:off x="3101223" y="3701287"/>
            <a:ext cx="3359050" cy="1023219"/>
          </a:xfrm>
          <a:prstGeom prst="roundRect">
            <a:avLst>
              <a:gd name="adj" fmla="val 3218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72000" rtlCol="0" anchor="t"/>
          <a:lstStyle/>
          <a:p>
            <a:pPr marL="144000" marR="0" lvl="0" indent="-144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Glofit-GemOx [IA]</a:t>
            </a:r>
          </a:p>
          <a:p>
            <a:pPr marL="144000" marR="0" lvl="0" indent="-144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ituximab-chemotherapy [IB]</a:t>
            </a:r>
          </a:p>
          <a:p>
            <a:pPr marL="144000" marR="0" lvl="0" indent="-144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ola-BR [IIIB]</a:t>
            </a:r>
          </a:p>
          <a:p>
            <a:pPr marL="144000" marR="0" lvl="0" indent="-144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afa-len [IIIC] in non-refractory patients</a:t>
            </a: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FE8BE8C7-CFC0-3C75-4705-D93523966BA6}"/>
              </a:ext>
            </a:extLst>
          </p:cNvPr>
          <p:cNvSpPr/>
          <p:nvPr/>
        </p:nvSpPr>
        <p:spPr>
          <a:xfrm>
            <a:off x="8834818" y="3647498"/>
            <a:ext cx="2414011" cy="925902"/>
          </a:xfrm>
          <a:prstGeom prst="roundRect">
            <a:avLst>
              <a:gd name="adj" fmla="val 8605"/>
            </a:avLst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Immunochemotherapy</a:t>
            </a:r>
            <a:r>
              <a:rPr kumimoji="0" lang="en-GB" sz="1400" b="0" i="0" u="none" strike="noStrike" kern="1200" cap="none" spc="0" normalizeH="0" baseline="3000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† </a:t>
            </a: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followed by HDT/ASCT if CR/PR [IA]</a:t>
            </a:r>
          </a:p>
        </p:txBody>
      </p:sp>
      <p:cxnSp>
        <p:nvCxnSpPr>
          <p:cNvPr id="17" name="Connector: Elbow 16">
            <a:extLst>
              <a:ext uri="{FF2B5EF4-FFF2-40B4-BE49-F238E27FC236}">
                <a16:creationId xmlns:a16="http://schemas.microsoft.com/office/drawing/2014/main" id="{FC22A87F-C14B-275F-BDE5-533E1AF184D2}"/>
              </a:ext>
            </a:extLst>
          </p:cNvPr>
          <p:cNvCxnSpPr>
            <a:cxnSpLocks/>
            <a:stCxn id="10" idx="2"/>
            <a:endCxn id="8" idx="0"/>
          </p:cNvCxnSpPr>
          <p:nvPr/>
        </p:nvCxnSpPr>
        <p:spPr>
          <a:xfrm rot="16200000" flipH="1">
            <a:off x="4235103" y="2003852"/>
            <a:ext cx="515779" cy="2786377"/>
          </a:xfrm>
          <a:prstGeom prst="bentConnector3">
            <a:avLst>
              <a:gd name="adj1" fmla="val 50000"/>
            </a:avLst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nector: Elbow 17">
            <a:extLst>
              <a:ext uri="{FF2B5EF4-FFF2-40B4-BE49-F238E27FC236}">
                <a16:creationId xmlns:a16="http://schemas.microsoft.com/office/drawing/2014/main" id="{378761AC-97E6-D148-2DAC-93FEF58F7BE7}"/>
              </a:ext>
            </a:extLst>
          </p:cNvPr>
          <p:cNvCxnSpPr>
            <a:cxnSpLocks/>
            <a:stCxn id="11" idx="2"/>
            <a:endCxn id="8" idx="0"/>
          </p:cNvCxnSpPr>
          <p:nvPr/>
        </p:nvCxnSpPr>
        <p:spPr>
          <a:xfrm rot="5400000">
            <a:off x="6992110" y="2033224"/>
            <a:ext cx="515779" cy="2727635"/>
          </a:xfrm>
          <a:prstGeom prst="bentConnector3">
            <a:avLst>
              <a:gd name="adj1" fmla="val 50000"/>
            </a:avLst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nector: Elbow 18">
            <a:extLst>
              <a:ext uri="{FF2B5EF4-FFF2-40B4-BE49-F238E27FC236}">
                <a16:creationId xmlns:a16="http://schemas.microsoft.com/office/drawing/2014/main" id="{3B8E1BBE-E3D1-8CCF-0B6F-B9F7C75B8F83}"/>
              </a:ext>
            </a:extLst>
          </p:cNvPr>
          <p:cNvCxnSpPr>
            <a:cxnSpLocks/>
            <a:stCxn id="11" idx="2"/>
            <a:endCxn id="15" idx="0"/>
          </p:cNvCxnSpPr>
          <p:nvPr/>
        </p:nvCxnSpPr>
        <p:spPr>
          <a:xfrm rot="16200000" flipH="1">
            <a:off x="9073647" y="2679321"/>
            <a:ext cx="508346" cy="1428008"/>
          </a:xfrm>
          <a:prstGeom prst="bentConnector3">
            <a:avLst>
              <a:gd name="adj1" fmla="val 50468"/>
            </a:avLst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A1CB2F1D-6CA7-6564-578C-71FB921B9984}"/>
              </a:ext>
            </a:extLst>
          </p:cNvPr>
          <p:cNvSpPr txBox="1"/>
          <p:nvPr/>
        </p:nvSpPr>
        <p:spPr>
          <a:xfrm>
            <a:off x="3171953" y="3210688"/>
            <a:ext cx="2007079" cy="1692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o intention to proceed to CAR-T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A66ED862-0701-43A8-B978-5F919791A365}"/>
              </a:ext>
            </a:extLst>
          </p:cNvPr>
          <p:cNvSpPr txBox="1"/>
          <p:nvPr/>
        </p:nvSpPr>
        <p:spPr>
          <a:xfrm>
            <a:off x="720762" y="1728443"/>
            <a:ext cx="349644" cy="2769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L</a:t>
            </a: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310FF937-C9BA-6474-0160-26829FBBF7A9}"/>
              </a:ext>
            </a:extLst>
          </p:cNvPr>
          <p:cNvSpPr/>
          <p:nvPr/>
        </p:nvSpPr>
        <p:spPr>
          <a:xfrm>
            <a:off x="1185839" y="1728443"/>
            <a:ext cx="1819765" cy="684315"/>
          </a:xfrm>
          <a:prstGeom prst="roundRect">
            <a:avLst>
              <a:gd name="adj" fmla="val 7584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0 risk factors</a:t>
            </a:r>
          </a:p>
          <a:p>
            <a:pPr marL="0" marR="0" lvl="0" indent="0" algn="ctr" defTabSz="914400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tage I/II, &lt;80 years</a:t>
            </a:r>
          </a:p>
          <a:p>
            <a:pPr marL="0" marR="0" lvl="0" indent="0" algn="ctr" defTabSz="914400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-CHOP [IA]</a:t>
            </a: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C61E3ED9-BB2A-F86C-A51D-718A94248EE2}"/>
              </a:ext>
            </a:extLst>
          </p:cNvPr>
          <p:cNvSpPr/>
          <p:nvPr/>
        </p:nvSpPr>
        <p:spPr>
          <a:xfrm>
            <a:off x="573764" y="1534638"/>
            <a:ext cx="10924759" cy="937056"/>
          </a:xfrm>
          <a:prstGeom prst="roundRect">
            <a:avLst>
              <a:gd name="adj" fmla="val 6385"/>
            </a:avLst>
          </a:prstGeom>
          <a:noFill/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0D79A924-3B2D-27B4-7229-374CF169DFBD}"/>
              </a:ext>
            </a:extLst>
          </p:cNvPr>
          <p:cNvSpPr/>
          <p:nvPr/>
        </p:nvSpPr>
        <p:spPr>
          <a:xfrm>
            <a:off x="3242596" y="1728443"/>
            <a:ext cx="3363172" cy="684315"/>
          </a:xfrm>
          <a:prstGeom prst="roundRect">
            <a:avLst>
              <a:gd name="adj" fmla="val 7584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36000" rIns="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 risk factor</a:t>
            </a:r>
          </a:p>
          <a:p>
            <a:pPr marL="0" marR="0" lvl="0" indent="0" algn="ctr" defTabSz="914400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tage III/IV or Stage I/II with high LDH or poor PS, &lt;80 years</a:t>
            </a:r>
          </a:p>
          <a:p>
            <a:pPr marL="0" marR="0" lvl="0" indent="0" algn="ctr" defTabSz="914400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-CHOP [IA]</a:t>
            </a: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B7649BFA-7678-5AFE-0774-FD733C947B91}"/>
              </a:ext>
            </a:extLst>
          </p:cNvPr>
          <p:cNvSpPr/>
          <p:nvPr/>
        </p:nvSpPr>
        <p:spPr>
          <a:xfrm>
            <a:off x="6842761" y="1728443"/>
            <a:ext cx="4407042" cy="684315"/>
          </a:xfrm>
          <a:prstGeom prst="roundRect">
            <a:avLst>
              <a:gd name="adj" fmla="val 7584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36000" rIns="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≥2 risk factors</a:t>
            </a:r>
          </a:p>
          <a:p>
            <a:pPr marL="0" marR="0" lvl="0" indent="0" algn="ctr" defTabSz="914400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tage III/IV and high LDH and/or poor PS and/or ≥2 extranodal sites, &lt;80 years</a:t>
            </a:r>
          </a:p>
          <a:p>
            <a:pPr marL="0" marR="0" lvl="0" indent="0" algn="ctr" defTabSz="914400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ola-R-CHP [IB]</a:t>
            </a:r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F1A3DF36-CB88-7FFA-A29B-C0FCD751D83E}"/>
              </a:ext>
            </a:extLst>
          </p:cNvPr>
          <p:cNvSpPr/>
          <p:nvPr/>
        </p:nvSpPr>
        <p:spPr>
          <a:xfrm>
            <a:off x="6587606" y="3647497"/>
            <a:ext cx="1971461" cy="1023219"/>
          </a:xfrm>
          <a:prstGeom prst="roundRect">
            <a:avLst>
              <a:gd name="adj" fmla="val 3218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72000" rtlCol="0" anchor="t"/>
          <a:lstStyle/>
          <a:p>
            <a:pPr marL="144000" marR="0" lvl="0" indent="-144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Epcor-GemOx [IIIC] when available</a:t>
            </a:r>
          </a:p>
          <a:p>
            <a:pPr marL="144000" marR="0" lvl="0" indent="-144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linical trial</a:t>
            </a:r>
          </a:p>
          <a:p>
            <a:pPr marL="144000" marR="0" lvl="0" indent="-144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Best supportive care</a:t>
            </a: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EDA438E5-B500-C5D2-7307-F5F861720920}"/>
              </a:ext>
            </a:extLst>
          </p:cNvPr>
          <p:cNvSpPr/>
          <p:nvPr/>
        </p:nvSpPr>
        <p:spPr>
          <a:xfrm>
            <a:off x="4252027" y="2557453"/>
            <a:ext cx="4010025" cy="224241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r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Biopsy and CD19 testing recommended</a:t>
            </a:r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E4D2CBCD-CE81-D384-DD89-FFCD4FEE292B}"/>
              </a:ext>
            </a:extLst>
          </p:cNvPr>
          <p:cNvSpPr/>
          <p:nvPr/>
        </p:nvSpPr>
        <p:spPr>
          <a:xfrm>
            <a:off x="4252027" y="1418443"/>
            <a:ext cx="4010025" cy="224241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r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D20 assessment recommended</a:t>
            </a:r>
          </a:p>
        </p:txBody>
      </p:sp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CFEB8294-C632-E2D8-FCD8-CC2C0967636E}"/>
              </a:ext>
            </a:extLst>
          </p:cNvPr>
          <p:cNvSpPr/>
          <p:nvPr/>
        </p:nvSpPr>
        <p:spPr>
          <a:xfrm>
            <a:off x="573741" y="4896987"/>
            <a:ext cx="10924759" cy="837784"/>
          </a:xfrm>
          <a:prstGeom prst="roundRect">
            <a:avLst>
              <a:gd name="adj" fmla="val 6795"/>
            </a:avLst>
          </a:prstGeom>
          <a:noFill/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82B31033-87B2-CB29-3FA0-56DF3A1F8905}"/>
              </a:ext>
            </a:extLst>
          </p:cNvPr>
          <p:cNvSpPr txBox="1"/>
          <p:nvPr/>
        </p:nvSpPr>
        <p:spPr>
          <a:xfrm>
            <a:off x="720762" y="5113363"/>
            <a:ext cx="487095" cy="2769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3L+</a:t>
            </a:r>
          </a:p>
        </p:txBody>
      </p: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743E8121-34D2-F060-E4EC-BD03A6B343FF}"/>
              </a:ext>
            </a:extLst>
          </p:cNvPr>
          <p:cNvSpPr/>
          <p:nvPr/>
        </p:nvSpPr>
        <p:spPr>
          <a:xfrm>
            <a:off x="1185838" y="5113363"/>
            <a:ext cx="4746611" cy="534826"/>
          </a:xfrm>
          <a:prstGeom prst="roundRect">
            <a:avLst>
              <a:gd name="adj" fmla="val 10195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CAR-T* [III, A], bispecific antibodies [III, C], loncastuximab tesirine [III, C], Tafa-len [III, C], Pola-BR [III, B]</a:t>
            </a:r>
          </a:p>
        </p:txBody>
      </p:sp>
      <p:sp>
        <p:nvSpPr>
          <p:cNvPr id="55" name="Rectangle: Rounded Corners 54">
            <a:extLst>
              <a:ext uri="{FF2B5EF4-FFF2-40B4-BE49-F238E27FC236}">
                <a16:creationId xmlns:a16="http://schemas.microsoft.com/office/drawing/2014/main" id="{C421D90D-5A8A-3C6C-B524-031739ECDE3A}"/>
              </a:ext>
            </a:extLst>
          </p:cNvPr>
          <p:cNvSpPr/>
          <p:nvPr/>
        </p:nvSpPr>
        <p:spPr>
          <a:xfrm>
            <a:off x="6072469" y="5113363"/>
            <a:ext cx="2595745" cy="534826"/>
          </a:xfrm>
          <a:prstGeom prst="roundRect">
            <a:avLst>
              <a:gd name="adj" fmla="val 10195"/>
            </a:avLst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ts val="13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In limited stage: I</a:t>
            </a:r>
            <a:r>
              <a:rPr kumimoji="0" lang="en-CH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volved</a:t>
            </a:r>
            <a:r>
              <a:rPr kumimoji="0" lang="en-CH" sz="14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site </a:t>
            </a:r>
            <a:r>
              <a:rPr kumimoji="0" lang="en-CH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atiotherapy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7" name="Rectangle: Rounded Corners 56">
            <a:extLst>
              <a:ext uri="{FF2B5EF4-FFF2-40B4-BE49-F238E27FC236}">
                <a16:creationId xmlns:a16="http://schemas.microsoft.com/office/drawing/2014/main" id="{2BD5F32B-3073-D4FA-8285-571D86FE9E81}"/>
              </a:ext>
            </a:extLst>
          </p:cNvPr>
          <p:cNvSpPr/>
          <p:nvPr/>
        </p:nvSpPr>
        <p:spPr>
          <a:xfrm>
            <a:off x="8834818" y="5113363"/>
            <a:ext cx="2414012" cy="534826"/>
          </a:xfrm>
          <a:prstGeom prst="roundRect">
            <a:avLst>
              <a:gd name="adj" fmla="val 14365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ts val="13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linical trials</a:t>
            </a:r>
            <a:b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Best supportive care</a:t>
            </a:r>
          </a:p>
        </p:txBody>
      </p:sp>
      <p:sp>
        <p:nvSpPr>
          <p:cNvPr id="58" name="Rectangle: Rounded Corners 57">
            <a:extLst>
              <a:ext uri="{FF2B5EF4-FFF2-40B4-BE49-F238E27FC236}">
                <a16:creationId xmlns:a16="http://schemas.microsoft.com/office/drawing/2014/main" id="{2FF524D1-6E57-F4A4-B47A-32D46198E5E7}"/>
              </a:ext>
            </a:extLst>
          </p:cNvPr>
          <p:cNvSpPr/>
          <p:nvPr/>
        </p:nvSpPr>
        <p:spPr>
          <a:xfrm>
            <a:off x="4252027" y="4782326"/>
            <a:ext cx="4010025" cy="242932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r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Biopsy strongly recommended before 3L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D5BAEEA9-148F-8A25-90D8-34D9BE538073}"/>
              </a:ext>
            </a:extLst>
          </p:cNvPr>
          <p:cNvSpPr/>
          <p:nvPr/>
        </p:nvSpPr>
        <p:spPr>
          <a:xfrm>
            <a:off x="470646" y="1326778"/>
            <a:ext cx="11125668" cy="4469898"/>
          </a:xfrm>
          <a:prstGeom prst="rect">
            <a:avLst/>
          </a:prstGeom>
          <a:solidFill>
            <a:srgbClr val="FFFFFF">
              <a:alpha val="80000"/>
            </a:srgbClr>
          </a:solidFill>
          <a:ln w="6350">
            <a:noFill/>
            <a:prstDash val="solid"/>
          </a:ln>
        </p:spPr>
        <p:txBody>
          <a:bodyPr wrap="squar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96E7FF9F-DF1D-A4A4-805C-B3D8D0534CBB}"/>
              </a:ext>
            </a:extLst>
          </p:cNvPr>
          <p:cNvSpPr/>
          <p:nvPr/>
        </p:nvSpPr>
        <p:spPr>
          <a:xfrm>
            <a:off x="1185838" y="2856113"/>
            <a:ext cx="3827932" cy="283039"/>
          </a:xfrm>
          <a:prstGeom prst="roundRect">
            <a:avLst>
              <a:gd name="adj" fmla="val 16664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imary refractory or relapse within 12 months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423CF0CF-CE06-0026-550A-D6AAE74FEFF2}"/>
              </a:ext>
            </a:extLst>
          </p:cNvPr>
          <p:cNvSpPr/>
          <p:nvPr/>
        </p:nvSpPr>
        <p:spPr>
          <a:xfrm>
            <a:off x="1185838" y="3654933"/>
            <a:ext cx="1764411" cy="918467"/>
          </a:xfrm>
          <a:prstGeom prst="roundRect">
            <a:avLst>
              <a:gd name="adj" fmla="val 8605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xi-cel [IA] or </a:t>
            </a:r>
            <a:b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liso-cel [IA]*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367309F-1FD0-633F-1C9C-41F1CBD8DEF0}"/>
              </a:ext>
            </a:extLst>
          </p:cNvPr>
          <p:cNvSpPr txBox="1"/>
          <p:nvPr/>
        </p:nvSpPr>
        <p:spPr>
          <a:xfrm>
            <a:off x="720762" y="2856113"/>
            <a:ext cx="312016" cy="2769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L</a:t>
            </a:r>
          </a:p>
        </p:txBody>
      </p:sp>
      <p:cxnSp>
        <p:nvCxnSpPr>
          <p:cNvPr id="16" name="Connector: Elbow 15">
            <a:extLst>
              <a:ext uri="{FF2B5EF4-FFF2-40B4-BE49-F238E27FC236}">
                <a16:creationId xmlns:a16="http://schemas.microsoft.com/office/drawing/2014/main" id="{A05E9260-8FE4-BA83-05AA-397A792706C7}"/>
              </a:ext>
            </a:extLst>
          </p:cNvPr>
          <p:cNvCxnSpPr>
            <a:cxnSpLocks/>
            <a:stCxn id="10" idx="2"/>
            <a:endCxn id="12" idx="0"/>
          </p:cNvCxnSpPr>
          <p:nvPr/>
        </p:nvCxnSpPr>
        <p:spPr>
          <a:xfrm rot="5400000">
            <a:off x="2326034" y="2881162"/>
            <a:ext cx="515781" cy="1031760"/>
          </a:xfrm>
          <a:prstGeom prst="bentConnector3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CB2AB86F-F140-CFE5-5A1D-125BBCC448BD}"/>
              </a:ext>
            </a:extLst>
          </p:cNvPr>
          <p:cNvSpPr txBox="1"/>
          <p:nvPr/>
        </p:nvSpPr>
        <p:spPr>
          <a:xfrm>
            <a:off x="2144281" y="3210688"/>
            <a:ext cx="893597" cy="1692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AR-T eligible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1584B6C4-E291-96B7-C242-73FFCABB3E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651" y="6356350"/>
            <a:ext cx="383694" cy="365125"/>
          </a:xfrm>
        </p:spPr>
        <p:txBody>
          <a:bodyPr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306B0CF-28DA-4AF7-AD0B-CB9D5901F647}" type="slidenum">
              <a:rPr kumimoji="0" lang="sv-S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82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sv-SE" sz="9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3505585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6F7AFB-9A76-210D-9DD0-A21E4B41EEF4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</p:spPr>
        <p:txBody>
          <a:bodyPr/>
          <a:lstStyle/>
          <a:p>
            <a:r>
              <a:rPr lang="en-GB" dirty="0"/>
              <a:t>CAR-T has a pivotal role in 2L DLBCL with curative potential</a:t>
            </a:r>
          </a:p>
        </p:txBody>
      </p:sp>
      <p:sp>
        <p:nvSpPr>
          <p:cNvPr id="816" name="Slide Number Placeholder 2">
            <a:extLst>
              <a:ext uri="{FF2B5EF4-FFF2-40B4-BE49-F238E27FC236}">
                <a16:creationId xmlns:a16="http://schemas.microsoft.com/office/drawing/2014/main" id="{5FB14F40-4189-D02E-349E-FF4C6047AC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01CC8E-1CEF-6746-999E-CF29FF00B1D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82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5ACAFED-550E-B2D5-5E4C-E797D17F8F5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70645" y="5912575"/>
            <a:ext cx="10440000" cy="807376"/>
          </a:xfrm>
        </p:spPr>
        <p:txBody>
          <a:bodyPr/>
          <a:lstStyle/>
          <a:p>
            <a:r>
              <a:rPr lang="en-GB" b="1" dirty="0"/>
              <a:t>Direct comparisons between study results cannot be made due to differences in study design, patient populations, and endpoints; the information is presented for contextual purposes only.</a:t>
            </a:r>
            <a:br>
              <a:rPr lang="en-GB" dirty="0"/>
            </a:br>
            <a:r>
              <a:rPr lang="en-GB" dirty="0"/>
              <a:t>*</a:t>
            </a:r>
            <a:r>
              <a:rPr lang="en-GB" dirty="0">
                <a:solidFill>
                  <a:srgbClr val="585854"/>
                </a:solidFill>
                <a:ea typeface="Arial" pitchFamily="34" charset="-122"/>
                <a:cs typeface="Arial" pitchFamily="34" charset="-120"/>
              </a:rPr>
              <a:t>Median follow-up in the </a:t>
            </a:r>
            <a:r>
              <a:rPr lang="en-CH" dirty="0">
                <a:solidFill>
                  <a:srgbClr val="585854"/>
                </a:solidFill>
                <a:ea typeface="Arial" pitchFamily="34" charset="-122"/>
                <a:cs typeface="Arial" pitchFamily="34" charset="-120"/>
              </a:rPr>
              <a:t>ZUMA-7</a:t>
            </a:r>
            <a:r>
              <a:rPr lang="en-GB" dirty="0">
                <a:solidFill>
                  <a:srgbClr val="585854"/>
                </a:solidFill>
                <a:ea typeface="Arial" pitchFamily="34" charset="-122"/>
                <a:cs typeface="Arial" pitchFamily="34" charset="-120"/>
              </a:rPr>
              <a:t> trial</a:t>
            </a:r>
            <a:r>
              <a:rPr lang="en-CH" dirty="0">
                <a:solidFill>
                  <a:srgbClr val="585854"/>
                </a:solidFill>
                <a:ea typeface="Arial" pitchFamily="34" charset="-122"/>
                <a:cs typeface="Arial" pitchFamily="34" charset="-120"/>
              </a:rPr>
              <a:t> of</a:t>
            </a:r>
            <a:r>
              <a:rPr lang="en-GB" dirty="0">
                <a:solidFill>
                  <a:srgbClr val="585854"/>
                </a:solidFill>
                <a:ea typeface="Arial" pitchFamily="34" charset="-122"/>
                <a:cs typeface="Arial" pitchFamily="34" charset="-120"/>
              </a:rPr>
              <a:t> </a:t>
            </a:r>
            <a:r>
              <a:rPr lang="en-CH" dirty="0">
                <a:solidFill>
                  <a:srgbClr val="585854"/>
                </a:solidFill>
                <a:ea typeface="Arial" pitchFamily="34" charset="-122"/>
                <a:cs typeface="Arial" pitchFamily="34" charset="-120"/>
              </a:rPr>
              <a:t>47.2</a:t>
            </a:r>
            <a:r>
              <a:rPr lang="en-GB" dirty="0">
                <a:solidFill>
                  <a:srgbClr val="585854"/>
                </a:solidFill>
                <a:ea typeface="Arial" pitchFamily="34" charset="-122"/>
                <a:cs typeface="Arial" pitchFamily="34" charset="-120"/>
              </a:rPr>
              <a:t> months. †Median follow-up in the </a:t>
            </a:r>
            <a:r>
              <a:rPr lang="en-CH" dirty="0">
                <a:solidFill>
                  <a:srgbClr val="585854"/>
                </a:solidFill>
                <a:ea typeface="Arial" pitchFamily="34" charset="-122"/>
                <a:cs typeface="Arial" pitchFamily="34" charset="-120"/>
              </a:rPr>
              <a:t>TRANSFORM</a:t>
            </a:r>
            <a:r>
              <a:rPr lang="en-GB" dirty="0">
                <a:solidFill>
                  <a:srgbClr val="585854"/>
                </a:solidFill>
                <a:ea typeface="Arial" pitchFamily="34" charset="-122"/>
                <a:cs typeface="Arial" pitchFamily="34" charset="-120"/>
              </a:rPr>
              <a:t> trial</a:t>
            </a:r>
            <a:r>
              <a:rPr lang="en-CH" dirty="0">
                <a:solidFill>
                  <a:srgbClr val="585854"/>
                </a:solidFill>
                <a:ea typeface="Arial" pitchFamily="34" charset="-122"/>
                <a:cs typeface="Arial" pitchFamily="34" charset="-120"/>
              </a:rPr>
              <a:t> + long-term follow-up of</a:t>
            </a:r>
            <a:r>
              <a:rPr lang="en-GB" dirty="0">
                <a:solidFill>
                  <a:srgbClr val="585854"/>
                </a:solidFill>
                <a:ea typeface="Arial" pitchFamily="34" charset="-122"/>
                <a:cs typeface="Arial" pitchFamily="34" charset="-120"/>
              </a:rPr>
              <a:t> 4</a:t>
            </a:r>
            <a:r>
              <a:rPr lang="en-CH" dirty="0">
                <a:solidFill>
                  <a:srgbClr val="585854"/>
                </a:solidFill>
                <a:ea typeface="Arial" pitchFamily="34" charset="-122"/>
                <a:cs typeface="Arial" pitchFamily="34" charset="-120"/>
              </a:rPr>
              <a:t>9</a:t>
            </a:r>
            <a:r>
              <a:rPr lang="en-GB" dirty="0">
                <a:solidFill>
                  <a:srgbClr val="585854"/>
                </a:solidFill>
                <a:ea typeface="Arial" pitchFamily="34" charset="-122"/>
                <a:cs typeface="Arial" pitchFamily="34" charset="-120"/>
              </a:rPr>
              <a:t>.</a:t>
            </a:r>
            <a:r>
              <a:rPr lang="en-CH" dirty="0">
                <a:solidFill>
                  <a:srgbClr val="585854"/>
                </a:solidFill>
                <a:ea typeface="Arial" pitchFamily="34" charset="-122"/>
                <a:cs typeface="Arial" pitchFamily="34" charset="-120"/>
              </a:rPr>
              <a:t>4</a:t>
            </a:r>
            <a:r>
              <a:rPr lang="en-GB" dirty="0">
                <a:solidFill>
                  <a:srgbClr val="585854"/>
                </a:solidFill>
                <a:ea typeface="Arial" pitchFamily="34" charset="-122"/>
                <a:cs typeface="Arial" pitchFamily="34" charset="-120"/>
              </a:rPr>
              <a:t> months.</a:t>
            </a:r>
            <a:br>
              <a:rPr lang="en-GB" dirty="0"/>
            </a:br>
            <a:r>
              <a:rPr lang="en-GB" dirty="0"/>
              <a:t>2L, second line; </a:t>
            </a:r>
            <a:r>
              <a:rPr lang="en-GB" dirty="0" err="1"/>
              <a:t>axi</a:t>
            </a:r>
            <a:r>
              <a:rPr lang="en-GB" dirty="0"/>
              <a:t>-cel, </a:t>
            </a:r>
            <a:r>
              <a:rPr lang="en-GB" dirty="0" err="1"/>
              <a:t>axicabtagene</a:t>
            </a:r>
            <a:r>
              <a:rPr lang="en-GB" dirty="0"/>
              <a:t> </a:t>
            </a:r>
            <a:r>
              <a:rPr lang="en-GB" dirty="0" err="1"/>
              <a:t>ciloleucel</a:t>
            </a:r>
            <a:r>
              <a:rPr lang="en-GB" dirty="0"/>
              <a:t>; CAR-T, chimeric antigen receptor T-cell therapy; CI, confidence interval; DLBCL, diffuse large B-cell lymphoma; </a:t>
            </a:r>
            <a:r>
              <a:rPr lang="en-GB" dirty="0" err="1"/>
              <a:t>liso</a:t>
            </a:r>
            <a:r>
              <a:rPr lang="en-GB" dirty="0"/>
              <a:t>-cel, </a:t>
            </a:r>
            <a:r>
              <a:rPr lang="en-GB" dirty="0" err="1"/>
              <a:t>lisocabtagene</a:t>
            </a:r>
            <a:r>
              <a:rPr lang="en-GB" dirty="0"/>
              <a:t> </a:t>
            </a:r>
            <a:r>
              <a:rPr lang="en-GB" dirty="0" err="1"/>
              <a:t>maraleucel</a:t>
            </a:r>
            <a:r>
              <a:rPr lang="en-GB" dirty="0"/>
              <a:t>; </a:t>
            </a:r>
          </a:p>
          <a:p>
            <a:r>
              <a:rPr lang="en-GB" dirty="0"/>
              <a:t>PFS, progression-free survival</a:t>
            </a:r>
            <a:r>
              <a:rPr lang="en-CH" dirty="0"/>
              <a:t>; SoC, standard of care</a:t>
            </a:r>
            <a:r>
              <a:rPr lang="en-GB" dirty="0"/>
              <a:t>.</a:t>
            </a:r>
            <a:br>
              <a:rPr lang="en-GB" dirty="0"/>
            </a:br>
            <a:r>
              <a:rPr lang="en-GB" b="1" dirty="0"/>
              <a:t>1. </a:t>
            </a:r>
            <a:r>
              <a:rPr lang="en-GB" dirty="0"/>
              <a:t>Westin</a:t>
            </a:r>
            <a:r>
              <a:rPr lang="en-CH" dirty="0"/>
              <a:t> et al.</a:t>
            </a:r>
            <a:r>
              <a:rPr lang="en-GB" dirty="0"/>
              <a:t> </a:t>
            </a:r>
            <a:r>
              <a:rPr lang="en-GB" i="1" dirty="0"/>
              <a:t>N Engl J Med</a:t>
            </a:r>
            <a:r>
              <a:rPr lang="en-GB" dirty="0"/>
              <a:t> 2023 </a:t>
            </a:r>
            <a:r>
              <a:rPr lang="en-GB" b="1" dirty="0"/>
              <a:t>2.</a:t>
            </a:r>
            <a:r>
              <a:rPr lang="en-GB" dirty="0"/>
              <a:t> Kamdar et al. </a:t>
            </a:r>
            <a:r>
              <a:rPr lang="en-GB" i="1" dirty="0"/>
              <a:t>Blood Adv</a:t>
            </a:r>
            <a:r>
              <a:rPr lang="en-GB" dirty="0"/>
              <a:t> 2026.</a:t>
            </a:r>
          </a:p>
        </p:txBody>
      </p:sp>
      <p:sp>
        <p:nvSpPr>
          <p:cNvPr id="14" name="object 66">
            <a:extLst>
              <a:ext uri="{FF2B5EF4-FFF2-40B4-BE49-F238E27FC236}">
                <a16:creationId xmlns:a16="http://schemas.microsoft.com/office/drawing/2014/main" id="{F9D625B9-988D-DE4C-9B3B-464BD299BBC1}"/>
              </a:ext>
            </a:extLst>
          </p:cNvPr>
          <p:cNvSpPr/>
          <p:nvPr/>
        </p:nvSpPr>
        <p:spPr>
          <a:xfrm>
            <a:off x="1386822" y="2555763"/>
            <a:ext cx="0" cy="1828635"/>
          </a:xfrm>
          <a:custGeom>
            <a:avLst/>
            <a:gdLst/>
            <a:ahLst/>
            <a:cxnLst/>
            <a:rect l="l" t="t" r="r" b="b"/>
            <a:pathLst>
              <a:path h="1441450">
                <a:moveTo>
                  <a:pt x="0" y="1441005"/>
                </a:moveTo>
                <a:lnTo>
                  <a:pt x="0" y="0"/>
                </a:lnTo>
              </a:path>
            </a:pathLst>
          </a:custGeom>
          <a:ln w="635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5" name="object 67">
            <a:extLst>
              <a:ext uri="{FF2B5EF4-FFF2-40B4-BE49-F238E27FC236}">
                <a16:creationId xmlns:a16="http://schemas.microsoft.com/office/drawing/2014/main" id="{965CD0A6-183C-DFE4-F0EF-531E750132D7}"/>
              </a:ext>
            </a:extLst>
          </p:cNvPr>
          <p:cNvSpPr txBox="1"/>
          <p:nvPr/>
        </p:nvSpPr>
        <p:spPr>
          <a:xfrm>
            <a:off x="917949" y="2490593"/>
            <a:ext cx="184666" cy="2018104"/>
          </a:xfrm>
          <a:prstGeom prst="rect">
            <a:avLst/>
          </a:prstGeom>
          <a:noFill/>
        </p:spPr>
        <p:txBody>
          <a:bodyPr vert="vert270" wrap="square" lIns="0" tIns="0" rIns="0" bIns="0" rtlCol="0" anchor="ctr">
            <a:sp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gression-free 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 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urvival (%)</a:t>
            </a:r>
          </a:p>
        </p:txBody>
      </p:sp>
      <p:sp>
        <p:nvSpPr>
          <p:cNvPr id="16" name="object 69">
            <a:extLst>
              <a:ext uri="{FF2B5EF4-FFF2-40B4-BE49-F238E27FC236}">
                <a16:creationId xmlns:a16="http://schemas.microsoft.com/office/drawing/2014/main" id="{E71E795C-837D-482D-E6BE-11D1BD74EED2}"/>
              </a:ext>
            </a:extLst>
          </p:cNvPr>
          <p:cNvSpPr/>
          <p:nvPr/>
        </p:nvSpPr>
        <p:spPr>
          <a:xfrm>
            <a:off x="1386818" y="4384517"/>
            <a:ext cx="3699035" cy="45719"/>
          </a:xfrm>
          <a:custGeom>
            <a:avLst/>
            <a:gdLst/>
            <a:ahLst/>
            <a:cxnLst/>
            <a:rect l="l" t="t" r="r" b="b"/>
            <a:pathLst>
              <a:path w="3295650">
                <a:moveTo>
                  <a:pt x="3295548" y="0"/>
                </a:moveTo>
                <a:lnTo>
                  <a:pt x="0" y="0"/>
                </a:lnTo>
              </a:path>
              <a:path w="3295650">
                <a:moveTo>
                  <a:pt x="3295548" y="0"/>
                </a:moveTo>
                <a:lnTo>
                  <a:pt x="0" y="0"/>
                </a:lnTo>
              </a:path>
            </a:pathLst>
          </a:custGeom>
          <a:ln w="635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7" name="object 71">
            <a:extLst>
              <a:ext uri="{FF2B5EF4-FFF2-40B4-BE49-F238E27FC236}">
                <a16:creationId xmlns:a16="http://schemas.microsoft.com/office/drawing/2014/main" id="{003A3FD5-9B49-A688-4AFC-1F79DC171D0B}"/>
              </a:ext>
            </a:extLst>
          </p:cNvPr>
          <p:cNvSpPr/>
          <p:nvPr/>
        </p:nvSpPr>
        <p:spPr>
          <a:xfrm>
            <a:off x="1361967" y="2923794"/>
            <a:ext cx="24899" cy="0"/>
          </a:xfrm>
          <a:custGeom>
            <a:avLst/>
            <a:gdLst/>
            <a:ahLst/>
            <a:cxnLst/>
            <a:rect l="l" t="t" r="r" b="b"/>
            <a:pathLst>
              <a:path w="41275">
                <a:moveTo>
                  <a:pt x="41275" y="0"/>
                </a:moveTo>
                <a:lnTo>
                  <a:pt x="0" y="0"/>
                </a:lnTo>
              </a:path>
            </a:pathLst>
          </a:custGeom>
          <a:ln w="635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8" name="object 73">
            <a:extLst>
              <a:ext uri="{FF2B5EF4-FFF2-40B4-BE49-F238E27FC236}">
                <a16:creationId xmlns:a16="http://schemas.microsoft.com/office/drawing/2014/main" id="{26B3721E-28A9-CCFC-253D-DA48C11EA5A4}"/>
              </a:ext>
            </a:extLst>
          </p:cNvPr>
          <p:cNvSpPr/>
          <p:nvPr/>
        </p:nvSpPr>
        <p:spPr>
          <a:xfrm>
            <a:off x="1361967" y="3106300"/>
            <a:ext cx="24899" cy="0"/>
          </a:xfrm>
          <a:custGeom>
            <a:avLst/>
            <a:gdLst/>
            <a:ahLst/>
            <a:cxnLst/>
            <a:rect l="l" t="t" r="r" b="b"/>
            <a:pathLst>
              <a:path w="41275">
                <a:moveTo>
                  <a:pt x="41275" y="0"/>
                </a:moveTo>
                <a:lnTo>
                  <a:pt x="0" y="0"/>
                </a:lnTo>
              </a:path>
            </a:pathLst>
          </a:custGeom>
          <a:ln w="635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9" name="object 74">
            <a:extLst>
              <a:ext uri="{FF2B5EF4-FFF2-40B4-BE49-F238E27FC236}">
                <a16:creationId xmlns:a16="http://schemas.microsoft.com/office/drawing/2014/main" id="{53234354-5A07-E509-E937-B8CAF75ED889}"/>
              </a:ext>
            </a:extLst>
          </p:cNvPr>
          <p:cNvSpPr/>
          <p:nvPr/>
        </p:nvSpPr>
        <p:spPr>
          <a:xfrm>
            <a:off x="1361967" y="3288804"/>
            <a:ext cx="24899" cy="0"/>
          </a:xfrm>
          <a:custGeom>
            <a:avLst/>
            <a:gdLst/>
            <a:ahLst/>
            <a:cxnLst/>
            <a:rect l="l" t="t" r="r" b="b"/>
            <a:pathLst>
              <a:path w="41275">
                <a:moveTo>
                  <a:pt x="41275" y="0"/>
                </a:moveTo>
                <a:lnTo>
                  <a:pt x="0" y="0"/>
                </a:lnTo>
              </a:path>
            </a:pathLst>
          </a:custGeom>
          <a:ln w="635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" name="object 75">
            <a:extLst>
              <a:ext uri="{FF2B5EF4-FFF2-40B4-BE49-F238E27FC236}">
                <a16:creationId xmlns:a16="http://schemas.microsoft.com/office/drawing/2014/main" id="{0A761334-891C-9A48-7E40-EA4DCF350C2F}"/>
              </a:ext>
            </a:extLst>
          </p:cNvPr>
          <p:cNvSpPr/>
          <p:nvPr/>
        </p:nvSpPr>
        <p:spPr>
          <a:xfrm>
            <a:off x="1361967" y="3653817"/>
            <a:ext cx="24899" cy="0"/>
          </a:xfrm>
          <a:custGeom>
            <a:avLst/>
            <a:gdLst/>
            <a:ahLst/>
            <a:cxnLst/>
            <a:rect l="l" t="t" r="r" b="b"/>
            <a:pathLst>
              <a:path w="41275">
                <a:moveTo>
                  <a:pt x="41275" y="0"/>
                </a:moveTo>
                <a:lnTo>
                  <a:pt x="0" y="0"/>
                </a:lnTo>
              </a:path>
            </a:pathLst>
          </a:custGeom>
          <a:ln w="635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" name="object 76">
            <a:extLst>
              <a:ext uri="{FF2B5EF4-FFF2-40B4-BE49-F238E27FC236}">
                <a16:creationId xmlns:a16="http://schemas.microsoft.com/office/drawing/2014/main" id="{3CBDBED8-8D4F-578C-9F27-5D0DBF9CE137}"/>
              </a:ext>
            </a:extLst>
          </p:cNvPr>
          <p:cNvSpPr/>
          <p:nvPr/>
        </p:nvSpPr>
        <p:spPr>
          <a:xfrm>
            <a:off x="1361967" y="3836323"/>
            <a:ext cx="24899" cy="0"/>
          </a:xfrm>
          <a:custGeom>
            <a:avLst/>
            <a:gdLst/>
            <a:ahLst/>
            <a:cxnLst/>
            <a:rect l="l" t="t" r="r" b="b"/>
            <a:pathLst>
              <a:path w="41275">
                <a:moveTo>
                  <a:pt x="41275" y="0"/>
                </a:moveTo>
                <a:lnTo>
                  <a:pt x="0" y="0"/>
                </a:lnTo>
              </a:path>
            </a:pathLst>
          </a:custGeom>
          <a:ln w="635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2" name="object 77">
            <a:extLst>
              <a:ext uri="{FF2B5EF4-FFF2-40B4-BE49-F238E27FC236}">
                <a16:creationId xmlns:a16="http://schemas.microsoft.com/office/drawing/2014/main" id="{5FE24754-29E7-F3F7-B14C-0802D48671D9}"/>
              </a:ext>
            </a:extLst>
          </p:cNvPr>
          <p:cNvSpPr/>
          <p:nvPr/>
        </p:nvSpPr>
        <p:spPr>
          <a:xfrm>
            <a:off x="1361967" y="4201334"/>
            <a:ext cx="24899" cy="0"/>
          </a:xfrm>
          <a:custGeom>
            <a:avLst/>
            <a:gdLst/>
            <a:ahLst/>
            <a:cxnLst/>
            <a:rect l="l" t="t" r="r" b="b"/>
            <a:pathLst>
              <a:path w="41275">
                <a:moveTo>
                  <a:pt x="41275" y="0"/>
                </a:moveTo>
                <a:lnTo>
                  <a:pt x="0" y="0"/>
                </a:lnTo>
              </a:path>
            </a:pathLst>
          </a:custGeom>
          <a:ln w="635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3" name="object 78">
            <a:extLst>
              <a:ext uri="{FF2B5EF4-FFF2-40B4-BE49-F238E27FC236}">
                <a16:creationId xmlns:a16="http://schemas.microsoft.com/office/drawing/2014/main" id="{BFFE6EBF-4D47-F330-00E1-B65CFB551059}"/>
              </a:ext>
            </a:extLst>
          </p:cNvPr>
          <p:cNvSpPr/>
          <p:nvPr/>
        </p:nvSpPr>
        <p:spPr>
          <a:xfrm>
            <a:off x="1361967" y="3471311"/>
            <a:ext cx="24899" cy="0"/>
          </a:xfrm>
          <a:custGeom>
            <a:avLst/>
            <a:gdLst/>
            <a:ahLst/>
            <a:cxnLst/>
            <a:rect l="l" t="t" r="r" b="b"/>
            <a:pathLst>
              <a:path w="41275">
                <a:moveTo>
                  <a:pt x="41275" y="0"/>
                </a:moveTo>
                <a:lnTo>
                  <a:pt x="0" y="0"/>
                </a:lnTo>
              </a:path>
            </a:pathLst>
          </a:custGeom>
          <a:ln w="635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4" name="object 79">
            <a:extLst>
              <a:ext uri="{FF2B5EF4-FFF2-40B4-BE49-F238E27FC236}">
                <a16:creationId xmlns:a16="http://schemas.microsoft.com/office/drawing/2014/main" id="{BEA1C618-0009-6794-0DCA-B8AD20C3FFAF}"/>
              </a:ext>
            </a:extLst>
          </p:cNvPr>
          <p:cNvSpPr/>
          <p:nvPr/>
        </p:nvSpPr>
        <p:spPr>
          <a:xfrm>
            <a:off x="1361967" y="4018829"/>
            <a:ext cx="24899" cy="0"/>
          </a:xfrm>
          <a:custGeom>
            <a:avLst/>
            <a:gdLst/>
            <a:ahLst/>
            <a:cxnLst/>
            <a:rect l="l" t="t" r="r" b="b"/>
            <a:pathLst>
              <a:path w="41275">
                <a:moveTo>
                  <a:pt x="41275" y="0"/>
                </a:moveTo>
                <a:lnTo>
                  <a:pt x="0" y="0"/>
                </a:lnTo>
              </a:path>
            </a:pathLst>
          </a:custGeom>
          <a:ln w="635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5" name="object 80">
            <a:extLst>
              <a:ext uri="{FF2B5EF4-FFF2-40B4-BE49-F238E27FC236}">
                <a16:creationId xmlns:a16="http://schemas.microsoft.com/office/drawing/2014/main" id="{2F549339-45C8-2E0C-7AD4-07CAADAFA549}"/>
              </a:ext>
            </a:extLst>
          </p:cNvPr>
          <p:cNvSpPr/>
          <p:nvPr/>
        </p:nvSpPr>
        <p:spPr>
          <a:xfrm>
            <a:off x="1361967" y="4383835"/>
            <a:ext cx="24899" cy="0"/>
          </a:xfrm>
          <a:custGeom>
            <a:avLst/>
            <a:gdLst/>
            <a:ahLst/>
            <a:cxnLst/>
            <a:rect l="l" t="t" r="r" b="b"/>
            <a:pathLst>
              <a:path w="41275">
                <a:moveTo>
                  <a:pt x="41275" y="0"/>
                </a:moveTo>
                <a:lnTo>
                  <a:pt x="0" y="0"/>
                </a:lnTo>
              </a:path>
            </a:pathLst>
          </a:custGeom>
          <a:ln w="635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6" name="object 83">
            <a:extLst>
              <a:ext uri="{FF2B5EF4-FFF2-40B4-BE49-F238E27FC236}">
                <a16:creationId xmlns:a16="http://schemas.microsoft.com/office/drawing/2014/main" id="{4D7341E4-089A-A13E-78CF-D542269CE537}"/>
              </a:ext>
            </a:extLst>
          </p:cNvPr>
          <p:cNvSpPr/>
          <p:nvPr/>
        </p:nvSpPr>
        <p:spPr>
          <a:xfrm>
            <a:off x="1386822" y="4383834"/>
            <a:ext cx="0" cy="46401"/>
          </a:xfrm>
          <a:custGeom>
            <a:avLst/>
            <a:gdLst/>
            <a:ahLst/>
            <a:cxnLst/>
            <a:rect l="l" t="t" r="r" b="b"/>
            <a:pathLst>
              <a:path h="41275">
                <a:moveTo>
                  <a:pt x="0" y="0"/>
                </a:moveTo>
                <a:lnTo>
                  <a:pt x="0" y="41275"/>
                </a:lnTo>
              </a:path>
            </a:pathLst>
          </a:custGeom>
          <a:ln w="635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7" name="object 84">
            <a:extLst>
              <a:ext uri="{FF2B5EF4-FFF2-40B4-BE49-F238E27FC236}">
                <a16:creationId xmlns:a16="http://schemas.microsoft.com/office/drawing/2014/main" id="{F0CABC0E-D42A-A2EA-6403-5626DE7F42A7}"/>
              </a:ext>
            </a:extLst>
          </p:cNvPr>
          <p:cNvSpPr/>
          <p:nvPr/>
        </p:nvSpPr>
        <p:spPr>
          <a:xfrm>
            <a:off x="1521203" y="4383834"/>
            <a:ext cx="0" cy="46401"/>
          </a:xfrm>
          <a:custGeom>
            <a:avLst/>
            <a:gdLst/>
            <a:ahLst/>
            <a:cxnLst/>
            <a:rect l="l" t="t" r="r" b="b"/>
            <a:pathLst>
              <a:path h="41275">
                <a:moveTo>
                  <a:pt x="0" y="0"/>
                </a:moveTo>
                <a:lnTo>
                  <a:pt x="0" y="41275"/>
                </a:lnTo>
              </a:path>
            </a:pathLst>
          </a:custGeom>
          <a:ln w="635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" name="object 85">
            <a:extLst>
              <a:ext uri="{FF2B5EF4-FFF2-40B4-BE49-F238E27FC236}">
                <a16:creationId xmlns:a16="http://schemas.microsoft.com/office/drawing/2014/main" id="{A882D4B5-E557-A424-734B-6AA4EEA04CB9}"/>
              </a:ext>
            </a:extLst>
          </p:cNvPr>
          <p:cNvSpPr/>
          <p:nvPr/>
        </p:nvSpPr>
        <p:spPr>
          <a:xfrm>
            <a:off x="2049061" y="4383834"/>
            <a:ext cx="0" cy="46401"/>
          </a:xfrm>
          <a:custGeom>
            <a:avLst/>
            <a:gdLst/>
            <a:ahLst/>
            <a:cxnLst/>
            <a:rect l="l" t="t" r="r" b="b"/>
            <a:pathLst>
              <a:path h="41275">
                <a:moveTo>
                  <a:pt x="0" y="0"/>
                </a:moveTo>
                <a:lnTo>
                  <a:pt x="0" y="41275"/>
                </a:lnTo>
              </a:path>
            </a:pathLst>
          </a:custGeom>
          <a:ln w="635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9" name="object 86">
            <a:extLst>
              <a:ext uri="{FF2B5EF4-FFF2-40B4-BE49-F238E27FC236}">
                <a16:creationId xmlns:a16="http://schemas.microsoft.com/office/drawing/2014/main" id="{2311E6C7-64CD-8C35-91C2-436AD96CF680}"/>
              </a:ext>
            </a:extLst>
          </p:cNvPr>
          <p:cNvSpPr/>
          <p:nvPr/>
        </p:nvSpPr>
        <p:spPr>
          <a:xfrm>
            <a:off x="2312993" y="4383834"/>
            <a:ext cx="0" cy="46401"/>
          </a:xfrm>
          <a:custGeom>
            <a:avLst/>
            <a:gdLst/>
            <a:ahLst/>
            <a:cxnLst/>
            <a:rect l="l" t="t" r="r" b="b"/>
            <a:pathLst>
              <a:path h="41275">
                <a:moveTo>
                  <a:pt x="0" y="0"/>
                </a:moveTo>
                <a:lnTo>
                  <a:pt x="0" y="41275"/>
                </a:lnTo>
              </a:path>
            </a:pathLst>
          </a:custGeom>
          <a:ln w="635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0" name="object 87">
            <a:extLst>
              <a:ext uri="{FF2B5EF4-FFF2-40B4-BE49-F238E27FC236}">
                <a16:creationId xmlns:a16="http://schemas.microsoft.com/office/drawing/2014/main" id="{E2472E60-F14D-E61A-5F8A-87352387713F}"/>
              </a:ext>
            </a:extLst>
          </p:cNvPr>
          <p:cNvSpPr/>
          <p:nvPr/>
        </p:nvSpPr>
        <p:spPr>
          <a:xfrm>
            <a:off x="2708873" y="4383834"/>
            <a:ext cx="0" cy="46401"/>
          </a:xfrm>
          <a:custGeom>
            <a:avLst/>
            <a:gdLst/>
            <a:ahLst/>
            <a:cxnLst/>
            <a:rect l="l" t="t" r="r" b="b"/>
            <a:pathLst>
              <a:path h="41275">
                <a:moveTo>
                  <a:pt x="0" y="0"/>
                </a:moveTo>
                <a:lnTo>
                  <a:pt x="0" y="41275"/>
                </a:lnTo>
              </a:path>
            </a:pathLst>
          </a:custGeom>
          <a:ln w="635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1" name="object 88">
            <a:extLst>
              <a:ext uri="{FF2B5EF4-FFF2-40B4-BE49-F238E27FC236}">
                <a16:creationId xmlns:a16="http://schemas.microsoft.com/office/drawing/2014/main" id="{E7437CE7-FB14-8429-C0C0-275FBEF643B9}"/>
              </a:ext>
            </a:extLst>
          </p:cNvPr>
          <p:cNvSpPr/>
          <p:nvPr/>
        </p:nvSpPr>
        <p:spPr>
          <a:xfrm>
            <a:off x="3104764" y="4383834"/>
            <a:ext cx="0" cy="46401"/>
          </a:xfrm>
          <a:custGeom>
            <a:avLst/>
            <a:gdLst/>
            <a:ahLst/>
            <a:cxnLst/>
            <a:rect l="l" t="t" r="r" b="b"/>
            <a:pathLst>
              <a:path h="41275">
                <a:moveTo>
                  <a:pt x="0" y="0"/>
                </a:moveTo>
                <a:lnTo>
                  <a:pt x="0" y="41275"/>
                </a:lnTo>
              </a:path>
            </a:pathLst>
          </a:custGeom>
          <a:ln w="635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" name="object 89">
            <a:extLst>
              <a:ext uri="{FF2B5EF4-FFF2-40B4-BE49-F238E27FC236}">
                <a16:creationId xmlns:a16="http://schemas.microsoft.com/office/drawing/2014/main" id="{AED3F35B-F9D0-9C3F-27EF-9DAC769F2153}"/>
              </a:ext>
            </a:extLst>
          </p:cNvPr>
          <p:cNvSpPr/>
          <p:nvPr/>
        </p:nvSpPr>
        <p:spPr>
          <a:xfrm>
            <a:off x="3632626" y="4383834"/>
            <a:ext cx="0" cy="46401"/>
          </a:xfrm>
          <a:custGeom>
            <a:avLst/>
            <a:gdLst/>
            <a:ahLst/>
            <a:cxnLst/>
            <a:rect l="l" t="t" r="r" b="b"/>
            <a:pathLst>
              <a:path h="41275">
                <a:moveTo>
                  <a:pt x="0" y="0"/>
                </a:moveTo>
                <a:lnTo>
                  <a:pt x="0" y="41275"/>
                </a:lnTo>
              </a:path>
            </a:pathLst>
          </a:custGeom>
          <a:ln w="635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" name="object 90">
            <a:extLst>
              <a:ext uri="{FF2B5EF4-FFF2-40B4-BE49-F238E27FC236}">
                <a16:creationId xmlns:a16="http://schemas.microsoft.com/office/drawing/2014/main" id="{7528204B-BC77-C1E4-12A6-60047CFDBD2D}"/>
              </a:ext>
            </a:extLst>
          </p:cNvPr>
          <p:cNvSpPr/>
          <p:nvPr/>
        </p:nvSpPr>
        <p:spPr>
          <a:xfrm>
            <a:off x="1653168" y="4383834"/>
            <a:ext cx="0" cy="46401"/>
          </a:xfrm>
          <a:custGeom>
            <a:avLst/>
            <a:gdLst/>
            <a:ahLst/>
            <a:cxnLst/>
            <a:rect l="l" t="t" r="r" b="b"/>
            <a:pathLst>
              <a:path h="41275">
                <a:moveTo>
                  <a:pt x="0" y="0"/>
                </a:moveTo>
                <a:lnTo>
                  <a:pt x="0" y="41275"/>
                </a:lnTo>
              </a:path>
            </a:pathLst>
          </a:custGeom>
          <a:ln w="635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" name="object 91">
            <a:extLst>
              <a:ext uri="{FF2B5EF4-FFF2-40B4-BE49-F238E27FC236}">
                <a16:creationId xmlns:a16="http://schemas.microsoft.com/office/drawing/2014/main" id="{DBFC7A13-A12F-F03C-20F0-99700328FC03}"/>
              </a:ext>
            </a:extLst>
          </p:cNvPr>
          <p:cNvSpPr/>
          <p:nvPr/>
        </p:nvSpPr>
        <p:spPr>
          <a:xfrm>
            <a:off x="1785133" y="4383834"/>
            <a:ext cx="0" cy="46401"/>
          </a:xfrm>
          <a:custGeom>
            <a:avLst/>
            <a:gdLst/>
            <a:ahLst/>
            <a:cxnLst/>
            <a:rect l="l" t="t" r="r" b="b"/>
            <a:pathLst>
              <a:path h="41275">
                <a:moveTo>
                  <a:pt x="0" y="0"/>
                </a:moveTo>
                <a:lnTo>
                  <a:pt x="0" y="41275"/>
                </a:lnTo>
              </a:path>
            </a:pathLst>
          </a:custGeom>
          <a:ln w="635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" name="object 92">
            <a:extLst>
              <a:ext uri="{FF2B5EF4-FFF2-40B4-BE49-F238E27FC236}">
                <a16:creationId xmlns:a16="http://schemas.microsoft.com/office/drawing/2014/main" id="{5DA1B28A-67EA-F014-B1E4-1295CCA7C5AF}"/>
              </a:ext>
            </a:extLst>
          </p:cNvPr>
          <p:cNvSpPr/>
          <p:nvPr/>
        </p:nvSpPr>
        <p:spPr>
          <a:xfrm>
            <a:off x="1917096" y="4383834"/>
            <a:ext cx="0" cy="46401"/>
          </a:xfrm>
          <a:custGeom>
            <a:avLst/>
            <a:gdLst/>
            <a:ahLst/>
            <a:cxnLst/>
            <a:rect l="l" t="t" r="r" b="b"/>
            <a:pathLst>
              <a:path h="41275">
                <a:moveTo>
                  <a:pt x="0" y="0"/>
                </a:moveTo>
                <a:lnTo>
                  <a:pt x="0" y="41275"/>
                </a:lnTo>
              </a:path>
            </a:pathLst>
          </a:custGeom>
          <a:ln w="635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6" name="object 93">
            <a:extLst>
              <a:ext uri="{FF2B5EF4-FFF2-40B4-BE49-F238E27FC236}">
                <a16:creationId xmlns:a16="http://schemas.microsoft.com/office/drawing/2014/main" id="{0DEEF24B-E130-C2FE-C10E-F29AF999F86C}"/>
              </a:ext>
            </a:extLst>
          </p:cNvPr>
          <p:cNvSpPr/>
          <p:nvPr/>
        </p:nvSpPr>
        <p:spPr>
          <a:xfrm>
            <a:off x="2181021" y="4383834"/>
            <a:ext cx="0" cy="46401"/>
          </a:xfrm>
          <a:custGeom>
            <a:avLst/>
            <a:gdLst/>
            <a:ahLst/>
            <a:cxnLst/>
            <a:rect l="l" t="t" r="r" b="b"/>
            <a:pathLst>
              <a:path h="41275">
                <a:moveTo>
                  <a:pt x="0" y="0"/>
                </a:moveTo>
                <a:lnTo>
                  <a:pt x="0" y="41275"/>
                </a:lnTo>
              </a:path>
            </a:pathLst>
          </a:custGeom>
          <a:ln w="635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7" name="object 94">
            <a:extLst>
              <a:ext uri="{FF2B5EF4-FFF2-40B4-BE49-F238E27FC236}">
                <a16:creationId xmlns:a16="http://schemas.microsoft.com/office/drawing/2014/main" id="{A2782D00-2DB5-7142-B646-01E89BB64F29}"/>
              </a:ext>
            </a:extLst>
          </p:cNvPr>
          <p:cNvSpPr/>
          <p:nvPr/>
        </p:nvSpPr>
        <p:spPr>
          <a:xfrm>
            <a:off x="2444952" y="4383834"/>
            <a:ext cx="0" cy="46401"/>
          </a:xfrm>
          <a:custGeom>
            <a:avLst/>
            <a:gdLst/>
            <a:ahLst/>
            <a:cxnLst/>
            <a:rect l="l" t="t" r="r" b="b"/>
            <a:pathLst>
              <a:path h="41275">
                <a:moveTo>
                  <a:pt x="0" y="0"/>
                </a:moveTo>
                <a:lnTo>
                  <a:pt x="0" y="41275"/>
                </a:lnTo>
              </a:path>
            </a:pathLst>
          </a:custGeom>
          <a:ln w="635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9" name="object 95">
            <a:extLst>
              <a:ext uri="{FF2B5EF4-FFF2-40B4-BE49-F238E27FC236}">
                <a16:creationId xmlns:a16="http://schemas.microsoft.com/office/drawing/2014/main" id="{8F78ADC9-06A6-B22D-7F3E-C7BD3BCD7094}"/>
              </a:ext>
            </a:extLst>
          </p:cNvPr>
          <p:cNvSpPr/>
          <p:nvPr/>
        </p:nvSpPr>
        <p:spPr>
          <a:xfrm>
            <a:off x="2576914" y="4383834"/>
            <a:ext cx="0" cy="46401"/>
          </a:xfrm>
          <a:custGeom>
            <a:avLst/>
            <a:gdLst/>
            <a:ahLst/>
            <a:cxnLst/>
            <a:rect l="l" t="t" r="r" b="b"/>
            <a:pathLst>
              <a:path h="41275">
                <a:moveTo>
                  <a:pt x="0" y="0"/>
                </a:moveTo>
                <a:lnTo>
                  <a:pt x="0" y="41275"/>
                </a:lnTo>
              </a:path>
            </a:pathLst>
          </a:custGeom>
          <a:ln w="635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" name="object 98">
            <a:extLst>
              <a:ext uri="{FF2B5EF4-FFF2-40B4-BE49-F238E27FC236}">
                <a16:creationId xmlns:a16="http://schemas.microsoft.com/office/drawing/2014/main" id="{5694E2B3-9029-41AF-5FF2-BB61C96B3A93}"/>
              </a:ext>
            </a:extLst>
          </p:cNvPr>
          <p:cNvSpPr/>
          <p:nvPr/>
        </p:nvSpPr>
        <p:spPr>
          <a:xfrm>
            <a:off x="2840851" y="4383834"/>
            <a:ext cx="0" cy="46401"/>
          </a:xfrm>
          <a:custGeom>
            <a:avLst/>
            <a:gdLst/>
            <a:ahLst/>
            <a:cxnLst/>
            <a:rect l="l" t="t" r="r" b="b"/>
            <a:pathLst>
              <a:path h="41275">
                <a:moveTo>
                  <a:pt x="0" y="0"/>
                </a:moveTo>
                <a:lnTo>
                  <a:pt x="0" y="41275"/>
                </a:lnTo>
              </a:path>
            </a:pathLst>
          </a:custGeom>
          <a:ln w="635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1" name="object 99">
            <a:extLst>
              <a:ext uri="{FF2B5EF4-FFF2-40B4-BE49-F238E27FC236}">
                <a16:creationId xmlns:a16="http://schemas.microsoft.com/office/drawing/2014/main" id="{E79BB353-1EC0-4F90-919A-C2FD4B3104D2}"/>
              </a:ext>
            </a:extLst>
          </p:cNvPr>
          <p:cNvSpPr/>
          <p:nvPr/>
        </p:nvSpPr>
        <p:spPr>
          <a:xfrm>
            <a:off x="2972794" y="4383834"/>
            <a:ext cx="0" cy="46401"/>
          </a:xfrm>
          <a:custGeom>
            <a:avLst/>
            <a:gdLst/>
            <a:ahLst/>
            <a:cxnLst/>
            <a:rect l="l" t="t" r="r" b="b"/>
            <a:pathLst>
              <a:path h="41275">
                <a:moveTo>
                  <a:pt x="0" y="0"/>
                </a:moveTo>
                <a:lnTo>
                  <a:pt x="0" y="41275"/>
                </a:lnTo>
              </a:path>
            </a:pathLst>
          </a:custGeom>
          <a:ln w="635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2" name="object 100">
            <a:extLst>
              <a:ext uri="{FF2B5EF4-FFF2-40B4-BE49-F238E27FC236}">
                <a16:creationId xmlns:a16="http://schemas.microsoft.com/office/drawing/2014/main" id="{14015A24-EA82-F1E1-E0D9-8BDAE1A7A839}"/>
              </a:ext>
            </a:extLst>
          </p:cNvPr>
          <p:cNvSpPr/>
          <p:nvPr/>
        </p:nvSpPr>
        <p:spPr>
          <a:xfrm>
            <a:off x="3236726" y="4383834"/>
            <a:ext cx="0" cy="46401"/>
          </a:xfrm>
          <a:custGeom>
            <a:avLst/>
            <a:gdLst/>
            <a:ahLst/>
            <a:cxnLst/>
            <a:rect l="l" t="t" r="r" b="b"/>
            <a:pathLst>
              <a:path h="41275">
                <a:moveTo>
                  <a:pt x="0" y="0"/>
                </a:moveTo>
                <a:lnTo>
                  <a:pt x="0" y="41275"/>
                </a:lnTo>
              </a:path>
            </a:pathLst>
          </a:custGeom>
          <a:ln w="635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3" name="object 101">
            <a:extLst>
              <a:ext uri="{FF2B5EF4-FFF2-40B4-BE49-F238E27FC236}">
                <a16:creationId xmlns:a16="http://schemas.microsoft.com/office/drawing/2014/main" id="{0CB4A34F-5399-F8C5-0104-E0C216E825F2}"/>
              </a:ext>
            </a:extLst>
          </p:cNvPr>
          <p:cNvSpPr/>
          <p:nvPr/>
        </p:nvSpPr>
        <p:spPr>
          <a:xfrm>
            <a:off x="3500657" y="4383834"/>
            <a:ext cx="0" cy="46401"/>
          </a:xfrm>
          <a:custGeom>
            <a:avLst/>
            <a:gdLst/>
            <a:ahLst/>
            <a:cxnLst/>
            <a:rect l="l" t="t" r="r" b="b"/>
            <a:pathLst>
              <a:path h="41275">
                <a:moveTo>
                  <a:pt x="0" y="0"/>
                </a:moveTo>
                <a:lnTo>
                  <a:pt x="0" y="41275"/>
                </a:lnTo>
              </a:path>
            </a:pathLst>
          </a:custGeom>
          <a:ln w="635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4" name="object 103">
            <a:extLst>
              <a:ext uri="{FF2B5EF4-FFF2-40B4-BE49-F238E27FC236}">
                <a16:creationId xmlns:a16="http://schemas.microsoft.com/office/drawing/2014/main" id="{D2A9A735-2992-5B01-8DD7-4DB43E51F75A}"/>
              </a:ext>
            </a:extLst>
          </p:cNvPr>
          <p:cNvSpPr/>
          <p:nvPr/>
        </p:nvSpPr>
        <p:spPr>
          <a:xfrm>
            <a:off x="3368687" y="4383834"/>
            <a:ext cx="0" cy="46401"/>
          </a:xfrm>
          <a:custGeom>
            <a:avLst/>
            <a:gdLst/>
            <a:ahLst/>
            <a:cxnLst/>
            <a:rect l="l" t="t" r="r" b="b"/>
            <a:pathLst>
              <a:path h="41275">
                <a:moveTo>
                  <a:pt x="0" y="0"/>
                </a:moveTo>
                <a:lnTo>
                  <a:pt x="0" y="41275"/>
                </a:lnTo>
              </a:path>
            </a:pathLst>
          </a:custGeom>
          <a:ln w="635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5" name="object 129">
            <a:extLst>
              <a:ext uri="{FF2B5EF4-FFF2-40B4-BE49-F238E27FC236}">
                <a16:creationId xmlns:a16="http://schemas.microsoft.com/office/drawing/2014/main" id="{46940C64-A142-3B1C-51DC-6DC4C149BFC1}"/>
              </a:ext>
            </a:extLst>
          </p:cNvPr>
          <p:cNvSpPr/>
          <p:nvPr/>
        </p:nvSpPr>
        <p:spPr>
          <a:xfrm>
            <a:off x="1386749" y="2556777"/>
            <a:ext cx="1890337" cy="991055"/>
          </a:xfrm>
          <a:custGeom>
            <a:avLst/>
            <a:gdLst>
              <a:gd name="connsiteX0" fmla="*/ 0 w 2923362"/>
              <a:gd name="connsiteY0" fmla="*/ 0 h 956627"/>
              <a:gd name="connsiteX1" fmla="*/ 15925 w 2923362"/>
              <a:gd name="connsiteY1" fmla="*/ 0 h 956627"/>
              <a:gd name="connsiteX2" fmla="*/ 15925 w 2923362"/>
              <a:gd name="connsiteY2" fmla="*/ 8140 h 956627"/>
              <a:gd name="connsiteX3" fmla="*/ 54140 w 2923362"/>
              <a:gd name="connsiteY3" fmla="*/ 8140 h 956627"/>
              <a:gd name="connsiteX4" fmla="*/ 54140 w 2923362"/>
              <a:gd name="connsiteY4" fmla="*/ 16256 h 956627"/>
              <a:gd name="connsiteX5" fmla="*/ 57315 w 2923362"/>
              <a:gd name="connsiteY5" fmla="*/ 16256 h 956627"/>
              <a:gd name="connsiteX6" fmla="*/ 57315 w 2923362"/>
              <a:gd name="connsiteY6" fmla="*/ 32524 h 956627"/>
              <a:gd name="connsiteX7" fmla="*/ 108267 w 2923362"/>
              <a:gd name="connsiteY7" fmla="*/ 32524 h 956627"/>
              <a:gd name="connsiteX8" fmla="*/ 108267 w 2923362"/>
              <a:gd name="connsiteY8" fmla="*/ 48780 h 956627"/>
              <a:gd name="connsiteX9" fmla="*/ 159219 w 2923362"/>
              <a:gd name="connsiteY9" fmla="*/ 48780 h 956627"/>
              <a:gd name="connsiteX10" fmla="*/ 159219 w 2923362"/>
              <a:gd name="connsiteY10" fmla="*/ 56908 h 956627"/>
              <a:gd name="connsiteX11" fmla="*/ 178333 w 2923362"/>
              <a:gd name="connsiteY11" fmla="*/ 56908 h 956627"/>
              <a:gd name="connsiteX12" fmla="*/ 178333 w 2923362"/>
              <a:gd name="connsiteY12" fmla="*/ 73164 h 956627"/>
              <a:gd name="connsiteX13" fmla="*/ 184696 w 2923362"/>
              <a:gd name="connsiteY13" fmla="*/ 73164 h 956627"/>
              <a:gd name="connsiteX14" fmla="*/ 184696 w 2923362"/>
              <a:gd name="connsiteY14" fmla="*/ 89433 h 956627"/>
              <a:gd name="connsiteX15" fmla="*/ 194259 w 2923362"/>
              <a:gd name="connsiteY15" fmla="*/ 89433 h 956627"/>
              <a:gd name="connsiteX16" fmla="*/ 194259 w 2923362"/>
              <a:gd name="connsiteY16" fmla="*/ 105689 h 956627"/>
              <a:gd name="connsiteX17" fmla="*/ 197446 w 2923362"/>
              <a:gd name="connsiteY17" fmla="*/ 105689 h 956627"/>
              <a:gd name="connsiteX18" fmla="*/ 197446 w 2923362"/>
              <a:gd name="connsiteY18" fmla="*/ 121958 h 956627"/>
              <a:gd name="connsiteX19" fmla="*/ 206997 w 2923362"/>
              <a:gd name="connsiteY19" fmla="*/ 121958 h 956627"/>
              <a:gd name="connsiteX20" fmla="*/ 206997 w 2923362"/>
              <a:gd name="connsiteY20" fmla="*/ 130086 h 956627"/>
              <a:gd name="connsiteX21" fmla="*/ 213360 w 2923362"/>
              <a:gd name="connsiteY21" fmla="*/ 130086 h 956627"/>
              <a:gd name="connsiteX22" fmla="*/ 213360 w 2923362"/>
              <a:gd name="connsiteY22" fmla="*/ 138214 h 956627"/>
              <a:gd name="connsiteX23" fmla="*/ 226098 w 2923362"/>
              <a:gd name="connsiteY23" fmla="*/ 138214 h 956627"/>
              <a:gd name="connsiteX24" fmla="*/ 226098 w 2923362"/>
              <a:gd name="connsiteY24" fmla="*/ 146392 h 956627"/>
              <a:gd name="connsiteX25" fmla="*/ 229285 w 2923362"/>
              <a:gd name="connsiteY25" fmla="*/ 146392 h 956627"/>
              <a:gd name="connsiteX26" fmla="*/ 229285 w 2923362"/>
              <a:gd name="connsiteY26" fmla="*/ 154571 h 956627"/>
              <a:gd name="connsiteX27" fmla="*/ 270675 w 2923362"/>
              <a:gd name="connsiteY27" fmla="*/ 154571 h 956627"/>
              <a:gd name="connsiteX28" fmla="*/ 270675 w 2923362"/>
              <a:gd name="connsiteY28" fmla="*/ 170942 h 956627"/>
              <a:gd name="connsiteX29" fmla="*/ 286600 w 2923362"/>
              <a:gd name="connsiteY29" fmla="*/ 170942 h 956627"/>
              <a:gd name="connsiteX30" fmla="*/ 286600 w 2923362"/>
              <a:gd name="connsiteY30" fmla="*/ 179120 h 956627"/>
              <a:gd name="connsiteX31" fmla="*/ 299339 w 2923362"/>
              <a:gd name="connsiteY31" fmla="*/ 179120 h 956627"/>
              <a:gd name="connsiteX32" fmla="*/ 299339 w 2923362"/>
              <a:gd name="connsiteY32" fmla="*/ 187299 h 956627"/>
              <a:gd name="connsiteX33" fmla="*/ 315264 w 2923362"/>
              <a:gd name="connsiteY33" fmla="*/ 187299 h 956627"/>
              <a:gd name="connsiteX34" fmla="*/ 315264 w 2923362"/>
              <a:gd name="connsiteY34" fmla="*/ 220014 h 956627"/>
              <a:gd name="connsiteX35" fmla="*/ 318452 w 2923362"/>
              <a:gd name="connsiteY35" fmla="*/ 220014 h 956627"/>
              <a:gd name="connsiteX36" fmla="*/ 318452 w 2923362"/>
              <a:gd name="connsiteY36" fmla="*/ 236385 h 956627"/>
              <a:gd name="connsiteX37" fmla="*/ 328002 w 2923362"/>
              <a:gd name="connsiteY37" fmla="*/ 236385 h 956627"/>
              <a:gd name="connsiteX38" fmla="*/ 328002 w 2923362"/>
              <a:gd name="connsiteY38" fmla="*/ 261099 h 956627"/>
              <a:gd name="connsiteX39" fmla="*/ 334378 w 2923362"/>
              <a:gd name="connsiteY39" fmla="*/ 261099 h 956627"/>
              <a:gd name="connsiteX40" fmla="*/ 334378 w 2923362"/>
              <a:gd name="connsiteY40" fmla="*/ 302285 h 956627"/>
              <a:gd name="connsiteX41" fmla="*/ 337553 w 2923362"/>
              <a:gd name="connsiteY41" fmla="*/ 302285 h 956627"/>
              <a:gd name="connsiteX42" fmla="*/ 337553 w 2923362"/>
              <a:gd name="connsiteY42" fmla="*/ 351701 h 956627"/>
              <a:gd name="connsiteX43" fmla="*/ 340741 w 2923362"/>
              <a:gd name="connsiteY43" fmla="*/ 351701 h 956627"/>
              <a:gd name="connsiteX44" fmla="*/ 340741 w 2923362"/>
              <a:gd name="connsiteY44" fmla="*/ 359943 h 956627"/>
              <a:gd name="connsiteX45" fmla="*/ 347116 w 2923362"/>
              <a:gd name="connsiteY45" fmla="*/ 359943 h 956627"/>
              <a:gd name="connsiteX46" fmla="*/ 347116 w 2923362"/>
              <a:gd name="connsiteY46" fmla="*/ 384657 h 956627"/>
              <a:gd name="connsiteX47" fmla="*/ 350304 w 2923362"/>
              <a:gd name="connsiteY47" fmla="*/ 384657 h 956627"/>
              <a:gd name="connsiteX48" fmla="*/ 350304 w 2923362"/>
              <a:gd name="connsiteY48" fmla="*/ 401116 h 956627"/>
              <a:gd name="connsiteX49" fmla="*/ 353479 w 2923362"/>
              <a:gd name="connsiteY49" fmla="*/ 401116 h 956627"/>
              <a:gd name="connsiteX50" fmla="*/ 353479 w 2923362"/>
              <a:gd name="connsiteY50" fmla="*/ 425843 h 956627"/>
              <a:gd name="connsiteX51" fmla="*/ 356654 w 2923362"/>
              <a:gd name="connsiteY51" fmla="*/ 425843 h 956627"/>
              <a:gd name="connsiteX52" fmla="*/ 356654 w 2923362"/>
              <a:gd name="connsiteY52" fmla="*/ 434086 h 956627"/>
              <a:gd name="connsiteX53" fmla="*/ 359841 w 2923362"/>
              <a:gd name="connsiteY53" fmla="*/ 434086 h 956627"/>
              <a:gd name="connsiteX54" fmla="*/ 359841 w 2923362"/>
              <a:gd name="connsiteY54" fmla="*/ 442315 h 956627"/>
              <a:gd name="connsiteX55" fmla="*/ 363029 w 2923362"/>
              <a:gd name="connsiteY55" fmla="*/ 442315 h 956627"/>
              <a:gd name="connsiteX56" fmla="*/ 363029 w 2923362"/>
              <a:gd name="connsiteY56" fmla="*/ 467029 h 956627"/>
              <a:gd name="connsiteX57" fmla="*/ 366217 w 2923362"/>
              <a:gd name="connsiteY57" fmla="*/ 467029 h 956627"/>
              <a:gd name="connsiteX58" fmla="*/ 366217 w 2923362"/>
              <a:gd name="connsiteY58" fmla="*/ 475259 h 956627"/>
              <a:gd name="connsiteX59" fmla="*/ 369404 w 2923362"/>
              <a:gd name="connsiteY59" fmla="*/ 475259 h 956627"/>
              <a:gd name="connsiteX60" fmla="*/ 369404 w 2923362"/>
              <a:gd name="connsiteY60" fmla="*/ 483501 h 956627"/>
              <a:gd name="connsiteX61" fmla="*/ 375767 w 2923362"/>
              <a:gd name="connsiteY61" fmla="*/ 483501 h 956627"/>
              <a:gd name="connsiteX62" fmla="*/ 375767 w 2923362"/>
              <a:gd name="connsiteY62" fmla="*/ 499973 h 956627"/>
              <a:gd name="connsiteX63" fmla="*/ 378955 w 2923362"/>
              <a:gd name="connsiteY63" fmla="*/ 499973 h 956627"/>
              <a:gd name="connsiteX64" fmla="*/ 378955 w 2923362"/>
              <a:gd name="connsiteY64" fmla="*/ 508215 h 956627"/>
              <a:gd name="connsiteX65" fmla="*/ 385318 w 2923362"/>
              <a:gd name="connsiteY65" fmla="*/ 508215 h 956627"/>
              <a:gd name="connsiteX66" fmla="*/ 385318 w 2923362"/>
              <a:gd name="connsiteY66" fmla="*/ 516445 h 956627"/>
              <a:gd name="connsiteX67" fmla="*/ 394881 w 2923362"/>
              <a:gd name="connsiteY67" fmla="*/ 516445 h 956627"/>
              <a:gd name="connsiteX68" fmla="*/ 394881 w 2923362"/>
              <a:gd name="connsiteY68" fmla="*/ 524687 h 956627"/>
              <a:gd name="connsiteX69" fmla="*/ 420357 w 2923362"/>
              <a:gd name="connsiteY69" fmla="*/ 524687 h 956627"/>
              <a:gd name="connsiteX70" fmla="*/ 420357 w 2923362"/>
              <a:gd name="connsiteY70" fmla="*/ 532917 h 956627"/>
              <a:gd name="connsiteX71" fmla="*/ 439458 w 2923362"/>
              <a:gd name="connsiteY71" fmla="*/ 532917 h 956627"/>
              <a:gd name="connsiteX72" fmla="*/ 439458 w 2923362"/>
              <a:gd name="connsiteY72" fmla="*/ 541159 h 956627"/>
              <a:gd name="connsiteX73" fmla="*/ 455383 w 2923362"/>
              <a:gd name="connsiteY73" fmla="*/ 541159 h 956627"/>
              <a:gd name="connsiteX74" fmla="*/ 455383 w 2923362"/>
              <a:gd name="connsiteY74" fmla="*/ 549402 h 956627"/>
              <a:gd name="connsiteX75" fmla="*/ 464934 w 2923362"/>
              <a:gd name="connsiteY75" fmla="*/ 549402 h 956627"/>
              <a:gd name="connsiteX76" fmla="*/ 464934 w 2923362"/>
              <a:gd name="connsiteY76" fmla="*/ 557631 h 956627"/>
              <a:gd name="connsiteX77" fmla="*/ 471297 w 2923362"/>
              <a:gd name="connsiteY77" fmla="*/ 557631 h 956627"/>
              <a:gd name="connsiteX78" fmla="*/ 471297 w 2923362"/>
              <a:gd name="connsiteY78" fmla="*/ 565873 h 956627"/>
              <a:gd name="connsiteX79" fmla="*/ 474484 w 2923362"/>
              <a:gd name="connsiteY79" fmla="*/ 565873 h 956627"/>
              <a:gd name="connsiteX80" fmla="*/ 474484 w 2923362"/>
              <a:gd name="connsiteY80" fmla="*/ 574116 h 956627"/>
              <a:gd name="connsiteX81" fmla="*/ 484035 w 2923362"/>
              <a:gd name="connsiteY81" fmla="*/ 574116 h 956627"/>
              <a:gd name="connsiteX82" fmla="*/ 484035 w 2923362"/>
              <a:gd name="connsiteY82" fmla="*/ 582345 h 956627"/>
              <a:gd name="connsiteX83" fmla="*/ 487222 w 2923362"/>
              <a:gd name="connsiteY83" fmla="*/ 582345 h 956627"/>
              <a:gd name="connsiteX84" fmla="*/ 487222 w 2923362"/>
              <a:gd name="connsiteY84" fmla="*/ 590588 h 956627"/>
              <a:gd name="connsiteX85" fmla="*/ 493598 w 2923362"/>
              <a:gd name="connsiteY85" fmla="*/ 590588 h 956627"/>
              <a:gd name="connsiteX86" fmla="*/ 493598 w 2923362"/>
              <a:gd name="connsiteY86" fmla="*/ 598817 h 956627"/>
              <a:gd name="connsiteX87" fmla="*/ 496785 w 2923362"/>
              <a:gd name="connsiteY87" fmla="*/ 598817 h 956627"/>
              <a:gd name="connsiteX88" fmla="*/ 496785 w 2923362"/>
              <a:gd name="connsiteY88" fmla="*/ 607060 h 956627"/>
              <a:gd name="connsiteX89" fmla="*/ 519074 w 2923362"/>
              <a:gd name="connsiteY89" fmla="*/ 607060 h 956627"/>
              <a:gd name="connsiteX90" fmla="*/ 519074 w 2923362"/>
              <a:gd name="connsiteY90" fmla="*/ 615302 h 956627"/>
              <a:gd name="connsiteX91" fmla="*/ 694220 w 2923362"/>
              <a:gd name="connsiteY91" fmla="*/ 615302 h 956627"/>
              <a:gd name="connsiteX92" fmla="*/ 694220 w 2923362"/>
              <a:gd name="connsiteY92" fmla="*/ 623531 h 956627"/>
              <a:gd name="connsiteX93" fmla="*/ 780199 w 2923362"/>
              <a:gd name="connsiteY93" fmla="*/ 623531 h 956627"/>
              <a:gd name="connsiteX94" fmla="*/ 780199 w 2923362"/>
              <a:gd name="connsiteY94" fmla="*/ 631761 h 956627"/>
              <a:gd name="connsiteX95" fmla="*/ 821601 w 2923362"/>
              <a:gd name="connsiteY95" fmla="*/ 631761 h 956627"/>
              <a:gd name="connsiteX96" fmla="*/ 821601 w 2923362"/>
              <a:gd name="connsiteY96" fmla="*/ 640016 h 956627"/>
              <a:gd name="connsiteX97" fmla="*/ 917130 w 2923362"/>
              <a:gd name="connsiteY97" fmla="*/ 640016 h 956627"/>
              <a:gd name="connsiteX98" fmla="*/ 917130 w 2923362"/>
              <a:gd name="connsiteY98" fmla="*/ 648246 h 956627"/>
              <a:gd name="connsiteX99" fmla="*/ 939419 w 2923362"/>
              <a:gd name="connsiteY99" fmla="*/ 648246 h 956627"/>
              <a:gd name="connsiteX100" fmla="*/ 939419 w 2923362"/>
              <a:gd name="connsiteY100" fmla="*/ 656475 h 956627"/>
              <a:gd name="connsiteX101" fmla="*/ 948982 w 2923362"/>
              <a:gd name="connsiteY101" fmla="*/ 656475 h 956627"/>
              <a:gd name="connsiteX102" fmla="*/ 948982 w 2923362"/>
              <a:gd name="connsiteY102" fmla="*/ 664730 h 956627"/>
              <a:gd name="connsiteX103" fmla="*/ 987196 w 2923362"/>
              <a:gd name="connsiteY103" fmla="*/ 664730 h 956627"/>
              <a:gd name="connsiteX104" fmla="*/ 987196 w 2923362"/>
              <a:gd name="connsiteY104" fmla="*/ 672960 h 956627"/>
              <a:gd name="connsiteX105" fmla="*/ 1019035 w 2923362"/>
              <a:gd name="connsiteY105" fmla="*/ 672960 h 956627"/>
              <a:gd name="connsiteX106" fmla="*/ 1019035 w 2923362"/>
              <a:gd name="connsiteY106" fmla="*/ 681189 h 956627"/>
              <a:gd name="connsiteX107" fmla="*/ 1079538 w 2923362"/>
              <a:gd name="connsiteY107" fmla="*/ 681189 h 956627"/>
              <a:gd name="connsiteX108" fmla="*/ 1079538 w 2923362"/>
              <a:gd name="connsiteY108" fmla="*/ 689432 h 956627"/>
              <a:gd name="connsiteX109" fmla="*/ 1216469 w 2923362"/>
              <a:gd name="connsiteY109" fmla="*/ 689432 h 956627"/>
              <a:gd name="connsiteX110" fmla="*/ 1216469 w 2923362"/>
              <a:gd name="connsiteY110" fmla="*/ 697763 h 956627"/>
              <a:gd name="connsiteX111" fmla="*/ 1222844 w 2923362"/>
              <a:gd name="connsiteY111" fmla="*/ 697763 h 956627"/>
              <a:gd name="connsiteX112" fmla="*/ 1222844 w 2923362"/>
              <a:gd name="connsiteY112" fmla="*/ 706094 h 956627"/>
              <a:gd name="connsiteX113" fmla="*/ 1382064 w 2923362"/>
              <a:gd name="connsiteY113" fmla="*/ 706094 h 956627"/>
              <a:gd name="connsiteX114" fmla="*/ 1382064 w 2923362"/>
              <a:gd name="connsiteY114" fmla="*/ 714514 h 956627"/>
              <a:gd name="connsiteX115" fmla="*/ 1426654 w 2923362"/>
              <a:gd name="connsiteY115" fmla="*/ 714514 h 956627"/>
              <a:gd name="connsiteX116" fmla="*/ 1426654 w 2923362"/>
              <a:gd name="connsiteY116" fmla="*/ 722934 h 956627"/>
              <a:gd name="connsiteX117" fmla="*/ 1445755 w 2923362"/>
              <a:gd name="connsiteY117" fmla="*/ 722934 h 956627"/>
              <a:gd name="connsiteX118" fmla="*/ 1445755 w 2923362"/>
              <a:gd name="connsiteY118" fmla="*/ 731367 h 956627"/>
              <a:gd name="connsiteX119" fmla="*/ 1503083 w 2923362"/>
              <a:gd name="connsiteY119" fmla="*/ 731367 h 956627"/>
              <a:gd name="connsiteX120" fmla="*/ 1503083 w 2923362"/>
              <a:gd name="connsiteY120" fmla="*/ 740003 h 956627"/>
              <a:gd name="connsiteX121" fmla="*/ 1534922 w 2923362"/>
              <a:gd name="connsiteY121" fmla="*/ 740003 h 956627"/>
              <a:gd name="connsiteX122" fmla="*/ 1534922 w 2923362"/>
              <a:gd name="connsiteY122" fmla="*/ 748614 h 956627"/>
              <a:gd name="connsiteX123" fmla="*/ 1725993 w 2923362"/>
              <a:gd name="connsiteY123" fmla="*/ 748614 h 956627"/>
              <a:gd name="connsiteX124" fmla="*/ 1725993 w 2923362"/>
              <a:gd name="connsiteY124" fmla="*/ 757707 h 956627"/>
              <a:gd name="connsiteX125" fmla="*/ 1729181 w 2923362"/>
              <a:gd name="connsiteY125" fmla="*/ 757707 h 956627"/>
              <a:gd name="connsiteX126" fmla="*/ 1729181 w 2923362"/>
              <a:gd name="connsiteY126" fmla="*/ 766914 h 956627"/>
              <a:gd name="connsiteX127" fmla="*/ 2085835 w 2923362"/>
              <a:gd name="connsiteY127" fmla="*/ 766914 h 956627"/>
              <a:gd name="connsiteX128" fmla="*/ 2085835 w 2923362"/>
              <a:gd name="connsiteY128" fmla="*/ 781215 h 956627"/>
              <a:gd name="connsiteX129" fmla="*/ 2776867 w 2923362"/>
              <a:gd name="connsiteY129" fmla="*/ 781215 h 956627"/>
              <a:gd name="connsiteX130" fmla="*/ 2776867 w 2923362"/>
              <a:gd name="connsiteY130" fmla="*/ 836028 h 956627"/>
              <a:gd name="connsiteX131" fmla="*/ 2923362 w 2923362"/>
              <a:gd name="connsiteY131" fmla="*/ 836028 h 956627"/>
              <a:gd name="connsiteX132" fmla="*/ 2923362 w 2923362"/>
              <a:gd name="connsiteY132" fmla="*/ 956627 h 956627"/>
              <a:gd name="connsiteX0" fmla="*/ 0 w 2923362"/>
              <a:gd name="connsiteY0" fmla="*/ 0 h 836028"/>
              <a:gd name="connsiteX1" fmla="*/ 15925 w 2923362"/>
              <a:gd name="connsiteY1" fmla="*/ 0 h 836028"/>
              <a:gd name="connsiteX2" fmla="*/ 15925 w 2923362"/>
              <a:gd name="connsiteY2" fmla="*/ 8140 h 836028"/>
              <a:gd name="connsiteX3" fmla="*/ 54140 w 2923362"/>
              <a:gd name="connsiteY3" fmla="*/ 8140 h 836028"/>
              <a:gd name="connsiteX4" fmla="*/ 54140 w 2923362"/>
              <a:gd name="connsiteY4" fmla="*/ 16256 h 836028"/>
              <a:gd name="connsiteX5" fmla="*/ 57315 w 2923362"/>
              <a:gd name="connsiteY5" fmla="*/ 16256 h 836028"/>
              <a:gd name="connsiteX6" fmla="*/ 57315 w 2923362"/>
              <a:gd name="connsiteY6" fmla="*/ 32524 h 836028"/>
              <a:gd name="connsiteX7" fmla="*/ 108267 w 2923362"/>
              <a:gd name="connsiteY7" fmla="*/ 32524 h 836028"/>
              <a:gd name="connsiteX8" fmla="*/ 108267 w 2923362"/>
              <a:gd name="connsiteY8" fmla="*/ 48780 h 836028"/>
              <a:gd name="connsiteX9" fmla="*/ 159219 w 2923362"/>
              <a:gd name="connsiteY9" fmla="*/ 48780 h 836028"/>
              <a:gd name="connsiteX10" fmla="*/ 159219 w 2923362"/>
              <a:gd name="connsiteY10" fmla="*/ 56908 h 836028"/>
              <a:gd name="connsiteX11" fmla="*/ 178333 w 2923362"/>
              <a:gd name="connsiteY11" fmla="*/ 56908 h 836028"/>
              <a:gd name="connsiteX12" fmla="*/ 178333 w 2923362"/>
              <a:gd name="connsiteY12" fmla="*/ 73164 h 836028"/>
              <a:gd name="connsiteX13" fmla="*/ 184696 w 2923362"/>
              <a:gd name="connsiteY13" fmla="*/ 73164 h 836028"/>
              <a:gd name="connsiteX14" fmla="*/ 184696 w 2923362"/>
              <a:gd name="connsiteY14" fmla="*/ 89433 h 836028"/>
              <a:gd name="connsiteX15" fmla="*/ 194259 w 2923362"/>
              <a:gd name="connsiteY15" fmla="*/ 89433 h 836028"/>
              <a:gd name="connsiteX16" fmla="*/ 194259 w 2923362"/>
              <a:gd name="connsiteY16" fmla="*/ 105689 h 836028"/>
              <a:gd name="connsiteX17" fmla="*/ 197446 w 2923362"/>
              <a:gd name="connsiteY17" fmla="*/ 105689 h 836028"/>
              <a:gd name="connsiteX18" fmla="*/ 197446 w 2923362"/>
              <a:gd name="connsiteY18" fmla="*/ 121958 h 836028"/>
              <a:gd name="connsiteX19" fmla="*/ 206997 w 2923362"/>
              <a:gd name="connsiteY19" fmla="*/ 121958 h 836028"/>
              <a:gd name="connsiteX20" fmla="*/ 206997 w 2923362"/>
              <a:gd name="connsiteY20" fmla="*/ 130086 h 836028"/>
              <a:gd name="connsiteX21" fmla="*/ 213360 w 2923362"/>
              <a:gd name="connsiteY21" fmla="*/ 130086 h 836028"/>
              <a:gd name="connsiteX22" fmla="*/ 213360 w 2923362"/>
              <a:gd name="connsiteY22" fmla="*/ 138214 h 836028"/>
              <a:gd name="connsiteX23" fmla="*/ 226098 w 2923362"/>
              <a:gd name="connsiteY23" fmla="*/ 138214 h 836028"/>
              <a:gd name="connsiteX24" fmla="*/ 226098 w 2923362"/>
              <a:gd name="connsiteY24" fmla="*/ 146392 h 836028"/>
              <a:gd name="connsiteX25" fmla="*/ 229285 w 2923362"/>
              <a:gd name="connsiteY25" fmla="*/ 146392 h 836028"/>
              <a:gd name="connsiteX26" fmla="*/ 229285 w 2923362"/>
              <a:gd name="connsiteY26" fmla="*/ 154571 h 836028"/>
              <a:gd name="connsiteX27" fmla="*/ 270675 w 2923362"/>
              <a:gd name="connsiteY27" fmla="*/ 154571 h 836028"/>
              <a:gd name="connsiteX28" fmla="*/ 270675 w 2923362"/>
              <a:gd name="connsiteY28" fmla="*/ 170942 h 836028"/>
              <a:gd name="connsiteX29" fmla="*/ 286600 w 2923362"/>
              <a:gd name="connsiteY29" fmla="*/ 170942 h 836028"/>
              <a:gd name="connsiteX30" fmla="*/ 286600 w 2923362"/>
              <a:gd name="connsiteY30" fmla="*/ 179120 h 836028"/>
              <a:gd name="connsiteX31" fmla="*/ 299339 w 2923362"/>
              <a:gd name="connsiteY31" fmla="*/ 179120 h 836028"/>
              <a:gd name="connsiteX32" fmla="*/ 299339 w 2923362"/>
              <a:gd name="connsiteY32" fmla="*/ 187299 h 836028"/>
              <a:gd name="connsiteX33" fmla="*/ 315264 w 2923362"/>
              <a:gd name="connsiteY33" fmla="*/ 187299 h 836028"/>
              <a:gd name="connsiteX34" fmla="*/ 315264 w 2923362"/>
              <a:gd name="connsiteY34" fmla="*/ 220014 h 836028"/>
              <a:gd name="connsiteX35" fmla="*/ 318452 w 2923362"/>
              <a:gd name="connsiteY35" fmla="*/ 220014 h 836028"/>
              <a:gd name="connsiteX36" fmla="*/ 318452 w 2923362"/>
              <a:gd name="connsiteY36" fmla="*/ 236385 h 836028"/>
              <a:gd name="connsiteX37" fmla="*/ 328002 w 2923362"/>
              <a:gd name="connsiteY37" fmla="*/ 236385 h 836028"/>
              <a:gd name="connsiteX38" fmla="*/ 328002 w 2923362"/>
              <a:gd name="connsiteY38" fmla="*/ 261099 h 836028"/>
              <a:gd name="connsiteX39" fmla="*/ 334378 w 2923362"/>
              <a:gd name="connsiteY39" fmla="*/ 261099 h 836028"/>
              <a:gd name="connsiteX40" fmla="*/ 334378 w 2923362"/>
              <a:gd name="connsiteY40" fmla="*/ 302285 h 836028"/>
              <a:gd name="connsiteX41" fmla="*/ 337553 w 2923362"/>
              <a:gd name="connsiteY41" fmla="*/ 302285 h 836028"/>
              <a:gd name="connsiteX42" fmla="*/ 337553 w 2923362"/>
              <a:gd name="connsiteY42" fmla="*/ 351701 h 836028"/>
              <a:gd name="connsiteX43" fmla="*/ 340741 w 2923362"/>
              <a:gd name="connsiteY43" fmla="*/ 351701 h 836028"/>
              <a:gd name="connsiteX44" fmla="*/ 340741 w 2923362"/>
              <a:gd name="connsiteY44" fmla="*/ 359943 h 836028"/>
              <a:gd name="connsiteX45" fmla="*/ 347116 w 2923362"/>
              <a:gd name="connsiteY45" fmla="*/ 359943 h 836028"/>
              <a:gd name="connsiteX46" fmla="*/ 347116 w 2923362"/>
              <a:gd name="connsiteY46" fmla="*/ 384657 h 836028"/>
              <a:gd name="connsiteX47" fmla="*/ 350304 w 2923362"/>
              <a:gd name="connsiteY47" fmla="*/ 384657 h 836028"/>
              <a:gd name="connsiteX48" fmla="*/ 350304 w 2923362"/>
              <a:gd name="connsiteY48" fmla="*/ 401116 h 836028"/>
              <a:gd name="connsiteX49" fmla="*/ 353479 w 2923362"/>
              <a:gd name="connsiteY49" fmla="*/ 401116 h 836028"/>
              <a:gd name="connsiteX50" fmla="*/ 353479 w 2923362"/>
              <a:gd name="connsiteY50" fmla="*/ 425843 h 836028"/>
              <a:gd name="connsiteX51" fmla="*/ 356654 w 2923362"/>
              <a:gd name="connsiteY51" fmla="*/ 425843 h 836028"/>
              <a:gd name="connsiteX52" fmla="*/ 356654 w 2923362"/>
              <a:gd name="connsiteY52" fmla="*/ 434086 h 836028"/>
              <a:gd name="connsiteX53" fmla="*/ 359841 w 2923362"/>
              <a:gd name="connsiteY53" fmla="*/ 434086 h 836028"/>
              <a:gd name="connsiteX54" fmla="*/ 359841 w 2923362"/>
              <a:gd name="connsiteY54" fmla="*/ 442315 h 836028"/>
              <a:gd name="connsiteX55" fmla="*/ 363029 w 2923362"/>
              <a:gd name="connsiteY55" fmla="*/ 442315 h 836028"/>
              <a:gd name="connsiteX56" fmla="*/ 363029 w 2923362"/>
              <a:gd name="connsiteY56" fmla="*/ 467029 h 836028"/>
              <a:gd name="connsiteX57" fmla="*/ 366217 w 2923362"/>
              <a:gd name="connsiteY57" fmla="*/ 467029 h 836028"/>
              <a:gd name="connsiteX58" fmla="*/ 366217 w 2923362"/>
              <a:gd name="connsiteY58" fmla="*/ 475259 h 836028"/>
              <a:gd name="connsiteX59" fmla="*/ 369404 w 2923362"/>
              <a:gd name="connsiteY59" fmla="*/ 475259 h 836028"/>
              <a:gd name="connsiteX60" fmla="*/ 369404 w 2923362"/>
              <a:gd name="connsiteY60" fmla="*/ 483501 h 836028"/>
              <a:gd name="connsiteX61" fmla="*/ 375767 w 2923362"/>
              <a:gd name="connsiteY61" fmla="*/ 483501 h 836028"/>
              <a:gd name="connsiteX62" fmla="*/ 375767 w 2923362"/>
              <a:gd name="connsiteY62" fmla="*/ 499973 h 836028"/>
              <a:gd name="connsiteX63" fmla="*/ 378955 w 2923362"/>
              <a:gd name="connsiteY63" fmla="*/ 499973 h 836028"/>
              <a:gd name="connsiteX64" fmla="*/ 378955 w 2923362"/>
              <a:gd name="connsiteY64" fmla="*/ 508215 h 836028"/>
              <a:gd name="connsiteX65" fmla="*/ 385318 w 2923362"/>
              <a:gd name="connsiteY65" fmla="*/ 508215 h 836028"/>
              <a:gd name="connsiteX66" fmla="*/ 385318 w 2923362"/>
              <a:gd name="connsiteY66" fmla="*/ 516445 h 836028"/>
              <a:gd name="connsiteX67" fmla="*/ 394881 w 2923362"/>
              <a:gd name="connsiteY67" fmla="*/ 516445 h 836028"/>
              <a:gd name="connsiteX68" fmla="*/ 394881 w 2923362"/>
              <a:gd name="connsiteY68" fmla="*/ 524687 h 836028"/>
              <a:gd name="connsiteX69" fmla="*/ 420357 w 2923362"/>
              <a:gd name="connsiteY69" fmla="*/ 524687 h 836028"/>
              <a:gd name="connsiteX70" fmla="*/ 420357 w 2923362"/>
              <a:gd name="connsiteY70" fmla="*/ 532917 h 836028"/>
              <a:gd name="connsiteX71" fmla="*/ 439458 w 2923362"/>
              <a:gd name="connsiteY71" fmla="*/ 532917 h 836028"/>
              <a:gd name="connsiteX72" fmla="*/ 439458 w 2923362"/>
              <a:gd name="connsiteY72" fmla="*/ 541159 h 836028"/>
              <a:gd name="connsiteX73" fmla="*/ 455383 w 2923362"/>
              <a:gd name="connsiteY73" fmla="*/ 541159 h 836028"/>
              <a:gd name="connsiteX74" fmla="*/ 455383 w 2923362"/>
              <a:gd name="connsiteY74" fmla="*/ 549402 h 836028"/>
              <a:gd name="connsiteX75" fmla="*/ 464934 w 2923362"/>
              <a:gd name="connsiteY75" fmla="*/ 549402 h 836028"/>
              <a:gd name="connsiteX76" fmla="*/ 464934 w 2923362"/>
              <a:gd name="connsiteY76" fmla="*/ 557631 h 836028"/>
              <a:gd name="connsiteX77" fmla="*/ 471297 w 2923362"/>
              <a:gd name="connsiteY77" fmla="*/ 557631 h 836028"/>
              <a:gd name="connsiteX78" fmla="*/ 471297 w 2923362"/>
              <a:gd name="connsiteY78" fmla="*/ 565873 h 836028"/>
              <a:gd name="connsiteX79" fmla="*/ 474484 w 2923362"/>
              <a:gd name="connsiteY79" fmla="*/ 565873 h 836028"/>
              <a:gd name="connsiteX80" fmla="*/ 474484 w 2923362"/>
              <a:gd name="connsiteY80" fmla="*/ 574116 h 836028"/>
              <a:gd name="connsiteX81" fmla="*/ 484035 w 2923362"/>
              <a:gd name="connsiteY81" fmla="*/ 574116 h 836028"/>
              <a:gd name="connsiteX82" fmla="*/ 484035 w 2923362"/>
              <a:gd name="connsiteY82" fmla="*/ 582345 h 836028"/>
              <a:gd name="connsiteX83" fmla="*/ 487222 w 2923362"/>
              <a:gd name="connsiteY83" fmla="*/ 582345 h 836028"/>
              <a:gd name="connsiteX84" fmla="*/ 487222 w 2923362"/>
              <a:gd name="connsiteY84" fmla="*/ 590588 h 836028"/>
              <a:gd name="connsiteX85" fmla="*/ 493598 w 2923362"/>
              <a:gd name="connsiteY85" fmla="*/ 590588 h 836028"/>
              <a:gd name="connsiteX86" fmla="*/ 493598 w 2923362"/>
              <a:gd name="connsiteY86" fmla="*/ 598817 h 836028"/>
              <a:gd name="connsiteX87" fmla="*/ 496785 w 2923362"/>
              <a:gd name="connsiteY87" fmla="*/ 598817 h 836028"/>
              <a:gd name="connsiteX88" fmla="*/ 496785 w 2923362"/>
              <a:gd name="connsiteY88" fmla="*/ 607060 h 836028"/>
              <a:gd name="connsiteX89" fmla="*/ 519074 w 2923362"/>
              <a:gd name="connsiteY89" fmla="*/ 607060 h 836028"/>
              <a:gd name="connsiteX90" fmla="*/ 519074 w 2923362"/>
              <a:gd name="connsiteY90" fmla="*/ 615302 h 836028"/>
              <a:gd name="connsiteX91" fmla="*/ 694220 w 2923362"/>
              <a:gd name="connsiteY91" fmla="*/ 615302 h 836028"/>
              <a:gd name="connsiteX92" fmla="*/ 694220 w 2923362"/>
              <a:gd name="connsiteY92" fmla="*/ 623531 h 836028"/>
              <a:gd name="connsiteX93" fmla="*/ 780199 w 2923362"/>
              <a:gd name="connsiteY93" fmla="*/ 623531 h 836028"/>
              <a:gd name="connsiteX94" fmla="*/ 780199 w 2923362"/>
              <a:gd name="connsiteY94" fmla="*/ 631761 h 836028"/>
              <a:gd name="connsiteX95" fmla="*/ 821601 w 2923362"/>
              <a:gd name="connsiteY95" fmla="*/ 631761 h 836028"/>
              <a:gd name="connsiteX96" fmla="*/ 821601 w 2923362"/>
              <a:gd name="connsiteY96" fmla="*/ 640016 h 836028"/>
              <a:gd name="connsiteX97" fmla="*/ 917130 w 2923362"/>
              <a:gd name="connsiteY97" fmla="*/ 640016 h 836028"/>
              <a:gd name="connsiteX98" fmla="*/ 917130 w 2923362"/>
              <a:gd name="connsiteY98" fmla="*/ 648246 h 836028"/>
              <a:gd name="connsiteX99" fmla="*/ 939419 w 2923362"/>
              <a:gd name="connsiteY99" fmla="*/ 648246 h 836028"/>
              <a:gd name="connsiteX100" fmla="*/ 939419 w 2923362"/>
              <a:gd name="connsiteY100" fmla="*/ 656475 h 836028"/>
              <a:gd name="connsiteX101" fmla="*/ 948982 w 2923362"/>
              <a:gd name="connsiteY101" fmla="*/ 656475 h 836028"/>
              <a:gd name="connsiteX102" fmla="*/ 948982 w 2923362"/>
              <a:gd name="connsiteY102" fmla="*/ 664730 h 836028"/>
              <a:gd name="connsiteX103" fmla="*/ 987196 w 2923362"/>
              <a:gd name="connsiteY103" fmla="*/ 664730 h 836028"/>
              <a:gd name="connsiteX104" fmla="*/ 987196 w 2923362"/>
              <a:gd name="connsiteY104" fmla="*/ 672960 h 836028"/>
              <a:gd name="connsiteX105" fmla="*/ 1019035 w 2923362"/>
              <a:gd name="connsiteY105" fmla="*/ 672960 h 836028"/>
              <a:gd name="connsiteX106" fmla="*/ 1019035 w 2923362"/>
              <a:gd name="connsiteY106" fmla="*/ 681189 h 836028"/>
              <a:gd name="connsiteX107" fmla="*/ 1079538 w 2923362"/>
              <a:gd name="connsiteY107" fmla="*/ 681189 h 836028"/>
              <a:gd name="connsiteX108" fmla="*/ 1079538 w 2923362"/>
              <a:gd name="connsiteY108" fmla="*/ 689432 h 836028"/>
              <a:gd name="connsiteX109" fmla="*/ 1216469 w 2923362"/>
              <a:gd name="connsiteY109" fmla="*/ 689432 h 836028"/>
              <a:gd name="connsiteX110" fmla="*/ 1216469 w 2923362"/>
              <a:gd name="connsiteY110" fmla="*/ 697763 h 836028"/>
              <a:gd name="connsiteX111" fmla="*/ 1222844 w 2923362"/>
              <a:gd name="connsiteY111" fmla="*/ 697763 h 836028"/>
              <a:gd name="connsiteX112" fmla="*/ 1222844 w 2923362"/>
              <a:gd name="connsiteY112" fmla="*/ 706094 h 836028"/>
              <a:gd name="connsiteX113" fmla="*/ 1382064 w 2923362"/>
              <a:gd name="connsiteY113" fmla="*/ 706094 h 836028"/>
              <a:gd name="connsiteX114" fmla="*/ 1382064 w 2923362"/>
              <a:gd name="connsiteY114" fmla="*/ 714514 h 836028"/>
              <a:gd name="connsiteX115" fmla="*/ 1426654 w 2923362"/>
              <a:gd name="connsiteY115" fmla="*/ 714514 h 836028"/>
              <a:gd name="connsiteX116" fmla="*/ 1426654 w 2923362"/>
              <a:gd name="connsiteY116" fmla="*/ 722934 h 836028"/>
              <a:gd name="connsiteX117" fmla="*/ 1445755 w 2923362"/>
              <a:gd name="connsiteY117" fmla="*/ 722934 h 836028"/>
              <a:gd name="connsiteX118" fmla="*/ 1445755 w 2923362"/>
              <a:gd name="connsiteY118" fmla="*/ 731367 h 836028"/>
              <a:gd name="connsiteX119" fmla="*/ 1503083 w 2923362"/>
              <a:gd name="connsiteY119" fmla="*/ 731367 h 836028"/>
              <a:gd name="connsiteX120" fmla="*/ 1503083 w 2923362"/>
              <a:gd name="connsiteY120" fmla="*/ 740003 h 836028"/>
              <a:gd name="connsiteX121" fmla="*/ 1534922 w 2923362"/>
              <a:gd name="connsiteY121" fmla="*/ 740003 h 836028"/>
              <a:gd name="connsiteX122" fmla="*/ 1534922 w 2923362"/>
              <a:gd name="connsiteY122" fmla="*/ 748614 h 836028"/>
              <a:gd name="connsiteX123" fmla="*/ 1725993 w 2923362"/>
              <a:gd name="connsiteY123" fmla="*/ 748614 h 836028"/>
              <a:gd name="connsiteX124" fmla="*/ 1725993 w 2923362"/>
              <a:gd name="connsiteY124" fmla="*/ 757707 h 836028"/>
              <a:gd name="connsiteX125" fmla="*/ 1729181 w 2923362"/>
              <a:gd name="connsiteY125" fmla="*/ 757707 h 836028"/>
              <a:gd name="connsiteX126" fmla="*/ 1729181 w 2923362"/>
              <a:gd name="connsiteY126" fmla="*/ 766914 h 836028"/>
              <a:gd name="connsiteX127" fmla="*/ 2085835 w 2923362"/>
              <a:gd name="connsiteY127" fmla="*/ 766914 h 836028"/>
              <a:gd name="connsiteX128" fmla="*/ 2085835 w 2923362"/>
              <a:gd name="connsiteY128" fmla="*/ 781215 h 836028"/>
              <a:gd name="connsiteX129" fmla="*/ 2776867 w 2923362"/>
              <a:gd name="connsiteY129" fmla="*/ 781215 h 836028"/>
              <a:gd name="connsiteX130" fmla="*/ 2776867 w 2923362"/>
              <a:gd name="connsiteY130" fmla="*/ 836028 h 836028"/>
              <a:gd name="connsiteX131" fmla="*/ 2923362 w 2923362"/>
              <a:gd name="connsiteY131" fmla="*/ 836028 h 836028"/>
              <a:gd name="connsiteX0" fmla="*/ 0 w 2776867"/>
              <a:gd name="connsiteY0" fmla="*/ 0 h 836028"/>
              <a:gd name="connsiteX1" fmla="*/ 15925 w 2776867"/>
              <a:gd name="connsiteY1" fmla="*/ 0 h 836028"/>
              <a:gd name="connsiteX2" fmla="*/ 15925 w 2776867"/>
              <a:gd name="connsiteY2" fmla="*/ 8140 h 836028"/>
              <a:gd name="connsiteX3" fmla="*/ 54140 w 2776867"/>
              <a:gd name="connsiteY3" fmla="*/ 8140 h 836028"/>
              <a:gd name="connsiteX4" fmla="*/ 54140 w 2776867"/>
              <a:gd name="connsiteY4" fmla="*/ 16256 h 836028"/>
              <a:gd name="connsiteX5" fmla="*/ 57315 w 2776867"/>
              <a:gd name="connsiteY5" fmla="*/ 16256 h 836028"/>
              <a:gd name="connsiteX6" fmla="*/ 57315 w 2776867"/>
              <a:gd name="connsiteY6" fmla="*/ 32524 h 836028"/>
              <a:gd name="connsiteX7" fmla="*/ 108267 w 2776867"/>
              <a:gd name="connsiteY7" fmla="*/ 32524 h 836028"/>
              <a:gd name="connsiteX8" fmla="*/ 108267 w 2776867"/>
              <a:gd name="connsiteY8" fmla="*/ 48780 h 836028"/>
              <a:gd name="connsiteX9" fmla="*/ 159219 w 2776867"/>
              <a:gd name="connsiteY9" fmla="*/ 48780 h 836028"/>
              <a:gd name="connsiteX10" fmla="*/ 159219 w 2776867"/>
              <a:gd name="connsiteY10" fmla="*/ 56908 h 836028"/>
              <a:gd name="connsiteX11" fmla="*/ 178333 w 2776867"/>
              <a:gd name="connsiteY11" fmla="*/ 56908 h 836028"/>
              <a:gd name="connsiteX12" fmla="*/ 178333 w 2776867"/>
              <a:gd name="connsiteY12" fmla="*/ 73164 h 836028"/>
              <a:gd name="connsiteX13" fmla="*/ 184696 w 2776867"/>
              <a:gd name="connsiteY13" fmla="*/ 73164 h 836028"/>
              <a:gd name="connsiteX14" fmla="*/ 184696 w 2776867"/>
              <a:gd name="connsiteY14" fmla="*/ 89433 h 836028"/>
              <a:gd name="connsiteX15" fmla="*/ 194259 w 2776867"/>
              <a:gd name="connsiteY15" fmla="*/ 89433 h 836028"/>
              <a:gd name="connsiteX16" fmla="*/ 194259 w 2776867"/>
              <a:gd name="connsiteY16" fmla="*/ 105689 h 836028"/>
              <a:gd name="connsiteX17" fmla="*/ 197446 w 2776867"/>
              <a:gd name="connsiteY17" fmla="*/ 105689 h 836028"/>
              <a:gd name="connsiteX18" fmla="*/ 197446 w 2776867"/>
              <a:gd name="connsiteY18" fmla="*/ 121958 h 836028"/>
              <a:gd name="connsiteX19" fmla="*/ 206997 w 2776867"/>
              <a:gd name="connsiteY19" fmla="*/ 121958 h 836028"/>
              <a:gd name="connsiteX20" fmla="*/ 206997 w 2776867"/>
              <a:gd name="connsiteY20" fmla="*/ 130086 h 836028"/>
              <a:gd name="connsiteX21" fmla="*/ 213360 w 2776867"/>
              <a:gd name="connsiteY21" fmla="*/ 130086 h 836028"/>
              <a:gd name="connsiteX22" fmla="*/ 213360 w 2776867"/>
              <a:gd name="connsiteY22" fmla="*/ 138214 h 836028"/>
              <a:gd name="connsiteX23" fmla="*/ 226098 w 2776867"/>
              <a:gd name="connsiteY23" fmla="*/ 138214 h 836028"/>
              <a:gd name="connsiteX24" fmla="*/ 226098 w 2776867"/>
              <a:gd name="connsiteY24" fmla="*/ 146392 h 836028"/>
              <a:gd name="connsiteX25" fmla="*/ 229285 w 2776867"/>
              <a:gd name="connsiteY25" fmla="*/ 146392 h 836028"/>
              <a:gd name="connsiteX26" fmla="*/ 229285 w 2776867"/>
              <a:gd name="connsiteY26" fmla="*/ 154571 h 836028"/>
              <a:gd name="connsiteX27" fmla="*/ 270675 w 2776867"/>
              <a:gd name="connsiteY27" fmla="*/ 154571 h 836028"/>
              <a:gd name="connsiteX28" fmla="*/ 270675 w 2776867"/>
              <a:gd name="connsiteY28" fmla="*/ 170942 h 836028"/>
              <a:gd name="connsiteX29" fmla="*/ 286600 w 2776867"/>
              <a:gd name="connsiteY29" fmla="*/ 170942 h 836028"/>
              <a:gd name="connsiteX30" fmla="*/ 286600 w 2776867"/>
              <a:gd name="connsiteY30" fmla="*/ 179120 h 836028"/>
              <a:gd name="connsiteX31" fmla="*/ 299339 w 2776867"/>
              <a:gd name="connsiteY31" fmla="*/ 179120 h 836028"/>
              <a:gd name="connsiteX32" fmla="*/ 299339 w 2776867"/>
              <a:gd name="connsiteY32" fmla="*/ 187299 h 836028"/>
              <a:gd name="connsiteX33" fmla="*/ 315264 w 2776867"/>
              <a:gd name="connsiteY33" fmla="*/ 187299 h 836028"/>
              <a:gd name="connsiteX34" fmla="*/ 315264 w 2776867"/>
              <a:gd name="connsiteY34" fmla="*/ 220014 h 836028"/>
              <a:gd name="connsiteX35" fmla="*/ 318452 w 2776867"/>
              <a:gd name="connsiteY35" fmla="*/ 220014 h 836028"/>
              <a:gd name="connsiteX36" fmla="*/ 318452 w 2776867"/>
              <a:gd name="connsiteY36" fmla="*/ 236385 h 836028"/>
              <a:gd name="connsiteX37" fmla="*/ 328002 w 2776867"/>
              <a:gd name="connsiteY37" fmla="*/ 236385 h 836028"/>
              <a:gd name="connsiteX38" fmla="*/ 328002 w 2776867"/>
              <a:gd name="connsiteY38" fmla="*/ 261099 h 836028"/>
              <a:gd name="connsiteX39" fmla="*/ 334378 w 2776867"/>
              <a:gd name="connsiteY39" fmla="*/ 261099 h 836028"/>
              <a:gd name="connsiteX40" fmla="*/ 334378 w 2776867"/>
              <a:gd name="connsiteY40" fmla="*/ 302285 h 836028"/>
              <a:gd name="connsiteX41" fmla="*/ 337553 w 2776867"/>
              <a:gd name="connsiteY41" fmla="*/ 302285 h 836028"/>
              <a:gd name="connsiteX42" fmla="*/ 337553 w 2776867"/>
              <a:gd name="connsiteY42" fmla="*/ 351701 h 836028"/>
              <a:gd name="connsiteX43" fmla="*/ 340741 w 2776867"/>
              <a:gd name="connsiteY43" fmla="*/ 351701 h 836028"/>
              <a:gd name="connsiteX44" fmla="*/ 340741 w 2776867"/>
              <a:gd name="connsiteY44" fmla="*/ 359943 h 836028"/>
              <a:gd name="connsiteX45" fmla="*/ 347116 w 2776867"/>
              <a:gd name="connsiteY45" fmla="*/ 359943 h 836028"/>
              <a:gd name="connsiteX46" fmla="*/ 347116 w 2776867"/>
              <a:gd name="connsiteY46" fmla="*/ 384657 h 836028"/>
              <a:gd name="connsiteX47" fmla="*/ 350304 w 2776867"/>
              <a:gd name="connsiteY47" fmla="*/ 384657 h 836028"/>
              <a:gd name="connsiteX48" fmla="*/ 350304 w 2776867"/>
              <a:gd name="connsiteY48" fmla="*/ 401116 h 836028"/>
              <a:gd name="connsiteX49" fmla="*/ 353479 w 2776867"/>
              <a:gd name="connsiteY49" fmla="*/ 401116 h 836028"/>
              <a:gd name="connsiteX50" fmla="*/ 353479 w 2776867"/>
              <a:gd name="connsiteY50" fmla="*/ 425843 h 836028"/>
              <a:gd name="connsiteX51" fmla="*/ 356654 w 2776867"/>
              <a:gd name="connsiteY51" fmla="*/ 425843 h 836028"/>
              <a:gd name="connsiteX52" fmla="*/ 356654 w 2776867"/>
              <a:gd name="connsiteY52" fmla="*/ 434086 h 836028"/>
              <a:gd name="connsiteX53" fmla="*/ 359841 w 2776867"/>
              <a:gd name="connsiteY53" fmla="*/ 434086 h 836028"/>
              <a:gd name="connsiteX54" fmla="*/ 359841 w 2776867"/>
              <a:gd name="connsiteY54" fmla="*/ 442315 h 836028"/>
              <a:gd name="connsiteX55" fmla="*/ 363029 w 2776867"/>
              <a:gd name="connsiteY55" fmla="*/ 442315 h 836028"/>
              <a:gd name="connsiteX56" fmla="*/ 363029 w 2776867"/>
              <a:gd name="connsiteY56" fmla="*/ 467029 h 836028"/>
              <a:gd name="connsiteX57" fmla="*/ 366217 w 2776867"/>
              <a:gd name="connsiteY57" fmla="*/ 467029 h 836028"/>
              <a:gd name="connsiteX58" fmla="*/ 366217 w 2776867"/>
              <a:gd name="connsiteY58" fmla="*/ 475259 h 836028"/>
              <a:gd name="connsiteX59" fmla="*/ 369404 w 2776867"/>
              <a:gd name="connsiteY59" fmla="*/ 475259 h 836028"/>
              <a:gd name="connsiteX60" fmla="*/ 369404 w 2776867"/>
              <a:gd name="connsiteY60" fmla="*/ 483501 h 836028"/>
              <a:gd name="connsiteX61" fmla="*/ 375767 w 2776867"/>
              <a:gd name="connsiteY61" fmla="*/ 483501 h 836028"/>
              <a:gd name="connsiteX62" fmla="*/ 375767 w 2776867"/>
              <a:gd name="connsiteY62" fmla="*/ 499973 h 836028"/>
              <a:gd name="connsiteX63" fmla="*/ 378955 w 2776867"/>
              <a:gd name="connsiteY63" fmla="*/ 499973 h 836028"/>
              <a:gd name="connsiteX64" fmla="*/ 378955 w 2776867"/>
              <a:gd name="connsiteY64" fmla="*/ 508215 h 836028"/>
              <a:gd name="connsiteX65" fmla="*/ 385318 w 2776867"/>
              <a:gd name="connsiteY65" fmla="*/ 508215 h 836028"/>
              <a:gd name="connsiteX66" fmla="*/ 385318 w 2776867"/>
              <a:gd name="connsiteY66" fmla="*/ 516445 h 836028"/>
              <a:gd name="connsiteX67" fmla="*/ 394881 w 2776867"/>
              <a:gd name="connsiteY67" fmla="*/ 516445 h 836028"/>
              <a:gd name="connsiteX68" fmla="*/ 394881 w 2776867"/>
              <a:gd name="connsiteY68" fmla="*/ 524687 h 836028"/>
              <a:gd name="connsiteX69" fmla="*/ 420357 w 2776867"/>
              <a:gd name="connsiteY69" fmla="*/ 524687 h 836028"/>
              <a:gd name="connsiteX70" fmla="*/ 420357 w 2776867"/>
              <a:gd name="connsiteY70" fmla="*/ 532917 h 836028"/>
              <a:gd name="connsiteX71" fmla="*/ 439458 w 2776867"/>
              <a:gd name="connsiteY71" fmla="*/ 532917 h 836028"/>
              <a:gd name="connsiteX72" fmla="*/ 439458 w 2776867"/>
              <a:gd name="connsiteY72" fmla="*/ 541159 h 836028"/>
              <a:gd name="connsiteX73" fmla="*/ 455383 w 2776867"/>
              <a:gd name="connsiteY73" fmla="*/ 541159 h 836028"/>
              <a:gd name="connsiteX74" fmla="*/ 455383 w 2776867"/>
              <a:gd name="connsiteY74" fmla="*/ 549402 h 836028"/>
              <a:gd name="connsiteX75" fmla="*/ 464934 w 2776867"/>
              <a:gd name="connsiteY75" fmla="*/ 549402 h 836028"/>
              <a:gd name="connsiteX76" fmla="*/ 464934 w 2776867"/>
              <a:gd name="connsiteY76" fmla="*/ 557631 h 836028"/>
              <a:gd name="connsiteX77" fmla="*/ 471297 w 2776867"/>
              <a:gd name="connsiteY77" fmla="*/ 557631 h 836028"/>
              <a:gd name="connsiteX78" fmla="*/ 471297 w 2776867"/>
              <a:gd name="connsiteY78" fmla="*/ 565873 h 836028"/>
              <a:gd name="connsiteX79" fmla="*/ 474484 w 2776867"/>
              <a:gd name="connsiteY79" fmla="*/ 565873 h 836028"/>
              <a:gd name="connsiteX80" fmla="*/ 474484 w 2776867"/>
              <a:gd name="connsiteY80" fmla="*/ 574116 h 836028"/>
              <a:gd name="connsiteX81" fmla="*/ 484035 w 2776867"/>
              <a:gd name="connsiteY81" fmla="*/ 574116 h 836028"/>
              <a:gd name="connsiteX82" fmla="*/ 484035 w 2776867"/>
              <a:gd name="connsiteY82" fmla="*/ 582345 h 836028"/>
              <a:gd name="connsiteX83" fmla="*/ 487222 w 2776867"/>
              <a:gd name="connsiteY83" fmla="*/ 582345 h 836028"/>
              <a:gd name="connsiteX84" fmla="*/ 487222 w 2776867"/>
              <a:gd name="connsiteY84" fmla="*/ 590588 h 836028"/>
              <a:gd name="connsiteX85" fmla="*/ 493598 w 2776867"/>
              <a:gd name="connsiteY85" fmla="*/ 590588 h 836028"/>
              <a:gd name="connsiteX86" fmla="*/ 493598 w 2776867"/>
              <a:gd name="connsiteY86" fmla="*/ 598817 h 836028"/>
              <a:gd name="connsiteX87" fmla="*/ 496785 w 2776867"/>
              <a:gd name="connsiteY87" fmla="*/ 598817 h 836028"/>
              <a:gd name="connsiteX88" fmla="*/ 496785 w 2776867"/>
              <a:gd name="connsiteY88" fmla="*/ 607060 h 836028"/>
              <a:gd name="connsiteX89" fmla="*/ 519074 w 2776867"/>
              <a:gd name="connsiteY89" fmla="*/ 607060 h 836028"/>
              <a:gd name="connsiteX90" fmla="*/ 519074 w 2776867"/>
              <a:gd name="connsiteY90" fmla="*/ 615302 h 836028"/>
              <a:gd name="connsiteX91" fmla="*/ 694220 w 2776867"/>
              <a:gd name="connsiteY91" fmla="*/ 615302 h 836028"/>
              <a:gd name="connsiteX92" fmla="*/ 694220 w 2776867"/>
              <a:gd name="connsiteY92" fmla="*/ 623531 h 836028"/>
              <a:gd name="connsiteX93" fmla="*/ 780199 w 2776867"/>
              <a:gd name="connsiteY93" fmla="*/ 623531 h 836028"/>
              <a:gd name="connsiteX94" fmla="*/ 780199 w 2776867"/>
              <a:gd name="connsiteY94" fmla="*/ 631761 h 836028"/>
              <a:gd name="connsiteX95" fmla="*/ 821601 w 2776867"/>
              <a:gd name="connsiteY95" fmla="*/ 631761 h 836028"/>
              <a:gd name="connsiteX96" fmla="*/ 821601 w 2776867"/>
              <a:gd name="connsiteY96" fmla="*/ 640016 h 836028"/>
              <a:gd name="connsiteX97" fmla="*/ 917130 w 2776867"/>
              <a:gd name="connsiteY97" fmla="*/ 640016 h 836028"/>
              <a:gd name="connsiteX98" fmla="*/ 917130 w 2776867"/>
              <a:gd name="connsiteY98" fmla="*/ 648246 h 836028"/>
              <a:gd name="connsiteX99" fmla="*/ 939419 w 2776867"/>
              <a:gd name="connsiteY99" fmla="*/ 648246 h 836028"/>
              <a:gd name="connsiteX100" fmla="*/ 939419 w 2776867"/>
              <a:gd name="connsiteY100" fmla="*/ 656475 h 836028"/>
              <a:gd name="connsiteX101" fmla="*/ 948982 w 2776867"/>
              <a:gd name="connsiteY101" fmla="*/ 656475 h 836028"/>
              <a:gd name="connsiteX102" fmla="*/ 948982 w 2776867"/>
              <a:gd name="connsiteY102" fmla="*/ 664730 h 836028"/>
              <a:gd name="connsiteX103" fmla="*/ 987196 w 2776867"/>
              <a:gd name="connsiteY103" fmla="*/ 664730 h 836028"/>
              <a:gd name="connsiteX104" fmla="*/ 987196 w 2776867"/>
              <a:gd name="connsiteY104" fmla="*/ 672960 h 836028"/>
              <a:gd name="connsiteX105" fmla="*/ 1019035 w 2776867"/>
              <a:gd name="connsiteY105" fmla="*/ 672960 h 836028"/>
              <a:gd name="connsiteX106" fmla="*/ 1019035 w 2776867"/>
              <a:gd name="connsiteY106" fmla="*/ 681189 h 836028"/>
              <a:gd name="connsiteX107" fmla="*/ 1079538 w 2776867"/>
              <a:gd name="connsiteY107" fmla="*/ 681189 h 836028"/>
              <a:gd name="connsiteX108" fmla="*/ 1079538 w 2776867"/>
              <a:gd name="connsiteY108" fmla="*/ 689432 h 836028"/>
              <a:gd name="connsiteX109" fmla="*/ 1216469 w 2776867"/>
              <a:gd name="connsiteY109" fmla="*/ 689432 h 836028"/>
              <a:gd name="connsiteX110" fmla="*/ 1216469 w 2776867"/>
              <a:gd name="connsiteY110" fmla="*/ 697763 h 836028"/>
              <a:gd name="connsiteX111" fmla="*/ 1222844 w 2776867"/>
              <a:gd name="connsiteY111" fmla="*/ 697763 h 836028"/>
              <a:gd name="connsiteX112" fmla="*/ 1222844 w 2776867"/>
              <a:gd name="connsiteY112" fmla="*/ 706094 h 836028"/>
              <a:gd name="connsiteX113" fmla="*/ 1382064 w 2776867"/>
              <a:gd name="connsiteY113" fmla="*/ 706094 h 836028"/>
              <a:gd name="connsiteX114" fmla="*/ 1382064 w 2776867"/>
              <a:gd name="connsiteY114" fmla="*/ 714514 h 836028"/>
              <a:gd name="connsiteX115" fmla="*/ 1426654 w 2776867"/>
              <a:gd name="connsiteY115" fmla="*/ 714514 h 836028"/>
              <a:gd name="connsiteX116" fmla="*/ 1426654 w 2776867"/>
              <a:gd name="connsiteY116" fmla="*/ 722934 h 836028"/>
              <a:gd name="connsiteX117" fmla="*/ 1445755 w 2776867"/>
              <a:gd name="connsiteY117" fmla="*/ 722934 h 836028"/>
              <a:gd name="connsiteX118" fmla="*/ 1445755 w 2776867"/>
              <a:gd name="connsiteY118" fmla="*/ 731367 h 836028"/>
              <a:gd name="connsiteX119" fmla="*/ 1503083 w 2776867"/>
              <a:gd name="connsiteY119" fmla="*/ 731367 h 836028"/>
              <a:gd name="connsiteX120" fmla="*/ 1503083 w 2776867"/>
              <a:gd name="connsiteY120" fmla="*/ 740003 h 836028"/>
              <a:gd name="connsiteX121" fmla="*/ 1534922 w 2776867"/>
              <a:gd name="connsiteY121" fmla="*/ 740003 h 836028"/>
              <a:gd name="connsiteX122" fmla="*/ 1534922 w 2776867"/>
              <a:gd name="connsiteY122" fmla="*/ 748614 h 836028"/>
              <a:gd name="connsiteX123" fmla="*/ 1725993 w 2776867"/>
              <a:gd name="connsiteY123" fmla="*/ 748614 h 836028"/>
              <a:gd name="connsiteX124" fmla="*/ 1725993 w 2776867"/>
              <a:gd name="connsiteY124" fmla="*/ 757707 h 836028"/>
              <a:gd name="connsiteX125" fmla="*/ 1729181 w 2776867"/>
              <a:gd name="connsiteY125" fmla="*/ 757707 h 836028"/>
              <a:gd name="connsiteX126" fmla="*/ 1729181 w 2776867"/>
              <a:gd name="connsiteY126" fmla="*/ 766914 h 836028"/>
              <a:gd name="connsiteX127" fmla="*/ 2085835 w 2776867"/>
              <a:gd name="connsiteY127" fmla="*/ 766914 h 836028"/>
              <a:gd name="connsiteX128" fmla="*/ 2085835 w 2776867"/>
              <a:gd name="connsiteY128" fmla="*/ 781215 h 836028"/>
              <a:gd name="connsiteX129" fmla="*/ 2776867 w 2776867"/>
              <a:gd name="connsiteY129" fmla="*/ 781215 h 836028"/>
              <a:gd name="connsiteX130" fmla="*/ 2776867 w 2776867"/>
              <a:gd name="connsiteY130" fmla="*/ 836028 h 836028"/>
              <a:gd name="connsiteX0" fmla="*/ 0 w 2776867"/>
              <a:gd name="connsiteY0" fmla="*/ 0 h 781215"/>
              <a:gd name="connsiteX1" fmla="*/ 15925 w 2776867"/>
              <a:gd name="connsiteY1" fmla="*/ 0 h 781215"/>
              <a:gd name="connsiteX2" fmla="*/ 15925 w 2776867"/>
              <a:gd name="connsiteY2" fmla="*/ 8140 h 781215"/>
              <a:gd name="connsiteX3" fmla="*/ 54140 w 2776867"/>
              <a:gd name="connsiteY3" fmla="*/ 8140 h 781215"/>
              <a:gd name="connsiteX4" fmla="*/ 54140 w 2776867"/>
              <a:gd name="connsiteY4" fmla="*/ 16256 h 781215"/>
              <a:gd name="connsiteX5" fmla="*/ 57315 w 2776867"/>
              <a:gd name="connsiteY5" fmla="*/ 16256 h 781215"/>
              <a:gd name="connsiteX6" fmla="*/ 57315 w 2776867"/>
              <a:gd name="connsiteY6" fmla="*/ 32524 h 781215"/>
              <a:gd name="connsiteX7" fmla="*/ 108267 w 2776867"/>
              <a:gd name="connsiteY7" fmla="*/ 32524 h 781215"/>
              <a:gd name="connsiteX8" fmla="*/ 108267 w 2776867"/>
              <a:gd name="connsiteY8" fmla="*/ 48780 h 781215"/>
              <a:gd name="connsiteX9" fmla="*/ 159219 w 2776867"/>
              <a:gd name="connsiteY9" fmla="*/ 48780 h 781215"/>
              <a:gd name="connsiteX10" fmla="*/ 159219 w 2776867"/>
              <a:gd name="connsiteY10" fmla="*/ 56908 h 781215"/>
              <a:gd name="connsiteX11" fmla="*/ 178333 w 2776867"/>
              <a:gd name="connsiteY11" fmla="*/ 56908 h 781215"/>
              <a:gd name="connsiteX12" fmla="*/ 178333 w 2776867"/>
              <a:gd name="connsiteY12" fmla="*/ 73164 h 781215"/>
              <a:gd name="connsiteX13" fmla="*/ 184696 w 2776867"/>
              <a:gd name="connsiteY13" fmla="*/ 73164 h 781215"/>
              <a:gd name="connsiteX14" fmla="*/ 184696 w 2776867"/>
              <a:gd name="connsiteY14" fmla="*/ 89433 h 781215"/>
              <a:gd name="connsiteX15" fmla="*/ 194259 w 2776867"/>
              <a:gd name="connsiteY15" fmla="*/ 89433 h 781215"/>
              <a:gd name="connsiteX16" fmla="*/ 194259 w 2776867"/>
              <a:gd name="connsiteY16" fmla="*/ 105689 h 781215"/>
              <a:gd name="connsiteX17" fmla="*/ 197446 w 2776867"/>
              <a:gd name="connsiteY17" fmla="*/ 105689 h 781215"/>
              <a:gd name="connsiteX18" fmla="*/ 197446 w 2776867"/>
              <a:gd name="connsiteY18" fmla="*/ 121958 h 781215"/>
              <a:gd name="connsiteX19" fmla="*/ 206997 w 2776867"/>
              <a:gd name="connsiteY19" fmla="*/ 121958 h 781215"/>
              <a:gd name="connsiteX20" fmla="*/ 206997 w 2776867"/>
              <a:gd name="connsiteY20" fmla="*/ 130086 h 781215"/>
              <a:gd name="connsiteX21" fmla="*/ 213360 w 2776867"/>
              <a:gd name="connsiteY21" fmla="*/ 130086 h 781215"/>
              <a:gd name="connsiteX22" fmla="*/ 213360 w 2776867"/>
              <a:gd name="connsiteY22" fmla="*/ 138214 h 781215"/>
              <a:gd name="connsiteX23" fmla="*/ 226098 w 2776867"/>
              <a:gd name="connsiteY23" fmla="*/ 138214 h 781215"/>
              <a:gd name="connsiteX24" fmla="*/ 226098 w 2776867"/>
              <a:gd name="connsiteY24" fmla="*/ 146392 h 781215"/>
              <a:gd name="connsiteX25" fmla="*/ 229285 w 2776867"/>
              <a:gd name="connsiteY25" fmla="*/ 146392 h 781215"/>
              <a:gd name="connsiteX26" fmla="*/ 229285 w 2776867"/>
              <a:gd name="connsiteY26" fmla="*/ 154571 h 781215"/>
              <a:gd name="connsiteX27" fmla="*/ 270675 w 2776867"/>
              <a:gd name="connsiteY27" fmla="*/ 154571 h 781215"/>
              <a:gd name="connsiteX28" fmla="*/ 270675 w 2776867"/>
              <a:gd name="connsiteY28" fmla="*/ 170942 h 781215"/>
              <a:gd name="connsiteX29" fmla="*/ 286600 w 2776867"/>
              <a:gd name="connsiteY29" fmla="*/ 170942 h 781215"/>
              <a:gd name="connsiteX30" fmla="*/ 286600 w 2776867"/>
              <a:gd name="connsiteY30" fmla="*/ 179120 h 781215"/>
              <a:gd name="connsiteX31" fmla="*/ 299339 w 2776867"/>
              <a:gd name="connsiteY31" fmla="*/ 179120 h 781215"/>
              <a:gd name="connsiteX32" fmla="*/ 299339 w 2776867"/>
              <a:gd name="connsiteY32" fmla="*/ 187299 h 781215"/>
              <a:gd name="connsiteX33" fmla="*/ 315264 w 2776867"/>
              <a:gd name="connsiteY33" fmla="*/ 187299 h 781215"/>
              <a:gd name="connsiteX34" fmla="*/ 315264 w 2776867"/>
              <a:gd name="connsiteY34" fmla="*/ 220014 h 781215"/>
              <a:gd name="connsiteX35" fmla="*/ 318452 w 2776867"/>
              <a:gd name="connsiteY35" fmla="*/ 220014 h 781215"/>
              <a:gd name="connsiteX36" fmla="*/ 318452 w 2776867"/>
              <a:gd name="connsiteY36" fmla="*/ 236385 h 781215"/>
              <a:gd name="connsiteX37" fmla="*/ 328002 w 2776867"/>
              <a:gd name="connsiteY37" fmla="*/ 236385 h 781215"/>
              <a:gd name="connsiteX38" fmla="*/ 328002 w 2776867"/>
              <a:gd name="connsiteY38" fmla="*/ 261099 h 781215"/>
              <a:gd name="connsiteX39" fmla="*/ 334378 w 2776867"/>
              <a:gd name="connsiteY39" fmla="*/ 261099 h 781215"/>
              <a:gd name="connsiteX40" fmla="*/ 334378 w 2776867"/>
              <a:gd name="connsiteY40" fmla="*/ 302285 h 781215"/>
              <a:gd name="connsiteX41" fmla="*/ 337553 w 2776867"/>
              <a:gd name="connsiteY41" fmla="*/ 302285 h 781215"/>
              <a:gd name="connsiteX42" fmla="*/ 337553 w 2776867"/>
              <a:gd name="connsiteY42" fmla="*/ 351701 h 781215"/>
              <a:gd name="connsiteX43" fmla="*/ 340741 w 2776867"/>
              <a:gd name="connsiteY43" fmla="*/ 351701 h 781215"/>
              <a:gd name="connsiteX44" fmla="*/ 340741 w 2776867"/>
              <a:gd name="connsiteY44" fmla="*/ 359943 h 781215"/>
              <a:gd name="connsiteX45" fmla="*/ 347116 w 2776867"/>
              <a:gd name="connsiteY45" fmla="*/ 359943 h 781215"/>
              <a:gd name="connsiteX46" fmla="*/ 347116 w 2776867"/>
              <a:gd name="connsiteY46" fmla="*/ 384657 h 781215"/>
              <a:gd name="connsiteX47" fmla="*/ 350304 w 2776867"/>
              <a:gd name="connsiteY47" fmla="*/ 384657 h 781215"/>
              <a:gd name="connsiteX48" fmla="*/ 350304 w 2776867"/>
              <a:gd name="connsiteY48" fmla="*/ 401116 h 781215"/>
              <a:gd name="connsiteX49" fmla="*/ 353479 w 2776867"/>
              <a:gd name="connsiteY49" fmla="*/ 401116 h 781215"/>
              <a:gd name="connsiteX50" fmla="*/ 353479 w 2776867"/>
              <a:gd name="connsiteY50" fmla="*/ 425843 h 781215"/>
              <a:gd name="connsiteX51" fmla="*/ 356654 w 2776867"/>
              <a:gd name="connsiteY51" fmla="*/ 425843 h 781215"/>
              <a:gd name="connsiteX52" fmla="*/ 356654 w 2776867"/>
              <a:gd name="connsiteY52" fmla="*/ 434086 h 781215"/>
              <a:gd name="connsiteX53" fmla="*/ 359841 w 2776867"/>
              <a:gd name="connsiteY53" fmla="*/ 434086 h 781215"/>
              <a:gd name="connsiteX54" fmla="*/ 359841 w 2776867"/>
              <a:gd name="connsiteY54" fmla="*/ 442315 h 781215"/>
              <a:gd name="connsiteX55" fmla="*/ 363029 w 2776867"/>
              <a:gd name="connsiteY55" fmla="*/ 442315 h 781215"/>
              <a:gd name="connsiteX56" fmla="*/ 363029 w 2776867"/>
              <a:gd name="connsiteY56" fmla="*/ 467029 h 781215"/>
              <a:gd name="connsiteX57" fmla="*/ 366217 w 2776867"/>
              <a:gd name="connsiteY57" fmla="*/ 467029 h 781215"/>
              <a:gd name="connsiteX58" fmla="*/ 366217 w 2776867"/>
              <a:gd name="connsiteY58" fmla="*/ 475259 h 781215"/>
              <a:gd name="connsiteX59" fmla="*/ 369404 w 2776867"/>
              <a:gd name="connsiteY59" fmla="*/ 475259 h 781215"/>
              <a:gd name="connsiteX60" fmla="*/ 369404 w 2776867"/>
              <a:gd name="connsiteY60" fmla="*/ 483501 h 781215"/>
              <a:gd name="connsiteX61" fmla="*/ 375767 w 2776867"/>
              <a:gd name="connsiteY61" fmla="*/ 483501 h 781215"/>
              <a:gd name="connsiteX62" fmla="*/ 375767 w 2776867"/>
              <a:gd name="connsiteY62" fmla="*/ 499973 h 781215"/>
              <a:gd name="connsiteX63" fmla="*/ 378955 w 2776867"/>
              <a:gd name="connsiteY63" fmla="*/ 499973 h 781215"/>
              <a:gd name="connsiteX64" fmla="*/ 378955 w 2776867"/>
              <a:gd name="connsiteY64" fmla="*/ 508215 h 781215"/>
              <a:gd name="connsiteX65" fmla="*/ 385318 w 2776867"/>
              <a:gd name="connsiteY65" fmla="*/ 508215 h 781215"/>
              <a:gd name="connsiteX66" fmla="*/ 385318 w 2776867"/>
              <a:gd name="connsiteY66" fmla="*/ 516445 h 781215"/>
              <a:gd name="connsiteX67" fmla="*/ 394881 w 2776867"/>
              <a:gd name="connsiteY67" fmla="*/ 516445 h 781215"/>
              <a:gd name="connsiteX68" fmla="*/ 394881 w 2776867"/>
              <a:gd name="connsiteY68" fmla="*/ 524687 h 781215"/>
              <a:gd name="connsiteX69" fmla="*/ 420357 w 2776867"/>
              <a:gd name="connsiteY69" fmla="*/ 524687 h 781215"/>
              <a:gd name="connsiteX70" fmla="*/ 420357 w 2776867"/>
              <a:gd name="connsiteY70" fmla="*/ 532917 h 781215"/>
              <a:gd name="connsiteX71" fmla="*/ 439458 w 2776867"/>
              <a:gd name="connsiteY71" fmla="*/ 532917 h 781215"/>
              <a:gd name="connsiteX72" fmla="*/ 439458 w 2776867"/>
              <a:gd name="connsiteY72" fmla="*/ 541159 h 781215"/>
              <a:gd name="connsiteX73" fmla="*/ 455383 w 2776867"/>
              <a:gd name="connsiteY73" fmla="*/ 541159 h 781215"/>
              <a:gd name="connsiteX74" fmla="*/ 455383 w 2776867"/>
              <a:gd name="connsiteY74" fmla="*/ 549402 h 781215"/>
              <a:gd name="connsiteX75" fmla="*/ 464934 w 2776867"/>
              <a:gd name="connsiteY75" fmla="*/ 549402 h 781215"/>
              <a:gd name="connsiteX76" fmla="*/ 464934 w 2776867"/>
              <a:gd name="connsiteY76" fmla="*/ 557631 h 781215"/>
              <a:gd name="connsiteX77" fmla="*/ 471297 w 2776867"/>
              <a:gd name="connsiteY77" fmla="*/ 557631 h 781215"/>
              <a:gd name="connsiteX78" fmla="*/ 471297 w 2776867"/>
              <a:gd name="connsiteY78" fmla="*/ 565873 h 781215"/>
              <a:gd name="connsiteX79" fmla="*/ 474484 w 2776867"/>
              <a:gd name="connsiteY79" fmla="*/ 565873 h 781215"/>
              <a:gd name="connsiteX80" fmla="*/ 474484 w 2776867"/>
              <a:gd name="connsiteY80" fmla="*/ 574116 h 781215"/>
              <a:gd name="connsiteX81" fmla="*/ 484035 w 2776867"/>
              <a:gd name="connsiteY81" fmla="*/ 574116 h 781215"/>
              <a:gd name="connsiteX82" fmla="*/ 484035 w 2776867"/>
              <a:gd name="connsiteY82" fmla="*/ 582345 h 781215"/>
              <a:gd name="connsiteX83" fmla="*/ 487222 w 2776867"/>
              <a:gd name="connsiteY83" fmla="*/ 582345 h 781215"/>
              <a:gd name="connsiteX84" fmla="*/ 487222 w 2776867"/>
              <a:gd name="connsiteY84" fmla="*/ 590588 h 781215"/>
              <a:gd name="connsiteX85" fmla="*/ 493598 w 2776867"/>
              <a:gd name="connsiteY85" fmla="*/ 590588 h 781215"/>
              <a:gd name="connsiteX86" fmla="*/ 493598 w 2776867"/>
              <a:gd name="connsiteY86" fmla="*/ 598817 h 781215"/>
              <a:gd name="connsiteX87" fmla="*/ 496785 w 2776867"/>
              <a:gd name="connsiteY87" fmla="*/ 598817 h 781215"/>
              <a:gd name="connsiteX88" fmla="*/ 496785 w 2776867"/>
              <a:gd name="connsiteY88" fmla="*/ 607060 h 781215"/>
              <a:gd name="connsiteX89" fmla="*/ 519074 w 2776867"/>
              <a:gd name="connsiteY89" fmla="*/ 607060 h 781215"/>
              <a:gd name="connsiteX90" fmla="*/ 519074 w 2776867"/>
              <a:gd name="connsiteY90" fmla="*/ 615302 h 781215"/>
              <a:gd name="connsiteX91" fmla="*/ 694220 w 2776867"/>
              <a:gd name="connsiteY91" fmla="*/ 615302 h 781215"/>
              <a:gd name="connsiteX92" fmla="*/ 694220 w 2776867"/>
              <a:gd name="connsiteY92" fmla="*/ 623531 h 781215"/>
              <a:gd name="connsiteX93" fmla="*/ 780199 w 2776867"/>
              <a:gd name="connsiteY93" fmla="*/ 623531 h 781215"/>
              <a:gd name="connsiteX94" fmla="*/ 780199 w 2776867"/>
              <a:gd name="connsiteY94" fmla="*/ 631761 h 781215"/>
              <a:gd name="connsiteX95" fmla="*/ 821601 w 2776867"/>
              <a:gd name="connsiteY95" fmla="*/ 631761 h 781215"/>
              <a:gd name="connsiteX96" fmla="*/ 821601 w 2776867"/>
              <a:gd name="connsiteY96" fmla="*/ 640016 h 781215"/>
              <a:gd name="connsiteX97" fmla="*/ 917130 w 2776867"/>
              <a:gd name="connsiteY97" fmla="*/ 640016 h 781215"/>
              <a:gd name="connsiteX98" fmla="*/ 917130 w 2776867"/>
              <a:gd name="connsiteY98" fmla="*/ 648246 h 781215"/>
              <a:gd name="connsiteX99" fmla="*/ 939419 w 2776867"/>
              <a:gd name="connsiteY99" fmla="*/ 648246 h 781215"/>
              <a:gd name="connsiteX100" fmla="*/ 939419 w 2776867"/>
              <a:gd name="connsiteY100" fmla="*/ 656475 h 781215"/>
              <a:gd name="connsiteX101" fmla="*/ 948982 w 2776867"/>
              <a:gd name="connsiteY101" fmla="*/ 656475 h 781215"/>
              <a:gd name="connsiteX102" fmla="*/ 948982 w 2776867"/>
              <a:gd name="connsiteY102" fmla="*/ 664730 h 781215"/>
              <a:gd name="connsiteX103" fmla="*/ 987196 w 2776867"/>
              <a:gd name="connsiteY103" fmla="*/ 664730 h 781215"/>
              <a:gd name="connsiteX104" fmla="*/ 987196 w 2776867"/>
              <a:gd name="connsiteY104" fmla="*/ 672960 h 781215"/>
              <a:gd name="connsiteX105" fmla="*/ 1019035 w 2776867"/>
              <a:gd name="connsiteY105" fmla="*/ 672960 h 781215"/>
              <a:gd name="connsiteX106" fmla="*/ 1019035 w 2776867"/>
              <a:gd name="connsiteY106" fmla="*/ 681189 h 781215"/>
              <a:gd name="connsiteX107" fmla="*/ 1079538 w 2776867"/>
              <a:gd name="connsiteY107" fmla="*/ 681189 h 781215"/>
              <a:gd name="connsiteX108" fmla="*/ 1079538 w 2776867"/>
              <a:gd name="connsiteY108" fmla="*/ 689432 h 781215"/>
              <a:gd name="connsiteX109" fmla="*/ 1216469 w 2776867"/>
              <a:gd name="connsiteY109" fmla="*/ 689432 h 781215"/>
              <a:gd name="connsiteX110" fmla="*/ 1216469 w 2776867"/>
              <a:gd name="connsiteY110" fmla="*/ 697763 h 781215"/>
              <a:gd name="connsiteX111" fmla="*/ 1222844 w 2776867"/>
              <a:gd name="connsiteY111" fmla="*/ 697763 h 781215"/>
              <a:gd name="connsiteX112" fmla="*/ 1222844 w 2776867"/>
              <a:gd name="connsiteY112" fmla="*/ 706094 h 781215"/>
              <a:gd name="connsiteX113" fmla="*/ 1382064 w 2776867"/>
              <a:gd name="connsiteY113" fmla="*/ 706094 h 781215"/>
              <a:gd name="connsiteX114" fmla="*/ 1382064 w 2776867"/>
              <a:gd name="connsiteY114" fmla="*/ 714514 h 781215"/>
              <a:gd name="connsiteX115" fmla="*/ 1426654 w 2776867"/>
              <a:gd name="connsiteY115" fmla="*/ 714514 h 781215"/>
              <a:gd name="connsiteX116" fmla="*/ 1426654 w 2776867"/>
              <a:gd name="connsiteY116" fmla="*/ 722934 h 781215"/>
              <a:gd name="connsiteX117" fmla="*/ 1445755 w 2776867"/>
              <a:gd name="connsiteY117" fmla="*/ 722934 h 781215"/>
              <a:gd name="connsiteX118" fmla="*/ 1445755 w 2776867"/>
              <a:gd name="connsiteY118" fmla="*/ 731367 h 781215"/>
              <a:gd name="connsiteX119" fmla="*/ 1503083 w 2776867"/>
              <a:gd name="connsiteY119" fmla="*/ 731367 h 781215"/>
              <a:gd name="connsiteX120" fmla="*/ 1503083 w 2776867"/>
              <a:gd name="connsiteY120" fmla="*/ 740003 h 781215"/>
              <a:gd name="connsiteX121" fmla="*/ 1534922 w 2776867"/>
              <a:gd name="connsiteY121" fmla="*/ 740003 h 781215"/>
              <a:gd name="connsiteX122" fmla="*/ 1534922 w 2776867"/>
              <a:gd name="connsiteY122" fmla="*/ 748614 h 781215"/>
              <a:gd name="connsiteX123" fmla="*/ 1725993 w 2776867"/>
              <a:gd name="connsiteY123" fmla="*/ 748614 h 781215"/>
              <a:gd name="connsiteX124" fmla="*/ 1725993 w 2776867"/>
              <a:gd name="connsiteY124" fmla="*/ 757707 h 781215"/>
              <a:gd name="connsiteX125" fmla="*/ 1729181 w 2776867"/>
              <a:gd name="connsiteY125" fmla="*/ 757707 h 781215"/>
              <a:gd name="connsiteX126" fmla="*/ 1729181 w 2776867"/>
              <a:gd name="connsiteY126" fmla="*/ 766914 h 781215"/>
              <a:gd name="connsiteX127" fmla="*/ 2085835 w 2776867"/>
              <a:gd name="connsiteY127" fmla="*/ 766914 h 781215"/>
              <a:gd name="connsiteX128" fmla="*/ 2085835 w 2776867"/>
              <a:gd name="connsiteY128" fmla="*/ 781215 h 781215"/>
              <a:gd name="connsiteX129" fmla="*/ 2776867 w 2776867"/>
              <a:gd name="connsiteY129" fmla="*/ 781215 h 7812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</a:cxnLst>
            <a:rect l="l" t="t" r="r" b="b"/>
            <a:pathLst>
              <a:path w="2776867" h="781215">
                <a:moveTo>
                  <a:pt x="0" y="0"/>
                </a:moveTo>
                <a:lnTo>
                  <a:pt x="15925" y="0"/>
                </a:lnTo>
                <a:lnTo>
                  <a:pt x="15925" y="8140"/>
                </a:lnTo>
                <a:lnTo>
                  <a:pt x="54140" y="8140"/>
                </a:lnTo>
                <a:lnTo>
                  <a:pt x="54140" y="16256"/>
                </a:lnTo>
                <a:lnTo>
                  <a:pt x="57315" y="16256"/>
                </a:lnTo>
                <a:lnTo>
                  <a:pt x="57315" y="32524"/>
                </a:lnTo>
                <a:lnTo>
                  <a:pt x="108267" y="32524"/>
                </a:lnTo>
                <a:lnTo>
                  <a:pt x="108267" y="48780"/>
                </a:lnTo>
                <a:lnTo>
                  <a:pt x="159219" y="48780"/>
                </a:lnTo>
                <a:lnTo>
                  <a:pt x="159219" y="56908"/>
                </a:lnTo>
                <a:lnTo>
                  <a:pt x="178333" y="56908"/>
                </a:lnTo>
                <a:lnTo>
                  <a:pt x="178333" y="73164"/>
                </a:lnTo>
                <a:lnTo>
                  <a:pt x="184696" y="73164"/>
                </a:lnTo>
                <a:lnTo>
                  <a:pt x="184696" y="89433"/>
                </a:lnTo>
                <a:lnTo>
                  <a:pt x="194259" y="89433"/>
                </a:lnTo>
                <a:lnTo>
                  <a:pt x="194259" y="105689"/>
                </a:lnTo>
                <a:lnTo>
                  <a:pt x="197446" y="105689"/>
                </a:lnTo>
                <a:lnTo>
                  <a:pt x="197446" y="121958"/>
                </a:lnTo>
                <a:lnTo>
                  <a:pt x="206997" y="121958"/>
                </a:lnTo>
                <a:lnTo>
                  <a:pt x="206997" y="130086"/>
                </a:lnTo>
                <a:lnTo>
                  <a:pt x="213360" y="130086"/>
                </a:lnTo>
                <a:lnTo>
                  <a:pt x="213360" y="138214"/>
                </a:lnTo>
                <a:lnTo>
                  <a:pt x="226098" y="138214"/>
                </a:lnTo>
                <a:lnTo>
                  <a:pt x="226098" y="146392"/>
                </a:lnTo>
                <a:lnTo>
                  <a:pt x="229285" y="146392"/>
                </a:lnTo>
                <a:lnTo>
                  <a:pt x="229285" y="154571"/>
                </a:lnTo>
                <a:lnTo>
                  <a:pt x="270675" y="154571"/>
                </a:lnTo>
                <a:lnTo>
                  <a:pt x="270675" y="170942"/>
                </a:lnTo>
                <a:lnTo>
                  <a:pt x="286600" y="170942"/>
                </a:lnTo>
                <a:lnTo>
                  <a:pt x="286600" y="179120"/>
                </a:lnTo>
                <a:lnTo>
                  <a:pt x="299339" y="179120"/>
                </a:lnTo>
                <a:lnTo>
                  <a:pt x="299339" y="187299"/>
                </a:lnTo>
                <a:lnTo>
                  <a:pt x="315264" y="187299"/>
                </a:lnTo>
                <a:lnTo>
                  <a:pt x="315264" y="220014"/>
                </a:lnTo>
                <a:lnTo>
                  <a:pt x="318452" y="220014"/>
                </a:lnTo>
                <a:lnTo>
                  <a:pt x="318452" y="236385"/>
                </a:lnTo>
                <a:lnTo>
                  <a:pt x="328002" y="236385"/>
                </a:lnTo>
                <a:lnTo>
                  <a:pt x="328002" y="261099"/>
                </a:lnTo>
                <a:lnTo>
                  <a:pt x="334378" y="261099"/>
                </a:lnTo>
                <a:lnTo>
                  <a:pt x="334378" y="302285"/>
                </a:lnTo>
                <a:lnTo>
                  <a:pt x="337553" y="302285"/>
                </a:lnTo>
                <a:lnTo>
                  <a:pt x="337553" y="351701"/>
                </a:lnTo>
                <a:lnTo>
                  <a:pt x="340741" y="351701"/>
                </a:lnTo>
                <a:lnTo>
                  <a:pt x="340741" y="359943"/>
                </a:lnTo>
                <a:lnTo>
                  <a:pt x="347116" y="359943"/>
                </a:lnTo>
                <a:lnTo>
                  <a:pt x="347116" y="384657"/>
                </a:lnTo>
                <a:lnTo>
                  <a:pt x="350304" y="384657"/>
                </a:lnTo>
                <a:lnTo>
                  <a:pt x="350304" y="401116"/>
                </a:lnTo>
                <a:lnTo>
                  <a:pt x="353479" y="401116"/>
                </a:lnTo>
                <a:lnTo>
                  <a:pt x="353479" y="425843"/>
                </a:lnTo>
                <a:lnTo>
                  <a:pt x="356654" y="425843"/>
                </a:lnTo>
                <a:lnTo>
                  <a:pt x="356654" y="434086"/>
                </a:lnTo>
                <a:lnTo>
                  <a:pt x="359841" y="434086"/>
                </a:lnTo>
                <a:lnTo>
                  <a:pt x="359841" y="442315"/>
                </a:lnTo>
                <a:lnTo>
                  <a:pt x="363029" y="442315"/>
                </a:lnTo>
                <a:lnTo>
                  <a:pt x="363029" y="467029"/>
                </a:lnTo>
                <a:lnTo>
                  <a:pt x="366217" y="467029"/>
                </a:lnTo>
                <a:lnTo>
                  <a:pt x="366217" y="475259"/>
                </a:lnTo>
                <a:lnTo>
                  <a:pt x="369404" y="475259"/>
                </a:lnTo>
                <a:lnTo>
                  <a:pt x="369404" y="483501"/>
                </a:lnTo>
                <a:lnTo>
                  <a:pt x="375767" y="483501"/>
                </a:lnTo>
                <a:lnTo>
                  <a:pt x="375767" y="499973"/>
                </a:lnTo>
                <a:lnTo>
                  <a:pt x="378955" y="499973"/>
                </a:lnTo>
                <a:lnTo>
                  <a:pt x="378955" y="508215"/>
                </a:lnTo>
                <a:lnTo>
                  <a:pt x="385318" y="508215"/>
                </a:lnTo>
                <a:lnTo>
                  <a:pt x="385318" y="516445"/>
                </a:lnTo>
                <a:lnTo>
                  <a:pt x="394881" y="516445"/>
                </a:lnTo>
                <a:lnTo>
                  <a:pt x="394881" y="524687"/>
                </a:lnTo>
                <a:lnTo>
                  <a:pt x="420357" y="524687"/>
                </a:lnTo>
                <a:lnTo>
                  <a:pt x="420357" y="532917"/>
                </a:lnTo>
                <a:lnTo>
                  <a:pt x="439458" y="532917"/>
                </a:lnTo>
                <a:lnTo>
                  <a:pt x="439458" y="541159"/>
                </a:lnTo>
                <a:lnTo>
                  <a:pt x="455383" y="541159"/>
                </a:lnTo>
                <a:lnTo>
                  <a:pt x="455383" y="549402"/>
                </a:lnTo>
                <a:lnTo>
                  <a:pt x="464934" y="549402"/>
                </a:lnTo>
                <a:lnTo>
                  <a:pt x="464934" y="557631"/>
                </a:lnTo>
                <a:lnTo>
                  <a:pt x="471297" y="557631"/>
                </a:lnTo>
                <a:lnTo>
                  <a:pt x="471297" y="565873"/>
                </a:lnTo>
                <a:lnTo>
                  <a:pt x="474484" y="565873"/>
                </a:lnTo>
                <a:lnTo>
                  <a:pt x="474484" y="574116"/>
                </a:lnTo>
                <a:lnTo>
                  <a:pt x="484035" y="574116"/>
                </a:lnTo>
                <a:lnTo>
                  <a:pt x="484035" y="582345"/>
                </a:lnTo>
                <a:lnTo>
                  <a:pt x="487222" y="582345"/>
                </a:lnTo>
                <a:lnTo>
                  <a:pt x="487222" y="590588"/>
                </a:lnTo>
                <a:lnTo>
                  <a:pt x="493598" y="590588"/>
                </a:lnTo>
                <a:lnTo>
                  <a:pt x="493598" y="598817"/>
                </a:lnTo>
                <a:lnTo>
                  <a:pt x="496785" y="598817"/>
                </a:lnTo>
                <a:lnTo>
                  <a:pt x="496785" y="607060"/>
                </a:lnTo>
                <a:lnTo>
                  <a:pt x="519074" y="607060"/>
                </a:lnTo>
                <a:lnTo>
                  <a:pt x="519074" y="615302"/>
                </a:lnTo>
                <a:lnTo>
                  <a:pt x="694220" y="615302"/>
                </a:lnTo>
                <a:lnTo>
                  <a:pt x="694220" y="623531"/>
                </a:lnTo>
                <a:lnTo>
                  <a:pt x="780199" y="623531"/>
                </a:lnTo>
                <a:lnTo>
                  <a:pt x="780199" y="631761"/>
                </a:lnTo>
                <a:lnTo>
                  <a:pt x="821601" y="631761"/>
                </a:lnTo>
                <a:lnTo>
                  <a:pt x="821601" y="640016"/>
                </a:lnTo>
                <a:lnTo>
                  <a:pt x="917130" y="640016"/>
                </a:lnTo>
                <a:lnTo>
                  <a:pt x="917130" y="648246"/>
                </a:lnTo>
                <a:lnTo>
                  <a:pt x="939419" y="648246"/>
                </a:lnTo>
                <a:lnTo>
                  <a:pt x="939419" y="656475"/>
                </a:lnTo>
                <a:lnTo>
                  <a:pt x="948982" y="656475"/>
                </a:lnTo>
                <a:lnTo>
                  <a:pt x="948982" y="664730"/>
                </a:lnTo>
                <a:lnTo>
                  <a:pt x="987196" y="664730"/>
                </a:lnTo>
                <a:lnTo>
                  <a:pt x="987196" y="672960"/>
                </a:lnTo>
                <a:lnTo>
                  <a:pt x="1019035" y="672960"/>
                </a:lnTo>
                <a:lnTo>
                  <a:pt x="1019035" y="681189"/>
                </a:lnTo>
                <a:lnTo>
                  <a:pt x="1079538" y="681189"/>
                </a:lnTo>
                <a:lnTo>
                  <a:pt x="1079538" y="689432"/>
                </a:lnTo>
                <a:lnTo>
                  <a:pt x="1216469" y="689432"/>
                </a:lnTo>
                <a:lnTo>
                  <a:pt x="1216469" y="697763"/>
                </a:lnTo>
                <a:lnTo>
                  <a:pt x="1222844" y="697763"/>
                </a:lnTo>
                <a:lnTo>
                  <a:pt x="1222844" y="706094"/>
                </a:lnTo>
                <a:lnTo>
                  <a:pt x="1382064" y="706094"/>
                </a:lnTo>
                <a:lnTo>
                  <a:pt x="1382064" y="714514"/>
                </a:lnTo>
                <a:lnTo>
                  <a:pt x="1426654" y="714514"/>
                </a:lnTo>
                <a:lnTo>
                  <a:pt x="1426654" y="722934"/>
                </a:lnTo>
                <a:lnTo>
                  <a:pt x="1445755" y="722934"/>
                </a:lnTo>
                <a:lnTo>
                  <a:pt x="1445755" y="731367"/>
                </a:lnTo>
                <a:lnTo>
                  <a:pt x="1503083" y="731367"/>
                </a:lnTo>
                <a:lnTo>
                  <a:pt x="1503083" y="740003"/>
                </a:lnTo>
                <a:lnTo>
                  <a:pt x="1534922" y="740003"/>
                </a:lnTo>
                <a:lnTo>
                  <a:pt x="1534922" y="748614"/>
                </a:lnTo>
                <a:lnTo>
                  <a:pt x="1725993" y="748614"/>
                </a:lnTo>
                <a:lnTo>
                  <a:pt x="1725993" y="757707"/>
                </a:lnTo>
                <a:lnTo>
                  <a:pt x="1729181" y="757707"/>
                </a:lnTo>
                <a:lnTo>
                  <a:pt x="1729181" y="766914"/>
                </a:lnTo>
                <a:lnTo>
                  <a:pt x="2085835" y="766914"/>
                </a:lnTo>
                <a:lnTo>
                  <a:pt x="2085835" y="781215"/>
                </a:lnTo>
                <a:lnTo>
                  <a:pt x="2776867" y="781215"/>
                </a:lnTo>
              </a:path>
            </a:pathLst>
          </a:custGeom>
          <a:ln w="12699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6" name="object 130">
            <a:extLst>
              <a:ext uri="{FF2B5EF4-FFF2-40B4-BE49-F238E27FC236}">
                <a16:creationId xmlns:a16="http://schemas.microsoft.com/office/drawing/2014/main" id="{571D805B-74D7-BC46-3E17-9F9E02928276}"/>
              </a:ext>
            </a:extLst>
          </p:cNvPr>
          <p:cNvSpPr/>
          <p:nvPr/>
        </p:nvSpPr>
        <p:spPr>
          <a:xfrm>
            <a:off x="1386749" y="2556777"/>
            <a:ext cx="2136043" cy="1325703"/>
          </a:xfrm>
          <a:custGeom>
            <a:avLst/>
            <a:gdLst>
              <a:gd name="connsiteX0" fmla="*/ 0 w 3137805"/>
              <a:gd name="connsiteY0" fmla="*/ 0 h 1045006"/>
              <a:gd name="connsiteX1" fmla="*/ 50952 w 3137805"/>
              <a:gd name="connsiteY1" fmla="*/ 0 h 1045006"/>
              <a:gd name="connsiteX2" fmla="*/ 50952 w 3137805"/>
              <a:gd name="connsiteY2" fmla="*/ 8623 h 1045006"/>
              <a:gd name="connsiteX3" fmla="*/ 70053 w 3137805"/>
              <a:gd name="connsiteY3" fmla="*/ 8623 h 1045006"/>
              <a:gd name="connsiteX4" fmla="*/ 70053 w 3137805"/>
              <a:gd name="connsiteY4" fmla="*/ 17233 h 1045006"/>
              <a:gd name="connsiteX5" fmla="*/ 76428 w 3137805"/>
              <a:gd name="connsiteY5" fmla="*/ 17233 h 1045006"/>
              <a:gd name="connsiteX6" fmla="*/ 76428 w 3137805"/>
              <a:gd name="connsiteY6" fmla="*/ 25857 h 1045006"/>
              <a:gd name="connsiteX7" fmla="*/ 85979 w 3137805"/>
              <a:gd name="connsiteY7" fmla="*/ 25857 h 1045006"/>
              <a:gd name="connsiteX8" fmla="*/ 85979 w 3137805"/>
              <a:gd name="connsiteY8" fmla="*/ 60325 h 1045006"/>
              <a:gd name="connsiteX9" fmla="*/ 89166 w 3137805"/>
              <a:gd name="connsiteY9" fmla="*/ 60325 h 1045006"/>
              <a:gd name="connsiteX10" fmla="*/ 89166 w 3137805"/>
              <a:gd name="connsiteY10" fmla="*/ 77546 h 1045006"/>
              <a:gd name="connsiteX11" fmla="*/ 92341 w 3137805"/>
              <a:gd name="connsiteY11" fmla="*/ 77546 h 1045006"/>
              <a:gd name="connsiteX12" fmla="*/ 92341 w 3137805"/>
              <a:gd name="connsiteY12" fmla="*/ 86169 h 1045006"/>
              <a:gd name="connsiteX13" fmla="*/ 95529 w 3137805"/>
              <a:gd name="connsiteY13" fmla="*/ 86169 h 1045006"/>
              <a:gd name="connsiteX14" fmla="*/ 95529 w 3137805"/>
              <a:gd name="connsiteY14" fmla="*/ 94843 h 1045006"/>
              <a:gd name="connsiteX15" fmla="*/ 111455 w 3137805"/>
              <a:gd name="connsiteY15" fmla="*/ 94843 h 1045006"/>
              <a:gd name="connsiteX16" fmla="*/ 111455 w 3137805"/>
              <a:gd name="connsiteY16" fmla="*/ 103517 h 1045006"/>
              <a:gd name="connsiteX17" fmla="*/ 114642 w 3137805"/>
              <a:gd name="connsiteY17" fmla="*/ 103517 h 1045006"/>
              <a:gd name="connsiteX18" fmla="*/ 114642 w 3137805"/>
              <a:gd name="connsiteY18" fmla="*/ 120865 h 1045006"/>
              <a:gd name="connsiteX19" fmla="*/ 117817 w 3137805"/>
              <a:gd name="connsiteY19" fmla="*/ 120865 h 1045006"/>
              <a:gd name="connsiteX20" fmla="*/ 117817 w 3137805"/>
              <a:gd name="connsiteY20" fmla="*/ 129527 h 1045006"/>
              <a:gd name="connsiteX21" fmla="*/ 121005 w 3137805"/>
              <a:gd name="connsiteY21" fmla="*/ 129527 h 1045006"/>
              <a:gd name="connsiteX22" fmla="*/ 121005 w 3137805"/>
              <a:gd name="connsiteY22" fmla="*/ 138214 h 1045006"/>
              <a:gd name="connsiteX23" fmla="*/ 127380 w 3137805"/>
              <a:gd name="connsiteY23" fmla="*/ 138214 h 1045006"/>
              <a:gd name="connsiteX24" fmla="*/ 127380 w 3137805"/>
              <a:gd name="connsiteY24" fmla="*/ 146875 h 1045006"/>
              <a:gd name="connsiteX25" fmla="*/ 130568 w 3137805"/>
              <a:gd name="connsiteY25" fmla="*/ 146875 h 1045006"/>
              <a:gd name="connsiteX26" fmla="*/ 130568 w 3137805"/>
              <a:gd name="connsiteY26" fmla="*/ 155549 h 1045006"/>
              <a:gd name="connsiteX27" fmla="*/ 133743 w 3137805"/>
              <a:gd name="connsiteY27" fmla="*/ 155549 h 1045006"/>
              <a:gd name="connsiteX28" fmla="*/ 133743 w 3137805"/>
              <a:gd name="connsiteY28" fmla="*/ 164223 h 1045006"/>
              <a:gd name="connsiteX29" fmla="*/ 136931 w 3137805"/>
              <a:gd name="connsiteY29" fmla="*/ 164223 h 1045006"/>
              <a:gd name="connsiteX30" fmla="*/ 136931 w 3137805"/>
              <a:gd name="connsiteY30" fmla="*/ 172897 h 1045006"/>
              <a:gd name="connsiteX31" fmla="*/ 140119 w 3137805"/>
              <a:gd name="connsiteY31" fmla="*/ 172897 h 1045006"/>
              <a:gd name="connsiteX32" fmla="*/ 140119 w 3137805"/>
              <a:gd name="connsiteY32" fmla="*/ 242265 h 1045006"/>
              <a:gd name="connsiteX33" fmla="*/ 143306 w 3137805"/>
              <a:gd name="connsiteY33" fmla="*/ 242265 h 1045006"/>
              <a:gd name="connsiteX34" fmla="*/ 143306 w 3137805"/>
              <a:gd name="connsiteY34" fmla="*/ 268859 h 1045006"/>
              <a:gd name="connsiteX35" fmla="*/ 146494 w 3137805"/>
              <a:gd name="connsiteY35" fmla="*/ 268859 h 1045006"/>
              <a:gd name="connsiteX36" fmla="*/ 146494 w 3137805"/>
              <a:gd name="connsiteY36" fmla="*/ 295871 h 1045006"/>
              <a:gd name="connsiteX37" fmla="*/ 149669 w 3137805"/>
              <a:gd name="connsiteY37" fmla="*/ 295871 h 1045006"/>
              <a:gd name="connsiteX38" fmla="*/ 149669 w 3137805"/>
              <a:gd name="connsiteY38" fmla="*/ 332155 h 1045006"/>
              <a:gd name="connsiteX39" fmla="*/ 152857 w 3137805"/>
              <a:gd name="connsiteY39" fmla="*/ 332155 h 1045006"/>
              <a:gd name="connsiteX40" fmla="*/ 152857 w 3137805"/>
              <a:gd name="connsiteY40" fmla="*/ 359829 h 1045006"/>
              <a:gd name="connsiteX41" fmla="*/ 156044 w 3137805"/>
              <a:gd name="connsiteY41" fmla="*/ 359829 h 1045006"/>
              <a:gd name="connsiteX42" fmla="*/ 156044 w 3137805"/>
              <a:gd name="connsiteY42" fmla="*/ 378599 h 1045006"/>
              <a:gd name="connsiteX43" fmla="*/ 159219 w 3137805"/>
              <a:gd name="connsiteY43" fmla="*/ 378599 h 1045006"/>
              <a:gd name="connsiteX44" fmla="*/ 159219 w 3137805"/>
              <a:gd name="connsiteY44" fmla="*/ 398056 h 1045006"/>
              <a:gd name="connsiteX45" fmla="*/ 162407 w 3137805"/>
              <a:gd name="connsiteY45" fmla="*/ 398056 h 1045006"/>
              <a:gd name="connsiteX46" fmla="*/ 162407 w 3137805"/>
              <a:gd name="connsiteY46" fmla="*/ 407873 h 1045006"/>
              <a:gd name="connsiteX47" fmla="*/ 165595 w 3137805"/>
              <a:gd name="connsiteY47" fmla="*/ 407873 h 1045006"/>
              <a:gd name="connsiteX48" fmla="*/ 165595 w 3137805"/>
              <a:gd name="connsiteY48" fmla="*/ 427697 h 1045006"/>
              <a:gd name="connsiteX49" fmla="*/ 168783 w 3137805"/>
              <a:gd name="connsiteY49" fmla="*/ 427697 h 1045006"/>
              <a:gd name="connsiteX50" fmla="*/ 168783 w 3137805"/>
              <a:gd name="connsiteY50" fmla="*/ 447535 h 1045006"/>
              <a:gd name="connsiteX51" fmla="*/ 175145 w 3137805"/>
              <a:gd name="connsiteY51" fmla="*/ 447535 h 1045006"/>
              <a:gd name="connsiteX52" fmla="*/ 175145 w 3137805"/>
              <a:gd name="connsiteY52" fmla="*/ 457644 h 1045006"/>
              <a:gd name="connsiteX53" fmla="*/ 178333 w 3137805"/>
              <a:gd name="connsiteY53" fmla="*/ 457644 h 1045006"/>
              <a:gd name="connsiteX54" fmla="*/ 178333 w 3137805"/>
              <a:gd name="connsiteY54" fmla="*/ 467779 h 1045006"/>
              <a:gd name="connsiteX55" fmla="*/ 181508 w 3137805"/>
              <a:gd name="connsiteY55" fmla="*/ 467779 h 1045006"/>
              <a:gd name="connsiteX56" fmla="*/ 181508 w 3137805"/>
              <a:gd name="connsiteY56" fmla="*/ 477989 h 1045006"/>
              <a:gd name="connsiteX57" fmla="*/ 200621 w 3137805"/>
              <a:gd name="connsiteY57" fmla="*/ 477989 h 1045006"/>
              <a:gd name="connsiteX58" fmla="*/ 200621 w 3137805"/>
              <a:gd name="connsiteY58" fmla="*/ 488327 h 1045006"/>
              <a:gd name="connsiteX59" fmla="*/ 213360 w 3137805"/>
              <a:gd name="connsiteY59" fmla="*/ 488327 h 1045006"/>
              <a:gd name="connsiteX60" fmla="*/ 213360 w 3137805"/>
              <a:gd name="connsiteY60" fmla="*/ 498665 h 1045006"/>
              <a:gd name="connsiteX61" fmla="*/ 222910 w 3137805"/>
              <a:gd name="connsiteY61" fmla="*/ 498665 h 1045006"/>
              <a:gd name="connsiteX62" fmla="*/ 222910 w 3137805"/>
              <a:gd name="connsiteY62" fmla="*/ 508990 h 1045006"/>
              <a:gd name="connsiteX63" fmla="*/ 226098 w 3137805"/>
              <a:gd name="connsiteY63" fmla="*/ 508990 h 1045006"/>
              <a:gd name="connsiteX64" fmla="*/ 226098 w 3137805"/>
              <a:gd name="connsiteY64" fmla="*/ 519442 h 1045006"/>
              <a:gd name="connsiteX65" fmla="*/ 238836 w 3137805"/>
              <a:gd name="connsiteY65" fmla="*/ 519442 h 1045006"/>
              <a:gd name="connsiteX66" fmla="*/ 238836 w 3137805"/>
              <a:gd name="connsiteY66" fmla="*/ 530009 h 1045006"/>
              <a:gd name="connsiteX67" fmla="*/ 251574 w 3137805"/>
              <a:gd name="connsiteY67" fmla="*/ 530009 h 1045006"/>
              <a:gd name="connsiteX68" fmla="*/ 251574 w 3137805"/>
              <a:gd name="connsiteY68" fmla="*/ 540575 h 1045006"/>
              <a:gd name="connsiteX69" fmla="*/ 261124 w 3137805"/>
              <a:gd name="connsiteY69" fmla="*/ 540575 h 1045006"/>
              <a:gd name="connsiteX70" fmla="*/ 261124 w 3137805"/>
              <a:gd name="connsiteY70" fmla="*/ 572300 h 1045006"/>
              <a:gd name="connsiteX71" fmla="*/ 270675 w 3137805"/>
              <a:gd name="connsiteY71" fmla="*/ 572300 h 1045006"/>
              <a:gd name="connsiteX72" fmla="*/ 270675 w 3137805"/>
              <a:gd name="connsiteY72" fmla="*/ 593432 h 1045006"/>
              <a:gd name="connsiteX73" fmla="*/ 280225 w 3137805"/>
              <a:gd name="connsiteY73" fmla="*/ 593432 h 1045006"/>
              <a:gd name="connsiteX74" fmla="*/ 280225 w 3137805"/>
              <a:gd name="connsiteY74" fmla="*/ 603999 h 1045006"/>
              <a:gd name="connsiteX75" fmla="*/ 283413 w 3137805"/>
              <a:gd name="connsiteY75" fmla="*/ 603999 h 1045006"/>
              <a:gd name="connsiteX76" fmla="*/ 283413 w 3137805"/>
              <a:gd name="connsiteY76" fmla="*/ 614578 h 1045006"/>
              <a:gd name="connsiteX77" fmla="*/ 299339 w 3137805"/>
              <a:gd name="connsiteY77" fmla="*/ 614578 h 1045006"/>
              <a:gd name="connsiteX78" fmla="*/ 299339 w 3137805"/>
              <a:gd name="connsiteY78" fmla="*/ 625271 h 1045006"/>
              <a:gd name="connsiteX79" fmla="*/ 302526 w 3137805"/>
              <a:gd name="connsiteY79" fmla="*/ 625271 h 1045006"/>
              <a:gd name="connsiteX80" fmla="*/ 302526 w 3137805"/>
              <a:gd name="connsiteY80" fmla="*/ 635990 h 1045006"/>
              <a:gd name="connsiteX81" fmla="*/ 308889 w 3137805"/>
              <a:gd name="connsiteY81" fmla="*/ 635990 h 1045006"/>
              <a:gd name="connsiteX82" fmla="*/ 308889 w 3137805"/>
              <a:gd name="connsiteY82" fmla="*/ 646836 h 1045006"/>
              <a:gd name="connsiteX83" fmla="*/ 315264 w 3137805"/>
              <a:gd name="connsiteY83" fmla="*/ 646836 h 1045006"/>
              <a:gd name="connsiteX84" fmla="*/ 315264 w 3137805"/>
              <a:gd name="connsiteY84" fmla="*/ 657694 h 1045006"/>
              <a:gd name="connsiteX85" fmla="*/ 318452 w 3137805"/>
              <a:gd name="connsiteY85" fmla="*/ 657694 h 1045006"/>
              <a:gd name="connsiteX86" fmla="*/ 318452 w 3137805"/>
              <a:gd name="connsiteY86" fmla="*/ 668540 h 1045006"/>
              <a:gd name="connsiteX87" fmla="*/ 321640 w 3137805"/>
              <a:gd name="connsiteY87" fmla="*/ 668540 h 1045006"/>
              <a:gd name="connsiteX88" fmla="*/ 321640 w 3137805"/>
              <a:gd name="connsiteY88" fmla="*/ 690245 h 1045006"/>
              <a:gd name="connsiteX89" fmla="*/ 334378 w 3137805"/>
              <a:gd name="connsiteY89" fmla="*/ 690245 h 1045006"/>
              <a:gd name="connsiteX90" fmla="*/ 334378 w 3137805"/>
              <a:gd name="connsiteY90" fmla="*/ 701090 h 1045006"/>
              <a:gd name="connsiteX91" fmla="*/ 340741 w 3137805"/>
              <a:gd name="connsiteY91" fmla="*/ 701090 h 1045006"/>
              <a:gd name="connsiteX92" fmla="*/ 340741 w 3137805"/>
              <a:gd name="connsiteY92" fmla="*/ 712114 h 1045006"/>
              <a:gd name="connsiteX93" fmla="*/ 356654 w 3137805"/>
              <a:gd name="connsiteY93" fmla="*/ 712114 h 1045006"/>
              <a:gd name="connsiteX94" fmla="*/ 356654 w 3137805"/>
              <a:gd name="connsiteY94" fmla="*/ 734136 h 1045006"/>
              <a:gd name="connsiteX95" fmla="*/ 359841 w 3137805"/>
              <a:gd name="connsiteY95" fmla="*/ 734136 h 1045006"/>
              <a:gd name="connsiteX96" fmla="*/ 359841 w 3137805"/>
              <a:gd name="connsiteY96" fmla="*/ 745147 h 1045006"/>
              <a:gd name="connsiteX97" fmla="*/ 382143 w 3137805"/>
              <a:gd name="connsiteY97" fmla="*/ 745147 h 1045006"/>
              <a:gd name="connsiteX98" fmla="*/ 382143 w 3137805"/>
              <a:gd name="connsiteY98" fmla="*/ 756335 h 1045006"/>
              <a:gd name="connsiteX99" fmla="*/ 439458 w 3137805"/>
              <a:gd name="connsiteY99" fmla="*/ 756335 h 1045006"/>
              <a:gd name="connsiteX100" fmla="*/ 439458 w 3137805"/>
              <a:gd name="connsiteY100" fmla="*/ 767727 h 1045006"/>
              <a:gd name="connsiteX101" fmla="*/ 480860 w 3137805"/>
              <a:gd name="connsiteY101" fmla="*/ 767727 h 1045006"/>
              <a:gd name="connsiteX102" fmla="*/ 480860 w 3137805"/>
              <a:gd name="connsiteY102" fmla="*/ 779297 h 1045006"/>
              <a:gd name="connsiteX103" fmla="*/ 484035 w 3137805"/>
              <a:gd name="connsiteY103" fmla="*/ 779297 h 1045006"/>
              <a:gd name="connsiteX104" fmla="*/ 484035 w 3137805"/>
              <a:gd name="connsiteY104" fmla="*/ 790867 h 1045006"/>
              <a:gd name="connsiteX105" fmla="*/ 490410 w 3137805"/>
              <a:gd name="connsiteY105" fmla="*/ 790867 h 1045006"/>
              <a:gd name="connsiteX106" fmla="*/ 490410 w 3137805"/>
              <a:gd name="connsiteY106" fmla="*/ 802449 h 1045006"/>
              <a:gd name="connsiteX107" fmla="*/ 509523 w 3137805"/>
              <a:gd name="connsiteY107" fmla="*/ 802449 h 1045006"/>
              <a:gd name="connsiteX108" fmla="*/ 509523 w 3137805"/>
              <a:gd name="connsiteY108" fmla="*/ 814235 h 1045006"/>
              <a:gd name="connsiteX109" fmla="*/ 512711 w 3137805"/>
              <a:gd name="connsiteY109" fmla="*/ 814235 h 1045006"/>
              <a:gd name="connsiteX110" fmla="*/ 512711 w 3137805"/>
              <a:gd name="connsiteY110" fmla="*/ 826020 h 1045006"/>
              <a:gd name="connsiteX111" fmla="*/ 515886 w 3137805"/>
              <a:gd name="connsiteY111" fmla="*/ 826020 h 1045006"/>
              <a:gd name="connsiteX112" fmla="*/ 515886 w 3137805"/>
              <a:gd name="connsiteY112" fmla="*/ 850061 h 1045006"/>
              <a:gd name="connsiteX113" fmla="*/ 531812 w 3137805"/>
              <a:gd name="connsiteY113" fmla="*/ 850061 h 1045006"/>
              <a:gd name="connsiteX114" fmla="*/ 531812 w 3137805"/>
              <a:gd name="connsiteY114" fmla="*/ 862076 h 1045006"/>
              <a:gd name="connsiteX115" fmla="*/ 579577 w 3137805"/>
              <a:gd name="connsiteY115" fmla="*/ 862076 h 1045006"/>
              <a:gd name="connsiteX116" fmla="*/ 579577 w 3137805"/>
              <a:gd name="connsiteY116" fmla="*/ 874102 h 1045006"/>
              <a:gd name="connsiteX117" fmla="*/ 627341 w 3137805"/>
              <a:gd name="connsiteY117" fmla="*/ 874102 h 1045006"/>
              <a:gd name="connsiteX118" fmla="*/ 627341 w 3137805"/>
              <a:gd name="connsiteY118" fmla="*/ 898131 h 1045006"/>
              <a:gd name="connsiteX119" fmla="*/ 681482 w 3137805"/>
              <a:gd name="connsiteY119" fmla="*/ 898131 h 1045006"/>
              <a:gd name="connsiteX120" fmla="*/ 681482 w 3137805"/>
              <a:gd name="connsiteY120" fmla="*/ 910158 h 1045006"/>
              <a:gd name="connsiteX121" fmla="*/ 703770 w 3137805"/>
              <a:gd name="connsiteY121" fmla="*/ 910158 h 1045006"/>
              <a:gd name="connsiteX122" fmla="*/ 703770 w 3137805"/>
              <a:gd name="connsiteY122" fmla="*/ 922172 h 1045006"/>
              <a:gd name="connsiteX123" fmla="*/ 792937 w 3137805"/>
              <a:gd name="connsiteY123" fmla="*/ 922172 h 1045006"/>
              <a:gd name="connsiteX124" fmla="*/ 792937 w 3137805"/>
              <a:gd name="connsiteY124" fmla="*/ 934199 h 1045006"/>
              <a:gd name="connsiteX125" fmla="*/ 837514 w 3137805"/>
              <a:gd name="connsiteY125" fmla="*/ 934199 h 1045006"/>
              <a:gd name="connsiteX126" fmla="*/ 837514 w 3137805"/>
              <a:gd name="connsiteY126" fmla="*/ 946505 h 1045006"/>
              <a:gd name="connsiteX127" fmla="*/ 850252 w 3137805"/>
              <a:gd name="connsiteY127" fmla="*/ 946505 h 1045006"/>
              <a:gd name="connsiteX128" fmla="*/ 850252 w 3137805"/>
              <a:gd name="connsiteY128" fmla="*/ 958824 h 1045006"/>
              <a:gd name="connsiteX129" fmla="*/ 862990 w 3137805"/>
              <a:gd name="connsiteY129" fmla="*/ 958824 h 1045006"/>
              <a:gd name="connsiteX130" fmla="*/ 862990 w 3137805"/>
              <a:gd name="connsiteY130" fmla="*/ 971130 h 1045006"/>
              <a:gd name="connsiteX131" fmla="*/ 866178 w 3137805"/>
              <a:gd name="connsiteY131" fmla="*/ 971130 h 1045006"/>
              <a:gd name="connsiteX132" fmla="*/ 866178 w 3137805"/>
              <a:gd name="connsiteY132" fmla="*/ 983449 h 1045006"/>
              <a:gd name="connsiteX133" fmla="*/ 894829 w 3137805"/>
              <a:gd name="connsiteY133" fmla="*/ 983449 h 1045006"/>
              <a:gd name="connsiteX134" fmla="*/ 894829 w 3137805"/>
              <a:gd name="connsiteY134" fmla="*/ 995756 h 1045006"/>
              <a:gd name="connsiteX135" fmla="*/ 917130 w 3137805"/>
              <a:gd name="connsiteY135" fmla="*/ 995756 h 1045006"/>
              <a:gd name="connsiteX136" fmla="*/ 917130 w 3137805"/>
              <a:gd name="connsiteY136" fmla="*/ 1008062 h 1045006"/>
              <a:gd name="connsiteX137" fmla="*/ 984008 w 3137805"/>
              <a:gd name="connsiteY137" fmla="*/ 1008062 h 1045006"/>
              <a:gd name="connsiteX138" fmla="*/ 984008 w 3137805"/>
              <a:gd name="connsiteY138" fmla="*/ 1020394 h 1045006"/>
              <a:gd name="connsiteX139" fmla="*/ 1162342 w 3137805"/>
              <a:gd name="connsiteY139" fmla="*/ 1020394 h 1045006"/>
              <a:gd name="connsiteX140" fmla="*/ 1162342 w 3137805"/>
              <a:gd name="connsiteY140" fmla="*/ 1032700 h 1045006"/>
              <a:gd name="connsiteX141" fmla="*/ 1175067 w 3137805"/>
              <a:gd name="connsiteY141" fmla="*/ 1032700 h 1045006"/>
              <a:gd name="connsiteX142" fmla="*/ 1175067 w 3137805"/>
              <a:gd name="connsiteY142" fmla="*/ 1045006 h 1045006"/>
              <a:gd name="connsiteX143" fmla="*/ 3137805 w 3137805"/>
              <a:gd name="connsiteY143" fmla="*/ 1043129 h 10450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</a:cxnLst>
            <a:rect l="l" t="t" r="r" b="b"/>
            <a:pathLst>
              <a:path w="3137805" h="1045006">
                <a:moveTo>
                  <a:pt x="0" y="0"/>
                </a:moveTo>
                <a:lnTo>
                  <a:pt x="50952" y="0"/>
                </a:lnTo>
                <a:lnTo>
                  <a:pt x="50952" y="8623"/>
                </a:lnTo>
                <a:lnTo>
                  <a:pt x="70053" y="8623"/>
                </a:lnTo>
                <a:lnTo>
                  <a:pt x="70053" y="17233"/>
                </a:lnTo>
                <a:lnTo>
                  <a:pt x="76428" y="17233"/>
                </a:lnTo>
                <a:lnTo>
                  <a:pt x="76428" y="25857"/>
                </a:lnTo>
                <a:lnTo>
                  <a:pt x="85979" y="25857"/>
                </a:lnTo>
                <a:lnTo>
                  <a:pt x="85979" y="60325"/>
                </a:lnTo>
                <a:lnTo>
                  <a:pt x="89166" y="60325"/>
                </a:lnTo>
                <a:lnTo>
                  <a:pt x="89166" y="77546"/>
                </a:lnTo>
                <a:lnTo>
                  <a:pt x="92341" y="77546"/>
                </a:lnTo>
                <a:lnTo>
                  <a:pt x="92341" y="86169"/>
                </a:lnTo>
                <a:lnTo>
                  <a:pt x="95529" y="86169"/>
                </a:lnTo>
                <a:lnTo>
                  <a:pt x="95529" y="94843"/>
                </a:lnTo>
                <a:lnTo>
                  <a:pt x="111455" y="94843"/>
                </a:lnTo>
                <a:lnTo>
                  <a:pt x="111455" y="103517"/>
                </a:lnTo>
                <a:lnTo>
                  <a:pt x="114642" y="103517"/>
                </a:lnTo>
                <a:lnTo>
                  <a:pt x="114642" y="120865"/>
                </a:lnTo>
                <a:lnTo>
                  <a:pt x="117817" y="120865"/>
                </a:lnTo>
                <a:lnTo>
                  <a:pt x="117817" y="129527"/>
                </a:lnTo>
                <a:lnTo>
                  <a:pt x="121005" y="129527"/>
                </a:lnTo>
                <a:lnTo>
                  <a:pt x="121005" y="138214"/>
                </a:lnTo>
                <a:lnTo>
                  <a:pt x="127380" y="138214"/>
                </a:lnTo>
                <a:lnTo>
                  <a:pt x="127380" y="146875"/>
                </a:lnTo>
                <a:lnTo>
                  <a:pt x="130568" y="146875"/>
                </a:lnTo>
                <a:lnTo>
                  <a:pt x="130568" y="155549"/>
                </a:lnTo>
                <a:lnTo>
                  <a:pt x="133743" y="155549"/>
                </a:lnTo>
                <a:lnTo>
                  <a:pt x="133743" y="164223"/>
                </a:lnTo>
                <a:lnTo>
                  <a:pt x="136931" y="164223"/>
                </a:lnTo>
                <a:lnTo>
                  <a:pt x="136931" y="172897"/>
                </a:lnTo>
                <a:lnTo>
                  <a:pt x="140119" y="172897"/>
                </a:lnTo>
                <a:lnTo>
                  <a:pt x="140119" y="242265"/>
                </a:lnTo>
                <a:lnTo>
                  <a:pt x="143306" y="242265"/>
                </a:lnTo>
                <a:lnTo>
                  <a:pt x="143306" y="268859"/>
                </a:lnTo>
                <a:lnTo>
                  <a:pt x="146494" y="268859"/>
                </a:lnTo>
                <a:lnTo>
                  <a:pt x="146494" y="295871"/>
                </a:lnTo>
                <a:lnTo>
                  <a:pt x="149669" y="295871"/>
                </a:lnTo>
                <a:lnTo>
                  <a:pt x="149669" y="332155"/>
                </a:lnTo>
                <a:lnTo>
                  <a:pt x="152857" y="332155"/>
                </a:lnTo>
                <a:lnTo>
                  <a:pt x="152857" y="359829"/>
                </a:lnTo>
                <a:lnTo>
                  <a:pt x="156044" y="359829"/>
                </a:lnTo>
                <a:lnTo>
                  <a:pt x="156044" y="378599"/>
                </a:lnTo>
                <a:lnTo>
                  <a:pt x="159219" y="378599"/>
                </a:lnTo>
                <a:lnTo>
                  <a:pt x="159219" y="398056"/>
                </a:lnTo>
                <a:lnTo>
                  <a:pt x="162407" y="398056"/>
                </a:lnTo>
                <a:lnTo>
                  <a:pt x="162407" y="407873"/>
                </a:lnTo>
                <a:lnTo>
                  <a:pt x="165595" y="407873"/>
                </a:lnTo>
                <a:lnTo>
                  <a:pt x="165595" y="427697"/>
                </a:lnTo>
                <a:lnTo>
                  <a:pt x="168783" y="427697"/>
                </a:lnTo>
                <a:lnTo>
                  <a:pt x="168783" y="447535"/>
                </a:lnTo>
                <a:lnTo>
                  <a:pt x="175145" y="447535"/>
                </a:lnTo>
                <a:lnTo>
                  <a:pt x="175145" y="457644"/>
                </a:lnTo>
                <a:lnTo>
                  <a:pt x="178333" y="457644"/>
                </a:lnTo>
                <a:lnTo>
                  <a:pt x="178333" y="467779"/>
                </a:lnTo>
                <a:lnTo>
                  <a:pt x="181508" y="467779"/>
                </a:lnTo>
                <a:lnTo>
                  <a:pt x="181508" y="477989"/>
                </a:lnTo>
                <a:lnTo>
                  <a:pt x="200621" y="477989"/>
                </a:lnTo>
                <a:lnTo>
                  <a:pt x="200621" y="488327"/>
                </a:lnTo>
                <a:lnTo>
                  <a:pt x="213360" y="488327"/>
                </a:lnTo>
                <a:lnTo>
                  <a:pt x="213360" y="498665"/>
                </a:lnTo>
                <a:lnTo>
                  <a:pt x="222910" y="498665"/>
                </a:lnTo>
                <a:lnTo>
                  <a:pt x="222910" y="508990"/>
                </a:lnTo>
                <a:lnTo>
                  <a:pt x="226098" y="508990"/>
                </a:lnTo>
                <a:lnTo>
                  <a:pt x="226098" y="519442"/>
                </a:lnTo>
                <a:lnTo>
                  <a:pt x="238836" y="519442"/>
                </a:lnTo>
                <a:lnTo>
                  <a:pt x="238836" y="530009"/>
                </a:lnTo>
                <a:lnTo>
                  <a:pt x="251574" y="530009"/>
                </a:lnTo>
                <a:lnTo>
                  <a:pt x="251574" y="540575"/>
                </a:lnTo>
                <a:lnTo>
                  <a:pt x="261124" y="540575"/>
                </a:lnTo>
                <a:lnTo>
                  <a:pt x="261124" y="572300"/>
                </a:lnTo>
                <a:lnTo>
                  <a:pt x="270675" y="572300"/>
                </a:lnTo>
                <a:lnTo>
                  <a:pt x="270675" y="593432"/>
                </a:lnTo>
                <a:lnTo>
                  <a:pt x="280225" y="593432"/>
                </a:lnTo>
                <a:lnTo>
                  <a:pt x="280225" y="603999"/>
                </a:lnTo>
                <a:lnTo>
                  <a:pt x="283413" y="603999"/>
                </a:lnTo>
                <a:lnTo>
                  <a:pt x="283413" y="614578"/>
                </a:lnTo>
                <a:lnTo>
                  <a:pt x="299339" y="614578"/>
                </a:lnTo>
                <a:lnTo>
                  <a:pt x="299339" y="625271"/>
                </a:lnTo>
                <a:lnTo>
                  <a:pt x="302526" y="625271"/>
                </a:lnTo>
                <a:lnTo>
                  <a:pt x="302526" y="635990"/>
                </a:lnTo>
                <a:lnTo>
                  <a:pt x="308889" y="635990"/>
                </a:lnTo>
                <a:lnTo>
                  <a:pt x="308889" y="646836"/>
                </a:lnTo>
                <a:lnTo>
                  <a:pt x="315264" y="646836"/>
                </a:lnTo>
                <a:lnTo>
                  <a:pt x="315264" y="657694"/>
                </a:lnTo>
                <a:lnTo>
                  <a:pt x="318452" y="657694"/>
                </a:lnTo>
                <a:lnTo>
                  <a:pt x="318452" y="668540"/>
                </a:lnTo>
                <a:lnTo>
                  <a:pt x="321640" y="668540"/>
                </a:lnTo>
                <a:lnTo>
                  <a:pt x="321640" y="690245"/>
                </a:lnTo>
                <a:lnTo>
                  <a:pt x="334378" y="690245"/>
                </a:lnTo>
                <a:lnTo>
                  <a:pt x="334378" y="701090"/>
                </a:lnTo>
                <a:lnTo>
                  <a:pt x="340741" y="701090"/>
                </a:lnTo>
                <a:lnTo>
                  <a:pt x="340741" y="712114"/>
                </a:lnTo>
                <a:lnTo>
                  <a:pt x="356654" y="712114"/>
                </a:lnTo>
                <a:lnTo>
                  <a:pt x="356654" y="734136"/>
                </a:lnTo>
                <a:lnTo>
                  <a:pt x="359841" y="734136"/>
                </a:lnTo>
                <a:lnTo>
                  <a:pt x="359841" y="745147"/>
                </a:lnTo>
                <a:lnTo>
                  <a:pt x="382143" y="745147"/>
                </a:lnTo>
                <a:lnTo>
                  <a:pt x="382143" y="756335"/>
                </a:lnTo>
                <a:lnTo>
                  <a:pt x="439458" y="756335"/>
                </a:lnTo>
                <a:lnTo>
                  <a:pt x="439458" y="767727"/>
                </a:lnTo>
                <a:lnTo>
                  <a:pt x="480860" y="767727"/>
                </a:lnTo>
                <a:lnTo>
                  <a:pt x="480860" y="779297"/>
                </a:lnTo>
                <a:lnTo>
                  <a:pt x="484035" y="779297"/>
                </a:lnTo>
                <a:lnTo>
                  <a:pt x="484035" y="790867"/>
                </a:lnTo>
                <a:lnTo>
                  <a:pt x="490410" y="790867"/>
                </a:lnTo>
                <a:lnTo>
                  <a:pt x="490410" y="802449"/>
                </a:lnTo>
                <a:lnTo>
                  <a:pt x="509523" y="802449"/>
                </a:lnTo>
                <a:lnTo>
                  <a:pt x="509523" y="814235"/>
                </a:lnTo>
                <a:lnTo>
                  <a:pt x="512711" y="814235"/>
                </a:lnTo>
                <a:lnTo>
                  <a:pt x="512711" y="826020"/>
                </a:lnTo>
                <a:lnTo>
                  <a:pt x="515886" y="826020"/>
                </a:lnTo>
                <a:lnTo>
                  <a:pt x="515886" y="850061"/>
                </a:lnTo>
                <a:lnTo>
                  <a:pt x="531812" y="850061"/>
                </a:lnTo>
                <a:lnTo>
                  <a:pt x="531812" y="862076"/>
                </a:lnTo>
                <a:lnTo>
                  <a:pt x="579577" y="862076"/>
                </a:lnTo>
                <a:lnTo>
                  <a:pt x="579577" y="874102"/>
                </a:lnTo>
                <a:lnTo>
                  <a:pt x="627341" y="874102"/>
                </a:lnTo>
                <a:lnTo>
                  <a:pt x="627341" y="898131"/>
                </a:lnTo>
                <a:lnTo>
                  <a:pt x="681482" y="898131"/>
                </a:lnTo>
                <a:lnTo>
                  <a:pt x="681482" y="910158"/>
                </a:lnTo>
                <a:lnTo>
                  <a:pt x="703770" y="910158"/>
                </a:lnTo>
                <a:lnTo>
                  <a:pt x="703770" y="922172"/>
                </a:lnTo>
                <a:lnTo>
                  <a:pt x="792937" y="922172"/>
                </a:lnTo>
                <a:lnTo>
                  <a:pt x="792937" y="934199"/>
                </a:lnTo>
                <a:lnTo>
                  <a:pt x="837514" y="934199"/>
                </a:lnTo>
                <a:lnTo>
                  <a:pt x="837514" y="946505"/>
                </a:lnTo>
                <a:lnTo>
                  <a:pt x="850252" y="946505"/>
                </a:lnTo>
                <a:lnTo>
                  <a:pt x="850252" y="958824"/>
                </a:lnTo>
                <a:lnTo>
                  <a:pt x="862990" y="958824"/>
                </a:lnTo>
                <a:lnTo>
                  <a:pt x="862990" y="971130"/>
                </a:lnTo>
                <a:lnTo>
                  <a:pt x="866178" y="971130"/>
                </a:lnTo>
                <a:lnTo>
                  <a:pt x="866178" y="983449"/>
                </a:lnTo>
                <a:lnTo>
                  <a:pt x="894829" y="983449"/>
                </a:lnTo>
                <a:lnTo>
                  <a:pt x="894829" y="995756"/>
                </a:lnTo>
                <a:lnTo>
                  <a:pt x="917130" y="995756"/>
                </a:lnTo>
                <a:lnTo>
                  <a:pt x="917130" y="1008062"/>
                </a:lnTo>
                <a:lnTo>
                  <a:pt x="984008" y="1008062"/>
                </a:lnTo>
                <a:lnTo>
                  <a:pt x="984008" y="1020394"/>
                </a:lnTo>
                <a:lnTo>
                  <a:pt x="1162342" y="1020394"/>
                </a:lnTo>
                <a:lnTo>
                  <a:pt x="1162342" y="1032700"/>
                </a:lnTo>
                <a:lnTo>
                  <a:pt x="1175067" y="1032700"/>
                </a:lnTo>
                <a:lnTo>
                  <a:pt x="1175067" y="1045006"/>
                </a:lnTo>
                <a:lnTo>
                  <a:pt x="3137805" y="1043129"/>
                </a:lnTo>
              </a:path>
            </a:pathLst>
          </a:custGeom>
          <a:ln w="12700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9" name="object 71">
            <a:extLst>
              <a:ext uri="{FF2B5EF4-FFF2-40B4-BE49-F238E27FC236}">
                <a16:creationId xmlns:a16="http://schemas.microsoft.com/office/drawing/2014/main" id="{45AB1E3D-C5FB-1847-CF3B-59447FBA425F}"/>
              </a:ext>
            </a:extLst>
          </p:cNvPr>
          <p:cNvSpPr/>
          <p:nvPr/>
        </p:nvSpPr>
        <p:spPr>
          <a:xfrm>
            <a:off x="1361967" y="2558784"/>
            <a:ext cx="24899" cy="0"/>
          </a:xfrm>
          <a:custGeom>
            <a:avLst/>
            <a:gdLst/>
            <a:ahLst/>
            <a:cxnLst/>
            <a:rect l="l" t="t" r="r" b="b"/>
            <a:pathLst>
              <a:path w="41275">
                <a:moveTo>
                  <a:pt x="41275" y="0"/>
                </a:moveTo>
                <a:lnTo>
                  <a:pt x="0" y="0"/>
                </a:lnTo>
              </a:path>
            </a:pathLst>
          </a:custGeom>
          <a:ln w="635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0" name="object 71">
            <a:extLst>
              <a:ext uri="{FF2B5EF4-FFF2-40B4-BE49-F238E27FC236}">
                <a16:creationId xmlns:a16="http://schemas.microsoft.com/office/drawing/2014/main" id="{A9400A16-A417-24FE-0EB8-8E54633FF2FF}"/>
              </a:ext>
            </a:extLst>
          </p:cNvPr>
          <p:cNvSpPr/>
          <p:nvPr/>
        </p:nvSpPr>
        <p:spPr>
          <a:xfrm>
            <a:off x="1361967" y="2741288"/>
            <a:ext cx="24899" cy="0"/>
          </a:xfrm>
          <a:custGeom>
            <a:avLst/>
            <a:gdLst/>
            <a:ahLst/>
            <a:cxnLst/>
            <a:rect l="l" t="t" r="r" b="b"/>
            <a:pathLst>
              <a:path w="41275">
                <a:moveTo>
                  <a:pt x="41275" y="0"/>
                </a:moveTo>
                <a:lnTo>
                  <a:pt x="0" y="0"/>
                </a:lnTo>
              </a:path>
            </a:pathLst>
          </a:custGeom>
          <a:ln w="635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1" name="object 67">
            <a:extLst>
              <a:ext uri="{FF2B5EF4-FFF2-40B4-BE49-F238E27FC236}">
                <a16:creationId xmlns:a16="http://schemas.microsoft.com/office/drawing/2014/main" id="{7E00CE2A-87D1-493F-89E8-98BFAE38CD90}"/>
              </a:ext>
            </a:extLst>
          </p:cNvPr>
          <p:cNvSpPr txBox="1"/>
          <p:nvPr/>
        </p:nvSpPr>
        <p:spPr>
          <a:xfrm rot="5400000">
            <a:off x="1189472" y="2466247"/>
            <a:ext cx="123111" cy="183561"/>
          </a:xfrm>
          <a:prstGeom prst="rect">
            <a:avLst/>
          </a:prstGeom>
          <a:ln>
            <a:noFill/>
          </a:ln>
        </p:spPr>
        <p:txBody>
          <a:bodyPr vert="vert270" wrap="square" lIns="0" tIns="0" rIns="0" bIns="0" rtlCol="0" anchor="ctr">
            <a:spAutoFit/>
          </a:bodyPr>
          <a:lstStyle/>
          <a:p>
            <a:pPr marL="1270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00</a:t>
            </a:r>
          </a:p>
        </p:txBody>
      </p:sp>
      <p:sp>
        <p:nvSpPr>
          <p:cNvPr id="52" name="object 67">
            <a:extLst>
              <a:ext uri="{FF2B5EF4-FFF2-40B4-BE49-F238E27FC236}">
                <a16:creationId xmlns:a16="http://schemas.microsoft.com/office/drawing/2014/main" id="{719C1563-B510-E8A6-CBCA-BB30E8C49D68}"/>
              </a:ext>
            </a:extLst>
          </p:cNvPr>
          <p:cNvSpPr txBox="1"/>
          <p:nvPr/>
        </p:nvSpPr>
        <p:spPr>
          <a:xfrm rot="5400000">
            <a:off x="1218396" y="2677754"/>
            <a:ext cx="123111" cy="125712"/>
          </a:xfrm>
          <a:prstGeom prst="rect">
            <a:avLst/>
          </a:prstGeom>
          <a:ln>
            <a:noFill/>
          </a:ln>
        </p:spPr>
        <p:txBody>
          <a:bodyPr vert="vert270" wrap="square" lIns="0" tIns="0" rIns="0" bIns="0" rtlCol="0" anchor="ctr">
            <a:spAutoFit/>
          </a:bodyPr>
          <a:lstStyle/>
          <a:p>
            <a:pPr marL="1270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90</a:t>
            </a:r>
          </a:p>
        </p:txBody>
      </p:sp>
      <p:sp>
        <p:nvSpPr>
          <p:cNvPr id="53" name="object 67">
            <a:extLst>
              <a:ext uri="{FF2B5EF4-FFF2-40B4-BE49-F238E27FC236}">
                <a16:creationId xmlns:a16="http://schemas.microsoft.com/office/drawing/2014/main" id="{EA8E6AFA-1D29-E565-80C4-8B14AF2FDDAC}"/>
              </a:ext>
            </a:extLst>
          </p:cNvPr>
          <p:cNvSpPr txBox="1"/>
          <p:nvPr/>
        </p:nvSpPr>
        <p:spPr>
          <a:xfrm rot="5400000">
            <a:off x="1218396" y="2860334"/>
            <a:ext cx="123111" cy="125712"/>
          </a:xfrm>
          <a:prstGeom prst="rect">
            <a:avLst/>
          </a:prstGeom>
          <a:ln>
            <a:noFill/>
          </a:ln>
        </p:spPr>
        <p:txBody>
          <a:bodyPr vert="vert270" wrap="square" lIns="0" tIns="0" rIns="0" bIns="0" rtlCol="0" anchor="ctr">
            <a:spAutoFit/>
          </a:bodyPr>
          <a:lstStyle/>
          <a:p>
            <a:pPr marL="1270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80</a:t>
            </a:r>
          </a:p>
        </p:txBody>
      </p:sp>
      <p:sp>
        <p:nvSpPr>
          <p:cNvPr id="54" name="object 67">
            <a:extLst>
              <a:ext uri="{FF2B5EF4-FFF2-40B4-BE49-F238E27FC236}">
                <a16:creationId xmlns:a16="http://schemas.microsoft.com/office/drawing/2014/main" id="{8C2C8EB4-2DF1-3D56-6818-B63767F8DBE6}"/>
              </a:ext>
            </a:extLst>
          </p:cNvPr>
          <p:cNvSpPr txBox="1"/>
          <p:nvPr/>
        </p:nvSpPr>
        <p:spPr>
          <a:xfrm rot="5400000">
            <a:off x="1218396" y="3042914"/>
            <a:ext cx="123111" cy="125712"/>
          </a:xfrm>
          <a:prstGeom prst="rect">
            <a:avLst/>
          </a:prstGeom>
          <a:ln>
            <a:noFill/>
          </a:ln>
        </p:spPr>
        <p:txBody>
          <a:bodyPr vert="vert270" wrap="square" lIns="0" tIns="0" rIns="0" bIns="0" rtlCol="0" anchor="ctr">
            <a:spAutoFit/>
          </a:bodyPr>
          <a:lstStyle/>
          <a:p>
            <a:pPr marL="1270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70</a:t>
            </a:r>
          </a:p>
        </p:txBody>
      </p:sp>
      <p:sp>
        <p:nvSpPr>
          <p:cNvPr id="55" name="object 67">
            <a:extLst>
              <a:ext uri="{FF2B5EF4-FFF2-40B4-BE49-F238E27FC236}">
                <a16:creationId xmlns:a16="http://schemas.microsoft.com/office/drawing/2014/main" id="{66ABF7A4-0FAC-C8D2-F67D-A3525AD971E5}"/>
              </a:ext>
            </a:extLst>
          </p:cNvPr>
          <p:cNvSpPr txBox="1"/>
          <p:nvPr/>
        </p:nvSpPr>
        <p:spPr>
          <a:xfrm rot="5400000">
            <a:off x="1218396" y="3225494"/>
            <a:ext cx="123111" cy="125712"/>
          </a:xfrm>
          <a:prstGeom prst="rect">
            <a:avLst/>
          </a:prstGeom>
          <a:ln>
            <a:noFill/>
          </a:ln>
        </p:spPr>
        <p:txBody>
          <a:bodyPr vert="vert270" wrap="square" lIns="0" tIns="0" rIns="0" bIns="0" rtlCol="0" anchor="ctr">
            <a:spAutoFit/>
          </a:bodyPr>
          <a:lstStyle/>
          <a:p>
            <a:pPr marL="1270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60</a:t>
            </a:r>
          </a:p>
        </p:txBody>
      </p:sp>
      <p:sp>
        <p:nvSpPr>
          <p:cNvPr id="56" name="object 67">
            <a:extLst>
              <a:ext uri="{FF2B5EF4-FFF2-40B4-BE49-F238E27FC236}">
                <a16:creationId xmlns:a16="http://schemas.microsoft.com/office/drawing/2014/main" id="{4CF8BE4E-1262-EFAA-0A2F-A7DC7A43723E}"/>
              </a:ext>
            </a:extLst>
          </p:cNvPr>
          <p:cNvSpPr txBox="1"/>
          <p:nvPr/>
        </p:nvSpPr>
        <p:spPr>
          <a:xfrm rot="5400000">
            <a:off x="1218396" y="3408074"/>
            <a:ext cx="123111" cy="125712"/>
          </a:xfrm>
          <a:prstGeom prst="rect">
            <a:avLst/>
          </a:prstGeom>
          <a:ln>
            <a:noFill/>
          </a:ln>
        </p:spPr>
        <p:txBody>
          <a:bodyPr vert="vert270" wrap="square" lIns="0" tIns="0" rIns="0" bIns="0" rtlCol="0" anchor="ctr">
            <a:spAutoFit/>
          </a:bodyPr>
          <a:lstStyle/>
          <a:p>
            <a:pPr marL="1270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50</a:t>
            </a:r>
          </a:p>
        </p:txBody>
      </p:sp>
      <p:sp>
        <p:nvSpPr>
          <p:cNvPr id="57" name="object 67">
            <a:extLst>
              <a:ext uri="{FF2B5EF4-FFF2-40B4-BE49-F238E27FC236}">
                <a16:creationId xmlns:a16="http://schemas.microsoft.com/office/drawing/2014/main" id="{027D446A-4C5C-27FD-D846-A35EEFE7EE41}"/>
              </a:ext>
            </a:extLst>
          </p:cNvPr>
          <p:cNvSpPr txBox="1"/>
          <p:nvPr/>
        </p:nvSpPr>
        <p:spPr>
          <a:xfrm rot="5400000">
            <a:off x="1218396" y="3590654"/>
            <a:ext cx="123111" cy="125712"/>
          </a:xfrm>
          <a:prstGeom prst="rect">
            <a:avLst/>
          </a:prstGeom>
          <a:ln>
            <a:noFill/>
          </a:ln>
        </p:spPr>
        <p:txBody>
          <a:bodyPr vert="vert270" wrap="square" lIns="0" tIns="0" rIns="0" bIns="0" rtlCol="0" anchor="ctr">
            <a:spAutoFit/>
          </a:bodyPr>
          <a:lstStyle/>
          <a:p>
            <a:pPr marL="1270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40</a:t>
            </a:r>
          </a:p>
        </p:txBody>
      </p:sp>
      <p:sp>
        <p:nvSpPr>
          <p:cNvPr id="58" name="object 67">
            <a:extLst>
              <a:ext uri="{FF2B5EF4-FFF2-40B4-BE49-F238E27FC236}">
                <a16:creationId xmlns:a16="http://schemas.microsoft.com/office/drawing/2014/main" id="{5F021974-401C-E8F9-F499-12C45B710A2D}"/>
              </a:ext>
            </a:extLst>
          </p:cNvPr>
          <p:cNvSpPr txBox="1"/>
          <p:nvPr/>
        </p:nvSpPr>
        <p:spPr>
          <a:xfrm rot="5400000">
            <a:off x="1218396" y="3773234"/>
            <a:ext cx="123111" cy="125712"/>
          </a:xfrm>
          <a:prstGeom prst="rect">
            <a:avLst/>
          </a:prstGeom>
          <a:ln>
            <a:noFill/>
          </a:ln>
        </p:spPr>
        <p:txBody>
          <a:bodyPr vert="vert270" wrap="square" lIns="0" tIns="0" rIns="0" bIns="0" rtlCol="0" anchor="ctr">
            <a:spAutoFit/>
          </a:bodyPr>
          <a:lstStyle/>
          <a:p>
            <a:pPr marL="1270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30</a:t>
            </a:r>
          </a:p>
        </p:txBody>
      </p:sp>
      <p:sp>
        <p:nvSpPr>
          <p:cNvPr id="59" name="object 67">
            <a:extLst>
              <a:ext uri="{FF2B5EF4-FFF2-40B4-BE49-F238E27FC236}">
                <a16:creationId xmlns:a16="http://schemas.microsoft.com/office/drawing/2014/main" id="{C7522E3C-AEBD-E366-1F45-91EA22CF15C1}"/>
              </a:ext>
            </a:extLst>
          </p:cNvPr>
          <p:cNvSpPr txBox="1"/>
          <p:nvPr/>
        </p:nvSpPr>
        <p:spPr>
          <a:xfrm rot="5400000">
            <a:off x="1218396" y="3955815"/>
            <a:ext cx="123111" cy="125712"/>
          </a:xfrm>
          <a:prstGeom prst="rect">
            <a:avLst/>
          </a:prstGeom>
          <a:ln>
            <a:noFill/>
          </a:ln>
        </p:spPr>
        <p:txBody>
          <a:bodyPr vert="vert270" wrap="square" lIns="0" tIns="0" rIns="0" bIns="0" rtlCol="0" anchor="ctr">
            <a:spAutoFit/>
          </a:bodyPr>
          <a:lstStyle/>
          <a:p>
            <a:pPr marL="1270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0</a:t>
            </a:r>
          </a:p>
        </p:txBody>
      </p:sp>
      <p:sp>
        <p:nvSpPr>
          <p:cNvPr id="60" name="object 67">
            <a:extLst>
              <a:ext uri="{FF2B5EF4-FFF2-40B4-BE49-F238E27FC236}">
                <a16:creationId xmlns:a16="http://schemas.microsoft.com/office/drawing/2014/main" id="{867148B7-FBEB-6C47-B1F9-D874D9649443}"/>
              </a:ext>
            </a:extLst>
          </p:cNvPr>
          <p:cNvSpPr txBox="1"/>
          <p:nvPr/>
        </p:nvSpPr>
        <p:spPr>
          <a:xfrm rot="5400000">
            <a:off x="1218396" y="4138396"/>
            <a:ext cx="123111" cy="125712"/>
          </a:xfrm>
          <a:prstGeom prst="rect">
            <a:avLst/>
          </a:prstGeom>
          <a:ln>
            <a:noFill/>
          </a:ln>
        </p:spPr>
        <p:txBody>
          <a:bodyPr vert="vert270" wrap="square" lIns="0" tIns="0" rIns="0" bIns="0" rtlCol="0" anchor="ctr">
            <a:spAutoFit/>
          </a:bodyPr>
          <a:lstStyle/>
          <a:p>
            <a:pPr marL="1270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0</a:t>
            </a:r>
          </a:p>
        </p:txBody>
      </p:sp>
      <p:sp>
        <p:nvSpPr>
          <p:cNvPr id="61" name="object 67">
            <a:extLst>
              <a:ext uri="{FF2B5EF4-FFF2-40B4-BE49-F238E27FC236}">
                <a16:creationId xmlns:a16="http://schemas.microsoft.com/office/drawing/2014/main" id="{37EDA2F2-AB63-7049-B3B2-AEAAD7D8EA9F}"/>
              </a:ext>
            </a:extLst>
          </p:cNvPr>
          <p:cNvSpPr txBox="1"/>
          <p:nvPr/>
        </p:nvSpPr>
        <p:spPr>
          <a:xfrm rot="5400000">
            <a:off x="1218396" y="4320975"/>
            <a:ext cx="123111" cy="125712"/>
          </a:xfrm>
          <a:prstGeom prst="rect">
            <a:avLst/>
          </a:prstGeom>
          <a:ln>
            <a:noFill/>
          </a:ln>
        </p:spPr>
        <p:txBody>
          <a:bodyPr vert="vert270" wrap="square" lIns="0" tIns="0" rIns="0" bIns="0" rtlCol="0" anchor="ctr">
            <a:spAutoFit/>
          </a:bodyPr>
          <a:lstStyle/>
          <a:p>
            <a:pPr marL="1270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0</a:t>
            </a:r>
          </a:p>
        </p:txBody>
      </p:sp>
      <p:sp>
        <p:nvSpPr>
          <p:cNvPr id="62" name="object 67">
            <a:extLst>
              <a:ext uri="{FF2B5EF4-FFF2-40B4-BE49-F238E27FC236}">
                <a16:creationId xmlns:a16="http://schemas.microsoft.com/office/drawing/2014/main" id="{4286738B-9FA2-27A3-A25E-1F654E808CE5}"/>
              </a:ext>
            </a:extLst>
          </p:cNvPr>
          <p:cNvSpPr txBox="1"/>
          <p:nvPr/>
        </p:nvSpPr>
        <p:spPr>
          <a:xfrm rot="5400000">
            <a:off x="3566695" y="4431404"/>
            <a:ext cx="123111" cy="136230"/>
          </a:xfrm>
          <a:prstGeom prst="rect">
            <a:avLst/>
          </a:prstGeom>
          <a:ln>
            <a:noFill/>
          </a:ln>
        </p:spPr>
        <p:txBody>
          <a:bodyPr vert="vert270" wrap="square" lIns="0" tIns="0" rIns="0" bIns="0" rtlCol="0" anchor="ctr">
            <a:sp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34</a:t>
            </a:r>
          </a:p>
        </p:txBody>
      </p:sp>
      <p:sp>
        <p:nvSpPr>
          <p:cNvPr id="63" name="object 67">
            <a:extLst>
              <a:ext uri="{FF2B5EF4-FFF2-40B4-BE49-F238E27FC236}">
                <a16:creationId xmlns:a16="http://schemas.microsoft.com/office/drawing/2014/main" id="{A1D61972-0560-F621-B7F9-F542B8DE8B9E}"/>
              </a:ext>
            </a:extLst>
          </p:cNvPr>
          <p:cNvSpPr txBox="1"/>
          <p:nvPr/>
        </p:nvSpPr>
        <p:spPr>
          <a:xfrm rot="5400000">
            <a:off x="3434568" y="4431404"/>
            <a:ext cx="123111" cy="136230"/>
          </a:xfrm>
          <a:prstGeom prst="rect">
            <a:avLst/>
          </a:prstGeom>
          <a:ln>
            <a:noFill/>
          </a:ln>
        </p:spPr>
        <p:txBody>
          <a:bodyPr vert="vert270" wrap="square" lIns="0" tIns="0" rIns="0" bIns="0" rtlCol="0" anchor="ctr">
            <a:sp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32</a:t>
            </a:r>
          </a:p>
        </p:txBody>
      </p:sp>
      <p:sp>
        <p:nvSpPr>
          <p:cNvPr id="64" name="object 67">
            <a:extLst>
              <a:ext uri="{FF2B5EF4-FFF2-40B4-BE49-F238E27FC236}">
                <a16:creationId xmlns:a16="http://schemas.microsoft.com/office/drawing/2014/main" id="{C0456437-1E1A-10EF-1DEB-EF8F46547B87}"/>
              </a:ext>
            </a:extLst>
          </p:cNvPr>
          <p:cNvSpPr txBox="1"/>
          <p:nvPr/>
        </p:nvSpPr>
        <p:spPr>
          <a:xfrm rot="5400000">
            <a:off x="3302439" y="4431404"/>
            <a:ext cx="123111" cy="136230"/>
          </a:xfrm>
          <a:prstGeom prst="rect">
            <a:avLst/>
          </a:prstGeom>
          <a:ln>
            <a:noFill/>
          </a:ln>
        </p:spPr>
        <p:txBody>
          <a:bodyPr vert="vert270" wrap="square" lIns="0" tIns="0" rIns="0" bIns="0" rtlCol="0" anchor="ctr">
            <a:sp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30</a:t>
            </a:r>
          </a:p>
        </p:txBody>
      </p:sp>
      <p:sp>
        <p:nvSpPr>
          <p:cNvPr id="65" name="object 67">
            <a:extLst>
              <a:ext uri="{FF2B5EF4-FFF2-40B4-BE49-F238E27FC236}">
                <a16:creationId xmlns:a16="http://schemas.microsoft.com/office/drawing/2014/main" id="{4A662241-318B-0774-B351-0B9197BE23E3}"/>
              </a:ext>
            </a:extLst>
          </p:cNvPr>
          <p:cNvSpPr txBox="1"/>
          <p:nvPr/>
        </p:nvSpPr>
        <p:spPr>
          <a:xfrm rot="5400000">
            <a:off x="3170311" y="4431404"/>
            <a:ext cx="123111" cy="136230"/>
          </a:xfrm>
          <a:prstGeom prst="rect">
            <a:avLst/>
          </a:prstGeom>
          <a:ln>
            <a:noFill/>
          </a:ln>
        </p:spPr>
        <p:txBody>
          <a:bodyPr vert="vert270" wrap="square" lIns="0" tIns="0" rIns="0" bIns="0" rtlCol="0" anchor="ctr">
            <a:sp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8</a:t>
            </a:r>
          </a:p>
        </p:txBody>
      </p:sp>
      <p:sp>
        <p:nvSpPr>
          <p:cNvPr id="66" name="object 67">
            <a:extLst>
              <a:ext uri="{FF2B5EF4-FFF2-40B4-BE49-F238E27FC236}">
                <a16:creationId xmlns:a16="http://schemas.microsoft.com/office/drawing/2014/main" id="{2AD251EA-000B-B908-AA0C-B0E6F6DA9690}"/>
              </a:ext>
            </a:extLst>
          </p:cNvPr>
          <p:cNvSpPr txBox="1"/>
          <p:nvPr/>
        </p:nvSpPr>
        <p:spPr>
          <a:xfrm rot="5400000">
            <a:off x="3038182" y="4431404"/>
            <a:ext cx="123111" cy="136230"/>
          </a:xfrm>
          <a:prstGeom prst="rect">
            <a:avLst/>
          </a:prstGeom>
          <a:ln>
            <a:noFill/>
          </a:ln>
        </p:spPr>
        <p:txBody>
          <a:bodyPr vert="vert270" wrap="square" lIns="0" tIns="0" rIns="0" bIns="0" rtlCol="0" anchor="ctr">
            <a:sp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6</a:t>
            </a:r>
          </a:p>
        </p:txBody>
      </p:sp>
      <p:sp>
        <p:nvSpPr>
          <p:cNvPr id="67" name="object 67">
            <a:extLst>
              <a:ext uri="{FF2B5EF4-FFF2-40B4-BE49-F238E27FC236}">
                <a16:creationId xmlns:a16="http://schemas.microsoft.com/office/drawing/2014/main" id="{B4092A6B-ED89-6F6E-1121-0709DA56474D}"/>
              </a:ext>
            </a:extLst>
          </p:cNvPr>
          <p:cNvSpPr txBox="1"/>
          <p:nvPr/>
        </p:nvSpPr>
        <p:spPr>
          <a:xfrm rot="5400000">
            <a:off x="2906054" y="4431404"/>
            <a:ext cx="123111" cy="136230"/>
          </a:xfrm>
          <a:prstGeom prst="rect">
            <a:avLst/>
          </a:prstGeom>
          <a:ln>
            <a:noFill/>
          </a:ln>
        </p:spPr>
        <p:txBody>
          <a:bodyPr vert="vert270" wrap="square" lIns="0" tIns="0" rIns="0" bIns="0" rtlCol="0" anchor="ctr">
            <a:sp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4</a:t>
            </a:r>
          </a:p>
        </p:txBody>
      </p:sp>
      <p:sp>
        <p:nvSpPr>
          <p:cNvPr id="68" name="object 67">
            <a:extLst>
              <a:ext uri="{FF2B5EF4-FFF2-40B4-BE49-F238E27FC236}">
                <a16:creationId xmlns:a16="http://schemas.microsoft.com/office/drawing/2014/main" id="{0082B641-F45B-B517-3C3F-9A433ED380D3}"/>
              </a:ext>
            </a:extLst>
          </p:cNvPr>
          <p:cNvSpPr txBox="1"/>
          <p:nvPr/>
        </p:nvSpPr>
        <p:spPr>
          <a:xfrm rot="5400000">
            <a:off x="2773926" y="4431404"/>
            <a:ext cx="123111" cy="136230"/>
          </a:xfrm>
          <a:prstGeom prst="rect">
            <a:avLst/>
          </a:prstGeom>
          <a:ln>
            <a:noFill/>
          </a:ln>
        </p:spPr>
        <p:txBody>
          <a:bodyPr vert="vert270" wrap="square" lIns="0" tIns="0" rIns="0" bIns="0" rtlCol="0" anchor="ctr">
            <a:sp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2</a:t>
            </a:r>
          </a:p>
        </p:txBody>
      </p:sp>
      <p:sp>
        <p:nvSpPr>
          <p:cNvPr id="69" name="object 67">
            <a:extLst>
              <a:ext uri="{FF2B5EF4-FFF2-40B4-BE49-F238E27FC236}">
                <a16:creationId xmlns:a16="http://schemas.microsoft.com/office/drawing/2014/main" id="{6048AFC1-AFC0-04B0-97BB-30301E350A0F}"/>
              </a:ext>
            </a:extLst>
          </p:cNvPr>
          <p:cNvSpPr txBox="1"/>
          <p:nvPr/>
        </p:nvSpPr>
        <p:spPr>
          <a:xfrm rot="5400000">
            <a:off x="2641797" y="4431404"/>
            <a:ext cx="123111" cy="136230"/>
          </a:xfrm>
          <a:prstGeom prst="rect">
            <a:avLst/>
          </a:prstGeom>
          <a:ln>
            <a:noFill/>
          </a:ln>
        </p:spPr>
        <p:txBody>
          <a:bodyPr vert="vert270" wrap="square" lIns="0" tIns="0" rIns="0" bIns="0" rtlCol="0" anchor="ctr">
            <a:sp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0</a:t>
            </a:r>
          </a:p>
        </p:txBody>
      </p:sp>
      <p:sp>
        <p:nvSpPr>
          <p:cNvPr id="70" name="object 67">
            <a:extLst>
              <a:ext uri="{FF2B5EF4-FFF2-40B4-BE49-F238E27FC236}">
                <a16:creationId xmlns:a16="http://schemas.microsoft.com/office/drawing/2014/main" id="{124EAE56-4FE5-75FE-FA66-0176A00B1B51}"/>
              </a:ext>
            </a:extLst>
          </p:cNvPr>
          <p:cNvSpPr txBox="1"/>
          <p:nvPr/>
        </p:nvSpPr>
        <p:spPr>
          <a:xfrm rot="5400000">
            <a:off x="2509669" y="4431404"/>
            <a:ext cx="123111" cy="136230"/>
          </a:xfrm>
          <a:prstGeom prst="rect">
            <a:avLst/>
          </a:prstGeom>
          <a:ln>
            <a:noFill/>
          </a:ln>
        </p:spPr>
        <p:txBody>
          <a:bodyPr vert="vert270" wrap="square" lIns="0" tIns="0" rIns="0" bIns="0" rtlCol="0" anchor="ctr">
            <a:sp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8</a:t>
            </a:r>
          </a:p>
        </p:txBody>
      </p:sp>
      <p:sp>
        <p:nvSpPr>
          <p:cNvPr id="71" name="object 67">
            <a:extLst>
              <a:ext uri="{FF2B5EF4-FFF2-40B4-BE49-F238E27FC236}">
                <a16:creationId xmlns:a16="http://schemas.microsoft.com/office/drawing/2014/main" id="{C54E7823-5909-09F2-5514-30EB29DD575E}"/>
              </a:ext>
            </a:extLst>
          </p:cNvPr>
          <p:cNvSpPr txBox="1"/>
          <p:nvPr/>
        </p:nvSpPr>
        <p:spPr>
          <a:xfrm rot="5400000">
            <a:off x="2377540" y="4431404"/>
            <a:ext cx="123111" cy="136230"/>
          </a:xfrm>
          <a:prstGeom prst="rect">
            <a:avLst/>
          </a:prstGeom>
          <a:ln>
            <a:noFill/>
          </a:ln>
        </p:spPr>
        <p:txBody>
          <a:bodyPr vert="vert270" wrap="square" lIns="0" tIns="0" rIns="0" bIns="0" rtlCol="0" anchor="ctr">
            <a:sp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6</a:t>
            </a:r>
          </a:p>
        </p:txBody>
      </p:sp>
      <p:sp>
        <p:nvSpPr>
          <p:cNvPr id="72" name="object 67">
            <a:extLst>
              <a:ext uri="{FF2B5EF4-FFF2-40B4-BE49-F238E27FC236}">
                <a16:creationId xmlns:a16="http://schemas.microsoft.com/office/drawing/2014/main" id="{CB976445-06A6-C400-B2B5-435A93E0BE8C}"/>
              </a:ext>
            </a:extLst>
          </p:cNvPr>
          <p:cNvSpPr txBox="1"/>
          <p:nvPr/>
        </p:nvSpPr>
        <p:spPr>
          <a:xfrm rot="5400000">
            <a:off x="2245412" y="4431404"/>
            <a:ext cx="123111" cy="136230"/>
          </a:xfrm>
          <a:prstGeom prst="rect">
            <a:avLst/>
          </a:prstGeom>
          <a:ln>
            <a:noFill/>
          </a:ln>
        </p:spPr>
        <p:txBody>
          <a:bodyPr vert="vert270" wrap="square" lIns="0" tIns="0" rIns="0" bIns="0" rtlCol="0" anchor="ctr">
            <a:sp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4</a:t>
            </a:r>
          </a:p>
        </p:txBody>
      </p:sp>
      <p:sp>
        <p:nvSpPr>
          <p:cNvPr id="73" name="object 67">
            <a:extLst>
              <a:ext uri="{FF2B5EF4-FFF2-40B4-BE49-F238E27FC236}">
                <a16:creationId xmlns:a16="http://schemas.microsoft.com/office/drawing/2014/main" id="{C5F8D343-7CE0-E5EE-F030-BB5BFA080835}"/>
              </a:ext>
            </a:extLst>
          </p:cNvPr>
          <p:cNvSpPr txBox="1"/>
          <p:nvPr/>
        </p:nvSpPr>
        <p:spPr>
          <a:xfrm rot="5400000">
            <a:off x="2113283" y="4431404"/>
            <a:ext cx="123111" cy="136230"/>
          </a:xfrm>
          <a:prstGeom prst="rect">
            <a:avLst/>
          </a:prstGeom>
          <a:ln>
            <a:noFill/>
          </a:ln>
        </p:spPr>
        <p:txBody>
          <a:bodyPr vert="vert270" wrap="square" lIns="0" tIns="0" rIns="0" bIns="0" rtlCol="0" anchor="ctr">
            <a:sp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2</a:t>
            </a:r>
          </a:p>
        </p:txBody>
      </p:sp>
      <p:sp>
        <p:nvSpPr>
          <p:cNvPr id="74" name="object 67">
            <a:extLst>
              <a:ext uri="{FF2B5EF4-FFF2-40B4-BE49-F238E27FC236}">
                <a16:creationId xmlns:a16="http://schemas.microsoft.com/office/drawing/2014/main" id="{FD53AF8E-A257-F16A-CD67-287AF0FA9A54}"/>
              </a:ext>
            </a:extLst>
          </p:cNvPr>
          <p:cNvSpPr txBox="1"/>
          <p:nvPr/>
        </p:nvSpPr>
        <p:spPr>
          <a:xfrm rot="5400000">
            <a:off x="1981155" y="4431404"/>
            <a:ext cx="123111" cy="136230"/>
          </a:xfrm>
          <a:prstGeom prst="rect">
            <a:avLst/>
          </a:prstGeom>
          <a:ln>
            <a:noFill/>
          </a:ln>
        </p:spPr>
        <p:txBody>
          <a:bodyPr vert="vert270" wrap="square" lIns="0" tIns="0" rIns="0" bIns="0" rtlCol="0" anchor="ctr">
            <a:sp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0</a:t>
            </a:r>
          </a:p>
        </p:txBody>
      </p:sp>
      <p:sp>
        <p:nvSpPr>
          <p:cNvPr id="75" name="object 67">
            <a:extLst>
              <a:ext uri="{FF2B5EF4-FFF2-40B4-BE49-F238E27FC236}">
                <a16:creationId xmlns:a16="http://schemas.microsoft.com/office/drawing/2014/main" id="{21D19D6D-875D-5039-2DC0-745346B3908E}"/>
              </a:ext>
            </a:extLst>
          </p:cNvPr>
          <p:cNvSpPr txBox="1"/>
          <p:nvPr/>
        </p:nvSpPr>
        <p:spPr>
          <a:xfrm rot="5400000">
            <a:off x="1849026" y="4431404"/>
            <a:ext cx="123111" cy="136230"/>
          </a:xfrm>
          <a:prstGeom prst="rect">
            <a:avLst/>
          </a:prstGeom>
          <a:ln>
            <a:noFill/>
          </a:ln>
        </p:spPr>
        <p:txBody>
          <a:bodyPr vert="vert270" wrap="square" lIns="0" tIns="0" rIns="0" bIns="0" rtlCol="0" anchor="ctr">
            <a:sp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8</a:t>
            </a:r>
          </a:p>
        </p:txBody>
      </p:sp>
      <p:sp>
        <p:nvSpPr>
          <p:cNvPr id="76" name="object 67">
            <a:extLst>
              <a:ext uri="{FF2B5EF4-FFF2-40B4-BE49-F238E27FC236}">
                <a16:creationId xmlns:a16="http://schemas.microsoft.com/office/drawing/2014/main" id="{9F46150D-BDA0-72EB-5F6B-E35CB3B75B1D}"/>
              </a:ext>
            </a:extLst>
          </p:cNvPr>
          <p:cNvSpPr txBox="1"/>
          <p:nvPr/>
        </p:nvSpPr>
        <p:spPr>
          <a:xfrm rot="5400000">
            <a:off x="1716898" y="4431404"/>
            <a:ext cx="123111" cy="136230"/>
          </a:xfrm>
          <a:prstGeom prst="rect">
            <a:avLst/>
          </a:prstGeom>
          <a:ln>
            <a:noFill/>
          </a:ln>
        </p:spPr>
        <p:txBody>
          <a:bodyPr vert="vert270" wrap="square" lIns="0" tIns="0" rIns="0" bIns="0" rtlCol="0" anchor="ctr">
            <a:sp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6</a:t>
            </a:r>
          </a:p>
        </p:txBody>
      </p:sp>
      <p:sp>
        <p:nvSpPr>
          <p:cNvPr id="77" name="object 67">
            <a:extLst>
              <a:ext uri="{FF2B5EF4-FFF2-40B4-BE49-F238E27FC236}">
                <a16:creationId xmlns:a16="http://schemas.microsoft.com/office/drawing/2014/main" id="{2E6F78C2-07CC-FBA2-02C1-25A724EC7B8B}"/>
              </a:ext>
            </a:extLst>
          </p:cNvPr>
          <p:cNvSpPr txBox="1"/>
          <p:nvPr/>
        </p:nvSpPr>
        <p:spPr>
          <a:xfrm rot="5400000">
            <a:off x="1584769" y="4431404"/>
            <a:ext cx="123111" cy="136230"/>
          </a:xfrm>
          <a:prstGeom prst="rect">
            <a:avLst/>
          </a:prstGeom>
          <a:ln>
            <a:noFill/>
          </a:ln>
        </p:spPr>
        <p:txBody>
          <a:bodyPr vert="vert270" wrap="square" lIns="0" tIns="0" rIns="0" bIns="0" rtlCol="0" anchor="ctr">
            <a:sp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4</a:t>
            </a:r>
          </a:p>
        </p:txBody>
      </p:sp>
      <p:sp>
        <p:nvSpPr>
          <p:cNvPr id="78" name="object 67">
            <a:extLst>
              <a:ext uri="{FF2B5EF4-FFF2-40B4-BE49-F238E27FC236}">
                <a16:creationId xmlns:a16="http://schemas.microsoft.com/office/drawing/2014/main" id="{449F2A84-8A87-9191-3954-1B25019DDF0A}"/>
              </a:ext>
            </a:extLst>
          </p:cNvPr>
          <p:cNvSpPr txBox="1"/>
          <p:nvPr/>
        </p:nvSpPr>
        <p:spPr>
          <a:xfrm rot="5400000">
            <a:off x="1452640" y="4431404"/>
            <a:ext cx="123111" cy="136230"/>
          </a:xfrm>
          <a:prstGeom prst="rect">
            <a:avLst/>
          </a:prstGeom>
          <a:ln>
            <a:noFill/>
          </a:ln>
        </p:spPr>
        <p:txBody>
          <a:bodyPr vert="vert270" wrap="square" lIns="0" tIns="0" rIns="0" bIns="0" rtlCol="0" anchor="ctr">
            <a:sp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</a:t>
            </a:r>
          </a:p>
        </p:txBody>
      </p:sp>
      <p:sp>
        <p:nvSpPr>
          <p:cNvPr id="79" name="object 67">
            <a:extLst>
              <a:ext uri="{FF2B5EF4-FFF2-40B4-BE49-F238E27FC236}">
                <a16:creationId xmlns:a16="http://schemas.microsoft.com/office/drawing/2014/main" id="{49B6B31F-EF31-9936-8479-29529B547B8A}"/>
              </a:ext>
            </a:extLst>
          </p:cNvPr>
          <p:cNvSpPr txBox="1"/>
          <p:nvPr/>
        </p:nvSpPr>
        <p:spPr>
          <a:xfrm rot="5400000">
            <a:off x="1320513" y="4457226"/>
            <a:ext cx="123111" cy="84587"/>
          </a:xfrm>
          <a:prstGeom prst="rect">
            <a:avLst/>
          </a:prstGeom>
          <a:ln>
            <a:noFill/>
          </a:ln>
        </p:spPr>
        <p:txBody>
          <a:bodyPr vert="vert270" wrap="square" lIns="0" tIns="0" rIns="0" bIns="0" rtlCol="0" anchor="ctr">
            <a:sp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0</a:t>
            </a:r>
          </a:p>
        </p:txBody>
      </p:sp>
      <p:sp>
        <p:nvSpPr>
          <p:cNvPr id="80" name="object 67">
            <a:extLst>
              <a:ext uri="{FF2B5EF4-FFF2-40B4-BE49-F238E27FC236}">
                <a16:creationId xmlns:a16="http://schemas.microsoft.com/office/drawing/2014/main" id="{33651271-3287-161B-804A-251C17CE7B48}"/>
              </a:ext>
            </a:extLst>
          </p:cNvPr>
          <p:cNvSpPr txBox="1"/>
          <p:nvPr/>
        </p:nvSpPr>
        <p:spPr>
          <a:xfrm rot="5400000">
            <a:off x="3144003" y="4244312"/>
            <a:ext cx="184666" cy="934095"/>
          </a:xfrm>
          <a:prstGeom prst="rect">
            <a:avLst/>
          </a:prstGeom>
          <a:ln>
            <a:noFill/>
          </a:ln>
        </p:spPr>
        <p:txBody>
          <a:bodyPr vert="vert270" wrap="square" lIns="0" tIns="0" rIns="0" bIns="0" rtlCol="0" anchor="ctr">
            <a:sp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Months</a:t>
            </a:r>
          </a:p>
        </p:txBody>
      </p:sp>
      <p:sp>
        <p:nvSpPr>
          <p:cNvPr id="81" name="object 67">
            <a:extLst>
              <a:ext uri="{FF2B5EF4-FFF2-40B4-BE49-F238E27FC236}">
                <a16:creationId xmlns:a16="http://schemas.microsoft.com/office/drawing/2014/main" id="{C4DD46DF-B5CB-4AF9-30AD-7DB1586089FA}"/>
              </a:ext>
            </a:extLst>
          </p:cNvPr>
          <p:cNvSpPr txBox="1"/>
          <p:nvPr/>
        </p:nvSpPr>
        <p:spPr>
          <a:xfrm rot="10800000" flipV="1">
            <a:off x="5017738" y="4909041"/>
            <a:ext cx="136230" cy="264634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t">
            <a:no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0</a:t>
            </a:r>
          </a:p>
        </p:txBody>
      </p:sp>
      <p:sp>
        <p:nvSpPr>
          <p:cNvPr id="82" name="object 67">
            <a:extLst>
              <a:ext uri="{FF2B5EF4-FFF2-40B4-BE49-F238E27FC236}">
                <a16:creationId xmlns:a16="http://schemas.microsoft.com/office/drawing/2014/main" id="{1BD7D932-98CD-790D-913E-AA7564816440}"/>
              </a:ext>
            </a:extLst>
          </p:cNvPr>
          <p:cNvSpPr txBox="1"/>
          <p:nvPr/>
        </p:nvSpPr>
        <p:spPr>
          <a:xfrm rot="10800000" flipV="1">
            <a:off x="4879349" y="4909041"/>
            <a:ext cx="136230" cy="264634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t">
            <a:no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3</a:t>
            </a:r>
          </a:p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0</a:t>
            </a:r>
          </a:p>
        </p:txBody>
      </p:sp>
      <p:sp>
        <p:nvSpPr>
          <p:cNvPr id="83" name="object 67">
            <a:extLst>
              <a:ext uri="{FF2B5EF4-FFF2-40B4-BE49-F238E27FC236}">
                <a16:creationId xmlns:a16="http://schemas.microsoft.com/office/drawing/2014/main" id="{E1373798-5F35-7EE8-6E92-1845E805CB65}"/>
              </a:ext>
            </a:extLst>
          </p:cNvPr>
          <p:cNvSpPr txBox="1"/>
          <p:nvPr/>
        </p:nvSpPr>
        <p:spPr>
          <a:xfrm rot="10800000" flipV="1">
            <a:off x="4743618" y="4909041"/>
            <a:ext cx="136230" cy="264634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t">
            <a:no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7</a:t>
            </a:r>
          </a:p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4</a:t>
            </a:r>
          </a:p>
        </p:txBody>
      </p:sp>
      <p:sp>
        <p:nvSpPr>
          <p:cNvPr id="84" name="object 67">
            <a:extLst>
              <a:ext uri="{FF2B5EF4-FFF2-40B4-BE49-F238E27FC236}">
                <a16:creationId xmlns:a16="http://schemas.microsoft.com/office/drawing/2014/main" id="{15C6D7FE-52BA-8DB4-D4C9-8F0EB477DBCC}"/>
              </a:ext>
            </a:extLst>
          </p:cNvPr>
          <p:cNvSpPr txBox="1"/>
          <p:nvPr/>
        </p:nvSpPr>
        <p:spPr>
          <a:xfrm rot="10800000" flipV="1">
            <a:off x="4615030" y="4909041"/>
            <a:ext cx="136230" cy="264634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t">
            <a:no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7</a:t>
            </a:r>
          </a:p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4</a:t>
            </a:r>
          </a:p>
        </p:txBody>
      </p:sp>
      <p:sp>
        <p:nvSpPr>
          <p:cNvPr id="85" name="object 67">
            <a:extLst>
              <a:ext uri="{FF2B5EF4-FFF2-40B4-BE49-F238E27FC236}">
                <a16:creationId xmlns:a16="http://schemas.microsoft.com/office/drawing/2014/main" id="{300F3451-DE5C-57BA-54EC-DF2F3129DD78}"/>
              </a:ext>
            </a:extLst>
          </p:cNvPr>
          <p:cNvSpPr txBox="1"/>
          <p:nvPr/>
        </p:nvSpPr>
        <p:spPr>
          <a:xfrm rot="10800000" flipV="1">
            <a:off x="4481680" y="4909041"/>
            <a:ext cx="136230" cy="264634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t">
            <a:no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2</a:t>
            </a:r>
          </a:p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8</a:t>
            </a:r>
          </a:p>
        </p:txBody>
      </p:sp>
      <p:sp>
        <p:nvSpPr>
          <p:cNvPr id="86" name="object 67">
            <a:extLst>
              <a:ext uri="{FF2B5EF4-FFF2-40B4-BE49-F238E27FC236}">
                <a16:creationId xmlns:a16="http://schemas.microsoft.com/office/drawing/2014/main" id="{AEF0FE92-D4D3-B031-345E-346317831E16}"/>
              </a:ext>
            </a:extLst>
          </p:cNvPr>
          <p:cNvSpPr txBox="1"/>
          <p:nvPr/>
        </p:nvSpPr>
        <p:spPr>
          <a:xfrm rot="10800000" flipV="1">
            <a:off x="4353092" y="4909041"/>
            <a:ext cx="136230" cy="264634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t">
            <a:no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9</a:t>
            </a:r>
          </a:p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0</a:t>
            </a:r>
          </a:p>
        </p:txBody>
      </p:sp>
      <p:sp>
        <p:nvSpPr>
          <p:cNvPr id="87" name="object 67">
            <a:extLst>
              <a:ext uri="{FF2B5EF4-FFF2-40B4-BE49-F238E27FC236}">
                <a16:creationId xmlns:a16="http://schemas.microsoft.com/office/drawing/2014/main" id="{3CBC210A-3EAB-E99E-9BBD-3EC8FC120631}"/>
              </a:ext>
            </a:extLst>
          </p:cNvPr>
          <p:cNvSpPr txBox="1"/>
          <p:nvPr/>
        </p:nvSpPr>
        <p:spPr>
          <a:xfrm rot="10800000" flipV="1">
            <a:off x="4219742" y="4909041"/>
            <a:ext cx="136230" cy="264634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t">
            <a:no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32</a:t>
            </a:r>
          </a:p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0</a:t>
            </a:r>
          </a:p>
        </p:txBody>
      </p:sp>
      <p:sp>
        <p:nvSpPr>
          <p:cNvPr id="88" name="object 67">
            <a:extLst>
              <a:ext uri="{FF2B5EF4-FFF2-40B4-BE49-F238E27FC236}">
                <a16:creationId xmlns:a16="http://schemas.microsoft.com/office/drawing/2014/main" id="{CECD17EF-944A-9157-E74F-39F32AC62824}"/>
              </a:ext>
            </a:extLst>
          </p:cNvPr>
          <p:cNvSpPr txBox="1"/>
          <p:nvPr/>
        </p:nvSpPr>
        <p:spPr>
          <a:xfrm rot="10800000" flipV="1">
            <a:off x="4088773" y="4909041"/>
            <a:ext cx="136230" cy="264634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t">
            <a:no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45</a:t>
            </a:r>
          </a:p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8</a:t>
            </a:r>
          </a:p>
        </p:txBody>
      </p:sp>
      <p:sp>
        <p:nvSpPr>
          <p:cNvPr id="89" name="object 67">
            <a:extLst>
              <a:ext uri="{FF2B5EF4-FFF2-40B4-BE49-F238E27FC236}">
                <a16:creationId xmlns:a16="http://schemas.microsoft.com/office/drawing/2014/main" id="{944B52E1-728B-E161-1DA4-16BC4253ED4E}"/>
              </a:ext>
            </a:extLst>
          </p:cNvPr>
          <p:cNvSpPr txBox="1"/>
          <p:nvPr/>
        </p:nvSpPr>
        <p:spPr>
          <a:xfrm rot="10800000" flipV="1">
            <a:off x="3560136" y="4909041"/>
            <a:ext cx="136230" cy="264634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t">
            <a:no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67</a:t>
            </a:r>
          </a:p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9</a:t>
            </a:r>
          </a:p>
        </p:txBody>
      </p:sp>
      <p:sp>
        <p:nvSpPr>
          <p:cNvPr id="90" name="object 67">
            <a:extLst>
              <a:ext uri="{FF2B5EF4-FFF2-40B4-BE49-F238E27FC236}">
                <a16:creationId xmlns:a16="http://schemas.microsoft.com/office/drawing/2014/main" id="{A0C98758-1CD7-0727-A297-9BFEF76F5918}"/>
              </a:ext>
            </a:extLst>
          </p:cNvPr>
          <p:cNvSpPr txBox="1"/>
          <p:nvPr/>
        </p:nvSpPr>
        <p:spPr>
          <a:xfrm rot="10800000" flipV="1">
            <a:off x="3428009" y="4909041"/>
            <a:ext cx="136230" cy="264634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t">
            <a:no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68</a:t>
            </a:r>
          </a:p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30</a:t>
            </a:r>
          </a:p>
        </p:txBody>
      </p:sp>
      <p:sp>
        <p:nvSpPr>
          <p:cNvPr id="91" name="object 67">
            <a:extLst>
              <a:ext uri="{FF2B5EF4-FFF2-40B4-BE49-F238E27FC236}">
                <a16:creationId xmlns:a16="http://schemas.microsoft.com/office/drawing/2014/main" id="{8FB598C9-A182-562C-2DF5-837BC990082D}"/>
              </a:ext>
            </a:extLst>
          </p:cNvPr>
          <p:cNvSpPr txBox="1"/>
          <p:nvPr/>
        </p:nvSpPr>
        <p:spPr>
          <a:xfrm rot="10800000" flipV="1">
            <a:off x="3295880" y="4909041"/>
            <a:ext cx="136230" cy="264634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t">
            <a:no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71</a:t>
            </a:r>
          </a:p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30</a:t>
            </a:r>
          </a:p>
        </p:txBody>
      </p:sp>
      <p:sp>
        <p:nvSpPr>
          <p:cNvPr id="93" name="object 67">
            <a:extLst>
              <a:ext uri="{FF2B5EF4-FFF2-40B4-BE49-F238E27FC236}">
                <a16:creationId xmlns:a16="http://schemas.microsoft.com/office/drawing/2014/main" id="{19327903-6734-CA48-D9DA-BE3E0040A8B3}"/>
              </a:ext>
            </a:extLst>
          </p:cNvPr>
          <p:cNvSpPr txBox="1"/>
          <p:nvPr/>
        </p:nvSpPr>
        <p:spPr>
          <a:xfrm rot="10800000" flipV="1">
            <a:off x="2767367" y="4909041"/>
            <a:ext cx="136230" cy="264634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t">
            <a:no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77</a:t>
            </a:r>
          </a:p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31</a:t>
            </a:r>
          </a:p>
        </p:txBody>
      </p:sp>
      <p:sp>
        <p:nvSpPr>
          <p:cNvPr id="94" name="object 67">
            <a:extLst>
              <a:ext uri="{FF2B5EF4-FFF2-40B4-BE49-F238E27FC236}">
                <a16:creationId xmlns:a16="http://schemas.microsoft.com/office/drawing/2014/main" id="{36A0A3E7-446F-CBE7-67CE-6F29F19432D2}"/>
              </a:ext>
            </a:extLst>
          </p:cNvPr>
          <p:cNvSpPr txBox="1"/>
          <p:nvPr/>
        </p:nvSpPr>
        <p:spPr>
          <a:xfrm rot="10800000" flipV="1">
            <a:off x="2503110" y="4909041"/>
            <a:ext cx="136230" cy="264634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t">
            <a:no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81</a:t>
            </a:r>
          </a:p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31</a:t>
            </a:r>
          </a:p>
        </p:txBody>
      </p:sp>
      <p:sp>
        <p:nvSpPr>
          <p:cNvPr id="96" name="object 67">
            <a:extLst>
              <a:ext uri="{FF2B5EF4-FFF2-40B4-BE49-F238E27FC236}">
                <a16:creationId xmlns:a16="http://schemas.microsoft.com/office/drawing/2014/main" id="{F7D90AEF-2F85-BAF0-9448-B2A4737D6E1D}"/>
              </a:ext>
            </a:extLst>
          </p:cNvPr>
          <p:cNvSpPr txBox="1"/>
          <p:nvPr/>
        </p:nvSpPr>
        <p:spPr>
          <a:xfrm rot="10800000" flipV="1">
            <a:off x="2370981" y="4909041"/>
            <a:ext cx="136230" cy="264634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t">
            <a:no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83</a:t>
            </a:r>
          </a:p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31</a:t>
            </a:r>
          </a:p>
        </p:txBody>
      </p:sp>
      <p:sp>
        <p:nvSpPr>
          <p:cNvPr id="97" name="object 67">
            <a:extLst>
              <a:ext uri="{FF2B5EF4-FFF2-40B4-BE49-F238E27FC236}">
                <a16:creationId xmlns:a16="http://schemas.microsoft.com/office/drawing/2014/main" id="{B294B3E2-BC6C-4C4B-A44D-54744CA4DF50}"/>
              </a:ext>
            </a:extLst>
          </p:cNvPr>
          <p:cNvSpPr txBox="1"/>
          <p:nvPr/>
        </p:nvSpPr>
        <p:spPr>
          <a:xfrm rot="10800000" flipV="1">
            <a:off x="2238853" y="4909041"/>
            <a:ext cx="136230" cy="264634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t">
            <a:no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89</a:t>
            </a:r>
          </a:p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32</a:t>
            </a:r>
          </a:p>
        </p:txBody>
      </p:sp>
      <p:sp>
        <p:nvSpPr>
          <p:cNvPr id="98" name="object 67">
            <a:extLst>
              <a:ext uri="{FF2B5EF4-FFF2-40B4-BE49-F238E27FC236}">
                <a16:creationId xmlns:a16="http://schemas.microsoft.com/office/drawing/2014/main" id="{D73332B1-ABCE-E076-C953-53195EE465F0}"/>
              </a:ext>
            </a:extLst>
          </p:cNvPr>
          <p:cNvSpPr txBox="1"/>
          <p:nvPr/>
        </p:nvSpPr>
        <p:spPr>
          <a:xfrm rot="10800000" flipV="1">
            <a:off x="2106724" y="4909041"/>
            <a:ext cx="136230" cy="264634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t">
            <a:no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91</a:t>
            </a:r>
          </a:p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33</a:t>
            </a:r>
          </a:p>
        </p:txBody>
      </p:sp>
      <p:sp>
        <p:nvSpPr>
          <p:cNvPr id="99" name="object 67">
            <a:extLst>
              <a:ext uri="{FF2B5EF4-FFF2-40B4-BE49-F238E27FC236}">
                <a16:creationId xmlns:a16="http://schemas.microsoft.com/office/drawing/2014/main" id="{0A1E3289-D269-7422-C30E-143C4C27450C}"/>
              </a:ext>
            </a:extLst>
          </p:cNvPr>
          <p:cNvSpPr txBox="1"/>
          <p:nvPr/>
        </p:nvSpPr>
        <p:spPr>
          <a:xfrm rot="10800000" flipV="1">
            <a:off x="1842466" y="4909041"/>
            <a:ext cx="136230" cy="264634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t">
            <a:no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99</a:t>
            </a:r>
          </a:p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43</a:t>
            </a:r>
          </a:p>
        </p:txBody>
      </p:sp>
      <p:sp>
        <p:nvSpPr>
          <p:cNvPr id="100" name="object 67">
            <a:extLst>
              <a:ext uri="{FF2B5EF4-FFF2-40B4-BE49-F238E27FC236}">
                <a16:creationId xmlns:a16="http://schemas.microsoft.com/office/drawing/2014/main" id="{B93C4B1C-B703-E016-EE3C-DDD7365C4587}"/>
              </a:ext>
            </a:extLst>
          </p:cNvPr>
          <p:cNvSpPr txBox="1"/>
          <p:nvPr/>
        </p:nvSpPr>
        <p:spPr>
          <a:xfrm rot="10800000" flipV="1">
            <a:off x="1710338" y="4909041"/>
            <a:ext cx="136230" cy="264634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t">
            <a:no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-10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00</a:t>
            </a:r>
          </a:p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-10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47</a:t>
            </a:r>
          </a:p>
        </p:txBody>
      </p:sp>
      <p:sp>
        <p:nvSpPr>
          <p:cNvPr id="101" name="object 67">
            <a:extLst>
              <a:ext uri="{FF2B5EF4-FFF2-40B4-BE49-F238E27FC236}">
                <a16:creationId xmlns:a16="http://schemas.microsoft.com/office/drawing/2014/main" id="{1EECFAD7-3212-9AA3-F2D9-BEB9B2A7621B}"/>
              </a:ext>
            </a:extLst>
          </p:cNvPr>
          <p:cNvSpPr txBox="1"/>
          <p:nvPr/>
        </p:nvSpPr>
        <p:spPr>
          <a:xfrm rot="10800000" flipV="1">
            <a:off x="690066" y="4791512"/>
            <a:ext cx="613728" cy="369332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>
            <a:spAutoFit/>
          </a:bodyPr>
          <a:lstStyle/>
          <a:p>
            <a:pPr marL="1270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o. at risk</a:t>
            </a:r>
          </a:p>
          <a:p>
            <a:pPr marL="1270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err="1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xi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-cel</a:t>
            </a:r>
          </a:p>
          <a:p>
            <a:pPr marL="1270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OC</a:t>
            </a:r>
          </a:p>
        </p:txBody>
      </p:sp>
      <p:sp>
        <p:nvSpPr>
          <p:cNvPr id="102" name="object 67">
            <a:extLst>
              <a:ext uri="{FF2B5EF4-FFF2-40B4-BE49-F238E27FC236}">
                <a16:creationId xmlns:a16="http://schemas.microsoft.com/office/drawing/2014/main" id="{EECBEF85-DB1C-40DA-11FE-09D1AAE165AB}"/>
              </a:ext>
            </a:extLst>
          </p:cNvPr>
          <p:cNvSpPr txBox="1"/>
          <p:nvPr/>
        </p:nvSpPr>
        <p:spPr>
          <a:xfrm rot="10800000" flipV="1">
            <a:off x="4481679" y="3705543"/>
            <a:ext cx="496803" cy="184666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t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2C5E77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xi-cel</a:t>
            </a:r>
          </a:p>
        </p:txBody>
      </p:sp>
      <p:sp>
        <p:nvSpPr>
          <p:cNvPr id="103" name="object 67">
            <a:extLst>
              <a:ext uri="{FF2B5EF4-FFF2-40B4-BE49-F238E27FC236}">
                <a16:creationId xmlns:a16="http://schemas.microsoft.com/office/drawing/2014/main" id="{101740E8-CAF8-9926-3B02-867C4442C180}"/>
              </a:ext>
            </a:extLst>
          </p:cNvPr>
          <p:cNvSpPr txBox="1"/>
          <p:nvPr/>
        </p:nvSpPr>
        <p:spPr>
          <a:xfrm rot="10800000" flipV="1">
            <a:off x="3753723" y="3987512"/>
            <a:ext cx="1224759" cy="184666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tandard of care</a:t>
            </a:r>
          </a:p>
        </p:txBody>
      </p:sp>
      <p:sp>
        <p:nvSpPr>
          <p:cNvPr id="105" name="object 89">
            <a:extLst>
              <a:ext uri="{FF2B5EF4-FFF2-40B4-BE49-F238E27FC236}">
                <a16:creationId xmlns:a16="http://schemas.microsoft.com/office/drawing/2014/main" id="{2A2E5784-A1E0-836B-3C9E-638752A5AED7}"/>
              </a:ext>
            </a:extLst>
          </p:cNvPr>
          <p:cNvSpPr/>
          <p:nvPr/>
        </p:nvSpPr>
        <p:spPr>
          <a:xfrm>
            <a:off x="3765976" y="4383834"/>
            <a:ext cx="0" cy="46401"/>
          </a:xfrm>
          <a:custGeom>
            <a:avLst/>
            <a:gdLst/>
            <a:ahLst/>
            <a:cxnLst/>
            <a:rect l="l" t="t" r="r" b="b"/>
            <a:pathLst>
              <a:path h="41275">
                <a:moveTo>
                  <a:pt x="0" y="0"/>
                </a:moveTo>
                <a:lnTo>
                  <a:pt x="0" y="41275"/>
                </a:lnTo>
              </a:path>
            </a:pathLst>
          </a:custGeom>
          <a:ln w="635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6" name="object 67">
            <a:extLst>
              <a:ext uri="{FF2B5EF4-FFF2-40B4-BE49-F238E27FC236}">
                <a16:creationId xmlns:a16="http://schemas.microsoft.com/office/drawing/2014/main" id="{09B343B8-C3A3-F4D8-E162-8717E002D677}"/>
              </a:ext>
            </a:extLst>
          </p:cNvPr>
          <p:cNvSpPr txBox="1"/>
          <p:nvPr/>
        </p:nvSpPr>
        <p:spPr>
          <a:xfrm rot="5400000">
            <a:off x="3700045" y="4431404"/>
            <a:ext cx="123111" cy="136230"/>
          </a:xfrm>
          <a:prstGeom prst="rect">
            <a:avLst/>
          </a:prstGeom>
          <a:ln>
            <a:noFill/>
          </a:ln>
        </p:spPr>
        <p:txBody>
          <a:bodyPr vert="vert270" wrap="square" lIns="0" tIns="0" rIns="0" bIns="0" rtlCol="0" anchor="ctr">
            <a:sp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36</a:t>
            </a:r>
          </a:p>
        </p:txBody>
      </p:sp>
      <p:sp>
        <p:nvSpPr>
          <p:cNvPr id="107" name="object 89">
            <a:extLst>
              <a:ext uri="{FF2B5EF4-FFF2-40B4-BE49-F238E27FC236}">
                <a16:creationId xmlns:a16="http://schemas.microsoft.com/office/drawing/2014/main" id="{AD7D317F-9F6E-154E-4D38-58EE9D4A11B4}"/>
              </a:ext>
            </a:extLst>
          </p:cNvPr>
          <p:cNvSpPr/>
          <p:nvPr/>
        </p:nvSpPr>
        <p:spPr>
          <a:xfrm>
            <a:off x="3894563" y="4383835"/>
            <a:ext cx="0" cy="46401"/>
          </a:xfrm>
          <a:custGeom>
            <a:avLst/>
            <a:gdLst/>
            <a:ahLst/>
            <a:cxnLst/>
            <a:rect l="l" t="t" r="r" b="b"/>
            <a:pathLst>
              <a:path h="41275">
                <a:moveTo>
                  <a:pt x="0" y="0"/>
                </a:moveTo>
                <a:lnTo>
                  <a:pt x="0" y="41275"/>
                </a:lnTo>
              </a:path>
            </a:pathLst>
          </a:custGeom>
          <a:ln w="635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8" name="object 67">
            <a:extLst>
              <a:ext uri="{FF2B5EF4-FFF2-40B4-BE49-F238E27FC236}">
                <a16:creationId xmlns:a16="http://schemas.microsoft.com/office/drawing/2014/main" id="{76765909-2AE0-1DC0-7192-A6C3014BD871}"/>
              </a:ext>
            </a:extLst>
          </p:cNvPr>
          <p:cNvSpPr txBox="1"/>
          <p:nvPr/>
        </p:nvSpPr>
        <p:spPr>
          <a:xfrm rot="5400000">
            <a:off x="3828632" y="4431405"/>
            <a:ext cx="123111" cy="136230"/>
          </a:xfrm>
          <a:prstGeom prst="rect">
            <a:avLst/>
          </a:prstGeom>
          <a:ln>
            <a:noFill/>
          </a:ln>
        </p:spPr>
        <p:txBody>
          <a:bodyPr vert="vert270" wrap="square" lIns="0" tIns="0" rIns="0" bIns="0" rtlCol="0" anchor="ctr">
            <a:sp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38</a:t>
            </a:r>
          </a:p>
        </p:txBody>
      </p:sp>
      <p:sp>
        <p:nvSpPr>
          <p:cNvPr id="115" name="object 89">
            <a:extLst>
              <a:ext uri="{FF2B5EF4-FFF2-40B4-BE49-F238E27FC236}">
                <a16:creationId xmlns:a16="http://schemas.microsoft.com/office/drawing/2014/main" id="{67605ED8-7B5A-981A-4C7C-AC786D8C685C}"/>
              </a:ext>
            </a:extLst>
          </p:cNvPr>
          <p:cNvSpPr/>
          <p:nvPr/>
        </p:nvSpPr>
        <p:spPr>
          <a:xfrm>
            <a:off x="4027913" y="4383836"/>
            <a:ext cx="0" cy="46401"/>
          </a:xfrm>
          <a:custGeom>
            <a:avLst/>
            <a:gdLst/>
            <a:ahLst/>
            <a:cxnLst/>
            <a:rect l="l" t="t" r="r" b="b"/>
            <a:pathLst>
              <a:path h="41275">
                <a:moveTo>
                  <a:pt x="0" y="0"/>
                </a:moveTo>
                <a:lnTo>
                  <a:pt x="0" y="41275"/>
                </a:lnTo>
              </a:path>
            </a:pathLst>
          </a:custGeom>
          <a:ln w="635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6" name="object 67">
            <a:extLst>
              <a:ext uri="{FF2B5EF4-FFF2-40B4-BE49-F238E27FC236}">
                <a16:creationId xmlns:a16="http://schemas.microsoft.com/office/drawing/2014/main" id="{AEB78967-C039-467D-0A22-C01E6590D956}"/>
              </a:ext>
            </a:extLst>
          </p:cNvPr>
          <p:cNvSpPr txBox="1"/>
          <p:nvPr/>
        </p:nvSpPr>
        <p:spPr>
          <a:xfrm rot="5400000">
            <a:off x="3961982" y="4431406"/>
            <a:ext cx="123111" cy="136230"/>
          </a:xfrm>
          <a:prstGeom prst="rect">
            <a:avLst/>
          </a:prstGeom>
          <a:ln>
            <a:noFill/>
          </a:ln>
        </p:spPr>
        <p:txBody>
          <a:bodyPr vert="vert270" wrap="square" lIns="0" tIns="0" rIns="0" bIns="0" rtlCol="0" anchor="ctr">
            <a:sp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40</a:t>
            </a:r>
          </a:p>
        </p:txBody>
      </p:sp>
      <p:sp>
        <p:nvSpPr>
          <p:cNvPr id="117" name="object 89">
            <a:extLst>
              <a:ext uri="{FF2B5EF4-FFF2-40B4-BE49-F238E27FC236}">
                <a16:creationId xmlns:a16="http://schemas.microsoft.com/office/drawing/2014/main" id="{CACACC5C-1F54-3D04-481D-0FE1F710B4EA}"/>
              </a:ext>
            </a:extLst>
          </p:cNvPr>
          <p:cNvSpPr/>
          <p:nvPr/>
        </p:nvSpPr>
        <p:spPr>
          <a:xfrm>
            <a:off x="4161263" y="4383837"/>
            <a:ext cx="0" cy="46401"/>
          </a:xfrm>
          <a:custGeom>
            <a:avLst/>
            <a:gdLst/>
            <a:ahLst/>
            <a:cxnLst/>
            <a:rect l="l" t="t" r="r" b="b"/>
            <a:pathLst>
              <a:path h="41275">
                <a:moveTo>
                  <a:pt x="0" y="0"/>
                </a:moveTo>
                <a:lnTo>
                  <a:pt x="0" y="41275"/>
                </a:lnTo>
              </a:path>
            </a:pathLst>
          </a:custGeom>
          <a:ln w="635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8" name="object 67">
            <a:extLst>
              <a:ext uri="{FF2B5EF4-FFF2-40B4-BE49-F238E27FC236}">
                <a16:creationId xmlns:a16="http://schemas.microsoft.com/office/drawing/2014/main" id="{5BC36771-BD4F-D5CB-9E8F-14EC2EC14EBC}"/>
              </a:ext>
            </a:extLst>
          </p:cNvPr>
          <p:cNvSpPr txBox="1"/>
          <p:nvPr/>
        </p:nvSpPr>
        <p:spPr>
          <a:xfrm rot="5400000">
            <a:off x="4095332" y="4431407"/>
            <a:ext cx="123111" cy="136230"/>
          </a:xfrm>
          <a:prstGeom prst="rect">
            <a:avLst/>
          </a:prstGeom>
          <a:ln>
            <a:noFill/>
          </a:ln>
        </p:spPr>
        <p:txBody>
          <a:bodyPr vert="vert270" wrap="square" lIns="0" tIns="0" rIns="0" bIns="0" rtlCol="0" anchor="ctr">
            <a:sp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42</a:t>
            </a:r>
          </a:p>
        </p:txBody>
      </p:sp>
      <p:sp>
        <p:nvSpPr>
          <p:cNvPr id="119" name="object 89">
            <a:extLst>
              <a:ext uri="{FF2B5EF4-FFF2-40B4-BE49-F238E27FC236}">
                <a16:creationId xmlns:a16="http://schemas.microsoft.com/office/drawing/2014/main" id="{D75ED461-34D5-6DE7-5AF8-40482314EF56}"/>
              </a:ext>
            </a:extLst>
          </p:cNvPr>
          <p:cNvSpPr/>
          <p:nvPr/>
        </p:nvSpPr>
        <p:spPr>
          <a:xfrm>
            <a:off x="4292232" y="4383838"/>
            <a:ext cx="0" cy="46401"/>
          </a:xfrm>
          <a:custGeom>
            <a:avLst/>
            <a:gdLst/>
            <a:ahLst/>
            <a:cxnLst/>
            <a:rect l="l" t="t" r="r" b="b"/>
            <a:pathLst>
              <a:path h="41275">
                <a:moveTo>
                  <a:pt x="0" y="0"/>
                </a:moveTo>
                <a:lnTo>
                  <a:pt x="0" y="41275"/>
                </a:lnTo>
              </a:path>
            </a:pathLst>
          </a:custGeom>
          <a:ln w="635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0" name="object 67">
            <a:extLst>
              <a:ext uri="{FF2B5EF4-FFF2-40B4-BE49-F238E27FC236}">
                <a16:creationId xmlns:a16="http://schemas.microsoft.com/office/drawing/2014/main" id="{1F8914F1-211E-BE78-17E7-B3EC6EC2FFC5}"/>
              </a:ext>
            </a:extLst>
          </p:cNvPr>
          <p:cNvSpPr txBox="1"/>
          <p:nvPr/>
        </p:nvSpPr>
        <p:spPr>
          <a:xfrm rot="5400000">
            <a:off x="4226301" y="4431408"/>
            <a:ext cx="123111" cy="136230"/>
          </a:xfrm>
          <a:prstGeom prst="rect">
            <a:avLst/>
          </a:prstGeom>
          <a:ln>
            <a:noFill/>
          </a:ln>
        </p:spPr>
        <p:txBody>
          <a:bodyPr vert="vert270" wrap="square" lIns="0" tIns="0" rIns="0" bIns="0" rtlCol="0" anchor="ctr">
            <a:sp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44</a:t>
            </a:r>
          </a:p>
        </p:txBody>
      </p:sp>
      <p:sp>
        <p:nvSpPr>
          <p:cNvPr id="121" name="object 89">
            <a:extLst>
              <a:ext uri="{FF2B5EF4-FFF2-40B4-BE49-F238E27FC236}">
                <a16:creationId xmlns:a16="http://schemas.microsoft.com/office/drawing/2014/main" id="{4866C4EE-2D3C-B022-CF79-037DE9F4986A}"/>
              </a:ext>
            </a:extLst>
          </p:cNvPr>
          <p:cNvSpPr/>
          <p:nvPr/>
        </p:nvSpPr>
        <p:spPr>
          <a:xfrm>
            <a:off x="4425582" y="4383839"/>
            <a:ext cx="0" cy="46401"/>
          </a:xfrm>
          <a:custGeom>
            <a:avLst/>
            <a:gdLst/>
            <a:ahLst/>
            <a:cxnLst/>
            <a:rect l="l" t="t" r="r" b="b"/>
            <a:pathLst>
              <a:path h="41275">
                <a:moveTo>
                  <a:pt x="0" y="0"/>
                </a:moveTo>
                <a:lnTo>
                  <a:pt x="0" y="41275"/>
                </a:lnTo>
              </a:path>
            </a:pathLst>
          </a:custGeom>
          <a:ln w="635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2" name="object 67">
            <a:extLst>
              <a:ext uri="{FF2B5EF4-FFF2-40B4-BE49-F238E27FC236}">
                <a16:creationId xmlns:a16="http://schemas.microsoft.com/office/drawing/2014/main" id="{47EF90B1-EC0F-9EC3-1D0C-EBA1700C8ECC}"/>
              </a:ext>
            </a:extLst>
          </p:cNvPr>
          <p:cNvSpPr txBox="1"/>
          <p:nvPr/>
        </p:nvSpPr>
        <p:spPr>
          <a:xfrm rot="5400000">
            <a:off x="4359651" y="4431409"/>
            <a:ext cx="123111" cy="136230"/>
          </a:xfrm>
          <a:prstGeom prst="rect">
            <a:avLst/>
          </a:prstGeom>
          <a:ln>
            <a:noFill/>
          </a:ln>
        </p:spPr>
        <p:txBody>
          <a:bodyPr vert="vert270" wrap="square" lIns="0" tIns="0" rIns="0" bIns="0" rtlCol="0" anchor="ctr">
            <a:sp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46</a:t>
            </a:r>
          </a:p>
        </p:txBody>
      </p:sp>
      <p:sp>
        <p:nvSpPr>
          <p:cNvPr id="123" name="object 89">
            <a:extLst>
              <a:ext uri="{FF2B5EF4-FFF2-40B4-BE49-F238E27FC236}">
                <a16:creationId xmlns:a16="http://schemas.microsoft.com/office/drawing/2014/main" id="{D1F7F8AF-AC8F-295D-C7DE-95983F3EDE37}"/>
              </a:ext>
            </a:extLst>
          </p:cNvPr>
          <p:cNvSpPr/>
          <p:nvPr/>
        </p:nvSpPr>
        <p:spPr>
          <a:xfrm>
            <a:off x="4554170" y="4383840"/>
            <a:ext cx="0" cy="46401"/>
          </a:xfrm>
          <a:custGeom>
            <a:avLst/>
            <a:gdLst/>
            <a:ahLst/>
            <a:cxnLst/>
            <a:rect l="l" t="t" r="r" b="b"/>
            <a:pathLst>
              <a:path h="41275">
                <a:moveTo>
                  <a:pt x="0" y="0"/>
                </a:moveTo>
                <a:lnTo>
                  <a:pt x="0" y="41275"/>
                </a:lnTo>
              </a:path>
            </a:pathLst>
          </a:custGeom>
          <a:ln w="635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4" name="object 67">
            <a:extLst>
              <a:ext uri="{FF2B5EF4-FFF2-40B4-BE49-F238E27FC236}">
                <a16:creationId xmlns:a16="http://schemas.microsoft.com/office/drawing/2014/main" id="{2D9F623D-5F47-0132-4A2E-CEF9D91BF0A2}"/>
              </a:ext>
            </a:extLst>
          </p:cNvPr>
          <p:cNvSpPr txBox="1"/>
          <p:nvPr/>
        </p:nvSpPr>
        <p:spPr>
          <a:xfrm rot="5400000">
            <a:off x="4488239" y="4431410"/>
            <a:ext cx="123111" cy="136230"/>
          </a:xfrm>
          <a:prstGeom prst="rect">
            <a:avLst/>
          </a:prstGeom>
          <a:ln>
            <a:noFill/>
          </a:ln>
        </p:spPr>
        <p:txBody>
          <a:bodyPr vert="vert270" wrap="square" lIns="0" tIns="0" rIns="0" bIns="0" rtlCol="0" anchor="ctr">
            <a:sp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48</a:t>
            </a:r>
          </a:p>
        </p:txBody>
      </p:sp>
      <p:sp>
        <p:nvSpPr>
          <p:cNvPr id="125" name="object 89">
            <a:extLst>
              <a:ext uri="{FF2B5EF4-FFF2-40B4-BE49-F238E27FC236}">
                <a16:creationId xmlns:a16="http://schemas.microsoft.com/office/drawing/2014/main" id="{2EE01AE9-7CC1-B045-63B8-0F5E2004A83F}"/>
              </a:ext>
            </a:extLst>
          </p:cNvPr>
          <p:cNvSpPr/>
          <p:nvPr/>
        </p:nvSpPr>
        <p:spPr>
          <a:xfrm>
            <a:off x="4687520" y="4383841"/>
            <a:ext cx="0" cy="46401"/>
          </a:xfrm>
          <a:custGeom>
            <a:avLst/>
            <a:gdLst/>
            <a:ahLst/>
            <a:cxnLst/>
            <a:rect l="l" t="t" r="r" b="b"/>
            <a:pathLst>
              <a:path h="41275">
                <a:moveTo>
                  <a:pt x="0" y="0"/>
                </a:moveTo>
                <a:lnTo>
                  <a:pt x="0" y="41275"/>
                </a:lnTo>
              </a:path>
            </a:pathLst>
          </a:custGeom>
          <a:ln w="635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6" name="object 67">
            <a:extLst>
              <a:ext uri="{FF2B5EF4-FFF2-40B4-BE49-F238E27FC236}">
                <a16:creationId xmlns:a16="http://schemas.microsoft.com/office/drawing/2014/main" id="{5408B9BB-EADC-75E8-BAA4-852B6F5DE803}"/>
              </a:ext>
            </a:extLst>
          </p:cNvPr>
          <p:cNvSpPr txBox="1"/>
          <p:nvPr/>
        </p:nvSpPr>
        <p:spPr>
          <a:xfrm rot="5400000">
            <a:off x="4621589" y="4431411"/>
            <a:ext cx="123111" cy="136230"/>
          </a:xfrm>
          <a:prstGeom prst="rect">
            <a:avLst/>
          </a:prstGeom>
          <a:ln>
            <a:noFill/>
          </a:ln>
        </p:spPr>
        <p:txBody>
          <a:bodyPr vert="vert270" wrap="square" lIns="0" tIns="0" rIns="0" bIns="0" rtlCol="0" anchor="ctr">
            <a:sp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50</a:t>
            </a:r>
          </a:p>
        </p:txBody>
      </p:sp>
      <p:sp>
        <p:nvSpPr>
          <p:cNvPr id="127" name="object 89">
            <a:extLst>
              <a:ext uri="{FF2B5EF4-FFF2-40B4-BE49-F238E27FC236}">
                <a16:creationId xmlns:a16="http://schemas.microsoft.com/office/drawing/2014/main" id="{DA328109-8C16-849E-55C8-E34DD988DBDB}"/>
              </a:ext>
            </a:extLst>
          </p:cNvPr>
          <p:cNvSpPr/>
          <p:nvPr/>
        </p:nvSpPr>
        <p:spPr>
          <a:xfrm>
            <a:off x="4816108" y="4383842"/>
            <a:ext cx="0" cy="46401"/>
          </a:xfrm>
          <a:custGeom>
            <a:avLst/>
            <a:gdLst/>
            <a:ahLst/>
            <a:cxnLst/>
            <a:rect l="l" t="t" r="r" b="b"/>
            <a:pathLst>
              <a:path h="41275">
                <a:moveTo>
                  <a:pt x="0" y="0"/>
                </a:moveTo>
                <a:lnTo>
                  <a:pt x="0" y="41275"/>
                </a:lnTo>
              </a:path>
            </a:pathLst>
          </a:custGeom>
          <a:ln w="635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04" name="object 67">
            <a:extLst>
              <a:ext uri="{FF2B5EF4-FFF2-40B4-BE49-F238E27FC236}">
                <a16:creationId xmlns:a16="http://schemas.microsoft.com/office/drawing/2014/main" id="{69827B10-83D2-9D7F-0223-BB183ECF0EBD}"/>
              </a:ext>
            </a:extLst>
          </p:cNvPr>
          <p:cNvSpPr txBox="1"/>
          <p:nvPr/>
        </p:nvSpPr>
        <p:spPr>
          <a:xfrm rot="5400000">
            <a:off x="4750177" y="4431412"/>
            <a:ext cx="123111" cy="136230"/>
          </a:xfrm>
          <a:prstGeom prst="rect">
            <a:avLst/>
          </a:prstGeom>
          <a:ln>
            <a:noFill/>
          </a:ln>
        </p:spPr>
        <p:txBody>
          <a:bodyPr vert="vert270" wrap="square" lIns="0" tIns="0" rIns="0" bIns="0" rtlCol="0" anchor="ctr">
            <a:sp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52</a:t>
            </a:r>
          </a:p>
        </p:txBody>
      </p:sp>
      <p:sp>
        <p:nvSpPr>
          <p:cNvPr id="705" name="object 89">
            <a:extLst>
              <a:ext uri="{FF2B5EF4-FFF2-40B4-BE49-F238E27FC236}">
                <a16:creationId xmlns:a16="http://schemas.microsoft.com/office/drawing/2014/main" id="{C54E4445-AED1-1871-000C-BC174A7DD714}"/>
              </a:ext>
            </a:extLst>
          </p:cNvPr>
          <p:cNvSpPr/>
          <p:nvPr/>
        </p:nvSpPr>
        <p:spPr>
          <a:xfrm>
            <a:off x="4951839" y="4383843"/>
            <a:ext cx="0" cy="46401"/>
          </a:xfrm>
          <a:custGeom>
            <a:avLst/>
            <a:gdLst/>
            <a:ahLst/>
            <a:cxnLst/>
            <a:rect l="l" t="t" r="r" b="b"/>
            <a:pathLst>
              <a:path h="41275">
                <a:moveTo>
                  <a:pt x="0" y="0"/>
                </a:moveTo>
                <a:lnTo>
                  <a:pt x="0" y="41275"/>
                </a:lnTo>
              </a:path>
            </a:pathLst>
          </a:custGeom>
          <a:ln w="635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06" name="object 67">
            <a:extLst>
              <a:ext uri="{FF2B5EF4-FFF2-40B4-BE49-F238E27FC236}">
                <a16:creationId xmlns:a16="http://schemas.microsoft.com/office/drawing/2014/main" id="{438BBE7D-9DE8-561A-F023-A63FAA8839C1}"/>
              </a:ext>
            </a:extLst>
          </p:cNvPr>
          <p:cNvSpPr txBox="1"/>
          <p:nvPr/>
        </p:nvSpPr>
        <p:spPr>
          <a:xfrm rot="5400000">
            <a:off x="4885908" y="4431413"/>
            <a:ext cx="123111" cy="136230"/>
          </a:xfrm>
          <a:prstGeom prst="rect">
            <a:avLst/>
          </a:prstGeom>
          <a:ln>
            <a:noFill/>
          </a:ln>
        </p:spPr>
        <p:txBody>
          <a:bodyPr vert="vert270" wrap="square" lIns="0" tIns="0" rIns="0" bIns="0" rtlCol="0" anchor="ctr">
            <a:sp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54</a:t>
            </a:r>
          </a:p>
        </p:txBody>
      </p:sp>
      <p:sp>
        <p:nvSpPr>
          <p:cNvPr id="707" name="object 89">
            <a:extLst>
              <a:ext uri="{FF2B5EF4-FFF2-40B4-BE49-F238E27FC236}">
                <a16:creationId xmlns:a16="http://schemas.microsoft.com/office/drawing/2014/main" id="{43DB1260-1F35-4D7E-E4A7-AD75547CDFE7}"/>
              </a:ext>
            </a:extLst>
          </p:cNvPr>
          <p:cNvSpPr/>
          <p:nvPr/>
        </p:nvSpPr>
        <p:spPr>
          <a:xfrm>
            <a:off x="5082807" y="4383844"/>
            <a:ext cx="0" cy="46401"/>
          </a:xfrm>
          <a:custGeom>
            <a:avLst/>
            <a:gdLst/>
            <a:ahLst/>
            <a:cxnLst/>
            <a:rect l="l" t="t" r="r" b="b"/>
            <a:pathLst>
              <a:path h="41275">
                <a:moveTo>
                  <a:pt x="0" y="0"/>
                </a:moveTo>
                <a:lnTo>
                  <a:pt x="0" y="41275"/>
                </a:lnTo>
              </a:path>
            </a:pathLst>
          </a:custGeom>
          <a:ln w="635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08" name="object 67">
            <a:extLst>
              <a:ext uri="{FF2B5EF4-FFF2-40B4-BE49-F238E27FC236}">
                <a16:creationId xmlns:a16="http://schemas.microsoft.com/office/drawing/2014/main" id="{A93DF7F1-96F8-B222-F7B3-FC241D03C87F}"/>
              </a:ext>
            </a:extLst>
          </p:cNvPr>
          <p:cNvSpPr txBox="1"/>
          <p:nvPr/>
        </p:nvSpPr>
        <p:spPr>
          <a:xfrm rot="5400000">
            <a:off x="5016876" y="4431414"/>
            <a:ext cx="123111" cy="136230"/>
          </a:xfrm>
          <a:prstGeom prst="rect">
            <a:avLst/>
          </a:prstGeom>
          <a:ln>
            <a:noFill/>
          </a:ln>
        </p:spPr>
        <p:txBody>
          <a:bodyPr vert="vert270" wrap="square" lIns="0" tIns="0" rIns="0" bIns="0" rtlCol="0" anchor="ctr">
            <a:sp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56</a:t>
            </a:r>
          </a:p>
        </p:txBody>
      </p:sp>
      <p:sp>
        <p:nvSpPr>
          <p:cNvPr id="709" name="object 67">
            <a:extLst>
              <a:ext uri="{FF2B5EF4-FFF2-40B4-BE49-F238E27FC236}">
                <a16:creationId xmlns:a16="http://schemas.microsoft.com/office/drawing/2014/main" id="{99686259-6E36-7842-32C9-0E6B2BF042A3}"/>
              </a:ext>
            </a:extLst>
          </p:cNvPr>
          <p:cNvSpPr txBox="1"/>
          <p:nvPr/>
        </p:nvSpPr>
        <p:spPr>
          <a:xfrm rot="10800000" flipV="1">
            <a:off x="3955423" y="4909041"/>
            <a:ext cx="136230" cy="264634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t">
            <a:no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52</a:t>
            </a:r>
          </a:p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3</a:t>
            </a:r>
          </a:p>
        </p:txBody>
      </p:sp>
      <p:sp>
        <p:nvSpPr>
          <p:cNvPr id="710" name="object 67">
            <a:extLst>
              <a:ext uri="{FF2B5EF4-FFF2-40B4-BE49-F238E27FC236}">
                <a16:creationId xmlns:a16="http://schemas.microsoft.com/office/drawing/2014/main" id="{B91579BE-BF01-7B1E-BCFC-D6B73A93E577}"/>
              </a:ext>
            </a:extLst>
          </p:cNvPr>
          <p:cNvSpPr txBox="1"/>
          <p:nvPr/>
        </p:nvSpPr>
        <p:spPr>
          <a:xfrm rot="10800000" flipV="1">
            <a:off x="3822073" y="4909041"/>
            <a:ext cx="136230" cy="264634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t">
            <a:no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54</a:t>
            </a:r>
          </a:p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5</a:t>
            </a:r>
          </a:p>
        </p:txBody>
      </p:sp>
      <p:sp>
        <p:nvSpPr>
          <p:cNvPr id="711" name="object 67">
            <a:extLst>
              <a:ext uri="{FF2B5EF4-FFF2-40B4-BE49-F238E27FC236}">
                <a16:creationId xmlns:a16="http://schemas.microsoft.com/office/drawing/2014/main" id="{9FA7419F-4821-E313-A822-DCCB8EDDA6E7}"/>
              </a:ext>
            </a:extLst>
          </p:cNvPr>
          <p:cNvSpPr txBox="1"/>
          <p:nvPr/>
        </p:nvSpPr>
        <p:spPr>
          <a:xfrm rot="10800000" flipV="1">
            <a:off x="3693486" y="4909041"/>
            <a:ext cx="136230" cy="264634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t">
            <a:no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63</a:t>
            </a:r>
          </a:p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9</a:t>
            </a:r>
          </a:p>
        </p:txBody>
      </p:sp>
      <p:sp>
        <p:nvSpPr>
          <p:cNvPr id="712" name="Free-form: Shape 711">
            <a:extLst>
              <a:ext uri="{FF2B5EF4-FFF2-40B4-BE49-F238E27FC236}">
                <a16:creationId xmlns:a16="http://schemas.microsoft.com/office/drawing/2014/main" id="{4FB10BA3-B431-68A6-E43C-AD9B9F8E81C4}"/>
              </a:ext>
            </a:extLst>
          </p:cNvPr>
          <p:cNvSpPr/>
          <p:nvPr/>
        </p:nvSpPr>
        <p:spPr>
          <a:xfrm>
            <a:off x="3278485" y="3547269"/>
            <a:ext cx="1735931" cy="142875"/>
          </a:xfrm>
          <a:custGeom>
            <a:avLst/>
            <a:gdLst>
              <a:gd name="connsiteX0" fmla="*/ 1735931 w 1735931"/>
              <a:gd name="connsiteY0" fmla="*/ 140494 h 142875"/>
              <a:gd name="connsiteX1" fmla="*/ 1300163 w 1735931"/>
              <a:gd name="connsiteY1" fmla="*/ 142875 h 142875"/>
              <a:gd name="connsiteX2" fmla="*/ 1300163 w 1735931"/>
              <a:gd name="connsiteY2" fmla="*/ 69056 h 142875"/>
              <a:gd name="connsiteX3" fmla="*/ 981075 w 1735931"/>
              <a:gd name="connsiteY3" fmla="*/ 69056 h 142875"/>
              <a:gd name="connsiteX4" fmla="*/ 981075 w 1735931"/>
              <a:gd name="connsiteY4" fmla="*/ 47625 h 142875"/>
              <a:gd name="connsiteX5" fmla="*/ 750094 w 1735931"/>
              <a:gd name="connsiteY5" fmla="*/ 47625 h 142875"/>
              <a:gd name="connsiteX6" fmla="*/ 750094 w 1735931"/>
              <a:gd name="connsiteY6" fmla="*/ 30956 h 142875"/>
              <a:gd name="connsiteX7" fmla="*/ 107156 w 1735931"/>
              <a:gd name="connsiteY7" fmla="*/ 30956 h 142875"/>
              <a:gd name="connsiteX8" fmla="*/ 100013 w 1735931"/>
              <a:gd name="connsiteY8" fmla="*/ 23813 h 142875"/>
              <a:gd name="connsiteX9" fmla="*/ 35719 w 1735931"/>
              <a:gd name="connsiteY9" fmla="*/ 23813 h 142875"/>
              <a:gd name="connsiteX10" fmla="*/ 35719 w 1735931"/>
              <a:gd name="connsiteY10" fmla="*/ 11906 h 142875"/>
              <a:gd name="connsiteX11" fmla="*/ 0 w 1735931"/>
              <a:gd name="connsiteY11" fmla="*/ 11906 h 142875"/>
              <a:gd name="connsiteX12" fmla="*/ 0 w 1735931"/>
              <a:gd name="connsiteY12" fmla="*/ 0 h 142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735931" h="142875">
                <a:moveTo>
                  <a:pt x="1735931" y="140494"/>
                </a:moveTo>
                <a:lnTo>
                  <a:pt x="1300163" y="142875"/>
                </a:lnTo>
                <a:lnTo>
                  <a:pt x="1300163" y="69056"/>
                </a:lnTo>
                <a:lnTo>
                  <a:pt x="981075" y="69056"/>
                </a:lnTo>
                <a:lnTo>
                  <a:pt x="981075" y="47625"/>
                </a:lnTo>
                <a:lnTo>
                  <a:pt x="750094" y="47625"/>
                </a:lnTo>
                <a:lnTo>
                  <a:pt x="750094" y="30956"/>
                </a:lnTo>
                <a:lnTo>
                  <a:pt x="107156" y="30956"/>
                </a:lnTo>
                <a:lnTo>
                  <a:pt x="100013" y="23813"/>
                </a:lnTo>
                <a:lnTo>
                  <a:pt x="35719" y="23813"/>
                </a:lnTo>
                <a:lnTo>
                  <a:pt x="35719" y="11906"/>
                </a:lnTo>
                <a:lnTo>
                  <a:pt x="0" y="11906"/>
                </a:lnTo>
                <a:lnTo>
                  <a:pt x="0" y="0"/>
                </a:lnTo>
              </a:path>
            </a:pathLst>
          </a:custGeom>
          <a:noFill/>
          <a:ln>
            <a:solidFill>
              <a:srgbClr val="2D5E7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13" name="Free-form: Shape 712">
            <a:extLst>
              <a:ext uri="{FF2B5EF4-FFF2-40B4-BE49-F238E27FC236}">
                <a16:creationId xmlns:a16="http://schemas.microsoft.com/office/drawing/2014/main" id="{9ACCB717-ABFF-9FF7-BB8A-298B8DAB6E58}"/>
              </a:ext>
            </a:extLst>
          </p:cNvPr>
          <p:cNvSpPr/>
          <p:nvPr/>
        </p:nvSpPr>
        <p:spPr>
          <a:xfrm>
            <a:off x="3523754" y="3883025"/>
            <a:ext cx="1435894" cy="57150"/>
          </a:xfrm>
          <a:custGeom>
            <a:avLst/>
            <a:gdLst>
              <a:gd name="connsiteX0" fmla="*/ 1435894 w 1435894"/>
              <a:gd name="connsiteY0" fmla="*/ 57150 h 57150"/>
              <a:gd name="connsiteX1" fmla="*/ 490537 w 1435894"/>
              <a:gd name="connsiteY1" fmla="*/ 57150 h 57150"/>
              <a:gd name="connsiteX2" fmla="*/ 490537 w 1435894"/>
              <a:gd name="connsiteY2" fmla="*/ 30956 h 57150"/>
              <a:gd name="connsiteX3" fmla="*/ 421481 w 1435894"/>
              <a:gd name="connsiteY3" fmla="*/ 30956 h 57150"/>
              <a:gd name="connsiteX4" fmla="*/ 421481 w 1435894"/>
              <a:gd name="connsiteY4" fmla="*/ 14288 h 57150"/>
              <a:gd name="connsiteX5" fmla="*/ 0 w 1435894"/>
              <a:gd name="connsiteY5" fmla="*/ 14288 h 57150"/>
              <a:gd name="connsiteX6" fmla="*/ 0 w 1435894"/>
              <a:gd name="connsiteY6" fmla="*/ 0 h 57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35894" h="57150">
                <a:moveTo>
                  <a:pt x="1435894" y="57150"/>
                </a:moveTo>
                <a:lnTo>
                  <a:pt x="490537" y="57150"/>
                </a:lnTo>
                <a:lnTo>
                  <a:pt x="490537" y="30956"/>
                </a:lnTo>
                <a:lnTo>
                  <a:pt x="421481" y="30956"/>
                </a:lnTo>
                <a:lnTo>
                  <a:pt x="421481" y="14288"/>
                </a:lnTo>
                <a:lnTo>
                  <a:pt x="0" y="14288"/>
                </a:lnTo>
                <a:lnTo>
                  <a:pt x="0" y="0"/>
                </a:lnTo>
              </a:path>
            </a:pathLst>
          </a:custGeom>
          <a:ln w="12700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14" name="object 100">
            <a:extLst>
              <a:ext uri="{FF2B5EF4-FFF2-40B4-BE49-F238E27FC236}">
                <a16:creationId xmlns:a16="http://schemas.microsoft.com/office/drawing/2014/main" id="{A47313CD-D3F3-48E1-116F-A498602F4710}"/>
              </a:ext>
            </a:extLst>
          </p:cNvPr>
          <p:cNvSpPr/>
          <p:nvPr/>
        </p:nvSpPr>
        <p:spPr>
          <a:xfrm>
            <a:off x="4945778" y="3922875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15" name="object 309">
            <a:extLst>
              <a:ext uri="{FF2B5EF4-FFF2-40B4-BE49-F238E27FC236}">
                <a16:creationId xmlns:a16="http://schemas.microsoft.com/office/drawing/2014/main" id="{7BD3F7A4-AFBB-C420-ECBC-FAAD303BB5EB}"/>
              </a:ext>
            </a:extLst>
          </p:cNvPr>
          <p:cNvSpPr/>
          <p:nvPr/>
        </p:nvSpPr>
        <p:spPr>
          <a:xfrm>
            <a:off x="4945778" y="3922875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16" name="object 100">
            <a:extLst>
              <a:ext uri="{FF2B5EF4-FFF2-40B4-BE49-F238E27FC236}">
                <a16:creationId xmlns:a16="http://schemas.microsoft.com/office/drawing/2014/main" id="{66CD2181-D958-8C25-6143-52AC116009C9}"/>
              </a:ext>
            </a:extLst>
          </p:cNvPr>
          <p:cNvSpPr/>
          <p:nvPr/>
        </p:nvSpPr>
        <p:spPr>
          <a:xfrm rot="16200000">
            <a:off x="4945778" y="3925256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17" name="object 309">
            <a:extLst>
              <a:ext uri="{FF2B5EF4-FFF2-40B4-BE49-F238E27FC236}">
                <a16:creationId xmlns:a16="http://schemas.microsoft.com/office/drawing/2014/main" id="{236702BD-BB86-F1EB-DAF9-28612E95A741}"/>
              </a:ext>
            </a:extLst>
          </p:cNvPr>
          <p:cNvSpPr/>
          <p:nvPr/>
        </p:nvSpPr>
        <p:spPr>
          <a:xfrm rot="16200000">
            <a:off x="4945778" y="3925256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18" name="object 100">
            <a:extLst>
              <a:ext uri="{FF2B5EF4-FFF2-40B4-BE49-F238E27FC236}">
                <a16:creationId xmlns:a16="http://schemas.microsoft.com/office/drawing/2014/main" id="{490F839D-4945-3184-6277-5292D09A659B}"/>
              </a:ext>
            </a:extLst>
          </p:cNvPr>
          <p:cNvSpPr/>
          <p:nvPr/>
        </p:nvSpPr>
        <p:spPr>
          <a:xfrm>
            <a:off x="4893391" y="3922875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19" name="object 309">
            <a:extLst>
              <a:ext uri="{FF2B5EF4-FFF2-40B4-BE49-F238E27FC236}">
                <a16:creationId xmlns:a16="http://schemas.microsoft.com/office/drawing/2014/main" id="{B7E0B1E7-345D-7D8D-AE7B-399B526FB0DF}"/>
              </a:ext>
            </a:extLst>
          </p:cNvPr>
          <p:cNvSpPr/>
          <p:nvPr/>
        </p:nvSpPr>
        <p:spPr>
          <a:xfrm>
            <a:off x="4893391" y="3922875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20" name="object 100">
            <a:extLst>
              <a:ext uri="{FF2B5EF4-FFF2-40B4-BE49-F238E27FC236}">
                <a16:creationId xmlns:a16="http://schemas.microsoft.com/office/drawing/2014/main" id="{C5D2C4F3-C981-BCE7-A14B-77C767BD3C9C}"/>
              </a:ext>
            </a:extLst>
          </p:cNvPr>
          <p:cNvSpPr/>
          <p:nvPr/>
        </p:nvSpPr>
        <p:spPr>
          <a:xfrm rot="16200000">
            <a:off x="4893391" y="3925256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21" name="object 309">
            <a:extLst>
              <a:ext uri="{FF2B5EF4-FFF2-40B4-BE49-F238E27FC236}">
                <a16:creationId xmlns:a16="http://schemas.microsoft.com/office/drawing/2014/main" id="{4DF46BA8-61E3-0C09-AD62-5AAF6DB1415F}"/>
              </a:ext>
            </a:extLst>
          </p:cNvPr>
          <p:cNvSpPr/>
          <p:nvPr/>
        </p:nvSpPr>
        <p:spPr>
          <a:xfrm rot="16200000">
            <a:off x="4893391" y="3925256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22" name="object 100">
            <a:extLst>
              <a:ext uri="{FF2B5EF4-FFF2-40B4-BE49-F238E27FC236}">
                <a16:creationId xmlns:a16="http://schemas.microsoft.com/office/drawing/2014/main" id="{3D544487-164A-E6A0-A479-FD51448E19B5}"/>
              </a:ext>
            </a:extLst>
          </p:cNvPr>
          <p:cNvSpPr/>
          <p:nvPr/>
        </p:nvSpPr>
        <p:spPr>
          <a:xfrm>
            <a:off x="4590973" y="3922875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23" name="object 309">
            <a:extLst>
              <a:ext uri="{FF2B5EF4-FFF2-40B4-BE49-F238E27FC236}">
                <a16:creationId xmlns:a16="http://schemas.microsoft.com/office/drawing/2014/main" id="{E4A2AFEB-F0A0-6E9C-7666-43BA585412FC}"/>
              </a:ext>
            </a:extLst>
          </p:cNvPr>
          <p:cNvSpPr/>
          <p:nvPr/>
        </p:nvSpPr>
        <p:spPr>
          <a:xfrm>
            <a:off x="4590973" y="3922875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24" name="object 100">
            <a:extLst>
              <a:ext uri="{FF2B5EF4-FFF2-40B4-BE49-F238E27FC236}">
                <a16:creationId xmlns:a16="http://schemas.microsoft.com/office/drawing/2014/main" id="{C47767BA-8D6B-3C9D-1BBD-47A82DFE4A13}"/>
              </a:ext>
            </a:extLst>
          </p:cNvPr>
          <p:cNvSpPr/>
          <p:nvPr/>
        </p:nvSpPr>
        <p:spPr>
          <a:xfrm rot="16200000">
            <a:off x="4590973" y="3925256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25" name="object 309">
            <a:extLst>
              <a:ext uri="{FF2B5EF4-FFF2-40B4-BE49-F238E27FC236}">
                <a16:creationId xmlns:a16="http://schemas.microsoft.com/office/drawing/2014/main" id="{2CE1753E-E98A-5787-3BA8-AA0E1EAC34FE}"/>
              </a:ext>
            </a:extLst>
          </p:cNvPr>
          <p:cNvSpPr/>
          <p:nvPr/>
        </p:nvSpPr>
        <p:spPr>
          <a:xfrm rot="16200000">
            <a:off x="4590973" y="3925256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26" name="object 100">
            <a:extLst>
              <a:ext uri="{FF2B5EF4-FFF2-40B4-BE49-F238E27FC236}">
                <a16:creationId xmlns:a16="http://schemas.microsoft.com/office/drawing/2014/main" id="{5E47F693-2EA8-B2E4-EE9B-3332D41799DD}"/>
              </a:ext>
            </a:extLst>
          </p:cNvPr>
          <p:cNvSpPr/>
          <p:nvPr/>
        </p:nvSpPr>
        <p:spPr>
          <a:xfrm>
            <a:off x="4576686" y="3922875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27" name="object 309">
            <a:extLst>
              <a:ext uri="{FF2B5EF4-FFF2-40B4-BE49-F238E27FC236}">
                <a16:creationId xmlns:a16="http://schemas.microsoft.com/office/drawing/2014/main" id="{CE7C92F3-C2C8-74B2-0390-DD5BCF59CBFF}"/>
              </a:ext>
            </a:extLst>
          </p:cNvPr>
          <p:cNvSpPr/>
          <p:nvPr/>
        </p:nvSpPr>
        <p:spPr>
          <a:xfrm>
            <a:off x="4576686" y="3922875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28" name="object 100">
            <a:extLst>
              <a:ext uri="{FF2B5EF4-FFF2-40B4-BE49-F238E27FC236}">
                <a16:creationId xmlns:a16="http://schemas.microsoft.com/office/drawing/2014/main" id="{93320699-E757-E360-D31E-3C89249DA100}"/>
              </a:ext>
            </a:extLst>
          </p:cNvPr>
          <p:cNvSpPr/>
          <p:nvPr/>
        </p:nvSpPr>
        <p:spPr>
          <a:xfrm rot="16200000">
            <a:off x="4576686" y="3925256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29" name="object 309">
            <a:extLst>
              <a:ext uri="{FF2B5EF4-FFF2-40B4-BE49-F238E27FC236}">
                <a16:creationId xmlns:a16="http://schemas.microsoft.com/office/drawing/2014/main" id="{CE80AD8D-21E3-80D9-43C3-2F3B91BBBC3A}"/>
              </a:ext>
            </a:extLst>
          </p:cNvPr>
          <p:cNvSpPr/>
          <p:nvPr/>
        </p:nvSpPr>
        <p:spPr>
          <a:xfrm rot="16200000">
            <a:off x="4576686" y="3925256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30" name="object 100">
            <a:extLst>
              <a:ext uri="{FF2B5EF4-FFF2-40B4-BE49-F238E27FC236}">
                <a16:creationId xmlns:a16="http://schemas.microsoft.com/office/drawing/2014/main" id="{98BDF33A-EB9D-91B6-3FAA-714173DBF20D}"/>
              </a:ext>
            </a:extLst>
          </p:cNvPr>
          <p:cNvSpPr/>
          <p:nvPr/>
        </p:nvSpPr>
        <p:spPr>
          <a:xfrm>
            <a:off x="4567161" y="3922875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31" name="object 309">
            <a:extLst>
              <a:ext uri="{FF2B5EF4-FFF2-40B4-BE49-F238E27FC236}">
                <a16:creationId xmlns:a16="http://schemas.microsoft.com/office/drawing/2014/main" id="{425F7294-4734-71F6-991B-C8B61C8F0BC1}"/>
              </a:ext>
            </a:extLst>
          </p:cNvPr>
          <p:cNvSpPr/>
          <p:nvPr/>
        </p:nvSpPr>
        <p:spPr>
          <a:xfrm>
            <a:off x="4567161" y="3922875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32" name="object 100">
            <a:extLst>
              <a:ext uri="{FF2B5EF4-FFF2-40B4-BE49-F238E27FC236}">
                <a16:creationId xmlns:a16="http://schemas.microsoft.com/office/drawing/2014/main" id="{2BF20ACE-8C0F-D6C2-7B2B-F6AEC2565ED3}"/>
              </a:ext>
            </a:extLst>
          </p:cNvPr>
          <p:cNvSpPr/>
          <p:nvPr/>
        </p:nvSpPr>
        <p:spPr>
          <a:xfrm rot="16200000">
            <a:off x="4567161" y="3925256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33" name="object 309">
            <a:extLst>
              <a:ext uri="{FF2B5EF4-FFF2-40B4-BE49-F238E27FC236}">
                <a16:creationId xmlns:a16="http://schemas.microsoft.com/office/drawing/2014/main" id="{3687155F-4EAF-1A00-2BE7-A8DCE400D3DA}"/>
              </a:ext>
            </a:extLst>
          </p:cNvPr>
          <p:cNvSpPr/>
          <p:nvPr/>
        </p:nvSpPr>
        <p:spPr>
          <a:xfrm rot="16200000">
            <a:off x="4567161" y="3925256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34" name="object 100">
            <a:extLst>
              <a:ext uri="{FF2B5EF4-FFF2-40B4-BE49-F238E27FC236}">
                <a16:creationId xmlns:a16="http://schemas.microsoft.com/office/drawing/2014/main" id="{7C9C09AE-930F-EDC2-63FB-C2AE6DE13DA2}"/>
              </a:ext>
            </a:extLst>
          </p:cNvPr>
          <p:cNvSpPr/>
          <p:nvPr/>
        </p:nvSpPr>
        <p:spPr>
          <a:xfrm>
            <a:off x="4557636" y="3922875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35" name="object 309">
            <a:extLst>
              <a:ext uri="{FF2B5EF4-FFF2-40B4-BE49-F238E27FC236}">
                <a16:creationId xmlns:a16="http://schemas.microsoft.com/office/drawing/2014/main" id="{32D0B06A-DE23-A8CB-A4AB-7FE9BC11C8BB}"/>
              </a:ext>
            </a:extLst>
          </p:cNvPr>
          <p:cNvSpPr/>
          <p:nvPr/>
        </p:nvSpPr>
        <p:spPr>
          <a:xfrm>
            <a:off x="4557636" y="3922875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36" name="object 100">
            <a:extLst>
              <a:ext uri="{FF2B5EF4-FFF2-40B4-BE49-F238E27FC236}">
                <a16:creationId xmlns:a16="http://schemas.microsoft.com/office/drawing/2014/main" id="{9D10952A-1621-5232-4070-6B2AE1684736}"/>
              </a:ext>
            </a:extLst>
          </p:cNvPr>
          <p:cNvSpPr/>
          <p:nvPr/>
        </p:nvSpPr>
        <p:spPr>
          <a:xfrm rot="16200000">
            <a:off x="4557636" y="3925256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37" name="object 309">
            <a:extLst>
              <a:ext uri="{FF2B5EF4-FFF2-40B4-BE49-F238E27FC236}">
                <a16:creationId xmlns:a16="http://schemas.microsoft.com/office/drawing/2014/main" id="{6B662BC6-4AD7-630A-8C58-042F60467D67}"/>
              </a:ext>
            </a:extLst>
          </p:cNvPr>
          <p:cNvSpPr/>
          <p:nvPr/>
        </p:nvSpPr>
        <p:spPr>
          <a:xfrm rot="16200000">
            <a:off x="4557636" y="3925256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38" name="object 100">
            <a:extLst>
              <a:ext uri="{FF2B5EF4-FFF2-40B4-BE49-F238E27FC236}">
                <a16:creationId xmlns:a16="http://schemas.microsoft.com/office/drawing/2014/main" id="{3DE0A16E-F973-6413-EBB1-84C6D188A87B}"/>
              </a:ext>
            </a:extLst>
          </p:cNvPr>
          <p:cNvSpPr/>
          <p:nvPr/>
        </p:nvSpPr>
        <p:spPr>
          <a:xfrm>
            <a:off x="4543348" y="3922875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39" name="object 309">
            <a:extLst>
              <a:ext uri="{FF2B5EF4-FFF2-40B4-BE49-F238E27FC236}">
                <a16:creationId xmlns:a16="http://schemas.microsoft.com/office/drawing/2014/main" id="{C7AA8D29-A54B-C187-9457-1F1860AB7F78}"/>
              </a:ext>
            </a:extLst>
          </p:cNvPr>
          <p:cNvSpPr/>
          <p:nvPr/>
        </p:nvSpPr>
        <p:spPr>
          <a:xfrm>
            <a:off x="4543348" y="3922875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40" name="object 100">
            <a:extLst>
              <a:ext uri="{FF2B5EF4-FFF2-40B4-BE49-F238E27FC236}">
                <a16:creationId xmlns:a16="http://schemas.microsoft.com/office/drawing/2014/main" id="{D18B70E6-98C4-9514-407C-8B883AD567F4}"/>
              </a:ext>
            </a:extLst>
          </p:cNvPr>
          <p:cNvSpPr/>
          <p:nvPr/>
        </p:nvSpPr>
        <p:spPr>
          <a:xfrm rot="16200000">
            <a:off x="4543348" y="3925256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41" name="object 309">
            <a:extLst>
              <a:ext uri="{FF2B5EF4-FFF2-40B4-BE49-F238E27FC236}">
                <a16:creationId xmlns:a16="http://schemas.microsoft.com/office/drawing/2014/main" id="{CAB832D0-D1C7-B325-BB5C-40AD53D9C51B}"/>
              </a:ext>
            </a:extLst>
          </p:cNvPr>
          <p:cNvSpPr/>
          <p:nvPr/>
        </p:nvSpPr>
        <p:spPr>
          <a:xfrm rot="16200000">
            <a:off x="4543348" y="3925256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42" name="object 100">
            <a:extLst>
              <a:ext uri="{FF2B5EF4-FFF2-40B4-BE49-F238E27FC236}">
                <a16:creationId xmlns:a16="http://schemas.microsoft.com/office/drawing/2014/main" id="{EA2B0BD6-D926-9C31-86EC-33C43FEF27F9}"/>
              </a:ext>
            </a:extLst>
          </p:cNvPr>
          <p:cNvSpPr/>
          <p:nvPr/>
        </p:nvSpPr>
        <p:spPr>
          <a:xfrm>
            <a:off x="4529061" y="3922875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43" name="object 309">
            <a:extLst>
              <a:ext uri="{FF2B5EF4-FFF2-40B4-BE49-F238E27FC236}">
                <a16:creationId xmlns:a16="http://schemas.microsoft.com/office/drawing/2014/main" id="{10C5F4E1-BBEE-C554-9D49-C059C1CD98F0}"/>
              </a:ext>
            </a:extLst>
          </p:cNvPr>
          <p:cNvSpPr/>
          <p:nvPr/>
        </p:nvSpPr>
        <p:spPr>
          <a:xfrm>
            <a:off x="4529061" y="3922875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53" name="object 100">
            <a:extLst>
              <a:ext uri="{FF2B5EF4-FFF2-40B4-BE49-F238E27FC236}">
                <a16:creationId xmlns:a16="http://schemas.microsoft.com/office/drawing/2014/main" id="{B8A80333-C819-0B23-D7F0-52AAE14E7AE3}"/>
              </a:ext>
            </a:extLst>
          </p:cNvPr>
          <p:cNvSpPr/>
          <p:nvPr/>
        </p:nvSpPr>
        <p:spPr>
          <a:xfrm rot="16200000">
            <a:off x="4529061" y="3925256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58" name="object 309">
            <a:extLst>
              <a:ext uri="{FF2B5EF4-FFF2-40B4-BE49-F238E27FC236}">
                <a16:creationId xmlns:a16="http://schemas.microsoft.com/office/drawing/2014/main" id="{422220AA-24AC-1353-C7F1-B10424583CAB}"/>
              </a:ext>
            </a:extLst>
          </p:cNvPr>
          <p:cNvSpPr/>
          <p:nvPr/>
        </p:nvSpPr>
        <p:spPr>
          <a:xfrm rot="16200000">
            <a:off x="4529061" y="3925256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60" name="object 100">
            <a:extLst>
              <a:ext uri="{FF2B5EF4-FFF2-40B4-BE49-F238E27FC236}">
                <a16:creationId xmlns:a16="http://schemas.microsoft.com/office/drawing/2014/main" id="{7758932B-2BB2-CE00-61DF-B856192FA927}"/>
              </a:ext>
            </a:extLst>
          </p:cNvPr>
          <p:cNvSpPr/>
          <p:nvPr/>
        </p:nvSpPr>
        <p:spPr>
          <a:xfrm>
            <a:off x="4212354" y="3922875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61" name="object 309">
            <a:extLst>
              <a:ext uri="{FF2B5EF4-FFF2-40B4-BE49-F238E27FC236}">
                <a16:creationId xmlns:a16="http://schemas.microsoft.com/office/drawing/2014/main" id="{201A75D9-FD03-0E02-FCD0-B175B69246C8}"/>
              </a:ext>
            </a:extLst>
          </p:cNvPr>
          <p:cNvSpPr/>
          <p:nvPr/>
        </p:nvSpPr>
        <p:spPr>
          <a:xfrm>
            <a:off x="4212354" y="3922875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64" name="object 100">
            <a:extLst>
              <a:ext uri="{FF2B5EF4-FFF2-40B4-BE49-F238E27FC236}">
                <a16:creationId xmlns:a16="http://schemas.microsoft.com/office/drawing/2014/main" id="{2AE5A643-48D4-E41C-F01E-89DA558DF542}"/>
              </a:ext>
            </a:extLst>
          </p:cNvPr>
          <p:cNvSpPr/>
          <p:nvPr/>
        </p:nvSpPr>
        <p:spPr>
          <a:xfrm rot="16200000">
            <a:off x="4212354" y="3925256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65" name="object 309">
            <a:extLst>
              <a:ext uri="{FF2B5EF4-FFF2-40B4-BE49-F238E27FC236}">
                <a16:creationId xmlns:a16="http://schemas.microsoft.com/office/drawing/2014/main" id="{9BF4041B-EA46-9361-C34F-D36A94193E01}"/>
              </a:ext>
            </a:extLst>
          </p:cNvPr>
          <p:cNvSpPr/>
          <p:nvPr/>
        </p:nvSpPr>
        <p:spPr>
          <a:xfrm rot="16200000">
            <a:off x="4212354" y="3925256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66" name="object 100">
            <a:extLst>
              <a:ext uri="{FF2B5EF4-FFF2-40B4-BE49-F238E27FC236}">
                <a16:creationId xmlns:a16="http://schemas.microsoft.com/office/drawing/2014/main" id="{C849D5B9-F626-6D8C-D920-CD54BD1778BA}"/>
              </a:ext>
            </a:extLst>
          </p:cNvPr>
          <p:cNvSpPr/>
          <p:nvPr/>
        </p:nvSpPr>
        <p:spPr>
          <a:xfrm>
            <a:off x="4190923" y="3922875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67" name="object 309">
            <a:extLst>
              <a:ext uri="{FF2B5EF4-FFF2-40B4-BE49-F238E27FC236}">
                <a16:creationId xmlns:a16="http://schemas.microsoft.com/office/drawing/2014/main" id="{E32EE68F-C836-B679-936B-271A20BB5998}"/>
              </a:ext>
            </a:extLst>
          </p:cNvPr>
          <p:cNvSpPr/>
          <p:nvPr/>
        </p:nvSpPr>
        <p:spPr>
          <a:xfrm>
            <a:off x="4190923" y="3922875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68" name="object 100">
            <a:extLst>
              <a:ext uri="{FF2B5EF4-FFF2-40B4-BE49-F238E27FC236}">
                <a16:creationId xmlns:a16="http://schemas.microsoft.com/office/drawing/2014/main" id="{DD18E6DE-B3D4-3729-18F9-04FE47450B94}"/>
              </a:ext>
            </a:extLst>
          </p:cNvPr>
          <p:cNvSpPr/>
          <p:nvPr/>
        </p:nvSpPr>
        <p:spPr>
          <a:xfrm rot="16200000">
            <a:off x="4190923" y="3925256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69" name="object 309">
            <a:extLst>
              <a:ext uri="{FF2B5EF4-FFF2-40B4-BE49-F238E27FC236}">
                <a16:creationId xmlns:a16="http://schemas.microsoft.com/office/drawing/2014/main" id="{869864A6-DD96-F563-84E2-BE2219C4E8B3}"/>
              </a:ext>
            </a:extLst>
          </p:cNvPr>
          <p:cNvSpPr/>
          <p:nvPr/>
        </p:nvSpPr>
        <p:spPr>
          <a:xfrm rot="16200000">
            <a:off x="4190923" y="3925256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70" name="object 100">
            <a:extLst>
              <a:ext uri="{FF2B5EF4-FFF2-40B4-BE49-F238E27FC236}">
                <a16:creationId xmlns:a16="http://schemas.microsoft.com/office/drawing/2014/main" id="{132649F6-10A8-240E-2F1B-BF53D3566DFC}"/>
              </a:ext>
            </a:extLst>
          </p:cNvPr>
          <p:cNvSpPr/>
          <p:nvPr/>
        </p:nvSpPr>
        <p:spPr>
          <a:xfrm>
            <a:off x="4181398" y="3922875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71" name="object 309">
            <a:extLst>
              <a:ext uri="{FF2B5EF4-FFF2-40B4-BE49-F238E27FC236}">
                <a16:creationId xmlns:a16="http://schemas.microsoft.com/office/drawing/2014/main" id="{8900BF19-C17E-F374-FBB0-0368B62561F4}"/>
              </a:ext>
            </a:extLst>
          </p:cNvPr>
          <p:cNvSpPr/>
          <p:nvPr/>
        </p:nvSpPr>
        <p:spPr>
          <a:xfrm>
            <a:off x="4181398" y="3922875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72" name="object 100">
            <a:extLst>
              <a:ext uri="{FF2B5EF4-FFF2-40B4-BE49-F238E27FC236}">
                <a16:creationId xmlns:a16="http://schemas.microsoft.com/office/drawing/2014/main" id="{BA7D9C30-56D6-1F02-C0FF-438BC80857DF}"/>
              </a:ext>
            </a:extLst>
          </p:cNvPr>
          <p:cNvSpPr/>
          <p:nvPr/>
        </p:nvSpPr>
        <p:spPr>
          <a:xfrm rot="16200000">
            <a:off x="4181398" y="3925256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75" name="object 309">
            <a:extLst>
              <a:ext uri="{FF2B5EF4-FFF2-40B4-BE49-F238E27FC236}">
                <a16:creationId xmlns:a16="http://schemas.microsoft.com/office/drawing/2014/main" id="{902420F3-57CD-95DA-5CC3-AA141679ED5F}"/>
              </a:ext>
            </a:extLst>
          </p:cNvPr>
          <p:cNvSpPr/>
          <p:nvPr/>
        </p:nvSpPr>
        <p:spPr>
          <a:xfrm rot="16200000">
            <a:off x="4181398" y="3925256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76" name="object 100">
            <a:extLst>
              <a:ext uri="{FF2B5EF4-FFF2-40B4-BE49-F238E27FC236}">
                <a16:creationId xmlns:a16="http://schemas.microsoft.com/office/drawing/2014/main" id="{9B53D24A-9641-4E31-3827-37032B5FEE23}"/>
              </a:ext>
            </a:extLst>
          </p:cNvPr>
          <p:cNvSpPr/>
          <p:nvPr/>
        </p:nvSpPr>
        <p:spPr>
          <a:xfrm>
            <a:off x="4167110" y="3922875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77" name="object 309">
            <a:extLst>
              <a:ext uri="{FF2B5EF4-FFF2-40B4-BE49-F238E27FC236}">
                <a16:creationId xmlns:a16="http://schemas.microsoft.com/office/drawing/2014/main" id="{87AA3E06-78FC-C001-3F08-F55CC6E6B3AE}"/>
              </a:ext>
            </a:extLst>
          </p:cNvPr>
          <p:cNvSpPr/>
          <p:nvPr/>
        </p:nvSpPr>
        <p:spPr>
          <a:xfrm>
            <a:off x="4167110" y="3922875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12" name="object 100">
            <a:extLst>
              <a:ext uri="{FF2B5EF4-FFF2-40B4-BE49-F238E27FC236}">
                <a16:creationId xmlns:a16="http://schemas.microsoft.com/office/drawing/2014/main" id="{E0F805A9-CEC9-64C0-EE3F-22675EB7D4AF}"/>
              </a:ext>
            </a:extLst>
          </p:cNvPr>
          <p:cNvSpPr/>
          <p:nvPr/>
        </p:nvSpPr>
        <p:spPr>
          <a:xfrm rot="16200000">
            <a:off x="4167110" y="3925256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13" name="object 309">
            <a:extLst>
              <a:ext uri="{FF2B5EF4-FFF2-40B4-BE49-F238E27FC236}">
                <a16:creationId xmlns:a16="http://schemas.microsoft.com/office/drawing/2014/main" id="{12765C0F-26CC-14E9-036F-02EDD1B1FB6A}"/>
              </a:ext>
            </a:extLst>
          </p:cNvPr>
          <p:cNvSpPr/>
          <p:nvPr/>
        </p:nvSpPr>
        <p:spPr>
          <a:xfrm rot="16200000">
            <a:off x="4167110" y="3925256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14" name="object 100">
            <a:extLst>
              <a:ext uri="{FF2B5EF4-FFF2-40B4-BE49-F238E27FC236}">
                <a16:creationId xmlns:a16="http://schemas.microsoft.com/office/drawing/2014/main" id="{A330104A-8BC9-A960-27E4-F2D6129C2913}"/>
              </a:ext>
            </a:extLst>
          </p:cNvPr>
          <p:cNvSpPr/>
          <p:nvPr/>
        </p:nvSpPr>
        <p:spPr>
          <a:xfrm>
            <a:off x="4150441" y="3922875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15" name="object 309">
            <a:extLst>
              <a:ext uri="{FF2B5EF4-FFF2-40B4-BE49-F238E27FC236}">
                <a16:creationId xmlns:a16="http://schemas.microsoft.com/office/drawing/2014/main" id="{27214551-268E-A130-ABB9-49F49D210238}"/>
              </a:ext>
            </a:extLst>
          </p:cNvPr>
          <p:cNvSpPr/>
          <p:nvPr/>
        </p:nvSpPr>
        <p:spPr>
          <a:xfrm>
            <a:off x="4150441" y="3922875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17" name="object 100">
            <a:extLst>
              <a:ext uri="{FF2B5EF4-FFF2-40B4-BE49-F238E27FC236}">
                <a16:creationId xmlns:a16="http://schemas.microsoft.com/office/drawing/2014/main" id="{EA42E3CA-704A-6C71-0C00-0D69FC5F3A6E}"/>
              </a:ext>
            </a:extLst>
          </p:cNvPr>
          <p:cNvSpPr/>
          <p:nvPr/>
        </p:nvSpPr>
        <p:spPr>
          <a:xfrm rot="16200000">
            <a:off x="4150441" y="3925256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18" name="object 309">
            <a:extLst>
              <a:ext uri="{FF2B5EF4-FFF2-40B4-BE49-F238E27FC236}">
                <a16:creationId xmlns:a16="http://schemas.microsoft.com/office/drawing/2014/main" id="{99F02342-F57A-F3FB-2B60-0F15D937E51E}"/>
              </a:ext>
            </a:extLst>
          </p:cNvPr>
          <p:cNvSpPr/>
          <p:nvPr/>
        </p:nvSpPr>
        <p:spPr>
          <a:xfrm rot="16200000">
            <a:off x="4150441" y="3925256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19" name="object 100">
            <a:extLst>
              <a:ext uri="{FF2B5EF4-FFF2-40B4-BE49-F238E27FC236}">
                <a16:creationId xmlns:a16="http://schemas.microsoft.com/office/drawing/2014/main" id="{5C8940A5-A319-6F9E-6726-39DE4F3AF53E}"/>
              </a:ext>
            </a:extLst>
          </p:cNvPr>
          <p:cNvSpPr/>
          <p:nvPr/>
        </p:nvSpPr>
        <p:spPr>
          <a:xfrm>
            <a:off x="4133773" y="3922875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20" name="object 309">
            <a:extLst>
              <a:ext uri="{FF2B5EF4-FFF2-40B4-BE49-F238E27FC236}">
                <a16:creationId xmlns:a16="http://schemas.microsoft.com/office/drawing/2014/main" id="{09E6D61D-1766-A538-8C43-4CAE594FAAE3}"/>
              </a:ext>
            </a:extLst>
          </p:cNvPr>
          <p:cNvSpPr/>
          <p:nvPr/>
        </p:nvSpPr>
        <p:spPr>
          <a:xfrm>
            <a:off x="4133773" y="3922875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21" name="object 100">
            <a:extLst>
              <a:ext uri="{FF2B5EF4-FFF2-40B4-BE49-F238E27FC236}">
                <a16:creationId xmlns:a16="http://schemas.microsoft.com/office/drawing/2014/main" id="{A43E906B-7807-12F1-8903-5B2CE47DC2BF}"/>
              </a:ext>
            </a:extLst>
          </p:cNvPr>
          <p:cNvSpPr/>
          <p:nvPr/>
        </p:nvSpPr>
        <p:spPr>
          <a:xfrm rot="16200000">
            <a:off x="4133773" y="3925256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22" name="object 309">
            <a:extLst>
              <a:ext uri="{FF2B5EF4-FFF2-40B4-BE49-F238E27FC236}">
                <a16:creationId xmlns:a16="http://schemas.microsoft.com/office/drawing/2014/main" id="{A971472B-1C90-63D0-2C66-533F4033BA23}"/>
              </a:ext>
            </a:extLst>
          </p:cNvPr>
          <p:cNvSpPr/>
          <p:nvPr/>
        </p:nvSpPr>
        <p:spPr>
          <a:xfrm rot="16200000">
            <a:off x="4133773" y="3925256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23" name="object 100">
            <a:extLst>
              <a:ext uri="{FF2B5EF4-FFF2-40B4-BE49-F238E27FC236}">
                <a16:creationId xmlns:a16="http://schemas.microsoft.com/office/drawing/2014/main" id="{DDEDFBD3-C7F9-5818-965F-9392B3A9F10E}"/>
              </a:ext>
            </a:extLst>
          </p:cNvPr>
          <p:cNvSpPr/>
          <p:nvPr/>
        </p:nvSpPr>
        <p:spPr>
          <a:xfrm>
            <a:off x="4100435" y="3922875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24" name="object 309">
            <a:extLst>
              <a:ext uri="{FF2B5EF4-FFF2-40B4-BE49-F238E27FC236}">
                <a16:creationId xmlns:a16="http://schemas.microsoft.com/office/drawing/2014/main" id="{0BFBFF05-3A83-CD1E-793E-510282445DC1}"/>
              </a:ext>
            </a:extLst>
          </p:cNvPr>
          <p:cNvSpPr/>
          <p:nvPr/>
        </p:nvSpPr>
        <p:spPr>
          <a:xfrm>
            <a:off x="4100435" y="3922875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25" name="object 100">
            <a:extLst>
              <a:ext uri="{FF2B5EF4-FFF2-40B4-BE49-F238E27FC236}">
                <a16:creationId xmlns:a16="http://schemas.microsoft.com/office/drawing/2014/main" id="{2ED39B4D-2F25-58AF-0091-44F20CD6092A}"/>
              </a:ext>
            </a:extLst>
          </p:cNvPr>
          <p:cNvSpPr/>
          <p:nvPr/>
        </p:nvSpPr>
        <p:spPr>
          <a:xfrm rot="16200000">
            <a:off x="4100435" y="3925256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26" name="object 309">
            <a:extLst>
              <a:ext uri="{FF2B5EF4-FFF2-40B4-BE49-F238E27FC236}">
                <a16:creationId xmlns:a16="http://schemas.microsoft.com/office/drawing/2014/main" id="{0042A4E7-AE90-E694-9622-8544038FE7AC}"/>
              </a:ext>
            </a:extLst>
          </p:cNvPr>
          <p:cNvSpPr/>
          <p:nvPr/>
        </p:nvSpPr>
        <p:spPr>
          <a:xfrm rot="16200000">
            <a:off x="4100435" y="3925256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27" name="object 100">
            <a:extLst>
              <a:ext uri="{FF2B5EF4-FFF2-40B4-BE49-F238E27FC236}">
                <a16:creationId xmlns:a16="http://schemas.microsoft.com/office/drawing/2014/main" id="{4BF72C77-33CD-7EE9-59BF-274A4C1104D1}"/>
              </a:ext>
            </a:extLst>
          </p:cNvPr>
          <p:cNvSpPr/>
          <p:nvPr/>
        </p:nvSpPr>
        <p:spPr>
          <a:xfrm>
            <a:off x="3826591" y="3880013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28" name="object 309">
            <a:extLst>
              <a:ext uri="{FF2B5EF4-FFF2-40B4-BE49-F238E27FC236}">
                <a16:creationId xmlns:a16="http://schemas.microsoft.com/office/drawing/2014/main" id="{1E4210D3-ACFF-6BDC-40C5-310225B49BAE}"/>
              </a:ext>
            </a:extLst>
          </p:cNvPr>
          <p:cNvSpPr/>
          <p:nvPr/>
        </p:nvSpPr>
        <p:spPr>
          <a:xfrm>
            <a:off x="3826591" y="3880013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29" name="object 100">
            <a:extLst>
              <a:ext uri="{FF2B5EF4-FFF2-40B4-BE49-F238E27FC236}">
                <a16:creationId xmlns:a16="http://schemas.microsoft.com/office/drawing/2014/main" id="{B4708C5F-B168-A4B3-D945-B037B54D5225}"/>
              </a:ext>
            </a:extLst>
          </p:cNvPr>
          <p:cNvSpPr/>
          <p:nvPr/>
        </p:nvSpPr>
        <p:spPr>
          <a:xfrm rot="16200000">
            <a:off x="3826591" y="3882394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30" name="object 309">
            <a:extLst>
              <a:ext uri="{FF2B5EF4-FFF2-40B4-BE49-F238E27FC236}">
                <a16:creationId xmlns:a16="http://schemas.microsoft.com/office/drawing/2014/main" id="{32250399-BBC4-AFB7-D0E6-3353DC85372C}"/>
              </a:ext>
            </a:extLst>
          </p:cNvPr>
          <p:cNvSpPr/>
          <p:nvPr/>
        </p:nvSpPr>
        <p:spPr>
          <a:xfrm rot="16200000">
            <a:off x="3826591" y="3882394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31" name="object 100">
            <a:extLst>
              <a:ext uri="{FF2B5EF4-FFF2-40B4-BE49-F238E27FC236}">
                <a16:creationId xmlns:a16="http://schemas.microsoft.com/office/drawing/2014/main" id="{5FA6923A-0ADF-ABB3-E255-7D35A321CFC7}"/>
              </a:ext>
            </a:extLst>
          </p:cNvPr>
          <p:cNvSpPr/>
          <p:nvPr/>
        </p:nvSpPr>
        <p:spPr>
          <a:xfrm>
            <a:off x="3817066" y="3880013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32" name="object 309">
            <a:extLst>
              <a:ext uri="{FF2B5EF4-FFF2-40B4-BE49-F238E27FC236}">
                <a16:creationId xmlns:a16="http://schemas.microsoft.com/office/drawing/2014/main" id="{BCFCEA87-5548-2D42-2787-B6C6348B1112}"/>
              </a:ext>
            </a:extLst>
          </p:cNvPr>
          <p:cNvSpPr/>
          <p:nvPr/>
        </p:nvSpPr>
        <p:spPr>
          <a:xfrm>
            <a:off x="3817066" y="3880013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33" name="object 100">
            <a:extLst>
              <a:ext uri="{FF2B5EF4-FFF2-40B4-BE49-F238E27FC236}">
                <a16:creationId xmlns:a16="http://schemas.microsoft.com/office/drawing/2014/main" id="{9F4D363D-6C49-9279-2631-9B9CD4AA5827}"/>
              </a:ext>
            </a:extLst>
          </p:cNvPr>
          <p:cNvSpPr/>
          <p:nvPr/>
        </p:nvSpPr>
        <p:spPr>
          <a:xfrm rot="16200000">
            <a:off x="3817066" y="3882394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34" name="object 309">
            <a:extLst>
              <a:ext uri="{FF2B5EF4-FFF2-40B4-BE49-F238E27FC236}">
                <a16:creationId xmlns:a16="http://schemas.microsoft.com/office/drawing/2014/main" id="{6776A529-49D7-6CEF-AFFB-873A231EA323}"/>
              </a:ext>
            </a:extLst>
          </p:cNvPr>
          <p:cNvSpPr/>
          <p:nvPr/>
        </p:nvSpPr>
        <p:spPr>
          <a:xfrm rot="16200000">
            <a:off x="3817066" y="3882394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35" name="object 100">
            <a:extLst>
              <a:ext uri="{FF2B5EF4-FFF2-40B4-BE49-F238E27FC236}">
                <a16:creationId xmlns:a16="http://schemas.microsoft.com/office/drawing/2014/main" id="{A7B3F4A4-6DA7-41EB-8765-74DB1C41B73C}"/>
              </a:ext>
            </a:extLst>
          </p:cNvPr>
          <p:cNvSpPr/>
          <p:nvPr/>
        </p:nvSpPr>
        <p:spPr>
          <a:xfrm>
            <a:off x="3776585" y="3880013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36" name="object 309">
            <a:extLst>
              <a:ext uri="{FF2B5EF4-FFF2-40B4-BE49-F238E27FC236}">
                <a16:creationId xmlns:a16="http://schemas.microsoft.com/office/drawing/2014/main" id="{56B51670-9FB7-4465-B542-815692F8D8D7}"/>
              </a:ext>
            </a:extLst>
          </p:cNvPr>
          <p:cNvSpPr/>
          <p:nvPr/>
        </p:nvSpPr>
        <p:spPr>
          <a:xfrm>
            <a:off x="3776585" y="3880013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37" name="object 100">
            <a:extLst>
              <a:ext uri="{FF2B5EF4-FFF2-40B4-BE49-F238E27FC236}">
                <a16:creationId xmlns:a16="http://schemas.microsoft.com/office/drawing/2014/main" id="{EB12DB11-73A2-6B0C-9C22-73F60487DE13}"/>
              </a:ext>
            </a:extLst>
          </p:cNvPr>
          <p:cNvSpPr/>
          <p:nvPr/>
        </p:nvSpPr>
        <p:spPr>
          <a:xfrm rot="16200000">
            <a:off x="3776585" y="3882394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38" name="object 309">
            <a:extLst>
              <a:ext uri="{FF2B5EF4-FFF2-40B4-BE49-F238E27FC236}">
                <a16:creationId xmlns:a16="http://schemas.microsoft.com/office/drawing/2014/main" id="{82A7DEB2-883B-3D57-4566-5727AC579C0F}"/>
              </a:ext>
            </a:extLst>
          </p:cNvPr>
          <p:cNvSpPr/>
          <p:nvPr/>
        </p:nvSpPr>
        <p:spPr>
          <a:xfrm rot="16200000">
            <a:off x="3776585" y="3882394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39" name="object 100">
            <a:extLst>
              <a:ext uri="{FF2B5EF4-FFF2-40B4-BE49-F238E27FC236}">
                <a16:creationId xmlns:a16="http://schemas.microsoft.com/office/drawing/2014/main" id="{AFE9E69C-97C1-A12D-B970-30942397B1A4}"/>
              </a:ext>
            </a:extLst>
          </p:cNvPr>
          <p:cNvSpPr/>
          <p:nvPr/>
        </p:nvSpPr>
        <p:spPr>
          <a:xfrm>
            <a:off x="2986010" y="3863344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40" name="object 309">
            <a:extLst>
              <a:ext uri="{FF2B5EF4-FFF2-40B4-BE49-F238E27FC236}">
                <a16:creationId xmlns:a16="http://schemas.microsoft.com/office/drawing/2014/main" id="{BF4B6E8F-C316-B8CC-BF5F-9EB0ADC7CA49}"/>
              </a:ext>
            </a:extLst>
          </p:cNvPr>
          <p:cNvSpPr/>
          <p:nvPr/>
        </p:nvSpPr>
        <p:spPr>
          <a:xfrm>
            <a:off x="2986010" y="3863344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41" name="object 100">
            <a:extLst>
              <a:ext uri="{FF2B5EF4-FFF2-40B4-BE49-F238E27FC236}">
                <a16:creationId xmlns:a16="http://schemas.microsoft.com/office/drawing/2014/main" id="{5CCE35BE-789D-91A4-3950-29F82C270E07}"/>
              </a:ext>
            </a:extLst>
          </p:cNvPr>
          <p:cNvSpPr/>
          <p:nvPr/>
        </p:nvSpPr>
        <p:spPr>
          <a:xfrm rot="16200000">
            <a:off x="2986010" y="3865725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42" name="object 309">
            <a:extLst>
              <a:ext uri="{FF2B5EF4-FFF2-40B4-BE49-F238E27FC236}">
                <a16:creationId xmlns:a16="http://schemas.microsoft.com/office/drawing/2014/main" id="{606D6055-AF72-C620-C0D5-C95DAAE0EF3D}"/>
              </a:ext>
            </a:extLst>
          </p:cNvPr>
          <p:cNvSpPr/>
          <p:nvPr/>
        </p:nvSpPr>
        <p:spPr>
          <a:xfrm rot="16200000">
            <a:off x="2986010" y="3865725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43" name="object 100">
            <a:extLst>
              <a:ext uri="{FF2B5EF4-FFF2-40B4-BE49-F238E27FC236}">
                <a16:creationId xmlns:a16="http://schemas.microsoft.com/office/drawing/2014/main" id="{622007E5-7EA4-F208-0BDE-F886E7E1A89B}"/>
              </a:ext>
            </a:extLst>
          </p:cNvPr>
          <p:cNvSpPr/>
          <p:nvPr/>
        </p:nvSpPr>
        <p:spPr>
          <a:xfrm>
            <a:off x="2321642" y="3863344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44" name="object 309">
            <a:extLst>
              <a:ext uri="{FF2B5EF4-FFF2-40B4-BE49-F238E27FC236}">
                <a16:creationId xmlns:a16="http://schemas.microsoft.com/office/drawing/2014/main" id="{90032348-9542-C4F9-B403-4D293C4F9B1E}"/>
              </a:ext>
            </a:extLst>
          </p:cNvPr>
          <p:cNvSpPr/>
          <p:nvPr/>
        </p:nvSpPr>
        <p:spPr>
          <a:xfrm>
            <a:off x="2321642" y="3863344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45" name="object 100">
            <a:extLst>
              <a:ext uri="{FF2B5EF4-FFF2-40B4-BE49-F238E27FC236}">
                <a16:creationId xmlns:a16="http://schemas.microsoft.com/office/drawing/2014/main" id="{5B2DAA23-74C5-5834-021F-52D410800857}"/>
              </a:ext>
            </a:extLst>
          </p:cNvPr>
          <p:cNvSpPr/>
          <p:nvPr/>
        </p:nvSpPr>
        <p:spPr>
          <a:xfrm rot="16200000">
            <a:off x="2321642" y="3865725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46" name="object 309">
            <a:extLst>
              <a:ext uri="{FF2B5EF4-FFF2-40B4-BE49-F238E27FC236}">
                <a16:creationId xmlns:a16="http://schemas.microsoft.com/office/drawing/2014/main" id="{1EBACB2D-AD84-96C8-6CB7-7BF61B7E5096}"/>
              </a:ext>
            </a:extLst>
          </p:cNvPr>
          <p:cNvSpPr/>
          <p:nvPr/>
        </p:nvSpPr>
        <p:spPr>
          <a:xfrm rot="16200000">
            <a:off x="2321642" y="3865725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47" name="object 100">
            <a:extLst>
              <a:ext uri="{FF2B5EF4-FFF2-40B4-BE49-F238E27FC236}">
                <a16:creationId xmlns:a16="http://schemas.microsoft.com/office/drawing/2014/main" id="{A9247FBD-BD2D-5101-F291-84802347EE78}"/>
              </a:ext>
            </a:extLst>
          </p:cNvPr>
          <p:cNvSpPr/>
          <p:nvPr/>
        </p:nvSpPr>
        <p:spPr>
          <a:xfrm>
            <a:off x="1954929" y="3725231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48" name="object 309">
            <a:extLst>
              <a:ext uri="{FF2B5EF4-FFF2-40B4-BE49-F238E27FC236}">
                <a16:creationId xmlns:a16="http://schemas.microsoft.com/office/drawing/2014/main" id="{65DB9E07-39A6-7F80-33A6-3003F1225217}"/>
              </a:ext>
            </a:extLst>
          </p:cNvPr>
          <p:cNvSpPr/>
          <p:nvPr/>
        </p:nvSpPr>
        <p:spPr>
          <a:xfrm>
            <a:off x="1954929" y="3725231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49" name="object 100">
            <a:extLst>
              <a:ext uri="{FF2B5EF4-FFF2-40B4-BE49-F238E27FC236}">
                <a16:creationId xmlns:a16="http://schemas.microsoft.com/office/drawing/2014/main" id="{275811CF-94D5-E85B-482F-38FC08316A9F}"/>
              </a:ext>
            </a:extLst>
          </p:cNvPr>
          <p:cNvSpPr/>
          <p:nvPr/>
        </p:nvSpPr>
        <p:spPr>
          <a:xfrm rot="16200000">
            <a:off x="1954929" y="3727612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50" name="object 309">
            <a:extLst>
              <a:ext uri="{FF2B5EF4-FFF2-40B4-BE49-F238E27FC236}">
                <a16:creationId xmlns:a16="http://schemas.microsoft.com/office/drawing/2014/main" id="{44ED9CDE-FC64-7B35-F32B-B28923B24EC6}"/>
              </a:ext>
            </a:extLst>
          </p:cNvPr>
          <p:cNvSpPr/>
          <p:nvPr/>
        </p:nvSpPr>
        <p:spPr>
          <a:xfrm rot="16200000">
            <a:off x="1954929" y="3727612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51" name="object 100">
            <a:extLst>
              <a:ext uri="{FF2B5EF4-FFF2-40B4-BE49-F238E27FC236}">
                <a16:creationId xmlns:a16="http://schemas.microsoft.com/office/drawing/2014/main" id="{A772FF2A-9A25-4F24-5BE0-7ADC3D0B0DD5}"/>
              </a:ext>
            </a:extLst>
          </p:cNvPr>
          <p:cNvSpPr/>
          <p:nvPr/>
        </p:nvSpPr>
        <p:spPr>
          <a:xfrm>
            <a:off x="1738235" y="3582356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52" name="object 309">
            <a:extLst>
              <a:ext uri="{FF2B5EF4-FFF2-40B4-BE49-F238E27FC236}">
                <a16:creationId xmlns:a16="http://schemas.microsoft.com/office/drawing/2014/main" id="{DB827511-7CFF-0324-D0F1-065C12C666CA}"/>
              </a:ext>
            </a:extLst>
          </p:cNvPr>
          <p:cNvSpPr/>
          <p:nvPr/>
        </p:nvSpPr>
        <p:spPr>
          <a:xfrm>
            <a:off x="1738235" y="3582356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53" name="object 100">
            <a:extLst>
              <a:ext uri="{FF2B5EF4-FFF2-40B4-BE49-F238E27FC236}">
                <a16:creationId xmlns:a16="http://schemas.microsoft.com/office/drawing/2014/main" id="{4715041B-10D4-9CEA-044F-3BBF02F1A77E}"/>
              </a:ext>
            </a:extLst>
          </p:cNvPr>
          <p:cNvSpPr/>
          <p:nvPr/>
        </p:nvSpPr>
        <p:spPr>
          <a:xfrm rot="16200000">
            <a:off x="1738235" y="3584737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54" name="object 309">
            <a:extLst>
              <a:ext uri="{FF2B5EF4-FFF2-40B4-BE49-F238E27FC236}">
                <a16:creationId xmlns:a16="http://schemas.microsoft.com/office/drawing/2014/main" id="{E502BD26-5881-AD12-F4C7-94FA20163244}"/>
              </a:ext>
            </a:extLst>
          </p:cNvPr>
          <p:cNvSpPr/>
          <p:nvPr/>
        </p:nvSpPr>
        <p:spPr>
          <a:xfrm rot="16200000">
            <a:off x="1738235" y="3584737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55" name="object 100">
            <a:extLst>
              <a:ext uri="{FF2B5EF4-FFF2-40B4-BE49-F238E27FC236}">
                <a16:creationId xmlns:a16="http://schemas.microsoft.com/office/drawing/2014/main" id="{5100B3E2-F5A9-B96E-8BFB-10468EB5F2A6}"/>
              </a:ext>
            </a:extLst>
          </p:cNvPr>
          <p:cNvSpPr/>
          <p:nvPr/>
        </p:nvSpPr>
        <p:spPr>
          <a:xfrm>
            <a:off x="1738235" y="3556162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56" name="object 309">
            <a:extLst>
              <a:ext uri="{FF2B5EF4-FFF2-40B4-BE49-F238E27FC236}">
                <a16:creationId xmlns:a16="http://schemas.microsoft.com/office/drawing/2014/main" id="{27170FB3-446E-133B-FFD8-77D9B3F4E2F5}"/>
              </a:ext>
            </a:extLst>
          </p:cNvPr>
          <p:cNvSpPr/>
          <p:nvPr/>
        </p:nvSpPr>
        <p:spPr>
          <a:xfrm>
            <a:off x="1738235" y="3556162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57" name="object 100">
            <a:extLst>
              <a:ext uri="{FF2B5EF4-FFF2-40B4-BE49-F238E27FC236}">
                <a16:creationId xmlns:a16="http://schemas.microsoft.com/office/drawing/2014/main" id="{DB4A17BC-E798-5D66-350E-71FB3E69F43B}"/>
              </a:ext>
            </a:extLst>
          </p:cNvPr>
          <p:cNvSpPr/>
          <p:nvPr/>
        </p:nvSpPr>
        <p:spPr>
          <a:xfrm rot="16200000">
            <a:off x="1738235" y="3558543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58" name="object 309">
            <a:extLst>
              <a:ext uri="{FF2B5EF4-FFF2-40B4-BE49-F238E27FC236}">
                <a16:creationId xmlns:a16="http://schemas.microsoft.com/office/drawing/2014/main" id="{B9BFB9C5-71A2-63B3-87C5-2772D6772694}"/>
              </a:ext>
            </a:extLst>
          </p:cNvPr>
          <p:cNvSpPr/>
          <p:nvPr/>
        </p:nvSpPr>
        <p:spPr>
          <a:xfrm rot="16200000">
            <a:off x="1738235" y="3558543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59" name="object 100">
            <a:extLst>
              <a:ext uri="{FF2B5EF4-FFF2-40B4-BE49-F238E27FC236}">
                <a16:creationId xmlns:a16="http://schemas.microsoft.com/office/drawing/2014/main" id="{E1F9749E-5AAC-3C3F-8BAF-AF13B54E713A}"/>
              </a:ext>
            </a:extLst>
          </p:cNvPr>
          <p:cNvSpPr/>
          <p:nvPr/>
        </p:nvSpPr>
        <p:spPr>
          <a:xfrm>
            <a:off x="1714423" y="3508537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60" name="object 309">
            <a:extLst>
              <a:ext uri="{FF2B5EF4-FFF2-40B4-BE49-F238E27FC236}">
                <a16:creationId xmlns:a16="http://schemas.microsoft.com/office/drawing/2014/main" id="{F8A75633-7A02-3A97-6E11-93475C01B834}"/>
              </a:ext>
            </a:extLst>
          </p:cNvPr>
          <p:cNvSpPr/>
          <p:nvPr/>
        </p:nvSpPr>
        <p:spPr>
          <a:xfrm>
            <a:off x="1714423" y="3508537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61" name="object 100">
            <a:extLst>
              <a:ext uri="{FF2B5EF4-FFF2-40B4-BE49-F238E27FC236}">
                <a16:creationId xmlns:a16="http://schemas.microsoft.com/office/drawing/2014/main" id="{498550D7-493B-6C46-D047-B84C9E2F154E}"/>
              </a:ext>
            </a:extLst>
          </p:cNvPr>
          <p:cNvSpPr/>
          <p:nvPr/>
        </p:nvSpPr>
        <p:spPr>
          <a:xfrm rot="16200000">
            <a:off x="1714423" y="3510918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62" name="object 309">
            <a:extLst>
              <a:ext uri="{FF2B5EF4-FFF2-40B4-BE49-F238E27FC236}">
                <a16:creationId xmlns:a16="http://schemas.microsoft.com/office/drawing/2014/main" id="{409EDB17-FEDE-F9DB-D859-555E881ECB6A}"/>
              </a:ext>
            </a:extLst>
          </p:cNvPr>
          <p:cNvSpPr/>
          <p:nvPr/>
        </p:nvSpPr>
        <p:spPr>
          <a:xfrm rot="16200000">
            <a:off x="1714423" y="3510918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63" name="object 100">
            <a:extLst>
              <a:ext uri="{FF2B5EF4-FFF2-40B4-BE49-F238E27FC236}">
                <a16:creationId xmlns:a16="http://schemas.microsoft.com/office/drawing/2014/main" id="{D7E8B71C-C6D9-9FA8-E3F6-B5E783CA2F23}"/>
              </a:ext>
            </a:extLst>
          </p:cNvPr>
          <p:cNvSpPr/>
          <p:nvPr/>
        </p:nvSpPr>
        <p:spPr>
          <a:xfrm>
            <a:off x="1671560" y="3496631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64" name="object 309">
            <a:extLst>
              <a:ext uri="{FF2B5EF4-FFF2-40B4-BE49-F238E27FC236}">
                <a16:creationId xmlns:a16="http://schemas.microsoft.com/office/drawing/2014/main" id="{F14E2C34-16ED-E029-A1EC-21304C402C82}"/>
              </a:ext>
            </a:extLst>
          </p:cNvPr>
          <p:cNvSpPr/>
          <p:nvPr/>
        </p:nvSpPr>
        <p:spPr>
          <a:xfrm>
            <a:off x="1671560" y="3496631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65" name="object 100">
            <a:extLst>
              <a:ext uri="{FF2B5EF4-FFF2-40B4-BE49-F238E27FC236}">
                <a16:creationId xmlns:a16="http://schemas.microsoft.com/office/drawing/2014/main" id="{A4422CCF-FF9A-A51C-438C-1BE0A27D1D9A}"/>
              </a:ext>
            </a:extLst>
          </p:cNvPr>
          <p:cNvSpPr/>
          <p:nvPr/>
        </p:nvSpPr>
        <p:spPr>
          <a:xfrm rot="16200000">
            <a:off x="1671560" y="3499012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66" name="object 309">
            <a:extLst>
              <a:ext uri="{FF2B5EF4-FFF2-40B4-BE49-F238E27FC236}">
                <a16:creationId xmlns:a16="http://schemas.microsoft.com/office/drawing/2014/main" id="{6431E289-9F27-526E-2F56-30034CC901E4}"/>
              </a:ext>
            </a:extLst>
          </p:cNvPr>
          <p:cNvSpPr/>
          <p:nvPr/>
        </p:nvSpPr>
        <p:spPr>
          <a:xfrm rot="16200000">
            <a:off x="1671560" y="3499012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67" name="object 100">
            <a:extLst>
              <a:ext uri="{FF2B5EF4-FFF2-40B4-BE49-F238E27FC236}">
                <a16:creationId xmlns:a16="http://schemas.microsoft.com/office/drawing/2014/main" id="{B7230577-AFC4-E61C-0401-BD9DE2A41DAE}"/>
              </a:ext>
            </a:extLst>
          </p:cNvPr>
          <p:cNvSpPr/>
          <p:nvPr/>
        </p:nvSpPr>
        <p:spPr>
          <a:xfrm>
            <a:off x="1640604" y="3482344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68" name="object 309">
            <a:extLst>
              <a:ext uri="{FF2B5EF4-FFF2-40B4-BE49-F238E27FC236}">
                <a16:creationId xmlns:a16="http://schemas.microsoft.com/office/drawing/2014/main" id="{B98D5C73-C29C-1CD9-1C56-D98520150249}"/>
              </a:ext>
            </a:extLst>
          </p:cNvPr>
          <p:cNvSpPr/>
          <p:nvPr/>
        </p:nvSpPr>
        <p:spPr>
          <a:xfrm>
            <a:off x="1640604" y="3482344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69" name="object 100">
            <a:extLst>
              <a:ext uri="{FF2B5EF4-FFF2-40B4-BE49-F238E27FC236}">
                <a16:creationId xmlns:a16="http://schemas.microsoft.com/office/drawing/2014/main" id="{406B2B12-A21B-3F6B-F654-81DE43132130}"/>
              </a:ext>
            </a:extLst>
          </p:cNvPr>
          <p:cNvSpPr/>
          <p:nvPr/>
        </p:nvSpPr>
        <p:spPr>
          <a:xfrm rot="16200000">
            <a:off x="1640604" y="3484725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70" name="object 309">
            <a:extLst>
              <a:ext uri="{FF2B5EF4-FFF2-40B4-BE49-F238E27FC236}">
                <a16:creationId xmlns:a16="http://schemas.microsoft.com/office/drawing/2014/main" id="{5119A92B-D236-1F39-E97E-74ED8F150501}"/>
              </a:ext>
            </a:extLst>
          </p:cNvPr>
          <p:cNvSpPr/>
          <p:nvPr/>
        </p:nvSpPr>
        <p:spPr>
          <a:xfrm rot="16200000">
            <a:off x="1640604" y="3484725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71" name="object 100">
            <a:extLst>
              <a:ext uri="{FF2B5EF4-FFF2-40B4-BE49-F238E27FC236}">
                <a16:creationId xmlns:a16="http://schemas.microsoft.com/office/drawing/2014/main" id="{863DB1A4-960F-FEFB-88B1-04D3D651F909}"/>
              </a:ext>
            </a:extLst>
          </p:cNvPr>
          <p:cNvSpPr/>
          <p:nvPr/>
        </p:nvSpPr>
        <p:spPr>
          <a:xfrm>
            <a:off x="1616791" y="3422812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72" name="object 309">
            <a:extLst>
              <a:ext uri="{FF2B5EF4-FFF2-40B4-BE49-F238E27FC236}">
                <a16:creationId xmlns:a16="http://schemas.microsoft.com/office/drawing/2014/main" id="{F9FF688B-AE68-F3BE-839D-04D601630AA8}"/>
              </a:ext>
            </a:extLst>
          </p:cNvPr>
          <p:cNvSpPr/>
          <p:nvPr/>
        </p:nvSpPr>
        <p:spPr>
          <a:xfrm>
            <a:off x="1616791" y="3422812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73" name="object 100">
            <a:extLst>
              <a:ext uri="{FF2B5EF4-FFF2-40B4-BE49-F238E27FC236}">
                <a16:creationId xmlns:a16="http://schemas.microsoft.com/office/drawing/2014/main" id="{EFF2EECD-C3A6-E6F2-3CE3-3A9D35DBE527}"/>
              </a:ext>
            </a:extLst>
          </p:cNvPr>
          <p:cNvSpPr/>
          <p:nvPr/>
        </p:nvSpPr>
        <p:spPr>
          <a:xfrm rot="16200000">
            <a:off x="1616791" y="3425193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74" name="object 309">
            <a:extLst>
              <a:ext uri="{FF2B5EF4-FFF2-40B4-BE49-F238E27FC236}">
                <a16:creationId xmlns:a16="http://schemas.microsoft.com/office/drawing/2014/main" id="{8C38F426-3153-02E9-CE9B-4675C9738A27}"/>
              </a:ext>
            </a:extLst>
          </p:cNvPr>
          <p:cNvSpPr/>
          <p:nvPr/>
        </p:nvSpPr>
        <p:spPr>
          <a:xfrm rot="16200000">
            <a:off x="1616791" y="3425193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75" name="object 100">
            <a:extLst>
              <a:ext uri="{FF2B5EF4-FFF2-40B4-BE49-F238E27FC236}">
                <a16:creationId xmlns:a16="http://schemas.microsoft.com/office/drawing/2014/main" id="{A186A836-6830-FE3B-1AD5-D9E485C93BE5}"/>
              </a:ext>
            </a:extLst>
          </p:cNvPr>
          <p:cNvSpPr/>
          <p:nvPr/>
        </p:nvSpPr>
        <p:spPr>
          <a:xfrm>
            <a:off x="1600123" y="3348994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76" name="object 309">
            <a:extLst>
              <a:ext uri="{FF2B5EF4-FFF2-40B4-BE49-F238E27FC236}">
                <a16:creationId xmlns:a16="http://schemas.microsoft.com/office/drawing/2014/main" id="{D09924C1-ECAE-3E68-D485-02F2C320DD4E}"/>
              </a:ext>
            </a:extLst>
          </p:cNvPr>
          <p:cNvSpPr/>
          <p:nvPr/>
        </p:nvSpPr>
        <p:spPr>
          <a:xfrm>
            <a:off x="1600123" y="3348994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77" name="object 100">
            <a:extLst>
              <a:ext uri="{FF2B5EF4-FFF2-40B4-BE49-F238E27FC236}">
                <a16:creationId xmlns:a16="http://schemas.microsoft.com/office/drawing/2014/main" id="{552C021F-A5BB-7A7E-1A31-2BF96BD3070E}"/>
              </a:ext>
            </a:extLst>
          </p:cNvPr>
          <p:cNvSpPr/>
          <p:nvPr/>
        </p:nvSpPr>
        <p:spPr>
          <a:xfrm rot="16200000">
            <a:off x="1600123" y="3351375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78" name="object 309">
            <a:extLst>
              <a:ext uri="{FF2B5EF4-FFF2-40B4-BE49-F238E27FC236}">
                <a16:creationId xmlns:a16="http://schemas.microsoft.com/office/drawing/2014/main" id="{5143C715-AB36-AD07-EE1B-FB2B793122FE}"/>
              </a:ext>
            </a:extLst>
          </p:cNvPr>
          <p:cNvSpPr/>
          <p:nvPr/>
        </p:nvSpPr>
        <p:spPr>
          <a:xfrm rot="16200000">
            <a:off x="1600123" y="3351375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79" name="object 100">
            <a:extLst>
              <a:ext uri="{FF2B5EF4-FFF2-40B4-BE49-F238E27FC236}">
                <a16:creationId xmlns:a16="http://schemas.microsoft.com/office/drawing/2014/main" id="{56869DA8-374A-1CCB-4B54-C93977851D13}"/>
              </a:ext>
            </a:extLst>
          </p:cNvPr>
          <p:cNvSpPr/>
          <p:nvPr/>
        </p:nvSpPr>
        <p:spPr>
          <a:xfrm>
            <a:off x="1600123" y="3325181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80" name="object 309">
            <a:extLst>
              <a:ext uri="{FF2B5EF4-FFF2-40B4-BE49-F238E27FC236}">
                <a16:creationId xmlns:a16="http://schemas.microsoft.com/office/drawing/2014/main" id="{A70ECD3A-25EA-7A10-E318-372FC41C95C8}"/>
              </a:ext>
            </a:extLst>
          </p:cNvPr>
          <p:cNvSpPr/>
          <p:nvPr/>
        </p:nvSpPr>
        <p:spPr>
          <a:xfrm>
            <a:off x="1600123" y="3325181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81" name="object 100">
            <a:extLst>
              <a:ext uri="{FF2B5EF4-FFF2-40B4-BE49-F238E27FC236}">
                <a16:creationId xmlns:a16="http://schemas.microsoft.com/office/drawing/2014/main" id="{0BD45BF7-BF96-39A7-03C7-0266C6E49272}"/>
              </a:ext>
            </a:extLst>
          </p:cNvPr>
          <p:cNvSpPr/>
          <p:nvPr/>
        </p:nvSpPr>
        <p:spPr>
          <a:xfrm rot="16200000">
            <a:off x="1600123" y="3327562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82" name="object 309">
            <a:extLst>
              <a:ext uri="{FF2B5EF4-FFF2-40B4-BE49-F238E27FC236}">
                <a16:creationId xmlns:a16="http://schemas.microsoft.com/office/drawing/2014/main" id="{20D7AB5E-D08A-966C-5CFF-3A7DC99EFF28}"/>
              </a:ext>
            </a:extLst>
          </p:cNvPr>
          <p:cNvSpPr/>
          <p:nvPr/>
        </p:nvSpPr>
        <p:spPr>
          <a:xfrm rot="16200000">
            <a:off x="1600123" y="3327562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83" name="object 100">
            <a:extLst>
              <a:ext uri="{FF2B5EF4-FFF2-40B4-BE49-F238E27FC236}">
                <a16:creationId xmlns:a16="http://schemas.microsoft.com/office/drawing/2014/main" id="{E3BFCC5A-7F18-6FBB-E119-1F356D261B86}"/>
              </a:ext>
            </a:extLst>
          </p:cNvPr>
          <p:cNvSpPr/>
          <p:nvPr/>
        </p:nvSpPr>
        <p:spPr>
          <a:xfrm>
            <a:off x="1545355" y="3198975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84" name="object 309">
            <a:extLst>
              <a:ext uri="{FF2B5EF4-FFF2-40B4-BE49-F238E27FC236}">
                <a16:creationId xmlns:a16="http://schemas.microsoft.com/office/drawing/2014/main" id="{E9D7D112-58F5-59FD-2CF0-FFC682EA078F}"/>
              </a:ext>
            </a:extLst>
          </p:cNvPr>
          <p:cNvSpPr/>
          <p:nvPr/>
        </p:nvSpPr>
        <p:spPr>
          <a:xfrm>
            <a:off x="1545355" y="3198975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85" name="object 100">
            <a:extLst>
              <a:ext uri="{FF2B5EF4-FFF2-40B4-BE49-F238E27FC236}">
                <a16:creationId xmlns:a16="http://schemas.microsoft.com/office/drawing/2014/main" id="{DC30C623-D62C-463E-ADA2-6C87412601AA}"/>
              </a:ext>
            </a:extLst>
          </p:cNvPr>
          <p:cNvSpPr/>
          <p:nvPr/>
        </p:nvSpPr>
        <p:spPr>
          <a:xfrm rot="16200000">
            <a:off x="1545355" y="3201356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86" name="object 309">
            <a:extLst>
              <a:ext uri="{FF2B5EF4-FFF2-40B4-BE49-F238E27FC236}">
                <a16:creationId xmlns:a16="http://schemas.microsoft.com/office/drawing/2014/main" id="{19EE699B-1906-D45B-1E05-C6A93D9B2A8A}"/>
              </a:ext>
            </a:extLst>
          </p:cNvPr>
          <p:cNvSpPr/>
          <p:nvPr/>
        </p:nvSpPr>
        <p:spPr>
          <a:xfrm rot="16200000">
            <a:off x="1545355" y="3201356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87" name="object 100">
            <a:extLst>
              <a:ext uri="{FF2B5EF4-FFF2-40B4-BE49-F238E27FC236}">
                <a16:creationId xmlns:a16="http://schemas.microsoft.com/office/drawing/2014/main" id="{76FD1A82-D2F4-1513-66E6-AADF3D3BD4C4}"/>
              </a:ext>
            </a:extLst>
          </p:cNvPr>
          <p:cNvSpPr/>
          <p:nvPr/>
        </p:nvSpPr>
        <p:spPr>
          <a:xfrm>
            <a:off x="1538211" y="3177543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88" name="object 309">
            <a:extLst>
              <a:ext uri="{FF2B5EF4-FFF2-40B4-BE49-F238E27FC236}">
                <a16:creationId xmlns:a16="http://schemas.microsoft.com/office/drawing/2014/main" id="{11E16790-5162-E979-798B-F25083F7D536}"/>
              </a:ext>
            </a:extLst>
          </p:cNvPr>
          <p:cNvSpPr/>
          <p:nvPr/>
        </p:nvSpPr>
        <p:spPr>
          <a:xfrm>
            <a:off x="1538211" y="3177543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89" name="object 100">
            <a:extLst>
              <a:ext uri="{FF2B5EF4-FFF2-40B4-BE49-F238E27FC236}">
                <a16:creationId xmlns:a16="http://schemas.microsoft.com/office/drawing/2014/main" id="{29431198-69A4-B251-77F8-122C0C7BEB70}"/>
              </a:ext>
            </a:extLst>
          </p:cNvPr>
          <p:cNvSpPr/>
          <p:nvPr/>
        </p:nvSpPr>
        <p:spPr>
          <a:xfrm rot="16200000">
            <a:off x="1538211" y="3179924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90" name="object 309">
            <a:extLst>
              <a:ext uri="{FF2B5EF4-FFF2-40B4-BE49-F238E27FC236}">
                <a16:creationId xmlns:a16="http://schemas.microsoft.com/office/drawing/2014/main" id="{ABC2A969-1053-8304-C693-4F5D1D620F80}"/>
              </a:ext>
            </a:extLst>
          </p:cNvPr>
          <p:cNvSpPr/>
          <p:nvPr/>
        </p:nvSpPr>
        <p:spPr>
          <a:xfrm rot="16200000">
            <a:off x="1538211" y="3179924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91" name="object 100">
            <a:extLst>
              <a:ext uri="{FF2B5EF4-FFF2-40B4-BE49-F238E27FC236}">
                <a16:creationId xmlns:a16="http://schemas.microsoft.com/office/drawing/2014/main" id="{255C1FC4-8AC2-F9C2-478E-F8087376CF29}"/>
              </a:ext>
            </a:extLst>
          </p:cNvPr>
          <p:cNvSpPr/>
          <p:nvPr/>
        </p:nvSpPr>
        <p:spPr>
          <a:xfrm>
            <a:off x="1528686" y="3148968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92" name="object 309">
            <a:extLst>
              <a:ext uri="{FF2B5EF4-FFF2-40B4-BE49-F238E27FC236}">
                <a16:creationId xmlns:a16="http://schemas.microsoft.com/office/drawing/2014/main" id="{EA684BF8-40AF-1A93-3050-2FEFF5479F20}"/>
              </a:ext>
            </a:extLst>
          </p:cNvPr>
          <p:cNvSpPr/>
          <p:nvPr/>
        </p:nvSpPr>
        <p:spPr>
          <a:xfrm>
            <a:off x="1528686" y="3148968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93" name="object 100">
            <a:extLst>
              <a:ext uri="{FF2B5EF4-FFF2-40B4-BE49-F238E27FC236}">
                <a16:creationId xmlns:a16="http://schemas.microsoft.com/office/drawing/2014/main" id="{097ACD8C-046A-70EC-5C45-01B7B8AC48AF}"/>
              </a:ext>
            </a:extLst>
          </p:cNvPr>
          <p:cNvSpPr/>
          <p:nvPr/>
        </p:nvSpPr>
        <p:spPr>
          <a:xfrm rot="16200000">
            <a:off x="1528686" y="3151349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94" name="object 309">
            <a:extLst>
              <a:ext uri="{FF2B5EF4-FFF2-40B4-BE49-F238E27FC236}">
                <a16:creationId xmlns:a16="http://schemas.microsoft.com/office/drawing/2014/main" id="{359FAFCA-940B-6ADE-6401-41EE489FC785}"/>
              </a:ext>
            </a:extLst>
          </p:cNvPr>
          <p:cNvSpPr/>
          <p:nvPr/>
        </p:nvSpPr>
        <p:spPr>
          <a:xfrm rot="16200000">
            <a:off x="1528686" y="3151349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95" name="object 100">
            <a:extLst>
              <a:ext uri="{FF2B5EF4-FFF2-40B4-BE49-F238E27FC236}">
                <a16:creationId xmlns:a16="http://schemas.microsoft.com/office/drawing/2014/main" id="{F7935563-A05C-7C3A-810B-DF416C060028}"/>
              </a:ext>
            </a:extLst>
          </p:cNvPr>
          <p:cNvSpPr/>
          <p:nvPr/>
        </p:nvSpPr>
        <p:spPr>
          <a:xfrm>
            <a:off x="1514398" y="3129918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96" name="object 309">
            <a:extLst>
              <a:ext uri="{FF2B5EF4-FFF2-40B4-BE49-F238E27FC236}">
                <a16:creationId xmlns:a16="http://schemas.microsoft.com/office/drawing/2014/main" id="{6D754961-FF7A-86FA-FD31-945C421CD59B}"/>
              </a:ext>
            </a:extLst>
          </p:cNvPr>
          <p:cNvSpPr/>
          <p:nvPr/>
        </p:nvSpPr>
        <p:spPr>
          <a:xfrm>
            <a:off x="1514398" y="3129918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97" name="object 100">
            <a:extLst>
              <a:ext uri="{FF2B5EF4-FFF2-40B4-BE49-F238E27FC236}">
                <a16:creationId xmlns:a16="http://schemas.microsoft.com/office/drawing/2014/main" id="{B42E2639-1947-B7AC-9368-5695C3CE746D}"/>
              </a:ext>
            </a:extLst>
          </p:cNvPr>
          <p:cNvSpPr/>
          <p:nvPr/>
        </p:nvSpPr>
        <p:spPr>
          <a:xfrm rot="16200000">
            <a:off x="1514398" y="3132299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98" name="object 309">
            <a:extLst>
              <a:ext uri="{FF2B5EF4-FFF2-40B4-BE49-F238E27FC236}">
                <a16:creationId xmlns:a16="http://schemas.microsoft.com/office/drawing/2014/main" id="{6C9419D3-286B-B8AF-720F-663FB4D16C70}"/>
              </a:ext>
            </a:extLst>
          </p:cNvPr>
          <p:cNvSpPr/>
          <p:nvPr/>
        </p:nvSpPr>
        <p:spPr>
          <a:xfrm rot="16200000">
            <a:off x="1514398" y="3132299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99" name="object 100">
            <a:extLst>
              <a:ext uri="{FF2B5EF4-FFF2-40B4-BE49-F238E27FC236}">
                <a16:creationId xmlns:a16="http://schemas.microsoft.com/office/drawing/2014/main" id="{56BCFF26-ED7D-7823-34F1-07D1A85B2C30}"/>
              </a:ext>
            </a:extLst>
          </p:cNvPr>
          <p:cNvSpPr/>
          <p:nvPr/>
        </p:nvSpPr>
        <p:spPr>
          <a:xfrm>
            <a:off x="1507255" y="3103725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00" name="object 309">
            <a:extLst>
              <a:ext uri="{FF2B5EF4-FFF2-40B4-BE49-F238E27FC236}">
                <a16:creationId xmlns:a16="http://schemas.microsoft.com/office/drawing/2014/main" id="{392CDD34-8BA0-F22A-DB5C-B17C4AC065E9}"/>
              </a:ext>
            </a:extLst>
          </p:cNvPr>
          <p:cNvSpPr/>
          <p:nvPr/>
        </p:nvSpPr>
        <p:spPr>
          <a:xfrm>
            <a:off x="1507255" y="3103725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01" name="object 100">
            <a:extLst>
              <a:ext uri="{FF2B5EF4-FFF2-40B4-BE49-F238E27FC236}">
                <a16:creationId xmlns:a16="http://schemas.microsoft.com/office/drawing/2014/main" id="{A33645F5-0EB1-318B-1060-D6B1ADA7E271}"/>
              </a:ext>
            </a:extLst>
          </p:cNvPr>
          <p:cNvSpPr/>
          <p:nvPr/>
        </p:nvSpPr>
        <p:spPr>
          <a:xfrm rot="16200000">
            <a:off x="1507255" y="3106106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02" name="object 309">
            <a:extLst>
              <a:ext uri="{FF2B5EF4-FFF2-40B4-BE49-F238E27FC236}">
                <a16:creationId xmlns:a16="http://schemas.microsoft.com/office/drawing/2014/main" id="{942F7D6C-D113-D343-3C66-8F4F9FB51EFD}"/>
              </a:ext>
            </a:extLst>
          </p:cNvPr>
          <p:cNvSpPr/>
          <p:nvPr/>
        </p:nvSpPr>
        <p:spPr>
          <a:xfrm rot="16200000">
            <a:off x="1507255" y="3106106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03" name="object 100">
            <a:extLst>
              <a:ext uri="{FF2B5EF4-FFF2-40B4-BE49-F238E27FC236}">
                <a16:creationId xmlns:a16="http://schemas.microsoft.com/office/drawing/2014/main" id="{962C9B03-5EC1-6175-3205-D74910851855}"/>
              </a:ext>
            </a:extLst>
          </p:cNvPr>
          <p:cNvSpPr/>
          <p:nvPr/>
        </p:nvSpPr>
        <p:spPr>
          <a:xfrm>
            <a:off x="1502493" y="3056100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04" name="object 309">
            <a:extLst>
              <a:ext uri="{FF2B5EF4-FFF2-40B4-BE49-F238E27FC236}">
                <a16:creationId xmlns:a16="http://schemas.microsoft.com/office/drawing/2014/main" id="{000A00A8-7339-7D5B-3063-3035103B16A9}"/>
              </a:ext>
            </a:extLst>
          </p:cNvPr>
          <p:cNvSpPr/>
          <p:nvPr/>
        </p:nvSpPr>
        <p:spPr>
          <a:xfrm>
            <a:off x="1502493" y="3056100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05" name="object 100">
            <a:extLst>
              <a:ext uri="{FF2B5EF4-FFF2-40B4-BE49-F238E27FC236}">
                <a16:creationId xmlns:a16="http://schemas.microsoft.com/office/drawing/2014/main" id="{3741D2A8-427C-274E-2872-8C4D5C31D561}"/>
              </a:ext>
            </a:extLst>
          </p:cNvPr>
          <p:cNvSpPr/>
          <p:nvPr/>
        </p:nvSpPr>
        <p:spPr>
          <a:xfrm rot="16200000">
            <a:off x="1502493" y="3058481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06" name="object 309">
            <a:extLst>
              <a:ext uri="{FF2B5EF4-FFF2-40B4-BE49-F238E27FC236}">
                <a16:creationId xmlns:a16="http://schemas.microsoft.com/office/drawing/2014/main" id="{ED35C929-1F85-A553-F805-B0F6CDFBD12F}"/>
              </a:ext>
            </a:extLst>
          </p:cNvPr>
          <p:cNvSpPr/>
          <p:nvPr/>
        </p:nvSpPr>
        <p:spPr>
          <a:xfrm rot="16200000">
            <a:off x="1502493" y="3058481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07" name="object 100">
            <a:extLst>
              <a:ext uri="{FF2B5EF4-FFF2-40B4-BE49-F238E27FC236}">
                <a16:creationId xmlns:a16="http://schemas.microsoft.com/office/drawing/2014/main" id="{D76F990B-99D8-1853-D214-E1E2AAAA5D94}"/>
              </a:ext>
            </a:extLst>
          </p:cNvPr>
          <p:cNvSpPr/>
          <p:nvPr/>
        </p:nvSpPr>
        <p:spPr>
          <a:xfrm>
            <a:off x="1502493" y="3048956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08" name="object 309">
            <a:extLst>
              <a:ext uri="{FF2B5EF4-FFF2-40B4-BE49-F238E27FC236}">
                <a16:creationId xmlns:a16="http://schemas.microsoft.com/office/drawing/2014/main" id="{BD5B4416-C002-150C-EB31-6A0093103CF4}"/>
              </a:ext>
            </a:extLst>
          </p:cNvPr>
          <p:cNvSpPr/>
          <p:nvPr/>
        </p:nvSpPr>
        <p:spPr>
          <a:xfrm>
            <a:off x="1502493" y="3048956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09" name="object 100">
            <a:extLst>
              <a:ext uri="{FF2B5EF4-FFF2-40B4-BE49-F238E27FC236}">
                <a16:creationId xmlns:a16="http://schemas.microsoft.com/office/drawing/2014/main" id="{2910223D-CFFB-BDE5-121A-19F9221BA43F}"/>
              </a:ext>
            </a:extLst>
          </p:cNvPr>
          <p:cNvSpPr/>
          <p:nvPr/>
        </p:nvSpPr>
        <p:spPr>
          <a:xfrm rot="16200000">
            <a:off x="1502493" y="3051337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10" name="object 309">
            <a:extLst>
              <a:ext uri="{FF2B5EF4-FFF2-40B4-BE49-F238E27FC236}">
                <a16:creationId xmlns:a16="http://schemas.microsoft.com/office/drawing/2014/main" id="{675796AC-340E-ED84-EE6B-6C2C564F59A9}"/>
              </a:ext>
            </a:extLst>
          </p:cNvPr>
          <p:cNvSpPr/>
          <p:nvPr/>
        </p:nvSpPr>
        <p:spPr>
          <a:xfrm rot="16200000">
            <a:off x="1502493" y="3051337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11" name="object 100">
            <a:extLst>
              <a:ext uri="{FF2B5EF4-FFF2-40B4-BE49-F238E27FC236}">
                <a16:creationId xmlns:a16="http://schemas.microsoft.com/office/drawing/2014/main" id="{C401D8FF-AEA3-CEC4-99F4-0A3E3AB9F961}"/>
              </a:ext>
            </a:extLst>
          </p:cNvPr>
          <p:cNvSpPr/>
          <p:nvPr/>
        </p:nvSpPr>
        <p:spPr>
          <a:xfrm>
            <a:off x="1502493" y="3041812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12" name="object 309">
            <a:extLst>
              <a:ext uri="{FF2B5EF4-FFF2-40B4-BE49-F238E27FC236}">
                <a16:creationId xmlns:a16="http://schemas.microsoft.com/office/drawing/2014/main" id="{EEBDFDA0-7CCB-33C8-6C01-772094576510}"/>
              </a:ext>
            </a:extLst>
          </p:cNvPr>
          <p:cNvSpPr/>
          <p:nvPr/>
        </p:nvSpPr>
        <p:spPr>
          <a:xfrm>
            <a:off x="1502493" y="3041812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13" name="object 100">
            <a:extLst>
              <a:ext uri="{FF2B5EF4-FFF2-40B4-BE49-F238E27FC236}">
                <a16:creationId xmlns:a16="http://schemas.microsoft.com/office/drawing/2014/main" id="{4F51C9E7-25B8-03E4-6834-360CF369B07C}"/>
              </a:ext>
            </a:extLst>
          </p:cNvPr>
          <p:cNvSpPr/>
          <p:nvPr/>
        </p:nvSpPr>
        <p:spPr>
          <a:xfrm rot="16200000">
            <a:off x="1502493" y="3044193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14" name="object 309">
            <a:extLst>
              <a:ext uri="{FF2B5EF4-FFF2-40B4-BE49-F238E27FC236}">
                <a16:creationId xmlns:a16="http://schemas.microsoft.com/office/drawing/2014/main" id="{F7AE8C6E-E39C-360A-1A50-5F749FACA3C0}"/>
              </a:ext>
            </a:extLst>
          </p:cNvPr>
          <p:cNvSpPr/>
          <p:nvPr/>
        </p:nvSpPr>
        <p:spPr>
          <a:xfrm rot="16200000">
            <a:off x="1502493" y="3044193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15" name="object 100">
            <a:extLst>
              <a:ext uri="{FF2B5EF4-FFF2-40B4-BE49-F238E27FC236}">
                <a16:creationId xmlns:a16="http://schemas.microsoft.com/office/drawing/2014/main" id="{56F27DB4-2E17-FE77-0B4F-B3468F506B81}"/>
              </a:ext>
            </a:extLst>
          </p:cNvPr>
          <p:cNvSpPr/>
          <p:nvPr/>
        </p:nvSpPr>
        <p:spPr>
          <a:xfrm>
            <a:off x="1502493" y="3020381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16" name="object 309">
            <a:extLst>
              <a:ext uri="{FF2B5EF4-FFF2-40B4-BE49-F238E27FC236}">
                <a16:creationId xmlns:a16="http://schemas.microsoft.com/office/drawing/2014/main" id="{8B59A61E-5FC1-E1F5-38A0-DB835BD3E04C}"/>
              </a:ext>
            </a:extLst>
          </p:cNvPr>
          <p:cNvSpPr/>
          <p:nvPr/>
        </p:nvSpPr>
        <p:spPr>
          <a:xfrm>
            <a:off x="1502493" y="3020381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17" name="object 100">
            <a:extLst>
              <a:ext uri="{FF2B5EF4-FFF2-40B4-BE49-F238E27FC236}">
                <a16:creationId xmlns:a16="http://schemas.microsoft.com/office/drawing/2014/main" id="{BE986488-B491-7927-7DF6-B61888E5756C}"/>
              </a:ext>
            </a:extLst>
          </p:cNvPr>
          <p:cNvSpPr/>
          <p:nvPr/>
        </p:nvSpPr>
        <p:spPr>
          <a:xfrm rot="16200000">
            <a:off x="1502493" y="3022762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18" name="object 309">
            <a:extLst>
              <a:ext uri="{FF2B5EF4-FFF2-40B4-BE49-F238E27FC236}">
                <a16:creationId xmlns:a16="http://schemas.microsoft.com/office/drawing/2014/main" id="{01348635-DBF5-D244-A6CF-08D187C89D08}"/>
              </a:ext>
            </a:extLst>
          </p:cNvPr>
          <p:cNvSpPr/>
          <p:nvPr/>
        </p:nvSpPr>
        <p:spPr>
          <a:xfrm rot="16200000">
            <a:off x="1502493" y="3022762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19" name="object 100">
            <a:extLst>
              <a:ext uri="{FF2B5EF4-FFF2-40B4-BE49-F238E27FC236}">
                <a16:creationId xmlns:a16="http://schemas.microsoft.com/office/drawing/2014/main" id="{1F83E039-EA53-0FE5-1190-AE44A3A61E32}"/>
              </a:ext>
            </a:extLst>
          </p:cNvPr>
          <p:cNvSpPr/>
          <p:nvPr/>
        </p:nvSpPr>
        <p:spPr>
          <a:xfrm>
            <a:off x="1502493" y="2994187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20" name="object 309">
            <a:extLst>
              <a:ext uri="{FF2B5EF4-FFF2-40B4-BE49-F238E27FC236}">
                <a16:creationId xmlns:a16="http://schemas.microsoft.com/office/drawing/2014/main" id="{C92DCE22-505B-9252-6039-F160B3777027}"/>
              </a:ext>
            </a:extLst>
          </p:cNvPr>
          <p:cNvSpPr/>
          <p:nvPr/>
        </p:nvSpPr>
        <p:spPr>
          <a:xfrm>
            <a:off x="1502493" y="2994187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21" name="object 100">
            <a:extLst>
              <a:ext uri="{FF2B5EF4-FFF2-40B4-BE49-F238E27FC236}">
                <a16:creationId xmlns:a16="http://schemas.microsoft.com/office/drawing/2014/main" id="{1C18EAF7-9453-C24F-6C34-DB933AB7B757}"/>
              </a:ext>
            </a:extLst>
          </p:cNvPr>
          <p:cNvSpPr/>
          <p:nvPr/>
        </p:nvSpPr>
        <p:spPr>
          <a:xfrm rot="16200000">
            <a:off x="1502493" y="2996568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22" name="object 309">
            <a:extLst>
              <a:ext uri="{FF2B5EF4-FFF2-40B4-BE49-F238E27FC236}">
                <a16:creationId xmlns:a16="http://schemas.microsoft.com/office/drawing/2014/main" id="{2C9E1651-F999-539E-645C-96D73896E1A0}"/>
              </a:ext>
            </a:extLst>
          </p:cNvPr>
          <p:cNvSpPr/>
          <p:nvPr/>
        </p:nvSpPr>
        <p:spPr>
          <a:xfrm rot="16200000">
            <a:off x="1502493" y="2996568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23" name="object 100">
            <a:extLst>
              <a:ext uri="{FF2B5EF4-FFF2-40B4-BE49-F238E27FC236}">
                <a16:creationId xmlns:a16="http://schemas.microsoft.com/office/drawing/2014/main" id="{0FBC6CB4-0222-52CE-EB87-2F44BB0920BF}"/>
              </a:ext>
            </a:extLst>
          </p:cNvPr>
          <p:cNvSpPr/>
          <p:nvPr/>
        </p:nvSpPr>
        <p:spPr>
          <a:xfrm>
            <a:off x="1502493" y="2958468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24" name="object 309">
            <a:extLst>
              <a:ext uri="{FF2B5EF4-FFF2-40B4-BE49-F238E27FC236}">
                <a16:creationId xmlns:a16="http://schemas.microsoft.com/office/drawing/2014/main" id="{28CF46AC-EC57-E6A7-B7D8-F62EDECC0684}"/>
              </a:ext>
            </a:extLst>
          </p:cNvPr>
          <p:cNvSpPr/>
          <p:nvPr/>
        </p:nvSpPr>
        <p:spPr>
          <a:xfrm>
            <a:off x="1502493" y="2958468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25" name="object 100">
            <a:extLst>
              <a:ext uri="{FF2B5EF4-FFF2-40B4-BE49-F238E27FC236}">
                <a16:creationId xmlns:a16="http://schemas.microsoft.com/office/drawing/2014/main" id="{B7550566-99CD-D035-C810-7E0E71BC3AE9}"/>
              </a:ext>
            </a:extLst>
          </p:cNvPr>
          <p:cNvSpPr/>
          <p:nvPr/>
        </p:nvSpPr>
        <p:spPr>
          <a:xfrm rot="16200000">
            <a:off x="1502493" y="2960849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26" name="object 309">
            <a:extLst>
              <a:ext uri="{FF2B5EF4-FFF2-40B4-BE49-F238E27FC236}">
                <a16:creationId xmlns:a16="http://schemas.microsoft.com/office/drawing/2014/main" id="{35AA3F3D-E8DB-DB5F-D766-B403A34AA6E5}"/>
              </a:ext>
            </a:extLst>
          </p:cNvPr>
          <p:cNvSpPr/>
          <p:nvPr/>
        </p:nvSpPr>
        <p:spPr>
          <a:xfrm rot="16200000">
            <a:off x="1502493" y="2960849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27" name="object 100">
            <a:extLst>
              <a:ext uri="{FF2B5EF4-FFF2-40B4-BE49-F238E27FC236}">
                <a16:creationId xmlns:a16="http://schemas.microsoft.com/office/drawing/2014/main" id="{6ACFA81D-92F0-F4EC-10FA-E5C5CD12ABA1}"/>
              </a:ext>
            </a:extLst>
          </p:cNvPr>
          <p:cNvSpPr/>
          <p:nvPr/>
        </p:nvSpPr>
        <p:spPr>
          <a:xfrm>
            <a:off x="1488205" y="2913224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28" name="object 309">
            <a:extLst>
              <a:ext uri="{FF2B5EF4-FFF2-40B4-BE49-F238E27FC236}">
                <a16:creationId xmlns:a16="http://schemas.microsoft.com/office/drawing/2014/main" id="{FF341C80-83D6-46D7-45E7-DCFB2B0AE751}"/>
              </a:ext>
            </a:extLst>
          </p:cNvPr>
          <p:cNvSpPr/>
          <p:nvPr/>
        </p:nvSpPr>
        <p:spPr>
          <a:xfrm>
            <a:off x="1488205" y="2913224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29" name="object 100">
            <a:extLst>
              <a:ext uri="{FF2B5EF4-FFF2-40B4-BE49-F238E27FC236}">
                <a16:creationId xmlns:a16="http://schemas.microsoft.com/office/drawing/2014/main" id="{00AA3C99-1702-D855-6F4C-59C26B09B2C8}"/>
              </a:ext>
            </a:extLst>
          </p:cNvPr>
          <p:cNvSpPr/>
          <p:nvPr/>
        </p:nvSpPr>
        <p:spPr>
          <a:xfrm rot="16200000">
            <a:off x="1488205" y="2915605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30" name="object 309">
            <a:extLst>
              <a:ext uri="{FF2B5EF4-FFF2-40B4-BE49-F238E27FC236}">
                <a16:creationId xmlns:a16="http://schemas.microsoft.com/office/drawing/2014/main" id="{1B438ECD-6CBB-75C7-DD90-84AEB319F89B}"/>
              </a:ext>
            </a:extLst>
          </p:cNvPr>
          <p:cNvSpPr/>
          <p:nvPr/>
        </p:nvSpPr>
        <p:spPr>
          <a:xfrm rot="16200000">
            <a:off x="1488205" y="2915605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31" name="object 100">
            <a:extLst>
              <a:ext uri="{FF2B5EF4-FFF2-40B4-BE49-F238E27FC236}">
                <a16:creationId xmlns:a16="http://schemas.microsoft.com/office/drawing/2014/main" id="{1C0BC0A3-B062-A853-E712-8555F41E9B30}"/>
              </a:ext>
            </a:extLst>
          </p:cNvPr>
          <p:cNvSpPr/>
          <p:nvPr/>
        </p:nvSpPr>
        <p:spPr>
          <a:xfrm>
            <a:off x="1488205" y="2882267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32" name="object 309">
            <a:extLst>
              <a:ext uri="{FF2B5EF4-FFF2-40B4-BE49-F238E27FC236}">
                <a16:creationId xmlns:a16="http://schemas.microsoft.com/office/drawing/2014/main" id="{C9D9559D-B469-1193-E285-2801E815C532}"/>
              </a:ext>
            </a:extLst>
          </p:cNvPr>
          <p:cNvSpPr/>
          <p:nvPr/>
        </p:nvSpPr>
        <p:spPr>
          <a:xfrm>
            <a:off x="1488205" y="2882267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33" name="object 100">
            <a:extLst>
              <a:ext uri="{FF2B5EF4-FFF2-40B4-BE49-F238E27FC236}">
                <a16:creationId xmlns:a16="http://schemas.microsoft.com/office/drawing/2014/main" id="{6DD09B33-7B49-C8F5-1424-45D751448670}"/>
              </a:ext>
            </a:extLst>
          </p:cNvPr>
          <p:cNvSpPr/>
          <p:nvPr/>
        </p:nvSpPr>
        <p:spPr>
          <a:xfrm rot="16200000">
            <a:off x="1488205" y="2884648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34" name="object 309">
            <a:extLst>
              <a:ext uri="{FF2B5EF4-FFF2-40B4-BE49-F238E27FC236}">
                <a16:creationId xmlns:a16="http://schemas.microsoft.com/office/drawing/2014/main" id="{26B3A433-CA0B-95EF-1ABA-698F9C381394}"/>
              </a:ext>
            </a:extLst>
          </p:cNvPr>
          <p:cNvSpPr/>
          <p:nvPr/>
        </p:nvSpPr>
        <p:spPr>
          <a:xfrm rot="16200000">
            <a:off x="1488205" y="2884648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35" name="object 100">
            <a:extLst>
              <a:ext uri="{FF2B5EF4-FFF2-40B4-BE49-F238E27FC236}">
                <a16:creationId xmlns:a16="http://schemas.microsoft.com/office/drawing/2014/main" id="{EDB69D16-8901-27C9-98C2-64ACA518E385}"/>
              </a:ext>
            </a:extLst>
          </p:cNvPr>
          <p:cNvSpPr/>
          <p:nvPr/>
        </p:nvSpPr>
        <p:spPr>
          <a:xfrm>
            <a:off x="1488205" y="2844167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36" name="object 309">
            <a:extLst>
              <a:ext uri="{FF2B5EF4-FFF2-40B4-BE49-F238E27FC236}">
                <a16:creationId xmlns:a16="http://schemas.microsoft.com/office/drawing/2014/main" id="{54021699-D456-38A5-029E-341D8B57040E}"/>
              </a:ext>
            </a:extLst>
          </p:cNvPr>
          <p:cNvSpPr/>
          <p:nvPr/>
        </p:nvSpPr>
        <p:spPr>
          <a:xfrm>
            <a:off x="1488205" y="2844167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37" name="object 100">
            <a:extLst>
              <a:ext uri="{FF2B5EF4-FFF2-40B4-BE49-F238E27FC236}">
                <a16:creationId xmlns:a16="http://schemas.microsoft.com/office/drawing/2014/main" id="{A23E74AF-0F50-664F-E1B7-4B78CAF1775F}"/>
              </a:ext>
            </a:extLst>
          </p:cNvPr>
          <p:cNvSpPr/>
          <p:nvPr/>
        </p:nvSpPr>
        <p:spPr>
          <a:xfrm rot="16200000">
            <a:off x="1488205" y="2846548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38" name="object 309">
            <a:extLst>
              <a:ext uri="{FF2B5EF4-FFF2-40B4-BE49-F238E27FC236}">
                <a16:creationId xmlns:a16="http://schemas.microsoft.com/office/drawing/2014/main" id="{0E5311A1-E308-B4B7-80D8-A6682A03D5E4}"/>
              </a:ext>
            </a:extLst>
          </p:cNvPr>
          <p:cNvSpPr/>
          <p:nvPr/>
        </p:nvSpPr>
        <p:spPr>
          <a:xfrm rot="16200000">
            <a:off x="1488205" y="2846548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39" name="object 100">
            <a:extLst>
              <a:ext uri="{FF2B5EF4-FFF2-40B4-BE49-F238E27FC236}">
                <a16:creationId xmlns:a16="http://schemas.microsoft.com/office/drawing/2014/main" id="{8E715EB7-83AE-16BE-56CD-ADA4D4751BFE}"/>
              </a:ext>
            </a:extLst>
          </p:cNvPr>
          <p:cNvSpPr/>
          <p:nvPr/>
        </p:nvSpPr>
        <p:spPr>
          <a:xfrm>
            <a:off x="1459630" y="2670335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40" name="object 309">
            <a:extLst>
              <a:ext uri="{FF2B5EF4-FFF2-40B4-BE49-F238E27FC236}">
                <a16:creationId xmlns:a16="http://schemas.microsoft.com/office/drawing/2014/main" id="{5B66796B-7A56-9825-80F6-C20524845607}"/>
              </a:ext>
            </a:extLst>
          </p:cNvPr>
          <p:cNvSpPr/>
          <p:nvPr/>
        </p:nvSpPr>
        <p:spPr>
          <a:xfrm>
            <a:off x="1459630" y="2670335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41" name="object 100">
            <a:extLst>
              <a:ext uri="{FF2B5EF4-FFF2-40B4-BE49-F238E27FC236}">
                <a16:creationId xmlns:a16="http://schemas.microsoft.com/office/drawing/2014/main" id="{8B5A5040-4E64-6AFE-27BB-CBAD376319B9}"/>
              </a:ext>
            </a:extLst>
          </p:cNvPr>
          <p:cNvSpPr/>
          <p:nvPr/>
        </p:nvSpPr>
        <p:spPr>
          <a:xfrm rot="16200000">
            <a:off x="1459630" y="2672716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42" name="object 309">
            <a:extLst>
              <a:ext uri="{FF2B5EF4-FFF2-40B4-BE49-F238E27FC236}">
                <a16:creationId xmlns:a16="http://schemas.microsoft.com/office/drawing/2014/main" id="{4081045D-BC46-0953-5EFD-7B145A62D627}"/>
              </a:ext>
            </a:extLst>
          </p:cNvPr>
          <p:cNvSpPr/>
          <p:nvPr/>
        </p:nvSpPr>
        <p:spPr>
          <a:xfrm rot="16200000">
            <a:off x="1459630" y="2672716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43" name="object 100">
            <a:extLst>
              <a:ext uri="{FF2B5EF4-FFF2-40B4-BE49-F238E27FC236}">
                <a16:creationId xmlns:a16="http://schemas.microsoft.com/office/drawing/2014/main" id="{0A4B489B-4DC7-F4FA-623C-B741D4CBFC00}"/>
              </a:ext>
            </a:extLst>
          </p:cNvPr>
          <p:cNvSpPr/>
          <p:nvPr/>
        </p:nvSpPr>
        <p:spPr>
          <a:xfrm>
            <a:off x="1395336" y="2532223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44" name="object 309">
            <a:extLst>
              <a:ext uri="{FF2B5EF4-FFF2-40B4-BE49-F238E27FC236}">
                <a16:creationId xmlns:a16="http://schemas.microsoft.com/office/drawing/2014/main" id="{04061886-2F77-3147-50D9-E28382984224}"/>
              </a:ext>
            </a:extLst>
          </p:cNvPr>
          <p:cNvSpPr/>
          <p:nvPr/>
        </p:nvSpPr>
        <p:spPr>
          <a:xfrm>
            <a:off x="1395336" y="2532223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chemeClr val="accent3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45" name="object 100">
            <a:extLst>
              <a:ext uri="{FF2B5EF4-FFF2-40B4-BE49-F238E27FC236}">
                <a16:creationId xmlns:a16="http://schemas.microsoft.com/office/drawing/2014/main" id="{BBFE19EB-64E2-1054-24BA-A13A545692C4}"/>
              </a:ext>
            </a:extLst>
          </p:cNvPr>
          <p:cNvSpPr/>
          <p:nvPr/>
        </p:nvSpPr>
        <p:spPr>
          <a:xfrm rot="16200000">
            <a:off x="1395336" y="2534604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9D9C9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46" name="object 309">
            <a:extLst>
              <a:ext uri="{FF2B5EF4-FFF2-40B4-BE49-F238E27FC236}">
                <a16:creationId xmlns:a16="http://schemas.microsoft.com/office/drawing/2014/main" id="{2A3841ED-314F-DF28-77E7-D4EFCC9ECA42}"/>
              </a:ext>
            </a:extLst>
          </p:cNvPr>
          <p:cNvSpPr/>
          <p:nvPr/>
        </p:nvSpPr>
        <p:spPr>
          <a:xfrm rot="16200000">
            <a:off x="1395336" y="2534604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chemeClr val="accent3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47" name="object 100">
            <a:extLst>
              <a:ext uri="{FF2B5EF4-FFF2-40B4-BE49-F238E27FC236}">
                <a16:creationId xmlns:a16="http://schemas.microsoft.com/office/drawing/2014/main" id="{1DC0B051-38DA-E4B8-42B9-C1F5AED573C1}"/>
              </a:ext>
            </a:extLst>
          </p:cNvPr>
          <p:cNvSpPr/>
          <p:nvPr/>
        </p:nvSpPr>
        <p:spPr>
          <a:xfrm>
            <a:off x="1533449" y="2710817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48" name="object 309">
            <a:extLst>
              <a:ext uri="{FF2B5EF4-FFF2-40B4-BE49-F238E27FC236}">
                <a16:creationId xmlns:a16="http://schemas.microsoft.com/office/drawing/2014/main" id="{E26C9E2A-A7A5-DFA9-B8FE-6564FE30E5AF}"/>
              </a:ext>
            </a:extLst>
          </p:cNvPr>
          <p:cNvSpPr/>
          <p:nvPr/>
        </p:nvSpPr>
        <p:spPr>
          <a:xfrm>
            <a:off x="1533449" y="2710817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49" name="object 100">
            <a:extLst>
              <a:ext uri="{FF2B5EF4-FFF2-40B4-BE49-F238E27FC236}">
                <a16:creationId xmlns:a16="http://schemas.microsoft.com/office/drawing/2014/main" id="{E3F3FEAB-5D46-2DBF-E9C4-E4989743AE98}"/>
              </a:ext>
            </a:extLst>
          </p:cNvPr>
          <p:cNvSpPr/>
          <p:nvPr/>
        </p:nvSpPr>
        <p:spPr>
          <a:xfrm rot="16200000">
            <a:off x="1533449" y="2713198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50" name="object 309">
            <a:extLst>
              <a:ext uri="{FF2B5EF4-FFF2-40B4-BE49-F238E27FC236}">
                <a16:creationId xmlns:a16="http://schemas.microsoft.com/office/drawing/2014/main" id="{3C44270A-779D-49BE-4242-DE66A42B46B4}"/>
              </a:ext>
            </a:extLst>
          </p:cNvPr>
          <p:cNvSpPr/>
          <p:nvPr/>
        </p:nvSpPr>
        <p:spPr>
          <a:xfrm rot="16200000">
            <a:off x="1533449" y="2713198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51" name="object 100">
            <a:extLst>
              <a:ext uri="{FF2B5EF4-FFF2-40B4-BE49-F238E27FC236}">
                <a16:creationId xmlns:a16="http://schemas.microsoft.com/office/drawing/2014/main" id="{699E6A7C-5D50-7298-DDB3-F28C8EE0D203}"/>
              </a:ext>
            </a:extLst>
          </p:cNvPr>
          <p:cNvSpPr/>
          <p:nvPr/>
        </p:nvSpPr>
        <p:spPr>
          <a:xfrm>
            <a:off x="1542974" y="2734629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52" name="object 309">
            <a:extLst>
              <a:ext uri="{FF2B5EF4-FFF2-40B4-BE49-F238E27FC236}">
                <a16:creationId xmlns:a16="http://schemas.microsoft.com/office/drawing/2014/main" id="{CB82918D-F34B-2F2D-CD48-2C01FCD7F747}"/>
              </a:ext>
            </a:extLst>
          </p:cNvPr>
          <p:cNvSpPr/>
          <p:nvPr/>
        </p:nvSpPr>
        <p:spPr>
          <a:xfrm>
            <a:off x="1542974" y="2734629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53" name="object 100">
            <a:extLst>
              <a:ext uri="{FF2B5EF4-FFF2-40B4-BE49-F238E27FC236}">
                <a16:creationId xmlns:a16="http://schemas.microsoft.com/office/drawing/2014/main" id="{67AF8907-041C-80A7-8EB3-40469219546F}"/>
              </a:ext>
            </a:extLst>
          </p:cNvPr>
          <p:cNvSpPr/>
          <p:nvPr/>
        </p:nvSpPr>
        <p:spPr>
          <a:xfrm rot="16200000">
            <a:off x="1542974" y="2737010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54" name="object 309">
            <a:extLst>
              <a:ext uri="{FF2B5EF4-FFF2-40B4-BE49-F238E27FC236}">
                <a16:creationId xmlns:a16="http://schemas.microsoft.com/office/drawing/2014/main" id="{550D408E-9228-A3EF-D5C0-CDA2E485EA18}"/>
              </a:ext>
            </a:extLst>
          </p:cNvPr>
          <p:cNvSpPr/>
          <p:nvPr/>
        </p:nvSpPr>
        <p:spPr>
          <a:xfrm rot="16200000">
            <a:off x="1542974" y="2737010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55" name="object 100">
            <a:extLst>
              <a:ext uri="{FF2B5EF4-FFF2-40B4-BE49-F238E27FC236}">
                <a16:creationId xmlns:a16="http://schemas.microsoft.com/office/drawing/2014/main" id="{F5BFBD73-BECA-692D-1D81-C408D313B71D}"/>
              </a:ext>
            </a:extLst>
          </p:cNvPr>
          <p:cNvSpPr/>
          <p:nvPr/>
        </p:nvSpPr>
        <p:spPr>
          <a:xfrm>
            <a:off x="1604887" y="2837023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56" name="object 309">
            <a:extLst>
              <a:ext uri="{FF2B5EF4-FFF2-40B4-BE49-F238E27FC236}">
                <a16:creationId xmlns:a16="http://schemas.microsoft.com/office/drawing/2014/main" id="{1E80099A-1021-1D61-B34F-C48E7D1B11BF}"/>
              </a:ext>
            </a:extLst>
          </p:cNvPr>
          <p:cNvSpPr/>
          <p:nvPr/>
        </p:nvSpPr>
        <p:spPr>
          <a:xfrm>
            <a:off x="1604887" y="2837023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57" name="object 100">
            <a:extLst>
              <a:ext uri="{FF2B5EF4-FFF2-40B4-BE49-F238E27FC236}">
                <a16:creationId xmlns:a16="http://schemas.microsoft.com/office/drawing/2014/main" id="{D2A0B177-3C1A-7EE0-A899-6F5B41990DC8}"/>
              </a:ext>
            </a:extLst>
          </p:cNvPr>
          <p:cNvSpPr/>
          <p:nvPr/>
        </p:nvSpPr>
        <p:spPr>
          <a:xfrm rot="16200000">
            <a:off x="1604887" y="2839404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58" name="object 309">
            <a:extLst>
              <a:ext uri="{FF2B5EF4-FFF2-40B4-BE49-F238E27FC236}">
                <a16:creationId xmlns:a16="http://schemas.microsoft.com/office/drawing/2014/main" id="{B23495EB-58B2-9744-C5C4-0316265B5728}"/>
              </a:ext>
            </a:extLst>
          </p:cNvPr>
          <p:cNvSpPr/>
          <p:nvPr/>
        </p:nvSpPr>
        <p:spPr>
          <a:xfrm rot="16200000">
            <a:off x="1604887" y="2839404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59" name="object 100">
            <a:extLst>
              <a:ext uri="{FF2B5EF4-FFF2-40B4-BE49-F238E27FC236}">
                <a16:creationId xmlns:a16="http://schemas.microsoft.com/office/drawing/2014/main" id="{FCB83DA7-8B22-DE3B-A161-CAA56422B819}"/>
              </a:ext>
            </a:extLst>
          </p:cNvPr>
          <p:cNvSpPr/>
          <p:nvPr/>
        </p:nvSpPr>
        <p:spPr>
          <a:xfrm>
            <a:off x="2326406" y="3429954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60" name="object 309">
            <a:extLst>
              <a:ext uri="{FF2B5EF4-FFF2-40B4-BE49-F238E27FC236}">
                <a16:creationId xmlns:a16="http://schemas.microsoft.com/office/drawing/2014/main" id="{8038497D-5A2B-3408-3DDB-C02DA8D82616}"/>
              </a:ext>
            </a:extLst>
          </p:cNvPr>
          <p:cNvSpPr/>
          <p:nvPr/>
        </p:nvSpPr>
        <p:spPr>
          <a:xfrm>
            <a:off x="2326406" y="3429954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61" name="object 100">
            <a:extLst>
              <a:ext uri="{FF2B5EF4-FFF2-40B4-BE49-F238E27FC236}">
                <a16:creationId xmlns:a16="http://schemas.microsoft.com/office/drawing/2014/main" id="{9CE952D0-2300-7526-F8FD-6915E1199577}"/>
              </a:ext>
            </a:extLst>
          </p:cNvPr>
          <p:cNvSpPr/>
          <p:nvPr/>
        </p:nvSpPr>
        <p:spPr>
          <a:xfrm rot="16200000">
            <a:off x="2326406" y="3432335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62" name="object 309">
            <a:extLst>
              <a:ext uri="{FF2B5EF4-FFF2-40B4-BE49-F238E27FC236}">
                <a16:creationId xmlns:a16="http://schemas.microsoft.com/office/drawing/2014/main" id="{D9BCADAC-104F-555F-48F6-79865F0672E5}"/>
              </a:ext>
            </a:extLst>
          </p:cNvPr>
          <p:cNvSpPr/>
          <p:nvPr/>
        </p:nvSpPr>
        <p:spPr>
          <a:xfrm rot="16200000">
            <a:off x="2326406" y="3432335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63" name="object 100">
            <a:extLst>
              <a:ext uri="{FF2B5EF4-FFF2-40B4-BE49-F238E27FC236}">
                <a16:creationId xmlns:a16="http://schemas.microsoft.com/office/drawing/2014/main" id="{490B4C6B-A1BD-2526-6E2F-0245EE005A6E}"/>
              </a:ext>
            </a:extLst>
          </p:cNvPr>
          <p:cNvSpPr/>
          <p:nvPr/>
        </p:nvSpPr>
        <p:spPr>
          <a:xfrm>
            <a:off x="2678831" y="3510917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64" name="object 309">
            <a:extLst>
              <a:ext uri="{FF2B5EF4-FFF2-40B4-BE49-F238E27FC236}">
                <a16:creationId xmlns:a16="http://schemas.microsoft.com/office/drawing/2014/main" id="{8D0CE6B8-266F-F238-0B84-B2B5BD4A29B1}"/>
              </a:ext>
            </a:extLst>
          </p:cNvPr>
          <p:cNvSpPr/>
          <p:nvPr/>
        </p:nvSpPr>
        <p:spPr>
          <a:xfrm>
            <a:off x="2678831" y="3510917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65" name="object 100">
            <a:extLst>
              <a:ext uri="{FF2B5EF4-FFF2-40B4-BE49-F238E27FC236}">
                <a16:creationId xmlns:a16="http://schemas.microsoft.com/office/drawing/2014/main" id="{AE0831E5-BC98-53D9-3F80-9F99F5ECC2AC}"/>
              </a:ext>
            </a:extLst>
          </p:cNvPr>
          <p:cNvSpPr/>
          <p:nvPr/>
        </p:nvSpPr>
        <p:spPr>
          <a:xfrm rot="16200000">
            <a:off x="2678831" y="3513298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66" name="object 309">
            <a:extLst>
              <a:ext uri="{FF2B5EF4-FFF2-40B4-BE49-F238E27FC236}">
                <a16:creationId xmlns:a16="http://schemas.microsoft.com/office/drawing/2014/main" id="{C0E08A03-8236-4FF1-2D7B-63668B5D1FA1}"/>
              </a:ext>
            </a:extLst>
          </p:cNvPr>
          <p:cNvSpPr/>
          <p:nvPr/>
        </p:nvSpPr>
        <p:spPr>
          <a:xfrm rot="16200000">
            <a:off x="2678831" y="3513298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67" name="object 100">
            <a:extLst>
              <a:ext uri="{FF2B5EF4-FFF2-40B4-BE49-F238E27FC236}">
                <a16:creationId xmlns:a16="http://schemas.microsoft.com/office/drawing/2014/main" id="{721E3892-0790-0F5F-7CB0-F60F2626D3BA}"/>
              </a:ext>
            </a:extLst>
          </p:cNvPr>
          <p:cNvSpPr/>
          <p:nvPr/>
        </p:nvSpPr>
        <p:spPr>
          <a:xfrm>
            <a:off x="2712169" y="3510917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68" name="object 309">
            <a:extLst>
              <a:ext uri="{FF2B5EF4-FFF2-40B4-BE49-F238E27FC236}">
                <a16:creationId xmlns:a16="http://schemas.microsoft.com/office/drawing/2014/main" id="{0D629162-0CD1-88EF-DE07-7043ABEFE91E}"/>
              </a:ext>
            </a:extLst>
          </p:cNvPr>
          <p:cNvSpPr/>
          <p:nvPr/>
        </p:nvSpPr>
        <p:spPr>
          <a:xfrm>
            <a:off x="2712169" y="3510917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69" name="object 100">
            <a:extLst>
              <a:ext uri="{FF2B5EF4-FFF2-40B4-BE49-F238E27FC236}">
                <a16:creationId xmlns:a16="http://schemas.microsoft.com/office/drawing/2014/main" id="{43F22B63-B4A3-C3D1-3A51-98279B0135A2}"/>
              </a:ext>
            </a:extLst>
          </p:cNvPr>
          <p:cNvSpPr/>
          <p:nvPr/>
        </p:nvSpPr>
        <p:spPr>
          <a:xfrm rot="16200000">
            <a:off x="2712169" y="3513298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70" name="object 309">
            <a:extLst>
              <a:ext uri="{FF2B5EF4-FFF2-40B4-BE49-F238E27FC236}">
                <a16:creationId xmlns:a16="http://schemas.microsoft.com/office/drawing/2014/main" id="{1232AABA-0E35-2085-78CC-8E026AEF7FEE}"/>
              </a:ext>
            </a:extLst>
          </p:cNvPr>
          <p:cNvSpPr/>
          <p:nvPr/>
        </p:nvSpPr>
        <p:spPr>
          <a:xfrm rot="16200000">
            <a:off x="2712169" y="3513298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71" name="object 100">
            <a:extLst>
              <a:ext uri="{FF2B5EF4-FFF2-40B4-BE49-F238E27FC236}">
                <a16:creationId xmlns:a16="http://schemas.microsoft.com/office/drawing/2014/main" id="{26465383-F192-1EB6-5C20-D1D5AD769BE7}"/>
              </a:ext>
            </a:extLst>
          </p:cNvPr>
          <p:cNvSpPr/>
          <p:nvPr/>
        </p:nvSpPr>
        <p:spPr>
          <a:xfrm>
            <a:off x="2819326" y="3532348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72" name="object 309">
            <a:extLst>
              <a:ext uri="{FF2B5EF4-FFF2-40B4-BE49-F238E27FC236}">
                <a16:creationId xmlns:a16="http://schemas.microsoft.com/office/drawing/2014/main" id="{957C18DB-44BA-68A7-3551-E1D6A4902AB8}"/>
              </a:ext>
            </a:extLst>
          </p:cNvPr>
          <p:cNvSpPr/>
          <p:nvPr/>
        </p:nvSpPr>
        <p:spPr>
          <a:xfrm>
            <a:off x="2819326" y="3532348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73" name="object 100">
            <a:extLst>
              <a:ext uri="{FF2B5EF4-FFF2-40B4-BE49-F238E27FC236}">
                <a16:creationId xmlns:a16="http://schemas.microsoft.com/office/drawing/2014/main" id="{BBA7AD8D-521D-8DFF-70F2-475FC96BE356}"/>
              </a:ext>
            </a:extLst>
          </p:cNvPr>
          <p:cNvSpPr/>
          <p:nvPr/>
        </p:nvSpPr>
        <p:spPr>
          <a:xfrm rot="16200000">
            <a:off x="2819326" y="3534729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74" name="object 309">
            <a:extLst>
              <a:ext uri="{FF2B5EF4-FFF2-40B4-BE49-F238E27FC236}">
                <a16:creationId xmlns:a16="http://schemas.microsoft.com/office/drawing/2014/main" id="{DB1FC59C-4862-09A4-580C-2034CB2F3220}"/>
              </a:ext>
            </a:extLst>
          </p:cNvPr>
          <p:cNvSpPr/>
          <p:nvPr/>
        </p:nvSpPr>
        <p:spPr>
          <a:xfrm rot="16200000">
            <a:off x="2819326" y="3534729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75" name="object 100">
            <a:extLst>
              <a:ext uri="{FF2B5EF4-FFF2-40B4-BE49-F238E27FC236}">
                <a16:creationId xmlns:a16="http://schemas.microsoft.com/office/drawing/2014/main" id="{DE4D1850-CC1A-7845-6918-8C2100BE1627}"/>
              </a:ext>
            </a:extLst>
          </p:cNvPr>
          <p:cNvSpPr/>
          <p:nvPr/>
        </p:nvSpPr>
        <p:spPr>
          <a:xfrm>
            <a:off x="3021732" y="3532348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76" name="object 309">
            <a:extLst>
              <a:ext uri="{FF2B5EF4-FFF2-40B4-BE49-F238E27FC236}">
                <a16:creationId xmlns:a16="http://schemas.microsoft.com/office/drawing/2014/main" id="{FC9271D3-6118-0D52-BE96-6935C9425212}"/>
              </a:ext>
            </a:extLst>
          </p:cNvPr>
          <p:cNvSpPr/>
          <p:nvPr/>
        </p:nvSpPr>
        <p:spPr>
          <a:xfrm>
            <a:off x="3021732" y="3532348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77" name="object 100">
            <a:extLst>
              <a:ext uri="{FF2B5EF4-FFF2-40B4-BE49-F238E27FC236}">
                <a16:creationId xmlns:a16="http://schemas.microsoft.com/office/drawing/2014/main" id="{5469F53C-DEA0-F6D0-4E63-04ACFA67EED1}"/>
              </a:ext>
            </a:extLst>
          </p:cNvPr>
          <p:cNvSpPr/>
          <p:nvPr/>
        </p:nvSpPr>
        <p:spPr>
          <a:xfrm rot="16200000">
            <a:off x="3021732" y="3534729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78" name="object 309">
            <a:extLst>
              <a:ext uri="{FF2B5EF4-FFF2-40B4-BE49-F238E27FC236}">
                <a16:creationId xmlns:a16="http://schemas.microsoft.com/office/drawing/2014/main" id="{7212FC49-5B9B-A9B3-E324-72997A83B3D9}"/>
              </a:ext>
            </a:extLst>
          </p:cNvPr>
          <p:cNvSpPr/>
          <p:nvPr/>
        </p:nvSpPr>
        <p:spPr>
          <a:xfrm rot="16200000">
            <a:off x="3021732" y="3534729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79" name="object 100">
            <a:extLst>
              <a:ext uri="{FF2B5EF4-FFF2-40B4-BE49-F238E27FC236}">
                <a16:creationId xmlns:a16="http://schemas.microsoft.com/office/drawing/2014/main" id="{8955A12C-98B7-1620-9BB4-28A5A0B40502}"/>
              </a:ext>
            </a:extLst>
          </p:cNvPr>
          <p:cNvSpPr/>
          <p:nvPr/>
        </p:nvSpPr>
        <p:spPr>
          <a:xfrm>
            <a:off x="3036019" y="3532348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80" name="object 309">
            <a:extLst>
              <a:ext uri="{FF2B5EF4-FFF2-40B4-BE49-F238E27FC236}">
                <a16:creationId xmlns:a16="http://schemas.microsoft.com/office/drawing/2014/main" id="{7EBB776E-5530-F167-1F2A-59B62F42DA01}"/>
              </a:ext>
            </a:extLst>
          </p:cNvPr>
          <p:cNvSpPr/>
          <p:nvPr/>
        </p:nvSpPr>
        <p:spPr>
          <a:xfrm>
            <a:off x="3036019" y="3532348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81" name="object 100">
            <a:extLst>
              <a:ext uri="{FF2B5EF4-FFF2-40B4-BE49-F238E27FC236}">
                <a16:creationId xmlns:a16="http://schemas.microsoft.com/office/drawing/2014/main" id="{A3737A8D-2CA1-1CC5-259E-2A109AA826DD}"/>
              </a:ext>
            </a:extLst>
          </p:cNvPr>
          <p:cNvSpPr/>
          <p:nvPr/>
        </p:nvSpPr>
        <p:spPr>
          <a:xfrm rot="16200000">
            <a:off x="3036019" y="3534729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82" name="object 309">
            <a:extLst>
              <a:ext uri="{FF2B5EF4-FFF2-40B4-BE49-F238E27FC236}">
                <a16:creationId xmlns:a16="http://schemas.microsoft.com/office/drawing/2014/main" id="{793AA9CE-83D2-D4E9-9FCB-015FEDF4389E}"/>
              </a:ext>
            </a:extLst>
          </p:cNvPr>
          <p:cNvSpPr/>
          <p:nvPr/>
        </p:nvSpPr>
        <p:spPr>
          <a:xfrm rot="16200000">
            <a:off x="3036019" y="3534729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83" name="object 100">
            <a:extLst>
              <a:ext uri="{FF2B5EF4-FFF2-40B4-BE49-F238E27FC236}">
                <a16:creationId xmlns:a16="http://schemas.microsoft.com/office/drawing/2014/main" id="{B45C3083-295F-CAC3-F4ED-50CC012DFA20}"/>
              </a:ext>
            </a:extLst>
          </p:cNvPr>
          <p:cNvSpPr/>
          <p:nvPr/>
        </p:nvSpPr>
        <p:spPr>
          <a:xfrm>
            <a:off x="3074119" y="3532348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84" name="object 309">
            <a:extLst>
              <a:ext uri="{FF2B5EF4-FFF2-40B4-BE49-F238E27FC236}">
                <a16:creationId xmlns:a16="http://schemas.microsoft.com/office/drawing/2014/main" id="{C63D047E-3FD9-DD3D-D1C7-0B82D4942BC2}"/>
              </a:ext>
            </a:extLst>
          </p:cNvPr>
          <p:cNvSpPr/>
          <p:nvPr/>
        </p:nvSpPr>
        <p:spPr>
          <a:xfrm>
            <a:off x="3074119" y="3532348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85" name="object 100">
            <a:extLst>
              <a:ext uri="{FF2B5EF4-FFF2-40B4-BE49-F238E27FC236}">
                <a16:creationId xmlns:a16="http://schemas.microsoft.com/office/drawing/2014/main" id="{1AB977C4-77D5-14DC-9DC1-F62F956351A1}"/>
              </a:ext>
            </a:extLst>
          </p:cNvPr>
          <p:cNvSpPr/>
          <p:nvPr/>
        </p:nvSpPr>
        <p:spPr>
          <a:xfrm rot="16200000">
            <a:off x="3074119" y="3534729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86" name="object 309">
            <a:extLst>
              <a:ext uri="{FF2B5EF4-FFF2-40B4-BE49-F238E27FC236}">
                <a16:creationId xmlns:a16="http://schemas.microsoft.com/office/drawing/2014/main" id="{724D546E-DF19-7785-31F3-F4796738C9BD}"/>
              </a:ext>
            </a:extLst>
          </p:cNvPr>
          <p:cNvSpPr/>
          <p:nvPr/>
        </p:nvSpPr>
        <p:spPr>
          <a:xfrm rot="16200000">
            <a:off x="3074119" y="3534729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87" name="object 100">
            <a:extLst>
              <a:ext uri="{FF2B5EF4-FFF2-40B4-BE49-F238E27FC236}">
                <a16:creationId xmlns:a16="http://schemas.microsoft.com/office/drawing/2014/main" id="{551A62DF-1E87-6826-21C1-7B437140321E}"/>
              </a:ext>
            </a:extLst>
          </p:cNvPr>
          <p:cNvSpPr/>
          <p:nvPr/>
        </p:nvSpPr>
        <p:spPr>
          <a:xfrm>
            <a:off x="3409875" y="3558541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88" name="object 309">
            <a:extLst>
              <a:ext uri="{FF2B5EF4-FFF2-40B4-BE49-F238E27FC236}">
                <a16:creationId xmlns:a16="http://schemas.microsoft.com/office/drawing/2014/main" id="{533158E1-E56E-1A0B-3EEE-09536CFE56AA}"/>
              </a:ext>
            </a:extLst>
          </p:cNvPr>
          <p:cNvSpPr/>
          <p:nvPr/>
        </p:nvSpPr>
        <p:spPr>
          <a:xfrm>
            <a:off x="3409875" y="3558541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89" name="object 100">
            <a:extLst>
              <a:ext uri="{FF2B5EF4-FFF2-40B4-BE49-F238E27FC236}">
                <a16:creationId xmlns:a16="http://schemas.microsoft.com/office/drawing/2014/main" id="{B7E1A3CF-9D8E-B015-970E-486333D22258}"/>
              </a:ext>
            </a:extLst>
          </p:cNvPr>
          <p:cNvSpPr/>
          <p:nvPr/>
        </p:nvSpPr>
        <p:spPr>
          <a:xfrm rot="16200000">
            <a:off x="3409875" y="3560922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90" name="object 309">
            <a:extLst>
              <a:ext uri="{FF2B5EF4-FFF2-40B4-BE49-F238E27FC236}">
                <a16:creationId xmlns:a16="http://schemas.microsoft.com/office/drawing/2014/main" id="{92F2ECBB-2E6A-502D-3642-498D8872979C}"/>
              </a:ext>
            </a:extLst>
          </p:cNvPr>
          <p:cNvSpPr/>
          <p:nvPr/>
        </p:nvSpPr>
        <p:spPr>
          <a:xfrm rot="16200000">
            <a:off x="3409875" y="3560922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91" name="object 100">
            <a:extLst>
              <a:ext uri="{FF2B5EF4-FFF2-40B4-BE49-F238E27FC236}">
                <a16:creationId xmlns:a16="http://schemas.microsoft.com/office/drawing/2014/main" id="{32D1DA91-F264-E0D6-BBAA-B7E354F82E5F}"/>
              </a:ext>
            </a:extLst>
          </p:cNvPr>
          <p:cNvSpPr/>
          <p:nvPr/>
        </p:nvSpPr>
        <p:spPr>
          <a:xfrm>
            <a:off x="3438450" y="3558541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92" name="object 309">
            <a:extLst>
              <a:ext uri="{FF2B5EF4-FFF2-40B4-BE49-F238E27FC236}">
                <a16:creationId xmlns:a16="http://schemas.microsoft.com/office/drawing/2014/main" id="{B9B3EFAC-61B4-E31F-04D6-59CB7CFA3A57}"/>
              </a:ext>
            </a:extLst>
          </p:cNvPr>
          <p:cNvSpPr/>
          <p:nvPr/>
        </p:nvSpPr>
        <p:spPr>
          <a:xfrm>
            <a:off x="3438450" y="3558541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93" name="object 100">
            <a:extLst>
              <a:ext uri="{FF2B5EF4-FFF2-40B4-BE49-F238E27FC236}">
                <a16:creationId xmlns:a16="http://schemas.microsoft.com/office/drawing/2014/main" id="{AE22E344-3DBD-E7FD-DF2D-B6D0E7A2476A}"/>
              </a:ext>
            </a:extLst>
          </p:cNvPr>
          <p:cNvSpPr/>
          <p:nvPr/>
        </p:nvSpPr>
        <p:spPr>
          <a:xfrm rot="16200000">
            <a:off x="3438450" y="3560922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94" name="object 309">
            <a:extLst>
              <a:ext uri="{FF2B5EF4-FFF2-40B4-BE49-F238E27FC236}">
                <a16:creationId xmlns:a16="http://schemas.microsoft.com/office/drawing/2014/main" id="{51F091F9-8A0C-93E7-C6B5-746A2349C03E}"/>
              </a:ext>
            </a:extLst>
          </p:cNvPr>
          <p:cNvSpPr/>
          <p:nvPr/>
        </p:nvSpPr>
        <p:spPr>
          <a:xfrm rot="16200000">
            <a:off x="3438450" y="3560922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95" name="object 100">
            <a:extLst>
              <a:ext uri="{FF2B5EF4-FFF2-40B4-BE49-F238E27FC236}">
                <a16:creationId xmlns:a16="http://schemas.microsoft.com/office/drawing/2014/main" id="{34654E45-EA74-51CB-9AB6-72B971D4C34D}"/>
              </a:ext>
            </a:extLst>
          </p:cNvPr>
          <p:cNvSpPr/>
          <p:nvPr/>
        </p:nvSpPr>
        <p:spPr>
          <a:xfrm>
            <a:off x="3569419" y="3558541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96" name="object 309">
            <a:extLst>
              <a:ext uri="{FF2B5EF4-FFF2-40B4-BE49-F238E27FC236}">
                <a16:creationId xmlns:a16="http://schemas.microsoft.com/office/drawing/2014/main" id="{8BEDB3F4-EE1E-0222-FFCD-117504FB42DC}"/>
              </a:ext>
            </a:extLst>
          </p:cNvPr>
          <p:cNvSpPr/>
          <p:nvPr/>
        </p:nvSpPr>
        <p:spPr>
          <a:xfrm>
            <a:off x="3569419" y="3558541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97" name="object 100">
            <a:extLst>
              <a:ext uri="{FF2B5EF4-FFF2-40B4-BE49-F238E27FC236}">
                <a16:creationId xmlns:a16="http://schemas.microsoft.com/office/drawing/2014/main" id="{E61F6427-E94A-188A-0856-6FF44880A359}"/>
              </a:ext>
            </a:extLst>
          </p:cNvPr>
          <p:cNvSpPr/>
          <p:nvPr/>
        </p:nvSpPr>
        <p:spPr>
          <a:xfrm rot="16200000">
            <a:off x="3569419" y="3560922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98" name="object 309">
            <a:extLst>
              <a:ext uri="{FF2B5EF4-FFF2-40B4-BE49-F238E27FC236}">
                <a16:creationId xmlns:a16="http://schemas.microsoft.com/office/drawing/2014/main" id="{691BC656-A4F6-4A5F-989D-A57531A85966}"/>
              </a:ext>
            </a:extLst>
          </p:cNvPr>
          <p:cNvSpPr/>
          <p:nvPr/>
        </p:nvSpPr>
        <p:spPr>
          <a:xfrm rot="16200000">
            <a:off x="3569419" y="3560922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99" name="object 100">
            <a:extLst>
              <a:ext uri="{FF2B5EF4-FFF2-40B4-BE49-F238E27FC236}">
                <a16:creationId xmlns:a16="http://schemas.microsoft.com/office/drawing/2014/main" id="{371634B2-CD70-0D9B-4644-5A66F23D8CD1}"/>
              </a:ext>
            </a:extLst>
          </p:cNvPr>
          <p:cNvSpPr/>
          <p:nvPr/>
        </p:nvSpPr>
        <p:spPr>
          <a:xfrm>
            <a:off x="3714675" y="3558541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00" name="object 309">
            <a:extLst>
              <a:ext uri="{FF2B5EF4-FFF2-40B4-BE49-F238E27FC236}">
                <a16:creationId xmlns:a16="http://schemas.microsoft.com/office/drawing/2014/main" id="{73433F08-8590-FB91-A7F3-B2D95AD699DC}"/>
              </a:ext>
            </a:extLst>
          </p:cNvPr>
          <p:cNvSpPr/>
          <p:nvPr/>
        </p:nvSpPr>
        <p:spPr>
          <a:xfrm>
            <a:off x="3714675" y="3558541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01" name="object 100">
            <a:extLst>
              <a:ext uri="{FF2B5EF4-FFF2-40B4-BE49-F238E27FC236}">
                <a16:creationId xmlns:a16="http://schemas.microsoft.com/office/drawing/2014/main" id="{91899D70-B4C8-0A6F-A274-0CCA17F32DC5}"/>
              </a:ext>
            </a:extLst>
          </p:cNvPr>
          <p:cNvSpPr/>
          <p:nvPr/>
        </p:nvSpPr>
        <p:spPr>
          <a:xfrm rot="16200000">
            <a:off x="3714675" y="3560922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02" name="object 309">
            <a:extLst>
              <a:ext uri="{FF2B5EF4-FFF2-40B4-BE49-F238E27FC236}">
                <a16:creationId xmlns:a16="http://schemas.microsoft.com/office/drawing/2014/main" id="{143B991C-7B75-10ED-BE50-2D92CC947228}"/>
              </a:ext>
            </a:extLst>
          </p:cNvPr>
          <p:cNvSpPr/>
          <p:nvPr/>
        </p:nvSpPr>
        <p:spPr>
          <a:xfrm rot="16200000">
            <a:off x="3714675" y="3560922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03" name="object 100">
            <a:extLst>
              <a:ext uri="{FF2B5EF4-FFF2-40B4-BE49-F238E27FC236}">
                <a16:creationId xmlns:a16="http://schemas.microsoft.com/office/drawing/2014/main" id="{0C6CD8D4-ACC7-DE43-4060-946FA461DC35}"/>
              </a:ext>
            </a:extLst>
          </p:cNvPr>
          <p:cNvSpPr/>
          <p:nvPr/>
        </p:nvSpPr>
        <p:spPr>
          <a:xfrm>
            <a:off x="3731343" y="3558541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04" name="object 309">
            <a:extLst>
              <a:ext uri="{FF2B5EF4-FFF2-40B4-BE49-F238E27FC236}">
                <a16:creationId xmlns:a16="http://schemas.microsoft.com/office/drawing/2014/main" id="{8B44D0FE-5F6E-E07F-A8A6-CC09D2D7EE4B}"/>
              </a:ext>
            </a:extLst>
          </p:cNvPr>
          <p:cNvSpPr/>
          <p:nvPr/>
        </p:nvSpPr>
        <p:spPr>
          <a:xfrm>
            <a:off x="3731343" y="3558541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05" name="object 100">
            <a:extLst>
              <a:ext uri="{FF2B5EF4-FFF2-40B4-BE49-F238E27FC236}">
                <a16:creationId xmlns:a16="http://schemas.microsoft.com/office/drawing/2014/main" id="{A57F783A-AD13-0644-5DCE-0F5803CC4DFB}"/>
              </a:ext>
            </a:extLst>
          </p:cNvPr>
          <p:cNvSpPr/>
          <p:nvPr/>
        </p:nvSpPr>
        <p:spPr>
          <a:xfrm rot="16200000">
            <a:off x="3731343" y="3560922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06" name="object 309">
            <a:extLst>
              <a:ext uri="{FF2B5EF4-FFF2-40B4-BE49-F238E27FC236}">
                <a16:creationId xmlns:a16="http://schemas.microsoft.com/office/drawing/2014/main" id="{6726FB51-ABAA-E871-C2B3-3D11D2D8ACEC}"/>
              </a:ext>
            </a:extLst>
          </p:cNvPr>
          <p:cNvSpPr/>
          <p:nvPr/>
        </p:nvSpPr>
        <p:spPr>
          <a:xfrm rot="16200000">
            <a:off x="3731343" y="3560922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07" name="object 100">
            <a:extLst>
              <a:ext uri="{FF2B5EF4-FFF2-40B4-BE49-F238E27FC236}">
                <a16:creationId xmlns:a16="http://schemas.microsoft.com/office/drawing/2014/main" id="{1C6CB3A8-7BED-E377-C4D8-BD676AED9FC4}"/>
              </a:ext>
            </a:extLst>
          </p:cNvPr>
          <p:cNvSpPr/>
          <p:nvPr/>
        </p:nvSpPr>
        <p:spPr>
          <a:xfrm>
            <a:off x="3759918" y="3558541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08" name="object 309">
            <a:extLst>
              <a:ext uri="{FF2B5EF4-FFF2-40B4-BE49-F238E27FC236}">
                <a16:creationId xmlns:a16="http://schemas.microsoft.com/office/drawing/2014/main" id="{4CBA0F65-E3FD-5571-6D29-226EBFD8C2D4}"/>
              </a:ext>
            </a:extLst>
          </p:cNvPr>
          <p:cNvSpPr/>
          <p:nvPr/>
        </p:nvSpPr>
        <p:spPr>
          <a:xfrm>
            <a:off x="3759918" y="3558541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09" name="object 100">
            <a:extLst>
              <a:ext uri="{FF2B5EF4-FFF2-40B4-BE49-F238E27FC236}">
                <a16:creationId xmlns:a16="http://schemas.microsoft.com/office/drawing/2014/main" id="{3C4CC5BC-D578-7607-88E0-17F837F4C748}"/>
              </a:ext>
            </a:extLst>
          </p:cNvPr>
          <p:cNvSpPr/>
          <p:nvPr/>
        </p:nvSpPr>
        <p:spPr>
          <a:xfrm rot="16200000">
            <a:off x="3759918" y="3560922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10" name="object 309">
            <a:extLst>
              <a:ext uri="{FF2B5EF4-FFF2-40B4-BE49-F238E27FC236}">
                <a16:creationId xmlns:a16="http://schemas.microsoft.com/office/drawing/2014/main" id="{45D35868-96DC-B23F-3376-69CCDE88470E}"/>
              </a:ext>
            </a:extLst>
          </p:cNvPr>
          <p:cNvSpPr/>
          <p:nvPr/>
        </p:nvSpPr>
        <p:spPr>
          <a:xfrm rot="16200000">
            <a:off x="3759918" y="3560922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11" name="object 100">
            <a:extLst>
              <a:ext uri="{FF2B5EF4-FFF2-40B4-BE49-F238E27FC236}">
                <a16:creationId xmlns:a16="http://schemas.microsoft.com/office/drawing/2014/main" id="{EDCE5F54-36C4-F5E2-7030-AB7F9A411902}"/>
              </a:ext>
            </a:extLst>
          </p:cNvPr>
          <p:cNvSpPr/>
          <p:nvPr/>
        </p:nvSpPr>
        <p:spPr>
          <a:xfrm>
            <a:off x="3767062" y="3558541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12" name="object 309">
            <a:extLst>
              <a:ext uri="{FF2B5EF4-FFF2-40B4-BE49-F238E27FC236}">
                <a16:creationId xmlns:a16="http://schemas.microsoft.com/office/drawing/2014/main" id="{AC343283-A437-8B80-E504-A49E30201144}"/>
              </a:ext>
            </a:extLst>
          </p:cNvPr>
          <p:cNvSpPr/>
          <p:nvPr/>
        </p:nvSpPr>
        <p:spPr>
          <a:xfrm>
            <a:off x="3767062" y="3558541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13" name="object 100">
            <a:extLst>
              <a:ext uri="{FF2B5EF4-FFF2-40B4-BE49-F238E27FC236}">
                <a16:creationId xmlns:a16="http://schemas.microsoft.com/office/drawing/2014/main" id="{DADFA033-0B2B-9911-E12E-4538F5AAE902}"/>
              </a:ext>
            </a:extLst>
          </p:cNvPr>
          <p:cNvSpPr/>
          <p:nvPr/>
        </p:nvSpPr>
        <p:spPr>
          <a:xfrm rot="16200000">
            <a:off x="3767062" y="3560922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14" name="object 309">
            <a:extLst>
              <a:ext uri="{FF2B5EF4-FFF2-40B4-BE49-F238E27FC236}">
                <a16:creationId xmlns:a16="http://schemas.microsoft.com/office/drawing/2014/main" id="{C1AF955F-FB33-B0D5-7227-3379253968A2}"/>
              </a:ext>
            </a:extLst>
          </p:cNvPr>
          <p:cNvSpPr/>
          <p:nvPr/>
        </p:nvSpPr>
        <p:spPr>
          <a:xfrm rot="16200000">
            <a:off x="3767062" y="3560922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15" name="object 100">
            <a:extLst>
              <a:ext uri="{FF2B5EF4-FFF2-40B4-BE49-F238E27FC236}">
                <a16:creationId xmlns:a16="http://schemas.microsoft.com/office/drawing/2014/main" id="{BDD07360-07B1-2B6B-C4AD-F6F5B9A6678A}"/>
              </a:ext>
            </a:extLst>
          </p:cNvPr>
          <p:cNvSpPr/>
          <p:nvPr/>
        </p:nvSpPr>
        <p:spPr>
          <a:xfrm>
            <a:off x="3774206" y="3558541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16" name="object 309">
            <a:extLst>
              <a:ext uri="{FF2B5EF4-FFF2-40B4-BE49-F238E27FC236}">
                <a16:creationId xmlns:a16="http://schemas.microsoft.com/office/drawing/2014/main" id="{DCA00DC7-B9F4-17CA-EF2D-942D099BCE19}"/>
              </a:ext>
            </a:extLst>
          </p:cNvPr>
          <p:cNvSpPr/>
          <p:nvPr/>
        </p:nvSpPr>
        <p:spPr>
          <a:xfrm>
            <a:off x="3774206" y="3558541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17" name="object 100">
            <a:extLst>
              <a:ext uri="{FF2B5EF4-FFF2-40B4-BE49-F238E27FC236}">
                <a16:creationId xmlns:a16="http://schemas.microsoft.com/office/drawing/2014/main" id="{5AEA2E5A-F70C-B12B-E5A4-680878C4F1C7}"/>
              </a:ext>
            </a:extLst>
          </p:cNvPr>
          <p:cNvSpPr/>
          <p:nvPr/>
        </p:nvSpPr>
        <p:spPr>
          <a:xfrm rot="16200000">
            <a:off x="3774206" y="3560922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18" name="object 309">
            <a:extLst>
              <a:ext uri="{FF2B5EF4-FFF2-40B4-BE49-F238E27FC236}">
                <a16:creationId xmlns:a16="http://schemas.microsoft.com/office/drawing/2014/main" id="{6A3341F6-F4CB-81E5-7BC8-A5AACBEEA8CB}"/>
              </a:ext>
            </a:extLst>
          </p:cNvPr>
          <p:cNvSpPr/>
          <p:nvPr/>
        </p:nvSpPr>
        <p:spPr>
          <a:xfrm rot="16200000">
            <a:off x="3774206" y="3560922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19" name="object 100">
            <a:extLst>
              <a:ext uri="{FF2B5EF4-FFF2-40B4-BE49-F238E27FC236}">
                <a16:creationId xmlns:a16="http://schemas.microsoft.com/office/drawing/2014/main" id="{A141D3D2-E1CC-A3D4-C607-E826BA397267}"/>
              </a:ext>
            </a:extLst>
          </p:cNvPr>
          <p:cNvSpPr/>
          <p:nvPr/>
        </p:nvSpPr>
        <p:spPr>
          <a:xfrm>
            <a:off x="3800400" y="3558541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20" name="object 309">
            <a:extLst>
              <a:ext uri="{FF2B5EF4-FFF2-40B4-BE49-F238E27FC236}">
                <a16:creationId xmlns:a16="http://schemas.microsoft.com/office/drawing/2014/main" id="{F88E426A-8595-E528-9680-BBD4162B2645}"/>
              </a:ext>
            </a:extLst>
          </p:cNvPr>
          <p:cNvSpPr/>
          <p:nvPr/>
        </p:nvSpPr>
        <p:spPr>
          <a:xfrm>
            <a:off x="3800400" y="3558541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21" name="object 100">
            <a:extLst>
              <a:ext uri="{FF2B5EF4-FFF2-40B4-BE49-F238E27FC236}">
                <a16:creationId xmlns:a16="http://schemas.microsoft.com/office/drawing/2014/main" id="{A5319A48-10A4-07F6-107F-B8B0EB657528}"/>
              </a:ext>
            </a:extLst>
          </p:cNvPr>
          <p:cNvSpPr/>
          <p:nvPr/>
        </p:nvSpPr>
        <p:spPr>
          <a:xfrm rot="16200000">
            <a:off x="3800400" y="3560922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22" name="object 309">
            <a:extLst>
              <a:ext uri="{FF2B5EF4-FFF2-40B4-BE49-F238E27FC236}">
                <a16:creationId xmlns:a16="http://schemas.microsoft.com/office/drawing/2014/main" id="{68E5A419-D029-8CE5-3916-23802434D49C}"/>
              </a:ext>
            </a:extLst>
          </p:cNvPr>
          <p:cNvSpPr/>
          <p:nvPr/>
        </p:nvSpPr>
        <p:spPr>
          <a:xfrm rot="16200000">
            <a:off x="3800400" y="3560922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23" name="object 100">
            <a:extLst>
              <a:ext uri="{FF2B5EF4-FFF2-40B4-BE49-F238E27FC236}">
                <a16:creationId xmlns:a16="http://schemas.microsoft.com/office/drawing/2014/main" id="{0B645E9C-4465-532B-33A9-56B0521CC942}"/>
              </a:ext>
            </a:extLst>
          </p:cNvPr>
          <p:cNvSpPr/>
          <p:nvPr/>
        </p:nvSpPr>
        <p:spPr>
          <a:xfrm>
            <a:off x="3809925" y="3558541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24" name="object 309">
            <a:extLst>
              <a:ext uri="{FF2B5EF4-FFF2-40B4-BE49-F238E27FC236}">
                <a16:creationId xmlns:a16="http://schemas.microsoft.com/office/drawing/2014/main" id="{64A6265B-AAFC-F344-1AF8-34D9CA9F6839}"/>
              </a:ext>
            </a:extLst>
          </p:cNvPr>
          <p:cNvSpPr/>
          <p:nvPr/>
        </p:nvSpPr>
        <p:spPr>
          <a:xfrm>
            <a:off x="3809925" y="3558541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25" name="object 100">
            <a:extLst>
              <a:ext uri="{FF2B5EF4-FFF2-40B4-BE49-F238E27FC236}">
                <a16:creationId xmlns:a16="http://schemas.microsoft.com/office/drawing/2014/main" id="{39FFBC59-D54B-1175-604F-6894E2AE1C14}"/>
              </a:ext>
            </a:extLst>
          </p:cNvPr>
          <p:cNvSpPr/>
          <p:nvPr/>
        </p:nvSpPr>
        <p:spPr>
          <a:xfrm rot="16200000">
            <a:off x="3809925" y="3560922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26" name="object 309">
            <a:extLst>
              <a:ext uri="{FF2B5EF4-FFF2-40B4-BE49-F238E27FC236}">
                <a16:creationId xmlns:a16="http://schemas.microsoft.com/office/drawing/2014/main" id="{386C6BDB-51B3-8790-7A9A-378C6193BCE0}"/>
              </a:ext>
            </a:extLst>
          </p:cNvPr>
          <p:cNvSpPr/>
          <p:nvPr/>
        </p:nvSpPr>
        <p:spPr>
          <a:xfrm rot="16200000">
            <a:off x="3809925" y="3560922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27" name="object 100">
            <a:extLst>
              <a:ext uri="{FF2B5EF4-FFF2-40B4-BE49-F238E27FC236}">
                <a16:creationId xmlns:a16="http://schemas.microsoft.com/office/drawing/2014/main" id="{E69227BE-C4DF-8AFE-2DDE-82C7ECF41875}"/>
              </a:ext>
            </a:extLst>
          </p:cNvPr>
          <p:cNvSpPr/>
          <p:nvPr/>
        </p:nvSpPr>
        <p:spPr>
          <a:xfrm>
            <a:off x="3819450" y="3558541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28" name="object 309">
            <a:extLst>
              <a:ext uri="{FF2B5EF4-FFF2-40B4-BE49-F238E27FC236}">
                <a16:creationId xmlns:a16="http://schemas.microsoft.com/office/drawing/2014/main" id="{60FC113E-20EE-BC67-C1DC-58476D4D051A}"/>
              </a:ext>
            </a:extLst>
          </p:cNvPr>
          <p:cNvSpPr/>
          <p:nvPr/>
        </p:nvSpPr>
        <p:spPr>
          <a:xfrm>
            <a:off x="3819450" y="3558541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29" name="object 100">
            <a:extLst>
              <a:ext uri="{FF2B5EF4-FFF2-40B4-BE49-F238E27FC236}">
                <a16:creationId xmlns:a16="http://schemas.microsoft.com/office/drawing/2014/main" id="{501C3197-0253-4196-AC2E-3CBD922F0FAB}"/>
              </a:ext>
            </a:extLst>
          </p:cNvPr>
          <p:cNvSpPr/>
          <p:nvPr/>
        </p:nvSpPr>
        <p:spPr>
          <a:xfrm rot="16200000">
            <a:off x="3819450" y="3560922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30" name="object 309">
            <a:extLst>
              <a:ext uri="{FF2B5EF4-FFF2-40B4-BE49-F238E27FC236}">
                <a16:creationId xmlns:a16="http://schemas.microsoft.com/office/drawing/2014/main" id="{16876E12-731A-3B9E-94BC-C1AE862C1692}"/>
              </a:ext>
            </a:extLst>
          </p:cNvPr>
          <p:cNvSpPr/>
          <p:nvPr/>
        </p:nvSpPr>
        <p:spPr>
          <a:xfrm rot="16200000">
            <a:off x="3819450" y="3560922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31" name="object 100">
            <a:extLst>
              <a:ext uri="{FF2B5EF4-FFF2-40B4-BE49-F238E27FC236}">
                <a16:creationId xmlns:a16="http://schemas.microsoft.com/office/drawing/2014/main" id="{8FEF5882-B7EE-934A-F52A-44659616D9BF}"/>
              </a:ext>
            </a:extLst>
          </p:cNvPr>
          <p:cNvSpPr/>
          <p:nvPr/>
        </p:nvSpPr>
        <p:spPr>
          <a:xfrm>
            <a:off x="3833738" y="3558541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32" name="object 309">
            <a:extLst>
              <a:ext uri="{FF2B5EF4-FFF2-40B4-BE49-F238E27FC236}">
                <a16:creationId xmlns:a16="http://schemas.microsoft.com/office/drawing/2014/main" id="{24165B2D-58BA-9294-3BEA-ACD3FC64F2B8}"/>
              </a:ext>
            </a:extLst>
          </p:cNvPr>
          <p:cNvSpPr/>
          <p:nvPr/>
        </p:nvSpPr>
        <p:spPr>
          <a:xfrm>
            <a:off x="3833738" y="3558541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33" name="object 100">
            <a:extLst>
              <a:ext uri="{FF2B5EF4-FFF2-40B4-BE49-F238E27FC236}">
                <a16:creationId xmlns:a16="http://schemas.microsoft.com/office/drawing/2014/main" id="{D3ACA135-7D7C-11BD-E49D-4397DD6D490F}"/>
              </a:ext>
            </a:extLst>
          </p:cNvPr>
          <p:cNvSpPr/>
          <p:nvPr/>
        </p:nvSpPr>
        <p:spPr>
          <a:xfrm rot="16200000">
            <a:off x="3833738" y="3560922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34" name="object 309">
            <a:extLst>
              <a:ext uri="{FF2B5EF4-FFF2-40B4-BE49-F238E27FC236}">
                <a16:creationId xmlns:a16="http://schemas.microsoft.com/office/drawing/2014/main" id="{FBB70311-F0C6-C0ED-AA53-8F93BC27FB26}"/>
              </a:ext>
            </a:extLst>
          </p:cNvPr>
          <p:cNvSpPr/>
          <p:nvPr/>
        </p:nvSpPr>
        <p:spPr>
          <a:xfrm rot="16200000">
            <a:off x="3833738" y="3560922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35" name="object 100">
            <a:extLst>
              <a:ext uri="{FF2B5EF4-FFF2-40B4-BE49-F238E27FC236}">
                <a16:creationId xmlns:a16="http://schemas.microsoft.com/office/drawing/2014/main" id="{5D0D15C8-1499-5303-3B73-1673111E92F7}"/>
              </a:ext>
            </a:extLst>
          </p:cNvPr>
          <p:cNvSpPr/>
          <p:nvPr/>
        </p:nvSpPr>
        <p:spPr>
          <a:xfrm>
            <a:off x="3900413" y="3558541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36" name="object 309">
            <a:extLst>
              <a:ext uri="{FF2B5EF4-FFF2-40B4-BE49-F238E27FC236}">
                <a16:creationId xmlns:a16="http://schemas.microsoft.com/office/drawing/2014/main" id="{B0355EBA-7139-AA50-A72F-A555D0AF47F7}"/>
              </a:ext>
            </a:extLst>
          </p:cNvPr>
          <p:cNvSpPr/>
          <p:nvPr/>
        </p:nvSpPr>
        <p:spPr>
          <a:xfrm>
            <a:off x="3900413" y="3558541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37" name="object 100">
            <a:extLst>
              <a:ext uri="{FF2B5EF4-FFF2-40B4-BE49-F238E27FC236}">
                <a16:creationId xmlns:a16="http://schemas.microsoft.com/office/drawing/2014/main" id="{FB15AD44-A435-A802-E220-79FB91175795}"/>
              </a:ext>
            </a:extLst>
          </p:cNvPr>
          <p:cNvSpPr/>
          <p:nvPr/>
        </p:nvSpPr>
        <p:spPr>
          <a:xfrm rot="16200000">
            <a:off x="3900413" y="3560922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38" name="object 309">
            <a:extLst>
              <a:ext uri="{FF2B5EF4-FFF2-40B4-BE49-F238E27FC236}">
                <a16:creationId xmlns:a16="http://schemas.microsoft.com/office/drawing/2014/main" id="{77E5B209-0E26-03DD-3D0B-A0B80187A36E}"/>
              </a:ext>
            </a:extLst>
          </p:cNvPr>
          <p:cNvSpPr/>
          <p:nvPr/>
        </p:nvSpPr>
        <p:spPr>
          <a:xfrm rot="16200000">
            <a:off x="3900413" y="3560922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39" name="object 100">
            <a:extLst>
              <a:ext uri="{FF2B5EF4-FFF2-40B4-BE49-F238E27FC236}">
                <a16:creationId xmlns:a16="http://schemas.microsoft.com/office/drawing/2014/main" id="{0F438210-332A-EC0D-38CB-724D08EE0C28}"/>
              </a:ext>
            </a:extLst>
          </p:cNvPr>
          <p:cNvSpPr/>
          <p:nvPr/>
        </p:nvSpPr>
        <p:spPr>
          <a:xfrm>
            <a:off x="4093294" y="3577591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40" name="object 309">
            <a:extLst>
              <a:ext uri="{FF2B5EF4-FFF2-40B4-BE49-F238E27FC236}">
                <a16:creationId xmlns:a16="http://schemas.microsoft.com/office/drawing/2014/main" id="{EBC46768-251F-2557-3703-1D963CA2B6A7}"/>
              </a:ext>
            </a:extLst>
          </p:cNvPr>
          <p:cNvSpPr/>
          <p:nvPr/>
        </p:nvSpPr>
        <p:spPr>
          <a:xfrm>
            <a:off x="4093294" y="3577591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41" name="object 100">
            <a:extLst>
              <a:ext uri="{FF2B5EF4-FFF2-40B4-BE49-F238E27FC236}">
                <a16:creationId xmlns:a16="http://schemas.microsoft.com/office/drawing/2014/main" id="{E3BEF7FD-9117-FE70-777B-AE6559FD2405}"/>
              </a:ext>
            </a:extLst>
          </p:cNvPr>
          <p:cNvSpPr/>
          <p:nvPr/>
        </p:nvSpPr>
        <p:spPr>
          <a:xfrm rot="16200000">
            <a:off x="4093294" y="3579972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42" name="object 309">
            <a:extLst>
              <a:ext uri="{FF2B5EF4-FFF2-40B4-BE49-F238E27FC236}">
                <a16:creationId xmlns:a16="http://schemas.microsoft.com/office/drawing/2014/main" id="{44DB8386-84A2-EC6B-7B61-AF70F4222004}"/>
              </a:ext>
            </a:extLst>
          </p:cNvPr>
          <p:cNvSpPr/>
          <p:nvPr/>
        </p:nvSpPr>
        <p:spPr>
          <a:xfrm rot="16200000">
            <a:off x="4093294" y="3579972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43" name="object 100">
            <a:extLst>
              <a:ext uri="{FF2B5EF4-FFF2-40B4-BE49-F238E27FC236}">
                <a16:creationId xmlns:a16="http://schemas.microsoft.com/office/drawing/2014/main" id="{CE238B5E-9975-4C83-8F17-BC65CAF59AFF}"/>
              </a:ext>
            </a:extLst>
          </p:cNvPr>
          <p:cNvSpPr/>
          <p:nvPr/>
        </p:nvSpPr>
        <p:spPr>
          <a:xfrm>
            <a:off x="4114725" y="3577591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44" name="object 309">
            <a:extLst>
              <a:ext uri="{FF2B5EF4-FFF2-40B4-BE49-F238E27FC236}">
                <a16:creationId xmlns:a16="http://schemas.microsoft.com/office/drawing/2014/main" id="{302C1011-6245-8A37-6978-2FFF23EB54F1}"/>
              </a:ext>
            </a:extLst>
          </p:cNvPr>
          <p:cNvSpPr/>
          <p:nvPr/>
        </p:nvSpPr>
        <p:spPr>
          <a:xfrm>
            <a:off x="4114725" y="3577591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45" name="object 100">
            <a:extLst>
              <a:ext uri="{FF2B5EF4-FFF2-40B4-BE49-F238E27FC236}">
                <a16:creationId xmlns:a16="http://schemas.microsoft.com/office/drawing/2014/main" id="{0A9387E7-A90B-F202-DF84-F0282AFCB462}"/>
              </a:ext>
            </a:extLst>
          </p:cNvPr>
          <p:cNvSpPr/>
          <p:nvPr/>
        </p:nvSpPr>
        <p:spPr>
          <a:xfrm rot="16200000">
            <a:off x="4114725" y="3579972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46" name="object 309">
            <a:extLst>
              <a:ext uri="{FF2B5EF4-FFF2-40B4-BE49-F238E27FC236}">
                <a16:creationId xmlns:a16="http://schemas.microsoft.com/office/drawing/2014/main" id="{C8AA61FB-6D28-E80F-6C2E-2BD6FA3E5554}"/>
              </a:ext>
            </a:extLst>
          </p:cNvPr>
          <p:cNvSpPr/>
          <p:nvPr/>
        </p:nvSpPr>
        <p:spPr>
          <a:xfrm rot="16200000">
            <a:off x="4114725" y="3579972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47" name="object 100">
            <a:extLst>
              <a:ext uri="{FF2B5EF4-FFF2-40B4-BE49-F238E27FC236}">
                <a16:creationId xmlns:a16="http://schemas.microsoft.com/office/drawing/2014/main" id="{D04209D6-2218-8BE7-4EA4-E9C424C13FF1}"/>
              </a:ext>
            </a:extLst>
          </p:cNvPr>
          <p:cNvSpPr/>
          <p:nvPr/>
        </p:nvSpPr>
        <p:spPr>
          <a:xfrm>
            <a:off x="4143300" y="3577591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48" name="object 309">
            <a:extLst>
              <a:ext uri="{FF2B5EF4-FFF2-40B4-BE49-F238E27FC236}">
                <a16:creationId xmlns:a16="http://schemas.microsoft.com/office/drawing/2014/main" id="{FB984E46-3284-C3B6-3EBA-2E5843AD2D43}"/>
              </a:ext>
            </a:extLst>
          </p:cNvPr>
          <p:cNvSpPr/>
          <p:nvPr/>
        </p:nvSpPr>
        <p:spPr>
          <a:xfrm>
            <a:off x="4143300" y="3577591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49" name="object 100">
            <a:extLst>
              <a:ext uri="{FF2B5EF4-FFF2-40B4-BE49-F238E27FC236}">
                <a16:creationId xmlns:a16="http://schemas.microsoft.com/office/drawing/2014/main" id="{E58504D7-F2D6-9AD6-84DF-08D032BBC67E}"/>
              </a:ext>
            </a:extLst>
          </p:cNvPr>
          <p:cNvSpPr/>
          <p:nvPr/>
        </p:nvSpPr>
        <p:spPr>
          <a:xfrm rot="16200000">
            <a:off x="4143300" y="3579972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50" name="object 309">
            <a:extLst>
              <a:ext uri="{FF2B5EF4-FFF2-40B4-BE49-F238E27FC236}">
                <a16:creationId xmlns:a16="http://schemas.microsoft.com/office/drawing/2014/main" id="{0F38F702-1DBB-2ACF-8A0E-BE3636D1E9FF}"/>
              </a:ext>
            </a:extLst>
          </p:cNvPr>
          <p:cNvSpPr/>
          <p:nvPr/>
        </p:nvSpPr>
        <p:spPr>
          <a:xfrm rot="16200000">
            <a:off x="4143300" y="3579972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51" name="object 100">
            <a:extLst>
              <a:ext uri="{FF2B5EF4-FFF2-40B4-BE49-F238E27FC236}">
                <a16:creationId xmlns:a16="http://schemas.microsoft.com/office/drawing/2014/main" id="{754011E9-0C83-B536-DD4E-6CF7EF0B753B}"/>
              </a:ext>
            </a:extLst>
          </p:cNvPr>
          <p:cNvSpPr/>
          <p:nvPr/>
        </p:nvSpPr>
        <p:spPr>
          <a:xfrm>
            <a:off x="4157588" y="3577591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52" name="object 309">
            <a:extLst>
              <a:ext uri="{FF2B5EF4-FFF2-40B4-BE49-F238E27FC236}">
                <a16:creationId xmlns:a16="http://schemas.microsoft.com/office/drawing/2014/main" id="{C5CF6A1F-6405-3881-34AD-6DE66E146057}"/>
              </a:ext>
            </a:extLst>
          </p:cNvPr>
          <p:cNvSpPr/>
          <p:nvPr/>
        </p:nvSpPr>
        <p:spPr>
          <a:xfrm>
            <a:off x="4157588" y="3577591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53" name="object 100">
            <a:extLst>
              <a:ext uri="{FF2B5EF4-FFF2-40B4-BE49-F238E27FC236}">
                <a16:creationId xmlns:a16="http://schemas.microsoft.com/office/drawing/2014/main" id="{1AC02C3D-52AD-CD5C-63C5-E958EE0F22FD}"/>
              </a:ext>
            </a:extLst>
          </p:cNvPr>
          <p:cNvSpPr/>
          <p:nvPr/>
        </p:nvSpPr>
        <p:spPr>
          <a:xfrm rot="16200000">
            <a:off x="4157588" y="3579972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54" name="object 309">
            <a:extLst>
              <a:ext uri="{FF2B5EF4-FFF2-40B4-BE49-F238E27FC236}">
                <a16:creationId xmlns:a16="http://schemas.microsoft.com/office/drawing/2014/main" id="{812A1725-811A-5A89-AF07-232DD4B17A31}"/>
              </a:ext>
            </a:extLst>
          </p:cNvPr>
          <p:cNvSpPr/>
          <p:nvPr/>
        </p:nvSpPr>
        <p:spPr>
          <a:xfrm rot="16200000">
            <a:off x="4157588" y="3579972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55" name="object 100">
            <a:extLst>
              <a:ext uri="{FF2B5EF4-FFF2-40B4-BE49-F238E27FC236}">
                <a16:creationId xmlns:a16="http://schemas.microsoft.com/office/drawing/2014/main" id="{8504E483-5145-85CE-812B-0614874B7D6B}"/>
              </a:ext>
            </a:extLst>
          </p:cNvPr>
          <p:cNvSpPr/>
          <p:nvPr/>
        </p:nvSpPr>
        <p:spPr>
          <a:xfrm>
            <a:off x="4164731" y="3577591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56" name="object 309">
            <a:extLst>
              <a:ext uri="{FF2B5EF4-FFF2-40B4-BE49-F238E27FC236}">
                <a16:creationId xmlns:a16="http://schemas.microsoft.com/office/drawing/2014/main" id="{C90ED587-F168-2996-04FD-EBB0BBC53EE3}"/>
              </a:ext>
            </a:extLst>
          </p:cNvPr>
          <p:cNvSpPr/>
          <p:nvPr/>
        </p:nvSpPr>
        <p:spPr>
          <a:xfrm>
            <a:off x="4164731" y="3577591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57" name="object 100">
            <a:extLst>
              <a:ext uri="{FF2B5EF4-FFF2-40B4-BE49-F238E27FC236}">
                <a16:creationId xmlns:a16="http://schemas.microsoft.com/office/drawing/2014/main" id="{63EAA44D-C39C-9DE7-669F-A56ED0C0FB7E}"/>
              </a:ext>
            </a:extLst>
          </p:cNvPr>
          <p:cNvSpPr/>
          <p:nvPr/>
        </p:nvSpPr>
        <p:spPr>
          <a:xfrm rot="16200000">
            <a:off x="4164731" y="3579972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58" name="object 309">
            <a:extLst>
              <a:ext uri="{FF2B5EF4-FFF2-40B4-BE49-F238E27FC236}">
                <a16:creationId xmlns:a16="http://schemas.microsoft.com/office/drawing/2014/main" id="{B528035B-23C0-3AE8-4606-2C4935141925}"/>
              </a:ext>
            </a:extLst>
          </p:cNvPr>
          <p:cNvSpPr/>
          <p:nvPr/>
        </p:nvSpPr>
        <p:spPr>
          <a:xfrm rot="16200000">
            <a:off x="4164731" y="3579972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59" name="object 100">
            <a:extLst>
              <a:ext uri="{FF2B5EF4-FFF2-40B4-BE49-F238E27FC236}">
                <a16:creationId xmlns:a16="http://schemas.microsoft.com/office/drawing/2014/main" id="{63B3B2B6-A0B6-625E-FC3F-127089E198C3}"/>
              </a:ext>
            </a:extLst>
          </p:cNvPr>
          <p:cNvSpPr/>
          <p:nvPr/>
        </p:nvSpPr>
        <p:spPr>
          <a:xfrm>
            <a:off x="4171875" y="3577591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60" name="object 309">
            <a:extLst>
              <a:ext uri="{FF2B5EF4-FFF2-40B4-BE49-F238E27FC236}">
                <a16:creationId xmlns:a16="http://schemas.microsoft.com/office/drawing/2014/main" id="{3A97AA13-9DA5-8AFE-CE4E-5D1D4E065ADD}"/>
              </a:ext>
            </a:extLst>
          </p:cNvPr>
          <p:cNvSpPr/>
          <p:nvPr/>
        </p:nvSpPr>
        <p:spPr>
          <a:xfrm>
            <a:off x="4171875" y="3577591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61" name="object 100">
            <a:extLst>
              <a:ext uri="{FF2B5EF4-FFF2-40B4-BE49-F238E27FC236}">
                <a16:creationId xmlns:a16="http://schemas.microsoft.com/office/drawing/2014/main" id="{0CAFA462-FB2C-69C7-41F8-5F5C717C03F2}"/>
              </a:ext>
            </a:extLst>
          </p:cNvPr>
          <p:cNvSpPr/>
          <p:nvPr/>
        </p:nvSpPr>
        <p:spPr>
          <a:xfrm rot="16200000">
            <a:off x="4171875" y="3579972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62" name="object 309">
            <a:extLst>
              <a:ext uri="{FF2B5EF4-FFF2-40B4-BE49-F238E27FC236}">
                <a16:creationId xmlns:a16="http://schemas.microsoft.com/office/drawing/2014/main" id="{9A666682-F975-3560-C566-DFBFEB22473E}"/>
              </a:ext>
            </a:extLst>
          </p:cNvPr>
          <p:cNvSpPr/>
          <p:nvPr/>
        </p:nvSpPr>
        <p:spPr>
          <a:xfrm rot="16200000">
            <a:off x="4171875" y="3579972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63" name="object 100">
            <a:extLst>
              <a:ext uri="{FF2B5EF4-FFF2-40B4-BE49-F238E27FC236}">
                <a16:creationId xmlns:a16="http://schemas.microsoft.com/office/drawing/2014/main" id="{4A29E0E7-F012-A1D1-47BB-6F66A5004D7E}"/>
              </a:ext>
            </a:extLst>
          </p:cNvPr>
          <p:cNvSpPr/>
          <p:nvPr/>
        </p:nvSpPr>
        <p:spPr>
          <a:xfrm>
            <a:off x="4179019" y="3577591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64" name="object 309">
            <a:extLst>
              <a:ext uri="{FF2B5EF4-FFF2-40B4-BE49-F238E27FC236}">
                <a16:creationId xmlns:a16="http://schemas.microsoft.com/office/drawing/2014/main" id="{D89A9F5C-B23C-1515-B73B-77645AB1FE4A}"/>
              </a:ext>
            </a:extLst>
          </p:cNvPr>
          <p:cNvSpPr/>
          <p:nvPr/>
        </p:nvSpPr>
        <p:spPr>
          <a:xfrm>
            <a:off x="4179019" y="3577591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65" name="object 100">
            <a:extLst>
              <a:ext uri="{FF2B5EF4-FFF2-40B4-BE49-F238E27FC236}">
                <a16:creationId xmlns:a16="http://schemas.microsoft.com/office/drawing/2014/main" id="{A0137FBF-39DB-26B3-0BE1-4A1EF91F5056}"/>
              </a:ext>
            </a:extLst>
          </p:cNvPr>
          <p:cNvSpPr/>
          <p:nvPr/>
        </p:nvSpPr>
        <p:spPr>
          <a:xfrm rot="16200000">
            <a:off x="4179019" y="3579972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66" name="object 309">
            <a:extLst>
              <a:ext uri="{FF2B5EF4-FFF2-40B4-BE49-F238E27FC236}">
                <a16:creationId xmlns:a16="http://schemas.microsoft.com/office/drawing/2014/main" id="{E2ED2EDA-ACDF-5D66-58A4-F501A99D6438}"/>
              </a:ext>
            </a:extLst>
          </p:cNvPr>
          <p:cNvSpPr/>
          <p:nvPr/>
        </p:nvSpPr>
        <p:spPr>
          <a:xfrm rot="16200000">
            <a:off x="4179019" y="3579972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67" name="object 100">
            <a:extLst>
              <a:ext uri="{FF2B5EF4-FFF2-40B4-BE49-F238E27FC236}">
                <a16:creationId xmlns:a16="http://schemas.microsoft.com/office/drawing/2014/main" id="{FB6BFF95-E0D7-770A-A5CF-51B6A1493425}"/>
              </a:ext>
            </a:extLst>
          </p:cNvPr>
          <p:cNvSpPr/>
          <p:nvPr/>
        </p:nvSpPr>
        <p:spPr>
          <a:xfrm>
            <a:off x="4186163" y="3577591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68" name="object 309">
            <a:extLst>
              <a:ext uri="{FF2B5EF4-FFF2-40B4-BE49-F238E27FC236}">
                <a16:creationId xmlns:a16="http://schemas.microsoft.com/office/drawing/2014/main" id="{AD4AF008-844F-7593-73C0-AFD0917C95E4}"/>
              </a:ext>
            </a:extLst>
          </p:cNvPr>
          <p:cNvSpPr/>
          <p:nvPr/>
        </p:nvSpPr>
        <p:spPr>
          <a:xfrm>
            <a:off x="4186163" y="3577591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69" name="object 100">
            <a:extLst>
              <a:ext uri="{FF2B5EF4-FFF2-40B4-BE49-F238E27FC236}">
                <a16:creationId xmlns:a16="http://schemas.microsoft.com/office/drawing/2014/main" id="{84A1A9BF-820E-052D-7F53-BB0B0E7F14AF}"/>
              </a:ext>
            </a:extLst>
          </p:cNvPr>
          <p:cNvSpPr/>
          <p:nvPr/>
        </p:nvSpPr>
        <p:spPr>
          <a:xfrm rot="16200000">
            <a:off x="4186163" y="3579972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70" name="object 309">
            <a:extLst>
              <a:ext uri="{FF2B5EF4-FFF2-40B4-BE49-F238E27FC236}">
                <a16:creationId xmlns:a16="http://schemas.microsoft.com/office/drawing/2014/main" id="{209F77AD-44AB-C329-43E3-DF1A44C914BF}"/>
              </a:ext>
            </a:extLst>
          </p:cNvPr>
          <p:cNvSpPr/>
          <p:nvPr/>
        </p:nvSpPr>
        <p:spPr>
          <a:xfrm rot="16200000">
            <a:off x="4186163" y="3579972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71" name="object 100">
            <a:extLst>
              <a:ext uri="{FF2B5EF4-FFF2-40B4-BE49-F238E27FC236}">
                <a16:creationId xmlns:a16="http://schemas.microsoft.com/office/drawing/2014/main" id="{DD92DC36-9B1B-821B-99CD-C6B132556171}"/>
              </a:ext>
            </a:extLst>
          </p:cNvPr>
          <p:cNvSpPr/>
          <p:nvPr/>
        </p:nvSpPr>
        <p:spPr>
          <a:xfrm>
            <a:off x="4195688" y="3577591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72" name="object 309">
            <a:extLst>
              <a:ext uri="{FF2B5EF4-FFF2-40B4-BE49-F238E27FC236}">
                <a16:creationId xmlns:a16="http://schemas.microsoft.com/office/drawing/2014/main" id="{CC387246-7AB1-43F0-4015-A536215CD3C9}"/>
              </a:ext>
            </a:extLst>
          </p:cNvPr>
          <p:cNvSpPr/>
          <p:nvPr/>
        </p:nvSpPr>
        <p:spPr>
          <a:xfrm>
            <a:off x="4195688" y="3577591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73" name="object 100">
            <a:extLst>
              <a:ext uri="{FF2B5EF4-FFF2-40B4-BE49-F238E27FC236}">
                <a16:creationId xmlns:a16="http://schemas.microsoft.com/office/drawing/2014/main" id="{86FF42B8-54F6-72A8-8C10-1F4326B741BA}"/>
              </a:ext>
            </a:extLst>
          </p:cNvPr>
          <p:cNvSpPr/>
          <p:nvPr/>
        </p:nvSpPr>
        <p:spPr>
          <a:xfrm rot="16200000">
            <a:off x="4195688" y="3579972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74" name="object 309">
            <a:extLst>
              <a:ext uri="{FF2B5EF4-FFF2-40B4-BE49-F238E27FC236}">
                <a16:creationId xmlns:a16="http://schemas.microsoft.com/office/drawing/2014/main" id="{28C54ACC-5497-CD50-0EDB-948BFB964CF3}"/>
              </a:ext>
            </a:extLst>
          </p:cNvPr>
          <p:cNvSpPr/>
          <p:nvPr/>
        </p:nvSpPr>
        <p:spPr>
          <a:xfrm rot="16200000">
            <a:off x="4195688" y="3579972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75" name="object 100">
            <a:extLst>
              <a:ext uri="{FF2B5EF4-FFF2-40B4-BE49-F238E27FC236}">
                <a16:creationId xmlns:a16="http://schemas.microsoft.com/office/drawing/2014/main" id="{2D2D33C9-0820-81F3-935E-FBD783AAC5C5}"/>
              </a:ext>
            </a:extLst>
          </p:cNvPr>
          <p:cNvSpPr/>
          <p:nvPr/>
        </p:nvSpPr>
        <p:spPr>
          <a:xfrm>
            <a:off x="4207594" y="3577591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76" name="object 309">
            <a:extLst>
              <a:ext uri="{FF2B5EF4-FFF2-40B4-BE49-F238E27FC236}">
                <a16:creationId xmlns:a16="http://schemas.microsoft.com/office/drawing/2014/main" id="{0A6EA425-926E-790D-064E-B2FCF2B2ECA0}"/>
              </a:ext>
            </a:extLst>
          </p:cNvPr>
          <p:cNvSpPr/>
          <p:nvPr/>
        </p:nvSpPr>
        <p:spPr>
          <a:xfrm>
            <a:off x="4207594" y="3577591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77" name="object 100">
            <a:extLst>
              <a:ext uri="{FF2B5EF4-FFF2-40B4-BE49-F238E27FC236}">
                <a16:creationId xmlns:a16="http://schemas.microsoft.com/office/drawing/2014/main" id="{C876053F-D593-78F6-42DE-78F31DC4097D}"/>
              </a:ext>
            </a:extLst>
          </p:cNvPr>
          <p:cNvSpPr/>
          <p:nvPr/>
        </p:nvSpPr>
        <p:spPr>
          <a:xfrm rot="16200000">
            <a:off x="4207594" y="3579972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78" name="object 309">
            <a:extLst>
              <a:ext uri="{FF2B5EF4-FFF2-40B4-BE49-F238E27FC236}">
                <a16:creationId xmlns:a16="http://schemas.microsoft.com/office/drawing/2014/main" id="{7FF0E46A-E58F-AF28-DD90-21B4A16CC64F}"/>
              </a:ext>
            </a:extLst>
          </p:cNvPr>
          <p:cNvSpPr/>
          <p:nvPr/>
        </p:nvSpPr>
        <p:spPr>
          <a:xfrm rot="16200000">
            <a:off x="4207594" y="3579972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79" name="object 100">
            <a:extLst>
              <a:ext uri="{FF2B5EF4-FFF2-40B4-BE49-F238E27FC236}">
                <a16:creationId xmlns:a16="http://schemas.microsoft.com/office/drawing/2014/main" id="{62D2B95C-3D64-9D65-B849-6D08D210A05A}"/>
              </a:ext>
            </a:extLst>
          </p:cNvPr>
          <p:cNvSpPr/>
          <p:nvPr/>
        </p:nvSpPr>
        <p:spPr>
          <a:xfrm>
            <a:off x="4231407" y="3577591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80" name="object 309">
            <a:extLst>
              <a:ext uri="{FF2B5EF4-FFF2-40B4-BE49-F238E27FC236}">
                <a16:creationId xmlns:a16="http://schemas.microsoft.com/office/drawing/2014/main" id="{DD685904-8F9F-64B3-C238-712255C87878}"/>
              </a:ext>
            </a:extLst>
          </p:cNvPr>
          <p:cNvSpPr/>
          <p:nvPr/>
        </p:nvSpPr>
        <p:spPr>
          <a:xfrm>
            <a:off x="4231407" y="3577591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81" name="object 100">
            <a:extLst>
              <a:ext uri="{FF2B5EF4-FFF2-40B4-BE49-F238E27FC236}">
                <a16:creationId xmlns:a16="http://schemas.microsoft.com/office/drawing/2014/main" id="{8C07399F-20D9-651D-6CB3-F13BC7C47ADA}"/>
              </a:ext>
            </a:extLst>
          </p:cNvPr>
          <p:cNvSpPr/>
          <p:nvPr/>
        </p:nvSpPr>
        <p:spPr>
          <a:xfrm rot="16200000">
            <a:off x="4231407" y="3579972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82" name="object 309">
            <a:extLst>
              <a:ext uri="{FF2B5EF4-FFF2-40B4-BE49-F238E27FC236}">
                <a16:creationId xmlns:a16="http://schemas.microsoft.com/office/drawing/2014/main" id="{031BB0FF-4393-426E-9918-01A5BF33A7E8}"/>
              </a:ext>
            </a:extLst>
          </p:cNvPr>
          <p:cNvSpPr/>
          <p:nvPr/>
        </p:nvSpPr>
        <p:spPr>
          <a:xfrm rot="16200000">
            <a:off x="4231407" y="3579972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83" name="object 100">
            <a:extLst>
              <a:ext uri="{FF2B5EF4-FFF2-40B4-BE49-F238E27FC236}">
                <a16:creationId xmlns:a16="http://schemas.microsoft.com/office/drawing/2014/main" id="{059F2E6F-5D0C-4B23-686E-0C6D7CD914E8}"/>
              </a:ext>
            </a:extLst>
          </p:cNvPr>
          <p:cNvSpPr/>
          <p:nvPr/>
        </p:nvSpPr>
        <p:spPr>
          <a:xfrm>
            <a:off x="4264745" y="3599022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84" name="object 309">
            <a:extLst>
              <a:ext uri="{FF2B5EF4-FFF2-40B4-BE49-F238E27FC236}">
                <a16:creationId xmlns:a16="http://schemas.microsoft.com/office/drawing/2014/main" id="{E0308F17-1589-E1E4-0A2E-B8B77F2287F7}"/>
              </a:ext>
            </a:extLst>
          </p:cNvPr>
          <p:cNvSpPr/>
          <p:nvPr/>
        </p:nvSpPr>
        <p:spPr>
          <a:xfrm>
            <a:off x="4264745" y="3599022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85" name="object 100">
            <a:extLst>
              <a:ext uri="{FF2B5EF4-FFF2-40B4-BE49-F238E27FC236}">
                <a16:creationId xmlns:a16="http://schemas.microsoft.com/office/drawing/2014/main" id="{41F9171D-9453-6DF6-4E7C-CB449F2749D6}"/>
              </a:ext>
            </a:extLst>
          </p:cNvPr>
          <p:cNvSpPr/>
          <p:nvPr/>
        </p:nvSpPr>
        <p:spPr>
          <a:xfrm rot="16200000">
            <a:off x="4264745" y="3601403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86" name="object 309">
            <a:extLst>
              <a:ext uri="{FF2B5EF4-FFF2-40B4-BE49-F238E27FC236}">
                <a16:creationId xmlns:a16="http://schemas.microsoft.com/office/drawing/2014/main" id="{81B3CAEA-7AEA-76B5-992D-4EC9AC5C7FEB}"/>
              </a:ext>
            </a:extLst>
          </p:cNvPr>
          <p:cNvSpPr/>
          <p:nvPr/>
        </p:nvSpPr>
        <p:spPr>
          <a:xfrm rot="16200000">
            <a:off x="4264745" y="3601403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87" name="object 100">
            <a:extLst>
              <a:ext uri="{FF2B5EF4-FFF2-40B4-BE49-F238E27FC236}">
                <a16:creationId xmlns:a16="http://schemas.microsoft.com/office/drawing/2014/main" id="{8AEAF62C-26FB-2E1D-18D5-17BA9D4BA453}"/>
              </a:ext>
            </a:extLst>
          </p:cNvPr>
          <p:cNvSpPr/>
          <p:nvPr/>
        </p:nvSpPr>
        <p:spPr>
          <a:xfrm>
            <a:off x="4276651" y="3599022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88" name="object 309">
            <a:extLst>
              <a:ext uri="{FF2B5EF4-FFF2-40B4-BE49-F238E27FC236}">
                <a16:creationId xmlns:a16="http://schemas.microsoft.com/office/drawing/2014/main" id="{5B2EFF89-C95B-4345-DAE4-AE4D5FBBFA57}"/>
              </a:ext>
            </a:extLst>
          </p:cNvPr>
          <p:cNvSpPr/>
          <p:nvPr/>
        </p:nvSpPr>
        <p:spPr>
          <a:xfrm>
            <a:off x="4276651" y="3599022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89" name="object 100">
            <a:extLst>
              <a:ext uri="{FF2B5EF4-FFF2-40B4-BE49-F238E27FC236}">
                <a16:creationId xmlns:a16="http://schemas.microsoft.com/office/drawing/2014/main" id="{6A982078-AC05-A7BD-DE2D-1ED91A6AEE1B}"/>
              </a:ext>
            </a:extLst>
          </p:cNvPr>
          <p:cNvSpPr/>
          <p:nvPr/>
        </p:nvSpPr>
        <p:spPr>
          <a:xfrm rot="16200000">
            <a:off x="4276651" y="3601403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90" name="object 309">
            <a:extLst>
              <a:ext uri="{FF2B5EF4-FFF2-40B4-BE49-F238E27FC236}">
                <a16:creationId xmlns:a16="http://schemas.microsoft.com/office/drawing/2014/main" id="{CDCF04FB-1C41-52B3-5F52-4C89A08AFF86}"/>
              </a:ext>
            </a:extLst>
          </p:cNvPr>
          <p:cNvSpPr/>
          <p:nvPr/>
        </p:nvSpPr>
        <p:spPr>
          <a:xfrm rot="16200000">
            <a:off x="4276651" y="3601403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91" name="object 100">
            <a:extLst>
              <a:ext uri="{FF2B5EF4-FFF2-40B4-BE49-F238E27FC236}">
                <a16:creationId xmlns:a16="http://schemas.microsoft.com/office/drawing/2014/main" id="{D58B2E43-678D-2867-EEE4-256C8A395D4C}"/>
              </a:ext>
            </a:extLst>
          </p:cNvPr>
          <p:cNvSpPr/>
          <p:nvPr/>
        </p:nvSpPr>
        <p:spPr>
          <a:xfrm>
            <a:off x="4312369" y="3599022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92" name="object 309">
            <a:extLst>
              <a:ext uri="{FF2B5EF4-FFF2-40B4-BE49-F238E27FC236}">
                <a16:creationId xmlns:a16="http://schemas.microsoft.com/office/drawing/2014/main" id="{36B37899-F68F-3D1E-9A5A-D27D13132DE9}"/>
              </a:ext>
            </a:extLst>
          </p:cNvPr>
          <p:cNvSpPr/>
          <p:nvPr/>
        </p:nvSpPr>
        <p:spPr>
          <a:xfrm>
            <a:off x="4312369" y="3599022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93" name="object 100">
            <a:extLst>
              <a:ext uri="{FF2B5EF4-FFF2-40B4-BE49-F238E27FC236}">
                <a16:creationId xmlns:a16="http://schemas.microsoft.com/office/drawing/2014/main" id="{2544BDD7-6317-68C8-B70F-F627A8CD602F}"/>
              </a:ext>
            </a:extLst>
          </p:cNvPr>
          <p:cNvSpPr/>
          <p:nvPr/>
        </p:nvSpPr>
        <p:spPr>
          <a:xfrm rot="16200000">
            <a:off x="4312369" y="3601403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94" name="object 309">
            <a:extLst>
              <a:ext uri="{FF2B5EF4-FFF2-40B4-BE49-F238E27FC236}">
                <a16:creationId xmlns:a16="http://schemas.microsoft.com/office/drawing/2014/main" id="{68793E02-CEFA-245D-83E2-B7505F65F5C8}"/>
              </a:ext>
            </a:extLst>
          </p:cNvPr>
          <p:cNvSpPr/>
          <p:nvPr/>
        </p:nvSpPr>
        <p:spPr>
          <a:xfrm rot="16200000">
            <a:off x="4312369" y="3601403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95" name="object 100">
            <a:extLst>
              <a:ext uri="{FF2B5EF4-FFF2-40B4-BE49-F238E27FC236}">
                <a16:creationId xmlns:a16="http://schemas.microsoft.com/office/drawing/2014/main" id="{A2DAB8D5-6BD4-961B-B10D-92A1FB5A34CD}"/>
              </a:ext>
            </a:extLst>
          </p:cNvPr>
          <p:cNvSpPr/>
          <p:nvPr/>
        </p:nvSpPr>
        <p:spPr>
          <a:xfrm>
            <a:off x="4357613" y="3599022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96" name="object 309">
            <a:extLst>
              <a:ext uri="{FF2B5EF4-FFF2-40B4-BE49-F238E27FC236}">
                <a16:creationId xmlns:a16="http://schemas.microsoft.com/office/drawing/2014/main" id="{D882A002-D2C8-E86C-E706-842CDA52363D}"/>
              </a:ext>
            </a:extLst>
          </p:cNvPr>
          <p:cNvSpPr/>
          <p:nvPr/>
        </p:nvSpPr>
        <p:spPr>
          <a:xfrm>
            <a:off x="4357613" y="3599022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97" name="object 100">
            <a:extLst>
              <a:ext uri="{FF2B5EF4-FFF2-40B4-BE49-F238E27FC236}">
                <a16:creationId xmlns:a16="http://schemas.microsoft.com/office/drawing/2014/main" id="{7A999799-545F-F5E4-BA9E-0C69976394E6}"/>
              </a:ext>
            </a:extLst>
          </p:cNvPr>
          <p:cNvSpPr/>
          <p:nvPr/>
        </p:nvSpPr>
        <p:spPr>
          <a:xfrm rot="16200000">
            <a:off x="4357613" y="3601403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98" name="object 309">
            <a:extLst>
              <a:ext uri="{FF2B5EF4-FFF2-40B4-BE49-F238E27FC236}">
                <a16:creationId xmlns:a16="http://schemas.microsoft.com/office/drawing/2014/main" id="{51910713-E3F3-8762-1B4F-B93622A8BF68}"/>
              </a:ext>
            </a:extLst>
          </p:cNvPr>
          <p:cNvSpPr/>
          <p:nvPr/>
        </p:nvSpPr>
        <p:spPr>
          <a:xfrm rot="16200000">
            <a:off x="4357613" y="3601403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99" name="object 100">
            <a:extLst>
              <a:ext uri="{FF2B5EF4-FFF2-40B4-BE49-F238E27FC236}">
                <a16:creationId xmlns:a16="http://schemas.microsoft.com/office/drawing/2014/main" id="{5EF9ADA6-00B6-7E8A-6E54-E45BF250E3B6}"/>
              </a:ext>
            </a:extLst>
          </p:cNvPr>
          <p:cNvSpPr/>
          <p:nvPr/>
        </p:nvSpPr>
        <p:spPr>
          <a:xfrm>
            <a:off x="4364756" y="3599022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00" name="object 309">
            <a:extLst>
              <a:ext uri="{FF2B5EF4-FFF2-40B4-BE49-F238E27FC236}">
                <a16:creationId xmlns:a16="http://schemas.microsoft.com/office/drawing/2014/main" id="{28F01703-373A-8DFC-516A-E31F64906EED}"/>
              </a:ext>
            </a:extLst>
          </p:cNvPr>
          <p:cNvSpPr/>
          <p:nvPr/>
        </p:nvSpPr>
        <p:spPr>
          <a:xfrm>
            <a:off x="4364756" y="3599022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01" name="object 100">
            <a:extLst>
              <a:ext uri="{FF2B5EF4-FFF2-40B4-BE49-F238E27FC236}">
                <a16:creationId xmlns:a16="http://schemas.microsoft.com/office/drawing/2014/main" id="{650ADF6D-D88D-8A4A-2F60-23FC0519C236}"/>
              </a:ext>
            </a:extLst>
          </p:cNvPr>
          <p:cNvSpPr/>
          <p:nvPr/>
        </p:nvSpPr>
        <p:spPr>
          <a:xfrm rot="16200000">
            <a:off x="4364756" y="3601403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02" name="object 309">
            <a:extLst>
              <a:ext uri="{FF2B5EF4-FFF2-40B4-BE49-F238E27FC236}">
                <a16:creationId xmlns:a16="http://schemas.microsoft.com/office/drawing/2014/main" id="{53841494-4FC4-0703-7A4A-8BF177D4A109}"/>
              </a:ext>
            </a:extLst>
          </p:cNvPr>
          <p:cNvSpPr/>
          <p:nvPr/>
        </p:nvSpPr>
        <p:spPr>
          <a:xfrm rot="16200000">
            <a:off x="4364756" y="3601403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03" name="object 100">
            <a:extLst>
              <a:ext uri="{FF2B5EF4-FFF2-40B4-BE49-F238E27FC236}">
                <a16:creationId xmlns:a16="http://schemas.microsoft.com/office/drawing/2014/main" id="{4366A57A-AFF1-12AB-7AFD-3E2FB444C246}"/>
              </a:ext>
            </a:extLst>
          </p:cNvPr>
          <p:cNvSpPr/>
          <p:nvPr/>
        </p:nvSpPr>
        <p:spPr>
          <a:xfrm>
            <a:off x="4507631" y="3599022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04" name="object 309">
            <a:extLst>
              <a:ext uri="{FF2B5EF4-FFF2-40B4-BE49-F238E27FC236}">
                <a16:creationId xmlns:a16="http://schemas.microsoft.com/office/drawing/2014/main" id="{39E957BE-6E56-244D-8610-6B90EEE712FA}"/>
              </a:ext>
            </a:extLst>
          </p:cNvPr>
          <p:cNvSpPr/>
          <p:nvPr/>
        </p:nvSpPr>
        <p:spPr>
          <a:xfrm>
            <a:off x="4507631" y="3599022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05" name="object 100">
            <a:extLst>
              <a:ext uri="{FF2B5EF4-FFF2-40B4-BE49-F238E27FC236}">
                <a16:creationId xmlns:a16="http://schemas.microsoft.com/office/drawing/2014/main" id="{10C36A98-79F4-37A1-A221-E72BC6372F3F}"/>
              </a:ext>
            </a:extLst>
          </p:cNvPr>
          <p:cNvSpPr/>
          <p:nvPr/>
        </p:nvSpPr>
        <p:spPr>
          <a:xfrm rot="16200000">
            <a:off x="4507631" y="3601403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06" name="object 309">
            <a:extLst>
              <a:ext uri="{FF2B5EF4-FFF2-40B4-BE49-F238E27FC236}">
                <a16:creationId xmlns:a16="http://schemas.microsoft.com/office/drawing/2014/main" id="{52A63B4F-D450-14F3-7C73-58430AF537D7}"/>
              </a:ext>
            </a:extLst>
          </p:cNvPr>
          <p:cNvSpPr/>
          <p:nvPr/>
        </p:nvSpPr>
        <p:spPr>
          <a:xfrm rot="16200000">
            <a:off x="4507631" y="3601403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07" name="object 100">
            <a:extLst>
              <a:ext uri="{FF2B5EF4-FFF2-40B4-BE49-F238E27FC236}">
                <a16:creationId xmlns:a16="http://schemas.microsoft.com/office/drawing/2014/main" id="{64E1DC20-8FD9-FF9C-4612-CD7431D76258}"/>
              </a:ext>
            </a:extLst>
          </p:cNvPr>
          <p:cNvSpPr/>
          <p:nvPr/>
        </p:nvSpPr>
        <p:spPr>
          <a:xfrm>
            <a:off x="4519537" y="3599022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08" name="object 309">
            <a:extLst>
              <a:ext uri="{FF2B5EF4-FFF2-40B4-BE49-F238E27FC236}">
                <a16:creationId xmlns:a16="http://schemas.microsoft.com/office/drawing/2014/main" id="{9A6E491E-2000-F9B3-B909-B45668CF6A0D}"/>
              </a:ext>
            </a:extLst>
          </p:cNvPr>
          <p:cNvSpPr/>
          <p:nvPr/>
        </p:nvSpPr>
        <p:spPr>
          <a:xfrm>
            <a:off x="4519537" y="3599022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09" name="object 100">
            <a:extLst>
              <a:ext uri="{FF2B5EF4-FFF2-40B4-BE49-F238E27FC236}">
                <a16:creationId xmlns:a16="http://schemas.microsoft.com/office/drawing/2014/main" id="{55AEA74A-7611-13C6-3785-F4FC75E8D0F7}"/>
              </a:ext>
            </a:extLst>
          </p:cNvPr>
          <p:cNvSpPr/>
          <p:nvPr/>
        </p:nvSpPr>
        <p:spPr>
          <a:xfrm rot="16200000">
            <a:off x="4519537" y="3601403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10" name="object 309">
            <a:extLst>
              <a:ext uri="{FF2B5EF4-FFF2-40B4-BE49-F238E27FC236}">
                <a16:creationId xmlns:a16="http://schemas.microsoft.com/office/drawing/2014/main" id="{B55409B8-D5A1-9DF6-95A5-7C8EAFB7D369}"/>
              </a:ext>
            </a:extLst>
          </p:cNvPr>
          <p:cNvSpPr/>
          <p:nvPr/>
        </p:nvSpPr>
        <p:spPr>
          <a:xfrm rot="16200000">
            <a:off x="4519537" y="3601403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11" name="object 100">
            <a:extLst>
              <a:ext uri="{FF2B5EF4-FFF2-40B4-BE49-F238E27FC236}">
                <a16:creationId xmlns:a16="http://schemas.microsoft.com/office/drawing/2014/main" id="{47B5A74E-70D5-7939-ADB1-6A621FB6C830}"/>
              </a:ext>
            </a:extLst>
          </p:cNvPr>
          <p:cNvSpPr/>
          <p:nvPr/>
        </p:nvSpPr>
        <p:spPr>
          <a:xfrm>
            <a:off x="4545731" y="3599022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12" name="object 309">
            <a:extLst>
              <a:ext uri="{FF2B5EF4-FFF2-40B4-BE49-F238E27FC236}">
                <a16:creationId xmlns:a16="http://schemas.microsoft.com/office/drawing/2014/main" id="{0BA769A5-89C1-1539-3F34-EB5F7B6F3AA8}"/>
              </a:ext>
            </a:extLst>
          </p:cNvPr>
          <p:cNvSpPr/>
          <p:nvPr/>
        </p:nvSpPr>
        <p:spPr>
          <a:xfrm>
            <a:off x="4545731" y="3599022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13" name="object 100">
            <a:extLst>
              <a:ext uri="{FF2B5EF4-FFF2-40B4-BE49-F238E27FC236}">
                <a16:creationId xmlns:a16="http://schemas.microsoft.com/office/drawing/2014/main" id="{7C51637B-F809-28CF-D6CE-209B4C461B1E}"/>
              </a:ext>
            </a:extLst>
          </p:cNvPr>
          <p:cNvSpPr/>
          <p:nvPr/>
        </p:nvSpPr>
        <p:spPr>
          <a:xfrm rot="16200000">
            <a:off x="4545731" y="3601403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14" name="object 309">
            <a:extLst>
              <a:ext uri="{FF2B5EF4-FFF2-40B4-BE49-F238E27FC236}">
                <a16:creationId xmlns:a16="http://schemas.microsoft.com/office/drawing/2014/main" id="{B0E39F3D-FBD5-60A0-0AEB-4FBB2BD07C26}"/>
              </a:ext>
            </a:extLst>
          </p:cNvPr>
          <p:cNvSpPr/>
          <p:nvPr/>
        </p:nvSpPr>
        <p:spPr>
          <a:xfrm rot="16200000">
            <a:off x="4545731" y="3601403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15" name="object 100">
            <a:extLst>
              <a:ext uri="{FF2B5EF4-FFF2-40B4-BE49-F238E27FC236}">
                <a16:creationId xmlns:a16="http://schemas.microsoft.com/office/drawing/2014/main" id="{05F39BE6-AF72-9517-7BF1-C66F72B17B9B}"/>
              </a:ext>
            </a:extLst>
          </p:cNvPr>
          <p:cNvSpPr/>
          <p:nvPr/>
        </p:nvSpPr>
        <p:spPr>
          <a:xfrm>
            <a:off x="4555256" y="3599022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16" name="object 309">
            <a:extLst>
              <a:ext uri="{FF2B5EF4-FFF2-40B4-BE49-F238E27FC236}">
                <a16:creationId xmlns:a16="http://schemas.microsoft.com/office/drawing/2014/main" id="{E9B943C1-45FE-00E1-EED5-37FD776530C8}"/>
              </a:ext>
            </a:extLst>
          </p:cNvPr>
          <p:cNvSpPr/>
          <p:nvPr/>
        </p:nvSpPr>
        <p:spPr>
          <a:xfrm>
            <a:off x="4555256" y="3599022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17" name="object 100">
            <a:extLst>
              <a:ext uri="{FF2B5EF4-FFF2-40B4-BE49-F238E27FC236}">
                <a16:creationId xmlns:a16="http://schemas.microsoft.com/office/drawing/2014/main" id="{F5CD982D-6F5B-763E-DFBC-58E47191FA5C}"/>
              </a:ext>
            </a:extLst>
          </p:cNvPr>
          <p:cNvSpPr/>
          <p:nvPr/>
        </p:nvSpPr>
        <p:spPr>
          <a:xfrm rot="16200000">
            <a:off x="4555256" y="3601403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18" name="object 309">
            <a:extLst>
              <a:ext uri="{FF2B5EF4-FFF2-40B4-BE49-F238E27FC236}">
                <a16:creationId xmlns:a16="http://schemas.microsoft.com/office/drawing/2014/main" id="{59581F23-2BC3-6318-2B90-7056346D1D23}"/>
              </a:ext>
            </a:extLst>
          </p:cNvPr>
          <p:cNvSpPr/>
          <p:nvPr/>
        </p:nvSpPr>
        <p:spPr>
          <a:xfrm rot="16200000">
            <a:off x="4555256" y="3601403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19" name="object 100">
            <a:extLst>
              <a:ext uri="{FF2B5EF4-FFF2-40B4-BE49-F238E27FC236}">
                <a16:creationId xmlns:a16="http://schemas.microsoft.com/office/drawing/2014/main" id="{C36A348E-83C1-F8F1-A183-62DB0E234034}"/>
              </a:ext>
            </a:extLst>
          </p:cNvPr>
          <p:cNvSpPr/>
          <p:nvPr/>
        </p:nvSpPr>
        <p:spPr>
          <a:xfrm>
            <a:off x="4564781" y="3599022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20" name="object 309">
            <a:extLst>
              <a:ext uri="{FF2B5EF4-FFF2-40B4-BE49-F238E27FC236}">
                <a16:creationId xmlns:a16="http://schemas.microsoft.com/office/drawing/2014/main" id="{0DAD1620-C2CB-5D34-FC6B-463FD21ACD74}"/>
              </a:ext>
            </a:extLst>
          </p:cNvPr>
          <p:cNvSpPr/>
          <p:nvPr/>
        </p:nvSpPr>
        <p:spPr>
          <a:xfrm>
            <a:off x="4564781" y="3599022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21" name="object 100">
            <a:extLst>
              <a:ext uri="{FF2B5EF4-FFF2-40B4-BE49-F238E27FC236}">
                <a16:creationId xmlns:a16="http://schemas.microsoft.com/office/drawing/2014/main" id="{C03C6852-0473-3019-D04C-33E1C3FCBE3E}"/>
              </a:ext>
            </a:extLst>
          </p:cNvPr>
          <p:cNvSpPr/>
          <p:nvPr/>
        </p:nvSpPr>
        <p:spPr>
          <a:xfrm rot="16200000">
            <a:off x="4564781" y="3601403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22" name="object 309">
            <a:extLst>
              <a:ext uri="{FF2B5EF4-FFF2-40B4-BE49-F238E27FC236}">
                <a16:creationId xmlns:a16="http://schemas.microsoft.com/office/drawing/2014/main" id="{6C0C1FFF-BCC4-DCA4-5887-F77695F63D85}"/>
              </a:ext>
            </a:extLst>
          </p:cNvPr>
          <p:cNvSpPr/>
          <p:nvPr/>
        </p:nvSpPr>
        <p:spPr>
          <a:xfrm rot="16200000">
            <a:off x="4564781" y="3601403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23" name="object 100">
            <a:extLst>
              <a:ext uri="{FF2B5EF4-FFF2-40B4-BE49-F238E27FC236}">
                <a16:creationId xmlns:a16="http://schemas.microsoft.com/office/drawing/2014/main" id="{65E324B8-D799-B552-592D-7AC542B54D3A}"/>
              </a:ext>
            </a:extLst>
          </p:cNvPr>
          <p:cNvSpPr/>
          <p:nvPr/>
        </p:nvSpPr>
        <p:spPr>
          <a:xfrm>
            <a:off x="4581450" y="3599022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24" name="object 309">
            <a:extLst>
              <a:ext uri="{FF2B5EF4-FFF2-40B4-BE49-F238E27FC236}">
                <a16:creationId xmlns:a16="http://schemas.microsoft.com/office/drawing/2014/main" id="{7FF159D4-F2B4-EE00-22BC-D4AE392808A2}"/>
              </a:ext>
            </a:extLst>
          </p:cNvPr>
          <p:cNvSpPr/>
          <p:nvPr/>
        </p:nvSpPr>
        <p:spPr>
          <a:xfrm>
            <a:off x="4581450" y="3599022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25" name="object 100">
            <a:extLst>
              <a:ext uri="{FF2B5EF4-FFF2-40B4-BE49-F238E27FC236}">
                <a16:creationId xmlns:a16="http://schemas.microsoft.com/office/drawing/2014/main" id="{5D264B3F-7EBF-3485-7ED2-3D636309D5B3}"/>
              </a:ext>
            </a:extLst>
          </p:cNvPr>
          <p:cNvSpPr/>
          <p:nvPr/>
        </p:nvSpPr>
        <p:spPr>
          <a:xfrm rot="16200000">
            <a:off x="4581450" y="3601403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26" name="object 309">
            <a:extLst>
              <a:ext uri="{FF2B5EF4-FFF2-40B4-BE49-F238E27FC236}">
                <a16:creationId xmlns:a16="http://schemas.microsoft.com/office/drawing/2014/main" id="{36C914AA-0BCC-7074-6E22-155718124A38}"/>
              </a:ext>
            </a:extLst>
          </p:cNvPr>
          <p:cNvSpPr/>
          <p:nvPr/>
        </p:nvSpPr>
        <p:spPr>
          <a:xfrm rot="16200000">
            <a:off x="4581450" y="3601403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27" name="object 100">
            <a:extLst>
              <a:ext uri="{FF2B5EF4-FFF2-40B4-BE49-F238E27FC236}">
                <a16:creationId xmlns:a16="http://schemas.microsoft.com/office/drawing/2014/main" id="{CAC51625-5217-707F-C81E-18679EB6081A}"/>
              </a:ext>
            </a:extLst>
          </p:cNvPr>
          <p:cNvSpPr/>
          <p:nvPr/>
        </p:nvSpPr>
        <p:spPr>
          <a:xfrm>
            <a:off x="4588594" y="3670459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28" name="object 309">
            <a:extLst>
              <a:ext uri="{FF2B5EF4-FFF2-40B4-BE49-F238E27FC236}">
                <a16:creationId xmlns:a16="http://schemas.microsoft.com/office/drawing/2014/main" id="{B35799E2-E270-37A1-7CB9-3C497139F27E}"/>
              </a:ext>
            </a:extLst>
          </p:cNvPr>
          <p:cNvSpPr/>
          <p:nvPr/>
        </p:nvSpPr>
        <p:spPr>
          <a:xfrm>
            <a:off x="4588594" y="3670459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29" name="object 100">
            <a:extLst>
              <a:ext uri="{FF2B5EF4-FFF2-40B4-BE49-F238E27FC236}">
                <a16:creationId xmlns:a16="http://schemas.microsoft.com/office/drawing/2014/main" id="{AA938ED1-99B7-735A-929E-E9C5B1C481D5}"/>
              </a:ext>
            </a:extLst>
          </p:cNvPr>
          <p:cNvSpPr/>
          <p:nvPr/>
        </p:nvSpPr>
        <p:spPr>
          <a:xfrm rot="16200000">
            <a:off x="4588594" y="3672840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30" name="object 309">
            <a:extLst>
              <a:ext uri="{FF2B5EF4-FFF2-40B4-BE49-F238E27FC236}">
                <a16:creationId xmlns:a16="http://schemas.microsoft.com/office/drawing/2014/main" id="{13F847D3-CAD7-D239-2BE9-26E9920118B7}"/>
              </a:ext>
            </a:extLst>
          </p:cNvPr>
          <p:cNvSpPr/>
          <p:nvPr/>
        </p:nvSpPr>
        <p:spPr>
          <a:xfrm rot="16200000">
            <a:off x="4588594" y="3672840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31" name="object 100">
            <a:extLst>
              <a:ext uri="{FF2B5EF4-FFF2-40B4-BE49-F238E27FC236}">
                <a16:creationId xmlns:a16="http://schemas.microsoft.com/office/drawing/2014/main" id="{85D5C1C9-2F89-467D-7BBE-F195B1825E14}"/>
              </a:ext>
            </a:extLst>
          </p:cNvPr>
          <p:cNvSpPr/>
          <p:nvPr/>
        </p:nvSpPr>
        <p:spPr>
          <a:xfrm>
            <a:off x="4602881" y="3670459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32" name="object 309">
            <a:extLst>
              <a:ext uri="{FF2B5EF4-FFF2-40B4-BE49-F238E27FC236}">
                <a16:creationId xmlns:a16="http://schemas.microsoft.com/office/drawing/2014/main" id="{4C84B600-6650-89FB-16F1-EE438EE52C1D}"/>
              </a:ext>
            </a:extLst>
          </p:cNvPr>
          <p:cNvSpPr/>
          <p:nvPr/>
        </p:nvSpPr>
        <p:spPr>
          <a:xfrm>
            <a:off x="4602881" y="3670459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33" name="object 100">
            <a:extLst>
              <a:ext uri="{FF2B5EF4-FFF2-40B4-BE49-F238E27FC236}">
                <a16:creationId xmlns:a16="http://schemas.microsoft.com/office/drawing/2014/main" id="{BFA12A97-176F-975F-CF95-8EF802EA5D8F}"/>
              </a:ext>
            </a:extLst>
          </p:cNvPr>
          <p:cNvSpPr/>
          <p:nvPr/>
        </p:nvSpPr>
        <p:spPr>
          <a:xfrm rot="16200000">
            <a:off x="4602881" y="3672840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34" name="object 309">
            <a:extLst>
              <a:ext uri="{FF2B5EF4-FFF2-40B4-BE49-F238E27FC236}">
                <a16:creationId xmlns:a16="http://schemas.microsoft.com/office/drawing/2014/main" id="{D14B9A8E-ABEB-C7CC-EE42-495E6415122B}"/>
              </a:ext>
            </a:extLst>
          </p:cNvPr>
          <p:cNvSpPr/>
          <p:nvPr/>
        </p:nvSpPr>
        <p:spPr>
          <a:xfrm rot="16200000">
            <a:off x="4602881" y="3672840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35" name="object 100">
            <a:extLst>
              <a:ext uri="{FF2B5EF4-FFF2-40B4-BE49-F238E27FC236}">
                <a16:creationId xmlns:a16="http://schemas.microsoft.com/office/drawing/2014/main" id="{4509311C-F574-8FB0-7C26-C7AD1D119638}"/>
              </a:ext>
            </a:extLst>
          </p:cNvPr>
          <p:cNvSpPr/>
          <p:nvPr/>
        </p:nvSpPr>
        <p:spPr>
          <a:xfrm>
            <a:off x="4836243" y="3670459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36" name="object 309">
            <a:extLst>
              <a:ext uri="{FF2B5EF4-FFF2-40B4-BE49-F238E27FC236}">
                <a16:creationId xmlns:a16="http://schemas.microsoft.com/office/drawing/2014/main" id="{3A513E33-0540-D416-240A-EB5D965B0369}"/>
              </a:ext>
            </a:extLst>
          </p:cNvPr>
          <p:cNvSpPr/>
          <p:nvPr/>
        </p:nvSpPr>
        <p:spPr>
          <a:xfrm>
            <a:off x="4836243" y="3670459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37" name="object 100">
            <a:extLst>
              <a:ext uri="{FF2B5EF4-FFF2-40B4-BE49-F238E27FC236}">
                <a16:creationId xmlns:a16="http://schemas.microsoft.com/office/drawing/2014/main" id="{9CB5D2CA-7AE1-DD21-53B2-47936716003C}"/>
              </a:ext>
            </a:extLst>
          </p:cNvPr>
          <p:cNvSpPr/>
          <p:nvPr/>
        </p:nvSpPr>
        <p:spPr>
          <a:xfrm rot="16200000">
            <a:off x="4836243" y="3672840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38" name="object 309">
            <a:extLst>
              <a:ext uri="{FF2B5EF4-FFF2-40B4-BE49-F238E27FC236}">
                <a16:creationId xmlns:a16="http://schemas.microsoft.com/office/drawing/2014/main" id="{28652914-D7AA-7A42-DDBE-75B999AD3F98}"/>
              </a:ext>
            </a:extLst>
          </p:cNvPr>
          <p:cNvSpPr/>
          <p:nvPr/>
        </p:nvSpPr>
        <p:spPr>
          <a:xfrm rot="16200000">
            <a:off x="4836243" y="3672840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39" name="object 100">
            <a:extLst>
              <a:ext uri="{FF2B5EF4-FFF2-40B4-BE49-F238E27FC236}">
                <a16:creationId xmlns:a16="http://schemas.microsoft.com/office/drawing/2014/main" id="{FECFAD87-9D8C-600E-AB13-EBA48B483475}"/>
              </a:ext>
            </a:extLst>
          </p:cNvPr>
          <p:cNvSpPr/>
          <p:nvPr/>
        </p:nvSpPr>
        <p:spPr>
          <a:xfrm>
            <a:off x="4883868" y="3670459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40" name="object 309">
            <a:extLst>
              <a:ext uri="{FF2B5EF4-FFF2-40B4-BE49-F238E27FC236}">
                <a16:creationId xmlns:a16="http://schemas.microsoft.com/office/drawing/2014/main" id="{B2675CE8-0DB1-E4D5-FA33-3F645ADCA95B}"/>
              </a:ext>
            </a:extLst>
          </p:cNvPr>
          <p:cNvSpPr/>
          <p:nvPr/>
        </p:nvSpPr>
        <p:spPr>
          <a:xfrm>
            <a:off x="4883868" y="3670459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41" name="object 100">
            <a:extLst>
              <a:ext uri="{FF2B5EF4-FFF2-40B4-BE49-F238E27FC236}">
                <a16:creationId xmlns:a16="http://schemas.microsoft.com/office/drawing/2014/main" id="{BFCB7AB1-E803-02FB-54A9-B17FEC5D4FB9}"/>
              </a:ext>
            </a:extLst>
          </p:cNvPr>
          <p:cNvSpPr/>
          <p:nvPr/>
        </p:nvSpPr>
        <p:spPr>
          <a:xfrm rot="16200000">
            <a:off x="4883868" y="3672840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42" name="object 309">
            <a:extLst>
              <a:ext uri="{FF2B5EF4-FFF2-40B4-BE49-F238E27FC236}">
                <a16:creationId xmlns:a16="http://schemas.microsoft.com/office/drawing/2014/main" id="{C9D3EF08-5342-C565-EB0A-B348E76D22F5}"/>
              </a:ext>
            </a:extLst>
          </p:cNvPr>
          <p:cNvSpPr/>
          <p:nvPr/>
        </p:nvSpPr>
        <p:spPr>
          <a:xfrm rot="16200000">
            <a:off x="4883868" y="3672840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43" name="object 100">
            <a:extLst>
              <a:ext uri="{FF2B5EF4-FFF2-40B4-BE49-F238E27FC236}">
                <a16:creationId xmlns:a16="http://schemas.microsoft.com/office/drawing/2014/main" id="{477B8428-3BE4-1D76-0C7B-5723B50BF88C}"/>
              </a:ext>
            </a:extLst>
          </p:cNvPr>
          <p:cNvSpPr/>
          <p:nvPr/>
        </p:nvSpPr>
        <p:spPr>
          <a:xfrm>
            <a:off x="4936255" y="3670459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44" name="object 309">
            <a:extLst>
              <a:ext uri="{FF2B5EF4-FFF2-40B4-BE49-F238E27FC236}">
                <a16:creationId xmlns:a16="http://schemas.microsoft.com/office/drawing/2014/main" id="{11340097-177D-69E9-9B9B-FE30894604EE}"/>
              </a:ext>
            </a:extLst>
          </p:cNvPr>
          <p:cNvSpPr/>
          <p:nvPr/>
        </p:nvSpPr>
        <p:spPr>
          <a:xfrm>
            <a:off x="4936255" y="3670459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45" name="object 100">
            <a:extLst>
              <a:ext uri="{FF2B5EF4-FFF2-40B4-BE49-F238E27FC236}">
                <a16:creationId xmlns:a16="http://schemas.microsoft.com/office/drawing/2014/main" id="{1119F315-6893-CD14-A31B-D89F43EAC025}"/>
              </a:ext>
            </a:extLst>
          </p:cNvPr>
          <p:cNvSpPr/>
          <p:nvPr/>
        </p:nvSpPr>
        <p:spPr>
          <a:xfrm rot="16200000">
            <a:off x="4936255" y="3672840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46" name="object 309">
            <a:extLst>
              <a:ext uri="{FF2B5EF4-FFF2-40B4-BE49-F238E27FC236}">
                <a16:creationId xmlns:a16="http://schemas.microsoft.com/office/drawing/2014/main" id="{C45A7BFA-D93A-8C4A-D7F2-F816229323EE}"/>
              </a:ext>
            </a:extLst>
          </p:cNvPr>
          <p:cNvSpPr/>
          <p:nvPr/>
        </p:nvSpPr>
        <p:spPr>
          <a:xfrm rot="16200000">
            <a:off x="4936255" y="3672840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47" name="object 100">
            <a:extLst>
              <a:ext uri="{FF2B5EF4-FFF2-40B4-BE49-F238E27FC236}">
                <a16:creationId xmlns:a16="http://schemas.microsoft.com/office/drawing/2014/main" id="{4830A11A-6B74-2180-C5E2-285870EFBAF9}"/>
              </a:ext>
            </a:extLst>
          </p:cNvPr>
          <p:cNvSpPr/>
          <p:nvPr/>
        </p:nvSpPr>
        <p:spPr>
          <a:xfrm>
            <a:off x="4964830" y="3670459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48" name="object 309">
            <a:extLst>
              <a:ext uri="{FF2B5EF4-FFF2-40B4-BE49-F238E27FC236}">
                <a16:creationId xmlns:a16="http://schemas.microsoft.com/office/drawing/2014/main" id="{236B9E2A-C619-298E-3488-FB18362A4921}"/>
              </a:ext>
            </a:extLst>
          </p:cNvPr>
          <p:cNvSpPr/>
          <p:nvPr/>
        </p:nvSpPr>
        <p:spPr>
          <a:xfrm>
            <a:off x="4964830" y="3670459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49" name="object 100">
            <a:extLst>
              <a:ext uri="{FF2B5EF4-FFF2-40B4-BE49-F238E27FC236}">
                <a16:creationId xmlns:a16="http://schemas.microsoft.com/office/drawing/2014/main" id="{4ECB02E8-0FAE-82CF-4D6F-44A8AB0877E5}"/>
              </a:ext>
            </a:extLst>
          </p:cNvPr>
          <p:cNvSpPr/>
          <p:nvPr/>
        </p:nvSpPr>
        <p:spPr>
          <a:xfrm rot="16200000">
            <a:off x="4964830" y="3672840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50" name="object 309">
            <a:extLst>
              <a:ext uri="{FF2B5EF4-FFF2-40B4-BE49-F238E27FC236}">
                <a16:creationId xmlns:a16="http://schemas.microsoft.com/office/drawing/2014/main" id="{46E83F6C-F8E4-24D9-9820-F2219E47DDD0}"/>
              </a:ext>
            </a:extLst>
          </p:cNvPr>
          <p:cNvSpPr/>
          <p:nvPr/>
        </p:nvSpPr>
        <p:spPr>
          <a:xfrm rot="16200000">
            <a:off x="4964830" y="3672840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51" name="object 100">
            <a:extLst>
              <a:ext uri="{FF2B5EF4-FFF2-40B4-BE49-F238E27FC236}">
                <a16:creationId xmlns:a16="http://schemas.microsoft.com/office/drawing/2014/main" id="{AC1EFCE1-855D-A5E9-8C4D-7DFB638887D2}"/>
              </a:ext>
            </a:extLst>
          </p:cNvPr>
          <p:cNvSpPr/>
          <p:nvPr/>
        </p:nvSpPr>
        <p:spPr>
          <a:xfrm>
            <a:off x="4993405" y="3670459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52" name="object 309">
            <a:extLst>
              <a:ext uri="{FF2B5EF4-FFF2-40B4-BE49-F238E27FC236}">
                <a16:creationId xmlns:a16="http://schemas.microsoft.com/office/drawing/2014/main" id="{F397499E-891A-9727-02C3-6F075EA5C682}"/>
              </a:ext>
            </a:extLst>
          </p:cNvPr>
          <p:cNvSpPr/>
          <p:nvPr/>
        </p:nvSpPr>
        <p:spPr>
          <a:xfrm>
            <a:off x="4993405" y="3670459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53" name="object 100">
            <a:extLst>
              <a:ext uri="{FF2B5EF4-FFF2-40B4-BE49-F238E27FC236}">
                <a16:creationId xmlns:a16="http://schemas.microsoft.com/office/drawing/2014/main" id="{34435E4E-96A1-F39C-52BC-3A37BF254EB7}"/>
              </a:ext>
            </a:extLst>
          </p:cNvPr>
          <p:cNvSpPr/>
          <p:nvPr/>
        </p:nvSpPr>
        <p:spPr>
          <a:xfrm rot="16200000">
            <a:off x="4993405" y="3672840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54" name="object 309">
            <a:extLst>
              <a:ext uri="{FF2B5EF4-FFF2-40B4-BE49-F238E27FC236}">
                <a16:creationId xmlns:a16="http://schemas.microsoft.com/office/drawing/2014/main" id="{34F6EBC6-C4B6-A1E5-67FA-2C127355B5BE}"/>
              </a:ext>
            </a:extLst>
          </p:cNvPr>
          <p:cNvSpPr/>
          <p:nvPr/>
        </p:nvSpPr>
        <p:spPr>
          <a:xfrm rot="16200000">
            <a:off x="4993405" y="3672840"/>
            <a:ext cx="0" cy="34218"/>
          </a:xfrm>
          <a:custGeom>
            <a:avLst/>
            <a:gdLst/>
            <a:ahLst/>
            <a:cxnLst/>
            <a:rect l="l" t="t" r="r" b="b"/>
            <a:pathLst>
              <a:path h="28575">
                <a:moveTo>
                  <a:pt x="0" y="0"/>
                </a:moveTo>
                <a:lnTo>
                  <a:pt x="0" y="28143"/>
                </a:lnTo>
              </a:path>
            </a:pathLst>
          </a:custGeom>
          <a:ln w="6350">
            <a:solidFill>
              <a:srgbClr val="2D5E7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55" name="object 67">
            <a:extLst>
              <a:ext uri="{FF2B5EF4-FFF2-40B4-BE49-F238E27FC236}">
                <a16:creationId xmlns:a16="http://schemas.microsoft.com/office/drawing/2014/main" id="{BC66786A-A828-C4E8-F176-4961AB983093}"/>
              </a:ext>
            </a:extLst>
          </p:cNvPr>
          <p:cNvSpPr txBox="1"/>
          <p:nvPr/>
        </p:nvSpPr>
        <p:spPr>
          <a:xfrm rot="10800000" flipV="1">
            <a:off x="3163752" y="4909041"/>
            <a:ext cx="136230" cy="264634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t">
            <a:no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73</a:t>
            </a:r>
          </a:p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30</a:t>
            </a:r>
          </a:p>
        </p:txBody>
      </p:sp>
      <p:sp>
        <p:nvSpPr>
          <p:cNvPr id="1156" name="object 67">
            <a:extLst>
              <a:ext uri="{FF2B5EF4-FFF2-40B4-BE49-F238E27FC236}">
                <a16:creationId xmlns:a16="http://schemas.microsoft.com/office/drawing/2014/main" id="{FBEF2C16-D784-7B60-D119-E174358A6AB9}"/>
              </a:ext>
            </a:extLst>
          </p:cNvPr>
          <p:cNvSpPr txBox="1"/>
          <p:nvPr/>
        </p:nvSpPr>
        <p:spPr>
          <a:xfrm rot="10800000" flipV="1">
            <a:off x="3031623" y="4909041"/>
            <a:ext cx="136230" cy="264634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t">
            <a:no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73</a:t>
            </a:r>
          </a:p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30</a:t>
            </a:r>
          </a:p>
        </p:txBody>
      </p:sp>
      <p:sp>
        <p:nvSpPr>
          <p:cNvPr id="1157" name="object 67">
            <a:extLst>
              <a:ext uri="{FF2B5EF4-FFF2-40B4-BE49-F238E27FC236}">
                <a16:creationId xmlns:a16="http://schemas.microsoft.com/office/drawing/2014/main" id="{005DDECA-EB2E-A01E-69A4-8C61B176B46F}"/>
              </a:ext>
            </a:extLst>
          </p:cNvPr>
          <p:cNvSpPr txBox="1"/>
          <p:nvPr/>
        </p:nvSpPr>
        <p:spPr>
          <a:xfrm rot="10800000" flipV="1">
            <a:off x="2899495" y="4909041"/>
            <a:ext cx="136230" cy="264634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t">
            <a:no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77</a:t>
            </a:r>
          </a:p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31</a:t>
            </a:r>
          </a:p>
        </p:txBody>
      </p:sp>
      <p:sp>
        <p:nvSpPr>
          <p:cNvPr id="1158" name="object 67">
            <a:extLst>
              <a:ext uri="{FF2B5EF4-FFF2-40B4-BE49-F238E27FC236}">
                <a16:creationId xmlns:a16="http://schemas.microsoft.com/office/drawing/2014/main" id="{04BA86AD-DB80-D7A8-E1A4-D2B0828C8EAB}"/>
              </a:ext>
            </a:extLst>
          </p:cNvPr>
          <p:cNvSpPr txBox="1"/>
          <p:nvPr/>
        </p:nvSpPr>
        <p:spPr>
          <a:xfrm rot="10800000" flipV="1">
            <a:off x="2635238" y="4909041"/>
            <a:ext cx="136230" cy="264634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t">
            <a:no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79</a:t>
            </a:r>
          </a:p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31</a:t>
            </a:r>
          </a:p>
        </p:txBody>
      </p:sp>
      <p:sp>
        <p:nvSpPr>
          <p:cNvPr id="1159" name="object 67">
            <a:extLst>
              <a:ext uri="{FF2B5EF4-FFF2-40B4-BE49-F238E27FC236}">
                <a16:creationId xmlns:a16="http://schemas.microsoft.com/office/drawing/2014/main" id="{65474BEF-222C-F0C0-EEC3-EFDCDB29715D}"/>
              </a:ext>
            </a:extLst>
          </p:cNvPr>
          <p:cNvSpPr txBox="1"/>
          <p:nvPr/>
        </p:nvSpPr>
        <p:spPr>
          <a:xfrm rot="10800000" flipV="1">
            <a:off x="1974596" y="4909041"/>
            <a:ext cx="136230" cy="264634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t">
            <a:no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94</a:t>
            </a:r>
          </a:p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35</a:t>
            </a:r>
          </a:p>
        </p:txBody>
      </p:sp>
      <p:sp>
        <p:nvSpPr>
          <p:cNvPr id="1160" name="object 67">
            <a:extLst>
              <a:ext uri="{FF2B5EF4-FFF2-40B4-BE49-F238E27FC236}">
                <a16:creationId xmlns:a16="http://schemas.microsoft.com/office/drawing/2014/main" id="{50164E03-A177-DDF7-8A35-EF21F8C160F8}"/>
              </a:ext>
            </a:extLst>
          </p:cNvPr>
          <p:cNvSpPr txBox="1"/>
          <p:nvPr/>
        </p:nvSpPr>
        <p:spPr>
          <a:xfrm rot="10800000" flipV="1">
            <a:off x="1578210" y="4909041"/>
            <a:ext cx="136230" cy="264634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t">
            <a:no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-10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12</a:t>
            </a:r>
          </a:p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-10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61</a:t>
            </a:r>
          </a:p>
        </p:txBody>
      </p:sp>
      <p:sp>
        <p:nvSpPr>
          <p:cNvPr id="1161" name="object 67">
            <a:extLst>
              <a:ext uri="{FF2B5EF4-FFF2-40B4-BE49-F238E27FC236}">
                <a16:creationId xmlns:a16="http://schemas.microsoft.com/office/drawing/2014/main" id="{0BF97630-D6F8-BFAB-1A64-D967EB959DDC}"/>
              </a:ext>
            </a:extLst>
          </p:cNvPr>
          <p:cNvSpPr txBox="1"/>
          <p:nvPr/>
        </p:nvSpPr>
        <p:spPr>
          <a:xfrm rot="10800000" flipV="1">
            <a:off x="1446080" y="4909041"/>
            <a:ext cx="136230" cy="264634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t">
            <a:no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-10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66</a:t>
            </a:r>
          </a:p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-10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94</a:t>
            </a:r>
          </a:p>
        </p:txBody>
      </p:sp>
      <p:sp>
        <p:nvSpPr>
          <p:cNvPr id="1162" name="object 67">
            <a:extLst>
              <a:ext uri="{FF2B5EF4-FFF2-40B4-BE49-F238E27FC236}">
                <a16:creationId xmlns:a16="http://schemas.microsoft.com/office/drawing/2014/main" id="{3ADCF48D-4120-2B2D-A613-D77B6C6B9047}"/>
              </a:ext>
            </a:extLst>
          </p:cNvPr>
          <p:cNvSpPr txBox="1"/>
          <p:nvPr/>
        </p:nvSpPr>
        <p:spPr>
          <a:xfrm rot="10800000" flipV="1">
            <a:off x="1313953" y="4909041"/>
            <a:ext cx="136230" cy="264634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t">
            <a:no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-10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80</a:t>
            </a:r>
          </a:p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-10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79</a:t>
            </a:r>
          </a:p>
        </p:txBody>
      </p:sp>
      <p:sp>
        <p:nvSpPr>
          <p:cNvPr id="4" name="Content Placeholder 1">
            <a:extLst>
              <a:ext uri="{FF2B5EF4-FFF2-40B4-BE49-F238E27FC236}">
                <a16:creationId xmlns:a16="http://schemas.microsoft.com/office/drawing/2014/main" id="{6E267A62-FDCE-2ED3-C353-BABCD4E11679}"/>
              </a:ext>
            </a:extLst>
          </p:cNvPr>
          <p:cNvSpPr txBox="1">
            <a:spLocks/>
          </p:cNvSpPr>
          <p:nvPr/>
        </p:nvSpPr>
        <p:spPr>
          <a:xfrm>
            <a:off x="3645329" y="2734415"/>
            <a:ext cx="1647070" cy="85561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500" b="1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75000"/>
                    <a:lumOff val="2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Median PFS</a:t>
            </a:r>
            <a:r>
              <a:rPr kumimoji="0" lang="en-GB" sz="1500" b="0" i="0" u="none" strike="noStrike" kern="1200" cap="none" spc="0" normalizeH="0" baseline="30000" noProof="0">
                <a:ln>
                  <a:noFill/>
                </a:ln>
                <a:solidFill>
                  <a:srgbClr val="585854">
                    <a:lumMod val="75000"/>
                    <a:lumOff val="2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b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75000"/>
                    <a:lumOff val="2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CH" sz="1900" b="1" i="0" u="none" strike="noStrike" kern="1200" cap="none" spc="0" normalizeH="0" baseline="0" noProof="0">
                <a:ln>
                  <a:noFill/>
                </a:ln>
                <a:solidFill>
                  <a:srgbClr val="2C5E77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4</a:t>
            </a:r>
            <a:r>
              <a:rPr kumimoji="0" lang="en-GB" sz="1900" b="1" i="0" u="none" strike="noStrike" kern="1200" cap="none" spc="0" normalizeH="0" baseline="0" noProof="0">
                <a:ln>
                  <a:noFill/>
                </a:ln>
                <a:solidFill>
                  <a:srgbClr val="2C5E77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.</a:t>
            </a:r>
            <a:r>
              <a:rPr kumimoji="0" lang="en-CH" sz="1900" b="1" i="0" u="none" strike="noStrike" kern="1200" cap="none" spc="0" normalizeH="0" baseline="0" noProof="0">
                <a:ln>
                  <a:noFill/>
                </a:ln>
                <a:solidFill>
                  <a:srgbClr val="2C5E77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7</a:t>
            </a:r>
            <a:r>
              <a:rPr kumimoji="0" lang="en-GB" sz="1900" b="1" i="0" u="none" strike="noStrike" kern="1200" cap="none" spc="0" normalizeH="0" baseline="0" noProof="0">
                <a:ln>
                  <a:noFill/>
                </a:ln>
                <a:solidFill>
                  <a:srgbClr val="2C5E77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months</a:t>
            </a:r>
            <a:endParaRPr kumimoji="0" lang="en-CH" sz="1900" b="1" i="0" u="none" strike="noStrike" kern="1200" cap="none" spc="0" normalizeH="0" baseline="0" noProof="0">
              <a:ln>
                <a:noFill/>
              </a:ln>
              <a:solidFill>
                <a:srgbClr val="2C5E77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CH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vs</a:t>
            </a:r>
          </a:p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CH" sz="1900" b="1" i="0" u="none" strike="noStrike" kern="1200" cap="none" spc="0" normalizeH="0" baseline="0" noProof="0">
                <a:ln>
                  <a:noFill/>
                </a:ln>
                <a:solidFill>
                  <a:srgbClr val="9D9C98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3.7  months</a:t>
            </a:r>
            <a:endParaRPr kumimoji="0" lang="en-GB" sz="1100" b="0" i="0" u="none" strike="noStrike" kern="1200" cap="none" spc="0" normalizeH="0" baseline="0" noProof="0">
              <a:ln>
                <a:noFill/>
              </a:ln>
              <a:solidFill>
                <a:srgbClr val="9D9C98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533AFF2-810A-5516-A6D0-05C6338C7B22}"/>
              </a:ext>
            </a:extLst>
          </p:cNvPr>
          <p:cNvSpPr txBox="1"/>
          <p:nvPr/>
        </p:nvSpPr>
        <p:spPr>
          <a:xfrm>
            <a:off x="1336184" y="1816688"/>
            <a:ext cx="4241463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sz="1600" b="1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xi-cel vs SoC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: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Arial" charset="0"/>
                <a:cs typeface="Arial" charset="0"/>
              </a:rPr>
              <a:t> 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ivotal study PFS</a:t>
            </a:r>
            <a:r>
              <a:rPr kumimoji="0" lang="en-GB" sz="1600" b="0" i="0" u="none" strike="noStrike" kern="1200" cap="none" spc="0" normalizeH="0" baseline="3000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,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*</a:t>
            </a:r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4EA7B9B-6B4C-1DC2-BACA-E24A39775E53}"/>
              </a:ext>
            </a:extLst>
          </p:cNvPr>
          <p:cNvSpPr txBox="1"/>
          <p:nvPr/>
        </p:nvSpPr>
        <p:spPr>
          <a:xfrm>
            <a:off x="7100865" y="1816688"/>
            <a:ext cx="4233846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sz="16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Liso-cel</a:t>
            </a: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:</a:t>
            </a: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Arial" charset="0"/>
                <a:cs typeface="Arial" charset="0"/>
              </a:rPr>
              <a:t> </a:t>
            </a: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ivotal study PFS</a:t>
            </a:r>
            <a:r>
              <a:rPr kumimoji="0" lang="en-GB" sz="1600" b="0" i="0" u="none" strike="noStrike" kern="1200" cap="none" spc="0" normalizeH="0" baseline="3000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,†</a:t>
            </a:r>
            <a:endParaRPr kumimoji="0" lang="en-GB" sz="1400" b="1" i="0" u="none" strike="noStrike" kern="1200" cap="none" spc="0" normalizeH="0" baseline="3000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" name="object 66">
            <a:extLst>
              <a:ext uri="{FF2B5EF4-FFF2-40B4-BE49-F238E27FC236}">
                <a16:creationId xmlns:a16="http://schemas.microsoft.com/office/drawing/2014/main" id="{E64A65CA-1061-62D4-87F1-372C125467CD}"/>
              </a:ext>
            </a:extLst>
          </p:cNvPr>
          <p:cNvSpPr/>
          <p:nvPr/>
        </p:nvSpPr>
        <p:spPr>
          <a:xfrm>
            <a:off x="6985321" y="2555763"/>
            <a:ext cx="0" cy="1828635"/>
          </a:xfrm>
          <a:custGeom>
            <a:avLst/>
            <a:gdLst/>
            <a:ahLst/>
            <a:cxnLst/>
            <a:rect l="l" t="t" r="r" b="b"/>
            <a:pathLst>
              <a:path h="1441450">
                <a:moveTo>
                  <a:pt x="0" y="1441005"/>
                </a:moveTo>
                <a:lnTo>
                  <a:pt x="0" y="0"/>
                </a:lnTo>
              </a:path>
            </a:pathLst>
          </a:custGeom>
          <a:ln w="635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" name="object 67">
            <a:extLst>
              <a:ext uri="{FF2B5EF4-FFF2-40B4-BE49-F238E27FC236}">
                <a16:creationId xmlns:a16="http://schemas.microsoft.com/office/drawing/2014/main" id="{A515DFF7-7676-D926-709D-183C379F6E3C}"/>
              </a:ext>
            </a:extLst>
          </p:cNvPr>
          <p:cNvSpPr txBox="1"/>
          <p:nvPr/>
        </p:nvSpPr>
        <p:spPr>
          <a:xfrm>
            <a:off x="6516448" y="2490593"/>
            <a:ext cx="184666" cy="2018104"/>
          </a:xfrm>
          <a:prstGeom prst="rect">
            <a:avLst/>
          </a:prstGeom>
          <a:noFill/>
        </p:spPr>
        <p:txBody>
          <a:bodyPr vert="vert270" wrap="square" lIns="0" tIns="0" rIns="0" bIns="0" rtlCol="0" anchor="ctr">
            <a:sp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gression-free 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 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urvival (%)</a:t>
            </a:r>
          </a:p>
        </p:txBody>
      </p:sp>
      <p:sp>
        <p:nvSpPr>
          <p:cNvPr id="11" name="object 69">
            <a:extLst>
              <a:ext uri="{FF2B5EF4-FFF2-40B4-BE49-F238E27FC236}">
                <a16:creationId xmlns:a16="http://schemas.microsoft.com/office/drawing/2014/main" id="{CA329D24-5C7A-5505-296A-1C43AB9BD50A}"/>
              </a:ext>
            </a:extLst>
          </p:cNvPr>
          <p:cNvSpPr/>
          <p:nvPr/>
        </p:nvSpPr>
        <p:spPr>
          <a:xfrm>
            <a:off x="6985317" y="4384517"/>
            <a:ext cx="3699035" cy="45719"/>
          </a:xfrm>
          <a:custGeom>
            <a:avLst/>
            <a:gdLst/>
            <a:ahLst/>
            <a:cxnLst/>
            <a:rect l="l" t="t" r="r" b="b"/>
            <a:pathLst>
              <a:path w="3295650">
                <a:moveTo>
                  <a:pt x="3295548" y="0"/>
                </a:moveTo>
                <a:lnTo>
                  <a:pt x="0" y="0"/>
                </a:lnTo>
              </a:path>
              <a:path w="3295650">
                <a:moveTo>
                  <a:pt x="3295548" y="0"/>
                </a:moveTo>
                <a:lnTo>
                  <a:pt x="0" y="0"/>
                </a:lnTo>
              </a:path>
            </a:pathLst>
          </a:custGeom>
          <a:ln w="635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" name="object 71">
            <a:extLst>
              <a:ext uri="{FF2B5EF4-FFF2-40B4-BE49-F238E27FC236}">
                <a16:creationId xmlns:a16="http://schemas.microsoft.com/office/drawing/2014/main" id="{C681449C-D055-08F9-0ACC-E8EB7C8B7EBF}"/>
              </a:ext>
            </a:extLst>
          </p:cNvPr>
          <p:cNvSpPr/>
          <p:nvPr/>
        </p:nvSpPr>
        <p:spPr>
          <a:xfrm>
            <a:off x="6960466" y="2923794"/>
            <a:ext cx="24899" cy="0"/>
          </a:xfrm>
          <a:custGeom>
            <a:avLst/>
            <a:gdLst/>
            <a:ahLst/>
            <a:cxnLst/>
            <a:rect l="l" t="t" r="r" b="b"/>
            <a:pathLst>
              <a:path w="41275">
                <a:moveTo>
                  <a:pt x="41275" y="0"/>
                </a:moveTo>
                <a:lnTo>
                  <a:pt x="0" y="0"/>
                </a:lnTo>
              </a:path>
            </a:pathLst>
          </a:custGeom>
          <a:ln w="635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3" name="object 73">
            <a:extLst>
              <a:ext uri="{FF2B5EF4-FFF2-40B4-BE49-F238E27FC236}">
                <a16:creationId xmlns:a16="http://schemas.microsoft.com/office/drawing/2014/main" id="{6865932D-584F-DD21-AEEB-49D6796470B5}"/>
              </a:ext>
            </a:extLst>
          </p:cNvPr>
          <p:cNvSpPr/>
          <p:nvPr/>
        </p:nvSpPr>
        <p:spPr>
          <a:xfrm>
            <a:off x="6960466" y="3106300"/>
            <a:ext cx="24899" cy="0"/>
          </a:xfrm>
          <a:custGeom>
            <a:avLst/>
            <a:gdLst/>
            <a:ahLst/>
            <a:cxnLst/>
            <a:rect l="l" t="t" r="r" b="b"/>
            <a:pathLst>
              <a:path w="41275">
                <a:moveTo>
                  <a:pt x="41275" y="0"/>
                </a:moveTo>
                <a:lnTo>
                  <a:pt x="0" y="0"/>
                </a:lnTo>
              </a:path>
            </a:pathLst>
          </a:custGeom>
          <a:ln w="635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8" name="object 74">
            <a:extLst>
              <a:ext uri="{FF2B5EF4-FFF2-40B4-BE49-F238E27FC236}">
                <a16:creationId xmlns:a16="http://schemas.microsoft.com/office/drawing/2014/main" id="{10ED7A72-DB83-AF4F-362B-A77F42DAD4DA}"/>
              </a:ext>
            </a:extLst>
          </p:cNvPr>
          <p:cNvSpPr/>
          <p:nvPr/>
        </p:nvSpPr>
        <p:spPr>
          <a:xfrm>
            <a:off x="6960466" y="3288804"/>
            <a:ext cx="24899" cy="0"/>
          </a:xfrm>
          <a:custGeom>
            <a:avLst/>
            <a:gdLst/>
            <a:ahLst/>
            <a:cxnLst/>
            <a:rect l="l" t="t" r="r" b="b"/>
            <a:pathLst>
              <a:path w="41275">
                <a:moveTo>
                  <a:pt x="41275" y="0"/>
                </a:moveTo>
                <a:lnTo>
                  <a:pt x="0" y="0"/>
                </a:lnTo>
              </a:path>
            </a:pathLst>
          </a:custGeom>
          <a:ln w="635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7" name="object 75">
            <a:extLst>
              <a:ext uri="{FF2B5EF4-FFF2-40B4-BE49-F238E27FC236}">
                <a16:creationId xmlns:a16="http://schemas.microsoft.com/office/drawing/2014/main" id="{EC1EFDEB-E6AA-E406-6621-FCCD80765213}"/>
              </a:ext>
            </a:extLst>
          </p:cNvPr>
          <p:cNvSpPr/>
          <p:nvPr/>
        </p:nvSpPr>
        <p:spPr>
          <a:xfrm>
            <a:off x="6960466" y="3653817"/>
            <a:ext cx="24899" cy="0"/>
          </a:xfrm>
          <a:custGeom>
            <a:avLst/>
            <a:gdLst/>
            <a:ahLst/>
            <a:cxnLst/>
            <a:rect l="l" t="t" r="r" b="b"/>
            <a:pathLst>
              <a:path w="41275">
                <a:moveTo>
                  <a:pt x="41275" y="0"/>
                </a:moveTo>
                <a:lnTo>
                  <a:pt x="0" y="0"/>
                </a:lnTo>
              </a:path>
            </a:pathLst>
          </a:custGeom>
          <a:ln w="635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8" name="object 76">
            <a:extLst>
              <a:ext uri="{FF2B5EF4-FFF2-40B4-BE49-F238E27FC236}">
                <a16:creationId xmlns:a16="http://schemas.microsoft.com/office/drawing/2014/main" id="{6E62D162-0330-FE84-A0B0-F08806B767B1}"/>
              </a:ext>
            </a:extLst>
          </p:cNvPr>
          <p:cNvSpPr/>
          <p:nvPr/>
        </p:nvSpPr>
        <p:spPr>
          <a:xfrm>
            <a:off x="6960466" y="3836323"/>
            <a:ext cx="24899" cy="0"/>
          </a:xfrm>
          <a:custGeom>
            <a:avLst/>
            <a:gdLst/>
            <a:ahLst/>
            <a:cxnLst/>
            <a:rect l="l" t="t" r="r" b="b"/>
            <a:pathLst>
              <a:path w="41275">
                <a:moveTo>
                  <a:pt x="41275" y="0"/>
                </a:moveTo>
                <a:lnTo>
                  <a:pt x="0" y="0"/>
                </a:lnTo>
              </a:path>
            </a:pathLst>
          </a:custGeom>
          <a:ln w="635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2" name="object 77">
            <a:extLst>
              <a:ext uri="{FF2B5EF4-FFF2-40B4-BE49-F238E27FC236}">
                <a16:creationId xmlns:a16="http://schemas.microsoft.com/office/drawing/2014/main" id="{855E3E2A-DB2F-8044-1D8E-AA8EA44A12C4}"/>
              </a:ext>
            </a:extLst>
          </p:cNvPr>
          <p:cNvSpPr/>
          <p:nvPr/>
        </p:nvSpPr>
        <p:spPr>
          <a:xfrm>
            <a:off x="6960466" y="4201334"/>
            <a:ext cx="24899" cy="0"/>
          </a:xfrm>
          <a:custGeom>
            <a:avLst/>
            <a:gdLst/>
            <a:ahLst/>
            <a:cxnLst/>
            <a:rect l="l" t="t" r="r" b="b"/>
            <a:pathLst>
              <a:path w="41275">
                <a:moveTo>
                  <a:pt x="41275" y="0"/>
                </a:moveTo>
                <a:lnTo>
                  <a:pt x="0" y="0"/>
                </a:lnTo>
              </a:path>
            </a:pathLst>
          </a:custGeom>
          <a:ln w="635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5" name="object 78">
            <a:extLst>
              <a:ext uri="{FF2B5EF4-FFF2-40B4-BE49-F238E27FC236}">
                <a16:creationId xmlns:a16="http://schemas.microsoft.com/office/drawing/2014/main" id="{BB2052D0-7E1C-2453-EFF5-E36645B3F5FA}"/>
              </a:ext>
            </a:extLst>
          </p:cNvPr>
          <p:cNvSpPr/>
          <p:nvPr/>
        </p:nvSpPr>
        <p:spPr>
          <a:xfrm>
            <a:off x="6960466" y="3471311"/>
            <a:ext cx="24899" cy="0"/>
          </a:xfrm>
          <a:custGeom>
            <a:avLst/>
            <a:gdLst/>
            <a:ahLst/>
            <a:cxnLst/>
            <a:rect l="l" t="t" r="r" b="b"/>
            <a:pathLst>
              <a:path w="41275">
                <a:moveTo>
                  <a:pt x="41275" y="0"/>
                </a:moveTo>
                <a:lnTo>
                  <a:pt x="0" y="0"/>
                </a:lnTo>
              </a:path>
            </a:pathLst>
          </a:custGeom>
          <a:ln w="635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4" name="object 79">
            <a:extLst>
              <a:ext uri="{FF2B5EF4-FFF2-40B4-BE49-F238E27FC236}">
                <a16:creationId xmlns:a16="http://schemas.microsoft.com/office/drawing/2014/main" id="{A0A9AEE8-D7F9-4A91-8B98-A40A1AF91750}"/>
              </a:ext>
            </a:extLst>
          </p:cNvPr>
          <p:cNvSpPr/>
          <p:nvPr/>
        </p:nvSpPr>
        <p:spPr>
          <a:xfrm>
            <a:off x="6960466" y="4018829"/>
            <a:ext cx="24899" cy="0"/>
          </a:xfrm>
          <a:custGeom>
            <a:avLst/>
            <a:gdLst/>
            <a:ahLst/>
            <a:cxnLst/>
            <a:rect l="l" t="t" r="r" b="b"/>
            <a:pathLst>
              <a:path w="41275">
                <a:moveTo>
                  <a:pt x="41275" y="0"/>
                </a:moveTo>
                <a:lnTo>
                  <a:pt x="0" y="0"/>
                </a:lnTo>
              </a:path>
            </a:pathLst>
          </a:custGeom>
          <a:ln w="635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9" name="object 80">
            <a:extLst>
              <a:ext uri="{FF2B5EF4-FFF2-40B4-BE49-F238E27FC236}">
                <a16:creationId xmlns:a16="http://schemas.microsoft.com/office/drawing/2014/main" id="{36A6712E-B551-64DB-5940-5611A25E1E68}"/>
              </a:ext>
            </a:extLst>
          </p:cNvPr>
          <p:cNvSpPr/>
          <p:nvPr/>
        </p:nvSpPr>
        <p:spPr>
          <a:xfrm>
            <a:off x="6960466" y="4383835"/>
            <a:ext cx="24899" cy="0"/>
          </a:xfrm>
          <a:custGeom>
            <a:avLst/>
            <a:gdLst/>
            <a:ahLst/>
            <a:cxnLst/>
            <a:rect l="l" t="t" r="r" b="b"/>
            <a:pathLst>
              <a:path w="41275">
                <a:moveTo>
                  <a:pt x="41275" y="0"/>
                </a:moveTo>
                <a:lnTo>
                  <a:pt x="0" y="0"/>
                </a:lnTo>
              </a:path>
            </a:pathLst>
          </a:custGeom>
          <a:ln w="635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0" name="object 17">
            <a:extLst>
              <a:ext uri="{FF2B5EF4-FFF2-40B4-BE49-F238E27FC236}">
                <a16:creationId xmlns:a16="http://schemas.microsoft.com/office/drawing/2014/main" id="{45AF5F45-BC95-695F-B8D3-A0688D24B768}"/>
              </a:ext>
            </a:extLst>
          </p:cNvPr>
          <p:cNvSpPr/>
          <p:nvPr/>
        </p:nvSpPr>
        <p:spPr>
          <a:xfrm>
            <a:off x="6988484" y="3473066"/>
            <a:ext cx="3695867" cy="856485"/>
          </a:xfrm>
          <a:custGeom>
            <a:avLst/>
            <a:gdLst/>
            <a:ahLst/>
            <a:cxnLst/>
            <a:rect l="l" t="t" r="r" b="b"/>
            <a:pathLst>
              <a:path w="2445384">
                <a:moveTo>
                  <a:pt x="0" y="0"/>
                </a:moveTo>
                <a:lnTo>
                  <a:pt x="2445181" y="0"/>
                </a:lnTo>
              </a:path>
            </a:pathLst>
          </a:custGeom>
          <a:ln w="12700">
            <a:solidFill>
              <a:srgbClr val="BDBDC1"/>
            </a:solidFill>
            <a:prstDash val="sysDash"/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1" name="object 71">
            <a:extLst>
              <a:ext uri="{FF2B5EF4-FFF2-40B4-BE49-F238E27FC236}">
                <a16:creationId xmlns:a16="http://schemas.microsoft.com/office/drawing/2014/main" id="{4DDA1327-CA76-D000-19AD-10717EC25FDE}"/>
              </a:ext>
            </a:extLst>
          </p:cNvPr>
          <p:cNvSpPr/>
          <p:nvPr/>
        </p:nvSpPr>
        <p:spPr>
          <a:xfrm>
            <a:off x="6960466" y="2558784"/>
            <a:ext cx="24899" cy="0"/>
          </a:xfrm>
          <a:custGeom>
            <a:avLst/>
            <a:gdLst/>
            <a:ahLst/>
            <a:cxnLst/>
            <a:rect l="l" t="t" r="r" b="b"/>
            <a:pathLst>
              <a:path w="41275">
                <a:moveTo>
                  <a:pt x="41275" y="0"/>
                </a:moveTo>
                <a:lnTo>
                  <a:pt x="0" y="0"/>
                </a:lnTo>
              </a:path>
            </a:pathLst>
          </a:custGeom>
          <a:ln w="635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2" name="object 71">
            <a:extLst>
              <a:ext uri="{FF2B5EF4-FFF2-40B4-BE49-F238E27FC236}">
                <a16:creationId xmlns:a16="http://schemas.microsoft.com/office/drawing/2014/main" id="{D8EC2579-2EE1-A356-A8FA-7149047F27A2}"/>
              </a:ext>
            </a:extLst>
          </p:cNvPr>
          <p:cNvSpPr/>
          <p:nvPr/>
        </p:nvSpPr>
        <p:spPr>
          <a:xfrm>
            <a:off x="6960466" y="2741288"/>
            <a:ext cx="24899" cy="0"/>
          </a:xfrm>
          <a:custGeom>
            <a:avLst/>
            <a:gdLst/>
            <a:ahLst/>
            <a:cxnLst/>
            <a:rect l="l" t="t" r="r" b="b"/>
            <a:pathLst>
              <a:path w="41275">
                <a:moveTo>
                  <a:pt x="41275" y="0"/>
                </a:moveTo>
                <a:lnTo>
                  <a:pt x="0" y="0"/>
                </a:lnTo>
              </a:path>
            </a:pathLst>
          </a:custGeom>
          <a:ln w="635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3" name="object 67">
            <a:extLst>
              <a:ext uri="{FF2B5EF4-FFF2-40B4-BE49-F238E27FC236}">
                <a16:creationId xmlns:a16="http://schemas.microsoft.com/office/drawing/2014/main" id="{EB6AF4F3-B66F-2055-D594-6D0B5C57FDDE}"/>
              </a:ext>
            </a:extLst>
          </p:cNvPr>
          <p:cNvSpPr txBox="1"/>
          <p:nvPr/>
        </p:nvSpPr>
        <p:spPr>
          <a:xfrm rot="5400000">
            <a:off x="6787971" y="2466247"/>
            <a:ext cx="123111" cy="183561"/>
          </a:xfrm>
          <a:prstGeom prst="rect">
            <a:avLst/>
          </a:prstGeom>
          <a:ln>
            <a:noFill/>
          </a:ln>
        </p:spPr>
        <p:txBody>
          <a:bodyPr vert="vert270" wrap="square" lIns="0" tIns="0" rIns="0" bIns="0" rtlCol="0" anchor="ctr">
            <a:spAutoFit/>
          </a:bodyPr>
          <a:lstStyle/>
          <a:p>
            <a:pPr marL="1270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00</a:t>
            </a:r>
          </a:p>
        </p:txBody>
      </p:sp>
      <p:sp>
        <p:nvSpPr>
          <p:cNvPr id="114" name="object 67">
            <a:extLst>
              <a:ext uri="{FF2B5EF4-FFF2-40B4-BE49-F238E27FC236}">
                <a16:creationId xmlns:a16="http://schemas.microsoft.com/office/drawing/2014/main" id="{D94D2822-5BC4-6C3B-69D6-CBFBF2D7DA93}"/>
              </a:ext>
            </a:extLst>
          </p:cNvPr>
          <p:cNvSpPr txBox="1"/>
          <p:nvPr/>
        </p:nvSpPr>
        <p:spPr>
          <a:xfrm rot="5400000">
            <a:off x="6816895" y="2677754"/>
            <a:ext cx="123111" cy="125712"/>
          </a:xfrm>
          <a:prstGeom prst="rect">
            <a:avLst/>
          </a:prstGeom>
          <a:ln>
            <a:noFill/>
          </a:ln>
        </p:spPr>
        <p:txBody>
          <a:bodyPr vert="vert270" wrap="square" lIns="0" tIns="0" rIns="0" bIns="0" rtlCol="0" anchor="ctr">
            <a:spAutoFit/>
          </a:bodyPr>
          <a:lstStyle/>
          <a:p>
            <a:pPr marL="1270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90</a:t>
            </a:r>
          </a:p>
        </p:txBody>
      </p:sp>
      <p:sp>
        <p:nvSpPr>
          <p:cNvPr id="744" name="object 67">
            <a:extLst>
              <a:ext uri="{FF2B5EF4-FFF2-40B4-BE49-F238E27FC236}">
                <a16:creationId xmlns:a16="http://schemas.microsoft.com/office/drawing/2014/main" id="{14A23976-7A83-4128-BD8D-1318A8AEBF23}"/>
              </a:ext>
            </a:extLst>
          </p:cNvPr>
          <p:cNvSpPr txBox="1"/>
          <p:nvPr/>
        </p:nvSpPr>
        <p:spPr>
          <a:xfrm rot="5400000">
            <a:off x="6816895" y="2860334"/>
            <a:ext cx="123111" cy="125712"/>
          </a:xfrm>
          <a:prstGeom prst="rect">
            <a:avLst/>
          </a:prstGeom>
          <a:ln>
            <a:noFill/>
          </a:ln>
        </p:spPr>
        <p:txBody>
          <a:bodyPr vert="vert270" wrap="square" lIns="0" tIns="0" rIns="0" bIns="0" rtlCol="0" anchor="ctr">
            <a:spAutoFit/>
          </a:bodyPr>
          <a:lstStyle/>
          <a:p>
            <a:pPr marL="1270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80</a:t>
            </a:r>
          </a:p>
        </p:txBody>
      </p:sp>
      <p:sp>
        <p:nvSpPr>
          <p:cNvPr id="745" name="object 67">
            <a:extLst>
              <a:ext uri="{FF2B5EF4-FFF2-40B4-BE49-F238E27FC236}">
                <a16:creationId xmlns:a16="http://schemas.microsoft.com/office/drawing/2014/main" id="{BFAC8012-3DC0-AA83-4E45-8CCABB5F8CAA}"/>
              </a:ext>
            </a:extLst>
          </p:cNvPr>
          <p:cNvSpPr txBox="1"/>
          <p:nvPr/>
        </p:nvSpPr>
        <p:spPr>
          <a:xfrm rot="5400000">
            <a:off x="6816895" y="3042914"/>
            <a:ext cx="123111" cy="125712"/>
          </a:xfrm>
          <a:prstGeom prst="rect">
            <a:avLst/>
          </a:prstGeom>
          <a:ln>
            <a:noFill/>
          </a:ln>
        </p:spPr>
        <p:txBody>
          <a:bodyPr vert="vert270" wrap="square" lIns="0" tIns="0" rIns="0" bIns="0" rtlCol="0" anchor="ctr">
            <a:spAutoFit/>
          </a:bodyPr>
          <a:lstStyle/>
          <a:p>
            <a:pPr marL="1270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70</a:t>
            </a:r>
          </a:p>
        </p:txBody>
      </p:sp>
      <p:sp>
        <p:nvSpPr>
          <p:cNvPr id="746" name="object 67">
            <a:extLst>
              <a:ext uri="{FF2B5EF4-FFF2-40B4-BE49-F238E27FC236}">
                <a16:creationId xmlns:a16="http://schemas.microsoft.com/office/drawing/2014/main" id="{C8860A8F-0464-02D7-3BBD-19E24F961E3D}"/>
              </a:ext>
            </a:extLst>
          </p:cNvPr>
          <p:cNvSpPr txBox="1"/>
          <p:nvPr/>
        </p:nvSpPr>
        <p:spPr>
          <a:xfrm rot="5400000">
            <a:off x="6816895" y="3225494"/>
            <a:ext cx="123111" cy="125712"/>
          </a:xfrm>
          <a:prstGeom prst="rect">
            <a:avLst/>
          </a:prstGeom>
          <a:ln>
            <a:noFill/>
          </a:ln>
        </p:spPr>
        <p:txBody>
          <a:bodyPr vert="vert270" wrap="square" lIns="0" tIns="0" rIns="0" bIns="0" rtlCol="0" anchor="ctr">
            <a:spAutoFit/>
          </a:bodyPr>
          <a:lstStyle/>
          <a:p>
            <a:pPr marL="1270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60</a:t>
            </a:r>
          </a:p>
        </p:txBody>
      </p:sp>
      <p:sp>
        <p:nvSpPr>
          <p:cNvPr id="747" name="object 67">
            <a:extLst>
              <a:ext uri="{FF2B5EF4-FFF2-40B4-BE49-F238E27FC236}">
                <a16:creationId xmlns:a16="http://schemas.microsoft.com/office/drawing/2014/main" id="{CB95D57C-C257-F6E5-FB0E-EF6244ECCB8B}"/>
              </a:ext>
            </a:extLst>
          </p:cNvPr>
          <p:cNvSpPr txBox="1"/>
          <p:nvPr/>
        </p:nvSpPr>
        <p:spPr>
          <a:xfrm rot="5400000">
            <a:off x="6816895" y="3408074"/>
            <a:ext cx="123111" cy="125712"/>
          </a:xfrm>
          <a:prstGeom prst="rect">
            <a:avLst/>
          </a:prstGeom>
          <a:ln>
            <a:noFill/>
          </a:ln>
        </p:spPr>
        <p:txBody>
          <a:bodyPr vert="vert270" wrap="square" lIns="0" tIns="0" rIns="0" bIns="0" rtlCol="0" anchor="ctr">
            <a:spAutoFit/>
          </a:bodyPr>
          <a:lstStyle/>
          <a:p>
            <a:pPr marL="1270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50</a:t>
            </a:r>
          </a:p>
        </p:txBody>
      </p:sp>
      <p:sp>
        <p:nvSpPr>
          <p:cNvPr id="748" name="object 67">
            <a:extLst>
              <a:ext uri="{FF2B5EF4-FFF2-40B4-BE49-F238E27FC236}">
                <a16:creationId xmlns:a16="http://schemas.microsoft.com/office/drawing/2014/main" id="{BB71290F-F8E6-F32E-522F-9D68EE922CB4}"/>
              </a:ext>
            </a:extLst>
          </p:cNvPr>
          <p:cNvSpPr txBox="1"/>
          <p:nvPr/>
        </p:nvSpPr>
        <p:spPr>
          <a:xfrm rot="5400000">
            <a:off x="6816895" y="3590654"/>
            <a:ext cx="123111" cy="125712"/>
          </a:xfrm>
          <a:prstGeom prst="rect">
            <a:avLst/>
          </a:prstGeom>
          <a:ln>
            <a:noFill/>
          </a:ln>
        </p:spPr>
        <p:txBody>
          <a:bodyPr vert="vert270" wrap="square" lIns="0" tIns="0" rIns="0" bIns="0" rtlCol="0" anchor="ctr">
            <a:spAutoFit/>
          </a:bodyPr>
          <a:lstStyle/>
          <a:p>
            <a:pPr marL="1270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40</a:t>
            </a:r>
          </a:p>
        </p:txBody>
      </p:sp>
      <p:sp>
        <p:nvSpPr>
          <p:cNvPr id="749" name="object 67">
            <a:extLst>
              <a:ext uri="{FF2B5EF4-FFF2-40B4-BE49-F238E27FC236}">
                <a16:creationId xmlns:a16="http://schemas.microsoft.com/office/drawing/2014/main" id="{148A7744-9351-FAB7-6002-D318C40F59AC}"/>
              </a:ext>
            </a:extLst>
          </p:cNvPr>
          <p:cNvSpPr txBox="1"/>
          <p:nvPr/>
        </p:nvSpPr>
        <p:spPr>
          <a:xfrm rot="5400000">
            <a:off x="6816895" y="3773234"/>
            <a:ext cx="123111" cy="125712"/>
          </a:xfrm>
          <a:prstGeom prst="rect">
            <a:avLst/>
          </a:prstGeom>
          <a:ln>
            <a:noFill/>
          </a:ln>
        </p:spPr>
        <p:txBody>
          <a:bodyPr vert="vert270" wrap="square" lIns="0" tIns="0" rIns="0" bIns="0" rtlCol="0" anchor="ctr">
            <a:spAutoFit/>
          </a:bodyPr>
          <a:lstStyle/>
          <a:p>
            <a:pPr marL="1270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30</a:t>
            </a:r>
          </a:p>
        </p:txBody>
      </p:sp>
      <p:sp>
        <p:nvSpPr>
          <p:cNvPr id="750" name="object 67">
            <a:extLst>
              <a:ext uri="{FF2B5EF4-FFF2-40B4-BE49-F238E27FC236}">
                <a16:creationId xmlns:a16="http://schemas.microsoft.com/office/drawing/2014/main" id="{F64EB7E1-8E67-09B0-5918-6CB2A11F562F}"/>
              </a:ext>
            </a:extLst>
          </p:cNvPr>
          <p:cNvSpPr txBox="1"/>
          <p:nvPr/>
        </p:nvSpPr>
        <p:spPr>
          <a:xfrm rot="5400000">
            <a:off x="6816895" y="3955815"/>
            <a:ext cx="123111" cy="125712"/>
          </a:xfrm>
          <a:prstGeom prst="rect">
            <a:avLst/>
          </a:prstGeom>
          <a:ln>
            <a:noFill/>
          </a:ln>
        </p:spPr>
        <p:txBody>
          <a:bodyPr vert="vert270" wrap="square" lIns="0" tIns="0" rIns="0" bIns="0" rtlCol="0" anchor="ctr">
            <a:spAutoFit/>
          </a:bodyPr>
          <a:lstStyle/>
          <a:p>
            <a:pPr marL="1270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0</a:t>
            </a:r>
          </a:p>
        </p:txBody>
      </p:sp>
      <p:sp>
        <p:nvSpPr>
          <p:cNvPr id="751" name="object 67">
            <a:extLst>
              <a:ext uri="{FF2B5EF4-FFF2-40B4-BE49-F238E27FC236}">
                <a16:creationId xmlns:a16="http://schemas.microsoft.com/office/drawing/2014/main" id="{B0364837-5BEF-DD75-5575-5F249E174F42}"/>
              </a:ext>
            </a:extLst>
          </p:cNvPr>
          <p:cNvSpPr txBox="1"/>
          <p:nvPr/>
        </p:nvSpPr>
        <p:spPr>
          <a:xfrm rot="5400000">
            <a:off x="6816895" y="4138396"/>
            <a:ext cx="123111" cy="125712"/>
          </a:xfrm>
          <a:prstGeom prst="rect">
            <a:avLst/>
          </a:prstGeom>
          <a:ln>
            <a:noFill/>
          </a:ln>
        </p:spPr>
        <p:txBody>
          <a:bodyPr vert="vert270" wrap="square" lIns="0" tIns="0" rIns="0" bIns="0" rtlCol="0" anchor="ctr">
            <a:spAutoFit/>
          </a:bodyPr>
          <a:lstStyle/>
          <a:p>
            <a:pPr marL="1270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0</a:t>
            </a:r>
          </a:p>
        </p:txBody>
      </p:sp>
      <p:sp>
        <p:nvSpPr>
          <p:cNvPr id="752" name="object 67">
            <a:extLst>
              <a:ext uri="{FF2B5EF4-FFF2-40B4-BE49-F238E27FC236}">
                <a16:creationId xmlns:a16="http://schemas.microsoft.com/office/drawing/2014/main" id="{F6EB8B5F-C21D-0CC7-180D-03B5236D4D25}"/>
              </a:ext>
            </a:extLst>
          </p:cNvPr>
          <p:cNvSpPr txBox="1"/>
          <p:nvPr/>
        </p:nvSpPr>
        <p:spPr>
          <a:xfrm rot="5400000">
            <a:off x="6816895" y="4320975"/>
            <a:ext cx="123111" cy="125712"/>
          </a:xfrm>
          <a:prstGeom prst="rect">
            <a:avLst/>
          </a:prstGeom>
          <a:ln>
            <a:noFill/>
          </a:ln>
        </p:spPr>
        <p:txBody>
          <a:bodyPr vert="vert270" wrap="square" lIns="0" tIns="0" rIns="0" bIns="0" rtlCol="0" anchor="ctr">
            <a:spAutoFit/>
          </a:bodyPr>
          <a:lstStyle/>
          <a:p>
            <a:pPr marL="1270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0</a:t>
            </a:r>
          </a:p>
        </p:txBody>
      </p:sp>
      <p:sp>
        <p:nvSpPr>
          <p:cNvPr id="754" name="object 89">
            <a:extLst>
              <a:ext uri="{FF2B5EF4-FFF2-40B4-BE49-F238E27FC236}">
                <a16:creationId xmlns:a16="http://schemas.microsoft.com/office/drawing/2014/main" id="{ADC1A0B8-9AE6-4498-BE1C-2C768E1D7CAB}"/>
              </a:ext>
            </a:extLst>
          </p:cNvPr>
          <p:cNvSpPr/>
          <p:nvPr/>
        </p:nvSpPr>
        <p:spPr>
          <a:xfrm>
            <a:off x="9979556" y="4383834"/>
            <a:ext cx="0" cy="46401"/>
          </a:xfrm>
          <a:custGeom>
            <a:avLst/>
            <a:gdLst/>
            <a:ahLst/>
            <a:cxnLst/>
            <a:rect l="l" t="t" r="r" b="b"/>
            <a:pathLst>
              <a:path h="41275">
                <a:moveTo>
                  <a:pt x="0" y="0"/>
                </a:moveTo>
                <a:lnTo>
                  <a:pt x="0" y="41275"/>
                </a:lnTo>
              </a:path>
            </a:pathLst>
          </a:custGeom>
          <a:ln w="635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55" name="object 67">
            <a:extLst>
              <a:ext uri="{FF2B5EF4-FFF2-40B4-BE49-F238E27FC236}">
                <a16:creationId xmlns:a16="http://schemas.microsoft.com/office/drawing/2014/main" id="{BBA64182-A8D8-0180-C893-059A7C5A23F5}"/>
              </a:ext>
            </a:extLst>
          </p:cNvPr>
          <p:cNvSpPr txBox="1"/>
          <p:nvPr/>
        </p:nvSpPr>
        <p:spPr>
          <a:xfrm>
            <a:off x="9918001" y="4437963"/>
            <a:ext cx="123111" cy="123111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ctr">
            <a:sp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51</a:t>
            </a:r>
          </a:p>
        </p:txBody>
      </p:sp>
      <p:sp>
        <p:nvSpPr>
          <p:cNvPr id="756" name="object 101">
            <a:extLst>
              <a:ext uri="{FF2B5EF4-FFF2-40B4-BE49-F238E27FC236}">
                <a16:creationId xmlns:a16="http://schemas.microsoft.com/office/drawing/2014/main" id="{7EDB5D57-AEF6-A249-3734-F61A6B7C1E5C}"/>
              </a:ext>
            </a:extLst>
          </p:cNvPr>
          <p:cNvSpPr/>
          <p:nvPr/>
        </p:nvSpPr>
        <p:spPr>
          <a:xfrm>
            <a:off x="9803425" y="4383834"/>
            <a:ext cx="0" cy="46401"/>
          </a:xfrm>
          <a:custGeom>
            <a:avLst/>
            <a:gdLst/>
            <a:ahLst/>
            <a:cxnLst/>
            <a:rect l="l" t="t" r="r" b="b"/>
            <a:pathLst>
              <a:path h="41275">
                <a:moveTo>
                  <a:pt x="0" y="0"/>
                </a:moveTo>
                <a:lnTo>
                  <a:pt x="0" y="41275"/>
                </a:lnTo>
              </a:path>
            </a:pathLst>
          </a:custGeom>
          <a:ln w="635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57" name="object 67">
            <a:extLst>
              <a:ext uri="{FF2B5EF4-FFF2-40B4-BE49-F238E27FC236}">
                <a16:creationId xmlns:a16="http://schemas.microsoft.com/office/drawing/2014/main" id="{9DDADB56-E92F-CC10-02C1-722F9D18C57A}"/>
              </a:ext>
            </a:extLst>
          </p:cNvPr>
          <p:cNvSpPr txBox="1"/>
          <p:nvPr/>
        </p:nvSpPr>
        <p:spPr>
          <a:xfrm>
            <a:off x="9741870" y="4437963"/>
            <a:ext cx="123111" cy="123111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ctr">
            <a:sp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48</a:t>
            </a:r>
          </a:p>
        </p:txBody>
      </p:sp>
      <p:sp>
        <p:nvSpPr>
          <p:cNvPr id="759" name="object 103">
            <a:extLst>
              <a:ext uri="{FF2B5EF4-FFF2-40B4-BE49-F238E27FC236}">
                <a16:creationId xmlns:a16="http://schemas.microsoft.com/office/drawing/2014/main" id="{44A50CDF-98FF-31CB-BBF8-678F9E5D85FB}"/>
              </a:ext>
            </a:extLst>
          </p:cNvPr>
          <p:cNvSpPr/>
          <p:nvPr/>
        </p:nvSpPr>
        <p:spPr>
          <a:xfrm>
            <a:off x="9627294" y="4383834"/>
            <a:ext cx="0" cy="46401"/>
          </a:xfrm>
          <a:custGeom>
            <a:avLst/>
            <a:gdLst/>
            <a:ahLst/>
            <a:cxnLst/>
            <a:rect l="l" t="t" r="r" b="b"/>
            <a:pathLst>
              <a:path h="41275">
                <a:moveTo>
                  <a:pt x="0" y="0"/>
                </a:moveTo>
                <a:lnTo>
                  <a:pt x="0" y="41275"/>
                </a:lnTo>
              </a:path>
            </a:pathLst>
          </a:custGeom>
          <a:ln w="635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62" name="object 67">
            <a:extLst>
              <a:ext uri="{FF2B5EF4-FFF2-40B4-BE49-F238E27FC236}">
                <a16:creationId xmlns:a16="http://schemas.microsoft.com/office/drawing/2014/main" id="{07B985B0-2BF5-965C-139C-D5749A9C373A}"/>
              </a:ext>
            </a:extLst>
          </p:cNvPr>
          <p:cNvSpPr txBox="1"/>
          <p:nvPr/>
        </p:nvSpPr>
        <p:spPr>
          <a:xfrm>
            <a:off x="9565739" y="4437963"/>
            <a:ext cx="123111" cy="123111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ctr">
            <a:sp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45</a:t>
            </a:r>
          </a:p>
        </p:txBody>
      </p:sp>
      <p:sp>
        <p:nvSpPr>
          <p:cNvPr id="763" name="object 100">
            <a:extLst>
              <a:ext uri="{FF2B5EF4-FFF2-40B4-BE49-F238E27FC236}">
                <a16:creationId xmlns:a16="http://schemas.microsoft.com/office/drawing/2014/main" id="{63AA5417-CE5A-3AA6-BE04-58176868E6CD}"/>
              </a:ext>
            </a:extLst>
          </p:cNvPr>
          <p:cNvSpPr/>
          <p:nvPr/>
        </p:nvSpPr>
        <p:spPr>
          <a:xfrm>
            <a:off x="9451163" y="4383834"/>
            <a:ext cx="0" cy="46401"/>
          </a:xfrm>
          <a:custGeom>
            <a:avLst/>
            <a:gdLst/>
            <a:ahLst/>
            <a:cxnLst/>
            <a:rect l="l" t="t" r="r" b="b"/>
            <a:pathLst>
              <a:path h="41275">
                <a:moveTo>
                  <a:pt x="0" y="0"/>
                </a:moveTo>
                <a:lnTo>
                  <a:pt x="0" y="41275"/>
                </a:lnTo>
              </a:path>
            </a:pathLst>
          </a:custGeom>
          <a:ln w="635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63" name="object 67">
            <a:extLst>
              <a:ext uri="{FF2B5EF4-FFF2-40B4-BE49-F238E27FC236}">
                <a16:creationId xmlns:a16="http://schemas.microsoft.com/office/drawing/2014/main" id="{9D9EC74C-E811-9178-DF4E-5D661D329C9C}"/>
              </a:ext>
            </a:extLst>
          </p:cNvPr>
          <p:cNvSpPr txBox="1"/>
          <p:nvPr/>
        </p:nvSpPr>
        <p:spPr>
          <a:xfrm>
            <a:off x="9389608" y="4437963"/>
            <a:ext cx="123111" cy="123111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ctr">
            <a:sp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42</a:t>
            </a:r>
          </a:p>
        </p:txBody>
      </p:sp>
      <p:sp>
        <p:nvSpPr>
          <p:cNvPr id="1164" name="object 88">
            <a:extLst>
              <a:ext uri="{FF2B5EF4-FFF2-40B4-BE49-F238E27FC236}">
                <a16:creationId xmlns:a16="http://schemas.microsoft.com/office/drawing/2014/main" id="{83B6AABC-9FA3-2A83-4FAA-0B87D29178AE}"/>
              </a:ext>
            </a:extLst>
          </p:cNvPr>
          <p:cNvSpPr/>
          <p:nvPr/>
        </p:nvSpPr>
        <p:spPr>
          <a:xfrm>
            <a:off x="9275032" y="4383834"/>
            <a:ext cx="0" cy="46401"/>
          </a:xfrm>
          <a:custGeom>
            <a:avLst/>
            <a:gdLst/>
            <a:ahLst/>
            <a:cxnLst/>
            <a:rect l="l" t="t" r="r" b="b"/>
            <a:pathLst>
              <a:path h="41275">
                <a:moveTo>
                  <a:pt x="0" y="0"/>
                </a:moveTo>
                <a:lnTo>
                  <a:pt x="0" y="41275"/>
                </a:lnTo>
              </a:path>
            </a:pathLst>
          </a:custGeom>
          <a:ln w="635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95" name="object 67">
            <a:extLst>
              <a:ext uri="{FF2B5EF4-FFF2-40B4-BE49-F238E27FC236}">
                <a16:creationId xmlns:a16="http://schemas.microsoft.com/office/drawing/2014/main" id="{324C8285-5431-5028-62FF-5D1F0ACF4D58}"/>
              </a:ext>
            </a:extLst>
          </p:cNvPr>
          <p:cNvSpPr txBox="1"/>
          <p:nvPr/>
        </p:nvSpPr>
        <p:spPr>
          <a:xfrm>
            <a:off x="9213477" y="4437963"/>
            <a:ext cx="123111" cy="123111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ctr">
            <a:sp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39</a:t>
            </a:r>
          </a:p>
        </p:txBody>
      </p:sp>
      <p:sp>
        <p:nvSpPr>
          <p:cNvPr id="1196" name="object 99">
            <a:extLst>
              <a:ext uri="{FF2B5EF4-FFF2-40B4-BE49-F238E27FC236}">
                <a16:creationId xmlns:a16="http://schemas.microsoft.com/office/drawing/2014/main" id="{F9B8A29F-4222-5F03-2F3E-1FD94882A580}"/>
              </a:ext>
            </a:extLst>
          </p:cNvPr>
          <p:cNvSpPr/>
          <p:nvPr/>
        </p:nvSpPr>
        <p:spPr>
          <a:xfrm>
            <a:off x="9098901" y="4383834"/>
            <a:ext cx="0" cy="46401"/>
          </a:xfrm>
          <a:custGeom>
            <a:avLst/>
            <a:gdLst/>
            <a:ahLst/>
            <a:cxnLst/>
            <a:rect l="l" t="t" r="r" b="b"/>
            <a:pathLst>
              <a:path h="41275">
                <a:moveTo>
                  <a:pt x="0" y="0"/>
                </a:moveTo>
                <a:lnTo>
                  <a:pt x="0" y="41275"/>
                </a:lnTo>
              </a:path>
            </a:pathLst>
          </a:custGeom>
          <a:ln w="635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98" name="object 67">
            <a:extLst>
              <a:ext uri="{FF2B5EF4-FFF2-40B4-BE49-F238E27FC236}">
                <a16:creationId xmlns:a16="http://schemas.microsoft.com/office/drawing/2014/main" id="{9AB33834-88C2-CF42-CE38-E6A3328E4B4C}"/>
              </a:ext>
            </a:extLst>
          </p:cNvPr>
          <p:cNvSpPr txBox="1"/>
          <p:nvPr/>
        </p:nvSpPr>
        <p:spPr>
          <a:xfrm>
            <a:off x="9037346" y="4437963"/>
            <a:ext cx="123111" cy="123111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ctr">
            <a:sp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36</a:t>
            </a:r>
          </a:p>
        </p:txBody>
      </p:sp>
      <p:sp>
        <p:nvSpPr>
          <p:cNvPr id="1664" name="object 98">
            <a:extLst>
              <a:ext uri="{FF2B5EF4-FFF2-40B4-BE49-F238E27FC236}">
                <a16:creationId xmlns:a16="http://schemas.microsoft.com/office/drawing/2014/main" id="{D201025C-A2DE-D37A-F85C-619A505D4038}"/>
              </a:ext>
            </a:extLst>
          </p:cNvPr>
          <p:cNvSpPr/>
          <p:nvPr/>
        </p:nvSpPr>
        <p:spPr>
          <a:xfrm>
            <a:off x="8922770" y="4383834"/>
            <a:ext cx="0" cy="46401"/>
          </a:xfrm>
          <a:custGeom>
            <a:avLst/>
            <a:gdLst/>
            <a:ahLst/>
            <a:cxnLst/>
            <a:rect l="l" t="t" r="r" b="b"/>
            <a:pathLst>
              <a:path h="41275">
                <a:moveTo>
                  <a:pt x="0" y="0"/>
                </a:moveTo>
                <a:lnTo>
                  <a:pt x="0" y="41275"/>
                </a:lnTo>
              </a:path>
            </a:pathLst>
          </a:custGeom>
          <a:ln w="635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65" name="object 67">
            <a:extLst>
              <a:ext uri="{FF2B5EF4-FFF2-40B4-BE49-F238E27FC236}">
                <a16:creationId xmlns:a16="http://schemas.microsoft.com/office/drawing/2014/main" id="{B746CB96-36DE-1198-D544-DEC8D4286010}"/>
              </a:ext>
            </a:extLst>
          </p:cNvPr>
          <p:cNvSpPr txBox="1"/>
          <p:nvPr/>
        </p:nvSpPr>
        <p:spPr>
          <a:xfrm>
            <a:off x="8861215" y="4437963"/>
            <a:ext cx="123111" cy="123111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ctr">
            <a:sp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33</a:t>
            </a:r>
          </a:p>
        </p:txBody>
      </p:sp>
      <p:sp>
        <p:nvSpPr>
          <p:cNvPr id="1666" name="object 87">
            <a:extLst>
              <a:ext uri="{FF2B5EF4-FFF2-40B4-BE49-F238E27FC236}">
                <a16:creationId xmlns:a16="http://schemas.microsoft.com/office/drawing/2014/main" id="{213332F1-47E1-785C-B617-0C1A6A2109F1}"/>
              </a:ext>
            </a:extLst>
          </p:cNvPr>
          <p:cNvSpPr/>
          <p:nvPr/>
        </p:nvSpPr>
        <p:spPr>
          <a:xfrm>
            <a:off x="8746639" y="4383834"/>
            <a:ext cx="0" cy="46401"/>
          </a:xfrm>
          <a:custGeom>
            <a:avLst/>
            <a:gdLst/>
            <a:ahLst/>
            <a:cxnLst/>
            <a:rect l="l" t="t" r="r" b="b"/>
            <a:pathLst>
              <a:path h="41275">
                <a:moveTo>
                  <a:pt x="0" y="0"/>
                </a:moveTo>
                <a:lnTo>
                  <a:pt x="0" y="41275"/>
                </a:lnTo>
              </a:path>
            </a:pathLst>
          </a:custGeom>
          <a:ln w="635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67" name="object 67">
            <a:extLst>
              <a:ext uri="{FF2B5EF4-FFF2-40B4-BE49-F238E27FC236}">
                <a16:creationId xmlns:a16="http://schemas.microsoft.com/office/drawing/2014/main" id="{B3B7248D-2E01-5B9C-10A1-5E14C0F8AA1A}"/>
              </a:ext>
            </a:extLst>
          </p:cNvPr>
          <p:cNvSpPr txBox="1"/>
          <p:nvPr/>
        </p:nvSpPr>
        <p:spPr>
          <a:xfrm>
            <a:off x="8685084" y="4437963"/>
            <a:ext cx="123111" cy="123111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ctr">
            <a:sp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30</a:t>
            </a:r>
          </a:p>
        </p:txBody>
      </p:sp>
      <p:sp>
        <p:nvSpPr>
          <p:cNvPr id="1668" name="object 95">
            <a:extLst>
              <a:ext uri="{FF2B5EF4-FFF2-40B4-BE49-F238E27FC236}">
                <a16:creationId xmlns:a16="http://schemas.microsoft.com/office/drawing/2014/main" id="{5D3AC442-C4C0-F46F-9CCD-62680FA42792}"/>
              </a:ext>
            </a:extLst>
          </p:cNvPr>
          <p:cNvSpPr/>
          <p:nvPr/>
        </p:nvSpPr>
        <p:spPr>
          <a:xfrm>
            <a:off x="8570508" y="4383834"/>
            <a:ext cx="0" cy="46401"/>
          </a:xfrm>
          <a:custGeom>
            <a:avLst/>
            <a:gdLst/>
            <a:ahLst/>
            <a:cxnLst/>
            <a:rect l="l" t="t" r="r" b="b"/>
            <a:pathLst>
              <a:path h="41275">
                <a:moveTo>
                  <a:pt x="0" y="0"/>
                </a:moveTo>
                <a:lnTo>
                  <a:pt x="0" y="41275"/>
                </a:lnTo>
              </a:path>
            </a:pathLst>
          </a:custGeom>
          <a:ln w="635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69" name="object 67">
            <a:extLst>
              <a:ext uri="{FF2B5EF4-FFF2-40B4-BE49-F238E27FC236}">
                <a16:creationId xmlns:a16="http://schemas.microsoft.com/office/drawing/2014/main" id="{F4B3B61A-5C45-01C2-81FA-3557FD80DC45}"/>
              </a:ext>
            </a:extLst>
          </p:cNvPr>
          <p:cNvSpPr txBox="1"/>
          <p:nvPr/>
        </p:nvSpPr>
        <p:spPr>
          <a:xfrm>
            <a:off x="8508953" y="4437963"/>
            <a:ext cx="123111" cy="123111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ctr">
            <a:sp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7</a:t>
            </a:r>
          </a:p>
        </p:txBody>
      </p:sp>
      <p:sp>
        <p:nvSpPr>
          <p:cNvPr id="1670" name="object 94">
            <a:extLst>
              <a:ext uri="{FF2B5EF4-FFF2-40B4-BE49-F238E27FC236}">
                <a16:creationId xmlns:a16="http://schemas.microsoft.com/office/drawing/2014/main" id="{CDF1C212-7F3E-B672-1AAB-D7B1A59FFD3D}"/>
              </a:ext>
            </a:extLst>
          </p:cNvPr>
          <p:cNvSpPr/>
          <p:nvPr/>
        </p:nvSpPr>
        <p:spPr>
          <a:xfrm>
            <a:off x="8394377" y="4383834"/>
            <a:ext cx="0" cy="46401"/>
          </a:xfrm>
          <a:custGeom>
            <a:avLst/>
            <a:gdLst/>
            <a:ahLst/>
            <a:cxnLst/>
            <a:rect l="l" t="t" r="r" b="b"/>
            <a:pathLst>
              <a:path h="41275">
                <a:moveTo>
                  <a:pt x="0" y="0"/>
                </a:moveTo>
                <a:lnTo>
                  <a:pt x="0" y="41275"/>
                </a:lnTo>
              </a:path>
            </a:pathLst>
          </a:custGeom>
          <a:ln w="635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71" name="object 67">
            <a:extLst>
              <a:ext uri="{FF2B5EF4-FFF2-40B4-BE49-F238E27FC236}">
                <a16:creationId xmlns:a16="http://schemas.microsoft.com/office/drawing/2014/main" id="{C528EBC2-D865-7911-DB53-2A98F87AF6D8}"/>
              </a:ext>
            </a:extLst>
          </p:cNvPr>
          <p:cNvSpPr txBox="1"/>
          <p:nvPr/>
        </p:nvSpPr>
        <p:spPr>
          <a:xfrm>
            <a:off x="8332822" y="4437963"/>
            <a:ext cx="123111" cy="123111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ctr">
            <a:sp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4</a:t>
            </a:r>
          </a:p>
        </p:txBody>
      </p:sp>
      <p:sp>
        <p:nvSpPr>
          <p:cNvPr id="1672" name="object 86">
            <a:extLst>
              <a:ext uri="{FF2B5EF4-FFF2-40B4-BE49-F238E27FC236}">
                <a16:creationId xmlns:a16="http://schemas.microsoft.com/office/drawing/2014/main" id="{E76FF0BD-2DC5-4718-8CF4-5376D53F5483}"/>
              </a:ext>
            </a:extLst>
          </p:cNvPr>
          <p:cNvSpPr/>
          <p:nvPr/>
        </p:nvSpPr>
        <p:spPr>
          <a:xfrm>
            <a:off x="8218246" y="4383834"/>
            <a:ext cx="0" cy="46401"/>
          </a:xfrm>
          <a:custGeom>
            <a:avLst/>
            <a:gdLst/>
            <a:ahLst/>
            <a:cxnLst/>
            <a:rect l="l" t="t" r="r" b="b"/>
            <a:pathLst>
              <a:path h="41275">
                <a:moveTo>
                  <a:pt x="0" y="0"/>
                </a:moveTo>
                <a:lnTo>
                  <a:pt x="0" y="41275"/>
                </a:lnTo>
              </a:path>
            </a:pathLst>
          </a:custGeom>
          <a:ln w="635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73" name="object 67">
            <a:extLst>
              <a:ext uri="{FF2B5EF4-FFF2-40B4-BE49-F238E27FC236}">
                <a16:creationId xmlns:a16="http://schemas.microsoft.com/office/drawing/2014/main" id="{4B97BFBD-0357-A9C5-2A4A-C28D87146D16}"/>
              </a:ext>
            </a:extLst>
          </p:cNvPr>
          <p:cNvSpPr txBox="1"/>
          <p:nvPr/>
        </p:nvSpPr>
        <p:spPr>
          <a:xfrm>
            <a:off x="8156691" y="4437963"/>
            <a:ext cx="123111" cy="123111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ctr">
            <a:sp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1</a:t>
            </a:r>
          </a:p>
        </p:txBody>
      </p:sp>
      <p:sp>
        <p:nvSpPr>
          <p:cNvPr id="1674" name="object 93">
            <a:extLst>
              <a:ext uri="{FF2B5EF4-FFF2-40B4-BE49-F238E27FC236}">
                <a16:creationId xmlns:a16="http://schemas.microsoft.com/office/drawing/2014/main" id="{3720D7A2-65B4-889D-50E7-3A0C3D955A2B}"/>
              </a:ext>
            </a:extLst>
          </p:cNvPr>
          <p:cNvSpPr/>
          <p:nvPr/>
        </p:nvSpPr>
        <p:spPr>
          <a:xfrm>
            <a:off x="8042115" y="4383834"/>
            <a:ext cx="0" cy="46401"/>
          </a:xfrm>
          <a:custGeom>
            <a:avLst/>
            <a:gdLst/>
            <a:ahLst/>
            <a:cxnLst/>
            <a:rect l="l" t="t" r="r" b="b"/>
            <a:pathLst>
              <a:path h="41275">
                <a:moveTo>
                  <a:pt x="0" y="0"/>
                </a:moveTo>
                <a:lnTo>
                  <a:pt x="0" y="41275"/>
                </a:lnTo>
              </a:path>
            </a:pathLst>
          </a:custGeom>
          <a:ln w="635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75" name="object 67">
            <a:extLst>
              <a:ext uri="{FF2B5EF4-FFF2-40B4-BE49-F238E27FC236}">
                <a16:creationId xmlns:a16="http://schemas.microsoft.com/office/drawing/2014/main" id="{DE9F56A7-8820-6EB1-87AD-18FAEA4D4EAF}"/>
              </a:ext>
            </a:extLst>
          </p:cNvPr>
          <p:cNvSpPr txBox="1"/>
          <p:nvPr/>
        </p:nvSpPr>
        <p:spPr>
          <a:xfrm>
            <a:off x="7980560" y="4437963"/>
            <a:ext cx="123111" cy="123111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ctr">
            <a:sp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8</a:t>
            </a:r>
          </a:p>
        </p:txBody>
      </p:sp>
      <p:sp>
        <p:nvSpPr>
          <p:cNvPr id="1676" name="object 85">
            <a:extLst>
              <a:ext uri="{FF2B5EF4-FFF2-40B4-BE49-F238E27FC236}">
                <a16:creationId xmlns:a16="http://schemas.microsoft.com/office/drawing/2014/main" id="{F358A0B1-633B-80DE-F2F2-71B7341C057E}"/>
              </a:ext>
            </a:extLst>
          </p:cNvPr>
          <p:cNvSpPr/>
          <p:nvPr/>
        </p:nvSpPr>
        <p:spPr>
          <a:xfrm>
            <a:off x="7865984" y="4383834"/>
            <a:ext cx="0" cy="46401"/>
          </a:xfrm>
          <a:custGeom>
            <a:avLst/>
            <a:gdLst/>
            <a:ahLst/>
            <a:cxnLst/>
            <a:rect l="l" t="t" r="r" b="b"/>
            <a:pathLst>
              <a:path h="41275">
                <a:moveTo>
                  <a:pt x="0" y="0"/>
                </a:moveTo>
                <a:lnTo>
                  <a:pt x="0" y="41275"/>
                </a:lnTo>
              </a:path>
            </a:pathLst>
          </a:custGeom>
          <a:ln w="635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77" name="object 67">
            <a:extLst>
              <a:ext uri="{FF2B5EF4-FFF2-40B4-BE49-F238E27FC236}">
                <a16:creationId xmlns:a16="http://schemas.microsoft.com/office/drawing/2014/main" id="{FC9CA73F-832B-C423-44F7-AFA273266A71}"/>
              </a:ext>
            </a:extLst>
          </p:cNvPr>
          <p:cNvSpPr txBox="1"/>
          <p:nvPr/>
        </p:nvSpPr>
        <p:spPr>
          <a:xfrm>
            <a:off x="7804429" y="4437963"/>
            <a:ext cx="123111" cy="123111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ctr">
            <a:sp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5</a:t>
            </a:r>
          </a:p>
        </p:txBody>
      </p:sp>
      <p:sp>
        <p:nvSpPr>
          <p:cNvPr id="1678" name="object 92">
            <a:extLst>
              <a:ext uri="{FF2B5EF4-FFF2-40B4-BE49-F238E27FC236}">
                <a16:creationId xmlns:a16="http://schemas.microsoft.com/office/drawing/2014/main" id="{AA55B20C-5302-0C67-8A1F-366AFCB9242C}"/>
              </a:ext>
            </a:extLst>
          </p:cNvPr>
          <p:cNvSpPr/>
          <p:nvPr/>
        </p:nvSpPr>
        <p:spPr>
          <a:xfrm>
            <a:off x="7689853" y="4383834"/>
            <a:ext cx="0" cy="46401"/>
          </a:xfrm>
          <a:custGeom>
            <a:avLst/>
            <a:gdLst/>
            <a:ahLst/>
            <a:cxnLst/>
            <a:rect l="l" t="t" r="r" b="b"/>
            <a:pathLst>
              <a:path h="41275">
                <a:moveTo>
                  <a:pt x="0" y="0"/>
                </a:moveTo>
                <a:lnTo>
                  <a:pt x="0" y="41275"/>
                </a:lnTo>
              </a:path>
            </a:pathLst>
          </a:custGeom>
          <a:ln w="635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79" name="object 67">
            <a:extLst>
              <a:ext uri="{FF2B5EF4-FFF2-40B4-BE49-F238E27FC236}">
                <a16:creationId xmlns:a16="http://schemas.microsoft.com/office/drawing/2014/main" id="{9039FC42-C105-778D-2861-CE0A0A109E1A}"/>
              </a:ext>
            </a:extLst>
          </p:cNvPr>
          <p:cNvSpPr txBox="1"/>
          <p:nvPr/>
        </p:nvSpPr>
        <p:spPr>
          <a:xfrm>
            <a:off x="7628298" y="4437963"/>
            <a:ext cx="123111" cy="123111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ctr">
            <a:sp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2</a:t>
            </a:r>
          </a:p>
        </p:txBody>
      </p:sp>
      <p:sp>
        <p:nvSpPr>
          <p:cNvPr id="1680" name="object 91">
            <a:extLst>
              <a:ext uri="{FF2B5EF4-FFF2-40B4-BE49-F238E27FC236}">
                <a16:creationId xmlns:a16="http://schemas.microsoft.com/office/drawing/2014/main" id="{3D5E8C76-63A1-D217-5704-1C02D5547F53}"/>
              </a:ext>
            </a:extLst>
          </p:cNvPr>
          <p:cNvSpPr/>
          <p:nvPr/>
        </p:nvSpPr>
        <p:spPr>
          <a:xfrm>
            <a:off x="7513722" y="4383834"/>
            <a:ext cx="0" cy="46401"/>
          </a:xfrm>
          <a:custGeom>
            <a:avLst/>
            <a:gdLst/>
            <a:ahLst/>
            <a:cxnLst/>
            <a:rect l="l" t="t" r="r" b="b"/>
            <a:pathLst>
              <a:path h="41275">
                <a:moveTo>
                  <a:pt x="0" y="0"/>
                </a:moveTo>
                <a:lnTo>
                  <a:pt x="0" y="41275"/>
                </a:lnTo>
              </a:path>
            </a:pathLst>
          </a:custGeom>
          <a:ln w="635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81" name="object 67">
            <a:extLst>
              <a:ext uri="{FF2B5EF4-FFF2-40B4-BE49-F238E27FC236}">
                <a16:creationId xmlns:a16="http://schemas.microsoft.com/office/drawing/2014/main" id="{CDF7C5F8-F6A4-6225-51CA-6BB4F562928E}"/>
              </a:ext>
            </a:extLst>
          </p:cNvPr>
          <p:cNvSpPr txBox="1"/>
          <p:nvPr/>
        </p:nvSpPr>
        <p:spPr>
          <a:xfrm>
            <a:off x="7452167" y="4437963"/>
            <a:ext cx="123111" cy="123111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ctr">
            <a:sp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9</a:t>
            </a:r>
          </a:p>
        </p:txBody>
      </p:sp>
      <p:sp>
        <p:nvSpPr>
          <p:cNvPr id="1682" name="object 90">
            <a:extLst>
              <a:ext uri="{FF2B5EF4-FFF2-40B4-BE49-F238E27FC236}">
                <a16:creationId xmlns:a16="http://schemas.microsoft.com/office/drawing/2014/main" id="{52F6EE8A-3EB8-5508-5305-CC77269351C1}"/>
              </a:ext>
            </a:extLst>
          </p:cNvPr>
          <p:cNvSpPr/>
          <p:nvPr/>
        </p:nvSpPr>
        <p:spPr>
          <a:xfrm>
            <a:off x="7337591" y="4383834"/>
            <a:ext cx="0" cy="46401"/>
          </a:xfrm>
          <a:custGeom>
            <a:avLst/>
            <a:gdLst/>
            <a:ahLst/>
            <a:cxnLst/>
            <a:rect l="l" t="t" r="r" b="b"/>
            <a:pathLst>
              <a:path h="41275">
                <a:moveTo>
                  <a:pt x="0" y="0"/>
                </a:moveTo>
                <a:lnTo>
                  <a:pt x="0" y="41275"/>
                </a:lnTo>
              </a:path>
            </a:pathLst>
          </a:custGeom>
          <a:ln w="635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83" name="object 67">
            <a:extLst>
              <a:ext uri="{FF2B5EF4-FFF2-40B4-BE49-F238E27FC236}">
                <a16:creationId xmlns:a16="http://schemas.microsoft.com/office/drawing/2014/main" id="{04D7B175-02A9-D961-A4AE-C38940B04CCF}"/>
              </a:ext>
            </a:extLst>
          </p:cNvPr>
          <p:cNvSpPr txBox="1"/>
          <p:nvPr/>
        </p:nvSpPr>
        <p:spPr>
          <a:xfrm>
            <a:off x="7276036" y="4437963"/>
            <a:ext cx="123111" cy="123111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ctr">
            <a:sp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6</a:t>
            </a:r>
          </a:p>
        </p:txBody>
      </p:sp>
      <p:sp>
        <p:nvSpPr>
          <p:cNvPr id="1684" name="object 84">
            <a:extLst>
              <a:ext uri="{FF2B5EF4-FFF2-40B4-BE49-F238E27FC236}">
                <a16:creationId xmlns:a16="http://schemas.microsoft.com/office/drawing/2014/main" id="{B5270AC2-BEE8-7C63-AA31-CDEC333345E8}"/>
              </a:ext>
            </a:extLst>
          </p:cNvPr>
          <p:cNvSpPr/>
          <p:nvPr/>
        </p:nvSpPr>
        <p:spPr>
          <a:xfrm>
            <a:off x="7161460" y="4383834"/>
            <a:ext cx="0" cy="46401"/>
          </a:xfrm>
          <a:custGeom>
            <a:avLst/>
            <a:gdLst/>
            <a:ahLst/>
            <a:cxnLst/>
            <a:rect l="l" t="t" r="r" b="b"/>
            <a:pathLst>
              <a:path h="41275">
                <a:moveTo>
                  <a:pt x="0" y="0"/>
                </a:moveTo>
                <a:lnTo>
                  <a:pt x="0" y="41275"/>
                </a:lnTo>
              </a:path>
            </a:pathLst>
          </a:custGeom>
          <a:ln w="635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85" name="object 67">
            <a:extLst>
              <a:ext uri="{FF2B5EF4-FFF2-40B4-BE49-F238E27FC236}">
                <a16:creationId xmlns:a16="http://schemas.microsoft.com/office/drawing/2014/main" id="{0A82DFE8-E8E2-FBCC-556A-2ED654071F54}"/>
              </a:ext>
            </a:extLst>
          </p:cNvPr>
          <p:cNvSpPr txBox="1"/>
          <p:nvPr/>
        </p:nvSpPr>
        <p:spPr>
          <a:xfrm>
            <a:off x="7099905" y="4437963"/>
            <a:ext cx="123111" cy="123111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ctr">
            <a:sp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3</a:t>
            </a:r>
          </a:p>
        </p:txBody>
      </p:sp>
      <p:sp>
        <p:nvSpPr>
          <p:cNvPr id="1686" name="object 83">
            <a:extLst>
              <a:ext uri="{FF2B5EF4-FFF2-40B4-BE49-F238E27FC236}">
                <a16:creationId xmlns:a16="http://schemas.microsoft.com/office/drawing/2014/main" id="{D907F25C-D0B5-3211-844B-2A8B1DC43906}"/>
              </a:ext>
            </a:extLst>
          </p:cNvPr>
          <p:cNvSpPr/>
          <p:nvPr/>
        </p:nvSpPr>
        <p:spPr>
          <a:xfrm>
            <a:off x="6985329" y="4383834"/>
            <a:ext cx="0" cy="46401"/>
          </a:xfrm>
          <a:custGeom>
            <a:avLst/>
            <a:gdLst/>
            <a:ahLst/>
            <a:cxnLst/>
            <a:rect l="l" t="t" r="r" b="b"/>
            <a:pathLst>
              <a:path h="41275">
                <a:moveTo>
                  <a:pt x="0" y="0"/>
                </a:moveTo>
                <a:lnTo>
                  <a:pt x="0" y="41275"/>
                </a:lnTo>
              </a:path>
            </a:pathLst>
          </a:custGeom>
          <a:ln w="635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87" name="object 67">
            <a:extLst>
              <a:ext uri="{FF2B5EF4-FFF2-40B4-BE49-F238E27FC236}">
                <a16:creationId xmlns:a16="http://schemas.microsoft.com/office/drawing/2014/main" id="{DA4CA1CB-82E9-6662-D351-6D70B2D6B811}"/>
              </a:ext>
            </a:extLst>
          </p:cNvPr>
          <p:cNvSpPr txBox="1"/>
          <p:nvPr/>
        </p:nvSpPr>
        <p:spPr>
          <a:xfrm>
            <a:off x="6923774" y="4437964"/>
            <a:ext cx="123111" cy="123111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ctr">
            <a:sp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0</a:t>
            </a:r>
          </a:p>
        </p:txBody>
      </p:sp>
      <p:sp>
        <p:nvSpPr>
          <p:cNvPr id="1688" name="object 67">
            <a:extLst>
              <a:ext uri="{FF2B5EF4-FFF2-40B4-BE49-F238E27FC236}">
                <a16:creationId xmlns:a16="http://schemas.microsoft.com/office/drawing/2014/main" id="{DA3C4F61-B8E2-B042-6F90-C2B1E06FF6B8}"/>
              </a:ext>
            </a:extLst>
          </p:cNvPr>
          <p:cNvSpPr txBox="1"/>
          <p:nvPr/>
        </p:nvSpPr>
        <p:spPr>
          <a:xfrm rot="5400000">
            <a:off x="8742502" y="4244312"/>
            <a:ext cx="184666" cy="934095"/>
          </a:xfrm>
          <a:prstGeom prst="rect">
            <a:avLst/>
          </a:prstGeom>
          <a:ln>
            <a:noFill/>
          </a:ln>
        </p:spPr>
        <p:txBody>
          <a:bodyPr vert="vert270" wrap="square" lIns="0" tIns="0" rIns="0" bIns="0" rtlCol="0" anchor="ctr">
            <a:sp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Months</a:t>
            </a:r>
          </a:p>
        </p:txBody>
      </p:sp>
      <p:sp>
        <p:nvSpPr>
          <p:cNvPr id="1689" name="object 67">
            <a:extLst>
              <a:ext uri="{FF2B5EF4-FFF2-40B4-BE49-F238E27FC236}">
                <a16:creationId xmlns:a16="http://schemas.microsoft.com/office/drawing/2014/main" id="{1EF14DB4-34EF-29D5-0D8C-7EDE6B9F2308}"/>
              </a:ext>
            </a:extLst>
          </p:cNvPr>
          <p:cNvSpPr txBox="1"/>
          <p:nvPr/>
        </p:nvSpPr>
        <p:spPr>
          <a:xfrm rot="10800000" flipV="1">
            <a:off x="6288565" y="4853067"/>
            <a:ext cx="613728" cy="246221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>
            <a:spAutoFit/>
          </a:bodyPr>
          <a:lstStyle/>
          <a:p>
            <a:pPr marL="1270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o. at risk</a:t>
            </a:r>
          </a:p>
          <a:p>
            <a:pPr marL="1270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Liso-cel</a:t>
            </a:r>
          </a:p>
        </p:txBody>
      </p:sp>
      <p:sp>
        <p:nvSpPr>
          <p:cNvPr id="1690" name="object 89">
            <a:extLst>
              <a:ext uri="{FF2B5EF4-FFF2-40B4-BE49-F238E27FC236}">
                <a16:creationId xmlns:a16="http://schemas.microsoft.com/office/drawing/2014/main" id="{090ACD8E-B33B-F01A-0AB0-805026E24EBD}"/>
              </a:ext>
            </a:extLst>
          </p:cNvPr>
          <p:cNvSpPr/>
          <p:nvPr/>
        </p:nvSpPr>
        <p:spPr>
          <a:xfrm>
            <a:off x="10155687" y="4383834"/>
            <a:ext cx="0" cy="46401"/>
          </a:xfrm>
          <a:custGeom>
            <a:avLst/>
            <a:gdLst/>
            <a:ahLst/>
            <a:cxnLst/>
            <a:rect l="l" t="t" r="r" b="b"/>
            <a:pathLst>
              <a:path h="41275">
                <a:moveTo>
                  <a:pt x="0" y="0"/>
                </a:moveTo>
                <a:lnTo>
                  <a:pt x="0" y="41275"/>
                </a:lnTo>
              </a:path>
            </a:pathLst>
          </a:custGeom>
          <a:ln w="635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91" name="object 67">
            <a:extLst>
              <a:ext uri="{FF2B5EF4-FFF2-40B4-BE49-F238E27FC236}">
                <a16:creationId xmlns:a16="http://schemas.microsoft.com/office/drawing/2014/main" id="{BA89BAF6-20A5-14A0-0968-558D8A376761}"/>
              </a:ext>
            </a:extLst>
          </p:cNvPr>
          <p:cNvSpPr txBox="1"/>
          <p:nvPr/>
        </p:nvSpPr>
        <p:spPr>
          <a:xfrm>
            <a:off x="10094132" y="4437963"/>
            <a:ext cx="123111" cy="123111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ctr">
            <a:sp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54</a:t>
            </a:r>
          </a:p>
        </p:txBody>
      </p:sp>
      <p:sp>
        <p:nvSpPr>
          <p:cNvPr id="1692" name="object 89">
            <a:extLst>
              <a:ext uri="{FF2B5EF4-FFF2-40B4-BE49-F238E27FC236}">
                <a16:creationId xmlns:a16="http://schemas.microsoft.com/office/drawing/2014/main" id="{095D90E0-3398-152F-D43C-BC3C01A3710C}"/>
              </a:ext>
            </a:extLst>
          </p:cNvPr>
          <p:cNvSpPr/>
          <p:nvPr/>
        </p:nvSpPr>
        <p:spPr>
          <a:xfrm>
            <a:off x="10331818" y="4383835"/>
            <a:ext cx="0" cy="46401"/>
          </a:xfrm>
          <a:custGeom>
            <a:avLst/>
            <a:gdLst/>
            <a:ahLst/>
            <a:cxnLst/>
            <a:rect l="l" t="t" r="r" b="b"/>
            <a:pathLst>
              <a:path h="41275">
                <a:moveTo>
                  <a:pt x="0" y="0"/>
                </a:moveTo>
                <a:lnTo>
                  <a:pt x="0" y="41275"/>
                </a:lnTo>
              </a:path>
            </a:pathLst>
          </a:custGeom>
          <a:ln w="635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93" name="object 67">
            <a:extLst>
              <a:ext uri="{FF2B5EF4-FFF2-40B4-BE49-F238E27FC236}">
                <a16:creationId xmlns:a16="http://schemas.microsoft.com/office/drawing/2014/main" id="{AB9E5D9E-291F-FE4F-853D-56D46D9AE830}"/>
              </a:ext>
            </a:extLst>
          </p:cNvPr>
          <p:cNvSpPr txBox="1"/>
          <p:nvPr/>
        </p:nvSpPr>
        <p:spPr>
          <a:xfrm>
            <a:off x="10270263" y="4437964"/>
            <a:ext cx="123111" cy="123111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ctr">
            <a:sp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57</a:t>
            </a:r>
          </a:p>
        </p:txBody>
      </p:sp>
      <p:sp>
        <p:nvSpPr>
          <p:cNvPr id="1694" name="object 89">
            <a:extLst>
              <a:ext uri="{FF2B5EF4-FFF2-40B4-BE49-F238E27FC236}">
                <a16:creationId xmlns:a16="http://schemas.microsoft.com/office/drawing/2014/main" id="{B0BB4F3F-7A59-82CB-D8A8-7AA5E179BC8B}"/>
              </a:ext>
            </a:extLst>
          </p:cNvPr>
          <p:cNvSpPr/>
          <p:nvPr/>
        </p:nvSpPr>
        <p:spPr>
          <a:xfrm>
            <a:off x="10507949" y="4383836"/>
            <a:ext cx="0" cy="46401"/>
          </a:xfrm>
          <a:custGeom>
            <a:avLst/>
            <a:gdLst/>
            <a:ahLst/>
            <a:cxnLst/>
            <a:rect l="l" t="t" r="r" b="b"/>
            <a:pathLst>
              <a:path h="41275">
                <a:moveTo>
                  <a:pt x="0" y="0"/>
                </a:moveTo>
                <a:lnTo>
                  <a:pt x="0" y="41275"/>
                </a:lnTo>
              </a:path>
            </a:pathLst>
          </a:custGeom>
          <a:ln w="635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95" name="object 67">
            <a:extLst>
              <a:ext uri="{FF2B5EF4-FFF2-40B4-BE49-F238E27FC236}">
                <a16:creationId xmlns:a16="http://schemas.microsoft.com/office/drawing/2014/main" id="{D5CD63C4-975A-BDB7-6347-C84BA04D6BC9}"/>
              </a:ext>
            </a:extLst>
          </p:cNvPr>
          <p:cNvSpPr txBox="1"/>
          <p:nvPr/>
        </p:nvSpPr>
        <p:spPr>
          <a:xfrm>
            <a:off x="10446394" y="4437965"/>
            <a:ext cx="123111" cy="123111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ctr">
            <a:sp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60</a:t>
            </a:r>
          </a:p>
        </p:txBody>
      </p:sp>
      <p:sp>
        <p:nvSpPr>
          <p:cNvPr id="1696" name="object 89">
            <a:extLst>
              <a:ext uri="{FF2B5EF4-FFF2-40B4-BE49-F238E27FC236}">
                <a16:creationId xmlns:a16="http://schemas.microsoft.com/office/drawing/2014/main" id="{FCE1615B-E71D-2355-702E-DDBF4BC216EE}"/>
              </a:ext>
            </a:extLst>
          </p:cNvPr>
          <p:cNvSpPr/>
          <p:nvPr/>
        </p:nvSpPr>
        <p:spPr>
          <a:xfrm>
            <a:off x="10684073" y="4383844"/>
            <a:ext cx="0" cy="46401"/>
          </a:xfrm>
          <a:custGeom>
            <a:avLst/>
            <a:gdLst/>
            <a:ahLst/>
            <a:cxnLst/>
            <a:rect l="l" t="t" r="r" b="b"/>
            <a:pathLst>
              <a:path h="41275">
                <a:moveTo>
                  <a:pt x="0" y="0"/>
                </a:moveTo>
                <a:lnTo>
                  <a:pt x="0" y="41275"/>
                </a:lnTo>
              </a:path>
            </a:pathLst>
          </a:custGeom>
          <a:ln w="635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97" name="object 67">
            <a:extLst>
              <a:ext uri="{FF2B5EF4-FFF2-40B4-BE49-F238E27FC236}">
                <a16:creationId xmlns:a16="http://schemas.microsoft.com/office/drawing/2014/main" id="{9BC04C2E-FCED-68C1-2169-9274B0D8AE29}"/>
              </a:ext>
            </a:extLst>
          </p:cNvPr>
          <p:cNvSpPr txBox="1"/>
          <p:nvPr/>
        </p:nvSpPr>
        <p:spPr>
          <a:xfrm>
            <a:off x="10622518" y="4437973"/>
            <a:ext cx="123111" cy="123111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ctr">
            <a:sp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63</a:t>
            </a:r>
          </a:p>
        </p:txBody>
      </p:sp>
      <p:sp>
        <p:nvSpPr>
          <p:cNvPr id="1722" name="object 67">
            <a:extLst>
              <a:ext uri="{FF2B5EF4-FFF2-40B4-BE49-F238E27FC236}">
                <a16:creationId xmlns:a16="http://schemas.microsoft.com/office/drawing/2014/main" id="{8C9B6CFA-31FF-456A-8844-8F16F53341E7}"/>
              </a:ext>
            </a:extLst>
          </p:cNvPr>
          <p:cNvSpPr txBox="1"/>
          <p:nvPr/>
        </p:nvSpPr>
        <p:spPr>
          <a:xfrm>
            <a:off x="9918001" y="4975696"/>
            <a:ext cx="123111" cy="123111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ctr">
            <a:sp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5</a:t>
            </a:r>
          </a:p>
        </p:txBody>
      </p:sp>
      <p:sp>
        <p:nvSpPr>
          <p:cNvPr id="1723" name="object 67">
            <a:extLst>
              <a:ext uri="{FF2B5EF4-FFF2-40B4-BE49-F238E27FC236}">
                <a16:creationId xmlns:a16="http://schemas.microsoft.com/office/drawing/2014/main" id="{21A429BA-9CE4-0467-C82E-80245C2763D4}"/>
              </a:ext>
            </a:extLst>
          </p:cNvPr>
          <p:cNvSpPr txBox="1"/>
          <p:nvPr/>
        </p:nvSpPr>
        <p:spPr>
          <a:xfrm>
            <a:off x="9741870" y="4975696"/>
            <a:ext cx="123111" cy="123111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ctr">
            <a:sp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33</a:t>
            </a:r>
          </a:p>
        </p:txBody>
      </p:sp>
      <p:sp>
        <p:nvSpPr>
          <p:cNvPr id="1724" name="object 67">
            <a:extLst>
              <a:ext uri="{FF2B5EF4-FFF2-40B4-BE49-F238E27FC236}">
                <a16:creationId xmlns:a16="http://schemas.microsoft.com/office/drawing/2014/main" id="{2ECE1E58-4117-FA47-7746-5D5CAC08A989}"/>
              </a:ext>
            </a:extLst>
          </p:cNvPr>
          <p:cNvSpPr txBox="1"/>
          <p:nvPr/>
        </p:nvSpPr>
        <p:spPr>
          <a:xfrm>
            <a:off x="9565739" y="4975696"/>
            <a:ext cx="123111" cy="123111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ctr">
            <a:sp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34</a:t>
            </a:r>
          </a:p>
        </p:txBody>
      </p:sp>
      <p:sp>
        <p:nvSpPr>
          <p:cNvPr id="1725" name="object 67">
            <a:extLst>
              <a:ext uri="{FF2B5EF4-FFF2-40B4-BE49-F238E27FC236}">
                <a16:creationId xmlns:a16="http://schemas.microsoft.com/office/drawing/2014/main" id="{49D8C6E1-870D-AEF1-BEC3-3A7AB4E6252C}"/>
              </a:ext>
            </a:extLst>
          </p:cNvPr>
          <p:cNvSpPr txBox="1"/>
          <p:nvPr/>
        </p:nvSpPr>
        <p:spPr>
          <a:xfrm>
            <a:off x="9389608" y="4975696"/>
            <a:ext cx="123111" cy="123111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ctr">
            <a:sp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35</a:t>
            </a:r>
          </a:p>
        </p:txBody>
      </p:sp>
      <p:sp>
        <p:nvSpPr>
          <p:cNvPr id="1726" name="object 67">
            <a:extLst>
              <a:ext uri="{FF2B5EF4-FFF2-40B4-BE49-F238E27FC236}">
                <a16:creationId xmlns:a16="http://schemas.microsoft.com/office/drawing/2014/main" id="{BD66610E-95A7-4E98-94EF-55C4E5C7C289}"/>
              </a:ext>
            </a:extLst>
          </p:cNvPr>
          <p:cNvSpPr txBox="1"/>
          <p:nvPr/>
        </p:nvSpPr>
        <p:spPr>
          <a:xfrm>
            <a:off x="9213477" y="4975696"/>
            <a:ext cx="123111" cy="123111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ctr">
            <a:sp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35</a:t>
            </a:r>
          </a:p>
        </p:txBody>
      </p:sp>
      <p:sp>
        <p:nvSpPr>
          <p:cNvPr id="1727" name="object 67">
            <a:extLst>
              <a:ext uri="{FF2B5EF4-FFF2-40B4-BE49-F238E27FC236}">
                <a16:creationId xmlns:a16="http://schemas.microsoft.com/office/drawing/2014/main" id="{DA752523-B7FF-167E-ED98-34C9D3F51EA4}"/>
              </a:ext>
            </a:extLst>
          </p:cNvPr>
          <p:cNvSpPr txBox="1"/>
          <p:nvPr/>
        </p:nvSpPr>
        <p:spPr>
          <a:xfrm>
            <a:off x="9037346" y="4975696"/>
            <a:ext cx="123111" cy="123111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ctr">
            <a:sp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35</a:t>
            </a:r>
          </a:p>
        </p:txBody>
      </p:sp>
      <p:sp>
        <p:nvSpPr>
          <p:cNvPr id="1231" name="object 67">
            <a:extLst>
              <a:ext uri="{FF2B5EF4-FFF2-40B4-BE49-F238E27FC236}">
                <a16:creationId xmlns:a16="http://schemas.microsoft.com/office/drawing/2014/main" id="{6F690B8F-1A5F-CDE8-34D2-0DDCE15F1C87}"/>
              </a:ext>
            </a:extLst>
          </p:cNvPr>
          <p:cNvSpPr txBox="1"/>
          <p:nvPr/>
        </p:nvSpPr>
        <p:spPr>
          <a:xfrm>
            <a:off x="8861215" y="4975696"/>
            <a:ext cx="123111" cy="123111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ctr">
            <a:sp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43</a:t>
            </a:r>
          </a:p>
        </p:txBody>
      </p:sp>
      <p:sp>
        <p:nvSpPr>
          <p:cNvPr id="1232" name="object 67">
            <a:extLst>
              <a:ext uri="{FF2B5EF4-FFF2-40B4-BE49-F238E27FC236}">
                <a16:creationId xmlns:a16="http://schemas.microsoft.com/office/drawing/2014/main" id="{FE25029E-EFF4-D359-D1A2-D3824EB0FCC2}"/>
              </a:ext>
            </a:extLst>
          </p:cNvPr>
          <p:cNvSpPr txBox="1"/>
          <p:nvPr/>
        </p:nvSpPr>
        <p:spPr>
          <a:xfrm>
            <a:off x="8685084" y="4975696"/>
            <a:ext cx="123111" cy="123111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ctr">
            <a:sp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44</a:t>
            </a:r>
          </a:p>
        </p:txBody>
      </p:sp>
      <p:sp>
        <p:nvSpPr>
          <p:cNvPr id="1233" name="object 67">
            <a:extLst>
              <a:ext uri="{FF2B5EF4-FFF2-40B4-BE49-F238E27FC236}">
                <a16:creationId xmlns:a16="http://schemas.microsoft.com/office/drawing/2014/main" id="{FE35406F-0C68-F185-4416-BD2E161B7DD6}"/>
              </a:ext>
            </a:extLst>
          </p:cNvPr>
          <p:cNvSpPr txBox="1"/>
          <p:nvPr/>
        </p:nvSpPr>
        <p:spPr>
          <a:xfrm>
            <a:off x="8508953" y="4975696"/>
            <a:ext cx="123111" cy="123111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ctr">
            <a:sp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46</a:t>
            </a:r>
          </a:p>
        </p:txBody>
      </p:sp>
      <p:sp>
        <p:nvSpPr>
          <p:cNvPr id="1234" name="object 67">
            <a:extLst>
              <a:ext uri="{FF2B5EF4-FFF2-40B4-BE49-F238E27FC236}">
                <a16:creationId xmlns:a16="http://schemas.microsoft.com/office/drawing/2014/main" id="{674DD21C-AB89-A9E7-C00C-D26684352CE9}"/>
              </a:ext>
            </a:extLst>
          </p:cNvPr>
          <p:cNvSpPr txBox="1"/>
          <p:nvPr/>
        </p:nvSpPr>
        <p:spPr>
          <a:xfrm>
            <a:off x="8332822" y="4975696"/>
            <a:ext cx="123111" cy="123111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ctr">
            <a:sp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46</a:t>
            </a:r>
          </a:p>
        </p:txBody>
      </p:sp>
      <p:sp>
        <p:nvSpPr>
          <p:cNvPr id="1235" name="object 67">
            <a:extLst>
              <a:ext uri="{FF2B5EF4-FFF2-40B4-BE49-F238E27FC236}">
                <a16:creationId xmlns:a16="http://schemas.microsoft.com/office/drawing/2014/main" id="{AA791A45-A114-2F8D-E836-8858F57531BE}"/>
              </a:ext>
            </a:extLst>
          </p:cNvPr>
          <p:cNvSpPr txBox="1"/>
          <p:nvPr/>
        </p:nvSpPr>
        <p:spPr>
          <a:xfrm>
            <a:off x="8156691" y="4975696"/>
            <a:ext cx="123111" cy="123111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ctr">
            <a:sp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47</a:t>
            </a:r>
          </a:p>
        </p:txBody>
      </p:sp>
      <p:sp>
        <p:nvSpPr>
          <p:cNvPr id="1236" name="object 67">
            <a:extLst>
              <a:ext uri="{FF2B5EF4-FFF2-40B4-BE49-F238E27FC236}">
                <a16:creationId xmlns:a16="http://schemas.microsoft.com/office/drawing/2014/main" id="{E7EF4984-0E9A-91E6-4C3D-FD741F9B6506}"/>
              </a:ext>
            </a:extLst>
          </p:cNvPr>
          <p:cNvSpPr txBox="1"/>
          <p:nvPr/>
        </p:nvSpPr>
        <p:spPr>
          <a:xfrm>
            <a:off x="7980560" y="4975696"/>
            <a:ext cx="123111" cy="123111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ctr">
            <a:sp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48</a:t>
            </a:r>
          </a:p>
        </p:txBody>
      </p:sp>
      <p:sp>
        <p:nvSpPr>
          <p:cNvPr id="1237" name="object 67">
            <a:extLst>
              <a:ext uri="{FF2B5EF4-FFF2-40B4-BE49-F238E27FC236}">
                <a16:creationId xmlns:a16="http://schemas.microsoft.com/office/drawing/2014/main" id="{3D996BD8-69E9-FC66-F286-161C456C9376}"/>
              </a:ext>
            </a:extLst>
          </p:cNvPr>
          <p:cNvSpPr txBox="1"/>
          <p:nvPr/>
        </p:nvSpPr>
        <p:spPr>
          <a:xfrm>
            <a:off x="7804429" y="4975696"/>
            <a:ext cx="123111" cy="123111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ctr">
            <a:sp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50</a:t>
            </a:r>
          </a:p>
        </p:txBody>
      </p:sp>
      <p:sp>
        <p:nvSpPr>
          <p:cNvPr id="1238" name="object 67">
            <a:extLst>
              <a:ext uri="{FF2B5EF4-FFF2-40B4-BE49-F238E27FC236}">
                <a16:creationId xmlns:a16="http://schemas.microsoft.com/office/drawing/2014/main" id="{F0EBD073-5FB3-20D4-BB35-99133BFA33BC}"/>
              </a:ext>
            </a:extLst>
          </p:cNvPr>
          <p:cNvSpPr txBox="1"/>
          <p:nvPr/>
        </p:nvSpPr>
        <p:spPr>
          <a:xfrm>
            <a:off x="7628298" y="4975696"/>
            <a:ext cx="123111" cy="123111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ctr">
            <a:sp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53</a:t>
            </a:r>
          </a:p>
        </p:txBody>
      </p:sp>
      <p:sp>
        <p:nvSpPr>
          <p:cNvPr id="1239" name="object 67">
            <a:extLst>
              <a:ext uri="{FF2B5EF4-FFF2-40B4-BE49-F238E27FC236}">
                <a16:creationId xmlns:a16="http://schemas.microsoft.com/office/drawing/2014/main" id="{FA34D5EF-6E40-9875-37DA-5EDE26B57F88}"/>
              </a:ext>
            </a:extLst>
          </p:cNvPr>
          <p:cNvSpPr txBox="1"/>
          <p:nvPr/>
        </p:nvSpPr>
        <p:spPr>
          <a:xfrm>
            <a:off x="7452167" y="4975696"/>
            <a:ext cx="123111" cy="123111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ctr">
            <a:sp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59</a:t>
            </a:r>
          </a:p>
        </p:txBody>
      </p:sp>
      <p:sp>
        <p:nvSpPr>
          <p:cNvPr id="1240" name="object 67">
            <a:extLst>
              <a:ext uri="{FF2B5EF4-FFF2-40B4-BE49-F238E27FC236}">
                <a16:creationId xmlns:a16="http://schemas.microsoft.com/office/drawing/2014/main" id="{F6E3A0AE-1BDA-9667-0A9A-622BD689A31D}"/>
              </a:ext>
            </a:extLst>
          </p:cNvPr>
          <p:cNvSpPr txBox="1"/>
          <p:nvPr/>
        </p:nvSpPr>
        <p:spPr>
          <a:xfrm>
            <a:off x="7276036" y="4975696"/>
            <a:ext cx="123111" cy="123111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ctr">
            <a:sp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63</a:t>
            </a:r>
          </a:p>
        </p:txBody>
      </p:sp>
      <p:sp>
        <p:nvSpPr>
          <p:cNvPr id="1241" name="object 67">
            <a:extLst>
              <a:ext uri="{FF2B5EF4-FFF2-40B4-BE49-F238E27FC236}">
                <a16:creationId xmlns:a16="http://schemas.microsoft.com/office/drawing/2014/main" id="{A838878F-0922-5238-83B4-EFC067F23C2D}"/>
              </a:ext>
            </a:extLst>
          </p:cNvPr>
          <p:cNvSpPr txBox="1"/>
          <p:nvPr/>
        </p:nvSpPr>
        <p:spPr>
          <a:xfrm>
            <a:off x="7099905" y="4975696"/>
            <a:ext cx="123111" cy="123111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ctr">
            <a:sp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81</a:t>
            </a:r>
          </a:p>
        </p:txBody>
      </p:sp>
      <p:sp>
        <p:nvSpPr>
          <p:cNvPr id="1242" name="object 67">
            <a:extLst>
              <a:ext uri="{FF2B5EF4-FFF2-40B4-BE49-F238E27FC236}">
                <a16:creationId xmlns:a16="http://schemas.microsoft.com/office/drawing/2014/main" id="{29B0FF87-9150-BC2A-61E8-903CBCD7AD76}"/>
              </a:ext>
            </a:extLst>
          </p:cNvPr>
          <p:cNvSpPr txBox="1"/>
          <p:nvPr/>
        </p:nvSpPr>
        <p:spPr>
          <a:xfrm>
            <a:off x="6923774" y="4975697"/>
            <a:ext cx="123111" cy="123111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ctr">
            <a:sp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92</a:t>
            </a:r>
          </a:p>
        </p:txBody>
      </p:sp>
      <p:sp>
        <p:nvSpPr>
          <p:cNvPr id="1243" name="object 67">
            <a:extLst>
              <a:ext uri="{FF2B5EF4-FFF2-40B4-BE49-F238E27FC236}">
                <a16:creationId xmlns:a16="http://schemas.microsoft.com/office/drawing/2014/main" id="{4210CFB4-7D88-6A67-643A-C8C08F932D72}"/>
              </a:ext>
            </a:extLst>
          </p:cNvPr>
          <p:cNvSpPr txBox="1"/>
          <p:nvPr/>
        </p:nvSpPr>
        <p:spPr>
          <a:xfrm>
            <a:off x="10094132" y="4975696"/>
            <a:ext cx="123111" cy="123111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ctr">
            <a:sp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4</a:t>
            </a:r>
          </a:p>
        </p:txBody>
      </p:sp>
      <p:sp>
        <p:nvSpPr>
          <p:cNvPr id="1244" name="object 67">
            <a:extLst>
              <a:ext uri="{FF2B5EF4-FFF2-40B4-BE49-F238E27FC236}">
                <a16:creationId xmlns:a16="http://schemas.microsoft.com/office/drawing/2014/main" id="{5940367C-DAB2-02E5-A5D1-B36B2ACF8D4A}"/>
              </a:ext>
            </a:extLst>
          </p:cNvPr>
          <p:cNvSpPr txBox="1"/>
          <p:nvPr/>
        </p:nvSpPr>
        <p:spPr>
          <a:xfrm>
            <a:off x="10270263" y="4975697"/>
            <a:ext cx="123111" cy="123111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ctr">
            <a:sp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8</a:t>
            </a:r>
          </a:p>
        </p:txBody>
      </p:sp>
      <p:sp>
        <p:nvSpPr>
          <p:cNvPr id="1245" name="object 67">
            <a:extLst>
              <a:ext uri="{FF2B5EF4-FFF2-40B4-BE49-F238E27FC236}">
                <a16:creationId xmlns:a16="http://schemas.microsoft.com/office/drawing/2014/main" id="{0BF4C596-715D-9288-2B83-BF20ECEFFBE1}"/>
              </a:ext>
            </a:extLst>
          </p:cNvPr>
          <p:cNvSpPr txBox="1"/>
          <p:nvPr/>
        </p:nvSpPr>
        <p:spPr>
          <a:xfrm>
            <a:off x="10446394" y="4975698"/>
            <a:ext cx="123111" cy="123111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ctr">
            <a:sp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8</a:t>
            </a:r>
          </a:p>
        </p:txBody>
      </p:sp>
      <p:sp>
        <p:nvSpPr>
          <p:cNvPr id="1246" name="object 67">
            <a:extLst>
              <a:ext uri="{FF2B5EF4-FFF2-40B4-BE49-F238E27FC236}">
                <a16:creationId xmlns:a16="http://schemas.microsoft.com/office/drawing/2014/main" id="{00FD2E72-305C-6F3F-8045-0A2048B3EFD8}"/>
              </a:ext>
            </a:extLst>
          </p:cNvPr>
          <p:cNvSpPr txBox="1"/>
          <p:nvPr/>
        </p:nvSpPr>
        <p:spPr>
          <a:xfrm>
            <a:off x="10622518" y="4975706"/>
            <a:ext cx="123111" cy="123111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ctr">
            <a:sp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0</a:t>
            </a:r>
          </a:p>
        </p:txBody>
      </p:sp>
      <p:sp>
        <p:nvSpPr>
          <p:cNvPr id="1247" name="Content Placeholder 1">
            <a:extLst>
              <a:ext uri="{FF2B5EF4-FFF2-40B4-BE49-F238E27FC236}">
                <a16:creationId xmlns:a16="http://schemas.microsoft.com/office/drawing/2014/main" id="{2182D1A0-9E6F-AFEA-1720-5BC49FE8DBB9}"/>
              </a:ext>
            </a:extLst>
          </p:cNvPr>
          <p:cNvSpPr txBox="1">
            <a:spLocks/>
          </p:cNvSpPr>
          <p:nvPr/>
        </p:nvSpPr>
        <p:spPr>
          <a:xfrm>
            <a:off x="9237323" y="2734415"/>
            <a:ext cx="1772296" cy="472630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500" b="1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75000"/>
                    <a:lumOff val="2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Median PFS</a:t>
            </a:r>
            <a:b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75000"/>
                    <a:lumOff val="2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CH" sz="1900" b="1" i="0" u="none" strike="noStrike" kern="1200" cap="none" spc="0" normalizeH="0" baseline="0" noProof="0">
                <a:ln>
                  <a:noFill/>
                </a:ln>
                <a:solidFill>
                  <a:srgbClr val="2C5E77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ot reached</a:t>
            </a:r>
            <a:endParaRPr kumimoji="0" lang="en-GB" sz="1900" b="1" i="0" u="none" strike="noStrike" kern="1200" cap="none" spc="0" normalizeH="0" baseline="0" noProof="0">
              <a:ln>
                <a:noFill/>
              </a:ln>
              <a:solidFill>
                <a:srgbClr val="2C5E77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48" name="TextBox 1247">
            <a:extLst>
              <a:ext uri="{FF2B5EF4-FFF2-40B4-BE49-F238E27FC236}">
                <a16:creationId xmlns:a16="http://schemas.microsoft.com/office/drawing/2014/main" id="{61CFC1A1-4F22-D5B6-0639-DD8ACA5C75D1}"/>
              </a:ext>
            </a:extLst>
          </p:cNvPr>
          <p:cNvSpPr txBox="1"/>
          <p:nvPr/>
        </p:nvSpPr>
        <p:spPr>
          <a:xfrm>
            <a:off x="7100865" y="1816688"/>
            <a:ext cx="4233846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sz="16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Liso-cel</a:t>
            </a: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:</a:t>
            </a: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Arial" charset="0"/>
                <a:cs typeface="Arial" charset="0"/>
              </a:rPr>
              <a:t> </a:t>
            </a: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ivotal study PFS</a:t>
            </a:r>
            <a:r>
              <a:rPr kumimoji="0" lang="en-GB" sz="1600" b="0" i="0" u="none" strike="noStrike" kern="1200" cap="none" spc="0" normalizeH="0" baseline="3000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,†</a:t>
            </a:r>
            <a:endParaRPr kumimoji="0" lang="en-GB" sz="1400" b="1" i="0" u="none" strike="noStrike" kern="1200" cap="none" spc="0" normalizeH="0" baseline="3000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50" name="Free-form: Shape 1249">
            <a:extLst>
              <a:ext uri="{FF2B5EF4-FFF2-40B4-BE49-F238E27FC236}">
                <a16:creationId xmlns:a16="http://schemas.microsoft.com/office/drawing/2014/main" id="{20677155-FB5D-73CA-C450-476AC82BFA42}"/>
              </a:ext>
            </a:extLst>
          </p:cNvPr>
          <p:cNvSpPr/>
          <p:nvPr/>
        </p:nvSpPr>
        <p:spPr>
          <a:xfrm>
            <a:off x="6993237" y="2566356"/>
            <a:ext cx="3643313" cy="898001"/>
          </a:xfrm>
          <a:custGeom>
            <a:avLst/>
            <a:gdLst>
              <a:gd name="csX0" fmla="*/ 0 w 2855119"/>
              <a:gd name="csY0" fmla="*/ 0 h 892969"/>
              <a:gd name="csX1" fmla="*/ 57150 w 2855119"/>
              <a:gd name="csY1" fmla="*/ 0 h 892969"/>
              <a:gd name="csX2" fmla="*/ 57150 w 2855119"/>
              <a:gd name="csY2" fmla="*/ 26194 h 892969"/>
              <a:gd name="csX3" fmla="*/ 95250 w 2855119"/>
              <a:gd name="csY3" fmla="*/ 26194 h 892969"/>
              <a:gd name="csX4" fmla="*/ 95250 w 2855119"/>
              <a:gd name="csY4" fmla="*/ 45244 h 892969"/>
              <a:gd name="csX5" fmla="*/ 119062 w 2855119"/>
              <a:gd name="csY5" fmla="*/ 45244 h 892969"/>
              <a:gd name="csX6" fmla="*/ 119062 w 2855119"/>
              <a:gd name="csY6" fmla="*/ 66675 h 892969"/>
              <a:gd name="csX7" fmla="*/ 140494 w 2855119"/>
              <a:gd name="csY7" fmla="*/ 66675 h 892969"/>
              <a:gd name="csX8" fmla="*/ 140494 w 2855119"/>
              <a:gd name="csY8" fmla="*/ 154782 h 892969"/>
              <a:gd name="csX9" fmla="*/ 161925 w 2855119"/>
              <a:gd name="csY9" fmla="*/ 154782 h 892969"/>
              <a:gd name="csX10" fmla="*/ 161925 w 2855119"/>
              <a:gd name="csY10" fmla="*/ 164307 h 892969"/>
              <a:gd name="csX11" fmla="*/ 228600 w 2855119"/>
              <a:gd name="csY11" fmla="*/ 164307 h 892969"/>
              <a:gd name="csX12" fmla="*/ 228600 w 2855119"/>
              <a:gd name="csY12" fmla="*/ 178594 h 892969"/>
              <a:gd name="csX13" fmla="*/ 242887 w 2855119"/>
              <a:gd name="csY13" fmla="*/ 178594 h 892969"/>
              <a:gd name="csX14" fmla="*/ 242887 w 2855119"/>
              <a:gd name="csY14" fmla="*/ 202407 h 892969"/>
              <a:gd name="csX15" fmla="*/ 257175 w 2855119"/>
              <a:gd name="csY15" fmla="*/ 202407 h 892969"/>
              <a:gd name="csX16" fmla="*/ 257175 w 2855119"/>
              <a:gd name="csY16" fmla="*/ 290513 h 892969"/>
              <a:gd name="csX17" fmla="*/ 269081 w 2855119"/>
              <a:gd name="csY17" fmla="*/ 290513 h 892969"/>
              <a:gd name="csX18" fmla="*/ 269081 w 2855119"/>
              <a:gd name="csY18" fmla="*/ 354807 h 892969"/>
              <a:gd name="csX19" fmla="*/ 288131 w 2855119"/>
              <a:gd name="csY19" fmla="*/ 354807 h 892969"/>
              <a:gd name="csX20" fmla="*/ 288131 w 2855119"/>
              <a:gd name="csY20" fmla="*/ 378619 h 892969"/>
              <a:gd name="csX21" fmla="*/ 288131 w 2855119"/>
              <a:gd name="csY21" fmla="*/ 395288 h 892969"/>
              <a:gd name="csX22" fmla="*/ 340519 w 2855119"/>
              <a:gd name="csY22" fmla="*/ 395288 h 892969"/>
              <a:gd name="csX23" fmla="*/ 340519 w 2855119"/>
              <a:gd name="csY23" fmla="*/ 416719 h 892969"/>
              <a:gd name="csX24" fmla="*/ 352425 w 2855119"/>
              <a:gd name="csY24" fmla="*/ 416719 h 892969"/>
              <a:gd name="csX25" fmla="*/ 352425 w 2855119"/>
              <a:gd name="csY25" fmla="*/ 473869 h 892969"/>
              <a:gd name="csX26" fmla="*/ 369094 w 2855119"/>
              <a:gd name="csY26" fmla="*/ 473869 h 892969"/>
              <a:gd name="csX27" fmla="*/ 369094 w 2855119"/>
              <a:gd name="csY27" fmla="*/ 519113 h 892969"/>
              <a:gd name="csX28" fmla="*/ 397669 w 2855119"/>
              <a:gd name="csY28" fmla="*/ 519113 h 892969"/>
              <a:gd name="csX29" fmla="*/ 397669 w 2855119"/>
              <a:gd name="csY29" fmla="*/ 542925 h 892969"/>
              <a:gd name="csX30" fmla="*/ 502444 w 2855119"/>
              <a:gd name="csY30" fmla="*/ 542925 h 892969"/>
              <a:gd name="csX31" fmla="*/ 502444 w 2855119"/>
              <a:gd name="csY31" fmla="*/ 559594 h 892969"/>
              <a:gd name="csX32" fmla="*/ 550069 w 2855119"/>
              <a:gd name="csY32" fmla="*/ 559594 h 892969"/>
              <a:gd name="csX33" fmla="*/ 550069 w 2855119"/>
              <a:gd name="csY33" fmla="*/ 592932 h 892969"/>
              <a:gd name="csX34" fmla="*/ 566737 w 2855119"/>
              <a:gd name="csY34" fmla="*/ 592932 h 892969"/>
              <a:gd name="csX35" fmla="*/ 566737 w 2855119"/>
              <a:gd name="csY35" fmla="*/ 628650 h 892969"/>
              <a:gd name="csX36" fmla="*/ 654844 w 2855119"/>
              <a:gd name="csY36" fmla="*/ 628650 h 892969"/>
              <a:gd name="csX37" fmla="*/ 654844 w 2855119"/>
              <a:gd name="csY37" fmla="*/ 647700 h 892969"/>
              <a:gd name="csX38" fmla="*/ 695325 w 2855119"/>
              <a:gd name="csY38" fmla="*/ 647700 h 892969"/>
              <a:gd name="csX39" fmla="*/ 695325 w 2855119"/>
              <a:gd name="csY39" fmla="*/ 671513 h 892969"/>
              <a:gd name="csX40" fmla="*/ 726281 w 2855119"/>
              <a:gd name="csY40" fmla="*/ 671513 h 892969"/>
              <a:gd name="csX41" fmla="*/ 726281 w 2855119"/>
              <a:gd name="csY41" fmla="*/ 692944 h 892969"/>
              <a:gd name="csX42" fmla="*/ 745331 w 2855119"/>
              <a:gd name="csY42" fmla="*/ 692944 h 892969"/>
              <a:gd name="csX43" fmla="*/ 745331 w 2855119"/>
              <a:gd name="csY43" fmla="*/ 711994 h 892969"/>
              <a:gd name="csX44" fmla="*/ 876300 w 2855119"/>
              <a:gd name="csY44" fmla="*/ 711994 h 892969"/>
              <a:gd name="csX45" fmla="*/ 876300 w 2855119"/>
              <a:gd name="csY45" fmla="*/ 733425 h 892969"/>
              <a:gd name="csX46" fmla="*/ 928687 w 2855119"/>
              <a:gd name="csY46" fmla="*/ 733425 h 892969"/>
              <a:gd name="csX47" fmla="*/ 928687 w 2855119"/>
              <a:gd name="csY47" fmla="*/ 757238 h 892969"/>
              <a:gd name="csX48" fmla="*/ 1138237 w 2855119"/>
              <a:gd name="csY48" fmla="*/ 757238 h 892969"/>
              <a:gd name="csX49" fmla="*/ 1138237 w 2855119"/>
              <a:gd name="csY49" fmla="*/ 776288 h 892969"/>
              <a:gd name="csX50" fmla="*/ 1593056 w 2855119"/>
              <a:gd name="csY50" fmla="*/ 776288 h 892969"/>
              <a:gd name="csX51" fmla="*/ 1593056 w 2855119"/>
              <a:gd name="csY51" fmla="*/ 800100 h 892969"/>
              <a:gd name="csX52" fmla="*/ 1735931 w 2855119"/>
              <a:gd name="csY52" fmla="*/ 800100 h 892969"/>
              <a:gd name="csX53" fmla="*/ 1735931 w 2855119"/>
              <a:gd name="csY53" fmla="*/ 826294 h 892969"/>
              <a:gd name="csX54" fmla="*/ 1819275 w 2855119"/>
              <a:gd name="csY54" fmla="*/ 826294 h 892969"/>
              <a:gd name="csX55" fmla="*/ 1819275 w 2855119"/>
              <a:gd name="csY55" fmla="*/ 845344 h 892969"/>
              <a:gd name="csX56" fmla="*/ 1962150 w 2855119"/>
              <a:gd name="csY56" fmla="*/ 845344 h 892969"/>
              <a:gd name="csX57" fmla="*/ 1962150 w 2855119"/>
              <a:gd name="csY57" fmla="*/ 864394 h 892969"/>
              <a:gd name="csX58" fmla="*/ 2855119 w 2855119"/>
              <a:gd name="csY58" fmla="*/ 864394 h 892969"/>
              <a:gd name="csX59" fmla="*/ 2855119 w 2855119"/>
              <a:gd name="csY59" fmla="*/ 892969 h 892969"/>
              <a:gd name="csX0" fmla="*/ 0 w 2857500"/>
              <a:gd name="csY0" fmla="*/ 0 h 894093"/>
              <a:gd name="csX1" fmla="*/ 57150 w 2857500"/>
              <a:gd name="csY1" fmla="*/ 0 h 894093"/>
              <a:gd name="csX2" fmla="*/ 57150 w 2857500"/>
              <a:gd name="csY2" fmla="*/ 26194 h 894093"/>
              <a:gd name="csX3" fmla="*/ 95250 w 2857500"/>
              <a:gd name="csY3" fmla="*/ 26194 h 894093"/>
              <a:gd name="csX4" fmla="*/ 95250 w 2857500"/>
              <a:gd name="csY4" fmla="*/ 45244 h 894093"/>
              <a:gd name="csX5" fmla="*/ 119062 w 2857500"/>
              <a:gd name="csY5" fmla="*/ 45244 h 894093"/>
              <a:gd name="csX6" fmla="*/ 119062 w 2857500"/>
              <a:gd name="csY6" fmla="*/ 66675 h 894093"/>
              <a:gd name="csX7" fmla="*/ 140494 w 2857500"/>
              <a:gd name="csY7" fmla="*/ 66675 h 894093"/>
              <a:gd name="csX8" fmla="*/ 140494 w 2857500"/>
              <a:gd name="csY8" fmla="*/ 154782 h 894093"/>
              <a:gd name="csX9" fmla="*/ 161925 w 2857500"/>
              <a:gd name="csY9" fmla="*/ 154782 h 894093"/>
              <a:gd name="csX10" fmla="*/ 161925 w 2857500"/>
              <a:gd name="csY10" fmla="*/ 164307 h 894093"/>
              <a:gd name="csX11" fmla="*/ 228600 w 2857500"/>
              <a:gd name="csY11" fmla="*/ 164307 h 894093"/>
              <a:gd name="csX12" fmla="*/ 228600 w 2857500"/>
              <a:gd name="csY12" fmla="*/ 178594 h 894093"/>
              <a:gd name="csX13" fmla="*/ 242887 w 2857500"/>
              <a:gd name="csY13" fmla="*/ 178594 h 894093"/>
              <a:gd name="csX14" fmla="*/ 242887 w 2857500"/>
              <a:gd name="csY14" fmla="*/ 202407 h 894093"/>
              <a:gd name="csX15" fmla="*/ 257175 w 2857500"/>
              <a:gd name="csY15" fmla="*/ 202407 h 894093"/>
              <a:gd name="csX16" fmla="*/ 257175 w 2857500"/>
              <a:gd name="csY16" fmla="*/ 290513 h 894093"/>
              <a:gd name="csX17" fmla="*/ 269081 w 2857500"/>
              <a:gd name="csY17" fmla="*/ 290513 h 894093"/>
              <a:gd name="csX18" fmla="*/ 269081 w 2857500"/>
              <a:gd name="csY18" fmla="*/ 354807 h 894093"/>
              <a:gd name="csX19" fmla="*/ 288131 w 2857500"/>
              <a:gd name="csY19" fmla="*/ 354807 h 894093"/>
              <a:gd name="csX20" fmla="*/ 288131 w 2857500"/>
              <a:gd name="csY20" fmla="*/ 378619 h 894093"/>
              <a:gd name="csX21" fmla="*/ 288131 w 2857500"/>
              <a:gd name="csY21" fmla="*/ 395288 h 894093"/>
              <a:gd name="csX22" fmla="*/ 340519 w 2857500"/>
              <a:gd name="csY22" fmla="*/ 395288 h 894093"/>
              <a:gd name="csX23" fmla="*/ 340519 w 2857500"/>
              <a:gd name="csY23" fmla="*/ 416719 h 894093"/>
              <a:gd name="csX24" fmla="*/ 352425 w 2857500"/>
              <a:gd name="csY24" fmla="*/ 416719 h 894093"/>
              <a:gd name="csX25" fmla="*/ 352425 w 2857500"/>
              <a:gd name="csY25" fmla="*/ 473869 h 894093"/>
              <a:gd name="csX26" fmla="*/ 369094 w 2857500"/>
              <a:gd name="csY26" fmla="*/ 473869 h 894093"/>
              <a:gd name="csX27" fmla="*/ 369094 w 2857500"/>
              <a:gd name="csY27" fmla="*/ 519113 h 894093"/>
              <a:gd name="csX28" fmla="*/ 397669 w 2857500"/>
              <a:gd name="csY28" fmla="*/ 519113 h 894093"/>
              <a:gd name="csX29" fmla="*/ 397669 w 2857500"/>
              <a:gd name="csY29" fmla="*/ 542925 h 894093"/>
              <a:gd name="csX30" fmla="*/ 502444 w 2857500"/>
              <a:gd name="csY30" fmla="*/ 542925 h 894093"/>
              <a:gd name="csX31" fmla="*/ 502444 w 2857500"/>
              <a:gd name="csY31" fmla="*/ 559594 h 894093"/>
              <a:gd name="csX32" fmla="*/ 550069 w 2857500"/>
              <a:gd name="csY32" fmla="*/ 559594 h 894093"/>
              <a:gd name="csX33" fmla="*/ 550069 w 2857500"/>
              <a:gd name="csY33" fmla="*/ 592932 h 894093"/>
              <a:gd name="csX34" fmla="*/ 566737 w 2857500"/>
              <a:gd name="csY34" fmla="*/ 592932 h 894093"/>
              <a:gd name="csX35" fmla="*/ 566737 w 2857500"/>
              <a:gd name="csY35" fmla="*/ 628650 h 894093"/>
              <a:gd name="csX36" fmla="*/ 654844 w 2857500"/>
              <a:gd name="csY36" fmla="*/ 628650 h 894093"/>
              <a:gd name="csX37" fmla="*/ 654844 w 2857500"/>
              <a:gd name="csY37" fmla="*/ 647700 h 894093"/>
              <a:gd name="csX38" fmla="*/ 695325 w 2857500"/>
              <a:gd name="csY38" fmla="*/ 647700 h 894093"/>
              <a:gd name="csX39" fmla="*/ 695325 w 2857500"/>
              <a:gd name="csY39" fmla="*/ 671513 h 894093"/>
              <a:gd name="csX40" fmla="*/ 726281 w 2857500"/>
              <a:gd name="csY40" fmla="*/ 671513 h 894093"/>
              <a:gd name="csX41" fmla="*/ 726281 w 2857500"/>
              <a:gd name="csY41" fmla="*/ 692944 h 894093"/>
              <a:gd name="csX42" fmla="*/ 745331 w 2857500"/>
              <a:gd name="csY42" fmla="*/ 692944 h 894093"/>
              <a:gd name="csX43" fmla="*/ 745331 w 2857500"/>
              <a:gd name="csY43" fmla="*/ 711994 h 894093"/>
              <a:gd name="csX44" fmla="*/ 876300 w 2857500"/>
              <a:gd name="csY44" fmla="*/ 711994 h 894093"/>
              <a:gd name="csX45" fmla="*/ 876300 w 2857500"/>
              <a:gd name="csY45" fmla="*/ 733425 h 894093"/>
              <a:gd name="csX46" fmla="*/ 928687 w 2857500"/>
              <a:gd name="csY46" fmla="*/ 733425 h 894093"/>
              <a:gd name="csX47" fmla="*/ 928687 w 2857500"/>
              <a:gd name="csY47" fmla="*/ 757238 h 894093"/>
              <a:gd name="csX48" fmla="*/ 1138237 w 2857500"/>
              <a:gd name="csY48" fmla="*/ 757238 h 894093"/>
              <a:gd name="csX49" fmla="*/ 1138237 w 2857500"/>
              <a:gd name="csY49" fmla="*/ 776288 h 894093"/>
              <a:gd name="csX50" fmla="*/ 1593056 w 2857500"/>
              <a:gd name="csY50" fmla="*/ 776288 h 894093"/>
              <a:gd name="csX51" fmla="*/ 1593056 w 2857500"/>
              <a:gd name="csY51" fmla="*/ 800100 h 894093"/>
              <a:gd name="csX52" fmla="*/ 1735931 w 2857500"/>
              <a:gd name="csY52" fmla="*/ 800100 h 894093"/>
              <a:gd name="csX53" fmla="*/ 1735931 w 2857500"/>
              <a:gd name="csY53" fmla="*/ 826294 h 894093"/>
              <a:gd name="csX54" fmla="*/ 1819275 w 2857500"/>
              <a:gd name="csY54" fmla="*/ 826294 h 894093"/>
              <a:gd name="csX55" fmla="*/ 1819275 w 2857500"/>
              <a:gd name="csY55" fmla="*/ 845344 h 894093"/>
              <a:gd name="csX56" fmla="*/ 1962150 w 2857500"/>
              <a:gd name="csY56" fmla="*/ 845344 h 894093"/>
              <a:gd name="csX57" fmla="*/ 1962150 w 2857500"/>
              <a:gd name="csY57" fmla="*/ 864394 h 894093"/>
              <a:gd name="csX58" fmla="*/ 2855119 w 2857500"/>
              <a:gd name="csY58" fmla="*/ 864394 h 894093"/>
              <a:gd name="csX59" fmla="*/ 2855119 w 2857500"/>
              <a:gd name="csY59" fmla="*/ 892969 h 894093"/>
              <a:gd name="csX60" fmla="*/ 2857500 w 2857500"/>
              <a:gd name="csY60" fmla="*/ 888207 h 894093"/>
              <a:gd name="csX0" fmla="*/ 0 w 3643313"/>
              <a:gd name="csY0" fmla="*/ 0 h 898001"/>
              <a:gd name="csX1" fmla="*/ 57150 w 3643313"/>
              <a:gd name="csY1" fmla="*/ 0 h 898001"/>
              <a:gd name="csX2" fmla="*/ 57150 w 3643313"/>
              <a:gd name="csY2" fmla="*/ 26194 h 898001"/>
              <a:gd name="csX3" fmla="*/ 95250 w 3643313"/>
              <a:gd name="csY3" fmla="*/ 26194 h 898001"/>
              <a:gd name="csX4" fmla="*/ 95250 w 3643313"/>
              <a:gd name="csY4" fmla="*/ 45244 h 898001"/>
              <a:gd name="csX5" fmla="*/ 119062 w 3643313"/>
              <a:gd name="csY5" fmla="*/ 45244 h 898001"/>
              <a:gd name="csX6" fmla="*/ 119062 w 3643313"/>
              <a:gd name="csY6" fmla="*/ 66675 h 898001"/>
              <a:gd name="csX7" fmla="*/ 140494 w 3643313"/>
              <a:gd name="csY7" fmla="*/ 66675 h 898001"/>
              <a:gd name="csX8" fmla="*/ 140494 w 3643313"/>
              <a:gd name="csY8" fmla="*/ 154782 h 898001"/>
              <a:gd name="csX9" fmla="*/ 161925 w 3643313"/>
              <a:gd name="csY9" fmla="*/ 154782 h 898001"/>
              <a:gd name="csX10" fmla="*/ 161925 w 3643313"/>
              <a:gd name="csY10" fmla="*/ 164307 h 898001"/>
              <a:gd name="csX11" fmla="*/ 228600 w 3643313"/>
              <a:gd name="csY11" fmla="*/ 164307 h 898001"/>
              <a:gd name="csX12" fmla="*/ 228600 w 3643313"/>
              <a:gd name="csY12" fmla="*/ 178594 h 898001"/>
              <a:gd name="csX13" fmla="*/ 242887 w 3643313"/>
              <a:gd name="csY13" fmla="*/ 178594 h 898001"/>
              <a:gd name="csX14" fmla="*/ 242887 w 3643313"/>
              <a:gd name="csY14" fmla="*/ 202407 h 898001"/>
              <a:gd name="csX15" fmla="*/ 257175 w 3643313"/>
              <a:gd name="csY15" fmla="*/ 202407 h 898001"/>
              <a:gd name="csX16" fmla="*/ 257175 w 3643313"/>
              <a:gd name="csY16" fmla="*/ 290513 h 898001"/>
              <a:gd name="csX17" fmla="*/ 269081 w 3643313"/>
              <a:gd name="csY17" fmla="*/ 290513 h 898001"/>
              <a:gd name="csX18" fmla="*/ 269081 w 3643313"/>
              <a:gd name="csY18" fmla="*/ 354807 h 898001"/>
              <a:gd name="csX19" fmla="*/ 288131 w 3643313"/>
              <a:gd name="csY19" fmla="*/ 354807 h 898001"/>
              <a:gd name="csX20" fmla="*/ 288131 w 3643313"/>
              <a:gd name="csY20" fmla="*/ 378619 h 898001"/>
              <a:gd name="csX21" fmla="*/ 288131 w 3643313"/>
              <a:gd name="csY21" fmla="*/ 395288 h 898001"/>
              <a:gd name="csX22" fmla="*/ 340519 w 3643313"/>
              <a:gd name="csY22" fmla="*/ 395288 h 898001"/>
              <a:gd name="csX23" fmla="*/ 340519 w 3643313"/>
              <a:gd name="csY23" fmla="*/ 416719 h 898001"/>
              <a:gd name="csX24" fmla="*/ 352425 w 3643313"/>
              <a:gd name="csY24" fmla="*/ 416719 h 898001"/>
              <a:gd name="csX25" fmla="*/ 352425 w 3643313"/>
              <a:gd name="csY25" fmla="*/ 473869 h 898001"/>
              <a:gd name="csX26" fmla="*/ 369094 w 3643313"/>
              <a:gd name="csY26" fmla="*/ 473869 h 898001"/>
              <a:gd name="csX27" fmla="*/ 369094 w 3643313"/>
              <a:gd name="csY27" fmla="*/ 519113 h 898001"/>
              <a:gd name="csX28" fmla="*/ 397669 w 3643313"/>
              <a:gd name="csY28" fmla="*/ 519113 h 898001"/>
              <a:gd name="csX29" fmla="*/ 397669 w 3643313"/>
              <a:gd name="csY29" fmla="*/ 542925 h 898001"/>
              <a:gd name="csX30" fmla="*/ 502444 w 3643313"/>
              <a:gd name="csY30" fmla="*/ 542925 h 898001"/>
              <a:gd name="csX31" fmla="*/ 502444 w 3643313"/>
              <a:gd name="csY31" fmla="*/ 559594 h 898001"/>
              <a:gd name="csX32" fmla="*/ 550069 w 3643313"/>
              <a:gd name="csY32" fmla="*/ 559594 h 898001"/>
              <a:gd name="csX33" fmla="*/ 550069 w 3643313"/>
              <a:gd name="csY33" fmla="*/ 592932 h 898001"/>
              <a:gd name="csX34" fmla="*/ 566737 w 3643313"/>
              <a:gd name="csY34" fmla="*/ 592932 h 898001"/>
              <a:gd name="csX35" fmla="*/ 566737 w 3643313"/>
              <a:gd name="csY35" fmla="*/ 628650 h 898001"/>
              <a:gd name="csX36" fmla="*/ 654844 w 3643313"/>
              <a:gd name="csY36" fmla="*/ 628650 h 898001"/>
              <a:gd name="csX37" fmla="*/ 654844 w 3643313"/>
              <a:gd name="csY37" fmla="*/ 647700 h 898001"/>
              <a:gd name="csX38" fmla="*/ 695325 w 3643313"/>
              <a:gd name="csY38" fmla="*/ 647700 h 898001"/>
              <a:gd name="csX39" fmla="*/ 695325 w 3643313"/>
              <a:gd name="csY39" fmla="*/ 671513 h 898001"/>
              <a:gd name="csX40" fmla="*/ 726281 w 3643313"/>
              <a:gd name="csY40" fmla="*/ 671513 h 898001"/>
              <a:gd name="csX41" fmla="*/ 726281 w 3643313"/>
              <a:gd name="csY41" fmla="*/ 692944 h 898001"/>
              <a:gd name="csX42" fmla="*/ 745331 w 3643313"/>
              <a:gd name="csY42" fmla="*/ 692944 h 898001"/>
              <a:gd name="csX43" fmla="*/ 745331 w 3643313"/>
              <a:gd name="csY43" fmla="*/ 711994 h 898001"/>
              <a:gd name="csX44" fmla="*/ 876300 w 3643313"/>
              <a:gd name="csY44" fmla="*/ 711994 h 898001"/>
              <a:gd name="csX45" fmla="*/ 876300 w 3643313"/>
              <a:gd name="csY45" fmla="*/ 733425 h 898001"/>
              <a:gd name="csX46" fmla="*/ 928687 w 3643313"/>
              <a:gd name="csY46" fmla="*/ 733425 h 898001"/>
              <a:gd name="csX47" fmla="*/ 928687 w 3643313"/>
              <a:gd name="csY47" fmla="*/ 757238 h 898001"/>
              <a:gd name="csX48" fmla="*/ 1138237 w 3643313"/>
              <a:gd name="csY48" fmla="*/ 757238 h 898001"/>
              <a:gd name="csX49" fmla="*/ 1138237 w 3643313"/>
              <a:gd name="csY49" fmla="*/ 776288 h 898001"/>
              <a:gd name="csX50" fmla="*/ 1593056 w 3643313"/>
              <a:gd name="csY50" fmla="*/ 776288 h 898001"/>
              <a:gd name="csX51" fmla="*/ 1593056 w 3643313"/>
              <a:gd name="csY51" fmla="*/ 800100 h 898001"/>
              <a:gd name="csX52" fmla="*/ 1735931 w 3643313"/>
              <a:gd name="csY52" fmla="*/ 800100 h 898001"/>
              <a:gd name="csX53" fmla="*/ 1735931 w 3643313"/>
              <a:gd name="csY53" fmla="*/ 826294 h 898001"/>
              <a:gd name="csX54" fmla="*/ 1819275 w 3643313"/>
              <a:gd name="csY54" fmla="*/ 826294 h 898001"/>
              <a:gd name="csX55" fmla="*/ 1819275 w 3643313"/>
              <a:gd name="csY55" fmla="*/ 845344 h 898001"/>
              <a:gd name="csX56" fmla="*/ 1962150 w 3643313"/>
              <a:gd name="csY56" fmla="*/ 845344 h 898001"/>
              <a:gd name="csX57" fmla="*/ 1962150 w 3643313"/>
              <a:gd name="csY57" fmla="*/ 864394 h 898001"/>
              <a:gd name="csX58" fmla="*/ 2855119 w 3643313"/>
              <a:gd name="csY58" fmla="*/ 864394 h 898001"/>
              <a:gd name="csX59" fmla="*/ 2855119 w 3643313"/>
              <a:gd name="csY59" fmla="*/ 892969 h 898001"/>
              <a:gd name="csX60" fmla="*/ 3643313 w 3643313"/>
              <a:gd name="csY60" fmla="*/ 897732 h 89800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</a:cxnLst>
            <a:rect l="l" t="t" r="r" b="b"/>
            <a:pathLst>
              <a:path w="3643313" h="898001">
                <a:moveTo>
                  <a:pt x="0" y="0"/>
                </a:moveTo>
                <a:lnTo>
                  <a:pt x="57150" y="0"/>
                </a:lnTo>
                <a:lnTo>
                  <a:pt x="57150" y="26194"/>
                </a:lnTo>
                <a:lnTo>
                  <a:pt x="95250" y="26194"/>
                </a:lnTo>
                <a:lnTo>
                  <a:pt x="95250" y="45244"/>
                </a:lnTo>
                <a:lnTo>
                  <a:pt x="119062" y="45244"/>
                </a:lnTo>
                <a:lnTo>
                  <a:pt x="119062" y="66675"/>
                </a:lnTo>
                <a:lnTo>
                  <a:pt x="140494" y="66675"/>
                </a:lnTo>
                <a:lnTo>
                  <a:pt x="140494" y="154782"/>
                </a:lnTo>
                <a:lnTo>
                  <a:pt x="161925" y="154782"/>
                </a:lnTo>
                <a:lnTo>
                  <a:pt x="161925" y="164307"/>
                </a:lnTo>
                <a:lnTo>
                  <a:pt x="228600" y="164307"/>
                </a:lnTo>
                <a:lnTo>
                  <a:pt x="228600" y="178594"/>
                </a:lnTo>
                <a:lnTo>
                  <a:pt x="242887" y="178594"/>
                </a:lnTo>
                <a:lnTo>
                  <a:pt x="242887" y="202407"/>
                </a:lnTo>
                <a:lnTo>
                  <a:pt x="257175" y="202407"/>
                </a:lnTo>
                <a:lnTo>
                  <a:pt x="257175" y="290513"/>
                </a:lnTo>
                <a:lnTo>
                  <a:pt x="269081" y="290513"/>
                </a:lnTo>
                <a:lnTo>
                  <a:pt x="269081" y="354807"/>
                </a:lnTo>
                <a:lnTo>
                  <a:pt x="288131" y="354807"/>
                </a:lnTo>
                <a:lnTo>
                  <a:pt x="288131" y="378619"/>
                </a:lnTo>
                <a:lnTo>
                  <a:pt x="288131" y="395288"/>
                </a:lnTo>
                <a:lnTo>
                  <a:pt x="340519" y="395288"/>
                </a:lnTo>
                <a:lnTo>
                  <a:pt x="340519" y="416719"/>
                </a:lnTo>
                <a:lnTo>
                  <a:pt x="352425" y="416719"/>
                </a:lnTo>
                <a:lnTo>
                  <a:pt x="352425" y="473869"/>
                </a:lnTo>
                <a:lnTo>
                  <a:pt x="369094" y="473869"/>
                </a:lnTo>
                <a:lnTo>
                  <a:pt x="369094" y="519113"/>
                </a:lnTo>
                <a:lnTo>
                  <a:pt x="397669" y="519113"/>
                </a:lnTo>
                <a:lnTo>
                  <a:pt x="397669" y="542925"/>
                </a:lnTo>
                <a:lnTo>
                  <a:pt x="502444" y="542925"/>
                </a:lnTo>
                <a:lnTo>
                  <a:pt x="502444" y="559594"/>
                </a:lnTo>
                <a:lnTo>
                  <a:pt x="550069" y="559594"/>
                </a:lnTo>
                <a:lnTo>
                  <a:pt x="550069" y="592932"/>
                </a:lnTo>
                <a:lnTo>
                  <a:pt x="566737" y="592932"/>
                </a:lnTo>
                <a:lnTo>
                  <a:pt x="566737" y="628650"/>
                </a:lnTo>
                <a:lnTo>
                  <a:pt x="654844" y="628650"/>
                </a:lnTo>
                <a:lnTo>
                  <a:pt x="654844" y="647700"/>
                </a:lnTo>
                <a:lnTo>
                  <a:pt x="695325" y="647700"/>
                </a:lnTo>
                <a:lnTo>
                  <a:pt x="695325" y="671513"/>
                </a:lnTo>
                <a:lnTo>
                  <a:pt x="726281" y="671513"/>
                </a:lnTo>
                <a:lnTo>
                  <a:pt x="726281" y="692944"/>
                </a:lnTo>
                <a:lnTo>
                  <a:pt x="745331" y="692944"/>
                </a:lnTo>
                <a:lnTo>
                  <a:pt x="745331" y="711994"/>
                </a:lnTo>
                <a:lnTo>
                  <a:pt x="876300" y="711994"/>
                </a:lnTo>
                <a:lnTo>
                  <a:pt x="876300" y="733425"/>
                </a:lnTo>
                <a:lnTo>
                  <a:pt x="928687" y="733425"/>
                </a:lnTo>
                <a:lnTo>
                  <a:pt x="928687" y="757238"/>
                </a:lnTo>
                <a:lnTo>
                  <a:pt x="1138237" y="757238"/>
                </a:lnTo>
                <a:lnTo>
                  <a:pt x="1138237" y="776288"/>
                </a:lnTo>
                <a:lnTo>
                  <a:pt x="1593056" y="776288"/>
                </a:lnTo>
                <a:lnTo>
                  <a:pt x="1593056" y="800100"/>
                </a:lnTo>
                <a:lnTo>
                  <a:pt x="1735931" y="800100"/>
                </a:lnTo>
                <a:lnTo>
                  <a:pt x="1735931" y="826294"/>
                </a:lnTo>
                <a:lnTo>
                  <a:pt x="1819275" y="826294"/>
                </a:lnTo>
                <a:lnTo>
                  <a:pt x="1819275" y="845344"/>
                </a:lnTo>
                <a:lnTo>
                  <a:pt x="1962150" y="845344"/>
                </a:lnTo>
                <a:lnTo>
                  <a:pt x="1962150" y="864394"/>
                </a:lnTo>
                <a:lnTo>
                  <a:pt x="2855119" y="864394"/>
                </a:lnTo>
                <a:lnTo>
                  <a:pt x="2855119" y="892969"/>
                </a:lnTo>
                <a:cubicBezTo>
                  <a:pt x="2855516" y="896938"/>
                  <a:pt x="3642817" y="898724"/>
                  <a:pt x="3643313" y="897732"/>
                </a:cubicBezTo>
              </a:path>
            </a:pathLst>
          </a:custGeom>
          <a:noFill/>
          <a:ln w="19050">
            <a:solidFill>
              <a:schemeClr val="accent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251" name="Straight Connector 1250">
            <a:extLst>
              <a:ext uri="{FF2B5EF4-FFF2-40B4-BE49-F238E27FC236}">
                <a16:creationId xmlns:a16="http://schemas.microsoft.com/office/drawing/2014/main" id="{C6CFEAE1-85A6-F4C8-55E3-BFC61FC58F5A}"/>
              </a:ext>
            </a:extLst>
          </p:cNvPr>
          <p:cNvCxnSpPr>
            <a:cxnSpLocks/>
          </p:cNvCxnSpPr>
          <p:nvPr/>
        </p:nvCxnSpPr>
        <p:spPr>
          <a:xfrm>
            <a:off x="6989799" y="2542551"/>
            <a:ext cx="0" cy="49923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8" name="Straight Connector 1257">
            <a:extLst>
              <a:ext uri="{FF2B5EF4-FFF2-40B4-BE49-F238E27FC236}">
                <a16:creationId xmlns:a16="http://schemas.microsoft.com/office/drawing/2014/main" id="{EF8AD75C-5629-6712-6350-369D808DFC48}"/>
              </a:ext>
            </a:extLst>
          </p:cNvPr>
          <p:cNvCxnSpPr>
            <a:cxnSpLocks/>
          </p:cNvCxnSpPr>
          <p:nvPr/>
        </p:nvCxnSpPr>
        <p:spPr>
          <a:xfrm>
            <a:off x="7150499" y="2691365"/>
            <a:ext cx="0" cy="49923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9" name="Straight Connector 1258">
            <a:extLst>
              <a:ext uri="{FF2B5EF4-FFF2-40B4-BE49-F238E27FC236}">
                <a16:creationId xmlns:a16="http://schemas.microsoft.com/office/drawing/2014/main" id="{A8045D06-F97D-7487-5B10-C9088F24936A}"/>
              </a:ext>
            </a:extLst>
          </p:cNvPr>
          <p:cNvCxnSpPr>
            <a:cxnSpLocks/>
          </p:cNvCxnSpPr>
          <p:nvPr/>
        </p:nvCxnSpPr>
        <p:spPr>
          <a:xfrm>
            <a:off x="7165572" y="2702487"/>
            <a:ext cx="0" cy="46337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0" name="Straight Connector 1259">
            <a:extLst>
              <a:ext uri="{FF2B5EF4-FFF2-40B4-BE49-F238E27FC236}">
                <a16:creationId xmlns:a16="http://schemas.microsoft.com/office/drawing/2014/main" id="{1B8C89F0-7EA6-5DF3-55EF-B4B3DC6A7C85}"/>
              </a:ext>
            </a:extLst>
          </p:cNvPr>
          <p:cNvCxnSpPr>
            <a:cxnSpLocks/>
          </p:cNvCxnSpPr>
          <p:nvPr/>
        </p:nvCxnSpPr>
        <p:spPr>
          <a:xfrm>
            <a:off x="7207440" y="2702487"/>
            <a:ext cx="0" cy="46337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1" name="Straight Connector 1260">
            <a:extLst>
              <a:ext uri="{FF2B5EF4-FFF2-40B4-BE49-F238E27FC236}">
                <a16:creationId xmlns:a16="http://schemas.microsoft.com/office/drawing/2014/main" id="{146BB966-3D90-7D0B-2650-2C6F23BEF145}"/>
              </a:ext>
            </a:extLst>
          </p:cNvPr>
          <p:cNvCxnSpPr>
            <a:cxnSpLocks/>
          </p:cNvCxnSpPr>
          <p:nvPr/>
        </p:nvCxnSpPr>
        <p:spPr>
          <a:xfrm>
            <a:off x="7221675" y="2707274"/>
            <a:ext cx="0" cy="46337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2" name="Straight Connector 1261">
            <a:extLst>
              <a:ext uri="{FF2B5EF4-FFF2-40B4-BE49-F238E27FC236}">
                <a16:creationId xmlns:a16="http://schemas.microsoft.com/office/drawing/2014/main" id="{3261AACD-635A-BB55-F4FA-4E232E8E56A3}"/>
              </a:ext>
            </a:extLst>
          </p:cNvPr>
          <p:cNvCxnSpPr>
            <a:cxnSpLocks/>
          </p:cNvCxnSpPr>
          <p:nvPr/>
        </p:nvCxnSpPr>
        <p:spPr>
          <a:xfrm>
            <a:off x="7585928" y="3167326"/>
            <a:ext cx="0" cy="46337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3" name="Straight Connector 1262">
            <a:extLst>
              <a:ext uri="{FF2B5EF4-FFF2-40B4-BE49-F238E27FC236}">
                <a16:creationId xmlns:a16="http://schemas.microsoft.com/office/drawing/2014/main" id="{948508DA-A9CB-04F7-304E-2186EBF75E56}"/>
              </a:ext>
            </a:extLst>
          </p:cNvPr>
          <p:cNvCxnSpPr>
            <a:cxnSpLocks/>
          </p:cNvCxnSpPr>
          <p:nvPr/>
        </p:nvCxnSpPr>
        <p:spPr>
          <a:xfrm>
            <a:off x="7959392" y="3299616"/>
            <a:ext cx="0" cy="46337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4" name="Straight Connector 1263">
            <a:extLst>
              <a:ext uri="{FF2B5EF4-FFF2-40B4-BE49-F238E27FC236}">
                <a16:creationId xmlns:a16="http://schemas.microsoft.com/office/drawing/2014/main" id="{7D5BE419-3D46-9AB3-FEB6-0AFA6D561683}"/>
              </a:ext>
            </a:extLst>
          </p:cNvPr>
          <p:cNvCxnSpPr>
            <a:cxnSpLocks/>
          </p:cNvCxnSpPr>
          <p:nvPr/>
        </p:nvCxnSpPr>
        <p:spPr>
          <a:xfrm>
            <a:off x="8315271" y="3321713"/>
            <a:ext cx="0" cy="46337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5" name="Straight Connector 1264">
            <a:extLst>
              <a:ext uri="{FF2B5EF4-FFF2-40B4-BE49-F238E27FC236}">
                <a16:creationId xmlns:a16="http://schemas.microsoft.com/office/drawing/2014/main" id="{DDD2A130-5D17-AA9A-C85E-053B305B537C}"/>
              </a:ext>
            </a:extLst>
          </p:cNvPr>
          <p:cNvCxnSpPr>
            <a:cxnSpLocks/>
          </p:cNvCxnSpPr>
          <p:nvPr/>
        </p:nvCxnSpPr>
        <p:spPr>
          <a:xfrm>
            <a:off x="8937432" y="3382663"/>
            <a:ext cx="0" cy="46337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6" name="Straight Connector 1265">
            <a:extLst>
              <a:ext uri="{FF2B5EF4-FFF2-40B4-BE49-F238E27FC236}">
                <a16:creationId xmlns:a16="http://schemas.microsoft.com/office/drawing/2014/main" id="{92F13E9B-2BEE-8560-2315-B5631BB8AB3E}"/>
              </a:ext>
            </a:extLst>
          </p:cNvPr>
          <p:cNvCxnSpPr>
            <a:cxnSpLocks/>
          </p:cNvCxnSpPr>
          <p:nvPr/>
        </p:nvCxnSpPr>
        <p:spPr>
          <a:xfrm>
            <a:off x="8945879" y="3396253"/>
            <a:ext cx="0" cy="46337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7" name="Straight Connector 1266">
            <a:extLst>
              <a:ext uri="{FF2B5EF4-FFF2-40B4-BE49-F238E27FC236}">
                <a16:creationId xmlns:a16="http://schemas.microsoft.com/office/drawing/2014/main" id="{D373D513-876D-5E11-EC86-8E1C415614D3}"/>
              </a:ext>
            </a:extLst>
          </p:cNvPr>
          <p:cNvCxnSpPr>
            <a:cxnSpLocks/>
          </p:cNvCxnSpPr>
          <p:nvPr/>
        </p:nvCxnSpPr>
        <p:spPr>
          <a:xfrm>
            <a:off x="8960878" y="3405831"/>
            <a:ext cx="0" cy="46337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8" name="Straight Connector 1267">
            <a:extLst>
              <a:ext uri="{FF2B5EF4-FFF2-40B4-BE49-F238E27FC236}">
                <a16:creationId xmlns:a16="http://schemas.microsoft.com/office/drawing/2014/main" id="{6B468FEE-0E2D-7DC1-984F-621F780D2F49}"/>
              </a:ext>
            </a:extLst>
          </p:cNvPr>
          <p:cNvCxnSpPr>
            <a:cxnSpLocks/>
          </p:cNvCxnSpPr>
          <p:nvPr/>
        </p:nvCxnSpPr>
        <p:spPr>
          <a:xfrm>
            <a:off x="9008607" y="3406862"/>
            <a:ext cx="0" cy="46337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9" name="Straight Connector 1268">
            <a:extLst>
              <a:ext uri="{FF2B5EF4-FFF2-40B4-BE49-F238E27FC236}">
                <a16:creationId xmlns:a16="http://schemas.microsoft.com/office/drawing/2014/main" id="{8BD2D20E-BB1B-4C7A-6A2E-247D0F73FC2C}"/>
              </a:ext>
            </a:extLst>
          </p:cNvPr>
          <p:cNvCxnSpPr>
            <a:cxnSpLocks/>
          </p:cNvCxnSpPr>
          <p:nvPr/>
        </p:nvCxnSpPr>
        <p:spPr>
          <a:xfrm>
            <a:off x="9068059" y="3405831"/>
            <a:ext cx="0" cy="46337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0" name="Straight Connector 1269">
            <a:extLst>
              <a:ext uri="{FF2B5EF4-FFF2-40B4-BE49-F238E27FC236}">
                <a16:creationId xmlns:a16="http://schemas.microsoft.com/office/drawing/2014/main" id="{911FC41E-590F-ABA5-4488-196936B4BE8F}"/>
              </a:ext>
            </a:extLst>
          </p:cNvPr>
          <p:cNvCxnSpPr>
            <a:cxnSpLocks/>
          </p:cNvCxnSpPr>
          <p:nvPr/>
        </p:nvCxnSpPr>
        <p:spPr>
          <a:xfrm>
            <a:off x="9579687" y="3407506"/>
            <a:ext cx="0" cy="46337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1" name="Straight Connector 1270">
            <a:extLst>
              <a:ext uri="{FF2B5EF4-FFF2-40B4-BE49-F238E27FC236}">
                <a16:creationId xmlns:a16="http://schemas.microsoft.com/office/drawing/2014/main" id="{98CD1379-C9F9-2A9B-95B0-6ADD6D5B7839}"/>
              </a:ext>
            </a:extLst>
          </p:cNvPr>
          <p:cNvCxnSpPr>
            <a:cxnSpLocks/>
          </p:cNvCxnSpPr>
          <p:nvPr/>
        </p:nvCxnSpPr>
        <p:spPr>
          <a:xfrm>
            <a:off x="9672635" y="3409374"/>
            <a:ext cx="0" cy="46337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4" name="Straight Connector 1273">
            <a:extLst>
              <a:ext uri="{FF2B5EF4-FFF2-40B4-BE49-F238E27FC236}">
                <a16:creationId xmlns:a16="http://schemas.microsoft.com/office/drawing/2014/main" id="{4050F847-6C4C-FD9A-0676-73227E128AB9}"/>
              </a:ext>
            </a:extLst>
          </p:cNvPr>
          <p:cNvCxnSpPr>
            <a:cxnSpLocks/>
          </p:cNvCxnSpPr>
          <p:nvPr/>
        </p:nvCxnSpPr>
        <p:spPr>
          <a:xfrm>
            <a:off x="9832571" y="3410855"/>
            <a:ext cx="0" cy="46337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5" name="Straight Connector 1274">
            <a:extLst>
              <a:ext uri="{FF2B5EF4-FFF2-40B4-BE49-F238E27FC236}">
                <a16:creationId xmlns:a16="http://schemas.microsoft.com/office/drawing/2014/main" id="{15F4BBFD-C659-24EF-0189-589BE5FC1F19}"/>
              </a:ext>
            </a:extLst>
          </p:cNvPr>
          <p:cNvCxnSpPr>
            <a:cxnSpLocks/>
          </p:cNvCxnSpPr>
          <p:nvPr/>
        </p:nvCxnSpPr>
        <p:spPr>
          <a:xfrm>
            <a:off x="9842620" y="3439812"/>
            <a:ext cx="0" cy="46337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6" name="Straight Connector 1275">
            <a:extLst>
              <a:ext uri="{FF2B5EF4-FFF2-40B4-BE49-F238E27FC236}">
                <a16:creationId xmlns:a16="http://schemas.microsoft.com/office/drawing/2014/main" id="{20EF4734-A449-77E5-56E0-BD8D9F7B5454}"/>
              </a:ext>
            </a:extLst>
          </p:cNvPr>
          <p:cNvCxnSpPr>
            <a:cxnSpLocks/>
          </p:cNvCxnSpPr>
          <p:nvPr/>
        </p:nvCxnSpPr>
        <p:spPr>
          <a:xfrm>
            <a:off x="9852668" y="3439812"/>
            <a:ext cx="0" cy="46337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7" name="Straight Connector 1276">
            <a:extLst>
              <a:ext uri="{FF2B5EF4-FFF2-40B4-BE49-F238E27FC236}">
                <a16:creationId xmlns:a16="http://schemas.microsoft.com/office/drawing/2014/main" id="{21D714DE-F523-F11E-41A3-2895D2112910}"/>
              </a:ext>
            </a:extLst>
          </p:cNvPr>
          <p:cNvCxnSpPr>
            <a:cxnSpLocks/>
          </p:cNvCxnSpPr>
          <p:nvPr/>
        </p:nvCxnSpPr>
        <p:spPr>
          <a:xfrm>
            <a:off x="9862716" y="3439812"/>
            <a:ext cx="0" cy="46337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8" name="Straight Connector 1277">
            <a:extLst>
              <a:ext uri="{FF2B5EF4-FFF2-40B4-BE49-F238E27FC236}">
                <a16:creationId xmlns:a16="http://schemas.microsoft.com/office/drawing/2014/main" id="{84A2C431-3C87-1895-E4C4-D440105B505A}"/>
              </a:ext>
            </a:extLst>
          </p:cNvPr>
          <p:cNvCxnSpPr>
            <a:cxnSpLocks/>
          </p:cNvCxnSpPr>
          <p:nvPr/>
        </p:nvCxnSpPr>
        <p:spPr>
          <a:xfrm>
            <a:off x="9870252" y="3439812"/>
            <a:ext cx="0" cy="46337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9" name="Straight Connector 1278">
            <a:extLst>
              <a:ext uri="{FF2B5EF4-FFF2-40B4-BE49-F238E27FC236}">
                <a16:creationId xmlns:a16="http://schemas.microsoft.com/office/drawing/2014/main" id="{0FADA653-0749-4938-A2BD-D6F21CBC2CBC}"/>
              </a:ext>
            </a:extLst>
          </p:cNvPr>
          <p:cNvCxnSpPr>
            <a:cxnSpLocks/>
          </p:cNvCxnSpPr>
          <p:nvPr/>
        </p:nvCxnSpPr>
        <p:spPr>
          <a:xfrm>
            <a:off x="9885324" y="3439812"/>
            <a:ext cx="0" cy="46337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3" name="Straight Connector 772">
            <a:extLst>
              <a:ext uri="{FF2B5EF4-FFF2-40B4-BE49-F238E27FC236}">
                <a16:creationId xmlns:a16="http://schemas.microsoft.com/office/drawing/2014/main" id="{3DAA42F6-1016-E637-0BF1-15064E6DCC10}"/>
              </a:ext>
            </a:extLst>
          </p:cNvPr>
          <p:cNvCxnSpPr>
            <a:cxnSpLocks/>
          </p:cNvCxnSpPr>
          <p:nvPr/>
        </p:nvCxnSpPr>
        <p:spPr>
          <a:xfrm>
            <a:off x="9895372" y="3439812"/>
            <a:ext cx="0" cy="46337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4" name="Straight Connector 773">
            <a:extLst>
              <a:ext uri="{FF2B5EF4-FFF2-40B4-BE49-F238E27FC236}">
                <a16:creationId xmlns:a16="http://schemas.microsoft.com/office/drawing/2014/main" id="{2D867E77-5A9D-D576-F32A-C9A8088AC1B0}"/>
              </a:ext>
            </a:extLst>
          </p:cNvPr>
          <p:cNvCxnSpPr>
            <a:cxnSpLocks/>
          </p:cNvCxnSpPr>
          <p:nvPr/>
        </p:nvCxnSpPr>
        <p:spPr>
          <a:xfrm>
            <a:off x="9905421" y="3439812"/>
            <a:ext cx="0" cy="46337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8" name="Straight Connector 777">
            <a:extLst>
              <a:ext uri="{FF2B5EF4-FFF2-40B4-BE49-F238E27FC236}">
                <a16:creationId xmlns:a16="http://schemas.microsoft.com/office/drawing/2014/main" id="{09A4ED35-6C15-3131-EFB1-B1EC4CCD443A}"/>
              </a:ext>
            </a:extLst>
          </p:cNvPr>
          <p:cNvCxnSpPr>
            <a:cxnSpLocks/>
          </p:cNvCxnSpPr>
          <p:nvPr/>
        </p:nvCxnSpPr>
        <p:spPr>
          <a:xfrm>
            <a:off x="9912957" y="3439812"/>
            <a:ext cx="0" cy="46337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9" name="Straight Connector 778">
            <a:extLst>
              <a:ext uri="{FF2B5EF4-FFF2-40B4-BE49-F238E27FC236}">
                <a16:creationId xmlns:a16="http://schemas.microsoft.com/office/drawing/2014/main" id="{8B1CDF53-8517-D9AE-AE8D-DC7CFF2A41E7}"/>
              </a:ext>
            </a:extLst>
          </p:cNvPr>
          <p:cNvCxnSpPr>
            <a:cxnSpLocks/>
          </p:cNvCxnSpPr>
          <p:nvPr/>
        </p:nvCxnSpPr>
        <p:spPr>
          <a:xfrm>
            <a:off x="9920493" y="3439812"/>
            <a:ext cx="0" cy="46337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0" name="Straight Connector 779">
            <a:extLst>
              <a:ext uri="{FF2B5EF4-FFF2-40B4-BE49-F238E27FC236}">
                <a16:creationId xmlns:a16="http://schemas.microsoft.com/office/drawing/2014/main" id="{61CAB1DB-E0F0-7B67-8E45-47DBC3A5B582}"/>
              </a:ext>
            </a:extLst>
          </p:cNvPr>
          <p:cNvCxnSpPr>
            <a:cxnSpLocks/>
          </p:cNvCxnSpPr>
          <p:nvPr/>
        </p:nvCxnSpPr>
        <p:spPr>
          <a:xfrm>
            <a:off x="9945614" y="3439812"/>
            <a:ext cx="0" cy="46337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1" name="Straight Connector 780">
            <a:extLst>
              <a:ext uri="{FF2B5EF4-FFF2-40B4-BE49-F238E27FC236}">
                <a16:creationId xmlns:a16="http://schemas.microsoft.com/office/drawing/2014/main" id="{A7E4D427-2172-E85B-2392-157B983FB0D7}"/>
              </a:ext>
            </a:extLst>
          </p:cNvPr>
          <p:cNvCxnSpPr>
            <a:cxnSpLocks/>
          </p:cNvCxnSpPr>
          <p:nvPr/>
        </p:nvCxnSpPr>
        <p:spPr>
          <a:xfrm>
            <a:off x="9955662" y="3439812"/>
            <a:ext cx="0" cy="46337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2" name="Straight Connector 781">
            <a:extLst>
              <a:ext uri="{FF2B5EF4-FFF2-40B4-BE49-F238E27FC236}">
                <a16:creationId xmlns:a16="http://schemas.microsoft.com/office/drawing/2014/main" id="{32154D7C-BA92-D429-D1E4-14C28D990291}"/>
              </a:ext>
            </a:extLst>
          </p:cNvPr>
          <p:cNvCxnSpPr>
            <a:cxnSpLocks/>
          </p:cNvCxnSpPr>
          <p:nvPr/>
        </p:nvCxnSpPr>
        <p:spPr>
          <a:xfrm>
            <a:off x="9968223" y="3439812"/>
            <a:ext cx="0" cy="46337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3" name="Straight Connector 782">
            <a:extLst>
              <a:ext uri="{FF2B5EF4-FFF2-40B4-BE49-F238E27FC236}">
                <a16:creationId xmlns:a16="http://schemas.microsoft.com/office/drawing/2014/main" id="{AEB30DC9-AF19-32EA-AFB6-3F152FE3725D}"/>
              </a:ext>
            </a:extLst>
          </p:cNvPr>
          <p:cNvCxnSpPr>
            <a:cxnSpLocks/>
          </p:cNvCxnSpPr>
          <p:nvPr/>
        </p:nvCxnSpPr>
        <p:spPr>
          <a:xfrm>
            <a:off x="10081267" y="3439812"/>
            <a:ext cx="0" cy="46337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4" name="Straight Connector 783">
            <a:extLst>
              <a:ext uri="{FF2B5EF4-FFF2-40B4-BE49-F238E27FC236}">
                <a16:creationId xmlns:a16="http://schemas.microsoft.com/office/drawing/2014/main" id="{3940E79A-105A-21E2-C64E-0DC23FE9208D}"/>
              </a:ext>
            </a:extLst>
          </p:cNvPr>
          <p:cNvCxnSpPr>
            <a:cxnSpLocks/>
          </p:cNvCxnSpPr>
          <p:nvPr/>
        </p:nvCxnSpPr>
        <p:spPr>
          <a:xfrm>
            <a:off x="10231992" y="3439812"/>
            <a:ext cx="0" cy="46337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5" name="Straight Connector 784">
            <a:extLst>
              <a:ext uri="{FF2B5EF4-FFF2-40B4-BE49-F238E27FC236}">
                <a16:creationId xmlns:a16="http://schemas.microsoft.com/office/drawing/2014/main" id="{C0CAA3F5-CFB3-F25E-90C3-C531108709CB}"/>
              </a:ext>
            </a:extLst>
          </p:cNvPr>
          <p:cNvCxnSpPr>
            <a:cxnSpLocks/>
          </p:cNvCxnSpPr>
          <p:nvPr/>
        </p:nvCxnSpPr>
        <p:spPr>
          <a:xfrm>
            <a:off x="10252828" y="3439812"/>
            <a:ext cx="0" cy="46337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6" name="Straight Connector 785">
            <a:extLst>
              <a:ext uri="{FF2B5EF4-FFF2-40B4-BE49-F238E27FC236}">
                <a16:creationId xmlns:a16="http://schemas.microsoft.com/office/drawing/2014/main" id="{B0C53F03-B82B-25C9-ED3A-396619AD724A}"/>
              </a:ext>
            </a:extLst>
          </p:cNvPr>
          <p:cNvCxnSpPr>
            <a:cxnSpLocks/>
          </p:cNvCxnSpPr>
          <p:nvPr/>
        </p:nvCxnSpPr>
        <p:spPr>
          <a:xfrm>
            <a:off x="10280461" y="3439812"/>
            <a:ext cx="0" cy="46337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7" name="Straight Connector 786">
            <a:extLst>
              <a:ext uri="{FF2B5EF4-FFF2-40B4-BE49-F238E27FC236}">
                <a16:creationId xmlns:a16="http://schemas.microsoft.com/office/drawing/2014/main" id="{207839D5-2972-08D8-4C1D-BC8040094720}"/>
              </a:ext>
            </a:extLst>
          </p:cNvPr>
          <p:cNvCxnSpPr>
            <a:cxnSpLocks/>
          </p:cNvCxnSpPr>
          <p:nvPr/>
        </p:nvCxnSpPr>
        <p:spPr>
          <a:xfrm>
            <a:off x="10300557" y="3439812"/>
            <a:ext cx="0" cy="46337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8" name="Straight Connector 787">
            <a:extLst>
              <a:ext uri="{FF2B5EF4-FFF2-40B4-BE49-F238E27FC236}">
                <a16:creationId xmlns:a16="http://schemas.microsoft.com/office/drawing/2014/main" id="{BE6587BB-3761-D23D-ADB4-36314016315C}"/>
              </a:ext>
            </a:extLst>
          </p:cNvPr>
          <p:cNvCxnSpPr>
            <a:cxnSpLocks/>
          </p:cNvCxnSpPr>
          <p:nvPr/>
        </p:nvCxnSpPr>
        <p:spPr>
          <a:xfrm>
            <a:off x="10320654" y="3439812"/>
            <a:ext cx="0" cy="46337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9" name="Straight Connector 788">
            <a:extLst>
              <a:ext uri="{FF2B5EF4-FFF2-40B4-BE49-F238E27FC236}">
                <a16:creationId xmlns:a16="http://schemas.microsoft.com/office/drawing/2014/main" id="{2A493F19-C0AF-6DF4-67F8-35E04079D4DE}"/>
              </a:ext>
            </a:extLst>
          </p:cNvPr>
          <p:cNvCxnSpPr>
            <a:cxnSpLocks/>
          </p:cNvCxnSpPr>
          <p:nvPr/>
        </p:nvCxnSpPr>
        <p:spPr>
          <a:xfrm>
            <a:off x="10519109" y="3439812"/>
            <a:ext cx="0" cy="46337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0" name="Straight Connector 789">
            <a:extLst>
              <a:ext uri="{FF2B5EF4-FFF2-40B4-BE49-F238E27FC236}">
                <a16:creationId xmlns:a16="http://schemas.microsoft.com/office/drawing/2014/main" id="{ECA64C4E-BDAA-327B-A131-84F1F9CFB96E}"/>
              </a:ext>
            </a:extLst>
          </p:cNvPr>
          <p:cNvCxnSpPr>
            <a:cxnSpLocks/>
          </p:cNvCxnSpPr>
          <p:nvPr/>
        </p:nvCxnSpPr>
        <p:spPr>
          <a:xfrm>
            <a:off x="10531670" y="3439812"/>
            <a:ext cx="0" cy="46337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1" name="Straight Connector 790">
            <a:extLst>
              <a:ext uri="{FF2B5EF4-FFF2-40B4-BE49-F238E27FC236}">
                <a16:creationId xmlns:a16="http://schemas.microsoft.com/office/drawing/2014/main" id="{1A1D392D-DE00-69D9-4B45-8DF2590F1163}"/>
              </a:ext>
            </a:extLst>
          </p:cNvPr>
          <p:cNvCxnSpPr>
            <a:cxnSpLocks/>
          </p:cNvCxnSpPr>
          <p:nvPr/>
        </p:nvCxnSpPr>
        <p:spPr>
          <a:xfrm>
            <a:off x="10546742" y="3439812"/>
            <a:ext cx="0" cy="46337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2" name="Straight Connector 791">
            <a:extLst>
              <a:ext uri="{FF2B5EF4-FFF2-40B4-BE49-F238E27FC236}">
                <a16:creationId xmlns:a16="http://schemas.microsoft.com/office/drawing/2014/main" id="{DBF26693-F4D7-2C2C-A73C-CFB2E5E58051}"/>
              </a:ext>
            </a:extLst>
          </p:cNvPr>
          <p:cNvCxnSpPr>
            <a:cxnSpLocks/>
          </p:cNvCxnSpPr>
          <p:nvPr/>
        </p:nvCxnSpPr>
        <p:spPr>
          <a:xfrm>
            <a:off x="10586936" y="3439812"/>
            <a:ext cx="0" cy="46337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3" name="Straight Connector 792">
            <a:extLst>
              <a:ext uri="{FF2B5EF4-FFF2-40B4-BE49-F238E27FC236}">
                <a16:creationId xmlns:a16="http://schemas.microsoft.com/office/drawing/2014/main" id="{C756768D-EE56-BF0B-AEE8-5A1E3610E870}"/>
              </a:ext>
            </a:extLst>
          </p:cNvPr>
          <p:cNvCxnSpPr>
            <a:cxnSpLocks/>
          </p:cNvCxnSpPr>
          <p:nvPr/>
        </p:nvCxnSpPr>
        <p:spPr>
          <a:xfrm>
            <a:off x="10624617" y="3439812"/>
            <a:ext cx="0" cy="46337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1703697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A05C05-8F17-5B7C-C58E-C355FE9CFA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6DF619-8679-E2FE-E87E-3041413B2D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al-world access to CAR-T still faces practical considerations and potential challenge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1DD0B7D-9F74-4CBD-1FE3-BEBB803172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948FB62-8746-4D0D-BA71-8EB1BEE683ED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82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92D1610-DEFD-9E50-D16E-DA46E348362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 anchor="b" anchorCtr="0"/>
          <a:lstStyle/>
          <a:p>
            <a:r>
              <a:rPr lang="en-GB" dirty="0"/>
              <a:t>*CAR-T eligibility defined as patients with primary refractory disease or who relapse within 12 months of receiving 1L therapy. 1L, first-line; CAR-T, chimeric antigen receptor T-cell therapy; CRS, cytokine release syndrome; ICANS, immune effector cell-associated neurotoxicity syndrome. </a:t>
            </a:r>
            <a:r>
              <a:rPr lang="en-GB" b="1" dirty="0">
                <a:solidFill>
                  <a:srgbClr val="585854"/>
                </a:solidFill>
              </a:rPr>
              <a:t>1. </a:t>
            </a:r>
            <a:r>
              <a:rPr lang="en-GB" dirty="0" err="1">
                <a:solidFill>
                  <a:srgbClr val="585854"/>
                </a:solidFill>
              </a:rPr>
              <a:t>Thieblemont</a:t>
            </a:r>
            <a:r>
              <a:rPr lang="en-GB" dirty="0">
                <a:solidFill>
                  <a:srgbClr val="585854"/>
                </a:solidFill>
              </a:rPr>
              <a:t> et al. </a:t>
            </a:r>
            <a:r>
              <a:rPr lang="en-GB" i="1" dirty="0" err="1"/>
              <a:t>Hemasphere</a:t>
            </a:r>
            <a:r>
              <a:rPr lang="en-GB" dirty="0"/>
              <a:t> 2025 </a:t>
            </a:r>
            <a:r>
              <a:rPr lang="en-GB" b="1" dirty="0">
                <a:solidFill>
                  <a:srgbClr val="585854"/>
                </a:solidFill>
              </a:rPr>
              <a:t>2. </a:t>
            </a:r>
            <a:r>
              <a:rPr lang="en-GB" dirty="0">
                <a:solidFill>
                  <a:srgbClr val="585854"/>
                </a:solidFill>
              </a:rPr>
              <a:t>Eyre et al. </a:t>
            </a:r>
            <a:r>
              <a:rPr lang="en-GB" i="1" dirty="0">
                <a:solidFill>
                  <a:srgbClr val="585854"/>
                </a:solidFill>
              </a:rPr>
              <a:t>Ann Oncol </a:t>
            </a:r>
            <a:r>
              <a:rPr lang="en-GB" dirty="0">
                <a:solidFill>
                  <a:srgbClr val="585854"/>
                </a:solidFill>
              </a:rPr>
              <a:t>2025 </a:t>
            </a:r>
            <a:r>
              <a:rPr lang="en-GB" b="1" dirty="0">
                <a:solidFill>
                  <a:srgbClr val="585854"/>
                </a:solidFill>
              </a:rPr>
              <a:t>3. </a:t>
            </a:r>
            <a:r>
              <a:rPr lang="en-GB" dirty="0">
                <a:solidFill>
                  <a:srgbClr val="585854"/>
                </a:solidFill>
              </a:rPr>
              <a:t>NCCN Clinical Practice Guidelines in B-cell lymphomas. Version 3.2025 </a:t>
            </a:r>
            <a:r>
              <a:rPr lang="en-GB" b="1" dirty="0"/>
              <a:t>4. </a:t>
            </a:r>
            <a:r>
              <a:rPr lang="en-GB" dirty="0" err="1"/>
              <a:t>Albendea</a:t>
            </a:r>
            <a:r>
              <a:rPr lang="en-GB" dirty="0"/>
              <a:t> et al. </a:t>
            </a:r>
            <a:r>
              <a:rPr lang="en-GB" i="1" dirty="0"/>
              <a:t>Front Med </a:t>
            </a:r>
            <a:r>
              <a:rPr lang="en-GB" dirty="0"/>
              <a:t>2023 </a:t>
            </a:r>
            <a:r>
              <a:rPr lang="en-GB" b="1" dirty="0"/>
              <a:t>5. </a:t>
            </a:r>
            <a:r>
              <a:rPr lang="en-GB" dirty="0"/>
              <a:t>Hoffmann et al. </a:t>
            </a:r>
            <a:r>
              <a:rPr lang="en-GB" i="1" dirty="0"/>
              <a:t>Transplant Cell Ther </a:t>
            </a:r>
            <a:r>
              <a:rPr lang="en-GB" dirty="0"/>
              <a:t>2023 </a:t>
            </a:r>
            <a:r>
              <a:rPr lang="en-GB" b="1" dirty="0"/>
              <a:t>6. </a:t>
            </a:r>
            <a:r>
              <a:rPr lang="en-GB" dirty="0" err="1"/>
              <a:t>Jommi</a:t>
            </a:r>
            <a:r>
              <a:rPr lang="en-GB" dirty="0"/>
              <a:t> et al. </a:t>
            </a:r>
            <a:r>
              <a:rPr lang="en-GB" i="1" dirty="0"/>
              <a:t>Front </a:t>
            </a:r>
            <a:r>
              <a:rPr lang="en-GB" i="1" dirty="0" err="1"/>
              <a:t>Pharmacol</a:t>
            </a:r>
            <a:r>
              <a:rPr lang="en-GB" i="1" dirty="0"/>
              <a:t> </a:t>
            </a:r>
            <a:r>
              <a:rPr lang="en-GB" dirty="0"/>
              <a:t>2022</a:t>
            </a:r>
            <a:r>
              <a:rPr lang="en-GB" b="1" dirty="0"/>
              <a:t> 7. </a:t>
            </a:r>
            <a:r>
              <a:rPr lang="en-GB" dirty="0" err="1"/>
              <a:t>Chomienne</a:t>
            </a:r>
            <a:r>
              <a:rPr lang="en-GB" dirty="0"/>
              <a:t> et al. </a:t>
            </a:r>
            <a:r>
              <a:rPr lang="en-GB" i="1" dirty="0" err="1"/>
              <a:t>HemaSphere</a:t>
            </a:r>
            <a:r>
              <a:rPr lang="en-GB" dirty="0"/>
              <a:t> 2019</a:t>
            </a:r>
            <a:r>
              <a:rPr lang="en-GB" b="1" dirty="0"/>
              <a:t> 8. </a:t>
            </a:r>
            <a:r>
              <a:rPr lang="en-GB" dirty="0"/>
              <a:t>Gajra et al. </a:t>
            </a:r>
            <a:r>
              <a:rPr lang="en-GB" i="1" dirty="0" err="1"/>
              <a:t>Pharmaceut</a:t>
            </a:r>
            <a:r>
              <a:rPr lang="en-GB" i="1" dirty="0"/>
              <a:t> Med </a:t>
            </a:r>
            <a:r>
              <a:rPr lang="en-GB" dirty="0"/>
              <a:t>2022</a:t>
            </a:r>
            <a:r>
              <a:rPr lang="en-GB" b="1" dirty="0"/>
              <a:t> 9. </a:t>
            </a:r>
            <a:r>
              <a:rPr lang="en-GB" dirty="0"/>
              <a:t>Abramson et al.</a:t>
            </a:r>
            <a:r>
              <a:rPr lang="en-GB" i="1" dirty="0"/>
              <a:t> Lancet </a:t>
            </a:r>
            <a:r>
              <a:rPr lang="en-GB" dirty="0"/>
              <a:t>2020 </a:t>
            </a:r>
            <a:r>
              <a:rPr lang="en-GB" b="1" dirty="0"/>
              <a:t>10. </a:t>
            </a:r>
            <a:r>
              <a:rPr lang="en-GB" dirty="0"/>
              <a:t>Schuster et al. </a:t>
            </a:r>
            <a:r>
              <a:rPr lang="en-GB" i="1" dirty="0"/>
              <a:t>N Engl J Med </a:t>
            </a:r>
            <a:r>
              <a:rPr lang="en-GB" dirty="0"/>
              <a:t>2019 </a:t>
            </a:r>
            <a:r>
              <a:rPr lang="en-GB" b="1" dirty="0"/>
              <a:t>11. </a:t>
            </a:r>
            <a:r>
              <a:rPr lang="en-GB" dirty="0"/>
              <a:t>Locke et al.</a:t>
            </a:r>
            <a:r>
              <a:rPr lang="en-GB" i="1" dirty="0"/>
              <a:t> Lancet Oncol </a:t>
            </a:r>
            <a:r>
              <a:rPr lang="en-GB" dirty="0"/>
              <a:t>2019 </a:t>
            </a:r>
            <a:r>
              <a:rPr lang="en-GB" b="1" dirty="0"/>
              <a:t>12. </a:t>
            </a:r>
            <a:r>
              <a:rPr lang="en-GB" dirty="0" err="1"/>
              <a:t>Breyanzi</a:t>
            </a:r>
            <a:r>
              <a:rPr lang="en-GB" dirty="0"/>
              <a:t> SmPC </a:t>
            </a:r>
            <a:r>
              <a:rPr lang="en-GB" b="1" dirty="0"/>
              <a:t>13. </a:t>
            </a:r>
            <a:r>
              <a:rPr lang="en-GB" dirty="0" err="1"/>
              <a:t>Yescarta</a:t>
            </a:r>
            <a:r>
              <a:rPr lang="en-GB" dirty="0"/>
              <a:t> SmPC </a:t>
            </a:r>
            <a:r>
              <a:rPr lang="en-GB" b="1" dirty="0"/>
              <a:t>14. </a:t>
            </a:r>
            <a:r>
              <a:rPr lang="en-GB" dirty="0"/>
              <a:t>Jain et al. </a:t>
            </a:r>
            <a:r>
              <a:rPr lang="en-GB" i="1" dirty="0"/>
              <a:t>Blood</a:t>
            </a:r>
            <a:r>
              <a:rPr lang="en-GB" dirty="0"/>
              <a:t> 2023 </a:t>
            </a:r>
            <a:r>
              <a:rPr lang="en-GB" b="1" dirty="0"/>
              <a:t>15. </a:t>
            </a:r>
            <a:r>
              <a:rPr lang="en-GB" dirty="0"/>
              <a:t>Tomas et al.</a:t>
            </a:r>
            <a:r>
              <a:rPr lang="en-GB" i="1" dirty="0"/>
              <a:t> </a:t>
            </a:r>
            <a:r>
              <a:rPr lang="en-GB" i="1" dirty="0" err="1"/>
              <a:t>Leukemia</a:t>
            </a:r>
            <a:r>
              <a:rPr lang="en-GB" i="1" dirty="0"/>
              <a:t> </a:t>
            </a:r>
            <a:r>
              <a:rPr lang="en-GB" dirty="0"/>
              <a:t>2023 </a:t>
            </a:r>
            <a:endParaRPr lang="en-CH" dirty="0"/>
          </a:p>
          <a:p>
            <a:r>
              <a:rPr lang="en-GB" b="1" dirty="0"/>
              <a:t>16. </a:t>
            </a:r>
            <a:r>
              <a:rPr lang="en-GB" dirty="0"/>
              <a:t>Di Blasi et al. </a:t>
            </a:r>
            <a:r>
              <a:rPr lang="en-GB" i="1" dirty="0"/>
              <a:t>Blood</a:t>
            </a:r>
            <a:r>
              <a:rPr lang="en-GB" dirty="0"/>
              <a:t> 2022</a:t>
            </a:r>
            <a:r>
              <a:rPr lang="en-GB" b="1" dirty="0"/>
              <a:t> 17. </a:t>
            </a:r>
            <a:r>
              <a:rPr lang="en-GB" dirty="0"/>
              <a:t>Dodero et al. </a:t>
            </a:r>
            <a:r>
              <a:rPr lang="en-GB" i="1" dirty="0"/>
              <a:t>Br J </a:t>
            </a:r>
            <a:r>
              <a:rPr lang="en-GB" i="1" dirty="0" err="1"/>
              <a:t>Haematol</a:t>
            </a:r>
            <a:r>
              <a:rPr lang="en-GB" i="1" dirty="0"/>
              <a:t> </a:t>
            </a:r>
            <a:r>
              <a:rPr lang="en-GB" dirty="0"/>
              <a:t>2024.</a:t>
            </a:r>
          </a:p>
        </p:txBody>
      </p:sp>
      <p:pic>
        <p:nvPicPr>
          <p:cNvPr id="2471" name="!!Pic1">
            <a:extLst>
              <a:ext uri="{FF2B5EF4-FFF2-40B4-BE49-F238E27FC236}">
                <a16:creationId xmlns:a16="http://schemas.microsoft.com/office/drawing/2014/main" id="{9F9B7753-486C-6FC4-9DD4-D3ADD84E825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82512" y="2092191"/>
            <a:ext cx="225572" cy="304826"/>
          </a:xfrm>
          <a:prstGeom prst="rect">
            <a:avLst/>
          </a:prstGeom>
        </p:spPr>
      </p:pic>
      <p:pic>
        <p:nvPicPr>
          <p:cNvPr id="2472" name="!!Pic22">
            <a:extLst>
              <a:ext uri="{FF2B5EF4-FFF2-40B4-BE49-F238E27FC236}">
                <a16:creationId xmlns:a16="http://schemas.microsoft.com/office/drawing/2014/main" id="{8706626E-CC53-68A6-627F-7160D4212D9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65058" y="2465025"/>
            <a:ext cx="225572" cy="304826"/>
          </a:xfrm>
          <a:prstGeom prst="rect">
            <a:avLst/>
          </a:prstGeom>
        </p:spPr>
      </p:pic>
      <p:pic>
        <p:nvPicPr>
          <p:cNvPr id="2473" name="!!Pic21">
            <a:extLst>
              <a:ext uri="{FF2B5EF4-FFF2-40B4-BE49-F238E27FC236}">
                <a16:creationId xmlns:a16="http://schemas.microsoft.com/office/drawing/2014/main" id="{62A634CE-5ACC-4B74-74F3-7A2DA9D0644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15914" y="2756968"/>
            <a:ext cx="225572" cy="304826"/>
          </a:xfrm>
          <a:prstGeom prst="rect">
            <a:avLst/>
          </a:prstGeom>
        </p:spPr>
      </p:pic>
      <p:pic>
        <p:nvPicPr>
          <p:cNvPr id="2474" name="!!Pic20">
            <a:extLst>
              <a:ext uri="{FF2B5EF4-FFF2-40B4-BE49-F238E27FC236}">
                <a16:creationId xmlns:a16="http://schemas.microsoft.com/office/drawing/2014/main" id="{39CB2CAE-1892-4B3F-D8B6-E9A60020A11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70256" y="3006825"/>
            <a:ext cx="225572" cy="304826"/>
          </a:xfrm>
          <a:prstGeom prst="rect">
            <a:avLst/>
          </a:prstGeom>
        </p:spPr>
      </p:pic>
      <p:pic>
        <p:nvPicPr>
          <p:cNvPr id="2475" name="!!Pic2">
            <a:extLst>
              <a:ext uri="{FF2B5EF4-FFF2-40B4-BE49-F238E27FC236}">
                <a16:creationId xmlns:a16="http://schemas.microsoft.com/office/drawing/2014/main" id="{06AB805A-69F5-A991-E961-D01FDA97FB0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70032" y="2036459"/>
            <a:ext cx="225572" cy="304826"/>
          </a:xfrm>
          <a:prstGeom prst="rect">
            <a:avLst/>
          </a:prstGeom>
        </p:spPr>
      </p:pic>
      <p:pic>
        <p:nvPicPr>
          <p:cNvPr id="2476" name="!!Pic23">
            <a:extLst>
              <a:ext uri="{FF2B5EF4-FFF2-40B4-BE49-F238E27FC236}">
                <a16:creationId xmlns:a16="http://schemas.microsoft.com/office/drawing/2014/main" id="{FE87ED73-E205-78B6-5908-A018E965A63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82233" y="3154991"/>
            <a:ext cx="225572" cy="304826"/>
          </a:xfrm>
          <a:prstGeom prst="rect">
            <a:avLst/>
          </a:prstGeom>
        </p:spPr>
      </p:pic>
      <p:pic>
        <p:nvPicPr>
          <p:cNvPr id="2477" name="!!Pic24">
            <a:extLst>
              <a:ext uri="{FF2B5EF4-FFF2-40B4-BE49-F238E27FC236}">
                <a16:creationId xmlns:a16="http://schemas.microsoft.com/office/drawing/2014/main" id="{AADAF635-00C8-8EA4-4731-A9690760E4A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39357" y="2649739"/>
            <a:ext cx="225572" cy="304826"/>
          </a:xfrm>
          <a:prstGeom prst="rect">
            <a:avLst/>
          </a:prstGeom>
        </p:spPr>
      </p:pic>
      <p:pic>
        <p:nvPicPr>
          <p:cNvPr id="2478" name="!!Pic25">
            <a:extLst>
              <a:ext uri="{FF2B5EF4-FFF2-40B4-BE49-F238E27FC236}">
                <a16:creationId xmlns:a16="http://schemas.microsoft.com/office/drawing/2014/main" id="{5441048C-1498-C5A0-4439-0E4073344C8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85317" y="3353885"/>
            <a:ext cx="225572" cy="304826"/>
          </a:xfrm>
          <a:prstGeom prst="rect">
            <a:avLst/>
          </a:prstGeom>
        </p:spPr>
      </p:pic>
      <p:pic>
        <p:nvPicPr>
          <p:cNvPr id="2479" name="!!Pic7">
            <a:extLst>
              <a:ext uri="{FF2B5EF4-FFF2-40B4-BE49-F238E27FC236}">
                <a16:creationId xmlns:a16="http://schemas.microsoft.com/office/drawing/2014/main" id="{539821A9-CFCE-EEDE-1B1D-7D5B6CADFA6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83042" y="3635015"/>
            <a:ext cx="225572" cy="304826"/>
          </a:xfrm>
          <a:prstGeom prst="rect">
            <a:avLst/>
          </a:prstGeom>
        </p:spPr>
      </p:pic>
      <p:pic>
        <p:nvPicPr>
          <p:cNvPr id="2480" name="!!Pic51">
            <a:extLst>
              <a:ext uri="{FF2B5EF4-FFF2-40B4-BE49-F238E27FC236}">
                <a16:creationId xmlns:a16="http://schemas.microsoft.com/office/drawing/2014/main" id="{F7E74D72-4BA5-A308-282C-6D5401F47C2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06283" y="2734972"/>
            <a:ext cx="225572" cy="304826"/>
          </a:xfrm>
          <a:prstGeom prst="rect">
            <a:avLst/>
          </a:prstGeom>
        </p:spPr>
      </p:pic>
      <p:pic>
        <p:nvPicPr>
          <p:cNvPr id="2481" name="!!Pic50">
            <a:extLst>
              <a:ext uri="{FF2B5EF4-FFF2-40B4-BE49-F238E27FC236}">
                <a16:creationId xmlns:a16="http://schemas.microsoft.com/office/drawing/2014/main" id="{EDC551F0-5CC0-0BB2-1FD2-A0C556F9867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19069" y="2341285"/>
            <a:ext cx="225572" cy="304826"/>
          </a:xfrm>
          <a:prstGeom prst="rect">
            <a:avLst/>
          </a:prstGeom>
        </p:spPr>
      </p:pic>
      <p:pic>
        <p:nvPicPr>
          <p:cNvPr id="2482" name="!!Pic49">
            <a:extLst>
              <a:ext uri="{FF2B5EF4-FFF2-40B4-BE49-F238E27FC236}">
                <a16:creationId xmlns:a16="http://schemas.microsoft.com/office/drawing/2014/main" id="{16586B8F-377A-2B4C-0CC6-55F2E1C2F2B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63310" y="2297086"/>
            <a:ext cx="225572" cy="304826"/>
          </a:xfrm>
          <a:prstGeom prst="rect">
            <a:avLst/>
          </a:prstGeom>
        </p:spPr>
      </p:pic>
      <p:pic>
        <p:nvPicPr>
          <p:cNvPr id="2483" name="!!Pic48">
            <a:extLst>
              <a:ext uri="{FF2B5EF4-FFF2-40B4-BE49-F238E27FC236}">
                <a16:creationId xmlns:a16="http://schemas.microsoft.com/office/drawing/2014/main" id="{18F910BB-3593-F3A0-4301-79E7076683E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75960" y="2049436"/>
            <a:ext cx="225572" cy="304826"/>
          </a:xfrm>
          <a:prstGeom prst="rect">
            <a:avLst/>
          </a:prstGeom>
        </p:spPr>
      </p:pic>
      <p:pic>
        <p:nvPicPr>
          <p:cNvPr id="2484" name="!!Pic47">
            <a:extLst>
              <a:ext uri="{FF2B5EF4-FFF2-40B4-BE49-F238E27FC236}">
                <a16:creationId xmlns:a16="http://schemas.microsoft.com/office/drawing/2014/main" id="{AB93D19F-FDFC-DC9F-B5F6-6B757917FD9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45760" y="2830486"/>
            <a:ext cx="225572" cy="304826"/>
          </a:xfrm>
          <a:prstGeom prst="rect">
            <a:avLst/>
          </a:prstGeom>
        </p:spPr>
      </p:pic>
      <p:pic>
        <p:nvPicPr>
          <p:cNvPr id="2485" name="!!Pic46">
            <a:extLst>
              <a:ext uri="{FF2B5EF4-FFF2-40B4-BE49-F238E27FC236}">
                <a16:creationId xmlns:a16="http://schemas.microsoft.com/office/drawing/2014/main" id="{3F6279CF-4FF5-DD33-E283-44004CB5600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68060" y="2836836"/>
            <a:ext cx="225572" cy="304826"/>
          </a:xfrm>
          <a:prstGeom prst="rect">
            <a:avLst/>
          </a:prstGeom>
        </p:spPr>
      </p:pic>
      <p:pic>
        <p:nvPicPr>
          <p:cNvPr id="2486" name="!!Pic45">
            <a:extLst>
              <a:ext uri="{FF2B5EF4-FFF2-40B4-BE49-F238E27FC236}">
                <a16:creationId xmlns:a16="http://schemas.microsoft.com/office/drawing/2014/main" id="{08E5C6A4-E4D5-F26D-A487-D7F7896D3CF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56860" y="2265336"/>
            <a:ext cx="225572" cy="304826"/>
          </a:xfrm>
          <a:prstGeom prst="rect">
            <a:avLst/>
          </a:prstGeom>
        </p:spPr>
      </p:pic>
      <p:pic>
        <p:nvPicPr>
          <p:cNvPr id="2487" name="!!Pic44">
            <a:extLst>
              <a:ext uri="{FF2B5EF4-FFF2-40B4-BE49-F238E27FC236}">
                <a16:creationId xmlns:a16="http://schemas.microsoft.com/office/drawing/2014/main" id="{321ED2C8-5844-941F-189F-50F23430C73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01260" y="2671736"/>
            <a:ext cx="225572" cy="304826"/>
          </a:xfrm>
          <a:prstGeom prst="rect">
            <a:avLst/>
          </a:prstGeom>
        </p:spPr>
      </p:pic>
      <p:pic>
        <p:nvPicPr>
          <p:cNvPr id="2488" name="!!Pic43">
            <a:extLst>
              <a:ext uri="{FF2B5EF4-FFF2-40B4-BE49-F238E27FC236}">
                <a16:creationId xmlns:a16="http://schemas.microsoft.com/office/drawing/2014/main" id="{2B46627B-1962-EB50-C036-AB949E285C8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21910" y="3141636"/>
            <a:ext cx="225572" cy="304826"/>
          </a:xfrm>
          <a:prstGeom prst="rect">
            <a:avLst/>
          </a:prstGeom>
        </p:spPr>
      </p:pic>
      <p:pic>
        <p:nvPicPr>
          <p:cNvPr id="2489" name="!!Pic42">
            <a:extLst>
              <a:ext uri="{FF2B5EF4-FFF2-40B4-BE49-F238E27FC236}">
                <a16:creationId xmlns:a16="http://schemas.microsoft.com/office/drawing/2014/main" id="{F3429A7E-2037-60AF-9CEE-6ED26EDF8B3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657930" y="4481858"/>
            <a:ext cx="213378" cy="262151"/>
          </a:xfrm>
          <a:prstGeom prst="rect">
            <a:avLst/>
          </a:prstGeom>
        </p:spPr>
      </p:pic>
      <p:pic>
        <p:nvPicPr>
          <p:cNvPr id="2490" name="!!Pic41">
            <a:extLst>
              <a:ext uri="{FF2B5EF4-FFF2-40B4-BE49-F238E27FC236}">
                <a16:creationId xmlns:a16="http://schemas.microsoft.com/office/drawing/2014/main" id="{5A1BB5AD-2150-2429-088B-9F5C21D7376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78530" y="4170708"/>
            <a:ext cx="213378" cy="262151"/>
          </a:xfrm>
          <a:prstGeom prst="rect">
            <a:avLst/>
          </a:prstGeom>
        </p:spPr>
      </p:pic>
      <p:pic>
        <p:nvPicPr>
          <p:cNvPr id="2491" name="!!Pic40">
            <a:extLst>
              <a:ext uri="{FF2B5EF4-FFF2-40B4-BE49-F238E27FC236}">
                <a16:creationId xmlns:a16="http://schemas.microsoft.com/office/drawing/2014/main" id="{598E01FA-3993-A3AA-5379-EFC040E44C4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734130" y="3681758"/>
            <a:ext cx="213378" cy="262151"/>
          </a:xfrm>
          <a:prstGeom prst="rect">
            <a:avLst/>
          </a:prstGeom>
        </p:spPr>
      </p:pic>
      <p:pic>
        <p:nvPicPr>
          <p:cNvPr id="2492" name="!!Pic39">
            <a:extLst>
              <a:ext uri="{FF2B5EF4-FFF2-40B4-BE49-F238E27FC236}">
                <a16:creationId xmlns:a16="http://schemas.microsoft.com/office/drawing/2014/main" id="{9FD4CE8F-D77C-050C-9BC4-01AE17E1544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038930" y="4132608"/>
            <a:ext cx="213378" cy="262151"/>
          </a:xfrm>
          <a:prstGeom prst="rect">
            <a:avLst/>
          </a:prstGeom>
        </p:spPr>
      </p:pic>
      <p:pic>
        <p:nvPicPr>
          <p:cNvPr id="2493" name="!!Pic38">
            <a:extLst>
              <a:ext uri="{FF2B5EF4-FFF2-40B4-BE49-F238E27FC236}">
                <a16:creationId xmlns:a16="http://schemas.microsoft.com/office/drawing/2014/main" id="{EF5A685B-B628-271A-1057-2A353DECE92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175330" y="4678708"/>
            <a:ext cx="213378" cy="262151"/>
          </a:xfrm>
          <a:prstGeom prst="rect">
            <a:avLst/>
          </a:prstGeom>
        </p:spPr>
      </p:pic>
      <p:pic>
        <p:nvPicPr>
          <p:cNvPr id="2494" name="!!Pic37">
            <a:extLst>
              <a:ext uri="{FF2B5EF4-FFF2-40B4-BE49-F238E27FC236}">
                <a16:creationId xmlns:a16="http://schemas.microsoft.com/office/drawing/2014/main" id="{EEEFD62D-C539-0658-AC2D-E423BCA586E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73680" y="4608858"/>
            <a:ext cx="213378" cy="262151"/>
          </a:xfrm>
          <a:prstGeom prst="rect">
            <a:avLst/>
          </a:prstGeom>
        </p:spPr>
      </p:pic>
      <p:pic>
        <p:nvPicPr>
          <p:cNvPr id="2495" name="!!Pic36">
            <a:extLst>
              <a:ext uri="{FF2B5EF4-FFF2-40B4-BE49-F238E27FC236}">
                <a16:creationId xmlns:a16="http://schemas.microsoft.com/office/drawing/2014/main" id="{10B7E4C1-E0E6-154F-1A8D-F9506F7A57E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619580" y="5015258"/>
            <a:ext cx="213378" cy="262151"/>
          </a:xfrm>
          <a:prstGeom prst="rect">
            <a:avLst/>
          </a:prstGeom>
        </p:spPr>
      </p:pic>
      <p:pic>
        <p:nvPicPr>
          <p:cNvPr id="2496" name="!!Pic35">
            <a:extLst>
              <a:ext uri="{FF2B5EF4-FFF2-40B4-BE49-F238E27FC236}">
                <a16:creationId xmlns:a16="http://schemas.microsoft.com/office/drawing/2014/main" id="{218C08BD-E01E-CD22-635B-4E4303FFB00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59230" y="4773958"/>
            <a:ext cx="213378" cy="262151"/>
          </a:xfrm>
          <a:prstGeom prst="rect">
            <a:avLst/>
          </a:prstGeom>
        </p:spPr>
      </p:pic>
      <p:pic>
        <p:nvPicPr>
          <p:cNvPr id="2497" name="!!Pic34">
            <a:extLst>
              <a:ext uri="{FF2B5EF4-FFF2-40B4-BE49-F238E27FC236}">
                <a16:creationId xmlns:a16="http://schemas.microsoft.com/office/drawing/2014/main" id="{6F11591E-DC08-52AC-6B47-0839A285A7C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52780" y="5059708"/>
            <a:ext cx="213378" cy="262151"/>
          </a:xfrm>
          <a:prstGeom prst="rect">
            <a:avLst/>
          </a:prstGeom>
        </p:spPr>
      </p:pic>
      <p:pic>
        <p:nvPicPr>
          <p:cNvPr id="2498" name="!!Pic33">
            <a:extLst>
              <a:ext uri="{FF2B5EF4-FFF2-40B4-BE49-F238E27FC236}">
                <a16:creationId xmlns:a16="http://schemas.microsoft.com/office/drawing/2014/main" id="{83CE2EB5-BB00-8AD5-2ACC-4C21D86467F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33630" y="3694458"/>
            <a:ext cx="213378" cy="262151"/>
          </a:xfrm>
          <a:prstGeom prst="rect">
            <a:avLst/>
          </a:prstGeom>
        </p:spPr>
      </p:pic>
      <p:pic>
        <p:nvPicPr>
          <p:cNvPr id="2499" name="!!Pic32">
            <a:extLst>
              <a:ext uri="{FF2B5EF4-FFF2-40B4-BE49-F238E27FC236}">
                <a16:creationId xmlns:a16="http://schemas.microsoft.com/office/drawing/2014/main" id="{ED5EACA6-84B8-B71B-0492-DF9D14EBD58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85980" y="3186458"/>
            <a:ext cx="213378" cy="262151"/>
          </a:xfrm>
          <a:prstGeom prst="rect">
            <a:avLst/>
          </a:prstGeom>
        </p:spPr>
      </p:pic>
      <p:pic>
        <p:nvPicPr>
          <p:cNvPr id="2500" name="!!Pic31">
            <a:extLst>
              <a:ext uri="{FF2B5EF4-FFF2-40B4-BE49-F238E27FC236}">
                <a16:creationId xmlns:a16="http://schemas.microsoft.com/office/drawing/2014/main" id="{6A87165D-5C19-E88A-6E01-28A2D9C117A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974930" y="3027708"/>
            <a:ext cx="213378" cy="262151"/>
          </a:xfrm>
          <a:prstGeom prst="rect">
            <a:avLst/>
          </a:prstGeom>
        </p:spPr>
      </p:pic>
      <p:pic>
        <p:nvPicPr>
          <p:cNvPr id="2501" name="!!Pic30">
            <a:extLst>
              <a:ext uri="{FF2B5EF4-FFF2-40B4-BE49-F238E27FC236}">
                <a16:creationId xmlns:a16="http://schemas.microsoft.com/office/drawing/2014/main" id="{4CA9E7CB-9DB5-1231-6EC9-D6E4A9A75E9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326056" y="3987919"/>
            <a:ext cx="213378" cy="262151"/>
          </a:xfrm>
          <a:prstGeom prst="rect">
            <a:avLst/>
          </a:prstGeom>
        </p:spPr>
      </p:pic>
      <p:pic>
        <p:nvPicPr>
          <p:cNvPr id="2502" name="!!Pic29">
            <a:extLst>
              <a:ext uri="{FF2B5EF4-FFF2-40B4-BE49-F238E27FC236}">
                <a16:creationId xmlns:a16="http://schemas.microsoft.com/office/drawing/2014/main" id="{775E11F6-46B7-4D45-5F9C-FA9000FBC8A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11580" y="2634008"/>
            <a:ext cx="213378" cy="262151"/>
          </a:xfrm>
          <a:prstGeom prst="rect">
            <a:avLst/>
          </a:prstGeom>
        </p:spPr>
      </p:pic>
      <p:pic>
        <p:nvPicPr>
          <p:cNvPr id="2503" name="!!Pic28">
            <a:extLst>
              <a:ext uri="{FF2B5EF4-FFF2-40B4-BE49-F238E27FC236}">
                <a16:creationId xmlns:a16="http://schemas.microsoft.com/office/drawing/2014/main" id="{C6EB1CF9-6D87-6521-4305-682F836749E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78380" y="2919758"/>
            <a:ext cx="213378" cy="262151"/>
          </a:xfrm>
          <a:prstGeom prst="rect">
            <a:avLst/>
          </a:prstGeom>
        </p:spPr>
      </p:pic>
      <p:pic>
        <p:nvPicPr>
          <p:cNvPr id="2504" name="!!Pic27">
            <a:extLst>
              <a:ext uri="{FF2B5EF4-FFF2-40B4-BE49-F238E27FC236}">
                <a16:creationId xmlns:a16="http://schemas.microsoft.com/office/drawing/2014/main" id="{BCCB529F-A78B-B975-8662-99BD87CE38A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54630" y="2995958"/>
            <a:ext cx="213378" cy="262151"/>
          </a:xfrm>
          <a:prstGeom prst="rect">
            <a:avLst/>
          </a:prstGeom>
        </p:spPr>
      </p:pic>
      <p:pic>
        <p:nvPicPr>
          <p:cNvPr id="2505" name="!!Pic26">
            <a:extLst>
              <a:ext uri="{FF2B5EF4-FFF2-40B4-BE49-F238E27FC236}">
                <a16:creationId xmlns:a16="http://schemas.microsoft.com/office/drawing/2014/main" id="{A7BB94BF-C44D-8185-DDE2-126E027E5FC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27630" y="2551458"/>
            <a:ext cx="213378" cy="262151"/>
          </a:xfrm>
          <a:prstGeom prst="rect">
            <a:avLst/>
          </a:prstGeom>
        </p:spPr>
      </p:pic>
      <p:pic>
        <p:nvPicPr>
          <p:cNvPr id="2506" name="!!Pic19">
            <a:extLst>
              <a:ext uri="{FF2B5EF4-FFF2-40B4-BE49-F238E27FC236}">
                <a16:creationId xmlns:a16="http://schemas.microsoft.com/office/drawing/2014/main" id="{1F397F41-C828-1B7D-AD86-3F0ED1EC583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84592" y="4225565"/>
            <a:ext cx="225572" cy="304826"/>
          </a:xfrm>
          <a:prstGeom prst="rect">
            <a:avLst/>
          </a:prstGeom>
        </p:spPr>
      </p:pic>
      <p:pic>
        <p:nvPicPr>
          <p:cNvPr id="2507" name="!!Pic18">
            <a:extLst>
              <a:ext uri="{FF2B5EF4-FFF2-40B4-BE49-F238E27FC236}">
                <a16:creationId xmlns:a16="http://schemas.microsoft.com/office/drawing/2014/main" id="{7CF487E9-9EFA-12FC-3D06-72CCE8E05D3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43392" y="4873265"/>
            <a:ext cx="225572" cy="304826"/>
          </a:xfrm>
          <a:prstGeom prst="rect">
            <a:avLst/>
          </a:prstGeom>
        </p:spPr>
      </p:pic>
      <p:pic>
        <p:nvPicPr>
          <p:cNvPr id="2508" name="!!Pic17">
            <a:extLst>
              <a:ext uri="{FF2B5EF4-FFF2-40B4-BE49-F238E27FC236}">
                <a16:creationId xmlns:a16="http://schemas.microsoft.com/office/drawing/2014/main" id="{C0D04AD7-091B-035F-32E7-6044EA24353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27442" y="5000265"/>
            <a:ext cx="225572" cy="304826"/>
          </a:xfrm>
          <a:prstGeom prst="rect">
            <a:avLst/>
          </a:prstGeom>
        </p:spPr>
      </p:pic>
      <p:pic>
        <p:nvPicPr>
          <p:cNvPr id="2509" name="!!Pic16">
            <a:extLst>
              <a:ext uri="{FF2B5EF4-FFF2-40B4-BE49-F238E27FC236}">
                <a16:creationId xmlns:a16="http://schemas.microsoft.com/office/drawing/2014/main" id="{27B0BE5C-349A-3EAD-9E3C-543C6A9925B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57542" y="4968515"/>
            <a:ext cx="225572" cy="304826"/>
          </a:xfrm>
          <a:prstGeom prst="rect">
            <a:avLst/>
          </a:prstGeom>
        </p:spPr>
      </p:pic>
      <p:pic>
        <p:nvPicPr>
          <p:cNvPr id="2510" name="!!Pic15">
            <a:extLst>
              <a:ext uri="{FF2B5EF4-FFF2-40B4-BE49-F238E27FC236}">
                <a16:creationId xmlns:a16="http://schemas.microsoft.com/office/drawing/2014/main" id="{A0DDA0D1-3C45-E30A-6417-7AA1CB5A31B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74942" y="4752615"/>
            <a:ext cx="225572" cy="304826"/>
          </a:xfrm>
          <a:prstGeom prst="rect">
            <a:avLst/>
          </a:prstGeom>
        </p:spPr>
      </p:pic>
      <p:pic>
        <p:nvPicPr>
          <p:cNvPr id="2511" name="!!Pic14">
            <a:extLst>
              <a:ext uri="{FF2B5EF4-FFF2-40B4-BE49-F238E27FC236}">
                <a16:creationId xmlns:a16="http://schemas.microsoft.com/office/drawing/2014/main" id="{B787F9CF-E034-02F4-9A4E-B3B8B7072F6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68592" y="4352565"/>
            <a:ext cx="225572" cy="304826"/>
          </a:xfrm>
          <a:prstGeom prst="rect">
            <a:avLst/>
          </a:prstGeom>
        </p:spPr>
      </p:pic>
      <p:pic>
        <p:nvPicPr>
          <p:cNvPr id="2512" name="!!Pic13">
            <a:extLst>
              <a:ext uri="{FF2B5EF4-FFF2-40B4-BE49-F238E27FC236}">
                <a16:creationId xmlns:a16="http://schemas.microsoft.com/office/drawing/2014/main" id="{C363227B-9C40-5A81-D817-E82D4529F09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44692" y="4295415"/>
            <a:ext cx="225572" cy="304826"/>
          </a:xfrm>
          <a:prstGeom prst="rect">
            <a:avLst/>
          </a:prstGeom>
        </p:spPr>
      </p:pic>
      <p:pic>
        <p:nvPicPr>
          <p:cNvPr id="2513" name="!!Pic12">
            <a:extLst>
              <a:ext uri="{FF2B5EF4-FFF2-40B4-BE49-F238E27FC236}">
                <a16:creationId xmlns:a16="http://schemas.microsoft.com/office/drawing/2014/main" id="{3E7D1108-CCD9-58AF-9DB6-D768CC92B15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12892" y="4212865"/>
            <a:ext cx="225572" cy="304826"/>
          </a:xfrm>
          <a:prstGeom prst="rect">
            <a:avLst/>
          </a:prstGeom>
        </p:spPr>
      </p:pic>
      <p:pic>
        <p:nvPicPr>
          <p:cNvPr id="2514" name="!!Pic11">
            <a:extLst>
              <a:ext uri="{FF2B5EF4-FFF2-40B4-BE49-F238E27FC236}">
                <a16:creationId xmlns:a16="http://schemas.microsoft.com/office/drawing/2014/main" id="{36AE716C-ED4F-1432-EEB0-EA8347BB7A1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20792" y="4504965"/>
            <a:ext cx="225572" cy="304826"/>
          </a:xfrm>
          <a:prstGeom prst="rect">
            <a:avLst/>
          </a:prstGeom>
        </p:spPr>
      </p:pic>
      <p:pic>
        <p:nvPicPr>
          <p:cNvPr id="2515" name="!!Pic10">
            <a:extLst>
              <a:ext uri="{FF2B5EF4-FFF2-40B4-BE49-F238E27FC236}">
                <a16:creationId xmlns:a16="http://schemas.microsoft.com/office/drawing/2014/main" id="{41E0D8CF-B603-1FF1-E202-AEEC1BD8AC3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03392" y="5070115"/>
            <a:ext cx="225572" cy="304826"/>
          </a:xfrm>
          <a:prstGeom prst="rect">
            <a:avLst/>
          </a:prstGeom>
        </p:spPr>
      </p:pic>
      <p:pic>
        <p:nvPicPr>
          <p:cNvPr id="2516" name="!!Pic9">
            <a:extLst>
              <a:ext uri="{FF2B5EF4-FFF2-40B4-BE49-F238E27FC236}">
                <a16:creationId xmlns:a16="http://schemas.microsoft.com/office/drawing/2014/main" id="{350FCC8C-3004-E6AE-896B-8255D5E2956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50892" y="4778015"/>
            <a:ext cx="225572" cy="304826"/>
          </a:xfrm>
          <a:prstGeom prst="rect">
            <a:avLst/>
          </a:prstGeom>
        </p:spPr>
      </p:pic>
      <p:pic>
        <p:nvPicPr>
          <p:cNvPr id="2517" name="!!Pic8">
            <a:extLst>
              <a:ext uri="{FF2B5EF4-FFF2-40B4-BE49-F238E27FC236}">
                <a16:creationId xmlns:a16="http://schemas.microsoft.com/office/drawing/2014/main" id="{7E2A7B7B-D9AE-CCC2-1C4B-7B89B235DF0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74692" y="4301765"/>
            <a:ext cx="225572" cy="304826"/>
          </a:xfrm>
          <a:prstGeom prst="rect">
            <a:avLst/>
          </a:prstGeom>
        </p:spPr>
      </p:pic>
      <p:pic>
        <p:nvPicPr>
          <p:cNvPr id="2518" name="!!Pic6">
            <a:extLst>
              <a:ext uri="{FF2B5EF4-FFF2-40B4-BE49-F238E27FC236}">
                <a16:creationId xmlns:a16="http://schemas.microsoft.com/office/drawing/2014/main" id="{97E25241-158D-BAF9-95D0-C96680535D7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42892" y="4143015"/>
            <a:ext cx="225572" cy="304826"/>
          </a:xfrm>
          <a:prstGeom prst="rect">
            <a:avLst/>
          </a:prstGeom>
        </p:spPr>
      </p:pic>
      <p:pic>
        <p:nvPicPr>
          <p:cNvPr id="2519" name="!!Pic5">
            <a:extLst>
              <a:ext uri="{FF2B5EF4-FFF2-40B4-BE49-F238E27FC236}">
                <a16:creationId xmlns:a16="http://schemas.microsoft.com/office/drawing/2014/main" id="{202BDD28-D1DE-D3CA-7A41-D88FC70CD0F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26992" y="3679465"/>
            <a:ext cx="225572" cy="304826"/>
          </a:xfrm>
          <a:prstGeom prst="rect">
            <a:avLst/>
          </a:prstGeom>
        </p:spPr>
      </p:pic>
      <p:pic>
        <p:nvPicPr>
          <p:cNvPr id="2520" name="!!Pic4">
            <a:extLst>
              <a:ext uri="{FF2B5EF4-FFF2-40B4-BE49-F238E27FC236}">
                <a16:creationId xmlns:a16="http://schemas.microsoft.com/office/drawing/2014/main" id="{C59A4973-3B2C-A079-68CD-AB2F93F2865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95342" y="3438165"/>
            <a:ext cx="225572" cy="304826"/>
          </a:xfrm>
          <a:prstGeom prst="rect">
            <a:avLst/>
          </a:prstGeom>
        </p:spPr>
      </p:pic>
      <p:pic>
        <p:nvPicPr>
          <p:cNvPr id="2521" name="!!Pic3">
            <a:extLst>
              <a:ext uri="{FF2B5EF4-FFF2-40B4-BE49-F238E27FC236}">
                <a16:creationId xmlns:a16="http://schemas.microsoft.com/office/drawing/2014/main" id="{27240592-E426-8FD1-1136-5D046FAFC36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95292" y="2599965"/>
            <a:ext cx="225572" cy="304826"/>
          </a:xfrm>
          <a:prstGeom prst="rect">
            <a:avLst/>
          </a:prstGeom>
        </p:spPr>
      </p:pic>
      <p:sp>
        <p:nvSpPr>
          <p:cNvPr id="2522" name="Rectangle: Rounded Corners 2521">
            <a:extLst>
              <a:ext uri="{FF2B5EF4-FFF2-40B4-BE49-F238E27FC236}">
                <a16:creationId xmlns:a16="http://schemas.microsoft.com/office/drawing/2014/main" id="{A79E057F-0203-A3D9-4B5C-7EA5CF125F1D}"/>
              </a:ext>
            </a:extLst>
          </p:cNvPr>
          <p:cNvSpPr/>
          <p:nvPr/>
        </p:nvSpPr>
        <p:spPr>
          <a:xfrm>
            <a:off x="4764212" y="3433485"/>
            <a:ext cx="2431972" cy="707886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AR-T eligible</a:t>
            </a:r>
            <a:r>
              <a:rPr kumimoji="0" lang="en-GB" sz="2000" b="1" i="0" u="none" strike="noStrike" kern="1200" cap="none" spc="0" normalizeH="0" baseline="3000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–3,</a:t>
            </a: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*</a:t>
            </a:r>
            <a:endParaRPr kumimoji="0" lang="en-GB" sz="2000" b="1" i="0" u="none" strike="noStrike" kern="1200" cap="none" spc="0" normalizeH="0" baseline="30000" noProof="0" dirty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(Primary refractory or relapse </a:t>
            </a:r>
            <a:b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within 12 months)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944303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1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4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mph" presetSubtype="0" fill="hold" nodeType="withEffect">
                                  <p:stCondLst>
                                    <p:cond delay="10"/>
                                  </p:stCondLst>
                                  <p:childTnLst>
                                    <p:animScale>
                                      <p:cBhvr>
                                        <p:cTn id="9" dur="10" fill="hold"/>
                                        <p:tgtEl>
                                          <p:spTgt spid="2471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10" presetID="6" presetClass="emph" presetSubtype="0" decel="100000" fill="hold" nodeType="withEffect">
                                  <p:stCondLst>
                                    <p:cond delay="10"/>
                                  </p:stCondLst>
                                  <p:childTnLst>
                                    <p:animScale>
                                      <p:cBhvr>
                                        <p:cTn id="11" dur="750" fill="hold"/>
                                        <p:tgtEl>
                                          <p:spTgt spid="2471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nodeType="with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24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6" presetClass="emph" presetSubtype="0" fill="hold" nodeType="withEffect">
                                  <p:stCondLst>
                                    <p:cond delay="20"/>
                                  </p:stCondLst>
                                  <p:childTnLst>
                                    <p:animScale>
                                      <p:cBhvr>
                                        <p:cTn id="16" dur="10" fill="hold"/>
                                        <p:tgtEl>
                                          <p:spTgt spid="2472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17" presetID="6" presetClass="emph" presetSubtype="0" decel="100000" fill="hold" nodeType="withEffect">
                                  <p:stCondLst>
                                    <p:cond delay="20"/>
                                  </p:stCondLst>
                                  <p:childTnLst>
                                    <p:animScale>
                                      <p:cBhvr>
                                        <p:cTn id="18" dur="750" fill="hold"/>
                                        <p:tgtEl>
                                          <p:spTgt spid="2472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3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4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6" presetClass="emph" presetSubtype="0" fill="hold" nodeType="withEffect">
                                  <p:stCondLst>
                                    <p:cond delay="30"/>
                                  </p:stCondLst>
                                  <p:childTnLst>
                                    <p:animScale>
                                      <p:cBhvr>
                                        <p:cTn id="23" dur="10" fill="hold"/>
                                        <p:tgtEl>
                                          <p:spTgt spid="2473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24" presetID="6" presetClass="emph" presetSubtype="0" decel="100000" fill="hold" nodeType="withEffect">
                                  <p:stCondLst>
                                    <p:cond delay="30"/>
                                  </p:stCondLst>
                                  <p:childTnLst>
                                    <p:animScale>
                                      <p:cBhvr>
                                        <p:cTn id="25" dur="750" fill="hold"/>
                                        <p:tgtEl>
                                          <p:spTgt spid="2473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4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4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6" presetClass="emph" presetSubtype="0" fill="hold" nodeType="withEffect">
                                  <p:stCondLst>
                                    <p:cond delay="40"/>
                                  </p:stCondLst>
                                  <p:childTnLst>
                                    <p:animScale>
                                      <p:cBhvr>
                                        <p:cTn id="30" dur="10" fill="hold"/>
                                        <p:tgtEl>
                                          <p:spTgt spid="2474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31" presetID="6" presetClass="emph" presetSubtype="0" decel="100000" fill="hold" nodeType="withEffect">
                                  <p:stCondLst>
                                    <p:cond delay="40"/>
                                  </p:stCondLst>
                                  <p:childTnLst>
                                    <p:animScale>
                                      <p:cBhvr>
                                        <p:cTn id="32" dur="750" fill="hold"/>
                                        <p:tgtEl>
                                          <p:spTgt spid="2474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5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24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6" presetClass="emph" presetSubtype="0" fill="hold" nodeType="withEffect">
                                  <p:stCondLst>
                                    <p:cond delay="50"/>
                                  </p:stCondLst>
                                  <p:childTnLst>
                                    <p:animScale>
                                      <p:cBhvr>
                                        <p:cTn id="37" dur="10" fill="hold"/>
                                        <p:tgtEl>
                                          <p:spTgt spid="2475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38" presetID="6" presetClass="emph" presetSubtype="0" decel="100000" fill="hold" nodeType="withEffect">
                                  <p:stCondLst>
                                    <p:cond delay="50"/>
                                  </p:stCondLst>
                                  <p:childTnLst>
                                    <p:animScale>
                                      <p:cBhvr>
                                        <p:cTn id="39" dur="750" fill="hold"/>
                                        <p:tgtEl>
                                          <p:spTgt spid="2475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6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4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6" presetClass="emph" presetSubtype="0" fill="hold" nodeType="withEffect">
                                  <p:stCondLst>
                                    <p:cond delay="60"/>
                                  </p:stCondLst>
                                  <p:childTnLst>
                                    <p:animScale>
                                      <p:cBhvr>
                                        <p:cTn id="44" dur="10" fill="hold"/>
                                        <p:tgtEl>
                                          <p:spTgt spid="2476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45" presetID="6" presetClass="emph" presetSubtype="0" decel="100000" fill="hold" nodeType="withEffect">
                                  <p:stCondLst>
                                    <p:cond delay="60"/>
                                  </p:stCondLst>
                                  <p:childTnLst>
                                    <p:animScale>
                                      <p:cBhvr>
                                        <p:cTn id="46" dur="750" fill="hold"/>
                                        <p:tgtEl>
                                          <p:spTgt spid="2476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nodeType="withEffect">
                                  <p:stCondLst>
                                    <p:cond delay="7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24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6" presetClass="emph" presetSubtype="0" fill="hold" nodeType="withEffect">
                                  <p:stCondLst>
                                    <p:cond delay="70"/>
                                  </p:stCondLst>
                                  <p:childTnLst>
                                    <p:animScale>
                                      <p:cBhvr>
                                        <p:cTn id="51" dur="10" fill="hold"/>
                                        <p:tgtEl>
                                          <p:spTgt spid="2477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52" presetID="6" presetClass="emph" presetSubtype="0" decel="100000" fill="hold" nodeType="withEffect">
                                  <p:stCondLst>
                                    <p:cond delay="70"/>
                                  </p:stCondLst>
                                  <p:childTnLst>
                                    <p:animScale>
                                      <p:cBhvr>
                                        <p:cTn id="53" dur="750" fill="hold"/>
                                        <p:tgtEl>
                                          <p:spTgt spid="2477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nodeType="withEffect">
                                  <p:stCondLst>
                                    <p:cond delay="8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24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6" presetClass="emph" presetSubtype="0" fill="hold" nodeType="withEffect">
                                  <p:stCondLst>
                                    <p:cond delay="80"/>
                                  </p:stCondLst>
                                  <p:childTnLst>
                                    <p:animScale>
                                      <p:cBhvr>
                                        <p:cTn id="58" dur="10" fill="hold"/>
                                        <p:tgtEl>
                                          <p:spTgt spid="2478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59" presetID="6" presetClass="emph" presetSubtype="0" decel="100000" fill="hold" nodeType="withEffect">
                                  <p:stCondLst>
                                    <p:cond delay="80"/>
                                  </p:stCondLst>
                                  <p:childTnLst>
                                    <p:animScale>
                                      <p:cBhvr>
                                        <p:cTn id="60" dur="750" fill="hold"/>
                                        <p:tgtEl>
                                          <p:spTgt spid="2478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9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24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6" presetClass="emph" presetSubtype="0" fill="hold" nodeType="withEffect">
                                  <p:stCondLst>
                                    <p:cond delay="90"/>
                                  </p:stCondLst>
                                  <p:childTnLst>
                                    <p:animScale>
                                      <p:cBhvr>
                                        <p:cTn id="65" dur="10" fill="hold"/>
                                        <p:tgtEl>
                                          <p:spTgt spid="2479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66" presetID="6" presetClass="emph" presetSubtype="0" decel="100000" fill="hold" nodeType="withEffect">
                                  <p:stCondLst>
                                    <p:cond delay="90"/>
                                  </p:stCondLst>
                                  <p:childTnLst>
                                    <p:animScale>
                                      <p:cBhvr>
                                        <p:cTn id="67" dur="750" fill="hold"/>
                                        <p:tgtEl>
                                          <p:spTgt spid="2479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24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6" presetClass="emph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animScale>
                                      <p:cBhvr>
                                        <p:cTn id="72" dur="10" fill="hold"/>
                                        <p:tgtEl>
                                          <p:spTgt spid="2480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73" presetID="6" presetClass="emph" presetSubtype="0" decel="10000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animScale>
                                      <p:cBhvr>
                                        <p:cTn id="74" dur="750" fill="hold"/>
                                        <p:tgtEl>
                                          <p:spTgt spid="2480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75" presetID="10" presetClass="entr" presetSubtype="0" fill="hold" nodeType="withEffect">
                                  <p:stCondLst>
                                    <p:cond delay="11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24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6" presetClass="emph" presetSubtype="0" fill="hold" nodeType="withEffect">
                                  <p:stCondLst>
                                    <p:cond delay="110"/>
                                  </p:stCondLst>
                                  <p:childTnLst>
                                    <p:animScale>
                                      <p:cBhvr>
                                        <p:cTn id="79" dur="10" fill="hold"/>
                                        <p:tgtEl>
                                          <p:spTgt spid="2481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80" presetID="6" presetClass="emph" presetSubtype="0" decel="100000" fill="hold" nodeType="withEffect">
                                  <p:stCondLst>
                                    <p:cond delay="110"/>
                                  </p:stCondLst>
                                  <p:childTnLst>
                                    <p:animScale>
                                      <p:cBhvr>
                                        <p:cTn id="81" dur="750" fill="hold"/>
                                        <p:tgtEl>
                                          <p:spTgt spid="2481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82" presetID="10" presetClass="entr" presetSubtype="0" fill="hold" nodeType="withEffect">
                                  <p:stCondLst>
                                    <p:cond delay="12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24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6" presetClass="emph" presetSubtype="0" fill="hold" nodeType="withEffect">
                                  <p:stCondLst>
                                    <p:cond delay="120"/>
                                  </p:stCondLst>
                                  <p:childTnLst>
                                    <p:animScale>
                                      <p:cBhvr>
                                        <p:cTn id="86" dur="10" fill="hold"/>
                                        <p:tgtEl>
                                          <p:spTgt spid="2482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87" presetID="6" presetClass="emph" presetSubtype="0" decel="100000" fill="hold" nodeType="withEffect">
                                  <p:stCondLst>
                                    <p:cond delay="120"/>
                                  </p:stCondLst>
                                  <p:childTnLst>
                                    <p:animScale>
                                      <p:cBhvr>
                                        <p:cTn id="88" dur="750" fill="hold"/>
                                        <p:tgtEl>
                                          <p:spTgt spid="2482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89" presetID="10" presetClass="entr" presetSubtype="0" fill="hold" nodeType="withEffect">
                                  <p:stCondLst>
                                    <p:cond delay="13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500"/>
                                        <p:tgtEl>
                                          <p:spTgt spid="24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6" presetClass="emph" presetSubtype="0" fill="hold" nodeType="withEffect">
                                  <p:stCondLst>
                                    <p:cond delay="130"/>
                                  </p:stCondLst>
                                  <p:childTnLst>
                                    <p:animScale>
                                      <p:cBhvr>
                                        <p:cTn id="93" dur="10" fill="hold"/>
                                        <p:tgtEl>
                                          <p:spTgt spid="2483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94" presetID="6" presetClass="emph" presetSubtype="0" decel="100000" fill="hold" nodeType="withEffect">
                                  <p:stCondLst>
                                    <p:cond delay="130"/>
                                  </p:stCondLst>
                                  <p:childTnLst>
                                    <p:animScale>
                                      <p:cBhvr>
                                        <p:cTn id="95" dur="750" fill="hold"/>
                                        <p:tgtEl>
                                          <p:spTgt spid="2483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96" presetID="10" presetClass="entr" presetSubtype="0" fill="hold" nodeType="withEffect">
                                  <p:stCondLst>
                                    <p:cond delay="14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8" dur="500"/>
                                        <p:tgtEl>
                                          <p:spTgt spid="24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9" presetID="6" presetClass="emph" presetSubtype="0" fill="hold" nodeType="withEffect">
                                  <p:stCondLst>
                                    <p:cond delay="140"/>
                                  </p:stCondLst>
                                  <p:childTnLst>
                                    <p:animScale>
                                      <p:cBhvr>
                                        <p:cTn id="100" dur="10" fill="hold"/>
                                        <p:tgtEl>
                                          <p:spTgt spid="2484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101" presetID="6" presetClass="emph" presetSubtype="0" decel="100000" fill="hold" nodeType="withEffect">
                                  <p:stCondLst>
                                    <p:cond delay="140"/>
                                  </p:stCondLst>
                                  <p:childTnLst>
                                    <p:animScale>
                                      <p:cBhvr>
                                        <p:cTn id="102" dur="750" fill="hold"/>
                                        <p:tgtEl>
                                          <p:spTgt spid="2484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103" presetID="10" presetClass="entr" presetSubtype="0" fill="hold" nodeType="withEffect">
                                  <p:stCondLst>
                                    <p:cond delay="15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5" dur="500"/>
                                        <p:tgtEl>
                                          <p:spTgt spid="24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6" presetID="6" presetClass="emph" presetSubtype="0" fill="hold" nodeType="withEffect">
                                  <p:stCondLst>
                                    <p:cond delay="150"/>
                                  </p:stCondLst>
                                  <p:childTnLst>
                                    <p:animScale>
                                      <p:cBhvr>
                                        <p:cTn id="107" dur="10" fill="hold"/>
                                        <p:tgtEl>
                                          <p:spTgt spid="2485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108" presetID="6" presetClass="emph" presetSubtype="0" decel="100000" fill="hold" nodeType="withEffect">
                                  <p:stCondLst>
                                    <p:cond delay="150"/>
                                  </p:stCondLst>
                                  <p:childTnLst>
                                    <p:animScale>
                                      <p:cBhvr>
                                        <p:cTn id="109" dur="750" fill="hold"/>
                                        <p:tgtEl>
                                          <p:spTgt spid="2485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110" presetID="10" presetClass="entr" presetSubtype="0" fill="hold" nodeType="withEffect">
                                  <p:stCondLst>
                                    <p:cond delay="16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2" dur="500"/>
                                        <p:tgtEl>
                                          <p:spTgt spid="24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3" presetID="6" presetClass="emph" presetSubtype="0" fill="hold" nodeType="withEffect">
                                  <p:stCondLst>
                                    <p:cond delay="160"/>
                                  </p:stCondLst>
                                  <p:childTnLst>
                                    <p:animScale>
                                      <p:cBhvr>
                                        <p:cTn id="114" dur="10" fill="hold"/>
                                        <p:tgtEl>
                                          <p:spTgt spid="2486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115" presetID="6" presetClass="emph" presetSubtype="0" decel="100000" fill="hold" nodeType="withEffect">
                                  <p:stCondLst>
                                    <p:cond delay="160"/>
                                  </p:stCondLst>
                                  <p:childTnLst>
                                    <p:animScale>
                                      <p:cBhvr>
                                        <p:cTn id="116" dur="750" fill="hold"/>
                                        <p:tgtEl>
                                          <p:spTgt spid="2486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117" presetID="10" presetClass="entr" presetSubtype="0" fill="hold" nodeType="withEffect">
                                  <p:stCondLst>
                                    <p:cond delay="17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9" dur="500"/>
                                        <p:tgtEl>
                                          <p:spTgt spid="24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0" presetID="6" presetClass="emph" presetSubtype="0" fill="hold" nodeType="withEffect">
                                  <p:stCondLst>
                                    <p:cond delay="170"/>
                                  </p:stCondLst>
                                  <p:childTnLst>
                                    <p:animScale>
                                      <p:cBhvr>
                                        <p:cTn id="121" dur="10" fill="hold"/>
                                        <p:tgtEl>
                                          <p:spTgt spid="2487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122" presetID="6" presetClass="emph" presetSubtype="0" decel="100000" fill="hold" nodeType="withEffect">
                                  <p:stCondLst>
                                    <p:cond delay="170"/>
                                  </p:stCondLst>
                                  <p:childTnLst>
                                    <p:animScale>
                                      <p:cBhvr>
                                        <p:cTn id="123" dur="750" fill="hold"/>
                                        <p:tgtEl>
                                          <p:spTgt spid="2487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124" presetID="10" presetClass="entr" presetSubtype="0" fill="hold" nodeType="withEffect">
                                  <p:stCondLst>
                                    <p:cond delay="180"/>
                                  </p:stCondLst>
                                  <p:childTnLst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6" dur="500"/>
                                        <p:tgtEl>
                                          <p:spTgt spid="24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7" presetID="6" presetClass="emph" presetSubtype="0" fill="hold" nodeType="withEffect">
                                  <p:stCondLst>
                                    <p:cond delay="180"/>
                                  </p:stCondLst>
                                  <p:childTnLst>
                                    <p:animScale>
                                      <p:cBhvr>
                                        <p:cTn id="128" dur="10" fill="hold"/>
                                        <p:tgtEl>
                                          <p:spTgt spid="2488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129" presetID="6" presetClass="emph" presetSubtype="0" decel="100000" fill="hold" nodeType="withEffect">
                                  <p:stCondLst>
                                    <p:cond delay="180"/>
                                  </p:stCondLst>
                                  <p:childTnLst>
                                    <p:animScale>
                                      <p:cBhvr>
                                        <p:cTn id="130" dur="750" fill="hold"/>
                                        <p:tgtEl>
                                          <p:spTgt spid="2488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131" presetID="10" presetClass="entr" presetSubtype="0" fill="hold" nodeType="withEffect">
                                  <p:stCondLst>
                                    <p:cond delay="19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3" dur="500"/>
                                        <p:tgtEl>
                                          <p:spTgt spid="24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4" presetID="6" presetClass="emph" presetSubtype="0" fill="hold" nodeType="withEffect">
                                  <p:stCondLst>
                                    <p:cond delay="190"/>
                                  </p:stCondLst>
                                  <p:childTnLst>
                                    <p:animScale>
                                      <p:cBhvr>
                                        <p:cTn id="135" dur="10" fill="hold"/>
                                        <p:tgtEl>
                                          <p:spTgt spid="2489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136" presetID="6" presetClass="emph" presetSubtype="0" decel="100000" fill="hold" nodeType="withEffect">
                                  <p:stCondLst>
                                    <p:cond delay="190"/>
                                  </p:stCondLst>
                                  <p:childTnLst>
                                    <p:animScale>
                                      <p:cBhvr>
                                        <p:cTn id="137" dur="750" fill="hold"/>
                                        <p:tgtEl>
                                          <p:spTgt spid="2489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138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0" dur="500"/>
                                        <p:tgtEl>
                                          <p:spTgt spid="24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1" presetID="6" presetClass="emph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Scale>
                                      <p:cBhvr>
                                        <p:cTn id="142" dur="10" fill="hold"/>
                                        <p:tgtEl>
                                          <p:spTgt spid="2490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143" presetID="6" presetClass="emph" presetSubtype="0" decel="10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Scale>
                                      <p:cBhvr>
                                        <p:cTn id="144" dur="750" fill="hold"/>
                                        <p:tgtEl>
                                          <p:spTgt spid="2490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145" presetID="10" presetClass="entr" presetSubtype="0" fill="hold" nodeType="withEffect">
                                  <p:stCondLst>
                                    <p:cond delay="21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7" dur="500"/>
                                        <p:tgtEl>
                                          <p:spTgt spid="24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8" presetID="6" presetClass="emph" presetSubtype="0" fill="hold" nodeType="withEffect">
                                  <p:stCondLst>
                                    <p:cond delay="210"/>
                                  </p:stCondLst>
                                  <p:childTnLst>
                                    <p:animScale>
                                      <p:cBhvr>
                                        <p:cTn id="149" dur="10" fill="hold"/>
                                        <p:tgtEl>
                                          <p:spTgt spid="2491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150" presetID="6" presetClass="emph" presetSubtype="0" decel="100000" fill="hold" nodeType="withEffect">
                                  <p:stCondLst>
                                    <p:cond delay="210"/>
                                  </p:stCondLst>
                                  <p:childTnLst>
                                    <p:animScale>
                                      <p:cBhvr>
                                        <p:cTn id="151" dur="750" fill="hold"/>
                                        <p:tgtEl>
                                          <p:spTgt spid="2491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152" presetID="10" presetClass="entr" presetSubtype="0" fill="hold" nodeType="withEffect">
                                  <p:stCondLst>
                                    <p:cond delay="220"/>
                                  </p:stCondLst>
                                  <p:childTnLst>
                                    <p:set>
                                      <p:cBhvr>
                                        <p:cTn id="1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4" dur="500"/>
                                        <p:tgtEl>
                                          <p:spTgt spid="24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5" presetID="6" presetClass="emph" presetSubtype="0" fill="hold" nodeType="withEffect">
                                  <p:stCondLst>
                                    <p:cond delay="220"/>
                                  </p:stCondLst>
                                  <p:childTnLst>
                                    <p:animScale>
                                      <p:cBhvr>
                                        <p:cTn id="156" dur="10" fill="hold"/>
                                        <p:tgtEl>
                                          <p:spTgt spid="2492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157" presetID="6" presetClass="emph" presetSubtype="0" decel="100000" fill="hold" nodeType="withEffect">
                                  <p:stCondLst>
                                    <p:cond delay="220"/>
                                  </p:stCondLst>
                                  <p:childTnLst>
                                    <p:animScale>
                                      <p:cBhvr>
                                        <p:cTn id="158" dur="750" fill="hold"/>
                                        <p:tgtEl>
                                          <p:spTgt spid="2492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159" presetID="10" presetClass="entr" presetSubtype="0" fill="hold" nodeType="withEffect">
                                  <p:stCondLst>
                                    <p:cond delay="230"/>
                                  </p:stCondLst>
                                  <p:childTnLst>
                                    <p:set>
                                      <p:cBhvr>
                                        <p:cTn id="1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1" dur="500"/>
                                        <p:tgtEl>
                                          <p:spTgt spid="24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2" presetID="6" presetClass="emph" presetSubtype="0" fill="hold" nodeType="withEffect">
                                  <p:stCondLst>
                                    <p:cond delay="230"/>
                                  </p:stCondLst>
                                  <p:childTnLst>
                                    <p:animScale>
                                      <p:cBhvr>
                                        <p:cTn id="163" dur="10" fill="hold"/>
                                        <p:tgtEl>
                                          <p:spTgt spid="2493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164" presetID="6" presetClass="emph" presetSubtype="0" decel="100000" fill="hold" nodeType="withEffect">
                                  <p:stCondLst>
                                    <p:cond delay="230"/>
                                  </p:stCondLst>
                                  <p:childTnLst>
                                    <p:animScale>
                                      <p:cBhvr>
                                        <p:cTn id="165" dur="750" fill="hold"/>
                                        <p:tgtEl>
                                          <p:spTgt spid="2493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166" presetID="10" presetClass="entr" presetSubtype="0" fill="hold" nodeType="withEffect">
                                  <p:stCondLst>
                                    <p:cond delay="240"/>
                                  </p:stCondLst>
                                  <p:childTnLst>
                                    <p:set>
                                      <p:cBhvr>
                                        <p:cTn id="1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8" dur="500"/>
                                        <p:tgtEl>
                                          <p:spTgt spid="24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9" presetID="6" presetClass="emph" presetSubtype="0" fill="hold" nodeType="withEffect">
                                  <p:stCondLst>
                                    <p:cond delay="240"/>
                                  </p:stCondLst>
                                  <p:childTnLst>
                                    <p:animScale>
                                      <p:cBhvr>
                                        <p:cTn id="170" dur="10" fill="hold"/>
                                        <p:tgtEl>
                                          <p:spTgt spid="2494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171" presetID="6" presetClass="emph" presetSubtype="0" decel="100000" fill="hold" nodeType="withEffect">
                                  <p:stCondLst>
                                    <p:cond delay="240"/>
                                  </p:stCondLst>
                                  <p:childTnLst>
                                    <p:animScale>
                                      <p:cBhvr>
                                        <p:cTn id="172" dur="750" fill="hold"/>
                                        <p:tgtEl>
                                          <p:spTgt spid="2494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173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5" dur="500"/>
                                        <p:tgtEl>
                                          <p:spTgt spid="24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6" presetID="6" presetClass="emph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177" dur="10" fill="hold"/>
                                        <p:tgtEl>
                                          <p:spTgt spid="2495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178" presetID="6" presetClass="emph" presetSubtype="0" decel="10000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179" dur="750" fill="hold"/>
                                        <p:tgtEl>
                                          <p:spTgt spid="2495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180" presetID="10" presetClass="entr" presetSubtype="0" fill="hold" nodeType="withEffect">
                                  <p:stCondLst>
                                    <p:cond delay="260"/>
                                  </p:stCondLst>
                                  <p:childTnLst>
                                    <p:set>
                                      <p:cBhvr>
                                        <p:cTn id="1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2" dur="500"/>
                                        <p:tgtEl>
                                          <p:spTgt spid="24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3" presetID="6" presetClass="emph" presetSubtype="0" fill="hold" nodeType="withEffect">
                                  <p:stCondLst>
                                    <p:cond delay="260"/>
                                  </p:stCondLst>
                                  <p:childTnLst>
                                    <p:animScale>
                                      <p:cBhvr>
                                        <p:cTn id="184" dur="10" fill="hold"/>
                                        <p:tgtEl>
                                          <p:spTgt spid="2496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185" presetID="6" presetClass="emph" presetSubtype="0" decel="100000" fill="hold" nodeType="withEffect">
                                  <p:stCondLst>
                                    <p:cond delay="260"/>
                                  </p:stCondLst>
                                  <p:childTnLst>
                                    <p:animScale>
                                      <p:cBhvr>
                                        <p:cTn id="186" dur="750" fill="hold"/>
                                        <p:tgtEl>
                                          <p:spTgt spid="2496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187" presetID="10" presetClass="entr" presetSubtype="0" fill="hold" nodeType="withEffect">
                                  <p:stCondLst>
                                    <p:cond delay="270"/>
                                  </p:stCondLst>
                                  <p:childTnLst>
                                    <p:set>
                                      <p:cBhvr>
                                        <p:cTn id="1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9" dur="500"/>
                                        <p:tgtEl>
                                          <p:spTgt spid="24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0" presetID="6" presetClass="emph" presetSubtype="0" fill="hold" nodeType="withEffect">
                                  <p:stCondLst>
                                    <p:cond delay="270"/>
                                  </p:stCondLst>
                                  <p:childTnLst>
                                    <p:animScale>
                                      <p:cBhvr>
                                        <p:cTn id="191" dur="10" fill="hold"/>
                                        <p:tgtEl>
                                          <p:spTgt spid="2497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192" presetID="6" presetClass="emph" presetSubtype="0" decel="100000" fill="hold" nodeType="withEffect">
                                  <p:stCondLst>
                                    <p:cond delay="270"/>
                                  </p:stCondLst>
                                  <p:childTnLst>
                                    <p:animScale>
                                      <p:cBhvr>
                                        <p:cTn id="193" dur="750" fill="hold"/>
                                        <p:tgtEl>
                                          <p:spTgt spid="2497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194" presetID="10" presetClass="entr" presetSubtype="0" fill="hold" nodeType="withEffect">
                                  <p:stCondLst>
                                    <p:cond delay="280"/>
                                  </p:stCondLst>
                                  <p:childTnLst>
                                    <p:set>
                                      <p:cBhvr>
                                        <p:cTn id="1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6" dur="500"/>
                                        <p:tgtEl>
                                          <p:spTgt spid="24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7" presetID="6" presetClass="emph" presetSubtype="0" fill="hold" nodeType="withEffect">
                                  <p:stCondLst>
                                    <p:cond delay="280"/>
                                  </p:stCondLst>
                                  <p:childTnLst>
                                    <p:animScale>
                                      <p:cBhvr>
                                        <p:cTn id="198" dur="10" fill="hold"/>
                                        <p:tgtEl>
                                          <p:spTgt spid="2498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199" presetID="6" presetClass="emph" presetSubtype="0" decel="100000" fill="hold" nodeType="withEffect">
                                  <p:stCondLst>
                                    <p:cond delay="280"/>
                                  </p:stCondLst>
                                  <p:childTnLst>
                                    <p:animScale>
                                      <p:cBhvr>
                                        <p:cTn id="200" dur="750" fill="hold"/>
                                        <p:tgtEl>
                                          <p:spTgt spid="2498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201" presetID="10" presetClass="entr" presetSubtype="0" fill="hold" nodeType="withEffect">
                                  <p:stCondLst>
                                    <p:cond delay="290"/>
                                  </p:stCondLst>
                                  <p:childTnLst>
                                    <p:set>
                                      <p:cBhvr>
                                        <p:cTn id="2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3" dur="500"/>
                                        <p:tgtEl>
                                          <p:spTgt spid="24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4" presetID="6" presetClass="emph" presetSubtype="0" fill="hold" nodeType="withEffect">
                                  <p:stCondLst>
                                    <p:cond delay="290"/>
                                  </p:stCondLst>
                                  <p:childTnLst>
                                    <p:animScale>
                                      <p:cBhvr>
                                        <p:cTn id="205" dur="10" fill="hold"/>
                                        <p:tgtEl>
                                          <p:spTgt spid="2499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206" presetID="6" presetClass="emph" presetSubtype="0" decel="100000" fill="hold" nodeType="withEffect">
                                  <p:stCondLst>
                                    <p:cond delay="290"/>
                                  </p:stCondLst>
                                  <p:childTnLst>
                                    <p:animScale>
                                      <p:cBhvr>
                                        <p:cTn id="207" dur="750" fill="hold"/>
                                        <p:tgtEl>
                                          <p:spTgt spid="2499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208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0" dur="500"/>
                                        <p:tgtEl>
                                          <p:spTgt spid="25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1" presetID="6" presetClass="emph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Scale>
                                      <p:cBhvr>
                                        <p:cTn id="212" dur="10" fill="hold"/>
                                        <p:tgtEl>
                                          <p:spTgt spid="2500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213" presetID="6" presetClass="emph" presetSubtype="0" decel="100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Scale>
                                      <p:cBhvr>
                                        <p:cTn id="214" dur="750" fill="hold"/>
                                        <p:tgtEl>
                                          <p:spTgt spid="2500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215" presetID="10" presetClass="entr" presetSubtype="0" fill="hold" nodeType="withEffect">
                                  <p:stCondLst>
                                    <p:cond delay="310"/>
                                  </p:stCondLst>
                                  <p:childTnLst>
                                    <p:set>
                                      <p:cBhvr>
                                        <p:cTn id="2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7" dur="500"/>
                                        <p:tgtEl>
                                          <p:spTgt spid="25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8" presetID="6" presetClass="emph" presetSubtype="0" fill="hold" nodeType="withEffect">
                                  <p:stCondLst>
                                    <p:cond delay="310"/>
                                  </p:stCondLst>
                                  <p:childTnLst>
                                    <p:animScale>
                                      <p:cBhvr>
                                        <p:cTn id="219" dur="10" fill="hold"/>
                                        <p:tgtEl>
                                          <p:spTgt spid="2501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220" presetID="6" presetClass="emph" presetSubtype="0" decel="100000" fill="hold" nodeType="withEffect">
                                  <p:stCondLst>
                                    <p:cond delay="310"/>
                                  </p:stCondLst>
                                  <p:childTnLst>
                                    <p:animScale>
                                      <p:cBhvr>
                                        <p:cTn id="221" dur="750" fill="hold"/>
                                        <p:tgtEl>
                                          <p:spTgt spid="2501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222" presetID="10" presetClass="entr" presetSubtype="0" fill="hold" nodeType="withEffect">
                                  <p:stCondLst>
                                    <p:cond delay="320"/>
                                  </p:stCondLst>
                                  <p:childTnLst>
                                    <p:set>
                                      <p:cBhvr>
                                        <p:cTn id="2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4" dur="500"/>
                                        <p:tgtEl>
                                          <p:spTgt spid="25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5" presetID="6" presetClass="emph" presetSubtype="0" fill="hold" nodeType="withEffect">
                                  <p:stCondLst>
                                    <p:cond delay="320"/>
                                  </p:stCondLst>
                                  <p:childTnLst>
                                    <p:animScale>
                                      <p:cBhvr>
                                        <p:cTn id="226" dur="10" fill="hold"/>
                                        <p:tgtEl>
                                          <p:spTgt spid="2502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227" presetID="6" presetClass="emph" presetSubtype="0" decel="100000" fill="hold" nodeType="withEffect">
                                  <p:stCondLst>
                                    <p:cond delay="320"/>
                                  </p:stCondLst>
                                  <p:childTnLst>
                                    <p:animScale>
                                      <p:cBhvr>
                                        <p:cTn id="228" dur="750" fill="hold"/>
                                        <p:tgtEl>
                                          <p:spTgt spid="2502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229" presetID="10" presetClass="entr" presetSubtype="0" fill="hold" nodeType="withEffect">
                                  <p:stCondLst>
                                    <p:cond delay="330"/>
                                  </p:stCondLst>
                                  <p:childTnLst>
                                    <p:set>
                                      <p:cBhvr>
                                        <p:cTn id="2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1" dur="500"/>
                                        <p:tgtEl>
                                          <p:spTgt spid="25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2" presetID="6" presetClass="emph" presetSubtype="0" fill="hold" nodeType="withEffect">
                                  <p:stCondLst>
                                    <p:cond delay="330"/>
                                  </p:stCondLst>
                                  <p:childTnLst>
                                    <p:animScale>
                                      <p:cBhvr>
                                        <p:cTn id="233" dur="10" fill="hold"/>
                                        <p:tgtEl>
                                          <p:spTgt spid="2503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234" presetID="6" presetClass="emph" presetSubtype="0" decel="100000" fill="hold" nodeType="withEffect">
                                  <p:stCondLst>
                                    <p:cond delay="330"/>
                                  </p:stCondLst>
                                  <p:childTnLst>
                                    <p:animScale>
                                      <p:cBhvr>
                                        <p:cTn id="235" dur="750" fill="hold"/>
                                        <p:tgtEl>
                                          <p:spTgt spid="2503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236" presetID="10" presetClass="entr" presetSubtype="0" fill="hold" nodeType="withEffect">
                                  <p:stCondLst>
                                    <p:cond delay="340"/>
                                  </p:stCondLst>
                                  <p:childTnLst>
                                    <p:set>
                                      <p:cBhvr>
                                        <p:cTn id="2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8" dur="500"/>
                                        <p:tgtEl>
                                          <p:spTgt spid="25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9" presetID="6" presetClass="emph" presetSubtype="0" fill="hold" nodeType="withEffect">
                                  <p:stCondLst>
                                    <p:cond delay="340"/>
                                  </p:stCondLst>
                                  <p:childTnLst>
                                    <p:animScale>
                                      <p:cBhvr>
                                        <p:cTn id="240" dur="10" fill="hold"/>
                                        <p:tgtEl>
                                          <p:spTgt spid="2504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241" presetID="6" presetClass="emph" presetSubtype="0" decel="100000" fill="hold" nodeType="withEffect">
                                  <p:stCondLst>
                                    <p:cond delay="340"/>
                                  </p:stCondLst>
                                  <p:childTnLst>
                                    <p:animScale>
                                      <p:cBhvr>
                                        <p:cTn id="242" dur="750" fill="hold"/>
                                        <p:tgtEl>
                                          <p:spTgt spid="2504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243" presetID="10" presetClass="entr" presetSubtype="0" fill="hold" nodeType="withEffect">
                                  <p:stCondLst>
                                    <p:cond delay="350"/>
                                  </p:stCondLst>
                                  <p:childTnLst>
                                    <p:set>
                                      <p:cBhvr>
                                        <p:cTn id="2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5" dur="500"/>
                                        <p:tgtEl>
                                          <p:spTgt spid="25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6" presetID="6" presetClass="emph" presetSubtype="0" fill="hold" nodeType="withEffect">
                                  <p:stCondLst>
                                    <p:cond delay="350"/>
                                  </p:stCondLst>
                                  <p:childTnLst>
                                    <p:animScale>
                                      <p:cBhvr>
                                        <p:cTn id="247" dur="10" fill="hold"/>
                                        <p:tgtEl>
                                          <p:spTgt spid="2505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248" presetID="6" presetClass="emph" presetSubtype="0" decel="100000" fill="hold" nodeType="withEffect">
                                  <p:stCondLst>
                                    <p:cond delay="350"/>
                                  </p:stCondLst>
                                  <p:childTnLst>
                                    <p:animScale>
                                      <p:cBhvr>
                                        <p:cTn id="249" dur="750" fill="hold"/>
                                        <p:tgtEl>
                                          <p:spTgt spid="2505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250" presetID="10" presetClass="entr" presetSubtype="0" fill="hold" nodeType="withEffect">
                                  <p:stCondLst>
                                    <p:cond delay="360"/>
                                  </p:stCondLst>
                                  <p:childTnLst>
                                    <p:set>
                                      <p:cBhvr>
                                        <p:cTn id="2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2" dur="500"/>
                                        <p:tgtEl>
                                          <p:spTgt spid="25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3" presetID="6" presetClass="emph" presetSubtype="0" fill="hold" nodeType="withEffect">
                                  <p:stCondLst>
                                    <p:cond delay="360"/>
                                  </p:stCondLst>
                                  <p:childTnLst>
                                    <p:animScale>
                                      <p:cBhvr>
                                        <p:cTn id="254" dur="10" fill="hold"/>
                                        <p:tgtEl>
                                          <p:spTgt spid="2506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255" presetID="6" presetClass="emph" presetSubtype="0" decel="100000" fill="hold" nodeType="withEffect">
                                  <p:stCondLst>
                                    <p:cond delay="360"/>
                                  </p:stCondLst>
                                  <p:childTnLst>
                                    <p:animScale>
                                      <p:cBhvr>
                                        <p:cTn id="256" dur="750" fill="hold"/>
                                        <p:tgtEl>
                                          <p:spTgt spid="2506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257" presetID="10" presetClass="entr" presetSubtype="0" fill="hold" nodeType="withEffect">
                                  <p:stCondLst>
                                    <p:cond delay="370"/>
                                  </p:stCondLst>
                                  <p:childTnLst>
                                    <p:set>
                                      <p:cBhvr>
                                        <p:cTn id="2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9" dur="500"/>
                                        <p:tgtEl>
                                          <p:spTgt spid="25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0" presetID="6" presetClass="emph" presetSubtype="0" fill="hold" nodeType="withEffect">
                                  <p:stCondLst>
                                    <p:cond delay="370"/>
                                  </p:stCondLst>
                                  <p:childTnLst>
                                    <p:animScale>
                                      <p:cBhvr>
                                        <p:cTn id="261" dur="10" fill="hold"/>
                                        <p:tgtEl>
                                          <p:spTgt spid="2507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262" presetID="6" presetClass="emph" presetSubtype="0" decel="100000" fill="hold" nodeType="withEffect">
                                  <p:stCondLst>
                                    <p:cond delay="370"/>
                                  </p:stCondLst>
                                  <p:childTnLst>
                                    <p:animScale>
                                      <p:cBhvr>
                                        <p:cTn id="263" dur="750" fill="hold"/>
                                        <p:tgtEl>
                                          <p:spTgt spid="2507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264" presetID="10" presetClass="entr" presetSubtype="0" fill="hold" nodeType="withEffect">
                                  <p:stCondLst>
                                    <p:cond delay="380"/>
                                  </p:stCondLst>
                                  <p:childTnLst>
                                    <p:set>
                                      <p:cBhvr>
                                        <p:cTn id="2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6" dur="500"/>
                                        <p:tgtEl>
                                          <p:spTgt spid="25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7" presetID="6" presetClass="emph" presetSubtype="0" fill="hold" nodeType="withEffect">
                                  <p:stCondLst>
                                    <p:cond delay="380"/>
                                  </p:stCondLst>
                                  <p:childTnLst>
                                    <p:animScale>
                                      <p:cBhvr>
                                        <p:cTn id="268" dur="10" fill="hold"/>
                                        <p:tgtEl>
                                          <p:spTgt spid="2508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269" presetID="6" presetClass="emph" presetSubtype="0" decel="100000" fill="hold" nodeType="withEffect">
                                  <p:stCondLst>
                                    <p:cond delay="380"/>
                                  </p:stCondLst>
                                  <p:childTnLst>
                                    <p:animScale>
                                      <p:cBhvr>
                                        <p:cTn id="270" dur="750" fill="hold"/>
                                        <p:tgtEl>
                                          <p:spTgt spid="2508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271" presetID="10" presetClass="entr" presetSubtype="0" fill="hold" nodeType="withEffect">
                                  <p:stCondLst>
                                    <p:cond delay="390"/>
                                  </p:stCondLst>
                                  <p:childTnLst>
                                    <p:set>
                                      <p:cBhvr>
                                        <p:cTn id="2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3" dur="500"/>
                                        <p:tgtEl>
                                          <p:spTgt spid="25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4" presetID="6" presetClass="emph" presetSubtype="0" fill="hold" nodeType="withEffect">
                                  <p:stCondLst>
                                    <p:cond delay="390"/>
                                  </p:stCondLst>
                                  <p:childTnLst>
                                    <p:animScale>
                                      <p:cBhvr>
                                        <p:cTn id="275" dur="10" fill="hold"/>
                                        <p:tgtEl>
                                          <p:spTgt spid="2509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276" presetID="6" presetClass="emph" presetSubtype="0" decel="100000" fill="hold" nodeType="withEffect">
                                  <p:stCondLst>
                                    <p:cond delay="390"/>
                                  </p:stCondLst>
                                  <p:childTnLst>
                                    <p:animScale>
                                      <p:cBhvr>
                                        <p:cTn id="277" dur="750" fill="hold"/>
                                        <p:tgtEl>
                                          <p:spTgt spid="2509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278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0" dur="500"/>
                                        <p:tgtEl>
                                          <p:spTgt spid="25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1" presetID="6" presetClass="emph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animScale>
                                      <p:cBhvr>
                                        <p:cTn id="282" dur="10" fill="hold"/>
                                        <p:tgtEl>
                                          <p:spTgt spid="2510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283" presetID="6" presetClass="emph" presetSubtype="0" decel="10000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animScale>
                                      <p:cBhvr>
                                        <p:cTn id="284" dur="750" fill="hold"/>
                                        <p:tgtEl>
                                          <p:spTgt spid="2510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285" presetID="10" presetClass="entr" presetSubtype="0" fill="hold" nodeType="withEffect">
                                  <p:stCondLst>
                                    <p:cond delay="410"/>
                                  </p:stCondLst>
                                  <p:childTnLst>
                                    <p:set>
                                      <p:cBhvr>
                                        <p:cTn id="2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7" dur="500"/>
                                        <p:tgtEl>
                                          <p:spTgt spid="25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8" presetID="6" presetClass="emph" presetSubtype="0" fill="hold" nodeType="withEffect">
                                  <p:stCondLst>
                                    <p:cond delay="410"/>
                                  </p:stCondLst>
                                  <p:childTnLst>
                                    <p:animScale>
                                      <p:cBhvr>
                                        <p:cTn id="289" dur="10" fill="hold"/>
                                        <p:tgtEl>
                                          <p:spTgt spid="2511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290" presetID="6" presetClass="emph" presetSubtype="0" decel="100000" fill="hold" nodeType="withEffect">
                                  <p:stCondLst>
                                    <p:cond delay="410"/>
                                  </p:stCondLst>
                                  <p:childTnLst>
                                    <p:animScale>
                                      <p:cBhvr>
                                        <p:cTn id="291" dur="750" fill="hold"/>
                                        <p:tgtEl>
                                          <p:spTgt spid="2511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292" presetID="10" presetClass="entr" presetSubtype="0" fill="hold" nodeType="withEffect">
                                  <p:stCondLst>
                                    <p:cond delay="420"/>
                                  </p:stCondLst>
                                  <p:childTnLst>
                                    <p:set>
                                      <p:cBhvr>
                                        <p:cTn id="2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4" dur="500"/>
                                        <p:tgtEl>
                                          <p:spTgt spid="25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5" presetID="6" presetClass="emph" presetSubtype="0" fill="hold" nodeType="withEffect">
                                  <p:stCondLst>
                                    <p:cond delay="420"/>
                                  </p:stCondLst>
                                  <p:childTnLst>
                                    <p:animScale>
                                      <p:cBhvr>
                                        <p:cTn id="296" dur="10" fill="hold"/>
                                        <p:tgtEl>
                                          <p:spTgt spid="2512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297" presetID="6" presetClass="emph" presetSubtype="0" decel="100000" fill="hold" nodeType="withEffect">
                                  <p:stCondLst>
                                    <p:cond delay="420"/>
                                  </p:stCondLst>
                                  <p:childTnLst>
                                    <p:animScale>
                                      <p:cBhvr>
                                        <p:cTn id="298" dur="750" fill="hold"/>
                                        <p:tgtEl>
                                          <p:spTgt spid="2512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299" presetID="10" presetClass="entr" presetSubtype="0" fill="hold" nodeType="withEffect">
                                  <p:stCondLst>
                                    <p:cond delay="430"/>
                                  </p:stCondLst>
                                  <p:childTnLst>
                                    <p:set>
                                      <p:cBhvr>
                                        <p:cTn id="3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1" dur="500"/>
                                        <p:tgtEl>
                                          <p:spTgt spid="25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2" presetID="6" presetClass="emph" presetSubtype="0" fill="hold" nodeType="withEffect">
                                  <p:stCondLst>
                                    <p:cond delay="430"/>
                                  </p:stCondLst>
                                  <p:childTnLst>
                                    <p:animScale>
                                      <p:cBhvr>
                                        <p:cTn id="303" dur="10" fill="hold"/>
                                        <p:tgtEl>
                                          <p:spTgt spid="2513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304" presetID="6" presetClass="emph" presetSubtype="0" decel="100000" fill="hold" nodeType="withEffect">
                                  <p:stCondLst>
                                    <p:cond delay="430"/>
                                  </p:stCondLst>
                                  <p:childTnLst>
                                    <p:animScale>
                                      <p:cBhvr>
                                        <p:cTn id="305" dur="750" fill="hold"/>
                                        <p:tgtEl>
                                          <p:spTgt spid="2513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306" presetID="10" presetClass="entr" presetSubtype="0" fill="hold" nodeType="withEffect">
                                  <p:stCondLst>
                                    <p:cond delay="440"/>
                                  </p:stCondLst>
                                  <p:childTnLst>
                                    <p:set>
                                      <p:cBhvr>
                                        <p:cTn id="3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8" dur="500"/>
                                        <p:tgtEl>
                                          <p:spTgt spid="25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9" presetID="6" presetClass="emph" presetSubtype="0" fill="hold" nodeType="withEffect">
                                  <p:stCondLst>
                                    <p:cond delay="440"/>
                                  </p:stCondLst>
                                  <p:childTnLst>
                                    <p:animScale>
                                      <p:cBhvr>
                                        <p:cTn id="310" dur="10" fill="hold"/>
                                        <p:tgtEl>
                                          <p:spTgt spid="2514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311" presetID="6" presetClass="emph" presetSubtype="0" decel="100000" fill="hold" nodeType="withEffect">
                                  <p:stCondLst>
                                    <p:cond delay="440"/>
                                  </p:stCondLst>
                                  <p:childTnLst>
                                    <p:animScale>
                                      <p:cBhvr>
                                        <p:cTn id="312" dur="750" fill="hold"/>
                                        <p:tgtEl>
                                          <p:spTgt spid="2514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313" presetID="10" presetClass="entr" presetSubtype="0" fill="hold" nodeType="withEffect">
                                  <p:stCondLst>
                                    <p:cond delay="450"/>
                                  </p:stCondLst>
                                  <p:childTnLst>
                                    <p:set>
                                      <p:cBhvr>
                                        <p:cTn id="3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5" dur="500"/>
                                        <p:tgtEl>
                                          <p:spTgt spid="25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6" presetID="6" presetClass="emph" presetSubtype="0" fill="hold" nodeType="withEffect">
                                  <p:stCondLst>
                                    <p:cond delay="450"/>
                                  </p:stCondLst>
                                  <p:childTnLst>
                                    <p:animScale>
                                      <p:cBhvr>
                                        <p:cTn id="317" dur="10" fill="hold"/>
                                        <p:tgtEl>
                                          <p:spTgt spid="2515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318" presetID="6" presetClass="emph" presetSubtype="0" decel="100000" fill="hold" nodeType="withEffect">
                                  <p:stCondLst>
                                    <p:cond delay="450"/>
                                  </p:stCondLst>
                                  <p:childTnLst>
                                    <p:animScale>
                                      <p:cBhvr>
                                        <p:cTn id="319" dur="750" fill="hold"/>
                                        <p:tgtEl>
                                          <p:spTgt spid="2515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320" presetID="10" presetClass="entr" presetSubtype="0" fill="hold" nodeType="withEffect">
                                  <p:stCondLst>
                                    <p:cond delay="460"/>
                                  </p:stCondLst>
                                  <p:childTnLst>
                                    <p:set>
                                      <p:cBhvr>
                                        <p:cTn id="3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2" dur="500"/>
                                        <p:tgtEl>
                                          <p:spTgt spid="25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3" presetID="6" presetClass="emph" presetSubtype="0" fill="hold" nodeType="withEffect">
                                  <p:stCondLst>
                                    <p:cond delay="460"/>
                                  </p:stCondLst>
                                  <p:childTnLst>
                                    <p:animScale>
                                      <p:cBhvr>
                                        <p:cTn id="324" dur="10" fill="hold"/>
                                        <p:tgtEl>
                                          <p:spTgt spid="2516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325" presetID="6" presetClass="emph" presetSubtype="0" decel="100000" fill="hold" nodeType="withEffect">
                                  <p:stCondLst>
                                    <p:cond delay="460"/>
                                  </p:stCondLst>
                                  <p:childTnLst>
                                    <p:animScale>
                                      <p:cBhvr>
                                        <p:cTn id="326" dur="750" fill="hold"/>
                                        <p:tgtEl>
                                          <p:spTgt spid="2516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327" presetID="10" presetClass="entr" presetSubtype="0" fill="hold" nodeType="withEffect">
                                  <p:stCondLst>
                                    <p:cond delay="470"/>
                                  </p:stCondLst>
                                  <p:childTnLst>
                                    <p:set>
                                      <p:cBhvr>
                                        <p:cTn id="3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9" dur="500"/>
                                        <p:tgtEl>
                                          <p:spTgt spid="25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0" presetID="6" presetClass="emph" presetSubtype="0" fill="hold" nodeType="withEffect">
                                  <p:stCondLst>
                                    <p:cond delay="470"/>
                                  </p:stCondLst>
                                  <p:childTnLst>
                                    <p:animScale>
                                      <p:cBhvr>
                                        <p:cTn id="331" dur="10" fill="hold"/>
                                        <p:tgtEl>
                                          <p:spTgt spid="2517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332" presetID="6" presetClass="emph" presetSubtype="0" decel="100000" fill="hold" nodeType="withEffect">
                                  <p:stCondLst>
                                    <p:cond delay="470"/>
                                  </p:stCondLst>
                                  <p:childTnLst>
                                    <p:animScale>
                                      <p:cBhvr>
                                        <p:cTn id="333" dur="750" fill="hold"/>
                                        <p:tgtEl>
                                          <p:spTgt spid="2517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334" presetID="10" presetClass="entr" presetSubtype="0" fill="hold" nodeType="withEffect">
                                  <p:stCondLst>
                                    <p:cond delay="480"/>
                                  </p:stCondLst>
                                  <p:childTnLst>
                                    <p:set>
                                      <p:cBhvr>
                                        <p:cTn id="3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6" dur="500"/>
                                        <p:tgtEl>
                                          <p:spTgt spid="25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7" presetID="6" presetClass="emph" presetSubtype="0" fill="hold" nodeType="withEffect">
                                  <p:stCondLst>
                                    <p:cond delay="480"/>
                                  </p:stCondLst>
                                  <p:childTnLst>
                                    <p:animScale>
                                      <p:cBhvr>
                                        <p:cTn id="338" dur="10" fill="hold"/>
                                        <p:tgtEl>
                                          <p:spTgt spid="2518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339" presetID="6" presetClass="emph" presetSubtype="0" decel="100000" fill="hold" nodeType="withEffect">
                                  <p:stCondLst>
                                    <p:cond delay="480"/>
                                  </p:stCondLst>
                                  <p:childTnLst>
                                    <p:animScale>
                                      <p:cBhvr>
                                        <p:cTn id="340" dur="750" fill="hold"/>
                                        <p:tgtEl>
                                          <p:spTgt spid="2518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341" presetID="10" presetClass="entr" presetSubtype="0" fill="hold" nodeType="withEffect">
                                  <p:stCondLst>
                                    <p:cond delay="490"/>
                                  </p:stCondLst>
                                  <p:childTnLst>
                                    <p:set>
                                      <p:cBhvr>
                                        <p:cTn id="3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3" dur="500"/>
                                        <p:tgtEl>
                                          <p:spTgt spid="25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4" presetID="6" presetClass="emph" presetSubtype="0" fill="hold" nodeType="withEffect">
                                  <p:stCondLst>
                                    <p:cond delay="490"/>
                                  </p:stCondLst>
                                  <p:childTnLst>
                                    <p:animScale>
                                      <p:cBhvr>
                                        <p:cTn id="345" dur="10" fill="hold"/>
                                        <p:tgtEl>
                                          <p:spTgt spid="2519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346" presetID="6" presetClass="emph" presetSubtype="0" decel="100000" fill="hold" nodeType="withEffect">
                                  <p:stCondLst>
                                    <p:cond delay="490"/>
                                  </p:stCondLst>
                                  <p:childTnLst>
                                    <p:animScale>
                                      <p:cBhvr>
                                        <p:cTn id="347" dur="750" fill="hold"/>
                                        <p:tgtEl>
                                          <p:spTgt spid="2519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348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0" dur="500"/>
                                        <p:tgtEl>
                                          <p:spTgt spid="25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1" presetID="6" presetClass="emph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Scale>
                                      <p:cBhvr>
                                        <p:cTn id="352" dur="10" fill="hold"/>
                                        <p:tgtEl>
                                          <p:spTgt spid="2520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353" presetID="6" presetClass="emph" presetSubtype="0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Scale>
                                      <p:cBhvr>
                                        <p:cTn id="354" dur="750" fill="hold"/>
                                        <p:tgtEl>
                                          <p:spTgt spid="2520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355" presetID="10" presetClass="entr" presetSubtype="0" fill="hold" nodeType="withEffect">
                                  <p:stCondLst>
                                    <p:cond delay="510"/>
                                  </p:stCondLst>
                                  <p:childTnLst>
                                    <p:set>
                                      <p:cBhvr>
                                        <p:cTn id="3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7" dur="500"/>
                                        <p:tgtEl>
                                          <p:spTgt spid="25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8" presetID="6" presetClass="emph" presetSubtype="0" fill="hold" nodeType="withEffect">
                                  <p:stCondLst>
                                    <p:cond delay="510"/>
                                  </p:stCondLst>
                                  <p:childTnLst>
                                    <p:animScale>
                                      <p:cBhvr>
                                        <p:cTn id="359" dur="10" fill="hold"/>
                                        <p:tgtEl>
                                          <p:spTgt spid="2521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360" presetID="6" presetClass="emph" presetSubtype="0" decel="100000" fill="hold" nodeType="withEffect">
                                  <p:stCondLst>
                                    <p:cond delay="510"/>
                                  </p:stCondLst>
                                  <p:childTnLst>
                                    <p:animScale>
                                      <p:cBhvr>
                                        <p:cTn id="361" dur="750" fill="hold"/>
                                        <p:tgtEl>
                                          <p:spTgt spid="2521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E13B252-A0B9-0658-63EC-DF202E4F33B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768978-FEDE-47B1-2A41-58568A90AA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latin typeface="+mn-lt"/>
              </a:rPr>
              <a:t>Real-world access to CAR-T still faces practical considerations and potential challenge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6EEFF97-1772-FAAA-A64C-97719145FE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948FB62-8746-4D0D-BA71-8EB1BEE683ED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82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046EBBB-A9D0-7613-3CE1-99AF0DAC0B9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 anchor="b" anchorCtr="0"/>
          <a:lstStyle/>
          <a:p>
            <a:r>
              <a:rPr lang="en-GB" dirty="0"/>
              <a:t>*CAR-T eligibility defined as patients with primary refractory disease or who relapse within 12 months of receiving 1L therapy. 1L, first-line; CAR-T, chimeric antigen receptor T-cell therapy; CRS, cytokine release syndrome; ICANS, immune effector cell-associated neurotoxicity syndrome. </a:t>
            </a:r>
            <a:r>
              <a:rPr lang="en-GB" b="1" dirty="0">
                <a:solidFill>
                  <a:srgbClr val="585854"/>
                </a:solidFill>
              </a:rPr>
              <a:t>1. </a:t>
            </a:r>
            <a:r>
              <a:rPr lang="en-GB" dirty="0" err="1">
                <a:solidFill>
                  <a:srgbClr val="585854"/>
                </a:solidFill>
              </a:rPr>
              <a:t>Thieblemont</a:t>
            </a:r>
            <a:r>
              <a:rPr lang="en-GB" dirty="0">
                <a:solidFill>
                  <a:srgbClr val="585854"/>
                </a:solidFill>
              </a:rPr>
              <a:t> et al. </a:t>
            </a:r>
            <a:r>
              <a:rPr lang="en-GB" i="1" dirty="0" err="1"/>
              <a:t>Hemasphere</a:t>
            </a:r>
            <a:r>
              <a:rPr lang="en-GB" dirty="0"/>
              <a:t> 2025 </a:t>
            </a:r>
            <a:r>
              <a:rPr lang="en-GB" b="1" dirty="0">
                <a:solidFill>
                  <a:srgbClr val="585854"/>
                </a:solidFill>
              </a:rPr>
              <a:t>2. </a:t>
            </a:r>
            <a:r>
              <a:rPr lang="en-GB" dirty="0">
                <a:solidFill>
                  <a:srgbClr val="585854"/>
                </a:solidFill>
              </a:rPr>
              <a:t>Eyre et al. </a:t>
            </a:r>
            <a:r>
              <a:rPr lang="en-GB" i="1" dirty="0">
                <a:solidFill>
                  <a:srgbClr val="585854"/>
                </a:solidFill>
              </a:rPr>
              <a:t>Ann Oncol </a:t>
            </a:r>
            <a:r>
              <a:rPr lang="en-GB" dirty="0">
                <a:solidFill>
                  <a:srgbClr val="585854"/>
                </a:solidFill>
              </a:rPr>
              <a:t>2025 </a:t>
            </a:r>
            <a:r>
              <a:rPr lang="en-GB" b="1" dirty="0">
                <a:solidFill>
                  <a:srgbClr val="585854"/>
                </a:solidFill>
              </a:rPr>
              <a:t>3. </a:t>
            </a:r>
            <a:r>
              <a:rPr lang="en-GB" dirty="0">
                <a:solidFill>
                  <a:srgbClr val="585854"/>
                </a:solidFill>
              </a:rPr>
              <a:t>NCCN Clinical Practice Guidelines in B-cell lymphomas. Version 3.2025 </a:t>
            </a:r>
            <a:r>
              <a:rPr lang="en-GB" b="1" dirty="0"/>
              <a:t>4. </a:t>
            </a:r>
            <a:r>
              <a:rPr lang="en-GB" dirty="0" err="1"/>
              <a:t>Albendea</a:t>
            </a:r>
            <a:r>
              <a:rPr lang="en-GB" dirty="0"/>
              <a:t> et al. </a:t>
            </a:r>
            <a:r>
              <a:rPr lang="en-GB" i="1" dirty="0"/>
              <a:t>Front Med </a:t>
            </a:r>
            <a:r>
              <a:rPr lang="en-GB" dirty="0"/>
              <a:t>2023 </a:t>
            </a:r>
            <a:r>
              <a:rPr lang="en-GB" b="1" dirty="0"/>
              <a:t>5. </a:t>
            </a:r>
            <a:r>
              <a:rPr lang="en-GB" dirty="0"/>
              <a:t>Hoffmann et al. </a:t>
            </a:r>
            <a:r>
              <a:rPr lang="en-GB" i="1" dirty="0"/>
              <a:t>Transplant Cell Ther </a:t>
            </a:r>
            <a:r>
              <a:rPr lang="en-GB" dirty="0"/>
              <a:t>2023 </a:t>
            </a:r>
            <a:r>
              <a:rPr lang="en-GB" b="1" dirty="0"/>
              <a:t>6. </a:t>
            </a:r>
            <a:r>
              <a:rPr lang="en-GB" dirty="0" err="1"/>
              <a:t>Jommi</a:t>
            </a:r>
            <a:r>
              <a:rPr lang="en-GB" dirty="0"/>
              <a:t> et al. </a:t>
            </a:r>
            <a:r>
              <a:rPr lang="en-GB" i="1" dirty="0"/>
              <a:t>Front </a:t>
            </a:r>
            <a:r>
              <a:rPr lang="en-GB" i="1" dirty="0" err="1"/>
              <a:t>Pharmacol</a:t>
            </a:r>
            <a:r>
              <a:rPr lang="en-GB" i="1" dirty="0"/>
              <a:t> </a:t>
            </a:r>
            <a:r>
              <a:rPr lang="en-GB" dirty="0"/>
              <a:t>2022</a:t>
            </a:r>
            <a:r>
              <a:rPr lang="en-GB" b="1" dirty="0"/>
              <a:t> 7. </a:t>
            </a:r>
            <a:r>
              <a:rPr lang="en-GB" dirty="0" err="1"/>
              <a:t>Chomienne</a:t>
            </a:r>
            <a:r>
              <a:rPr lang="en-GB" dirty="0"/>
              <a:t> et al. </a:t>
            </a:r>
            <a:r>
              <a:rPr lang="en-GB" i="1" dirty="0" err="1"/>
              <a:t>HemaSphere</a:t>
            </a:r>
            <a:r>
              <a:rPr lang="en-GB" dirty="0"/>
              <a:t> 2019</a:t>
            </a:r>
            <a:r>
              <a:rPr lang="en-GB" b="1" dirty="0"/>
              <a:t> 8. </a:t>
            </a:r>
            <a:r>
              <a:rPr lang="en-GB" dirty="0"/>
              <a:t>Gajra et al. </a:t>
            </a:r>
            <a:r>
              <a:rPr lang="en-GB" i="1" dirty="0" err="1"/>
              <a:t>Pharmaceut</a:t>
            </a:r>
            <a:r>
              <a:rPr lang="en-GB" i="1" dirty="0"/>
              <a:t> Med </a:t>
            </a:r>
            <a:r>
              <a:rPr lang="en-GB" dirty="0"/>
              <a:t>2022</a:t>
            </a:r>
            <a:r>
              <a:rPr lang="en-GB" b="1" dirty="0"/>
              <a:t> 9. </a:t>
            </a:r>
            <a:r>
              <a:rPr lang="en-GB" dirty="0"/>
              <a:t>Abramson et al.</a:t>
            </a:r>
            <a:r>
              <a:rPr lang="en-GB" i="1" dirty="0"/>
              <a:t> Lancet </a:t>
            </a:r>
            <a:r>
              <a:rPr lang="en-GB" dirty="0"/>
              <a:t>2020 </a:t>
            </a:r>
            <a:r>
              <a:rPr lang="en-GB" b="1" dirty="0"/>
              <a:t>10. </a:t>
            </a:r>
            <a:r>
              <a:rPr lang="en-GB" dirty="0"/>
              <a:t>Schuster et al. </a:t>
            </a:r>
            <a:r>
              <a:rPr lang="en-GB" i="1" dirty="0"/>
              <a:t>N Engl J Med </a:t>
            </a:r>
            <a:r>
              <a:rPr lang="en-GB" dirty="0"/>
              <a:t>2019 </a:t>
            </a:r>
            <a:r>
              <a:rPr lang="en-GB" b="1" dirty="0"/>
              <a:t>11. </a:t>
            </a:r>
            <a:r>
              <a:rPr lang="en-GB" dirty="0"/>
              <a:t>Locke et al.</a:t>
            </a:r>
            <a:r>
              <a:rPr lang="en-GB" i="1" dirty="0"/>
              <a:t> Lancet Oncol </a:t>
            </a:r>
            <a:r>
              <a:rPr lang="en-GB" dirty="0"/>
              <a:t>2019 </a:t>
            </a:r>
            <a:r>
              <a:rPr lang="en-GB" b="1" dirty="0"/>
              <a:t>12. </a:t>
            </a:r>
            <a:r>
              <a:rPr lang="en-GB" dirty="0" err="1"/>
              <a:t>Breyanzi</a:t>
            </a:r>
            <a:r>
              <a:rPr lang="en-GB" dirty="0"/>
              <a:t> SmPC </a:t>
            </a:r>
            <a:r>
              <a:rPr lang="en-GB" b="1" dirty="0"/>
              <a:t>13. </a:t>
            </a:r>
            <a:r>
              <a:rPr lang="en-GB" dirty="0" err="1"/>
              <a:t>Yescarta</a:t>
            </a:r>
            <a:r>
              <a:rPr lang="en-GB" dirty="0"/>
              <a:t> SmPC </a:t>
            </a:r>
            <a:r>
              <a:rPr lang="en-GB" b="1" dirty="0"/>
              <a:t>14. </a:t>
            </a:r>
            <a:r>
              <a:rPr lang="en-GB" dirty="0"/>
              <a:t>Jain et al. </a:t>
            </a:r>
            <a:r>
              <a:rPr lang="en-GB" i="1" dirty="0"/>
              <a:t>Blood</a:t>
            </a:r>
            <a:r>
              <a:rPr lang="en-GB" dirty="0"/>
              <a:t> 2023 </a:t>
            </a:r>
            <a:r>
              <a:rPr lang="en-GB" b="1" dirty="0"/>
              <a:t>15. </a:t>
            </a:r>
            <a:r>
              <a:rPr lang="en-GB" dirty="0"/>
              <a:t>Tomas et al.</a:t>
            </a:r>
            <a:r>
              <a:rPr lang="en-GB" i="1" dirty="0"/>
              <a:t> </a:t>
            </a:r>
            <a:r>
              <a:rPr lang="en-GB" i="1" dirty="0" err="1"/>
              <a:t>Leukemia</a:t>
            </a:r>
            <a:r>
              <a:rPr lang="en-GB" i="1" dirty="0"/>
              <a:t> </a:t>
            </a:r>
            <a:r>
              <a:rPr lang="en-GB" dirty="0"/>
              <a:t>2023 </a:t>
            </a:r>
            <a:endParaRPr lang="en-CH" dirty="0"/>
          </a:p>
          <a:p>
            <a:r>
              <a:rPr lang="en-GB" b="1" dirty="0"/>
              <a:t>16. </a:t>
            </a:r>
            <a:r>
              <a:rPr lang="en-GB" dirty="0"/>
              <a:t>Di Blasi et al. </a:t>
            </a:r>
            <a:r>
              <a:rPr lang="en-GB" i="1" dirty="0"/>
              <a:t>Blood</a:t>
            </a:r>
            <a:r>
              <a:rPr lang="en-GB" dirty="0"/>
              <a:t> 2022</a:t>
            </a:r>
            <a:r>
              <a:rPr lang="en-GB" b="1" dirty="0"/>
              <a:t> 17. </a:t>
            </a:r>
            <a:r>
              <a:rPr lang="en-GB" dirty="0"/>
              <a:t>Dodero et al. </a:t>
            </a:r>
            <a:r>
              <a:rPr lang="en-GB" i="1" dirty="0"/>
              <a:t>Br J Ha</a:t>
            </a:r>
            <a:r>
              <a:rPr lang="en-CH" i="1" dirty="0"/>
              <a:t>e</a:t>
            </a:r>
            <a:r>
              <a:rPr lang="en-GB" i="1" dirty="0" err="1"/>
              <a:t>matol</a:t>
            </a:r>
            <a:r>
              <a:rPr lang="en-GB" i="1" dirty="0"/>
              <a:t> </a:t>
            </a:r>
            <a:r>
              <a:rPr lang="en-GB" dirty="0"/>
              <a:t>2024.</a:t>
            </a:r>
          </a:p>
        </p:txBody>
      </p:sp>
      <p:sp>
        <p:nvSpPr>
          <p:cNvPr id="568" name="Rectangle: Rounded Corners 567">
            <a:extLst>
              <a:ext uri="{FF2B5EF4-FFF2-40B4-BE49-F238E27FC236}">
                <a16:creationId xmlns:a16="http://schemas.microsoft.com/office/drawing/2014/main" id="{FD7BD0F6-A0C7-F023-BA6A-4A35D8E7E3E0}"/>
              </a:ext>
            </a:extLst>
          </p:cNvPr>
          <p:cNvSpPr/>
          <p:nvPr/>
        </p:nvSpPr>
        <p:spPr>
          <a:xfrm>
            <a:off x="3340776" y="3735903"/>
            <a:ext cx="3198257" cy="707886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0" cap="none" spc="-40" normalizeH="0" baseline="0" noProof="0" dirty="0">
                <a:ln>
                  <a:noFill/>
                </a:ln>
                <a:solidFill>
                  <a:srgbClr val="F15922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~2/3 will </a:t>
            </a:r>
            <a:r>
              <a:rPr kumimoji="0" lang="en-GB" sz="1600" b="1" i="0" u="sng" strike="noStrike" kern="0" cap="none" spc="-40" normalizeH="0" baseline="0" noProof="0" dirty="0">
                <a:ln>
                  <a:noFill/>
                </a:ln>
                <a:solidFill>
                  <a:srgbClr val="F15922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ot</a:t>
            </a:r>
            <a:r>
              <a:rPr kumimoji="0" lang="en-GB" sz="1600" b="1" i="0" u="none" strike="noStrike" kern="0" cap="none" spc="-40" normalizeH="0" baseline="0" noProof="0" dirty="0">
                <a:ln>
                  <a:noFill/>
                </a:ln>
                <a:solidFill>
                  <a:srgbClr val="F15922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receive an infusion</a:t>
            </a:r>
            <a:r>
              <a:rPr kumimoji="0" lang="en-GB" sz="1600" b="1" i="0" u="none" strike="noStrike" kern="0" cap="none" spc="-40" normalizeH="0" baseline="30000" noProof="0" dirty="0">
                <a:ln>
                  <a:noFill/>
                </a:ln>
                <a:solidFill>
                  <a:srgbClr val="F15922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4</a:t>
            </a:r>
          </a:p>
        </p:txBody>
      </p:sp>
      <p:sp>
        <p:nvSpPr>
          <p:cNvPr id="1045" name="Free-form: Shape 1044">
            <a:extLst>
              <a:ext uri="{FF2B5EF4-FFF2-40B4-BE49-F238E27FC236}">
                <a16:creationId xmlns:a16="http://schemas.microsoft.com/office/drawing/2014/main" id="{68B6600C-AE55-6566-4751-D704EF47C50C}"/>
              </a:ext>
            </a:extLst>
          </p:cNvPr>
          <p:cNvSpPr/>
          <p:nvPr/>
        </p:nvSpPr>
        <p:spPr>
          <a:xfrm>
            <a:off x="540522" y="2725140"/>
            <a:ext cx="3228621" cy="653338"/>
          </a:xfrm>
          <a:custGeom>
            <a:avLst/>
            <a:gdLst>
              <a:gd name="csX0" fmla="*/ 98993 w 3105617"/>
              <a:gd name="csY0" fmla="*/ 0 h 593944"/>
              <a:gd name="csX1" fmla="*/ 3105617 w 3105617"/>
              <a:gd name="csY1" fmla="*/ 0 h 593944"/>
              <a:gd name="csX2" fmla="*/ 3019083 w 3105617"/>
              <a:gd name="csY2" fmla="*/ 52571 h 593944"/>
              <a:gd name="csX3" fmla="*/ 2542194 w 3105617"/>
              <a:gd name="csY3" fmla="*/ 577656 h 593944"/>
              <a:gd name="csX4" fmla="*/ 2534348 w 3105617"/>
              <a:gd name="csY4" fmla="*/ 593944 h 593944"/>
              <a:gd name="csX5" fmla="*/ 98993 w 3105617"/>
              <a:gd name="csY5" fmla="*/ 593944 h 593944"/>
              <a:gd name="csX6" fmla="*/ 0 w 3105617"/>
              <a:gd name="csY6" fmla="*/ 494951 h 593944"/>
              <a:gd name="csX7" fmla="*/ 0 w 3105617"/>
              <a:gd name="csY7" fmla="*/ 98993 h 593944"/>
              <a:gd name="csX8" fmla="*/ 98993 w 3105617"/>
              <a:gd name="csY8" fmla="*/ 0 h 59394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</a:cxnLst>
            <a:rect l="l" t="t" r="r" b="b"/>
            <a:pathLst>
              <a:path w="3105617" h="593944">
                <a:moveTo>
                  <a:pt x="98993" y="0"/>
                </a:moveTo>
                <a:lnTo>
                  <a:pt x="3105617" y="0"/>
                </a:lnTo>
                <a:lnTo>
                  <a:pt x="3019083" y="52571"/>
                </a:lnTo>
                <a:cubicBezTo>
                  <a:pt x="2820996" y="186396"/>
                  <a:pt x="2656834" y="366623"/>
                  <a:pt x="2542194" y="577656"/>
                </a:cubicBezTo>
                <a:lnTo>
                  <a:pt x="2534348" y="593944"/>
                </a:lnTo>
                <a:lnTo>
                  <a:pt x="98993" y="593944"/>
                </a:lnTo>
                <a:cubicBezTo>
                  <a:pt x="44321" y="593944"/>
                  <a:pt x="0" y="549623"/>
                  <a:pt x="0" y="494951"/>
                </a:cubicBezTo>
                <a:lnTo>
                  <a:pt x="0" y="98993"/>
                </a:lnTo>
                <a:cubicBezTo>
                  <a:pt x="0" y="44321"/>
                  <a:pt x="44321" y="0"/>
                  <a:pt x="98993" y="0"/>
                </a:cubicBezTo>
                <a:close/>
              </a:path>
            </a:pathLst>
          </a:cu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r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eimbursement unavailable or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limited access to CAR-T centre</a:t>
            </a:r>
            <a:r>
              <a:rPr kumimoji="0" lang="en-GB" sz="1400" b="1" i="0" u="none" strike="noStrike" kern="1200" cap="none" spc="0" normalizeH="0" baseline="3000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5–8</a:t>
            </a:r>
          </a:p>
        </p:txBody>
      </p:sp>
      <p:sp>
        <p:nvSpPr>
          <p:cNvPr id="1046" name="Free-form: Shape 1045">
            <a:extLst>
              <a:ext uri="{FF2B5EF4-FFF2-40B4-BE49-F238E27FC236}">
                <a16:creationId xmlns:a16="http://schemas.microsoft.com/office/drawing/2014/main" id="{42CAB646-9A81-184D-CF40-256CA6D1ED87}"/>
              </a:ext>
            </a:extLst>
          </p:cNvPr>
          <p:cNvSpPr/>
          <p:nvPr/>
        </p:nvSpPr>
        <p:spPr>
          <a:xfrm>
            <a:off x="564356" y="3448088"/>
            <a:ext cx="2603034" cy="653338"/>
          </a:xfrm>
          <a:custGeom>
            <a:avLst/>
            <a:gdLst>
              <a:gd name="csX0" fmla="*/ 98993 w 2503864"/>
              <a:gd name="csY0" fmla="*/ 0 h 593944"/>
              <a:gd name="csX1" fmla="*/ 2503864 w 2503864"/>
              <a:gd name="csY1" fmla="*/ 0 h 593944"/>
              <a:gd name="csX2" fmla="*/ 2479478 w 2503864"/>
              <a:gd name="csY2" fmla="*/ 50622 h 593944"/>
              <a:gd name="csX3" fmla="*/ 2370126 w 2503864"/>
              <a:gd name="csY3" fmla="*/ 478071 h 593944"/>
              <a:gd name="csX4" fmla="*/ 2364275 w 2503864"/>
              <a:gd name="csY4" fmla="*/ 593944 h 593944"/>
              <a:gd name="csX5" fmla="*/ 98993 w 2503864"/>
              <a:gd name="csY5" fmla="*/ 593944 h 593944"/>
              <a:gd name="csX6" fmla="*/ 0 w 2503864"/>
              <a:gd name="csY6" fmla="*/ 494951 h 593944"/>
              <a:gd name="csX7" fmla="*/ 0 w 2503864"/>
              <a:gd name="csY7" fmla="*/ 98993 h 593944"/>
              <a:gd name="csX8" fmla="*/ 98993 w 2503864"/>
              <a:gd name="csY8" fmla="*/ 0 h 59394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</a:cxnLst>
            <a:rect l="l" t="t" r="r" b="b"/>
            <a:pathLst>
              <a:path w="2503864" h="593944">
                <a:moveTo>
                  <a:pt x="98993" y="0"/>
                </a:moveTo>
                <a:lnTo>
                  <a:pt x="2503864" y="0"/>
                </a:lnTo>
                <a:lnTo>
                  <a:pt x="2479478" y="50622"/>
                </a:lnTo>
                <a:cubicBezTo>
                  <a:pt x="2422953" y="184261"/>
                  <a:pt x="2385380" y="327867"/>
                  <a:pt x="2370126" y="478071"/>
                </a:cubicBezTo>
                <a:lnTo>
                  <a:pt x="2364275" y="593944"/>
                </a:lnTo>
                <a:lnTo>
                  <a:pt x="98993" y="593944"/>
                </a:lnTo>
                <a:cubicBezTo>
                  <a:pt x="44321" y="593944"/>
                  <a:pt x="0" y="549623"/>
                  <a:pt x="0" y="494951"/>
                </a:cubicBezTo>
                <a:lnTo>
                  <a:pt x="0" y="98993"/>
                </a:lnTo>
                <a:cubicBezTo>
                  <a:pt x="0" y="44321"/>
                  <a:pt x="44321" y="0"/>
                  <a:pt x="98993" y="0"/>
                </a:cubicBezTo>
                <a:close/>
              </a:path>
            </a:pathLst>
          </a:cu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r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Manufacturing failure</a:t>
            </a:r>
            <a:r>
              <a:rPr kumimoji="0" lang="en-GB" sz="1400" b="1" i="0" u="none" strike="noStrike" kern="1200" cap="none" spc="0" normalizeH="0" baseline="3000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9–11</a:t>
            </a:r>
          </a:p>
        </p:txBody>
      </p:sp>
      <p:sp>
        <p:nvSpPr>
          <p:cNvPr id="1047" name="Free-form: Shape 1046">
            <a:extLst>
              <a:ext uri="{FF2B5EF4-FFF2-40B4-BE49-F238E27FC236}">
                <a16:creationId xmlns:a16="http://schemas.microsoft.com/office/drawing/2014/main" id="{7B4786A4-6A94-872F-7FD8-5EAB1C63E379}"/>
              </a:ext>
            </a:extLst>
          </p:cNvPr>
          <p:cNvSpPr/>
          <p:nvPr/>
        </p:nvSpPr>
        <p:spPr>
          <a:xfrm>
            <a:off x="564538" y="4171034"/>
            <a:ext cx="2598260" cy="653338"/>
          </a:xfrm>
          <a:custGeom>
            <a:avLst/>
            <a:gdLst>
              <a:gd name="csX0" fmla="*/ 98993 w 2499272"/>
              <a:gd name="csY0" fmla="*/ 0 h 593944"/>
              <a:gd name="csX1" fmla="*/ 2363793 w 2499272"/>
              <a:gd name="csY1" fmla="*/ 0 h 593944"/>
              <a:gd name="csX2" fmla="*/ 2370126 w 2499272"/>
              <a:gd name="csY2" fmla="*/ 125405 h 593944"/>
              <a:gd name="csX3" fmla="*/ 2479478 w 2499272"/>
              <a:gd name="csY3" fmla="*/ 552854 h 593944"/>
              <a:gd name="csX4" fmla="*/ 2499272 w 2499272"/>
              <a:gd name="csY4" fmla="*/ 593944 h 593944"/>
              <a:gd name="csX5" fmla="*/ 98993 w 2499272"/>
              <a:gd name="csY5" fmla="*/ 593944 h 593944"/>
              <a:gd name="csX6" fmla="*/ 0 w 2499272"/>
              <a:gd name="csY6" fmla="*/ 494951 h 593944"/>
              <a:gd name="csX7" fmla="*/ 0 w 2499272"/>
              <a:gd name="csY7" fmla="*/ 98993 h 593944"/>
              <a:gd name="csX8" fmla="*/ 98993 w 2499272"/>
              <a:gd name="csY8" fmla="*/ 0 h 59394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</a:cxnLst>
            <a:rect l="l" t="t" r="r" b="b"/>
            <a:pathLst>
              <a:path w="2499272" h="593944">
                <a:moveTo>
                  <a:pt x="98993" y="0"/>
                </a:moveTo>
                <a:lnTo>
                  <a:pt x="2363793" y="0"/>
                </a:lnTo>
                <a:lnTo>
                  <a:pt x="2370126" y="125405"/>
                </a:lnTo>
                <a:cubicBezTo>
                  <a:pt x="2385380" y="275609"/>
                  <a:pt x="2422953" y="419215"/>
                  <a:pt x="2479478" y="552854"/>
                </a:cubicBezTo>
                <a:lnTo>
                  <a:pt x="2499272" y="593944"/>
                </a:lnTo>
                <a:lnTo>
                  <a:pt x="98993" y="593944"/>
                </a:lnTo>
                <a:cubicBezTo>
                  <a:pt x="44321" y="593944"/>
                  <a:pt x="0" y="549623"/>
                  <a:pt x="0" y="494951"/>
                </a:cubicBezTo>
                <a:lnTo>
                  <a:pt x="0" y="98993"/>
                </a:lnTo>
                <a:cubicBezTo>
                  <a:pt x="0" y="44321"/>
                  <a:pt x="44321" y="0"/>
                  <a:pt x="98993" y="0"/>
                </a:cubicBezTo>
                <a:close/>
              </a:path>
            </a:pathLst>
          </a:cu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r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apid disease progression before infusion or bridging failure</a:t>
            </a:r>
            <a:r>
              <a:rPr kumimoji="0" lang="en-GB" sz="1400" b="1" i="0" u="none" strike="noStrike" kern="1200" cap="none" spc="0" normalizeH="0" baseline="3000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9–11</a:t>
            </a:r>
          </a:p>
        </p:txBody>
      </p:sp>
      <p:sp>
        <p:nvSpPr>
          <p:cNvPr id="1048" name="Free-form: Shape 1047">
            <a:extLst>
              <a:ext uri="{FF2B5EF4-FFF2-40B4-BE49-F238E27FC236}">
                <a16:creationId xmlns:a16="http://schemas.microsoft.com/office/drawing/2014/main" id="{5A0F9D35-85B1-9FE2-E049-DA880474E300}"/>
              </a:ext>
            </a:extLst>
          </p:cNvPr>
          <p:cNvSpPr/>
          <p:nvPr/>
        </p:nvSpPr>
        <p:spPr>
          <a:xfrm>
            <a:off x="541144" y="4893982"/>
            <a:ext cx="3212309" cy="653338"/>
          </a:xfrm>
          <a:custGeom>
            <a:avLst/>
            <a:gdLst>
              <a:gd name="csX0" fmla="*/ 98993 w 3089927"/>
              <a:gd name="csY0" fmla="*/ 0 h 593944"/>
              <a:gd name="csX1" fmla="*/ 2529756 w 3089927"/>
              <a:gd name="csY1" fmla="*/ 0 h 593944"/>
              <a:gd name="csX2" fmla="*/ 2542194 w 3089927"/>
              <a:gd name="csY2" fmla="*/ 25821 h 593944"/>
              <a:gd name="csX3" fmla="*/ 3019083 w 3089927"/>
              <a:gd name="csY3" fmla="*/ 550905 h 593944"/>
              <a:gd name="csX4" fmla="*/ 3089927 w 3089927"/>
              <a:gd name="csY4" fmla="*/ 593944 h 593944"/>
              <a:gd name="csX5" fmla="*/ 98993 w 3089927"/>
              <a:gd name="csY5" fmla="*/ 593944 h 593944"/>
              <a:gd name="csX6" fmla="*/ 0 w 3089927"/>
              <a:gd name="csY6" fmla="*/ 494951 h 593944"/>
              <a:gd name="csX7" fmla="*/ 0 w 3089927"/>
              <a:gd name="csY7" fmla="*/ 98993 h 593944"/>
              <a:gd name="csX8" fmla="*/ 98993 w 3089927"/>
              <a:gd name="csY8" fmla="*/ 0 h 59394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</a:cxnLst>
            <a:rect l="l" t="t" r="r" b="b"/>
            <a:pathLst>
              <a:path w="3089927" h="593944">
                <a:moveTo>
                  <a:pt x="98993" y="0"/>
                </a:moveTo>
                <a:lnTo>
                  <a:pt x="2529756" y="0"/>
                </a:lnTo>
                <a:lnTo>
                  <a:pt x="2542194" y="25821"/>
                </a:lnTo>
                <a:cubicBezTo>
                  <a:pt x="2656834" y="236853"/>
                  <a:pt x="2820996" y="417081"/>
                  <a:pt x="3019083" y="550905"/>
                </a:cubicBezTo>
                <a:lnTo>
                  <a:pt x="3089927" y="593944"/>
                </a:lnTo>
                <a:lnTo>
                  <a:pt x="98993" y="593944"/>
                </a:lnTo>
                <a:cubicBezTo>
                  <a:pt x="44321" y="593944"/>
                  <a:pt x="0" y="549623"/>
                  <a:pt x="0" y="494951"/>
                </a:cubicBezTo>
                <a:lnTo>
                  <a:pt x="0" y="98993"/>
                </a:lnTo>
                <a:cubicBezTo>
                  <a:pt x="0" y="44321"/>
                  <a:pt x="44321" y="0"/>
                  <a:pt x="98993" y="0"/>
                </a:cubicBezTo>
                <a:close/>
              </a:path>
            </a:pathLst>
          </a:cu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r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Worsening clinical conditions/comorbidities</a:t>
            </a:r>
            <a:r>
              <a:rPr kumimoji="0" lang="en-GB" sz="1400" b="1" i="0" u="none" strike="noStrike" kern="1200" cap="none" spc="0" normalizeH="0" baseline="3000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6,8</a:t>
            </a:r>
          </a:p>
        </p:txBody>
      </p:sp>
      <p:sp>
        <p:nvSpPr>
          <p:cNvPr id="1049" name="Free-form: Shape 1048">
            <a:extLst>
              <a:ext uri="{FF2B5EF4-FFF2-40B4-BE49-F238E27FC236}">
                <a16:creationId xmlns:a16="http://schemas.microsoft.com/office/drawing/2014/main" id="{3CEC5DA7-0D03-60FE-8FB2-EE2104068670}"/>
              </a:ext>
            </a:extLst>
          </p:cNvPr>
          <p:cNvSpPr/>
          <p:nvPr/>
        </p:nvSpPr>
        <p:spPr>
          <a:xfrm>
            <a:off x="7915275" y="2725139"/>
            <a:ext cx="3543300" cy="883048"/>
          </a:xfrm>
          <a:custGeom>
            <a:avLst/>
            <a:gdLst>
              <a:gd name="csX0" fmla="*/ 0 w 2946660"/>
              <a:gd name="csY0" fmla="*/ 0 h 802771"/>
              <a:gd name="csX1" fmla="*/ 2812862 w 2946660"/>
              <a:gd name="csY1" fmla="*/ 0 h 802771"/>
              <a:gd name="csX2" fmla="*/ 2946660 w 2946660"/>
              <a:gd name="csY2" fmla="*/ 133798 h 802771"/>
              <a:gd name="csX3" fmla="*/ 2946660 w 2946660"/>
              <a:gd name="csY3" fmla="*/ 668973 h 802771"/>
              <a:gd name="csX4" fmla="*/ 2812862 w 2946660"/>
              <a:gd name="csY4" fmla="*/ 802771 h 802771"/>
              <a:gd name="csX5" fmla="*/ 660883 w 2946660"/>
              <a:gd name="csY5" fmla="*/ 802771 h 802771"/>
              <a:gd name="csX6" fmla="*/ 626140 w 2946660"/>
              <a:gd name="csY6" fmla="*/ 707848 h 802771"/>
              <a:gd name="csX7" fmla="*/ 86536 w 2946660"/>
              <a:gd name="csY7" fmla="*/ 52572 h 80277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</a:cxnLst>
            <a:rect l="l" t="t" r="r" b="b"/>
            <a:pathLst>
              <a:path w="2946660" h="802771">
                <a:moveTo>
                  <a:pt x="0" y="0"/>
                </a:moveTo>
                <a:lnTo>
                  <a:pt x="2812862" y="0"/>
                </a:lnTo>
                <a:cubicBezTo>
                  <a:pt x="2886757" y="0"/>
                  <a:pt x="2946660" y="59903"/>
                  <a:pt x="2946660" y="133798"/>
                </a:cubicBezTo>
                <a:lnTo>
                  <a:pt x="2946660" y="668973"/>
                </a:lnTo>
                <a:cubicBezTo>
                  <a:pt x="2946660" y="742868"/>
                  <a:pt x="2886757" y="802771"/>
                  <a:pt x="2812862" y="802771"/>
                </a:cubicBezTo>
                <a:lnTo>
                  <a:pt x="660883" y="802771"/>
                </a:lnTo>
                <a:lnTo>
                  <a:pt x="626140" y="707848"/>
                </a:lnTo>
                <a:cubicBezTo>
                  <a:pt x="513092" y="440571"/>
                  <a:pt x="324240" y="213162"/>
                  <a:pt x="86536" y="52572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Ins="18000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RS, ICANS, and infections require specialist management</a:t>
            </a:r>
            <a:r>
              <a:rPr kumimoji="0" lang="en-GB" sz="1400" b="1" i="0" u="none" strike="noStrike" kern="1200" cap="none" spc="0" normalizeH="0" baseline="3000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2,13</a:t>
            </a:r>
          </a:p>
        </p:txBody>
      </p:sp>
      <p:sp>
        <p:nvSpPr>
          <p:cNvPr id="1050" name="Free-form: Shape 1049">
            <a:extLst>
              <a:ext uri="{FF2B5EF4-FFF2-40B4-BE49-F238E27FC236}">
                <a16:creationId xmlns:a16="http://schemas.microsoft.com/office/drawing/2014/main" id="{5CDA81D0-E6D4-0684-EC39-4A9693606C64}"/>
              </a:ext>
            </a:extLst>
          </p:cNvPr>
          <p:cNvSpPr/>
          <p:nvPr/>
        </p:nvSpPr>
        <p:spPr>
          <a:xfrm>
            <a:off x="8739779" y="3694705"/>
            <a:ext cx="2718796" cy="883048"/>
          </a:xfrm>
          <a:custGeom>
            <a:avLst/>
            <a:gdLst>
              <a:gd name="csX0" fmla="*/ 0 w 2260990"/>
              <a:gd name="csY0" fmla="*/ 0 h 802771"/>
              <a:gd name="csX1" fmla="*/ 2127192 w 2260990"/>
              <a:gd name="csY1" fmla="*/ 0 h 802771"/>
              <a:gd name="csX2" fmla="*/ 2260990 w 2260990"/>
              <a:gd name="csY2" fmla="*/ 133798 h 802771"/>
              <a:gd name="csX3" fmla="*/ 2260990 w 2260990"/>
              <a:gd name="csY3" fmla="*/ 668973 h 802771"/>
              <a:gd name="csX4" fmla="*/ 2127192 w 2260990"/>
              <a:gd name="csY4" fmla="*/ 802771 h 802771"/>
              <a:gd name="csX5" fmla="*/ 2451 w 2260990"/>
              <a:gd name="csY5" fmla="*/ 802771 h 802771"/>
              <a:gd name="csX6" fmla="*/ 27253 w 2260990"/>
              <a:gd name="csY6" fmla="*/ 706311 h 802771"/>
              <a:gd name="csX7" fmla="*/ 57512 w 2260990"/>
              <a:gd name="csY7" fmla="*/ 406152 h 802771"/>
              <a:gd name="csX8" fmla="*/ 27253 w 2260990"/>
              <a:gd name="csY8" fmla="*/ 105993 h 80277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</a:cxnLst>
            <a:rect l="l" t="t" r="r" b="b"/>
            <a:pathLst>
              <a:path w="2260990" h="802771">
                <a:moveTo>
                  <a:pt x="0" y="0"/>
                </a:moveTo>
                <a:lnTo>
                  <a:pt x="2127192" y="0"/>
                </a:lnTo>
                <a:cubicBezTo>
                  <a:pt x="2201087" y="0"/>
                  <a:pt x="2260990" y="59903"/>
                  <a:pt x="2260990" y="133798"/>
                </a:cubicBezTo>
                <a:lnTo>
                  <a:pt x="2260990" y="668973"/>
                </a:lnTo>
                <a:cubicBezTo>
                  <a:pt x="2260990" y="742868"/>
                  <a:pt x="2201087" y="802771"/>
                  <a:pt x="2127192" y="802771"/>
                </a:cubicBezTo>
                <a:lnTo>
                  <a:pt x="2451" y="802771"/>
                </a:lnTo>
                <a:lnTo>
                  <a:pt x="27253" y="706311"/>
                </a:lnTo>
                <a:cubicBezTo>
                  <a:pt x="47093" y="609357"/>
                  <a:pt x="57512" y="508971"/>
                  <a:pt x="57512" y="406152"/>
                </a:cubicBezTo>
                <a:cubicBezTo>
                  <a:pt x="57512" y="303333"/>
                  <a:pt x="47093" y="202947"/>
                  <a:pt x="27253" y="105993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rIns="7200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Long-term cytopenias persist in up to 38% of patients</a:t>
            </a:r>
            <a:r>
              <a:rPr kumimoji="0" lang="en-GB" sz="1400" b="1" i="0" u="none" strike="noStrike" kern="1200" cap="none" spc="0" normalizeH="0" baseline="3000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4</a:t>
            </a:r>
          </a:p>
        </p:txBody>
      </p:sp>
      <p:sp>
        <p:nvSpPr>
          <p:cNvPr id="1051" name="Free-form: Shape 1050">
            <a:extLst>
              <a:ext uri="{FF2B5EF4-FFF2-40B4-BE49-F238E27FC236}">
                <a16:creationId xmlns:a16="http://schemas.microsoft.com/office/drawing/2014/main" id="{3260A87A-9358-EC7A-AB2C-0052A2918BB8}"/>
              </a:ext>
            </a:extLst>
          </p:cNvPr>
          <p:cNvSpPr/>
          <p:nvPr/>
        </p:nvSpPr>
        <p:spPr>
          <a:xfrm>
            <a:off x="7934146" y="4664272"/>
            <a:ext cx="3524430" cy="883048"/>
          </a:xfrm>
          <a:custGeom>
            <a:avLst/>
            <a:gdLst>
              <a:gd name="csX0" fmla="*/ 648680 w 2930968"/>
              <a:gd name="csY0" fmla="*/ 0 h 802771"/>
              <a:gd name="csX1" fmla="*/ 2797170 w 2930968"/>
              <a:gd name="csY1" fmla="*/ 0 h 802771"/>
              <a:gd name="csX2" fmla="*/ 2930968 w 2930968"/>
              <a:gd name="csY2" fmla="*/ 133798 h 802771"/>
              <a:gd name="csX3" fmla="*/ 2930968 w 2930968"/>
              <a:gd name="csY3" fmla="*/ 668973 h 802771"/>
              <a:gd name="csX4" fmla="*/ 2797170 w 2930968"/>
              <a:gd name="csY4" fmla="*/ 802771 h 802771"/>
              <a:gd name="csX5" fmla="*/ 0 w 2930968"/>
              <a:gd name="csY5" fmla="*/ 802771 h 802771"/>
              <a:gd name="csX6" fmla="*/ 70844 w 2930968"/>
              <a:gd name="csY6" fmla="*/ 759732 h 802771"/>
              <a:gd name="csX7" fmla="*/ 610448 w 2930968"/>
              <a:gd name="csY7" fmla="*/ 104456 h 80277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</a:cxnLst>
            <a:rect l="l" t="t" r="r" b="b"/>
            <a:pathLst>
              <a:path w="2930968" h="802771">
                <a:moveTo>
                  <a:pt x="648680" y="0"/>
                </a:moveTo>
                <a:lnTo>
                  <a:pt x="2797170" y="0"/>
                </a:lnTo>
                <a:cubicBezTo>
                  <a:pt x="2871065" y="0"/>
                  <a:pt x="2930968" y="59903"/>
                  <a:pt x="2930968" y="133798"/>
                </a:cubicBezTo>
                <a:lnTo>
                  <a:pt x="2930968" y="668973"/>
                </a:lnTo>
                <a:cubicBezTo>
                  <a:pt x="2930968" y="742868"/>
                  <a:pt x="2871065" y="802771"/>
                  <a:pt x="2797170" y="802771"/>
                </a:cubicBezTo>
                <a:lnTo>
                  <a:pt x="0" y="802771"/>
                </a:lnTo>
                <a:lnTo>
                  <a:pt x="70844" y="759732"/>
                </a:lnTo>
                <a:cubicBezTo>
                  <a:pt x="308548" y="599143"/>
                  <a:pt x="497400" y="371733"/>
                  <a:pt x="610448" y="104456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rIns="7200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Up to 60% of patients will 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gress or relapse after CAR-T, 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with median survival &lt;6 months</a:t>
            </a:r>
            <a:r>
              <a:rPr kumimoji="0" lang="en-GB" sz="1400" b="1" i="0" u="none" strike="noStrike" kern="1200" cap="none" spc="0" normalizeH="0" baseline="3000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5–17</a:t>
            </a:r>
          </a:p>
        </p:txBody>
      </p:sp>
      <p:pic>
        <p:nvPicPr>
          <p:cNvPr id="2491" name="!!Pic43">
            <a:extLst>
              <a:ext uri="{FF2B5EF4-FFF2-40B4-BE49-F238E27FC236}">
                <a16:creationId xmlns:a16="http://schemas.microsoft.com/office/drawing/2014/main" id="{FF358F95-28CF-B155-F21E-1A7F6DBB89B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55964" y="2913512"/>
            <a:ext cx="225572" cy="304826"/>
          </a:xfrm>
          <a:prstGeom prst="rect">
            <a:avLst/>
          </a:prstGeom>
        </p:spPr>
      </p:pic>
      <p:pic>
        <p:nvPicPr>
          <p:cNvPr id="2492" name="!!Pic1">
            <a:extLst>
              <a:ext uri="{FF2B5EF4-FFF2-40B4-BE49-F238E27FC236}">
                <a16:creationId xmlns:a16="http://schemas.microsoft.com/office/drawing/2014/main" id="{6C05E267-030D-352B-995B-6EEC2CFAA84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89364" y="2703962"/>
            <a:ext cx="225572" cy="304826"/>
          </a:xfrm>
          <a:prstGeom prst="rect">
            <a:avLst/>
          </a:prstGeom>
        </p:spPr>
      </p:pic>
      <p:pic>
        <p:nvPicPr>
          <p:cNvPr id="2493" name="!!Pic16">
            <a:extLst>
              <a:ext uri="{FF2B5EF4-FFF2-40B4-BE49-F238E27FC236}">
                <a16:creationId xmlns:a16="http://schemas.microsoft.com/office/drawing/2014/main" id="{B25C9242-1F96-2B67-CAA7-FC725041AB9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94114" y="3072262"/>
            <a:ext cx="225572" cy="304826"/>
          </a:xfrm>
          <a:prstGeom prst="rect">
            <a:avLst/>
          </a:prstGeom>
        </p:spPr>
      </p:pic>
      <p:pic>
        <p:nvPicPr>
          <p:cNvPr id="2494" name="!!Pic17">
            <a:extLst>
              <a:ext uri="{FF2B5EF4-FFF2-40B4-BE49-F238E27FC236}">
                <a16:creationId xmlns:a16="http://schemas.microsoft.com/office/drawing/2014/main" id="{D582084E-B87A-B33E-C81E-66191A3C052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56064" y="3167512"/>
            <a:ext cx="225572" cy="304826"/>
          </a:xfrm>
          <a:prstGeom prst="rect">
            <a:avLst/>
          </a:prstGeom>
        </p:spPr>
      </p:pic>
      <p:pic>
        <p:nvPicPr>
          <p:cNvPr id="2495" name="!!Pic18">
            <a:extLst>
              <a:ext uri="{FF2B5EF4-FFF2-40B4-BE49-F238E27FC236}">
                <a16:creationId xmlns:a16="http://schemas.microsoft.com/office/drawing/2014/main" id="{13C52646-1C65-9A2F-5E16-B50D077723B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81514" y="2996062"/>
            <a:ext cx="225572" cy="304826"/>
          </a:xfrm>
          <a:prstGeom prst="rect">
            <a:avLst/>
          </a:prstGeom>
        </p:spPr>
      </p:pic>
      <p:pic>
        <p:nvPicPr>
          <p:cNvPr id="2496" name="!!Pic2">
            <a:extLst>
              <a:ext uri="{FF2B5EF4-FFF2-40B4-BE49-F238E27FC236}">
                <a16:creationId xmlns:a16="http://schemas.microsoft.com/office/drawing/2014/main" id="{FEDAA8DC-4CF6-A37A-8173-AB2F5A6B0EC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35514" y="2710312"/>
            <a:ext cx="225572" cy="304826"/>
          </a:xfrm>
          <a:prstGeom prst="rect">
            <a:avLst/>
          </a:prstGeom>
        </p:spPr>
      </p:pic>
      <p:pic>
        <p:nvPicPr>
          <p:cNvPr id="2497" name="!!Pic19">
            <a:extLst>
              <a:ext uri="{FF2B5EF4-FFF2-40B4-BE49-F238E27FC236}">
                <a16:creationId xmlns:a16="http://schemas.microsoft.com/office/drawing/2014/main" id="{9D7B8FB4-0C4A-CA06-9EEF-4979BF3066F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95864" y="3053212"/>
            <a:ext cx="225572" cy="304826"/>
          </a:xfrm>
          <a:prstGeom prst="rect">
            <a:avLst/>
          </a:prstGeom>
        </p:spPr>
      </p:pic>
      <p:pic>
        <p:nvPicPr>
          <p:cNvPr id="2498" name="!!Pic7">
            <a:extLst>
              <a:ext uri="{FF2B5EF4-FFF2-40B4-BE49-F238E27FC236}">
                <a16:creationId xmlns:a16="http://schemas.microsoft.com/office/drawing/2014/main" id="{7A6D2A19-B599-472F-65F8-CAB043629B3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87814" y="3542162"/>
            <a:ext cx="225572" cy="304826"/>
          </a:xfrm>
          <a:prstGeom prst="rect">
            <a:avLst/>
          </a:prstGeom>
        </p:spPr>
      </p:pic>
      <p:pic>
        <p:nvPicPr>
          <p:cNvPr id="2499" name="!!Pic23">
            <a:extLst>
              <a:ext uri="{FF2B5EF4-FFF2-40B4-BE49-F238E27FC236}">
                <a16:creationId xmlns:a16="http://schemas.microsoft.com/office/drawing/2014/main" id="{CD2EED85-A93E-580C-5582-326CC928A52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43264" y="3491362"/>
            <a:ext cx="225572" cy="304826"/>
          </a:xfrm>
          <a:prstGeom prst="rect">
            <a:avLst/>
          </a:prstGeom>
        </p:spPr>
      </p:pic>
      <p:pic>
        <p:nvPicPr>
          <p:cNvPr id="2500" name="!!Pic22">
            <a:extLst>
              <a:ext uri="{FF2B5EF4-FFF2-40B4-BE49-F238E27FC236}">
                <a16:creationId xmlns:a16="http://schemas.microsoft.com/office/drawing/2014/main" id="{E12415C0-BDF0-9E37-0074-A1A76B8660D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22564" y="3662812"/>
            <a:ext cx="225572" cy="304826"/>
          </a:xfrm>
          <a:prstGeom prst="rect">
            <a:avLst/>
          </a:prstGeom>
        </p:spPr>
      </p:pic>
      <p:pic>
        <p:nvPicPr>
          <p:cNvPr id="2501" name="!!Pic21">
            <a:extLst>
              <a:ext uri="{FF2B5EF4-FFF2-40B4-BE49-F238E27FC236}">
                <a16:creationId xmlns:a16="http://schemas.microsoft.com/office/drawing/2014/main" id="{33C86D2B-B407-23F5-78F2-25342A1A830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19464" y="4386712"/>
            <a:ext cx="225572" cy="304826"/>
          </a:xfrm>
          <a:prstGeom prst="rect">
            <a:avLst/>
          </a:prstGeom>
        </p:spPr>
      </p:pic>
      <p:pic>
        <p:nvPicPr>
          <p:cNvPr id="2502" name="!!Pic20">
            <a:extLst>
              <a:ext uri="{FF2B5EF4-FFF2-40B4-BE49-F238E27FC236}">
                <a16:creationId xmlns:a16="http://schemas.microsoft.com/office/drawing/2014/main" id="{450FCD84-A494-AB8B-B388-C1DD858DE31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87664" y="4602612"/>
            <a:ext cx="225572" cy="304826"/>
          </a:xfrm>
          <a:prstGeom prst="rect">
            <a:avLst/>
          </a:prstGeom>
        </p:spPr>
      </p:pic>
      <p:pic>
        <p:nvPicPr>
          <p:cNvPr id="2503" name="!!Pic15">
            <a:extLst>
              <a:ext uri="{FF2B5EF4-FFF2-40B4-BE49-F238E27FC236}">
                <a16:creationId xmlns:a16="http://schemas.microsoft.com/office/drawing/2014/main" id="{507E10CA-922D-BF32-FCED-ED59ABBF138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76614" y="4831212"/>
            <a:ext cx="225572" cy="304826"/>
          </a:xfrm>
          <a:prstGeom prst="rect">
            <a:avLst/>
          </a:prstGeom>
        </p:spPr>
      </p:pic>
      <p:pic>
        <p:nvPicPr>
          <p:cNvPr id="2504" name="!!Pic14">
            <a:extLst>
              <a:ext uri="{FF2B5EF4-FFF2-40B4-BE49-F238E27FC236}">
                <a16:creationId xmlns:a16="http://schemas.microsoft.com/office/drawing/2014/main" id="{716E95EF-E0A5-1540-0F2D-4B08239C5A6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36964" y="5148712"/>
            <a:ext cx="225572" cy="304826"/>
          </a:xfrm>
          <a:prstGeom prst="rect">
            <a:avLst/>
          </a:prstGeom>
        </p:spPr>
      </p:pic>
      <p:pic>
        <p:nvPicPr>
          <p:cNvPr id="2505" name="!!Pic13">
            <a:extLst>
              <a:ext uri="{FF2B5EF4-FFF2-40B4-BE49-F238E27FC236}">
                <a16:creationId xmlns:a16="http://schemas.microsoft.com/office/drawing/2014/main" id="{422FDE02-D42A-6BA2-EF6D-92612CBF1AC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30664" y="4894712"/>
            <a:ext cx="225572" cy="304826"/>
          </a:xfrm>
          <a:prstGeom prst="rect">
            <a:avLst/>
          </a:prstGeom>
        </p:spPr>
      </p:pic>
      <p:pic>
        <p:nvPicPr>
          <p:cNvPr id="2506" name="!!Pic12">
            <a:extLst>
              <a:ext uri="{FF2B5EF4-FFF2-40B4-BE49-F238E27FC236}">
                <a16:creationId xmlns:a16="http://schemas.microsoft.com/office/drawing/2014/main" id="{94392750-7A27-E598-2EE5-9284595DF45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75114" y="4481962"/>
            <a:ext cx="225572" cy="304826"/>
          </a:xfrm>
          <a:prstGeom prst="rect">
            <a:avLst/>
          </a:prstGeom>
        </p:spPr>
      </p:pic>
      <p:pic>
        <p:nvPicPr>
          <p:cNvPr id="2507" name="!!Pic11">
            <a:extLst>
              <a:ext uri="{FF2B5EF4-FFF2-40B4-BE49-F238E27FC236}">
                <a16:creationId xmlns:a16="http://schemas.microsoft.com/office/drawing/2014/main" id="{525DC4F8-0B62-BDA0-F866-FCDF2B13D91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46614" y="4393062"/>
            <a:ext cx="225572" cy="304826"/>
          </a:xfrm>
          <a:prstGeom prst="rect">
            <a:avLst/>
          </a:prstGeom>
        </p:spPr>
      </p:pic>
      <p:pic>
        <p:nvPicPr>
          <p:cNvPr id="2508" name="!!Pic24">
            <a:extLst>
              <a:ext uri="{FF2B5EF4-FFF2-40B4-BE49-F238E27FC236}">
                <a16:creationId xmlns:a16="http://schemas.microsoft.com/office/drawing/2014/main" id="{1CB3679E-F118-EE9C-FFEA-09C525F24B3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67264" y="5002662"/>
            <a:ext cx="225572" cy="304826"/>
          </a:xfrm>
          <a:prstGeom prst="rect">
            <a:avLst/>
          </a:prstGeom>
        </p:spPr>
      </p:pic>
      <p:pic>
        <p:nvPicPr>
          <p:cNvPr id="2509" name="!!Pic25">
            <a:extLst>
              <a:ext uri="{FF2B5EF4-FFF2-40B4-BE49-F238E27FC236}">
                <a16:creationId xmlns:a16="http://schemas.microsoft.com/office/drawing/2014/main" id="{5DC4145F-AC71-4183-9DDF-9113B971F8C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79914" y="5167762"/>
            <a:ext cx="225572" cy="304826"/>
          </a:xfrm>
          <a:prstGeom prst="rect">
            <a:avLst/>
          </a:prstGeom>
        </p:spPr>
      </p:pic>
      <p:pic>
        <p:nvPicPr>
          <p:cNvPr id="2510" name="!!Pic44">
            <a:extLst>
              <a:ext uri="{FF2B5EF4-FFF2-40B4-BE49-F238E27FC236}">
                <a16:creationId xmlns:a16="http://schemas.microsoft.com/office/drawing/2014/main" id="{78DF098B-1A99-B56C-E54E-E6F7D598879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13364" y="5136012"/>
            <a:ext cx="225572" cy="304826"/>
          </a:xfrm>
          <a:prstGeom prst="rect">
            <a:avLst/>
          </a:prstGeom>
        </p:spPr>
      </p:pic>
      <p:pic>
        <p:nvPicPr>
          <p:cNvPr id="2511" name="!!Pic45">
            <a:extLst>
              <a:ext uri="{FF2B5EF4-FFF2-40B4-BE49-F238E27FC236}">
                <a16:creationId xmlns:a16="http://schemas.microsoft.com/office/drawing/2014/main" id="{D28CDBAB-54EF-30E0-A3EB-760B0FC8E98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89564" y="4418462"/>
            <a:ext cx="225572" cy="304826"/>
          </a:xfrm>
          <a:prstGeom prst="rect">
            <a:avLst/>
          </a:prstGeom>
        </p:spPr>
      </p:pic>
      <p:pic>
        <p:nvPicPr>
          <p:cNvPr id="2512" name="!!Pic46">
            <a:extLst>
              <a:ext uri="{FF2B5EF4-FFF2-40B4-BE49-F238E27FC236}">
                <a16:creationId xmlns:a16="http://schemas.microsoft.com/office/drawing/2014/main" id="{26CB12A5-6C89-7D9C-60E6-9EE352FA8BE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20659" y="3533904"/>
            <a:ext cx="231668" cy="304826"/>
          </a:xfrm>
          <a:prstGeom prst="rect">
            <a:avLst/>
          </a:prstGeom>
        </p:spPr>
      </p:pic>
      <p:pic>
        <p:nvPicPr>
          <p:cNvPr id="2513" name="!!Pic4">
            <a:extLst>
              <a:ext uri="{FF2B5EF4-FFF2-40B4-BE49-F238E27FC236}">
                <a16:creationId xmlns:a16="http://schemas.microsoft.com/office/drawing/2014/main" id="{E3AC4EE1-588B-55FF-6C4B-1C47E3AF9E1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00109" y="3362454"/>
            <a:ext cx="231668" cy="304826"/>
          </a:xfrm>
          <a:prstGeom prst="rect">
            <a:avLst/>
          </a:prstGeom>
        </p:spPr>
      </p:pic>
      <p:pic>
        <p:nvPicPr>
          <p:cNvPr id="2514" name="!!Pic3">
            <a:extLst>
              <a:ext uri="{FF2B5EF4-FFF2-40B4-BE49-F238E27FC236}">
                <a16:creationId xmlns:a16="http://schemas.microsoft.com/office/drawing/2014/main" id="{27E07589-1FF3-E767-8B7B-15EA2033E84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30309" y="2994154"/>
            <a:ext cx="231668" cy="304826"/>
          </a:xfrm>
          <a:prstGeom prst="rect">
            <a:avLst/>
          </a:prstGeom>
        </p:spPr>
      </p:pic>
      <p:pic>
        <p:nvPicPr>
          <p:cNvPr id="2515" name="!!Pic47">
            <a:extLst>
              <a:ext uri="{FF2B5EF4-FFF2-40B4-BE49-F238E27FC236}">
                <a16:creationId xmlns:a16="http://schemas.microsoft.com/office/drawing/2014/main" id="{906AB424-386E-6311-46B6-16EB8672026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27159" y="3502154"/>
            <a:ext cx="231668" cy="304826"/>
          </a:xfrm>
          <a:prstGeom prst="rect">
            <a:avLst/>
          </a:prstGeom>
        </p:spPr>
      </p:pic>
      <p:pic>
        <p:nvPicPr>
          <p:cNvPr id="2516" name="!!Pic48">
            <a:extLst>
              <a:ext uri="{FF2B5EF4-FFF2-40B4-BE49-F238E27FC236}">
                <a16:creationId xmlns:a16="http://schemas.microsoft.com/office/drawing/2014/main" id="{776E654A-BEB6-93FB-2CCF-7301D3361FA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16009" y="3813304"/>
            <a:ext cx="231668" cy="304826"/>
          </a:xfrm>
          <a:prstGeom prst="rect">
            <a:avLst/>
          </a:prstGeom>
        </p:spPr>
      </p:pic>
      <p:pic>
        <p:nvPicPr>
          <p:cNvPr id="2517" name="!!Pic6">
            <a:extLst>
              <a:ext uri="{FF2B5EF4-FFF2-40B4-BE49-F238E27FC236}">
                <a16:creationId xmlns:a16="http://schemas.microsoft.com/office/drawing/2014/main" id="{570190F6-5259-1CB9-8E2E-574A0E976C0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12909" y="3921254"/>
            <a:ext cx="231668" cy="304826"/>
          </a:xfrm>
          <a:prstGeom prst="rect">
            <a:avLst/>
          </a:prstGeom>
        </p:spPr>
      </p:pic>
      <p:pic>
        <p:nvPicPr>
          <p:cNvPr id="2518" name="!!Pic49">
            <a:extLst>
              <a:ext uri="{FF2B5EF4-FFF2-40B4-BE49-F238E27FC236}">
                <a16:creationId xmlns:a16="http://schemas.microsoft.com/office/drawing/2014/main" id="{7F7CA116-50E9-C1F3-28AE-9A5A3D5A41C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152609" y="3508504"/>
            <a:ext cx="231668" cy="304826"/>
          </a:xfrm>
          <a:prstGeom prst="rect">
            <a:avLst/>
          </a:prstGeom>
        </p:spPr>
      </p:pic>
      <p:pic>
        <p:nvPicPr>
          <p:cNvPr id="2519" name="!!Pic50">
            <a:extLst>
              <a:ext uri="{FF2B5EF4-FFF2-40B4-BE49-F238E27FC236}">
                <a16:creationId xmlns:a16="http://schemas.microsoft.com/office/drawing/2014/main" id="{51143ED9-5F8A-71E6-F371-E7FDD015DD4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74759" y="4213354"/>
            <a:ext cx="231668" cy="304826"/>
          </a:xfrm>
          <a:prstGeom prst="rect">
            <a:avLst/>
          </a:prstGeom>
        </p:spPr>
      </p:pic>
      <p:pic>
        <p:nvPicPr>
          <p:cNvPr id="2520" name="!!Pic51">
            <a:extLst>
              <a:ext uri="{FF2B5EF4-FFF2-40B4-BE49-F238E27FC236}">
                <a16:creationId xmlns:a16="http://schemas.microsoft.com/office/drawing/2014/main" id="{AACFAAB9-D464-E6D8-66EA-CD4BD3149FE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46209" y="4670554"/>
            <a:ext cx="231668" cy="304826"/>
          </a:xfrm>
          <a:prstGeom prst="rect">
            <a:avLst/>
          </a:prstGeom>
        </p:spPr>
      </p:pic>
      <p:pic>
        <p:nvPicPr>
          <p:cNvPr id="2521" name="!!Pic10">
            <a:extLst>
              <a:ext uri="{FF2B5EF4-FFF2-40B4-BE49-F238E27FC236}">
                <a16:creationId xmlns:a16="http://schemas.microsoft.com/office/drawing/2014/main" id="{2062D747-6ADA-6932-35A5-B798D2E4CB6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38209" y="4645154"/>
            <a:ext cx="231668" cy="304826"/>
          </a:xfrm>
          <a:prstGeom prst="rect">
            <a:avLst/>
          </a:prstGeom>
        </p:spPr>
      </p:pic>
      <p:pic>
        <p:nvPicPr>
          <p:cNvPr id="2522" name="!!Pic9">
            <a:extLst>
              <a:ext uri="{FF2B5EF4-FFF2-40B4-BE49-F238E27FC236}">
                <a16:creationId xmlns:a16="http://schemas.microsoft.com/office/drawing/2014/main" id="{6EFC1B6D-25CB-F2B0-3C4F-B3CFC0DB30B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20709" y="4353054"/>
            <a:ext cx="231668" cy="304826"/>
          </a:xfrm>
          <a:prstGeom prst="rect">
            <a:avLst/>
          </a:prstGeom>
        </p:spPr>
      </p:pic>
      <p:pic>
        <p:nvPicPr>
          <p:cNvPr id="2523" name="!!Pic8">
            <a:extLst>
              <a:ext uri="{FF2B5EF4-FFF2-40B4-BE49-F238E27FC236}">
                <a16:creationId xmlns:a16="http://schemas.microsoft.com/office/drawing/2014/main" id="{A16107E7-FFEB-B6F4-A3FB-1259341BA9E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28609" y="4054604"/>
            <a:ext cx="231668" cy="304826"/>
          </a:xfrm>
          <a:prstGeom prst="rect">
            <a:avLst/>
          </a:prstGeom>
        </p:spPr>
      </p:pic>
      <p:pic>
        <p:nvPicPr>
          <p:cNvPr id="2524" name="!!Pic5">
            <a:extLst>
              <a:ext uri="{FF2B5EF4-FFF2-40B4-BE49-F238E27FC236}">
                <a16:creationId xmlns:a16="http://schemas.microsoft.com/office/drawing/2014/main" id="{2A6A49A0-999D-0970-14EC-AD0CB3950D5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25459" y="3635504"/>
            <a:ext cx="231668" cy="304826"/>
          </a:xfrm>
          <a:prstGeom prst="rect">
            <a:avLst/>
          </a:prstGeom>
        </p:spPr>
      </p:pic>
      <p:pic>
        <p:nvPicPr>
          <p:cNvPr id="2525" name="!!Pic41">
            <a:extLst>
              <a:ext uri="{FF2B5EF4-FFF2-40B4-BE49-F238E27FC236}">
                <a16:creationId xmlns:a16="http://schemas.microsoft.com/office/drawing/2014/main" id="{37EFD8C3-7242-9CD3-A04A-48E55770FD8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72214" y="3201226"/>
            <a:ext cx="225572" cy="256054"/>
          </a:xfrm>
          <a:prstGeom prst="rect">
            <a:avLst/>
          </a:prstGeom>
        </p:spPr>
      </p:pic>
      <p:pic>
        <p:nvPicPr>
          <p:cNvPr id="2526" name="!!Pic35">
            <a:extLst>
              <a:ext uri="{FF2B5EF4-FFF2-40B4-BE49-F238E27FC236}">
                <a16:creationId xmlns:a16="http://schemas.microsoft.com/office/drawing/2014/main" id="{39EF7DB8-0E39-D21F-7C11-B6412A6D59A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189714" y="4058476"/>
            <a:ext cx="225572" cy="256054"/>
          </a:xfrm>
          <a:prstGeom prst="rect">
            <a:avLst/>
          </a:prstGeom>
        </p:spPr>
      </p:pic>
      <p:pic>
        <p:nvPicPr>
          <p:cNvPr id="2527" name="!!Pic34">
            <a:extLst>
              <a:ext uri="{FF2B5EF4-FFF2-40B4-BE49-F238E27FC236}">
                <a16:creationId xmlns:a16="http://schemas.microsoft.com/office/drawing/2014/main" id="{B23A74A5-DFC9-FE17-B19E-D69C4C68DAD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29364" y="4871276"/>
            <a:ext cx="225572" cy="256054"/>
          </a:xfrm>
          <a:prstGeom prst="rect">
            <a:avLst/>
          </a:prstGeom>
        </p:spPr>
      </p:pic>
      <p:pic>
        <p:nvPicPr>
          <p:cNvPr id="2528" name="!!Pic33">
            <a:extLst>
              <a:ext uri="{FF2B5EF4-FFF2-40B4-BE49-F238E27FC236}">
                <a16:creationId xmlns:a16="http://schemas.microsoft.com/office/drawing/2014/main" id="{27CA8734-6D93-7559-017A-7DB8BC08E53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148564" y="4445826"/>
            <a:ext cx="225572" cy="256054"/>
          </a:xfrm>
          <a:prstGeom prst="rect">
            <a:avLst/>
          </a:prstGeom>
        </p:spPr>
      </p:pic>
      <p:pic>
        <p:nvPicPr>
          <p:cNvPr id="2529" name="!!Pic32">
            <a:extLst>
              <a:ext uri="{FF2B5EF4-FFF2-40B4-BE49-F238E27FC236}">
                <a16:creationId xmlns:a16="http://schemas.microsoft.com/office/drawing/2014/main" id="{5E99B38C-57FF-636B-5184-74FBBD566FC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611432" y="3321262"/>
            <a:ext cx="225572" cy="256054"/>
          </a:xfrm>
          <a:prstGeom prst="rect">
            <a:avLst/>
          </a:prstGeom>
        </p:spPr>
      </p:pic>
      <p:pic>
        <p:nvPicPr>
          <p:cNvPr id="2530" name="!!Pic31">
            <a:extLst>
              <a:ext uri="{FF2B5EF4-FFF2-40B4-BE49-F238E27FC236}">
                <a16:creationId xmlns:a16="http://schemas.microsoft.com/office/drawing/2014/main" id="{AC18DD3E-FA76-3D7C-0D6C-76FE5A37A8E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75082" y="2762462"/>
            <a:ext cx="225572" cy="256054"/>
          </a:xfrm>
          <a:prstGeom prst="rect">
            <a:avLst/>
          </a:prstGeom>
        </p:spPr>
      </p:pic>
      <p:pic>
        <p:nvPicPr>
          <p:cNvPr id="2531" name="!!Pic30">
            <a:extLst>
              <a:ext uri="{FF2B5EF4-FFF2-40B4-BE49-F238E27FC236}">
                <a16:creationId xmlns:a16="http://schemas.microsoft.com/office/drawing/2014/main" id="{76798C6E-07C9-C7B9-FB63-BC4BD3FFBF6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259132" y="3613362"/>
            <a:ext cx="225572" cy="256054"/>
          </a:xfrm>
          <a:prstGeom prst="rect">
            <a:avLst/>
          </a:prstGeom>
        </p:spPr>
      </p:pic>
      <p:pic>
        <p:nvPicPr>
          <p:cNvPr id="2532" name="!!Pic29">
            <a:extLst>
              <a:ext uri="{FF2B5EF4-FFF2-40B4-BE49-F238E27FC236}">
                <a16:creationId xmlns:a16="http://schemas.microsoft.com/office/drawing/2014/main" id="{23B2DC94-445D-A0AB-8528-5614C48C4CC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179882" y="3467312"/>
            <a:ext cx="225572" cy="256054"/>
          </a:xfrm>
          <a:prstGeom prst="rect">
            <a:avLst/>
          </a:prstGeom>
        </p:spPr>
      </p:pic>
      <p:pic>
        <p:nvPicPr>
          <p:cNvPr id="2533" name="!!Pic28">
            <a:extLst>
              <a:ext uri="{FF2B5EF4-FFF2-40B4-BE49-F238E27FC236}">
                <a16:creationId xmlns:a16="http://schemas.microsoft.com/office/drawing/2014/main" id="{5F7D0701-6A63-A6B7-0E92-CE9EFAABD70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522782" y="3492712"/>
            <a:ext cx="225572" cy="256054"/>
          </a:xfrm>
          <a:prstGeom prst="rect">
            <a:avLst/>
          </a:prstGeom>
        </p:spPr>
      </p:pic>
      <p:pic>
        <p:nvPicPr>
          <p:cNvPr id="2534" name="!!Pic27">
            <a:extLst>
              <a:ext uri="{FF2B5EF4-FFF2-40B4-BE49-F238E27FC236}">
                <a16:creationId xmlns:a16="http://schemas.microsoft.com/office/drawing/2014/main" id="{67E0858B-5057-F7F9-4064-63F837B5DBA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916482" y="3448262"/>
            <a:ext cx="225572" cy="256054"/>
          </a:xfrm>
          <a:prstGeom prst="rect">
            <a:avLst/>
          </a:prstGeom>
        </p:spPr>
      </p:pic>
      <p:pic>
        <p:nvPicPr>
          <p:cNvPr id="2535" name="!!Pic26">
            <a:extLst>
              <a:ext uri="{FF2B5EF4-FFF2-40B4-BE49-F238E27FC236}">
                <a16:creationId xmlns:a16="http://schemas.microsoft.com/office/drawing/2014/main" id="{AB5A6988-72E2-5523-558F-BBD2C9C38AA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852982" y="2838662"/>
            <a:ext cx="225572" cy="256054"/>
          </a:xfrm>
          <a:prstGeom prst="rect">
            <a:avLst/>
          </a:prstGeom>
        </p:spPr>
      </p:pic>
      <p:pic>
        <p:nvPicPr>
          <p:cNvPr id="2536" name="!!Pic42">
            <a:extLst>
              <a:ext uri="{FF2B5EF4-FFF2-40B4-BE49-F238E27FC236}">
                <a16:creationId xmlns:a16="http://schemas.microsoft.com/office/drawing/2014/main" id="{845E4BE7-765E-4959-8383-D21975A4551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694232" y="4521412"/>
            <a:ext cx="225572" cy="256054"/>
          </a:xfrm>
          <a:prstGeom prst="rect">
            <a:avLst/>
          </a:prstGeom>
        </p:spPr>
      </p:pic>
      <p:pic>
        <p:nvPicPr>
          <p:cNvPr id="2537" name="!!Pic40">
            <a:extLst>
              <a:ext uri="{FF2B5EF4-FFF2-40B4-BE49-F238E27FC236}">
                <a16:creationId xmlns:a16="http://schemas.microsoft.com/office/drawing/2014/main" id="{A5951E9F-EE2E-8BF0-4AFE-6122C99C70B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637082" y="4826212"/>
            <a:ext cx="225572" cy="256054"/>
          </a:xfrm>
          <a:prstGeom prst="rect">
            <a:avLst/>
          </a:prstGeom>
        </p:spPr>
      </p:pic>
      <p:pic>
        <p:nvPicPr>
          <p:cNvPr id="2538" name="!!Pic39">
            <a:extLst>
              <a:ext uri="{FF2B5EF4-FFF2-40B4-BE49-F238E27FC236}">
                <a16:creationId xmlns:a16="http://schemas.microsoft.com/office/drawing/2014/main" id="{A58FE25A-E89B-3E10-4F08-37C6BF16FA3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970332" y="4724612"/>
            <a:ext cx="225572" cy="256054"/>
          </a:xfrm>
          <a:prstGeom prst="rect">
            <a:avLst/>
          </a:prstGeom>
        </p:spPr>
      </p:pic>
      <p:pic>
        <p:nvPicPr>
          <p:cNvPr id="2539" name="!!Pic38">
            <a:extLst>
              <a:ext uri="{FF2B5EF4-FFF2-40B4-BE49-F238E27FC236}">
                <a16:creationId xmlns:a16="http://schemas.microsoft.com/office/drawing/2014/main" id="{87418774-349E-8B03-2DE6-97740BFAB45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354382" y="4654762"/>
            <a:ext cx="225572" cy="256054"/>
          </a:xfrm>
          <a:prstGeom prst="rect">
            <a:avLst/>
          </a:prstGeom>
        </p:spPr>
      </p:pic>
      <p:pic>
        <p:nvPicPr>
          <p:cNvPr id="2540" name="!!Pic37">
            <a:extLst>
              <a:ext uri="{FF2B5EF4-FFF2-40B4-BE49-F238E27FC236}">
                <a16:creationId xmlns:a16="http://schemas.microsoft.com/office/drawing/2014/main" id="{CD43EB10-F49E-92AA-B97F-8FD6E50224D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38432" y="4978612"/>
            <a:ext cx="225572" cy="256054"/>
          </a:xfrm>
          <a:prstGeom prst="rect">
            <a:avLst/>
          </a:prstGeom>
        </p:spPr>
      </p:pic>
      <p:pic>
        <p:nvPicPr>
          <p:cNvPr id="2541" name="!!Pic36">
            <a:extLst>
              <a:ext uri="{FF2B5EF4-FFF2-40B4-BE49-F238E27FC236}">
                <a16:creationId xmlns:a16="http://schemas.microsoft.com/office/drawing/2014/main" id="{D8E0A0C5-1EEB-D555-087D-D834ED7FF5C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395532" y="4222962"/>
            <a:ext cx="225572" cy="256054"/>
          </a:xfrm>
          <a:prstGeom prst="rect">
            <a:avLst/>
          </a:prstGeom>
        </p:spPr>
      </p:pic>
      <p:sp>
        <p:nvSpPr>
          <p:cNvPr id="1052" name="Rectangle: Rounded Corners 1051">
            <a:extLst>
              <a:ext uri="{FF2B5EF4-FFF2-40B4-BE49-F238E27FC236}">
                <a16:creationId xmlns:a16="http://schemas.microsoft.com/office/drawing/2014/main" id="{5B8B7BB4-F357-5A87-5762-F5DF30A5DB3D}"/>
              </a:ext>
            </a:extLst>
          </p:cNvPr>
          <p:cNvSpPr/>
          <p:nvPr/>
        </p:nvSpPr>
        <p:spPr>
          <a:xfrm>
            <a:off x="4733864" y="1604685"/>
            <a:ext cx="2431972" cy="707886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AR-T eligible</a:t>
            </a:r>
            <a:r>
              <a:rPr kumimoji="0" lang="en-GB" sz="2000" b="1" i="0" u="none" strike="noStrike" kern="1200" cap="none" spc="0" normalizeH="0" baseline="3000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–3,</a:t>
            </a: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*</a:t>
            </a:r>
            <a:endParaRPr kumimoji="0" lang="en-GB" sz="2000" b="1" i="0" u="none" strike="noStrike" kern="1200" cap="none" spc="0" normalizeH="0" baseline="3000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(Primary refractory or relapse </a:t>
            </a:r>
            <a:b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within 12 months)</a:t>
            </a:r>
          </a:p>
        </p:txBody>
      </p:sp>
    </p:spTree>
    <p:extLst>
      <p:ext uri="{BB962C8B-B14F-4D97-AF65-F5344CB8AC3E}">
        <p14:creationId xmlns:p14="http://schemas.microsoft.com/office/powerpoint/2010/main" val="170483614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10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104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10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14" dur="500" fill="hold"/>
                                        <p:tgtEl>
                                          <p:spTgt spid="104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50"/>
                                        <p:tgtEl>
                                          <p:spTgt spid="10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decel="100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19" dur="500" fill="hold"/>
                                        <p:tgtEl>
                                          <p:spTgt spid="104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50"/>
                                        <p:tgtEl>
                                          <p:spTgt spid="10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2" presetClass="path" presetSubtype="0" decel="100000" fill="hold" grpId="1" nodeType="with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24" dur="500" fill="hold"/>
                                        <p:tgtEl>
                                          <p:spTgt spid="104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grpId="0" nodeType="click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250"/>
                                        <p:tgtEl>
                                          <p:spTgt spid="10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42" presetClass="path" presetSubtype="0" decel="100000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0.01719 -0.00024 L -1.25E-6 4.44444E-6 " pathEditMode="relative" rAng="0" ptsTypes="AA">
                                      <p:cBhvr>
                                        <p:cTn id="31" dur="500" fill="hold"/>
                                        <p:tgtEl>
                                          <p:spTgt spid="104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250"/>
                                        <p:tgtEl>
                                          <p:spTgt spid="10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42" presetClass="path" presetSubtype="0" decel="10000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-0.01719 -0.00023 L 4.79167E-6 7.40741E-7 " pathEditMode="relative" rAng="0" ptsTypes="AA">
                                      <p:cBhvr>
                                        <p:cTn id="36" dur="500" fill="hold"/>
                                        <p:tgtEl>
                                          <p:spTgt spid="105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250"/>
                                        <p:tgtEl>
                                          <p:spTgt spid="10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42" presetClass="path" presetSubtype="0" decel="100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-0.01718 -0.00023 L -2.5E-6 -4.44444E-6 " pathEditMode="relative" rAng="0" ptsTypes="AA">
                                      <p:cBhvr>
                                        <p:cTn id="41" dur="500" fill="hold"/>
                                        <p:tgtEl>
                                          <p:spTgt spid="105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45" grpId="0" animBg="1"/>
      <p:bldP spid="1045" grpId="1" animBg="1"/>
      <p:bldP spid="1046" grpId="0" animBg="1"/>
      <p:bldP spid="1046" grpId="1" animBg="1"/>
      <p:bldP spid="1047" grpId="0" animBg="1"/>
      <p:bldP spid="1047" grpId="1" animBg="1"/>
      <p:bldP spid="1048" grpId="0" animBg="1"/>
      <p:bldP spid="1048" grpId="1" animBg="1"/>
      <p:bldP spid="1049" grpId="0" animBg="1"/>
      <p:bldP spid="1049" grpId="1" animBg="1"/>
      <p:bldP spid="1050" grpId="0" animBg="1"/>
      <p:bldP spid="1050" grpId="1" animBg="1"/>
      <p:bldP spid="1051" grpId="0" animBg="1"/>
      <p:bldP spid="1051" grpId="1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440035A-BE61-BD28-04C8-EB2197D7A2B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>
            <a:extLst>
              <a:ext uri="{FF2B5EF4-FFF2-40B4-BE49-F238E27FC236}">
                <a16:creationId xmlns:a16="http://schemas.microsoft.com/office/drawing/2014/main" id="{F14D08DB-0401-46A0-A499-D5480C196513}"/>
              </a:ext>
            </a:extLst>
          </p:cNvPr>
          <p:cNvSpPr txBox="1"/>
          <p:nvPr/>
        </p:nvSpPr>
        <p:spPr>
          <a:xfrm>
            <a:off x="6521701" y="3210688"/>
            <a:ext cx="2237983" cy="1692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o intention to proceed to ASC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F9032D9-B863-8051-B162-9D3ED33B87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Guidelines recommend ASCT for eligible patients who relapse after 12 months</a:t>
            </a:r>
            <a:r>
              <a:rPr lang="en-GB" baseline="30000" dirty="0"/>
              <a:t>1</a:t>
            </a:r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001BF16-BDC0-B8E4-C15F-22FFE3272BC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GB" dirty="0"/>
              <a:t>*CAR-T cell therapy may not be appropriate in patients with PS&gt;2 or who have a large tumour volume and/or rapidly increasing LDH level. †2L immunochemotherapy before HDT/ASCT, in case of CMR, go to HDT/ASCT [IA]. 1L, first line; 2L, second line; 3L+, third line and beyond; ASCT, autologous stem cell transplantation; axi-cel, axicabtagene ciloleucel; CAR-T, chimeric antigen receptor T-cell therapy; </a:t>
            </a:r>
            <a:endParaRPr lang="en-CH" dirty="0"/>
          </a:p>
          <a:p>
            <a:r>
              <a:rPr lang="en-GB" dirty="0"/>
              <a:t>C(M)R, complete (metabolic) response; Epcor, epcoritamab; GemOx, gemcitabine and oxaliplatin; Glofit, glofitamab; HDT, high-dose therapy; LBCL, large B-cell lymphoma; LDH, lactate dehydrogenase; </a:t>
            </a:r>
            <a:endParaRPr lang="en-CH" dirty="0"/>
          </a:p>
          <a:p>
            <a:r>
              <a:rPr lang="en-GB" dirty="0" err="1"/>
              <a:t>len</a:t>
            </a:r>
            <a:r>
              <a:rPr lang="en-GB" dirty="0"/>
              <a:t>, lenalidomide; liso-cel, lisocabtagene maraleucel; Pola-BR, polatuzumab vedotin, bendamustine and rituximab; Pola-R-CHP, polatuzumab vedotin, rituximab, cyclophosphamide, doxorubicin, prednisone; PR, partial response; PS, performance status; R-CHOP, rituximab, cyclophosphamide, doxorubicin, vincristine, prednisone; Tafa, tafasitamab. </a:t>
            </a:r>
            <a:r>
              <a:rPr lang="en-GB" b="1" dirty="0"/>
              <a:t>1. </a:t>
            </a:r>
            <a:r>
              <a:rPr lang="en-GB" dirty="0"/>
              <a:t>Thieblemont et al. </a:t>
            </a:r>
            <a:r>
              <a:rPr lang="en-GB" i="1" dirty="0" err="1"/>
              <a:t>Hemasphere</a:t>
            </a:r>
            <a:r>
              <a:rPr lang="en-GB" dirty="0"/>
              <a:t> 2025.</a:t>
            </a: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BCF43B49-87D6-927F-46A3-0FD2F9F8B27F}"/>
              </a:ext>
            </a:extLst>
          </p:cNvPr>
          <p:cNvSpPr/>
          <p:nvPr/>
        </p:nvSpPr>
        <p:spPr>
          <a:xfrm>
            <a:off x="3104147" y="3654931"/>
            <a:ext cx="5564068" cy="918469"/>
          </a:xfrm>
          <a:prstGeom prst="roundRect">
            <a:avLst>
              <a:gd name="adj" fmla="val 8884"/>
            </a:avLst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72000" rtlCol="0" anchor="ctr"/>
          <a:lstStyle/>
          <a:p>
            <a:pPr marL="144000" marR="0" lvl="0" indent="-144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617DC361-278E-CB76-EECC-A3D82D4DE422}"/>
              </a:ext>
            </a:extLst>
          </p:cNvPr>
          <p:cNvSpPr/>
          <p:nvPr/>
        </p:nvSpPr>
        <p:spPr>
          <a:xfrm>
            <a:off x="573741" y="2665052"/>
            <a:ext cx="10924759" cy="1980000"/>
          </a:xfrm>
          <a:prstGeom prst="roundRect">
            <a:avLst>
              <a:gd name="adj" fmla="val 2875"/>
            </a:avLst>
          </a:prstGeom>
          <a:noFill/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0EF719ED-3575-151C-2FD4-2263E9A72E0D}"/>
              </a:ext>
            </a:extLst>
          </p:cNvPr>
          <p:cNvSpPr/>
          <p:nvPr/>
        </p:nvSpPr>
        <p:spPr>
          <a:xfrm>
            <a:off x="3101223" y="3701287"/>
            <a:ext cx="3359050" cy="1023219"/>
          </a:xfrm>
          <a:prstGeom prst="roundRect">
            <a:avLst>
              <a:gd name="adj" fmla="val 3218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72000" rtlCol="0" anchor="t"/>
          <a:lstStyle/>
          <a:p>
            <a:pPr marL="144000" marR="0" lvl="0" indent="-144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Glofit-GemOx [IA]</a:t>
            </a:r>
          </a:p>
          <a:p>
            <a:pPr marL="144000" marR="0" lvl="0" indent="-144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ituximab-chemotherapy [IB]</a:t>
            </a:r>
          </a:p>
          <a:p>
            <a:pPr marL="144000" marR="0" lvl="0" indent="-144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ola-BR [IIIB]</a:t>
            </a:r>
          </a:p>
          <a:p>
            <a:pPr marL="144000" marR="0" lvl="0" indent="-144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afa-len [IIIC] in non-refractory patients</a:t>
            </a:r>
          </a:p>
        </p:txBody>
      </p:sp>
      <p:cxnSp>
        <p:nvCxnSpPr>
          <p:cNvPr id="10" name="Connector: Elbow 9">
            <a:extLst>
              <a:ext uri="{FF2B5EF4-FFF2-40B4-BE49-F238E27FC236}">
                <a16:creationId xmlns:a16="http://schemas.microsoft.com/office/drawing/2014/main" id="{2EB4AF9A-4AAC-849F-90B1-81420BDA3CAD}"/>
              </a:ext>
            </a:extLst>
          </p:cNvPr>
          <p:cNvCxnSpPr>
            <a:cxnSpLocks/>
            <a:stCxn id="48" idx="2"/>
            <a:endCxn id="4" idx="0"/>
          </p:cNvCxnSpPr>
          <p:nvPr/>
        </p:nvCxnSpPr>
        <p:spPr>
          <a:xfrm rot="16200000" flipH="1">
            <a:off x="4235103" y="2003852"/>
            <a:ext cx="515779" cy="2786377"/>
          </a:xfrm>
          <a:prstGeom prst="bentConnector3">
            <a:avLst>
              <a:gd name="adj1" fmla="val 50000"/>
            </a:avLst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nector: Elbow 10">
            <a:extLst>
              <a:ext uri="{FF2B5EF4-FFF2-40B4-BE49-F238E27FC236}">
                <a16:creationId xmlns:a16="http://schemas.microsoft.com/office/drawing/2014/main" id="{7D2BB2E2-7E2B-E106-9608-3FC170BDFCF8}"/>
              </a:ext>
            </a:extLst>
          </p:cNvPr>
          <p:cNvCxnSpPr>
            <a:cxnSpLocks/>
            <a:stCxn id="7" idx="2"/>
            <a:endCxn id="4" idx="0"/>
          </p:cNvCxnSpPr>
          <p:nvPr/>
        </p:nvCxnSpPr>
        <p:spPr>
          <a:xfrm rot="5400000">
            <a:off x="6992110" y="2033224"/>
            <a:ext cx="515779" cy="2727635"/>
          </a:xfrm>
          <a:prstGeom prst="bentConnector3">
            <a:avLst>
              <a:gd name="adj1" fmla="val 50000"/>
            </a:avLst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E8EDFFBD-1F95-CBB5-B35A-C0E7E0403C32}"/>
              </a:ext>
            </a:extLst>
          </p:cNvPr>
          <p:cNvSpPr txBox="1"/>
          <p:nvPr/>
        </p:nvSpPr>
        <p:spPr>
          <a:xfrm>
            <a:off x="3171953" y="3210688"/>
            <a:ext cx="2007079" cy="1692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o intention to proceed to CAR-T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3CFFAF8A-9A42-9325-74F4-8A43F704C6D0}"/>
              </a:ext>
            </a:extLst>
          </p:cNvPr>
          <p:cNvSpPr txBox="1"/>
          <p:nvPr/>
        </p:nvSpPr>
        <p:spPr>
          <a:xfrm>
            <a:off x="720762" y="1728443"/>
            <a:ext cx="349644" cy="2769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L</a:t>
            </a:r>
          </a:p>
        </p:txBody>
      </p: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F2E5191B-EF75-B2F4-395B-96144E40ECA9}"/>
              </a:ext>
            </a:extLst>
          </p:cNvPr>
          <p:cNvSpPr/>
          <p:nvPr/>
        </p:nvSpPr>
        <p:spPr>
          <a:xfrm>
            <a:off x="1185839" y="1728443"/>
            <a:ext cx="1819765" cy="684315"/>
          </a:xfrm>
          <a:prstGeom prst="roundRect">
            <a:avLst>
              <a:gd name="adj" fmla="val 7584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0 risk factors</a:t>
            </a:r>
          </a:p>
          <a:p>
            <a:pPr marL="0" marR="0" lvl="0" indent="0" algn="ctr" defTabSz="914400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tage I/II, &lt;80 years</a:t>
            </a:r>
          </a:p>
          <a:p>
            <a:pPr marL="0" marR="0" lvl="0" indent="0" algn="ctr" defTabSz="914400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-CHOP [IA]</a:t>
            </a:r>
          </a:p>
        </p:txBody>
      </p:sp>
      <p:sp>
        <p:nvSpPr>
          <p:cNvPr id="35" name="Rectangle: Rounded Corners 34">
            <a:extLst>
              <a:ext uri="{FF2B5EF4-FFF2-40B4-BE49-F238E27FC236}">
                <a16:creationId xmlns:a16="http://schemas.microsoft.com/office/drawing/2014/main" id="{4BF7F2F8-1CF3-4EC7-14E3-8BAAF7621B11}"/>
              </a:ext>
            </a:extLst>
          </p:cNvPr>
          <p:cNvSpPr/>
          <p:nvPr/>
        </p:nvSpPr>
        <p:spPr>
          <a:xfrm>
            <a:off x="573764" y="1534638"/>
            <a:ext cx="10924759" cy="937056"/>
          </a:xfrm>
          <a:prstGeom prst="roundRect">
            <a:avLst>
              <a:gd name="adj" fmla="val 6385"/>
            </a:avLst>
          </a:prstGeom>
          <a:noFill/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6" name="Rectangle: Rounded Corners 35">
            <a:extLst>
              <a:ext uri="{FF2B5EF4-FFF2-40B4-BE49-F238E27FC236}">
                <a16:creationId xmlns:a16="http://schemas.microsoft.com/office/drawing/2014/main" id="{CDFD883C-6784-8A33-A2D7-9FEC74695A1F}"/>
              </a:ext>
            </a:extLst>
          </p:cNvPr>
          <p:cNvSpPr/>
          <p:nvPr/>
        </p:nvSpPr>
        <p:spPr>
          <a:xfrm>
            <a:off x="3242596" y="1728443"/>
            <a:ext cx="3363172" cy="684315"/>
          </a:xfrm>
          <a:prstGeom prst="roundRect">
            <a:avLst>
              <a:gd name="adj" fmla="val 7584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36000" rIns="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 risk factor</a:t>
            </a:r>
          </a:p>
          <a:p>
            <a:pPr marL="0" marR="0" lvl="0" indent="0" algn="ctr" defTabSz="914400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tage III/IV or Stage I/II with high LDH or poor PS, &lt;80 years</a:t>
            </a:r>
          </a:p>
          <a:p>
            <a:pPr marL="0" marR="0" lvl="0" indent="0" algn="ctr" defTabSz="914400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-CHOP [IA]</a:t>
            </a:r>
          </a:p>
        </p:txBody>
      </p:sp>
      <p:sp>
        <p:nvSpPr>
          <p:cNvPr id="37" name="Rectangle: Rounded Corners 36">
            <a:extLst>
              <a:ext uri="{FF2B5EF4-FFF2-40B4-BE49-F238E27FC236}">
                <a16:creationId xmlns:a16="http://schemas.microsoft.com/office/drawing/2014/main" id="{3A707CC4-1DDE-ACB2-123A-30B573567B9F}"/>
              </a:ext>
            </a:extLst>
          </p:cNvPr>
          <p:cNvSpPr/>
          <p:nvPr/>
        </p:nvSpPr>
        <p:spPr>
          <a:xfrm>
            <a:off x="6842761" y="1728443"/>
            <a:ext cx="4407042" cy="684315"/>
          </a:xfrm>
          <a:prstGeom prst="roundRect">
            <a:avLst>
              <a:gd name="adj" fmla="val 7584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36000" rIns="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≥2 risk factors</a:t>
            </a:r>
          </a:p>
          <a:p>
            <a:pPr marL="0" marR="0" lvl="0" indent="0" algn="ctr" defTabSz="914400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tage III/IV and high LDH and/or poor PS and/or ≥2 extranodal sites, &lt;80 years</a:t>
            </a:r>
          </a:p>
          <a:p>
            <a:pPr marL="0" marR="0" lvl="0" indent="0" algn="ctr" defTabSz="914400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ola-R-CHP [IB]</a:t>
            </a:r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735B6168-FF78-5FE5-A0DB-CC423F910FBE}"/>
              </a:ext>
            </a:extLst>
          </p:cNvPr>
          <p:cNvSpPr/>
          <p:nvPr/>
        </p:nvSpPr>
        <p:spPr>
          <a:xfrm>
            <a:off x="6587606" y="3647497"/>
            <a:ext cx="1971461" cy="1023219"/>
          </a:xfrm>
          <a:prstGeom prst="roundRect">
            <a:avLst>
              <a:gd name="adj" fmla="val 3218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72000" rtlCol="0" anchor="t"/>
          <a:lstStyle/>
          <a:p>
            <a:pPr marL="144000" marR="0" lvl="0" indent="-144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Epcor-GemOx [IIIC] when available</a:t>
            </a:r>
          </a:p>
          <a:p>
            <a:pPr marL="144000" marR="0" lvl="0" indent="-144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linical trial</a:t>
            </a:r>
          </a:p>
          <a:p>
            <a:pPr marL="144000" marR="0" lvl="0" indent="-144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Best supportive care</a:t>
            </a:r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CEA9284E-492C-9A37-21BC-50C873E74AC0}"/>
              </a:ext>
            </a:extLst>
          </p:cNvPr>
          <p:cNvSpPr/>
          <p:nvPr/>
        </p:nvSpPr>
        <p:spPr>
          <a:xfrm>
            <a:off x="4252027" y="2557453"/>
            <a:ext cx="4010025" cy="224241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r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Biopsy and CD19 testing recommended</a:t>
            </a:r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AC7B9679-B2D2-CEC9-1594-CDAD230C5EC4}"/>
              </a:ext>
            </a:extLst>
          </p:cNvPr>
          <p:cNvSpPr/>
          <p:nvPr/>
        </p:nvSpPr>
        <p:spPr>
          <a:xfrm>
            <a:off x="4252027" y="1418443"/>
            <a:ext cx="4010025" cy="224241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r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D20 assessment recommended</a:t>
            </a:r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D9DF67EB-DB04-C64D-02C5-ABCDB050B533}"/>
              </a:ext>
            </a:extLst>
          </p:cNvPr>
          <p:cNvSpPr/>
          <p:nvPr/>
        </p:nvSpPr>
        <p:spPr>
          <a:xfrm>
            <a:off x="573741" y="4896987"/>
            <a:ext cx="10924759" cy="837784"/>
          </a:xfrm>
          <a:prstGeom prst="roundRect">
            <a:avLst>
              <a:gd name="adj" fmla="val 6795"/>
            </a:avLst>
          </a:prstGeom>
          <a:noFill/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EA8EB097-E506-5E3D-0D22-064EAA62FAF2}"/>
              </a:ext>
            </a:extLst>
          </p:cNvPr>
          <p:cNvSpPr txBox="1"/>
          <p:nvPr/>
        </p:nvSpPr>
        <p:spPr>
          <a:xfrm>
            <a:off x="720762" y="5113363"/>
            <a:ext cx="487095" cy="2769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3L+</a:t>
            </a:r>
          </a:p>
        </p:txBody>
      </p:sp>
      <p:sp>
        <p:nvSpPr>
          <p:cNvPr id="43" name="Rectangle: Rounded Corners 42">
            <a:extLst>
              <a:ext uri="{FF2B5EF4-FFF2-40B4-BE49-F238E27FC236}">
                <a16:creationId xmlns:a16="http://schemas.microsoft.com/office/drawing/2014/main" id="{D6E05C58-C512-62C4-40CF-36ECCE34A8E9}"/>
              </a:ext>
            </a:extLst>
          </p:cNvPr>
          <p:cNvSpPr/>
          <p:nvPr/>
        </p:nvSpPr>
        <p:spPr>
          <a:xfrm>
            <a:off x="1185838" y="5113363"/>
            <a:ext cx="4746611" cy="534826"/>
          </a:xfrm>
          <a:prstGeom prst="roundRect">
            <a:avLst>
              <a:gd name="adj" fmla="val 10195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CAR-T* [III, A], bispecific antibodies [III, C], loncastuximab tesirine [III, C], Tafa-len [III, C], Pola-BR [III, B]</a:t>
            </a:r>
          </a:p>
        </p:txBody>
      </p:sp>
      <p:sp>
        <p:nvSpPr>
          <p:cNvPr id="44" name="Rectangle: Rounded Corners 43">
            <a:extLst>
              <a:ext uri="{FF2B5EF4-FFF2-40B4-BE49-F238E27FC236}">
                <a16:creationId xmlns:a16="http://schemas.microsoft.com/office/drawing/2014/main" id="{F1E465AC-019C-0F85-84D4-2A8CE1AA4468}"/>
              </a:ext>
            </a:extLst>
          </p:cNvPr>
          <p:cNvSpPr/>
          <p:nvPr/>
        </p:nvSpPr>
        <p:spPr>
          <a:xfrm>
            <a:off x="6072469" y="5113363"/>
            <a:ext cx="2595745" cy="534826"/>
          </a:xfrm>
          <a:prstGeom prst="roundRect">
            <a:avLst>
              <a:gd name="adj" fmla="val 10195"/>
            </a:avLst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ts val="13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In limited stage: I</a:t>
            </a:r>
            <a:r>
              <a:rPr kumimoji="0" lang="en-CH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volved</a:t>
            </a:r>
            <a:r>
              <a:rPr kumimoji="0" lang="en-CH" sz="14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site radiotherapy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5" name="Rectangle: Rounded Corners 44">
            <a:extLst>
              <a:ext uri="{FF2B5EF4-FFF2-40B4-BE49-F238E27FC236}">
                <a16:creationId xmlns:a16="http://schemas.microsoft.com/office/drawing/2014/main" id="{87021931-3F8B-64E9-CB46-BAB2728CCB4C}"/>
              </a:ext>
            </a:extLst>
          </p:cNvPr>
          <p:cNvSpPr/>
          <p:nvPr/>
        </p:nvSpPr>
        <p:spPr>
          <a:xfrm>
            <a:off x="8834818" y="5113363"/>
            <a:ext cx="2414012" cy="534826"/>
          </a:xfrm>
          <a:prstGeom prst="roundRect">
            <a:avLst>
              <a:gd name="adj" fmla="val 14365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ts val="13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linical trials</a:t>
            </a:r>
            <a:b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Best supportive care</a:t>
            </a:r>
          </a:p>
        </p:txBody>
      </p:sp>
      <p:sp>
        <p:nvSpPr>
          <p:cNvPr id="46" name="Rectangle: Rounded Corners 45">
            <a:extLst>
              <a:ext uri="{FF2B5EF4-FFF2-40B4-BE49-F238E27FC236}">
                <a16:creationId xmlns:a16="http://schemas.microsoft.com/office/drawing/2014/main" id="{7538E9B0-5BE4-063E-1D68-486B52B89C69}"/>
              </a:ext>
            </a:extLst>
          </p:cNvPr>
          <p:cNvSpPr/>
          <p:nvPr/>
        </p:nvSpPr>
        <p:spPr>
          <a:xfrm>
            <a:off x="4252027" y="4782326"/>
            <a:ext cx="4010025" cy="242932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r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Biopsy strongly recommended before 3L</a:t>
            </a:r>
          </a:p>
        </p:txBody>
      </p:sp>
      <p:sp>
        <p:nvSpPr>
          <p:cNvPr id="48" name="Rectangle: Rounded Corners 47">
            <a:extLst>
              <a:ext uri="{FF2B5EF4-FFF2-40B4-BE49-F238E27FC236}">
                <a16:creationId xmlns:a16="http://schemas.microsoft.com/office/drawing/2014/main" id="{B177B2D1-7707-540E-91A6-311D0165A044}"/>
              </a:ext>
            </a:extLst>
          </p:cNvPr>
          <p:cNvSpPr/>
          <p:nvPr/>
        </p:nvSpPr>
        <p:spPr>
          <a:xfrm>
            <a:off x="1185838" y="2856113"/>
            <a:ext cx="3827932" cy="283039"/>
          </a:xfrm>
          <a:prstGeom prst="roundRect">
            <a:avLst>
              <a:gd name="adj" fmla="val 16664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imary refractory or relapse within 12 months</a:t>
            </a:r>
          </a:p>
        </p:txBody>
      </p:sp>
      <p:sp>
        <p:nvSpPr>
          <p:cNvPr id="49" name="Rectangle: Rounded Corners 48">
            <a:extLst>
              <a:ext uri="{FF2B5EF4-FFF2-40B4-BE49-F238E27FC236}">
                <a16:creationId xmlns:a16="http://schemas.microsoft.com/office/drawing/2014/main" id="{DC232DA9-2D1A-6FAE-989F-F51BEA7F0DFC}"/>
              </a:ext>
            </a:extLst>
          </p:cNvPr>
          <p:cNvSpPr/>
          <p:nvPr/>
        </p:nvSpPr>
        <p:spPr>
          <a:xfrm>
            <a:off x="1185838" y="3654933"/>
            <a:ext cx="1764411" cy="918467"/>
          </a:xfrm>
          <a:prstGeom prst="roundRect">
            <a:avLst>
              <a:gd name="adj" fmla="val 8605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xi-cel [IA] or </a:t>
            </a:r>
            <a:b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liso-cel [IA]*</a:t>
            </a:r>
          </a:p>
        </p:txBody>
      </p:sp>
      <p:cxnSp>
        <p:nvCxnSpPr>
          <p:cNvPr id="51" name="Connector: Elbow 50">
            <a:extLst>
              <a:ext uri="{FF2B5EF4-FFF2-40B4-BE49-F238E27FC236}">
                <a16:creationId xmlns:a16="http://schemas.microsoft.com/office/drawing/2014/main" id="{74A13766-6F38-2B1B-EA54-CC4631F71BB8}"/>
              </a:ext>
            </a:extLst>
          </p:cNvPr>
          <p:cNvCxnSpPr>
            <a:cxnSpLocks/>
            <a:stCxn id="48" idx="2"/>
            <a:endCxn id="49" idx="0"/>
          </p:cNvCxnSpPr>
          <p:nvPr/>
        </p:nvCxnSpPr>
        <p:spPr>
          <a:xfrm rot="5400000">
            <a:off x="2326034" y="2881162"/>
            <a:ext cx="515781" cy="1031760"/>
          </a:xfrm>
          <a:prstGeom prst="bentConnector3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Box 52">
            <a:extLst>
              <a:ext uri="{FF2B5EF4-FFF2-40B4-BE49-F238E27FC236}">
                <a16:creationId xmlns:a16="http://schemas.microsoft.com/office/drawing/2014/main" id="{63743B68-135C-7408-60E3-DBF73264CADF}"/>
              </a:ext>
            </a:extLst>
          </p:cNvPr>
          <p:cNvSpPr txBox="1"/>
          <p:nvPr/>
        </p:nvSpPr>
        <p:spPr>
          <a:xfrm>
            <a:off x="2144281" y="3210688"/>
            <a:ext cx="893597" cy="1692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AR-T eligible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CB8440DA-37DD-4F2C-D766-E9348D951CB4}"/>
              </a:ext>
            </a:extLst>
          </p:cNvPr>
          <p:cNvSpPr/>
          <p:nvPr/>
        </p:nvSpPr>
        <p:spPr>
          <a:xfrm>
            <a:off x="470646" y="1319945"/>
            <a:ext cx="11125668" cy="4469898"/>
          </a:xfrm>
          <a:prstGeom prst="rect">
            <a:avLst/>
          </a:prstGeom>
          <a:solidFill>
            <a:srgbClr val="FFFFFF">
              <a:alpha val="80000"/>
            </a:srgbClr>
          </a:solidFill>
          <a:ln w="6350">
            <a:noFill/>
            <a:prstDash val="solid"/>
          </a:ln>
        </p:spPr>
        <p:txBody>
          <a:bodyPr wrap="squar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AD981134-EFEF-C68C-0924-CC25DF253941}"/>
              </a:ext>
            </a:extLst>
          </p:cNvPr>
          <p:cNvSpPr/>
          <p:nvPr/>
        </p:nvSpPr>
        <p:spPr>
          <a:xfrm>
            <a:off x="7437099" y="2856113"/>
            <a:ext cx="2353433" cy="283039"/>
          </a:xfrm>
          <a:prstGeom prst="roundRect">
            <a:avLst>
              <a:gd name="adj" fmla="val 16664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elapse after 12 months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C2EBCA22-A175-0358-E958-3BE9A88F5FEF}"/>
              </a:ext>
            </a:extLst>
          </p:cNvPr>
          <p:cNvSpPr/>
          <p:nvPr/>
        </p:nvSpPr>
        <p:spPr>
          <a:xfrm>
            <a:off x="8834818" y="3647498"/>
            <a:ext cx="2414011" cy="925902"/>
          </a:xfrm>
          <a:prstGeom prst="roundRect">
            <a:avLst>
              <a:gd name="adj" fmla="val 8605"/>
            </a:avLst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Immunochemotherapy</a:t>
            </a:r>
            <a:r>
              <a:rPr kumimoji="0" lang="en-GB" sz="1400" b="0" i="0" u="none" strike="noStrike" kern="1200" cap="none" spc="0" normalizeH="0" baseline="3000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† </a:t>
            </a: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followed by HDT/ASCT if CR/PR [IA]</a:t>
            </a:r>
          </a:p>
        </p:txBody>
      </p:sp>
      <p:cxnSp>
        <p:nvCxnSpPr>
          <p:cNvPr id="12" name="Connector: Elbow 11">
            <a:extLst>
              <a:ext uri="{FF2B5EF4-FFF2-40B4-BE49-F238E27FC236}">
                <a16:creationId xmlns:a16="http://schemas.microsoft.com/office/drawing/2014/main" id="{E5AA1E4A-8428-7B9E-A891-9DDA6219BBFE}"/>
              </a:ext>
            </a:extLst>
          </p:cNvPr>
          <p:cNvCxnSpPr>
            <a:cxnSpLocks/>
            <a:stCxn id="7" idx="2"/>
            <a:endCxn id="9" idx="0"/>
          </p:cNvCxnSpPr>
          <p:nvPr/>
        </p:nvCxnSpPr>
        <p:spPr>
          <a:xfrm rot="16200000" flipH="1">
            <a:off x="9073647" y="2679321"/>
            <a:ext cx="508346" cy="1428008"/>
          </a:xfrm>
          <a:prstGeom prst="bentConnector3">
            <a:avLst>
              <a:gd name="adj1" fmla="val 50468"/>
            </a:avLst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TextBox 59">
            <a:extLst>
              <a:ext uri="{FF2B5EF4-FFF2-40B4-BE49-F238E27FC236}">
                <a16:creationId xmlns:a16="http://schemas.microsoft.com/office/drawing/2014/main" id="{25C82CB2-6E1F-20EC-3BB2-B2C544BD8A20}"/>
              </a:ext>
            </a:extLst>
          </p:cNvPr>
          <p:cNvSpPr txBox="1"/>
          <p:nvPr/>
        </p:nvSpPr>
        <p:spPr>
          <a:xfrm>
            <a:off x="720762" y="2856113"/>
            <a:ext cx="312016" cy="2769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L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CB1DE17F-57F2-B505-F802-11C2584AE0E0}"/>
              </a:ext>
            </a:extLst>
          </p:cNvPr>
          <p:cNvSpPr txBox="1"/>
          <p:nvPr/>
        </p:nvSpPr>
        <p:spPr>
          <a:xfrm>
            <a:off x="8701116" y="3210688"/>
            <a:ext cx="1124590" cy="1692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SCT eligib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075AD5F-37BA-FB8F-2DB3-E6277A9D15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651" y="6356350"/>
            <a:ext cx="383694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948FB62-8746-4D0D-BA71-8EB1BEE683ED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82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6058691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145F853-55B7-1666-4F30-357F9BC026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Faculty disclosur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E90153-2F1F-81A2-33AB-5C40D536DE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06B0CF-28DA-4AF7-AD0B-CB9D5901F647}" type="slidenum">
              <a:rPr lang="en-GB" smtClean="0"/>
              <a:pPr/>
              <a:t>3</a:t>
            </a:fld>
            <a:endParaRPr lang="en-GB" dirty="0"/>
          </a:p>
        </p:txBody>
      </p:sp>
      <p:graphicFrame>
        <p:nvGraphicFramePr>
          <p:cNvPr id="12" name="Table 8">
            <a:extLst>
              <a:ext uri="{FF2B5EF4-FFF2-40B4-BE49-F238E27FC236}">
                <a16:creationId xmlns:a16="http://schemas.microsoft.com/office/drawing/2014/main" id="{DF0BCBEB-557E-8435-56BC-67836DEB56F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77194435"/>
              </p:ext>
            </p:extLst>
          </p:nvPr>
        </p:nvGraphicFramePr>
        <p:xfrm>
          <a:off x="772357" y="1182595"/>
          <a:ext cx="10652880" cy="4848207"/>
        </p:xfrm>
        <a:graphic>
          <a:graphicData uri="http://schemas.openxmlformats.org/drawingml/2006/table">
            <a:tbl>
              <a:tblPr bandRow="1">
                <a:tableStyleId>{00A15C55-8517-42AA-B614-E9B94910E393}</a:tableStyleId>
              </a:tblPr>
              <a:tblGrid>
                <a:gridCol w="19513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7537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75373">
                  <a:extLst>
                    <a:ext uri="{9D8B030D-6E8A-4147-A177-3AD203B41FA5}">
                      <a16:colId xmlns:a16="http://schemas.microsoft.com/office/drawing/2014/main" val="1197205491"/>
                    </a:ext>
                  </a:extLst>
                </a:gridCol>
                <a:gridCol w="2175373">
                  <a:extLst>
                    <a:ext uri="{9D8B030D-6E8A-4147-A177-3AD203B41FA5}">
                      <a16:colId xmlns:a16="http://schemas.microsoft.com/office/drawing/2014/main" val="4065470905"/>
                    </a:ext>
                  </a:extLst>
                </a:gridCol>
                <a:gridCol w="2175373">
                  <a:extLst>
                    <a:ext uri="{9D8B030D-6E8A-4147-A177-3AD203B41FA5}">
                      <a16:colId xmlns:a16="http://schemas.microsoft.com/office/drawing/2014/main" val="2137671565"/>
                    </a:ext>
                  </a:extLst>
                </a:gridCol>
              </a:tblGrid>
              <a:tr h="532505">
                <a:tc>
                  <a:txBody>
                    <a:bodyPr/>
                    <a:lstStyle/>
                    <a:p>
                      <a:endParaRPr lang="en-GB" sz="1100" b="1" dirty="0">
                        <a:solidFill>
                          <a:schemeClr val="tx2"/>
                        </a:solidFill>
                        <a:latin typeface="+mn-lt"/>
                        <a:cs typeface="Helvetica" panose="020B0604020202020204" pitchFamily="34" charset="0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1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Pier Luigi </a:t>
                      </a:r>
                      <a:r>
                        <a:rPr lang="en-GB" sz="1400" b="1" kern="1200" dirty="0" err="1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Zinzani</a:t>
                      </a:r>
                      <a:endParaRPr lang="en-GB" sz="1400" b="1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1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Anna Sureda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1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Andrew Davies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1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rico </a:t>
                      </a:r>
                      <a:r>
                        <a:rPr lang="en-GB" sz="1400" b="1" kern="1200" dirty="0" err="1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Derenzini</a:t>
                      </a:r>
                      <a:endParaRPr lang="en-GB" sz="1400" b="1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61075731"/>
                  </a:ext>
                </a:extLst>
              </a:tr>
              <a:tr h="720544">
                <a:tc>
                  <a:txBody>
                    <a:bodyPr/>
                    <a:lstStyle/>
                    <a:p>
                      <a:r>
                        <a:rPr lang="en-GB" sz="1400" b="1" dirty="0">
                          <a:solidFill>
                            <a:schemeClr val="tx2"/>
                          </a:solidFill>
                          <a:latin typeface="+mn-lt"/>
                        </a:rPr>
                        <a:t>Research support/PI</a:t>
                      </a:r>
                      <a:endParaRPr lang="en-GB" sz="1400" b="1" dirty="0">
                        <a:solidFill>
                          <a:schemeClr val="tx2"/>
                        </a:solidFill>
                        <a:latin typeface="+mn-lt"/>
                        <a:cs typeface="Helvetica" panose="020B0604020202020204" pitchFamily="34" charset="0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100" i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i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Takeda</a:t>
                      </a:r>
                    </a:p>
                  </a:txBody>
                  <a:tcPr marT="45732" marB="45732"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kern="120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Acerta Pharma/AstraZeneca; Celgene (a Bristol Myers Squibb Company); Janssen; Kite (a Gilead company); MSD; Roche</a:t>
                      </a:r>
                      <a:endParaRPr lang="en-GB" sz="11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i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ADC Therapeutics, </a:t>
                      </a:r>
                      <a:r>
                        <a:rPr lang="en-CH" sz="1100" i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Incyte, </a:t>
                      </a:r>
                      <a:r>
                        <a:rPr lang="en-GB" sz="1100" i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Takeda</a:t>
                      </a:r>
                    </a:p>
                  </a:txBody>
                  <a:tcPr marT="45732" marB="45732"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32505">
                <a:tc>
                  <a:txBody>
                    <a:bodyPr/>
                    <a:lstStyle/>
                    <a:p>
                      <a:r>
                        <a:rPr lang="en-GB" sz="1400" b="1" dirty="0">
                          <a:solidFill>
                            <a:schemeClr val="tx2"/>
                          </a:solidFill>
                          <a:latin typeface="+mn-lt"/>
                          <a:cs typeface="Helvetica" panose="020B0604020202020204" pitchFamily="34" charset="0"/>
                        </a:rPr>
                        <a:t>Employee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100" i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100" i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45732" marB="45732"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100" kern="1200" dirty="0">
                        <a:solidFill>
                          <a:schemeClr val="tx2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100" i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45732" marB="45732"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5247124"/>
                  </a:ext>
                </a:extLst>
              </a:tr>
              <a:tr h="88396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1" dirty="0">
                          <a:solidFill>
                            <a:schemeClr val="tx2"/>
                          </a:solidFill>
                          <a:latin typeface="+mn-lt"/>
                        </a:rPr>
                        <a:t>Consultant/</a:t>
                      </a:r>
                      <a:r>
                        <a:rPr lang="en-GB" sz="1400" b="1" dirty="0">
                          <a:solidFill>
                            <a:schemeClr val="tx2"/>
                          </a:solidFill>
                          <a:latin typeface="+mn-lt"/>
                          <a:cs typeface="Helvetica" panose="020B0604020202020204" pitchFamily="34" charset="0"/>
                        </a:rPr>
                        <a:t>Honoraria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i="0" kern="120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BMS, Beigene, Celltrion, Eli Lilly, Eusapharma, Gilead, Incyte, Janssen-Cilag, Kyowa Kirin, MSD, Novartis, Roche, Servier, Takeda, TG Therapeutics</a:t>
                      </a:r>
                      <a:endParaRPr lang="en-GB" sz="1100" i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i="0" kern="120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Abbvie, Amgen, BMS/Celgene, GenMab, Gilead Kite, Janssen, Jazz Pharmaceuticals, MSD, Novartis, Roche, Sanofi, Takeda</a:t>
                      </a:r>
                      <a:endParaRPr lang="en-GB" sz="1100" i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45732" marB="45732"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kern="120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Abbvie; Acerta Pharma/AstraZeneca; Celgene (a Bristol Myers Squibb Company); Janssen; JW Therapeutics; Kite (a Gilead company); Roche; Sobi</a:t>
                      </a:r>
                      <a:endParaRPr lang="en-GB" sz="11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H" sz="1100" i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AbbVie, AstraZeneca, J&amp;J, Regeneron</a:t>
                      </a:r>
                      <a:endParaRPr lang="en-GB" sz="1100" i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45732" marB="45732"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32505">
                <a:tc>
                  <a:txBody>
                    <a:bodyPr/>
                    <a:lstStyle/>
                    <a:p>
                      <a:r>
                        <a:rPr lang="en-GB" sz="1400" b="1" dirty="0">
                          <a:solidFill>
                            <a:schemeClr val="tx2"/>
                          </a:solidFill>
                          <a:latin typeface="+mn-lt"/>
                          <a:cs typeface="Helvetica" panose="020B0604020202020204" pitchFamily="34" charset="0"/>
                        </a:rPr>
                        <a:t>Major stockholder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100" i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100" i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45732" marB="45732"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100" i="0" kern="1200" dirty="0">
                        <a:solidFill>
                          <a:schemeClr val="tx2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45732" marB="45732"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100" i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45732" marB="45732"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5411858"/>
                  </a:ext>
                </a:extLst>
              </a:tr>
              <a:tr h="1047389">
                <a:tc>
                  <a:txBody>
                    <a:bodyPr/>
                    <a:lstStyle/>
                    <a:p>
                      <a:r>
                        <a:rPr lang="en-GB" sz="1400" b="1" dirty="0">
                          <a:solidFill>
                            <a:schemeClr val="tx2"/>
                          </a:solidFill>
                          <a:latin typeface="+mn-lt"/>
                        </a:rPr>
                        <a:t>Scientific advisory board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i="0" kern="120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ADC Therapeutics, Beigene, BMS, Celltrion, Eli Lilly, Eusapharma, Gilead, Incyte, Janssen-Cilag, Kyowa Kirin, MSD, Novartis, Roche, Sandoz, Secura Bio, Servier, Takeda, TG Therapeutics</a:t>
                      </a:r>
                      <a:endParaRPr lang="en-GB" sz="1100" i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i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Takeda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i="0" kern="120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Abbvie; Celgene (a Bristol Myers Squibb Company); Genmab; Incyte; Kite (a Gilead company); Prelude; Roche; Serb; Sobi</a:t>
                      </a:r>
                      <a:endParaRPr lang="en-GB" sz="1100" i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i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Abb</a:t>
                      </a:r>
                      <a:r>
                        <a:rPr lang="en-CH" sz="1100" i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V</a:t>
                      </a:r>
                      <a:r>
                        <a:rPr lang="en-GB" sz="1100" i="0" kern="1200" dirty="0" err="1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ie</a:t>
                      </a:r>
                      <a:r>
                        <a:rPr lang="en-GB" sz="1100" i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, AstraZeneca, </a:t>
                      </a:r>
                      <a:r>
                        <a:rPr lang="en-GB" sz="1100" i="0" kern="1200" dirty="0" err="1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Beigene</a:t>
                      </a:r>
                      <a:r>
                        <a:rPr lang="en-GB" sz="1100" i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en-CH" sz="1100" i="0" kern="1200" dirty="0" err="1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BeOne</a:t>
                      </a:r>
                      <a:r>
                        <a:rPr lang="en-CH" sz="1100" i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, BMS, </a:t>
                      </a:r>
                      <a:r>
                        <a:rPr lang="en-CH" sz="1100" i="0" kern="1200" dirty="0" err="1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GenMab</a:t>
                      </a:r>
                      <a:r>
                        <a:rPr lang="en-CH" sz="1100" i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, Gilead, J&amp;J, Lilly, Regeneron, </a:t>
                      </a:r>
                      <a:r>
                        <a:rPr lang="en-GB" sz="1100" i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Roche</a:t>
                      </a:r>
                      <a:r>
                        <a:rPr lang="en-CH" sz="1100" i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, Sobi, Takeda</a:t>
                      </a:r>
                      <a:endParaRPr lang="en-GB" sz="1100" i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30352">
                <a:tc>
                  <a:txBody>
                    <a:bodyPr/>
                    <a:lstStyle/>
                    <a:p>
                      <a:r>
                        <a:rPr lang="en-GB" sz="1400" b="1" dirty="0">
                          <a:solidFill>
                            <a:schemeClr val="tx2"/>
                          </a:solidFill>
                          <a:latin typeface="+mn-lt"/>
                          <a:cs typeface="Helvetica" panose="020B0604020202020204" pitchFamily="34" charset="0"/>
                        </a:rPr>
                        <a:t>Grant funding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100" i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100" i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100" i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100" i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7603925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CF3CD58-A914-C17E-A056-CA771556FE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D55150-C87C-3477-0C71-8200E6957B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0647" y="311857"/>
            <a:ext cx="9789459" cy="906649"/>
          </a:xfrm>
        </p:spPr>
        <p:txBody>
          <a:bodyPr/>
          <a:lstStyle/>
          <a:p>
            <a:r>
              <a:rPr lang="en-GB" dirty="0"/>
              <a:t>Not all eligible patients receive ASCT, and those who do can experience treatment failure and toxicitie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02067D2-0177-54D3-626A-960D15E5B5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948FB62-8746-4D0D-BA71-8EB1BEE683ED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82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F3ACD01-A9E6-9B2E-C9C6-78B0D83C0F6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 anchor="b" anchorCtr="0"/>
          <a:lstStyle/>
          <a:p>
            <a:r>
              <a:rPr lang="en-GB" dirty="0"/>
              <a:t>*ASCT eligibility defined as patients who relapse more than 12 months after receiving 1L therapy. †In a study of 791 patients with R/R LBCL, including 540 (68%) with DLBCL, NOS, 76 (10%) with transformed FL, and 32 with double- or triple-hit lymphoma. </a:t>
            </a:r>
            <a:r>
              <a:rPr lang="en-CH" dirty="0"/>
              <a:t>1L, first line; </a:t>
            </a:r>
            <a:r>
              <a:rPr lang="en-GB" dirty="0"/>
              <a:t>ASCT, autologous stem cell transplantation; CR, complete response; DLBCL, diffuse large B-cell lymphoma; FL, follicular lymphoma; </a:t>
            </a:r>
            <a:endParaRPr lang="en-CH" dirty="0"/>
          </a:p>
          <a:p>
            <a:r>
              <a:rPr lang="en-GB" dirty="0"/>
              <a:t>LBCL, large B-cell lymphoma; NOS, not otherwise specified; PR, partial response; R/R, relapsed</a:t>
            </a:r>
            <a:r>
              <a:rPr lang="en-CH" dirty="0"/>
              <a:t>/</a:t>
            </a:r>
            <a:r>
              <a:rPr lang="en-GB" dirty="0"/>
              <a:t>refractory; SCT, stem cell transplant. </a:t>
            </a:r>
            <a:r>
              <a:rPr lang="en-GB" b="1" dirty="0">
                <a:solidFill>
                  <a:srgbClr val="585854"/>
                </a:solidFill>
              </a:rPr>
              <a:t>1. </a:t>
            </a:r>
            <a:r>
              <a:rPr lang="en-GB" dirty="0" err="1">
                <a:solidFill>
                  <a:srgbClr val="585854"/>
                </a:solidFill>
              </a:rPr>
              <a:t>Thieblemont</a:t>
            </a:r>
            <a:r>
              <a:rPr lang="en-GB" dirty="0">
                <a:solidFill>
                  <a:srgbClr val="585854"/>
                </a:solidFill>
              </a:rPr>
              <a:t> et al. </a:t>
            </a:r>
            <a:r>
              <a:rPr lang="en-GB" i="1" dirty="0" err="1"/>
              <a:t>Hemasphere</a:t>
            </a:r>
            <a:r>
              <a:rPr lang="en-GB" dirty="0"/>
              <a:t> 2025 </a:t>
            </a:r>
            <a:r>
              <a:rPr lang="en-GB" b="1" dirty="0">
                <a:solidFill>
                  <a:srgbClr val="585854"/>
                </a:solidFill>
              </a:rPr>
              <a:t>2. </a:t>
            </a:r>
            <a:r>
              <a:rPr lang="en-GB" dirty="0">
                <a:solidFill>
                  <a:srgbClr val="585854"/>
                </a:solidFill>
              </a:rPr>
              <a:t>Eyre et al. </a:t>
            </a:r>
            <a:r>
              <a:rPr lang="en-GB" i="1" dirty="0">
                <a:solidFill>
                  <a:srgbClr val="585854"/>
                </a:solidFill>
              </a:rPr>
              <a:t>Ann Oncol </a:t>
            </a:r>
            <a:r>
              <a:rPr lang="en-GB" dirty="0">
                <a:solidFill>
                  <a:srgbClr val="585854"/>
                </a:solidFill>
              </a:rPr>
              <a:t>2025 </a:t>
            </a:r>
            <a:endParaRPr lang="en-CH" dirty="0">
              <a:solidFill>
                <a:srgbClr val="585854"/>
              </a:solidFill>
            </a:endParaRPr>
          </a:p>
          <a:p>
            <a:r>
              <a:rPr lang="en-GB" b="1" dirty="0">
                <a:solidFill>
                  <a:srgbClr val="585854"/>
                </a:solidFill>
              </a:rPr>
              <a:t>3. </a:t>
            </a:r>
            <a:r>
              <a:rPr lang="en-GB" dirty="0">
                <a:solidFill>
                  <a:srgbClr val="585854"/>
                </a:solidFill>
              </a:rPr>
              <a:t>NCCN Clinical Practice Guidelines in B-cell lymphomas. Version 3.2025 </a:t>
            </a:r>
            <a:r>
              <a:rPr lang="en-GB" b="1" dirty="0"/>
              <a:t>4. </a:t>
            </a:r>
            <a:r>
              <a:rPr lang="en-GB" dirty="0"/>
              <a:t>Bento et al. </a:t>
            </a:r>
            <a:r>
              <a:rPr lang="en-GB" i="1" dirty="0"/>
              <a:t>Blood Adv </a:t>
            </a:r>
            <a:r>
              <a:rPr lang="en-GB" dirty="0"/>
              <a:t>2025 </a:t>
            </a:r>
            <a:r>
              <a:rPr lang="en-GB" b="1" dirty="0"/>
              <a:t>5. </a:t>
            </a:r>
            <a:r>
              <a:rPr lang="nl-NL" dirty="0"/>
              <a:t>van der </a:t>
            </a:r>
            <a:r>
              <a:rPr lang="nl-NL" dirty="0" err="1"/>
              <a:t>Galiën</a:t>
            </a:r>
            <a:r>
              <a:rPr lang="nl-NL" dirty="0"/>
              <a:t> et al. </a:t>
            </a:r>
            <a:r>
              <a:rPr lang="nl-NL" i="1" dirty="0" err="1"/>
              <a:t>Eur</a:t>
            </a:r>
            <a:r>
              <a:rPr lang="nl-NL" i="1" dirty="0"/>
              <a:t> J </a:t>
            </a:r>
            <a:r>
              <a:rPr lang="nl-NL" i="1" dirty="0" err="1"/>
              <a:t>Haematol</a:t>
            </a:r>
            <a:r>
              <a:rPr lang="nl-NL" dirty="0"/>
              <a:t> 2025</a:t>
            </a:r>
            <a:r>
              <a:rPr lang="en-GB" dirty="0"/>
              <a:t> </a:t>
            </a:r>
            <a:r>
              <a:rPr lang="en-GB" b="1" dirty="0"/>
              <a:t>6. </a:t>
            </a:r>
            <a:r>
              <a:rPr lang="en-GB" dirty="0"/>
              <a:t>Carreras et al. EBMT Handbook 2019.</a:t>
            </a:r>
          </a:p>
        </p:txBody>
      </p:sp>
      <p:pic>
        <p:nvPicPr>
          <p:cNvPr id="6" name="!!Pic1">
            <a:extLst>
              <a:ext uri="{FF2B5EF4-FFF2-40B4-BE49-F238E27FC236}">
                <a16:creationId xmlns:a16="http://schemas.microsoft.com/office/drawing/2014/main" id="{C3BCD0D0-71C4-FCDD-8A0C-E3229784B10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82512" y="2092191"/>
            <a:ext cx="225572" cy="304826"/>
          </a:xfrm>
          <a:prstGeom prst="rect">
            <a:avLst/>
          </a:prstGeom>
        </p:spPr>
      </p:pic>
      <p:pic>
        <p:nvPicPr>
          <p:cNvPr id="7" name="!!Pic22">
            <a:extLst>
              <a:ext uri="{FF2B5EF4-FFF2-40B4-BE49-F238E27FC236}">
                <a16:creationId xmlns:a16="http://schemas.microsoft.com/office/drawing/2014/main" id="{7612C65F-CC5B-2C5E-96A8-3C42AF4B082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65058" y="2465025"/>
            <a:ext cx="225572" cy="304826"/>
          </a:xfrm>
          <a:prstGeom prst="rect">
            <a:avLst/>
          </a:prstGeom>
        </p:spPr>
      </p:pic>
      <p:pic>
        <p:nvPicPr>
          <p:cNvPr id="8" name="!!Pic21">
            <a:extLst>
              <a:ext uri="{FF2B5EF4-FFF2-40B4-BE49-F238E27FC236}">
                <a16:creationId xmlns:a16="http://schemas.microsoft.com/office/drawing/2014/main" id="{81BA5893-4213-26CC-F44F-C4D7FAA7EBF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15914" y="2756968"/>
            <a:ext cx="225572" cy="304826"/>
          </a:xfrm>
          <a:prstGeom prst="rect">
            <a:avLst/>
          </a:prstGeom>
        </p:spPr>
      </p:pic>
      <p:pic>
        <p:nvPicPr>
          <p:cNvPr id="9" name="!!Pic20">
            <a:extLst>
              <a:ext uri="{FF2B5EF4-FFF2-40B4-BE49-F238E27FC236}">
                <a16:creationId xmlns:a16="http://schemas.microsoft.com/office/drawing/2014/main" id="{E0A28FBF-C329-B0E6-AF4D-292B412B28F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70256" y="3006825"/>
            <a:ext cx="225572" cy="304826"/>
          </a:xfrm>
          <a:prstGeom prst="rect">
            <a:avLst/>
          </a:prstGeom>
        </p:spPr>
      </p:pic>
      <p:pic>
        <p:nvPicPr>
          <p:cNvPr id="10" name="!!Pic2">
            <a:extLst>
              <a:ext uri="{FF2B5EF4-FFF2-40B4-BE49-F238E27FC236}">
                <a16:creationId xmlns:a16="http://schemas.microsoft.com/office/drawing/2014/main" id="{C8232A37-F9F1-59B8-7ECF-38938D2390E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70032" y="2036459"/>
            <a:ext cx="225572" cy="304826"/>
          </a:xfrm>
          <a:prstGeom prst="rect">
            <a:avLst/>
          </a:prstGeom>
        </p:spPr>
      </p:pic>
      <p:pic>
        <p:nvPicPr>
          <p:cNvPr id="16" name="!!Pic23">
            <a:extLst>
              <a:ext uri="{FF2B5EF4-FFF2-40B4-BE49-F238E27FC236}">
                <a16:creationId xmlns:a16="http://schemas.microsoft.com/office/drawing/2014/main" id="{12FAFBF8-FBA3-DF88-A078-D06086A15CF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82233" y="3154991"/>
            <a:ext cx="225572" cy="304826"/>
          </a:xfrm>
          <a:prstGeom prst="rect">
            <a:avLst/>
          </a:prstGeom>
        </p:spPr>
      </p:pic>
      <p:pic>
        <p:nvPicPr>
          <p:cNvPr id="17" name="!!Pic24">
            <a:extLst>
              <a:ext uri="{FF2B5EF4-FFF2-40B4-BE49-F238E27FC236}">
                <a16:creationId xmlns:a16="http://schemas.microsoft.com/office/drawing/2014/main" id="{2AB0EDDA-E3CA-9E2A-BF92-F3F80655BDA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39357" y="2649739"/>
            <a:ext cx="225572" cy="304826"/>
          </a:xfrm>
          <a:prstGeom prst="rect">
            <a:avLst/>
          </a:prstGeom>
        </p:spPr>
      </p:pic>
      <p:pic>
        <p:nvPicPr>
          <p:cNvPr id="18" name="!!Pic25">
            <a:extLst>
              <a:ext uri="{FF2B5EF4-FFF2-40B4-BE49-F238E27FC236}">
                <a16:creationId xmlns:a16="http://schemas.microsoft.com/office/drawing/2014/main" id="{ECA529C8-581B-4C0F-58F4-2C2913A3DA4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85317" y="3353885"/>
            <a:ext cx="225572" cy="304826"/>
          </a:xfrm>
          <a:prstGeom prst="rect">
            <a:avLst/>
          </a:prstGeom>
        </p:spPr>
      </p:pic>
      <p:pic>
        <p:nvPicPr>
          <p:cNvPr id="19" name="!!Pic7">
            <a:extLst>
              <a:ext uri="{FF2B5EF4-FFF2-40B4-BE49-F238E27FC236}">
                <a16:creationId xmlns:a16="http://schemas.microsoft.com/office/drawing/2014/main" id="{58740EA5-B07F-4892-261A-9C14DE73DF9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53636" y="3533915"/>
            <a:ext cx="225572" cy="304826"/>
          </a:xfrm>
          <a:prstGeom prst="rect">
            <a:avLst/>
          </a:prstGeom>
        </p:spPr>
      </p:pic>
      <p:pic>
        <p:nvPicPr>
          <p:cNvPr id="20" name="!!Pic51">
            <a:extLst>
              <a:ext uri="{FF2B5EF4-FFF2-40B4-BE49-F238E27FC236}">
                <a16:creationId xmlns:a16="http://schemas.microsoft.com/office/drawing/2014/main" id="{8B41FB14-34A1-C04E-BAB7-08F4523D8D4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06283" y="2734972"/>
            <a:ext cx="225572" cy="304826"/>
          </a:xfrm>
          <a:prstGeom prst="rect">
            <a:avLst/>
          </a:prstGeom>
        </p:spPr>
      </p:pic>
      <p:pic>
        <p:nvPicPr>
          <p:cNvPr id="29" name="!!Pic50">
            <a:extLst>
              <a:ext uri="{FF2B5EF4-FFF2-40B4-BE49-F238E27FC236}">
                <a16:creationId xmlns:a16="http://schemas.microsoft.com/office/drawing/2014/main" id="{8B51B6A2-01D9-D4FE-C13E-23ED6FE33F9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19069" y="2341285"/>
            <a:ext cx="225572" cy="304826"/>
          </a:xfrm>
          <a:prstGeom prst="rect">
            <a:avLst/>
          </a:prstGeom>
        </p:spPr>
      </p:pic>
      <p:pic>
        <p:nvPicPr>
          <p:cNvPr id="34" name="!!Pic49">
            <a:extLst>
              <a:ext uri="{FF2B5EF4-FFF2-40B4-BE49-F238E27FC236}">
                <a16:creationId xmlns:a16="http://schemas.microsoft.com/office/drawing/2014/main" id="{EA0EABBE-1877-C71A-C08F-DB89F9524D0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63310" y="2297086"/>
            <a:ext cx="225572" cy="304826"/>
          </a:xfrm>
          <a:prstGeom prst="rect">
            <a:avLst/>
          </a:prstGeom>
        </p:spPr>
      </p:pic>
      <p:pic>
        <p:nvPicPr>
          <p:cNvPr id="38" name="!!Pic48">
            <a:extLst>
              <a:ext uri="{FF2B5EF4-FFF2-40B4-BE49-F238E27FC236}">
                <a16:creationId xmlns:a16="http://schemas.microsoft.com/office/drawing/2014/main" id="{B6F48EDD-32C7-15E9-7E88-5B682903D3D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75960" y="2049436"/>
            <a:ext cx="225572" cy="304826"/>
          </a:xfrm>
          <a:prstGeom prst="rect">
            <a:avLst/>
          </a:prstGeom>
        </p:spPr>
      </p:pic>
      <p:pic>
        <p:nvPicPr>
          <p:cNvPr id="39" name="!!Pic47">
            <a:extLst>
              <a:ext uri="{FF2B5EF4-FFF2-40B4-BE49-F238E27FC236}">
                <a16:creationId xmlns:a16="http://schemas.microsoft.com/office/drawing/2014/main" id="{6729A786-C24A-CEA6-AB57-E11441F5A48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45760" y="2830486"/>
            <a:ext cx="225572" cy="304826"/>
          </a:xfrm>
          <a:prstGeom prst="rect">
            <a:avLst/>
          </a:prstGeom>
        </p:spPr>
      </p:pic>
      <p:pic>
        <p:nvPicPr>
          <p:cNvPr id="40" name="!!Pic46">
            <a:extLst>
              <a:ext uri="{FF2B5EF4-FFF2-40B4-BE49-F238E27FC236}">
                <a16:creationId xmlns:a16="http://schemas.microsoft.com/office/drawing/2014/main" id="{C2E9E37C-2CF9-FBED-FAFD-47532A4A147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68060" y="2836836"/>
            <a:ext cx="225572" cy="304826"/>
          </a:xfrm>
          <a:prstGeom prst="rect">
            <a:avLst/>
          </a:prstGeom>
        </p:spPr>
      </p:pic>
      <p:pic>
        <p:nvPicPr>
          <p:cNvPr id="41" name="!!Pic45">
            <a:extLst>
              <a:ext uri="{FF2B5EF4-FFF2-40B4-BE49-F238E27FC236}">
                <a16:creationId xmlns:a16="http://schemas.microsoft.com/office/drawing/2014/main" id="{61766D80-C1CB-3615-E0F2-6D1E6CB2399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56860" y="2265336"/>
            <a:ext cx="225572" cy="304826"/>
          </a:xfrm>
          <a:prstGeom prst="rect">
            <a:avLst/>
          </a:prstGeom>
        </p:spPr>
      </p:pic>
      <p:pic>
        <p:nvPicPr>
          <p:cNvPr id="42" name="!!Pic44">
            <a:extLst>
              <a:ext uri="{FF2B5EF4-FFF2-40B4-BE49-F238E27FC236}">
                <a16:creationId xmlns:a16="http://schemas.microsoft.com/office/drawing/2014/main" id="{052C25F1-6112-6FC9-2247-899A598C1AE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01260" y="2671736"/>
            <a:ext cx="225572" cy="304826"/>
          </a:xfrm>
          <a:prstGeom prst="rect">
            <a:avLst/>
          </a:prstGeom>
        </p:spPr>
      </p:pic>
      <p:pic>
        <p:nvPicPr>
          <p:cNvPr id="43" name="!!Pic43">
            <a:extLst>
              <a:ext uri="{FF2B5EF4-FFF2-40B4-BE49-F238E27FC236}">
                <a16:creationId xmlns:a16="http://schemas.microsoft.com/office/drawing/2014/main" id="{DCBC10AB-605A-98AD-98A9-0043065ED8B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21910" y="3141636"/>
            <a:ext cx="225572" cy="304826"/>
          </a:xfrm>
          <a:prstGeom prst="rect">
            <a:avLst/>
          </a:prstGeom>
        </p:spPr>
      </p:pic>
      <p:pic>
        <p:nvPicPr>
          <p:cNvPr id="44" name="!!Pic42">
            <a:extLst>
              <a:ext uri="{FF2B5EF4-FFF2-40B4-BE49-F238E27FC236}">
                <a16:creationId xmlns:a16="http://schemas.microsoft.com/office/drawing/2014/main" id="{F2B74260-236C-DA58-2337-ABEE012A39C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57930" y="4481858"/>
            <a:ext cx="213378" cy="262151"/>
          </a:xfrm>
          <a:prstGeom prst="rect">
            <a:avLst/>
          </a:prstGeom>
        </p:spPr>
      </p:pic>
      <p:pic>
        <p:nvPicPr>
          <p:cNvPr id="45" name="!!Pic41">
            <a:extLst>
              <a:ext uri="{FF2B5EF4-FFF2-40B4-BE49-F238E27FC236}">
                <a16:creationId xmlns:a16="http://schemas.microsoft.com/office/drawing/2014/main" id="{CDB09EF4-A78D-563E-DD75-797D5A1A6CD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78530" y="4170708"/>
            <a:ext cx="213378" cy="262151"/>
          </a:xfrm>
          <a:prstGeom prst="rect">
            <a:avLst/>
          </a:prstGeom>
        </p:spPr>
      </p:pic>
      <p:pic>
        <p:nvPicPr>
          <p:cNvPr id="46" name="!!Pic40">
            <a:extLst>
              <a:ext uri="{FF2B5EF4-FFF2-40B4-BE49-F238E27FC236}">
                <a16:creationId xmlns:a16="http://schemas.microsoft.com/office/drawing/2014/main" id="{1D29FE0C-A068-F663-ACEA-0EC06777D43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34130" y="3681758"/>
            <a:ext cx="213378" cy="262151"/>
          </a:xfrm>
          <a:prstGeom prst="rect">
            <a:avLst/>
          </a:prstGeom>
        </p:spPr>
      </p:pic>
      <p:pic>
        <p:nvPicPr>
          <p:cNvPr id="47" name="!!Pic39">
            <a:extLst>
              <a:ext uri="{FF2B5EF4-FFF2-40B4-BE49-F238E27FC236}">
                <a16:creationId xmlns:a16="http://schemas.microsoft.com/office/drawing/2014/main" id="{951A6610-AA6A-A82A-EA9F-A83785EA4E5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38930" y="4132608"/>
            <a:ext cx="213378" cy="262151"/>
          </a:xfrm>
          <a:prstGeom prst="rect">
            <a:avLst/>
          </a:prstGeom>
        </p:spPr>
      </p:pic>
      <p:pic>
        <p:nvPicPr>
          <p:cNvPr id="48" name="!!Pic38">
            <a:extLst>
              <a:ext uri="{FF2B5EF4-FFF2-40B4-BE49-F238E27FC236}">
                <a16:creationId xmlns:a16="http://schemas.microsoft.com/office/drawing/2014/main" id="{B0B4A84F-337C-88AA-A5CD-FE5D848A45C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75330" y="4678708"/>
            <a:ext cx="213378" cy="262151"/>
          </a:xfrm>
          <a:prstGeom prst="rect">
            <a:avLst/>
          </a:prstGeom>
        </p:spPr>
      </p:pic>
      <p:pic>
        <p:nvPicPr>
          <p:cNvPr id="49" name="!!Pic37">
            <a:extLst>
              <a:ext uri="{FF2B5EF4-FFF2-40B4-BE49-F238E27FC236}">
                <a16:creationId xmlns:a16="http://schemas.microsoft.com/office/drawing/2014/main" id="{65EFAA65-192C-D522-BDAB-7DA53BFACD9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73680" y="4608858"/>
            <a:ext cx="213378" cy="262151"/>
          </a:xfrm>
          <a:prstGeom prst="rect">
            <a:avLst/>
          </a:prstGeom>
        </p:spPr>
      </p:pic>
      <p:pic>
        <p:nvPicPr>
          <p:cNvPr id="50" name="!!Pic36">
            <a:extLst>
              <a:ext uri="{FF2B5EF4-FFF2-40B4-BE49-F238E27FC236}">
                <a16:creationId xmlns:a16="http://schemas.microsoft.com/office/drawing/2014/main" id="{F1A65040-25ED-0E59-05B8-DD66C0776CA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19580" y="5015258"/>
            <a:ext cx="213378" cy="262151"/>
          </a:xfrm>
          <a:prstGeom prst="rect">
            <a:avLst/>
          </a:prstGeom>
        </p:spPr>
      </p:pic>
      <p:pic>
        <p:nvPicPr>
          <p:cNvPr id="51" name="!!Pic35">
            <a:extLst>
              <a:ext uri="{FF2B5EF4-FFF2-40B4-BE49-F238E27FC236}">
                <a16:creationId xmlns:a16="http://schemas.microsoft.com/office/drawing/2014/main" id="{6A076520-1121-8F98-9E53-37930D3638C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59230" y="4773958"/>
            <a:ext cx="213378" cy="262151"/>
          </a:xfrm>
          <a:prstGeom prst="rect">
            <a:avLst/>
          </a:prstGeom>
        </p:spPr>
      </p:pic>
      <p:pic>
        <p:nvPicPr>
          <p:cNvPr id="52" name="!!Pic34">
            <a:extLst>
              <a:ext uri="{FF2B5EF4-FFF2-40B4-BE49-F238E27FC236}">
                <a16:creationId xmlns:a16="http://schemas.microsoft.com/office/drawing/2014/main" id="{717CD76F-E701-0124-A026-DDBAE4643F5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52780" y="5059708"/>
            <a:ext cx="213378" cy="262151"/>
          </a:xfrm>
          <a:prstGeom prst="rect">
            <a:avLst/>
          </a:prstGeom>
        </p:spPr>
      </p:pic>
      <p:pic>
        <p:nvPicPr>
          <p:cNvPr id="53" name="!!Pic33">
            <a:extLst>
              <a:ext uri="{FF2B5EF4-FFF2-40B4-BE49-F238E27FC236}">
                <a16:creationId xmlns:a16="http://schemas.microsoft.com/office/drawing/2014/main" id="{2BA9D165-BD38-F021-3F20-82F0311E26A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33630" y="3694458"/>
            <a:ext cx="213378" cy="262151"/>
          </a:xfrm>
          <a:prstGeom prst="rect">
            <a:avLst/>
          </a:prstGeom>
        </p:spPr>
      </p:pic>
      <p:pic>
        <p:nvPicPr>
          <p:cNvPr id="54" name="!!Pic32">
            <a:extLst>
              <a:ext uri="{FF2B5EF4-FFF2-40B4-BE49-F238E27FC236}">
                <a16:creationId xmlns:a16="http://schemas.microsoft.com/office/drawing/2014/main" id="{CAB64922-7798-12CE-E3F8-9323A695E15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85980" y="3186458"/>
            <a:ext cx="213378" cy="262151"/>
          </a:xfrm>
          <a:prstGeom prst="rect">
            <a:avLst/>
          </a:prstGeom>
        </p:spPr>
      </p:pic>
      <p:pic>
        <p:nvPicPr>
          <p:cNvPr id="55" name="!!Pic31">
            <a:extLst>
              <a:ext uri="{FF2B5EF4-FFF2-40B4-BE49-F238E27FC236}">
                <a16:creationId xmlns:a16="http://schemas.microsoft.com/office/drawing/2014/main" id="{243AF53D-10BB-4EC5-C413-7715EA67553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74930" y="3027708"/>
            <a:ext cx="213378" cy="262151"/>
          </a:xfrm>
          <a:prstGeom prst="rect">
            <a:avLst/>
          </a:prstGeom>
        </p:spPr>
      </p:pic>
      <p:pic>
        <p:nvPicPr>
          <p:cNvPr id="56" name="!!Pic30">
            <a:extLst>
              <a:ext uri="{FF2B5EF4-FFF2-40B4-BE49-F238E27FC236}">
                <a16:creationId xmlns:a16="http://schemas.microsoft.com/office/drawing/2014/main" id="{92CE3D67-9FA9-11A2-F777-DCF939358B5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53395" y="3952140"/>
            <a:ext cx="213378" cy="262151"/>
          </a:xfrm>
          <a:prstGeom prst="rect">
            <a:avLst/>
          </a:prstGeom>
        </p:spPr>
      </p:pic>
      <p:pic>
        <p:nvPicPr>
          <p:cNvPr id="57" name="!!Pic29">
            <a:extLst>
              <a:ext uri="{FF2B5EF4-FFF2-40B4-BE49-F238E27FC236}">
                <a16:creationId xmlns:a16="http://schemas.microsoft.com/office/drawing/2014/main" id="{4811D053-51C8-4FB6-C343-8C293EF5493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11580" y="2634008"/>
            <a:ext cx="213378" cy="262151"/>
          </a:xfrm>
          <a:prstGeom prst="rect">
            <a:avLst/>
          </a:prstGeom>
        </p:spPr>
      </p:pic>
      <p:pic>
        <p:nvPicPr>
          <p:cNvPr id="58" name="!!Pic28">
            <a:extLst>
              <a:ext uri="{FF2B5EF4-FFF2-40B4-BE49-F238E27FC236}">
                <a16:creationId xmlns:a16="http://schemas.microsoft.com/office/drawing/2014/main" id="{5B3E63AC-EEF8-C70C-5D33-AE6E1CC27EE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78380" y="2919758"/>
            <a:ext cx="213378" cy="262151"/>
          </a:xfrm>
          <a:prstGeom prst="rect">
            <a:avLst/>
          </a:prstGeom>
        </p:spPr>
      </p:pic>
      <p:pic>
        <p:nvPicPr>
          <p:cNvPr id="59" name="!!Pic27">
            <a:extLst>
              <a:ext uri="{FF2B5EF4-FFF2-40B4-BE49-F238E27FC236}">
                <a16:creationId xmlns:a16="http://schemas.microsoft.com/office/drawing/2014/main" id="{81288333-A2A2-08C4-17B7-4AC15C36977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54630" y="2995958"/>
            <a:ext cx="213378" cy="262151"/>
          </a:xfrm>
          <a:prstGeom prst="rect">
            <a:avLst/>
          </a:prstGeom>
        </p:spPr>
      </p:pic>
      <p:pic>
        <p:nvPicPr>
          <p:cNvPr id="60" name="!!Pic26">
            <a:extLst>
              <a:ext uri="{FF2B5EF4-FFF2-40B4-BE49-F238E27FC236}">
                <a16:creationId xmlns:a16="http://schemas.microsoft.com/office/drawing/2014/main" id="{35711F44-A92C-5D5D-0BC2-E8435F9886B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27630" y="2551458"/>
            <a:ext cx="213378" cy="262151"/>
          </a:xfrm>
          <a:prstGeom prst="rect">
            <a:avLst/>
          </a:prstGeom>
        </p:spPr>
      </p:pic>
      <p:pic>
        <p:nvPicPr>
          <p:cNvPr id="61" name="!!Pic19">
            <a:extLst>
              <a:ext uri="{FF2B5EF4-FFF2-40B4-BE49-F238E27FC236}">
                <a16:creationId xmlns:a16="http://schemas.microsoft.com/office/drawing/2014/main" id="{DE205334-86FC-7EE1-6758-7F1B1D5A005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84592" y="4225565"/>
            <a:ext cx="225572" cy="304826"/>
          </a:xfrm>
          <a:prstGeom prst="rect">
            <a:avLst/>
          </a:prstGeom>
        </p:spPr>
      </p:pic>
      <p:pic>
        <p:nvPicPr>
          <p:cNvPr id="62" name="!!Pic18">
            <a:extLst>
              <a:ext uri="{FF2B5EF4-FFF2-40B4-BE49-F238E27FC236}">
                <a16:creationId xmlns:a16="http://schemas.microsoft.com/office/drawing/2014/main" id="{E1AF7655-8B30-3ACF-6539-F5D5E9C8A1D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43392" y="4873265"/>
            <a:ext cx="225572" cy="304826"/>
          </a:xfrm>
          <a:prstGeom prst="rect">
            <a:avLst/>
          </a:prstGeom>
        </p:spPr>
      </p:pic>
      <p:pic>
        <p:nvPicPr>
          <p:cNvPr id="63" name="!!Pic17">
            <a:extLst>
              <a:ext uri="{FF2B5EF4-FFF2-40B4-BE49-F238E27FC236}">
                <a16:creationId xmlns:a16="http://schemas.microsoft.com/office/drawing/2014/main" id="{AD1E1A47-2661-D1A6-0245-A588C1F3E75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27442" y="5000265"/>
            <a:ext cx="225572" cy="304826"/>
          </a:xfrm>
          <a:prstGeom prst="rect">
            <a:avLst/>
          </a:prstGeom>
        </p:spPr>
      </p:pic>
      <p:pic>
        <p:nvPicPr>
          <p:cNvPr id="512" name="!!Pic16">
            <a:extLst>
              <a:ext uri="{FF2B5EF4-FFF2-40B4-BE49-F238E27FC236}">
                <a16:creationId xmlns:a16="http://schemas.microsoft.com/office/drawing/2014/main" id="{571A671E-3AFD-D854-EBDB-49540A865C0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57542" y="4968515"/>
            <a:ext cx="225572" cy="304826"/>
          </a:xfrm>
          <a:prstGeom prst="rect">
            <a:avLst/>
          </a:prstGeom>
        </p:spPr>
      </p:pic>
      <p:pic>
        <p:nvPicPr>
          <p:cNvPr id="513" name="!!Pic15">
            <a:extLst>
              <a:ext uri="{FF2B5EF4-FFF2-40B4-BE49-F238E27FC236}">
                <a16:creationId xmlns:a16="http://schemas.microsoft.com/office/drawing/2014/main" id="{5E77E73E-5F98-8DBC-DE25-A38F27FF1CE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74942" y="4752615"/>
            <a:ext cx="225572" cy="304826"/>
          </a:xfrm>
          <a:prstGeom prst="rect">
            <a:avLst/>
          </a:prstGeom>
        </p:spPr>
      </p:pic>
      <p:pic>
        <p:nvPicPr>
          <p:cNvPr id="514" name="!!Pic14">
            <a:extLst>
              <a:ext uri="{FF2B5EF4-FFF2-40B4-BE49-F238E27FC236}">
                <a16:creationId xmlns:a16="http://schemas.microsoft.com/office/drawing/2014/main" id="{E295FB90-43C7-0D4C-7821-27BABE2B984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68592" y="4352565"/>
            <a:ext cx="225572" cy="304826"/>
          </a:xfrm>
          <a:prstGeom prst="rect">
            <a:avLst/>
          </a:prstGeom>
        </p:spPr>
      </p:pic>
      <p:pic>
        <p:nvPicPr>
          <p:cNvPr id="515" name="!!Pic13">
            <a:extLst>
              <a:ext uri="{FF2B5EF4-FFF2-40B4-BE49-F238E27FC236}">
                <a16:creationId xmlns:a16="http://schemas.microsoft.com/office/drawing/2014/main" id="{A4A5A1FD-1A0A-F313-3FC9-294B8CB28CB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44692" y="4295415"/>
            <a:ext cx="225572" cy="304826"/>
          </a:xfrm>
          <a:prstGeom prst="rect">
            <a:avLst/>
          </a:prstGeom>
        </p:spPr>
      </p:pic>
      <p:pic>
        <p:nvPicPr>
          <p:cNvPr id="516" name="!!Pic12">
            <a:extLst>
              <a:ext uri="{FF2B5EF4-FFF2-40B4-BE49-F238E27FC236}">
                <a16:creationId xmlns:a16="http://schemas.microsoft.com/office/drawing/2014/main" id="{675311F0-ED84-9AFD-A525-DE4C20B39CD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12892" y="4212865"/>
            <a:ext cx="225572" cy="304826"/>
          </a:xfrm>
          <a:prstGeom prst="rect">
            <a:avLst/>
          </a:prstGeom>
        </p:spPr>
      </p:pic>
      <p:pic>
        <p:nvPicPr>
          <p:cNvPr id="517" name="!!Pic11">
            <a:extLst>
              <a:ext uri="{FF2B5EF4-FFF2-40B4-BE49-F238E27FC236}">
                <a16:creationId xmlns:a16="http://schemas.microsoft.com/office/drawing/2014/main" id="{AE37A3FF-D79A-EC0E-5EDF-649EDD4C37F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20792" y="4504965"/>
            <a:ext cx="225572" cy="304826"/>
          </a:xfrm>
          <a:prstGeom prst="rect">
            <a:avLst/>
          </a:prstGeom>
        </p:spPr>
      </p:pic>
      <p:pic>
        <p:nvPicPr>
          <p:cNvPr id="518" name="!!Pic10">
            <a:extLst>
              <a:ext uri="{FF2B5EF4-FFF2-40B4-BE49-F238E27FC236}">
                <a16:creationId xmlns:a16="http://schemas.microsoft.com/office/drawing/2014/main" id="{BC6CF334-306E-6B86-073B-8509620E1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03392" y="5070115"/>
            <a:ext cx="225572" cy="304826"/>
          </a:xfrm>
          <a:prstGeom prst="rect">
            <a:avLst/>
          </a:prstGeom>
        </p:spPr>
      </p:pic>
      <p:pic>
        <p:nvPicPr>
          <p:cNvPr id="519" name="!!Pic9">
            <a:extLst>
              <a:ext uri="{FF2B5EF4-FFF2-40B4-BE49-F238E27FC236}">
                <a16:creationId xmlns:a16="http://schemas.microsoft.com/office/drawing/2014/main" id="{C3DCD120-FFC2-80D3-F7FA-4C4140A05AB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50892" y="4778015"/>
            <a:ext cx="225572" cy="304826"/>
          </a:xfrm>
          <a:prstGeom prst="rect">
            <a:avLst/>
          </a:prstGeom>
        </p:spPr>
      </p:pic>
      <p:pic>
        <p:nvPicPr>
          <p:cNvPr id="520" name="!!Pic8">
            <a:extLst>
              <a:ext uri="{FF2B5EF4-FFF2-40B4-BE49-F238E27FC236}">
                <a16:creationId xmlns:a16="http://schemas.microsoft.com/office/drawing/2014/main" id="{15CEDCB3-A76F-F4F6-847E-2F2E3A29911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74692" y="4301765"/>
            <a:ext cx="225572" cy="304826"/>
          </a:xfrm>
          <a:prstGeom prst="rect">
            <a:avLst/>
          </a:prstGeom>
        </p:spPr>
      </p:pic>
      <p:pic>
        <p:nvPicPr>
          <p:cNvPr id="521" name="!!Pic6">
            <a:extLst>
              <a:ext uri="{FF2B5EF4-FFF2-40B4-BE49-F238E27FC236}">
                <a16:creationId xmlns:a16="http://schemas.microsoft.com/office/drawing/2014/main" id="{75F28FF7-F72A-097D-CE8E-052174B42CC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42892" y="4143015"/>
            <a:ext cx="225572" cy="304826"/>
          </a:xfrm>
          <a:prstGeom prst="rect">
            <a:avLst/>
          </a:prstGeom>
        </p:spPr>
      </p:pic>
      <p:pic>
        <p:nvPicPr>
          <p:cNvPr id="522" name="!!Pic5">
            <a:extLst>
              <a:ext uri="{FF2B5EF4-FFF2-40B4-BE49-F238E27FC236}">
                <a16:creationId xmlns:a16="http://schemas.microsoft.com/office/drawing/2014/main" id="{6FEFF7FB-EC3B-916B-2D58-B2FCEC7FE15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26992" y="3679465"/>
            <a:ext cx="225572" cy="304826"/>
          </a:xfrm>
          <a:prstGeom prst="rect">
            <a:avLst/>
          </a:prstGeom>
        </p:spPr>
      </p:pic>
      <p:pic>
        <p:nvPicPr>
          <p:cNvPr id="523" name="!!Pic4">
            <a:extLst>
              <a:ext uri="{FF2B5EF4-FFF2-40B4-BE49-F238E27FC236}">
                <a16:creationId xmlns:a16="http://schemas.microsoft.com/office/drawing/2014/main" id="{7B6706D5-7ECB-EE8E-566F-665FE5C7EC0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95342" y="3438165"/>
            <a:ext cx="225572" cy="304826"/>
          </a:xfrm>
          <a:prstGeom prst="rect">
            <a:avLst/>
          </a:prstGeom>
        </p:spPr>
      </p:pic>
      <p:pic>
        <p:nvPicPr>
          <p:cNvPr id="524" name="!!Pic3">
            <a:extLst>
              <a:ext uri="{FF2B5EF4-FFF2-40B4-BE49-F238E27FC236}">
                <a16:creationId xmlns:a16="http://schemas.microsoft.com/office/drawing/2014/main" id="{14751DDD-7521-5F27-9D25-E42978C39A2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95292" y="2599965"/>
            <a:ext cx="225572" cy="304826"/>
          </a:xfrm>
          <a:prstGeom prst="rect">
            <a:avLst/>
          </a:prstGeom>
        </p:spPr>
      </p:pic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A2E60738-F08D-C7FF-CCAC-44E9E88BC8A4}"/>
              </a:ext>
            </a:extLst>
          </p:cNvPr>
          <p:cNvSpPr/>
          <p:nvPr/>
        </p:nvSpPr>
        <p:spPr>
          <a:xfrm>
            <a:off x="4538628" y="3433485"/>
            <a:ext cx="2883140" cy="707886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SCT-eligible</a:t>
            </a:r>
            <a:r>
              <a:rPr kumimoji="0" lang="en-GB" sz="2000" b="1" i="0" u="none" strike="noStrike" kern="1200" cap="none" spc="0" normalizeH="0" baseline="3000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–3,</a:t>
            </a: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*</a:t>
            </a:r>
            <a:endParaRPr kumimoji="0" lang="en-GB" sz="2000" b="1" i="0" u="none" strike="noStrike" kern="1200" cap="none" spc="0" normalizeH="0" baseline="30000" noProof="0" dirty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(Relapse more than 12 months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fter receiving 1L therapy)</a:t>
            </a:r>
          </a:p>
        </p:txBody>
      </p:sp>
    </p:spTree>
    <p:extLst>
      <p:ext uri="{BB962C8B-B14F-4D97-AF65-F5344CB8AC3E}">
        <p14:creationId xmlns:p14="http://schemas.microsoft.com/office/powerpoint/2010/main" val="20653827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mph" presetSubtype="0" fill="hold" grpId="1" nodeType="withEffect">
                                  <p:stCondLst>
                                    <p:cond delay="10"/>
                                  </p:stCondLst>
                                  <p:childTnLst>
                                    <p:animScale>
                                      <p:cBhvr>
                                        <p:cTn id="9" dur="10" fill="hold"/>
                                        <p:tgtEl>
                                          <p:spTgt spid="5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10" presetID="6" presetClass="emph" presetSubtype="0" decel="100000" fill="hold" grpId="2" nodeType="withEffect">
                                  <p:stCondLst>
                                    <p:cond delay="10"/>
                                  </p:stCondLst>
                                  <p:childTnLst>
                                    <p:animScale>
                                      <p:cBhvr>
                                        <p:cTn id="11" dur="750" fill="hold"/>
                                        <p:tgtEl>
                                          <p:spTgt spid="5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nodeType="withEffect">
                                  <p:stCondLst>
                                    <p:cond delay="1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6" presetClass="emph" presetSubtype="0" fill="hold" nodeType="withEffect">
                                  <p:stCondLst>
                                    <p:cond delay="10"/>
                                  </p:stCondLst>
                                  <p:childTnLst>
                                    <p:animScale>
                                      <p:cBhvr>
                                        <p:cTn id="16" dur="10" fill="hold"/>
                                        <p:tgtEl>
                                          <p:spTgt spid="6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17" presetID="6" presetClass="emph" presetSubtype="0" decel="100000" fill="hold" nodeType="withEffect">
                                  <p:stCondLst>
                                    <p:cond delay="10"/>
                                  </p:stCondLst>
                                  <p:childTnLst>
                                    <p:animScale>
                                      <p:cBhvr>
                                        <p:cTn id="18" dur="750" fill="hold"/>
                                        <p:tgtEl>
                                          <p:spTgt spid="6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6" presetClass="emph" presetSubtype="0" fill="hold" nodeType="withEffect">
                                  <p:stCondLst>
                                    <p:cond delay="20"/>
                                  </p:stCondLst>
                                  <p:childTnLst>
                                    <p:animScale>
                                      <p:cBhvr>
                                        <p:cTn id="23" dur="10" fill="hold"/>
                                        <p:tgtEl>
                                          <p:spTgt spid="7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24" presetID="6" presetClass="emph" presetSubtype="0" decel="100000" fill="hold" nodeType="withEffect">
                                  <p:stCondLst>
                                    <p:cond delay="20"/>
                                  </p:stCondLst>
                                  <p:childTnLst>
                                    <p:animScale>
                                      <p:cBhvr>
                                        <p:cTn id="25" dur="750" fill="hold"/>
                                        <p:tgtEl>
                                          <p:spTgt spid="7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3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6" presetClass="emph" presetSubtype="0" fill="hold" nodeType="withEffect">
                                  <p:stCondLst>
                                    <p:cond delay="30"/>
                                  </p:stCondLst>
                                  <p:childTnLst>
                                    <p:animScale>
                                      <p:cBhvr>
                                        <p:cTn id="30" dur="10" fill="hold"/>
                                        <p:tgtEl>
                                          <p:spTgt spid="8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31" presetID="6" presetClass="emph" presetSubtype="0" decel="100000" fill="hold" nodeType="withEffect">
                                  <p:stCondLst>
                                    <p:cond delay="30"/>
                                  </p:stCondLst>
                                  <p:childTnLst>
                                    <p:animScale>
                                      <p:cBhvr>
                                        <p:cTn id="32" dur="750" fill="hold"/>
                                        <p:tgtEl>
                                          <p:spTgt spid="8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4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6" presetClass="emph" presetSubtype="0" fill="hold" nodeType="withEffect">
                                  <p:stCondLst>
                                    <p:cond delay="40"/>
                                  </p:stCondLst>
                                  <p:childTnLst>
                                    <p:animScale>
                                      <p:cBhvr>
                                        <p:cTn id="37" dur="10" fill="hold"/>
                                        <p:tgtEl>
                                          <p:spTgt spid="9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38" presetID="6" presetClass="emph" presetSubtype="0" decel="100000" fill="hold" nodeType="withEffect">
                                  <p:stCondLst>
                                    <p:cond delay="40"/>
                                  </p:stCondLst>
                                  <p:childTnLst>
                                    <p:animScale>
                                      <p:cBhvr>
                                        <p:cTn id="39" dur="750" fill="hold"/>
                                        <p:tgtEl>
                                          <p:spTgt spid="9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5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6" presetClass="emph" presetSubtype="0" fill="hold" nodeType="withEffect">
                                  <p:stCondLst>
                                    <p:cond delay="50"/>
                                  </p:stCondLst>
                                  <p:childTnLst>
                                    <p:animScale>
                                      <p:cBhvr>
                                        <p:cTn id="44" dur="10" fill="hold"/>
                                        <p:tgtEl>
                                          <p:spTgt spid="10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45" presetID="6" presetClass="emph" presetSubtype="0" decel="100000" fill="hold" nodeType="withEffect">
                                  <p:stCondLst>
                                    <p:cond delay="50"/>
                                  </p:stCondLst>
                                  <p:childTnLst>
                                    <p:animScale>
                                      <p:cBhvr>
                                        <p:cTn id="46" dur="750" fill="hold"/>
                                        <p:tgtEl>
                                          <p:spTgt spid="10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nodeType="withEffect">
                                  <p:stCondLst>
                                    <p:cond delay="6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6" presetClass="emph" presetSubtype="0" fill="hold" nodeType="withEffect">
                                  <p:stCondLst>
                                    <p:cond delay="60"/>
                                  </p:stCondLst>
                                  <p:childTnLst>
                                    <p:animScale>
                                      <p:cBhvr>
                                        <p:cTn id="51" dur="10" fill="hold"/>
                                        <p:tgtEl>
                                          <p:spTgt spid="16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52" presetID="6" presetClass="emph" presetSubtype="0" decel="100000" fill="hold" nodeType="withEffect">
                                  <p:stCondLst>
                                    <p:cond delay="60"/>
                                  </p:stCondLst>
                                  <p:childTnLst>
                                    <p:animScale>
                                      <p:cBhvr>
                                        <p:cTn id="53" dur="750" fill="hold"/>
                                        <p:tgtEl>
                                          <p:spTgt spid="16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nodeType="withEffect">
                                  <p:stCondLst>
                                    <p:cond delay="7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6" presetClass="emph" presetSubtype="0" fill="hold" nodeType="withEffect">
                                  <p:stCondLst>
                                    <p:cond delay="70"/>
                                  </p:stCondLst>
                                  <p:childTnLst>
                                    <p:animScale>
                                      <p:cBhvr>
                                        <p:cTn id="58" dur="10" fill="hold"/>
                                        <p:tgtEl>
                                          <p:spTgt spid="17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59" presetID="6" presetClass="emph" presetSubtype="0" decel="100000" fill="hold" nodeType="withEffect">
                                  <p:stCondLst>
                                    <p:cond delay="70"/>
                                  </p:stCondLst>
                                  <p:childTnLst>
                                    <p:animScale>
                                      <p:cBhvr>
                                        <p:cTn id="60" dur="750" fill="hold"/>
                                        <p:tgtEl>
                                          <p:spTgt spid="17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8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6" presetClass="emph" presetSubtype="0" fill="hold" nodeType="withEffect">
                                  <p:stCondLst>
                                    <p:cond delay="80"/>
                                  </p:stCondLst>
                                  <p:childTnLst>
                                    <p:animScale>
                                      <p:cBhvr>
                                        <p:cTn id="65" dur="10" fill="hold"/>
                                        <p:tgtEl>
                                          <p:spTgt spid="18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66" presetID="6" presetClass="emph" presetSubtype="0" decel="100000" fill="hold" nodeType="withEffect">
                                  <p:stCondLst>
                                    <p:cond delay="80"/>
                                  </p:stCondLst>
                                  <p:childTnLst>
                                    <p:animScale>
                                      <p:cBhvr>
                                        <p:cTn id="67" dur="750" fill="hold"/>
                                        <p:tgtEl>
                                          <p:spTgt spid="18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nodeType="withEffect">
                                  <p:stCondLst>
                                    <p:cond delay="9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6" presetClass="emph" presetSubtype="0" fill="hold" nodeType="withEffect">
                                  <p:stCondLst>
                                    <p:cond delay="90"/>
                                  </p:stCondLst>
                                  <p:childTnLst>
                                    <p:animScale>
                                      <p:cBhvr>
                                        <p:cTn id="72" dur="10" fill="hold"/>
                                        <p:tgtEl>
                                          <p:spTgt spid="19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73" presetID="6" presetClass="emph" presetSubtype="0" decel="100000" fill="hold" nodeType="withEffect">
                                  <p:stCondLst>
                                    <p:cond delay="90"/>
                                  </p:stCondLst>
                                  <p:childTnLst>
                                    <p:animScale>
                                      <p:cBhvr>
                                        <p:cTn id="74" dur="750" fill="hold"/>
                                        <p:tgtEl>
                                          <p:spTgt spid="19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75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6" presetClass="emph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animScale>
                                      <p:cBhvr>
                                        <p:cTn id="79" dur="10" fill="hold"/>
                                        <p:tgtEl>
                                          <p:spTgt spid="20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80" presetID="6" presetClass="emph" presetSubtype="0" decel="10000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animScale>
                                      <p:cBhvr>
                                        <p:cTn id="81" dur="750" fill="hold"/>
                                        <p:tgtEl>
                                          <p:spTgt spid="20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82" presetID="10" presetClass="entr" presetSubtype="0" fill="hold" nodeType="withEffect">
                                  <p:stCondLst>
                                    <p:cond delay="11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6" presetClass="emph" presetSubtype="0" fill="hold" nodeType="withEffect">
                                  <p:stCondLst>
                                    <p:cond delay="110"/>
                                  </p:stCondLst>
                                  <p:childTnLst>
                                    <p:animScale>
                                      <p:cBhvr>
                                        <p:cTn id="86" dur="10" fill="hold"/>
                                        <p:tgtEl>
                                          <p:spTgt spid="29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87" presetID="6" presetClass="emph" presetSubtype="0" decel="100000" fill="hold" nodeType="withEffect">
                                  <p:stCondLst>
                                    <p:cond delay="110"/>
                                  </p:stCondLst>
                                  <p:childTnLst>
                                    <p:animScale>
                                      <p:cBhvr>
                                        <p:cTn id="88" dur="750" fill="hold"/>
                                        <p:tgtEl>
                                          <p:spTgt spid="29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89" presetID="10" presetClass="entr" presetSubtype="0" fill="hold" nodeType="withEffect">
                                  <p:stCondLst>
                                    <p:cond delay="12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6" presetClass="emph" presetSubtype="0" fill="hold" nodeType="withEffect">
                                  <p:stCondLst>
                                    <p:cond delay="120"/>
                                  </p:stCondLst>
                                  <p:childTnLst>
                                    <p:animScale>
                                      <p:cBhvr>
                                        <p:cTn id="93" dur="10" fill="hold"/>
                                        <p:tgtEl>
                                          <p:spTgt spid="34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94" presetID="6" presetClass="emph" presetSubtype="0" decel="100000" fill="hold" nodeType="withEffect">
                                  <p:stCondLst>
                                    <p:cond delay="120"/>
                                  </p:stCondLst>
                                  <p:childTnLst>
                                    <p:animScale>
                                      <p:cBhvr>
                                        <p:cTn id="95" dur="750" fill="hold"/>
                                        <p:tgtEl>
                                          <p:spTgt spid="34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96" presetID="10" presetClass="entr" presetSubtype="0" fill="hold" nodeType="withEffect">
                                  <p:stCondLst>
                                    <p:cond delay="13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8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9" presetID="6" presetClass="emph" presetSubtype="0" fill="hold" nodeType="withEffect">
                                  <p:stCondLst>
                                    <p:cond delay="130"/>
                                  </p:stCondLst>
                                  <p:childTnLst>
                                    <p:animScale>
                                      <p:cBhvr>
                                        <p:cTn id="100" dur="10" fill="hold"/>
                                        <p:tgtEl>
                                          <p:spTgt spid="38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101" presetID="6" presetClass="emph" presetSubtype="0" decel="100000" fill="hold" nodeType="withEffect">
                                  <p:stCondLst>
                                    <p:cond delay="130"/>
                                  </p:stCondLst>
                                  <p:childTnLst>
                                    <p:animScale>
                                      <p:cBhvr>
                                        <p:cTn id="102" dur="750" fill="hold"/>
                                        <p:tgtEl>
                                          <p:spTgt spid="38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103" presetID="10" presetClass="entr" presetSubtype="0" fill="hold" nodeType="withEffect">
                                  <p:stCondLst>
                                    <p:cond delay="14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5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6" presetID="6" presetClass="emph" presetSubtype="0" fill="hold" nodeType="withEffect">
                                  <p:stCondLst>
                                    <p:cond delay="140"/>
                                  </p:stCondLst>
                                  <p:childTnLst>
                                    <p:animScale>
                                      <p:cBhvr>
                                        <p:cTn id="107" dur="10" fill="hold"/>
                                        <p:tgtEl>
                                          <p:spTgt spid="39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108" presetID="6" presetClass="emph" presetSubtype="0" decel="100000" fill="hold" nodeType="withEffect">
                                  <p:stCondLst>
                                    <p:cond delay="140"/>
                                  </p:stCondLst>
                                  <p:childTnLst>
                                    <p:animScale>
                                      <p:cBhvr>
                                        <p:cTn id="109" dur="750" fill="hold"/>
                                        <p:tgtEl>
                                          <p:spTgt spid="39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110" presetID="10" presetClass="entr" presetSubtype="0" fill="hold" nodeType="withEffect">
                                  <p:stCondLst>
                                    <p:cond delay="15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2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3" presetID="6" presetClass="emph" presetSubtype="0" fill="hold" nodeType="withEffect">
                                  <p:stCondLst>
                                    <p:cond delay="150"/>
                                  </p:stCondLst>
                                  <p:childTnLst>
                                    <p:animScale>
                                      <p:cBhvr>
                                        <p:cTn id="114" dur="10" fill="hold"/>
                                        <p:tgtEl>
                                          <p:spTgt spid="40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115" presetID="6" presetClass="emph" presetSubtype="0" decel="100000" fill="hold" nodeType="withEffect">
                                  <p:stCondLst>
                                    <p:cond delay="150"/>
                                  </p:stCondLst>
                                  <p:childTnLst>
                                    <p:animScale>
                                      <p:cBhvr>
                                        <p:cTn id="116" dur="750" fill="hold"/>
                                        <p:tgtEl>
                                          <p:spTgt spid="40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117" presetID="10" presetClass="entr" presetSubtype="0" fill="hold" nodeType="withEffect">
                                  <p:stCondLst>
                                    <p:cond delay="16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9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0" presetID="6" presetClass="emph" presetSubtype="0" fill="hold" nodeType="withEffect">
                                  <p:stCondLst>
                                    <p:cond delay="160"/>
                                  </p:stCondLst>
                                  <p:childTnLst>
                                    <p:animScale>
                                      <p:cBhvr>
                                        <p:cTn id="121" dur="10" fill="hold"/>
                                        <p:tgtEl>
                                          <p:spTgt spid="41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122" presetID="6" presetClass="emph" presetSubtype="0" decel="100000" fill="hold" nodeType="withEffect">
                                  <p:stCondLst>
                                    <p:cond delay="160"/>
                                  </p:stCondLst>
                                  <p:childTnLst>
                                    <p:animScale>
                                      <p:cBhvr>
                                        <p:cTn id="123" dur="750" fill="hold"/>
                                        <p:tgtEl>
                                          <p:spTgt spid="41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124" presetID="10" presetClass="entr" presetSubtype="0" fill="hold" nodeType="withEffect">
                                  <p:stCondLst>
                                    <p:cond delay="170"/>
                                  </p:stCondLst>
                                  <p:childTnLst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6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7" presetID="6" presetClass="emph" presetSubtype="0" fill="hold" nodeType="withEffect">
                                  <p:stCondLst>
                                    <p:cond delay="170"/>
                                  </p:stCondLst>
                                  <p:childTnLst>
                                    <p:animScale>
                                      <p:cBhvr>
                                        <p:cTn id="128" dur="10" fill="hold"/>
                                        <p:tgtEl>
                                          <p:spTgt spid="42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129" presetID="6" presetClass="emph" presetSubtype="0" decel="100000" fill="hold" nodeType="withEffect">
                                  <p:stCondLst>
                                    <p:cond delay="170"/>
                                  </p:stCondLst>
                                  <p:childTnLst>
                                    <p:animScale>
                                      <p:cBhvr>
                                        <p:cTn id="130" dur="750" fill="hold"/>
                                        <p:tgtEl>
                                          <p:spTgt spid="42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131" presetID="10" presetClass="entr" presetSubtype="0" fill="hold" nodeType="withEffect">
                                  <p:stCondLst>
                                    <p:cond delay="18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3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4" presetID="6" presetClass="emph" presetSubtype="0" fill="hold" nodeType="withEffect">
                                  <p:stCondLst>
                                    <p:cond delay="180"/>
                                  </p:stCondLst>
                                  <p:childTnLst>
                                    <p:animScale>
                                      <p:cBhvr>
                                        <p:cTn id="135" dur="10" fill="hold"/>
                                        <p:tgtEl>
                                          <p:spTgt spid="43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136" presetID="6" presetClass="emph" presetSubtype="0" decel="100000" fill="hold" nodeType="withEffect">
                                  <p:stCondLst>
                                    <p:cond delay="180"/>
                                  </p:stCondLst>
                                  <p:childTnLst>
                                    <p:animScale>
                                      <p:cBhvr>
                                        <p:cTn id="137" dur="750" fill="hold"/>
                                        <p:tgtEl>
                                          <p:spTgt spid="43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138" presetID="10" presetClass="entr" presetSubtype="0" fill="hold" nodeType="withEffect">
                                  <p:stCondLst>
                                    <p:cond delay="190"/>
                                  </p:stCondLst>
                                  <p:childTnLst>
                                    <p:set>
                                      <p:cBhvr>
                                        <p:cTn id="1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0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1" presetID="6" presetClass="emph" presetSubtype="0" fill="hold" nodeType="withEffect">
                                  <p:stCondLst>
                                    <p:cond delay="190"/>
                                  </p:stCondLst>
                                  <p:childTnLst>
                                    <p:animScale>
                                      <p:cBhvr>
                                        <p:cTn id="142" dur="10" fill="hold"/>
                                        <p:tgtEl>
                                          <p:spTgt spid="44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143" presetID="6" presetClass="emph" presetSubtype="0" decel="100000" fill="hold" nodeType="withEffect">
                                  <p:stCondLst>
                                    <p:cond delay="190"/>
                                  </p:stCondLst>
                                  <p:childTnLst>
                                    <p:animScale>
                                      <p:cBhvr>
                                        <p:cTn id="144" dur="750" fill="hold"/>
                                        <p:tgtEl>
                                          <p:spTgt spid="44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145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7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8" presetID="6" presetClass="emph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Scale>
                                      <p:cBhvr>
                                        <p:cTn id="149" dur="10" fill="hold"/>
                                        <p:tgtEl>
                                          <p:spTgt spid="45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150" presetID="6" presetClass="emph" presetSubtype="0" decel="10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Scale>
                                      <p:cBhvr>
                                        <p:cTn id="151" dur="750" fill="hold"/>
                                        <p:tgtEl>
                                          <p:spTgt spid="45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152" presetID="10" presetClass="entr" presetSubtype="0" fill="hold" nodeType="withEffect">
                                  <p:stCondLst>
                                    <p:cond delay="210"/>
                                  </p:stCondLst>
                                  <p:childTnLst>
                                    <p:set>
                                      <p:cBhvr>
                                        <p:cTn id="1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4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5" presetID="6" presetClass="emph" presetSubtype="0" fill="hold" nodeType="withEffect">
                                  <p:stCondLst>
                                    <p:cond delay="210"/>
                                  </p:stCondLst>
                                  <p:childTnLst>
                                    <p:animScale>
                                      <p:cBhvr>
                                        <p:cTn id="156" dur="10" fill="hold"/>
                                        <p:tgtEl>
                                          <p:spTgt spid="46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157" presetID="6" presetClass="emph" presetSubtype="0" decel="100000" fill="hold" nodeType="withEffect">
                                  <p:stCondLst>
                                    <p:cond delay="210"/>
                                  </p:stCondLst>
                                  <p:childTnLst>
                                    <p:animScale>
                                      <p:cBhvr>
                                        <p:cTn id="158" dur="750" fill="hold"/>
                                        <p:tgtEl>
                                          <p:spTgt spid="46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159" presetID="10" presetClass="entr" presetSubtype="0" fill="hold" nodeType="withEffect">
                                  <p:stCondLst>
                                    <p:cond delay="220"/>
                                  </p:stCondLst>
                                  <p:childTnLst>
                                    <p:set>
                                      <p:cBhvr>
                                        <p:cTn id="1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1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2" presetID="6" presetClass="emph" presetSubtype="0" fill="hold" nodeType="withEffect">
                                  <p:stCondLst>
                                    <p:cond delay="220"/>
                                  </p:stCondLst>
                                  <p:childTnLst>
                                    <p:animScale>
                                      <p:cBhvr>
                                        <p:cTn id="163" dur="10" fill="hold"/>
                                        <p:tgtEl>
                                          <p:spTgt spid="47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164" presetID="6" presetClass="emph" presetSubtype="0" decel="100000" fill="hold" nodeType="withEffect">
                                  <p:stCondLst>
                                    <p:cond delay="220"/>
                                  </p:stCondLst>
                                  <p:childTnLst>
                                    <p:animScale>
                                      <p:cBhvr>
                                        <p:cTn id="165" dur="750" fill="hold"/>
                                        <p:tgtEl>
                                          <p:spTgt spid="47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166" presetID="10" presetClass="entr" presetSubtype="0" fill="hold" nodeType="withEffect">
                                  <p:stCondLst>
                                    <p:cond delay="230"/>
                                  </p:stCondLst>
                                  <p:childTnLst>
                                    <p:set>
                                      <p:cBhvr>
                                        <p:cTn id="1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8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9" presetID="6" presetClass="emph" presetSubtype="0" fill="hold" nodeType="withEffect">
                                  <p:stCondLst>
                                    <p:cond delay="230"/>
                                  </p:stCondLst>
                                  <p:childTnLst>
                                    <p:animScale>
                                      <p:cBhvr>
                                        <p:cTn id="170" dur="10" fill="hold"/>
                                        <p:tgtEl>
                                          <p:spTgt spid="48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171" presetID="6" presetClass="emph" presetSubtype="0" decel="100000" fill="hold" nodeType="withEffect">
                                  <p:stCondLst>
                                    <p:cond delay="230"/>
                                  </p:stCondLst>
                                  <p:childTnLst>
                                    <p:animScale>
                                      <p:cBhvr>
                                        <p:cTn id="172" dur="750" fill="hold"/>
                                        <p:tgtEl>
                                          <p:spTgt spid="48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173" presetID="10" presetClass="entr" presetSubtype="0" fill="hold" nodeType="withEffect">
                                  <p:stCondLst>
                                    <p:cond delay="240"/>
                                  </p:stCondLst>
                                  <p:childTnLst>
                                    <p:set>
                                      <p:cBhvr>
                                        <p:cTn id="1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5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6" presetID="6" presetClass="emph" presetSubtype="0" fill="hold" nodeType="withEffect">
                                  <p:stCondLst>
                                    <p:cond delay="240"/>
                                  </p:stCondLst>
                                  <p:childTnLst>
                                    <p:animScale>
                                      <p:cBhvr>
                                        <p:cTn id="177" dur="10" fill="hold"/>
                                        <p:tgtEl>
                                          <p:spTgt spid="49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178" presetID="6" presetClass="emph" presetSubtype="0" decel="100000" fill="hold" nodeType="withEffect">
                                  <p:stCondLst>
                                    <p:cond delay="240"/>
                                  </p:stCondLst>
                                  <p:childTnLst>
                                    <p:animScale>
                                      <p:cBhvr>
                                        <p:cTn id="179" dur="750" fill="hold"/>
                                        <p:tgtEl>
                                          <p:spTgt spid="49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180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2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3" presetID="6" presetClass="emph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184" dur="10" fill="hold"/>
                                        <p:tgtEl>
                                          <p:spTgt spid="50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185" presetID="6" presetClass="emph" presetSubtype="0" decel="10000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186" dur="750" fill="hold"/>
                                        <p:tgtEl>
                                          <p:spTgt spid="50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187" presetID="10" presetClass="entr" presetSubtype="0" fill="hold" nodeType="withEffect">
                                  <p:stCondLst>
                                    <p:cond delay="260"/>
                                  </p:stCondLst>
                                  <p:childTnLst>
                                    <p:set>
                                      <p:cBhvr>
                                        <p:cTn id="1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9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0" presetID="6" presetClass="emph" presetSubtype="0" fill="hold" nodeType="withEffect">
                                  <p:stCondLst>
                                    <p:cond delay="260"/>
                                  </p:stCondLst>
                                  <p:childTnLst>
                                    <p:animScale>
                                      <p:cBhvr>
                                        <p:cTn id="191" dur="10" fill="hold"/>
                                        <p:tgtEl>
                                          <p:spTgt spid="51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192" presetID="6" presetClass="emph" presetSubtype="0" decel="100000" fill="hold" nodeType="withEffect">
                                  <p:stCondLst>
                                    <p:cond delay="260"/>
                                  </p:stCondLst>
                                  <p:childTnLst>
                                    <p:animScale>
                                      <p:cBhvr>
                                        <p:cTn id="193" dur="750" fill="hold"/>
                                        <p:tgtEl>
                                          <p:spTgt spid="51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194" presetID="10" presetClass="entr" presetSubtype="0" fill="hold" nodeType="withEffect">
                                  <p:stCondLst>
                                    <p:cond delay="270"/>
                                  </p:stCondLst>
                                  <p:childTnLst>
                                    <p:set>
                                      <p:cBhvr>
                                        <p:cTn id="1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6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7" presetID="6" presetClass="emph" presetSubtype="0" fill="hold" nodeType="withEffect">
                                  <p:stCondLst>
                                    <p:cond delay="270"/>
                                  </p:stCondLst>
                                  <p:childTnLst>
                                    <p:animScale>
                                      <p:cBhvr>
                                        <p:cTn id="198" dur="10" fill="hold"/>
                                        <p:tgtEl>
                                          <p:spTgt spid="52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199" presetID="6" presetClass="emph" presetSubtype="0" decel="100000" fill="hold" nodeType="withEffect">
                                  <p:stCondLst>
                                    <p:cond delay="270"/>
                                  </p:stCondLst>
                                  <p:childTnLst>
                                    <p:animScale>
                                      <p:cBhvr>
                                        <p:cTn id="200" dur="750" fill="hold"/>
                                        <p:tgtEl>
                                          <p:spTgt spid="52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201" presetID="10" presetClass="entr" presetSubtype="0" fill="hold" nodeType="withEffect">
                                  <p:stCondLst>
                                    <p:cond delay="280"/>
                                  </p:stCondLst>
                                  <p:childTnLst>
                                    <p:set>
                                      <p:cBhvr>
                                        <p:cTn id="2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3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4" presetID="6" presetClass="emph" presetSubtype="0" fill="hold" nodeType="withEffect">
                                  <p:stCondLst>
                                    <p:cond delay="280"/>
                                  </p:stCondLst>
                                  <p:childTnLst>
                                    <p:animScale>
                                      <p:cBhvr>
                                        <p:cTn id="205" dur="10" fill="hold"/>
                                        <p:tgtEl>
                                          <p:spTgt spid="53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206" presetID="6" presetClass="emph" presetSubtype="0" decel="100000" fill="hold" nodeType="withEffect">
                                  <p:stCondLst>
                                    <p:cond delay="280"/>
                                  </p:stCondLst>
                                  <p:childTnLst>
                                    <p:animScale>
                                      <p:cBhvr>
                                        <p:cTn id="207" dur="750" fill="hold"/>
                                        <p:tgtEl>
                                          <p:spTgt spid="53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208" presetID="10" presetClass="entr" presetSubtype="0" fill="hold" nodeType="withEffect">
                                  <p:stCondLst>
                                    <p:cond delay="290"/>
                                  </p:stCondLst>
                                  <p:childTnLst>
                                    <p:set>
                                      <p:cBhvr>
                                        <p:cTn id="2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0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1" presetID="6" presetClass="emph" presetSubtype="0" fill="hold" nodeType="withEffect">
                                  <p:stCondLst>
                                    <p:cond delay="290"/>
                                  </p:stCondLst>
                                  <p:childTnLst>
                                    <p:animScale>
                                      <p:cBhvr>
                                        <p:cTn id="212" dur="10" fill="hold"/>
                                        <p:tgtEl>
                                          <p:spTgt spid="54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213" presetID="6" presetClass="emph" presetSubtype="0" decel="100000" fill="hold" nodeType="withEffect">
                                  <p:stCondLst>
                                    <p:cond delay="290"/>
                                  </p:stCondLst>
                                  <p:childTnLst>
                                    <p:animScale>
                                      <p:cBhvr>
                                        <p:cTn id="214" dur="750" fill="hold"/>
                                        <p:tgtEl>
                                          <p:spTgt spid="54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215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7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8" presetID="6" presetClass="emph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Scale>
                                      <p:cBhvr>
                                        <p:cTn id="219" dur="10" fill="hold"/>
                                        <p:tgtEl>
                                          <p:spTgt spid="55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220" presetID="6" presetClass="emph" presetSubtype="0" decel="100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Scale>
                                      <p:cBhvr>
                                        <p:cTn id="221" dur="750" fill="hold"/>
                                        <p:tgtEl>
                                          <p:spTgt spid="55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222" presetID="10" presetClass="entr" presetSubtype="0" fill="hold" nodeType="withEffect">
                                  <p:stCondLst>
                                    <p:cond delay="310"/>
                                  </p:stCondLst>
                                  <p:childTnLst>
                                    <p:set>
                                      <p:cBhvr>
                                        <p:cTn id="2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4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5" presetID="6" presetClass="emph" presetSubtype="0" fill="hold" nodeType="withEffect">
                                  <p:stCondLst>
                                    <p:cond delay="310"/>
                                  </p:stCondLst>
                                  <p:childTnLst>
                                    <p:animScale>
                                      <p:cBhvr>
                                        <p:cTn id="226" dur="10" fill="hold"/>
                                        <p:tgtEl>
                                          <p:spTgt spid="56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227" presetID="6" presetClass="emph" presetSubtype="0" decel="100000" fill="hold" nodeType="withEffect">
                                  <p:stCondLst>
                                    <p:cond delay="310"/>
                                  </p:stCondLst>
                                  <p:childTnLst>
                                    <p:animScale>
                                      <p:cBhvr>
                                        <p:cTn id="228" dur="750" fill="hold"/>
                                        <p:tgtEl>
                                          <p:spTgt spid="56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229" presetID="10" presetClass="entr" presetSubtype="0" fill="hold" nodeType="withEffect">
                                  <p:stCondLst>
                                    <p:cond delay="320"/>
                                  </p:stCondLst>
                                  <p:childTnLst>
                                    <p:set>
                                      <p:cBhvr>
                                        <p:cTn id="2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1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2" presetID="6" presetClass="emph" presetSubtype="0" fill="hold" nodeType="withEffect">
                                  <p:stCondLst>
                                    <p:cond delay="320"/>
                                  </p:stCondLst>
                                  <p:childTnLst>
                                    <p:animScale>
                                      <p:cBhvr>
                                        <p:cTn id="233" dur="10" fill="hold"/>
                                        <p:tgtEl>
                                          <p:spTgt spid="57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234" presetID="6" presetClass="emph" presetSubtype="0" decel="100000" fill="hold" nodeType="withEffect">
                                  <p:stCondLst>
                                    <p:cond delay="320"/>
                                  </p:stCondLst>
                                  <p:childTnLst>
                                    <p:animScale>
                                      <p:cBhvr>
                                        <p:cTn id="235" dur="750" fill="hold"/>
                                        <p:tgtEl>
                                          <p:spTgt spid="57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236" presetID="10" presetClass="entr" presetSubtype="0" fill="hold" nodeType="withEffect">
                                  <p:stCondLst>
                                    <p:cond delay="330"/>
                                  </p:stCondLst>
                                  <p:childTnLst>
                                    <p:set>
                                      <p:cBhvr>
                                        <p:cTn id="2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8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9" presetID="6" presetClass="emph" presetSubtype="0" fill="hold" nodeType="withEffect">
                                  <p:stCondLst>
                                    <p:cond delay="330"/>
                                  </p:stCondLst>
                                  <p:childTnLst>
                                    <p:animScale>
                                      <p:cBhvr>
                                        <p:cTn id="240" dur="10" fill="hold"/>
                                        <p:tgtEl>
                                          <p:spTgt spid="58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241" presetID="6" presetClass="emph" presetSubtype="0" decel="100000" fill="hold" nodeType="withEffect">
                                  <p:stCondLst>
                                    <p:cond delay="330"/>
                                  </p:stCondLst>
                                  <p:childTnLst>
                                    <p:animScale>
                                      <p:cBhvr>
                                        <p:cTn id="242" dur="750" fill="hold"/>
                                        <p:tgtEl>
                                          <p:spTgt spid="58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243" presetID="10" presetClass="entr" presetSubtype="0" fill="hold" nodeType="withEffect">
                                  <p:stCondLst>
                                    <p:cond delay="340"/>
                                  </p:stCondLst>
                                  <p:childTnLst>
                                    <p:set>
                                      <p:cBhvr>
                                        <p:cTn id="2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5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6" presetID="6" presetClass="emph" presetSubtype="0" fill="hold" nodeType="withEffect">
                                  <p:stCondLst>
                                    <p:cond delay="340"/>
                                  </p:stCondLst>
                                  <p:childTnLst>
                                    <p:animScale>
                                      <p:cBhvr>
                                        <p:cTn id="247" dur="10" fill="hold"/>
                                        <p:tgtEl>
                                          <p:spTgt spid="59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248" presetID="6" presetClass="emph" presetSubtype="0" decel="100000" fill="hold" nodeType="withEffect">
                                  <p:stCondLst>
                                    <p:cond delay="340"/>
                                  </p:stCondLst>
                                  <p:childTnLst>
                                    <p:animScale>
                                      <p:cBhvr>
                                        <p:cTn id="249" dur="750" fill="hold"/>
                                        <p:tgtEl>
                                          <p:spTgt spid="59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250" presetID="10" presetClass="entr" presetSubtype="0" fill="hold" nodeType="withEffect">
                                  <p:stCondLst>
                                    <p:cond delay="350"/>
                                  </p:stCondLst>
                                  <p:childTnLst>
                                    <p:set>
                                      <p:cBhvr>
                                        <p:cTn id="2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2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3" presetID="6" presetClass="emph" presetSubtype="0" fill="hold" nodeType="withEffect">
                                  <p:stCondLst>
                                    <p:cond delay="350"/>
                                  </p:stCondLst>
                                  <p:childTnLst>
                                    <p:animScale>
                                      <p:cBhvr>
                                        <p:cTn id="254" dur="10" fill="hold"/>
                                        <p:tgtEl>
                                          <p:spTgt spid="60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255" presetID="6" presetClass="emph" presetSubtype="0" decel="100000" fill="hold" nodeType="withEffect">
                                  <p:stCondLst>
                                    <p:cond delay="350"/>
                                  </p:stCondLst>
                                  <p:childTnLst>
                                    <p:animScale>
                                      <p:cBhvr>
                                        <p:cTn id="256" dur="750" fill="hold"/>
                                        <p:tgtEl>
                                          <p:spTgt spid="60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257" presetID="10" presetClass="entr" presetSubtype="0" fill="hold" nodeType="withEffect">
                                  <p:stCondLst>
                                    <p:cond delay="360"/>
                                  </p:stCondLst>
                                  <p:childTnLst>
                                    <p:set>
                                      <p:cBhvr>
                                        <p:cTn id="2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9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0" presetID="6" presetClass="emph" presetSubtype="0" fill="hold" nodeType="withEffect">
                                  <p:stCondLst>
                                    <p:cond delay="360"/>
                                  </p:stCondLst>
                                  <p:childTnLst>
                                    <p:animScale>
                                      <p:cBhvr>
                                        <p:cTn id="261" dur="10" fill="hold"/>
                                        <p:tgtEl>
                                          <p:spTgt spid="61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262" presetID="6" presetClass="emph" presetSubtype="0" decel="100000" fill="hold" nodeType="withEffect">
                                  <p:stCondLst>
                                    <p:cond delay="360"/>
                                  </p:stCondLst>
                                  <p:childTnLst>
                                    <p:animScale>
                                      <p:cBhvr>
                                        <p:cTn id="263" dur="750" fill="hold"/>
                                        <p:tgtEl>
                                          <p:spTgt spid="61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264" presetID="10" presetClass="entr" presetSubtype="0" fill="hold" nodeType="withEffect">
                                  <p:stCondLst>
                                    <p:cond delay="370"/>
                                  </p:stCondLst>
                                  <p:childTnLst>
                                    <p:set>
                                      <p:cBhvr>
                                        <p:cTn id="2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6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7" presetID="6" presetClass="emph" presetSubtype="0" fill="hold" nodeType="withEffect">
                                  <p:stCondLst>
                                    <p:cond delay="370"/>
                                  </p:stCondLst>
                                  <p:childTnLst>
                                    <p:animScale>
                                      <p:cBhvr>
                                        <p:cTn id="268" dur="10" fill="hold"/>
                                        <p:tgtEl>
                                          <p:spTgt spid="62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269" presetID="6" presetClass="emph" presetSubtype="0" decel="100000" fill="hold" nodeType="withEffect">
                                  <p:stCondLst>
                                    <p:cond delay="370"/>
                                  </p:stCondLst>
                                  <p:childTnLst>
                                    <p:animScale>
                                      <p:cBhvr>
                                        <p:cTn id="270" dur="750" fill="hold"/>
                                        <p:tgtEl>
                                          <p:spTgt spid="62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271" presetID="10" presetClass="entr" presetSubtype="0" fill="hold" nodeType="withEffect">
                                  <p:stCondLst>
                                    <p:cond delay="380"/>
                                  </p:stCondLst>
                                  <p:childTnLst>
                                    <p:set>
                                      <p:cBhvr>
                                        <p:cTn id="2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3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4" presetID="6" presetClass="emph" presetSubtype="0" fill="hold" nodeType="withEffect">
                                  <p:stCondLst>
                                    <p:cond delay="380"/>
                                  </p:stCondLst>
                                  <p:childTnLst>
                                    <p:animScale>
                                      <p:cBhvr>
                                        <p:cTn id="275" dur="10" fill="hold"/>
                                        <p:tgtEl>
                                          <p:spTgt spid="63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276" presetID="6" presetClass="emph" presetSubtype="0" decel="100000" fill="hold" nodeType="withEffect">
                                  <p:stCondLst>
                                    <p:cond delay="380"/>
                                  </p:stCondLst>
                                  <p:childTnLst>
                                    <p:animScale>
                                      <p:cBhvr>
                                        <p:cTn id="277" dur="750" fill="hold"/>
                                        <p:tgtEl>
                                          <p:spTgt spid="63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278" presetID="10" presetClass="entr" presetSubtype="0" fill="hold" nodeType="withEffect">
                                  <p:stCondLst>
                                    <p:cond delay="390"/>
                                  </p:stCondLst>
                                  <p:childTnLst>
                                    <p:set>
                                      <p:cBhvr>
                                        <p:cTn id="2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0" dur="500"/>
                                        <p:tgtEl>
                                          <p:spTgt spid="5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1" presetID="6" presetClass="emph" presetSubtype="0" fill="hold" nodeType="withEffect">
                                  <p:stCondLst>
                                    <p:cond delay="390"/>
                                  </p:stCondLst>
                                  <p:childTnLst>
                                    <p:animScale>
                                      <p:cBhvr>
                                        <p:cTn id="282" dur="10" fill="hold"/>
                                        <p:tgtEl>
                                          <p:spTgt spid="512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283" presetID="6" presetClass="emph" presetSubtype="0" decel="100000" fill="hold" nodeType="withEffect">
                                  <p:stCondLst>
                                    <p:cond delay="390"/>
                                  </p:stCondLst>
                                  <p:childTnLst>
                                    <p:animScale>
                                      <p:cBhvr>
                                        <p:cTn id="284" dur="750" fill="hold"/>
                                        <p:tgtEl>
                                          <p:spTgt spid="512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285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7" dur="500"/>
                                        <p:tgtEl>
                                          <p:spTgt spid="5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8" presetID="6" presetClass="emph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animScale>
                                      <p:cBhvr>
                                        <p:cTn id="289" dur="10" fill="hold"/>
                                        <p:tgtEl>
                                          <p:spTgt spid="513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290" presetID="6" presetClass="emph" presetSubtype="0" decel="10000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animScale>
                                      <p:cBhvr>
                                        <p:cTn id="291" dur="750" fill="hold"/>
                                        <p:tgtEl>
                                          <p:spTgt spid="513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292" presetID="10" presetClass="entr" presetSubtype="0" fill="hold" nodeType="withEffect">
                                  <p:stCondLst>
                                    <p:cond delay="410"/>
                                  </p:stCondLst>
                                  <p:childTnLst>
                                    <p:set>
                                      <p:cBhvr>
                                        <p:cTn id="2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4" dur="500"/>
                                        <p:tgtEl>
                                          <p:spTgt spid="5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5" presetID="6" presetClass="emph" presetSubtype="0" fill="hold" nodeType="withEffect">
                                  <p:stCondLst>
                                    <p:cond delay="410"/>
                                  </p:stCondLst>
                                  <p:childTnLst>
                                    <p:animScale>
                                      <p:cBhvr>
                                        <p:cTn id="296" dur="10" fill="hold"/>
                                        <p:tgtEl>
                                          <p:spTgt spid="514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297" presetID="6" presetClass="emph" presetSubtype="0" decel="100000" fill="hold" nodeType="withEffect">
                                  <p:stCondLst>
                                    <p:cond delay="410"/>
                                  </p:stCondLst>
                                  <p:childTnLst>
                                    <p:animScale>
                                      <p:cBhvr>
                                        <p:cTn id="298" dur="750" fill="hold"/>
                                        <p:tgtEl>
                                          <p:spTgt spid="514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299" presetID="10" presetClass="entr" presetSubtype="0" fill="hold" nodeType="withEffect">
                                  <p:stCondLst>
                                    <p:cond delay="420"/>
                                  </p:stCondLst>
                                  <p:childTnLst>
                                    <p:set>
                                      <p:cBhvr>
                                        <p:cTn id="3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1" dur="500"/>
                                        <p:tgtEl>
                                          <p:spTgt spid="5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2" presetID="6" presetClass="emph" presetSubtype="0" fill="hold" nodeType="withEffect">
                                  <p:stCondLst>
                                    <p:cond delay="420"/>
                                  </p:stCondLst>
                                  <p:childTnLst>
                                    <p:animScale>
                                      <p:cBhvr>
                                        <p:cTn id="303" dur="10" fill="hold"/>
                                        <p:tgtEl>
                                          <p:spTgt spid="515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304" presetID="6" presetClass="emph" presetSubtype="0" decel="100000" fill="hold" nodeType="withEffect">
                                  <p:stCondLst>
                                    <p:cond delay="420"/>
                                  </p:stCondLst>
                                  <p:childTnLst>
                                    <p:animScale>
                                      <p:cBhvr>
                                        <p:cTn id="305" dur="750" fill="hold"/>
                                        <p:tgtEl>
                                          <p:spTgt spid="515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306" presetID="10" presetClass="entr" presetSubtype="0" fill="hold" nodeType="withEffect">
                                  <p:stCondLst>
                                    <p:cond delay="430"/>
                                  </p:stCondLst>
                                  <p:childTnLst>
                                    <p:set>
                                      <p:cBhvr>
                                        <p:cTn id="3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8" dur="500"/>
                                        <p:tgtEl>
                                          <p:spTgt spid="5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9" presetID="6" presetClass="emph" presetSubtype="0" fill="hold" nodeType="withEffect">
                                  <p:stCondLst>
                                    <p:cond delay="430"/>
                                  </p:stCondLst>
                                  <p:childTnLst>
                                    <p:animScale>
                                      <p:cBhvr>
                                        <p:cTn id="310" dur="10" fill="hold"/>
                                        <p:tgtEl>
                                          <p:spTgt spid="516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311" presetID="6" presetClass="emph" presetSubtype="0" decel="100000" fill="hold" nodeType="withEffect">
                                  <p:stCondLst>
                                    <p:cond delay="430"/>
                                  </p:stCondLst>
                                  <p:childTnLst>
                                    <p:animScale>
                                      <p:cBhvr>
                                        <p:cTn id="312" dur="750" fill="hold"/>
                                        <p:tgtEl>
                                          <p:spTgt spid="516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313" presetID="10" presetClass="entr" presetSubtype="0" fill="hold" nodeType="withEffect">
                                  <p:stCondLst>
                                    <p:cond delay="440"/>
                                  </p:stCondLst>
                                  <p:childTnLst>
                                    <p:set>
                                      <p:cBhvr>
                                        <p:cTn id="3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5" dur="500"/>
                                        <p:tgtEl>
                                          <p:spTgt spid="5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6" presetID="6" presetClass="emph" presetSubtype="0" fill="hold" nodeType="withEffect">
                                  <p:stCondLst>
                                    <p:cond delay="440"/>
                                  </p:stCondLst>
                                  <p:childTnLst>
                                    <p:animScale>
                                      <p:cBhvr>
                                        <p:cTn id="317" dur="10" fill="hold"/>
                                        <p:tgtEl>
                                          <p:spTgt spid="517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318" presetID="6" presetClass="emph" presetSubtype="0" decel="100000" fill="hold" nodeType="withEffect">
                                  <p:stCondLst>
                                    <p:cond delay="440"/>
                                  </p:stCondLst>
                                  <p:childTnLst>
                                    <p:animScale>
                                      <p:cBhvr>
                                        <p:cTn id="319" dur="750" fill="hold"/>
                                        <p:tgtEl>
                                          <p:spTgt spid="517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320" presetID="10" presetClass="entr" presetSubtype="0" fill="hold" nodeType="withEffect">
                                  <p:stCondLst>
                                    <p:cond delay="450"/>
                                  </p:stCondLst>
                                  <p:childTnLst>
                                    <p:set>
                                      <p:cBhvr>
                                        <p:cTn id="3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2" dur="500"/>
                                        <p:tgtEl>
                                          <p:spTgt spid="5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3" presetID="6" presetClass="emph" presetSubtype="0" fill="hold" nodeType="withEffect">
                                  <p:stCondLst>
                                    <p:cond delay="450"/>
                                  </p:stCondLst>
                                  <p:childTnLst>
                                    <p:animScale>
                                      <p:cBhvr>
                                        <p:cTn id="324" dur="10" fill="hold"/>
                                        <p:tgtEl>
                                          <p:spTgt spid="518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325" presetID="6" presetClass="emph" presetSubtype="0" decel="100000" fill="hold" nodeType="withEffect">
                                  <p:stCondLst>
                                    <p:cond delay="450"/>
                                  </p:stCondLst>
                                  <p:childTnLst>
                                    <p:animScale>
                                      <p:cBhvr>
                                        <p:cTn id="326" dur="750" fill="hold"/>
                                        <p:tgtEl>
                                          <p:spTgt spid="518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327" presetID="10" presetClass="entr" presetSubtype="0" fill="hold" nodeType="withEffect">
                                  <p:stCondLst>
                                    <p:cond delay="460"/>
                                  </p:stCondLst>
                                  <p:childTnLst>
                                    <p:set>
                                      <p:cBhvr>
                                        <p:cTn id="3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9" dur="500"/>
                                        <p:tgtEl>
                                          <p:spTgt spid="5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0" presetID="6" presetClass="emph" presetSubtype="0" fill="hold" nodeType="withEffect">
                                  <p:stCondLst>
                                    <p:cond delay="460"/>
                                  </p:stCondLst>
                                  <p:childTnLst>
                                    <p:animScale>
                                      <p:cBhvr>
                                        <p:cTn id="331" dur="10" fill="hold"/>
                                        <p:tgtEl>
                                          <p:spTgt spid="519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332" presetID="6" presetClass="emph" presetSubtype="0" decel="100000" fill="hold" nodeType="withEffect">
                                  <p:stCondLst>
                                    <p:cond delay="460"/>
                                  </p:stCondLst>
                                  <p:childTnLst>
                                    <p:animScale>
                                      <p:cBhvr>
                                        <p:cTn id="333" dur="750" fill="hold"/>
                                        <p:tgtEl>
                                          <p:spTgt spid="519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334" presetID="10" presetClass="entr" presetSubtype="0" fill="hold" nodeType="withEffect">
                                  <p:stCondLst>
                                    <p:cond delay="470"/>
                                  </p:stCondLst>
                                  <p:childTnLst>
                                    <p:set>
                                      <p:cBhvr>
                                        <p:cTn id="3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6" dur="500"/>
                                        <p:tgtEl>
                                          <p:spTgt spid="5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7" presetID="6" presetClass="emph" presetSubtype="0" fill="hold" nodeType="withEffect">
                                  <p:stCondLst>
                                    <p:cond delay="470"/>
                                  </p:stCondLst>
                                  <p:childTnLst>
                                    <p:animScale>
                                      <p:cBhvr>
                                        <p:cTn id="338" dur="10" fill="hold"/>
                                        <p:tgtEl>
                                          <p:spTgt spid="520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339" presetID="6" presetClass="emph" presetSubtype="0" decel="100000" fill="hold" nodeType="withEffect">
                                  <p:stCondLst>
                                    <p:cond delay="470"/>
                                  </p:stCondLst>
                                  <p:childTnLst>
                                    <p:animScale>
                                      <p:cBhvr>
                                        <p:cTn id="340" dur="750" fill="hold"/>
                                        <p:tgtEl>
                                          <p:spTgt spid="520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341" presetID="10" presetClass="entr" presetSubtype="0" fill="hold" nodeType="withEffect">
                                  <p:stCondLst>
                                    <p:cond delay="480"/>
                                  </p:stCondLst>
                                  <p:childTnLst>
                                    <p:set>
                                      <p:cBhvr>
                                        <p:cTn id="3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3" dur="500"/>
                                        <p:tgtEl>
                                          <p:spTgt spid="5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4" presetID="6" presetClass="emph" presetSubtype="0" fill="hold" nodeType="withEffect">
                                  <p:stCondLst>
                                    <p:cond delay="480"/>
                                  </p:stCondLst>
                                  <p:childTnLst>
                                    <p:animScale>
                                      <p:cBhvr>
                                        <p:cTn id="345" dur="10" fill="hold"/>
                                        <p:tgtEl>
                                          <p:spTgt spid="521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346" presetID="6" presetClass="emph" presetSubtype="0" decel="100000" fill="hold" nodeType="withEffect">
                                  <p:stCondLst>
                                    <p:cond delay="480"/>
                                  </p:stCondLst>
                                  <p:childTnLst>
                                    <p:animScale>
                                      <p:cBhvr>
                                        <p:cTn id="347" dur="750" fill="hold"/>
                                        <p:tgtEl>
                                          <p:spTgt spid="521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348" presetID="10" presetClass="entr" presetSubtype="0" fill="hold" nodeType="withEffect">
                                  <p:stCondLst>
                                    <p:cond delay="490"/>
                                  </p:stCondLst>
                                  <p:childTnLst>
                                    <p:set>
                                      <p:cBhvr>
                                        <p:cTn id="3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0" dur="500"/>
                                        <p:tgtEl>
                                          <p:spTgt spid="5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1" presetID="6" presetClass="emph" presetSubtype="0" fill="hold" nodeType="withEffect">
                                  <p:stCondLst>
                                    <p:cond delay="490"/>
                                  </p:stCondLst>
                                  <p:childTnLst>
                                    <p:animScale>
                                      <p:cBhvr>
                                        <p:cTn id="352" dur="10" fill="hold"/>
                                        <p:tgtEl>
                                          <p:spTgt spid="522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353" presetID="6" presetClass="emph" presetSubtype="0" decel="100000" fill="hold" nodeType="withEffect">
                                  <p:stCondLst>
                                    <p:cond delay="490"/>
                                  </p:stCondLst>
                                  <p:childTnLst>
                                    <p:animScale>
                                      <p:cBhvr>
                                        <p:cTn id="354" dur="750" fill="hold"/>
                                        <p:tgtEl>
                                          <p:spTgt spid="522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355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7" dur="500"/>
                                        <p:tgtEl>
                                          <p:spTgt spid="5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8" presetID="6" presetClass="emph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Scale>
                                      <p:cBhvr>
                                        <p:cTn id="359" dur="10" fill="hold"/>
                                        <p:tgtEl>
                                          <p:spTgt spid="523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360" presetID="6" presetClass="emph" presetSubtype="0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Scale>
                                      <p:cBhvr>
                                        <p:cTn id="361" dur="750" fill="hold"/>
                                        <p:tgtEl>
                                          <p:spTgt spid="523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362" presetID="10" presetClass="entr" presetSubtype="0" fill="hold" nodeType="withEffect">
                                  <p:stCondLst>
                                    <p:cond delay="510"/>
                                  </p:stCondLst>
                                  <p:childTnLst>
                                    <p:set>
                                      <p:cBhvr>
                                        <p:cTn id="3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4" dur="500"/>
                                        <p:tgtEl>
                                          <p:spTgt spid="5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5" presetID="6" presetClass="emph" presetSubtype="0" fill="hold" nodeType="withEffect">
                                  <p:stCondLst>
                                    <p:cond delay="510"/>
                                  </p:stCondLst>
                                  <p:childTnLst>
                                    <p:animScale>
                                      <p:cBhvr>
                                        <p:cTn id="366" dur="10" fill="hold"/>
                                        <p:tgtEl>
                                          <p:spTgt spid="524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367" presetID="6" presetClass="emph" presetSubtype="0" decel="100000" fill="hold" nodeType="withEffect">
                                  <p:stCondLst>
                                    <p:cond delay="510"/>
                                  </p:stCondLst>
                                  <p:childTnLst>
                                    <p:animScale>
                                      <p:cBhvr>
                                        <p:cTn id="368" dur="750" fill="hold"/>
                                        <p:tgtEl>
                                          <p:spTgt spid="524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5" grpId="1" animBg="1"/>
      <p:bldP spid="5" grpId="2" animBg="1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2E6D11-ADBB-358B-035D-FE16726241F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B7780D-E142-5AFA-48AA-8553E9A9F8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latin typeface="+mn-lt"/>
              </a:rPr>
              <a:t>Not all eligible patients receive ASCT, and those who do can experience treatment failure and toxicitie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9161FB8-93EA-C8B4-89FB-1615E322FA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948FB62-8746-4D0D-BA71-8EB1BEE683ED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33ADC54-A53C-3217-F2A5-39D304F9085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 anchor="b" anchorCtr="0"/>
          <a:lstStyle/>
          <a:p>
            <a:r>
              <a:rPr lang="en-GB" dirty="0"/>
              <a:t>*ASCT eligibility defined as patients who relapse more than 12 months after receiving 1L therapy. †In a study of 791 patients with R/R LBCL, including 540 (68%) with DLBCL, NOS, 76 (10%) with transformed FL, and 32 with double- or triple-hit lymphoma. </a:t>
            </a:r>
            <a:r>
              <a:rPr lang="en-CH" dirty="0"/>
              <a:t>1L, first line; </a:t>
            </a:r>
            <a:r>
              <a:rPr lang="en-GB" dirty="0"/>
              <a:t>ASCT, autologous stem cell transplantation; CR, complete response; DLBCL, diffuse large B-cell lymphoma; FL, follicular lymphoma; </a:t>
            </a:r>
            <a:endParaRPr lang="en-CH" dirty="0"/>
          </a:p>
          <a:p>
            <a:r>
              <a:rPr lang="en-GB" dirty="0"/>
              <a:t>LBCL, large B-cell lymphoma; NOS, not otherwise specified; PR, partial response; R/R, relapsed</a:t>
            </a:r>
            <a:r>
              <a:rPr lang="en-CH" dirty="0"/>
              <a:t>/</a:t>
            </a:r>
            <a:r>
              <a:rPr lang="en-GB" dirty="0"/>
              <a:t>refractory; SCT, stem cell transplant. </a:t>
            </a:r>
            <a:r>
              <a:rPr lang="en-GB" b="1" dirty="0">
                <a:solidFill>
                  <a:srgbClr val="585854"/>
                </a:solidFill>
              </a:rPr>
              <a:t>1. </a:t>
            </a:r>
            <a:r>
              <a:rPr lang="en-GB" dirty="0" err="1">
                <a:solidFill>
                  <a:srgbClr val="585854"/>
                </a:solidFill>
              </a:rPr>
              <a:t>Thieblemont</a:t>
            </a:r>
            <a:r>
              <a:rPr lang="en-GB" dirty="0">
                <a:solidFill>
                  <a:srgbClr val="585854"/>
                </a:solidFill>
              </a:rPr>
              <a:t> et al. </a:t>
            </a:r>
            <a:r>
              <a:rPr lang="en-GB" i="1" dirty="0" err="1"/>
              <a:t>Hemasphere</a:t>
            </a:r>
            <a:r>
              <a:rPr lang="en-GB" dirty="0"/>
              <a:t> 2025 </a:t>
            </a:r>
            <a:r>
              <a:rPr lang="en-GB" b="1" dirty="0">
                <a:solidFill>
                  <a:srgbClr val="585854"/>
                </a:solidFill>
              </a:rPr>
              <a:t>2. </a:t>
            </a:r>
            <a:r>
              <a:rPr lang="en-GB" dirty="0">
                <a:solidFill>
                  <a:srgbClr val="585854"/>
                </a:solidFill>
              </a:rPr>
              <a:t>Eyre et al. </a:t>
            </a:r>
            <a:r>
              <a:rPr lang="en-GB" i="1" dirty="0">
                <a:solidFill>
                  <a:srgbClr val="585854"/>
                </a:solidFill>
              </a:rPr>
              <a:t>Ann Oncol </a:t>
            </a:r>
            <a:r>
              <a:rPr lang="en-GB" dirty="0">
                <a:solidFill>
                  <a:srgbClr val="585854"/>
                </a:solidFill>
              </a:rPr>
              <a:t>2025 </a:t>
            </a:r>
            <a:endParaRPr lang="en-CH" dirty="0">
              <a:solidFill>
                <a:srgbClr val="585854"/>
              </a:solidFill>
            </a:endParaRPr>
          </a:p>
          <a:p>
            <a:r>
              <a:rPr lang="en-GB" b="1" dirty="0">
                <a:solidFill>
                  <a:srgbClr val="585854"/>
                </a:solidFill>
              </a:rPr>
              <a:t>3. </a:t>
            </a:r>
            <a:r>
              <a:rPr lang="en-GB" dirty="0">
                <a:solidFill>
                  <a:srgbClr val="585854"/>
                </a:solidFill>
              </a:rPr>
              <a:t>NCCN Clinical Practice Guidelines in B-cell lymphomas. Version 3.2025 </a:t>
            </a:r>
            <a:r>
              <a:rPr lang="en-GB" b="1" dirty="0"/>
              <a:t>4. </a:t>
            </a:r>
            <a:r>
              <a:rPr lang="en-GB" dirty="0"/>
              <a:t>Bento et al. </a:t>
            </a:r>
            <a:r>
              <a:rPr lang="en-GB" i="1" dirty="0"/>
              <a:t>Blood Adv </a:t>
            </a:r>
            <a:r>
              <a:rPr lang="en-GB" dirty="0"/>
              <a:t>2025 </a:t>
            </a:r>
            <a:r>
              <a:rPr lang="en-GB" b="1" dirty="0"/>
              <a:t>5. </a:t>
            </a:r>
            <a:r>
              <a:rPr lang="nl-NL" dirty="0"/>
              <a:t>van der </a:t>
            </a:r>
            <a:r>
              <a:rPr lang="nl-NL" dirty="0" err="1"/>
              <a:t>Galiën</a:t>
            </a:r>
            <a:r>
              <a:rPr lang="nl-NL" dirty="0"/>
              <a:t> et al. </a:t>
            </a:r>
            <a:r>
              <a:rPr lang="nl-NL" i="1" dirty="0" err="1"/>
              <a:t>Eur</a:t>
            </a:r>
            <a:r>
              <a:rPr lang="nl-NL" i="1" dirty="0"/>
              <a:t> J </a:t>
            </a:r>
            <a:r>
              <a:rPr lang="nl-NL" i="1" dirty="0" err="1"/>
              <a:t>Haematol</a:t>
            </a:r>
            <a:r>
              <a:rPr lang="nl-NL" dirty="0"/>
              <a:t> 2025</a:t>
            </a:r>
            <a:r>
              <a:rPr lang="en-GB" dirty="0"/>
              <a:t> </a:t>
            </a:r>
            <a:r>
              <a:rPr lang="en-GB" b="1" dirty="0"/>
              <a:t>6. </a:t>
            </a:r>
            <a:r>
              <a:rPr lang="en-GB" dirty="0"/>
              <a:t>Carreras et al. EBMT Handbook 2019.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1EB24733-CA7B-BECB-27DD-52F2535445D1}"/>
              </a:ext>
            </a:extLst>
          </p:cNvPr>
          <p:cNvSpPr/>
          <p:nvPr/>
        </p:nvSpPr>
        <p:spPr>
          <a:xfrm>
            <a:off x="3486151" y="3735903"/>
            <a:ext cx="2907506" cy="707886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0" cap="none" spc="-40" normalizeH="0" baseline="0" noProof="0">
                <a:ln>
                  <a:noFill/>
                </a:ln>
                <a:solidFill>
                  <a:srgbClr val="F15922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~2/3 will </a:t>
            </a:r>
            <a:r>
              <a:rPr kumimoji="0" lang="en-GB" sz="1600" b="1" i="0" u="sng" strike="noStrike" kern="0" cap="none" spc="-40" normalizeH="0" baseline="0" noProof="0">
                <a:ln>
                  <a:noFill/>
                </a:ln>
                <a:solidFill>
                  <a:srgbClr val="F15922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ot</a:t>
            </a:r>
            <a:r>
              <a:rPr kumimoji="0" lang="en-GB" sz="1600" b="1" i="0" u="none" strike="noStrike" kern="0" cap="none" spc="-40" normalizeH="0" baseline="0" noProof="0">
                <a:ln>
                  <a:noFill/>
                </a:ln>
                <a:solidFill>
                  <a:srgbClr val="F15922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receive ASCT</a:t>
            </a:r>
            <a:r>
              <a:rPr kumimoji="0" lang="en-GB" sz="1600" b="1" i="0" u="none" strike="noStrike" kern="0" cap="none" spc="-40" normalizeH="0" baseline="30000" noProof="0">
                <a:ln>
                  <a:noFill/>
                </a:ln>
                <a:solidFill>
                  <a:srgbClr val="F15922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4</a:t>
            </a:r>
          </a:p>
        </p:txBody>
      </p:sp>
      <p:sp>
        <p:nvSpPr>
          <p:cNvPr id="505" name="Free-form: Shape 504">
            <a:extLst>
              <a:ext uri="{FF2B5EF4-FFF2-40B4-BE49-F238E27FC236}">
                <a16:creationId xmlns:a16="http://schemas.microsoft.com/office/drawing/2014/main" id="{150CC82F-9399-8C96-ADC1-C72EA292E2EF}"/>
              </a:ext>
            </a:extLst>
          </p:cNvPr>
          <p:cNvSpPr/>
          <p:nvPr/>
        </p:nvSpPr>
        <p:spPr>
          <a:xfrm>
            <a:off x="540522" y="2725139"/>
            <a:ext cx="3228621" cy="1359813"/>
          </a:xfrm>
          <a:custGeom>
            <a:avLst/>
            <a:gdLst>
              <a:gd name="csX0" fmla="*/ 98993 w 3105617"/>
              <a:gd name="csY0" fmla="*/ 0 h 593944"/>
              <a:gd name="csX1" fmla="*/ 3105617 w 3105617"/>
              <a:gd name="csY1" fmla="*/ 0 h 593944"/>
              <a:gd name="csX2" fmla="*/ 3019083 w 3105617"/>
              <a:gd name="csY2" fmla="*/ 52571 h 593944"/>
              <a:gd name="csX3" fmla="*/ 2542194 w 3105617"/>
              <a:gd name="csY3" fmla="*/ 577656 h 593944"/>
              <a:gd name="csX4" fmla="*/ 2534348 w 3105617"/>
              <a:gd name="csY4" fmla="*/ 593944 h 593944"/>
              <a:gd name="csX5" fmla="*/ 98993 w 3105617"/>
              <a:gd name="csY5" fmla="*/ 593944 h 593944"/>
              <a:gd name="csX6" fmla="*/ 0 w 3105617"/>
              <a:gd name="csY6" fmla="*/ 494951 h 593944"/>
              <a:gd name="csX7" fmla="*/ 0 w 3105617"/>
              <a:gd name="csY7" fmla="*/ 98993 h 593944"/>
              <a:gd name="csX8" fmla="*/ 98993 w 3105617"/>
              <a:gd name="csY8" fmla="*/ 0 h 59394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</a:cxnLst>
            <a:rect l="l" t="t" r="r" b="b"/>
            <a:pathLst>
              <a:path w="3105617" h="593944">
                <a:moveTo>
                  <a:pt x="98993" y="0"/>
                </a:moveTo>
                <a:lnTo>
                  <a:pt x="3105617" y="0"/>
                </a:lnTo>
                <a:lnTo>
                  <a:pt x="3019083" y="52571"/>
                </a:lnTo>
                <a:cubicBezTo>
                  <a:pt x="2820996" y="186396"/>
                  <a:pt x="2656834" y="366623"/>
                  <a:pt x="2542194" y="577656"/>
                </a:cubicBezTo>
                <a:lnTo>
                  <a:pt x="2534348" y="593944"/>
                </a:lnTo>
                <a:lnTo>
                  <a:pt x="98993" y="593944"/>
                </a:lnTo>
                <a:cubicBezTo>
                  <a:pt x="44321" y="593944"/>
                  <a:pt x="0" y="549623"/>
                  <a:pt x="0" y="494951"/>
                </a:cubicBezTo>
                <a:lnTo>
                  <a:pt x="0" y="98993"/>
                </a:lnTo>
                <a:cubicBezTo>
                  <a:pt x="0" y="44321"/>
                  <a:pt x="44321" y="0"/>
                  <a:pt x="98993" y="0"/>
                </a:cubicBezTo>
                <a:close/>
              </a:path>
            </a:pathLst>
          </a:cu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r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R or PR to salvage high-dose chemotherapy not achieved</a:t>
            </a:r>
            <a:r>
              <a:rPr kumimoji="0" lang="en-GB" sz="1400" b="1" i="0" u="none" strike="noStrike" kern="1200" cap="none" spc="0" normalizeH="0" baseline="3000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4</a:t>
            </a:r>
          </a:p>
        </p:txBody>
      </p:sp>
      <p:sp>
        <p:nvSpPr>
          <p:cNvPr id="508" name="Free-form: Shape 507">
            <a:extLst>
              <a:ext uri="{FF2B5EF4-FFF2-40B4-BE49-F238E27FC236}">
                <a16:creationId xmlns:a16="http://schemas.microsoft.com/office/drawing/2014/main" id="{5FA64D1C-D9CB-671E-468E-F9C7A3079EC1}"/>
              </a:ext>
            </a:extLst>
          </p:cNvPr>
          <p:cNvSpPr/>
          <p:nvPr/>
        </p:nvSpPr>
        <p:spPr>
          <a:xfrm>
            <a:off x="541144" y="4187507"/>
            <a:ext cx="3212309" cy="1359813"/>
          </a:xfrm>
          <a:custGeom>
            <a:avLst/>
            <a:gdLst>
              <a:gd name="csX0" fmla="*/ 98993 w 3089927"/>
              <a:gd name="csY0" fmla="*/ 0 h 593944"/>
              <a:gd name="csX1" fmla="*/ 2529756 w 3089927"/>
              <a:gd name="csY1" fmla="*/ 0 h 593944"/>
              <a:gd name="csX2" fmla="*/ 2542194 w 3089927"/>
              <a:gd name="csY2" fmla="*/ 25821 h 593944"/>
              <a:gd name="csX3" fmla="*/ 3019083 w 3089927"/>
              <a:gd name="csY3" fmla="*/ 550905 h 593944"/>
              <a:gd name="csX4" fmla="*/ 3089927 w 3089927"/>
              <a:gd name="csY4" fmla="*/ 593944 h 593944"/>
              <a:gd name="csX5" fmla="*/ 98993 w 3089927"/>
              <a:gd name="csY5" fmla="*/ 593944 h 593944"/>
              <a:gd name="csX6" fmla="*/ 0 w 3089927"/>
              <a:gd name="csY6" fmla="*/ 494951 h 593944"/>
              <a:gd name="csX7" fmla="*/ 0 w 3089927"/>
              <a:gd name="csY7" fmla="*/ 98993 h 593944"/>
              <a:gd name="csX8" fmla="*/ 98993 w 3089927"/>
              <a:gd name="csY8" fmla="*/ 0 h 59394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</a:cxnLst>
            <a:rect l="l" t="t" r="r" b="b"/>
            <a:pathLst>
              <a:path w="3089927" h="593944">
                <a:moveTo>
                  <a:pt x="98993" y="0"/>
                </a:moveTo>
                <a:lnTo>
                  <a:pt x="2529756" y="0"/>
                </a:lnTo>
                <a:lnTo>
                  <a:pt x="2542194" y="25821"/>
                </a:lnTo>
                <a:cubicBezTo>
                  <a:pt x="2656834" y="236853"/>
                  <a:pt x="2820996" y="417081"/>
                  <a:pt x="3019083" y="550905"/>
                </a:cubicBezTo>
                <a:lnTo>
                  <a:pt x="3089927" y="593944"/>
                </a:lnTo>
                <a:lnTo>
                  <a:pt x="98993" y="593944"/>
                </a:lnTo>
                <a:cubicBezTo>
                  <a:pt x="44321" y="593944"/>
                  <a:pt x="0" y="549623"/>
                  <a:pt x="0" y="494951"/>
                </a:cubicBezTo>
                <a:lnTo>
                  <a:pt x="0" y="98993"/>
                </a:lnTo>
                <a:cubicBezTo>
                  <a:pt x="0" y="44321"/>
                  <a:pt x="44321" y="0"/>
                  <a:pt x="98993" y="0"/>
                </a:cubicBezTo>
                <a:close/>
              </a:path>
            </a:pathLst>
          </a:cu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r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omplications or toxicities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fter high-dose chemotherapy</a:t>
            </a:r>
            <a:r>
              <a:rPr kumimoji="0" lang="en-GB" sz="1400" b="1" i="0" u="none" strike="noStrike" kern="1200" cap="none" spc="0" normalizeH="0" baseline="3000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5</a:t>
            </a:r>
          </a:p>
        </p:txBody>
      </p:sp>
      <p:sp>
        <p:nvSpPr>
          <p:cNvPr id="509" name="Free-form: Shape 508">
            <a:extLst>
              <a:ext uri="{FF2B5EF4-FFF2-40B4-BE49-F238E27FC236}">
                <a16:creationId xmlns:a16="http://schemas.microsoft.com/office/drawing/2014/main" id="{C6D92B86-1A6C-7986-500C-4D0DC48A450E}"/>
              </a:ext>
            </a:extLst>
          </p:cNvPr>
          <p:cNvSpPr/>
          <p:nvPr/>
        </p:nvSpPr>
        <p:spPr>
          <a:xfrm>
            <a:off x="7915275" y="2725138"/>
            <a:ext cx="3543300" cy="1359813"/>
          </a:xfrm>
          <a:custGeom>
            <a:avLst/>
            <a:gdLst>
              <a:gd name="csX0" fmla="*/ 0 w 2946660"/>
              <a:gd name="csY0" fmla="*/ 0 h 802771"/>
              <a:gd name="csX1" fmla="*/ 2812862 w 2946660"/>
              <a:gd name="csY1" fmla="*/ 0 h 802771"/>
              <a:gd name="csX2" fmla="*/ 2946660 w 2946660"/>
              <a:gd name="csY2" fmla="*/ 133798 h 802771"/>
              <a:gd name="csX3" fmla="*/ 2946660 w 2946660"/>
              <a:gd name="csY3" fmla="*/ 668973 h 802771"/>
              <a:gd name="csX4" fmla="*/ 2812862 w 2946660"/>
              <a:gd name="csY4" fmla="*/ 802771 h 802771"/>
              <a:gd name="csX5" fmla="*/ 660883 w 2946660"/>
              <a:gd name="csY5" fmla="*/ 802771 h 802771"/>
              <a:gd name="csX6" fmla="*/ 626140 w 2946660"/>
              <a:gd name="csY6" fmla="*/ 707848 h 802771"/>
              <a:gd name="csX7" fmla="*/ 86536 w 2946660"/>
              <a:gd name="csY7" fmla="*/ 52572 h 80277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</a:cxnLst>
            <a:rect l="l" t="t" r="r" b="b"/>
            <a:pathLst>
              <a:path w="2946660" h="802771">
                <a:moveTo>
                  <a:pt x="0" y="0"/>
                </a:moveTo>
                <a:lnTo>
                  <a:pt x="2812862" y="0"/>
                </a:lnTo>
                <a:cubicBezTo>
                  <a:pt x="2886757" y="0"/>
                  <a:pt x="2946660" y="59903"/>
                  <a:pt x="2946660" y="133798"/>
                </a:cubicBezTo>
                <a:lnTo>
                  <a:pt x="2946660" y="668973"/>
                </a:lnTo>
                <a:cubicBezTo>
                  <a:pt x="2946660" y="742868"/>
                  <a:pt x="2886757" y="802771"/>
                  <a:pt x="2812862" y="802771"/>
                </a:cubicBezTo>
                <a:lnTo>
                  <a:pt x="660883" y="802771"/>
                </a:lnTo>
                <a:lnTo>
                  <a:pt x="626140" y="707848"/>
                </a:lnTo>
                <a:cubicBezTo>
                  <a:pt x="513092" y="440571"/>
                  <a:pt x="324240" y="213162"/>
                  <a:pt x="86536" y="52572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Ins="18000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8% of patients relapse at 1-year 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fter ASCT, with 50% 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ultimately relapsing</a:t>
            </a:r>
            <a:r>
              <a:rPr kumimoji="0" lang="en-GB" sz="1400" b="1" i="0" u="none" strike="noStrike" kern="1200" cap="none" spc="0" normalizeH="0" baseline="3000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4,†</a:t>
            </a:r>
          </a:p>
        </p:txBody>
      </p:sp>
      <p:sp>
        <p:nvSpPr>
          <p:cNvPr id="511" name="Free-form: Shape 510">
            <a:extLst>
              <a:ext uri="{FF2B5EF4-FFF2-40B4-BE49-F238E27FC236}">
                <a16:creationId xmlns:a16="http://schemas.microsoft.com/office/drawing/2014/main" id="{4E5945FA-DFE2-DAC3-0F53-54950E8F9581}"/>
              </a:ext>
            </a:extLst>
          </p:cNvPr>
          <p:cNvSpPr/>
          <p:nvPr/>
        </p:nvSpPr>
        <p:spPr>
          <a:xfrm>
            <a:off x="7934146" y="4187507"/>
            <a:ext cx="3524430" cy="1359813"/>
          </a:xfrm>
          <a:custGeom>
            <a:avLst/>
            <a:gdLst>
              <a:gd name="csX0" fmla="*/ 648680 w 2930968"/>
              <a:gd name="csY0" fmla="*/ 0 h 802771"/>
              <a:gd name="csX1" fmla="*/ 2797170 w 2930968"/>
              <a:gd name="csY1" fmla="*/ 0 h 802771"/>
              <a:gd name="csX2" fmla="*/ 2930968 w 2930968"/>
              <a:gd name="csY2" fmla="*/ 133798 h 802771"/>
              <a:gd name="csX3" fmla="*/ 2930968 w 2930968"/>
              <a:gd name="csY3" fmla="*/ 668973 h 802771"/>
              <a:gd name="csX4" fmla="*/ 2797170 w 2930968"/>
              <a:gd name="csY4" fmla="*/ 802771 h 802771"/>
              <a:gd name="csX5" fmla="*/ 0 w 2930968"/>
              <a:gd name="csY5" fmla="*/ 802771 h 802771"/>
              <a:gd name="csX6" fmla="*/ 70844 w 2930968"/>
              <a:gd name="csY6" fmla="*/ 759732 h 802771"/>
              <a:gd name="csX7" fmla="*/ 610448 w 2930968"/>
              <a:gd name="csY7" fmla="*/ 104456 h 80277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</a:cxnLst>
            <a:rect l="l" t="t" r="r" b="b"/>
            <a:pathLst>
              <a:path w="2930968" h="802771">
                <a:moveTo>
                  <a:pt x="648680" y="0"/>
                </a:moveTo>
                <a:lnTo>
                  <a:pt x="2797170" y="0"/>
                </a:lnTo>
                <a:cubicBezTo>
                  <a:pt x="2871065" y="0"/>
                  <a:pt x="2930968" y="59903"/>
                  <a:pt x="2930968" y="133798"/>
                </a:cubicBezTo>
                <a:lnTo>
                  <a:pt x="2930968" y="668973"/>
                </a:lnTo>
                <a:cubicBezTo>
                  <a:pt x="2930968" y="742868"/>
                  <a:pt x="2871065" y="802771"/>
                  <a:pt x="2797170" y="802771"/>
                </a:cubicBezTo>
                <a:lnTo>
                  <a:pt x="0" y="802771"/>
                </a:lnTo>
                <a:lnTo>
                  <a:pt x="70844" y="759732"/>
                </a:lnTo>
                <a:cubicBezTo>
                  <a:pt x="308548" y="599143"/>
                  <a:pt x="497400" y="371733"/>
                  <a:pt x="610448" y="104456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rIns="7200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oxicity burden associated with </a:t>
            </a:r>
            <a:b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high-dose chemotherapy and ASCT </a:t>
            </a:r>
            <a:r>
              <a:rPr kumimoji="0" lang="en-GB" sz="1400" b="1" i="0" u="none" strike="noStrike" kern="1200" cap="none" spc="0" normalizeH="0" baseline="3000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6</a:t>
            </a:r>
          </a:p>
        </p:txBody>
      </p:sp>
      <p:pic>
        <p:nvPicPr>
          <p:cNvPr id="1313" name="!!Pic43">
            <a:extLst>
              <a:ext uri="{FF2B5EF4-FFF2-40B4-BE49-F238E27FC236}">
                <a16:creationId xmlns:a16="http://schemas.microsoft.com/office/drawing/2014/main" id="{36A41E54-D037-A72D-F330-8F2EC990AB7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55964" y="2913512"/>
            <a:ext cx="225572" cy="304826"/>
          </a:xfrm>
          <a:prstGeom prst="rect">
            <a:avLst/>
          </a:prstGeom>
        </p:spPr>
      </p:pic>
      <p:pic>
        <p:nvPicPr>
          <p:cNvPr id="1314" name="!!Pic1">
            <a:extLst>
              <a:ext uri="{FF2B5EF4-FFF2-40B4-BE49-F238E27FC236}">
                <a16:creationId xmlns:a16="http://schemas.microsoft.com/office/drawing/2014/main" id="{7031A376-C82B-62B6-5E8E-8781554D834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89364" y="2703962"/>
            <a:ext cx="225572" cy="304826"/>
          </a:xfrm>
          <a:prstGeom prst="rect">
            <a:avLst/>
          </a:prstGeom>
        </p:spPr>
      </p:pic>
      <p:pic>
        <p:nvPicPr>
          <p:cNvPr id="1315" name="!!Pic16">
            <a:extLst>
              <a:ext uri="{FF2B5EF4-FFF2-40B4-BE49-F238E27FC236}">
                <a16:creationId xmlns:a16="http://schemas.microsoft.com/office/drawing/2014/main" id="{595DD12D-0827-CBA9-4C66-928CF900BA8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94114" y="3072262"/>
            <a:ext cx="225572" cy="304826"/>
          </a:xfrm>
          <a:prstGeom prst="rect">
            <a:avLst/>
          </a:prstGeom>
        </p:spPr>
      </p:pic>
      <p:pic>
        <p:nvPicPr>
          <p:cNvPr id="1316" name="!!Pic17">
            <a:extLst>
              <a:ext uri="{FF2B5EF4-FFF2-40B4-BE49-F238E27FC236}">
                <a16:creationId xmlns:a16="http://schemas.microsoft.com/office/drawing/2014/main" id="{52DEDC88-944C-662D-59C2-544D34A68E3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56064" y="3167512"/>
            <a:ext cx="225572" cy="304826"/>
          </a:xfrm>
          <a:prstGeom prst="rect">
            <a:avLst/>
          </a:prstGeom>
        </p:spPr>
      </p:pic>
      <p:pic>
        <p:nvPicPr>
          <p:cNvPr id="1317" name="!!Pic18">
            <a:extLst>
              <a:ext uri="{FF2B5EF4-FFF2-40B4-BE49-F238E27FC236}">
                <a16:creationId xmlns:a16="http://schemas.microsoft.com/office/drawing/2014/main" id="{D79B7D64-C7CE-B37B-888E-426569E3672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81514" y="2996062"/>
            <a:ext cx="225572" cy="304826"/>
          </a:xfrm>
          <a:prstGeom prst="rect">
            <a:avLst/>
          </a:prstGeom>
        </p:spPr>
      </p:pic>
      <p:pic>
        <p:nvPicPr>
          <p:cNvPr id="1318" name="!!Pic2">
            <a:extLst>
              <a:ext uri="{FF2B5EF4-FFF2-40B4-BE49-F238E27FC236}">
                <a16:creationId xmlns:a16="http://schemas.microsoft.com/office/drawing/2014/main" id="{9454F49A-450F-84F9-5614-F3556E28585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35514" y="2710312"/>
            <a:ext cx="225572" cy="304826"/>
          </a:xfrm>
          <a:prstGeom prst="rect">
            <a:avLst/>
          </a:prstGeom>
        </p:spPr>
      </p:pic>
      <p:pic>
        <p:nvPicPr>
          <p:cNvPr id="1319" name="!!Pic19">
            <a:extLst>
              <a:ext uri="{FF2B5EF4-FFF2-40B4-BE49-F238E27FC236}">
                <a16:creationId xmlns:a16="http://schemas.microsoft.com/office/drawing/2014/main" id="{D10BC0C0-8E60-E422-B867-D75F905DB78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95864" y="3053212"/>
            <a:ext cx="225572" cy="304826"/>
          </a:xfrm>
          <a:prstGeom prst="rect">
            <a:avLst/>
          </a:prstGeom>
        </p:spPr>
      </p:pic>
      <p:pic>
        <p:nvPicPr>
          <p:cNvPr id="1320" name="!!Pic7">
            <a:extLst>
              <a:ext uri="{FF2B5EF4-FFF2-40B4-BE49-F238E27FC236}">
                <a16:creationId xmlns:a16="http://schemas.microsoft.com/office/drawing/2014/main" id="{B4F6C78C-033F-0118-0146-3901F278F21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87814" y="3542162"/>
            <a:ext cx="225572" cy="304826"/>
          </a:xfrm>
          <a:prstGeom prst="rect">
            <a:avLst/>
          </a:prstGeom>
        </p:spPr>
      </p:pic>
      <p:pic>
        <p:nvPicPr>
          <p:cNvPr id="1321" name="!!Pic23">
            <a:extLst>
              <a:ext uri="{FF2B5EF4-FFF2-40B4-BE49-F238E27FC236}">
                <a16:creationId xmlns:a16="http://schemas.microsoft.com/office/drawing/2014/main" id="{902EEF0D-F8B3-F7EA-B0A4-8ECE7974A11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43264" y="3491362"/>
            <a:ext cx="225572" cy="304826"/>
          </a:xfrm>
          <a:prstGeom prst="rect">
            <a:avLst/>
          </a:prstGeom>
        </p:spPr>
      </p:pic>
      <p:pic>
        <p:nvPicPr>
          <p:cNvPr id="1322" name="!!Pic22">
            <a:extLst>
              <a:ext uri="{FF2B5EF4-FFF2-40B4-BE49-F238E27FC236}">
                <a16:creationId xmlns:a16="http://schemas.microsoft.com/office/drawing/2014/main" id="{01F1C0F6-0B6F-2D3E-46C2-491212796C0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22564" y="3662812"/>
            <a:ext cx="225572" cy="304826"/>
          </a:xfrm>
          <a:prstGeom prst="rect">
            <a:avLst/>
          </a:prstGeom>
        </p:spPr>
      </p:pic>
      <p:pic>
        <p:nvPicPr>
          <p:cNvPr id="1323" name="!!Pic21">
            <a:extLst>
              <a:ext uri="{FF2B5EF4-FFF2-40B4-BE49-F238E27FC236}">
                <a16:creationId xmlns:a16="http://schemas.microsoft.com/office/drawing/2014/main" id="{63407E3F-EAE6-7941-85F9-9377E0C0078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19464" y="4386712"/>
            <a:ext cx="225572" cy="304826"/>
          </a:xfrm>
          <a:prstGeom prst="rect">
            <a:avLst/>
          </a:prstGeom>
        </p:spPr>
      </p:pic>
      <p:pic>
        <p:nvPicPr>
          <p:cNvPr id="1324" name="!!Pic20">
            <a:extLst>
              <a:ext uri="{FF2B5EF4-FFF2-40B4-BE49-F238E27FC236}">
                <a16:creationId xmlns:a16="http://schemas.microsoft.com/office/drawing/2014/main" id="{0B0B6764-A2F8-AF0B-7173-D104C21A615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87664" y="4602612"/>
            <a:ext cx="225572" cy="304826"/>
          </a:xfrm>
          <a:prstGeom prst="rect">
            <a:avLst/>
          </a:prstGeom>
        </p:spPr>
      </p:pic>
      <p:pic>
        <p:nvPicPr>
          <p:cNvPr id="1325" name="!!Pic15">
            <a:extLst>
              <a:ext uri="{FF2B5EF4-FFF2-40B4-BE49-F238E27FC236}">
                <a16:creationId xmlns:a16="http://schemas.microsoft.com/office/drawing/2014/main" id="{4CE21366-99B9-4352-7E41-12033121DAB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76614" y="4831212"/>
            <a:ext cx="225572" cy="304826"/>
          </a:xfrm>
          <a:prstGeom prst="rect">
            <a:avLst/>
          </a:prstGeom>
        </p:spPr>
      </p:pic>
      <p:pic>
        <p:nvPicPr>
          <p:cNvPr id="1326" name="!!Pic14">
            <a:extLst>
              <a:ext uri="{FF2B5EF4-FFF2-40B4-BE49-F238E27FC236}">
                <a16:creationId xmlns:a16="http://schemas.microsoft.com/office/drawing/2014/main" id="{34FEC8AA-C129-5F45-29C1-64DB00A2AF0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36964" y="5148712"/>
            <a:ext cx="225572" cy="304826"/>
          </a:xfrm>
          <a:prstGeom prst="rect">
            <a:avLst/>
          </a:prstGeom>
        </p:spPr>
      </p:pic>
      <p:pic>
        <p:nvPicPr>
          <p:cNvPr id="1327" name="!!Pic13">
            <a:extLst>
              <a:ext uri="{FF2B5EF4-FFF2-40B4-BE49-F238E27FC236}">
                <a16:creationId xmlns:a16="http://schemas.microsoft.com/office/drawing/2014/main" id="{21FFA99D-4009-92EB-5A0C-4EA32769EA1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30664" y="4894712"/>
            <a:ext cx="225572" cy="304826"/>
          </a:xfrm>
          <a:prstGeom prst="rect">
            <a:avLst/>
          </a:prstGeom>
        </p:spPr>
      </p:pic>
      <p:pic>
        <p:nvPicPr>
          <p:cNvPr id="1328" name="!!Pic12">
            <a:extLst>
              <a:ext uri="{FF2B5EF4-FFF2-40B4-BE49-F238E27FC236}">
                <a16:creationId xmlns:a16="http://schemas.microsoft.com/office/drawing/2014/main" id="{F019551A-C4A0-1C56-C3D6-9C0DC69A674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75114" y="4481962"/>
            <a:ext cx="225572" cy="304826"/>
          </a:xfrm>
          <a:prstGeom prst="rect">
            <a:avLst/>
          </a:prstGeom>
        </p:spPr>
      </p:pic>
      <p:pic>
        <p:nvPicPr>
          <p:cNvPr id="1329" name="!!Pic11">
            <a:extLst>
              <a:ext uri="{FF2B5EF4-FFF2-40B4-BE49-F238E27FC236}">
                <a16:creationId xmlns:a16="http://schemas.microsoft.com/office/drawing/2014/main" id="{367ECB61-7686-A941-05EA-286903E93C7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46614" y="4393062"/>
            <a:ext cx="225572" cy="304826"/>
          </a:xfrm>
          <a:prstGeom prst="rect">
            <a:avLst/>
          </a:prstGeom>
        </p:spPr>
      </p:pic>
      <p:pic>
        <p:nvPicPr>
          <p:cNvPr id="1330" name="!!Pic24">
            <a:extLst>
              <a:ext uri="{FF2B5EF4-FFF2-40B4-BE49-F238E27FC236}">
                <a16:creationId xmlns:a16="http://schemas.microsoft.com/office/drawing/2014/main" id="{F818F0ED-2996-AACF-AF15-59B4A7A5DCF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67264" y="5002662"/>
            <a:ext cx="225572" cy="304826"/>
          </a:xfrm>
          <a:prstGeom prst="rect">
            <a:avLst/>
          </a:prstGeom>
        </p:spPr>
      </p:pic>
      <p:pic>
        <p:nvPicPr>
          <p:cNvPr id="1331" name="!!Pic25">
            <a:extLst>
              <a:ext uri="{FF2B5EF4-FFF2-40B4-BE49-F238E27FC236}">
                <a16:creationId xmlns:a16="http://schemas.microsoft.com/office/drawing/2014/main" id="{58455A9A-D7E0-FC8F-2CAB-7D0FB5EBEC5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79914" y="5167762"/>
            <a:ext cx="225572" cy="304826"/>
          </a:xfrm>
          <a:prstGeom prst="rect">
            <a:avLst/>
          </a:prstGeom>
        </p:spPr>
      </p:pic>
      <p:pic>
        <p:nvPicPr>
          <p:cNvPr id="1332" name="!!Pic44">
            <a:extLst>
              <a:ext uri="{FF2B5EF4-FFF2-40B4-BE49-F238E27FC236}">
                <a16:creationId xmlns:a16="http://schemas.microsoft.com/office/drawing/2014/main" id="{B8A96C53-94A6-944A-9F14-6560295D7E1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13364" y="5136012"/>
            <a:ext cx="225572" cy="304826"/>
          </a:xfrm>
          <a:prstGeom prst="rect">
            <a:avLst/>
          </a:prstGeom>
        </p:spPr>
      </p:pic>
      <p:pic>
        <p:nvPicPr>
          <p:cNvPr id="1333" name="!!Pic45">
            <a:extLst>
              <a:ext uri="{FF2B5EF4-FFF2-40B4-BE49-F238E27FC236}">
                <a16:creationId xmlns:a16="http://schemas.microsoft.com/office/drawing/2014/main" id="{6D9B8E01-162E-D537-0878-4C008424307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89564" y="4418462"/>
            <a:ext cx="225572" cy="304826"/>
          </a:xfrm>
          <a:prstGeom prst="rect">
            <a:avLst/>
          </a:prstGeom>
        </p:spPr>
      </p:pic>
      <p:pic>
        <p:nvPicPr>
          <p:cNvPr id="1334" name="!!Pic46">
            <a:extLst>
              <a:ext uri="{FF2B5EF4-FFF2-40B4-BE49-F238E27FC236}">
                <a16:creationId xmlns:a16="http://schemas.microsoft.com/office/drawing/2014/main" id="{36B27193-23D2-4721-58DF-8E4FFA1E8F3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20659" y="3533904"/>
            <a:ext cx="231668" cy="304826"/>
          </a:xfrm>
          <a:prstGeom prst="rect">
            <a:avLst/>
          </a:prstGeom>
        </p:spPr>
      </p:pic>
      <p:pic>
        <p:nvPicPr>
          <p:cNvPr id="1335" name="!!Pic4">
            <a:extLst>
              <a:ext uri="{FF2B5EF4-FFF2-40B4-BE49-F238E27FC236}">
                <a16:creationId xmlns:a16="http://schemas.microsoft.com/office/drawing/2014/main" id="{02E0CFBA-3905-D69B-F0A0-754C3129D78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00109" y="3362454"/>
            <a:ext cx="231668" cy="304826"/>
          </a:xfrm>
          <a:prstGeom prst="rect">
            <a:avLst/>
          </a:prstGeom>
        </p:spPr>
      </p:pic>
      <p:pic>
        <p:nvPicPr>
          <p:cNvPr id="1336" name="!!Pic3">
            <a:extLst>
              <a:ext uri="{FF2B5EF4-FFF2-40B4-BE49-F238E27FC236}">
                <a16:creationId xmlns:a16="http://schemas.microsoft.com/office/drawing/2014/main" id="{4AA5625D-049E-A984-A943-97D3C683645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30309" y="2994154"/>
            <a:ext cx="231668" cy="304826"/>
          </a:xfrm>
          <a:prstGeom prst="rect">
            <a:avLst/>
          </a:prstGeom>
        </p:spPr>
      </p:pic>
      <p:pic>
        <p:nvPicPr>
          <p:cNvPr id="1337" name="!!Pic47">
            <a:extLst>
              <a:ext uri="{FF2B5EF4-FFF2-40B4-BE49-F238E27FC236}">
                <a16:creationId xmlns:a16="http://schemas.microsoft.com/office/drawing/2014/main" id="{EB7A456B-8D90-3348-CDDF-8EDC2E4BD9E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27159" y="3502154"/>
            <a:ext cx="231668" cy="304826"/>
          </a:xfrm>
          <a:prstGeom prst="rect">
            <a:avLst/>
          </a:prstGeom>
        </p:spPr>
      </p:pic>
      <p:pic>
        <p:nvPicPr>
          <p:cNvPr id="1338" name="!!Pic48">
            <a:extLst>
              <a:ext uri="{FF2B5EF4-FFF2-40B4-BE49-F238E27FC236}">
                <a16:creationId xmlns:a16="http://schemas.microsoft.com/office/drawing/2014/main" id="{26CA9882-5DC0-CB61-C82D-DB825F6F750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16009" y="3813304"/>
            <a:ext cx="231668" cy="304826"/>
          </a:xfrm>
          <a:prstGeom prst="rect">
            <a:avLst/>
          </a:prstGeom>
        </p:spPr>
      </p:pic>
      <p:pic>
        <p:nvPicPr>
          <p:cNvPr id="1339" name="!!Pic6">
            <a:extLst>
              <a:ext uri="{FF2B5EF4-FFF2-40B4-BE49-F238E27FC236}">
                <a16:creationId xmlns:a16="http://schemas.microsoft.com/office/drawing/2014/main" id="{36122203-366B-87F1-7947-EF6013ADC11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12909" y="3921254"/>
            <a:ext cx="231668" cy="304826"/>
          </a:xfrm>
          <a:prstGeom prst="rect">
            <a:avLst/>
          </a:prstGeom>
        </p:spPr>
      </p:pic>
      <p:pic>
        <p:nvPicPr>
          <p:cNvPr id="1340" name="!!Pic49">
            <a:extLst>
              <a:ext uri="{FF2B5EF4-FFF2-40B4-BE49-F238E27FC236}">
                <a16:creationId xmlns:a16="http://schemas.microsoft.com/office/drawing/2014/main" id="{EDD3B6C9-60D6-A0C4-2925-802A776591B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152609" y="3508504"/>
            <a:ext cx="231668" cy="304826"/>
          </a:xfrm>
          <a:prstGeom prst="rect">
            <a:avLst/>
          </a:prstGeom>
        </p:spPr>
      </p:pic>
      <p:pic>
        <p:nvPicPr>
          <p:cNvPr id="1341" name="!!Pic50">
            <a:extLst>
              <a:ext uri="{FF2B5EF4-FFF2-40B4-BE49-F238E27FC236}">
                <a16:creationId xmlns:a16="http://schemas.microsoft.com/office/drawing/2014/main" id="{1E5457A4-5A1F-46EE-17D3-B01AD437045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74759" y="4213354"/>
            <a:ext cx="231668" cy="304826"/>
          </a:xfrm>
          <a:prstGeom prst="rect">
            <a:avLst/>
          </a:prstGeom>
        </p:spPr>
      </p:pic>
      <p:pic>
        <p:nvPicPr>
          <p:cNvPr id="1342" name="!!Pic51">
            <a:extLst>
              <a:ext uri="{FF2B5EF4-FFF2-40B4-BE49-F238E27FC236}">
                <a16:creationId xmlns:a16="http://schemas.microsoft.com/office/drawing/2014/main" id="{8D04CD93-13FF-DCBE-46C1-604E4E5CB6C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46209" y="4670554"/>
            <a:ext cx="231668" cy="304826"/>
          </a:xfrm>
          <a:prstGeom prst="rect">
            <a:avLst/>
          </a:prstGeom>
        </p:spPr>
      </p:pic>
      <p:pic>
        <p:nvPicPr>
          <p:cNvPr id="1343" name="!!Pic10">
            <a:extLst>
              <a:ext uri="{FF2B5EF4-FFF2-40B4-BE49-F238E27FC236}">
                <a16:creationId xmlns:a16="http://schemas.microsoft.com/office/drawing/2014/main" id="{A3E6057B-733D-0369-A12C-5FCCD6132D2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38209" y="4645154"/>
            <a:ext cx="231668" cy="304826"/>
          </a:xfrm>
          <a:prstGeom prst="rect">
            <a:avLst/>
          </a:prstGeom>
        </p:spPr>
      </p:pic>
      <p:pic>
        <p:nvPicPr>
          <p:cNvPr id="1344" name="!!Pic9">
            <a:extLst>
              <a:ext uri="{FF2B5EF4-FFF2-40B4-BE49-F238E27FC236}">
                <a16:creationId xmlns:a16="http://schemas.microsoft.com/office/drawing/2014/main" id="{86DCB584-EEAC-AC41-51C9-46885990A12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20709" y="4353054"/>
            <a:ext cx="231668" cy="304826"/>
          </a:xfrm>
          <a:prstGeom prst="rect">
            <a:avLst/>
          </a:prstGeom>
        </p:spPr>
      </p:pic>
      <p:pic>
        <p:nvPicPr>
          <p:cNvPr id="1345" name="!!Pic8">
            <a:extLst>
              <a:ext uri="{FF2B5EF4-FFF2-40B4-BE49-F238E27FC236}">
                <a16:creationId xmlns:a16="http://schemas.microsoft.com/office/drawing/2014/main" id="{C488DC04-1706-B25F-360E-31269BA217C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28609" y="4054604"/>
            <a:ext cx="231668" cy="304826"/>
          </a:xfrm>
          <a:prstGeom prst="rect">
            <a:avLst/>
          </a:prstGeom>
        </p:spPr>
      </p:pic>
      <p:pic>
        <p:nvPicPr>
          <p:cNvPr id="1346" name="!!Pic5">
            <a:extLst>
              <a:ext uri="{FF2B5EF4-FFF2-40B4-BE49-F238E27FC236}">
                <a16:creationId xmlns:a16="http://schemas.microsoft.com/office/drawing/2014/main" id="{78216AE4-4E7F-D405-C5D1-9F05D9DDA8C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25459" y="3635504"/>
            <a:ext cx="231668" cy="304826"/>
          </a:xfrm>
          <a:prstGeom prst="rect">
            <a:avLst/>
          </a:prstGeom>
        </p:spPr>
      </p:pic>
      <p:pic>
        <p:nvPicPr>
          <p:cNvPr id="1347" name="!!Pic41">
            <a:extLst>
              <a:ext uri="{FF2B5EF4-FFF2-40B4-BE49-F238E27FC236}">
                <a16:creationId xmlns:a16="http://schemas.microsoft.com/office/drawing/2014/main" id="{E0E1DCA0-BC9F-E8F7-B98E-04D2A02B1B5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72214" y="3201226"/>
            <a:ext cx="225572" cy="256054"/>
          </a:xfrm>
          <a:prstGeom prst="rect">
            <a:avLst/>
          </a:prstGeom>
        </p:spPr>
      </p:pic>
      <p:pic>
        <p:nvPicPr>
          <p:cNvPr id="1348" name="!!Pic35">
            <a:extLst>
              <a:ext uri="{FF2B5EF4-FFF2-40B4-BE49-F238E27FC236}">
                <a16:creationId xmlns:a16="http://schemas.microsoft.com/office/drawing/2014/main" id="{887E8AB1-9A6B-0CA1-EB0C-748C5F0B812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189714" y="4058476"/>
            <a:ext cx="225572" cy="256054"/>
          </a:xfrm>
          <a:prstGeom prst="rect">
            <a:avLst/>
          </a:prstGeom>
        </p:spPr>
      </p:pic>
      <p:pic>
        <p:nvPicPr>
          <p:cNvPr id="1349" name="!!Pic34">
            <a:extLst>
              <a:ext uri="{FF2B5EF4-FFF2-40B4-BE49-F238E27FC236}">
                <a16:creationId xmlns:a16="http://schemas.microsoft.com/office/drawing/2014/main" id="{29539A85-E5B2-5F62-3CDA-0CB323E6A29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29364" y="4871276"/>
            <a:ext cx="225572" cy="256054"/>
          </a:xfrm>
          <a:prstGeom prst="rect">
            <a:avLst/>
          </a:prstGeom>
        </p:spPr>
      </p:pic>
      <p:pic>
        <p:nvPicPr>
          <p:cNvPr id="1350" name="!!Pic33">
            <a:extLst>
              <a:ext uri="{FF2B5EF4-FFF2-40B4-BE49-F238E27FC236}">
                <a16:creationId xmlns:a16="http://schemas.microsoft.com/office/drawing/2014/main" id="{7E4EB3D9-5069-45F6-3AD7-BABF1A09C6B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148564" y="4445826"/>
            <a:ext cx="225572" cy="256054"/>
          </a:xfrm>
          <a:prstGeom prst="rect">
            <a:avLst/>
          </a:prstGeom>
        </p:spPr>
      </p:pic>
      <p:pic>
        <p:nvPicPr>
          <p:cNvPr id="1351" name="!!Pic32">
            <a:extLst>
              <a:ext uri="{FF2B5EF4-FFF2-40B4-BE49-F238E27FC236}">
                <a16:creationId xmlns:a16="http://schemas.microsoft.com/office/drawing/2014/main" id="{8B4F0CB1-466E-FED5-F192-92A6FAEEB28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611432" y="3321262"/>
            <a:ext cx="225572" cy="256054"/>
          </a:xfrm>
          <a:prstGeom prst="rect">
            <a:avLst/>
          </a:prstGeom>
        </p:spPr>
      </p:pic>
      <p:pic>
        <p:nvPicPr>
          <p:cNvPr id="1352" name="!!Pic31">
            <a:extLst>
              <a:ext uri="{FF2B5EF4-FFF2-40B4-BE49-F238E27FC236}">
                <a16:creationId xmlns:a16="http://schemas.microsoft.com/office/drawing/2014/main" id="{6F1FB313-CC20-1834-A26F-490F426CC66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75082" y="2762462"/>
            <a:ext cx="225572" cy="256054"/>
          </a:xfrm>
          <a:prstGeom prst="rect">
            <a:avLst/>
          </a:prstGeom>
        </p:spPr>
      </p:pic>
      <p:pic>
        <p:nvPicPr>
          <p:cNvPr id="1353" name="!!Pic30">
            <a:extLst>
              <a:ext uri="{FF2B5EF4-FFF2-40B4-BE49-F238E27FC236}">
                <a16:creationId xmlns:a16="http://schemas.microsoft.com/office/drawing/2014/main" id="{BAD9F750-E32E-B5E7-A38E-97E9D374CFF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259132" y="3613362"/>
            <a:ext cx="225572" cy="256054"/>
          </a:xfrm>
          <a:prstGeom prst="rect">
            <a:avLst/>
          </a:prstGeom>
        </p:spPr>
      </p:pic>
      <p:pic>
        <p:nvPicPr>
          <p:cNvPr id="1354" name="!!Pic29">
            <a:extLst>
              <a:ext uri="{FF2B5EF4-FFF2-40B4-BE49-F238E27FC236}">
                <a16:creationId xmlns:a16="http://schemas.microsoft.com/office/drawing/2014/main" id="{BB6BECB2-32B5-5A1D-6379-E6FBFE013A0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179882" y="3467312"/>
            <a:ext cx="225572" cy="256054"/>
          </a:xfrm>
          <a:prstGeom prst="rect">
            <a:avLst/>
          </a:prstGeom>
        </p:spPr>
      </p:pic>
      <p:pic>
        <p:nvPicPr>
          <p:cNvPr id="1355" name="!!Pic28">
            <a:extLst>
              <a:ext uri="{FF2B5EF4-FFF2-40B4-BE49-F238E27FC236}">
                <a16:creationId xmlns:a16="http://schemas.microsoft.com/office/drawing/2014/main" id="{26D40BA6-4E9E-ACB3-075F-D837536C04D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522782" y="3492712"/>
            <a:ext cx="225572" cy="256054"/>
          </a:xfrm>
          <a:prstGeom prst="rect">
            <a:avLst/>
          </a:prstGeom>
        </p:spPr>
      </p:pic>
      <p:pic>
        <p:nvPicPr>
          <p:cNvPr id="1356" name="!!Pic27">
            <a:extLst>
              <a:ext uri="{FF2B5EF4-FFF2-40B4-BE49-F238E27FC236}">
                <a16:creationId xmlns:a16="http://schemas.microsoft.com/office/drawing/2014/main" id="{11019FD9-CD76-E240-7AF2-646527263DC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916482" y="3448262"/>
            <a:ext cx="225572" cy="256054"/>
          </a:xfrm>
          <a:prstGeom prst="rect">
            <a:avLst/>
          </a:prstGeom>
        </p:spPr>
      </p:pic>
      <p:pic>
        <p:nvPicPr>
          <p:cNvPr id="1357" name="!!Pic26">
            <a:extLst>
              <a:ext uri="{FF2B5EF4-FFF2-40B4-BE49-F238E27FC236}">
                <a16:creationId xmlns:a16="http://schemas.microsoft.com/office/drawing/2014/main" id="{6C3A807A-6820-67AC-75C7-7F6024C3D61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852982" y="2838662"/>
            <a:ext cx="225572" cy="256054"/>
          </a:xfrm>
          <a:prstGeom prst="rect">
            <a:avLst/>
          </a:prstGeom>
        </p:spPr>
      </p:pic>
      <p:pic>
        <p:nvPicPr>
          <p:cNvPr id="1358" name="!!Pic42">
            <a:extLst>
              <a:ext uri="{FF2B5EF4-FFF2-40B4-BE49-F238E27FC236}">
                <a16:creationId xmlns:a16="http://schemas.microsoft.com/office/drawing/2014/main" id="{5D12B1D7-0528-6CE0-258B-8578100CD36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694232" y="4521412"/>
            <a:ext cx="225572" cy="256054"/>
          </a:xfrm>
          <a:prstGeom prst="rect">
            <a:avLst/>
          </a:prstGeom>
        </p:spPr>
      </p:pic>
      <p:pic>
        <p:nvPicPr>
          <p:cNvPr id="1359" name="!!Pic40">
            <a:extLst>
              <a:ext uri="{FF2B5EF4-FFF2-40B4-BE49-F238E27FC236}">
                <a16:creationId xmlns:a16="http://schemas.microsoft.com/office/drawing/2014/main" id="{24C7C269-1EBD-92B7-2845-D7D1959AC2B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637082" y="4826212"/>
            <a:ext cx="225572" cy="256054"/>
          </a:xfrm>
          <a:prstGeom prst="rect">
            <a:avLst/>
          </a:prstGeom>
        </p:spPr>
      </p:pic>
      <p:pic>
        <p:nvPicPr>
          <p:cNvPr id="1360" name="!!Pic39">
            <a:extLst>
              <a:ext uri="{FF2B5EF4-FFF2-40B4-BE49-F238E27FC236}">
                <a16:creationId xmlns:a16="http://schemas.microsoft.com/office/drawing/2014/main" id="{748468CD-88F0-0252-4C0A-30378165D4B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970332" y="4724612"/>
            <a:ext cx="225572" cy="256054"/>
          </a:xfrm>
          <a:prstGeom prst="rect">
            <a:avLst/>
          </a:prstGeom>
        </p:spPr>
      </p:pic>
      <p:pic>
        <p:nvPicPr>
          <p:cNvPr id="1361" name="!!Pic38">
            <a:extLst>
              <a:ext uri="{FF2B5EF4-FFF2-40B4-BE49-F238E27FC236}">
                <a16:creationId xmlns:a16="http://schemas.microsoft.com/office/drawing/2014/main" id="{2A7DD27A-E3E9-8748-DF8E-61314F26D79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354382" y="4654762"/>
            <a:ext cx="225572" cy="256054"/>
          </a:xfrm>
          <a:prstGeom prst="rect">
            <a:avLst/>
          </a:prstGeom>
        </p:spPr>
      </p:pic>
      <p:pic>
        <p:nvPicPr>
          <p:cNvPr id="1362" name="!!Pic37">
            <a:extLst>
              <a:ext uri="{FF2B5EF4-FFF2-40B4-BE49-F238E27FC236}">
                <a16:creationId xmlns:a16="http://schemas.microsoft.com/office/drawing/2014/main" id="{E32B2019-45E0-6EB0-B51C-A98A6F1CB5D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38432" y="4978612"/>
            <a:ext cx="225572" cy="256054"/>
          </a:xfrm>
          <a:prstGeom prst="rect">
            <a:avLst/>
          </a:prstGeom>
        </p:spPr>
      </p:pic>
      <p:pic>
        <p:nvPicPr>
          <p:cNvPr id="1363" name="!!Pic36">
            <a:extLst>
              <a:ext uri="{FF2B5EF4-FFF2-40B4-BE49-F238E27FC236}">
                <a16:creationId xmlns:a16="http://schemas.microsoft.com/office/drawing/2014/main" id="{D4C6058A-3BEA-EFDA-9DBB-30E29FB6071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395532" y="4222962"/>
            <a:ext cx="225572" cy="256054"/>
          </a:xfrm>
          <a:prstGeom prst="rect">
            <a:avLst/>
          </a:prstGeom>
        </p:spPr>
      </p:pic>
      <p:sp>
        <p:nvSpPr>
          <p:cNvPr id="512" name="Rectangle: Rounded Corners 511">
            <a:extLst>
              <a:ext uri="{FF2B5EF4-FFF2-40B4-BE49-F238E27FC236}">
                <a16:creationId xmlns:a16="http://schemas.microsoft.com/office/drawing/2014/main" id="{80357E0B-9539-42C6-7A4A-090F43EF25AD}"/>
              </a:ext>
            </a:extLst>
          </p:cNvPr>
          <p:cNvSpPr/>
          <p:nvPr/>
        </p:nvSpPr>
        <p:spPr>
          <a:xfrm>
            <a:off x="4478507" y="1604685"/>
            <a:ext cx="2942686" cy="707886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SCT-eligible</a:t>
            </a:r>
            <a:r>
              <a:rPr kumimoji="0" lang="en-GB" sz="2000" b="1" i="0" u="none" strike="noStrike" kern="1200" cap="none" spc="0" normalizeH="0" baseline="3000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–3,</a:t>
            </a: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*</a:t>
            </a:r>
            <a:endParaRPr kumimoji="0" lang="en-GB" sz="2000" b="1" i="0" u="none" strike="noStrike" kern="1200" cap="none" spc="0" normalizeH="0" baseline="3000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(Relapse more than 12 months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fter receiving 1L therapy)</a:t>
            </a:r>
          </a:p>
        </p:txBody>
      </p:sp>
    </p:spTree>
    <p:extLst>
      <p:ext uri="{BB962C8B-B14F-4D97-AF65-F5344CB8AC3E}">
        <p14:creationId xmlns:p14="http://schemas.microsoft.com/office/powerpoint/2010/main" val="261893541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5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50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5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14" dur="500" fill="hold"/>
                                        <p:tgtEl>
                                          <p:spTgt spid="50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0" presetClass="entr" presetSubtype="0" fill="hold" grpId="0" nodeType="click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50"/>
                                        <p:tgtEl>
                                          <p:spTgt spid="5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42" presetClass="path" presetSubtype="0" decel="100000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0.01719 -0.00024 L -1.25E-6 4.44444E-6 " pathEditMode="relative" rAng="0" ptsTypes="AA">
                                      <p:cBhvr>
                                        <p:cTn id="21" dur="500" fill="hold"/>
                                        <p:tgtEl>
                                          <p:spTgt spid="50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250"/>
                                        <p:tgtEl>
                                          <p:spTgt spid="5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42" presetClass="path" presetSubtype="0" decel="100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-0.01718 -0.00023 L -2.5E-6 -4.44444E-6 " pathEditMode="relative" rAng="0" ptsTypes="AA">
                                      <p:cBhvr>
                                        <p:cTn id="26" dur="500" fill="hold"/>
                                        <p:tgtEl>
                                          <p:spTgt spid="5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05" grpId="0" animBg="1"/>
      <p:bldP spid="505" grpId="1" animBg="1"/>
      <p:bldP spid="508" grpId="0" animBg="1"/>
      <p:bldP spid="508" grpId="1" animBg="1"/>
      <p:bldP spid="509" grpId="0" animBg="1"/>
      <p:bldP spid="509" grpId="1" animBg="1"/>
      <p:bldP spid="511" grpId="0" animBg="1"/>
      <p:bldP spid="511" grpId="1" animBg="1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609147F-D872-2298-791D-751BAEAC9D3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extBox 36">
            <a:extLst>
              <a:ext uri="{FF2B5EF4-FFF2-40B4-BE49-F238E27FC236}">
                <a16:creationId xmlns:a16="http://schemas.microsoft.com/office/drawing/2014/main" id="{404073E5-1A3B-93D5-0357-8D50DF883B99}"/>
              </a:ext>
            </a:extLst>
          </p:cNvPr>
          <p:cNvSpPr txBox="1"/>
          <p:nvPr/>
        </p:nvSpPr>
        <p:spPr>
          <a:xfrm>
            <a:off x="8701116" y="3210688"/>
            <a:ext cx="1124590" cy="1692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SCT eligible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7E2F2FAB-2716-05A6-44A8-5AA10867A2EA}"/>
              </a:ext>
            </a:extLst>
          </p:cNvPr>
          <p:cNvSpPr/>
          <p:nvPr/>
        </p:nvSpPr>
        <p:spPr>
          <a:xfrm>
            <a:off x="573741" y="2665052"/>
            <a:ext cx="10924759" cy="1980000"/>
          </a:xfrm>
          <a:prstGeom prst="roundRect">
            <a:avLst>
              <a:gd name="adj" fmla="val 2875"/>
            </a:avLst>
          </a:prstGeom>
          <a:noFill/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A01CA53-5561-3865-00F6-8893B4F7A5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ere are various novel therapies available for patients </a:t>
            </a:r>
            <a:br>
              <a:rPr lang="en-GB" dirty="0"/>
            </a:br>
            <a:r>
              <a:rPr lang="en-GB" dirty="0"/>
              <a:t>who do not receive CAR-T or ASCT</a:t>
            </a:r>
            <a:r>
              <a:rPr lang="en-GB" baseline="30000" dirty="0"/>
              <a:t>1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E2E3660-AAEA-2625-B800-9475157693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01CC8E-1CEF-6746-999E-CF29FF00B1D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82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D452DC6-86B9-4955-FE1D-1EF0399F6A8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GB" dirty="0"/>
              <a:t>*CAR-T cell therapy may not be appropriate in patients with PS&gt;2 or who have a large tumour volume and/or rapidly increasing LDH level. †2L immunochemotherapy before HDT/ASCT, in case of CMR, go to HDT/ASCT [IA]. 1L, first line; 2L, second line; 3L+, third line and beyond; ASCT, autologous stem cell transplantation; </a:t>
            </a:r>
            <a:r>
              <a:rPr lang="en-GB" dirty="0" err="1"/>
              <a:t>axi</a:t>
            </a:r>
            <a:r>
              <a:rPr lang="en-GB" dirty="0"/>
              <a:t>-cel, </a:t>
            </a:r>
            <a:r>
              <a:rPr lang="en-GB" dirty="0" err="1"/>
              <a:t>axicabtagene</a:t>
            </a:r>
            <a:r>
              <a:rPr lang="en-GB" dirty="0"/>
              <a:t> </a:t>
            </a:r>
            <a:r>
              <a:rPr lang="en-GB" dirty="0" err="1"/>
              <a:t>ciloleucel</a:t>
            </a:r>
            <a:r>
              <a:rPr lang="en-GB" dirty="0"/>
              <a:t>; CAR-T, chimeric antigen receptor T-cell therapy; </a:t>
            </a:r>
            <a:endParaRPr lang="en-CH" dirty="0"/>
          </a:p>
          <a:p>
            <a:r>
              <a:rPr lang="en-GB" dirty="0"/>
              <a:t>C(M)R, complete (metabolic) response; Epcor, </a:t>
            </a:r>
            <a:r>
              <a:rPr lang="en-GB" dirty="0" err="1"/>
              <a:t>epcoritamab</a:t>
            </a:r>
            <a:r>
              <a:rPr lang="en-GB" dirty="0"/>
              <a:t>; </a:t>
            </a:r>
            <a:r>
              <a:rPr lang="en-GB" dirty="0" err="1"/>
              <a:t>GemOx</a:t>
            </a:r>
            <a:r>
              <a:rPr lang="en-GB" dirty="0"/>
              <a:t>, gemcitabine and oxaliplatin; </a:t>
            </a:r>
            <a:r>
              <a:rPr lang="en-GB" dirty="0" err="1"/>
              <a:t>Glofit</a:t>
            </a:r>
            <a:r>
              <a:rPr lang="en-GB" dirty="0"/>
              <a:t>, </a:t>
            </a:r>
            <a:r>
              <a:rPr lang="en-GB" dirty="0" err="1"/>
              <a:t>glofitamab</a:t>
            </a:r>
            <a:r>
              <a:rPr lang="en-GB" dirty="0"/>
              <a:t>; HDT, high-dose therapy; LBCL, large B-cell lymphoma; LDH, lactate dehydrogenase; </a:t>
            </a:r>
            <a:endParaRPr lang="en-CH" dirty="0"/>
          </a:p>
          <a:p>
            <a:r>
              <a:rPr lang="en-GB" dirty="0" err="1"/>
              <a:t>len</a:t>
            </a:r>
            <a:r>
              <a:rPr lang="en-GB" dirty="0"/>
              <a:t>, lenalidomide; </a:t>
            </a:r>
            <a:r>
              <a:rPr lang="en-GB" dirty="0" err="1"/>
              <a:t>liso</a:t>
            </a:r>
            <a:r>
              <a:rPr lang="en-GB" dirty="0"/>
              <a:t>-cel, </a:t>
            </a:r>
            <a:r>
              <a:rPr lang="en-GB" dirty="0" err="1"/>
              <a:t>lisocabtagene</a:t>
            </a:r>
            <a:r>
              <a:rPr lang="en-GB" dirty="0"/>
              <a:t> </a:t>
            </a:r>
            <a:r>
              <a:rPr lang="en-GB" dirty="0" err="1"/>
              <a:t>maraleucel</a:t>
            </a:r>
            <a:r>
              <a:rPr lang="en-GB" dirty="0"/>
              <a:t>; Pola-BR, </a:t>
            </a:r>
            <a:r>
              <a:rPr lang="en-GB" dirty="0" err="1"/>
              <a:t>polatuzumab</a:t>
            </a:r>
            <a:r>
              <a:rPr lang="en-GB" dirty="0"/>
              <a:t> vedotin, </a:t>
            </a:r>
            <a:r>
              <a:rPr lang="en-GB" dirty="0" err="1"/>
              <a:t>bendamustine</a:t>
            </a:r>
            <a:r>
              <a:rPr lang="en-GB" dirty="0"/>
              <a:t> and rituximab; Pola-R-CHP, </a:t>
            </a:r>
            <a:r>
              <a:rPr lang="en-GB" dirty="0" err="1"/>
              <a:t>polatuzumab</a:t>
            </a:r>
            <a:r>
              <a:rPr lang="en-GB" dirty="0"/>
              <a:t> vedotin, rituximab, cyclophosphamide, doxorubicin, prednisone; PR, partial response; PS, performance status; R-CHOP, rituximab, cyclophosphamide, doxorubicin, vincristine, prednisone; Tafa, </a:t>
            </a:r>
            <a:r>
              <a:rPr lang="en-GB" dirty="0" err="1"/>
              <a:t>tafasitamab</a:t>
            </a:r>
            <a:r>
              <a:rPr lang="en-GB" dirty="0"/>
              <a:t>. </a:t>
            </a:r>
            <a:r>
              <a:rPr lang="en-GB" b="1" dirty="0"/>
              <a:t>1. </a:t>
            </a:r>
            <a:r>
              <a:rPr lang="en-GB" dirty="0"/>
              <a:t>Thieblemont et al. </a:t>
            </a:r>
            <a:r>
              <a:rPr lang="en-GB" i="1" dirty="0" err="1"/>
              <a:t>Hemasphere</a:t>
            </a:r>
            <a:r>
              <a:rPr lang="en-GB" dirty="0"/>
              <a:t> 2025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4677A20-C094-CA06-17DD-FEC4BECBA510}"/>
              </a:ext>
            </a:extLst>
          </p:cNvPr>
          <p:cNvSpPr txBox="1"/>
          <p:nvPr/>
        </p:nvSpPr>
        <p:spPr>
          <a:xfrm>
            <a:off x="720762" y="1728443"/>
            <a:ext cx="349644" cy="2769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L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7CD1264D-9916-CB5E-ED81-D7D1C2DC2AE0}"/>
              </a:ext>
            </a:extLst>
          </p:cNvPr>
          <p:cNvSpPr/>
          <p:nvPr/>
        </p:nvSpPr>
        <p:spPr>
          <a:xfrm>
            <a:off x="1185839" y="1728443"/>
            <a:ext cx="1819765" cy="684315"/>
          </a:xfrm>
          <a:prstGeom prst="roundRect">
            <a:avLst>
              <a:gd name="adj" fmla="val 7584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0 risk factors</a:t>
            </a:r>
          </a:p>
          <a:p>
            <a:pPr marL="0" marR="0" lvl="0" indent="0" algn="ctr" defTabSz="914400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tage I/II, &lt;80 years</a:t>
            </a:r>
          </a:p>
          <a:p>
            <a:pPr marL="0" marR="0" lvl="0" indent="0" algn="ctr" defTabSz="914400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-CHOP [IA]</a:t>
            </a: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6A64D0A6-6DAC-6345-EDED-718433A599FB}"/>
              </a:ext>
            </a:extLst>
          </p:cNvPr>
          <p:cNvSpPr/>
          <p:nvPr/>
        </p:nvSpPr>
        <p:spPr>
          <a:xfrm>
            <a:off x="573764" y="1534638"/>
            <a:ext cx="10924759" cy="937056"/>
          </a:xfrm>
          <a:prstGeom prst="roundRect">
            <a:avLst>
              <a:gd name="adj" fmla="val 6385"/>
            </a:avLst>
          </a:prstGeom>
          <a:noFill/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B3C74DF2-B426-6ECC-DA39-4479D688FE7B}"/>
              </a:ext>
            </a:extLst>
          </p:cNvPr>
          <p:cNvSpPr/>
          <p:nvPr/>
        </p:nvSpPr>
        <p:spPr>
          <a:xfrm>
            <a:off x="3242596" y="1728443"/>
            <a:ext cx="3363172" cy="684315"/>
          </a:xfrm>
          <a:prstGeom prst="roundRect">
            <a:avLst>
              <a:gd name="adj" fmla="val 7584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36000" rIns="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 risk factor</a:t>
            </a:r>
          </a:p>
          <a:p>
            <a:pPr marL="0" marR="0" lvl="0" indent="0" algn="ctr" defTabSz="914400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tage III/IV or Stage I/II with high LDH or poor PS, &lt;80 years</a:t>
            </a:r>
          </a:p>
          <a:p>
            <a:pPr marL="0" marR="0" lvl="0" indent="0" algn="ctr" defTabSz="914400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-CHOP [IA]</a:t>
            </a: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71E3FE77-9ED5-6D5B-699C-50716F3D617C}"/>
              </a:ext>
            </a:extLst>
          </p:cNvPr>
          <p:cNvSpPr/>
          <p:nvPr/>
        </p:nvSpPr>
        <p:spPr>
          <a:xfrm>
            <a:off x="6842761" y="1728443"/>
            <a:ext cx="4407042" cy="684315"/>
          </a:xfrm>
          <a:prstGeom prst="roundRect">
            <a:avLst>
              <a:gd name="adj" fmla="val 7584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36000" rIns="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≥2 risk factors</a:t>
            </a:r>
          </a:p>
          <a:p>
            <a:pPr marL="0" marR="0" lvl="0" indent="0" algn="ctr" defTabSz="914400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tage III/IV and high LDH and/or poor PS and/or ≥2 extranodal sites, &lt;80 years</a:t>
            </a:r>
          </a:p>
          <a:p>
            <a:pPr marL="0" marR="0" lvl="0" indent="0" algn="ctr" defTabSz="914400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ola-R-CHP [IB]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AEB4334A-07F2-372C-EE6A-276E7D36F499}"/>
              </a:ext>
            </a:extLst>
          </p:cNvPr>
          <p:cNvSpPr/>
          <p:nvPr/>
        </p:nvSpPr>
        <p:spPr>
          <a:xfrm>
            <a:off x="4252027" y="2557453"/>
            <a:ext cx="4010025" cy="224241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r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Biopsy and CD19 testing recommended</a:t>
            </a: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3D8E7C87-8B6B-1B8F-C9BA-59A87EA6AAB4}"/>
              </a:ext>
            </a:extLst>
          </p:cNvPr>
          <p:cNvSpPr/>
          <p:nvPr/>
        </p:nvSpPr>
        <p:spPr>
          <a:xfrm>
            <a:off x="4252027" y="1418443"/>
            <a:ext cx="4010025" cy="224241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r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D20 assessment recommended</a:t>
            </a: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856FF7F1-A9B5-B450-F74C-D047DF675300}"/>
              </a:ext>
            </a:extLst>
          </p:cNvPr>
          <p:cNvSpPr/>
          <p:nvPr/>
        </p:nvSpPr>
        <p:spPr>
          <a:xfrm>
            <a:off x="573741" y="4896987"/>
            <a:ext cx="10924759" cy="837784"/>
          </a:xfrm>
          <a:prstGeom prst="roundRect">
            <a:avLst>
              <a:gd name="adj" fmla="val 6795"/>
            </a:avLst>
          </a:prstGeom>
          <a:noFill/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E635DAC-4DCD-1C3F-6E80-56A30F7FE913}"/>
              </a:ext>
            </a:extLst>
          </p:cNvPr>
          <p:cNvSpPr txBox="1"/>
          <p:nvPr/>
        </p:nvSpPr>
        <p:spPr>
          <a:xfrm>
            <a:off x="720762" y="5113363"/>
            <a:ext cx="487095" cy="2769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3L+</a:t>
            </a: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96FCEB4C-04C0-D8D9-281D-B5B23C4ECFFD}"/>
              </a:ext>
            </a:extLst>
          </p:cNvPr>
          <p:cNvSpPr/>
          <p:nvPr/>
        </p:nvSpPr>
        <p:spPr>
          <a:xfrm>
            <a:off x="1185838" y="5113363"/>
            <a:ext cx="4746611" cy="534826"/>
          </a:xfrm>
          <a:prstGeom prst="roundRect">
            <a:avLst>
              <a:gd name="adj" fmla="val 10195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CAR-T* [III, A], bispecific antibodies [III, C], loncastuximab tesirine [III, C], Tafa-len [III, C], Pola-BR [III, B]</a:t>
            </a: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C3E81769-35C1-8DE4-A97B-D08F12AA139B}"/>
              </a:ext>
            </a:extLst>
          </p:cNvPr>
          <p:cNvSpPr/>
          <p:nvPr/>
        </p:nvSpPr>
        <p:spPr>
          <a:xfrm>
            <a:off x="6072469" y="5113363"/>
            <a:ext cx="2595745" cy="534826"/>
          </a:xfrm>
          <a:prstGeom prst="roundRect">
            <a:avLst>
              <a:gd name="adj" fmla="val 10195"/>
            </a:avLst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ts val="13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In limited stage: IS-RT</a:t>
            </a: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7B23C2A7-05F6-D030-FC5B-789B4C1E8563}"/>
              </a:ext>
            </a:extLst>
          </p:cNvPr>
          <p:cNvSpPr/>
          <p:nvPr/>
        </p:nvSpPr>
        <p:spPr>
          <a:xfrm>
            <a:off x="8834818" y="5113363"/>
            <a:ext cx="2414012" cy="534826"/>
          </a:xfrm>
          <a:prstGeom prst="roundRect">
            <a:avLst>
              <a:gd name="adj" fmla="val 14365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ts val="13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linical trials</a:t>
            </a:r>
            <a:b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Best supportive care</a:t>
            </a: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1E5B5E9B-18DC-80A7-F24C-47E8003CE7CD}"/>
              </a:ext>
            </a:extLst>
          </p:cNvPr>
          <p:cNvSpPr/>
          <p:nvPr/>
        </p:nvSpPr>
        <p:spPr>
          <a:xfrm>
            <a:off x="4252027" y="4782326"/>
            <a:ext cx="4010025" cy="242932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r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Biopsy strongly recommended before 3L</a:t>
            </a: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F2B3D71A-F37B-C33F-AC90-FDF5BF882DB7}"/>
              </a:ext>
            </a:extLst>
          </p:cNvPr>
          <p:cNvSpPr/>
          <p:nvPr/>
        </p:nvSpPr>
        <p:spPr>
          <a:xfrm>
            <a:off x="1185838" y="3654933"/>
            <a:ext cx="1764411" cy="918467"/>
          </a:xfrm>
          <a:prstGeom prst="roundRect">
            <a:avLst>
              <a:gd name="adj" fmla="val 8605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xi-cel [IA] or </a:t>
            </a:r>
            <a:b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liso-cel [IA]*</a:t>
            </a:r>
          </a:p>
        </p:txBody>
      </p:sp>
      <p:cxnSp>
        <p:nvCxnSpPr>
          <p:cNvPr id="29" name="Connector: Elbow 28">
            <a:extLst>
              <a:ext uri="{FF2B5EF4-FFF2-40B4-BE49-F238E27FC236}">
                <a16:creationId xmlns:a16="http://schemas.microsoft.com/office/drawing/2014/main" id="{5D3C387B-154D-9BDE-3A6D-B96C7DA349B0}"/>
              </a:ext>
            </a:extLst>
          </p:cNvPr>
          <p:cNvCxnSpPr>
            <a:cxnSpLocks/>
            <a:stCxn id="27" idx="2"/>
            <a:endCxn id="28" idx="0"/>
          </p:cNvCxnSpPr>
          <p:nvPr/>
        </p:nvCxnSpPr>
        <p:spPr>
          <a:xfrm rot="5400000">
            <a:off x="2326034" y="2881162"/>
            <a:ext cx="515781" cy="1031760"/>
          </a:xfrm>
          <a:prstGeom prst="bentConnector3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AA6611A3-D7F8-30E2-D9A0-9AE0CC965D4A}"/>
              </a:ext>
            </a:extLst>
          </p:cNvPr>
          <p:cNvSpPr txBox="1"/>
          <p:nvPr/>
        </p:nvSpPr>
        <p:spPr>
          <a:xfrm>
            <a:off x="2144281" y="3210688"/>
            <a:ext cx="893597" cy="1692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AR-T eligible</a:t>
            </a:r>
          </a:p>
        </p:txBody>
      </p: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3918C28D-A2EA-52DA-154F-EF8015C6E162}"/>
              </a:ext>
            </a:extLst>
          </p:cNvPr>
          <p:cNvSpPr/>
          <p:nvPr/>
        </p:nvSpPr>
        <p:spPr>
          <a:xfrm>
            <a:off x="8834818" y="3647498"/>
            <a:ext cx="2414011" cy="925902"/>
          </a:xfrm>
          <a:prstGeom prst="roundRect">
            <a:avLst>
              <a:gd name="adj" fmla="val 8605"/>
            </a:avLst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Immunochemotherapy</a:t>
            </a:r>
            <a:r>
              <a:rPr kumimoji="0" lang="en-GB" sz="1400" b="0" i="0" u="none" strike="noStrike" kern="1200" cap="none" spc="0" normalizeH="0" baseline="3000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† </a:t>
            </a: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followed by HDT/ASCT if CR/PR [IA]</a:t>
            </a:r>
          </a:p>
        </p:txBody>
      </p:sp>
      <p:cxnSp>
        <p:nvCxnSpPr>
          <p:cNvPr id="34" name="Connector: Elbow 33">
            <a:extLst>
              <a:ext uri="{FF2B5EF4-FFF2-40B4-BE49-F238E27FC236}">
                <a16:creationId xmlns:a16="http://schemas.microsoft.com/office/drawing/2014/main" id="{5FCBA297-CE63-D5F6-4EF7-1C53AD6F986F}"/>
              </a:ext>
            </a:extLst>
          </p:cNvPr>
          <p:cNvCxnSpPr>
            <a:cxnSpLocks/>
            <a:stCxn id="32" idx="2"/>
            <a:endCxn id="33" idx="0"/>
          </p:cNvCxnSpPr>
          <p:nvPr/>
        </p:nvCxnSpPr>
        <p:spPr>
          <a:xfrm rot="16200000" flipH="1">
            <a:off x="9073647" y="2679321"/>
            <a:ext cx="508346" cy="1428008"/>
          </a:xfrm>
          <a:prstGeom prst="bentConnector3">
            <a:avLst>
              <a:gd name="adj1" fmla="val 50468"/>
            </a:avLst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Rectangle 54">
            <a:extLst>
              <a:ext uri="{FF2B5EF4-FFF2-40B4-BE49-F238E27FC236}">
                <a16:creationId xmlns:a16="http://schemas.microsoft.com/office/drawing/2014/main" id="{FEC648A7-923B-D606-B6D5-C3D08F442A3F}"/>
              </a:ext>
            </a:extLst>
          </p:cNvPr>
          <p:cNvSpPr/>
          <p:nvPr/>
        </p:nvSpPr>
        <p:spPr>
          <a:xfrm>
            <a:off x="470646" y="1320007"/>
            <a:ext cx="11125668" cy="4469898"/>
          </a:xfrm>
          <a:prstGeom prst="rect">
            <a:avLst/>
          </a:prstGeom>
          <a:solidFill>
            <a:srgbClr val="FFFFFF">
              <a:alpha val="80000"/>
            </a:srgbClr>
          </a:solidFill>
          <a:ln w="6350">
            <a:noFill/>
            <a:prstDash val="solid"/>
          </a:ln>
        </p:spPr>
        <p:txBody>
          <a:bodyPr wrap="squar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2FAE13F8-0AB2-EB98-F47F-B89B436C0C2B}"/>
              </a:ext>
            </a:extLst>
          </p:cNvPr>
          <p:cNvSpPr/>
          <p:nvPr/>
        </p:nvSpPr>
        <p:spPr>
          <a:xfrm>
            <a:off x="3104147" y="3654931"/>
            <a:ext cx="5564068" cy="918469"/>
          </a:xfrm>
          <a:prstGeom prst="roundRect">
            <a:avLst>
              <a:gd name="adj" fmla="val 8884"/>
            </a:avLst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72000" rtlCol="0" anchor="ctr"/>
          <a:lstStyle/>
          <a:p>
            <a:pPr marL="144000" marR="0" lvl="0" indent="-144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4626AB92-65C1-2BC5-D23F-736958F2D388}"/>
              </a:ext>
            </a:extLst>
          </p:cNvPr>
          <p:cNvSpPr/>
          <p:nvPr/>
        </p:nvSpPr>
        <p:spPr>
          <a:xfrm>
            <a:off x="3101223" y="3701287"/>
            <a:ext cx="3359050" cy="1023219"/>
          </a:xfrm>
          <a:prstGeom prst="roundRect">
            <a:avLst>
              <a:gd name="adj" fmla="val 3218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72000" rtlCol="0" anchor="t"/>
          <a:lstStyle/>
          <a:p>
            <a:pPr marL="144000" marR="0" lvl="0" indent="-144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Glofit-GemOx [IA]</a:t>
            </a:r>
          </a:p>
          <a:p>
            <a:pPr marL="144000" marR="0" lvl="0" indent="-144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ituximab-chemotherapy [IB]</a:t>
            </a:r>
          </a:p>
          <a:p>
            <a:pPr marL="144000" marR="0" lvl="0" indent="-144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ola-BR [IIIB]</a:t>
            </a:r>
          </a:p>
          <a:p>
            <a:pPr marL="144000" marR="0" lvl="0" indent="-144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afa-len [IIIC] in non-refractory patients</a:t>
            </a:r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44D5970C-FDCF-47FA-7CB4-9A067A2E492F}"/>
              </a:ext>
            </a:extLst>
          </p:cNvPr>
          <p:cNvCxnSpPr>
            <a:cxnSpLocks/>
            <a:stCxn id="27" idx="2"/>
            <a:endCxn id="5" idx="0"/>
          </p:cNvCxnSpPr>
          <p:nvPr/>
        </p:nvCxnSpPr>
        <p:spPr>
          <a:xfrm rot="16200000" flipH="1">
            <a:off x="4235103" y="2003852"/>
            <a:ext cx="515779" cy="2786377"/>
          </a:xfrm>
          <a:prstGeom prst="bentConnector3">
            <a:avLst>
              <a:gd name="adj1" fmla="val 50000"/>
            </a:avLst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nector: Elbow 9">
            <a:extLst>
              <a:ext uri="{FF2B5EF4-FFF2-40B4-BE49-F238E27FC236}">
                <a16:creationId xmlns:a16="http://schemas.microsoft.com/office/drawing/2014/main" id="{B0C1CE61-0F7D-FA70-B97B-E48C4629607B}"/>
              </a:ext>
            </a:extLst>
          </p:cNvPr>
          <p:cNvCxnSpPr>
            <a:cxnSpLocks/>
            <a:stCxn id="32" idx="2"/>
            <a:endCxn id="5" idx="0"/>
          </p:cNvCxnSpPr>
          <p:nvPr/>
        </p:nvCxnSpPr>
        <p:spPr>
          <a:xfrm rot="5400000">
            <a:off x="6992110" y="2033224"/>
            <a:ext cx="515779" cy="2727635"/>
          </a:xfrm>
          <a:prstGeom prst="bentConnector3">
            <a:avLst>
              <a:gd name="adj1" fmla="val 50000"/>
            </a:avLst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9463C91E-1D51-DD21-E165-48410B981D1D}"/>
              </a:ext>
            </a:extLst>
          </p:cNvPr>
          <p:cNvSpPr txBox="1"/>
          <p:nvPr/>
        </p:nvSpPr>
        <p:spPr>
          <a:xfrm>
            <a:off x="3171953" y="3210688"/>
            <a:ext cx="2007079" cy="1692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o intention to proceed to CAR-T</a:t>
            </a: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B3E3BF7A-0038-CB73-00CD-280074FD37CA}"/>
              </a:ext>
            </a:extLst>
          </p:cNvPr>
          <p:cNvSpPr/>
          <p:nvPr/>
        </p:nvSpPr>
        <p:spPr>
          <a:xfrm>
            <a:off x="6587606" y="3647497"/>
            <a:ext cx="1971461" cy="1023219"/>
          </a:xfrm>
          <a:prstGeom prst="roundRect">
            <a:avLst>
              <a:gd name="adj" fmla="val 3218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72000" rtlCol="0" anchor="t"/>
          <a:lstStyle/>
          <a:p>
            <a:pPr marL="144000" marR="0" lvl="0" indent="-144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Epcor-GemOx [IIIC] when available</a:t>
            </a:r>
          </a:p>
          <a:p>
            <a:pPr marL="144000" marR="0" lvl="0" indent="-144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linical trial</a:t>
            </a:r>
          </a:p>
          <a:p>
            <a:pPr marL="144000" marR="0" lvl="0" indent="-144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Best supportive care</a:t>
            </a: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C337E518-C7C1-9C34-D538-FDB669FF9947}"/>
              </a:ext>
            </a:extLst>
          </p:cNvPr>
          <p:cNvSpPr/>
          <p:nvPr/>
        </p:nvSpPr>
        <p:spPr>
          <a:xfrm>
            <a:off x="1185838" y="2856113"/>
            <a:ext cx="3827932" cy="283039"/>
          </a:xfrm>
          <a:prstGeom prst="roundRect">
            <a:avLst>
              <a:gd name="adj" fmla="val 16664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imary refractory or relapse within 12 months</a:t>
            </a:r>
          </a:p>
        </p:txBody>
      </p:sp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44DCF51C-E3CA-BE2F-5DD9-95BE69E72E13}"/>
              </a:ext>
            </a:extLst>
          </p:cNvPr>
          <p:cNvSpPr/>
          <p:nvPr/>
        </p:nvSpPr>
        <p:spPr>
          <a:xfrm>
            <a:off x="7437099" y="2856113"/>
            <a:ext cx="2353433" cy="283039"/>
          </a:xfrm>
          <a:prstGeom prst="roundRect">
            <a:avLst>
              <a:gd name="adj" fmla="val 16664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elapse after 12 months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9EBA5C62-A773-1E08-A851-115712E03341}"/>
              </a:ext>
            </a:extLst>
          </p:cNvPr>
          <p:cNvSpPr txBox="1"/>
          <p:nvPr/>
        </p:nvSpPr>
        <p:spPr>
          <a:xfrm>
            <a:off x="720762" y="2856113"/>
            <a:ext cx="312016" cy="2769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L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5E5082AB-8CA0-2A41-A599-CE93B6A5BF79}"/>
              </a:ext>
            </a:extLst>
          </p:cNvPr>
          <p:cNvSpPr txBox="1"/>
          <p:nvPr/>
        </p:nvSpPr>
        <p:spPr>
          <a:xfrm>
            <a:off x="6521701" y="3210688"/>
            <a:ext cx="2237983" cy="1692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o intention to proceed to ASCT</a:t>
            </a:r>
          </a:p>
        </p:txBody>
      </p:sp>
    </p:spTree>
    <p:extLst>
      <p:ext uri="{BB962C8B-B14F-4D97-AF65-F5344CB8AC3E}">
        <p14:creationId xmlns:p14="http://schemas.microsoft.com/office/powerpoint/2010/main" val="296855728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B83435-8FE7-C2BA-76B0-4F97BE63271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F55E93-9652-480A-0D0D-77768A23A3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3200" dirty="0" err="1">
                <a:latin typeface="+mn-lt"/>
              </a:rPr>
              <a:t>Glоfit</a:t>
            </a:r>
            <a:r>
              <a:rPr lang="en-CH" sz="3200" dirty="0" err="1">
                <a:latin typeface="+mn-lt"/>
              </a:rPr>
              <a:t>amab</a:t>
            </a:r>
            <a:r>
              <a:rPr lang="en-GB" sz="3200" dirty="0">
                <a:latin typeface="+mn-lt"/>
              </a:rPr>
              <a:t>‑</a:t>
            </a:r>
            <a:r>
              <a:rPr lang="en-GB" sz="3200" dirty="0" err="1">
                <a:latin typeface="+mn-lt"/>
              </a:rPr>
              <a:t>GemOx</a:t>
            </a:r>
            <a:r>
              <a:rPr lang="en-GB" sz="3200" dirty="0">
                <a:latin typeface="+mn-lt"/>
              </a:rPr>
              <a:t> in </a:t>
            </a:r>
            <a:r>
              <a:rPr lang="en-CH" sz="3200" dirty="0">
                <a:latin typeface="+mn-lt"/>
              </a:rPr>
              <a:t>ASCT</a:t>
            </a:r>
            <a:r>
              <a:rPr lang="en-GB" sz="3200" dirty="0">
                <a:latin typeface="+mn-lt"/>
              </a:rPr>
              <a:t>‑ineligible R/R DLBCL</a:t>
            </a:r>
            <a:endParaRPr lang="en-GB" sz="3200" baseline="30000" dirty="0">
              <a:latin typeface="+mn-lt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700652A-03D0-4811-982B-FD013A87F0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01CC8E-1CEF-6746-999E-CF29FF00B1D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82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27B2ED1-D44F-F2E4-A32F-3B848BDEE90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70645" y="5993361"/>
            <a:ext cx="10440000" cy="726590"/>
          </a:xfrm>
        </p:spPr>
        <p:txBody>
          <a:bodyPr/>
          <a:lstStyle/>
          <a:p>
            <a:pPr lvl="0">
              <a:defRPr/>
            </a:pPr>
            <a:r>
              <a:rPr lang="en-GB" b="1" dirty="0"/>
              <a:t>Direct comparisons between study results cannot be made due to differences in study design, patient populations, and endpoints; the information is presented for contextual purposes only. </a:t>
            </a:r>
            <a:br>
              <a:rPr lang="en-GB" b="1" dirty="0"/>
            </a:br>
            <a:r>
              <a:rPr lang="en-GB" dirty="0"/>
              <a:t>*Median follow-up time for overall survival</a:t>
            </a:r>
            <a:r>
              <a:rPr lang="en-CH" dirty="0"/>
              <a:t> of</a:t>
            </a:r>
            <a:r>
              <a:rPr lang="en-GB" dirty="0"/>
              <a:t> </a:t>
            </a:r>
            <a:r>
              <a:rPr lang="en-GB" dirty="0">
                <a:solidFill>
                  <a:srgbClr val="585854"/>
                </a:solidFill>
                <a:ea typeface="Arial" pitchFamily="34" charset="-122"/>
                <a:cs typeface="Arial" pitchFamily="34" charset="-120"/>
              </a:rPr>
              <a:t>35.1 months. †</a:t>
            </a:r>
            <a:r>
              <a:rPr lang="fr-FR" dirty="0">
                <a:solidFill>
                  <a:srgbClr val="585854"/>
                </a:solidFill>
                <a:ea typeface="Arial" pitchFamily="34" charset="-122"/>
                <a:cs typeface="Arial" pitchFamily="34" charset="-120"/>
              </a:rPr>
              <a:t>43 patients </a:t>
            </a:r>
            <a:r>
              <a:rPr lang="fr-FR" dirty="0" err="1">
                <a:solidFill>
                  <a:srgbClr val="585854"/>
                </a:solidFill>
                <a:ea typeface="Arial" pitchFamily="34" charset="-122"/>
                <a:cs typeface="Arial" pitchFamily="34" charset="-120"/>
              </a:rPr>
              <a:t>from</a:t>
            </a:r>
            <a:r>
              <a:rPr lang="fr-FR" dirty="0">
                <a:solidFill>
                  <a:srgbClr val="585854"/>
                </a:solidFill>
                <a:ea typeface="Arial" pitchFamily="34" charset="-122"/>
                <a:cs typeface="Arial" pitchFamily="34" charset="-120"/>
              </a:rPr>
              <a:t> 8 US centres.</a:t>
            </a:r>
            <a:br>
              <a:rPr lang="en-GB" dirty="0"/>
            </a:br>
            <a:r>
              <a:rPr lang="en-GB" dirty="0"/>
              <a:t>ASCT, autologous stem cell transplantation;</a:t>
            </a:r>
            <a:r>
              <a:rPr lang="en-CH" dirty="0"/>
              <a:t> CI, confidence interval;</a:t>
            </a:r>
            <a:r>
              <a:rPr lang="en-GB" dirty="0"/>
              <a:t> DLBCL, diffuse large B-cell lymphoma; DH, double-hit; </a:t>
            </a:r>
            <a:r>
              <a:rPr lang="en-GB" dirty="0" err="1"/>
              <a:t>glofit</a:t>
            </a:r>
            <a:r>
              <a:rPr lang="en-GB" dirty="0"/>
              <a:t>, </a:t>
            </a:r>
            <a:r>
              <a:rPr lang="en-GB" dirty="0" err="1"/>
              <a:t>glofitamab</a:t>
            </a:r>
            <a:r>
              <a:rPr lang="en-GB" dirty="0"/>
              <a:t>;</a:t>
            </a:r>
            <a:r>
              <a:rPr lang="en-CH" dirty="0"/>
              <a:t> HGBL, high-grade B-cell lymphoma;</a:t>
            </a:r>
            <a:r>
              <a:rPr lang="en-GB" dirty="0"/>
              <a:t> </a:t>
            </a:r>
            <a:endParaRPr lang="en-CH" dirty="0"/>
          </a:p>
          <a:p>
            <a:pPr lvl="0">
              <a:defRPr/>
            </a:pPr>
            <a:r>
              <a:rPr lang="en-GB" dirty="0"/>
              <a:t>PFS, progression-free survival; </a:t>
            </a:r>
            <a:r>
              <a:rPr lang="en-CH" dirty="0"/>
              <a:t>R-</a:t>
            </a:r>
            <a:r>
              <a:rPr lang="en-GB" dirty="0" err="1"/>
              <a:t>GemOx</a:t>
            </a:r>
            <a:r>
              <a:rPr lang="en-GB" dirty="0"/>
              <a:t>, rituximab, gemcitabine and oxaliplatin; R/R, relapsed</a:t>
            </a:r>
            <a:r>
              <a:rPr lang="en-CH" dirty="0"/>
              <a:t>/</a:t>
            </a:r>
            <a:r>
              <a:rPr lang="en-GB" dirty="0"/>
              <a:t>refractory; TH, triple-hit.</a:t>
            </a:r>
            <a:r>
              <a:rPr lang="en-CH" dirty="0"/>
              <a:t> </a:t>
            </a:r>
          </a:p>
          <a:p>
            <a:pPr lvl="0">
              <a:defRPr/>
            </a:pPr>
            <a:r>
              <a:rPr lang="en-GB" b="1" dirty="0"/>
              <a:t>1.</a:t>
            </a:r>
            <a:r>
              <a:rPr lang="en-GB" dirty="0"/>
              <a:t> Abramson et al. ASH 2025, Poster #5519 </a:t>
            </a:r>
            <a:r>
              <a:rPr lang="en-GB" b="1" dirty="0"/>
              <a:t>2. </a:t>
            </a:r>
            <a:r>
              <a:rPr lang="en-GB" dirty="0"/>
              <a:t>Tiger et al. ASH 2025, Poster #1956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963B078-46FF-CD3B-FA14-C2A7280E0635}"/>
              </a:ext>
            </a:extLst>
          </p:cNvPr>
          <p:cNvSpPr txBox="1"/>
          <p:nvPr/>
        </p:nvSpPr>
        <p:spPr>
          <a:xfrm>
            <a:off x="1005494" y="1223775"/>
            <a:ext cx="4488221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ivotal study PFS</a:t>
            </a:r>
            <a:r>
              <a:rPr kumimoji="0" lang="en-GB" sz="1600" b="0" i="0" u="none" strike="noStrike" kern="1200" cap="none" spc="0" normalizeH="0" baseline="3000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,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*</a:t>
            </a:r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1958C565-5710-2B69-E16B-A245E9ACFEFF}"/>
              </a:ext>
            </a:extLst>
          </p:cNvPr>
          <p:cNvSpPr txBox="1"/>
          <p:nvPr/>
        </p:nvSpPr>
        <p:spPr>
          <a:xfrm>
            <a:off x="1224858" y="5009638"/>
            <a:ext cx="439291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atients with </a:t>
            </a: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H/TH DLBCL or HGBL</a:t>
            </a: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were</a:t>
            </a: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not eligible </a:t>
            </a: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for the STARGLO tria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754F59D-A085-D661-BFAB-6CACCF1127FD}"/>
              </a:ext>
            </a:extLst>
          </p:cNvPr>
          <p:cNvSpPr txBox="1"/>
          <p:nvPr/>
        </p:nvSpPr>
        <p:spPr>
          <a:xfrm>
            <a:off x="7320109" y="1242060"/>
            <a:ext cx="397456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eal-world PFS</a:t>
            </a:r>
            <a:r>
              <a:rPr kumimoji="0" lang="en-GB" sz="1600" b="0" i="0" u="none" strike="noStrike" kern="1200" cap="none" spc="0" normalizeH="0" baseline="3000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,†</a:t>
            </a:r>
            <a:endParaRPr kumimoji="0" lang="en-GB" sz="1400" b="1" i="0" u="none" strike="noStrike" kern="1200" cap="none" spc="0" normalizeH="0" baseline="30000" noProof="0" dirty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7EA6F9D-1A03-4AD0-55CE-4F3CB96F9550}"/>
              </a:ext>
            </a:extLst>
          </p:cNvPr>
          <p:cNvSpPr txBox="1"/>
          <p:nvPr/>
        </p:nvSpPr>
        <p:spPr>
          <a:xfrm>
            <a:off x="7006842" y="5009638"/>
            <a:ext cx="428630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H/TH lymphomas: </a:t>
            </a: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30% / 7%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HGBL: </a:t>
            </a: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6%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EA7C4D8-8484-BD95-1DB8-83EAF67B0382}"/>
              </a:ext>
            </a:extLst>
          </p:cNvPr>
          <p:cNvSpPr txBox="1"/>
          <p:nvPr/>
        </p:nvSpPr>
        <p:spPr>
          <a:xfrm>
            <a:off x="7320109" y="1242060"/>
            <a:ext cx="397456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eal-world PFS</a:t>
            </a:r>
            <a:r>
              <a:rPr kumimoji="0" lang="en-GB" sz="1600" b="0" i="0" u="none" strike="noStrike" kern="1200" cap="none" spc="0" normalizeH="0" baseline="3000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,†</a:t>
            </a:r>
            <a:endParaRPr kumimoji="0" lang="en-GB" sz="1400" b="1" i="0" u="none" strike="noStrike" kern="1200" cap="none" spc="0" normalizeH="0" baseline="30000" noProof="0" dirty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3" name="Content Placeholder 1">
            <a:extLst>
              <a:ext uri="{FF2B5EF4-FFF2-40B4-BE49-F238E27FC236}">
                <a16:creationId xmlns:a16="http://schemas.microsoft.com/office/drawing/2014/main" id="{943C5DB6-E9C5-89F3-B611-9DA23EF96A5A}"/>
              </a:ext>
            </a:extLst>
          </p:cNvPr>
          <p:cNvSpPr txBox="1">
            <a:spLocks/>
          </p:cNvSpPr>
          <p:nvPr/>
        </p:nvSpPr>
        <p:spPr>
          <a:xfrm>
            <a:off x="4094198" y="2379931"/>
            <a:ext cx="1647070" cy="624210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500" b="1" i="0" u="none" strike="noStrike" kern="1200" cap="none" spc="0" normalizeH="0" baseline="0" noProof="0" dirty="0">
                <a:ln>
                  <a:noFill/>
                </a:ln>
                <a:solidFill>
                  <a:srgbClr val="585854">
                    <a:lumMod val="75000"/>
                    <a:lumOff val="2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Median PFS</a:t>
            </a:r>
            <a:r>
              <a:rPr kumimoji="0" lang="en-GB" sz="1500" b="0" i="0" u="none" strike="noStrike" kern="1200" cap="none" spc="0" normalizeH="0" baseline="30000" noProof="0" dirty="0">
                <a:ln>
                  <a:noFill/>
                </a:ln>
                <a:solidFill>
                  <a:srgbClr val="585854">
                    <a:lumMod val="75000"/>
                    <a:lumOff val="2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b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585854">
                    <a:lumMod val="75000"/>
                    <a:lumOff val="2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GB" sz="1900" b="1" i="0" u="none" strike="noStrike" kern="1200" cap="none" spc="0" normalizeH="0" baseline="0" noProof="0" dirty="0">
                <a:ln>
                  <a:noFill/>
                </a:ln>
                <a:solidFill>
                  <a:srgbClr val="9D9C98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3.3 months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85854">
                    <a:lumMod val="75000"/>
                    <a:lumOff val="2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(95% CI: 2.3–5.6)</a:t>
            </a: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7EE48368-2870-09AB-5A42-D0783E845E6B}"/>
              </a:ext>
            </a:extLst>
          </p:cNvPr>
          <p:cNvSpPr txBox="1"/>
          <p:nvPr/>
        </p:nvSpPr>
        <p:spPr>
          <a:xfrm>
            <a:off x="331304" y="4179918"/>
            <a:ext cx="864066" cy="11519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No. at risk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97A3A69D-5236-F0C2-AAD4-831F4C6F773B}"/>
              </a:ext>
            </a:extLst>
          </p:cNvPr>
          <p:cNvSpPr txBox="1"/>
          <p:nvPr/>
        </p:nvSpPr>
        <p:spPr>
          <a:xfrm>
            <a:off x="1336185" y="4412756"/>
            <a:ext cx="89895" cy="115198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9D9C98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91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5D81C57B-0AAF-7217-2BBB-D468FE89526A}"/>
              </a:ext>
            </a:extLst>
          </p:cNvPr>
          <p:cNvSpPr txBox="1"/>
          <p:nvPr/>
        </p:nvSpPr>
        <p:spPr>
          <a:xfrm>
            <a:off x="5399737" y="4412756"/>
            <a:ext cx="177942" cy="115198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9D9C98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NE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A2379BF4-A42C-AB0C-30FD-75A122E6A72C}"/>
              </a:ext>
            </a:extLst>
          </p:cNvPr>
          <p:cNvSpPr txBox="1"/>
          <p:nvPr/>
        </p:nvSpPr>
        <p:spPr>
          <a:xfrm>
            <a:off x="1048430" y="2054018"/>
            <a:ext cx="228337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00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1B6F36DC-EB06-FCAD-9564-5011EE05BC79}"/>
              </a:ext>
            </a:extLst>
          </p:cNvPr>
          <p:cNvSpPr txBox="1"/>
          <p:nvPr/>
        </p:nvSpPr>
        <p:spPr>
          <a:xfrm>
            <a:off x="1048430" y="2404722"/>
            <a:ext cx="228337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80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731D1921-CDB2-E22D-C81E-65BDF136D496}"/>
              </a:ext>
            </a:extLst>
          </p:cNvPr>
          <p:cNvSpPr txBox="1"/>
          <p:nvPr/>
        </p:nvSpPr>
        <p:spPr>
          <a:xfrm>
            <a:off x="1048430" y="2755426"/>
            <a:ext cx="228337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60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7AF897A1-5C5C-251B-FB15-9BC369B4D5C4}"/>
              </a:ext>
            </a:extLst>
          </p:cNvPr>
          <p:cNvSpPr txBox="1"/>
          <p:nvPr/>
        </p:nvSpPr>
        <p:spPr>
          <a:xfrm>
            <a:off x="1048430" y="3106130"/>
            <a:ext cx="228337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40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BC0A2BFE-A491-5612-EE42-7F01B7C020C1}"/>
              </a:ext>
            </a:extLst>
          </p:cNvPr>
          <p:cNvSpPr txBox="1"/>
          <p:nvPr/>
        </p:nvSpPr>
        <p:spPr>
          <a:xfrm>
            <a:off x="1048430" y="3456834"/>
            <a:ext cx="228337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20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D458BC24-A526-C837-D80C-2172394F3650}"/>
              </a:ext>
            </a:extLst>
          </p:cNvPr>
          <p:cNvSpPr txBox="1"/>
          <p:nvPr/>
        </p:nvSpPr>
        <p:spPr>
          <a:xfrm>
            <a:off x="1186903" y="3807536"/>
            <a:ext cx="89864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0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F38B9795-C188-2054-44AD-8D03A2BB8612}"/>
              </a:ext>
            </a:extLst>
          </p:cNvPr>
          <p:cNvSpPr txBox="1"/>
          <p:nvPr/>
        </p:nvSpPr>
        <p:spPr>
          <a:xfrm rot="16200000">
            <a:off x="-142006" y="2939082"/>
            <a:ext cx="1924304" cy="169007"/>
          </a:xfrm>
          <a:prstGeom prst="rect">
            <a:avLst/>
          </a:prstGeom>
          <a:noFill/>
        </p:spPr>
        <p:txBody>
          <a:bodyPr wrap="non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PFS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, %</a:t>
            </a:r>
          </a:p>
        </p:txBody>
      </p: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CFA1388B-62EF-D3BA-EC07-90BCA75080B9}"/>
              </a:ext>
            </a:extLst>
          </p:cNvPr>
          <p:cNvCxnSpPr>
            <a:cxnSpLocks/>
          </p:cNvCxnSpPr>
          <p:nvPr/>
        </p:nvCxnSpPr>
        <p:spPr>
          <a:xfrm>
            <a:off x="1308206" y="2113451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E9B2B744-4784-E7B2-8FFC-409F7B65612B}"/>
              </a:ext>
            </a:extLst>
          </p:cNvPr>
          <p:cNvCxnSpPr>
            <a:cxnSpLocks/>
          </p:cNvCxnSpPr>
          <p:nvPr/>
        </p:nvCxnSpPr>
        <p:spPr>
          <a:xfrm>
            <a:off x="1308206" y="2463867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D19CB21B-3CB4-E338-E54F-9916C14E0D56}"/>
              </a:ext>
            </a:extLst>
          </p:cNvPr>
          <p:cNvCxnSpPr>
            <a:cxnSpLocks/>
          </p:cNvCxnSpPr>
          <p:nvPr/>
        </p:nvCxnSpPr>
        <p:spPr>
          <a:xfrm>
            <a:off x="1308206" y="2814283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B48A30DE-A0FF-8D4C-D8AC-910B9E461AFD}"/>
              </a:ext>
            </a:extLst>
          </p:cNvPr>
          <p:cNvCxnSpPr>
            <a:cxnSpLocks/>
          </p:cNvCxnSpPr>
          <p:nvPr/>
        </p:nvCxnSpPr>
        <p:spPr>
          <a:xfrm>
            <a:off x="1308206" y="3515115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221CEE6A-BCCC-E33F-89A4-A149899BE4FC}"/>
              </a:ext>
            </a:extLst>
          </p:cNvPr>
          <p:cNvCxnSpPr>
            <a:cxnSpLocks/>
          </p:cNvCxnSpPr>
          <p:nvPr/>
        </p:nvCxnSpPr>
        <p:spPr>
          <a:xfrm>
            <a:off x="1308206" y="3164699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30926998-C6FF-4BBD-F811-433DFD0F0865}"/>
              </a:ext>
            </a:extLst>
          </p:cNvPr>
          <p:cNvCxnSpPr>
            <a:cxnSpLocks/>
          </p:cNvCxnSpPr>
          <p:nvPr/>
        </p:nvCxnSpPr>
        <p:spPr>
          <a:xfrm>
            <a:off x="1308206" y="3865529"/>
            <a:ext cx="4309565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45032918-FA4B-657C-3A96-866AD2615A06}"/>
              </a:ext>
            </a:extLst>
          </p:cNvPr>
          <p:cNvCxnSpPr>
            <a:cxnSpLocks/>
          </p:cNvCxnSpPr>
          <p:nvPr/>
        </p:nvCxnSpPr>
        <p:spPr>
          <a:xfrm rot="16200000">
            <a:off x="3398843" y="3901528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D6FF6745-EAEB-9D65-541F-59818EDA0C38}"/>
              </a:ext>
            </a:extLst>
          </p:cNvPr>
          <p:cNvCxnSpPr>
            <a:cxnSpLocks/>
          </p:cNvCxnSpPr>
          <p:nvPr/>
        </p:nvCxnSpPr>
        <p:spPr>
          <a:xfrm rot="16200000">
            <a:off x="3985229" y="3901529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03EC91AC-93A1-F950-64FC-68EC38DB8E22}"/>
              </a:ext>
            </a:extLst>
          </p:cNvPr>
          <p:cNvCxnSpPr>
            <a:cxnSpLocks/>
          </p:cNvCxnSpPr>
          <p:nvPr/>
        </p:nvCxnSpPr>
        <p:spPr>
          <a:xfrm rot="16200000">
            <a:off x="2812457" y="3901528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EED66207-01E5-A0FB-E4BD-F309F7EDEBAA}"/>
              </a:ext>
            </a:extLst>
          </p:cNvPr>
          <p:cNvCxnSpPr>
            <a:cxnSpLocks/>
          </p:cNvCxnSpPr>
          <p:nvPr/>
        </p:nvCxnSpPr>
        <p:spPr>
          <a:xfrm rot="16200000">
            <a:off x="2226071" y="3901528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A7D6BD83-57F5-C616-31D4-13C6033AB114}"/>
              </a:ext>
            </a:extLst>
          </p:cNvPr>
          <p:cNvCxnSpPr>
            <a:cxnSpLocks/>
          </p:cNvCxnSpPr>
          <p:nvPr/>
        </p:nvCxnSpPr>
        <p:spPr>
          <a:xfrm rot="16200000">
            <a:off x="4864808" y="3901529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F19E1B8C-EE1E-CE01-4BF5-EB23F0A9B103}"/>
              </a:ext>
            </a:extLst>
          </p:cNvPr>
          <p:cNvCxnSpPr>
            <a:cxnSpLocks/>
          </p:cNvCxnSpPr>
          <p:nvPr/>
        </p:nvCxnSpPr>
        <p:spPr>
          <a:xfrm rot="16200000">
            <a:off x="5451189" y="3901530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TextBox 80">
            <a:extLst>
              <a:ext uri="{FF2B5EF4-FFF2-40B4-BE49-F238E27FC236}">
                <a16:creationId xmlns:a16="http://schemas.microsoft.com/office/drawing/2014/main" id="{68A385AC-1BDF-C670-0219-33E2F6307E23}"/>
              </a:ext>
            </a:extLst>
          </p:cNvPr>
          <p:cNvSpPr txBox="1"/>
          <p:nvPr/>
        </p:nvSpPr>
        <p:spPr>
          <a:xfrm>
            <a:off x="1336200" y="4024282"/>
            <a:ext cx="89864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0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AA347175-CEFD-9D48-4D0C-AE3683317EFE}"/>
              </a:ext>
            </a:extLst>
          </p:cNvPr>
          <p:cNvSpPr txBox="1"/>
          <p:nvPr/>
        </p:nvSpPr>
        <p:spPr>
          <a:xfrm>
            <a:off x="1626455" y="4024282"/>
            <a:ext cx="89864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3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AB02838D-4505-A5C9-4BAB-F222A73C1309}"/>
              </a:ext>
            </a:extLst>
          </p:cNvPr>
          <p:cNvSpPr txBox="1"/>
          <p:nvPr/>
        </p:nvSpPr>
        <p:spPr>
          <a:xfrm>
            <a:off x="1916710" y="4024282"/>
            <a:ext cx="89864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6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3C423190-980A-EC62-5065-0D785FEC3511}"/>
              </a:ext>
            </a:extLst>
          </p:cNvPr>
          <p:cNvSpPr txBox="1"/>
          <p:nvPr/>
        </p:nvSpPr>
        <p:spPr>
          <a:xfrm>
            <a:off x="2206965" y="4024282"/>
            <a:ext cx="89864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9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A8F4D5C0-89BF-8AEF-5C13-ED9ACB255559}"/>
              </a:ext>
            </a:extLst>
          </p:cNvPr>
          <p:cNvSpPr txBox="1"/>
          <p:nvPr/>
        </p:nvSpPr>
        <p:spPr>
          <a:xfrm>
            <a:off x="2497220" y="4024282"/>
            <a:ext cx="89864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2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D0D84FF3-4723-475B-EC12-3A6DAB570AA2}"/>
              </a:ext>
            </a:extLst>
          </p:cNvPr>
          <p:cNvSpPr txBox="1"/>
          <p:nvPr/>
        </p:nvSpPr>
        <p:spPr>
          <a:xfrm>
            <a:off x="2787475" y="4024282"/>
            <a:ext cx="89864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5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A6702A85-7CD7-133F-4DBC-4EADA8B7BB5D}"/>
              </a:ext>
            </a:extLst>
          </p:cNvPr>
          <p:cNvSpPr txBox="1"/>
          <p:nvPr/>
        </p:nvSpPr>
        <p:spPr>
          <a:xfrm>
            <a:off x="3077730" y="4024282"/>
            <a:ext cx="89864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8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85C29D2E-B023-1C56-3B2E-696914BE5062}"/>
              </a:ext>
            </a:extLst>
          </p:cNvPr>
          <p:cNvSpPr txBox="1"/>
          <p:nvPr/>
        </p:nvSpPr>
        <p:spPr>
          <a:xfrm>
            <a:off x="3367985" y="4024282"/>
            <a:ext cx="89864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21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3690E149-3F81-73C0-D979-7306D7E96A7C}"/>
              </a:ext>
            </a:extLst>
          </p:cNvPr>
          <p:cNvSpPr txBox="1"/>
          <p:nvPr/>
        </p:nvSpPr>
        <p:spPr>
          <a:xfrm>
            <a:off x="5399768" y="4024282"/>
            <a:ext cx="177880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42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6D279909-D928-E093-964F-F6424F79D99A}"/>
              </a:ext>
            </a:extLst>
          </p:cNvPr>
          <p:cNvSpPr txBox="1"/>
          <p:nvPr/>
        </p:nvSpPr>
        <p:spPr>
          <a:xfrm>
            <a:off x="3025966" y="4175360"/>
            <a:ext cx="863766" cy="11530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Months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CF8B7B3C-E596-E40C-F839-F8BEB19317F5}"/>
              </a:ext>
            </a:extLst>
          </p:cNvPr>
          <p:cNvSpPr txBox="1"/>
          <p:nvPr/>
        </p:nvSpPr>
        <p:spPr>
          <a:xfrm>
            <a:off x="6765650" y="2044040"/>
            <a:ext cx="228337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00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08B4CA42-164E-9EC7-3760-02A682F53E29}"/>
              </a:ext>
            </a:extLst>
          </p:cNvPr>
          <p:cNvSpPr txBox="1"/>
          <p:nvPr/>
        </p:nvSpPr>
        <p:spPr>
          <a:xfrm>
            <a:off x="6719384" y="2919908"/>
            <a:ext cx="228337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50</a:t>
            </a: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76D834F7-27D8-9B44-7FA9-84EF83993FD8}"/>
              </a:ext>
            </a:extLst>
          </p:cNvPr>
          <p:cNvSpPr txBox="1"/>
          <p:nvPr/>
        </p:nvSpPr>
        <p:spPr>
          <a:xfrm>
            <a:off x="6904123" y="3797558"/>
            <a:ext cx="89864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0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DAA13953-16C5-F457-4A56-27CABE43CD15}"/>
              </a:ext>
            </a:extLst>
          </p:cNvPr>
          <p:cNvSpPr txBox="1"/>
          <p:nvPr/>
        </p:nvSpPr>
        <p:spPr>
          <a:xfrm rot="16200000">
            <a:off x="5575214" y="2929104"/>
            <a:ext cx="1924304" cy="169007"/>
          </a:xfrm>
          <a:prstGeom prst="rect">
            <a:avLst/>
          </a:prstGeom>
          <a:noFill/>
        </p:spPr>
        <p:txBody>
          <a:bodyPr wrap="non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PFS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, %</a:t>
            </a:r>
          </a:p>
        </p:txBody>
      </p: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E9A661A4-9D53-1B30-81EB-28D5D9FC0643}"/>
              </a:ext>
            </a:extLst>
          </p:cNvPr>
          <p:cNvCxnSpPr>
            <a:cxnSpLocks/>
          </p:cNvCxnSpPr>
          <p:nvPr/>
        </p:nvCxnSpPr>
        <p:spPr>
          <a:xfrm>
            <a:off x="7098352" y="2098751"/>
            <a:ext cx="0" cy="182880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Straight Connector 95">
            <a:extLst>
              <a:ext uri="{FF2B5EF4-FFF2-40B4-BE49-F238E27FC236}">
                <a16:creationId xmlns:a16="http://schemas.microsoft.com/office/drawing/2014/main" id="{C59273CD-0D24-3E83-EC2A-616B23F1510B}"/>
              </a:ext>
            </a:extLst>
          </p:cNvPr>
          <p:cNvCxnSpPr>
            <a:cxnSpLocks/>
          </p:cNvCxnSpPr>
          <p:nvPr/>
        </p:nvCxnSpPr>
        <p:spPr>
          <a:xfrm>
            <a:off x="7025426" y="2103473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Straight Connector 120">
            <a:extLst>
              <a:ext uri="{FF2B5EF4-FFF2-40B4-BE49-F238E27FC236}">
                <a16:creationId xmlns:a16="http://schemas.microsoft.com/office/drawing/2014/main" id="{93541D01-AFEC-525C-9AC3-0F7A2146802D}"/>
              </a:ext>
            </a:extLst>
          </p:cNvPr>
          <p:cNvCxnSpPr>
            <a:cxnSpLocks/>
          </p:cNvCxnSpPr>
          <p:nvPr/>
        </p:nvCxnSpPr>
        <p:spPr>
          <a:xfrm>
            <a:off x="7025426" y="3855550"/>
            <a:ext cx="4309565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Straight Connector 122">
            <a:extLst>
              <a:ext uri="{FF2B5EF4-FFF2-40B4-BE49-F238E27FC236}">
                <a16:creationId xmlns:a16="http://schemas.microsoft.com/office/drawing/2014/main" id="{F12042E1-0CBA-2B74-A2BE-5994F05E48B3}"/>
              </a:ext>
            </a:extLst>
          </p:cNvPr>
          <p:cNvCxnSpPr>
            <a:cxnSpLocks/>
          </p:cNvCxnSpPr>
          <p:nvPr/>
        </p:nvCxnSpPr>
        <p:spPr>
          <a:xfrm rot="16200000">
            <a:off x="9109193" y="3891550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Straight Connector 124">
            <a:extLst>
              <a:ext uri="{FF2B5EF4-FFF2-40B4-BE49-F238E27FC236}">
                <a16:creationId xmlns:a16="http://schemas.microsoft.com/office/drawing/2014/main" id="{4D8627A2-23C2-067B-A912-B5F801B182CB}"/>
              </a:ext>
            </a:extLst>
          </p:cNvPr>
          <p:cNvCxnSpPr>
            <a:cxnSpLocks/>
          </p:cNvCxnSpPr>
          <p:nvPr/>
        </p:nvCxnSpPr>
        <p:spPr>
          <a:xfrm rot="16200000">
            <a:off x="8089110" y="3891550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Straight Connector 126">
            <a:extLst>
              <a:ext uri="{FF2B5EF4-FFF2-40B4-BE49-F238E27FC236}">
                <a16:creationId xmlns:a16="http://schemas.microsoft.com/office/drawing/2014/main" id="{4A77A6FD-C792-D797-4532-56CC94BF5832}"/>
              </a:ext>
            </a:extLst>
          </p:cNvPr>
          <p:cNvCxnSpPr>
            <a:cxnSpLocks/>
          </p:cNvCxnSpPr>
          <p:nvPr/>
        </p:nvCxnSpPr>
        <p:spPr>
          <a:xfrm rot="16200000">
            <a:off x="10173726" y="3891550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Straight Connector 128">
            <a:extLst>
              <a:ext uri="{FF2B5EF4-FFF2-40B4-BE49-F238E27FC236}">
                <a16:creationId xmlns:a16="http://schemas.microsoft.com/office/drawing/2014/main" id="{77CB68E8-0F8E-7636-52C6-595C307B2CD3}"/>
              </a:ext>
            </a:extLst>
          </p:cNvPr>
          <p:cNvCxnSpPr>
            <a:cxnSpLocks/>
          </p:cNvCxnSpPr>
          <p:nvPr/>
        </p:nvCxnSpPr>
        <p:spPr>
          <a:xfrm rot="16200000">
            <a:off x="11238259" y="3891550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1" name="TextBox 130">
            <a:extLst>
              <a:ext uri="{FF2B5EF4-FFF2-40B4-BE49-F238E27FC236}">
                <a16:creationId xmlns:a16="http://schemas.microsoft.com/office/drawing/2014/main" id="{F683E56A-6F38-594F-AA08-A866AF94F3C7}"/>
              </a:ext>
            </a:extLst>
          </p:cNvPr>
          <p:cNvSpPr txBox="1"/>
          <p:nvPr/>
        </p:nvSpPr>
        <p:spPr>
          <a:xfrm>
            <a:off x="7053420" y="4014304"/>
            <a:ext cx="89864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0</a:t>
            </a:r>
          </a:p>
        </p:txBody>
      </p:sp>
      <p:sp>
        <p:nvSpPr>
          <p:cNvPr id="133" name="TextBox 132">
            <a:extLst>
              <a:ext uri="{FF2B5EF4-FFF2-40B4-BE49-F238E27FC236}">
                <a16:creationId xmlns:a16="http://schemas.microsoft.com/office/drawing/2014/main" id="{3D015A35-8A2B-A5C8-B354-0316C1A11B2A}"/>
              </a:ext>
            </a:extLst>
          </p:cNvPr>
          <p:cNvSpPr txBox="1"/>
          <p:nvPr/>
        </p:nvSpPr>
        <p:spPr>
          <a:xfrm>
            <a:off x="8080249" y="4014304"/>
            <a:ext cx="89864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00</a:t>
            </a:r>
          </a:p>
        </p:txBody>
      </p:sp>
      <p:sp>
        <p:nvSpPr>
          <p:cNvPr id="139" name="TextBox 138">
            <a:extLst>
              <a:ext uri="{FF2B5EF4-FFF2-40B4-BE49-F238E27FC236}">
                <a16:creationId xmlns:a16="http://schemas.microsoft.com/office/drawing/2014/main" id="{04308A83-D614-D285-C88D-88A8836811BC}"/>
              </a:ext>
            </a:extLst>
          </p:cNvPr>
          <p:cNvSpPr txBox="1"/>
          <p:nvPr/>
        </p:nvSpPr>
        <p:spPr>
          <a:xfrm>
            <a:off x="9091446" y="4014304"/>
            <a:ext cx="89864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200</a:t>
            </a:r>
          </a:p>
        </p:txBody>
      </p:sp>
      <p:sp>
        <p:nvSpPr>
          <p:cNvPr id="140" name="TextBox 139">
            <a:extLst>
              <a:ext uri="{FF2B5EF4-FFF2-40B4-BE49-F238E27FC236}">
                <a16:creationId xmlns:a16="http://schemas.microsoft.com/office/drawing/2014/main" id="{42F84CA7-5853-CE3B-7319-D999F77BBFC0}"/>
              </a:ext>
            </a:extLst>
          </p:cNvPr>
          <p:cNvSpPr txBox="1"/>
          <p:nvPr/>
        </p:nvSpPr>
        <p:spPr>
          <a:xfrm>
            <a:off x="10170946" y="4014304"/>
            <a:ext cx="89864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300</a:t>
            </a:r>
          </a:p>
        </p:txBody>
      </p:sp>
      <p:sp>
        <p:nvSpPr>
          <p:cNvPr id="141" name="TextBox 140">
            <a:extLst>
              <a:ext uri="{FF2B5EF4-FFF2-40B4-BE49-F238E27FC236}">
                <a16:creationId xmlns:a16="http://schemas.microsoft.com/office/drawing/2014/main" id="{66BF2C13-E331-F2C4-FF82-2124B256AC76}"/>
              </a:ext>
            </a:extLst>
          </p:cNvPr>
          <p:cNvSpPr txBox="1"/>
          <p:nvPr/>
        </p:nvSpPr>
        <p:spPr>
          <a:xfrm>
            <a:off x="11186838" y="4014304"/>
            <a:ext cx="177880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400</a:t>
            </a: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4C104A0B-58F8-85B8-3112-6520EAADD012}"/>
              </a:ext>
            </a:extLst>
          </p:cNvPr>
          <p:cNvSpPr txBox="1"/>
          <p:nvPr/>
        </p:nvSpPr>
        <p:spPr>
          <a:xfrm>
            <a:off x="8757141" y="4184919"/>
            <a:ext cx="863766" cy="11530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Days</a:t>
            </a:r>
          </a:p>
        </p:txBody>
      </p:sp>
      <p:sp>
        <p:nvSpPr>
          <p:cNvPr id="144" name="Free-form: Shape 143">
            <a:extLst>
              <a:ext uri="{FF2B5EF4-FFF2-40B4-BE49-F238E27FC236}">
                <a16:creationId xmlns:a16="http://schemas.microsoft.com/office/drawing/2014/main" id="{E235334C-1376-7672-0609-3F1D88BE6148}"/>
              </a:ext>
            </a:extLst>
          </p:cNvPr>
          <p:cNvSpPr/>
          <p:nvPr/>
        </p:nvSpPr>
        <p:spPr>
          <a:xfrm>
            <a:off x="7101673" y="2106230"/>
            <a:ext cx="2979336" cy="1080198"/>
          </a:xfrm>
          <a:custGeom>
            <a:avLst/>
            <a:gdLst>
              <a:gd name="csX0" fmla="*/ 0 w 2979336"/>
              <a:gd name="csY0" fmla="*/ 0 h 1080198"/>
              <a:gd name="csX1" fmla="*/ 148213 w 2979336"/>
              <a:gd name="csY1" fmla="*/ 0 h 1080198"/>
              <a:gd name="csX2" fmla="*/ 148213 w 2979336"/>
              <a:gd name="csY2" fmla="*/ 35169 h 1080198"/>
              <a:gd name="csX3" fmla="*/ 218551 w 2979336"/>
              <a:gd name="csY3" fmla="*/ 35169 h 1080198"/>
              <a:gd name="csX4" fmla="*/ 218551 w 2979336"/>
              <a:gd name="csY4" fmla="*/ 72851 h 1080198"/>
              <a:gd name="csX5" fmla="*/ 258745 w 2979336"/>
              <a:gd name="csY5" fmla="*/ 72851 h 1080198"/>
              <a:gd name="csX6" fmla="*/ 258745 w 2979336"/>
              <a:gd name="csY6" fmla="*/ 113044 h 1080198"/>
              <a:gd name="csX7" fmla="*/ 324059 w 2979336"/>
              <a:gd name="csY7" fmla="*/ 113044 h 1080198"/>
              <a:gd name="csX8" fmla="*/ 324059 w 2979336"/>
              <a:gd name="csY8" fmla="*/ 150725 h 1080198"/>
              <a:gd name="csX9" fmla="*/ 341643 w 2979336"/>
              <a:gd name="csY9" fmla="*/ 150725 h 1080198"/>
              <a:gd name="csX10" fmla="*/ 341643 w 2979336"/>
              <a:gd name="csY10" fmla="*/ 198455 h 1080198"/>
              <a:gd name="csX11" fmla="*/ 371789 w 2979336"/>
              <a:gd name="csY11" fmla="*/ 198455 h 1080198"/>
              <a:gd name="csX12" fmla="*/ 371789 w 2979336"/>
              <a:gd name="csY12" fmla="*/ 233624 h 1080198"/>
              <a:gd name="csX13" fmla="*/ 404446 w 2979336"/>
              <a:gd name="csY13" fmla="*/ 233624 h 1080198"/>
              <a:gd name="csX14" fmla="*/ 404446 w 2979336"/>
              <a:gd name="csY14" fmla="*/ 311499 h 1080198"/>
              <a:gd name="csX15" fmla="*/ 417006 w 2979336"/>
              <a:gd name="csY15" fmla="*/ 311499 h 1080198"/>
              <a:gd name="csX16" fmla="*/ 417006 w 2979336"/>
              <a:gd name="csY16" fmla="*/ 351693 h 1080198"/>
              <a:gd name="csX17" fmla="*/ 768698 w 2979336"/>
              <a:gd name="csY17" fmla="*/ 351693 h 1080198"/>
              <a:gd name="csX18" fmla="*/ 768698 w 2979336"/>
              <a:gd name="csY18" fmla="*/ 401934 h 1080198"/>
              <a:gd name="csX19" fmla="*/ 818940 w 2979336"/>
              <a:gd name="csY19" fmla="*/ 401934 h 1080198"/>
              <a:gd name="csX20" fmla="*/ 818940 w 2979336"/>
              <a:gd name="csY20" fmla="*/ 467249 h 1080198"/>
              <a:gd name="csX21" fmla="*/ 846573 w 2979336"/>
              <a:gd name="csY21" fmla="*/ 467249 h 1080198"/>
              <a:gd name="csX22" fmla="*/ 846573 w 2979336"/>
              <a:gd name="csY22" fmla="*/ 507442 h 1080198"/>
              <a:gd name="csX23" fmla="*/ 931984 w 2979336"/>
              <a:gd name="csY23" fmla="*/ 507442 h 1080198"/>
              <a:gd name="csX24" fmla="*/ 931984 w 2979336"/>
              <a:gd name="csY24" fmla="*/ 560196 h 1080198"/>
              <a:gd name="csX25" fmla="*/ 1077685 w 2979336"/>
              <a:gd name="csY25" fmla="*/ 560196 h 1080198"/>
              <a:gd name="csX26" fmla="*/ 1077685 w 2979336"/>
              <a:gd name="csY26" fmla="*/ 663191 h 1080198"/>
              <a:gd name="csX27" fmla="*/ 1258556 w 2979336"/>
              <a:gd name="csY27" fmla="*/ 663191 h 1080198"/>
              <a:gd name="csX28" fmla="*/ 1258556 w 2979336"/>
              <a:gd name="csY28" fmla="*/ 720969 h 1080198"/>
              <a:gd name="csX29" fmla="*/ 1376624 w 2979336"/>
              <a:gd name="csY29" fmla="*/ 720969 h 1080198"/>
              <a:gd name="csX30" fmla="*/ 1376624 w 2979336"/>
              <a:gd name="csY30" fmla="*/ 783772 h 1080198"/>
              <a:gd name="csX31" fmla="*/ 1713243 w 2979336"/>
              <a:gd name="csY31" fmla="*/ 783772 h 1080198"/>
              <a:gd name="csX32" fmla="*/ 1713243 w 2979336"/>
              <a:gd name="csY32" fmla="*/ 856622 h 1080198"/>
              <a:gd name="csX33" fmla="*/ 1768509 w 2979336"/>
              <a:gd name="csY33" fmla="*/ 856622 h 1080198"/>
              <a:gd name="csX34" fmla="*/ 1768509 w 2979336"/>
              <a:gd name="csY34" fmla="*/ 921936 h 1080198"/>
              <a:gd name="csX35" fmla="*/ 1798654 w 2979336"/>
              <a:gd name="csY35" fmla="*/ 921936 h 1080198"/>
              <a:gd name="csX36" fmla="*/ 2434213 w 2979336"/>
              <a:gd name="csY36" fmla="*/ 921936 h 1080198"/>
              <a:gd name="csX37" fmla="*/ 2434213 w 2979336"/>
              <a:gd name="csY37" fmla="*/ 1080198 h 1080198"/>
              <a:gd name="csX38" fmla="*/ 2979336 w 2979336"/>
              <a:gd name="csY38" fmla="*/ 1080198 h 108019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</a:cxnLst>
            <a:rect l="l" t="t" r="r" b="b"/>
            <a:pathLst>
              <a:path w="2979336" h="1080198">
                <a:moveTo>
                  <a:pt x="0" y="0"/>
                </a:moveTo>
                <a:lnTo>
                  <a:pt x="148213" y="0"/>
                </a:lnTo>
                <a:lnTo>
                  <a:pt x="148213" y="35169"/>
                </a:lnTo>
                <a:lnTo>
                  <a:pt x="218551" y="35169"/>
                </a:lnTo>
                <a:lnTo>
                  <a:pt x="218551" y="72851"/>
                </a:lnTo>
                <a:lnTo>
                  <a:pt x="258745" y="72851"/>
                </a:lnTo>
                <a:lnTo>
                  <a:pt x="258745" y="113044"/>
                </a:lnTo>
                <a:lnTo>
                  <a:pt x="324059" y="113044"/>
                </a:lnTo>
                <a:lnTo>
                  <a:pt x="324059" y="150725"/>
                </a:lnTo>
                <a:lnTo>
                  <a:pt x="341643" y="150725"/>
                </a:lnTo>
                <a:lnTo>
                  <a:pt x="341643" y="198455"/>
                </a:lnTo>
                <a:lnTo>
                  <a:pt x="371789" y="198455"/>
                </a:lnTo>
                <a:lnTo>
                  <a:pt x="371789" y="233624"/>
                </a:lnTo>
                <a:lnTo>
                  <a:pt x="404446" y="233624"/>
                </a:lnTo>
                <a:lnTo>
                  <a:pt x="404446" y="311499"/>
                </a:lnTo>
                <a:lnTo>
                  <a:pt x="417006" y="311499"/>
                </a:lnTo>
                <a:lnTo>
                  <a:pt x="417006" y="351693"/>
                </a:lnTo>
                <a:lnTo>
                  <a:pt x="768698" y="351693"/>
                </a:lnTo>
                <a:lnTo>
                  <a:pt x="768698" y="401934"/>
                </a:lnTo>
                <a:lnTo>
                  <a:pt x="818940" y="401934"/>
                </a:lnTo>
                <a:lnTo>
                  <a:pt x="818940" y="467249"/>
                </a:lnTo>
                <a:lnTo>
                  <a:pt x="846573" y="467249"/>
                </a:lnTo>
                <a:lnTo>
                  <a:pt x="846573" y="507442"/>
                </a:lnTo>
                <a:lnTo>
                  <a:pt x="931984" y="507442"/>
                </a:lnTo>
                <a:lnTo>
                  <a:pt x="931984" y="560196"/>
                </a:lnTo>
                <a:lnTo>
                  <a:pt x="1077685" y="560196"/>
                </a:lnTo>
                <a:lnTo>
                  <a:pt x="1077685" y="663191"/>
                </a:lnTo>
                <a:lnTo>
                  <a:pt x="1258556" y="663191"/>
                </a:lnTo>
                <a:lnTo>
                  <a:pt x="1258556" y="720969"/>
                </a:lnTo>
                <a:lnTo>
                  <a:pt x="1376624" y="720969"/>
                </a:lnTo>
                <a:lnTo>
                  <a:pt x="1376624" y="783772"/>
                </a:lnTo>
                <a:lnTo>
                  <a:pt x="1713243" y="783772"/>
                </a:lnTo>
                <a:lnTo>
                  <a:pt x="1713243" y="856622"/>
                </a:lnTo>
                <a:lnTo>
                  <a:pt x="1768509" y="856622"/>
                </a:lnTo>
                <a:lnTo>
                  <a:pt x="1768509" y="921936"/>
                </a:lnTo>
                <a:lnTo>
                  <a:pt x="1798654" y="921936"/>
                </a:lnTo>
                <a:lnTo>
                  <a:pt x="2434213" y="921936"/>
                </a:lnTo>
                <a:lnTo>
                  <a:pt x="2434213" y="1080198"/>
                </a:lnTo>
                <a:lnTo>
                  <a:pt x="2979336" y="1080198"/>
                </a:lnTo>
              </a:path>
            </a:pathLst>
          </a:custGeom>
          <a:ln w="19050">
            <a:solidFill>
              <a:schemeClr val="accent4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45" name="Straight Connector 144">
            <a:extLst>
              <a:ext uri="{FF2B5EF4-FFF2-40B4-BE49-F238E27FC236}">
                <a16:creationId xmlns:a16="http://schemas.microsoft.com/office/drawing/2014/main" id="{FB95E965-D9D1-3048-910E-6054A8A32CA4}"/>
              </a:ext>
            </a:extLst>
          </p:cNvPr>
          <p:cNvCxnSpPr>
            <a:cxnSpLocks/>
          </p:cNvCxnSpPr>
          <p:nvPr/>
        </p:nvCxnSpPr>
        <p:spPr>
          <a:xfrm>
            <a:off x="7258440" y="2085560"/>
            <a:ext cx="0" cy="73786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Straight Connector 145">
            <a:extLst>
              <a:ext uri="{FF2B5EF4-FFF2-40B4-BE49-F238E27FC236}">
                <a16:creationId xmlns:a16="http://schemas.microsoft.com/office/drawing/2014/main" id="{461830D6-F244-2D10-B14C-D9888044F70C}"/>
              </a:ext>
            </a:extLst>
          </p:cNvPr>
          <p:cNvCxnSpPr>
            <a:cxnSpLocks/>
          </p:cNvCxnSpPr>
          <p:nvPr/>
        </p:nvCxnSpPr>
        <p:spPr>
          <a:xfrm>
            <a:off x="7706115" y="2415913"/>
            <a:ext cx="0" cy="73786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Straight Connector 146">
            <a:extLst>
              <a:ext uri="{FF2B5EF4-FFF2-40B4-BE49-F238E27FC236}">
                <a16:creationId xmlns:a16="http://schemas.microsoft.com/office/drawing/2014/main" id="{197A95D4-7468-014E-D6B4-74E181A12189}"/>
              </a:ext>
            </a:extLst>
          </p:cNvPr>
          <p:cNvCxnSpPr>
            <a:cxnSpLocks/>
          </p:cNvCxnSpPr>
          <p:nvPr/>
        </p:nvCxnSpPr>
        <p:spPr>
          <a:xfrm>
            <a:off x="7272728" y="2085560"/>
            <a:ext cx="0" cy="73786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Straight Connector 147">
            <a:extLst>
              <a:ext uri="{FF2B5EF4-FFF2-40B4-BE49-F238E27FC236}">
                <a16:creationId xmlns:a16="http://schemas.microsoft.com/office/drawing/2014/main" id="{067E408A-50CB-E433-59D4-06B23CFB403D}"/>
              </a:ext>
            </a:extLst>
          </p:cNvPr>
          <p:cNvCxnSpPr>
            <a:cxnSpLocks/>
          </p:cNvCxnSpPr>
          <p:nvPr/>
        </p:nvCxnSpPr>
        <p:spPr>
          <a:xfrm>
            <a:off x="7320109" y="2122453"/>
            <a:ext cx="0" cy="73786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Straight Connector 148">
            <a:extLst>
              <a:ext uri="{FF2B5EF4-FFF2-40B4-BE49-F238E27FC236}">
                <a16:creationId xmlns:a16="http://schemas.microsoft.com/office/drawing/2014/main" id="{6C1CD1AB-D072-71CE-35D9-32D8FDCE0EC4}"/>
              </a:ext>
            </a:extLst>
          </p:cNvPr>
          <p:cNvCxnSpPr>
            <a:cxnSpLocks/>
          </p:cNvCxnSpPr>
          <p:nvPr/>
        </p:nvCxnSpPr>
        <p:spPr>
          <a:xfrm>
            <a:off x="7360833" y="2169324"/>
            <a:ext cx="0" cy="73786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0" name="Straight Connector 149">
            <a:extLst>
              <a:ext uri="{FF2B5EF4-FFF2-40B4-BE49-F238E27FC236}">
                <a16:creationId xmlns:a16="http://schemas.microsoft.com/office/drawing/2014/main" id="{7DCF6F01-5BE6-9456-1272-A797FFB2DD09}"/>
              </a:ext>
            </a:extLst>
          </p:cNvPr>
          <p:cNvCxnSpPr>
            <a:cxnSpLocks/>
          </p:cNvCxnSpPr>
          <p:nvPr/>
        </p:nvCxnSpPr>
        <p:spPr>
          <a:xfrm>
            <a:off x="7437034" y="2207004"/>
            <a:ext cx="0" cy="73786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1" name="Straight Connector 150">
            <a:extLst>
              <a:ext uri="{FF2B5EF4-FFF2-40B4-BE49-F238E27FC236}">
                <a16:creationId xmlns:a16="http://schemas.microsoft.com/office/drawing/2014/main" id="{2E907527-35B6-31FF-BD6E-4B82BEFFE78C}"/>
              </a:ext>
            </a:extLst>
          </p:cNvPr>
          <p:cNvCxnSpPr>
            <a:cxnSpLocks/>
          </p:cNvCxnSpPr>
          <p:nvPr/>
        </p:nvCxnSpPr>
        <p:spPr>
          <a:xfrm>
            <a:off x="7456084" y="2252248"/>
            <a:ext cx="0" cy="73786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Straight Connector 151">
            <a:extLst>
              <a:ext uri="{FF2B5EF4-FFF2-40B4-BE49-F238E27FC236}">
                <a16:creationId xmlns:a16="http://schemas.microsoft.com/office/drawing/2014/main" id="{CCB5CA22-BFB6-C46C-667D-3BA2074D165D}"/>
              </a:ext>
            </a:extLst>
          </p:cNvPr>
          <p:cNvCxnSpPr>
            <a:cxnSpLocks/>
          </p:cNvCxnSpPr>
          <p:nvPr/>
        </p:nvCxnSpPr>
        <p:spPr>
          <a:xfrm>
            <a:off x="7482278" y="2299872"/>
            <a:ext cx="0" cy="73786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3" name="Straight Connector 152">
            <a:extLst>
              <a:ext uri="{FF2B5EF4-FFF2-40B4-BE49-F238E27FC236}">
                <a16:creationId xmlns:a16="http://schemas.microsoft.com/office/drawing/2014/main" id="{83B9FA4E-62A1-7764-CE4D-15B4CF6B272F}"/>
              </a:ext>
            </a:extLst>
          </p:cNvPr>
          <p:cNvCxnSpPr>
            <a:cxnSpLocks/>
          </p:cNvCxnSpPr>
          <p:nvPr/>
        </p:nvCxnSpPr>
        <p:spPr>
          <a:xfrm>
            <a:off x="7513234" y="2380103"/>
            <a:ext cx="0" cy="73786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" name="Straight Connector 153">
            <a:extLst>
              <a:ext uri="{FF2B5EF4-FFF2-40B4-BE49-F238E27FC236}">
                <a16:creationId xmlns:a16="http://schemas.microsoft.com/office/drawing/2014/main" id="{2167E125-BFB8-1157-72FF-2C2DB34A1776}"/>
              </a:ext>
            </a:extLst>
          </p:cNvPr>
          <p:cNvCxnSpPr>
            <a:cxnSpLocks/>
          </p:cNvCxnSpPr>
          <p:nvPr/>
        </p:nvCxnSpPr>
        <p:spPr>
          <a:xfrm>
            <a:off x="7527521" y="2415913"/>
            <a:ext cx="0" cy="73786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5" name="Straight Connector 154">
            <a:extLst>
              <a:ext uri="{FF2B5EF4-FFF2-40B4-BE49-F238E27FC236}">
                <a16:creationId xmlns:a16="http://schemas.microsoft.com/office/drawing/2014/main" id="{D98EA503-7883-C959-BDE6-84F42C0631F5}"/>
              </a:ext>
            </a:extLst>
          </p:cNvPr>
          <p:cNvCxnSpPr>
            <a:cxnSpLocks/>
          </p:cNvCxnSpPr>
          <p:nvPr/>
        </p:nvCxnSpPr>
        <p:spPr>
          <a:xfrm>
            <a:off x="7768028" y="2415913"/>
            <a:ext cx="0" cy="73786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Straight Connector 155">
            <a:extLst>
              <a:ext uri="{FF2B5EF4-FFF2-40B4-BE49-F238E27FC236}">
                <a16:creationId xmlns:a16="http://schemas.microsoft.com/office/drawing/2014/main" id="{E1747253-D3D9-4B5F-4573-6D26BB9C60A3}"/>
              </a:ext>
            </a:extLst>
          </p:cNvPr>
          <p:cNvCxnSpPr>
            <a:cxnSpLocks/>
          </p:cNvCxnSpPr>
          <p:nvPr/>
        </p:nvCxnSpPr>
        <p:spPr>
          <a:xfrm>
            <a:off x="7794222" y="2416996"/>
            <a:ext cx="0" cy="73786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Straight Connector 156">
            <a:extLst>
              <a:ext uri="{FF2B5EF4-FFF2-40B4-BE49-F238E27FC236}">
                <a16:creationId xmlns:a16="http://schemas.microsoft.com/office/drawing/2014/main" id="{B7324716-4395-46B4-715C-C19D1ACBF747}"/>
              </a:ext>
            </a:extLst>
          </p:cNvPr>
          <p:cNvCxnSpPr>
            <a:cxnSpLocks/>
          </p:cNvCxnSpPr>
          <p:nvPr/>
        </p:nvCxnSpPr>
        <p:spPr>
          <a:xfrm>
            <a:off x="7839466" y="2418510"/>
            <a:ext cx="0" cy="73786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Straight Connector 157">
            <a:extLst>
              <a:ext uri="{FF2B5EF4-FFF2-40B4-BE49-F238E27FC236}">
                <a16:creationId xmlns:a16="http://schemas.microsoft.com/office/drawing/2014/main" id="{58F4610F-0D1F-B492-9B1B-8FA18A1FA646}"/>
              </a:ext>
            </a:extLst>
          </p:cNvPr>
          <p:cNvCxnSpPr>
            <a:cxnSpLocks/>
          </p:cNvCxnSpPr>
          <p:nvPr/>
        </p:nvCxnSpPr>
        <p:spPr>
          <a:xfrm>
            <a:off x="7910904" y="2463867"/>
            <a:ext cx="0" cy="73786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9" name="Straight Connector 158">
            <a:extLst>
              <a:ext uri="{FF2B5EF4-FFF2-40B4-BE49-F238E27FC236}">
                <a16:creationId xmlns:a16="http://schemas.microsoft.com/office/drawing/2014/main" id="{2B648B45-44AF-BDD1-1FD9-7BEBAD4CFE5D}"/>
              </a:ext>
            </a:extLst>
          </p:cNvPr>
          <p:cNvCxnSpPr>
            <a:cxnSpLocks/>
          </p:cNvCxnSpPr>
          <p:nvPr/>
        </p:nvCxnSpPr>
        <p:spPr>
          <a:xfrm>
            <a:off x="7946623" y="2566261"/>
            <a:ext cx="0" cy="73786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Straight Connector 159">
            <a:extLst>
              <a:ext uri="{FF2B5EF4-FFF2-40B4-BE49-F238E27FC236}">
                <a16:creationId xmlns:a16="http://schemas.microsoft.com/office/drawing/2014/main" id="{392DE6D2-0EDF-DC45-BA1B-FEF5F91F631B}"/>
              </a:ext>
            </a:extLst>
          </p:cNvPr>
          <p:cNvCxnSpPr>
            <a:cxnSpLocks/>
          </p:cNvCxnSpPr>
          <p:nvPr/>
        </p:nvCxnSpPr>
        <p:spPr>
          <a:xfrm>
            <a:off x="8032348" y="2606639"/>
            <a:ext cx="0" cy="73786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1" name="Straight Connector 160">
            <a:extLst>
              <a:ext uri="{FF2B5EF4-FFF2-40B4-BE49-F238E27FC236}">
                <a16:creationId xmlns:a16="http://schemas.microsoft.com/office/drawing/2014/main" id="{7080B2C6-CF7C-BC28-4BDA-D7C0BDBE70C8}"/>
              </a:ext>
            </a:extLst>
          </p:cNvPr>
          <p:cNvCxnSpPr>
            <a:cxnSpLocks/>
          </p:cNvCxnSpPr>
          <p:nvPr/>
        </p:nvCxnSpPr>
        <p:spPr>
          <a:xfrm>
            <a:off x="8177605" y="2716809"/>
            <a:ext cx="0" cy="73786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2" name="Straight Connector 161">
            <a:extLst>
              <a:ext uri="{FF2B5EF4-FFF2-40B4-BE49-F238E27FC236}">
                <a16:creationId xmlns:a16="http://schemas.microsoft.com/office/drawing/2014/main" id="{3BEA3216-603E-98B1-E743-D77E9BBC5A5E}"/>
              </a:ext>
            </a:extLst>
          </p:cNvPr>
          <p:cNvCxnSpPr>
            <a:cxnSpLocks/>
          </p:cNvCxnSpPr>
          <p:nvPr/>
        </p:nvCxnSpPr>
        <p:spPr>
          <a:xfrm>
            <a:off x="8239517" y="2719822"/>
            <a:ext cx="0" cy="73786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3" name="Straight Connector 162">
            <a:extLst>
              <a:ext uri="{FF2B5EF4-FFF2-40B4-BE49-F238E27FC236}">
                <a16:creationId xmlns:a16="http://schemas.microsoft.com/office/drawing/2014/main" id="{74AF707F-E407-E391-6D0D-1A0C61659379}"/>
              </a:ext>
            </a:extLst>
          </p:cNvPr>
          <p:cNvCxnSpPr>
            <a:cxnSpLocks/>
          </p:cNvCxnSpPr>
          <p:nvPr/>
        </p:nvCxnSpPr>
        <p:spPr>
          <a:xfrm>
            <a:off x="8358580" y="2777390"/>
            <a:ext cx="0" cy="73786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4" name="Straight Connector 163">
            <a:extLst>
              <a:ext uri="{FF2B5EF4-FFF2-40B4-BE49-F238E27FC236}">
                <a16:creationId xmlns:a16="http://schemas.microsoft.com/office/drawing/2014/main" id="{109BFFA7-E3FE-52A4-351D-53CCD0DBEC0D}"/>
              </a:ext>
            </a:extLst>
          </p:cNvPr>
          <p:cNvCxnSpPr>
            <a:cxnSpLocks/>
          </p:cNvCxnSpPr>
          <p:nvPr/>
        </p:nvCxnSpPr>
        <p:spPr>
          <a:xfrm>
            <a:off x="8413349" y="2777390"/>
            <a:ext cx="0" cy="73786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5" name="Straight Connector 164">
            <a:extLst>
              <a:ext uri="{FF2B5EF4-FFF2-40B4-BE49-F238E27FC236}">
                <a16:creationId xmlns:a16="http://schemas.microsoft.com/office/drawing/2014/main" id="{6DCEE405-BF08-31AD-2AC9-EF419864384E}"/>
              </a:ext>
            </a:extLst>
          </p:cNvPr>
          <p:cNvCxnSpPr>
            <a:cxnSpLocks/>
          </p:cNvCxnSpPr>
          <p:nvPr/>
        </p:nvCxnSpPr>
        <p:spPr>
          <a:xfrm>
            <a:off x="8471801" y="2833839"/>
            <a:ext cx="0" cy="73786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6" name="Straight Connector 165">
            <a:extLst>
              <a:ext uri="{FF2B5EF4-FFF2-40B4-BE49-F238E27FC236}">
                <a16:creationId xmlns:a16="http://schemas.microsoft.com/office/drawing/2014/main" id="{1000DD13-D8C4-5D6C-833F-656574587BED}"/>
              </a:ext>
            </a:extLst>
          </p:cNvPr>
          <p:cNvCxnSpPr>
            <a:cxnSpLocks/>
          </p:cNvCxnSpPr>
          <p:nvPr/>
        </p:nvCxnSpPr>
        <p:spPr>
          <a:xfrm>
            <a:off x="8726594" y="2851230"/>
            <a:ext cx="0" cy="73786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7" name="Straight Connector 166">
            <a:extLst>
              <a:ext uri="{FF2B5EF4-FFF2-40B4-BE49-F238E27FC236}">
                <a16:creationId xmlns:a16="http://schemas.microsoft.com/office/drawing/2014/main" id="{A3A85AE5-6685-73B1-F4EE-C9CFE3B11797}"/>
              </a:ext>
            </a:extLst>
          </p:cNvPr>
          <p:cNvCxnSpPr>
            <a:cxnSpLocks/>
          </p:cNvCxnSpPr>
          <p:nvPr/>
        </p:nvCxnSpPr>
        <p:spPr>
          <a:xfrm>
            <a:off x="8812319" y="2910761"/>
            <a:ext cx="0" cy="73786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8" name="Straight Connector 167">
            <a:extLst>
              <a:ext uri="{FF2B5EF4-FFF2-40B4-BE49-F238E27FC236}">
                <a16:creationId xmlns:a16="http://schemas.microsoft.com/office/drawing/2014/main" id="{5513EF46-B317-E867-8671-F7A910DE8C30}"/>
              </a:ext>
            </a:extLst>
          </p:cNvPr>
          <p:cNvCxnSpPr>
            <a:cxnSpLocks/>
          </p:cNvCxnSpPr>
          <p:nvPr/>
        </p:nvCxnSpPr>
        <p:spPr>
          <a:xfrm>
            <a:off x="8862325" y="2913143"/>
            <a:ext cx="0" cy="73786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9" name="Straight Connector 168">
            <a:extLst>
              <a:ext uri="{FF2B5EF4-FFF2-40B4-BE49-F238E27FC236}">
                <a16:creationId xmlns:a16="http://schemas.microsoft.com/office/drawing/2014/main" id="{2F85FD85-2479-D664-3587-22F4E9530BD9}"/>
              </a:ext>
            </a:extLst>
          </p:cNvPr>
          <p:cNvCxnSpPr>
            <a:cxnSpLocks/>
          </p:cNvCxnSpPr>
          <p:nvPr/>
        </p:nvCxnSpPr>
        <p:spPr>
          <a:xfrm>
            <a:off x="8898044" y="2982199"/>
            <a:ext cx="0" cy="73786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0" name="Straight Connector 169">
            <a:extLst>
              <a:ext uri="{FF2B5EF4-FFF2-40B4-BE49-F238E27FC236}">
                <a16:creationId xmlns:a16="http://schemas.microsoft.com/office/drawing/2014/main" id="{E4CD6EA9-2194-3D3A-4BB0-407409A43A7E}"/>
              </a:ext>
            </a:extLst>
          </p:cNvPr>
          <p:cNvCxnSpPr>
            <a:cxnSpLocks/>
          </p:cNvCxnSpPr>
          <p:nvPr/>
        </p:nvCxnSpPr>
        <p:spPr>
          <a:xfrm>
            <a:off x="8881375" y="2982198"/>
            <a:ext cx="0" cy="73786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Straight Connector 170">
            <a:extLst>
              <a:ext uri="{FF2B5EF4-FFF2-40B4-BE49-F238E27FC236}">
                <a16:creationId xmlns:a16="http://schemas.microsoft.com/office/drawing/2014/main" id="{4CC2E745-79A2-39A2-F303-A09E3C65F80D}"/>
              </a:ext>
            </a:extLst>
          </p:cNvPr>
          <p:cNvCxnSpPr>
            <a:cxnSpLocks/>
          </p:cNvCxnSpPr>
          <p:nvPr/>
        </p:nvCxnSpPr>
        <p:spPr>
          <a:xfrm>
            <a:off x="8983769" y="2979816"/>
            <a:ext cx="0" cy="73786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2" name="Straight Connector 171">
            <a:extLst>
              <a:ext uri="{FF2B5EF4-FFF2-40B4-BE49-F238E27FC236}">
                <a16:creationId xmlns:a16="http://schemas.microsoft.com/office/drawing/2014/main" id="{499DAF9A-BAEA-19D9-9F06-DFA6562D99A8}"/>
              </a:ext>
            </a:extLst>
          </p:cNvPr>
          <p:cNvCxnSpPr>
            <a:cxnSpLocks/>
          </p:cNvCxnSpPr>
          <p:nvPr/>
        </p:nvCxnSpPr>
        <p:spPr>
          <a:xfrm>
            <a:off x="9190938" y="2982197"/>
            <a:ext cx="0" cy="73786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3" name="Straight Connector 172">
            <a:extLst>
              <a:ext uri="{FF2B5EF4-FFF2-40B4-BE49-F238E27FC236}">
                <a16:creationId xmlns:a16="http://schemas.microsoft.com/office/drawing/2014/main" id="{450DE041-8289-AC9F-210C-77607F81B442}"/>
              </a:ext>
            </a:extLst>
          </p:cNvPr>
          <p:cNvCxnSpPr>
            <a:cxnSpLocks/>
          </p:cNvCxnSpPr>
          <p:nvPr/>
        </p:nvCxnSpPr>
        <p:spPr>
          <a:xfrm>
            <a:off x="9352863" y="2984579"/>
            <a:ext cx="0" cy="73786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4" name="Straight Connector 173">
            <a:extLst>
              <a:ext uri="{FF2B5EF4-FFF2-40B4-BE49-F238E27FC236}">
                <a16:creationId xmlns:a16="http://schemas.microsoft.com/office/drawing/2014/main" id="{99B526B9-060D-0452-345C-8EC3E4426056}"/>
              </a:ext>
            </a:extLst>
          </p:cNvPr>
          <p:cNvCxnSpPr>
            <a:cxnSpLocks/>
          </p:cNvCxnSpPr>
          <p:nvPr/>
        </p:nvCxnSpPr>
        <p:spPr>
          <a:xfrm>
            <a:off x="9493356" y="2982197"/>
            <a:ext cx="0" cy="73786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5" name="Straight Connector 174">
            <a:extLst>
              <a:ext uri="{FF2B5EF4-FFF2-40B4-BE49-F238E27FC236}">
                <a16:creationId xmlns:a16="http://schemas.microsoft.com/office/drawing/2014/main" id="{8A079C50-F659-EAF8-6CC2-0E5157EBEDF1}"/>
              </a:ext>
            </a:extLst>
          </p:cNvPr>
          <p:cNvCxnSpPr>
            <a:cxnSpLocks/>
          </p:cNvCxnSpPr>
          <p:nvPr/>
        </p:nvCxnSpPr>
        <p:spPr>
          <a:xfrm>
            <a:off x="9524313" y="3137672"/>
            <a:ext cx="0" cy="73786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6" name="Straight Connector 175">
            <a:extLst>
              <a:ext uri="{FF2B5EF4-FFF2-40B4-BE49-F238E27FC236}">
                <a16:creationId xmlns:a16="http://schemas.microsoft.com/office/drawing/2014/main" id="{F6F953FC-1293-376C-CB7B-45FE5E41B027}"/>
              </a:ext>
            </a:extLst>
          </p:cNvPr>
          <p:cNvCxnSpPr>
            <a:cxnSpLocks/>
          </p:cNvCxnSpPr>
          <p:nvPr/>
        </p:nvCxnSpPr>
        <p:spPr>
          <a:xfrm>
            <a:off x="9555269" y="3137672"/>
            <a:ext cx="0" cy="73786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Straight Connector 176">
            <a:extLst>
              <a:ext uri="{FF2B5EF4-FFF2-40B4-BE49-F238E27FC236}">
                <a16:creationId xmlns:a16="http://schemas.microsoft.com/office/drawing/2014/main" id="{B24043A9-A6DC-221E-A468-AE026661285A}"/>
              </a:ext>
            </a:extLst>
          </p:cNvPr>
          <p:cNvCxnSpPr>
            <a:cxnSpLocks/>
          </p:cNvCxnSpPr>
          <p:nvPr/>
        </p:nvCxnSpPr>
        <p:spPr>
          <a:xfrm>
            <a:off x="9786250" y="3147650"/>
            <a:ext cx="0" cy="73786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Straight Connector 177">
            <a:extLst>
              <a:ext uri="{FF2B5EF4-FFF2-40B4-BE49-F238E27FC236}">
                <a16:creationId xmlns:a16="http://schemas.microsoft.com/office/drawing/2014/main" id="{4D3AAF3D-5DD6-52C5-2FBE-E2B411601B76}"/>
              </a:ext>
            </a:extLst>
          </p:cNvPr>
          <p:cNvCxnSpPr>
            <a:cxnSpLocks/>
          </p:cNvCxnSpPr>
          <p:nvPr/>
        </p:nvCxnSpPr>
        <p:spPr>
          <a:xfrm>
            <a:off x="10050569" y="3147650"/>
            <a:ext cx="0" cy="73786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9" name="Straight Connector 178">
            <a:extLst>
              <a:ext uri="{FF2B5EF4-FFF2-40B4-BE49-F238E27FC236}">
                <a16:creationId xmlns:a16="http://schemas.microsoft.com/office/drawing/2014/main" id="{B08FAD37-749D-F51F-2D5E-C92D290D68E9}"/>
              </a:ext>
            </a:extLst>
          </p:cNvPr>
          <p:cNvCxnSpPr>
            <a:cxnSpLocks/>
          </p:cNvCxnSpPr>
          <p:nvPr/>
        </p:nvCxnSpPr>
        <p:spPr>
          <a:xfrm>
            <a:off x="10081526" y="3147650"/>
            <a:ext cx="0" cy="73786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0" name="Straight Connector 179">
            <a:extLst>
              <a:ext uri="{FF2B5EF4-FFF2-40B4-BE49-F238E27FC236}">
                <a16:creationId xmlns:a16="http://schemas.microsoft.com/office/drawing/2014/main" id="{D662F845-358A-1553-294D-8E3BD6F51C10}"/>
              </a:ext>
            </a:extLst>
          </p:cNvPr>
          <p:cNvCxnSpPr>
            <a:cxnSpLocks/>
          </p:cNvCxnSpPr>
          <p:nvPr/>
        </p:nvCxnSpPr>
        <p:spPr>
          <a:xfrm rot="16200000">
            <a:off x="1639685" y="3901528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1" name="Straight Connector 180">
            <a:extLst>
              <a:ext uri="{FF2B5EF4-FFF2-40B4-BE49-F238E27FC236}">
                <a16:creationId xmlns:a16="http://schemas.microsoft.com/office/drawing/2014/main" id="{6C57AD04-0967-4FC1-9A66-63D39F82D407}"/>
              </a:ext>
            </a:extLst>
          </p:cNvPr>
          <p:cNvCxnSpPr>
            <a:cxnSpLocks/>
          </p:cNvCxnSpPr>
          <p:nvPr/>
        </p:nvCxnSpPr>
        <p:spPr>
          <a:xfrm rot="16200000">
            <a:off x="1932878" y="3901528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2" name="Straight Connector 181">
            <a:extLst>
              <a:ext uri="{FF2B5EF4-FFF2-40B4-BE49-F238E27FC236}">
                <a16:creationId xmlns:a16="http://schemas.microsoft.com/office/drawing/2014/main" id="{C96E06D2-DC70-C27D-039E-4F4C696D4A32}"/>
              </a:ext>
            </a:extLst>
          </p:cNvPr>
          <p:cNvCxnSpPr>
            <a:cxnSpLocks/>
          </p:cNvCxnSpPr>
          <p:nvPr/>
        </p:nvCxnSpPr>
        <p:spPr>
          <a:xfrm rot="16200000">
            <a:off x="2519264" y="3901528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3" name="Straight Connector 182">
            <a:extLst>
              <a:ext uri="{FF2B5EF4-FFF2-40B4-BE49-F238E27FC236}">
                <a16:creationId xmlns:a16="http://schemas.microsoft.com/office/drawing/2014/main" id="{1191856B-77FD-783D-FF5C-9B01C4A6A694}"/>
              </a:ext>
            </a:extLst>
          </p:cNvPr>
          <p:cNvCxnSpPr>
            <a:cxnSpLocks/>
          </p:cNvCxnSpPr>
          <p:nvPr/>
        </p:nvCxnSpPr>
        <p:spPr>
          <a:xfrm rot="16200000">
            <a:off x="3105650" y="3901528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4" name="Straight Connector 183">
            <a:extLst>
              <a:ext uri="{FF2B5EF4-FFF2-40B4-BE49-F238E27FC236}">
                <a16:creationId xmlns:a16="http://schemas.microsoft.com/office/drawing/2014/main" id="{B4004E6D-D17E-A3BD-A8B2-56BCC5AA8B22}"/>
              </a:ext>
            </a:extLst>
          </p:cNvPr>
          <p:cNvCxnSpPr>
            <a:cxnSpLocks/>
          </p:cNvCxnSpPr>
          <p:nvPr/>
        </p:nvCxnSpPr>
        <p:spPr>
          <a:xfrm rot="16200000">
            <a:off x="3692036" y="3901529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5" name="Straight Connector 184">
            <a:extLst>
              <a:ext uri="{FF2B5EF4-FFF2-40B4-BE49-F238E27FC236}">
                <a16:creationId xmlns:a16="http://schemas.microsoft.com/office/drawing/2014/main" id="{F2FEEA27-C2D9-C4D7-5D0A-B74D3D0722BE}"/>
              </a:ext>
            </a:extLst>
          </p:cNvPr>
          <p:cNvCxnSpPr>
            <a:cxnSpLocks/>
          </p:cNvCxnSpPr>
          <p:nvPr/>
        </p:nvCxnSpPr>
        <p:spPr>
          <a:xfrm rot="16200000">
            <a:off x="4571615" y="3901529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Straight Connector 185">
            <a:extLst>
              <a:ext uri="{FF2B5EF4-FFF2-40B4-BE49-F238E27FC236}">
                <a16:creationId xmlns:a16="http://schemas.microsoft.com/office/drawing/2014/main" id="{4AF51011-11E1-A2DF-E3BC-4931FBA9DA32}"/>
              </a:ext>
            </a:extLst>
          </p:cNvPr>
          <p:cNvCxnSpPr>
            <a:cxnSpLocks/>
          </p:cNvCxnSpPr>
          <p:nvPr/>
        </p:nvCxnSpPr>
        <p:spPr>
          <a:xfrm rot="16200000">
            <a:off x="5158001" y="3901529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7" name="Straight Connector 186">
            <a:extLst>
              <a:ext uri="{FF2B5EF4-FFF2-40B4-BE49-F238E27FC236}">
                <a16:creationId xmlns:a16="http://schemas.microsoft.com/office/drawing/2014/main" id="{3ACD6FF6-ECEC-88B7-42CD-B9E68E45F6E7}"/>
              </a:ext>
            </a:extLst>
          </p:cNvPr>
          <p:cNvCxnSpPr>
            <a:cxnSpLocks/>
          </p:cNvCxnSpPr>
          <p:nvPr/>
        </p:nvCxnSpPr>
        <p:spPr>
          <a:xfrm rot="16200000">
            <a:off x="4278422" y="3901528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8" name="TextBox 187">
            <a:extLst>
              <a:ext uri="{FF2B5EF4-FFF2-40B4-BE49-F238E27FC236}">
                <a16:creationId xmlns:a16="http://schemas.microsoft.com/office/drawing/2014/main" id="{FA73D838-7B0A-CBE9-DA06-B566D815202A}"/>
              </a:ext>
            </a:extLst>
          </p:cNvPr>
          <p:cNvSpPr txBox="1"/>
          <p:nvPr/>
        </p:nvSpPr>
        <p:spPr>
          <a:xfrm>
            <a:off x="3658240" y="4024282"/>
            <a:ext cx="89864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24</a:t>
            </a:r>
          </a:p>
        </p:txBody>
      </p:sp>
      <p:sp>
        <p:nvSpPr>
          <p:cNvPr id="189" name="TextBox 188">
            <a:extLst>
              <a:ext uri="{FF2B5EF4-FFF2-40B4-BE49-F238E27FC236}">
                <a16:creationId xmlns:a16="http://schemas.microsoft.com/office/drawing/2014/main" id="{9CCA6D37-0203-4AD4-0F05-EFC7799C1024}"/>
              </a:ext>
            </a:extLst>
          </p:cNvPr>
          <p:cNvSpPr txBox="1"/>
          <p:nvPr/>
        </p:nvSpPr>
        <p:spPr>
          <a:xfrm>
            <a:off x="3948495" y="4024282"/>
            <a:ext cx="89864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27</a:t>
            </a:r>
          </a:p>
        </p:txBody>
      </p:sp>
      <p:sp>
        <p:nvSpPr>
          <p:cNvPr id="190" name="TextBox 189">
            <a:extLst>
              <a:ext uri="{FF2B5EF4-FFF2-40B4-BE49-F238E27FC236}">
                <a16:creationId xmlns:a16="http://schemas.microsoft.com/office/drawing/2014/main" id="{FE209419-DE89-2B04-F6AA-B04268E3CD6E}"/>
              </a:ext>
            </a:extLst>
          </p:cNvPr>
          <p:cNvSpPr txBox="1"/>
          <p:nvPr/>
        </p:nvSpPr>
        <p:spPr>
          <a:xfrm>
            <a:off x="4238750" y="4024282"/>
            <a:ext cx="89864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30</a:t>
            </a:r>
          </a:p>
        </p:txBody>
      </p:sp>
      <p:sp>
        <p:nvSpPr>
          <p:cNvPr id="191" name="TextBox 190">
            <a:extLst>
              <a:ext uri="{FF2B5EF4-FFF2-40B4-BE49-F238E27FC236}">
                <a16:creationId xmlns:a16="http://schemas.microsoft.com/office/drawing/2014/main" id="{11C9FF78-EB28-5168-570F-5DE7BAA0B726}"/>
              </a:ext>
            </a:extLst>
          </p:cNvPr>
          <p:cNvSpPr txBox="1"/>
          <p:nvPr/>
        </p:nvSpPr>
        <p:spPr>
          <a:xfrm>
            <a:off x="4529005" y="4024282"/>
            <a:ext cx="89864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33</a:t>
            </a:r>
          </a:p>
        </p:txBody>
      </p:sp>
      <p:sp>
        <p:nvSpPr>
          <p:cNvPr id="192" name="TextBox 191">
            <a:extLst>
              <a:ext uri="{FF2B5EF4-FFF2-40B4-BE49-F238E27FC236}">
                <a16:creationId xmlns:a16="http://schemas.microsoft.com/office/drawing/2014/main" id="{2309C4E7-87B6-E345-AAEA-9E44CC60FC50}"/>
              </a:ext>
            </a:extLst>
          </p:cNvPr>
          <p:cNvSpPr txBox="1"/>
          <p:nvPr/>
        </p:nvSpPr>
        <p:spPr>
          <a:xfrm>
            <a:off x="4819260" y="4024282"/>
            <a:ext cx="89864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38</a:t>
            </a:r>
          </a:p>
        </p:txBody>
      </p:sp>
      <p:sp>
        <p:nvSpPr>
          <p:cNvPr id="193" name="TextBox 192">
            <a:extLst>
              <a:ext uri="{FF2B5EF4-FFF2-40B4-BE49-F238E27FC236}">
                <a16:creationId xmlns:a16="http://schemas.microsoft.com/office/drawing/2014/main" id="{6DD91C0C-DE9D-4D65-BBE2-43F18D642177}"/>
              </a:ext>
            </a:extLst>
          </p:cNvPr>
          <p:cNvSpPr txBox="1"/>
          <p:nvPr/>
        </p:nvSpPr>
        <p:spPr>
          <a:xfrm>
            <a:off x="5109515" y="4024282"/>
            <a:ext cx="89864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39</a:t>
            </a:r>
          </a:p>
        </p:txBody>
      </p:sp>
      <p:sp>
        <p:nvSpPr>
          <p:cNvPr id="194" name="TextBox 193">
            <a:extLst>
              <a:ext uri="{FF2B5EF4-FFF2-40B4-BE49-F238E27FC236}">
                <a16:creationId xmlns:a16="http://schemas.microsoft.com/office/drawing/2014/main" id="{5C022F65-0293-21ED-812E-18F8FF81128A}"/>
              </a:ext>
            </a:extLst>
          </p:cNvPr>
          <p:cNvSpPr txBox="1"/>
          <p:nvPr/>
        </p:nvSpPr>
        <p:spPr>
          <a:xfrm>
            <a:off x="1626439" y="4412756"/>
            <a:ext cx="89895" cy="115198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9D9C98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34</a:t>
            </a:r>
          </a:p>
        </p:txBody>
      </p:sp>
      <p:sp>
        <p:nvSpPr>
          <p:cNvPr id="195" name="TextBox 194">
            <a:extLst>
              <a:ext uri="{FF2B5EF4-FFF2-40B4-BE49-F238E27FC236}">
                <a16:creationId xmlns:a16="http://schemas.microsoft.com/office/drawing/2014/main" id="{D2935A7B-E2DC-1F0B-AEC9-420044DE97EA}"/>
              </a:ext>
            </a:extLst>
          </p:cNvPr>
          <p:cNvSpPr txBox="1"/>
          <p:nvPr/>
        </p:nvSpPr>
        <p:spPr>
          <a:xfrm>
            <a:off x="1916693" y="4412756"/>
            <a:ext cx="89895" cy="115198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9D9C98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21</a:t>
            </a:r>
          </a:p>
        </p:txBody>
      </p:sp>
      <p:sp>
        <p:nvSpPr>
          <p:cNvPr id="196" name="TextBox 195">
            <a:extLst>
              <a:ext uri="{FF2B5EF4-FFF2-40B4-BE49-F238E27FC236}">
                <a16:creationId xmlns:a16="http://schemas.microsoft.com/office/drawing/2014/main" id="{3843858F-2B31-C39F-410E-1B65772F32A9}"/>
              </a:ext>
            </a:extLst>
          </p:cNvPr>
          <p:cNvSpPr txBox="1"/>
          <p:nvPr/>
        </p:nvSpPr>
        <p:spPr>
          <a:xfrm>
            <a:off x="2206947" y="4412756"/>
            <a:ext cx="89895" cy="115198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9D9C98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4</a:t>
            </a:r>
          </a:p>
        </p:txBody>
      </p:sp>
      <p:sp>
        <p:nvSpPr>
          <p:cNvPr id="197" name="TextBox 196">
            <a:extLst>
              <a:ext uri="{FF2B5EF4-FFF2-40B4-BE49-F238E27FC236}">
                <a16:creationId xmlns:a16="http://schemas.microsoft.com/office/drawing/2014/main" id="{9C8A91E5-7449-F1E1-CADE-9BF32154CCEA}"/>
              </a:ext>
            </a:extLst>
          </p:cNvPr>
          <p:cNvSpPr txBox="1"/>
          <p:nvPr/>
        </p:nvSpPr>
        <p:spPr>
          <a:xfrm>
            <a:off x="2497201" y="4412756"/>
            <a:ext cx="89895" cy="115198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9D9C98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0</a:t>
            </a:r>
          </a:p>
        </p:txBody>
      </p:sp>
      <p:sp>
        <p:nvSpPr>
          <p:cNvPr id="198" name="TextBox 197">
            <a:extLst>
              <a:ext uri="{FF2B5EF4-FFF2-40B4-BE49-F238E27FC236}">
                <a16:creationId xmlns:a16="http://schemas.microsoft.com/office/drawing/2014/main" id="{306AA182-AB40-2ABE-FD92-E3A50FE1E9D2}"/>
              </a:ext>
            </a:extLst>
          </p:cNvPr>
          <p:cNvSpPr txBox="1"/>
          <p:nvPr/>
        </p:nvSpPr>
        <p:spPr>
          <a:xfrm>
            <a:off x="2787455" y="4412756"/>
            <a:ext cx="89895" cy="115198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9D9C98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9</a:t>
            </a:r>
          </a:p>
        </p:txBody>
      </p:sp>
      <p:sp>
        <p:nvSpPr>
          <p:cNvPr id="199" name="TextBox 198">
            <a:extLst>
              <a:ext uri="{FF2B5EF4-FFF2-40B4-BE49-F238E27FC236}">
                <a16:creationId xmlns:a16="http://schemas.microsoft.com/office/drawing/2014/main" id="{DBE25BB7-FFBD-105F-FCAE-8B4544987C6F}"/>
              </a:ext>
            </a:extLst>
          </p:cNvPr>
          <p:cNvSpPr txBox="1"/>
          <p:nvPr/>
        </p:nvSpPr>
        <p:spPr>
          <a:xfrm>
            <a:off x="3077709" y="4412756"/>
            <a:ext cx="89895" cy="115198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9D9C98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7</a:t>
            </a:r>
          </a:p>
        </p:txBody>
      </p:sp>
      <p:sp>
        <p:nvSpPr>
          <p:cNvPr id="200" name="TextBox 199">
            <a:extLst>
              <a:ext uri="{FF2B5EF4-FFF2-40B4-BE49-F238E27FC236}">
                <a16:creationId xmlns:a16="http://schemas.microsoft.com/office/drawing/2014/main" id="{A76A652C-30E0-EBE9-04E8-198F31FB3A57}"/>
              </a:ext>
            </a:extLst>
          </p:cNvPr>
          <p:cNvSpPr txBox="1"/>
          <p:nvPr/>
        </p:nvSpPr>
        <p:spPr>
          <a:xfrm>
            <a:off x="3367963" y="4412756"/>
            <a:ext cx="89895" cy="115198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9D9C98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7</a:t>
            </a:r>
          </a:p>
        </p:txBody>
      </p:sp>
      <p:sp>
        <p:nvSpPr>
          <p:cNvPr id="201" name="TextBox 200">
            <a:extLst>
              <a:ext uri="{FF2B5EF4-FFF2-40B4-BE49-F238E27FC236}">
                <a16:creationId xmlns:a16="http://schemas.microsoft.com/office/drawing/2014/main" id="{1ADF40B2-C1AF-94C7-FD26-4BC624ECD9C8}"/>
              </a:ext>
            </a:extLst>
          </p:cNvPr>
          <p:cNvSpPr txBox="1"/>
          <p:nvPr/>
        </p:nvSpPr>
        <p:spPr>
          <a:xfrm>
            <a:off x="3658217" y="4412756"/>
            <a:ext cx="89895" cy="115198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9D9C98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5</a:t>
            </a:r>
          </a:p>
        </p:txBody>
      </p:sp>
      <p:sp>
        <p:nvSpPr>
          <p:cNvPr id="202" name="TextBox 201">
            <a:extLst>
              <a:ext uri="{FF2B5EF4-FFF2-40B4-BE49-F238E27FC236}">
                <a16:creationId xmlns:a16="http://schemas.microsoft.com/office/drawing/2014/main" id="{598FC553-12D1-B442-40D3-8008142FEEB3}"/>
              </a:ext>
            </a:extLst>
          </p:cNvPr>
          <p:cNvSpPr txBox="1"/>
          <p:nvPr/>
        </p:nvSpPr>
        <p:spPr>
          <a:xfrm>
            <a:off x="3948471" y="4412756"/>
            <a:ext cx="89895" cy="115198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9D9C98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3</a:t>
            </a:r>
          </a:p>
        </p:txBody>
      </p:sp>
      <p:sp>
        <p:nvSpPr>
          <p:cNvPr id="203" name="TextBox 202">
            <a:extLst>
              <a:ext uri="{FF2B5EF4-FFF2-40B4-BE49-F238E27FC236}">
                <a16:creationId xmlns:a16="http://schemas.microsoft.com/office/drawing/2014/main" id="{DACF3966-C347-7B33-FF14-2F85F3A47AD4}"/>
              </a:ext>
            </a:extLst>
          </p:cNvPr>
          <p:cNvSpPr txBox="1"/>
          <p:nvPr/>
        </p:nvSpPr>
        <p:spPr>
          <a:xfrm>
            <a:off x="4238725" y="4412756"/>
            <a:ext cx="89895" cy="115198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9D9C98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</a:t>
            </a:r>
          </a:p>
        </p:txBody>
      </p:sp>
      <p:sp>
        <p:nvSpPr>
          <p:cNvPr id="204" name="TextBox 203">
            <a:extLst>
              <a:ext uri="{FF2B5EF4-FFF2-40B4-BE49-F238E27FC236}">
                <a16:creationId xmlns:a16="http://schemas.microsoft.com/office/drawing/2014/main" id="{611E2C2E-904B-6DBC-904E-9A117CE30AC1}"/>
              </a:ext>
            </a:extLst>
          </p:cNvPr>
          <p:cNvSpPr txBox="1"/>
          <p:nvPr/>
        </p:nvSpPr>
        <p:spPr>
          <a:xfrm>
            <a:off x="4528979" y="4412756"/>
            <a:ext cx="89895" cy="115198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9D9C98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</a:t>
            </a:r>
          </a:p>
        </p:txBody>
      </p:sp>
      <p:sp>
        <p:nvSpPr>
          <p:cNvPr id="205" name="TextBox 204">
            <a:extLst>
              <a:ext uri="{FF2B5EF4-FFF2-40B4-BE49-F238E27FC236}">
                <a16:creationId xmlns:a16="http://schemas.microsoft.com/office/drawing/2014/main" id="{1EA01FA5-EFC9-7ACB-9607-9D6A91C09B82}"/>
              </a:ext>
            </a:extLst>
          </p:cNvPr>
          <p:cNvSpPr txBox="1"/>
          <p:nvPr/>
        </p:nvSpPr>
        <p:spPr>
          <a:xfrm>
            <a:off x="4819233" y="4412756"/>
            <a:ext cx="89895" cy="115198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9D9C98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NE</a:t>
            </a:r>
          </a:p>
        </p:txBody>
      </p:sp>
      <p:sp>
        <p:nvSpPr>
          <p:cNvPr id="206" name="TextBox 205">
            <a:extLst>
              <a:ext uri="{FF2B5EF4-FFF2-40B4-BE49-F238E27FC236}">
                <a16:creationId xmlns:a16="http://schemas.microsoft.com/office/drawing/2014/main" id="{B2AC0A6C-B5C7-DA26-1AB5-F84A75527D34}"/>
              </a:ext>
            </a:extLst>
          </p:cNvPr>
          <p:cNvSpPr txBox="1"/>
          <p:nvPr/>
        </p:nvSpPr>
        <p:spPr>
          <a:xfrm>
            <a:off x="5109487" y="4412756"/>
            <a:ext cx="89895" cy="115198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9D9C98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NE</a:t>
            </a:r>
          </a:p>
        </p:txBody>
      </p:sp>
      <p:sp>
        <p:nvSpPr>
          <p:cNvPr id="207" name="TextBox 206">
            <a:extLst>
              <a:ext uri="{FF2B5EF4-FFF2-40B4-BE49-F238E27FC236}">
                <a16:creationId xmlns:a16="http://schemas.microsoft.com/office/drawing/2014/main" id="{FDFB9A94-408C-D969-469F-11A53730F244}"/>
              </a:ext>
            </a:extLst>
          </p:cNvPr>
          <p:cNvSpPr txBox="1"/>
          <p:nvPr/>
        </p:nvSpPr>
        <p:spPr>
          <a:xfrm>
            <a:off x="1336207" y="4636395"/>
            <a:ext cx="89895" cy="115198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4CA1A6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83</a:t>
            </a:r>
          </a:p>
        </p:txBody>
      </p:sp>
      <p:sp>
        <p:nvSpPr>
          <p:cNvPr id="208" name="TextBox 207">
            <a:extLst>
              <a:ext uri="{FF2B5EF4-FFF2-40B4-BE49-F238E27FC236}">
                <a16:creationId xmlns:a16="http://schemas.microsoft.com/office/drawing/2014/main" id="{9BECB4D9-E4DB-2125-6982-94EEA7D2ED2A}"/>
              </a:ext>
            </a:extLst>
          </p:cNvPr>
          <p:cNvSpPr txBox="1"/>
          <p:nvPr/>
        </p:nvSpPr>
        <p:spPr>
          <a:xfrm>
            <a:off x="5399759" y="4636395"/>
            <a:ext cx="177942" cy="115198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4CA1A6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NE</a:t>
            </a:r>
          </a:p>
        </p:txBody>
      </p:sp>
      <p:sp>
        <p:nvSpPr>
          <p:cNvPr id="209" name="TextBox 208">
            <a:extLst>
              <a:ext uri="{FF2B5EF4-FFF2-40B4-BE49-F238E27FC236}">
                <a16:creationId xmlns:a16="http://schemas.microsoft.com/office/drawing/2014/main" id="{4F839BA9-D3D3-88E0-E28C-FC3593B028C7}"/>
              </a:ext>
            </a:extLst>
          </p:cNvPr>
          <p:cNvSpPr txBox="1"/>
          <p:nvPr/>
        </p:nvSpPr>
        <p:spPr>
          <a:xfrm>
            <a:off x="1626461" y="4636395"/>
            <a:ext cx="89895" cy="115198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4CA1A6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29</a:t>
            </a:r>
          </a:p>
        </p:txBody>
      </p:sp>
      <p:sp>
        <p:nvSpPr>
          <p:cNvPr id="210" name="TextBox 209">
            <a:extLst>
              <a:ext uri="{FF2B5EF4-FFF2-40B4-BE49-F238E27FC236}">
                <a16:creationId xmlns:a16="http://schemas.microsoft.com/office/drawing/2014/main" id="{C525FD41-B3B7-4161-3742-BF226A28AC2B}"/>
              </a:ext>
            </a:extLst>
          </p:cNvPr>
          <p:cNvSpPr txBox="1"/>
          <p:nvPr/>
        </p:nvSpPr>
        <p:spPr>
          <a:xfrm>
            <a:off x="1916715" y="4636395"/>
            <a:ext cx="89895" cy="115198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4CA1A6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06</a:t>
            </a:r>
          </a:p>
        </p:txBody>
      </p:sp>
      <p:sp>
        <p:nvSpPr>
          <p:cNvPr id="211" name="TextBox 210">
            <a:extLst>
              <a:ext uri="{FF2B5EF4-FFF2-40B4-BE49-F238E27FC236}">
                <a16:creationId xmlns:a16="http://schemas.microsoft.com/office/drawing/2014/main" id="{C9FDBA21-9CE2-24FE-4056-2A6DCA0B88F7}"/>
              </a:ext>
            </a:extLst>
          </p:cNvPr>
          <p:cNvSpPr txBox="1"/>
          <p:nvPr/>
        </p:nvSpPr>
        <p:spPr>
          <a:xfrm>
            <a:off x="2206969" y="4636395"/>
            <a:ext cx="89895" cy="115198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4CA1A6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90</a:t>
            </a:r>
          </a:p>
        </p:txBody>
      </p:sp>
      <p:sp>
        <p:nvSpPr>
          <p:cNvPr id="212" name="TextBox 211">
            <a:extLst>
              <a:ext uri="{FF2B5EF4-FFF2-40B4-BE49-F238E27FC236}">
                <a16:creationId xmlns:a16="http://schemas.microsoft.com/office/drawing/2014/main" id="{A083ECAD-3D34-7DD3-52A2-9564A19B50A9}"/>
              </a:ext>
            </a:extLst>
          </p:cNvPr>
          <p:cNvSpPr txBox="1"/>
          <p:nvPr/>
        </p:nvSpPr>
        <p:spPr>
          <a:xfrm>
            <a:off x="2497223" y="4636395"/>
            <a:ext cx="89895" cy="115198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4CA1A6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70</a:t>
            </a:r>
          </a:p>
        </p:txBody>
      </p:sp>
      <p:sp>
        <p:nvSpPr>
          <p:cNvPr id="213" name="TextBox 212">
            <a:extLst>
              <a:ext uri="{FF2B5EF4-FFF2-40B4-BE49-F238E27FC236}">
                <a16:creationId xmlns:a16="http://schemas.microsoft.com/office/drawing/2014/main" id="{43A98DC5-DEF9-704F-B029-C812317047E9}"/>
              </a:ext>
            </a:extLst>
          </p:cNvPr>
          <p:cNvSpPr txBox="1"/>
          <p:nvPr/>
        </p:nvSpPr>
        <p:spPr>
          <a:xfrm>
            <a:off x="2787477" y="4636395"/>
            <a:ext cx="89895" cy="115198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4CA1A6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64</a:t>
            </a:r>
          </a:p>
        </p:txBody>
      </p:sp>
      <p:sp>
        <p:nvSpPr>
          <p:cNvPr id="214" name="TextBox 213">
            <a:extLst>
              <a:ext uri="{FF2B5EF4-FFF2-40B4-BE49-F238E27FC236}">
                <a16:creationId xmlns:a16="http://schemas.microsoft.com/office/drawing/2014/main" id="{EE5335EC-D445-6CD6-E0D1-BDEC3ACEC5D6}"/>
              </a:ext>
            </a:extLst>
          </p:cNvPr>
          <p:cNvSpPr txBox="1"/>
          <p:nvPr/>
        </p:nvSpPr>
        <p:spPr>
          <a:xfrm>
            <a:off x="3077731" y="4636395"/>
            <a:ext cx="89895" cy="115198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4CA1A6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60</a:t>
            </a:r>
          </a:p>
        </p:txBody>
      </p:sp>
      <p:sp>
        <p:nvSpPr>
          <p:cNvPr id="215" name="TextBox 214">
            <a:extLst>
              <a:ext uri="{FF2B5EF4-FFF2-40B4-BE49-F238E27FC236}">
                <a16:creationId xmlns:a16="http://schemas.microsoft.com/office/drawing/2014/main" id="{256068B5-3D6F-6FEA-A443-86D7EB4C3909}"/>
              </a:ext>
            </a:extLst>
          </p:cNvPr>
          <p:cNvSpPr txBox="1"/>
          <p:nvPr/>
        </p:nvSpPr>
        <p:spPr>
          <a:xfrm>
            <a:off x="3367985" y="4636395"/>
            <a:ext cx="89895" cy="115198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4CA1A6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53</a:t>
            </a:r>
          </a:p>
        </p:txBody>
      </p:sp>
      <p:sp>
        <p:nvSpPr>
          <p:cNvPr id="216" name="TextBox 215">
            <a:extLst>
              <a:ext uri="{FF2B5EF4-FFF2-40B4-BE49-F238E27FC236}">
                <a16:creationId xmlns:a16="http://schemas.microsoft.com/office/drawing/2014/main" id="{55378CDF-539B-126E-8730-DD5ADE7AD1F8}"/>
              </a:ext>
            </a:extLst>
          </p:cNvPr>
          <p:cNvSpPr txBox="1"/>
          <p:nvPr/>
        </p:nvSpPr>
        <p:spPr>
          <a:xfrm>
            <a:off x="3658239" y="4636395"/>
            <a:ext cx="89895" cy="115198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4CA1A6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51</a:t>
            </a:r>
          </a:p>
        </p:txBody>
      </p:sp>
      <p:sp>
        <p:nvSpPr>
          <p:cNvPr id="217" name="TextBox 216">
            <a:extLst>
              <a:ext uri="{FF2B5EF4-FFF2-40B4-BE49-F238E27FC236}">
                <a16:creationId xmlns:a16="http://schemas.microsoft.com/office/drawing/2014/main" id="{CABB517D-62F5-7A78-54D4-A14079710F3A}"/>
              </a:ext>
            </a:extLst>
          </p:cNvPr>
          <p:cNvSpPr txBox="1"/>
          <p:nvPr/>
        </p:nvSpPr>
        <p:spPr>
          <a:xfrm>
            <a:off x="3948493" y="4636395"/>
            <a:ext cx="89895" cy="115198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4CA1A6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42</a:t>
            </a:r>
          </a:p>
        </p:txBody>
      </p:sp>
      <p:sp>
        <p:nvSpPr>
          <p:cNvPr id="218" name="TextBox 217">
            <a:extLst>
              <a:ext uri="{FF2B5EF4-FFF2-40B4-BE49-F238E27FC236}">
                <a16:creationId xmlns:a16="http://schemas.microsoft.com/office/drawing/2014/main" id="{BD45637F-AC7A-9CA3-0FC5-B593769C960B}"/>
              </a:ext>
            </a:extLst>
          </p:cNvPr>
          <p:cNvSpPr txBox="1"/>
          <p:nvPr/>
        </p:nvSpPr>
        <p:spPr>
          <a:xfrm>
            <a:off x="4238747" y="4636395"/>
            <a:ext cx="89895" cy="115198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4CA1A6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30</a:t>
            </a:r>
          </a:p>
        </p:txBody>
      </p:sp>
      <p:sp>
        <p:nvSpPr>
          <p:cNvPr id="219" name="TextBox 218">
            <a:extLst>
              <a:ext uri="{FF2B5EF4-FFF2-40B4-BE49-F238E27FC236}">
                <a16:creationId xmlns:a16="http://schemas.microsoft.com/office/drawing/2014/main" id="{FA4BE651-745C-2B65-B1A0-F44887AB6F3E}"/>
              </a:ext>
            </a:extLst>
          </p:cNvPr>
          <p:cNvSpPr txBox="1"/>
          <p:nvPr/>
        </p:nvSpPr>
        <p:spPr>
          <a:xfrm>
            <a:off x="4529001" y="4636395"/>
            <a:ext cx="89895" cy="115198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4CA1A6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3</a:t>
            </a:r>
          </a:p>
        </p:txBody>
      </p:sp>
      <p:sp>
        <p:nvSpPr>
          <p:cNvPr id="220" name="TextBox 219">
            <a:extLst>
              <a:ext uri="{FF2B5EF4-FFF2-40B4-BE49-F238E27FC236}">
                <a16:creationId xmlns:a16="http://schemas.microsoft.com/office/drawing/2014/main" id="{D730A524-79E4-B459-7286-F018180ABC51}"/>
              </a:ext>
            </a:extLst>
          </p:cNvPr>
          <p:cNvSpPr txBox="1"/>
          <p:nvPr/>
        </p:nvSpPr>
        <p:spPr>
          <a:xfrm>
            <a:off x="4819255" y="4636395"/>
            <a:ext cx="89895" cy="115198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4CA1A6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</a:t>
            </a:r>
          </a:p>
        </p:txBody>
      </p:sp>
      <p:sp>
        <p:nvSpPr>
          <p:cNvPr id="221" name="TextBox 220">
            <a:extLst>
              <a:ext uri="{FF2B5EF4-FFF2-40B4-BE49-F238E27FC236}">
                <a16:creationId xmlns:a16="http://schemas.microsoft.com/office/drawing/2014/main" id="{660AD859-8A65-D707-9963-2235BD401D25}"/>
              </a:ext>
            </a:extLst>
          </p:cNvPr>
          <p:cNvSpPr txBox="1"/>
          <p:nvPr/>
        </p:nvSpPr>
        <p:spPr>
          <a:xfrm>
            <a:off x="5109509" y="4636395"/>
            <a:ext cx="89895" cy="115198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4CA1A6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</a:t>
            </a:r>
          </a:p>
        </p:txBody>
      </p:sp>
      <p:sp>
        <p:nvSpPr>
          <p:cNvPr id="222" name="Free-form: Shape 221">
            <a:extLst>
              <a:ext uri="{FF2B5EF4-FFF2-40B4-BE49-F238E27FC236}">
                <a16:creationId xmlns:a16="http://schemas.microsoft.com/office/drawing/2014/main" id="{C485AEAB-C8AF-B233-D9DD-B66C974073F5}"/>
              </a:ext>
            </a:extLst>
          </p:cNvPr>
          <p:cNvSpPr/>
          <p:nvPr/>
        </p:nvSpPr>
        <p:spPr>
          <a:xfrm>
            <a:off x="1383888" y="2106991"/>
            <a:ext cx="3258314" cy="1499475"/>
          </a:xfrm>
          <a:custGeom>
            <a:avLst/>
            <a:gdLst>
              <a:gd name="csX0" fmla="*/ 0 w 5743575"/>
              <a:gd name="csY0" fmla="*/ 0 h 2643188"/>
              <a:gd name="csX1" fmla="*/ 66675 w 5743575"/>
              <a:gd name="csY1" fmla="*/ 0 h 2643188"/>
              <a:gd name="csX2" fmla="*/ 66675 w 5743575"/>
              <a:gd name="csY2" fmla="*/ 66675 h 2643188"/>
              <a:gd name="csX3" fmla="*/ 104775 w 5743575"/>
              <a:gd name="csY3" fmla="*/ 66675 h 2643188"/>
              <a:gd name="csX4" fmla="*/ 104775 w 5743575"/>
              <a:gd name="csY4" fmla="*/ 223838 h 2643188"/>
              <a:gd name="csX5" fmla="*/ 138113 w 5743575"/>
              <a:gd name="csY5" fmla="*/ 223838 h 2643188"/>
              <a:gd name="csX6" fmla="*/ 138113 w 5743575"/>
              <a:gd name="csY6" fmla="*/ 338138 h 2643188"/>
              <a:gd name="csX7" fmla="*/ 176213 w 5743575"/>
              <a:gd name="csY7" fmla="*/ 338138 h 2643188"/>
              <a:gd name="csX8" fmla="*/ 176213 w 5743575"/>
              <a:gd name="csY8" fmla="*/ 400050 h 2643188"/>
              <a:gd name="csX9" fmla="*/ 204788 w 5743575"/>
              <a:gd name="csY9" fmla="*/ 400050 h 2643188"/>
              <a:gd name="csX10" fmla="*/ 204788 w 5743575"/>
              <a:gd name="csY10" fmla="*/ 647700 h 2643188"/>
              <a:gd name="csX11" fmla="*/ 228600 w 5743575"/>
              <a:gd name="csY11" fmla="*/ 647700 h 2643188"/>
              <a:gd name="csX12" fmla="*/ 228600 w 5743575"/>
              <a:gd name="csY12" fmla="*/ 747713 h 2643188"/>
              <a:gd name="csX13" fmla="*/ 261938 w 5743575"/>
              <a:gd name="csY13" fmla="*/ 747713 h 2643188"/>
              <a:gd name="csX14" fmla="*/ 261938 w 5743575"/>
              <a:gd name="csY14" fmla="*/ 966788 h 2643188"/>
              <a:gd name="csX15" fmla="*/ 319088 w 5743575"/>
              <a:gd name="csY15" fmla="*/ 966788 h 2643188"/>
              <a:gd name="csX16" fmla="*/ 319088 w 5743575"/>
              <a:gd name="csY16" fmla="*/ 1042988 h 2643188"/>
              <a:gd name="csX17" fmla="*/ 352425 w 5743575"/>
              <a:gd name="csY17" fmla="*/ 1042988 h 2643188"/>
              <a:gd name="csX18" fmla="*/ 352425 w 5743575"/>
              <a:gd name="csY18" fmla="*/ 1123950 h 2643188"/>
              <a:gd name="csX19" fmla="*/ 381000 w 5743575"/>
              <a:gd name="csY19" fmla="*/ 1123950 h 2643188"/>
              <a:gd name="csX20" fmla="*/ 381000 w 5743575"/>
              <a:gd name="csY20" fmla="*/ 1209675 h 2643188"/>
              <a:gd name="csX21" fmla="*/ 414338 w 5743575"/>
              <a:gd name="csY21" fmla="*/ 1209675 h 2643188"/>
              <a:gd name="csX22" fmla="*/ 414338 w 5743575"/>
              <a:gd name="csY22" fmla="*/ 1243013 h 2643188"/>
              <a:gd name="csX23" fmla="*/ 442913 w 5743575"/>
              <a:gd name="csY23" fmla="*/ 1243013 h 2643188"/>
              <a:gd name="csX24" fmla="*/ 442913 w 5743575"/>
              <a:gd name="csY24" fmla="*/ 1319213 h 2643188"/>
              <a:gd name="csX25" fmla="*/ 466725 w 5743575"/>
              <a:gd name="csY25" fmla="*/ 1319213 h 2643188"/>
              <a:gd name="csX26" fmla="*/ 466725 w 5743575"/>
              <a:gd name="csY26" fmla="*/ 1490663 h 2643188"/>
              <a:gd name="csX27" fmla="*/ 509588 w 5743575"/>
              <a:gd name="csY27" fmla="*/ 1490663 h 2643188"/>
              <a:gd name="csX28" fmla="*/ 509588 w 5743575"/>
              <a:gd name="csY28" fmla="*/ 1528763 h 2643188"/>
              <a:gd name="csX29" fmla="*/ 566738 w 5743575"/>
              <a:gd name="csY29" fmla="*/ 1528763 h 2643188"/>
              <a:gd name="csX30" fmla="*/ 566738 w 5743575"/>
              <a:gd name="csY30" fmla="*/ 1628775 h 2643188"/>
              <a:gd name="csX31" fmla="*/ 623888 w 5743575"/>
              <a:gd name="csY31" fmla="*/ 1628775 h 2643188"/>
              <a:gd name="csX32" fmla="*/ 623888 w 5743575"/>
              <a:gd name="csY32" fmla="*/ 1666875 h 2643188"/>
              <a:gd name="csX33" fmla="*/ 881063 w 5743575"/>
              <a:gd name="csY33" fmla="*/ 1666875 h 2643188"/>
              <a:gd name="csX34" fmla="*/ 881063 w 5743575"/>
              <a:gd name="csY34" fmla="*/ 1709738 h 2643188"/>
              <a:gd name="csX35" fmla="*/ 909638 w 5743575"/>
              <a:gd name="csY35" fmla="*/ 1709738 h 2643188"/>
              <a:gd name="csX36" fmla="*/ 909638 w 5743575"/>
              <a:gd name="csY36" fmla="*/ 1771650 h 2643188"/>
              <a:gd name="csX37" fmla="*/ 933450 w 5743575"/>
              <a:gd name="csY37" fmla="*/ 1771650 h 2643188"/>
              <a:gd name="csX38" fmla="*/ 933450 w 5743575"/>
              <a:gd name="csY38" fmla="*/ 1857375 h 2643188"/>
              <a:gd name="csX39" fmla="*/ 966788 w 5743575"/>
              <a:gd name="csY39" fmla="*/ 1857375 h 2643188"/>
              <a:gd name="csX40" fmla="*/ 966788 w 5743575"/>
              <a:gd name="csY40" fmla="*/ 1971675 h 2643188"/>
              <a:gd name="csX41" fmla="*/ 1209675 w 5743575"/>
              <a:gd name="csY41" fmla="*/ 1971675 h 2643188"/>
              <a:gd name="csX42" fmla="*/ 1209675 w 5743575"/>
              <a:gd name="csY42" fmla="*/ 2038350 h 2643188"/>
              <a:gd name="csX43" fmla="*/ 1381125 w 5743575"/>
              <a:gd name="csY43" fmla="*/ 2038350 h 2643188"/>
              <a:gd name="csX44" fmla="*/ 1381125 w 5743575"/>
              <a:gd name="csY44" fmla="*/ 2085975 h 2643188"/>
              <a:gd name="csX45" fmla="*/ 1557338 w 5743575"/>
              <a:gd name="csY45" fmla="*/ 2085975 h 2643188"/>
              <a:gd name="csX46" fmla="*/ 1557338 w 5743575"/>
              <a:gd name="csY46" fmla="*/ 2171700 h 2643188"/>
              <a:gd name="csX47" fmla="*/ 1662113 w 5743575"/>
              <a:gd name="csY47" fmla="*/ 2171700 h 2643188"/>
              <a:gd name="csX48" fmla="*/ 1662113 w 5743575"/>
              <a:gd name="csY48" fmla="*/ 2238375 h 2643188"/>
              <a:gd name="csX49" fmla="*/ 1976438 w 5743575"/>
              <a:gd name="csY49" fmla="*/ 2238375 h 2643188"/>
              <a:gd name="csX50" fmla="*/ 1976438 w 5743575"/>
              <a:gd name="csY50" fmla="*/ 2309813 h 2643188"/>
              <a:gd name="csX51" fmla="*/ 2238375 w 5743575"/>
              <a:gd name="csY51" fmla="*/ 2309813 h 2643188"/>
              <a:gd name="csX52" fmla="*/ 2238375 w 5743575"/>
              <a:gd name="csY52" fmla="*/ 2395538 h 2643188"/>
              <a:gd name="csX53" fmla="*/ 4662488 w 5743575"/>
              <a:gd name="csY53" fmla="*/ 2395538 h 2643188"/>
              <a:gd name="csX54" fmla="*/ 4662488 w 5743575"/>
              <a:gd name="csY54" fmla="*/ 2643188 h 2643188"/>
              <a:gd name="csX55" fmla="*/ 5743575 w 5743575"/>
              <a:gd name="csY55" fmla="*/ 2643188 h 264318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</a:cxnLst>
            <a:rect l="l" t="t" r="r" b="b"/>
            <a:pathLst>
              <a:path w="5743575" h="2643188">
                <a:moveTo>
                  <a:pt x="0" y="0"/>
                </a:moveTo>
                <a:lnTo>
                  <a:pt x="66675" y="0"/>
                </a:lnTo>
                <a:lnTo>
                  <a:pt x="66675" y="66675"/>
                </a:lnTo>
                <a:lnTo>
                  <a:pt x="104775" y="66675"/>
                </a:lnTo>
                <a:lnTo>
                  <a:pt x="104775" y="223838"/>
                </a:lnTo>
                <a:lnTo>
                  <a:pt x="138113" y="223838"/>
                </a:lnTo>
                <a:lnTo>
                  <a:pt x="138113" y="338138"/>
                </a:lnTo>
                <a:lnTo>
                  <a:pt x="176213" y="338138"/>
                </a:lnTo>
                <a:lnTo>
                  <a:pt x="176213" y="400050"/>
                </a:lnTo>
                <a:lnTo>
                  <a:pt x="204788" y="400050"/>
                </a:lnTo>
                <a:lnTo>
                  <a:pt x="204788" y="647700"/>
                </a:lnTo>
                <a:lnTo>
                  <a:pt x="228600" y="647700"/>
                </a:lnTo>
                <a:lnTo>
                  <a:pt x="228600" y="747713"/>
                </a:lnTo>
                <a:lnTo>
                  <a:pt x="261938" y="747713"/>
                </a:lnTo>
                <a:lnTo>
                  <a:pt x="261938" y="966788"/>
                </a:lnTo>
                <a:lnTo>
                  <a:pt x="319088" y="966788"/>
                </a:lnTo>
                <a:lnTo>
                  <a:pt x="319088" y="1042988"/>
                </a:lnTo>
                <a:lnTo>
                  <a:pt x="352425" y="1042988"/>
                </a:lnTo>
                <a:lnTo>
                  <a:pt x="352425" y="1123950"/>
                </a:lnTo>
                <a:lnTo>
                  <a:pt x="381000" y="1123950"/>
                </a:lnTo>
                <a:lnTo>
                  <a:pt x="381000" y="1209675"/>
                </a:lnTo>
                <a:lnTo>
                  <a:pt x="414338" y="1209675"/>
                </a:lnTo>
                <a:lnTo>
                  <a:pt x="414338" y="1243013"/>
                </a:lnTo>
                <a:lnTo>
                  <a:pt x="442913" y="1243013"/>
                </a:lnTo>
                <a:lnTo>
                  <a:pt x="442913" y="1319213"/>
                </a:lnTo>
                <a:lnTo>
                  <a:pt x="466725" y="1319213"/>
                </a:lnTo>
                <a:lnTo>
                  <a:pt x="466725" y="1490663"/>
                </a:lnTo>
                <a:lnTo>
                  <a:pt x="509588" y="1490663"/>
                </a:lnTo>
                <a:lnTo>
                  <a:pt x="509588" y="1528763"/>
                </a:lnTo>
                <a:lnTo>
                  <a:pt x="566738" y="1528763"/>
                </a:lnTo>
                <a:lnTo>
                  <a:pt x="566738" y="1628775"/>
                </a:lnTo>
                <a:lnTo>
                  <a:pt x="623888" y="1628775"/>
                </a:lnTo>
                <a:lnTo>
                  <a:pt x="623888" y="1666875"/>
                </a:lnTo>
                <a:lnTo>
                  <a:pt x="881063" y="1666875"/>
                </a:lnTo>
                <a:lnTo>
                  <a:pt x="881063" y="1709738"/>
                </a:lnTo>
                <a:lnTo>
                  <a:pt x="909638" y="1709738"/>
                </a:lnTo>
                <a:lnTo>
                  <a:pt x="909638" y="1771650"/>
                </a:lnTo>
                <a:lnTo>
                  <a:pt x="933450" y="1771650"/>
                </a:lnTo>
                <a:lnTo>
                  <a:pt x="933450" y="1857375"/>
                </a:lnTo>
                <a:lnTo>
                  <a:pt x="966788" y="1857375"/>
                </a:lnTo>
                <a:lnTo>
                  <a:pt x="966788" y="1971675"/>
                </a:lnTo>
                <a:lnTo>
                  <a:pt x="1209675" y="1971675"/>
                </a:lnTo>
                <a:lnTo>
                  <a:pt x="1209675" y="2038350"/>
                </a:lnTo>
                <a:lnTo>
                  <a:pt x="1381125" y="2038350"/>
                </a:lnTo>
                <a:lnTo>
                  <a:pt x="1381125" y="2085975"/>
                </a:lnTo>
                <a:lnTo>
                  <a:pt x="1557338" y="2085975"/>
                </a:lnTo>
                <a:lnTo>
                  <a:pt x="1557338" y="2171700"/>
                </a:lnTo>
                <a:lnTo>
                  <a:pt x="1662113" y="2171700"/>
                </a:lnTo>
                <a:lnTo>
                  <a:pt x="1662113" y="2238375"/>
                </a:lnTo>
                <a:lnTo>
                  <a:pt x="1976438" y="2238375"/>
                </a:lnTo>
                <a:lnTo>
                  <a:pt x="1976438" y="2309813"/>
                </a:lnTo>
                <a:lnTo>
                  <a:pt x="2238375" y="2309813"/>
                </a:lnTo>
                <a:lnTo>
                  <a:pt x="2238375" y="2395538"/>
                </a:lnTo>
                <a:lnTo>
                  <a:pt x="4662488" y="2395538"/>
                </a:lnTo>
                <a:lnTo>
                  <a:pt x="4662488" y="2643188"/>
                </a:lnTo>
                <a:lnTo>
                  <a:pt x="5743575" y="2643188"/>
                </a:lnTo>
              </a:path>
            </a:pathLst>
          </a:custGeom>
          <a:ln w="19050">
            <a:solidFill>
              <a:schemeClr val="bg2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23" name="Straight Connector 222">
            <a:extLst>
              <a:ext uri="{FF2B5EF4-FFF2-40B4-BE49-F238E27FC236}">
                <a16:creationId xmlns:a16="http://schemas.microsoft.com/office/drawing/2014/main" id="{7EDC568C-07E0-C07A-A73D-6FE2F45351C7}"/>
              </a:ext>
            </a:extLst>
          </p:cNvPr>
          <p:cNvCxnSpPr/>
          <p:nvPr/>
        </p:nvCxnSpPr>
        <p:spPr>
          <a:xfrm>
            <a:off x="1387899" y="2087336"/>
            <a:ext cx="0" cy="5208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4" name="Straight Connector 223">
            <a:extLst>
              <a:ext uri="{FF2B5EF4-FFF2-40B4-BE49-F238E27FC236}">
                <a16:creationId xmlns:a16="http://schemas.microsoft.com/office/drawing/2014/main" id="{93CDF65A-0BD3-39CA-1F96-7C0FE1AA7DD7}"/>
              </a:ext>
            </a:extLst>
          </p:cNvPr>
          <p:cNvCxnSpPr/>
          <p:nvPr/>
        </p:nvCxnSpPr>
        <p:spPr>
          <a:xfrm>
            <a:off x="2080589" y="2795665"/>
            <a:ext cx="0" cy="5208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5" name="Straight Connector 224">
            <a:extLst>
              <a:ext uri="{FF2B5EF4-FFF2-40B4-BE49-F238E27FC236}">
                <a16:creationId xmlns:a16="http://schemas.microsoft.com/office/drawing/2014/main" id="{56E1A1E2-28E5-A748-DC39-9B86268709BA}"/>
              </a:ext>
            </a:extLst>
          </p:cNvPr>
          <p:cNvCxnSpPr/>
          <p:nvPr/>
        </p:nvCxnSpPr>
        <p:spPr>
          <a:xfrm>
            <a:off x="2277459" y="2837351"/>
            <a:ext cx="0" cy="5208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6" name="Straight Connector 225">
            <a:extLst>
              <a:ext uri="{FF2B5EF4-FFF2-40B4-BE49-F238E27FC236}">
                <a16:creationId xmlns:a16="http://schemas.microsoft.com/office/drawing/2014/main" id="{D271441C-18B5-7C61-E75C-AABCEAEF3671}"/>
              </a:ext>
            </a:extLst>
          </p:cNvPr>
          <p:cNvCxnSpPr/>
          <p:nvPr/>
        </p:nvCxnSpPr>
        <p:spPr>
          <a:xfrm>
            <a:off x="2285792" y="2852955"/>
            <a:ext cx="0" cy="5208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7" name="Straight Connector 226">
            <a:extLst>
              <a:ext uri="{FF2B5EF4-FFF2-40B4-BE49-F238E27FC236}">
                <a16:creationId xmlns:a16="http://schemas.microsoft.com/office/drawing/2014/main" id="{4265A74A-707C-B6DF-2964-C9E3BC82C19A}"/>
              </a:ext>
            </a:extLst>
          </p:cNvPr>
          <p:cNvCxnSpPr/>
          <p:nvPr/>
        </p:nvCxnSpPr>
        <p:spPr>
          <a:xfrm>
            <a:off x="2294125" y="2876262"/>
            <a:ext cx="0" cy="5208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8" name="Straight Connector 227">
            <a:extLst>
              <a:ext uri="{FF2B5EF4-FFF2-40B4-BE49-F238E27FC236}">
                <a16:creationId xmlns:a16="http://schemas.microsoft.com/office/drawing/2014/main" id="{399178EF-4F91-A25A-0C2E-69A6270E01C6}"/>
              </a:ext>
            </a:extLst>
          </p:cNvPr>
          <p:cNvCxnSpPr/>
          <p:nvPr/>
        </p:nvCxnSpPr>
        <p:spPr>
          <a:xfrm>
            <a:off x="2304541" y="2876262"/>
            <a:ext cx="0" cy="5208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9" name="Straight Connector 228">
            <a:extLst>
              <a:ext uri="{FF2B5EF4-FFF2-40B4-BE49-F238E27FC236}">
                <a16:creationId xmlns:a16="http://schemas.microsoft.com/office/drawing/2014/main" id="{AA467232-6F44-2193-7FAE-C55E9892FF63}"/>
              </a:ext>
            </a:extLst>
          </p:cNvPr>
          <p:cNvCxnSpPr/>
          <p:nvPr/>
        </p:nvCxnSpPr>
        <p:spPr>
          <a:xfrm>
            <a:off x="2314958" y="2880428"/>
            <a:ext cx="0" cy="5208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0" name="Straight Connector 229">
            <a:extLst>
              <a:ext uri="{FF2B5EF4-FFF2-40B4-BE49-F238E27FC236}">
                <a16:creationId xmlns:a16="http://schemas.microsoft.com/office/drawing/2014/main" id="{FF484A92-5778-CDB5-A8A1-7412C26C852F}"/>
              </a:ext>
            </a:extLst>
          </p:cNvPr>
          <p:cNvCxnSpPr/>
          <p:nvPr/>
        </p:nvCxnSpPr>
        <p:spPr>
          <a:xfrm>
            <a:off x="2323291" y="2885650"/>
            <a:ext cx="0" cy="5208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1" name="Straight Connector 230">
            <a:extLst>
              <a:ext uri="{FF2B5EF4-FFF2-40B4-BE49-F238E27FC236}">
                <a16:creationId xmlns:a16="http://schemas.microsoft.com/office/drawing/2014/main" id="{83335B28-7B7E-8DE8-7D1E-0A42F5C5B3FA}"/>
              </a:ext>
            </a:extLst>
          </p:cNvPr>
          <p:cNvCxnSpPr/>
          <p:nvPr/>
        </p:nvCxnSpPr>
        <p:spPr>
          <a:xfrm>
            <a:off x="2356624" y="2896066"/>
            <a:ext cx="0" cy="5208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2" name="Straight Connector 231">
            <a:extLst>
              <a:ext uri="{FF2B5EF4-FFF2-40B4-BE49-F238E27FC236}">
                <a16:creationId xmlns:a16="http://schemas.microsoft.com/office/drawing/2014/main" id="{10C863B0-0787-D1D3-327B-33519C239B9C}"/>
              </a:ext>
            </a:extLst>
          </p:cNvPr>
          <p:cNvCxnSpPr/>
          <p:nvPr/>
        </p:nvCxnSpPr>
        <p:spPr>
          <a:xfrm>
            <a:off x="2367039" y="2893983"/>
            <a:ext cx="0" cy="5208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3" name="Straight Connector 232">
            <a:extLst>
              <a:ext uri="{FF2B5EF4-FFF2-40B4-BE49-F238E27FC236}">
                <a16:creationId xmlns:a16="http://schemas.microsoft.com/office/drawing/2014/main" id="{83FAB2F9-D56D-EDE1-3455-558D1E6A92B5}"/>
              </a:ext>
            </a:extLst>
          </p:cNvPr>
          <p:cNvCxnSpPr/>
          <p:nvPr/>
        </p:nvCxnSpPr>
        <p:spPr>
          <a:xfrm>
            <a:off x="2375372" y="2891262"/>
            <a:ext cx="0" cy="5208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4" name="Straight Connector 233">
            <a:extLst>
              <a:ext uri="{FF2B5EF4-FFF2-40B4-BE49-F238E27FC236}">
                <a16:creationId xmlns:a16="http://schemas.microsoft.com/office/drawing/2014/main" id="{7E55F1CF-DCEB-3A1D-C12A-69EF2303367E}"/>
              </a:ext>
            </a:extLst>
          </p:cNvPr>
          <p:cNvCxnSpPr/>
          <p:nvPr/>
        </p:nvCxnSpPr>
        <p:spPr>
          <a:xfrm>
            <a:off x="2383705" y="2896874"/>
            <a:ext cx="0" cy="5208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5" name="Straight Connector 234">
            <a:extLst>
              <a:ext uri="{FF2B5EF4-FFF2-40B4-BE49-F238E27FC236}">
                <a16:creationId xmlns:a16="http://schemas.microsoft.com/office/drawing/2014/main" id="{1049E8B4-35DD-DD32-B1A8-3F78F881DEA0}"/>
              </a:ext>
            </a:extLst>
          </p:cNvPr>
          <p:cNvCxnSpPr/>
          <p:nvPr/>
        </p:nvCxnSpPr>
        <p:spPr>
          <a:xfrm>
            <a:off x="2392039" y="2908552"/>
            <a:ext cx="0" cy="5208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6" name="Straight Connector 235">
            <a:extLst>
              <a:ext uri="{FF2B5EF4-FFF2-40B4-BE49-F238E27FC236}">
                <a16:creationId xmlns:a16="http://schemas.microsoft.com/office/drawing/2014/main" id="{EFF71D87-56D7-EAD7-06BA-F4CC2E6CDD58}"/>
              </a:ext>
            </a:extLst>
          </p:cNvPr>
          <p:cNvCxnSpPr/>
          <p:nvPr/>
        </p:nvCxnSpPr>
        <p:spPr>
          <a:xfrm>
            <a:off x="2402455" y="2913150"/>
            <a:ext cx="0" cy="5208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7" name="Straight Connector 236">
            <a:extLst>
              <a:ext uri="{FF2B5EF4-FFF2-40B4-BE49-F238E27FC236}">
                <a16:creationId xmlns:a16="http://schemas.microsoft.com/office/drawing/2014/main" id="{4F189C84-2E36-A110-5D61-BFDFCE14A635}"/>
              </a:ext>
            </a:extLst>
          </p:cNvPr>
          <p:cNvCxnSpPr/>
          <p:nvPr/>
        </p:nvCxnSpPr>
        <p:spPr>
          <a:xfrm>
            <a:off x="2410788" y="2913150"/>
            <a:ext cx="0" cy="5208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8" name="Straight Connector 237">
            <a:extLst>
              <a:ext uri="{FF2B5EF4-FFF2-40B4-BE49-F238E27FC236}">
                <a16:creationId xmlns:a16="http://schemas.microsoft.com/office/drawing/2014/main" id="{8D5200B6-AC25-9FEE-2175-6B4D911352B8}"/>
              </a:ext>
            </a:extLst>
          </p:cNvPr>
          <p:cNvCxnSpPr/>
          <p:nvPr/>
        </p:nvCxnSpPr>
        <p:spPr>
          <a:xfrm>
            <a:off x="2421204" y="2913150"/>
            <a:ext cx="0" cy="5208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9" name="Straight Connector 238">
            <a:extLst>
              <a:ext uri="{FF2B5EF4-FFF2-40B4-BE49-F238E27FC236}">
                <a16:creationId xmlns:a16="http://schemas.microsoft.com/office/drawing/2014/main" id="{8E807418-B749-8274-0B45-7E904590AE38}"/>
              </a:ext>
            </a:extLst>
          </p:cNvPr>
          <p:cNvCxnSpPr/>
          <p:nvPr/>
        </p:nvCxnSpPr>
        <p:spPr>
          <a:xfrm>
            <a:off x="2427454" y="2913150"/>
            <a:ext cx="0" cy="5208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0" name="Straight Connector 239">
            <a:extLst>
              <a:ext uri="{FF2B5EF4-FFF2-40B4-BE49-F238E27FC236}">
                <a16:creationId xmlns:a16="http://schemas.microsoft.com/office/drawing/2014/main" id="{5F0246BE-C52F-F02A-2A9B-1A6FAC11FF78}"/>
              </a:ext>
            </a:extLst>
          </p:cNvPr>
          <p:cNvCxnSpPr/>
          <p:nvPr/>
        </p:nvCxnSpPr>
        <p:spPr>
          <a:xfrm>
            <a:off x="2437870" y="2913150"/>
            <a:ext cx="0" cy="5208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1" name="Straight Connector 240">
            <a:extLst>
              <a:ext uri="{FF2B5EF4-FFF2-40B4-BE49-F238E27FC236}">
                <a16:creationId xmlns:a16="http://schemas.microsoft.com/office/drawing/2014/main" id="{BC8D29FF-7E4B-4DF7-E48A-AD05810DBC9D}"/>
              </a:ext>
            </a:extLst>
          </p:cNvPr>
          <p:cNvCxnSpPr/>
          <p:nvPr/>
        </p:nvCxnSpPr>
        <p:spPr>
          <a:xfrm>
            <a:off x="2446203" y="2913150"/>
            <a:ext cx="0" cy="5208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2" name="Straight Connector 241">
            <a:extLst>
              <a:ext uri="{FF2B5EF4-FFF2-40B4-BE49-F238E27FC236}">
                <a16:creationId xmlns:a16="http://schemas.microsoft.com/office/drawing/2014/main" id="{543E56B6-31F1-F004-5EAF-A07644BC9B48}"/>
              </a:ext>
            </a:extLst>
          </p:cNvPr>
          <p:cNvCxnSpPr/>
          <p:nvPr/>
        </p:nvCxnSpPr>
        <p:spPr>
          <a:xfrm>
            <a:off x="2473286" y="2918810"/>
            <a:ext cx="0" cy="5208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3" name="Straight Connector 242">
            <a:extLst>
              <a:ext uri="{FF2B5EF4-FFF2-40B4-BE49-F238E27FC236}">
                <a16:creationId xmlns:a16="http://schemas.microsoft.com/office/drawing/2014/main" id="{EFB18B9F-E219-27E7-E564-9718D2F3FA9D}"/>
              </a:ext>
            </a:extLst>
          </p:cNvPr>
          <p:cNvCxnSpPr/>
          <p:nvPr/>
        </p:nvCxnSpPr>
        <p:spPr>
          <a:xfrm>
            <a:off x="2483702" y="2918810"/>
            <a:ext cx="0" cy="5208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4" name="Straight Connector 243">
            <a:extLst>
              <a:ext uri="{FF2B5EF4-FFF2-40B4-BE49-F238E27FC236}">
                <a16:creationId xmlns:a16="http://schemas.microsoft.com/office/drawing/2014/main" id="{10406A6A-611A-DCB5-51A0-3C0E223FF5AC}"/>
              </a:ext>
            </a:extLst>
          </p:cNvPr>
          <p:cNvCxnSpPr/>
          <p:nvPr/>
        </p:nvCxnSpPr>
        <p:spPr>
          <a:xfrm>
            <a:off x="2494119" y="2918810"/>
            <a:ext cx="0" cy="5208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5" name="Straight Connector 244">
            <a:extLst>
              <a:ext uri="{FF2B5EF4-FFF2-40B4-BE49-F238E27FC236}">
                <a16:creationId xmlns:a16="http://schemas.microsoft.com/office/drawing/2014/main" id="{99E31E0F-B293-3D3F-6517-D789A7538248}"/>
              </a:ext>
            </a:extLst>
          </p:cNvPr>
          <p:cNvCxnSpPr/>
          <p:nvPr/>
        </p:nvCxnSpPr>
        <p:spPr>
          <a:xfrm>
            <a:off x="2500368" y="2918810"/>
            <a:ext cx="0" cy="5208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6" name="Straight Connector 245">
            <a:extLst>
              <a:ext uri="{FF2B5EF4-FFF2-40B4-BE49-F238E27FC236}">
                <a16:creationId xmlns:a16="http://schemas.microsoft.com/office/drawing/2014/main" id="{AAFA94E7-ECE5-7513-CDB4-BC58A72C27B1}"/>
              </a:ext>
            </a:extLst>
          </p:cNvPr>
          <p:cNvCxnSpPr/>
          <p:nvPr/>
        </p:nvCxnSpPr>
        <p:spPr>
          <a:xfrm>
            <a:off x="2683697" y="2939888"/>
            <a:ext cx="0" cy="5208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7" name="Straight Connector 246">
            <a:extLst>
              <a:ext uri="{FF2B5EF4-FFF2-40B4-BE49-F238E27FC236}">
                <a16:creationId xmlns:a16="http://schemas.microsoft.com/office/drawing/2014/main" id="{8C9DA883-833A-65B1-564F-D6937FFB454C}"/>
              </a:ext>
            </a:extLst>
          </p:cNvPr>
          <p:cNvCxnSpPr/>
          <p:nvPr/>
        </p:nvCxnSpPr>
        <p:spPr>
          <a:xfrm>
            <a:off x="2719113" y="2939190"/>
            <a:ext cx="0" cy="5208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8" name="Straight Connector 247">
            <a:extLst>
              <a:ext uri="{FF2B5EF4-FFF2-40B4-BE49-F238E27FC236}">
                <a16:creationId xmlns:a16="http://schemas.microsoft.com/office/drawing/2014/main" id="{31F59827-057A-DB7C-1EBF-32AF252E659D}"/>
              </a:ext>
            </a:extLst>
          </p:cNvPr>
          <p:cNvCxnSpPr/>
          <p:nvPr/>
        </p:nvCxnSpPr>
        <p:spPr>
          <a:xfrm>
            <a:off x="2942024" y="3004281"/>
            <a:ext cx="0" cy="5208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9" name="Straight Connector 248">
            <a:extLst>
              <a:ext uri="{FF2B5EF4-FFF2-40B4-BE49-F238E27FC236}">
                <a16:creationId xmlns:a16="http://schemas.microsoft.com/office/drawing/2014/main" id="{CEDB6E95-CC60-6609-CBEB-A561E07FEB1F}"/>
              </a:ext>
            </a:extLst>
          </p:cNvPr>
          <p:cNvCxnSpPr/>
          <p:nvPr/>
        </p:nvCxnSpPr>
        <p:spPr>
          <a:xfrm>
            <a:off x="3177434" y="3030644"/>
            <a:ext cx="0" cy="5208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0" name="Straight Connector 249">
            <a:extLst>
              <a:ext uri="{FF2B5EF4-FFF2-40B4-BE49-F238E27FC236}">
                <a16:creationId xmlns:a16="http://schemas.microsoft.com/office/drawing/2014/main" id="{FD8FC0C7-1FE3-41A0-79EB-B73BE6478B7D}"/>
              </a:ext>
            </a:extLst>
          </p:cNvPr>
          <p:cNvCxnSpPr/>
          <p:nvPr/>
        </p:nvCxnSpPr>
        <p:spPr>
          <a:xfrm>
            <a:off x="3210767" y="3030644"/>
            <a:ext cx="0" cy="5208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1" name="Straight Connector 250">
            <a:extLst>
              <a:ext uri="{FF2B5EF4-FFF2-40B4-BE49-F238E27FC236}">
                <a16:creationId xmlns:a16="http://schemas.microsoft.com/office/drawing/2014/main" id="{C267134E-CF37-DBD6-6342-62D542DF17E0}"/>
              </a:ext>
            </a:extLst>
          </p:cNvPr>
          <p:cNvCxnSpPr/>
          <p:nvPr/>
        </p:nvCxnSpPr>
        <p:spPr>
          <a:xfrm>
            <a:off x="3419095" y="3068143"/>
            <a:ext cx="0" cy="5208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2" name="Straight Connector 251">
            <a:extLst>
              <a:ext uri="{FF2B5EF4-FFF2-40B4-BE49-F238E27FC236}">
                <a16:creationId xmlns:a16="http://schemas.microsoft.com/office/drawing/2014/main" id="{BBFE9553-367F-E378-03F6-F11243D1C63A}"/>
              </a:ext>
            </a:extLst>
          </p:cNvPr>
          <p:cNvCxnSpPr/>
          <p:nvPr/>
        </p:nvCxnSpPr>
        <p:spPr>
          <a:xfrm>
            <a:off x="3429512" y="3068143"/>
            <a:ext cx="0" cy="5208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3" name="Straight Connector 252">
            <a:extLst>
              <a:ext uri="{FF2B5EF4-FFF2-40B4-BE49-F238E27FC236}">
                <a16:creationId xmlns:a16="http://schemas.microsoft.com/office/drawing/2014/main" id="{FA2F530F-3FEE-2DE9-39B6-326CB4289EA4}"/>
              </a:ext>
            </a:extLst>
          </p:cNvPr>
          <p:cNvCxnSpPr/>
          <p:nvPr/>
        </p:nvCxnSpPr>
        <p:spPr>
          <a:xfrm>
            <a:off x="3439928" y="3068143"/>
            <a:ext cx="0" cy="5208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4" name="Straight Connector 253">
            <a:extLst>
              <a:ext uri="{FF2B5EF4-FFF2-40B4-BE49-F238E27FC236}">
                <a16:creationId xmlns:a16="http://schemas.microsoft.com/office/drawing/2014/main" id="{69D3B772-5B1D-43B2-C476-99B6F7D85568}"/>
              </a:ext>
            </a:extLst>
          </p:cNvPr>
          <p:cNvCxnSpPr/>
          <p:nvPr/>
        </p:nvCxnSpPr>
        <p:spPr>
          <a:xfrm>
            <a:off x="3485760" y="3072310"/>
            <a:ext cx="0" cy="5208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5" name="Straight Connector 254">
            <a:extLst>
              <a:ext uri="{FF2B5EF4-FFF2-40B4-BE49-F238E27FC236}">
                <a16:creationId xmlns:a16="http://schemas.microsoft.com/office/drawing/2014/main" id="{17D1075A-ADED-FA59-0DC8-982473DC4B5B}"/>
              </a:ext>
            </a:extLst>
          </p:cNvPr>
          <p:cNvCxnSpPr/>
          <p:nvPr/>
        </p:nvCxnSpPr>
        <p:spPr>
          <a:xfrm>
            <a:off x="3754503" y="3076476"/>
            <a:ext cx="0" cy="5208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6" name="Straight Connector 255">
            <a:extLst>
              <a:ext uri="{FF2B5EF4-FFF2-40B4-BE49-F238E27FC236}">
                <a16:creationId xmlns:a16="http://schemas.microsoft.com/office/drawing/2014/main" id="{D3C6C749-887F-3DD2-41C1-62237F7CA076}"/>
              </a:ext>
            </a:extLst>
          </p:cNvPr>
          <p:cNvCxnSpPr/>
          <p:nvPr/>
        </p:nvCxnSpPr>
        <p:spPr>
          <a:xfrm>
            <a:off x="3792002" y="3076476"/>
            <a:ext cx="0" cy="5208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7" name="Straight Connector 256">
            <a:extLst>
              <a:ext uri="{FF2B5EF4-FFF2-40B4-BE49-F238E27FC236}">
                <a16:creationId xmlns:a16="http://schemas.microsoft.com/office/drawing/2014/main" id="{478ED1DB-1CD2-0D33-A90E-AD1CA9E6C8DB}"/>
              </a:ext>
            </a:extLst>
          </p:cNvPr>
          <p:cNvCxnSpPr/>
          <p:nvPr/>
        </p:nvCxnSpPr>
        <p:spPr>
          <a:xfrm>
            <a:off x="3864917" y="3084809"/>
            <a:ext cx="0" cy="5208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8" name="Straight Connector 257">
            <a:extLst>
              <a:ext uri="{FF2B5EF4-FFF2-40B4-BE49-F238E27FC236}">
                <a16:creationId xmlns:a16="http://schemas.microsoft.com/office/drawing/2014/main" id="{40C79E15-FE33-BEDB-4231-6260E472E722}"/>
              </a:ext>
            </a:extLst>
          </p:cNvPr>
          <p:cNvCxnSpPr/>
          <p:nvPr/>
        </p:nvCxnSpPr>
        <p:spPr>
          <a:xfrm>
            <a:off x="3931582" y="3084809"/>
            <a:ext cx="0" cy="5208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9" name="Straight Connector 258">
            <a:extLst>
              <a:ext uri="{FF2B5EF4-FFF2-40B4-BE49-F238E27FC236}">
                <a16:creationId xmlns:a16="http://schemas.microsoft.com/office/drawing/2014/main" id="{0645EA34-127E-C1FB-F797-AE45719F8363}"/>
              </a:ext>
            </a:extLst>
          </p:cNvPr>
          <p:cNvCxnSpPr/>
          <p:nvPr/>
        </p:nvCxnSpPr>
        <p:spPr>
          <a:xfrm>
            <a:off x="3941998" y="3084809"/>
            <a:ext cx="0" cy="5208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0" name="Straight Connector 259">
            <a:extLst>
              <a:ext uri="{FF2B5EF4-FFF2-40B4-BE49-F238E27FC236}">
                <a16:creationId xmlns:a16="http://schemas.microsoft.com/office/drawing/2014/main" id="{F2CE5A3F-C106-CF57-78C8-66257AAFBC60}"/>
              </a:ext>
            </a:extLst>
          </p:cNvPr>
          <p:cNvCxnSpPr/>
          <p:nvPr/>
        </p:nvCxnSpPr>
        <p:spPr>
          <a:xfrm>
            <a:off x="3950331" y="3084809"/>
            <a:ext cx="0" cy="5208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1" name="Straight Connector 260">
            <a:extLst>
              <a:ext uri="{FF2B5EF4-FFF2-40B4-BE49-F238E27FC236}">
                <a16:creationId xmlns:a16="http://schemas.microsoft.com/office/drawing/2014/main" id="{DF056BAF-A4D6-4B56-8BA1-3135416540EA}"/>
              </a:ext>
            </a:extLst>
          </p:cNvPr>
          <p:cNvCxnSpPr/>
          <p:nvPr/>
        </p:nvCxnSpPr>
        <p:spPr>
          <a:xfrm>
            <a:off x="3981580" y="3086893"/>
            <a:ext cx="0" cy="5208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2" name="Straight Connector 261">
            <a:extLst>
              <a:ext uri="{FF2B5EF4-FFF2-40B4-BE49-F238E27FC236}">
                <a16:creationId xmlns:a16="http://schemas.microsoft.com/office/drawing/2014/main" id="{96E4940E-E7C4-74CF-91C3-0ED529A98270}"/>
              </a:ext>
            </a:extLst>
          </p:cNvPr>
          <p:cNvCxnSpPr/>
          <p:nvPr/>
        </p:nvCxnSpPr>
        <p:spPr>
          <a:xfrm>
            <a:off x="3987830" y="3086893"/>
            <a:ext cx="0" cy="5208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3" name="Straight Connector 262">
            <a:extLst>
              <a:ext uri="{FF2B5EF4-FFF2-40B4-BE49-F238E27FC236}">
                <a16:creationId xmlns:a16="http://schemas.microsoft.com/office/drawing/2014/main" id="{B1471977-68BB-5E2E-504A-CE4D193203F3}"/>
              </a:ext>
            </a:extLst>
          </p:cNvPr>
          <p:cNvCxnSpPr/>
          <p:nvPr/>
        </p:nvCxnSpPr>
        <p:spPr>
          <a:xfrm>
            <a:off x="4000330" y="3086893"/>
            <a:ext cx="0" cy="5208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4" name="Straight Connector 263">
            <a:extLst>
              <a:ext uri="{FF2B5EF4-FFF2-40B4-BE49-F238E27FC236}">
                <a16:creationId xmlns:a16="http://schemas.microsoft.com/office/drawing/2014/main" id="{72557CF9-5F5D-7391-CC98-C43F770B6F0F}"/>
              </a:ext>
            </a:extLst>
          </p:cNvPr>
          <p:cNvCxnSpPr/>
          <p:nvPr/>
        </p:nvCxnSpPr>
        <p:spPr>
          <a:xfrm>
            <a:off x="4012830" y="3086893"/>
            <a:ext cx="0" cy="5208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5" name="Straight Connector 264">
            <a:extLst>
              <a:ext uri="{FF2B5EF4-FFF2-40B4-BE49-F238E27FC236}">
                <a16:creationId xmlns:a16="http://schemas.microsoft.com/office/drawing/2014/main" id="{5C95D095-6542-5149-9847-9DBBBC1C8655}"/>
              </a:ext>
            </a:extLst>
          </p:cNvPr>
          <p:cNvCxnSpPr/>
          <p:nvPr/>
        </p:nvCxnSpPr>
        <p:spPr>
          <a:xfrm>
            <a:off x="4027413" y="3086893"/>
            <a:ext cx="0" cy="5208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6" name="Straight Connector 265">
            <a:extLst>
              <a:ext uri="{FF2B5EF4-FFF2-40B4-BE49-F238E27FC236}">
                <a16:creationId xmlns:a16="http://schemas.microsoft.com/office/drawing/2014/main" id="{376FB640-44C9-3DA6-C5E1-3BD156473C2D}"/>
              </a:ext>
            </a:extLst>
          </p:cNvPr>
          <p:cNvCxnSpPr/>
          <p:nvPr/>
        </p:nvCxnSpPr>
        <p:spPr>
          <a:xfrm>
            <a:off x="4069079" y="3130539"/>
            <a:ext cx="0" cy="5208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7" name="Straight Connector 266">
            <a:extLst>
              <a:ext uri="{FF2B5EF4-FFF2-40B4-BE49-F238E27FC236}">
                <a16:creationId xmlns:a16="http://schemas.microsoft.com/office/drawing/2014/main" id="{8F465A98-8759-26DF-2E43-5A970A10FAD3}"/>
              </a:ext>
            </a:extLst>
          </p:cNvPr>
          <p:cNvCxnSpPr/>
          <p:nvPr/>
        </p:nvCxnSpPr>
        <p:spPr>
          <a:xfrm>
            <a:off x="4146160" y="3130539"/>
            <a:ext cx="0" cy="5208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8" name="Straight Connector 267">
            <a:extLst>
              <a:ext uri="{FF2B5EF4-FFF2-40B4-BE49-F238E27FC236}">
                <a16:creationId xmlns:a16="http://schemas.microsoft.com/office/drawing/2014/main" id="{C385520A-C922-5207-73E7-44DF2F3CCCA3}"/>
              </a:ext>
            </a:extLst>
          </p:cNvPr>
          <p:cNvCxnSpPr/>
          <p:nvPr/>
        </p:nvCxnSpPr>
        <p:spPr>
          <a:xfrm>
            <a:off x="4219075" y="3150990"/>
            <a:ext cx="0" cy="5208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9" name="Straight Connector 268">
            <a:extLst>
              <a:ext uri="{FF2B5EF4-FFF2-40B4-BE49-F238E27FC236}">
                <a16:creationId xmlns:a16="http://schemas.microsoft.com/office/drawing/2014/main" id="{DF2BC860-1AC6-3EE5-431B-D25270D64C46}"/>
              </a:ext>
            </a:extLst>
          </p:cNvPr>
          <p:cNvCxnSpPr>
            <a:cxnSpLocks/>
          </p:cNvCxnSpPr>
          <p:nvPr/>
        </p:nvCxnSpPr>
        <p:spPr>
          <a:xfrm>
            <a:off x="4331572" y="3173107"/>
            <a:ext cx="0" cy="5208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0" name="Straight Connector 269">
            <a:extLst>
              <a:ext uri="{FF2B5EF4-FFF2-40B4-BE49-F238E27FC236}">
                <a16:creationId xmlns:a16="http://schemas.microsoft.com/office/drawing/2014/main" id="{8532CF66-CF50-D1A8-3316-1DE0E568580C}"/>
              </a:ext>
            </a:extLst>
          </p:cNvPr>
          <p:cNvCxnSpPr>
            <a:cxnSpLocks/>
          </p:cNvCxnSpPr>
          <p:nvPr/>
        </p:nvCxnSpPr>
        <p:spPr>
          <a:xfrm>
            <a:off x="4460735" y="3173107"/>
            <a:ext cx="0" cy="5208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1" name="Straight Connector 270">
            <a:extLst>
              <a:ext uri="{FF2B5EF4-FFF2-40B4-BE49-F238E27FC236}">
                <a16:creationId xmlns:a16="http://schemas.microsoft.com/office/drawing/2014/main" id="{F47B3063-8434-C6DB-90F5-030A3B382BDB}"/>
              </a:ext>
            </a:extLst>
          </p:cNvPr>
          <p:cNvCxnSpPr>
            <a:cxnSpLocks/>
          </p:cNvCxnSpPr>
          <p:nvPr/>
        </p:nvCxnSpPr>
        <p:spPr>
          <a:xfrm>
            <a:off x="4487817" y="3173107"/>
            <a:ext cx="0" cy="5208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2" name="Straight Connector 271">
            <a:extLst>
              <a:ext uri="{FF2B5EF4-FFF2-40B4-BE49-F238E27FC236}">
                <a16:creationId xmlns:a16="http://schemas.microsoft.com/office/drawing/2014/main" id="{941B1023-93D7-338E-20DE-0C209E4BB202}"/>
              </a:ext>
            </a:extLst>
          </p:cNvPr>
          <p:cNvCxnSpPr>
            <a:cxnSpLocks/>
          </p:cNvCxnSpPr>
          <p:nvPr/>
        </p:nvCxnSpPr>
        <p:spPr>
          <a:xfrm>
            <a:off x="4498234" y="3173107"/>
            <a:ext cx="0" cy="5208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3" name="Straight Connector 272">
            <a:extLst>
              <a:ext uri="{FF2B5EF4-FFF2-40B4-BE49-F238E27FC236}">
                <a16:creationId xmlns:a16="http://schemas.microsoft.com/office/drawing/2014/main" id="{AE6C7B39-8C78-6FEF-C5B6-F785B861C1A5}"/>
              </a:ext>
            </a:extLst>
          </p:cNvPr>
          <p:cNvCxnSpPr>
            <a:cxnSpLocks/>
          </p:cNvCxnSpPr>
          <p:nvPr/>
        </p:nvCxnSpPr>
        <p:spPr>
          <a:xfrm>
            <a:off x="4508651" y="3173107"/>
            <a:ext cx="0" cy="5208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4" name="Straight Connector 273">
            <a:extLst>
              <a:ext uri="{FF2B5EF4-FFF2-40B4-BE49-F238E27FC236}">
                <a16:creationId xmlns:a16="http://schemas.microsoft.com/office/drawing/2014/main" id="{45B85F8D-41A5-EB9A-9E36-BDC048791842}"/>
              </a:ext>
            </a:extLst>
          </p:cNvPr>
          <p:cNvCxnSpPr>
            <a:cxnSpLocks/>
          </p:cNvCxnSpPr>
          <p:nvPr/>
        </p:nvCxnSpPr>
        <p:spPr>
          <a:xfrm>
            <a:off x="4516984" y="3173107"/>
            <a:ext cx="0" cy="5208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5" name="Straight Connector 274">
            <a:extLst>
              <a:ext uri="{FF2B5EF4-FFF2-40B4-BE49-F238E27FC236}">
                <a16:creationId xmlns:a16="http://schemas.microsoft.com/office/drawing/2014/main" id="{4448133D-9002-3ABC-48FA-20C2C9EFC7C1}"/>
              </a:ext>
            </a:extLst>
          </p:cNvPr>
          <p:cNvCxnSpPr>
            <a:cxnSpLocks/>
          </p:cNvCxnSpPr>
          <p:nvPr/>
        </p:nvCxnSpPr>
        <p:spPr>
          <a:xfrm>
            <a:off x="4527400" y="3173107"/>
            <a:ext cx="0" cy="5208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6" name="Straight Connector 275">
            <a:extLst>
              <a:ext uri="{FF2B5EF4-FFF2-40B4-BE49-F238E27FC236}">
                <a16:creationId xmlns:a16="http://schemas.microsoft.com/office/drawing/2014/main" id="{C399A6C6-3549-B488-0976-918E1256163F}"/>
              </a:ext>
            </a:extLst>
          </p:cNvPr>
          <p:cNvCxnSpPr>
            <a:cxnSpLocks/>
          </p:cNvCxnSpPr>
          <p:nvPr/>
        </p:nvCxnSpPr>
        <p:spPr>
          <a:xfrm>
            <a:off x="4537817" y="3173107"/>
            <a:ext cx="0" cy="5208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7" name="Straight Connector 276">
            <a:extLst>
              <a:ext uri="{FF2B5EF4-FFF2-40B4-BE49-F238E27FC236}">
                <a16:creationId xmlns:a16="http://schemas.microsoft.com/office/drawing/2014/main" id="{F115A55D-EFA0-E107-561D-AC8F86BCB7E6}"/>
              </a:ext>
            </a:extLst>
          </p:cNvPr>
          <p:cNvCxnSpPr>
            <a:cxnSpLocks/>
          </p:cNvCxnSpPr>
          <p:nvPr/>
        </p:nvCxnSpPr>
        <p:spPr>
          <a:xfrm>
            <a:off x="4552400" y="3173107"/>
            <a:ext cx="0" cy="5208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8" name="Straight Connector 277">
            <a:extLst>
              <a:ext uri="{FF2B5EF4-FFF2-40B4-BE49-F238E27FC236}">
                <a16:creationId xmlns:a16="http://schemas.microsoft.com/office/drawing/2014/main" id="{3210D335-0FFB-1F96-C889-456912F81FFA}"/>
              </a:ext>
            </a:extLst>
          </p:cNvPr>
          <p:cNvCxnSpPr>
            <a:cxnSpLocks/>
          </p:cNvCxnSpPr>
          <p:nvPr/>
        </p:nvCxnSpPr>
        <p:spPr>
          <a:xfrm>
            <a:off x="4562816" y="3173107"/>
            <a:ext cx="0" cy="5208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9" name="Straight Connector 278">
            <a:extLst>
              <a:ext uri="{FF2B5EF4-FFF2-40B4-BE49-F238E27FC236}">
                <a16:creationId xmlns:a16="http://schemas.microsoft.com/office/drawing/2014/main" id="{81435D25-9236-EA03-4363-5A5D573C7166}"/>
              </a:ext>
            </a:extLst>
          </p:cNvPr>
          <p:cNvCxnSpPr>
            <a:cxnSpLocks/>
          </p:cNvCxnSpPr>
          <p:nvPr/>
        </p:nvCxnSpPr>
        <p:spPr>
          <a:xfrm>
            <a:off x="4573232" y="3173107"/>
            <a:ext cx="0" cy="5208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0" name="Straight Connector 279">
            <a:extLst>
              <a:ext uri="{FF2B5EF4-FFF2-40B4-BE49-F238E27FC236}">
                <a16:creationId xmlns:a16="http://schemas.microsoft.com/office/drawing/2014/main" id="{4DA0CFB1-B664-0C2C-5E48-E400C894D64E}"/>
              </a:ext>
            </a:extLst>
          </p:cNvPr>
          <p:cNvCxnSpPr>
            <a:cxnSpLocks/>
          </p:cNvCxnSpPr>
          <p:nvPr/>
        </p:nvCxnSpPr>
        <p:spPr>
          <a:xfrm>
            <a:off x="4583649" y="3173107"/>
            <a:ext cx="0" cy="5208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1" name="Straight Connector 280">
            <a:extLst>
              <a:ext uri="{FF2B5EF4-FFF2-40B4-BE49-F238E27FC236}">
                <a16:creationId xmlns:a16="http://schemas.microsoft.com/office/drawing/2014/main" id="{E25242F5-8515-66FC-94C7-E9ABFBF2460B}"/>
              </a:ext>
            </a:extLst>
          </p:cNvPr>
          <p:cNvCxnSpPr>
            <a:cxnSpLocks/>
          </p:cNvCxnSpPr>
          <p:nvPr/>
        </p:nvCxnSpPr>
        <p:spPr>
          <a:xfrm>
            <a:off x="4591982" y="3173107"/>
            <a:ext cx="0" cy="5208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2" name="Straight Connector 281">
            <a:extLst>
              <a:ext uri="{FF2B5EF4-FFF2-40B4-BE49-F238E27FC236}">
                <a16:creationId xmlns:a16="http://schemas.microsoft.com/office/drawing/2014/main" id="{605B96B6-B583-E43C-6528-C16B60B1CDF3}"/>
              </a:ext>
            </a:extLst>
          </p:cNvPr>
          <p:cNvCxnSpPr>
            <a:cxnSpLocks/>
          </p:cNvCxnSpPr>
          <p:nvPr/>
        </p:nvCxnSpPr>
        <p:spPr>
          <a:xfrm>
            <a:off x="4621147" y="3173107"/>
            <a:ext cx="0" cy="5208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3" name="Straight Connector 282">
            <a:extLst>
              <a:ext uri="{FF2B5EF4-FFF2-40B4-BE49-F238E27FC236}">
                <a16:creationId xmlns:a16="http://schemas.microsoft.com/office/drawing/2014/main" id="{8E10FF42-094F-EF55-B617-975AE51BE7DE}"/>
              </a:ext>
            </a:extLst>
          </p:cNvPr>
          <p:cNvCxnSpPr>
            <a:cxnSpLocks/>
          </p:cNvCxnSpPr>
          <p:nvPr/>
        </p:nvCxnSpPr>
        <p:spPr>
          <a:xfrm>
            <a:off x="4629480" y="3173107"/>
            <a:ext cx="0" cy="5208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4" name="Straight Connector 283">
            <a:extLst>
              <a:ext uri="{FF2B5EF4-FFF2-40B4-BE49-F238E27FC236}">
                <a16:creationId xmlns:a16="http://schemas.microsoft.com/office/drawing/2014/main" id="{55CF21AF-7727-A1A8-DB84-1C78D11E32EF}"/>
              </a:ext>
            </a:extLst>
          </p:cNvPr>
          <p:cNvCxnSpPr>
            <a:cxnSpLocks/>
          </p:cNvCxnSpPr>
          <p:nvPr/>
        </p:nvCxnSpPr>
        <p:spPr>
          <a:xfrm>
            <a:off x="4639897" y="3173107"/>
            <a:ext cx="0" cy="5208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5" name="Straight Connector 284">
            <a:extLst>
              <a:ext uri="{FF2B5EF4-FFF2-40B4-BE49-F238E27FC236}">
                <a16:creationId xmlns:a16="http://schemas.microsoft.com/office/drawing/2014/main" id="{BE197855-BD1A-3DAD-0B92-EA2F3E9EFFA6}"/>
              </a:ext>
            </a:extLst>
          </p:cNvPr>
          <p:cNvCxnSpPr>
            <a:cxnSpLocks/>
          </p:cNvCxnSpPr>
          <p:nvPr/>
        </p:nvCxnSpPr>
        <p:spPr>
          <a:xfrm>
            <a:off x="4685729" y="3173107"/>
            <a:ext cx="0" cy="5208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6" name="Straight Connector 285">
            <a:extLst>
              <a:ext uri="{FF2B5EF4-FFF2-40B4-BE49-F238E27FC236}">
                <a16:creationId xmlns:a16="http://schemas.microsoft.com/office/drawing/2014/main" id="{C26EF03D-D19D-38D5-8F5A-5B729177E9A4}"/>
              </a:ext>
            </a:extLst>
          </p:cNvPr>
          <p:cNvCxnSpPr>
            <a:cxnSpLocks/>
          </p:cNvCxnSpPr>
          <p:nvPr/>
        </p:nvCxnSpPr>
        <p:spPr>
          <a:xfrm>
            <a:off x="4748227" y="3173107"/>
            <a:ext cx="0" cy="5208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7" name="Straight Connector 286">
            <a:extLst>
              <a:ext uri="{FF2B5EF4-FFF2-40B4-BE49-F238E27FC236}">
                <a16:creationId xmlns:a16="http://schemas.microsoft.com/office/drawing/2014/main" id="{D39F695A-3914-8066-37E5-2645C0846C16}"/>
              </a:ext>
            </a:extLst>
          </p:cNvPr>
          <p:cNvCxnSpPr>
            <a:cxnSpLocks/>
          </p:cNvCxnSpPr>
          <p:nvPr/>
        </p:nvCxnSpPr>
        <p:spPr>
          <a:xfrm>
            <a:off x="4812809" y="3173107"/>
            <a:ext cx="0" cy="5208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8" name="Straight Connector 287">
            <a:extLst>
              <a:ext uri="{FF2B5EF4-FFF2-40B4-BE49-F238E27FC236}">
                <a16:creationId xmlns:a16="http://schemas.microsoft.com/office/drawing/2014/main" id="{23C41FAC-14CD-E8A2-33E0-4E170F8FF6BC}"/>
              </a:ext>
            </a:extLst>
          </p:cNvPr>
          <p:cNvCxnSpPr>
            <a:cxnSpLocks/>
          </p:cNvCxnSpPr>
          <p:nvPr/>
        </p:nvCxnSpPr>
        <p:spPr>
          <a:xfrm>
            <a:off x="5196289" y="3173107"/>
            <a:ext cx="0" cy="5208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9" name="Straight Connector 288">
            <a:extLst>
              <a:ext uri="{FF2B5EF4-FFF2-40B4-BE49-F238E27FC236}">
                <a16:creationId xmlns:a16="http://schemas.microsoft.com/office/drawing/2014/main" id="{3F46DD66-55E9-99F5-0C6B-551EE2B2CD1C}"/>
              </a:ext>
            </a:extLst>
          </p:cNvPr>
          <p:cNvCxnSpPr>
            <a:cxnSpLocks/>
          </p:cNvCxnSpPr>
          <p:nvPr/>
        </p:nvCxnSpPr>
        <p:spPr>
          <a:xfrm rot="16200000">
            <a:off x="1501437" y="2230041"/>
            <a:ext cx="0" cy="5208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0" name="Straight Connector 289">
            <a:extLst>
              <a:ext uri="{FF2B5EF4-FFF2-40B4-BE49-F238E27FC236}">
                <a16:creationId xmlns:a16="http://schemas.microsoft.com/office/drawing/2014/main" id="{D1A6A7D5-AF7B-3DD0-99BF-C9FE2FF92C8F}"/>
              </a:ext>
            </a:extLst>
          </p:cNvPr>
          <p:cNvCxnSpPr>
            <a:cxnSpLocks/>
          </p:cNvCxnSpPr>
          <p:nvPr/>
        </p:nvCxnSpPr>
        <p:spPr>
          <a:xfrm rot="16200000">
            <a:off x="1622267" y="2323790"/>
            <a:ext cx="0" cy="5208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1" name="Straight Connector 290">
            <a:extLst>
              <a:ext uri="{FF2B5EF4-FFF2-40B4-BE49-F238E27FC236}">
                <a16:creationId xmlns:a16="http://schemas.microsoft.com/office/drawing/2014/main" id="{DE621146-4A25-0BC1-7C0A-3BF00CAF09AA}"/>
              </a:ext>
            </a:extLst>
          </p:cNvPr>
          <p:cNvCxnSpPr>
            <a:cxnSpLocks/>
          </p:cNvCxnSpPr>
          <p:nvPr/>
        </p:nvCxnSpPr>
        <p:spPr>
          <a:xfrm rot="16200000">
            <a:off x="1638934" y="2402955"/>
            <a:ext cx="0" cy="5208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2" name="Straight Connector 291">
            <a:extLst>
              <a:ext uri="{FF2B5EF4-FFF2-40B4-BE49-F238E27FC236}">
                <a16:creationId xmlns:a16="http://schemas.microsoft.com/office/drawing/2014/main" id="{028DC943-2A17-6001-8654-6E2E00722A9C}"/>
              </a:ext>
            </a:extLst>
          </p:cNvPr>
          <p:cNvCxnSpPr>
            <a:cxnSpLocks/>
          </p:cNvCxnSpPr>
          <p:nvPr/>
        </p:nvCxnSpPr>
        <p:spPr>
          <a:xfrm rot="16200000">
            <a:off x="1659767" y="2419622"/>
            <a:ext cx="0" cy="5208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3" name="Straight Connector 292">
            <a:extLst>
              <a:ext uri="{FF2B5EF4-FFF2-40B4-BE49-F238E27FC236}">
                <a16:creationId xmlns:a16="http://schemas.microsoft.com/office/drawing/2014/main" id="{B3929DC8-F471-3DC6-E3AB-061C88AAE180}"/>
              </a:ext>
            </a:extLst>
          </p:cNvPr>
          <p:cNvCxnSpPr>
            <a:cxnSpLocks/>
          </p:cNvCxnSpPr>
          <p:nvPr/>
        </p:nvCxnSpPr>
        <p:spPr>
          <a:xfrm rot="16200000">
            <a:off x="1674350" y="2494620"/>
            <a:ext cx="0" cy="5208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4" name="Straight Connector 293">
            <a:extLst>
              <a:ext uri="{FF2B5EF4-FFF2-40B4-BE49-F238E27FC236}">
                <a16:creationId xmlns:a16="http://schemas.microsoft.com/office/drawing/2014/main" id="{8B22B094-97E4-5C7F-5B4D-7BB62A7DABD9}"/>
              </a:ext>
            </a:extLst>
          </p:cNvPr>
          <p:cNvCxnSpPr>
            <a:cxnSpLocks/>
          </p:cNvCxnSpPr>
          <p:nvPr/>
        </p:nvCxnSpPr>
        <p:spPr>
          <a:xfrm rot="16200000">
            <a:off x="1711849" y="2523786"/>
            <a:ext cx="0" cy="5208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5" name="Straight Connector 294">
            <a:extLst>
              <a:ext uri="{FF2B5EF4-FFF2-40B4-BE49-F238E27FC236}">
                <a16:creationId xmlns:a16="http://schemas.microsoft.com/office/drawing/2014/main" id="{9A4AB0A4-E643-B6A0-BFFC-5912DC7D52CE}"/>
              </a:ext>
            </a:extLst>
          </p:cNvPr>
          <p:cNvCxnSpPr>
            <a:cxnSpLocks/>
          </p:cNvCxnSpPr>
          <p:nvPr/>
        </p:nvCxnSpPr>
        <p:spPr>
          <a:xfrm rot="16200000">
            <a:off x="1922260" y="2632117"/>
            <a:ext cx="0" cy="5208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6" name="Straight Connector 295">
            <a:extLst>
              <a:ext uri="{FF2B5EF4-FFF2-40B4-BE49-F238E27FC236}">
                <a16:creationId xmlns:a16="http://schemas.microsoft.com/office/drawing/2014/main" id="{45300B7B-5C79-866B-86F7-639605A4F3B3}"/>
              </a:ext>
            </a:extLst>
          </p:cNvPr>
          <p:cNvCxnSpPr>
            <a:cxnSpLocks/>
          </p:cNvCxnSpPr>
          <p:nvPr/>
        </p:nvCxnSpPr>
        <p:spPr>
          <a:xfrm rot="16200000">
            <a:off x="1525395" y="2551151"/>
            <a:ext cx="0" cy="52082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297" name="Straight Connector 296">
            <a:extLst>
              <a:ext uri="{FF2B5EF4-FFF2-40B4-BE49-F238E27FC236}">
                <a16:creationId xmlns:a16="http://schemas.microsoft.com/office/drawing/2014/main" id="{9F0E58F2-D746-096B-6E7F-105DF8C7E888}"/>
              </a:ext>
            </a:extLst>
          </p:cNvPr>
          <p:cNvCxnSpPr>
            <a:cxnSpLocks/>
          </p:cNvCxnSpPr>
          <p:nvPr/>
        </p:nvCxnSpPr>
        <p:spPr>
          <a:xfrm rot="16200000">
            <a:off x="1589975" y="2701147"/>
            <a:ext cx="0" cy="52082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298" name="Straight Connector 297">
            <a:extLst>
              <a:ext uri="{FF2B5EF4-FFF2-40B4-BE49-F238E27FC236}">
                <a16:creationId xmlns:a16="http://schemas.microsoft.com/office/drawing/2014/main" id="{3F1D51A4-CD04-0349-2485-48ED85EE423F}"/>
              </a:ext>
            </a:extLst>
          </p:cNvPr>
          <p:cNvCxnSpPr>
            <a:cxnSpLocks/>
          </p:cNvCxnSpPr>
          <p:nvPr/>
        </p:nvCxnSpPr>
        <p:spPr>
          <a:xfrm rot="16200000">
            <a:off x="1637891" y="2834478"/>
            <a:ext cx="0" cy="52082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299" name="Straight Connector 298">
            <a:extLst>
              <a:ext uri="{FF2B5EF4-FFF2-40B4-BE49-F238E27FC236}">
                <a16:creationId xmlns:a16="http://schemas.microsoft.com/office/drawing/2014/main" id="{2C455F45-700B-B5A9-6C02-CDF70C52259E}"/>
              </a:ext>
            </a:extLst>
          </p:cNvPr>
          <p:cNvCxnSpPr>
            <a:cxnSpLocks/>
          </p:cNvCxnSpPr>
          <p:nvPr/>
        </p:nvCxnSpPr>
        <p:spPr>
          <a:xfrm rot="16200000">
            <a:off x="1644140" y="2902303"/>
            <a:ext cx="0" cy="52082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300" name="Straight Connector 299">
            <a:extLst>
              <a:ext uri="{FF2B5EF4-FFF2-40B4-BE49-F238E27FC236}">
                <a16:creationId xmlns:a16="http://schemas.microsoft.com/office/drawing/2014/main" id="{5EBA8301-2C9E-AADA-E7F4-9DD9A4CAA687}"/>
              </a:ext>
            </a:extLst>
          </p:cNvPr>
          <p:cNvCxnSpPr>
            <a:cxnSpLocks/>
          </p:cNvCxnSpPr>
          <p:nvPr/>
        </p:nvCxnSpPr>
        <p:spPr>
          <a:xfrm rot="16200000">
            <a:off x="1648307" y="2934388"/>
            <a:ext cx="0" cy="52082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301" name="Straight Connector 300">
            <a:extLst>
              <a:ext uri="{FF2B5EF4-FFF2-40B4-BE49-F238E27FC236}">
                <a16:creationId xmlns:a16="http://schemas.microsoft.com/office/drawing/2014/main" id="{428F21F3-3DE4-A44D-6948-DD12641A9CDD}"/>
              </a:ext>
            </a:extLst>
          </p:cNvPr>
          <p:cNvCxnSpPr/>
          <p:nvPr/>
        </p:nvCxnSpPr>
        <p:spPr>
          <a:xfrm>
            <a:off x="1675391" y="2952200"/>
            <a:ext cx="0" cy="52082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302" name="Straight Connector 301">
            <a:extLst>
              <a:ext uri="{FF2B5EF4-FFF2-40B4-BE49-F238E27FC236}">
                <a16:creationId xmlns:a16="http://schemas.microsoft.com/office/drawing/2014/main" id="{069912F9-9F23-475B-B4DA-3A5708788218}"/>
              </a:ext>
            </a:extLst>
          </p:cNvPr>
          <p:cNvCxnSpPr/>
          <p:nvPr/>
        </p:nvCxnSpPr>
        <p:spPr>
          <a:xfrm>
            <a:off x="1886844" y="3030644"/>
            <a:ext cx="0" cy="52082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303" name="Straight Connector 302">
            <a:extLst>
              <a:ext uri="{FF2B5EF4-FFF2-40B4-BE49-F238E27FC236}">
                <a16:creationId xmlns:a16="http://schemas.microsoft.com/office/drawing/2014/main" id="{77229DDF-578A-00AC-3F9F-CE13277FAB92}"/>
              </a:ext>
            </a:extLst>
          </p:cNvPr>
          <p:cNvCxnSpPr/>
          <p:nvPr/>
        </p:nvCxnSpPr>
        <p:spPr>
          <a:xfrm>
            <a:off x="1944135" y="3197411"/>
            <a:ext cx="0" cy="52082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304" name="Straight Connector 303">
            <a:extLst>
              <a:ext uri="{FF2B5EF4-FFF2-40B4-BE49-F238E27FC236}">
                <a16:creationId xmlns:a16="http://schemas.microsoft.com/office/drawing/2014/main" id="{04216CD1-2EAC-5000-F079-28DE4A61CA8E}"/>
              </a:ext>
            </a:extLst>
          </p:cNvPr>
          <p:cNvCxnSpPr/>
          <p:nvPr/>
        </p:nvCxnSpPr>
        <p:spPr>
          <a:xfrm>
            <a:off x="1956634" y="3197411"/>
            <a:ext cx="0" cy="52082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305" name="Straight Connector 304">
            <a:extLst>
              <a:ext uri="{FF2B5EF4-FFF2-40B4-BE49-F238E27FC236}">
                <a16:creationId xmlns:a16="http://schemas.microsoft.com/office/drawing/2014/main" id="{A1E43197-3AC0-6764-771A-9ACB7DBF1E5B}"/>
              </a:ext>
            </a:extLst>
          </p:cNvPr>
          <p:cNvCxnSpPr/>
          <p:nvPr/>
        </p:nvCxnSpPr>
        <p:spPr>
          <a:xfrm>
            <a:off x="1971217" y="3197411"/>
            <a:ext cx="0" cy="52082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306" name="Straight Connector 305">
            <a:extLst>
              <a:ext uri="{FF2B5EF4-FFF2-40B4-BE49-F238E27FC236}">
                <a16:creationId xmlns:a16="http://schemas.microsoft.com/office/drawing/2014/main" id="{3764F3F0-685C-6262-D8A1-02D8B5AEA813}"/>
              </a:ext>
            </a:extLst>
          </p:cNvPr>
          <p:cNvCxnSpPr/>
          <p:nvPr/>
        </p:nvCxnSpPr>
        <p:spPr>
          <a:xfrm>
            <a:off x="1983717" y="3197411"/>
            <a:ext cx="0" cy="52082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307" name="Straight Connector 306">
            <a:extLst>
              <a:ext uri="{FF2B5EF4-FFF2-40B4-BE49-F238E27FC236}">
                <a16:creationId xmlns:a16="http://schemas.microsoft.com/office/drawing/2014/main" id="{C64237CE-FCAF-6AFF-F9AD-F3DAEEF732E6}"/>
              </a:ext>
            </a:extLst>
          </p:cNvPr>
          <p:cNvCxnSpPr/>
          <p:nvPr/>
        </p:nvCxnSpPr>
        <p:spPr>
          <a:xfrm>
            <a:off x="1996217" y="3197411"/>
            <a:ext cx="0" cy="52082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308" name="Straight Connector 307">
            <a:extLst>
              <a:ext uri="{FF2B5EF4-FFF2-40B4-BE49-F238E27FC236}">
                <a16:creationId xmlns:a16="http://schemas.microsoft.com/office/drawing/2014/main" id="{006756DA-50C5-3481-E09C-80FF55ACB3E9}"/>
              </a:ext>
            </a:extLst>
          </p:cNvPr>
          <p:cNvCxnSpPr/>
          <p:nvPr/>
        </p:nvCxnSpPr>
        <p:spPr>
          <a:xfrm>
            <a:off x="2104547" y="3229598"/>
            <a:ext cx="0" cy="52082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309" name="Straight Connector 308">
            <a:extLst>
              <a:ext uri="{FF2B5EF4-FFF2-40B4-BE49-F238E27FC236}">
                <a16:creationId xmlns:a16="http://schemas.microsoft.com/office/drawing/2014/main" id="{41F4DFAE-2FAE-CBB6-A7A1-6CC75456260D}"/>
              </a:ext>
            </a:extLst>
          </p:cNvPr>
          <p:cNvCxnSpPr/>
          <p:nvPr/>
        </p:nvCxnSpPr>
        <p:spPr>
          <a:xfrm>
            <a:off x="2217044" y="3269181"/>
            <a:ext cx="0" cy="52082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310" name="Straight Connector 309">
            <a:extLst>
              <a:ext uri="{FF2B5EF4-FFF2-40B4-BE49-F238E27FC236}">
                <a16:creationId xmlns:a16="http://schemas.microsoft.com/office/drawing/2014/main" id="{2FA94775-2955-6392-0A57-D2EA34E57838}"/>
              </a:ext>
            </a:extLst>
          </p:cNvPr>
          <p:cNvCxnSpPr/>
          <p:nvPr/>
        </p:nvCxnSpPr>
        <p:spPr>
          <a:xfrm>
            <a:off x="2425372" y="3349780"/>
            <a:ext cx="0" cy="52082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311" name="Straight Connector 310">
            <a:extLst>
              <a:ext uri="{FF2B5EF4-FFF2-40B4-BE49-F238E27FC236}">
                <a16:creationId xmlns:a16="http://schemas.microsoft.com/office/drawing/2014/main" id="{68DEB821-792C-21BE-0F1D-54E5A2EDBD7D}"/>
              </a:ext>
            </a:extLst>
          </p:cNvPr>
          <p:cNvCxnSpPr/>
          <p:nvPr/>
        </p:nvCxnSpPr>
        <p:spPr>
          <a:xfrm>
            <a:off x="3048273" y="3434212"/>
            <a:ext cx="0" cy="52082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312" name="Straight Connector 311">
            <a:extLst>
              <a:ext uri="{FF2B5EF4-FFF2-40B4-BE49-F238E27FC236}">
                <a16:creationId xmlns:a16="http://schemas.microsoft.com/office/drawing/2014/main" id="{AE258DEC-FB25-2683-2EAC-98ED09163617}"/>
              </a:ext>
            </a:extLst>
          </p:cNvPr>
          <p:cNvCxnSpPr/>
          <p:nvPr/>
        </p:nvCxnSpPr>
        <p:spPr>
          <a:xfrm>
            <a:off x="3056606" y="3434212"/>
            <a:ext cx="0" cy="52082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313" name="Straight Connector 312">
            <a:extLst>
              <a:ext uri="{FF2B5EF4-FFF2-40B4-BE49-F238E27FC236}">
                <a16:creationId xmlns:a16="http://schemas.microsoft.com/office/drawing/2014/main" id="{26BA9949-D118-A4A2-7801-4736AE39546A}"/>
              </a:ext>
            </a:extLst>
          </p:cNvPr>
          <p:cNvCxnSpPr/>
          <p:nvPr/>
        </p:nvCxnSpPr>
        <p:spPr>
          <a:xfrm>
            <a:off x="3514927" y="3444629"/>
            <a:ext cx="0" cy="52082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314" name="Straight Connector 313">
            <a:extLst>
              <a:ext uri="{FF2B5EF4-FFF2-40B4-BE49-F238E27FC236}">
                <a16:creationId xmlns:a16="http://schemas.microsoft.com/office/drawing/2014/main" id="{0F8C2F8E-9C87-0E47-0F3E-38C30874B8D4}"/>
              </a:ext>
            </a:extLst>
          </p:cNvPr>
          <p:cNvCxnSpPr/>
          <p:nvPr/>
        </p:nvCxnSpPr>
        <p:spPr>
          <a:xfrm>
            <a:off x="3069106" y="3434212"/>
            <a:ext cx="0" cy="52082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315" name="Straight Connector 314">
            <a:extLst>
              <a:ext uri="{FF2B5EF4-FFF2-40B4-BE49-F238E27FC236}">
                <a16:creationId xmlns:a16="http://schemas.microsoft.com/office/drawing/2014/main" id="{AB35E12F-A066-019D-9FE9-8E68B83A773C}"/>
              </a:ext>
            </a:extLst>
          </p:cNvPr>
          <p:cNvCxnSpPr/>
          <p:nvPr/>
        </p:nvCxnSpPr>
        <p:spPr>
          <a:xfrm>
            <a:off x="3548261" y="3444629"/>
            <a:ext cx="0" cy="52082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316" name="Straight Connector 315">
            <a:extLst>
              <a:ext uri="{FF2B5EF4-FFF2-40B4-BE49-F238E27FC236}">
                <a16:creationId xmlns:a16="http://schemas.microsoft.com/office/drawing/2014/main" id="{EE818FB1-7970-8712-DD0F-79D76D995613}"/>
              </a:ext>
            </a:extLst>
          </p:cNvPr>
          <p:cNvCxnSpPr/>
          <p:nvPr/>
        </p:nvCxnSpPr>
        <p:spPr>
          <a:xfrm>
            <a:off x="3787838" y="3434212"/>
            <a:ext cx="0" cy="52082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317" name="Straight Connector 316">
            <a:extLst>
              <a:ext uri="{FF2B5EF4-FFF2-40B4-BE49-F238E27FC236}">
                <a16:creationId xmlns:a16="http://schemas.microsoft.com/office/drawing/2014/main" id="{7EB45411-251C-351E-C400-802660C4BD21}"/>
              </a:ext>
            </a:extLst>
          </p:cNvPr>
          <p:cNvCxnSpPr>
            <a:cxnSpLocks/>
          </p:cNvCxnSpPr>
          <p:nvPr/>
        </p:nvCxnSpPr>
        <p:spPr>
          <a:xfrm>
            <a:off x="3944083" y="3434212"/>
            <a:ext cx="0" cy="52082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318" name="Straight Connector 317">
            <a:extLst>
              <a:ext uri="{FF2B5EF4-FFF2-40B4-BE49-F238E27FC236}">
                <a16:creationId xmlns:a16="http://schemas.microsoft.com/office/drawing/2014/main" id="{8DCC429D-6496-51B1-E4CA-92F84A8491D9}"/>
              </a:ext>
            </a:extLst>
          </p:cNvPr>
          <p:cNvCxnSpPr>
            <a:cxnSpLocks/>
          </p:cNvCxnSpPr>
          <p:nvPr/>
        </p:nvCxnSpPr>
        <p:spPr>
          <a:xfrm>
            <a:off x="4635652" y="3575422"/>
            <a:ext cx="0" cy="52082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320" name="Free-form: Shape 319">
            <a:extLst>
              <a:ext uri="{FF2B5EF4-FFF2-40B4-BE49-F238E27FC236}">
                <a16:creationId xmlns:a16="http://schemas.microsoft.com/office/drawing/2014/main" id="{6C021B18-F59A-C5D4-9A34-6FBD6A1323DF}"/>
              </a:ext>
            </a:extLst>
          </p:cNvPr>
          <p:cNvSpPr/>
          <p:nvPr/>
        </p:nvSpPr>
        <p:spPr>
          <a:xfrm>
            <a:off x="1372809" y="2111892"/>
            <a:ext cx="672736" cy="694351"/>
          </a:xfrm>
          <a:custGeom>
            <a:avLst/>
            <a:gdLst>
              <a:gd name="csX0" fmla="*/ 0 w 1300162"/>
              <a:gd name="csY0" fmla="*/ 0 h 1262063"/>
              <a:gd name="csX1" fmla="*/ 80962 w 1300162"/>
              <a:gd name="csY1" fmla="*/ 0 h 1262063"/>
              <a:gd name="csX2" fmla="*/ 80962 w 1300162"/>
              <a:gd name="csY2" fmla="*/ 38100 h 1262063"/>
              <a:gd name="csX3" fmla="*/ 114300 w 1300162"/>
              <a:gd name="csY3" fmla="*/ 38100 h 1262063"/>
              <a:gd name="csX4" fmla="*/ 114300 w 1300162"/>
              <a:gd name="csY4" fmla="*/ 66675 h 1262063"/>
              <a:gd name="csX5" fmla="*/ 133350 w 1300162"/>
              <a:gd name="csY5" fmla="*/ 66675 h 1262063"/>
              <a:gd name="csX6" fmla="*/ 133350 w 1300162"/>
              <a:gd name="csY6" fmla="*/ 114300 h 1262063"/>
              <a:gd name="csX7" fmla="*/ 161925 w 1300162"/>
              <a:gd name="csY7" fmla="*/ 114300 h 1262063"/>
              <a:gd name="csX8" fmla="*/ 161925 w 1300162"/>
              <a:gd name="csY8" fmla="*/ 138113 h 1262063"/>
              <a:gd name="csX9" fmla="*/ 204787 w 1300162"/>
              <a:gd name="csY9" fmla="*/ 138113 h 1262063"/>
              <a:gd name="csX10" fmla="*/ 204787 w 1300162"/>
              <a:gd name="csY10" fmla="*/ 171450 h 1262063"/>
              <a:gd name="csX11" fmla="*/ 228600 w 1300162"/>
              <a:gd name="csY11" fmla="*/ 171450 h 1262063"/>
              <a:gd name="csX12" fmla="*/ 228600 w 1300162"/>
              <a:gd name="csY12" fmla="*/ 252413 h 1262063"/>
              <a:gd name="csX13" fmla="*/ 247650 w 1300162"/>
              <a:gd name="csY13" fmla="*/ 252413 h 1262063"/>
              <a:gd name="csX14" fmla="*/ 247650 w 1300162"/>
              <a:gd name="csY14" fmla="*/ 271463 h 1262063"/>
              <a:gd name="csX15" fmla="*/ 276225 w 1300162"/>
              <a:gd name="csY15" fmla="*/ 271463 h 1262063"/>
              <a:gd name="csX16" fmla="*/ 276225 w 1300162"/>
              <a:gd name="csY16" fmla="*/ 357188 h 1262063"/>
              <a:gd name="csX17" fmla="*/ 309562 w 1300162"/>
              <a:gd name="csY17" fmla="*/ 357188 h 1262063"/>
              <a:gd name="csX18" fmla="*/ 309562 w 1300162"/>
              <a:gd name="csY18" fmla="*/ 376238 h 1262063"/>
              <a:gd name="csX19" fmla="*/ 357187 w 1300162"/>
              <a:gd name="csY19" fmla="*/ 376238 h 1262063"/>
              <a:gd name="csX20" fmla="*/ 357187 w 1300162"/>
              <a:gd name="csY20" fmla="*/ 395288 h 1262063"/>
              <a:gd name="csX21" fmla="*/ 404812 w 1300162"/>
              <a:gd name="csY21" fmla="*/ 395288 h 1262063"/>
              <a:gd name="csX22" fmla="*/ 404812 w 1300162"/>
              <a:gd name="csY22" fmla="*/ 419100 h 1262063"/>
              <a:gd name="csX23" fmla="*/ 442912 w 1300162"/>
              <a:gd name="csY23" fmla="*/ 419100 h 1262063"/>
              <a:gd name="csX24" fmla="*/ 442912 w 1300162"/>
              <a:gd name="csY24" fmla="*/ 471488 h 1262063"/>
              <a:gd name="csX25" fmla="*/ 481012 w 1300162"/>
              <a:gd name="csY25" fmla="*/ 471488 h 1262063"/>
              <a:gd name="csX26" fmla="*/ 481012 w 1300162"/>
              <a:gd name="csY26" fmla="*/ 561975 h 1262063"/>
              <a:gd name="csX27" fmla="*/ 514350 w 1300162"/>
              <a:gd name="csY27" fmla="*/ 561975 h 1262063"/>
              <a:gd name="csX28" fmla="*/ 514350 w 1300162"/>
              <a:gd name="csY28" fmla="*/ 666750 h 1262063"/>
              <a:gd name="csX29" fmla="*/ 547687 w 1300162"/>
              <a:gd name="csY29" fmla="*/ 666750 h 1262063"/>
              <a:gd name="csX30" fmla="*/ 547687 w 1300162"/>
              <a:gd name="csY30" fmla="*/ 723900 h 1262063"/>
              <a:gd name="csX31" fmla="*/ 585787 w 1300162"/>
              <a:gd name="csY31" fmla="*/ 723900 h 1262063"/>
              <a:gd name="csX32" fmla="*/ 585787 w 1300162"/>
              <a:gd name="csY32" fmla="*/ 819150 h 1262063"/>
              <a:gd name="csX33" fmla="*/ 757237 w 1300162"/>
              <a:gd name="csY33" fmla="*/ 819150 h 1262063"/>
              <a:gd name="csX34" fmla="*/ 757237 w 1300162"/>
              <a:gd name="csY34" fmla="*/ 866775 h 1262063"/>
              <a:gd name="csX35" fmla="*/ 857250 w 1300162"/>
              <a:gd name="csY35" fmla="*/ 866775 h 1262063"/>
              <a:gd name="csX36" fmla="*/ 857250 w 1300162"/>
              <a:gd name="csY36" fmla="*/ 890588 h 1262063"/>
              <a:gd name="csX37" fmla="*/ 957262 w 1300162"/>
              <a:gd name="csY37" fmla="*/ 890588 h 1262063"/>
              <a:gd name="csX38" fmla="*/ 957262 w 1300162"/>
              <a:gd name="csY38" fmla="*/ 985838 h 1262063"/>
              <a:gd name="csX39" fmla="*/ 1014412 w 1300162"/>
              <a:gd name="csY39" fmla="*/ 985838 h 1262063"/>
              <a:gd name="csX40" fmla="*/ 1014412 w 1300162"/>
              <a:gd name="csY40" fmla="*/ 1062038 h 1262063"/>
              <a:gd name="csX41" fmla="*/ 1052512 w 1300162"/>
              <a:gd name="csY41" fmla="*/ 1062038 h 1262063"/>
              <a:gd name="csX42" fmla="*/ 1052512 w 1300162"/>
              <a:gd name="csY42" fmla="*/ 1081088 h 1262063"/>
              <a:gd name="csX43" fmla="*/ 1085850 w 1300162"/>
              <a:gd name="csY43" fmla="*/ 1081088 h 1262063"/>
              <a:gd name="csX44" fmla="*/ 1085850 w 1300162"/>
              <a:gd name="csY44" fmla="*/ 1143000 h 1262063"/>
              <a:gd name="csX45" fmla="*/ 1143000 w 1300162"/>
              <a:gd name="csY45" fmla="*/ 1143000 h 1262063"/>
              <a:gd name="csX46" fmla="*/ 1143000 w 1300162"/>
              <a:gd name="csY46" fmla="*/ 1176338 h 1262063"/>
              <a:gd name="csX47" fmla="*/ 1185862 w 1300162"/>
              <a:gd name="csY47" fmla="*/ 1176338 h 1262063"/>
              <a:gd name="csX48" fmla="*/ 1185862 w 1300162"/>
              <a:gd name="csY48" fmla="*/ 1223963 h 1262063"/>
              <a:gd name="csX49" fmla="*/ 1209675 w 1300162"/>
              <a:gd name="csY49" fmla="*/ 1223963 h 1262063"/>
              <a:gd name="csX50" fmla="*/ 1223962 w 1300162"/>
              <a:gd name="csY50" fmla="*/ 1238250 h 1262063"/>
              <a:gd name="csX51" fmla="*/ 1300162 w 1300162"/>
              <a:gd name="csY51" fmla="*/ 1238250 h 1262063"/>
              <a:gd name="csX52" fmla="*/ 1300162 w 1300162"/>
              <a:gd name="csY52" fmla="*/ 1262063 h 1262063"/>
              <a:gd name="csX0" fmla="*/ 0 w 1300162"/>
              <a:gd name="csY0" fmla="*/ 0 h 1262063"/>
              <a:gd name="csX1" fmla="*/ 80962 w 1300162"/>
              <a:gd name="csY1" fmla="*/ 0 h 1262063"/>
              <a:gd name="csX2" fmla="*/ 80962 w 1300162"/>
              <a:gd name="csY2" fmla="*/ 38100 h 1262063"/>
              <a:gd name="csX3" fmla="*/ 114300 w 1300162"/>
              <a:gd name="csY3" fmla="*/ 38100 h 1262063"/>
              <a:gd name="csX4" fmla="*/ 114300 w 1300162"/>
              <a:gd name="csY4" fmla="*/ 66675 h 1262063"/>
              <a:gd name="csX5" fmla="*/ 133350 w 1300162"/>
              <a:gd name="csY5" fmla="*/ 66675 h 1262063"/>
              <a:gd name="csX6" fmla="*/ 133350 w 1300162"/>
              <a:gd name="csY6" fmla="*/ 114300 h 1262063"/>
              <a:gd name="csX7" fmla="*/ 161925 w 1300162"/>
              <a:gd name="csY7" fmla="*/ 114300 h 1262063"/>
              <a:gd name="csX8" fmla="*/ 161925 w 1300162"/>
              <a:gd name="csY8" fmla="*/ 138113 h 1262063"/>
              <a:gd name="csX9" fmla="*/ 204787 w 1300162"/>
              <a:gd name="csY9" fmla="*/ 138113 h 1262063"/>
              <a:gd name="csX10" fmla="*/ 204787 w 1300162"/>
              <a:gd name="csY10" fmla="*/ 171450 h 1262063"/>
              <a:gd name="csX11" fmla="*/ 228600 w 1300162"/>
              <a:gd name="csY11" fmla="*/ 171450 h 1262063"/>
              <a:gd name="csX12" fmla="*/ 228600 w 1300162"/>
              <a:gd name="csY12" fmla="*/ 252413 h 1262063"/>
              <a:gd name="csX13" fmla="*/ 247650 w 1300162"/>
              <a:gd name="csY13" fmla="*/ 252413 h 1262063"/>
              <a:gd name="csX14" fmla="*/ 247650 w 1300162"/>
              <a:gd name="csY14" fmla="*/ 271463 h 1262063"/>
              <a:gd name="csX15" fmla="*/ 276225 w 1300162"/>
              <a:gd name="csY15" fmla="*/ 271463 h 1262063"/>
              <a:gd name="csX16" fmla="*/ 276225 w 1300162"/>
              <a:gd name="csY16" fmla="*/ 357188 h 1262063"/>
              <a:gd name="csX17" fmla="*/ 309562 w 1300162"/>
              <a:gd name="csY17" fmla="*/ 357188 h 1262063"/>
              <a:gd name="csX18" fmla="*/ 309562 w 1300162"/>
              <a:gd name="csY18" fmla="*/ 376238 h 1262063"/>
              <a:gd name="csX19" fmla="*/ 357187 w 1300162"/>
              <a:gd name="csY19" fmla="*/ 376238 h 1262063"/>
              <a:gd name="csX20" fmla="*/ 357187 w 1300162"/>
              <a:gd name="csY20" fmla="*/ 395288 h 1262063"/>
              <a:gd name="csX21" fmla="*/ 404812 w 1300162"/>
              <a:gd name="csY21" fmla="*/ 395288 h 1262063"/>
              <a:gd name="csX22" fmla="*/ 404812 w 1300162"/>
              <a:gd name="csY22" fmla="*/ 419100 h 1262063"/>
              <a:gd name="csX23" fmla="*/ 442912 w 1300162"/>
              <a:gd name="csY23" fmla="*/ 419100 h 1262063"/>
              <a:gd name="csX24" fmla="*/ 442912 w 1300162"/>
              <a:gd name="csY24" fmla="*/ 471488 h 1262063"/>
              <a:gd name="csX25" fmla="*/ 481012 w 1300162"/>
              <a:gd name="csY25" fmla="*/ 471488 h 1262063"/>
              <a:gd name="csX26" fmla="*/ 481012 w 1300162"/>
              <a:gd name="csY26" fmla="*/ 561975 h 1262063"/>
              <a:gd name="csX27" fmla="*/ 514350 w 1300162"/>
              <a:gd name="csY27" fmla="*/ 561975 h 1262063"/>
              <a:gd name="csX28" fmla="*/ 514350 w 1300162"/>
              <a:gd name="csY28" fmla="*/ 666750 h 1262063"/>
              <a:gd name="csX29" fmla="*/ 547687 w 1300162"/>
              <a:gd name="csY29" fmla="*/ 666750 h 1262063"/>
              <a:gd name="csX30" fmla="*/ 547687 w 1300162"/>
              <a:gd name="csY30" fmla="*/ 723900 h 1262063"/>
              <a:gd name="csX31" fmla="*/ 585787 w 1300162"/>
              <a:gd name="csY31" fmla="*/ 723900 h 1262063"/>
              <a:gd name="csX32" fmla="*/ 585787 w 1300162"/>
              <a:gd name="csY32" fmla="*/ 819150 h 1262063"/>
              <a:gd name="csX33" fmla="*/ 757237 w 1300162"/>
              <a:gd name="csY33" fmla="*/ 819150 h 1262063"/>
              <a:gd name="csX34" fmla="*/ 757237 w 1300162"/>
              <a:gd name="csY34" fmla="*/ 866775 h 1262063"/>
              <a:gd name="csX35" fmla="*/ 857250 w 1300162"/>
              <a:gd name="csY35" fmla="*/ 866775 h 1262063"/>
              <a:gd name="csX36" fmla="*/ 857250 w 1300162"/>
              <a:gd name="csY36" fmla="*/ 890588 h 1262063"/>
              <a:gd name="csX37" fmla="*/ 957262 w 1300162"/>
              <a:gd name="csY37" fmla="*/ 890588 h 1262063"/>
              <a:gd name="csX38" fmla="*/ 957262 w 1300162"/>
              <a:gd name="csY38" fmla="*/ 985838 h 1262063"/>
              <a:gd name="csX39" fmla="*/ 1014412 w 1300162"/>
              <a:gd name="csY39" fmla="*/ 985838 h 1262063"/>
              <a:gd name="csX40" fmla="*/ 1014412 w 1300162"/>
              <a:gd name="csY40" fmla="*/ 1062038 h 1262063"/>
              <a:gd name="csX41" fmla="*/ 1052512 w 1300162"/>
              <a:gd name="csY41" fmla="*/ 1062038 h 1262063"/>
              <a:gd name="csX42" fmla="*/ 1052512 w 1300162"/>
              <a:gd name="csY42" fmla="*/ 1081088 h 1262063"/>
              <a:gd name="csX43" fmla="*/ 1085850 w 1300162"/>
              <a:gd name="csY43" fmla="*/ 1081088 h 1262063"/>
              <a:gd name="csX44" fmla="*/ 1085850 w 1300162"/>
              <a:gd name="csY44" fmla="*/ 1143000 h 1262063"/>
              <a:gd name="csX45" fmla="*/ 1143000 w 1300162"/>
              <a:gd name="csY45" fmla="*/ 1143000 h 1262063"/>
              <a:gd name="csX46" fmla="*/ 1143000 w 1300162"/>
              <a:gd name="csY46" fmla="*/ 1176338 h 1262063"/>
              <a:gd name="csX47" fmla="*/ 1185862 w 1300162"/>
              <a:gd name="csY47" fmla="*/ 1176338 h 1262063"/>
              <a:gd name="csX48" fmla="*/ 1185862 w 1300162"/>
              <a:gd name="csY48" fmla="*/ 1223963 h 1262063"/>
              <a:gd name="csX49" fmla="*/ 1223962 w 1300162"/>
              <a:gd name="csY49" fmla="*/ 1238250 h 1262063"/>
              <a:gd name="csX50" fmla="*/ 1300162 w 1300162"/>
              <a:gd name="csY50" fmla="*/ 1238250 h 1262063"/>
              <a:gd name="csX51" fmla="*/ 1300162 w 1300162"/>
              <a:gd name="csY51" fmla="*/ 1262063 h 1262063"/>
              <a:gd name="csX0" fmla="*/ 0 w 1300162"/>
              <a:gd name="csY0" fmla="*/ 0 h 1238250"/>
              <a:gd name="csX1" fmla="*/ 80962 w 1300162"/>
              <a:gd name="csY1" fmla="*/ 0 h 1238250"/>
              <a:gd name="csX2" fmla="*/ 80962 w 1300162"/>
              <a:gd name="csY2" fmla="*/ 38100 h 1238250"/>
              <a:gd name="csX3" fmla="*/ 114300 w 1300162"/>
              <a:gd name="csY3" fmla="*/ 38100 h 1238250"/>
              <a:gd name="csX4" fmla="*/ 114300 w 1300162"/>
              <a:gd name="csY4" fmla="*/ 66675 h 1238250"/>
              <a:gd name="csX5" fmla="*/ 133350 w 1300162"/>
              <a:gd name="csY5" fmla="*/ 66675 h 1238250"/>
              <a:gd name="csX6" fmla="*/ 133350 w 1300162"/>
              <a:gd name="csY6" fmla="*/ 114300 h 1238250"/>
              <a:gd name="csX7" fmla="*/ 161925 w 1300162"/>
              <a:gd name="csY7" fmla="*/ 114300 h 1238250"/>
              <a:gd name="csX8" fmla="*/ 161925 w 1300162"/>
              <a:gd name="csY8" fmla="*/ 138113 h 1238250"/>
              <a:gd name="csX9" fmla="*/ 204787 w 1300162"/>
              <a:gd name="csY9" fmla="*/ 138113 h 1238250"/>
              <a:gd name="csX10" fmla="*/ 204787 w 1300162"/>
              <a:gd name="csY10" fmla="*/ 171450 h 1238250"/>
              <a:gd name="csX11" fmla="*/ 228600 w 1300162"/>
              <a:gd name="csY11" fmla="*/ 171450 h 1238250"/>
              <a:gd name="csX12" fmla="*/ 228600 w 1300162"/>
              <a:gd name="csY12" fmla="*/ 252413 h 1238250"/>
              <a:gd name="csX13" fmla="*/ 247650 w 1300162"/>
              <a:gd name="csY13" fmla="*/ 252413 h 1238250"/>
              <a:gd name="csX14" fmla="*/ 247650 w 1300162"/>
              <a:gd name="csY14" fmla="*/ 271463 h 1238250"/>
              <a:gd name="csX15" fmla="*/ 276225 w 1300162"/>
              <a:gd name="csY15" fmla="*/ 271463 h 1238250"/>
              <a:gd name="csX16" fmla="*/ 276225 w 1300162"/>
              <a:gd name="csY16" fmla="*/ 357188 h 1238250"/>
              <a:gd name="csX17" fmla="*/ 309562 w 1300162"/>
              <a:gd name="csY17" fmla="*/ 357188 h 1238250"/>
              <a:gd name="csX18" fmla="*/ 309562 w 1300162"/>
              <a:gd name="csY18" fmla="*/ 376238 h 1238250"/>
              <a:gd name="csX19" fmla="*/ 357187 w 1300162"/>
              <a:gd name="csY19" fmla="*/ 376238 h 1238250"/>
              <a:gd name="csX20" fmla="*/ 357187 w 1300162"/>
              <a:gd name="csY20" fmla="*/ 395288 h 1238250"/>
              <a:gd name="csX21" fmla="*/ 404812 w 1300162"/>
              <a:gd name="csY21" fmla="*/ 395288 h 1238250"/>
              <a:gd name="csX22" fmla="*/ 404812 w 1300162"/>
              <a:gd name="csY22" fmla="*/ 419100 h 1238250"/>
              <a:gd name="csX23" fmla="*/ 442912 w 1300162"/>
              <a:gd name="csY23" fmla="*/ 419100 h 1238250"/>
              <a:gd name="csX24" fmla="*/ 442912 w 1300162"/>
              <a:gd name="csY24" fmla="*/ 471488 h 1238250"/>
              <a:gd name="csX25" fmla="*/ 481012 w 1300162"/>
              <a:gd name="csY25" fmla="*/ 471488 h 1238250"/>
              <a:gd name="csX26" fmla="*/ 481012 w 1300162"/>
              <a:gd name="csY26" fmla="*/ 561975 h 1238250"/>
              <a:gd name="csX27" fmla="*/ 514350 w 1300162"/>
              <a:gd name="csY27" fmla="*/ 561975 h 1238250"/>
              <a:gd name="csX28" fmla="*/ 514350 w 1300162"/>
              <a:gd name="csY28" fmla="*/ 666750 h 1238250"/>
              <a:gd name="csX29" fmla="*/ 547687 w 1300162"/>
              <a:gd name="csY29" fmla="*/ 666750 h 1238250"/>
              <a:gd name="csX30" fmla="*/ 547687 w 1300162"/>
              <a:gd name="csY30" fmla="*/ 723900 h 1238250"/>
              <a:gd name="csX31" fmla="*/ 585787 w 1300162"/>
              <a:gd name="csY31" fmla="*/ 723900 h 1238250"/>
              <a:gd name="csX32" fmla="*/ 585787 w 1300162"/>
              <a:gd name="csY32" fmla="*/ 819150 h 1238250"/>
              <a:gd name="csX33" fmla="*/ 757237 w 1300162"/>
              <a:gd name="csY33" fmla="*/ 819150 h 1238250"/>
              <a:gd name="csX34" fmla="*/ 757237 w 1300162"/>
              <a:gd name="csY34" fmla="*/ 866775 h 1238250"/>
              <a:gd name="csX35" fmla="*/ 857250 w 1300162"/>
              <a:gd name="csY35" fmla="*/ 866775 h 1238250"/>
              <a:gd name="csX36" fmla="*/ 857250 w 1300162"/>
              <a:gd name="csY36" fmla="*/ 890588 h 1238250"/>
              <a:gd name="csX37" fmla="*/ 957262 w 1300162"/>
              <a:gd name="csY37" fmla="*/ 890588 h 1238250"/>
              <a:gd name="csX38" fmla="*/ 957262 w 1300162"/>
              <a:gd name="csY38" fmla="*/ 985838 h 1238250"/>
              <a:gd name="csX39" fmla="*/ 1014412 w 1300162"/>
              <a:gd name="csY39" fmla="*/ 985838 h 1238250"/>
              <a:gd name="csX40" fmla="*/ 1014412 w 1300162"/>
              <a:gd name="csY40" fmla="*/ 1062038 h 1238250"/>
              <a:gd name="csX41" fmla="*/ 1052512 w 1300162"/>
              <a:gd name="csY41" fmla="*/ 1062038 h 1238250"/>
              <a:gd name="csX42" fmla="*/ 1052512 w 1300162"/>
              <a:gd name="csY42" fmla="*/ 1081088 h 1238250"/>
              <a:gd name="csX43" fmla="*/ 1085850 w 1300162"/>
              <a:gd name="csY43" fmla="*/ 1081088 h 1238250"/>
              <a:gd name="csX44" fmla="*/ 1085850 w 1300162"/>
              <a:gd name="csY44" fmla="*/ 1143000 h 1238250"/>
              <a:gd name="csX45" fmla="*/ 1143000 w 1300162"/>
              <a:gd name="csY45" fmla="*/ 1143000 h 1238250"/>
              <a:gd name="csX46" fmla="*/ 1143000 w 1300162"/>
              <a:gd name="csY46" fmla="*/ 1176338 h 1238250"/>
              <a:gd name="csX47" fmla="*/ 1185862 w 1300162"/>
              <a:gd name="csY47" fmla="*/ 1176338 h 1238250"/>
              <a:gd name="csX48" fmla="*/ 1185862 w 1300162"/>
              <a:gd name="csY48" fmla="*/ 1223963 h 1238250"/>
              <a:gd name="csX49" fmla="*/ 1223962 w 1300162"/>
              <a:gd name="csY49" fmla="*/ 1238250 h 1238250"/>
              <a:gd name="csX50" fmla="*/ 1300162 w 1300162"/>
              <a:gd name="csY50" fmla="*/ 1238250 h 1238250"/>
              <a:gd name="csX0" fmla="*/ 0 w 1223962"/>
              <a:gd name="csY0" fmla="*/ 0 h 1238250"/>
              <a:gd name="csX1" fmla="*/ 80962 w 1223962"/>
              <a:gd name="csY1" fmla="*/ 0 h 1238250"/>
              <a:gd name="csX2" fmla="*/ 80962 w 1223962"/>
              <a:gd name="csY2" fmla="*/ 38100 h 1238250"/>
              <a:gd name="csX3" fmla="*/ 114300 w 1223962"/>
              <a:gd name="csY3" fmla="*/ 38100 h 1238250"/>
              <a:gd name="csX4" fmla="*/ 114300 w 1223962"/>
              <a:gd name="csY4" fmla="*/ 66675 h 1238250"/>
              <a:gd name="csX5" fmla="*/ 133350 w 1223962"/>
              <a:gd name="csY5" fmla="*/ 66675 h 1238250"/>
              <a:gd name="csX6" fmla="*/ 133350 w 1223962"/>
              <a:gd name="csY6" fmla="*/ 114300 h 1238250"/>
              <a:gd name="csX7" fmla="*/ 161925 w 1223962"/>
              <a:gd name="csY7" fmla="*/ 114300 h 1238250"/>
              <a:gd name="csX8" fmla="*/ 161925 w 1223962"/>
              <a:gd name="csY8" fmla="*/ 138113 h 1238250"/>
              <a:gd name="csX9" fmla="*/ 204787 w 1223962"/>
              <a:gd name="csY9" fmla="*/ 138113 h 1238250"/>
              <a:gd name="csX10" fmla="*/ 204787 w 1223962"/>
              <a:gd name="csY10" fmla="*/ 171450 h 1238250"/>
              <a:gd name="csX11" fmla="*/ 228600 w 1223962"/>
              <a:gd name="csY11" fmla="*/ 171450 h 1238250"/>
              <a:gd name="csX12" fmla="*/ 228600 w 1223962"/>
              <a:gd name="csY12" fmla="*/ 252413 h 1238250"/>
              <a:gd name="csX13" fmla="*/ 247650 w 1223962"/>
              <a:gd name="csY13" fmla="*/ 252413 h 1238250"/>
              <a:gd name="csX14" fmla="*/ 247650 w 1223962"/>
              <a:gd name="csY14" fmla="*/ 271463 h 1238250"/>
              <a:gd name="csX15" fmla="*/ 276225 w 1223962"/>
              <a:gd name="csY15" fmla="*/ 271463 h 1238250"/>
              <a:gd name="csX16" fmla="*/ 276225 w 1223962"/>
              <a:gd name="csY16" fmla="*/ 357188 h 1238250"/>
              <a:gd name="csX17" fmla="*/ 309562 w 1223962"/>
              <a:gd name="csY17" fmla="*/ 357188 h 1238250"/>
              <a:gd name="csX18" fmla="*/ 309562 w 1223962"/>
              <a:gd name="csY18" fmla="*/ 376238 h 1238250"/>
              <a:gd name="csX19" fmla="*/ 357187 w 1223962"/>
              <a:gd name="csY19" fmla="*/ 376238 h 1238250"/>
              <a:gd name="csX20" fmla="*/ 357187 w 1223962"/>
              <a:gd name="csY20" fmla="*/ 395288 h 1238250"/>
              <a:gd name="csX21" fmla="*/ 404812 w 1223962"/>
              <a:gd name="csY21" fmla="*/ 395288 h 1238250"/>
              <a:gd name="csX22" fmla="*/ 404812 w 1223962"/>
              <a:gd name="csY22" fmla="*/ 419100 h 1238250"/>
              <a:gd name="csX23" fmla="*/ 442912 w 1223962"/>
              <a:gd name="csY23" fmla="*/ 419100 h 1238250"/>
              <a:gd name="csX24" fmla="*/ 442912 w 1223962"/>
              <a:gd name="csY24" fmla="*/ 471488 h 1238250"/>
              <a:gd name="csX25" fmla="*/ 481012 w 1223962"/>
              <a:gd name="csY25" fmla="*/ 471488 h 1238250"/>
              <a:gd name="csX26" fmla="*/ 481012 w 1223962"/>
              <a:gd name="csY26" fmla="*/ 561975 h 1238250"/>
              <a:gd name="csX27" fmla="*/ 514350 w 1223962"/>
              <a:gd name="csY27" fmla="*/ 561975 h 1238250"/>
              <a:gd name="csX28" fmla="*/ 514350 w 1223962"/>
              <a:gd name="csY28" fmla="*/ 666750 h 1238250"/>
              <a:gd name="csX29" fmla="*/ 547687 w 1223962"/>
              <a:gd name="csY29" fmla="*/ 666750 h 1238250"/>
              <a:gd name="csX30" fmla="*/ 547687 w 1223962"/>
              <a:gd name="csY30" fmla="*/ 723900 h 1238250"/>
              <a:gd name="csX31" fmla="*/ 585787 w 1223962"/>
              <a:gd name="csY31" fmla="*/ 723900 h 1238250"/>
              <a:gd name="csX32" fmla="*/ 585787 w 1223962"/>
              <a:gd name="csY32" fmla="*/ 819150 h 1238250"/>
              <a:gd name="csX33" fmla="*/ 757237 w 1223962"/>
              <a:gd name="csY33" fmla="*/ 819150 h 1238250"/>
              <a:gd name="csX34" fmla="*/ 757237 w 1223962"/>
              <a:gd name="csY34" fmla="*/ 866775 h 1238250"/>
              <a:gd name="csX35" fmla="*/ 857250 w 1223962"/>
              <a:gd name="csY35" fmla="*/ 866775 h 1238250"/>
              <a:gd name="csX36" fmla="*/ 857250 w 1223962"/>
              <a:gd name="csY36" fmla="*/ 890588 h 1238250"/>
              <a:gd name="csX37" fmla="*/ 957262 w 1223962"/>
              <a:gd name="csY37" fmla="*/ 890588 h 1238250"/>
              <a:gd name="csX38" fmla="*/ 957262 w 1223962"/>
              <a:gd name="csY38" fmla="*/ 985838 h 1238250"/>
              <a:gd name="csX39" fmla="*/ 1014412 w 1223962"/>
              <a:gd name="csY39" fmla="*/ 985838 h 1238250"/>
              <a:gd name="csX40" fmla="*/ 1014412 w 1223962"/>
              <a:gd name="csY40" fmla="*/ 1062038 h 1238250"/>
              <a:gd name="csX41" fmla="*/ 1052512 w 1223962"/>
              <a:gd name="csY41" fmla="*/ 1062038 h 1238250"/>
              <a:gd name="csX42" fmla="*/ 1052512 w 1223962"/>
              <a:gd name="csY42" fmla="*/ 1081088 h 1238250"/>
              <a:gd name="csX43" fmla="*/ 1085850 w 1223962"/>
              <a:gd name="csY43" fmla="*/ 1081088 h 1238250"/>
              <a:gd name="csX44" fmla="*/ 1085850 w 1223962"/>
              <a:gd name="csY44" fmla="*/ 1143000 h 1238250"/>
              <a:gd name="csX45" fmla="*/ 1143000 w 1223962"/>
              <a:gd name="csY45" fmla="*/ 1143000 h 1238250"/>
              <a:gd name="csX46" fmla="*/ 1143000 w 1223962"/>
              <a:gd name="csY46" fmla="*/ 1176338 h 1238250"/>
              <a:gd name="csX47" fmla="*/ 1185862 w 1223962"/>
              <a:gd name="csY47" fmla="*/ 1176338 h 1238250"/>
              <a:gd name="csX48" fmla="*/ 1185862 w 1223962"/>
              <a:gd name="csY48" fmla="*/ 1223963 h 1238250"/>
              <a:gd name="csX49" fmla="*/ 1223962 w 1223962"/>
              <a:gd name="csY49" fmla="*/ 1238250 h 1238250"/>
              <a:gd name="csX0" fmla="*/ 0 w 1185862"/>
              <a:gd name="csY0" fmla="*/ 0 h 1223963"/>
              <a:gd name="csX1" fmla="*/ 80962 w 1185862"/>
              <a:gd name="csY1" fmla="*/ 0 h 1223963"/>
              <a:gd name="csX2" fmla="*/ 80962 w 1185862"/>
              <a:gd name="csY2" fmla="*/ 38100 h 1223963"/>
              <a:gd name="csX3" fmla="*/ 114300 w 1185862"/>
              <a:gd name="csY3" fmla="*/ 38100 h 1223963"/>
              <a:gd name="csX4" fmla="*/ 114300 w 1185862"/>
              <a:gd name="csY4" fmla="*/ 66675 h 1223963"/>
              <a:gd name="csX5" fmla="*/ 133350 w 1185862"/>
              <a:gd name="csY5" fmla="*/ 66675 h 1223963"/>
              <a:gd name="csX6" fmla="*/ 133350 w 1185862"/>
              <a:gd name="csY6" fmla="*/ 114300 h 1223963"/>
              <a:gd name="csX7" fmla="*/ 161925 w 1185862"/>
              <a:gd name="csY7" fmla="*/ 114300 h 1223963"/>
              <a:gd name="csX8" fmla="*/ 161925 w 1185862"/>
              <a:gd name="csY8" fmla="*/ 138113 h 1223963"/>
              <a:gd name="csX9" fmla="*/ 204787 w 1185862"/>
              <a:gd name="csY9" fmla="*/ 138113 h 1223963"/>
              <a:gd name="csX10" fmla="*/ 204787 w 1185862"/>
              <a:gd name="csY10" fmla="*/ 171450 h 1223963"/>
              <a:gd name="csX11" fmla="*/ 228600 w 1185862"/>
              <a:gd name="csY11" fmla="*/ 171450 h 1223963"/>
              <a:gd name="csX12" fmla="*/ 228600 w 1185862"/>
              <a:gd name="csY12" fmla="*/ 252413 h 1223963"/>
              <a:gd name="csX13" fmla="*/ 247650 w 1185862"/>
              <a:gd name="csY13" fmla="*/ 252413 h 1223963"/>
              <a:gd name="csX14" fmla="*/ 247650 w 1185862"/>
              <a:gd name="csY14" fmla="*/ 271463 h 1223963"/>
              <a:gd name="csX15" fmla="*/ 276225 w 1185862"/>
              <a:gd name="csY15" fmla="*/ 271463 h 1223963"/>
              <a:gd name="csX16" fmla="*/ 276225 w 1185862"/>
              <a:gd name="csY16" fmla="*/ 357188 h 1223963"/>
              <a:gd name="csX17" fmla="*/ 309562 w 1185862"/>
              <a:gd name="csY17" fmla="*/ 357188 h 1223963"/>
              <a:gd name="csX18" fmla="*/ 309562 w 1185862"/>
              <a:gd name="csY18" fmla="*/ 376238 h 1223963"/>
              <a:gd name="csX19" fmla="*/ 357187 w 1185862"/>
              <a:gd name="csY19" fmla="*/ 376238 h 1223963"/>
              <a:gd name="csX20" fmla="*/ 357187 w 1185862"/>
              <a:gd name="csY20" fmla="*/ 395288 h 1223963"/>
              <a:gd name="csX21" fmla="*/ 404812 w 1185862"/>
              <a:gd name="csY21" fmla="*/ 395288 h 1223963"/>
              <a:gd name="csX22" fmla="*/ 404812 w 1185862"/>
              <a:gd name="csY22" fmla="*/ 419100 h 1223963"/>
              <a:gd name="csX23" fmla="*/ 442912 w 1185862"/>
              <a:gd name="csY23" fmla="*/ 419100 h 1223963"/>
              <a:gd name="csX24" fmla="*/ 442912 w 1185862"/>
              <a:gd name="csY24" fmla="*/ 471488 h 1223963"/>
              <a:gd name="csX25" fmla="*/ 481012 w 1185862"/>
              <a:gd name="csY25" fmla="*/ 471488 h 1223963"/>
              <a:gd name="csX26" fmla="*/ 481012 w 1185862"/>
              <a:gd name="csY26" fmla="*/ 561975 h 1223963"/>
              <a:gd name="csX27" fmla="*/ 514350 w 1185862"/>
              <a:gd name="csY27" fmla="*/ 561975 h 1223963"/>
              <a:gd name="csX28" fmla="*/ 514350 w 1185862"/>
              <a:gd name="csY28" fmla="*/ 666750 h 1223963"/>
              <a:gd name="csX29" fmla="*/ 547687 w 1185862"/>
              <a:gd name="csY29" fmla="*/ 666750 h 1223963"/>
              <a:gd name="csX30" fmla="*/ 547687 w 1185862"/>
              <a:gd name="csY30" fmla="*/ 723900 h 1223963"/>
              <a:gd name="csX31" fmla="*/ 585787 w 1185862"/>
              <a:gd name="csY31" fmla="*/ 723900 h 1223963"/>
              <a:gd name="csX32" fmla="*/ 585787 w 1185862"/>
              <a:gd name="csY32" fmla="*/ 819150 h 1223963"/>
              <a:gd name="csX33" fmla="*/ 757237 w 1185862"/>
              <a:gd name="csY33" fmla="*/ 819150 h 1223963"/>
              <a:gd name="csX34" fmla="*/ 757237 w 1185862"/>
              <a:gd name="csY34" fmla="*/ 866775 h 1223963"/>
              <a:gd name="csX35" fmla="*/ 857250 w 1185862"/>
              <a:gd name="csY35" fmla="*/ 866775 h 1223963"/>
              <a:gd name="csX36" fmla="*/ 857250 w 1185862"/>
              <a:gd name="csY36" fmla="*/ 890588 h 1223963"/>
              <a:gd name="csX37" fmla="*/ 957262 w 1185862"/>
              <a:gd name="csY37" fmla="*/ 890588 h 1223963"/>
              <a:gd name="csX38" fmla="*/ 957262 w 1185862"/>
              <a:gd name="csY38" fmla="*/ 985838 h 1223963"/>
              <a:gd name="csX39" fmla="*/ 1014412 w 1185862"/>
              <a:gd name="csY39" fmla="*/ 985838 h 1223963"/>
              <a:gd name="csX40" fmla="*/ 1014412 w 1185862"/>
              <a:gd name="csY40" fmla="*/ 1062038 h 1223963"/>
              <a:gd name="csX41" fmla="*/ 1052512 w 1185862"/>
              <a:gd name="csY41" fmla="*/ 1062038 h 1223963"/>
              <a:gd name="csX42" fmla="*/ 1052512 w 1185862"/>
              <a:gd name="csY42" fmla="*/ 1081088 h 1223963"/>
              <a:gd name="csX43" fmla="*/ 1085850 w 1185862"/>
              <a:gd name="csY43" fmla="*/ 1081088 h 1223963"/>
              <a:gd name="csX44" fmla="*/ 1085850 w 1185862"/>
              <a:gd name="csY44" fmla="*/ 1143000 h 1223963"/>
              <a:gd name="csX45" fmla="*/ 1143000 w 1185862"/>
              <a:gd name="csY45" fmla="*/ 1143000 h 1223963"/>
              <a:gd name="csX46" fmla="*/ 1143000 w 1185862"/>
              <a:gd name="csY46" fmla="*/ 1176338 h 1223963"/>
              <a:gd name="csX47" fmla="*/ 1185862 w 1185862"/>
              <a:gd name="csY47" fmla="*/ 1176338 h 1223963"/>
              <a:gd name="csX48" fmla="*/ 1185862 w 1185862"/>
              <a:gd name="csY48" fmla="*/ 1223963 h 122396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</a:cxnLst>
            <a:rect l="l" t="t" r="r" b="b"/>
            <a:pathLst>
              <a:path w="1185862" h="1223963">
                <a:moveTo>
                  <a:pt x="0" y="0"/>
                </a:moveTo>
                <a:lnTo>
                  <a:pt x="80962" y="0"/>
                </a:lnTo>
                <a:lnTo>
                  <a:pt x="80962" y="38100"/>
                </a:lnTo>
                <a:lnTo>
                  <a:pt x="114300" y="38100"/>
                </a:lnTo>
                <a:lnTo>
                  <a:pt x="114300" y="66675"/>
                </a:lnTo>
                <a:lnTo>
                  <a:pt x="133350" y="66675"/>
                </a:lnTo>
                <a:lnTo>
                  <a:pt x="133350" y="114300"/>
                </a:lnTo>
                <a:lnTo>
                  <a:pt x="161925" y="114300"/>
                </a:lnTo>
                <a:lnTo>
                  <a:pt x="161925" y="138113"/>
                </a:lnTo>
                <a:lnTo>
                  <a:pt x="204787" y="138113"/>
                </a:lnTo>
                <a:lnTo>
                  <a:pt x="204787" y="171450"/>
                </a:lnTo>
                <a:lnTo>
                  <a:pt x="228600" y="171450"/>
                </a:lnTo>
                <a:lnTo>
                  <a:pt x="228600" y="252413"/>
                </a:lnTo>
                <a:lnTo>
                  <a:pt x="247650" y="252413"/>
                </a:lnTo>
                <a:lnTo>
                  <a:pt x="247650" y="271463"/>
                </a:lnTo>
                <a:lnTo>
                  <a:pt x="276225" y="271463"/>
                </a:lnTo>
                <a:lnTo>
                  <a:pt x="276225" y="357188"/>
                </a:lnTo>
                <a:lnTo>
                  <a:pt x="309562" y="357188"/>
                </a:lnTo>
                <a:lnTo>
                  <a:pt x="309562" y="376238"/>
                </a:lnTo>
                <a:lnTo>
                  <a:pt x="357187" y="376238"/>
                </a:lnTo>
                <a:lnTo>
                  <a:pt x="357187" y="395288"/>
                </a:lnTo>
                <a:lnTo>
                  <a:pt x="404812" y="395288"/>
                </a:lnTo>
                <a:lnTo>
                  <a:pt x="404812" y="419100"/>
                </a:lnTo>
                <a:lnTo>
                  <a:pt x="442912" y="419100"/>
                </a:lnTo>
                <a:lnTo>
                  <a:pt x="442912" y="471488"/>
                </a:lnTo>
                <a:lnTo>
                  <a:pt x="481012" y="471488"/>
                </a:lnTo>
                <a:lnTo>
                  <a:pt x="481012" y="561975"/>
                </a:lnTo>
                <a:lnTo>
                  <a:pt x="514350" y="561975"/>
                </a:lnTo>
                <a:lnTo>
                  <a:pt x="514350" y="666750"/>
                </a:lnTo>
                <a:lnTo>
                  <a:pt x="547687" y="666750"/>
                </a:lnTo>
                <a:lnTo>
                  <a:pt x="547687" y="723900"/>
                </a:lnTo>
                <a:lnTo>
                  <a:pt x="585787" y="723900"/>
                </a:lnTo>
                <a:lnTo>
                  <a:pt x="585787" y="819150"/>
                </a:lnTo>
                <a:lnTo>
                  <a:pt x="757237" y="819150"/>
                </a:lnTo>
                <a:lnTo>
                  <a:pt x="757237" y="866775"/>
                </a:lnTo>
                <a:lnTo>
                  <a:pt x="857250" y="866775"/>
                </a:lnTo>
                <a:lnTo>
                  <a:pt x="857250" y="890588"/>
                </a:lnTo>
                <a:lnTo>
                  <a:pt x="957262" y="890588"/>
                </a:lnTo>
                <a:lnTo>
                  <a:pt x="957262" y="985838"/>
                </a:lnTo>
                <a:lnTo>
                  <a:pt x="1014412" y="985838"/>
                </a:lnTo>
                <a:lnTo>
                  <a:pt x="1014412" y="1062038"/>
                </a:lnTo>
                <a:lnTo>
                  <a:pt x="1052512" y="1062038"/>
                </a:lnTo>
                <a:lnTo>
                  <a:pt x="1052512" y="1081088"/>
                </a:lnTo>
                <a:lnTo>
                  <a:pt x="1085850" y="1081088"/>
                </a:lnTo>
                <a:lnTo>
                  <a:pt x="1085850" y="1143000"/>
                </a:lnTo>
                <a:lnTo>
                  <a:pt x="1143000" y="1143000"/>
                </a:lnTo>
                <a:lnTo>
                  <a:pt x="1143000" y="1176338"/>
                </a:lnTo>
                <a:lnTo>
                  <a:pt x="1185862" y="1176338"/>
                </a:lnTo>
                <a:lnTo>
                  <a:pt x="1185862" y="1223963"/>
                </a:lnTo>
              </a:path>
            </a:pathLst>
          </a:cu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1" name="Free-form: Shape 320">
            <a:extLst>
              <a:ext uri="{FF2B5EF4-FFF2-40B4-BE49-F238E27FC236}">
                <a16:creationId xmlns:a16="http://schemas.microsoft.com/office/drawing/2014/main" id="{A8CF0EF6-2679-0B84-4BC0-76FB0EEA3770}"/>
              </a:ext>
            </a:extLst>
          </p:cNvPr>
          <p:cNvSpPr/>
          <p:nvPr/>
        </p:nvSpPr>
        <p:spPr>
          <a:xfrm>
            <a:off x="2044341" y="2801067"/>
            <a:ext cx="1770788" cy="299993"/>
          </a:xfrm>
          <a:custGeom>
            <a:avLst/>
            <a:gdLst>
              <a:gd name="csX0" fmla="*/ 0 w 3139808"/>
              <a:gd name="csY0" fmla="*/ 0 h 635306"/>
              <a:gd name="csX1" fmla="*/ 51413 w 3139808"/>
              <a:gd name="csY1" fmla="*/ 0 h 635306"/>
              <a:gd name="csX2" fmla="*/ 51413 w 3139808"/>
              <a:gd name="csY2" fmla="*/ 36723 h 635306"/>
              <a:gd name="csX3" fmla="*/ 113841 w 3139808"/>
              <a:gd name="csY3" fmla="*/ 36723 h 635306"/>
              <a:gd name="csX4" fmla="*/ 286439 w 3139808"/>
              <a:gd name="csY4" fmla="*/ 36723 h 635306"/>
              <a:gd name="csX5" fmla="*/ 286439 w 3139808"/>
              <a:gd name="csY5" fmla="*/ 69774 h 635306"/>
              <a:gd name="csX6" fmla="*/ 348868 w 3139808"/>
              <a:gd name="csY6" fmla="*/ 69774 h 635306"/>
              <a:gd name="csX7" fmla="*/ 348868 w 3139808"/>
              <a:gd name="csY7" fmla="*/ 106497 h 635306"/>
              <a:gd name="csX8" fmla="*/ 411297 w 3139808"/>
              <a:gd name="csY8" fmla="*/ 106497 h 635306"/>
              <a:gd name="csX9" fmla="*/ 411297 w 3139808"/>
              <a:gd name="csY9" fmla="*/ 168925 h 635306"/>
              <a:gd name="csX10" fmla="*/ 484743 w 3139808"/>
              <a:gd name="csY10" fmla="*/ 168925 h 635306"/>
              <a:gd name="csX11" fmla="*/ 484743 w 3139808"/>
              <a:gd name="csY11" fmla="*/ 212993 h 635306"/>
              <a:gd name="csX12" fmla="*/ 635306 w 3139808"/>
              <a:gd name="csY12" fmla="*/ 212993 h 635306"/>
              <a:gd name="csX13" fmla="*/ 635306 w 3139808"/>
              <a:gd name="csY13" fmla="*/ 260733 h 635306"/>
              <a:gd name="csX14" fmla="*/ 910728 w 3139808"/>
              <a:gd name="csY14" fmla="*/ 260733 h 635306"/>
              <a:gd name="csX15" fmla="*/ 910728 w 3139808"/>
              <a:gd name="csY15" fmla="*/ 293783 h 635306"/>
              <a:gd name="csX16" fmla="*/ 1050275 w 3139808"/>
              <a:gd name="csY16" fmla="*/ 293783 h 635306"/>
              <a:gd name="csX17" fmla="*/ 1050275 w 3139808"/>
              <a:gd name="csY17" fmla="*/ 319489 h 635306"/>
              <a:gd name="csX18" fmla="*/ 1299991 w 3139808"/>
              <a:gd name="csY18" fmla="*/ 319489 h 635306"/>
              <a:gd name="csX19" fmla="*/ 1299991 w 3139808"/>
              <a:gd name="csY19" fmla="*/ 356212 h 635306"/>
              <a:gd name="csX20" fmla="*/ 1446882 w 3139808"/>
              <a:gd name="csY20" fmla="*/ 356212 h 635306"/>
              <a:gd name="csX21" fmla="*/ 1446882 w 3139808"/>
              <a:gd name="csY21" fmla="*/ 378246 h 635306"/>
              <a:gd name="csX22" fmla="*/ 1568068 w 3139808"/>
              <a:gd name="csY22" fmla="*/ 378246 h 635306"/>
              <a:gd name="csX23" fmla="*/ 1568068 w 3139808"/>
              <a:gd name="csY23" fmla="*/ 407624 h 635306"/>
              <a:gd name="csX24" fmla="*/ 1755355 w 3139808"/>
              <a:gd name="csY24" fmla="*/ 407624 h 635306"/>
              <a:gd name="csX25" fmla="*/ 1755355 w 3139808"/>
              <a:gd name="csY25" fmla="*/ 433330 h 635306"/>
              <a:gd name="csX26" fmla="*/ 1972020 w 3139808"/>
              <a:gd name="csY26" fmla="*/ 433330 h 635306"/>
              <a:gd name="csX27" fmla="*/ 1972020 w 3139808"/>
              <a:gd name="csY27" fmla="*/ 462709 h 635306"/>
              <a:gd name="csX28" fmla="*/ 2346593 w 3139808"/>
              <a:gd name="csY28" fmla="*/ 462709 h 635306"/>
              <a:gd name="csX29" fmla="*/ 2346593 w 3139808"/>
              <a:gd name="csY29" fmla="*/ 503104 h 635306"/>
              <a:gd name="csX30" fmla="*/ 2379644 w 3139808"/>
              <a:gd name="csY30" fmla="*/ 503104 h 635306"/>
              <a:gd name="csX31" fmla="*/ 2379644 w 3139808"/>
              <a:gd name="csY31" fmla="*/ 528810 h 635306"/>
              <a:gd name="csX32" fmla="*/ 3121446 w 3139808"/>
              <a:gd name="csY32" fmla="*/ 528810 h 635306"/>
              <a:gd name="csX33" fmla="*/ 3139808 w 3139808"/>
              <a:gd name="csY33" fmla="*/ 547172 h 635306"/>
              <a:gd name="csX34" fmla="*/ 3139808 w 3139808"/>
              <a:gd name="csY34" fmla="*/ 635306 h 635306"/>
              <a:gd name="csX0" fmla="*/ 0 w 3139808"/>
              <a:gd name="csY0" fmla="*/ 0 h 547172"/>
              <a:gd name="csX1" fmla="*/ 51413 w 3139808"/>
              <a:gd name="csY1" fmla="*/ 0 h 547172"/>
              <a:gd name="csX2" fmla="*/ 51413 w 3139808"/>
              <a:gd name="csY2" fmla="*/ 36723 h 547172"/>
              <a:gd name="csX3" fmla="*/ 113841 w 3139808"/>
              <a:gd name="csY3" fmla="*/ 36723 h 547172"/>
              <a:gd name="csX4" fmla="*/ 286439 w 3139808"/>
              <a:gd name="csY4" fmla="*/ 36723 h 547172"/>
              <a:gd name="csX5" fmla="*/ 286439 w 3139808"/>
              <a:gd name="csY5" fmla="*/ 69774 h 547172"/>
              <a:gd name="csX6" fmla="*/ 348868 w 3139808"/>
              <a:gd name="csY6" fmla="*/ 69774 h 547172"/>
              <a:gd name="csX7" fmla="*/ 348868 w 3139808"/>
              <a:gd name="csY7" fmla="*/ 106497 h 547172"/>
              <a:gd name="csX8" fmla="*/ 411297 w 3139808"/>
              <a:gd name="csY8" fmla="*/ 106497 h 547172"/>
              <a:gd name="csX9" fmla="*/ 411297 w 3139808"/>
              <a:gd name="csY9" fmla="*/ 168925 h 547172"/>
              <a:gd name="csX10" fmla="*/ 484743 w 3139808"/>
              <a:gd name="csY10" fmla="*/ 168925 h 547172"/>
              <a:gd name="csX11" fmla="*/ 484743 w 3139808"/>
              <a:gd name="csY11" fmla="*/ 212993 h 547172"/>
              <a:gd name="csX12" fmla="*/ 635306 w 3139808"/>
              <a:gd name="csY12" fmla="*/ 212993 h 547172"/>
              <a:gd name="csX13" fmla="*/ 635306 w 3139808"/>
              <a:gd name="csY13" fmla="*/ 260733 h 547172"/>
              <a:gd name="csX14" fmla="*/ 910728 w 3139808"/>
              <a:gd name="csY14" fmla="*/ 260733 h 547172"/>
              <a:gd name="csX15" fmla="*/ 910728 w 3139808"/>
              <a:gd name="csY15" fmla="*/ 293783 h 547172"/>
              <a:gd name="csX16" fmla="*/ 1050275 w 3139808"/>
              <a:gd name="csY16" fmla="*/ 293783 h 547172"/>
              <a:gd name="csX17" fmla="*/ 1050275 w 3139808"/>
              <a:gd name="csY17" fmla="*/ 319489 h 547172"/>
              <a:gd name="csX18" fmla="*/ 1299991 w 3139808"/>
              <a:gd name="csY18" fmla="*/ 319489 h 547172"/>
              <a:gd name="csX19" fmla="*/ 1299991 w 3139808"/>
              <a:gd name="csY19" fmla="*/ 356212 h 547172"/>
              <a:gd name="csX20" fmla="*/ 1446882 w 3139808"/>
              <a:gd name="csY20" fmla="*/ 356212 h 547172"/>
              <a:gd name="csX21" fmla="*/ 1446882 w 3139808"/>
              <a:gd name="csY21" fmla="*/ 378246 h 547172"/>
              <a:gd name="csX22" fmla="*/ 1568068 w 3139808"/>
              <a:gd name="csY22" fmla="*/ 378246 h 547172"/>
              <a:gd name="csX23" fmla="*/ 1568068 w 3139808"/>
              <a:gd name="csY23" fmla="*/ 407624 h 547172"/>
              <a:gd name="csX24" fmla="*/ 1755355 w 3139808"/>
              <a:gd name="csY24" fmla="*/ 407624 h 547172"/>
              <a:gd name="csX25" fmla="*/ 1755355 w 3139808"/>
              <a:gd name="csY25" fmla="*/ 433330 h 547172"/>
              <a:gd name="csX26" fmla="*/ 1972020 w 3139808"/>
              <a:gd name="csY26" fmla="*/ 433330 h 547172"/>
              <a:gd name="csX27" fmla="*/ 1972020 w 3139808"/>
              <a:gd name="csY27" fmla="*/ 462709 h 547172"/>
              <a:gd name="csX28" fmla="*/ 2346593 w 3139808"/>
              <a:gd name="csY28" fmla="*/ 462709 h 547172"/>
              <a:gd name="csX29" fmla="*/ 2346593 w 3139808"/>
              <a:gd name="csY29" fmla="*/ 503104 h 547172"/>
              <a:gd name="csX30" fmla="*/ 2379644 w 3139808"/>
              <a:gd name="csY30" fmla="*/ 503104 h 547172"/>
              <a:gd name="csX31" fmla="*/ 2379644 w 3139808"/>
              <a:gd name="csY31" fmla="*/ 528810 h 547172"/>
              <a:gd name="csX32" fmla="*/ 3121446 w 3139808"/>
              <a:gd name="csY32" fmla="*/ 528810 h 547172"/>
              <a:gd name="csX33" fmla="*/ 3139808 w 3139808"/>
              <a:gd name="csY33" fmla="*/ 547172 h 547172"/>
              <a:gd name="csX0" fmla="*/ 0 w 3514381"/>
              <a:gd name="csY0" fmla="*/ 0 h 536155"/>
              <a:gd name="csX1" fmla="*/ 51413 w 3514381"/>
              <a:gd name="csY1" fmla="*/ 0 h 536155"/>
              <a:gd name="csX2" fmla="*/ 51413 w 3514381"/>
              <a:gd name="csY2" fmla="*/ 36723 h 536155"/>
              <a:gd name="csX3" fmla="*/ 113841 w 3514381"/>
              <a:gd name="csY3" fmla="*/ 36723 h 536155"/>
              <a:gd name="csX4" fmla="*/ 286439 w 3514381"/>
              <a:gd name="csY4" fmla="*/ 36723 h 536155"/>
              <a:gd name="csX5" fmla="*/ 286439 w 3514381"/>
              <a:gd name="csY5" fmla="*/ 69774 h 536155"/>
              <a:gd name="csX6" fmla="*/ 348868 w 3514381"/>
              <a:gd name="csY6" fmla="*/ 69774 h 536155"/>
              <a:gd name="csX7" fmla="*/ 348868 w 3514381"/>
              <a:gd name="csY7" fmla="*/ 106497 h 536155"/>
              <a:gd name="csX8" fmla="*/ 411297 w 3514381"/>
              <a:gd name="csY8" fmla="*/ 106497 h 536155"/>
              <a:gd name="csX9" fmla="*/ 411297 w 3514381"/>
              <a:gd name="csY9" fmla="*/ 168925 h 536155"/>
              <a:gd name="csX10" fmla="*/ 484743 w 3514381"/>
              <a:gd name="csY10" fmla="*/ 168925 h 536155"/>
              <a:gd name="csX11" fmla="*/ 484743 w 3514381"/>
              <a:gd name="csY11" fmla="*/ 212993 h 536155"/>
              <a:gd name="csX12" fmla="*/ 635306 w 3514381"/>
              <a:gd name="csY12" fmla="*/ 212993 h 536155"/>
              <a:gd name="csX13" fmla="*/ 635306 w 3514381"/>
              <a:gd name="csY13" fmla="*/ 260733 h 536155"/>
              <a:gd name="csX14" fmla="*/ 910728 w 3514381"/>
              <a:gd name="csY14" fmla="*/ 260733 h 536155"/>
              <a:gd name="csX15" fmla="*/ 910728 w 3514381"/>
              <a:gd name="csY15" fmla="*/ 293783 h 536155"/>
              <a:gd name="csX16" fmla="*/ 1050275 w 3514381"/>
              <a:gd name="csY16" fmla="*/ 293783 h 536155"/>
              <a:gd name="csX17" fmla="*/ 1050275 w 3514381"/>
              <a:gd name="csY17" fmla="*/ 319489 h 536155"/>
              <a:gd name="csX18" fmla="*/ 1299991 w 3514381"/>
              <a:gd name="csY18" fmla="*/ 319489 h 536155"/>
              <a:gd name="csX19" fmla="*/ 1299991 w 3514381"/>
              <a:gd name="csY19" fmla="*/ 356212 h 536155"/>
              <a:gd name="csX20" fmla="*/ 1446882 w 3514381"/>
              <a:gd name="csY20" fmla="*/ 356212 h 536155"/>
              <a:gd name="csX21" fmla="*/ 1446882 w 3514381"/>
              <a:gd name="csY21" fmla="*/ 378246 h 536155"/>
              <a:gd name="csX22" fmla="*/ 1568068 w 3514381"/>
              <a:gd name="csY22" fmla="*/ 378246 h 536155"/>
              <a:gd name="csX23" fmla="*/ 1568068 w 3514381"/>
              <a:gd name="csY23" fmla="*/ 407624 h 536155"/>
              <a:gd name="csX24" fmla="*/ 1755355 w 3514381"/>
              <a:gd name="csY24" fmla="*/ 407624 h 536155"/>
              <a:gd name="csX25" fmla="*/ 1755355 w 3514381"/>
              <a:gd name="csY25" fmla="*/ 433330 h 536155"/>
              <a:gd name="csX26" fmla="*/ 1972020 w 3514381"/>
              <a:gd name="csY26" fmla="*/ 433330 h 536155"/>
              <a:gd name="csX27" fmla="*/ 1972020 w 3514381"/>
              <a:gd name="csY27" fmla="*/ 462709 h 536155"/>
              <a:gd name="csX28" fmla="*/ 2346593 w 3514381"/>
              <a:gd name="csY28" fmla="*/ 462709 h 536155"/>
              <a:gd name="csX29" fmla="*/ 2346593 w 3514381"/>
              <a:gd name="csY29" fmla="*/ 503104 h 536155"/>
              <a:gd name="csX30" fmla="*/ 2379644 w 3514381"/>
              <a:gd name="csY30" fmla="*/ 503104 h 536155"/>
              <a:gd name="csX31" fmla="*/ 2379644 w 3514381"/>
              <a:gd name="csY31" fmla="*/ 528810 h 536155"/>
              <a:gd name="csX32" fmla="*/ 3121446 w 3514381"/>
              <a:gd name="csY32" fmla="*/ 528810 h 536155"/>
              <a:gd name="csX33" fmla="*/ 3514381 w 3514381"/>
              <a:gd name="csY33" fmla="*/ 536155 h 536155"/>
              <a:gd name="csX0" fmla="*/ 0 w 3510708"/>
              <a:gd name="csY0" fmla="*/ 0 h 528810"/>
              <a:gd name="csX1" fmla="*/ 51413 w 3510708"/>
              <a:gd name="csY1" fmla="*/ 0 h 528810"/>
              <a:gd name="csX2" fmla="*/ 51413 w 3510708"/>
              <a:gd name="csY2" fmla="*/ 36723 h 528810"/>
              <a:gd name="csX3" fmla="*/ 113841 w 3510708"/>
              <a:gd name="csY3" fmla="*/ 36723 h 528810"/>
              <a:gd name="csX4" fmla="*/ 286439 w 3510708"/>
              <a:gd name="csY4" fmla="*/ 36723 h 528810"/>
              <a:gd name="csX5" fmla="*/ 286439 w 3510708"/>
              <a:gd name="csY5" fmla="*/ 69774 h 528810"/>
              <a:gd name="csX6" fmla="*/ 348868 w 3510708"/>
              <a:gd name="csY6" fmla="*/ 69774 h 528810"/>
              <a:gd name="csX7" fmla="*/ 348868 w 3510708"/>
              <a:gd name="csY7" fmla="*/ 106497 h 528810"/>
              <a:gd name="csX8" fmla="*/ 411297 w 3510708"/>
              <a:gd name="csY8" fmla="*/ 106497 h 528810"/>
              <a:gd name="csX9" fmla="*/ 411297 w 3510708"/>
              <a:gd name="csY9" fmla="*/ 168925 h 528810"/>
              <a:gd name="csX10" fmla="*/ 484743 w 3510708"/>
              <a:gd name="csY10" fmla="*/ 168925 h 528810"/>
              <a:gd name="csX11" fmla="*/ 484743 w 3510708"/>
              <a:gd name="csY11" fmla="*/ 212993 h 528810"/>
              <a:gd name="csX12" fmla="*/ 635306 w 3510708"/>
              <a:gd name="csY12" fmla="*/ 212993 h 528810"/>
              <a:gd name="csX13" fmla="*/ 635306 w 3510708"/>
              <a:gd name="csY13" fmla="*/ 260733 h 528810"/>
              <a:gd name="csX14" fmla="*/ 910728 w 3510708"/>
              <a:gd name="csY14" fmla="*/ 260733 h 528810"/>
              <a:gd name="csX15" fmla="*/ 910728 w 3510708"/>
              <a:gd name="csY15" fmla="*/ 293783 h 528810"/>
              <a:gd name="csX16" fmla="*/ 1050275 w 3510708"/>
              <a:gd name="csY16" fmla="*/ 293783 h 528810"/>
              <a:gd name="csX17" fmla="*/ 1050275 w 3510708"/>
              <a:gd name="csY17" fmla="*/ 319489 h 528810"/>
              <a:gd name="csX18" fmla="*/ 1299991 w 3510708"/>
              <a:gd name="csY18" fmla="*/ 319489 h 528810"/>
              <a:gd name="csX19" fmla="*/ 1299991 w 3510708"/>
              <a:gd name="csY19" fmla="*/ 356212 h 528810"/>
              <a:gd name="csX20" fmla="*/ 1446882 w 3510708"/>
              <a:gd name="csY20" fmla="*/ 356212 h 528810"/>
              <a:gd name="csX21" fmla="*/ 1446882 w 3510708"/>
              <a:gd name="csY21" fmla="*/ 378246 h 528810"/>
              <a:gd name="csX22" fmla="*/ 1568068 w 3510708"/>
              <a:gd name="csY22" fmla="*/ 378246 h 528810"/>
              <a:gd name="csX23" fmla="*/ 1568068 w 3510708"/>
              <a:gd name="csY23" fmla="*/ 407624 h 528810"/>
              <a:gd name="csX24" fmla="*/ 1755355 w 3510708"/>
              <a:gd name="csY24" fmla="*/ 407624 h 528810"/>
              <a:gd name="csX25" fmla="*/ 1755355 w 3510708"/>
              <a:gd name="csY25" fmla="*/ 433330 h 528810"/>
              <a:gd name="csX26" fmla="*/ 1972020 w 3510708"/>
              <a:gd name="csY26" fmla="*/ 433330 h 528810"/>
              <a:gd name="csX27" fmla="*/ 1972020 w 3510708"/>
              <a:gd name="csY27" fmla="*/ 462709 h 528810"/>
              <a:gd name="csX28" fmla="*/ 2346593 w 3510708"/>
              <a:gd name="csY28" fmla="*/ 462709 h 528810"/>
              <a:gd name="csX29" fmla="*/ 2346593 w 3510708"/>
              <a:gd name="csY29" fmla="*/ 503104 h 528810"/>
              <a:gd name="csX30" fmla="*/ 2379644 w 3510708"/>
              <a:gd name="csY30" fmla="*/ 503104 h 528810"/>
              <a:gd name="csX31" fmla="*/ 2379644 w 3510708"/>
              <a:gd name="csY31" fmla="*/ 528810 h 528810"/>
              <a:gd name="csX32" fmla="*/ 3121446 w 3510708"/>
              <a:gd name="csY32" fmla="*/ 528810 h 528810"/>
              <a:gd name="csX33" fmla="*/ 3510708 w 3510708"/>
              <a:gd name="csY33" fmla="*/ 525138 h 528810"/>
              <a:gd name="csX0" fmla="*/ 0 w 3121446"/>
              <a:gd name="csY0" fmla="*/ 0 h 528810"/>
              <a:gd name="csX1" fmla="*/ 51413 w 3121446"/>
              <a:gd name="csY1" fmla="*/ 0 h 528810"/>
              <a:gd name="csX2" fmla="*/ 51413 w 3121446"/>
              <a:gd name="csY2" fmla="*/ 36723 h 528810"/>
              <a:gd name="csX3" fmla="*/ 113841 w 3121446"/>
              <a:gd name="csY3" fmla="*/ 36723 h 528810"/>
              <a:gd name="csX4" fmla="*/ 286439 w 3121446"/>
              <a:gd name="csY4" fmla="*/ 36723 h 528810"/>
              <a:gd name="csX5" fmla="*/ 286439 w 3121446"/>
              <a:gd name="csY5" fmla="*/ 69774 h 528810"/>
              <a:gd name="csX6" fmla="*/ 348868 w 3121446"/>
              <a:gd name="csY6" fmla="*/ 69774 h 528810"/>
              <a:gd name="csX7" fmla="*/ 348868 w 3121446"/>
              <a:gd name="csY7" fmla="*/ 106497 h 528810"/>
              <a:gd name="csX8" fmla="*/ 411297 w 3121446"/>
              <a:gd name="csY8" fmla="*/ 106497 h 528810"/>
              <a:gd name="csX9" fmla="*/ 411297 w 3121446"/>
              <a:gd name="csY9" fmla="*/ 168925 h 528810"/>
              <a:gd name="csX10" fmla="*/ 484743 w 3121446"/>
              <a:gd name="csY10" fmla="*/ 168925 h 528810"/>
              <a:gd name="csX11" fmla="*/ 484743 w 3121446"/>
              <a:gd name="csY11" fmla="*/ 212993 h 528810"/>
              <a:gd name="csX12" fmla="*/ 635306 w 3121446"/>
              <a:gd name="csY12" fmla="*/ 212993 h 528810"/>
              <a:gd name="csX13" fmla="*/ 635306 w 3121446"/>
              <a:gd name="csY13" fmla="*/ 260733 h 528810"/>
              <a:gd name="csX14" fmla="*/ 910728 w 3121446"/>
              <a:gd name="csY14" fmla="*/ 260733 h 528810"/>
              <a:gd name="csX15" fmla="*/ 910728 w 3121446"/>
              <a:gd name="csY15" fmla="*/ 293783 h 528810"/>
              <a:gd name="csX16" fmla="*/ 1050275 w 3121446"/>
              <a:gd name="csY16" fmla="*/ 293783 h 528810"/>
              <a:gd name="csX17" fmla="*/ 1050275 w 3121446"/>
              <a:gd name="csY17" fmla="*/ 319489 h 528810"/>
              <a:gd name="csX18" fmla="*/ 1299991 w 3121446"/>
              <a:gd name="csY18" fmla="*/ 319489 h 528810"/>
              <a:gd name="csX19" fmla="*/ 1299991 w 3121446"/>
              <a:gd name="csY19" fmla="*/ 356212 h 528810"/>
              <a:gd name="csX20" fmla="*/ 1446882 w 3121446"/>
              <a:gd name="csY20" fmla="*/ 356212 h 528810"/>
              <a:gd name="csX21" fmla="*/ 1446882 w 3121446"/>
              <a:gd name="csY21" fmla="*/ 378246 h 528810"/>
              <a:gd name="csX22" fmla="*/ 1568068 w 3121446"/>
              <a:gd name="csY22" fmla="*/ 378246 h 528810"/>
              <a:gd name="csX23" fmla="*/ 1568068 w 3121446"/>
              <a:gd name="csY23" fmla="*/ 407624 h 528810"/>
              <a:gd name="csX24" fmla="*/ 1755355 w 3121446"/>
              <a:gd name="csY24" fmla="*/ 407624 h 528810"/>
              <a:gd name="csX25" fmla="*/ 1755355 w 3121446"/>
              <a:gd name="csY25" fmla="*/ 433330 h 528810"/>
              <a:gd name="csX26" fmla="*/ 1972020 w 3121446"/>
              <a:gd name="csY26" fmla="*/ 433330 h 528810"/>
              <a:gd name="csX27" fmla="*/ 1972020 w 3121446"/>
              <a:gd name="csY27" fmla="*/ 462709 h 528810"/>
              <a:gd name="csX28" fmla="*/ 2346593 w 3121446"/>
              <a:gd name="csY28" fmla="*/ 462709 h 528810"/>
              <a:gd name="csX29" fmla="*/ 2346593 w 3121446"/>
              <a:gd name="csY29" fmla="*/ 503104 h 528810"/>
              <a:gd name="csX30" fmla="*/ 2379644 w 3121446"/>
              <a:gd name="csY30" fmla="*/ 503104 h 528810"/>
              <a:gd name="csX31" fmla="*/ 2379644 w 3121446"/>
              <a:gd name="csY31" fmla="*/ 528810 h 528810"/>
              <a:gd name="csX32" fmla="*/ 3121446 w 3121446"/>
              <a:gd name="csY32" fmla="*/ 528810 h 52881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</a:cxnLst>
            <a:rect l="l" t="t" r="r" b="b"/>
            <a:pathLst>
              <a:path w="3121446" h="528810">
                <a:moveTo>
                  <a:pt x="0" y="0"/>
                </a:moveTo>
                <a:lnTo>
                  <a:pt x="51413" y="0"/>
                </a:lnTo>
                <a:lnTo>
                  <a:pt x="51413" y="36723"/>
                </a:lnTo>
                <a:lnTo>
                  <a:pt x="113841" y="36723"/>
                </a:lnTo>
                <a:lnTo>
                  <a:pt x="286439" y="36723"/>
                </a:lnTo>
                <a:lnTo>
                  <a:pt x="286439" y="69774"/>
                </a:lnTo>
                <a:lnTo>
                  <a:pt x="348868" y="69774"/>
                </a:lnTo>
                <a:lnTo>
                  <a:pt x="348868" y="106497"/>
                </a:lnTo>
                <a:lnTo>
                  <a:pt x="411297" y="106497"/>
                </a:lnTo>
                <a:lnTo>
                  <a:pt x="411297" y="168925"/>
                </a:lnTo>
                <a:lnTo>
                  <a:pt x="484743" y="168925"/>
                </a:lnTo>
                <a:lnTo>
                  <a:pt x="484743" y="212993"/>
                </a:lnTo>
                <a:lnTo>
                  <a:pt x="635306" y="212993"/>
                </a:lnTo>
                <a:lnTo>
                  <a:pt x="635306" y="260733"/>
                </a:lnTo>
                <a:lnTo>
                  <a:pt x="910728" y="260733"/>
                </a:lnTo>
                <a:lnTo>
                  <a:pt x="910728" y="293783"/>
                </a:lnTo>
                <a:lnTo>
                  <a:pt x="1050275" y="293783"/>
                </a:lnTo>
                <a:lnTo>
                  <a:pt x="1050275" y="319489"/>
                </a:lnTo>
                <a:lnTo>
                  <a:pt x="1299991" y="319489"/>
                </a:lnTo>
                <a:lnTo>
                  <a:pt x="1299991" y="356212"/>
                </a:lnTo>
                <a:lnTo>
                  <a:pt x="1446882" y="356212"/>
                </a:lnTo>
                <a:lnTo>
                  <a:pt x="1446882" y="378246"/>
                </a:lnTo>
                <a:lnTo>
                  <a:pt x="1568068" y="378246"/>
                </a:lnTo>
                <a:lnTo>
                  <a:pt x="1568068" y="407624"/>
                </a:lnTo>
                <a:lnTo>
                  <a:pt x="1755355" y="407624"/>
                </a:lnTo>
                <a:lnTo>
                  <a:pt x="1755355" y="433330"/>
                </a:lnTo>
                <a:lnTo>
                  <a:pt x="1972020" y="433330"/>
                </a:lnTo>
                <a:lnTo>
                  <a:pt x="1972020" y="462709"/>
                </a:lnTo>
                <a:lnTo>
                  <a:pt x="2346593" y="462709"/>
                </a:lnTo>
                <a:lnTo>
                  <a:pt x="2346593" y="503104"/>
                </a:lnTo>
                <a:lnTo>
                  <a:pt x="2379644" y="503104"/>
                </a:lnTo>
                <a:lnTo>
                  <a:pt x="2379644" y="528810"/>
                </a:lnTo>
                <a:lnTo>
                  <a:pt x="3121446" y="528810"/>
                </a:lnTo>
              </a:path>
            </a:pathLst>
          </a:cu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2" name="Free-form: Shape 321">
            <a:extLst>
              <a:ext uri="{FF2B5EF4-FFF2-40B4-BE49-F238E27FC236}">
                <a16:creationId xmlns:a16="http://schemas.microsoft.com/office/drawing/2014/main" id="{32F31652-F6F4-1227-9E13-A56E6F861649}"/>
              </a:ext>
            </a:extLst>
          </p:cNvPr>
          <p:cNvSpPr/>
          <p:nvPr/>
        </p:nvSpPr>
        <p:spPr>
          <a:xfrm>
            <a:off x="3810962" y="3101060"/>
            <a:ext cx="1389548" cy="95831"/>
          </a:xfrm>
          <a:custGeom>
            <a:avLst/>
            <a:gdLst>
              <a:gd name="csX0" fmla="*/ 0 w 2449417"/>
              <a:gd name="csY0" fmla="*/ 0 h 168925"/>
              <a:gd name="csX1" fmla="*/ 0 w 2449417"/>
              <a:gd name="csY1" fmla="*/ 36723 h 168925"/>
              <a:gd name="csX2" fmla="*/ 411296 w 2449417"/>
              <a:gd name="csY2" fmla="*/ 36723 h 168925"/>
              <a:gd name="csX3" fmla="*/ 411296 w 2449417"/>
              <a:gd name="csY3" fmla="*/ 102824 h 168925"/>
              <a:gd name="csX4" fmla="*/ 664684 w 2449417"/>
              <a:gd name="csY4" fmla="*/ 102824 h 168925"/>
              <a:gd name="csX5" fmla="*/ 664684 w 2449417"/>
              <a:gd name="csY5" fmla="*/ 132202 h 168925"/>
              <a:gd name="csX6" fmla="*/ 859315 w 2449417"/>
              <a:gd name="csY6" fmla="*/ 132202 h 168925"/>
              <a:gd name="csX7" fmla="*/ 859315 w 2449417"/>
              <a:gd name="csY7" fmla="*/ 168925 h 168925"/>
              <a:gd name="csX8" fmla="*/ 2449417 w 2449417"/>
              <a:gd name="csY8" fmla="*/ 168925 h 16892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</a:cxnLst>
            <a:rect l="l" t="t" r="r" b="b"/>
            <a:pathLst>
              <a:path w="2449417" h="168925">
                <a:moveTo>
                  <a:pt x="0" y="0"/>
                </a:moveTo>
                <a:lnTo>
                  <a:pt x="0" y="36723"/>
                </a:lnTo>
                <a:lnTo>
                  <a:pt x="411296" y="36723"/>
                </a:lnTo>
                <a:lnTo>
                  <a:pt x="411296" y="102824"/>
                </a:lnTo>
                <a:lnTo>
                  <a:pt x="664684" y="102824"/>
                </a:lnTo>
                <a:lnTo>
                  <a:pt x="664684" y="132202"/>
                </a:lnTo>
                <a:lnTo>
                  <a:pt x="859315" y="132202"/>
                </a:lnTo>
                <a:lnTo>
                  <a:pt x="859315" y="168925"/>
                </a:lnTo>
                <a:lnTo>
                  <a:pt x="2449417" y="168925"/>
                </a:lnTo>
              </a:path>
            </a:pathLst>
          </a:cu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23" name="Straight Connector 322">
            <a:extLst>
              <a:ext uri="{FF2B5EF4-FFF2-40B4-BE49-F238E27FC236}">
                <a16:creationId xmlns:a16="http://schemas.microsoft.com/office/drawing/2014/main" id="{D3F738FD-6DF3-4A7A-FBCC-AFF1C942AEA9}"/>
              </a:ext>
            </a:extLst>
          </p:cNvPr>
          <p:cNvCxnSpPr>
            <a:cxnSpLocks/>
          </p:cNvCxnSpPr>
          <p:nvPr/>
        </p:nvCxnSpPr>
        <p:spPr>
          <a:xfrm>
            <a:off x="1381132" y="2108729"/>
            <a:ext cx="0" cy="182880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4" name="TextBox 323">
            <a:extLst>
              <a:ext uri="{FF2B5EF4-FFF2-40B4-BE49-F238E27FC236}">
                <a16:creationId xmlns:a16="http://schemas.microsoft.com/office/drawing/2014/main" id="{687359EE-2F63-3B86-175E-A6580A661522}"/>
              </a:ext>
            </a:extLst>
          </p:cNvPr>
          <p:cNvSpPr txBox="1"/>
          <p:nvPr/>
        </p:nvSpPr>
        <p:spPr>
          <a:xfrm>
            <a:off x="323137" y="4382295"/>
            <a:ext cx="863766" cy="11530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9D9C98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R-</a:t>
            </a:r>
            <a:r>
              <a:rPr kumimoji="0" lang="en-GB" sz="1200" b="0" i="0" u="none" strike="noStrike" kern="1200" cap="none" spc="0" normalizeH="0" baseline="0" noProof="0" err="1">
                <a:ln>
                  <a:noFill/>
                </a:ln>
                <a:solidFill>
                  <a:srgbClr val="9D9C98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GemOx</a:t>
            </a: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9D9C98"/>
              </a:solidFill>
              <a:effectLst/>
              <a:uLnTx/>
              <a:uFillTx/>
              <a:latin typeface="Aptos" panose="021100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325" name="TextBox 324">
            <a:extLst>
              <a:ext uri="{FF2B5EF4-FFF2-40B4-BE49-F238E27FC236}">
                <a16:creationId xmlns:a16="http://schemas.microsoft.com/office/drawing/2014/main" id="{EBAB3095-32FE-1435-2F25-A033F2A3BEC8}"/>
              </a:ext>
            </a:extLst>
          </p:cNvPr>
          <p:cNvSpPr txBox="1"/>
          <p:nvPr/>
        </p:nvSpPr>
        <p:spPr>
          <a:xfrm>
            <a:off x="327259" y="4607750"/>
            <a:ext cx="863766" cy="11530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4CA1A6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Glofit-GemOx</a:t>
            </a:r>
          </a:p>
        </p:txBody>
      </p:sp>
      <p:sp>
        <p:nvSpPr>
          <p:cNvPr id="326" name="Content Placeholder 1">
            <a:extLst>
              <a:ext uri="{FF2B5EF4-FFF2-40B4-BE49-F238E27FC236}">
                <a16:creationId xmlns:a16="http://schemas.microsoft.com/office/drawing/2014/main" id="{3BA16119-EEF3-83BB-8E1B-B66CF7677EBE}"/>
              </a:ext>
            </a:extLst>
          </p:cNvPr>
          <p:cNvSpPr txBox="1">
            <a:spLocks/>
          </p:cNvSpPr>
          <p:nvPr/>
        </p:nvSpPr>
        <p:spPr>
          <a:xfrm>
            <a:off x="4094198" y="1670300"/>
            <a:ext cx="1647070" cy="624210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500" b="1" i="0" u="none" strike="noStrike" kern="1200" cap="none" spc="0" normalizeH="0" baseline="0" noProof="0" dirty="0">
                <a:ln>
                  <a:noFill/>
                </a:ln>
                <a:solidFill>
                  <a:srgbClr val="585854">
                    <a:lumMod val="75000"/>
                    <a:lumOff val="2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Median PFS</a:t>
            </a:r>
            <a:r>
              <a:rPr kumimoji="0" lang="en-GB" sz="1500" b="0" i="0" u="none" strike="noStrike" kern="1200" cap="none" spc="0" normalizeH="0" baseline="30000" noProof="0" dirty="0">
                <a:ln>
                  <a:noFill/>
                </a:ln>
                <a:solidFill>
                  <a:srgbClr val="585854">
                    <a:lumMod val="75000"/>
                    <a:lumOff val="2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b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585854">
                    <a:lumMod val="75000"/>
                    <a:lumOff val="2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GB" sz="1900" b="1" i="0" u="none" strike="noStrike" kern="1200" cap="none" spc="0" normalizeH="0" baseline="0" noProof="0" dirty="0">
                <a:ln>
                  <a:noFill/>
                </a:ln>
                <a:solidFill>
                  <a:srgbClr val="4CA1A6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4.4 months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85854">
                    <a:lumMod val="75000"/>
                    <a:lumOff val="2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(95% CI: 8.8–27.4)</a:t>
            </a: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32" name="Straight Connector 331">
            <a:extLst>
              <a:ext uri="{FF2B5EF4-FFF2-40B4-BE49-F238E27FC236}">
                <a16:creationId xmlns:a16="http://schemas.microsoft.com/office/drawing/2014/main" id="{B501BCC4-8137-C0DF-A42C-15C4436854E1}"/>
              </a:ext>
            </a:extLst>
          </p:cNvPr>
          <p:cNvCxnSpPr>
            <a:cxnSpLocks/>
          </p:cNvCxnSpPr>
          <p:nvPr/>
        </p:nvCxnSpPr>
        <p:spPr>
          <a:xfrm>
            <a:off x="7025426" y="2972783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80953956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5584842-9ABA-4D3D-CD4A-0DA01FB9573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53A502-B6B8-7E34-7153-289BD8EDF7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>
                <a:latin typeface="+mn-lt"/>
              </a:rPr>
              <a:t>Glоfit</a:t>
            </a:r>
            <a:r>
              <a:rPr lang="en-CH" dirty="0" err="1">
                <a:latin typeface="+mn-lt"/>
              </a:rPr>
              <a:t>amab</a:t>
            </a:r>
            <a:r>
              <a:rPr lang="en-GB" dirty="0">
                <a:latin typeface="+mn-lt"/>
              </a:rPr>
              <a:t>‑</a:t>
            </a:r>
            <a:r>
              <a:rPr lang="en-GB" dirty="0" err="1">
                <a:latin typeface="+mn-lt"/>
              </a:rPr>
              <a:t>GemOx</a:t>
            </a:r>
            <a:r>
              <a:rPr lang="en-GB" dirty="0">
                <a:latin typeface="+mn-lt"/>
              </a:rPr>
              <a:t> in </a:t>
            </a:r>
            <a:r>
              <a:rPr lang="en-CH" dirty="0">
                <a:latin typeface="+mn-lt"/>
              </a:rPr>
              <a:t>ASCT</a:t>
            </a:r>
            <a:r>
              <a:rPr lang="en-GB" dirty="0">
                <a:latin typeface="+mn-lt"/>
              </a:rPr>
              <a:t>‑ineligible R/R DLBCL: Safety aspect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509DC3D-0C57-2C0F-5346-0FF1AA0FD6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01CC8E-1CEF-6746-999E-CF29FF00B1D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82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E02A7B0-3BB2-8B7F-C988-85CE76619D3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70645" y="6087549"/>
            <a:ext cx="10440000" cy="632402"/>
          </a:xfrm>
        </p:spPr>
        <p:txBody>
          <a:bodyPr/>
          <a:lstStyle/>
          <a:p>
            <a:r>
              <a:rPr lang="en-GB" b="1" dirty="0"/>
              <a:t>Direct comparisons between study results cannot be made due to differences in study design, patient populations, and endpoints; the information is presented for contextual purposes only. </a:t>
            </a:r>
            <a:br>
              <a:rPr lang="en-GB" b="1" dirty="0"/>
            </a:br>
            <a:r>
              <a:rPr lang="en-GB" dirty="0"/>
              <a:t>AE, adverse event; ASCT, autologous stem cell transplantation; CRS, cytokine release syndrome; DLBCL, diffuse large B-cell lymphoma; </a:t>
            </a:r>
            <a:r>
              <a:rPr lang="en-GB" dirty="0" err="1"/>
              <a:t>GemOx</a:t>
            </a:r>
            <a:r>
              <a:rPr lang="en-GB" dirty="0"/>
              <a:t>, gemcitabine and oxaliplatin; </a:t>
            </a:r>
            <a:r>
              <a:rPr lang="en-GB" dirty="0" err="1"/>
              <a:t>glofit</a:t>
            </a:r>
            <a:r>
              <a:rPr lang="en-GB" dirty="0"/>
              <a:t>, </a:t>
            </a:r>
            <a:r>
              <a:rPr lang="en-GB" dirty="0" err="1"/>
              <a:t>glofitamab</a:t>
            </a:r>
            <a:r>
              <a:rPr lang="en-GB" dirty="0"/>
              <a:t>; </a:t>
            </a:r>
            <a:endParaRPr lang="en-CH" dirty="0"/>
          </a:p>
          <a:p>
            <a:r>
              <a:rPr lang="en-GB" dirty="0"/>
              <a:t>ICANS, immune effector cell-associated neurotoxicity syndrome; R, rituximab; R/R, relapsed/refractory.</a:t>
            </a:r>
            <a:br>
              <a:rPr lang="en-GB" dirty="0"/>
            </a:br>
            <a:r>
              <a:rPr lang="en-GB" b="1" dirty="0"/>
              <a:t>1.</a:t>
            </a:r>
            <a:r>
              <a:rPr lang="en-GB" dirty="0"/>
              <a:t> Abramson et al. ASH 2025, Poster #5519 </a:t>
            </a:r>
            <a:r>
              <a:rPr lang="en-GB" b="1" dirty="0"/>
              <a:t>2. </a:t>
            </a:r>
            <a:r>
              <a:rPr lang="en-GB" dirty="0"/>
              <a:t>Tiger et al. ASH 2025, Abstract #1956 </a:t>
            </a:r>
            <a:r>
              <a:rPr lang="en-GB" b="1" dirty="0"/>
              <a:t>3. </a:t>
            </a:r>
            <a:r>
              <a:rPr lang="en-GB" dirty="0"/>
              <a:t>Tiger et al. ASH 2025, Poster #1956.</a:t>
            </a:r>
          </a:p>
        </p:txBody>
      </p:sp>
      <p:graphicFrame>
        <p:nvGraphicFramePr>
          <p:cNvPr id="58" name="Table 0">
            <a:extLst>
              <a:ext uri="{FF2B5EF4-FFF2-40B4-BE49-F238E27FC236}">
                <a16:creationId xmlns:a16="http://schemas.microsoft.com/office/drawing/2014/main" id="{4B73875A-FBA7-4848-095D-49DD70F8845D}"/>
              </a:ext>
            </a:extLst>
          </p:cNvPr>
          <p:cNvGraphicFramePr>
            <a:graphicFrameLocks noGrp="1"/>
          </p:cNvGraphicFramePr>
          <p:nvPr/>
        </p:nvGraphicFramePr>
        <p:xfrm>
          <a:off x="585910" y="1938529"/>
          <a:ext cx="5301006" cy="3479433"/>
        </p:xfrm>
        <a:graphic>
          <a:graphicData uri="http://schemas.openxmlformats.org/drawingml/2006/table">
            <a:tbl>
              <a:tblPr/>
              <a:tblGrid>
                <a:gridCol w="256971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9668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3461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79696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>
                          <a:solidFill>
                            <a:schemeClr val="tx2"/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STARGLO</a:t>
                      </a:r>
                      <a:r>
                        <a:rPr lang="en-GB" sz="1600" b="1" baseline="30000">
                          <a:solidFill>
                            <a:schemeClr val="tx2"/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1</a:t>
                      </a:r>
                    </a:p>
                  </a:txBody>
                  <a:tcPr marL="84667" marR="84667" marT="33867" marB="3386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GB" sz="1600" b="1">
                          <a:solidFill>
                            <a:schemeClr val="bg1"/>
                          </a:solidFill>
                          <a:latin typeface="+mn-lt"/>
                          <a:ea typeface="Arial" pitchFamily="34" charset="-122"/>
                          <a:cs typeface="Arial" pitchFamily="34" charset="-120"/>
                        </a:rPr>
                        <a:t>Glofit-GemOx</a:t>
                      </a:r>
                    </a:p>
                    <a:p>
                      <a:pPr marL="0" indent="0" algn="ctr">
                        <a:buNone/>
                      </a:pPr>
                      <a:r>
                        <a:rPr lang="en-GB" sz="1600" b="1">
                          <a:solidFill>
                            <a:schemeClr val="bg1"/>
                          </a:solidFill>
                          <a:latin typeface="+mn-lt"/>
                          <a:ea typeface="Arial" charset="0"/>
                          <a:cs typeface="Arial" pitchFamily="34" charset="-120"/>
                        </a:rPr>
                        <a:t>(N=172)</a:t>
                      </a:r>
                      <a:endParaRPr lang="en-GB" sz="1600">
                        <a:solidFill>
                          <a:schemeClr val="bg1"/>
                        </a:solidFill>
                        <a:latin typeface="+mn-lt"/>
                        <a:ea typeface="Arial" charset="0"/>
                        <a:cs typeface="Arial" charset="0"/>
                      </a:endParaRPr>
                    </a:p>
                  </a:txBody>
                  <a:tcPr marL="84667" marR="84667" marT="33867" marB="3386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GB" sz="1600" b="1">
                          <a:solidFill>
                            <a:schemeClr val="bg1"/>
                          </a:solidFill>
                          <a:latin typeface="+mn-lt"/>
                          <a:ea typeface="Arial" pitchFamily="34" charset="-122"/>
                          <a:cs typeface="Arial" pitchFamily="34" charset="-120"/>
                        </a:rPr>
                        <a:t>R-GemOx</a:t>
                      </a:r>
                    </a:p>
                    <a:p>
                      <a:pPr marL="0" indent="0" algn="ctr">
                        <a:buNone/>
                      </a:pPr>
                      <a:r>
                        <a:rPr lang="en-GB" sz="1600" b="1">
                          <a:solidFill>
                            <a:schemeClr val="bg1"/>
                          </a:solidFill>
                          <a:latin typeface="+mn-lt"/>
                          <a:ea typeface="Arial" charset="0"/>
                          <a:cs typeface="Arial" pitchFamily="34" charset="-120"/>
                        </a:rPr>
                        <a:t>(N=88)</a:t>
                      </a:r>
                      <a:endParaRPr lang="en-GB" sz="1600">
                        <a:solidFill>
                          <a:schemeClr val="bg1"/>
                        </a:solidFill>
                        <a:latin typeface="+mn-lt"/>
                        <a:ea typeface="Arial" charset="0"/>
                        <a:cs typeface="Arial" charset="0"/>
                      </a:endParaRPr>
                    </a:p>
                  </a:txBody>
                  <a:tcPr marL="84667" marR="84667" marT="33867" marB="3386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4707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kern="1200">
                          <a:solidFill>
                            <a:schemeClr val="tx2"/>
                          </a:solidFill>
                          <a:latin typeface="+mn-lt"/>
                          <a:ea typeface="Arial" charset="0"/>
                          <a:cs typeface="Arial" pitchFamily="34" charset="-120"/>
                        </a:rPr>
                        <a:t>CRS, any Grade</a:t>
                      </a:r>
                    </a:p>
                  </a:txBody>
                  <a:tcPr marL="84667" marR="84667" marT="33867" marB="3386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F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0" kern="1200" noProof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Arial" charset="0"/>
                        </a:rPr>
                        <a:t>45%</a:t>
                      </a:r>
                    </a:p>
                  </a:txBody>
                  <a:tcPr marL="84667" marR="84667" marT="33867" marB="3386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F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0" kern="120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Arial" charset="0"/>
                        </a:rPr>
                        <a:t>0%</a:t>
                      </a:r>
                    </a:p>
                  </a:txBody>
                  <a:tcPr marL="84667" marR="84667" marT="33867" marB="3386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4707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kern="1200" noProof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Arial" pitchFamily="34" charset="-120"/>
                        </a:rPr>
                        <a:t>    Grade 1 / 2 / 3 CRS</a:t>
                      </a:r>
                    </a:p>
                  </a:txBody>
                  <a:tcPr marL="84667" marR="84667" marT="33867" marB="3386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0" kern="1200" noProof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Arial" charset="0"/>
                        </a:rPr>
                        <a:t>32% / 11% / 2%</a:t>
                      </a:r>
                    </a:p>
                  </a:txBody>
                  <a:tcPr marL="84667" marR="84667" marT="33867" marB="3386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0" kern="120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Arial" charset="0"/>
                        </a:rPr>
                        <a:t>–</a:t>
                      </a:r>
                    </a:p>
                  </a:txBody>
                  <a:tcPr marL="84667" marR="84667" marT="33867" marB="3386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47078">
                <a:tc>
                  <a:txBody>
                    <a:bodyPr/>
                    <a:lstStyle/>
                    <a:p>
                      <a:r>
                        <a:rPr lang="en-GB" sz="1600" kern="1200">
                          <a:solidFill>
                            <a:schemeClr val="tx2"/>
                          </a:solidFill>
                          <a:latin typeface="+mn-lt"/>
                          <a:ea typeface="Arial" charset="0"/>
                          <a:cs typeface="Arial" pitchFamily="34" charset="-120"/>
                        </a:rPr>
                        <a:t>Serious AEs</a:t>
                      </a:r>
                    </a:p>
                  </a:txBody>
                  <a:tcPr marL="84667" marR="84667" marT="33867" marB="3386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FF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GB" sz="1600" b="0">
                          <a:solidFill>
                            <a:schemeClr val="accent4"/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52%</a:t>
                      </a:r>
                    </a:p>
                  </a:txBody>
                  <a:tcPr marL="84667" marR="84667" marT="33867" marB="3386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FF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GB" sz="1600" b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17%</a:t>
                      </a:r>
                    </a:p>
                  </a:txBody>
                  <a:tcPr marL="84667" marR="84667" marT="33867" marB="3386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74056424"/>
                  </a:ext>
                </a:extLst>
              </a:tr>
              <a:tr h="447078">
                <a:tc>
                  <a:txBody>
                    <a:bodyPr/>
                    <a:lstStyle/>
                    <a:p>
                      <a:r>
                        <a:rPr lang="en-GB" sz="1600" kern="1200">
                          <a:solidFill>
                            <a:schemeClr val="tx2"/>
                          </a:solidFill>
                          <a:latin typeface="+mn-lt"/>
                          <a:ea typeface="Arial" charset="0"/>
                          <a:cs typeface="Arial" pitchFamily="34" charset="-120"/>
                        </a:rPr>
                        <a:t>Grade ≥3 AEs</a:t>
                      </a:r>
                    </a:p>
                  </a:txBody>
                  <a:tcPr marL="84667" marR="84667" marT="33867" marB="3386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GB" sz="1600" b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77%</a:t>
                      </a:r>
                    </a:p>
                  </a:txBody>
                  <a:tcPr marL="84667" marR="84667" marT="33867" marB="3386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buNone/>
                      </a:pPr>
                      <a:r>
                        <a:rPr lang="en-GB" sz="1600" b="0" kern="120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Arial" charset="0"/>
                        </a:rPr>
                        <a:t>45%</a:t>
                      </a:r>
                    </a:p>
                  </a:txBody>
                  <a:tcPr marL="84667" marR="84667" marT="33867" marB="3386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47078">
                <a:tc>
                  <a:txBody>
                    <a:bodyPr/>
                    <a:lstStyle/>
                    <a:p>
                      <a:r>
                        <a:rPr lang="en-GB" sz="1600" kern="1200">
                          <a:solidFill>
                            <a:schemeClr val="tx2"/>
                          </a:solidFill>
                          <a:latin typeface="+mn-lt"/>
                          <a:ea typeface="Arial" charset="0"/>
                          <a:cs typeface="Arial" pitchFamily="34" charset="-120"/>
                        </a:rPr>
                        <a:t>Grade 5 AEs</a:t>
                      </a:r>
                    </a:p>
                  </a:txBody>
                  <a:tcPr marL="84667" marR="84667" marT="33867" marB="3386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FF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GB" sz="1600" b="0">
                          <a:solidFill>
                            <a:schemeClr val="accent4"/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8%</a:t>
                      </a:r>
                    </a:p>
                  </a:txBody>
                  <a:tcPr marL="84667" marR="84667" marT="33867" marB="3386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FF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GB" sz="1600" b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5%</a:t>
                      </a:r>
                    </a:p>
                  </a:txBody>
                  <a:tcPr marL="84667" marR="84667" marT="33867" marB="3386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340919"/>
                  </a:ext>
                </a:extLst>
              </a:tr>
              <a:tr h="447078">
                <a:tc>
                  <a:txBody>
                    <a:bodyPr/>
                    <a:lstStyle/>
                    <a:p>
                      <a:r>
                        <a:rPr lang="en-GB" sz="1600" kern="120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Arial" pitchFamily="34" charset="-120"/>
                        </a:rPr>
                        <a:t>Grade </a:t>
                      </a:r>
                      <a:r>
                        <a:rPr lang="en-GB" sz="1600" kern="1200">
                          <a:solidFill>
                            <a:schemeClr val="tx2"/>
                          </a:solidFill>
                          <a:latin typeface="+mn-lt"/>
                          <a:ea typeface="Arial" charset="0"/>
                          <a:cs typeface="Arial" pitchFamily="34" charset="-120"/>
                        </a:rPr>
                        <a:t>≥</a:t>
                      </a:r>
                      <a:r>
                        <a:rPr lang="en-GB" sz="1600" kern="120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Arial" pitchFamily="34" charset="-120"/>
                        </a:rPr>
                        <a:t>3 infections</a:t>
                      </a:r>
                      <a:endParaRPr lang="en-GB" sz="1600" kern="1200">
                        <a:solidFill>
                          <a:schemeClr val="tx2"/>
                        </a:solidFill>
                        <a:latin typeface="+mn-lt"/>
                        <a:cs typeface="Arial" pitchFamily="34" charset="-120"/>
                      </a:endParaRPr>
                    </a:p>
                  </a:txBody>
                  <a:tcPr marL="84667" marR="84667" marT="33867" marB="3386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buNone/>
                      </a:pPr>
                      <a:r>
                        <a:rPr lang="en-GB" sz="1600" b="0" kern="1200">
                          <a:solidFill>
                            <a:schemeClr val="accent4"/>
                          </a:solidFill>
                          <a:latin typeface="+mn-lt"/>
                          <a:cs typeface="Arial" charset="0"/>
                        </a:rPr>
                        <a:t>20</a:t>
                      </a:r>
                      <a:r>
                        <a:rPr lang="en-GB" sz="1600" b="0">
                          <a:solidFill>
                            <a:schemeClr val="accent4"/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%</a:t>
                      </a:r>
                      <a:endParaRPr lang="en-GB" sz="1600" b="0" kern="1200">
                        <a:solidFill>
                          <a:schemeClr val="accent4"/>
                        </a:solidFill>
                        <a:latin typeface="+mn-lt"/>
                        <a:cs typeface="Arial" charset="0"/>
                      </a:endParaRPr>
                    </a:p>
                  </a:txBody>
                  <a:tcPr marL="84667" marR="84667" marT="33867" marB="3386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buNone/>
                      </a:pPr>
                      <a:r>
                        <a:rPr lang="en-GB" sz="1600" b="0" kern="120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Arial" charset="0"/>
                        </a:rPr>
                        <a:t>13%</a:t>
                      </a:r>
                    </a:p>
                  </a:txBody>
                  <a:tcPr marL="84667" marR="84667" marT="33867" marB="3386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017316"/>
                  </a:ext>
                </a:extLst>
              </a:tr>
            </a:tbl>
          </a:graphicData>
        </a:graphic>
      </p:graphicFrame>
      <p:graphicFrame>
        <p:nvGraphicFramePr>
          <p:cNvPr id="63" name="Table 0">
            <a:extLst>
              <a:ext uri="{FF2B5EF4-FFF2-40B4-BE49-F238E27FC236}">
                <a16:creationId xmlns:a16="http://schemas.microsoft.com/office/drawing/2014/main" id="{9A59831C-C67A-9032-6CCE-1C546B329FDA}"/>
              </a:ext>
            </a:extLst>
          </p:cNvPr>
          <p:cNvGraphicFramePr>
            <a:graphicFrameLocks noGrp="1"/>
          </p:cNvGraphicFramePr>
          <p:nvPr/>
        </p:nvGraphicFramePr>
        <p:xfrm>
          <a:off x="6248192" y="1938529"/>
          <a:ext cx="5252169" cy="3479433"/>
        </p:xfrm>
        <a:graphic>
          <a:graphicData uri="http://schemas.openxmlformats.org/drawingml/2006/table">
            <a:tbl>
              <a:tblPr/>
              <a:tblGrid>
                <a:gridCol w="317272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7944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79696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>
                          <a:solidFill>
                            <a:schemeClr val="tx2"/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Real-world evidence</a:t>
                      </a:r>
                      <a:r>
                        <a:rPr lang="en-GB" sz="1600" b="1" baseline="30000">
                          <a:solidFill>
                            <a:schemeClr val="tx2"/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2</a:t>
                      </a:r>
                    </a:p>
                  </a:txBody>
                  <a:tcPr marL="84667" marR="84667" marT="33867" marB="3386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GB" sz="1600" b="1">
                          <a:solidFill>
                            <a:schemeClr val="bg1"/>
                          </a:solidFill>
                          <a:latin typeface="+mn-lt"/>
                          <a:ea typeface="Arial" pitchFamily="34" charset="-122"/>
                          <a:cs typeface="Arial" pitchFamily="34" charset="-120"/>
                        </a:rPr>
                        <a:t>Glofit-GemOx</a:t>
                      </a:r>
                    </a:p>
                    <a:p>
                      <a:pPr marL="0" indent="0" algn="ctr">
                        <a:buNone/>
                      </a:pPr>
                      <a:r>
                        <a:rPr lang="en-GB" sz="1600" b="1">
                          <a:solidFill>
                            <a:schemeClr val="bg1"/>
                          </a:solidFill>
                          <a:latin typeface="+mn-lt"/>
                          <a:ea typeface="Arial" charset="0"/>
                          <a:cs typeface="Arial" pitchFamily="34" charset="-120"/>
                        </a:rPr>
                        <a:t>(N=31)</a:t>
                      </a:r>
                      <a:endParaRPr lang="en-GB" sz="1600">
                        <a:solidFill>
                          <a:schemeClr val="bg1"/>
                        </a:solidFill>
                        <a:latin typeface="+mn-lt"/>
                        <a:ea typeface="Arial" charset="0"/>
                        <a:cs typeface="Arial" charset="0"/>
                      </a:endParaRPr>
                    </a:p>
                  </a:txBody>
                  <a:tcPr marL="84667" marR="84667" marT="33867" marB="3386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47078">
                <a:tc>
                  <a:txBody>
                    <a:bodyPr/>
                    <a:lstStyle/>
                    <a:p>
                      <a:r>
                        <a:rPr lang="en-GB" sz="1600" kern="1200">
                          <a:solidFill>
                            <a:schemeClr val="tx2"/>
                          </a:solidFill>
                          <a:latin typeface="+mn-lt"/>
                          <a:ea typeface="Arial" charset="0"/>
                          <a:cs typeface="Arial" pitchFamily="34" charset="-120"/>
                        </a:rPr>
                        <a:t>CRS, any Grade</a:t>
                      </a:r>
                    </a:p>
                  </a:txBody>
                  <a:tcPr marL="84667" marR="84667" marT="33867" marB="3386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FF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GB" sz="1600" b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58%</a:t>
                      </a:r>
                    </a:p>
                  </a:txBody>
                  <a:tcPr marL="84667" marR="84667" marT="33867" marB="3386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F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47078">
                <a:tc>
                  <a:txBody>
                    <a:bodyPr/>
                    <a:lstStyle/>
                    <a:p>
                      <a:r>
                        <a:rPr lang="en-GB" sz="1600" kern="1200">
                          <a:solidFill>
                            <a:schemeClr val="tx2"/>
                          </a:solidFill>
                          <a:latin typeface="+mn-lt"/>
                          <a:ea typeface="Arial" charset="0"/>
                          <a:cs typeface="Arial" pitchFamily="34" charset="-120"/>
                        </a:rPr>
                        <a:t>    Grade ≥3 CRS</a:t>
                      </a:r>
                    </a:p>
                  </a:txBody>
                  <a:tcPr marL="84667" marR="84667" marT="33867" marB="3386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GB" sz="1600" b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13%</a:t>
                      </a:r>
                    </a:p>
                  </a:txBody>
                  <a:tcPr marL="84667" marR="84667" marT="33867" marB="3386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47078">
                <a:tc>
                  <a:txBody>
                    <a:bodyPr/>
                    <a:lstStyle/>
                    <a:p>
                      <a:r>
                        <a:rPr lang="en-GB" sz="1600" kern="1200">
                          <a:solidFill>
                            <a:schemeClr val="tx2"/>
                          </a:solidFill>
                          <a:latin typeface="+mn-lt"/>
                          <a:ea typeface="Arial" charset="0"/>
                          <a:cs typeface="Arial" pitchFamily="34" charset="-120"/>
                        </a:rPr>
                        <a:t>    Grade 5 CRS</a:t>
                      </a:r>
                      <a:r>
                        <a:rPr lang="en-GB" sz="1600" kern="1200" baseline="30000">
                          <a:solidFill>
                            <a:schemeClr val="tx2"/>
                          </a:solidFill>
                          <a:latin typeface="+mn-lt"/>
                          <a:ea typeface="Arial" charset="0"/>
                          <a:cs typeface="Arial" pitchFamily="34" charset="-120"/>
                        </a:rPr>
                        <a:t>3</a:t>
                      </a:r>
                    </a:p>
                  </a:txBody>
                  <a:tcPr marL="84667" marR="84667" marT="33867" marB="3386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FF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GB" sz="1600" b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2/43 patients</a:t>
                      </a:r>
                    </a:p>
                  </a:txBody>
                  <a:tcPr marL="84667" marR="84667" marT="33867" marB="3386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F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74056424"/>
                  </a:ext>
                </a:extLst>
              </a:tr>
              <a:tr h="447078">
                <a:tc>
                  <a:txBody>
                    <a:bodyPr/>
                    <a:lstStyle/>
                    <a:p>
                      <a:r>
                        <a:rPr lang="en-GB" sz="1600" kern="120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Arial" pitchFamily="34" charset="-120"/>
                        </a:rPr>
                        <a:t>ICANS, any Grade</a:t>
                      </a:r>
                      <a:endParaRPr lang="en-GB" sz="1600" kern="1200">
                        <a:solidFill>
                          <a:schemeClr val="tx2"/>
                        </a:solidFill>
                        <a:latin typeface="+mn-lt"/>
                        <a:cs typeface="Arial" pitchFamily="34" charset="-120"/>
                      </a:endParaRPr>
                    </a:p>
                  </a:txBody>
                  <a:tcPr marL="84667" marR="84667" marT="33867" marB="3386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GB" sz="1600" b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10%</a:t>
                      </a:r>
                    </a:p>
                  </a:txBody>
                  <a:tcPr marL="84667" marR="84667" marT="33867" marB="3386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47078">
                <a:tc>
                  <a:txBody>
                    <a:bodyPr/>
                    <a:lstStyle/>
                    <a:p>
                      <a:r>
                        <a:rPr lang="en-GB" sz="1600" kern="1200">
                          <a:solidFill>
                            <a:schemeClr val="tx2"/>
                          </a:solidFill>
                          <a:latin typeface="+mn-lt"/>
                          <a:ea typeface="Arial" charset="0"/>
                          <a:cs typeface="Arial" pitchFamily="34" charset="-120"/>
                        </a:rPr>
                        <a:t>    Grade ≥3 ICANS</a:t>
                      </a:r>
                    </a:p>
                  </a:txBody>
                  <a:tcPr marL="84667" marR="84667" marT="33867" marB="3386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FF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GB" sz="1600" b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3%</a:t>
                      </a:r>
                    </a:p>
                  </a:txBody>
                  <a:tcPr marL="84667" marR="84667" marT="33867" marB="3386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F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340919"/>
                  </a:ext>
                </a:extLst>
              </a:tr>
              <a:tr h="447078">
                <a:tc>
                  <a:txBody>
                    <a:bodyPr/>
                    <a:lstStyle/>
                    <a:p>
                      <a:r>
                        <a:rPr lang="en-GB" sz="1600" kern="1200">
                          <a:solidFill>
                            <a:schemeClr val="tx2"/>
                          </a:solidFill>
                          <a:latin typeface="+mn-lt"/>
                          <a:ea typeface="Arial" charset="0"/>
                          <a:cs typeface="Arial" pitchFamily="34" charset="-120"/>
                        </a:rPr>
                        <a:t>Grade 5 AEs</a:t>
                      </a:r>
                      <a:r>
                        <a:rPr lang="en-GB" sz="1600" kern="1200" baseline="30000">
                          <a:solidFill>
                            <a:schemeClr val="tx2"/>
                          </a:solidFill>
                          <a:latin typeface="+mn-lt"/>
                          <a:ea typeface="Arial" charset="0"/>
                          <a:cs typeface="Arial" pitchFamily="34" charset="-120"/>
                        </a:rPr>
                        <a:t>3</a:t>
                      </a:r>
                    </a:p>
                  </a:txBody>
                  <a:tcPr marL="84667" marR="84667" marT="33867" marB="3386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GB" sz="1600" b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5/43 patients</a:t>
                      </a:r>
                    </a:p>
                  </a:txBody>
                  <a:tcPr marL="84667" marR="84667" marT="33867" marB="3386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6192352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26534290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E0C02DA-7C1C-8389-9F69-0A9DBAAEB1D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D639BA-3DFA-E77E-6445-C846E48390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latin typeface="+mn-lt"/>
              </a:rPr>
              <a:t>Polatuzumab vedotin + BR in ASCT-ineligible R/R DLBCL</a:t>
            </a:r>
            <a:endParaRPr lang="en-GB" baseline="30000" dirty="0">
              <a:latin typeface="+mn-lt"/>
              <a:ea typeface="Calibri"/>
              <a:cs typeface="Calibri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84A9C2-1C24-4A0C-51FA-8575CA602B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01CC8E-1CEF-6746-999E-CF29FF00B1D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82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08E6D5F-0C2C-E8AC-A003-8B140C71485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70645" y="6011711"/>
            <a:ext cx="10440000" cy="708240"/>
          </a:xfrm>
        </p:spPr>
        <p:txBody>
          <a:bodyPr/>
          <a:lstStyle/>
          <a:p>
            <a:r>
              <a:rPr lang="en-GB" dirty="0"/>
              <a:t>*Clinical efficacy data from the randomised cohorts. </a:t>
            </a:r>
            <a:br>
              <a:rPr lang="en-GB" dirty="0"/>
            </a:br>
            <a:r>
              <a:rPr lang="en-GB" dirty="0"/>
              <a:t>†</a:t>
            </a:r>
            <a:r>
              <a:rPr lang="en-GB" dirty="0">
                <a:solidFill>
                  <a:srgbClr val="585854"/>
                </a:solidFill>
                <a:ea typeface="Arial" pitchFamily="34" charset="-122"/>
                <a:cs typeface="Arial" pitchFamily="34" charset="-120"/>
              </a:rPr>
              <a:t>Median 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ea typeface="Arial" pitchFamily="34" charset="-122"/>
                <a:cs typeface="Arial" pitchFamily="34" charset="-120"/>
              </a:rPr>
              <a:t>follow-up </a:t>
            </a:r>
            <a:r>
              <a:rPr kumimoji="0" lang="en-CH" sz="9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ea typeface="Arial" pitchFamily="34" charset="-122"/>
                <a:cs typeface="Arial" pitchFamily="34" charset="-120"/>
              </a:rPr>
              <a:t>of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ea typeface="Arial" pitchFamily="34" charset="-122"/>
                <a:cs typeface="Arial" pitchFamily="34" charset="-120"/>
              </a:rPr>
              <a:t> 48.9 months for the randomised Pola-BR cohort (N=40), 48.3 months for the randomised BR cohort </a:t>
            </a:r>
            <a:r>
              <a:rPr lang="en-GB" dirty="0">
                <a:solidFill>
                  <a:srgbClr val="585854"/>
                </a:solidFill>
                <a:ea typeface="Arial" pitchFamily="34" charset="-122"/>
                <a:cs typeface="Arial" pitchFamily="34" charset="-120"/>
              </a:rPr>
              <a:t>(N=40) 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ea typeface="Arial" pitchFamily="34" charset="-122"/>
                <a:cs typeface="Arial" pitchFamily="34" charset="-120"/>
              </a:rPr>
              <a:t>and 15.2 months for the extension cohort </a:t>
            </a:r>
            <a:r>
              <a:rPr lang="en-GB" dirty="0">
                <a:solidFill>
                  <a:srgbClr val="585854"/>
                </a:solidFill>
                <a:ea typeface="Arial" pitchFamily="34" charset="-122"/>
                <a:cs typeface="Arial" pitchFamily="34" charset="-120"/>
              </a:rPr>
              <a:t>(</a:t>
            </a:r>
            <a:r>
              <a:rPr lang="en-GB" dirty="0" err="1">
                <a:solidFill>
                  <a:srgbClr val="585854"/>
                </a:solidFill>
                <a:ea typeface="Arial" pitchFamily="34" charset="-122"/>
                <a:cs typeface="Arial" pitchFamily="34" charset="-120"/>
              </a:rPr>
              <a:t>pola</a:t>
            </a:r>
            <a:r>
              <a:rPr lang="en-GB" dirty="0">
                <a:solidFill>
                  <a:srgbClr val="585854"/>
                </a:solidFill>
                <a:ea typeface="Arial" pitchFamily="34" charset="-122"/>
                <a:cs typeface="Arial" pitchFamily="34" charset="-120"/>
              </a:rPr>
              <a:t>-BR, N=106)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ea typeface="Arial" pitchFamily="34" charset="-122"/>
                <a:cs typeface="Arial" pitchFamily="34" charset="-120"/>
              </a:rPr>
              <a:t>. </a:t>
            </a:r>
            <a:endParaRPr kumimoji="0" lang="en-CH" sz="900" b="0" i="0" u="none" strike="noStrike" kern="1200" cap="none" spc="0" normalizeH="0" baseline="0" noProof="0" dirty="0">
              <a:ln>
                <a:noFill/>
              </a:ln>
              <a:solidFill>
                <a:srgbClr val="585854"/>
              </a:solidFill>
              <a:effectLst/>
              <a:uLnTx/>
              <a:uFillTx/>
              <a:ea typeface="Arial" pitchFamily="34" charset="-122"/>
              <a:cs typeface="Arial" pitchFamily="34" charset="-120"/>
            </a:endParaRPr>
          </a:p>
          <a:p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ea typeface="Arial" pitchFamily="34" charset="-122"/>
                <a:cs typeface="Arial" pitchFamily="34" charset="-120"/>
              </a:rPr>
              <a:t>‡</a:t>
            </a:r>
            <a:r>
              <a:rPr lang="en-GB" dirty="0"/>
              <a:t>Safety data from pooled Pola-BR cohort (safety run-in + randomised + extension; N=151) vs randomised BR (n=39). </a:t>
            </a:r>
            <a:br>
              <a:rPr lang="en-GB" dirty="0"/>
            </a:br>
            <a:r>
              <a:rPr lang="en-GB" dirty="0"/>
              <a:t>AE, adverse event; ASCT, autologous stem cell transplantation; BR, bendamustine</a:t>
            </a:r>
            <a:r>
              <a:rPr lang="en-CH" dirty="0"/>
              <a:t> and </a:t>
            </a:r>
            <a:r>
              <a:rPr lang="en-GB" dirty="0"/>
              <a:t>rituximab; CI, confidence interval; DLBCL, diffuse large B-cell lymphoma; </a:t>
            </a:r>
            <a:r>
              <a:rPr lang="en-GB" dirty="0" err="1"/>
              <a:t>mFU</a:t>
            </a:r>
            <a:r>
              <a:rPr lang="en-GB" dirty="0"/>
              <a:t>, median follow-up; </a:t>
            </a:r>
            <a:endParaRPr lang="en-CH" dirty="0"/>
          </a:p>
          <a:p>
            <a:r>
              <a:rPr lang="en-GB" dirty="0"/>
              <a:t>PFS, progression-free survival; Pola, </a:t>
            </a:r>
            <a:r>
              <a:rPr lang="en-GB" dirty="0" err="1"/>
              <a:t>polatuzumab</a:t>
            </a:r>
            <a:r>
              <a:rPr lang="en-GB" dirty="0"/>
              <a:t> vedotin; R/R, relapsed</a:t>
            </a:r>
            <a:r>
              <a:rPr lang="en-CH" dirty="0"/>
              <a:t>/</a:t>
            </a:r>
            <a:r>
              <a:rPr lang="en-GB" dirty="0"/>
              <a:t>refractory.</a:t>
            </a:r>
          </a:p>
          <a:p>
            <a:r>
              <a:rPr lang="en-GB" b="1" dirty="0"/>
              <a:t>1. </a:t>
            </a:r>
            <a:r>
              <a:rPr lang="en-GB" dirty="0"/>
              <a:t>Sehn LH et al. </a:t>
            </a:r>
            <a:r>
              <a:rPr lang="en-GB" i="1" dirty="0"/>
              <a:t>Blood Adv</a:t>
            </a:r>
            <a:r>
              <a:rPr lang="en-GB" dirty="0"/>
              <a:t> 2022 </a:t>
            </a:r>
            <a:r>
              <a:rPr lang="en-GB" b="1" dirty="0"/>
              <a:t>2. </a:t>
            </a:r>
            <a:r>
              <a:rPr lang="en-GB" dirty="0" err="1"/>
              <a:t>Polivy</a:t>
            </a:r>
            <a:r>
              <a:rPr lang="en-GB" dirty="0"/>
              <a:t> SmPC.</a:t>
            </a:r>
          </a:p>
        </p:txBody>
      </p:sp>
      <p:graphicFrame>
        <p:nvGraphicFramePr>
          <p:cNvPr id="18" name="Table 0">
            <a:extLst>
              <a:ext uri="{FF2B5EF4-FFF2-40B4-BE49-F238E27FC236}">
                <a16:creationId xmlns:a16="http://schemas.microsoft.com/office/drawing/2014/main" id="{02A151C0-B2EA-972E-2E39-E0CDA3F5D249}"/>
              </a:ext>
            </a:extLst>
          </p:cNvPr>
          <p:cNvGraphicFramePr>
            <a:graphicFrameLocks noGrp="1"/>
          </p:cNvGraphicFramePr>
          <p:nvPr/>
        </p:nvGraphicFramePr>
        <p:xfrm>
          <a:off x="6248192" y="1620443"/>
          <a:ext cx="5252170" cy="3378434"/>
        </p:xfrm>
        <a:graphic>
          <a:graphicData uri="http://schemas.openxmlformats.org/drawingml/2006/table">
            <a:tbl>
              <a:tblPr/>
              <a:tblGrid>
                <a:gridCol w="254603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530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5306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61562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>
                          <a:solidFill>
                            <a:schemeClr val="tx2"/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GO29365</a:t>
                      </a:r>
                      <a:r>
                        <a:rPr lang="en-GB" sz="1600" baseline="30000">
                          <a:solidFill>
                            <a:schemeClr val="tx2"/>
                          </a:solidFill>
                          <a:ea typeface="Arial" pitchFamily="34" charset="-122"/>
                          <a:cs typeface="Arial" pitchFamily="34" charset="-120"/>
                        </a:rPr>
                        <a:t>1,†,‡</a:t>
                      </a:r>
                      <a:endParaRPr lang="en-GB" sz="1600" b="1">
                        <a:solidFill>
                          <a:schemeClr val="tx2"/>
                        </a:solidFill>
                        <a:latin typeface="+mn-lt"/>
                        <a:ea typeface="Arial" charset="0"/>
                        <a:cs typeface="Arial" charset="0"/>
                      </a:endParaRPr>
                    </a:p>
                  </a:txBody>
                  <a:tcPr marL="84667" marR="84667" marT="33867" marB="3386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GB" sz="1600" b="1">
                          <a:solidFill>
                            <a:schemeClr val="bg1"/>
                          </a:solidFill>
                          <a:latin typeface="+mn-lt"/>
                          <a:ea typeface="Arial" pitchFamily="34" charset="-122"/>
                          <a:cs typeface="Arial" pitchFamily="34" charset="-120"/>
                        </a:rPr>
                        <a:t>Pola-BR</a:t>
                      </a:r>
                    </a:p>
                    <a:p>
                      <a:pPr marL="0" indent="0" algn="ctr">
                        <a:buNone/>
                      </a:pPr>
                      <a:r>
                        <a:rPr lang="en-GB" sz="1600" b="1">
                          <a:solidFill>
                            <a:schemeClr val="bg1"/>
                          </a:solidFill>
                          <a:latin typeface="+mn-lt"/>
                          <a:ea typeface="Arial" charset="0"/>
                          <a:cs typeface="Arial" pitchFamily="34" charset="-120"/>
                        </a:rPr>
                        <a:t>(N=151)</a:t>
                      </a:r>
                      <a:endParaRPr lang="en-GB" sz="1600">
                        <a:solidFill>
                          <a:schemeClr val="bg1"/>
                        </a:solidFill>
                        <a:latin typeface="+mn-lt"/>
                        <a:ea typeface="Arial" charset="0"/>
                        <a:cs typeface="Arial" charset="0"/>
                      </a:endParaRPr>
                    </a:p>
                  </a:txBody>
                  <a:tcPr marL="84667" marR="84667" marT="33867" marB="3386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GB" sz="1600" b="1">
                          <a:solidFill>
                            <a:schemeClr val="bg1"/>
                          </a:solidFill>
                          <a:latin typeface="+mn-lt"/>
                          <a:ea typeface="Arial" pitchFamily="34" charset="-122"/>
                          <a:cs typeface="Arial" pitchFamily="34" charset="-120"/>
                        </a:rPr>
                        <a:t>BR</a:t>
                      </a:r>
                    </a:p>
                    <a:p>
                      <a:pPr marL="0" indent="0" algn="ctr">
                        <a:buNone/>
                      </a:pPr>
                      <a:r>
                        <a:rPr lang="en-GB" sz="1600" b="1">
                          <a:solidFill>
                            <a:schemeClr val="bg1"/>
                          </a:solidFill>
                          <a:latin typeface="+mn-lt"/>
                          <a:ea typeface="Arial" charset="0"/>
                          <a:cs typeface="Arial" pitchFamily="34" charset="-120"/>
                        </a:rPr>
                        <a:t>(N=39)</a:t>
                      </a:r>
                      <a:endParaRPr lang="en-GB" sz="1600">
                        <a:solidFill>
                          <a:schemeClr val="bg1"/>
                        </a:solidFill>
                        <a:latin typeface="+mn-lt"/>
                        <a:ea typeface="Arial" charset="0"/>
                        <a:cs typeface="Arial" charset="0"/>
                      </a:endParaRPr>
                    </a:p>
                  </a:txBody>
                  <a:tcPr marL="84667" marR="84667" marT="33867" marB="3386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45351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r>
                        <a:rPr lang="en-GB" sz="1600">
                          <a:solidFill>
                            <a:schemeClr val="tx2"/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≥1 Grade 3–4 AE</a:t>
                      </a:r>
                    </a:p>
                  </a:txBody>
                  <a:tcPr marL="84667" marR="84667" marT="33867" marB="3386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BE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GB" sz="1600" b="0">
                          <a:solidFill>
                            <a:schemeClr val="accent5"/>
                          </a:solidFill>
                          <a:latin typeface="+mn-lt"/>
                          <a:ea typeface="Arial" pitchFamily="34" charset="-122"/>
                          <a:cs typeface="Arial" pitchFamily="34" charset="-120"/>
                        </a:rPr>
                        <a:t>81%</a:t>
                      </a:r>
                    </a:p>
                  </a:txBody>
                  <a:tcPr marL="84667" marR="84667" marT="33867" marB="3386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BE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GB" sz="1200" b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+mn-lt"/>
                          <a:ea typeface="Arial" pitchFamily="34" charset="-122"/>
                          <a:cs typeface="Arial" pitchFamily="34" charset="-120"/>
                        </a:rPr>
                        <a:t>Not reported</a:t>
                      </a:r>
                    </a:p>
                  </a:txBody>
                  <a:tcPr marL="84667" marR="84667" marT="33867" marB="3386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3903641"/>
                  </a:ext>
                </a:extLst>
              </a:tr>
              <a:tr h="345351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r>
                        <a:rPr lang="en-GB" sz="1600">
                          <a:solidFill>
                            <a:schemeClr val="tx2"/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Serious AE</a:t>
                      </a:r>
                    </a:p>
                  </a:txBody>
                  <a:tcPr marL="84667" marR="84667" marT="33867" marB="3386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GB" sz="1600" b="0">
                          <a:solidFill>
                            <a:schemeClr val="accent5"/>
                          </a:solidFill>
                          <a:latin typeface="+mn-lt"/>
                          <a:ea typeface="Arial" pitchFamily="34" charset="-122"/>
                          <a:cs typeface="Arial" pitchFamily="34" charset="-120"/>
                        </a:rPr>
                        <a:t>57%</a:t>
                      </a:r>
                    </a:p>
                  </a:txBody>
                  <a:tcPr marL="84667" marR="84667" marT="33867" marB="3386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ABBFC9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Arial" pitchFamily="34" charset="-122"/>
                          <a:cs typeface="Arial" pitchFamily="34" charset="-120"/>
                        </a:rPr>
                        <a:t>Not reported</a:t>
                      </a:r>
                    </a:p>
                  </a:txBody>
                  <a:tcPr marL="84667" marR="84667" marT="33867" marB="3386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36208931"/>
                  </a:ext>
                </a:extLst>
              </a:tr>
              <a:tr h="345351">
                <a:tc>
                  <a:txBody>
                    <a:bodyPr/>
                    <a:lstStyle/>
                    <a:p>
                      <a:r>
                        <a:rPr lang="en-GB" sz="1600" kern="120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Arial" pitchFamily="34" charset="-120"/>
                        </a:rPr>
                        <a:t>Fatal AEs</a:t>
                      </a:r>
                    </a:p>
                  </a:txBody>
                  <a:tcPr marL="84667" marR="84667" marT="33867" marB="3386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BE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b="0" kern="120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Arial" charset="0"/>
                        </a:rPr>
                        <a:t>11%</a:t>
                      </a:r>
                    </a:p>
                  </a:txBody>
                  <a:tcPr marL="84667" marR="84667" marT="33867" marB="3386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BE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b="0" kern="120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Arial" charset="0"/>
                        </a:rPr>
                        <a:t>26%</a:t>
                      </a:r>
                    </a:p>
                  </a:txBody>
                  <a:tcPr marL="84667" marR="84667" marT="33867" marB="3386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F2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0997182"/>
                  </a:ext>
                </a:extLst>
              </a:tr>
              <a:tr h="345351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r>
                        <a:rPr lang="en-GB" sz="1600">
                          <a:solidFill>
                            <a:schemeClr val="tx2"/>
                          </a:solidFill>
                          <a:latin typeface="+mn-lt"/>
                          <a:ea typeface="Arial" pitchFamily="34" charset="-122"/>
                          <a:cs typeface="Arial" pitchFamily="34" charset="-120"/>
                        </a:rPr>
                        <a:t>Neutropenia</a:t>
                      </a:r>
                      <a:endParaRPr lang="en-GB" sz="1600">
                        <a:solidFill>
                          <a:schemeClr val="tx2"/>
                        </a:solidFill>
                        <a:latin typeface="+mn-lt"/>
                        <a:ea typeface="Arial" charset="0"/>
                        <a:cs typeface="Arial" charset="0"/>
                      </a:endParaRPr>
                    </a:p>
                  </a:txBody>
                  <a:tcPr marL="84667" marR="84667" marT="33867" marB="3386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GB" sz="1600" b="0">
                          <a:solidFill>
                            <a:schemeClr val="accent5"/>
                          </a:solidFill>
                          <a:latin typeface="+mn-lt"/>
                          <a:ea typeface="Arial" pitchFamily="34" charset="-122"/>
                          <a:cs typeface="Arial" pitchFamily="34" charset="-120"/>
                        </a:rPr>
                        <a:t>37%</a:t>
                      </a:r>
                    </a:p>
                  </a:txBody>
                  <a:tcPr marL="84667" marR="84667" marT="33867" marB="3386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GB" sz="1600" b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+mn-lt"/>
                          <a:ea typeface="Arial" pitchFamily="34" charset="-122"/>
                          <a:cs typeface="Arial" pitchFamily="34" charset="-120"/>
                        </a:rPr>
                        <a:t>39%</a:t>
                      </a:r>
                    </a:p>
                  </a:txBody>
                  <a:tcPr marL="84667" marR="84667" marT="33867" marB="3386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45351">
                <a:tc>
                  <a:txBody>
                    <a:bodyPr/>
                    <a:lstStyle/>
                    <a:p>
                      <a:r>
                        <a:rPr lang="en-GB" sz="1600" kern="1200">
                          <a:solidFill>
                            <a:schemeClr val="tx2"/>
                          </a:solidFill>
                          <a:latin typeface="+mn-lt"/>
                          <a:ea typeface="Arial" charset="0"/>
                          <a:cs typeface="Arial" pitchFamily="34" charset="-120"/>
                        </a:rPr>
                        <a:t>Thrombocytopenia</a:t>
                      </a:r>
                    </a:p>
                  </a:txBody>
                  <a:tcPr marL="84667" marR="84667" marT="33867" marB="3386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BE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GB" sz="1600" b="0">
                          <a:solidFill>
                            <a:schemeClr val="accent5"/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33%</a:t>
                      </a:r>
                    </a:p>
                  </a:txBody>
                  <a:tcPr marL="84667" marR="84667" marT="33867" marB="3386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BE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GB" sz="1600" b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31%</a:t>
                      </a:r>
                    </a:p>
                  </a:txBody>
                  <a:tcPr marL="84667" marR="84667" marT="33867" marB="3386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F2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45351">
                <a:tc>
                  <a:txBody>
                    <a:bodyPr/>
                    <a:lstStyle/>
                    <a:p>
                      <a:r>
                        <a:rPr lang="en-GB" sz="1600" kern="120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Arial" pitchFamily="34" charset="-120"/>
                        </a:rPr>
                        <a:t>Infections and infestations</a:t>
                      </a:r>
                      <a:endParaRPr lang="en-GB" sz="1600" kern="1200">
                        <a:solidFill>
                          <a:schemeClr val="tx2"/>
                        </a:solidFill>
                        <a:latin typeface="+mn-lt"/>
                        <a:cs typeface="Arial" pitchFamily="34" charset="-120"/>
                      </a:endParaRPr>
                    </a:p>
                  </a:txBody>
                  <a:tcPr marL="84667" marR="84667" marT="33867" marB="3386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buNone/>
                      </a:pPr>
                      <a:r>
                        <a:rPr lang="en-GB" sz="1600" b="0" kern="1200">
                          <a:solidFill>
                            <a:schemeClr val="accent5"/>
                          </a:solidFill>
                          <a:latin typeface="+mn-lt"/>
                          <a:cs typeface="Arial" charset="0"/>
                        </a:rPr>
                        <a:t>49</a:t>
                      </a:r>
                      <a:r>
                        <a:rPr lang="en-GB" sz="1600" b="0">
                          <a:solidFill>
                            <a:schemeClr val="accent5"/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%</a:t>
                      </a:r>
                      <a:endParaRPr lang="en-GB" sz="1600" b="0" kern="1200">
                        <a:solidFill>
                          <a:schemeClr val="accent5"/>
                        </a:solidFill>
                        <a:latin typeface="+mn-lt"/>
                        <a:cs typeface="Arial" charset="0"/>
                      </a:endParaRPr>
                    </a:p>
                  </a:txBody>
                  <a:tcPr marL="84667" marR="84667" marT="33867" marB="3386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buNone/>
                      </a:pPr>
                      <a:r>
                        <a:rPr lang="en-GB" sz="1600" b="0" kern="120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Arial" charset="0"/>
                        </a:rPr>
                        <a:t>51%</a:t>
                      </a:r>
                    </a:p>
                  </a:txBody>
                  <a:tcPr marL="84667" marR="84667" marT="33867" marB="3386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74056424"/>
                  </a:ext>
                </a:extLst>
              </a:tr>
              <a:tr h="34535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kern="1200" noProof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Arial" pitchFamily="34" charset="-120"/>
                        </a:rPr>
                        <a:t>Peripheral neuropathy</a:t>
                      </a:r>
                    </a:p>
                  </a:txBody>
                  <a:tcPr marL="84667" marR="84667" marT="33867" marB="3386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B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0" kern="1200" noProof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Arial" charset="0"/>
                        </a:rPr>
                        <a:t>31%</a:t>
                      </a:r>
                    </a:p>
                  </a:txBody>
                  <a:tcPr marL="84667" marR="84667" marT="33867" marB="3386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B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0" kern="120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Arial" charset="0"/>
                        </a:rPr>
                        <a:t>8%</a:t>
                      </a:r>
                    </a:p>
                  </a:txBody>
                  <a:tcPr marL="84667" marR="84667" marT="33867" marB="3386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F2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340919"/>
                  </a:ext>
                </a:extLst>
              </a:tr>
              <a:tr h="34535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kern="1200" noProof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Arial" pitchFamily="34" charset="-120"/>
                        </a:rPr>
                        <a:t>Discontinuation due to AEs </a:t>
                      </a:r>
                    </a:p>
                  </a:txBody>
                  <a:tcPr marL="84667" marR="84667" marT="33867" marB="3386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0" kern="1200" noProof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Arial" charset="0"/>
                        </a:rPr>
                        <a:t>21%</a:t>
                      </a:r>
                    </a:p>
                  </a:txBody>
                  <a:tcPr marL="84667" marR="84667" marT="33867" marB="3386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0" kern="120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Arial" charset="0"/>
                        </a:rPr>
                        <a:t>13%</a:t>
                      </a:r>
                    </a:p>
                  </a:txBody>
                  <a:tcPr marL="84667" marR="84667" marT="33867" marB="3386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13017316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188865DD-B372-358B-B634-26F68D5E7896}"/>
              </a:ext>
            </a:extLst>
          </p:cNvPr>
          <p:cNvSpPr txBox="1"/>
          <p:nvPr/>
        </p:nvSpPr>
        <p:spPr>
          <a:xfrm>
            <a:off x="1005494" y="1816688"/>
            <a:ext cx="4488221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Arial" charset="0"/>
                <a:cs typeface="Arial" charset="0"/>
              </a:rPr>
              <a:t>P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ivotal study PFS</a:t>
            </a:r>
            <a:r>
              <a:rPr kumimoji="0" lang="en-GB" sz="1600" b="0" i="0" u="none" strike="noStrike" kern="1200" cap="none" spc="0" normalizeH="0" baseline="3000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,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*</a:t>
            </a:r>
            <a:r>
              <a:rPr kumimoji="0" lang="en-GB" sz="1600" b="0" i="0" u="none" strike="noStrike" kern="1200" cap="none" spc="0" normalizeH="0" baseline="3000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,</a:t>
            </a:r>
            <a:r>
              <a:rPr kumimoji="0" lang="en-GB" sz="1400" b="0" i="0" u="none" strike="noStrike" kern="1200" cap="none" spc="0" normalizeH="0" baseline="3000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Arial" pitchFamily="34" charset="-122"/>
                <a:cs typeface="Arial" pitchFamily="34" charset="-120"/>
              </a:rPr>
              <a:t> †</a:t>
            </a:r>
            <a:endParaRPr kumimoji="0" lang="en-GB" sz="1400" b="1" i="0" u="none" strike="noStrike" kern="1200" cap="none" spc="0" normalizeH="0" baseline="30000" noProof="0" dirty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84E7970-037F-F822-5E07-E13097391667}"/>
              </a:ext>
            </a:extLst>
          </p:cNvPr>
          <p:cNvSpPr txBox="1"/>
          <p:nvPr/>
        </p:nvSpPr>
        <p:spPr>
          <a:xfrm>
            <a:off x="1048430" y="2354368"/>
            <a:ext cx="228337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00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BA0EADBF-D04F-052F-4DEF-EDDA522B3FF3}"/>
              </a:ext>
            </a:extLst>
          </p:cNvPr>
          <p:cNvSpPr txBox="1"/>
          <p:nvPr/>
        </p:nvSpPr>
        <p:spPr>
          <a:xfrm>
            <a:off x="1048430" y="2705072"/>
            <a:ext cx="228337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80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6ACD1E74-9F25-4BA2-8794-FB524B633B94}"/>
              </a:ext>
            </a:extLst>
          </p:cNvPr>
          <p:cNvSpPr txBox="1"/>
          <p:nvPr/>
        </p:nvSpPr>
        <p:spPr>
          <a:xfrm>
            <a:off x="1048430" y="3055776"/>
            <a:ext cx="228337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60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9C7A50F5-7BF4-5961-072D-67DEF4472547}"/>
              </a:ext>
            </a:extLst>
          </p:cNvPr>
          <p:cNvSpPr txBox="1"/>
          <p:nvPr/>
        </p:nvSpPr>
        <p:spPr>
          <a:xfrm>
            <a:off x="1048430" y="3406480"/>
            <a:ext cx="228337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40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359488C4-2C76-3A91-287C-376BF4C2E902}"/>
              </a:ext>
            </a:extLst>
          </p:cNvPr>
          <p:cNvSpPr txBox="1"/>
          <p:nvPr/>
        </p:nvSpPr>
        <p:spPr>
          <a:xfrm>
            <a:off x="1048430" y="3757184"/>
            <a:ext cx="228337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20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3F21E642-F14F-5640-F211-2AFC58A510E6}"/>
              </a:ext>
            </a:extLst>
          </p:cNvPr>
          <p:cNvSpPr txBox="1"/>
          <p:nvPr/>
        </p:nvSpPr>
        <p:spPr>
          <a:xfrm>
            <a:off x="1186903" y="4107886"/>
            <a:ext cx="89864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0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52CFE877-57A5-2622-03B1-51CB30A2057F}"/>
              </a:ext>
            </a:extLst>
          </p:cNvPr>
          <p:cNvSpPr txBox="1"/>
          <p:nvPr/>
        </p:nvSpPr>
        <p:spPr>
          <a:xfrm rot="16200000">
            <a:off x="-142006" y="3239432"/>
            <a:ext cx="1924304" cy="169007"/>
          </a:xfrm>
          <a:prstGeom prst="rect">
            <a:avLst/>
          </a:prstGeom>
          <a:noFill/>
        </p:spPr>
        <p:txBody>
          <a:bodyPr wrap="non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PFS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, %</a:t>
            </a:r>
          </a:p>
        </p:txBody>
      </p: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914CA389-1F7D-FFC4-782D-D9DB08AE179C}"/>
              </a:ext>
            </a:extLst>
          </p:cNvPr>
          <p:cNvCxnSpPr>
            <a:cxnSpLocks/>
          </p:cNvCxnSpPr>
          <p:nvPr/>
        </p:nvCxnSpPr>
        <p:spPr>
          <a:xfrm>
            <a:off x="1308206" y="2413801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EF345C55-B8BC-456B-C984-1B4A954A4D4B}"/>
              </a:ext>
            </a:extLst>
          </p:cNvPr>
          <p:cNvCxnSpPr>
            <a:cxnSpLocks/>
          </p:cNvCxnSpPr>
          <p:nvPr/>
        </p:nvCxnSpPr>
        <p:spPr>
          <a:xfrm>
            <a:off x="1308206" y="2764217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847C1121-C43A-3F7B-FA04-12AB48F509A8}"/>
              </a:ext>
            </a:extLst>
          </p:cNvPr>
          <p:cNvCxnSpPr>
            <a:cxnSpLocks/>
          </p:cNvCxnSpPr>
          <p:nvPr/>
        </p:nvCxnSpPr>
        <p:spPr>
          <a:xfrm>
            <a:off x="1308206" y="3114633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FBFE6EE6-B292-F257-D9B7-571EDAC7E7C7}"/>
              </a:ext>
            </a:extLst>
          </p:cNvPr>
          <p:cNvCxnSpPr>
            <a:cxnSpLocks/>
          </p:cNvCxnSpPr>
          <p:nvPr/>
        </p:nvCxnSpPr>
        <p:spPr>
          <a:xfrm>
            <a:off x="1308206" y="3815465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887EF695-1D67-1ADC-8332-4FE35BCA1F25}"/>
              </a:ext>
            </a:extLst>
          </p:cNvPr>
          <p:cNvCxnSpPr>
            <a:cxnSpLocks/>
          </p:cNvCxnSpPr>
          <p:nvPr/>
        </p:nvCxnSpPr>
        <p:spPr>
          <a:xfrm>
            <a:off x="1308206" y="3465049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C408A44A-DD43-755F-E1E5-FD972AC8F472}"/>
              </a:ext>
            </a:extLst>
          </p:cNvPr>
          <p:cNvCxnSpPr>
            <a:cxnSpLocks/>
          </p:cNvCxnSpPr>
          <p:nvPr/>
        </p:nvCxnSpPr>
        <p:spPr>
          <a:xfrm>
            <a:off x="1308206" y="4165879"/>
            <a:ext cx="4309565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019B0D09-8C32-B8F2-6980-7C20E1BE2F79}"/>
              </a:ext>
            </a:extLst>
          </p:cNvPr>
          <p:cNvCxnSpPr>
            <a:cxnSpLocks/>
          </p:cNvCxnSpPr>
          <p:nvPr/>
        </p:nvCxnSpPr>
        <p:spPr>
          <a:xfrm rot="16200000">
            <a:off x="5451189" y="4201880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TextBox 65">
            <a:extLst>
              <a:ext uri="{FF2B5EF4-FFF2-40B4-BE49-F238E27FC236}">
                <a16:creationId xmlns:a16="http://schemas.microsoft.com/office/drawing/2014/main" id="{6909A255-0CC6-D1FA-9D31-5F28793B8775}"/>
              </a:ext>
            </a:extLst>
          </p:cNvPr>
          <p:cNvSpPr txBox="1"/>
          <p:nvPr/>
        </p:nvSpPr>
        <p:spPr>
          <a:xfrm>
            <a:off x="5399768" y="4324548"/>
            <a:ext cx="177880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 Display" panose="02110004020202020204"/>
                <a:ea typeface="+mn-ea"/>
                <a:cs typeface="Arial" panose="020B0604020202020204" pitchFamily="34" charset="0"/>
              </a:rPr>
              <a:t>54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02238B38-7707-7865-D175-511097D9F7F3}"/>
              </a:ext>
            </a:extLst>
          </p:cNvPr>
          <p:cNvSpPr txBox="1"/>
          <p:nvPr/>
        </p:nvSpPr>
        <p:spPr>
          <a:xfrm>
            <a:off x="3039921" y="4495247"/>
            <a:ext cx="863766" cy="11530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 Display" panose="02110004020202020204"/>
                <a:ea typeface="+mn-ea"/>
                <a:cs typeface="Arial" panose="020B0604020202020204" pitchFamily="34" charset="0"/>
              </a:rPr>
              <a:t>Months</a:t>
            </a:r>
          </a:p>
        </p:txBody>
      </p: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0A70FA23-24F4-029C-CB2A-8EC789FEE6CC}"/>
              </a:ext>
            </a:extLst>
          </p:cNvPr>
          <p:cNvCxnSpPr>
            <a:cxnSpLocks/>
          </p:cNvCxnSpPr>
          <p:nvPr/>
        </p:nvCxnSpPr>
        <p:spPr>
          <a:xfrm rot="16200000">
            <a:off x="1500219" y="4201879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0E42A16C-DDFF-1AD5-E1D8-601B43921C2F}"/>
              </a:ext>
            </a:extLst>
          </p:cNvPr>
          <p:cNvCxnSpPr>
            <a:cxnSpLocks/>
          </p:cNvCxnSpPr>
          <p:nvPr/>
        </p:nvCxnSpPr>
        <p:spPr>
          <a:xfrm rot="16200000">
            <a:off x="1652179" y="4201879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A9E889CE-5C0A-BABF-EC5B-FFAB9E77B926}"/>
              </a:ext>
            </a:extLst>
          </p:cNvPr>
          <p:cNvCxnSpPr>
            <a:cxnSpLocks/>
          </p:cNvCxnSpPr>
          <p:nvPr/>
        </p:nvCxnSpPr>
        <p:spPr>
          <a:xfrm rot="16200000">
            <a:off x="1804139" y="4201879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0E1FE738-0836-1A71-8638-A300DE081B8F}"/>
              </a:ext>
            </a:extLst>
          </p:cNvPr>
          <p:cNvCxnSpPr>
            <a:cxnSpLocks/>
          </p:cNvCxnSpPr>
          <p:nvPr/>
        </p:nvCxnSpPr>
        <p:spPr>
          <a:xfrm rot="16200000">
            <a:off x="1956099" y="4201879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3A5CB076-DE39-CBE5-81C5-3C85559928A6}"/>
              </a:ext>
            </a:extLst>
          </p:cNvPr>
          <p:cNvCxnSpPr>
            <a:cxnSpLocks/>
          </p:cNvCxnSpPr>
          <p:nvPr/>
        </p:nvCxnSpPr>
        <p:spPr>
          <a:xfrm rot="16200000">
            <a:off x="2108059" y="4201879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029266A6-7188-E43A-923F-66F62EFE1857}"/>
              </a:ext>
            </a:extLst>
          </p:cNvPr>
          <p:cNvCxnSpPr>
            <a:cxnSpLocks/>
          </p:cNvCxnSpPr>
          <p:nvPr/>
        </p:nvCxnSpPr>
        <p:spPr>
          <a:xfrm rot="16200000">
            <a:off x="2260019" y="4201879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687921A6-3EB9-5358-7E32-5C7E2DCC9178}"/>
              </a:ext>
            </a:extLst>
          </p:cNvPr>
          <p:cNvCxnSpPr>
            <a:cxnSpLocks/>
          </p:cNvCxnSpPr>
          <p:nvPr/>
        </p:nvCxnSpPr>
        <p:spPr>
          <a:xfrm rot="16200000">
            <a:off x="2411979" y="4201879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DA4F75AE-1C60-81B0-8824-1AA071FF3760}"/>
              </a:ext>
            </a:extLst>
          </p:cNvPr>
          <p:cNvCxnSpPr>
            <a:cxnSpLocks/>
          </p:cNvCxnSpPr>
          <p:nvPr/>
        </p:nvCxnSpPr>
        <p:spPr>
          <a:xfrm rot="16200000">
            <a:off x="2563939" y="4201879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4961F60B-CB77-97AD-5268-7053ED2A8B74}"/>
              </a:ext>
            </a:extLst>
          </p:cNvPr>
          <p:cNvCxnSpPr>
            <a:cxnSpLocks/>
          </p:cNvCxnSpPr>
          <p:nvPr/>
        </p:nvCxnSpPr>
        <p:spPr>
          <a:xfrm rot="16200000">
            <a:off x="2715899" y="4201879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C76C78C1-6613-DAE6-4919-FBE99F52E8BC}"/>
              </a:ext>
            </a:extLst>
          </p:cNvPr>
          <p:cNvCxnSpPr>
            <a:cxnSpLocks/>
          </p:cNvCxnSpPr>
          <p:nvPr/>
        </p:nvCxnSpPr>
        <p:spPr>
          <a:xfrm rot="16200000">
            <a:off x="2867859" y="4201880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C07799D4-7C95-6F8F-BB3A-D4E0AD930349}"/>
              </a:ext>
            </a:extLst>
          </p:cNvPr>
          <p:cNvCxnSpPr>
            <a:cxnSpLocks/>
          </p:cNvCxnSpPr>
          <p:nvPr/>
        </p:nvCxnSpPr>
        <p:spPr>
          <a:xfrm rot="16200000">
            <a:off x="3019819" y="4201880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FB9CD36D-EDFD-077F-F81C-F4E2E76ABF4F}"/>
              </a:ext>
            </a:extLst>
          </p:cNvPr>
          <p:cNvCxnSpPr>
            <a:cxnSpLocks/>
          </p:cNvCxnSpPr>
          <p:nvPr/>
        </p:nvCxnSpPr>
        <p:spPr>
          <a:xfrm rot="16200000">
            <a:off x="3171779" y="4201880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93C08608-51C8-EA18-2420-3278474A2731}"/>
              </a:ext>
            </a:extLst>
          </p:cNvPr>
          <p:cNvCxnSpPr>
            <a:cxnSpLocks/>
          </p:cNvCxnSpPr>
          <p:nvPr/>
        </p:nvCxnSpPr>
        <p:spPr>
          <a:xfrm rot="16200000">
            <a:off x="3323739" y="4201880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8C37098D-6002-08D3-2056-A1DCE9F840ED}"/>
              </a:ext>
            </a:extLst>
          </p:cNvPr>
          <p:cNvCxnSpPr>
            <a:cxnSpLocks/>
          </p:cNvCxnSpPr>
          <p:nvPr/>
        </p:nvCxnSpPr>
        <p:spPr>
          <a:xfrm rot="16200000">
            <a:off x="3475699" y="4201880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6117C01D-9F76-A70F-1F62-3B7495EE8DB7}"/>
              </a:ext>
            </a:extLst>
          </p:cNvPr>
          <p:cNvCxnSpPr>
            <a:cxnSpLocks/>
          </p:cNvCxnSpPr>
          <p:nvPr/>
        </p:nvCxnSpPr>
        <p:spPr>
          <a:xfrm rot="16200000">
            <a:off x="3627659" y="4201880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992882E7-03A0-29EA-512E-A260BC983FAE}"/>
              </a:ext>
            </a:extLst>
          </p:cNvPr>
          <p:cNvCxnSpPr>
            <a:cxnSpLocks/>
          </p:cNvCxnSpPr>
          <p:nvPr/>
        </p:nvCxnSpPr>
        <p:spPr>
          <a:xfrm rot="16200000">
            <a:off x="3779619" y="4201879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FCB22B9C-2A47-15D8-073B-9B66076693DD}"/>
              </a:ext>
            </a:extLst>
          </p:cNvPr>
          <p:cNvCxnSpPr>
            <a:cxnSpLocks/>
          </p:cNvCxnSpPr>
          <p:nvPr/>
        </p:nvCxnSpPr>
        <p:spPr>
          <a:xfrm rot="16200000">
            <a:off x="3931579" y="4201879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>
            <a:extLst>
              <a:ext uri="{FF2B5EF4-FFF2-40B4-BE49-F238E27FC236}">
                <a16:creationId xmlns:a16="http://schemas.microsoft.com/office/drawing/2014/main" id="{5160056C-BE54-CE55-4865-F2439EAFCF53}"/>
              </a:ext>
            </a:extLst>
          </p:cNvPr>
          <p:cNvCxnSpPr>
            <a:cxnSpLocks/>
          </p:cNvCxnSpPr>
          <p:nvPr/>
        </p:nvCxnSpPr>
        <p:spPr>
          <a:xfrm rot="16200000">
            <a:off x="4083539" y="4201879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31C00F67-CEF2-B244-605C-4B858DF8AF5D}"/>
              </a:ext>
            </a:extLst>
          </p:cNvPr>
          <p:cNvCxnSpPr>
            <a:cxnSpLocks/>
          </p:cNvCxnSpPr>
          <p:nvPr/>
        </p:nvCxnSpPr>
        <p:spPr>
          <a:xfrm rot="16200000">
            <a:off x="4235499" y="4201880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4335054C-4332-D41B-7630-28CB718961BB}"/>
              </a:ext>
            </a:extLst>
          </p:cNvPr>
          <p:cNvCxnSpPr>
            <a:cxnSpLocks/>
          </p:cNvCxnSpPr>
          <p:nvPr/>
        </p:nvCxnSpPr>
        <p:spPr>
          <a:xfrm rot="16200000">
            <a:off x="4387459" y="4201880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CEAAEE72-041F-DFF7-4EC6-11CE4533136B}"/>
              </a:ext>
            </a:extLst>
          </p:cNvPr>
          <p:cNvCxnSpPr>
            <a:cxnSpLocks/>
          </p:cNvCxnSpPr>
          <p:nvPr/>
        </p:nvCxnSpPr>
        <p:spPr>
          <a:xfrm rot="16200000">
            <a:off x="4539419" y="4201880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A64C6793-052C-AF30-E84C-98C68C24F41C}"/>
              </a:ext>
            </a:extLst>
          </p:cNvPr>
          <p:cNvCxnSpPr>
            <a:cxnSpLocks/>
          </p:cNvCxnSpPr>
          <p:nvPr/>
        </p:nvCxnSpPr>
        <p:spPr>
          <a:xfrm rot="16200000">
            <a:off x="4691379" y="4201880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5CDE289E-B20C-D573-4955-86D5912B9D8B}"/>
              </a:ext>
            </a:extLst>
          </p:cNvPr>
          <p:cNvCxnSpPr>
            <a:cxnSpLocks/>
          </p:cNvCxnSpPr>
          <p:nvPr/>
        </p:nvCxnSpPr>
        <p:spPr>
          <a:xfrm rot="16200000">
            <a:off x="4843339" y="4201880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id="{99C57F2C-9284-1FD2-3C59-C61DF3D59744}"/>
              </a:ext>
            </a:extLst>
          </p:cNvPr>
          <p:cNvCxnSpPr>
            <a:cxnSpLocks/>
          </p:cNvCxnSpPr>
          <p:nvPr/>
        </p:nvCxnSpPr>
        <p:spPr>
          <a:xfrm rot="16200000">
            <a:off x="4995299" y="4201879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1CCD98C8-278D-3CD3-0E74-BC810E8597D5}"/>
              </a:ext>
            </a:extLst>
          </p:cNvPr>
          <p:cNvCxnSpPr>
            <a:cxnSpLocks/>
          </p:cNvCxnSpPr>
          <p:nvPr/>
        </p:nvCxnSpPr>
        <p:spPr>
          <a:xfrm rot="16200000">
            <a:off x="5147259" y="4201879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Straight Connector 92">
            <a:extLst>
              <a:ext uri="{FF2B5EF4-FFF2-40B4-BE49-F238E27FC236}">
                <a16:creationId xmlns:a16="http://schemas.microsoft.com/office/drawing/2014/main" id="{172C4EAA-9512-8A17-5C93-DEACA365F3DA}"/>
              </a:ext>
            </a:extLst>
          </p:cNvPr>
          <p:cNvCxnSpPr>
            <a:cxnSpLocks/>
          </p:cNvCxnSpPr>
          <p:nvPr/>
        </p:nvCxnSpPr>
        <p:spPr>
          <a:xfrm rot="16200000">
            <a:off x="5299219" y="4201879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TextBox 93">
            <a:extLst>
              <a:ext uri="{FF2B5EF4-FFF2-40B4-BE49-F238E27FC236}">
                <a16:creationId xmlns:a16="http://schemas.microsoft.com/office/drawing/2014/main" id="{FF76202C-B801-CDDF-E441-40080C03F560}"/>
              </a:ext>
            </a:extLst>
          </p:cNvPr>
          <p:cNvSpPr txBox="1"/>
          <p:nvPr/>
        </p:nvSpPr>
        <p:spPr>
          <a:xfrm>
            <a:off x="1446483" y="4324548"/>
            <a:ext cx="177880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 Display" panose="02110004020202020204"/>
                <a:ea typeface="+mn-ea"/>
                <a:cs typeface="Arial" panose="020B0604020202020204" pitchFamily="34" charset="0"/>
              </a:rPr>
              <a:t>2</a:t>
            </a: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16DE2AB4-96AE-6067-7BF6-E78979896931}"/>
              </a:ext>
            </a:extLst>
          </p:cNvPr>
          <p:cNvSpPr txBox="1"/>
          <p:nvPr/>
        </p:nvSpPr>
        <p:spPr>
          <a:xfrm>
            <a:off x="1598532" y="4324548"/>
            <a:ext cx="177880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 Display" panose="02110004020202020204"/>
                <a:ea typeface="+mn-ea"/>
                <a:cs typeface="Arial" panose="020B0604020202020204" pitchFamily="34" charset="0"/>
              </a:rPr>
              <a:t>4</a:t>
            </a: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B3F2FC29-7F99-E25A-FE56-E1B292DDAD7C}"/>
              </a:ext>
            </a:extLst>
          </p:cNvPr>
          <p:cNvSpPr txBox="1"/>
          <p:nvPr/>
        </p:nvSpPr>
        <p:spPr>
          <a:xfrm>
            <a:off x="1750581" y="4324548"/>
            <a:ext cx="177880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 Display" panose="02110004020202020204"/>
                <a:ea typeface="+mn-ea"/>
                <a:cs typeface="Arial" panose="020B0604020202020204" pitchFamily="34" charset="0"/>
              </a:rPr>
              <a:t>6</a:t>
            </a: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653F13B0-4801-F682-281D-AAE52CCFEEF4}"/>
              </a:ext>
            </a:extLst>
          </p:cNvPr>
          <p:cNvSpPr txBox="1"/>
          <p:nvPr/>
        </p:nvSpPr>
        <p:spPr>
          <a:xfrm>
            <a:off x="1902630" y="4324548"/>
            <a:ext cx="177880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 Display" panose="02110004020202020204"/>
                <a:ea typeface="+mn-ea"/>
                <a:cs typeface="Arial" panose="020B0604020202020204" pitchFamily="34" charset="0"/>
              </a:rPr>
              <a:t>8</a:t>
            </a: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3D256A63-F2DA-22CC-0C1F-106EBE8556D6}"/>
              </a:ext>
            </a:extLst>
          </p:cNvPr>
          <p:cNvSpPr txBox="1"/>
          <p:nvPr/>
        </p:nvSpPr>
        <p:spPr>
          <a:xfrm>
            <a:off x="2054679" y="4324548"/>
            <a:ext cx="177880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 Display" panose="02110004020202020204"/>
                <a:ea typeface="+mn-ea"/>
                <a:cs typeface="Arial" panose="020B0604020202020204" pitchFamily="34" charset="0"/>
              </a:rPr>
              <a:t>10</a:t>
            </a: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F60DA327-D96A-3C2F-EFFF-F800188AB416}"/>
              </a:ext>
            </a:extLst>
          </p:cNvPr>
          <p:cNvSpPr txBox="1"/>
          <p:nvPr/>
        </p:nvSpPr>
        <p:spPr>
          <a:xfrm>
            <a:off x="2206728" y="4324548"/>
            <a:ext cx="177880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 Display" panose="02110004020202020204"/>
                <a:ea typeface="+mn-ea"/>
                <a:cs typeface="Arial" panose="020B0604020202020204" pitchFamily="34" charset="0"/>
              </a:rPr>
              <a:t>12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B2D92B92-9E01-8D8A-124B-2DFB4690DBF3}"/>
              </a:ext>
            </a:extLst>
          </p:cNvPr>
          <p:cNvSpPr txBox="1"/>
          <p:nvPr/>
        </p:nvSpPr>
        <p:spPr>
          <a:xfrm>
            <a:off x="2358777" y="4324548"/>
            <a:ext cx="177880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 Display" panose="02110004020202020204"/>
                <a:ea typeface="+mn-ea"/>
                <a:cs typeface="Arial" panose="020B0604020202020204" pitchFamily="34" charset="0"/>
              </a:rPr>
              <a:t>14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4AF386EB-060E-D567-1B08-8D75364A08D9}"/>
              </a:ext>
            </a:extLst>
          </p:cNvPr>
          <p:cNvSpPr txBox="1"/>
          <p:nvPr/>
        </p:nvSpPr>
        <p:spPr>
          <a:xfrm>
            <a:off x="2510826" y="4324548"/>
            <a:ext cx="177880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 Display" panose="02110004020202020204"/>
                <a:ea typeface="+mn-ea"/>
                <a:cs typeface="Arial" panose="020B0604020202020204" pitchFamily="34" charset="0"/>
              </a:rPr>
              <a:t>16</a:t>
            </a: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30B54A3C-5C48-6825-C418-16ABC18607CA}"/>
              </a:ext>
            </a:extLst>
          </p:cNvPr>
          <p:cNvSpPr txBox="1"/>
          <p:nvPr/>
        </p:nvSpPr>
        <p:spPr>
          <a:xfrm>
            <a:off x="2662875" y="4324548"/>
            <a:ext cx="177880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 Display" panose="02110004020202020204"/>
                <a:ea typeface="+mn-ea"/>
                <a:cs typeface="Arial" panose="020B0604020202020204" pitchFamily="34" charset="0"/>
              </a:rPr>
              <a:t>18</a:t>
            </a: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1B3E5E97-E5B3-A51B-2130-D5B3C3BA4D39}"/>
              </a:ext>
            </a:extLst>
          </p:cNvPr>
          <p:cNvSpPr txBox="1"/>
          <p:nvPr/>
        </p:nvSpPr>
        <p:spPr>
          <a:xfrm>
            <a:off x="2814924" y="4324548"/>
            <a:ext cx="177880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 Display" panose="02110004020202020204"/>
                <a:ea typeface="+mn-ea"/>
                <a:cs typeface="Arial" panose="020B0604020202020204" pitchFamily="34" charset="0"/>
              </a:rPr>
              <a:t>20</a:t>
            </a: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18590FD5-B788-B7C1-C1FF-F1669A5EF8E9}"/>
              </a:ext>
            </a:extLst>
          </p:cNvPr>
          <p:cNvSpPr txBox="1"/>
          <p:nvPr/>
        </p:nvSpPr>
        <p:spPr>
          <a:xfrm>
            <a:off x="2966973" y="4324548"/>
            <a:ext cx="177880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 Display" panose="02110004020202020204"/>
                <a:ea typeface="+mn-ea"/>
                <a:cs typeface="Arial" panose="020B0604020202020204" pitchFamily="34" charset="0"/>
              </a:rPr>
              <a:t>22</a:t>
            </a:r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45DEB243-08FF-9591-EBF3-4883CC0103FA}"/>
              </a:ext>
            </a:extLst>
          </p:cNvPr>
          <p:cNvSpPr txBox="1"/>
          <p:nvPr/>
        </p:nvSpPr>
        <p:spPr>
          <a:xfrm>
            <a:off x="3119022" y="4324548"/>
            <a:ext cx="177880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 Display" panose="02110004020202020204"/>
                <a:ea typeface="+mn-ea"/>
                <a:cs typeface="Arial" panose="020B0604020202020204" pitchFamily="34" charset="0"/>
              </a:rPr>
              <a:t>24</a:t>
            </a: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99DF0CAA-83CE-1849-F1DE-0F1497A8E45C}"/>
              </a:ext>
            </a:extLst>
          </p:cNvPr>
          <p:cNvSpPr txBox="1"/>
          <p:nvPr/>
        </p:nvSpPr>
        <p:spPr>
          <a:xfrm>
            <a:off x="3271071" y="4324548"/>
            <a:ext cx="177880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 Display" panose="02110004020202020204"/>
                <a:ea typeface="+mn-ea"/>
                <a:cs typeface="Arial" panose="020B0604020202020204" pitchFamily="34" charset="0"/>
              </a:rPr>
              <a:t>26</a:t>
            </a: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32E43E97-B2E0-2F70-2811-C0ADE2DE45C7}"/>
              </a:ext>
            </a:extLst>
          </p:cNvPr>
          <p:cNvSpPr txBox="1"/>
          <p:nvPr/>
        </p:nvSpPr>
        <p:spPr>
          <a:xfrm>
            <a:off x="3423120" y="4324548"/>
            <a:ext cx="177880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 Display" panose="02110004020202020204"/>
                <a:ea typeface="+mn-ea"/>
                <a:cs typeface="Arial" panose="020B0604020202020204" pitchFamily="34" charset="0"/>
              </a:rPr>
              <a:t>28</a:t>
            </a: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0EF99865-78BE-9E82-5397-B9DE3EA0D3AD}"/>
              </a:ext>
            </a:extLst>
          </p:cNvPr>
          <p:cNvSpPr txBox="1"/>
          <p:nvPr/>
        </p:nvSpPr>
        <p:spPr>
          <a:xfrm>
            <a:off x="3575169" y="4324548"/>
            <a:ext cx="177880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 Display" panose="02110004020202020204"/>
                <a:ea typeface="+mn-ea"/>
                <a:cs typeface="Arial" panose="020B0604020202020204" pitchFamily="34" charset="0"/>
              </a:rPr>
              <a:t>30</a:t>
            </a:r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EE4BBDB6-917D-5A3F-E47B-F783083E3DFB}"/>
              </a:ext>
            </a:extLst>
          </p:cNvPr>
          <p:cNvSpPr txBox="1"/>
          <p:nvPr/>
        </p:nvSpPr>
        <p:spPr>
          <a:xfrm>
            <a:off x="3727218" y="4324548"/>
            <a:ext cx="177880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 Display" panose="02110004020202020204"/>
                <a:ea typeface="+mn-ea"/>
                <a:cs typeface="Arial" panose="020B0604020202020204" pitchFamily="34" charset="0"/>
              </a:rPr>
              <a:t>32</a:t>
            </a: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2DB5AB17-C7AD-8B8C-D0AA-E794495B2AA6}"/>
              </a:ext>
            </a:extLst>
          </p:cNvPr>
          <p:cNvSpPr txBox="1"/>
          <p:nvPr/>
        </p:nvSpPr>
        <p:spPr>
          <a:xfrm>
            <a:off x="3879267" y="4324548"/>
            <a:ext cx="177880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 Display" panose="02110004020202020204"/>
                <a:ea typeface="+mn-ea"/>
                <a:cs typeface="Arial" panose="020B0604020202020204" pitchFamily="34" charset="0"/>
              </a:rPr>
              <a:t>34</a:t>
            </a:r>
          </a:p>
        </p:txBody>
      </p:sp>
      <p:sp>
        <p:nvSpPr>
          <p:cNvPr id="111" name="TextBox 110">
            <a:extLst>
              <a:ext uri="{FF2B5EF4-FFF2-40B4-BE49-F238E27FC236}">
                <a16:creationId xmlns:a16="http://schemas.microsoft.com/office/drawing/2014/main" id="{8B09E687-FB54-5FB4-A8F8-86B72D15551E}"/>
              </a:ext>
            </a:extLst>
          </p:cNvPr>
          <p:cNvSpPr txBox="1"/>
          <p:nvPr/>
        </p:nvSpPr>
        <p:spPr>
          <a:xfrm>
            <a:off x="4031316" y="4324548"/>
            <a:ext cx="177880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 Display" panose="02110004020202020204"/>
                <a:ea typeface="+mn-ea"/>
                <a:cs typeface="Arial" panose="020B0604020202020204" pitchFamily="34" charset="0"/>
              </a:rPr>
              <a:t>36</a:t>
            </a:r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D4E5A302-473F-C23A-D241-65709899B1BB}"/>
              </a:ext>
            </a:extLst>
          </p:cNvPr>
          <p:cNvSpPr txBox="1"/>
          <p:nvPr/>
        </p:nvSpPr>
        <p:spPr>
          <a:xfrm>
            <a:off x="4183365" y="4324548"/>
            <a:ext cx="177880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 Display" panose="02110004020202020204"/>
                <a:ea typeface="+mn-ea"/>
                <a:cs typeface="Arial" panose="020B0604020202020204" pitchFamily="34" charset="0"/>
              </a:rPr>
              <a:t>38</a:t>
            </a:r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id="{3F167ACA-7D6A-5C06-4187-BF8EF89F5457}"/>
              </a:ext>
            </a:extLst>
          </p:cNvPr>
          <p:cNvSpPr txBox="1"/>
          <p:nvPr/>
        </p:nvSpPr>
        <p:spPr>
          <a:xfrm>
            <a:off x="4335414" y="4324548"/>
            <a:ext cx="177880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 Display" panose="02110004020202020204"/>
                <a:ea typeface="+mn-ea"/>
                <a:cs typeface="Arial" panose="020B0604020202020204" pitchFamily="34" charset="0"/>
              </a:rPr>
              <a:t>40</a:t>
            </a:r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3008033C-CD3B-6640-1EEE-5BAB96F3DADD}"/>
              </a:ext>
            </a:extLst>
          </p:cNvPr>
          <p:cNvSpPr txBox="1"/>
          <p:nvPr/>
        </p:nvSpPr>
        <p:spPr>
          <a:xfrm>
            <a:off x="4487463" y="4324548"/>
            <a:ext cx="177880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 Display" panose="02110004020202020204"/>
                <a:ea typeface="+mn-ea"/>
                <a:cs typeface="Arial" panose="020B0604020202020204" pitchFamily="34" charset="0"/>
              </a:rPr>
              <a:t>42</a:t>
            </a:r>
          </a:p>
        </p:txBody>
      </p:sp>
      <p:sp>
        <p:nvSpPr>
          <p:cNvPr id="115" name="TextBox 114">
            <a:extLst>
              <a:ext uri="{FF2B5EF4-FFF2-40B4-BE49-F238E27FC236}">
                <a16:creationId xmlns:a16="http://schemas.microsoft.com/office/drawing/2014/main" id="{AF210027-CC28-6B5A-C841-22C26D293394}"/>
              </a:ext>
            </a:extLst>
          </p:cNvPr>
          <p:cNvSpPr txBox="1"/>
          <p:nvPr/>
        </p:nvSpPr>
        <p:spPr>
          <a:xfrm>
            <a:off x="4639512" y="4324548"/>
            <a:ext cx="177880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 Display" panose="02110004020202020204"/>
                <a:ea typeface="+mn-ea"/>
                <a:cs typeface="Arial" panose="020B0604020202020204" pitchFamily="34" charset="0"/>
              </a:rPr>
              <a:t>44</a:t>
            </a: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D2245D9A-6FE4-A2B9-1B17-528E83F4931C}"/>
              </a:ext>
            </a:extLst>
          </p:cNvPr>
          <p:cNvSpPr txBox="1"/>
          <p:nvPr/>
        </p:nvSpPr>
        <p:spPr>
          <a:xfrm>
            <a:off x="4791561" y="4324548"/>
            <a:ext cx="177880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 Display" panose="02110004020202020204"/>
                <a:ea typeface="+mn-ea"/>
                <a:cs typeface="Arial" panose="020B0604020202020204" pitchFamily="34" charset="0"/>
              </a:rPr>
              <a:t>46</a:t>
            </a: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856B3F7F-966F-7D6B-2E2B-3F84AACAAC96}"/>
              </a:ext>
            </a:extLst>
          </p:cNvPr>
          <p:cNvSpPr txBox="1"/>
          <p:nvPr/>
        </p:nvSpPr>
        <p:spPr>
          <a:xfrm>
            <a:off x="4943610" y="4324548"/>
            <a:ext cx="177880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 Display" panose="02110004020202020204"/>
                <a:ea typeface="+mn-ea"/>
                <a:cs typeface="Arial" panose="020B0604020202020204" pitchFamily="34" charset="0"/>
              </a:rPr>
              <a:t>48</a:t>
            </a:r>
          </a:p>
        </p:txBody>
      </p:sp>
      <p:sp>
        <p:nvSpPr>
          <p:cNvPr id="119" name="TextBox 118">
            <a:extLst>
              <a:ext uri="{FF2B5EF4-FFF2-40B4-BE49-F238E27FC236}">
                <a16:creationId xmlns:a16="http://schemas.microsoft.com/office/drawing/2014/main" id="{DC8DEE3B-31E2-E0FF-FCD6-E92D36C97912}"/>
              </a:ext>
            </a:extLst>
          </p:cNvPr>
          <p:cNvSpPr txBox="1"/>
          <p:nvPr/>
        </p:nvSpPr>
        <p:spPr>
          <a:xfrm>
            <a:off x="5095659" y="4324548"/>
            <a:ext cx="177880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 Display" panose="02110004020202020204"/>
                <a:ea typeface="+mn-ea"/>
                <a:cs typeface="Arial" panose="020B0604020202020204" pitchFamily="34" charset="0"/>
              </a:rPr>
              <a:t>50</a:t>
            </a:r>
          </a:p>
        </p:txBody>
      </p:sp>
      <p:sp>
        <p:nvSpPr>
          <p:cNvPr id="120" name="TextBox 119">
            <a:extLst>
              <a:ext uri="{FF2B5EF4-FFF2-40B4-BE49-F238E27FC236}">
                <a16:creationId xmlns:a16="http://schemas.microsoft.com/office/drawing/2014/main" id="{43166BAE-A949-697E-89EB-289BDBAD47A2}"/>
              </a:ext>
            </a:extLst>
          </p:cNvPr>
          <p:cNvSpPr txBox="1"/>
          <p:nvPr/>
        </p:nvSpPr>
        <p:spPr>
          <a:xfrm>
            <a:off x="5247708" y="4324548"/>
            <a:ext cx="177880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 Display" panose="02110004020202020204"/>
                <a:ea typeface="+mn-ea"/>
                <a:cs typeface="Arial" panose="020B0604020202020204" pitchFamily="34" charset="0"/>
              </a:rPr>
              <a:t>52</a:t>
            </a:r>
          </a:p>
        </p:txBody>
      </p:sp>
      <p:sp>
        <p:nvSpPr>
          <p:cNvPr id="121" name="TextBox 120">
            <a:extLst>
              <a:ext uri="{FF2B5EF4-FFF2-40B4-BE49-F238E27FC236}">
                <a16:creationId xmlns:a16="http://schemas.microsoft.com/office/drawing/2014/main" id="{58FAFC0A-E51C-3C63-F343-17E5738EFE88}"/>
              </a:ext>
            </a:extLst>
          </p:cNvPr>
          <p:cNvSpPr txBox="1"/>
          <p:nvPr/>
        </p:nvSpPr>
        <p:spPr>
          <a:xfrm>
            <a:off x="1294434" y="4324548"/>
            <a:ext cx="177880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 Display" panose="02110004020202020204"/>
                <a:ea typeface="+mn-ea"/>
                <a:cs typeface="Arial" panose="020B0604020202020204" pitchFamily="34" charset="0"/>
              </a:rPr>
              <a:t>0</a:t>
            </a:r>
          </a:p>
        </p:txBody>
      </p:sp>
      <p:sp>
        <p:nvSpPr>
          <p:cNvPr id="122" name="TextBox 121">
            <a:extLst>
              <a:ext uri="{FF2B5EF4-FFF2-40B4-BE49-F238E27FC236}">
                <a16:creationId xmlns:a16="http://schemas.microsoft.com/office/drawing/2014/main" id="{C73A507C-D77E-6CCC-8702-CA6A5F0FFFEB}"/>
              </a:ext>
            </a:extLst>
          </p:cNvPr>
          <p:cNvSpPr txBox="1"/>
          <p:nvPr/>
        </p:nvSpPr>
        <p:spPr>
          <a:xfrm>
            <a:off x="1445855" y="4918726"/>
            <a:ext cx="177880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F15922"/>
                </a:solidFill>
                <a:effectLst/>
                <a:uLnTx/>
                <a:uFillTx/>
                <a:latin typeface="Aptos Display" panose="02110004020202020204"/>
                <a:ea typeface="+mn-ea"/>
                <a:cs typeface="Arial" panose="020B0604020202020204" pitchFamily="34" charset="0"/>
              </a:rPr>
              <a:t>32</a:t>
            </a: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C6641488-132A-A325-5219-76C7057C0379}"/>
              </a:ext>
            </a:extLst>
          </p:cNvPr>
          <p:cNvSpPr txBox="1"/>
          <p:nvPr/>
        </p:nvSpPr>
        <p:spPr>
          <a:xfrm>
            <a:off x="1597904" y="4918726"/>
            <a:ext cx="177880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F15922"/>
                </a:solidFill>
                <a:effectLst/>
                <a:uLnTx/>
                <a:uFillTx/>
                <a:latin typeface="Aptos Display" panose="02110004020202020204"/>
                <a:ea typeface="+mn-ea"/>
                <a:cs typeface="Arial" panose="020B0604020202020204" pitchFamily="34" charset="0"/>
              </a:rPr>
              <a:t>28</a:t>
            </a:r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id="{3CD4B635-DFCA-B058-3EA0-C5C156174E1E}"/>
              </a:ext>
            </a:extLst>
          </p:cNvPr>
          <p:cNvSpPr txBox="1"/>
          <p:nvPr/>
        </p:nvSpPr>
        <p:spPr>
          <a:xfrm>
            <a:off x="1749953" y="4918726"/>
            <a:ext cx="177880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F15922"/>
                </a:solidFill>
                <a:effectLst/>
                <a:uLnTx/>
                <a:uFillTx/>
                <a:latin typeface="Aptos Display" panose="02110004020202020204"/>
                <a:ea typeface="+mn-ea"/>
                <a:cs typeface="Arial" panose="020B0604020202020204" pitchFamily="34" charset="0"/>
              </a:rPr>
              <a:t>25</a:t>
            </a:r>
          </a:p>
        </p:txBody>
      </p:sp>
      <p:sp>
        <p:nvSpPr>
          <p:cNvPr id="125" name="TextBox 124">
            <a:extLst>
              <a:ext uri="{FF2B5EF4-FFF2-40B4-BE49-F238E27FC236}">
                <a16:creationId xmlns:a16="http://schemas.microsoft.com/office/drawing/2014/main" id="{4A76C2F4-CB10-F75E-CD9D-83722365F965}"/>
              </a:ext>
            </a:extLst>
          </p:cNvPr>
          <p:cNvSpPr txBox="1"/>
          <p:nvPr/>
        </p:nvSpPr>
        <p:spPr>
          <a:xfrm>
            <a:off x="1902002" y="4918726"/>
            <a:ext cx="177880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F15922"/>
                </a:solidFill>
                <a:effectLst/>
                <a:uLnTx/>
                <a:uFillTx/>
                <a:latin typeface="Aptos Display" panose="02110004020202020204"/>
                <a:ea typeface="+mn-ea"/>
                <a:cs typeface="Arial" panose="020B0604020202020204" pitchFamily="34" charset="0"/>
              </a:rPr>
              <a:t>20</a:t>
            </a:r>
          </a:p>
        </p:txBody>
      </p:sp>
      <p:sp>
        <p:nvSpPr>
          <p:cNvPr id="126" name="TextBox 125">
            <a:extLst>
              <a:ext uri="{FF2B5EF4-FFF2-40B4-BE49-F238E27FC236}">
                <a16:creationId xmlns:a16="http://schemas.microsoft.com/office/drawing/2014/main" id="{EBB601D5-03C0-9F97-57B8-2FBBAF694F18}"/>
              </a:ext>
            </a:extLst>
          </p:cNvPr>
          <p:cNvSpPr txBox="1"/>
          <p:nvPr/>
        </p:nvSpPr>
        <p:spPr>
          <a:xfrm>
            <a:off x="2054051" y="4918726"/>
            <a:ext cx="177880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F15922"/>
                </a:solidFill>
                <a:effectLst/>
                <a:uLnTx/>
                <a:uFillTx/>
                <a:latin typeface="Aptos Display" panose="02110004020202020204"/>
                <a:ea typeface="+mn-ea"/>
                <a:cs typeface="Arial" panose="020B0604020202020204" pitchFamily="34" charset="0"/>
              </a:rPr>
              <a:t>18</a:t>
            </a:r>
          </a:p>
        </p:txBody>
      </p:sp>
      <p:sp>
        <p:nvSpPr>
          <p:cNvPr id="127" name="TextBox 126">
            <a:extLst>
              <a:ext uri="{FF2B5EF4-FFF2-40B4-BE49-F238E27FC236}">
                <a16:creationId xmlns:a16="http://schemas.microsoft.com/office/drawing/2014/main" id="{9C31090C-2C54-CD00-F354-11FE433F697C}"/>
              </a:ext>
            </a:extLst>
          </p:cNvPr>
          <p:cNvSpPr txBox="1"/>
          <p:nvPr/>
        </p:nvSpPr>
        <p:spPr>
          <a:xfrm>
            <a:off x="2206100" y="4918726"/>
            <a:ext cx="177880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F15922"/>
                </a:solidFill>
                <a:effectLst/>
                <a:uLnTx/>
                <a:uFillTx/>
                <a:latin typeface="Aptos Display" panose="02110004020202020204"/>
                <a:ea typeface="+mn-ea"/>
                <a:cs typeface="Arial" panose="020B0604020202020204" pitchFamily="34" charset="0"/>
              </a:rPr>
              <a:t>16</a:t>
            </a: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525541F0-5A00-06A2-A0E5-3B5FF7819344}"/>
              </a:ext>
            </a:extLst>
          </p:cNvPr>
          <p:cNvSpPr txBox="1"/>
          <p:nvPr/>
        </p:nvSpPr>
        <p:spPr>
          <a:xfrm>
            <a:off x="2358149" y="4918726"/>
            <a:ext cx="177880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F15922"/>
                </a:solidFill>
                <a:effectLst/>
                <a:uLnTx/>
                <a:uFillTx/>
                <a:latin typeface="Aptos Display" panose="02110004020202020204"/>
                <a:ea typeface="+mn-ea"/>
                <a:cs typeface="Arial" panose="020B0604020202020204" pitchFamily="34" charset="0"/>
              </a:rPr>
              <a:t>13</a:t>
            </a: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445053CE-BBDB-2F70-C48E-AC0F1590C4B8}"/>
              </a:ext>
            </a:extLst>
          </p:cNvPr>
          <p:cNvSpPr txBox="1"/>
          <p:nvPr/>
        </p:nvSpPr>
        <p:spPr>
          <a:xfrm>
            <a:off x="2510198" y="4918726"/>
            <a:ext cx="177880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F15922"/>
                </a:solidFill>
                <a:effectLst/>
                <a:uLnTx/>
                <a:uFillTx/>
                <a:latin typeface="Aptos Display" panose="02110004020202020204"/>
                <a:ea typeface="+mn-ea"/>
                <a:cs typeface="Arial" panose="020B0604020202020204" pitchFamily="34" charset="0"/>
              </a:rPr>
              <a:t>12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5195BA59-4841-1989-7A4A-0CC6F6652CC2}"/>
              </a:ext>
            </a:extLst>
          </p:cNvPr>
          <p:cNvSpPr txBox="1"/>
          <p:nvPr/>
        </p:nvSpPr>
        <p:spPr>
          <a:xfrm>
            <a:off x="2662247" y="4918726"/>
            <a:ext cx="177880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F15922"/>
                </a:solidFill>
                <a:effectLst/>
                <a:uLnTx/>
                <a:uFillTx/>
                <a:latin typeface="Aptos Display" panose="02110004020202020204"/>
                <a:ea typeface="+mn-ea"/>
                <a:cs typeface="Arial" panose="020B0604020202020204" pitchFamily="34" charset="0"/>
              </a:rPr>
              <a:t>10</a:t>
            </a: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01635760-D13A-45E6-FB7A-0BF2AEBBB6DF}"/>
              </a:ext>
            </a:extLst>
          </p:cNvPr>
          <p:cNvSpPr txBox="1"/>
          <p:nvPr/>
        </p:nvSpPr>
        <p:spPr>
          <a:xfrm>
            <a:off x="2814296" y="4918726"/>
            <a:ext cx="177880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F15922"/>
                </a:solidFill>
                <a:effectLst/>
                <a:uLnTx/>
                <a:uFillTx/>
                <a:latin typeface="Aptos Display" panose="02110004020202020204"/>
                <a:ea typeface="+mn-ea"/>
                <a:cs typeface="Arial" panose="020B0604020202020204" pitchFamily="34" charset="0"/>
              </a:rPr>
              <a:t>9</a:t>
            </a:r>
          </a:p>
        </p:txBody>
      </p:sp>
      <p:sp>
        <p:nvSpPr>
          <p:cNvPr id="132" name="TextBox 131">
            <a:extLst>
              <a:ext uri="{FF2B5EF4-FFF2-40B4-BE49-F238E27FC236}">
                <a16:creationId xmlns:a16="http://schemas.microsoft.com/office/drawing/2014/main" id="{20D13591-39F2-873B-550F-7E94F601B09E}"/>
              </a:ext>
            </a:extLst>
          </p:cNvPr>
          <p:cNvSpPr txBox="1"/>
          <p:nvPr/>
        </p:nvSpPr>
        <p:spPr>
          <a:xfrm>
            <a:off x="2966345" y="4918726"/>
            <a:ext cx="177880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F15922"/>
                </a:solidFill>
                <a:effectLst/>
                <a:uLnTx/>
                <a:uFillTx/>
                <a:latin typeface="Aptos Display" panose="02110004020202020204"/>
                <a:ea typeface="+mn-ea"/>
                <a:cs typeface="Arial" panose="020B0604020202020204" pitchFamily="34" charset="0"/>
              </a:rPr>
              <a:t>9</a:t>
            </a:r>
          </a:p>
        </p:txBody>
      </p:sp>
      <p:sp>
        <p:nvSpPr>
          <p:cNvPr id="133" name="TextBox 132">
            <a:extLst>
              <a:ext uri="{FF2B5EF4-FFF2-40B4-BE49-F238E27FC236}">
                <a16:creationId xmlns:a16="http://schemas.microsoft.com/office/drawing/2014/main" id="{54857C3D-05D6-8E7D-2A96-E6C3FF1C6836}"/>
              </a:ext>
            </a:extLst>
          </p:cNvPr>
          <p:cNvSpPr txBox="1"/>
          <p:nvPr/>
        </p:nvSpPr>
        <p:spPr>
          <a:xfrm>
            <a:off x="3118394" y="4918726"/>
            <a:ext cx="177880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F15922"/>
                </a:solidFill>
                <a:effectLst/>
                <a:uLnTx/>
                <a:uFillTx/>
                <a:latin typeface="Aptos Display" panose="02110004020202020204"/>
                <a:ea typeface="+mn-ea"/>
                <a:cs typeface="Arial" panose="020B0604020202020204" pitchFamily="34" charset="0"/>
              </a:rPr>
              <a:t>9</a:t>
            </a:r>
          </a:p>
        </p:txBody>
      </p:sp>
      <p:sp>
        <p:nvSpPr>
          <p:cNvPr id="134" name="TextBox 133">
            <a:extLst>
              <a:ext uri="{FF2B5EF4-FFF2-40B4-BE49-F238E27FC236}">
                <a16:creationId xmlns:a16="http://schemas.microsoft.com/office/drawing/2014/main" id="{A0D78E4F-B7A4-AF21-A5D5-07B362599620}"/>
              </a:ext>
            </a:extLst>
          </p:cNvPr>
          <p:cNvSpPr txBox="1"/>
          <p:nvPr/>
        </p:nvSpPr>
        <p:spPr>
          <a:xfrm>
            <a:off x="3270443" y="4918726"/>
            <a:ext cx="177880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F15922"/>
                </a:solidFill>
                <a:effectLst/>
                <a:uLnTx/>
                <a:uFillTx/>
                <a:latin typeface="Aptos Display" panose="02110004020202020204"/>
                <a:ea typeface="+mn-ea"/>
                <a:cs typeface="Arial" panose="020B0604020202020204" pitchFamily="34" charset="0"/>
              </a:rPr>
              <a:t>9</a:t>
            </a:r>
          </a:p>
        </p:txBody>
      </p:sp>
      <p:sp>
        <p:nvSpPr>
          <p:cNvPr id="135" name="TextBox 134">
            <a:extLst>
              <a:ext uri="{FF2B5EF4-FFF2-40B4-BE49-F238E27FC236}">
                <a16:creationId xmlns:a16="http://schemas.microsoft.com/office/drawing/2014/main" id="{984880B6-9765-8DE3-4930-FF50BE83408C}"/>
              </a:ext>
            </a:extLst>
          </p:cNvPr>
          <p:cNvSpPr txBox="1"/>
          <p:nvPr/>
        </p:nvSpPr>
        <p:spPr>
          <a:xfrm>
            <a:off x="3422492" y="4918726"/>
            <a:ext cx="177880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F15922"/>
                </a:solidFill>
                <a:effectLst/>
                <a:uLnTx/>
                <a:uFillTx/>
                <a:latin typeface="Aptos Display" panose="02110004020202020204"/>
                <a:ea typeface="+mn-ea"/>
                <a:cs typeface="Arial" panose="020B0604020202020204" pitchFamily="34" charset="0"/>
              </a:rPr>
              <a:t>9</a:t>
            </a:r>
          </a:p>
        </p:txBody>
      </p:sp>
      <p:sp>
        <p:nvSpPr>
          <p:cNvPr id="136" name="TextBox 135">
            <a:extLst>
              <a:ext uri="{FF2B5EF4-FFF2-40B4-BE49-F238E27FC236}">
                <a16:creationId xmlns:a16="http://schemas.microsoft.com/office/drawing/2014/main" id="{B7C10970-A130-B75C-CA0F-18655F0E4C5A}"/>
              </a:ext>
            </a:extLst>
          </p:cNvPr>
          <p:cNvSpPr txBox="1"/>
          <p:nvPr/>
        </p:nvSpPr>
        <p:spPr>
          <a:xfrm>
            <a:off x="3574541" y="4918726"/>
            <a:ext cx="177880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F15922"/>
                </a:solidFill>
                <a:effectLst/>
                <a:uLnTx/>
                <a:uFillTx/>
                <a:latin typeface="Aptos Display" panose="02110004020202020204"/>
                <a:ea typeface="+mn-ea"/>
                <a:cs typeface="Arial" panose="020B0604020202020204" pitchFamily="34" charset="0"/>
              </a:rPr>
              <a:t>6</a:t>
            </a:r>
          </a:p>
        </p:txBody>
      </p:sp>
      <p:sp>
        <p:nvSpPr>
          <p:cNvPr id="137" name="TextBox 136">
            <a:extLst>
              <a:ext uri="{FF2B5EF4-FFF2-40B4-BE49-F238E27FC236}">
                <a16:creationId xmlns:a16="http://schemas.microsoft.com/office/drawing/2014/main" id="{DC56A8D2-5840-4077-0F8F-9368F7455EC2}"/>
              </a:ext>
            </a:extLst>
          </p:cNvPr>
          <p:cNvSpPr txBox="1"/>
          <p:nvPr/>
        </p:nvSpPr>
        <p:spPr>
          <a:xfrm>
            <a:off x="3726590" y="4918726"/>
            <a:ext cx="177880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F15922"/>
                </a:solidFill>
                <a:effectLst/>
                <a:uLnTx/>
                <a:uFillTx/>
                <a:latin typeface="Aptos Display" panose="02110004020202020204"/>
                <a:ea typeface="+mn-ea"/>
                <a:cs typeface="Arial" panose="020B0604020202020204" pitchFamily="34" charset="0"/>
              </a:rPr>
              <a:t>6</a:t>
            </a:r>
          </a:p>
        </p:txBody>
      </p:sp>
      <p:sp>
        <p:nvSpPr>
          <p:cNvPr id="138" name="TextBox 137">
            <a:extLst>
              <a:ext uri="{FF2B5EF4-FFF2-40B4-BE49-F238E27FC236}">
                <a16:creationId xmlns:a16="http://schemas.microsoft.com/office/drawing/2014/main" id="{E0EE298C-B6B3-216E-5F4E-76FCB7CCC10C}"/>
              </a:ext>
            </a:extLst>
          </p:cNvPr>
          <p:cNvSpPr txBox="1"/>
          <p:nvPr/>
        </p:nvSpPr>
        <p:spPr>
          <a:xfrm>
            <a:off x="3878639" y="4918726"/>
            <a:ext cx="177880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F15922"/>
                </a:solidFill>
                <a:effectLst/>
                <a:uLnTx/>
                <a:uFillTx/>
                <a:latin typeface="Aptos Display" panose="02110004020202020204"/>
                <a:ea typeface="+mn-ea"/>
                <a:cs typeface="Arial" panose="020B0604020202020204" pitchFamily="34" charset="0"/>
              </a:rPr>
              <a:t>5</a:t>
            </a:r>
          </a:p>
        </p:txBody>
      </p:sp>
      <p:sp>
        <p:nvSpPr>
          <p:cNvPr id="139" name="TextBox 138">
            <a:extLst>
              <a:ext uri="{FF2B5EF4-FFF2-40B4-BE49-F238E27FC236}">
                <a16:creationId xmlns:a16="http://schemas.microsoft.com/office/drawing/2014/main" id="{0CC8E896-8C3C-171D-3C0B-2DC9104DE461}"/>
              </a:ext>
            </a:extLst>
          </p:cNvPr>
          <p:cNvSpPr txBox="1"/>
          <p:nvPr/>
        </p:nvSpPr>
        <p:spPr>
          <a:xfrm>
            <a:off x="4030688" y="4918726"/>
            <a:ext cx="177880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F15922"/>
                </a:solidFill>
                <a:effectLst/>
                <a:uLnTx/>
                <a:uFillTx/>
                <a:latin typeface="Aptos Display" panose="02110004020202020204"/>
                <a:ea typeface="+mn-ea"/>
                <a:cs typeface="Arial" panose="020B0604020202020204" pitchFamily="34" charset="0"/>
              </a:rPr>
              <a:t>4</a:t>
            </a:r>
          </a:p>
        </p:txBody>
      </p:sp>
      <p:sp>
        <p:nvSpPr>
          <p:cNvPr id="140" name="TextBox 139">
            <a:extLst>
              <a:ext uri="{FF2B5EF4-FFF2-40B4-BE49-F238E27FC236}">
                <a16:creationId xmlns:a16="http://schemas.microsoft.com/office/drawing/2014/main" id="{6DC99048-18EC-77B4-560A-330DEF63BFF1}"/>
              </a:ext>
            </a:extLst>
          </p:cNvPr>
          <p:cNvSpPr txBox="1"/>
          <p:nvPr/>
        </p:nvSpPr>
        <p:spPr>
          <a:xfrm>
            <a:off x="4182737" y="4918726"/>
            <a:ext cx="177880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F15922"/>
                </a:solidFill>
                <a:effectLst/>
                <a:uLnTx/>
                <a:uFillTx/>
                <a:latin typeface="Aptos Display" panose="02110004020202020204"/>
                <a:ea typeface="+mn-ea"/>
                <a:cs typeface="Arial" panose="020B0604020202020204" pitchFamily="34" charset="0"/>
              </a:rPr>
              <a:t>4</a:t>
            </a:r>
          </a:p>
        </p:txBody>
      </p:sp>
      <p:sp>
        <p:nvSpPr>
          <p:cNvPr id="141" name="TextBox 140">
            <a:extLst>
              <a:ext uri="{FF2B5EF4-FFF2-40B4-BE49-F238E27FC236}">
                <a16:creationId xmlns:a16="http://schemas.microsoft.com/office/drawing/2014/main" id="{13114AA2-CD10-1FB4-1338-E74961DF4C66}"/>
              </a:ext>
            </a:extLst>
          </p:cNvPr>
          <p:cNvSpPr txBox="1"/>
          <p:nvPr/>
        </p:nvSpPr>
        <p:spPr>
          <a:xfrm>
            <a:off x="4334786" y="4918726"/>
            <a:ext cx="177880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F15922"/>
                </a:solidFill>
                <a:effectLst/>
                <a:uLnTx/>
                <a:uFillTx/>
                <a:latin typeface="Aptos Display" panose="02110004020202020204"/>
                <a:ea typeface="+mn-ea"/>
                <a:cs typeface="Arial" panose="020B0604020202020204" pitchFamily="34" charset="0"/>
              </a:rPr>
              <a:t>4</a:t>
            </a: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0A50B6A9-18C1-2D48-8D95-C9B81D650D64}"/>
              </a:ext>
            </a:extLst>
          </p:cNvPr>
          <p:cNvSpPr txBox="1"/>
          <p:nvPr/>
        </p:nvSpPr>
        <p:spPr>
          <a:xfrm>
            <a:off x="4486835" y="4918726"/>
            <a:ext cx="177880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F15922"/>
                </a:solidFill>
                <a:effectLst/>
                <a:uLnTx/>
                <a:uFillTx/>
                <a:latin typeface="Aptos Display" panose="02110004020202020204"/>
                <a:ea typeface="+mn-ea"/>
                <a:cs typeface="Arial" panose="020B0604020202020204" pitchFamily="34" charset="0"/>
              </a:rPr>
              <a:t>4</a:t>
            </a:r>
          </a:p>
        </p:txBody>
      </p:sp>
      <p:sp>
        <p:nvSpPr>
          <p:cNvPr id="143" name="TextBox 142">
            <a:extLst>
              <a:ext uri="{FF2B5EF4-FFF2-40B4-BE49-F238E27FC236}">
                <a16:creationId xmlns:a16="http://schemas.microsoft.com/office/drawing/2014/main" id="{958F6F6C-D963-D981-62FC-9B8DBE5C96AB}"/>
              </a:ext>
            </a:extLst>
          </p:cNvPr>
          <p:cNvSpPr txBox="1"/>
          <p:nvPr/>
        </p:nvSpPr>
        <p:spPr>
          <a:xfrm>
            <a:off x="4638884" y="4918726"/>
            <a:ext cx="177880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F15922"/>
                </a:solidFill>
                <a:effectLst/>
                <a:uLnTx/>
                <a:uFillTx/>
                <a:latin typeface="Aptos Display" panose="02110004020202020204"/>
                <a:ea typeface="+mn-ea"/>
                <a:cs typeface="Arial" panose="020B0604020202020204" pitchFamily="34" charset="0"/>
              </a:rPr>
              <a:t>3</a:t>
            </a:r>
          </a:p>
        </p:txBody>
      </p:sp>
      <p:sp>
        <p:nvSpPr>
          <p:cNvPr id="144" name="TextBox 143">
            <a:extLst>
              <a:ext uri="{FF2B5EF4-FFF2-40B4-BE49-F238E27FC236}">
                <a16:creationId xmlns:a16="http://schemas.microsoft.com/office/drawing/2014/main" id="{68AB63AE-560E-12C3-F572-BC9DCCBA1307}"/>
              </a:ext>
            </a:extLst>
          </p:cNvPr>
          <p:cNvSpPr txBox="1"/>
          <p:nvPr/>
        </p:nvSpPr>
        <p:spPr>
          <a:xfrm>
            <a:off x="4790933" y="4918726"/>
            <a:ext cx="177880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F15922"/>
                </a:solidFill>
                <a:effectLst/>
                <a:uLnTx/>
                <a:uFillTx/>
                <a:latin typeface="Aptos Display" panose="02110004020202020204"/>
                <a:ea typeface="+mn-ea"/>
                <a:cs typeface="Arial" panose="020B0604020202020204" pitchFamily="34" charset="0"/>
              </a:rPr>
              <a:t>3</a:t>
            </a:r>
          </a:p>
        </p:txBody>
      </p:sp>
      <p:sp>
        <p:nvSpPr>
          <p:cNvPr id="145" name="TextBox 144">
            <a:extLst>
              <a:ext uri="{FF2B5EF4-FFF2-40B4-BE49-F238E27FC236}">
                <a16:creationId xmlns:a16="http://schemas.microsoft.com/office/drawing/2014/main" id="{47E79583-A8A4-03D9-D49A-6DFDABF085A0}"/>
              </a:ext>
            </a:extLst>
          </p:cNvPr>
          <p:cNvSpPr txBox="1"/>
          <p:nvPr/>
        </p:nvSpPr>
        <p:spPr>
          <a:xfrm>
            <a:off x="4942982" y="4918726"/>
            <a:ext cx="177880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F15922"/>
                </a:solidFill>
                <a:effectLst/>
                <a:uLnTx/>
                <a:uFillTx/>
                <a:latin typeface="Aptos Display" panose="02110004020202020204"/>
                <a:ea typeface="+mn-ea"/>
                <a:cs typeface="Arial" panose="020B0604020202020204" pitchFamily="34" charset="0"/>
              </a:rPr>
              <a:t>1</a:t>
            </a:r>
          </a:p>
        </p:txBody>
      </p:sp>
      <p:sp>
        <p:nvSpPr>
          <p:cNvPr id="146" name="TextBox 145">
            <a:extLst>
              <a:ext uri="{FF2B5EF4-FFF2-40B4-BE49-F238E27FC236}">
                <a16:creationId xmlns:a16="http://schemas.microsoft.com/office/drawing/2014/main" id="{D39F9D4E-635A-5F75-A52D-FB28DBBC7959}"/>
              </a:ext>
            </a:extLst>
          </p:cNvPr>
          <p:cNvSpPr txBox="1"/>
          <p:nvPr/>
        </p:nvSpPr>
        <p:spPr>
          <a:xfrm>
            <a:off x="5095031" y="4918726"/>
            <a:ext cx="177880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F15922"/>
                </a:solidFill>
                <a:effectLst/>
                <a:uLnTx/>
                <a:uFillTx/>
                <a:latin typeface="Aptos Display" panose="02110004020202020204"/>
                <a:ea typeface="+mn-ea"/>
                <a:cs typeface="Arial" panose="020B0604020202020204" pitchFamily="34" charset="0"/>
              </a:rPr>
              <a:t>1</a:t>
            </a:r>
          </a:p>
        </p:txBody>
      </p:sp>
      <p:sp>
        <p:nvSpPr>
          <p:cNvPr id="147" name="TextBox 146">
            <a:extLst>
              <a:ext uri="{FF2B5EF4-FFF2-40B4-BE49-F238E27FC236}">
                <a16:creationId xmlns:a16="http://schemas.microsoft.com/office/drawing/2014/main" id="{B4DEA0EB-562F-3E1F-EE8F-5C055E36331C}"/>
              </a:ext>
            </a:extLst>
          </p:cNvPr>
          <p:cNvSpPr txBox="1"/>
          <p:nvPr/>
        </p:nvSpPr>
        <p:spPr>
          <a:xfrm>
            <a:off x="1293806" y="4918726"/>
            <a:ext cx="177880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F15922"/>
                </a:solidFill>
                <a:effectLst/>
                <a:uLnTx/>
                <a:uFillTx/>
                <a:latin typeface="Aptos Display" panose="02110004020202020204"/>
                <a:ea typeface="+mn-ea"/>
                <a:cs typeface="Arial" panose="020B0604020202020204" pitchFamily="34" charset="0"/>
              </a:rPr>
              <a:t>40</a:t>
            </a:r>
          </a:p>
        </p:txBody>
      </p:sp>
      <p:sp>
        <p:nvSpPr>
          <p:cNvPr id="148" name="TextBox 147">
            <a:extLst>
              <a:ext uri="{FF2B5EF4-FFF2-40B4-BE49-F238E27FC236}">
                <a16:creationId xmlns:a16="http://schemas.microsoft.com/office/drawing/2014/main" id="{EBD95598-1F6C-F7FE-AD5A-05FEBBDFB47C}"/>
              </a:ext>
            </a:extLst>
          </p:cNvPr>
          <p:cNvSpPr txBox="1"/>
          <p:nvPr/>
        </p:nvSpPr>
        <p:spPr>
          <a:xfrm>
            <a:off x="1446300" y="5112098"/>
            <a:ext cx="177880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ABBFC9">
                    <a:lumMod val="75000"/>
                  </a:srgbClr>
                </a:solidFill>
                <a:effectLst/>
                <a:uLnTx/>
                <a:uFillTx/>
                <a:latin typeface="Aptos Display" panose="02110004020202020204"/>
                <a:ea typeface="+mn-ea"/>
                <a:cs typeface="Arial" panose="020B0604020202020204" pitchFamily="34" charset="0"/>
              </a:rPr>
              <a:t>24</a:t>
            </a:r>
          </a:p>
        </p:txBody>
      </p:sp>
      <p:sp>
        <p:nvSpPr>
          <p:cNvPr id="149" name="TextBox 148">
            <a:extLst>
              <a:ext uri="{FF2B5EF4-FFF2-40B4-BE49-F238E27FC236}">
                <a16:creationId xmlns:a16="http://schemas.microsoft.com/office/drawing/2014/main" id="{7AE6BA37-AFB2-6FAB-4F77-60A72D80C112}"/>
              </a:ext>
            </a:extLst>
          </p:cNvPr>
          <p:cNvSpPr txBox="1"/>
          <p:nvPr/>
        </p:nvSpPr>
        <p:spPr>
          <a:xfrm>
            <a:off x="1598349" y="5112098"/>
            <a:ext cx="177880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ABBFC9">
                    <a:lumMod val="75000"/>
                  </a:srgbClr>
                </a:solidFill>
                <a:effectLst/>
                <a:uLnTx/>
                <a:uFillTx/>
                <a:latin typeface="Aptos Display" panose="02110004020202020204"/>
                <a:ea typeface="+mn-ea"/>
                <a:cs typeface="Arial" panose="020B0604020202020204" pitchFamily="34" charset="0"/>
              </a:rPr>
              <a:t>13</a:t>
            </a:r>
          </a:p>
        </p:txBody>
      </p:sp>
      <p:sp>
        <p:nvSpPr>
          <p:cNvPr id="150" name="TextBox 149">
            <a:extLst>
              <a:ext uri="{FF2B5EF4-FFF2-40B4-BE49-F238E27FC236}">
                <a16:creationId xmlns:a16="http://schemas.microsoft.com/office/drawing/2014/main" id="{275847C1-768F-CC7E-3D23-3109FB857AF2}"/>
              </a:ext>
            </a:extLst>
          </p:cNvPr>
          <p:cNvSpPr txBox="1"/>
          <p:nvPr/>
        </p:nvSpPr>
        <p:spPr>
          <a:xfrm>
            <a:off x="1750398" y="5112098"/>
            <a:ext cx="177880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ABBFC9">
                    <a:lumMod val="75000"/>
                  </a:srgbClr>
                </a:solidFill>
                <a:effectLst/>
                <a:uLnTx/>
                <a:uFillTx/>
                <a:latin typeface="Aptos Display" panose="02110004020202020204"/>
                <a:ea typeface="+mn-ea"/>
                <a:cs typeface="Arial" panose="020B0604020202020204" pitchFamily="34" charset="0"/>
              </a:rPr>
              <a:t>6</a:t>
            </a:r>
          </a:p>
        </p:txBody>
      </p:sp>
      <p:sp>
        <p:nvSpPr>
          <p:cNvPr id="151" name="TextBox 150">
            <a:extLst>
              <a:ext uri="{FF2B5EF4-FFF2-40B4-BE49-F238E27FC236}">
                <a16:creationId xmlns:a16="http://schemas.microsoft.com/office/drawing/2014/main" id="{61379143-5CA6-396F-8C9E-820E929736FD}"/>
              </a:ext>
            </a:extLst>
          </p:cNvPr>
          <p:cNvSpPr txBox="1"/>
          <p:nvPr/>
        </p:nvSpPr>
        <p:spPr>
          <a:xfrm>
            <a:off x="1902447" y="5112098"/>
            <a:ext cx="177880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ABBFC9">
                    <a:lumMod val="75000"/>
                  </a:srgbClr>
                </a:solidFill>
                <a:effectLst/>
                <a:uLnTx/>
                <a:uFillTx/>
                <a:latin typeface="Aptos Display" panose="02110004020202020204"/>
                <a:ea typeface="+mn-ea"/>
                <a:cs typeface="Arial" panose="020B0604020202020204" pitchFamily="34" charset="0"/>
              </a:rPr>
              <a:t>6</a:t>
            </a:r>
          </a:p>
        </p:txBody>
      </p:sp>
      <p:sp>
        <p:nvSpPr>
          <p:cNvPr id="152" name="TextBox 151">
            <a:extLst>
              <a:ext uri="{FF2B5EF4-FFF2-40B4-BE49-F238E27FC236}">
                <a16:creationId xmlns:a16="http://schemas.microsoft.com/office/drawing/2014/main" id="{99D0FD98-3BCC-D2ED-8597-90E1A2497970}"/>
              </a:ext>
            </a:extLst>
          </p:cNvPr>
          <p:cNvSpPr txBox="1"/>
          <p:nvPr/>
        </p:nvSpPr>
        <p:spPr>
          <a:xfrm>
            <a:off x="2054496" y="5112098"/>
            <a:ext cx="177880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ABBFC9">
                    <a:lumMod val="75000"/>
                  </a:srgbClr>
                </a:solidFill>
                <a:effectLst/>
                <a:uLnTx/>
                <a:uFillTx/>
                <a:latin typeface="Aptos Display" panose="02110004020202020204"/>
                <a:ea typeface="+mn-ea"/>
                <a:cs typeface="Arial" panose="020B0604020202020204" pitchFamily="34" charset="0"/>
              </a:rPr>
              <a:t>6</a:t>
            </a:r>
          </a:p>
        </p:txBody>
      </p:sp>
      <p:sp>
        <p:nvSpPr>
          <p:cNvPr id="153" name="TextBox 152">
            <a:extLst>
              <a:ext uri="{FF2B5EF4-FFF2-40B4-BE49-F238E27FC236}">
                <a16:creationId xmlns:a16="http://schemas.microsoft.com/office/drawing/2014/main" id="{932B2454-608A-2B17-E32B-0CAFB3A71910}"/>
              </a:ext>
            </a:extLst>
          </p:cNvPr>
          <p:cNvSpPr txBox="1"/>
          <p:nvPr/>
        </p:nvSpPr>
        <p:spPr>
          <a:xfrm>
            <a:off x="2206545" y="5112098"/>
            <a:ext cx="177880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ABBFC9">
                    <a:lumMod val="75000"/>
                  </a:srgbClr>
                </a:solidFill>
                <a:effectLst/>
                <a:uLnTx/>
                <a:uFillTx/>
                <a:latin typeface="Aptos Display" panose="02110004020202020204"/>
                <a:ea typeface="+mn-ea"/>
                <a:cs typeface="Arial" panose="020B0604020202020204" pitchFamily="34" charset="0"/>
              </a:rPr>
              <a:t>5</a:t>
            </a:r>
          </a:p>
        </p:txBody>
      </p:sp>
      <p:sp>
        <p:nvSpPr>
          <p:cNvPr id="154" name="TextBox 153">
            <a:extLst>
              <a:ext uri="{FF2B5EF4-FFF2-40B4-BE49-F238E27FC236}">
                <a16:creationId xmlns:a16="http://schemas.microsoft.com/office/drawing/2014/main" id="{096475BD-4875-AD40-4EF6-113576094309}"/>
              </a:ext>
            </a:extLst>
          </p:cNvPr>
          <p:cNvSpPr txBox="1"/>
          <p:nvPr/>
        </p:nvSpPr>
        <p:spPr>
          <a:xfrm>
            <a:off x="2358594" y="5112098"/>
            <a:ext cx="177880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ABBFC9">
                    <a:lumMod val="75000"/>
                  </a:srgbClr>
                </a:solidFill>
                <a:effectLst/>
                <a:uLnTx/>
                <a:uFillTx/>
                <a:latin typeface="Aptos Display" panose="02110004020202020204"/>
                <a:ea typeface="+mn-ea"/>
                <a:cs typeface="Arial" panose="020B0604020202020204" pitchFamily="34" charset="0"/>
              </a:rPr>
              <a:t>5</a:t>
            </a:r>
          </a:p>
        </p:txBody>
      </p:sp>
      <p:sp>
        <p:nvSpPr>
          <p:cNvPr id="155" name="TextBox 154">
            <a:extLst>
              <a:ext uri="{FF2B5EF4-FFF2-40B4-BE49-F238E27FC236}">
                <a16:creationId xmlns:a16="http://schemas.microsoft.com/office/drawing/2014/main" id="{BF213327-8ABF-4C61-E1D2-DD9196522C82}"/>
              </a:ext>
            </a:extLst>
          </p:cNvPr>
          <p:cNvSpPr txBox="1"/>
          <p:nvPr/>
        </p:nvSpPr>
        <p:spPr>
          <a:xfrm>
            <a:off x="2510643" y="5112098"/>
            <a:ext cx="177880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ABBFC9">
                    <a:lumMod val="75000"/>
                  </a:srgbClr>
                </a:solidFill>
                <a:effectLst/>
                <a:uLnTx/>
                <a:uFillTx/>
                <a:latin typeface="Aptos Display" panose="02110004020202020204"/>
                <a:ea typeface="+mn-ea"/>
                <a:cs typeface="Arial" panose="020B0604020202020204" pitchFamily="34" charset="0"/>
              </a:rPr>
              <a:t>4</a:t>
            </a:r>
          </a:p>
        </p:txBody>
      </p:sp>
      <p:sp>
        <p:nvSpPr>
          <p:cNvPr id="156" name="TextBox 155">
            <a:extLst>
              <a:ext uri="{FF2B5EF4-FFF2-40B4-BE49-F238E27FC236}">
                <a16:creationId xmlns:a16="http://schemas.microsoft.com/office/drawing/2014/main" id="{CABF6CDE-5A23-8713-825A-C07A5C8FE18E}"/>
              </a:ext>
            </a:extLst>
          </p:cNvPr>
          <p:cNvSpPr txBox="1"/>
          <p:nvPr/>
        </p:nvSpPr>
        <p:spPr>
          <a:xfrm>
            <a:off x="2662692" y="5112098"/>
            <a:ext cx="177880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ABBFC9">
                    <a:lumMod val="75000"/>
                  </a:srgbClr>
                </a:solidFill>
                <a:effectLst/>
                <a:uLnTx/>
                <a:uFillTx/>
                <a:latin typeface="Aptos Display" panose="02110004020202020204"/>
                <a:ea typeface="+mn-ea"/>
                <a:cs typeface="Arial" panose="020B0604020202020204" pitchFamily="34" charset="0"/>
              </a:rPr>
              <a:t>4</a:t>
            </a:r>
          </a:p>
        </p:txBody>
      </p:sp>
      <p:sp>
        <p:nvSpPr>
          <p:cNvPr id="157" name="TextBox 156">
            <a:extLst>
              <a:ext uri="{FF2B5EF4-FFF2-40B4-BE49-F238E27FC236}">
                <a16:creationId xmlns:a16="http://schemas.microsoft.com/office/drawing/2014/main" id="{433FF970-7994-739C-4500-C8EB444E99C7}"/>
              </a:ext>
            </a:extLst>
          </p:cNvPr>
          <p:cNvSpPr txBox="1"/>
          <p:nvPr/>
        </p:nvSpPr>
        <p:spPr>
          <a:xfrm>
            <a:off x="2814741" y="5112098"/>
            <a:ext cx="177880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ABBFC9">
                    <a:lumMod val="75000"/>
                  </a:srgbClr>
                </a:solidFill>
                <a:effectLst/>
                <a:uLnTx/>
                <a:uFillTx/>
                <a:latin typeface="Aptos Display" panose="02110004020202020204"/>
                <a:ea typeface="+mn-ea"/>
                <a:cs typeface="Arial" panose="020B0604020202020204" pitchFamily="34" charset="0"/>
              </a:rPr>
              <a:t>4</a:t>
            </a:r>
          </a:p>
        </p:txBody>
      </p:sp>
      <p:sp>
        <p:nvSpPr>
          <p:cNvPr id="158" name="TextBox 157">
            <a:extLst>
              <a:ext uri="{FF2B5EF4-FFF2-40B4-BE49-F238E27FC236}">
                <a16:creationId xmlns:a16="http://schemas.microsoft.com/office/drawing/2014/main" id="{A504ECC7-DB11-2D50-827C-1B3EE44E63E2}"/>
              </a:ext>
            </a:extLst>
          </p:cNvPr>
          <p:cNvSpPr txBox="1"/>
          <p:nvPr/>
        </p:nvSpPr>
        <p:spPr>
          <a:xfrm>
            <a:off x="2966790" y="5112098"/>
            <a:ext cx="177880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ABBFC9">
                    <a:lumMod val="75000"/>
                  </a:srgbClr>
                </a:solidFill>
                <a:effectLst/>
                <a:uLnTx/>
                <a:uFillTx/>
                <a:latin typeface="Aptos Display" panose="02110004020202020204"/>
                <a:ea typeface="+mn-ea"/>
                <a:cs typeface="Arial" panose="020B0604020202020204" pitchFamily="34" charset="0"/>
              </a:rPr>
              <a:t>2</a:t>
            </a:r>
          </a:p>
        </p:txBody>
      </p:sp>
      <p:sp>
        <p:nvSpPr>
          <p:cNvPr id="159" name="TextBox 158">
            <a:extLst>
              <a:ext uri="{FF2B5EF4-FFF2-40B4-BE49-F238E27FC236}">
                <a16:creationId xmlns:a16="http://schemas.microsoft.com/office/drawing/2014/main" id="{9CA2018B-AB8C-4B53-B548-17045E754270}"/>
              </a:ext>
            </a:extLst>
          </p:cNvPr>
          <p:cNvSpPr txBox="1"/>
          <p:nvPr/>
        </p:nvSpPr>
        <p:spPr>
          <a:xfrm>
            <a:off x="3118839" y="5112098"/>
            <a:ext cx="177880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ABBFC9">
                    <a:lumMod val="75000"/>
                  </a:srgbClr>
                </a:solidFill>
                <a:effectLst/>
                <a:uLnTx/>
                <a:uFillTx/>
                <a:latin typeface="Aptos Display" panose="02110004020202020204"/>
                <a:ea typeface="+mn-ea"/>
                <a:cs typeface="Arial" panose="020B0604020202020204" pitchFamily="34" charset="0"/>
              </a:rPr>
              <a:t>2</a:t>
            </a:r>
          </a:p>
        </p:txBody>
      </p:sp>
      <p:sp>
        <p:nvSpPr>
          <p:cNvPr id="160" name="TextBox 159">
            <a:extLst>
              <a:ext uri="{FF2B5EF4-FFF2-40B4-BE49-F238E27FC236}">
                <a16:creationId xmlns:a16="http://schemas.microsoft.com/office/drawing/2014/main" id="{7E3366F8-8757-1689-DBEB-9693DF4D3DF3}"/>
              </a:ext>
            </a:extLst>
          </p:cNvPr>
          <p:cNvSpPr txBox="1"/>
          <p:nvPr/>
        </p:nvSpPr>
        <p:spPr>
          <a:xfrm>
            <a:off x="1294251" y="5112098"/>
            <a:ext cx="177880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ABBFC9">
                    <a:lumMod val="75000"/>
                  </a:srgbClr>
                </a:solidFill>
                <a:effectLst/>
                <a:uLnTx/>
                <a:uFillTx/>
                <a:latin typeface="Aptos Display" panose="02110004020202020204"/>
                <a:ea typeface="+mn-ea"/>
                <a:cs typeface="Arial" panose="020B0604020202020204" pitchFamily="34" charset="0"/>
              </a:rPr>
              <a:t>40</a:t>
            </a:r>
          </a:p>
        </p:txBody>
      </p:sp>
      <p:sp>
        <p:nvSpPr>
          <p:cNvPr id="161" name="TextBox 160">
            <a:extLst>
              <a:ext uri="{FF2B5EF4-FFF2-40B4-BE49-F238E27FC236}">
                <a16:creationId xmlns:a16="http://schemas.microsoft.com/office/drawing/2014/main" id="{6A2D69D6-2B53-1382-2F4C-DF55F51A3DCC}"/>
              </a:ext>
            </a:extLst>
          </p:cNvPr>
          <p:cNvSpPr txBox="1"/>
          <p:nvPr/>
        </p:nvSpPr>
        <p:spPr>
          <a:xfrm>
            <a:off x="3270799" y="5112098"/>
            <a:ext cx="177880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ABBFC9">
                    <a:lumMod val="75000"/>
                  </a:srgbClr>
                </a:solidFill>
                <a:effectLst/>
                <a:uLnTx/>
                <a:uFillTx/>
                <a:latin typeface="Aptos Display" panose="02110004020202020204"/>
                <a:ea typeface="+mn-ea"/>
                <a:cs typeface="Arial" panose="020B0604020202020204" pitchFamily="34" charset="0"/>
              </a:rPr>
              <a:t>1</a:t>
            </a:r>
          </a:p>
        </p:txBody>
      </p:sp>
      <p:sp>
        <p:nvSpPr>
          <p:cNvPr id="162" name="TextBox 161">
            <a:extLst>
              <a:ext uri="{FF2B5EF4-FFF2-40B4-BE49-F238E27FC236}">
                <a16:creationId xmlns:a16="http://schemas.microsoft.com/office/drawing/2014/main" id="{AD2A887D-6616-5070-4626-D04A00AD21D1}"/>
              </a:ext>
            </a:extLst>
          </p:cNvPr>
          <p:cNvSpPr txBox="1"/>
          <p:nvPr/>
        </p:nvSpPr>
        <p:spPr>
          <a:xfrm>
            <a:off x="377003" y="4665811"/>
            <a:ext cx="864066" cy="11519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No. at risk</a:t>
            </a:r>
          </a:p>
        </p:txBody>
      </p:sp>
      <p:sp>
        <p:nvSpPr>
          <p:cNvPr id="163" name="TextBox 162">
            <a:extLst>
              <a:ext uri="{FF2B5EF4-FFF2-40B4-BE49-F238E27FC236}">
                <a16:creationId xmlns:a16="http://schemas.microsoft.com/office/drawing/2014/main" id="{A5FB7AEB-EC39-7A8E-7AE0-4FCA9A819847}"/>
              </a:ext>
            </a:extLst>
          </p:cNvPr>
          <p:cNvSpPr txBox="1"/>
          <p:nvPr/>
        </p:nvSpPr>
        <p:spPr>
          <a:xfrm>
            <a:off x="368836" y="4868188"/>
            <a:ext cx="863766" cy="11530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F15922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Pola+ BR</a:t>
            </a:r>
          </a:p>
        </p:txBody>
      </p:sp>
      <p:sp>
        <p:nvSpPr>
          <p:cNvPr id="164" name="TextBox 163">
            <a:extLst>
              <a:ext uri="{FF2B5EF4-FFF2-40B4-BE49-F238E27FC236}">
                <a16:creationId xmlns:a16="http://schemas.microsoft.com/office/drawing/2014/main" id="{9CACDB16-013E-8256-D93B-2FDC842B7EF4}"/>
              </a:ext>
            </a:extLst>
          </p:cNvPr>
          <p:cNvSpPr txBox="1"/>
          <p:nvPr/>
        </p:nvSpPr>
        <p:spPr>
          <a:xfrm>
            <a:off x="372958" y="5089238"/>
            <a:ext cx="863766" cy="11530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ABBFC9">
                    <a:lumMod val="7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BR</a:t>
            </a:r>
          </a:p>
        </p:txBody>
      </p:sp>
      <p:sp>
        <p:nvSpPr>
          <p:cNvPr id="166" name="Free-form: Shape 165">
            <a:extLst>
              <a:ext uri="{FF2B5EF4-FFF2-40B4-BE49-F238E27FC236}">
                <a16:creationId xmlns:a16="http://schemas.microsoft.com/office/drawing/2014/main" id="{AF53C0E1-82A8-350D-82BA-F5BE6E84F179}"/>
              </a:ext>
            </a:extLst>
          </p:cNvPr>
          <p:cNvSpPr/>
          <p:nvPr/>
        </p:nvSpPr>
        <p:spPr>
          <a:xfrm>
            <a:off x="1380207" y="2417184"/>
            <a:ext cx="3922044" cy="1470154"/>
          </a:xfrm>
          <a:custGeom>
            <a:avLst/>
            <a:gdLst>
              <a:gd name="csX0" fmla="*/ 0 w 5429250"/>
              <a:gd name="csY0" fmla="*/ 0 h 2052638"/>
              <a:gd name="csX1" fmla="*/ 100012 w 5429250"/>
              <a:gd name="csY1" fmla="*/ 0 h 2052638"/>
              <a:gd name="csX2" fmla="*/ 100012 w 5429250"/>
              <a:gd name="csY2" fmla="*/ 52388 h 2052638"/>
              <a:gd name="csX3" fmla="*/ 152400 w 5429250"/>
              <a:gd name="csY3" fmla="*/ 52388 h 2052638"/>
              <a:gd name="csX4" fmla="*/ 152400 w 5429250"/>
              <a:gd name="csY4" fmla="*/ 257175 h 2052638"/>
              <a:gd name="csX5" fmla="*/ 200025 w 5429250"/>
              <a:gd name="csY5" fmla="*/ 257175 h 2052638"/>
              <a:gd name="csX6" fmla="*/ 200025 w 5429250"/>
              <a:gd name="csY6" fmla="*/ 376238 h 2052638"/>
              <a:gd name="csX7" fmla="*/ 233362 w 5429250"/>
              <a:gd name="csY7" fmla="*/ 376238 h 2052638"/>
              <a:gd name="csX8" fmla="*/ 233362 w 5429250"/>
              <a:gd name="csY8" fmla="*/ 447675 h 2052638"/>
              <a:gd name="csX9" fmla="*/ 261937 w 5429250"/>
              <a:gd name="csY9" fmla="*/ 447675 h 2052638"/>
              <a:gd name="csX10" fmla="*/ 261937 w 5429250"/>
              <a:gd name="csY10" fmla="*/ 642938 h 2052638"/>
              <a:gd name="csX11" fmla="*/ 471487 w 5429250"/>
              <a:gd name="csY11" fmla="*/ 642938 h 2052638"/>
              <a:gd name="csX12" fmla="*/ 471487 w 5429250"/>
              <a:gd name="csY12" fmla="*/ 714375 h 2052638"/>
              <a:gd name="csX13" fmla="*/ 504825 w 5429250"/>
              <a:gd name="csY13" fmla="*/ 714375 h 2052638"/>
              <a:gd name="csX14" fmla="*/ 504825 w 5429250"/>
              <a:gd name="csY14" fmla="*/ 766763 h 2052638"/>
              <a:gd name="csX15" fmla="*/ 523875 w 5429250"/>
              <a:gd name="csY15" fmla="*/ 766763 h 2052638"/>
              <a:gd name="csX16" fmla="*/ 523875 w 5429250"/>
              <a:gd name="csY16" fmla="*/ 833438 h 2052638"/>
              <a:gd name="csX17" fmla="*/ 633412 w 5429250"/>
              <a:gd name="csY17" fmla="*/ 833438 h 2052638"/>
              <a:gd name="csX18" fmla="*/ 633412 w 5429250"/>
              <a:gd name="csY18" fmla="*/ 895350 h 2052638"/>
              <a:gd name="csX19" fmla="*/ 666750 w 5429250"/>
              <a:gd name="csY19" fmla="*/ 895350 h 2052638"/>
              <a:gd name="csX20" fmla="*/ 666750 w 5429250"/>
              <a:gd name="csY20" fmla="*/ 971550 h 2052638"/>
              <a:gd name="csX21" fmla="*/ 704850 w 5429250"/>
              <a:gd name="csY21" fmla="*/ 971550 h 2052638"/>
              <a:gd name="csX22" fmla="*/ 704850 w 5429250"/>
              <a:gd name="csY22" fmla="*/ 1047750 h 2052638"/>
              <a:gd name="csX23" fmla="*/ 766762 w 5429250"/>
              <a:gd name="csY23" fmla="*/ 1047750 h 2052638"/>
              <a:gd name="csX24" fmla="*/ 766762 w 5429250"/>
              <a:gd name="csY24" fmla="*/ 1100138 h 2052638"/>
              <a:gd name="csX25" fmla="*/ 804862 w 5429250"/>
              <a:gd name="csY25" fmla="*/ 1100138 h 2052638"/>
              <a:gd name="csX26" fmla="*/ 804862 w 5429250"/>
              <a:gd name="csY26" fmla="*/ 1147763 h 2052638"/>
              <a:gd name="csX27" fmla="*/ 957262 w 5429250"/>
              <a:gd name="csY27" fmla="*/ 1147763 h 2052638"/>
              <a:gd name="csX28" fmla="*/ 957262 w 5429250"/>
              <a:gd name="csY28" fmla="*/ 1243013 h 2052638"/>
              <a:gd name="csX29" fmla="*/ 1000125 w 5429250"/>
              <a:gd name="csY29" fmla="*/ 1243013 h 2052638"/>
              <a:gd name="csX30" fmla="*/ 1000125 w 5429250"/>
              <a:gd name="csY30" fmla="*/ 1281113 h 2052638"/>
              <a:gd name="csX31" fmla="*/ 1104900 w 5429250"/>
              <a:gd name="csY31" fmla="*/ 1281113 h 2052638"/>
              <a:gd name="csX32" fmla="*/ 1104900 w 5429250"/>
              <a:gd name="csY32" fmla="*/ 1352550 h 2052638"/>
              <a:gd name="csX33" fmla="*/ 1166812 w 5429250"/>
              <a:gd name="csY33" fmla="*/ 1352550 h 2052638"/>
              <a:gd name="csX34" fmla="*/ 1166812 w 5429250"/>
              <a:gd name="csY34" fmla="*/ 1404938 h 2052638"/>
              <a:gd name="csX35" fmla="*/ 1333500 w 5429250"/>
              <a:gd name="csY35" fmla="*/ 1404938 h 2052638"/>
              <a:gd name="csX36" fmla="*/ 1333500 w 5429250"/>
              <a:gd name="csY36" fmla="*/ 1476375 h 2052638"/>
              <a:gd name="csX37" fmla="*/ 1419225 w 5429250"/>
              <a:gd name="csY37" fmla="*/ 1476375 h 2052638"/>
              <a:gd name="csX38" fmla="*/ 1419225 w 5429250"/>
              <a:gd name="csY38" fmla="*/ 1547813 h 2052638"/>
              <a:gd name="csX39" fmla="*/ 1471612 w 5429250"/>
              <a:gd name="csY39" fmla="*/ 1547813 h 2052638"/>
              <a:gd name="csX40" fmla="*/ 1471612 w 5429250"/>
              <a:gd name="csY40" fmla="*/ 1614488 h 2052638"/>
              <a:gd name="csX41" fmla="*/ 1528762 w 5429250"/>
              <a:gd name="csY41" fmla="*/ 1614488 h 2052638"/>
              <a:gd name="csX42" fmla="*/ 1528762 w 5429250"/>
              <a:gd name="csY42" fmla="*/ 1666875 h 2052638"/>
              <a:gd name="csX43" fmla="*/ 2019300 w 5429250"/>
              <a:gd name="csY43" fmla="*/ 1666875 h 2052638"/>
              <a:gd name="csX44" fmla="*/ 2019300 w 5429250"/>
              <a:gd name="csY44" fmla="*/ 1752600 h 2052638"/>
              <a:gd name="csX45" fmla="*/ 2952750 w 5429250"/>
              <a:gd name="csY45" fmla="*/ 1752600 h 2052638"/>
              <a:gd name="csX46" fmla="*/ 2952750 w 5429250"/>
              <a:gd name="csY46" fmla="*/ 1828800 h 2052638"/>
              <a:gd name="csX47" fmla="*/ 3381375 w 5429250"/>
              <a:gd name="csY47" fmla="*/ 1828800 h 2052638"/>
              <a:gd name="csX48" fmla="*/ 3381375 w 5429250"/>
              <a:gd name="csY48" fmla="*/ 1928813 h 2052638"/>
              <a:gd name="csX49" fmla="*/ 4538662 w 5429250"/>
              <a:gd name="csY49" fmla="*/ 1928813 h 2052638"/>
              <a:gd name="csX50" fmla="*/ 4538662 w 5429250"/>
              <a:gd name="csY50" fmla="*/ 2052638 h 2052638"/>
              <a:gd name="csX51" fmla="*/ 5429250 w 5429250"/>
              <a:gd name="csY51" fmla="*/ 2052638 h 205263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</a:cxnLst>
            <a:rect l="l" t="t" r="r" b="b"/>
            <a:pathLst>
              <a:path w="5429250" h="2052638">
                <a:moveTo>
                  <a:pt x="0" y="0"/>
                </a:moveTo>
                <a:lnTo>
                  <a:pt x="100012" y="0"/>
                </a:lnTo>
                <a:lnTo>
                  <a:pt x="100012" y="52388"/>
                </a:lnTo>
                <a:lnTo>
                  <a:pt x="152400" y="52388"/>
                </a:lnTo>
                <a:lnTo>
                  <a:pt x="152400" y="257175"/>
                </a:lnTo>
                <a:lnTo>
                  <a:pt x="200025" y="257175"/>
                </a:lnTo>
                <a:lnTo>
                  <a:pt x="200025" y="376238"/>
                </a:lnTo>
                <a:lnTo>
                  <a:pt x="233362" y="376238"/>
                </a:lnTo>
                <a:lnTo>
                  <a:pt x="233362" y="447675"/>
                </a:lnTo>
                <a:lnTo>
                  <a:pt x="261937" y="447675"/>
                </a:lnTo>
                <a:lnTo>
                  <a:pt x="261937" y="642938"/>
                </a:lnTo>
                <a:lnTo>
                  <a:pt x="471487" y="642938"/>
                </a:lnTo>
                <a:lnTo>
                  <a:pt x="471487" y="714375"/>
                </a:lnTo>
                <a:lnTo>
                  <a:pt x="504825" y="714375"/>
                </a:lnTo>
                <a:lnTo>
                  <a:pt x="504825" y="766763"/>
                </a:lnTo>
                <a:lnTo>
                  <a:pt x="523875" y="766763"/>
                </a:lnTo>
                <a:lnTo>
                  <a:pt x="523875" y="833438"/>
                </a:lnTo>
                <a:lnTo>
                  <a:pt x="633412" y="833438"/>
                </a:lnTo>
                <a:lnTo>
                  <a:pt x="633412" y="895350"/>
                </a:lnTo>
                <a:lnTo>
                  <a:pt x="666750" y="895350"/>
                </a:lnTo>
                <a:lnTo>
                  <a:pt x="666750" y="971550"/>
                </a:lnTo>
                <a:lnTo>
                  <a:pt x="704850" y="971550"/>
                </a:lnTo>
                <a:lnTo>
                  <a:pt x="704850" y="1047750"/>
                </a:lnTo>
                <a:lnTo>
                  <a:pt x="766762" y="1047750"/>
                </a:lnTo>
                <a:lnTo>
                  <a:pt x="766762" y="1100138"/>
                </a:lnTo>
                <a:lnTo>
                  <a:pt x="804862" y="1100138"/>
                </a:lnTo>
                <a:lnTo>
                  <a:pt x="804862" y="1147763"/>
                </a:lnTo>
                <a:lnTo>
                  <a:pt x="957262" y="1147763"/>
                </a:lnTo>
                <a:lnTo>
                  <a:pt x="957262" y="1243013"/>
                </a:lnTo>
                <a:lnTo>
                  <a:pt x="1000125" y="1243013"/>
                </a:lnTo>
                <a:lnTo>
                  <a:pt x="1000125" y="1281113"/>
                </a:lnTo>
                <a:lnTo>
                  <a:pt x="1104900" y="1281113"/>
                </a:lnTo>
                <a:lnTo>
                  <a:pt x="1104900" y="1352550"/>
                </a:lnTo>
                <a:lnTo>
                  <a:pt x="1166812" y="1352550"/>
                </a:lnTo>
                <a:lnTo>
                  <a:pt x="1166812" y="1404938"/>
                </a:lnTo>
                <a:lnTo>
                  <a:pt x="1333500" y="1404938"/>
                </a:lnTo>
                <a:lnTo>
                  <a:pt x="1333500" y="1476375"/>
                </a:lnTo>
                <a:lnTo>
                  <a:pt x="1419225" y="1476375"/>
                </a:lnTo>
                <a:lnTo>
                  <a:pt x="1419225" y="1547813"/>
                </a:lnTo>
                <a:lnTo>
                  <a:pt x="1471612" y="1547813"/>
                </a:lnTo>
                <a:lnTo>
                  <a:pt x="1471612" y="1614488"/>
                </a:lnTo>
                <a:lnTo>
                  <a:pt x="1528762" y="1614488"/>
                </a:lnTo>
                <a:lnTo>
                  <a:pt x="1528762" y="1666875"/>
                </a:lnTo>
                <a:lnTo>
                  <a:pt x="2019300" y="1666875"/>
                </a:lnTo>
                <a:lnTo>
                  <a:pt x="2019300" y="1752600"/>
                </a:lnTo>
                <a:lnTo>
                  <a:pt x="2952750" y="1752600"/>
                </a:lnTo>
                <a:lnTo>
                  <a:pt x="2952750" y="1828800"/>
                </a:lnTo>
                <a:lnTo>
                  <a:pt x="3381375" y="1828800"/>
                </a:lnTo>
                <a:lnTo>
                  <a:pt x="3381375" y="1928813"/>
                </a:lnTo>
                <a:lnTo>
                  <a:pt x="4538662" y="1928813"/>
                </a:lnTo>
                <a:lnTo>
                  <a:pt x="4538662" y="2052638"/>
                </a:lnTo>
                <a:lnTo>
                  <a:pt x="5429250" y="2052638"/>
                </a:lnTo>
              </a:path>
            </a:pathLst>
          </a:cu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67" name="Straight Connector 166">
            <a:extLst>
              <a:ext uri="{FF2B5EF4-FFF2-40B4-BE49-F238E27FC236}">
                <a16:creationId xmlns:a16="http://schemas.microsoft.com/office/drawing/2014/main" id="{8EE69B1A-38A7-4B8A-DD00-EE129F7F2B0B}"/>
              </a:ext>
            </a:extLst>
          </p:cNvPr>
          <p:cNvCxnSpPr/>
          <p:nvPr/>
        </p:nvCxnSpPr>
        <p:spPr>
          <a:xfrm>
            <a:off x="1412769" y="2370949"/>
            <a:ext cx="0" cy="86239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8" name="Straight Connector 167">
            <a:extLst>
              <a:ext uri="{FF2B5EF4-FFF2-40B4-BE49-F238E27FC236}">
                <a16:creationId xmlns:a16="http://schemas.microsoft.com/office/drawing/2014/main" id="{2AE706D9-FF17-E720-719E-820AD22BA2CF}"/>
              </a:ext>
            </a:extLst>
          </p:cNvPr>
          <p:cNvCxnSpPr/>
          <p:nvPr/>
        </p:nvCxnSpPr>
        <p:spPr>
          <a:xfrm>
            <a:off x="2633109" y="3566855"/>
            <a:ext cx="0" cy="86239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9" name="Straight Connector 168">
            <a:extLst>
              <a:ext uri="{FF2B5EF4-FFF2-40B4-BE49-F238E27FC236}">
                <a16:creationId xmlns:a16="http://schemas.microsoft.com/office/drawing/2014/main" id="{4F1ED8FE-88D4-2751-4B4A-06725F910423}"/>
              </a:ext>
            </a:extLst>
          </p:cNvPr>
          <p:cNvCxnSpPr/>
          <p:nvPr/>
        </p:nvCxnSpPr>
        <p:spPr>
          <a:xfrm>
            <a:off x="2698290" y="3566671"/>
            <a:ext cx="0" cy="86239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0" name="Straight Connector 169">
            <a:extLst>
              <a:ext uri="{FF2B5EF4-FFF2-40B4-BE49-F238E27FC236}">
                <a16:creationId xmlns:a16="http://schemas.microsoft.com/office/drawing/2014/main" id="{E85B1C00-AD08-84C8-85E2-528F60D22E96}"/>
              </a:ext>
            </a:extLst>
          </p:cNvPr>
          <p:cNvCxnSpPr/>
          <p:nvPr/>
        </p:nvCxnSpPr>
        <p:spPr>
          <a:xfrm>
            <a:off x="3561167" y="3686168"/>
            <a:ext cx="0" cy="86239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1" name="Straight Connector 170">
            <a:extLst>
              <a:ext uri="{FF2B5EF4-FFF2-40B4-BE49-F238E27FC236}">
                <a16:creationId xmlns:a16="http://schemas.microsoft.com/office/drawing/2014/main" id="{5DC4B60B-8A4D-778C-2184-D20B3EBC54EA}"/>
              </a:ext>
            </a:extLst>
          </p:cNvPr>
          <p:cNvCxnSpPr/>
          <p:nvPr/>
        </p:nvCxnSpPr>
        <p:spPr>
          <a:xfrm>
            <a:off x="3629970" y="3686168"/>
            <a:ext cx="0" cy="86239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2" name="Straight Connector 171">
            <a:extLst>
              <a:ext uri="{FF2B5EF4-FFF2-40B4-BE49-F238E27FC236}">
                <a16:creationId xmlns:a16="http://schemas.microsoft.com/office/drawing/2014/main" id="{01503CCD-7B2E-6C25-07D2-B31EECA3B713}"/>
              </a:ext>
            </a:extLst>
          </p:cNvPr>
          <p:cNvCxnSpPr/>
          <p:nvPr/>
        </p:nvCxnSpPr>
        <p:spPr>
          <a:xfrm>
            <a:off x="4052096" y="3758407"/>
            <a:ext cx="0" cy="86239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3" name="Straight Connector 172">
            <a:extLst>
              <a:ext uri="{FF2B5EF4-FFF2-40B4-BE49-F238E27FC236}">
                <a16:creationId xmlns:a16="http://schemas.microsoft.com/office/drawing/2014/main" id="{0E7ACDCF-86E9-A2B1-AD3E-E41831E018C9}"/>
              </a:ext>
            </a:extLst>
          </p:cNvPr>
          <p:cNvCxnSpPr/>
          <p:nvPr/>
        </p:nvCxnSpPr>
        <p:spPr>
          <a:xfrm>
            <a:off x="4908765" y="3849528"/>
            <a:ext cx="0" cy="86239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4" name="Straight Connector 173">
            <a:extLst>
              <a:ext uri="{FF2B5EF4-FFF2-40B4-BE49-F238E27FC236}">
                <a16:creationId xmlns:a16="http://schemas.microsoft.com/office/drawing/2014/main" id="{78B11D06-AC79-3B05-4C7F-C1BBBC4CED01}"/>
              </a:ext>
            </a:extLst>
          </p:cNvPr>
          <p:cNvCxnSpPr/>
          <p:nvPr/>
        </p:nvCxnSpPr>
        <p:spPr>
          <a:xfrm>
            <a:off x="5278449" y="3854217"/>
            <a:ext cx="0" cy="86239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5" name="Straight Connector 174">
            <a:extLst>
              <a:ext uri="{FF2B5EF4-FFF2-40B4-BE49-F238E27FC236}">
                <a16:creationId xmlns:a16="http://schemas.microsoft.com/office/drawing/2014/main" id="{1FF52980-DE96-EC8D-8F39-EF2C46422F81}"/>
              </a:ext>
            </a:extLst>
          </p:cNvPr>
          <p:cNvCxnSpPr/>
          <p:nvPr/>
        </p:nvCxnSpPr>
        <p:spPr>
          <a:xfrm>
            <a:off x="4965152" y="3847750"/>
            <a:ext cx="0" cy="86239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2" name="Free-form: Shape 181">
            <a:extLst>
              <a:ext uri="{FF2B5EF4-FFF2-40B4-BE49-F238E27FC236}">
                <a16:creationId xmlns:a16="http://schemas.microsoft.com/office/drawing/2014/main" id="{03FECBEC-6AA9-9AE6-07FD-CC46621FEE12}"/>
              </a:ext>
            </a:extLst>
          </p:cNvPr>
          <p:cNvSpPr/>
          <p:nvPr/>
        </p:nvSpPr>
        <p:spPr>
          <a:xfrm>
            <a:off x="1411107" y="2407333"/>
            <a:ext cx="326195" cy="1180874"/>
          </a:xfrm>
          <a:custGeom>
            <a:avLst/>
            <a:gdLst>
              <a:gd name="csX0" fmla="*/ 0 w 469557"/>
              <a:gd name="csY0" fmla="*/ 0 h 1705232"/>
              <a:gd name="csX1" fmla="*/ 0 w 469557"/>
              <a:gd name="csY1" fmla="*/ 81201 h 1705232"/>
              <a:gd name="csX2" fmla="*/ 21183 w 469557"/>
              <a:gd name="csY2" fmla="*/ 81201 h 1705232"/>
              <a:gd name="csX3" fmla="*/ 21183 w 469557"/>
              <a:gd name="csY3" fmla="*/ 141220 h 1705232"/>
              <a:gd name="csX4" fmla="*/ 45896 w 469557"/>
              <a:gd name="csY4" fmla="*/ 141220 h 1705232"/>
              <a:gd name="csX5" fmla="*/ 45896 w 469557"/>
              <a:gd name="csY5" fmla="*/ 271848 h 1705232"/>
              <a:gd name="csX6" fmla="*/ 63549 w 469557"/>
              <a:gd name="csY6" fmla="*/ 271848 h 1705232"/>
              <a:gd name="csX7" fmla="*/ 63549 w 469557"/>
              <a:gd name="csY7" fmla="*/ 483679 h 1705232"/>
              <a:gd name="csX8" fmla="*/ 84732 w 469557"/>
              <a:gd name="csY8" fmla="*/ 483679 h 1705232"/>
              <a:gd name="csX9" fmla="*/ 84732 w 469557"/>
              <a:gd name="csY9" fmla="*/ 547228 h 1705232"/>
              <a:gd name="csX10" fmla="*/ 137689 w 469557"/>
              <a:gd name="csY10" fmla="*/ 547228 h 1705232"/>
              <a:gd name="csX11" fmla="*/ 137689 w 469557"/>
              <a:gd name="csY11" fmla="*/ 610777 h 1705232"/>
              <a:gd name="csX12" fmla="*/ 176525 w 469557"/>
              <a:gd name="csY12" fmla="*/ 610777 h 1705232"/>
              <a:gd name="csX13" fmla="*/ 176525 w 469557"/>
              <a:gd name="csY13" fmla="*/ 766119 h 1705232"/>
              <a:gd name="csX14" fmla="*/ 201238 w 469557"/>
              <a:gd name="csY14" fmla="*/ 766119 h 1705232"/>
              <a:gd name="csX15" fmla="*/ 201238 w 469557"/>
              <a:gd name="csY15" fmla="*/ 907339 h 1705232"/>
              <a:gd name="csX16" fmla="*/ 233013 w 469557"/>
              <a:gd name="csY16" fmla="*/ 907339 h 1705232"/>
              <a:gd name="csX17" fmla="*/ 233013 w 469557"/>
              <a:gd name="csY17" fmla="*/ 967357 h 1705232"/>
              <a:gd name="csX18" fmla="*/ 271848 w 469557"/>
              <a:gd name="csY18" fmla="*/ 967357 h 1705232"/>
              <a:gd name="csX19" fmla="*/ 271848 w 469557"/>
              <a:gd name="csY19" fmla="*/ 1059150 h 1705232"/>
              <a:gd name="csX20" fmla="*/ 307153 w 469557"/>
              <a:gd name="csY20" fmla="*/ 1059150 h 1705232"/>
              <a:gd name="csX21" fmla="*/ 307153 w 469557"/>
              <a:gd name="csY21" fmla="*/ 1126230 h 1705232"/>
              <a:gd name="csX22" fmla="*/ 367172 w 469557"/>
              <a:gd name="csY22" fmla="*/ 1126230 h 1705232"/>
              <a:gd name="csX23" fmla="*/ 367172 w 469557"/>
              <a:gd name="csY23" fmla="*/ 1278041 h 1705232"/>
              <a:gd name="csX24" fmla="*/ 388355 w 469557"/>
              <a:gd name="csY24" fmla="*/ 1278041 h 1705232"/>
              <a:gd name="csX25" fmla="*/ 388355 w 469557"/>
              <a:gd name="csY25" fmla="*/ 1507524 h 1705232"/>
              <a:gd name="csX26" fmla="*/ 423660 w 469557"/>
              <a:gd name="csY26" fmla="*/ 1507524 h 1705232"/>
              <a:gd name="csX27" fmla="*/ 423660 w 469557"/>
              <a:gd name="csY27" fmla="*/ 1571073 h 1705232"/>
              <a:gd name="csX28" fmla="*/ 455435 w 469557"/>
              <a:gd name="csY28" fmla="*/ 1571073 h 1705232"/>
              <a:gd name="csX29" fmla="*/ 455435 w 469557"/>
              <a:gd name="csY29" fmla="*/ 1648744 h 1705232"/>
              <a:gd name="csX30" fmla="*/ 469557 w 469557"/>
              <a:gd name="csY30" fmla="*/ 1662866 h 1705232"/>
              <a:gd name="csX31" fmla="*/ 427191 w 469557"/>
              <a:gd name="csY31" fmla="*/ 1705232 h 1705232"/>
              <a:gd name="csX0" fmla="*/ 0 w 469557"/>
              <a:gd name="csY0" fmla="*/ 0 h 1662866"/>
              <a:gd name="csX1" fmla="*/ 0 w 469557"/>
              <a:gd name="csY1" fmla="*/ 81201 h 1662866"/>
              <a:gd name="csX2" fmla="*/ 21183 w 469557"/>
              <a:gd name="csY2" fmla="*/ 81201 h 1662866"/>
              <a:gd name="csX3" fmla="*/ 21183 w 469557"/>
              <a:gd name="csY3" fmla="*/ 141220 h 1662866"/>
              <a:gd name="csX4" fmla="*/ 45896 w 469557"/>
              <a:gd name="csY4" fmla="*/ 141220 h 1662866"/>
              <a:gd name="csX5" fmla="*/ 45896 w 469557"/>
              <a:gd name="csY5" fmla="*/ 271848 h 1662866"/>
              <a:gd name="csX6" fmla="*/ 63549 w 469557"/>
              <a:gd name="csY6" fmla="*/ 271848 h 1662866"/>
              <a:gd name="csX7" fmla="*/ 63549 w 469557"/>
              <a:gd name="csY7" fmla="*/ 483679 h 1662866"/>
              <a:gd name="csX8" fmla="*/ 84732 w 469557"/>
              <a:gd name="csY8" fmla="*/ 483679 h 1662866"/>
              <a:gd name="csX9" fmla="*/ 84732 w 469557"/>
              <a:gd name="csY9" fmla="*/ 547228 h 1662866"/>
              <a:gd name="csX10" fmla="*/ 137689 w 469557"/>
              <a:gd name="csY10" fmla="*/ 547228 h 1662866"/>
              <a:gd name="csX11" fmla="*/ 137689 w 469557"/>
              <a:gd name="csY11" fmla="*/ 610777 h 1662866"/>
              <a:gd name="csX12" fmla="*/ 176525 w 469557"/>
              <a:gd name="csY12" fmla="*/ 610777 h 1662866"/>
              <a:gd name="csX13" fmla="*/ 176525 w 469557"/>
              <a:gd name="csY13" fmla="*/ 766119 h 1662866"/>
              <a:gd name="csX14" fmla="*/ 201238 w 469557"/>
              <a:gd name="csY14" fmla="*/ 766119 h 1662866"/>
              <a:gd name="csX15" fmla="*/ 201238 w 469557"/>
              <a:gd name="csY15" fmla="*/ 907339 h 1662866"/>
              <a:gd name="csX16" fmla="*/ 233013 w 469557"/>
              <a:gd name="csY16" fmla="*/ 907339 h 1662866"/>
              <a:gd name="csX17" fmla="*/ 233013 w 469557"/>
              <a:gd name="csY17" fmla="*/ 967357 h 1662866"/>
              <a:gd name="csX18" fmla="*/ 271848 w 469557"/>
              <a:gd name="csY18" fmla="*/ 967357 h 1662866"/>
              <a:gd name="csX19" fmla="*/ 271848 w 469557"/>
              <a:gd name="csY19" fmla="*/ 1059150 h 1662866"/>
              <a:gd name="csX20" fmla="*/ 307153 w 469557"/>
              <a:gd name="csY20" fmla="*/ 1059150 h 1662866"/>
              <a:gd name="csX21" fmla="*/ 307153 w 469557"/>
              <a:gd name="csY21" fmla="*/ 1126230 h 1662866"/>
              <a:gd name="csX22" fmla="*/ 367172 w 469557"/>
              <a:gd name="csY22" fmla="*/ 1126230 h 1662866"/>
              <a:gd name="csX23" fmla="*/ 367172 w 469557"/>
              <a:gd name="csY23" fmla="*/ 1278041 h 1662866"/>
              <a:gd name="csX24" fmla="*/ 388355 w 469557"/>
              <a:gd name="csY24" fmla="*/ 1278041 h 1662866"/>
              <a:gd name="csX25" fmla="*/ 388355 w 469557"/>
              <a:gd name="csY25" fmla="*/ 1507524 h 1662866"/>
              <a:gd name="csX26" fmla="*/ 423660 w 469557"/>
              <a:gd name="csY26" fmla="*/ 1507524 h 1662866"/>
              <a:gd name="csX27" fmla="*/ 423660 w 469557"/>
              <a:gd name="csY27" fmla="*/ 1571073 h 1662866"/>
              <a:gd name="csX28" fmla="*/ 455435 w 469557"/>
              <a:gd name="csY28" fmla="*/ 1571073 h 1662866"/>
              <a:gd name="csX29" fmla="*/ 455435 w 469557"/>
              <a:gd name="csY29" fmla="*/ 1648744 h 1662866"/>
              <a:gd name="csX30" fmla="*/ 469557 w 469557"/>
              <a:gd name="csY30" fmla="*/ 1662866 h 1662866"/>
              <a:gd name="csX0" fmla="*/ 0 w 455435"/>
              <a:gd name="csY0" fmla="*/ 0 h 1648744"/>
              <a:gd name="csX1" fmla="*/ 0 w 455435"/>
              <a:gd name="csY1" fmla="*/ 81201 h 1648744"/>
              <a:gd name="csX2" fmla="*/ 21183 w 455435"/>
              <a:gd name="csY2" fmla="*/ 81201 h 1648744"/>
              <a:gd name="csX3" fmla="*/ 21183 w 455435"/>
              <a:gd name="csY3" fmla="*/ 141220 h 1648744"/>
              <a:gd name="csX4" fmla="*/ 45896 w 455435"/>
              <a:gd name="csY4" fmla="*/ 141220 h 1648744"/>
              <a:gd name="csX5" fmla="*/ 45896 w 455435"/>
              <a:gd name="csY5" fmla="*/ 271848 h 1648744"/>
              <a:gd name="csX6" fmla="*/ 63549 w 455435"/>
              <a:gd name="csY6" fmla="*/ 271848 h 1648744"/>
              <a:gd name="csX7" fmla="*/ 63549 w 455435"/>
              <a:gd name="csY7" fmla="*/ 483679 h 1648744"/>
              <a:gd name="csX8" fmla="*/ 84732 w 455435"/>
              <a:gd name="csY8" fmla="*/ 483679 h 1648744"/>
              <a:gd name="csX9" fmla="*/ 84732 w 455435"/>
              <a:gd name="csY9" fmla="*/ 547228 h 1648744"/>
              <a:gd name="csX10" fmla="*/ 137689 w 455435"/>
              <a:gd name="csY10" fmla="*/ 547228 h 1648744"/>
              <a:gd name="csX11" fmla="*/ 137689 w 455435"/>
              <a:gd name="csY11" fmla="*/ 610777 h 1648744"/>
              <a:gd name="csX12" fmla="*/ 176525 w 455435"/>
              <a:gd name="csY12" fmla="*/ 610777 h 1648744"/>
              <a:gd name="csX13" fmla="*/ 176525 w 455435"/>
              <a:gd name="csY13" fmla="*/ 766119 h 1648744"/>
              <a:gd name="csX14" fmla="*/ 201238 w 455435"/>
              <a:gd name="csY14" fmla="*/ 766119 h 1648744"/>
              <a:gd name="csX15" fmla="*/ 201238 w 455435"/>
              <a:gd name="csY15" fmla="*/ 907339 h 1648744"/>
              <a:gd name="csX16" fmla="*/ 233013 w 455435"/>
              <a:gd name="csY16" fmla="*/ 907339 h 1648744"/>
              <a:gd name="csX17" fmla="*/ 233013 w 455435"/>
              <a:gd name="csY17" fmla="*/ 967357 h 1648744"/>
              <a:gd name="csX18" fmla="*/ 271848 w 455435"/>
              <a:gd name="csY18" fmla="*/ 967357 h 1648744"/>
              <a:gd name="csX19" fmla="*/ 271848 w 455435"/>
              <a:gd name="csY19" fmla="*/ 1059150 h 1648744"/>
              <a:gd name="csX20" fmla="*/ 307153 w 455435"/>
              <a:gd name="csY20" fmla="*/ 1059150 h 1648744"/>
              <a:gd name="csX21" fmla="*/ 307153 w 455435"/>
              <a:gd name="csY21" fmla="*/ 1126230 h 1648744"/>
              <a:gd name="csX22" fmla="*/ 367172 w 455435"/>
              <a:gd name="csY22" fmla="*/ 1126230 h 1648744"/>
              <a:gd name="csX23" fmla="*/ 367172 w 455435"/>
              <a:gd name="csY23" fmla="*/ 1278041 h 1648744"/>
              <a:gd name="csX24" fmla="*/ 388355 w 455435"/>
              <a:gd name="csY24" fmla="*/ 1278041 h 1648744"/>
              <a:gd name="csX25" fmla="*/ 388355 w 455435"/>
              <a:gd name="csY25" fmla="*/ 1507524 h 1648744"/>
              <a:gd name="csX26" fmla="*/ 423660 w 455435"/>
              <a:gd name="csY26" fmla="*/ 1507524 h 1648744"/>
              <a:gd name="csX27" fmla="*/ 423660 w 455435"/>
              <a:gd name="csY27" fmla="*/ 1571073 h 1648744"/>
              <a:gd name="csX28" fmla="*/ 455435 w 455435"/>
              <a:gd name="csY28" fmla="*/ 1571073 h 1648744"/>
              <a:gd name="csX29" fmla="*/ 455435 w 455435"/>
              <a:gd name="csY29" fmla="*/ 1648744 h 164874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</a:cxnLst>
            <a:rect l="l" t="t" r="r" b="b"/>
            <a:pathLst>
              <a:path w="455435" h="1648744">
                <a:moveTo>
                  <a:pt x="0" y="0"/>
                </a:moveTo>
                <a:lnTo>
                  <a:pt x="0" y="81201"/>
                </a:lnTo>
                <a:lnTo>
                  <a:pt x="21183" y="81201"/>
                </a:lnTo>
                <a:lnTo>
                  <a:pt x="21183" y="141220"/>
                </a:lnTo>
                <a:lnTo>
                  <a:pt x="45896" y="141220"/>
                </a:lnTo>
                <a:lnTo>
                  <a:pt x="45896" y="271848"/>
                </a:lnTo>
                <a:lnTo>
                  <a:pt x="63549" y="271848"/>
                </a:lnTo>
                <a:lnTo>
                  <a:pt x="63549" y="483679"/>
                </a:lnTo>
                <a:lnTo>
                  <a:pt x="84732" y="483679"/>
                </a:lnTo>
                <a:lnTo>
                  <a:pt x="84732" y="547228"/>
                </a:lnTo>
                <a:lnTo>
                  <a:pt x="137689" y="547228"/>
                </a:lnTo>
                <a:lnTo>
                  <a:pt x="137689" y="610777"/>
                </a:lnTo>
                <a:lnTo>
                  <a:pt x="176525" y="610777"/>
                </a:lnTo>
                <a:lnTo>
                  <a:pt x="176525" y="766119"/>
                </a:lnTo>
                <a:lnTo>
                  <a:pt x="201238" y="766119"/>
                </a:lnTo>
                <a:lnTo>
                  <a:pt x="201238" y="907339"/>
                </a:lnTo>
                <a:lnTo>
                  <a:pt x="233013" y="907339"/>
                </a:lnTo>
                <a:lnTo>
                  <a:pt x="233013" y="967357"/>
                </a:lnTo>
                <a:lnTo>
                  <a:pt x="271848" y="967357"/>
                </a:lnTo>
                <a:lnTo>
                  <a:pt x="271848" y="1059150"/>
                </a:lnTo>
                <a:lnTo>
                  <a:pt x="307153" y="1059150"/>
                </a:lnTo>
                <a:lnTo>
                  <a:pt x="307153" y="1126230"/>
                </a:lnTo>
                <a:lnTo>
                  <a:pt x="367172" y="1126230"/>
                </a:lnTo>
                <a:lnTo>
                  <a:pt x="367172" y="1278041"/>
                </a:lnTo>
                <a:lnTo>
                  <a:pt x="388355" y="1278041"/>
                </a:lnTo>
                <a:lnTo>
                  <a:pt x="388355" y="1507524"/>
                </a:lnTo>
                <a:lnTo>
                  <a:pt x="423660" y="1507524"/>
                </a:lnTo>
                <a:lnTo>
                  <a:pt x="423660" y="1571073"/>
                </a:lnTo>
                <a:lnTo>
                  <a:pt x="455435" y="1571073"/>
                </a:lnTo>
                <a:lnTo>
                  <a:pt x="455435" y="1648744"/>
                </a:lnTo>
              </a:path>
            </a:pathLst>
          </a:custGeom>
          <a:noFill/>
          <a:ln w="1905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83" name="Free-form: Shape 182">
            <a:extLst>
              <a:ext uri="{FF2B5EF4-FFF2-40B4-BE49-F238E27FC236}">
                <a16:creationId xmlns:a16="http://schemas.microsoft.com/office/drawing/2014/main" id="{50651E95-A093-C3DD-31FD-7E621E564B41}"/>
              </a:ext>
            </a:extLst>
          </p:cNvPr>
          <p:cNvSpPr/>
          <p:nvPr/>
        </p:nvSpPr>
        <p:spPr>
          <a:xfrm>
            <a:off x="1736502" y="3581552"/>
            <a:ext cx="1655374" cy="502237"/>
          </a:xfrm>
          <a:custGeom>
            <a:avLst/>
            <a:gdLst>
              <a:gd name="csX0" fmla="*/ 0 w 2311244"/>
              <a:gd name="csY0" fmla="*/ 0 h 701227"/>
              <a:gd name="csX1" fmla="*/ 0 w 2311244"/>
              <a:gd name="csY1" fmla="*/ 154270 h 701227"/>
              <a:gd name="csX2" fmla="*/ 58903 w 2311244"/>
              <a:gd name="csY2" fmla="*/ 154270 h 701227"/>
              <a:gd name="csX3" fmla="*/ 58903 w 2311244"/>
              <a:gd name="csY3" fmla="*/ 221588 h 701227"/>
              <a:gd name="csX4" fmla="*/ 140246 w 2311244"/>
              <a:gd name="csY4" fmla="*/ 221588 h 701227"/>
              <a:gd name="csX5" fmla="*/ 140246 w 2311244"/>
              <a:gd name="csY5" fmla="*/ 381467 h 701227"/>
              <a:gd name="csX6" fmla="*/ 681593 w 2311244"/>
              <a:gd name="csY6" fmla="*/ 381467 h 701227"/>
              <a:gd name="csX7" fmla="*/ 681593 w 2311244"/>
              <a:gd name="csY7" fmla="*/ 451590 h 701227"/>
              <a:gd name="csX8" fmla="*/ 1113549 w 2311244"/>
              <a:gd name="csY8" fmla="*/ 451590 h 701227"/>
              <a:gd name="csX9" fmla="*/ 1113549 w 2311244"/>
              <a:gd name="csY9" fmla="*/ 518908 h 701227"/>
              <a:gd name="csX10" fmla="*/ 1727823 w 2311244"/>
              <a:gd name="csY10" fmla="*/ 518908 h 701227"/>
              <a:gd name="csX11" fmla="*/ 1727823 w 2311244"/>
              <a:gd name="csY11" fmla="*/ 589030 h 701227"/>
              <a:gd name="csX12" fmla="*/ 2168194 w 2311244"/>
              <a:gd name="csY12" fmla="*/ 589030 h 701227"/>
              <a:gd name="csX13" fmla="*/ 2168194 w 2311244"/>
              <a:gd name="csY13" fmla="*/ 701227 h 701227"/>
              <a:gd name="csX14" fmla="*/ 2311244 w 2311244"/>
              <a:gd name="csY14" fmla="*/ 701227 h 70122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</a:cxnLst>
            <a:rect l="l" t="t" r="r" b="b"/>
            <a:pathLst>
              <a:path w="2311244" h="701227">
                <a:moveTo>
                  <a:pt x="0" y="0"/>
                </a:moveTo>
                <a:lnTo>
                  <a:pt x="0" y="154270"/>
                </a:lnTo>
                <a:lnTo>
                  <a:pt x="58903" y="154270"/>
                </a:lnTo>
                <a:lnTo>
                  <a:pt x="58903" y="221588"/>
                </a:lnTo>
                <a:lnTo>
                  <a:pt x="140246" y="221588"/>
                </a:lnTo>
                <a:lnTo>
                  <a:pt x="140246" y="381467"/>
                </a:lnTo>
                <a:lnTo>
                  <a:pt x="681593" y="381467"/>
                </a:lnTo>
                <a:lnTo>
                  <a:pt x="681593" y="451590"/>
                </a:lnTo>
                <a:lnTo>
                  <a:pt x="1113549" y="451590"/>
                </a:lnTo>
                <a:lnTo>
                  <a:pt x="1113549" y="518908"/>
                </a:lnTo>
                <a:lnTo>
                  <a:pt x="1727823" y="518908"/>
                </a:lnTo>
                <a:lnTo>
                  <a:pt x="1727823" y="589030"/>
                </a:lnTo>
                <a:lnTo>
                  <a:pt x="2168194" y="589030"/>
                </a:lnTo>
                <a:lnTo>
                  <a:pt x="2168194" y="701227"/>
                </a:lnTo>
                <a:lnTo>
                  <a:pt x="2311244" y="701227"/>
                </a:lnTo>
              </a:path>
            </a:pathLst>
          </a:custGeom>
          <a:noFill/>
          <a:ln w="1905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77" name="Straight Connector 176">
            <a:extLst>
              <a:ext uri="{FF2B5EF4-FFF2-40B4-BE49-F238E27FC236}">
                <a16:creationId xmlns:a16="http://schemas.microsoft.com/office/drawing/2014/main" id="{49039761-0519-9A1E-6985-7D9C9F001541}"/>
              </a:ext>
            </a:extLst>
          </p:cNvPr>
          <p:cNvCxnSpPr/>
          <p:nvPr/>
        </p:nvCxnSpPr>
        <p:spPr>
          <a:xfrm>
            <a:off x="3369053" y="4041636"/>
            <a:ext cx="0" cy="86239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8" name="Straight Connector 177">
            <a:extLst>
              <a:ext uri="{FF2B5EF4-FFF2-40B4-BE49-F238E27FC236}">
                <a16:creationId xmlns:a16="http://schemas.microsoft.com/office/drawing/2014/main" id="{BB2B9337-78FE-99EB-BB4A-9D7A973A23F5}"/>
              </a:ext>
            </a:extLst>
          </p:cNvPr>
          <p:cNvCxnSpPr/>
          <p:nvPr/>
        </p:nvCxnSpPr>
        <p:spPr>
          <a:xfrm>
            <a:off x="3048291" y="3957386"/>
            <a:ext cx="0" cy="86239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9" name="Straight Connector 178">
            <a:extLst>
              <a:ext uri="{FF2B5EF4-FFF2-40B4-BE49-F238E27FC236}">
                <a16:creationId xmlns:a16="http://schemas.microsoft.com/office/drawing/2014/main" id="{FFFA0E43-4CEA-E193-CB8F-C4F64C022CE7}"/>
              </a:ext>
            </a:extLst>
          </p:cNvPr>
          <p:cNvCxnSpPr>
            <a:cxnSpLocks/>
          </p:cNvCxnSpPr>
          <p:nvPr/>
        </p:nvCxnSpPr>
        <p:spPr>
          <a:xfrm flipH="1">
            <a:off x="1519537" y="2997770"/>
            <a:ext cx="54667" cy="0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0" name="Straight Connector 179">
            <a:extLst>
              <a:ext uri="{FF2B5EF4-FFF2-40B4-BE49-F238E27FC236}">
                <a16:creationId xmlns:a16="http://schemas.microsoft.com/office/drawing/2014/main" id="{A1AA60D6-44F3-6763-FEC9-7F1643168912}"/>
              </a:ext>
            </a:extLst>
          </p:cNvPr>
          <p:cNvCxnSpPr/>
          <p:nvPr/>
        </p:nvCxnSpPr>
        <p:spPr>
          <a:xfrm>
            <a:off x="1546870" y="2911531"/>
            <a:ext cx="0" cy="86239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1" name="Straight Connector 180">
            <a:extLst>
              <a:ext uri="{FF2B5EF4-FFF2-40B4-BE49-F238E27FC236}">
                <a16:creationId xmlns:a16="http://schemas.microsoft.com/office/drawing/2014/main" id="{71C371AE-54AA-19E8-F3F3-7BA66B6284A7}"/>
              </a:ext>
            </a:extLst>
          </p:cNvPr>
          <p:cNvCxnSpPr>
            <a:cxnSpLocks/>
          </p:cNvCxnSpPr>
          <p:nvPr/>
        </p:nvCxnSpPr>
        <p:spPr>
          <a:xfrm flipH="1">
            <a:off x="1525564" y="2956910"/>
            <a:ext cx="54667" cy="0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4" name="Straight Connector 183">
            <a:extLst>
              <a:ext uri="{FF2B5EF4-FFF2-40B4-BE49-F238E27FC236}">
                <a16:creationId xmlns:a16="http://schemas.microsoft.com/office/drawing/2014/main" id="{193A5993-53B3-4652-18F9-01F14F537BAF}"/>
              </a:ext>
            </a:extLst>
          </p:cNvPr>
          <p:cNvCxnSpPr>
            <a:cxnSpLocks/>
          </p:cNvCxnSpPr>
          <p:nvPr/>
        </p:nvCxnSpPr>
        <p:spPr>
          <a:xfrm>
            <a:off x="1381132" y="2409079"/>
            <a:ext cx="0" cy="182880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5" name="Content Placeholder 1">
            <a:extLst>
              <a:ext uri="{FF2B5EF4-FFF2-40B4-BE49-F238E27FC236}">
                <a16:creationId xmlns:a16="http://schemas.microsoft.com/office/drawing/2014/main" id="{D77D3D75-1724-B440-3233-FFCA29C7EDD2}"/>
              </a:ext>
            </a:extLst>
          </p:cNvPr>
          <p:cNvSpPr txBox="1">
            <a:spLocks/>
          </p:cNvSpPr>
          <p:nvPr/>
        </p:nvSpPr>
        <p:spPr>
          <a:xfrm>
            <a:off x="3583964" y="2925182"/>
            <a:ext cx="1647070" cy="624210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500" b="1" i="0" u="none" strike="noStrike" kern="1200" cap="none" spc="0" normalizeH="0" baseline="0" noProof="0" dirty="0">
                <a:ln>
                  <a:noFill/>
                </a:ln>
                <a:solidFill>
                  <a:srgbClr val="585854">
                    <a:lumMod val="75000"/>
                    <a:lumOff val="2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Median PFS</a:t>
            </a:r>
            <a:r>
              <a:rPr kumimoji="0" lang="en-GB" sz="1500" b="0" i="0" u="none" strike="noStrike" kern="1200" cap="none" spc="0" normalizeH="0" baseline="30000" noProof="0" dirty="0">
                <a:ln>
                  <a:noFill/>
                </a:ln>
                <a:solidFill>
                  <a:srgbClr val="585854">
                    <a:lumMod val="75000"/>
                    <a:lumOff val="2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b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585854">
                    <a:lumMod val="75000"/>
                    <a:lumOff val="2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GB" sz="1900" b="1" i="0" u="none" strike="noStrike" kern="1200" cap="none" spc="0" normalizeH="0" baseline="0" noProof="0" dirty="0">
                <a:ln>
                  <a:noFill/>
                </a:ln>
                <a:solidFill>
                  <a:srgbClr val="ABBFC9">
                    <a:lumMod val="7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3.7 months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85854">
                    <a:lumMod val="75000"/>
                    <a:lumOff val="2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(95% CI: 2.1–4.5)</a:t>
            </a: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86" name="Content Placeholder 1">
            <a:extLst>
              <a:ext uri="{FF2B5EF4-FFF2-40B4-BE49-F238E27FC236}">
                <a16:creationId xmlns:a16="http://schemas.microsoft.com/office/drawing/2014/main" id="{1D5287F2-EC43-C132-443E-3E95F8AF3F1D}"/>
              </a:ext>
            </a:extLst>
          </p:cNvPr>
          <p:cNvSpPr txBox="1">
            <a:spLocks/>
          </p:cNvSpPr>
          <p:nvPr/>
        </p:nvSpPr>
        <p:spPr>
          <a:xfrm>
            <a:off x="3583964" y="2230408"/>
            <a:ext cx="1647070" cy="624210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500" b="1" i="0" u="none" strike="noStrike" kern="1200" cap="none" spc="0" normalizeH="0" baseline="0" noProof="0" dirty="0">
                <a:ln>
                  <a:noFill/>
                </a:ln>
                <a:solidFill>
                  <a:srgbClr val="585854">
                    <a:lumMod val="75000"/>
                    <a:lumOff val="2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Median PFS</a:t>
            </a:r>
            <a:r>
              <a:rPr kumimoji="0" lang="en-GB" sz="1500" b="0" i="0" u="none" strike="noStrike" kern="1200" cap="none" spc="0" normalizeH="0" baseline="30000" noProof="0" dirty="0">
                <a:ln>
                  <a:noFill/>
                </a:ln>
                <a:solidFill>
                  <a:srgbClr val="585854">
                    <a:lumMod val="75000"/>
                    <a:lumOff val="2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b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585854">
                    <a:lumMod val="75000"/>
                    <a:lumOff val="2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GB" sz="1900" b="1" i="0" u="none" strike="noStrike" kern="1200" cap="none" spc="0" normalizeH="0" baseline="0" noProof="0" dirty="0">
                <a:ln>
                  <a:noFill/>
                </a:ln>
                <a:solidFill>
                  <a:srgbClr val="F15922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9.2 months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85854">
                    <a:lumMod val="75000"/>
                    <a:lumOff val="2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(95% CI: 6.0–13.9)</a:t>
            </a: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94752893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5A57974E-CC12-59E6-41A7-E7D9A0BBB4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0647" y="311858"/>
            <a:ext cx="9789459" cy="632402"/>
          </a:xfrm>
        </p:spPr>
        <p:txBody>
          <a:bodyPr/>
          <a:lstStyle/>
          <a:p>
            <a:r>
              <a:rPr lang="en-GB" dirty="0">
                <a:latin typeface="+mn-lt"/>
              </a:rPr>
              <a:t>Extensive real-world experience on Pola-BR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C852D77-E55F-8E33-6E4C-AA694716C9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948FB62-8746-4D0D-BA71-8EB1BEE683ED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CEF5A04-9F47-333E-8C3B-52D358BA755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70645" y="5715093"/>
            <a:ext cx="10440000" cy="1004857"/>
          </a:xfrm>
        </p:spPr>
        <p:txBody>
          <a:bodyPr/>
          <a:lstStyle/>
          <a:p>
            <a:r>
              <a:rPr lang="en-GB" b="1" dirty="0"/>
              <a:t>Direct comparisons between study results cannot be made due to differences in study design, patient populations, and endpoints; the information is presented for contextual purposes only. </a:t>
            </a:r>
          </a:p>
          <a:p>
            <a:r>
              <a:rPr lang="it-IT" dirty="0">
                <a:solidFill>
                  <a:srgbClr val="585854"/>
                </a:solidFill>
              </a:rPr>
              <a:t>*</a:t>
            </a:r>
            <a:r>
              <a:rPr lang="en-CH" dirty="0">
                <a:solidFill>
                  <a:srgbClr val="585854"/>
                </a:solidFill>
              </a:rPr>
              <a:t>M</a:t>
            </a:r>
            <a:r>
              <a:rPr lang="it-IT" dirty="0" err="1">
                <a:solidFill>
                  <a:srgbClr val="585854"/>
                </a:solidFill>
              </a:rPr>
              <a:t>edian</a:t>
            </a:r>
            <a:r>
              <a:rPr lang="it-IT" dirty="0">
                <a:solidFill>
                  <a:srgbClr val="585854"/>
                </a:solidFill>
              </a:rPr>
              <a:t> </a:t>
            </a:r>
            <a:r>
              <a:rPr lang="it-IT" dirty="0" err="1">
                <a:solidFill>
                  <a:srgbClr val="585854"/>
                </a:solidFill>
              </a:rPr>
              <a:t>number</a:t>
            </a:r>
            <a:r>
              <a:rPr lang="it-IT" dirty="0">
                <a:solidFill>
                  <a:srgbClr val="585854"/>
                </a:solidFill>
              </a:rPr>
              <a:t> of treatment </a:t>
            </a:r>
            <a:r>
              <a:rPr lang="it-IT" dirty="0" err="1">
                <a:solidFill>
                  <a:srgbClr val="585854"/>
                </a:solidFill>
              </a:rPr>
              <a:t>cycles</a:t>
            </a:r>
            <a:r>
              <a:rPr lang="en-CH" dirty="0">
                <a:solidFill>
                  <a:srgbClr val="585854"/>
                </a:solidFill>
              </a:rPr>
              <a:t>:</a:t>
            </a:r>
            <a:r>
              <a:rPr lang="it-IT" dirty="0">
                <a:solidFill>
                  <a:srgbClr val="585854"/>
                </a:solidFill>
              </a:rPr>
              <a:t> 4 for pola-B±R</a:t>
            </a:r>
            <a:r>
              <a:rPr lang="en-CH" dirty="0">
                <a:solidFill>
                  <a:srgbClr val="585854"/>
                </a:solidFill>
              </a:rPr>
              <a:t>,</a:t>
            </a:r>
            <a:r>
              <a:rPr lang="it-IT" dirty="0">
                <a:solidFill>
                  <a:srgbClr val="585854"/>
                </a:solidFill>
              </a:rPr>
              <a:t> 5 for pola-R. †</a:t>
            </a:r>
            <a:r>
              <a:rPr lang="it-IT" dirty="0" err="1">
                <a:solidFill>
                  <a:srgbClr val="585854"/>
                </a:solidFill>
              </a:rPr>
              <a:t>Efficacy</a:t>
            </a:r>
            <a:r>
              <a:rPr lang="it-IT" dirty="0">
                <a:solidFill>
                  <a:srgbClr val="585854"/>
                </a:solidFill>
              </a:rPr>
              <a:t> </a:t>
            </a:r>
            <a:r>
              <a:rPr lang="it-IT" dirty="0" err="1">
                <a:solidFill>
                  <a:srgbClr val="585854"/>
                </a:solidFill>
              </a:rPr>
              <a:t>cohort</a:t>
            </a:r>
            <a:r>
              <a:rPr lang="it-IT" dirty="0">
                <a:solidFill>
                  <a:srgbClr val="585854"/>
                </a:solidFill>
              </a:rPr>
              <a:t>.</a:t>
            </a:r>
            <a:r>
              <a:rPr lang="en-CH" dirty="0">
                <a:solidFill>
                  <a:srgbClr val="585854"/>
                </a:solidFill>
              </a:rPr>
              <a:t> M</a:t>
            </a:r>
            <a:r>
              <a:rPr lang="it-IT" dirty="0" err="1">
                <a:solidFill>
                  <a:srgbClr val="585854"/>
                </a:solidFill>
              </a:rPr>
              <a:t>edian</a:t>
            </a:r>
            <a:r>
              <a:rPr lang="it-IT" dirty="0">
                <a:solidFill>
                  <a:srgbClr val="585854"/>
                </a:solidFill>
              </a:rPr>
              <a:t> </a:t>
            </a:r>
            <a:r>
              <a:rPr lang="it-IT" dirty="0" err="1">
                <a:solidFill>
                  <a:srgbClr val="585854"/>
                </a:solidFill>
              </a:rPr>
              <a:t>number</a:t>
            </a:r>
            <a:r>
              <a:rPr lang="it-IT" dirty="0">
                <a:solidFill>
                  <a:srgbClr val="585854"/>
                </a:solidFill>
              </a:rPr>
              <a:t> of treatment </a:t>
            </a:r>
            <a:r>
              <a:rPr lang="it-IT" dirty="0" err="1">
                <a:solidFill>
                  <a:srgbClr val="585854"/>
                </a:solidFill>
              </a:rPr>
              <a:t>cycles</a:t>
            </a:r>
            <a:r>
              <a:rPr lang="it-IT" dirty="0">
                <a:solidFill>
                  <a:srgbClr val="585854"/>
                </a:solidFill>
              </a:rPr>
              <a:t> </a:t>
            </a:r>
            <a:r>
              <a:rPr lang="it-IT" dirty="0" err="1">
                <a:solidFill>
                  <a:srgbClr val="585854"/>
                </a:solidFill>
              </a:rPr>
              <a:t>was</a:t>
            </a:r>
            <a:r>
              <a:rPr lang="it-IT" dirty="0">
                <a:solidFill>
                  <a:srgbClr val="585854"/>
                </a:solidFill>
              </a:rPr>
              <a:t> 4 for 57 </a:t>
            </a:r>
            <a:r>
              <a:rPr lang="it-IT" dirty="0" err="1">
                <a:solidFill>
                  <a:srgbClr val="585854"/>
                </a:solidFill>
              </a:rPr>
              <a:t>patients</a:t>
            </a:r>
            <a:r>
              <a:rPr lang="it-IT" dirty="0">
                <a:solidFill>
                  <a:srgbClr val="585854"/>
                </a:solidFill>
              </a:rPr>
              <a:t> </a:t>
            </a:r>
            <a:r>
              <a:rPr lang="it-IT" dirty="0" err="1">
                <a:solidFill>
                  <a:srgbClr val="585854"/>
                </a:solidFill>
              </a:rPr>
              <a:t>who</a:t>
            </a:r>
            <a:r>
              <a:rPr lang="it-IT" dirty="0">
                <a:solidFill>
                  <a:srgbClr val="585854"/>
                </a:solidFill>
              </a:rPr>
              <a:t> </a:t>
            </a:r>
            <a:r>
              <a:rPr lang="it-IT" dirty="0" err="1">
                <a:solidFill>
                  <a:srgbClr val="585854"/>
                </a:solidFill>
              </a:rPr>
              <a:t>completed</a:t>
            </a:r>
            <a:r>
              <a:rPr lang="it-IT" dirty="0">
                <a:solidFill>
                  <a:srgbClr val="585854"/>
                </a:solidFill>
              </a:rPr>
              <a:t> the pola-BR. ‡Data </a:t>
            </a:r>
            <a:r>
              <a:rPr lang="it-IT" dirty="0" err="1">
                <a:solidFill>
                  <a:srgbClr val="585854"/>
                </a:solidFill>
              </a:rPr>
              <a:t>shown</a:t>
            </a:r>
            <a:r>
              <a:rPr lang="it-IT" dirty="0">
                <a:solidFill>
                  <a:srgbClr val="585854"/>
                </a:solidFill>
              </a:rPr>
              <a:t> are for the </a:t>
            </a:r>
            <a:r>
              <a:rPr lang="it-IT" dirty="0" err="1">
                <a:solidFill>
                  <a:srgbClr val="585854"/>
                </a:solidFill>
              </a:rPr>
              <a:t>salvage</a:t>
            </a:r>
            <a:r>
              <a:rPr lang="it-IT" dirty="0">
                <a:solidFill>
                  <a:srgbClr val="585854"/>
                </a:solidFill>
              </a:rPr>
              <a:t> </a:t>
            </a:r>
            <a:r>
              <a:rPr lang="it-IT" dirty="0" err="1">
                <a:solidFill>
                  <a:srgbClr val="585854"/>
                </a:solidFill>
              </a:rPr>
              <a:t>cohort</a:t>
            </a:r>
            <a:r>
              <a:rPr lang="it-IT" dirty="0">
                <a:solidFill>
                  <a:srgbClr val="585854"/>
                </a:solidFill>
              </a:rPr>
              <a:t>. §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ea typeface="+mn-ea"/>
                <a:cs typeface="+mn-cs"/>
              </a:rPr>
              <a:t>DLBCL was the primary diagnosis in 54.5% of cases</a:t>
            </a:r>
            <a:r>
              <a:rPr lang="en-GB" dirty="0">
                <a:solidFill>
                  <a:srgbClr val="585854"/>
                </a:solidFill>
              </a:rPr>
              <a:t>. ¶For patients receiving </a:t>
            </a:r>
            <a:r>
              <a:rPr lang="en-CH" dirty="0">
                <a:solidFill>
                  <a:srgbClr val="585854"/>
                </a:solidFill>
              </a:rPr>
              <a:t>2L </a:t>
            </a:r>
            <a:r>
              <a:rPr lang="en-GB" dirty="0">
                <a:solidFill>
                  <a:srgbClr val="585854"/>
                </a:solidFill>
              </a:rPr>
              <a:t>Pola-BR. 1L, first line; 2L, second line; 3L, third line;</a:t>
            </a:r>
            <a:r>
              <a:rPr lang="it-IT" dirty="0">
                <a:solidFill>
                  <a:srgbClr val="585854"/>
                </a:solidFill>
              </a:rPr>
              <a:t> BR, </a:t>
            </a:r>
            <a:r>
              <a:rPr lang="it-IT" dirty="0" err="1">
                <a:solidFill>
                  <a:srgbClr val="585854"/>
                </a:solidFill>
              </a:rPr>
              <a:t>bendamustine</a:t>
            </a:r>
            <a:r>
              <a:rPr lang="it-IT" dirty="0">
                <a:solidFill>
                  <a:srgbClr val="585854"/>
                </a:solidFill>
              </a:rPr>
              <a:t> </a:t>
            </a:r>
            <a:r>
              <a:rPr lang="en-CH" dirty="0">
                <a:solidFill>
                  <a:srgbClr val="585854"/>
                </a:solidFill>
              </a:rPr>
              <a:t>and</a:t>
            </a:r>
            <a:r>
              <a:rPr lang="it-IT" dirty="0">
                <a:solidFill>
                  <a:srgbClr val="585854"/>
                </a:solidFill>
              </a:rPr>
              <a:t> rituximab; CAR-T, </a:t>
            </a:r>
            <a:r>
              <a:rPr lang="it-IT" dirty="0" err="1">
                <a:solidFill>
                  <a:srgbClr val="585854"/>
                </a:solidFill>
              </a:rPr>
              <a:t>chimeric</a:t>
            </a:r>
            <a:r>
              <a:rPr lang="it-IT" dirty="0">
                <a:solidFill>
                  <a:srgbClr val="585854"/>
                </a:solidFill>
              </a:rPr>
              <a:t> </a:t>
            </a:r>
            <a:r>
              <a:rPr lang="it-IT" dirty="0" err="1">
                <a:solidFill>
                  <a:srgbClr val="585854"/>
                </a:solidFill>
              </a:rPr>
              <a:t>antigen</a:t>
            </a:r>
            <a:r>
              <a:rPr lang="it-IT" dirty="0">
                <a:solidFill>
                  <a:srgbClr val="585854"/>
                </a:solidFill>
              </a:rPr>
              <a:t> T-</a:t>
            </a:r>
            <a:r>
              <a:rPr lang="it-IT" dirty="0" err="1">
                <a:solidFill>
                  <a:srgbClr val="585854"/>
                </a:solidFill>
              </a:rPr>
              <a:t>cell</a:t>
            </a:r>
            <a:r>
              <a:rPr lang="it-IT" dirty="0">
                <a:solidFill>
                  <a:srgbClr val="585854"/>
                </a:solidFill>
              </a:rPr>
              <a:t> receptor therapy; CHP, </a:t>
            </a:r>
            <a:r>
              <a:rPr lang="it-IT" dirty="0" err="1">
                <a:solidFill>
                  <a:srgbClr val="585854"/>
                </a:solidFill>
              </a:rPr>
              <a:t>cyclophosphamide</a:t>
            </a:r>
            <a:r>
              <a:rPr lang="it-IT" dirty="0">
                <a:solidFill>
                  <a:srgbClr val="585854"/>
                </a:solidFill>
              </a:rPr>
              <a:t>, </a:t>
            </a:r>
            <a:r>
              <a:rPr lang="it-IT" dirty="0" err="1">
                <a:solidFill>
                  <a:srgbClr val="585854"/>
                </a:solidFill>
              </a:rPr>
              <a:t>doxorubicin</a:t>
            </a:r>
            <a:r>
              <a:rPr lang="it-IT" dirty="0">
                <a:solidFill>
                  <a:srgbClr val="585854"/>
                </a:solidFill>
              </a:rPr>
              <a:t>, and prednisone; </a:t>
            </a:r>
            <a:r>
              <a:rPr lang="en-CH" dirty="0">
                <a:solidFill>
                  <a:srgbClr val="585854"/>
                </a:solidFill>
              </a:rPr>
              <a:t>CR, complete response; </a:t>
            </a:r>
            <a:r>
              <a:rPr lang="it-IT" dirty="0">
                <a:solidFill>
                  <a:srgbClr val="585854"/>
                </a:solidFill>
              </a:rPr>
              <a:t>DLBCL, diffuse large B-</a:t>
            </a:r>
            <a:r>
              <a:rPr lang="it-IT" dirty="0" err="1">
                <a:solidFill>
                  <a:srgbClr val="585854"/>
                </a:solidFill>
              </a:rPr>
              <a:t>cell</a:t>
            </a:r>
            <a:r>
              <a:rPr lang="it-IT" dirty="0">
                <a:solidFill>
                  <a:srgbClr val="585854"/>
                </a:solidFill>
              </a:rPr>
              <a:t> </a:t>
            </a:r>
            <a:r>
              <a:rPr lang="it-IT" dirty="0" err="1">
                <a:solidFill>
                  <a:srgbClr val="585854"/>
                </a:solidFill>
              </a:rPr>
              <a:t>lymphoma</a:t>
            </a:r>
            <a:r>
              <a:rPr lang="it-IT" dirty="0">
                <a:solidFill>
                  <a:srgbClr val="585854"/>
                </a:solidFill>
              </a:rPr>
              <a:t>; ECOG PS, Eastern Cooperative </a:t>
            </a:r>
            <a:r>
              <a:rPr lang="it-IT" dirty="0" err="1">
                <a:solidFill>
                  <a:srgbClr val="585854"/>
                </a:solidFill>
              </a:rPr>
              <a:t>Oncology</a:t>
            </a:r>
            <a:r>
              <a:rPr lang="it-IT" dirty="0">
                <a:solidFill>
                  <a:srgbClr val="585854"/>
                </a:solidFill>
              </a:rPr>
              <a:t> Group performance status; </a:t>
            </a:r>
            <a:r>
              <a:rPr lang="it-IT" dirty="0" err="1">
                <a:solidFill>
                  <a:srgbClr val="585854"/>
                </a:solidFill>
              </a:rPr>
              <a:t>LoT</a:t>
            </a:r>
            <a:r>
              <a:rPr lang="it-IT" dirty="0">
                <a:solidFill>
                  <a:srgbClr val="585854"/>
                </a:solidFill>
              </a:rPr>
              <a:t>, line of therapy; </a:t>
            </a:r>
            <a:r>
              <a:rPr lang="it-IT" dirty="0" err="1">
                <a:solidFill>
                  <a:srgbClr val="585854"/>
                </a:solidFill>
              </a:rPr>
              <a:t>mOS</a:t>
            </a:r>
            <a:r>
              <a:rPr lang="it-IT" dirty="0">
                <a:solidFill>
                  <a:srgbClr val="585854"/>
                </a:solidFill>
              </a:rPr>
              <a:t>, </a:t>
            </a:r>
            <a:r>
              <a:rPr lang="it-IT" dirty="0" err="1">
                <a:solidFill>
                  <a:srgbClr val="585854"/>
                </a:solidFill>
              </a:rPr>
              <a:t>median</a:t>
            </a:r>
            <a:r>
              <a:rPr lang="it-IT" dirty="0">
                <a:solidFill>
                  <a:srgbClr val="585854"/>
                </a:solidFill>
              </a:rPr>
              <a:t> overall survival; </a:t>
            </a:r>
            <a:r>
              <a:rPr lang="it-IT" dirty="0" err="1">
                <a:solidFill>
                  <a:srgbClr val="585854"/>
                </a:solidFill>
              </a:rPr>
              <a:t>mPFS</a:t>
            </a:r>
            <a:r>
              <a:rPr lang="it-IT" dirty="0">
                <a:solidFill>
                  <a:srgbClr val="585854"/>
                </a:solidFill>
              </a:rPr>
              <a:t>, </a:t>
            </a:r>
            <a:r>
              <a:rPr lang="it-IT" dirty="0" err="1">
                <a:solidFill>
                  <a:srgbClr val="585854"/>
                </a:solidFill>
              </a:rPr>
              <a:t>median</a:t>
            </a:r>
            <a:r>
              <a:rPr lang="it-IT" dirty="0">
                <a:solidFill>
                  <a:srgbClr val="585854"/>
                </a:solidFill>
              </a:rPr>
              <a:t> </a:t>
            </a:r>
            <a:r>
              <a:rPr lang="it-IT" dirty="0" err="1">
                <a:solidFill>
                  <a:srgbClr val="585854"/>
                </a:solidFill>
              </a:rPr>
              <a:t>progression</a:t>
            </a:r>
            <a:r>
              <a:rPr lang="it-IT" dirty="0">
                <a:solidFill>
                  <a:srgbClr val="585854"/>
                </a:solidFill>
              </a:rPr>
              <a:t>-free survival;</a:t>
            </a:r>
            <a:r>
              <a:rPr lang="en-CH" dirty="0">
                <a:solidFill>
                  <a:srgbClr val="585854"/>
                </a:solidFill>
              </a:rPr>
              <a:t> NA, not available;</a:t>
            </a:r>
            <a:r>
              <a:rPr lang="it-IT" dirty="0">
                <a:solidFill>
                  <a:srgbClr val="585854"/>
                </a:solidFill>
              </a:rPr>
              <a:t> Pola, </a:t>
            </a:r>
            <a:r>
              <a:rPr lang="it-IT" dirty="0" err="1">
                <a:solidFill>
                  <a:srgbClr val="585854"/>
                </a:solidFill>
              </a:rPr>
              <a:t>polatuzumab</a:t>
            </a:r>
            <a:r>
              <a:rPr lang="it-IT" dirty="0">
                <a:solidFill>
                  <a:srgbClr val="585854"/>
                </a:solidFill>
              </a:rPr>
              <a:t> vedotin; </a:t>
            </a:r>
            <a:r>
              <a:rPr lang="en-CH" dirty="0">
                <a:solidFill>
                  <a:srgbClr val="585854"/>
                </a:solidFill>
              </a:rPr>
              <a:t>R, rituximab; </a:t>
            </a:r>
            <a:r>
              <a:rPr lang="it-IT" dirty="0">
                <a:solidFill>
                  <a:srgbClr val="585854"/>
                </a:solidFill>
              </a:rPr>
              <a:t>TCE, T-</a:t>
            </a:r>
            <a:r>
              <a:rPr lang="it-IT" dirty="0" err="1">
                <a:solidFill>
                  <a:srgbClr val="585854"/>
                </a:solidFill>
              </a:rPr>
              <a:t>cell</a:t>
            </a:r>
            <a:r>
              <a:rPr lang="it-IT" dirty="0">
                <a:solidFill>
                  <a:srgbClr val="585854"/>
                </a:solidFill>
              </a:rPr>
              <a:t> </a:t>
            </a:r>
            <a:r>
              <a:rPr lang="it-IT" dirty="0" err="1">
                <a:solidFill>
                  <a:srgbClr val="585854"/>
                </a:solidFill>
              </a:rPr>
              <a:t>engaging</a:t>
            </a:r>
            <a:r>
              <a:rPr lang="it-IT" dirty="0">
                <a:solidFill>
                  <a:srgbClr val="585854"/>
                </a:solidFill>
              </a:rPr>
              <a:t>. </a:t>
            </a:r>
            <a:r>
              <a:rPr lang="it-IT" b="1" dirty="0">
                <a:solidFill>
                  <a:srgbClr val="585854"/>
                </a:solidFill>
              </a:rPr>
              <a:t>1.</a:t>
            </a:r>
            <a:r>
              <a:rPr lang="it-IT" dirty="0">
                <a:solidFill>
                  <a:srgbClr val="585854"/>
                </a:solidFill>
              </a:rPr>
              <a:t> </a:t>
            </a:r>
            <a:r>
              <a:rPr lang="it-IT" dirty="0" err="1">
                <a:solidFill>
                  <a:srgbClr val="585854"/>
                </a:solidFill>
              </a:rPr>
              <a:t>Sehn</a:t>
            </a:r>
            <a:r>
              <a:rPr lang="it-IT" dirty="0">
                <a:solidFill>
                  <a:srgbClr val="585854"/>
                </a:solidFill>
              </a:rPr>
              <a:t> et al. </a:t>
            </a:r>
            <a:r>
              <a:rPr lang="it-IT" i="1" dirty="0">
                <a:solidFill>
                  <a:srgbClr val="585854"/>
                </a:solidFill>
              </a:rPr>
              <a:t>J Clin </a:t>
            </a:r>
            <a:r>
              <a:rPr lang="it-IT" i="1" dirty="0" err="1">
                <a:solidFill>
                  <a:srgbClr val="585854"/>
                </a:solidFill>
              </a:rPr>
              <a:t>Oncol</a:t>
            </a:r>
            <a:r>
              <a:rPr lang="it-IT" dirty="0">
                <a:solidFill>
                  <a:srgbClr val="585854"/>
                </a:solidFill>
              </a:rPr>
              <a:t> 2020 </a:t>
            </a:r>
            <a:endParaRPr lang="en-CH" dirty="0">
              <a:solidFill>
                <a:srgbClr val="585854"/>
              </a:solidFill>
            </a:endParaRPr>
          </a:p>
          <a:p>
            <a:r>
              <a:rPr lang="it-IT" b="1" dirty="0">
                <a:solidFill>
                  <a:srgbClr val="585854"/>
                </a:solidFill>
              </a:rPr>
              <a:t>2. </a:t>
            </a:r>
            <a:r>
              <a:rPr lang="it-IT" dirty="0">
                <a:solidFill>
                  <a:srgbClr val="585854"/>
                </a:solidFill>
              </a:rPr>
              <a:t>Smith et al. </a:t>
            </a:r>
            <a:r>
              <a:rPr lang="it-IT" i="1" dirty="0" err="1">
                <a:solidFill>
                  <a:srgbClr val="585854"/>
                </a:solidFill>
              </a:rPr>
              <a:t>Clin</a:t>
            </a:r>
            <a:r>
              <a:rPr lang="it-IT" i="1" dirty="0">
                <a:solidFill>
                  <a:srgbClr val="585854"/>
                </a:solidFill>
              </a:rPr>
              <a:t> </a:t>
            </a:r>
            <a:r>
              <a:rPr lang="it-IT" i="1" dirty="0" err="1">
                <a:solidFill>
                  <a:srgbClr val="585854"/>
                </a:solidFill>
              </a:rPr>
              <a:t>Lymphoma</a:t>
            </a:r>
            <a:r>
              <a:rPr lang="it-IT" i="1" dirty="0">
                <a:solidFill>
                  <a:srgbClr val="585854"/>
                </a:solidFill>
              </a:rPr>
              <a:t> </a:t>
            </a:r>
            <a:r>
              <a:rPr lang="it-IT" i="1" dirty="0" err="1">
                <a:solidFill>
                  <a:srgbClr val="585854"/>
                </a:solidFill>
              </a:rPr>
              <a:t>Myeloma</a:t>
            </a:r>
            <a:r>
              <a:rPr lang="it-IT" i="1" dirty="0">
                <a:solidFill>
                  <a:srgbClr val="585854"/>
                </a:solidFill>
              </a:rPr>
              <a:t> </a:t>
            </a:r>
            <a:r>
              <a:rPr lang="it-IT" i="1" dirty="0" err="1">
                <a:solidFill>
                  <a:srgbClr val="585854"/>
                </a:solidFill>
              </a:rPr>
              <a:t>Leuk</a:t>
            </a:r>
            <a:r>
              <a:rPr lang="it-IT" dirty="0">
                <a:solidFill>
                  <a:srgbClr val="585854"/>
                </a:solidFill>
              </a:rPr>
              <a:t> 2021 </a:t>
            </a:r>
            <a:r>
              <a:rPr lang="it-IT" b="1" dirty="0">
                <a:solidFill>
                  <a:srgbClr val="585854"/>
                </a:solidFill>
              </a:rPr>
              <a:t>3. </a:t>
            </a:r>
            <a:r>
              <a:rPr lang="it-IT" dirty="0" err="1">
                <a:solidFill>
                  <a:srgbClr val="585854"/>
                </a:solidFill>
              </a:rPr>
              <a:t>Segman</a:t>
            </a:r>
            <a:r>
              <a:rPr lang="it-IT" dirty="0">
                <a:solidFill>
                  <a:srgbClr val="585854"/>
                </a:solidFill>
              </a:rPr>
              <a:t> et al. </a:t>
            </a:r>
            <a:r>
              <a:rPr lang="it-IT" i="1" dirty="0" err="1">
                <a:solidFill>
                  <a:srgbClr val="585854"/>
                </a:solidFill>
              </a:rPr>
              <a:t>Leuk</a:t>
            </a:r>
            <a:r>
              <a:rPr lang="it-IT" i="1" dirty="0">
                <a:solidFill>
                  <a:srgbClr val="585854"/>
                </a:solidFill>
              </a:rPr>
              <a:t> </a:t>
            </a:r>
            <a:r>
              <a:rPr lang="it-IT" i="1" dirty="0" err="1">
                <a:solidFill>
                  <a:srgbClr val="585854"/>
                </a:solidFill>
              </a:rPr>
              <a:t>Lymphoma</a:t>
            </a:r>
            <a:r>
              <a:rPr lang="it-IT" dirty="0">
                <a:solidFill>
                  <a:srgbClr val="585854"/>
                </a:solidFill>
              </a:rPr>
              <a:t> 2021 </a:t>
            </a:r>
            <a:r>
              <a:rPr lang="it-IT" b="1" dirty="0">
                <a:solidFill>
                  <a:srgbClr val="585854"/>
                </a:solidFill>
              </a:rPr>
              <a:t>4. </a:t>
            </a:r>
            <a:r>
              <a:rPr lang="it-IT" dirty="0" err="1">
                <a:solidFill>
                  <a:srgbClr val="585854"/>
                </a:solidFill>
              </a:rPr>
              <a:t>Dimou</a:t>
            </a:r>
            <a:r>
              <a:rPr lang="it-IT" dirty="0">
                <a:solidFill>
                  <a:srgbClr val="585854"/>
                </a:solidFill>
              </a:rPr>
              <a:t> et al. </a:t>
            </a:r>
            <a:r>
              <a:rPr lang="it-IT" i="1" dirty="0" err="1">
                <a:solidFill>
                  <a:srgbClr val="585854"/>
                </a:solidFill>
              </a:rPr>
              <a:t>Hematol</a:t>
            </a:r>
            <a:r>
              <a:rPr lang="it-IT" i="1" dirty="0">
                <a:solidFill>
                  <a:srgbClr val="585854"/>
                </a:solidFill>
              </a:rPr>
              <a:t> </a:t>
            </a:r>
            <a:r>
              <a:rPr lang="it-IT" i="1" dirty="0" err="1">
                <a:solidFill>
                  <a:srgbClr val="585854"/>
                </a:solidFill>
              </a:rPr>
              <a:t>Oncol</a:t>
            </a:r>
            <a:r>
              <a:rPr lang="it-IT" dirty="0">
                <a:solidFill>
                  <a:srgbClr val="585854"/>
                </a:solidFill>
              </a:rPr>
              <a:t> 2021 </a:t>
            </a:r>
            <a:r>
              <a:rPr lang="it-IT" b="1" dirty="0">
                <a:solidFill>
                  <a:srgbClr val="585854"/>
                </a:solidFill>
              </a:rPr>
              <a:t>5.</a:t>
            </a:r>
            <a:r>
              <a:rPr lang="it-IT" dirty="0">
                <a:solidFill>
                  <a:srgbClr val="585854"/>
                </a:solidFill>
              </a:rPr>
              <a:t> </a:t>
            </a:r>
            <a:r>
              <a:rPr lang="it-IT" dirty="0" err="1">
                <a:solidFill>
                  <a:srgbClr val="585854"/>
                </a:solidFill>
              </a:rPr>
              <a:t>Northend</a:t>
            </a:r>
            <a:r>
              <a:rPr lang="it-IT" dirty="0">
                <a:solidFill>
                  <a:srgbClr val="585854"/>
                </a:solidFill>
              </a:rPr>
              <a:t> et al. </a:t>
            </a:r>
            <a:r>
              <a:rPr lang="it-IT" i="1" dirty="0">
                <a:solidFill>
                  <a:srgbClr val="585854"/>
                </a:solidFill>
              </a:rPr>
              <a:t>Blood </a:t>
            </a:r>
            <a:r>
              <a:rPr lang="it-IT" i="1" dirty="0" err="1">
                <a:solidFill>
                  <a:srgbClr val="585854"/>
                </a:solidFill>
              </a:rPr>
              <a:t>Adv</a:t>
            </a:r>
            <a:r>
              <a:rPr lang="it-IT" dirty="0">
                <a:solidFill>
                  <a:srgbClr val="585854"/>
                </a:solidFill>
              </a:rPr>
              <a:t> 2022 </a:t>
            </a:r>
            <a:r>
              <a:rPr lang="it-IT" b="1" dirty="0">
                <a:solidFill>
                  <a:srgbClr val="585854"/>
                </a:solidFill>
              </a:rPr>
              <a:t>6.</a:t>
            </a:r>
            <a:r>
              <a:rPr lang="it-IT" dirty="0">
                <a:solidFill>
                  <a:srgbClr val="585854"/>
                </a:solidFill>
              </a:rPr>
              <a:t> Argnani et al. </a:t>
            </a:r>
            <a:r>
              <a:rPr lang="it-IT" i="1" dirty="0" err="1">
                <a:solidFill>
                  <a:srgbClr val="585854"/>
                </a:solidFill>
              </a:rPr>
              <a:t>Hemasphere</a:t>
            </a:r>
            <a:r>
              <a:rPr lang="it-IT" dirty="0">
                <a:solidFill>
                  <a:srgbClr val="585854"/>
                </a:solidFill>
              </a:rPr>
              <a:t> 2022 </a:t>
            </a:r>
            <a:r>
              <a:rPr lang="it-IT" b="1" dirty="0">
                <a:solidFill>
                  <a:srgbClr val="585854"/>
                </a:solidFill>
              </a:rPr>
              <a:t>7.</a:t>
            </a:r>
            <a:r>
              <a:rPr lang="it-IT" dirty="0">
                <a:solidFill>
                  <a:srgbClr val="585854"/>
                </a:solidFill>
              </a:rPr>
              <a:t> Dal et al. </a:t>
            </a:r>
            <a:r>
              <a:rPr lang="it-IT" i="1" dirty="0">
                <a:solidFill>
                  <a:srgbClr val="585854"/>
                </a:solidFill>
              </a:rPr>
              <a:t>Ann </a:t>
            </a:r>
            <a:r>
              <a:rPr lang="it-IT" i="1" dirty="0" err="1">
                <a:solidFill>
                  <a:srgbClr val="585854"/>
                </a:solidFill>
              </a:rPr>
              <a:t>Hematol</a:t>
            </a:r>
            <a:r>
              <a:rPr lang="it-IT" dirty="0">
                <a:solidFill>
                  <a:srgbClr val="585854"/>
                </a:solidFill>
              </a:rPr>
              <a:t> 2023 </a:t>
            </a:r>
            <a:r>
              <a:rPr lang="it-IT" b="1" dirty="0">
                <a:solidFill>
                  <a:srgbClr val="585854"/>
                </a:solidFill>
              </a:rPr>
              <a:t>8.</a:t>
            </a:r>
            <a:r>
              <a:rPr lang="it-IT" dirty="0">
                <a:solidFill>
                  <a:srgbClr val="585854"/>
                </a:solidFill>
              </a:rPr>
              <a:t> </a:t>
            </a:r>
            <a:r>
              <a:rPr lang="it-IT" dirty="0" err="1">
                <a:solidFill>
                  <a:srgbClr val="585854"/>
                </a:solidFill>
              </a:rPr>
              <a:t>Vodicka</a:t>
            </a:r>
            <a:r>
              <a:rPr lang="it-IT" dirty="0">
                <a:solidFill>
                  <a:srgbClr val="585854"/>
                </a:solidFill>
              </a:rPr>
              <a:t> et al. </a:t>
            </a:r>
            <a:r>
              <a:rPr lang="it-IT" i="1" dirty="0">
                <a:solidFill>
                  <a:srgbClr val="585854"/>
                </a:solidFill>
              </a:rPr>
              <a:t>Eur J </a:t>
            </a:r>
            <a:r>
              <a:rPr lang="it-IT" i="1" dirty="0" err="1">
                <a:solidFill>
                  <a:srgbClr val="585854"/>
                </a:solidFill>
              </a:rPr>
              <a:t>Haematol</a:t>
            </a:r>
            <a:r>
              <a:rPr lang="it-IT" dirty="0">
                <a:solidFill>
                  <a:srgbClr val="585854"/>
                </a:solidFill>
              </a:rPr>
              <a:t> 2022 </a:t>
            </a:r>
            <a:r>
              <a:rPr lang="it-IT" b="1" dirty="0">
                <a:solidFill>
                  <a:srgbClr val="585854"/>
                </a:solidFill>
              </a:rPr>
              <a:t>9.</a:t>
            </a:r>
            <a:r>
              <a:rPr lang="it-IT" dirty="0">
                <a:solidFill>
                  <a:srgbClr val="585854"/>
                </a:solidFill>
              </a:rPr>
              <a:t> </a:t>
            </a:r>
            <a:r>
              <a:rPr lang="it-IT" dirty="0" err="1">
                <a:solidFill>
                  <a:srgbClr val="585854"/>
                </a:solidFill>
              </a:rPr>
              <a:t>Liebers</a:t>
            </a:r>
            <a:r>
              <a:rPr lang="it-IT" dirty="0">
                <a:solidFill>
                  <a:srgbClr val="585854"/>
                </a:solidFill>
              </a:rPr>
              <a:t> et al. </a:t>
            </a:r>
            <a:r>
              <a:rPr lang="it-IT" i="1" dirty="0">
                <a:solidFill>
                  <a:srgbClr val="585854"/>
                </a:solidFill>
              </a:rPr>
              <a:t>Blood </a:t>
            </a:r>
            <a:r>
              <a:rPr lang="it-IT" i="1" dirty="0" err="1">
                <a:solidFill>
                  <a:srgbClr val="585854"/>
                </a:solidFill>
              </a:rPr>
              <a:t>Adv</a:t>
            </a:r>
            <a:r>
              <a:rPr lang="it-IT" i="1" dirty="0">
                <a:solidFill>
                  <a:srgbClr val="585854"/>
                </a:solidFill>
              </a:rPr>
              <a:t> </a:t>
            </a:r>
            <a:r>
              <a:rPr lang="it-IT" dirty="0">
                <a:solidFill>
                  <a:srgbClr val="585854"/>
                </a:solidFill>
              </a:rPr>
              <a:t>2021 </a:t>
            </a:r>
            <a:r>
              <a:rPr lang="en-GB" b="1" dirty="0"/>
              <a:t>10. </a:t>
            </a:r>
            <a:r>
              <a:rPr lang="en-GB" dirty="0"/>
              <a:t>Pardal et al. EHA 2024; Abstract 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#PB3006 </a:t>
            </a:r>
            <a:r>
              <a:rPr lang="en-GB" b="1" dirty="0"/>
              <a:t>11</a:t>
            </a:r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. </a:t>
            </a:r>
            <a:r>
              <a:rPr kumimoji="0" lang="en-GB" sz="9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Danecki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et al. EHA 2024; </a:t>
            </a:r>
            <a:r>
              <a:rPr lang="en-GB" dirty="0"/>
              <a:t>Poster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#P1182 </a:t>
            </a:r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12. 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Eyre et al. </a:t>
            </a:r>
            <a:r>
              <a:rPr kumimoji="0" lang="en-GB" sz="900" b="0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Ann Oncol 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2025.</a:t>
            </a:r>
            <a:endParaRPr lang="it-IT" dirty="0">
              <a:solidFill>
                <a:srgbClr val="585854"/>
              </a:solidFill>
            </a:endParaRPr>
          </a:p>
        </p:txBody>
      </p:sp>
      <p:graphicFrame>
        <p:nvGraphicFramePr>
          <p:cNvPr id="8" name="Table 6">
            <a:extLst>
              <a:ext uri="{FF2B5EF4-FFF2-40B4-BE49-F238E27FC236}">
                <a16:creationId xmlns:a16="http://schemas.microsoft.com/office/drawing/2014/main" id="{937978E7-F74A-08E3-84F7-72B63CC9422D}"/>
              </a:ext>
            </a:extLst>
          </p:cNvPr>
          <p:cNvGraphicFramePr>
            <a:graphicFrameLocks/>
          </p:cNvGraphicFramePr>
          <p:nvPr/>
        </p:nvGraphicFramePr>
        <p:xfrm>
          <a:off x="470647" y="1084340"/>
          <a:ext cx="10835146" cy="3643883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1520247">
                  <a:extLst>
                    <a:ext uri="{9D8B030D-6E8A-4147-A177-3AD203B41FA5}">
                      <a16:colId xmlns:a16="http://schemas.microsoft.com/office/drawing/2014/main" val="869480336"/>
                    </a:ext>
                  </a:extLst>
                </a:gridCol>
                <a:gridCol w="868940">
                  <a:extLst>
                    <a:ext uri="{9D8B030D-6E8A-4147-A177-3AD203B41FA5}">
                      <a16:colId xmlns:a16="http://schemas.microsoft.com/office/drawing/2014/main" val="2727456033"/>
                    </a:ext>
                  </a:extLst>
                </a:gridCol>
                <a:gridCol w="824678">
                  <a:extLst>
                    <a:ext uri="{9D8B030D-6E8A-4147-A177-3AD203B41FA5}">
                      <a16:colId xmlns:a16="http://schemas.microsoft.com/office/drawing/2014/main" val="2982722857"/>
                    </a:ext>
                  </a:extLst>
                </a:gridCol>
                <a:gridCol w="846809">
                  <a:extLst>
                    <a:ext uri="{9D8B030D-6E8A-4147-A177-3AD203B41FA5}">
                      <a16:colId xmlns:a16="http://schemas.microsoft.com/office/drawing/2014/main" val="2952250291"/>
                    </a:ext>
                  </a:extLst>
                </a:gridCol>
                <a:gridCol w="846809">
                  <a:extLst>
                    <a:ext uri="{9D8B030D-6E8A-4147-A177-3AD203B41FA5}">
                      <a16:colId xmlns:a16="http://schemas.microsoft.com/office/drawing/2014/main" val="3124790124"/>
                    </a:ext>
                  </a:extLst>
                </a:gridCol>
                <a:gridCol w="846809">
                  <a:extLst>
                    <a:ext uri="{9D8B030D-6E8A-4147-A177-3AD203B41FA5}">
                      <a16:colId xmlns:a16="http://schemas.microsoft.com/office/drawing/2014/main" val="2446632181"/>
                    </a:ext>
                  </a:extLst>
                </a:gridCol>
                <a:gridCol w="761649">
                  <a:extLst>
                    <a:ext uri="{9D8B030D-6E8A-4147-A177-3AD203B41FA5}">
                      <a16:colId xmlns:a16="http://schemas.microsoft.com/office/drawing/2014/main" val="764797172"/>
                    </a:ext>
                  </a:extLst>
                </a:gridCol>
                <a:gridCol w="785812">
                  <a:extLst>
                    <a:ext uri="{9D8B030D-6E8A-4147-A177-3AD203B41FA5}">
                      <a16:colId xmlns:a16="http://schemas.microsoft.com/office/drawing/2014/main" val="854229230"/>
                    </a:ext>
                  </a:extLst>
                </a:gridCol>
                <a:gridCol w="778669">
                  <a:extLst>
                    <a:ext uri="{9D8B030D-6E8A-4147-A177-3AD203B41FA5}">
                      <a16:colId xmlns:a16="http://schemas.microsoft.com/office/drawing/2014/main" val="3529841271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761752679"/>
                    </a:ext>
                  </a:extLst>
                </a:gridCol>
                <a:gridCol w="1000125">
                  <a:extLst>
                    <a:ext uri="{9D8B030D-6E8A-4147-A177-3AD203B41FA5}">
                      <a16:colId xmlns:a16="http://schemas.microsoft.com/office/drawing/2014/main" val="1741786083"/>
                    </a:ext>
                  </a:extLst>
                </a:gridCol>
                <a:gridCol w="840199">
                  <a:extLst>
                    <a:ext uri="{9D8B030D-6E8A-4147-A177-3AD203B41FA5}">
                      <a16:colId xmlns:a16="http://schemas.microsoft.com/office/drawing/2014/main" val="1608877864"/>
                    </a:ext>
                  </a:extLst>
                </a:gridCol>
              </a:tblGrid>
              <a:tr h="992123">
                <a:tc>
                  <a:txBody>
                    <a:bodyPr/>
                    <a:lstStyle/>
                    <a:p>
                      <a:endParaRPr lang="it-IT" sz="1200">
                        <a:solidFill>
                          <a:schemeClr val="bg1"/>
                        </a:solidFill>
                      </a:endParaRP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 err="1">
                          <a:solidFill>
                            <a:schemeClr val="bg1"/>
                          </a:solidFill>
                        </a:rPr>
                        <a:t>Pivotal</a:t>
                      </a:r>
                      <a:r>
                        <a:rPr lang="it-IT" sz="1200">
                          <a:solidFill>
                            <a:schemeClr val="bg1"/>
                          </a:solidFill>
                        </a:rPr>
                        <a:t> Study</a:t>
                      </a:r>
                    </a:p>
                    <a:p>
                      <a:pPr algn="ctr"/>
                      <a:r>
                        <a:rPr lang="it-IT" sz="1200">
                          <a:solidFill>
                            <a:schemeClr val="bg1"/>
                          </a:solidFill>
                        </a:rPr>
                        <a:t>GO29365</a:t>
                      </a:r>
                      <a:r>
                        <a:rPr lang="it-IT" sz="1200" baseline="30000">
                          <a:solidFill>
                            <a:schemeClr val="bg1"/>
                          </a:solidFill>
                        </a:rPr>
                        <a:t>1</a:t>
                      </a:r>
                    </a:p>
                    <a:p>
                      <a:pPr algn="ctr"/>
                      <a:r>
                        <a:rPr lang="it-IT" sz="1200">
                          <a:solidFill>
                            <a:schemeClr val="bg1"/>
                          </a:solidFill>
                        </a:rPr>
                        <a:t>N=40</a:t>
                      </a: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Smith </a:t>
                      </a:r>
                      <a:r>
                        <a:rPr lang="it-IT" sz="1100">
                          <a:solidFill>
                            <a:schemeClr val="tx2"/>
                          </a:solidFill>
                        </a:rPr>
                        <a:t>2021 (US)</a:t>
                      </a:r>
                      <a:r>
                        <a:rPr lang="it-IT" sz="1100" baseline="30000">
                          <a:solidFill>
                            <a:schemeClr val="tx2"/>
                          </a:solidFill>
                        </a:rPr>
                        <a:t>2</a:t>
                      </a:r>
                    </a:p>
                    <a:p>
                      <a:pPr algn="ctr"/>
                      <a:r>
                        <a:rPr lang="it-IT" sz="1100">
                          <a:solidFill>
                            <a:schemeClr val="tx2"/>
                          </a:solidFill>
                        </a:rPr>
                        <a:t>N=69</a:t>
                      </a: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Segman </a:t>
                      </a:r>
                      <a:r>
                        <a:rPr lang="it-IT" sz="1100">
                          <a:solidFill>
                            <a:schemeClr val="tx2"/>
                          </a:solidFill>
                        </a:rPr>
                        <a:t>2021</a:t>
                      </a:r>
                    </a:p>
                    <a:p>
                      <a:pPr algn="ctr"/>
                      <a:r>
                        <a:rPr lang="it-IT" sz="1100">
                          <a:solidFill>
                            <a:schemeClr val="tx2"/>
                          </a:solidFill>
                        </a:rPr>
                        <a:t>(Israel)</a:t>
                      </a:r>
                      <a:r>
                        <a:rPr lang="it-IT" sz="1100" baseline="30000">
                          <a:solidFill>
                            <a:schemeClr val="tx2"/>
                          </a:solidFill>
                        </a:rPr>
                        <a:t>3</a:t>
                      </a:r>
                    </a:p>
                    <a:p>
                      <a:pPr algn="ctr"/>
                      <a:r>
                        <a:rPr lang="it-IT" sz="1100">
                          <a:solidFill>
                            <a:schemeClr val="tx2"/>
                          </a:solidFill>
                        </a:rPr>
                        <a:t>N=47</a:t>
                      </a: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Dimou </a:t>
                      </a:r>
                      <a:r>
                        <a:rPr lang="it-IT" sz="1100">
                          <a:solidFill>
                            <a:schemeClr val="tx2"/>
                          </a:solidFill>
                        </a:rPr>
                        <a:t>2021</a:t>
                      </a:r>
                    </a:p>
                    <a:p>
                      <a:pPr algn="ctr"/>
                      <a:r>
                        <a:rPr lang="it-IT" sz="1100">
                          <a:solidFill>
                            <a:schemeClr val="tx2"/>
                          </a:solidFill>
                        </a:rPr>
                        <a:t>(</a:t>
                      </a:r>
                      <a:r>
                        <a:rPr lang="it-IT" sz="1100" err="1">
                          <a:solidFill>
                            <a:schemeClr val="tx2"/>
                          </a:solidFill>
                        </a:rPr>
                        <a:t>Greece</a:t>
                      </a:r>
                      <a:r>
                        <a:rPr lang="it-IT" sz="1100">
                          <a:solidFill>
                            <a:schemeClr val="tx2"/>
                          </a:solidFill>
                        </a:rPr>
                        <a:t>)</a:t>
                      </a:r>
                      <a:r>
                        <a:rPr lang="it-IT" sz="1100" baseline="30000">
                          <a:solidFill>
                            <a:schemeClr val="tx2"/>
                          </a:solidFill>
                        </a:rPr>
                        <a:t>4</a:t>
                      </a:r>
                    </a:p>
                    <a:p>
                      <a:pPr algn="ctr"/>
                      <a:r>
                        <a:rPr lang="it-IT" sz="1100">
                          <a:solidFill>
                            <a:schemeClr val="tx2"/>
                          </a:solidFill>
                        </a:rPr>
                        <a:t>N=49</a:t>
                      </a:r>
                      <a:r>
                        <a:rPr lang="it-IT" sz="1100" baseline="30000">
                          <a:solidFill>
                            <a:schemeClr val="tx2"/>
                          </a:solidFill>
                        </a:rPr>
                        <a:t>†</a:t>
                      </a: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Northend </a:t>
                      </a:r>
                      <a:r>
                        <a:rPr lang="it-IT" sz="1100">
                          <a:solidFill>
                            <a:schemeClr val="tx2"/>
                          </a:solidFill>
                        </a:rPr>
                        <a:t>2021</a:t>
                      </a:r>
                    </a:p>
                    <a:p>
                      <a:pPr algn="ctr"/>
                      <a:r>
                        <a:rPr lang="it-IT" sz="1100">
                          <a:solidFill>
                            <a:schemeClr val="tx2"/>
                          </a:solidFill>
                        </a:rPr>
                        <a:t>(UK)</a:t>
                      </a:r>
                      <a:r>
                        <a:rPr lang="it-IT" sz="1100" baseline="30000">
                          <a:solidFill>
                            <a:schemeClr val="tx2"/>
                          </a:solidFill>
                        </a:rPr>
                        <a:t>5</a:t>
                      </a:r>
                    </a:p>
                    <a:p>
                      <a:pPr algn="ctr"/>
                      <a:r>
                        <a:rPr lang="it-IT" sz="1100">
                          <a:solidFill>
                            <a:schemeClr val="tx2"/>
                          </a:solidFill>
                        </a:rPr>
                        <a:t>N=133</a:t>
                      </a: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Argnani </a:t>
                      </a:r>
                      <a:r>
                        <a:rPr lang="it-IT" sz="1100">
                          <a:solidFill>
                            <a:schemeClr val="tx2"/>
                          </a:solidFill>
                        </a:rPr>
                        <a:t>2022 </a:t>
                      </a:r>
                    </a:p>
                    <a:p>
                      <a:pPr algn="ctr"/>
                      <a:r>
                        <a:rPr lang="it-IT" sz="1100">
                          <a:solidFill>
                            <a:schemeClr val="tx2"/>
                          </a:solidFill>
                        </a:rPr>
                        <a:t>(Italy)</a:t>
                      </a:r>
                      <a:r>
                        <a:rPr lang="it-IT" sz="1100" baseline="30000">
                          <a:solidFill>
                            <a:schemeClr val="tx2"/>
                          </a:solidFill>
                        </a:rPr>
                        <a:t>6</a:t>
                      </a:r>
                    </a:p>
                    <a:p>
                      <a:pPr algn="ctr"/>
                      <a:r>
                        <a:rPr lang="it-IT" sz="1100">
                          <a:solidFill>
                            <a:schemeClr val="tx2"/>
                          </a:solidFill>
                        </a:rPr>
                        <a:t>N=55</a:t>
                      </a: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  <a:latin typeface="+mn-lt"/>
                        </a:rPr>
                        <a:t>Dal </a:t>
                      </a:r>
                      <a:br>
                        <a:rPr lang="it-IT" sz="1200">
                          <a:solidFill>
                            <a:schemeClr val="tx2"/>
                          </a:solidFill>
                          <a:latin typeface="+mn-lt"/>
                        </a:rPr>
                      </a:br>
                      <a:r>
                        <a:rPr lang="it-IT" sz="1100">
                          <a:solidFill>
                            <a:schemeClr val="tx2"/>
                          </a:solidFill>
                          <a:latin typeface="+mn-lt"/>
                        </a:rPr>
                        <a:t>2023</a:t>
                      </a:r>
                    </a:p>
                    <a:p>
                      <a:pPr algn="ctr"/>
                      <a:r>
                        <a:rPr lang="it-IT" sz="1100">
                          <a:solidFill>
                            <a:schemeClr val="tx2"/>
                          </a:solidFill>
                          <a:latin typeface="+mn-lt"/>
                        </a:rPr>
                        <a:t>(Turkey)</a:t>
                      </a:r>
                      <a:r>
                        <a:rPr lang="it-IT" sz="1100" baseline="30000">
                          <a:solidFill>
                            <a:schemeClr val="tx2"/>
                          </a:solidFill>
                          <a:latin typeface="+mn-lt"/>
                        </a:rPr>
                        <a:t>7</a:t>
                      </a:r>
                    </a:p>
                    <a:p>
                      <a:pPr algn="ctr"/>
                      <a:r>
                        <a:rPr lang="it-IT" sz="1100">
                          <a:solidFill>
                            <a:schemeClr val="tx2"/>
                          </a:solidFill>
                          <a:latin typeface="+mn-lt"/>
                        </a:rPr>
                        <a:t>N=71</a:t>
                      </a: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  <a:latin typeface="+mn-lt"/>
                        </a:rPr>
                        <a:t>Vodicka </a:t>
                      </a:r>
                      <a:br>
                        <a:rPr lang="it-IT" sz="1200">
                          <a:solidFill>
                            <a:schemeClr val="tx2"/>
                          </a:solidFill>
                          <a:latin typeface="+mn-lt"/>
                        </a:rPr>
                      </a:br>
                      <a:r>
                        <a:rPr lang="it-IT" sz="1100">
                          <a:solidFill>
                            <a:schemeClr val="tx2"/>
                          </a:solidFill>
                          <a:latin typeface="+mn-lt"/>
                        </a:rPr>
                        <a:t>2022</a:t>
                      </a:r>
                      <a:endParaRPr lang="it-IT" sz="1100" baseline="30000">
                        <a:solidFill>
                          <a:schemeClr val="tx2"/>
                        </a:solidFill>
                        <a:latin typeface="+mn-lt"/>
                      </a:endParaRPr>
                    </a:p>
                    <a:p>
                      <a:pPr algn="ctr"/>
                      <a:r>
                        <a:rPr lang="it-IT" sz="1100">
                          <a:solidFill>
                            <a:schemeClr val="tx2"/>
                          </a:solidFill>
                          <a:latin typeface="+mn-lt"/>
                        </a:rPr>
                        <a:t>(Czechia)</a:t>
                      </a:r>
                      <a:r>
                        <a:rPr lang="it-IT" sz="1100" baseline="30000">
                          <a:solidFill>
                            <a:schemeClr val="tx2"/>
                          </a:solidFill>
                          <a:latin typeface="+mn-lt"/>
                        </a:rPr>
                        <a:t>8</a:t>
                      </a:r>
                    </a:p>
                    <a:p>
                      <a:pPr algn="ctr"/>
                      <a:r>
                        <a:rPr lang="it-IT" sz="1100">
                          <a:solidFill>
                            <a:schemeClr val="tx2"/>
                          </a:solidFill>
                          <a:latin typeface="+mn-lt"/>
                        </a:rPr>
                        <a:t>N=21</a:t>
                      </a:r>
                    </a:p>
                  </a:txBody>
                  <a:tcPr marL="0" marR="0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  <a:latin typeface="+mn-lt"/>
                        </a:rPr>
                        <a:t>Liebers </a:t>
                      </a:r>
                      <a:r>
                        <a:rPr lang="it-IT" sz="1100">
                          <a:solidFill>
                            <a:schemeClr val="tx2"/>
                          </a:solidFill>
                          <a:latin typeface="+mn-lt"/>
                        </a:rPr>
                        <a:t>2021</a:t>
                      </a:r>
                    </a:p>
                    <a:p>
                      <a:pPr algn="ctr"/>
                      <a:r>
                        <a:rPr lang="it-IT" sz="1100">
                          <a:solidFill>
                            <a:schemeClr val="tx2"/>
                          </a:solidFill>
                          <a:latin typeface="+mn-lt"/>
                        </a:rPr>
                        <a:t>(Germany)</a:t>
                      </a:r>
                      <a:r>
                        <a:rPr lang="it-IT" sz="1100" baseline="30000">
                          <a:solidFill>
                            <a:schemeClr val="tx2"/>
                          </a:solidFill>
                          <a:latin typeface="+mn-lt"/>
                        </a:rPr>
                        <a:t>9</a:t>
                      </a:r>
                    </a:p>
                    <a:p>
                      <a:pPr algn="ctr"/>
                      <a:r>
                        <a:rPr lang="it-IT" sz="1100">
                          <a:solidFill>
                            <a:schemeClr val="tx2"/>
                          </a:solidFill>
                          <a:latin typeface="+mn-lt"/>
                        </a:rPr>
                        <a:t>N=54</a:t>
                      </a:r>
                      <a:r>
                        <a:rPr lang="it-IT" sz="1100" baseline="30000">
                          <a:solidFill>
                            <a:schemeClr val="tx2"/>
                          </a:solidFill>
                          <a:latin typeface="+mn-lt"/>
                        </a:rPr>
                        <a:t>‡</a:t>
                      </a: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GB" sz="1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85854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Pardal </a:t>
                      </a:r>
                      <a:br>
                        <a:rPr kumimoji="0" lang="en-GB" sz="1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85854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 panose="020F0502020204030204" pitchFamily="34" charset="0"/>
                        </a:rPr>
                      </a:br>
                      <a:r>
                        <a:rPr kumimoji="0" lang="en-GB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85854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2024</a:t>
                      </a:r>
                    </a:p>
                    <a:p>
                      <a:pPr algn="ctr"/>
                      <a:r>
                        <a:rPr kumimoji="0" lang="en-GB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85854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(Portugal)</a:t>
                      </a:r>
                      <a:r>
                        <a:rPr kumimoji="0" lang="en-GB" sz="1100" b="1" i="0" u="none" strike="noStrike" kern="1200" cap="none" spc="0" normalizeH="0" baseline="30000" noProof="0">
                          <a:ln>
                            <a:noFill/>
                          </a:ln>
                          <a:solidFill>
                            <a:srgbClr val="585854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10</a:t>
                      </a:r>
                    </a:p>
                    <a:p>
                      <a:pPr algn="ctr"/>
                      <a:r>
                        <a:rPr kumimoji="0" lang="en-GB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85854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N=11</a:t>
                      </a:r>
                      <a:r>
                        <a:rPr kumimoji="0" lang="en-GB" sz="1100" b="1" i="0" u="none" strike="noStrike" kern="1200" cap="none" spc="0" normalizeH="0" baseline="30000" noProof="0">
                          <a:ln>
                            <a:noFill/>
                          </a:ln>
                          <a:solidFill>
                            <a:srgbClr val="585854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§</a:t>
                      </a:r>
                      <a:endParaRPr lang="it-IT" sz="1100" i="0" baseline="3000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it-IT" sz="12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585854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Danecki </a:t>
                      </a:r>
                      <a:r>
                        <a:rPr kumimoji="0" lang="it-IT" sz="11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585854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2024 (Poland)</a:t>
                      </a:r>
                      <a:r>
                        <a:rPr kumimoji="0" lang="it-IT" sz="1100" b="1" i="0" u="none" strike="noStrike" kern="1200" cap="none" spc="0" normalizeH="0" baseline="30000">
                          <a:ln>
                            <a:noFill/>
                          </a:ln>
                          <a:solidFill>
                            <a:srgbClr val="585854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11</a:t>
                      </a:r>
                    </a:p>
                    <a:p>
                      <a:pPr algn="ctr"/>
                      <a:r>
                        <a:rPr kumimoji="0" lang="it-IT" sz="11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585854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N=99</a:t>
                      </a: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0849535"/>
                  </a:ext>
                </a:extLst>
              </a:tr>
              <a:tr h="450965">
                <a:tc>
                  <a:txBody>
                    <a:bodyPr/>
                    <a:lstStyle/>
                    <a:p>
                      <a:r>
                        <a:rPr lang="it-IT" sz="1200" b="1">
                          <a:solidFill>
                            <a:schemeClr val="tx2"/>
                          </a:solidFill>
                        </a:rPr>
                        <a:t>Age, median (range), years </a:t>
                      </a:r>
                    </a:p>
                  </a:txBody>
                  <a:tcP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67 </a:t>
                      </a:r>
                      <a:br>
                        <a:rPr lang="it-IT" sz="1200">
                          <a:solidFill>
                            <a:schemeClr val="tx2"/>
                          </a:solidFill>
                        </a:rPr>
                      </a:br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(33–86)</a:t>
                      </a:r>
                    </a:p>
                  </a:txBody>
                  <a:tcP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62 </a:t>
                      </a:r>
                      <a:br>
                        <a:rPr lang="it-IT" sz="1200">
                          <a:solidFill>
                            <a:schemeClr val="tx2"/>
                          </a:solidFill>
                        </a:rPr>
                      </a:br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(17–88)</a:t>
                      </a:r>
                    </a:p>
                  </a:txBody>
                  <a:tcP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66 </a:t>
                      </a:r>
                      <a:br>
                        <a:rPr lang="it-IT" sz="1200">
                          <a:solidFill>
                            <a:schemeClr val="tx2"/>
                          </a:solidFill>
                        </a:rPr>
                      </a:br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(60–79)</a:t>
                      </a:r>
                    </a:p>
                  </a:txBody>
                  <a:tcP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63 </a:t>
                      </a:r>
                      <a:br>
                        <a:rPr lang="it-IT" sz="1200">
                          <a:solidFill>
                            <a:schemeClr val="tx2"/>
                          </a:solidFill>
                        </a:rPr>
                      </a:br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(27–85)</a:t>
                      </a:r>
                    </a:p>
                  </a:txBody>
                  <a:tcP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72 </a:t>
                      </a:r>
                      <a:br>
                        <a:rPr lang="it-IT" sz="1200">
                          <a:solidFill>
                            <a:schemeClr val="tx2"/>
                          </a:solidFill>
                        </a:rPr>
                      </a:br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(18–88)</a:t>
                      </a:r>
                    </a:p>
                  </a:txBody>
                  <a:tcP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63 </a:t>
                      </a:r>
                      <a:br>
                        <a:rPr lang="it-IT" sz="1200">
                          <a:solidFill>
                            <a:schemeClr val="tx2"/>
                          </a:solidFill>
                        </a:rPr>
                      </a:br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(29–84)</a:t>
                      </a:r>
                    </a:p>
                  </a:txBody>
                  <a:tcP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  <a:latin typeface="+mn-lt"/>
                        </a:rPr>
                        <a:t>55 </a:t>
                      </a:r>
                      <a:br>
                        <a:rPr lang="it-IT" sz="1200">
                          <a:solidFill>
                            <a:schemeClr val="tx2"/>
                          </a:solidFill>
                          <a:latin typeface="+mn-lt"/>
                        </a:rPr>
                      </a:br>
                      <a:r>
                        <a:rPr lang="it-IT" sz="1200">
                          <a:solidFill>
                            <a:schemeClr val="tx2"/>
                          </a:solidFill>
                          <a:latin typeface="+mn-lt"/>
                        </a:rPr>
                        <a:t>(19–84)</a:t>
                      </a:r>
                    </a:p>
                  </a:txBody>
                  <a:tcP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  <a:latin typeface="+mn-lt"/>
                        </a:rPr>
                        <a:t>67 </a:t>
                      </a:r>
                      <a:br>
                        <a:rPr lang="it-IT" sz="1200">
                          <a:solidFill>
                            <a:schemeClr val="tx2"/>
                          </a:solidFill>
                          <a:latin typeface="+mn-lt"/>
                        </a:rPr>
                      </a:br>
                      <a:r>
                        <a:rPr lang="it-IT" sz="1200">
                          <a:solidFill>
                            <a:schemeClr val="tx2"/>
                          </a:solidFill>
                          <a:latin typeface="+mn-lt"/>
                        </a:rPr>
                        <a:t>(35–85)</a:t>
                      </a:r>
                    </a:p>
                  </a:txBody>
                  <a:tcP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  <a:latin typeface="+mn-lt"/>
                        </a:rPr>
                        <a:t>74 </a:t>
                      </a:r>
                      <a:br>
                        <a:rPr lang="it-IT" sz="1200">
                          <a:solidFill>
                            <a:schemeClr val="tx2"/>
                          </a:solidFill>
                          <a:latin typeface="+mn-lt"/>
                        </a:rPr>
                      </a:br>
                      <a:r>
                        <a:rPr lang="it-IT" sz="1200">
                          <a:solidFill>
                            <a:schemeClr val="tx2"/>
                          </a:solidFill>
                          <a:latin typeface="+mn-lt"/>
                        </a:rPr>
                        <a:t>(37–87)</a:t>
                      </a:r>
                    </a:p>
                  </a:txBody>
                  <a:tcP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GB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85854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63</a:t>
                      </a:r>
                      <a:endParaRPr lang="it-IT" sz="1200" i="1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85854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A</a:t>
                      </a:r>
                      <a:endParaRPr lang="it-IT" sz="120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76859340"/>
                  </a:ext>
                </a:extLst>
              </a:tr>
              <a:tr h="270579">
                <a:tc>
                  <a:txBody>
                    <a:bodyPr/>
                    <a:lstStyle/>
                    <a:p>
                      <a:r>
                        <a:rPr lang="it-IT" sz="1200" b="1">
                          <a:solidFill>
                            <a:schemeClr val="tx2"/>
                          </a:solidFill>
                        </a:rPr>
                        <a:t>ECOG PS ≥2, 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15</a:t>
                      </a:r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3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5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4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2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  <a:latin typeface="+mn-lt"/>
                        </a:rPr>
                        <a:t>3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  <a:latin typeface="+mn-lt"/>
                        </a:rPr>
                        <a:t>4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  <a:latin typeface="+mn-lt"/>
                        </a:rPr>
                        <a:t>N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  <a:latin typeface="+mn-lt"/>
                        </a:rPr>
                        <a:t>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85854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R</a:t>
                      </a:r>
                      <a:endParaRPr lang="it-IT" sz="120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77207714"/>
                  </a:ext>
                </a:extLst>
              </a:tr>
              <a:tr h="450965">
                <a:tc>
                  <a:txBody>
                    <a:bodyPr/>
                    <a:lstStyle/>
                    <a:p>
                      <a:r>
                        <a:rPr lang="it-IT" sz="1200" b="1">
                          <a:solidFill>
                            <a:schemeClr val="tx2"/>
                          </a:solidFill>
                        </a:rPr>
                        <a:t>Median n of prior LoT</a:t>
                      </a:r>
                    </a:p>
                  </a:txBody>
                  <a:tcPr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2 (1–7)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3 (1–9)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3 (2–7)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2 (1–9)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2 (1–6)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3 (1–6)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  <a:latin typeface="+mn-lt"/>
                        </a:rPr>
                        <a:t>3 (2–5)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  <a:latin typeface="+mn-lt"/>
                        </a:rPr>
                        <a:t>3 (2–7)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  <a:latin typeface="+mn-lt"/>
                        </a:rPr>
                        <a:t>3 (2–8)</a:t>
                      </a:r>
                    </a:p>
                  </a:txBody>
                  <a:tcPr>
                    <a:lnL>
                      <a:noFill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  <a:latin typeface="+mn-lt"/>
                        </a:rPr>
                        <a:t>NA</a:t>
                      </a:r>
                    </a:p>
                  </a:txBody>
                  <a:tcPr>
                    <a:lnL>
                      <a:noFill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  <a:latin typeface="+mn-lt"/>
                        </a:rPr>
                        <a:t>(1–4)</a:t>
                      </a:r>
                    </a:p>
                  </a:txBody>
                  <a:tcPr>
                    <a:lnL>
                      <a:noFill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1511822"/>
                  </a:ext>
                </a:extLst>
              </a:tr>
              <a:tr h="450965">
                <a:tc>
                  <a:txBody>
                    <a:bodyPr/>
                    <a:lstStyle/>
                    <a:p>
                      <a:r>
                        <a:rPr lang="it-IT" sz="1200" b="1" err="1">
                          <a:solidFill>
                            <a:schemeClr val="tx2"/>
                          </a:solidFill>
                        </a:rPr>
                        <a:t>Refractory</a:t>
                      </a:r>
                      <a:r>
                        <a:rPr lang="it-IT" sz="1200" b="1">
                          <a:solidFill>
                            <a:schemeClr val="tx2"/>
                          </a:solidFill>
                        </a:rPr>
                        <a:t> to last therapy, %</a:t>
                      </a:r>
                    </a:p>
                  </a:txBody>
                  <a:tcP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75</a:t>
                      </a:r>
                    </a:p>
                  </a:txBody>
                  <a:tcP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84</a:t>
                      </a:r>
                    </a:p>
                  </a:txBody>
                  <a:tcP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23</a:t>
                      </a:r>
                    </a:p>
                  </a:txBody>
                  <a:tcP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78</a:t>
                      </a:r>
                    </a:p>
                  </a:txBody>
                  <a:tcP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68</a:t>
                      </a:r>
                    </a:p>
                  </a:txBody>
                  <a:tcP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82</a:t>
                      </a:r>
                    </a:p>
                  </a:txBody>
                  <a:tcP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  <a:latin typeface="+mn-lt"/>
                        </a:rPr>
                        <a:t>NA</a:t>
                      </a:r>
                    </a:p>
                  </a:txBody>
                  <a:tcP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  <a:latin typeface="+mn-lt"/>
                        </a:rPr>
                        <a:t>76</a:t>
                      </a:r>
                    </a:p>
                  </a:txBody>
                  <a:tcP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  <a:latin typeface="+mn-lt"/>
                        </a:rPr>
                        <a:t>87</a:t>
                      </a:r>
                    </a:p>
                  </a:txBody>
                  <a:tcP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GB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85854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A</a:t>
                      </a:r>
                      <a:endParaRPr lang="it-IT" sz="120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85854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A</a:t>
                      </a:r>
                      <a:endParaRPr lang="it-IT" sz="1200">
                        <a:solidFill>
                          <a:schemeClr val="tx2"/>
                        </a:solidFill>
                        <a:latin typeface="+mn-lt"/>
                      </a:endParaRPr>
                    </a:p>
                    <a:p>
                      <a:pPr algn="ctr"/>
                      <a:endParaRPr lang="it-IT" sz="120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533358148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r>
                        <a:rPr lang="en-CH" sz="1200" b="1" dirty="0">
                          <a:solidFill>
                            <a:schemeClr val="tx2"/>
                          </a:solidFill>
                        </a:rPr>
                        <a:t>CR, %</a:t>
                      </a:r>
                      <a:endParaRPr lang="it-IT" sz="1200" b="1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H" sz="1200" dirty="0">
                          <a:solidFill>
                            <a:schemeClr val="tx2"/>
                          </a:solidFill>
                        </a:rPr>
                        <a:t>53</a:t>
                      </a:r>
                      <a:endParaRPr lang="it-IT" sz="1200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H" sz="1200">
                          <a:solidFill>
                            <a:schemeClr val="tx2"/>
                          </a:solidFill>
                        </a:rPr>
                        <a:t>24</a:t>
                      </a:r>
                      <a:endParaRPr lang="it-IT" sz="120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H" sz="1200">
                          <a:solidFill>
                            <a:schemeClr val="tx2"/>
                          </a:solidFill>
                        </a:rPr>
                        <a:t>40</a:t>
                      </a:r>
                      <a:endParaRPr lang="it-IT" sz="120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H" sz="1200">
                          <a:solidFill>
                            <a:schemeClr val="tx2"/>
                          </a:solidFill>
                        </a:rPr>
                        <a:t>25</a:t>
                      </a:r>
                      <a:endParaRPr lang="it-IT" sz="120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H" sz="1200" dirty="0">
                          <a:solidFill>
                            <a:schemeClr val="tx2"/>
                          </a:solidFill>
                        </a:rPr>
                        <a:t>32</a:t>
                      </a:r>
                      <a:endParaRPr lang="it-IT" sz="1200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H" sz="1200" dirty="0">
                          <a:solidFill>
                            <a:schemeClr val="tx2"/>
                          </a:solidFill>
                        </a:rPr>
                        <a:t>27</a:t>
                      </a:r>
                      <a:endParaRPr lang="it-IT" sz="1200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H" sz="1200" dirty="0">
                          <a:solidFill>
                            <a:schemeClr val="tx2"/>
                          </a:solidFill>
                          <a:latin typeface="+mn-lt"/>
                        </a:rPr>
                        <a:t>32</a:t>
                      </a:r>
                      <a:endParaRPr lang="it-IT" sz="12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H" sz="1200" dirty="0">
                          <a:solidFill>
                            <a:schemeClr val="tx2"/>
                          </a:solidFill>
                          <a:latin typeface="+mn-lt"/>
                        </a:rPr>
                        <a:t>24</a:t>
                      </a:r>
                      <a:endParaRPr lang="it-IT" sz="12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H" sz="1200" dirty="0">
                          <a:solidFill>
                            <a:schemeClr val="tx2"/>
                          </a:solidFill>
                          <a:latin typeface="+mn-lt"/>
                        </a:rPr>
                        <a:t>15</a:t>
                      </a:r>
                      <a:endParaRPr lang="it-IT" sz="12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>
                    <a:lnL>
                      <a:noFill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H" sz="1200" dirty="0">
                          <a:solidFill>
                            <a:schemeClr val="tx2"/>
                          </a:solidFill>
                          <a:latin typeface="+mn-lt"/>
                        </a:rPr>
                        <a:t>18</a:t>
                      </a:r>
                      <a:endParaRPr lang="it-IT" sz="12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>
                    <a:lnL>
                      <a:noFill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H" sz="1200" baseline="0" dirty="0">
                          <a:solidFill>
                            <a:schemeClr val="tx2"/>
                          </a:solidFill>
                          <a:latin typeface="+mn-lt"/>
                        </a:rPr>
                        <a:t>35</a:t>
                      </a:r>
                      <a:endParaRPr lang="it-IT" sz="1200" baseline="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>
                    <a:lnL>
                      <a:noFill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1074614"/>
                  </a:ext>
                </a:extLst>
              </a:tr>
              <a:tr h="450965">
                <a:tc>
                  <a:txBody>
                    <a:bodyPr/>
                    <a:lstStyle/>
                    <a:p>
                      <a:r>
                        <a:rPr lang="it-IT" sz="1200" b="1" dirty="0" err="1">
                          <a:solidFill>
                            <a:schemeClr val="tx2"/>
                          </a:solidFill>
                        </a:rPr>
                        <a:t>mPFS</a:t>
                      </a:r>
                      <a:r>
                        <a:rPr lang="it-IT" sz="1200" b="1" dirty="0">
                          <a:solidFill>
                            <a:schemeClr val="tx2"/>
                          </a:solidFill>
                        </a:rPr>
                        <a:t>, </a:t>
                      </a:r>
                      <a:r>
                        <a:rPr lang="it-IT" sz="1200" b="1" dirty="0" err="1">
                          <a:solidFill>
                            <a:schemeClr val="tx2"/>
                          </a:solidFill>
                        </a:rPr>
                        <a:t>mo</a:t>
                      </a:r>
                      <a:r>
                        <a:rPr lang="en-CH" sz="1200" b="1" dirty="0" err="1">
                          <a:solidFill>
                            <a:schemeClr val="tx2"/>
                          </a:solidFill>
                        </a:rPr>
                        <a:t>nths</a:t>
                      </a:r>
                      <a:endParaRPr lang="it-IT" sz="1200" b="1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9.2 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2.0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5.6 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4.0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4.8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4.9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  <a:latin typeface="+mn-lt"/>
                        </a:rPr>
                        <a:t>NA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  <a:latin typeface="+mn-lt"/>
                        </a:rPr>
                        <a:t>3.8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  <a:latin typeface="+mn-lt"/>
                        </a:rPr>
                        <a:t>NA</a:t>
                      </a:r>
                    </a:p>
                  </a:txBody>
                  <a:tcPr>
                    <a:lnL>
                      <a:noFill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GB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85854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A</a:t>
                      </a:r>
                      <a:endParaRPr lang="it-IT" sz="12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>
                    <a:lnL>
                      <a:noFill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 dirty="0">
                          <a:solidFill>
                            <a:schemeClr val="tx2"/>
                          </a:solidFill>
                          <a:latin typeface="+mn-lt"/>
                        </a:rPr>
                        <a:t> 11.6 (2L) 4.6</a:t>
                      </a:r>
                      <a:r>
                        <a:rPr lang="en-GB" sz="1200" baseline="0" dirty="0">
                          <a:solidFill>
                            <a:srgbClr val="585854"/>
                          </a:solidFill>
                          <a:latin typeface="+mn-lt"/>
                        </a:rPr>
                        <a:t> (≥3L)</a:t>
                      </a:r>
                      <a:endParaRPr lang="it-IT" sz="1200" baseline="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>
                    <a:lnL>
                      <a:noFill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95033715"/>
                  </a:ext>
                </a:extLst>
              </a:tr>
              <a:tr h="270579">
                <a:tc>
                  <a:txBody>
                    <a:bodyPr/>
                    <a:lstStyle/>
                    <a:p>
                      <a:r>
                        <a:rPr lang="it-IT" sz="1200" b="1" dirty="0" err="1">
                          <a:solidFill>
                            <a:schemeClr val="tx2"/>
                          </a:solidFill>
                        </a:rPr>
                        <a:t>mOS</a:t>
                      </a:r>
                      <a:r>
                        <a:rPr lang="it-IT" sz="1200" b="1" dirty="0">
                          <a:solidFill>
                            <a:schemeClr val="tx2"/>
                          </a:solidFill>
                        </a:rPr>
                        <a:t>, </a:t>
                      </a:r>
                      <a:r>
                        <a:rPr lang="it-IT" sz="1200" b="1" dirty="0" err="1">
                          <a:solidFill>
                            <a:schemeClr val="tx2"/>
                          </a:solidFill>
                        </a:rPr>
                        <a:t>mo</a:t>
                      </a:r>
                      <a:r>
                        <a:rPr lang="en-CH" sz="1200" b="1" dirty="0" err="1">
                          <a:solidFill>
                            <a:schemeClr val="tx2"/>
                          </a:solidFill>
                        </a:rPr>
                        <a:t>nths</a:t>
                      </a:r>
                      <a:endParaRPr lang="it-IT" sz="1200" b="1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12.4 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5.3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8.3 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8.5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8.2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9.0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  <a:latin typeface="+mn-lt"/>
                        </a:rPr>
                        <a:t>5.0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  <a:latin typeface="+mn-lt"/>
                        </a:rPr>
                        <a:t>8.7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  <a:latin typeface="+mn-lt"/>
                        </a:rPr>
                        <a:t>5.4</a:t>
                      </a:r>
                    </a:p>
                  </a:txBody>
                  <a:tcPr>
                    <a:lnL>
                      <a:noFill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  <a:latin typeface="+mn-lt"/>
                        </a:rPr>
                        <a:t>9.0</a:t>
                      </a:r>
                    </a:p>
                  </a:txBody>
                  <a:tcPr>
                    <a:lnL>
                      <a:noFill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85854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A</a:t>
                      </a:r>
                      <a:endParaRPr lang="it-IT" sz="12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>
                    <a:lnL>
                      <a:noFill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7822318"/>
                  </a:ext>
                </a:extLst>
              </a:tr>
            </a:tbl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255C21AA-79FC-8478-359A-BF256AC17CB6}"/>
              </a:ext>
            </a:extLst>
          </p:cNvPr>
          <p:cNvSpPr/>
          <p:nvPr/>
        </p:nvSpPr>
        <p:spPr>
          <a:xfrm>
            <a:off x="470648" y="3723366"/>
            <a:ext cx="10835145" cy="1004857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" name="Shape 3">
            <a:extLst>
              <a:ext uri="{FF2B5EF4-FFF2-40B4-BE49-F238E27FC236}">
                <a16:creationId xmlns:a16="http://schemas.microsoft.com/office/drawing/2014/main" id="{DFB93C03-C733-164E-02B3-5B415AABD863}"/>
              </a:ext>
            </a:extLst>
          </p:cNvPr>
          <p:cNvSpPr/>
          <p:nvPr/>
        </p:nvSpPr>
        <p:spPr>
          <a:xfrm>
            <a:off x="486528" y="4946073"/>
            <a:ext cx="10835146" cy="649284"/>
          </a:xfrm>
          <a:prstGeom prst="rect">
            <a:avLst/>
          </a:prstGeom>
          <a:solidFill>
            <a:schemeClr val="accent5">
              <a:lumMod val="20000"/>
              <a:lumOff val="80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180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30000" noProof="0">
              <a:ln>
                <a:noFill/>
              </a:ln>
              <a:solidFill>
                <a:srgbClr val="F15922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" name="Text 13">
            <a:extLst>
              <a:ext uri="{FF2B5EF4-FFF2-40B4-BE49-F238E27FC236}">
                <a16:creationId xmlns:a16="http://schemas.microsoft.com/office/drawing/2014/main" id="{7B553F4A-93A0-4B13-46D1-0DC786ABF239}"/>
              </a:ext>
            </a:extLst>
          </p:cNvPr>
          <p:cNvSpPr/>
          <p:nvPr/>
        </p:nvSpPr>
        <p:spPr>
          <a:xfrm>
            <a:off x="1007604" y="5005290"/>
            <a:ext cx="5345924" cy="530851"/>
          </a:xfrm>
          <a:prstGeom prst="rect">
            <a:avLst/>
          </a:prstGeom>
          <a:noFill/>
          <a:ln/>
        </p:spPr>
        <p:txBody>
          <a:bodyPr wrap="square" lIns="108000" tIns="0" rIns="7200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sz="16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Arial" pitchFamily="34" charset="-122"/>
                <a:cs typeface="Arial" pitchFamily="34" charset="-120"/>
              </a:rPr>
              <a:t>B</a:t>
            </a:r>
            <a:r>
              <a: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Arial" pitchFamily="34" charset="-122"/>
                <a:cs typeface="Arial" pitchFamily="34" charset="-120"/>
              </a:rPr>
              <a:t>endamustine</a:t>
            </a: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Arial" pitchFamily="34" charset="-122"/>
                <a:cs typeface="Arial" pitchFamily="34" charset="-120"/>
              </a:rPr>
              <a:t> may reduce TCE-agents’ effectiveness (e.g., CAR-T and bispecific antibodies)</a:t>
            </a:r>
            <a:r>
              <a:rPr kumimoji="0" lang="en-GB" sz="1600" b="0" i="0" u="none" strike="noStrike" kern="1200" cap="none" spc="0" normalizeH="0" baseline="3000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Arial" pitchFamily="34" charset="-122"/>
                <a:cs typeface="Arial" pitchFamily="34" charset="-120"/>
              </a:rPr>
              <a:t>2,12</a:t>
            </a:r>
          </a:p>
        </p:txBody>
      </p:sp>
      <p:sp>
        <p:nvSpPr>
          <p:cNvPr id="5" name="Text 13">
            <a:extLst>
              <a:ext uri="{FF2B5EF4-FFF2-40B4-BE49-F238E27FC236}">
                <a16:creationId xmlns:a16="http://schemas.microsoft.com/office/drawing/2014/main" id="{66C567F5-4E2A-A7C0-CEF2-37993C6F6BE4}"/>
              </a:ext>
            </a:extLst>
          </p:cNvPr>
          <p:cNvSpPr/>
          <p:nvPr/>
        </p:nvSpPr>
        <p:spPr>
          <a:xfrm>
            <a:off x="7621898" y="5005290"/>
            <a:ext cx="3562498" cy="530851"/>
          </a:xfrm>
          <a:prstGeom prst="rect">
            <a:avLst/>
          </a:prstGeom>
          <a:noFill/>
          <a:ln/>
        </p:spPr>
        <p:txBody>
          <a:bodyPr wrap="square" lIns="108000" tIns="0" rIns="7200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Arial" pitchFamily="34" charset="-122"/>
                <a:cs typeface="Arial" pitchFamily="34" charset="-120"/>
              </a:rPr>
              <a:t>Pola in 1L, as part of Pola-R-CHP, may preclude its subsequent use</a:t>
            </a:r>
            <a:r>
              <a:rPr kumimoji="0" lang="en-GB" sz="1600" b="0" i="0" u="none" strike="noStrike" kern="1200" cap="none" spc="0" normalizeH="0" baseline="3000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Arial" pitchFamily="34" charset="-122"/>
                <a:cs typeface="Arial" pitchFamily="34" charset="-120"/>
              </a:rPr>
              <a:t>12</a:t>
            </a:r>
            <a:endParaRPr kumimoji="0" lang="en-GB" sz="1600" b="1" i="0" u="none" strike="noStrike" kern="1200" cap="none" spc="0" normalizeH="0" baseline="3000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Arial" pitchFamily="34" charset="-122"/>
              <a:cs typeface="Arial" pitchFamily="34" charset="-12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346D9A5F-00EC-CF30-1379-C06DD8120A24}"/>
              </a:ext>
            </a:extLst>
          </p:cNvPr>
          <p:cNvGrpSpPr/>
          <p:nvPr/>
        </p:nvGrpSpPr>
        <p:grpSpPr>
          <a:xfrm>
            <a:off x="7208833" y="5064183"/>
            <a:ext cx="413065" cy="413065"/>
            <a:chOff x="7577974" y="5137232"/>
            <a:chExt cx="413065" cy="413065"/>
          </a:xfrm>
        </p:grpSpPr>
        <p:sp>
          <p:nvSpPr>
            <p:cNvPr id="15" name="Shape 14">
              <a:extLst>
                <a:ext uri="{FF2B5EF4-FFF2-40B4-BE49-F238E27FC236}">
                  <a16:creationId xmlns:a16="http://schemas.microsoft.com/office/drawing/2014/main" id="{B708CFF2-A3A7-7A08-594A-759078F81CEA}"/>
                </a:ext>
              </a:extLst>
            </p:cNvPr>
            <p:cNvSpPr/>
            <p:nvPr/>
          </p:nvSpPr>
          <p:spPr>
            <a:xfrm>
              <a:off x="7577974" y="5137232"/>
              <a:ext cx="413065" cy="413065"/>
            </a:xfrm>
            <a:prstGeom prst="ellipse">
              <a:avLst/>
            </a:prstGeom>
            <a:solidFill>
              <a:schemeClr val="accent5"/>
            </a:solidFill>
            <a:ln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pic>
          <p:nvPicPr>
            <p:cNvPr id="13" name="Image 1" descr="preencoded.png">
              <a:extLst>
                <a:ext uri="{FF2B5EF4-FFF2-40B4-BE49-F238E27FC236}">
                  <a16:creationId xmlns:a16="http://schemas.microsoft.com/office/drawing/2014/main" id="{A1DD938B-3811-E096-F092-E1E74F3D624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biLevel thresh="25000"/>
            </a:blip>
            <a:stretch>
              <a:fillRect/>
            </a:stretch>
          </p:blipFill>
          <p:spPr>
            <a:xfrm>
              <a:off x="7642149" y="5205418"/>
              <a:ext cx="276692" cy="276692"/>
            </a:xfrm>
            <a:prstGeom prst="rect">
              <a:avLst/>
            </a:prstGeom>
          </p:spPr>
        </p:pic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3CEE658E-5E5A-A995-2698-6F912C8D94C8}"/>
              </a:ext>
            </a:extLst>
          </p:cNvPr>
          <p:cNvGrpSpPr/>
          <p:nvPr/>
        </p:nvGrpSpPr>
        <p:grpSpPr>
          <a:xfrm>
            <a:off x="609198" y="5064183"/>
            <a:ext cx="413065" cy="413065"/>
            <a:chOff x="978339" y="5240059"/>
            <a:chExt cx="413065" cy="413065"/>
          </a:xfrm>
        </p:grpSpPr>
        <p:sp>
          <p:nvSpPr>
            <p:cNvPr id="12" name="Shape 12">
              <a:extLst>
                <a:ext uri="{FF2B5EF4-FFF2-40B4-BE49-F238E27FC236}">
                  <a16:creationId xmlns:a16="http://schemas.microsoft.com/office/drawing/2014/main" id="{EF77E8EA-F4DE-1130-7E17-F566004970E8}"/>
                </a:ext>
              </a:extLst>
            </p:cNvPr>
            <p:cNvSpPr/>
            <p:nvPr/>
          </p:nvSpPr>
          <p:spPr>
            <a:xfrm>
              <a:off x="978339" y="5240059"/>
              <a:ext cx="413065" cy="413065"/>
            </a:xfrm>
            <a:prstGeom prst="ellipse">
              <a:avLst/>
            </a:prstGeom>
            <a:solidFill>
              <a:schemeClr val="accent5"/>
            </a:solidFill>
            <a:ln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pic>
          <p:nvPicPr>
            <p:cNvPr id="16" name="Image 1" descr="Germ with solid fill">
              <a:extLst>
                <a:ext uri="{FF2B5EF4-FFF2-40B4-BE49-F238E27FC236}">
                  <a16:creationId xmlns:a16="http://schemas.microsoft.com/office/drawing/2014/main" id="{2762FC97-5CF8-272E-62F6-0D83F6EFDF98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1034812" y="5290795"/>
              <a:ext cx="292096" cy="29209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82706314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32DEBC-EA0A-7CC4-737B-EC426F8050E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DAD99C-D27B-3B22-BD86-0FF855EE9D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latin typeface="+mn-lt"/>
              </a:rPr>
              <a:t>Tafa</a:t>
            </a:r>
            <a:r>
              <a:rPr lang="en-CH" dirty="0" err="1">
                <a:latin typeface="+mn-lt"/>
              </a:rPr>
              <a:t>sitamab</a:t>
            </a:r>
            <a:r>
              <a:rPr lang="en-GB" dirty="0">
                <a:latin typeface="+mn-lt"/>
              </a:rPr>
              <a:t>-</a:t>
            </a:r>
            <a:r>
              <a:rPr lang="en-GB" dirty="0" err="1">
                <a:latin typeface="+mn-lt"/>
              </a:rPr>
              <a:t>len</a:t>
            </a:r>
            <a:r>
              <a:rPr lang="en-CH" dirty="0" err="1">
                <a:latin typeface="+mn-lt"/>
              </a:rPr>
              <a:t>alidomide</a:t>
            </a:r>
            <a:r>
              <a:rPr lang="en-GB" dirty="0">
                <a:latin typeface="+mn-lt"/>
              </a:rPr>
              <a:t> in ASCT-ineligible R/R DLBCL</a:t>
            </a:r>
            <a:r>
              <a:rPr lang="en-GB" baseline="30000" dirty="0">
                <a:latin typeface="+mn-lt"/>
              </a:rPr>
              <a:t>1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A7C5EF0-A669-266C-5FE1-C66A774B8A8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70645" y="6057327"/>
            <a:ext cx="10440000" cy="662624"/>
          </a:xfrm>
        </p:spPr>
        <p:txBody>
          <a:bodyPr/>
          <a:lstStyle/>
          <a:p>
            <a:r>
              <a:rPr lang="en-GB" dirty="0"/>
              <a:t>*Data from the final 5-year analysis of L-MIND (safety analysis set, N=81). Patients with primary refractory disease had a response lasting 3–6 months after 1L therapy. </a:t>
            </a:r>
            <a:br>
              <a:rPr lang="en-GB" dirty="0"/>
            </a:br>
            <a:r>
              <a:rPr lang="en-GB" dirty="0"/>
              <a:t>†Median follow-up ranged from 45.6 months for progression-free survival to 65.6 months for overall survival</a:t>
            </a:r>
            <a:r>
              <a:rPr lang="en-GB" dirty="0">
                <a:solidFill>
                  <a:srgbClr val="585854"/>
                </a:solidFill>
                <a:ea typeface="Arial" pitchFamily="34" charset="-122"/>
                <a:cs typeface="Arial" pitchFamily="34" charset="-120"/>
              </a:rPr>
              <a:t>. </a:t>
            </a:r>
            <a:r>
              <a:rPr lang="en-GB" dirty="0"/>
              <a:t>AE frequency decreased during </a:t>
            </a:r>
            <a:r>
              <a:rPr lang="en-GB" dirty="0" err="1"/>
              <a:t>tafa</a:t>
            </a:r>
            <a:r>
              <a:rPr lang="en-GB" dirty="0"/>
              <a:t> monotherapy vs combination phase, with no new safety signals. AE, adverse event; ASCT, autologous stem cell transplant</a:t>
            </a:r>
            <a:r>
              <a:rPr lang="en-CH" dirty="0" err="1"/>
              <a:t>ation</a:t>
            </a:r>
            <a:r>
              <a:rPr lang="en-GB" dirty="0"/>
              <a:t>; DLBCL, diffuse large B-cell lymphoma; R/R, relapsed/refractory; </a:t>
            </a:r>
            <a:r>
              <a:rPr lang="en-GB" dirty="0" err="1"/>
              <a:t>tafa-len</a:t>
            </a:r>
            <a:r>
              <a:rPr lang="en-GB" dirty="0"/>
              <a:t>, </a:t>
            </a:r>
            <a:r>
              <a:rPr lang="en-GB" dirty="0" err="1"/>
              <a:t>tafasitamab</a:t>
            </a:r>
            <a:r>
              <a:rPr lang="en-GB" dirty="0"/>
              <a:t> and lenalidomide; </a:t>
            </a:r>
            <a:endParaRPr lang="en-CH" dirty="0"/>
          </a:p>
          <a:p>
            <a:r>
              <a:rPr lang="en-GB" dirty="0"/>
              <a:t>TEAE, treatment-emergent adverse event. </a:t>
            </a:r>
            <a:endParaRPr lang="en-CH" dirty="0"/>
          </a:p>
          <a:p>
            <a:r>
              <a:rPr lang="en-GB" b="1" dirty="0"/>
              <a:t>1. </a:t>
            </a:r>
            <a:r>
              <a:rPr lang="en-GB" dirty="0"/>
              <a:t>Duell et al. </a:t>
            </a:r>
            <a:r>
              <a:rPr lang="en-GB" i="1" dirty="0" err="1"/>
              <a:t>Haematologica</a:t>
            </a:r>
            <a:r>
              <a:rPr lang="en-GB" dirty="0"/>
              <a:t> 2024.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219012F5-4DA8-4B7E-3769-D1833B25038C}"/>
              </a:ext>
            </a:extLst>
          </p:cNvPr>
          <p:cNvGrpSpPr/>
          <p:nvPr/>
        </p:nvGrpSpPr>
        <p:grpSpPr>
          <a:xfrm>
            <a:off x="684546" y="1714451"/>
            <a:ext cx="302537" cy="207455"/>
            <a:chOff x="2019300" y="3529012"/>
            <a:chExt cx="250031" cy="171450"/>
          </a:xfrm>
        </p:grpSpPr>
        <p:sp>
          <p:nvSpPr>
            <p:cNvPr id="11" name="Freeform: Shape 24">
              <a:extLst>
                <a:ext uri="{FF2B5EF4-FFF2-40B4-BE49-F238E27FC236}">
                  <a16:creationId xmlns:a16="http://schemas.microsoft.com/office/drawing/2014/main" id="{FE239F68-72FE-C515-4C28-7DBC24B610E9}"/>
                </a:ext>
              </a:extLst>
            </p:cNvPr>
            <p:cNvSpPr/>
            <p:nvPr/>
          </p:nvSpPr>
          <p:spPr>
            <a:xfrm>
              <a:off x="2019301" y="3529012"/>
              <a:ext cx="245268" cy="171450"/>
            </a:xfrm>
            <a:custGeom>
              <a:avLst/>
              <a:gdLst>
                <a:gd name="connsiteX0" fmla="*/ 0 w 321468"/>
                <a:gd name="connsiteY0" fmla="*/ 0 h 171450"/>
                <a:gd name="connsiteX1" fmla="*/ 76200 w 321468"/>
                <a:gd name="connsiteY1" fmla="*/ 0 h 171450"/>
                <a:gd name="connsiteX2" fmla="*/ 102393 w 321468"/>
                <a:gd name="connsiteY2" fmla="*/ 0 h 171450"/>
                <a:gd name="connsiteX3" fmla="*/ 102393 w 321468"/>
                <a:gd name="connsiteY3" fmla="*/ 83344 h 171450"/>
                <a:gd name="connsiteX4" fmla="*/ 171450 w 321468"/>
                <a:gd name="connsiteY4" fmla="*/ 83344 h 171450"/>
                <a:gd name="connsiteX5" fmla="*/ 171450 w 321468"/>
                <a:gd name="connsiteY5" fmla="*/ 171450 h 171450"/>
                <a:gd name="connsiteX6" fmla="*/ 321468 w 321468"/>
                <a:gd name="connsiteY6" fmla="*/ 171450 h 171450"/>
                <a:gd name="connsiteX0" fmla="*/ 0 w 245268"/>
                <a:gd name="connsiteY0" fmla="*/ 0 h 171450"/>
                <a:gd name="connsiteX1" fmla="*/ 26193 w 245268"/>
                <a:gd name="connsiteY1" fmla="*/ 0 h 171450"/>
                <a:gd name="connsiteX2" fmla="*/ 26193 w 245268"/>
                <a:gd name="connsiteY2" fmla="*/ 83344 h 171450"/>
                <a:gd name="connsiteX3" fmla="*/ 95250 w 245268"/>
                <a:gd name="connsiteY3" fmla="*/ 83344 h 171450"/>
                <a:gd name="connsiteX4" fmla="*/ 95250 w 245268"/>
                <a:gd name="connsiteY4" fmla="*/ 171450 h 171450"/>
                <a:gd name="connsiteX5" fmla="*/ 245268 w 245268"/>
                <a:gd name="connsiteY5" fmla="*/ 17145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5268" h="171450">
                  <a:moveTo>
                    <a:pt x="0" y="0"/>
                  </a:moveTo>
                  <a:lnTo>
                    <a:pt x="26193" y="0"/>
                  </a:lnTo>
                  <a:lnTo>
                    <a:pt x="26193" y="83344"/>
                  </a:lnTo>
                  <a:lnTo>
                    <a:pt x="95250" y="83344"/>
                  </a:lnTo>
                  <a:lnTo>
                    <a:pt x="95250" y="171450"/>
                  </a:lnTo>
                  <a:lnTo>
                    <a:pt x="245268" y="171450"/>
                  </a:lnTo>
                </a:path>
              </a:pathLst>
            </a:custGeom>
            <a:noFill/>
            <a:ln w="15875" cap="rnd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tx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none" lIns="0" tIns="0" rIns="0" bIns="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12" name="Freeform: Shape 22">
              <a:extLst>
                <a:ext uri="{FF2B5EF4-FFF2-40B4-BE49-F238E27FC236}">
                  <a16:creationId xmlns:a16="http://schemas.microsoft.com/office/drawing/2014/main" id="{398C5154-99B7-2907-4977-D1BDEA441A13}"/>
                </a:ext>
              </a:extLst>
            </p:cNvPr>
            <p:cNvSpPr/>
            <p:nvPr/>
          </p:nvSpPr>
          <p:spPr>
            <a:xfrm>
              <a:off x="2019300" y="3529013"/>
              <a:ext cx="250031" cy="85725"/>
            </a:xfrm>
            <a:custGeom>
              <a:avLst/>
              <a:gdLst>
                <a:gd name="connsiteX0" fmla="*/ 0 w 250031"/>
                <a:gd name="connsiteY0" fmla="*/ 0 h 85725"/>
                <a:gd name="connsiteX1" fmla="*/ 52388 w 250031"/>
                <a:gd name="connsiteY1" fmla="*/ 0 h 85725"/>
                <a:gd name="connsiteX2" fmla="*/ 52388 w 250031"/>
                <a:gd name="connsiteY2" fmla="*/ 38100 h 85725"/>
                <a:gd name="connsiteX3" fmla="*/ 142875 w 250031"/>
                <a:gd name="connsiteY3" fmla="*/ 38100 h 85725"/>
                <a:gd name="connsiteX4" fmla="*/ 142875 w 250031"/>
                <a:gd name="connsiteY4" fmla="*/ 57150 h 85725"/>
                <a:gd name="connsiteX5" fmla="*/ 216694 w 250031"/>
                <a:gd name="connsiteY5" fmla="*/ 57150 h 85725"/>
                <a:gd name="connsiteX6" fmla="*/ 216694 w 250031"/>
                <a:gd name="connsiteY6" fmla="*/ 85725 h 85725"/>
                <a:gd name="connsiteX7" fmla="*/ 250031 w 250031"/>
                <a:gd name="connsiteY7" fmla="*/ 85725 h 85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0031" h="85725">
                  <a:moveTo>
                    <a:pt x="0" y="0"/>
                  </a:moveTo>
                  <a:lnTo>
                    <a:pt x="52388" y="0"/>
                  </a:lnTo>
                  <a:lnTo>
                    <a:pt x="52388" y="38100"/>
                  </a:lnTo>
                  <a:lnTo>
                    <a:pt x="142875" y="38100"/>
                  </a:lnTo>
                  <a:lnTo>
                    <a:pt x="142875" y="57150"/>
                  </a:lnTo>
                  <a:lnTo>
                    <a:pt x="216694" y="57150"/>
                  </a:lnTo>
                  <a:lnTo>
                    <a:pt x="216694" y="85725"/>
                  </a:lnTo>
                  <a:lnTo>
                    <a:pt x="250031" y="85725"/>
                  </a:lnTo>
                </a:path>
              </a:pathLst>
            </a:custGeom>
            <a:noFill/>
            <a:ln w="15875" cap="rnd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tx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none" lIns="0" tIns="0" rIns="0" bIns="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</p:grpSp>
      <p:graphicFrame>
        <p:nvGraphicFramePr>
          <p:cNvPr id="19" name="Table 0">
            <a:extLst>
              <a:ext uri="{FF2B5EF4-FFF2-40B4-BE49-F238E27FC236}">
                <a16:creationId xmlns:a16="http://schemas.microsoft.com/office/drawing/2014/main" id="{FE296201-0B5C-AFDD-EB54-693FC84C773D}"/>
              </a:ext>
            </a:extLst>
          </p:cNvPr>
          <p:cNvGraphicFramePr>
            <a:graphicFrameLocks noGrp="1"/>
          </p:cNvGraphicFramePr>
          <p:nvPr/>
        </p:nvGraphicFramePr>
        <p:xfrm>
          <a:off x="6248192" y="1598496"/>
          <a:ext cx="5252169" cy="2878404"/>
        </p:xfrm>
        <a:graphic>
          <a:graphicData uri="http://schemas.openxmlformats.org/drawingml/2006/table">
            <a:tbl>
              <a:tblPr/>
              <a:tblGrid>
                <a:gridCol w="38406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1148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75650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>
                          <a:solidFill>
                            <a:schemeClr val="tx2"/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 L-MIND</a:t>
                      </a:r>
                      <a:r>
                        <a:rPr lang="en-GB" sz="1600" baseline="30000">
                          <a:solidFill>
                            <a:schemeClr val="tx2"/>
                          </a:solidFill>
                          <a:ea typeface="Arial" pitchFamily="34" charset="-122"/>
                          <a:cs typeface="Arial" pitchFamily="34" charset="-120"/>
                        </a:rPr>
                        <a:t>†</a:t>
                      </a:r>
                      <a:endParaRPr lang="en-GB" sz="1600" b="1" dirty="0">
                        <a:solidFill>
                          <a:schemeClr val="tx2"/>
                        </a:solidFill>
                        <a:latin typeface="+mn-lt"/>
                        <a:ea typeface="Arial" charset="0"/>
                        <a:cs typeface="Arial" charset="0"/>
                      </a:endParaRPr>
                    </a:p>
                  </a:txBody>
                  <a:tcPr marL="84667" marR="84667" marT="33867" marB="3386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GB" sz="1600" b="1">
                          <a:solidFill>
                            <a:schemeClr val="bg1"/>
                          </a:solidFill>
                          <a:latin typeface="+mn-lt"/>
                          <a:ea typeface="Arial" pitchFamily="34" charset="-122"/>
                          <a:cs typeface="Arial" pitchFamily="34" charset="-120"/>
                        </a:rPr>
                        <a:t>Tafa-len</a:t>
                      </a:r>
                    </a:p>
                    <a:p>
                      <a:pPr marL="0" indent="0" algn="ctr">
                        <a:buNone/>
                      </a:pPr>
                      <a:r>
                        <a:rPr lang="en-GB" sz="1600" b="1">
                          <a:solidFill>
                            <a:schemeClr val="bg1"/>
                          </a:solidFill>
                          <a:latin typeface="+mn-lt"/>
                          <a:ea typeface="Arial" charset="0"/>
                          <a:cs typeface="Arial" pitchFamily="34" charset="-120"/>
                        </a:rPr>
                        <a:t>(N=80)</a:t>
                      </a:r>
                      <a:endParaRPr lang="en-GB" sz="1600">
                        <a:solidFill>
                          <a:schemeClr val="bg1"/>
                        </a:solidFill>
                        <a:latin typeface="+mn-lt"/>
                        <a:ea typeface="Arial" charset="0"/>
                        <a:cs typeface="Arial" charset="0"/>
                      </a:endParaRPr>
                    </a:p>
                  </a:txBody>
                  <a:tcPr marL="84667" marR="84667" marT="33867" marB="3386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24380">
                <a:tc>
                  <a:txBody>
                    <a:bodyPr/>
                    <a:lstStyle/>
                    <a:p>
                      <a:r>
                        <a:rPr lang="en-GB" sz="1600" kern="1200">
                          <a:solidFill>
                            <a:schemeClr val="tx2"/>
                          </a:solidFill>
                          <a:latin typeface="+mn-lt"/>
                          <a:ea typeface="Arial" charset="0"/>
                          <a:cs typeface="Arial" pitchFamily="34" charset="-120"/>
                        </a:rPr>
                        <a:t>≥1 TEAE, any Grade / Grade ≥3</a:t>
                      </a:r>
                    </a:p>
                  </a:txBody>
                  <a:tcPr marL="84667" marR="84667" marT="33867" marB="3386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7E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GB" sz="1600" b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91% / 64%</a:t>
                      </a:r>
                    </a:p>
                  </a:txBody>
                  <a:tcPr marL="84667" marR="84667" marT="33867" marB="3386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7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24380">
                <a:tc>
                  <a:txBody>
                    <a:bodyPr/>
                    <a:lstStyle/>
                    <a:p>
                      <a:r>
                        <a:rPr lang="en-GB" sz="1600" kern="1200">
                          <a:solidFill>
                            <a:schemeClr val="tx2"/>
                          </a:solidFill>
                          <a:latin typeface="+mn-lt"/>
                          <a:ea typeface="Arial" charset="0"/>
                          <a:cs typeface="Arial" pitchFamily="34" charset="-120"/>
                        </a:rPr>
                        <a:t>Serious AE</a:t>
                      </a:r>
                    </a:p>
                  </a:txBody>
                  <a:tcPr marL="84667" marR="84667" marT="33867" marB="3386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GB" sz="1600" b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58%</a:t>
                      </a:r>
                    </a:p>
                  </a:txBody>
                  <a:tcPr marL="84667" marR="84667" marT="33867" marB="3386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24380">
                <a:tc>
                  <a:txBody>
                    <a:bodyPr/>
                    <a:lstStyle/>
                    <a:p>
                      <a:r>
                        <a:rPr lang="en-GB" sz="1600" kern="1200">
                          <a:solidFill>
                            <a:schemeClr val="tx2"/>
                          </a:solidFill>
                          <a:latin typeface="+mn-lt"/>
                          <a:ea typeface="Arial" charset="0"/>
                          <a:cs typeface="Arial" pitchFamily="34" charset="-120"/>
                        </a:rPr>
                        <a:t>Neutropenia, any Grade / Grade ≥3</a:t>
                      </a:r>
                    </a:p>
                  </a:txBody>
                  <a:tcPr marL="84667" marR="84667" marT="33867" marB="3386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7E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GB" sz="1600" b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49% / 48%</a:t>
                      </a:r>
                    </a:p>
                  </a:txBody>
                  <a:tcPr marL="84667" marR="84667" marT="33867" marB="3386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7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74056424"/>
                  </a:ext>
                </a:extLst>
              </a:tr>
              <a:tr h="424380">
                <a:tc>
                  <a:txBody>
                    <a:bodyPr/>
                    <a:lstStyle/>
                    <a:p>
                      <a:r>
                        <a:rPr lang="en-GB" sz="1600" kern="1200">
                          <a:solidFill>
                            <a:schemeClr val="tx2"/>
                          </a:solidFill>
                          <a:latin typeface="+mn-lt"/>
                          <a:ea typeface="Arial" charset="0"/>
                          <a:cs typeface="Arial" pitchFamily="34" charset="-120"/>
                        </a:rPr>
                        <a:t>Anaemia, any Grade / Grade ≥3</a:t>
                      </a:r>
                      <a:endParaRPr lang="en-GB" sz="1600" kern="1200" baseline="30000">
                        <a:solidFill>
                          <a:schemeClr val="tx2"/>
                        </a:solidFill>
                        <a:latin typeface="+mn-lt"/>
                        <a:ea typeface="Arial" charset="0"/>
                        <a:cs typeface="Arial" pitchFamily="34" charset="-120"/>
                      </a:endParaRPr>
                    </a:p>
                  </a:txBody>
                  <a:tcPr marL="84667" marR="84667" marT="33867" marB="3386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GB" sz="1600" b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37% / 7%</a:t>
                      </a:r>
                    </a:p>
                  </a:txBody>
                  <a:tcPr marL="84667" marR="84667" marT="33867" marB="3386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24380">
                <a:tc>
                  <a:txBody>
                    <a:bodyPr/>
                    <a:lstStyle/>
                    <a:p>
                      <a:r>
                        <a:rPr lang="en-GB" sz="1600" kern="1200">
                          <a:solidFill>
                            <a:schemeClr val="tx2"/>
                          </a:solidFill>
                          <a:latin typeface="+mn-lt"/>
                          <a:ea typeface="Arial" charset="0"/>
                          <a:cs typeface="Arial" pitchFamily="34" charset="-120"/>
                        </a:rPr>
                        <a:t>Thrombocytopenia, any Grade / Grade ≥3</a:t>
                      </a:r>
                      <a:endParaRPr lang="en-GB" sz="1600" kern="1200" baseline="30000">
                        <a:solidFill>
                          <a:schemeClr val="tx2"/>
                        </a:solidFill>
                        <a:latin typeface="+mn-lt"/>
                        <a:ea typeface="Arial" charset="0"/>
                        <a:cs typeface="Arial" pitchFamily="34" charset="-120"/>
                      </a:endParaRPr>
                    </a:p>
                  </a:txBody>
                  <a:tcPr marL="84667" marR="84667" marT="33867" marB="3386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7E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GB" sz="1600" b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28% / 16%</a:t>
                      </a:r>
                    </a:p>
                  </a:txBody>
                  <a:tcPr marL="84667" marR="84667" marT="33867" marB="3386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7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340919"/>
                  </a:ext>
                </a:extLst>
              </a:tr>
            </a:tbl>
          </a:graphicData>
        </a:graphic>
      </p:graphicFrame>
      <p:sp>
        <p:nvSpPr>
          <p:cNvPr id="22" name="TextBox 21">
            <a:extLst>
              <a:ext uri="{FF2B5EF4-FFF2-40B4-BE49-F238E27FC236}">
                <a16:creationId xmlns:a16="http://schemas.microsoft.com/office/drawing/2014/main" id="{40FAC8E4-4CEE-C1EA-B3CC-9E922589E66B}"/>
              </a:ext>
            </a:extLst>
          </p:cNvPr>
          <p:cNvSpPr txBox="1"/>
          <p:nvPr/>
        </p:nvSpPr>
        <p:spPr>
          <a:xfrm>
            <a:off x="1005494" y="1816688"/>
            <a:ext cx="4488221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Arial" charset="0"/>
                <a:cs typeface="Arial" charset="0"/>
              </a:rPr>
              <a:t>P</a:t>
            </a: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ivotal study 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FS</a:t>
            </a:r>
            <a:r>
              <a:rPr kumimoji="0" lang="en-GB" sz="1600" b="0" i="0" u="none" strike="noStrike" kern="1200" cap="none" spc="0" normalizeH="0" baseline="3000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*,</a:t>
            </a:r>
            <a:r>
              <a:rPr kumimoji="0" lang="en-GB" sz="1400" b="0" i="0" u="none" strike="noStrike" kern="1200" cap="none" spc="0" normalizeH="0" baseline="3000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Arial" pitchFamily="34" charset="-122"/>
                <a:cs typeface="Arial" pitchFamily="34" charset="-120"/>
              </a:rPr>
              <a:t>†</a:t>
            </a:r>
            <a:endParaRPr kumimoji="0" lang="en-GB" sz="1400" b="1" i="0" u="none" strike="noStrike" kern="1200" cap="none" spc="0" normalizeH="0" baseline="3000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DBA3A32-AFFE-22F4-3F8F-39F283F191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651" y="6356350"/>
            <a:ext cx="383694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948FB62-8746-4D0D-BA71-8EB1BEE683ED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82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7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4C6D21E5-0579-9764-E94C-46271DD3B419}"/>
              </a:ext>
            </a:extLst>
          </p:cNvPr>
          <p:cNvGrpSpPr/>
          <p:nvPr/>
        </p:nvGrpSpPr>
        <p:grpSpPr>
          <a:xfrm>
            <a:off x="684546" y="1714451"/>
            <a:ext cx="302537" cy="207455"/>
            <a:chOff x="2019300" y="3529012"/>
            <a:chExt cx="250031" cy="171450"/>
          </a:xfrm>
        </p:grpSpPr>
        <p:sp>
          <p:nvSpPr>
            <p:cNvPr id="58" name="Freeform: Shape 24">
              <a:extLst>
                <a:ext uri="{FF2B5EF4-FFF2-40B4-BE49-F238E27FC236}">
                  <a16:creationId xmlns:a16="http://schemas.microsoft.com/office/drawing/2014/main" id="{E972C3D0-F70A-BAF0-3545-6DDF692E592F}"/>
                </a:ext>
              </a:extLst>
            </p:cNvPr>
            <p:cNvSpPr/>
            <p:nvPr/>
          </p:nvSpPr>
          <p:spPr>
            <a:xfrm>
              <a:off x="2019301" y="3529012"/>
              <a:ext cx="245268" cy="171450"/>
            </a:xfrm>
            <a:custGeom>
              <a:avLst/>
              <a:gdLst>
                <a:gd name="connsiteX0" fmla="*/ 0 w 321468"/>
                <a:gd name="connsiteY0" fmla="*/ 0 h 171450"/>
                <a:gd name="connsiteX1" fmla="*/ 76200 w 321468"/>
                <a:gd name="connsiteY1" fmla="*/ 0 h 171450"/>
                <a:gd name="connsiteX2" fmla="*/ 102393 w 321468"/>
                <a:gd name="connsiteY2" fmla="*/ 0 h 171450"/>
                <a:gd name="connsiteX3" fmla="*/ 102393 w 321468"/>
                <a:gd name="connsiteY3" fmla="*/ 83344 h 171450"/>
                <a:gd name="connsiteX4" fmla="*/ 171450 w 321468"/>
                <a:gd name="connsiteY4" fmla="*/ 83344 h 171450"/>
                <a:gd name="connsiteX5" fmla="*/ 171450 w 321468"/>
                <a:gd name="connsiteY5" fmla="*/ 171450 h 171450"/>
                <a:gd name="connsiteX6" fmla="*/ 321468 w 321468"/>
                <a:gd name="connsiteY6" fmla="*/ 171450 h 171450"/>
                <a:gd name="connsiteX0" fmla="*/ 0 w 245268"/>
                <a:gd name="connsiteY0" fmla="*/ 0 h 171450"/>
                <a:gd name="connsiteX1" fmla="*/ 26193 w 245268"/>
                <a:gd name="connsiteY1" fmla="*/ 0 h 171450"/>
                <a:gd name="connsiteX2" fmla="*/ 26193 w 245268"/>
                <a:gd name="connsiteY2" fmla="*/ 83344 h 171450"/>
                <a:gd name="connsiteX3" fmla="*/ 95250 w 245268"/>
                <a:gd name="connsiteY3" fmla="*/ 83344 h 171450"/>
                <a:gd name="connsiteX4" fmla="*/ 95250 w 245268"/>
                <a:gd name="connsiteY4" fmla="*/ 171450 h 171450"/>
                <a:gd name="connsiteX5" fmla="*/ 245268 w 245268"/>
                <a:gd name="connsiteY5" fmla="*/ 17145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5268" h="171450">
                  <a:moveTo>
                    <a:pt x="0" y="0"/>
                  </a:moveTo>
                  <a:lnTo>
                    <a:pt x="26193" y="0"/>
                  </a:lnTo>
                  <a:lnTo>
                    <a:pt x="26193" y="83344"/>
                  </a:lnTo>
                  <a:lnTo>
                    <a:pt x="95250" y="83344"/>
                  </a:lnTo>
                  <a:lnTo>
                    <a:pt x="95250" y="171450"/>
                  </a:lnTo>
                  <a:lnTo>
                    <a:pt x="245268" y="171450"/>
                  </a:lnTo>
                </a:path>
              </a:pathLst>
            </a:custGeom>
            <a:noFill/>
            <a:ln w="15875" cap="rnd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tx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none" lIns="0" tIns="0" rIns="0" bIns="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mago" pitchFamily="2" charset="0"/>
                <a:ea typeface="+mn-ea"/>
                <a:cs typeface="+mn-cs"/>
              </a:endParaRPr>
            </a:p>
          </p:txBody>
        </p:sp>
        <p:sp>
          <p:nvSpPr>
            <p:cNvPr id="59" name="Freeform: Shape 22">
              <a:extLst>
                <a:ext uri="{FF2B5EF4-FFF2-40B4-BE49-F238E27FC236}">
                  <a16:creationId xmlns:a16="http://schemas.microsoft.com/office/drawing/2014/main" id="{4D6BFD79-999A-6327-4BEA-5D5CFED198C8}"/>
                </a:ext>
              </a:extLst>
            </p:cNvPr>
            <p:cNvSpPr/>
            <p:nvPr/>
          </p:nvSpPr>
          <p:spPr>
            <a:xfrm>
              <a:off x="2019300" y="3529013"/>
              <a:ext cx="250031" cy="85725"/>
            </a:xfrm>
            <a:custGeom>
              <a:avLst/>
              <a:gdLst>
                <a:gd name="connsiteX0" fmla="*/ 0 w 250031"/>
                <a:gd name="connsiteY0" fmla="*/ 0 h 85725"/>
                <a:gd name="connsiteX1" fmla="*/ 52388 w 250031"/>
                <a:gd name="connsiteY1" fmla="*/ 0 h 85725"/>
                <a:gd name="connsiteX2" fmla="*/ 52388 w 250031"/>
                <a:gd name="connsiteY2" fmla="*/ 38100 h 85725"/>
                <a:gd name="connsiteX3" fmla="*/ 142875 w 250031"/>
                <a:gd name="connsiteY3" fmla="*/ 38100 h 85725"/>
                <a:gd name="connsiteX4" fmla="*/ 142875 w 250031"/>
                <a:gd name="connsiteY4" fmla="*/ 57150 h 85725"/>
                <a:gd name="connsiteX5" fmla="*/ 216694 w 250031"/>
                <a:gd name="connsiteY5" fmla="*/ 57150 h 85725"/>
                <a:gd name="connsiteX6" fmla="*/ 216694 w 250031"/>
                <a:gd name="connsiteY6" fmla="*/ 85725 h 85725"/>
                <a:gd name="connsiteX7" fmla="*/ 250031 w 250031"/>
                <a:gd name="connsiteY7" fmla="*/ 85725 h 85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0031" h="85725">
                  <a:moveTo>
                    <a:pt x="0" y="0"/>
                  </a:moveTo>
                  <a:lnTo>
                    <a:pt x="52388" y="0"/>
                  </a:lnTo>
                  <a:lnTo>
                    <a:pt x="52388" y="38100"/>
                  </a:lnTo>
                  <a:lnTo>
                    <a:pt x="142875" y="38100"/>
                  </a:lnTo>
                  <a:lnTo>
                    <a:pt x="142875" y="57150"/>
                  </a:lnTo>
                  <a:lnTo>
                    <a:pt x="216694" y="57150"/>
                  </a:lnTo>
                  <a:lnTo>
                    <a:pt x="216694" y="85725"/>
                  </a:lnTo>
                  <a:lnTo>
                    <a:pt x="250031" y="85725"/>
                  </a:lnTo>
                </a:path>
              </a:pathLst>
            </a:custGeom>
            <a:noFill/>
            <a:ln w="15875" cap="rnd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tx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none" lIns="0" tIns="0" rIns="0" bIns="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mago" pitchFamily="2" charset="0"/>
                <a:ea typeface="+mn-ea"/>
                <a:cs typeface="+mn-cs"/>
              </a:endParaRPr>
            </a:p>
          </p:txBody>
        </p:sp>
      </p:grpSp>
      <p:sp>
        <p:nvSpPr>
          <p:cNvPr id="61" name="TextBox 60">
            <a:extLst>
              <a:ext uri="{FF2B5EF4-FFF2-40B4-BE49-F238E27FC236}">
                <a16:creationId xmlns:a16="http://schemas.microsoft.com/office/drawing/2014/main" id="{D55B014E-C3A2-5AD4-9681-C20DE3DFE6E3}"/>
              </a:ext>
            </a:extLst>
          </p:cNvPr>
          <p:cNvSpPr txBox="1"/>
          <p:nvPr/>
        </p:nvSpPr>
        <p:spPr>
          <a:xfrm>
            <a:off x="470660" y="4913512"/>
            <a:ext cx="864066" cy="11519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No. at risk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BCB29A80-E465-E3B5-96CD-EF099FF93A13}"/>
              </a:ext>
            </a:extLst>
          </p:cNvPr>
          <p:cNvSpPr txBox="1"/>
          <p:nvPr/>
        </p:nvSpPr>
        <p:spPr>
          <a:xfrm>
            <a:off x="1048430" y="2354368"/>
            <a:ext cx="228337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00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414DAEA4-C2DF-DCFC-4B45-EC195CF9D704}"/>
              </a:ext>
            </a:extLst>
          </p:cNvPr>
          <p:cNvSpPr txBox="1"/>
          <p:nvPr/>
        </p:nvSpPr>
        <p:spPr>
          <a:xfrm>
            <a:off x="1048430" y="2796573"/>
            <a:ext cx="228337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75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0F615A26-5C95-AFD1-1A3F-015320C2F527}"/>
              </a:ext>
            </a:extLst>
          </p:cNvPr>
          <p:cNvSpPr txBox="1"/>
          <p:nvPr/>
        </p:nvSpPr>
        <p:spPr>
          <a:xfrm>
            <a:off x="1048430" y="3238778"/>
            <a:ext cx="228337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50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64B72774-EA44-6EE8-B687-CD1BD77B910E}"/>
              </a:ext>
            </a:extLst>
          </p:cNvPr>
          <p:cNvSpPr txBox="1"/>
          <p:nvPr/>
        </p:nvSpPr>
        <p:spPr>
          <a:xfrm>
            <a:off x="1048430" y="3680984"/>
            <a:ext cx="228337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25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03FD9C02-497F-09BF-3069-43C75011AA2A}"/>
              </a:ext>
            </a:extLst>
          </p:cNvPr>
          <p:cNvSpPr txBox="1"/>
          <p:nvPr/>
        </p:nvSpPr>
        <p:spPr>
          <a:xfrm>
            <a:off x="1186903" y="4107886"/>
            <a:ext cx="89864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0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670EF050-DDFB-EB1C-DA59-A70CF88735EA}"/>
              </a:ext>
            </a:extLst>
          </p:cNvPr>
          <p:cNvSpPr txBox="1"/>
          <p:nvPr/>
        </p:nvSpPr>
        <p:spPr>
          <a:xfrm rot="16200000">
            <a:off x="-142006" y="3239432"/>
            <a:ext cx="1924304" cy="169007"/>
          </a:xfrm>
          <a:prstGeom prst="rect">
            <a:avLst/>
          </a:prstGeom>
          <a:noFill/>
        </p:spPr>
        <p:txBody>
          <a:bodyPr wrap="non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PFS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, %</a:t>
            </a:r>
          </a:p>
        </p:txBody>
      </p: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81475D8E-16DD-E780-3D14-C3BD482B51BB}"/>
              </a:ext>
            </a:extLst>
          </p:cNvPr>
          <p:cNvCxnSpPr>
            <a:cxnSpLocks/>
          </p:cNvCxnSpPr>
          <p:nvPr/>
        </p:nvCxnSpPr>
        <p:spPr>
          <a:xfrm>
            <a:off x="1308206" y="2853506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90D54409-EDFC-4CBF-460C-B00331E3913A}"/>
              </a:ext>
            </a:extLst>
          </p:cNvPr>
          <p:cNvCxnSpPr>
            <a:cxnSpLocks/>
          </p:cNvCxnSpPr>
          <p:nvPr/>
        </p:nvCxnSpPr>
        <p:spPr>
          <a:xfrm>
            <a:off x="1308206" y="3732915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9BF5104B-7D79-D7E0-73F7-42F304E5B6F6}"/>
              </a:ext>
            </a:extLst>
          </p:cNvPr>
          <p:cNvCxnSpPr>
            <a:cxnSpLocks/>
          </p:cNvCxnSpPr>
          <p:nvPr/>
        </p:nvCxnSpPr>
        <p:spPr>
          <a:xfrm>
            <a:off x="1308206" y="3293211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35FEFF38-26D5-DDBA-FE5E-FD16435B211B}"/>
              </a:ext>
            </a:extLst>
          </p:cNvPr>
          <p:cNvCxnSpPr>
            <a:cxnSpLocks/>
          </p:cNvCxnSpPr>
          <p:nvPr/>
        </p:nvCxnSpPr>
        <p:spPr>
          <a:xfrm>
            <a:off x="1308206" y="4165879"/>
            <a:ext cx="4309565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624458B7-6AFF-F9AE-D960-2E2724297E86}"/>
              </a:ext>
            </a:extLst>
          </p:cNvPr>
          <p:cNvCxnSpPr>
            <a:cxnSpLocks/>
          </p:cNvCxnSpPr>
          <p:nvPr/>
        </p:nvCxnSpPr>
        <p:spPr>
          <a:xfrm rot="16200000">
            <a:off x="1648038" y="4201879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A89F3A37-DC13-7009-ACCB-B962B9F34B11}"/>
              </a:ext>
            </a:extLst>
          </p:cNvPr>
          <p:cNvCxnSpPr>
            <a:cxnSpLocks/>
          </p:cNvCxnSpPr>
          <p:nvPr/>
        </p:nvCxnSpPr>
        <p:spPr>
          <a:xfrm rot="16200000">
            <a:off x="5451189" y="4201880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TextBox 73">
            <a:extLst>
              <a:ext uri="{FF2B5EF4-FFF2-40B4-BE49-F238E27FC236}">
                <a16:creationId xmlns:a16="http://schemas.microsoft.com/office/drawing/2014/main" id="{7FF7554A-8AE5-5833-5C75-ACF802DC1A34}"/>
              </a:ext>
            </a:extLst>
          </p:cNvPr>
          <p:cNvSpPr txBox="1"/>
          <p:nvPr/>
        </p:nvSpPr>
        <p:spPr>
          <a:xfrm>
            <a:off x="1336200" y="4333298"/>
            <a:ext cx="89864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0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7F08F315-23D4-3AB7-62BA-D286BD2634B5}"/>
              </a:ext>
            </a:extLst>
          </p:cNvPr>
          <p:cNvSpPr txBox="1"/>
          <p:nvPr/>
        </p:nvSpPr>
        <p:spPr>
          <a:xfrm>
            <a:off x="5391100" y="4333298"/>
            <a:ext cx="177880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78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7E3EB878-F6A7-5D33-E85D-0A964F8ED11C}"/>
              </a:ext>
            </a:extLst>
          </p:cNvPr>
          <p:cNvSpPr txBox="1"/>
          <p:nvPr/>
        </p:nvSpPr>
        <p:spPr>
          <a:xfrm>
            <a:off x="3039921" y="4612257"/>
            <a:ext cx="863766" cy="11530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Months</a:t>
            </a:r>
          </a:p>
        </p:txBody>
      </p: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4367013D-4E31-C8C7-5342-B135F7133CE0}"/>
              </a:ext>
            </a:extLst>
          </p:cNvPr>
          <p:cNvCxnSpPr>
            <a:cxnSpLocks/>
          </p:cNvCxnSpPr>
          <p:nvPr/>
        </p:nvCxnSpPr>
        <p:spPr>
          <a:xfrm rot="16200000">
            <a:off x="1964967" y="4201879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2116118B-46D9-E520-EA7C-8A75181C188C}"/>
              </a:ext>
            </a:extLst>
          </p:cNvPr>
          <p:cNvCxnSpPr>
            <a:cxnSpLocks/>
          </p:cNvCxnSpPr>
          <p:nvPr/>
        </p:nvCxnSpPr>
        <p:spPr>
          <a:xfrm rot="16200000">
            <a:off x="2281896" y="4201879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CE0DB482-D871-C176-9B11-C262F0E02770}"/>
              </a:ext>
            </a:extLst>
          </p:cNvPr>
          <p:cNvCxnSpPr>
            <a:cxnSpLocks/>
          </p:cNvCxnSpPr>
          <p:nvPr/>
        </p:nvCxnSpPr>
        <p:spPr>
          <a:xfrm rot="16200000">
            <a:off x="2598825" y="4201879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33EE2A5E-6F0D-BFC9-A8E6-369CB59A0814}"/>
              </a:ext>
            </a:extLst>
          </p:cNvPr>
          <p:cNvCxnSpPr>
            <a:cxnSpLocks/>
          </p:cNvCxnSpPr>
          <p:nvPr/>
        </p:nvCxnSpPr>
        <p:spPr>
          <a:xfrm rot="16200000">
            <a:off x="2915754" y="4201879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6CFD2B97-C79D-14BD-CCC7-48DEDDFB15A9}"/>
              </a:ext>
            </a:extLst>
          </p:cNvPr>
          <p:cNvCxnSpPr>
            <a:cxnSpLocks/>
          </p:cNvCxnSpPr>
          <p:nvPr/>
        </p:nvCxnSpPr>
        <p:spPr>
          <a:xfrm rot="16200000">
            <a:off x="3232683" y="4201879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6A81F79F-F81F-4CB3-1249-7243BB409758}"/>
              </a:ext>
            </a:extLst>
          </p:cNvPr>
          <p:cNvCxnSpPr>
            <a:cxnSpLocks/>
          </p:cNvCxnSpPr>
          <p:nvPr/>
        </p:nvCxnSpPr>
        <p:spPr>
          <a:xfrm rot="16200000">
            <a:off x="3549612" y="4201879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720A0B9A-E632-FDB2-317F-DE502FC65146}"/>
              </a:ext>
            </a:extLst>
          </p:cNvPr>
          <p:cNvCxnSpPr>
            <a:cxnSpLocks/>
          </p:cNvCxnSpPr>
          <p:nvPr/>
        </p:nvCxnSpPr>
        <p:spPr>
          <a:xfrm rot="16200000">
            <a:off x="3866541" y="4201879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7F0CE6F5-3916-5FD1-4467-B096BF8E3915}"/>
              </a:ext>
            </a:extLst>
          </p:cNvPr>
          <p:cNvCxnSpPr>
            <a:cxnSpLocks/>
          </p:cNvCxnSpPr>
          <p:nvPr/>
        </p:nvCxnSpPr>
        <p:spPr>
          <a:xfrm rot="16200000">
            <a:off x="4183470" y="4201880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>
            <a:extLst>
              <a:ext uri="{FF2B5EF4-FFF2-40B4-BE49-F238E27FC236}">
                <a16:creationId xmlns:a16="http://schemas.microsoft.com/office/drawing/2014/main" id="{E2480C70-3376-EF34-F20D-399F58323103}"/>
              </a:ext>
            </a:extLst>
          </p:cNvPr>
          <p:cNvCxnSpPr>
            <a:cxnSpLocks/>
          </p:cNvCxnSpPr>
          <p:nvPr/>
        </p:nvCxnSpPr>
        <p:spPr>
          <a:xfrm rot="16200000">
            <a:off x="4500399" y="4201880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C422A141-9EC4-F2DA-A65B-ACF65D1CB593}"/>
              </a:ext>
            </a:extLst>
          </p:cNvPr>
          <p:cNvCxnSpPr>
            <a:cxnSpLocks/>
          </p:cNvCxnSpPr>
          <p:nvPr/>
        </p:nvCxnSpPr>
        <p:spPr>
          <a:xfrm rot="16200000">
            <a:off x="4817328" y="4201880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4B1E77DA-B059-3ED0-FA62-B700D230B800}"/>
              </a:ext>
            </a:extLst>
          </p:cNvPr>
          <p:cNvCxnSpPr>
            <a:cxnSpLocks/>
          </p:cNvCxnSpPr>
          <p:nvPr/>
        </p:nvCxnSpPr>
        <p:spPr>
          <a:xfrm rot="16200000">
            <a:off x="5134257" y="4201880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TextBox 87">
            <a:extLst>
              <a:ext uri="{FF2B5EF4-FFF2-40B4-BE49-F238E27FC236}">
                <a16:creationId xmlns:a16="http://schemas.microsoft.com/office/drawing/2014/main" id="{D9D0ECA1-3888-5756-43DA-9F0731697ED8}"/>
              </a:ext>
            </a:extLst>
          </p:cNvPr>
          <p:cNvSpPr txBox="1"/>
          <p:nvPr/>
        </p:nvSpPr>
        <p:spPr>
          <a:xfrm>
            <a:off x="1648782" y="4333298"/>
            <a:ext cx="89864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6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8BEF1D57-3D0C-38E3-86B9-6C04A8A25DE6}"/>
              </a:ext>
            </a:extLst>
          </p:cNvPr>
          <p:cNvSpPr txBox="1"/>
          <p:nvPr/>
        </p:nvSpPr>
        <p:spPr>
          <a:xfrm>
            <a:off x="1961364" y="4333298"/>
            <a:ext cx="89864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2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2360D87F-BDA9-645A-867A-15736B0C9E5A}"/>
              </a:ext>
            </a:extLst>
          </p:cNvPr>
          <p:cNvSpPr txBox="1"/>
          <p:nvPr/>
        </p:nvSpPr>
        <p:spPr>
          <a:xfrm>
            <a:off x="2273946" y="4333298"/>
            <a:ext cx="89864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8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4734B9E5-4EED-B3A9-8FBA-4F569D71686E}"/>
              </a:ext>
            </a:extLst>
          </p:cNvPr>
          <p:cNvSpPr txBox="1"/>
          <p:nvPr/>
        </p:nvSpPr>
        <p:spPr>
          <a:xfrm>
            <a:off x="2586528" y="4333298"/>
            <a:ext cx="89864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24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6D6B354F-B327-2832-9C6B-3818DD42938A}"/>
              </a:ext>
            </a:extLst>
          </p:cNvPr>
          <p:cNvSpPr txBox="1"/>
          <p:nvPr/>
        </p:nvSpPr>
        <p:spPr>
          <a:xfrm>
            <a:off x="2899110" y="4333298"/>
            <a:ext cx="89864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30</a:t>
            </a: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3BC214C4-1280-D467-9D24-F31268BC6C2F}"/>
              </a:ext>
            </a:extLst>
          </p:cNvPr>
          <p:cNvSpPr txBox="1"/>
          <p:nvPr/>
        </p:nvSpPr>
        <p:spPr>
          <a:xfrm>
            <a:off x="3211692" y="4333298"/>
            <a:ext cx="89864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36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2B6688F9-D659-A648-92DE-001C62A1C523}"/>
              </a:ext>
            </a:extLst>
          </p:cNvPr>
          <p:cNvSpPr txBox="1"/>
          <p:nvPr/>
        </p:nvSpPr>
        <p:spPr>
          <a:xfrm>
            <a:off x="3524274" y="4333298"/>
            <a:ext cx="89864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42</a:t>
            </a: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F23E0AA1-FD51-A480-D69F-100D8F3A4ED9}"/>
              </a:ext>
            </a:extLst>
          </p:cNvPr>
          <p:cNvSpPr txBox="1"/>
          <p:nvPr/>
        </p:nvSpPr>
        <p:spPr>
          <a:xfrm>
            <a:off x="3854192" y="4333298"/>
            <a:ext cx="89864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48</a:t>
            </a: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407AA371-4568-F367-F3B3-D144A294989B}"/>
              </a:ext>
            </a:extLst>
          </p:cNvPr>
          <p:cNvSpPr txBox="1"/>
          <p:nvPr/>
        </p:nvSpPr>
        <p:spPr>
          <a:xfrm>
            <a:off x="4171108" y="4333298"/>
            <a:ext cx="89864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54</a:t>
            </a: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D2B4DF1E-DFA8-DCEA-550C-C677E1B64EAD}"/>
              </a:ext>
            </a:extLst>
          </p:cNvPr>
          <p:cNvSpPr txBox="1"/>
          <p:nvPr/>
        </p:nvSpPr>
        <p:spPr>
          <a:xfrm>
            <a:off x="4488024" y="4333298"/>
            <a:ext cx="89864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60</a:t>
            </a: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FB7D1057-B4C8-D3B4-D933-CC087B4D0A07}"/>
              </a:ext>
            </a:extLst>
          </p:cNvPr>
          <p:cNvSpPr txBox="1"/>
          <p:nvPr/>
        </p:nvSpPr>
        <p:spPr>
          <a:xfrm>
            <a:off x="4809274" y="4333298"/>
            <a:ext cx="89864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66</a:t>
            </a: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AB4B96F5-B6A3-56B0-0538-01DA0EBA24DC}"/>
              </a:ext>
            </a:extLst>
          </p:cNvPr>
          <p:cNvSpPr txBox="1"/>
          <p:nvPr/>
        </p:nvSpPr>
        <p:spPr>
          <a:xfrm>
            <a:off x="5126190" y="4333298"/>
            <a:ext cx="89864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72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6B41CABA-A6DC-41A8-36A2-AD1CC6AA8082}"/>
              </a:ext>
            </a:extLst>
          </p:cNvPr>
          <p:cNvSpPr txBox="1"/>
          <p:nvPr/>
        </p:nvSpPr>
        <p:spPr>
          <a:xfrm>
            <a:off x="1336200" y="4946799"/>
            <a:ext cx="89864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80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8BABA630-9A20-7E33-9F7A-06AE064A26D8}"/>
              </a:ext>
            </a:extLst>
          </p:cNvPr>
          <p:cNvSpPr txBox="1"/>
          <p:nvPr/>
        </p:nvSpPr>
        <p:spPr>
          <a:xfrm>
            <a:off x="5391100" y="4946799"/>
            <a:ext cx="177880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0</a:t>
            </a: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49D7BA3F-480F-E125-878E-B53E0A2A858D}"/>
              </a:ext>
            </a:extLst>
          </p:cNvPr>
          <p:cNvSpPr txBox="1"/>
          <p:nvPr/>
        </p:nvSpPr>
        <p:spPr>
          <a:xfrm>
            <a:off x="1648782" y="4946799"/>
            <a:ext cx="89864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42</a:t>
            </a: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4821D95A-3B35-454C-3808-CCEEAB357BBE}"/>
              </a:ext>
            </a:extLst>
          </p:cNvPr>
          <p:cNvSpPr txBox="1"/>
          <p:nvPr/>
        </p:nvSpPr>
        <p:spPr>
          <a:xfrm>
            <a:off x="1961364" y="4946799"/>
            <a:ext cx="89864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30</a:t>
            </a: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3B01B185-BD82-B047-6435-31E3F0821285}"/>
              </a:ext>
            </a:extLst>
          </p:cNvPr>
          <p:cNvSpPr txBox="1"/>
          <p:nvPr/>
        </p:nvSpPr>
        <p:spPr>
          <a:xfrm>
            <a:off x="2273946" y="4946799"/>
            <a:ext cx="89864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26</a:t>
            </a:r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635BBA34-BB6D-E1F1-ACBA-9761382EB0A4}"/>
              </a:ext>
            </a:extLst>
          </p:cNvPr>
          <p:cNvSpPr txBox="1"/>
          <p:nvPr/>
        </p:nvSpPr>
        <p:spPr>
          <a:xfrm>
            <a:off x="2586528" y="4946799"/>
            <a:ext cx="89864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23</a:t>
            </a: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3C246628-28FD-2E6A-209E-A4FB68A3D230}"/>
              </a:ext>
            </a:extLst>
          </p:cNvPr>
          <p:cNvSpPr txBox="1"/>
          <p:nvPr/>
        </p:nvSpPr>
        <p:spPr>
          <a:xfrm>
            <a:off x="2899110" y="4946799"/>
            <a:ext cx="89864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21</a:t>
            </a: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788D3E4E-19EC-1D55-41A3-DA1785A52027}"/>
              </a:ext>
            </a:extLst>
          </p:cNvPr>
          <p:cNvSpPr txBox="1"/>
          <p:nvPr/>
        </p:nvSpPr>
        <p:spPr>
          <a:xfrm>
            <a:off x="3211692" y="4946799"/>
            <a:ext cx="89864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8</a:t>
            </a: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B3C540E7-0432-FE97-5B80-C55261B337DD}"/>
              </a:ext>
            </a:extLst>
          </p:cNvPr>
          <p:cNvSpPr txBox="1"/>
          <p:nvPr/>
        </p:nvSpPr>
        <p:spPr>
          <a:xfrm>
            <a:off x="3524274" y="4946799"/>
            <a:ext cx="89864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7</a:t>
            </a:r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6682EADE-AF08-C769-FD07-52290B97758B}"/>
              </a:ext>
            </a:extLst>
          </p:cNvPr>
          <p:cNvSpPr txBox="1"/>
          <p:nvPr/>
        </p:nvSpPr>
        <p:spPr>
          <a:xfrm>
            <a:off x="3854192" y="4946799"/>
            <a:ext cx="89864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3</a:t>
            </a: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BA6150F0-0C5F-E4FB-FCE1-78ABD0CB9AA9}"/>
              </a:ext>
            </a:extLst>
          </p:cNvPr>
          <p:cNvSpPr txBox="1"/>
          <p:nvPr/>
        </p:nvSpPr>
        <p:spPr>
          <a:xfrm>
            <a:off x="4171108" y="4946799"/>
            <a:ext cx="89864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2</a:t>
            </a:r>
          </a:p>
        </p:txBody>
      </p:sp>
      <p:sp>
        <p:nvSpPr>
          <p:cNvPr id="111" name="TextBox 110">
            <a:extLst>
              <a:ext uri="{FF2B5EF4-FFF2-40B4-BE49-F238E27FC236}">
                <a16:creationId xmlns:a16="http://schemas.microsoft.com/office/drawing/2014/main" id="{DB971A36-8F17-D7A4-8122-85A925329E28}"/>
              </a:ext>
            </a:extLst>
          </p:cNvPr>
          <p:cNvSpPr txBox="1"/>
          <p:nvPr/>
        </p:nvSpPr>
        <p:spPr>
          <a:xfrm>
            <a:off x="4488024" y="4946799"/>
            <a:ext cx="89864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9</a:t>
            </a:r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74B394FF-C7C7-0BA5-4811-7BC9B8C0F845}"/>
              </a:ext>
            </a:extLst>
          </p:cNvPr>
          <p:cNvSpPr txBox="1"/>
          <p:nvPr/>
        </p:nvSpPr>
        <p:spPr>
          <a:xfrm>
            <a:off x="4809274" y="4946799"/>
            <a:ext cx="89864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4</a:t>
            </a:r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id="{8CD24424-B89E-604A-63D1-87BDDF907276}"/>
              </a:ext>
            </a:extLst>
          </p:cNvPr>
          <p:cNvSpPr txBox="1"/>
          <p:nvPr/>
        </p:nvSpPr>
        <p:spPr>
          <a:xfrm>
            <a:off x="5126190" y="4946799"/>
            <a:ext cx="89864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3</a:t>
            </a:r>
          </a:p>
        </p:txBody>
      </p:sp>
      <p:sp>
        <p:nvSpPr>
          <p:cNvPr id="117" name="Free-form: Shape 116">
            <a:extLst>
              <a:ext uri="{FF2B5EF4-FFF2-40B4-BE49-F238E27FC236}">
                <a16:creationId xmlns:a16="http://schemas.microsoft.com/office/drawing/2014/main" id="{4AB6D997-24F7-CFAD-876B-F7BBD618002C}"/>
              </a:ext>
            </a:extLst>
          </p:cNvPr>
          <p:cNvSpPr/>
          <p:nvPr/>
        </p:nvSpPr>
        <p:spPr>
          <a:xfrm>
            <a:off x="1424767" y="2413640"/>
            <a:ext cx="4048593" cy="1092192"/>
          </a:xfrm>
          <a:custGeom>
            <a:avLst/>
            <a:gdLst>
              <a:gd name="csX0" fmla="*/ 0 w 3521868"/>
              <a:gd name="csY0" fmla="*/ 0 h 1250156"/>
              <a:gd name="csX1" fmla="*/ 0 w 3521868"/>
              <a:gd name="csY1" fmla="*/ 104775 h 1250156"/>
              <a:gd name="csX2" fmla="*/ 33337 w 3521868"/>
              <a:gd name="csY2" fmla="*/ 104775 h 1250156"/>
              <a:gd name="csX3" fmla="*/ 33337 w 3521868"/>
              <a:gd name="csY3" fmla="*/ 138112 h 1250156"/>
              <a:gd name="csX4" fmla="*/ 64293 w 3521868"/>
              <a:gd name="csY4" fmla="*/ 138112 h 1250156"/>
              <a:gd name="csX5" fmla="*/ 64293 w 3521868"/>
              <a:gd name="csY5" fmla="*/ 388144 h 1250156"/>
              <a:gd name="csX6" fmla="*/ 88106 w 3521868"/>
              <a:gd name="csY6" fmla="*/ 388144 h 1250156"/>
              <a:gd name="csX7" fmla="*/ 88106 w 3521868"/>
              <a:gd name="csY7" fmla="*/ 431006 h 1250156"/>
              <a:gd name="csX8" fmla="*/ 114300 w 3521868"/>
              <a:gd name="csY8" fmla="*/ 431006 h 1250156"/>
              <a:gd name="csX9" fmla="*/ 114300 w 3521868"/>
              <a:gd name="csY9" fmla="*/ 485775 h 1250156"/>
              <a:gd name="csX10" fmla="*/ 169068 w 3521868"/>
              <a:gd name="csY10" fmla="*/ 485775 h 1250156"/>
              <a:gd name="csX11" fmla="*/ 169068 w 3521868"/>
              <a:gd name="csY11" fmla="*/ 545306 h 1250156"/>
              <a:gd name="csX12" fmla="*/ 190500 w 3521868"/>
              <a:gd name="csY12" fmla="*/ 545306 h 1250156"/>
              <a:gd name="csX13" fmla="*/ 190500 w 3521868"/>
              <a:gd name="csY13" fmla="*/ 602456 h 1250156"/>
              <a:gd name="csX14" fmla="*/ 214312 w 3521868"/>
              <a:gd name="csY14" fmla="*/ 602456 h 1250156"/>
              <a:gd name="csX15" fmla="*/ 214312 w 3521868"/>
              <a:gd name="csY15" fmla="*/ 626269 h 1250156"/>
              <a:gd name="csX16" fmla="*/ 247650 w 3521868"/>
              <a:gd name="csY16" fmla="*/ 626269 h 1250156"/>
              <a:gd name="csX17" fmla="*/ 247650 w 3521868"/>
              <a:gd name="csY17" fmla="*/ 657225 h 1250156"/>
              <a:gd name="csX18" fmla="*/ 280987 w 3521868"/>
              <a:gd name="csY18" fmla="*/ 657225 h 1250156"/>
              <a:gd name="csX19" fmla="*/ 280987 w 3521868"/>
              <a:gd name="csY19" fmla="*/ 695325 h 1250156"/>
              <a:gd name="csX20" fmla="*/ 292893 w 3521868"/>
              <a:gd name="csY20" fmla="*/ 695325 h 1250156"/>
              <a:gd name="csX21" fmla="*/ 292893 w 3521868"/>
              <a:gd name="csY21" fmla="*/ 721519 h 1250156"/>
              <a:gd name="csX22" fmla="*/ 309562 w 3521868"/>
              <a:gd name="csY22" fmla="*/ 721519 h 1250156"/>
              <a:gd name="csX23" fmla="*/ 309562 w 3521868"/>
              <a:gd name="csY23" fmla="*/ 750094 h 1250156"/>
              <a:gd name="csX24" fmla="*/ 340518 w 3521868"/>
              <a:gd name="csY24" fmla="*/ 750094 h 1250156"/>
              <a:gd name="csX25" fmla="*/ 340518 w 3521868"/>
              <a:gd name="csY25" fmla="*/ 776287 h 1250156"/>
              <a:gd name="csX26" fmla="*/ 409575 w 3521868"/>
              <a:gd name="csY26" fmla="*/ 776287 h 1250156"/>
              <a:gd name="csX27" fmla="*/ 409575 w 3521868"/>
              <a:gd name="csY27" fmla="*/ 809625 h 1250156"/>
              <a:gd name="csX28" fmla="*/ 423862 w 3521868"/>
              <a:gd name="csY28" fmla="*/ 809625 h 1250156"/>
              <a:gd name="csX29" fmla="*/ 423862 w 3521868"/>
              <a:gd name="csY29" fmla="*/ 869156 h 1250156"/>
              <a:gd name="csX30" fmla="*/ 490537 w 3521868"/>
              <a:gd name="csY30" fmla="*/ 869156 h 1250156"/>
              <a:gd name="csX31" fmla="*/ 490537 w 3521868"/>
              <a:gd name="csY31" fmla="*/ 900112 h 1250156"/>
              <a:gd name="csX32" fmla="*/ 511968 w 3521868"/>
              <a:gd name="csY32" fmla="*/ 900112 h 1250156"/>
              <a:gd name="csX33" fmla="*/ 511968 w 3521868"/>
              <a:gd name="csY33" fmla="*/ 933450 h 1250156"/>
              <a:gd name="csX34" fmla="*/ 626268 w 3521868"/>
              <a:gd name="csY34" fmla="*/ 933450 h 1250156"/>
              <a:gd name="csX35" fmla="*/ 626268 w 3521868"/>
              <a:gd name="csY35" fmla="*/ 964406 h 1250156"/>
              <a:gd name="csX36" fmla="*/ 673893 w 3521868"/>
              <a:gd name="csY36" fmla="*/ 964406 h 1250156"/>
              <a:gd name="csX37" fmla="*/ 673893 w 3521868"/>
              <a:gd name="csY37" fmla="*/ 1000125 h 1250156"/>
              <a:gd name="csX38" fmla="*/ 700087 w 3521868"/>
              <a:gd name="csY38" fmla="*/ 1000125 h 1250156"/>
              <a:gd name="csX39" fmla="*/ 700087 w 3521868"/>
              <a:gd name="csY39" fmla="*/ 1033462 h 1250156"/>
              <a:gd name="csX40" fmla="*/ 959643 w 3521868"/>
              <a:gd name="csY40" fmla="*/ 1033462 h 1250156"/>
              <a:gd name="csX41" fmla="*/ 959643 w 3521868"/>
              <a:gd name="csY41" fmla="*/ 1069181 h 1250156"/>
              <a:gd name="csX42" fmla="*/ 1409700 w 3521868"/>
              <a:gd name="csY42" fmla="*/ 1069181 h 1250156"/>
              <a:gd name="csX43" fmla="*/ 1409700 w 3521868"/>
              <a:gd name="csY43" fmla="*/ 1114425 h 1250156"/>
              <a:gd name="csX44" fmla="*/ 1688306 w 3521868"/>
              <a:gd name="csY44" fmla="*/ 1114425 h 1250156"/>
              <a:gd name="csX45" fmla="*/ 1688306 w 3521868"/>
              <a:gd name="csY45" fmla="*/ 1147762 h 1250156"/>
              <a:gd name="csX46" fmla="*/ 2769393 w 3521868"/>
              <a:gd name="csY46" fmla="*/ 1147762 h 1250156"/>
              <a:gd name="csX47" fmla="*/ 2769393 w 3521868"/>
              <a:gd name="csY47" fmla="*/ 1250156 h 1250156"/>
              <a:gd name="csX48" fmla="*/ 3521868 w 3521868"/>
              <a:gd name="csY48" fmla="*/ 1250156 h 1250156"/>
              <a:gd name="csX0" fmla="*/ 0 w 4774405"/>
              <a:gd name="csY0" fmla="*/ 0 h 1254919"/>
              <a:gd name="csX1" fmla="*/ 0 w 4774405"/>
              <a:gd name="csY1" fmla="*/ 104775 h 1254919"/>
              <a:gd name="csX2" fmla="*/ 33337 w 4774405"/>
              <a:gd name="csY2" fmla="*/ 104775 h 1254919"/>
              <a:gd name="csX3" fmla="*/ 33337 w 4774405"/>
              <a:gd name="csY3" fmla="*/ 138112 h 1254919"/>
              <a:gd name="csX4" fmla="*/ 64293 w 4774405"/>
              <a:gd name="csY4" fmla="*/ 138112 h 1254919"/>
              <a:gd name="csX5" fmla="*/ 64293 w 4774405"/>
              <a:gd name="csY5" fmla="*/ 388144 h 1254919"/>
              <a:gd name="csX6" fmla="*/ 88106 w 4774405"/>
              <a:gd name="csY6" fmla="*/ 388144 h 1254919"/>
              <a:gd name="csX7" fmla="*/ 88106 w 4774405"/>
              <a:gd name="csY7" fmla="*/ 431006 h 1254919"/>
              <a:gd name="csX8" fmla="*/ 114300 w 4774405"/>
              <a:gd name="csY8" fmla="*/ 431006 h 1254919"/>
              <a:gd name="csX9" fmla="*/ 114300 w 4774405"/>
              <a:gd name="csY9" fmla="*/ 485775 h 1254919"/>
              <a:gd name="csX10" fmla="*/ 169068 w 4774405"/>
              <a:gd name="csY10" fmla="*/ 485775 h 1254919"/>
              <a:gd name="csX11" fmla="*/ 169068 w 4774405"/>
              <a:gd name="csY11" fmla="*/ 545306 h 1254919"/>
              <a:gd name="csX12" fmla="*/ 190500 w 4774405"/>
              <a:gd name="csY12" fmla="*/ 545306 h 1254919"/>
              <a:gd name="csX13" fmla="*/ 190500 w 4774405"/>
              <a:gd name="csY13" fmla="*/ 602456 h 1254919"/>
              <a:gd name="csX14" fmla="*/ 214312 w 4774405"/>
              <a:gd name="csY14" fmla="*/ 602456 h 1254919"/>
              <a:gd name="csX15" fmla="*/ 214312 w 4774405"/>
              <a:gd name="csY15" fmla="*/ 626269 h 1254919"/>
              <a:gd name="csX16" fmla="*/ 247650 w 4774405"/>
              <a:gd name="csY16" fmla="*/ 626269 h 1254919"/>
              <a:gd name="csX17" fmla="*/ 247650 w 4774405"/>
              <a:gd name="csY17" fmla="*/ 657225 h 1254919"/>
              <a:gd name="csX18" fmla="*/ 280987 w 4774405"/>
              <a:gd name="csY18" fmla="*/ 657225 h 1254919"/>
              <a:gd name="csX19" fmla="*/ 280987 w 4774405"/>
              <a:gd name="csY19" fmla="*/ 695325 h 1254919"/>
              <a:gd name="csX20" fmla="*/ 292893 w 4774405"/>
              <a:gd name="csY20" fmla="*/ 695325 h 1254919"/>
              <a:gd name="csX21" fmla="*/ 292893 w 4774405"/>
              <a:gd name="csY21" fmla="*/ 721519 h 1254919"/>
              <a:gd name="csX22" fmla="*/ 309562 w 4774405"/>
              <a:gd name="csY22" fmla="*/ 721519 h 1254919"/>
              <a:gd name="csX23" fmla="*/ 309562 w 4774405"/>
              <a:gd name="csY23" fmla="*/ 750094 h 1254919"/>
              <a:gd name="csX24" fmla="*/ 340518 w 4774405"/>
              <a:gd name="csY24" fmla="*/ 750094 h 1254919"/>
              <a:gd name="csX25" fmla="*/ 340518 w 4774405"/>
              <a:gd name="csY25" fmla="*/ 776287 h 1254919"/>
              <a:gd name="csX26" fmla="*/ 409575 w 4774405"/>
              <a:gd name="csY26" fmla="*/ 776287 h 1254919"/>
              <a:gd name="csX27" fmla="*/ 409575 w 4774405"/>
              <a:gd name="csY27" fmla="*/ 809625 h 1254919"/>
              <a:gd name="csX28" fmla="*/ 423862 w 4774405"/>
              <a:gd name="csY28" fmla="*/ 809625 h 1254919"/>
              <a:gd name="csX29" fmla="*/ 423862 w 4774405"/>
              <a:gd name="csY29" fmla="*/ 869156 h 1254919"/>
              <a:gd name="csX30" fmla="*/ 490537 w 4774405"/>
              <a:gd name="csY30" fmla="*/ 869156 h 1254919"/>
              <a:gd name="csX31" fmla="*/ 490537 w 4774405"/>
              <a:gd name="csY31" fmla="*/ 900112 h 1254919"/>
              <a:gd name="csX32" fmla="*/ 511968 w 4774405"/>
              <a:gd name="csY32" fmla="*/ 900112 h 1254919"/>
              <a:gd name="csX33" fmla="*/ 511968 w 4774405"/>
              <a:gd name="csY33" fmla="*/ 933450 h 1254919"/>
              <a:gd name="csX34" fmla="*/ 626268 w 4774405"/>
              <a:gd name="csY34" fmla="*/ 933450 h 1254919"/>
              <a:gd name="csX35" fmla="*/ 626268 w 4774405"/>
              <a:gd name="csY35" fmla="*/ 964406 h 1254919"/>
              <a:gd name="csX36" fmla="*/ 673893 w 4774405"/>
              <a:gd name="csY36" fmla="*/ 964406 h 1254919"/>
              <a:gd name="csX37" fmla="*/ 673893 w 4774405"/>
              <a:gd name="csY37" fmla="*/ 1000125 h 1254919"/>
              <a:gd name="csX38" fmla="*/ 700087 w 4774405"/>
              <a:gd name="csY38" fmla="*/ 1000125 h 1254919"/>
              <a:gd name="csX39" fmla="*/ 700087 w 4774405"/>
              <a:gd name="csY39" fmla="*/ 1033462 h 1254919"/>
              <a:gd name="csX40" fmla="*/ 959643 w 4774405"/>
              <a:gd name="csY40" fmla="*/ 1033462 h 1254919"/>
              <a:gd name="csX41" fmla="*/ 959643 w 4774405"/>
              <a:gd name="csY41" fmla="*/ 1069181 h 1254919"/>
              <a:gd name="csX42" fmla="*/ 1409700 w 4774405"/>
              <a:gd name="csY42" fmla="*/ 1069181 h 1254919"/>
              <a:gd name="csX43" fmla="*/ 1409700 w 4774405"/>
              <a:gd name="csY43" fmla="*/ 1114425 h 1254919"/>
              <a:gd name="csX44" fmla="*/ 1688306 w 4774405"/>
              <a:gd name="csY44" fmla="*/ 1114425 h 1254919"/>
              <a:gd name="csX45" fmla="*/ 1688306 w 4774405"/>
              <a:gd name="csY45" fmla="*/ 1147762 h 1254919"/>
              <a:gd name="csX46" fmla="*/ 2769393 w 4774405"/>
              <a:gd name="csY46" fmla="*/ 1147762 h 1254919"/>
              <a:gd name="csX47" fmla="*/ 2769393 w 4774405"/>
              <a:gd name="csY47" fmla="*/ 1250156 h 1254919"/>
              <a:gd name="csX48" fmla="*/ 4774405 w 4774405"/>
              <a:gd name="csY48" fmla="*/ 1254919 h 1254919"/>
              <a:gd name="csX0" fmla="*/ 0 w 4774405"/>
              <a:gd name="csY0" fmla="*/ 0 h 1287996"/>
              <a:gd name="csX1" fmla="*/ 0 w 4774405"/>
              <a:gd name="csY1" fmla="*/ 137852 h 1287996"/>
              <a:gd name="csX2" fmla="*/ 33337 w 4774405"/>
              <a:gd name="csY2" fmla="*/ 137852 h 1287996"/>
              <a:gd name="csX3" fmla="*/ 33337 w 4774405"/>
              <a:gd name="csY3" fmla="*/ 171189 h 1287996"/>
              <a:gd name="csX4" fmla="*/ 64293 w 4774405"/>
              <a:gd name="csY4" fmla="*/ 171189 h 1287996"/>
              <a:gd name="csX5" fmla="*/ 64293 w 4774405"/>
              <a:gd name="csY5" fmla="*/ 421221 h 1287996"/>
              <a:gd name="csX6" fmla="*/ 88106 w 4774405"/>
              <a:gd name="csY6" fmla="*/ 421221 h 1287996"/>
              <a:gd name="csX7" fmla="*/ 88106 w 4774405"/>
              <a:gd name="csY7" fmla="*/ 464083 h 1287996"/>
              <a:gd name="csX8" fmla="*/ 114300 w 4774405"/>
              <a:gd name="csY8" fmla="*/ 464083 h 1287996"/>
              <a:gd name="csX9" fmla="*/ 114300 w 4774405"/>
              <a:gd name="csY9" fmla="*/ 518852 h 1287996"/>
              <a:gd name="csX10" fmla="*/ 169068 w 4774405"/>
              <a:gd name="csY10" fmla="*/ 518852 h 1287996"/>
              <a:gd name="csX11" fmla="*/ 169068 w 4774405"/>
              <a:gd name="csY11" fmla="*/ 578383 h 1287996"/>
              <a:gd name="csX12" fmla="*/ 190500 w 4774405"/>
              <a:gd name="csY12" fmla="*/ 578383 h 1287996"/>
              <a:gd name="csX13" fmla="*/ 190500 w 4774405"/>
              <a:gd name="csY13" fmla="*/ 635533 h 1287996"/>
              <a:gd name="csX14" fmla="*/ 214312 w 4774405"/>
              <a:gd name="csY14" fmla="*/ 635533 h 1287996"/>
              <a:gd name="csX15" fmla="*/ 214312 w 4774405"/>
              <a:gd name="csY15" fmla="*/ 659346 h 1287996"/>
              <a:gd name="csX16" fmla="*/ 247650 w 4774405"/>
              <a:gd name="csY16" fmla="*/ 659346 h 1287996"/>
              <a:gd name="csX17" fmla="*/ 247650 w 4774405"/>
              <a:gd name="csY17" fmla="*/ 690302 h 1287996"/>
              <a:gd name="csX18" fmla="*/ 280987 w 4774405"/>
              <a:gd name="csY18" fmla="*/ 690302 h 1287996"/>
              <a:gd name="csX19" fmla="*/ 280987 w 4774405"/>
              <a:gd name="csY19" fmla="*/ 728402 h 1287996"/>
              <a:gd name="csX20" fmla="*/ 292893 w 4774405"/>
              <a:gd name="csY20" fmla="*/ 728402 h 1287996"/>
              <a:gd name="csX21" fmla="*/ 292893 w 4774405"/>
              <a:gd name="csY21" fmla="*/ 754596 h 1287996"/>
              <a:gd name="csX22" fmla="*/ 309562 w 4774405"/>
              <a:gd name="csY22" fmla="*/ 754596 h 1287996"/>
              <a:gd name="csX23" fmla="*/ 309562 w 4774405"/>
              <a:gd name="csY23" fmla="*/ 783171 h 1287996"/>
              <a:gd name="csX24" fmla="*/ 340518 w 4774405"/>
              <a:gd name="csY24" fmla="*/ 783171 h 1287996"/>
              <a:gd name="csX25" fmla="*/ 340518 w 4774405"/>
              <a:gd name="csY25" fmla="*/ 809364 h 1287996"/>
              <a:gd name="csX26" fmla="*/ 409575 w 4774405"/>
              <a:gd name="csY26" fmla="*/ 809364 h 1287996"/>
              <a:gd name="csX27" fmla="*/ 409575 w 4774405"/>
              <a:gd name="csY27" fmla="*/ 842702 h 1287996"/>
              <a:gd name="csX28" fmla="*/ 423862 w 4774405"/>
              <a:gd name="csY28" fmla="*/ 842702 h 1287996"/>
              <a:gd name="csX29" fmla="*/ 423862 w 4774405"/>
              <a:gd name="csY29" fmla="*/ 902233 h 1287996"/>
              <a:gd name="csX30" fmla="*/ 490537 w 4774405"/>
              <a:gd name="csY30" fmla="*/ 902233 h 1287996"/>
              <a:gd name="csX31" fmla="*/ 490537 w 4774405"/>
              <a:gd name="csY31" fmla="*/ 933189 h 1287996"/>
              <a:gd name="csX32" fmla="*/ 511968 w 4774405"/>
              <a:gd name="csY32" fmla="*/ 933189 h 1287996"/>
              <a:gd name="csX33" fmla="*/ 511968 w 4774405"/>
              <a:gd name="csY33" fmla="*/ 966527 h 1287996"/>
              <a:gd name="csX34" fmla="*/ 626268 w 4774405"/>
              <a:gd name="csY34" fmla="*/ 966527 h 1287996"/>
              <a:gd name="csX35" fmla="*/ 626268 w 4774405"/>
              <a:gd name="csY35" fmla="*/ 997483 h 1287996"/>
              <a:gd name="csX36" fmla="*/ 673893 w 4774405"/>
              <a:gd name="csY36" fmla="*/ 997483 h 1287996"/>
              <a:gd name="csX37" fmla="*/ 673893 w 4774405"/>
              <a:gd name="csY37" fmla="*/ 1033202 h 1287996"/>
              <a:gd name="csX38" fmla="*/ 700087 w 4774405"/>
              <a:gd name="csY38" fmla="*/ 1033202 h 1287996"/>
              <a:gd name="csX39" fmla="*/ 700087 w 4774405"/>
              <a:gd name="csY39" fmla="*/ 1066539 h 1287996"/>
              <a:gd name="csX40" fmla="*/ 959643 w 4774405"/>
              <a:gd name="csY40" fmla="*/ 1066539 h 1287996"/>
              <a:gd name="csX41" fmla="*/ 959643 w 4774405"/>
              <a:gd name="csY41" fmla="*/ 1102258 h 1287996"/>
              <a:gd name="csX42" fmla="*/ 1409700 w 4774405"/>
              <a:gd name="csY42" fmla="*/ 1102258 h 1287996"/>
              <a:gd name="csX43" fmla="*/ 1409700 w 4774405"/>
              <a:gd name="csY43" fmla="*/ 1147502 h 1287996"/>
              <a:gd name="csX44" fmla="*/ 1688306 w 4774405"/>
              <a:gd name="csY44" fmla="*/ 1147502 h 1287996"/>
              <a:gd name="csX45" fmla="*/ 1688306 w 4774405"/>
              <a:gd name="csY45" fmla="*/ 1180839 h 1287996"/>
              <a:gd name="csX46" fmla="*/ 2769393 w 4774405"/>
              <a:gd name="csY46" fmla="*/ 1180839 h 1287996"/>
              <a:gd name="csX47" fmla="*/ 2769393 w 4774405"/>
              <a:gd name="csY47" fmla="*/ 1283233 h 1287996"/>
              <a:gd name="csX48" fmla="*/ 4774405 w 4774405"/>
              <a:gd name="csY48" fmla="*/ 1287996 h 128799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</a:cxnLst>
            <a:rect l="l" t="t" r="r" b="b"/>
            <a:pathLst>
              <a:path w="4774405" h="1287996">
                <a:moveTo>
                  <a:pt x="0" y="0"/>
                </a:moveTo>
                <a:lnTo>
                  <a:pt x="0" y="137852"/>
                </a:lnTo>
                <a:lnTo>
                  <a:pt x="33337" y="137852"/>
                </a:lnTo>
                <a:lnTo>
                  <a:pt x="33337" y="171189"/>
                </a:lnTo>
                <a:lnTo>
                  <a:pt x="64293" y="171189"/>
                </a:lnTo>
                <a:lnTo>
                  <a:pt x="64293" y="421221"/>
                </a:lnTo>
                <a:lnTo>
                  <a:pt x="88106" y="421221"/>
                </a:lnTo>
                <a:lnTo>
                  <a:pt x="88106" y="464083"/>
                </a:lnTo>
                <a:lnTo>
                  <a:pt x="114300" y="464083"/>
                </a:lnTo>
                <a:lnTo>
                  <a:pt x="114300" y="518852"/>
                </a:lnTo>
                <a:lnTo>
                  <a:pt x="169068" y="518852"/>
                </a:lnTo>
                <a:lnTo>
                  <a:pt x="169068" y="578383"/>
                </a:lnTo>
                <a:lnTo>
                  <a:pt x="190500" y="578383"/>
                </a:lnTo>
                <a:lnTo>
                  <a:pt x="190500" y="635533"/>
                </a:lnTo>
                <a:lnTo>
                  <a:pt x="214312" y="635533"/>
                </a:lnTo>
                <a:lnTo>
                  <a:pt x="214312" y="659346"/>
                </a:lnTo>
                <a:lnTo>
                  <a:pt x="247650" y="659346"/>
                </a:lnTo>
                <a:lnTo>
                  <a:pt x="247650" y="690302"/>
                </a:lnTo>
                <a:lnTo>
                  <a:pt x="280987" y="690302"/>
                </a:lnTo>
                <a:lnTo>
                  <a:pt x="280987" y="728402"/>
                </a:lnTo>
                <a:lnTo>
                  <a:pt x="292893" y="728402"/>
                </a:lnTo>
                <a:lnTo>
                  <a:pt x="292893" y="754596"/>
                </a:lnTo>
                <a:lnTo>
                  <a:pt x="309562" y="754596"/>
                </a:lnTo>
                <a:lnTo>
                  <a:pt x="309562" y="783171"/>
                </a:lnTo>
                <a:lnTo>
                  <a:pt x="340518" y="783171"/>
                </a:lnTo>
                <a:lnTo>
                  <a:pt x="340518" y="809364"/>
                </a:lnTo>
                <a:lnTo>
                  <a:pt x="409575" y="809364"/>
                </a:lnTo>
                <a:lnTo>
                  <a:pt x="409575" y="842702"/>
                </a:lnTo>
                <a:lnTo>
                  <a:pt x="423862" y="842702"/>
                </a:lnTo>
                <a:lnTo>
                  <a:pt x="423862" y="902233"/>
                </a:lnTo>
                <a:lnTo>
                  <a:pt x="490537" y="902233"/>
                </a:lnTo>
                <a:lnTo>
                  <a:pt x="490537" y="933189"/>
                </a:lnTo>
                <a:lnTo>
                  <a:pt x="511968" y="933189"/>
                </a:lnTo>
                <a:lnTo>
                  <a:pt x="511968" y="966527"/>
                </a:lnTo>
                <a:lnTo>
                  <a:pt x="626268" y="966527"/>
                </a:lnTo>
                <a:lnTo>
                  <a:pt x="626268" y="997483"/>
                </a:lnTo>
                <a:lnTo>
                  <a:pt x="673893" y="997483"/>
                </a:lnTo>
                <a:lnTo>
                  <a:pt x="673893" y="1033202"/>
                </a:lnTo>
                <a:lnTo>
                  <a:pt x="700087" y="1033202"/>
                </a:lnTo>
                <a:lnTo>
                  <a:pt x="700087" y="1066539"/>
                </a:lnTo>
                <a:lnTo>
                  <a:pt x="959643" y="1066539"/>
                </a:lnTo>
                <a:lnTo>
                  <a:pt x="959643" y="1102258"/>
                </a:lnTo>
                <a:lnTo>
                  <a:pt x="1409700" y="1102258"/>
                </a:lnTo>
                <a:lnTo>
                  <a:pt x="1409700" y="1147502"/>
                </a:lnTo>
                <a:lnTo>
                  <a:pt x="1688306" y="1147502"/>
                </a:lnTo>
                <a:lnTo>
                  <a:pt x="1688306" y="1180839"/>
                </a:lnTo>
                <a:lnTo>
                  <a:pt x="2769393" y="1180839"/>
                </a:lnTo>
                <a:lnTo>
                  <a:pt x="2769393" y="1283233"/>
                </a:lnTo>
                <a:lnTo>
                  <a:pt x="4774405" y="1287996"/>
                </a:lnTo>
              </a:path>
            </a:pathLst>
          </a:custGeom>
          <a:noFill/>
          <a:ln w="19050">
            <a:solidFill>
              <a:srgbClr val="DF950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09" name="Straight Connector 208">
            <a:extLst>
              <a:ext uri="{FF2B5EF4-FFF2-40B4-BE49-F238E27FC236}">
                <a16:creationId xmlns:a16="http://schemas.microsoft.com/office/drawing/2014/main" id="{6CEEA3AB-86A5-9FE8-61B2-1D19E137BA94}"/>
              </a:ext>
            </a:extLst>
          </p:cNvPr>
          <p:cNvCxnSpPr>
            <a:cxnSpLocks/>
          </p:cNvCxnSpPr>
          <p:nvPr/>
        </p:nvCxnSpPr>
        <p:spPr>
          <a:xfrm>
            <a:off x="1447141" y="2508033"/>
            <a:ext cx="0" cy="42404"/>
          </a:xfrm>
          <a:prstGeom prst="line">
            <a:avLst/>
          </a:prstGeom>
          <a:ln w="19050">
            <a:solidFill>
              <a:srgbClr val="DF950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0" name="Straight Connector 209">
            <a:extLst>
              <a:ext uri="{FF2B5EF4-FFF2-40B4-BE49-F238E27FC236}">
                <a16:creationId xmlns:a16="http://schemas.microsoft.com/office/drawing/2014/main" id="{B42C2DD8-F138-02A7-585C-97F674DC811E}"/>
              </a:ext>
            </a:extLst>
          </p:cNvPr>
          <p:cNvCxnSpPr>
            <a:cxnSpLocks/>
          </p:cNvCxnSpPr>
          <p:nvPr/>
        </p:nvCxnSpPr>
        <p:spPr>
          <a:xfrm rot="16200000">
            <a:off x="1447141" y="2508880"/>
            <a:ext cx="0" cy="40710"/>
          </a:xfrm>
          <a:prstGeom prst="line">
            <a:avLst/>
          </a:prstGeom>
          <a:ln w="19050">
            <a:solidFill>
              <a:srgbClr val="DF950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7" name="Straight Connector 206">
            <a:extLst>
              <a:ext uri="{FF2B5EF4-FFF2-40B4-BE49-F238E27FC236}">
                <a16:creationId xmlns:a16="http://schemas.microsoft.com/office/drawing/2014/main" id="{4307BCC4-24CB-898A-A25F-0077600C0C68}"/>
              </a:ext>
            </a:extLst>
          </p:cNvPr>
          <p:cNvCxnSpPr>
            <a:cxnSpLocks/>
          </p:cNvCxnSpPr>
          <p:nvPr/>
        </p:nvCxnSpPr>
        <p:spPr>
          <a:xfrm>
            <a:off x="1482381" y="2737687"/>
            <a:ext cx="0" cy="42404"/>
          </a:xfrm>
          <a:prstGeom prst="line">
            <a:avLst/>
          </a:prstGeom>
          <a:ln w="19050">
            <a:solidFill>
              <a:srgbClr val="DF950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8" name="Straight Connector 207">
            <a:extLst>
              <a:ext uri="{FF2B5EF4-FFF2-40B4-BE49-F238E27FC236}">
                <a16:creationId xmlns:a16="http://schemas.microsoft.com/office/drawing/2014/main" id="{5C3D8F17-103B-4319-7502-BB3519D74655}"/>
              </a:ext>
            </a:extLst>
          </p:cNvPr>
          <p:cNvCxnSpPr>
            <a:cxnSpLocks/>
          </p:cNvCxnSpPr>
          <p:nvPr/>
        </p:nvCxnSpPr>
        <p:spPr>
          <a:xfrm rot="16200000">
            <a:off x="1482381" y="2738534"/>
            <a:ext cx="0" cy="40710"/>
          </a:xfrm>
          <a:prstGeom prst="line">
            <a:avLst/>
          </a:prstGeom>
          <a:ln w="19050">
            <a:solidFill>
              <a:srgbClr val="DF950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5" name="Straight Connector 204">
            <a:extLst>
              <a:ext uri="{FF2B5EF4-FFF2-40B4-BE49-F238E27FC236}">
                <a16:creationId xmlns:a16="http://schemas.microsoft.com/office/drawing/2014/main" id="{BB2CA669-F45C-11AA-3D00-D8A5D9D1C17B}"/>
              </a:ext>
            </a:extLst>
          </p:cNvPr>
          <p:cNvCxnSpPr>
            <a:cxnSpLocks/>
          </p:cNvCxnSpPr>
          <p:nvPr/>
        </p:nvCxnSpPr>
        <p:spPr>
          <a:xfrm>
            <a:off x="1508958" y="2787252"/>
            <a:ext cx="0" cy="42404"/>
          </a:xfrm>
          <a:prstGeom prst="line">
            <a:avLst/>
          </a:prstGeom>
          <a:ln w="19050">
            <a:solidFill>
              <a:srgbClr val="DF950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6" name="Straight Connector 205">
            <a:extLst>
              <a:ext uri="{FF2B5EF4-FFF2-40B4-BE49-F238E27FC236}">
                <a16:creationId xmlns:a16="http://schemas.microsoft.com/office/drawing/2014/main" id="{B4521050-2443-2579-7B66-7F5CF732F6A0}"/>
              </a:ext>
            </a:extLst>
          </p:cNvPr>
          <p:cNvCxnSpPr>
            <a:cxnSpLocks/>
          </p:cNvCxnSpPr>
          <p:nvPr/>
        </p:nvCxnSpPr>
        <p:spPr>
          <a:xfrm rot="16200000">
            <a:off x="1508958" y="2788099"/>
            <a:ext cx="0" cy="40710"/>
          </a:xfrm>
          <a:prstGeom prst="line">
            <a:avLst/>
          </a:prstGeom>
          <a:ln w="19050">
            <a:solidFill>
              <a:srgbClr val="DF950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3" name="Straight Connector 202">
            <a:extLst>
              <a:ext uri="{FF2B5EF4-FFF2-40B4-BE49-F238E27FC236}">
                <a16:creationId xmlns:a16="http://schemas.microsoft.com/office/drawing/2014/main" id="{2FF927AE-EE64-85E5-DACA-134C8B735B67}"/>
              </a:ext>
            </a:extLst>
          </p:cNvPr>
          <p:cNvCxnSpPr>
            <a:cxnSpLocks/>
          </p:cNvCxnSpPr>
          <p:nvPr/>
        </p:nvCxnSpPr>
        <p:spPr>
          <a:xfrm>
            <a:off x="1550443" y="2829656"/>
            <a:ext cx="0" cy="42404"/>
          </a:xfrm>
          <a:prstGeom prst="line">
            <a:avLst/>
          </a:prstGeom>
          <a:ln w="19050">
            <a:solidFill>
              <a:srgbClr val="DF950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4" name="Straight Connector 203">
            <a:extLst>
              <a:ext uri="{FF2B5EF4-FFF2-40B4-BE49-F238E27FC236}">
                <a16:creationId xmlns:a16="http://schemas.microsoft.com/office/drawing/2014/main" id="{54554A72-4911-0F31-4714-D98D6F60D847}"/>
              </a:ext>
            </a:extLst>
          </p:cNvPr>
          <p:cNvCxnSpPr>
            <a:cxnSpLocks/>
          </p:cNvCxnSpPr>
          <p:nvPr/>
        </p:nvCxnSpPr>
        <p:spPr>
          <a:xfrm rot="16200000">
            <a:off x="1550443" y="2830503"/>
            <a:ext cx="0" cy="40710"/>
          </a:xfrm>
          <a:prstGeom prst="line">
            <a:avLst/>
          </a:prstGeom>
          <a:ln w="19050">
            <a:solidFill>
              <a:srgbClr val="DF950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1" name="Straight Connector 200">
            <a:extLst>
              <a:ext uri="{FF2B5EF4-FFF2-40B4-BE49-F238E27FC236}">
                <a16:creationId xmlns:a16="http://schemas.microsoft.com/office/drawing/2014/main" id="{23CD0C64-6C1F-A42B-17E3-EA7784C311E9}"/>
              </a:ext>
            </a:extLst>
          </p:cNvPr>
          <p:cNvCxnSpPr>
            <a:cxnSpLocks/>
          </p:cNvCxnSpPr>
          <p:nvPr/>
        </p:nvCxnSpPr>
        <p:spPr>
          <a:xfrm>
            <a:off x="1563774" y="2829656"/>
            <a:ext cx="0" cy="42404"/>
          </a:xfrm>
          <a:prstGeom prst="line">
            <a:avLst/>
          </a:prstGeom>
          <a:ln w="19050">
            <a:solidFill>
              <a:srgbClr val="DF950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2" name="Straight Connector 201">
            <a:extLst>
              <a:ext uri="{FF2B5EF4-FFF2-40B4-BE49-F238E27FC236}">
                <a16:creationId xmlns:a16="http://schemas.microsoft.com/office/drawing/2014/main" id="{FCBB730F-F696-BB00-B868-D290CCB7A318}"/>
              </a:ext>
            </a:extLst>
          </p:cNvPr>
          <p:cNvCxnSpPr>
            <a:cxnSpLocks/>
          </p:cNvCxnSpPr>
          <p:nvPr/>
        </p:nvCxnSpPr>
        <p:spPr>
          <a:xfrm rot="16200000">
            <a:off x="1563774" y="2830503"/>
            <a:ext cx="0" cy="40710"/>
          </a:xfrm>
          <a:prstGeom prst="line">
            <a:avLst/>
          </a:prstGeom>
          <a:ln w="19050">
            <a:solidFill>
              <a:srgbClr val="DF950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9" name="Straight Connector 198">
            <a:extLst>
              <a:ext uri="{FF2B5EF4-FFF2-40B4-BE49-F238E27FC236}">
                <a16:creationId xmlns:a16="http://schemas.microsoft.com/office/drawing/2014/main" id="{7F7D9727-4BFD-417F-D24D-304777961015}"/>
              </a:ext>
            </a:extLst>
          </p:cNvPr>
          <p:cNvCxnSpPr>
            <a:cxnSpLocks/>
          </p:cNvCxnSpPr>
          <p:nvPr/>
        </p:nvCxnSpPr>
        <p:spPr>
          <a:xfrm>
            <a:off x="1583077" y="2906388"/>
            <a:ext cx="0" cy="42404"/>
          </a:xfrm>
          <a:prstGeom prst="line">
            <a:avLst/>
          </a:prstGeom>
          <a:ln w="19050">
            <a:solidFill>
              <a:srgbClr val="DF950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0" name="Straight Connector 199">
            <a:extLst>
              <a:ext uri="{FF2B5EF4-FFF2-40B4-BE49-F238E27FC236}">
                <a16:creationId xmlns:a16="http://schemas.microsoft.com/office/drawing/2014/main" id="{31ADC04A-DEC7-31FA-AF7B-3B2838A617D1}"/>
              </a:ext>
            </a:extLst>
          </p:cNvPr>
          <p:cNvCxnSpPr>
            <a:cxnSpLocks/>
          </p:cNvCxnSpPr>
          <p:nvPr/>
        </p:nvCxnSpPr>
        <p:spPr>
          <a:xfrm rot="16200000">
            <a:off x="1583077" y="2907235"/>
            <a:ext cx="0" cy="40710"/>
          </a:xfrm>
          <a:prstGeom prst="line">
            <a:avLst/>
          </a:prstGeom>
          <a:ln w="19050">
            <a:solidFill>
              <a:srgbClr val="DF950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7" name="Straight Connector 196">
            <a:extLst>
              <a:ext uri="{FF2B5EF4-FFF2-40B4-BE49-F238E27FC236}">
                <a16:creationId xmlns:a16="http://schemas.microsoft.com/office/drawing/2014/main" id="{D6C44CEB-EE67-939E-D239-6750DAD2D6E8}"/>
              </a:ext>
            </a:extLst>
          </p:cNvPr>
          <p:cNvCxnSpPr>
            <a:cxnSpLocks/>
          </p:cNvCxnSpPr>
          <p:nvPr/>
        </p:nvCxnSpPr>
        <p:spPr>
          <a:xfrm>
            <a:off x="1693810" y="3057963"/>
            <a:ext cx="0" cy="42404"/>
          </a:xfrm>
          <a:prstGeom prst="line">
            <a:avLst/>
          </a:prstGeom>
          <a:ln w="19050">
            <a:solidFill>
              <a:srgbClr val="DF950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8" name="Straight Connector 197">
            <a:extLst>
              <a:ext uri="{FF2B5EF4-FFF2-40B4-BE49-F238E27FC236}">
                <a16:creationId xmlns:a16="http://schemas.microsoft.com/office/drawing/2014/main" id="{2F1A5EEC-4655-FCE8-E2C4-7118454331F9}"/>
              </a:ext>
            </a:extLst>
          </p:cNvPr>
          <p:cNvCxnSpPr>
            <a:cxnSpLocks/>
          </p:cNvCxnSpPr>
          <p:nvPr/>
        </p:nvCxnSpPr>
        <p:spPr>
          <a:xfrm rot="16200000">
            <a:off x="1693810" y="3058810"/>
            <a:ext cx="0" cy="40710"/>
          </a:xfrm>
          <a:prstGeom prst="line">
            <a:avLst/>
          </a:prstGeom>
          <a:ln w="19050">
            <a:solidFill>
              <a:srgbClr val="DF950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5" name="Straight Connector 194">
            <a:extLst>
              <a:ext uri="{FF2B5EF4-FFF2-40B4-BE49-F238E27FC236}">
                <a16:creationId xmlns:a16="http://schemas.microsoft.com/office/drawing/2014/main" id="{876767DF-3888-03DB-DB82-C72AD0158107}"/>
              </a:ext>
            </a:extLst>
          </p:cNvPr>
          <p:cNvCxnSpPr>
            <a:cxnSpLocks/>
          </p:cNvCxnSpPr>
          <p:nvPr/>
        </p:nvCxnSpPr>
        <p:spPr>
          <a:xfrm>
            <a:off x="1812945" y="3154887"/>
            <a:ext cx="0" cy="42404"/>
          </a:xfrm>
          <a:prstGeom prst="line">
            <a:avLst/>
          </a:prstGeom>
          <a:ln w="19050">
            <a:solidFill>
              <a:srgbClr val="DF950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6" name="Straight Connector 195">
            <a:extLst>
              <a:ext uri="{FF2B5EF4-FFF2-40B4-BE49-F238E27FC236}">
                <a16:creationId xmlns:a16="http://schemas.microsoft.com/office/drawing/2014/main" id="{30A23CA3-523E-AC3E-D7DA-AC1E3275D16B}"/>
              </a:ext>
            </a:extLst>
          </p:cNvPr>
          <p:cNvCxnSpPr>
            <a:cxnSpLocks/>
          </p:cNvCxnSpPr>
          <p:nvPr/>
        </p:nvCxnSpPr>
        <p:spPr>
          <a:xfrm rot="16200000">
            <a:off x="1812945" y="3155734"/>
            <a:ext cx="0" cy="40710"/>
          </a:xfrm>
          <a:prstGeom prst="line">
            <a:avLst/>
          </a:prstGeom>
          <a:ln w="19050">
            <a:solidFill>
              <a:srgbClr val="DF950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3" name="Straight Connector 192">
            <a:extLst>
              <a:ext uri="{FF2B5EF4-FFF2-40B4-BE49-F238E27FC236}">
                <a16:creationId xmlns:a16="http://schemas.microsoft.com/office/drawing/2014/main" id="{50052F2F-CEA0-2AE0-580D-B553587F1399}"/>
              </a:ext>
            </a:extLst>
          </p:cNvPr>
          <p:cNvCxnSpPr>
            <a:cxnSpLocks/>
          </p:cNvCxnSpPr>
          <p:nvPr/>
        </p:nvCxnSpPr>
        <p:spPr>
          <a:xfrm>
            <a:off x="1877561" y="3211426"/>
            <a:ext cx="0" cy="42404"/>
          </a:xfrm>
          <a:prstGeom prst="line">
            <a:avLst/>
          </a:prstGeom>
          <a:ln w="19050">
            <a:solidFill>
              <a:srgbClr val="DF950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4" name="Straight Connector 193">
            <a:extLst>
              <a:ext uri="{FF2B5EF4-FFF2-40B4-BE49-F238E27FC236}">
                <a16:creationId xmlns:a16="http://schemas.microsoft.com/office/drawing/2014/main" id="{FF225228-446F-BBEB-7D84-951172FDCFC6}"/>
              </a:ext>
            </a:extLst>
          </p:cNvPr>
          <p:cNvCxnSpPr>
            <a:cxnSpLocks/>
          </p:cNvCxnSpPr>
          <p:nvPr/>
        </p:nvCxnSpPr>
        <p:spPr>
          <a:xfrm rot="16200000">
            <a:off x="1877561" y="3212273"/>
            <a:ext cx="0" cy="40710"/>
          </a:xfrm>
          <a:prstGeom prst="line">
            <a:avLst/>
          </a:prstGeom>
          <a:ln w="19050">
            <a:solidFill>
              <a:srgbClr val="DF950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1" name="Straight Connector 190">
            <a:extLst>
              <a:ext uri="{FF2B5EF4-FFF2-40B4-BE49-F238E27FC236}">
                <a16:creationId xmlns:a16="http://schemas.microsoft.com/office/drawing/2014/main" id="{B4C2D2D9-C612-6D9B-DA0F-25B26AC11795}"/>
              </a:ext>
            </a:extLst>
          </p:cNvPr>
          <p:cNvCxnSpPr>
            <a:cxnSpLocks/>
          </p:cNvCxnSpPr>
          <p:nvPr/>
        </p:nvCxnSpPr>
        <p:spPr>
          <a:xfrm>
            <a:off x="1954292" y="3237676"/>
            <a:ext cx="0" cy="42404"/>
          </a:xfrm>
          <a:prstGeom prst="line">
            <a:avLst/>
          </a:prstGeom>
          <a:ln w="19050">
            <a:solidFill>
              <a:srgbClr val="DF950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2" name="Straight Connector 191">
            <a:extLst>
              <a:ext uri="{FF2B5EF4-FFF2-40B4-BE49-F238E27FC236}">
                <a16:creationId xmlns:a16="http://schemas.microsoft.com/office/drawing/2014/main" id="{3CCF1037-5BB4-C3EA-332F-E83D1666A9D0}"/>
              </a:ext>
            </a:extLst>
          </p:cNvPr>
          <p:cNvCxnSpPr>
            <a:cxnSpLocks/>
          </p:cNvCxnSpPr>
          <p:nvPr/>
        </p:nvCxnSpPr>
        <p:spPr>
          <a:xfrm rot="16200000">
            <a:off x="1954292" y="3238523"/>
            <a:ext cx="0" cy="40710"/>
          </a:xfrm>
          <a:prstGeom prst="line">
            <a:avLst/>
          </a:prstGeom>
          <a:ln w="19050">
            <a:solidFill>
              <a:srgbClr val="DF950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9" name="Straight Connector 188">
            <a:extLst>
              <a:ext uri="{FF2B5EF4-FFF2-40B4-BE49-F238E27FC236}">
                <a16:creationId xmlns:a16="http://schemas.microsoft.com/office/drawing/2014/main" id="{16072268-3EAD-8E55-2657-E8261A7140E1}"/>
              </a:ext>
            </a:extLst>
          </p:cNvPr>
          <p:cNvCxnSpPr>
            <a:cxnSpLocks/>
          </p:cNvCxnSpPr>
          <p:nvPr/>
        </p:nvCxnSpPr>
        <p:spPr>
          <a:xfrm>
            <a:off x="2123909" y="3296368"/>
            <a:ext cx="0" cy="42404"/>
          </a:xfrm>
          <a:prstGeom prst="line">
            <a:avLst/>
          </a:prstGeom>
          <a:ln w="19050">
            <a:solidFill>
              <a:srgbClr val="DF950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0" name="Straight Connector 189">
            <a:extLst>
              <a:ext uri="{FF2B5EF4-FFF2-40B4-BE49-F238E27FC236}">
                <a16:creationId xmlns:a16="http://schemas.microsoft.com/office/drawing/2014/main" id="{E4D2B572-EE19-F2AC-E0D4-DC744465B999}"/>
              </a:ext>
            </a:extLst>
          </p:cNvPr>
          <p:cNvCxnSpPr>
            <a:cxnSpLocks/>
          </p:cNvCxnSpPr>
          <p:nvPr/>
        </p:nvCxnSpPr>
        <p:spPr>
          <a:xfrm rot="16200000">
            <a:off x="2123909" y="3297215"/>
            <a:ext cx="0" cy="40710"/>
          </a:xfrm>
          <a:prstGeom prst="line">
            <a:avLst/>
          </a:prstGeom>
          <a:ln w="19050">
            <a:solidFill>
              <a:srgbClr val="DF950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7" name="Straight Connector 186">
            <a:extLst>
              <a:ext uri="{FF2B5EF4-FFF2-40B4-BE49-F238E27FC236}">
                <a16:creationId xmlns:a16="http://schemas.microsoft.com/office/drawing/2014/main" id="{5D92E263-87D5-47A9-7A2D-618ABE0A55FA}"/>
              </a:ext>
            </a:extLst>
          </p:cNvPr>
          <p:cNvCxnSpPr>
            <a:cxnSpLocks/>
          </p:cNvCxnSpPr>
          <p:nvPr/>
        </p:nvCxnSpPr>
        <p:spPr>
          <a:xfrm>
            <a:off x="2170352" y="3296368"/>
            <a:ext cx="0" cy="42404"/>
          </a:xfrm>
          <a:prstGeom prst="line">
            <a:avLst/>
          </a:prstGeom>
          <a:ln w="19050">
            <a:solidFill>
              <a:srgbClr val="DF950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8" name="Straight Connector 187">
            <a:extLst>
              <a:ext uri="{FF2B5EF4-FFF2-40B4-BE49-F238E27FC236}">
                <a16:creationId xmlns:a16="http://schemas.microsoft.com/office/drawing/2014/main" id="{313B453E-88AF-3A1B-0B67-6F4387FBB9EE}"/>
              </a:ext>
            </a:extLst>
          </p:cNvPr>
          <p:cNvCxnSpPr>
            <a:cxnSpLocks/>
          </p:cNvCxnSpPr>
          <p:nvPr/>
        </p:nvCxnSpPr>
        <p:spPr>
          <a:xfrm rot="16200000">
            <a:off x="2170352" y="3297215"/>
            <a:ext cx="0" cy="40710"/>
          </a:xfrm>
          <a:prstGeom prst="line">
            <a:avLst/>
          </a:prstGeom>
          <a:ln w="19050">
            <a:solidFill>
              <a:srgbClr val="DF950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5" name="Straight Connector 184">
            <a:extLst>
              <a:ext uri="{FF2B5EF4-FFF2-40B4-BE49-F238E27FC236}">
                <a16:creationId xmlns:a16="http://schemas.microsoft.com/office/drawing/2014/main" id="{479CD13C-ED1F-A03C-B9E6-29CAC3D2176A}"/>
              </a:ext>
            </a:extLst>
          </p:cNvPr>
          <p:cNvCxnSpPr>
            <a:cxnSpLocks/>
          </p:cNvCxnSpPr>
          <p:nvPr/>
        </p:nvCxnSpPr>
        <p:spPr>
          <a:xfrm>
            <a:off x="2496152" y="3328868"/>
            <a:ext cx="0" cy="42404"/>
          </a:xfrm>
          <a:prstGeom prst="line">
            <a:avLst/>
          </a:prstGeom>
          <a:ln w="19050">
            <a:solidFill>
              <a:srgbClr val="DF950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6" name="Straight Connector 185">
            <a:extLst>
              <a:ext uri="{FF2B5EF4-FFF2-40B4-BE49-F238E27FC236}">
                <a16:creationId xmlns:a16="http://schemas.microsoft.com/office/drawing/2014/main" id="{FA4AC6D5-CB28-7287-29CC-E6C9E10F4FBC}"/>
              </a:ext>
            </a:extLst>
          </p:cNvPr>
          <p:cNvCxnSpPr>
            <a:cxnSpLocks/>
          </p:cNvCxnSpPr>
          <p:nvPr/>
        </p:nvCxnSpPr>
        <p:spPr>
          <a:xfrm rot="16200000">
            <a:off x="2496152" y="3329715"/>
            <a:ext cx="0" cy="40710"/>
          </a:xfrm>
          <a:prstGeom prst="line">
            <a:avLst/>
          </a:prstGeom>
          <a:ln w="19050">
            <a:solidFill>
              <a:srgbClr val="DF950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3" name="Straight Connector 182">
            <a:extLst>
              <a:ext uri="{FF2B5EF4-FFF2-40B4-BE49-F238E27FC236}">
                <a16:creationId xmlns:a16="http://schemas.microsoft.com/office/drawing/2014/main" id="{FEE6A769-4F04-90C3-03C4-9E0EA116E049}"/>
              </a:ext>
            </a:extLst>
          </p:cNvPr>
          <p:cNvCxnSpPr>
            <a:cxnSpLocks/>
          </p:cNvCxnSpPr>
          <p:nvPr/>
        </p:nvCxnSpPr>
        <p:spPr>
          <a:xfrm>
            <a:off x="2585000" y="3327481"/>
            <a:ext cx="0" cy="42404"/>
          </a:xfrm>
          <a:prstGeom prst="line">
            <a:avLst/>
          </a:prstGeom>
          <a:ln w="19050">
            <a:solidFill>
              <a:srgbClr val="DF950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4" name="Straight Connector 183">
            <a:extLst>
              <a:ext uri="{FF2B5EF4-FFF2-40B4-BE49-F238E27FC236}">
                <a16:creationId xmlns:a16="http://schemas.microsoft.com/office/drawing/2014/main" id="{75A1DB9F-1ACB-DF00-8DEA-72761BB33EA0}"/>
              </a:ext>
            </a:extLst>
          </p:cNvPr>
          <p:cNvCxnSpPr>
            <a:cxnSpLocks/>
          </p:cNvCxnSpPr>
          <p:nvPr/>
        </p:nvCxnSpPr>
        <p:spPr>
          <a:xfrm rot="16200000">
            <a:off x="2585000" y="3328328"/>
            <a:ext cx="0" cy="40710"/>
          </a:xfrm>
          <a:prstGeom prst="line">
            <a:avLst/>
          </a:prstGeom>
          <a:ln w="19050">
            <a:solidFill>
              <a:srgbClr val="DF950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1" name="Straight Connector 180">
            <a:extLst>
              <a:ext uri="{FF2B5EF4-FFF2-40B4-BE49-F238E27FC236}">
                <a16:creationId xmlns:a16="http://schemas.microsoft.com/office/drawing/2014/main" id="{4B09CF2E-CE7B-06B5-F8C0-F5A519A7BEC1}"/>
              </a:ext>
            </a:extLst>
          </p:cNvPr>
          <p:cNvCxnSpPr>
            <a:cxnSpLocks/>
          </p:cNvCxnSpPr>
          <p:nvPr/>
        </p:nvCxnSpPr>
        <p:spPr>
          <a:xfrm>
            <a:off x="2774999" y="3366459"/>
            <a:ext cx="0" cy="42404"/>
          </a:xfrm>
          <a:prstGeom prst="line">
            <a:avLst/>
          </a:prstGeom>
          <a:ln w="19050">
            <a:solidFill>
              <a:srgbClr val="DF950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2" name="Straight Connector 181">
            <a:extLst>
              <a:ext uri="{FF2B5EF4-FFF2-40B4-BE49-F238E27FC236}">
                <a16:creationId xmlns:a16="http://schemas.microsoft.com/office/drawing/2014/main" id="{FF52221C-B80B-643E-2ADB-8390827DBA9F}"/>
              </a:ext>
            </a:extLst>
          </p:cNvPr>
          <p:cNvCxnSpPr>
            <a:cxnSpLocks/>
          </p:cNvCxnSpPr>
          <p:nvPr/>
        </p:nvCxnSpPr>
        <p:spPr>
          <a:xfrm rot="16200000">
            <a:off x="2774999" y="3367306"/>
            <a:ext cx="0" cy="40710"/>
          </a:xfrm>
          <a:prstGeom prst="line">
            <a:avLst/>
          </a:prstGeom>
          <a:ln w="19050">
            <a:solidFill>
              <a:srgbClr val="DF950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9" name="Straight Connector 178">
            <a:extLst>
              <a:ext uri="{FF2B5EF4-FFF2-40B4-BE49-F238E27FC236}">
                <a16:creationId xmlns:a16="http://schemas.microsoft.com/office/drawing/2014/main" id="{07A5A807-FC07-5D17-F3A5-B16B3E78E62B}"/>
              </a:ext>
            </a:extLst>
          </p:cNvPr>
          <p:cNvCxnSpPr>
            <a:cxnSpLocks/>
          </p:cNvCxnSpPr>
          <p:nvPr/>
        </p:nvCxnSpPr>
        <p:spPr>
          <a:xfrm>
            <a:off x="3043748" y="3392795"/>
            <a:ext cx="0" cy="42404"/>
          </a:xfrm>
          <a:prstGeom prst="line">
            <a:avLst/>
          </a:prstGeom>
          <a:ln w="19050">
            <a:solidFill>
              <a:srgbClr val="DF950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0" name="Straight Connector 179">
            <a:extLst>
              <a:ext uri="{FF2B5EF4-FFF2-40B4-BE49-F238E27FC236}">
                <a16:creationId xmlns:a16="http://schemas.microsoft.com/office/drawing/2014/main" id="{C4738D0D-8BA8-0EC7-C7CD-F83DBEBFC5CB}"/>
              </a:ext>
            </a:extLst>
          </p:cNvPr>
          <p:cNvCxnSpPr>
            <a:cxnSpLocks/>
          </p:cNvCxnSpPr>
          <p:nvPr/>
        </p:nvCxnSpPr>
        <p:spPr>
          <a:xfrm rot="16200000">
            <a:off x="3043748" y="3393642"/>
            <a:ext cx="0" cy="40710"/>
          </a:xfrm>
          <a:prstGeom prst="line">
            <a:avLst/>
          </a:prstGeom>
          <a:ln w="19050">
            <a:solidFill>
              <a:srgbClr val="DF950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7" name="Straight Connector 176">
            <a:extLst>
              <a:ext uri="{FF2B5EF4-FFF2-40B4-BE49-F238E27FC236}">
                <a16:creationId xmlns:a16="http://schemas.microsoft.com/office/drawing/2014/main" id="{CA8945F5-94DF-6218-E210-7238060DAD29}"/>
              </a:ext>
            </a:extLst>
          </p:cNvPr>
          <p:cNvCxnSpPr>
            <a:cxnSpLocks/>
          </p:cNvCxnSpPr>
          <p:nvPr/>
        </p:nvCxnSpPr>
        <p:spPr>
          <a:xfrm>
            <a:off x="3144918" y="3394145"/>
            <a:ext cx="0" cy="42404"/>
          </a:xfrm>
          <a:prstGeom prst="line">
            <a:avLst/>
          </a:prstGeom>
          <a:ln w="19050">
            <a:solidFill>
              <a:srgbClr val="DF950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8" name="Straight Connector 177">
            <a:extLst>
              <a:ext uri="{FF2B5EF4-FFF2-40B4-BE49-F238E27FC236}">
                <a16:creationId xmlns:a16="http://schemas.microsoft.com/office/drawing/2014/main" id="{BD950774-70B6-FA36-09C0-D13E9DAA7E78}"/>
              </a:ext>
            </a:extLst>
          </p:cNvPr>
          <p:cNvCxnSpPr>
            <a:cxnSpLocks/>
          </p:cNvCxnSpPr>
          <p:nvPr/>
        </p:nvCxnSpPr>
        <p:spPr>
          <a:xfrm rot="16200000">
            <a:off x="3144918" y="3394992"/>
            <a:ext cx="0" cy="40710"/>
          </a:xfrm>
          <a:prstGeom prst="line">
            <a:avLst/>
          </a:prstGeom>
          <a:ln w="19050">
            <a:solidFill>
              <a:srgbClr val="DF950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5" name="Straight Connector 174">
            <a:extLst>
              <a:ext uri="{FF2B5EF4-FFF2-40B4-BE49-F238E27FC236}">
                <a16:creationId xmlns:a16="http://schemas.microsoft.com/office/drawing/2014/main" id="{E8167439-B5E0-4D67-9540-D7AE5EF329AF}"/>
              </a:ext>
            </a:extLst>
          </p:cNvPr>
          <p:cNvCxnSpPr>
            <a:cxnSpLocks/>
          </p:cNvCxnSpPr>
          <p:nvPr/>
        </p:nvCxnSpPr>
        <p:spPr>
          <a:xfrm>
            <a:off x="3312497" y="3394145"/>
            <a:ext cx="0" cy="42404"/>
          </a:xfrm>
          <a:prstGeom prst="line">
            <a:avLst/>
          </a:prstGeom>
          <a:ln w="19050">
            <a:solidFill>
              <a:srgbClr val="DF950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6" name="Straight Connector 175">
            <a:extLst>
              <a:ext uri="{FF2B5EF4-FFF2-40B4-BE49-F238E27FC236}">
                <a16:creationId xmlns:a16="http://schemas.microsoft.com/office/drawing/2014/main" id="{8ABF803B-F590-8C6C-B2C3-B48721890615}"/>
              </a:ext>
            </a:extLst>
          </p:cNvPr>
          <p:cNvCxnSpPr>
            <a:cxnSpLocks/>
          </p:cNvCxnSpPr>
          <p:nvPr/>
        </p:nvCxnSpPr>
        <p:spPr>
          <a:xfrm rot="16200000">
            <a:off x="3312497" y="3394992"/>
            <a:ext cx="0" cy="40710"/>
          </a:xfrm>
          <a:prstGeom prst="line">
            <a:avLst/>
          </a:prstGeom>
          <a:ln w="19050">
            <a:solidFill>
              <a:srgbClr val="DF950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3" name="Straight Connector 172">
            <a:extLst>
              <a:ext uri="{FF2B5EF4-FFF2-40B4-BE49-F238E27FC236}">
                <a16:creationId xmlns:a16="http://schemas.microsoft.com/office/drawing/2014/main" id="{2B22AB20-3023-18B1-8AFE-06B28FF505EE}"/>
              </a:ext>
            </a:extLst>
          </p:cNvPr>
          <p:cNvCxnSpPr>
            <a:cxnSpLocks/>
          </p:cNvCxnSpPr>
          <p:nvPr/>
        </p:nvCxnSpPr>
        <p:spPr>
          <a:xfrm>
            <a:off x="3781179" y="3436549"/>
            <a:ext cx="0" cy="42404"/>
          </a:xfrm>
          <a:prstGeom prst="line">
            <a:avLst/>
          </a:prstGeom>
          <a:ln w="19050">
            <a:solidFill>
              <a:srgbClr val="DF950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4" name="Straight Connector 173">
            <a:extLst>
              <a:ext uri="{FF2B5EF4-FFF2-40B4-BE49-F238E27FC236}">
                <a16:creationId xmlns:a16="http://schemas.microsoft.com/office/drawing/2014/main" id="{6770BAFE-AE36-2B90-1541-4C73A5109E48}"/>
              </a:ext>
            </a:extLst>
          </p:cNvPr>
          <p:cNvCxnSpPr>
            <a:cxnSpLocks/>
          </p:cNvCxnSpPr>
          <p:nvPr/>
        </p:nvCxnSpPr>
        <p:spPr>
          <a:xfrm rot="16200000">
            <a:off x="3781179" y="3437396"/>
            <a:ext cx="0" cy="40710"/>
          </a:xfrm>
          <a:prstGeom prst="line">
            <a:avLst/>
          </a:prstGeom>
          <a:ln w="19050">
            <a:solidFill>
              <a:srgbClr val="DF950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1" name="Straight Connector 170">
            <a:extLst>
              <a:ext uri="{FF2B5EF4-FFF2-40B4-BE49-F238E27FC236}">
                <a16:creationId xmlns:a16="http://schemas.microsoft.com/office/drawing/2014/main" id="{CAA9D803-70F0-C802-AA0C-2D308220EB87}"/>
              </a:ext>
            </a:extLst>
          </p:cNvPr>
          <p:cNvCxnSpPr>
            <a:cxnSpLocks/>
          </p:cNvCxnSpPr>
          <p:nvPr/>
        </p:nvCxnSpPr>
        <p:spPr>
          <a:xfrm>
            <a:off x="3841919" y="3480594"/>
            <a:ext cx="0" cy="42404"/>
          </a:xfrm>
          <a:prstGeom prst="line">
            <a:avLst/>
          </a:prstGeom>
          <a:ln w="19050">
            <a:solidFill>
              <a:srgbClr val="DF950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2" name="Straight Connector 171">
            <a:extLst>
              <a:ext uri="{FF2B5EF4-FFF2-40B4-BE49-F238E27FC236}">
                <a16:creationId xmlns:a16="http://schemas.microsoft.com/office/drawing/2014/main" id="{FF3B7174-DCE9-8C72-A68C-A2BA3A1AA33D}"/>
              </a:ext>
            </a:extLst>
          </p:cNvPr>
          <p:cNvCxnSpPr>
            <a:cxnSpLocks/>
          </p:cNvCxnSpPr>
          <p:nvPr/>
        </p:nvCxnSpPr>
        <p:spPr>
          <a:xfrm rot="16200000">
            <a:off x="3841919" y="3481441"/>
            <a:ext cx="0" cy="40710"/>
          </a:xfrm>
          <a:prstGeom prst="line">
            <a:avLst/>
          </a:prstGeom>
          <a:ln w="19050">
            <a:solidFill>
              <a:srgbClr val="DF950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9" name="Straight Connector 168">
            <a:extLst>
              <a:ext uri="{FF2B5EF4-FFF2-40B4-BE49-F238E27FC236}">
                <a16:creationId xmlns:a16="http://schemas.microsoft.com/office/drawing/2014/main" id="{D0C07523-A868-BA8A-AF4E-E17C67452490}"/>
              </a:ext>
            </a:extLst>
          </p:cNvPr>
          <p:cNvCxnSpPr>
            <a:cxnSpLocks/>
          </p:cNvCxnSpPr>
          <p:nvPr/>
        </p:nvCxnSpPr>
        <p:spPr>
          <a:xfrm>
            <a:off x="4300296" y="3482613"/>
            <a:ext cx="0" cy="42404"/>
          </a:xfrm>
          <a:prstGeom prst="line">
            <a:avLst/>
          </a:prstGeom>
          <a:ln w="19050">
            <a:solidFill>
              <a:srgbClr val="DF950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0" name="Straight Connector 169">
            <a:extLst>
              <a:ext uri="{FF2B5EF4-FFF2-40B4-BE49-F238E27FC236}">
                <a16:creationId xmlns:a16="http://schemas.microsoft.com/office/drawing/2014/main" id="{27A694E0-C18E-D842-A6D6-A7AAFD9C6E69}"/>
              </a:ext>
            </a:extLst>
          </p:cNvPr>
          <p:cNvCxnSpPr>
            <a:cxnSpLocks/>
          </p:cNvCxnSpPr>
          <p:nvPr/>
        </p:nvCxnSpPr>
        <p:spPr>
          <a:xfrm rot="16200000">
            <a:off x="4300296" y="3483460"/>
            <a:ext cx="0" cy="40710"/>
          </a:xfrm>
          <a:prstGeom prst="line">
            <a:avLst/>
          </a:prstGeom>
          <a:ln w="19050">
            <a:solidFill>
              <a:srgbClr val="DF950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7" name="Straight Connector 166">
            <a:extLst>
              <a:ext uri="{FF2B5EF4-FFF2-40B4-BE49-F238E27FC236}">
                <a16:creationId xmlns:a16="http://schemas.microsoft.com/office/drawing/2014/main" id="{CEA848A9-3CAD-DA9B-8FC2-7C7E11D7839A}"/>
              </a:ext>
            </a:extLst>
          </p:cNvPr>
          <p:cNvCxnSpPr>
            <a:cxnSpLocks/>
          </p:cNvCxnSpPr>
          <p:nvPr/>
        </p:nvCxnSpPr>
        <p:spPr>
          <a:xfrm>
            <a:off x="4409799" y="3482613"/>
            <a:ext cx="0" cy="42404"/>
          </a:xfrm>
          <a:prstGeom prst="line">
            <a:avLst/>
          </a:prstGeom>
          <a:ln w="19050">
            <a:solidFill>
              <a:srgbClr val="DF950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8" name="Straight Connector 167">
            <a:extLst>
              <a:ext uri="{FF2B5EF4-FFF2-40B4-BE49-F238E27FC236}">
                <a16:creationId xmlns:a16="http://schemas.microsoft.com/office/drawing/2014/main" id="{C94B9CCC-C27D-BFF6-55D9-D5B353E5C1A4}"/>
              </a:ext>
            </a:extLst>
          </p:cNvPr>
          <p:cNvCxnSpPr>
            <a:cxnSpLocks/>
          </p:cNvCxnSpPr>
          <p:nvPr/>
        </p:nvCxnSpPr>
        <p:spPr>
          <a:xfrm rot="16200000">
            <a:off x="4409799" y="3483460"/>
            <a:ext cx="0" cy="40710"/>
          </a:xfrm>
          <a:prstGeom prst="line">
            <a:avLst/>
          </a:prstGeom>
          <a:ln w="19050">
            <a:solidFill>
              <a:srgbClr val="DF950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5" name="Straight Connector 164">
            <a:extLst>
              <a:ext uri="{FF2B5EF4-FFF2-40B4-BE49-F238E27FC236}">
                <a16:creationId xmlns:a16="http://schemas.microsoft.com/office/drawing/2014/main" id="{7E03B121-6D4C-7686-8722-8F03A1F831CA}"/>
              </a:ext>
            </a:extLst>
          </p:cNvPr>
          <p:cNvCxnSpPr>
            <a:cxnSpLocks/>
          </p:cNvCxnSpPr>
          <p:nvPr/>
        </p:nvCxnSpPr>
        <p:spPr>
          <a:xfrm>
            <a:off x="4491945" y="3484632"/>
            <a:ext cx="0" cy="42404"/>
          </a:xfrm>
          <a:prstGeom prst="line">
            <a:avLst/>
          </a:prstGeom>
          <a:ln w="19050">
            <a:solidFill>
              <a:srgbClr val="DF950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6" name="Straight Connector 165">
            <a:extLst>
              <a:ext uri="{FF2B5EF4-FFF2-40B4-BE49-F238E27FC236}">
                <a16:creationId xmlns:a16="http://schemas.microsoft.com/office/drawing/2014/main" id="{F67579BE-7DCF-5336-2C24-234E65157872}"/>
              </a:ext>
            </a:extLst>
          </p:cNvPr>
          <p:cNvCxnSpPr>
            <a:cxnSpLocks/>
          </p:cNvCxnSpPr>
          <p:nvPr/>
        </p:nvCxnSpPr>
        <p:spPr>
          <a:xfrm rot="16200000">
            <a:off x="4491945" y="3485479"/>
            <a:ext cx="0" cy="40710"/>
          </a:xfrm>
          <a:prstGeom prst="line">
            <a:avLst/>
          </a:prstGeom>
          <a:ln w="19050">
            <a:solidFill>
              <a:srgbClr val="DF950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3" name="Straight Connector 162">
            <a:extLst>
              <a:ext uri="{FF2B5EF4-FFF2-40B4-BE49-F238E27FC236}">
                <a16:creationId xmlns:a16="http://schemas.microsoft.com/office/drawing/2014/main" id="{1DF7819D-54EC-A509-4BAA-4C8DDB36161F}"/>
              </a:ext>
            </a:extLst>
          </p:cNvPr>
          <p:cNvCxnSpPr>
            <a:cxnSpLocks/>
          </p:cNvCxnSpPr>
          <p:nvPr/>
        </p:nvCxnSpPr>
        <p:spPr>
          <a:xfrm>
            <a:off x="4546671" y="3484632"/>
            <a:ext cx="0" cy="42404"/>
          </a:xfrm>
          <a:prstGeom prst="line">
            <a:avLst/>
          </a:prstGeom>
          <a:ln w="19050">
            <a:solidFill>
              <a:srgbClr val="DF950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4" name="Straight Connector 163">
            <a:extLst>
              <a:ext uri="{FF2B5EF4-FFF2-40B4-BE49-F238E27FC236}">
                <a16:creationId xmlns:a16="http://schemas.microsoft.com/office/drawing/2014/main" id="{43FAE3A4-0FA3-B50C-6A8E-34A53DDE0C5B}"/>
              </a:ext>
            </a:extLst>
          </p:cNvPr>
          <p:cNvCxnSpPr>
            <a:cxnSpLocks/>
          </p:cNvCxnSpPr>
          <p:nvPr/>
        </p:nvCxnSpPr>
        <p:spPr>
          <a:xfrm rot="16200000">
            <a:off x="4546671" y="3485479"/>
            <a:ext cx="0" cy="40710"/>
          </a:xfrm>
          <a:prstGeom prst="line">
            <a:avLst/>
          </a:prstGeom>
          <a:ln w="19050">
            <a:solidFill>
              <a:srgbClr val="DF950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1" name="Straight Connector 160">
            <a:extLst>
              <a:ext uri="{FF2B5EF4-FFF2-40B4-BE49-F238E27FC236}">
                <a16:creationId xmlns:a16="http://schemas.microsoft.com/office/drawing/2014/main" id="{8DA1535D-DE35-B70F-127E-4FF40451CD0E}"/>
              </a:ext>
            </a:extLst>
          </p:cNvPr>
          <p:cNvCxnSpPr>
            <a:cxnSpLocks/>
          </p:cNvCxnSpPr>
          <p:nvPr/>
        </p:nvCxnSpPr>
        <p:spPr>
          <a:xfrm>
            <a:off x="4577122" y="3484632"/>
            <a:ext cx="0" cy="42404"/>
          </a:xfrm>
          <a:prstGeom prst="line">
            <a:avLst/>
          </a:prstGeom>
          <a:ln w="19050">
            <a:solidFill>
              <a:srgbClr val="DF950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2" name="Straight Connector 161">
            <a:extLst>
              <a:ext uri="{FF2B5EF4-FFF2-40B4-BE49-F238E27FC236}">
                <a16:creationId xmlns:a16="http://schemas.microsoft.com/office/drawing/2014/main" id="{F94DC0A6-582F-095F-6F4B-15E2A089C094}"/>
              </a:ext>
            </a:extLst>
          </p:cNvPr>
          <p:cNvCxnSpPr>
            <a:cxnSpLocks/>
          </p:cNvCxnSpPr>
          <p:nvPr/>
        </p:nvCxnSpPr>
        <p:spPr>
          <a:xfrm rot="16200000">
            <a:off x="4577122" y="3485479"/>
            <a:ext cx="0" cy="40710"/>
          </a:xfrm>
          <a:prstGeom prst="line">
            <a:avLst/>
          </a:prstGeom>
          <a:ln w="19050">
            <a:solidFill>
              <a:srgbClr val="DF950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9" name="Straight Connector 158">
            <a:extLst>
              <a:ext uri="{FF2B5EF4-FFF2-40B4-BE49-F238E27FC236}">
                <a16:creationId xmlns:a16="http://schemas.microsoft.com/office/drawing/2014/main" id="{581E6E44-534E-EB82-79F7-287CAEF55F31}"/>
              </a:ext>
            </a:extLst>
          </p:cNvPr>
          <p:cNvCxnSpPr>
            <a:cxnSpLocks/>
          </p:cNvCxnSpPr>
          <p:nvPr/>
        </p:nvCxnSpPr>
        <p:spPr>
          <a:xfrm>
            <a:off x="4615532" y="3484632"/>
            <a:ext cx="0" cy="42404"/>
          </a:xfrm>
          <a:prstGeom prst="line">
            <a:avLst/>
          </a:prstGeom>
          <a:ln w="19050">
            <a:solidFill>
              <a:srgbClr val="DF950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0" name="Straight Connector 159">
            <a:extLst>
              <a:ext uri="{FF2B5EF4-FFF2-40B4-BE49-F238E27FC236}">
                <a16:creationId xmlns:a16="http://schemas.microsoft.com/office/drawing/2014/main" id="{80A38079-A9EC-2FCD-3386-DA83B5F8A4AD}"/>
              </a:ext>
            </a:extLst>
          </p:cNvPr>
          <p:cNvCxnSpPr>
            <a:cxnSpLocks/>
          </p:cNvCxnSpPr>
          <p:nvPr/>
        </p:nvCxnSpPr>
        <p:spPr>
          <a:xfrm rot="16200000">
            <a:off x="4615532" y="3485479"/>
            <a:ext cx="0" cy="40710"/>
          </a:xfrm>
          <a:prstGeom prst="line">
            <a:avLst/>
          </a:prstGeom>
          <a:ln w="19050">
            <a:solidFill>
              <a:srgbClr val="DF950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7" name="Straight Connector 156">
            <a:extLst>
              <a:ext uri="{FF2B5EF4-FFF2-40B4-BE49-F238E27FC236}">
                <a16:creationId xmlns:a16="http://schemas.microsoft.com/office/drawing/2014/main" id="{B4A224AF-9CF5-F89E-FFBA-4EC96E47A215}"/>
              </a:ext>
            </a:extLst>
          </p:cNvPr>
          <p:cNvCxnSpPr>
            <a:cxnSpLocks/>
          </p:cNvCxnSpPr>
          <p:nvPr/>
        </p:nvCxnSpPr>
        <p:spPr>
          <a:xfrm>
            <a:off x="4791541" y="3484632"/>
            <a:ext cx="0" cy="42404"/>
          </a:xfrm>
          <a:prstGeom prst="line">
            <a:avLst/>
          </a:prstGeom>
          <a:ln w="19050">
            <a:solidFill>
              <a:srgbClr val="DF950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8" name="Straight Connector 157">
            <a:extLst>
              <a:ext uri="{FF2B5EF4-FFF2-40B4-BE49-F238E27FC236}">
                <a16:creationId xmlns:a16="http://schemas.microsoft.com/office/drawing/2014/main" id="{BD667201-9584-32E9-42E3-B09B9D0518C0}"/>
              </a:ext>
            </a:extLst>
          </p:cNvPr>
          <p:cNvCxnSpPr>
            <a:cxnSpLocks/>
          </p:cNvCxnSpPr>
          <p:nvPr/>
        </p:nvCxnSpPr>
        <p:spPr>
          <a:xfrm rot="16200000">
            <a:off x="4791541" y="3485479"/>
            <a:ext cx="0" cy="40710"/>
          </a:xfrm>
          <a:prstGeom prst="line">
            <a:avLst/>
          </a:prstGeom>
          <a:ln w="19050">
            <a:solidFill>
              <a:srgbClr val="DF950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5" name="Straight Connector 154">
            <a:extLst>
              <a:ext uri="{FF2B5EF4-FFF2-40B4-BE49-F238E27FC236}">
                <a16:creationId xmlns:a16="http://schemas.microsoft.com/office/drawing/2014/main" id="{A4006B67-596A-0B3C-C7A2-CCF8DBE29EFF}"/>
              </a:ext>
            </a:extLst>
          </p:cNvPr>
          <p:cNvCxnSpPr>
            <a:cxnSpLocks/>
          </p:cNvCxnSpPr>
          <p:nvPr/>
        </p:nvCxnSpPr>
        <p:spPr>
          <a:xfrm>
            <a:off x="4825516" y="3484632"/>
            <a:ext cx="0" cy="42404"/>
          </a:xfrm>
          <a:prstGeom prst="line">
            <a:avLst/>
          </a:prstGeom>
          <a:ln w="19050">
            <a:solidFill>
              <a:srgbClr val="DF950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6" name="Straight Connector 155">
            <a:extLst>
              <a:ext uri="{FF2B5EF4-FFF2-40B4-BE49-F238E27FC236}">
                <a16:creationId xmlns:a16="http://schemas.microsoft.com/office/drawing/2014/main" id="{3364F106-ECA5-5301-EA6D-B6F207B832CD}"/>
              </a:ext>
            </a:extLst>
          </p:cNvPr>
          <p:cNvCxnSpPr>
            <a:cxnSpLocks/>
          </p:cNvCxnSpPr>
          <p:nvPr/>
        </p:nvCxnSpPr>
        <p:spPr>
          <a:xfrm rot="16200000">
            <a:off x="4825516" y="3485479"/>
            <a:ext cx="0" cy="40710"/>
          </a:xfrm>
          <a:prstGeom prst="line">
            <a:avLst/>
          </a:prstGeom>
          <a:ln w="19050">
            <a:solidFill>
              <a:srgbClr val="DF950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3" name="Straight Connector 152">
            <a:extLst>
              <a:ext uri="{FF2B5EF4-FFF2-40B4-BE49-F238E27FC236}">
                <a16:creationId xmlns:a16="http://schemas.microsoft.com/office/drawing/2014/main" id="{17CD797D-55BA-800F-92FF-1A3BEBA5533F}"/>
              </a:ext>
            </a:extLst>
          </p:cNvPr>
          <p:cNvCxnSpPr>
            <a:cxnSpLocks/>
          </p:cNvCxnSpPr>
          <p:nvPr/>
        </p:nvCxnSpPr>
        <p:spPr>
          <a:xfrm>
            <a:off x="5076210" y="3484632"/>
            <a:ext cx="0" cy="42404"/>
          </a:xfrm>
          <a:prstGeom prst="line">
            <a:avLst/>
          </a:prstGeom>
          <a:ln w="19050">
            <a:solidFill>
              <a:srgbClr val="DF950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4" name="Straight Connector 153">
            <a:extLst>
              <a:ext uri="{FF2B5EF4-FFF2-40B4-BE49-F238E27FC236}">
                <a16:creationId xmlns:a16="http://schemas.microsoft.com/office/drawing/2014/main" id="{A54348DC-4EBF-11AE-E19D-4C07BBC79D91}"/>
              </a:ext>
            </a:extLst>
          </p:cNvPr>
          <p:cNvCxnSpPr>
            <a:cxnSpLocks/>
          </p:cNvCxnSpPr>
          <p:nvPr/>
        </p:nvCxnSpPr>
        <p:spPr>
          <a:xfrm rot="16200000">
            <a:off x="5076210" y="3485479"/>
            <a:ext cx="0" cy="40710"/>
          </a:xfrm>
          <a:prstGeom prst="line">
            <a:avLst/>
          </a:prstGeom>
          <a:ln w="19050">
            <a:solidFill>
              <a:srgbClr val="DF950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1" name="Straight Connector 150">
            <a:extLst>
              <a:ext uri="{FF2B5EF4-FFF2-40B4-BE49-F238E27FC236}">
                <a16:creationId xmlns:a16="http://schemas.microsoft.com/office/drawing/2014/main" id="{85D20B69-DE97-C237-4AA6-B11C51BECE54}"/>
              </a:ext>
            </a:extLst>
          </p:cNvPr>
          <p:cNvCxnSpPr>
            <a:cxnSpLocks/>
          </p:cNvCxnSpPr>
          <p:nvPr/>
        </p:nvCxnSpPr>
        <p:spPr>
          <a:xfrm>
            <a:off x="5233712" y="3484632"/>
            <a:ext cx="0" cy="42404"/>
          </a:xfrm>
          <a:prstGeom prst="line">
            <a:avLst/>
          </a:prstGeom>
          <a:ln w="19050">
            <a:solidFill>
              <a:srgbClr val="DF950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2" name="Straight Connector 151">
            <a:extLst>
              <a:ext uri="{FF2B5EF4-FFF2-40B4-BE49-F238E27FC236}">
                <a16:creationId xmlns:a16="http://schemas.microsoft.com/office/drawing/2014/main" id="{E5BBF380-888F-C090-AA97-B8316559F0A3}"/>
              </a:ext>
            </a:extLst>
          </p:cNvPr>
          <p:cNvCxnSpPr>
            <a:cxnSpLocks/>
          </p:cNvCxnSpPr>
          <p:nvPr/>
        </p:nvCxnSpPr>
        <p:spPr>
          <a:xfrm rot="16200000">
            <a:off x="5233712" y="3485479"/>
            <a:ext cx="0" cy="40710"/>
          </a:xfrm>
          <a:prstGeom prst="line">
            <a:avLst/>
          </a:prstGeom>
          <a:ln w="19050">
            <a:solidFill>
              <a:srgbClr val="DF950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9" name="Straight Connector 148">
            <a:extLst>
              <a:ext uri="{FF2B5EF4-FFF2-40B4-BE49-F238E27FC236}">
                <a16:creationId xmlns:a16="http://schemas.microsoft.com/office/drawing/2014/main" id="{C0B7B894-1CCA-146B-E63B-E83A3F1AF1CC}"/>
              </a:ext>
            </a:extLst>
          </p:cNvPr>
          <p:cNvCxnSpPr>
            <a:cxnSpLocks/>
          </p:cNvCxnSpPr>
          <p:nvPr/>
        </p:nvCxnSpPr>
        <p:spPr>
          <a:xfrm>
            <a:off x="5473360" y="3484632"/>
            <a:ext cx="0" cy="42404"/>
          </a:xfrm>
          <a:prstGeom prst="line">
            <a:avLst/>
          </a:prstGeom>
          <a:ln w="19050">
            <a:solidFill>
              <a:srgbClr val="DF950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0" name="Straight Connector 149">
            <a:extLst>
              <a:ext uri="{FF2B5EF4-FFF2-40B4-BE49-F238E27FC236}">
                <a16:creationId xmlns:a16="http://schemas.microsoft.com/office/drawing/2014/main" id="{06252DBC-E3EC-A6F0-C97F-861910A7463F}"/>
              </a:ext>
            </a:extLst>
          </p:cNvPr>
          <p:cNvCxnSpPr>
            <a:cxnSpLocks/>
          </p:cNvCxnSpPr>
          <p:nvPr/>
        </p:nvCxnSpPr>
        <p:spPr>
          <a:xfrm rot="16200000">
            <a:off x="5473360" y="3485479"/>
            <a:ext cx="0" cy="40710"/>
          </a:xfrm>
          <a:prstGeom prst="line">
            <a:avLst/>
          </a:prstGeom>
          <a:ln w="19050">
            <a:solidFill>
              <a:srgbClr val="DF950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6" name="Straight Connector 115">
            <a:extLst>
              <a:ext uri="{FF2B5EF4-FFF2-40B4-BE49-F238E27FC236}">
                <a16:creationId xmlns:a16="http://schemas.microsoft.com/office/drawing/2014/main" id="{2711B87A-8F9E-E031-6856-A2E90E743FC4}"/>
              </a:ext>
            </a:extLst>
          </p:cNvPr>
          <p:cNvCxnSpPr/>
          <p:nvPr/>
        </p:nvCxnSpPr>
        <p:spPr>
          <a:xfrm>
            <a:off x="1374760" y="2413841"/>
            <a:ext cx="54769" cy="0"/>
          </a:xfrm>
          <a:prstGeom prst="line">
            <a:avLst/>
          </a:prstGeom>
          <a:ln w="19050">
            <a:solidFill>
              <a:srgbClr val="DF950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1" name="Straight Connector 210">
            <a:extLst>
              <a:ext uri="{FF2B5EF4-FFF2-40B4-BE49-F238E27FC236}">
                <a16:creationId xmlns:a16="http://schemas.microsoft.com/office/drawing/2014/main" id="{6FD89AEF-D063-81A1-F4E4-43AA89F9550C}"/>
              </a:ext>
            </a:extLst>
          </p:cNvPr>
          <p:cNvCxnSpPr>
            <a:cxnSpLocks/>
          </p:cNvCxnSpPr>
          <p:nvPr/>
        </p:nvCxnSpPr>
        <p:spPr>
          <a:xfrm>
            <a:off x="1310587" y="2413801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2" name="Straight Connector 211">
            <a:extLst>
              <a:ext uri="{FF2B5EF4-FFF2-40B4-BE49-F238E27FC236}">
                <a16:creationId xmlns:a16="http://schemas.microsoft.com/office/drawing/2014/main" id="{EEDB8EE5-A16E-E8E9-02F6-A75427668431}"/>
              </a:ext>
            </a:extLst>
          </p:cNvPr>
          <p:cNvCxnSpPr>
            <a:cxnSpLocks/>
          </p:cNvCxnSpPr>
          <p:nvPr/>
        </p:nvCxnSpPr>
        <p:spPr>
          <a:xfrm>
            <a:off x="1381132" y="2409079"/>
            <a:ext cx="0" cy="182880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3" name="Content Placeholder 1">
            <a:extLst>
              <a:ext uri="{FF2B5EF4-FFF2-40B4-BE49-F238E27FC236}">
                <a16:creationId xmlns:a16="http://schemas.microsoft.com/office/drawing/2014/main" id="{6E01938E-C65E-02A8-90E6-C6C1EF64F36F}"/>
              </a:ext>
            </a:extLst>
          </p:cNvPr>
          <p:cNvSpPr txBox="1">
            <a:spLocks/>
          </p:cNvSpPr>
          <p:nvPr/>
        </p:nvSpPr>
        <p:spPr>
          <a:xfrm>
            <a:off x="4092108" y="2360391"/>
            <a:ext cx="1647070" cy="624210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500" b="1" i="0" u="none" strike="noStrike" kern="1200" cap="none" spc="0" normalizeH="0" baseline="0" noProof="0" dirty="0">
                <a:ln>
                  <a:noFill/>
                </a:ln>
                <a:solidFill>
                  <a:srgbClr val="585854">
                    <a:lumMod val="75000"/>
                    <a:lumOff val="2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Median PFS</a:t>
            </a:r>
            <a:r>
              <a:rPr kumimoji="0" lang="en-GB" sz="1500" b="0" i="0" u="none" strike="noStrike" kern="1200" cap="none" spc="0" normalizeH="0" baseline="30000" noProof="0" dirty="0">
                <a:ln>
                  <a:noFill/>
                </a:ln>
                <a:solidFill>
                  <a:srgbClr val="585854">
                    <a:lumMod val="75000"/>
                    <a:lumOff val="2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b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585854">
                    <a:lumMod val="75000"/>
                    <a:lumOff val="2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GB" sz="1900" b="1" i="0" u="none" strike="noStrike" kern="1200" cap="none" spc="0" normalizeH="0" baseline="0" noProof="0" dirty="0">
                <a:ln>
                  <a:noFill/>
                </a:ln>
                <a:solidFill>
                  <a:srgbClr val="DF9503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1.6 months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85854">
                    <a:lumMod val="75000"/>
                    <a:lumOff val="2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(95% CI: 5.7–45.7)</a:t>
            </a: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9547652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Title 8">
            <a:extLst>
              <a:ext uri="{FF2B5EF4-FFF2-40B4-BE49-F238E27FC236}">
                <a16:creationId xmlns:a16="http://schemas.microsoft.com/office/drawing/2014/main" id="{011A5D1A-E7A7-C406-8B54-53412041BD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0647" y="311858"/>
            <a:ext cx="9789459" cy="632402"/>
          </a:xfrm>
        </p:spPr>
        <p:txBody>
          <a:bodyPr/>
          <a:lstStyle/>
          <a:p>
            <a:r>
              <a:rPr lang="en-GB" dirty="0">
                <a:latin typeface="+mn-lt"/>
              </a:rPr>
              <a:t>Tafa</a:t>
            </a:r>
            <a:r>
              <a:rPr lang="en-CH" dirty="0" err="1">
                <a:latin typeface="+mn-lt"/>
              </a:rPr>
              <a:t>sitamab</a:t>
            </a:r>
            <a:r>
              <a:rPr lang="en-GB" dirty="0">
                <a:latin typeface="+mn-lt"/>
              </a:rPr>
              <a:t>-</a:t>
            </a:r>
            <a:r>
              <a:rPr lang="en-GB" dirty="0" err="1">
                <a:latin typeface="+mn-lt"/>
              </a:rPr>
              <a:t>len</a:t>
            </a:r>
            <a:r>
              <a:rPr lang="en-CH" dirty="0" err="1">
                <a:latin typeface="+mn-lt"/>
              </a:rPr>
              <a:t>alidomide</a:t>
            </a:r>
            <a:r>
              <a:rPr lang="en-GB" dirty="0">
                <a:latin typeface="+mn-lt"/>
              </a:rPr>
              <a:t> use in the real world</a:t>
            </a:r>
            <a:endParaRPr lang="en-GB" spc="0" dirty="0">
              <a:solidFill>
                <a:srgbClr val="FCB813"/>
              </a:solidFill>
              <a:latin typeface="+mn-lt"/>
              <a:ea typeface="Calibri"/>
              <a:cs typeface="Calibri"/>
            </a:endParaRPr>
          </a:p>
        </p:txBody>
      </p:sp>
      <p:sp>
        <p:nvSpPr>
          <p:cNvPr id="48" name="Slide Number Placeholder 6">
            <a:extLst>
              <a:ext uri="{FF2B5EF4-FFF2-40B4-BE49-F238E27FC236}">
                <a16:creationId xmlns:a16="http://schemas.microsoft.com/office/drawing/2014/main" id="{C2A8C96C-403A-F822-DC8C-645338003A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948FB62-8746-4D0D-BA71-8EB1BEE683ED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8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9" name="Text Placeholder 9">
            <a:extLst>
              <a:ext uri="{FF2B5EF4-FFF2-40B4-BE49-F238E27FC236}">
                <a16:creationId xmlns:a16="http://schemas.microsoft.com/office/drawing/2014/main" id="{A1C0CFC0-758A-26AC-D446-7AF1E6C4EE6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70645" y="6010995"/>
            <a:ext cx="10440000" cy="708956"/>
          </a:xfrm>
        </p:spPr>
        <p:txBody>
          <a:bodyPr/>
          <a:lstStyle/>
          <a:p>
            <a:r>
              <a:rPr lang="en-GB" b="1" dirty="0"/>
              <a:t>Direct comparisons between study results cannot be made due to differences in study design, patient populations, and endpoints; the information is presented for contextual purposes only. </a:t>
            </a:r>
          </a:p>
          <a:p>
            <a:r>
              <a:rPr kumimoji="0" lang="en-GB" sz="9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*89% of patients would have been ineligible for L-MIND. †63% </a:t>
            </a:r>
            <a:r>
              <a:rPr kumimoji="0" lang="en-CH" sz="9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of patients </a:t>
            </a:r>
            <a:r>
              <a:rPr kumimoji="0" lang="en-GB" sz="9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would have been ineligible for L-MIND.</a:t>
            </a:r>
          </a:p>
          <a:p>
            <a:r>
              <a:rPr lang="en-GB" dirty="0"/>
              <a:t>2L, second line; 3L+, third line or later; </a:t>
            </a:r>
            <a:r>
              <a:rPr lang="en-CH" dirty="0"/>
              <a:t>CR, complete response; </a:t>
            </a:r>
            <a:r>
              <a:rPr lang="en-GB" dirty="0"/>
              <a:t>IQR, interquartile range; LoT, line of therapy; mo, months; mOS, median overall survival; mPFS, median progression-free survival; </a:t>
            </a:r>
            <a:endParaRPr lang="en-CH" dirty="0"/>
          </a:p>
          <a:p>
            <a:r>
              <a:rPr lang="en-GB" dirty="0"/>
              <a:t>NA, not available</a:t>
            </a:r>
            <a:r>
              <a:rPr lang="en-CH" dirty="0"/>
              <a:t>; NR, not reported</a:t>
            </a:r>
            <a:r>
              <a:rPr lang="en-GB" dirty="0"/>
              <a:t>.</a:t>
            </a:r>
            <a:r>
              <a:rPr lang="en-CH" dirty="0"/>
              <a:t> </a:t>
            </a:r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1. </a:t>
            </a:r>
            <a:r>
              <a:rPr kumimoji="0" lang="en-GB" sz="9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Duell et al. </a:t>
            </a:r>
            <a:r>
              <a:rPr kumimoji="0" lang="en-GB" sz="900" i="1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Haematologica</a:t>
            </a:r>
            <a:r>
              <a:rPr kumimoji="0" lang="en-GB" sz="900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GB" sz="9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2021 </a:t>
            </a:r>
            <a:r>
              <a:rPr kumimoji="0" lang="en-GB" sz="900" b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2. </a:t>
            </a:r>
            <a:r>
              <a:rPr lang="en-GB" dirty="0"/>
              <a:t>Hamadani et al. ASH 2022; Poster #3598 </a:t>
            </a:r>
            <a:r>
              <a:rPr lang="en-GB" b="1" dirty="0"/>
              <a:t>3.</a:t>
            </a:r>
            <a:r>
              <a:rPr lang="en-GB" dirty="0"/>
              <a:t> </a:t>
            </a:r>
            <a:r>
              <a:rPr kumimoji="0" lang="en-GB" sz="9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Qualls et al. </a:t>
            </a:r>
            <a:r>
              <a:rPr kumimoji="0" lang="en-GB" sz="900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Blood </a:t>
            </a:r>
            <a:r>
              <a:rPr kumimoji="0" lang="en-GB" sz="9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2023 </a:t>
            </a:r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4. </a:t>
            </a:r>
            <a:r>
              <a:rPr lang="en-GB" dirty="0"/>
              <a:t>Ruckdeschel et al. ASH 2023; Poster #1771 </a:t>
            </a:r>
            <a:endParaRPr lang="en-CH" dirty="0"/>
          </a:p>
          <a:p>
            <a:r>
              <a:rPr lang="en-GB" b="1" dirty="0"/>
              <a:t>5.</a:t>
            </a:r>
            <a:r>
              <a:rPr lang="en-GB" dirty="0"/>
              <a:t> </a:t>
            </a:r>
            <a:r>
              <a:rPr lang="fr-FR" dirty="0" err="1"/>
              <a:t>Herbaux</a:t>
            </a:r>
            <a:r>
              <a:rPr lang="fr-FR" dirty="0"/>
              <a:t> et al. EHA 2024; Poster #P1214 </a:t>
            </a:r>
            <a:r>
              <a:rPr lang="fr-FR" b="1" dirty="0"/>
              <a:t>6. </a:t>
            </a:r>
            <a:r>
              <a:rPr lang="fr-FR" dirty="0"/>
              <a:t>Gutiérrez et al. </a:t>
            </a:r>
            <a:r>
              <a:rPr lang="en-GB" i="1" dirty="0"/>
              <a:t>Blood Adv </a:t>
            </a:r>
            <a:r>
              <a:rPr lang="en-GB" dirty="0"/>
              <a:t>2025 </a:t>
            </a:r>
            <a:r>
              <a:rPr lang="en-GB" b="1" dirty="0"/>
              <a:t>7.</a:t>
            </a:r>
            <a:r>
              <a:rPr lang="en-GB" dirty="0"/>
              <a:t> </a:t>
            </a:r>
            <a:r>
              <a:rPr lang="en-GB" dirty="0" err="1"/>
              <a:t>Saverno</a:t>
            </a:r>
            <a:r>
              <a:rPr lang="en-GB" dirty="0"/>
              <a:t> et al. ASH 2024; Poster #2375 </a:t>
            </a:r>
            <a:r>
              <a:rPr lang="en-GB" b="1" dirty="0"/>
              <a:t>8.</a:t>
            </a:r>
            <a:r>
              <a:rPr lang="en-GB" dirty="0"/>
              <a:t> </a:t>
            </a:r>
            <a:r>
              <a:rPr lang="en-GB" dirty="0" err="1"/>
              <a:t>Argnani</a:t>
            </a:r>
            <a:r>
              <a:rPr lang="en-GB" dirty="0"/>
              <a:t> et al. </a:t>
            </a:r>
            <a:r>
              <a:rPr lang="en-GB" i="1" dirty="0" err="1"/>
              <a:t>Hematol</a:t>
            </a:r>
            <a:r>
              <a:rPr lang="en-GB" i="1" dirty="0"/>
              <a:t> Oncol</a:t>
            </a:r>
            <a:r>
              <a:rPr lang="en-GB" dirty="0"/>
              <a:t> 2026.</a:t>
            </a:r>
          </a:p>
        </p:txBody>
      </p:sp>
      <p:graphicFrame>
        <p:nvGraphicFramePr>
          <p:cNvPr id="28" name="Table 6">
            <a:extLst>
              <a:ext uri="{FF2B5EF4-FFF2-40B4-BE49-F238E27FC236}">
                <a16:creationId xmlns:a16="http://schemas.microsoft.com/office/drawing/2014/main" id="{1672E4EC-4350-93DB-246F-30E66268BFD9}"/>
              </a:ext>
            </a:extLst>
          </p:cNvPr>
          <p:cNvGraphicFramePr>
            <a:graphicFrameLocks/>
          </p:cNvGraphicFramePr>
          <p:nvPr/>
        </p:nvGraphicFramePr>
        <p:xfrm>
          <a:off x="470647" y="1395869"/>
          <a:ext cx="10851027" cy="4023360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2125086">
                  <a:extLst>
                    <a:ext uri="{9D8B030D-6E8A-4147-A177-3AD203B41FA5}">
                      <a16:colId xmlns:a16="http://schemas.microsoft.com/office/drawing/2014/main" val="869480336"/>
                    </a:ext>
                  </a:extLst>
                </a:gridCol>
                <a:gridCol w="790733">
                  <a:extLst>
                    <a:ext uri="{9D8B030D-6E8A-4147-A177-3AD203B41FA5}">
                      <a16:colId xmlns:a16="http://schemas.microsoft.com/office/drawing/2014/main" val="2727456033"/>
                    </a:ext>
                  </a:extLst>
                </a:gridCol>
                <a:gridCol w="1606969">
                  <a:extLst>
                    <a:ext uri="{9D8B030D-6E8A-4147-A177-3AD203B41FA5}">
                      <a16:colId xmlns:a16="http://schemas.microsoft.com/office/drawing/2014/main" val="2982722857"/>
                    </a:ext>
                  </a:extLst>
                </a:gridCol>
                <a:gridCol w="828675">
                  <a:extLst>
                    <a:ext uri="{9D8B030D-6E8A-4147-A177-3AD203B41FA5}">
                      <a16:colId xmlns:a16="http://schemas.microsoft.com/office/drawing/2014/main" val="605296584"/>
                    </a:ext>
                  </a:extLst>
                </a:gridCol>
                <a:gridCol w="1094079">
                  <a:extLst>
                    <a:ext uri="{9D8B030D-6E8A-4147-A177-3AD203B41FA5}">
                      <a16:colId xmlns:a16="http://schemas.microsoft.com/office/drawing/2014/main" val="3124790124"/>
                    </a:ext>
                  </a:extLst>
                </a:gridCol>
                <a:gridCol w="1004682">
                  <a:extLst>
                    <a:ext uri="{9D8B030D-6E8A-4147-A177-3AD203B41FA5}">
                      <a16:colId xmlns:a16="http://schemas.microsoft.com/office/drawing/2014/main" val="2446632181"/>
                    </a:ext>
                  </a:extLst>
                </a:gridCol>
                <a:gridCol w="1133601">
                  <a:extLst>
                    <a:ext uri="{9D8B030D-6E8A-4147-A177-3AD203B41FA5}">
                      <a16:colId xmlns:a16="http://schemas.microsoft.com/office/drawing/2014/main" val="764797172"/>
                    </a:ext>
                  </a:extLst>
                </a:gridCol>
                <a:gridCol w="1188970">
                  <a:extLst>
                    <a:ext uri="{9D8B030D-6E8A-4147-A177-3AD203B41FA5}">
                      <a16:colId xmlns:a16="http://schemas.microsoft.com/office/drawing/2014/main" val="854229230"/>
                    </a:ext>
                  </a:extLst>
                </a:gridCol>
                <a:gridCol w="1078232">
                  <a:extLst>
                    <a:ext uri="{9D8B030D-6E8A-4147-A177-3AD203B41FA5}">
                      <a16:colId xmlns:a16="http://schemas.microsoft.com/office/drawing/2014/main" val="466916810"/>
                    </a:ext>
                  </a:extLst>
                </a:gridCol>
              </a:tblGrid>
              <a:tr h="400948">
                <a:tc>
                  <a:txBody>
                    <a:bodyPr/>
                    <a:lstStyle/>
                    <a:p>
                      <a:endParaRPr lang="it-IT" sz="1200">
                        <a:solidFill>
                          <a:schemeClr val="bg1"/>
                        </a:solidFill>
                      </a:endParaRP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 err="1">
                          <a:solidFill>
                            <a:schemeClr val="bg1"/>
                          </a:solidFill>
                        </a:rPr>
                        <a:t>Pivotal</a:t>
                      </a:r>
                      <a:r>
                        <a:rPr lang="it-IT" sz="1200">
                          <a:solidFill>
                            <a:schemeClr val="bg1"/>
                          </a:solidFill>
                        </a:rPr>
                        <a:t> Study</a:t>
                      </a:r>
                    </a:p>
                    <a:p>
                      <a:pPr algn="ctr"/>
                      <a:r>
                        <a:rPr lang="it-IT" sz="1200">
                          <a:solidFill>
                            <a:schemeClr val="bg1"/>
                          </a:solidFill>
                        </a:rPr>
                        <a:t>L-MIND</a:t>
                      </a:r>
                      <a:r>
                        <a:rPr lang="it-IT" sz="1200" baseline="30000">
                          <a:solidFill>
                            <a:schemeClr val="bg1"/>
                          </a:solidFill>
                        </a:rPr>
                        <a:t>1</a:t>
                      </a:r>
                    </a:p>
                    <a:p>
                      <a:pPr algn="ctr"/>
                      <a:r>
                        <a:rPr lang="it-IT" sz="1200">
                          <a:solidFill>
                            <a:schemeClr val="bg1"/>
                          </a:solidFill>
                        </a:rPr>
                        <a:t>N=80</a:t>
                      </a: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Hamadani </a:t>
                      </a:r>
                    </a:p>
                    <a:p>
                      <a:pPr algn="ctr"/>
                      <a:r>
                        <a:rPr lang="it-IT" sz="1100">
                          <a:solidFill>
                            <a:schemeClr val="tx2"/>
                          </a:solidFill>
                        </a:rPr>
                        <a:t>2022</a:t>
                      </a:r>
                    </a:p>
                    <a:p>
                      <a:pPr algn="ctr"/>
                      <a:r>
                        <a:rPr lang="it-IT" sz="1100">
                          <a:solidFill>
                            <a:schemeClr val="tx2"/>
                          </a:solidFill>
                        </a:rPr>
                        <a:t>(US)</a:t>
                      </a:r>
                      <a:r>
                        <a:rPr lang="it-IT" sz="1100" baseline="30000">
                          <a:solidFill>
                            <a:schemeClr val="tx2"/>
                          </a:solidFill>
                        </a:rPr>
                        <a:t>2</a:t>
                      </a:r>
                    </a:p>
                    <a:p>
                      <a:pPr algn="ctr"/>
                      <a:r>
                        <a:rPr lang="it-IT" sz="1100">
                          <a:solidFill>
                            <a:schemeClr val="tx2"/>
                          </a:solidFill>
                        </a:rPr>
                        <a:t>N=34</a:t>
                      </a: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Qualls </a:t>
                      </a:r>
                    </a:p>
                    <a:p>
                      <a:pPr algn="ctr"/>
                      <a:r>
                        <a:rPr lang="it-IT" sz="1100">
                          <a:solidFill>
                            <a:schemeClr val="tx2"/>
                          </a:solidFill>
                        </a:rPr>
                        <a:t>2023 </a:t>
                      </a:r>
                    </a:p>
                    <a:p>
                      <a:pPr algn="ctr"/>
                      <a:r>
                        <a:rPr lang="it-IT" sz="1100">
                          <a:solidFill>
                            <a:schemeClr val="tx2"/>
                          </a:solidFill>
                        </a:rPr>
                        <a:t>(US)</a:t>
                      </a:r>
                      <a:r>
                        <a:rPr lang="it-IT" sz="1100" baseline="30000">
                          <a:solidFill>
                            <a:schemeClr val="tx2"/>
                          </a:solidFill>
                        </a:rPr>
                        <a:t>3,</a:t>
                      </a:r>
                      <a:r>
                        <a:rPr lang="it-IT" sz="1100" baseline="0">
                          <a:solidFill>
                            <a:schemeClr val="tx2"/>
                          </a:solidFill>
                        </a:rPr>
                        <a:t>*</a:t>
                      </a:r>
                    </a:p>
                    <a:p>
                      <a:pPr algn="ctr"/>
                      <a:r>
                        <a:rPr lang="it-IT" sz="1100">
                          <a:solidFill>
                            <a:schemeClr val="tx2"/>
                          </a:solidFill>
                        </a:rPr>
                        <a:t>N=178</a:t>
                      </a: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baseline="0" noProof="0">
                          <a:solidFill>
                            <a:schemeClr val="tx2"/>
                          </a:solidFill>
                          <a:effectLst/>
                        </a:rPr>
                        <a:t>Ruckdeschel</a:t>
                      </a:r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it-IT" sz="1100">
                          <a:solidFill>
                            <a:schemeClr val="tx2"/>
                          </a:solidFill>
                        </a:rPr>
                        <a:t>2023</a:t>
                      </a:r>
                    </a:p>
                    <a:p>
                      <a:pPr algn="ctr"/>
                      <a:r>
                        <a:rPr lang="it-IT" sz="1100">
                          <a:solidFill>
                            <a:schemeClr val="tx2"/>
                          </a:solidFill>
                        </a:rPr>
                        <a:t>(Germany)</a:t>
                      </a:r>
                      <a:r>
                        <a:rPr lang="it-IT" sz="1100" baseline="30000">
                          <a:solidFill>
                            <a:schemeClr val="tx2"/>
                          </a:solidFill>
                        </a:rPr>
                        <a:t>4,†</a:t>
                      </a:r>
                    </a:p>
                    <a:p>
                      <a:pPr algn="ctr"/>
                      <a:r>
                        <a:rPr lang="it-IT" sz="1100">
                          <a:solidFill>
                            <a:schemeClr val="tx2"/>
                          </a:solidFill>
                        </a:rPr>
                        <a:t>N=127</a:t>
                      </a: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baseline="0" noProof="0" err="1">
                          <a:solidFill>
                            <a:schemeClr val="tx2"/>
                          </a:solidFill>
                          <a:effectLst/>
                          <a:latin typeface="+mn-lt"/>
                          <a:ea typeface="Calibri"/>
                          <a:cs typeface="Calibri"/>
                        </a:rPr>
                        <a:t>Herbaux</a:t>
                      </a:r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 </a:t>
                      </a:r>
                    </a:p>
                    <a:p>
                      <a:pPr algn="ctr"/>
                      <a:r>
                        <a:rPr lang="it-IT" sz="1100">
                          <a:solidFill>
                            <a:schemeClr val="tx2"/>
                          </a:solidFill>
                        </a:rPr>
                        <a:t>2024</a:t>
                      </a:r>
                    </a:p>
                    <a:p>
                      <a:pPr algn="ctr"/>
                      <a:r>
                        <a:rPr lang="it-IT" sz="1100">
                          <a:solidFill>
                            <a:schemeClr val="tx2"/>
                          </a:solidFill>
                        </a:rPr>
                        <a:t>(France)</a:t>
                      </a:r>
                      <a:r>
                        <a:rPr lang="it-IT" sz="1100" baseline="30000">
                          <a:solidFill>
                            <a:schemeClr val="tx2"/>
                          </a:solidFill>
                        </a:rPr>
                        <a:t>5</a:t>
                      </a:r>
                    </a:p>
                    <a:p>
                      <a:pPr algn="ctr"/>
                      <a:r>
                        <a:rPr lang="it-IT" sz="1100">
                          <a:solidFill>
                            <a:schemeClr val="tx2"/>
                          </a:solidFill>
                        </a:rPr>
                        <a:t>N=186</a:t>
                      </a: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spc="-10" baseline="0" noProof="0">
                          <a:solidFill>
                            <a:schemeClr val="tx2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Gutiérrez</a:t>
                      </a:r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 </a:t>
                      </a:r>
                    </a:p>
                    <a:p>
                      <a:pPr algn="ctr"/>
                      <a:r>
                        <a:rPr lang="it-IT" sz="1100">
                          <a:solidFill>
                            <a:schemeClr val="tx2"/>
                          </a:solidFill>
                        </a:rPr>
                        <a:t>2025 </a:t>
                      </a:r>
                    </a:p>
                    <a:p>
                      <a:pPr algn="ctr"/>
                      <a:r>
                        <a:rPr lang="it-IT" sz="1100">
                          <a:solidFill>
                            <a:schemeClr val="tx2"/>
                          </a:solidFill>
                        </a:rPr>
                        <a:t>(Spain)</a:t>
                      </a:r>
                      <a:r>
                        <a:rPr lang="it-IT" sz="1100" baseline="30000">
                          <a:solidFill>
                            <a:schemeClr val="tx2"/>
                          </a:solidFill>
                        </a:rPr>
                        <a:t>6</a:t>
                      </a:r>
                    </a:p>
                    <a:p>
                      <a:pPr algn="ctr"/>
                      <a:r>
                        <a:rPr lang="it-IT" sz="1100">
                          <a:solidFill>
                            <a:schemeClr val="tx2"/>
                          </a:solidFill>
                        </a:rPr>
                        <a:t>N=83</a:t>
                      </a: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Saverno </a:t>
                      </a:r>
                      <a:br>
                        <a:rPr lang="it-IT" sz="1200">
                          <a:solidFill>
                            <a:schemeClr val="tx2"/>
                          </a:solidFill>
                        </a:rPr>
                      </a:br>
                      <a:r>
                        <a:rPr lang="it-IT" sz="1100">
                          <a:solidFill>
                            <a:schemeClr val="tx2"/>
                          </a:solidFill>
                        </a:rPr>
                        <a:t>2024</a:t>
                      </a:r>
                    </a:p>
                    <a:p>
                      <a:pPr algn="ctr"/>
                      <a:r>
                        <a:rPr lang="it-IT" sz="1100">
                          <a:solidFill>
                            <a:schemeClr val="tx2"/>
                          </a:solidFill>
                        </a:rPr>
                        <a:t>(US)</a:t>
                      </a:r>
                      <a:r>
                        <a:rPr lang="it-IT" sz="1100" baseline="30000">
                          <a:solidFill>
                            <a:schemeClr val="tx2"/>
                          </a:solidFill>
                        </a:rPr>
                        <a:t>7</a:t>
                      </a:r>
                    </a:p>
                    <a:p>
                      <a:pPr algn="ctr"/>
                      <a:r>
                        <a:rPr lang="it-IT" sz="1100">
                          <a:solidFill>
                            <a:schemeClr val="tx2"/>
                          </a:solidFill>
                        </a:rPr>
                        <a:t>N=181</a:t>
                      </a: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kern="120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Argnani 2026 (Italy)</a:t>
                      </a:r>
                      <a:r>
                        <a:rPr lang="en-GB" sz="1200" baseline="30000">
                          <a:latin typeface="+mn-lt"/>
                        </a:rPr>
                        <a:t>8</a:t>
                      </a:r>
                    </a:p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  <a:latin typeface="+mn-lt"/>
                        </a:rPr>
                        <a:t>N= 83</a:t>
                      </a:r>
                      <a:endParaRPr lang="it-IT" sz="1200" baseline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0849535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r>
                        <a:rPr lang="it-IT" sz="1200" b="1">
                          <a:solidFill>
                            <a:schemeClr val="tx2"/>
                          </a:solidFill>
                        </a:rPr>
                        <a:t>Age, </a:t>
                      </a:r>
                      <a:r>
                        <a:rPr lang="it-IT" sz="1200" b="1" err="1">
                          <a:solidFill>
                            <a:schemeClr val="tx2"/>
                          </a:solidFill>
                        </a:rPr>
                        <a:t>median</a:t>
                      </a:r>
                      <a:r>
                        <a:rPr lang="it-IT" sz="1200" b="1">
                          <a:solidFill>
                            <a:schemeClr val="tx2"/>
                          </a:solidFill>
                        </a:rPr>
                        <a:t> (range), </a:t>
                      </a:r>
                      <a:r>
                        <a:rPr lang="it-IT" sz="1200" b="1" err="1">
                          <a:solidFill>
                            <a:schemeClr val="tx2"/>
                          </a:solidFill>
                        </a:rPr>
                        <a:t>years</a:t>
                      </a:r>
                      <a:r>
                        <a:rPr lang="it-IT" sz="1200" b="1">
                          <a:solidFill>
                            <a:schemeClr val="tx2"/>
                          </a:solidFill>
                        </a:rPr>
                        <a:t> </a:t>
                      </a:r>
                    </a:p>
                  </a:txBody>
                  <a:tcP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72 </a:t>
                      </a:r>
                      <a:br>
                        <a:rPr lang="it-IT" sz="1200">
                          <a:solidFill>
                            <a:schemeClr val="tx2"/>
                          </a:solidFill>
                        </a:rPr>
                      </a:br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(41–86)</a:t>
                      </a:r>
                    </a:p>
                  </a:txBody>
                  <a:tcP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2L: 83 (IQR 75–87)</a:t>
                      </a:r>
                    </a:p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3L+: 68 (IQR 61–60)</a:t>
                      </a:r>
                    </a:p>
                  </a:txBody>
                  <a:tcP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75 </a:t>
                      </a:r>
                      <a:br>
                        <a:rPr lang="it-IT" sz="1200">
                          <a:solidFill>
                            <a:schemeClr val="tx2"/>
                          </a:solidFill>
                        </a:rPr>
                      </a:br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(26–94)</a:t>
                      </a:r>
                    </a:p>
                  </a:txBody>
                  <a:tcP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73 </a:t>
                      </a:r>
                      <a:br>
                        <a:rPr lang="it-IT" sz="1200">
                          <a:solidFill>
                            <a:schemeClr val="tx2"/>
                          </a:solidFill>
                        </a:rPr>
                      </a:br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(29–89)</a:t>
                      </a:r>
                    </a:p>
                  </a:txBody>
                  <a:tcP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72 </a:t>
                      </a:r>
                      <a:br>
                        <a:rPr lang="it-IT" sz="1200">
                          <a:solidFill>
                            <a:schemeClr val="tx2"/>
                          </a:solidFill>
                        </a:rPr>
                      </a:br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(32–93)</a:t>
                      </a:r>
                    </a:p>
                  </a:txBody>
                  <a:tcP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78</a:t>
                      </a:r>
                      <a:br>
                        <a:rPr lang="it-IT" sz="1200">
                          <a:solidFill>
                            <a:schemeClr val="tx2"/>
                          </a:solidFill>
                        </a:rPr>
                      </a:br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(47–93) </a:t>
                      </a:r>
                    </a:p>
                  </a:txBody>
                  <a:tcP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71 </a:t>
                      </a:r>
                      <a:br>
                        <a:rPr lang="it-IT" sz="1200">
                          <a:solidFill>
                            <a:schemeClr val="tx2"/>
                          </a:solidFill>
                        </a:rPr>
                      </a:br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(IQR 65.0–75.5)</a:t>
                      </a:r>
                    </a:p>
                  </a:txBody>
                  <a:tcP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74 </a:t>
                      </a:r>
                      <a:br>
                        <a:rPr lang="it-IT" sz="1200">
                          <a:solidFill>
                            <a:schemeClr val="tx2"/>
                          </a:solidFill>
                          <a:highlight>
                            <a:srgbClr val="FFFF00"/>
                          </a:highlight>
                        </a:rPr>
                      </a:br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(39–91)</a:t>
                      </a:r>
                    </a:p>
                  </a:txBody>
                  <a:tcP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76859340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r>
                        <a:rPr lang="it-IT" sz="1200" b="1">
                          <a:solidFill>
                            <a:schemeClr val="tx2"/>
                          </a:solidFill>
                        </a:rPr>
                        <a:t>ECOG PS ≥2, 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NA</a:t>
                      </a: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N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N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N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3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N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4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2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77207714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r>
                        <a:rPr lang="it-IT" sz="1200" b="1">
                          <a:solidFill>
                            <a:schemeClr val="tx2"/>
                          </a:solidFill>
                        </a:rPr>
                        <a:t>Median n of prior LoT (range)</a:t>
                      </a:r>
                    </a:p>
                  </a:txBody>
                  <a:tcPr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2 (1–4)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3L+: 2 </a:t>
                      </a:r>
                      <a:r>
                        <a:rPr lang="it-IT" sz="1200" err="1">
                          <a:solidFill>
                            <a:schemeClr val="tx2"/>
                          </a:solidFill>
                        </a:rPr>
                        <a:t>prior</a:t>
                      </a:r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 LoT, 50%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2 (0–11)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≥4 </a:t>
                      </a:r>
                      <a:r>
                        <a:rPr lang="it-IT" sz="1200" err="1">
                          <a:solidFill>
                            <a:schemeClr val="tx2"/>
                          </a:solidFill>
                        </a:rPr>
                        <a:t>prior</a:t>
                      </a:r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 LoT, 52%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(1–3)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2</a:t>
                      </a:r>
                      <a:br>
                        <a:rPr lang="it-IT" sz="1200">
                          <a:solidFill>
                            <a:schemeClr val="tx2"/>
                          </a:solidFill>
                        </a:rPr>
                      </a:br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(1–13) 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(2–4+)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NA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1511822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r>
                        <a:rPr lang="it-IT" sz="1200" b="1" err="1">
                          <a:solidFill>
                            <a:schemeClr val="tx2"/>
                          </a:solidFill>
                        </a:rPr>
                        <a:t>Refractory</a:t>
                      </a:r>
                      <a:r>
                        <a:rPr lang="it-IT" sz="1200" b="1">
                          <a:solidFill>
                            <a:schemeClr val="tx2"/>
                          </a:solidFill>
                        </a:rPr>
                        <a:t> to last therapy, %</a:t>
                      </a:r>
                    </a:p>
                  </a:txBody>
                  <a:tcP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44</a:t>
                      </a:r>
                    </a:p>
                  </a:txBody>
                  <a:tcP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NA</a:t>
                      </a:r>
                    </a:p>
                  </a:txBody>
                  <a:tcP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67</a:t>
                      </a:r>
                    </a:p>
                  </a:txBody>
                  <a:tcP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NA</a:t>
                      </a:r>
                    </a:p>
                  </a:txBody>
                  <a:tcP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72</a:t>
                      </a:r>
                    </a:p>
                  </a:txBody>
                  <a:tcP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55</a:t>
                      </a:r>
                    </a:p>
                  </a:txBody>
                  <a:tcP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NA</a:t>
                      </a:r>
                    </a:p>
                  </a:txBody>
                  <a:tcP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64</a:t>
                      </a:r>
                    </a:p>
                  </a:txBody>
                  <a:tcP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533358148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r>
                        <a:rPr lang="en-CH" sz="1200" b="1" dirty="0">
                          <a:solidFill>
                            <a:schemeClr val="tx2"/>
                          </a:solidFill>
                        </a:rPr>
                        <a:t>CR, %</a:t>
                      </a:r>
                      <a:endParaRPr lang="it-IT" sz="1200" b="1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H" sz="1200">
                          <a:solidFill>
                            <a:schemeClr val="tx2"/>
                          </a:solidFill>
                        </a:rPr>
                        <a:t>4</a:t>
                      </a:r>
                      <a:r>
                        <a:rPr lang="en-GB" sz="1200">
                          <a:solidFill>
                            <a:schemeClr val="tx2"/>
                          </a:solidFill>
                        </a:rPr>
                        <a:t>0</a:t>
                      </a:r>
                      <a:endParaRPr lang="it-IT" sz="1200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 dirty="0">
                          <a:solidFill>
                            <a:schemeClr val="tx2"/>
                          </a:solidFill>
                        </a:rPr>
                        <a:t>2L: </a:t>
                      </a:r>
                      <a:r>
                        <a:rPr lang="en-CH" sz="1200" dirty="0">
                          <a:solidFill>
                            <a:schemeClr val="tx2"/>
                          </a:solidFill>
                        </a:rPr>
                        <a:t>17</a:t>
                      </a:r>
                      <a:endParaRPr lang="it-IT" sz="1200" dirty="0">
                        <a:solidFill>
                          <a:schemeClr val="tx2"/>
                        </a:solidFill>
                      </a:endParaRPr>
                    </a:p>
                    <a:p>
                      <a:pPr algn="ctr"/>
                      <a:r>
                        <a:rPr lang="it-IT" sz="1200" dirty="0">
                          <a:solidFill>
                            <a:schemeClr val="tx2"/>
                          </a:solidFill>
                        </a:rPr>
                        <a:t>3L+: 1</a:t>
                      </a:r>
                      <a:r>
                        <a:rPr lang="en-CH" sz="1200" dirty="0">
                          <a:solidFill>
                            <a:schemeClr val="tx2"/>
                          </a:solidFill>
                        </a:rPr>
                        <a:t>0</a:t>
                      </a:r>
                      <a:endParaRPr lang="it-IT" sz="1200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H" sz="1200">
                          <a:solidFill>
                            <a:schemeClr val="tx2"/>
                          </a:solidFill>
                        </a:rPr>
                        <a:t>17</a:t>
                      </a:r>
                      <a:endParaRPr lang="it-IT" sz="120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H" sz="1200">
                          <a:solidFill>
                            <a:schemeClr val="tx2"/>
                          </a:solidFill>
                        </a:rPr>
                        <a:t>12</a:t>
                      </a:r>
                      <a:endParaRPr lang="it-IT" sz="120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H" sz="1200" dirty="0">
                          <a:solidFill>
                            <a:schemeClr val="tx2"/>
                          </a:solidFill>
                        </a:rPr>
                        <a:t>29</a:t>
                      </a:r>
                      <a:endParaRPr lang="it-IT" sz="1200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H" sz="1200" dirty="0">
                          <a:solidFill>
                            <a:schemeClr val="tx2"/>
                          </a:solidFill>
                        </a:rPr>
                        <a:t>42</a:t>
                      </a:r>
                      <a:endParaRPr lang="it-IT" sz="1200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H" sz="1200" dirty="0">
                          <a:solidFill>
                            <a:schemeClr val="tx2"/>
                          </a:solidFill>
                        </a:rPr>
                        <a:t>23</a:t>
                      </a:r>
                      <a:endParaRPr lang="it-IT" sz="1200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H" sz="1200" dirty="0">
                          <a:solidFill>
                            <a:schemeClr val="tx2"/>
                          </a:solidFill>
                        </a:rPr>
                        <a:t>29</a:t>
                      </a:r>
                      <a:endParaRPr lang="it-IT" sz="1200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6429686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r>
                        <a:rPr lang="it-IT" sz="1200" b="1" dirty="0" err="1">
                          <a:solidFill>
                            <a:schemeClr val="tx2"/>
                          </a:solidFill>
                        </a:rPr>
                        <a:t>mPFS</a:t>
                      </a:r>
                      <a:r>
                        <a:rPr lang="it-IT" sz="1200" b="1" dirty="0">
                          <a:solidFill>
                            <a:schemeClr val="tx2"/>
                          </a:solidFill>
                        </a:rPr>
                        <a:t>, </a:t>
                      </a:r>
                      <a:r>
                        <a:rPr lang="it-IT" sz="1200" b="1" dirty="0" err="1">
                          <a:solidFill>
                            <a:schemeClr val="tx2"/>
                          </a:solidFill>
                        </a:rPr>
                        <a:t>mo</a:t>
                      </a:r>
                      <a:r>
                        <a:rPr lang="en-CH" sz="1200" b="1" dirty="0" err="1">
                          <a:solidFill>
                            <a:schemeClr val="tx2"/>
                          </a:solidFill>
                        </a:rPr>
                        <a:t>nths</a:t>
                      </a:r>
                      <a:endParaRPr lang="it-IT" sz="1200" b="1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12.1 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2L: 4.9</a:t>
                      </a:r>
                    </a:p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3L+: 1.9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1.9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3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4.7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10.9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11.3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4.5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95033715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r>
                        <a:rPr lang="it-IT" sz="1200" b="1" dirty="0" err="1">
                          <a:solidFill>
                            <a:schemeClr val="tx2"/>
                          </a:solidFill>
                        </a:rPr>
                        <a:t>mOS</a:t>
                      </a:r>
                      <a:r>
                        <a:rPr lang="it-IT" sz="1200" b="1" dirty="0">
                          <a:solidFill>
                            <a:schemeClr val="tx2"/>
                          </a:solidFill>
                        </a:rPr>
                        <a:t>, </a:t>
                      </a:r>
                      <a:r>
                        <a:rPr lang="it-IT" sz="1200" b="1" dirty="0" err="1">
                          <a:solidFill>
                            <a:schemeClr val="tx2"/>
                          </a:solidFill>
                        </a:rPr>
                        <a:t>mo</a:t>
                      </a:r>
                      <a:r>
                        <a:rPr lang="en-CH" sz="1200" b="1" dirty="0" err="1">
                          <a:solidFill>
                            <a:schemeClr val="tx2"/>
                          </a:solidFill>
                        </a:rPr>
                        <a:t>nths</a:t>
                      </a:r>
                      <a:endParaRPr lang="it-IT" sz="1200" b="1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NR 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2L: 13</a:t>
                      </a:r>
                    </a:p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3L+: 6.0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6.5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8.9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10.0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12.2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24.8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 dirty="0">
                          <a:solidFill>
                            <a:schemeClr val="tx2"/>
                          </a:solidFill>
                        </a:rPr>
                        <a:t>8.6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7822318"/>
                  </a:ext>
                </a:extLst>
              </a:tr>
            </a:tbl>
          </a:graphicData>
        </a:graphic>
      </p:graphicFrame>
      <p:sp>
        <p:nvSpPr>
          <p:cNvPr id="29" name="Rectangle 28">
            <a:extLst>
              <a:ext uri="{FF2B5EF4-FFF2-40B4-BE49-F238E27FC236}">
                <a16:creationId xmlns:a16="http://schemas.microsoft.com/office/drawing/2014/main" id="{3E72D821-A12C-3D7D-85C6-DAF164123EFB}"/>
              </a:ext>
            </a:extLst>
          </p:cNvPr>
          <p:cNvSpPr/>
          <p:nvPr/>
        </p:nvSpPr>
        <p:spPr>
          <a:xfrm>
            <a:off x="470647" y="4047560"/>
            <a:ext cx="10851027" cy="1371669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1418611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2443E0-2BB2-06AC-1644-1DBE985004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ptos"/>
              </a:rPr>
              <a:t>Clinical decisions are bound to multiple factors</a:t>
            </a:r>
            <a:r>
              <a:rPr lang="en-US" baseline="30000" dirty="0">
                <a:latin typeface="Aptos"/>
              </a:rPr>
              <a:t>1</a:t>
            </a:r>
            <a:r>
              <a:rPr lang="en-US" dirty="0">
                <a:latin typeface="Aptos"/>
              </a:rPr>
              <a:t>: Not all are elucidated, and each move has implications</a:t>
            </a:r>
            <a:endParaRPr lang="en-US" baseline="3000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67D5B45-53B7-B32C-F4F1-3DC77799D3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01CC8E-1CEF-6746-999E-CF29FF00B1D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82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9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7C1C34F-8A96-3DDB-EB6B-7535002E493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GB"/>
              <a:t>2L, second line; ECOG PS, Eastern Cooperative Oncology Group performance status.</a:t>
            </a:r>
          </a:p>
          <a:p>
            <a:r>
              <a:rPr lang="en-GB" b="1"/>
              <a:t>1. </a:t>
            </a:r>
            <a:r>
              <a:rPr lang="en-GB"/>
              <a:t>Brooks &amp; Caimi. </a:t>
            </a:r>
            <a:r>
              <a:rPr lang="en-GB" i="1"/>
              <a:t>Blood Rev</a:t>
            </a:r>
            <a:r>
              <a:rPr lang="en-GB"/>
              <a:t> 2024.</a:t>
            </a:r>
            <a:endParaRPr lang="en-GB" b="1"/>
          </a:p>
        </p:txBody>
      </p:sp>
      <p:sp>
        <p:nvSpPr>
          <p:cNvPr id="515" name="Free-form: Shape 514">
            <a:extLst>
              <a:ext uri="{FF2B5EF4-FFF2-40B4-BE49-F238E27FC236}">
                <a16:creationId xmlns:a16="http://schemas.microsoft.com/office/drawing/2014/main" id="{00179123-1883-4543-6447-5222B60FA871}"/>
              </a:ext>
            </a:extLst>
          </p:cNvPr>
          <p:cNvSpPr/>
          <p:nvPr/>
        </p:nvSpPr>
        <p:spPr>
          <a:xfrm>
            <a:off x="5448498" y="2469783"/>
            <a:ext cx="880396" cy="841622"/>
          </a:xfrm>
          <a:custGeom>
            <a:avLst/>
            <a:gdLst>
              <a:gd name="csX0" fmla="*/ 401579 w 1609516"/>
              <a:gd name="csY0" fmla="*/ 1495809 h 1538630"/>
              <a:gd name="csX1" fmla="*/ 400190 w 1609516"/>
              <a:gd name="csY1" fmla="*/ 1496004 h 1538630"/>
              <a:gd name="csX2" fmla="*/ 401224 w 1609516"/>
              <a:gd name="csY2" fmla="*/ 1496470 h 1538630"/>
              <a:gd name="csX3" fmla="*/ 401224 w 1609516"/>
              <a:gd name="csY3" fmla="*/ 1498590 h 1538630"/>
              <a:gd name="csX4" fmla="*/ 401579 w 1609516"/>
              <a:gd name="csY4" fmla="*/ 1498628 h 1538630"/>
              <a:gd name="csX5" fmla="*/ 401579 w 1609516"/>
              <a:gd name="csY5" fmla="*/ 1495809 h 1538630"/>
              <a:gd name="csX6" fmla="*/ 368755 w 1609516"/>
              <a:gd name="csY6" fmla="*/ 1486512 h 1538630"/>
              <a:gd name="csX7" fmla="*/ 364089 w 1609516"/>
              <a:gd name="csY7" fmla="*/ 1487354 h 1538630"/>
              <a:gd name="csX8" fmla="*/ 364089 w 1609516"/>
              <a:gd name="csY8" fmla="*/ 1487908 h 1538630"/>
              <a:gd name="csX9" fmla="*/ 1049801 w 1609516"/>
              <a:gd name="csY9" fmla="*/ 1484562 h 1538630"/>
              <a:gd name="csX10" fmla="*/ 1046735 w 1609516"/>
              <a:gd name="csY10" fmla="*/ 1485945 h 1538630"/>
              <a:gd name="csX11" fmla="*/ 1046955 w 1609516"/>
              <a:gd name="csY11" fmla="*/ 1486045 h 1538630"/>
              <a:gd name="csX12" fmla="*/ 1049801 w 1609516"/>
              <a:gd name="csY12" fmla="*/ 1485188 h 1538630"/>
              <a:gd name="csX13" fmla="*/ 351234 w 1609516"/>
              <a:gd name="csY13" fmla="*/ 1444508 h 1538630"/>
              <a:gd name="csX14" fmla="*/ 351234 w 1609516"/>
              <a:gd name="csY14" fmla="*/ 1444997 h 1538630"/>
              <a:gd name="csX15" fmla="*/ 351592 w 1609516"/>
              <a:gd name="csY15" fmla="*/ 1445078 h 1538630"/>
              <a:gd name="csX16" fmla="*/ 351908 w 1609516"/>
              <a:gd name="csY16" fmla="*/ 1431206 h 1538630"/>
              <a:gd name="csX17" fmla="*/ 351234 w 1609516"/>
              <a:gd name="csY17" fmla="*/ 1431611 h 1538630"/>
              <a:gd name="csX18" fmla="*/ 351234 w 1609516"/>
              <a:gd name="csY18" fmla="*/ 1432274 h 1538630"/>
              <a:gd name="csX19" fmla="*/ 358162 w 1609516"/>
              <a:gd name="csY19" fmla="*/ 1421494 h 1538630"/>
              <a:gd name="csX20" fmla="*/ 355921 w 1609516"/>
              <a:gd name="csY20" fmla="*/ 1423156 h 1538630"/>
              <a:gd name="csX21" fmla="*/ 355921 w 1609516"/>
              <a:gd name="csY21" fmla="*/ 1423548 h 1538630"/>
              <a:gd name="csX22" fmla="*/ 376098 w 1609516"/>
              <a:gd name="csY22" fmla="*/ 1408347 h 1538630"/>
              <a:gd name="csX23" fmla="*/ 370750 w 1609516"/>
              <a:gd name="csY23" fmla="*/ 1412245 h 1538630"/>
              <a:gd name="csX24" fmla="*/ 375023 w 1609516"/>
              <a:gd name="csY24" fmla="*/ 1411256 h 1538630"/>
              <a:gd name="csX25" fmla="*/ 421956 w 1609516"/>
              <a:gd name="csY25" fmla="*/ 1365623 h 1538630"/>
              <a:gd name="csX26" fmla="*/ 421765 w 1609516"/>
              <a:gd name="csY26" fmla="*/ 1366161 h 1538630"/>
              <a:gd name="csX27" fmla="*/ 421887 w 1609516"/>
              <a:gd name="csY27" fmla="*/ 1366161 h 1538630"/>
              <a:gd name="csX28" fmla="*/ 754553 w 1609516"/>
              <a:gd name="csY28" fmla="*/ 1360575 h 1538630"/>
              <a:gd name="csX29" fmla="*/ 754089 w 1609516"/>
              <a:gd name="csY29" fmla="*/ 1361433 h 1538630"/>
              <a:gd name="csX30" fmla="*/ 754431 w 1609516"/>
              <a:gd name="csY30" fmla="*/ 1361125 h 1538630"/>
              <a:gd name="csX31" fmla="*/ 1277973 w 1609516"/>
              <a:gd name="csY31" fmla="*/ 1332923 h 1538630"/>
              <a:gd name="csX32" fmla="*/ 1277944 w 1609516"/>
              <a:gd name="csY32" fmla="*/ 1332936 h 1538630"/>
              <a:gd name="csX33" fmla="*/ 1277949 w 1609516"/>
              <a:gd name="csY33" fmla="*/ 1333139 h 1538630"/>
              <a:gd name="csX34" fmla="*/ 1268556 w 1609516"/>
              <a:gd name="csY34" fmla="*/ 1321066 h 1538630"/>
              <a:gd name="csX35" fmla="*/ 1268556 w 1609516"/>
              <a:gd name="csY35" fmla="*/ 1325294 h 1538630"/>
              <a:gd name="csX36" fmla="*/ 1265432 w 1609516"/>
              <a:gd name="csY36" fmla="*/ 1325294 h 1538630"/>
              <a:gd name="csX37" fmla="*/ 1265432 w 1609516"/>
              <a:gd name="csY37" fmla="*/ 1340795 h 1538630"/>
              <a:gd name="csX38" fmla="*/ 1265476 w 1609516"/>
              <a:gd name="csY38" fmla="*/ 1340714 h 1538630"/>
              <a:gd name="csX39" fmla="*/ 1265476 w 1609516"/>
              <a:gd name="csY39" fmla="*/ 1325877 h 1538630"/>
              <a:gd name="csX40" fmla="*/ 1268600 w 1609516"/>
              <a:gd name="csY40" fmla="*/ 1325877 h 1538630"/>
              <a:gd name="csX41" fmla="*/ 1268600 w 1609516"/>
              <a:gd name="csY41" fmla="*/ 1321649 h 1538630"/>
              <a:gd name="csX42" fmla="*/ 1273286 w 1609516"/>
              <a:gd name="csY42" fmla="*/ 1321649 h 1538630"/>
              <a:gd name="csX43" fmla="*/ 1273227 w 1609516"/>
              <a:gd name="csY43" fmla="*/ 1321066 h 1538630"/>
              <a:gd name="csX44" fmla="*/ 827891 w 1609516"/>
              <a:gd name="csY44" fmla="*/ 1291474 h 1538630"/>
              <a:gd name="csX45" fmla="*/ 822601 w 1609516"/>
              <a:gd name="csY45" fmla="*/ 1291544 h 1538630"/>
              <a:gd name="csX46" fmla="*/ 818272 w 1609516"/>
              <a:gd name="csY46" fmla="*/ 1292220 h 1538630"/>
              <a:gd name="csX47" fmla="*/ 827891 w 1609516"/>
              <a:gd name="csY47" fmla="*/ 1292047 h 1538630"/>
              <a:gd name="csX48" fmla="*/ 856397 w 1609516"/>
              <a:gd name="csY48" fmla="*/ 1288691 h 1538630"/>
              <a:gd name="csX49" fmla="*/ 865903 w 1609516"/>
              <a:gd name="csY49" fmla="*/ 1290590 h 1538630"/>
              <a:gd name="csX50" fmla="*/ 859999 w 1609516"/>
              <a:gd name="csY50" fmla="*/ 1288752 h 1538630"/>
              <a:gd name="csX51" fmla="*/ 834694 w 1609516"/>
              <a:gd name="csY51" fmla="*/ 1288572 h 1538630"/>
              <a:gd name="csX52" fmla="*/ 828038 w 1609516"/>
              <a:gd name="csY52" fmla="*/ 1288654 h 1538630"/>
              <a:gd name="csX53" fmla="*/ 828038 w 1609516"/>
              <a:gd name="csY53" fmla="*/ 1289214 h 1538630"/>
              <a:gd name="csX54" fmla="*/ 229746 w 1609516"/>
              <a:gd name="csY54" fmla="*/ 1191418 h 1538630"/>
              <a:gd name="csX55" fmla="*/ 227402 w 1609516"/>
              <a:gd name="csY55" fmla="*/ 1191947 h 1538630"/>
              <a:gd name="csX56" fmla="*/ 229315 w 1609516"/>
              <a:gd name="csY56" fmla="*/ 1191947 h 1538630"/>
              <a:gd name="csX57" fmla="*/ 229315 w 1609516"/>
              <a:gd name="csY57" fmla="*/ 1194765 h 1538630"/>
              <a:gd name="csX58" fmla="*/ 231321 w 1609516"/>
              <a:gd name="csY58" fmla="*/ 1194765 h 1538630"/>
              <a:gd name="csX59" fmla="*/ 229746 w 1609516"/>
              <a:gd name="csY59" fmla="*/ 1194236 h 1538630"/>
              <a:gd name="csX60" fmla="*/ 229746 w 1609516"/>
              <a:gd name="csY60" fmla="*/ 1191418 h 1538630"/>
              <a:gd name="csX61" fmla="*/ 215687 w 1609516"/>
              <a:gd name="csY61" fmla="*/ 1187190 h 1538630"/>
              <a:gd name="csX62" fmla="*/ 215198 w 1609516"/>
              <a:gd name="csY62" fmla="*/ 1187720 h 1538630"/>
              <a:gd name="csX63" fmla="*/ 215256 w 1609516"/>
              <a:gd name="csY63" fmla="*/ 1187720 h 1538630"/>
              <a:gd name="csX64" fmla="*/ 215256 w 1609516"/>
              <a:gd name="csY64" fmla="*/ 1191947 h 1538630"/>
              <a:gd name="csX65" fmla="*/ 222721 w 1609516"/>
              <a:gd name="csY65" fmla="*/ 1191947 h 1538630"/>
              <a:gd name="csX66" fmla="*/ 215687 w 1609516"/>
              <a:gd name="csY66" fmla="*/ 1191418 h 1538630"/>
              <a:gd name="csX67" fmla="*/ 215687 w 1609516"/>
              <a:gd name="csY67" fmla="*/ 1187190 h 1538630"/>
              <a:gd name="csX68" fmla="*/ 1279678 w 1609516"/>
              <a:gd name="csY68" fmla="*/ 1082356 h 1538630"/>
              <a:gd name="csX69" fmla="*/ 1271680 w 1609516"/>
              <a:gd name="csY69" fmla="*/ 1084589 h 1538630"/>
              <a:gd name="csX70" fmla="*/ 1282181 w 1609516"/>
              <a:gd name="csY70" fmla="*/ 1082544 h 1538630"/>
              <a:gd name="csX71" fmla="*/ 117703 w 1609516"/>
              <a:gd name="csY71" fmla="*/ 941507 h 1538630"/>
              <a:gd name="csX72" fmla="*/ 112587 w 1609516"/>
              <a:gd name="csY72" fmla="*/ 941985 h 1538630"/>
              <a:gd name="csX73" fmla="*/ 112565 w 1609516"/>
              <a:gd name="csY73" fmla="*/ 942333 h 1538630"/>
              <a:gd name="csX74" fmla="*/ 115665 w 1609516"/>
              <a:gd name="csY74" fmla="*/ 941837 h 1538630"/>
              <a:gd name="csX75" fmla="*/ 144268 w 1609516"/>
              <a:gd name="csY75" fmla="*/ 939395 h 1538630"/>
              <a:gd name="csX76" fmla="*/ 143354 w 1609516"/>
              <a:gd name="csY76" fmla="*/ 939580 h 1538630"/>
              <a:gd name="csX77" fmla="*/ 144077 w 1609516"/>
              <a:gd name="csY77" fmla="*/ 939739 h 1538630"/>
              <a:gd name="csX78" fmla="*/ 162575 w 1609516"/>
              <a:gd name="csY78" fmla="*/ 933530 h 1538630"/>
              <a:gd name="csX79" fmla="*/ 161704 w 1609516"/>
              <a:gd name="csY79" fmla="*/ 935101 h 1538630"/>
              <a:gd name="csX80" fmla="*/ 170045 w 1609516"/>
              <a:gd name="csY80" fmla="*/ 933585 h 1538630"/>
              <a:gd name="csX81" fmla="*/ 1321645 w 1609516"/>
              <a:gd name="csY81" fmla="*/ 918415 h 1538630"/>
              <a:gd name="csX82" fmla="*/ 1321534 w 1609516"/>
              <a:gd name="csY82" fmla="*/ 920177 h 1538630"/>
              <a:gd name="csX83" fmla="*/ 1321740 w 1609516"/>
              <a:gd name="csY83" fmla="*/ 918415 h 1538630"/>
              <a:gd name="csX84" fmla="*/ 1319333 w 1609516"/>
              <a:gd name="csY84" fmla="*/ 915183 h 1538630"/>
              <a:gd name="csX85" fmla="*/ 1318544 w 1609516"/>
              <a:gd name="csY85" fmla="*/ 918029 h 1538630"/>
              <a:gd name="csX86" fmla="*/ 1318702 w 1609516"/>
              <a:gd name="csY86" fmla="*/ 918029 h 1538630"/>
              <a:gd name="csX87" fmla="*/ 1326355 w 1609516"/>
              <a:gd name="csY87" fmla="*/ 907109 h 1538630"/>
              <a:gd name="csX88" fmla="*/ 1326355 w 1609516"/>
              <a:gd name="csY88" fmla="*/ 910983 h 1538630"/>
              <a:gd name="csX89" fmla="*/ 1325831 w 1609516"/>
              <a:gd name="csY89" fmla="*/ 911101 h 1538630"/>
              <a:gd name="csX90" fmla="*/ 1326426 w 1609516"/>
              <a:gd name="csY90" fmla="*/ 911369 h 1538630"/>
              <a:gd name="csX91" fmla="*/ 1326426 w 1609516"/>
              <a:gd name="csY91" fmla="*/ 907141 h 1538630"/>
              <a:gd name="csX92" fmla="*/ 1328144 w 1609516"/>
              <a:gd name="csY92" fmla="*/ 892192 h 1538630"/>
              <a:gd name="csX93" fmla="*/ 1327667 w 1609516"/>
              <a:gd name="csY93" fmla="*/ 893446 h 1538630"/>
              <a:gd name="csX94" fmla="*/ 1327989 w 1609516"/>
              <a:gd name="csY94" fmla="*/ 893049 h 1538630"/>
              <a:gd name="csX95" fmla="*/ 49605 w 1609516"/>
              <a:gd name="csY95" fmla="*/ 887420 h 1538630"/>
              <a:gd name="csX96" fmla="*/ 48549 w 1609516"/>
              <a:gd name="csY96" fmla="*/ 891229 h 1538630"/>
              <a:gd name="csX97" fmla="*/ 49956 w 1609516"/>
              <a:gd name="csY97" fmla="*/ 887420 h 1538630"/>
              <a:gd name="csX98" fmla="*/ 1332266 w 1609516"/>
              <a:gd name="csY98" fmla="*/ 883369 h 1538630"/>
              <a:gd name="csX99" fmla="*/ 1329479 w 1609516"/>
              <a:gd name="csY99" fmla="*/ 884207 h 1538630"/>
              <a:gd name="csX100" fmla="*/ 1329509 w 1609516"/>
              <a:gd name="csY100" fmla="*/ 884816 h 1538630"/>
              <a:gd name="csX101" fmla="*/ 1329551 w 1609516"/>
              <a:gd name="csY101" fmla="*/ 884594 h 1538630"/>
              <a:gd name="csX102" fmla="*/ 1555987 w 1609516"/>
              <a:gd name="csY102" fmla="*/ 821766 h 1538630"/>
              <a:gd name="csX103" fmla="*/ 1555987 w 1609516"/>
              <a:gd name="csY103" fmla="*/ 822201 h 1538630"/>
              <a:gd name="csX104" fmla="*/ 1556081 w 1609516"/>
              <a:gd name="csY104" fmla="*/ 822189 h 1538630"/>
              <a:gd name="csX105" fmla="*/ 1565360 w 1609516"/>
              <a:gd name="csY105" fmla="*/ 810928 h 1538630"/>
              <a:gd name="csX106" fmla="*/ 1564871 w 1609516"/>
              <a:gd name="csY106" fmla="*/ 811809 h 1538630"/>
              <a:gd name="csX107" fmla="*/ 1567314 w 1609516"/>
              <a:gd name="csY107" fmla="*/ 810928 h 1538630"/>
              <a:gd name="csX108" fmla="*/ 1563797 w 1609516"/>
              <a:gd name="csY108" fmla="*/ 810928 h 1538630"/>
              <a:gd name="csX109" fmla="*/ 1556762 w 1609516"/>
              <a:gd name="csY109" fmla="*/ 814736 h 1538630"/>
              <a:gd name="csX110" fmla="*/ 1563797 w 1609516"/>
              <a:gd name="csY110" fmla="*/ 812197 h 1538630"/>
              <a:gd name="csX111" fmla="*/ 265833 w 1609516"/>
              <a:gd name="csY111" fmla="*/ 806020 h 1538630"/>
              <a:gd name="csX112" fmla="*/ 263704 w 1609516"/>
              <a:gd name="csY112" fmla="*/ 809861 h 1538630"/>
              <a:gd name="csX113" fmla="*/ 263704 w 1609516"/>
              <a:gd name="csY113" fmla="*/ 816750 h 1538630"/>
              <a:gd name="csX114" fmla="*/ 264113 w 1609516"/>
              <a:gd name="csY114" fmla="*/ 816565 h 1538630"/>
              <a:gd name="csX115" fmla="*/ 263918 w 1609516"/>
              <a:gd name="csY115" fmla="*/ 812777 h 1538630"/>
              <a:gd name="csX116" fmla="*/ 263774 w 1609516"/>
              <a:gd name="csY116" fmla="*/ 779374 h 1538630"/>
              <a:gd name="csX117" fmla="*/ 263704 w 1609516"/>
              <a:gd name="csY117" fmla="*/ 783086 h 1538630"/>
              <a:gd name="csX118" fmla="*/ 264484 w 1609516"/>
              <a:gd name="csY118" fmla="*/ 785816 h 1538630"/>
              <a:gd name="csX119" fmla="*/ 265265 w 1609516"/>
              <a:gd name="csY119" fmla="*/ 794448 h 1538630"/>
              <a:gd name="csX120" fmla="*/ 265217 w 1609516"/>
              <a:gd name="csY120" fmla="*/ 799730 h 1538630"/>
              <a:gd name="csX121" fmla="*/ 266556 w 1609516"/>
              <a:gd name="csY121" fmla="*/ 803466 h 1538630"/>
              <a:gd name="csX122" fmla="*/ 267237 w 1609516"/>
              <a:gd name="csY122" fmla="*/ 801063 h 1538630"/>
              <a:gd name="csX123" fmla="*/ 265675 w 1609516"/>
              <a:gd name="csY123" fmla="*/ 799654 h 1538630"/>
              <a:gd name="csX124" fmla="*/ 265675 w 1609516"/>
              <a:gd name="csY124" fmla="*/ 793841 h 1538630"/>
              <a:gd name="csX125" fmla="*/ 260988 w 1609516"/>
              <a:gd name="csY125" fmla="*/ 770061 h 1538630"/>
              <a:gd name="csX126" fmla="*/ 260988 w 1609516"/>
              <a:gd name="csY126" fmla="*/ 771364 h 1538630"/>
              <a:gd name="csX127" fmla="*/ 263497 w 1609516"/>
              <a:gd name="csY127" fmla="*/ 777263 h 1538630"/>
              <a:gd name="csX128" fmla="*/ 262551 w 1609516"/>
              <a:gd name="csY128" fmla="*/ 770061 h 1538630"/>
              <a:gd name="csX129" fmla="*/ 260988 w 1609516"/>
              <a:gd name="csY129" fmla="*/ 770061 h 1538630"/>
              <a:gd name="csX130" fmla="*/ 157888 w 1609516"/>
              <a:gd name="csY130" fmla="*/ 651686 h 1538630"/>
              <a:gd name="csX131" fmla="*/ 157415 w 1609516"/>
              <a:gd name="csY131" fmla="*/ 651764 h 1538630"/>
              <a:gd name="csX132" fmla="*/ 160373 w 1609516"/>
              <a:gd name="csY132" fmla="*/ 652274 h 1538630"/>
              <a:gd name="csX133" fmla="*/ 267237 w 1609516"/>
              <a:gd name="csY133" fmla="*/ 426537 h 1538630"/>
              <a:gd name="csX134" fmla="*/ 267237 w 1609516"/>
              <a:gd name="csY134" fmla="*/ 427619 h 1538630"/>
              <a:gd name="csX135" fmla="*/ 270380 w 1609516"/>
              <a:gd name="csY135" fmla="*/ 428137 h 1538630"/>
              <a:gd name="csX136" fmla="*/ 273548 w 1609516"/>
              <a:gd name="csY136" fmla="*/ 428680 h 1538630"/>
              <a:gd name="csX137" fmla="*/ 37605 w 1609516"/>
              <a:gd name="csY137" fmla="*/ 359270 h 1538630"/>
              <a:gd name="csX138" fmla="*/ 37103 w 1609516"/>
              <a:gd name="csY138" fmla="*/ 361533 h 1538630"/>
              <a:gd name="csX139" fmla="*/ 37605 w 1609516"/>
              <a:gd name="csY139" fmla="*/ 361382 h 1538630"/>
              <a:gd name="csX140" fmla="*/ 52477 w 1609516"/>
              <a:gd name="csY140" fmla="*/ 337570 h 1538630"/>
              <a:gd name="csX141" fmla="*/ 47288 w 1609516"/>
              <a:gd name="csY141" fmla="*/ 342340 h 1538630"/>
              <a:gd name="csX142" fmla="*/ 45805 w 1609516"/>
              <a:gd name="csY142" fmla="*/ 345093 h 1538630"/>
              <a:gd name="csX143" fmla="*/ 104291 w 1609516"/>
              <a:gd name="csY143" fmla="*/ 336166 h 1538630"/>
              <a:gd name="csX144" fmla="*/ 103776 w 1609516"/>
              <a:gd name="csY144" fmla="*/ 337559 h 1538630"/>
              <a:gd name="csX145" fmla="*/ 108925 w 1609516"/>
              <a:gd name="csY145" fmla="*/ 336166 h 1538630"/>
              <a:gd name="csX146" fmla="*/ 1309237 w 1609516"/>
              <a:gd name="csY146" fmla="*/ 322954 h 1538630"/>
              <a:gd name="csX147" fmla="*/ 1309180 w 1609516"/>
              <a:gd name="csY147" fmla="*/ 330559 h 1538630"/>
              <a:gd name="csX148" fmla="*/ 1309237 w 1609516"/>
              <a:gd name="csY148" fmla="*/ 330520 h 1538630"/>
              <a:gd name="csX149" fmla="*/ 1308964 w 1609516"/>
              <a:gd name="csY149" fmla="*/ 317715 h 1538630"/>
              <a:gd name="csX150" fmla="*/ 1309237 w 1609516"/>
              <a:gd name="csY150" fmla="*/ 318569 h 1538630"/>
              <a:gd name="csX151" fmla="*/ 1309237 w 1609516"/>
              <a:gd name="csY151" fmla="*/ 317838 h 1538630"/>
              <a:gd name="csX152" fmla="*/ 1310087 w 1609516"/>
              <a:gd name="csY152" fmla="*/ 313153 h 1538630"/>
              <a:gd name="csX153" fmla="*/ 1307609 w 1609516"/>
              <a:gd name="csY153" fmla="*/ 313473 h 1538630"/>
              <a:gd name="csX154" fmla="*/ 1308045 w 1609516"/>
              <a:gd name="csY154" fmla="*/ 314836 h 1538630"/>
              <a:gd name="csX155" fmla="*/ 1318544 w 1609516"/>
              <a:gd name="csY155" fmla="*/ 312064 h 1538630"/>
              <a:gd name="csX156" fmla="*/ 1316298 w 1609516"/>
              <a:gd name="csY156" fmla="*/ 312353 h 1538630"/>
              <a:gd name="csX157" fmla="*/ 1318544 w 1609516"/>
              <a:gd name="csY157" fmla="*/ 312205 h 1538630"/>
              <a:gd name="csX158" fmla="*/ 1084622 w 1609516"/>
              <a:gd name="csY158" fmla="*/ 267674 h 1538630"/>
              <a:gd name="csX159" fmla="*/ 1084227 w 1609516"/>
              <a:gd name="csY159" fmla="*/ 268378 h 1538630"/>
              <a:gd name="csX160" fmla="*/ 1079540 w 1609516"/>
              <a:gd name="csY160" fmla="*/ 268378 h 1538630"/>
              <a:gd name="csX161" fmla="*/ 1079603 w 1609516"/>
              <a:gd name="csY161" fmla="*/ 268477 h 1538630"/>
              <a:gd name="csX162" fmla="*/ 1084192 w 1609516"/>
              <a:gd name="csY162" fmla="*/ 268477 h 1538630"/>
              <a:gd name="csX163" fmla="*/ 956410 w 1609516"/>
              <a:gd name="csY163" fmla="*/ 266968 h 1538630"/>
              <a:gd name="csX164" fmla="*/ 957576 w 1609516"/>
              <a:gd name="csY164" fmla="*/ 267083 h 1538630"/>
              <a:gd name="csX165" fmla="*/ 957576 w 1609516"/>
              <a:gd name="csY165" fmla="*/ 269776 h 1538630"/>
              <a:gd name="csX166" fmla="*/ 957694 w 1609516"/>
              <a:gd name="csY166" fmla="*/ 269787 h 1538630"/>
              <a:gd name="csX167" fmla="*/ 957694 w 1609516"/>
              <a:gd name="csY167" fmla="*/ 266968 h 1538630"/>
              <a:gd name="csX168" fmla="*/ 1089372 w 1609516"/>
              <a:gd name="csY168" fmla="*/ 259220 h 1538630"/>
              <a:gd name="csX169" fmla="*/ 1085856 w 1609516"/>
              <a:gd name="csY169" fmla="*/ 265479 h 1538630"/>
              <a:gd name="csX170" fmla="*/ 1088878 w 1609516"/>
              <a:gd name="csY170" fmla="*/ 261431 h 1538630"/>
              <a:gd name="csX171" fmla="*/ 1018517 w 1609516"/>
              <a:gd name="csY171" fmla="*/ 223356 h 1538630"/>
              <a:gd name="csX172" fmla="*/ 1013866 w 1609516"/>
              <a:gd name="csY172" fmla="*/ 226190 h 1538630"/>
              <a:gd name="csX173" fmla="*/ 1013024 w 1609516"/>
              <a:gd name="csY173" fmla="*/ 227709 h 1538630"/>
              <a:gd name="csX174" fmla="*/ 1017055 w 1609516"/>
              <a:gd name="csY174" fmla="*/ 224692 h 1538630"/>
              <a:gd name="csX175" fmla="*/ 850645 w 1609516"/>
              <a:gd name="csY175" fmla="*/ 220099 h 1538630"/>
              <a:gd name="csX176" fmla="*/ 850897 w 1609516"/>
              <a:gd name="csY176" fmla="*/ 221488 h 1538630"/>
              <a:gd name="csX177" fmla="*/ 851470 w 1609516"/>
              <a:gd name="csY177" fmla="*/ 224692 h 1538630"/>
              <a:gd name="csX178" fmla="*/ 852860 w 1609516"/>
              <a:gd name="csY178" fmla="*/ 224692 h 1538630"/>
              <a:gd name="csX179" fmla="*/ 1155019 w 1609516"/>
              <a:gd name="csY179" fmla="*/ 35 h 1538630"/>
              <a:gd name="csX180" fmla="*/ 1174829 w 1609516"/>
              <a:gd name="csY180" fmla="*/ 4853 h 1538630"/>
              <a:gd name="csX181" fmla="*/ 1179418 w 1609516"/>
              <a:gd name="csY181" fmla="*/ 5998 h 1538630"/>
              <a:gd name="csX182" fmla="*/ 1201385 w 1609516"/>
              <a:gd name="csY182" fmla="*/ 22997 h 1538630"/>
              <a:gd name="csX183" fmla="*/ 1201678 w 1609516"/>
              <a:gd name="csY183" fmla="*/ 62191 h 1538630"/>
              <a:gd name="csX184" fmla="*/ 1198261 w 1609516"/>
              <a:gd name="csY184" fmla="*/ 68268 h 1538630"/>
              <a:gd name="csX185" fmla="*/ 1195723 w 1609516"/>
              <a:gd name="csY185" fmla="*/ 72672 h 1538630"/>
              <a:gd name="csX186" fmla="*/ 1193575 w 1609516"/>
              <a:gd name="csY186" fmla="*/ 75314 h 1538630"/>
              <a:gd name="csX187" fmla="*/ 1190450 w 1609516"/>
              <a:gd name="csY187" fmla="*/ 75314 h 1538630"/>
              <a:gd name="csX188" fmla="*/ 1189474 w 1609516"/>
              <a:gd name="csY188" fmla="*/ 79366 h 1538630"/>
              <a:gd name="csX189" fmla="*/ 1182445 w 1609516"/>
              <a:gd name="csY189" fmla="*/ 85707 h 1538630"/>
              <a:gd name="csX190" fmla="*/ 1177953 w 1609516"/>
              <a:gd name="csY190" fmla="*/ 86588 h 1538630"/>
              <a:gd name="csX191" fmla="*/ 1177953 w 1609516"/>
              <a:gd name="csY191" fmla="*/ 89406 h 1538630"/>
              <a:gd name="csX192" fmla="*/ 1170045 w 1609516"/>
              <a:gd name="csY192" fmla="*/ 94251 h 1538630"/>
              <a:gd name="csX193" fmla="*/ 1143806 w 1609516"/>
              <a:gd name="csY193" fmla="*/ 132828 h 1538630"/>
              <a:gd name="csX194" fmla="*/ 1137338 w 1609516"/>
              <a:gd name="csY194" fmla="*/ 141548 h 1538630"/>
              <a:gd name="csX195" fmla="*/ 1133970 w 1609516"/>
              <a:gd name="csY195" fmla="*/ 149403 h 1538630"/>
              <a:gd name="csX196" fmla="*/ 1127965 w 1609516"/>
              <a:gd name="csY196" fmla="*/ 164095 h 1538630"/>
              <a:gd name="csX197" fmla="*/ 1124762 w 1609516"/>
              <a:gd name="csY197" fmla="*/ 171802 h 1538630"/>
              <a:gd name="csX198" fmla="*/ 1119359 w 1609516"/>
              <a:gd name="csY198" fmla="*/ 184798 h 1538630"/>
              <a:gd name="csX199" fmla="*/ 1111014 w 1609516"/>
              <a:gd name="csY199" fmla="*/ 204941 h 1538630"/>
              <a:gd name="csX200" fmla="*/ 1109729 w 1609516"/>
              <a:gd name="csY200" fmla="*/ 208059 h 1538630"/>
              <a:gd name="csX201" fmla="*/ 1106395 w 1609516"/>
              <a:gd name="csY201" fmla="*/ 216170 h 1538630"/>
              <a:gd name="csX202" fmla="*/ 1102147 w 1609516"/>
              <a:gd name="csY202" fmla="*/ 224810 h 1538630"/>
              <a:gd name="csX203" fmla="*/ 1098261 w 1609516"/>
              <a:gd name="csY203" fmla="*/ 227262 h 1538630"/>
              <a:gd name="csX204" fmla="*/ 1098367 w 1609516"/>
              <a:gd name="csY204" fmla="*/ 238475 h 1538630"/>
              <a:gd name="csX205" fmla="*/ 1097331 w 1609516"/>
              <a:gd name="csY205" fmla="*/ 242358 h 1538630"/>
              <a:gd name="csX206" fmla="*/ 1096201 w 1609516"/>
              <a:gd name="csY206" fmla="*/ 246458 h 1538630"/>
              <a:gd name="csX207" fmla="*/ 1089440 w 1609516"/>
              <a:gd name="csY207" fmla="*/ 279206 h 1538630"/>
              <a:gd name="csX208" fmla="*/ 1087316 w 1609516"/>
              <a:gd name="csY208" fmla="*/ 283978 h 1538630"/>
              <a:gd name="csX209" fmla="*/ 1086822 w 1609516"/>
              <a:gd name="csY209" fmla="*/ 291822 h 1538630"/>
              <a:gd name="csX210" fmla="*/ 1086623 w 1609516"/>
              <a:gd name="csY210" fmla="*/ 296625 h 1538630"/>
              <a:gd name="csX211" fmla="*/ 1086437 w 1609516"/>
              <a:gd name="csY211" fmla="*/ 301681 h 1538630"/>
              <a:gd name="csX212" fmla="*/ 1086233 w 1609516"/>
              <a:gd name="csY212" fmla="*/ 306754 h 1538630"/>
              <a:gd name="csX213" fmla="*/ 1086007 w 1609516"/>
              <a:gd name="csY213" fmla="*/ 312619 h 1538630"/>
              <a:gd name="csX214" fmla="*/ 1087470 w 1609516"/>
              <a:gd name="csY214" fmla="*/ 320554 h 1538630"/>
              <a:gd name="csX215" fmla="*/ 1098285 w 1609516"/>
              <a:gd name="csY215" fmla="*/ 334611 h 1538630"/>
              <a:gd name="csX216" fmla="*/ 1102607 w 1609516"/>
              <a:gd name="csY216" fmla="*/ 337679 h 1538630"/>
              <a:gd name="csX217" fmla="*/ 1106095 w 1609516"/>
              <a:gd name="csY217" fmla="*/ 340248 h 1538630"/>
              <a:gd name="csX218" fmla="*/ 1106095 w 1609516"/>
              <a:gd name="csY218" fmla="*/ 343066 h 1538630"/>
              <a:gd name="csX219" fmla="*/ 1109220 w 1609516"/>
              <a:gd name="csY219" fmla="*/ 343419 h 1538630"/>
              <a:gd name="csX220" fmla="*/ 1126403 w 1609516"/>
              <a:gd name="csY220" fmla="*/ 350112 h 1538630"/>
              <a:gd name="csX221" fmla="*/ 1131871 w 1609516"/>
              <a:gd name="csY221" fmla="*/ 352579 h 1538630"/>
              <a:gd name="csX222" fmla="*/ 1135776 w 1609516"/>
              <a:gd name="csY222" fmla="*/ 354340 h 1538630"/>
              <a:gd name="csX223" fmla="*/ 1135776 w 1609516"/>
              <a:gd name="csY223" fmla="*/ 357158 h 1538630"/>
              <a:gd name="csX224" fmla="*/ 1170143 w 1609516"/>
              <a:gd name="csY224" fmla="*/ 354340 h 1538630"/>
              <a:gd name="csX225" fmla="*/ 1174634 w 1609516"/>
              <a:gd name="csY225" fmla="*/ 352579 h 1538630"/>
              <a:gd name="csX226" fmla="*/ 1190890 w 1609516"/>
              <a:gd name="csY226" fmla="*/ 342907 h 1538630"/>
              <a:gd name="csX227" fmla="*/ 1204021 w 1609516"/>
              <a:gd name="csY227" fmla="*/ 335404 h 1538630"/>
              <a:gd name="csX228" fmla="*/ 1223255 w 1609516"/>
              <a:gd name="csY228" fmla="*/ 319110 h 1538630"/>
              <a:gd name="csX229" fmla="*/ 1226868 w 1609516"/>
              <a:gd name="csY229" fmla="*/ 315587 h 1538630"/>
              <a:gd name="csX230" fmla="*/ 1231859 w 1609516"/>
              <a:gd name="csY230" fmla="*/ 303559 h 1538630"/>
              <a:gd name="csX231" fmla="*/ 1234178 w 1609516"/>
              <a:gd name="csY231" fmla="*/ 298059 h 1538630"/>
              <a:gd name="csX232" fmla="*/ 1237314 w 1609516"/>
              <a:gd name="csY232" fmla="*/ 288195 h 1538630"/>
              <a:gd name="csX233" fmla="*/ 1249811 w 1609516"/>
              <a:gd name="csY233" fmla="*/ 265559 h 1538630"/>
              <a:gd name="csX234" fmla="*/ 1252935 w 1609516"/>
              <a:gd name="csY234" fmla="*/ 265559 h 1538630"/>
              <a:gd name="csX235" fmla="*/ 1252935 w 1609516"/>
              <a:gd name="csY235" fmla="*/ 262741 h 1538630"/>
              <a:gd name="csX236" fmla="*/ 1296675 w 1609516"/>
              <a:gd name="csY236" fmla="*/ 252876 h 1538630"/>
              <a:gd name="csX237" fmla="*/ 1307609 w 1609516"/>
              <a:gd name="csY237" fmla="*/ 255695 h 1538630"/>
              <a:gd name="csX238" fmla="*/ 1307609 w 1609516"/>
              <a:gd name="csY238" fmla="*/ 258513 h 1538630"/>
              <a:gd name="csX239" fmla="*/ 1311887 w 1609516"/>
              <a:gd name="csY239" fmla="*/ 258832 h 1538630"/>
              <a:gd name="csX240" fmla="*/ 1326715 w 1609516"/>
              <a:gd name="csY240" fmla="*/ 269969 h 1538630"/>
              <a:gd name="csX241" fmla="*/ 1334165 w 1609516"/>
              <a:gd name="csY241" fmla="*/ 307836 h 1538630"/>
              <a:gd name="csX242" fmla="*/ 1329479 w 1609516"/>
              <a:gd name="csY242" fmla="*/ 314882 h 1538630"/>
              <a:gd name="csX243" fmla="*/ 1323231 w 1609516"/>
              <a:gd name="csY243" fmla="*/ 314882 h 1538630"/>
              <a:gd name="csX244" fmla="*/ 1323231 w 1609516"/>
              <a:gd name="csY244" fmla="*/ 317700 h 1538630"/>
              <a:gd name="csX245" fmla="*/ 1322774 w 1609516"/>
              <a:gd name="csY245" fmla="*/ 317838 h 1538630"/>
              <a:gd name="csX246" fmla="*/ 1323295 w 1609516"/>
              <a:gd name="csY246" fmla="*/ 317838 h 1538630"/>
              <a:gd name="csX247" fmla="*/ 1323295 w 1609516"/>
              <a:gd name="csY247" fmla="*/ 315019 h 1538630"/>
              <a:gd name="csX248" fmla="*/ 1327982 w 1609516"/>
              <a:gd name="csY248" fmla="*/ 315019 h 1538630"/>
              <a:gd name="csX249" fmla="*/ 1317047 w 1609516"/>
              <a:gd name="csY249" fmla="*/ 327702 h 1538630"/>
              <a:gd name="csX250" fmla="*/ 1315484 w 1609516"/>
              <a:gd name="csY250" fmla="*/ 331930 h 1538630"/>
              <a:gd name="csX251" fmla="*/ 1309139 w 1609516"/>
              <a:gd name="csY251" fmla="*/ 333603 h 1538630"/>
              <a:gd name="csX252" fmla="*/ 1305666 w 1609516"/>
              <a:gd name="csY252" fmla="*/ 334280 h 1538630"/>
              <a:gd name="csX253" fmla="*/ 1302988 w 1609516"/>
              <a:gd name="csY253" fmla="*/ 334748 h 1538630"/>
              <a:gd name="csX254" fmla="*/ 1305905 w 1609516"/>
              <a:gd name="csY254" fmla="*/ 332775 h 1538630"/>
              <a:gd name="csX255" fmla="*/ 1304485 w 1609516"/>
              <a:gd name="csY255" fmla="*/ 333202 h 1538630"/>
              <a:gd name="csX256" fmla="*/ 1301459 w 1609516"/>
              <a:gd name="csY256" fmla="*/ 336108 h 1538630"/>
              <a:gd name="csX257" fmla="*/ 1291989 w 1609516"/>
              <a:gd name="csY257" fmla="*/ 338839 h 1538630"/>
              <a:gd name="csX258" fmla="*/ 1290426 w 1609516"/>
              <a:gd name="csY258" fmla="*/ 343066 h 1538630"/>
              <a:gd name="csX259" fmla="*/ 1285740 w 1609516"/>
              <a:gd name="csY259" fmla="*/ 344123 h 1538630"/>
              <a:gd name="csX260" fmla="*/ 1237314 w 1609516"/>
              <a:gd name="csY260" fmla="*/ 382525 h 1538630"/>
              <a:gd name="csX261" fmla="*/ 1232628 w 1609516"/>
              <a:gd name="csY261" fmla="*/ 392389 h 1538630"/>
              <a:gd name="csX262" fmla="*/ 1228625 w 1609516"/>
              <a:gd name="csY262" fmla="*/ 398731 h 1538630"/>
              <a:gd name="csX263" fmla="*/ 1222822 w 1609516"/>
              <a:gd name="csY263" fmla="*/ 434798 h 1538630"/>
              <a:gd name="csX264" fmla="*/ 1260746 w 1609516"/>
              <a:gd name="csY264" fmla="*/ 485398 h 1538630"/>
              <a:gd name="csX265" fmla="*/ 1268556 w 1609516"/>
              <a:gd name="csY265" fmla="*/ 488216 h 1538630"/>
              <a:gd name="csX266" fmla="*/ 1268556 w 1609516"/>
              <a:gd name="csY266" fmla="*/ 491034 h 1538630"/>
              <a:gd name="csX267" fmla="*/ 1338852 w 1609516"/>
              <a:gd name="csY267" fmla="*/ 489625 h 1538630"/>
              <a:gd name="csX268" fmla="*/ 1347444 w 1609516"/>
              <a:gd name="csY268" fmla="*/ 488480 h 1538630"/>
              <a:gd name="csX269" fmla="*/ 1369362 w 1609516"/>
              <a:gd name="csY269" fmla="*/ 482513 h 1538630"/>
              <a:gd name="csX270" fmla="*/ 1388840 w 1609516"/>
              <a:gd name="csY270" fmla="*/ 478351 h 1538630"/>
              <a:gd name="csX271" fmla="*/ 1388840 w 1609516"/>
              <a:gd name="csY271" fmla="*/ 475533 h 1538630"/>
              <a:gd name="csX272" fmla="*/ 1395576 w 1609516"/>
              <a:gd name="csY272" fmla="*/ 473419 h 1538630"/>
              <a:gd name="csX273" fmla="*/ 1399365 w 1609516"/>
              <a:gd name="csY273" fmla="*/ 472230 h 1538630"/>
              <a:gd name="csX274" fmla="*/ 1407585 w 1609516"/>
              <a:gd name="csY274" fmla="*/ 471305 h 1538630"/>
              <a:gd name="csX275" fmla="*/ 1409147 w 1609516"/>
              <a:gd name="csY275" fmla="*/ 467078 h 1538630"/>
              <a:gd name="csX276" fmla="*/ 1416470 w 1609516"/>
              <a:gd name="csY276" fmla="*/ 464259 h 1538630"/>
              <a:gd name="csX277" fmla="*/ 1437949 w 1609516"/>
              <a:gd name="csY277" fmla="*/ 455011 h 1538630"/>
              <a:gd name="csX278" fmla="*/ 1452887 w 1609516"/>
              <a:gd name="csY278" fmla="*/ 450167 h 1538630"/>
              <a:gd name="csX279" fmla="*/ 1452887 w 1609516"/>
              <a:gd name="csY279" fmla="*/ 447349 h 1538630"/>
              <a:gd name="csX280" fmla="*/ 1455394 w 1609516"/>
              <a:gd name="csY280" fmla="*/ 446122 h 1538630"/>
              <a:gd name="csX281" fmla="*/ 1466653 w 1609516"/>
              <a:gd name="csY281" fmla="*/ 440567 h 1538630"/>
              <a:gd name="csX282" fmla="*/ 1470598 w 1609516"/>
              <a:gd name="csY282" fmla="*/ 438637 h 1538630"/>
              <a:gd name="csX283" fmla="*/ 1474397 w 1609516"/>
              <a:gd name="csY283" fmla="*/ 436752 h 1538630"/>
              <a:gd name="csX284" fmla="*/ 1477892 w 1609516"/>
              <a:gd name="csY284" fmla="*/ 435030 h 1538630"/>
              <a:gd name="csX285" fmla="*/ 1485691 w 1609516"/>
              <a:gd name="csY285" fmla="*/ 429029 h 1538630"/>
              <a:gd name="csX286" fmla="*/ 1488858 w 1609516"/>
              <a:gd name="csY286" fmla="*/ 427653 h 1538630"/>
              <a:gd name="csX287" fmla="*/ 1495943 w 1609516"/>
              <a:gd name="csY287" fmla="*/ 421454 h 1538630"/>
              <a:gd name="csX288" fmla="*/ 1538608 w 1609516"/>
              <a:gd name="csY288" fmla="*/ 388338 h 1538630"/>
              <a:gd name="csX289" fmla="*/ 1543490 w 1609516"/>
              <a:gd name="csY289" fmla="*/ 388161 h 1538630"/>
              <a:gd name="csX290" fmla="*/ 1547621 w 1609516"/>
              <a:gd name="csY290" fmla="*/ 387804 h 1538630"/>
              <a:gd name="csX291" fmla="*/ 1579418 w 1609516"/>
              <a:gd name="csY291" fmla="*/ 396617 h 1538630"/>
              <a:gd name="csX292" fmla="*/ 1583342 w 1609516"/>
              <a:gd name="csY292" fmla="*/ 398780 h 1538630"/>
              <a:gd name="csX293" fmla="*/ 1601288 w 1609516"/>
              <a:gd name="csY293" fmla="*/ 423392 h 1538630"/>
              <a:gd name="csX294" fmla="*/ 1594484 w 1609516"/>
              <a:gd name="csY294" fmla="*/ 460159 h 1538630"/>
              <a:gd name="csX295" fmla="*/ 1574732 w 1609516"/>
              <a:gd name="csY295" fmla="*/ 475533 h 1538630"/>
              <a:gd name="csX296" fmla="*/ 1572097 w 1609516"/>
              <a:gd name="csY296" fmla="*/ 477078 h 1538630"/>
              <a:gd name="csX297" fmla="*/ 1556066 w 1609516"/>
              <a:gd name="csY297" fmla="*/ 478737 h 1538630"/>
              <a:gd name="csX298" fmla="*/ 1548631 w 1609516"/>
              <a:gd name="csY298" fmla="*/ 478825 h 1538630"/>
              <a:gd name="csX299" fmla="*/ 1536991 w 1609516"/>
              <a:gd name="csY299" fmla="*/ 478889 h 1538630"/>
              <a:gd name="csX300" fmla="*/ 1498188 w 1609516"/>
              <a:gd name="csY300" fmla="*/ 485398 h 1538630"/>
              <a:gd name="csX301" fmla="*/ 1493892 w 1609516"/>
              <a:gd name="csY301" fmla="*/ 487600 h 1538630"/>
              <a:gd name="csX302" fmla="*/ 1490377 w 1609516"/>
              <a:gd name="csY302" fmla="*/ 489625 h 1538630"/>
              <a:gd name="csX303" fmla="*/ 1471650 w 1609516"/>
              <a:gd name="csY303" fmla="*/ 498185 h 1538630"/>
              <a:gd name="csX304" fmla="*/ 1459135 w 1609516"/>
              <a:gd name="csY304" fmla="*/ 505127 h 1538630"/>
              <a:gd name="csX305" fmla="*/ 1452594 w 1609516"/>
              <a:gd name="csY305" fmla="*/ 508033 h 1538630"/>
              <a:gd name="csX306" fmla="*/ 1427795 w 1609516"/>
              <a:gd name="csY306" fmla="*/ 520100 h 1538630"/>
              <a:gd name="csX307" fmla="*/ 1423733 w 1609516"/>
              <a:gd name="csY307" fmla="*/ 522148 h 1538630"/>
              <a:gd name="csX308" fmla="*/ 1419929 w 1609516"/>
              <a:gd name="csY308" fmla="*/ 524118 h 1538630"/>
              <a:gd name="csX309" fmla="*/ 1416487 w 1609516"/>
              <a:gd name="csY309" fmla="*/ 525883 h 1538630"/>
              <a:gd name="csX310" fmla="*/ 1412271 w 1609516"/>
              <a:gd name="csY310" fmla="*/ 531902 h 1538630"/>
              <a:gd name="csX311" fmla="*/ 1396650 w 1609516"/>
              <a:gd name="csY311" fmla="*/ 537539 h 1538630"/>
              <a:gd name="csX312" fmla="*/ 1396650 w 1609516"/>
              <a:gd name="csY312" fmla="*/ 540357 h 1538630"/>
              <a:gd name="csX313" fmla="*/ 1393495 w 1609516"/>
              <a:gd name="csY313" fmla="*/ 541502 h 1538630"/>
              <a:gd name="csX314" fmla="*/ 1362284 w 1609516"/>
              <a:gd name="csY314" fmla="*/ 558678 h 1538630"/>
              <a:gd name="csX315" fmla="*/ 1355937 w 1609516"/>
              <a:gd name="csY315" fmla="*/ 562905 h 1538630"/>
              <a:gd name="csX316" fmla="*/ 1334165 w 1609516"/>
              <a:gd name="csY316" fmla="*/ 578406 h 1538630"/>
              <a:gd name="csX317" fmla="*/ 1331200 w 1609516"/>
              <a:gd name="csY317" fmla="*/ 580559 h 1538630"/>
              <a:gd name="csX318" fmla="*/ 1322175 w 1609516"/>
              <a:gd name="csY318" fmla="*/ 596793 h 1538630"/>
              <a:gd name="csX319" fmla="*/ 1320106 w 1609516"/>
              <a:gd name="csY319" fmla="*/ 602363 h 1538630"/>
              <a:gd name="csX320" fmla="*/ 1328015 w 1609516"/>
              <a:gd name="csY320" fmla="*/ 647640 h 1538630"/>
              <a:gd name="csX321" fmla="*/ 1332604 w 1609516"/>
              <a:gd name="csY321" fmla="*/ 675643 h 1538630"/>
              <a:gd name="csX322" fmla="*/ 1335727 w 1609516"/>
              <a:gd name="csY322" fmla="*/ 675643 h 1538630"/>
              <a:gd name="csX323" fmla="*/ 1337741 w 1609516"/>
              <a:gd name="csY323" fmla="*/ 690059 h 1538630"/>
              <a:gd name="csX324" fmla="*/ 1338003 w 1609516"/>
              <a:gd name="csY324" fmla="*/ 696222 h 1538630"/>
              <a:gd name="csX325" fmla="*/ 1338340 w 1609516"/>
              <a:gd name="csY325" fmla="*/ 705887 h 1538630"/>
              <a:gd name="csX326" fmla="*/ 1345277 w 1609516"/>
              <a:gd name="csY326" fmla="*/ 733245 h 1538630"/>
              <a:gd name="csX327" fmla="*/ 1363162 w 1609516"/>
              <a:gd name="csY327" fmla="*/ 741612 h 1538630"/>
              <a:gd name="csX328" fmla="*/ 1384154 w 1609516"/>
              <a:gd name="csY328" fmla="*/ 748922 h 1538630"/>
              <a:gd name="csX329" fmla="*/ 1391476 w 1609516"/>
              <a:gd name="csY329" fmla="*/ 750419 h 1538630"/>
              <a:gd name="csX330" fmla="*/ 1395564 w 1609516"/>
              <a:gd name="csY330" fmla="*/ 751080 h 1538630"/>
              <a:gd name="csX331" fmla="*/ 1399775 w 1609516"/>
              <a:gd name="csY331" fmla="*/ 751740 h 1538630"/>
              <a:gd name="csX332" fmla="*/ 1403887 w 1609516"/>
              <a:gd name="csY332" fmla="*/ 752489 h 1538630"/>
              <a:gd name="csX333" fmla="*/ 1465383 w 1609516"/>
              <a:gd name="csY333" fmla="*/ 755969 h 1538630"/>
              <a:gd name="csX334" fmla="*/ 1470339 w 1609516"/>
              <a:gd name="csY334" fmla="*/ 755897 h 1538630"/>
              <a:gd name="csX335" fmla="*/ 1496809 w 1609516"/>
              <a:gd name="csY335" fmla="*/ 749313 h 1538630"/>
              <a:gd name="csX336" fmla="*/ 1515371 w 1609516"/>
              <a:gd name="csY336" fmla="*/ 743285 h 1538630"/>
              <a:gd name="csX337" fmla="*/ 1515371 w 1609516"/>
              <a:gd name="csY337" fmla="*/ 740467 h 1538630"/>
              <a:gd name="csX338" fmla="*/ 1537632 w 1609516"/>
              <a:gd name="csY338" fmla="*/ 737120 h 1538630"/>
              <a:gd name="csX339" fmla="*/ 1541657 w 1609516"/>
              <a:gd name="csY339" fmla="*/ 737127 h 1538630"/>
              <a:gd name="csX340" fmla="*/ 1574732 w 1609516"/>
              <a:gd name="csY340" fmla="*/ 748922 h 1538630"/>
              <a:gd name="csX341" fmla="*/ 1588791 w 1609516"/>
              <a:gd name="csY341" fmla="*/ 792608 h 1538630"/>
              <a:gd name="csX342" fmla="*/ 1584105 w 1609516"/>
              <a:gd name="csY342" fmla="*/ 805291 h 1538630"/>
              <a:gd name="csX343" fmla="*/ 1580981 w 1609516"/>
              <a:gd name="csY343" fmla="*/ 806700 h 1538630"/>
              <a:gd name="csX344" fmla="*/ 1578735 w 1609516"/>
              <a:gd name="csY344" fmla="*/ 810311 h 1538630"/>
              <a:gd name="csX345" fmla="*/ 1576295 w 1609516"/>
              <a:gd name="csY345" fmla="*/ 813746 h 1538630"/>
              <a:gd name="csX346" fmla="*/ 1571652 w 1609516"/>
              <a:gd name="csY346" fmla="*/ 813746 h 1538630"/>
              <a:gd name="csX347" fmla="*/ 1571785 w 1609516"/>
              <a:gd name="csY347" fmla="*/ 814106 h 1538630"/>
              <a:gd name="csX348" fmla="*/ 1574909 w 1609516"/>
              <a:gd name="csY348" fmla="*/ 815515 h 1538630"/>
              <a:gd name="csX349" fmla="*/ 1565463 w 1609516"/>
              <a:gd name="csY349" fmla="*/ 821839 h 1538630"/>
              <a:gd name="csX350" fmla="*/ 1562085 w 1609516"/>
              <a:gd name="csY350" fmla="*/ 822101 h 1538630"/>
              <a:gd name="csX351" fmla="*/ 1551301 w 1609516"/>
              <a:gd name="csY351" fmla="*/ 825020 h 1538630"/>
              <a:gd name="csX352" fmla="*/ 1551301 w 1609516"/>
              <a:gd name="csY352" fmla="*/ 827838 h 1538630"/>
              <a:gd name="csX353" fmla="*/ 1485380 w 1609516"/>
              <a:gd name="csY353" fmla="*/ 815007 h 1538630"/>
              <a:gd name="csX354" fmla="*/ 1431603 w 1609516"/>
              <a:gd name="csY354" fmla="*/ 808726 h 1538630"/>
              <a:gd name="csX355" fmla="*/ 1424140 w 1609516"/>
              <a:gd name="csY355" fmla="*/ 808542 h 1538630"/>
              <a:gd name="csX356" fmla="*/ 1406023 w 1609516"/>
              <a:gd name="csY356" fmla="*/ 808109 h 1538630"/>
              <a:gd name="csX357" fmla="*/ 1406023 w 1609516"/>
              <a:gd name="csY357" fmla="*/ 810928 h 1538630"/>
              <a:gd name="csX358" fmla="*/ 1403383 w 1609516"/>
              <a:gd name="csY358" fmla="*/ 811311 h 1538630"/>
              <a:gd name="csX359" fmla="*/ 1345442 w 1609516"/>
              <a:gd name="csY359" fmla="*/ 828907 h 1538630"/>
              <a:gd name="csX360" fmla="*/ 1337875 w 1609516"/>
              <a:gd name="csY360" fmla="*/ 856639 h 1538630"/>
              <a:gd name="csX361" fmla="*/ 1337692 w 1609516"/>
              <a:gd name="csY361" fmla="*/ 860171 h 1538630"/>
              <a:gd name="csX362" fmla="*/ 1337290 w 1609516"/>
              <a:gd name="csY362" fmla="*/ 868706 h 1538630"/>
              <a:gd name="csX363" fmla="*/ 1334165 w 1609516"/>
              <a:gd name="csY363" fmla="*/ 868706 h 1538630"/>
              <a:gd name="csX364" fmla="*/ 1334165 w 1609516"/>
              <a:gd name="csY364" fmla="*/ 870034 h 1538630"/>
              <a:gd name="csX365" fmla="*/ 1334237 w 1609516"/>
              <a:gd name="csY365" fmla="*/ 869093 h 1538630"/>
              <a:gd name="csX366" fmla="*/ 1335800 w 1609516"/>
              <a:gd name="csY366" fmla="*/ 869093 h 1538630"/>
              <a:gd name="csX367" fmla="*/ 1335995 w 1609516"/>
              <a:gd name="csY367" fmla="*/ 876491 h 1538630"/>
              <a:gd name="csX368" fmla="*/ 1336105 w 1609516"/>
              <a:gd name="csY368" fmla="*/ 880653 h 1538630"/>
              <a:gd name="csX369" fmla="*/ 1334294 w 1609516"/>
              <a:gd name="csY369" fmla="*/ 887271 h 1538630"/>
              <a:gd name="csX370" fmla="*/ 1331455 w 1609516"/>
              <a:gd name="csY370" fmla="*/ 896440 h 1538630"/>
              <a:gd name="csX371" fmla="*/ 1330887 w 1609516"/>
              <a:gd name="csY371" fmla="*/ 899969 h 1538630"/>
              <a:gd name="csX372" fmla="*/ 1330332 w 1609516"/>
              <a:gd name="csY372" fmla="*/ 903618 h 1538630"/>
              <a:gd name="csX373" fmla="*/ 1329209 w 1609516"/>
              <a:gd name="csY373" fmla="*/ 910797 h 1538630"/>
              <a:gd name="csX374" fmla="*/ 1328724 w 1609516"/>
              <a:gd name="csY374" fmla="*/ 913998 h 1538630"/>
              <a:gd name="csX375" fmla="*/ 1324865 w 1609516"/>
              <a:gd name="csY375" fmla="*/ 922643 h 1538630"/>
              <a:gd name="csX376" fmla="*/ 1322619 w 1609516"/>
              <a:gd name="csY376" fmla="*/ 937979 h 1538630"/>
              <a:gd name="csX377" fmla="*/ 1318744 w 1609516"/>
              <a:gd name="csY377" fmla="*/ 944961 h 1538630"/>
              <a:gd name="csX378" fmla="*/ 1318544 w 1609516"/>
              <a:gd name="csY378" fmla="*/ 946213 h 1538630"/>
              <a:gd name="csX379" fmla="*/ 1318251 w 1609516"/>
              <a:gd name="csY379" fmla="*/ 955285 h 1538630"/>
              <a:gd name="csX380" fmla="*/ 1318184 w 1609516"/>
              <a:gd name="csY380" fmla="*/ 960036 h 1538630"/>
              <a:gd name="csX381" fmla="*/ 1324024 w 1609516"/>
              <a:gd name="csY381" fmla="*/ 973660 h 1538630"/>
              <a:gd name="csX382" fmla="*/ 1329284 w 1609516"/>
              <a:gd name="csY382" fmla="*/ 983382 h 1538630"/>
              <a:gd name="csX383" fmla="*/ 1340414 w 1609516"/>
              <a:gd name="csY383" fmla="*/ 998354 h 1538630"/>
              <a:gd name="csX384" fmla="*/ 1346272 w 1609516"/>
              <a:gd name="csY384" fmla="*/ 1005048 h 1538630"/>
              <a:gd name="csX385" fmla="*/ 1394716 w 1609516"/>
              <a:gd name="csY385" fmla="*/ 1042740 h 1538630"/>
              <a:gd name="csX386" fmla="*/ 1401953 w 1609516"/>
              <a:gd name="csY386" fmla="*/ 1047374 h 1538630"/>
              <a:gd name="csX387" fmla="*/ 1427197 w 1609516"/>
              <a:gd name="csY387" fmla="*/ 1059061 h 1538630"/>
              <a:gd name="csX388" fmla="*/ 1437265 w 1609516"/>
              <a:gd name="csY388" fmla="*/ 1064588 h 1538630"/>
              <a:gd name="csX389" fmla="*/ 1437265 w 1609516"/>
              <a:gd name="csY389" fmla="*/ 1067406 h 1538630"/>
              <a:gd name="csX390" fmla="*/ 1440878 w 1609516"/>
              <a:gd name="csY390" fmla="*/ 1067847 h 1538630"/>
              <a:gd name="csX391" fmla="*/ 1447175 w 1609516"/>
              <a:gd name="csY391" fmla="*/ 1070753 h 1538630"/>
              <a:gd name="csX392" fmla="*/ 1457866 w 1609516"/>
              <a:gd name="csY392" fmla="*/ 1076830 h 1538630"/>
              <a:gd name="csX393" fmla="*/ 1462132 w 1609516"/>
              <a:gd name="csY393" fmla="*/ 1078696 h 1538630"/>
              <a:gd name="csX394" fmla="*/ 1465383 w 1609516"/>
              <a:gd name="csY394" fmla="*/ 1080089 h 1538630"/>
              <a:gd name="csX395" fmla="*/ 1465383 w 1609516"/>
              <a:gd name="csY395" fmla="*/ 1082908 h 1538630"/>
              <a:gd name="csX396" fmla="*/ 1468758 w 1609516"/>
              <a:gd name="csY396" fmla="*/ 1083975 h 1538630"/>
              <a:gd name="csX397" fmla="*/ 1481688 w 1609516"/>
              <a:gd name="csY397" fmla="*/ 1091187 h 1538630"/>
              <a:gd name="csX398" fmla="*/ 1486283 w 1609516"/>
              <a:gd name="csY398" fmla="*/ 1094236 h 1538630"/>
              <a:gd name="csX399" fmla="*/ 1494869 w 1609516"/>
              <a:gd name="csY399" fmla="*/ 1100171 h 1538630"/>
              <a:gd name="csX400" fmla="*/ 1544335 w 1609516"/>
              <a:gd name="csY400" fmla="*/ 1109518 h 1538630"/>
              <a:gd name="csX401" fmla="*/ 1593477 w 1609516"/>
              <a:gd name="csY401" fmla="*/ 1119900 h 1538630"/>
              <a:gd name="csX402" fmla="*/ 1605975 w 1609516"/>
              <a:gd name="csY402" fmla="*/ 1144913 h 1538630"/>
              <a:gd name="csX403" fmla="*/ 1609099 w 1609516"/>
              <a:gd name="csY403" fmla="*/ 1144913 h 1538630"/>
              <a:gd name="csX404" fmla="*/ 1609392 w 1609516"/>
              <a:gd name="csY404" fmla="*/ 1156892 h 1538630"/>
              <a:gd name="csX405" fmla="*/ 1609511 w 1609516"/>
              <a:gd name="csY405" fmla="*/ 1160272 h 1538630"/>
              <a:gd name="csX406" fmla="*/ 1604412 w 1609516"/>
              <a:gd name="csY406" fmla="*/ 1181553 h 1538630"/>
              <a:gd name="csX407" fmla="*/ 1601288 w 1609516"/>
              <a:gd name="csY407" fmla="*/ 1190009 h 1538630"/>
              <a:gd name="csX408" fmla="*/ 1598164 w 1609516"/>
              <a:gd name="csY408" fmla="*/ 1190009 h 1538630"/>
              <a:gd name="csX409" fmla="*/ 1597187 w 1609516"/>
              <a:gd name="csY409" fmla="*/ 1192739 h 1538630"/>
              <a:gd name="csX410" fmla="*/ 1595040 w 1609516"/>
              <a:gd name="csY410" fmla="*/ 1195645 h 1538630"/>
              <a:gd name="csX411" fmla="*/ 1585667 w 1609516"/>
              <a:gd name="csY411" fmla="*/ 1197055 h 1538630"/>
              <a:gd name="csX412" fmla="*/ 1582543 w 1609516"/>
              <a:gd name="csY412" fmla="*/ 1202691 h 1538630"/>
              <a:gd name="csX413" fmla="*/ 1562431 w 1609516"/>
              <a:gd name="csY413" fmla="*/ 1204365 h 1538630"/>
              <a:gd name="csX414" fmla="*/ 1558690 w 1609516"/>
              <a:gd name="csY414" fmla="*/ 1204417 h 1538630"/>
              <a:gd name="csX415" fmla="*/ 1521102 w 1609516"/>
              <a:gd name="csY415" fmla="*/ 1189585 h 1538630"/>
              <a:gd name="csX416" fmla="*/ 1505022 w 1609516"/>
              <a:gd name="csY416" fmla="*/ 1172041 h 1538630"/>
              <a:gd name="csX417" fmla="*/ 1457573 w 1609516"/>
              <a:gd name="csY417" fmla="*/ 1140686 h 1538630"/>
              <a:gd name="csX418" fmla="*/ 1457573 w 1609516"/>
              <a:gd name="csY418" fmla="*/ 1137867 h 1538630"/>
              <a:gd name="csX419" fmla="*/ 1452985 w 1609516"/>
              <a:gd name="csY419" fmla="*/ 1137339 h 1538630"/>
              <a:gd name="csX420" fmla="*/ 1448200 w 1609516"/>
              <a:gd name="csY420" fmla="*/ 1136458 h 1538630"/>
              <a:gd name="csX421" fmla="*/ 1446638 w 1609516"/>
              <a:gd name="csY421" fmla="*/ 1133640 h 1538630"/>
              <a:gd name="csX422" fmla="*/ 1438937 w 1609516"/>
              <a:gd name="csY422" fmla="*/ 1130601 h 1538630"/>
              <a:gd name="csX423" fmla="*/ 1429260 w 1609516"/>
              <a:gd name="csY423" fmla="*/ 1126770 h 1538630"/>
              <a:gd name="csX424" fmla="*/ 1411393 w 1609516"/>
              <a:gd name="csY424" fmla="*/ 1120340 h 1538630"/>
              <a:gd name="csX425" fmla="*/ 1391427 w 1609516"/>
              <a:gd name="csY425" fmla="*/ 1111191 h 1538630"/>
              <a:gd name="csX426" fmla="*/ 1381029 w 1609516"/>
              <a:gd name="csY426" fmla="*/ 1106865 h 1538630"/>
              <a:gd name="csX427" fmla="*/ 1381029 w 1609516"/>
              <a:gd name="csY427" fmla="*/ 1104046 h 1538630"/>
              <a:gd name="csX428" fmla="*/ 1377221 w 1609516"/>
              <a:gd name="csY428" fmla="*/ 1103605 h 1538630"/>
              <a:gd name="csX429" fmla="*/ 1357597 w 1609516"/>
              <a:gd name="csY429" fmla="*/ 1098409 h 1538630"/>
              <a:gd name="csX430" fmla="*/ 1352032 w 1609516"/>
              <a:gd name="csY430" fmla="*/ 1096736 h 1538630"/>
              <a:gd name="csX431" fmla="*/ 1348225 w 1609516"/>
              <a:gd name="csY431" fmla="*/ 1095590 h 1538630"/>
              <a:gd name="csX432" fmla="*/ 1348225 w 1609516"/>
              <a:gd name="csY432" fmla="*/ 1092772 h 1538630"/>
              <a:gd name="csX433" fmla="*/ 1337290 w 1609516"/>
              <a:gd name="csY433" fmla="*/ 1091363 h 1538630"/>
              <a:gd name="csX434" fmla="*/ 1337290 w 1609516"/>
              <a:gd name="csY434" fmla="*/ 1088544 h 1538630"/>
              <a:gd name="csX435" fmla="*/ 1331529 w 1609516"/>
              <a:gd name="csY435" fmla="*/ 1088104 h 1538630"/>
              <a:gd name="csX436" fmla="*/ 1323297 w 1609516"/>
              <a:gd name="csY436" fmla="*/ 1086611 h 1538630"/>
              <a:gd name="csX437" fmla="*/ 1323297 w 1609516"/>
              <a:gd name="csY437" fmla="*/ 1087618 h 1538630"/>
              <a:gd name="csX438" fmla="*/ 1319789 w 1609516"/>
              <a:gd name="csY438" fmla="*/ 1087310 h 1538630"/>
              <a:gd name="csX439" fmla="*/ 1262375 w 1609516"/>
              <a:gd name="csY439" fmla="*/ 1089028 h 1538630"/>
              <a:gd name="csX440" fmla="*/ 1258728 w 1609516"/>
              <a:gd name="csY440" fmla="*/ 1088205 h 1538630"/>
              <a:gd name="csX441" fmla="*/ 1246964 w 1609516"/>
              <a:gd name="csY441" fmla="*/ 1091489 h 1538630"/>
              <a:gd name="csX442" fmla="*/ 1223224 w 1609516"/>
              <a:gd name="csY442" fmla="*/ 1112865 h 1538630"/>
              <a:gd name="csX443" fmla="*/ 1213883 w 1609516"/>
              <a:gd name="csY443" fmla="*/ 1122366 h 1538630"/>
              <a:gd name="csX444" fmla="*/ 1212505 w 1609516"/>
              <a:gd name="csY444" fmla="*/ 1125708 h 1538630"/>
              <a:gd name="csX445" fmla="*/ 1204180 w 1609516"/>
              <a:gd name="csY445" fmla="*/ 1135561 h 1538630"/>
              <a:gd name="csX446" fmla="*/ 1200238 w 1609516"/>
              <a:gd name="csY446" fmla="*/ 1138999 h 1538630"/>
              <a:gd name="csX447" fmla="*/ 1192025 w 1609516"/>
              <a:gd name="csY447" fmla="*/ 1146022 h 1538630"/>
              <a:gd name="csX448" fmla="*/ 1173945 w 1609516"/>
              <a:gd name="csY448" fmla="*/ 1174749 h 1538630"/>
              <a:gd name="csX449" fmla="*/ 1173950 w 1609516"/>
              <a:gd name="csY449" fmla="*/ 1182610 h 1538630"/>
              <a:gd name="csX450" fmla="*/ 1173989 w 1609516"/>
              <a:gd name="csY450" fmla="*/ 1186765 h 1538630"/>
              <a:gd name="csX451" fmla="*/ 1182640 w 1609516"/>
              <a:gd name="csY451" fmla="*/ 1215374 h 1538630"/>
              <a:gd name="csX452" fmla="*/ 1185764 w 1609516"/>
              <a:gd name="csY452" fmla="*/ 1221804 h 1538630"/>
              <a:gd name="csX453" fmla="*/ 1187301 w 1609516"/>
              <a:gd name="csY453" fmla="*/ 1224859 h 1538630"/>
              <a:gd name="csX454" fmla="*/ 1190573 w 1609516"/>
              <a:gd name="csY454" fmla="*/ 1231740 h 1538630"/>
              <a:gd name="csX455" fmla="*/ 1205925 w 1609516"/>
              <a:gd name="csY455" fmla="*/ 1255163 h 1538630"/>
              <a:gd name="csX456" fmla="*/ 1212174 w 1609516"/>
              <a:gd name="csY456" fmla="*/ 1263134 h 1538630"/>
              <a:gd name="csX457" fmla="*/ 1235556 w 1609516"/>
              <a:gd name="csY457" fmla="*/ 1282538 h 1538630"/>
              <a:gd name="csX458" fmla="*/ 1238876 w 1609516"/>
              <a:gd name="csY458" fmla="*/ 1284426 h 1538630"/>
              <a:gd name="csX459" fmla="*/ 1238876 w 1609516"/>
              <a:gd name="csY459" fmla="*/ 1287245 h 1538630"/>
              <a:gd name="csX460" fmla="*/ 1242245 w 1609516"/>
              <a:gd name="csY460" fmla="*/ 1287663 h 1538630"/>
              <a:gd name="csX461" fmla="*/ 1271681 w 1609516"/>
              <a:gd name="csY461" fmla="*/ 1305565 h 1538630"/>
              <a:gd name="csX462" fmla="*/ 1271742 w 1609516"/>
              <a:gd name="csY462" fmla="*/ 1306172 h 1538630"/>
              <a:gd name="csX463" fmla="*/ 1278525 w 1609516"/>
              <a:gd name="csY463" fmla="*/ 1315767 h 1538630"/>
              <a:gd name="csX464" fmla="*/ 1281097 w 1609516"/>
              <a:gd name="csY464" fmla="*/ 1327286 h 1538630"/>
              <a:gd name="csX465" fmla="*/ 1277973 w 1609516"/>
              <a:gd name="csY465" fmla="*/ 1355470 h 1538630"/>
              <a:gd name="csX466" fmla="*/ 1277460 w 1609516"/>
              <a:gd name="csY466" fmla="*/ 1347025 h 1538630"/>
              <a:gd name="csX467" fmla="*/ 1273531 w 1609516"/>
              <a:gd name="csY467" fmla="*/ 1357991 h 1538630"/>
              <a:gd name="csX468" fmla="*/ 1263870 w 1609516"/>
              <a:gd name="csY468" fmla="*/ 1368980 h 1538630"/>
              <a:gd name="csX469" fmla="*/ 1246686 w 1609516"/>
              <a:gd name="csY469" fmla="*/ 1376026 h 1538630"/>
              <a:gd name="csX470" fmla="*/ 1246686 w 1609516"/>
              <a:gd name="csY470" fmla="*/ 1378844 h 1538630"/>
              <a:gd name="csX471" fmla="*/ 1231651 w 1609516"/>
              <a:gd name="csY471" fmla="*/ 1379196 h 1538630"/>
              <a:gd name="csX472" fmla="*/ 1227373 w 1609516"/>
              <a:gd name="csY472" fmla="*/ 1379340 h 1538630"/>
              <a:gd name="csX473" fmla="*/ 1206071 w 1609516"/>
              <a:gd name="csY473" fmla="*/ 1373207 h 1538630"/>
              <a:gd name="csX474" fmla="*/ 1202069 w 1609516"/>
              <a:gd name="csY474" fmla="*/ 1371798 h 1538630"/>
              <a:gd name="csX475" fmla="*/ 1184104 w 1609516"/>
              <a:gd name="csY475" fmla="*/ 1356176 h 1538630"/>
              <a:gd name="csX476" fmla="*/ 1177270 w 1609516"/>
              <a:gd name="csY476" fmla="*/ 1335247 h 1538630"/>
              <a:gd name="csX477" fmla="*/ 1169002 w 1609516"/>
              <a:gd name="csY477" fmla="*/ 1313464 h 1538630"/>
              <a:gd name="csX478" fmla="*/ 1163504 w 1609516"/>
              <a:gd name="csY478" fmla="*/ 1302130 h 1538630"/>
              <a:gd name="csX479" fmla="*/ 1162015 w 1609516"/>
              <a:gd name="csY479" fmla="*/ 1298788 h 1538630"/>
              <a:gd name="csX480" fmla="*/ 1160111 w 1609516"/>
              <a:gd name="csY480" fmla="*/ 1292656 h 1538630"/>
              <a:gd name="csX481" fmla="*/ 1154522 w 1609516"/>
              <a:gd name="csY481" fmla="*/ 1287245 h 1538630"/>
              <a:gd name="csX482" fmla="*/ 1151398 w 1609516"/>
              <a:gd name="csY482" fmla="*/ 1280199 h 1538630"/>
              <a:gd name="csX483" fmla="*/ 1144173 w 1609516"/>
              <a:gd name="csY483" fmla="*/ 1270774 h 1538630"/>
              <a:gd name="csX484" fmla="*/ 1142065 w 1609516"/>
              <a:gd name="csY484" fmla="*/ 1268160 h 1538630"/>
              <a:gd name="csX485" fmla="*/ 1135776 w 1609516"/>
              <a:gd name="csY485" fmla="*/ 1260470 h 1538630"/>
              <a:gd name="csX486" fmla="*/ 1132353 w 1609516"/>
              <a:gd name="csY486" fmla="*/ 1256247 h 1538630"/>
              <a:gd name="csX487" fmla="*/ 1112344 w 1609516"/>
              <a:gd name="csY487" fmla="*/ 1240741 h 1538630"/>
              <a:gd name="csX488" fmla="*/ 1106193 w 1609516"/>
              <a:gd name="csY488" fmla="*/ 1237570 h 1538630"/>
              <a:gd name="csX489" fmla="*/ 1101409 w 1609516"/>
              <a:gd name="csY489" fmla="*/ 1235104 h 1538630"/>
              <a:gd name="csX490" fmla="*/ 1101409 w 1609516"/>
              <a:gd name="csY490" fmla="*/ 1230876 h 1538630"/>
              <a:gd name="csX491" fmla="*/ 1065480 w 1609516"/>
              <a:gd name="csY491" fmla="*/ 1230876 h 1538630"/>
              <a:gd name="csX492" fmla="*/ 1063919 w 1609516"/>
              <a:gd name="csY492" fmla="*/ 1235104 h 1538630"/>
              <a:gd name="csX493" fmla="*/ 1059232 w 1609516"/>
              <a:gd name="csY493" fmla="*/ 1235104 h 1538630"/>
              <a:gd name="csX494" fmla="*/ 1059232 w 1609516"/>
              <a:gd name="csY494" fmla="*/ 1237922 h 1538630"/>
              <a:gd name="csX495" fmla="*/ 1040194 w 1609516"/>
              <a:gd name="csY495" fmla="*/ 1245761 h 1538630"/>
              <a:gd name="csX496" fmla="*/ 1030333 w 1609516"/>
              <a:gd name="csY496" fmla="*/ 1249901 h 1538630"/>
              <a:gd name="csX497" fmla="*/ 1013931 w 1609516"/>
              <a:gd name="csY497" fmla="*/ 1256242 h 1538630"/>
              <a:gd name="csX498" fmla="*/ 1005925 w 1609516"/>
              <a:gd name="csY498" fmla="*/ 1261615 h 1538630"/>
              <a:gd name="csX499" fmla="*/ 1004558 w 1609516"/>
              <a:gd name="csY499" fmla="*/ 1264697 h 1538630"/>
              <a:gd name="csX500" fmla="*/ 1002959 w 1609516"/>
              <a:gd name="csY500" fmla="*/ 1267961 h 1538630"/>
              <a:gd name="csX501" fmla="*/ 1000653 w 1609516"/>
              <a:gd name="csY501" fmla="*/ 1278965 h 1538630"/>
              <a:gd name="csX502" fmla="*/ 998297 w 1609516"/>
              <a:gd name="csY502" fmla="*/ 1294137 h 1538630"/>
              <a:gd name="csX503" fmla="*/ 996162 w 1609516"/>
              <a:gd name="csY503" fmla="*/ 1324765 h 1538630"/>
              <a:gd name="csX504" fmla="*/ 996164 w 1609516"/>
              <a:gd name="csY504" fmla="*/ 1327846 h 1538630"/>
              <a:gd name="csX505" fmla="*/ 1007780 w 1609516"/>
              <a:gd name="csY505" fmla="*/ 1403329 h 1538630"/>
              <a:gd name="csX506" fmla="*/ 1008940 w 1609516"/>
              <a:gd name="csY506" fmla="*/ 1407701 h 1538630"/>
              <a:gd name="csX507" fmla="*/ 1010080 w 1609516"/>
              <a:gd name="csY507" fmla="*/ 1411730 h 1538630"/>
              <a:gd name="csX508" fmla="*/ 1011075 w 1609516"/>
              <a:gd name="csY508" fmla="*/ 1415277 h 1538630"/>
              <a:gd name="csX509" fmla="*/ 1017055 w 1609516"/>
              <a:gd name="csY509" fmla="*/ 1422530 h 1538630"/>
              <a:gd name="csX510" fmla="*/ 1020277 w 1609516"/>
              <a:gd name="csY510" fmla="*/ 1427991 h 1538630"/>
              <a:gd name="csX511" fmla="*/ 1021796 w 1609516"/>
              <a:gd name="csY511" fmla="*/ 1430798 h 1538630"/>
              <a:gd name="csX512" fmla="*/ 1024579 w 1609516"/>
              <a:gd name="csY512" fmla="*/ 1437239 h 1538630"/>
              <a:gd name="csX513" fmla="*/ 1034043 w 1609516"/>
              <a:gd name="csY513" fmla="*/ 1448072 h 1538630"/>
              <a:gd name="csX514" fmla="*/ 1043782 w 1609516"/>
              <a:gd name="csY514" fmla="*/ 1464320 h 1538630"/>
              <a:gd name="csX515" fmla="*/ 1050458 w 1609516"/>
              <a:gd name="csY515" fmla="*/ 1472189 h 1538630"/>
              <a:gd name="csX516" fmla="*/ 1052926 w 1609516"/>
              <a:gd name="csY516" fmla="*/ 1482370 h 1538630"/>
              <a:gd name="csX517" fmla="*/ 1053316 w 1609516"/>
              <a:gd name="csY517" fmla="*/ 1496903 h 1538630"/>
              <a:gd name="csX518" fmla="*/ 1053352 w 1609516"/>
              <a:gd name="csY518" fmla="*/ 1500660 h 1538630"/>
              <a:gd name="csX519" fmla="*/ 1053341 w 1609516"/>
              <a:gd name="csY519" fmla="*/ 1504285 h 1538630"/>
              <a:gd name="csX520" fmla="*/ 1053329 w 1609516"/>
              <a:gd name="csY520" fmla="*/ 1507529 h 1538630"/>
              <a:gd name="csX521" fmla="*/ 1049801 w 1609516"/>
              <a:gd name="csY521" fmla="*/ 1516192 h 1538630"/>
              <a:gd name="csX522" fmla="*/ 1047312 w 1609516"/>
              <a:gd name="csY522" fmla="*/ 1516192 h 1538630"/>
              <a:gd name="csX523" fmla="*/ 1043611 w 1609516"/>
              <a:gd name="csY523" fmla="*/ 1522585 h 1538630"/>
              <a:gd name="csX524" fmla="*/ 1029552 w 1609516"/>
              <a:gd name="csY524" fmla="*/ 1529631 h 1538630"/>
              <a:gd name="csX525" fmla="*/ 1028771 w 1609516"/>
              <a:gd name="csY525" fmla="*/ 1532273 h 1538630"/>
              <a:gd name="csX526" fmla="*/ 1018013 w 1609516"/>
              <a:gd name="csY526" fmla="*/ 1537640 h 1538630"/>
              <a:gd name="csX527" fmla="*/ 981126 w 1609516"/>
              <a:gd name="csY527" fmla="*/ 1533859 h 1538630"/>
              <a:gd name="csX528" fmla="*/ 977227 w 1609516"/>
              <a:gd name="csY528" fmla="*/ 1531943 h 1538630"/>
              <a:gd name="csX529" fmla="*/ 955376 w 1609516"/>
              <a:gd name="csY529" fmla="*/ 1508751 h 1538630"/>
              <a:gd name="csX530" fmla="*/ 954571 w 1609516"/>
              <a:gd name="csY530" fmla="*/ 1500037 h 1538630"/>
              <a:gd name="csX531" fmla="*/ 951446 w 1609516"/>
              <a:gd name="csY531" fmla="*/ 1500037 h 1538630"/>
              <a:gd name="csX532" fmla="*/ 951251 w 1609516"/>
              <a:gd name="csY532" fmla="*/ 1487883 h 1538630"/>
              <a:gd name="csX533" fmla="*/ 951171 w 1609516"/>
              <a:gd name="csY533" fmla="*/ 1484431 h 1538630"/>
              <a:gd name="csX534" fmla="*/ 954571 w 1609516"/>
              <a:gd name="csY534" fmla="*/ 1466216 h 1538630"/>
              <a:gd name="csX535" fmla="*/ 954961 w 1609516"/>
              <a:gd name="csY535" fmla="*/ 1455118 h 1538630"/>
              <a:gd name="csX536" fmla="*/ 954932 w 1609516"/>
              <a:gd name="csY536" fmla="*/ 1451972 h 1538630"/>
              <a:gd name="csX537" fmla="*/ 945099 w 1609516"/>
              <a:gd name="csY537" fmla="*/ 1403594 h 1538630"/>
              <a:gd name="csX538" fmla="*/ 942366 w 1609516"/>
              <a:gd name="csY538" fmla="*/ 1393553 h 1538630"/>
              <a:gd name="csX539" fmla="*/ 934451 w 1609516"/>
              <a:gd name="csY539" fmla="*/ 1372734 h 1538630"/>
              <a:gd name="csX540" fmla="*/ 931974 w 1609516"/>
              <a:gd name="csY540" fmla="*/ 1365754 h 1538630"/>
              <a:gd name="csX541" fmla="*/ 931138 w 1609516"/>
              <a:gd name="csY541" fmla="*/ 1363343 h 1538630"/>
              <a:gd name="csX542" fmla="*/ 926452 w 1609516"/>
              <a:gd name="csY542" fmla="*/ 1361933 h 1538630"/>
              <a:gd name="csX543" fmla="*/ 918641 w 1609516"/>
              <a:gd name="csY543" fmla="*/ 1340795 h 1538630"/>
              <a:gd name="csX544" fmla="*/ 917079 w 1609516"/>
              <a:gd name="csY544" fmla="*/ 1335158 h 1538630"/>
              <a:gd name="csX545" fmla="*/ 913955 w 1609516"/>
              <a:gd name="csY545" fmla="*/ 1335158 h 1538630"/>
              <a:gd name="csX546" fmla="*/ 912057 w 1609516"/>
              <a:gd name="csY546" fmla="*/ 1330793 h 1538630"/>
              <a:gd name="csX547" fmla="*/ 902142 w 1609516"/>
              <a:gd name="csY547" fmla="*/ 1316222 h 1538630"/>
              <a:gd name="csX548" fmla="*/ 900091 w 1609516"/>
              <a:gd name="csY548" fmla="*/ 1313828 h 1538630"/>
              <a:gd name="csX549" fmla="*/ 878026 w 1609516"/>
              <a:gd name="csY549" fmla="*/ 1295700 h 1538630"/>
              <a:gd name="csX550" fmla="*/ 875134 w 1609516"/>
              <a:gd name="csY550" fmla="*/ 1293465 h 1538630"/>
              <a:gd name="csX551" fmla="*/ 869869 w 1609516"/>
              <a:gd name="csY551" fmla="*/ 1291826 h 1538630"/>
              <a:gd name="csX552" fmla="*/ 862384 w 1609516"/>
              <a:gd name="csY552" fmla="*/ 1291327 h 1538630"/>
              <a:gd name="csX553" fmla="*/ 844390 w 1609516"/>
              <a:gd name="csY553" fmla="*/ 1290461 h 1538630"/>
              <a:gd name="csX554" fmla="*/ 840476 w 1609516"/>
              <a:gd name="csY554" fmla="*/ 1290500 h 1538630"/>
              <a:gd name="csX555" fmla="*/ 831015 w 1609516"/>
              <a:gd name="csY555" fmla="*/ 1290637 h 1538630"/>
              <a:gd name="csX556" fmla="*/ 831015 w 1609516"/>
              <a:gd name="csY556" fmla="*/ 1293456 h 1538630"/>
              <a:gd name="csX557" fmla="*/ 818225 w 1609516"/>
              <a:gd name="csY557" fmla="*/ 1295570 h 1538630"/>
              <a:gd name="csX558" fmla="*/ 796774 w 1609516"/>
              <a:gd name="csY558" fmla="*/ 1297671 h 1538630"/>
              <a:gd name="csX559" fmla="*/ 783646 w 1609516"/>
              <a:gd name="csY559" fmla="*/ 1305736 h 1538630"/>
              <a:gd name="csX560" fmla="*/ 769263 w 1609516"/>
              <a:gd name="csY560" fmla="*/ 1327143 h 1538630"/>
              <a:gd name="csX561" fmla="*/ 764797 w 1609516"/>
              <a:gd name="csY561" fmla="*/ 1334360 h 1538630"/>
              <a:gd name="csX562" fmla="*/ 757875 w 1609516"/>
              <a:gd name="csY562" fmla="*/ 1353503 h 1538630"/>
              <a:gd name="csX563" fmla="*/ 755676 w 1609516"/>
              <a:gd name="csY563" fmla="*/ 1367455 h 1538630"/>
              <a:gd name="csX564" fmla="*/ 750558 w 1609516"/>
              <a:gd name="csY564" fmla="*/ 1399690 h 1538630"/>
              <a:gd name="csX565" fmla="*/ 753057 w 1609516"/>
              <a:gd name="csY565" fmla="*/ 1411256 h 1538630"/>
              <a:gd name="csX566" fmla="*/ 753057 w 1609516"/>
              <a:gd name="csY566" fmla="*/ 1416893 h 1538630"/>
              <a:gd name="csX567" fmla="*/ 756181 w 1609516"/>
              <a:gd name="csY567" fmla="*/ 1416893 h 1538630"/>
              <a:gd name="csX568" fmla="*/ 758133 w 1609516"/>
              <a:gd name="csY568" fmla="*/ 1436182 h 1538630"/>
              <a:gd name="csX569" fmla="*/ 758231 w 1609516"/>
              <a:gd name="csY569" fmla="*/ 1440781 h 1538630"/>
              <a:gd name="csX570" fmla="*/ 750713 w 1609516"/>
              <a:gd name="csY570" fmla="*/ 1465704 h 1538630"/>
              <a:gd name="csX571" fmla="*/ 748370 w 1609516"/>
              <a:gd name="csY571" fmla="*/ 1467185 h 1538630"/>
              <a:gd name="csX572" fmla="*/ 741633 w 1609516"/>
              <a:gd name="csY572" fmla="*/ 1473526 h 1538630"/>
              <a:gd name="csX573" fmla="*/ 728154 w 1609516"/>
              <a:gd name="csY573" fmla="*/ 1478343 h 1538630"/>
              <a:gd name="csX574" fmla="*/ 721814 w 1609516"/>
              <a:gd name="csY574" fmla="*/ 1480308 h 1538630"/>
              <a:gd name="csX575" fmla="*/ 708341 w 1609516"/>
              <a:gd name="csY575" fmla="*/ 1480661 h 1538630"/>
              <a:gd name="csX576" fmla="*/ 704637 w 1609516"/>
              <a:gd name="csY576" fmla="*/ 1480748 h 1538630"/>
              <a:gd name="csX577" fmla="*/ 668507 w 1609516"/>
              <a:gd name="csY577" fmla="*/ 1468418 h 1538630"/>
              <a:gd name="csX578" fmla="*/ 660178 w 1609516"/>
              <a:gd name="csY578" fmla="*/ 1450027 h 1538630"/>
              <a:gd name="csX579" fmla="*/ 657767 w 1609516"/>
              <a:gd name="csY579" fmla="*/ 1445078 h 1538630"/>
              <a:gd name="csX580" fmla="*/ 663369 w 1609516"/>
              <a:gd name="csY580" fmla="*/ 1409390 h 1538630"/>
              <a:gd name="csX581" fmla="*/ 671826 w 1609516"/>
              <a:gd name="csY581" fmla="*/ 1401392 h 1538630"/>
              <a:gd name="csX582" fmla="*/ 678075 w 1609516"/>
              <a:gd name="csY582" fmla="*/ 1390118 h 1538630"/>
              <a:gd name="csX583" fmla="*/ 684323 w 1609516"/>
              <a:gd name="csY583" fmla="*/ 1388709 h 1538630"/>
              <a:gd name="csX584" fmla="*/ 685293 w 1609516"/>
              <a:gd name="csY584" fmla="*/ 1384233 h 1538630"/>
              <a:gd name="csX585" fmla="*/ 686569 w 1609516"/>
              <a:gd name="csY585" fmla="*/ 1378404 h 1538630"/>
              <a:gd name="csX586" fmla="*/ 687207 w 1609516"/>
              <a:gd name="csY586" fmla="*/ 1375456 h 1538630"/>
              <a:gd name="csX587" fmla="*/ 690572 w 1609516"/>
              <a:gd name="csY587" fmla="*/ 1363343 h 1538630"/>
              <a:gd name="csX588" fmla="*/ 692495 w 1609516"/>
              <a:gd name="csY588" fmla="*/ 1323376 h 1538630"/>
              <a:gd name="csX589" fmla="*/ 692625 w 1609516"/>
              <a:gd name="csY589" fmla="*/ 1315006 h 1538630"/>
              <a:gd name="csX590" fmla="*/ 687447 w 1609516"/>
              <a:gd name="csY590" fmla="*/ 1287245 h 1538630"/>
              <a:gd name="csX591" fmla="*/ 682761 w 1609516"/>
              <a:gd name="csY591" fmla="*/ 1285835 h 1538630"/>
              <a:gd name="csX592" fmla="*/ 678954 w 1609516"/>
              <a:gd name="csY592" fmla="*/ 1281608 h 1538630"/>
              <a:gd name="csX593" fmla="*/ 668702 w 1609516"/>
              <a:gd name="csY593" fmla="*/ 1275971 h 1538630"/>
              <a:gd name="csX594" fmla="*/ 662454 w 1609516"/>
              <a:gd name="csY594" fmla="*/ 1270334 h 1538630"/>
              <a:gd name="csX595" fmla="*/ 654643 w 1609516"/>
              <a:gd name="csY595" fmla="*/ 1267516 h 1538630"/>
              <a:gd name="csX596" fmla="*/ 654643 w 1609516"/>
              <a:gd name="csY596" fmla="*/ 1264697 h 1538630"/>
              <a:gd name="csX597" fmla="*/ 650152 w 1609516"/>
              <a:gd name="csY597" fmla="*/ 1264345 h 1538630"/>
              <a:gd name="csX598" fmla="*/ 628087 w 1609516"/>
              <a:gd name="csY598" fmla="*/ 1257651 h 1538630"/>
              <a:gd name="csX599" fmla="*/ 628087 w 1609516"/>
              <a:gd name="csY599" fmla="*/ 1254833 h 1538630"/>
              <a:gd name="csX600" fmla="*/ 625121 w 1609516"/>
              <a:gd name="csY600" fmla="*/ 1254315 h 1538630"/>
              <a:gd name="csX601" fmla="*/ 621252 w 1609516"/>
              <a:gd name="csY601" fmla="*/ 1253600 h 1538630"/>
              <a:gd name="csX602" fmla="*/ 617409 w 1609516"/>
              <a:gd name="csY602" fmla="*/ 1252906 h 1538630"/>
              <a:gd name="csX603" fmla="*/ 610904 w 1609516"/>
              <a:gd name="csY603" fmla="*/ 1249196 h 1538630"/>
              <a:gd name="csX604" fmla="*/ 565739 w 1609516"/>
              <a:gd name="csY604" fmla="*/ 1271742 h 1538630"/>
              <a:gd name="csX605" fmla="*/ 546924 w 1609516"/>
              <a:gd name="csY605" fmla="*/ 1290829 h 1538630"/>
              <a:gd name="csX606" fmla="*/ 543635 w 1609516"/>
              <a:gd name="csY606" fmla="*/ 1294643 h 1538630"/>
              <a:gd name="csX607" fmla="*/ 540651 w 1609516"/>
              <a:gd name="csY607" fmla="*/ 1298188 h 1538630"/>
              <a:gd name="csX608" fmla="*/ 529673 w 1609516"/>
              <a:gd name="csY608" fmla="*/ 1305565 h 1538630"/>
              <a:gd name="csX609" fmla="*/ 526549 w 1609516"/>
              <a:gd name="csY609" fmla="*/ 1311202 h 1538630"/>
              <a:gd name="csX610" fmla="*/ 523425 w 1609516"/>
              <a:gd name="csY610" fmla="*/ 1311202 h 1538630"/>
              <a:gd name="csX611" fmla="*/ 523230 w 1609516"/>
              <a:gd name="csY611" fmla="*/ 1313580 h 1538630"/>
              <a:gd name="csX612" fmla="*/ 517732 w 1609516"/>
              <a:gd name="csY612" fmla="*/ 1319739 h 1538630"/>
              <a:gd name="csX613" fmla="*/ 502239 w 1609516"/>
              <a:gd name="csY613" fmla="*/ 1337096 h 1538630"/>
              <a:gd name="csX614" fmla="*/ 497058 w 1609516"/>
              <a:gd name="csY614" fmla="*/ 1344087 h 1538630"/>
              <a:gd name="csX615" fmla="*/ 494572 w 1609516"/>
              <a:gd name="csY615" fmla="*/ 1347465 h 1538630"/>
              <a:gd name="csX616" fmla="*/ 487776 w 1609516"/>
              <a:gd name="csY616" fmla="*/ 1356181 h 1538630"/>
              <a:gd name="csX617" fmla="*/ 481248 w 1609516"/>
              <a:gd name="csY617" fmla="*/ 1367571 h 1538630"/>
              <a:gd name="csX618" fmla="*/ 478123 w 1609516"/>
              <a:gd name="csY618" fmla="*/ 1367571 h 1538630"/>
              <a:gd name="csX619" fmla="*/ 477635 w 1609516"/>
              <a:gd name="csY619" fmla="*/ 1370565 h 1538630"/>
              <a:gd name="csX620" fmla="*/ 465626 w 1609516"/>
              <a:gd name="csY620" fmla="*/ 1388709 h 1538630"/>
              <a:gd name="csX621" fmla="*/ 461233 w 1609516"/>
              <a:gd name="csY621" fmla="*/ 1397340 h 1538630"/>
              <a:gd name="csX622" fmla="*/ 455765 w 1609516"/>
              <a:gd name="csY622" fmla="*/ 1408086 h 1538630"/>
              <a:gd name="csX623" fmla="*/ 439070 w 1609516"/>
              <a:gd name="csY623" fmla="*/ 1477490 h 1538630"/>
              <a:gd name="csX624" fmla="*/ 434384 w 1609516"/>
              <a:gd name="csY624" fmla="*/ 1478899 h 1538630"/>
              <a:gd name="csX625" fmla="*/ 432431 w 1609516"/>
              <a:gd name="csY625" fmla="*/ 1481982 h 1538630"/>
              <a:gd name="csX626" fmla="*/ 418763 w 1609516"/>
              <a:gd name="csY626" fmla="*/ 1494401 h 1538630"/>
              <a:gd name="csX627" fmla="*/ 415639 w 1609516"/>
              <a:gd name="csY627" fmla="*/ 1494401 h 1538630"/>
              <a:gd name="csX628" fmla="*/ 415639 w 1609516"/>
              <a:gd name="csY628" fmla="*/ 1497219 h 1538630"/>
              <a:gd name="csX629" fmla="*/ 406265 w 1609516"/>
              <a:gd name="csY629" fmla="*/ 1498628 h 1538630"/>
              <a:gd name="csX630" fmla="*/ 406265 w 1609516"/>
              <a:gd name="csY630" fmla="*/ 1501447 h 1538630"/>
              <a:gd name="csX631" fmla="*/ 375023 w 1609516"/>
              <a:gd name="csY631" fmla="*/ 1501447 h 1538630"/>
              <a:gd name="csX632" fmla="*/ 375023 w 1609516"/>
              <a:gd name="csY632" fmla="*/ 1499438 h 1538630"/>
              <a:gd name="csX633" fmla="*/ 374964 w 1609516"/>
              <a:gd name="csY633" fmla="*/ 1499436 h 1538630"/>
              <a:gd name="csX634" fmla="*/ 373179 w 1609516"/>
              <a:gd name="csY634" fmla="*/ 1498628 h 1538630"/>
              <a:gd name="csX635" fmla="*/ 365650 w 1609516"/>
              <a:gd name="csY635" fmla="*/ 1498628 h 1538630"/>
              <a:gd name="csX636" fmla="*/ 363134 w 1609516"/>
              <a:gd name="csY636" fmla="*/ 1494087 h 1538630"/>
              <a:gd name="csX637" fmla="*/ 362171 w 1609516"/>
              <a:gd name="csY637" fmla="*/ 1493651 h 1538630"/>
              <a:gd name="csX638" fmla="*/ 360609 w 1609516"/>
              <a:gd name="csY638" fmla="*/ 1490833 h 1538630"/>
              <a:gd name="csX639" fmla="*/ 363733 w 1609516"/>
              <a:gd name="csY639" fmla="*/ 1490833 h 1538630"/>
              <a:gd name="csX640" fmla="*/ 363733 w 1609516"/>
              <a:gd name="csY640" fmla="*/ 1489980 h 1538630"/>
              <a:gd name="csX641" fmla="*/ 348467 w 1609516"/>
              <a:gd name="csY641" fmla="*/ 1481717 h 1538630"/>
              <a:gd name="csX642" fmla="*/ 343872 w 1609516"/>
              <a:gd name="csY642" fmla="*/ 1461078 h 1538630"/>
              <a:gd name="csX643" fmla="*/ 343656 w 1609516"/>
              <a:gd name="csY643" fmla="*/ 1463649 h 1538630"/>
              <a:gd name="csX644" fmla="*/ 343424 w 1609516"/>
              <a:gd name="csY644" fmla="*/ 1466842 h 1538630"/>
              <a:gd name="csX645" fmla="*/ 341861 w 1609516"/>
              <a:gd name="csY645" fmla="*/ 1466842 h 1538630"/>
              <a:gd name="csX646" fmla="*/ 354143 w 1609516"/>
              <a:gd name="csY646" fmla="*/ 1420549 h 1538630"/>
              <a:gd name="csX647" fmla="*/ 376229 w 1609516"/>
              <a:gd name="csY647" fmla="*/ 1403427 h 1538630"/>
              <a:gd name="csX648" fmla="*/ 379491 w 1609516"/>
              <a:gd name="csY648" fmla="*/ 1404408 h 1538630"/>
              <a:gd name="csX649" fmla="*/ 379710 w 1609516"/>
              <a:gd name="csY649" fmla="*/ 1404210 h 1538630"/>
              <a:gd name="csX650" fmla="*/ 380882 w 1609516"/>
              <a:gd name="csY650" fmla="*/ 1401568 h 1538630"/>
              <a:gd name="csX651" fmla="*/ 392207 w 1609516"/>
              <a:gd name="csY651" fmla="*/ 1392936 h 1538630"/>
              <a:gd name="csX652" fmla="*/ 399542 w 1609516"/>
              <a:gd name="csY652" fmla="*/ 1386774 h 1538630"/>
              <a:gd name="csX653" fmla="*/ 405485 w 1609516"/>
              <a:gd name="csY653" fmla="*/ 1378917 h 1538630"/>
              <a:gd name="csX654" fmla="*/ 412008 w 1609516"/>
              <a:gd name="csY654" fmla="*/ 1369481 h 1538630"/>
              <a:gd name="csX655" fmla="*/ 421130 w 1609516"/>
              <a:gd name="csY655" fmla="*/ 1357057 h 1538630"/>
              <a:gd name="csX656" fmla="*/ 424676 w 1609516"/>
              <a:gd name="csY656" fmla="*/ 1348443 h 1538630"/>
              <a:gd name="csX657" fmla="*/ 427275 w 1609516"/>
              <a:gd name="csY657" fmla="*/ 1348443 h 1538630"/>
              <a:gd name="csX658" fmla="*/ 428135 w 1609516"/>
              <a:gd name="csY658" fmla="*/ 1345727 h 1538630"/>
              <a:gd name="csX659" fmla="*/ 432822 w 1609516"/>
              <a:gd name="csY659" fmla="*/ 1335158 h 1538630"/>
              <a:gd name="csX660" fmla="*/ 435946 w 1609516"/>
              <a:gd name="csY660" fmla="*/ 1335158 h 1538630"/>
              <a:gd name="csX661" fmla="*/ 437704 w 1609516"/>
              <a:gd name="csY661" fmla="*/ 1329786 h 1538630"/>
              <a:gd name="csX662" fmla="*/ 447394 w 1609516"/>
              <a:gd name="csY662" fmla="*/ 1311196 h 1538630"/>
              <a:gd name="csX663" fmla="*/ 469287 w 1609516"/>
              <a:gd name="csY663" fmla="*/ 1265964 h 1538630"/>
              <a:gd name="csX664" fmla="*/ 478178 w 1609516"/>
              <a:gd name="csY664" fmla="*/ 1246787 h 1538630"/>
              <a:gd name="csX665" fmla="*/ 480179 w 1609516"/>
              <a:gd name="csY665" fmla="*/ 1225768 h 1538630"/>
              <a:gd name="csX666" fmla="*/ 480250 w 1609516"/>
              <a:gd name="csY666" fmla="*/ 1217149 h 1538630"/>
              <a:gd name="csX667" fmla="*/ 462972 w 1609516"/>
              <a:gd name="csY667" fmla="*/ 1174827 h 1538630"/>
              <a:gd name="csX668" fmla="*/ 457468 w 1609516"/>
              <a:gd name="csY668" fmla="*/ 1169949 h 1538630"/>
              <a:gd name="csX669" fmla="*/ 440657 w 1609516"/>
              <a:gd name="csY669" fmla="*/ 1152570 h 1538630"/>
              <a:gd name="csX670" fmla="*/ 403142 w 1609516"/>
              <a:gd name="csY670" fmla="*/ 1122366 h 1538630"/>
              <a:gd name="csX671" fmla="*/ 401579 w 1609516"/>
              <a:gd name="csY671" fmla="*/ 1119547 h 1538630"/>
              <a:gd name="csX672" fmla="*/ 364564 w 1609516"/>
              <a:gd name="csY672" fmla="*/ 1118209 h 1538630"/>
              <a:gd name="csX673" fmla="*/ 357822 w 1609516"/>
              <a:gd name="csY673" fmla="*/ 1122041 h 1538630"/>
              <a:gd name="csX674" fmla="*/ 348077 w 1609516"/>
              <a:gd name="csY674" fmla="*/ 1125273 h 1538630"/>
              <a:gd name="csX675" fmla="*/ 334408 w 1609516"/>
              <a:gd name="csY675" fmla="*/ 1132230 h 1538630"/>
              <a:gd name="csX676" fmla="*/ 327964 w 1609516"/>
              <a:gd name="csY676" fmla="*/ 1134080 h 1538630"/>
              <a:gd name="csX677" fmla="*/ 279734 w 1609516"/>
              <a:gd name="csY677" fmla="*/ 1166051 h 1538630"/>
              <a:gd name="csX678" fmla="*/ 276609 w 1609516"/>
              <a:gd name="csY678" fmla="*/ 1173098 h 1538630"/>
              <a:gd name="csX679" fmla="*/ 260988 w 1609516"/>
              <a:gd name="csY679" fmla="*/ 1188599 h 1538630"/>
              <a:gd name="csX680" fmla="*/ 257956 w 1609516"/>
              <a:gd name="csY680" fmla="*/ 1191132 h 1538630"/>
              <a:gd name="csX681" fmla="*/ 243805 w 1609516"/>
              <a:gd name="csY681" fmla="*/ 1196629 h 1538630"/>
              <a:gd name="csX682" fmla="*/ 243805 w 1609516"/>
              <a:gd name="csY682" fmla="*/ 1194236 h 1538630"/>
              <a:gd name="csX683" fmla="*/ 240288 w 1609516"/>
              <a:gd name="csY683" fmla="*/ 1194765 h 1538630"/>
              <a:gd name="csX684" fmla="*/ 243374 w 1609516"/>
              <a:gd name="csY684" fmla="*/ 1194765 h 1538630"/>
              <a:gd name="csX685" fmla="*/ 243374 w 1609516"/>
              <a:gd name="csY685" fmla="*/ 1196797 h 1538630"/>
              <a:gd name="csX686" fmla="*/ 243805 w 1609516"/>
              <a:gd name="csY686" fmla="*/ 1196629 h 1538630"/>
              <a:gd name="csX687" fmla="*/ 243805 w 1609516"/>
              <a:gd name="csY687" fmla="*/ 1197055 h 1538630"/>
              <a:gd name="csX688" fmla="*/ 243374 w 1609516"/>
              <a:gd name="csY688" fmla="*/ 1197055 h 1538630"/>
              <a:gd name="csX689" fmla="*/ 243374 w 1609516"/>
              <a:gd name="csY689" fmla="*/ 1197584 h 1538630"/>
              <a:gd name="csX690" fmla="*/ 241319 w 1609516"/>
              <a:gd name="csY690" fmla="*/ 1197595 h 1538630"/>
              <a:gd name="csX691" fmla="*/ 238009 w 1609516"/>
              <a:gd name="csY691" fmla="*/ 1198881 h 1538630"/>
              <a:gd name="csX692" fmla="*/ 215687 w 1609516"/>
              <a:gd name="csY692" fmla="*/ 1198464 h 1538630"/>
              <a:gd name="csX693" fmla="*/ 215687 w 1609516"/>
              <a:gd name="csY693" fmla="*/ 1197734 h 1538630"/>
              <a:gd name="csX694" fmla="*/ 213936 w 1609516"/>
              <a:gd name="csY694" fmla="*/ 1197744 h 1538630"/>
              <a:gd name="csX695" fmla="*/ 207446 w 1609516"/>
              <a:gd name="csY695" fmla="*/ 1196175 h 1538630"/>
              <a:gd name="csX696" fmla="*/ 207822 w 1609516"/>
              <a:gd name="csY696" fmla="*/ 1195610 h 1538630"/>
              <a:gd name="csX697" fmla="*/ 184737 w 1609516"/>
              <a:gd name="csY697" fmla="*/ 1180936 h 1538630"/>
              <a:gd name="csX698" fmla="*/ 179270 w 1609516"/>
              <a:gd name="csY698" fmla="*/ 1154866 h 1538630"/>
              <a:gd name="csX699" fmla="*/ 179194 w 1609516"/>
              <a:gd name="csY699" fmla="*/ 1151621 h 1538630"/>
              <a:gd name="csX700" fmla="*/ 193195 w 1609516"/>
              <a:gd name="csY700" fmla="*/ 1120065 h 1538630"/>
              <a:gd name="csX701" fmla="*/ 229551 w 1609516"/>
              <a:gd name="csY701" fmla="*/ 1110299 h 1538630"/>
              <a:gd name="csX702" fmla="*/ 260988 w 1609516"/>
              <a:gd name="csY702" fmla="*/ 1108274 h 1538630"/>
              <a:gd name="csX703" fmla="*/ 260988 w 1609516"/>
              <a:gd name="csY703" fmla="*/ 1105455 h 1538630"/>
              <a:gd name="csX704" fmla="*/ 263911 w 1609516"/>
              <a:gd name="csY704" fmla="*/ 1104310 h 1538630"/>
              <a:gd name="csX705" fmla="*/ 286995 w 1609516"/>
              <a:gd name="csY705" fmla="*/ 1090185 h 1538630"/>
              <a:gd name="csX706" fmla="*/ 299358 w 1609516"/>
              <a:gd name="csY706" fmla="*/ 1080970 h 1538630"/>
              <a:gd name="csX707" fmla="*/ 317762 w 1609516"/>
              <a:gd name="csY707" fmla="*/ 1063272 h 1538630"/>
              <a:gd name="csX708" fmla="*/ 325035 w 1609516"/>
              <a:gd name="csY708" fmla="*/ 1057542 h 1538630"/>
              <a:gd name="csX709" fmla="*/ 325328 w 1609516"/>
              <a:gd name="csY709" fmla="*/ 1023104 h 1538630"/>
              <a:gd name="csX710" fmla="*/ 324544 w 1609516"/>
              <a:gd name="csY710" fmla="*/ 1019247 h 1538630"/>
              <a:gd name="csX711" fmla="*/ 317225 w 1609516"/>
              <a:gd name="csY711" fmla="*/ 996945 h 1538630"/>
              <a:gd name="csX712" fmla="*/ 315388 w 1609516"/>
              <a:gd name="csY712" fmla="*/ 992690 h 1538630"/>
              <a:gd name="csX713" fmla="*/ 276232 w 1609516"/>
              <a:gd name="csY713" fmla="*/ 950666 h 1538630"/>
              <a:gd name="csX714" fmla="*/ 271923 w 1609516"/>
              <a:gd name="csY714" fmla="*/ 949031 h 1538630"/>
              <a:gd name="csX715" fmla="*/ 268299 w 1609516"/>
              <a:gd name="csY715" fmla="*/ 947441 h 1538630"/>
              <a:gd name="csX716" fmla="*/ 199187 w 1609516"/>
              <a:gd name="csY716" fmla="*/ 938991 h 1538630"/>
              <a:gd name="csX717" fmla="*/ 193719 w 1609516"/>
              <a:gd name="csY717" fmla="*/ 938971 h 1538630"/>
              <a:gd name="csX718" fmla="*/ 188539 w 1609516"/>
              <a:gd name="csY718" fmla="*/ 938980 h 1538630"/>
              <a:gd name="csX719" fmla="*/ 183874 w 1609516"/>
              <a:gd name="csY719" fmla="*/ 938985 h 1538630"/>
              <a:gd name="csX720" fmla="*/ 173509 w 1609516"/>
              <a:gd name="csY720" fmla="*/ 940576 h 1538630"/>
              <a:gd name="csX721" fmla="*/ 161403 w 1609516"/>
              <a:gd name="csY721" fmla="*/ 940664 h 1538630"/>
              <a:gd name="csX722" fmla="*/ 158102 w 1609516"/>
              <a:gd name="csY722" fmla="*/ 940645 h 1538630"/>
              <a:gd name="csX723" fmla="*/ 150875 w 1609516"/>
              <a:gd name="csY723" fmla="*/ 940583 h 1538630"/>
              <a:gd name="csX724" fmla="*/ 148425 w 1609516"/>
              <a:gd name="csY724" fmla="*/ 940717 h 1538630"/>
              <a:gd name="csX725" fmla="*/ 149617 w 1609516"/>
              <a:gd name="csY725" fmla="*/ 940995 h 1538630"/>
              <a:gd name="csX726" fmla="*/ 149617 w 1609516"/>
              <a:gd name="csY726" fmla="*/ 942404 h 1538630"/>
              <a:gd name="csX727" fmla="*/ 146627 w 1609516"/>
              <a:gd name="csY727" fmla="*/ 942871 h 1538630"/>
              <a:gd name="csX728" fmla="*/ 110564 w 1609516"/>
              <a:gd name="csY728" fmla="*/ 949449 h 1538630"/>
              <a:gd name="csX729" fmla="*/ 111283 w 1609516"/>
              <a:gd name="csY729" fmla="*/ 946205 h 1538630"/>
              <a:gd name="csX730" fmla="*/ 101652 w 1609516"/>
              <a:gd name="csY730" fmla="*/ 956078 h 1538630"/>
              <a:gd name="csX731" fmla="*/ 98052 w 1609516"/>
              <a:gd name="csY731" fmla="*/ 958467 h 1538630"/>
              <a:gd name="csX732" fmla="*/ 67286 w 1609516"/>
              <a:gd name="csY732" fmla="*/ 972989 h 1538630"/>
              <a:gd name="csX733" fmla="*/ 67286 w 1609516"/>
              <a:gd name="csY733" fmla="*/ 975807 h 1538630"/>
              <a:gd name="csX734" fmla="*/ 31942 w 1609516"/>
              <a:gd name="csY734" fmla="*/ 976423 h 1538630"/>
              <a:gd name="csX735" fmla="*/ 5673 w 1609516"/>
              <a:gd name="csY735" fmla="*/ 953419 h 1538630"/>
              <a:gd name="csX736" fmla="*/ 4801 w 1609516"/>
              <a:gd name="csY736" fmla="*/ 944804 h 1538630"/>
              <a:gd name="csX737" fmla="*/ 1676 w 1609516"/>
              <a:gd name="csY737" fmla="*/ 944804 h 1538630"/>
              <a:gd name="csX738" fmla="*/ 17 w 1609516"/>
              <a:gd name="csY738" fmla="*/ 931857 h 1538630"/>
              <a:gd name="csX739" fmla="*/ 59 w 1609516"/>
              <a:gd name="csY739" fmla="*/ 927216 h 1538630"/>
              <a:gd name="csX740" fmla="*/ 115 w 1609516"/>
              <a:gd name="csY740" fmla="*/ 923666 h 1538630"/>
              <a:gd name="csX741" fmla="*/ 3238 w 1609516"/>
              <a:gd name="csY741" fmla="*/ 923666 h 1538630"/>
              <a:gd name="csX742" fmla="*/ 3238 w 1609516"/>
              <a:gd name="csY742" fmla="*/ 918029 h 1538630"/>
              <a:gd name="csX743" fmla="*/ 6363 w 1609516"/>
              <a:gd name="csY743" fmla="*/ 918029 h 1538630"/>
              <a:gd name="csX744" fmla="*/ 6656 w 1609516"/>
              <a:gd name="csY744" fmla="*/ 912832 h 1538630"/>
              <a:gd name="csX745" fmla="*/ 15736 w 1609516"/>
              <a:gd name="csY745" fmla="*/ 899709 h 1538630"/>
              <a:gd name="csX746" fmla="*/ 17243 w 1609516"/>
              <a:gd name="csY746" fmla="*/ 898894 h 1538630"/>
              <a:gd name="csX747" fmla="*/ 16800 w 1609516"/>
              <a:gd name="csY747" fmla="*/ 898694 h 1538630"/>
              <a:gd name="csX748" fmla="*/ 24988 w 1609516"/>
              <a:gd name="csY748" fmla="*/ 894101 h 1538630"/>
              <a:gd name="csX749" fmla="*/ 26768 w 1609516"/>
              <a:gd name="csY749" fmla="*/ 892399 h 1538630"/>
              <a:gd name="csX750" fmla="*/ 30198 w 1609516"/>
              <a:gd name="csY750" fmla="*/ 890164 h 1538630"/>
              <a:gd name="csX751" fmla="*/ 32204 w 1609516"/>
              <a:gd name="csY751" fmla="*/ 890054 h 1538630"/>
              <a:gd name="csX752" fmla="*/ 38914 w 1609516"/>
              <a:gd name="csY752" fmla="*/ 886291 h 1538630"/>
              <a:gd name="csX753" fmla="*/ 63664 w 1609516"/>
              <a:gd name="csY753" fmla="*/ 886011 h 1538630"/>
              <a:gd name="csX754" fmla="*/ 63664 w 1609516"/>
              <a:gd name="csY754" fmla="*/ 886531 h 1538630"/>
              <a:gd name="csX755" fmla="*/ 70784 w 1609516"/>
              <a:gd name="csY755" fmla="*/ 886647 h 1538630"/>
              <a:gd name="csX756" fmla="*/ 82126 w 1609516"/>
              <a:gd name="csY756" fmla="*/ 889845 h 1538630"/>
              <a:gd name="csX757" fmla="*/ 114149 w 1609516"/>
              <a:gd name="csY757" fmla="*/ 892663 h 1538630"/>
              <a:gd name="csX758" fmla="*/ 118836 w 1609516"/>
              <a:gd name="csY758" fmla="*/ 889845 h 1538630"/>
              <a:gd name="csX759" fmla="*/ 131626 w 1609516"/>
              <a:gd name="csY759" fmla="*/ 887114 h 1538630"/>
              <a:gd name="csX760" fmla="*/ 155116 w 1609516"/>
              <a:gd name="csY760" fmla="*/ 880913 h 1538630"/>
              <a:gd name="csX761" fmla="*/ 165406 w 1609516"/>
              <a:gd name="csY761" fmla="*/ 878483 h 1538630"/>
              <a:gd name="csX762" fmla="*/ 176634 w 1609516"/>
              <a:gd name="csY762" fmla="*/ 874343 h 1538630"/>
              <a:gd name="csX763" fmla="*/ 186397 w 1609516"/>
              <a:gd name="csY763" fmla="*/ 871524 h 1538630"/>
              <a:gd name="csX764" fmla="*/ 191871 w 1609516"/>
              <a:gd name="csY764" fmla="*/ 870033 h 1538630"/>
              <a:gd name="csX765" fmla="*/ 203483 w 1609516"/>
              <a:gd name="csY765" fmla="*/ 867208 h 1538630"/>
              <a:gd name="csX766" fmla="*/ 211001 w 1609516"/>
              <a:gd name="csY766" fmla="*/ 861660 h 1538630"/>
              <a:gd name="csX767" fmla="*/ 218031 w 1609516"/>
              <a:gd name="csY767" fmla="*/ 858577 h 1538630"/>
              <a:gd name="csX768" fmla="*/ 254740 w 1609516"/>
              <a:gd name="csY768" fmla="*/ 825020 h 1538630"/>
              <a:gd name="csX769" fmla="*/ 257864 w 1609516"/>
              <a:gd name="csY769" fmla="*/ 820792 h 1538630"/>
              <a:gd name="csX770" fmla="*/ 258318 w 1609516"/>
              <a:gd name="csY770" fmla="*/ 813810 h 1538630"/>
              <a:gd name="csX771" fmla="*/ 258378 w 1609516"/>
              <a:gd name="csY771" fmla="*/ 809502 h 1538630"/>
              <a:gd name="csX772" fmla="*/ 258389 w 1609516"/>
              <a:gd name="csY772" fmla="*/ 804845 h 1538630"/>
              <a:gd name="csX773" fmla="*/ 258420 w 1609516"/>
              <a:gd name="csY773" fmla="*/ 800036 h 1538630"/>
              <a:gd name="csX774" fmla="*/ 258443 w 1609516"/>
              <a:gd name="csY774" fmla="*/ 789939 h 1538630"/>
              <a:gd name="csX775" fmla="*/ 258566 w 1609516"/>
              <a:gd name="csY775" fmla="*/ 774594 h 1538630"/>
              <a:gd name="csX776" fmla="*/ 258584 w 1609516"/>
              <a:gd name="csY776" fmla="*/ 764771 h 1538630"/>
              <a:gd name="csX777" fmla="*/ 258652 w 1609516"/>
              <a:gd name="csY777" fmla="*/ 760174 h 1538630"/>
              <a:gd name="csX778" fmla="*/ 251616 w 1609516"/>
              <a:gd name="csY778" fmla="*/ 733421 h 1538630"/>
              <a:gd name="csX779" fmla="*/ 247613 w 1609516"/>
              <a:gd name="csY779" fmla="*/ 721883 h 1538630"/>
              <a:gd name="csX780" fmla="*/ 241291 w 1609516"/>
              <a:gd name="csY780" fmla="*/ 705644 h 1538630"/>
              <a:gd name="csX781" fmla="*/ 237557 w 1609516"/>
              <a:gd name="csY781" fmla="*/ 689735 h 1538630"/>
              <a:gd name="csX782" fmla="*/ 248492 w 1609516"/>
              <a:gd name="csY782" fmla="*/ 685507 h 1538630"/>
              <a:gd name="csX783" fmla="*/ 248492 w 1609516"/>
              <a:gd name="csY783" fmla="*/ 681279 h 1538630"/>
              <a:gd name="csX784" fmla="*/ 240681 w 1609516"/>
              <a:gd name="csY784" fmla="*/ 679870 h 1538630"/>
              <a:gd name="csX785" fmla="*/ 240681 w 1609516"/>
              <a:gd name="csY785" fmla="*/ 677052 h 1538630"/>
              <a:gd name="csX786" fmla="*/ 238094 w 1609516"/>
              <a:gd name="csY786" fmla="*/ 676645 h 1538630"/>
              <a:gd name="csX787" fmla="*/ 225841 w 1609516"/>
              <a:gd name="csY787" fmla="*/ 670886 h 1538630"/>
              <a:gd name="csX788" fmla="*/ 201531 w 1609516"/>
              <a:gd name="csY788" fmla="*/ 662508 h 1538630"/>
              <a:gd name="csX789" fmla="*/ 188252 w 1609516"/>
              <a:gd name="csY789" fmla="*/ 658644 h 1538630"/>
              <a:gd name="csX790" fmla="*/ 182431 w 1609516"/>
              <a:gd name="csY790" fmla="*/ 657327 h 1538630"/>
              <a:gd name="csX791" fmla="*/ 182431 w 1609516"/>
              <a:gd name="csY791" fmla="*/ 657613 h 1538630"/>
              <a:gd name="csX792" fmla="*/ 146503 w 1609516"/>
              <a:gd name="csY792" fmla="*/ 656204 h 1538630"/>
              <a:gd name="csX793" fmla="*/ 146503 w 1609516"/>
              <a:gd name="csY793" fmla="*/ 659022 h 1538630"/>
              <a:gd name="csX794" fmla="*/ 110378 w 1609516"/>
              <a:gd name="csY794" fmla="*/ 663778 h 1538630"/>
              <a:gd name="csX795" fmla="*/ 106453 w 1609516"/>
              <a:gd name="csY795" fmla="*/ 663836 h 1538630"/>
              <a:gd name="csX796" fmla="*/ 102751 w 1609516"/>
              <a:gd name="csY796" fmla="*/ 663811 h 1538630"/>
              <a:gd name="csX797" fmla="*/ 99449 w 1609516"/>
              <a:gd name="csY797" fmla="*/ 663797 h 1538630"/>
              <a:gd name="csX798" fmla="*/ 91828 w 1609516"/>
              <a:gd name="csY798" fmla="*/ 659022 h 1538630"/>
              <a:gd name="csX799" fmla="*/ 98077 w 1609516"/>
              <a:gd name="csY799" fmla="*/ 659022 h 1538630"/>
              <a:gd name="csX800" fmla="*/ 98077 w 1609516"/>
              <a:gd name="csY800" fmla="*/ 661841 h 1538630"/>
              <a:gd name="csX801" fmla="*/ 119023 w 1609516"/>
              <a:gd name="csY801" fmla="*/ 661357 h 1538630"/>
              <a:gd name="csX802" fmla="*/ 119536 w 1609516"/>
              <a:gd name="csY802" fmla="*/ 661197 h 1538630"/>
              <a:gd name="csX803" fmla="*/ 109853 w 1609516"/>
              <a:gd name="csY803" fmla="*/ 661639 h 1538630"/>
              <a:gd name="csX804" fmla="*/ 106552 w 1609516"/>
              <a:gd name="csY804" fmla="*/ 661619 h 1538630"/>
              <a:gd name="csX805" fmla="*/ 98528 w 1609516"/>
              <a:gd name="csY805" fmla="*/ 661550 h 1538630"/>
              <a:gd name="csX806" fmla="*/ 98528 w 1609516"/>
              <a:gd name="csY806" fmla="*/ 658732 h 1538630"/>
              <a:gd name="csX807" fmla="*/ 89155 w 1609516"/>
              <a:gd name="csY807" fmla="*/ 657323 h 1538630"/>
              <a:gd name="csX808" fmla="*/ 89155 w 1609516"/>
              <a:gd name="csY808" fmla="*/ 654504 h 1538630"/>
              <a:gd name="csX809" fmla="*/ 86397 w 1609516"/>
              <a:gd name="csY809" fmla="*/ 653442 h 1538630"/>
              <a:gd name="csX810" fmla="*/ 77049 w 1609516"/>
              <a:gd name="csY810" fmla="*/ 646137 h 1538630"/>
              <a:gd name="csX811" fmla="*/ 74145 w 1609516"/>
              <a:gd name="csY811" fmla="*/ 643192 h 1538630"/>
              <a:gd name="csX812" fmla="*/ 71972 w 1609516"/>
              <a:gd name="csY812" fmla="*/ 636185 h 1538630"/>
              <a:gd name="csX813" fmla="*/ 68848 w 1609516"/>
              <a:gd name="csY813" fmla="*/ 636185 h 1538630"/>
              <a:gd name="csX814" fmla="*/ 70410 w 1609516"/>
              <a:gd name="csY814" fmla="*/ 595317 h 1538630"/>
              <a:gd name="csX815" fmla="*/ 79782 w 1609516"/>
              <a:gd name="csY815" fmla="*/ 584043 h 1538630"/>
              <a:gd name="csX816" fmla="*/ 82656 w 1609516"/>
              <a:gd name="csY816" fmla="*/ 581115 h 1538630"/>
              <a:gd name="csX817" fmla="*/ 116694 w 1609516"/>
              <a:gd name="csY817" fmla="*/ 572323 h 1538630"/>
              <a:gd name="csX818" fmla="*/ 152031 w 1609516"/>
              <a:gd name="csY818" fmla="*/ 590385 h 1538630"/>
              <a:gd name="csX819" fmla="*/ 191474 w 1609516"/>
              <a:gd name="csY819" fmla="*/ 605886 h 1538630"/>
              <a:gd name="csX820" fmla="*/ 206314 w 1609516"/>
              <a:gd name="csY820" fmla="*/ 608000 h 1538630"/>
              <a:gd name="csX821" fmla="*/ 206314 w 1609516"/>
              <a:gd name="csY821" fmla="*/ 610818 h 1538630"/>
              <a:gd name="csX822" fmla="*/ 234433 w 1609516"/>
              <a:gd name="csY822" fmla="*/ 610818 h 1538630"/>
              <a:gd name="csX823" fmla="*/ 239522 w 1609516"/>
              <a:gd name="csY823" fmla="*/ 610802 h 1538630"/>
              <a:gd name="csX824" fmla="*/ 268799 w 1609516"/>
              <a:gd name="csY824" fmla="*/ 600954 h 1538630"/>
              <a:gd name="csX825" fmla="*/ 271740 w 1609516"/>
              <a:gd name="csY825" fmla="*/ 599325 h 1538630"/>
              <a:gd name="csX826" fmla="*/ 284420 w 1609516"/>
              <a:gd name="csY826" fmla="*/ 579816 h 1538630"/>
              <a:gd name="csX827" fmla="*/ 289399 w 1609516"/>
              <a:gd name="csY827" fmla="*/ 568630 h 1538630"/>
              <a:gd name="csX828" fmla="*/ 293958 w 1609516"/>
              <a:gd name="csY828" fmla="*/ 535838 h 1538630"/>
              <a:gd name="csX829" fmla="*/ 289107 w 1609516"/>
              <a:gd name="csY829" fmla="*/ 529084 h 1538630"/>
              <a:gd name="csX830" fmla="*/ 289107 w 1609516"/>
              <a:gd name="csY830" fmla="*/ 526265 h 1538630"/>
              <a:gd name="csX831" fmla="*/ 284420 w 1609516"/>
              <a:gd name="csY831" fmla="*/ 524856 h 1538630"/>
              <a:gd name="csX832" fmla="*/ 282858 w 1609516"/>
              <a:gd name="csY832" fmla="*/ 520628 h 1538630"/>
              <a:gd name="csX833" fmla="*/ 277977 w 1609516"/>
              <a:gd name="csY833" fmla="*/ 516577 h 1538630"/>
              <a:gd name="csX834" fmla="*/ 264925 w 1609516"/>
              <a:gd name="csY834" fmla="*/ 506443 h 1538630"/>
              <a:gd name="csX835" fmla="*/ 229746 w 1609516"/>
              <a:gd name="csY835" fmla="*/ 481170 h 1538630"/>
              <a:gd name="csX836" fmla="*/ 221057 w 1609516"/>
              <a:gd name="csY836" fmla="*/ 475445 h 1538630"/>
              <a:gd name="csX837" fmla="*/ 212563 w 1609516"/>
              <a:gd name="csY837" fmla="*/ 469896 h 1538630"/>
              <a:gd name="csX838" fmla="*/ 208889 w 1609516"/>
              <a:gd name="csY838" fmla="*/ 467491 h 1538630"/>
              <a:gd name="csX839" fmla="*/ 190406 w 1609516"/>
              <a:gd name="csY839" fmla="*/ 456382 h 1538630"/>
              <a:gd name="csX840" fmla="*/ 186942 w 1609516"/>
              <a:gd name="csY840" fmla="*/ 454460 h 1538630"/>
              <a:gd name="csX841" fmla="*/ 180041 w 1609516"/>
              <a:gd name="csY841" fmla="*/ 450696 h 1538630"/>
              <a:gd name="csX842" fmla="*/ 171948 w 1609516"/>
              <a:gd name="csY842" fmla="*/ 445940 h 1538630"/>
              <a:gd name="csX843" fmla="*/ 171948 w 1609516"/>
              <a:gd name="csY843" fmla="*/ 443121 h 1538630"/>
              <a:gd name="csX844" fmla="*/ 168482 w 1609516"/>
              <a:gd name="csY844" fmla="*/ 442708 h 1538630"/>
              <a:gd name="csX845" fmla="*/ 157107 w 1609516"/>
              <a:gd name="csY845" fmla="*/ 437044 h 1538630"/>
              <a:gd name="csX846" fmla="*/ 132559 w 1609516"/>
              <a:gd name="csY846" fmla="*/ 427510 h 1538630"/>
              <a:gd name="csX847" fmla="*/ 123522 w 1609516"/>
              <a:gd name="csY847" fmla="*/ 421983 h 1538630"/>
              <a:gd name="csX848" fmla="*/ 107986 w 1609516"/>
              <a:gd name="csY848" fmla="*/ 418730 h 1538630"/>
              <a:gd name="csX849" fmla="*/ 102494 w 1609516"/>
              <a:gd name="csY849" fmla="*/ 418622 h 1538630"/>
              <a:gd name="csX850" fmla="*/ 91157 w 1609516"/>
              <a:gd name="csY850" fmla="*/ 418490 h 1538630"/>
              <a:gd name="csX851" fmla="*/ 55277 w 1609516"/>
              <a:gd name="csY851" fmla="*/ 410445 h 1538630"/>
              <a:gd name="csX852" fmla="*/ 51665 w 1609516"/>
              <a:gd name="csY852" fmla="*/ 406481 h 1538630"/>
              <a:gd name="csX853" fmla="*/ 45904 w 1609516"/>
              <a:gd name="csY853" fmla="*/ 400492 h 1538630"/>
              <a:gd name="csX854" fmla="*/ 43152 w 1609516"/>
              <a:gd name="csY854" fmla="*/ 397564 h 1538630"/>
              <a:gd name="csX855" fmla="*/ 37605 w 1609516"/>
              <a:gd name="csY855" fmla="*/ 393798 h 1538630"/>
              <a:gd name="csX856" fmla="*/ 38995 w 1609516"/>
              <a:gd name="csY856" fmla="*/ 368712 h 1538630"/>
              <a:gd name="csX857" fmla="*/ 38666 w 1609516"/>
              <a:gd name="csY857" fmla="*/ 369724 h 1538630"/>
              <a:gd name="csX858" fmla="*/ 35542 w 1609516"/>
              <a:gd name="csY858" fmla="*/ 384081 h 1538630"/>
              <a:gd name="csX859" fmla="*/ 33326 w 1609516"/>
              <a:gd name="csY859" fmla="*/ 357791 h 1538630"/>
              <a:gd name="csX860" fmla="*/ 52725 w 1609516"/>
              <a:gd name="csY860" fmla="*/ 333349 h 1538630"/>
              <a:gd name="csX861" fmla="*/ 55222 w 1609516"/>
              <a:gd name="csY861" fmla="*/ 334475 h 1538630"/>
              <a:gd name="csX862" fmla="*/ 56222 w 1609516"/>
              <a:gd name="csY862" fmla="*/ 333347 h 1538630"/>
              <a:gd name="csX863" fmla="*/ 55871 w 1609516"/>
              <a:gd name="csY863" fmla="*/ 333347 h 1538630"/>
              <a:gd name="csX864" fmla="*/ 56346 w 1609516"/>
              <a:gd name="csY864" fmla="*/ 333207 h 1538630"/>
              <a:gd name="csX865" fmla="*/ 56351 w 1609516"/>
              <a:gd name="csY865" fmla="*/ 333202 h 1538630"/>
              <a:gd name="csX866" fmla="*/ 56365 w 1609516"/>
              <a:gd name="csY866" fmla="*/ 333202 h 1538630"/>
              <a:gd name="csX867" fmla="*/ 79571 w 1609516"/>
              <a:gd name="csY867" fmla="*/ 326360 h 1538630"/>
              <a:gd name="csX868" fmla="*/ 104297 w 1609516"/>
              <a:gd name="csY868" fmla="*/ 330529 h 1538630"/>
              <a:gd name="csX869" fmla="*/ 107170 w 1609516"/>
              <a:gd name="csY869" fmla="*/ 334417 h 1538630"/>
              <a:gd name="csX870" fmla="*/ 109366 w 1609516"/>
              <a:gd name="csY870" fmla="*/ 336046 h 1538630"/>
              <a:gd name="csX871" fmla="*/ 109463 w 1609516"/>
              <a:gd name="csY871" fmla="*/ 336020 h 1538630"/>
              <a:gd name="csX872" fmla="*/ 109463 w 1609516"/>
              <a:gd name="csY872" fmla="*/ 336118 h 1538630"/>
              <a:gd name="csX873" fmla="*/ 115226 w 1609516"/>
              <a:gd name="csY873" fmla="*/ 340394 h 1538630"/>
              <a:gd name="csX874" fmla="*/ 114010 w 1609516"/>
              <a:gd name="csY874" fmla="*/ 340120 h 1538630"/>
              <a:gd name="csX875" fmla="*/ 133285 w 1609516"/>
              <a:gd name="csY875" fmla="*/ 357423 h 1538630"/>
              <a:gd name="csX876" fmla="*/ 173509 w 1609516"/>
              <a:gd name="csY876" fmla="*/ 389571 h 1538630"/>
              <a:gd name="csX877" fmla="*/ 181711 w 1609516"/>
              <a:gd name="csY877" fmla="*/ 393270 h 1538630"/>
              <a:gd name="csX878" fmla="*/ 185507 w 1609516"/>
              <a:gd name="csY878" fmla="*/ 394976 h 1538630"/>
              <a:gd name="csX879" fmla="*/ 192658 w 1609516"/>
              <a:gd name="csY879" fmla="*/ 398257 h 1538630"/>
              <a:gd name="csX880" fmla="*/ 195966 w 1609516"/>
              <a:gd name="csY880" fmla="*/ 399788 h 1538630"/>
              <a:gd name="csX881" fmla="*/ 198833 w 1609516"/>
              <a:gd name="csY881" fmla="*/ 401131 h 1538630"/>
              <a:gd name="csX882" fmla="*/ 207877 w 1609516"/>
              <a:gd name="csY882" fmla="*/ 403663 h 1538630"/>
              <a:gd name="csX883" fmla="*/ 207877 w 1609516"/>
              <a:gd name="csY883" fmla="*/ 406481 h 1538630"/>
              <a:gd name="csX884" fmla="*/ 248492 w 1609516"/>
              <a:gd name="csY884" fmla="*/ 419428 h 1538630"/>
              <a:gd name="csX885" fmla="*/ 253965 w 1609516"/>
              <a:gd name="csY885" fmla="*/ 421000 h 1538630"/>
              <a:gd name="csX886" fmla="*/ 267237 w 1609516"/>
              <a:gd name="csY886" fmla="*/ 424801 h 1538630"/>
              <a:gd name="csX887" fmla="*/ 267237 w 1609516"/>
              <a:gd name="csY887" fmla="*/ 426451 h 1538630"/>
              <a:gd name="csX888" fmla="*/ 288701 w 1609516"/>
              <a:gd name="csY888" fmla="*/ 429217 h 1538630"/>
              <a:gd name="csX889" fmla="*/ 288701 w 1609516"/>
              <a:gd name="csY889" fmla="*/ 432036 h 1538630"/>
              <a:gd name="csX890" fmla="*/ 327010 w 1609516"/>
              <a:gd name="csY890" fmla="*/ 433628 h 1538630"/>
              <a:gd name="csX891" fmla="*/ 337486 w 1609516"/>
              <a:gd name="csY891" fmla="*/ 433637 h 1538630"/>
              <a:gd name="csX892" fmla="*/ 344229 w 1609516"/>
              <a:gd name="csY892" fmla="*/ 433632 h 1538630"/>
              <a:gd name="csX893" fmla="*/ 350323 w 1609516"/>
              <a:gd name="csY893" fmla="*/ 433627 h 1538630"/>
              <a:gd name="csX894" fmla="*/ 365245 w 1609516"/>
              <a:gd name="csY894" fmla="*/ 432036 h 1538630"/>
              <a:gd name="csX895" fmla="*/ 360797 w 1609516"/>
              <a:gd name="csY895" fmla="*/ 433759 h 1538630"/>
              <a:gd name="csX896" fmla="*/ 365650 w 1609516"/>
              <a:gd name="csY896" fmla="*/ 433257 h 1538630"/>
              <a:gd name="csX897" fmla="*/ 367213 w 1609516"/>
              <a:gd name="csY897" fmla="*/ 429029 h 1538630"/>
              <a:gd name="csX898" fmla="*/ 375188 w 1609516"/>
              <a:gd name="csY898" fmla="*/ 424906 h 1538630"/>
              <a:gd name="csX899" fmla="*/ 404704 w 1609516"/>
              <a:gd name="csY899" fmla="*/ 389571 h 1538630"/>
              <a:gd name="csX900" fmla="*/ 406265 w 1609516"/>
              <a:gd name="csY900" fmla="*/ 388161 h 1538630"/>
              <a:gd name="csX901" fmla="*/ 406559 w 1609516"/>
              <a:gd name="csY901" fmla="*/ 370106 h 1538630"/>
              <a:gd name="csX902" fmla="*/ 406617 w 1609516"/>
              <a:gd name="csY902" fmla="*/ 364973 h 1538630"/>
              <a:gd name="csX903" fmla="*/ 406626 w 1609516"/>
              <a:gd name="csY903" fmla="*/ 360038 h 1538630"/>
              <a:gd name="csX904" fmla="*/ 406645 w 1609516"/>
              <a:gd name="csY904" fmla="*/ 355503 h 1538630"/>
              <a:gd name="csX905" fmla="*/ 403142 w 1609516"/>
              <a:gd name="csY905" fmla="*/ 345885 h 1538630"/>
              <a:gd name="csX906" fmla="*/ 401579 w 1609516"/>
              <a:gd name="csY906" fmla="*/ 338663 h 1538630"/>
              <a:gd name="csX907" fmla="*/ 390938 w 1609516"/>
              <a:gd name="csY907" fmla="*/ 315939 h 1538630"/>
              <a:gd name="csX908" fmla="*/ 388976 w 1609516"/>
              <a:gd name="csY908" fmla="*/ 312762 h 1538630"/>
              <a:gd name="csX909" fmla="*/ 377934 w 1609516"/>
              <a:gd name="csY909" fmla="*/ 297817 h 1538630"/>
              <a:gd name="csX910" fmla="*/ 368775 w 1609516"/>
              <a:gd name="csY910" fmla="*/ 282470 h 1538630"/>
              <a:gd name="csX911" fmla="*/ 359890 w 1609516"/>
              <a:gd name="csY911" fmla="*/ 271284 h 1538630"/>
              <a:gd name="csX912" fmla="*/ 357374 w 1609516"/>
              <a:gd name="csY912" fmla="*/ 268288 h 1538630"/>
              <a:gd name="csX913" fmla="*/ 337533 w 1609516"/>
              <a:gd name="csY913" fmla="*/ 248649 h 1538630"/>
              <a:gd name="csX914" fmla="*/ 335214 w 1609516"/>
              <a:gd name="csY914" fmla="*/ 246369 h 1538630"/>
              <a:gd name="csX915" fmla="*/ 327085 w 1609516"/>
              <a:gd name="csY915" fmla="*/ 242571 h 1538630"/>
              <a:gd name="csX916" fmla="*/ 288785 w 1609516"/>
              <a:gd name="csY916" fmla="*/ 207968 h 1538630"/>
              <a:gd name="csX917" fmla="*/ 286373 w 1609516"/>
              <a:gd name="csY917" fmla="*/ 192544 h 1538630"/>
              <a:gd name="csX918" fmla="*/ 286385 w 1609516"/>
              <a:gd name="csY918" fmla="*/ 189190 h 1538630"/>
              <a:gd name="csX919" fmla="*/ 300042 w 1609516"/>
              <a:gd name="csY919" fmla="*/ 164095 h 1538630"/>
              <a:gd name="csX920" fmla="*/ 302757 w 1609516"/>
              <a:gd name="csY920" fmla="*/ 161381 h 1538630"/>
              <a:gd name="csX921" fmla="*/ 338411 w 1609516"/>
              <a:gd name="csY921" fmla="*/ 152293 h 1538630"/>
              <a:gd name="csX922" fmla="*/ 368482 w 1609516"/>
              <a:gd name="csY922" fmla="*/ 161893 h 1538630"/>
              <a:gd name="csX923" fmla="*/ 371899 w 1609516"/>
              <a:gd name="csY923" fmla="*/ 165505 h 1538630"/>
              <a:gd name="csX924" fmla="*/ 375121 w 1609516"/>
              <a:gd name="csY924" fmla="*/ 168587 h 1538630"/>
              <a:gd name="csX925" fmla="*/ 384982 w 1609516"/>
              <a:gd name="csY925" fmla="*/ 193777 h 1538630"/>
              <a:gd name="csX926" fmla="*/ 390352 w 1609516"/>
              <a:gd name="csY926" fmla="*/ 214563 h 1538630"/>
              <a:gd name="csX927" fmla="*/ 391529 w 1609516"/>
              <a:gd name="csY927" fmla="*/ 217626 h 1538630"/>
              <a:gd name="csX928" fmla="*/ 401579 w 1609516"/>
              <a:gd name="csY928" fmla="*/ 234556 h 1538630"/>
              <a:gd name="csX929" fmla="*/ 401579 w 1609516"/>
              <a:gd name="csY929" fmla="*/ 238784 h 1538630"/>
              <a:gd name="csX930" fmla="*/ 404215 w 1609516"/>
              <a:gd name="csY930" fmla="*/ 239753 h 1538630"/>
              <a:gd name="csX931" fmla="*/ 417811 w 1609516"/>
              <a:gd name="csY931" fmla="*/ 251996 h 1538630"/>
              <a:gd name="csX932" fmla="*/ 426866 w 1609516"/>
              <a:gd name="csY932" fmla="*/ 262300 h 1538630"/>
              <a:gd name="csX933" fmla="*/ 450097 w 1609516"/>
              <a:gd name="csY933" fmla="*/ 287628 h 1538630"/>
              <a:gd name="csX934" fmla="*/ 457425 w 1609516"/>
              <a:gd name="csY934" fmla="*/ 293920 h 1538630"/>
              <a:gd name="csX935" fmla="*/ 460940 w 1609516"/>
              <a:gd name="csY935" fmla="*/ 296562 h 1538630"/>
              <a:gd name="csX936" fmla="*/ 460940 w 1609516"/>
              <a:gd name="csY936" fmla="*/ 300790 h 1538630"/>
              <a:gd name="csX937" fmla="*/ 473437 w 1609516"/>
              <a:gd name="csY937" fmla="*/ 305018 h 1538630"/>
              <a:gd name="csX938" fmla="*/ 473437 w 1609516"/>
              <a:gd name="csY938" fmla="*/ 307836 h 1538630"/>
              <a:gd name="csX939" fmla="*/ 479881 w 1609516"/>
              <a:gd name="csY939" fmla="*/ 309862 h 1538630"/>
              <a:gd name="csX940" fmla="*/ 483505 w 1609516"/>
              <a:gd name="csY940" fmla="*/ 311001 h 1538630"/>
              <a:gd name="csX941" fmla="*/ 548419 w 1609516"/>
              <a:gd name="csY941" fmla="*/ 306427 h 1538630"/>
              <a:gd name="csX942" fmla="*/ 551842 w 1609516"/>
              <a:gd name="csY942" fmla="*/ 305127 h 1538630"/>
              <a:gd name="csX943" fmla="*/ 560232 w 1609516"/>
              <a:gd name="csY943" fmla="*/ 298148 h 1538630"/>
              <a:gd name="csX944" fmla="*/ 562972 w 1609516"/>
              <a:gd name="csY944" fmla="*/ 295252 h 1538630"/>
              <a:gd name="csX945" fmla="*/ 568086 w 1609516"/>
              <a:gd name="csY945" fmla="*/ 289152 h 1538630"/>
              <a:gd name="csX946" fmla="*/ 570289 w 1609516"/>
              <a:gd name="csY946" fmla="*/ 286697 h 1538630"/>
              <a:gd name="csX947" fmla="*/ 573413 w 1609516"/>
              <a:gd name="csY947" fmla="*/ 286697 h 1538630"/>
              <a:gd name="csX948" fmla="*/ 577220 w 1609516"/>
              <a:gd name="csY948" fmla="*/ 257016 h 1538630"/>
              <a:gd name="csX949" fmla="*/ 577235 w 1609516"/>
              <a:gd name="csY949" fmla="*/ 254206 h 1538630"/>
              <a:gd name="csX950" fmla="*/ 569443 w 1609516"/>
              <a:gd name="csY950" fmla="*/ 206049 h 1538630"/>
              <a:gd name="csX951" fmla="*/ 568726 w 1609516"/>
              <a:gd name="csY951" fmla="*/ 200735 h 1538630"/>
              <a:gd name="csX952" fmla="*/ 565602 w 1609516"/>
              <a:gd name="csY952" fmla="*/ 200735 h 1538630"/>
              <a:gd name="csX953" fmla="*/ 559549 w 1609516"/>
              <a:gd name="csY953" fmla="*/ 184441 h 1538630"/>
              <a:gd name="csX954" fmla="*/ 537484 w 1609516"/>
              <a:gd name="csY954" fmla="*/ 159867 h 1538630"/>
              <a:gd name="csX955" fmla="*/ 531235 w 1609516"/>
              <a:gd name="csY955" fmla="*/ 154230 h 1538630"/>
              <a:gd name="csX956" fmla="*/ 531235 w 1609516"/>
              <a:gd name="csY956" fmla="*/ 151412 h 1538630"/>
              <a:gd name="csX957" fmla="*/ 526549 w 1609516"/>
              <a:gd name="csY957" fmla="*/ 150003 h 1538630"/>
              <a:gd name="csX958" fmla="*/ 524304 w 1609516"/>
              <a:gd name="csY958" fmla="*/ 107198 h 1538630"/>
              <a:gd name="csX959" fmla="*/ 547052 w 1609516"/>
              <a:gd name="csY959" fmla="*/ 85972 h 1538630"/>
              <a:gd name="csX960" fmla="*/ 588460 w 1609516"/>
              <a:gd name="csY960" fmla="*/ 83538 h 1538630"/>
              <a:gd name="csX961" fmla="*/ 617152 w 1609516"/>
              <a:gd name="csY961" fmla="*/ 111954 h 1538630"/>
              <a:gd name="csX962" fmla="*/ 617884 w 1609516"/>
              <a:gd name="csY962" fmla="*/ 124175 h 1538630"/>
              <a:gd name="csX963" fmla="*/ 617917 w 1609516"/>
              <a:gd name="csY963" fmla="*/ 127607 h 1538630"/>
              <a:gd name="csX964" fmla="*/ 617919 w 1609516"/>
              <a:gd name="csY964" fmla="*/ 141969 h 1538630"/>
              <a:gd name="csX965" fmla="*/ 630625 w 1609516"/>
              <a:gd name="csY965" fmla="*/ 191311 h 1538630"/>
              <a:gd name="csX966" fmla="*/ 637850 w 1609516"/>
              <a:gd name="csY966" fmla="*/ 205139 h 1538630"/>
              <a:gd name="csX967" fmla="*/ 643708 w 1609516"/>
              <a:gd name="csY967" fmla="*/ 212009 h 1538630"/>
              <a:gd name="csX968" fmla="*/ 647027 w 1609516"/>
              <a:gd name="csY968" fmla="*/ 217645 h 1538630"/>
              <a:gd name="csX969" fmla="*/ 670264 w 1609516"/>
              <a:gd name="csY969" fmla="*/ 241603 h 1538630"/>
              <a:gd name="csX970" fmla="*/ 670264 w 1609516"/>
              <a:gd name="csY970" fmla="*/ 244421 h 1538630"/>
              <a:gd name="csX971" fmla="*/ 675634 w 1609516"/>
              <a:gd name="csY971" fmla="*/ 245742 h 1538630"/>
              <a:gd name="csX972" fmla="*/ 682761 w 1609516"/>
              <a:gd name="csY972" fmla="*/ 248649 h 1538630"/>
              <a:gd name="csX973" fmla="*/ 752092 w 1609516"/>
              <a:gd name="csY973" fmla="*/ 245076 h 1538630"/>
              <a:gd name="csX974" fmla="*/ 758433 w 1609516"/>
              <a:gd name="csY974" fmla="*/ 240485 h 1538630"/>
              <a:gd name="csX975" fmla="*/ 763991 w 1609516"/>
              <a:gd name="csY975" fmla="*/ 238784 h 1538630"/>
              <a:gd name="csX976" fmla="*/ 765315 w 1609516"/>
              <a:gd name="csY976" fmla="*/ 235778 h 1538630"/>
              <a:gd name="csX977" fmla="*/ 770923 w 1609516"/>
              <a:gd name="csY977" fmla="*/ 223459 h 1538630"/>
              <a:gd name="csX978" fmla="*/ 772998 w 1609516"/>
              <a:gd name="csY978" fmla="*/ 218934 h 1538630"/>
              <a:gd name="csX979" fmla="*/ 777562 w 1609516"/>
              <a:gd name="csY979" fmla="*/ 209895 h 1538630"/>
              <a:gd name="csX980" fmla="*/ 781175 w 1609516"/>
              <a:gd name="csY980" fmla="*/ 124637 h 1538630"/>
              <a:gd name="csX981" fmla="*/ 778051 w 1609516"/>
              <a:gd name="csY981" fmla="*/ 124637 h 1538630"/>
              <a:gd name="csX982" fmla="*/ 767116 w 1609516"/>
              <a:gd name="csY982" fmla="*/ 79542 h 1538630"/>
              <a:gd name="csX983" fmla="*/ 793379 w 1609516"/>
              <a:gd name="csY983" fmla="*/ 54000 h 1538630"/>
              <a:gd name="csX984" fmla="*/ 840688 w 1609516"/>
              <a:gd name="csY984" fmla="*/ 55503 h 1538630"/>
              <a:gd name="csX985" fmla="*/ 851470 w 1609516"/>
              <a:gd name="csY985" fmla="*/ 64040 h 1538630"/>
              <a:gd name="csX986" fmla="*/ 853997 w 1609516"/>
              <a:gd name="csY986" fmla="*/ 66529 h 1538630"/>
              <a:gd name="csX987" fmla="*/ 861488 w 1609516"/>
              <a:gd name="csY987" fmla="*/ 82057 h 1538630"/>
              <a:gd name="csX988" fmla="*/ 861937 w 1609516"/>
              <a:gd name="csY988" fmla="*/ 90492 h 1538630"/>
              <a:gd name="csX989" fmla="*/ 863826 w 1609516"/>
              <a:gd name="csY989" fmla="*/ 100715 h 1538630"/>
              <a:gd name="csX990" fmla="*/ 857577 w 1609516"/>
              <a:gd name="csY990" fmla="*/ 121853 h 1538630"/>
              <a:gd name="csX991" fmla="*/ 856015 w 1609516"/>
              <a:gd name="csY991" fmla="*/ 121853 h 1538630"/>
              <a:gd name="csX992" fmla="*/ 855442 w 1609516"/>
              <a:gd name="csY992" fmla="*/ 118919 h 1538630"/>
              <a:gd name="csX993" fmla="*/ 855417 w 1609516"/>
              <a:gd name="csY993" fmla="*/ 118798 h 1538630"/>
              <a:gd name="csX994" fmla="*/ 856157 w 1609516"/>
              <a:gd name="csY994" fmla="*/ 124637 h 1538630"/>
              <a:gd name="csX995" fmla="*/ 850623 w 1609516"/>
              <a:gd name="csY995" fmla="*/ 134701 h 1538630"/>
              <a:gd name="csX996" fmla="*/ 851325 w 1609516"/>
              <a:gd name="csY996" fmla="*/ 135968 h 1538630"/>
              <a:gd name="csX997" fmla="*/ 849886 w 1609516"/>
              <a:gd name="csY997" fmla="*/ 139843 h 1538630"/>
              <a:gd name="csX998" fmla="*/ 847786 w 1609516"/>
              <a:gd name="csY998" fmla="*/ 152889 h 1538630"/>
              <a:gd name="csX999" fmla="*/ 847767 w 1609516"/>
              <a:gd name="csY999" fmla="*/ 157768 h 1538630"/>
              <a:gd name="csX1000" fmla="*/ 847810 w 1609516"/>
              <a:gd name="csY1000" fmla="*/ 162919 h 1538630"/>
              <a:gd name="csX1001" fmla="*/ 847832 w 1609516"/>
              <a:gd name="csY1001" fmla="*/ 168227 h 1538630"/>
              <a:gd name="csX1002" fmla="*/ 850903 w 1609516"/>
              <a:gd name="csY1002" fmla="*/ 209013 h 1538630"/>
              <a:gd name="csX1003" fmla="*/ 852880 w 1609516"/>
              <a:gd name="csY1003" fmla="*/ 224692 h 1538630"/>
              <a:gd name="csX1004" fmla="*/ 854595 w 1609516"/>
              <a:gd name="csY1004" fmla="*/ 224692 h 1538630"/>
              <a:gd name="csX1005" fmla="*/ 856083 w 1609516"/>
              <a:gd name="csY1005" fmla="*/ 227268 h 1538630"/>
              <a:gd name="csX1006" fmla="*/ 879588 w 1609516"/>
              <a:gd name="csY1006" fmla="*/ 247239 h 1538630"/>
              <a:gd name="csX1007" fmla="*/ 885739 w 1609516"/>
              <a:gd name="csY1007" fmla="*/ 249618 h 1538630"/>
              <a:gd name="csX1008" fmla="*/ 890523 w 1609516"/>
              <a:gd name="csY1008" fmla="*/ 251467 h 1538630"/>
              <a:gd name="csX1009" fmla="*/ 890523 w 1609516"/>
              <a:gd name="csY1009" fmla="*/ 254285 h 1538630"/>
              <a:gd name="csX1010" fmla="*/ 920203 w 1609516"/>
              <a:gd name="csY1010" fmla="*/ 261332 h 1538630"/>
              <a:gd name="csX1011" fmla="*/ 920203 w 1609516"/>
              <a:gd name="csY1011" fmla="*/ 262741 h 1538630"/>
              <a:gd name="csX1012" fmla="*/ 910831 w 1609516"/>
              <a:gd name="csY1012" fmla="*/ 262741 h 1538630"/>
              <a:gd name="csX1013" fmla="*/ 910831 w 1609516"/>
              <a:gd name="csY1013" fmla="*/ 262864 h 1538630"/>
              <a:gd name="csX1014" fmla="*/ 927993 w 1609516"/>
              <a:gd name="csY1014" fmla="*/ 264177 h 1538630"/>
              <a:gd name="csX1015" fmla="*/ 939273 w 1609516"/>
              <a:gd name="csY1015" fmla="*/ 265285 h 1538630"/>
              <a:gd name="csX1016" fmla="*/ 940456 w 1609516"/>
              <a:gd name="csY1016" fmla="*/ 265191 h 1538630"/>
              <a:gd name="csX1017" fmla="*/ 991622 w 1609516"/>
              <a:gd name="csY1017" fmla="*/ 242329 h 1538630"/>
              <a:gd name="csX1018" fmla="*/ 1000803 w 1609516"/>
              <a:gd name="csY1018" fmla="*/ 236505 h 1538630"/>
              <a:gd name="csX1019" fmla="*/ 999806 w 1609516"/>
              <a:gd name="csY1019" fmla="*/ 236055 h 1538630"/>
              <a:gd name="csX1020" fmla="*/ 1003126 w 1609516"/>
              <a:gd name="csY1020" fmla="*/ 232851 h 1538630"/>
              <a:gd name="csX1021" fmla="*/ 1029487 w 1609516"/>
              <a:gd name="csY1021" fmla="*/ 205052 h 1538630"/>
              <a:gd name="csX1022" fmla="*/ 1029872 w 1609516"/>
              <a:gd name="csY1022" fmla="*/ 206442 h 1538630"/>
              <a:gd name="csX1023" fmla="*/ 1031614 w 1609516"/>
              <a:gd name="csY1023" fmla="*/ 203719 h 1538630"/>
              <a:gd name="csX1024" fmla="*/ 1038924 w 1609516"/>
              <a:gd name="csY1024" fmla="*/ 192280 h 1538630"/>
              <a:gd name="csX1025" fmla="*/ 1042049 w 1609516"/>
              <a:gd name="csY1025" fmla="*/ 190870 h 1538630"/>
              <a:gd name="csX1026" fmla="*/ 1044294 w 1609516"/>
              <a:gd name="csY1026" fmla="*/ 186026 h 1538630"/>
              <a:gd name="csX1027" fmla="*/ 1051422 w 1609516"/>
              <a:gd name="csY1027" fmla="*/ 178188 h 1538630"/>
              <a:gd name="csX1028" fmla="*/ 1052984 w 1609516"/>
              <a:gd name="csY1028" fmla="*/ 172551 h 1538630"/>
              <a:gd name="csX1029" fmla="*/ 1056108 w 1609516"/>
              <a:gd name="csY1029" fmla="*/ 172551 h 1538630"/>
              <a:gd name="csX1030" fmla="*/ 1059232 w 1609516"/>
              <a:gd name="csY1030" fmla="*/ 162686 h 1538630"/>
              <a:gd name="csX1031" fmla="*/ 1062357 w 1609516"/>
              <a:gd name="csY1031" fmla="*/ 162686 h 1538630"/>
              <a:gd name="csX1032" fmla="*/ 1063162 w 1609516"/>
              <a:gd name="csY1032" fmla="*/ 160258 h 1538630"/>
              <a:gd name="csX1033" fmla="*/ 1073292 w 1609516"/>
              <a:gd name="csY1033" fmla="*/ 140138 h 1538630"/>
              <a:gd name="csX1034" fmla="*/ 1076415 w 1609516"/>
              <a:gd name="csY1034" fmla="*/ 140138 h 1538630"/>
              <a:gd name="csX1035" fmla="*/ 1085294 w 1609516"/>
              <a:gd name="csY1035" fmla="*/ 117569 h 1538630"/>
              <a:gd name="csX1036" fmla="*/ 1087350 w 1609516"/>
              <a:gd name="csY1036" fmla="*/ 113363 h 1538630"/>
              <a:gd name="csX1037" fmla="*/ 1092037 w 1609516"/>
              <a:gd name="csY1037" fmla="*/ 111954 h 1538630"/>
              <a:gd name="csX1038" fmla="*/ 1092623 w 1609516"/>
              <a:gd name="csY1038" fmla="*/ 108695 h 1538630"/>
              <a:gd name="csX1039" fmla="*/ 1096723 w 1609516"/>
              <a:gd name="csY1039" fmla="*/ 100680 h 1538630"/>
              <a:gd name="csX1040" fmla="*/ 1098188 w 1609516"/>
              <a:gd name="csY1040" fmla="*/ 96013 h 1538630"/>
              <a:gd name="csX1041" fmla="*/ 1102288 w 1609516"/>
              <a:gd name="csY1041" fmla="*/ 87029 h 1538630"/>
              <a:gd name="csX1042" fmla="*/ 1104534 w 1609516"/>
              <a:gd name="csY1042" fmla="*/ 61222 h 1538630"/>
              <a:gd name="csX1043" fmla="*/ 1104381 w 1609516"/>
              <a:gd name="csY1043" fmla="*/ 55569 h 1538630"/>
              <a:gd name="csX1044" fmla="*/ 1104397 w 1609516"/>
              <a:gd name="csY1044" fmla="*/ 52335 h 1538630"/>
              <a:gd name="csX1045" fmla="*/ 1104436 w 1609516"/>
              <a:gd name="csY1045" fmla="*/ 48979 h 1538630"/>
              <a:gd name="csX1046" fmla="*/ 1104457 w 1609516"/>
              <a:gd name="csY1046" fmla="*/ 45575 h 1538630"/>
              <a:gd name="csX1047" fmla="*/ 1104534 w 1609516"/>
              <a:gd name="csY1047" fmla="*/ 37265 h 1538630"/>
              <a:gd name="csX1048" fmla="*/ 1107658 w 1609516"/>
              <a:gd name="csY1048" fmla="*/ 37265 h 1538630"/>
              <a:gd name="csX1049" fmla="*/ 1107463 w 1609516"/>
              <a:gd name="csY1049" fmla="*/ 31805 h 1538630"/>
              <a:gd name="csX1050" fmla="*/ 1107658 w 1609516"/>
              <a:gd name="csY1050" fmla="*/ 25991 h 1538630"/>
              <a:gd name="csX1051" fmla="*/ 1110782 w 1609516"/>
              <a:gd name="csY1051" fmla="*/ 23173 h 1538630"/>
              <a:gd name="csX1052" fmla="*/ 1111759 w 1609516"/>
              <a:gd name="csY1052" fmla="*/ 20091 h 1538630"/>
              <a:gd name="csX1053" fmla="*/ 1134507 w 1609516"/>
              <a:gd name="csY1053" fmla="*/ 2828 h 1538630"/>
              <a:gd name="csX1054" fmla="*/ 1155019 w 1609516"/>
              <a:gd name="csY1054" fmla="*/ 35 h 153863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  <a:cxn ang="0">
                <a:pos x="csX170" y="csY170"/>
              </a:cxn>
              <a:cxn ang="0">
                <a:pos x="csX171" y="csY171"/>
              </a:cxn>
              <a:cxn ang="0">
                <a:pos x="csX172" y="csY172"/>
              </a:cxn>
              <a:cxn ang="0">
                <a:pos x="csX173" y="csY173"/>
              </a:cxn>
              <a:cxn ang="0">
                <a:pos x="csX174" y="csY174"/>
              </a:cxn>
              <a:cxn ang="0">
                <a:pos x="csX175" y="csY175"/>
              </a:cxn>
              <a:cxn ang="0">
                <a:pos x="csX176" y="csY176"/>
              </a:cxn>
              <a:cxn ang="0">
                <a:pos x="csX177" y="csY177"/>
              </a:cxn>
              <a:cxn ang="0">
                <a:pos x="csX178" y="csY178"/>
              </a:cxn>
              <a:cxn ang="0">
                <a:pos x="csX179" y="csY179"/>
              </a:cxn>
              <a:cxn ang="0">
                <a:pos x="csX180" y="csY180"/>
              </a:cxn>
              <a:cxn ang="0">
                <a:pos x="csX181" y="csY181"/>
              </a:cxn>
              <a:cxn ang="0">
                <a:pos x="csX182" y="csY182"/>
              </a:cxn>
              <a:cxn ang="0">
                <a:pos x="csX183" y="csY183"/>
              </a:cxn>
              <a:cxn ang="0">
                <a:pos x="csX184" y="csY184"/>
              </a:cxn>
              <a:cxn ang="0">
                <a:pos x="csX185" y="csY185"/>
              </a:cxn>
              <a:cxn ang="0">
                <a:pos x="csX186" y="csY186"/>
              </a:cxn>
              <a:cxn ang="0">
                <a:pos x="csX187" y="csY187"/>
              </a:cxn>
              <a:cxn ang="0">
                <a:pos x="csX188" y="csY188"/>
              </a:cxn>
              <a:cxn ang="0">
                <a:pos x="csX189" y="csY189"/>
              </a:cxn>
              <a:cxn ang="0">
                <a:pos x="csX190" y="csY190"/>
              </a:cxn>
              <a:cxn ang="0">
                <a:pos x="csX191" y="csY191"/>
              </a:cxn>
              <a:cxn ang="0">
                <a:pos x="csX192" y="csY192"/>
              </a:cxn>
              <a:cxn ang="0">
                <a:pos x="csX193" y="csY193"/>
              </a:cxn>
              <a:cxn ang="0">
                <a:pos x="csX194" y="csY194"/>
              </a:cxn>
              <a:cxn ang="0">
                <a:pos x="csX195" y="csY195"/>
              </a:cxn>
              <a:cxn ang="0">
                <a:pos x="csX196" y="csY196"/>
              </a:cxn>
              <a:cxn ang="0">
                <a:pos x="csX197" y="csY197"/>
              </a:cxn>
              <a:cxn ang="0">
                <a:pos x="csX198" y="csY198"/>
              </a:cxn>
              <a:cxn ang="0">
                <a:pos x="csX199" y="csY199"/>
              </a:cxn>
              <a:cxn ang="0">
                <a:pos x="csX200" y="csY200"/>
              </a:cxn>
              <a:cxn ang="0">
                <a:pos x="csX201" y="csY201"/>
              </a:cxn>
              <a:cxn ang="0">
                <a:pos x="csX202" y="csY202"/>
              </a:cxn>
              <a:cxn ang="0">
                <a:pos x="csX203" y="csY203"/>
              </a:cxn>
              <a:cxn ang="0">
                <a:pos x="csX204" y="csY204"/>
              </a:cxn>
              <a:cxn ang="0">
                <a:pos x="csX205" y="csY205"/>
              </a:cxn>
              <a:cxn ang="0">
                <a:pos x="csX206" y="csY206"/>
              </a:cxn>
              <a:cxn ang="0">
                <a:pos x="csX207" y="csY207"/>
              </a:cxn>
              <a:cxn ang="0">
                <a:pos x="csX208" y="csY208"/>
              </a:cxn>
              <a:cxn ang="0">
                <a:pos x="csX209" y="csY209"/>
              </a:cxn>
              <a:cxn ang="0">
                <a:pos x="csX210" y="csY210"/>
              </a:cxn>
              <a:cxn ang="0">
                <a:pos x="csX211" y="csY211"/>
              </a:cxn>
              <a:cxn ang="0">
                <a:pos x="csX212" y="csY212"/>
              </a:cxn>
              <a:cxn ang="0">
                <a:pos x="csX213" y="csY213"/>
              </a:cxn>
              <a:cxn ang="0">
                <a:pos x="csX214" y="csY214"/>
              </a:cxn>
              <a:cxn ang="0">
                <a:pos x="csX215" y="csY215"/>
              </a:cxn>
              <a:cxn ang="0">
                <a:pos x="csX216" y="csY216"/>
              </a:cxn>
              <a:cxn ang="0">
                <a:pos x="csX217" y="csY217"/>
              </a:cxn>
              <a:cxn ang="0">
                <a:pos x="csX218" y="csY218"/>
              </a:cxn>
              <a:cxn ang="0">
                <a:pos x="csX219" y="csY219"/>
              </a:cxn>
              <a:cxn ang="0">
                <a:pos x="csX220" y="csY220"/>
              </a:cxn>
              <a:cxn ang="0">
                <a:pos x="csX221" y="csY221"/>
              </a:cxn>
              <a:cxn ang="0">
                <a:pos x="csX222" y="csY222"/>
              </a:cxn>
              <a:cxn ang="0">
                <a:pos x="csX223" y="csY223"/>
              </a:cxn>
              <a:cxn ang="0">
                <a:pos x="csX224" y="csY224"/>
              </a:cxn>
              <a:cxn ang="0">
                <a:pos x="csX225" y="csY225"/>
              </a:cxn>
              <a:cxn ang="0">
                <a:pos x="csX226" y="csY226"/>
              </a:cxn>
              <a:cxn ang="0">
                <a:pos x="csX227" y="csY227"/>
              </a:cxn>
              <a:cxn ang="0">
                <a:pos x="csX228" y="csY228"/>
              </a:cxn>
              <a:cxn ang="0">
                <a:pos x="csX229" y="csY229"/>
              </a:cxn>
              <a:cxn ang="0">
                <a:pos x="csX230" y="csY230"/>
              </a:cxn>
              <a:cxn ang="0">
                <a:pos x="csX231" y="csY231"/>
              </a:cxn>
              <a:cxn ang="0">
                <a:pos x="csX232" y="csY232"/>
              </a:cxn>
              <a:cxn ang="0">
                <a:pos x="csX233" y="csY233"/>
              </a:cxn>
              <a:cxn ang="0">
                <a:pos x="csX234" y="csY234"/>
              </a:cxn>
              <a:cxn ang="0">
                <a:pos x="csX235" y="csY235"/>
              </a:cxn>
              <a:cxn ang="0">
                <a:pos x="csX236" y="csY236"/>
              </a:cxn>
              <a:cxn ang="0">
                <a:pos x="csX237" y="csY237"/>
              </a:cxn>
              <a:cxn ang="0">
                <a:pos x="csX238" y="csY238"/>
              </a:cxn>
              <a:cxn ang="0">
                <a:pos x="csX239" y="csY239"/>
              </a:cxn>
              <a:cxn ang="0">
                <a:pos x="csX240" y="csY240"/>
              </a:cxn>
              <a:cxn ang="0">
                <a:pos x="csX241" y="csY241"/>
              </a:cxn>
              <a:cxn ang="0">
                <a:pos x="csX242" y="csY242"/>
              </a:cxn>
              <a:cxn ang="0">
                <a:pos x="csX243" y="csY243"/>
              </a:cxn>
              <a:cxn ang="0">
                <a:pos x="csX244" y="csY244"/>
              </a:cxn>
              <a:cxn ang="0">
                <a:pos x="csX245" y="csY245"/>
              </a:cxn>
              <a:cxn ang="0">
                <a:pos x="csX246" y="csY246"/>
              </a:cxn>
              <a:cxn ang="0">
                <a:pos x="csX247" y="csY247"/>
              </a:cxn>
              <a:cxn ang="0">
                <a:pos x="csX248" y="csY248"/>
              </a:cxn>
              <a:cxn ang="0">
                <a:pos x="csX249" y="csY249"/>
              </a:cxn>
              <a:cxn ang="0">
                <a:pos x="csX250" y="csY250"/>
              </a:cxn>
              <a:cxn ang="0">
                <a:pos x="csX251" y="csY251"/>
              </a:cxn>
              <a:cxn ang="0">
                <a:pos x="csX252" y="csY252"/>
              </a:cxn>
              <a:cxn ang="0">
                <a:pos x="csX253" y="csY253"/>
              </a:cxn>
              <a:cxn ang="0">
                <a:pos x="csX254" y="csY254"/>
              </a:cxn>
              <a:cxn ang="0">
                <a:pos x="csX255" y="csY255"/>
              </a:cxn>
              <a:cxn ang="0">
                <a:pos x="csX256" y="csY256"/>
              </a:cxn>
              <a:cxn ang="0">
                <a:pos x="csX257" y="csY257"/>
              </a:cxn>
              <a:cxn ang="0">
                <a:pos x="csX258" y="csY258"/>
              </a:cxn>
              <a:cxn ang="0">
                <a:pos x="csX259" y="csY259"/>
              </a:cxn>
              <a:cxn ang="0">
                <a:pos x="csX260" y="csY260"/>
              </a:cxn>
              <a:cxn ang="0">
                <a:pos x="csX261" y="csY261"/>
              </a:cxn>
              <a:cxn ang="0">
                <a:pos x="csX262" y="csY262"/>
              </a:cxn>
              <a:cxn ang="0">
                <a:pos x="csX263" y="csY263"/>
              </a:cxn>
              <a:cxn ang="0">
                <a:pos x="csX264" y="csY264"/>
              </a:cxn>
              <a:cxn ang="0">
                <a:pos x="csX265" y="csY265"/>
              </a:cxn>
              <a:cxn ang="0">
                <a:pos x="csX266" y="csY266"/>
              </a:cxn>
              <a:cxn ang="0">
                <a:pos x="csX267" y="csY267"/>
              </a:cxn>
              <a:cxn ang="0">
                <a:pos x="csX268" y="csY268"/>
              </a:cxn>
              <a:cxn ang="0">
                <a:pos x="csX269" y="csY269"/>
              </a:cxn>
              <a:cxn ang="0">
                <a:pos x="csX270" y="csY270"/>
              </a:cxn>
              <a:cxn ang="0">
                <a:pos x="csX271" y="csY271"/>
              </a:cxn>
              <a:cxn ang="0">
                <a:pos x="csX272" y="csY272"/>
              </a:cxn>
              <a:cxn ang="0">
                <a:pos x="csX273" y="csY273"/>
              </a:cxn>
              <a:cxn ang="0">
                <a:pos x="csX274" y="csY274"/>
              </a:cxn>
              <a:cxn ang="0">
                <a:pos x="csX275" y="csY275"/>
              </a:cxn>
              <a:cxn ang="0">
                <a:pos x="csX276" y="csY276"/>
              </a:cxn>
              <a:cxn ang="0">
                <a:pos x="csX277" y="csY277"/>
              </a:cxn>
              <a:cxn ang="0">
                <a:pos x="csX278" y="csY278"/>
              </a:cxn>
              <a:cxn ang="0">
                <a:pos x="csX279" y="csY279"/>
              </a:cxn>
              <a:cxn ang="0">
                <a:pos x="csX280" y="csY280"/>
              </a:cxn>
              <a:cxn ang="0">
                <a:pos x="csX281" y="csY281"/>
              </a:cxn>
              <a:cxn ang="0">
                <a:pos x="csX282" y="csY282"/>
              </a:cxn>
              <a:cxn ang="0">
                <a:pos x="csX283" y="csY283"/>
              </a:cxn>
              <a:cxn ang="0">
                <a:pos x="csX284" y="csY284"/>
              </a:cxn>
              <a:cxn ang="0">
                <a:pos x="csX285" y="csY285"/>
              </a:cxn>
              <a:cxn ang="0">
                <a:pos x="csX286" y="csY286"/>
              </a:cxn>
              <a:cxn ang="0">
                <a:pos x="csX287" y="csY287"/>
              </a:cxn>
              <a:cxn ang="0">
                <a:pos x="csX288" y="csY288"/>
              </a:cxn>
              <a:cxn ang="0">
                <a:pos x="csX289" y="csY289"/>
              </a:cxn>
              <a:cxn ang="0">
                <a:pos x="csX290" y="csY290"/>
              </a:cxn>
              <a:cxn ang="0">
                <a:pos x="csX291" y="csY291"/>
              </a:cxn>
              <a:cxn ang="0">
                <a:pos x="csX292" y="csY292"/>
              </a:cxn>
              <a:cxn ang="0">
                <a:pos x="csX293" y="csY293"/>
              </a:cxn>
              <a:cxn ang="0">
                <a:pos x="csX294" y="csY294"/>
              </a:cxn>
              <a:cxn ang="0">
                <a:pos x="csX295" y="csY295"/>
              </a:cxn>
              <a:cxn ang="0">
                <a:pos x="csX296" y="csY296"/>
              </a:cxn>
              <a:cxn ang="0">
                <a:pos x="csX297" y="csY297"/>
              </a:cxn>
              <a:cxn ang="0">
                <a:pos x="csX298" y="csY298"/>
              </a:cxn>
              <a:cxn ang="0">
                <a:pos x="csX299" y="csY299"/>
              </a:cxn>
              <a:cxn ang="0">
                <a:pos x="csX300" y="csY300"/>
              </a:cxn>
              <a:cxn ang="0">
                <a:pos x="csX301" y="csY301"/>
              </a:cxn>
              <a:cxn ang="0">
                <a:pos x="csX302" y="csY302"/>
              </a:cxn>
              <a:cxn ang="0">
                <a:pos x="csX303" y="csY303"/>
              </a:cxn>
              <a:cxn ang="0">
                <a:pos x="csX304" y="csY304"/>
              </a:cxn>
              <a:cxn ang="0">
                <a:pos x="csX305" y="csY305"/>
              </a:cxn>
              <a:cxn ang="0">
                <a:pos x="csX306" y="csY306"/>
              </a:cxn>
              <a:cxn ang="0">
                <a:pos x="csX307" y="csY307"/>
              </a:cxn>
              <a:cxn ang="0">
                <a:pos x="csX308" y="csY308"/>
              </a:cxn>
              <a:cxn ang="0">
                <a:pos x="csX309" y="csY309"/>
              </a:cxn>
              <a:cxn ang="0">
                <a:pos x="csX310" y="csY310"/>
              </a:cxn>
              <a:cxn ang="0">
                <a:pos x="csX311" y="csY311"/>
              </a:cxn>
              <a:cxn ang="0">
                <a:pos x="csX312" y="csY312"/>
              </a:cxn>
              <a:cxn ang="0">
                <a:pos x="csX313" y="csY313"/>
              </a:cxn>
              <a:cxn ang="0">
                <a:pos x="csX314" y="csY314"/>
              </a:cxn>
              <a:cxn ang="0">
                <a:pos x="csX315" y="csY315"/>
              </a:cxn>
              <a:cxn ang="0">
                <a:pos x="csX316" y="csY316"/>
              </a:cxn>
              <a:cxn ang="0">
                <a:pos x="csX317" y="csY317"/>
              </a:cxn>
              <a:cxn ang="0">
                <a:pos x="csX318" y="csY318"/>
              </a:cxn>
              <a:cxn ang="0">
                <a:pos x="csX319" y="csY319"/>
              </a:cxn>
              <a:cxn ang="0">
                <a:pos x="csX320" y="csY320"/>
              </a:cxn>
              <a:cxn ang="0">
                <a:pos x="csX321" y="csY321"/>
              </a:cxn>
              <a:cxn ang="0">
                <a:pos x="csX322" y="csY322"/>
              </a:cxn>
              <a:cxn ang="0">
                <a:pos x="csX323" y="csY323"/>
              </a:cxn>
              <a:cxn ang="0">
                <a:pos x="csX324" y="csY324"/>
              </a:cxn>
              <a:cxn ang="0">
                <a:pos x="csX325" y="csY325"/>
              </a:cxn>
              <a:cxn ang="0">
                <a:pos x="csX326" y="csY326"/>
              </a:cxn>
              <a:cxn ang="0">
                <a:pos x="csX327" y="csY327"/>
              </a:cxn>
              <a:cxn ang="0">
                <a:pos x="csX328" y="csY328"/>
              </a:cxn>
              <a:cxn ang="0">
                <a:pos x="csX329" y="csY329"/>
              </a:cxn>
              <a:cxn ang="0">
                <a:pos x="csX330" y="csY330"/>
              </a:cxn>
              <a:cxn ang="0">
                <a:pos x="csX331" y="csY331"/>
              </a:cxn>
              <a:cxn ang="0">
                <a:pos x="csX332" y="csY332"/>
              </a:cxn>
              <a:cxn ang="0">
                <a:pos x="csX333" y="csY333"/>
              </a:cxn>
              <a:cxn ang="0">
                <a:pos x="csX334" y="csY334"/>
              </a:cxn>
              <a:cxn ang="0">
                <a:pos x="csX335" y="csY335"/>
              </a:cxn>
              <a:cxn ang="0">
                <a:pos x="csX336" y="csY336"/>
              </a:cxn>
              <a:cxn ang="0">
                <a:pos x="csX337" y="csY337"/>
              </a:cxn>
              <a:cxn ang="0">
                <a:pos x="csX338" y="csY338"/>
              </a:cxn>
              <a:cxn ang="0">
                <a:pos x="csX339" y="csY339"/>
              </a:cxn>
              <a:cxn ang="0">
                <a:pos x="csX340" y="csY340"/>
              </a:cxn>
              <a:cxn ang="0">
                <a:pos x="csX341" y="csY341"/>
              </a:cxn>
              <a:cxn ang="0">
                <a:pos x="csX342" y="csY342"/>
              </a:cxn>
              <a:cxn ang="0">
                <a:pos x="csX343" y="csY343"/>
              </a:cxn>
              <a:cxn ang="0">
                <a:pos x="csX344" y="csY344"/>
              </a:cxn>
              <a:cxn ang="0">
                <a:pos x="csX345" y="csY345"/>
              </a:cxn>
              <a:cxn ang="0">
                <a:pos x="csX346" y="csY346"/>
              </a:cxn>
              <a:cxn ang="0">
                <a:pos x="csX347" y="csY347"/>
              </a:cxn>
              <a:cxn ang="0">
                <a:pos x="csX348" y="csY348"/>
              </a:cxn>
              <a:cxn ang="0">
                <a:pos x="csX349" y="csY349"/>
              </a:cxn>
              <a:cxn ang="0">
                <a:pos x="csX350" y="csY350"/>
              </a:cxn>
              <a:cxn ang="0">
                <a:pos x="csX351" y="csY351"/>
              </a:cxn>
              <a:cxn ang="0">
                <a:pos x="csX352" y="csY352"/>
              </a:cxn>
              <a:cxn ang="0">
                <a:pos x="csX353" y="csY353"/>
              </a:cxn>
              <a:cxn ang="0">
                <a:pos x="csX354" y="csY354"/>
              </a:cxn>
              <a:cxn ang="0">
                <a:pos x="csX355" y="csY355"/>
              </a:cxn>
              <a:cxn ang="0">
                <a:pos x="csX356" y="csY356"/>
              </a:cxn>
              <a:cxn ang="0">
                <a:pos x="csX357" y="csY357"/>
              </a:cxn>
              <a:cxn ang="0">
                <a:pos x="csX358" y="csY358"/>
              </a:cxn>
              <a:cxn ang="0">
                <a:pos x="csX359" y="csY359"/>
              </a:cxn>
              <a:cxn ang="0">
                <a:pos x="csX360" y="csY360"/>
              </a:cxn>
              <a:cxn ang="0">
                <a:pos x="csX361" y="csY361"/>
              </a:cxn>
              <a:cxn ang="0">
                <a:pos x="csX362" y="csY362"/>
              </a:cxn>
              <a:cxn ang="0">
                <a:pos x="csX363" y="csY363"/>
              </a:cxn>
              <a:cxn ang="0">
                <a:pos x="csX364" y="csY364"/>
              </a:cxn>
              <a:cxn ang="0">
                <a:pos x="csX365" y="csY365"/>
              </a:cxn>
              <a:cxn ang="0">
                <a:pos x="csX366" y="csY366"/>
              </a:cxn>
              <a:cxn ang="0">
                <a:pos x="csX367" y="csY367"/>
              </a:cxn>
              <a:cxn ang="0">
                <a:pos x="csX368" y="csY368"/>
              </a:cxn>
              <a:cxn ang="0">
                <a:pos x="csX369" y="csY369"/>
              </a:cxn>
              <a:cxn ang="0">
                <a:pos x="csX370" y="csY370"/>
              </a:cxn>
              <a:cxn ang="0">
                <a:pos x="csX371" y="csY371"/>
              </a:cxn>
              <a:cxn ang="0">
                <a:pos x="csX372" y="csY372"/>
              </a:cxn>
              <a:cxn ang="0">
                <a:pos x="csX373" y="csY373"/>
              </a:cxn>
              <a:cxn ang="0">
                <a:pos x="csX374" y="csY374"/>
              </a:cxn>
              <a:cxn ang="0">
                <a:pos x="csX375" y="csY375"/>
              </a:cxn>
              <a:cxn ang="0">
                <a:pos x="csX376" y="csY376"/>
              </a:cxn>
              <a:cxn ang="0">
                <a:pos x="csX377" y="csY377"/>
              </a:cxn>
              <a:cxn ang="0">
                <a:pos x="csX378" y="csY378"/>
              </a:cxn>
              <a:cxn ang="0">
                <a:pos x="csX379" y="csY379"/>
              </a:cxn>
              <a:cxn ang="0">
                <a:pos x="csX380" y="csY380"/>
              </a:cxn>
              <a:cxn ang="0">
                <a:pos x="csX381" y="csY381"/>
              </a:cxn>
              <a:cxn ang="0">
                <a:pos x="csX382" y="csY382"/>
              </a:cxn>
              <a:cxn ang="0">
                <a:pos x="csX383" y="csY383"/>
              </a:cxn>
              <a:cxn ang="0">
                <a:pos x="csX384" y="csY384"/>
              </a:cxn>
              <a:cxn ang="0">
                <a:pos x="csX385" y="csY385"/>
              </a:cxn>
              <a:cxn ang="0">
                <a:pos x="csX386" y="csY386"/>
              </a:cxn>
              <a:cxn ang="0">
                <a:pos x="csX387" y="csY387"/>
              </a:cxn>
              <a:cxn ang="0">
                <a:pos x="csX388" y="csY388"/>
              </a:cxn>
              <a:cxn ang="0">
                <a:pos x="csX389" y="csY389"/>
              </a:cxn>
              <a:cxn ang="0">
                <a:pos x="csX390" y="csY390"/>
              </a:cxn>
              <a:cxn ang="0">
                <a:pos x="csX391" y="csY391"/>
              </a:cxn>
              <a:cxn ang="0">
                <a:pos x="csX392" y="csY392"/>
              </a:cxn>
              <a:cxn ang="0">
                <a:pos x="csX393" y="csY393"/>
              </a:cxn>
              <a:cxn ang="0">
                <a:pos x="csX394" y="csY394"/>
              </a:cxn>
              <a:cxn ang="0">
                <a:pos x="csX395" y="csY395"/>
              </a:cxn>
              <a:cxn ang="0">
                <a:pos x="csX396" y="csY396"/>
              </a:cxn>
              <a:cxn ang="0">
                <a:pos x="csX397" y="csY397"/>
              </a:cxn>
              <a:cxn ang="0">
                <a:pos x="csX398" y="csY398"/>
              </a:cxn>
              <a:cxn ang="0">
                <a:pos x="csX399" y="csY399"/>
              </a:cxn>
              <a:cxn ang="0">
                <a:pos x="csX400" y="csY400"/>
              </a:cxn>
              <a:cxn ang="0">
                <a:pos x="csX401" y="csY401"/>
              </a:cxn>
              <a:cxn ang="0">
                <a:pos x="csX402" y="csY402"/>
              </a:cxn>
              <a:cxn ang="0">
                <a:pos x="csX403" y="csY403"/>
              </a:cxn>
              <a:cxn ang="0">
                <a:pos x="csX404" y="csY404"/>
              </a:cxn>
              <a:cxn ang="0">
                <a:pos x="csX405" y="csY405"/>
              </a:cxn>
              <a:cxn ang="0">
                <a:pos x="csX406" y="csY406"/>
              </a:cxn>
              <a:cxn ang="0">
                <a:pos x="csX407" y="csY407"/>
              </a:cxn>
              <a:cxn ang="0">
                <a:pos x="csX408" y="csY408"/>
              </a:cxn>
              <a:cxn ang="0">
                <a:pos x="csX409" y="csY409"/>
              </a:cxn>
              <a:cxn ang="0">
                <a:pos x="csX410" y="csY410"/>
              </a:cxn>
              <a:cxn ang="0">
                <a:pos x="csX411" y="csY411"/>
              </a:cxn>
              <a:cxn ang="0">
                <a:pos x="csX412" y="csY412"/>
              </a:cxn>
              <a:cxn ang="0">
                <a:pos x="csX413" y="csY413"/>
              </a:cxn>
              <a:cxn ang="0">
                <a:pos x="csX414" y="csY414"/>
              </a:cxn>
              <a:cxn ang="0">
                <a:pos x="csX415" y="csY415"/>
              </a:cxn>
              <a:cxn ang="0">
                <a:pos x="csX416" y="csY416"/>
              </a:cxn>
              <a:cxn ang="0">
                <a:pos x="csX417" y="csY417"/>
              </a:cxn>
              <a:cxn ang="0">
                <a:pos x="csX418" y="csY418"/>
              </a:cxn>
              <a:cxn ang="0">
                <a:pos x="csX419" y="csY419"/>
              </a:cxn>
              <a:cxn ang="0">
                <a:pos x="csX420" y="csY420"/>
              </a:cxn>
              <a:cxn ang="0">
                <a:pos x="csX421" y="csY421"/>
              </a:cxn>
              <a:cxn ang="0">
                <a:pos x="csX422" y="csY422"/>
              </a:cxn>
              <a:cxn ang="0">
                <a:pos x="csX423" y="csY423"/>
              </a:cxn>
              <a:cxn ang="0">
                <a:pos x="csX424" y="csY424"/>
              </a:cxn>
              <a:cxn ang="0">
                <a:pos x="csX425" y="csY425"/>
              </a:cxn>
              <a:cxn ang="0">
                <a:pos x="csX426" y="csY426"/>
              </a:cxn>
              <a:cxn ang="0">
                <a:pos x="csX427" y="csY427"/>
              </a:cxn>
              <a:cxn ang="0">
                <a:pos x="csX428" y="csY428"/>
              </a:cxn>
              <a:cxn ang="0">
                <a:pos x="csX429" y="csY429"/>
              </a:cxn>
              <a:cxn ang="0">
                <a:pos x="csX430" y="csY430"/>
              </a:cxn>
              <a:cxn ang="0">
                <a:pos x="csX431" y="csY431"/>
              </a:cxn>
              <a:cxn ang="0">
                <a:pos x="csX432" y="csY432"/>
              </a:cxn>
              <a:cxn ang="0">
                <a:pos x="csX433" y="csY433"/>
              </a:cxn>
              <a:cxn ang="0">
                <a:pos x="csX434" y="csY434"/>
              </a:cxn>
              <a:cxn ang="0">
                <a:pos x="csX435" y="csY435"/>
              </a:cxn>
              <a:cxn ang="0">
                <a:pos x="csX436" y="csY436"/>
              </a:cxn>
              <a:cxn ang="0">
                <a:pos x="csX437" y="csY437"/>
              </a:cxn>
              <a:cxn ang="0">
                <a:pos x="csX438" y="csY438"/>
              </a:cxn>
              <a:cxn ang="0">
                <a:pos x="csX439" y="csY439"/>
              </a:cxn>
              <a:cxn ang="0">
                <a:pos x="csX440" y="csY440"/>
              </a:cxn>
              <a:cxn ang="0">
                <a:pos x="csX441" y="csY441"/>
              </a:cxn>
              <a:cxn ang="0">
                <a:pos x="csX442" y="csY442"/>
              </a:cxn>
              <a:cxn ang="0">
                <a:pos x="csX443" y="csY443"/>
              </a:cxn>
              <a:cxn ang="0">
                <a:pos x="csX444" y="csY444"/>
              </a:cxn>
              <a:cxn ang="0">
                <a:pos x="csX445" y="csY445"/>
              </a:cxn>
              <a:cxn ang="0">
                <a:pos x="csX446" y="csY446"/>
              </a:cxn>
              <a:cxn ang="0">
                <a:pos x="csX447" y="csY447"/>
              </a:cxn>
              <a:cxn ang="0">
                <a:pos x="csX448" y="csY448"/>
              </a:cxn>
              <a:cxn ang="0">
                <a:pos x="csX449" y="csY449"/>
              </a:cxn>
              <a:cxn ang="0">
                <a:pos x="csX450" y="csY450"/>
              </a:cxn>
              <a:cxn ang="0">
                <a:pos x="csX451" y="csY451"/>
              </a:cxn>
              <a:cxn ang="0">
                <a:pos x="csX452" y="csY452"/>
              </a:cxn>
              <a:cxn ang="0">
                <a:pos x="csX453" y="csY453"/>
              </a:cxn>
              <a:cxn ang="0">
                <a:pos x="csX454" y="csY454"/>
              </a:cxn>
              <a:cxn ang="0">
                <a:pos x="csX455" y="csY455"/>
              </a:cxn>
              <a:cxn ang="0">
                <a:pos x="csX456" y="csY456"/>
              </a:cxn>
              <a:cxn ang="0">
                <a:pos x="csX457" y="csY457"/>
              </a:cxn>
              <a:cxn ang="0">
                <a:pos x="csX458" y="csY458"/>
              </a:cxn>
              <a:cxn ang="0">
                <a:pos x="csX459" y="csY459"/>
              </a:cxn>
              <a:cxn ang="0">
                <a:pos x="csX460" y="csY460"/>
              </a:cxn>
              <a:cxn ang="0">
                <a:pos x="csX461" y="csY461"/>
              </a:cxn>
              <a:cxn ang="0">
                <a:pos x="csX462" y="csY462"/>
              </a:cxn>
              <a:cxn ang="0">
                <a:pos x="csX463" y="csY463"/>
              </a:cxn>
              <a:cxn ang="0">
                <a:pos x="csX464" y="csY464"/>
              </a:cxn>
              <a:cxn ang="0">
                <a:pos x="csX465" y="csY465"/>
              </a:cxn>
              <a:cxn ang="0">
                <a:pos x="csX466" y="csY466"/>
              </a:cxn>
              <a:cxn ang="0">
                <a:pos x="csX467" y="csY467"/>
              </a:cxn>
              <a:cxn ang="0">
                <a:pos x="csX468" y="csY468"/>
              </a:cxn>
              <a:cxn ang="0">
                <a:pos x="csX469" y="csY469"/>
              </a:cxn>
              <a:cxn ang="0">
                <a:pos x="csX470" y="csY470"/>
              </a:cxn>
              <a:cxn ang="0">
                <a:pos x="csX471" y="csY471"/>
              </a:cxn>
              <a:cxn ang="0">
                <a:pos x="csX472" y="csY472"/>
              </a:cxn>
              <a:cxn ang="0">
                <a:pos x="csX473" y="csY473"/>
              </a:cxn>
              <a:cxn ang="0">
                <a:pos x="csX474" y="csY474"/>
              </a:cxn>
              <a:cxn ang="0">
                <a:pos x="csX475" y="csY475"/>
              </a:cxn>
              <a:cxn ang="0">
                <a:pos x="csX476" y="csY476"/>
              </a:cxn>
              <a:cxn ang="0">
                <a:pos x="csX477" y="csY477"/>
              </a:cxn>
              <a:cxn ang="0">
                <a:pos x="csX478" y="csY478"/>
              </a:cxn>
              <a:cxn ang="0">
                <a:pos x="csX479" y="csY479"/>
              </a:cxn>
              <a:cxn ang="0">
                <a:pos x="csX480" y="csY480"/>
              </a:cxn>
              <a:cxn ang="0">
                <a:pos x="csX481" y="csY481"/>
              </a:cxn>
              <a:cxn ang="0">
                <a:pos x="csX482" y="csY482"/>
              </a:cxn>
              <a:cxn ang="0">
                <a:pos x="csX483" y="csY483"/>
              </a:cxn>
              <a:cxn ang="0">
                <a:pos x="csX484" y="csY484"/>
              </a:cxn>
              <a:cxn ang="0">
                <a:pos x="csX485" y="csY485"/>
              </a:cxn>
              <a:cxn ang="0">
                <a:pos x="csX486" y="csY486"/>
              </a:cxn>
              <a:cxn ang="0">
                <a:pos x="csX487" y="csY487"/>
              </a:cxn>
              <a:cxn ang="0">
                <a:pos x="csX488" y="csY488"/>
              </a:cxn>
              <a:cxn ang="0">
                <a:pos x="csX489" y="csY489"/>
              </a:cxn>
              <a:cxn ang="0">
                <a:pos x="csX490" y="csY490"/>
              </a:cxn>
              <a:cxn ang="0">
                <a:pos x="csX491" y="csY491"/>
              </a:cxn>
              <a:cxn ang="0">
                <a:pos x="csX492" y="csY492"/>
              </a:cxn>
              <a:cxn ang="0">
                <a:pos x="csX493" y="csY493"/>
              </a:cxn>
              <a:cxn ang="0">
                <a:pos x="csX494" y="csY494"/>
              </a:cxn>
              <a:cxn ang="0">
                <a:pos x="csX495" y="csY495"/>
              </a:cxn>
              <a:cxn ang="0">
                <a:pos x="csX496" y="csY496"/>
              </a:cxn>
              <a:cxn ang="0">
                <a:pos x="csX497" y="csY497"/>
              </a:cxn>
              <a:cxn ang="0">
                <a:pos x="csX498" y="csY498"/>
              </a:cxn>
              <a:cxn ang="0">
                <a:pos x="csX499" y="csY499"/>
              </a:cxn>
              <a:cxn ang="0">
                <a:pos x="csX500" y="csY500"/>
              </a:cxn>
              <a:cxn ang="0">
                <a:pos x="csX501" y="csY501"/>
              </a:cxn>
              <a:cxn ang="0">
                <a:pos x="csX502" y="csY502"/>
              </a:cxn>
              <a:cxn ang="0">
                <a:pos x="csX503" y="csY503"/>
              </a:cxn>
              <a:cxn ang="0">
                <a:pos x="csX504" y="csY504"/>
              </a:cxn>
              <a:cxn ang="0">
                <a:pos x="csX505" y="csY505"/>
              </a:cxn>
              <a:cxn ang="0">
                <a:pos x="csX506" y="csY506"/>
              </a:cxn>
              <a:cxn ang="0">
                <a:pos x="csX507" y="csY507"/>
              </a:cxn>
              <a:cxn ang="0">
                <a:pos x="csX508" y="csY508"/>
              </a:cxn>
              <a:cxn ang="0">
                <a:pos x="csX509" y="csY509"/>
              </a:cxn>
              <a:cxn ang="0">
                <a:pos x="csX510" y="csY510"/>
              </a:cxn>
              <a:cxn ang="0">
                <a:pos x="csX511" y="csY511"/>
              </a:cxn>
              <a:cxn ang="0">
                <a:pos x="csX512" y="csY512"/>
              </a:cxn>
              <a:cxn ang="0">
                <a:pos x="csX513" y="csY513"/>
              </a:cxn>
              <a:cxn ang="0">
                <a:pos x="csX514" y="csY514"/>
              </a:cxn>
              <a:cxn ang="0">
                <a:pos x="csX515" y="csY515"/>
              </a:cxn>
              <a:cxn ang="0">
                <a:pos x="csX516" y="csY516"/>
              </a:cxn>
              <a:cxn ang="0">
                <a:pos x="csX517" y="csY517"/>
              </a:cxn>
              <a:cxn ang="0">
                <a:pos x="csX518" y="csY518"/>
              </a:cxn>
              <a:cxn ang="0">
                <a:pos x="csX519" y="csY519"/>
              </a:cxn>
              <a:cxn ang="0">
                <a:pos x="csX520" y="csY520"/>
              </a:cxn>
              <a:cxn ang="0">
                <a:pos x="csX521" y="csY521"/>
              </a:cxn>
              <a:cxn ang="0">
                <a:pos x="csX522" y="csY522"/>
              </a:cxn>
              <a:cxn ang="0">
                <a:pos x="csX523" y="csY523"/>
              </a:cxn>
              <a:cxn ang="0">
                <a:pos x="csX524" y="csY524"/>
              </a:cxn>
              <a:cxn ang="0">
                <a:pos x="csX525" y="csY525"/>
              </a:cxn>
              <a:cxn ang="0">
                <a:pos x="csX526" y="csY526"/>
              </a:cxn>
              <a:cxn ang="0">
                <a:pos x="csX527" y="csY527"/>
              </a:cxn>
              <a:cxn ang="0">
                <a:pos x="csX528" y="csY528"/>
              </a:cxn>
              <a:cxn ang="0">
                <a:pos x="csX529" y="csY529"/>
              </a:cxn>
              <a:cxn ang="0">
                <a:pos x="csX530" y="csY530"/>
              </a:cxn>
              <a:cxn ang="0">
                <a:pos x="csX531" y="csY531"/>
              </a:cxn>
              <a:cxn ang="0">
                <a:pos x="csX532" y="csY532"/>
              </a:cxn>
              <a:cxn ang="0">
                <a:pos x="csX533" y="csY533"/>
              </a:cxn>
              <a:cxn ang="0">
                <a:pos x="csX534" y="csY534"/>
              </a:cxn>
              <a:cxn ang="0">
                <a:pos x="csX535" y="csY535"/>
              </a:cxn>
              <a:cxn ang="0">
                <a:pos x="csX536" y="csY536"/>
              </a:cxn>
              <a:cxn ang="0">
                <a:pos x="csX537" y="csY537"/>
              </a:cxn>
              <a:cxn ang="0">
                <a:pos x="csX538" y="csY538"/>
              </a:cxn>
              <a:cxn ang="0">
                <a:pos x="csX539" y="csY539"/>
              </a:cxn>
              <a:cxn ang="0">
                <a:pos x="csX540" y="csY540"/>
              </a:cxn>
              <a:cxn ang="0">
                <a:pos x="csX541" y="csY541"/>
              </a:cxn>
              <a:cxn ang="0">
                <a:pos x="csX542" y="csY542"/>
              </a:cxn>
              <a:cxn ang="0">
                <a:pos x="csX543" y="csY543"/>
              </a:cxn>
              <a:cxn ang="0">
                <a:pos x="csX544" y="csY544"/>
              </a:cxn>
              <a:cxn ang="0">
                <a:pos x="csX545" y="csY545"/>
              </a:cxn>
              <a:cxn ang="0">
                <a:pos x="csX546" y="csY546"/>
              </a:cxn>
              <a:cxn ang="0">
                <a:pos x="csX547" y="csY547"/>
              </a:cxn>
              <a:cxn ang="0">
                <a:pos x="csX548" y="csY548"/>
              </a:cxn>
              <a:cxn ang="0">
                <a:pos x="csX549" y="csY549"/>
              </a:cxn>
              <a:cxn ang="0">
                <a:pos x="csX550" y="csY550"/>
              </a:cxn>
              <a:cxn ang="0">
                <a:pos x="csX551" y="csY551"/>
              </a:cxn>
              <a:cxn ang="0">
                <a:pos x="csX552" y="csY552"/>
              </a:cxn>
              <a:cxn ang="0">
                <a:pos x="csX553" y="csY553"/>
              </a:cxn>
              <a:cxn ang="0">
                <a:pos x="csX554" y="csY554"/>
              </a:cxn>
              <a:cxn ang="0">
                <a:pos x="csX555" y="csY555"/>
              </a:cxn>
              <a:cxn ang="0">
                <a:pos x="csX556" y="csY556"/>
              </a:cxn>
              <a:cxn ang="0">
                <a:pos x="csX557" y="csY557"/>
              </a:cxn>
              <a:cxn ang="0">
                <a:pos x="csX558" y="csY558"/>
              </a:cxn>
              <a:cxn ang="0">
                <a:pos x="csX559" y="csY559"/>
              </a:cxn>
              <a:cxn ang="0">
                <a:pos x="csX560" y="csY560"/>
              </a:cxn>
              <a:cxn ang="0">
                <a:pos x="csX561" y="csY561"/>
              </a:cxn>
              <a:cxn ang="0">
                <a:pos x="csX562" y="csY562"/>
              </a:cxn>
              <a:cxn ang="0">
                <a:pos x="csX563" y="csY563"/>
              </a:cxn>
              <a:cxn ang="0">
                <a:pos x="csX564" y="csY564"/>
              </a:cxn>
              <a:cxn ang="0">
                <a:pos x="csX565" y="csY565"/>
              </a:cxn>
              <a:cxn ang="0">
                <a:pos x="csX566" y="csY566"/>
              </a:cxn>
              <a:cxn ang="0">
                <a:pos x="csX567" y="csY567"/>
              </a:cxn>
              <a:cxn ang="0">
                <a:pos x="csX568" y="csY568"/>
              </a:cxn>
              <a:cxn ang="0">
                <a:pos x="csX569" y="csY569"/>
              </a:cxn>
              <a:cxn ang="0">
                <a:pos x="csX570" y="csY570"/>
              </a:cxn>
              <a:cxn ang="0">
                <a:pos x="csX571" y="csY571"/>
              </a:cxn>
              <a:cxn ang="0">
                <a:pos x="csX572" y="csY572"/>
              </a:cxn>
              <a:cxn ang="0">
                <a:pos x="csX573" y="csY573"/>
              </a:cxn>
              <a:cxn ang="0">
                <a:pos x="csX574" y="csY574"/>
              </a:cxn>
              <a:cxn ang="0">
                <a:pos x="csX575" y="csY575"/>
              </a:cxn>
              <a:cxn ang="0">
                <a:pos x="csX576" y="csY576"/>
              </a:cxn>
              <a:cxn ang="0">
                <a:pos x="csX577" y="csY577"/>
              </a:cxn>
              <a:cxn ang="0">
                <a:pos x="csX578" y="csY578"/>
              </a:cxn>
              <a:cxn ang="0">
                <a:pos x="csX579" y="csY579"/>
              </a:cxn>
              <a:cxn ang="0">
                <a:pos x="csX580" y="csY580"/>
              </a:cxn>
              <a:cxn ang="0">
                <a:pos x="csX581" y="csY581"/>
              </a:cxn>
              <a:cxn ang="0">
                <a:pos x="csX582" y="csY582"/>
              </a:cxn>
              <a:cxn ang="0">
                <a:pos x="csX583" y="csY583"/>
              </a:cxn>
              <a:cxn ang="0">
                <a:pos x="csX584" y="csY584"/>
              </a:cxn>
              <a:cxn ang="0">
                <a:pos x="csX585" y="csY585"/>
              </a:cxn>
              <a:cxn ang="0">
                <a:pos x="csX586" y="csY586"/>
              </a:cxn>
              <a:cxn ang="0">
                <a:pos x="csX587" y="csY587"/>
              </a:cxn>
              <a:cxn ang="0">
                <a:pos x="csX588" y="csY588"/>
              </a:cxn>
              <a:cxn ang="0">
                <a:pos x="csX589" y="csY589"/>
              </a:cxn>
              <a:cxn ang="0">
                <a:pos x="csX590" y="csY590"/>
              </a:cxn>
              <a:cxn ang="0">
                <a:pos x="csX591" y="csY591"/>
              </a:cxn>
              <a:cxn ang="0">
                <a:pos x="csX592" y="csY592"/>
              </a:cxn>
              <a:cxn ang="0">
                <a:pos x="csX593" y="csY593"/>
              </a:cxn>
              <a:cxn ang="0">
                <a:pos x="csX594" y="csY594"/>
              </a:cxn>
              <a:cxn ang="0">
                <a:pos x="csX595" y="csY595"/>
              </a:cxn>
              <a:cxn ang="0">
                <a:pos x="csX596" y="csY596"/>
              </a:cxn>
              <a:cxn ang="0">
                <a:pos x="csX597" y="csY597"/>
              </a:cxn>
              <a:cxn ang="0">
                <a:pos x="csX598" y="csY598"/>
              </a:cxn>
              <a:cxn ang="0">
                <a:pos x="csX599" y="csY599"/>
              </a:cxn>
              <a:cxn ang="0">
                <a:pos x="csX600" y="csY600"/>
              </a:cxn>
              <a:cxn ang="0">
                <a:pos x="csX601" y="csY601"/>
              </a:cxn>
              <a:cxn ang="0">
                <a:pos x="csX602" y="csY602"/>
              </a:cxn>
              <a:cxn ang="0">
                <a:pos x="csX603" y="csY603"/>
              </a:cxn>
              <a:cxn ang="0">
                <a:pos x="csX604" y="csY604"/>
              </a:cxn>
              <a:cxn ang="0">
                <a:pos x="csX605" y="csY605"/>
              </a:cxn>
              <a:cxn ang="0">
                <a:pos x="csX606" y="csY606"/>
              </a:cxn>
              <a:cxn ang="0">
                <a:pos x="csX607" y="csY607"/>
              </a:cxn>
              <a:cxn ang="0">
                <a:pos x="csX608" y="csY608"/>
              </a:cxn>
              <a:cxn ang="0">
                <a:pos x="csX609" y="csY609"/>
              </a:cxn>
              <a:cxn ang="0">
                <a:pos x="csX610" y="csY610"/>
              </a:cxn>
              <a:cxn ang="0">
                <a:pos x="csX611" y="csY611"/>
              </a:cxn>
              <a:cxn ang="0">
                <a:pos x="csX612" y="csY612"/>
              </a:cxn>
              <a:cxn ang="0">
                <a:pos x="csX613" y="csY613"/>
              </a:cxn>
              <a:cxn ang="0">
                <a:pos x="csX614" y="csY614"/>
              </a:cxn>
              <a:cxn ang="0">
                <a:pos x="csX615" y="csY615"/>
              </a:cxn>
              <a:cxn ang="0">
                <a:pos x="csX616" y="csY616"/>
              </a:cxn>
              <a:cxn ang="0">
                <a:pos x="csX617" y="csY617"/>
              </a:cxn>
              <a:cxn ang="0">
                <a:pos x="csX618" y="csY618"/>
              </a:cxn>
              <a:cxn ang="0">
                <a:pos x="csX619" y="csY619"/>
              </a:cxn>
              <a:cxn ang="0">
                <a:pos x="csX620" y="csY620"/>
              </a:cxn>
              <a:cxn ang="0">
                <a:pos x="csX621" y="csY621"/>
              </a:cxn>
              <a:cxn ang="0">
                <a:pos x="csX622" y="csY622"/>
              </a:cxn>
              <a:cxn ang="0">
                <a:pos x="csX623" y="csY623"/>
              </a:cxn>
              <a:cxn ang="0">
                <a:pos x="csX624" y="csY624"/>
              </a:cxn>
              <a:cxn ang="0">
                <a:pos x="csX625" y="csY625"/>
              </a:cxn>
              <a:cxn ang="0">
                <a:pos x="csX626" y="csY626"/>
              </a:cxn>
              <a:cxn ang="0">
                <a:pos x="csX627" y="csY627"/>
              </a:cxn>
              <a:cxn ang="0">
                <a:pos x="csX628" y="csY628"/>
              </a:cxn>
              <a:cxn ang="0">
                <a:pos x="csX629" y="csY629"/>
              </a:cxn>
              <a:cxn ang="0">
                <a:pos x="csX630" y="csY630"/>
              </a:cxn>
              <a:cxn ang="0">
                <a:pos x="csX631" y="csY631"/>
              </a:cxn>
              <a:cxn ang="0">
                <a:pos x="csX632" y="csY632"/>
              </a:cxn>
              <a:cxn ang="0">
                <a:pos x="csX633" y="csY633"/>
              </a:cxn>
              <a:cxn ang="0">
                <a:pos x="csX634" y="csY634"/>
              </a:cxn>
              <a:cxn ang="0">
                <a:pos x="csX635" y="csY635"/>
              </a:cxn>
              <a:cxn ang="0">
                <a:pos x="csX636" y="csY636"/>
              </a:cxn>
              <a:cxn ang="0">
                <a:pos x="csX637" y="csY637"/>
              </a:cxn>
              <a:cxn ang="0">
                <a:pos x="csX638" y="csY638"/>
              </a:cxn>
              <a:cxn ang="0">
                <a:pos x="csX639" y="csY639"/>
              </a:cxn>
              <a:cxn ang="0">
                <a:pos x="csX640" y="csY640"/>
              </a:cxn>
              <a:cxn ang="0">
                <a:pos x="csX641" y="csY641"/>
              </a:cxn>
              <a:cxn ang="0">
                <a:pos x="csX642" y="csY642"/>
              </a:cxn>
              <a:cxn ang="0">
                <a:pos x="csX643" y="csY643"/>
              </a:cxn>
              <a:cxn ang="0">
                <a:pos x="csX644" y="csY644"/>
              </a:cxn>
              <a:cxn ang="0">
                <a:pos x="csX645" y="csY645"/>
              </a:cxn>
              <a:cxn ang="0">
                <a:pos x="csX646" y="csY646"/>
              </a:cxn>
              <a:cxn ang="0">
                <a:pos x="csX647" y="csY647"/>
              </a:cxn>
              <a:cxn ang="0">
                <a:pos x="csX648" y="csY648"/>
              </a:cxn>
              <a:cxn ang="0">
                <a:pos x="csX649" y="csY649"/>
              </a:cxn>
              <a:cxn ang="0">
                <a:pos x="csX650" y="csY650"/>
              </a:cxn>
              <a:cxn ang="0">
                <a:pos x="csX651" y="csY651"/>
              </a:cxn>
              <a:cxn ang="0">
                <a:pos x="csX652" y="csY652"/>
              </a:cxn>
              <a:cxn ang="0">
                <a:pos x="csX653" y="csY653"/>
              </a:cxn>
              <a:cxn ang="0">
                <a:pos x="csX654" y="csY654"/>
              </a:cxn>
              <a:cxn ang="0">
                <a:pos x="csX655" y="csY655"/>
              </a:cxn>
              <a:cxn ang="0">
                <a:pos x="csX656" y="csY656"/>
              </a:cxn>
              <a:cxn ang="0">
                <a:pos x="csX657" y="csY657"/>
              </a:cxn>
              <a:cxn ang="0">
                <a:pos x="csX658" y="csY658"/>
              </a:cxn>
              <a:cxn ang="0">
                <a:pos x="csX659" y="csY659"/>
              </a:cxn>
              <a:cxn ang="0">
                <a:pos x="csX660" y="csY660"/>
              </a:cxn>
              <a:cxn ang="0">
                <a:pos x="csX661" y="csY661"/>
              </a:cxn>
              <a:cxn ang="0">
                <a:pos x="csX662" y="csY662"/>
              </a:cxn>
              <a:cxn ang="0">
                <a:pos x="csX663" y="csY663"/>
              </a:cxn>
              <a:cxn ang="0">
                <a:pos x="csX664" y="csY664"/>
              </a:cxn>
              <a:cxn ang="0">
                <a:pos x="csX665" y="csY665"/>
              </a:cxn>
              <a:cxn ang="0">
                <a:pos x="csX666" y="csY666"/>
              </a:cxn>
              <a:cxn ang="0">
                <a:pos x="csX667" y="csY667"/>
              </a:cxn>
              <a:cxn ang="0">
                <a:pos x="csX668" y="csY668"/>
              </a:cxn>
              <a:cxn ang="0">
                <a:pos x="csX669" y="csY669"/>
              </a:cxn>
              <a:cxn ang="0">
                <a:pos x="csX670" y="csY670"/>
              </a:cxn>
              <a:cxn ang="0">
                <a:pos x="csX671" y="csY671"/>
              </a:cxn>
              <a:cxn ang="0">
                <a:pos x="csX672" y="csY672"/>
              </a:cxn>
              <a:cxn ang="0">
                <a:pos x="csX673" y="csY673"/>
              </a:cxn>
              <a:cxn ang="0">
                <a:pos x="csX674" y="csY674"/>
              </a:cxn>
              <a:cxn ang="0">
                <a:pos x="csX675" y="csY675"/>
              </a:cxn>
              <a:cxn ang="0">
                <a:pos x="csX676" y="csY676"/>
              </a:cxn>
              <a:cxn ang="0">
                <a:pos x="csX677" y="csY677"/>
              </a:cxn>
              <a:cxn ang="0">
                <a:pos x="csX678" y="csY678"/>
              </a:cxn>
              <a:cxn ang="0">
                <a:pos x="csX679" y="csY679"/>
              </a:cxn>
              <a:cxn ang="0">
                <a:pos x="csX680" y="csY680"/>
              </a:cxn>
              <a:cxn ang="0">
                <a:pos x="csX681" y="csY681"/>
              </a:cxn>
              <a:cxn ang="0">
                <a:pos x="csX682" y="csY682"/>
              </a:cxn>
              <a:cxn ang="0">
                <a:pos x="csX683" y="csY683"/>
              </a:cxn>
              <a:cxn ang="0">
                <a:pos x="csX684" y="csY684"/>
              </a:cxn>
              <a:cxn ang="0">
                <a:pos x="csX685" y="csY685"/>
              </a:cxn>
              <a:cxn ang="0">
                <a:pos x="csX686" y="csY686"/>
              </a:cxn>
              <a:cxn ang="0">
                <a:pos x="csX687" y="csY687"/>
              </a:cxn>
              <a:cxn ang="0">
                <a:pos x="csX688" y="csY688"/>
              </a:cxn>
              <a:cxn ang="0">
                <a:pos x="csX689" y="csY689"/>
              </a:cxn>
              <a:cxn ang="0">
                <a:pos x="csX690" y="csY690"/>
              </a:cxn>
              <a:cxn ang="0">
                <a:pos x="csX691" y="csY691"/>
              </a:cxn>
              <a:cxn ang="0">
                <a:pos x="csX692" y="csY692"/>
              </a:cxn>
              <a:cxn ang="0">
                <a:pos x="csX693" y="csY693"/>
              </a:cxn>
              <a:cxn ang="0">
                <a:pos x="csX694" y="csY694"/>
              </a:cxn>
              <a:cxn ang="0">
                <a:pos x="csX695" y="csY695"/>
              </a:cxn>
              <a:cxn ang="0">
                <a:pos x="csX696" y="csY696"/>
              </a:cxn>
              <a:cxn ang="0">
                <a:pos x="csX697" y="csY697"/>
              </a:cxn>
              <a:cxn ang="0">
                <a:pos x="csX698" y="csY698"/>
              </a:cxn>
              <a:cxn ang="0">
                <a:pos x="csX699" y="csY699"/>
              </a:cxn>
              <a:cxn ang="0">
                <a:pos x="csX700" y="csY700"/>
              </a:cxn>
              <a:cxn ang="0">
                <a:pos x="csX701" y="csY701"/>
              </a:cxn>
              <a:cxn ang="0">
                <a:pos x="csX702" y="csY702"/>
              </a:cxn>
              <a:cxn ang="0">
                <a:pos x="csX703" y="csY703"/>
              </a:cxn>
              <a:cxn ang="0">
                <a:pos x="csX704" y="csY704"/>
              </a:cxn>
              <a:cxn ang="0">
                <a:pos x="csX705" y="csY705"/>
              </a:cxn>
              <a:cxn ang="0">
                <a:pos x="csX706" y="csY706"/>
              </a:cxn>
              <a:cxn ang="0">
                <a:pos x="csX707" y="csY707"/>
              </a:cxn>
              <a:cxn ang="0">
                <a:pos x="csX708" y="csY708"/>
              </a:cxn>
              <a:cxn ang="0">
                <a:pos x="csX709" y="csY709"/>
              </a:cxn>
              <a:cxn ang="0">
                <a:pos x="csX710" y="csY710"/>
              </a:cxn>
              <a:cxn ang="0">
                <a:pos x="csX711" y="csY711"/>
              </a:cxn>
              <a:cxn ang="0">
                <a:pos x="csX712" y="csY712"/>
              </a:cxn>
              <a:cxn ang="0">
                <a:pos x="csX713" y="csY713"/>
              </a:cxn>
              <a:cxn ang="0">
                <a:pos x="csX714" y="csY714"/>
              </a:cxn>
              <a:cxn ang="0">
                <a:pos x="csX715" y="csY715"/>
              </a:cxn>
              <a:cxn ang="0">
                <a:pos x="csX716" y="csY716"/>
              </a:cxn>
              <a:cxn ang="0">
                <a:pos x="csX717" y="csY717"/>
              </a:cxn>
              <a:cxn ang="0">
                <a:pos x="csX718" y="csY718"/>
              </a:cxn>
              <a:cxn ang="0">
                <a:pos x="csX719" y="csY719"/>
              </a:cxn>
              <a:cxn ang="0">
                <a:pos x="csX720" y="csY720"/>
              </a:cxn>
              <a:cxn ang="0">
                <a:pos x="csX721" y="csY721"/>
              </a:cxn>
              <a:cxn ang="0">
                <a:pos x="csX722" y="csY722"/>
              </a:cxn>
              <a:cxn ang="0">
                <a:pos x="csX723" y="csY723"/>
              </a:cxn>
              <a:cxn ang="0">
                <a:pos x="csX724" y="csY724"/>
              </a:cxn>
              <a:cxn ang="0">
                <a:pos x="csX725" y="csY725"/>
              </a:cxn>
              <a:cxn ang="0">
                <a:pos x="csX726" y="csY726"/>
              </a:cxn>
              <a:cxn ang="0">
                <a:pos x="csX727" y="csY727"/>
              </a:cxn>
              <a:cxn ang="0">
                <a:pos x="csX728" y="csY728"/>
              </a:cxn>
              <a:cxn ang="0">
                <a:pos x="csX729" y="csY729"/>
              </a:cxn>
              <a:cxn ang="0">
                <a:pos x="csX730" y="csY730"/>
              </a:cxn>
              <a:cxn ang="0">
                <a:pos x="csX731" y="csY731"/>
              </a:cxn>
              <a:cxn ang="0">
                <a:pos x="csX732" y="csY732"/>
              </a:cxn>
              <a:cxn ang="0">
                <a:pos x="csX733" y="csY733"/>
              </a:cxn>
              <a:cxn ang="0">
                <a:pos x="csX734" y="csY734"/>
              </a:cxn>
              <a:cxn ang="0">
                <a:pos x="csX735" y="csY735"/>
              </a:cxn>
              <a:cxn ang="0">
                <a:pos x="csX736" y="csY736"/>
              </a:cxn>
              <a:cxn ang="0">
                <a:pos x="csX737" y="csY737"/>
              </a:cxn>
              <a:cxn ang="0">
                <a:pos x="csX738" y="csY738"/>
              </a:cxn>
              <a:cxn ang="0">
                <a:pos x="csX739" y="csY739"/>
              </a:cxn>
              <a:cxn ang="0">
                <a:pos x="csX740" y="csY740"/>
              </a:cxn>
              <a:cxn ang="0">
                <a:pos x="csX741" y="csY741"/>
              </a:cxn>
              <a:cxn ang="0">
                <a:pos x="csX742" y="csY742"/>
              </a:cxn>
              <a:cxn ang="0">
                <a:pos x="csX743" y="csY743"/>
              </a:cxn>
              <a:cxn ang="0">
                <a:pos x="csX744" y="csY744"/>
              </a:cxn>
              <a:cxn ang="0">
                <a:pos x="csX745" y="csY745"/>
              </a:cxn>
              <a:cxn ang="0">
                <a:pos x="csX746" y="csY746"/>
              </a:cxn>
              <a:cxn ang="0">
                <a:pos x="csX747" y="csY747"/>
              </a:cxn>
              <a:cxn ang="0">
                <a:pos x="csX748" y="csY748"/>
              </a:cxn>
              <a:cxn ang="0">
                <a:pos x="csX749" y="csY749"/>
              </a:cxn>
              <a:cxn ang="0">
                <a:pos x="csX750" y="csY750"/>
              </a:cxn>
              <a:cxn ang="0">
                <a:pos x="csX751" y="csY751"/>
              </a:cxn>
              <a:cxn ang="0">
                <a:pos x="csX752" y="csY752"/>
              </a:cxn>
              <a:cxn ang="0">
                <a:pos x="csX753" y="csY753"/>
              </a:cxn>
              <a:cxn ang="0">
                <a:pos x="csX754" y="csY754"/>
              </a:cxn>
              <a:cxn ang="0">
                <a:pos x="csX755" y="csY755"/>
              </a:cxn>
              <a:cxn ang="0">
                <a:pos x="csX756" y="csY756"/>
              </a:cxn>
              <a:cxn ang="0">
                <a:pos x="csX757" y="csY757"/>
              </a:cxn>
              <a:cxn ang="0">
                <a:pos x="csX758" y="csY758"/>
              </a:cxn>
              <a:cxn ang="0">
                <a:pos x="csX759" y="csY759"/>
              </a:cxn>
              <a:cxn ang="0">
                <a:pos x="csX760" y="csY760"/>
              </a:cxn>
              <a:cxn ang="0">
                <a:pos x="csX761" y="csY761"/>
              </a:cxn>
              <a:cxn ang="0">
                <a:pos x="csX762" y="csY762"/>
              </a:cxn>
              <a:cxn ang="0">
                <a:pos x="csX763" y="csY763"/>
              </a:cxn>
              <a:cxn ang="0">
                <a:pos x="csX764" y="csY764"/>
              </a:cxn>
              <a:cxn ang="0">
                <a:pos x="csX765" y="csY765"/>
              </a:cxn>
              <a:cxn ang="0">
                <a:pos x="csX766" y="csY766"/>
              </a:cxn>
              <a:cxn ang="0">
                <a:pos x="csX767" y="csY767"/>
              </a:cxn>
              <a:cxn ang="0">
                <a:pos x="csX768" y="csY768"/>
              </a:cxn>
              <a:cxn ang="0">
                <a:pos x="csX769" y="csY769"/>
              </a:cxn>
              <a:cxn ang="0">
                <a:pos x="csX770" y="csY770"/>
              </a:cxn>
              <a:cxn ang="0">
                <a:pos x="csX771" y="csY771"/>
              </a:cxn>
              <a:cxn ang="0">
                <a:pos x="csX772" y="csY772"/>
              </a:cxn>
              <a:cxn ang="0">
                <a:pos x="csX773" y="csY773"/>
              </a:cxn>
              <a:cxn ang="0">
                <a:pos x="csX774" y="csY774"/>
              </a:cxn>
              <a:cxn ang="0">
                <a:pos x="csX775" y="csY775"/>
              </a:cxn>
              <a:cxn ang="0">
                <a:pos x="csX776" y="csY776"/>
              </a:cxn>
              <a:cxn ang="0">
                <a:pos x="csX777" y="csY777"/>
              </a:cxn>
              <a:cxn ang="0">
                <a:pos x="csX778" y="csY778"/>
              </a:cxn>
              <a:cxn ang="0">
                <a:pos x="csX779" y="csY779"/>
              </a:cxn>
              <a:cxn ang="0">
                <a:pos x="csX780" y="csY780"/>
              </a:cxn>
              <a:cxn ang="0">
                <a:pos x="csX781" y="csY781"/>
              </a:cxn>
              <a:cxn ang="0">
                <a:pos x="csX782" y="csY782"/>
              </a:cxn>
              <a:cxn ang="0">
                <a:pos x="csX783" y="csY783"/>
              </a:cxn>
              <a:cxn ang="0">
                <a:pos x="csX784" y="csY784"/>
              </a:cxn>
              <a:cxn ang="0">
                <a:pos x="csX785" y="csY785"/>
              </a:cxn>
              <a:cxn ang="0">
                <a:pos x="csX786" y="csY786"/>
              </a:cxn>
              <a:cxn ang="0">
                <a:pos x="csX787" y="csY787"/>
              </a:cxn>
              <a:cxn ang="0">
                <a:pos x="csX788" y="csY788"/>
              </a:cxn>
              <a:cxn ang="0">
                <a:pos x="csX789" y="csY789"/>
              </a:cxn>
              <a:cxn ang="0">
                <a:pos x="csX790" y="csY790"/>
              </a:cxn>
              <a:cxn ang="0">
                <a:pos x="csX791" y="csY791"/>
              </a:cxn>
              <a:cxn ang="0">
                <a:pos x="csX792" y="csY792"/>
              </a:cxn>
              <a:cxn ang="0">
                <a:pos x="csX793" y="csY793"/>
              </a:cxn>
              <a:cxn ang="0">
                <a:pos x="csX794" y="csY794"/>
              </a:cxn>
              <a:cxn ang="0">
                <a:pos x="csX795" y="csY795"/>
              </a:cxn>
              <a:cxn ang="0">
                <a:pos x="csX796" y="csY796"/>
              </a:cxn>
              <a:cxn ang="0">
                <a:pos x="csX797" y="csY797"/>
              </a:cxn>
              <a:cxn ang="0">
                <a:pos x="csX798" y="csY798"/>
              </a:cxn>
              <a:cxn ang="0">
                <a:pos x="csX799" y="csY799"/>
              </a:cxn>
              <a:cxn ang="0">
                <a:pos x="csX800" y="csY800"/>
              </a:cxn>
              <a:cxn ang="0">
                <a:pos x="csX801" y="csY801"/>
              </a:cxn>
              <a:cxn ang="0">
                <a:pos x="csX802" y="csY802"/>
              </a:cxn>
              <a:cxn ang="0">
                <a:pos x="csX803" y="csY803"/>
              </a:cxn>
              <a:cxn ang="0">
                <a:pos x="csX804" y="csY804"/>
              </a:cxn>
              <a:cxn ang="0">
                <a:pos x="csX805" y="csY805"/>
              </a:cxn>
              <a:cxn ang="0">
                <a:pos x="csX806" y="csY806"/>
              </a:cxn>
              <a:cxn ang="0">
                <a:pos x="csX807" y="csY807"/>
              </a:cxn>
              <a:cxn ang="0">
                <a:pos x="csX808" y="csY808"/>
              </a:cxn>
              <a:cxn ang="0">
                <a:pos x="csX809" y="csY809"/>
              </a:cxn>
              <a:cxn ang="0">
                <a:pos x="csX810" y="csY810"/>
              </a:cxn>
              <a:cxn ang="0">
                <a:pos x="csX811" y="csY811"/>
              </a:cxn>
              <a:cxn ang="0">
                <a:pos x="csX812" y="csY812"/>
              </a:cxn>
              <a:cxn ang="0">
                <a:pos x="csX813" y="csY813"/>
              </a:cxn>
              <a:cxn ang="0">
                <a:pos x="csX814" y="csY814"/>
              </a:cxn>
              <a:cxn ang="0">
                <a:pos x="csX815" y="csY815"/>
              </a:cxn>
              <a:cxn ang="0">
                <a:pos x="csX816" y="csY816"/>
              </a:cxn>
              <a:cxn ang="0">
                <a:pos x="csX817" y="csY817"/>
              </a:cxn>
              <a:cxn ang="0">
                <a:pos x="csX818" y="csY818"/>
              </a:cxn>
              <a:cxn ang="0">
                <a:pos x="csX819" y="csY819"/>
              </a:cxn>
              <a:cxn ang="0">
                <a:pos x="csX820" y="csY820"/>
              </a:cxn>
              <a:cxn ang="0">
                <a:pos x="csX821" y="csY821"/>
              </a:cxn>
              <a:cxn ang="0">
                <a:pos x="csX822" y="csY822"/>
              </a:cxn>
              <a:cxn ang="0">
                <a:pos x="csX823" y="csY823"/>
              </a:cxn>
              <a:cxn ang="0">
                <a:pos x="csX824" y="csY824"/>
              </a:cxn>
              <a:cxn ang="0">
                <a:pos x="csX825" y="csY825"/>
              </a:cxn>
              <a:cxn ang="0">
                <a:pos x="csX826" y="csY826"/>
              </a:cxn>
              <a:cxn ang="0">
                <a:pos x="csX827" y="csY827"/>
              </a:cxn>
              <a:cxn ang="0">
                <a:pos x="csX828" y="csY828"/>
              </a:cxn>
              <a:cxn ang="0">
                <a:pos x="csX829" y="csY829"/>
              </a:cxn>
              <a:cxn ang="0">
                <a:pos x="csX830" y="csY830"/>
              </a:cxn>
              <a:cxn ang="0">
                <a:pos x="csX831" y="csY831"/>
              </a:cxn>
              <a:cxn ang="0">
                <a:pos x="csX832" y="csY832"/>
              </a:cxn>
              <a:cxn ang="0">
                <a:pos x="csX833" y="csY833"/>
              </a:cxn>
              <a:cxn ang="0">
                <a:pos x="csX834" y="csY834"/>
              </a:cxn>
              <a:cxn ang="0">
                <a:pos x="csX835" y="csY835"/>
              </a:cxn>
              <a:cxn ang="0">
                <a:pos x="csX836" y="csY836"/>
              </a:cxn>
              <a:cxn ang="0">
                <a:pos x="csX837" y="csY837"/>
              </a:cxn>
              <a:cxn ang="0">
                <a:pos x="csX838" y="csY838"/>
              </a:cxn>
              <a:cxn ang="0">
                <a:pos x="csX839" y="csY839"/>
              </a:cxn>
              <a:cxn ang="0">
                <a:pos x="csX840" y="csY840"/>
              </a:cxn>
              <a:cxn ang="0">
                <a:pos x="csX841" y="csY841"/>
              </a:cxn>
              <a:cxn ang="0">
                <a:pos x="csX842" y="csY842"/>
              </a:cxn>
              <a:cxn ang="0">
                <a:pos x="csX843" y="csY843"/>
              </a:cxn>
              <a:cxn ang="0">
                <a:pos x="csX844" y="csY844"/>
              </a:cxn>
              <a:cxn ang="0">
                <a:pos x="csX845" y="csY845"/>
              </a:cxn>
              <a:cxn ang="0">
                <a:pos x="csX846" y="csY846"/>
              </a:cxn>
              <a:cxn ang="0">
                <a:pos x="csX847" y="csY847"/>
              </a:cxn>
              <a:cxn ang="0">
                <a:pos x="csX848" y="csY848"/>
              </a:cxn>
              <a:cxn ang="0">
                <a:pos x="csX849" y="csY849"/>
              </a:cxn>
              <a:cxn ang="0">
                <a:pos x="csX850" y="csY850"/>
              </a:cxn>
              <a:cxn ang="0">
                <a:pos x="csX851" y="csY851"/>
              </a:cxn>
              <a:cxn ang="0">
                <a:pos x="csX852" y="csY852"/>
              </a:cxn>
              <a:cxn ang="0">
                <a:pos x="csX853" y="csY853"/>
              </a:cxn>
              <a:cxn ang="0">
                <a:pos x="csX854" y="csY854"/>
              </a:cxn>
              <a:cxn ang="0">
                <a:pos x="csX855" y="csY855"/>
              </a:cxn>
              <a:cxn ang="0">
                <a:pos x="csX856" y="csY856"/>
              </a:cxn>
              <a:cxn ang="0">
                <a:pos x="csX857" y="csY857"/>
              </a:cxn>
              <a:cxn ang="0">
                <a:pos x="csX858" y="csY858"/>
              </a:cxn>
              <a:cxn ang="0">
                <a:pos x="csX859" y="csY859"/>
              </a:cxn>
              <a:cxn ang="0">
                <a:pos x="csX860" y="csY860"/>
              </a:cxn>
              <a:cxn ang="0">
                <a:pos x="csX861" y="csY861"/>
              </a:cxn>
              <a:cxn ang="0">
                <a:pos x="csX862" y="csY862"/>
              </a:cxn>
              <a:cxn ang="0">
                <a:pos x="csX863" y="csY863"/>
              </a:cxn>
              <a:cxn ang="0">
                <a:pos x="csX864" y="csY864"/>
              </a:cxn>
              <a:cxn ang="0">
                <a:pos x="csX865" y="csY865"/>
              </a:cxn>
              <a:cxn ang="0">
                <a:pos x="csX866" y="csY866"/>
              </a:cxn>
              <a:cxn ang="0">
                <a:pos x="csX867" y="csY867"/>
              </a:cxn>
              <a:cxn ang="0">
                <a:pos x="csX868" y="csY868"/>
              </a:cxn>
              <a:cxn ang="0">
                <a:pos x="csX869" y="csY869"/>
              </a:cxn>
              <a:cxn ang="0">
                <a:pos x="csX870" y="csY870"/>
              </a:cxn>
              <a:cxn ang="0">
                <a:pos x="csX871" y="csY871"/>
              </a:cxn>
              <a:cxn ang="0">
                <a:pos x="csX872" y="csY872"/>
              </a:cxn>
              <a:cxn ang="0">
                <a:pos x="csX873" y="csY873"/>
              </a:cxn>
              <a:cxn ang="0">
                <a:pos x="csX874" y="csY874"/>
              </a:cxn>
              <a:cxn ang="0">
                <a:pos x="csX875" y="csY875"/>
              </a:cxn>
              <a:cxn ang="0">
                <a:pos x="csX876" y="csY876"/>
              </a:cxn>
              <a:cxn ang="0">
                <a:pos x="csX877" y="csY877"/>
              </a:cxn>
              <a:cxn ang="0">
                <a:pos x="csX878" y="csY878"/>
              </a:cxn>
              <a:cxn ang="0">
                <a:pos x="csX879" y="csY879"/>
              </a:cxn>
              <a:cxn ang="0">
                <a:pos x="csX880" y="csY880"/>
              </a:cxn>
              <a:cxn ang="0">
                <a:pos x="csX881" y="csY881"/>
              </a:cxn>
              <a:cxn ang="0">
                <a:pos x="csX882" y="csY882"/>
              </a:cxn>
              <a:cxn ang="0">
                <a:pos x="csX883" y="csY883"/>
              </a:cxn>
              <a:cxn ang="0">
                <a:pos x="csX884" y="csY884"/>
              </a:cxn>
              <a:cxn ang="0">
                <a:pos x="csX885" y="csY885"/>
              </a:cxn>
              <a:cxn ang="0">
                <a:pos x="csX886" y="csY886"/>
              </a:cxn>
              <a:cxn ang="0">
                <a:pos x="csX887" y="csY887"/>
              </a:cxn>
              <a:cxn ang="0">
                <a:pos x="csX888" y="csY888"/>
              </a:cxn>
              <a:cxn ang="0">
                <a:pos x="csX889" y="csY889"/>
              </a:cxn>
              <a:cxn ang="0">
                <a:pos x="csX890" y="csY890"/>
              </a:cxn>
              <a:cxn ang="0">
                <a:pos x="csX891" y="csY891"/>
              </a:cxn>
              <a:cxn ang="0">
                <a:pos x="csX892" y="csY892"/>
              </a:cxn>
              <a:cxn ang="0">
                <a:pos x="csX893" y="csY893"/>
              </a:cxn>
              <a:cxn ang="0">
                <a:pos x="csX894" y="csY894"/>
              </a:cxn>
              <a:cxn ang="0">
                <a:pos x="csX895" y="csY895"/>
              </a:cxn>
              <a:cxn ang="0">
                <a:pos x="csX896" y="csY896"/>
              </a:cxn>
              <a:cxn ang="0">
                <a:pos x="csX897" y="csY897"/>
              </a:cxn>
              <a:cxn ang="0">
                <a:pos x="csX898" y="csY898"/>
              </a:cxn>
              <a:cxn ang="0">
                <a:pos x="csX899" y="csY899"/>
              </a:cxn>
              <a:cxn ang="0">
                <a:pos x="csX900" y="csY900"/>
              </a:cxn>
              <a:cxn ang="0">
                <a:pos x="csX901" y="csY901"/>
              </a:cxn>
              <a:cxn ang="0">
                <a:pos x="csX902" y="csY902"/>
              </a:cxn>
              <a:cxn ang="0">
                <a:pos x="csX903" y="csY903"/>
              </a:cxn>
              <a:cxn ang="0">
                <a:pos x="csX904" y="csY904"/>
              </a:cxn>
              <a:cxn ang="0">
                <a:pos x="csX905" y="csY905"/>
              </a:cxn>
              <a:cxn ang="0">
                <a:pos x="csX906" y="csY906"/>
              </a:cxn>
              <a:cxn ang="0">
                <a:pos x="csX907" y="csY907"/>
              </a:cxn>
              <a:cxn ang="0">
                <a:pos x="csX908" y="csY908"/>
              </a:cxn>
              <a:cxn ang="0">
                <a:pos x="csX909" y="csY909"/>
              </a:cxn>
              <a:cxn ang="0">
                <a:pos x="csX910" y="csY910"/>
              </a:cxn>
              <a:cxn ang="0">
                <a:pos x="csX911" y="csY911"/>
              </a:cxn>
              <a:cxn ang="0">
                <a:pos x="csX912" y="csY912"/>
              </a:cxn>
              <a:cxn ang="0">
                <a:pos x="csX913" y="csY913"/>
              </a:cxn>
              <a:cxn ang="0">
                <a:pos x="csX914" y="csY914"/>
              </a:cxn>
              <a:cxn ang="0">
                <a:pos x="csX915" y="csY915"/>
              </a:cxn>
              <a:cxn ang="0">
                <a:pos x="csX916" y="csY916"/>
              </a:cxn>
              <a:cxn ang="0">
                <a:pos x="csX917" y="csY917"/>
              </a:cxn>
              <a:cxn ang="0">
                <a:pos x="csX918" y="csY918"/>
              </a:cxn>
              <a:cxn ang="0">
                <a:pos x="csX919" y="csY919"/>
              </a:cxn>
              <a:cxn ang="0">
                <a:pos x="csX920" y="csY920"/>
              </a:cxn>
              <a:cxn ang="0">
                <a:pos x="csX921" y="csY921"/>
              </a:cxn>
              <a:cxn ang="0">
                <a:pos x="csX922" y="csY922"/>
              </a:cxn>
              <a:cxn ang="0">
                <a:pos x="csX923" y="csY923"/>
              </a:cxn>
              <a:cxn ang="0">
                <a:pos x="csX924" y="csY924"/>
              </a:cxn>
              <a:cxn ang="0">
                <a:pos x="csX925" y="csY925"/>
              </a:cxn>
              <a:cxn ang="0">
                <a:pos x="csX926" y="csY926"/>
              </a:cxn>
              <a:cxn ang="0">
                <a:pos x="csX927" y="csY927"/>
              </a:cxn>
              <a:cxn ang="0">
                <a:pos x="csX928" y="csY928"/>
              </a:cxn>
              <a:cxn ang="0">
                <a:pos x="csX929" y="csY929"/>
              </a:cxn>
              <a:cxn ang="0">
                <a:pos x="csX930" y="csY930"/>
              </a:cxn>
              <a:cxn ang="0">
                <a:pos x="csX931" y="csY931"/>
              </a:cxn>
              <a:cxn ang="0">
                <a:pos x="csX932" y="csY932"/>
              </a:cxn>
              <a:cxn ang="0">
                <a:pos x="csX933" y="csY933"/>
              </a:cxn>
              <a:cxn ang="0">
                <a:pos x="csX934" y="csY934"/>
              </a:cxn>
              <a:cxn ang="0">
                <a:pos x="csX935" y="csY935"/>
              </a:cxn>
              <a:cxn ang="0">
                <a:pos x="csX936" y="csY936"/>
              </a:cxn>
              <a:cxn ang="0">
                <a:pos x="csX937" y="csY937"/>
              </a:cxn>
              <a:cxn ang="0">
                <a:pos x="csX938" y="csY938"/>
              </a:cxn>
              <a:cxn ang="0">
                <a:pos x="csX939" y="csY939"/>
              </a:cxn>
              <a:cxn ang="0">
                <a:pos x="csX940" y="csY940"/>
              </a:cxn>
              <a:cxn ang="0">
                <a:pos x="csX941" y="csY941"/>
              </a:cxn>
              <a:cxn ang="0">
                <a:pos x="csX942" y="csY942"/>
              </a:cxn>
              <a:cxn ang="0">
                <a:pos x="csX943" y="csY943"/>
              </a:cxn>
              <a:cxn ang="0">
                <a:pos x="csX944" y="csY944"/>
              </a:cxn>
              <a:cxn ang="0">
                <a:pos x="csX945" y="csY945"/>
              </a:cxn>
              <a:cxn ang="0">
                <a:pos x="csX946" y="csY946"/>
              </a:cxn>
              <a:cxn ang="0">
                <a:pos x="csX947" y="csY947"/>
              </a:cxn>
              <a:cxn ang="0">
                <a:pos x="csX948" y="csY948"/>
              </a:cxn>
              <a:cxn ang="0">
                <a:pos x="csX949" y="csY949"/>
              </a:cxn>
              <a:cxn ang="0">
                <a:pos x="csX950" y="csY950"/>
              </a:cxn>
              <a:cxn ang="0">
                <a:pos x="csX951" y="csY951"/>
              </a:cxn>
              <a:cxn ang="0">
                <a:pos x="csX952" y="csY952"/>
              </a:cxn>
              <a:cxn ang="0">
                <a:pos x="csX953" y="csY953"/>
              </a:cxn>
              <a:cxn ang="0">
                <a:pos x="csX954" y="csY954"/>
              </a:cxn>
              <a:cxn ang="0">
                <a:pos x="csX955" y="csY955"/>
              </a:cxn>
              <a:cxn ang="0">
                <a:pos x="csX956" y="csY956"/>
              </a:cxn>
              <a:cxn ang="0">
                <a:pos x="csX957" y="csY957"/>
              </a:cxn>
              <a:cxn ang="0">
                <a:pos x="csX958" y="csY958"/>
              </a:cxn>
              <a:cxn ang="0">
                <a:pos x="csX959" y="csY959"/>
              </a:cxn>
              <a:cxn ang="0">
                <a:pos x="csX960" y="csY960"/>
              </a:cxn>
              <a:cxn ang="0">
                <a:pos x="csX961" y="csY961"/>
              </a:cxn>
              <a:cxn ang="0">
                <a:pos x="csX962" y="csY962"/>
              </a:cxn>
              <a:cxn ang="0">
                <a:pos x="csX963" y="csY963"/>
              </a:cxn>
              <a:cxn ang="0">
                <a:pos x="csX964" y="csY964"/>
              </a:cxn>
              <a:cxn ang="0">
                <a:pos x="csX965" y="csY965"/>
              </a:cxn>
              <a:cxn ang="0">
                <a:pos x="csX966" y="csY966"/>
              </a:cxn>
              <a:cxn ang="0">
                <a:pos x="csX967" y="csY967"/>
              </a:cxn>
              <a:cxn ang="0">
                <a:pos x="csX968" y="csY968"/>
              </a:cxn>
              <a:cxn ang="0">
                <a:pos x="csX969" y="csY969"/>
              </a:cxn>
              <a:cxn ang="0">
                <a:pos x="csX970" y="csY970"/>
              </a:cxn>
              <a:cxn ang="0">
                <a:pos x="csX971" y="csY971"/>
              </a:cxn>
              <a:cxn ang="0">
                <a:pos x="csX972" y="csY972"/>
              </a:cxn>
              <a:cxn ang="0">
                <a:pos x="csX973" y="csY973"/>
              </a:cxn>
              <a:cxn ang="0">
                <a:pos x="csX974" y="csY974"/>
              </a:cxn>
              <a:cxn ang="0">
                <a:pos x="csX975" y="csY975"/>
              </a:cxn>
              <a:cxn ang="0">
                <a:pos x="csX976" y="csY976"/>
              </a:cxn>
              <a:cxn ang="0">
                <a:pos x="csX977" y="csY977"/>
              </a:cxn>
              <a:cxn ang="0">
                <a:pos x="csX978" y="csY978"/>
              </a:cxn>
              <a:cxn ang="0">
                <a:pos x="csX979" y="csY979"/>
              </a:cxn>
              <a:cxn ang="0">
                <a:pos x="csX980" y="csY980"/>
              </a:cxn>
              <a:cxn ang="0">
                <a:pos x="csX981" y="csY981"/>
              </a:cxn>
              <a:cxn ang="0">
                <a:pos x="csX982" y="csY982"/>
              </a:cxn>
              <a:cxn ang="0">
                <a:pos x="csX983" y="csY983"/>
              </a:cxn>
              <a:cxn ang="0">
                <a:pos x="csX984" y="csY984"/>
              </a:cxn>
              <a:cxn ang="0">
                <a:pos x="csX985" y="csY985"/>
              </a:cxn>
              <a:cxn ang="0">
                <a:pos x="csX986" y="csY986"/>
              </a:cxn>
              <a:cxn ang="0">
                <a:pos x="csX987" y="csY987"/>
              </a:cxn>
              <a:cxn ang="0">
                <a:pos x="csX988" y="csY988"/>
              </a:cxn>
              <a:cxn ang="0">
                <a:pos x="csX989" y="csY989"/>
              </a:cxn>
              <a:cxn ang="0">
                <a:pos x="csX990" y="csY990"/>
              </a:cxn>
              <a:cxn ang="0">
                <a:pos x="csX991" y="csY991"/>
              </a:cxn>
              <a:cxn ang="0">
                <a:pos x="csX992" y="csY992"/>
              </a:cxn>
              <a:cxn ang="0">
                <a:pos x="csX993" y="csY993"/>
              </a:cxn>
              <a:cxn ang="0">
                <a:pos x="csX994" y="csY994"/>
              </a:cxn>
              <a:cxn ang="0">
                <a:pos x="csX995" y="csY995"/>
              </a:cxn>
              <a:cxn ang="0">
                <a:pos x="csX996" y="csY996"/>
              </a:cxn>
              <a:cxn ang="0">
                <a:pos x="csX997" y="csY997"/>
              </a:cxn>
              <a:cxn ang="0">
                <a:pos x="csX998" y="csY998"/>
              </a:cxn>
              <a:cxn ang="0">
                <a:pos x="csX999" y="csY999"/>
              </a:cxn>
              <a:cxn ang="0">
                <a:pos x="csX1000" y="csY1000"/>
              </a:cxn>
              <a:cxn ang="0">
                <a:pos x="csX1001" y="csY1001"/>
              </a:cxn>
              <a:cxn ang="0">
                <a:pos x="csX1002" y="csY1002"/>
              </a:cxn>
              <a:cxn ang="0">
                <a:pos x="csX1003" y="csY1003"/>
              </a:cxn>
              <a:cxn ang="0">
                <a:pos x="csX1004" y="csY1004"/>
              </a:cxn>
              <a:cxn ang="0">
                <a:pos x="csX1005" y="csY1005"/>
              </a:cxn>
              <a:cxn ang="0">
                <a:pos x="csX1006" y="csY1006"/>
              </a:cxn>
              <a:cxn ang="0">
                <a:pos x="csX1007" y="csY1007"/>
              </a:cxn>
              <a:cxn ang="0">
                <a:pos x="csX1008" y="csY1008"/>
              </a:cxn>
              <a:cxn ang="0">
                <a:pos x="csX1009" y="csY1009"/>
              </a:cxn>
              <a:cxn ang="0">
                <a:pos x="csX1010" y="csY1010"/>
              </a:cxn>
              <a:cxn ang="0">
                <a:pos x="csX1011" y="csY1011"/>
              </a:cxn>
              <a:cxn ang="0">
                <a:pos x="csX1012" y="csY1012"/>
              </a:cxn>
              <a:cxn ang="0">
                <a:pos x="csX1013" y="csY1013"/>
              </a:cxn>
              <a:cxn ang="0">
                <a:pos x="csX1014" y="csY1014"/>
              </a:cxn>
              <a:cxn ang="0">
                <a:pos x="csX1015" y="csY1015"/>
              </a:cxn>
              <a:cxn ang="0">
                <a:pos x="csX1016" y="csY1016"/>
              </a:cxn>
              <a:cxn ang="0">
                <a:pos x="csX1017" y="csY1017"/>
              </a:cxn>
              <a:cxn ang="0">
                <a:pos x="csX1018" y="csY1018"/>
              </a:cxn>
              <a:cxn ang="0">
                <a:pos x="csX1019" y="csY1019"/>
              </a:cxn>
              <a:cxn ang="0">
                <a:pos x="csX1020" y="csY1020"/>
              </a:cxn>
              <a:cxn ang="0">
                <a:pos x="csX1021" y="csY1021"/>
              </a:cxn>
              <a:cxn ang="0">
                <a:pos x="csX1022" y="csY1022"/>
              </a:cxn>
              <a:cxn ang="0">
                <a:pos x="csX1023" y="csY1023"/>
              </a:cxn>
              <a:cxn ang="0">
                <a:pos x="csX1024" y="csY1024"/>
              </a:cxn>
              <a:cxn ang="0">
                <a:pos x="csX1025" y="csY1025"/>
              </a:cxn>
              <a:cxn ang="0">
                <a:pos x="csX1026" y="csY1026"/>
              </a:cxn>
              <a:cxn ang="0">
                <a:pos x="csX1027" y="csY1027"/>
              </a:cxn>
              <a:cxn ang="0">
                <a:pos x="csX1028" y="csY1028"/>
              </a:cxn>
              <a:cxn ang="0">
                <a:pos x="csX1029" y="csY1029"/>
              </a:cxn>
              <a:cxn ang="0">
                <a:pos x="csX1030" y="csY1030"/>
              </a:cxn>
              <a:cxn ang="0">
                <a:pos x="csX1031" y="csY1031"/>
              </a:cxn>
              <a:cxn ang="0">
                <a:pos x="csX1032" y="csY1032"/>
              </a:cxn>
              <a:cxn ang="0">
                <a:pos x="csX1033" y="csY1033"/>
              </a:cxn>
              <a:cxn ang="0">
                <a:pos x="csX1034" y="csY1034"/>
              </a:cxn>
              <a:cxn ang="0">
                <a:pos x="csX1035" y="csY1035"/>
              </a:cxn>
              <a:cxn ang="0">
                <a:pos x="csX1036" y="csY1036"/>
              </a:cxn>
              <a:cxn ang="0">
                <a:pos x="csX1037" y="csY1037"/>
              </a:cxn>
              <a:cxn ang="0">
                <a:pos x="csX1038" y="csY1038"/>
              </a:cxn>
              <a:cxn ang="0">
                <a:pos x="csX1039" y="csY1039"/>
              </a:cxn>
              <a:cxn ang="0">
                <a:pos x="csX1040" y="csY1040"/>
              </a:cxn>
              <a:cxn ang="0">
                <a:pos x="csX1041" y="csY1041"/>
              </a:cxn>
              <a:cxn ang="0">
                <a:pos x="csX1042" y="csY1042"/>
              </a:cxn>
              <a:cxn ang="0">
                <a:pos x="csX1043" y="csY1043"/>
              </a:cxn>
              <a:cxn ang="0">
                <a:pos x="csX1044" y="csY1044"/>
              </a:cxn>
              <a:cxn ang="0">
                <a:pos x="csX1045" y="csY1045"/>
              </a:cxn>
              <a:cxn ang="0">
                <a:pos x="csX1046" y="csY1046"/>
              </a:cxn>
              <a:cxn ang="0">
                <a:pos x="csX1047" y="csY1047"/>
              </a:cxn>
              <a:cxn ang="0">
                <a:pos x="csX1048" y="csY1048"/>
              </a:cxn>
              <a:cxn ang="0">
                <a:pos x="csX1049" y="csY1049"/>
              </a:cxn>
              <a:cxn ang="0">
                <a:pos x="csX1050" y="csY1050"/>
              </a:cxn>
              <a:cxn ang="0">
                <a:pos x="csX1051" y="csY1051"/>
              </a:cxn>
              <a:cxn ang="0">
                <a:pos x="csX1052" y="csY1052"/>
              </a:cxn>
              <a:cxn ang="0">
                <a:pos x="csX1053" y="csY1053"/>
              </a:cxn>
              <a:cxn ang="0">
                <a:pos x="csX1054" y="csY1054"/>
              </a:cxn>
            </a:cxnLst>
            <a:rect l="l" t="t" r="r" b="b"/>
            <a:pathLst>
              <a:path w="1609516" h="1538630">
                <a:moveTo>
                  <a:pt x="401579" y="1495809"/>
                </a:moveTo>
                <a:lnTo>
                  <a:pt x="400190" y="1496004"/>
                </a:lnTo>
                <a:lnTo>
                  <a:pt x="401224" y="1496470"/>
                </a:lnTo>
                <a:lnTo>
                  <a:pt x="401224" y="1498590"/>
                </a:lnTo>
                <a:lnTo>
                  <a:pt x="401579" y="1498628"/>
                </a:lnTo>
                <a:cubicBezTo>
                  <a:pt x="401579" y="1497698"/>
                  <a:pt x="401579" y="1496768"/>
                  <a:pt x="401579" y="1495809"/>
                </a:cubicBezTo>
                <a:close/>
                <a:moveTo>
                  <a:pt x="368755" y="1486512"/>
                </a:moveTo>
                <a:lnTo>
                  <a:pt x="364089" y="1487354"/>
                </a:lnTo>
                <a:lnTo>
                  <a:pt x="364089" y="1487908"/>
                </a:lnTo>
                <a:close/>
                <a:moveTo>
                  <a:pt x="1049801" y="1484562"/>
                </a:moveTo>
                <a:lnTo>
                  <a:pt x="1046735" y="1485945"/>
                </a:lnTo>
                <a:lnTo>
                  <a:pt x="1046955" y="1486045"/>
                </a:lnTo>
                <a:lnTo>
                  <a:pt x="1049801" y="1485188"/>
                </a:lnTo>
                <a:close/>
                <a:moveTo>
                  <a:pt x="351234" y="1444508"/>
                </a:moveTo>
                <a:lnTo>
                  <a:pt x="351234" y="1444997"/>
                </a:lnTo>
                <a:lnTo>
                  <a:pt x="351592" y="1445078"/>
                </a:lnTo>
                <a:close/>
                <a:moveTo>
                  <a:pt x="351908" y="1431206"/>
                </a:moveTo>
                <a:lnTo>
                  <a:pt x="351234" y="1431611"/>
                </a:lnTo>
                <a:lnTo>
                  <a:pt x="351234" y="1432274"/>
                </a:lnTo>
                <a:close/>
                <a:moveTo>
                  <a:pt x="358162" y="1421494"/>
                </a:moveTo>
                <a:lnTo>
                  <a:pt x="355921" y="1423156"/>
                </a:lnTo>
                <a:lnTo>
                  <a:pt x="355921" y="1423548"/>
                </a:lnTo>
                <a:close/>
                <a:moveTo>
                  <a:pt x="376098" y="1408347"/>
                </a:moveTo>
                <a:lnTo>
                  <a:pt x="370750" y="1412245"/>
                </a:lnTo>
                <a:lnTo>
                  <a:pt x="375023" y="1411256"/>
                </a:lnTo>
                <a:close/>
                <a:moveTo>
                  <a:pt x="421956" y="1365623"/>
                </a:moveTo>
                <a:lnTo>
                  <a:pt x="421765" y="1366161"/>
                </a:lnTo>
                <a:lnTo>
                  <a:pt x="421887" y="1366161"/>
                </a:lnTo>
                <a:close/>
                <a:moveTo>
                  <a:pt x="754553" y="1360575"/>
                </a:moveTo>
                <a:lnTo>
                  <a:pt x="754089" y="1361433"/>
                </a:lnTo>
                <a:lnTo>
                  <a:pt x="754431" y="1361125"/>
                </a:lnTo>
                <a:close/>
                <a:moveTo>
                  <a:pt x="1277973" y="1332923"/>
                </a:moveTo>
                <a:lnTo>
                  <a:pt x="1277944" y="1332936"/>
                </a:lnTo>
                <a:lnTo>
                  <a:pt x="1277949" y="1333139"/>
                </a:lnTo>
                <a:close/>
                <a:moveTo>
                  <a:pt x="1268556" y="1321066"/>
                </a:moveTo>
                <a:cubicBezTo>
                  <a:pt x="1268556" y="1322461"/>
                  <a:pt x="1268556" y="1323856"/>
                  <a:pt x="1268556" y="1325294"/>
                </a:cubicBezTo>
                <a:cubicBezTo>
                  <a:pt x="1267525" y="1325294"/>
                  <a:pt x="1266495" y="1325294"/>
                  <a:pt x="1265432" y="1325294"/>
                </a:cubicBezTo>
                <a:cubicBezTo>
                  <a:pt x="1265432" y="1330409"/>
                  <a:pt x="1265432" y="1335525"/>
                  <a:pt x="1265432" y="1340795"/>
                </a:cubicBezTo>
                <a:lnTo>
                  <a:pt x="1265476" y="1340714"/>
                </a:lnTo>
                <a:lnTo>
                  <a:pt x="1265476" y="1325877"/>
                </a:lnTo>
                <a:cubicBezTo>
                  <a:pt x="1266507" y="1325877"/>
                  <a:pt x="1267538" y="1325877"/>
                  <a:pt x="1268600" y="1325877"/>
                </a:cubicBezTo>
                <a:cubicBezTo>
                  <a:pt x="1268600" y="1324482"/>
                  <a:pt x="1268600" y="1323086"/>
                  <a:pt x="1268600" y="1321649"/>
                </a:cubicBezTo>
                <a:cubicBezTo>
                  <a:pt x="1270147" y="1321649"/>
                  <a:pt x="1271693" y="1321649"/>
                  <a:pt x="1273286" y="1321649"/>
                </a:cubicBezTo>
                <a:lnTo>
                  <a:pt x="1273227" y="1321066"/>
                </a:lnTo>
                <a:close/>
                <a:moveTo>
                  <a:pt x="827891" y="1291474"/>
                </a:moveTo>
                <a:lnTo>
                  <a:pt x="822601" y="1291544"/>
                </a:lnTo>
                <a:lnTo>
                  <a:pt x="818272" y="1292220"/>
                </a:lnTo>
                <a:lnTo>
                  <a:pt x="827891" y="1292047"/>
                </a:lnTo>
                <a:close/>
                <a:moveTo>
                  <a:pt x="856397" y="1288691"/>
                </a:moveTo>
                <a:lnTo>
                  <a:pt x="865903" y="1290590"/>
                </a:lnTo>
                <a:lnTo>
                  <a:pt x="859999" y="1288752"/>
                </a:lnTo>
                <a:close/>
                <a:moveTo>
                  <a:pt x="834694" y="1288572"/>
                </a:moveTo>
                <a:lnTo>
                  <a:pt x="828038" y="1288654"/>
                </a:lnTo>
                <a:lnTo>
                  <a:pt x="828038" y="1289214"/>
                </a:lnTo>
                <a:close/>
                <a:moveTo>
                  <a:pt x="229746" y="1191418"/>
                </a:moveTo>
                <a:lnTo>
                  <a:pt x="227402" y="1191947"/>
                </a:lnTo>
                <a:lnTo>
                  <a:pt x="229315" y="1191947"/>
                </a:lnTo>
                <a:cubicBezTo>
                  <a:pt x="229315" y="1192877"/>
                  <a:pt x="229315" y="1193807"/>
                  <a:pt x="229315" y="1194765"/>
                </a:cubicBezTo>
                <a:lnTo>
                  <a:pt x="231321" y="1194765"/>
                </a:lnTo>
                <a:lnTo>
                  <a:pt x="229746" y="1194236"/>
                </a:lnTo>
                <a:cubicBezTo>
                  <a:pt x="229746" y="1193306"/>
                  <a:pt x="229746" y="1192376"/>
                  <a:pt x="229746" y="1191418"/>
                </a:cubicBezTo>
                <a:close/>
                <a:moveTo>
                  <a:pt x="215687" y="1187190"/>
                </a:moveTo>
                <a:lnTo>
                  <a:pt x="215198" y="1187720"/>
                </a:lnTo>
                <a:lnTo>
                  <a:pt x="215256" y="1187720"/>
                </a:lnTo>
                <a:cubicBezTo>
                  <a:pt x="215256" y="1189115"/>
                  <a:pt x="215256" y="1190510"/>
                  <a:pt x="215256" y="1191947"/>
                </a:cubicBezTo>
                <a:lnTo>
                  <a:pt x="222721" y="1191947"/>
                </a:lnTo>
                <a:lnTo>
                  <a:pt x="215687" y="1191418"/>
                </a:lnTo>
                <a:cubicBezTo>
                  <a:pt x="215687" y="1190023"/>
                  <a:pt x="215687" y="1188628"/>
                  <a:pt x="215687" y="1187190"/>
                </a:cubicBezTo>
                <a:close/>
                <a:moveTo>
                  <a:pt x="1279678" y="1082356"/>
                </a:moveTo>
                <a:lnTo>
                  <a:pt x="1271680" y="1084589"/>
                </a:lnTo>
                <a:lnTo>
                  <a:pt x="1282181" y="1082544"/>
                </a:lnTo>
                <a:close/>
                <a:moveTo>
                  <a:pt x="117703" y="941507"/>
                </a:moveTo>
                <a:lnTo>
                  <a:pt x="112587" y="941985"/>
                </a:lnTo>
                <a:lnTo>
                  <a:pt x="112565" y="942333"/>
                </a:lnTo>
                <a:lnTo>
                  <a:pt x="115665" y="941837"/>
                </a:lnTo>
                <a:close/>
                <a:moveTo>
                  <a:pt x="144268" y="939395"/>
                </a:moveTo>
                <a:lnTo>
                  <a:pt x="143354" y="939580"/>
                </a:lnTo>
                <a:lnTo>
                  <a:pt x="144077" y="939739"/>
                </a:lnTo>
                <a:close/>
                <a:moveTo>
                  <a:pt x="162575" y="933530"/>
                </a:moveTo>
                <a:lnTo>
                  <a:pt x="161704" y="935101"/>
                </a:lnTo>
                <a:lnTo>
                  <a:pt x="170045" y="933585"/>
                </a:lnTo>
                <a:close/>
                <a:moveTo>
                  <a:pt x="1321645" y="918415"/>
                </a:moveTo>
                <a:lnTo>
                  <a:pt x="1321534" y="920177"/>
                </a:lnTo>
                <a:lnTo>
                  <a:pt x="1321740" y="918415"/>
                </a:lnTo>
                <a:close/>
                <a:moveTo>
                  <a:pt x="1319333" y="915183"/>
                </a:moveTo>
                <a:lnTo>
                  <a:pt x="1318544" y="918029"/>
                </a:lnTo>
                <a:lnTo>
                  <a:pt x="1318702" y="918029"/>
                </a:lnTo>
                <a:close/>
                <a:moveTo>
                  <a:pt x="1326355" y="907109"/>
                </a:moveTo>
                <a:lnTo>
                  <a:pt x="1326355" y="910983"/>
                </a:lnTo>
                <a:lnTo>
                  <a:pt x="1325831" y="911101"/>
                </a:lnTo>
                <a:lnTo>
                  <a:pt x="1326426" y="911369"/>
                </a:lnTo>
                <a:cubicBezTo>
                  <a:pt x="1326426" y="909974"/>
                  <a:pt x="1326426" y="908579"/>
                  <a:pt x="1326426" y="907141"/>
                </a:cubicBezTo>
                <a:close/>
                <a:moveTo>
                  <a:pt x="1328144" y="892192"/>
                </a:moveTo>
                <a:lnTo>
                  <a:pt x="1327667" y="893446"/>
                </a:lnTo>
                <a:lnTo>
                  <a:pt x="1327989" y="893049"/>
                </a:lnTo>
                <a:close/>
                <a:moveTo>
                  <a:pt x="49605" y="887420"/>
                </a:moveTo>
                <a:lnTo>
                  <a:pt x="48549" y="891229"/>
                </a:lnTo>
                <a:lnTo>
                  <a:pt x="49956" y="887420"/>
                </a:lnTo>
                <a:close/>
                <a:moveTo>
                  <a:pt x="1332266" y="883369"/>
                </a:moveTo>
                <a:lnTo>
                  <a:pt x="1329479" y="884207"/>
                </a:lnTo>
                <a:lnTo>
                  <a:pt x="1329509" y="884816"/>
                </a:lnTo>
                <a:lnTo>
                  <a:pt x="1329551" y="884594"/>
                </a:lnTo>
                <a:close/>
                <a:moveTo>
                  <a:pt x="1555987" y="821766"/>
                </a:moveTo>
                <a:lnTo>
                  <a:pt x="1555987" y="822201"/>
                </a:lnTo>
                <a:lnTo>
                  <a:pt x="1556081" y="822189"/>
                </a:lnTo>
                <a:close/>
                <a:moveTo>
                  <a:pt x="1565360" y="810928"/>
                </a:moveTo>
                <a:lnTo>
                  <a:pt x="1564871" y="811809"/>
                </a:lnTo>
                <a:lnTo>
                  <a:pt x="1567314" y="810928"/>
                </a:lnTo>
                <a:close/>
                <a:moveTo>
                  <a:pt x="1563797" y="810928"/>
                </a:moveTo>
                <a:lnTo>
                  <a:pt x="1556762" y="814736"/>
                </a:lnTo>
                <a:lnTo>
                  <a:pt x="1563797" y="812197"/>
                </a:lnTo>
                <a:close/>
                <a:moveTo>
                  <a:pt x="265833" y="806020"/>
                </a:moveTo>
                <a:lnTo>
                  <a:pt x="263704" y="809861"/>
                </a:lnTo>
                <a:lnTo>
                  <a:pt x="263704" y="816750"/>
                </a:lnTo>
                <a:lnTo>
                  <a:pt x="264113" y="816565"/>
                </a:lnTo>
                <a:cubicBezTo>
                  <a:pt x="264048" y="815315"/>
                  <a:pt x="263984" y="814065"/>
                  <a:pt x="263918" y="812777"/>
                </a:cubicBezTo>
                <a:close/>
                <a:moveTo>
                  <a:pt x="263774" y="779374"/>
                </a:moveTo>
                <a:lnTo>
                  <a:pt x="263704" y="783086"/>
                </a:lnTo>
                <a:cubicBezTo>
                  <a:pt x="263961" y="783987"/>
                  <a:pt x="264219" y="784888"/>
                  <a:pt x="264484" y="785816"/>
                </a:cubicBezTo>
                <a:cubicBezTo>
                  <a:pt x="265299" y="788846"/>
                  <a:pt x="265316" y="791337"/>
                  <a:pt x="265265" y="794448"/>
                </a:cubicBezTo>
                <a:cubicBezTo>
                  <a:pt x="265103" y="797155"/>
                  <a:pt x="265022" y="798508"/>
                  <a:pt x="265217" y="799730"/>
                </a:cubicBezTo>
                <a:lnTo>
                  <a:pt x="266556" y="803466"/>
                </a:lnTo>
                <a:lnTo>
                  <a:pt x="267237" y="801063"/>
                </a:lnTo>
                <a:cubicBezTo>
                  <a:pt x="266721" y="800598"/>
                  <a:pt x="266206" y="800133"/>
                  <a:pt x="265675" y="799654"/>
                </a:cubicBezTo>
                <a:cubicBezTo>
                  <a:pt x="265601" y="797718"/>
                  <a:pt x="265617" y="795778"/>
                  <a:pt x="265675" y="793841"/>
                </a:cubicBezTo>
                <a:close/>
                <a:moveTo>
                  <a:pt x="260988" y="770061"/>
                </a:moveTo>
                <a:lnTo>
                  <a:pt x="260988" y="771364"/>
                </a:lnTo>
                <a:lnTo>
                  <a:pt x="263497" y="777263"/>
                </a:lnTo>
                <a:lnTo>
                  <a:pt x="262551" y="770061"/>
                </a:lnTo>
                <a:cubicBezTo>
                  <a:pt x="262035" y="770061"/>
                  <a:pt x="261520" y="770061"/>
                  <a:pt x="260988" y="770061"/>
                </a:cubicBezTo>
                <a:close/>
                <a:moveTo>
                  <a:pt x="157888" y="651686"/>
                </a:moveTo>
                <a:lnTo>
                  <a:pt x="157415" y="651764"/>
                </a:lnTo>
                <a:lnTo>
                  <a:pt x="160373" y="652274"/>
                </a:lnTo>
                <a:close/>
                <a:moveTo>
                  <a:pt x="267237" y="426537"/>
                </a:moveTo>
                <a:lnTo>
                  <a:pt x="267237" y="427619"/>
                </a:lnTo>
                <a:cubicBezTo>
                  <a:pt x="268274" y="427791"/>
                  <a:pt x="269311" y="427961"/>
                  <a:pt x="270380" y="428137"/>
                </a:cubicBezTo>
                <a:lnTo>
                  <a:pt x="273548" y="428680"/>
                </a:lnTo>
                <a:close/>
                <a:moveTo>
                  <a:pt x="37605" y="359270"/>
                </a:moveTo>
                <a:lnTo>
                  <a:pt x="37103" y="361533"/>
                </a:lnTo>
                <a:lnTo>
                  <a:pt x="37605" y="361382"/>
                </a:lnTo>
                <a:close/>
                <a:moveTo>
                  <a:pt x="52477" y="337570"/>
                </a:moveTo>
                <a:lnTo>
                  <a:pt x="47288" y="342340"/>
                </a:lnTo>
                <a:lnTo>
                  <a:pt x="45805" y="345093"/>
                </a:lnTo>
                <a:close/>
                <a:moveTo>
                  <a:pt x="104291" y="336166"/>
                </a:moveTo>
                <a:lnTo>
                  <a:pt x="103776" y="337559"/>
                </a:lnTo>
                <a:lnTo>
                  <a:pt x="108925" y="336166"/>
                </a:lnTo>
                <a:close/>
                <a:moveTo>
                  <a:pt x="1309237" y="322954"/>
                </a:moveTo>
                <a:lnTo>
                  <a:pt x="1309180" y="330559"/>
                </a:lnTo>
                <a:lnTo>
                  <a:pt x="1309237" y="330520"/>
                </a:lnTo>
                <a:close/>
                <a:moveTo>
                  <a:pt x="1308964" y="317715"/>
                </a:moveTo>
                <a:lnTo>
                  <a:pt x="1309237" y="318569"/>
                </a:lnTo>
                <a:lnTo>
                  <a:pt x="1309237" y="317838"/>
                </a:lnTo>
                <a:close/>
                <a:moveTo>
                  <a:pt x="1310087" y="313153"/>
                </a:moveTo>
                <a:lnTo>
                  <a:pt x="1307609" y="313473"/>
                </a:lnTo>
                <a:lnTo>
                  <a:pt x="1308045" y="314836"/>
                </a:lnTo>
                <a:close/>
                <a:moveTo>
                  <a:pt x="1318544" y="312064"/>
                </a:moveTo>
                <a:lnTo>
                  <a:pt x="1316298" y="312353"/>
                </a:lnTo>
                <a:lnTo>
                  <a:pt x="1318544" y="312205"/>
                </a:lnTo>
                <a:close/>
                <a:moveTo>
                  <a:pt x="1084622" y="267674"/>
                </a:moveTo>
                <a:lnTo>
                  <a:pt x="1084227" y="268378"/>
                </a:lnTo>
                <a:cubicBezTo>
                  <a:pt x="1082679" y="268378"/>
                  <a:pt x="1081133" y="268378"/>
                  <a:pt x="1079540" y="268378"/>
                </a:cubicBezTo>
                <a:lnTo>
                  <a:pt x="1079603" y="268477"/>
                </a:lnTo>
                <a:lnTo>
                  <a:pt x="1084192" y="268477"/>
                </a:lnTo>
                <a:close/>
                <a:moveTo>
                  <a:pt x="956410" y="266968"/>
                </a:moveTo>
                <a:lnTo>
                  <a:pt x="957576" y="267083"/>
                </a:lnTo>
                <a:lnTo>
                  <a:pt x="957576" y="269776"/>
                </a:lnTo>
                <a:lnTo>
                  <a:pt x="957694" y="269787"/>
                </a:lnTo>
                <a:cubicBezTo>
                  <a:pt x="957694" y="268857"/>
                  <a:pt x="957694" y="267927"/>
                  <a:pt x="957694" y="266968"/>
                </a:cubicBezTo>
                <a:close/>
                <a:moveTo>
                  <a:pt x="1089372" y="259220"/>
                </a:moveTo>
                <a:lnTo>
                  <a:pt x="1085856" y="265479"/>
                </a:lnTo>
                <a:lnTo>
                  <a:pt x="1088878" y="261431"/>
                </a:lnTo>
                <a:close/>
                <a:moveTo>
                  <a:pt x="1018517" y="223356"/>
                </a:moveTo>
                <a:lnTo>
                  <a:pt x="1013866" y="226190"/>
                </a:lnTo>
                <a:lnTo>
                  <a:pt x="1013024" y="227709"/>
                </a:lnTo>
                <a:lnTo>
                  <a:pt x="1017055" y="224692"/>
                </a:lnTo>
                <a:close/>
                <a:moveTo>
                  <a:pt x="850645" y="220099"/>
                </a:moveTo>
                <a:lnTo>
                  <a:pt x="850897" y="221488"/>
                </a:lnTo>
                <a:cubicBezTo>
                  <a:pt x="851086" y="222545"/>
                  <a:pt x="851275" y="223602"/>
                  <a:pt x="851470" y="224692"/>
                </a:cubicBezTo>
                <a:lnTo>
                  <a:pt x="852860" y="224692"/>
                </a:lnTo>
                <a:close/>
                <a:moveTo>
                  <a:pt x="1155019" y="35"/>
                </a:moveTo>
                <a:cubicBezTo>
                  <a:pt x="1161775" y="275"/>
                  <a:pt x="1168415" y="1783"/>
                  <a:pt x="1174829" y="4853"/>
                </a:cubicBezTo>
                <a:cubicBezTo>
                  <a:pt x="1176343" y="5231"/>
                  <a:pt x="1177858" y="5609"/>
                  <a:pt x="1179418" y="5998"/>
                </a:cubicBezTo>
                <a:cubicBezTo>
                  <a:pt x="1189392" y="9487"/>
                  <a:pt x="1196322" y="14392"/>
                  <a:pt x="1201385" y="22997"/>
                </a:cubicBezTo>
                <a:cubicBezTo>
                  <a:pt x="1206849" y="35244"/>
                  <a:pt x="1206940" y="49865"/>
                  <a:pt x="1201678" y="62191"/>
                </a:cubicBezTo>
                <a:cubicBezTo>
                  <a:pt x="1200594" y="64241"/>
                  <a:pt x="1199461" y="66271"/>
                  <a:pt x="1198261" y="68268"/>
                </a:cubicBezTo>
                <a:cubicBezTo>
                  <a:pt x="1197423" y="69721"/>
                  <a:pt x="1196586" y="71175"/>
                  <a:pt x="1195723" y="72672"/>
                </a:cubicBezTo>
                <a:cubicBezTo>
                  <a:pt x="1194659" y="73980"/>
                  <a:pt x="1194659" y="73980"/>
                  <a:pt x="1193575" y="75314"/>
                </a:cubicBezTo>
                <a:cubicBezTo>
                  <a:pt x="1192544" y="75314"/>
                  <a:pt x="1191512" y="75314"/>
                  <a:pt x="1190450" y="75314"/>
                </a:cubicBezTo>
                <a:cubicBezTo>
                  <a:pt x="1190128" y="76651"/>
                  <a:pt x="1189806" y="77988"/>
                  <a:pt x="1189474" y="79366"/>
                </a:cubicBezTo>
                <a:cubicBezTo>
                  <a:pt x="1187326" y="83769"/>
                  <a:pt x="1187326" y="83769"/>
                  <a:pt x="1182445" y="85707"/>
                </a:cubicBezTo>
                <a:cubicBezTo>
                  <a:pt x="1180962" y="85998"/>
                  <a:pt x="1179480" y="86289"/>
                  <a:pt x="1177953" y="86588"/>
                </a:cubicBezTo>
                <a:cubicBezTo>
                  <a:pt x="1177953" y="87518"/>
                  <a:pt x="1177953" y="88448"/>
                  <a:pt x="1177953" y="89406"/>
                </a:cubicBezTo>
                <a:cubicBezTo>
                  <a:pt x="1175369" y="91088"/>
                  <a:pt x="1172720" y="92688"/>
                  <a:pt x="1170045" y="94251"/>
                </a:cubicBezTo>
                <a:cubicBezTo>
                  <a:pt x="1154651" y="104199"/>
                  <a:pt x="1148918" y="116979"/>
                  <a:pt x="1143806" y="132828"/>
                </a:cubicBezTo>
                <a:cubicBezTo>
                  <a:pt x="1142095" y="137144"/>
                  <a:pt x="1140989" y="138617"/>
                  <a:pt x="1137338" y="141548"/>
                </a:cubicBezTo>
                <a:cubicBezTo>
                  <a:pt x="1136166" y="144148"/>
                  <a:pt x="1134992" y="146751"/>
                  <a:pt x="1133970" y="149403"/>
                </a:cubicBezTo>
                <a:cubicBezTo>
                  <a:pt x="1132069" y="154334"/>
                  <a:pt x="1130006" y="159210"/>
                  <a:pt x="1127965" y="164095"/>
                </a:cubicBezTo>
                <a:cubicBezTo>
                  <a:pt x="1126897" y="166664"/>
                  <a:pt x="1125830" y="169233"/>
                  <a:pt x="1124762" y="171802"/>
                </a:cubicBezTo>
                <a:cubicBezTo>
                  <a:pt x="1122961" y="176134"/>
                  <a:pt x="1121160" y="180466"/>
                  <a:pt x="1119359" y="184798"/>
                </a:cubicBezTo>
                <a:cubicBezTo>
                  <a:pt x="1116567" y="191508"/>
                  <a:pt x="1113778" y="198220"/>
                  <a:pt x="1111014" y="204941"/>
                </a:cubicBezTo>
                <a:cubicBezTo>
                  <a:pt x="1110590" y="205970"/>
                  <a:pt x="1110165" y="206999"/>
                  <a:pt x="1109729" y="208059"/>
                </a:cubicBezTo>
                <a:cubicBezTo>
                  <a:pt x="1108615" y="210762"/>
                  <a:pt x="1107505" y="213466"/>
                  <a:pt x="1106395" y="216170"/>
                </a:cubicBezTo>
                <a:cubicBezTo>
                  <a:pt x="1104320" y="220956"/>
                  <a:pt x="1103283" y="223349"/>
                  <a:pt x="1102147" y="224810"/>
                </a:cubicBezTo>
                <a:lnTo>
                  <a:pt x="1098261" y="227262"/>
                </a:lnTo>
                <a:lnTo>
                  <a:pt x="1098367" y="238475"/>
                </a:lnTo>
                <a:cubicBezTo>
                  <a:pt x="1098025" y="239757"/>
                  <a:pt x="1097684" y="241038"/>
                  <a:pt x="1097331" y="242358"/>
                </a:cubicBezTo>
                <a:cubicBezTo>
                  <a:pt x="1096958" y="243711"/>
                  <a:pt x="1096585" y="245064"/>
                  <a:pt x="1096201" y="246458"/>
                </a:cubicBezTo>
                <a:cubicBezTo>
                  <a:pt x="1093302" y="257363"/>
                  <a:pt x="1090901" y="268062"/>
                  <a:pt x="1089440" y="279206"/>
                </a:cubicBezTo>
                <a:cubicBezTo>
                  <a:pt x="1088878" y="282569"/>
                  <a:pt x="1088878" y="282569"/>
                  <a:pt x="1087316" y="283978"/>
                </a:cubicBezTo>
                <a:cubicBezTo>
                  <a:pt x="1087070" y="286587"/>
                  <a:pt x="1086924" y="289205"/>
                  <a:pt x="1086822" y="291822"/>
                </a:cubicBezTo>
                <a:cubicBezTo>
                  <a:pt x="1086756" y="293408"/>
                  <a:pt x="1086691" y="294993"/>
                  <a:pt x="1086623" y="296625"/>
                </a:cubicBezTo>
                <a:cubicBezTo>
                  <a:pt x="1086562" y="298294"/>
                  <a:pt x="1086501" y="299962"/>
                  <a:pt x="1086437" y="301681"/>
                </a:cubicBezTo>
                <a:cubicBezTo>
                  <a:pt x="1086336" y="304192"/>
                  <a:pt x="1086336" y="304192"/>
                  <a:pt x="1086233" y="306754"/>
                </a:cubicBezTo>
                <a:lnTo>
                  <a:pt x="1086007" y="312619"/>
                </a:lnTo>
                <a:lnTo>
                  <a:pt x="1087470" y="320554"/>
                </a:lnTo>
                <a:cubicBezTo>
                  <a:pt x="1089648" y="325409"/>
                  <a:pt x="1093111" y="329799"/>
                  <a:pt x="1098285" y="334611"/>
                </a:cubicBezTo>
                <a:cubicBezTo>
                  <a:pt x="1100424" y="336130"/>
                  <a:pt x="1100424" y="336130"/>
                  <a:pt x="1102607" y="337679"/>
                </a:cubicBezTo>
                <a:cubicBezTo>
                  <a:pt x="1104334" y="338951"/>
                  <a:pt x="1104334" y="338951"/>
                  <a:pt x="1106095" y="340248"/>
                </a:cubicBezTo>
                <a:cubicBezTo>
                  <a:pt x="1106095" y="341178"/>
                  <a:pt x="1106095" y="342108"/>
                  <a:pt x="1106095" y="343066"/>
                </a:cubicBezTo>
                <a:cubicBezTo>
                  <a:pt x="1107127" y="343183"/>
                  <a:pt x="1108158" y="343299"/>
                  <a:pt x="1109220" y="343419"/>
                </a:cubicBezTo>
                <a:cubicBezTo>
                  <a:pt x="1115473" y="344829"/>
                  <a:pt x="1120724" y="347416"/>
                  <a:pt x="1126403" y="350112"/>
                </a:cubicBezTo>
                <a:cubicBezTo>
                  <a:pt x="1128207" y="350926"/>
                  <a:pt x="1130012" y="351740"/>
                  <a:pt x="1131871" y="352579"/>
                </a:cubicBezTo>
                <a:cubicBezTo>
                  <a:pt x="1133159" y="353160"/>
                  <a:pt x="1134448" y="353741"/>
                  <a:pt x="1135776" y="354340"/>
                </a:cubicBezTo>
                <a:cubicBezTo>
                  <a:pt x="1135776" y="355270"/>
                  <a:pt x="1135776" y="356200"/>
                  <a:pt x="1135776" y="357158"/>
                </a:cubicBezTo>
                <a:cubicBezTo>
                  <a:pt x="1148107" y="360029"/>
                  <a:pt x="1158679" y="359101"/>
                  <a:pt x="1170143" y="354340"/>
                </a:cubicBezTo>
                <a:cubicBezTo>
                  <a:pt x="1172366" y="353468"/>
                  <a:pt x="1172366" y="353468"/>
                  <a:pt x="1174634" y="352579"/>
                </a:cubicBezTo>
                <a:cubicBezTo>
                  <a:pt x="1180354" y="349689"/>
                  <a:pt x="1185568" y="346355"/>
                  <a:pt x="1190890" y="342907"/>
                </a:cubicBezTo>
                <a:cubicBezTo>
                  <a:pt x="1195169" y="340228"/>
                  <a:pt x="1199557" y="337821"/>
                  <a:pt x="1204021" y="335404"/>
                </a:cubicBezTo>
                <a:cubicBezTo>
                  <a:pt x="1211989" y="330886"/>
                  <a:pt x="1217509" y="325766"/>
                  <a:pt x="1223255" y="319110"/>
                </a:cubicBezTo>
                <a:cubicBezTo>
                  <a:pt x="1224447" y="317947"/>
                  <a:pt x="1225639" y="316784"/>
                  <a:pt x="1226868" y="315587"/>
                </a:cubicBezTo>
                <a:cubicBezTo>
                  <a:pt x="1229855" y="311593"/>
                  <a:pt x="1230852" y="308240"/>
                  <a:pt x="1231859" y="303559"/>
                </a:cubicBezTo>
                <a:cubicBezTo>
                  <a:pt x="1232628" y="300790"/>
                  <a:pt x="1232628" y="300790"/>
                  <a:pt x="1234178" y="298059"/>
                </a:cubicBezTo>
                <a:cubicBezTo>
                  <a:pt x="1235964" y="294761"/>
                  <a:pt x="1236623" y="291807"/>
                  <a:pt x="1237314" y="288195"/>
                </a:cubicBezTo>
                <a:cubicBezTo>
                  <a:pt x="1239360" y="278571"/>
                  <a:pt x="1242414" y="272733"/>
                  <a:pt x="1249811" y="265559"/>
                </a:cubicBezTo>
                <a:cubicBezTo>
                  <a:pt x="1250842" y="265559"/>
                  <a:pt x="1251873" y="265559"/>
                  <a:pt x="1252935" y="265559"/>
                </a:cubicBezTo>
                <a:cubicBezTo>
                  <a:pt x="1252935" y="264629"/>
                  <a:pt x="1252935" y="263699"/>
                  <a:pt x="1252935" y="262741"/>
                </a:cubicBezTo>
                <a:cubicBezTo>
                  <a:pt x="1265591" y="253427"/>
                  <a:pt x="1280762" y="251648"/>
                  <a:pt x="1296675" y="252876"/>
                </a:cubicBezTo>
                <a:cubicBezTo>
                  <a:pt x="1300535" y="253563"/>
                  <a:pt x="1303901" y="254478"/>
                  <a:pt x="1307609" y="255695"/>
                </a:cubicBezTo>
                <a:cubicBezTo>
                  <a:pt x="1307609" y="256625"/>
                  <a:pt x="1307609" y="257555"/>
                  <a:pt x="1307609" y="258513"/>
                </a:cubicBezTo>
                <a:cubicBezTo>
                  <a:pt x="1309021" y="258619"/>
                  <a:pt x="1310432" y="258723"/>
                  <a:pt x="1311887" y="258832"/>
                </a:cubicBezTo>
                <a:cubicBezTo>
                  <a:pt x="1319573" y="260476"/>
                  <a:pt x="1322149" y="264416"/>
                  <a:pt x="1326715" y="269969"/>
                </a:cubicBezTo>
                <a:cubicBezTo>
                  <a:pt x="1334402" y="281220"/>
                  <a:pt x="1336114" y="294839"/>
                  <a:pt x="1334165" y="307836"/>
                </a:cubicBezTo>
                <a:cubicBezTo>
                  <a:pt x="1332176" y="311898"/>
                  <a:pt x="1332176" y="311898"/>
                  <a:pt x="1329479" y="314882"/>
                </a:cubicBezTo>
                <a:cubicBezTo>
                  <a:pt x="1327417" y="314882"/>
                  <a:pt x="1325355" y="314882"/>
                  <a:pt x="1323231" y="314882"/>
                </a:cubicBezTo>
                <a:cubicBezTo>
                  <a:pt x="1323231" y="315812"/>
                  <a:pt x="1323231" y="316742"/>
                  <a:pt x="1323231" y="317700"/>
                </a:cubicBezTo>
                <a:lnTo>
                  <a:pt x="1322774" y="317838"/>
                </a:lnTo>
                <a:lnTo>
                  <a:pt x="1323295" y="317838"/>
                </a:lnTo>
                <a:cubicBezTo>
                  <a:pt x="1323295" y="316907"/>
                  <a:pt x="1323295" y="315977"/>
                  <a:pt x="1323295" y="315019"/>
                </a:cubicBezTo>
                <a:cubicBezTo>
                  <a:pt x="1324842" y="315019"/>
                  <a:pt x="1326388" y="315019"/>
                  <a:pt x="1327982" y="315019"/>
                </a:cubicBezTo>
                <a:cubicBezTo>
                  <a:pt x="1325845" y="321328"/>
                  <a:pt x="1322753" y="323742"/>
                  <a:pt x="1317047" y="327702"/>
                </a:cubicBezTo>
                <a:cubicBezTo>
                  <a:pt x="1316531" y="329097"/>
                  <a:pt x="1316016" y="330492"/>
                  <a:pt x="1315484" y="331930"/>
                </a:cubicBezTo>
                <a:cubicBezTo>
                  <a:pt x="1312599" y="332959"/>
                  <a:pt x="1312599" y="332959"/>
                  <a:pt x="1309139" y="333603"/>
                </a:cubicBezTo>
                <a:cubicBezTo>
                  <a:pt x="1307993" y="333827"/>
                  <a:pt x="1306847" y="334050"/>
                  <a:pt x="1305666" y="334280"/>
                </a:cubicBezTo>
                <a:cubicBezTo>
                  <a:pt x="1304783" y="334434"/>
                  <a:pt x="1303899" y="334589"/>
                  <a:pt x="1302988" y="334748"/>
                </a:cubicBezTo>
                <a:lnTo>
                  <a:pt x="1305905" y="332775"/>
                </a:lnTo>
                <a:lnTo>
                  <a:pt x="1304485" y="333202"/>
                </a:lnTo>
                <a:cubicBezTo>
                  <a:pt x="1302987" y="334640"/>
                  <a:pt x="1302987" y="334640"/>
                  <a:pt x="1301459" y="336108"/>
                </a:cubicBezTo>
                <a:cubicBezTo>
                  <a:pt x="1298237" y="338839"/>
                  <a:pt x="1298237" y="338839"/>
                  <a:pt x="1291989" y="338839"/>
                </a:cubicBezTo>
                <a:cubicBezTo>
                  <a:pt x="1291473" y="340234"/>
                  <a:pt x="1290957" y="341629"/>
                  <a:pt x="1290426" y="343066"/>
                </a:cubicBezTo>
                <a:cubicBezTo>
                  <a:pt x="1288879" y="343415"/>
                  <a:pt x="1287333" y="343764"/>
                  <a:pt x="1285740" y="344123"/>
                </a:cubicBezTo>
                <a:cubicBezTo>
                  <a:pt x="1266905" y="348491"/>
                  <a:pt x="1249005" y="369098"/>
                  <a:pt x="1237314" y="382525"/>
                </a:cubicBezTo>
                <a:cubicBezTo>
                  <a:pt x="1235678" y="385783"/>
                  <a:pt x="1234122" y="389075"/>
                  <a:pt x="1232628" y="392389"/>
                </a:cubicBezTo>
                <a:cubicBezTo>
                  <a:pt x="1231317" y="394515"/>
                  <a:pt x="1229981" y="396629"/>
                  <a:pt x="1228625" y="398731"/>
                </a:cubicBezTo>
                <a:cubicBezTo>
                  <a:pt x="1221457" y="410300"/>
                  <a:pt x="1219465" y="421836"/>
                  <a:pt x="1222822" y="434798"/>
                </a:cubicBezTo>
                <a:cubicBezTo>
                  <a:pt x="1229360" y="453710"/>
                  <a:pt x="1244088" y="472467"/>
                  <a:pt x="1260746" y="485398"/>
                </a:cubicBezTo>
                <a:cubicBezTo>
                  <a:pt x="1264961" y="487349"/>
                  <a:pt x="1264961" y="487349"/>
                  <a:pt x="1268556" y="488216"/>
                </a:cubicBezTo>
                <a:cubicBezTo>
                  <a:pt x="1268556" y="489146"/>
                  <a:pt x="1268556" y="490076"/>
                  <a:pt x="1268556" y="491034"/>
                </a:cubicBezTo>
                <a:cubicBezTo>
                  <a:pt x="1288790" y="497071"/>
                  <a:pt x="1319055" y="498555"/>
                  <a:pt x="1338852" y="489625"/>
                </a:cubicBezTo>
                <a:cubicBezTo>
                  <a:pt x="1341711" y="489213"/>
                  <a:pt x="1344575" y="488837"/>
                  <a:pt x="1347444" y="488480"/>
                </a:cubicBezTo>
                <a:cubicBezTo>
                  <a:pt x="1355372" y="487345"/>
                  <a:pt x="1362033" y="485390"/>
                  <a:pt x="1369362" y="482513"/>
                </a:cubicBezTo>
                <a:cubicBezTo>
                  <a:pt x="1375665" y="480318"/>
                  <a:pt x="1382189" y="479322"/>
                  <a:pt x="1388840" y="478351"/>
                </a:cubicBezTo>
                <a:cubicBezTo>
                  <a:pt x="1388840" y="477421"/>
                  <a:pt x="1388840" y="476492"/>
                  <a:pt x="1388840" y="475533"/>
                </a:cubicBezTo>
                <a:cubicBezTo>
                  <a:pt x="1391083" y="474821"/>
                  <a:pt x="1393329" y="474118"/>
                  <a:pt x="1395576" y="473419"/>
                </a:cubicBezTo>
                <a:cubicBezTo>
                  <a:pt x="1396827" y="473027"/>
                  <a:pt x="1398077" y="472635"/>
                  <a:pt x="1399365" y="472230"/>
                </a:cubicBezTo>
                <a:cubicBezTo>
                  <a:pt x="1402899" y="471305"/>
                  <a:pt x="1402899" y="471305"/>
                  <a:pt x="1407585" y="471305"/>
                </a:cubicBezTo>
                <a:cubicBezTo>
                  <a:pt x="1408101" y="469910"/>
                  <a:pt x="1408616" y="468515"/>
                  <a:pt x="1409147" y="467078"/>
                </a:cubicBezTo>
                <a:cubicBezTo>
                  <a:pt x="1412388" y="465580"/>
                  <a:pt x="1412388" y="465580"/>
                  <a:pt x="1416470" y="464259"/>
                </a:cubicBezTo>
                <a:cubicBezTo>
                  <a:pt x="1424029" y="461705"/>
                  <a:pt x="1431130" y="458955"/>
                  <a:pt x="1437949" y="455011"/>
                </a:cubicBezTo>
                <a:cubicBezTo>
                  <a:pt x="1442765" y="452574"/>
                  <a:pt x="1447553" y="451394"/>
                  <a:pt x="1452887" y="450167"/>
                </a:cubicBezTo>
                <a:cubicBezTo>
                  <a:pt x="1452887" y="449237"/>
                  <a:pt x="1452887" y="448307"/>
                  <a:pt x="1452887" y="447349"/>
                </a:cubicBezTo>
                <a:cubicBezTo>
                  <a:pt x="1453714" y="446944"/>
                  <a:pt x="1454541" y="446539"/>
                  <a:pt x="1455394" y="446122"/>
                </a:cubicBezTo>
                <a:cubicBezTo>
                  <a:pt x="1459151" y="444278"/>
                  <a:pt x="1462902" y="442422"/>
                  <a:pt x="1466653" y="440567"/>
                </a:cubicBezTo>
                <a:cubicBezTo>
                  <a:pt x="1467955" y="439930"/>
                  <a:pt x="1469256" y="439293"/>
                  <a:pt x="1470598" y="438637"/>
                </a:cubicBezTo>
                <a:cubicBezTo>
                  <a:pt x="1471852" y="438016"/>
                  <a:pt x="1473105" y="437393"/>
                  <a:pt x="1474397" y="436752"/>
                </a:cubicBezTo>
                <a:cubicBezTo>
                  <a:pt x="1475550" y="436184"/>
                  <a:pt x="1476703" y="435616"/>
                  <a:pt x="1477892" y="435030"/>
                </a:cubicBezTo>
                <a:cubicBezTo>
                  <a:pt x="1480966" y="433279"/>
                  <a:pt x="1483173" y="431373"/>
                  <a:pt x="1485691" y="429029"/>
                </a:cubicBezTo>
                <a:cubicBezTo>
                  <a:pt x="1486737" y="428575"/>
                  <a:pt x="1487781" y="428121"/>
                  <a:pt x="1488858" y="427653"/>
                </a:cubicBezTo>
                <a:cubicBezTo>
                  <a:pt x="1492438" y="425977"/>
                  <a:pt x="1493705" y="424453"/>
                  <a:pt x="1495943" y="421454"/>
                </a:cubicBezTo>
                <a:cubicBezTo>
                  <a:pt x="1507114" y="407544"/>
                  <a:pt x="1519758" y="393513"/>
                  <a:pt x="1538608" y="388338"/>
                </a:cubicBezTo>
                <a:cubicBezTo>
                  <a:pt x="1541025" y="388250"/>
                  <a:pt x="1541025" y="388250"/>
                  <a:pt x="1543490" y="388161"/>
                </a:cubicBezTo>
                <a:cubicBezTo>
                  <a:pt x="1545535" y="387984"/>
                  <a:pt x="1545535" y="387984"/>
                  <a:pt x="1547621" y="387804"/>
                </a:cubicBezTo>
                <a:cubicBezTo>
                  <a:pt x="1560659" y="387094"/>
                  <a:pt x="1568716" y="390117"/>
                  <a:pt x="1579418" y="396617"/>
                </a:cubicBezTo>
                <a:cubicBezTo>
                  <a:pt x="1581361" y="397687"/>
                  <a:pt x="1581361" y="397687"/>
                  <a:pt x="1583342" y="398780"/>
                </a:cubicBezTo>
                <a:cubicBezTo>
                  <a:pt x="1593703" y="405068"/>
                  <a:pt x="1598513" y="412459"/>
                  <a:pt x="1601288" y="423392"/>
                </a:cubicBezTo>
                <a:cubicBezTo>
                  <a:pt x="1603295" y="436596"/>
                  <a:pt x="1603517" y="449033"/>
                  <a:pt x="1594484" y="460159"/>
                </a:cubicBezTo>
                <a:cubicBezTo>
                  <a:pt x="1588468" y="466462"/>
                  <a:pt x="1582607" y="471150"/>
                  <a:pt x="1574732" y="475533"/>
                </a:cubicBezTo>
                <a:cubicBezTo>
                  <a:pt x="1573862" y="476043"/>
                  <a:pt x="1572993" y="476553"/>
                  <a:pt x="1572097" y="477078"/>
                </a:cubicBezTo>
                <a:cubicBezTo>
                  <a:pt x="1566828" y="478935"/>
                  <a:pt x="1561641" y="478744"/>
                  <a:pt x="1556066" y="478737"/>
                </a:cubicBezTo>
                <a:cubicBezTo>
                  <a:pt x="1553587" y="478765"/>
                  <a:pt x="1551109" y="478795"/>
                  <a:pt x="1548631" y="478825"/>
                </a:cubicBezTo>
                <a:cubicBezTo>
                  <a:pt x="1544751" y="478857"/>
                  <a:pt x="1540871" y="478880"/>
                  <a:pt x="1536991" y="478889"/>
                </a:cubicBezTo>
                <a:cubicBezTo>
                  <a:pt x="1516714" y="478693"/>
                  <a:pt x="1516714" y="478693"/>
                  <a:pt x="1498188" y="485398"/>
                </a:cubicBezTo>
                <a:cubicBezTo>
                  <a:pt x="1496062" y="486488"/>
                  <a:pt x="1496062" y="486488"/>
                  <a:pt x="1493892" y="487600"/>
                </a:cubicBezTo>
                <a:cubicBezTo>
                  <a:pt x="1492733" y="488268"/>
                  <a:pt x="1491573" y="488937"/>
                  <a:pt x="1490377" y="489625"/>
                </a:cubicBezTo>
                <a:cubicBezTo>
                  <a:pt x="1484304" y="493012"/>
                  <a:pt x="1478212" y="495675"/>
                  <a:pt x="1471650" y="498185"/>
                </a:cubicBezTo>
                <a:cubicBezTo>
                  <a:pt x="1467148" y="500054"/>
                  <a:pt x="1463242" y="502632"/>
                  <a:pt x="1459135" y="505127"/>
                </a:cubicBezTo>
                <a:cubicBezTo>
                  <a:pt x="1456968" y="506120"/>
                  <a:pt x="1454786" y="507086"/>
                  <a:pt x="1452594" y="508033"/>
                </a:cubicBezTo>
                <a:cubicBezTo>
                  <a:pt x="1444148" y="511772"/>
                  <a:pt x="1435969" y="515903"/>
                  <a:pt x="1427795" y="520100"/>
                </a:cubicBezTo>
                <a:cubicBezTo>
                  <a:pt x="1425784" y="521114"/>
                  <a:pt x="1425784" y="521114"/>
                  <a:pt x="1423733" y="522148"/>
                </a:cubicBezTo>
                <a:cubicBezTo>
                  <a:pt x="1422478" y="522798"/>
                  <a:pt x="1421223" y="523449"/>
                  <a:pt x="1419929" y="524118"/>
                </a:cubicBezTo>
                <a:cubicBezTo>
                  <a:pt x="1418794" y="524701"/>
                  <a:pt x="1417658" y="525283"/>
                  <a:pt x="1416487" y="525883"/>
                </a:cubicBezTo>
                <a:cubicBezTo>
                  <a:pt x="1413349" y="527646"/>
                  <a:pt x="1413349" y="527646"/>
                  <a:pt x="1412271" y="531902"/>
                </a:cubicBezTo>
                <a:cubicBezTo>
                  <a:pt x="1407205" y="535203"/>
                  <a:pt x="1402819" y="536744"/>
                  <a:pt x="1396650" y="537539"/>
                </a:cubicBezTo>
                <a:cubicBezTo>
                  <a:pt x="1396650" y="538469"/>
                  <a:pt x="1396650" y="539399"/>
                  <a:pt x="1396650" y="540357"/>
                </a:cubicBezTo>
                <a:cubicBezTo>
                  <a:pt x="1395609" y="540735"/>
                  <a:pt x="1394568" y="541113"/>
                  <a:pt x="1393495" y="541502"/>
                </a:cubicBezTo>
                <a:cubicBezTo>
                  <a:pt x="1381840" y="545973"/>
                  <a:pt x="1372279" y="551715"/>
                  <a:pt x="1362284" y="558678"/>
                </a:cubicBezTo>
                <a:cubicBezTo>
                  <a:pt x="1360170" y="560088"/>
                  <a:pt x="1358055" y="561497"/>
                  <a:pt x="1355937" y="562905"/>
                </a:cubicBezTo>
                <a:cubicBezTo>
                  <a:pt x="1348556" y="567937"/>
                  <a:pt x="1341292" y="573085"/>
                  <a:pt x="1334165" y="578406"/>
                </a:cubicBezTo>
                <a:cubicBezTo>
                  <a:pt x="1332697" y="579472"/>
                  <a:pt x="1332697" y="579472"/>
                  <a:pt x="1331200" y="580559"/>
                </a:cubicBezTo>
                <a:cubicBezTo>
                  <a:pt x="1325067" y="585430"/>
                  <a:pt x="1323406" y="589771"/>
                  <a:pt x="1322175" y="596793"/>
                </a:cubicBezTo>
                <a:cubicBezTo>
                  <a:pt x="1321669" y="599545"/>
                  <a:pt x="1321669" y="599545"/>
                  <a:pt x="1320106" y="602363"/>
                </a:cubicBezTo>
                <a:cubicBezTo>
                  <a:pt x="1318419" y="618189"/>
                  <a:pt x="1322416" y="632767"/>
                  <a:pt x="1328015" y="647640"/>
                </a:cubicBezTo>
                <a:cubicBezTo>
                  <a:pt x="1331267" y="656625"/>
                  <a:pt x="1333170" y="666179"/>
                  <a:pt x="1332604" y="675643"/>
                </a:cubicBezTo>
                <a:cubicBezTo>
                  <a:pt x="1333634" y="675643"/>
                  <a:pt x="1334665" y="675643"/>
                  <a:pt x="1335727" y="675643"/>
                </a:cubicBezTo>
                <a:cubicBezTo>
                  <a:pt x="1337571" y="680632"/>
                  <a:pt x="1337591" y="684795"/>
                  <a:pt x="1337741" y="690059"/>
                </a:cubicBezTo>
                <a:cubicBezTo>
                  <a:pt x="1337826" y="692114"/>
                  <a:pt x="1337913" y="694168"/>
                  <a:pt x="1338003" y="696222"/>
                </a:cubicBezTo>
                <a:cubicBezTo>
                  <a:pt x="1338142" y="699444"/>
                  <a:pt x="1338266" y="702664"/>
                  <a:pt x="1338340" y="705887"/>
                </a:cubicBezTo>
                <a:cubicBezTo>
                  <a:pt x="1338372" y="720474"/>
                  <a:pt x="1338372" y="720474"/>
                  <a:pt x="1345277" y="733245"/>
                </a:cubicBezTo>
                <a:cubicBezTo>
                  <a:pt x="1350822" y="737861"/>
                  <a:pt x="1355921" y="739823"/>
                  <a:pt x="1363162" y="741612"/>
                </a:cubicBezTo>
                <a:cubicBezTo>
                  <a:pt x="1370672" y="743533"/>
                  <a:pt x="1377197" y="745750"/>
                  <a:pt x="1384154" y="748922"/>
                </a:cubicBezTo>
                <a:cubicBezTo>
                  <a:pt x="1387833" y="749898"/>
                  <a:pt x="1387833" y="749898"/>
                  <a:pt x="1391476" y="750419"/>
                </a:cubicBezTo>
                <a:cubicBezTo>
                  <a:pt x="1393499" y="750747"/>
                  <a:pt x="1393499" y="750747"/>
                  <a:pt x="1395564" y="751080"/>
                </a:cubicBezTo>
                <a:cubicBezTo>
                  <a:pt x="1397648" y="751407"/>
                  <a:pt x="1397648" y="751407"/>
                  <a:pt x="1399775" y="751740"/>
                </a:cubicBezTo>
                <a:cubicBezTo>
                  <a:pt x="1401810" y="752111"/>
                  <a:pt x="1401810" y="752111"/>
                  <a:pt x="1403887" y="752489"/>
                </a:cubicBezTo>
                <a:cubicBezTo>
                  <a:pt x="1424247" y="756131"/>
                  <a:pt x="1444708" y="756350"/>
                  <a:pt x="1465383" y="755969"/>
                </a:cubicBezTo>
                <a:cubicBezTo>
                  <a:pt x="1467019" y="755945"/>
                  <a:pt x="1468654" y="755921"/>
                  <a:pt x="1470339" y="755897"/>
                </a:cubicBezTo>
                <a:cubicBezTo>
                  <a:pt x="1480128" y="755450"/>
                  <a:pt x="1487899" y="752933"/>
                  <a:pt x="1496809" y="749313"/>
                </a:cubicBezTo>
                <a:cubicBezTo>
                  <a:pt x="1502876" y="746888"/>
                  <a:pt x="1509049" y="745091"/>
                  <a:pt x="1515371" y="743285"/>
                </a:cubicBezTo>
                <a:cubicBezTo>
                  <a:pt x="1515371" y="742356"/>
                  <a:pt x="1515371" y="741425"/>
                  <a:pt x="1515371" y="740467"/>
                </a:cubicBezTo>
                <a:cubicBezTo>
                  <a:pt x="1522710" y="737103"/>
                  <a:pt x="1529583" y="737106"/>
                  <a:pt x="1537632" y="737120"/>
                </a:cubicBezTo>
                <a:cubicBezTo>
                  <a:pt x="1538960" y="737122"/>
                  <a:pt x="1540289" y="737124"/>
                  <a:pt x="1541657" y="737127"/>
                </a:cubicBezTo>
                <a:cubicBezTo>
                  <a:pt x="1555502" y="737372"/>
                  <a:pt x="1564314" y="740697"/>
                  <a:pt x="1574732" y="748922"/>
                </a:cubicBezTo>
                <a:cubicBezTo>
                  <a:pt x="1586507" y="762822"/>
                  <a:pt x="1590347" y="775219"/>
                  <a:pt x="1588791" y="792608"/>
                </a:cubicBezTo>
                <a:cubicBezTo>
                  <a:pt x="1587728" y="797050"/>
                  <a:pt x="1586468" y="801261"/>
                  <a:pt x="1584105" y="805291"/>
                </a:cubicBezTo>
                <a:cubicBezTo>
                  <a:pt x="1583074" y="805756"/>
                  <a:pt x="1582043" y="806221"/>
                  <a:pt x="1580981" y="806700"/>
                </a:cubicBezTo>
                <a:cubicBezTo>
                  <a:pt x="1580240" y="807892"/>
                  <a:pt x="1579499" y="809083"/>
                  <a:pt x="1578735" y="810311"/>
                </a:cubicBezTo>
                <a:cubicBezTo>
                  <a:pt x="1577930" y="811445"/>
                  <a:pt x="1577124" y="812579"/>
                  <a:pt x="1576295" y="813746"/>
                </a:cubicBezTo>
                <a:lnTo>
                  <a:pt x="1571652" y="813746"/>
                </a:lnTo>
                <a:lnTo>
                  <a:pt x="1571785" y="814106"/>
                </a:lnTo>
                <a:cubicBezTo>
                  <a:pt x="1572816" y="814571"/>
                  <a:pt x="1573846" y="815036"/>
                  <a:pt x="1574909" y="815515"/>
                </a:cubicBezTo>
                <a:cubicBezTo>
                  <a:pt x="1572126" y="818758"/>
                  <a:pt x="1569968" y="820871"/>
                  <a:pt x="1565463" y="821839"/>
                </a:cubicBezTo>
                <a:lnTo>
                  <a:pt x="1562085" y="822101"/>
                </a:lnTo>
                <a:lnTo>
                  <a:pt x="1551301" y="825020"/>
                </a:lnTo>
                <a:cubicBezTo>
                  <a:pt x="1551301" y="825950"/>
                  <a:pt x="1551301" y="826880"/>
                  <a:pt x="1551301" y="827838"/>
                </a:cubicBezTo>
                <a:cubicBezTo>
                  <a:pt x="1526697" y="828735"/>
                  <a:pt x="1507496" y="825036"/>
                  <a:pt x="1485380" y="815007"/>
                </a:cubicBezTo>
                <a:cubicBezTo>
                  <a:pt x="1468723" y="807743"/>
                  <a:pt x="1449749" y="809144"/>
                  <a:pt x="1431603" y="808726"/>
                </a:cubicBezTo>
                <a:cubicBezTo>
                  <a:pt x="1429115" y="808665"/>
                  <a:pt x="1426627" y="808604"/>
                  <a:pt x="1424140" y="808542"/>
                </a:cubicBezTo>
                <a:cubicBezTo>
                  <a:pt x="1418101" y="808392"/>
                  <a:pt x="1412062" y="808249"/>
                  <a:pt x="1406023" y="808109"/>
                </a:cubicBezTo>
                <a:cubicBezTo>
                  <a:pt x="1406023" y="809040"/>
                  <a:pt x="1406023" y="809970"/>
                  <a:pt x="1406023" y="810928"/>
                </a:cubicBezTo>
                <a:cubicBezTo>
                  <a:pt x="1404716" y="811118"/>
                  <a:pt x="1404716" y="811118"/>
                  <a:pt x="1403383" y="811311"/>
                </a:cubicBezTo>
                <a:cubicBezTo>
                  <a:pt x="1372054" y="815110"/>
                  <a:pt x="1372054" y="815110"/>
                  <a:pt x="1345442" y="828907"/>
                </a:cubicBezTo>
                <a:cubicBezTo>
                  <a:pt x="1338843" y="837605"/>
                  <a:pt x="1338313" y="846434"/>
                  <a:pt x="1337875" y="856639"/>
                </a:cubicBezTo>
                <a:cubicBezTo>
                  <a:pt x="1337815" y="857805"/>
                  <a:pt x="1337754" y="858970"/>
                  <a:pt x="1337692" y="860171"/>
                </a:cubicBezTo>
                <a:cubicBezTo>
                  <a:pt x="1337547" y="863016"/>
                  <a:pt x="1337417" y="865861"/>
                  <a:pt x="1337290" y="868706"/>
                </a:cubicBezTo>
                <a:cubicBezTo>
                  <a:pt x="1336258" y="868706"/>
                  <a:pt x="1335228" y="868706"/>
                  <a:pt x="1334165" y="868706"/>
                </a:cubicBezTo>
                <a:lnTo>
                  <a:pt x="1334165" y="870034"/>
                </a:lnTo>
                <a:lnTo>
                  <a:pt x="1334237" y="869093"/>
                </a:lnTo>
                <a:cubicBezTo>
                  <a:pt x="1334753" y="869093"/>
                  <a:pt x="1335268" y="869093"/>
                  <a:pt x="1335800" y="869093"/>
                </a:cubicBezTo>
                <a:cubicBezTo>
                  <a:pt x="1335884" y="871559"/>
                  <a:pt x="1335944" y="874025"/>
                  <a:pt x="1335995" y="876491"/>
                </a:cubicBezTo>
                <a:cubicBezTo>
                  <a:pt x="1336030" y="877865"/>
                  <a:pt x="1336067" y="879238"/>
                  <a:pt x="1336105" y="880653"/>
                </a:cubicBezTo>
                <a:cubicBezTo>
                  <a:pt x="1335800" y="884594"/>
                  <a:pt x="1335800" y="884594"/>
                  <a:pt x="1334294" y="887271"/>
                </a:cubicBezTo>
                <a:cubicBezTo>
                  <a:pt x="1332567" y="890428"/>
                  <a:pt x="1331982" y="892964"/>
                  <a:pt x="1331455" y="896440"/>
                </a:cubicBezTo>
                <a:cubicBezTo>
                  <a:pt x="1331267" y="897605"/>
                  <a:pt x="1331080" y="898769"/>
                  <a:pt x="1330887" y="899969"/>
                </a:cubicBezTo>
                <a:cubicBezTo>
                  <a:pt x="1330704" y="901174"/>
                  <a:pt x="1330521" y="902378"/>
                  <a:pt x="1330332" y="903618"/>
                </a:cubicBezTo>
                <a:cubicBezTo>
                  <a:pt x="1329968" y="906013"/>
                  <a:pt x="1329594" y="908405"/>
                  <a:pt x="1329209" y="910797"/>
                </a:cubicBezTo>
                <a:cubicBezTo>
                  <a:pt x="1329049" y="911853"/>
                  <a:pt x="1328889" y="912910"/>
                  <a:pt x="1328724" y="913998"/>
                </a:cubicBezTo>
                <a:cubicBezTo>
                  <a:pt x="1327933" y="917233"/>
                  <a:pt x="1326525" y="919703"/>
                  <a:pt x="1324865" y="922643"/>
                </a:cubicBezTo>
                <a:cubicBezTo>
                  <a:pt x="1323924" y="927743"/>
                  <a:pt x="1323282" y="932845"/>
                  <a:pt x="1322619" y="937979"/>
                </a:cubicBezTo>
                <a:lnTo>
                  <a:pt x="1318744" y="944961"/>
                </a:lnTo>
                <a:lnTo>
                  <a:pt x="1318544" y="946213"/>
                </a:lnTo>
                <a:cubicBezTo>
                  <a:pt x="1318360" y="949234"/>
                  <a:pt x="1318271" y="952260"/>
                  <a:pt x="1318251" y="955285"/>
                </a:cubicBezTo>
                <a:cubicBezTo>
                  <a:pt x="1318218" y="957637"/>
                  <a:pt x="1318218" y="957637"/>
                  <a:pt x="1318184" y="960036"/>
                </a:cubicBezTo>
                <a:cubicBezTo>
                  <a:pt x="1318624" y="965530"/>
                  <a:pt x="1319569" y="969724"/>
                  <a:pt x="1324024" y="973660"/>
                </a:cubicBezTo>
                <a:cubicBezTo>
                  <a:pt x="1327197" y="976583"/>
                  <a:pt x="1327950" y="979494"/>
                  <a:pt x="1329284" y="983382"/>
                </a:cubicBezTo>
                <a:cubicBezTo>
                  <a:pt x="1331875" y="990106"/>
                  <a:pt x="1334445" y="993582"/>
                  <a:pt x="1340414" y="998354"/>
                </a:cubicBezTo>
                <a:cubicBezTo>
                  <a:pt x="1342397" y="1000564"/>
                  <a:pt x="1344347" y="1002798"/>
                  <a:pt x="1346272" y="1005048"/>
                </a:cubicBezTo>
                <a:cubicBezTo>
                  <a:pt x="1360055" y="1020713"/>
                  <a:pt x="1376247" y="1031879"/>
                  <a:pt x="1394716" y="1042740"/>
                </a:cubicBezTo>
                <a:cubicBezTo>
                  <a:pt x="1397172" y="1044228"/>
                  <a:pt x="1399581" y="1045779"/>
                  <a:pt x="1401953" y="1047374"/>
                </a:cubicBezTo>
                <a:cubicBezTo>
                  <a:pt x="1410065" y="1052802"/>
                  <a:pt x="1417529" y="1056366"/>
                  <a:pt x="1427197" y="1059061"/>
                </a:cubicBezTo>
                <a:cubicBezTo>
                  <a:pt x="1431243" y="1060437"/>
                  <a:pt x="1434061" y="1061979"/>
                  <a:pt x="1437265" y="1064588"/>
                </a:cubicBezTo>
                <a:cubicBezTo>
                  <a:pt x="1437265" y="1065518"/>
                  <a:pt x="1437265" y="1066448"/>
                  <a:pt x="1437265" y="1067406"/>
                </a:cubicBezTo>
                <a:cubicBezTo>
                  <a:pt x="1439053" y="1067624"/>
                  <a:pt x="1439053" y="1067624"/>
                  <a:pt x="1440878" y="1067847"/>
                </a:cubicBezTo>
                <a:cubicBezTo>
                  <a:pt x="1445076" y="1068815"/>
                  <a:pt x="1445076" y="1068815"/>
                  <a:pt x="1447175" y="1070753"/>
                </a:cubicBezTo>
                <a:cubicBezTo>
                  <a:pt x="1450417" y="1073622"/>
                  <a:pt x="1453781" y="1075060"/>
                  <a:pt x="1457866" y="1076830"/>
                </a:cubicBezTo>
                <a:cubicBezTo>
                  <a:pt x="1459274" y="1077446"/>
                  <a:pt x="1460681" y="1078062"/>
                  <a:pt x="1462132" y="1078696"/>
                </a:cubicBezTo>
                <a:cubicBezTo>
                  <a:pt x="1463204" y="1079156"/>
                  <a:pt x="1464278" y="1079616"/>
                  <a:pt x="1465383" y="1080089"/>
                </a:cubicBezTo>
                <a:cubicBezTo>
                  <a:pt x="1465383" y="1081019"/>
                  <a:pt x="1465383" y="1081949"/>
                  <a:pt x="1465383" y="1082908"/>
                </a:cubicBezTo>
                <a:cubicBezTo>
                  <a:pt x="1466497" y="1083260"/>
                  <a:pt x="1467611" y="1083612"/>
                  <a:pt x="1468758" y="1083975"/>
                </a:cubicBezTo>
                <a:cubicBezTo>
                  <a:pt x="1473648" y="1085905"/>
                  <a:pt x="1477426" y="1088296"/>
                  <a:pt x="1481688" y="1091187"/>
                </a:cubicBezTo>
                <a:cubicBezTo>
                  <a:pt x="1483204" y="1092193"/>
                  <a:pt x="1484721" y="1093200"/>
                  <a:pt x="1486283" y="1094236"/>
                </a:cubicBezTo>
                <a:cubicBezTo>
                  <a:pt x="1489170" y="1096185"/>
                  <a:pt x="1492029" y="1098166"/>
                  <a:pt x="1494869" y="1100171"/>
                </a:cubicBezTo>
                <a:cubicBezTo>
                  <a:pt x="1510181" y="1107906"/>
                  <a:pt x="1527080" y="1109898"/>
                  <a:pt x="1544335" y="1109518"/>
                </a:cubicBezTo>
                <a:cubicBezTo>
                  <a:pt x="1579932" y="1108798"/>
                  <a:pt x="1579932" y="1108798"/>
                  <a:pt x="1593477" y="1119900"/>
                </a:cubicBezTo>
                <a:cubicBezTo>
                  <a:pt x="1600636" y="1127255"/>
                  <a:pt x="1604889" y="1135120"/>
                  <a:pt x="1605975" y="1144913"/>
                </a:cubicBezTo>
                <a:cubicBezTo>
                  <a:pt x="1607006" y="1144913"/>
                  <a:pt x="1608036" y="1144913"/>
                  <a:pt x="1609099" y="1144913"/>
                </a:cubicBezTo>
                <a:cubicBezTo>
                  <a:pt x="1609227" y="1148907"/>
                  <a:pt x="1609319" y="1152897"/>
                  <a:pt x="1609392" y="1156892"/>
                </a:cubicBezTo>
                <a:cubicBezTo>
                  <a:pt x="1609451" y="1158565"/>
                  <a:pt x="1609451" y="1158565"/>
                  <a:pt x="1609511" y="1160272"/>
                </a:cubicBezTo>
                <a:cubicBezTo>
                  <a:pt x="1609621" y="1168378"/>
                  <a:pt x="1607970" y="1174108"/>
                  <a:pt x="1604412" y="1181553"/>
                </a:cubicBezTo>
                <a:cubicBezTo>
                  <a:pt x="1603354" y="1184367"/>
                  <a:pt x="1602306" y="1187183"/>
                  <a:pt x="1601288" y="1190009"/>
                </a:cubicBezTo>
                <a:cubicBezTo>
                  <a:pt x="1600257" y="1190009"/>
                  <a:pt x="1599226" y="1190009"/>
                  <a:pt x="1598164" y="1190009"/>
                </a:cubicBezTo>
                <a:cubicBezTo>
                  <a:pt x="1597842" y="1190910"/>
                  <a:pt x="1597520" y="1191810"/>
                  <a:pt x="1597187" y="1192739"/>
                </a:cubicBezTo>
                <a:cubicBezTo>
                  <a:pt x="1596479" y="1193698"/>
                  <a:pt x="1595770" y="1194657"/>
                  <a:pt x="1595040" y="1195645"/>
                </a:cubicBezTo>
                <a:cubicBezTo>
                  <a:pt x="1591916" y="1196115"/>
                  <a:pt x="1588791" y="1196585"/>
                  <a:pt x="1585667" y="1197055"/>
                </a:cubicBezTo>
                <a:cubicBezTo>
                  <a:pt x="1583871" y="1199826"/>
                  <a:pt x="1583871" y="1199826"/>
                  <a:pt x="1582543" y="1202691"/>
                </a:cubicBezTo>
                <a:cubicBezTo>
                  <a:pt x="1575997" y="1204710"/>
                  <a:pt x="1569266" y="1204360"/>
                  <a:pt x="1562431" y="1204365"/>
                </a:cubicBezTo>
                <a:cubicBezTo>
                  <a:pt x="1561196" y="1204382"/>
                  <a:pt x="1559962" y="1204399"/>
                  <a:pt x="1558690" y="1204417"/>
                </a:cubicBezTo>
                <a:cubicBezTo>
                  <a:pt x="1543339" y="1204452"/>
                  <a:pt x="1531981" y="1199267"/>
                  <a:pt x="1521102" y="1189585"/>
                </a:cubicBezTo>
                <a:cubicBezTo>
                  <a:pt x="1515403" y="1183953"/>
                  <a:pt x="1510116" y="1178123"/>
                  <a:pt x="1505022" y="1172041"/>
                </a:cubicBezTo>
                <a:cubicBezTo>
                  <a:pt x="1493200" y="1158177"/>
                  <a:pt x="1475492" y="1147115"/>
                  <a:pt x="1457573" y="1140686"/>
                </a:cubicBezTo>
                <a:cubicBezTo>
                  <a:pt x="1457573" y="1139755"/>
                  <a:pt x="1457573" y="1138826"/>
                  <a:pt x="1457573" y="1137867"/>
                </a:cubicBezTo>
                <a:cubicBezTo>
                  <a:pt x="1456059" y="1137693"/>
                  <a:pt x="1454544" y="1137518"/>
                  <a:pt x="1452985" y="1137339"/>
                </a:cubicBezTo>
                <a:cubicBezTo>
                  <a:pt x="1451406" y="1137048"/>
                  <a:pt x="1449827" y="1136758"/>
                  <a:pt x="1448200" y="1136458"/>
                </a:cubicBezTo>
                <a:cubicBezTo>
                  <a:pt x="1447685" y="1135528"/>
                  <a:pt x="1447169" y="1134598"/>
                  <a:pt x="1446638" y="1133640"/>
                </a:cubicBezTo>
                <a:cubicBezTo>
                  <a:pt x="1444091" y="1132586"/>
                  <a:pt x="1441535" y="1131550"/>
                  <a:pt x="1438937" y="1130601"/>
                </a:cubicBezTo>
                <a:cubicBezTo>
                  <a:pt x="1435668" y="1129399"/>
                  <a:pt x="1432469" y="1128095"/>
                  <a:pt x="1429260" y="1126770"/>
                </a:cubicBezTo>
                <a:cubicBezTo>
                  <a:pt x="1423389" y="1124389"/>
                  <a:pt x="1417431" y="1122349"/>
                  <a:pt x="1411393" y="1120340"/>
                </a:cubicBezTo>
                <a:cubicBezTo>
                  <a:pt x="1404143" y="1117867"/>
                  <a:pt x="1397842" y="1115090"/>
                  <a:pt x="1391427" y="1111191"/>
                </a:cubicBezTo>
                <a:cubicBezTo>
                  <a:pt x="1388139" y="1109274"/>
                  <a:pt x="1384723" y="1108010"/>
                  <a:pt x="1381029" y="1106865"/>
                </a:cubicBezTo>
                <a:cubicBezTo>
                  <a:pt x="1381029" y="1105934"/>
                  <a:pt x="1381029" y="1105004"/>
                  <a:pt x="1381029" y="1104046"/>
                </a:cubicBezTo>
                <a:cubicBezTo>
                  <a:pt x="1379773" y="1103901"/>
                  <a:pt x="1378516" y="1103755"/>
                  <a:pt x="1377221" y="1103605"/>
                </a:cubicBezTo>
                <a:cubicBezTo>
                  <a:pt x="1370425" y="1102422"/>
                  <a:pt x="1364120" y="1100465"/>
                  <a:pt x="1357597" y="1098409"/>
                </a:cubicBezTo>
                <a:cubicBezTo>
                  <a:pt x="1355761" y="1097857"/>
                  <a:pt x="1353924" y="1097304"/>
                  <a:pt x="1352032" y="1096736"/>
                </a:cubicBezTo>
                <a:cubicBezTo>
                  <a:pt x="1350776" y="1096358"/>
                  <a:pt x="1349519" y="1095980"/>
                  <a:pt x="1348225" y="1095590"/>
                </a:cubicBezTo>
                <a:cubicBezTo>
                  <a:pt x="1348225" y="1094661"/>
                  <a:pt x="1348225" y="1093730"/>
                  <a:pt x="1348225" y="1092772"/>
                </a:cubicBezTo>
                <a:cubicBezTo>
                  <a:pt x="1344616" y="1092307"/>
                  <a:pt x="1341007" y="1091842"/>
                  <a:pt x="1337290" y="1091363"/>
                </a:cubicBezTo>
                <a:cubicBezTo>
                  <a:pt x="1337290" y="1090433"/>
                  <a:pt x="1337290" y="1089503"/>
                  <a:pt x="1337290" y="1088544"/>
                </a:cubicBezTo>
                <a:cubicBezTo>
                  <a:pt x="1334438" y="1088327"/>
                  <a:pt x="1334438" y="1088327"/>
                  <a:pt x="1331529" y="1088104"/>
                </a:cubicBezTo>
                <a:lnTo>
                  <a:pt x="1323297" y="1086611"/>
                </a:lnTo>
                <a:lnTo>
                  <a:pt x="1323297" y="1087618"/>
                </a:lnTo>
                <a:cubicBezTo>
                  <a:pt x="1322139" y="1087517"/>
                  <a:pt x="1320982" y="1087415"/>
                  <a:pt x="1319789" y="1087310"/>
                </a:cubicBezTo>
                <a:cubicBezTo>
                  <a:pt x="1300429" y="1085771"/>
                  <a:pt x="1281330" y="1084680"/>
                  <a:pt x="1262375" y="1089028"/>
                </a:cubicBezTo>
                <a:lnTo>
                  <a:pt x="1258728" y="1088205"/>
                </a:lnTo>
                <a:lnTo>
                  <a:pt x="1246964" y="1091489"/>
                </a:lnTo>
                <a:cubicBezTo>
                  <a:pt x="1237239" y="1097222"/>
                  <a:pt x="1228703" y="1103434"/>
                  <a:pt x="1223224" y="1112865"/>
                </a:cubicBezTo>
                <a:cubicBezTo>
                  <a:pt x="1220867" y="1116643"/>
                  <a:pt x="1217262" y="1119317"/>
                  <a:pt x="1213883" y="1122366"/>
                </a:cubicBezTo>
                <a:cubicBezTo>
                  <a:pt x="1213428" y="1123469"/>
                  <a:pt x="1212973" y="1124572"/>
                  <a:pt x="1212505" y="1125708"/>
                </a:cubicBezTo>
                <a:cubicBezTo>
                  <a:pt x="1210449" y="1130067"/>
                  <a:pt x="1207984" y="1132315"/>
                  <a:pt x="1204180" y="1135561"/>
                </a:cubicBezTo>
                <a:cubicBezTo>
                  <a:pt x="1202879" y="1136695"/>
                  <a:pt x="1201578" y="1137829"/>
                  <a:pt x="1200238" y="1138999"/>
                </a:cubicBezTo>
                <a:cubicBezTo>
                  <a:pt x="1197504" y="1141343"/>
                  <a:pt x="1194765" y="1143684"/>
                  <a:pt x="1192025" y="1146022"/>
                </a:cubicBezTo>
                <a:cubicBezTo>
                  <a:pt x="1181899" y="1154869"/>
                  <a:pt x="1174983" y="1161763"/>
                  <a:pt x="1173945" y="1174749"/>
                </a:cubicBezTo>
                <a:cubicBezTo>
                  <a:pt x="1173902" y="1177369"/>
                  <a:pt x="1173905" y="1179990"/>
                  <a:pt x="1173950" y="1182610"/>
                </a:cubicBezTo>
                <a:cubicBezTo>
                  <a:pt x="1173963" y="1183981"/>
                  <a:pt x="1173975" y="1185352"/>
                  <a:pt x="1173989" y="1186765"/>
                </a:cubicBezTo>
                <a:cubicBezTo>
                  <a:pt x="1174321" y="1197573"/>
                  <a:pt x="1176809" y="1205883"/>
                  <a:pt x="1182640" y="1215374"/>
                </a:cubicBezTo>
                <a:cubicBezTo>
                  <a:pt x="1183703" y="1217509"/>
                  <a:pt x="1184746" y="1219652"/>
                  <a:pt x="1185764" y="1221804"/>
                </a:cubicBezTo>
                <a:cubicBezTo>
                  <a:pt x="1186271" y="1222812"/>
                  <a:pt x="1186779" y="1223821"/>
                  <a:pt x="1187301" y="1224859"/>
                </a:cubicBezTo>
                <a:cubicBezTo>
                  <a:pt x="1188431" y="1227137"/>
                  <a:pt x="1189517" y="1229433"/>
                  <a:pt x="1190573" y="1231740"/>
                </a:cubicBezTo>
                <a:cubicBezTo>
                  <a:pt x="1194650" y="1240409"/>
                  <a:pt x="1199581" y="1247688"/>
                  <a:pt x="1205925" y="1255163"/>
                </a:cubicBezTo>
                <a:cubicBezTo>
                  <a:pt x="1208103" y="1257757"/>
                  <a:pt x="1210188" y="1260417"/>
                  <a:pt x="1212174" y="1263134"/>
                </a:cubicBezTo>
                <a:cubicBezTo>
                  <a:pt x="1218757" y="1272043"/>
                  <a:pt x="1225157" y="1277324"/>
                  <a:pt x="1235556" y="1282538"/>
                </a:cubicBezTo>
                <a:cubicBezTo>
                  <a:pt x="1236652" y="1283161"/>
                  <a:pt x="1237747" y="1283784"/>
                  <a:pt x="1238876" y="1284426"/>
                </a:cubicBezTo>
                <a:cubicBezTo>
                  <a:pt x="1238876" y="1285356"/>
                  <a:pt x="1238876" y="1286287"/>
                  <a:pt x="1238876" y="1287245"/>
                </a:cubicBezTo>
                <a:cubicBezTo>
                  <a:pt x="1239988" y="1287383"/>
                  <a:pt x="1241099" y="1287521"/>
                  <a:pt x="1242245" y="1287663"/>
                </a:cubicBezTo>
                <a:cubicBezTo>
                  <a:pt x="1253043" y="1290072"/>
                  <a:pt x="1264916" y="1297690"/>
                  <a:pt x="1271681" y="1305565"/>
                </a:cubicBezTo>
                <a:lnTo>
                  <a:pt x="1271742" y="1306172"/>
                </a:lnTo>
                <a:lnTo>
                  <a:pt x="1278525" y="1315767"/>
                </a:lnTo>
                <a:cubicBezTo>
                  <a:pt x="1279797" y="1319398"/>
                  <a:pt x="1280365" y="1323346"/>
                  <a:pt x="1281097" y="1327286"/>
                </a:cubicBezTo>
                <a:cubicBezTo>
                  <a:pt x="1281916" y="1337121"/>
                  <a:pt x="1281807" y="1346176"/>
                  <a:pt x="1277973" y="1355470"/>
                </a:cubicBezTo>
                <a:lnTo>
                  <a:pt x="1277460" y="1347025"/>
                </a:lnTo>
                <a:lnTo>
                  <a:pt x="1273531" y="1357991"/>
                </a:lnTo>
                <a:cubicBezTo>
                  <a:pt x="1270940" y="1361892"/>
                  <a:pt x="1267521" y="1365435"/>
                  <a:pt x="1263870" y="1368980"/>
                </a:cubicBezTo>
                <a:cubicBezTo>
                  <a:pt x="1258351" y="1372929"/>
                  <a:pt x="1253850" y="1376026"/>
                  <a:pt x="1246686" y="1376026"/>
                </a:cubicBezTo>
                <a:cubicBezTo>
                  <a:pt x="1246686" y="1376956"/>
                  <a:pt x="1246686" y="1377886"/>
                  <a:pt x="1246686" y="1378844"/>
                </a:cubicBezTo>
                <a:cubicBezTo>
                  <a:pt x="1241676" y="1379009"/>
                  <a:pt x="1236665" y="1379109"/>
                  <a:pt x="1231651" y="1379196"/>
                </a:cubicBezTo>
                <a:cubicBezTo>
                  <a:pt x="1230240" y="1379244"/>
                  <a:pt x="1228828" y="1379291"/>
                  <a:pt x="1227373" y="1379340"/>
                </a:cubicBezTo>
                <a:cubicBezTo>
                  <a:pt x="1218287" y="1379460"/>
                  <a:pt x="1213363" y="1378568"/>
                  <a:pt x="1206071" y="1373207"/>
                </a:cubicBezTo>
                <a:cubicBezTo>
                  <a:pt x="1204751" y="1372742"/>
                  <a:pt x="1203430" y="1372277"/>
                  <a:pt x="1202069" y="1371798"/>
                </a:cubicBezTo>
                <a:cubicBezTo>
                  <a:pt x="1193777" y="1368730"/>
                  <a:pt x="1188124" y="1363294"/>
                  <a:pt x="1184104" y="1356176"/>
                </a:cubicBezTo>
                <a:cubicBezTo>
                  <a:pt x="1180965" y="1349259"/>
                  <a:pt x="1178852" y="1342590"/>
                  <a:pt x="1177270" y="1335247"/>
                </a:cubicBezTo>
                <a:cubicBezTo>
                  <a:pt x="1175525" y="1327352"/>
                  <a:pt x="1172911" y="1320677"/>
                  <a:pt x="1169002" y="1313464"/>
                </a:cubicBezTo>
                <a:cubicBezTo>
                  <a:pt x="1166989" y="1309737"/>
                  <a:pt x="1165215" y="1305976"/>
                  <a:pt x="1163504" y="1302130"/>
                </a:cubicBezTo>
                <a:cubicBezTo>
                  <a:pt x="1163013" y="1301027"/>
                  <a:pt x="1162521" y="1299924"/>
                  <a:pt x="1162015" y="1298788"/>
                </a:cubicBezTo>
                <a:cubicBezTo>
                  <a:pt x="1160770" y="1295700"/>
                  <a:pt x="1160770" y="1295700"/>
                  <a:pt x="1160111" y="1292656"/>
                </a:cubicBezTo>
                <a:cubicBezTo>
                  <a:pt x="1159345" y="1289507"/>
                  <a:pt x="1159345" y="1289507"/>
                  <a:pt x="1154522" y="1287245"/>
                </a:cubicBezTo>
                <a:cubicBezTo>
                  <a:pt x="1153465" y="1284902"/>
                  <a:pt x="1152426" y="1282552"/>
                  <a:pt x="1151398" y="1280199"/>
                </a:cubicBezTo>
                <a:cubicBezTo>
                  <a:pt x="1149056" y="1276983"/>
                  <a:pt x="1146686" y="1273874"/>
                  <a:pt x="1144173" y="1270774"/>
                </a:cubicBezTo>
                <a:cubicBezTo>
                  <a:pt x="1143477" y="1269912"/>
                  <a:pt x="1142782" y="1269049"/>
                  <a:pt x="1142065" y="1268160"/>
                </a:cubicBezTo>
                <a:cubicBezTo>
                  <a:pt x="1139981" y="1265589"/>
                  <a:pt x="1137880" y="1263029"/>
                  <a:pt x="1135776" y="1260470"/>
                </a:cubicBezTo>
                <a:cubicBezTo>
                  <a:pt x="1134647" y="1259076"/>
                  <a:pt x="1133517" y="1257683"/>
                  <a:pt x="1132353" y="1256247"/>
                </a:cubicBezTo>
                <a:cubicBezTo>
                  <a:pt x="1126291" y="1249045"/>
                  <a:pt x="1121408" y="1244606"/>
                  <a:pt x="1112344" y="1240741"/>
                </a:cubicBezTo>
                <a:cubicBezTo>
                  <a:pt x="1110285" y="1239698"/>
                  <a:pt x="1108234" y="1238642"/>
                  <a:pt x="1106193" y="1237570"/>
                </a:cubicBezTo>
                <a:cubicBezTo>
                  <a:pt x="1104615" y="1236756"/>
                  <a:pt x="1103036" y="1235942"/>
                  <a:pt x="1101409" y="1235104"/>
                </a:cubicBezTo>
                <a:cubicBezTo>
                  <a:pt x="1101409" y="1233708"/>
                  <a:pt x="1101409" y="1232313"/>
                  <a:pt x="1101409" y="1230876"/>
                </a:cubicBezTo>
                <a:cubicBezTo>
                  <a:pt x="1089553" y="1230876"/>
                  <a:pt x="1077697" y="1230876"/>
                  <a:pt x="1065480" y="1230876"/>
                </a:cubicBezTo>
                <a:cubicBezTo>
                  <a:pt x="1064965" y="1232271"/>
                  <a:pt x="1064450" y="1233666"/>
                  <a:pt x="1063919" y="1235104"/>
                </a:cubicBezTo>
                <a:cubicBezTo>
                  <a:pt x="1062372" y="1235104"/>
                  <a:pt x="1060826" y="1235104"/>
                  <a:pt x="1059232" y="1235104"/>
                </a:cubicBezTo>
                <a:cubicBezTo>
                  <a:pt x="1059232" y="1236033"/>
                  <a:pt x="1059232" y="1236964"/>
                  <a:pt x="1059232" y="1237922"/>
                </a:cubicBezTo>
                <a:cubicBezTo>
                  <a:pt x="1052964" y="1240850"/>
                  <a:pt x="1046842" y="1243613"/>
                  <a:pt x="1040194" y="1245761"/>
                </a:cubicBezTo>
                <a:cubicBezTo>
                  <a:pt x="1036552" y="1246941"/>
                  <a:pt x="1033682" y="1248088"/>
                  <a:pt x="1030333" y="1249901"/>
                </a:cubicBezTo>
                <a:cubicBezTo>
                  <a:pt x="1025129" y="1252717"/>
                  <a:pt x="1019615" y="1254371"/>
                  <a:pt x="1013931" y="1256242"/>
                </a:cubicBezTo>
                <a:cubicBezTo>
                  <a:pt x="1009870" y="1257688"/>
                  <a:pt x="1008221" y="1258277"/>
                  <a:pt x="1005925" y="1261615"/>
                </a:cubicBezTo>
                <a:cubicBezTo>
                  <a:pt x="1005474" y="1262632"/>
                  <a:pt x="1005023" y="1263649"/>
                  <a:pt x="1004558" y="1264697"/>
                </a:cubicBezTo>
                <a:cubicBezTo>
                  <a:pt x="1004030" y="1265774"/>
                  <a:pt x="1003503" y="1266852"/>
                  <a:pt x="1002959" y="1267961"/>
                </a:cubicBezTo>
                <a:cubicBezTo>
                  <a:pt x="1001408" y="1271808"/>
                  <a:pt x="1000922" y="1274896"/>
                  <a:pt x="1000653" y="1278965"/>
                </a:cubicBezTo>
                <a:cubicBezTo>
                  <a:pt x="1000303" y="1284158"/>
                  <a:pt x="999467" y="1289055"/>
                  <a:pt x="998297" y="1294137"/>
                </a:cubicBezTo>
                <a:cubicBezTo>
                  <a:pt x="996204" y="1304306"/>
                  <a:pt x="996129" y="1314460"/>
                  <a:pt x="996162" y="1324765"/>
                </a:cubicBezTo>
                <a:cubicBezTo>
                  <a:pt x="996163" y="1325782"/>
                  <a:pt x="996163" y="1326799"/>
                  <a:pt x="996164" y="1327846"/>
                </a:cubicBezTo>
                <a:cubicBezTo>
                  <a:pt x="996263" y="1353742"/>
                  <a:pt x="1001081" y="1378188"/>
                  <a:pt x="1007780" y="1403329"/>
                </a:cubicBezTo>
                <a:cubicBezTo>
                  <a:pt x="1008163" y="1404772"/>
                  <a:pt x="1008546" y="1406215"/>
                  <a:pt x="1008940" y="1407701"/>
                </a:cubicBezTo>
                <a:cubicBezTo>
                  <a:pt x="1009316" y="1409030"/>
                  <a:pt x="1009693" y="1410360"/>
                  <a:pt x="1010080" y="1411730"/>
                </a:cubicBezTo>
                <a:cubicBezTo>
                  <a:pt x="1010409" y="1412900"/>
                  <a:pt x="1010737" y="1414071"/>
                  <a:pt x="1011075" y="1415277"/>
                </a:cubicBezTo>
                <a:cubicBezTo>
                  <a:pt x="1012501" y="1418612"/>
                  <a:pt x="1014136" y="1420168"/>
                  <a:pt x="1017055" y="1422530"/>
                </a:cubicBezTo>
                <a:cubicBezTo>
                  <a:pt x="1018770" y="1425162"/>
                  <a:pt x="1018770" y="1425162"/>
                  <a:pt x="1020277" y="1427991"/>
                </a:cubicBezTo>
                <a:cubicBezTo>
                  <a:pt x="1020778" y="1428917"/>
                  <a:pt x="1021280" y="1429844"/>
                  <a:pt x="1021796" y="1430798"/>
                </a:cubicBezTo>
                <a:cubicBezTo>
                  <a:pt x="1023303" y="1433804"/>
                  <a:pt x="1023303" y="1433804"/>
                  <a:pt x="1024579" y="1437239"/>
                </a:cubicBezTo>
                <a:cubicBezTo>
                  <a:pt x="1026915" y="1441803"/>
                  <a:pt x="1030098" y="1444534"/>
                  <a:pt x="1034043" y="1448072"/>
                </a:cubicBezTo>
                <a:lnTo>
                  <a:pt x="1043782" y="1464320"/>
                </a:lnTo>
                <a:lnTo>
                  <a:pt x="1050458" y="1472189"/>
                </a:lnTo>
                <a:cubicBezTo>
                  <a:pt x="1051737" y="1475181"/>
                  <a:pt x="1052277" y="1478513"/>
                  <a:pt x="1052926" y="1482370"/>
                </a:cubicBezTo>
                <a:cubicBezTo>
                  <a:pt x="1053325" y="1487224"/>
                  <a:pt x="1053364" y="1492038"/>
                  <a:pt x="1053316" y="1496903"/>
                </a:cubicBezTo>
                <a:cubicBezTo>
                  <a:pt x="1053328" y="1498142"/>
                  <a:pt x="1053340" y="1499382"/>
                  <a:pt x="1053352" y="1500660"/>
                </a:cubicBezTo>
                <a:cubicBezTo>
                  <a:pt x="1053348" y="1501856"/>
                  <a:pt x="1053344" y="1503052"/>
                  <a:pt x="1053341" y="1504285"/>
                </a:cubicBezTo>
                <a:cubicBezTo>
                  <a:pt x="1053336" y="1505355"/>
                  <a:pt x="1053333" y="1506426"/>
                  <a:pt x="1053329" y="1507529"/>
                </a:cubicBezTo>
                <a:cubicBezTo>
                  <a:pt x="1052876" y="1510927"/>
                  <a:pt x="1051672" y="1513237"/>
                  <a:pt x="1049801" y="1516192"/>
                </a:cubicBezTo>
                <a:lnTo>
                  <a:pt x="1047312" y="1516192"/>
                </a:lnTo>
                <a:lnTo>
                  <a:pt x="1043611" y="1522585"/>
                </a:lnTo>
                <a:cubicBezTo>
                  <a:pt x="1035301" y="1529631"/>
                  <a:pt x="1035301" y="1529631"/>
                  <a:pt x="1029552" y="1529631"/>
                </a:cubicBezTo>
                <a:cubicBezTo>
                  <a:pt x="1029294" y="1530503"/>
                  <a:pt x="1029036" y="1531375"/>
                  <a:pt x="1028771" y="1532273"/>
                </a:cubicBezTo>
                <a:cubicBezTo>
                  <a:pt x="1025795" y="1536076"/>
                  <a:pt x="1022970" y="1536733"/>
                  <a:pt x="1018013" y="1537640"/>
                </a:cubicBezTo>
                <a:cubicBezTo>
                  <a:pt x="1005216" y="1539038"/>
                  <a:pt x="992573" y="1539816"/>
                  <a:pt x="981126" y="1533859"/>
                </a:cubicBezTo>
                <a:cubicBezTo>
                  <a:pt x="979840" y="1533226"/>
                  <a:pt x="978553" y="1532594"/>
                  <a:pt x="977227" y="1531943"/>
                </a:cubicBezTo>
                <a:cubicBezTo>
                  <a:pt x="965286" y="1525877"/>
                  <a:pt x="959626" y="1520520"/>
                  <a:pt x="955376" y="1508751"/>
                </a:cubicBezTo>
                <a:cubicBezTo>
                  <a:pt x="954571" y="1505674"/>
                  <a:pt x="954571" y="1505674"/>
                  <a:pt x="954571" y="1500037"/>
                </a:cubicBezTo>
                <a:cubicBezTo>
                  <a:pt x="953539" y="1500037"/>
                  <a:pt x="952508" y="1500037"/>
                  <a:pt x="951446" y="1500037"/>
                </a:cubicBezTo>
                <a:cubicBezTo>
                  <a:pt x="951361" y="1495986"/>
                  <a:pt x="951299" y="1491935"/>
                  <a:pt x="951251" y="1487883"/>
                </a:cubicBezTo>
                <a:cubicBezTo>
                  <a:pt x="951224" y="1486744"/>
                  <a:pt x="951198" y="1485605"/>
                  <a:pt x="951171" y="1484431"/>
                </a:cubicBezTo>
                <a:cubicBezTo>
                  <a:pt x="951110" y="1477657"/>
                  <a:pt x="952093" y="1472660"/>
                  <a:pt x="954571" y="1466216"/>
                </a:cubicBezTo>
                <a:cubicBezTo>
                  <a:pt x="954867" y="1462451"/>
                  <a:pt x="955016" y="1458876"/>
                  <a:pt x="954961" y="1455118"/>
                </a:cubicBezTo>
                <a:cubicBezTo>
                  <a:pt x="954951" y="1454080"/>
                  <a:pt x="954942" y="1453042"/>
                  <a:pt x="954932" y="1451972"/>
                </a:cubicBezTo>
                <a:cubicBezTo>
                  <a:pt x="954606" y="1435235"/>
                  <a:pt x="952568" y="1419050"/>
                  <a:pt x="945099" y="1403594"/>
                </a:cubicBezTo>
                <a:cubicBezTo>
                  <a:pt x="943714" y="1400177"/>
                  <a:pt x="943046" y="1397128"/>
                  <a:pt x="942366" y="1393553"/>
                </a:cubicBezTo>
                <a:cubicBezTo>
                  <a:pt x="940837" y="1386134"/>
                  <a:pt x="937840" y="1379609"/>
                  <a:pt x="934451" y="1372734"/>
                </a:cubicBezTo>
                <a:cubicBezTo>
                  <a:pt x="932701" y="1368980"/>
                  <a:pt x="932701" y="1368980"/>
                  <a:pt x="931974" y="1365754"/>
                </a:cubicBezTo>
                <a:cubicBezTo>
                  <a:pt x="931699" y="1364958"/>
                  <a:pt x="931422" y="1364162"/>
                  <a:pt x="931138" y="1363343"/>
                </a:cubicBezTo>
                <a:cubicBezTo>
                  <a:pt x="929592" y="1362878"/>
                  <a:pt x="928045" y="1362413"/>
                  <a:pt x="926452" y="1361933"/>
                </a:cubicBezTo>
                <a:cubicBezTo>
                  <a:pt x="921830" y="1355261"/>
                  <a:pt x="920323" y="1348382"/>
                  <a:pt x="918641" y="1340795"/>
                </a:cubicBezTo>
                <a:cubicBezTo>
                  <a:pt x="918133" y="1338914"/>
                  <a:pt x="917616" y="1337034"/>
                  <a:pt x="917079" y="1335158"/>
                </a:cubicBezTo>
                <a:cubicBezTo>
                  <a:pt x="916048" y="1335158"/>
                  <a:pt x="915018" y="1335158"/>
                  <a:pt x="913955" y="1335158"/>
                </a:cubicBezTo>
                <a:cubicBezTo>
                  <a:pt x="913329" y="1333718"/>
                  <a:pt x="912703" y="1332277"/>
                  <a:pt x="912057" y="1330793"/>
                </a:cubicBezTo>
                <a:cubicBezTo>
                  <a:pt x="909497" y="1325424"/>
                  <a:pt x="906114" y="1320822"/>
                  <a:pt x="902142" y="1316222"/>
                </a:cubicBezTo>
                <a:cubicBezTo>
                  <a:pt x="901465" y="1315432"/>
                  <a:pt x="900788" y="1314642"/>
                  <a:pt x="900091" y="1313828"/>
                </a:cubicBezTo>
                <a:cubicBezTo>
                  <a:pt x="893705" y="1306618"/>
                  <a:pt x="886350" y="1301049"/>
                  <a:pt x="878026" y="1295700"/>
                </a:cubicBezTo>
                <a:cubicBezTo>
                  <a:pt x="876595" y="1294594"/>
                  <a:pt x="876595" y="1294594"/>
                  <a:pt x="875134" y="1293465"/>
                </a:cubicBezTo>
                <a:lnTo>
                  <a:pt x="869869" y="1291826"/>
                </a:lnTo>
                <a:lnTo>
                  <a:pt x="862384" y="1291327"/>
                </a:lnTo>
                <a:cubicBezTo>
                  <a:pt x="856441" y="1290067"/>
                  <a:pt x="850461" y="1290346"/>
                  <a:pt x="844390" y="1290461"/>
                </a:cubicBezTo>
                <a:cubicBezTo>
                  <a:pt x="842453" y="1290480"/>
                  <a:pt x="842453" y="1290480"/>
                  <a:pt x="840476" y="1290500"/>
                </a:cubicBezTo>
                <a:cubicBezTo>
                  <a:pt x="837322" y="1290532"/>
                  <a:pt x="834169" y="1290583"/>
                  <a:pt x="831015" y="1290637"/>
                </a:cubicBezTo>
                <a:cubicBezTo>
                  <a:pt x="831015" y="1291568"/>
                  <a:pt x="831015" y="1292498"/>
                  <a:pt x="831015" y="1293456"/>
                </a:cubicBezTo>
                <a:cubicBezTo>
                  <a:pt x="826519" y="1294808"/>
                  <a:pt x="822922" y="1295235"/>
                  <a:pt x="818225" y="1295570"/>
                </a:cubicBezTo>
                <a:lnTo>
                  <a:pt x="796774" y="1297671"/>
                </a:lnTo>
                <a:lnTo>
                  <a:pt x="783646" y="1305736"/>
                </a:lnTo>
                <a:cubicBezTo>
                  <a:pt x="776915" y="1312506"/>
                  <a:pt x="772692" y="1318638"/>
                  <a:pt x="769263" y="1327143"/>
                </a:cubicBezTo>
                <a:cubicBezTo>
                  <a:pt x="767116" y="1332340"/>
                  <a:pt x="767116" y="1332340"/>
                  <a:pt x="764797" y="1334360"/>
                </a:cubicBezTo>
                <a:lnTo>
                  <a:pt x="757875" y="1353503"/>
                </a:lnTo>
                <a:lnTo>
                  <a:pt x="755676" y="1367455"/>
                </a:lnTo>
                <a:lnTo>
                  <a:pt x="750558" y="1399690"/>
                </a:lnTo>
                <a:lnTo>
                  <a:pt x="753057" y="1411256"/>
                </a:lnTo>
                <a:cubicBezTo>
                  <a:pt x="753057" y="1413117"/>
                  <a:pt x="753057" y="1414976"/>
                  <a:pt x="753057" y="1416893"/>
                </a:cubicBezTo>
                <a:cubicBezTo>
                  <a:pt x="754087" y="1416893"/>
                  <a:pt x="755119" y="1416893"/>
                  <a:pt x="756181" y="1416893"/>
                </a:cubicBezTo>
                <a:cubicBezTo>
                  <a:pt x="759348" y="1422607"/>
                  <a:pt x="758101" y="1429902"/>
                  <a:pt x="758133" y="1436182"/>
                </a:cubicBezTo>
                <a:cubicBezTo>
                  <a:pt x="758182" y="1438458"/>
                  <a:pt x="758182" y="1438458"/>
                  <a:pt x="758231" y="1440781"/>
                </a:cubicBezTo>
                <a:cubicBezTo>
                  <a:pt x="758283" y="1450271"/>
                  <a:pt x="758174" y="1458360"/>
                  <a:pt x="750713" y="1465704"/>
                </a:cubicBezTo>
                <a:cubicBezTo>
                  <a:pt x="749940" y="1466193"/>
                  <a:pt x="749167" y="1466681"/>
                  <a:pt x="748370" y="1467185"/>
                </a:cubicBezTo>
                <a:cubicBezTo>
                  <a:pt x="743665" y="1470047"/>
                  <a:pt x="743665" y="1470047"/>
                  <a:pt x="741633" y="1473526"/>
                </a:cubicBezTo>
                <a:cubicBezTo>
                  <a:pt x="737793" y="1477248"/>
                  <a:pt x="733582" y="1477483"/>
                  <a:pt x="728154" y="1478343"/>
                </a:cubicBezTo>
                <a:cubicBezTo>
                  <a:pt x="724855" y="1478778"/>
                  <a:pt x="724855" y="1478778"/>
                  <a:pt x="721814" y="1480308"/>
                </a:cubicBezTo>
                <a:cubicBezTo>
                  <a:pt x="717303" y="1480523"/>
                  <a:pt x="712854" y="1480634"/>
                  <a:pt x="708341" y="1480661"/>
                </a:cubicBezTo>
                <a:cubicBezTo>
                  <a:pt x="707118" y="1480690"/>
                  <a:pt x="705896" y="1480719"/>
                  <a:pt x="704637" y="1480748"/>
                </a:cubicBezTo>
                <a:cubicBezTo>
                  <a:pt x="690446" y="1480834"/>
                  <a:pt x="679632" y="1476246"/>
                  <a:pt x="668507" y="1468418"/>
                </a:cubicBezTo>
                <a:cubicBezTo>
                  <a:pt x="662823" y="1463224"/>
                  <a:pt x="661745" y="1456995"/>
                  <a:pt x="660178" y="1450027"/>
                </a:cubicBezTo>
                <a:cubicBezTo>
                  <a:pt x="659725" y="1446589"/>
                  <a:pt x="659725" y="1446589"/>
                  <a:pt x="657767" y="1445078"/>
                </a:cubicBezTo>
                <a:cubicBezTo>
                  <a:pt x="656859" y="1433686"/>
                  <a:pt x="655965" y="1419178"/>
                  <a:pt x="663369" y="1409390"/>
                </a:cubicBezTo>
                <a:cubicBezTo>
                  <a:pt x="666078" y="1406601"/>
                  <a:pt x="668921" y="1404013"/>
                  <a:pt x="671826" y="1401392"/>
                </a:cubicBezTo>
                <a:cubicBezTo>
                  <a:pt x="675197" y="1397623"/>
                  <a:pt x="677125" y="1394916"/>
                  <a:pt x="678075" y="1390118"/>
                </a:cubicBezTo>
                <a:cubicBezTo>
                  <a:pt x="680137" y="1389653"/>
                  <a:pt x="682199" y="1389188"/>
                  <a:pt x="684323" y="1388709"/>
                </a:cubicBezTo>
                <a:cubicBezTo>
                  <a:pt x="684643" y="1387232"/>
                  <a:pt x="684964" y="1385755"/>
                  <a:pt x="685293" y="1384233"/>
                </a:cubicBezTo>
                <a:cubicBezTo>
                  <a:pt x="685718" y="1382290"/>
                  <a:pt x="686144" y="1380347"/>
                  <a:pt x="686569" y="1378404"/>
                </a:cubicBezTo>
                <a:cubicBezTo>
                  <a:pt x="686885" y="1376945"/>
                  <a:pt x="686885" y="1376945"/>
                  <a:pt x="687207" y="1375456"/>
                </a:cubicBezTo>
                <a:cubicBezTo>
                  <a:pt x="688115" y="1371315"/>
                  <a:pt x="689090" y="1367353"/>
                  <a:pt x="690572" y="1363343"/>
                </a:cubicBezTo>
                <a:cubicBezTo>
                  <a:pt x="692411" y="1350128"/>
                  <a:pt x="692374" y="1336672"/>
                  <a:pt x="692495" y="1323376"/>
                </a:cubicBezTo>
                <a:cubicBezTo>
                  <a:pt x="692524" y="1320586"/>
                  <a:pt x="692574" y="1317796"/>
                  <a:pt x="692625" y="1315006"/>
                </a:cubicBezTo>
                <a:cubicBezTo>
                  <a:pt x="692853" y="1300589"/>
                  <a:pt x="692853" y="1300589"/>
                  <a:pt x="687447" y="1287245"/>
                </a:cubicBezTo>
                <a:cubicBezTo>
                  <a:pt x="685901" y="1286780"/>
                  <a:pt x="684354" y="1286315"/>
                  <a:pt x="682761" y="1285835"/>
                </a:cubicBezTo>
                <a:cubicBezTo>
                  <a:pt x="680876" y="1283743"/>
                  <a:pt x="680876" y="1283743"/>
                  <a:pt x="678954" y="1281608"/>
                </a:cubicBezTo>
                <a:cubicBezTo>
                  <a:pt x="674854" y="1277278"/>
                  <a:pt x="674356" y="1276958"/>
                  <a:pt x="668702" y="1275971"/>
                </a:cubicBezTo>
                <a:cubicBezTo>
                  <a:pt x="666619" y="1274092"/>
                  <a:pt x="664536" y="1272213"/>
                  <a:pt x="662454" y="1270334"/>
                </a:cubicBezTo>
                <a:cubicBezTo>
                  <a:pt x="658341" y="1268566"/>
                  <a:pt x="658341" y="1268566"/>
                  <a:pt x="654643" y="1267516"/>
                </a:cubicBezTo>
                <a:cubicBezTo>
                  <a:pt x="654643" y="1266585"/>
                  <a:pt x="654643" y="1265656"/>
                  <a:pt x="654643" y="1264697"/>
                </a:cubicBezTo>
                <a:cubicBezTo>
                  <a:pt x="653161" y="1264581"/>
                  <a:pt x="651679" y="1264465"/>
                  <a:pt x="650152" y="1264345"/>
                </a:cubicBezTo>
                <a:cubicBezTo>
                  <a:pt x="642318" y="1263373"/>
                  <a:pt x="635297" y="1260465"/>
                  <a:pt x="628087" y="1257651"/>
                </a:cubicBezTo>
                <a:cubicBezTo>
                  <a:pt x="628087" y="1256721"/>
                  <a:pt x="628087" y="1255791"/>
                  <a:pt x="628087" y="1254833"/>
                </a:cubicBezTo>
                <a:cubicBezTo>
                  <a:pt x="627108" y="1254662"/>
                  <a:pt x="626129" y="1254491"/>
                  <a:pt x="625121" y="1254315"/>
                </a:cubicBezTo>
                <a:cubicBezTo>
                  <a:pt x="623845" y="1254079"/>
                  <a:pt x="622568" y="1253843"/>
                  <a:pt x="621252" y="1253600"/>
                </a:cubicBezTo>
                <a:cubicBezTo>
                  <a:pt x="619984" y="1253371"/>
                  <a:pt x="618716" y="1253142"/>
                  <a:pt x="617409" y="1252906"/>
                </a:cubicBezTo>
                <a:cubicBezTo>
                  <a:pt x="614027" y="1252014"/>
                  <a:pt x="614027" y="1252014"/>
                  <a:pt x="610904" y="1249196"/>
                </a:cubicBezTo>
                <a:cubicBezTo>
                  <a:pt x="592259" y="1248653"/>
                  <a:pt x="578635" y="1260869"/>
                  <a:pt x="565739" y="1271742"/>
                </a:cubicBezTo>
                <a:cubicBezTo>
                  <a:pt x="558808" y="1277725"/>
                  <a:pt x="552763" y="1283983"/>
                  <a:pt x="546924" y="1290829"/>
                </a:cubicBezTo>
                <a:cubicBezTo>
                  <a:pt x="545838" y="1292087"/>
                  <a:pt x="544753" y="1293346"/>
                  <a:pt x="543635" y="1294643"/>
                </a:cubicBezTo>
                <a:cubicBezTo>
                  <a:pt x="542650" y="1295813"/>
                  <a:pt x="541666" y="1296983"/>
                  <a:pt x="540651" y="1298188"/>
                </a:cubicBezTo>
                <a:cubicBezTo>
                  <a:pt x="537294" y="1301526"/>
                  <a:pt x="533978" y="1303337"/>
                  <a:pt x="529673" y="1305565"/>
                </a:cubicBezTo>
                <a:cubicBezTo>
                  <a:pt x="527599" y="1308478"/>
                  <a:pt x="527599" y="1308478"/>
                  <a:pt x="526549" y="1311202"/>
                </a:cubicBezTo>
                <a:cubicBezTo>
                  <a:pt x="525518" y="1311202"/>
                  <a:pt x="524487" y="1311202"/>
                  <a:pt x="523425" y="1311202"/>
                </a:cubicBezTo>
                <a:cubicBezTo>
                  <a:pt x="523360" y="1311986"/>
                  <a:pt x="523296" y="1312771"/>
                  <a:pt x="523230" y="1313580"/>
                </a:cubicBezTo>
                <a:cubicBezTo>
                  <a:pt x="521863" y="1316839"/>
                  <a:pt x="521863" y="1316839"/>
                  <a:pt x="517732" y="1319739"/>
                </a:cubicBezTo>
                <a:cubicBezTo>
                  <a:pt x="511111" y="1324565"/>
                  <a:pt x="506875" y="1330731"/>
                  <a:pt x="502239" y="1337096"/>
                </a:cubicBezTo>
                <a:cubicBezTo>
                  <a:pt x="500512" y="1339427"/>
                  <a:pt x="498785" y="1341757"/>
                  <a:pt x="497058" y="1344087"/>
                </a:cubicBezTo>
                <a:cubicBezTo>
                  <a:pt x="495827" y="1345760"/>
                  <a:pt x="495827" y="1345760"/>
                  <a:pt x="494572" y="1347465"/>
                </a:cubicBezTo>
                <a:cubicBezTo>
                  <a:pt x="492366" y="1350414"/>
                  <a:pt x="490094" y="1353304"/>
                  <a:pt x="487776" y="1356181"/>
                </a:cubicBezTo>
                <a:cubicBezTo>
                  <a:pt x="484805" y="1359972"/>
                  <a:pt x="482865" y="1363193"/>
                  <a:pt x="481248" y="1367571"/>
                </a:cubicBezTo>
                <a:cubicBezTo>
                  <a:pt x="480216" y="1367571"/>
                  <a:pt x="479186" y="1367571"/>
                  <a:pt x="478123" y="1367571"/>
                </a:cubicBezTo>
                <a:cubicBezTo>
                  <a:pt x="477963" y="1368558"/>
                  <a:pt x="477801" y="1369547"/>
                  <a:pt x="477635" y="1370565"/>
                </a:cubicBezTo>
                <a:cubicBezTo>
                  <a:pt x="475602" y="1378236"/>
                  <a:pt x="471952" y="1383371"/>
                  <a:pt x="465626" y="1388709"/>
                </a:cubicBezTo>
                <a:cubicBezTo>
                  <a:pt x="462272" y="1392748"/>
                  <a:pt x="462272" y="1392748"/>
                  <a:pt x="461233" y="1397340"/>
                </a:cubicBezTo>
                <a:cubicBezTo>
                  <a:pt x="460030" y="1401461"/>
                  <a:pt x="458298" y="1404501"/>
                  <a:pt x="455765" y="1408086"/>
                </a:cubicBezTo>
                <a:cubicBezTo>
                  <a:pt x="442829" y="1428603"/>
                  <a:pt x="441572" y="1454548"/>
                  <a:pt x="439070" y="1477490"/>
                </a:cubicBezTo>
                <a:cubicBezTo>
                  <a:pt x="437524" y="1477955"/>
                  <a:pt x="435977" y="1478420"/>
                  <a:pt x="434384" y="1478899"/>
                </a:cubicBezTo>
                <a:cubicBezTo>
                  <a:pt x="433739" y="1479916"/>
                  <a:pt x="433095" y="1480933"/>
                  <a:pt x="432431" y="1481982"/>
                </a:cubicBezTo>
                <a:cubicBezTo>
                  <a:pt x="428860" y="1487159"/>
                  <a:pt x="424291" y="1490903"/>
                  <a:pt x="418763" y="1494401"/>
                </a:cubicBezTo>
                <a:cubicBezTo>
                  <a:pt x="417731" y="1494401"/>
                  <a:pt x="416701" y="1494401"/>
                  <a:pt x="415639" y="1494401"/>
                </a:cubicBezTo>
                <a:cubicBezTo>
                  <a:pt x="415639" y="1495330"/>
                  <a:pt x="415639" y="1496260"/>
                  <a:pt x="415639" y="1497219"/>
                </a:cubicBezTo>
                <a:cubicBezTo>
                  <a:pt x="412546" y="1497684"/>
                  <a:pt x="409453" y="1498149"/>
                  <a:pt x="406265" y="1498628"/>
                </a:cubicBezTo>
                <a:cubicBezTo>
                  <a:pt x="406265" y="1499559"/>
                  <a:pt x="406265" y="1500488"/>
                  <a:pt x="406265" y="1501447"/>
                </a:cubicBezTo>
                <a:cubicBezTo>
                  <a:pt x="395955" y="1501447"/>
                  <a:pt x="385645" y="1501447"/>
                  <a:pt x="375023" y="1501447"/>
                </a:cubicBezTo>
                <a:lnTo>
                  <a:pt x="375023" y="1499438"/>
                </a:lnTo>
                <a:lnTo>
                  <a:pt x="374964" y="1499436"/>
                </a:lnTo>
                <a:lnTo>
                  <a:pt x="373179" y="1498628"/>
                </a:lnTo>
                <a:lnTo>
                  <a:pt x="365650" y="1498628"/>
                </a:lnTo>
                <a:lnTo>
                  <a:pt x="363134" y="1494087"/>
                </a:lnTo>
                <a:lnTo>
                  <a:pt x="362171" y="1493651"/>
                </a:lnTo>
                <a:cubicBezTo>
                  <a:pt x="361656" y="1492722"/>
                  <a:pt x="361140" y="1491791"/>
                  <a:pt x="360609" y="1490833"/>
                </a:cubicBezTo>
                <a:cubicBezTo>
                  <a:pt x="361640" y="1490833"/>
                  <a:pt x="362671" y="1490833"/>
                  <a:pt x="363733" y="1490833"/>
                </a:cubicBezTo>
                <a:lnTo>
                  <a:pt x="363733" y="1489980"/>
                </a:lnTo>
                <a:lnTo>
                  <a:pt x="348467" y="1481717"/>
                </a:lnTo>
                <a:lnTo>
                  <a:pt x="343872" y="1461078"/>
                </a:lnTo>
                <a:lnTo>
                  <a:pt x="343656" y="1463649"/>
                </a:lnTo>
                <a:cubicBezTo>
                  <a:pt x="343541" y="1465230"/>
                  <a:pt x="343541" y="1465230"/>
                  <a:pt x="343424" y="1466842"/>
                </a:cubicBezTo>
                <a:cubicBezTo>
                  <a:pt x="342908" y="1466842"/>
                  <a:pt x="342393" y="1466842"/>
                  <a:pt x="341861" y="1466842"/>
                </a:cubicBezTo>
                <a:cubicBezTo>
                  <a:pt x="340987" y="1449564"/>
                  <a:pt x="340999" y="1434331"/>
                  <a:pt x="354143" y="1420549"/>
                </a:cubicBezTo>
                <a:cubicBezTo>
                  <a:pt x="360765" y="1414011"/>
                  <a:pt x="367631" y="1407790"/>
                  <a:pt x="376229" y="1403427"/>
                </a:cubicBezTo>
                <a:lnTo>
                  <a:pt x="379491" y="1404408"/>
                </a:lnTo>
                <a:lnTo>
                  <a:pt x="379710" y="1404210"/>
                </a:lnTo>
                <a:cubicBezTo>
                  <a:pt x="380290" y="1402902"/>
                  <a:pt x="380290" y="1402902"/>
                  <a:pt x="380882" y="1401568"/>
                </a:cubicBezTo>
                <a:cubicBezTo>
                  <a:pt x="383675" y="1397284"/>
                  <a:pt x="387587" y="1395610"/>
                  <a:pt x="392207" y="1392936"/>
                </a:cubicBezTo>
                <a:lnTo>
                  <a:pt x="399542" y="1386774"/>
                </a:lnTo>
                <a:lnTo>
                  <a:pt x="405485" y="1378917"/>
                </a:lnTo>
                <a:cubicBezTo>
                  <a:pt x="408065" y="1375974"/>
                  <a:pt x="410029" y="1372774"/>
                  <a:pt x="412008" y="1369481"/>
                </a:cubicBezTo>
                <a:cubicBezTo>
                  <a:pt x="414759" y="1365166"/>
                  <a:pt x="417963" y="1361131"/>
                  <a:pt x="421130" y="1357057"/>
                </a:cubicBezTo>
                <a:cubicBezTo>
                  <a:pt x="423073" y="1354140"/>
                  <a:pt x="423985" y="1351767"/>
                  <a:pt x="424676" y="1348443"/>
                </a:cubicBezTo>
                <a:lnTo>
                  <a:pt x="427275" y="1348443"/>
                </a:lnTo>
                <a:lnTo>
                  <a:pt x="428135" y="1345727"/>
                </a:lnTo>
                <a:cubicBezTo>
                  <a:pt x="429370" y="1341828"/>
                  <a:pt x="430645" y="1338666"/>
                  <a:pt x="432822" y="1335158"/>
                </a:cubicBezTo>
                <a:cubicBezTo>
                  <a:pt x="433853" y="1335158"/>
                  <a:pt x="434884" y="1335158"/>
                  <a:pt x="435946" y="1335158"/>
                </a:cubicBezTo>
                <a:cubicBezTo>
                  <a:pt x="436526" y="1333385"/>
                  <a:pt x="437106" y="1331613"/>
                  <a:pt x="437704" y="1329786"/>
                </a:cubicBezTo>
                <a:cubicBezTo>
                  <a:pt x="440162" y="1323132"/>
                  <a:pt x="443602" y="1317301"/>
                  <a:pt x="447394" y="1311196"/>
                </a:cubicBezTo>
                <a:cubicBezTo>
                  <a:pt x="456493" y="1296485"/>
                  <a:pt x="463325" y="1281864"/>
                  <a:pt x="469287" y="1265964"/>
                </a:cubicBezTo>
                <a:cubicBezTo>
                  <a:pt x="474589" y="1252134"/>
                  <a:pt x="474589" y="1252134"/>
                  <a:pt x="478178" y="1246787"/>
                </a:cubicBezTo>
                <a:cubicBezTo>
                  <a:pt x="481232" y="1240246"/>
                  <a:pt x="480204" y="1232766"/>
                  <a:pt x="480179" y="1225768"/>
                </a:cubicBezTo>
                <a:cubicBezTo>
                  <a:pt x="480174" y="1222894"/>
                  <a:pt x="480210" y="1220023"/>
                  <a:pt x="480250" y="1217149"/>
                </a:cubicBezTo>
                <a:cubicBezTo>
                  <a:pt x="480260" y="1199291"/>
                  <a:pt x="476718" y="1187768"/>
                  <a:pt x="462972" y="1174827"/>
                </a:cubicBezTo>
                <a:cubicBezTo>
                  <a:pt x="461148" y="1173192"/>
                  <a:pt x="459312" y="1171566"/>
                  <a:pt x="457468" y="1169949"/>
                </a:cubicBezTo>
                <a:cubicBezTo>
                  <a:pt x="451412" y="1164522"/>
                  <a:pt x="445876" y="1158660"/>
                  <a:pt x="440657" y="1152570"/>
                </a:cubicBezTo>
                <a:cubicBezTo>
                  <a:pt x="430474" y="1140786"/>
                  <a:pt x="418230" y="1128998"/>
                  <a:pt x="403142" y="1122366"/>
                </a:cubicBezTo>
                <a:cubicBezTo>
                  <a:pt x="402626" y="1121436"/>
                  <a:pt x="402110" y="1120506"/>
                  <a:pt x="401579" y="1119547"/>
                </a:cubicBezTo>
                <a:cubicBezTo>
                  <a:pt x="390472" y="1115326"/>
                  <a:pt x="375918" y="1114217"/>
                  <a:pt x="364564" y="1118209"/>
                </a:cubicBezTo>
                <a:cubicBezTo>
                  <a:pt x="362278" y="1119428"/>
                  <a:pt x="360026" y="1120704"/>
                  <a:pt x="357822" y="1122041"/>
                </a:cubicBezTo>
                <a:cubicBezTo>
                  <a:pt x="354521" y="1123884"/>
                  <a:pt x="351862" y="1124582"/>
                  <a:pt x="348077" y="1125273"/>
                </a:cubicBezTo>
                <a:cubicBezTo>
                  <a:pt x="341765" y="1126696"/>
                  <a:pt x="339382" y="1128619"/>
                  <a:pt x="334408" y="1132230"/>
                </a:cubicBezTo>
                <a:cubicBezTo>
                  <a:pt x="332284" y="1132909"/>
                  <a:pt x="330131" y="1133519"/>
                  <a:pt x="327964" y="1134080"/>
                </a:cubicBezTo>
                <a:cubicBezTo>
                  <a:pt x="309975" y="1139067"/>
                  <a:pt x="290592" y="1152117"/>
                  <a:pt x="279734" y="1166051"/>
                </a:cubicBezTo>
                <a:cubicBezTo>
                  <a:pt x="277929" y="1169534"/>
                  <a:pt x="277929" y="1169534"/>
                  <a:pt x="276609" y="1173098"/>
                </a:cubicBezTo>
                <a:cubicBezTo>
                  <a:pt x="272413" y="1180804"/>
                  <a:pt x="269322" y="1184144"/>
                  <a:pt x="260988" y="1188599"/>
                </a:cubicBezTo>
                <a:cubicBezTo>
                  <a:pt x="259988" y="1189435"/>
                  <a:pt x="258987" y="1190271"/>
                  <a:pt x="257956" y="1191132"/>
                </a:cubicBezTo>
                <a:lnTo>
                  <a:pt x="243805" y="1196629"/>
                </a:lnTo>
                <a:lnTo>
                  <a:pt x="243805" y="1194236"/>
                </a:lnTo>
                <a:lnTo>
                  <a:pt x="240288" y="1194765"/>
                </a:lnTo>
                <a:lnTo>
                  <a:pt x="243374" y="1194765"/>
                </a:lnTo>
                <a:lnTo>
                  <a:pt x="243374" y="1196797"/>
                </a:lnTo>
                <a:lnTo>
                  <a:pt x="243805" y="1196629"/>
                </a:lnTo>
                <a:lnTo>
                  <a:pt x="243805" y="1197055"/>
                </a:lnTo>
                <a:lnTo>
                  <a:pt x="243374" y="1197055"/>
                </a:lnTo>
                <a:lnTo>
                  <a:pt x="243374" y="1197584"/>
                </a:lnTo>
                <a:lnTo>
                  <a:pt x="241319" y="1197595"/>
                </a:lnTo>
                <a:lnTo>
                  <a:pt x="238009" y="1198881"/>
                </a:lnTo>
                <a:cubicBezTo>
                  <a:pt x="231012" y="1199584"/>
                  <a:pt x="223620" y="1198927"/>
                  <a:pt x="215687" y="1198464"/>
                </a:cubicBezTo>
                <a:lnTo>
                  <a:pt x="215687" y="1197734"/>
                </a:lnTo>
                <a:lnTo>
                  <a:pt x="213936" y="1197744"/>
                </a:lnTo>
                <a:cubicBezTo>
                  <a:pt x="210570" y="1197584"/>
                  <a:pt x="210570" y="1197584"/>
                  <a:pt x="207446" y="1196175"/>
                </a:cubicBezTo>
                <a:lnTo>
                  <a:pt x="207822" y="1195610"/>
                </a:lnTo>
                <a:lnTo>
                  <a:pt x="184737" y="1180936"/>
                </a:lnTo>
                <a:cubicBezTo>
                  <a:pt x="180258" y="1172216"/>
                  <a:pt x="179226" y="1164355"/>
                  <a:pt x="179270" y="1154866"/>
                </a:cubicBezTo>
                <a:cubicBezTo>
                  <a:pt x="179233" y="1153260"/>
                  <a:pt x="179233" y="1153260"/>
                  <a:pt x="179194" y="1151621"/>
                </a:cubicBezTo>
                <a:cubicBezTo>
                  <a:pt x="179182" y="1139523"/>
                  <a:pt x="183658" y="1128837"/>
                  <a:pt x="193195" y="1120065"/>
                </a:cubicBezTo>
                <a:cubicBezTo>
                  <a:pt x="204265" y="1110959"/>
                  <a:pt x="215062" y="1110626"/>
                  <a:pt x="229551" y="1110299"/>
                </a:cubicBezTo>
                <a:cubicBezTo>
                  <a:pt x="240132" y="1110024"/>
                  <a:pt x="250506" y="1109652"/>
                  <a:pt x="260988" y="1108274"/>
                </a:cubicBezTo>
                <a:cubicBezTo>
                  <a:pt x="260988" y="1107344"/>
                  <a:pt x="260988" y="1106413"/>
                  <a:pt x="260988" y="1105455"/>
                </a:cubicBezTo>
                <a:cubicBezTo>
                  <a:pt x="261953" y="1105078"/>
                  <a:pt x="262918" y="1104699"/>
                  <a:pt x="263911" y="1104310"/>
                </a:cubicBezTo>
                <a:cubicBezTo>
                  <a:pt x="272903" y="1100557"/>
                  <a:pt x="279802" y="1096307"/>
                  <a:pt x="286995" y="1090185"/>
                </a:cubicBezTo>
                <a:cubicBezTo>
                  <a:pt x="290956" y="1086897"/>
                  <a:pt x="295114" y="1083955"/>
                  <a:pt x="299358" y="1080970"/>
                </a:cubicBezTo>
                <a:cubicBezTo>
                  <a:pt x="306613" y="1075692"/>
                  <a:pt x="312234" y="1070023"/>
                  <a:pt x="317762" y="1063272"/>
                </a:cubicBezTo>
                <a:cubicBezTo>
                  <a:pt x="320349" y="1060360"/>
                  <a:pt x="320349" y="1060360"/>
                  <a:pt x="325035" y="1057542"/>
                </a:cubicBezTo>
                <a:cubicBezTo>
                  <a:pt x="329912" y="1045734"/>
                  <a:pt x="327928" y="1035103"/>
                  <a:pt x="325328" y="1023104"/>
                </a:cubicBezTo>
                <a:cubicBezTo>
                  <a:pt x="325069" y="1021831"/>
                  <a:pt x="324811" y="1020559"/>
                  <a:pt x="324544" y="1019247"/>
                </a:cubicBezTo>
                <a:cubicBezTo>
                  <a:pt x="322876" y="1011407"/>
                  <a:pt x="320562" y="1004340"/>
                  <a:pt x="317225" y="996945"/>
                </a:cubicBezTo>
                <a:cubicBezTo>
                  <a:pt x="316619" y="995541"/>
                  <a:pt x="316013" y="994137"/>
                  <a:pt x="315388" y="992690"/>
                </a:cubicBezTo>
                <a:cubicBezTo>
                  <a:pt x="306307" y="972561"/>
                  <a:pt x="298931" y="959343"/>
                  <a:pt x="276232" y="950666"/>
                </a:cubicBezTo>
                <a:cubicBezTo>
                  <a:pt x="274810" y="950127"/>
                  <a:pt x="273388" y="949587"/>
                  <a:pt x="271923" y="949031"/>
                </a:cubicBezTo>
                <a:cubicBezTo>
                  <a:pt x="270129" y="948244"/>
                  <a:pt x="270129" y="948244"/>
                  <a:pt x="268299" y="947441"/>
                </a:cubicBezTo>
                <a:cubicBezTo>
                  <a:pt x="247071" y="938140"/>
                  <a:pt x="222259" y="939051"/>
                  <a:pt x="199187" y="938991"/>
                </a:cubicBezTo>
                <a:cubicBezTo>
                  <a:pt x="197383" y="938984"/>
                  <a:pt x="195579" y="938978"/>
                  <a:pt x="193719" y="938971"/>
                </a:cubicBezTo>
                <a:cubicBezTo>
                  <a:pt x="192010" y="938974"/>
                  <a:pt x="190300" y="938977"/>
                  <a:pt x="188539" y="938980"/>
                </a:cubicBezTo>
                <a:cubicBezTo>
                  <a:pt x="187000" y="938981"/>
                  <a:pt x="185460" y="938983"/>
                  <a:pt x="183874" y="938985"/>
                </a:cubicBezTo>
                <a:cubicBezTo>
                  <a:pt x="180148" y="939150"/>
                  <a:pt x="177092" y="939720"/>
                  <a:pt x="173509" y="940576"/>
                </a:cubicBezTo>
                <a:cubicBezTo>
                  <a:pt x="169458" y="940674"/>
                  <a:pt x="165452" y="940710"/>
                  <a:pt x="161403" y="940664"/>
                </a:cubicBezTo>
                <a:cubicBezTo>
                  <a:pt x="160314" y="940658"/>
                  <a:pt x="159224" y="940651"/>
                  <a:pt x="158102" y="940645"/>
                </a:cubicBezTo>
                <a:lnTo>
                  <a:pt x="150875" y="940583"/>
                </a:lnTo>
                <a:lnTo>
                  <a:pt x="148425" y="940717"/>
                </a:lnTo>
                <a:lnTo>
                  <a:pt x="149617" y="940995"/>
                </a:lnTo>
                <a:cubicBezTo>
                  <a:pt x="149617" y="941459"/>
                  <a:pt x="149617" y="941924"/>
                  <a:pt x="149617" y="942404"/>
                </a:cubicBezTo>
                <a:cubicBezTo>
                  <a:pt x="148630" y="942558"/>
                  <a:pt x="147643" y="942712"/>
                  <a:pt x="146627" y="942871"/>
                </a:cubicBezTo>
                <a:cubicBezTo>
                  <a:pt x="134541" y="944804"/>
                  <a:pt x="122553" y="947081"/>
                  <a:pt x="110564" y="949449"/>
                </a:cubicBezTo>
                <a:lnTo>
                  <a:pt x="111283" y="946205"/>
                </a:lnTo>
                <a:lnTo>
                  <a:pt x="101652" y="956078"/>
                </a:lnTo>
                <a:cubicBezTo>
                  <a:pt x="99870" y="957260"/>
                  <a:pt x="99870" y="957260"/>
                  <a:pt x="98052" y="958467"/>
                </a:cubicBezTo>
                <a:cubicBezTo>
                  <a:pt x="75683" y="972989"/>
                  <a:pt x="75683" y="972989"/>
                  <a:pt x="67286" y="972989"/>
                </a:cubicBezTo>
                <a:cubicBezTo>
                  <a:pt x="67286" y="973918"/>
                  <a:pt x="67286" y="974848"/>
                  <a:pt x="67286" y="975807"/>
                </a:cubicBezTo>
                <a:cubicBezTo>
                  <a:pt x="55713" y="979519"/>
                  <a:pt x="43549" y="980689"/>
                  <a:pt x="31942" y="976423"/>
                </a:cubicBezTo>
                <a:cubicBezTo>
                  <a:pt x="19953" y="970870"/>
                  <a:pt x="10774" y="964932"/>
                  <a:pt x="5673" y="953419"/>
                </a:cubicBezTo>
                <a:cubicBezTo>
                  <a:pt x="4801" y="950441"/>
                  <a:pt x="4801" y="950441"/>
                  <a:pt x="4801" y="944804"/>
                </a:cubicBezTo>
                <a:cubicBezTo>
                  <a:pt x="3770" y="944804"/>
                  <a:pt x="2739" y="944804"/>
                  <a:pt x="1676" y="944804"/>
                </a:cubicBezTo>
                <a:cubicBezTo>
                  <a:pt x="-34" y="940174"/>
                  <a:pt x="-41" y="936720"/>
                  <a:pt x="17" y="931857"/>
                </a:cubicBezTo>
                <a:cubicBezTo>
                  <a:pt x="31" y="930325"/>
                  <a:pt x="45" y="928794"/>
                  <a:pt x="59" y="927216"/>
                </a:cubicBezTo>
                <a:cubicBezTo>
                  <a:pt x="78" y="926044"/>
                  <a:pt x="96" y="924873"/>
                  <a:pt x="115" y="923666"/>
                </a:cubicBezTo>
                <a:cubicBezTo>
                  <a:pt x="1145" y="923666"/>
                  <a:pt x="2176" y="923666"/>
                  <a:pt x="3238" y="923666"/>
                </a:cubicBezTo>
                <a:cubicBezTo>
                  <a:pt x="3238" y="921805"/>
                  <a:pt x="3238" y="919945"/>
                  <a:pt x="3238" y="918029"/>
                </a:cubicBezTo>
                <a:cubicBezTo>
                  <a:pt x="4270" y="918029"/>
                  <a:pt x="5300" y="918029"/>
                  <a:pt x="6363" y="918029"/>
                </a:cubicBezTo>
                <a:cubicBezTo>
                  <a:pt x="6459" y="916314"/>
                  <a:pt x="6556" y="914599"/>
                  <a:pt x="6656" y="912832"/>
                </a:cubicBezTo>
                <a:cubicBezTo>
                  <a:pt x="7542" y="906455"/>
                  <a:pt x="10104" y="903750"/>
                  <a:pt x="15736" y="899709"/>
                </a:cubicBezTo>
                <a:lnTo>
                  <a:pt x="17243" y="898894"/>
                </a:lnTo>
                <a:lnTo>
                  <a:pt x="16800" y="898694"/>
                </a:lnTo>
                <a:lnTo>
                  <a:pt x="24988" y="894101"/>
                </a:lnTo>
                <a:lnTo>
                  <a:pt x="26768" y="892399"/>
                </a:lnTo>
                <a:cubicBezTo>
                  <a:pt x="28282" y="891122"/>
                  <a:pt x="29038" y="890483"/>
                  <a:pt x="30198" y="890164"/>
                </a:cubicBezTo>
                <a:lnTo>
                  <a:pt x="32204" y="890054"/>
                </a:lnTo>
                <a:lnTo>
                  <a:pt x="38914" y="886291"/>
                </a:lnTo>
                <a:cubicBezTo>
                  <a:pt x="47169" y="885770"/>
                  <a:pt x="55396" y="885800"/>
                  <a:pt x="63664" y="886011"/>
                </a:cubicBezTo>
                <a:lnTo>
                  <a:pt x="63664" y="886531"/>
                </a:lnTo>
                <a:lnTo>
                  <a:pt x="70784" y="886647"/>
                </a:lnTo>
                <a:cubicBezTo>
                  <a:pt x="74787" y="887000"/>
                  <a:pt x="77233" y="887948"/>
                  <a:pt x="82126" y="889845"/>
                </a:cubicBezTo>
                <a:cubicBezTo>
                  <a:pt x="92427" y="893791"/>
                  <a:pt x="103139" y="893710"/>
                  <a:pt x="114149" y="892663"/>
                </a:cubicBezTo>
                <a:cubicBezTo>
                  <a:pt x="115696" y="891733"/>
                  <a:pt x="117242" y="890803"/>
                  <a:pt x="118836" y="889845"/>
                </a:cubicBezTo>
                <a:cubicBezTo>
                  <a:pt x="123097" y="888850"/>
                  <a:pt x="127325" y="887944"/>
                  <a:pt x="131626" y="887114"/>
                </a:cubicBezTo>
                <a:cubicBezTo>
                  <a:pt x="139750" y="885542"/>
                  <a:pt x="147376" y="883653"/>
                  <a:pt x="155116" y="880913"/>
                </a:cubicBezTo>
                <a:cubicBezTo>
                  <a:pt x="158498" y="879775"/>
                  <a:pt x="161861" y="879076"/>
                  <a:pt x="165406" y="878483"/>
                </a:cubicBezTo>
                <a:cubicBezTo>
                  <a:pt x="170342" y="877655"/>
                  <a:pt x="172265" y="876971"/>
                  <a:pt x="176634" y="874343"/>
                </a:cubicBezTo>
                <a:cubicBezTo>
                  <a:pt x="179863" y="873335"/>
                  <a:pt x="183123" y="872404"/>
                  <a:pt x="186397" y="871524"/>
                </a:cubicBezTo>
                <a:cubicBezTo>
                  <a:pt x="189107" y="870786"/>
                  <a:pt x="189107" y="870786"/>
                  <a:pt x="191871" y="870033"/>
                </a:cubicBezTo>
                <a:cubicBezTo>
                  <a:pt x="195731" y="869023"/>
                  <a:pt x="199587" y="868093"/>
                  <a:pt x="203483" y="867208"/>
                </a:cubicBezTo>
                <a:cubicBezTo>
                  <a:pt x="208339" y="866199"/>
                  <a:pt x="208339" y="866199"/>
                  <a:pt x="211001" y="861660"/>
                </a:cubicBezTo>
                <a:cubicBezTo>
                  <a:pt x="214174" y="860102"/>
                  <a:pt x="214174" y="860102"/>
                  <a:pt x="218031" y="858577"/>
                </a:cubicBezTo>
                <a:cubicBezTo>
                  <a:pt x="236068" y="850629"/>
                  <a:pt x="245199" y="840442"/>
                  <a:pt x="254740" y="825020"/>
                </a:cubicBezTo>
                <a:cubicBezTo>
                  <a:pt x="255771" y="823625"/>
                  <a:pt x="256802" y="822230"/>
                  <a:pt x="257864" y="820792"/>
                </a:cubicBezTo>
                <a:cubicBezTo>
                  <a:pt x="258359" y="817506"/>
                  <a:pt x="258359" y="817506"/>
                  <a:pt x="258318" y="813810"/>
                </a:cubicBezTo>
                <a:cubicBezTo>
                  <a:pt x="258338" y="812388"/>
                  <a:pt x="258358" y="810967"/>
                  <a:pt x="258378" y="809502"/>
                </a:cubicBezTo>
                <a:cubicBezTo>
                  <a:pt x="258382" y="807965"/>
                  <a:pt x="258385" y="806429"/>
                  <a:pt x="258389" y="804845"/>
                </a:cubicBezTo>
                <a:cubicBezTo>
                  <a:pt x="258399" y="803258"/>
                  <a:pt x="258410" y="801671"/>
                  <a:pt x="258420" y="800036"/>
                </a:cubicBezTo>
                <a:cubicBezTo>
                  <a:pt x="258436" y="796670"/>
                  <a:pt x="258443" y="793305"/>
                  <a:pt x="258443" y="789939"/>
                </a:cubicBezTo>
                <a:cubicBezTo>
                  <a:pt x="258450" y="784823"/>
                  <a:pt x="258506" y="779709"/>
                  <a:pt x="258566" y="774594"/>
                </a:cubicBezTo>
                <a:cubicBezTo>
                  <a:pt x="258575" y="771319"/>
                  <a:pt x="258581" y="768045"/>
                  <a:pt x="258584" y="764771"/>
                </a:cubicBezTo>
                <a:cubicBezTo>
                  <a:pt x="258618" y="762495"/>
                  <a:pt x="258618" y="762495"/>
                  <a:pt x="258652" y="760174"/>
                </a:cubicBezTo>
                <a:cubicBezTo>
                  <a:pt x="258586" y="750030"/>
                  <a:pt x="256266" y="742584"/>
                  <a:pt x="251616" y="733421"/>
                </a:cubicBezTo>
                <a:cubicBezTo>
                  <a:pt x="250163" y="729605"/>
                  <a:pt x="248880" y="725752"/>
                  <a:pt x="247613" y="721883"/>
                </a:cubicBezTo>
                <a:cubicBezTo>
                  <a:pt x="245789" y="716328"/>
                  <a:pt x="243913" y="710939"/>
                  <a:pt x="241291" y="705644"/>
                </a:cubicBezTo>
                <a:cubicBezTo>
                  <a:pt x="238691" y="700096"/>
                  <a:pt x="238136" y="695685"/>
                  <a:pt x="237557" y="689735"/>
                </a:cubicBezTo>
                <a:cubicBezTo>
                  <a:pt x="244977" y="685507"/>
                  <a:pt x="244977" y="685507"/>
                  <a:pt x="248492" y="685507"/>
                </a:cubicBezTo>
                <a:cubicBezTo>
                  <a:pt x="248492" y="684112"/>
                  <a:pt x="248492" y="682717"/>
                  <a:pt x="248492" y="681279"/>
                </a:cubicBezTo>
                <a:cubicBezTo>
                  <a:pt x="245914" y="680815"/>
                  <a:pt x="243337" y="680350"/>
                  <a:pt x="240681" y="679870"/>
                </a:cubicBezTo>
                <a:cubicBezTo>
                  <a:pt x="240681" y="678940"/>
                  <a:pt x="240681" y="678010"/>
                  <a:pt x="240681" y="677052"/>
                </a:cubicBezTo>
                <a:cubicBezTo>
                  <a:pt x="239827" y="676917"/>
                  <a:pt x="238973" y="676783"/>
                  <a:pt x="238094" y="676645"/>
                </a:cubicBezTo>
                <a:cubicBezTo>
                  <a:pt x="233442" y="675371"/>
                  <a:pt x="229939" y="673242"/>
                  <a:pt x="225841" y="670886"/>
                </a:cubicBezTo>
                <a:cubicBezTo>
                  <a:pt x="217808" y="666564"/>
                  <a:pt x="210635" y="664241"/>
                  <a:pt x="201531" y="662508"/>
                </a:cubicBezTo>
                <a:cubicBezTo>
                  <a:pt x="196896" y="661541"/>
                  <a:pt x="192682" y="660199"/>
                  <a:pt x="188252" y="658644"/>
                </a:cubicBezTo>
                <a:lnTo>
                  <a:pt x="182431" y="657327"/>
                </a:lnTo>
                <a:lnTo>
                  <a:pt x="182431" y="657613"/>
                </a:lnTo>
                <a:cubicBezTo>
                  <a:pt x="170575" y="657148"/>
                  <a:pt x="158718" y="656683"/>
                  <a:pt x="146503" y="656204"/>
                </a:cubicBezTo>
                <a:cubicBezTo>
                  <a:pt x="146503" y="657133"/>
                  <a:pt x="146503" y="658064"/>
                  <a:pt x="146503" y="659022"/>
                </a:cubicBezTo>
                <a:cubicBezTo>
                  <a:pt x="134359" y="662326"/>
                  <a:pt x="123013" y="663700"/>
                  <a:pt x="110378" y="663778"/>
                </a:cubicBezTo>
                <a:cubicBezTo>
                  <a:pt x="108435" y="663806"/>
                  <a:pt x="108435" y="663806"/>
                  <a:pt x="106453" y="663836"/>
                </a:cubicBezTo>
                <a:cubicBezTo>
                  <a:pt x="105231" y="663828"/>
                  <a:pt x="104009" y="663820"/>
                  <a:pt x="102751" y="663811"/>
                </a:cubicBezTo>
                <a:cubicBezTo>
                  <a:pt x="101117" y="663804"/>
                  <a:pt x="101117" y="663804"/>
                  <a:pt x="99449" y="663797"/>
                </a:cubicBezTo>
                <a:cubicBezTo>
                  <a:pt x="95696" y="663097"/>
                  <a:pt x="94265" y="661615"/>
                  <a:pt x="91828" y="659022"/>
                </a:cubicBezTo>
                <a:cubicBezTo>
                  <a:pt x="93890" y="659022"/>
                  <a:pt x="95953" y="659022"/>
                  <a:pt x="98077" y="659022"/>
                </a:cubicBezTo>
                <a:cubicBezTo>
                  <a:pt x="98077" y="659952"/>
                  <a:pt x="98077" y="660882"/>
                  <a:pt x="98077" y="661841"/>
                </a:cubicBezTo>
                <a:cubicBezTo>
                  <a:pt x="108735" y="662045"/>
                  <a:pt x="114063" y="662148"/>
                  <a:pt x="119023" y="661357"/>
                </a:cubicBezTo>
                <a:lnTo>
                  <a:pt x="119536" y="661197"/>
                </a:lnTo>
                <a:lnTo>
                  <a:pt x="109853" y="661639"/>
                </a:lnTo>
                <a:cubicBezTo>
                  <a:pt x="108764" y="661632"/>
                  <a:pt x="107675" y="661626"/>
                  <a:pt x="106552" y="661619"/>
                </a:cubicBezTo>
                <a:cubicBezTo>
                  <a:pt x="103877" y="661603"/>
                  <a:pt x="101203" y="661577"/>
                  <a:pt x="98528" y="661550"/>
                </a:cubicBezTo>
                <a:cubicBezTo>
                  <a:pt x="98528" y="660620"/>
                  <a:pt x="98528" y="659691"/>
                  <a:pt x="98528" y="658732"/>
                </a:cubicBezTo>
                <a:cubicBezTo>
                  <a:pt x="95435" y="658267"/>
                  <a:pt x="92342" y="657802"/>
                  <a:pt x="89155" y="657323"/>
                </a:cubicBezTo>
                <a:cubicBezTo>
                  <a:pt x="89155" y="656393"/>
                  <a:pt x="89155" y="655462"/>
                  <a:pt x="89155" y="654504"/>
                </a:cubicBezTo>
                <a:cubicBezTo>
                  <a:pt x="87790" y="653978"/>
                  <a:pt x="87790" y="653978"/>
                  <a:pt x="86397" y="653442"/>
                </a:cubicBezTo>
                <a:cubicBezTo>
                  <a:pt x="82415" y="651438"/>
                  <a:pt x="80039" y="649232"/>
                  <a:pt x="77049" y="646137"/>
                </a:cubicBezTo>
                <a:cubicBezTo>
                  <a:pt x="75611" y="644679"/>
                  <a:pt x="75611" y="644679"/>
                  <a:pt x="74145" y="643192"/>
                </a:cubicBezTo>
                <a:cubicBezTo>
                  <a:pt x="71972" y="640412"/>
                  <a:pt x="71972" y="640412"/>
                  <a:pt x="71972" y="636185"/>
                </a:cubicBezTo>
                <a:cubicBezTo>
                  <a:pt x="70941" y="636185"/>
                  <a:pt x="69910" y="636185"/>
                  <a:pt x="68848" y="636185"/>
                </a:cubicBezTo>
                <a:cubicBezTo>
                  <a:pt x="64250" y="621928"/>
                  <a:pt x="64695" y="609404"/>
                  <a:pt x="70410" y="595317"/>
                </a:cubicBezTo>
                <a:cubicBezTo>
                  <a:pt x="73096" y="591142"/>
                  <a:pt x="76144" y="587574"/>
                  <a:pt x="79782" y="584043"/>
                </a:cubicBezTo>
                <a:cubicBezTo>
                  <a:pt x="81205" y="582594"/>
                  <a:pt x="81205" y="582594"/>
                  <a:pt x="82656" y="581115"/>
                </a:cubicBezTo>
                <a:cubicBezTo>
                  <a:pt x="91488" y="574027"/>
                  <a:pt x="105133" y="571806"/>
                  <a:pt x="116694" y="572323"/>
                </a:cubicBezTo>
                <a:cubicBezTo>
                  <a:pt x="131556" y="574113"/>
                  <a:pt x="142046" y="580551"/>
                  <a:pt x="152031" y="590385"/>
                </a:cubicBezTo>
                <a:cubicBezTo>
                  <a:pt x="162272" y="600009"/>
                  <a:pt x="176992" y="605062"/>
                  <a:pt x="191474" y="605886"/>
                </a:cubicBezTo>
                <a:cubicBezTo>
                  <a:pt x="196845" y="606192"/>
                  <a:pt x="201203" y="606463"/>
                  <a:pt x="206314" y="608000"/>
                </a:cubicBezTo>
                <a:cubicBezTo>
                  <a:pt x="206314" y="608930"/>
                  <a:pt x="206314" y="609860"/>
                  <a:pt x="206314" y="610818"/>
                </a:cubicBezTo>
                <a:cubicBezTo>
                  <a:pt x="215689" y="610902"/>
                  <a:pt x="225058" y="610898"/>
                  <a:pt x="234433" y="610818"/>
                </a:cubicBezTo>
                <a:cubicBezTo>
                  <a:pt x="236112" y="610813"/>
                  <a:pt x="237791" y="610808"/>
                  <a:pt x="239522" y="610802"/>
                </a:cubicBezTo>
                <a:cubicBezTo>
                  <a:pt x="251005" y="610364"/>
                  <a:pt x="259257" y="606564"/>
                  <a:pt x="268799" y="600954"/>
                </a:cubicBezTo>
                <a:cubicBezTo>
                  <a:pt x="269770" y="600416"/>
                  <a:pt x="270740" y="599879"/>
                  <a:pt x="271740" y="599325"/>
                </a:cubicBezTo>
                <a:cubicBezTo>
                  <a:pt x="279452" y="594430"/>
                  <a:pt x="281420" y="587464"/>
                  <a:pt x="284420" y="579816"/>
                </a:cubicBezTo>
                <a:cubicBezTo>
                  <a:pt x="286047" y="576075"/>
                  <a:pt x="287725" y="572353"/>
                  <a:pt x="289399" y="568630"/>
                </a:cubicBezTo>
                <a:cubicBezTo>
                  <a:pt x="294095" y="558121"/>
                  <a:pt x="299004" y="547070"/>
                  <a:pt x="293958" y="535838"/>
                </a:cubicBezTo>
                <a:cubicBezTo>
                  <a:pt x="292436" y="533533"/>
                  <a:pt x="290781" y="531301"/>
                  <a:pt x="289107" y="529084"/>
                </a:cubicBezTo>
                <a:cubicBezTo>
                  <a:pt x="289107" y="528153"/>
                  <a:pt x="289107" y="527223"/>
                  <a:pt x="289107" y="526265"/>
                </a:cubicBezTo>
                <a:cubicBezTo>
                  <a:pt x="287560" y="525800"/>
                  <a:pt x="286014" y="525335"/>
                  <a:pt x="284420" y="524856"/>
                </a:cubicBezTo>
                <a:cubicBezTo>
                  <a:pt x="283905" y="523461"/>
                  <a:pt x="283389" y="522066"/>
                  <a:pt x="282858" y="520628"/>
                </a:cubicBezTo>
                <a:cubicBezTo>
                  <a:pt x="280750" y="518590"/>
                  <a:pt x="280750" y="518590"/>
                  <a:pt x="277977" y="516577"/>
                </a:cubicBezTo>
                <a:cubicBezTo>
                  <a:pt x="273591" y="513232"/>
                  <a:pt x="269227" y="509874"/>
                  <a:pt x="264925" y="506443"/>
                </a:cubicBezTo>
                <a:cubicBezTo>
                  <a:pt x="253596" y="497433"/>
                  <a:pt x="242132" y="488987"/>
                  <a:pt x="229746" y="481170"/>
                </a:cubicBezTo>
                <a:cubicBezTo>
                  <a:pt x="226846" y="479266"/>
                  <a:pt x="223950" y="477358"/>
                  <a:pt x="221057" y="475445"/>
                </a:cubicBezTo>
                <a:cubicBezTo>
                  <a:pt x="218227" y="473594"/>
                  <a:pt x="215396" y="471744"/>
                  <a:pt x="212563" y="469896"/>
                </a:cubicBezTo>
                <a:cubicBezTo>
                  <a:pt x="211351" y="469102"/>
                  <a:pt x="210138" y="468309"/>
                  <a:pt x="208889" y="467491"/>
                </a:cubicBezTo>
                <a:cubicBezTo>
                  <a:pt x="202848" y="463599"/>
                  <a:pt x="196732" y="459888"/>
                  <a:pt x="190406" y="456382"/>
                </a:cubicBezTo>
                <a:cubicBezTo>
                  <a:pt x="189263" y="455748"/>
                  <a:pt x="188119" y="455114"/>
                  <a:pt x="186942" y="454460"/>
                </a:cubicBezTo>
                <a:cubicBezTo>
                  <a:pt x="184648" y="453196"/>
                  <a:pt x="182348" y="451941"/>
                  <a:pt x="180041" y="450696"/>
                </a:cubicBezTo>
                <a:cubicBezTo>
                  <a:pt x="177292" y="449185"/>
                  <a:pt x="174612" y="447571"/>
                  <a:pt x="171948" y="445940"/>
                </a:cubicBezTo>
                <a:cubicBezTo>
                  <a:pt x="171948" y="445009"/>
                  <a:pt x="171948" y="444079"/>
                  <a:pt x="171948" y="443121"/>
                </a:cubicBezTo>
                <a:cubicBezTo>
                  <a:pt x="170804" y="442985"/>
                  <a:pt x="169660" y="442848"/>
                  <a:pt x="168482" y="442708"/>
                </a:cubicBezTo>
                <a:cubicBezTo>
                  <a:pt x="163547" y="441576"/>
                  <a:pt x="161063" y="439897"/>
                  <a:pt x="157107" y="437044"/>
                </a:cubicBezTo>
                <a:cubicBezTo>
                  <a:pt x="149345" y="431895"/>
                  <a:pt x="141843" y="429626"/>
                  <a:pt x="132559" y="427510"/>
                </a:cubicBezTo>
                <a:cubicBezTo>
                  <a:pt x="128067" y="426168"/>
                  <a:pt x="126607" y="425060"/>
                  <a:pt x="123522" y="421983"/>
                </a:cubicBezTo>
                <a:cubicBezTo>
                  <a:pt x="118310" y="419033"/>
                  <a:pt x="114076" y="418794"/>
                  <a:pt x="107986" y="418730"/>
                </a:cubicBezTo>
                <a:cubicBezTo>
                  <a:pt x="106174" y="418694"/>
                  <a:pt x="104362" y="418659"/>
                  <a:pt x="102494" y="418622"/>
                </a:cubicBezTo>
                <a:cubicBezTo>
                  <a:pt x="98715" y="418573"/>
                  <a:pt x="94936" y="418529"/>
                  <a:pt x="91157" y="418490"/>
                </a:cubicBezTo>
                <a:cubicBezTo>
                  <a:pt x="78470" y="418231"/>
                  <a:pt x="65485" y="417940"/>
                  <a:pt x="55277" y="410445"/>
                </a:cubicBezTo>
                <a:cubicBezTo>
                  <a:pt x="54084" y="409137"/>
                  <a:pt x="52893" y="407829"/>
                  <a:pt x="51665" y="406481"/>
                </a:cubicBezTo>
                <a:cubicBezTo>
                  <a:pt x="49752" y="404480"/>
                  <a:pt x="47831" y="402483"/>
                  <a:pt x="45904" y="400492"/>
                </a:cubicBezTo>
                <a:cubicBezTo>
                  <a:pt x="44996" y="399526"/>
                  <a:pt x="44088" y="398559"/>
                  <a:pt x="43152" y="397564"/>
                </a:cubicBezTo>
                <a:cubicBezTo>
                  <a:pt x="40865" y="395062"/>
                  <a:pt x="40865" y="395062"/>
                  <a:pt x="37605" y="393798"/>
                </a:cubicBezTo>
                <a:lnTo>
                  <a:pt x="38995" y="368712"/>
                </a:lnTo>
                <a:lnTo>
                  <a:pt x="38666" y="369724"/>
                </a:lnTo>
                <a:cubicBezTo>
                  <a:pt x="37003" y="374506"/>
                  <a:pt x="36202" y="379113"/>
                  <a:pt x="35542" y="384081"/>
                </a:cubicBezTo>
                <a:cubicBezTo>
                  <a:pt x="30313" y="376119"/>
                  <a:pt x="31188" y="366593"/>
                  <a:pt x="33326" y="357791"/>
                </a:cubicBezTo>
                <a:cubicBezTo>
                  <a:pt x="37176" y="347767"/>
                  <a:pt x="44536" y="340769"/>
                  <a:pt x="52725" y="333349"/>
                </a:cubicBezTo>
                <a:lnTo>
                  <a:pt x="55222" y="334475"/>
                </a:lnTo>
                <a:lnTo>
                  <a:pt x="56222" y="333347"/>
                </a:lnTo>
                <a:lnTo>
                  <a:pt x="55871" y="333347"/>
                </a:lnTo>
                <a:lnTo>
                  <a:pt x="56346" y="333207"/>
                </a:lnTo>
                <a:lnTo>
                  <a:pt x="56351" y="333202"/>
                </a:lnTo>
                <a:lnTo>
                  <a:pt x="56365" y="333202"/>
                </a:lnTo>
                <a:lnTo>
                  <a:pt x="79571" y="326360"/>
                </a:lnTo>
                <a:cubicBezTo>
                  <a:pt x="87782" y="326037"/>
                  <a:pt x="96164" y="327572"/>
                  <a:pt x="104297" y="330529"/>
                </a:cubicBezTo>
                <a:lnTo>
                  <a:pt x="107170" y="334417"/>
                </a:lnTo>
                <a:lnTo>
                  <a:pt x="109366" y="336046"/>
                </a:lnTo>
                <a:lnTo>
                  <a:pt x="109463" y="336020"/>
                </a:lnTo>
                <a:lnTo>
                  <a:pt x="109463" y="336118"/>
                </a:lnTo>
                <a:lnTo>
                  <a:pt x="115226" y="340394"/>
                </a:lnTo>
                <a:lnTo>
                  <a:pt x="114010" y="340120"/>
                </a:lnTo>
                <a:lnTo>
                  <a:pt x="133285" y="357423"/>
                </a:lnTo>
                <a:cubicBezTo>
                  <a:pt x="142471" y="373187"/>
                  <a:pt x="155564" y="382744"/>
                  <a:pt x="173509" y="389571"/>
                </a:cubicBezTo>
                <a:cubicBezTo>
                  <a:pt x="176254" y="390785"/>
                  <a:pt x="178988" y="392017"/>
                  <a:pt x="181711" y="393270"/>
                </a:cubicBezTo>
                <a:cubicBezTo>
                  <a:pt x="182964" y="393833"/>
                  <a:pt x="184216" y="394396"/>
                  <a:pt x="185507" y="394976"/>
                </a:cubicBezTo>
                <a:cubicBezTo>
                  <a:pt x="187897" y="396058"/>
                  <a:pt x="190281" y="397151"/>
                  <a:pt x="192658" y="398257"/>
                </a:cubicBezTo>
                <a:cubicBezTo>
                  <a:pt x="193749" y="398762"/>
                  <a:pt x="194841" y="399267"/>
                  <a:pt x="195966" y="399788"/>
                </a:cubicBezTo>
                <a:cubicBezTo>
                  <a:pt x="196912" y="400231"/>
                  <a:pt x="197858" y="400674"/>
                  <a:pt x="198833" y="401131"/>
                </a:cubicBezTo>
                <a:cubicBezTo>
                  <a:pt x="201808" y="402326"/>
                  <a:pt x="204701" y="403032"/>
                  <a:pt x="207877" y="403663"/>
                </a:cubicBezTo>
                <a:cubicBezTo>
                  <a:pt x="207877" y="404593"/>
                  <a:pt x="207877" y="405523"/>
                  <a:pt x="207877" y="406481"/>
                </a:cubicBezTo>
                <a:cubicBezTo>
                  <a:pt x="221233" y="411377"/>
                  <a:pt x="234752" y="415503"/>
                  <a:pt x="248492" y="419428"/>
                </a:cubicBezTo>
                <a:cubicBezTo>
                  <a:pt x="250298" y="419947"/>
                  <a:pt x="252104" y="420466"/>
                  <a:pt x="253965" y="421000"/>
                </a:cubicBezTo>
                <a:cubicBezTo>
                  <a:pt x="258388" y="422270"/>
                  <a:pt x="262812" y="423537"/>
                  <a:pt x="267237" y="424801"/>
                </a:cubicBezTo>
                <a:lnTo>
                  <a:pt x="267237" y="426451"/>
                </a:lnTo>
                <a:lnTo>
                  <a:pt x="288701" y="429217"/>
                </a:lnTo>
                <a:cubicBezTo>
                  <a:pt x="288701" y="430147"/>
                  <a:pt x="288701" y="431078"/>
                  <a:pt x="288701" y="432036"/>
                </a:cubicBezTo>
                <a:cubicBezTo>
                  <a:pt x="301487" y="433472"/>
                  <a:pt x="314148" y="433662"/>
                  <a:pt x="327010" y="433628"/>
                </a:cubicBezTo>
                <a:cubicBezTo>
                  <a:pt x="330502" y="433621"/>
                  <a:pt x="333994" y="433628"/>
                  <a:pt x="337486" y="433637"/>
                </a:cubicBezTo>
                <a:cubicBezTo>
                  <a:pt x="339734" y="433637"/>
                  <a:pt x="341982" y="433635"/>
                  <a:pt x="344229" y="433632"/>
                </a:cubicBezTo>
                <a:cubicBezTo>
                  <a:pt x="347246" y="433630"/>
                  <a:pt x="347246" y="433630"/>
                  <a:pt x="350323" y="433627"/>
                </a:cubicBezTo>
                <a:cubicBezTo>
                  <a:pt x="355445" y="433459"/>
                  <a:pt x="360220" y="432915"/>
                  <a:pt x="365245" y="432036"/>
                </a:cubicBezTo>
                <a:lnTo>
                  <a:pt x="360797" y="433759"/>
                </a:lnTo>
                <a:lnTo>
                  <a:pt x="365650" y="433257"/>
                </a:lnTo>
                <a:cubicBezTo>
                  <a:pt x="366166" y="431861"/>
                  <a:pt x="366682" y="430466"/>
                  <a:pt x="367213" y="429029"/>
                </a:cubicBezTo>
                <a:cubicBezTo>
                  <a:pt x="369854" y="427628"/>
                  <a:pt x="372501" y="426234"/>
                  <a:pt x="375188" y="424906"/>
                </a:cubicBezTo>
                <a:cubicBezTo>
                  <a:pt x="390245" y="417204"/>
                  <a:pt x="397438" y="403183"/>
                  <a:pt x="404704" y="389571"/>
                </a:cubicBezTo>
                <a:cubicBezTo>
                  <a:pt x="405219" y="389105"/>
                  <a:pt x="405734" y="388641"/>
                  <a:pt x="406265" y="388161"/>
                </a:cubicBezTo>
                <a:cubicBezTo>
                  <a:pt x="406663" y="382152"/>
                  <a:pt x="406555" y="376125"/>
                  <a:pt x="406559" y="370106"/>
                </a:cubicBezTo>
                <a:cubicBezTo>
                  <a:pt x="406578" y="368412"/>
                  <a:pt x="406597" y="366718"/>
                  <a:pt x="406617" y="364973"/>
                </a:cubicBezTo>
                <a:cubicBezTo>
                  <a:pt x="406620" y="363344"/>
                  <a:pt x="406622" y="361715"/>
                  <a:pt x="406626" y="360038"/>
                </a:cubicBezTo>
                <a:cubicBezTo>
                  <a:pt x="406632" y="358541"/>
                  <a:pt x="406638" y="357045"/>
                  <a:pt x="406645" y="355503"/>
                </a:cubicBezTo>
                <a:cubicBezTo>
                  <a:pt x="406264" y="351503"/>
                  <a:pt x="405326" y="349318"/>
                  <a:pt x="403142" y="345885"/>
                </a:cubicBezTo>
                <a:cubicBezTo>
                  <a:pt x="402583" y="343484"/>
                  <a:pt x="402067" y="341075"/>
                  <a:pt x="401579" y="338663"/>
                </a:cubicBezTo>
                <a:cubicBezTo>
                  <a:pt x="399365" y="330323"/>
                  <a:pt x="395538" y="323370"/>
                  <a:pt x="390938" y="315939"/>
                </a:cubicBezTo>
                <a:cubicBezTo>
                  <a:pt x="390290" y="314890"/>
                  <a:pt x="389642" y="313842"/>
                  <a:pt x="388976" y="312762"/>
                </a:cubicBezTo>
                <a:cubicBezTo>
                  <a:pt x="385623" y="307500"/>
                  <a:pt x="382070" y="302607"/>
                  <a:pt x="377934" y="297817"/>
                </a:cubicBezTo>
                <a:cubicBezTo>
                  <a:pt x="373788" y="292978"/>
                  <a:pt x="371423" y="288111"/>
                  <a:pt x="368775" y="282470"/>
                </a:cubicBezTo>
                <a:cubicBezTo>
                  <a:pt x="366035" y="278585"/>
                  <a:pt x="362994" y="274937"/>
                  <a:pt x="359890" y="271284"/>
                </a:cubicBezTo>
                <a:cubicBezTo>
                  <a:pt x="359059" y="270296"/>
                  <a:pt x="358230" y="269307"/>
                  <a:pt x="357374" y="268288"/>
                </a:cubicBezTo>
                <a:cubicBezTo>
                  <a:pt x="351312" y="261177"/>
                  <a:pt x="344882" y="254704"/>
                  <a:pt x="337533" y="248649"/>
                </a:cubicBezTo>
                <a:cubicBezTo>
                  <a:pt x="336767" y="247896"/>
                  <a:pt x="336002" y="247144"/>
                  <a:pt x="335214" y="246369"/>
                </a:cubicBezTo>
                <a:cubicBezTo>
                  <a:pt x="332597" y="243963"/>
                  <a:pt x="332597" y="243963"/>
                  <a:pt x="327085" y="242571"/>
                </a:cubicBezTo>
                <a:cubicBezTo>
                  <a:pt x="309670" y="236923"/>
                  <a:pt x="296614" y="222751"/>
                  <a:pt x="288785" y="207968"/>
                </a:cubicBezTo>
                <a:cubicBezTo>
                  <a:pt x="286673" y="202851"/>
                  <a:pt x="286348" y="197968"/>
                  <a:pt x="286373" y="192544"/>
                </a:cubicBezTo>
                <a:cubicBezTo>
                  <a:pt x="286377" y="191437"/>
                  <a:pt x="286381" y="190330"/>
                  <a:pt x="286385" y="189190"/>
                </a:cubicBezTo>
                <a:cubicBezTo>
                  <a:pt x="286881" y="178340"/>
                  <a:pt x="291581" y="171728"/>
                  <a:pt x="300042" y="164095"/>
                </a:cubicBezTo>
                <a:cubicBezTo>
                  <a:pt x="301386" y="162752"/>
                  <a:pt x="301386" y="162752"/>
                  <a:pt x="302757" y="161381"/>
                </a:cubicBezTo>
                <a:cubicBezTo>
                  <a:pt x="312597" y="152504"/>
                  <a:pt x="325185" y="152675"/>
                  <a:pt x="338411" y="152293"/>
                </a:cubicBezTo>
                <a:cubicBezTo>
                  <a:pt x="350839" y="152463"/>
                  <a:pt x="359094" y="154554"/>
                  <a:pt x="368482" y="161893"/>
                </a:cubicBezTo>
                <a:cubicBezTo>
                  <a:pt x="369609" y="163085"/>
                  <a:pt x="370737" y="164277"/>
                  <a:pt x="371899" y="165505"/>
                </a:cubicBezTo>
                <a:cubicBezTo>
                  <a:pt x="372962" y="166522"/>
                  <a:pt x="374026" y="167539"/>
                  <a:pt x="375121" y="168587"/>
                </a:cubicBezTo>
                <a:cubicBezTo>
                  <a:pt x="381050" y="176351"/>
                  <a:pt x="384520" y="184328"/>
                  <a:pt x="384982" y="193777"/>
                </a:cubicBezTo>
                <a:cubicBezTo>
                  <a:pt x="385464" y="201192"/>
                  <a:pt x="387638" y="207607"/>
                  <a:pt x="390352" y="214563"/>
                </a:cubicBezTo>
                <a:cubicBezTo>
                  <a:pt x="390934" y="216079"/>
                  <a:pt x="390934" y="216079"/>
                  <a:pt x="391529" y="217626"/>
                </a:cubicBezTo>
                <a:cubicBezTo>
                  <a:pt x="394082" y="223926"/>
                  <a:pt x="397412" y="228969"/>
                  <a:pt x="401579" y="234556"/>
                </a:cubicBezTo>
                <a:cubicBezTo>
                  <a:pt x="401579" y="235952"/>
                  <a:pt x="401579" y="237347"/>
                  <a:pt x="401579" y="238784"/>
                </a:cubicBezTo>
                <a:cubicBezTo>
                  <a:pt x="402884" y="239263"/>
                  <a:pt x="402884" y="239263"/>
                  <a:pt x="404215" y="239753"/>
                </a:cubicBezTo>
                <a:cubicBezTo>
                  <a:pt x="410099" y="242765"/>
                  <a:pt x="414395" y="246733"/>
                  <a:pt x="417811" y="251996"/>
                </a:cubicBezTo>
                <a:cubicBezTo>
                  <a:pt x="420462" y="255897"/>
                  <a:pt x="423407" y="258959"/>
                  <a:pt x="426866" y="262300"/>
                </a:cubicBezTo>
                <a:cubicBezTo>
                  <a:pt x="435101" y="270407"/>
                  <a:pt x="442641" y="278936"/>
                  <a:pt x="450097" y="287628"/>
                </a:cubicBezTo>
                <a:cubicBezTo>
                  <a:pt x="453081" y="291117"/>
                  <a:pt x="453081" y="291117"/>
                  <a:pt x="457425" y="293920"/>
                </a:cubicBezTo>
                <a:cubicBezTo>
                  <a:pt x="458585" y="294792"/>
                  <a:pt x="459745" y="295664"/>
                  <a:pt x="460940" y="296562"/>
                </a:cubicBezTo>
                <a:cubicBezTo>
                  <a:pt x="460940" y="297957"/>
                  <a:pt x="460940" y="299352"/>
                  <a:pt x="460940" y="300790"/>
                </a:cubicBezTo>
                <a:cubicBezTo>
                  <a:pt x="465063" y="302782"/>
                  <a:pt x="468862" y="304133"/>
                  <a:pt x="473437" y="305018"/>
                </a:cubicBezTo>
                <a:cubicBezTo>
                  <a:pt x="473437" y="305947"/>
                  <a:pt x="473437" y="306877"/>
                  <a:pt x="473437" y="307836"/>
                </a:cubicBezTo>
                <a:cubicBezTo>
                  <a:pt x="475581" y="308519"/>
                  <a:pt x="477730" y="309193"/>
                  <a:pt x="479881" y="309862"/>
                </a:cubicBezTo>
                <a:cubicBezTo>
                  <a:pt x="481077" y="310237"/>
                  <a:pt x="482273" y="310614"/>
                  <a:pt x="483505" y="311001"/>
                </a:cubicBezTo>
                <a:cubicBezTo>
                  <a:pt x="505448" y="316843"/>
                  <a:pt x="527690" y="314359"/>
                  <a:pt x="548419" y="306427"/>
                </a:cubicBezTo>
                <a:cubicBezTo>
                  <a:pt x="549548" y="305998"/>
                  <a:pt x="550678" y="305569"/>
                  <a:pt x="551842" y="305127"/>
                </a:cubicBezTo>
                <a:cubicBezTo>
                  <a:pt x="555376" y="303227"/>
                  <a:pt x="557584" y="300980"/>
                  <a:pt x="560232" y="298148"/>
                </a:cubicBezTo>
                <a:cubicBezTo>
                  <a:pt x="561137" y="297192"/>
                  <a:pt x="562041" y="296236"/>
                  <a:pt x="562972" y="295252"/>
                </a:cubicBezTo>
                <a:cubicBezTo>
                  <a:pt x="564755" y="293274"/>
                  <a:pt x="566459" y="291237"/>
                  <a:pt x="568086" y="289152"/>
                </a:cubicBezTo>
                <a:cubicBezTo>
                  <a:pt x="568813" y="288342"/>
                  <a:pt x="569539" y="287532"/>
                  <a:pt x="570289" y="286697"/>
                </a:cubicBezTo>
                <a:cubicBezTo>
                  <a:pt x="571319" y="286697"/>
                  <a:pt x="572350" y="286697"/>
                  <a:pt x="573413" y="286697"/>
                </a:cubicBezTo>
                <a:cubicBezTo>
                  <a:pt x="577408" y="276984"/>
                  <a:pt x="577197" y="267284"/>
                  <a:pt x="577220" y="257016"/>
                </a:cubicBezTo>
                <a:cubicBezTo>
                  <a:pt x="577227" y="255625"/>
                  <a:pt x="577227" y="255625"/>
                  <a:pt x="577235" y="254206"/>
                </a:cubicBezTo>
                <a:cubicBezTo>
                  <a:pt x="577257" y="237553"/>
                  <a:pt x="574604" y="222055"/>
                  <a:pt x="569443" y="206049"/>
                </a:cubicBezTo>
                <a:cubicBezTo>
                  <a:pt x="568726" y="203553"/>
                  <a:pt x="568726" y="203553"/>
                  <a:pt x="568726" y="200735"/>
                </a:cubicBezTo>
                <a:cubicBezTo>
                  <a:pt x="567695" y="200735"/>
                  <a:pt x="566664" y="200735"/>
                  <a:pt x="565602" y="200735"/>
                </a:cubicBezTo>
                <a:cubicBezTo>
                  <a:pt x="563274" y="195295"/>
                  <a:pt x="561092" y="190108"/>
                  <a:pt x="559549" y="184441"/>
                </a:cubicBezTo>
                <a:cubicBezTo>
                  <a:pt x="555572" y="173477"/>
                  <a:pt x="547043" y="167105"/>
                  <a:pt x="537484" y="159867"/>
                </a:cubicBezTo>
                <a:cubicBezTo>
                  <a:pt x="533579" y="156609"/>
                  <a:pt x="533579" y="156609"/>
                  <a:pt x="531235" y="154230"/>
                </a:cubicBezTo>
                <a:cubicBezTo>
                  <a:pt x="531235" y="153301"/>
                  <a:pt x="531235" y="152371"/>
                  <a:pt x="531235" y="151412"/>
                </a:cubicBezTo>
                <a:cubicBezTo>
                  <a:pt x="529689" y="150947"/>
                  <a:pt x="528143" y="150482"/>
                  <a:pt x="526549" y="150003"/>
                </a:cubicBezTo>
                <a:cubicBezTo>
                  <a:pt x="519904" y="137298"/>
                  <a:pt x="519105" y="120357"/>
                  <a:pt x="524304" y="107198"/>
                </a:cubicBezTo>
                <a:cubicBezTo>
                  <a:pt x="529443" y="97376"/>
                  <a:pt x="535781" y="90193"/>
                  <a:pt x="547052" y="85972"/>
                </a:cubicBezTo>
                <a:cubicBezTo>
                  <a:pt x="559924" y="81835"/>
                  <a:pt x="575221" y="79746"/>
                  <a:pt x="588460" y="83538"/>
                </a:cubicBezTo>
                <a:cubicBezTo>
                  <a:pt x="601643" y="89713"/>
                  <a:pt x="611835" y="99450"/>
                  <a:pt x="617152" y="111954"/>
                </a:cubicBezTo>
                <a:cubicBezTo>
                  <a:pt x="617935" y="116052"/>
                  <a:pt x="617954" y="120024"/>
                  <a:pt x="617884" y="124175"/>
                </a:cubicBezTo>
                <a:cubicBezTo>
                  <a:pt x="617896" y="125307"/>
                  <a:pt x="617906" y="126440"/>
                  <a:pt x="617917" y="127607"/>
                </a:cubicBezTo>
                <a:cubicBezTo>
                  <a:pt x="617963" y="132394"/>
                  <a:pt x="617938" y="137181"/>
                  <a:pt x="617919" y="141969"/>
                </a:cubicBezTo>
                <a:cubicBezTo>
                  <a:pt x="617899" y="160184"/>
                  <a:pt x="619422" y="175572"/>
                  <a:pt x="630625" y="191311"/>
                </a:cubicBezTo>
                <a:cubicBezTo>
                  <a:pt x="633753" y="195891"/>
                  <a:pt x="636431" y="199900"/>
                  <a:pt x="637850" y="205139"/>
                </a:cubicBezTo>
                <a:cubicBezTo>
                  <a:pt x="638615" y="209623"/>
                  <a:pt x="638615" y="209623"/>
                  <a:pt x="643708" y="212009"/>
                </a:cubicBezTo>
                <a:cubicBezTo>
                  <a:pt x="645380" y="214563"/>
                  <a:pt x="645380" y="214563"/>
                  <a:pt x="647027" y="217645"/>
                </a:cubicBezTo>
                <a:cubicBezTo>
                  <a:pt x="652549" y="227016"/>
                  <a:pt x="660443" y="235696"/>
                  <a:pt x="670264" y="241603"/>
                </a:cubicBezTo>
                <a:cubicBezTo>
                  <a:pt x="670264" y="242532"/>
                  <a:pt x="670264" y="243462"/>
                  <a:pt x="670264" y="244421"/>
                </a:cubicBezTo>
                <a:cubicBezTo>
                  <a:pt x="672036" y="244857"/>
                  <a:pt x="673808" y="245293"/>
                  <a:pt x="675634" y="245742"/>
                </a:cubicBezTo>
                <a:cubicBezTo>
                  <a:pt x="681199" y="247239"/>
                  <a:pt x="681199" y="247239"/>
                  <a:pt x="682761" y="248649"/>
                </a:cubicBezTo>
                <a:cubicBezTo>
                  <a:pt x="704487" y="252065"/>
                  <a:pt x="732606" y="256402"/>
                  <a:pt x="752092" y="245076"/>
                </a:cubicBezTo>
                <a:cubicBezTo>
                  <a:pt x="754252" y="243599"/>
                  <a:pt x="756372" y="242073"/>
                  <a:pt x="758433" y="240485"/>
                </a:cubicBezTo>
                <a:cubicBezTo>
                  <a:pt x="760867" y="238784"/>
                  <a:pt x="760867" y="238784"/>
                  <a:pt x="763991" y="238784"/>
                </a:cubicBezTo>
                <a:cubicBezTo>
                  <a:pt x="764647" y="237296"/>
                  <a:pt x="764647" y="237296"/>
                  <a:pt x="765315" y="235778"/>
                </a:cubicBezTo>
                <a:cubicBezTo>
                  <a:pt x="767151" y="231659"/>
                  <a:pt x="769030" y="227557"/>
                  <a:pt x="770923" y="223459"/>
                </a:cubicBezTo>
                <a:cubicBezTo>
                  <a:pt x="771608" y="221966"/>
                  <a:pt x="772292" y="220472"/>
                  <a:pt x="772998" y="218934"/>
                </a:cubicBezTo>
                <a:cubicBezTo>
                  <a:pt x="774429" y="215885"/>
                  <a:pt x="775968" y="212878"/>
                  <a:pt x="777562" y="209895"/>
                </a:cubicBezTo>
                <a:cubicBezTo>
                  <a:pt x="787607" y="185732"/>
                  <a:pt x="788559" y="149501"/>
                  <a:pt x="781175" y="124637"/>
                </a:cubicBezTo>
                <a:cubicBezTo>
                  <a:pt x="780144" y="124637"/>
                  <a:pt x="779113" y="124637"/>
                  <a:pt x="778051" y="124637"/>
                </a:cubicBezTo>
                <a:cubicBezTo>
                  <a:pt x="768501" y="110080"/>
                  <a:pt x="762898" y="96653"/>
                  <a:pt x="767116" y="79542"/>
                </a:cubicBezTo>
                <a:cubicBezTo>
                  <a:pt x="772286" y="69057"/>
                  <a:pt x="781456" y="58252"/>
                  <a:pt x="793379" y="54000"/>
                </a:cubicBezTo>
                <a:cubicBezTo>
                  <a:pt x="808369" y="49250"/>
                  <a:pt x="826058" y="49579"/>
                  <a:pt x="840688" y="55503"/>
                </a:cubicBezTo>
                <a:cubicBezTo>
                  <a:pt x="845183" y="57759"/>
                  <a:pt x="848037" y="60575"/>
                  <a:pt x="851470" y="64040"/>
                </a:cubicBezTo>
                <a:cubicBezTo>
                  <a:pt x="852721" y="65272"/>
                  <a:pt x="852721" y="65272"/>
                  <a:pt x="853997" y="66529"/>
                </a:cubicBezTo>
                <a:cubicBezTo>
                  <a:pt x="858396" y="71505"/>
                  <a:pt x="860490" y="76640"/>
                  <a:pt x="861488" y="82057"/>
                </a:cubicBezTo>
                <a:lnTo>
                  <a:pt x="861937" y="90492"/>
                </a:lnTo>
                <a:lnTo>
                  <a:pt x="863826" y="100715"/>
                </a:lnTo>
                <a:cubicBezTo>
                  <a:pt x="862141" y="107853"/>
                  <a:pt x="859866" y="114857"/>
                  <a:pt x="857577" y="121853"/>
                </a:cubicBezTo>
                <a:cubicBezTo>
                  <a:pt x="857062" y="121853"/>
                  <a:pt x="856547" y="121853"/>
                  <a:pt x="856015" y="121853"/>
                </a:cubicBezTo>
                <a:cubicBezTo>
                  <a:pt x="855731" y="120401"/>
                  <a:pt x="855731" y="120401"/>
                  <a:pt x="855442" y="118919"/>
                </a:cubicBezTo>
                <a:lnTo>
                  <a:pt x="855417" y="118798"/>
                </a:lnTo>
                <a:lnTo>
                  <a:pt x="856157" y="124637"/>
                </a:lnTo>
                <a:lnTo>
                  <a:pt x="850623" y="134701"/>
                </a:lnTo>
                <a:lnTo>
                  <a:pt x="851325" y="135968"/>
                </a:lnTo>
                <a:cubicBezTo>
                  <a:pt x="850851" y="137246"/>
                  <a:pt x="850376" y="138525"/>
                  <a:pt x="849886" y="139843"/>
                </a:cubicBezTo>
                <a:cubicBezTo>
                  <a:pt x="848171" y="144505"/>
                  <a:pt x="847798" y="148002"/>
                  <a:pt x="847786" y="152889"/>
                </a:cubicBezTo>
                <a:cubicBezTo>
                  <a:pt x="847779" y="154500"/>
                  <a:pt x="847773" y="156109"/>
                  <a:pt x="847767" y="157768"/>
                </a:cubicBezTo>
                <a:cubicBezTo>
                  <a:pt x="847782" y="159468"/>
                  <a:pt x="847796" y="161167"/>
                  <a:pt x="847810" y="162919"/>
                </a:cubicBezTo>
                <a:cubicBezTo>
                  <a:pt x="847821" y="165546"/>
                  <a:pt x="847821" y="165546"/>
                  <a:pt x="847832" y="168227"/>
                </a:cubicBezTo>
                <a:cubicBezTo>
                  <a:pt x="847980" y="181934"/>
                  <a:pt x="849003" y="195419"/>
                  <a:pt x="850903" y="209013"/>
                </a:cubicBezTo>
                <a:lnTo>
                  <a:pt x="852880" y="224692"/>
                </a:lnTo>
                <a:lnTo>
                  <a:pt x="854595" y="224692"/>
                </a:lnTo>
                <a:cubicBezTo>
                  <a:pt x="855086" y="225542"/>
                  <a:pt x="855577" y="226392"/>
                  <a:pt x="856083" y="227268"/>
                </a:cubicBezTo>
                <a:cubicBezTo>
                  <a:pt x="862358" y="237839"/>
                  <a:pt x="866924" y="242785"/>
                  <a:pt x="879588" y="247239"/>
                </a:cubicBezTo>
                <a:cubicBezTo>
                  <a:pt x="881642" y="248025"/>
                  <a:pt x="883692" y="248817"/>
                  <a:pt x="885739" y="249618"/>
                </a:cubicBezTo>
                <a:cubicBezTo>
                  <a:pt x="887318" y="250227"/>
                  <a:pt x="888897" y="250838"/>
                  <a:pt x="890523" y="251467"/>
                </a:cubicBezTo>
                <a:cubicBezTo>
                  <a:pt x="890523" y="252397"/>
                  <a:pt x="890523" y="253327"/>
                  <a:pt x="890523" y="254285"/>
                </a:cubicBezTo>
                <a:cubicBezTo>
                  <a:pt x="900347" y="257061"/>
                  <a:pt x="910127" y="259425"/>
                  <a:pt x="920203" y="261332"/>
                </a:cubicBezTo>
                <a:cubicBezTo>
                  <a:pt x="920203" y="261796"/>
                  <a:pt x="920203" y="262262"/>
                  <a:pt x="920203" y="262741"/>
                </a:cubicBezTo>
                <a:cubicBezTo>
                  <a:pt x="917111" y="262741"/>
                  <a:pt x="914018" y="262741"/>
                  <a:pt x="910831" y="262741"/>
                </a:cubicBezTo>
                <a:lnTo>
                  <a:pt x="910831" y="262864"/>
                </a:lnTo>
                <a:lnTo>
                  <a:pt x="927993" y="264177"/>
                </a:lnTo>
                <a:lnTo>
                  <a:pt x="939273" y="265285"/>
                </a:lnTo>
                <a:lnTo>
                  <a:pt x="940456" y="265191"/>
                </a:lnTo>
                <a:cubicBezTo>
                  <a:pt x="962552" y="263054"/>
                  <a:pt x="974979" y="255295"/>
                  <a:pt x="991622" y="242329"/>
                </a:cubicBezTo>
                <a:lnTo>
                  <a:pt x="1000803" y="236505"/>
                </a:lnTo>
                <a:lnTo>
                  <a:pt x="999806" y="236055"/>
                </a:lnTo>
                <a:cubicBezTo>
                  <a:pt x="1000902" y="234997"/>
                  <a:pt x="1001997" y="233941"/>
                  <a:pt x="1003126" y="232851"/>
                </a:cubicBezTo>
                <a:cubicBezTo>
                  <a:pt x="1012364" y="223880"/>
                  <a:pt x="1021184" y="214752"/>
                  <a:pt x="1029487" y="205052"/>
                </a:cubicBezTo>
                <a:lnTo>
                  <a:pt x="1029872" y="206442"/>
                </a:lnTo>
                <a:lnTo>
                  <a:pt x="1031614" y="203719"/>
                </a:lnTo>
                <a:cubicBezTo>
                  <a:pt x="1033221" y="199204"/>
                  <a:pt x="1035713" y="196017"/>
                  <a:pt x="1038924" y="192280"/>
                </a:cubicBezTo>
                <a:cubicBezTo>
                  <a:pt x="1039956" y="191815"/>
                  <a:pt x="1040987" y="191349"/>
                  <a:pt x="1042049" y="190870"/>
                </a:cubicBezTo>
                <a:cubicBezTo>
                  <a:pt x="1043161" y="188473"/>
                  <a:pt x="1043161" y="188473"/>
                  <a:pt x="1044294" y="186026"/>
                </a:cubicBezTo>
                <a:cubicBezTo>
                  <a:pt x="1046735" y="181006"/>
                  <a:pt x="1046735" y="181006"/>
                  <a:pt x="1051422" y="178188"/>
                </a:cubicBezTo>
                <a:cubicBezTo>
                  <a:pt x="1052553" y="175286"/>
                  <a:pt x="1052553" y="175286"/>
                  <a:pt x="1052984" y="172551"/>
                </a:cubicBezTo>
                <a:cubicBezTo>
                  <a:pt x="1054014" y="172551"/>
                  <a:pt x="1055046" y="172551"/>
                  <a:pt x="1056108" y="172551"/>
                </a:cubicBezTo>
                <a:cubicBezTo>
                  <a:pt x="1057139" y="169295"/>
                  <a:pt x="1058170" y="166040"/>
                  <a:pt x="1059232" y="162686"/>
                </a:cubicBezTo>
                <a:cubicBezTo>
                  <a:pt x="1060263" y="162686"/>
                  <a:pt x="1061295" y="162686"/>
                  <a:pt x="1062357" y="162686"/>
                </a:cubicBezTo>
                <a:cubicBezTo>
                  <a:pt x="1062755" y="161484"/>
                  <a:pt x="1062755" y="161484"/>
                  <a:pt x="1063162" y="160258"/>
                </a:cubicBezTo>
                <a:cubicBezTo>
                  <a:pt x="1065716" y="152917"/>
                  <a:pt x="1068813" y="146686"/>
                  <a:pt x="1073292" y="140138"/>
                </a:cubicBezTo>
                <a:cubicBezTo>
                  <a:pt x="1074322" y="140138"/>
                  <a:pt x="1075353" y="140138"/>
                  <a:pt x="1076415" y="140138"/>
                </a:cubicBezTo>
                <a:cubicBezTo>
                  <a:pt x="1079808" y="132748"/>
                  <a:pt x="1082509" y="125160"/>
                  <a:pt x="1085294" y="117569"/>
                </a:cubicBezTo>
                <a:cubicBezTo>
                  <a:pt x="1085972" y="116181"/>
                  <a:pt x="1086651" y="114793"/>
                  <a:pt x="1087350" y="113363"/>
                </a:cubicBezTo>
                <a:cubicBezTo>
                  <a:pt x="1089671" y="112666"/>
                  <a:pt x="1089671" y="112666"/>
                  <a:pt x="1092037" y="111954"/>
                </a:cubicBezTo>
                <a:cubicBezTo>
                  <a:pt x="1092230" y="110879"/>
                  <a:pt x="1092423" y="109803"/>
                  <a:pt x="1092623" y="108695"/>
                </a:cubicBezTo>
                <a:cubicBezTo>
                  <a:pt x="1093599" y="104908"/>
                  <a:pt x="1093599" y="104908"/>
                  <a:pt x="1096723" y="100680"/>
                </a:cubicBezTo>
                <a:cubicBezTo>
                  <a:pt x="1097207" y="99140"/>
                  <a:pt x="1097689" y="97599"/>
                  <a:pt x="1098188" y="96013"/>
                </a:cubicBezTo>
                <a:cubicBezTo>
                  <a:pt x="1099847" y="90815"/>
                  <a:pt x="1099847" y="90815"/>
                  <a:pt x="1102288" y="87029"/>
                </a:cubicBezTo>
                <a:cubicBezTo>
                  <a:pt x="1106061" y="79186"/>
                  <a:pt x="1107564" y="69424"/>
                  <a:pt x="1104534" y="61222"/>
                </a:cubicBezTo>
                <a:cubicBezTo>
                  <a:pt x="1104409" y="59341"/>
                  <a:pt x="1104366" y="57454"/>
                  <a:pt x="1104381" y="55569"/>
                </a:cubicBezTo>
                <a:cubicBezTo>
                  <a:pt x="1104386" y="54501"/>
                  <a:pt x="1104391" y="53434"/>
                  <a:pt x="1104397" y="52335"/>
                </a:cubicBezTo>
                <a:cubicBezTo>
                  <a:pt x="1104410" y="51228"/>
                  <a:pt x="1104423" y="50120"/>
                  <a:pt x="1104436" y="48979"/>
                </a:cubicBezTo>
                <a:cubicBezTo>
                  <a:pt x="1104443" y="47856"/>
                  <a:pt x="1104451" y="46733"/>
                  <a:pt x="1104457" y="45575"/>
                </a:cubicBezTo>
                <a:cubicBezTo>
                  <a:pt x="1104476" y="42805"/>
                  <a:pt x="1104504" y="40035"/>
                  <a:pt x="1104534" y="37265"/>
                </a:cubicBezTo>
                <a:cubicBezTo>
                  <a:pt x="1105565" y="37265"/>
                  <a:pt x="1106596" y="37265"/>
                  <a:pt x="1107658" y="37265"/>
                </a:cubicBezTo>
                <a:cubicBezTo>
                  <a:pt x="1107561" y="34562"/>
                  <a:pt x="1107561" y="34562"/>
                  <a:pt x="1107463" y="31805"/>
                </a:cubicBezTo>
                <a:cubicBezTo>
                  <a:pt x="1107353" y="28733"/>
                  <a:pt x="1107353" y="28733"/>
                  <a:pt x="1107658" y="25991"/>
                </a:cubicBezTo>
                <a:cubicBezTo>
                  <a:pt x="1108689" y="25062"/>
                  <a:pt x="1109720" y="24131"/>
                  <a:pt x="1110782" y="23173"/>
                </a:cubicBezTo>
                <a:cubicBezTo>
                  <a:pt x="1111104" y="22156"/>
                  <a:pt x="1111427" y="21138"/>
                  <a:pt x="1111759" y="20091"/>
                </a:cubicBezTo>
                <a:cubicBezTo>
                  <a:pt x="1116393" y="11539"/>
                  <a:pt x="1124927" y="6390"/>
                  <a:pt x="1134507" y="2828"/>
                </a:cubicBezTo>
                <a:cubicBezTo>
                  <a:pt x="1141389" y="825"/>
                  <a:pt x="1148262" y="-204"/>
                  <a:pt x="1155019" y="35"/>
                </a:cubicBezTo>
                <a:close/>
              </a:path>
            </a:pathLst>
          </a:custGeom>
          <a:solidFill>
            <a:schemeClr val="accent3"/>
          </a:solidFill>
          <a:ln w="2232" cap="flat">
            <a:noFill/>
            <a:prstDash val="solid"/>
            <a:miter/>
          </a:ln>
          <a:effectLst>
            <a:innerShdw blurRad="63500" dist="190500" dir="8100000">
              <a:schemeClr val="accent3">
                <a:lumMod val="75000"/>
                <a:alpha val="50000"/>
              </a:schemeClr>
            </a:innerShdw>
          </a:effectLst>
        </p:spPr>
        <p:txBody>
          <a:bodyPr wrap="squar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16" name="Oval 515">
            <a:extLst>
              <a:ext uri="{FF2B5EF4-FFF2-40B4-BE49-F238E27FC236}">
                <a16:creationId xmlns:a16="http://schemas.microsoft.com/office/drawing/2014/main" id="{5A265BF5-36EF-EB65-5903-DCF614DB980E}"/>
              </a:ext>
            </a:extLst>
          </p:cNvPr>
          <p:cNvSpPr/>
          <p:nvPr/>
        </p:nvSpPr>
        <p:spPr>
          <a:xfrm>
            <a:off x="5767745" y="2702862"/>
            <a:ext cx="96793" cy="96793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17" name="Oval 516">
            <a:extLst>
              <a:ext uri="{FF2B5EF4-FFF2-40B4-BE49-F238E27FC236}">
                <a16:creationId xmlns:a16="http://schemas.microsoft.com/office/drawing/2014/main" id="{A2AFF7A3-E9FE-67CA-53CA-D63694AF14D4}"/>
              </a:ext>
            </a:extLst>
          </p:cNvPr>
          <p:cNvSpPr/>
          <p:nvPr/>
        </p:nvSpPr>
        <p:spPr>
          <a:xfrm>
            <a:off x="5896957" y="2787614"/>
            <a:ext cx="96793" cy="96793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18" name="Oval 517">
            <a:extLst>
              <a:ext uri="{FF2B5EF4-FFF2-40B4-BE49-F238E27FC236}">
                <a16:creationId xmlns:a16="http://schemas.microsoft.com/office/drawing/2014/main" id="{48766524-3D25-9746-0110-C7CFAEA03CDD}"/>
              </a:ext>
            </a:extLst>
          </p:cNvPr>
          <p:cNvSpPr/>
          <p:nvPr/>
        </p:nvSpPr>
        <p:spPr>
          <a:xfrm>
            <a:off x="5803174" y="2945306"/>
            <a:ext cx="75769" cy="75769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19" name="Oval 518">
            <a:extLst>
              <a:ext uri="{FF2B5EF4-FFF2-40B4-BE49-F238E27FC236}">
                <a16:creationId xmlns:a16="http://schemas.microsoft.com/office/drawing/2014/main" id="{D11E65D3-438E-4EDE-49AF-454D05F4B3D3}"/>
              </a:ext>
            </a:extLst>
          </p:cNvPr>
          <p:cNvSpPr/>
          <p:nvPr/>
        </p:nvSpPr>
        <p:spPr>
          <a:xfrm>
            <a:off x="6005327" y="2927939"/>
            <a:ext cx="96793" cy="96793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20" name="Oval 519">
            <a:extLst>
              <a:ext uri="{FF2B5EF4-FFF2-40B4-BE49-F238E27FC236}">
                <a16:creationId xmlns:a16="http://schemas.microsoft.com/office/drawing/2014/main" id="{CC370FC4-516C-601D-8172-0E95B32D5A0E}"/>
              </a:ext>
            </a:extLst>
          </p:cNvPr>
          <p:cNvSpPr/>
          <p:nvPr/>
        </p:nvSpPr>
        <p:spPr>
          <a:xfrm>
            <a:off x="6036588" y="2726481"/>
            <a:ext cx="65532" cy="65532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27" name="Free-form: Shape 226">
            <a:extLst>
              <a:ext uri="{FF2B5EF4-FFF2-40B4-BE49-F238E27FC236}">
                <a16:creationId xmlns:a16="http://schemas.microsoft.com/office/drawing/2014/main" id="{73A7D34B-2D3B-B07C-8A67-09230D084764}"/>
              </a:ext>
            </a:extLst>
          </p:cNvPr>
          <p:cNvSpPr/>
          <p:nvPr/>
        </p:nvSpPr>
        <p:spPr>
          <a:xfrm>
            <a:off x="6180593" y="3240147"/>
            <a:ext cx="697225" cy="142291"/>
          </a:xfrm>
          <a:custGeom>
            <a:avLst/>
            <a:gdLst>
              <a:gd name="csX0" fmla="*/ 47178 w 843642"/>
              <a:gd name="csY0" fmla="*/ 0 h 172172"/>
              <a:gd name="csX1" fmla="*/ 843642 w 843642"/>
              <a:gd name="csY1" fmla="*/ 0 h 172172"/>
              <a:gd name="csX2" fmla="*/ 842652 w 843642"/>
              <a:gd name="csY2" fmla="*/ 172172 h 172172"/>
              <a:gd name="csX3" fmla="*/ 0 w 843642"/>
              <a:gd name="csY3" fmla="*/ 172172 h 172172"/>
              <a:gd name="csX4" fmla="*/ 47178 w 843642"/>
              <a:gd name="csY4" fmla="*/ 0 h 17217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843642" h="172172">
                <a:moveTo>
                  <a:pt x="47178" y="0"/>
                </a:moveTo>
                <a:lnTo>
                  <a:pt x="843642" y="0"/>
                </a:lnTo>
                <a:lnTo>
                  <a:pt x="842652" y="172172"/>
                </a:lnTo>
                <a:lnTo>
                  <a:pt x="0" y="172172"/>
                </a:lnTo>
                <a:lnTo>
                  <a:pt x="47178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31" name="Free-form: Shape 230">
            <a:extLst>
              <a:ext uri="{FF2B5EF4-FFF2-40B4-BE49-F238E27FC236}">
                <a16:creationId xmlns:a16="http://schemas.microsoft.com/office/drawing/2014/main" id="{BEC1FF87-C38C-B965-C0B7-AEEEBCE67431}"/>
              </a:ext>
            </a:extLst>
          </p:cNvPr>
          <p:cNvSpPr/>
          <p:nvPr/>
        </p:nvSpPr>
        <p:spPr>
          <a:xfrm>
            <a:off x="5387315" y="3384467"/>
            <a:ext cx="792722" cy="173778"/>
          </a:xfrm>
          <a:custGeom>
            <a:avLst/>
            <a:gdLst>
              <a:gd name="csX0" fmla="*/ 116817 w 959194"/>
              <a:gd name="csY0" fmla="*/ 0 h 210271"/>
              <a:gd name="csX1" fmla="*/ 959194 w 959194"/>
              <a:gd name="csY1" fmla="*/ 0 h 210271"/>
              <a:gd name="csX2" fmla="*/ 901577 w 959194"/>
              <a:gd name="csY2" fmla="*/ 210271 h 210271"/>
              <a:gd name="csX3" fmla="*/ 0 w 959194"/>
              <a:gd name="csY3" fmla="*/ 210271 h 210271"/>
              <a:gd name="csX4" fmla="*/ 116817 w 959194"/>
              <a:gd name="csY4" fmla="*/ 0 h 21027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959194" h="210271">
                <a:moveTo>
                  <a:pt x="116817" y="0"/>
                </a:moveTo>
                <a:lnTo>
                  <a:pt x="959194" y="0"/>
                </a:lnTo>
                <a:lnTo>
                  <a:pt x="901577" y="210271"/>
                </a:lnTo>
                <a:lnTo>
                  <a:pt x="0" y="210271"/>
                </a:lnTo>
                <a:lnTo>
                  <a:pt x="116817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32" name="Free-form: Shape 231">
            <a:extLst>
              <a:ext uri="{FF2B5EF4-FFF2-40B4-BE49-F238E27FC236}">
                <a16:creationId xmlns:a16="http://schemas.microsoft.com/office/drawing/2014/main" id="{E974B0C1-BBFA-71A7-18AB-D37D3858FC17}"/>
              </a:ext>
            </a:extLst>
          </p:cNvPr>
          <p:cNvSpPr/>
          <p:nvPr/>
        </p:nvSpPr>
        <p:spPr>
          <a:xfrm>
            <a:off x="6875989" y="3384467"/>
            <a:ext cx="718291" cy="173778"/>
          </a:xfrm>
          <a:custGeom>
            <a:avLst/>
            <a:gdLst>
              <a:gd name="csX0" fmla="*/ 1208 w 869132"/>
              <a:gd name="csY0" fmla="*/ 0 h 210271"/>
              <a:gd name="csX1" fmla="*/ 809226 w 869132"/>
              <a:gd name="csY1" fmla="*/ 0 h 210271"/>
              <a:gd name="csX2" fmla="*/ 869132 w 869132"/>
              <a:gd name="csY2" fmla="*/ 210271 h 210271"/>
              <a:gd name="csX3" fmla="*/ 0 w 869132"/>
              <a:gd name="csY3" fmla="*/ 210271 h 210271"/>
              <a:gd name="csX4" fmla="*/ 1208 w 869132"/>
              <a:gd name="csY4" fmla="*/ 0 h 21027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869132" h="210271">
                <a:moveTo>
                  <a:pt x="1208" y="0"/>
                </a:moveTo>
                <a:lnTo>
                  <a:pt x="809226" y="0"/>
                </a:lnTo>
                <a:lnTo>
                  <a:pt x="869132" y="210271"/>
                </a:lnTo>
                <a:lnTo>
                  <a:pt x="0" y="210271"/>
                </a:lnTo>
                <a:lnTo>
                  <a:pt x="1208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34" name="Free-form: Shape 233">
            <a:extLst>
              <a:ext uri="{FF2B5EF4-FFF2-40B4-BE49-F238E27FC236}">
                <a16:creationId xmlns:a16="http://schemas.microsoft.com/office/drawing/2014/main" id="{9FBBDE97-F756-A46D-153D-ADC8389AD02E}"/>
              </a:ext>
            </a:extLst>
          </p:cNvPr>
          <p:cNvSpPr/>
          <p:nvPr/>
        </p:nvSpPr>
        <p:spPr>
          <a:xfrm>
            <a:off x="6080652" y="3558244"/>
            <a:ext cx="795337" cy="188926"/>
          </a:xfrm>
          <a:custGeom>
            <a:avLst/>
            <a:gdLst>
              <a:gd name="csX0" fmla="*/ 62639 w 962358"/>
              <a:gd name="csY0" fmla="*/ 0 h 228600"/>
              <a:gd name="csX1" fmla="*/ 962358 w 962358"/>
              <a:gd name="csY1" fmla="*/ 0 h 228600"/>
              <a:gd name="csX2" fmla="*/ 961044 w 962358"/>
              <a:gd name="csY2" fmla="*/ 228600 h 228600"/>
              <a:gd name="csX3" fmla="*/ 0 w 962358"/>
              <a:gd name="csY3" fmla="*/ 228600 h 228600"/>
              <a:gd name="csX4" fmla="*/ 62639 w 962358"/>
              <a:gd name="csY4" fmla="*/ 0 h 22860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962358" h="228600">
                <a:moveTo>
                  <a:pt x="62639" y="0"/>
                </a:moveTo>
                <a:lnTo>
                  <a:pt x="962358" y="0"/>
                </a:lnTo>
                <a:lnTo>
                  <a:pt x="961044" y="228600"/>
                </a:lnTo>
                <a:lnTo>
                  <a:pt x="0" y="228600"/>
                </a:lnTo>
                <a:lnTo>
                  <a:pt x="62639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42" name="Free-form: Shape 241">
            <a:extLst>
              <a:ext uri="{FF2B5EF4-FFF2-40B4-BE49-F238E27FC236}">
                <a16:creationId xmlns:a16="http://schemas.microsoft.com/office/drawing/2014/main" id="{616E6C12-1259-0878-DDF5-E7701F0D76EC}"/>
              </a:ext>
            </a:extLst>
          </p:cNvPr>
          <p:cNvSpPr/>
          <p:nvPr/>
        </p:nvSpPr>
        <p:spPr>
          <a:xfrm>
            <a:off x="7713142" y="3975454"/>
            <a:ext cx="989864" cy="248679"/>
          </a:xfrm>
          <a:custGeom>
            <a:avLst/>
            <a:gdLst>
              <a:gd name="csX0" fmla="*/ 0 w 1197736"/>
              <a:gd name="csY0" fmla="*/ 0 h 300901"/>
              <a:gd name="csX1" fmla="*/ 1030091 w 1197736"/>
              <a:gd name="csY1" fmla="*/ 0 h 300901"/>
              <a:gd name="csX2" fmla="*/ 1197736 w 1197736"/>
              <a:gd name="csY2" fmla="*/ 300901 h 300901"/>
              <a:gd name="csX3" fmla="*/ 85727 w 1197736"/>
              <a:gd name="csY3" fmla="*/ 300901 h 300901"/>
              <a:gd name="csX4" fmla="*/ 0 w 1197736"/>
              <a:gd name="csY4" fmla="*/ 0 h 30090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197736" h="300901">
                <a:moveTo>
                  <a:pt x="0" y="0"/>
                </a:moveTo>
                <a:lnTo>
                  <a:pt x="1030091" y="0"/>
                </a:lnTo>
                <a:lnTo>
                  <a:pt x="1197736" y="300901"/>
                </a:lnTo>
                <a:lnTo>
                  <a:pt x="85727" y="300901"/>
                </a:lnTo>
                <a:lnTo>
                  <a:pt x="0" y="0"/>
                </a:lnTo>
                <a:close/>
              </a:path>
            </a:pathLst>
          </a:custGeom>
          <a:solidFill>
            <a:srgbClr val="DDE5E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29" name="Free-form: Shape 228">
            <a:extLst>
              <a:ext uri="{FF2B5EF4-FFF2-40B4-BE49-F238E27FC236}">
                <a16:creationId xmlns:a16="http://schemas.microsoft.com/office/drawing/2014/main" id="{3BDF643A-D3A9-ED5D-BB83-F40B6C6D5A78}"/>
              </a:ext>
            </a:extLst>
          </p:cNvPr>
          <p:cNvSpPr/>
          <p:nvPr/>
        </p:nvSpPr>
        <p:spPr>
          <a:xfrm>
            <a:off x="3966996" y="3384465"/>
            <a:ext cx="859446" cy="173779"/>
          </a:xfrm>
          <a:custGeom>
            <a:avLst/>
            <a:gdLst>
              <a:gd name="csX0" fmla="*/ 239169 w 1039930"/>
              <a:gd name="csY0" fmla="*/ 0 h 210272"/>
              <a:gd name="csX1" fmla="*/ 239170 w 1039930"/>
              <a:gd name="csY1" fmla="*/ 0 h 210272"/>
              <a:gd name="csX2" fmla="*/ 239169 w 1039930"/>
              <a:gd name="csY2" fmla="*/ 1 h 210272"/>
              <a:gd name="csX3" fmla="*/ 1039930 w 1039930"/>
              <a:gd name="csY3" fmla="*/ 1 h 210272"/>
              <a:gd name="csX4" fmla="*/ 864208 w 1039930"/>
              <a:gd name="csY4" fmla="*/ 210272 h 210272"/>
              <a:gd name="csX5" fmla="*/ 0 w 1039930"/>
              <a:gd name="csY5" fmla="*/ 210272 h 210272"/>
              <a:gd name="csX6" fmla="*/ 239169 w 1039930"/>
              <a:gd name="csY6" fmla="*/ 0 h 21027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</a:cxnLst>
            <a:rect l="l" t="t" r="r" b="b"/>
            <a:pathLst>
              <a:path w="1039930" h="210272">
                <a:moveTo>
                  <a:pt x="239169" y="0"/>
                </a:moveTo>
                <a:lnTo>
                  <a:pt x="239170" y="0"/>
                </a:lnTo>
                <a:lnTo>
                  <a:pt x="239169" y="1"/>
                </a:lnTo>
                <a:lnTo>
                  <a:pt x="1039930" y="1"/>
                </a:lnTo>
                <a:lnTo>
                  <a:pt x="864208" y="210272"/>
                </a:lnTo>
                <a:lnTo>
                  <a:pt x="0" y="210272"/>
                </a:lnTo>
                <a:lnTo>
                  <a:pt x="239169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36" name="Free-form: Shape 235">
            <a:extLst>
              <a:ext uri="{FF2B5EF4-FFF2-40B4-BE49-F238E27FC236}">
                <a16:creationId xmlns:a16="http://schemas.microsoft.com/office/drawing/2014/main" id="{F0341B66-235B-B54F-ABEB-3A2CA89161D9}"/>
              </a:ext>
            </a:extLst>
          </p:cNvPr>
          <p:cNvSpPr/>
          <p:nvPr/>
        </p:nvSpPr>
        <p:spPr>
          <a:xfrm>
            <a:off x="3492451" y="3747170"/>
            <a:ext cx="1030881" cy="228284"/>
          </a:xfrm>
          <a:custGeom>
            <a:avLst/>
            <a:gdLst>
              <a:gd name="csX0" fmla="*/ 314185 w 1247366"/>
              <a:gd name="csY0" fmla="*/ 0 h 276224"/>
              <a:gd name="csX1" fmla="*/ 1247366 w 1247366"/>
              <a:gd name="csY1" fmla="*/ 0 h 276224"/>
              <a:gd name="csX2" fmla="*/ 1016527 w 1247366"/>
              <a:gd name="csY2" fmla="*/ 276224 h 276224"/>
              <a:gd name="csX3" fmla="*/ 0 w 1247366"/>
              <a:gd name="csY3" fmla="*/ 276224 h 276224"/>
              <a:gd name="csX4" fmla="*/ 314185 w 1247366"/>
              <a:gd name="csY4" fmla="*/ 0 h 27622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247366" h="276224">
                <a:moveTo>
                  <a:pt x="314185" y="0"/>
                </a:moveTo>
                <a:lnTo>
                  <a:pt x="1247366" y="0"/>
                </a:lnTo>
                <a:lnTo>
                  <a:pt x="1016527" y="276224"/>
                </a:lnTo>
                <a:lnTo>
                  <a:pt x="0" y="276224"/>
                </a:lnTo>
                <a:lnTo>
                  <a:pt x="314185" y="0"/>
                </a:lnTo>
                <a:close/>
              </a:path>
            </a:pathLst>
          </a:custGeom>
          <a:solidFill>
            <a:srgbClr val="DDE5E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38" name="Free-form: Shape 237">
            <a:extLst>
              <a:ext uri="{FF2B5EF4-FFF2-40B4-BE49-F238E27FC236}">
                <a16:creationId xmlns:a16="http://schemas.microsoft.com/office/drawing/2014/main" id="{74D997F4-3114-D0ED-262A-BE4DCEF3BD7F}"/>
              </a:ext>
            </a:extLst>
          </p:cNvPr>
          <p:cNvSpPr/>
          <p:nvPr/>
        </p:nvSpPr>
        <p:spPr>
          <a:xfrm>
            <a:off x="4124737" y="3975454"/>
            <a:ext cx="1030793" cy="248679"/>
          </a:xfrm>
          <a:custGeom>
            <a:avLst/>
            <a:gdLst>
              <a:gd name="csX0" fmla="*/ 251461 w 1247260"/>
              <a:gd name="csY0" fmla="*/ 0 h 300901"/>
              <a:gd name="csX1" fmla="*/ 1247260 w 1247260"/>
              <a:gd name="csY1" fmla="*/ 0 h 300901"/>
              <a:gd name="csX2" fmla="*/ 1080093 w 1247260"/>
              <a:gd name="csY2" fmla="*/ 300901 h 300901"/>
              <a:gd name="csX3" fmla="*/ 0 w 1247260"/>
              <a:gd name="csY3" fmla="*/ 300901 h 300901"/>
              <a:gd name="csX4" fmla="*/ 251461 w 1247260"/>
              <a:gd name="csY4" fmla="*/ 0 h 30090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247260" h="300901">
                <a:moveTo>
                  <a:pt x="251461" y="0"/>
                </a:moveTo>
                <a:lnTo>
                  <a:pt x="1247260" y="0"/>
                </a:lnTo>
                <a:lnTo>
                  <a:pt x="1080093" y="300901"/>
                </a:lnTo>
                <a:lnTo>
                  <a:pt x="0" y="300901"/>
                </a:lnTo>
                <a:lnTo>
                  <a:pt x="251461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40" name="Free-form: Shape 239">
            <a:extLst>
              <a:ext uri="{FF2B5EF4-FFF2-40B4-BE49-F238E27FC236}">
                <a16:creationId xmlns:a16="http://schemas.microsoft.com/office/drawing/2014/main" id="{B111458F-F3A8-BA6E-ECB6-7751B72D4F4A}"/>
              </a:ext>
            </a:extLst>
          </p:cNvPr>
          <p:cNvSpPr/>
          <p:nvPr/>
        </p:nvSpPr>
        <p:spPr>
          <a:xfrm>
            <a:off x="5949959" y="3975454"/>
            <a:ext cx="923632" cy="248679"/>
          </a:xfrm>
          <a:custGeom>
            <a:avLst/>
            <a:gdLst>
              <a:gd name="csX0" fmla="*/ 82451 w 1117595"/>
              <a:gd name="csY0" fmla="*/ 0 h 300902"/>
              <a:gd name="csX1" fmla="*/ 1117595 w 1117595"/>
              <a:gd name="csY1" fmla="*/ 0 h 300902"/>
              <a:gd name="csX2" fmla="*/ 1115866 w 1117595"/>
              <a:gd name="csY2" fmla="*/ 300902 h 300902"/>
              <a:gd name="csX3" fmla="*/ 0 w 1117595"/>
              <a:gd name="csY3" fmla="*/ 300902 h 300902"/>
              <a:gd name="csX4" fmla="*/ 82451 w 1117595"/>
              <a:gd name="csY4" fmla="*/ 0 h 30090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117595" h="300902">
                <a:moveTo>
                  <a:pt x="82451" y="0"/>
                </a:moveTo>
                <a:lnTo>
                  <a:pt x="1117595" y="0"/>
                </a:lnTo>
                <a:lnTo>
                  <a:pt x="1115866" y="300902"/>
                </a:lnTo>
                <a:lnTo>
                  <a:pt x="0" y="300902"/>
                </a:lnTo>
                <a:lnTo>
                  <a:pt x="82451" y="0"/>
                </a:lnTo>
                <a:close/>
              </a:path>
            </a:pathLst>
          </a:custGeom>
          <a:solidFill>
            <a:srgbClr val="DDE5E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16" name="TextBox 315">
            <a:extLst>
              <a:ext uri="{FF2B5EF4-FFF2-40B4-BE49-F238E27FC236}">
                <a16:creationId xmlns:a16="http://schemas.microsoft.com/office/drawing/2014/main" id="{67507318-87C6-BDEC-28B5-81D000E8139A}"/>
              </a:ext>
            </a:extLst>
          </p:cNvPr>
          <p:cNvSpPr txBox="1"/>
          <p:nvPr/>
        </p:nvSpPr>
        <p:spPr>
          <a:xfrm>
            <a:off x="3822701" y="1348464"/>
            <a:ext cx="6343650" cy="421660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rtlCol="0" anchor="t" anchorCtr="0">
            <a:noAutofit/>
          </a:bodyPr>
          <a:lstStyle>
            <a:defPPr>
              <a:defRPr lang="en-GB"/>
            </a:defPPr>
            <a:lvl1pPr algn="ctr">
              <a:defRPr sz="1600" b="1">
                <a:solidFill>
                  <a:schemeClr val="tx2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isease-related factors</a:t>
            </a:r>
          </a:p>
        </p:txBody>
      </p:sp>
      <p:sp>
        <p:nvSpPr>
          <p:cNvPr id="225" name="Free-form: Shape 224">
            <a:extLst>
              <a:ext uri="{FF2B5EF4-FFF2-40B4-BE49-F238E27FC236}">
                <a16:creationId xmlns:a16="http://schemas.microsoft.com/office/drawing/2014/main" id="{84D3A2E3-756E-EBE3-E33A-66FDF4E32D71}"/>
              </a:ext>
            </a:extLst>
          </p:cNvPr>
          <p:cNvSpPr/>
          <p:nvPr/>
        </p:nvSpPr>
        <p:spPr>
          <a:xfrm>
            <a:off x="7873708" y="4539041"/>
            <a:ext cx="1225011" cy="395346"/>
          </a:xfrm>
          <a:custGeom>
            <a:avLst/>
            <a:gdLst>
              <a:gd name="csX0" fmla="*/ 0 w 1482263"/>
              <a:gd name="csY0" fmla="*/ 0 h 478368"/>
              <a:gd name="csX1" fmla="*/ 1215744 w 1482263"/>
              <a:gd name="csY1" fmla="*/ 0 h 478368"/>
              <a:gd name="csX2" fmla="*/ 1482263 w 1482263"/>
              <a:gd name="csY2" fmla="*/ 478368 h 478368"/>
              <a:gd name="csX3" fmla="*/ 136287 w 1482263"/>
              <a:gd name="csY3" fmla="*/ 478368 h 478368"/>
              <a:gd name="csX4" fmla="*/ 0 w 1482263"/>
              <a:gd name="csY4" fmla="*/ 0 h 47836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482263" h="478368">
                <a:moveTo>
                  <a:pt x="0" y="0"/>
                </a:moveTo>
                <a:lnTo>
                  <a:pt x="1215744" y="0"/>
                </a:lnTo>
                <a:lnTo>
                  <a:pt x="1482263" y="478368"/>
                </a:lnTo>
                <a:lnTo>
                  <a:pt x="136287" y="478368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grpSp>
        <p:nvGrpSpPr>
          <p:cNvPr id="536" name="Group 535">
            <a:extLst>
              <a:ext uri="{FF2B5EF4-FFF2-40B4-BE49-F238E27FC236}">
                <a16:creationId xmlns:a16="http://schemas.microsoft.com/office/drawing/2014/main" id="{EC2DCC73-8B6D-4F65-3341-75AC60DEBA18}"/>
              </a:ext>
            </a:extLst>
          </p:cNvPr>
          <p:cNvGrpSpPr/>
          <p:nvPr/>
        </p:nvGrpSpPr>
        <p:grpSpPr>
          <a:xfrm>
            <a:off x="8046252" y="3927625"/>
            <a:ext cx="593138" cy="863264"/>
            <a:chOff x="7637095" y="3932161"/>
            <a:chExt cx="717697" cy="949590"/>
          </a:xfrm>
        </p:grpSpPr>
        <p:sp>
          <p:nvSpPr>
            <p:cNvPr id="360" name="Oval 359">
              <a:extLst>
                <a:ext uri="{FF2B5EF4-FFF2-40B4-BE49-F238E27FC236}">
                  <a16:creationId xmlns:a16="http://schemas.microsoft.com/office/drawing/2014/main" id="{3AA9EB8E-0B66-8D30-126E-D52FE7461DEA}"/>
                </a:ext>
              </a:extLst>
            </p:cNvPr>
            <p:cNvSpPr/>
            <p:nvPr/>
          </p:nvSpPr>
          <p:spPr>
            <a:xfrm>
              <a:off x="7637095" y="4755748"/>
              <a:ext cx="717697" cy="126003"/>
            </a:xfrm>
            <a:prstGeom prst="ellipse">
              <a:avLst/>
            </a:prstGeom>
            <a:solidFill>
              <a:schemeClr val="tx1">
                <a:alpha val="61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361" name="Free-form: Shape 360">
              <a:extLst>
                <a:ext uri="{FF2B5EF4-FFF2-40B4-BE49-F238E27FC236}">
                  <a16:creationId xmlns:a16="http://schemas.microsoft.com/office/drawing/2014/main" id="{A80D22AD-CFC2-7CC9-9E74-B0438AA38774}"/>
                </a:ext>
              </a:extLst>
            </p:cNvPr>
            <p:cNvSpPr/>
            <p:nvPr/>
          </p:nvSpPr>
          <p:spPr>
            <a:xfrm>
              <a:off x="7756481" y="3932161"/>
              <a:ext cx="524096" cy="931726"/>
            </a:xfrm>
            <a:custGeom>
              <a:avLst/>
              <a:gdLst>
                <a:gd name="csX0" fmla="*/ 581793 w 697572"/>
                <a:gd name="csY0" fmla="*/ 1234401 h 1240128"/>
                <a:gd name="csX1" fmla="*/ 577427 w 697572"/>
                <a:gd name="csY1" fmla="*/ 1234156 h 1240128"/>
                <a:gd name="csX2" fmla="*/ 559133 w 697572"/>
                <a:gd name="csY2" fmla="*/ 1230909 h 1240128"/>
                <a:gd name="csX3" fmla="*/ 516706 w 697572"/>
                <a:gd name="csY3" fmla="*/ 1235117 h 1240128"/>
                <a:gd name="csX4" fmla="*/ 475244 w 697572"/>
                <a:gd name="csY4" fmla="*/ 1237506 h 1240128"/>
                <a:gd name="csX5" fmla="*/ 371154 w 697572"/>
                <a:gd name="csY5" fmla="*/ 1239428 h 1240128"/>
                <a:gd name="csX6" fmla="*/ 276813 w 697572"/>
                <a:gd name="csY6" fmla="*/ 1237654 h 1240128"/>
                <a:gd name="csX7" fmla="*/ 268212 w 697572"/>
                <a:gd name="csY7" fmla="*/ 1237635 h 1240128"/>
                <a:gd name="csX8" fmla="*/ 262072 w 697572"/>
                <a:gd name="csY8" fmla="*/ 1237523 h 1240128"/>
                <a:gd name="csX9" fmla="*/ 195111 w 697572"/>
                <a:gd name="csY9" fmla="*/ 1232775 h 1240128"/>
                <a:gd name="csX10" fmla="*/ 145060 w 697572"/>
                <a:gd name="csY10" fmla="*/ 1230076 h 1240128"/>
                <a:gd name="csX11" fmla="*/ 114933 w 697572"/>
                <a:gd name="csY11" fmla="*/ 1225832 h 1240128"/>
                <a:gd name="csX12" fmla="*/ 72642 w 697572"/>
                <a:gd name="csY12" fmla="*/ 1220237 h 1240128"/>
                <a:gd name="csX13" fmla="*/ 10894 w 697572"/>
                <a:gd name="csY13" fmla="*/ 1205737 h 1240128"/>
                <a:gd name="csX14" fmla="*/ 5856 w 697572"/>
                <a:gd name="csY14" fmla="*/ 1202799 h 1240128"/>
                <a:gd name="csX15" fmla="*/ 40 w 697572"/>
                <a:gd name="csY15" fmla="*/ 1174450 h 1240128"/>
                <a:gd name="csX16" fmla="*/ 19831 w 697572"/>
                <a:gd name="csY16" fmla="*/ 1118410 h 1240128"/>
                <a:gd name="csX17" fmla="*/ 22004 w 697572"/>
                <a:gd name="csY17" fmla="*/ 1107240 h 1240128"/>
                <a:gd name="csX18" fmla="*/ 25947 w 697572"/>
                <a:gd name="csY18" fmla="*/ 1038650 h 1240128"/>
                <a:gd name="csX19" fmla="*/ 58234 w 697572"/>
                <a:gd name="csY19" fmla="*/ 988567 h 1240128"/>
                <a:gd name="csX20" fmla="*/ 118645 w 697572"/>
                <a:gd name="csY20" fmla="*/ 928298 h 1240128"/>
                <a:gd name="csX21" fmla="*/ 126320 w 697572"/>
                <a:gd name="csY21" fmla="*/ 892015 h 1240128"/>
                <a:gd name="csX22" fmla="*/ 120345 w 697572"/>
                <a:gd name="csY22" fmla="*/ 872258 h 1240128"/>
                <a:gd name="csX23" fmla="*/ 125668 w 697572"/>
                <a:gd name="csY23" fmla="*/ 861640 h 1240128"/>
                <a:gd name="csX24" fmla="*/ 154237 w 697572"/>
                <a:gd name="csY24" fmla="*/ 850716 h 1240128"/>
                <a:gd name="csX25" fmla="*/ 170248 w 697572"/>
                <a:gd name="csY25" fmla="*/ 836767 h 1240128"/>
                <a:gd name="csX26" fmla="*/ 187840 w 697572"/>
                <a:gd name="csY26" fmla="*/ 796341 h 1240128"/>
                <a:gd name="csX27" fmla="*/ 209346 w 697572"/>
                <a:gd name="csY27" fmla="*/ 743126 h 1240128"/>
                <a:gd name="csX28" fmla="*/ 210630 w 697572"/>
                <a:gd name="csY28" fmla="*/ 737219 h 1240128"/>
                <a:gd name="csX29" fmla="*/ 213836 w 697572"/>
                <a:gd name="csY29" fmla="*/ 720505 h 1240128"/>
                <a:gd name="csX30" fmla="*/ 227791 w 697572"/>
                <a:gd name="csY30" fmla="*/ 667353 h 1240128"/>
                <a:gd name="csX31" fmla="*/ 241013 w 697572"/>
                <a:gd name="csY31" fmla="*/ 599151 h 1240128"/>
                <a:gd name="csX32" fmla="*/ 247322 w 697572"/>
                <a:gd name="csY32" fmla="*/ 542242 h 1240128"/>
                <a:gd name="csX33" fmla="*/ 247948 w 697572"/>
                <a:gd name="csY33" fmla="*/ 499296 h 1240128"/>
                <a:gd name="csX34" fmla="*/ 247577 w 697572"/>
                <a:gd name="csY34" fmla="*/ 470384 h 1240128"/>
                <a:gd name="csX35" fmla="*/ 238877 w 697572"/>
                <a:gd name="csY35" fmla="*/ 460987 h 1240128"/>
                <a:gd name="csX36" fmla="*/ 222040 w 697572"/>
                <a:gd name="csY36" fmla="*/ 458353 h 1240128"/>
                <a:gd name="csX37" fmla="*/ 172193 w 697572"/>
                <a:gd name="csY37" fmla="*/ 433714 h 1240128"/>
                <a:gd name="csX38" fmla="*/ 168410 w 697572"/>
                <a:gd name="csY38" fmla="*/ 396591 h 1240128"/>
                <a:gd name="csX39" fmla="*/ 209826 w 697572"/>
                <a:gd name="csY39" fmla="*/ 367773 h 1240128"/>
                <a:gd name="csX40" fmla="*/ 250732 w 697572"/>
                <a:gd name="csY40" fmla="*/ 355208 h 1240128"/>
                <a:gd name="csX41" fmla="*/ 258289 w 697572"/>
                <a:gd name="csY41" fmla="*/ 350426 h 1240128"/>
                <a:gd name="csX42" fmla="*/ 233274 w 697572"/>
                <a:gd name="csY42" fmla="*/ 333513 h 1240128"/>
                <a:gd name="csX43" fmla="*/ 229677 w 697572"/>
                <a:gd name="csY43" fmla="*/ 333922 h 1240128"/>
                <a:gd name="csX44" fmla="*/ 230149 w 697572"/>
                <a:gd name="csY44" fmla="*/ 332979 h 1240128"/>
                <a:gd name="csX45" fmla="*/ 227053 w 697572"/>
                <a:gd name="csY45" fmla="*/ 327076 h 1240128"/>
                <a:gd name="csX46" fmla="*/ 196769 w 697572"/>
                <a:gd name="csY46" fmla="*/ 291380 h 1240128"/>
                <a:gd name="csX47" fmla="*/ 184389 w 697572"/>
                <a:gd name="csY47" fmla="*/ 264042 h 1240128"/>
                <a:gd name="csX48" fmla="*/ 180630 w 697572"/>
                <a:gd name="csY48" fmla="*/ 257839 h 1240128"/>
                <a:gd name="csX49" fmla="*/ 176231 w 697572"/>
                <a:gd name="csY49" fmla="*/ 250643 h 1240128"/>
                <a:gd name="csX50" fmla="*/ 170073 w 697572"/>
                <a:gd name="csY50" fmla="*/ 146723 h 1240128"/>
                <a:gd name="csX51" fmla="*/ 180929 w 697572"/>
                <a:gd name="csY51" fmla="*/ 114280 h 1240128"/>
                <a:gd name="csX52" fmla="*/ 180839 w 697572"/>
                <a:gd name="csY52" fmla="*/ 101501 h 1240128"/>
                <a:gd name="csX53" fmla="*/ 233536 w 697572"/>
                <a:gd name="csY53" fmla="*/ 39653 h 1240128"/>
                <a:gd name="csX54" fmla="*/ 347618 w 697572"/>
                <a:gd name="csY54" fmla="*/ 35 h 1240128"/>
                <a:gd name="csX55" fmla="*/ 437139 w 697572"/>
                <a:gd name="csY55" fmla="*/ 22396 h 1240128"/>
                <a:gd name="csX56" fmla="*/ 529052 w 697572"/>
                <a:gd name="csY56" fmla="*/ 131093 h 1240128"/>
                <a:gd name="csX57" fmla="*/ 518497 w 697572"/>
                <a:gd name="csY57" fmla="*/ 271517 h 1240128"/>
                <a:gd name="csX58" fmla="*/ 500808 w 697572"/>
                <a:gd name="csY58" fmla="*/ 287385 h 1240128"/>
                <a:gd name="csX59" fmla="*/ 472948 w 697572"/>
                <a:gd name="csY59" fmla="*/ 323290 h 1240128"/>
                <a:gd name="csX60" fmla="*/ 469385 w 697572"/>
                <a:gd name="csY60" fmla="*/ 331565 h 1240128"/>
                <a:gd name="csX61" fmla="*/ 468293 w 697572"/>
                <a:gd name="csY61" fmla="*/ 331320 h 1240128"/>
                <a:gd name="csX62" fmla="*/ 459542 w 697572"/>
                <a:gd name="csY62" fmla="*/ 338942 h 1240128"/>
                <a:gd name="csX63" fmla="*/ 458492 w 697572"/>
                <a:gd name="csY63" fmla="*/ 338671 h 1240128"/>
                <a:gd name="csX64" fmla="*/ 436978 w 697572"/>
                <a:gd name="csY64" fmla="*/ 352226 h 1240128"/>
                <a:gd name="csX65" fmla="*/ 472329 w 697572"/>
                <a:gd name="csY65" fmla="*/ 362890 h 1240128"/>
                <a:gd name="csX66" fmla="*/ 523779 w 697572"/>
                <a:gd name="csY66" fmla="*/ 391962 h 1240128"/>
                <a:gd name="csX67" fmla="*/ 527344 w 697572"/>
                <a:gd name="csY67" fmla="*/ 430096 h 1240128"/>
                <a:gd name="csX68" fmla="*/ 504112 w 697572"/>
                <a:gd name="csY68" fmla="*/ 449628 h 1240128"/>
                <a:gd name="csX69" fmla="*/ 459430 w 697572"/>
                <a:gd name="csY69" fmla="*/ 461116 h 1240128"/>
                <a:gd name="csX70" fmla="*/ 446666 w 697572"/>
                <a:gd name="csY70" fmla="*/ 474229 h 1240128"/>
                <a:gd name="csX71" fmla="*/ 449133 w 697572"/>
                <a:gd name="csY71" fmla="*/ 531639 h 1240128"/>
                <a:gd name="csX72" fmla="*/ 454546 w 697572"/>
                <a:gd name="csY72" fmla="*/ 588688 h 1240128"/>
                <a:gd name="csX73" fmla="*/ 466126 w 697572"/>
                <a:gd name="csY73" fmla="*/ 649736 h 1240128"/>
                <a:gd name="csX74" fmla="*/ 512154 w 697572"/>
                <a:gd name="csY74" fmla="*/ 794006 h 1240128"/>
                <a:gd name="csX75" fmla="*/ 525763 w 697572"/>
                <a:gd name="csY75" fmla="*/ 834323 h 1240128"/>
                <a:gd name="csX76" fmla="*/ 530555 w 697572"/>
                <a:gd name="csY76" fmla="*/ 845114 h 1240128"/>
                <a:gd name="csX77" fmla="*/ 554424 w 697572"/>
                <a:gd name="csY77" fmla="*/ 856618 h 1240128"/>
                <a:gd name="csX78" fmla="*/ 572880 w 697572"/>
                <a:gd name="csY78" fmla="*/ 862546 h 1240128"/>
                <a:gd name="csX79" fmla="*/ 578643 w 697572"/>
                <a:gd name="csY79" fmla="*/ 880396 h 1240128"/>
                <a:gd name="csX80" fmla="*/ 572188 w 697572"/>
                <a:gd name="csY80" fmla="*/ 899820 h 1240128"/>
                <a:gd name="csX81" fmla="*/ 582698 w 697572"/>
                <a:gd name="csY81" fmla="*/ 930382 h 1240128"/>
                <a:gd name="csX82" fmla="*/ 604747 w 697572"/>
                <a:gd name="csY82" fmla="*/ 960852 h 1240128"/>
                <a:gd name="csX83" fmla="*/ 613863 w 697572"/>
                <a:gd name="csY83" fmla="*/ 968311 h 1240128"/>
                <a:gd name="csX84" fmla="*/ 629435 w 697572"/>
                <a:gd name="csY84" fmla="*/ 981186 h 1240128"/>
                <a:gd name="csX85" fmla="*/ 633611 w 697572"/>
                <a:gd name="csY85" fmla="*/ 985609 h 1240128"/>
                <a:gd name="csX86" fmla="*/ 673790 w 697572"/>
                <a:gd name="csY86" fmla="*/ 1049348 h 1240128"/>
                <a:gd name="csX87" fmla="*/ 675873 w 697572"/>
                <a:gd name="csY87" fmla="*/ 1092839 h 1240128"/>
                <a:gd name="csX88" fmla="*/ 681668 w 697572"/>
                <a:gd name="csY88" fmla="*/ 1129292 h 1240128"/>
                <a:gd name="csX89" fmla="*/ 697338 w 697572"/>
                <a:gd name="csY89" fmla="*/ 1196079 h 1240128"/>
                <a:gd name="csX90" fmla="*/ 690637 w 697572"/>
                <a:gd name="csY90" fmla="*/ 1205035 h 1240128"/>
                <a:gd name="csX91" fmla="*/ 639777 w 697572"/>
                <a:gd name="csY91" fmla="*/ 1217994 h 1240128"/>
                <a:gd name="csX92" fmla="*/ 587072 w 697572"/>
                <a:gd name="csY92" fmla="*/ 1227761 h 1240128"/>
                <a:gd name="csX93" fmla="*/ 581793 w 697572"/>
                <a:gd name="csY93" fmla="*/ 1234401 h 1240128"/>
                <a:gd name="csX94" fmla="*/ 357446 w 697572"/>
                <a:gd name="csY94" fmla="*/ 903795 h 1240128"/>
                <a:gd name="csX95" fmla="*/ 344445 w 697572"/>
                <a:gd name="csY95" fmla="*/ 903795 h 1240128"/>
                <a:gd name="csX96" fmla="*/ 349212 w 697572"/>
                <a:gd name="csY96" fmla="*/ 950515 h 1240128"/>
                <a:gd name="csX97" fmla="*/ 349538 w 697572"/>
                <a:gd name="csY97" fmla="*/ 1069392 h 1240128"/>
                <a:gd name="csX98" fmla="*/ 349415 w 697572"/>
                <a:gd name="csY98" fmla="*/ 1108925 h 1240128"/>
                <a:gd name="csX99" fmla="*/ 647726 w 697572"/>
                <a:gd name="csY99" fmla="*/ 1089872 h 1240128"/>
                <a:gd name="csX100" fmla="*/ 647654 w 697572"/>
                <a:gd name="csY100" fmla="*/ 1076267 h 1240128"/>
                <a:gd name="csX101" fmla="*/ 610267 w 697572"/>
                <a:gd name="csY101" fmla="*/ 994126 h 1240128"/>
                <a:gd name="csX102" fmla="*/ 571459 w 697572"/>
                <a:gd name="csY102" fmla="*/ 956568 h 1240128"/>
                <a:gd name="csX103" fmla="*/ 541653 w 697572"/>
                <a:gd name="csY103" fmla="*/ 901544 h 1240128"/>
                <a:gd name="csX104" fmla="*/ 539477 w 697572"/>
                <a:gd name="csY104" fmla="*/ 895908 h 1240128"/>
                <a:gd name="csX105" fmla="*/ 357446 w 697572"/>
                <a:gd name="csY105" fmla="*/ 903795 h 1240128"/>
                <a:gd name="csX106" fmla="*/ 300108 w 697572"/>
                <a:gd name="csY106" fmla="*/ 85260 h 1240128"/>
                <a:gd name="csX107" fmla="*/ 290213 w 697572"/>
                <a:gd name="csY107" fmla="*/ 127888 h 1240128"/>
                <a:gd name="csX108" fmla="*/ 331056 w 697572"/>
                <a:gd name="csY108" fmla="*/ 214168 h 1240128"/>
                <a:gd name="csX109" fmla="*/ 424717 w 697572"/>
                <a:gd name="csY109" fmla="*/ 245160 h 1240128"/>
                <a:gd name="csX110" fmla="*/ 496752 w 697572"/>
                <a:gd name="csY110" fmla="*/ 141256 h 1240128"/>
                <a:gd name="csX111" fmla="*/ 390320 w 697572"/>
                <a:gd name="csY111" fmla="*/ 43995 h 1240128"/>
                <a:gd name="csX112" fmla="*/ 300108 w 697572"/>
                <a:gd name="csY112" fmla="*/ 85260 h 1240128"/>
                <a:gd name="csX113" fmla="*/ 343360 w 697572"/>
                <a:gd name="csY113" fmla="*/ 634332 h 1240128"/>
                <a:gd name="csX114" fmla="*/ 340877 w 697572"/>
                <a:gd name="csY114" fmla="*/ 732259 h 1240128"/>
                <a:gd name="csX115" fmla="*/ 338360 w 697572"/>
                <a:gd name="csY115" fmla="*/ 810538 h 1240128"/>
                <a:gd name="csX116" fmla="*/ 337115 w 697572"/>
                <a:gd name="csY116" fmla="*/ 817736 h 1240128"/>
                <a:gd name="csX117" fmla="*/ 336516 w 697572"/>
                <a:gd name="csY117" fmla="*/ 863022 h 1240128"/>
                <a:gd name="csX118" fmla="*/ 343436 w 697572"/>
                <a:gd name="csY118" fmla="*/ 864027 h 1240128"/>
                <a:gd name="csX119" fmla="*/ 406718 w 697572"/>
                <a:gd name="csY119" fmla="*/ 862982 h 1240128"/>
                <a:gd name="csX120" fmla="*/ 456888 w 697572"/>
                <a:gd name="csY120" fmla="*/ 861794 h 1240128"/>
                <a:gd name="csX121" fmla="*/ 495873 w 697572"/>
                <a:gd name="csY121" fmla="*/ 863963 h 1240128"/>
                <a:gd name="csX122" fmla="*/ 509286 w 697572"/>
                <a:gd name="csY122" fmla="*/ 863595 h 1240128"/>
                <a:gd name="csX123" fmla="*/ 516956 w 697572"/>
                <a:gd name="csY123" fmla="*/ 856791 h 1240128"/>
                <a:gd name="csX124" fmla="*/ 513920 w 697572"/>
                <a:gd name="csY124" fmla="*/ 848709 h 1240128"/>
                <a:gd name="csX125" fmla="*/ 506683 w 697572"/>
                <a:gd name="csY125" fmla="*/ 839054 h 1240128"/>
                <a:gd name="csX126" fmla="*/ 488629 w 697572"/>
                <a:gd name="csY126" fmla="*/ 799037 h 1240128"/>
                <a:gd name="csX127" fmla="*/ 456922 w 697572"/>
                <a:gd name="csY127" fmla="*/ 696297 h 1240128"/>
                <a:gd name="csX128" fmla="*/ 441346 w 697572"/>
                <a:gd name="csY128" fmla="*/ 619885 h 1240128"/>
                <a:gd name="csX129" fmla="*/ 435963 w 697572"/>
                <a:gd name="csY129" fmla="*/ 582529 h 1240128"/>
                <a:gd name="csX130" fmla="*/ 429497 w 697572"/>
                <a:gd name="csY130" fmla="*/ 521990 h 1240128"/>
                <a:gd name="csX131" fmla="*/ 426887 w 697572"/>
                <a:gd name="csY131" fmla="*/ 471989 h 1240128"/>
                <a:gd name="csX132" fmla="*/ 413744 w 697572"/>
                <a:gd name="csY132" fmla="*/ 461077 h 1240128"/>
                <a:gd name="csX133" fmla="*/ 353573 w 697572"/>
                <a:gd name="csY133" fmla="*/ 461120 h 1240128"/>
                <a:gd name="csX134" fmla="*/ 344160 w 697572"/>
                <a:gd name="csY134" fmla="*/ 462286 h 1240128"/>
                <a:gd name="csX135" fmla="*/ 343404 w 697572"/>
                <a:gd name="csY135" fmla="*/ 469192 h 1240128"/>
                <a:gd name="csX136" fmla="*/ 343469 w 697572"/>
                <a:gd name="csY136" fmla="*/ 574797 h 1240128"/>
                <a:gd name="csX137" fmla="*/ 345522 w 697572"/>
                <a:gd name="csY137" fmla="*/ 591669 h 1240128"/>
                <a:gd name="csX138" fmla="*/ 343360 w 697572"/>
                <a:gd name="csY138" fmla="*/ 634332 h 1240128"/>
                <a:gd name="csX139" fmla="*/ 416946 w 697572"/>
                <a:gd name="csY139" fmla="*/ 385943 h 1240128"/>
                <a:gd name="csX140" fmla="*/ 401091 w 697572"/>
                <a:gd name="csY140" fmla="*/ 387162 h 1240128"/>
                <a:gd name="csX141" fmla="*/ 369218 w 697572"/>
                <a:gd name="csY141" fmla="*/ 387708 h 1240128"/>
                <a:gd name="csX142" fmla="*/ 351833 w 697572"/>
                <a:gd name="csY142" fmla="*/ 398991 h 1240128"/>
                <a:gd name="csX143" fmla="*/ 349778 w 697572"/>
                <a:gd name="csY143" fmla="*/ 426021 h 1240128"/>
                <a:gd name="csX144" fmla="*/ 361839 w 697572"/>
                <a:gd name="csY144" fmla="*/ 426538 h 1240128"/>
                <a:gd name="csX145" fmla="*/ 455022 w 697572"/>
                <a:gd name="csY145" fmla="*/ 426922 h 1240128"/>
                <a:gd name="csX146" fmla="*/ 481958 w 697572"/>
                <a:gd name="csY146" fmla="*/ 426527 h 1240128"/>
                <a:gd name="csX147" fmla="*/ 499817 w 697572"/>
                <a:gd name="csY147" fmla="*/ 419888 h 1240128"/>
                <a:gd name="csX148" fmla="*/ 499439 w 697572"/>
                <a:gd name="csY148" fmla="*/ 400719 h 1240128"/>
                <a:gd name="csX149" fmla="*/ 468062 w 697572"/>
                <a:gd name="csY149" fmla="*/ 387775 h 1240128"/>
                <a:gd name="csX150" fmla="*/ 416946 w 697572"/>
                <a:gd name="csY150" fmla="*/ 385943 h 1240128"/>
                <a:gd name="csX151" fmla="*/ 636802 w 697572"/>
                <a:gd name="csY151" fmla="*/ 1190940 h 1240128"/>
                <a:gd name="csX152" fmla="*/ 666492 w 697572"/>
                <a:gd name="csY152" fmla="*/ 1184186 h 1240128"/>
                <a:gd name="csX153" fmla="*/ 674465 w 697572"/>
                <a:gd name="csY153" fmla="*/ 1170880 h 1240128"/>
                <a:gd name="csX154" fmla="*/ 662462 w 697572"/>
                <a:gd name="csY154" fmla="*/ 1141464 h 1240128"/>
                <a:gd name="csX155" fmla="*/ 645564 w 697572"/>
                <a:gd name="csY155" fmla="*/ 1131937 h 1240128"/>
                <a:gd name="csX156" fmla="*/ 627387 w 697572"/>
                <a:gd name="csY156" fmla="*/ 1133618 h 1240128"/>
                <a:gd name="csX157" fmla="*/ 583917 w 697572"/>
                <a:gd name="csY157" fmla="*/ 1139222 h 1240128"/>
                <a:gd name="csX158" fmla="*/ 543741 w 697572"/>
                <a:gd name="csY158" fmla="*/ 1141869 h 1240128"/>
                <a:gd name="csX159" fmla="*/ 512146 w 697572"/>
                <a:gd name="csY159" fmla="*/ 1144418 h 1240128"/>
                <a:gd name="csX160" fmla="*/ 447711 w 697572"/>
                <a:gd name="csY160" fmla="*/ 1148973 h 1240128"/>
                <a:gd name="csX161" fmla="*/ 351979 w 697572"/>
                <a:gd name="csY161" fmla="*/ 1149200 h 1240128"/>
                <a:gd name="csX162" fmla="*/ 338443 w 697572"/>
                <a:gd name="csY162" fmla="*/ 1150040 h 1240128"/>
                <a:gd name="csX163" fmla="*/ 338451 w 697572"/>
                <a:gd name="csY163" fmla="*/ 1190780 h 1240128"/>
                <a:gd name="csX164" fmla="*/ 351082 w 697572"/>
                <a:gd name="csY164" fmla="*/ 1207015 h 1240128"/>
                <a:gd name="csX165" fmla="*/ 358298 w 697572"/>
                <a:gd name="csY165" fmla="*/ 1208094 h 1240128"/>
                <a:gd name="csX166" fmla="*/ 521229 w 697572"/>
                <a:gd name="csY166" fmla="*/ 1205646 h 1240128"/>
                <a:gd name="csX167" fmla="*/ 523675 w 697572"/>
                <a:gd name="csY167" fmla="*/ 1205490 h 1240128"/>
                <a:gd name="csX168" fmla="*/ 580423 w 697572"/>
                <a:gd name="csY168" fmla="*/ 1198350 h 1240128"/>
                <a:gd name="csX169" fmla="*/ 636802 w 697572"/>
                <a:gd name="csY169" fmla="*/ 1190940 h 1240128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  <a:cxn ang="0">
                  <a:pos x="csX16" y="csY16"/>
                </a:cxn>
                <a:cxn ang="0">
                  <a:pos x="csX17" y="csY17"/>
                </a:cxn>
                <a:cxn ang="0">
                  <a:pos x="csX18" y="csY18"/>
                </a:cxn>
                <a:cxn ang="0">
                  <a:pos x="csX19" y="csY19"/>
                </a:cxn>
                <a:cxn ang="0">
                  <a:pos x="csX20" y="csY20"/>
                </a:cxn>
                <a:cxn ang="0">
                  <a:pos x="csX21" y="csY21"/>
                </a:cxn>
                <a:cxn ang="0">
                  <a:pos x="csX22" y="csY22"/>
                </a:cxn>
                <a:cxn ang="0">
                  <a:pos x="csX23" y="csY23"/>
                </a:cxn>
                <a:cxn ang="0">
                  <a:pos x="csX24" y="csY24"/>
                </a:cxn>
                <a:cxn ang="0">
                  <a:pos x="csX25" y="csY25"/>
                </a:cxn>
                <a:cxn ang="0">
                  <a:pos x="csX26" y="csY26"/>
                </a:cxn>
                <a:cxn ang="0">
                  <a:pos x="csX27" y="csY27"/>
                </a:cxn>
                <a:cxn ang="0">
                  <a:pos x="csX28" y="csY28"/>
                </a:cxn>
                <a:cxn ang="0">
                  <a:pos x="csX29" y="csY29"/>
                </a:cxn>
                <a:cxn ang="0">
                  <a:pos x="csX30" y="csY30"/>
                </a:cxn>
                <a:cxn ang="0">
                  <a:pos x="csX31" y="csY31"/>
                </a:cxn>
                <a:cxn ang="0">
                  <a:pos x="csX32" y="csY32"/>
                </a:cxn>
                <a:cxn ang="0">
                  <a:pos x="csX33" y="csY33"/>
                </a:cxn>
                <a:cxn ang="0">
                  <a:pos x="csX34" y="csY34"/>
                </a:cxn>
                <a:cxn ang="0">
                  <a:pos x="csX35" y="csY35"/>
                </a:cxn>
                <a:cxn ang="0">
                  <a:pos x="csX36" y="csY36"/>
                </a:cxn>
                <a:cxn ang="0">
                  <a:pos x="csX37" y="csY37"/>
                </a:cxn>
                <a:cxn ang="0">
                  <a:pos x="csX38" y="csY38"/>
                </a:cxn>
                <a:cxn ang="0">
                  <a:pos x="csX39" y="csY39"/>
                </a:cxn>
                <a:cxn ang="0">
                  <a:pos x="csX40" y="csY40"/>
                </a:cxn>
                <a:cxn ang="0">
                  <a:pos x="csX41" y="csY41"/>
                </a:cxn>
                <a:cxn ang="0">
                  <a:pos x="csX42" y="csY42"/>
                </a:cxn>
                <a:cxn ang="0">
                  <a:pos x="csX43" y="csY43"/>
                </a:cxn>
                <a:cxn ang="0">
                  <a:pos x="csX44" y="csY44"/>
                </a:cxn>
                <a:cxn ang="0">
                  <a:pos x="csX45" y="csY45"/>
                </a:cxn>
                <a:cxn ang="0">
                  <a:pos x="csX46" y="csY46"/>
                </a:cxn>
                <a:cxn ang="0">
                  <a:pos x="csX47" y="csY47"/>
                </a:cxn>
                <a:cxn ang="0">
                  <a:pos x="csX48" y="csY48"/>
                </a:cxn>
                <a:cxn ang="0">
                  <a:pos x="csX49" y="csY49"/>
                </a:cxn>
                <a:cxn ang="0">
                  <a:pos x="csX50" y="csY50"/>
                </a:cxn>
                <a:cxn ang="0">
                  <a:pos x="csX51" y="csY51"/>
                </a:cxn>
                <a:cxn ang="0">
                  <a:pos x="csX52" y="csY52"/>
                </a:cxn>
                <a:cxn ang="0">
                  <a:pos x="csX53" y="csY53"/>
                </a:cxn>
                <a:cxn ang="0">
                  <a:pos x="csX54" y="csY54"/>
                </a:cxn>
                <a:cxn ang="0">
                  <a:pos x="csX55" y="csY55"/>
                </a:cxn>
                <a:cxn ang="0">
                  <a:pos x="csX56" y="csY56"/>
                </a:cxn>
                <a:cxn ang="0">
                  <a:pos x="csX57" y="csY57"/>
                </a:cxn>
                <a:cxn ang="0">
                  <a:pos x="csX58" y="csY58"/>
                </a:cxn>
                <a:cxn ang="0">
                  <a:pos x="csX59" y="csY59"/>
                </a:cxn>
                <a:cxn ang="0">
                  <a:pos x="csX60" y="csY60"/>
                </a:cxn>
                <a:cxn ang="0">
                  <a:pos x="csX61" y="csY61"/>
                </a:cxn>
                <a:cxn ang="0">
                  <a:pos x="csX62" y="csY62"/>
                </a:cxn>
                <a:cxn ang="0">
                  <a:pos x="csX63" y="csY63"/>
                </a:cxn>
                <a:cxn ang="0">
                  <a:pos x="csX64" y="csY64"/>
                </a:cxn>
                <a:cxn ang="0">
                  <a:pos x="csX65" y="csY65"/>
                </a:cxn>
                <a:cxn ang="0">
                  <a:pos x="csX66" y="csY66"/>
                </a:cxn>
                <a:cxn ang="0">
                  <a:pos x="csX67" y="csY67"/>
                </a:cxn>
                <a:cxn ang="0">
                  <a:pos x="csX68" y="csY68"/>
                </a:cxn>
                <a:cxn ang="0">
                  <a:pos x="csX69" y="csY69"/>
                </a:cxn>
                <a:cxn ang="0">
                  <a:pos x="csX70" y="csY70"/>
                </a:cxn>
                <a:cxn ang="0">
                  <a:pos x="csX71" y="csY71"/>
                </a:cxn>
                <a:cxn ang="0">
                  <a:pos x="csX72" y="csY72"/>
                </a:cxn>
                <a:cxn ang="0">
                  <a:pos x="csX73" y="csY73"/>
                </a:cxn>
                <a:cxn ang="0">
                  <a:pos x="csX74" y="csY74"/>
                </a:cxn>
                <a:cxn ang="0">
                  <a:pos x="csX75" y="csY75"/>
                </a:cxn>
                <a:cxn ang="0">
                  <a:pos x="csX76" y="csY76"/>
                </a:cxn>
                <a:cxn ang="0">
                  <a:pos x="csX77" y="csY77"/>
                </a:cxn>
                <a:cxn ang="0">
                  <a:pos x="csX78" y="csY78"/>
                </a:cxn>
                <a:cxn ang="0">
                  <a:pos x="csX79" y="csY79"/>
                </a:cxn>
                <a:cxn ang="0">
                  <a:pos x="csX80" y="csY80"/>
                </a:cxn>
                <a:cxn ang="0">
                  <a:pos x="csX81" y="csY81"/>
                </a:cxn>
                <a:cxn ang="0">
                  <a:pos x="csX82" y="csY82"/>
                </a:cxn>
                <a:cxn ang="0">
                  <a:pos x="csX83" y="csY83"/>
                </a:cxn>
                <a:cxn ang="0">
                  <a:pos x="csX84" y="csY84"/>
                </a:cxn>
                <a:cxn ang="0">
                  <a:pos x="csX85" y="csY85"/>
                </a:cxn>
                <a:cxn ang="0">
                  <a:pos x="csX86" y="csY86"/>
                </a:cxn>
                <a:cxn ang="0">
                  <a:pos x="csX87" y="csY87"/>
                </a:cxn>
                <a:cxn ang="0">
                  <a:pos x="csX88" y="csY88"/>
                </a:cxn>
                <a:cxn ang="0">
                  <a:pos x="csX89" y="csY89"/>
                </a:cxn>
                <a:cxn ang="0">
                  <a:pos x="csX90" y="csY90"/>
                </a:cxn>
                <a:cxn ang="0">
                  <a:pos x="csX91" y="csY91"/>
                </a:cxn>
                <a:cxn ang="0">
                  <a:pos x="csX92" y="csY92"/>
                </a:cxn>
                <a:cxn ang="0">
                  <a:pos x="csX93" y="csY93"/>
                </a:cxn>
                <a:cxn ang="0">
                  <a:pos x="csX94" y="csY94"/>
                </a:cxn>
                <a:cxn ang="0">
                  <a:pos x="csX95" y="csY95"/>
                </a:cxn>
                <a:cxn ang="0">
                  <a:pos x="csX96" y="csY96"/>
                </a:cxn>
                <a:cxn ang="0">
                  <a:pos x="csX97" y="csY97"/>
                </a:cxn>
                <a:cxn ang="0">
                  <a:pos x="csX98" y="csY98"/>
                </a:cxn>
                <a:cxn ang="0">
                  <a:pos x="csX99" y="csY99"/>
                </a:cxn>
                <a:cxn ang="0">
                  <a:pos x="csX100" y="csY100"/>
                </a:cxn>
                <a:cxn ang="0">
                  <a:pos x="csX101" y="csY101"/>
                </a:cxn>
                <a:cxn ang="0">
                  <a:pos x="csX102" y="csY102"/>
                </a:cxn>
                <a:cxn ang="0">
                  <a:pos x="csX103" y="csY103"/>
                </a:cxn>
                <a:cxn ang="0">
                  <a:pos x="csX104" y="csY104"/>
                </a:cxn>
                <a:cxn ang="0">
                  <a:pos x="csX105" y="csY105"/>
                </a:cxn>
                <a:cxn ang="0">
                  <a:pos x="csX106" y="csY106"/>
                </a:cxn>
                <a:cxn ang="0">
                  <a:pos x="csX107" y="csY107"/>
                </a:cxn>
                <a:cxn ang="0">
                  <a:pos x="csX108" y="csY108"/>
                </a:cxn>
                <a:cxn ang="0">
                  <a:pos x="csX109" y="csY109"/>
                </a:cxn>
                <a:cxn ang="0">
                  <a:pos x="csX110" y="csY110"/>
                </a:cxn>
                <a:cxn ang="0">
                  <a:pos x="csX111" y="csY111"/>
                </a:cxn>
                <a:cxn ang="0">
                  <a:pos x="csX112" y="csY112"/>
                </a:cxn>
                <a:cxn ang="0">
                  <a:pos x="csX113" y="csY113"/>
                </a:cxn>
                <a:cxn ang="0">
                  <a:pos x="csX114" y="csY114"/>
                </a:cxn>
                <a:cxn ang="0">
                  <a:pos x="csX115" y="csY115"/>
                </a:cxn>
                <a:cxn ang="0">
                  <a:pos x="csX116" y="csY116"/>
                </a:cxn>
                <a:cxn ang="0">
                  <a:pos x="csX117" y="csY117"/>
                </a:cxn>
                <a:cxn ang="0">
                  <a:pos x="csX118" y="csY118"/>
                </a:cxn>
                <a:cxn ang="0">
                  <a:pos x="csX119" y="csY119"/>
                </a:cxn>
                <a:cxn ang="0">
                  <a:pos x="csX120" y="csY120"/>
                </a:cxn>
                <a:cxn ang="0">
                  <a:pos x="csX121" y="csY121"/>
                </a:cxn>
                <a:cxn ang="0">
                  <a:pos x="csX122" y="csY122"/>
                </a:cxn>
                <a:cxn ang="0">
                  <a:pos x="csX123" y="csY123"/>
                </a:cxn>
                <a:cxn ang="0">
                  <a:pos x="csX124" y="csY124"/>
                </a:cxn>
                <a:cxn ang="0">
                  <a:pos x="csX125" y="csY125"/>
                </a:cxn>
                <a:cxn ang="0">
                  <a:pos x="csX126" y="csY126"/>
                </a:cxn>
                <a:cxn ang="0">
                  <a:pos x="csX127" y="csY127"/>
                </a:cxn>
                <a:cxn ang="0">
                  <a:pos x="csX128" y="csY128"/>
                </a:cxn>
                <a:cxn ang="0">
                  <a:pos x="csX129" y="csY129"/>
                </a:cxn>
                <a:cxn ang="0">
                  <a:pos x="csX130" y="csY130"/>
                </a:cxn>
                <a:cxn ang="0">
                  <a:pos x="csX131" y="csY131"/>
                </a:cxn>
                <a:cxn ang="0">
                  <a:pos x="csX132" y="csY132"/>
                </a:cxn>
                <a:cxn ang="0">
                  <a:pos x="csX133" y="csY133"/>
                </a:cxn>
                <a:cxn ang="0">
                  <a:pos x="csX134" y="csY134"/>
                </a:cxn>
                <a:cxn ang="0">
                  <a:pos x="csX135" y="csY135"/>
                </a:cxn>
                <a:cxn ang="0">
                  <a:pos x="csX136" y="csY136"/>
                </a:cxn>
                <a:cxn ang="0">
                  <a:pos x="csX137" y="csY137"/>
                </a:cxn>
                <a:cxn ang="0">
                  <a:pos x="csX138" y="csY138"/>
                </a:cxn>
                <a:cxn ang="0">
                  <a:pos x="csX139" y="csY139"/>
                </a:cxn>
                <a:cxn ang="0">
                  <a:pos x="csX140" y="csY140"/>
                </a:cxn>
                <a:cxn ang="0">
                  <a:pos x="csX141" y="csY141"/>
                </a:cxn>
                <a:cxn ang="0">
                  <a:pos x="csX142" y="csY142"/>
                </a:cxn>
                <a:cxn ang="0">
                  <a:pos x="csX143" y="csY143"/>
                </a:cxn>
                <a:cxn ang="0">
                  <a:pos x="csX144" y="csY144"/>
                </a:cxn>
                <a:cxn ang="0">
                  <a:pos x="csX145" y="csY145"/>
                </a:cxn>
                <a:cxn ang="0">
                  <a:pos x="csX146" y="csY146"/>
                </a:cxn>
                <a:cxn ang="0">
                  <a:pos x="csX147" y="csY147"/>
                </a:cxn>
                <a:cxn ang="0">
                  <a:pos x="csX148" y="csY148"/>
                </a:cxn>
                <a:cxn ang="0">
                  <a:pos x="csX149" y="csY149"/>
                </a:cxn>
                <a:cxn ang="0">
                  <a:pos x="csX150" y="csY150"/>
                </a:cxn>
                <a:cxn ang="0">
                  <a:pos x="csX151" y="csY151"/>
                </a:cxn>
                <a:cxn ang="0">
                  <a:pos x="csX152" y="csY152"/>
                </a:cxn>
                <a:cxn ang="0">
                  <a:pos x="csX153" y="csY153"/>
                </a:cxn>
                <a:cxn ang="0">
                  <a:pos x="csX154" y="csY154"/>
                </a:cxn>
                <a:cxn ang="0">
                  <a:pos x="csX155" y="csY155"/>
                </a:cxn>
                <a:cxn ang="0">
                  <a:pos x="csX156" y="csY156"/>
                </a:cxn>
                <a:cxn ang="0">
                  <a:pos x="csX157" y="csY157"/>
                </a:cxn>
                <a:cxn ang="0">
                  <a:pos x="csX158" y="csY158"/>
                </a:cxn>
                <a:cxn ang="0">
                  <a:pos x="csX159" y="csY159"/>
                </a:cxn>
                <a:cxn ang="0">
                  <a:pos x="csX160" y="csY160"/>
                </a:cxn>
                <a:cxn ang="0">
                  <a:pos x="csX161" y="csY161"/>
                </a:cxn>
                <a:cxn ang="0">
                  <a:pos x="csX162" y="csY162"/>
                </a:cxn>
                <a:cxn ang="0">
                  <a:pos x="csX163" y="csY163"/>
                </a:cxn>
                <a:cxn ang="0">
                  <a:pos x="csX164" y="csY164"/>
                </a:cxn>
                <a:cxn ang="0">
                  <a:pos x="csX165" y="csY165"/>
                </a:cxn>
                <a:cxn ang="0">
                  <a:pos x="csX166" y="csY166"/>
                </a:cxn>
                <a:cxn ang="0">
                  <a:pos x="csX167" y="csY167"/>
                </a:cxn>
                <a:cxn ang="0">
                  <a:pos x="csX168" y="csY168"/>
                </a:cxn>
                <a:cxn ang="0">
                  <a:pos x="csX169" y="csY169"/>
                </a:cxn>
              </a:cxnLst>
              <a:rect l="l" t="t" r="r" b="b"/>
              <a:pathLst>
                <a:path w="697572" h="1240128">
                  <a:moveTo>
                    <a:pt x="581793" y="1234401"/>
                  </a:moveTo>
                  <a:cubicBezTo>
                    <a:pt x="580693" y="1234661"/>
                    <a:pt x="579594" y="1234922"/>
                    <a:pt x="577427" y="1234156"/>
                  </a:cubicBezTo>
                  <a:cubicBezTo>
                    <a:pt x="571216" y="1227899"/>
                    <a:pt x="564912" y="1230441"/>
                    <a:pt x="559133" y="1230909"/>
                  </a:cubicBezTo>
                  <a:cubicBezTo>
                    <a:pt x="544971" y="1232056"/>
                    <a:pt x="530869" y="1233971"/>
                    <a:pt x="516706" y="1235117"/>
                  </a:cubicBezTo>
                  <a:cubicBezTo>
                    <a:pt x="502910" y="1236232"/>
                    <a:pt x="489077" y="1237097"/>
                    <a:pt x="475244" y="1237506"/>
                  </a:cubicBezTo>
                  <a:cubicBezTo>
                    <a:pt x="440539" y="1238535"/>
                    <a:pt x="405696" y="1241458"/>
                    <a:pt x="371154" y="1239428"/>
                  </a:cubicBezTo>
                  <a:cubicBezTo>
                    <a:pt x="339645" y="1237575"/>
                    <a:pt x="308239" y="1238753"/>
                    <a:pt x="276813" y="1237654"/>
                  </a:cubicBezTo>
                  <a:cubicBezTo>
                    <a:pt x="273949" y="1237553"/>
                    <a:pt x="271079" y="1237652"/>
                    <a:pt x="268212" y="1237635"/>
                  </a:cubicBezTo>
                  <a:cubicBezTo>
                    <a:pt x="266165" y="1237623"/>
                    <a:pt x="264111" y="1237668"/>
                    <a:pt x="262072" y="1237523"/>
                  </a:cubicBezTo>
                  <a:cubicBezTo>
                    <a:pt x="239751" y="1235944"/>
                    <a:pt x="217441" y="1234201"/>
                    <a:pt x="195111" y="1232775"/>
                  </a:cubicBezTo>
                  <a:cubicBezTo>
                    <a:pt x="178437" y="1231710"/>
                    <a:pt x="161712" y="1231378"/>
                    <a:pt x="145060" y="1230076"/>
                  </a:cubicBezTo>
                  <a:cubicBezTo>
                    <a:pt x="134969" y="1229287"/>
                    <a:pt x="124987" y="1227177"/>
                    <a:pt x="114933" y="1225832"/>
                  </a:cubicBezTo>
                  <a:cubicBezTo>
                    <a:pt x="100834" y="1223946"/>
                    <a:pt x="86554" y="1223022"/>
                    <a:pt x="72642" y="1220237"/>
                  </a:cubicBezTo>
                  <a:cubicBezTo>
                    <a:pt x="51920" y="1216091"/>
                    <a:pt x="31443" y="1210723"/>
                    <a:pt x="10894" y="1205737"/>
                  </a:cubicBezTo>
                  <a:cubicBezTo>
                    <a:pt x="9027" y="1205284"/>
                    <a:pt x="6196" y="1204140"/>
                    <a:pt x="5856" y="1202799"/>
                  </a:cubicBezTo>
                  <a:cubicBezTo>
                    <a:pt x="3474" y="1193418"/>
                    <a:pt x="-438" y="1183796"/>
                    <a:pt x="40" y="1174450"/>
                  </a:cubicBezTo>
                  <a:cubicBezTo>
                    <a:pt x="1079" y="1154149"/>
                    <a:pt x="9757" y="1135843"/>
                    <a:pt x="19831" y="1118410"/>
                  </a:cubicBezTo>
                  <a:cubicBezTo>
                    <a:pt x="21968" y="1114713"/>
                    <a:pt x="22970" y="1111858"/>
                    <a:pt x="22004" y="1107240"/>
                  </a:cubicBezTo>
                  <a:cubicBezTo>
                    <a:pt x="17168" y="1084118"/>
                    <a:pt x="17717" y="1061168"/>
                    <a:pt x="25947" y="1038650"/>
                  </a:cubicBezTo>
                  <a:cubicBezTo>
                    <a:pt x="32954" y="1019481"/>
                    <a:pt x="44478" y="1003118"/>
                    <a:pt x="58234" y="988567"/>
                  </a:cubicBezTo>
                  <a:cubicBezTo>
                    <a:pt x="77769" y="967902"/>
                    <a:pt x="97978" y="947832"/>
                    <a:pt x="118645" y="928298"/>
                  </a:cubicBezTo>
                  <a:cubicBezTo>
                    <a:pt x="130104" y="917467"/>
                    <a:pt x="131835" y="905961"/>
                    <a:pt x="126320" y="892015"/>
                  </a:cubicBezTo>
                  <a:cubicBezTo>
                    <a:pt x="123798" y="885637"/>
                    <a:pt x="122123" y="878904"/>
                    <a:pt x="120345" y="872258"/>
                  </a:cubicBezTo>
                  <a:cubicBezTo>
                    <a:pt x="119029" y="867341"/>
                    <a:pt x="120162" y="863613"/>
                    <a:pt x="125668" y="861640"/>
                  </a:cubicBezTo>
                  <a:cubicBezTo>
                    <a:pt x="135266" y="858201"/>
                    <a:pt x="144535" y="853788"/>
                    <a:pt x="154237" y="850716"/>
                  </a:cubicBezTo>
                  <a:cubicBezTo>
                    <a:pt x="161882" y="848296"/>
                    <a:pt x="167110" y="843897"/>
                    <a:pt x="170248" y="836767"/>
                  </a:cubicBezTo>
                  <a:cubicBezTo>
                    <a:pt x="176168" y="823316"/>
                    <a:pt x="182193" y="809907"/>
                    <a:pt x="187840" y="796341"/>
                  </a:cubicBezTo>
                  <a:cubicBezTo>
                    <a:pt x="195194" y="778679"/>
                    <a:pt x="202250" y="760894"/>
                    <a:pt x="209346" y="743126"/>
                  </a:cubicBezTo>
                  <a:cubicBezTo>
                    <a:pt x="210083" y="741280"/>
                    <a:pt x="210252" y="739200"/>
                    <a:pt x="210630" y="737219"/>
                  </a:cubicBezTo>
                  <a:cubicBezTo>
                    <a:pt x="211694" y="731645"/>
                    <a:pt x="212425" y="725987"/>
                    <a:pt x="213836" y="720505"/>
                  </a:cubicBezTo>
                  <a:cubicBezTo>
                    <a:pt x="218406" y="702764"/>
                    <a:pt x="223811" y="685219"/>
                    <a:pt x="227791" y="667353"/>
                  </a:cubicBezTo>
                  <a:cubicBezTo>
                    <a:pt x="232826" y="644755"/>
                    <a:pt x="237367" y="622009"/>
                    <a:pt x="241013" y="599151"/>
                  </a:cubicBezTo>
                  <a:cubicBezTo>
                    <a:pt x="244018" y="580319"/>
                    <a:pt x="246001" y="561272"/>
                    <a:pt x="247322" y="542242"/>
                  </a:cubicBezTo>
                  <a:cubicBezTo>
                    <a:pt x="248312" y="527975"/>
                    <a:pt x="246344" y="513451"/>
                    <a:pt x="247948" y="499296"/>
                  </a:cubicBezTo>
                  <a:cubicBezTo>
                    <a:pt x="249066" y="489432"/>
                    <a:pt x="247923" y="480014"/>
                    <a:pt x="247577" y="470384"/>
                  </a:cubicBezTo>
                  <a:cubicBezTo>
                    <a:pt x="247364" y="464453"/>
                    <a:pt x="245121" y="461397"/>
                    <a:pt x="238877" y="460987"/>
                  </a:cubicBezTo>
                  <a:cubicBezTo>
                    <a:pt x="233224" y="460615"/>
                    <a:pt x="227461" y="459920"/>
                    <a:pt x="222040" y="458353"/>
                  </a:cubicBezTo>
                  <a:cubicBezTo>
                    <a:pt x="203991" y="453134"/>
                    <a:pt x="185737" y="448229"/>
                    <a:pt x="172193" y="433714"/>
                  </a:cubicBezTo>
                  <a:cubicBezTo>
                    <a:pt x="162702" y="423544"/>
                    <a:pt x="160887" y="408134"/>
                    <a:pt x="168410" y="396591"/>
                  </a:cubicBezTo>
                  <a:cubicBezTo>
                    <a:pt x="178294" y="381428"/>
                    <a:pt x="193736" y="373793"/>
                    <a:pt x="209826" y="367773"/>
                  </a:cubicBezTo>
                  <a:cubicBezTo>
                    <a:pt x="223159" y="362784"/>
                    <a:pt x="237124" y="359493"/>
                    <a:pt x="250732" y="355208"/>
                  </a:cubicBezTo>
                  <a:cubicBezTo>
                    <a:pt x="253085" y="354467"/>
                    <a:pt x="255058" y="352518"/>
                    <a:pt x="258289" y="350426"/>
                  </a:cubicBezTo>
                  <a:cubicBezTo>
                    <a:pt x="250173" y="342610"/>
                    <a:pt x="241833" y="337880"/>
                    <a:pt x="233274" y="333513"/>
                  </a:cubicBezTo>
                  <a:cubicBezTo>
                    <a:pt x="232377" y="333055"/>
                    <a:pt x="230890" y="333758"/>
                    <a:pt x="229677" y="333922"/>
                  </a:cubicBezTo>
                  <a:cubicBezTo>
                    <a:pt x="229677" y="333922"/>
                    <a:pt x="230323" y="333834"/>
                    <a:pt x="230149" y="332979"/>
                  </a:cubicBezTo>
                  <a:cubicBezTo>
                    <a:pt x="229023" y="330409"/>
                    <a:pt x="228502" y="328059"/>
                    <a:pt x="227053" y="327076"/>
                  </a:cubicBezTo>
                  <a:cubicBezTo>
                    <a:pt x="213615" y="317962"/>
                    <a:pt x="204643" y="305332"/>
                    <a:pt x="196769" y="291380"/>
                  </a:cubicBezTo>
                  <a:cubicBezTo>
                    <a:pt x="191792" y="282564"/>
                    <a:pt x="185421" y="274665"/>
                    <a:pt x="184389" y="264042"/>
                  </a:cubicBezTo>
                  <a:cubicBezTo>
                    <a:pt x="184179" y="261874"/>
                    <a:pt x="181925" y="259908"/>
                    <a:pt x="180630" y="257839"/>
                  </a:cubicBezTo>
                  <a:cubicBezTo>
                    <a:pt x="179137" y="255454"/>
                    <a:pt x="177317" y="253204"/>
                    <a:pt x="176231" y="250643"/>
                  </a:cubicBezTo>
                  <a:cubicBezTo>
                    <a:pt x="161865" y="216749"/>
                    <a:pt x="159606" y="182060"/>
                    <a:pt x="170073" y="146723"/>
                  </a:cubicBezTo>
                  <a:cubicBezTo>
                    <a:pt x="173311" y="135795"/>
                    <a:pt x="177248" y="125074"/>
                    <a:pt x="180929" y="114280"/>
                  </a:cubicBezTo>
                  <a:cubicBezTo>
                    <a:pt x="182396" y="109981"/>
                    <a:pt x="183922" y="105742"/>
                    <a:pt x="180839" y="101501"/>
                  </a:cubicBezTo>
                  <a:cubicBezTo>
                    <a:pt x="192473" y="75833"/>
                    <a:pt x="211344" y="56271"/>
                    <a:pt x="233536" y="39653"/>
                  </a:cubicBezTo>
                  <a:cubicBezTo>
                    <a:pt x="267321" y="14353"/>
                    <a:pt x="305621" y="873"/>
                    <a:pt x="347618" y="35"/>
                  </a:cubicBezTo>
                  <a:cubicBezTo>
                    <a:pt x="379125" y="-593"/>
                    <a:pt x="409214" y="7172"/>
                    <a:pt x="437139" y="22396"/>
                  </a:cubicBezTo>
                  <a:cubicBezTo>
                    <a:pt x="481844" y="46766"/>
                    <a:pt x="514077" y="82116"/>
                    <a:pt x="529052" y="131093"/>
                  </a:cubicBezTo>
                  <a:cubicBezTo>
                    <a:pt x="543544" y="178495"/>
                    <a:pt x="541630" y="225548"/>
                    <a:pt x="518497" y="271517"/>
                  </a:cubicBezTo>
                  <a:cubicBezTo>
                    <a:pt x="511428" y="277096"/>
                    <a:pt x="503848" y="281136"/>
                    <a:pt x="500808" y="287385"/>
                  </a:cubicBezTo>
                  <a:cubicBezTo>
                    <a:pt x="493932" y="301522"/>
                    <a:pt x="483805" y="312513"/>
                    <a:pt x="472948" y="323290"/>
                  </a:cubicBezTo>
                  <a:cubicBezTo>
                    <a:pt x="470972" y="325253"/>
                    <a:pt x="470533" y="328767"/>
                    <a:pt x="469385" y="331565"/>
                  </a:cubicBezTo>
                  <a:cubicBezTo>
                    <a:pt x="469385" y="331565"/>
                    <a:pt x="469172" y="331584"/>
                    <a:pt x="468293" y="331320"/>
                  </a:cubicBezTo>
                  <a:cubicBezTo>
                    <a:pt x="461937" y="330836"/>
                    <a:pt x="458618" y="332772"/>
                    <a:pt x="459542" y="338942"/>
                  </a:cubicBezTo>
                  <a:cubicBezTo>
                    <a:pt x="459542" y="338942"/>
                    <a:pt x="459473" y="338913"/>
                    <a:pt x="458492" y="338671"/>
                  </a:cubicBezTo>
                  <a:cubicBezTo>
                    <a:pt x="450936" y="342653"/>
                    <a:pt x="440712" y="341355"/>
                    <a:pt x="436978" y="352226"/>
                  </a:cubicBezTo>
                  <a:cubicBezTo>
                    <a:pt x="449178" y="355911"/>
                    <a:pt x="460733" y="359469"/>
                    <a:pt x="472329" y="362890"/>
                  </a:cubicBezTo>
                  <a:cubicBezTo>
                    <a:pt x="491728" y="368613"/>
                    <a:pt x="510182" y="375784"/>
                    <a:pt x="523779" y="391962"/>
                  </a:cubicBezTo>
                  <a:cubicBezTo>
                    <a:pt x="535849" y="406326"/>
                    <a:pt x="534845" y="420076"/>
                    <a:pt x="527344" y="430096"/>
                  </a:cubicBezTo>
                  <a:cubicBezTo>
                    <a:pt x="521323" y="438139"/>
                    <a:pt x="513928" y="445333"/>
                    <a:pt x="504112" y="449628"/>
                  </a:cubicBezTo>
                  <a:cubicBezTo>
                    <a:pt x="489776" y="455901"/>
                    <a:pt x="475173" y="460486"/>
                    <a:pt x="459430" y="461116"/>
                  </a:cubicBezTo>
                  <a:cubicBezTo>
                    <a:pt x="448415" y="461557"/>
                    <a:pt x="446384" y="463369"/>
                    <a:pt x="446666" y="474229"/>
                  </a:cubicBezTo>
                  <a:cubicBezTo>
                    <a:pt x="447164" y="493376"/>
                    <a:pt x="447839" y="512533"/>
                    <a:pt x="449133" y="531639"/>
                  </a:cubicBezTo>
                  <a:cubicBezTo>
                    <a:pt x="450424" y="550696"/>
                    <a:pt x="451783" y="569809"/>
                    <a:pt x="454546" y="588688"/>
                  </a:cubicBezTo>
                  <a:cubicBezTo>
                    <a:pt x="457543" y="609164"/>
                    <a:pt x="462165" y="629403"/>
                    <a:pt x="466126" y="649736"/>
                  </a:cubicBezTo>
                  <a:cubicBezTo>
                    <a:pt x="475845" y="699621"/>
                    <a:pt x="493414" y="746980"/>
                    <a:pt x="512154" y="794006"/>
                  </a:cubicBezTo>
                  <a:cubicBezTo>
                    <a:pt x="517387" y="807138"/>
                    <a:pt x="525145" y="819463"/>
                    <a:pt x="525763" y="834323"/>
                  </a:cubicBezTo>
                  <a:cubicBezTo>
                    <a:pt x="525919" y="838081"/>
                    <a:pt x="527739" y="843335"/>
                    <a:pt x="530555" y="845114"/>
                  </a:cubicBezTo>
                  <a:cubicBezTo>
                    <a:pt x="537981" y="849801"/>
                    <a:pt x="546243" y="853278"/>
                    <a:pt x="554424" y="856618"/>
                  </a:cubicBezTo>
                  <a:cubicBezTo>
                    <a:pt x="560391" y="859054"/>
                    <a:pt x="567041" y="859887"/>
                    <a:pt x="572880" y="862546"/>
                  </a:cubicBezTo>
                  <a:cubicBezTo>
                    <a:pt x="581470" y="866458"/>
                    <a:pt x="582467" y="871415"/>
                    <a:pt x="578643" y="880396"/>
                  </a:cubicBezTo>
                  <a:cubicBezTo>
                    <a:pt x="575969" y="886677"/>
                    <a:pt x="572900" y="893182"/>
                    <a:pt x="572188" y="899820"/>
                  </a:cubicBezTo>
                  <a:cubicBezTo>
                    <a:pt x="570960" y="911271"/>
                    <a:pt x="576506" y="920944"/>
                    <a:pt x="582698" y="930382"/>
                  </a:cubicBezTo>
                  <a:cubicBezTo>
                    <a:pt x="589569" y="940856"/>
                    <a:pt x="600933" y="947930"/>
                    <a:pt x="604747" y="960852"/>
                  </a:cubicBezTo>
                  <a:cubicBezTo>
                    <a:pt x="605684" y="964030"/>
                    <a:pt x="610294" y="967128"/>
                    <a:pt x="613863" y="968311"/>
                  </a:cubicBezTo>
                  <a:cubicBezTo>
                    <a:pt x="620963" y="970665"/>
                    <a:pt x="625924" y="974774"/>
                    <a:pt x="629435" y="981186"/>
                  </a:cubicBezTo>
                  <a:cubicBezTo>
                    <a:pt x="630381" y="982913"/>
                    <a:pt x="631977" y="984459"/>
                    <a:pt x="633611" y="985609"/>
                  </a:cubicBezTo>
                  <a:cubicBezTo>
                    <a:pt x="655878" y="1001272"/>
                    <a:pt x="668032" y="1023762"/>
                    <a:pt x="673790" y="1049348"/>
                  </a:cubicBezTo>
                  <a:cubicBezTo>
                    <a:pt x="676936" y="1063327"/>
                    <a:pt x="679769" y="1077802"/>
                    <a:pt x="675873" y="1092839"/>
                  </a:cubicBezTo>
                  <a:cubicBezTo>
                    <a:pt x="672677" y="1105174"/>
                    <a:pt x="673042" y="1116963"/>
                    <a:pt x="681668" y="1129292"/>
                  </a:cubicBezTo>
                  <a:cubicBezTo>
                    <a:pt x="695321" y="1148802"/>
                    <a:pt x="698550" y="1172235"/>
                    <a:pt x="697338" y="1196079"/>
                  </a:cubicBezTo>
                  <a:cubicBezTo>
                    <a:pt x="697087" y="1201014"/>
                    <a:pt x="694979" y="1203886"/>
                    <a:pt x="690637" y="1205035"/>
                  </a:cubicBezTo>
                  <a:cubicBezTo>
                    <a:pt x="673723" y="1209511"/>
                    <a:pt x="656856" y="1214241"/>
                    <a:pt x="639777" y="1217994"/>
                  </a:cubicBezTo>
                  <a:cubicBezTo>
                    <a:pt x="622334" y="1221827"/>
                    <a:pt x="604691" y="1224790"/>
                    <a:pt x="587072" y="1227761"/>
                  </a:cubicBezTo>
                  <a:cubicBezTo>
                    <a:pt x="582708" y="1228497"/>
                    <a:pt x="581724" y="1230736"/>
                    <a:pt x="581793" y="1234401"/>
                  </a:cubicBezTo>
                  <a:moveTo>
                    <a:pt x="357446" y="903795"/>
                  </a:moveTo>
                  <a:cubicBezTo>
                    <a:pt x="353141" y="903795"/>
                    <a:pt x="348835" y="903795"/>
                    <a:pt x="344445" y="903795"/>
                  </a:cubicBezTo>
                  <a:cubicBezTo>
                    <a:pt x="346169" y="920562"/>
                    <a:pt x="347908" y="935520"/>
                    <a:pt x="349212" y="950515"/>
                  </a:cubicBezTo>
                  <a:cubicBezTo>
                    <a:pt x="352656" y="990125"/>
                    <a:pt x="351941" y="1029743"/>
                    <a:pt x="349538" y="1069392"/>
                  </a:cubicBezTo>
                  <a:cubicBezTo>
                    <a:pt x="348759" y="1082241"/>
                    <a:pt x="349415" y="1095176"/>
                    <a:pt x="349415" y="1108925"/>
                  </a:cubicBezTo>
                  <a:cubicBezTo>
                    <a:pt x="449467" y="1111953"/>
                    <a:pt x="548509" y="1104712"/>
                    <a:pt x="647726" y="1089872"/>
                  </a:cubicBezTo>
                  <a:cubicBezTo>
                    <a:pt x="647726" y="1084313"/>
                    <a:pt x="648180" y="1080225"/>
                    <a:pt x="647654" y="1076267"/>
                  </a:cubicBezTo>
                  <a:cubicBezTo>
                    <a:pt x="643515" y="1045124"/>
                    <a:pt x="633172" y="1016714"/>
                    <a:pt x="610267" y="994126"/>
                  </a:cubicBezTo>
                  <a:cubicBezTo>
                    <a:pt x="597451" y="981485"/>
                    <a:pt x="584392" y="969090"/>
                    <a:pt x="571459" y="956568"/>
                  </a:cubicBezTo>
                  <a:cubicBezTo>
                    <a:pt x="555751" y="941359"/>
                    <a:pt x="544836" y="923558"/>
                    <a:pt x="541653" y="901544"/>
                  </a:cubicBezTo>
                  <a:cubicBezTo>
                    <a:pt x="541430" y="900007"/>
                    <a:pt x="540528" y="898570"/>
                    <a:pt x="539477" y="895908"/>
                  </a:cubicBezTo>
                  <a:cubicBezTo>
                    <a:pt x="479736" y="901652"/>
                    <a:pt x="419815" y="904536"/>
                    <a:pt x="357446" y="903795"/>
                  </a:cubicBezTo>
                  <a:moveTo>
                    <a:pt x="300108" y="85260"/>
                  </a:moveTo>
                  <a:cubicBezTo>
                    <a:pt x="293656" y="98745"/>
                    <a:pt x="289202" y="113094"/>
                    <a:pt x="290213" y="127888"/>
                  </a:cubicBezTo>
                  <a:cubicBezTo>
                    <a:pt x="292527" y="161736"/>
                    <a:pt x="304185" y="191723"/>
                    <a:pt x="331056" y="214168"/>
                  </a:cubicBezTo>
                  <a:cubicBezTo>
                    <a:pt x="358172" y="236816"/>
                    <a:pt x="388435" y="249934"/>
                    <a:pt x="424717" y="245160"/>
                  </a:cubicBezTo>
                  <a:cubicBezTo>
                    <a:pt x="468593" y="239387"/>
                    <a:pt x="509574" y="203365"/>
                    <a:pt x="496752" y="141256"/>
                  </a:cubicBezTo>
                  <a:cubicBezTo>
                    <a:pt x="487021" y="94124"/>
                    <a:pt x="447261" y="51874"/>
                    <a:pt x="390320" y="43995"/>
                  </a:cubicBezTo>
                  <a:cubicBezTo>
                    <a:pt x="353241" y="38865"/>
                    <a:pt x="321136" y="48750"/>
                    <a:pt x="300108" y="85260"/>
                  </a:cubicBezTo>
                  <a:moveTo>
                    <a:pt x="343360" y="634332"/>
                  </a:moveTo>
                  <a:cubicBezTo>
                    <a:pt x="342539" y="666975"/>
                    <a:pt x="341785" y="699619"/>
                    <a:pt x="340877" y="732259"/>
                  </a:cubicBezTo>
                  <a:cubicBezTo>
                    <a:pt x="340151" y="758355"/>
                    <a:pt x="339265" y="784447"/>
                    <a:pt x="338360" y="810538"/>
                  </a:cubicBezTo>
                  <a:cubicBezTo>
                    <a:pt x="338277" y="812948"/>
                    <a:pt x="337465" y="815325"/>
                    <a:pt x="337115" y="817736"/>
                  </a:cubicBezTo>
                  <a:cubicBezTo>
                    <a:pt x="334935" y="832710"/>
                    <a:pt x="336026" y="847647"/>
                    <a:pt x="336516" y="863022"/>
                  </a:cubicBezTo>
                  <a:cubicBezTo>
                    <a:pt x="339537" y="863479"/>
                    <a:pt x="341490" y="864053"/>
                    <a:pt x="343436" y="864027"/>
                  </a:cubicBezTo>
                  <a:cubicBezTo>
                    <a:pt x="364531" y="863739"/>
                    <a:pt x="385626" y="863422"/>
                    <a:pt x="406718" y="862982"/>
                  </a:cubicBezTo>
                  <a:cubicBezTo>
                    <a:pt x="423444" y="862634"/>
                    <a:pt x="440168" y="861675"/>
                    <a:pt x="456888" y="861794"/>
                  </a:cubicBezTo>
                  <a:cubicBezTo>
                    <a:pt x="469887" y="861886"/>
                    <a:pt x="482872" y="863302"/>
                    <a:pt x="495873" y="863963"/>
                  </a:cubicBezTo>
                  <a:cubicBezTo>
                    <a:pt x="500358" y="864191"/>
                    <a:pt x="505108" y="864773"/>
                    <a:pt x="509286" y="863595"/>
                  </a:cubicBezTo>
                  <a:cubicBezTo>
                    <a:pt x="512346" y="862732"/>
                    <a:pt x="515714" y="859703"/>
                    <a:pt x="516956" y="856791"/>
                  </a:cubicBezTo>
                  <a:cubicBezTo>
                    <a:pt x="517783" y="854851"/>
                    <a:pt x="515475" y="851192"/>
                    <a:pt x="513920" y="848709"/>
                  </a:cubicBezTo>
                  <a:cubicBezTo>
                    <a:pt x="511791" y="845308"/>
                    <a:pt x="508393" y="842606"/>
                    <a:pt x="506683" y="839054"/>
                  </a:cubicBezTo>
                  <a:cubicBezTo>
                    <a:pt x="500331" y="825864"/>
                    <a:pt x="493224" y="812855"/>
                    <a:pt x="488629" y="799037"/>
                  </a:cubicBezTo>
                  <a:cubicBezTo>
                    <a:pt x="477322" y="765031"/>
                    <a:pt x="466537" y="730814"/>
                    <a:pt x="456922" y="696297"/>
                  </a:cubicBezTo>
                  <a:cubicBezTo>
                    <a:pt x="449953" y="671276"/>
                    <a:pt x="443477" y="646020"/>
                    <a:pt x="441346" y="619885"/>
                  </a:cubicBezTo>
                  <a:cubicBezTo>
                    <a:pt x="440327" y="607371"/>
                    <a:pt x="437466" y="595018"/>
                    <a:pt x="435963" y="582529"/>
                  </a:cubicBezTo>
                  <a:cubicBezTo>
                    <a:pt x="433539" y="562380"/>
                    <a:pt x="431154" y="542212"/>
                    <a:pt x="429497" y="521990"/>
                  </a:cubicBezTo>
                  <a:cubicBezTo>
                    <a:pt x="428135" y="505363"/>
                    <a:pt x="428437" y="488593"/>
                    <a:pt x="426887" y="471989"/>
                  </a:cubicBezTo>
                  <a:cubicBezTo>
                    <a:pt x="425874" y="461140"/>
                    <a:pt x="424983" y="461120"/>
                    <a:pt x="413744" y="461077"/>
                  </a:cubicBezTo>
                  <a:cubicBezTo>
                    <a:pt x="393687" y="461000"/>
                    <a:pt x="373630" y="461011"/>
                    <a:pt x="353573" y="461120"/>
                  </a:cubicBezTo>
                  <a:cubicBezTo>
                    <a:pt x="350472" y="461137"/>
                    <a:pt x="347374" y="461869"/>
                    <a:pt x="344160" y="462286"/>
                  </a:cubicBezTo>
                  <a:cubicBezTo>
                    <a:pt x="343828" y="465198"/>
                    <a:pt x="343406" y="467195"/>
                    <a:pt x="343404" y="469192"/>
                  </a:cubicBezTo>
                  <a:cubicBezTo>
                    <a:pt x="343360" y="504394"/>
                    <a:pt x="343267" y="539596"/>
                    <a:pt x="343469" y="574797"/>
                  </a:cubicBezTo>
                  <a:cubicBezTo>
                    <a:pt x="343501" y="580426"/>
                    <a:pt x="345652" y="586065"/>
                    <a:pt x="345522" y="591669"/>
                  </a:cubicBezTo>
                  <a:cubicBezTo>
                    <a:pt x="345214" y="605082"/>
                    <a:pt x="344131" y="618478"/>
                    <a:pt x="343360" y="634332"/>
                  </a:cubicBezTo>
                  <a:moveTo>
                    <a:pt x="416946" y="385943"/>
                  </a:moveTo>
                  <a:cubicBezTo>
                    <a:pt x="411661" y="386365"/>
                    <a:pt x="406384" y="387006"/>
                    <a:pt x="401091" y="387162"/>
                  </a:cubicBezTo>
                  <a:cubicBezTo>
                    <a:pt x="390470" y="387477"/>
                    <a:pt x="379841" y="387447"/>
                    <a:pt x="369218" y="387708"/>
                  </a:cubicBezTo>
                  <a:cubicBezTo>
                    <a:pt x="361167" y="387906"/>
                    <a:pt x="354429" y="391368"/>
                    <a:pt x="351833" y="398991"/>
                  </a:cubicBezTo>
                  <a:cubicBezTo>
                    <a:pt x="348989" y="407342"/>
                    <a:pt x="347050" y="416214"/>
                    <a:pt x="349778" y="426021"/>
                  </a:cubicBezTo>
                  <a:cubicBezTo>
                    <a:pt x="353876" y="426204"/>
                    <a:pt x="357857" y="426517"/>
                    <a:pt x="361839" y="426538"/>
                  </a:cubicBezTo>
                  <a:cubicBezTo>
                    <a:pt x="392900" y="426701"/>
                    <a:pt x="423961" y="426826"/>
                    <a:pt x="455022" y="426922"/>
                  </a:cubicBezTo>
                  <a:cubicBezTo>
                    <a:pt x="464013" y="426950"/>
                    <a:pt x="473106" y="427654"/>
                    <a:pt x="481958" y="426527"/>
                  </a:cubicBezTo>
                  <a:cubicBezTo>
                    <a:pt x="488144" y="425740"/>
                    <a:pt x="494821" y="423501"/>
                    <a:pt x="499817" y="419888"/>
                  </a:cubicBezTo>
                  <a:cubicBezTo>
                    <a:pt x="507869" y="414066"/>
                    <a:pt x="507286" y="406755"/>
                    <a:pt x="499439" y="400719"/>
                  </a:cubicBezTo>
                  <a:cubicBezTo>
                    <a:pt x="490179" y="393597"/>
                    <a:pt x="479486" y="388885"/>
                    <a:pt x="468062" y="387775"/>
                  </a:cubicBezTo>
                  <a:cubicBezTo>
                    <a:pt x="451873" y="386202"/>
                    <a:pt x="435520" y="386321"/>
                    <a:pt x="416946" y="385943"/>
                  </a:cubicBezTo>
                  <a:moveTo>
                    <a:pt x="636802" y="1190940"/>
                  </a:moveTo>
                  <a:cubicBezTo>
                    <a:pt x="646709" y="1188723"/>
                    <a:pt x="656705" y="1186841"/>
                    <a:pt x="666492" y="1184186"/>
                  </a:cubicBezTo>
                  <a:cubicBezTo>
                    <a:pt x="674710" y="1181958"/>
                    <a:pt x="676989" y="1178509"/>
                    <a:pt x="674465" y="1170880"/>
                  </a:cubicBezTo>
                  <a:cubicBezTo>
                    <a:pt x="671144" y="1160843"/>
                    <a:pt x="667026" y="1151009"/>
                    <a:pt x="662462" y="1141464"/>
                  </a:cubicBezTo>
                  <a:cubicBezTo>
                    <a:pt x="659273" y="1134795"/>
                    <a:pt x="653671" y="1130908"/>
                    <a:pt x="645564" y="1131937"/>
                  </a:cubicBezTo>
                  <a:cubicBezTo>
                    <a:pt x="639532" y="1132703"/>
                    <a:pt x="633423" y="1132867"/>
                    <a:pt x="627387" y="1133618"/>
                  </a:cubicBezTo>
                  <a:cubicBezTo>
                    <a:pt x="612888" y="1135421"/>
                    <a:pt x="598449" y="1137770"/>
                    <a:pt x="583917" y="1139222"/>
                  </a:cubicBezTo>
                  <a:cubicBezTo>
                    <a:pt x="570571" y="1140557"/>
                    <a:pt x="557130" y="1140930"/>
                    <a:pt x="543741" y="1141869"/>
                  </a:cubicBezTo>
                  <a:cubicBezTo>
                    <a:pt x="533202" y="1142610"/>
                    <a:pt x="522682" y="1143623"/>
                    <a:pt x="512146" y="1144418"/>
                  </a:cubicBezTo>
                  <a:cubicBezTo>
                    <a:pt x="490671" y="1146038"/>
                    <a:pt x="469214" y="1148450"/>
                    <a:pt x="447711" y="1148973"/>
                  </a:cubicBezTo>
                  <a:cubicBezTo>
                    <a:pt x="415817" y="1149749"/>
                    <a:pt x="383891" y="1149136"/>
                    <a:pt x="351979" y="1149200"/>
                  </a:cubicBezTo>
                  <a:cubicBezTo>
                    <a:pt x="347698" y="1149209"/>
                    <a:pt x="343419" y="1149717"/>
                    <a:pt x="338443" y="1150040"/>
                  </a:cubicBezTo>
                  <a:cubicBezTo>
                    <a:pt x="338443" y="1164651"/>
                    <a:pt x="338413" y="1177715"/>
                    <a:pt x="338451" y="1190780"/>
                  </a:cubicBezTo>
                  <a:cubicBezTo>
                    <a:pt x="338490" y="1204031"/>
                    <a:pt x="338512" y="1204062"/>
                    <a:pt x="351082" y="1207015"/>
                  </a:cubicBezTo>
                  <a:cubicBezTo>
                    <a:pt x="353445" y="1207570"/>
                    <a:pt x="355895" y="1208128"/>
                    <a:pt x="358298" y="1208094"/>
                  </a:cubicBezTo>
                  <a:cubicBezTo>
                    <a:pt x="412608" y="1207329"/>
                    <a:pt x="466919" y="1206484"/>
                    <a:pt x="521229" y="1205646"/>
                  </a:cubicBezTo>
                  <a:cubicBezTo>
                    <a:pt x="522045" y="1205634"/>
                    <a:pt x="522865" y="1205591"/>
                    <a:pt x="523675" y="1205490"/>
                  </a:cubicBezTo>
                  <a:cubicBezTo>
                    <a:pt x="542593" y="1203123"/>
                    <a:pt x="561519" y="1200820"/>
                    <a:pt x="580423" y="1198350"/>
                  </a:cubicBezTo>
                  <a:cubicBezTo>
                    <a:pt x="598523" y="1195985"/>
                    <a:pt x="616599" y="1193446"/>
                    <a:pt x="636802" y="1190940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1227" cap="flat">
              <a:noFill/>
              <a:prstDash val="solid"/>
              <a:miter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362" name="Free-form: Shape 361">
              <a:extLst>
                <a:ext uri="{FF2B5EF4-FFF2-40B4-BE49-F238E27FC236}">
                  <a16:creationId xmlns:a16="http://schemas.microsoft.com/office/drawing/2014/main" id="{53B775E9-AFEF-D33A-C936-D476124EFE12}"/>
                </a:ext>
              </a:extLst>
            </p:cNvPr>
            <p:cNvSpPr/>
            <p:nvPr/>
          </p:nvSpPr>
          <p:spPr>
            <a:xfrm>
              <a:off x="8061290" y="4865600"/>
              <a:ext cx="20792" cy="2198"/>
            </a:xfrm>
            <a:custGeom>
              <a:avLst/>
              <a:gdLst>
                <a:gd name="csX0" fmla="*/ 0 w 27674"/>
                <a:gd name="csY0" fmla="*/ 2915 h 2925"/>
                <a:gd name="csX1" fmla="*/ 27675 w 27674"/>
                <a:gd name="csY1" fmla="*/ 1550 h 2925"/>
                <a:gd name="csX2" fmla="*/ 0 w 27674"/>
                <a:gd name="csY2" fmla="*/ 2915 h 2925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</a:cxnLst>
              <a:rect l="l" t="t" r="r" b="b"/>
              <a:pathLst>
                <a:path w="27674" h="2925">
                  <a:moveTo>
                    <a:pt x="0" y="2915"/>
                  </a:moveTo>
                  <a:cubicBezTo>
                    <a:pt x="8211" y="-1939"/>
                    <a:pt x="17625" y="498"/>
                    <a:pt x="27675" y="1550"/>
                  </a:cubicBezTo>
                  <a:cubicBezTo>
                    <a:pt x="19225" y="2593"/>
                    <a:pt x="10029" y="2999"/>
                    <a:pt x="0" y="2915"/>
                  </a:cubicBezTo>
                  <a:close/>
                </a:path>
              </a:pathLst>
            </a:custGeom>
            <a:solidFill>
              <a:schemeClr val="bg1"/>
            </a:solidFill>
            <a:ln w="1227" cap="flat">
              <a:noFill/>
              <a:prstDash val="solid"/>
              <a:miter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363" name="Free-form: Shape 362">
              <a:extLst>
                <a:ext uri="{FF2B5EF4-FFF2-40B4-BE49-F238E27FC236}">
                  <a16:creationId xmlns:a16="http://schemas.microsoft.com/office/drawing/2014/main" id="{52AB2231-7332-52E0-77F0-65D75BBFA4CD}"/>
                </a:ext>
              </a:extLst>
            </p:cNvPr>
            <p:cNvSpPr/>
            <p:nvPr/>
          </p:nvSpPr>
          <p:spPr>
            <a:xfrm>
              <a:off x="8004052" y="4866839"/>
              <a:ext cx="13526" cy="847"/>
            </a:xfrm>
            <a:custGeom>
              <a:avLst/>
              <a:gdLst>
                <a:gd name="csX0" fmla="*/ 0 w 18003"/>
                <a:gd name="csY0" fmla="*/ 1050 h 1128"/>
                <a:gd name="csX1" fmla="*/ 18004 w 18003"/>
                <a:gd name="csY1" fmla="*/ 93 h 1128"/>
                <a:gd name="csX2" fmla="*/ 0 w 18003"/>
                <a:gd name="csY2" fmla="*/ 1050 h 1128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</a:cxnLst>
              <a:rect l="l" t="t" r="r" b="b"/>
              <a:pathLst>
                <a:path w="18003" h="1128">
                  <a:moveTo>
                    <a:pt x="0" y="1050"/>
                  </a:moveTo>
                  <a:cubicBezTo>
                    <a:pt x="5276" y="182"/>
                    <a:pt x="11306" y="-189"/>
                    <a:pt x="18004" y="93"/>
                  </a:cubicBezTo>
                  <a:cubicBezTo>
                    <a:pt x="12699" y="1013"/>
                    <a:pt x="6726" y="1280"/>
                    <a:pt x="0" y="1050"/>
                  </a:cubicBezTo>
                  <a:close/>
                </a:path>
              </a:pathLst>
            </a:custGeom>
            <a:solidFill>
              <a:schemeClr val="bg1"/>
            </a:solidFill>
            <a:ln w="1227" cap="flat">
              <a:noFill/>
              <a:prstDash val="solid"/>
              <a:miter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364" name="Free-form: Shape 363">
              <a:extLst>
                <a:ext uri="{FF2B5EF4-FFF2-40B4-BE49-F238E27FC236}">
                  <a16:creationId xmlns:a16="http://schemas.microsoft.com/office/drawing/2014/main" id="{E6E5BACF-C012-604F-6A25-180404602708}"/>
                </a:ext>
              </a:extLst>
            </p:cNvPr>
            <p:cNvSpPr/>
            <p:nvPr/>
          </p:nvSpPr>
          <p:spPr>
            <a:xfrm>
              <a:off x="8102022" y="4181012"/>
              <a:ext cx="6361" cy="5889"/>
            </a:xfrm>
            <a:custGeom>
              <a:avLst/>
              <a:gdLst>
                <a:gd name="csX0" fmla="*/ 473 w 8466"/>
                <a:gd name="csY0" fmla="*/ 7839 h 7838"/>
                <a:gd name="csX1" fmla="*/ 8466 w 8466"/>
                <a:gd name="csY1" fmla="*/ 61 h 7838"/>
                <a:gd name="csX2" fmla="*/ 473 w 8466"/>
                <a:gd name="csY2" fmla="*/ 7839 h 7838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</a:cxnLst>
              <a:rect l="l" t="t" r="r" b="b"/>
              <a:pathLst>
                <a:path w="8466" h="7838">
                  <a:moveTo>
                    <a:pt x="473" y="7839"/>
                  </a:moveTo>
                  <a:cubicBezTo>
                    <a:pt x="-1298" y="1550"/>
                    <a:pt x="2020" y="-386"/>
                    <a:pt x="8466" y="61"/>
                  </a:cubicBezTo>
                  <a:cubicBezTo>
                    <a:pt x="6730" y="2845"/>
                    <a:pt x="4026" y="5401"/>
                    <a:pt x="473" y="7839"/>
                  </a:cubicBezTo>
                  <a:close/>
                </a:path>
              </a:pathLst>
            </a:custGeom>
            <a:solidFill>
              <a:srgbClr val="CDD9DF"/>
            </a:solidFill>
            <a:ln w="1227" cap="flat">
              <a:noFill/>
              <a:prstDash val="solid"/>
              <a:miter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365" name="Free-form: Shape 364">
              <a:extLst>
                <a:ext uri="{FF2B5EF4-FFF2-40B4-BE49-F238E27FC236}">
                  <a16:creationId xmlns:a16="http://schemas.microsoft.com/office/drawing/2014/main" id="{5AB68CB3-8AF8-076B-40DA-3FE37FDEB7FE}"/>
                </a:ext>
              </a:extLst>
            </p:cNvPr>
            <p:cNvSpPr/>
            <p:nvPr/>
          </p:nvSpPr>
          <p:spPr>
            <a:xfrm>
              <a:off x="7937467" y="4865007"/>
              <a:ext cx="6371" cy="748"/>
            </a:xfrm>
            <a:custGeom>
              <a:avLst/>
              <a:gdLst>
                <a:gd name="csX0" fmla="*/ 0 w 8480"/>
                <a:gd name="csY0" fmla="*/ 896 h 996"/>
                <a:gd name="csX1" fmla="*/ 8480 w 8480"/>
                <a:gd name="csY1" fmla="*/ 110 h 996"/>
                <a:gd name="csX2" fmla="*/ 0 w 8480"/>
                <a:gd name="csY2" fmla="*/ 896 h 996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</a:cxnLst>
              <a:rect l="l" t="t" r="r" b="b"/>
              <a:pathLst>
                <a:path w="8480" h="996">
                  <a:moveTo>
                    <a:pt x="0" y="896"/>
                  </a:moveTo>
                  <a:cubicBezTo>
                    <a:pt x="2285" y="115"/>
                    <a:pt x="5130" y="-182"/>
                    <a:pt x="8480" y="110"/>
                  </a:cubicBezTo>
                  <a:cubicBezTo>
                    <a:pt x="6177" y="927"/>
                    <a:pt x="3368" y="1153"/>
                    <a:pt x="0" y="896"/>
                  </a:cubicBezTo>
                  <a:close/>
                </a:path>
              </a:pathLst>
            </a:custGeom>
            <a:solidFill>
              <a:schemeClr val="bg1"/>
            </a:solidFill>
            <a:ln w="1227" cap="flat">
              <a:noFill/>
              <a:prstDash val="solid"/>
              <a:miter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366" name="Free-form: Shape 365">
              <a:extLst>
                <a:ext uri="{FF2B5EF4-FFF2-40B4-BE49-F238E27FC236}">
                  <a16:creationId xmlns:a16="http://schemas.microsoft.com/office/drawing/2014/main" id="{78FE1C49-AAF9-C1F0-6152-A142AC737A58}"/>
                </a:ext>
              </a:extLst>
            </p:cNvPr>
            <p:cNvSpPr/>
            <p:nvPr/>
          </p:nvSpPr>
          <p:spPr>
            <a:xfrm>
              <a:off x="8284448" y="4832908"/>
              <a:ext cx="923" cy="5002"/>
            </a:xfrm>
            <a:custGeom>
              <a:avLst/>
              <a:gdLst>
                <a:gd name="csX0" fmla="*/ 132 w 1229"/>
                <a:gd name="csY0" fmla="*/ 6659 h 6658"/>
                <a:gd name="csX1" fmla="*/ 1107 w 1229"/>
                <a:gd name="csY1" fmla="*/ 0 h 6658"/>
                <a:gd name="csX2" fmla="*/ 132 w 1229"/>
                <a:gd name="csY2" fmla="*/ 6659 h 6658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</a:cxnLst>
              <a:rect l="l" t="t" r="r" b="b"/>
              <a:pathLst>
                <a:path w="1229" h="6658">
                  <a:moveTo>
                    <a:pt x="132" y="6659"/>
                  </a:moveTo>
                  <a:cubicBezTo>
                    <a:pt x="-219" y="4616"/>
                    <a:pt x="139" y="2560"/>
                    <a:pt x="1107" y="0"/>
                  </a:cubicBezTo>
                  <a:cubicBezTo>
                    <a:pt x="1425" y="1879"/>
                    <a:pt x="1133" y="4263"/>
                    <a:pt x="132" y="6659"/>
                  </a:cubicBezTo>
                  <a:close/>
                </a:path>
              </a:pathLst>
            </a:custGeom>
            <a:solidFill>
              <a:schemeClr val="bg1"/>
            </a:solidFill>
            <a:ln w="1227" cap="flat">
              <a:noFill/>
              <a:prstDash val="solid"/>
              <a:miter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367" name="Free-form: Shape 366">
              <a:extLst>
                <a:ext uri="{FF2B5EF4-FFF2-40B4-BE49-F238E27FC236}">
                  <a16:creationId xmlns:a16="http://schemas.microsoft.com/office/drawing/2014/main" id="{34D205EA-A407-1A42-34B1-18638A6A4696}"/>
                </a:ext>
              </a:extLst>
            </p:cNvPr>
            <p:cNvSpPr/>
            <p:nvPr/>
          </p:nvSpPr>
          <p:spPr>
            <a:xfrm>
              <a:off x="8203140" y="4857443"/>
              <a:ext cx="2846" cy="1025"/>
            </a:xfrm>
            <a:custGeom>
              <a:avLst/>
              <a:gdLst>
                <a:gd name="csX0" fmla="*/ 0 w 3788"/>
                <a:gd name="csY0" fmla="*/ 1364 h 1364"/>
                <a:gd name="csX1" fmla="*/ 3788 w 3788"/>
                <a:gd name="csY1" fmla="*/ 0 h 1364"/>
                <a:gd name="csX2" fmla="*/ 0 w 3788"/>
                <a:gd name="csY2" fmla="*/ 1364 h 1364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</a:cxnLst>
              <a:rect l="l" t="t" r="r" b="b"/>
              <a:pathLst>
                <a:path w="3788" h="1364">
                  <a:moveTo>
                    <a:pt x="0" y="1364"/>
                  </a:moveTo>
                  <a:cubicBezTo>
                    <a:pt x="856" y="517"/>
                    <a:pt x="2126" y="39"/>
                    <a:pt x="3788" y="0"/>
                  </a:cubicBezTo>
                  <a:cubicBezTo>
                    <a:pt x="2925" y="870"/>
                    <a:pt x="1670" y="1303"/>
                    <a:pt x="0" y="1364"/>
                  </a:cubicBezTo>
                  <a:close/>
                </a:path>
              </a:pathLst>
            </a:custGeom>
            <a:solidFill>
              <a:schemeClr val="bg1"/>
            </a:solidFill>
            <a:ln w="1227" cap="flat">
              <a:noFill/>
              <a:prstDash val="solid"/>
              <a:miter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368" name="Free-form: Shape 367">
              <a:extLst>
                <a:ext uri="{FF2B5EF4-FFF2-40B4-BE49-F238E27FC236}">
                  <a16:creationId xmlns:a16="http://schemas.microsoft.com/office/drawing/2014/main" id="{5CDDCA12-0213-8DE5-1E75-DC3400FB5EB5}"/>
                </a:ext>
              </a:extLst>
            </p:cNvPr>
            <p:cNvSpPr/>
            <p:nvPr/>
          </p:nvSpPr>
          <p:spPr>
            <a:xfrm>
              <a:off x="7874525" y="4861404"/>
              <a:ext cx="2998" cy="623"/>
            </a:xfrm>
            <a:custGeom>
              <a:avLst/>
              <a:gdLst>
                <a:gd name="csX0" fmla="*/ 0 w 3990"/>
                <a:gd name="csY0" fmla="*/ 719 h 829"/>
                <a:gd name="csX1" fmla="*/ 3990 w 3990"/>
                <a:gd name="csY1" fmla="*/ 119 h 829"/>
                <a:gd name="csX2" fmla="*/ 0 w 3990"/>
                <a:gd name="csY2" fmla="*/ 719 h 829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</a:cxnLst>
              <a:rect l="l" t="t" r="r" b="b"/>
              <a:pathLst>
                <a:path w="3990" h="829">
                  <a:moveTo>
                    <a:pt x="0" y="719"/>
                  </a:moveTo>
                  <a:cubicBezTo>
                    <a:pt x="982" y="66"/>
                    <a:pt x="2323" y="-163"/>
                    <a:pt x="3990" y="119"/>
                  </a:cubicBezTo>
                  <a:cubicBezTo>
                    <a:pt x="2998" y="800"/>
                    <a:pt x="1678" y="972"/>
                    <a:pt x="0" y="719"/>
                  </a:cubicBezTo>
                  <a:close/>
                </a:path>
              </a:pathLst>
            </a:custGeom>
            <a:solidFill>
              <a:srgbClr val="959DA0"/>
            </a:solidFill>
            <a:ln w="1227" cap="flat">
              <a:noFill/>
              <a:prstDash val="solid"/>
              <a:miter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369" name="Free-form: Shape 368">
              <a:extLst>
                <a:ext uri="{FF2B5EF4-FFF2-40B4-BE49-F238E27FC236}">
                  <a16:creationId xmlns:a16="http://schemas.microsoft.com/office/drawing/2014/main" id="{EAB558A4-7F37-15CC-107B-B3EC6D3F87EA}"/>
                </a:ext>
              </a:extLst>
            </p:cNvPr>
            <p:cNvSpPr/>
            <p:nvPr/>
          </p:nvSpPr>
          <p:spPr>
            <a:xfrm>
              <a:off x="8129288" y="4864981"/>
              <a:ext cx="2925" cy="853"/>
            </a:xfrm>
            <a:custGeom>
              <a:avLst/>
              <a:gdLst>
                <a:gd name="csX0" fmla="*/ 0 w 3893"/>
                <a:gd name="csY0" fmla="*/ 1133 h 1135"/>
                <a:gd name="csX1" fmla="*/ 3893 w 3893"/>
                <a:gd name="csY1" fmla="*/ 7 h 1135"/>
                <a:gd name="csX2" fmla="*/ 0 w 3893"/>
                <a:gd name="csY2" fmla="*/ 1133 h 1135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</a:cxnLst>
              <a:rect l="l" t="t" r="r" b="b"/>
              <a:pathLst>
                <a:path w="3893" h="1135">
                  <a:moveTo>
                    <a:pt x="0" y="1133"/>
                  </a:moveTo>
                  <a:cubicBezTo>
                    <a:pt x="902" y="349"/>
                    <a:pt x="2213" y="-60"/>
                    <a:pt x="3893" y="7"/>
                  </a:cubicBezTo>
                  <a:cubicBezTo>
                    <a:pt x="2978" y="825"/>
                    <a:pt x="1693" y="1167"/>
                    <a:pt x="0" y="1133"/>
                  </a:cubicBezTo>
                  <a:close/>
                </a:path>
              </a:pathLst>
            </a:custGeom>
            <a:solidFill>
              <a:schemeClr val="bg1"/>
            </a:solidFill>
            <a:ln w="1227" cap="flat">
              <a:noFill/>
              <a:prstDash val="solid"/>
              <a:miter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370" name="Free-form: Shape 369">
              <a:extLst>
                <a:ext uri="{FF2B5EF4-FFF2-40B4-BE49-F238E27FC236}">
                  <a16:creationId xmlns:a16="http://schemas.microsoft.com/office/drawing/2014/main" id="{55B69689-7AF2-512A-0EFA-FB2D56AB33D9}"/>
                </a:ext>
              </a:extLst>
            </p:cNvPr>
            <p:cNvSpPr/>
            <p:nvPr/>
          </p:nvSpPr>
          <p:spPr>
            <a:xfrm>
              <a:off x="8008777" y="4278537"/>
              <a:ext cx="136231" cy="302992"/>
            </a:xfrm>
            <a:custGeom>
              <a:avLst/>
              <a:gdLst>
                <a:gd name="csX0" fmla="*/ 7554 w 181323"/>
                <a:gd name="csY0" fmla="*/ 172079 h 403282"/>
                <a:gd name="csX1" fmla="*/ 9716 w 181323"/>
                <a:gd name="csY1" fmla="*/ 130641 h 403282"/>
                <a:gd name="csX2" fmla="*/ 7663 w 181323"/>
                <a:gd name="csY2" fmla="*/ 113770 h 403282"/>
                <a:gd name="csX3" fmla="*/ 7598 w 181323"/>
                <a:gd name="csY3" fmla="*/ 8165 h 403282"/>
                <a:gd name="csX4" fmla="*/ 8353 w 181323"/>
                <a:gd name="csY4" fmla="*/ 1259 h 403282"/>
                <a:gd name="csX5" fmla="*/ 17767 w 181323"/>
                <a:gd name="csY5" fmla="*/ 93 h 403282"/>
                <a:gd name="csX6" fmla="*/ 77938 w 181323"/>
                <a:gd name="csY6" fmla="*/ 50 h 403282"/>
                <a:gd name="csX7" fmla="*/ 91081 w 181323"/>
                <a:gd name="csY7" fmla="*/ 10962 h 403282"/>
                <a:gd name="csX8" fmla="*/ 93691 w 181323"/>
                <a:gd name="csY8" fmla="*/ 60963 h 403282"/>
                <a:gd name="csX9" fmla="*/ 100157 w 181323"/>
                <a:gd name="csY9" fmla="*/ 121501 h 403282"/>
                <a:gd name="csX10" fmla="*/ 105540 w 181323"/>
                <a:gd name="csY10" fmla="*/ 158857 h 403282"/>
                <a:gd name="csX11" fmla="*/ 121116 w 181323"/>
                <a:gd name="csY11" fmla="*/ 235269 h 403282"/>
                <a:gd name="csX12" fmla="*/ 152823 w 181323"/>
                <a:gd name="csY12" fmla="*/ 338010 h 403282"/>
                <a:gd name="csX13" fmla="*/ 170877 w 181323"/>
                <a:gd name="csY13" fmla="*/ 378027 h 403282"/>
                <a:gd name="csX14" fmla="*/ 178114 w 181323"/>
                <a:gd name="csY14" fmla="*/ 387682 h 403282"/>
                <a:gd name="csX15" fmla="*/ 181150 w 181323"/>
                <a:gd name="csY15" fmla="*/ 395764 h 403282"/>
                <a:gd name="csX16" fmla="*/ 173480 w 181323"/>
                <a:gd name="csY16" fmla="*/ 402568 h 403282"/>
                <a:gd name="csX17" fmla="*/ 160067 w 181323"/>
                <a:gd name="csY17" fmla="*/ 402936 h 403282"/>
                <a:gd name="csX18" fmla="*/ 121081 w 181323"/>
                <a:gd name="csY18" fmla="*/ 400766 h 403282"/>
                <a:gd name="csX19" fmla="*/ 70912 w 181323"/>
                <a:gd name="csY19" fmla="*/ 401955 h 403282"/>
                <a:gd name="csX20" fmla="*/ 7630 w 181323"/>
                <a:gd name="csY20" fmla="*/ 402999 h 403282"/>
                <a:gd name="csX21" fmla="*/ 710 w 181323"/>
                <a:gd name="csY21" fmla="*/ 401995 h 403282"/>
                <a:gd name="csX22" fmla="*/ 1308 w 181323"/>
                <a:gd name="csY22" fmla="*/ 356708 h 403282"/>
                <a:gd name="csX23" fmla="*/ 2554 w 181323"/>
                <a:gd name="csY23" fmla="*/ 349510 h 403282"/>
                <a:gd name="csX24" fmla="*/ 5071 w 181323"/>
                <a:gd name="csY24" fmla="*/ 271231 h 403282"/>
                <a:gd name="csX25" fmla="*/ 7554 w 181323"/>
                <a:gd name="csY25" fmla="*/ 172079 h 403282"/>
                <a:gd name="csX26" fmla="*/ 98286 w 181323"/>
                <a:gd name="csY26" fmla="*/ 163566 h 403282"/>
                <a:gd name="csX27" fmla="*/ 83497 w 181323"/>
                <a:gd name="csY27" fmla="*/ 8289 h 403282"/>
                <a:gd name="csX28" fmla="*/ 15161 w 181323"/>
                <a:gd name="csY28" fmla="*/ 9148 h 403282"/>
                <a:gd name="csX29" fmla="*/ 15058 w 181323"/>
                <a:gd name="csY29" fmla="*/ 137939 h 403282"/>
                <a:gd name="csX30" fmla="*/ 12252 w 181323"/>
                <a:gd name="csY30" fmla="*/ 266862 h 403282"/>
                <a:gd name="csX31" fmla="*/ 7068 w 181323"/>
                <a:gd name="csY31" fmla="*/ 395996 h 403282"/>
                <a:gd name="csX32" fmla="*/ 171647 w 181323"/>
                <a:gd name="csY32" fmla="*/ 395996 h 403282"/>
                <a:gd name="csX33" fmla="*/ 119950 w 181323"/>
                <a:gd name="csY33" fmla="*/ 259496 h 403282"/>
                <a:gd name="csX34" fmla="*/ 98286 w 181323"/>
                <a:gd name="csY34" fmla="*/ 163566 h 403282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  <a:cxn ang="0">
                  <a:pos x="csX16" y="csY16"/>
                </a:cxn>
                <a:cxn ang="0">
                  <a:pos x="csX17" y="csY17"/>
                </a:cxn>
                <a:cxn ang="0">
                  <a:pos x="csX18" y="csY18"/>
                </a:cxn>
                <a:cxn ang="0">
                  <a:pos x="csX19" y="csY19"/>
                </a:cxn>
                <a:cxn ang="0">
                  <a:pos x="csX20" y="csY20"/>
                </a:cxn>
                <a:cxn ang="0">
                  <a:pos x="csX21" y="csY21"/>
                </a:cxn>
                <a:cxn ang="0">
                  <a:pos x="csX22" y="csY22"/>
                </a:cxn>
                <a:cxn ang="0">
                  <a:pos x="csX23" y="csY23"/>
                </a:cxn>
                <a:cxn ang="0">
                  <a:pos x="csX24" y="csY24"/>
                </a:cxn>
                <a:cxn ang="0">
                  <a:pos x="csX25" y="csY25"/>
                </a:cxn>
                <a:cxn ang="0">
                  <a:pos x="csX26" y="csY26"/>
                </a:cxn>
                <a:cxn ang="0">
                  <a:pos x="csX27" y="csY27"/>
                </a:cxn>
                <a:cxn ang="0">
                  <a:pos x="csX28" y="csY28"/>
                </a:cxn>
                <a:cxn ang="0">
                  <a:pos x="csX29" y="csY29"/>
                </a:cxn>
                <a:cxn ang="0">
                  <a:pos x="csX30" y="csY30"/>
                </a:cxn>
                <a:cxn ang="0">
                  <a:pos x="csX31" y="csY31"/>
                </a:cxn>
                <a:cxn ang="0">
                  <a:pos x="csX32" y="csY32"/>
                </a:cxn>
                <a:cxn ang="0">
                  <a:pos x="csX33" y="csY33"/>
                </a:cxn>
                <a:cxn ang="0">
                  <a:pos x="csX34" y="csY34"/>
                </a:cxn>
              </a:cxnLst>
              <a:rect l="l" t="t" r="r" b="b"/>
              <a:pathLst>
                <a:path w="181323" h="403282">
                  <a:moveTo>
                    <a:pt x="7554" y="172079"/>
                  </a:moveTo>
                  <a:cubicBezTo>
                    <a:pt x="8325" y="157451"/>
                    <a:pt x="9408" y="144055"/>
                    <a:pt x="9716" y="130641"/>
                  </a:cubicBezTo>
                  <a:cubicBezTo>
                    <a:pt x="9846" y="125037"/>
                    <a:pt x="7695" y="119399"/>
                    <a:pt x="7663" y="113770"/>
                  </a:cubicBezTo>
                  <a:cubicBezTo>
                    <a:pt x="7461" y="78569"/>
                    <a:pt x="7554" y="43367"/>
                    <a:pt x="7598" y="8165"/>
                  </a:cubicBezTo>
                  <a:cubicBezTo>
                    <a:pt x="7600" y="6167"/>
                    <a:pt x="8022" y="4170"/>
                    <a:pt x="8353" y="1259"/>
                  </a:cubicBezTo>
                  <a:cubicBezTo>
                    <a:pt x="11568" y="842"/>
                    <a:pt x="14666" y="109"/>
                    <a:pt x="17767" y="93"/>
                  </a:cubicBezTo>
                  <a:cubicBezTo>
                    <a:pt x="37824" y="-17"/>
                    <a:pt x="57881" y="-27"/>
                    <a:pt x="77938" y="50"/>
                  </a:cubicBezTo>
                  <a:cubicBezTo>
                    <a:pt x="89177" y="93"/>
                    <a:pt x="90068" y="113"/>
                    <a:pt x="91081" y="10962"/>
                  </a:cubicBezTo>
                  <a:cubicBezTo>
                    <a:pt x="92631" y="27565"/>
                    <a:pt x="92329" y="44335"/>
                    <a:pt x="93691" y="60963"/>
                  </a:cubicBezTo>
                  <a:cubicBezTo>
                    <a:pt x="95348" y="81184"/>
                    <a:pt x="97732" y="101353"/>
                    <a:pt x="100157" y="121501"/>
                  </a:cubicBezTo>
                  <a:cubicBezTo>
                    <a:pt x="101660" y="133990"/>
                    <a:pt x="104521" y="146343"/>
                    <a:pt x="105540" y="158857"/>
                  </a:cubicBezTo>
                  <a:cubicBezTo>
                    <a:pt x="107671" y="184993"/>
                    <a:pt x="114147" y="210249"/>
                    <a:pt x="121116" y="235269"/>
                  </a:cubicBezTo>
                  <a:cubicBezTo>
                    <a:pt x="130731" y="269786"/>
                    <a:pt x="141516" y="304004"/>
                    <a:pt x="152823" y="338010"/>
                  </a:cubicBezTo>
                  <a:cubicBezTo>
                    <a:pt x="157418" y="351828"/>
                    <a:pt x="164524" y="364837"/>
                    <a:pt x="170877" y="378027"/>
                  </a:cubicBezTo>
                  <a:cubicBezTo>
                    <a:pt x="172587" y="381579"/>
                    <a:pt x="175985" y="384280"/>
                    <a:pt x="178114" y="387682"/>
                  </a:cubicBezTo>
                  <a:cubicBezTo>
                    <a:pt x="179669" y="390165"/>
                    <a:pt x="181977" y="393824"/>
                    <a:pt x="181150" y="395764"/>
                  </a:cubicBezTo>
                  <a:cubicBezTo>
                    <a:pt x="179907" y="398676"/>
                    <a:pt x="176540" y="401705"/>
                    <a:pt x="173480" y="402568"/>
                  </a:cubicBezTo>
                  <a:cubicBezTo>
                    <a:pt x="169302" y="403746"/>
                    <a:pt x="164551" y="403164"/>
                    <a:pt x="160067" y="402936"/>
                  </a:cubicBezTo>
                  <a:cubicBezTo>
                    <a:pt x="147066" y="402274"/>
                    <a:pt x="134081" y="400859"/>
                    <a:pt x="121081" y="400766"/>
                  </a:cubicBezTo>
                  <a:cubicBezTo>
                    <a:pt x="104362" y="400647"/>
                    <a:pt x="87638" y="401607"/>
                    <a:pt x="70912" y="401955"/>
                  </a:cubicBezTo>
                  <a:cubicBezTo>
                    <a:pt x="49820" y="402394"/>
                    <a:pt x="28725" y="402712"/>
                    <a:pt x="7630" y="402999"/>
                  </a:cubicBezTo>
                  <a:cubicBezTo>
                    <a:pt x="5684" y="403026"/>
                    <a:pt x="3731" y="402452"/>
                    <a:pt x="710" y="401995"/>
                  </a:cubicBezTo>
                  <a:cubicBezTo>
                    <a:pt x="219" y="386620"/>
                    <a:pt x="-871" y="371682"/>
                    <a:pt x="1308" y="356708"/>
                  </a:cubicBezTo>
                  <a:cubicBezTo>
                    <a:pt x="1659" y="354298"/>
                    <a:pt x="2471" y="351920"/>
                    <a:pt x="2554" y="349510"/>
                  </a:cubicBezTo>
                  <a:cubicBezTo>
                    <a:pt x="3459" y="323419"/>
                    <a:pt x="4345" y="297328"/>
                    <a:pt x="5071" y="271231"/>
                  </a:cubicBezTo>
                  <a:cubicBezTo>
                    <a:pt x="5979" y="238591"/>
                    <a:pt x="6733" y="205947"/>
                    <a:pt x="7554" y="172079"/>
                  </a:cubicBezTo>
                  <a:moveTo>
                    <a:pt x="98286" y="163566"/>
                  </a:moveTo>
                  <a:cubicBezTo>
                    <a:pt x="89288" y="112116"/>
                    <a:pt x="86355" y="60033"/>
                    <a:pt x="83497" y="8289"/>
                  </a:cubicBezTo>
                  <a:cubicBezTo>
                    <a:pt x="65606" y="5845"/>
                    <a:pt x="24110" y="6470"/>
                    <a:pt x="15161" y="9148"/>
                  </a:cubicBezTo>
                  <a:cubicBezTo>
                    <a:pt x="15161" y="52045"/>
                    <a:pt x="15527" y="94996"/>
                    <a:pt x="15058" y="137939"/>
                  </a:cubicBezTo>
                  <a:cubicBezTo>
                    <a:pt x="14587" y="180919"/>
                    <a:pt x="13597" y="223900"/>
                    <a:pt x="12252" y="266862"/>
                  </a:cubicBezTo>
                  <a:cubicBezTo>
                    <a:pt x="10912" y="309638"/>
                    <a:pt x="8849" y="352391"/>
                    <a:pt x="7068" y="395996"/>
                  </a:cubicBezTo>
                  <a:cubicBezTo>
                    <a:pt x="62774" y="395996"/>
                    <a:pt x="116821" y="395996"/>
                    <a:pt x="171647" y="395996"/>
                  </a:cubicBezTo>
                  <a:cubicBezTo>
                    <a:pt x="148550" y="352016"/>
                    <a:pt x="132566" y="306307"/>
                    <a:pt x="119950" y="259496"/>
                  </a:cubicBezTo>
                  <a:cubicBezTo>
                    <a:pt x="111608" y="228543"/>
                    <a:pt x="105493" y="196989"/>
                    <a:pt x="98286" y="163566"/>
                  </a:cubicBezTo>
                  <a:close/>
                </a:path>
              </a:pathLst>
            </a:custGeom>
            <a:solidFill>
              <a:srgbClr val="CDD9DF"/>
            </a:solidFill>
            <a:ln w="1227" cap="flat">
              <a:noFill/>
              <a:prstDash val="solid"/>
              <a:miter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371" name="Free-form: Shape 370">
              <a:extLst>
                <a:ext uri="{FF2B5EF4-FFF2-40B4-BE49-F238E27FC236}">
                  <a16:creationId xmlns:a16="http://schemas.microsoft.com/office/drawing/2014/main" id="{6FAC96A7-7E3D-5B5F-364E-71F625958CB1}"/>
                </a:ext>
              </a:extLst>
            </p:cNvPr>
            <p:cNvSpPr/>
            <p:nvPr/>
          </p:nvSpPr>
          <p:spPr>
            <a:xfrm>
              <a:off x="8010750" y="4782479"/>
              <a:ext cx="253199" cy="57341"/>
            </a:xfrm>
            <a:custGeom>
              <a:avLst/>
              <a:gdLst>
                <a:gd name="csX0" fmla="*/ 297312 w 337008"/>
                <a:gd name="csY0" fmla="*/ 59188 h 76321"/>
                <a:gd name="csX1" fmla="*/ 241991 w 337008"/>
                <a:gd name="csY1" fmla="*/ 66577 h 76321"/>
                <a:gd name="csX2" fmla="*/ 185243 w 337008"/>
                <a:gd name="csY2" fmla="*/ 73717 h 76321"/>
                <a:gd name="csX3" fmla="*/ 182797 w 337008"/>
                <a:gd name="csY3" fmla="*/ 73873 h 76321"/>
                <a:gd name="csX4" fmla="*/ 19866 w 337008"/>
                <a:gd name="csY4" fmla="*/ 76320 h 76321"/>
                <a:gd name="csX5" fmla="*/ 12650 w 337008"/>
                <a:gd name="csY5" fmla="*/ 75242 h 76321"/>
                <a:gd name="csX6" fmla="*/ 19 w 337008"/>
                <a:gd name="csY6" fmla="*/ 59006 h 76321"/>
                <a:gd name="csX7" fmla="*/ 11 w 337008"/>
                <a:gd name="csY7" fmla="*/ 18266 h 76321"/>
                <a:gd name="csX8" fmla="*/ 13547 w 337008"/>
                <a:gd name="csY8" fmla="*/ 17427 h 76321"/>
                <a:gd name="csX9" fmla="*/ 109279 w 337008"/>
                <a:gd name="csY9" fmla="*/ 17200 h 76321"/>
                <a:gd name="csX10" fmla="*/ 173714 w 337008"/>
                <a:gd name="csY10" fmla="*/ 12645 h 76321"/>
                <a:gd name="csX11" fmla="*/ 205309 w 337008"/>
                <a:gd name="csY11" fmla="*/ 10096 h 76321"/>
                <a:gd name="csX12" fmla="*/ 245485 w 337008"/>
                <a:gd name="csY12" fmla="*/ 7449 h 76321"/>
                <a:gd name="csX13" fmla="*/ 288955 w 337008"/>
                <a:gd name="csY13" fmla="*/ 1844 h 76321"/>
                <a:gd name="csX14" fmla="*/ 307132 w 337008"/>
                <a:gd name="csY14" fmla="*/ 164 h 76321"/>
                <a:gd name="csX15" fmla="*/ 324030 w 337008"/>
                <a:gd name="csY15" fmla="*/ 9691 h 76321"/>
                <a:gd name="csX16" fmla="*/ 336033 w 337008"/>
                <a:gd name="csY16" fmla="*/ 39107 h 76321"/>
                <a:gd name="csX17" fmla="*/ 328060 w 337008"/>
                <a:gd name="csY17" fmla="*/ 52413 h 76321"/>
                <a:gd name="csX18" fmla="*/ 297312 w 337008"/>
                <a:gd name="csY18" fmla="*/ 59188 h 76321"/>
                <a:gd name="csX19" fmla="*/ 207688 w 337008"/>
                <a:gd name="csY19" fmla="*/ 64284 h 76321"/>
                <a:gd name="csX20" fmla="*/ 330050 w 337008"/>
                <a:gd name="csY20" fmla="*/ 45606 h 76321"/>
                <a:gd name="csX21" fmla="*/ 317356 w 337008"/>
                <a:gd name="csY21" fmla="*/ 11297 h 76321"/>
                <a:gd name="csX22" fmla="*/ 304170 w 337008"/>
                <a:gd name="csY22" fmla="*/ 5545 h 76321"/>
                <a:gd name="csX23" fmla="*/ 273851 w 337008"/>
                <a:gd name="csY23" fmla="*/ 10014 h 76321"/>
                <a:gd name="csX24" fmla="*/ 163935 w 337008"/>
                <a:gd name="csY24" fmla="*/ 20274 h 76321"/>
                <a:gd name="csX25" fmla="*/ 17973 w 337008"/>
                <a:gd name="csY25" fmla="*/ 22950 h 76321"/>
                <a:gd name="csX26" fmla="*/ 7372 w 337008"/>
                <a:gd name="csY26" fmla="*/ 23601 h 76321"/>
                <a:gd name="csX27" fmla="*/ 7372 w 337008"/>
                <a:gd name="csY27" fmla="*/ 67898 h 76321"/>
                <a:gd name="csX28" fmla="*/ 207688 w 337008"/>
                <a:gd name="csY28" fmla="*/ 64284 h 76321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  <a:cxn ang="0">
                  <a:pos x="csX16" y="csY16"/>
                </a:cxn>
                <a:cxn ang="0">
                  <a:pos x="csX17" y="csY17"/>
                </a:cxn>
                <a:cxn ang="0">
                  <a:pos x="csX18" y="csY18"/>
                </a:cxn>
                <a:cxn ang="0">
                  <a:pos x="csX19" y="csY19"/>
                </a:cxn>
                <a:cxn ang="0">
                  <a:pos x="csX20" y="csY20"/>
                </a:cxn>
                <a:cxn ang="0">
                  <a:pos x="csX21" y="csY21"/>
                </a:cxn>
                <a:cxn ang="0">
                  <a:pos x="csX22" y="csY22"/>
                </a:cxn>
                <a:cxn ang="0">
                  <a:pos x="csX23" y="csY23"/>
                </a:cxn>
                <a:cxn ang="0">
                  <a:pos x="csX24" y="csY24"/>
                </a:cxn>
                <a:cxn ang="0">
                  <a:pos x="csX25" y="csY25"/>
                </a:cxn>
                <a:cxn ang="0">
                  <a:pos x="csX26" y="csY26"/>
                </a:cxn>
                <a:cxn ang="0">
                  <a:pos x="csX27" y="csY27"/>
                </a:cxn>
                <a:cxn ang="0">
                  <a:pos x="csX28" y="csY28"/>
                </a:cxn>
              </a:cxnLst>
              <a:rect l="l" t="t" r="r" b="b"/>
              <a:pathLst>
                <a:path w="337008" h="76321">
                  <a:moveTo>
                    <a:pt x="297312" y="59188"/>
                  </a:moveTo>
                  <a:cubicBezTo>
                    <a:pt x="278167" y="61672"/>
                    <a:pt x="260091" y="64212"/>
                    <a:pt x="241991" y="66577"/>
                  </a:cubicBezTo>
                  <a:cubicBezTo>
                    <a:pt x="223087" y="69047"/>
                    <a:pt x="204161" y="71350"/>
                    <a:pt x="185243" y="73717"/>
                  </a:cubicBezTo>
                  <a:cubicBezTo>
                    <a:pt x="184433" y="73818"/>
                    <a:pt x="183613" y="73861"/>
                    <a:pt x="182797" y="73873"/>
                  </a:cubicBezTo>
                  <a:cubicBezTo>
                    <a:pt x="128487" y="74710"/>
                    <a:pt x="74176" y="75556"/>
                    <a:pt x="19866" y="76320"/>
                  </a:cubicBezTo>
                  <a:cubicBezTo>
                    <a:pt x="17463" y="76354"/>
                    <a:pt x="15013" y="75797"/>
                    <a:pt x="12650" y="75242"/>
                  </a:cubicBezTo>
                  <a:cubicBezTo>
                    <a:pt x="80" y="72288"/>
                    <a:pt x="58" y="72258"/>
                    <a:pt x="19" y="59006"/>
                  </a:cubicBezTo>
                  <a:cubicBezTo>
                    <a:pt x="-19" y="45942"/>
                    <a:pt x="11" y="32877"/>
                    <a:pt x="11" y="18266"/>
                  </a:cubicBezTo>
                  <a:cubicBezTo>
                    <a:pt x="4987" y="17944"/>
                    <a:pt x="9266" y="17435"/>
                    <a:pt x="13547" y="17427"/>
                  </a:cubicBezTo>
                  <a:cubicBezTo>
                    <a:pt x="45459" y="17362"/>
                    <a:pt x="77385" y="17975"/>
                    <a:pt x="109279" y="17200"/>
                  </a:cubicBezTo>
                  <a:cubicBezTo>
                    <a:pt x="130782" y="16677"/>
                    <a:pt x="152239" y="14265"/>
                    <a:pt x="173714" y="12645"/>
                  </a:cubicBezTo>
                  <a:cubicBezTo>
                    <a:pt x="184250" y="11850"/>
                    <a:pt x="194770" y="10836"/>
                    <a:pt x="205309" y="10096"/>
                  </a:cubicBezTo>
                  <a:cubicBezTo>
                    <a:pt x="218698" y="9156"/>
                    <a:pt x="232139" y="8783"/>
                    <a:pt x="245485" y="7449"/>
                  </a:cubicBezTo>
                  <a:cubicBezTo>
                    <a:pt x="260017" y="5997"/>
                    <a:pt x="274456" y="3648"/>
                    <a:pt x="288955" y="1844"/>
                  </a:cubicBezTo>
                  <a:cubicBezTo>
                    <a:pt x="294991" y="1094"/>
                    <a:pt x="301100" y="930"/>
                    <a:pt x="307132" y="164"/>
                  </a:cubicBezTo>
                  <a:cubicBezTo>
                    <a:pt x="315239" y="-865"/>
                    <a:pt x="320841" y="3022"/>
                    <a:pt x="324030" y="9691"/>
                  </a:cubicBezTo>
                  <a:cubicBezTo>
                    <a:pt x="328594" y="19236"/>
                    <a:pt x="332712" y="29070"/>
                    <a:pt x="336033" y="39107"/>
                  </a:cubicBezTo>
                  <a:cubicBezTo>
                    <a:pt x="338557" y="46735"/>
                    <a:pt x="336278" y="50185"/>
                    <a:pt x="328060" y="52413"/>
                  </a:cubicBezTo>
                  <a:cubicBezTo>
                    <a:pt x="318273" y="55068"/>
                    <a:pt x="308277" y="56950"/>
                    <a:pt x="297312" y="59188"/>
                  </a:cubicBezTo>
                  <a:moveTo>
                    <a:pt x="207688" y="64284"/>
                  </a:moveTo>
                  <a:cubicBezTo>
                    <a:pt x="248681" y="60632"/>
                    <a:pt x="289317" y="54812"/>
                    <a:pt x="330050" y="45606"/>
                  </a:cubicBezTo>
                  <a:cubicBezTo>
                    <a:pt x="327603" y="32443"/>
                    <a:pt x="323777" y="21532"/>
                    <a:pt x="317356" y="11297"/>
                  </a:cubicBezTo>
                  <a:cubicBezTo>
                    <a:pt x="313908" y="5803"/>
                    <a:pt x="310145" y="4465"/>
                    <a:pt x="304170" y="5545"/>
                  </a:cubicBezTo>
                  <a:cubicBezTo>
                    <a:pt x="294121" y="7361"/>
                    <a:pt x="284007" y="9006"/>
                    <a:pt x="273851" y="10014"/>
                  </a:cubicBezTo>
                  <a:cubicBezTo>
                    <a:pt x="237233" y="13650"/>
                    <a:pt x="200632" y="17661"/>
                    <a:pt x="163935" y="20274"/>
                  </a:cubicBezTo>
                  <a:cubicBezTo>
                    <a:pt x="115360" y="23734"/>
                    <a:pt x="66701" y="25937"/>
                    <a:pt x="17973" y="22950"/>
                  </a:cubicBezTo>
                  <a:cubicBezTo>
                    <a:pt x="14492" y="22737"/>
                    <a:pt x="10959" y="23361"/>
                    <a:pt x="7372" y="23601"/>
                  </a:cubicBezTo>
                  <a:cubicBezTo>
                    <a:pt x="7372" y="38609"/>
                    <a:pt x="7372" y="52361"/>
                    <a:pt x="7372" y="67898"/>
                  </a:cubicBezTo>
                  <a:cubicBezTo>
                    <a:pt x="74001" y="69806"/>
                    <a:pt x="139746" y="71025"/>
                    <a:pt x="207688" y="64284"/>
                  </a:cubicBezTo>
                  <a:close/>
                </a:path>
              </a:pathLst>
            </a:custGeom>
            <a:solidFill>
              <a:srgbClr val="CDD9DF"/>
            </a:solidFill>
            <a:ln w="1227" cap="flat">
              <a:noFill/>
              <a:prstDash val="solid"/>
              <a:miter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372" name="Free-form: Shape 371">
              <a:extLst>
                <a:ext uri="{FF2B5EF4-FFF2-40B4-BE49-F238E27FC236}">
                  <a16:creationId xmlns:a16="http://schemas.microsoft.com/office/drawing/2014/main" id="{0936788D-5557-CE4A-DD90-80B534046817}"/>
                </a:ext>
              </a:extLst>
            </p:cNvPr>
            <p:cNvSpPr/>
            <p:nvPr/>
          </p:nvSpPr>
          <p:spPr>
            <a:xfrm>
              <a:off x="8015267" y="4605270"/>
              <a:ext cx="227996" cy="160552"/>
            </a:xfrm>
            <a:custGeom>
              <a:avLst/>
              <a:gdLst>
                <a:gd name="csX0" fmla="*/ 14160 w 303463"/>
                <a:gd name="csY0" fmla="*/ 7889 h 213695"/>
                <a:gd name="csX1" fmla="*/ 195033 w 303463"/>
                <a:gd name="csY1" fmla="*/ 0 h 213695"/>
                <a:gd name="csX2" fmla="*/ 197208 w 303463"/>
                <a:gd name="csY2" fmla="*/ 5635 h 213695"/>
                <a:gd name="csX3" fmla="*/ 227014 w 303463"/>
                <a:gd name="csY3" fmla="*/ 60660 h 213695"/>
                <a:gd name="csX4" fmla="*/ 265823 w 303463"/>
                <a:gd name="csY4" fmla="*/ 98217 h 213695"/>
                <a:gd name="csX5" fmla="*/ 303210 w 303463"/>
                <a:gd name="csY5" fmla="*/ 180358 h 213695"/>
                <a:gd name="csX6" fmla="*/ 303282 w 303463"/>
                <a:gd name="csY6" fmla="*/ 193964 h 213695"/>
                <a:gd name="csX7" fmla="*/ 4971 w 303463"/>
                <a:gd name="csY7" fmla="*/ 213017 h 213695"/>
                <a:gd name="csX8" fmla="*/ 5093 w 303463"/>
                <a:gd name="csY8" fmla="*/ 173484 h 213695"/>
                <a:gd name="csX9" fmla="*/ 4767 w 303463"/>
                <a:gd name="csY9" fmla="*/ 54607 h 213695"/>
                <a:gd name="csX10" fmla="*/ 0 w 303463"/>
                <a:gd name="csY10" fmla="*/ 7887 h 213695"/>
                <a:gd name="csX11" fmla="*/ 14160 w 303463"/>
                <a:gd name="csY11" fmla="*/ 7889 h 213695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</a:cxnLst>
              <a:rect l="l" t="t" r="r" b="b"/>
              <a:pathLst>
                <a:path w="303463" h="213695">
                  <a:moveTo>
                    <a:pt x="14160" y="7889"/>
                  </a:moveTo>
                  <a:cubicBezTo>
                    <a:pt x="75371" y="8627"/>
                    <a:pt x="135292" y="5744"/>
                    <a:pt x="195033" y="0"/>
                  </a:cubicBezTo>
                  <a:cubicBezTo>
                    <a:pt x="196084" y="2662"/>
                    <a:pt x="196986" y="4099"/>
                    <a:pt x="197208" y="5635"/>
                  </a:cubicBezTo>
                  <a:cubicBezTo>
                    <a:pt x="200391" y="27650"/>
                    <a:pt x="211307" y="45450"/>
                    <a:pt x="227014" y="60660"/>
                  </a:cubicBezTo>
                  <a:cubicBezTo>
                    <a:pt x="239947" y="73182"/>
                    <a:pt x="253006" y="85577"/>
                    <a:pt x="265823" y="98217"/>
                  </a:cubicBezTo>
                  <a:cubicBezTo>
                    <a:pt x="288727" y="120806"/>
                    <a:pt x="299071" y="149215"/>
                    <a:pt x="303210" y="180358"/>
                  </a:cubicBezTo>
                  <a:cubicBezTo>
                    <a:pt x="303735" y="184317"/>
                    <a:pt x="303282" y="188405"/>
                    <a:pt x="303282" y="193964"/>
                  </a:cubicBezTo>
                  <a:cubicBezTo>
                    <a:pt x="204065" y="208804"/>
                    <a:pt x="105022" y="216044"/>
                    <a:pt x="4971" y="213017"/>
                  </a:cubicBezTo>
                  <a:cubicBezTo>
                    <a:pt x="4971" y="199268"/>
                    <a:pt x="4314" y="186332"/>
                    <a:pt x="5093" y="173484"/>
                  </a:cubicBezTo>
                  <a:cubicBezTo>
                    <a:pt x="7497" y="133835"/>
                    <a:pt x="8211" y="94216"/>
                    <a:pt x="4767" y="54607"/>
                  </a:cubicBezTo>
                  <a:cubicBezTo>
                    <a:pt x="3464" y="39611"/>
                    <a:pt x="1725" y="24653"/>
                    <a:pt x="0" y="7887"/>
                  </a:cubicBezTo>
                  <a:cubicBezTo>
                    <a:pt x="4390" y="7887"/>
                    <a:pt x="8696" y="7887"/>
                    <a:pt x="14160" y="7889"/>
                  </a:cubicBezTo>
                  <a:close/>
                </a:path>
              </a:pathLst>
            </a:custGeom>
            <a:solidFill>
              <a:schemeClr val="bg1"/>
            </a:solidFill>
            <a:ln w="12700" cap="flat">
              <a:solidFill>
                <a:schemeClr val="bg1"/>
              </a:solidFill>
              <a:prstDash val="solid"/>
              <a:miter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373" name="Free-form: Shape 372">
              <a:extLst>
                <a:ext uri="{FF2B5EF4-FFF2-40B4-BE49-F238E27FC236}">
                  <a16:creationId xmlns:a16="http://schemas.microsoft.com/office/drawing/2014/main" id="{CA2F1BA8-97CA-CBC5-1B2C-676D9BAEF7D2}"/>
                </a:ext>
              </a:extLst>
            </p:cNvPr>
            <p:cNvSpPr/>
            <p:nvPr/>
          </p:nvSpPr>
          <p:spPr>
            <a:xfrm>
              <a:off x="7974415" y="3964265"/>
              <a:ext cx="157075" cy="152822"/>
            </a:xfrm>
            <a:custGeom>
              <a:avLst/>
              <a:gdLst>
                <a:gd name="csX0" fmla="*/ 10475 w 209067"/>
                <a:gd name="csY0" fmla="*/ 41718 h 203406"/>
                <a:gd name="csX1" fmla="*/ 100250 w 209067"/>
                <a:gd name="csY1" fmla="*/ 1265 h 203406"/>
                <a:gd name="csX2" fmla="*/ 206681 w 209067"/>
                <a:gd name="csY2" fmla="*/ 98526 h 203406"/>
                <a:gd name="csX3" fmla="*/ 134647 w 209067"/>
                <a:gd name="csY3" fmla="*/ 202431 h 203406"/>
                <a:gd name="csX4" fmla="*/ 40986 w 209067"/>
                <a:gd name="csY4" fmla="*/ 171438 h 203406"/>
                <a:gd name="csX5" fmla="*/ 143 w 209067"/>
                <a:gd name="csY5" fmla="*/ 85158 h 203406"/>
                <a:gd name="csX6" fmla="*/ 10475 w 209067"/>
                <a:gd name="csY6" fmla="*/ 41718 h 203406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</a:cxnLst>
              <a:rect l="l" t="t" r="r" b="b"/>
              <a:pathLst>
                <a:path w="209067" h="203406">
                  <a:moveTo>
                    <a:pt x="10475" y="41718"/>
                  </a:moveTo>
                  <a:cubicBezTo>
                    <a:pt x="31065" y="6021"/>
                    <a:pt x="63171" y="-3865"/>
                    <a:pt x="100250" y="1265"/>
                  </a:cubicBezTo>
                  <a:cubicBezTo>
                    <a:pt x="157191" y="9144"/>
                    <a:pt x="196951" y="51394"/>
                    <a:pt x="206681" y="98526"/>
                  </a:cubicBezTo>
                  <a:cubicBezTo>
                    <a:pt x="219504" y="160635"/>
                    <a:pt x="178523" y="196657"/>
                    <a:pt x="134647" y="202431"/>
                  </a:cubicBezTo>
                  <a:cubicBezTo>
                    <a:pt x="98365" y="207204"/>
                    <a:pt x="68101" y="194086"/>
                    <a:pt x="40986" y="171438"/>
                  </a:cubicBezTo>
                  <a:cubicBezTo>
                    <a:pt x="14115" y="148994"/>
                    <a:pt x="2457" y="119007"/>
                    <a:pt x="143" y="85158"/>
                  </a:cubicBezTo>
                  <a:cubicBezTo>
                    <a:pt x="-869" y="70364"/>
                    <a:pt x="3586" y="56015"/>
                    <a:pt x="10475" y="41718"/>
                  </a:cubicBezTo>
                  <a:close/>
                </a:path>
              </a:pathLst>
            </a:custGeom>
            <a:solidFill>
              <a:schemeClr val="bg1"/>
            </a:solidFill>
            <a:ln w="12700" cap="flat">
              <a:solidFill>
                <a:schemeClr val="bg1"/>
              </a:solidFill>
              <a:prstDash val="solid"/>
              <a:miter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374" name="Free-form: Shape 373">
              <a:extLst>
                <a:ext uri="{FF2B5EF4-FFF2-40B4-BE49-F238E27FC236}">
                  <a16:creationId xmlns:a16="http://schemas.microsoft.com/office/drawing/2014/main" id="{1BE95244-E61B-FFAF-D735-1EF2572675DB}"/>
                </a:ext>
              </a:extLst>
            </p:cNvPr>
            <p:cNvSpPr/>
            <p:nvPr/>
          </p:nvSpPr>
          <p:spPr>
            <a:xfrm>
              <a:off x="8018289" y="4222041"/>
              <a:ext cx="118053" cy="31055"/>
            </a:xfrm>
            <a:custGeom>
              <a:avLst/>
              <a:gdLst>
                <a:gd name="csX0" fmla="*/ 69625 w 157129"/>
                <a:gd name="csY0" fmla="*/ 0 h 41334"/>
                <a:gd name="csX1" fmla="*/ 119596 w 157129"/>
                <a:gd name="csY1" fmla="*/ 1945 h 41334"/>
                <a:gd name="csX2" fmla="*/ 150973 w 157129"/>
                <a:gd name="csY2" fmla="*/ 14889 h 41334"/>
                <a:gd name="csX3" fmla="*/ 151351 w 157129"/>
                <a:gd name="csY3" fmla="*/ 34058 h 41334"/>
                <a:gd name="csX4" fmla="*/ 133492 w 157129"/>
                <a:gd name="csY4" fmla="*/ 40697 h 41334"/>
                <a:gd name="csX5" fmla="*/ 106556 w 157129"/>
                <a:gd name="csY5" fmla="*/ 41092 h 41334"/>
                <a:gd name="csX6" fmla="*/ 13373 w 157129"/>
                <a:gd name="csY6" fmla="*/ 40708 h 41334"/>
                <a:gd name="csX7" fmla="*/ 1312 w 157129"/>
                <a:gd name="csY7" fmla="*/ 40191 h 41334"/>
                <a:gd name="csX8" fmla="*/ 3367 w 157129"/>
                <a:gd name="csY8" fmla="*/ 13162 h 41334"/>
                <a:gd name="csX9" fmla="*/ 20752 w 157129"/>
                <a:gd name="csY9" fmla="*/ 1879 h 41334"/>
                <a:gd name="csX10" fmla="*/ 52625 w 157129"/>
                <a:gd name="csY10" fmla="*/ 1332 h 41334"/>
                <a:gd name="csX11" fmla="*/ 69625 w 157129"/>
                <a:gd name="csY11" fmla="*/ 0 h 41334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</a:cxnLst>
              <a:rect l="l" t="t" r="r" b="b"/>
              <a:pathLst>
                <a:path w="157129" h="41334">
                  <a:moveTo>
                    <a:pt x="69625" y="0"/>
                  </a:moveTo>
                  <a:cubicBezTo>
                    <a:pt x="87054" y="491"/>
                    <a:pt x="103407" y="373"/>
                    <a:pt x="119596" y="1945"/>
                  </a:cubicBezTo>
                  <a:cubicBezTo>
                    <a:pt x="131020" y="3055"/>
                    <a:pt x="141713" y="7767"/>
                    <a:pt x="150973" y="14889"/>
                  </a:cubicBezTo>
                  <a:cubicBezTo>
                    <a:pt x="158820" y="20925"/>
                    <a:pt x="159403" y="28236"/>
                    <a:pt x="151351" y="34058"/>
                  </a:cubicBezTo>
                  <a:cubicBezTo>
                    <a:pt x="146355" y="37671"/>
                    <a:pt x="139678" y="39910"/>
                    <a:pt x="133492" y="40697"/>
                  </a:cubicBezTo>
                  <a:cubicBezTo>
                    <a:pt x="124640" y="41824"/>
                    <a:pt x="115547" y="41120"/>
                    <a:pt x="106556" y="41092"/>
                  </a:cubicBezTo>
                  <a:cubicBezTo>
                    <a:pt x="75495" y="40996"/>
                    <a:pt x="44434" y="40872"/>
                    <a:pt x="13373" y="40708"/>
                  </a:cubicBezTo>
                  <a:cubicBezTo>
                    <a:pt x="9391" y="40687"/>
                    <a:pt x="5410" y="40374"/>
                    <a:pt x="1312" y="40191"/>
                  </a:cubicBezTo>
                  <a:cubicBezTo>
                    <a:pt x="-1416" y="30384"/>
                    <a:pt x="523" y="21512"/>
                    <a:pt x="3367" y="13162"/>
                  </a:cubicBezTo>
                  <a:cubicBezTo>
                    <a:pt x="5963" y="5538"/>
                    <a:pt x="12701" y="2077"/>
                    <a:pt x="20752" y="1879"/>
                  </a:cubicBezTo>
                  <a:cubicBezTo>
                    <a:pt x="31375" y="1617"/>
                    <a:pt x="42004" y="1647"/>
                    <a:pt x="52625" y="1332"/>
                  </a:cubicBezTo>
                  <a:cubicBezTo>
                    <a:pt x="57918" y="1176"/>
                    <a:pt x="63195" y="535"/>
                    <a:pt x="69625" y="0"/>
                  </a:cubicBezTo>
                  <a:close/>
                </a:path>
              </a:pathLst>
            </a:custGeom>
            <a:solidFill>
              <a:schemeClr val="bg1"/>
            </a:solidFill>
            <a:ln w="12700" cap="flat">
              <a:solidFill>
                <a:schemeClr val="bg1"/>
              </a:solidFill>
              <a:prstDash val="solid"/>
              <a:miter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375" name="Free-form: Shape 374">
              <a:extLst>
                <a:ext uri="{FF2B5EF4-FFF2-40B4-BE49-F238E27FC236}">
                  <a16:creationId xmlns:a16="http://schemas.microsoft.com/office/drawing/2014/main" id="{88344A09-D936-B16B-0EE5-C44ED304EAAA}"/>
                </a:ext>
              </a:extLst>
            </p:cNvPr>
            <p:cNvSpPr/>
            <p:nvPr/>
          </p:nvSpPr>
          <p:spPr>
            <a:xfrm>
              <a:off x="8014087" y="4283615"/>
              <a:ext cx="123651" cy="292440"/>
            </a:xfrm>
            <a:custGeom>
              <a:avLst/>
              <a:gdLst>
                <a:gd name="csX0" fmla="*/ 91265 w 164579"/>
                <a:gd name="csY0" fmla="*/ 157878 h 389238"/>
                <a:gd name="csX1" fmla="*/ 112882 w 164579"/>
                <a:gd name="csY1" fmla="*/ 252738 h 389238"/>
                <a:gd name="csX2" fmla="*/ 164579 w 164579"/>
                <a:gd name="csY2" fmla="*/ 389238 h 389238"/>
                <a:gd name="csX3" fmla="*/ 0 w 164579"/>
                <a:gd name="csY3" fmla="*/ 389238 h 389238"/>
                <a:gd name="csX4" fmla="*/ 5184 w 164579"/>
                <a:gd name="csY4" fmla="*/ 260105 h 389238"/>
                <a:gd name="csX5" fmla="*/ 7989 w 164579"/>
                <a:gd name="csY5" fmla="*/ 131182 h 389238"/>
                <a:gd name="csX6" fmla="*/ 8093 w 164579"/>
                <a:gd name="csY6" fmla="*/ 2390 h 389238"/>
                <a:gd name="csX7" fmla="*/ 76429 w 164579"/>
                <a:gd name="csY7" fmla="*/ 1531 h 389238"/>
                <a:gd name="csX8" fmla="*/ 91265 w 164579"/>
                <a:gd name="csY8" fmla="*/ 157878 h 389238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</a:cxnLst>
              <a:rect l="l" t="t" r="r" b="b"/>
              <a:pathLst>
                <a:path w="164579" h="389238">
                  <a:moveTo>
                    <a:pt x="91265" y="157878"/>
                  </a:moveTo>
                  <a:cubicBezTo>
                    <a:pt x="98425" y="190232"/>
                    <a:pt x="104539" y="221785"/>
                    <a:pt x="112882" y="252738"/>
                  </a:cubicBezTo>
                  <a:cubicBezTo>
                    <a:pt x="125498" y="299549"/>
                    <a:pt x="141482" y="345258"/>
                    <a:pt x="164579" y="389238"/>
                  </a:cubicBezTo>
                  <a:cubicBezTo>
                    <a:pt x="109753" y="389238"/>
                    <a:pt x="55706" y="389238"/>
                    <a:pt x="0" y="389238"/>
                  </a:cubicBezTo>
                  <a:cubicBezTo>
                    <a:pt x="1781" y="345633"/>
                    <a:pt x="3844" y="302880"/>
                    <a:pt x="5184" y="260105"/>
                  </a:cubicBezTo>
                  <a:cubicBezTo>
                    <a:pt x="6529" y="217143"/>
                    <a:pt x="7519" y="174162"/>
                    <a:pt x="7989" y="131182"/>
                  </a:cubicBezTo>
                  <a:cubicBezTo>
                    <a:pt x="8459" y="88239"/>
                    <a:pt x="8093" y="45287"/>
                    <a:pt x="8093" y="2390"/>
                  </a:cubicBezTo>
                  <a:cubicBezTo>
                    <a:pt x="17041" y="-288"/>
                    <a:pt x="58537" y="-913"/>
                    <a:pt x="76429" y="1531"/>
                  </a:cubicBezTo>
                  <a:cubicBezTo>
                    <a:pt x="79287" y="53276"/>
                    <a:pt x="82219" y="105359"/>
                    <a:pt x="91265" y="157878"/>
                  </a:cubicBezTo>
                  <a:close/>
                </a:path>
              </a:pathLst>
            </a:custGeom>
            <a:solidFill>
              <a:schemeClr val="bg1"/>
            </a:solidFill>
            <a:ln w="12700" cap="flat">
              <a:solidFill>
                <a:schemeClr val="bg1"/>
              </a:solidFill>
              <a:prstDash val="solid"/>
              <a:miter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376" name="Free-form: Shape 375">
              <a:extLst>
                <a:ext uri="{FF2B5EF4-FFF2-40B4-BE49-F238E27FC236}">
                  <a16:creationId xmlns:a16="http://schemas.microsoft.com/office/drawing/2014/main" id="{75C6C1DC-E668-1D85-2D07-0DF7444F1488}"/>
                </a:ext>
              </a:extLst>
            </p:cNvPr>
            <p:cNvSpPr/>
            <p:nvPr/>
          </p:nvSpPr>
          <p:spPr>
            <a:xfrm>
              <a:off x="8016288" y="4786385"/>
              <a:ext cx="242432" cy="48237"/>
            </a:xfrm>
            <a:custGeom>
              <a:avLst/>
              <a:gdLst>
                <a:gd name="csX0" fmla="*/ 199184 w 322677"/>
                <a:gd name="csY0" fmla="*/ 59136 h 64202"/>
                <a:gd name="csX1" fmla="*/ 0 w 322677"/>
                <a:gd name="csY1" fmla="*/ 62697 h 64202"/>
                <a:gd name="csX2" fmla="*/ 0 w 322677"/>
                <a:gd name="csY2" fmla="*/ 18400 h 64202"/>
                <a:gd name="csX3" fmla="*/ 10601 w 322677"/>
                <a:gd name="csY3" fmla="*/ 17750 h 64202"/>
                <a:gd name="csX4" fmla="*/ 156563 w 322677"/>
                <a:gd name="csY4" fmla="*/ 15074 h 64202"/>
                <a:gd name="csX5" fmla="*/ 266479 w 322677"/>
                <a:gd name="csY5" fmla="*/ 4814 h 64202"/>
                <a:gd name="csX6" fmla="*/ 296798 w 322677"/>
                <a:gd name="csY6" fmla="*/ 344 h 64202"/>
                <a:gd name="csX7" fmla="*/ 309983 w 322677"/>
                <a:gd name="csY7" fmla="*/ 6097 h 64202"/>
                <a:gd name="csX8" fmla="*/ 322678 w 322677"/>
                <a:gd name="csY8" fmla="*/ 40406 h 64202"/>
                <a:gd name="csX9" fmla="*/ 199184 w 322677"/>
                <a:gd name="csY9" fmla="*/ 59136 h 64202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</a:cxnLst>
              <a:rect l="l" t="t" r="r" b="b"/>
              <a:pathLst>
                <a:path w="322677" h="64202">
                  <a:moveTo>
                    <a:pt x="199184" y="59136"/>
                  </a:moveTo>
                  <a:cubicBezTo>
                    <a:pt x="132374" y="65824"/>
                    <a:pt x="66629" y="64605"/>
                    <a:pt x="0" y="62697"/>
                  </a:cubicBezTo>
                  <a:cubicBezTo>
                    <a:pt x="0" y="47160"/>
                    <a:pt x="0" y="33409"/>
                    <a:pt x="0" y="18400"/>
                  </a:cubicBezTo>
                  <a:cubicBezTo>
                    <a:pt x="3587" y="18160"/>
                    <a:pt x="7120" y="17536"/>
                    <a:pt x="10601" y="17750"/>
                  </a:cubicBezTo>
                  <a:cubicBezTo>
                    <a:pt x="59329" y="20736"/>
                    <a:pt x="107987" y="18533"/>
                    <a:pt x="156563" y="15074"/>
                  </a:cubicBezTo>
                  <a:cubicBezTo>
                    <a:pt x="193260" y="12461"/>
                    <a:pt x="229860" y="8449"/>
                    <a:pt x="266479" y="4814"/>
                  </a:cubicBezTo>
                  <a:cubicBezTo>
                    <a:pt x="276635" y="3806"/>
                    <a:pt x="286748" y="2160"/>
                    <a:pt x="296798" y="344"/>
                  </a:cubicBezTo>
                  <a:cubicBezTo>
                    <a:pt x="302773" y="-735"/>
                    <a:pt x="306536" y="602"/>
                    <a:pt x="309983" y="6097"/>
                  </a:cubicBezTo>
                  <a:cubicBezTo>
                    <a:pt x="316405" y="16331"/>
                    <a:pt x="320231" y="27243"/>
                    <a:pt x="322678" y="40406"/>
                  </a:cubicBezTo>
                  <a:cubicBezTo>
                    <a:pt x="281944" y="49611"/>
                    <a:pt x="241309" y="55431"/>
                    <a:pt x="199184" y="59136"/>
                  </a:cubicBezTo>
                  <a:close/>
                </a:path>
              </a:pathLst>
            </a:custGeom>
            <a:solidFill>
              <a:schemeClr val="bg1"/>
            </a:solidFill>
            <a:ln w="19050" cap="flat">
              <a:solidFill>
                <a:schemeClr val="bg1"/>
              </a:solidFill>
              <a:prstDash val="solid"/>
              <a:miter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477" name="Free-form: Shape 476">
              <a:extLst>
                <a:ext uri="{FF2B5EF4-FFF2-40B4-BE49-F238E27FC236}">
                  <a16:creationId xmlns:a16="http://schemas.microsoft.com/office/drawing/2014/main" id="{743216D0-311E-E169-9D76-B77F2BA7FBA2}"/>
                </a:ext>
              </a:extLst>
            </p:cNvPr>
            <p:cNvSpPr/>
            <p:nvPr/>
          </p:nvSpPr>
          <p:spPr>
            <a:xfrm>
              <a:off x="8275335" y="4783801"/>
              <a:ext cx="3201" cy="6806"/>
            </a:xfrm>
            <a:custGeom>
              <a:avLst/>
              <a:gdLst>
                <a:gd name="csX0" fmla="*/ 815 w 2910"/>
                <a:gd name="csY0" fmla="*/ 0 h 6187"/>
                <a:gd name="csX1" fmla="*/ 113 w 2910"/>
                <a:gd name="csY1" fmla="*/ 6187 h 6187"/>
                <a:gd name="csX2" fmla="*/ 815 w 2910"/>
                <a:gd name="csY2" fmla="*/ 0 h 6187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</a:cxnLst>
              <a:rect l="l" t="t" r="r" b="b"/>
              <a:pathLst>
                <a:path w="2910" h="6187">
                  <a:moveTo>
                    <a:pt x="815" y="0"/>
                  </a:moveTo>
                  <a:cubicBezTo>
                    <a:pt x="4660" y="1891"/>
                    <a:pt x="2480" y="3840"/>
                    <a:pt x="113" y="6187"/>
                  </a:cubicBezTo>
                  <a:cubicBezTo>
                    <a:pt x="-172" y="4565"/>
                    <a:pt x="89" y="2579"/>
                    <a:pt x="815" y="0"/>
                  </a:cubicBezTo>
                  <a:close/>
                </a:path>
              </a:pathLst>
            </a:custGeom>
            <a:solidFill>
              <a:srgbClr val="CDD9DF"/>
            </a:solidFill>
            <a:ln w="1227" cap="flat">
              <a:noFill/>
              <a:prstDash val="solid"/>
              <a:miter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</p:grpSp>
      <p:sp>
        <p:nvSpPr>
          <p:cNvPr id="218" name="Free-form: Shape 217">
            <a:extLst>
              <a:ext uri="{FF2B5EF4-FFF2-40B4-BE49-F238E27FC236}">
                <a16:creationId xmlns:a16="http://schemas.microsoft.com/office/drawing/2014/main" id="{341BFE86-7796-ED59-DA9A-0AA6E02A8EED}"/>
              </a:ext>
            </a:extLst>
          </p:cNvPr>
          <p:cNvSpPr/>
          <p:nvPr/>
        </p:nvSpPr>
        <p:spPr>
          <a:xfrm>
            <a:off x="4804098" y="3237033"/>
            <a:ext cx="777434" cy="153278"/>
          </a:xfrm>
          <a:custGeom>
            <a:avLst/>
            <a:gdLst>
              <a:gd name="csX0" fmla="*/ 191041 w 1045419"/>
              <a:gd name="csY0" fmla="*/ 0 h 228601"/>
              <a:gd name="csX1" fmla="*/ 1045419 w 1045419"/>
              <a:gd name="csY1" fmla="*/ 0 h 228601"/>
              <a:gd name="csX2" fmla="*/ 918418 w 1045419"/>
              <a:gd name="csY2" fmla="*/ 228601 h 228601"/>
              <a:gd name="csX3" fmla="*/ 0 w 1045419"/>
              <a:gd name="csY3" fmla="*/ 228601 h 228601"/>
              <a:gd name="csX4" fmla="*/ 191041 w 1045419"/>
              <a:gd name="csY4" fmla="*/ 0 h 22860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045419" h="228601">
                <a:moveTo>
                  <a:pt x="191041" y="0"/>
                </a:moveTo>
                <a:lnTo>
                  <a:pt x="1045419" y="0"/>
                </a:lnTo>
                <a:lnTo>
                  <a:pt x="918418" y="228601"/>
                </a:lnTo>
                <a:lnTo>
                  <a:pt x="0" y="228601"/>
                </a:lnTo>
                <a:lnTo>
                  <a:pt x="191041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9" name="Free-form: Shape 218">
            <a:extLst>
              <a:ext uri="{FF2B5EF4-FFF2-40B4-BE49-F238E27FC236}">
                <a16:creationId xmlns:a16="http://schemas.microsoft.com/office/drawing/2014/main" id="{CCF623A9-E886-6F93-314D-A50FEE438B60}"/>
              </a:ext>
            </a:extLst>
          </p:cNvPr>
          <p:cNvSpPr/>
          <p:nvPr/>
        </p:nvSpPr>
        <p:spPr>
          <a:xfrm>
            <a:off x="1884362" y="4934387"/>
            <a:ext cx="1646821" cy="454861"/>
          </a:xfrm>
          <a:custGeom>
            <a:avLst/>
            <a:gdLst>
              <a:gd name="csX0" fmla="*/ 626019 w 1992654"/>
              <a:gd name="csY0" fmla="*/ 0 h 550382"/>
              <a:gd name="csX1" fmla="*/ 1992654 w 1992654"/>
              <a:gd name="csY1" fmla="*/ 0 h 550382"/>
              <a:gd name="csX2" fmla="*/ 1532703 w 1992654"/>
              <a:gd name="csY2" fmla="*/ 550382 h 550382"/>
              <a:gd name="csX3" fmla="*/ 0 w 1992654"/>
              <a:gd name="csY3" fmla="*/ 550382 h 550382"/>
              <a:gd name="csX4" fmla="*/ 626019 w 1992654"/>
              <a:gd name="csY4" fmla="*/ 0 h 55038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992654" h="550382">
                <a:moveTo>
                  <a:pt x="626019" y="0"/>
                </a:moveTo>
                <a:lnTo>
                  <a:pt x="1992654" y="0"/>
                </a:lnTo>
                <a:lnTo>
                  <a:pt x="1532703" y="550382"/>
                </a:lnTo>
                <a:lnTo>
                  <a:pt x="0" y="550382"/>
                </a:lnTo>
                <a:lnTo>
                  <a:pt x="626019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20" name="Free-form: Shape 219">
            <a:extLst>
              <a:ext uri="{FF2B5EF4-FFF2-40B4-BE49-F238E27FC236}">
                <a16:creationId xmlns:a16="http://schemas.microsoft.com/office/drawing/2014/main" id="{40537C47-F3E4-A526-58D8-B373AC4FB0F8}"/>
              </a:ext>
            </a:extLst>
          </p:cNvPr>
          <p:cNvSpPr/>
          <p:nvPr/>
        </p:nvSpPr>
        <p:spPr>
          <a:xfrm>
            <a:off x="4186815" y="4934387"/>
            <a:ext cx="1568526" cy="454861"/>
          </a:xfrm>
          <a:custGeom>
            <a:avLst/>
            <a:gdLst>
              <a:gd name="csX0" fmla="*/ 527533 w 1897917"/>
              <a:gd name="csY0" fmla="*/ 0 h 550382"/>
              <a:gd name="csX1" fmla="*/ 1897917 w 1897917"/>
              <a:gd name="csY1" fmla="*/ 0 h 550382"/>
              <a:gd name="csX2" fmla="*/ 1747106 w 1897917"/>
              <a:gd name="csY2" fmla="*/ 550382 h 550382"/>
              <a:gd name="csX3" fmla="*/ 0 w 1897917"/>
              <a:gd name="csY3" fmla="*/ 550382 h 550382"/>
              <a:gd name="csX4" fmla="*/ 223004 w 1897917"/>
              <a:gd name="csY4" fmla="*/ 548152 h 550382"/>
              <a:gd name="csX5" fmla="*/ 527533 w 1897917"/>
              <a:gd name="csY5" fmla="*/ 0 h 55038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</a:cxnLst>
            <a:rect l="l" t="t" r="r" b="b"/>
            <a:pathLst>
              <a:path w="1897917" h="550382">
                <a:moveTo>
                  <a:pt x="527533" y="0"/>
                </a:moveTo>
                <a:lnTo>
                  <a:pt x="1897917" y="0"/>
                </a:lnTo>
                <a:lnTo>
                  <a:pt x="1747106" y="550382"/>
                </a:lnTo>
                <a:lnTo>
                  <a:pt x="0" y="550382"/>
                </a:lnTo>
                <a:lnTo>
                  <a:pt x="223004" y="548152"/>
                </a:lnTo>
                <a:lnTo>
                  <a:pt x="527533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21" name="Free-form: Shape 220">
            <a:extLst>
              <a:ext uri="{FF2B5EF4-FFF2-40B4-BE49-F238E27FC236}">
                <a16:creationId xmlns:a16="http://schemas.microsoft.com/office/drawing/2014/main" id="{F599D693-BD19-4C53-8A51-12EAE14906CC}"/>
              </a:ext>
            </a:extLst>
          </p:cNvPr>
          <p:cNvSpPr/>
          <p:nvPr/>
        </p:nvSpPr>
        <p:spPr>
          <a:xfrm>
            <a:off x="6865547" y="4934387"/>
            <a:ext cx="1247364" cy="444260"/>
          </a:xfrm>
          <a:custGeom>
            <a:avLst/>
            <a:gdLst>
              <a:gd name="csX0" fmla="*/ 3065 w 1509311"/>
              <a:gd name="csY0" fmla="*/ 0 h 537554"/>
              <a:gd name="csX1" fmla="*/ 1356162 w 1509311"/>
              <a:gd name="csY1" fmla="*/ 0 h 537554"/>
              <a:gd name="csX2" fmla="*/ 1509311 w 1509311"/>
              <a:gd name="csY2" fmla="*/ 537554 h 537554"/>
              <a:gd name="csX3" fmla="*/ 0 w 1509311"/>
              <a:gd name="csY3" fmla="*/ 533283 h 537554"/>
              <a:gd name="csX4" fmla="*/ 3065 w 1509311"/>
              <a:gd name="csY4" fmla="*/ 0 h 53755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509311" h="537554">
                <a:moveTo>
                  <a:pt x="3065" y="0"/>
                </a:moveTo>
                <a:lnTo>
                  <a:pt x="1356162" y="0"/>
                </a:lnTo>
                <a:lnTo>
                  <a:pt x="1509311" y="537554"/>
                </a:lnTo>
                <a:lnTo>
                  <a:pt x="0" y="533283"/>
                </a:lnTo>
                <a:cubicBezTo>
                  <a:pt x="1022" y="355522"/>
                  <a:pt x="2043" y="177761"/>
                  <a:pt x="3065" y="0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22" name="Free-form: Shape 221">
            <a:extLst>
              <a:ext uri="{FF2B5EF4-FFF2-40B4-BE49-F238E27FC236}">
                <a16:creationId xmlns:a16="http://schemas.microsoft.com/office/drawing/2014/main" id="{9D4E03EE-4618-94FE-E203-07C96EE552A3}"/>
              </a:ext>
            </a:extLst>
          </p:cNvPr>
          <p:cNvSpPr/>
          <p:nvPr/>
        </p:nvSpPr>
        <p:spPr>
          <a:xfrm>
            <a:off x="9098719" y="4934388"/>
            <a:ext cx="1478271" cy="451232"/>
          </a:xfrm>
          <a:custGeom>
            <a:avLst/>
            <a:gdLst>
              <a:gd name="csX0" fmla="*/ 0 w 1788708"/>
              <a:gd name="csY0" fmla="*/ 0 h 545991"/>
              <a:gd name="csX1" fmla="*/ 1331921 w 1788708"/>
              <a:gd name="csY1" fmla="*/ 0 h 545991"/>
              <a:gd name="csX2" fmla="*/ 1788708 w 1788708"/>
              <a:gd name="csY2" fmla="*/ 545991 h 545991"/>
              <a:gd name="csX3" fmla="*/ 241609 w 1788708"/>
              <a:gd name="csY3" fmla="*/ 541613 h 545991"/>
              <a:gd name="csX4" fmla="*/ 301257 w 1788708"/>
              <a:gd name="csY4" fmla="*/ 540718 h 545991"/>
              <a:gd name="csX5" fmla="*/ 0 w 1788708"/>
              <a:gd name="csY5" fmla="*/ 0 h 54599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</a:cxnLst>
            <a:rect l="l" t="t" r="r" b="b"/>
            <a:pathLst>
              <a:path w="1788708" h="545991">
                <a:moveTo>
                  <a:pt x="0" y="0"/>
                </a:moveTo>
                <a:lnTo>
                  <a:pt x="1331921" y="0"/>
                </a:lnTo>
                <a:lnTo>
                  <a:pt x="1788708" y="545991"/>
                </a:lnTo>
                <a:lnTo>
                  <a:pt x="241609" y="541613"/>
                </a:lnTo>
                <a:lnTo>
                  <a:pt x="301257" y="540718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23" name="Free-form: Shape 222">
            <a:extLst>
              <a:ext uri="{FF2B5EF4-FFF2-40B4-BE49-F238E27FC236}">
                <a16:creationId xmlns:a16="http://schemas.microsoft.com/office/drawing/2014/main" id="{C1CB26F4-6E36-2832-E1DF-49690B1B27C3}"/>
              </a:ext>
            </a:extLst>
          </p:cNvPr>
          <p:cNvSpPr/>
          <p:nvPr/>
        </p:nvSpPr>
        <p:spPr>
          <a:xfrm>
            <a:off x="3531183" y="4539041"/>
            <a:ext cx="1311245" cy="395346"/>
          </a:xfrm>
          <a:custGeom>
            <a:avLst/>
            <a:gdLst>
              <a:gd name="csX0" fmla="*/ 399769 w 1586606"/>
              <a:gd name="csY0" fmla="*/ 0 h 478368"/>
              <a:gd name="csX1" fmla="*/ 1586606 w 1586606"/>
              <a:gd name="csY1" fmla="*/ 0 h 478368"/>
              <a:gd name="csX2" fmla="*/ 1320846 w 1586606"/>
              <a:gd name="csY2" fmla="*/ 478368 h 478368"/>
              <a:gd name="csX3" fmla="*/ 0 w 1586606"/>
              <a:gd name="csY3" fmla="*/ 478368 h 478368"/>
              <a:gd name="csX4" fmla="*/ 399769 w 1586606"/>
              <a:gd name="csY4" fmla="*/ 0 h 47836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586606" h="478368">
                <a:moveTo>
                  <a:pt x="399769" y="0"/>
                </a:moveTo>
                <a:lnTo>
                  <a:pt x="1586606" y="0"/>
                </a:lnTo>
                <a:lnTo>
                  <a:pt x="1320846" y="478368"/>
                </a:lnTo>
                <a:lnTo>
                  <a:pt x="0" y="478368"/>
                </a:lnTo>
                <a:lnTo>
                  <a:pt x="399769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24" name="Free-form: Shape 223">
            <a:extLst>
              <a:ext uri="{FF2B5EF4-FFF2-40B4-BE49-F238E27FC236}">
                <a16:creationId xmlns:a16="http://schemas.microsoft.com/office/drawing/2014/main" id="{062A99A2-7E28-8546-19DC-5F0139FD52A6}"/>
              </a:ext>
            </a:extLst>
          </p:cNvPr>
          <p:cNvSpPr/>
          <p:nvPr/>
        </p:nvSpPr>
        <p:spPr>
          <a:xfrm>
            <a:off x="5755341" y="4539041"/>
            <a:ext cx="1115011" cy="395346"/>
          </a:xfrm>
          <a:custGeom>
            <a:avLst/>
            <a:gdLst>
              <a:gd name="csX0" fmla="*/ 131078 w 1349163"/>
              <a:gd name="csY0" fmla="*/ 0 h 478368"/>
              <a:gd name="csX1" fmla="*/ 1349163 w 1349163"/>
              <a:gd name="csY1" fmla="*/ 0 h 478368"/>
              <a:gd name="csX2" fmla="*/ 1346414 w 1349163"/>
              <a:gd name="csY2" fmla="*/ 478368 h 478368"/>
              <a:gd name="csX3" fmla="*/ 0 w 1349163"/>
              <a:gd name="csY3" fmla="*/ 478368 h 478368"/>
              <a:gd name="csX4" fmla="*/ 131078 w 1349163"/>
              <a:gd name="csY4" fmla="*/ 0 h 47836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349163" h="478368">
                <a:moveTo>
                  <a:pt x="131078" y="0"/>
                </a:moveTo>
                <a:lnTo>
                  <a:pt x="1349163" y="0"/>
                </a:lnTo>
                <a:lnTo>
                  <a:pt x="1346414" y="478368"/>
                </a:lnTo>
                <a:lnTo>
                  <a:pt x="0" y="478368"/>
                </a:lnTo>
                <a:lnTo>
                  <a:pt x="131078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26" name="Free-form: Shape 225">
            <a:extLst>
              <a:ext uri="{FF2B5EF4-FFF2-40B4-BE49-F238E27FC236}">
                <a16:creationId xmlns:a16="http://schemas.microsoft.com/office/drawing/2014/main" id="{E5A9E8A8-E203-C512-8E4B-5BDBA5360E1B}"/>
              </a:ext>
            </a:extLst>
          </p:cNvPr>
          <p:cNvSpPr/>
          <p:nvPr/>
        </p:nvSpPr>
        <p:spPr>
          <a:xfrm>
            <a:off x="9868727" y="4539041"/>
            <a:ext cx="1462821" cy="395346"/>
          </a:xfrm>
          <a:custGeom>
            <a:avLst/>
            <a:gdLst>
              <a:gd name="csX0" fmla="*/ 0 w 1770014"/>
              <a:gd name="csY0" fmla="*/ 0 h 478368"/>
              <a:gd name="csX1" fmla="*/ 1231679 w 1770014"/>
              <a:gd name="csY1" fmla="*/ 0 h 478368"/>
              <a:gd name="csX2" fmla="*/ 1770014 w 1770014"/>
              <a:gd name="csY2" fmla="*/ 478368 h 478368"/>
              <a:gd name="csX3" fmla="*/ 400212 w 1770014"/>
              <a:gd name="csY3" fmla="*/ 478368 h 478368"/>
              <a:gd name="csX4" fmla="*/ 0 w 1770014"/>
              <a:gd name="csY4" fmla="*/ 0 h 47836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770014" h="478368">
                <a:moveTo>
                  <a:pt x="0" y="0"/>
                </a:moveTo>
                <a:lnTo>
                  <a:pt x="1231679" y="0"/>
                </a:lnTo>
                <a:lnTo>
                  <a:pt x="1770014" y="478368"/>
                </a:lnTo>
                <a:lnTo>
                  <a:pt x="400212" y="478368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28" name="Free-form: Shape 227">
            <a:extLst>
              <a:ext uri="{FF2B5EF4-FFF2-40B4-BE49-F238E27FC236}">
                <a16:creationId xmlns:a16="http://schemas.microsoft.com/office/drawing/2014/main" id="{AC9D785B-06E4-2903-246C-23CDCD01DD65}"/>
              </a:ext>
            </a:extLst>
          </p:cNvPr>
          <p:cNvSpPr/>
          <p:nvPr/>
        </p:nvSpPr>
        <p:spPr>
          <a:xfrm>
            <a:off x="8813603" y="3237034"/>
            <a:ext cx="1718658" cy="987102"/>
          </a:xfrm>
          <a:custGeom>
            <a:avLst/>
            <a:gdLst>
              <a:gd name="csX0" fmla="*/ 1734208 w 2079576"/>
              <a:gd name="csY0" fmla="*/ 893490 h 1194393"/>
              <a:gd name="csX1" fmla="*/ 1740954 w 2079576"/>
              <a:gd name="csY1" fmla="*/ 893490 h 1194393"/>
              <a:gd name="csX2" fmla="*/ 2079576 w 2079576"/>
              <a:gd name="csY2" fmla="*/ 1194392 h 1194393"/>
              <a:gd name="csX3" fmla="*/ 1492572 w 2079576"/>
              <a:gd name="csY3" fmla="*/ 1194392 h 1194393"/>
              <a:gd name="csX4" fmla="*/ 1492573 w 2079576"/>
              <a:gd name="csY4" fmla="*/ 1194393 h 1194393"/>
              <a:gd name="csX5" fmla="*/ 957918 w 2079576"/>
              <a:gd name="csY5" fmla="*/ 1194393 h 1194393"/>
              <a:gd name="csX6" fmla="*/ 706177 w 2079576"/>
              <a:gd name="csY6" fmla="*/ 893491 h 1194393"/>
              <a:gd name="csX7" fmla="*/ 1734209 w 2079576"/>
              <a:gd name="csY7" fmla="*/ 893491 h 1194393"/>
              <a:gd name="csX8" fmla="*/ 1428628 w 2079576"/>
              <a:gd name="csY8" fmla="*/ 612504 h 1194393"/>
              <a:gd name="csX9" fmla="*/ 1433390 w 2079576"/>
              <a:gd name="csY9" fmla="*/ 617266 h 1194393"/>
              <a:gd name="csX10" fmla="*/ 1430104 w 2079576"/>
              <a:gd name="csY10" fmla="*/ 617266 h 1194393"/>
              <a:gd name="csX11" fmla="*/ 1424767 w 2079576"/>
              <a:gd name="csY11" fmla="*/ 612523 h 1194393"/>
              <a:gd name="csX12" fmla="*/ 283831 w 2079576"/>
              <a:gd name="csY12" fmla="*/ 388666 h 1194393"/>
              <a:gd name="csX13" fmla="*/ 631714 w 2079576"/>
              <a:gd name="csY13" fmla="*/ 388666 h 1194393"/>
              <a:gd name="csX14" fmla="*/ 1158324 w 2079576"/>
              <a:gd name="csY14" fmla="*/ 388666 h 1194393"/>
              <a:gd name="csX15" fmla="*/ 1172848 w 2079576"/>
              <a:gd name="csY15" fmla="*/ 388666 h 1194393"/>
              <a:gd name="csX16" fmla="*/ 1424767 w 2079576"/>
              <a:gd name="csY16" fmla="*/ 612523 h 1194393"/>
              <a:gd name="csX17" fmla="*/ 475083 w 2079576"/>
              <a:gd name="csY17" fmla="*/ 617267 h 1194393"/>
              <a:gd name="csX18" fmla="*/ 735460 w 2079576"/>
              <a:gd name="csY18" fmla="*/ 0 h 1194393"/>
              <a:gd name="csX19" fmla="*/ 936218 w 2079576"/>
              <a:gd name="csY19" fmla="*/ 178395 h 1194393"/>
              <a:gd name="csX20" fmla="*/ 918454 w 2079576"/>
              <a:gd name="csY20" fmla="*/ 178395 h 1194393"/>
              <a:gd name="csX21" fmla="*/ 918453 w 2079576"/>
              <a:gd name="csY21" fmla="*/ 178394 h 1194393"/>
              <a:gd name="csX22" fmla="*/ 918452 w 2079576"/>
              <a:gd name="csY22" fmla="*/ 178394 h 1194393"/>
              <a:gd name="csX23" fmla="*/ 105862 w 2079576"/>
              <a:gd name="csY23" fmla="*/ 175942 h 1194393"/>
              <a:gd name="csX24" fmla="*/ 0 w 2079576"/>
              <a:gd name="csY24" fmla="*/ 7665 h 119439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</a:cxnLst>
            <a:rect l="l" t="t" r="r" b="b"/>
            <a:pathLst>
              <a:path w="2079576" h="1194393">
                <a:moveTo>
                  <a:pt x="1734208" y="893490"/>
                </a:moveTo>
                <a:lnTo>
                  <a:pt x="1740954" y="893490"/>
                </a:lnTo>
                <a:lnTo>
                  <a:pt x="2079576" y="1194392"/>
                </a:lnTo>
                <a:lnTo>
                  <a:pt x="1492572" y="1194392"/>
                </a:lnTo>
                <a:lnTo>
                  <a:pt x="1492573" y="1194393"/>
                </a:lnTo>
                <a:lnTo>
                  <a:pt x="957918" y="1194393"/>
                </a:lnTo>
                <a:lnTo>
                  <a:pt x="706177" y="893491"/>
                </a:lnTo>
                <a:lnTo>
                  <a:pt x="1734209" y="893491"/>
                </a:lnTo>
                <a:close/>
                <a:moveTo>
                  <a:pt x="1428628" y="612504"/>
                </a:moveTo>
                <a:lnTo>
                  <a:pt x="1433390" y="617266"/>
                </a:lnTo>
                <a:lnTo>
                  <a:pt x="1430104" y="617266"/>
                </a:lnTo>
                <a:lnTo>
                  <a:pt x="1424767" y="612523"/>
                </a:lnTo>
                <a:close/>
                <a:moveTo>
                  <a:pt x="283831" y="388666"/>
                </a:moveTo>
                <a:lnTo>
                  <a:pt x="631714" y="388666"/>
                </a:lnTo>
                <a:lnTo>
                  <a:pt x="1158324" y="388666"/>
                </a:lnTo>
                <a:lnTo>
                  <a:pt x="1172848" y="388666"/>
                </a:lnTo>
                <a:lnTo>
                  <a:pt x="1424767" y="612523"/>
                </a:lnTo>
                <a:lnTo>
                  <a:pt x="475083" y="617267"/>
                </a:lnTo>
                <a:close/>
                <a:moveTo>
                  <a:pt x="735460" y="0"/>
                </a:moveTo>
                <a:lnTo>
                  <a:pt x="936218" y="178395"/>
                </a:lnTo>
                <a:lnTo>
                  <a:pt x="918454" y="178395"/>
                </a:lnTo>
                <a:lnTo>
                  <a:pt x="918453" y="178394"/>
                </a:lnTo>
                <a:lnTo>
                  <a:pt x="918452" y="178394"/>
                </a:lnTo>
                <a:lnTo>
                  <a:pt x="105862" y="175942"/>
                </a:lnTo>
                <a:lnTo>
                  <a:pt x="0" y="7665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33" name="Free-form: Shape 232">
            <a:extLst>
              <a:ext uri="{FF2B5EF4-FFF2-40B4-BE49-F238E27FC236}">
                <a16:creationId xmlns:a16="http://schemas.microsoft.com/office/drawing/2014/main" id="{6F1EEF91-0703-DAF4-082F-229ADA268827}"/>
              </a:ext>
            </a:extLst>
          </p:cNvPr>
          <p:cNvSpPr/>
          <p:nvPr/>
        </p:nvSpPr>
        <p:spPr>
          <a:xfrm>
            <a:off x="8235194" y="3384467"/>
            <a:ext cx="812979" cy="173778"/>
          </a:xfrm>
          <a:custGeom>
            <a:avLst/>
            <a:gdLst>
              <a:gd name="csX0" fmla="*/ 0 w 983705"/>
              <a:gd name="csY0" fmla="*/ 0 h 210271"/>
              <a:gd name="csX1" fmla="*/ 807788 w 983705"/>
              <a:gd name="csY1" fmla="*/ 0 h 210271"/>
              <a:gd name="csX2" fmla="*/ 983705 w 983705"/>
              <a:gd name="csY2" fmla="*/ 210271 h 210271"/>
              <a:gd name="csX3" fmla="*/ 117151 w 983705"/>
              <a:gd name="csY3" fmla="*/ 210271 h 210271"/>
              <a:gd name="csX4" fmla="*/ 0 w 983705"/>
              <a:gd name="csY4" fmla="*/ 0 h 21027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983705" h="210271">
                <a:moveTo>
                  <a:pt x="0" y="0"/>
                </a:moveTo>
                <a:lnTo>
                  <a:pt x="807788" y="0"/>
                </a:lnTo>
                <a:lnTo>
                  <a:pt x="983705" y="210271"/>
                </a:lnTo>
                <a:lnTo>
                  <a:pt x="117151" y="21027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35" name="Free-form: Shape 234">
            <a:extLst>
              <a:ext uri="{FF2B5EF4-FFF2-40B4-BE49-F238E27FC236}">
                <a16:creationId xmlns:a16="http://schemas.microsoft.com/office/drawing/2014/main" id="{42D1BAB7-A27C-3FE6-C4BA-270358530B9F}"/>
              </a:ext>
            </a:extLst>
          </p:cNvPr>
          <p:cNvSpPr/>
          <p:nvPr/>
        </p:nvSpPr>
        <p:spPr>
          <a:xfrm>
            <a:off x="4523333" y="3558244"/>
            <a:ext cx="863983" cy="188926"/>
          </a:xfrm>
          <a:custGeom>
            <a:avLst/>
            <a:gdLst>
              <a:gd name="csX0" fmla="*/ 191041 w 1045419"/>
              <a:gd name="csY0" fmla="*/ 0 h 228601"/>
              <a:gd name="csX1" fmla="*/ 1045419 w 1045419"/>
              <a:gd name="csY1" fmla="*/ 0 h 228601"/>
              <a:gd name="csX2" fmla="*/ 918418 w 1045419"/>
              <a:gd name="csY2" fmla="*/ 228601 h 228601"/>
              <a:gd name="csX3" fmla="*/ 0 w 1045419"/>
              <a:gd name="csY3" fmla="*/ 228601 h 228601"/>
              <a:gd name="csX4" fmla="*/ 191041 w 1045419"/>
              <a:gd name="csY4" fmla="*/ 0 h 22860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045419" h="228601">
                <a:moveTo>
                  <a:pt x="191041" y="0"/>
                </a:moveTo>
                <a:lnTo>
                  <a:pt x="1045419" y="0"/>
                </a:lnTo>
                <a:lnTo>
                  <a:pt x="918418" y="228601"/>
                </a:lnTo>
                <a:lnTo>
                  <a:pt x="0" y="228601"/>
                </a:lnTo>
                <a:lnTo>
                  <a:pt x="191041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37" name="Free-form: Shape 236">
            <a:extLst>
              <a:ext uri="{FF2B5EF4-FFF2-40B4-BE49-F238E27FC236}">
                <a16:creationId xmlns:a16="http://schemas.microsoft.com/office/drawing/2014/main" id="{541356A8-2B5A-C824-0B6B-AD59743E99DB}"/>
              </a:ext>
            </a:extLst>
          </p:cNvPr>
          <p:cNvSpPr/>
          <p:nvPr/>
        </p:nvSpPr>
        <p:spPr>
          <a:xfrm>
            <a:off x="5155531" y="3747170"/>
            <a:ext cx="925121" cy="228284"/>
          </a:xfrm>
          <a:custGeom>
            <a:avLst/>
            <a:gdLst>
              <a:gd name="csX0" fmla="*/ 153458 w 1119397"/>
              <a:gd name="csY0" fmla="*/ 0 h 276224"/>
              <a:gd name="csX1" fmla="*/ 1119397 w 1119397"/>
              <a:gd name="csY1" fmla="*/ 0 h 276224"/>
              <a:gd name="csX2" fmla="*/ 1043709 w 1119397"/>
              <a:gd name="csY2" fmla="*/ 276224 h 276224"/>
              <a:gd name="csX3" fmla="*/ 0 w 1119397"/>
              <a:gd name="csY3" fmla="*/ 276224 h 276224"/>
              <a:gd name="csX4" fmla="*/ 153458 w 1119397"/>
              <a:gd name="csY4" fmla="*/ 0 h 27622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119397" h="276224">
                <a:moveTo>
                  <a:pt x="153458" y="0"/>
                </a:moveTo>
                <a:lnTo>
                  <a:pt x="1119397" y="0"/>
                </a:lnTo>
                <a:lnTo>
                  <a:pt x="1043709" y="276224"/>
                </a:lnTo>
                <a:lnTo>
                  <a:pt x="0" y="276224"/>
                </a:lnTo>
                <a:lnTo>
                  <a:pt x="153458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39" name="Free-form: Shape 238">
            <a:extLst>
              <a:ext uri="{FF2B5EF4-FFF2-40B4-BE49-F238E27FC236}">
                <a16:creationId xmlns:a16="http://schemas.microsoft.com/office/drawing/2014/main" id="{9E968E82-5BAF-43F3-C19D-4A4D7F3DAC27}"/>
              </a:ext>
            </a:extLst>
          </p:cNvPr>
          <p:cNvSpPr/>
          <p:nvPr/>
        </p:nvSpPr>
        <p:spPr>
          <a:xfrm>
            <a:off x="6873591" y="3747170"/>
            <a:ext cx="839552" cy="228284"/>
          </a:xfrm>
          <a:custGeom>
            <a:avLst/>
            <a:gdLst>
              <a:gd name="csX0" fmla="*/ 1588 w 1015858"/>
              <a:gd name="csY0" fmla="*/ 0 h 276224"/>
              <a:gd name="csX1" fmla="*/ 937162 w 1015858"/>
              <a:gd name="csY1" fmla="*/ 0 h 276224"/>
              <a:gd name="csX2" fmla="*/ 1015858 w 1015858"/>
              <a:gd name="csY2" fmla="*/ 276224 h 276224"/>
              <a:gd name="csX3" fmla="*/ 0 w 1015858"/>
              <a:gd name="csY3" fmla="*/ 276224 h 276224"/>
              <a:gd name="csX4" fmla="*/ 1588 w 1015858"/>
              <a:gd name="csY4" fmla="*/ 0 h 27622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015858" h="276224">
                <a:moveTo>
                  <a:pt x="1588" y="0"/>
                </a:moveTo>
                <a:lnTo>
                  <a:pt x="937162" y="0"/>
                </a:lnTo>
                <a:lnTo>
                  <a:pt x="1015858" y="276224"/>
                </a:lnTo>
                <a:lnTo>
                  <a:pt x="0" y="276224"/>
                </a:lnTo>
                <a:lnTo>
                  <a:pt x="1588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41" name="Free-form: Shape 240">
            <a:extLst>
              <a:ext uri="{FF2B5EF4-FFF2-40B4-BE49-F238E27FC236}">
                <a16:creationId xmlns:a16="http://schemas.microsoft.com/office/drawing/2014/main" id="{2356F820-7849-2FCB-702C-6FCA4E64AAE2}"/>
              </a:ext>
            </a:extLst>
          </p:cNvPr>
          <p:cNvSpPr/>
          <p:nvPr/>
        </p:nvSpPr>
        <p:spPr>
          <a:xfrm>
            <a:off x="8437270" y="3747170"/>
            <a:ext cx="959949" cy="228284"/>
          </a:xfrm>
          <a:custGeom>
            <a:avLst/>
            <a:gdLst>
              <a:gd name="csX0" fmla="*/ 0 w 1161538"/>
              <a:gd name="csY0" fmla="*/ 0 h 276224"/>
              <a:gd name="csX1" fmla="*/ 930444 w 1161538"/>
              <a:gd name="csY1" fmla="*/ 0 h 276224"/>
              <a:gd name="csX2" fmla="*/ 1161538 w 1161538"/>
              <a:gd name="csY2" fmla="*/ 276224 h 276224"/>
              <a:gd name="csX3" fmla="*/ 153896 w 1161538"/>
              <a:gd name="csY3" fmla="*/ 276224 h 276224"/>
              <a:gd name="csX4" fmla="*/ 0 w 1161538"/>
              <a:gd name="csY4" fmla="*/ 0 h 27622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161538" h="276224">
                <a:moveTo>
                  <a:pt x="0" y="0"/>
                </a:moveTo>
                <a:lnTo>
                  <a:pt x="930444" y="0"/>
                </a:lnTo>
                <a:lnTo>
                  <a:pt x="1161538" y="276224"/>
                </a:lnTo>
                <a:lnTo>
                  <a:pt x="153896" y="276224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43" name="Free-form: Shape 242">
            <a:extLst>
              <a:ext uri="{FF2B5EF4-FFF2-40B4-BE49-F238E27FC236}">
                <a16:creationId xmlns:a16="http://schemas.microsoft.com/office/drawing/2014/main" id="{BF6D0EA7-AA6E-4B29-0557-3A4BAAD2E9AA}"/>
              </a:ext>
            </a:extLst>
          </p:cNvPr>
          <p:cNvSpPr/>
          <p:nvPr/>
        </p:nvSpPr>
        <p:spPr>
          <a:xfrm>
            <a:off x="2851411" y="4224134"/>
            <a:ext cx="1273326" cy="314908"/>
          </a:xfrm>
          <a:custGeom>
            <a:avLst/>
            <a:gdLst>
              <a:gd name="csX0" fmla="*/ 433404 w 1540725"/>
              <a:gd name="csY0" fmla="*/ 0 h 381039"/>
              <a:gd name="csX1" fmla="*/ 1540725 w 1540725"/>
              <a:gd name="csY1" fmla="*/ 0 h 381039"/>
              <a:gd name="csX2" fmla="*/ 1222293 w 1540725"/>
              <a:gd name="csY2" fmla="*/ 381039 h 381039"/>
              <a:gd name="csX3" fmla="*/ 0 w 1540725"/>
              <a:gd name="csY3" fmla="*/ 381039 h 381039"/>
              <a:gd name="csX4" fmla="*/ 433404 w 1540725"/>
              <a:gd name="csY4" fmla="*/ 0 h 38103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540725" h="381039">
                <a:moveTo>
                  <a:pt x="433404" y="0"/>
                </a:moveTo>
                <a:lnTo>
                  <a:pt x="1540725" y="0"/>
                </a:lnTo>
                <a:lnTo>
                  <a:pt x="1222293" y="381039"/>
                </a:lnTo>
                <a:lnTo>
                  <a:pt x="0" y="381039"/>
                </a:lnTo>
                <a:lnTo>
                  <a:pt x="433404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44" name="Free-form: Shape 243">
            <a:extLst>
              <a:ext uri="{FF2B5EF4-FFF2-40B4-BE49-F238E27FC236}">
                <a16:creationId xmlns:a16="http://schemas.microsoft.com/office/drawing/2014/main" id="{2215F88B-4FDA-B4D7-953C-C750DACD6087}"/>
              </a:ext>
            </a:extLst>
          </p:cNvPr>
          <p:cNvSpPr/>
          <p:nvPr/>
        </p:nvSpPr>
        <p:spPr>
          <a:xfrm>
            <a:off x="4842427" y="4224134"/>
            <a:ext cx="1107531" cy="314908"/>
          </a:xfrm>
          <a:custGeom>
            <a:avLst/>
            <a:gdLst>
              <a:gd name="csX0" fmla="*/ 211688 w 1340113"/>
              <a:gd name="csY0" fmla="*/ 0 h 381039"/>
              <a:gd name="csX1" fmla="*/ 1340113 w 1340113"/>
              <a:gd name="csY1" fmla="*/ 0 h 381039"/>
              <a:gd name="csX2" fmla="*/ 1235704 w 1340113"/>
              <a:gd name="csY2" fmla="*/ 381039 h 381039"/>
              <a:gd name="csX3" fmla="*/ 0 w 1340113"/>
              <a:gd name="csY3" fmla="*/ 381039 h 381039"/>
              <a:gd name="csX4" fmla="*/ 211688 w 1340113"/>
              <a:gd name="csY4" fmla="*/ 0 h 38103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340113" h="381039">
                <a:moveTo>
                  <a:pt x="211688" y="0"/>
                </a:moveTo>
                <a:lnTo>
                  <a:pt x="1340113" y="0"/>
                </a:lnTo>
                <a:lnTo>
                  <a:pt x="1235704" y="381039"/>
                </a:lnTo>
                <a:lnTo>
                  <a:pt x="0" y="381039"/>
                </a:lnTo>
                <a:lnTo>
                  <a:pt x="211688" y="0"/>
                </a:lnTo>
                <a:close/>
              </a:path>
            </a:pathLst>
          </a:custGeom>
          <a:solidFill>
            <a:srgbClr val="DDE5E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45" name="Free-form: Shape 244">
            <a:extLst>
              <a:ext uri="{FF2B5EF4-FFF2-40B4-BE49-F238E27FC236}">
                <a16:creationId xmlns:a16="http://schemas.microsoft.com/office/drawing/2014/main" id="{F07E6841-9D68-7250-053D-31A20869E58A}"/>
              </a:ext>
            </a:extLst>
          </p:cNvPr>
          <p:cNvSpPr/>
          <p:nvPr/>
        </p:nvSpPr>
        <p:spPr>
          <a:xfrm>
            <a:off x="6870353" y="4224134"/>
            <a:ext cx="1003356" cy="314908"/>
          </a:xfrm>
          <a:custGeom>
            <a:avLst/>
            <a:gdLst>
              <a:gd name="csX0" fmla="*/ 2190 w 1214061"/>
              <a:gd name="csY0" fmla="*/ 0 h 381039"/>
              <a:gd name="csX1" fmla="*/ 1105503 w 1214061"/>
              <a:gd name="csY1" fmla="*/ 0 h 381039"/>
              <a:gd name="csX2" fmla="*/ 1214061 w 1214061"/>
              <a:gd name="csY2" fmla="*/ 381039 h 381039"/>
              <a:gd name="csX3" fmla="*/ 0 w 1214061"/>
              <a:gd name="csY3" fmla="*/ 381039 h 381039"/>
              <a:gd name="csX4" fmla="*/ 2190 w 1214061"/>
              <a:gd name="csY4" fmla="*/ 0 h 38103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214061" h="381039">
                <a:moveTo>
                  <a:pt x="2190" y="0"/>
                </a:moveTo>
                <a:lnTo>
                  <a:pt x="1105503" y="0"/>
                </a:lnTo>
                <a:lnTo>
                  <a:pt x="1214061" y="381039"/>
                </a:lnTo>
                <a:lnTo>
                  <a:pt x="0" y="381039"/>
                </a:lnTo>
                <a:lnTo>
                  <a:pt x="2190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46" name="Free-form: Shape 245">
            <a:extLst>
              <a:ext uri="{FF2B5EF4-FFF2-40B4-BE49-F238E27FC236}">
                <a16:creationId xmlns:a16="http://schemas.microsoft.com/office/drawing/2014/main" id="{37EBB0BF-9C66-ACFF-BAF7-9B842800AB76}"/>
              </a:ext>
            </a:extLst>
          </p:cNvPr>
          <p:cNvSpPr/>
          <p:nvPr/>
        </p:nvSpPr>
        <p:spPr>
          <a:xfrm>
            <a:off x="8703007" y="4224134"/>
            <a:ext cx="1165721" cy="314908"/>
          </a:xfrm>
          <a:custGeom>
            <a:avLst/>
            <a:gdLst>
              <a:gd name="csX0" fmla="*/ 0 w 1410522"/>
              <a:gd name="csY0" fmla="*/ 0 h 381039"/>
              <a:gd name="csX1" fmla="*/ 1091737 w 1410522"/>
              <a:gd name="csY1" fmla="*/ 0 h 381039"/>
              <a:gd name="csX2" fmla="*/ 1410522 w 1410522"/>
              <a:gd name="csY2" fmla="*/ 381039 h 381039"/>
              <a:gd name="csX3" fmla="*/ 212293 w 1410522"/>
              <a:gd name="csY3" fmla="*/ 381039 h 381039"/>
              <a:gd name="csX4" fmla="*/ 0 w 1410522"/>
              <a:gd name="csY4" fmla="*/ 0 h 38103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410522" h="381039">
                <a:moveTo>
                  <a:pt x="0" y="0"/>
                </a:moveTo>
                <a:lnTo>
                  <a:pt x="1091737" y="0"/>
                </a:lnTo>
                <a:lnTo>
                  <a:pt x="1410522" y="381039"/>
                </a:lnTo>
                <a:lnTo>
                  <a:pt x="212293" y="381039"/>
                </a:lnTo>
                <a:lnTo>
                  <a:pt x="0" y="0"/>
                </a:lnTo>
                <a:close/>
              </a:path>
            </a:pathLst>
          </a:custGeom>
          <a:solidFill>
            <a:srgbClr val="DDE5E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47" name="Oval 246">
            <a:extLst>
              <a:ext uri="{FF2B5EF4-FFF2-40B4-BE49-F238E27FC236}">
                <a16:creationId xmlns:a16="http://schemas.microsoft.com/office/drawing/2014/main" id="{831EFF62-297B-2188-212F-B490DBCDD990}"/>
              </a:ext>
            </a:extLst>
          </p:cNvPr>
          <p:cNvSpPr/>
          <p:nvPr/>
        </p:nvSpPr>
        <p:spPr>
          <a:xfrm>
            <a:off x="4217901" y="3217063"/>
            <a:ext cx="656485" cy="147620"/>
          </a:xfrm>
          <a:prstGeom prst="ellipse">
            <a:avLst/>
          </a:prstGeom>
          <a:solidFill>
            <a:schemeClr val="tx1">
              <a:alpha val="5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48" name="Free-form: Shape 247">
            <a:extLst>
              <a:ext uri="{FF2B5EF4-FFF2-40B4-BE49-F238E27FC236}">
                <a16:creationId xmlns:a16="http://schemas.microsoft.com/office/drawing/2014/main" id="{E018F749-79AA-73AF-A6D3-9059E835FCC3}"/>
              </a:ext>
            </a:extLst>
          </p:cNvPr>
          <p:cNvSpPr/>
          <p:nvPr/>
        </p:nvSpPr>
        <p:spPr>
          <a:xfrm>
            <a:off x="4131922" y="2469783"/>
            <a:ext cx="880396" cy="841622"/>
          </a:xfrm>
          <a:custGeom>
            <a:avLst/>
            <a:gdLst>
              <a:gd name="csX0" fmla="*/ 401579 w 1609516"/>
              <a:gd name="csY0" fmla="*/ 1495809 h 1538630"/>
              <a:gd name="csX1" fmla="*/ 400190 w 1609516"/>
              <a:gd name="csY1" fmla="*/ 1496004 h 1538630"/>
              <a:gd name="csX2" fmla="*/ 401224 w 1609516"/>
              <a:gd name="csY2" fmla="*/ 1496470 h 1538630"/>
              <a:gd name="csX3" fmla="*/ 401224 w 1609516"/>
              <a:gd name="csY3" fmla="*/ 1498590 h 1538630"/>
              <a:gd name="csX4" fmla="*/ 401579 w 1609516"/>
              <a:gd name="csY4" fmla="*/ 1498628 h 1538630"/>
              <a:gd name="csX5" fmla="*/ 401579 w 1609516"/>
              <a:gd name="csY5" fmla="*/ 1495809 h 1538630"/>
              <a:gd name="csX6" fmla="*/ 368755 w 1609516"/>
              <a:gd name="csY6" fmla="*/ 1486512 h 1538630"/>
              <a:gd name="csX7" fmla="*/ 364089 w 1609516"/>
              <a:gd name="csY7" fmla="*/ 1487354 h 1538630"/>
              <a:gd name="csX8" fmla="*/ 364089 w 1609516"/>
              <a:gd name="csY8" fmla="*/ 1487908 h 1538630"/>
              <a:gd name="csX9" fmla="*/ 1049801 w 1609516"/>
              <a:gd name="csY9" fmla="*/ 1484562 h 1538630"/>
              <a:gd name="csX10" fmla="*/ 1046735 w 1609516"/>
              <a:gd name="csY10" fmla="*/ 1485945 h 1538630"/>
              <a:gd name="csX11" fmla="*/ 1046955 w 1609516"/>
              <a:gd name="csY11" fmla="*/ 1486045 h 1538630"/>
              <a:gd name="csX12" fmla="*/ 1049801 w 1609516"/>
              <a:gd name="csY12" fmla="*/ 1485188 h 1538630"/>
              <a:gd name="csX13" fmla="*/ 351234 w 1609516"/>
              <a:gd name="csY13" fmla="*/ 1444508 h 1538630"/>
              <a:gd name="csX14" fmla="*/ 351234 w 1609516"/>
              <a:gd name="csY14" fmla="*/ 1444997 h 1538630"/>
              <a:gd name="csX15" fmla="*/ 351592 w 1609516"/>
              <a:gd name="csY15" fmla="*/ 1445078 h 1538630"/>
              <a:gd name="csX16" fmla="*/ 351908 w 1609516"/>
              <a:gd name="csY16" fmla="*/ 1431206 h 1538630"/>
              <a:gd name="csX17" fmla="*/ 351234 w 1609516"/>
              <a:gd name="csY17" fmla="*/ 1431611 h 1538630"/>
              <a:gd name="csX18" fmla="*/ 351234 w 1609516"/>
              <a:gd name="csY18" fmla="*/ 1432274 h 1538630"/>
              <a:gd name="csX19" fmla="*/ 358162 w 1609516"/>
              <a:gd name="csY19" fmla="*/ 1421494 h 1538630"/>
              <a:gd name="csX20" fmla="*/ 355921 w 1609516"/>
              <a:gd name="csY20" fmla="*/ 1423156 h 1538630"/>
              <a:gd name="csX21" fmla="*/ 355921 w 1609516"/>
              <a:gd name="csY21" fmla="*/ 1423548 h 1538630"/>
              <a:gd name="csX22" fmla="*/ 376098 w 1609516"/>
              <a:gd name="csY22" fmla="*/ 1408347 h 1538630"/>
              <a:gd name="csX23" fmla="*/ 370750 w 1609516"/>
              <a:gd name="csY23" fmla="*/ 1412245 h 1538630"/>
              <a:gd name="csX24" fmla="*/ 375023 w 1609516"/>
              <a:gd name="csY24" fmla="*/ 1411256 h 1538630"/>
              <a:gd name="csX25" fmla="*/ 421956 w 1609516"/>
              <a:gd name="csY25" fmla="*/ 1365623 h 1538630"/>
              <a:gd name="csX26" fmla="*/ 421765 w 1609516"/>
              <a:gd name="csY26" fmla="*/ 1366161 h 1538630"/>
              <a:gd name="csX27" fmla="*/ 421887 w 1609516"/>
              <a:gd name="csY27" fmla="*/ 1366161 h 1538630"/>
              <a:gd name="csX28" fmla="*/ 754553 w 1609516"/>
              <a:gd name="csY28" fmla="*/ 1360575 h 1538630"/>
              <a:gd name="csX29" fmla="*/ 754089 w 1609516"/>
              <a:gd name="csY29" fmla="*/ 1361433 h 1538630"/>
              <a:gd name="csX30" fmla="*/ 754431 w 1609516"/>
              <a:gd name="csY30" fmla="*/ 1361125 h 1538630"/>
              <a:gd name="csX31" fmla="*/ 1277973 w 1609516"/>
              <a:gd name="csY31" fmla="*/ 1332923 h 1538630"/>
              <a:gd name="csX32" fmla="*/ 1277944 w 1609516"/>
              <a:gd name="csY32" fmla="*/ 1332936 h 1538630"/>
              <a:gd name="csX33" fmla="*/ 1277949 w 1609516"/>
              <a:gd name="csY33" fmla="*/ 1333139 h 1538630"/>
              <a:gd name="csX34" fmla="*/ 1268556 w 1609516"/>
              <a:gd name="csY34" fmla="*/ 1321066 h 1538630"/>
              <a:gd name="csX35" fmla="*/ 1268556 w 1609516"/>
              <a:gd name="csY35" fmla="*/ 1325294 h 1538630"/>
              <a:gd name="csX36" fmla="*/ 1265432 w 1609516"/>
              <a:gd name="csY36" fmla="*/ 1325294 h 1538630"/>
              <a:gd name="csX37" fmla="*/ 1265432 w 1609516"/>
              <a:gd name="csY37" fmla="*/ 1340795 h 1538630"/>
              <a:gd name="csX38" fmla="*/ 1265476 w 1609516"/>
              <a:gd name="csY38" fmla="*/ 1340714 h 1538630"/>
              <a:gd name="csX39" fmla="*/ 1265476 w 1609516"/>
              <a:gd name="csY39" fmla="*/ 1325877 h 1538630"/>
              <a:gd name="csX40" fmla="*/ 1268600 w 1609516"/>
              <a:gd name="csY40" fmla="*/ 1325877 h 1538630"/>
              <a:gd name="csX41" fmla="*/ 1268600 w 1609516"/>
              <a:gd name="csY41" fmla="*/ 1321649 h 1538630"/>
              <a:gd name="csX42" fmla="*/ 1273286 w 1609516"/>
              <a:gd name="csY42" fmla="*/ 1321649 h 1538630"/>
              <a:gd name="csX43" fmla="*/ 1273227 w 1609516"/>
              <a:gd name="csY43" fmla="*/ 1321066 h 1538630"/>
              <a:gd name="csX44" fmla="*/ 827891 w 1609516"/>
              <a:gd name="csY44" fmla="*/ 1291474 h 1538630"/>
              <a:gd name="csX45" fmla="*/ 822601 w 1609516"/>
              <a:gd name="csY45" fmla="*/ 1291544 h 1538630"/>
              <a:gd name="csX46" fmla="*/ 818272 w 1609516"/>
              <a:gd name="csY46" fmla="*/ 1292220 h 1538630"/>
              <a:gd name="csX47" fmla="*/ 827891 w 1609516"/>
              <a:gd name="csY47" fmla="*/ 1292047 h 1538630"/>
              <a:gd name="csX48" fmla="*/ 856397 w 1609516"/>
              <a:gd name="csY48" fmla="*/ 1288691 h 1538630"/>
              <a:gd name="csX49" fmla="*/ 865903 w 1609516"/>
              <a:gd name="csY49" fmla="*/ 1290590 h 1538630"/>
              <a:gd name="csX50" fmla="*/ 859999 w 1609516"/>
              <a:gd name="csY50" fmla="*/ 1288752 h 1538630"/>
              <a:gd name="csX51" fmla="*/ 834694 w 1609516"/>
              <a:gd name="csY51" fmla="*/ 1288572 h 1538630"/>
              <a:gd name="csX52" fmla="*/ 828038 w 1609516"/>
              <a:gd name="csY52" fmla="*/ 1288654 h 1538630"/>
              <a:gd name="csX53" fmla="*/ 828038 w 1609516"/>
              <a:gd name="csY53" fmla="*/ 1289214 h 1538630"/>
              <a:gd name="csX54" fmla="*/ 229746 w 1609516"/>
              <a:gd name="csY54" fmla="*/ 1191418 h 1538630"/>
              <a:gd name="csX55" fmla="*/ 227402 w 1609516"/>
              <a:gd name="csY55" fmla="*/ 1191947 h 1538630"/>
              <a:gd name="csX56" fmla="*/ 229315 w 1609516"/>
              <a:gd name="csY56" fmla="*/ 1191947 h 1538630"/>
              <a:gd name="csX57" fmla="*/ 229315 w 1609516"/>
              <a:gd name="csY57" fmla="*/ 1194765 h 1538630"/>
              <a:gd name="csX58" fmla="*/ 231321 w 1609516"/>
              <a:gd name="csY58" fmla="*/ 1194765 h 1538630"/>
              <a:gd name="csX59" fmla="*/ 229746 w 1609516"/>
              <a:gd name="csY59" fmla="*/ 1194236 h 1538630"/>
              <a:gd name="csX60" fmla="*/ 229746 w 1609516"/>
              <a:gd name="csY60" fmla="*/ 1191418 h 1538630"/>
              <a:gd name="csX61" fmla="*/ 215687 w 1609516"/>
              <a:gd name="csY61" fmla="*/ 1187190 h 1538630"/>
              <a:gd name="csX62" fmla="*/ 215198 w 1609516"/>
              <a:gd name="csY62" fmla="*/ 1187720 h 1538630"/>
              <a:gd name="csX63" fmla="*/ 215256 w 1609516"/>
              <a:gd name="csY63" fmla="*/ 1187720 h 1538630"/>
              <a:gd name="csX64" fmla="*/ 215256 w 1609516"/>
              <a:gd name="csY64" fmla="*/ 1191947 h 1538630"/>
              <a:gd name="csX65" fmla="*/ 222721 w 1609516"/>
              <a:gd name="csY65" fmla="*/ 1191947 h 1538630"/>
              <a:gd name="csX66" fmla="*/ 215687 w 1609516"/>
              <a:gd name="csY66" fmla="*/ 1191418 h 1538630"/>
              <a:gd name="csX67" fmla="*/ 215687 w 1609516"/>
              <a:gd name="csY67" fmla="*/ 1187190 h 1538630"/>
              <a:gd name="csX68" fmla="*/ 1279678 w 1609516"/>
              <a:gd name="csY68" fmla="*/ 1082356 h 1538630"/>
              <a:gd name="csX69" fmla="*/ 1271680 w 1609516"/>
              <a:gd name="csY69" fmla="*/ 1084589 h 1538630"/>
              <a:gd name="csX70" fmla="*/ 1282181 w 1609516"/>
              <a:gd name="csY70" fmla="*/ 1082544 h 1538630"/>
              <a:gd name="csX71" fmla="*/ 117703 w 1609516"/>
              <a:gd name="csY71" fmla="*/ 941507 h 1538630"/>
              <a:gd name="csX72" fmla="*/ 112587 w 1609516"/>
              <a:gd name="csY72" fmla="*/ 941985 h 1538630"/>
              <a:gd name="csX73" fmla="*/ 112565 w 1609516"/>
              <a:gd name="csY73" fmla="*/ 942333 h 1538630"/>
              <a:gd name="csX74" fmla="*/ 115665 w 1609516"/>
              <a:gd name="csY74" fmla="*/ 941837 h 1538630"/>
              <a:gd name="csX75" fmla="*/ 144268 w 1609516"/>
              <a:gd name="csY75" fmla="*/ 939395 h 1538630"/>
              <a:gd name="csX76" fmla="*/ 143354 w 1609516"/>
              <a:gd name="csY76" fmla="*/ 939580 h 1538630"/>
              <a:gd name="csX77" fmla="*/ 144077 w 1609516"/>
              <a:gd name="csY77" fmla="*/ 939739 h 1538630"/>
              <a:gd name="csX78" fmla="*/ 162575 w 1609516"/>
              <a:gd name="csY78" fmla="*/ 933530 h 1538630"/>
              <a:gd name="csX79" fmla="*/ 161704 w 1609516"/>
              <a:gd name="csY79" fmla="*/ 935101 h 1538630"/>
              <a:gd name="csX80" fmla="*/ 170045 w 1609516"/>
              <a:gd name="csY80" fmla="*/ 933585 h 1538630"/>
              <a:gd name="csX81" fmla="*/ 1321645 w 1609516"/>
              <a:gd name="csY81" fmla="*/ 918415 h 1538630"/>
              <a:gd name="csX82" fmla="*/ 1321534 w 1609516"/>
              <a:gd name="csY82" fmla="*/ 920177 h 1538630"/>
              <a:gd name="csX83" fmla="*/ 1321740 w 1609516"/>
              <a:gd name="csY83" fmla="*/ 918415 h 1538630"/>
              <a:gd name="csX84" fmla="*/ 1319333 w 1609516"/>
              <a:gd name="csY84" fmla="*/ 915183 h 1538630"/>
              <a:gd name="csX85" fmla="*/ 1318544 w 1609516"/>
              <a:gd name="csY85" fmla="*/ 918029 h 1538630"/>
              <a:gd name="csX86" fmla="*/ 1318702 w 1609516"/>
              <a:gd name="csY86" fmla="*/ 918029 h 1538630"/>
              <a:gd name="csX87" fmla="*/ 1326355 w 1609516"/>
              <a:gd name="csY87" fmla="*/ 907109 h 1538630"/>
              <a:gd name="csX88" fmla="*/ 1326355 w 1609516"/>
              <a:gd name="csY88" fmla="*/ 910983 h 1538630"/>
              <a:gd name="csX89" fmla="*/ 1325831 w 1609516"/>
              <a:gd name="csY89" fmla="*/ 911101 h 1538630"/>
              <a:gd name="csX90" fmla="*/ 1326426 w 1609516"/>
              <a:gd name="csY90" fmla="*/ 911369 h 1538630"/>
              <a:gd name="csX91" fmla="*/ 1326426 w 1609516"/>
              <a:gd name="csY91" fmla="*/ 907141 h 1538630"/>
              <a:gd name="csX92" fmla="*/ 1328144 w 1609516"/>
              <a:gd name="csY92" fmla="*/ 892192 h 1538630"/>
              <a:gd name="csX93" fmla="*/ 1327667 w 1609516"/>
              <a:gd name="csY93" fmla="*/ 893446 h 1538630"/>
              <a:gd name="csX94" fmla="*/ 1327989 w 1609516"/>
              <a:gd name="csY94" fmla="*/ 893049 h 1538630"/>
              <a:gd name="csX95" fmla="*/ 49605 w 1609516"/>
              <a:gd name="csY95" fmla="*/ 887420 h 1538630"/>
              <a:gd name="csX96" fmla="*/ 48549 w 1609516"/>
              <a:gd name="csY96" fmla="*/ 891229 h 1538630"/>
              <a:gd name="csX97" fmla="*/ 49956 w 1609516"/>
              <a:gd name="csY97" fmla="*/ 887420 h 1538630"/>
              <a:gd name="csX98" fmla="*/ 1332266 w 1609516"/>
              <a:gd name="csY98" fmla="*/ 883369 h 1538630"/>
              <a:gd name="csX99" fmla="*/ 1329479 w 1609516"/>
              <a:gd name="csY99" fmla="*/ 884207 h 1538630"/>
              <a:gd name="csX100" fmla="*/ 1329509 w 1609516"/>
              <a:gd name="csY100" fmla="*/ 884816 h 1538630"/>
              <a:gd name="csX101" fmla="*/ 1329551 w 1609516"/>
              <a:gd name="csY101" fmla="*/ 884594 h 1538630"/>
              <a:gd name="csX102" fmla="*/ 1555987 w 1609516"/>
              <a:gd name="csY102" fmla="*/ 821766 h 1538630"/>
              <a:gd name="csX103" fmla="*/ 1555987 w 1609516"/>
              <a:gd name="csY103" fmla="*/ 822201 h 1538630"/>
              <a:gd name="csX104" fmla="*/ 1556081 w 1609516"/>
              <a:gd name="csY104" fmla="*/ 822189 h 1538630"/>
              <a:gd name="csX105" fmla="*/ 1565360 w 1609516"/>
              <a:gd name="csY105" fmla="*/ 810928 h 1538630"/>
              <a:gd name="csX106" fmla="*/ 1564871 w 1609516"/>
              <a:gd name="csY106" fmla="*/ 811809 h 1538630"/>
              <a:gd name="csX107" fmla="*/ 1567314 w 1609516"/>
              <a:gd name="csY107" fmla="*/ 810928 h 1538630"/>
              <a:gd name="csX108" fmla="*/ 1563797 w 1609516"/>
              <a:gd name="csY108" fmla="*/ 810928 h 1538630"/>
              <a:gd name="csX109" fmla="*/ 1556762 w 1609516"/>
              <a:gd name="csY109" fmla="*/ 814736 h 1538630"/>
              <a:gd name="csX110" fmla="*/ 1563797 w 1609516"/>
              <a:gd name="csY110" fmla="*/ 812197 h 1538630"/>
              <a:gd name="csX111" fmla="*/ 265833 w 1609516"/>
              <a:gd name="csY111" fmla="*/ 806020 h 1538630"/>
              <a:gd name="csX112" fmla="*/ 263704 w 1609516"/>
              <a:gd name="csY112" fmla="*/ 809861 h 1538630"/>
              <a:gd name="csX113" fmla="*/ 263704 w 1609516"/>
              <a:gd name="csY113" fmla="*/ 816750 h 1538630"/>
              <a:gd name="csX114" fmla="*/ 264113 w 1609516"/>
              <a:gd name="csY114" fmla="*/ 816565 h 1538630"/>
              <a:gd name="csX115" fmla="*/ 263918 w 1609516"/>
              <a:gd name="csY115" fmla="*/ 812777 h 1538630"/>
              <a:gd name="csX116" fmla="*/ 263774 w 1609516"/>
              <a:gd name="csY116" fmla="*/ 779374 h 1538630"/>
              <a:gd name="csX117" fmla="*/ 263704 w 1609516"/>
              <a:gd name="csY117" fmla="*/ 783086 h 1538630"/>
              <a:gd name="csX118" fmla="*/ 264484 w 1609516"/>
              <a:gd name="csY118" fmla="*/ 785816 h 1538630"/>
              <a:gd name="csX119" fmla="*/ 265265 w 1609516"/>
              <a:gd name="csY119" fmla="*/ 794448 h 1538630"/>
              <a:gd name="csX120" fmla="*/ 265217 w 1609516"/>
              <a:gd name="csY120" fmla="*/ 799730 h 1538630"/>
              <a:gd name="csX121" fmla="*/ 266556 w 1609516"/>
              <a:gd name="csY121" fmla="*/ 803466 h 1538630"/>
              <a:gd name="csX122" fmla="*/ 267237 w 1609516"/>
              <a:gd name="csY122" fmla="*/ 801063 h 1538630"/>
              <a:gd name="csX123" fmla="*/ 265675 w 1609516"/>
              <a:gd name="csY123" fmla="*/ 799654 h 1538630"/>
              <a:gd name="csX124" fmla="*/ 265675 w 1609516"/>
              <a:gd name="csY124" fmla="*/ 793841 h 1538630"/>
              <a:gd name="csX125" fmla="*/ 260988 w 1609516"/>
              <a:gd name="csY125" fmla="*/ 770061 h 1538630"/>
              <a:gd name="csX126" fmla="*/ 260988 w 1609516"/>
              <a:gd name="csY126" fmla="*/ 771364 h 1538630"/>
              <a:gd name="csX127" fmla="*/ 263497 w 1609516"/>
              <a:gd name="csY127" fmla="*/ 777263 h 1538630"/>
              <a:gd name="csX128" fmla="*/ 262551 w 1609516"/>
              <a:gd name="csY128" fmla="*/ 770061 h 1538630"/>
              <a:gd name="csX129" fmla="*/ 260988 w 1609516"/>
              <a:gd name="csY129" fmla="*/ 770061 h 1538630"/>
              <a:gd name="csX130" fmla="*/ 157888 w 1609516"/>
              <a:gd name="csY130" fmla="*/ 651686 h 1538630"/>
              <a:gd name="csX131" fmla="*/ 157415 w 1609516"/>
              <a:gd name="csY131" fmla="*/ 651764 h 1538630"/>
              <a:gd name="csX132" fmla="*/ 160373 w 1609516"/>
              <a:gd name="csY132" fmla="*/ 652274 h 1538630"/>
              <a:gd name="csX133" fmla="*/ 267237 w 1609516"/>
              <a:gd name="csY133" fmla="*/ 426537 h 1538630"/>
              <a:gd name="csX134" fmla="*/ 267237 w 1609516"/>
              <a:gd name="csY134" fmla="*/ 427619 h 1538630"/>
              <a:gd name="csX135" fmla="*/ 270380 w 1609516"/>
              <a:gd name="csY135" fmla="*/ 428137 h 1538630"/>
              <a:gd name="csX136" fmla="*/ 273548 w 1609516"/>
              <a:gd name="csY136" fmla="*/ 428680 h 1538630"/>
              <a:gd name="csX137" fmla="*/ 37605 w 1609516"/>
              <a:gd name="csY137" fmla="*/ 359270 h 1538630"/>
              <a:gd name="csX138" fmla="*/ 37103 w 1609516"/>
              <a:gd name="csY138" fmla="*/ 361533 h 1538630"/>
              <a:gd name="csX139" fmla="*/ 37605 w 1609516"/>
              <a:gd name="csY139" fmla="*/ 361382 h 1538630"/>
              <a:gd name="csX140" fmla="*/ 52477 w 1609516"/>
              <a:gd name="csY140" fmla="*/ 337570 h 1538630"/>
              <a:gd name="csX141" fmla="*/ 47288 w 1609516"/>
              <a:gd name="csY141" fmla="*/ 342340 h 1538630"/>
              <a:gd name="csX142" fmla="*/ 45805 w 1609516"/>
              <a:gd name="csY142" fmla="*/ 345093 h 1538630"/>
              <a:gd name="csX143" fmla="*/ 104291 w 1609516"/>
              <a:gd name="csY143" fmla="*/ 336166 h 1538630"/>
              <a:gd name="csX144" fmla="*/ 103776 w 1609516"/>
              <a:gd name="csY144" fmla="*/ 337559 h 1538630"/>
              <a:gd name="csX145" fmla="*/ 108925 w 1609516"/>
              <a:gd name="csY145" fmla="*/ 336166 h 1538630"/>
              <a:gd name="csX146" fmla="*/ 1309237 w 1609516"/>
              <a:gd name="csY146" fmla="*/ 322954 h 1538630"/>
              <a:gd name="csX147" fmla="*/ 1309180 w 1609516"/>
              <a:gd name="csY147" fmla="*/ 330559 h 1538630"/>
              <a:gd name="csX148" fmla="*/ 1309237 w 1609516"/>
              <a:gd name="csY148" fmla="*/ 330520 h 1538630"/>
              <a:gd name="csX149" fmla="*/ 1308964 w 1609516"/>
              <a:gd name="csY149" fmla="*/ 317715 h 1538630"/>
              <a:gd name="csX150" fmla="*/ 1309237 w 1609516"/>
              <a:gd name="csY150" fmla="*/ 318569 h 1538630"/>
              <a:gd name="csX151" fmla="*/ 1309237 w 1609516"/>
              <a:gd name="csY151" fmla="*/ 317838 h 1538630"/>
              <a:gd name="csX152" fmla="*/ 1310087 w 1609516"/>
              <a:gd name="csY152" fmla="*/ 313153 h 1538630"/>
              <a:gd name="csX153" fmla="*/ 1307609 w 1609516"/>
              <a:gd name="csY153" fmla="*/ 313473 h 1538630"/>
              <a:gd name="csX154" fmla="*/ 1308045 w 1609516"/>
              <a:gd name="csY154" fmla="*/ 314836 h 1538630"/>
              <a:gd name="csX155" fmla="*/ 1318544 w 1609516"/>
              <a:gd name="csY155" fmla="*/ 312064 h 1538630"/>
              <a:gd name="csX156" fmla="*/ 1316298 w 1609516"/>
              <a:gd name="csY156" fmla="*/ 312353 h 1538630"/>
              <a:gd name="csX157" fmla="*/ 1318544 w 1609516"/>
              <a:gd name="csY157" fmla="*/ 312205 h 1538630"/>
              <a:gd name="csX158" fmla="*/ 1084622 w 1609516"/>
              <a:gd name="csY158" fmla="*/ 267674 h 1538630"/>
              <a:gd name="csX159" fmla="*/ 1084227 w 1609516"/>
              <a:gd name="csY159" fmla="*/ 268378 h 1538630"/>
              <a:gd name="csX160" fmla="*/ 1079540 w 1609516"/>
              <a:gd name="csY160" fmla="*/ 268378 h 1538630"/>
              <a:gd name="csX161" fmla="*/ 1079603 w 1609516"/>
              <a:gd name="csY161" fmla="*/ 268477 h 1538630"/>
              <a:gd name="csX162" fmla="*/ 1084192 w 1609516"/>
              <a:gd name="csY162" fmla="*/ 268477 h 1538630"/>
              <a:gd name="csX163" fmla="*/ 956410 w 1609516"/>
              <a:gd name="csY163" fmla="*/ 266968 h 1538630"/>
              <a:gd name="csX164" fmla="*/ 957576 w 1609516"/>
              <a:gd name="csY164" fmla="*/ 267083 h 1538630"/>
              <a:gd name="csX165" fmla="*/ 957576 w 1609516"/>
              <a:gd name="csY165" fmla="*/ 269776 h 1538630"/>
              <a:gd name="csX166" fmla="*/ 957694 w 1609516"/>
              <a:gd name="csY166" fmla="*/ 269787 h 1538630"/>
              <a:gd name="csX167" fmla="*/ 957694 w 1609516"/>
              <a:gd name="csY167" fmla="*/ 266968 h 1538630"/>
              <a:gd name="csX168" fmla="*/ 1089372 w 1609516"/>
              <a:gd name="csY168" fmla="*/ 259220 h 1538630"/>
              <a:gd name="csX169" fmla="*/ 1085856 w 1609516"/>
              <a:gd name="csY169" fmla="*/ 265479 h 1538630"/>
              <a:gd name="csX170" fmla="*/ 1088878 w 1609516"/>
              <a:gd name="csY170" fmla="*/ 261431 h 1538630"/>
              <a:gd name="csX171" fmla="*/ 1018517 w 1609516"/>
              <a:gd name="csY171" fmla="*/ 223356 h 1538630"/>
              <a:gd name="csX172" fmla="*/ 1013866 w 1609516"/>
              <a:gd name="csY172" fmla="*/ 226190 h 1538630"/>
              <a:gd name="csX173" fmla="*/ 1013024 w 1609516"/>
              <a:gd name="csY173" fmla="*/ 227709 h 1538630"/>
              <a:gd name="csX174" fmla="*/ 1017055 w 1609516"/>
              <a:gd name="csY174" fmla="*/ 224692 h 1538630"/>
              <a:gd name="csX175" fmla="*/ 850645 w 1609516"/>
              <a:gd name="csY175" fmla="*/ 220099 h 1538630"/>
              <a:gd name="csX176" fmla="*/ 850897 w 1609516"/>
              <a:gd name="csY176" fmla="*/ 221488 h 1538630"/>
              <a:gd name="csX177" fmla="*/ 851470 w 1609516"/>
              <a:gd name="csY177" fmla="*/ 224692 h 1538630"/>
              <a:gd name="csX178" fmla="*/ 852860 w 1609516"/>
              <a:gd name="csY178" fmla="*/ 224692 h 1538630"/>
              <a:gd name="csX179" fmla="*/ 1155019 w 1609516"/>
              <a:gd name="csY179" fmla="*/ 35 h 1538630"/>
              <a:gd name="csX180" fmla="*/ 1174829 w 1609516"/>
              <a:gd name="csY180" fmla="*/ 4853 h 1538630"/>
              <a:gd name="csX181" fmla="*/ 1179418 w 1609516"/>
              <a:gd name="csY181" fmla="*/ 5998 h 1538630"/>
              <a:gd name="csX182" fmla="*/ 1201385 w 1609516"/>
              <a:gd name="csY182" fmla="*/ 22997 h 1538630"/>
              <a:gd name="csX183" fmla="*/ 1201678 w 1609516"/>
              <a:gd name="csY183" fmla="*/ 62191 h 1538630"/>
              <a:gd name="csX184" fmla="*/ 1198261 w 1609516"/>
              <a:gd name="csY184" fmla="*/ 68268 h 1538630"/>
              <a:gd name="csX185" fmla="*/ 1195723 w 1609516"/>
              <a:gd name="csY185" fmla="*/ 72672 h 1538630"/>
              <a:gd name="csX186" fmla="*/ 1193575 w 1609516"/>
              <a:gd name="csY186" fmla="*/ 75314 h 1538630"/>
              <a:gd name="csX187" fmla="*/ 1190450 w 1609516"/>
              <a:gd name="csY187" fmla="*/ 75314 h 1538630"/>
              <a:gd name="csX188" fmla="*/ 1189474 w 1609516"/>
              <a:gd name="csY188" fmla="*/ 79366 h 1538630"/>
              <a:gd name="csX189" fmla="*/ 1182445 w 1609516"/>
              <a:gd name="csY189" fmla="*/ 85707 h 1538630"/>
              <a:gd name="csX190" fmla="*/ 1177953 w 1609516"/>
              <a:gd name="csY190" fmla="*/ 86588 h 1538630"/>
              <a:gd name="csX191" fmla="*/ 1177953 w 1609516"/>
              <a:gd name="csY191" fmla="*/ 89406 h 1538630"/>
              <a:gd name="csX192" fmla="*/ 1170045 w 1609516"/>
              <a:gd name="csY192" fmla="*/ 94251 h 1538630"/>
              <a:gd name="csX193" fmla="*/ 1143806 w 1609516"/>
              <a:gd name="csY193" fmla="*/ 132828 h 1538630"/>
              <a:gd name="csX194" fmla="*/ 1137338 w 1609516"/>
              <a:gd name="csY194" fmla="*/ 141548 h 1538630"/>
              <a:gd name="csX195" fmla="*/ 1133970 w 1609516"/>
              <a:gd name="csY195" fmla="*/ 149403 h 1538630"/>
              <a:gd name="csX196" fmla="*/ 1127965 w 1609516"/>
              <a:gd name="csY196" fmla="*/ 164095 h 1538630"/>
              <a:gd name="csX197" fmla="*/ 1124762 w 1609516"/>
              <a:gd name="csY197" fmla="*/ 171802 h 1538630"/>
              <a:gd name="csX198" fmla="*/ 1119359 w 1609516"/>
              <a:gd name="csY198" fmla="*/ 184798 h 1538630"/>
              <a:gd name="csX199" fmla="*/ 1111014 w 1609516"/>
              <a:gd name="csY199" fmla="*/ 204941 h 1538630"/>
              <a:gd name="csX200" fmla="*/ 1109729 w 1609516"/>
              <a:gd name="csY200" fmla="*/ 208059 h 1538630"/>
              <a:gd name="csX201" fmla="*/ 1106395 w 1609516"/>
              <a:gd name="csY201" fmla="*/ 216170 h 1538630"/>
              <a:gd name="csX202" fmla="*/ 1102147 w 1609516"/>
              <a:gd name="csY202" fmla="*/ 224810 h 1538630"/>
              <a:gd name="csX203" fmla="*/ 1098261 w 1609516"/>
              <a:gd name="csY203" fmla="*/ 227262 h 1538630"/>
              <a:gd name="csX204" fmla="*/ 1098367 w 1609516"/>
              <a:gd name="csY204" fmla="*/ 238475 h 1538630"/>
              <a:gd name="csX205" fmla="*/ 1097331 w 1609516"/>
              <a:gd name="csY205" fmla="*/ 242358 h 1538630"/>
              <a:gd name="csX206" fmla="*/ 1096201 w 1609516"/>
              <a:gd name="csY206" fmla="*/ 246458 h 1538630"/>
              <a:gd name="csX207" fmla="*/ 1089440 w 1609516"/>
              <a:gd name="csY207" fmla="*/ 279206 h 1538630"/>
              <a:gd name="csX208" fmla="*/ 1087316 w 1609516"/>
              <a:gd name="csY208" fmla="*/ 283978 h 1538630"/>
              <a:gd name="csX209" fmla="*/ 1086822 w 1609516"/>
              <a:gd name="csY209" fmla="*/ 291822 h 1538630"/>
              <a:gd name="csX210" fmla="*/ 1086623 w 1609516"/>
              <a:gd name="csY210" fmla="*/ 296625 h 1538630"/>
              <a:gd name="csX211" fmla="*/ 1086437 w 1609516"/>
              <a:gd name="csY211" fmla="*/ 301681 h 1538630"/>
              <a:gd name="csX212" fmla="*/ 1086233 w 1609516"/>
              <a:gd name="csY212" fmla="*/ 306754 h 1538630"/>
              <a:gd name="csX213" fmla="*/ 1086007 w 1609516"/>
              <a:gd name="csY213" fmla="*/ 312619 h 1538630"/>
              <a:gd name="csX214" fmla="*/ 1087470 w 1609516"/>
              <a:gd name="csY214" fmla="*/ 320554 h 1538630"/>
              <a:gd name="csX215" fmla="*/ 1098285 w 1609516"/>
              <a:gd name="csY215" fmla="*/ 334611 h 1538630"/>
              <a:gd name="csX216" fmla="*/ 1102607 w 1609516"/>
              <a:gd name="csY216" fmla="*/ 337679 h 1538630"/>
              <a:gd name="csX217" fmla="*/ 1106095 w 1609516"/>
              <a:gd name="csY217" fmla="*/ 340248 h 1538630"/>
              <a:gd name="csX218" fmla="*/ 1106095 w 1609516"/>
              <a:gd name="csY218" fmla="*/ 343066 h 1538630"/>
              <a:gd name="csX219" fmla="*/ 1109220 w 1609516"/>
              <a:gd name="csY219" fmla="*/ 343419 h 1538630"/>
              <a:gd name="csX220" fmla="*/ 1126403 w 1609516"/>
              <a:gd name="csY220" fmla="*/ 350112 h 1538630"/>
              <a:gd name="csX221" fmla="*/ 1131871 w 1609516"/>
              <a:gd name="csY221" fmla="*/ 352579 h 1538630"/>
              <a:gd name="csX222" fmla="*/ 1135776 w 1609516"/>
              <a:gd name="csY222" fmla="*/ 354340 h 1538630"/>
              <a:gd name="csX223" fmla="*/ 1135776 w 1609516"/>
              <a:gd name="csY223" fmla="*/ 357158 h 1538630"/>
              <a:gd name="csX224" fmla="*/ 1170143 w 1609516"/>
              <a:gd name="csY224" fmla="*/ 354340 h 1538630"/>
              <a:gd name="csX225" fmla="*/ 1174634 w 1609516"/>
              <a:gd name="csY225" fmla="*/ 352579 h 1538630"/>
              <a:gd name="csX226" fmla="*/ 1190890 w 1609516"/>
              <a:gd name="csY226" fmla="*/ 342907 h 1538630"/>
              <a:gd name="csX227" fmla="*/ 1204021 w 1609516"/>
              <a:gd name="csY227" fmla="*/ 335404 h 1538630"/>
              <a:gd name="csX228" fmla="*/ 1223255 w 1609516"/>
              <a:gd name="csY228" fmla="*/ 319110 h 1538630"/>
              <a:gd name="csX229" fmla="*/ 1226868 w 1609516"/>
              <a:gd name="csY229" fmla="*/ 315587 h 1538630"/>
              <a:gd name="csX230" fmla="*/ 1231859 w 1609516"/>
              <a:gd name="csY230" fmla="*/ 303559 h 1538630"/>
              <a:gd name="csX231" fmla="*/ 1234178 w 1609516"/>
              <a:gd name="csY231" fmla="*/ 298059 h 1538630"/>
              <a:gd name="csX232" fmla="*/ 1237314 w 1609516"/>
              <a:gd name="csY232" fmla="*/ 288195 h 1538630"/>
              <a:gd name="csX233" fmla="*/ 1249811 w 1609516"/>
              <a:gd name="csY233" fmla="*/ 265559 h 1538630"/>
              <a:gd name="csX234" fmla="*/ 1252935 w 1609516"/>
              <a:gd name="csY234" fmla="*/ 265559 h 1538630"/>
              <a:gd name="csX235" fmla="*/ 1252935 w 1609516"/>
              <a:gd name="csY235" fmla="*/ 262741 h 1538630"/>
              <a:gd name="csX236" fmla="*/ 1296675 w 1609516"/>
              <a:gd name="csY236" fmla="*/ 252876 h 1538630"/>
              <a:gd name="csX237" fmla="*/ 1307609 w 1609516"/>
              <a:gd name="csY237" fmla="*/ 255695 h 1538630"/>
              <a:gd name="csX238" fmla="*/ 1307609 w 1609516"/>
              <a:gd name="csY238" fmla="*/ 258513 h 1538630"/>
              <a:gd name="csX239" fmla="*/ 1311887 w 1609516"/>
              <a:gd name="csY239" fmla="*/ 258832 h 1538630"/>
              <a:gd name="csX240" fmla="*/ 1326715 w 1609516"/>
              <a:gd name="csY240" fmla="*/ 269969 h 1538630"/>
              <a:gd name="csX241" fmla="*/ 1334165 w 1609516"/>
              <a:gd name="csY241" fmla="*/ 307836 h 1538630"/>
              <a:gd name="csX242" fmla="*/ 1329479 w 1609516"/>
              <a:gd name="csY242" fmla="*/ 314882 h 1538630"/>
              <a:gd name="csX243" fmla="*/ 1323231 w 1609516"/>
              <a:gd name="csY243" fmla="*/ 314882 h 1538630"/>
              <a:gd name="csX244" fmla="*/ 1323231 w 1609516"/>
              <a:gd name="csY244" fmla="*/ 317700 h 1538630"/>
              <a:gd name="csX245" fmla="*/ 1322774 w 1609516"/>
              <a:gd name="csY245" fmla="*/ 317838 h 1538630"/>
              <a:gd name="csX246" fmla="*/ 1323295 w 1609516"/>
              <a:gd name="csY246" fmla="*/ 317838 h 1538630"/>
              <a:gd name="csX247" fmla="*/ 1323295 w 1609516"/>
              <a:gd name="csY247" fmla="*/ 315019 h 1538630"/>
              <a:gd name="csX248" fmla="*/ 1327982 w 1609516"/>
              <a:gd name="csY248" fmla="*/ 315019 h 1538630"/>
              <a:gd name="csX249" fmla="*/ 1317047 w 1609516"/>
              <a:gd name="csY249" fmla="*/ 327702 h 1538630"/>
              <a:gd name="csX250" fmla="*/ 1315484 w 1609516"/>
              <a:gd name="csY250" fmla="*/ 331930 h 1538630"/>
              <a:gd name="csX251" fmla="*/ 1309139 w 1609516"/>
              <a:gd name="csY251" fmla="*/ 333603 h 1538630"/>
              <a:gd name="csX252" fmla="*/ 1305666 w 1609516"/>
              <a:gd name="csY252" fmla="*/ 334280 h 1538630"/>
              <a:gd name="csX253" fmla="*/ 1302988 w 1609516"/>
              <a:gd name="csY253" fmla="*/ 334748 h 1538630"/>
              <a:gd name="csX254" fmla="*/ 1305905 w 1609516"/>
              <a:gd name="csY254" fmla="*/ 332775 h 1538630"/>
              <a:gd name="csX255" fmla="*/ 1304485 w 1609516"/>
              <a:gd name="csY255" fmla="*/ 333202 h 1538630"/>
              <a:gd name="csX256" fmla="*/ 1301459 w 1609516"/>
              <a:gd name="csY256" fmla="*/ 336108 h 1538630"/>
              <a:gd name="csX257" fmla="*/ 1291989 w 1609516"/>
              <a:gd name="csY257" fmla="*/ 338839 h 1538630"/>
              <a:gd name="csX258" fmla="*/ 1290426 w 1609516"/>
              <a:gd name="csY258" fmla="*/ 343066 h 1538630"/>
              <a:gd name="csX259" fmla="*/ 1285740 w 1609516"/>
              <a:gd name="csY259" fmla="*/ 344123 h 1538630"/>
              <a:gd name="csX260" fmla="*/ 1237314 w 1609516"/>
              <a:gd name="csY260" fmla="*/ 382525 h 1538630"/>
              <a:gd name="csX261" fmla="*/ 1232628 w 1609516"/>
              <a:gd name="csY261" fmla="*/ 392389 h 1538630"/>
              <a:gd name="csX262" fmla="*/ 1228625 w 1609516"/>
              <a:gd name="csY262" fmla="*/ 398731 h 1538630"/>
              <a:gd name="csX263" fmla="*/ 1222822 w 1609516"/>
              <a:gd name="csY263" fmla="*/ 434798 h 1538630"/>
              <a:gd name="csX264" fmla="*/ 1260746 w 1609516"/>
              <a:gd name="csY264" fmla="*/ 485398 h 1538630"/>
              <a:gd name="csX265" fmla="*/ 1268556 w 1609516"/>
              <a:gd name="csY265" fmla="*/ 488216 h 1538630"/>
              <a:gd name="csX266" fmla="*/ 1268556 w 1609516"/>
              <a:gd name="csY266" fmla="*/ 491034 h 1538630"/>
              <a:gd name="csX267" fmla="*/ 1338852 w 1609516"/>
              <a:gd name="csY267" fmla="*/ 489625 h 1538630"/>
              <a:gd name="csX268" fmla="*/ 1347444 w 1609516"/>
              <a:gd name="csY268" fmla="*/ 488480 h 1538630"/>
              <a:gd name="csX269" fmla="*/ 1369362 w 1609516"/>
              <a:gd name="csY269" fmla="*/ 482513 h 1538630"/>
              <a:gd name="csX270" fmla="*/ 1388840 w 1609516"/>
              <a:gd name="csY270" fmla="*/ 478351 h 1538630"/>
              <a:gd name="csX271" fmla="*/ 1388840 w 1609516"/>
              <a:gd name="csY271" fmla="*/ 475533 h 1538630"/>
              <a:gd name="csX272" fmla="*/ 1395576 w 1609516"/>
              <a:gd name="csY272" fmla="*/ 473419 h 1538630"/>
              <a:gd name="csX273" fmla="*/ 1399365 w 1609516"/>
              <a:gd name="csY273" fmla="*/ 472230 h 1538630"/>
              <a:gd name="csX274" fmla="*/ 1407585 w 1609516"/>
              <a:gd name="csY274" fmla="*/ 471305 h 1538630"/>
              <a:gd name="csX275" fmla="*/ 1409147 w 1609516"/>
              <a:gd name="csY275" fmla="*/ 467078 h 1538630"/>
              <a:gd name="csX276" fmla="*/ 1416470 w 1609516"/>
              <a:gd name="csY276" fmla="*/ 464259 h 1538630"/>
              <a:gd name="csX277" fmla="*/ 1437949 w 1609516"/>
              <a:gd name="csY277" fmla="*/ 455011 h 1538630"/>
              <a:gd name="csX278" fmla="*/ 1452887 w 1609516"/>
              <a:gd name="csY278" fmla="*/ 450167 h 1538630"/>
              <a:gd name="csX279" fmla="*/ 1452887 w 1609516"/>
              <a:gd name="csY279" fmla="*/ 447349 h 1538630"/>
              <a:gd name="csX280" fmla="*/ 1455394 w 1609516"/>
              <a:gd name="csY280" fmla="*/ 446122 h 1538630"/>
              <a:gd name="csX281" fmla="*/ 1466653 w 1609516"/>
              <a:gd name="csY281" fmla="*/ 440567 h 1538630"/>
              <a:gd name="csX282" fmla="*/ 1470598 w 1609516"/>
              <a:gd name="csY282" fmla="*/ 438637 h 1538630"/>
              <a:gd name="csX283" fmla="*/ 1474397 w 1609516"/>
              <a:gd name="csY283" fmla="*/ 436752 h 1538630"/>
              <a:gd name="csX284" fmla="*/ 1477892 w 1609516"/>
              <a:gd name="csY284" fmla="*/ 435030 h 1538630"/>
              <a:gd name="csX285" fmla="*/ 1485691 w 1609516"/>
              <a:gd name="csY285" fmla="*/ 429029 h 1538630"/>
              <a:gd name="csX286" fmla="*/ 1488858 w 1609516"/>
              <a:gd name="csY286" fmla="*/ 427653 h 1538630"/>
              <a:gd name="csX287" fmla="*/ 1495943 w 1609516"/>
              <a:gd name="csY287" fmla="*/ 421454 h 1538630"/>
              <a:gd name="csX288" fmla="*/ 1538608 w 1609516"/>
              <a:gd name="csY288" fmla="*/ 388338 h 1538630"/>
              <a:gd name="csX289" fmla="*/ 1543490 w 1609516"/>
              <a:gd name="csY289" fmla="*/ 388161 h 1538630"/>
              <a:gd name="csX290" fmla="*/ 1547621 w 1609516"/>
              <a:gd name="csY290" fmla="*/ 387804 h 1538630"/>
              <a:gd name="csX291" fmla="*/ 1579418 w 1609516"/>
              <a:gd name="csY291" fmla="*/ 396617 h 1538630"/>
              <a:gd name="csX292" fmla="*/ 1583342 w 1609516"/>
              <a:gd name="csY292" fmla="*/ 398780 h 1538630"/>
              <a:gd name="csX293" fmla="*/ 1601288 w 1609516"/>
              <a:gd name="csY293" fmla="*/ 423392 h 1538630"/>
              <a:gd name="csX294" fmla="*/ 1594484 w 1609516"/>
              <a:gd name="csY294" fmla="*/ 460159 h 1538630"/>
              <a:gd name="csX295" fmla="*/ 1574732 w 1609516"/>
              <a:gd name="csY295" fmla="*/ 475533 h 1538630"/>
              <a:gd name="csX296" fmla="*/ 1572097 w 1609516"/>
              <a:gd name="csY296" fmla="*/ 477078 h 1538630"/>
              <a:gd name="csX297" fmla="*/ 1556066 w 1609516"/>
              <a:gd name="csY297" fmla="*/ 478737 h 1538630"/>
              <a:gd name="csX298" fmla="*/ 1548631 w 1609516"/>
              <a:gd name="csY298" fmla="*/ 478825 h 1538630"/>
              <a:gd name="csX299" fmla="*/ 1536991 w 1609516"/>
              <a:gd name="csY299" fmla="*/ 478889 h 1538630"/>
              <a:gd name="csX300" fmla="*/ 1498188 w 1609516"/>
              <a:gd name="csY300" fmla="*/ 485398 h 1538630"/>
              <a:gd name="csX301" fmla="*/ 1493892 w 1609516"/>
              <a:gd name="csY301" fmla="*/ 487600 h 1538630"/>
              <a:gd name="csX302" fmla="*/ 1490377 w 1609516"/>
              <a:gd name="csY302" fmla="*/ 489625 h 1538630"/>
              <a:gd name="csX303" fmla="*/ 1471650 w 1609516"/>
              <a:gd name="csY303" fmla="*/ 498185 h 1538630"/>
              <a:gd name="csX304" fmla="*/ 1459135 w 1609516"/>
              <a:gd name="csY304" fmla="*/ 505127 h 1538630"/>
              <a:gd name="csX305" fmla="*/ 1452594 w 1609516"/>
              <a:gd name="csY305" fmla="*/ 508033 h 1538630"/>
              <a:gd name="csX306" fmla="*/ 1427795 w 1609516"/>
              <a:gd name="csY306" fmla="*/ 520100 h 1538630"/>
              <a:gd name="csX307" fmla="*/ 1423733 w 1609516"/>
              <a:gd name="csY307" fmla="*/ 522148 h 1538630"/>
              <a:gd name="csX308" fmla="*/ 1419929 w 1609516"/>
              <a:gd name="csY308" fmla="*/ 524118 h 1538630"/>
              <a:gd name="csX309" fmla="*/ 1416487 w 1609516"/>
              <a:gd name="csY309" fmla="*/ 525883 h 1538630"/>
              <a:gd name="csX310" fmla="*/ 1412271 w 1609516"/>
              <a:gd name="csY310" fmla="*/ 531902 h 1538630"/>
              <a:gd name="csX311" fmla="*/ 1396650 w 1609516"/>
              <a:gd name="csY311" fmla="*/ 537539 h 1538630"/>
              <a:gd name="csX312" fmla="*/ 1396650 w 1609516"/>
              <a:gd name="csY312" fmla="*/ 540357 h 1538630"/>
              <a:gd name="csX313" fmla="*/ 1393495 w 1609516"/>
              <a:gd name="csY313" fmla="*/ 541502 h 1538630"/>
              <a:gd name="csX314" fmla="*/ 1362284 w 1609516"/>
              <a:gd name="csY314" fmla="*/ 558678 h 1538630"/>
              <a:gd name="csX315" fmla="*/ 1355937 w 1609516"/>
              <a:gd name="csY315" fmla="*/ 562905 h 1538630"/>
              <a:gd name="csX316" fmla="*/ 1334165 w 1609516"/>
              <a:gd name="csY316" fmla="*/ 578406 h 1538630"/>
              <a:gd name="csX317" fmla="*/ 1331200 w 1609516"/>
              <a:gd name="csY317" fmla="*/ 580559 h 1538630"/>
              <a:gd name="csX318" fmla="*/ 1322175 w 1609516"/>
              <a:gd name="csY318" fmla="*/ 596793 h 1538630"/>
              <a:gd name="csX319" fmla="*/ 1320106 w 1609516"/>
              <a:gd name="csY319" fmla="*/ 602363 h 1538630"/>
              <a:gd name="csX320" fmla="*/ 1328015 w 1609516"/>
              <a:gd name="csY320" fmla="*/ 647640 h 1538630"/>
              <a:gd name="csX321" fmla="*/ 1332604 w 1609516"/>
              <a:gd name="csY321" fmla="*/ 675643 h 1538630"/>
              <a:gd name="csX322" fmla="*/ 1335727 w 1609516"/>
              <a:gd name="csY322" fmla="*/ 675643 h 1538630"/>
              <a:gd name="csX323" fmla="*/ 1337741 w 1609516"/>
              <a:gd name="csY323" fmla="*/ 690059 h 1538630"/>
              <a:gd name="csX324" fmla="*/ 1338003 w 1609516"/>
              <a:gd name="csY324" fmla="*/ 696222 h 1538630"/>
              <a:gd name="csX325" fmla="*/ 1338340 w 1609516"/>
              <a:gd name="csY325" fmla="*/ 705887 h 1538630"/>
              <a:gd name="csX326" fmla="*/ 1345277 w 1609516"/>
              <a:gd name="csY326" fmla="*/ 733245 h 1538630"/>
              <a:gd name="csX327" fmla="*/ 1363162 w 1609516"/>
              <a:gd name="csY327" fmla="*/ 741612 h 1538630"/>
              <a:gd name="csX328" fmla="*/ 1384154 w 1609516"/>
              <a:gd name="csY328" fmla="*/ 748922 h 1538630"/>
              <a:gd name="csX329" fmla="*/ 1391476 w 1609516"/>
              <a:gd name="csY329" fmla="*/ 750419 h 1538630"/>
              <a:gd name="csX330" fmla="*/ 1395564 w 1609516"/>
              <a:gd name="csY330" fmla="*/ 751080 h 1538630"/>
              <a:gd name="csX331" fmla="*/ 1399775 w 1609516"/>
              <a:gd name="csY331" fmla="*/ 751740 h 1538630"/>
              <a:gd name="csX332" fmla="*/ 1403887 w 1609516"/>
              <a:gd name="csY332" fmla="*/ 752489 h 1538630"/>
              <a:gd name="csX333" fmla="*/ 1465383 w 1609516"/>
              <a:gd name="csY333" fmla="*/ 755969 h 1538630"/>
              <a:gd name="csX334" fmla="*/ 1470339 w 1609516"/>
              <a:gd name="csY334" fmla="*/ 755897 h 1538630"/>
              <a:gd name="csX335" fmla="*/ 1496809 w 1609516"/>
              <a:gd name="csY335" fmla="*/ 749313 h 1538630"/>
              <a:gd name="csX336" fmla="*/ 1515371 w 1609516"/>
              <a:gd name="csY336" fmla="*/ 743285 h 1538630"/>
              <a:gd name="csX337" fmla="*/ 1515371 w 1609516"/>
              <a:gd name="csY337" fmla="*/ 740467 h 1538630"/>
              <a:gd name="csX338" fmla="*/ 1537632 w 1609516"/>
              <a:gd name="csY338" fmla="*/ 737120 h 1538630"/>
              <a:gd name="csX339" fmla="*/ 1541657 w 1609516"/>
              <a:gd name="csY339" fmla="*/ 737127 h 1538630"/>
              <a:gd name="csX340" fmla="*/ 1574732 w 1609516"/>
              <a:gd name="csY340" fmla="*/ 748922 h 1538630"/>
              <a:gd name="csX341" fmla="*/ 1588791 w 1609516"/>
              <a:gd name="csY341" fmla="*/ 792608 h 1538630"/>
              <a:gd name="csX342" fmla="*/ 1584105 w 1609516"/>
              <a:gd name="csY342" fmla="*/ 805291 h 1538630"/>
              <a:gd name="csX343" fmla="*/ 1580981 w 1609516"/>
              <a:gd name="csY343" fmla="*/ 806700 h 1538630"/>
              <a:gd name="csX344" fmla="*/ 1578735 w 1609516"/>
              <a:gd name="csY344" fmla="*/ 810311 h 1538630"/>
              <a:gd name="csX345" fmla="*/ 1576295 w 1609516"/>
              <a:gd name="csY345" fmla="*/ 813746 h 1538630"/>
              <a:gd name="csX346" fmla="*/ 1571652 w 1609516"/>
              <a:gd name="csY346" fmla="*/ 813746 h 1538630"/>
              <a:gd name="csX347" fmla="*/ 1571785 w 1609516"/>
              <a:gd name="csY347" fmla="*/ 814106 h 1538630"/>
              <a:gd name="csX348" fmla="*/ 1574909 w 1609516"/>
              <a:gd name="csY348" fmla="*/ 815515 h 1538630"/>
              <a:gd name="csX349" fmla="*/ 1565463 w 1609516"/>
              <a:gd name="csY349" fmla="*/ 821839 h 1538630"/>
              <a:gd name="csX350" fmla="*/ 1562085 w 1609516"/>
              <a:gd name="csY350" fmla="*/ 822101 h 1538630"/>
              <a:gd name="csX351" fmla="*/ 1551301 w 1609516"/>
              <a:gd name="csY351" fmla="*/ 825020 h 1538630"/>
              <a:gd name="csX352" fmla="*/ 1551301 w 1609516"/>
              <a:gd name="csY352" fmla="*/ 827838 h 1538630"/>
              <a:gd name="csX353" fmla="*/ 1485380 w 1609516"/>
              <a:gd name="csY353" fmla="*/ 815007 h 1538630"/>
              <a:gd name="csX354" fmla="*/ 1431603 w 1609516"/>
              <a:gd name="csY354" fmla="*/ 808726 h 1538630"/>
              <a:gd name="csX355" fmla="*/ 1424140 w 1609516"/>
              <a:gd name="csY355" fmla="*/ 808542 h 1538630"/>
              <a:gd name="csX356" fmla="*/ 1406023 w 1609516"/>
              <a:gd name="csY356" fmla="*/ 808109 h 1538630"/>
              <a:gd name="csX357" fmla="*/ 1406023 w 1609516"/>
              <a:gd name="csY357" fmla="*/ 810928 h 1538630"/>
              <a:gd name="csX358" fmla="*/ 1403383 w 1609516"/>
              <a:gd name="csY358" fmla="*/ 811311 h 1538630"/>
              <a:gd name="csX359" fmla="*/ 1345442 w 1609516"/>
              <a:gd name="csY359" fmla="*/ 828907 h 1538630"/>
              <a:gd name="csX360" fmla="*/ 1337875 w 1609516"/>
              <a:gd name="csY360" fmla="*/ 856639 h 1538630"/>
              <a:gd name="csX361" fmla="*/ 1337692 w 1609516"/>
              <a:gd name="csY361" fmla="*/ 860171 h 1538630"/>
              <a:gd name="csX362" fmla="*/ 1337290 w 1609516"/>
              <a:gd name="csY362" fmla="*/ 868706 h 1538630"/>
              <a:gd name="csX363" fmla="*/ 1334165 w 1609516"/>
              <a:gd name="csY363" fmla="*/ 868706 h 1538630"/>
              <a:gd name="csX364" fmla="*/ 1334165 w 1609516"/>
              <a:gd name="csY364" fmla="*/ 870034 h 1538630"/>
              <a:gd name="csX365" fmla="*/ 1334237 w 1609516"/>
              <a:gd name="csY365" fmla="*/ 869093 h 1538630"/>
              <a:gd name="csX366" fmla="*/ 1335800 w 1609516"/>
              <a:gd name="csY366" fmla="*/ 869093 h 1538630"/>
              <a:gd name="csX367" fmla="*/ 1335995 w 1609516"/>
              <a:gd name="csY367" fmla="*/ 876491 h 1538630"/>
              <a:gd name="csX368" fmla="*/ 1336105 w 1609516"/>
              <a:gd name="csY368" fmla="*/ 880653 h 1538630"/>
              <a:gd name="csX369" fmla="*/ 1334294 w 1609516"/>
              <a:gd name="csY369" fmla="*/ 887271 h 1538630"/>
              <a:gd name="csX370" fmla="*/ 1331455 w 1609516"/>
              <a:gd name="csY370" fmla="*/ 896440 h 1538630"/>
              <a:gd name="csX371" fmla="*/ 1330887 w 1609516"/>
              <a:gd name="csY371" fmla="*/ 899969 h 1538630"/>
              <a:gd name="csX372" fmla="*/ 1330332 w 1609516"/>
              <a:gd name="csY372" fmla="*/ 903618 h 1538630"/>
              <a:gd name="csX373" fmla="*/ 1329209 w 1609516"/>
              <a:gd name="csY373" fmla="*/ 910797 h 1538630"/>
              <a:gd name="csX374" fmla="*/ 1328724 w 1609516"/>
              <a:gd name="csY374" fmla="*/ 913998 h 1538630"/>
              <a:gd name="csX375" fmla="*/ 1324865 w 1609516"/>
              <a:gd name="csY375" fmla="*/ 922643 h 1538630"/>
              <a:gd name="csX376" fmla="*/ 1322619 w 1609516"/>
              <a:gd name="csY376" fmla="*/ 937979 h 1538630"/>
              <a:gd name="csX377" fmla="*/ 1318744 w 1609516"/>
              <a:gd name="csY377" fmla="*/ 944961 h 1538630"/>
              <a:gd name="csX378" fmla="*/ 1318544 w 1609516"/>
              <a:gd name="csY378" fmla="*/ 946213 h 1538630"/>
              <a:gd name="csX379" fmla="*/ 1318251 w 1609516"/>
              <a:gd name="csY379" fmla="*/ 955285 h 1538630"/>
              <a:gd name="csX380" fmla="*/ 1318184 w 1609516"/>
              <a:gd name="csY380" fmla="*/ 960036 h 1538630"/>
              <a:gd name="csX381" fmla="*/ 1324024 w 1609516"/>
              <a:gd name="csY381" fmla="*/ 973660 h 1538630"/>
              <a:gd name="csX382" fmla="*/ 1329284 w 1609516"/>
              <a:gd name="csY382" fmla="*/ 983382 h 1538630"/>
              <a:gd name="csX383" fmla="*/ 1340414 w 1609516"/>
              <a:gd name="csY383" fmla="*/ 998354 h 1538630"/>
              <a:gd name="csX384" fmla="*/ 1346272 w 1609516"/>
              <a:gd name="csY384" fmla="*/ 1005048 h 1538630"/>
              <a:gd name="csX385" fmla="*/ 1394716 w 1609516"/>
              <a:gd name="csY385" fmla="*/ 1042740 h 1538630"/>
              <a:gd name="csX386" fmla="*/ 1401953 w 1609516"/>
              <a:gd name="csY386" fmla="*/ 1047374 h 1538630"/>
              <a:gd name="csX387" fmla="*/ 1427197 w 1609516"/>
              <a:gd name="csY387" fmla="*/ 1059061 h 1538630"/>
              <a:gd name="csX388" fmla="*/ 1437265 w 1609516"/>
              <a:gd name="csY388" fmla="*/ 1064588 h 1538630"/>
              <a:gd name="csX389" fmla="*/ 1437265 w 1609516"/>
              <a:gd name="csY389" fmla="*/ 1067406 h 1538630"/>
              <a:gd name="csX390" fmla="*/ 1440878 w 1609516"/>
              <a:gd name="csY390" fmla="*/ 1067847 h 1538630"/>
              <a:gd name="csX391" fmla="*/ 1447175 w 1609516"/>
              <a:gd name="csY391" fmla="*/ 1070753 h 1538630"/>
              <a:gd name="csX392" fmla="*/ 1457866 w 1609516"/>
              <a:gd name="csY392" fmla="*/ 1076830 h 1538630"/>
              <a:gd name="csX393" fmla="*/ 1462132 w 1609516"/>
              <a:gd name="csY393" fmla="*/ 1078696 h 1538630"/>
              <a:gd name="csX394" fmla="*/ 1465383 w 1609516"/>
              <a:gd name="csY394" fmla="*/ 1080089 h 1538630"/>
              <a:gd name="csX395" fmla="*/ 1465383 w 1609516"/>
              <a:gd name="csY395" fmla="*/ 1082908 h 1538630"/>
              <a:gd name="csX396" fmla="*/ 1468758 w 1609516"/>
              <a:gd name="csY396" fmla="*/ 1083975 h 1538630"/>
              <a:gd name="csX397" fmla="*/ 1481688 w 1609516"/>
              <a:gd name="csY397" fmla="*/ 1091187 h 1538630"/>
              <a:gd name="csX398" fmla="*/ 1486283 w 1609516"/>
              <a:gd name="csY398" fmla="*/ 1094236 h 1538630"/>
              <a:gd name="csX399" fmla="*/ 1494869 w 1609516"/>
              <a:gd name="csY399" fmla="*/ 1100171 h 1538630"/>
              <a:gd name="csX400" fmla="*/ 1544335 w 1609516"/>
              <a:gd name="csY400" fmla="*/ 1109518 h 1538630"/>
              <a:gd name="csX401" fmla="*/ 1593477 w 1609516"/>
              <a:gd name="csY401" fmla="*/ 1119900 h 1538630"/>
              <a:gd name="csX402" fmla="*/ 1605975 w 1609516"/>
              <a:gd name="csY402" fmla="*/ 1144913 h 1538630"/>
              <a:gd name="csX403" fmla="*/ 1609099 w 1609516"/>
              <a:gd name="csY403" fmla="*/ 1144913 h 1538630"/>
              <a:gd name="csX404" fmla="*/ 1609392 w 1609516"/>
              <a:gd name="csY404" fmla="*/ 1156892 h 1538630"/>
              <a:gd name="csX405" fmla="*/ 1609511 w 1609516"/>
              <a:gd name="csY405" fmla="*/ 1160272 h 1538630"/>
              <a:gd name="csX406" fmla="*/ 1604412 w 1609516"/>
              <a:gd name="csY406" fmla="*/ 1181553 h 1538630"/>
              <a:gd name="csX407" fmla="*/ 1601288 w 1609516"/>
              <a:gd name="csY407" fmla="*/ 1190009 h 1538630"/>
              <a:gd name="csX408" fmla="*/ 1598164 w 1609516"/>
              <a:gd name="csY408" fmla="*/ 1190009 h 1538630"/>
              <a:gd name="csX409" fmla="*/ 1597187 w 1609516"/>
              <a:gd name="csY409" fmla="*/ 1192739 h 1538630"/>
              <a:gd name="csX410" fmla="*/ 1595040 w 1609516"/>
              <a:gd name="csY410" fmla="*/ 1195645 h 1538630"/>
              <a:gd name="csX411" fmla="*/ 1585667 w 1609516"/>
              <a:gd name="csY411" fmla="*/ 1197055 h 1538630"/>
              <a:gd name="csX412" fmla="*/ 1582543 w 1609516"/>
              <a:gd name="csY412" fmla="*/ 1202691 h 1538630"/>
              <a:gd name="csX413" fmla="*/ 1562431 w 1609516"/>
              <a:gd name="csY413" fmla="*/ 1204365 h 1538630"/>
              <a:gd name="csX414" fmla="*/ 1558690 w 1609516"/>
              <a:gd name="csY414" fmla="*/ 1204417 h 1538630"/>
              <a:gd name="csX415" fmla="*/ 1521102 w 1609516"/>
              <a:gd name="csY415" fmla="*/ 1189585 h 1538630"/>
              <a:gd name="csX416" fmla="*/ 1505022 w 1609516"/>
              <a:gd name="csY416" fmla="*/ 1172041 h 1538630"/>
              <a:gd name="csX417" fmla="*/ 1457573 w 1609516"/>
              <a:gd name="csY417" fmla="*/ 1140686 h 1538630"/>
              <a:gd name="csX418" fmla="*/ 1457573 w 1609516"/>
              <a:gd name="csY418" fmla="*/ 1137867 h 1538630"/>
              <a:gd name="csX419" fmla="*/ 1452985 w 1609516"/>
              <a:gd name="csY419" fmla="*/ 1137339 h 1538630"/>
              <a:gd name="csX420" fmla="*/ 1448200 w 1609516"/>
              <a:gd name="csY420" fmla="*/ 1136458 h 1538630"/>
              <a:gd name="csX421" fmla="*/ 1446638 w 1609516"/>
              <a:gd name="csY421" fmla="*/ 1133640 h 1538630"/>
              <a:gd name="csX422" fmla="*/ 1438937 w 1609516"/>
              <a:gd name="csY422" fmla="*/ 1130601 h 1538630"/>
              <a:gd name="csX423" fmla="*/ 1429260 w 1609516"/>
              <a:gd name="csY423" fmla="*/ 1126770 h 1538630"/>
              <a:gd name="csX424" fmla="*/ 1411393 w 1609516"/>
              <a:gd name="csY424" fmla="*/ 1120340 h 1538630"/>
              <a:gd name="csX425" fmla="*/ 1391427 w 1609516"/>
              <a:gd name="csY425" fmla="*/ 1111191 h 1538630"/>
              <a:gd name="csX426" fmla="*/ 1381029 w 1609516"/>
              <a:gd name="csY426" fmla="*/ 1106865 h 1538630"/>
              <a:gd name="csX427" fmla="*/ 1381029 w 1609516"/>
              <a:gd name="csY427" fmla="*/ 1104046 h 1538630"/>
              <a:gd name="csX428" fmla="*/ 1377221 w 1609516"/>
              <a:gd name="csY428" fmla="*/ 1103605 h 1538630"/>
              <a:gd name="csX429" fmla="*/ 1357597 w 1609516"/>
              <a:gd name="csY429" fmla="*/ 1098409 h 1538630"/>
              <a:gd name="csX430" fmla="*/ 1352032 w 1609516"/>
              <a:gd name="csY430" fmla="*/ 1096736 h 1538630"/>
              <a:gd name="csX431" fmla="*/ 1348225 w 1609516"/>
              <a:gd name="csY431" fmla="*/ 1095590 h 1538630"/>
              <a:gd name="csX432" fmla="*/ 1348225 w 1609516"/>
              <a:gd name="csY432" fmla="*/ 1092772 h 1538630"/>
              <a:gd name="csX433" fmla="*/ 1337290 w 1609516"/>
              <a:gd name="csY433" fmla="*/ 1091363 h 1538630"/>
              <a:gd name="csX434" fmla="*/ 1337290 w 1609516"/>
              <a:gd name="csY434" fmla="*/ 1088544 h 1538630"/>
              <a:gd name="csX435" fmla="*/ 1331529 w 1609516"/>
              <a:gd name="csY435" fmla="*/ 1088104 h 1538630"/>
              <a:gd name="csX436" fmla="*/ 1323297 w 1609516"/>
              <a:gd name="csY436" fmla="*/ 1086611 h 1538630"/>
              <a:gd name="csX437" fmla="*/ 1323297 w 1609516"/>
              <a:gd name="csY437" fmla="*/ 1087618 h 1538630"/>
              <a:gd name="csX438" fmla="*/ 1319789 w 1609516"/>
              <a:gd name="csY438" fmla="*/ 1087310 h 1538630"/>
              <a:gd name="csX439" fmla="*/ 1262375 w 1609516"/>
              <a:gd name="csY439" fmla="*/ 1089028 h 1538630"/>
              <a:gd name="csX440" fmla="*/ 1258728 w 1609516"/>
              <a:gd name="csY440" fmla="*/ 1088205 h 1538630"/>
              <a:gd name="csX441" fmla="*/ 1246964 w 1609516"/>
              <a:gd name="csY441" fmla="*/ 1091489 h 1538630"/>
              <a:gd name="csX442" fmla="*/ 1223224 w 1609516"/>
              <a:gd name="csY442" fmla="*/ 1112865 h 1538630"/>
              <a:gd name="csX443" fmla="*/ 1213883 w 1609516"/>
              <a:gd name="csY443" fmla="*/ 1122366 h 1538630"/>
              <a:gd name="csX444" fmla="*/ 1212505 w 1609516"/>
              <a:gd name="csY444" fmla="*/ 1125708 h 1538630"/>
              <a:gd name="csX445" fmla="*/ 1204180 w 1609516"/>
              <a:gd name="csY445" fmla="*/ 1135561 h 1538630"/>
              <a:gd name="csX446" fmla="*/ 1200238 w 1609516"/>
              <a:gd name="csY446" fmla="*/ 1138999 h 1538630"/>
              <a:gd name="csX447" fmla="*/ 1192025 w 1609516"/>
              <a:gd name="csY447" fmla="*/ 1146022 h 1538630"/>
              <a:gd name="csX448" fmla="*/ 1173945 w 1609516"/>
              <a:gd name="csY448" fmla="*/ 1174749 h 1538630"/>
              <a:gd name="csX449" fmla="*/ 1173950 w 1609516"/>
              <a:gd name="csY449" fmla="*/ 1182610 h 1538630"/>
              <a:gd name="csX450" fmla="*/ 1173989 w 1609516"/>
              <a:gd name="csY450" fmla="*/ 1186765 h 1538630"/>
              <a:gd name="csX451" fmla="*/ 1182640 w 1609516"/>
              <a:gd name="csY451" fmla="*/ 1215374 h 1538630"/>
              <a:gd name="csX452" fmla="*/ 1185764 w 1609516"/>
              <a:gd name="csY452" fmla="*/ 1221804 h 1538630"/>
              <a:gd name="csX453" fmla="*/ 1187301 w 1609516"/>
              <a:gd name="csY453" fmla="*/ 1224859 h 1538630"/>
              <a:gd name="csX454" fmla="*/ 1190573 w 1609516"/>
              <a:gd name="csY454" fmla="*/ 1231740 h 1538630"/>
              <a:gd name="csX455" fmla="*/ 1205925 w 1609516"/>
              <a:gd name="csY455" fmla="*/ 1255163 h 1538630"/>
              <a:gd name="csX456" fmla="*/ 1212174 w 1609516"/>
              <a:gd name="csY456" fmla="*/ 1263134 h 1538630"/>
              <a:gd name="csX457" fmla="*/ 1235556 w 1609516"/>
              <a:gd name="csY457" fmla="*/ 1282538 h 1538630"/>
              <a:gd name="csX458" fmla="*/ 1238876 w 1609516"/>
              <a:gd name="csY458" fmla="*/ 1284426 h 1538630"/>
              <a:gd name="csX459" fmla="*/ 1238876 w 1609516"/>
              <a:gd name="csY459" fmla="*/ 1287245 h 1538630"/>
              <a:gd name="csX460" fmla="*/ 1242245 w 1609516"/>
              <a:gd name="csY460" fmla="*/ 1287663 h 1538630"/>
              <a:gd name="csX461" fmla="*/ 1271681 w 1609516"/>
              <a:gd name="csY461" fmla="*/ 1305565 h 1538630"/>
              <a:gd name="csX462" fmla="*/ 1271742 w 1609516"/>
              <a:gd name="csY462" fmla="*/ 1306172 h 1538630"/>
              <a:gd name="csX463" fmla="*/ 1278525 w 1609516"/>
              <a:gd name="csY463" fmla="*/ 1315767 h 1538630"/>
              <a:gd name="csX464" fmla="*/ 1281097 w 1609516"/>
              <a:gd name="csY464" fmla="*/ 1327286 h 1538630"/>
              <a:gd name="csX465" fmla="*/ 1277973 w 1609516"/>
              <a:gd name="csY465" fmla="*/ 1355470 h 1538630"/>
              <a:gd name="csX466" fmla="*/ 1277460 w 1609516"/>
              <a:gd name="csY466" fmla="*/ 1347025 h 1538630"/>
              <a:gd name="csX467" fmla="*/ 1273531 w 1609516"/>
              <a:gd name="csY467" fmla="*/ 1357991 h 1538630"/>
              <a:gd name="csX468" fmla="*/ 1263870 w 1609516"/>
              <a:gd name="csY468" fmla="*/ 1368980 h 1538630"/>
              <a:gd name="csX469" fmla="*/ 1246686 w 1609516"/>
              <a:gd name="csY469" fmla="*/ 1376026 h 1538630"/>
              <a:gd name="csX470" fmla="*/ 1246686 w 1609516"/>
              <a:gd name="csY470" fmla="*/ 1378844 h 1538630"/>
              <a:gd name="csX471" fmla="*/ 1231651 w 1609516"/>
              <a:gd name="csY471" fmla="*/ 1379196 h 1538630"/>
              <a:gd name="csX472" fmla="*/ 1227373 w 1609516"/>
              <a:gd name="csY472" fmla="*/ 1379340 h 1538630"/>
              <a:gd name="csX473" fmla="*/ 1206071 w 1609516"/>
              <a:gd name="csY473" fmla="*/ 1373207 h 1538630"/>
              <a:gd name="csX474" fmla="*/ 1202069 w 1609516"/>
              <a:gd name="csY474" fmla="*/ 1371798 h 1538630"/>
              <a:gd name="csX475" fmla="*/ 1184104 w 1609516"/>
              <a:gd name="csY475" fmla="*/ 1356176 h 1538630"/>
              <a:gd name="csX476" fmla="*/ 1177270 w 1609516"/>
              <a:gd name="csY476" fmla="*/ 1335247 h 1538630"/>
              <a:gd name="csX477" fmla="*/ 1169002 w 1609516"/>
              <a:gd name="csY477" fmla="*/ 1313464 h 1538630"/>
              <a:gd name="csX478" fmla="*/ 1163504 w 1609516"/>
              <a:gd name="csY478" fmla="*/ 1302130 h 1538630"/>
              <a:gd name="csX479" fmla="*/ 1162015 w 1609516"/>
              <a:gd name="csY479" fmla="*/ 1298788 h 1538630"/>
              <a:gd name="csX480" fmla="*/ 1160111 w 1609516"/>
              <a:gd name="csY480" fmla="*/ 1292656 h 1538630"/>
              <a:gd name="csX481" fmla="*/ 1154522 w 1609516"/>
              <a:gd name="csY481" fmla="*/ 1287245 h 1538630"/>
              <a:gd name="csX482" fmla="*/ 1151398 w 1609516"/>
              <a:gd name="csY482" fmla="*/ 1280199 h 1538630"/>
              <a:gd name="csX483" fmla="*/ 1144173 w 1609516"/>
              <a:gd name="csY483" fmla="*/ 1270774 h 1538630"/>
              <a:gd name="csX484" fmla="*/ 1142065 w 1609516"/>
              <a:gd name="csY484" fmla="*/ 1268160 h 1538630"/>
              <a:gd name="csX485" fmla="*/ 1135776 w 1609516"/>
              <a:gd name="csY485" fmla="*/ 1260470 h 1538630"/>
              <a:gd name="csX486" fmla="*/ 1132353 w 1609516"/>
              <a:gd name="csY486" fmla="*/ 1256247 h 1538630"/>
              <a:gd name="csX487" fmla="*/ 1112344 w 1609516"/>
              <a:gd name="csY487" fmla="*/ 1240741 h 1538630"/>
              <a:gd name="csX488" fmla="*/ 1106193 w 1609516"/>
              <a:gd name="csY488" fmla="*/ 1237570 h 1538630"/>
              <a:gd name="csX489" fmla="*/ 1101409 w 1609516"/>
              <a:gd name="csY489" fmla="*/ 1235104 h 1538630"/>
              <a:gd name="csX490" fmla="*/ 1101409 w 1609516"/>
              <a:gd name="csY490" fmla="*/ 1230876 h 1538630"/>
              <a:gd name="csX491" fmla="*/ 1065480 w 1609516"/>
              <a:gd name="csY491" fmla="*/ 1230876 h 1538630"/>
              <a:gd name="csX492" fmla="*/ 1063919 w 1609516"/>
              <a:gd name="csY492" fmla="*/ 1235104 h 1538630"/>
              <a:gd name="csX493" fmla="*/ 1059232 w 1609516"/>
              <a:gd name="csY493" fmla="*/ 1235104 h 1538630"/>
              <a:gd name="csX494" fmla="*/ 1059232 w 1609516"/>
              <a:gd name="csY494" fmla="*/ 1237922 h 1538630"/>
              <a:gd name="csX495" fmla="*/ 1040194 w 1609516"/>
              <a:gd name="csY495" fmla="*/ 1245761 h 1538630"/>
              <a:gd name="csX496" fmla="*/ 1030333 w 1609516"/>
              <a:gd name="csY496" fmla="*/ 1249901 h 1538630"/>
              <a:gd name="csX497" fmla="*/ 1013931 w 1609516"/>
              <a:gd name="csY497" fmla="*/ 1256242 h 1538630"/>
              <a:gd name="csX498" fmla="*/ 1005925 w 1609516"/>
              <a:gd name="csY498" fmla="*/ 1261615 h 1538630"/>
              <a:gd name="csX499" fmla="*/ 1004558 w 1609516"/>
              <a:gd name="csY499" fmla="*/ 1264697 h 1538630"/>
              <a:gd name="csX500" fmla="*/ 1002959 w 1609516"/>
              <a:gd name="csY500" fmla="*/ 1267961 h 1538630"/>
              <a:gd name="csX501" fmla="*/ 1000653 w 1609516"/>
              <a:gd name="csY501" fmla="*/ 1278965 h 1538630"/>
              <a:gd name="csX502" fmla="*/ 998297 w 1609516"/>
              <a:gd name="csY502" fmla="*/ 1294137 h 1538630"/>
              <a:gd name="csX503" fmla="*/ 996162 w 1609516"/>
              <a:gd name="csY503" fmla="*/ 1324765 h 1538630"/>
              <a:gd name="csX504" fmla="*/ 996164 w 1609516"/>
              <a:gd name="csY504" fmla="*/ 1327846 h 1538630"/>
              <a:gd name="csX505" fmla="*/ 1007780 w 1609516"/>
              <a:gd name="csY505" fmla="*/ 1403329 h 1538630"/>
              <a:gd name="csX506" fmla="*/ 1008940 w 1609516"/>
              <a:gd name="csY506" fmla="*/ 1407701 h 1538630"/>
              <a:gd name="csX507" fmla="*/ 1010080 w 1609516"/>
              <a:gd name="csY507" fmla="*/ 1411730 h 1538630"/>
              <a:gd name="csX508" fmla="*/ 1011075 w 1609516"/>
              <a:gd name="csY508" fmla="*/ 1415277 h 1538630"/>
              <a:gd name="csX509" fmla="*/ 1017055 w 1609516"/>
              <a:gd name="csY509" fmla="*/ 1422530 h 1538630"/>
              <a:gd name="csX510" fmla="*/ 1020277 w 1609516"/>
              <a:gd name="csY510" fmla="*/ 1427991 h 1538630"/>
              <a:gd name="csX511" fmla="*/ 1021796 w 1609516"/>
              <a:gd name="csY511" fmla="*/ 1430798 h 1538630"/>
              <a:gd name="csX512" fmla="*/ 1024579 w 1609516"/>
              <a:gd name="csY512" fmla="*/ 1437239 h 1538630"/>
              <a:gd name="csX513" fmla="*/ 1034043 w 1609516"/>
              <a:gd name="csY513" fmla="*/ 1448072 h 1538630"/>
              <a:gd name="csX514" fmla="*/ 1043782 w 1609516"/>
              <a:gd name="csY514" fmla="*/ 1464320 h 1538630"/>
              <a:gd name="csX515" fmla="*/ 1050458 w 1609516"/>
              <a:gd name="csY515" fmla="*/ 1472189 h 1538630"/>
              <a:gd name="csX516" fmla="*/ 1052926 w 1609516"/>
              <a:gd name="csY516" fmla="*/ 1482370 h 1538630"/>
              <a:gd name="csX517" fmla="*/ 1053316 w 1609516"/>
              <a:gd name="csY517" fmla="*/ 1496903 h 1538630"/>
              <a:gd name="csX518" fmla="*/ 1053352 w 1609516"/>
              <a:gd name="csY518" fmla="*/ 1500660 h 1538630"/>
              <a:gd name="csX519" fmla="*/ 1053341 w 1609516"/>
              <a:gd name="csY519" fmla="*/ 1504285 h 1538630"/>
              <a:gd name="csX520" fmla="*/ 1053329 w 1609516"/>
              <a:gd name="csY520" fmla="*/ 1507529 h 1538630"/>
              <a:gd name="csX521" fmla="*/ 1049801 w 1609516"/>
              <a:gd name="csY521" fmla="*/ 1516192 h 1538630"/>
              <a:gd name="csX522" fmla="*/ 1047312 w 1609516"/>
              <a:gd name="csY522" fmla="*/ 1516192 h 1538630"/>
              <a:gd name="csX523" fmla="*/ 1043611 w 1609516"/>
              <a:gd name="csY523" fmla="*/ 1522585 h 1538630"/>
              <a:gd name="csX524" fmla="*/ 1029552 w 1609516"/>
              <a:gd name="csY524" fmla="*/ 1529631 h 1538630"/>
              <a:gd name="csX525" fmla="*/ 1028771 w 1609516"/>
              <a:gd name="csY525" fmla="*/ 1532273 h 1538630"/>
              <a:gd name="csX526" fmla="*/ 1018013 w 1609516"/>
              <a:gd name="csY526" fmla="*/ 1537640 h 1538630"/>
              <a:gd name="csX527" fmla="*/ 981126 w 1609516"/>
              <a:gd name="csY527" fmla="*/ 1533859 h 1538630"/>
              <a:gd name="csX528" fmla="*/ 977227 w 1609516"/>
              <a:gd name="csY528" fmla="*/ 1531943 h 1538630"/>
              <a:gd name="csX529" fmla="*/ 955376 w 1609516"/>
              <a:gd name="csY529" fmla="*/ 1508751 h 1538630"/>
              <a:gd name="csX530" fmla="*/ 954571 w 1609516"/>
              <a:gd name="csY530" fmla="*/ 1500037 h 1538630"/>
              <a:gd name="csX531" fmla="*/ 951446 w 1609516"/>
              <a:gd name="csY531" fmla="*/ 1500037 h 1538630"/>
              <a:gd name="csX532" fmla="*/ 951251 w 1609516"/>
              <a:gd name="csY532" fmla="*/ 1487883 h 1538630"/>
              <a:gd name="csX533" fmla="*/ 951171 w 1609516"/>
              <a:gd name="csY533" fmla="*/ 1484431 h 1538630"/>
              <a:gd name="csX534" fmla="*/ 954571 w 1609516"/>
              <a:gd name="csY534" fmla="*/ 1466216 h 1538630"/>
              <a:gd name="csX535" fmla="*/ 954961 w 1609516"/>
              <a:gd name="csY535" fmla="*/ 1455118 h 1538630"/>
              <a:gd name="csX536" fmla="*/ 954932 w 1609516"/>
              <a:gd name="csY536" fmla="*/ 1451972 h 1538630"/>
              <a:gd name="csX537" fmla="*/ 945099 w 1609516"/>
              <a:gd name="csY537" fmla="*/ 1403594 h 1538630"/>
              <a:gd name="csX538" fmla="*/ 942366 w 1609516"/>
              <a:gd name="csY538" fmla="*/ 1393553 h 1538630"/>
              <a:gd name="csX539" fmla="*/ 934451 w 1609516"/>
              <a:gd name="csY539" fmla="*/ 1372734 h 1538630"/>
              <a:gd name="csX540" fmla="*/ 931974 w 1609516"/>
              <a:gd name="csY540" fmla="*/ 1365754 h 1538630"/>
              <a:gd name="csX541" fmla="*/ 931138 w 1609516"/>
              <a:gd name="csY541" fmla="*/ 1363343 h 1538630"/>
              <a:gd name="csX542" fmla="*/ 926452 w 1609516"/>
              <a:gd name="csY542" fmla="*/ 1361933 h 1538630"/>
              <a:gd name="csX543" fmla="*/ 918641 w 1609516"/>
              <a:gd name="csY543" fmla="*/ 1340795 h 1538630"/>
              <a:gd name="csX544" fmla="*/ 917079 w 1609516"/>
              <a:gd name="csY544" fmla="*/ 1335158 h 1538630"/>
              <a:gd name="csX545" fmla="*/ 913955 w 1609516"/>
              <a:gd name="csY545" fmla="*/ 1335158 h 1538630"/>
              <a:gd name="csX546" fmla="*/ 912057 w 1609516"/>
              <a:gd name="csY546" fmla="*/ 1330793 h 1538630"/>
              <a:gd name="csX547" fmla="*/ 902142 w 1609516"/>
              <a:gd name="csY547" fmla="*/ 1316222 h 1538630"/>
              <a:gd name="csX548" fmla="*/ 900091 w 1609516"/>
              <a:gd name="csY548" fmla="*/ 1313828 h 1538630"/>
              <a:gd name="csX549" fmla="*/ 878026 w 1609516"/>
              <a:gd name="csY549" fmla="*/ 1295700 h 1538630"/>
              <a:gd name="csX550" fmla="*/ 875134 w 1609516"/>
              <a:gd name="csY550" fmla="*/ 1293465 h 1538630"/>
              <a:gd name="csX551" fmla="*/ 869869 w 1609516"/>
              <a:gd name="csY551" fmla="*/ 1291826 h 1538630"/>
              <a:gd name="csX552" fmla="*/ 862384 w 1609516"/>
              <a:gd name="csY552" fmla="*/ 1291327 h 1538630"/>
              <a:gd name="csX553" fmla="*/ 844390 w 1609516"/>
              <a:gd name="csY553" fmla="*/ 1290461 h 1538630"/>
              <a:gd name="csX554" fmla="*/ 840476 w 1609516"/>
              <a:gd name="csY554" fmla="*/ 1290500 h 1538630"/>
              <a:gd name="csX555" fmla="*/ 831015 w 1609516"/>
              <a:gd name="csY555" fmla="*/ 1290637 h 1538630"/>
              <a:gd name="csX556" fmla="*/ 831015 w 1609516"/>
              <a:gd name="csY556" fmla="*/ 1293456 h 1538630"/>
              <a:gd name="csX557" fmla="*/ 818225 w 1609516"/>
              <a:gd name="csY557" fmla="*/ 1295570 h 1538630"/>
              <a:gd name="csX558" fmla="*/ 796774 w 1609516"/>
              <a:gd name="csY558" fmla="*/ 1297671 h 1538630"/>
              <a:gd name="csX559" fmla="*/ 783646 w 1609516"/>
              <a:gd name="csY559" fmla="*/ 1305736 h 1538630"/>
              <a:gd name="csX560" fmla="*/ 769263 w 1609516"/>
              <a:gd name="csY560" fmla="*/ 1327143 h 1538630"/>
              <a:gd name="csX561" fmla="*/ 764797 w 1609516"/>
              <a:gd name="csY561" fmla="*/ 1334360 h 1538630"/>
              <a:gd name="csX562" fmla="*/ 757875 w 1609516"/>
              <a:gd name="csY562" fmla="*/ 1353503 h 1538630"/>
              <a:gd name="csX563" fmla="*/ 755676 w 1609516"/>
              <a:gd name="csY563" fmla="*/ 1367455 h 1538630"/>
              <a:gd name="csX564" fmla="*/ 750558 w 1609516"/>
              <a:gd name="csY564" fmla="*/ 1399690 h 1538630"/>
              <a:gd name="csX565" fmla="*/ 753057 w 1609516"/>
              <a:gd name="csY565" fmla="*/ 1411256 h 1538630"/>
              <a:gd name="csX566" fmla="*/ 753057 w 1609516"/>
              <a:gd name="csY566" fmla="*/ 1416893 h 1538630"/>
              <a:gd name="csX567" fmla="*/ 756181 w 1609516"/>
              <a:gd name="csY567" fmla="*/ 1416893 h 1538630"/>
              <a:gd name="csX568" fmla="*/ 758133 w 1609516"/>
              <a:gd name="csY568" fmla="*/ 1436182 h 1538630"/>
              <a:gd name="csX569" fmla="*/ 758231 w 1609516"/>
              <a:gd name="csY569" fmla="*/ 1440781 h 1538630"/>
              <a:gd name="csX570" fmla="*/ 750713 w 1609516"/>
              <a:gd name="csY570" fmla="*/ 1465704 h 1538630"/>
              <a:gd name="csX571" fmla="*/ 748370 w 1609516"/>
              <a:gd name="csY571" fmla="*/ 1467185 h 1538630"/>
              <a:gd name="csX572" fmla="*/ 741633 w 1609516"/>
              <a:gd name="csY572" fmla="*/ 1473526 h 1538630"/>
              <a:gd name="csX573" fmla="*/ 728154 w 1609516"/>
              <a:gd name="csY573" fmla="*/ 1478343 h 1538630"/>
              <a:gd name="csX574" fmla="*/ 721814 w 1609516"/>
              <a:gd name="csY574" fmla="*/ 1480308 h 1538630"/>
              <a:gd name="csX575" fmla="*/ 708341 w 1609516"/>
              <a:gd name="csY575" fmla="*/ 1480661 h 1538630"/>
              <a:gd name="csX576" fmla="*/ 704637 w 1609516"/>
              <a:gd name="csY576" fmla="*/ 1480748 h 1538630"/>
              <a:gd name="csX577" fmla="*/ 668507 w 1609516"/>
              <a:gd name="csY577" fmla="*/ 1468418 h 1538630"/>
              <a:gd name="csX578" fmla="*/ 660178 w 1609516"/>
              <a:gd name="csY578" fmla="*/ 1450027 h 1538630"/>
              <a:gd name="csX579" fmla="*/ 657767 w 1609516"/>
              <a:gd name="csY579" fmla="*/ 1445078 h 1538630"/>
              <a:gd name="csX580" fmla="*/ 663369 w 1609516"/>
              <a:gd name="csY580" fmla="*/ 1409390 h 1538630"/>
              <a:gd name="csX581" fmla="*/ 671826 w 1609516"/>
              <a:gd name="csY581" fmla="*/ 1401392 h 1538630"/>
              <a:gd name="csX582" fmla="*/ 678075 w 1609516"/>
              <a:gd name="csY582" fmla="*/ 1390118 h 1538630"/>
              <a:gd name="csX583" fmla="*/ 684323 w 1609516"/>
              <a:gd name="csY583" fmla="*/ 1388709 h 1538630"/>
              <a:gd name="csX584" fmla="*/ 685293 w 1609516"/>
              <a:gd name="csY584" fmla="*/ 1384233 h 1538630"/>
              <a:gd name="csX585" fmla="*/ 686569 w 1609516"/>
              <a:gd name="csY585" fmla="*/ 1378404 h 1538630"/>
              <a:gd name="csX586" fmla="*/ 687207 w 1609516"/>
              <a:gd name="csY586" fmla="*/ 1375456 h 1538630"/>
              <a:gd name="csX587" fmla="*/ 690572 w 1609516"/>
              <a:gd name="csY587" fmla="*/ 1363343 h 1538630"/>
              <a:gd name="csX588" fmla="*/ 692495 w 1609516"/>
              <a:gd name="csY588" fmla="*/ 1323376 h 1538630"/>
              <a:gd name="csX589" fmla="*/ 692625 w 1609516"/>
              <a:gd name="csY589" fmla="*/ 1315006 h 1538630"/>
              <a:gd name="csX590" fmla="*/ 687447 w 1609516"/>
              <a:gd name="csY590" fmla="*/ 1287245 h 1538630"/>
              <a:gd name="csX591" fmla="*/ 682761 w 1609516"/>
              <a:gd name="csY591" fmla="*/ 1285835 h 1538630"/>
              <a:gd name="csX592" fmla="*/ 678954 w 1609516"/>
              <a:gd name="csY592" fmla="*/ 1281608 h 1538630"/>
              <a:gd name="csX593" fmla="*/ 668702 w 1609516"/>
              <a:gd name="csY593" fmla="*/ 1275971 h 1538630"/>
              <a:gd name="csX594" fmla="*/ 662454 w 1609516"/>
              <a:gd name="csY594" fmla="*/ 1270334 h 1538630"/>
              <a:gd name="csX595" fmla="*/ 654643 w 1609516"/>
              <a:gd name="csY595" fmla="*/ 1267516 h 1538630"/>
              <a:gd name="csX596" fmla="*/ 654643 w 1609516"/>
              <a:gd name="csY596" fmla="*/ 1264697 h 1538630"/>
              <a:gd name="csX597" fmla="*/ 650152 w 1609516"/>
              <a:gd name="csY597" fmla="*/ 1264345 h 1538630"/>
              <a:gd name="csX598" fmla="*/ 628087 w 1609516"/>
              <a:gd name="csY598" fmla="*/ 1257651 h 1538630"/>
              <a:gd name="csX599" fmla="*/ 628087 w 1609516"/>
              <a:gd name="csY599" fmla="*/ 1254833 h 1538630"/>
              <a:gd name="csX600" fmla="*/ 625121 w 1609516"/>
              <a:gd name="csY600" fmla="*/ 1254315 h 1538630"/>
              <a:gd name="csX601" fmla="*/ 621252 w 1609516"/>
              <a:gd name="csY601" fmla="*/ 1253600 h 1538630"/>
              <a:gd name="csX602" fmla="*/ 617409 w 1609516"/>
              <a:gd name="csY602" fmla="*/ 1252906 h 1538630"/>
              <a:gd name="csX603" fmla="*/ 610904 w 1609516"/>
              <a:gd name="csY603" fmla="*/ 1249196 h 1538630"/>
              <a:gd name="csX604" fmla="*/ 565739 w 1609516"/>
              <a:gd name="csY604" fmla="*/ 1271742 h 1538630"/>
              <a:gd name="csX605" fmla="*/ 546924 w 1609516"/>
              <a:gd name="csY605" fmla="*/ 1290829 h 1538630"/>
              <a:gd name="csX606" fmla="*/ 543635 w 1609516"/>
              <a:gd name="csY606" fmla="*/ 1294643 h 1538630"/>
              <a:gd name="csX607" fmla="*/ 540651 w 1609516"/>
              <a:gd name="csY607" fmla="*/ 1298188 h 1538630"/>
              <a:gd name="csX608" fmla="*/ 529673 w 1609516"/>
              <a:gd name="csY608" fmla="*/ 1305565 h 1538630"/>
              <a:gd name="csX609" fmla="*/ 526549 w 1609516"/>
              <a:gd name="csY609" fmla="*/ 1311202 h 1538630"/>
              <a:gd name="csX610" fmla="*/ 523425 w 1609516"/>
              <a:gd name="csY610" fmla="*/ 1311202 h 1538630"/>
              <a:gd name="csX611" fmla="*/ 523230 w 1609516"/>
              <a:gd name="csY611" fmla="*/ 1313580 h 1538630"/>
              <a:gd name="csX612" fmla="*/ 517732 w 1609516"/>
              <a:gd name="csY612" fmla="*/ 1319739 h 1538630"/>
              <a:gd name="csX613" fmla="*/ 502239 w 1609516"/>
              <a:gd name="csY613" fmla="*/ 1337096 h 1538630"/>
              <a:gd name="csX614" fmla="*/ 497058 w 1609516"/>
              <a:gd name="csY614" fmla="*/ 1344087 h 1538630"/>
              <a:gd name="csX615" fmla="*/ 494572 w 1609516"/>
              <a:gd name="csY615" fmla="*/ 1347465 h 1538630"/>
              <a:gd name="csX616" fmla="*/ 487776 w 1609516"/>
              <a:gd name="csY616" fmla="*/ 1356181 h 1538630"/>
              <a:gd name="csX617" fmla="*/ 481248 w 1609516"/>
              <a:gd name="csY617" fmla="*/ 1367571 h 1538630"/>
              <a:gd name="csX618" fmla="*/ 478123 w 1609516"/>
              <a:gd name="csY618" fmla="*/ 1367571 h 1538630"/>
              <a:gd name="csX619" fmla="*/ 477635 w 1609516"/>
              <a:gd name="csY619" fmla="*/ 1370565 h 1538630"/>
              <a:gd name="csX620" fmla="*/ 465626 w 1609516"/>
              <a:gd name="csY620" fmla="*/ 1388709 h 1538630"/>
              <a:gd name="csX621" fmla="*/ 461233 w 1609516"/>
              <a:gd name="csY621" fmla="*/ 1397340 h 1538630"/>
              <a:gd name="csX622" fmla="*/ 455765 w 1609516"/>
              <a:gd name="csY622" fmla="*/ 1408086 h 1538630"/>
              <a:gd name="csX623" fmla="*/ 439070 w 1609516"/>
              <a:gd name="csY623" fmla="*/ 1477490 h 1538630"/>
              <a:gd name="csX624" fmla="*/ 434384 w 1609516"/>
              <a:gd name="csY624" fmla="*/ 1478899 h 1538630"/>
              <a:gd name="csX625" fmla="*/ 432431 w 1609516"/>
              <a:gd name="csY625" fmla="*/ 1481982 h 1538630"/>
              <a:gd name="csX626" fmla="*/ 418763 w 1609516"/>
              <a:gd name="csY626" fmla="*/ 1494401 h 1538630"/>
              <a:gd name="csX627" fmla="*/ 415639 w 1609516"/>
              <a:gd name="csY627" fmla="*/ 1494401 h 1538630"/>
              <a:gd name="csX628" fmla="*/ 415639 w 1609516"/>
              <a:gd name="csY628" fmla="*/ 1497219 h 1538630"/>
              <a:gd name="csX629" fmla="*/ 406265 w 1609516"/>
              <a:gd name="csY629" fmla="*/ 1498628 h 1538630"/>
              <a:gd name="csX630" fmla="*/ 406265 w 1609516"/>
              <a:gd name="csY630" fmla="*/ 1501447 h 1538630"/>
              <a:gd name="csX631" fmla="*/ 375023 w 1609516"/>
              <a:gd name="csY631" fmla="*/ 1501447 h 1538630"/>
              <a:gd name="csX632" fmla="*/ 375023 w 1609516"/>
              <a:gd name="csY632" fmla="*/ 1499438 h 1538630"/>
              <a:gd name="csX633" fmla="*/ 374964 w 1609516"/>
              <a:gd name="csY633" fmla="*/ 1499436 h 1538630"/>
              <a:gd name="csX634" fmla="*/ 373179 w 1609516"/>
              <a:gd name="csY634" fmla="*/ 1498628 h 1538630"/>
              <a:gd name="csX635" fmla="*/ 365650 w 1609516"/>
              <a:gd name="csY635" fmla="*/ 1498628 h 1538630"/>
              <a:gd name="csX636" fmla="*/ 363134 w 1609516"/>
              <a:gd name="csY636" fmla="*/ 1494087 h 1538630"/>
              <a:gd name="csX637" fmla="*/ 362171 w 1609516"/>
              <a:gd name="csY637" fmla="*/ 1493651 h 1538630"/>
              <a:gd name="csX638" fmla="*/ 360609 w 1609516"/>
              <a:gd name="csY638" fmla="*/ 1490833 h 1538630"/>
              <a:gd name="csX639" fmla="*/ 363733 w 1609516"/>
              <a:gd name="csY639" fmla="*/ 1490833 h 1538630"/>
              <a:gd name="csX640" fmla="*/ 363733 w 1609516"/>
              <a:gd name="csY640" fmla="*/ 1489980 h 1538630"/>
              <a:gd name="csX641" fmla="*/ 348467 w 1609516"/>
              <a:gd name="csY641" fmla="*/ 1481717 h 1538630"/>
              <a:gd name="csX642" fmla="*/ 343872 w 1609516"/>
              <a:gd name="csY642" fmla="*/ 1461078 h 1538630"/>
              <a:gd name="csX643" fmla="*/ 343656 w 1609516"/>
              <a:gd name="csY643" fmla="*/ 1463649 h 1538630"/>
              <a:gd name="csX644" fmla="*/ 343424 w 1609516"/>
              <a:gd name="csY644" fmla="*/ 1466842 h 1538630"/>
              <a:gd name="csX645" fmla="*/ 341861 w 1609516"/>
              <a:gd name="csY645" fmla="*/ 1466842 h 1538630"/>
              <a:gd name="csX646" fmla="*/ 354143 w 1609516"/>
              <a:gd name="csY646" fmla="*/ 1420549 h 1538630"/>
              <a:gd name="csX647" fmla="*/ 376229 w 1609516"/>
              <a:gd name="csY647" fmla="*/ 1403427 h 1538630"/>
              <a:gd name="csX648" fmla="*/ 379491 w 1609516"/>
              <a:gd name="csY648" fmla="*/ 1404408 h 1538630"/>
              <a:gd name="csX649" fmla="*/ 379710 w 1609516"/>
              <a:gd name="csY649" fmla="*/ 1404210 h 1538630"/>
              <a:gd name="csX650" fmla="*/ 380882 w 1609516"/>
              <a:gd name="csY650" fmla="*/ 1401568 h 1538630"/>
              <a:gd name="csX651" fmla="*/ 392207 w 1609516"/>
              <a:gd name="csY651" fmla="*/ 1392936 h 1538630"/>
              <a:gd name="csX652" fmla="*/ 399542 w 1609516"/>
              <a:gd name="csY652" fmla="*/ 1386774 h 1538630"/>
              <a:gd name="csX653" fmla="*/ 405485 w 1609516"/>
              <a:gd name="csY653" fmla="*/ 1378917 h 1538630"/>
              <a:gd name="csX654" fmla="*/ 412008 w 1609516"/>
              <a:gd name="csY654" fmla="*/ 1369481 h 1538630"/>
              <a:gd name="csX655" fmla="*/ 421130 w 1609516"/>
              <a:gd name="csY655" fmla="*/ 1357057 h 1538630"/>
              <a:gd name="csX656" fmla="*/ 424676 w 1609516"/>
              <a:gd name="csY656" fmla="*/ 1348443 h 1538630"/>
              <a:gd name="csX657" fmla="*/ 427275 w 1609516"/>
              <a:gd name="csY657" fmla="*/ 1348443 h 1538630"/>
              <a:gd name="csX658" fmla="*/ 428135 w 1609516"/>
              <a:gd name="csY658" fmla="*/ 1345727 h 1538630"/>
              <a:gd name="csX659" fmla="*/ 432822 w 1609516"/>
              <a:gd name="csY659" fmla="*/ 1335158 h 1538630"/>
              <a:gd name="csX660" fmla="*/ 435946 w 1609516"/>
              <a:gd name="csY660" fmla="*/ 1335158 h 1538630"/>
              <a:gd name="csX661" fmla="*/ 437704 w 1609516"/>
              <a:gd name="csY661" fmla="*/ 1329786 h 1538630"/>
              <a:gd name="csX662" fmla="*/ 447394 w 1609516"/>
              <a:gd name="csY662" fmla="*/ 1311196 h 1538630"/>
              <a:gd name="csX663" fmla="*/ 469287 w 1609516"/>
              <a:gd name="csY663" fmla="*/ 1265964 h 1538630"/>
              <a:gd name="csX664" fmla="*/ 478178 w 1609516"/>
              <a:gd name="csY664" fmla="*/ 1246787 h 1538630"/>
              <a:gd name="csX665" fmla="*/ 480179 w 1609516"/>
              <a:gd name="csY665" fmla="*/ 1225768 h 1538630"/>
              <a:gd name="csX666" fmla="*/ 480250 w 1609516"/>
              <a:gd name="csY666" fmla="*/ 1217149 h 1538630"/>
              <a:gd name="csX667" fmla="*/ 462972 w 1609516"/>
              <a:gd name="csY667" fmla="*/ 1174827 h 1538630"/>
              <a:gd name="csX668" fmla="*/ 457468 w 1609516"/>
              <a:gd name="csY668" fmla="*/ 1169949 h 1538630"/>
              <a:gd name="csX669" fmla="*/ 440657 w 1609516"/>
              <a:gd name="csY669" fmla="*/ 1152570 h 1538630"/>
              <a:gd name="csX670" fmla="*/ 403142 w 1609516"/>
              <a:gd name="csY670" fmla="*/ 1122366 h 1538630"/>
              <a:gd name="csX671" fmla="*/ 401579 w 1609516"/>
              <a:gd name="csY671" fmla="*/ 1119547 h 1538630"/>
              <a:gd name="csX672" fmla="*/ 364564 w 1609516"/>
              <a:gd name="csY672" fmla="*/ 1118209 h 1538630"/>
              <a:gd name="csX673" fmla="*/ 357822 w 1609516"/>
              <a:gd name="csY673" fmla="*/ 1122041 h 1538630"/>
              <a:gd name="csX674" fmla="*/ 348077 w 1609516"/>
              <a:gd name="csY674" fmla="*/ 1125273 h 1538630"/>
              <a:gd name="csX675" fmla="*/ 334408 w 1609516"/>
              <a:gd name="csY675" fmla="*/ 1132230 h 1538630"/>
              <a:gd name="csX676" fmla="*/ 327964 w 1609516"/>
              <a:gd name="csY676" fmla="*/ 1134080 h 1538630"/>
              <a:gd name="csX677" fmla="*/ 279734 w 1609516"/>
              <a:gd name="csY677" fmla="*/ 1166051 h 1538630"/>
              <a:gd name="csX678" fmla="*/ 276609 w 1609516"/>
              <a:gd name="csY678" fmla="*/ 1173098 h 1538630"/>
              <a:gd name="csX679" fmla="*/ 260988 w 1609516"/>
              <a:gd name="csY679" fmla="*/ 1188599 h 1538630"/>
              <a:gd name="csX680" fmla="*/ 257956 w 1609516"/>
              <a:gd name="csY680" fmla="*/ 1191132 h 1538630"/>
              <a:gd name="csX681" fmla="*/ 243805 w 1609516"/>
              <a:gd name="csY681" fmla="*/ 1196629 h 1538630"/>
              <a:gd name="csX682" fmla="*/ 243805 w 1609516"/>
              <a:gd name="csY682" fmla="*/ 1194236 h 1538630"/>
              <a:gd name="csX683" fmla="*/ 240288 w 1609516"/>
              <a:gd name="csY683" fmla="*/ 1194765 h 1538630"/>
              <a:gd name="csX684" fmla="*/ 243374 w 1609516"/>
              <a:gd name="csY684" fmla="*/ 1194765 h 1538630"/>
              <a:gd name="csX685" fmla="*/ 243374 w 1609516"/>
              <a:gd name="csY685" fmla="*/ 1196797 h 1538630"/>
              <a:gd name="csX686" fmla="*/ 243805 w 1609516"/>
              <a:gd name="csY686" fmla="*/ 1196629 h 1538630"/>
              <a:gd name="csX687" fmla="*/ 243805 w 1609516"/>
              <a:gd name="csY687" fmla="*/ 1197055 h 1538630"/>
              <a:gd name="csX688" fmla="*/ 243374 w 1609516"/>
              <a:gd name="csY688" fmla="*/ 1197055 h 1538630"/>
              <a:gd name="csX689" fmla="*/ 243374 w 1609516"/>
              <a:gd name="csY689" fmla="*/ 1197584 h 1538630"/>
              <a:gd name="csX690" fmla="*/ 241319 w 1609516"/>
              <a:gd name="csY690" fmla="*/ 1197595 h 1538630"/>
              <a:gd name="csX691" fmla="*/ 238009 w 1609516"/>
              <a:gd name="csY691" fmla="*/ 1198881 h 1538630"/>
              <a:gd name="csX692" fmla="*/ 215687 w 1609516"/>
              <a:gd name="csY692" fmla="*/ 1198464 h 1538630"/>
              <a:gd name="csX693" fmla="*/ 215687 w 1609516"/>
              <a:gd name="csY693" fmla="*/ 1197734 h 1538630"/>
              <a:gd name="csX694" fmla="*/ 213936 w 1609516"/>
              <a:gd name="csY694" fmla="*/ 1197744 h 1538630"/>
              <a:gd name="csX695" fmla="*/ 207446 w 1609516"/>
              <a:gd name="csY695" fmla="*/ 1196175 h 1538630"/>
              <a:gd name="csX696" fmla="*/ 207822 w 1609516"/>
              <a:gd name="csY696" fmla="*/ 1195610 h 1538630"/>
              <a:gd name="csX697" fmla="*/ 184737 w 1609516"/>
              <a:gd name="csY697" fmla="*/ 1180936 h 1538630"/>
              <a:gd name="csX698" fmla="*/ 179270 w 1609516"/>
              <a:gd name="csY698" fmla="*/ 1154866 h 1538630"/>
              <a:gd name="csX699" fmla="*/ 179194 w 1609516"/>
              <a:gd name="csY699" fmla="*/ 1151621 h 1538630"/>
              <a:gd name="csX700" fmla="*/ 193195 w 1609516"/>
              <a:gd name="csY700" fmla="*/ 1120065 h 1538630"/>
              <a:gd name="csX701" fmla="*/ 229551 w 1609516"/>
              <a:gd name="csY701" fmla="*/ 1110299 h 1538630"/>
              <a:gd name="csX702" fmla="*/ 260988 w 1609516"/>
              <a:gd name="csY702" fmla="*/ 1108274 h 1538630"/>
              <a:gd name="csX703" fmla="*/ 260988 w 1609516"/>
              <a:gd name="csY703" fmla="*/ 1105455 h 1538630"/>
              <a:gd name="csX704" fmla="*/ 263911 w 1609516"/>
              <a:gd name="csY704" fmla="*/ 1104310 h 1538630"/>
              <a:gd name="csX705" fmla="*/ 286995 w 1609516"/>
              <a:gd name="csY705" fmla="*/ 1090185 h 1538630"/>
              <a:gd name="csX706" fmla="*/ 299358 w 1609516"/>
              <a:gd name="csY706" fmla="*/ 1080970 h 1538630"/>
              <a:gd name="csX707" fmla="*/ 317762 w 1609516"/>
              <a:gd name="csY707" fmla="*/ 1063272 h 1538630"/>
              <a:gd name="csX708" fmla="*/ 325035 w 1609516"/>
              <a:gd name="csY708" fmla="*/ 1057542 h 1538630"/>
              <a:gd name="csX709" fmla="*/ 325328 w 1609516"/>
              <a:gd name="csY709" fmla="*/ 1023104 h 1538630"/>
              <a:gd name="csX710" fmla="*/ 324544 w 1609516"/>
              <a:gd name="csY710" fmla="*/ 1019247 h 1538630"/>
              <a:gd name="csX711" fmla="*/ 317225 w 1609516"/>
              <a:gd name="csY711" fmla="*/ 996945 h 1538630"/>
              <a:gd name="csX712" fmla="*/ 315388 w 1609516"/>
              <a:gd name="csY712" fmla="*/ 992690 h 1538630"/>
              <a:gd name="csX713" fmla="*/ 276232 w 1609516"/>
              <a:gd name="csY713" fmla="*/ 950666 h 1538630"/>
              <a:gd name="csX714" fmla="*/ 271923 w 1609516"/>
              <a:gd name="csY714" fmla="*/ 949031 h 1538630"/>
              <a:gd name="csX715" fmla="*/ 268299 w 1609516"/>
              <a:gd name="csY715" fmla="*/ 947441 h 1538630"/>
              <a:gd name="csX716" fmla="*/ 199187 w 1609516"/>
              <a:gd name="csY716" fmla="*/ 938991 h 1538630"/>
              <a:gd name="csX717" fmla="*/ 193719 w 1609516"/>
              <a:gd name="csY717" fmla="*/ 938971 h 1538630"/>
              <a:gd name="csX718" fmla="*/ 188539 w 1609516"/>
              <a:gd name="csY718" fmla="*/ 938980 h 1538630"/>
              <a:gd name="csX719" fmla="*/ 183874 w 1609516"/>
              <a:gd name="csY719" fmla="*/ 938985 h 1538630"/>
              <a:gd name="csX720" fmla="*/ 173509 w 1609516"/>
              <a:gd name="csY720" fmla="*/ 940576 h 1538630"/>
              <a:gd name="csX721" fmla="*/ 161403 w 1609516"/>
              <a:gd name="csY721" fmla="*/ 940664 h 1538630"/>
              <a:gd name="csX722" fmla="*/ 158102 w 1609516"/>
              <a:gd name="csY722" fmla="*/ 940645 h 1538630"/>
              <a:gd name="csX723" fmla="*/ 150875 w 1609516"/>
              <a:gd name="csY723" fmla="*/ 940583 h 1538630"/>
              <a:gd name="csX724" fmla="*/ 148425 w 1609516"/>
              <a:gd name="csY724" fmla="*/ 940717 h 1538630"/>
              <a:gd name="csX725" fmla="*/ 149617 w 1609516"/>
              <a:gd name="csY725" fmla="*/ 940995 h 1538630"/>
              <a:gd name="csX726" fmla="*/ 149617 w 1609516"/>
              <a:gd name="csY726" fmla="*/ 942404 h 1538630"/>
              <a:gd name="csX727" fmla="*/ 146627 w 1609516"/>
              <a:gd name="csY727" fmla="*/ 942871 h 1538630"/>
              <a:gd name="csX728" fmla="*/ 110564 w 1609516"/>
              <a:gd name="csY728" fmla="*/ 949449 h 1538630"/>
              <a:gd name="csX729" fmla="*/ 111283 w 1609516"/>
              <a:gd name="csY729" fmla="*/ 946205 h 1538630"/>
              <a:gd name="csX730" fmla="*/ 101652 w 1609516"/>
              <a:gd name="csY730" fmla="*/ 956078 h 1538630"/>
              <a:gd name="csX731" fmla="*/ 98052 w 1609516"/>
              <a:gd name="csY731" fmla="*/ 958467 h 1538630"/>
              <a:gd name="csX732" fmla="*/ 67286 w 1609516"/>
              <a:gd name="csY732" fmla="*/ 972989 h 1538630"/>
              <a:gd name="csX733" fmla="*/ 67286 w 1609516"/>
              <a:gd name="csY733" fmla="*/ 975807 h 1538630"/>
              <a:gd name="csX734" fmla="*/ 31942 w 1609516"/>
              <a:gd name="csY734" fmla="*/ 976423 h 1538630"/>
              <a:gd name="csX735" fmla="*/ 5673 w 1609516"/>
              <a:gd name="csY735" fmla="*/ 953419 h 1538630"/>
              <a:gd name="csX736" fmla="*/ 4801 w 1609516"/>
              <a:gd name="csY736" fmla="*/ 944804 h 1538630"/>
              <a:gd name="csX737" fmla="*/ 1676 w 1609516"/>
              <a:gd name="csY737" fmla="*/ 944804 h 1538630"/>
              <a:gd name="csX738" fmla="*/ 17 w 1609516"/>
              <a:gd name="csY738" fmla="*/ 931857 h 1538630"/>
              <a:gd name="csX739" fmla="*/ 59 w 1609516"/>
              <a:gd name="csY739" fmla="*/ 927216 h 1538630"/>
              <a:gd name="csX740" fmla="*/ 115 w 1609516"/>
              <a:gd name="csY740" fmla="*/ 923666 h 1538630"/>
              <a:gd name="csX741" fmla="*/ 3238 w 1609516"/>
              <a:gd name="csY741" fmla="*/ 923666 h 1538630"/>
              <a:gd name="csX742" fmla="*/ 3238 w 1609516"/>
              <a:gd name="csY742" fmla="*/ 918029 h 1538630"/>
              <a:gd name="csX743" fmla="*/ 6363 w 1609516"/>
              <a:gd name="csY743" fmla="*/ 918029 h 1538630"/>
              <a:gd name="csX744" fmla="*/ 6656 w 1609516"/>
              <a:gd name="csY744" fmla="*/ 912832 h 1538630"/>
              <a:gd name="csX745" fmla="*/ 15736 w 1609516"/>
              <a:gd name="csY745" fmla="*/ 899709 h 1538630"/>
              <a:gd name="csX746" fmla="*/ 17243 w 1609516"/>
              <a:gd name="csY746" fmla="*/ 898894 h 1538630"/>
              <a:gd name="csX747" fmla="*/ 16800 w 1609516"/>
              <a:gd name="csY747" fmla="*/ 898694 h 1538630"/>
              <a:gd name="csX748" fmla="*/ 24988 w 1609516"/>
              <a:gd name="csY748" fmla="*/ 894101 h 1538630"/>
              <a:gd name="csX749" fmla="*/ 26768 w 1609516"/>
              <a:gd name="csY749" fmla="*/ 892399 h 1538630"/>
              <a:gd name="csX750" fmla="*/ 30198 w 1609516"/>
              <a:gd name="csY750" fmla="*/ 890164 h 1538630"/>
              <a:gd name="csX751" fmla="*/ 32204 w 1609516"/>
              <a:gd name="csY751" fmla="*/ 890054 h 1538630"/>
              <a:gd name="csX752" fmla="*/ 38914 w 1609516"/>
              <a:gd name="csY752" fmla="*/ 886291 h 1538630"/>
              <a:gd name="csX753" fmla="*/ 63664 w 1609516"/>
              <a:gd name="csY753" fmla="*/ 886011 h 1538630"/>
              <a:gd name="csX754" fmla="*/ 63664 w 1609516"/>
              <a:gd name="csY754" fmla="*/ 886531 h 1538630"/>
              <a:gd name="csX755" fmla="*/ 70784 w 1609516"/>
              <a:gd name="csY755" fmla="*/ 886647 h 1538630"/>
              <a:gd name="csX756" fmla="*/ 82126 w 1609516"/>
              <a:gd name="csY756" fmla="*/ 889845 h 1538630"/>
              <a:gd name="csX757" fmla="*/ 114149 w 1609516"/>
              <a:gd name="csY757" fmla="*/ 892663 h 1538630"/>
              <a:gd name="csX758" fmla="*/ 118836 w 1609516"/>
              <a:gd name="csY758" fmla="*/ 889845 h 1538630"/>
              <a:gd name="csX759" fmla="*/ 131626 w 1609516"/>
              <a:gd name="csY759" fmla="*/ 887114 h 1538630"/>
              <a:gd name="csX760" fmla="*/ 155116 w 1609516"/>
              <a:gd name="csY760" fmla="*/ 880913 h 1538630"/>
              <a:gd name="csX761" fmla="*/ 165406 w 1609516"/>
              <a:gd name="csY761" fmla="*/ 878483 h 1538630"/>
              <a:gd name="csX762" fmla="*/ 176634 w 1609516"/>
              <a:gd name="csY762" fmla="*/ 874343 h 1538630"/>
              <a:gd name="csX763" fmla="*/ 186397 w 1609516"/>
              <a:gd name="csY763" fmla="*/ 871524 h 1538630"/>
              <a:gd name="csX764" fmla="*/ 191871 w 1609516"/>
              <a:gd name="csY764" fmla="*/ 870033 h 1538630"/>
              <a:gd name="csX765" fmla="*/ 203483 w 1609516"/>
              <a:gd name="csY765" fmla="*/ 867208 h 1538630"/>
              <a:gd name="csX766" fmla="*/ 211001 w 1609516"/>
              <a:gd name="csY766" fmla="*/ 861660 h 1538630"/>
              <a:gd name="csX767" fmla="*/ 218031 w 1609516"/>
              <a:gd name="csY767" fmla="*/ 858577 h 1538630"/>
              <a:gd name="csX768" fmla="*/ 254740 w 1609516"/>
              <a:gd name="csY768" fmla="*/ 825020 h 1538630"/>
              <a:gd name="csX769" fmla="*/ 257864 w 1609516"/>
              <a:gd name="csY769" fmla="*/ 820792 h 1538630"/>
              <a:gd name="csX770" fmla="*/ 258318 w 1609516"/>
              <a:gd name="csY770" fmla="*/ 813810 h 1538630"/>
              <a:gd name="csX771" fmla="*/ 258378 w 1609516"/>
              <a:gd name="csY771" fmla="*/ 809502 h 1538630"/>
              <a:gd name="csX772" fmla="*/ 258389 w 1609516"/>
              <a:gd name="csY772" fmla="*/ 804845 h 1538630"/>
              <a:gd name="csX773" fmla="*/ 258420 w 1609516"/>
              <a:gd name="csY773" fmla="*/ 800036 h 1538630"/>
              <a:gd name="csX774" fmla="*/ 258443 w 1609516"/>
              <a:gd name="csY774" fmla="*/ 789939 h 1538630"/>
              <a:gd name="csX775" fmla="*/ 258566 w 1609516"/>
              <a:gd name="csY775" fmla="*/ 774594 h 1538630"/>
              <a:gd name="csX776" fmla="*/ 258584 w 1609516"/>
              <a:gd name="csY776" fmla="*/ 764771 h 1538630"/>
              <a:gd name="csX777" fmla="*/ 258652 w 1609516"/>
              <a:gd name="csY777" fmla="*/ 760174 h 1538630"/>
              <a:gd name="csX778" fmla="*/ 251616 w 1609516"/>
              <a:gd name="csY778" fmla="*/ 733421 h 1538630"/>
              <a:gd name="csX779" fmla="*/ 247613 w 1609516"/>
              <a:gd name="csY779" fmla="*/ 721883 h 1538630"/>
              <a:gd name="csX780" fmla="*/ 241291 w 1609516"/>
              <a:gd name="csY780" fmla="*/ 705644 h 1538630"/>
              <a:gd name="csX781" fmla="*/ 237557 w 1609516"/>
              <a:gd name="csY781" fmla="*/ 689735 h 1538630"/>
              <a:gd name="csX782" fmla="*/ 248492 w 1609516"/>
              <a:gd name="csY782" fmla="*/ 685507 h 1538630"/>
              <a:gd name="csX783" fmla="*/ 248492 w 1609516"/>
              <a:gd name="csY783" fmla="*/ 681279 h 1538630"/>
              <a:gd name="csX784" fmla="*/ 240681 w 1609516"/>
              <a:gd name="csY784" fmla="*/ 679870 h 1538630"/>
              <a:gd name="csX785" fmla="*/ 240681 w 1609516"/>
              <a:gd name="csY785" fmla="*/ 677052 h 1538630"/>
              <a:gd name="csX786" fmla="*/ 238094 w 1609516"/>
              <a:gd name="csY786" fmla="*/ 676645 h 1538630"/>
              <a:gd name="csX787" fmla="*/ 225841 w 1609516"/>
              <a:gd name="csY787" fmla="*/ 670886 h 1538630"/>
              <a:gd name="csX788" fmla="*/ 201531 w 1609516"/>
              <a:gd name="csY788" fmla="*/ 662508 h 1538630"/>
              <a:gd name="csX789" fmla="*/ 188252 w 1609516"/>
              <a:gd name="csY789" fmla="*/ 658644 h 1538630"/>
              <a:gd name="csX790" fmla="*/ 182431 w 1609516"/>
              <a:gd name="csY790" fmla="*/ 657327 h 1538630"/>
              <a:gd name="csX791" fmla="*/ 182431 w 1609516"/>
              <a:gd name="csY791" fmla="*/ 657613 h 1538630"/>
              <a:gd name="csX792" fmla="*/ 146503 w 1609516"/>
              <a:gd name="csY792" fmla="*/ 656204 h 1538630"/>
              <a:gd name="csX793" fmla="*/ 146503 w 1609516"/>
              <a:gd name="csY793" fmla="*/ 659022 h 1538630"/>
              <a:gd name="csX794" fmla="*/ 110378 w 1609516"/>
              <a:gd name="csY794" fmla="*/ 663778 h 1538630"/>
              <a:gd name="csX795" fmla="*/ 106453 w 1609516"/>
              <a:gd name="csY795" fmla="*/ 663836 h 1538630"/>
              <a:gd name="csX796" fmla="*/ 102751 w 1609516"/>
              <a:gd name="csY796" fmla="*/ 663811 h 1538630"/>
              <a:gd name="csX797" fmla="*/ 99449 w 1609516"/>
              <a:gd name="csY797" fmla="*/ 663797 h 1538630"/>
              <a:gd name="csX798" fmla="*/ 91828 w 1609516"/>
              <a:gd name="csY798" fmla="*/ 659022 h 1538630"/>
              <a:gd name="csX799" fmla="*/ 98077 w 1609516"/>
              <a:gd name="csY799" fmla="*/ 659022 h 1538630"/>
              <a:gd name="csX800" fmla="*/ 98077 w 1609516"/>
              <a:gd name="csY800" fmla="*/ 661841 h 1538630"/>
              <a:gd name="csX801" fmla="*/ 119023 w 1609516"/>
              <a:gd name="csY801" fmla="*/ 661357 h 1538630"/>
              <a:gd name="csX802" fmla="*/ 119536 w 1609516"/>
              <a:gd name="csY802" fmla="*/ 661197 h 1538630"/>
              <a:gd name="csX803" fmla="*/ 109853 w 1609516"/>
              <a:gd name="csY803" fmla="*/ 661639 h 1538630"/>
              <a:gd name="csX804" fmla="*/ 106552 w 1609516"/>
              <a:gd name="csY804" fmla="*/ 661619 h 1538630"/>
              <a:gd name="csX805" fmla="*/ 98528 w 1609516"/>
              <a:gd name="csY805" fmla="*/ 661550 h 1538630"/>
              <a:gd name="csX806" fmla="*/ 98528 w 1609516"/>
              <a:gd name="csY806" fmla="*/ 658732 h 1538630"/>
              <a:gd name="csX807" fmla="*/ 89155 w 1609516"/>
              <a:gd name="csY807" fmla="*/ 657323 h 1538630"/>
              <a:gd name="csX808" fmla="*/ 89155 w 1609516"/>
              <a:gd name="csY808" fmla="*/ 654504 h 1538630"/>
              <a:gd name="csX809" fmla="*/ 86397 w 1609516"/>
              <a:gd name="csY809" fmla="*/ 653442 h 1538630"/>
              <a:gd name="csX810" fmla="*/ 77049 w 1609516"/>
              <a:gd name="csY810" fmla="*/ 646137 h 1538630"/>
              <a:gd name="csX811" fmla="*/ 74145 w 1609516"/>
              <a:gd name="csY811" fmla="*/ 643192 h 1538630"/>
              <a:gd name="csX812" fmla="*/ 71972 w 1609516"/>
              <a:gd name="csY812" fmla="*/ 636185 h 1538630"/>
              <a:gd name="csX813" fmla="*/ 68848 w 1609516"/>
              <a:gd name="csY813" fmla="*/ 636185 h 1538630"/>
              <a:gd name="csX814" fmla="*/ 70410 w 1609516"/>
              <a:gd name="csY814" fmla="*/ 595317 h 1538630"/>
              <a:gd name="csX815" fmla="*/ 79782 w 1609516"/>
              <a:gd name="csY815" fmla="*/ 584043 h 1538630"/>
              <a:gd name="csX816" fmla="*/ 82656 w 1609516"/>
              <a:gd name="csY816" fmla="*/ 581115 h 1538630"/>
              <a:gd name="csX817" fmla="*/ 116694 w 1609516"/>
              <a:gd name="csY817" fmla="*/ 572323 h 1538630"/>
              <a:gd name="csX818" fmla="*/ 152031 w 1609516"/>
              <a:gd name="csY818" fmla="*/ 590385 h 1538630"/>
              <a:gd name="csX819" fmla="*/ 191474 w 1609516"/>
              <a:gd name="csY819" fmla="*/ 605886 h 1538630"/>
              <a:gd name="csX820" fmla="*/ 206314 w 1609516"/>
              <a:gd name="csY820" fmla="*/ 608000 h 1538630"/>
              <a:gd name="csX821" fmla="*/ 206314 w 1609516"/>
              <a:gd name="csY821" fmla="*/ 610818 h 1538630"/>
              <a:gd name="csX822" fmla="*/ 234433 w 1609516"/>
              <a:gd name="csY822" fmla="*/ 610818 h 1538630"/>
              <a:gd name="csX823" fmla="*/ 239522 w 1609516"/>
              <a:gd name="csY823" fmla="*/ 610802 h 1538630"/>
              <a:gd name="csX824" fmla="*/ 268799 w 1609516"/>
              <a:gd name="csY824" fmla="*/ 600954 h 1538630"/>
              <a:gd name="csX825" fmla="*/ 271740 w 1609516"/>
              <a:gd name="csY825" fmla="*/ 599325 h 1538630"/>
              <a:gd name="csX826" fmla="*/ 284420 w 1609516"/>
              <a:gd name="csY826" fmla="*/ 579816 h 1538630"/>
              <a:gd name="csX827" fmla="*/ 289399 w 1609516"/>
              <a:gd name="csY827" fmla="*/ 568630 h 1538630"/>
              <a:gd name="csX828" fmla="*/ 293958 w 1609516"/>
              <a:gd name="csY828" fmla="*/ 535838 h 1538630"/>
              <a:gd name="csX829" fmla="*/ 289107 w 1609516"/>
              <a:gd name="csY829" fmla="*/ 529084 h 1538630"/>
              <a:gd name="csX830" fmla="*/ 289107 w 1609516"/>
              <a:gd name="csY830" fmla="*/ 526265 h 1538630"/>
              <a:gd name="csX831" fmla="*/ 284420 w 1609516"/>
              <a:gd name="csY831" fmla="*/ 524856 h 1538630"/>
              <a:gd name="csX832" fmla="*/ 282858 w 1609516"/>
              <a:gd name="csY832" fmla="*/ 520628 h 1538630"/>
              <a:gd name="csX833" fmla="*/ 277977 w 1609516"/>
              <a:gd name="csY833" fmla="*/ 516577 h 1538630"/>
              <a:gd name="csX834" fmla="*/ 264925 w 1609516"/>
              <a:gd name="csY834" fmla="*/ 506443 h 1538630"/>
              <a:gd name="csX835" fmla="*/ 229746 w 1609516"/>
              <a:gd name="csY835" fmla="*/ 481170 h 1538630"/>
              <a:gd name="csX836" fmla="*/ 221057 w 1609516"/>
              <a:gd name="csY836" fmla="*/ 475445 h 1538630"/>
              <a:gd name="csX837" fmla="*/ 212563 w 1609516"/>
              <a:gd name="csY837" fmla="*/ 469896 h 1538630"/>
              <a:gd name="csX838" fmla="*/ 208889 w 1609516"/>
              <a:gd name="csY838" fmla="*/ 467491 h 1538630"/>
              <a:gd name="csX839" fmla="*/ 190406 w 1609516"/>
              <a:gd name="csY839" fmla="*/ 456382 h 1538630"/>
              <a:gd name="csX840" fmla="*/ 186942 w 1609516"/>
              <a:gd name="csY840" fmla="*/ 454460 h 1538630"/>
              <a:gd name="csX841" fmla="*/ 180041 w 1609516"/>
              <a:gd name="csY841" fmla="*/ 450696 h 1538630"/>
              <a:gd name="csX842" fmla="*/ 171948 w 1609516"/>
              <a:gd name="csY842" fmla="*/ 445940 h 1538630"/>
              <a:gd name="csX843" fmla="*/ 171948 w 1609516"/>
              <a:gd name="csY843" fmla="*/ 443121 h 1538630"/>
              <a:gd name="csX844" fmla="*/ 168482 w 1609516"/>
              <a:gd name="csY844" fmla="*/ 442708 h 1538630"/>
              <a:gd name="csX845" fmla="*/ 157107 w 1609516"/>
              <a:gd name="csY845" fmla="*/ 437044 h 1538630"/>
              <a:gd name="csX846" fmla="*/ 132559 w 1609516"/>
              <a:gd name="csY846" fmla="*/ 427510 h 1538630"/>
              <a:gd name="csX847" fmla="*/ 123522 w 1609516"/>
              <a:gd name="csY847" fmla="*/ 421983 h 1538630"/>
              <a:gd name="csX848" fmla="*/ 107986 w 1609516"/>
              <a:gd name="csY848" fmla="*/ 418730 h 1538630"/>
              <a:gd name="csX849" fmla="*/ 102494 w 1609516"/>
              <a:gd name="csY849" fmla="*/ 418622 h 1538630"/>
              <a:gd name="csX850" fmla="*/ 91157 w 1609516"/>
              <a:gd name="csY850" fmla="*/ 418490 h 1538630"/>
              <a:gd name="csX851" fmla="*/ 55277 w 1609516"/>
              <a:gd name="csY851" fmla="*/ 410445 h 1538630"/>
              <a:gd name="csX852" fmla="*/ 51665 w 1609516"/>
              <a:gd name="csY852" fmla="*/ 406481 h 1538630"/>
              <a:gd name="csX853" fmla="*/ 45904 w 1609516"/>
              <a:gd name="csY853" fmla="*/ 400492 h 1538630"/>
              <a:gd name="csX854" fmla="*/ 43152 w 1609516"/>
              <a:gd name="csY854" fmla="*/ 397564 h 1538630"/>
              <a:gd name="csX855" fmla="*/ 37605 w 1609516"/>
              <a:gd name="csY855" fmla="*/ 393798 h 1538630"/>
              <a:gd name="csX856" fmla="*/ 38995 w 1609516"/>
              <a:gd name="csY856" fmla="*/ 368712 h 1538630"/>
              <a:gd name="csX857" fmla="*/ 38666 w 1609516"/>
              <a:gd name="csY857" fmla="*/ 369724 h 1538630"/>
              <a:gd name="csX858" fmla="*/ 35542 w 1609516"/>
              <a:gd name="csY858" fmla="*/ 384081 h 1538630"/>
              <a:gd name="csX859" fmla="*/ 33326 w 1609516"/>
              <a:gd name="csY859" fmla="*/ 357791 h 1538630"/>
              <a:gd name="csX860" fmla="*/ 52725 w 1609516"/>
              <a:gd name="csY860" fmla="*/ 333349 h 1538630"/>
              <a:gd name="csX861" fmla="*/ 55222 w 1609516"/>
              <a:gd name="csY861" fmla="*/ 334475 h 1538630"/>
              <a:gd name="csX862" fmla="*/ 56222 w 1609516"/>
              <a:gd name="csY862" fmla="*/ 333347 h 1538630"/>
              <a:gd name="csX863" fmla="*/ 55871 w 1609516"/>
              <a:gd name="csY863" fmla="*/ 333347 h 1538630"/>
              <a:gd name="csX864" fmla="*/ 56346 w 1609516"/>
              <a:gd name="csY864" fmla="*/ 333207 h 1538630"/>
              <a:gd name="csX865" fmla="*/ 56351 w 1609516"/>
              <a:gd name="csY865" fmla="*/ 333202 h 1538630"/>
              <a:gd name="csX866" fmla="*/ 56365 w 1609516"/>
              <a:gd name="csY866" fmla="*/ 333202 h 1538630"/>
              <a:gd name="csX867" fmla="*/ 79571 w 1609516"/>
              <a:gd name="csY867" fmla="*/ 326360 h 1538630"/>
              <a:gd name="csX868" fmla="*/ 104297 w 1609516"/>
              <a:gd name="csY868" fmla="*/ 330529 h 1538630"/>
              <a:gd name="csX869" fmla="*/ 107170 w 1609516"/>
              <a:gd name="csY869" fmla="*/ 334417 h 1538630"/>
              <a:gd name="csX870" fmla="*/ 109366 w 1609516"/>
              <a:gd name="csY870" fmla="*/ 336046 h 1538630"/>
              <a:gd name="csX871" fmla="*/ 109463 w 1609516"/>
              <a:gd name="csY871" fmla="*/ 336020 h 1538630"/>
              <a:gd name="csX872" fmla="*/ 109463 w 1609516"/>
              <a:gd name="csY872" fmla="*/ 336118 h 1538630"/>
              <a:gd name="csX873" fmla="*/ 115226 w 1609516"/>
              <a:gd name="csY873" fmla="*/ 340394 h 1538630"/>
              <a:gd name="csX874" fmla="*/ 114010 w 1609516"/>
              <a:gd name="csY874" fmla="*/ 340120 h 1538630"/>
              <a:gd name="csX875" fmla="*/ 133285 w 1609516"/>
              <a:gd name="csY875" fmla="*/ 357423 h 1538630"/>
              <a:gd name="csX876" fmla="*/ 173509 w 1609516"/>
              <a:gd name="csY876" fmla="*/ 389571 h 1538630"/>
              <a:gd name="csX877" fmla="*/ 181711 w 1609516"/>
              <a:gd name="csY877" fmla="*/ 393270 h 1538630"/>
              <a:gd name="csX878" fmla="*/ 185507 w 1609516"/>
              <a:gd name="csY878" fmla="*/ 394976 h 1538630"/>
              <a:gd name="csX879" fmla="*/ 192658 w 1609516"/>
              <a:gd name="csY879" fmla="*/ 398257 h 1538630"/>
              <a:gd name="csX880" fmla="*/ 195966 w 1609516"/>
              <a:gd name="csY880" fmla="*/ 399788 h 1538630"/>
              <a:gd name="csX881" fmla="*/ 198833 w 1609516"/>
              <a:gd name="csY881" fmla="*/ 401131 h 1538630"/>
              <a:gd name="csX882" fmla="*/ 207877 w 1609516"/>
              <a:gd name="csY882" fmla="*/ 403663 h 1538630"/>
              <a:gd name="csX883" fmla="*/ 207877 w 1609516"/>
              <a:gd name="csY883" fmla="*/ 406481 h 1538630"/>
              <a:gd name="csX884" fmla="*/ 248492 w 1609516"/>
              <a:gd name="csY884" fmla="*/ 419428 h 1538630"/>
              <a:gd name="csX885" fmla="*/ 253965 w 1609516"/>
              <a:gd name="csY885" fmla="*/ 421000 h 1538630"/>
              <a:gd name="csX886" fmla="*/ 267237 w 1609516"/>
              <a:gd name="csY886" fmla="*/ 424801 h 1538630"/>
              <a:gd name="csX887" fmla="*/ 267237 w 1609516"/>
              <a:gd name="csY887" fmla="*/ 426451 h 1538630"/>
              <a:gd name="csX888" fmla="*/ 288701 w 1609516"/>
              <a:gd name="csY888" fmla="*/ 429217 h 1538630"/>
              <a:gd name="csX889" fmla="*/ 288701 w 1609516"/>
              <a:gd name="csY889" fmla="*/ 432036 h 1538630"/>
              <a:gd name="csX890" fmla="*/ 327010 w 1609516"/>
              <a:gd name="csY890" fmla="*/ 433628 h 1538630"/>
              <a:gd name="csX891" fmla="*/ 337486 w 1609516"/>
              <a:gd name="csY891" fmla="*/ 433637 h 1538630"/>
              <a:gd name="csX892" fmla="*/ 344229 w 1609516"/>
              <a:gd name="csY892" fmla="*/ 433632 h 1538630"/>
              <a:gd name="csX893" fmla="*/ 350323 w 1609516"/>
              <a:gd name="csY893" fmla="*/ 433627 h 1538630"/>
              <a:gd name="csX894" fmla="*/ 365245 w 1609516"/>
              <a:gd name="csY894" fmla="*/ 432036 h 1538630"/>
              <a:gd name="csX895" fmla="*/ 360797 w 1609516"/>
              <a:gd name="csY895" fmla="*/ 433759 h 1538630"/>
              <a:gd name="csX896" fmla="*/ 365650 w 1609516"/>
              <a:gd name="csY896" fmla="*/ 433257 h 1538630"/>
              <a:gd name="csX897" fmla="*/ 367213 w 1609516"/>
              <a:gd name="csY897" fmla="*/ 429029 h 1538630"/>
              <a:gd name="csX898" fmla="*/ 375188 w 1609516"/>
              <a:gd name="csY898" fmla="*/ 424906 h 1538630"/>
              <a:gd name="csX899" fmla="*/ 404704 w 1609516"/>
              <a:gd name="csY899" fmla="*/ 389571 h 1538630"/>
              <a:gd name="csX900" fmla="*/ 406265 w 1609516"/>
              <a:gd name="csY900" fmla="*/ 388161 h 1538630"/>
              <a:gd name="csX901" fmla="*/ 406559 w 1609516"/>
              <a:gd name="csY901" fmla="*/ 370106 h 1538630"/>
              <a:gd name="csX902" fmla="*/ 406617 w 1609516"/>
              <a:gd name="csY902" fmla="*/ 364973 h 1538630"/>
              <a:gd name="csX903" fmla="*/ 406626 w 1609516"/>
              <a:gd name="csY903" fmla="*/ 360038 h 1538630"/>
              <a:gd name="csX904" fmla="*/ 406645 w 1609516"/>
              <a:gd name="csY904" fmla="*/ 355503 h 1538630"/>
              <a:gd name="csX905" fmla="*/ 403142 w 1609516"/>
              <a:gd name="csY905" fmla="*/ 345885 h 1538630"/>
              <a:gd name="csX906" fmla="*/ 401579 w 1609516"/>
              <a:gd name="csY906" fmla="*/ 338663 h 1538630"/>
              <a:gd name="csX907" fmla="*/ 390938 w 1609516"/>
              <a:gd name="csY907" fmla="*/ 315939 h 1538630"/>
              <a:gd name="csX908" fmla="*/ 388976 w 1609516"/>
              <a:gd name="csY908" fmla="*/ 312762 h 1538630"/>
              <a:gd name="csX909" fmla="*/ 377934 w 1609516"/>
              <a:gd name="csY909" fmla="*/ 297817 h 1538630"/>
              <a:gd name="csX910" fmla="*/ 368775 w 1609516"/>
              <a:gd name="csY910" fmla="*/ 282470 h 1538630"/>
              <a:gd name="csX911" fmla="*/ 359890 w 1609516"/>
              <a:gd name="csY911" fmla="*/ 271284 h 1538630"/>
              <a:gd name="csX912" fmla="*/ 357374 w 1609516"/>
              <a:gd name="csY912" fmla="*/ 268288 h 1538630"/>
              <a:gd name="csX913" fmla="*/ 337533 w 1609516"/>
              <a:gd name="csY913" fmla="*/ 248649 h 1538630"/>
              <a:gd name="csX914" fmla="*/ 335214 w 1609516"/>
              <a:gd name="csY914" fmla="*/ 246369 h 1538630"/>
              <a:gd name="csX915" fmla="*/ 327085 w 1609516"/>
              <a:gd name="csY915" fmla="*/ 242571 h 1538630"/>
              <a:gd name="csX916" fmla="*/ 288785 w 1609516"/>
              <a:gd name="csY916" fmla="*/ 207968 h 1538630"/>
              <a:gd name="csX917" fmla="*/ 286373 w 1609516"/>
              <a:gd name="csY917" fmla="*/ 192544 h 1538630"/>
              <a:gd name="csX918" fmla="*/ 286385 w 1609516"/>
              <a:gd name="csY918" fmla="*/ 189190 h 1538630"/>
              <a:gd name="csX919" fmla="*/ 300042 w 1609516"/>
              <a:gd name="csY919" fmla="*/ 164095 h 1538630"/>
              <a:gd name="csX920" fmla="*/ 302757 w 1609516"/>
              <a:gd name="csY920" fmla="*/ 161381 h 1538630"/>
              <a:gd name="csX921" fmla="*/ 338411 w 1609516"/>
              <a:gd name="csY921" fmla="*/ 152293 h 1538630"/>
              <a:gd name="csX922" fmla="*/ 368482 w 1609516"/>
              <a:gd name="csY922" fmla="*/ 161893 h 1538630"/>
              <a:gd name="csX923" fmla="*/ 371899 w 1609516"/>
              <a:gd name="csY923" fmla="*/ 165505 h 1538630"/>
              <a:gd name="csX924" fmla="*/ 375121 w 1609516"/>
              <a:gd name="csY924" fmla="*/ 168587 h 1538630"/>
              <a:gd name="csX925" fmla="*/ 384982 w 1609516"/>
              <a:gd name="csY925" fmla="*/ 193777 h 1538630"/>
              <a:gd name="csX926" fmla="*/ 390352 w 1609516"/>
              <a:gd name="csY926" fmla="*/ 214563 h 1538630"/>
              <a:gd name="csX927" fmla="*/ 391529 w 1609516"/>
              <a:gd name="csY927" fmla="*/ 217626 h 1538630"/>
              <a:gd name="csX928" fmla="*/ 401579 w 1609516"/>
              <a:gd name="csY928" fmla="*/ 234556 h 1538630"/>
              <a:gd name="csX929" fmla="*/ 401579 w 1609516"/>
              <a:gd name="csY929" fmla="*/ 238784 h 1538630"/>
              <a:gd name="csX930" fmla="*/ 404215 w 1609516"/>
              <a:gd name="csY930" fmla="*/ 239753 h 1538630"/>
              <a:gd name="csX931" fmla="*/ 417811 w 1609516"/>
              <a:gd name="csY931" fmla="*/ 251996 h 1538630"/>
              <a:gd name="csX932" fmla="*/ 426866 w 1609516"/>
              <a:gd name="csY932" fmla="*/ 262300 h 1538630"/>
              <a:gd name="csX933" fmla="*/ 450097 w 1609516"/>
              <a:gd name="csY933" fmla="*/ 287628 h 1538630"/>
              <a:gd name="csX934" fmla="*/ 457425 w 1609516"/>
              <a:gd name="csY934" fmla="*/ 293920 h 1538630"/>
              <a:gd name="csX935" fmla="*/ 460940 w 1609516"/>
              <a:gd name="csY935" fmla="*/ 296562 h 1538630"/>
              <a:gd name="csX936" fmla="*/ 460940 w 1609516"/>
              <a:gd name="csY936" fmla="*/ 300790 h 1538630"/>
              <a:gd name="csX937" fmla="*/ 473437 w 1609516"/>
              <a:gd name="csY937" fmla="*/ 305018 h 1538630"/>
              <a:gd name="csX938" fmla="*/ 473437 w 1609516"/>
              <a:gd name="csY938" fmla="*/ 307836 h 1538630"/>
              <a:gd name="csX939" fmla="*/ 479881 w 1609516"/>
              <a:gd name="csY939" fmla="*/ 309862 h 1538630"/>
              <a:gd name="csX940" fmla="*/ 483505 w 1609516"/>
              <a:gd name="csY940" fmla="*/ 311001 h 1538630"/>
              <a:gd name="csX941" fmla="*/ 548419 w 1609516"/>
              <a:gd name="csY941" fmla="*/ 306427 h 1538630"/>
              <a:gd name="csX942" fmla="*/ 551842 w 1609516"/>
              <a:gd name="csY942" fmla="*/ 305127 h 1538630"/>
              <a:gd name="csX943" fmla="*/ 560232 w 1609516"/>
              <a:gd name="csY943" fmla="*/ 298148 h 1538630"/>
              <a:gd name="csX944" fmla="*/ 562972 w 1609516"/>
              <a:gd name="csY944" fmla="*/ 295252 h 1538630"/>
              <a:gd name="csX945" fmla="*/ 568086 w 1609516"/>
              <a:gd name="csY945" fmla="*/ 289152 h 1538630"/>
              <a:gd name="csX946" fmla="*/ 570289 w 1609516"/>
              <a:gd name="csY946" fmla="*/ 286697 h 1538630"/>
              <a:gd name="csX947" fmla="*/ 573413 w 1609516"/>
              <a:gd name="csY947" fmla="*/ 286697 h 1538630"/>
              <a:gd name="csX948" fmla="*/ 577220 w 1609516"/>
              <a:gd name="csY948" fmla="*/ 257016 h 1538630"/>
              <a:gd name="csX949" fmla="*/ 577235 w 1609516"/>
              <a:gd name="csY949" fmla="*/ 254206 h 1538630"/>
              <a:gd name="csX950" fmla="*/ 569443 w 1609516"/>
              <a:gd name="csY950" fmla="*/ 206049 h 1538630"/>
              <a:gd name="csX951" fmla="*/ 568726 w 1609516"/>
              <a:gd name="csY951" fmla="*/ 200735 h 1538630"/>
              <a:gd name="csX952" fmla="*/ 565602 w 1609516"/>
              <a:gd name="csY952" fmla="*/ 200735 h 1538630"/>
              <a:gd name="csX953" fmla="*/ 559549 w 1609516"/>
              <a:gd name="csY953" fmla="*/ 184441 h 1538630"/>
              <a:gd name="csX954" fmla="*/ 537484 w 1609516"/>
              <a:gd name="csY954" fmla="*/ 159867 h 1538630"/>
              <a:gd name="csX955" fmla="*/ 531235 w 1609516"/>
              <a:gd name="csY955" fmla="*/ 154230 h 1538630"/>
              <a:gd name="csX956" fmla="*/ 531235 w 1609516"/>
              <a:gd name="csY956" fmla="*/ 151412 h 1538630"/>
              <a:gd name="csX957" fmla="*/ 526549 w 1609516"/>
              <a:gd name="csY957" fmla="*/ 150003 h 1538630"/>
              <a:gd name="csX958" fmla="*/ 524304 w 1609516"/>
              <a:gd name="csY958" fmla="*/ 107198 h 1538630"/>
              <a:gd name="csX959" fmla="*/ 547052 w 1609516"/>
              <a:gd name="csY959" fmla="*/ 85972 h 1538630"/>
              <a:gd name="csX960" fmla="*/ 588460 w 1609516"/>
              <a:gd name="csY960" fmla="*/ 83538 h 1538630"/>
              <a:gd name="csX961" fmla="*/ 617152 w 1609516"/>
              <a:gd name="csY961" fmla="*/ 111954 h 1538630"/>
              <a:gd name="csX962" fmla="*/ 617884 w 1609516"/>
              <a:gd name="csY962" fmla="*/ 124175 h 1538630"/>
              <a:gd name="csX963" fmla="*/ 617917 w 1609516"/>
              <a:gd name="csY963" fmla="*/ 127607 h 1538630"/>
              <a:gd name="csX964" fmla="*/ 617919 w 1609516"/>
              <a:gd name="csY964" fmla="*/ 141969 h 1538630"/>
              <a:gd name="csX965" fmla="*/ 630625 w 1609516"/>
              <a:gd name="csY965" fmla="*/ 191311 h 1538630"/>
              <a:gd name="csX966" fmla="*/ 637850 w 1609516"/>
              <a:gd name="csY966" fmla="*/ 205139 h 1538630"/>
              <a:gd name="csX967" fmla="*/ 643708 w 1609516"/>
              <a:gd name="csY967" fmla="*/ 212009 h 1538630"/>
              <a:gd name="csX968" fmla="*/ 647027 w 1609516"/>
              <a:gd name="csY968" fmla="*/ 217645 h 1538630"/>
              <a:gd name="csX969" fmla="*/ 670264 w 1609516"/>
              <a:gd name="csY969" fmla="*/ 241603 h 1538630"/>
              <a:gd name="csX970" fmla="*/ 670264 w 1609516"/>
              <a:gd name="csY970" fmla="*/ 244421 h 1538630"/>
              <a:gd name="csX971" fmla="*/ 675634 w 1609516"/>
              <a:gd name="csY971" fmla="*/ 245742 h 1538630"/>
              <a:gd name="csX972" fmla="*/ 682761 w 1609516"/>
              <a:gd name="csY972" fmla="*/ 248649 h 1538630"/>
              <a:gd name="csX973" fmla="*/ 752092 w 1609516"/>
              <a:gd name="csY973" fmla="*/ 245076 h 1538630"/>
              <a:gd name="csX974" fmla="*/ 758433 w 1609516"/>
              <a:gd name="csY974" fmla="*/ 240485 h 1538630"/>
              <a:gd name="csX975" fmla="*/ 763991 w 1609516"/>
              <a:gd name="csY975" fmla="*/ 238784 h 1538630"/>
              <a:gd name="csX976" fmla="*/ 765315 w 1609516"/>
              <a:gd name="csY976" fmla="*/ 235778 h 1538630"/>
              <a:gd name="csX977" fmla="*/ 770923 w 1609516"/>
              <a:gd name="csY977" fmla="*/ 223459 h 1538630"/>
              <a:gd name="csX978" fmla="*/ 772998 w 1609516"/>
              <a:gd name="csY978" fmla="*/ 218934 h 1538630"/>
              <a:gd name="csX979" fmla="*/ 777562 w 1609516"/>
              <a:gd name="csY979" fmla="*/ 209895 h 1538630"/>
              <a:gd name="csX980" fmla="*/ 781175 w 1609516"/>
              <a:gd name="csY980" fmla="*/ 124637 h 1538630"/>
              <a:gd name="csX981" fmla="*/ 778051 w 1609516"/>
              <a:gd name="csY981" fmla="*/ 124637 h 1538630"/>
              <a:gd name="csX982" fmla="*/ 767116 w 1609516"/>
              <a:gd name="csY982" fmla="*/ 79542 h 1538630"/>
              <a:gd name="csX983" fmla="*/ 793379 w 1609516"/>
              <a:gd name="csY983" fmla="*/ 54000 h 1538630"/>
              <a:gd name="csX984" fmla="*/ 840688 w 1609516"/>
              <a:gd name="csY984" fmla="*/ 55503 h 1538630"/>
              <a:gd name="csX985" fmla="*/ 851470 w 1609516"/>
              <a:gd name="csY985" fmla="*/ 64040 h 1538630"/>
              <a:gd name="csX986" fmla="*/ 853997 w 1609516"/>
              <a:gd name="csY986" fmla="*/ 66529 h 1538630"/>
              <a:gd name="csX987" fmla="*/ 861488 w 1609516"/>
              <a:gd name="csY987" fmla="*/ 82057 h 1538630"/>
              <a:gd name="csX988" fmla="*/ 861937 w 1609516"/>
              <a:gd name="csY988" fmla="*/ 90492 h 1538630"/>
              <a:gd name="csX989" fmla="*/ 863826 w 1609516"/>
              <a:gd name="csY989" fmla="*/ 100715 h 1538630"/>
              <a:gd name="csX990" fmla="*/ 857577 w 1609516"/>
              <a:gd name="csY990" fmla="*/ 121853 h 1538630"/>
              <a:gd name="csX991" fmla="*/ 856015 w 1609516"/>
              <a:gd name="csY991" fmla="*/ 121853 h 1538630"/>
              <a:gd name="csX992" fmla="*/ 855442 w 1609516"/>
              <a:gd name="csY992" fmla="*/ 118919 h 1538630"/>
              <a:gd name="csX993" fmla="*/ 855417 w 1609516"/>
              <a:gd name="csY993" fmla="*/ 118798 h 1538630"/>
              <a:gd name="csX994" fmla="*/ 856157 w 1609516"/>
              <a:gd name="csY994" fmla="*/ 124637 h 1538630"/>
              <a:gd name="csX995" fmla="*/ 850623 w 1609516"/>
              <a:gd name="csY995" fmla="*/ 134701 h 1538630"/>
              <a:gd name="csX996" fmla="*/ 851325 w 1609516"/>
              <a:gd name="csY996" fmla="*/ 135968 h 1538630"/>
              <a:gd name="csX997" fmla="*/ 849886 w 1609516"/>
              <a:gd name="csY997" fmla="*/ 139843 h 1538630"/>
              <a:gd name="csX998" fmla="*/ 847786 w 1609516"/>
              <a:gd name="csY998" fmla="*/ 152889 h 1538630"/>
              <a:gd name="csX999" fmla="*/ 847767 w 1609516"/>
              <a:gd name="csY999" fmla="*/ 157768 h 1538630"/>
              <a:gd name="csX1000" fmla="*/ 847810 w 1609516"/>
              <a:gd name="csY1000" fmla="*/ 162919 h 1538630"/>
              <a:gd name="csX1001" fmla="*/ 847832 w 1609516"/>
              <a:gd name="csY1001" fmla="*/ 168227 h 1538630"/>
              <a:gd name="csX1002" fmla="*/ 850903 w 1609516"/>
              <a:gd name="csY1002" fmla="*/ 209013 h 1538630"/>
              <a:gd name="csX1003" fmla="*/ 852880 w 1609516"/>
              <a:gd name="csY1003" fmla="*/ 224692 h 1538630"/>
              <a:gd name="csX1004" fmla="*/ 854595 w 1609516"/>
              <a:gd name="csY1004" fmla="*/ 224692 h 1538630"/>
              <a:gd name="csX1005" fmla="*/ 856083 w 1609516"/>
              <a:gd name="csY1005" fmla="*/ 227268 h 1538630"/>
              <a:gd name="csX1006" fmla="*/ 879588 w 1609516"/>
              <a:gd name="csY1006" fmla="*/ 247239 h 1538630"/>
              <a:gd name="csX1007" fmla="*/ 885739 w 1609516"/>
              <a:gd name="csY1007" fmla="*/ 249618 h 1538630"/>
              <a:gd name="csX1008" fmla="*/ 890523 w 1609516"/>
              <a:gd name="csY1008" fmla="*/ 251467 h 1538630"/>
              <a:gd name="csX1009" fmla="*/ 890523 w 1609516"/>
              <a:gd name="csY1009" fmla="*/ 254285 h 1538630"/>
              <a:gd name="csX1010" fmla="*/ 920203 w 1609516"/>
              <a:gd name="csY1010" fmla="*/ 261332 h 1538630"/>
              <a:gd name="csX1011" fmla="*/ 920203 w 1609516"/>
              <a:gd name="csY1011" fmla="*/ 262741 h 1538630"/>
              <a:gd name="csX1012" fmla="*/ 910831 w 1609516"/>
              <a:gd name="csY1012" fmla="*/ 262741 h 1538630"/>
              <a:gd name="csX1013" fmla="*/ 910831 w 1609516"/>
              <a:gd name="csY1013" fmla="*/ 262864 h 1538630"/>
              <a:gd name="csX1014" fmla="*/ 927993 w 1609516"/>
              <a:gd name="csY1014" fmla="*/ 264177 h 1538630"/>
              <a:gd name="csX1015" fmla="*/ 939273 w 1609516"/>
              <a:gd name="csY1015" fmla="*/ 265285 h 1538630"/>
              <a:gd name="csX1016" fmla="*/ 940456 w 1609516"/>
              <a:gd name="csY1016" fmla="*/ 265191 h 1538630"/>
              <a:gd name="csX1017" fmla="*/ 991622 w 1609516"/>
              <a:gd name="csY1017" fmla="*/ 242329 h 1538630"/>
              <a:gd name="csX1018" fmla="*/ 1000803 w 1609516"/>
              <a:gd name="csY1018" fmla="*/ 236505 h 1538630"/>
              <a:gd name="csX1019" fmla="*/ 999806 w 1609516"/>
              <a:gd name="csY1019" fmla="*/ 236055 h 1538630"/>
              <a:gd name="csX1020" fmla="*/ 1003126 w 1609516"/>
              <a:gd name="csY1020" fmla="*/ 232851 h 1538630"/>
              <a:gd name="csX1021" fmla="*/ 1029487 w 1609516"/>
              <a:gd name="csY1021" fmla="*/ 205052 h 1538630"/>
              <a:gd name="csX1022" fmla="*/ 1029872 w 1609516"/>
              <a:gd name="csY1022" fmla="*/ 206442 h 1538630"/>
              <a:gd name="csX1023" fmla="*/ 1031614 w 1609516"/>
              <a:gd name="csY1023" fmla="*/ 203719 h 1538630"/>
              <a:gd name="csX1024" fmla="*/ 1038924 w 1609516"/>
              <a:gd name="csY1024" fmla="*/ 192280 h 1538630"/>
              <a:gd name="csX1025" fmla="*/ 1042049 w 1609516"/>
              <a:gd name="csY1025" fmla="*/ 190870 h 1538630"/>
              <a:gd name="csX1026" fmla="*/ 1044294 w 1609516"/>
              <a:gd name="csY1026" fmla="*/ 186026 h 1538630"/>
              <a:gd name="csX1027" fmla="*/ 1051422 w 1609516"/>
              <a:gd name="csY1027" fmla="*/ 178188 h 1538630"/>
              <a:gd name="csX1028" fmla="*/ 1052984 w 1609516"/>
              <a:gd name="csY1028" fmla="*/ 172551 h 1538630"/>
              <a:gd name="csX1029" fmla="*/ 1056108 w 1609516"/>
              <a:gd name="csY1029" fmla="*/ 172551 h 1538630"/>
              <a:gd name="csX1030" fmla="*/ 1059232 w 1609516"/>
              <a:gd name="csY1030" fmla="*/ 162686 h 1538630"/>
              <a:gd name="csX1031" fmla="*/ 1062357 w 1609516"/>
              <a:gd name="csY1031" fmla="*/ 162686 h 1538630"/>
              <a:gd name="csX1032" fmla="*/ 1063162 w 1609516"/>
              <a:gd name="csY1032" fmla="*/ 160258 h 1538630"/>
              <a:gd name="csX1033" fmla="*/ 1073292 w 1609516"/>
              <a:gd name="csY1033" fmla="*/ 140138 h 1538630"/>
              <a:gd name="csX1034" fmla="*/ 1076415 w 1609516"/>
              <a:gd name="csY1034" fmla="*/ 140138 h 1538630"/>
              <a:gd name="csX1035" fmla="*/ 1085294 w 1609516"/>
              <a:gd name="csY1035" fmla="*/ 117569 h 1538630"/>
              <a:gd name="csX1036" fmla="*/ 1087350 w 1609516"/>
              <a:gd name="csY1036" fmla="*/ 113363 h 1538630"/>
              <a:gd name="csX1037" fmla="*/ 1092037 w 1609516"/>
              <a:gd name="csY1037" fmla="*/ 111954 h 1538630"/>
              <a:gd name="csX1038" fmla="*/ 1092623 w 1609516"/>
              <a:gd name="csY1038" fmla="*/ 108695 h 1538630"/>
              <a:gd name="csX1039" fmla="*/ 1096723 w 1609516"/>
              <a:gd name="csY1039" fmla="*/ 100680 h 1538630"/>
              <a:gd name="csX1040" fmla="*/ 1098188 w 1609516"/>
              <a:gd name="csY1040" fmla="*/ 96013 h 1538630"/>
              <a:gd name="csX1041" fmla="*/ 1102288 w 1609516"/>
              <a:gd name="csY1041" fmla="*/ 87029 h 1538630"/>
              <a:gd name="csX1042" fmla="*/ 1104534 w 1609516"/>
              <a:gd name="csY1042" fmla="*/ 61222 h 1538630"/>
              <a:gd name="csX1043" fmla="*/ 1104381 w 1609516"/>
              <a:gd name="csY1043" fmla="*/ 55569 h 1538630"/>
              <a:gd name="csX1044" fmla="*/ 1104397 w 1609516"/>
              <a:gd name="csY1044" fmla="*/ 52335 h 1538630"/>
              <a:gd name="csX1045" fmla="*/ 1104436 w 1609516"/>
              <a:gd name="csY1045" fmla="*/ 48979 h 1538630"/>
              <a:gd name="csX1046" fmla="*/ 1104457 w 1609516"/>
              <a:gd name="csY1046" fmla="*/ 45575 h 1538630"/>
              <a:gd name="csX1047" fmla="*/ 1104534 w 1609516"/>
              <a:gd name="csY1047" fmla="*/ 37265 h 1538630"/>
              <a:gd name="csX1048" fmla="*/ 1107658 w 1609516"/>
              <a:gd name="csY1048" fmla="*/ 37265 h 1538630"/>
              <a:gd name="csX1049" fmla="*/ 1107463 w 1609516"/>
              <a:gd name="csY1049" fmla="*/ 31805 h 1538630"/>
              <a:gd name="csX1050" fmla="*/ 1107658 w 1609516"/>
              <a:gd name="csY1050" fmla="*/ 25991 h 1538630"/>
              <a:gd name="csX1051" fmla="*/ 1110782 w 1609516"/>
              <a:gd name="csY1051" fmla="*/ 23173 h 1538630"/>
              <a:gd name="csX1052" fmla="*/ 1111759 w 1609516"/>
              <a:gd name="csY1052" fmla="*/ 20091 h 1538630"/>
              <a:gd name="csX1053" fmla="*/ 1134507 w 1609516"/>
              <a:gd name="csY1053" fmla="*/ 2828 h 1538630"/>
              <a:gd name="csX1054" fmla="*/ 1155019 w 1609516"/>
              <a:gd name="csY1054" fmla="*/ 35 h 153863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  <a:cxn ang="0">
                <a:pos x="csX170" y="csY170"/>
              </a:cxn>
              <a:cxn ang="0">
                <a:pos x="csX171" y="csY171"/>
              </a:cxn>
              <a:cxn ang="0">
                <a:pos x="csX172" y="csY172"/>
              </a:cxn>
              <a:cxn ang="0">
                <a:pos x="csX173" y="csY173"/>
              </a:cxn>
              <a:cxn ang="0">
                <a:pos x="csX174" y="csY174"/>
              </a:cxn>
              <a:cxn ang="0">
                <a:pos x="csX175" y="csY175"/>
              </a:cxn>
              <a:cxn ang="0">
                <a:pos x="csX176" y="csY176"/>
              </a:cxn>
              <a:cxn ang="0">
                <a:pos x="csX177" y="csY177"/>
              </a:cxn>
              <a:cxn ang="0">
                <a:pos x="csX178" y="csY178"/>
              </a:cxn>
              <a:cxn ang="0">
                <a:pos x="csX179" y="csY179"/>
              </a:cxn>
              <a:cxn ang="0">
                <a:pos x="csX180" y="csY180"/>
              </a:cxn>
              <a:cxn ang="0">
                <a:pos x="csX181" y="csY181"/>
              </a:cxn>
              <a:cxn ang="0">
                <a:pos x="csX182" y="csY182"/>
              </a:cxn>
              <a:cxn ang="0">
                <a:pos x="csX183" y="csY183"/>
              </a:cxn>
              <a:cxn ang="0">
                <a:pos x="csX184" y="csY184"/>
              </a:cxn>
              <a:cxn ang="0">
                <a:pos x="csX185" y="csY185"/>
              </a:cxn>
              <a:cxn ang="0">
                <a:pos x="csX186" y="csY186"/>
              </a:cxn>
              <a:cxn ang="0">
                <a:pos x="csX187" y="csY187"/>
              </a:cxn>
              <a:cxn ang="0">
                <a:pos x="csX188" y="csY188"/>
              </a:cxn>
              <a:cxn ang="0">
                <a:pos x="csX189" y="csY189"/>
              </a:cxn>
              <a:cxn ang="0">
                <a:pos x="csX190" y="csY190"/>
              </a:cxn>
              <a:cxn ang="0">
                <a:pos x="csX191" y="csY191"/>
              </a:cxn>
              <a:cxn ang="0">
                <a:pos x="csX192" y="csY192"/>
              </a:cxn>
              <a:cxn ang="0">
                <a:pos x="csX193" y="csY193"/>
              </a:cxn>
              <a:cxn ang="0">
                <a:pos x="csX194" y="csY194"/>
              </a:cxn>
              <a:cxn ang="0">
                <a:pos x="csX195" y="csY195"/>
              </a:cxn>
              <a:cxn ang="0">
                <a:pos x="csX196" y="csY196"/>
              </a:cxn>
              <a:cxn ang="0">
                <a:pos x="csX197" y="csY197"/>
              </a:cxn>
              <a:cxn ang="0">
                <a:pos x="csX198" y="csY198"/>
              </a:cxn>
              <a:cxn ang="0">
                <a:pos x="csX199" y="csY199"/>
              </a:cxn>
              <a:cxn ang="0">
                <a:pos x="csX200" y="csY200"/>
              </a:cxn>
              <a:cxn ang="0">
                <a:pos x="csX201" y="csY201"/>
              </a:cxn>
              <a:cxn ang="0">
                <a:pos x="csX202" y="csY202"/>
              </a:cxn>
              <a:cxn ang="0">
                <a:pos x="csX203" y="csY203"/>
              </a:cxn>
              <a:cxn ang="0">
                <a:pos x="csX204" y="csY204"/>
              </a:cxn>
              <a:cxn ang="0">
                <a:pos x="csX205" y="csY205"/>
              </a:cxn>
              <a:cxn ang="0">
                <a:pos x="csX206" y="csY206"/>
              </a:cxn>
              <a:cxn ang="0">
                <a:pos x="csX207" y="csY207"/>
              </a:cxn>
              <a:cxn ang="0">
                <a:pos x="csX208" y="csY208"/>
              </a:cxn>
              <a:cxn ang="0">
                <a:pos x="csX209" y="csY209"/>
              </a:cxn>
              <a:cxn ang="0">
                <a:pos x="csX210" y="csY210"/>
              </a:cxn>
              <a:cxn ang="0">
                <a:pos x="csX211" y="csY211"/>
              </a:cxn>
              <a:cxn ang="0">
                <a:pos x="csX212" y="csY212"/>
              </a:cxn>
              <a:cxn ang="0">
                <a:pos x="csX213" y="csY213"/>
              </a:cxn>
              <a:cxn ang="0">
                <a:pos x="csX214" y="csY214"/>
              </a:cxn>
              <a:cxn ang="0">
                <a:pos x="csX215" y="csY215"/>
              </a:cxn>
              <a:cxn ang="0">
                <a:pos x="csX216" y="csY216"/>
              </a:cxn>
              <a:cxn ang="0">
                <a:pos x="csX217" y="csY217"/>
              </a:cxn>
              <a:cxn ang="0">
                <a:pos x="csX218" y="csY218"/>
              </a:cxn>
              <a:cxn ang="0">
                <a:pos x="csX219" y="csY219"/>
              </a:cxn>
              <a:cxn ang="0">
                <a:pos x="csX220" y="csY220"/>
              </a:cxn>
              <a:cxn ang="0">
                <a:pos x="csX221" y="csY221"/>
              </a:cxn>
              <a:cxn ang="0">
                <a:pos x="csX222" y="csY222"/>
              </a:cxn>
              <a:cxn ang="0">
                <a:pos x="csX223" y="csY223"/>
              </a:cxn>
              <a:cxn ang="0">
                <a:pos x="csX224" y="csY224"/>
              </a:cxn>
              <a:cxn ang="0">
                <a:pos x="csX225" y="csY225"/>
              </a:cxn>
              <a:cxn ang="0">
                <a:pos x="csX226" y="csY226"/>
              </a:cxn>
              <a:cxn ang="0">
                <a:pos x="csX227" y="csY227"/>
              </a:cxn>
              <a:cxn ang="0">
                <a:pos x="csX228" y="csY228"/>
              </a:cxn>
              <a:cxn ang="0">
                <a:pos x="csX229" y="csY229"/>
              </a:cxn>
              <a:cxn ang="0">
                <a:pos x="csX230" y="csY230"/>
              </a:cxn>
              <a:cxn ang="0">
                <a:pos x="csX231" y="csY231"/>
              </a:cxn>
              <a:cxn ang="0">
                <a:pos x="csX232" y="csY232"/>
              </a:cxn>
              <a:cxn ang="0">
                <a:pos x="csX233" y="csY233"/>
              </a:cxn>
              <a:cxn ang="0">
                <a:pos x="csX234" y="csY234"/>
              </a:cxn>
              <a:cxn ang="0">
                <a:pos x="csX235" y="csY235"/>
              </a:cxn>
              <a:cxn ang="0">
                <a:pos x="csX236" y="csY236"/>
              </a:cxn>
              <a:cxn ang="0">
                <a:pos x="csX237" y="csY237"/>
              </a:cxn>
              <a:cxn ang="0">
                <a:pos x="csX238" y="csY238"/>
              </a:cxn>
              <a:cxn ang="0">
                <a:pos x="csX239" y="csY239"/>
              </a:cxn>
              <a:cxn ang="0">
                <a:pos x="csX240" y="csY240"/>
              </a:cxn>
              <a:cxn ang="0">
                <a:pos x="csX241" y="csY241"/>
              </a:cxn>
              <a:cxn ang="0">
                <a:pos x="csX242" y="csY242"/>
              </a:cxn>
              <a:cxn ang="0">
                <a:pos x="csX243" y="csY243"/>
              </a:cxn>
              <a:cxn ang="0">
                <a:pos x="csX244" y="csY244"/>
              </a:cxn>
              <a:cxn ang="0">
                <a:pos x="csX245" y="csY245"/>
              </a:cxn>
              <a:cxn ang="0">
                <a:pos x="csX246" y="csY246"/>
              </a:cxn>
              <a:cxn ang="0">
                <a:pos x="csX247" y="csY247"/>
              </a:cxn>
              <a:cxn ang="0">
                <a:pos x="csX248" y="csY248"/>
              </a:cxn>
              <a:cxn ang="0">
                <a:pos x="csX249" y="csY249"/>
              </a:cxn>
              <a:cxn ang="0">
                <a:pos x="csX250" y="csY250"/>
              </a:cxn>
              <a:cxn ang="0">
                <a:pos x="csX251" y="csY251"/>
              </a:cxn>
              <a:cxn ang="0">
                <a:pos x="csX252" y="csY252"/>
              </a:cxn>
              <a:cxn ang="0">
                <a:pos x="csX253" y="csY253"/>
              </a:cxn>
              <a:cxn ang="0">
                <a:pos x="csX254" y="csY254"/>
              </a:cxn>
              <a:cxn ang="0">
                <a:pos x="csX255" y="csY255"/>
              </a:cxn>
              <a:cxn ang="0">
                <a:pos x="csX256" y="csY256"/>
              </a:cxn>
              <a:cxn ang="0">
                <a:pos x="csX257" y="csY257"/>
              </a:cxn>
              <a:cxn ang="0">
                <a:pos x="csX258" y="csY258"/>
              </a:cxn>
              <a:cxn ang="0">
                <a:pos x="csX259" y="csY259"/>
              </a:cxn>
              <a:cxn ang="0">
                <a:pos x="csX260" y="csY260"/>
              </a:cxn>
              <a:cxn ang="0">
                <a:pos x="csX261" y="csY261"/>
              </a:cxn>
              <a:cxn ang="0">
                <a:pos x="csX262" y="csY262"/>
              </a:cxn>
              <a:cxn ang="0">
                <a:pos x="csX263" y="csY263"/>
              </a:cxn>
              <a:cxn ang="0">
                <a:pos x="csX264" y="csY264"/>
              </a:cxn>
              <a:cxn ang="0">
                <a:pos x="csX265" y="csY265"/>
              </a:cxn>
              <a:cxn ang="0">
                <a:pos x="csX266" y="csY266"/>
              </a:cxn>
              <a:cxn ang="0">
                <a:pos x="csX267" y="csY267"/>
              </a:cxn>
              <a:cxn ang="0">
                <a:pos x="csX268" y="csY268"/>
              </a:cxn>
              <a:cxn ang="0">
                <a:pos x="csX269" y="csY269"/>
              </a:cxn>
              <a:cxn ang="0">
                <a:pos x="csX270" y="csY270"/>
              </a:cxn>
              <a:cxn ang="0">
                <a:pos x="csX271" y="csY271"/>
              </a:cxn>
              <a:cxn ang="0">
                <a:pos x="csX272" y="csY272"/>
              </a:cxn>
              <a:cxn ang="0">
                <a:pos x="csX273" y="csY273"/>
              </a:cxn>
              <a:cxn ang="0">
                <a:pos x="csX274" y="csY274"/>
              </a:cxn>
              <a:cxn ang="0">
                <a:pos x="csX275" y="csY275"/>
              </a:cxn>
              <a:cxn ang="0">
                <a:pos x="csX276" y="csY276"/>
              </a:cxn>
              <a:cxn ang="0">
                <a:pos x="csX277" y="csY277"/>
              </a:cxn>
              <a:cxn ang="0">
                <a:pos x="csX278" y="csY278"/>
              </a:cxn>
              <a:cxn ang="0">
                <a:pos x="csX279" y="csY279"/>
              </a:cxn>
              <a:cxn ang="0">
                <a:pos x="csX280" y="csY280"/>
              </a:cxn>
              <a:cxn ang="0">
                <a:pos x="csX281" y="csY281"/>
              </a:cxn>
              <a:cxn ang="0">
                <a:pos x="csX282" y="csY282"/>
              </a:cxn>
              <a:cxn ang="0">
                <a:pos x="csX283" y="csY283"/>
              </a:cxn>
              <a:cxn ang="0">
                <a:pos x="csX284" y="csY284"/>
              </a:cxn>
              <a:cxn ang="0">
                <a:pos x="csX285" y="csY285"/>
              </a:cxn>
              <a:cxn ang="0">
                <a:pos x="csX286" y="csY286"/>
              </a:cxn>
              <a:cxn ang="0">
                <a:pos x="csX287" y="csY287"/>
              </a:cxn>
              <a:cxn ang="0">
                <a:pos x="csX288" y="csY288"/>
              </a:cxn>
              <a:cxn ang="0">
                <a:pos x="csX289" y="csY289"/>
              </a:cxn>
              <a:cxn ang="0">
                <a:pos x="csX290" y="csY290"/>
              </a:cxn>
              <a:cxn ang="0">
                <a:pos x="csX291" y="csY291"/>
              </a:cxn>
              <a:cxn ang="0">
                <a:pos x="csX292" y="csY292"/>
              </a:cxn>
              <a:cxn ang="0">
                <a:pos x="csX293" y="csY293"/>
              </a:cxn>
              <a:cxn ang="0">
                <a:pos x="csX294" y="csY294"/>
              </a:cxn>
              <a:cxn ang="0">
                <a:pos x="csX295" y="csY295"/>
              </a:cxn>
              <a:cxn ang="0">
                <a:pos x="csX296" y="csY296"/>
              </a:cxn>
              <a:cxn ang="0">
                <a:pos x="csX297" y="csY297"/>
              </a:cxn>
              <a:cxn ang="0">
                <a:pos x="csX298" y="csY298"/>
              </a:cxn>
              <a:cxn ang="0">
                <a:pos x="csX299" y="csY299"/>
              </a:cxn>
              <a:cxn ang="0">
                <a:pos x="csX300" y="csY300"/>
              </a:cxn>
              <a:cxn ang="0">
                <a:pos x="csX301" y="csY301"/>
              </a:cxn>
              <a:cxn ang="0">
                <a:pos x="csX302" y="csY302"/>
              </a:cxn>
              <a:cxn ang="0">
                <a:pos x="csX303" y="csY303"/>
              </a:cxn>
              <a:cxn ang="0">
                <a:pos x="csX304" y="csY304"/>
              </a:cxn>
              <a:cxn ang="0">
                <a:pos x="csX305" y="csY305"/>
              </a:cxn>
              <a:cxn ang="0">
                <a:pos x="csX306" y="csY306"/>
              </a:cxn>
              <a:cxn ang="0">
                <a:pos x="csX307" y="csY307"/>
              </a:cxn>
              <a:cxn ang="0">
                <a:pos x="csX308" y="csY308"/>
              </a:cxn>
              <a:cxn ang="0">
                <a:pos x="csX309" y="csY309"/>
              </a:cxn>
              <a:cxn ang="0">
                <a:pos x="csX310" y="csY310"/>
              </a:cxn>
              <a:cxn ang="0">
                <a:pos x="csX311" y="csY311"/>
              </a:cxn>
              <a:cxn ang="0">
                <a:pos x="csX312" y="csY312"/>
              </a:cxn>
              <a:cxn ang="0">
                <a:pos x="csX313" y="csY313"/>
              </a:cxn>
              <a:cxn ang="0">
                <a:pos x="csX314" y="csY314"/>
              </a:cxn>
              <a:cxn ang="0">
                <a:pos x="csX315" y="csY315"/>
              </a:cxn>
              <a:cxn ang="0">
                <a:pos x="csX316" y="csY316"/>
              </a:cxn>
              <a:cxn ang="0">
                <a:pos x="csX317" y="csY317"/>
              </a:cxn>
              <a:cxn ang="0">
                <a:pos x="csX318" y="csY318"/>
              </a:cxn>
              <a:cxn ang="0">
                <a:pos x="csX319" y="csY319"/>
              </a:cxn>
              <a:cxn ang="0">
                <a:pos x="csX320" y="csY320"/>
              </a:cxn>
              <a:cxn ang="0">
                <a:pos x="csX321" y="csY321"/>
              </a:cxn>
              <a:cxn ang="0">
                <a:pos x="csX322" y="csY322"/>
              </a:cxn>
              <a:cxn ang="0">
                <a:pos x="csX323" y="csY323"/>
              </a:cxn>
              <a:cxn ang="0">
                <a:pos x="csX324" y="csY324"/>
              </a:cxn>
              <a:cxn ang="0">
                <a:pos x="csX325" y="csY325"/>
              </a:cxn>
              <a:cxn ang="0">
                <a:pos x="csX326" y="csY326"/>
              </a:cxn>
              <a:cxn ang="0">
                <a:pos x="csX327" y="csY327"/>
              </a:cxn>
              <a:cxn ang="0">
                <a:pos x="csX328" y="csY328"/>
              </a:cxn>
              <a:cxn ang="0">
                <a:pos x="csX329" y="csY329"/>
              </a:cxn>
              <a:cxn ang="0">
                <a:pos x="csX330" y="csY330"/>
              </a:cxn>
              <a:cxn ang="0">
                <a:pos x="csX331" y="csY331"/>
              </a:cxn>
              <a:cxn ang="0">
                <a:pos x="csX332" y="csY332"/>
              </a:cxn>
              <a:cxn ang="0">
                <a:pos x="csX333" y="csY333"/>
              </a:cxn>
              <a:cxn ang="0">
                <a:pos x="csX334" y="csY334"/>
              </a:cxn>
              <a:cxn ang="0">
                <a:pos x="csX335" y="csY335"/>
              </a:cxn>
              <a:cxn ang="0">
                <a:pos x="csX336" y="csY336"/>
              </a:cxn>
              <a:cxn ang="0">
                <a:pos x="csX337" y="csY337"/>
              </a:cxn>
              <a:cxn ang="0">
                <a:pos x="csX338" y="csY338"/>
              </a:cxn>
              <a:cxn ang="0">
                <a:pos x="csX339" y="csY339"/>
              </a:cxn>
              <a:cxn ang="0">
                <a:pos x="csX340" y="csY340"/>
              </a:cxn>
              <a:cxn ang="0">
                <a:pos x="csX341" y="csY341"/>
              </a:cxn>
              <a:cxn ang="0">
                <a:pos x="csX342" y="csY342"/>
              </a:cxn>
              <a:cxn ang="0">
                <a:pos x="csX343" y="csY343"/>
              </a:cxn>
              <a:cxn ang="0">
                <a:pos x="csX344" y="csY344"/>
              </a:cxn>
              <a:cxn ang="0">
                <a:pos x="csX345" y="csY345"/>
              </a:cxn>
              <a:cxn ang="0">
                <a:pos x="csX346" y="csY346"/>
              </a:cxn>
              <a:cxn ang="0">
                <a:pos x="csX347" y="csY347"/>
              </a:cxn>
              <a:cxn ang="0">
                <a:pos x="csX348" y="csY348"/>
              </a:cxn>
              <a:cxn ang="0">
                <a:pos x="csX349" y="csY349"/>
              </a:cxn>
              <a:cxn ang="0">
                <a:pos x="csX350" y="csY350"/>
              </a:cxn>
              <a:cxn ang="0">
                <a:pos x="csX351" y="csY351"/>
              </a:cxn>
              <a:cxn ang="0">
                <a:pos x="csX352" y="csY352"/>
              </a:cxn>
              <a:cxn ang="0">
                <a:pos x="csX353" y="csY353"/>
              </a:cxn>
              <a:cxn ang="0">
                <a:pos x="csX354" y="csY354"/>
              </a:cxn>
              <a:cxn ang="0">
                <a:pos x="csX355" y="csY355"/>
              </a:cxn>
              <a:cxn ang="0">
                <a:pos x="csX356" y="csY356"/>
              </a:cxn>
              <a:cxn ang="0">
                <a:pos x="csX357" y="csY357"/>
              </a:cxn>
              <a:cxn ang="0">
                <a:pos x="csX358" y="csY358"/>
              </a:cxn>
              <a:cxn ang="0">
                <a:pos x="csX359" y="csY359"/>
              </a:cxn>
              <a:cxn ang="0">
                <a:pos x="csX360" y="csY360"/>
              </a:cxn>
              <a:cxn ang="0">
                <a:pos x="csX361" y="csY361"/>
              </a:cxn>
              <a:cxn ang="0">
                <a:pos x="csX362" y="csY362"/>
              </a:cxn>
              <a:cxn ang="0">
                <a:pos x="csX363" y="csY363"/>
              </a:cxn>
              <a:cxn ang="0">
                <a:pos x="csX364" y="csY364"/>
              </a:cxn>
              <a:cxn ang="0">
                <a:pos x="csX365" y="csY365"/>
              </a:cxn>
              <a:cxn ang="0">
                <a:pos x="csX366" y="csY366"/>
              </a:cxn>
              <a:cxn ang="0">
                <a:pos x="csX367" y="csY367"/>
              </a:cxn>
              <a:cxn ang="0">
                <a:pos x="csX368" y="csY368"/>
              </a:cxn>
              <a:cxn ang="0">
                <a:pos x="csX369" y="csY369"/>
              </a:cxn>
              <a:cxn ang="0">
                <a:pos x="csX370" y="csY370"/>
              </a:cxn>
              <a:cxn ang="0">
                <a:pos x="csX371" y="csY371"/>
              </a:cxn>
              <a:cxn ang="0">
                <a:pos x="csX372" y="csY372"/>
              </a:cxn>
              <a:cxn ang="0">
                <a:pos x="csX373" y="csY373"/>
              </a:cxn>
              <a:cxn ang="0">
                <a:pos x="csX374" y="csY374"/>
              </a:cxn>
              <a:cxn ang="0">
                <a:pos x="csX375" y="csY375"/>
              </a:cxn>
              <a:cxn ang="0">
                <a:pos x="csX376" y="csY376"/>
              </a:cxn>
              <a:cxn ang="0">
                <a:pos x="csX377" y="csY377"/>
              </a:cxn>
              <a:cxn ang="0">
                <a:pos x="csX378" y="csY378"/>
              </a:cxn>
              <a:cxn ang="0">
                <a:pos x="csX379" y="csY379"/>
              </a:cxn>
              <a:cxn ang="0">
                <a:pos x="csX380" y="csY380"/>
              </a:cxn>
              <a:cxn ang="0">
                <a:pos x="csX381" y="csY381"/>
              </a:cxn>
              <a:cxn ang="0">
                <a:pos x="csX382" y="csY382"/>
              </a:cxn>
              <a:cxn ang="0">
                <a:pos x="csX383" y="csY383"/>
              </a:cxn>
              <a:cxn ang="0">
                <a:pos x="csX384" y="csY384"/>
              </a:cxn>
              <a:cxn ang="0">
                <a:pos x="csX385" y="csY385"/>
              </a:cxn>
              <a:cxn ang="0">
                <a:pos x="csX386" y="csY386"/>
              </a:cxn>
              <a:cxn ang="0">
                <a:pos x="csX387" y="csY387"/>
              </a:cxn>
              <a:cxn ang="0">
                <a:pos x="csX388" y="csY388"/>
              </a:cxn>
              <a:cxn ang="0">
                <a:pos x="csX389" y="csY389"/>
              </a:cxn>
              <a:cxn ang="0">
                <a:pos x="csX390" y="csY390"/>
              </a:cxn>
              <a:cxn ang="0">
                <a:pos x="csX391" y="csY391"/>
              </a:cxn>
              <a:cxn ang="0">
                <a:pos x="csX392" y="csY392"/>
              </a:cxn>
              <a:cxn ang="0">
                <a:pos x="csX393" y="csY393"/>
              </a:cxn>
              <a:cxn ang="0">
                <a:pos x="csX394" y="csY394"/>
              </a:cxn>
              <a:cxn ang="0">
                <a:pos x="csX395" y="csY395"/>
              </a:cxn>
              <a:cxn ang="0">
                <a:pos x="csX396" y="csY396"/>
              </a:cxn>
              <a:cxn ang="0">
                <a:pos x="csX397" y="csY397"/>
              </a:cxn>
              <a:cxn ang="0">
                <a:pos x="csX398" y="csY398"/>
              </a:cxn>
              <a:cxn ang="0">
                <a:pos x="csX399" y="csY399"/>
              </a:cxn>
              <a:cxn ang="0">
                <a:pos x="csX400" y="csY400"/>
              </a:cxn>
              <a:cxn ang="0">
                <a:pos x="csX401" y="csY401"/>
              </a:cxn>
              <a:cxn ang="0">
                <a:pos x="csX402" y="csY402"/>
              </a:cxn>
              <a:cxn ang="0">
                <a:pos x="csX403" y="csY403"/>
              </a:cxn>
              <a:cxn ang="0">
                <a:pos x="csX404" y="csY404"/>
              </a:cxn>
              <a:cxn ang="0">
                <a:pos x="csX405" y="csY405"/>
              </a:cxn>
              <a:cxn ang="0">
                <a:pos x="csX406" y="csY406"/>
              </a:cxn>
              <a:cxn ang="0">
                <a:pos x="csX407" y="csY407"/>
              </a:cxn>
              <a:cxn ang="0">
                <a:pos x="csX408" y="csY408"/>
              </a:cxn>
              <a:cxn ang="0">
                <a:pos x="csX409" y="csY409"/>
              </a:cxn>
              <a:cxn ang="0">
                <a:pos x="csX410" y="csY410"/>
              </a:cxn>
              <a:cxn ang="0">
                <a:pos x="csX411" y="csY411"/>
              </a:cxn>
              <a:cxn ang="0">
                <a:pos x="csX412" y="csY412"/>
              </a:cxn>
              <a:cxn ang="0">
                <a:pos x="csX413" y="csY413"/>
              </a:cxn>
              <a:cxn ang="0">
                <a:pos x="csX414" y="csY414"/>
              </a:cxn>
              <a:cxn ang="0">
                <a:pos x="csX415" y="csY415"/>
              </a:cxn>
              <a:cxn ang="0">
                <a:pos x="csX416" y="csY416"/>
              </a:cxn>
              <a:cxn ang="0">
                <a:pos x="csX417" y="csY417"/>
              </a:cxn>
              <a:cxn ang="0">
                <a:pos x="csX418" y="csY418"/>
              </a:cxn>
              <a:cxn ang="0">
                <a:pos x="csX419" y="csY419"/>
              </a:cxn>
              <a:cxn ang="0">
                <a:pos x="csX420" y="csY420"/>
              </a:cxn>
              <a:cxn ang="0">
                <a:pos x="csX421" y="csY421"/>
              </a:cxn>
              <a:cxn ang="0">
                <a:pos x="csX422" y="csY422"/>
              </a:cxn>
              <a:cxn ang="0">
                <a:pos x="csX423" y="csY423"/>
              </a:cxn>
              <a:cxn ang="0">
                <a:pos x="csX424" y="csY424"/>
              </a:cxn>
              <a:cxn ang="0">
                <a:pos x="csX425" y="csY425"/>
              </a:cxn>
              <a:cxn ang="0">
                <a:pos x="csX426" y="csY426"/>
              </a:cxn>
              <a:cxn ang="0">
                <a:pos x="csX427" y="csY427"/>
              </a:cxn>
              <a:cxn ang="0">
                <a:pos x="csX428" y="csY428"/>
              </a:cxn>
              <a:cxn ang="0">
                <a:pos x="csX429" y="csY429"/>
              </a:cxn>
              <a:cxn ang="0">
                <a:pos x="csX430" y="csY430"/>
              </a:cxn>
              <a:cxn ang="0">
                <a:pos x="csX431" y="csY431"/>
              </a:cxn>
              <a:cxn ang="0">
                <a:pos x="csX432" y="csY432"/>
              </a:cxn>
              <a:cxn ang="0">
                <a:pos x="csX433" y="csY433"/>
              </a:cxn>
              <a:cxn ang="0">
                <a:pos x="csX434" y="csY434"/>
              </a:cxn>
              <a:cxn ang="0">
                <a:pos x="csX435" y="csY435"/>
              </a:cxn>
              <a:cxn ang="0">
                <a:pos x="csX436" y="csY436"/>
              </a:cxn>
              <a:cxn ang="0">
                <a:pos x="csX437" y="csY437"/>
              </a:cxn>
              <a:cxn ang="0">
                <a:pos x="csX438" y="csY438"/>
              </a:cxn>
              <a:cxn ang="0">
                <a:pos x="csX439" y="csY439"/>
              </a:cxn>
              <a:cxn ang="0">
                <a:pos x="csX440" y="csY440"/>
              </a:cxn>
              <a:cxn ang="0">
                <a:pos x="csX441" y="csY441"/>
              </a:cxn>
              <a:cxn ang="0">
                <a:pos x="csX442" y="csY442"/>
              </a:cxn>
              <a:cxn ang="0">
                <a:pos x="csX443" y="csY443"/>
              </a:cxn>
              <a:cxn ang="0">
                <a:pos x="csX444" y="csY444"/>
              </a:cxn>
              <a:cxn ang="0">
                <a:pos x="csX445" y="csY445"/>
              </a:cxn>
              <a:cxn ang="0">
                <a:pos x="csX446" y="csY446"/>
              </a:cxn>
              <a:cxn ang="0">
                <a:pos x="csX447" y="csY447"/>
              </a:cxn>
              <a:cxn ang="0">
                <a:pos x="csX448" y="csY448"/>
              </a:cxn>
              <a:cxn ang="0">
                <a:pos x="csX449" y="csY449"/>
              </a:cxn>
              <a:cxn ang="0">
                <a:pos x="csX450" y="csY450"/>
              </a:cxn>
              <a:cxn ang="0">
                <a:pos x="csX451" y="csY451"/>
              </a:cxn>
              <a:cxn ang="0">
                <a:pos x="csX452" y="csY452"/>
              </a:cxn>
              <a:cxn ang="0">
                <a:pos x="csX453" y="csY453"/>
              </a:cxn>
              <a:cxn ang="0">
                <a:pos x="csX454" y="csY454"/>
              </a:cxn>
              <a:cxn ang="0">
                <a:pos x="csX455" y="csY455"/>
              </a:cxn>
              <a:cxn ang="0">
                <a:pos x="csX456" y="csY456"/>
              </a:cxn>
              <a:cxn ang="0">
                <a:pos x="csX457" y="csY457"/>
              </a:cxn>
              <a:cxn ang="0">
                <a:pos x="csX458" y="csY458"/>
              </a:cxn>
              <a:cxn ang="0">
                <a:pos x="csX459" y="csY459"/>
              </a:cxn>
              <a:cxn ang="0">
                <a:pos x="csX460" y="csY460"/>
              </a:cxn>
              <a:cxn ang="0">
                <a:pos x="csX461" y="csY461"/>
              </a:cxn>
              <a:cxn ang="0">
                <a:pos x="csX462" y="csY462"/>
              </a:cxn>
              <a:cxn ang="0">
                <a:pos x="csX463" y="csY463"/>
              </a:cxn>
              <a:cxn ang="0">
                <a:pos x="csX464" y="csY464"/>
              </a:cxn>
              <a:cxn ang="0">
                <a:pos x="csX465" y="csY465"/>
              </a:cxn>
              <a:cxn ang="0">
                <a:pos x="csX466" y="csY466"/>
              </a:cxn>
              <a:cxn ang="0">
                <a:pos x="csX467" y="csY467"/>
              </a:cxn>
              <a:cxn ang="0">
                <a:pos x="csX468" y="csY468"/>
              </a:cxn>
              <a:cxn ang="0">
                <a:pos x="csX469" y="csY469"/>
              </a:cxn>
              <a:cxn ang="0">
                <a:pos x="csX470" y="csY470"/>
              </a:cxn>
              <a:cxn ang="0">
                <a:pos x="csX471" y="csY471"/>
              </a:cxn>
              <a:cxn ang="0">
                <a:pos x="csX472" y="csY472"/>
              </a:cxn>
              <a:cxn ang="0">
                <a:pos x="csX473" y="csY473"/>
              </a:cxn>
              <a:cxn ang="0">
                <a:pos x="csX474" y="csY474"/>
              </a:cxn>
              <a:cxn ang="0">
                <a:pos x="csX475" y="csY475"/>
              </a:cxn>
              <a:cxn ang="0">
                <a:pos x="csX476" y="csY476"/>
              </a:cxn>
              <a:cxn ang="0">
                <a:pos x="csX477" y="csY477"/>
              </a:cxn>
              <a:cxn ang="0">
                <a:pos x="csX478" y="csY478"/>
              </a:cxn>
              <a:cxn ang="0">
                <a:pos x="csX479" y="csY479"/>
              </a:cxn>
              <a:cxn ang="0">
                <a:pos x="csX480" y="csY480"/>
              </a:cxn>
              <a:cxn ang="0">
                <a:pos x="csX481" y="csY481"/>
              </a:cxn>
              <a:cxn ang="0">
                <a:pos x="csX482" y="csY482"/>
              </a:cxn>
              <a:cxn ang="0">
                <a:pos x="csX483" y="csY483"/>
              </a:cxn>
              <a:cxn ang="0">
                <a:pos x="csX484" y="csY484"/>
              </a:cxn>
              <a:cxn ang="0">
                <a:pos x="csX485" y="csY485"/>
              </a:cxn>
              <a:cxn ang="0">
                <a:pos x="csX486" y="csY486"/>
              </a:cxn>
              <a:cxn ang="0">
                <a:pos x="csX487" y="csY487"/>
              </a:cxn>
              <a:cxn ang="0">
                <a:pos x="csX488" y="csY488"/>
              </a:cxn>
              <a:cxn ang="0">
                <a:pos x="csX489" y="csY489"/>
              </a:cxn>
              <a:cxn ang="0">
                <a:pos x="csX490" y="csY490"/>
              </a:cxn>
              <a:cxn ang="0">
                <a:pos x="csX491" y="csY491"/>
              </a:cxn>
              <a:cxn ang="0">
                <a:pos x="csX492" y="csY492"/>
              </a:cxn>
              <a:cxn ang="0">
                <a:pos x="csX493" y="csY493"/>
              </a:cxn>
              <a:cxn ang="0">
                <a:pos x="csX494" y="csY494"/>
              </a:cxn>
              <a:cxn ang="0">
                <a:pos x="csX495" y="csY495"/>
              </a:cxn>
              <a:cxn ang="0">
                <a:pos x="csX496" y="csY496"/>
              </a:cxn>
              <a:cxn ang="0">
                <a:pos x="csX497" y="csY497"/>
              </a:cxn>
              <a:cxn ang="0">
                <a:pos x="csX498" y="csY498"/>
              </a:cxn>
              <a:cxn ang="0">
                <a:pos x="csX499" y="csY499"/>
              </a:cxn>
              <a:cxn ang="0">
                <a:pos x="csX500" y="csY500"/>
              </a:cxn>
              <a:cxn ang="0">
                <a:pos x="csX501" y="csY501"/>
              </a:cxn>
              <a:cxn ang="0">
                <a:pos x="csX502" y="csY502"/>
              </a:cxn>
              <a:cxn ang="0">
                <a:pos x="csX503" y="csY503"/>
              </a:cxn>
              <a:cxn ang="0">
                <a:pos x="csX504" y="csY504"/>
              </a:cxn>
              <a:cxn ang="0">
                <a:pos x="csX505" y="csY505"/>
              </a:cxn>
              <a:cxn ang="0">
                <a:pos x="csX506" y="csY506"/>
              </a:cxn>
              <a:cxn ang="0">
                <a:pos x="csX507" y="csY507"/>
              </a:cxn>
              <a:cxn ang="0">
                <a:pos x="csX508" y="csY508"/>
              </a:cxn>
              <a:cxn ang="0">
                <a:pos x="csX509" y="csY509"/>
              </a:cxn>
              <a:cxn ang="0">
                <a:pos x="csX510" y="csY510"/>
              </a:cxn>
              <a:cxn ang="0">
                <a:pos x="csX511" y="csY511"/>
              </a:cxn>
              <a:cxn ang="0">
                <a:pos x="csX512" y="csY512"/>
              </a:cxn>
              <a:cxn ang="0">
                <a:pos x="csX513" y="csY513"/>
              </a:cxn>
              <a:cxn ang="0">
                <a:pos x="csX514" y="csY514"/>
              </a:cxn>
              <a:cxn ang="0">
                <a:pos x="csX515" y="csY515"/>
              </a:cxn>
              <a:cxn ang="0">
                <a:pos x="csX516" y="csY516"/>
              </a:cxn>
              <a:cxn ang="0">
                <a:pos x="csX517" y="csY517"/>
              </a:cxn>
              <a:cxn ang="0">
                <a:pos x="csX518" y="csY518"/>
              </a:cxn>
              <a:cxn ang="0">
                <a:pos x="csX519" y="csY519"/>
              </a:cxn>
              <a:cxn ang="0">
                <a:pos x="csX520" y="csY520"/>
              </a:cxn>
              <a:cxn ang="0">
                <a:pos x="csX521" y="csY521"/>
              </a:cxn>
              <a:cxn ang="0">
                <a:pos x="csX522" y="csY522"/>
              </a:cxn>
              <a:cxn ang="0">
                <a:pos x="csX523" y="csY523"/>
              </a:cxn>
              <a:cxn ang="0">
                <a:pos x="csX524" y="csY524"/>
              </a:cxn>
              <a:cxn ang="0">
                <a:pos x="csX525" y="csY525"/>
              </a:cxn>
              <a:cxn ang="0">
                <a:pos x="csX526" y="csY526"/>
              </a:cxn>
              <a:cxn ang="0">
                <a:pos x="csX527" y="csY527"/>
              </a:cxn>
              <a:cxn ang="0">
                <a:pos x="csX528" y="csY528"/>
              </a:cxn>
              <a:cxn ang="0">
                <a:pos x="csX529" y="csY529"/>
              </a:cxn>
              <a:cxn ang="0">
                <a:pos x="csX530" y="csY530"/>
              </a:cxn>
              <a:cxn ang="0">
                <a:pos x="csX531" y="csY531"/>
              </a:cxn>
              <a:cxn ang="0">
                <a:pos x="csX532" y="csY532"/>
              </a:cxn>
              <a:cxn ang="0">
                <a:pos x="csX533" y="csY533"/>
              </a:cxn>
              <a:cxn ang="0">
                <a:pos x="csX534" y="csY534"/>
              </a:cxn>
              <a:cxn ang="0">
                <a:pos x="csX535" y="csY535"/>
              </a:cxn>
              <a:cxn ang="0">
                <a:pos x="csX536" y="csY536"/>
              </a:cxn>
              <a:cxn ang="0">
                <a:pos x="csX537" y="csY537"/>
              </a:cxn>
              <a:cxn ang="0">
                <a:pos x="csX538" y="csY538"/>
              </a:cxn>
              <a:cxn ang="0">
                <a:pos x="csX539" y="csY539"/>
              </a:cxn>
              <a:cxn ang="0">
                <a:pos x="csX540" y="csY540"/>
              </a:cxn>
              <a:cxn ang="0">
                <a:pos x="csX541" y="csY541"/>
              </a:cxn>
              <a:cxn ang="0">
                <a:pos x="csX542" y="csY542"/>
              </a:cxn>
              <a:cxn ang="0">
                <a:pos x="csX543" y="csY543"/>
              </a:cxn>
              <a:cxn ang="0">
                <a:pos x="csX544" y="csY544"/>
              </a:cxn>
              <a:cxn ang="0">
                <a:pos x="csX545" y="csY545"/>
              </a:cxn>
              <a:cxn ang="0">
                <a:pos x="csX546" y="csY546"/>
              </a:cxn>
              <a:cxn ang="0">
                <a:pos x="csX547" y="csY547"/>
              </a:cxn>
              <a:cxn ang="0">
                <a:pos x="csX548" y="csY548"/>
              </a:cxn>
              <a:cxn ang="0">
                <a:pos x="csX549" y="csY549"/>
              </a:cxn>
              <a:cxn ang="0">
                <a:pos x="csX550" y="csY550"/>
              </a:cxn>
              <a:cxn ang="0">
                <a:pos x="csX551" y="csY551"/>
              </a:cxn>
              <a:cxn ang="0">
                <a:pos x="csX552" y="csY552"/>
              </a:cxn>
              <a:cxn ang="0">
                <a:pos x="csX553" y="csY553"/>
              </a:cxn>
              <a:cxn ang="0">
                <a:pos x="csX554" y="csY554"/>
              </a:cxn>
              <a:cxn ang="0">
                <a:pos x="csX555" y="csY555"/>
              </a:cxn>
              <a:cxn ang="0">
                <a:pos x="csX556" y="csY556"/>
              </a:cxn>
              <a:cxn ang="0">
                <a:pos x="csX557" y="csY557"/>
              </a:cxn>
              <a:cxn ang="0">
                <a:pos x="csX558" y="csY558"/>
              </a:cxn>
              <a:cxn ang="0">
                <a:pos x="csX559" y="csY559"/>
              </a:cxn>
              <a:cxn ang="0">
                <a:pos x="csX560" y="csY560"/>
              </a:cxn>
              <a:cxn ang="0">
                <a:pos x="csX561" y="csY561"/>
              </a:cxn>
              <a:cxn ang="0">
                <a:pos x="csX562" y="csY562"/>
              </a:cxn>
              <a:cxn ang="0">
                <a:pos x="csX563" y="csY563"/>
              </a:cxn>
              <a:cxn ang="0">
                <a:pos x="csX564" y="csY564"/>
              </a:cxn>
              <a:cxn ang="0">
                <a:pos x="csX565" y="csY565"/>
              </a:cxn>
              <a:cxn ang="0">
                <a:pos x="csX566" y="csY566"/>
              </a:cxn>
              <a:cxn ang="0">
                <a:pos x="csX567" y="csY567"/>
              </a:cxn>
              <a:cxn ang="0">
                <a:pos x="csX568" y="csY568"/>
              </a:cxn>
              <a:cxn ang="0">
                <a:pos x="csX569" y="csY569"/>
              </a:cxn>
              <a:cxn ang="0">
                <a:pos x="csX570" y="csY570"/>
              </a:cxn>
              <a:cxn ang="0">
                <a:pos x="csX571" y="csY571"/>
              </a:cxn>
              <a:cxn ang="0">
                <a:pos x="csX572" y="csY572"/>
              </a:cxn>
              <a:cxn ang="0">
                <a:pos x="csX573" y="csY573"/>
              </a:cxn>
              <a:cxn ang="0">
                <a:pos x="csX574" y="csY574"/>
              </a:cxn>
              <a:cxn ang="0">
                <a:pos x="csX575" y="csY575"/>
              </a:cxn>
              <a:cxn ang="0">
                <a:pos x="csX576" y="csY576"/>
              </a:cxn>
              <a:cxn ang="0">
                <a:pos x="csX577" y="csY577"/>
              </a:cxn>
              <a:cxn ang="0">
                <a:pos x="csX578" y="csY578"/>
              </a:cxn>
              <a:cxn ang="0">
                <a:pos x="csX579" y="csY579"/>
              </a:cxn>
              <a:cxn ang="0">
                <a:pos x="csX580" y="csY580"/>
              </a:cxn>
              <a:cxn ang="0">
                <a:pos x="csX581" y="csY581"/>
              </a:cxn>
              <a:cxn ang="0">
                <a:pos x="csX582" y="csY582"/>
              </a:cxn>
              <a:cxn ang="0">
                <a:pos x="csX583" y="csY583"/>
              </a:cxn>
              <a:cxn ang="0">
                <a:pos x="csX584" y="csY584"/>
              </a:cxn>
              <a:cxn ang="0">
                <a:pos x="csX585" y="csY585"/>
              </a:cxn>
              <a:cxn ang="0">
                <a:pos x="csX586" y="csY586"/>
              </a:cxn>
              <a:cxn ang="0">
                <a:pos x="csX587" y="csY587"/>
              </a:cxn>
              <a:cxn ang="0">
                <a:pos x="csX588" y="csY588"/>
              </a:cxn>
              <a:cxn ang="0">
                <a:pos x="csX589" y="csY589"/>
              </a:cxn>
              <a:cxn ang="0">
                <a:pos x="csX590" y="csY590"/>
              </a:cxn>
              <a:cxn ang="0">
                <a:pos x="csX591" y="csY591"/>
              </a:cxn>
              <a:cxn ang="0">
                <a:pos x="csX592" y="csY592"/>
              </a:cxn>
              <a:cxn ang="0">
                <a:pos x="csX593" y="csY593"/>
              </a:cxn>
              <a:cxn ang="0">
                <a:pos x="csX594" y="csY594"/>
              </a:cxn>
              <a:cxn ang="0">
                <a:pos x="csX595" y="csY595"/>
              </a:cxn>
              <a:cxn ang="0">
                <a:pos x="csX596" y="csY596"/>
              </a:cxn>
              <a:cxn ang="0">
                <a:pos x="csX597" y="csY597"/>
              </a:cxn>
              <a:cxn ang="0">
                <a:pos x="csX598" y="csY598"/>
              </a:cxn>
              <a:cxn ang="0">
                <a:pos x="csX599" y="csY599"/>
              </a:cxn>
              <a:cxn ang="0">
                <a:pos x="csX600" y="csY600"/>
              </a:cxn>
              <a:cxn ang="0">
                <a:pos x="csX601" y="csY601"/>
              </a:cxn>
              <a:cxn ang="0">
                <a:pos x="csX602" y="csY602"/>
              </a:cxn>
              <a:cxn ang="0">
                <a:pos x="csX603" y="csY603"/>
              </a:cxn>
              <a:cxn ang="0">
                <a:pos x="csX604" y="csY604"/>
              </a:cxn>
              <a:cxn ang="0">
                <a:pos x="csX605" y="csY605"/>
              </a:cxn>
              <a:cxn ang="0">
                <a:pos x="csX606" y="csY606"/>
              </a:cxn>
              <a:cxn ang="0">
                <a:pos x="csX607" y="csY607"/>
              </a:cxn>
              <a:cxn ang="0">
                <a:pos x="csX608" y="csY608"/>
              </a:cxn>
              <a:cxn ang="0">
                <a:pos x="csX609" y="csY609"/>
              </a:cxn>
              <a:cxn ang="0">
                <a:pos x="csX610" y="csY610"/>
              </a:cxn>
              <a:cxn ang="0">
                <a:pos x="csX611" y="csY611"/>
              </a:cxn>
              <a:cxn ang="0">
                <a:pos x="csX612" y="csY612"/>
              </a:cxn>
              <a:cxn ang="0">
                <a:pos x="csX613" y="csY613"/>
              </a:cxn>
              <a:cxn ang="0">
                <a:pos x="csX614" y="csY614"/>
              </a:cxn>
              <a:cxn ang="0">
                <a:pos x="csX615" y="csY615"/>
              </a:cxn>
              <a:cxn ang="0">
                <a:pos x="csX616" y="csY616"/>
              </a:cxn>
              <a:cxn ang="0">
                <a:pos x="csX617" y="csY617"/>
              </a:cxn>
              <a:cxn ang="0">
                <a:pos x="csX618" y="csY618"/>
              </a:cxn>
              <a:cxn ang="0">
                <a:pos x="csX619" y="csY619"/>
              </a:cxn>
              <a:cxn ang="0">
                <a:pos x="csX620" y="csY620"/>
              </a:cxn>
              <a:cxn ang="0">
                <a:pos x="csX621" y="csY621"/>
              </a:cxn>
              <a:cxn ang="0">
                <a:pos x="csX622" y="csY622"/>
              </a:cxn>
              <a:cxn ang="0">
                <a:pos x="csX623" y="csY623"/>
              </a:cxn>
              <a:cxn ang="0">
                <a:pos x="csX624" y="csY624"/>
              </a:cxn>
              <a:cxn ang="0">
                <a:pos x="csX625" y="csY625"/>
              </a:cxn>
              <a:cxn ang="0">
                <a:pos x="csX626" y="csY626"/>
              </a:cxn>
              <a:cxn ang="0">
                <a:pos x="csX627" y="csY627"/>
              </a:cxn>
              <a:cxn ang="0">
                <a:pos x="csX628" y="csY628"/>
              </a:cxn>
              <a:cxn ang="0">
                <a:pos x="csX629" y="csY629"/>
              </a:cxn>
              <a:cxn ang="0">
                <a:pos x="csX630" y="csY630"/>
              </a:cxn>
              <a:cxn ang="0">
                <a:pos x="csX631" y="csY631"/>
              </a:cxn>
              <a:cxn ang="0">
                <a:pos x="csX632" y="csY632"/>
              </a:cxn>
              <a:cxn ang="0">
                <a:pos x="csX633" y="csY633"/>
              </a:cxn>
              <a:cxn ang="0">
                <a:pos x="csX634" y="csY634"/>
              </a:cxn>
              <a:cxn ang="0">
                <a:pos x="csX635" y="csY635"/>
              </a:cxn>
              <a:cxn ang="0">
                <a:pos x="csX636" y="csY636"/>
              </a:cxn>
              <a:cxn ang="0">
                <a:pos x="csX637" y="csY637"/>
              </a:cxn>
              <a:cxn ang="0">
                <a:pos x="csX638" y="csY638"/>
              </a:cxn>
              <a:cxn ang="0">
                <a:pos x="csX639" y="csY639"/>
              </a:cxn>
              <a:cxn ang="0">
                <a:pos x="csX640" y="csY640"/>
              </a:cxn>
              <a:cxn ang="0">
                <a:pos x="csX641" y="csY641"/>
              </a:cxn>
              <a:cxn ang="0">
                <a:pos x="csX642" y="csY642"/>
              </a:cxn>
              <a:cxn ang="0">
                <a:pos x="csX643" y="csY643"/>
              </a:cxn>
              <a:cxn ang="0">
                <a:pos x="csX644" y="csY644"/>
              </a:cxn>
              <a:cxn ang="0">
                <a:pos x="csX645" y="csY645"/>
              </a:cxn>
              <a:cxn ang="0">
                <a:pos x="csX646" y="csY646"/>
              </a:cxn>
              <a:cxn ang="0">
                <a:pos x="csX647" y="csY647"/>
              </a:cxn>
              <a:cxn ang="0">
                <a:pos x="csX648" y="csY648"/>
              </a:cxn>
              <a:cxn ang="0">
                <a:pos x="csX649" y="csY649"/>
              </a:cxn>
              <a:cxn ang="0">
                <a:pos x="csX650" y="csY650"/>
              </a:cxn>
              <a:cxn ang="0">
                <a:pos x="csX651" y="csY651"/>
              </a:cxn>
              <a:cxn ang="0">
                <a:pos x="csX652" y="csY652"/>
              </a:cxn>
              <a:cxn ang="0">
                <a:pos x="csX653" y="csY653"/>
              </a:cxn>
              <a:cxn ang="0">
                <a:pos x="csX654" y="csY654"/>
              </a:cxn>
              <a:cxn ang="0">
                <a:pos x="csX655" y="csY655"/>
              </a:cxn>
              <a:cxn ang="0">
                <a:pos x="csX656" y="csY656"/>
              </a:cxn>
              <a:cxn ang="0">
                <a:pos x="csX657" y="csY657"/>
              </a:cxn>
              <a:cxn ang="0">
                <a:pos x="csX658" y="csY658"/>
              </a:cxn>
              <a:cxn ang="0">
                <a:pos x="csX659" y="csY659"/>
              </a:cxn>
              <a:cxn ang="0">
                <a:pos x="csX660" y="csY660"/>
              </a:cxn>
              <a:cxn ang="0">
                <a:pos x="csX661" y="csY661"/>
              </a:cxn>
              <a:cxn ang="0">
                <a:pos x="csX662" y="csY662"/>
              </a:cxn>
              <a:cxn ang="0">
                <a:pos x="csX663" y="csY663"/>
              </a:cxn>
              <a:cxn ang="0">
                <a:pos x="csX664" y="csY664"/>
              </a:cxn>
              <a:cxn ang="0">
                <a:pos x="csX665" y="csY665"/>
              </a:cxn>
              <a:cxn ang="0">
                <a:pos x="csX666" y="csY666"/>
              </a:cxn>
              <a:cxn ang="0">
                <a:pos x="csX667" y="csY667"/>
              </a:cxn>
              <a:cxn ang="0">
                <a:pos x="csX668" y="csY668"/>
              </a:cxn>
              <a:cxn ang="0">
                <a:pos x="csX669" y="csY669"/>
              </a:cxn>
              <a:cxn ang="0">
                <a:pos x="csX670" y="csY670"/>
              </a:cxn>
              <a:cxn ang="0">
                <a:pos x="csX671" y="csY671"/>
              </a:cxn>
              <a:cxn ang="0">
                <a:pos x="csX672" y="csY672"/>
              </a:cxn>
              <a:cxn ang="0">
                <a:pos x="csX673" y="csY673"/>
              </a:cxn>
              <a:cxn ang="0">
                <a:pos x="csX674" y="csY674"/>
              </a:cxn>
              <a:cxn ang="0">
                <a:pos x="csX675" y="csY675"/>
              </a:cxn>
              <a:cxn ang="0">
                <a:pos x="csX676" y="csY676"/>
              </a:cxn>
              <a:cxn ang="0">
                <a:pos x="csX677" y="csY677"/>
              </a:cxn>
              <a:cxn ang="0">
                <a:pos x="csX678" y="csY678"/>
              </a:cxn>
              <a:cxn ang="0">
                <a:pos x="csX679" y="csY679"/>
              </a:cxn>
              <a:cxn ang="0">
                <a:pos x="csX680" y="csY680"/>
              </a:cxn>
              <a:cxn ang="0">
                <a:pos x="csX681" y="csY681"/>
              </a:cxn>
              <a:cxn ang="0">
                <a:pos x="csX682" y="csY682"/>
              </a:cxn>
              <a:cxn ang="0">
                <a:pos x="csX683" y="csY683"/>
              </a:cxn>
              <a:cxn ang="0">
                <a:pos x="csX684" y="csY684"/>
              </a:cxn>
              <a:cxn ang="0">
                <a:pos x="csX685" y="csY685"/>
              </a:cxn>
              <a:cxn ang="0">
                <a:pos x="csX686" y="csY686"/>
              </a:cxn>
              <a:cxn ang="0">
                <a:pos x="csX687" y="csY687"/>
              </a:cxn>
              <a:cxn ang="0">
                <a:pos x="csX688" y="csY688"/>
              </a:cxn>
              <a:cxn ang="0">
                <a:pos x="csX689" y="csY689"/>
              </a:cxn>
              <a:cxn ang="0">
                <a:pos x="csX690" y="csY690"/>
              </a:cxn>
              <a:cxn ang="0">
                <a:pos x="csX691" y="csY691"/>
              </a:cxn>
              <a:cxn ang="0">
                <a:pos x="csX692" y="csY692"/>
              </a:cxn>
              <a:cxn ang="0">
                <a:pos x="csX693" y="csY693"/>
              </a:cxn>
              <a:cxn ang="0">
                <a:pos x="csX694" y="csY694"/>
              </a:cxn>
              <a:cxn ang="0">
                <a:pos x="csX695" y="csY695"/>
              </a:cxn>
              <a:cxn ang="0">
                <a:pos x="csX696" y="csY696"/>
              </a:cxn>
              <a:cxn ang="0">
                <a:pos x="csX697" y="csY697"/>
              </a:cxn>
              <a:cxn ang="0">
                <a:pos x="csX698" y="csY698"/>
              </a:cxn>
              <a:cxn ang="0">
                <a:pos x="csX699" y="csY699"/>
              </a:cxn>
              <a:cxn ang="0">
                <a:pos x="csX700" y="csY700"/>
              </a:cxn>
              <a:cxn ang="0">
                <a:pos x="csX701" y="csY701"/>
              </a:cxn>
              <a:cxn ang="0">
                <a:pos x="csX702" y="csY702"/>
              </a:cxn>
              <a:cxn ang="0">
                <a:pos x="csX703" y="csY703"/>
              </a:cxn>
              <a:cxn ang="0">
                <a:pos x="csX704" y="csY704"/>
              </a:cxn>
              <a:cxn ang="0">
                <a:pos x="csX705" y="csY705"/>
              </a:cxn>
              <a:cxn ang="0">
                <a:pos x="csX706" y="csY706"/>
              </a:cxn>
              <a:cxn ang="0">
                <a:pos x="csX707" y="csY707"/>
              </a:cxn>
              <a:cxn ang="0">
                <a:pos x="csX708" y="csY708"/>
              </a:cxn>
              <a:cxn ang="0">
                <a:pos x="csX709" y="csY709"/>
              </a:cxn>
              <a:cxn ang="0">
                <a:pos x="csX710" y="csY710"/>
              </a:cxn>
              <a:cxn ang="0">
                <a:pos x="csX711" y="csY711"/>
              </a:cxn>
              <a:cxn ang="0">
                <a:pos x="csX712" y="csY712"/>
              </a:cxn>
              <a:cxn ang="0">
                <a:pos x="csX713" y="csY713"/>
              </a:cxn>
              <a:cxn ang="0">
                <a:pos x="csX714" y="csY714"/>
              </a:cxn>
              <a:cxn ang="0">
                <a:pos x="csX715" y="csY715"/>
              </a:cxn>
              <a:cxn ang="0">
                <a:pos x="csX716" y="csY716"/>
              </a:cxn>
              <a:cxn ang="0">
                <a:pos x="csX717" y="csY717"/>
              </a:cxn>
              <a:cxn ang="0">
                <a:pos x="csX718" y="csY718"/>
              </a:cxn>
              <a:cxn ang="0">
                <a:pos x="csX719" y="csY719"/>
              </a:cxn>
              <a:cxn ang="0">
                <a:pos x="csX720" y="csY720"/>
              </a:cxn>
              <a:cxn ang="0">
                <a:pos x="csX721" y="csY721"/>
              </a:cxn>
              <a:cxn ang="0">
                <a:pos x="csX722" y="csY722"/>
              </a:cxn>
              <a:cxn ang="0">
                <a:pos x="csX723" y="csY723"/>
              </a:cxn>
              <a:cxn ang="0">
                <a:pos x="csX724" y="csY724"/>
              </a:cxn>
              <a:cxn ang="0">
                <a:pos x="csX725" y="csY725"/>
              </a:cxn>
              <a:cxn ang="0">
                <a:pos x="csX726" y="csY726"/>
              </a:cxn>
              <a:cxn ang="0">
                <a:pos x="csX727" y="csY727"/>
              </a:cxn>
              <a:cxn ang="0">
                <a:pos x="csX728" y="csY728"/>
              </a:cxn>
              <a:cxn ang="0">
                <a:pos x="csX729" y="csY729"/>
              </a:cxn>
              <a:cxn ang="0">
                <a:pos x="csX730" y="csY730"/>
              </a:cxn>
              <a:cxn ang="0">
                <a:pos x="csX731" y="csY731"/>
              </a:cxn>
              <a:cxn ang="0">
                <a:pos x="csX732" y="csY732"/>
              </a:cxn>
              <a:cxn ang="0">
                <a:pos x="csX733" y="csY733"/>
              </a:cxn>
              <a:cxn ang="0">
                <a:pos x="csX734" y="csY734"/>
              </a:cxn>
              <a:cxn ang="0">
                <a:pos x="csX735" y="csY735"/>
              </a:cxn>
              <a:cxn ang="0">
                <a:pos x="csX736" y="csY736"/>
              </a:cxn>
              <a:cxn ang="0">
                <a:pos x="csX737" y="csY737"/>
              </a:cxn>
              <a:cxn ang="0">
                <a:pos x="csX738" y="csY738"/>
              </a:cxn>
              <a:cxn ang="0">
                <a:pos x="csX739" y="csY739"/>
              </a:cxn>
              <a:cxn ang="0">
                <a:pos x="csX740" y="csY740"/>
              </a:cxn>
              <a:cxn ang="0">
                <a:pos x="csX741" y="csY741"/>
              </a:cxn>
              <a:cxn ang="0">
                <a:pos x="csX742" y="csY742"/>
              </a:cxn>
              <a:cxn ang="0">
                <a:pos x="csX743" y="csY743"/>
              </a:cxn>
              <a:cxn ang="0">
                <a:pos x="csX744" y="csY744"/>
              </a:cxn>
              <a:cxn ang="0">
                <a:pos x="csX745" y="csY745"/>
              </a:cxn>
              <a:cxn ang="0">
                <a:pos x="csX746" y="csY746"/>
              </a:cxn>
              <a:cxn ang="0">
                <a:pos x="csX747" y="csY747"/>
              </a:cxn>
              <a:cxn ang="0">
                <a:pos x="csX748" y="csY748"/>
              </a:cxn>
              <a:cxn ang="0">
                <a:pos x="csX749" y="csY749"/>
              </a:cxn>
              <a:cxn ang="0">
                <a:pos x="csX750" y="csY750"/>
              </a:cxn>
              <a:cxn ang="0">
                <a:pos x="csX751" y="csY751"/>
              </a:cxn>
              <a:cxn ang="0">
                <a:pos x="csX752" y="csY752"/>
              </a:cxn>
              <a:cxn ang="0">
                <a:pos x="csX753" y="csY753"/>
              </a:cxn>
              <a:cxn ang="0">
                <a:pos x="csX754" y="csY754"/>
              </a:cxn>
              <a:cxn ang="0">
                <a:pos x="csX755" y="csY755"/>
              </a:cxn>
              <a:cxn ang="0">
                <a:pos x="csX756" y="csY756"/>
              </a:cxn>
              <a:cxn ang="0">
                <a:pos x="csX757" y="csY757"/>
              </a:cxn>
              <a:cxn ang="0">
                <a:pos x="csX758" y="csY758"/>
              </a:cxn>
              <a:cxn ang="0">
                <a:pos x="csX759" y="csY759"/>
              </a:cxn>
              <a:cxn ang="0">
                <a:pos x="csX760" y="csY760"/>
              </a:cxn>
              <a:cxn ang="0">
                <a:pos x="csX761" y="csY761"/>
              </a:cxn>
              <a:cxn ang="0">
                <a:pos x="csX762" y="csY762"/>
              </a:cxn>
              <a:cxn ang="0">
                <a:pos x="csX763" y="csY763"/>
              </a:cxn>
              <a:cxn ang="0">
                <a:pos x="csX764" y="csY764"/>
              </a:cxn>
              <a:cxn ang="0">
                <a:pos x="csX765" y="csY765"/>
              </a:cxn>
              <a:cxn ang="0">
                <a:pos x="csX766" y="csY766"/>
              </a:cxn>
              <a:cxn ang="0">
                <a:pos x="csX767" y="csY767"/>
              </a:cxn>
              <a:cxn ang="0">
                <a:pos x="csX768" y="csY768"/>
              </a:cxn>
              <a:cxn ang="0">
                <a:pos x="csX769" y="csY769"/>
              </a:cxn>
              <a:cxn ang="0">
                <a:pos x="csX770" y="csY770"/>
              </a:cxn>
              <a:cxn ang="0">
                <a:pos x="csX771" y="csY771"/>
              </a:cxn>
              <a:cxn ang="0">
                <a:pos x="csX772" y="csY772"/>
              </a:cxn>
              <a:cxn ang="0">
                <a:pos x="csX773" y="csY773"/>
              </a:cxn>
              <a:cxn ang="0">
                <a:pos x="csX774" y="csY774"/>
              </a:cxn>
              <a:cxn ang="0">
                <a:pos x="csX775" y="csY775"/>
              </a:cxn>
              <a:cxn ang="0">
                <a:pos x="csX776" y="csY776"/>
              </a:cxn>
              <a:cxn ang="0">
                <a:pos x="csX777" y="csY777"/>
              </a:cxn>
              <a:cxn ang="0">
                <a:pos x="csX778" y="csY778"/>
              </a:cxn>
              <a:cxn ang="0">
                <a:pos x="csX779" y="csY779"/>
              </a:cxn>
              <a:cxn ang="0">
                <a:pos x="csX780" y="csY780"/>
              </a:cxn>
              <a:cxn ang="0">
                <a:pos x="csX781" y="csY781"/>
              </a:cxn>
              <a:cxn ang="0">
                <a:pos x="csX782" y="csY782"/>
              </a:cxn>
              <a:cxn ang="0">
                <a:pos x="csX783" y="csY783"/>
              </a:cxn>
              <a:cxn ang="0">
                <a:pos x="csX784" y="csY784"/>
              </a:cxn>
              <a:cxn ang="0">
                <a:pos x="csX785" y="csY785"/>
              </a:cxn>
              <a:cxn ang="0">
                <a:pos x="csX786" y="csY786"/>
              </a:cxn>
              <a:cxn ang="0">
                <a:pos x="csX787" y="csY787"/>
              </a:cxn>
              <a:cxn ang="0">
                <a:pos x="csX788" y="csY788"/>
              </a:cxn>
              <a:cxn ang="0">
                <a:pos x="csX789" y="csY789"/>
              </a:cxn>
              <a:cxn ang="0">
                <a:pos x="csX790" y="csY790"/>
              </a:cxn>
              <a:cxn ang="0">
                <a:pos x="csX791" y="csY791"/>
              </a:cxn>
              <a:cxn ang="0">
                <a:pos x="csX792" y="csY792"/>
              </a:cxn>
              <a:cxn ang="0">
                <a:pos x="csX793" y="csY793"/>
              </a:cxn>
              <a:cxn ang="0">
                <a:pos x="csX794" y="csY794"/>
              </a:cxn>
              <a:cxn ang="0">
                <a:pos x="csX795" y="csY795"/>
              </a:cxn>
              <a:cxn ang="0">
                <a:pos x="csX796" y="csY796"/>
              </a:cxn>
              <a:cxn ang="0">
                <a:pos x="csX797" y="csY797"/>
              </a:cxn>
              <a:cxn ang="0">
                <a:pos x="csX798" y="csY798"/>
              </a:cxn>
              <a:cxn ang="0">
                <a:pos x="csX799" y="csY799"/>
              </a:cxn>
              <a:cxn ang="0">
                <a:pos x="csX800" y="csY800"/>
              </a:cxn>
              <a:cxn ang="0">
                <a:pos x="csX801" y="csY801"/>
              </a:cxn>
              <a:cxn ang="0">
                <a:pos x="csX802" y="csY802"/>
              </a:cxn>
              <a:cxn ang="0">
                <a:pos x="csX803" y="csY803"/>
              </a:cxn>
              <a:cxn ang="0">
                <a:pos x="csX804" y="csY804"/>
              </a:cxn>
              <a:cxn ang="0">
                <a:pos x="csX805" y="csY805"/>
              </a:cxn>
              <a:cxn ang="0">
                <a:pos x="csX806" y="csY806"/>
              </a:cxn>
              <a:cxn ang="0">
                <a:pos x="csX807" y="csY807"/>
              </a:cxn>
              <a:cxn ang="0">
                <a:pos x="csX808" y="csY808"/>
              </a:cxn>
              <a:cxn ang="0">
                <a:pos x="csX809" y="csY809"/>
              </a:cxn>
              <a:cxn ang="0">
                <a:pos x="csX810" y="csY810"/>
              </a:cxn>
              <a:cxn ang="0">
                <a:pos x="csX811" y="csY811"/>
              </a:cxn>
              <a:cxn ang="0">
                <a:pos x="csX812" y="csY812"/>
              </a:cxn>
              <a:cxn ang="0">
                <a:pos x="csX813" y="csY813"/>
              </a:cxn>
              <a:cxn ang="0">
                <a:pos x="csX814" y="csY814"/>
              </a:cxn>
              <a:cxn ang="0">
                <a:pos x="csX815" y="csY815"/>
              </a:cxn>
              <a:cxn ang="0">
                <a:pos x="csX816" y="csY816"/>
              </a:cxn>
              <a:cxn ang="0">
                <a:pos x="csX817" y="csY817"/>
              </a:cxn>
              <a:cxn ang="0">
                <a:pos x="csX818" y="csY818"/>
              </a:cxn>
              <a:cxn ang="0">
                <a:pos x="csX819" y="csY819"/>
              </a:cxn>
              <a:cxn ang="0">
                <a:pos x="csX820" y="csY820"/>
              </a:cxn>
              <a:cxn ang="0">
                <a:pos x="csX821" y="csY821"/>
              </a:cxn>
              <a:cxn ang="0">
                <a:pos x="csX822" y="csY822"/>
              </a:cxn>
              <a:cxn ang="0">
                <a:pos x="csX823" y="csY823"/>
              </a:cxn>
              <a:cxn ang="0">
                <a:pos x="csX824" y="csY824"/>
              </a:cxn>
              <a:cxn ang="0">
                <a:pos x="csX825" y="csY825"/>
              </a:cxn>
              <a:cxn ang="0">
                <a:pos x="csX826" y="csY826"/>
              </a:cxn>
              <a:cxn ang="0">
                <a:pos x="csX827" y="csY827"/>
              </a:cxn>
              <a:cxn ang="0">
                <a:pos x="csX828" y="csY828"/>
              </a:cxn>
              <a:cxn ang="0">
                <a:pos x="csX829" y="csY829"/>
              </a:cxn>
              <a:cxn ang="0">
                <a:pos x="csX830" y="csY830"/>
              </a:cxn>
              <a:cxn ang="0">
                <a:pos x="csX831" y="csY831"/>
              </a:cxn>
              <a:cxn ang="0">
                <a:pos x="csX832" y="csY832"/>
              </a:cxn>
              <a:cxn ang="0">
                <a:pos x="csX833" y="csY833"/>
              </a:cxn>
              <a:cxn ang="0">
                <a:pos x="csX834" y="csY834"/>
              </a:cxn>
              <a:cxn ang="0">
                <a:pos x="csX835" y="csY835"/>
              </a:cxn>
              <a:cxn ang="0">
                <a:pos x="csX836" y="csY836"/>
              </a:cxn>
              <a:cxn ang="0">
                <a:pos x="csX837" y="csY837"/>
              </a:cxn>
              <a:cxn ang="0">
                <a:pos x="csX838" y="csY838"/>
              </a:cxn>
              <a:cxn ang="0">
                <a:pos x="csX839" y="csY839"/>
              </a:cxn>
              <a:cxn ang="0">
                <a:pos x="csX840" y="csY840"/>
              </a:cxn>
              <a:cxn ang="0">
                <a:pos x="csX841" y="csY841"/>
              </a:cxn>
              <a:cxn ang="0">
                <a:pos x="csX842" y="csY842"/>
              </a:cxn>
              <a:cxn ang="0">
                <a:pos x="csX843" y="csY843"/>
              </a:cxn>
              <a:cxn ang="0">
                <a:pos x="csX844" y="csY844"/>
              </a:cxn>
              <a:cxn ang="0">
                <a:pos x="csX845" y="csY845"/>
              </a:cxn>
              <a:cxn ang="0">
                <a:pos x="csX846" y="csY846"/>
              </a:cxn>
              <a:cxn ang="0">
                <a:pos x="csX847" y="csY847"/>
              </a:cxn>
              <a:cxn ang="0">
                <a:pos x="csX848" y="csY848"/>
              </a:cxn>
              <a:cxn ang="0">
                <a:pos x="csX849" y="csY849"/>
              </a:cxn>
              <a:cxn ang="0">
                <a:pos x="csX850" y="csY850"/>
              </a:cxn>
              <a:cxn ang="0">
                <a:pos x="csX851" y="csY851"/>
              </a:cxn>
              <a:cxn ang="0">
                <a:pos x="csX852" y="csY852"/>
              </a:cxn>
              <a:cxn ang="0">
                <a:pos x="csX853" y="csY853"/>
              </a:cxn>
              <a:cxn ang="0">
                <a:pos x="csX854" y="csY854"/>
              </a:cxn>
              <a:cxn ang="0">
                <a:pos x="csX855" y="csY855"/>
              </a:cxn>
              <a:cxn ang="0">
                <a:pos x="csX856" y="csY856"/>
              </a:cxn>
              <a:cxn ang="0">
                <a:pos x="csX857" y="csY857"/>
              </a:cxn>
              <a:cxn ang="0">
                <a:pos x="csX858" y="csY858"/>
              </a:cxn>
              <a:cxn ang="0">
                <a:pos x="csX859" y="csY859"/>
              </a:cxn>
              <a:cxn ang="0">
                <a:pos x="csX860" y="csY860"/>
              </a:cxn>
              <a:cxn ang="0">
                <a:pos x="csX861" y="csY861"/>
              </a:cxn>
              <a:cxn ang="0">
                <a:pos x="csX862" y="csY862"/>
              </a:cxn>
              <a:cxn ang="0">
                <a:pos x="csX863" y="csY863"/>
              </a:cxn>
              <a:cxn ang="0">
                <a:pos x="csX864" y="csY864"/>
              </a:cxn>
              <a:cxn ang="0">
                <a:pos x="csX865" y="csY865"/>
              </a:cxn>
              <a:cxn ang="0">
                <a:pos x="csX866" y="csY866"/>
              </a:cxn>
              <a:cxn ang="0">
                <a:pos x="csX867" y="csY867"/>
              </a:cxn>
              <a:cxn ang="0">
                <a:pos x="csX868" y="csY868"/>
              </a:cxn>
              <a:cxn ang="0">
                <a:pos x="csX869" y="csY869"/>
              </a:cxn>
              <a:cxn ang="0">
                <a:pos x="csX870" y="csY870"/>
              </a:cxn>
              <a:cxn ang="0">
                <a:pos x="csX871" y="csY871"/>
              </a:cxn>
              <a:cxn ang="0">
                <a:pos x="csX872" y="csY872"/>
              </a:cxn>
              <a:cxn ang="0">
                <a:pos x="csX873" y="csY873"/>
              </a:cxn>
              <a:cxn ang="0">
                <a:pos x="csX874" y="csY874"/>
              </a:cxn>
              <a:cxn ang="0">
                <a:pos x="csX875" y="csY875"/>
              </a:cxn>
              <a:cxn ang="0">
                <a:pos x="csX876" y="csY876"/>
              </a:cxn>
              <a:cxn ang="0">
                <a:pos x="csX877" y="csY877"/>
              </a:cxn>
              <a:cxn ang="0">
                <a:pos x="csX878" y="csY878"/>
              </a:cxn>
              <a:cxn ang="0">
                <a:pos x="csX879" y="csY879"/>
              </a:cxn>
              <a:cxn ang="0">
                <a:pos x="csX880" y="csY880"/>
              </a:cxn>
              <a:cxn ang="0">
                <a:pos x="csX881" y="csY881"/>
              </a:cxn>
              <a:cxn ang="0">
                <a:pos x="csX882" y="csY882"/>
              </a:cxn>
              <a:cxn ang="0">
                <a:pos x="csX883" y="csY883"/>
              </a:cxn>
              <a:cxn ang="0">
                <a:pos x="csX884" y="csY884"/>
              </a:cxn>
              <a:cxn ang="0">
                <a:pos x="csX885" y="csY885"/>
              </a:cxn>
              <a:cxn ang="0">
                <a:pos x="csX886" y="csY886"/>
              </a:cxn>
              <a:cxn ang="0">
                <a:pos x="csX887" y="csY887"/>
              </a:cxn>
              <a:cxn ang="0">
                <a:pos x="csX888" y="csY888"/>
              </a:cxn>
              <a:cxn ang="0">
                <a:pos x="csX889" y="csY889"/>
              </a:cxn>
              <a:cxn ang="0">
                <a:pos x="csX890" y="csY890"/>
              </a:cxn>
              <a:cxn ang="0">
                <a:pos x="csX891" y="csY891"/>
              </a:cxn>
              <a:cxn ang="0">
                <a:pos x="csX892" y="csY892"/>
              </a:cxn>
              <a:cxn ang="0">
                <a:pos x="csX893" y="csY893"/>
              </a:cxn>
              <a:cxn ang="0">
                <a:pos x="csX894" y="csY894"/>
              </a:cxn>
              <a:cxn ang="0">
                <a:pos x="csX895" y="csY895"/>
              </a:cxn>
              <a:cxn ang="0">
                <a:pos x="csX896" y="csY896"/>
              </a:cxn>
              <a:cxn ang="0">
                <a:pos x="csX897" y="csY897"/>
              </a:cxn>
              <a:cxn ang="0">
                <a:pos x="csX898" y="csY898"/>
              </a:cxn>
              <a:cxn ang="0">
                <a:pos x="csX899" y="csY899"/>
              </a:cxn>
              <a:cxn ang="0">
                <a:pos x="csX900" y="csY900"/>
              </a:cxn>
              <a:cxn ang="0">
                <a:pos x="csX901" y="csY901"/>
              </a:cxn>
              <a:cxn ang="0">
                <a:pos x="csX902" y="csY902"/>
              </a:cxn>
              <a:cxn ang="0">
                <a:pos x="csX903" y="csY903"/>
              </a:cxn>
              <a:cxn ang="0">
                <a:pos x="csX904" y="csY904"/>
              </a:cxn>
              <a:cxn ang="0">
                <a:pos x="csX905" y="csY905"/>
              </a:cxn>
              <a:cxn ang="0">
                <a:pos x="csX906" y="csY906"/>
              </a:cxn>
              <a:cxn ang="0">
                <a:pos x="csX907" y="csY907"/>
              </a:cxn>
              <a:cxn ang="0">
                <a:pos x="csX908" y="csY908"/>
              </a:cxn>
              <a:cxn ang="0">
                <a:pos x="csX909" y="csY909"/>
              </a:cxn>
              <a:cxn ang="0">
                <a:pos x="csX910" y="csY910"/>
              </a:cxn>
              <a:cxn ang="0">
                <a:pos x="csX911" y="csY911"/>
              </a:cxn>
              <a:cxn ang="0">
                <a:pos x="csX912" y="csY912"/>
              </a:cxn>
              <a:cxn ang="0">
                <a:pos x="csX913" y="csY913"/>
              </a:cxn>
              <a:cxn ang="0">
                <a:pos x="csX914" y="csY914"/>
              </a:cxn>
              <a:cxn ang="0">
                <a:pos x="csX915" y="csY915"/>
              </a:cxn>
              <a:cxn ang="0">
                <a:pos x="csX916" y="csY916"/>
              </a:cxn>
              <a:cxn ang="0">
                <a:pos x="csX917" y="csY917"/>
              </a:cxn>
              <a:cxn ang="0">
                <a:pos x="csX918" y="csY918"/>
              </a:cxn>
              <a:cxn ang="0">
                <a:pos x="csX919" y="csY919"/>
              </a:cxn>
              <a:cxn ang="0">
                <a:pos x="csX920" y="csY920"/>
              </a:cxn>
              <a:cxn ang="0">
                <a:pos x="csX921" y="csY921"/>
              </a:cxn>
              <a:cxn ang="0">
                <a:pos x="csX922" y="csY922"/>
              </a:cxn>
              <a:cxn ang="0">
                <a:pos x="csX923" y="csY923"/>
              </a:cxn>
              <a:cxn ang="0">
                <a:pos x="csX924" y="csY924"/>
              </a:cxn>
              <a:cxn ang="0">
                <a:pos x="csX925" y="csY925"/>
              </a:cxn>
              <a:cxn ang="0">
                <a:pos x="csX926" y="csY926"/>
              </a:cxn>
              <a:cxn ang="0">
                <a:pos x="csX927" y="csY927"/>
              </a:cxn>
              <a:cxn ang="0">
                <a:pos x="csX928" y="csY928"/>
              </a:cxn>
              <a:cxn ang="0">
                <a:pos x="csX929" y="csY929"/>
              </a:cxn>
              <a:cxn ang="0">
                <a:pos x="csX930" y="csY930"/>
              </a:cxn>
              <a:cxn ang="0">
                <a:pos x="csX931" y="csY931"/>
              </a:cxn>
              <a:cxn ang="0">
                <a:pos x="csX932" y="csY932"/>
              </a:cxn>
              <a:cxn ang="0">
                <a:pos x="csX933" y="csY933"/>
              </a:cxn>
              <a:cxn ang="0">
                <a:pos x="csX934" y="csY934"/>
              </a:cxn>
              <a:cxn ang="0">
                <a:pos x="csX935" y="csY935"/>
              </a:cxn>
              <a:cxn ang="0">
                <a:pos x="csX936" y="csY936"/>
              </a:cxn>
              <a:cxn ang="0">
                <a:pos x="csX937" y="csY937"/>
              </a:cxn>
              <a:cxn ang="0">
                <a:pos x="csX938" y="csY938"/>
              </a:cxn>
              <a:cxn ang="0">
                <a:pos x="csX939" y="csY939"/>
              </a:cxn>
              <a:cxn ang="0">
                <a:pos x="csX940" y="csY940"/>
              </a:cxn>
              <a:cxn ang="0">
                <a:pos x="csX941" y="csY941"/>
              </a:cxn>
              <a:cxn ang="0">
                <a:pos x="csX942" y="csY942"/>
              </a:cxn>
              <a:cxn ang="0">
                <a:pos x="csX943" y="csY943"/>
              </a:cxn>
              <a:cxn ang="0">
                <a:pos x="csX944" y="csY944"/>
              </a:cxn>
              <a:cxn ang="0">
                <a:pos x="csX945" y="csY945"/>
              </a:cxn>
              <a:cxn ang="0">
                <a:pos x="csX946" y="csY946"/>
              </a:cxn>
              <a:cxn ang="0">
                <a:pos x="csX947" y="csY947"/>
              </a:cxn>
              <a:cxn ang="0">
                <a:pos x="csX948" y="csY948"/>
              </a:cxn>
              <a:cxn ang="0">
                <a:pos x="csX949" y="csY949"/>
              </a:cxn>
              <a:cxn ang="0">
                <a:pos x="csX950" y="csY950"/>
              </a:cxn>
              <a:cxn ang="0">
                <a:pos x="csX951" y="csY951"/>
              </a:cxn>
              <a:cxn ang="0">
                <a:pos x="csX952" y="csY952"/>
              </a:cxn>
              <a:cxn ang="0">
                <a:pos x="csX953" y="csY953"/>
              </a:cxn>
              <a:cxn ang="0">
                <a:pos x="csX954" y="csY954"/>
              </a:cxn>
              <a:cxn ang="0">
                <a:pos x="csX955" y="csY955"/>
              </a:cxn>
              <a:cxn ang="0">
                <a:pos x="csX956" y="csY956"/>
              </a:cxn>
              <a:cxn ang="0">
                <a:pos x="csX957" y="csY957"/>
              </a:cxn>
              <a:cxn ang="0">
                <a:pos x="csX958" y="csY958"/>
              </a:cxn>
              <a:cxn ang="0">
                <a:pos x="csX959" y="csY959"/>
              </a:cxn>
              <a:cxn ang="0">
                <a:pos x="csX960" y="csY960"/>
              </a:cxn>
              <a:cxn ang="0">
                <a:pos x="csX961" y="csY961"/>
              </a:cxn>
              <a:cxn ang="0">
                <a:pos x="csX962" y="csY962"/>
              </a:cxn>
              <a:cxn ang="0">
                <a:pos x="csX963" y="csY963"/>
              </a:cxn>
              <a:cxn ang="0">
                <a:pos x="csX964" y="csY964"/>
              </a:cxn>
              <a:cxn ang="0">
                <a:pos x="csX965" y="csY965"/>
              </a:cxn>
              <a:cxn ang="0">
                <a:pos x="csX966" y="csY966"/>
              </a:cxn>
              <a:cxn ang="0">
                <a:pos x="csX967" y="csY967"/>
              </a:cxn>
              <a:cxn ang="0">
                <a:pos x="csX968" y="csY968"/>
              </a:cxn>
              <a:cxn ang="0">
                <a:pos x="csX969" y="csY969"/>
              </a:cxn>
              <a:cxn ang="0">
                <a:pos x="csX970" y="csY970"/>
              </a:cxn>
              <a:cxn ang="0">
                <a:pos x="csX971" y="csY971"/>
              </a:cxn>
              <a:cxn ang="0">
                <a:pos x="csX972" y="csY972"/>
              </a:cxn>
              <a:cxn ang="0">
                <a:pos x="csX973" y="csY973"/>
              </a:cxn>
              <a:cxn ang="0">
                <a:pos x="csX974" y="csY974"/>
              </a:cxn>
              <a:cxn ang="0">
                <a:pos x="csX975" y="csY975"/>
              </a:cxn>
              <a:cxn ang="0">
                <a:pos x="csX976" y="csY976"/>
              </a:cxn>
              <a:cxn ang="0">
                <a:pos x="csX977" y="csY977"/>
              </a:cxn>
              <a:cxn ang="0">
                <a:pos x="csX978" y="csY978"/>
              </a:cxn>
              <a:cxn ang="0">
                <a:pos x="csX979" y="csY979"/>
              </a:cxn>
              <a:cxn ang="0">
                <a:pos x="csX980" y="csY980"/>
              </a:cxn>
              <a:cxn ang="0">
                <a:pos x="csX981" y="csY981"/>
              </a:cxn>
              <a:cxn ang="0">
                <a:pos x="csX982" y="csY982"/>
              </a:cxn>
              <a:cxn ang="0">
                <a:pos x="csX983" y="csY983"/>
              </a:cxn>
              <a:cxn ang="0">
                <a:pos x="csX984" y="csY984"/>
              </a:cxn>
              <a:cxn ang="0">
                <a:pos x="csX985" y="csY985"/>
              </a:cxn>
              <a:cxn ang="0">
                <a:pos x="csX986" y="csY986"/>
              </a:cxn>
              <a:cxn ang="0">
                <a:pos x="csX987" y="csY987"/>
              </a:cxn>
              <a:cxn ang="0">
                <a:pos x="csX988" y="csY988"/>
              </a:cxn>
              <a:cxn ang="0">
                <a:pos x="csX989" y="csY989"/>
              </a:cxn>
              <a:cxn ang="0">
                <a:pos x="csX990" y="csY990"/>
              </a:cxn>
              <a:cxn ang="0">
                <a:pos x="csX991" y="csY991"/>
              </a:cxn>
              <a:cxn ang="0">
                <a:pos x="csX992" y="csY992"/>
              </a:cxn>
              <a:cxn ang="0">
                <a:pos x="csX993" y="csY993"/>
              </a:cxn>
              <a:cxn ang="0">
                <a:pos x="csX994" y="csY994"/>
              </a:cxn>
              <a:cxn ang="0">
                <a:pos x="csX995" y="csY995"/>
              </a:cxn>
              <a:cxn ang="0">
                <a:pos x="csX996" y="csY996"/>
              </a:cxn>
              <a:cxn ang="0">
                <a:pos x="csX997" y="csY997"/>
              </a:cxn>
              <a:cxn ang="0">
                <a:pos x="csX998" y="csY998"/>
              </a:cxn>
              <a:cxn ang="0">
                <a:pos x="csX999" y="csY999"/>
              </a:cxn>
              <a:cxn ang="0">
                <a:pos x="csX1000" y="csY1000"/>
              </a:cxn>
              <a:cxn ang="0">
                <a:pos x="csX1001" y="csY1001"/>
              </a:cxn>
              <a:cxn ang="0">
                <a:pos x="csX1002" y="csY1002"/>
              </a:cxn>
              <a:cxn ang="0">
                <a:pos x="csX1003" y="csY1003"/>
              </a:cxn>
              <a:cxn ang="0">
                <a:pos x="csX1004" y="csY1004"/>
              </a:cxn>
              <a:cxn ang="0">
                <a:pos x="csX1005" y="csY1005"/>
              </a:cxn>
              <a:cxn ang="0">
                <a:pos x="csX1006" y="csY1006"/>
              </a:cxn>
              <a:cxn ang="0">
                <a:pos x="csX1007" y="csY1007"/>
              </a:cxn>
              <a:cxn ang="0">
                <a:pos x="csX1008" y="csY1008"/>
              </a:cxn>
              <a:cxn ang="0">
                <a:pos x="csX1009" y="csY1009"/>
              </a:cxn>
              <a:cxn ang="0">
                <a:pos x="csX1010" y="csY1010"/>
              </a:cxn>
              <a:cxn ang="0">
                <a:pos x="csX1011" y="csY1011"/>
              </a:cxn>
              <a:cxn ang="0">
                <a:pos x="csX1012" y="csY1012"/>
              </a:cxn>
              <a:cxn ang="0">
                <a:pos x="csX1013" y="csY1013"/>
              </a:cxn>
              <a:cxn ang="0">
                <a:pos x="csX1014" y="csY1014"/>
              </a:cxn>
              <a:cxn ang="0">
                <a:pos x="csX1015" y="csY1015"/>
              </a:cxn>
              <a:cxn ang="0">
                <a:pos x="csX1016" y="csY1016"/>
              </a:cxn>
              <a:cxn ang="0">
                <a:pos x="csX1017" y="csY1017"/>
              </a:cxn>
              <a:cxn ang="0">
                <a:pos x="csX1018" y="csY1018"/>
              </a:cxn>
              <a:cxn ang="0">
                <a:pos x="csX1019" y="csY1019"/>
              </a:cxn>
              <a:cxn ang="0">
                <a:pos x="csX1020" y="csY1020"/>
              </a:cxn>
              <a:cxn ang="0">
                <a:pos x="csX1021" y="csY1021"/>
              </a:cxn>
              <a:cxn ang="0">
                <a:pos x="csX1022" y="csY1022"/>
              </a:cxn>
              <a:cxn ang="0">
                <a:pos x="csX1023" y="csY1023"/>
              </a:cxn>
              <a:cxn ang="0">
                <a:pos x="csX1024" y="csY1024"/>
              </a:cxn>
              <a:cxn ang="0">
                <a:pos x="csX1025" y="csY1025"/>
              </a:cxn>
              <a:cxn ang="0">
                <a:pos x="csX1026" y="csY1026"/>
              </a:cxn>
              <a:cxn ang="0">
                <a:pos x="csX1027" y="csY1027"/>
              </a:cxn>
              <a:cxn ang="0">
                <a:pos x="csX1028" y="csY1028"/>
              </a:cxn>
              <a:cxn ang="0">
                <a:pos x="csX1029" y="csY1029"/>
              </a:cxn>
              <a:cxn ang="0">
                <a:pos x="csX1030" y="csY1030"/>
              </a:cxn>
              <a:cxn ang="0">
                <a:pos x="csX1031" y="csY1031"/>
              </a:cxn>
              <a:cxn ang="0">
                <a:pos x="csX1032" y="csY1032"/>
              </a:cxn>
              <a:cxn ang="0">
                <a:pos x="csX1033" y="csY1033"/>
              </a:cxn>
              <a:cxn ang="0">
                <a:pos x="csX1034" y="csY1034"/>
              </a:cxn>
              <a:cxn ang="0">
                <a:pos x="csX1035" y="csY1035"/>
              </a:cxn>
              <a:cxn ang="0">
                <a:pos x="csX1036" y="csY1036"/>
              </a:cxn>
              <a:cxn ang="0">
                <a:pos x="csX1037" y="csY1037"/>
              </a:cxn>
              <a:cxn ang="0">
                <a:pos x="csX1038" y="csY1038"/>
              </a:cxn>
              <a:cxn ang="0">
                <a:pos x="csX1039" y="csY1039"/>
              </a:cxn>
              <a:cxn ang="0">
                <a:pos x="csX1040" y="csY1040"/>
              </a:cxn>
              <a:cxn ang="0">
                <a:pos x="csX1041" y="csY1041"/>
              </a:cxn>
              <a:cxn ang="0">
                <a:pos x="csX1042" y="csY1042"/>
              </a:cxn>
              <a:cxn ang="0">
                <a:pos x="csX1043" y="csY1043"/>
              </a:cxn>
              <a:cxn ang="0">
                <a:pos x="csX1044" y="csY1044"/>
              </a:cxn>
              <a:cxn ang="0">
                <a:pos x="csX1045" y="csY1045"/>
              </a:cxn>
              <a:cxn ang="0">
                <a:pos x="csX1046" y="csY1046"/>
              </a:cxn>
              <a:cxn ang="0">
                <a:pos x="csX1047" y="csY1047"/>
              </a:cxn>
              <a:cxn ang="0">
                <a:pos x="csX1048" y="csY1048"/>
              </a:cxn>
              <a:cxn ang="0">
                <a:pos x="csX1049" y="csY1049"/>
              </a:cxn>
              <a:cxn ang="0">
                <a:pos x="csX1050" y="csY1050"/>
              </a:cxn>
              <a:cxn ang="0">
                <a:pos x="csX1051" y="csY1051"/>
              </a:cxn>
              <a:cxn ang="0">
                <a:pos x="csX1052" y="csY1052"/>
              </a:cxn>
              <a:cxn ang="0">
                <a:pos x="csX1053" y="csY1053"/>
              </a:cxn>
              <a:cxn ang="0">
                <a:pos x="csX1054" y="csY1054"/>
              </a:cxn>
            </a:cxnLst>
            <a:rect l="l" t="t" r="r" b="b"/>
            <a:pathLst>
              <a:path w="1609516" h="1538630">
                <a:moveTo>
                  <a:pt x="401579" y="1495809"/>
                </a:moveTo>
                <a:lnTo>
                  <a:pt x="400190" y="1496004"/>
                </a:lnTo>
                <a:lnTo>
                  <a:pt x="401224" y="1496470"/>
                </a:lnTo>
                <a:lnTo>
                  <a:pt x="401224" y="1498590"/>
                </a:lnTo>
                <a:lnTo>
                  <a:pt x="401579" y="1498628"/>
                </a:lnTo>
                <a:cubicBezTo>
                  <a:pt x="401579" y="1497698"/>
                  <a:pt x="401579" y="1496768"/>
                  <a:pt x="401579" y="1495809"/>
                </a:cubicBezTo>
                <a:close/>
                <a:moveTo>
                  <a:pt x="368755" y="1486512"/>
                </a:moveTo>
                <a:lnTo>
                  <a:pt x="364089" y="1487354"/>
                </a:lnTo>
                <a:lnTo>
                  <a:pt x="364089" y="1487908"/>
                </a:lnTo>
                <a:close/>
                <a:moveTo>
                  <a:pt x="1049801" y="1484562"/>
                </a:moveTo>
                <a:lnTo>
                  <a:pt x="1046735" y="1485945"/>
                </a:lnTo>
                <a:lnTo>
                  <a:pt x="1046955" y="1486045"/>
                </a:lnTo>
                <a:lnTo>
                  <a:pt x="1049801" y="1485188"/>
                </a:lnTo>
                <a:close/>
                <a:moveTo>
                  <a:pt x="351234" y="1444508"/>
                </a:moveTo>
                <a:lnTo>
                  <a:pt x="351234" y="1444997"/>
                </a:lnTo>
                <a:lnTo>
                  <a:pt x="351592" y="1445078"/>
                </a:lnTo>
                <a:close/>
                <a:moveTo>
                  <a:pt x="351908" y="1431206"/>
                </a:moveTo>
                <a:lnTo>
                  <a:pt x="351234" y="1431611"/>
                </a:lnTo>
                <a:lnTo>
                  <a:pt x="351234" y="1432274"/>
                </a:lnTo>
                <a:close/>
                <a:moveTo>
                  <a:pt x="358162" y="1421494"/>
                </a:moveTo>
                <a:lnTo>
                  <a:pt x="355921" y="1423156"/>
                </a:lnTo>
                <a:lnTo>
                  <a:pt x="355921" y="1423548"/>
                </a:lnTo>
                <a:close/>
                <a:moveTo>
                  <a:pt x="376098" y="1408347"/>
                </a:moveTo>
                <a:lnTo>
                  <a:pt x="370750" y="1412245"/>
                </a:lnTo>
                <a:lnTo>
                  <a:pt x="375023" y="1411256"/>
                </a:lnTo>
                <a:close/>
                <a:moveTo>
                  <a:pt x="421956" y="1365623"/>
                </a:moveTo>
                <a:lnTo>
                  <a:pt x="421765" y="1366161"/>
                </a:lnTo>
                <a:lnTo>
                  <a:pt x="421887" y="1366161"/>
                </a:lnTo>
                <a:close/>
                <a:moveTo>
                  <a:pt x="754553" y="1360575"/>
                </a:moveTo>
                <a:lnTo>
                  <a:pt x="754089" y="1361433"/>
                </a:lnTo>
                <a:lnTo>
                  <a:pt x="754431" y="1361125"/>
                </a:lnTo>
                <a:close/>
                <a:moveTo>
                  <a:pt x="1277973" y="1332923"/>
                </a:moveTo>
                <a:lnTo>
                  <a:pt x="1277944" y="1332936"/>
                </a:lnTo>
                <a:lnTo>
                  <a:pt x="1277949" y="1333139"/>
                </a:lnTo>
                <a:close/>
                <a:moveTo>
                  <a:pt x="1268556" y="1321066"/>
                </a:moveTo>
                <a:cubicBezTo>
                  <a:pt x="1268556" y="1322461"/>
                  <a:pt x="1268556" y="1323856"/>
                  <a:pt x="1268556" y="1325294"/>
                </a:cubicBezTo>
                <a:cubicBezTo>
                  <a:pt x="1267525" y="1325294"/>
                  <a:pt x="1266495" y="1325294"/>
                  <a:pt x="1265432" y="1325294"/>
                </a:cubicBezTo>
                <a:cubicBezTo>
                  <a:pt x="1265432" y="1330409"/>
                  <a:pt x="1265432" y="1335525"/>
                  <a:pt x="1265432" y="1340795"/>
                </a:cubicBezTo>
                <a:lnTo>
                  <a:pt x="1265476" y="1340714"/>
                </a:lnTo>
                <a:lnTo>
                  <a:pt x="1265476" y="1325877"/>
                </a:lnTo>
                <a:cubicBezTo>
                  <a:pt x="1266507" y="1325877"/>
                  <a:pt x="1267538" y="1325877"/>
                  <a:pt x="1268600" y="1325877"/>
                </a:cubicBezTo>
                <a:cubicBezTo>
                  <a:pt x="1268600" y="1324482"/>
                  <a:pt x="1268600" y="1323086"/>
                  <a:pt x="1268600" y="1321649"/>
                </a:cubicBezTo>
                <a:cubicBezTo>
                  <a:pt x="1270147" y="1321649"/>
                  <a:pt x="1271693" y="1321649"/>
                  <a:pt x="1273286" y="1321649"/>
                </a:cubicBezTo>
                <a:lnTo>
                  <a:pt x="1273227" y="1321066"/>
                </a:lnTo>
                <a:close/>
                <a:moveTo>
                  <a:pt x="827891" y="1291474"/>
                </a:moveTo>
                <a:lnTo>
                  <a:pt x="822601" y="1291544"/>
                </a:lnTo>
                <a:lnTo>
                  <a:pt x="818272" y="1292220"/>
                </a:lnTo>
                <a:lnTo>
                  <a:pt x="827891" y="1292047"/>
                </a:lnTo>
                <a:close/>
                <a:moveTo>
                  <a:pt x="856397" y="1288691"/>
                </a:moveTo>
                <a:lnTo>
                  <a:pt x="865903" y="1290590"/>
                </a:lnTo>
                <a:lnTo>
                  <a:pt x="859999" y="1288752"/>
                </a:lnTo>
                <a:close/>
                <a:moveTo>
                  <a:pt x="834694" y="1288572"/>
                </a:moveTo>
                <a:lnTo>
                  <a:pt x="828038" y="1288654"/>
                </a:lnTo>
                <a:lnTo>
                  <a:pt x="828038" y="1289214"/>
                </a:lnTo>
                <a:close/>
                <a:moveTo>
                  <a:pt x="229746" y="1191418"/>
                </a:moveTo>
                <a:lnTo>
                  <a:pt x="227402" y="1191947"/>
                </a:lnTo>
                <a:lnTo>
                  <a:pt x="229315" y="1191947"/>
                </a:lnTo>
                <a:cubicBezTo>
                  <a:pt x="229315" y="1192877"/>
                  <a:pt x="229315" y="1193807"/>
                  <a:pt x="229315" y="1194765"/>
                </a:cubicBezTo>
                <a:lnTo>
                  <a:pt x="231321" y="1194765"/>
                </a:lnTo>
                <a:lnTo>
                  <a:pt x="229746" y="1194236"/>
                </a:lnTo>
                <a:cubicBezTo>
                  <a:pt x="229746" y="1193306"/>
                  <a:pt x="229746" y="1192376"/>
                  <a:pt x="229746" y="1191418"/>
                </a:cubicBezTo>
                <a:close/>
                <a:moveTo>
                  <a:pt x="215687" y="1187190"/>
                </a:moveTo>
                <a:lnTo>
                  <a:pt x="215198" y="1187720"/>
                </a:lnTo>
                <a:lnTo>
                  <a:pt x="215256" y="1187720"/>
                </a:lnTo>
                <a:cubicBezTo>
                  <a:pt x="215256" y="1189115"/>
                  <a:pt x="215256" y="1190510"/>
                  <a:pt x="215256" y="1191947"/>
                </a:cubicBezTo>
                <a:lnTo>
                  <a:pt x="222721" y="1191947"/>
                </a:lnTo>
                <a:lnTo>
                  <a:pt x="215687" y="1191418"/>
                </a:lnTo>
                <a:cubicBezTo>
                  <a:pt x="215687" y="1190023"/>
                  <a:pt x="215687" y="1188628"/>
                  <a:pt x="215687" y="1187190"/>
                </a:cubicBezTo>
                <a:close/>
                <a:moveTo>
                  <a:pt x="1279678" y="1082356"/>
                </a:moveTo>
                <a:lnTo>
                  <a:pt x="1271680" y="1084589"/>
                </a:lnTo>
                <a:lnTo>
                  <a:pt x="1282181" y="1082544"/>
                </a:lnTo>
                <a:close/>
                <a:moveTo>
                  <a:pt x="117703" y="941507"/>
                </a:moveTo>
                <a:lnTo>
                  <a:pt x="112587" y="941985"/>
                </a:lnTo>
                <a:lnTo>
                  <a:pt x="112565" y="942333"/>
                </a:lnTo>
                <a:lnTo>
                  <a:pt x="115665" y="941837"/>
                </a:lnTo>
                <a:close/>
                <a:moveTo>
                  <a:pt x="144268" y="939395"/>
                </a:moveTo>
                <a:lnTo>
                  <a:pt x="143354" y="939580"/>
                </a:lnTo>
                <a:lnTo>
                  <a:pt x="144077" y="939739"/>
                </a:lnTo>
                <a:close/>
                <a:moveTo>
                  <a:pt x="162575" y="933530"/>
                </a:moveTo>
                <a:lnTo>
                  <a:pt x="161704" y="935101"/>
                </a:lnTo>
                <a:lnTo>
                  <a:pt x="170045" y="933585"/>
                </a:lnTo>
                <a:close/>
                <a:moveTo>
                  <a:pt x="1321645" y="918415"/>
                </a:moveTo>
                <a:lnTo>
                  <a:pt x="1321534" y="920177"/>
                </a:lnTo>
                <a:lnTo>
                  <a:pt x="1321740" y="918415"/>
                </a:lnTo>
                <a:close/>
                <a:moveTo>
                  <a:pt x="1319333" y="915183"/>
                </a:moveTo>
                <a:lnTo>
                  <a:pt x="1318544" y="918029"/>
                </a:lnTo>
                <a:lnTo>
                  <a:pt x="1318702" y="918029"/>
                </a:lnTo>
                <a:close/>
                <a:moveTo>
                  <a:pt x="1326355" y="907109"/>
                </a:moveTo>
                <a:lnTo>
                  <a:pt x="1326355" y="910983"/>
                </a:lnTo>
                <a:lnTo>
                  <a:pt x="1325831" y="911101"/>
                </a:lnTo>
                <a:lnTo>
                  <a:pt x="1326426" y="911369"/>
                </a:lnTo>
                <a:cubicBezTo>
                  <a:pt x="1326426" y="909974"/>
                  <a:pt x="1326426" y="908579"/>
                  <a:pt x="1326426" y="907141"/>
                </a:cubicBezTo>
                <a:close/>
                <a:moveTo>
                  <a:pt x="1328144" y="892192"/>
                </a:moveTo>
                <a:lnTo>
                  <a:pt x="1327667" y="893446"/>
                </a:lnTo>
                <a:lnTo>
                  <a:pt x="1327989" y="893049"/>
                </a:lnTo>
                <a:close/>
                <a:moveTo>
                  <a:pt x="49605" y="887420"/>
                </a:moveTo>
                <a:lnTo>
                  <a:pt x="48549" y="891229"/>
                </a:lnTo>
                <a:lnTo>
                  <a:pt x="49956" y="887420"/>
                </a:lnTo>
                <a:close/>
                <a:moveTo>
                  <a:pt x="1332266" y="883369"/>
                </a:moveTo>
                <a:lnTo>
                  <a:pt x="1329479" y="884207"/>
                </a:lnTo>
                <a:lnTo>
                  <a:pt x="1329509" y="884816"/>
                </a:lnTo>
                <a:lnTo>
                  <a:pt x="1329551" y="884594"/>
                </a:lnTo>
                <a:close/>
                <a:moveTo>
                  <a:pt x="1555987" y="821766"/>
                </a:moveTo>
                <a:lnTo>
                  <a:pt x="1555987" y="822201"/>
                </a:lnTo>
                <a:lnTo>
                  <a:pt x="1556081" y="822189"/>
                </a:lnTo>
                <a:close/>
                <a:moveTo>
                  <a:pt x="1565360" y="810928"/>
                </a:moveTo>
                <a:lnTo>
                  <a:pt x="1564871" y="811809"/>
                </a:lnTo>
                <a:lnTo>
                  <a:pt x="1567314" y="810928"/>
                </a:lnTo>
                <a:close/>
                <a:moveTo>
                  <a:pt x="1563797" y="810928"/>
                </a:moveTo>
                <a:lnTo>
                  <a:pt x="1556762" y="814736"/>
                </a:lnTo>
                <a:lnTo>
                  <a:pt x="1563797" y="812197"/>
                </a:lnTo>
                <a:close/>
                <a:moveTo>
                  <a:pt x="265833" y="806020"/>
                </a:moveTo>
                <a:lnTo>
                  <a:pt x="263704" y="809861"/>
                </a:lnTo>
                <a:lnTo>
                  <a:pt x="263704" y="816750"/>
                </a:lnTo>
                <a:lnTo>
                  <a:pt x="264113" y="816565"/>
                </a:lnTo>
                <a:cubicBezTo>
                  <a:pt x="264048" y="815315"/>
                  <a:pt x="263984" y="814065"/>
                  <a:pt x="263918" y="812777"/>
                </a:cubicBezTo>
                <a:close/>
                <a:moveTo>
                  <a:pt x="263774" y="779374"/>
                </a:moveTo>
                <a:lnTo>
                  <a:pt x="263704" y="783086"/>
                </a:lnTo>
                <a:cubicBezTo>
                  <a:pt x="263961" y="783987"/>
                  <a:pt x="264219" y="784888"/>
                  <a:pt x="264484" y="785816"/>
                </a:cubicBezTo>
                <a:cubicBezTo>
                  <a:pt x="265299" y="788846"/>
                  <a:pt x="265316" y="791337"/>
                  <a:pt x="265265" y="794448"/>
                </a:cubicBezTo>
                <a:cubicBezTo>
                  <a:pt x="265103" y="797155"/>
                  <a:pt x="265022" y="798508"/>
                  <a:pt x="265217" y="799730"/>
                </a:cubicBezTo>
                <a:lnTo>
                  <a:pt x="266556" y="803466"/>
                </a:lnTo>
                <a:lnTo>
                  <a:pt x="267237" y="801063"/>
                </a:lnTo>
                <a:cubicBezTo>
                  <a:pt x="266721" y="800598"/>
                  <a:pt x="266206" y="800133"/>
                  <a:pt x="265675" y="799654"/>
                </a:cubicBezTo>
                <a:cubicBezTo>
                  <a:pt x="265601" y="797718"/>
                  <a:pt x="265617" y="795778"/>
                  <a:pt x="265675" y="793841"/>
                </a:cubicBezTo>
                <a:close/>
                <a:moveTo>
                  <a:pt x="260988" y="770061"/>
                </a:moveTo>
                <a:lnTo>
                  <a:pt x="260988" y="771364"/>
                </a:lnTo>
                <a:lnTo>
                  <a:pt x="263497" y="777263"/>
                </a:lnTo>
                <a:lnTo>
                  <a:pt x="262551" y="770061"/>
                </a:lnTo>
                <a:cubicBezTo>
                  <a:pt x="262035" y="770061"/>
                  <a:pt x="261520" y="770061"/>
                  <a:pt x="260988" y="770061"/>
                </a:cubicBezTo>
                <a:close/>
                <a:moveTo>
                  <a:pt x="157888" y="651686"/>
                </a:moveTo>
                <a:lnTo>
                  <a:pt x="157415" y="651764"/>
                </a:lnTo>
                <a:lnTo>
                  <a:pt x="160373" y="652274"/>
                </a:lnTo>
                <a:close/>
                <a:moveTo>
                  <a:pt x="267237" y="426537"/>
                </a:moveTo>
                <a:lnTo>
                  <a:pt x="267237" y="427619"/>
                </a:lnTo>
                <a:cubicBezTo>
                  <a:pt x="268274" y="427791"/>
                  <a:pt x="269311" y="427961"/>
                  <a:pt x="270380" y="428137"/>
                </a:cubicBezTo>
                <a:lnTo>
                  <a:pt x="273548" y="428680"/>
                </a:lnTo>
                <a:close/>
                <a:moveTo>
                  <a:pt x="37605" y="359270"/>
                </a:moveTo>
                <a:lnTo>
                  <a:pt x="37103" y="361533"/>
                </a:lnTo>
                <a:lnTo>
                  <a:pt x="37605" y="361382"/>
                </a:lnTo>
                <a:close/>
                <a:moveTo>
                  <a:pt x="52477" y="337570"/>
                </a:moveTo>
                <a:lnTo>
                  <a:pt x="47288" y="342340"/>
                </a:lnTo>
                <a:lnTo>
                  <a:pt x="45805" y="345093"/>
                </a:lnTo>
                <a:close/>
                <a:moveTo>
                  <a:pt x="104291" y="336166"/>
                </a:moveTo>
                <a:lnTo>
                  <a:pt x="103776" y="337559"/>
                </a:lnTo>
                <a:lnTo>
                  <a:pt x="108925" y="336166"/>
                </a:lnTo>
                <a:close/>
                <a:moveTo>
                  <a:pt x="1309237" y="322954"/>
                </a:moveTo>
                <a:lnTo>
                  <a:pt x="1309180" y="330559"/>
                </a:lnTo>
                <a:lnTo>
                  <a:pt x="1309237" y="330520"/>
                </a:lnTo>
                <a:close/>
                <a:moveTo>
                  <a:pt x="1308964" y="317715"/>
                </a:moveTo>
                <a:lnTo>
                  <a:pt x="1309237" y="318569"/>
                </a:lnTo>
                <a:lnTo>
                  <a:pt x="1309237" y="317838"/>
                </a:lnTo>
                <a:close/>
                <a:moveTo>
                  <a:pt x="1310087" y="313153"/>
                </a:moveTo>
                <a:lnTo>
                  <a:pt x="1307609" y="313473"/>
                </a:lnTo>
                <a:lnTo>
                  <a:pt x="1308045" y="314836"/>
                </a:lnTo>
                <a:close/>
                <a:moveTo>
                  <a:pt x="1318544" y="312064"/>
                </a:moveTo>
                <a:lnTo>
                  <a:pt x="1316298" y="312353"/>
                </a:lnTo>
                <a:lnTo>
                  <a:pt x="1318544" y="312205"/>
                </a:lnTo>
                <a:close/>
                <a:moveTo>
                  <a:pt x="1084622" y="267674"/>
                </a:moveTo>
                <a:lnTo>
                  <a:pt x="1084227" y="268378"/>
                </a:lnTo>
                <a:cubicBezTo>
                  <a:pt x="1082679" y="268378"/>
                  <a:pt x="1081133" y="268378"/>
                  <a:pt x="1079540" y="268378"/>
                </a:cubicBezTo>
                <a:lnTo>
                  <a:pt x="1079603" y="268477"/>
                </a:lnTo>
                <a:lnTo>
                  <a:pt x="1084192" y="268477"/>
                </a:lnTo>
                <a:close/>
                <a:moveTo>
                  <a:pt x="956410" y="266968"/>
                </a:moveTo>
                <a:lnTo>
                  <a:pt x="957576" y="267083"/>
                </a:lnTo>
                <a:lnTo>
                  <a:pt x="957576" y="269776"/>
                </a:lnTo>
                <a:lnTo>
                  <a:pt x="957694" y="269787"/>
                </a:lnTo>
                <a:cubicBezTo>
                  <a:pt x="957694" y="268857"/>
                  <a:pt x="957694" y="267927"/>
                  <a:pt x="957694" y="266968"/>
                </a:cubicBezTo>
                <a:close/>
                <a:moveTo>
                  <a:pt x="1089372" y="259220"/>
                </a:moveTo>
                <a:lnTo>
                  <a:pt x="1085856" y="265479"/>
                </a:lnTo>
                <a:lnTo>
                  <a:pt x="1088878" y="261431"/>
                </a:lnTo>
                <a:close/>
                <a:moveTo>
                  <a:pt x="1018517" y="223356"/>
                </a:moveTo>
                <a:lnTo>
                  <a:pt x="1013866" y="226190"/>
                </a:lnTo>
                <a:lnTo>
                  <a:pt x="1013024" y="227709"/>
                </a:lnTo>
                <a:lnTo>
                  <a:pt x="1017055" y="224692"/>
                </a:lnTo>
                <a:close/>
                <a:moveTo>
                  <a:pt x="850645" y="220099"/>
                </a:moveTo>
                <a:lnTo>
                  <a:pt x="850897" y="221488"/>
                </a:lnTo>
                <a:cubicBezTo>
                  <a:pt x="851086" y="222545"/>
                  <a:pt x="851275" y="223602"/>
                  <a:pt x="851470" y="224692"/>
                </a:cubicBezTo>
                <a:lnTo>
                  <a:pt x="852860" y="224692"/>
                </a:lnTo>
                <a:close/>
                <a:moveTo>
                  <a:pt x="1155019" y="35"/>
                </a:moveTo>
                <a:cubicBezTo>
                  <a:pt x="1161775" y="275"/>
                  <a:pt x="1168415" y="1783"/>
                  <a:pt x="1174829" y="4853"/>
                </a:cubicBezTo>
                <a:cubicBezTo>
                  <a:pt x="1176343" y="5231"/>
                  <a:pt x="1177858" y="5609"/>
                  <a:pt x="1179418" y="5998"/>
                </a:cubicBezTo>
                <a:cubicBezTo>
                  <a:pt x="1189392" y="9487"/>
                  <a:pt x="1196322" y="14392"/>
                  <a:pt x="1201385" y="22997"/>
                </a:cubicBezTo>
                <a:cubicBezTo>
                  <a:pt x="1206849" y="35244"/>
                  <a:pt x="1206940" y="49865"/>
                  <a:pt x="1201678" y="62191"/>
                </a:cubicBezTo>
                <a:cubicBezTo>
                  <a:pt x="1200594" y="64241"/>
                  <a:pt x="1199461" y="66271"/>
                  <a:pt x="1198261" y="68268"/>
                </a:cubicBezTo>
                <a:cubicBezTo>
                  <a:pt x="1197423" y="69721"/>
                  <a:pt x="1196586" y="71175"/>
                  <a:pt x="1195723" y="72672"/>
                </a:cubicBezTo>
                <a:cubicBezTo>
                  <a:pt x="1194659" y="73980"/>
                  <a:pt x="1194659" y="73980"/>
                  <a:pt x="1193575" y="75314"/>
                </a:cubicBezTo>
                <a:cubicBezTo>
                  <a:pt x="1192544" y="75314"/>
                  <a:pt x="1191512" y="75314"/>
                  <a:pt x="1190450" y="75314"/>
                </a:cubicBezTo>
                <a:cubicBezTo>
                  <a:pt x="1190128" y="76651"/>
                  <a:pt x="1189806" y="77988"/>
                  <a:pt x="1189474" y="79366"/>
                </a:cubicBezTo>
                <a:cubicBezTo>
                  <a:pt x="1187326" y="83769"/>
                  <a:pt x="1187326" y="83769"/>
                  <a:pt x="1182445" y="85707"/>
                </a:cubicBezTo>
                <a:cubicBezTo>
                  <a:pt x="1180962" y="85998"/>
                  <a:pt x="1179480" y="86289"/>
                  <a:pt x="1177953" y="86588"/>
                </a:cubicBezTo>
                <a:cubicBezTo>
                  <a:pt x="1177953" y="87518"/>
                  <a:pt x="1177953" y="88448"/>
                  <a:pt x="1177953" y="89406"/>
                </a:cubicBezTo>
                <a:cubicBezTo>
                  <a:pt x="1175369" y="91088"/>
                  <a:pt x="1172720" y="92688"/>
                  <a:pt x="1170045" y="94251"/>
                </a:cubicBezTo>
                <a:cubicBezTo>
                  <a:pt x="1154651" y="104199"/>
                  <a:pt x="1148918" y="116979"/>
                  <a:pt x="1143806" y="132828"/>
                </a:cubicBezTo>
                <a:cubicBezTo>
                  <a:pt x="1142095" y="137144"/>
                  <a:pt x="1140989" y="138617"/>
                  <a:pt x="1137338" y="141548"/>
                </a:cubicBezTo>
                <a:cubicBezTo>
                  <a:pt x="1136166" y="144148"/>
                  <a:pt x="1134992" y="146751"/>
                  <a:pt x="1133970" y="149403"/>
                </a:cubicBezTo>
                <a:cubicBezTo>
                  <a:pt x="1132069" y="154334"/>
                  <a:pt x="1130006" y="159210"/>
                  <a:pt x="1127965" y="164095"/>
                </a:cubicBezTo>
                <a:cubicBezTo>
                  <a:pt x="1126897" y="166664"/>
                  <a:pt x="1125830" y="169233"/>
                  <a:pt x="1124762" y="171802"/>
                </a:cubicBezTo>
                <a:cubicBezTo>
                  <a:pt x="1122961" y="176134"/>
                  <a:pt x="1121160" y="180466"/>
                  <a:pt x="1119359" y="184798"/>
                </a:cubicBezTo>
                <a:cubicBezTo>
                  <a:pt x="1116567" y="191508"/>
                  <a:pt x="1113778" y="198220"/>
                  <a:pt x="1111014" y="204941"/>
                </a:cubicBezTo>
                <a:cubicBezTo>
                  <a:pt x="1110590" y="205970"/>
                  <a:pt x="1110165" y="206999"/>
                  <a:pt x="1109729" y="208059"/>
                </a:cubicBezTo>
                <a:cubicBezTo>
                  <a:pt x="1108615" y="210762"/>
                  <a:pt x="1107505" y="213466"/>
                  <a:pt x="1106395" y="216170"/>
                </a:cubicBezTo>
                <a:cubicBezTo>
                  <a:pt x="1104320" y="220956"/>
                  <a:pt x="1103283" y="223349"/>
                  <a:pt x="1102147" y="224810"/>
                </a:cubicBezTo>
                <a:lnTo>
                  <a:pt x="1098261" y="227262"/>
                </a:lnTo>
                <a:lnTo>
                  <a:pt x="1098367" y="238475"/>
                </a:lnTo>
                <a:cubicBezTo>
                  <a:pt x="1098025" y="239757"/>
                  <a:pt x="1097684" y="241038"/>
                  <a:pt x="1097331" y="242358"/>
                </a:cubicBezTo>
                <a:cubicBezTo>
                  <a:pt x="1096958" y="243711"/>
                  <a:pt x="1096585" y="245064"/>
                  <a:pt x="1096201" y="246458"/>
                </a:cubicBezTo>
                <a:cubicBezTo>
                  <a:pt x="1093302" y="257363"/>
                  <a:pt x="1090901" y="268062"/>
                  <a:pt x="1089440" y="279206"/>
                </a:cubicBezTo>
                <a:cubicBezTo>
                  <a:pt x="1088878" y="282569"/>
                  <a:pt x="1088878" y="282569"/>
                  <a:pt x="1087316" y="283978"/>
                </a:cubicBezTo>
                <a:cubicBezTo>
                  <a:pt x="1087070" y="286587"/>
                  <a:pt x="1086924" y="289205"/>
                  <a:pt x="1086822" y="291822"/>
                </a:cubicBezTo>
                <a:cubicBezTo>
                  <a:pt x="1086756" y="293408"/>
                  <a:pt x="1086691" y="294993"/>
                  <a:pt x="1086623" y="296625"/>
                </a:cubicBezTo>
                <a:cubicBezTo>
                  <a:pt x="1086562" y="298294"/>
                  <a:pt x="1086501" y="299962"/>
                  <a:pt x="1086437" y="301681"/>
                </a:cubicBezTo>
                <a:cubicBezTo>
                  <a:pt x="1086336" y="304192"/>
                  <a:pt x="1086336" y="304192"/>
                  <a:pt x="1086233" y="306754"/>
                </a:cubicBezTo>
                <a:lnTo>
                  <a:pt x="1086007" y="312619"/>
                </a:lnTo>
                <a:lnTo>
                  <a:pt x="1087470" y="320554"/>
                </a:lnTo>
                <a:cubicBezTo>
                  <a:pt x="1089648" y="325409"/>
                  <a:pt x="1093111" y="329799"/>
                  <a:pt x="1098285" y="334611"/>
                </a:cubicBezTo>
                <a:cubicBezTo>
                  <a:pt x="1100424" y="336130"/>
                  <a:pt x="1100424" y="336130"/>
                  <a:pt x="1102607" y="337679"/>
                </a:cubicBezTo>
                <a:cubicBezTo>
                  <a:pt x="1104334" y="338951"/>
                  <a:pt x="1104334" y="338951"/>
                  <a:pt x="1106095" y="340248"/>
                </a:cubicBezTo>
                <a:cubicBezTo>
                  <a:pt x="1106095" y="341178"/>
                  <a:pt x="1106095" y="342108"/>
                  <a:pt x="1106095" y="343066"/>
                </a:cubicBezTo>
                <a:cubicBezTo>
                  <a:pt x="1107127" y="343183"/>
                  <a:pt x="1108158" y="343299"/>
                  <a:pt x="1109220" y="343419"/>
                </a:cubicBezTo>
                <a:cubicBezTo>
                  <a:pt x="1115473" y="344829"/>
                  <a:pt x="1120724" y="347416"/>
                  <a:pt x="1126403" y="350112"/>
                </a:cubicBezTo>
                <a:cubicBezTo>
                  <a:pt x="1128207" y="350926"/>
                  <a:pt x="1130012" y="351740"/>
                  <a:pt x="1131871" y="352579"/>
                </a:cubicBezTo>
                <a:cubicBezTo>
                  <a:pt x="1133159" y="353160"/>
                  <a:pt x="1134448" y="353741"/>
                  <a:pt x="1135776" y="354340"/>
                </a:cubicBezTo>
                <a:cubicBezTo>
                  <a:pt x="1135776" y="355270"/>
                  <a:pt x="1135776" y="356200"/>
                  <a:pt x="1135776" y="357158"/>
                </a:cubicBezTo>
                <a:cubicBezTo>
                  <a:pt x="1148107" y="360029"/>
                  <a:pt x="1158679" y="359101"/>
                  <a:pt x="1170143" y="354340"/>
                </a:cubicBezTo>
                <a:cubicBezTo>
                  <a:pt x="1172366" y="353468"/>
                  <a:pt x="1172366" y="353468"/>
                  <a:pt x="1174634" y="352579"/>
                </a:cubicBezTo>
                <a:cubicBezTo>
                  <a:pt x="1180354" y="349689"/>
                  <a:pt x="1185568" y="346355"/>
                  <a:pt x="1190890" y="342907"/>
                </a:cubicBezTo>
                <a:cubicBezTo>
                  <a:pt x="1195169" y="340228"/>
                  <a:pt x="1199557" y="337821"/>
                  <a:pt x="1204021" y="335404"/>
                </a:cubicBezTo>
                <a:cubicBezTo>
                  <a:pt x="1211989" y="330886"/>
                  <a:pt x="1217509" y="325766"/>
                  <a:pt x="1223255" y="319110"/>
                </a:cubicBezTo>
                <a:cubicBezTo>
                  <a:pt x="1224447" y="317947"/>
                  <a:pt x="1225639" y="316784"/>
                  <a:pt x="1226868" y="315587"/>
                </a:cubicBezTo>
                <a:cubicBezTo>
                  <a:pt x="1229855" y="311593"/>
                  <a:pt x="1230852" y="308240"/>
                  <a:pt x="1231859" y="303559"/>
                </a:cubicBezTo>
                <a:cubicBezTo>
                  <a:pt x="1232628" y="300790"/>
                  <a:pt x="1232628" y="300790"/>
                  <a:pt x="1234178" y="298059"/>
                </a:cubicBezTo>
                <a:cubicBezTo>
                  <a:pt x="1235964" y="294761"/>
                  <a:pt x="1236623" y="291807"/>
                  <a:pt x="1237314" y="288195"/>
                </a:cubicBezTo>
                <a:cubicBezTo>
                  <a:pt x="1239360" y="278571"/>
                  <a:pt x="1242414" y="272733"/>
                  <a:pt x="1249811" y="265559"/>
                </a:cubicBezTo>
                <a:cubicBezTo>
                  <a:pt x="1250842" y="265559"/>
                  <a:pt x="1251873" y="265559"/>
                  <a:pt x="1252935" y="265559"/>
                </a:cubicBezTo>
                <a:cubicBezTo>
                  <a:pt x="1252935" y="264629"/>
                  <a:pt x="1252935" y="263699"/>
                  <a:pt x="1252935" y="262741"/>
                </a:cubicBezTo>
                <a:cubicBezTo>
                  <a:pt x="1265591" y="253427"/>
                  <a:pt x="1280762" y="251648"/>
                  <a:pt x="1296675" y="252876"/>
                </a:cubicBezTo>
                <a:cubicBezTo>
                  <a:pt x="1300535" y="253563"/>
                  <a:pt x="1303901" y="254478"/>
                  <a:pt x="1307609" y="255695"/>
                </a:cubicBezTo>
                <a:cubicBezTo>
                  <a:pt x="1307609" y="256625"/>
                  <a:pt x="1307609" y="257555"/>
                  <a:pt x="1307609" y="258513"/>
                </a:cubicBezTo>
                <a:cubicBezTo>
                  <a:pt x="1309021" y="258619"/>
                  <a:pt x="1310432" y="258723"/>
                  <a:pt x="1311887" y="258832"/>
                </a:cubicBezTo>
                <a:cubicBezTo>
                  <a:pt x="1319573" y="260476"/>
                  <a:pt x="1322149" y="264416"/>
                  <a:pt x="1326715" y="269969"/>
                </a:cubicBezTo>
                <a:cubicBezTo>
                  <a:pt x="1334402" y="281220"/>
                  <a:pt x="1336114" y="294839"/>
                  <a:pt x="1334165" y="307836"/>
                </a:cubicBezTo>
                <a:cubicBezTo>
                  <a:pt x="1332176" y="311898"/>
                  <a:pt x="1332176" y="311898"/>
                  <a:pt x="1329479" y="314882"/>
                </a:cubicBezTo>
                <a:cubicBezTo>
                  <a:pt x="1327417" y="314882"/>
                  <a:pt x="1325355" y="314882"/>
                  <a:pt x="1323231" y="314882"/>
                </a:cubicBezTo>
                <a:cubicBezTo>
                  <a:pt x="1323231" y="315812"/>
                  <a:pt x="1323231" y="316742"/>
                  <a:pt x="1323231" y="317700"/>
                </a:cubicBezTo>
                <a:lnTo>
                  <a:pt x="1322774" y="317838"/>
                </a:lnTo>
                <a:lnTo>
                  <a:pt x="1323295" y="317838"/>
                </a:lnTo>
                <a:cubicBezTo>
                  <a:pt x="1323295" y="316907"/>
                  <a:pt x="1323295" y="315977"/>
                  <a:pt x="1323295" y="315019"/>
                </a:cubicBezTo>
                <a:cubicBezTo>
                  <a:pt x="1324842" y="315019"/>
                  <a:pt x="1326388" y="315019"/>
                  <a:pt x="1327982" y="315019"/>
                </a:cubicBezTo>
                <a:cubicBezTo>
                  <a:pt x="1325845" y="321328"/>
                  <a:pt x="1322753" y="323742"/>
                  <a:pt x="1317047" y="327702"/>
                </a:cubicBezTo>
                <a:cubicBezTo>
                  <a:pt x="1316531" y="329097"/>
                  <a:pt x="1316016" y="330492"/>
                  <a:pt x="1315484" y="331930"/>
                </a:cubicBezTo>
                <a:cubicBezTo>
                  <a:pt x="1312599" y="332959"/>
                  <a:pt x="1312599" y="332959"/>
                  <a:pt x="1309139" y="333603"/>
                </a:cubicBezTo>
                <a:cubicBezTo>
                  <a:pt x="1307993" y="333827"/>
                  <a:pt x="1306847" y="334050"/>
                  <a:pt x="1305666" y="334280"/>
                </a:cubicBezTo>
                <a:cubicBezTo>
                  <a:pt x="1304783" y="334434"/>
                  <a:pt x="1303899" y="334589"/>
                  <a:pt x="1302988" y="334748"/>
                </a:cubicBezTo>
                <a:lnTo>
                  <a:pt x="1305905" y="332775"/>
                </a:lnTo>
                <a:lnTo>
                  <a:pt x="1304485" y="333202"/>
                </a:lnTo>
                <a:cubicBezTo>
                  <a:pt x="1302987" y="334640"/>
                  <a:pt x="1302987" y="334640"/>
                  <a:pt x="1301459" y="336108"/>
                </a:cubicBezTo>
                <a:cubicBezTo>
                  <a:pt x="1298237" y="338839"/>
                  <a:pt x="1298237" y="338839"/>
                  <a:pt x="1291989" y="338839"/>
                </a:cubicBezTo>
                <a:cubicBezTo>
                  <a:pt x="1291473" y="340234"/>
                  <a:pt x="1290957" y="341629"/>
                  <a:pt x="1290426" y="343066"/>
                </a:cubicBezTo>
                <a:cubicBezTo>
                  <a:pt x="1288879" y="343415"/>
                  <a:pt x="1287333" y="343764"/>
                  <a:pt x="1285740" y="344123"/>
                </a:cubicBezTo>
                <a:cubicBezTo>
                  <a:pt x="1266905" y="348491"/>
                  <a:pt x="1249005" y="369098"/>
                  <a:pt x="1237314" y="382525"/>
                </a:cubicBezTo>
                <a:cubicBezTo>
                  <a:pt x="1235678" y="385783"/>
                  <a:pt x="1234122" y="389075"/>
                  <a:pt x="1232628" y="392389"/>
                </a:cubicBezTo>
                <a:cubicBezTo>
                  <a:pt x="1231317" y="394515"/>
                  <a:pt x="1229981" y="396629"/>
                  <a:pt x="1228625" y="398731"/>
                </a:cubicBezTo>
                <a:cubicBezTo>
                  <a:pt x="1221457" y="410300"/>
                  <a:pt x="1219465" y="421836"/>
                  <a:pt x="1222822" y="434798"/>
                </a:cubicBezTo>
                <a:cubicBezTo>
                  <a:pt x="1229360" y="453710"/>
                  <a:pt x="1244088" y="472467"/>
                  <a:pt x="1260746" y="485398"/>
                </a:cubicBezTo>
                <a:cubicBezTo>
                  <a:pt x="1264961" y="487349"/>
                  <a:pt x="1264961" y="487349"/>
                  <a:pt x="1268556" y="488216"/>
                </a:cubicBezTo>
                <a:cubicBezTo>
                  <a:pt x="1268556" y="489146"/>
                  <a:pt x="1268556" y="490076"/>
                  <a:pt x="1268556" y="491034"/>
                </a:cubicBezTo>
                <a:cubicBezTo>
                  <a:pt x="1288790" y="497071"/>
                  <a:pt x="1319055" y="498555"/>
                  <a:pt x="1338852" y="489625"/>
                </a:cubicBezTo>
                <a:cubicBezTo>
                  <a:pt x="1341711" y="489213"/>
                  <a:pt x="1344575" y="488837"/>
                  <a:pt x="1347444" y="488480"/>
                </a:cubicBezTo>
                <a:cubicBezTo>
                  <a:pt x="1355372" y="487345"/>
                  <a:pt x="1362033" y="485390"/>
                  <a:pt x="1369362" y="482513"/>
                </a:cubicBezTo>
                <a:cubicBezTo>
                  <a:pt x="1375665" y="480318"/>
                  <a:pt x="1382189" y="479322"/>
                  <a:pt x="1388840" y="478351"/>
                </a:cubicBezTo>
                <a:cubicBezTo>
                  <a:pt x="1388840" y="477421"/>
                  <a:pt x="1388840" y="476492"/>
                  <a:pt x="1388840" y="475533"/>
                </a:cubicBezTo>
                <a:cubicBezTo>
                  <a:pt x="1391083" y="474821"/>
                  <a:pt x="1393329" y="474118"/>
                  <a:pt x="1395576" y="473419"/>
                </a:cubicBezTo>
                <a:cubicBezTo>
                  <a:pt x="1396827" y="473027"/>
                  <a:pt x="1398077" y="472635"/>
                  <a:pt x="1399365" y="472230"/>
                </a:cubicBezTo>
                <a:cubicBezTo>
                  <a:pt x="1402899" y="471305"/>
                  <a:pt x="1402899" y="471305"/>
                  <a:pt x="1407585" y="471305"/>
                </a:cubicBezTo>
                <a:cubicBezTo>
                  <a:pt x="1408101" y="469910"/>
                  <a:pt x="1408616" y="468515"/>
                  <a:pt x="1409147" y="467078"/>
                </a:cubicBezTo>
                <a:cubicBezTo>
                  <a:pt x="1412388" y="465580"/>
                  <a:pt x="1412388" y="465580"/>
                  <a:pt x="1416470" y="464259"/>
                </a:cubicBezTo>
                <a:cubicBezTo>
                  <a:pt x="1424029" y="461705"/>
                  <a:pt x="1431130" y="458955"/>
                  <a:pt x="1437949" y="455011"/>
                </a:cubicBezTo>
                <a:cubicBezTo>
                  <a:pt x="1442765" y="452574"/>
                  <a:pt x="1447553" y="451394"/>
                  <a:pt x="1452887" y="450167"/>
                </a:cubicBezTo>
                <a:cubicBezTo>
                  <a:pt x="1452887" y="449237"/>
                  <a:pt x="1452887" y="448307"/>
                  <a:pt x="1452887" y="447349"/>
                </a:cubicBezTo>
                <a:cubicBezTo>
                  <a:pt x="1453714" y="446944"/>
                  <a:pt x="1454541" y="446539"/>
                  <a:pt x="1455394" y="446122"/>
                </a:cubicBezTo>
                <a:cubicBezTo>
                  <a:pt x="1459151" y="444278"/>
                  <a:pt x="1462902" y="442422"/>
                  <a:pt x="1466653" y="440567"/>
                </a:cubicBezTo>
                <a:cubicBezTo>
                  <a:pt x="1467955" y="439930"/>
                  <a:pt x="1469256" y="439293"/>
                  <a:pt x="1470598" y="438637"/>
                </a:cubicBezTo>
                <a:cubicBezTo>
                  <a:pt x="1471852" y="438016"/>
                  <a:pt x="1473105" y="437393"/>
                  <a:pt x="1474397" y="436752"/>
                </a:cubicBezTo>
                <a:cubicBezTo>
                  <a:pt x="1475550" y="436184"/>
                  <a:pt x="1476703" y="435616"/>
                  <a:pt x="1477892" y="435030"/>
                </a:cubicBezTo>
                <a:cubicBezTo>
                  <a:pt x="1480966" y="433279"/>
                  <a:pt x="1483173" y="431373"/>
                  <a:pt x="1485691" y="429029"/>
                </a:cubicBezTo>
                <a:cubicBezTo>
                  <a:pt x="1486737" y="428575"/>
                  <a:pt x="1487781" y="428121"/>
                  <a:pt x="1488858" y="427653"/>
                </a:cubicBezTo>
                <a:cubicBezTo>
                  <a:pt x="1492438" y="425977"/>
                  <a:pt x="1493705" y="424453"/>
                  <a:pt x="1495943" y="421454"/>
                </a:cubicBezTo>
                <a:cubicBezTo>
                  <a:pt x="1507114" y="407544"/>
                  <a:pt x="1519758" y="393513"/>
                  <a:pt x="1538608" y="388338"/>
                </a:cubicBezTo>
                <a:cubicBezTo>
                  <a:pt x="1541025" y="388250"/>
                  <a:pt x="1541025" y="388250"/>
                  <a:pt x="1543490" y="388161"/>
                </a:cubicBezTo>
                <a:cubicBezTo>
                  <a:pt x="1545535" y="387984"/>
                  <a:pt x="1545535" y="387984"/>
                  <a:pt x="1547621" y="387804"/>
                </a:cubicBezTo>
                <a:cubicBezTo>
                  <a:pt x="1560659" y="387094"/>
                  <a:pt x="1568716" y="390117"/>
                  <a:pt x="1579418" y="396617"/>
                </a:cubicBezTo>
                <a:cubicBezTo>
                  <a:pt x="1581361" y="397687"/>
                  <a:pt x="1581361" y="397687"/>
                  <a:pt x="1583342" y="398780"/>
                </a:cubicBezTo>
                <a:cubicBezTo>
                  <a:pt x="1593703" y="405068"/>
                  <a:pt x="1598513" y="412459"/>
                  <a:pt x="1601288" y="423392"/>
                </a:cubicBezTo>
                <a:cubicBezTo>
                  <a:pt x="1603295" y="436596"/>
                  <a:pt x="1603517" y="449033"/>
                  <a:pt x="1594484" y="460159"/>
                </a:cubicBezTo>
                <a:cubicBezTo>
                  <a:pt x="1588468" y="466462"/>
                  <a:pt x="1582607" y="471150"/>
                  <a:pt x="1574732" y="475533"/>
                </a:cubicBezTo>
                <a:cubicBezTo>
                  <a:pt x="1573862" y="476043"/>
                  <a:pt x="1572993" y="476553"/>
                  <a:pt x="1572097" y="477078"/>
                </a:cubicBezTo>
                <a:cubicBezTo>
                  <a:pt x="1566828" y="478935"/>
                  <a:pt x="1561641" y="478744"/>
                  <a:pt x="1556066" y="478737"/>
                </a:cubicBezTo>
                <a:cubicBezTo>
                  <a:pt x="1553587" y="478765"/>
                  <a:pt x="1551109" y="478795"/>
                  <a:pt x="1548631" y="478825"/>
                </a:cubicBezTo>
                <a:cubicBezTo>
                  <a:pt x="1544751" y="478857"/>
                  <a:pt x="1540871" y="478880"/>
                  <a:pt x="1536991" y="478889"/>
                </a:cubicBezTo>
                <a:cubicBezTo>
                  <a:pt x="1516714" y="478693"/>
                  <a:pt x="1516714" y="478693"/>
                  <a:pt x="1498188" y="485398"/>
                </a:cubicBezTo>
                <a:cubicBezTo>
                  <a:pt x="1496062" y="486488"/>
                  <a:pt x="1496062" y="486488"/>
                  <a:pt x="1493892" y="487600"/>
                </a:cubicBezTo>
                <a:cubicBezTo>
                  <a:pt x="1492733" y="488268"/>
                  <a:pt x="1491573" y="488937"/>
                  <a:pt x="1490377" y="489625"/>
                </a:cubicBezTo>
                <a:cubicBezTo>
                  <a:pt x="1484304" y="493012"/>
                  <a:pt x="1478212" y="495675"/>
                  <a:pt x="1471650" y="498185"/>
                </a:cubicBezTo>
                <a:cubicBezTo>
                  <a:pt x="1467148" y="500054"/>
                  <a:pt x="1463242" y="502632"/>
                  <a:pt x="1459135" y="505127"/>
                </a:cubicBezTo>
                <a:cubicBezTo>
                  <a:pt x="1456968" y="506120"/>
                  <a:pt x="1454786" y="507086"/>
                  <a:pt x="1452594" y="508033"/>
                </a:cubicBezTo>
                <a:cubicBezTo>
                  <a:pt x="1444148" y="511772"/>
                  <a:pt x="1435969" y="515903"/>
                  <a:pt x="1427795" y="520100"/>
                </a:cubicBezTo>
                <a:cubicBezTo>
                  <a:pt x="1425784" y="521114"/>
                  <a:pt x="1425784" y="521114"/>
                  <a:pt x="1423733" y="522148"/>
                </a:cubicBezTo>
                <a:cubicBezTo>
                  <a:pt x="1422478" y="522798"/>
                  <a:pt x="1421223" y="523449"/>
                  <a:pt x="1419929" y="524118"/>
                </a:cubicBezTo>
                <a:cubicBezTo>
                  <a:pt x="1418794" y="524701"/>
                  <a:pt x="1417658" y="525283"/>
                  <a:pt x="1416487" y="525883"/>
                </a:cubicBezTo>
                <a:cubicBezTo>
                  <a:pt x="1413349" y="527646"/>
                  <a:pt x="1413349" y="527646"/>
                  <a:pt x="1412271" y="531902"/>
                </a:cubicBezTo>
                <a:cubicBezTo>
                  <a:pt x="1407205" y="535203"/>
                  <a:pt x="1402819" y="536744"/>
                  <a:pt x="1396650" y="537539"/>
                </a:cubicBezTo>
                <a:cubicBezTo>
                  <a:pt x="1396650" y="538469"/>
                  <a:pt x="1396650" y="539399"/>
                  <a:pt x="1396650" y="540357"/>
                </a:cubicBezTo>
                <a:cubicBezTo>
                  <a:pt x="1395609" y="540735"/>
                  <a:pt x="1394568" y="541113"/>
                  <a:pt x="1393495" y="541502"/>
                </a:cubicBezTo>
                <a:cubicBezTo>
                  <a:pt x="1381840" y="545973"/>
                  <a:pt x="1372279" y="551715"/>
                  <a:pt x="1362284" y="558678"/>
                </a:cubicBezTo>
                <a:cubicBezTo>
                  <a:pt x="1360170" y="560088"/>
                  <a:pt x="1358055" y="561497"/>
                  <a:pt x="1355937" y="562905"/>
                </a:cubicBezTo>
                <a:cubicBezTo>
                  <a:pt x="1348556" y="567937"/>
                  <a:pt x="1341292" y="573085"/>
                  <a:pt x="1334165" y="578406"/>
                </a:cubicBezTo>
                <a:cubicBezTo>
                  <a:pt x="1332697" y="579472"/>
                  <a:pt x="1332697" y="579472"/>
                  <a:pt x="1331200" y="580559"/>
                </a:cubicBezTo>
                <a:cubicBezTo>
                  <a:pt x="1325067" y="585430"/>
                  <a:pt x="1323406" y="589771"/>
                  <a:pt x="1322175" y="596793"/>
                </a:cubicBezTo>
                <a:cubicBezTo>
                  <a:pt x="1321669" y="599545"/>
                  <a:pt x="1321669" y="599545"/>
                  <a:pt x="1320106" y="602363"/>
                </a:cubicBezTo>
                <a:cubicBezTo>
                  <a:pt x="1318419" y="618189"/>
                  <a:pt x="1322416" y="632767"/>
                  <a:pt x="1328015" y="647640"/>
                </a:cubicBezTo>
                <a:cubicBezTo>
                  <a:pt x="1331267" y="656625"/>
                  <a:pt x="1333170" y="666179"/>
                  <a:pt x="1332604" y="675643"/>
                </a:cubicBezTo>
                <a:cubicBezTo>
                  <a:pt x="1333634" y="675643"/>
                  <a:pt x="1334665" y="675643"/>
                  <a:pt x="1335727" y="675643"/>
                </a:cubicBezTo>
                <a:cubicBezTo>
                  <a:pt x="1337571" y="680632"/>
                  <a:pt x="1337591" y="684795"/>
                  <a:pt x="1337741" y="690059"/>
                </a:cubicBezTo>
                <a:cubicBezTo>
                  <a:pt x="1337826" y="692114"/>
                  <a:pt x="1337913" y="694168"/>
                  <a:pt x="1338003" y="696222"/>
                </a:cubicBezTo>
                <a:cubicBezTo>
                  <a:pt x="1338142" y="699444"/>
                  <a:pt x="1338266" y="702664"/>
                  <a:pt x="1338340" y="705887"/>
                </a:cubicBezTo>
                <a:cubicBezTo>
                  <a:pt x="1338372" y="720474"/>
                  <a:pt x="1338372" y="720474"/>
                  <a:pt x="1345277" y="733245"/>
                </a:cubicBezTo>
                <a:cubicBezTo>
                  <a:pt x="1350822" y="737861"/>
                  <a:pt x="1355921" y="739823"/>
                  <a:pt x="1363162" y="741612"/>
                </a:cubicBezTo>
                <a:cubicBezTo>
                  <a:pt x="1370672" y="743533"/>
                  <a:pt x="1377197" y="745750"/>
                  <a:pt x="1384154" y="748922"/>
                </a:cubicBezTo>
                <a:cubicBezTo>
                  <a:pt x="1387833" y="749898"/>
                  <a:pt x="1387833" y="749898"/>
                  <a:pt x="1391476" y="750419"/>
                </a:cubicBezTo>
                <a:cubicBezTo>
                  <a:pt x="1393499" y="750747"/>
                  <a:pt x="1393499" y="750747"/>
                  <a:pt x="1395564" y="751080"/>
                </a:cubicBezTo>
                <a:cubicBezTo>
                  <a:pt x="1397648" y="751407"/>
                  <a:pt x="1397648" y="751407"/>
                  <a:pt x="1399775" y="751740"/>
                </a:cubicBezTo>
                <a:cubicBezTo>
                  <a:pt x="1401810" y="752111"/>
                  <a:pt x="1401810" y="752111"/>
                  <a:pt x="1403887" y="752489"/>
                </a:cubicBezTo>
                <a:cubicBezTo>
                  <a:pt x="1424247" y="756131"/>
                  <a:pt x="1444708" y="756350"/>
                  <a:pt x="1465383" y="755969"/>
                </a:cubicBezTo>
                <a:cubicBezTo>
                  <a:pt x="1467019" y="755945"/>
                  <a:pt x="1468654" y="755921"/>
                  <a:pt x="1470339" y="755897"/>
                </a:cubicBezTo>
                <a:cubicBezTo>
                  <a:pt x="1480128" y="755450"/>
                  <a:pt x="1487899" y="752933"/>
                  <a:pt x="1496809" y="749313"/>
                </a:cubicBezTo>
                <a:cubicBezTo>
                  <a:pt x="1502876" y="746888"/>
                  <a:pt x="1509049" y="745091"/>
                  <a:pt x="1515371" y="743285"/>
                </a:cubicBezTo>
                <a:cubicBezTo>
                  <a:pt x="1515371" y="742356"/>
                  <a:pt x="1515371" y="741425"/>
                  <a:pt x="1515371" y="740467"/>
                </a:cubicBezTo>
                <a:cubicBezTo>
                  <a:pt x="1522710" y="737103"/>
                  <a:pt x="1529583" y="737106"/>
                  <a:pt x="1537632" y="737120"/>
                </a:cubicBezTo>
                <a:cubicBezTo>
                  <a:pt x="1538960" y="737122"/>
                  <a:pt x="1540289" y="737124"/>
                  <a:pt x="1541657" y="737127"/>
                </a:cubicBezTo>
                <a:cubicBezTo>
                  <a:pt x="1555502" y="737372"/>
                  <a:pt x="1564314" y="740697"/>
                  <a:pt x="1574732" y="748922"/>
                </a:cubicBezTo>
                <a:cubicBezTo>
                  <a:pt x="1586507" y="762822"/>
                  <a:pt x="1590347" y="775219"/>
                  <a:pt x="1588791" y="792608"/>
                </a:cubicBezTo>
                <a:cubicBezTo>
                  <a:pt x="1587728" y="797050"/>
                  <a:pt x="1586468" y="801261"/>
                  <a:pt x="1584105" y="805291"/>
                </a:cubicBezTo>
                <a:cubicBezTo>
                  <a:pt x="1583074" y="805756"/>
                  <a:pt x="1582043" y="806221"/>
                  <a:pt x="1580981" y="806700"/>
                </a:cubicBezTo>
                <a:cubicBezTo>
                  <a:pt x="1580240" y="807892"/>
                  <a:pt x="1579499" y="809083"/>
                  <a:pt x="1578735" y="810311"/>
                </a:cubicBezTo>
                <a:cubicBezTo>
                  <a:pt x="1577930" y="811445"/>
                  <a:pt x="1577124" y="812579"/>
                  <a:pt x="1576295" y="813746"/>
                </a:cubicBezTo>
                <a:lnTo>
                  <a:pt x="1571652" y="813746"/>
                </a:lnTo>
                <a:lnTo>
                  <a:pt x="1571785" y="814106"/>
                </a:lnTo>
                <a:cubicBezTo>
                  <a:pt x="1572816" y="814571"/>
                  <a:pt x="1573846" y="815036"/>
                  <a:pt x="1574909" y="815515"/>
                </a:cubicBezTo>
                <a:cubicBezTo>
                  <a:pt x="1572126" y="818758"/>
                  <a:pt x="1569968" y="820871"/>
                  <a:pt x="1565463" y="821839"/>
                </a:cubicBezTo>
                <a:lnTo>
                  <a:pt x="1562085" y="822101"/>
                </a:lnTo>
                <a:lnTo>
                  <a:pt x="1551301" y="825020"/>
                </a:lnTo>
                <a:cubicBezTo>
                  <a:pt x="1551301" y="825950"/>
                  <a:pt x="1551301" y="826880"/>
                  <a:pt x="1551301" y="827838"/>
                </a:cubicBezTo>
                <a:cubicBezTo>
                  <a:pt x="1526697" y="828735"/>
                  <a:pt x="1507496" y="825036"/>
                  <a:pt x="1485380" y="815007"/>
                </a:cubicBezTo>
                <a:cubicBezTo>
                  <a:pt x="1468723" y="807743"/>
                  <a:pt x="1449749" y="809144"/>
                  <a:pt x="1431603" y="808726"/>
                </a:cubicBezTo>
                <a:cubicBezTo>
                  <a:pt x="1429115" y="808665"/>
                  <a:pt x="1426627" y="808604"/>
                  <a:pt x="1424140" y="808542"/>
                </a:cubicBezTo>
                <a:cubicBezTo>
                  <a:pt x="1418101" y="808392"/>
                  <a:pt x="1412062" y="808249"/>
                  <a:pt x="1406023" y="808109"/>
                </a:cubicBezTo>
                <a:cubicBezTo>
                  <a:pt x="1406023" y="809040"/>
                  <a:pt x="1406023" y="809970"/>
                  <a:pt x="1406023" y="810928"/>
                </a:cubicBezTo>
                <a:cubicBezTo>
                  <a:pt x="1404716" y="811118"/>
                  <a:pt x="1404716" y="811118"/>
                  <a:pt x="1403383" y="811311"/>
                </a:cubicBezTo>
                <a:cubicBezTo>
                  <a:pt x="1372054" y="815110"/>
                  <a:pt x="1372054" y="815110"/>
                  <a:pt x="1345442" y="828907"/>
                </a:cubicBezTo>
                <a:cubicBezTo>
                  <a:pt x="1338843" y="837605"/>
                  <a:pt x="1338313" y="846434"/>
                  <a:pt x="1337875" y="856639"/>
                </a:cubicBezTo>
                <a:cubicBezTo>
                  <a:pt x="1337815" y="857805"/>
                  <a:pt x="1337754" y="858970"/>
                  <a:pt x="1337692" y="860171"/>
                </a:cubicBezTo>
                <a:cubicBezTo>
                  <a:pt x="1337547" y="863016"/>
                  <a:pt x="1337417" y="865861"/>
                  <a:pt x="1337290" y="868706"/>
                </a:cubicBezTo>
                <a:cubicBezTo>
                  <a:pt x="1336258" y="868706"/>
                  <a:pt x="1335228" y="868706"/>
                  <a:pt x="1334165" y="868706"/>
                </a:cubicBezTo>
                <a:lnTo>
                  <a:pt x="1334165" y="870034"/>
                </a:lnTo>
                <a:lnTo>
                  <a:pt x="1334237" y="869093"/>
                </a:lnTo>
                <a:cubicBezTo>
                  <a:pt x="1334753" y="869093"/>
                  <a:pt x="1335268" y="869093"/>
                  <a:pt x="1335800" y="869093"/>
                </a:cubicBezTo>
                <a:cubicBezTo>
                  <a:pt x="1335884" y="871559"/>
                  <a:pt x="1335944" y="874025"/>
                  <a:pt x="1335995" y="876491"/>
                </a:cubicBezTo>
                <a:cubicBezTo>
                  <a:pt x="1336030" y="877865"/>
                  <a:pt x="1336067" y="879238"/>
                  <a:pt x="1336105" y="880653"/>
                </a:cubicBezTo>
                <a:cubicBezTo>
                  <a:pt x="1335800" y="884594"/>
                  <a:pt x="1335800" y="884594"/>
                  <a:pt x="1334294" y="887271"/>
                </a:cubicBezTo>
                <a:cubicBezTo>
                  <a:pt x="1332567" y="890428"/>
                  <a:pt x="1331982" y="892964"/>
                  <a:pt x="1331455" y="896440"/>
                </a:cubicBezTo>
                <a:cubicBezTo>
                  <a:pt x="1331267" y="897605"/>
                  <a:pt x="1331080" y="898769"/>
                  <a:pt x="1330887" y="899969"/>
                </a:cubicBezTo>
                <a:cubicBezTo>
                  <a:pt x="1330704" y="901174"/>
                  <a:pt x="1330521" y="902378"/>
                  <a:pt x="1330332" y="903618"/>
                </a:cubicBezTo>
                <a:cubicBezTo>
                  <a:pt x="1329968" y="906013"/>
                  <a:pt x="1329594" y="908405"/>
                  <a:pt x="1329209" y="910797"/>
                </a:cubicBezTo>
                <a:cubicBezTo>
                  <a:pt x="1329049" y="911853"/>
                  <a:pt x="1328889" y="912910"/>
                  <a:pt x="1328724" y="913998"/>
                </a:cubicBezTo>
                <a:cubicBezTo>
                  <a:pt x="1327933" y="917233"/>
                  <a:pt x="1326525" y="919703"/>
                  <a:pt x="1324865" y="922643"/>
                </a:cubicBezTo>
                <a:cubicBezTo>
                  <a:pt x="1323924" y="927743"/>
                  <a:pt x="1323282" y="932845"/>
                  <a:pt x="1322619" y="937979"/>
                </a:cubicBezTo>
                <a:lnTo>
                  <a:pt x="1318744" y="944961"/>
                </a:lnTo>
                <a:lnTo>
                  <a:pt x="1318544" y="946213"/>
                </a:lnTo>
                <a:cubicBezTo>
                  <a:pt x="1318360" y="949234"/>
                  <a:pt x="1318271" y="952260"/>
                  <a:pt x="1318251" y="955285"/>
                </a:cubicBezTo>
                <a:cubicBezTo>
                  <a:pt x="1318218" y="957637"/>
                  <a:pt x="1318218" y="957637"/>
                  <a:pt x="1318184" y="960036"/>
                </a:cubicBezTo>
                <a:cubicBezTo>
                  <a:pt x="1318624" y="965530"/>
                  <a:pt x="1319569" y="969724"/>
                  <a:pt x="1324024" y="973660"/>
                </a:cubicBezTo>
                <a:cubicBezTo>
                  <a:pt x="1327197" y="976583"/>
                  <a:pt x="1327950" y="979494"/>
                  <a:pt x="1329284" y="983382"/>
                </a:cubicBezTo>
                <a:cubicBezTo>
                  <a:pt x="1331875" y="990106"/>
                  <a:pt x="1334445" y="993582"/>
                  <a:pt x="1340414" y="998354"/>
                </a:cubicBezTo>
                <a:cubicBezTo>
                  <a:pt x="1342397" y="1000564"/>
                  <a:pt x="1344347" y="1002798"/>
                  <a:pt x="1346272" y="1005048"/>
                </a:cubicBezTo>
                <a:cubicBezTo>
                  <a:pt x="1360055" y="1020713"/>
                  <a:pt x="1376247" y="1031879"/>
                  <a:pt x="1394716" y="1042740"/>
                </a:cubicBezTo>
                <a:cubicBezTo>
                  <a:pt x="1397172" y="1044228"/>
                  <a:pt x="1399581" y="1045779"/>
                  <a:pt x="1401953" y="1047374"/>
                </a:cubicBezTo>
                <a:cubicBezTo>
                  <a:pt x="1410065" y="1052802"/>
                  <a:pt x="1417529" y="1056366"/>
                  <a:pt x="1427197" y="1059061"/>
                </a:cubicBezTo>
                <a:cubicBezTo>
                  <a:pt x="1431243" y="1060437"/>
                  <a:pt x="1434061" y="1061979"/>
                  <a:pt x="1437265" y="1064588"/>
                </a:cubicBezTo>
                <a:cubicBezTo>
                  <a:pt x="1437265" y="1065518"/>
                  <a:pt x="1437265" y="1066448"/>
                  <a:pt x="1437265" y="1067406"/>
                </a:cubicBezTo>
                <a:cubicBezTo>
                  <a:pt x="1439053" y="1067624"/>
                  <a:pt x="1439053" y="1067624"/>
                  <a:pt x="1440878" y="1067847"/>
                </a:cubicBezTo>
                <a:cubicBezTo>
                  <a:pt x="1445076" y="1068815"/>
                  <a:pt x="1445076" y="1068815"/>
                  <a:pt x="1447175" y="1070753"/>
                </a:cubicBezTo>
                <a:cubicBezTo>
                  <a:pt x="1450417" y="1073622"/>
                  <a:pt x="1453781" y="1075060"/>
                  <a:pt x="1457866" y="1076830"/>
                </a:cubicBezTo>
                <a:cubicBezTo>
                  <a:pt x="1459274" y="1077446"/>
                  <a:pt x="1460681" y="1078062"/>
                  <a:pt x="1462132" y="1078696"/>
                </a:cubicBezTo>
                <a:cubicBezTo>
                  <a:pt x="1463204" y="1079156"/>
                  <a:pt x="1464278" y="1079616"/>
                  <a:pt x="1465383" y="1080089"/>
                </a:cubicBezTo>
                <a:cubicBezTo>
                  <a:pt x="1465383" y="1081019"/>
                  <a:pt x="1465383" y="1081949"/>
                  <a:pt x="1465383" y="1082908"/>
                </a:cubicBezTo>
                <a:cubicBezTo>
                  <a:pt x="1466497" y="1083260"/>
                  <a:pt x="1467611" y="1083612"/>
                  <a:pt x="1468758" y="1083975"/>
                </a:cubicBezTo>
                <a:cubicBezTo>
                  <a:pt x="1473648" y="1085905"/>
                  <a:pt x="1477426" y="1088296"/>
                  <a:pt x="1481688" y="1091187"/>
                </a:cubicBezTo>
                <a:cubicBezTo>
                  <a:pt x="1483204" y="1092193"/>
                  <a:pt x="1484721" y="1093200"/>
                  <a:pt x="1486283" y="1094236"/>
                </a:cubicBezTo>
                <a:cubicBezTo>
                  <a:pt x="1489170" y="1096185"/>
                  <a:pt x="1492029" y="1098166"/>
                  <a:pt x="1494869" y="1100171"/>
                </a:cubicBezTo>
                <a:cubicBezTo>
                  <a:pt x="1510181" y="1107906"/>
                  <a:pt x="1527080" y="1109898"/>
                  <a:pt x="1544335" y="1109518"/>
                </a:cubicBezTo>
                <a:cubicBezTo>
                  <a:pt x="1579932" y="1108798"/>
                  <a:pt x="1579932" y="1108798"/>
                  <a:pt x="1593477" y="1119900"/>
                </a:cubicBezTo>
                <a:cubicBezTo>
                  <a:pt x="1600636" y="1127255"/>
                  <a:pt x="1604889" y="1135120"/>
                  <a:pt x="1605975" y="1144913"/>
                </a:cubicBezTo>
                <a:cubicBezTo>
                  <a:pt x="1607006" y="1144913"/>
                  <a:pt x="1608036" y="1144913"/>
                  <a:pt x="1609099" y="1144913"/>
                </a:cubicBezTo>
                <a:cubicBezTo>
                  <a:pt x="1609227" y="1148907"/>
                  <a:pt x="1609319" y="1152897"/>
                  <a:pt x="1609392" y="1156892"/>
                </a:cubicBezTo>
                <a:cubicBezTo>
                  <a:pt x="1609451" y="1158565"/>
                  <a:pt x="1609451" y="1158565"/>
                  <a:pt x="1609511" y="1160272"/>
                </a:cubicBezTo>
                <a:cubicBezTo>
                  <a:pt x="1609621" y="1168378"/>
                  <a:pt x="1607970" y="1174108"/>
                  <a:pt x="1604412" y="1181553"/>
                </a:cubicBezTo>
                <a:cubicBezTo>
                  <a:pt x="1603354" y="1184367"/>
                  <a:pt x="1602306" y="1187183"/>
                  <a:pt x="1601288" y="1190009"/>
                </a:cubicBezTo>
                <a:cubicBezTo>
                  <a:pt x="1600257" y="1190009"/>
                  <a:pt x="1599226" y="1190009"/>
                  <a:pt x="1598164" y="1190009"/>
                </a:cubicBezTo>
                <a:cubicBezTo>
                  <a:pt x="1597842" y="1190910"/>
                  <a:pt x="1597520" y="1191810"/>
                  <a:pt x="1597187" y="1192739"/>
                </a:cubicBezTo>
                <a:cubicBezTo>
                  <a:pt x="1596479" y="1193698"/>
                  <a:pt x="1595770" y="1194657"/>
                  <a:pt x="1595040" y="1195645"/>
                </a:cubicBezTo>
                <a:cubicBezTo>
                  <a:pt x="1591916" y="1196115"/>
                  <a:pt x="1588791" y="1196585"/>
                  <a:pt x="1585667" y="1197055"/>
                </a:cubicBezTo>
                <a:cubicBezTo>
                  <a:pt x="1583871" y="1199826"/>
                  <a:pt x="1583871" y="1199826"/>
                  <a:pt x="1582543" y="1202691"/>
                </a:cubicBezTo>
                <a:cubicBezTo>
                  <a:pt x="1575997" y="1204710"/>
                  <a:pt x="1569266" y="1204360"/>
                  <a:pt x="1562431" y="1204365"/>
                </a:cubicBezTo>
                <a:cubicBezTo>
                  <a:pt x="1561196" y="1204382"/>
                  <a:pt x="1559962" y="1204399"/>
                  <a:pt x="1558690" y="1204417"/>
                </a:cubicBezTo>
                <a:cubicBezTo>
                  <a:pt x="1543339" y="1204452"/>
                  <a:pt x="1531981" y="1199267"/>
                  <a:pt x="1521102" y="1189585"/>
                </a:cubicBezTo>
                <a:cubicBezTo>
                  <a:pt x="1515403" y="1183953"/>
                  <a:pt x="1510116" y="1178123"/>
                  <a:pt x="1505022" y="1172041"/>
                </a:cubicBezTo>
                <a:cubicBezTo>
                  <a:pt x="1493200" y="1158177"/>
                  <a:pt x="1475492" y="1147115"/>
                  <a:pt x="1457573" y="1140686"/>
                </a:cubicBezTo>
                <a:cubicBezTo>
                  <a:pt x="1457573" y="1139755"/>
                  <a:pt x="1457573" y="1138826"/>
                  <a:pt x="1457573" y="1137867"/>
                </a:cubicBezTo>
                <a:cubicBezTo>
                  <a:pt x="1456059" y="1137693"/>
                  <a:pt x="1454544" y="1137518"/>
                  <a:pt x="1452985" y="1137339"/>
                </a:cubicBezTo>
                <a:cubicBezTo>
                  <a:pt x="1451406" y="1137048"/>
                  <a:pt x="1449827" y="1136758"/>
                  <a:pt x="1448200" y="1136458"/>
                </a:cubicBezTo>
                <a:cubicBezTo>
                  <a:pt x="1447685" y="1135528"/>
                  <a:pt x="1447169" y="1134598"/>
                  <a:pt x="1446638" y="1133640"/>
                </a:cubicBezTo>
                <a:cubicBezTo>
                  <a:pt x="1444091" y="1132586"/>
                  <a:pt x="1441535" y="1131550"/>
                  <a:pt x="1438937" y="1130601"/>
                </a:cubicBezTo>
                <a:cubicBezTo>
                  <a:pt x="1435668" y="1129399"/>
                  <a:pt x="1432469" y="1128095"/>
                  <a:pt x="1429260" y="1126770"/>
                </a:cubicBezTo>
                <a:cubicBezTo>
                  <a:pt x="1423389" y="1124389"/>
                  <a:pt x="1417431" y="1122349"/>
                  <a:pt x="1411393" y="1120340"/>
                </a:cubicBezTo>
                <a:cubicBezTo>
                  <a:pt x="1404143" y="1117867"/>
                  <a:pt x="1397842" y="1115090"/>
                  <a:pt x="1391427" y="1111191"/>
                </a:cubicBezTo>
                <a:cubicBezTo>
                  <a:pt x="1388139" y="1109274"/>
                  <a:pt x="1384723" y="1108010"/>
                  <a:pt x="1381029" y="1106865"/>
                </a:cubicBezTo>
                <a:cubicBezTo>
                  <a:pt x="1381029" y="1105934"/>
                  <a:pt x="1381029" y="1105004"/>
                  <a:pt x="1381029" y="1104046"/>
                </a:cubicBezTo>
                <a:cubicBezTo>
                  <a:pt x="1379773" y="1103901"/>
                  <a:pt x="1378516" y="1103755"/>
                  <a:pt x="1377221" y="1103605"/>
                </a:cubicBezTo>
                <a:cubicBezTo>
                  <a:pt x="1370425" y="1102422"/>
                  <a:pt x="1364120" y="1100465"/>
                  <a:pt x="1357597" y="1098409"/>
                </a:cubicBezTo>
                <a:cubicBezTo>
                  <a:pt x="1355761" y="1097857"/>
                  <a:pt x="1353924" y="1097304"/>
                  <a:pt x="1352032" y="1096736"/>
                </a:cubicBezTo>
                <a:cubicBezTo>
                  <a:pt x="1350776" y="1096358"/>
                  <a:pt x="1349519" y="1095980"/>
                  <a:pt x="1348225" y="1095590"/>
                </a:cubicBezTo>
                <a:cubicBezTo>
                  <a:pt x="1348225" y="1094661"/>
                  <a:pt x="1348225" y="1093730"/>
                  <a:pt x="1348225" y="1092772"/>
                </a:cubicBezTo>
                <a:cubicBezTo>
                  <a:pt x="1344616" y="1092307"/>
                  <a:pt x="1341007" y="1091842"/>
                  <a:pt x="1337290" y="1091363"/>
                </a:cubicBezTo>
                <a:cubicBezTo>
                  <a:pt x="1337290" y="1090433"/>
                  <a:pt x="1337290" y="1089503"/>
                  <a:pt x="1337290" y="1088544"/>
                </a:cubicBezTo>
                <a:cubicBezTo>
                  <a:pt x="1334438" y="1088327"/>
                  <a:pt x="1334438" y="1088327"/>
                  <a:pt x="1331529" y="1088104"/>
                </a:cubicBezTo>
                <a:lnTo>
                  <a:pt x="1323297" y="1086611"/>
                </a:lnTo>
                <a:lnTo>
                  <a:pt x="1323297" y="1087618"/>
                </a:lnTo>
                <a:cubicBezTo>
                  <a:pt x="1322139" y="1087517"/>
                  <a:pt x="1320982" y="1087415"/>
                  <a:pt x="1319789" y="1087310"/>
                </a:cubicBezTo>
                <a:cubicBezTo>
                  <a:pt x="1300429" y="1085771"/>
                  <a:pt x="1281330" y="1084680"/>
                  <a:pt x="1262375" y="1089028"/>
                </a:cubicBezTo>
                <a:lnTo>
                  <a:pt x="1258728" y="1088205"/>
                </a:lnTo>
                <a:lnTo>
                  <a:pt x="1246964" y="1091489"/>
                </a:lnTo>
                <a:cubicBezTo>
                  <a:pt x="1237239" y="1097222"/>
                  <a:pt x="1228703" y="1103434"/>
                  <a:pt x="1223224" y="1112865"/>
                </a:cubicBezTo>
                <a:cubicBezTo>
                  <a:pt x="1220867" y="1116643"/>
                  <a:pt x="1217262" y="1119317"/>
                  <a:pt x="1213883" y="1122366"/>
                </a:cubicBezTo>
                <a:cubicBezTo>
                  <a:pt x="1213428" y="1123469"/>
                  <a:pt x="1212973" y="1124572"/>
                  <a:pt x="1212505" y="1125708"/>
                </a:cubicBezTo>
                <a:cubicBezTo>
                  <a:pt x="1210449" y="1130067"/>
                  <a:pt x="1207984" y="1132315"/>
                  <a:pt x="1204180" y="1135561"/>
                </a:cubicBezTo>
                <a:cubicBezTo>
                  <a:pt x="1202879" y="1136695"/>
                  <a:pt x="1201578" y="1137829"/>
                  <a:pt x="1200238" y="1138999"/>
                </a:cubicBezTo>
                <a:cubicBezTo>
                  <a:pt x="1197504" y="1141343"/>
                  <a:pt x="1194765" y="1143684"/>
                  <a:pt x="1192025" y="1146022"/>
                </a:cubicBezTo>
                <a:cubicBezTo>
                  <a:pt x="1181899" y="1154869"/>
                  <a:pt x="1174983" y="1161763"/>
                  <a:pt x="1173945" y="1174749"/>
                </a:cubicBezTo>
                <a:cubicBezTo>
                  <a:pt x="1173902" y="1177369"/>
                  <a:pt x="1173905" y="1179990"/>
                  <a:pt x="1173950" y="1182610"/>
                </a:cubicBezTo>
                <a:cubicBezTo>
                  <a:pt x="1173963" y="1183981"/>
                  <a:pt x="1173975" y="1185352"/>
                  <a:pt x="1173989" y="1186765"/>
                </a:cubicBezTo>
                <a:cubicBezTo>
                  <a:pt x="1174321" y="1197573"/>
                  <a:pt x="1176809" y="1205883"/>
                  <a:pt x="1182640" y="1215374"/>
                </a:cubicBezTo>
                <a:cubicBezTo>
                  <a:pt x="1183703" y="1217509"/>
                  <a:pt x="1184746" y="1219652"/>
                  <a:pt x="1185764" y="1221804"/>
                </a:cubicBezTo>
                <a:cubicBezTo>
                  <a:pt x="1186271" y="1222812"/>
                  <a:pt x="1186779" y="1223821"/>
                  <a:pt x="1187301" y="1224859"/>
                </a:cubicBezTo>
                <a:cubicBezTo>
                  <a:pt x="1188431" y="1227137"/>
                  <a:pt x="1189517" y="1229433"/>
                  <a:pt x="1190573" y="1231740"/>
                </a:cubicBezTo>
                <a:cubicBezTo>
                  <a:pt x="1194650" y="1240409"/>
                  <a:pt x="1199581" y="1247688"/>
                  <a:pt x="1205925" y="1255163"/>
                </a:cubicBezTo>
                <a:cubicBezTo>
                  <a:pt x="1208103" y="1257757"/>
                  <a:pt x="1210188" y="1260417"/>
                  <a:pt x="1212174" y="1263134"/>
                </a:cubicBezTo>
                <a:cubicBezTo>
                  <a:pt x="1218757" y="1272043"/>
                  <a:pt x="1225157" y="1277324"/>
                  <a:pt x="1235556" y="1282538"/>
                </a:cubicBezTo>
                <a:cubicBezTo>
                  <a:pt x="1236652" y="1283161"/>
                  <a:pt x="1237747" y="1283784"/>
                  <a:pt x="1238876" y="1284426"/>
                </a:cubicBezTo>
                <a:cubicBezTo>
                  <a:pt x="1238876" y="1285356"/>
                  <a:pt x="1238876" y="1286287"/>
                  <a:pt x="1238876" y="1287245"/>
                </a:cubicBezTo>
                <a:cubicBezTo>
                  <a:pt x="1239988" y="1287383"/>
                  <a:pt x="1241099" y="1287521"/>
                  <a:pt x="1242245" y="1287663"/>
                </a:cubicBezTo>
                <a:cubicBezTo>
                  <a:pt x="1253043" y="1290072"/>
                  <a:pt x="1264916" y="1297690"/>
                  <a:pt x="1271681" y="1305565"/>
                </a:cubicBezTo>
                <a:lnTo>
                  <a:pt x="1271742" y="1306172"/>
                </a:lnTo>
                <a:lnTo>
                  <a:pt x="1278525" y="1315767"/>
                </a:lnTo>
                <a:cubicBezTo>
                  <a:pt x="1279797" y="1319398"/>
                  <a:pt x="1280365" y="1323346"/>
                  <a:pt x="1281097" y="1327286"/>
                </a:cubicBezTo>
                <a:cubicBezTo>
                  <a:pt x="1281916" y="1337121"/>
                  <a:pt x="1281807" y="1346176"/>
                  <a:pt x="1277973" y="1355470"/>
                </a:cubicBezTo>
                <a:lnTo>
                  <a:pt x="1277460" y="1347025"/>
                </a:lnTo>
                <a:lnTo>
                  <a:pt x="1273531" y="1357991"/>
                </a:lnTo>
                <a:cubicBezTo>
                  <a:pt x="1270940" y="1361892"/>
                  <a:pt x="1267521" y="1365435"/>
                  <a:pt x="1263870" y="1368980"/>
                </a:cubicBezTo>
                <a:cubicBezTo>
                  <a:pt x="1258351" y="1372929"/>
                  <a:pt x="1253850" y="1376026"/>
                  <a:pt x="1246686" y="1376026"/>
                </a:cubicBezTo>
                <a:cubicBezTo>
                  <a:pt x="1246686" y="1376956"/>
                  <a:pt x="1246686" y="1377886"/>
                  <a:pt x="1246686" y="1378844"/>
                </a:cubicBezTo>
                <a:cubicBezTo>
                  <a:pt x="1241676" y="1379009"/>
                  <a:pt x="1236665" y="1379109"/>
                  <a:pt x="1231651" y="1379196"/>
                </a:cubicBezTo>
                <a:cubicBezTo>
                  <a:pt x="1230240" y="1379244"/>
                  <a:pt x="1228828" y="1379291"/>
                  <a:pt x="1227373" y="1379340"/>
                </a:cubicBezTo>
                <a:cubicBezTo>
                  <a:pt x="1218287" y="1379460"/>
                  <a:pt x="1213363" y="1378568"/>
                  <a:pt x="1206071" y="1373207"/>
                </a:cubicBezTo>
                <a:cubicBezTo>
                  <a:pt x="1204751" y="1372742"/>
                  <a:pt x="1203430" y="1372277"/>
                  <a:pt x="1202069" y="1371798"/>
                </a:cubicBezTo>
                <a:cubicBezTo>
                  <a:pt x="1193777" y="1368730"/>
                  <a:pt x="1188124" y="1363294"/>
                  <a:pt x="1184104" y="1356176"/>
                </a:cubicBezTo>
                <a:cubicBezTo>
                  <a:pt x="1180965" y="1349259"/>
                  <a:pt x="1178852" y="1342590"/>
                  <a:pt x="1177270" y="1335247"/>
                </a:cubicBezTo>
                <a:cubicBezTo>
                  <a:pt x="1175525" y="1327352"/>
                  <a:pt x="1172911" y="1320677"/>
                  <a:pt x="1169002" y="1313464"/>
                </a:cubicBezTo>
                <a:cubicBezTo>
                  <a:pt x="1166989" y="1309737"/>
                  <a:pt x="1165215" y="1305976"/>
                  <a:pt x="1163504" y="1302130"/>
                </a:cubicBezTo>
                <a:cubicBezTo>
                  <a:pt x="1163013" y="1301027"/>
                  <a:pt x="1162521" y="1299924"/>
                  <a:pt x="1162015" y="1298788"/>
                </a:cubicBezTo>
                <a:cubicBezTo>
                  <a:pt x="1160770" y="1295700"/>
                  <a:pt x="1160770" y="1295700"/>
                  <a:pt x="1160111" y="1292656"/>
                </a:cubicBezTo>
                <a:cubicBezTo>
                  <a:pt x="1159345" y="1289507"/>
                  <a:pt x="1159345" y="1289507"/>
                  <a:pt x="1154522" y="1287245"/>
                </a:cubicBezTo>
                <a:cubicBezTo>
                  <a:pt x="1153465" y="1284902"/>
                  <a:pt x="1152426" y="1282552"/>
                  <a:pt x="1151398" y="1280199"/>
                </a:cubicBezTo>
                <a:cubicBezTo>
                  <a:pt x="1149056" y="1276983"/>
                  <a:pt x="1146686" y="1273874"/>
                  <a:pt x="1144173" y="1270774"/>
                </a:cubicBezTo>
                <a:cubicBezTo>
                  <a:pt x="1143477" y="1269912"/>
                  <a:pt x="1142782" y="1269049"/>
                  <a:pt x="1142065" y="1268160"/>
                </a:cubicBezTo>
                <a:cubicBezTo>
                  <a:pt x="1139981" y="1265589"/>
                  <a:pt x="1137880" y="1263029"/>
                  <a:pt x="1135776" y="1260470"/>
                </a:cubicBezTo>
                <a:cubicBezTo>
                  <a:pt x="1134647" y="1259076"/>
                  <a:pt x="1133517" y="1257683"/>
                  <a:pt x="1132353" y="1256247"/>
                </a:cubicBezTo>
                <a:cubicBezTo>
                  <a:pt x="1126291" y="1249045"/>
                  <a:pt x="1121408" y="1244606"/>
                  <a:pt x="1112344" y="1240741"/>
                </a:cubicBezTo>
                <a:cubicBezTo>
                  <a:pt x="1110285" y="1239698"/>
                  <a:pt x="1108234" y="1238642"/>
                  <a:pt x="1106193" y="1237570"/>
                </a:cubicBezTo>
                <a:cubicBezTo>
                  <a:pt x="1104615" y="1236756"/>
                  <a:pt x="1103036" y="1235942"/>
                  <a:pt x="1101409" y="1235104"/>
                </a:cubicBezTo>
                <a:cubicBezTo>
                  <a:pt x="1101409" y="1233708"/>
                  <a:pt x="1101409" y="1232313"/>
                  <a:pt x="1101409" y="1230876"/>
                </a:cubicBezTo>
                <a:cubicBezTo>
                  <a:pt x="1089553" y="1230876"/>
                  <a:pt x="1077697" y="1230876"/>
                  <a:pt x="1065480" y="1230876"/>
                </a:cubicBezTo>
                <a:cubicBezTo>
                  <a:pt x="1064965" y="1232271"/>
                  <a:pt x="1064450" y="1233666"/>
                  <a:pt x="1063919" y="1235104"/>
                </a:cubicBezTo>
                <a:cubicBezTo>
                  <a:pt x="1062372" y="1235104"/>
                  <a:pt x="1060826" y="1235104"/>
                  <a:pt x="1059232" y="1235104"/>
                </a:cubicBezTo>
                <a:cubicBezTo>
                  <a:pt x="1059232" y="1236033"/>
                  <a:pt x="1059232" y="1236964"/>
                  <a:pt x="1059232" y="1237922"/>
                </a:cubicBezTo>
                <a:cubicBezTo>
                  <a:pt x="1052964" y="1240850"/>
                  <a:pt x="1046842" y="1243613"/>
                  <a:pt x="1040194" y="1245761"/>
                </a:cubicBezTo>
                <a:cubicBezTo>
                  <a:pt x="1036552" y="1246941"/>
                  <a:pt x="1033682" y="1248088"/>
                  <a:pt x="1030333" y="1249901"/>
                </a:cubicBezTo>
                <a:cubicBezTo>
                  <a:pt x="1025129" y="1252717"/>
                  <a:pt x="1019615" y="1254371"/>
                  <a:pt x="1013931" y="1256242"/>
                </a:cubicBezTo>
                <a:cubicBezTo>
                  <a:pt x="1009870" y="1257688"/>
                  <a:pt x="1008221" y="1258277"/>
                  <a:pt x="1005925" y="1261615"/>
                </a:cubicBezTo>
                <a:cubicBezTo>
                  <a:pt x="1005474" y="1262632"/>
                  <a:pt x="1005023" y="1263649"/>
                  <a:pt x="1004558" y="1264697"/>
                </a:cubicBezTo>
                <a:cubicBezTo>
                  <a:pt x="1004030" y="1265774"/>
                  <a:pt x="1003503" y="1266852"/>
                  <a:pt x="1002959" y="1267961"/>
                </a:cubicBezTo>
                <a:cubicBezTo>
                  <a:pt x="1001408" y="1271808"/>
                  <a:pt x="1000922" y="1274896"/>
                  <a:pt x="1000653" y="1278965"/>
                </a:cubicBezTo>
                <a:cubicBezTo>
                  <a:pt x="1000303" y="1284158"/>
                  <a:pt x="999467" y="1289055"/>
                  <a:pt x="998297" y="1294137"/>
                </a:cubicBezTo>
                <a:cubicBezTo>
                  <a:pt x="996204" y="1304306"/>
                  <a:pt x="996129" y="1314460"/>
                  <a:pt x="996162" y="1324765"/>
                </a:cubicBezTo>
                <a:cubicBezTo>
                  <a:pt x="996163" y="1325782"/>
                  <a:pt x="996163" y="1326799"/>
                  <a:pt x="996164" y="1327846"/>
                </a:cubicBezTo>
                <a:cubicBezTo>
                  <a:pt x="996263" y="1353742"/>
                  <a:pt x="1001081" y="1378188"/>
                  <a:pt x="1007780" y="1403329"/>
                </a:cubicBezTo>
                <a:cubicBezTo>
                  <a:pt x="1008163" y="1404772"/>
                  <a:pt x="1008546" y="1406215"/>
                  <a:pt x="1008940" y="1407701"/>
                </a:cubicBezTo>
                <a:cubicBezTo>
                  <a:pt x="1009316" y="1409030"/>
                  <a:pt x="1009693" y="1410360"/>
                  <a:pt x="1010080" y="1411730"/>
                </a:cubicBezTo>
                <a:cubicBezTo>
                  <a:pt x="1010409" y="1412900"/>
                  <a:pt x="1010737" y="1414071"/>
                  <a:pt x="1011075" y="1415277"/>
                </a:cubicBezTo>
                <a:cubicBezTo>
                  <a:pt x="1012501" y="1418612"/>
                  <a:pt x="1014136" y="1420168"/>
                  <a:pt x="1017055" y="1422530"/>
                </a:cubicBezTo>
                <a:cubicBezTo>
                  <a:pt x="1018770" y="1425162"/>
                  <a:pt x="1018770" y="1425162"/>
                  <a:pt x="1020277" y="1427991"/>
                </a:cubicBezTo>
                <a:cubicBezTo>
                  <a:pt x="1020778" y="1428917"/>
                  <a:pt x="1021280" y="1429844"/>
                  <a:pt x="1021796" y="1430798"/>
                </a:cubicBezTo>
                <a:cubicBezTo>
                  <a:pt x="1023303" y="1433804"/>
                  <a:pt x="1023303" y="1433804"/>
                  <a:pt x="1024579" y="1437239"/>
                </a:cubicBezTo>
                <a:cubicBezTo>
                  <a:pt x="1026915" y="1441803"/>
                  <a:pt x="1030098" y="1444534"/>
                  <a:pt x="1034043" y="1448072"/>
                </a:cubicBezTo>
                <a:lnTo>
                  <a:pt x="1043782" y="1464320"/>
                </a:lnTo>
                <a:lnTo>
                  <a:pt x="1050458" y="1472189"/>
                </a:lnTo>
                <a:cubicBezTo>
                  <a:pt x="1051737" y="1475181"/>
                  <a:pt x="1052277" y="1478513"/>
                  <a:pt x="1052926" y="1482370"/>
                </a:cubicBezTo>
                <a:cubicBezTo>
                  <a:pt x="1053325" y="1487224"/>
                  <a:pt x="1053364" y="1492038"/>
                  <a:pt x="1053316" y="1496903"/>
                </a:cubicBezTo>
                <a:cubicBezTo>
                  <a:pt x="1053328" y="1498142"/>
                  <a:pt x="1053340" y="1499382"/>
                  <a:pt x="1053352" y="1500660"/>
                </a:cubicBezTo>
                <a:cubicBezTo>
                  <a:pt x="1053348" y="1501856"/>
                  <a:pt x="1053344" y="1503052"/>
                  <a:pt x="1053341" y="1504285"/>
                </a:cubicBezTo>
                <a:cubicBezTo>
                  <a:pt x="1053336" y="1505355"/>
                  <a:pt x="1053333" y="1506426"/>
                  <a:pt x="1053329" y="1507529"/>
                </a:cubicBezTo>
                <a:cubicBezTo>
                  <a:pt x="1052876" y="1510927"/>
                  <a:pt x="1051672" y="1513237"/>
                  <a:pt x="1049801" y="1516192"/>
                </a:cubicBezTo>
                <a:lnTo>
                  <a:pt x="1047312" y="1516192"/>
                </a:lnTo>
                <a:lnTo>
                  <a:pt x="1043611" y="1522585"/>
                </a:lnTo>
                <a:cubicBezTo>
                  <a:pt x="1035301" y="1529631"/>
                  <a:pt x="1035301" y="1529631"/>
                  <a:pt x="1029552" y="1529631"/>
                </a:cubicBezTo>
                <a:cubicBezTo>
                  <a:pt x="1029294" y="1530503"/>
                  <a:pt x="1029036" y="1531375"/>
                  <a:pt x="1028771" y="1532273"/>
                </a:cubicBezTo>
                <a:cubicBezTo>
                  <a:pt x="1025795" y="1536076"/>
                  <a:pt x="1022970" y="1536733"/>
                  <a:pt x="1018013" y="1537640"/>
                </a:cubicBezTo>
                <a:cubicBezTo>
                  <a:pt x="1005216" y="1539038"/>
                  <a:pt x="992573" y="1539816"/>
                  <a:pt x="981126" y="1533859"/>
                </a:cubicBezTo>
                <a:cubicBezTo>
                  <a:pt x="979840" y="1533226"/>
                  <a:pt x="978553" y="1532594"/>
                  <a:pt x="977227" y="1531943"/>
                </a:cubicBezTo>
                <a:cubicBezTo>
                  <a:pt x="965286" y="1525877"/>
                  <a:pt x="959626" y="1520520"/>
                  <a:pt x="955376" y="1508751"/>
                </a:cubicBezTo>
                <a:cubicBezTo>
                  <a:pt x="954571" y="1505674"/>
                  <a:pt x="954571" y="1505674"/>
                  <a:pt x="954571" y="1500037"/>
                </a:cubicBezTo>
                <a:cubicBezTo>
                  <a:pt x="953539" y="1500037"/>
                  <a:pt x="952508" y="1500037"/>
                  <a:pt x="951446" y="1500037"/>
                </a:cubicBezTo>
                <a:cubicBezTo>
                  <a:pt x="951361" y="1495986"/>
                  <a:pt x="951299" y="1491935"/>
                  <a:pt x="951251" y="1487883"/>
                </a:cubicBezTo>
                <a:cubicBezTo>
                  <a:pt x="951224" y="1486744"/>
                  <a:pt x="951198" y="1485605"/>
                  <a:pt x="951171" y="1484431"/>
                </a:cubicBezTo>
                <a:cubicBezTo>
                  <a:pt x="951110" y="1477657"/>
                  <a:pt x="952093" y="1472660"/>
                  <a:pt x="954571" y="1466216"/>
                </a:cubicBezTo>
                <a:cubicBezTo>
                  <a:pt x="954867" y="1462451"/>
                  <a:pt x="955016" y="1458876"/>
                  <a:pt x="954961" y="1455118"/>
                </a:cubicBezTo>
                <a:cubicBezTo>
                  <a:pt x="954951" y="1454080"/>
                  <a:pt x="954942" y="1453042"/>
                  <a:pt x="954932" y="1451972"/>
                </a:cubicBezTo>
                <a:cubicBezTo>
                  <a:pt x="954606" y="1435235"/>
                  <a:pt x="952568" y="1419050"/>
                  <a:pt x="945099" y="1403594"/>
                </a:cubicBezTo>
                <a:cubicBezTo>
                  <a:pt x="943714" y="1400177"/>
                  <a:pt x="943046" y="1397128"/>
                  <a:pt x="942366" y="1393553"/>
                </a:cubicBezTo>
                <a:cubicBezTo>
                  <a:pt x="940837" y="1386134"/>
                  <a:pt x="937840" y="1379609"/>
                  <a:pt x="934451" y="1372734"/>
                </a:cubicBezTo>
                <a:cubicBezTo>
                  <a:pt x="932701" y="1368980"/>
                  <a:pt x="932701" y="1368980"/>
                  <a:pt x="931974" y="1365754"/>
                </a:cubicBezTo>
                <a:cubicBezTo>
                  <a:pt x="931699" y="1364958"/>
                  <a:pt x="931422" y="1364162"/>
                  <a:pt x="931138" y="1363343"/>
                </a:cubicBezTo>
                <a:cubicBezTo>
                  <a:pt x="929592" y="1362878"/>
                  <a:pt x="928045" y="1362413"/>
                  <a:pt x="926452" y="1361933"/>
                </a:cubicBezTo>
                <a:cubicBezTo>
                  <a:pt x="921830" y="1355261"/>
                  <a:pt x="920323" y="1348382"/>
                  <a:pt x="918641" y="1340795"/>
                </a:cubicBezTo>
                <a:cubicBezTo>
                  <a:pt x="918133" y="1338914"/>
                  <a:pt x="917616" y="1337034"/>
                  <a:pt x="917079" y="1335158"/>
                </a:cubicBezTo>
                <a:cubicBezTo>
                  <a:pt x="916048" y="1335158"/>
                  <a:pt x="915018" y="1335158"/>
                  <a:pt x="913955" y="1335158"/>
                </a:cubicBezTo>
                <a:cubicBezTo>
                  <a:pt x="913329" y="1333718"/>
                  <a:pt x="912703" y="1332277"/>
                  <a:pt x="912057" y="1330793"/>
                </a:cubicBezTo>
                <a:cubicBezTo>
                  <a:pt x="909497" y="1325424"/>
                  <a:pt x="906114" y="1320822"/>
                  <a:pt x="902142" y="1316222"/>
                </a:cubicBezTo>
                <a:cubicBezTo>
                  <a:pt x="901465" y="1315432"/>
                  <a:pt x="900788" y="1314642"/>
                  <a:pt x="900091" y="1313828"/>
                </a:cubicBezTo>
                <a:cubicBezTo>
                  <a:pt x="893705" y="1306618"/>
                  <a:pt x="886350" y="1301049"/>
                  <a:pt x="878026" y="1295700"/>
                </a:cubicBezTo>
                <a:cubicBezTo>
                  <a:pt x="876595" y="1294594"/>
                  <a:pt x="876595" y="1294594"/>
                  <a:pt x="875134" y="1293465"/>
                </a:cubicBezTo>
                <a:lnTo>
                  <a:pt x="869869" y="1291826"/>
                </a:lnTo>
                <a:lnTo>
                  <a:pt x="862384" y="1291327"/>
                </a:lnTo>
                <a:cubicBezTo>
                  <a:pt x="856441" y="1290067"/>
                  <a:pt x="850461" y="1290346"/>
                  <a:pt x="844390" y="1290461"/>
                </a:cubicBezTo>
                <a:cubicBezTo>
                  <a:pt x="842453" y="1290480"/>
                  <a:pt x="842453" y="1290480"/>
                  <a:pt x="840476" y="1290500"/>
                </a:cubicBezTo>
                <a:cubicBezTo>
                  <a:pt x="837322" y="1290532"/>
                  <a:pt x="834169" y="1290583"/>
                  <a:pt x="831015" y="1290637"/>
                </a:cubicBezTo>
                <a:cubicBezTo>
                  <a:pt x="831015" y="1291568"/>
                  <a:pt x="831015" y="1292498"/>
                  <a:pt x="831015" y="1293456"/>
                </a:cubicBezTo>
                <a:cubicBezTo>
                  <a:pt x="826519" y="1294808"/>
                  <a:pt x="822922" y="1295235"/>
                  <a:pt x="818225" y="1295570"/>
                </a:cubicBezTo>
                <a:lnTo>
                  <a:pt x="796774" y="1297671"/>
                </a:lnTo>
                <a:lnTo>
                  <a:pt x="783646" y="1305736"/>
                </a:lnTo>
                <a:cubicBezTo>
                  <a:pt x="776915" y="1312506"/>
                  <a:pt x="772692" y="1318638"/>
                  <a:pt x="769263" y="1327143"/>
                </a:cubicBezTo>
                <a:cubicBezTo>
                  <a:pt x="767116" y="1332340"/>
                  <a:pt x="767116" y="1332340"/>
                  <a:pt x="764797" y="1334360"/>
                </a:cubicBezTo>
                <a:lnTo>
                  <a:pt x="757875" y="1353503"/>
                </a:lnTo>
                <a:lnTo>
                  <a:pt x="755676" y="1367455"/>
                </a:lnTo>
                <a:lnTo>
                  <a:pt x="750558" y="1399690"/>
                </a:lnTo>
                <a:lnTo>
                  <a:pt x="753057" y="1411256"/>
                </a:lnTo>
                <a:cubicBezTo>
                  <a:pt x="753057" y="1413117"/>
                  <a:pt x="753057" y="1414976"/>
                  <a:pt x="753057" y="1416893"/>
                </a:cubicBezTo>
                <a:cubicBezTo>
                  <a:pt x="754087" y="1416893"/>
                  <a:pt x="755119" y="1416893"/>
                  <a:pt x="756181" y="1416893"/>
                </a:cubicBezTo>
                <a:cubicBezTo>
                  <a:pt x="759348" y="1422607"/>
                  <a:pt x="758101" y="1429902"/>
                  <a:pt x="758133" y="1436182"/>
                </a:cubicBezTo>
                <a:cubicBezTo>
                  <a:pt x="758182" y="1438458"/>
                  <a:pt x="758182" y="1438458"/>
                  <a:pt x="758231" y="1440781"/>
                </a:cubicBezTo>
                <a:cubicBezTo>
                  <a:pt x="758283" y="1450271"/>
                  <a:pt x="758174" y="1458360"/>
                  <a:pt x="750713" y="1465704"/>
                </a:cubicBezTo>
                <a:cubicBezTo>
                  <a:pt x="749940" y="1466193"/>
                  <a:pt x="749167" y="1466681"/>
                  <a:pt x="748370" y="1467185"/>
                </a:cubicBezTo>
                <a:cubicBezTo>
                  <a:pt x="743665" y="1470047"/>
                  <a:pt x="743665" y="1470047"/>
                  <a:pt x="741633" y="1473526"/>
                </a:cubicBezTo>
                <a:cubicBezTo>
                  <a:pt x="737793" y="1477248"/>
                  <a:pt x="733582" y="1477483"/>
                  <a:pt x="728154" y="1478343"/>
                </a:cubicBezTo>
                <a:cubicBezTo>
                  <a:pt x="724855" y="1478778"/>
                  <a:pt x="724855" y="1478778"/>
                  <a:pt x="721814" y="1480308"/>
                </a:cubicBezTo>
                <a:cubicBezTo>
                  <a:pt x="717303" y="1480523"/>
                  <a:pt x="712854" y="1480634"/>
                  <a:pt x="708341" y="1480661"/>
                </a:cubicBezTo>
                <a:cubicBezTo>
                  <a:pt x="707118" y="1480690"/>
                  <a:pt x="705896" y="1480719"/>
                  <a:pt x="704637" y="1480748"/>
                </a:cubicBezTo>
                <a:cubicBezTo>
                  <a:pt x="690446" y="1480834"/>
                  <a:pt x="679632" y="1476246"/>
                  <a:pt x="668507" y="1468418"/>
                </a:cubicBezTo>
                <a:cubicBezTo>
                  <a:pt x="662823" y="1463224"/>
                  <a:pt x="661745" y="1456995"/>
                  <a:pt x="660178" y="1450027"/>
                </a:cubicBezTo>
                <a:cubicBezTo>
                  <a:pt x="659725" y="1446589"/>
                  <a:pt x="659725" y="1446589"/>
                  <a:pt x="657767" y="1445078"/>
                </a:cubicBezTo>
                <a:cubicBezTo>
                  <a:pt x="656859" y="1433686"/>
                  <a:pt x="655965" y="1419178"/>
                  <a:pt x="663369" y="1409390"/>
                </a:cubicBezTo>
                <a:cubicBezTo>
                  <a:pt x="666078" y="1406601"/>
                  <a:pt x="668921" y="1404013"/>
                  <a:pt x="671826" y="1401392"/>
                </a:cubicBezTo>
                <a:cubicBezTo>
                  <a:pt x="675197" y="1397623"/>
                  <a:pt x="677125" y="1394916"/>
                  <a:pt x="678075" y="1390118"/>
                </a:cubicBezTo>
                <a:cubicBezTo>
                  <a:pt x="680137" y="1389653"/>
                  <a:pt x="682199" y="1389188"/>
                  <a:pt x="684323" y="1388709"/>
                </a:cubicBezTo>
                <a:cubicBezTo>
                  <a:pt x="684643" y="1387232"/>
                  <a:pt x="684964" y="1385755"/>
                  <a:pt x="685293" y="1384233"/>
                </a:cubicBezTo>
                <a:cubicBezTo>
                  <a:pt x="685718" y="1382290"/>
                  <a:pt x="686144" y="1380347"/>
                  <a:pt x="686569" y="1378404"/>
                </a:cubicBezTo>
                <a:cubicBezTo>
                  <a:pt x="686885" y="1376945"/>
                  <a:pt x="686885" y="1376945"/>
                  <a:pt x="687207" y="1375456"/>
                </a:cubicBezTo>
                <a:cubicBezTo>
                  <a:pt x="688115" y="1371315"/>
                  <a:pt x="689090" y="1367353"/>
                  <a:pt x="690572" y="1363343"/>
                </a:cubicBezTo>
                <a:cubicBezTo>
                  <a:pt x="692411" y="1350128"/>
                  <a:pt x="692374" y="1336672"/>
                  <a:pt x="692495" y="1323376"/>
                </a:cubicBezTo>
                <a:cubicBezTo>
                  <a:pt x="692524" y="1320586"/>
                  <a:pt x="692574" y="1317796"/>
                  <a:pt x="692625" y="1315006"/>
                </a:cubicBezTo>
                <a:cubicBezTo>
                  <a:pt x="692853" y="1300589"/>
                  <a:pt x="692853" y="1300589"/>
                  <a:pt x="687447" y="1287245"/>
                </a:cubicBezTo>
                <a:cubicBezTo>
                  <a:pt x="685901" y="1286780"/>
                  <a:pt x="684354" y="1286315"/>
                  <a:pt x="682761" y="1285835"/>
                </a:cubicBezTo>
                <a:cubicBezTo>
                  <a:pt x="680876" y="1283743"/>
                  <a:pt x="680876" y="1283743"/>
                  <a:pt x="678954" y="1281608"/>
                </a:cubicBezTo>
                <a:cubicBezTo>
                  <a:pt x="674854" y="1277278"/>
                  <a:pt x="674356" y="1276958"/>
                  <a:pt x="668702" y="1275971"/>
                </a:cubicBezTo>
                <a:cubicBezTo>
                  <a:pt x="666619" y="1274092"/>
                  <a:pt x="664536" y="1272213"/>
                  <a:pt x="662454" y="1270334"/>
                </a:cubicBezTo>
                <a:cubicBezTo>
                  <a:pt x="658341" y="1268566"/>
                  <a:pt x="658341" y="1268566"/>
                  <a:pt x="654643" y="1267516"/>
                </a:cubicBezTo>
                <a:cubicBezTo>
                  <a:pt x="654643" y="1266585"/>
                  <a:pt x="654643" y="1265656"/>
                  <a:pt x="654643" y="1264697"/>
                </a:cubicBezTo>
                <a:cubicBezTo>
                  <a:pt x="653161" y="1264581"/>
                  <a:pt x="651679" y="1264465"/>
                  <a:pt x="650152" y="1264345"/>
                </a:cubicBezTo>
                <a:cubicBezTo>
                  <a:pt x="642318" y="1263373"/>
                  <a:pt x="635297" y="1260465"/>
                  <a:pt x="628087" y="1257651"/>
                </a:cubicBezTo>
                <a:cubicBezTo>
                  <a:pt x="628087" y="1256721"/>
                  <a:pt x="628087" y="1255791"/>
                  <a:pt x="628087" y="1254833"/>
                </a:cubicBezTo>
                <a:cubicBezTo>
                  <a:pt x="627108" y="1254662"/>
                  <a:pt x="626129" y="1254491"/>
                  <a:pt x="625121" y="1254315"/>
                </a:cubicBezTo>
                <a:cubicBezTo>
                  <a:pt x="623845" y="1254079"/>
                  <a:pt x="622568" y="1253843"/>
                  <a:pt x="621252" y="1253600"/>
                </a:cubicBezTo>
                <a:cubicBezTo>
                  <a:pt x="619984" y="1253371"/>
                  <a:pt x="618716" y="1253142"/>
                  <a:pt x="617409" y="1252906"/>
                </a:cubicBezTo>
                <a:cubicBezTo>
                  <a:pt x="614027" y="1252014"/>
                  <a:pt x="614027" y="1252014"/>
                  <a:pt x="610904" y="1249196"/>
                </a:cubicBezTo>
                <a:cubicBezTo>
                  <a:pt x="592259" y="1248653"/>
                  <a:pt x="578635" y="1260869"/>
                  <a:pt x="565739" y="1271742"/>
                </a:cubicBezTo>
                <a:cubicBezTo>
                  <a:pt x="558808" y="1277725"/>
                  <a:pt x="552763" y="1283983"/>
                  <a:pt x="546924" y="1290829"/>
                </a:cubicBezTo>
                <a:cubicBezTo>
                  <a:pt x="545838" y="1292087"/>
                  <a:pt x="544753" y="1293346"/>
                  <a:pt x="543635" y="1294643"/>
                </a:cubicBezTo>
                <a:cubicBezTo>
                  <a:pt x="542650" y="1295813"/>
                  <a:pt x="541666" y="1296983"/>
                  <a:pt x="540651" y="1298188"/>
                </a:cubicBezTo>
                <a:cubicBezTo>
                  <a:pt x="537294" y="1301526"/>
                  <a:pt x="533978" y="1303337"/>
                  <a:pt x="529673" y="1305565"/>
                </a:cubicBezTo>
                <a:cubicBezTo>
                  <a:pt x="527599" y="1308478"/>
                  <a:pt x="527599" y="1308478"/>
                  <a:pt x="526549" y="1311202"/>
                </a:cubicBezTo>
                <a:cubicBezTo>
                  <a:pt x="525518" y="1311202"/>
                  <a:pt x="524487" y="1311202"/>
                  <a:pt x="523425" y="1311202"/>
                </a:cubicBezTo>
                <a:cubicBezTo>
                  <a:pt x="523360" y="1311986"/>
                  <a:pt x="523296" y="1312771"/>
                  <a:pt x="523230" y="1313580"/>
                </a:cubicBezTo>
                <a:cubicBezTo>
                  <a:pt x="521863" y="1316839"/>
                  <a:pt x="521863" y="1316839"/>
                  <a:pt x="517732" y="1319739"/>
                </a:cubicBezTo>
                <a:cubicBezTo>
                  <a:pt x="511111" y="1324565"/>
                  <a:pt x="506875" y="1330731"/>
                  <a:pt x="502239" y="1337096"/>
                </a:cubicBezTo>
                <a:cubicBezTo>
                  <a:pt x="500512" y="1339427"/>
                  <a:pt x="498785" y="1341757"/>
                  <a:pt x="497058" y="1344087"/>
                </a:cubicBezTo>
                <a:cubicBezTo>
                  <a:pt x="495827" y="1345760"/>
                  <a:pt x="495827" y="1345760"/>
                  <a:pt x="494572" y="1347465"/>
                </a:cubicBezTo>
                <a:cubicBezTo>
                  <a:pt x="492366" y="1350414"/>
                  <a:pt x="490094" y="1353304"/>
                  <a:pt x="487776" y="1356181"/>
                </a:cubicBezTo>
                <a:cubicBezTo>
                  <a:pt x="484805" y="1359972"/>
                  <a:pt x="482865" y="1363193"/>
                  <a:pt x="481248" y="1367571"/>
                </a:cubicBezTo>
                <a:cubicBezTo>
                  <a:pt x="480216" y="1367571"/>
                  <a:pt x="479186" y="1367571"/>
                  <a:pt x="478123" y="1367571"/>
                </a:cubicBezTo>
                <a:cubicBezTo>
                  <a:pt x="477963" y="1368558"/>
                  <a:pt x="477801" y="1369547"/>
                  <a:pt x="477635" y="1370565"/>
                </a:cubicBezTo>
                <a:cubicBezTo>
                  <a:pt x="475602" y="1378236"/>
                  <a:pt x="471952" y="1383371"/>
                  <a:pt x="465626" y="1388709"/>
                </a:cubicBezTo>
                <a:cubicBezTo>
                  <a:pt x="462272" y="1392748"/>
                  <a:pt x="462272" y="1392748"/>
                  <a:pt x="461233" y="1397340"/>
                </a:cubicBezTo>
                <a:cubicBezTo>
                  <a:pt x="460030" y="1401461"/>
                  <a:pt x="458298" y="1404501"/>
                  <a:pt x="455765" y="1408086"/>
                </a:cubicBezTo>
                <a:cubicBezTo>
                  <a:pt x="442829" y="1428603"/>
                  <a:pt x="441572" y="1454548"/>
                  <a:pt x="439070" y="1477490"/>
                </a:cubicBezTo>
                <a:cubicBezTo>
                  <a:pt x="437524" y="1477955"/>
                  <a:pt x="435977" y="1478420"/>
                  <a:pt x="434384" y="1478899"/>
                </a:cubicBezTo>
                <a:cubicBezTo>
                  <a:pt x="433739" y="1479916"/>
                  <a:pt x="433095" y="1480933"/>
                  <a:pt x="432431" y="1481982"/>
                </a:cubicBezTo>
                <a:cubicBezTo>
                  <a:pt x="428860" y="1487159"/>
                  <a:pt x="424291" y="1490903"/>
                  <a:pt x="418763" y="1494401"/>
                </a:cubicBezTo>
                <a:cubicBezTo>
                  <a:pt x="417731" y="1494401"/>
                  <a:pt x="416701" y="1494401"/>
                  <a:pt x="415639" y="1494401"/>
                </a:cubicBezTo>
                <a:cubicBezTo>
                  <a:pt x="415639" y="1495330"/>
                  <a:pt x="415639" y="1496260"/>
                  <a:pt x="415639" y="1497219"/>
                </a:cubicBezTo>
                <a:cubicBezTo>
                  <a:pt x="412546" y="1497684"/>
                  <a:pt x="409453" y="1498149"/>
                  <a:pt x="406265" y="1498628"/>
                </a:cubicBezTo>
                <a:cubicBezTo>
                  <a:pt x="406265" y="1499559"/>
                  <a:pt x="406265" y="1500488"/>
                  <a:pt x="406265" y="1501447"/>
                </a:cubicBezTo>
                <a:cubicBezTo>
                  <a:pt x="395955" y="1501447"/>
                  <a:pt x="385645" y="1501447"/>
                  <a:pt x="375023" y="1501447"/>
                </a:cubicBezTo>
                <a:lnTo>
                  <a:pt x="375023" y="1499438"/>
                </a:lnTo>
                <a:lnTo>
                  <a:pt x="374964" y="1499436"/>
                </a:lnTo>
                <a:lnTo>
                  <a:pt x="373179" y="1498628"/>
                </a:lnTo>
                <a:lnTo>
                  <a:pt x="365650" y="1498628"/>
                </a:lnTo>
                <a:lnTo>
                  <a:pt x="363134" y="1494087"/>
                </a:lnTo>
                <a:lnTo>
                  <a:pt x="362171" y="1493651"/>
                </a:lnTo>
                <a:cubicBezTo>
                  <a:pt x="361656" y="1492722"/>
                  <a:pt x="361140" y="1491791"/>
                  <a:pt x="360609" y="1490833"/>
                </a:cubicBezTo>
                <a:cubicBezTo>
                  <a:pt x="361640" y="1490833"/>
                  <a:pt x="362671" y="1490833"/>
                  <a:pt x="363733" y="1490833"/>
                </a:cubicBezTo>
                <a:lnTo>
                  <a:pt x="363733" y="1489980"/>
                </a:lnTo>
                <a:lnTo>
                  <a:pt x="348467" y="1481717"/>
                </a:lnTo>
                <a:lnTo>
                  <a:pt x="343872" y="1461078"/>
                </a:lnTo>
                <a:lnTo>
                  <a:pt x="343656" y="1463649"/>
                </a:lnTo>
                <a:cubicBezTo>
                  <a:pt x="343541" y="1465230"/>
                  <a:pt x="343541" y="1465230"/>
                  <a:pt x="343424" y="1466842"/>
                </a:cubicBezTo>
                <a:cubicBezTo>
                  <a:pt x="342908" y="1466842"/>
                  <a:pt x="342393" y="1466842"/>
                  <a:pt x="341861" y="1466842"/>
                </a:cubicBezTo>
                <a:cubicBezTo>
                  <a:pt x="340987" y="1449564"/>
                  <a:pt x="340999" y="1434331"/>
                  <a:pt x="354143" y="1420549"/>
                </a:cubicBezTo>
                <a:cubicBezTo>
                  <a:pt x="360765" y="1414011"/>
                  <a:pt x="367631" y="1407790"/>
                  <a:pt x="376229" y="1403427"/>
                </a:cubicBezTo>
                <a:lnTo>
                  <a:pt x="379491" y="1404408"/>
                </a:lnTo>
                <a:lnTo>
                  <a:pt x="379710" y="1404210"/>
                </a:lnTo>
                <a:cubicBezTo>
                  <a:pt x="380290" y="1402902"/>
                  <a:pt x="380290" y="1402902"/>
                  <a:pt x="380882" y="1401568"/>
                </a:cubicBezTo>
                <a:cubicBezTo>
                  <a:pt x="383675" y="1397284"/>
                  <a:pt x="387587" y="1395610"/>
                  <a:pt x="392207" y="1392936"/>
                </a:cubicBezTo>
                <a:lnTo>
                  <a:pt x="399542" y="1386774"/>
                </a:lnTo>
                <a:lnTo>
                  <a:pt x="405485" y="1378917"/>
                </a:lnTo>
                <a:cubicBezTo>
                  <a:pt x="408065" y="1375974"/>
                  <a:pt x="410029" y="1372774"/>
                  <a:pt x="412008" y="1369481"/>
                </a:cubicBezTo>
                <a:cubicBezTo>
                  <a:pt x="414759" y="1365166"/>
                  <a:pt x="417963" y="1361131"/>
                  <a:pt x="421130" y="1357057"/>
                </a:cubicBezTo>
                <a:cubicBezTo>
                  <a:pt x="423073" y="1354140"/>
                  <a:pt x="423985" y="1351767"/>
                  <a:pt x="424676" y="1348443"/>
                </a:cubicBezTo>
                <a:lnTo>
                  <a:pt x="427275" y="1348443"/>
                </a:lnTo>
                <a:lnTo>
                  <a:pt x="428135" y="1345727"/>
                </a:lnTo>
                <a:cubicBezTo>
                  <a:pt x="429370" y="1341828"/>
                  <a:pt x="430645" y="1338666"/>
                  <a:pt x="432822" y="1335158"/>
                </a:cubicBezTo>
                <a:cubicBezTo>
                  <a:pt x="433853" y="1335158"/>
                  <a:pt x="434884" y="1335158"/>
                  <a:pt x="435946" y="1335158"/>
                </a:cubicBezTo>
                <a:cubicBezTo>
                  <a:pt x="436526" y="1333385"/>
                  <a:pt x="437106" y="1331613"/>
                  <a:pt x="437704" y="1329786"/>
                </a:cubicBezTo>
                <a:cubicBezTo>
                  <a:pt x="440162" y="1323132"/>
                  <a:pt x="443602" y="1317301"/>
                  <a:pt x="447394" y="1311196"/>
                </a:cubicBezTo>
                <a:cubicBezTo>
                  <a:pt x="456493" y="1296485"/>
                  <a:pt x="463325" y="1281864"/>
                  <a:pt x="469287" y="1265964"/>
                </a:cubicBezTo>
                <a:cubicBezTo>
                  <a:pt x="474589" y="1252134"/>
                  <a:pt x="474589" y="1252134"/>
                  <a:pt x="478178" y="1246787"/>
                </a:cubicBezTo>
                <a:cubicBezTo>
                  <a:pt x="481232" y="1240246"/>
                  <a:pt x="480204" y="1232766"/>
                  <a:pt x="480179" y="1225768"/>
                </a:cubicBezTo>
                <a:cubicBezTo>
                  <a:pt x="480174" y="1222894"/>
                  <a:pt x="480210" y="1220023"/>
                  <a:pt x="480250" y="1217149"/>
                </a:cubicBezTo>
                <a:cubicBezTo>
                  <a:pt x="480260" y="1199291"/>
                  <a:pt x="476718" y="1187768"/>
                  <a:pt x="462972" y="1174827"/>
                </a:cubicBezTo>
                <a:cubicBezTo>
                  <a:pt x="461148" y="1173192"/>
                  <a:pt x="459312" y="1171566"/>
                  <a:pt x="457468" y="1169949"/>
                </a:cubicBezTo>
                <a:cubicBezTo>
                  <a:pt x="451412" y="1164522"/>
                  <a:pt x="445876" y="1158660"/>
                  <a:pt x="440657" y="1152570"/>
                </a:cubicBezTo>
                <a:cubicBezTo>
                  <a:pt x="430474" y="1140786"/>
                  <a:pt x="418230" y="1128998"/>
                  <a:pt x="403142" y="1122366"/>
                </a:cubicBezTo>
                <a:cubicBezTo>
                  <a:pt x="402626" y="1121436"/>
                  <a:pt x="402110" y="1120506"/>
                  <a:pt x="401579" y="1119547"/>
                </a:cubicBezTo>
                <a:cubicBezTo>
                  <a:pt x="390472" y="1115326"/>
                  <a:pt x="375918" y="1114217"/>
                  <a:pt x="364564" y="1118209"/>
                </a:cubicBezTo>
                <a:cubicBezTo>
                  <a:pt x="362278" y="1119428"/>
                  <a:pt x="360026" y="1120704"/>
                  <a:pt x="357822" y="1122041"/>
                </a:cubicBezTo>
                <a:cubicBezTo>
                  <a:pt x="354521" y="1123884"/>
                  <a:pt x="351862" y="1124582"/>
                  <a:pt x="348077" y="1125273"/>
                </a:cubicBezTo>
                <a:cubicBezTo>
                  <a:pt x="341765" y="1126696"/>
                  <a:pt x="339382" y="1128619"/>
                  <a:pt x="334408" y="1132230"/>
                </a:cubicBezTo>
                <a:cubicBezTo>
                  <a:pt x="332284" y="1132909"/>
                  <a:pt x="330131" y="1133519"/>
                  <a:pt x="327964" y="1134080"/>
                </a:cubicBezTo>
                <a:cubicBezTo>
                  <a:pt x="309975" y="1139067"/>
                  <a:pt x="290592" y="1152117"/>
                  <a:pt x="279734" y="1166051"/>
                </a:cubicBezTo>
                <a:cubicBezTo>
                  <a:pt x="277929" y="1169534"/>
                  <a:pt x="277929" y="1169534"/>
                  <a:pt x="276609" y="1173098"/>
                </a:cubicBezTo>
                <a:cubicBezTo>
                  <a:pt x="272413" y="1180804"/>
                  <a:pt x="269322" y="1184144"/>
                  <a:pt x="260988" y="1188599"/>
                </a:cubicBezTo>
                <a:cubicBezTo>
                  <a:pt x="259988" y="1189435"/>
                  <a:pt x="258987" y="1190271"/>
                  <a:pt x="257956" y="1191132"/>
                </a:cubicBezTo>
                <a:lnTo>
                  <a:pt x="243805" y="1196629"/>
                </a:lnTo>
                <a:lnTo>
                  <a:pt x="243805" y="1194236"/>
                </a:lnTo>
                <a:lnTo>
                  <a:pt x="240288" y="1194765"/>
                </a:lnTo>
                <a:lnTo>
                  <a:pt x="243374" y="1194765"/>
                </a:lnTo>
                <a:lnTo>
                  <a:pt x="243374" y="1196797"/>
                </a:lnTo>
                <a:lnTo>
                  <a:pt x="243805" y="1196629"/>
                </a:lnTo>
                <a:lnTo>
                  <a:pt x="243805" y="1197055"/>
                </a:lnTo>
                <a:lnTo>
                  <a:pt x="243374" y="1197055"/>
                </a:lnTo>
                <a:lnTo>
                  <a:pt x="243374" y="1197584"/>
                </a:lnTo>
                <a:lnTo>
                  <a:pt x="241319" y="1197595"/>
                </a:lnTo>
                <a:lnTo>
                  <a:pt x="238009" y="1198881"/>
                </a:lnTo>
                <a:cubicBezTo>
                  <a:pt x="231012" y="1199584"/>
                  <a:pt x="223620" y="1198927"/>
                  <a:pt x="215687" y="1198464"/>
                </a:cubicBezTo>
                <a:lnTo>
                  <a:pt x="215687" y="1197734"/>
                </a:lnTo>
                <a:lnTo>
                  <a:pt x="213936" y="1197744"/>
                </a:lnTo>
                <a:cubicBezTo>
                  <a:pt x="210570" y="1197584"/>
                  <a:pt x="210570" y="1197584"/>
                  <a:pt x="207446" y="1196175"/>
                </a:cubicBezTo>
                <a:lnTo>
                  <a:pt x="207822" y="1195610"/>
                </a:lnTo>
                <a:lnTo>
                  <a:pt x="184737" y="1180936"/>
                </a:lnTo>
                <a:cubicBezTo>
                  <a:pt x="180258" y="1172216"/>
                  <a:pt x="179226" y="1164355"/>
                  <a:pt x="179270" y="1154866"/>
                </a:cubicBezTo>
                <a:cubicBezTo>
                  <a:pt x="179233" y="1153260"/>
                  <a:pt x="179233" y="1153260"/>
                  <a:pt x="179194" y="1151621"/>
                </a:cubicBezTo>
                <a:cubicBezTo>
                  <a:pt x="179182" y="1139523"/>
                  <a:pt x="183658" y="1128837"/>
                  <a:pt x="193195" y="1120065"/>
                </a:cubicBezTo>
                <a:cubicBezTo>
                  <a:pt x="204265" y="1110959"/>
                  <a:pt x="215062" y="1110626"/>
                  <a:pt x="229551" y="1110299"/>
                </a:cubicBezTo>
                <a:cubicBezTo>
                  <a:pt x="240132" y="1110024"/>
                  <a:pt x="250506" y="1109652"/>
                  <a:pt x="260988" y="1108274"/>
                </a:cubicBezTo>
                <a:cubicBezTo>
                  <a:pt x="260988" y="1107344"/>
                  <a:pt x="260988" y="1106413"/>
                  <a:pt x="260988" y="1105455"/>
                </a:cubicBezTo>
                <a:cubicBezTo>
                  <a:pt x="261953" y="1105078"/>
                  <a:pt x="262918" y="1104699"/>
                  <a:pt x="263911" y="1104310"/>
                </a:cubicBezTo>
                <a:cubicBezTo>
                  <a:pt x="272903" y="1100557"/>
                  <a:pt x="279802" y="1096307"/>
                  <a:pt x="286995" y="1090185"/>
                </a:cubicBezTo>
                <a:cubicBezTo>
                  <a:pt x="290956" y="1086897"/>
                  <a:pt x="295114" y="1083955"/>
                  <a:pt x="299358" y="1080970"/>
                </a:cubicBezTo>
                <a:cubicBezTo>
                  <a:pt x="306613" y="1075692"/>
                  <a:pt x="312234" y="1070023"/>
                  <a:pt x="317762" y="1063272"/>
                </a:cubicBezTo>
                <a:cubicBezTo>
                  <a:pt x="320349" y="1060360"/>
                  <a:pt x="320349" y="1060360"/>
                  <a:pt x="325035" y="1057542"/>
                </a:cubicBezTo>
                <a:cubicBezTo>
                  <a:pt x="329912" y="1045734"/>
                  <a:pt x="327928" y="1035103"/>
                  <a:pt x="325328" y="1023104"/>
                </a:cubicBezTo>
                <a:cubicBezTo>
                  <a:pt x="325069" y="1021831"/>
                  <a:pt x="324811" y="1020559"/>
                  <a:pt x="324544" y="1019247"/>
                </a:cubicBezTo>
                <a:cubicBezTo>
                  <a:pt x="322876" y="1011407"/>
                  <a:pt x="320562" y="1004340"/>
                  <a:pt x="317225" y="996945"/>
                </a:cubicBezTo>
                <a:cubicBezTo>
                  <a:pt x="316619" y="995541"/>
                  <a:pt x="316013" y="994137"/>
                  <a:pt x="315388" y="992690"/>
                </a:cubicBezTo>
                <a:cubicBezTo>
                  <a:pt x="306307" y="972561"/>
                  <a:pt x="298931" y="959343"/>
                  <a:pt x="276232" y="950666"/>
                </a:cubicBezTo>
                <a:cubicBezTo>
                  <a:pt x="274810" y="950127"/>
                  <a:pt x="273388" y="949587"/>
                  <a:pt x="271923" y="949031"/>
                </a:cubicBezTo>
                <a:cubicBezTo>
                  <a:pt x="270129" y="948244"/>
                  <a:pt x="270129" y="948244"/>
                  <a:pt x="268299" y="947441"/>
                </a:cubicBezTo>
                <a:cubicBezTo>
                  <a:pt x="247071" y="938140"/>
                  <a:pt x="222259" y="939051"/>
                  <a:pt x="199187" y="938991"/>
                </a:cubicBezTo>
                <a:cubicBezTo>
                  <a:pt x="197383" y="938984"/>
                  <a:pt x="195579" y="938978"/>
                  <a:pt x="193719" y="938971"/>
                </a:cubicBezTo>
                <a:cubicBezTo>
                  <a:pt x="192010" y="938974"/>
                  <a:pt x="190300" y="938977"/>
                  <a:pt x="188539" y="938980"/>
                </a:cubicBezTo>
                <a:cubicBezTo>
                  <a:pt x="187000" y="938981"/>
                  <a:pt x="185460" y="938983"/>
                  <a:pt x="183874" y="938985"/>
                </a:cubicBezTo>
                <a:cubicBezTo>
                  <a:pt x="180148" y="939150"/>
                  <a:pt x="177092" y="939720"/>
                  <a:pt x="173509" y="940576"/>
                </a:cubicBezTo>
                <a:cubicBezTo>
                  <a:pt x="169458" y="940674"/>
                  <a:pt x="165452" y="940710"/>
                  <a:pt x="161403" y="940664"/>
                </a:cubicBezTo>
                <a:cubicBezTo>
                  <a:pt x="160314" y="940658"/>
                  <a:pt x="159224" y="940651"/>
                  <a:pt x="158102" y="940645"/>
                </a:cubicBezTo>
                <a:lnTo>
                  <a:pt x="150875" y="940583"/>
                </a:lnTo>
                <a:lnTo>
                  <a:pt x="148425" y="940717"/>
                </a:lnTo>
                <a:lnTo>
                  <a:pt x="149617" y="940995"/>
                </a:lnTo>
                <a:cubicBezTo>
                  <a:pt x="149617" y="941459"/>
                  <a:pt x="149617" y="941924"/>
                  <a:pt x="149617" y="942404"/>
                </a:cubicBezTo>
                <a:cubicBezTo>
                  <a:pt x="148630" y="942558"/>
                  <a:pt x="147643" y="942712"/>
                  <a:pt x="146627" y="942871"/>
                </a:cubicBezTo>
                <a:cubicBezTo>
                  <a:pt x="134541" y="944804"/>
                  <a:pt x="122553" y="947081"/>
                  <a:pt x="110564" y="949449"/>
                </a:cubicBezTo>
                <a:lnTo>
                  <a:pt x="111283" y="946205"/>
                </a:lnTo>
                <a:lnTo>
                  <a:pt x="101652" y="956078"/>
                </a:lnTo>
                <a:cubicBezTo>
                  <a:pt x="99870" y="957260"/>
                  <a:pt x="99870" y="957260"/>
                  <a:pt x="98052" y="958467"/>
                </a:cubicBezTo>
                <a:cubicBezTo>
                  <a:pt x="75683" y="972989"/>
                  <a:pt x="75683" y="972989"/>
                  <a:pt x="67286" y="972989"/>
                </a:cubicBezTo>
                <a:cubicBezTo>
                  <a:pt x="67286" y="973918"/>
                  <a:pt x="67286" y="974848"/>
                  <a:pt x="67286" y="975807"/>
                </a:cubicBezTo>
                <a:cubicBezTo>
                  <a:pt x="55713" y="979519"/>
                  <a:pt x="43549" y="980689"/>
                  <a:pt x="31942" y="976423"/>
                </a:cubicBezTo>
                <a:cubicBezTo>
                  <a:pt x="19953" y="970870"/>
                  <a:pt x="10774" y="964932"/>
                  <a:pt x="5673" y="953419"/>
                </a:cubicBezTo>
                <a:cubicBezTo>
                  <a:pt x="4801" y="950441"/>
                  <a:pt x="4801" y="950441"/>
                  <a:pt x="4801" y="944804"/>
                </a:cubicBezTo>
                <a:cubicBezTo>
                  <a:pt x="3770" y="944804"/>
                  <a:pt x="2739" y="944804"/>
                  <a:pt x="1676" y="944804"/>
                </a:cubicBezTo>
                <a:cubicBezTo>
                  <a:pt x="-34" y="940174"/>
                  <a:pt x="-41" y="936720"/>
                  <a:pt x="17" y="931857"/>
                </a:cubicBezTo>
                <a:cubicBezTo>
                  <a:pt x="31" y="930325"/>
                  <a:pt x="45" y="928794"/>
                  <a:pt x="59" y="927216"/>
                </a:cubicBezTo>
                <a:cubicBezTo>
                  <a:pt x="78" y="926044"/>
                  <a:pt x="96" y="924873"/>
                  <a:pt x="115" y="923666"/>
                </a:cubicBezTo>
                <a:cubicBezTo>
                  <a:pt x="1145" y="923666"/>
                  <a:pt x="2176" y="923666"/>
                  <a:pt x="3238" y="923666"/>
                </a:cubicBezTo>
                <a:cubicBezTo>
                  <a:pt x="3238" y="921805"/>
                  <a:pt x="3238" y="919945"/>
                  <a:pt x="3238" y="918029"/>
                </a:cubicBezTo>
                <a:cubicBezTo>
                  <a:pt x="4270" y="918029"/>
                  <a:pt x="5300" y="918029"/>
                  <a:pt x="6363" y="918029"/>
                </a:cubicBezTo>
                <a:cubicBezTo>
                  <a:pt x="6459" y="916314"/>
                  <a:pt x="6556" y="914599"/>
                  <a:pt x="6656" y="912832"/>
                </a:cubicBezTo>
                <a:cubicBezTo>
                  <a:pt x="7542" y="906455"/>
                  <a:pt x="10104" y="903750"/>
                  <a:pt x="15736" y="899709"/>
                </a:cubicBezTo>
                <a:lnTo>
                  <a:pt x="17243" y="898894"/>
                </a:lnTo>
                <a:lnTo>
                  <a:pt x="16800" y="898694"/>
                </a:lnTo>
                <a:lnTo>
                  <a:pt x="24988" y="894101"/>
                </a:lnTo>
                <a:lnTo>
                  <a:pt x="26768" y="892399"/>
                </a:lnTo>
                <a:cubicBezTo>
                  <a:pt x="28282" y="891122"/>
                  <a:pt x="29038" y="890483"/>
                  <a:pt x="30198" y="890164"/>
                </a:cubicBezTo>
                <a:lnTo>
                  <a:pt x="32204" y="890054"/>
                </a:lnTo>
                <a:lnTo>
                  <a:pt x="38914" y="886291"/>
                </a:lnTo>
                <a:cubicBezTo>
                  <a:pt x="47169" y="885770"/>
                  <a:pt x="55396" y="885800"/>
                  <a:pt x="63664" y="886011"/>
                </a:cubicBezTo>
                <a:lnTo>
                  <a:pt x="63664" y="886531"/>
                </a:lnTo>
                <a:lnTo>
                  <a:pt x="70784" y="886647"/>
                </a:lnTo>
                <a:cubicBezTo>
                  <a:pt x="74787" y="887000"/>
                  <a:pt x="77233" y="887948"/>
                  <a:pt x="82126" y="889845"/>
                </a:cubicBezTo>
                <a:cubicBezTo>
                  <a:pt x="92427" y="893791"/>
                  <a:pt x="103139" y="893710"/>
                  <a:pt x="114149" y="892663"/>
                </a:cubicBezTo>
                <a:cubicBezTo>
                  <a:pt x="115696" y="891733"/>
                  <a:pt x="117242" y="890803"/>
                  <a:pt x="118836" y="889845"/>
                </a:cubicBezTo>
                <a:cubicBezTo>
                  <a:pt x="123097" y="888850"/>
                  <a:pt x="127325" y="887944"/>
                  <a:pt x="131626" y="887114"/>
                </a:cubicBezTo>
                <a:cubicBezTo>
                  <a:pt x="139750" y="885542"/>
                  <a:pt x="147376" y="883653"/>
                  <a:pt x="155116" y="880913"/>
                </a:cubicBezTo>
                <a:cubicBezTo>
                  <a:pt x="158498" y="879775"/>
                  <a:pt x="161861" y="879076"/>
                  <a:pt x="165406" y="878483"/>
                </a:cubicBezTo>
                <a:cubicBezTo>
                  <a:pt x="170342" y="877655"/>
                  <a:pt x="172265" y="876971"/>
                  <a:pt x="176634" y="874343"/>
                </a:cubicBezTo>
                <a:cubicBezTo>
                  <a:pt x="179863" y="873335"/>
                  <a:pt x="183123" y="872404"/>
                  <a:pt x="186397" y="871524"/>
                </a:cubicBezTo>
                <a:cubicBezTo>
                  <a:pt x="189107" y="870786"/>
                  <a:pt x="189107" y="870786"/>
                  <a:pt x="191871" y="870033"/>
                </a:cubicBezTo>
                <a:cubicBezTo>
                  <a:pt x="195731" y="869023"/>
                  <a:pt x="199587" y="868093"/>
                  <a:pt x="203483" y="867208"/>
                </a:cubicBezTo>
                <a:cubicBezTo>
                  <a:pt x="208339" y="866199"/>
                  <a:pt x="208339" y="866199"/>
                  <a:pt x="211001" y="861660"/>
                </a:cubicBezTo>
                <a:cubicBezTo>
                  <a:pt x="214174" y="860102"/>
                  <a:pt x="214174" y="860102"/>
                  <a:pt x="218031" y="858577"/>
                </a:cubicBezTo>
                <a:cubicBezTo>
                  <a:pt x="236068" y="850629"/>
                  <a:pt x="245199" y="840442"/>
                  <a:pt x="254740" y="825020"/>
                </a:cubicBezTo>
                <a:cubicBezTo>
                  <a:pt x="255771" y="823625"/>
                  <a:pt x="256802" y="822230"/>
                  <a:pt x="257864" y="820792"/>
                </a:cubicBezTo>
                <a:cubicBezTo>
                  <a:pt x="258359" y="817506"/>
                  <a:pt x="258359" y="817506"/>
                  <a:pt x="258318" y="813810"/>
                </a:cubicBezTo>
                <a:cubicBezTo>
                  <a:pt x="258338" y="812388"/>
                  <a:pt x="258358" y="810967"/>
                  <a:pt x="258378" y="809502"/>
                </a:cubicBezTo>
                <a:cubicBezTo>
                  <a:pt x="258382" y="807965"/>
                  <a:pt x="258385" y="806429"/>
                  <a:pt x="258389" y="804845"/>
                </a:cubicBezTo>
                <a:cubicBezTo>
                  <a:pt x="258399" y="803258"/>
                  <a:pt x="258410" y="801671"/>
                  <a:pt x="258420" y="800036"/>
                </a:cubicBezTo>
                <a:cubicBezTo>
                  <a:pt x="258436" y="796670"/>
                  <a:pt x="258443" y="793305"/>
                  <a:pt x="258443" y="789939"/>
                </a:cubicBezTo>
                <a:cubicBezTo>
                  <a:pt x="258450" y="784823"/>
                  <a:pt x="258506" y="779709"/>
                  <a:pt x="258566" y="774594"/>
                </a:cubicBezTo>
                <a:cubicBezTo>
                  <a:pt x="258575" y="771319"/>
                  <a:pt x="258581" y="768045"/>
                  <a:pt x="258584" y="764771"/>
                </a:cubicBezTo>
                <a:cubicBezTo>
                  <a:pt x="258618" y="762495"/>
                  <a:pt x="258618" y="762495"/>
                  <a:pt x="258652" y="760174"/>
                </a:cubicBezTo>
                <a:cubicBezTo>
                  <a:pt x="258586" y="750030"/>
                  <a:pt x="256266" y="742584"/>
                  <a:pt x="251616" y="733421"/>
                </a:cubicBezTo>
                <a:cubicBezTo>
                  <a:pt x="250163" y="729605"/>
                  <a:pt x="248880" y="725752"/>
                  <a:pt x="247613" y="721883"/>
                </a:cubicBezTo>
                <a:cubicBezTo>
                  <a:pt x="245789" y="716328"/>
                  <a:pt x="243913" y="710939"/>
                  <a:pt x="241291" y="705644"/>
                </a:cubicBezTo>
                <a:cubicBezTo>
                  <a:pt x="238691" y="700096"/>
                  <a:pt x="238136" y="695685"/>
                  <a:pt x="237557" y="689735"/>
                </a:cubicBezTo>
                <a:cubicBezTo>
                  <a:pt x="244977" y="685507"/>
                  <a:pt x="244977" y="685507"/>
                  <a:pt x="248492" y="685507"/>
                </a:cubicBezTo>
                <a:cubicBezTo>
                  <a:pt x="248492" y="684112"/>
                  <a:pt x="248492" y="682717"/>
                  <a:pt x="248492" y="681279"/>
                </a:cubicBezTo>
                <a:cubicBezTo>
                  <a:pt x="245914" y="680815"/>
                  <a:pt x="243337" y="680350"/>
                  <a:pt x="240681" y="679870"/>
                </a:cubicBezTo>
                <a:cubicBezTo>
                  <a:pt x="240681" y="678940"/>
                  <a:pt x="240681" y="678010"/>
                  <a:pt x="240681" y="677052"/>
                </a:cubicBezTo>
                <a:cubicBezTo>
                  <a:pt x="239827" y="676917"/>
                  <a:pt x="238973" y="676783"/>
                  <a:pt x="238094" y="676645"/>
                </a:cubicBezTo>
                <a:cubicBezTo>
                  <a:pt x="233442" y="675371"/>
                  <a:pt x="229939" y="673242"/>
                  <a:pt x="225841" y="670886"/>
                </a:cubicBezTo>
                <a:cubicBezTo>
                  <a:pt x="217808" y="666564"/>
                  <a:pt x="210635" y="664241"/>
                  <a:pt x="201531" y="662508"/>
                </a:cubicBezTo>
                <a:cubicBezTo>
                  <a:pt x="196896" y="661541"/>
                  <a:pt x="192682" y="660199"/>
                  <a:pt x="188252" y="658644"/>
                </a:cubicBezTo>
                <a:lnTo>
                  <a:pt x="182431" y="657327"/>
                </a:lnTo>
                <a:lnTo>
                  <a:pt x="182431" y="657613"/>
                </a:lnTo>
                <a:cubicBezTo>
                  <a:pt x="170575" y="657148"/>
                  <a:pt x="158718" y="656683"/>
                  <a:pt x="146503" y="656204"/>
                </a:cubicBezTo>
                <a:cubicBezTo>
                  <a:pt x="146503" y="657133"/>
                  <a:pt x="146503" y="658064"/>
                  <a:pt x="146503" y="659022"/>
                </a:cubicBezTo>
                <a:cubicBezTo>
                  <a:pt x="134359" y="662326"/>
                  <a:pt x="123013" y="663700"/>
                  <a:pt x="110378" y="663778"/>
                </a:cubicBezTo>
                <a:cubicBezTo>
                  <a:pt x="108435" y="663806"/>
                  <a:pt x="108435" y="663806"/>
                  <a:pt x="106453" y="663836"/>
                </a:cubicBezTo>
                <a:cubicBezTo>
                  <a:pt x="105231" y="663828"/>
                  <a:pt x="104009" y="663820"/>
                  <a:pt x="102751" y="663811"/>
                </a:cubicBezTo>
                <a:cubicBezTo>
                  <a:pt x="101117" y="663804"/>
                  <a:pt x="101117" y="663804"/>
                  <a:pt x="99449" y="663797"/>
                </a:cubicBezTo>
                <a:cubicBezTo>
                  <a:pt x="95696" y="663097"/>
                  <a:pt x="94265" y="661615"/>
                  <a:pt x="91828" y="659022"/>
                </a:cubicBezTo>
                <a:cubicBezTo>
                  <a:pt x="93890" y="659022"/>
                  <a:pt x="95953" y="659022"/>
                  <a:pt x="98077" y="659022"/>
                </a:cubicBezTo>
                <a:cubicBezTo>
                  <a:pt x="98077" y="659952"/>
                  <a:pt x="98077" y="660882"/>
                  <a:pt x="98077" y="661841"/>
                </a:cubicBezTo>
                <a:cubicBezTo>
                  <a:pt x="108735" y="662045"/>
                  <a:pt x="114063" y="662148"/>
                  <a:pt x="119023" y="661357"/>
                </a:cubicBezTo>
                <a:lnTo>
                  <a:pt x="119536" y="661197"/>
                </a:lnTo>
                <a:lnTo>
                  <a:pt x="109853" y="661639"/>
                </a:lnTo>
                <a:cubicBezTo>
                  <a:pt x="108764" y="661632"/>
                  <a:pt x="107675" y="661626"/>
                  <a:pt x="106552" y="661619"/>
                </a:cubicBezTo>
                <a:cubicBezTo>
                  <a:pt x="103877" y="661603"/>
                  <a:pt x="101203" y="661577"/>
                  <a:pt x="98528" y="661550"/>
                </a:cubicBezTo>
                <a:cubicBezTo>
                  <a:pt x="98528" y="660620"/>
                  <a:pt x="98528" y="659691"/>
                  <a:pt x="98528" y="658732"/>
                </a:cubicBezTo>
                <a:cubicBezTo>
                  <a:pt x="95435" y="658267"/>
                  <a:pt x="92342" y="657802"/>
                  <a:pt x="89155" y="657323"/>
                </a:cubicBezTo>
                <a:cubicBezTo>
                  <a:pt x="89155" y="656393"/>
                  <a:pt x="89155" y="655462"/>
                  <a:pt x="89155" y="654504"/>
                </a:cubicBezTo>
                <a:cubicBezTo>
                  <a:pt x="87790" y="653978"/>
                  <a:pt x="87790" y="653978"/>
                  <a:pt x="86397" y="653442"/>
                </a:cubicBezTo>
                <a:cubicBezTo>
                  <a:pt x="82415" y="651438"/>
                  <a:pt x="80039" y="649232"/>
                  <a:pt x="77049" y="646137"/>
                </a:cubicBezTo>
                <a:cubicBezTo>
                  <a:pt x="75611" y="644679"/>
                  <a:pt x="75611" y="644679"/>
                  <a:pt x="74145" y="643192"/>
                </a:cubicBezTo>
                <a:cubicBezTo>
                  <a:pt x="71972" y="640412"/>
                  <a:pt x="71972" y="640412"/>
                  <a:pt x="71972" y="636185"/>
                </a:cubicBezTo>
                <a:cubicBezTo>
                  <a:pt x="70941" y="636185"/>
                  <a:pt x="69910" y="636185"/>
                  <a:pt x="68848" y="636185"/>
                </a:cubicBezTo>
                <a:cubicBezTo>
                  <a:pt x="64250" y="621928"/>
                  <a:pt x="64695" y="609404"/>
                  <a:pt x="70410" y="595317"/>
                </a:cubicBezTo>
                <a:cubicBezTo>
                  <a:pt x="73096" y="591142"/>
                  <a:pt x="76144" y="587574"/>
                  <a:pt x="79782" y="584043"/>
                </a:cubicBezTo>
                <a:cubicBezTo>
                  <a:pt x="81205" y="582594"/>
                  <a:pt x="81205" y="582594"/>
                  <a:pt x="82656" y="581115"/>
                </a:cubicBezTo>
                <a:cubicBezTo>
                  <a:pt x="91488" y="574027"/>
                  <a:pt x="105133" y="571806"/>
                  <a:pt x="116694" y="572323"/>
                </a:cubicBezTo>
                <a:cubicBezTo>
                  <a:pt x="131556" y="574113"/>
                  <a:pt x="142046" y="580551"/>
                  <a:pt x="152031" y="590385"/>
                </a:cubicBezTo>
                <a:cubicBezTo>
                  <a:pt x="162272" y="600009"/>
                  <a:pt x="176992" y="605062"/>
                  <a:pt x="191474" y="605886"/>
                </a:cubicBezTo>
                <a:cubicBezTo>
                  <a:pt x="196845" y="606192"/>
                  <a:pt x="201203" y="606463"/>
                  <a:pt x="206314" y="608000"/>
                </a:cubicBezTo>
                <a:cubicBezTo>
                  <a:pt x="206314" y="608930"/>
                  <a:pt x="206314" y="609860"/>
                  <a:pt x="206314" y="610818"/>
                </a:cubicBezTo>
                <a:cubicBezTo>
                  <a:pt x="215689" y="610902"/>
                  <a:pt x="225058" y="610898"/>
                  <a:pt x="234433" y="610818"/>
                </a:cubicBezTo>
                <a:cubicBezTo>
                  <a:pt x="236112" y="610813"/>
                  <a:pt x="237791" y="610808"/>
                  <a:pt x="239522" y="610802"/>
                </a:cubicBezTo>
                <a:cubicBezTo>
                  <a:pt x="251005" y="610364"/>
                  <a:pt x="259257" y="606564"/>
                  <a:pt x="268799" y="600954"/>
                </a:cubicBezTo>
                <a:cubicBezTo>
                  <a:pt x="269770" y="600416"/>
                  <a:pt x="270740" y="599879"/>
                  <a:pt x="271740" y="599325"/>
                </a:cubicBezTo>
                <a:cubicBezTo>
                  <a:pt x="279452" y="594430"/>
                  <a:pt x="281420" y="587464"/>
                  <a:pt x="284420" y="579816"/>
                </a:cubicBezTo>
                <a:cubicBezTo>
                  <a:pt x="286047" y="576075"/>
                  <a:pt x="287725" y="572353"/>
                  <a:pt x="289399" y="568630"/>
                </a:cubicBezTo>
                <a:cubicBezTo>
                  <a:pt x="294095" y="558121"/>
                  <a:pt x="299004" y="547070"/>
                  <a:pt x="293958" y="535838"/>
                </a:cubicBezTo>
                <a:cubicBezTo>
                  <a:pt x="292436" y="533533"/>
                  <a:pt x="290781" y="531301"/>
                  <a:pt x="289107" y="529084"/>
                </a:cubicBezTo>
                <a:cubicBezTo>
                  <a:pt x="289107" y="528153"/>
                  <a:pt x="289107" y="527223"/>
                  <a:pt x="289107" y="526265"/>
                </a:cubicBezTo>
                <a:cubicBezTo>
                  <a:pt x="287560" y="525800"/>
                  <a:pt x="286014" y="525335"/>
                  <a:pt x="284420" y="524856"/>
                </a:cubicBezTo>
                <a:cubicBezTo>
                  <a:pt x="283905" y="523461"/>
                  <a:pt x="283389" y="522066"/>
                  <a:pt x="282858" y="520628"/>
                </a:cubicBezTo>
                <a:cubicBezTo>
                  <a:pt x="280750" y="518590"/>
                  <a:pt x="280750" y="518590"/>
                  <a:pt x="277977" y="516577"/>
                </a:cubicBezTo>
                <a:cubicBezTo>
                  <a:pt x="273591" y="513232"/>
                  <a:pt x="269227" y="509874"/>
                  <a:pt x="264925" y="506443"/>
                </a:cubicBezTo>
                <a:cubicBezTo>
                  <a:pt x="253596" y="497433"/>
                  <a:pt x="242132" y="488987"/>
                  <a:pt x="229746" y="481170"/>
                </a:cubicBezTo>
                <a:cubicBezTo>
                  <a:pt x="226846" y="479266"/>
                  <a:pt x="223950" y="477358"/>
                  <a:pt x="221057" y="475445"/>
                </a:cubicBezTo>
                <a:cubicBezTo>
                  <a:pt x="218227" y="473594"/>
                  <a:pt x="215396" y="471744"/>
                  <a:pt x="212563" y="469896"/>
                </a:cubicBezTo>
                <a:cubicBezTo>
                  <a:pt x="211351" y="469102"/>
                  <a:pt x="210138" y="468309"/>
                  <a:pt x="208889" y="467491"/>
                </a:cubicBezTo>
                <a:cubicBezTo>
                  <a:pt x="202848" y="463599"/>
                  <a:pt x="196732" y="459888"/>
                  <a:pt x="190406" y="456382"/>
                </a:cubicBezTo>
                <a:cubicBezTo>
                  <a:pt x="189263" y="455748"/>
                  <a:pt x="188119" y="455114"/>
                  <a:pt x="186942" y="454460"/>
                </a:cubicBezTo>
                <a:cubicBezTo>
                  <a:pt x="184648" y="453196"/>
                  <a:pt x="182348" y="451941"/>
                  <a:pt x="180041" y="450696"/>
                </a:cubicBezTo>
                <a:cubicBezTo>
                  <a:pt x="177292" y="449185"/>
                  <a:pt x="174612" y="447571"/>
                  <a:pt x="171948" y="445940"/>
                </a:cubicBezTo>
                <a:cubicBezTo>
                  <a:pt x="171948" y="445009"/>
                  <a:pt x="171948" y="444079"/>
                  <a:pt x="171948" y="443121"/>
                </a:cubicBezTo>
                <a:cubicBezTo>
                  <a:pt x="170804" y="442985"/>
                  <a:pt x="169660" y="442848"/>
                  <a:pt x="168482" y="442708"/>
                </a:cubicBezTo>
                <a:cubicBezTo>
                  <a:pt x="163547" y="441576"/>
                  <a:pt x="161063" y="439897"/>
                  <a:pt x="157107" y="437044"/>
                </a:cubicBezTo>
                <a:cubicBezTo>
                  <a:pt x="149345" y="431895"/>
                  <a:pt x="141843" y="429626"/>
                  <a:pt x="132559" y="427510"/>
                </a:cubicBezTo>
                <a:cubicBezTo>
                  <a:pt x="128067" y="426168"/>
                  <a:pt x="126607" y="425060"/>
                  <a:pt x="123522" y="421983"/>
                </a:cubicBezTo>
                <a:cubicBezTo>
                  <a:pt x="118310" y="419033"/>
                  <a:pt x="114076" y="418794"/>
                  <a:pt x="107986" y="418730"/>
                </a:cubicBezTo>
                <a:cubicBezTo>
                  <a:pt x="106174" y="418694"/>
                  <a:pt x="104362" y="418659"/>
                  <a:pt x="102494" y="418622"/>
                </a:cubicBezTo>
                <a:cubicBezTo>
                  <a:pt x="98715" y="418573"/>
                  <a:pt x="94936" y="418529"/>
                  <a:pt x="91157" y="418490"/>
                </a:cubicBezTo>
                <a:cubicBezTo>
                  <a:pt x="78470" y="418231"/>
                  <a:pt x="65485" y="417940"/>
                  <a:pt x="55277" y="410445"/>
                </a:cubicBezTo>
                <a:cubicBezTo>
                  <a:pt x="54084" y="409137"/>
                  <a:pt x="52893" y="407829"/>
                  <a:pt x="51665" y="406481"/>
                </a:cubicBezTo>
                <a:cubicBezTo>
                  <a:pt x="49752" y="404480"/>
                  <a:pt x="47831" y="402483"/>
                  <a:pt x="45904" y="400492"/>
                </a:cubicBezTo>
                <a:cubicBezTo>
                  <a:pt x="44996" y="399526"/>
                  <a:pt x="44088" y="398559"/>
                  <a:pt x="43152" y="397564"/>
                </a:cubicBezTo>
                <a:cubicBezTo>
                  <a:pt x="40865" y="395062"/>
                  <a:pt x="40865" y="395062"/>
                  <a:pt x="37605" y="393798"/>
                </a:cubicBezTo>
                <a:lnTo>
                  <a:pt x="38995" y="368712"/>
                </a:lnTo>
                <a:lnTo>
                  <a:pt x="38666" y="369724"/>
                </a:lnTo>
                <a:cubicBezTo>
                  <a:pt x="37003" y="374506"/>
                  <a:pt x="36202" y="379113"/>
                  <a:pt x="35542" y="384081"/>
                </a:cubicBezTo>
                <a:cubicBezTo>
                  <a:pt x="30313" y="376119"/>
                  <a:pt x="31188" y="366593"/>
                  <a:pt x="33326" y="357791"/>
                </a:cubicBezTo>
                <a:cubicBezTo>
                  <a:pt x="37176" y="347767"/>
                  <a:pt x="44536" y="340769"/>
                  <a:pt x="52725" y="333349"/>
                </a:cubicBezTo>
                <a:lnTo>
                  <a:pt x="55222" y="334475"/>
                </a:lnTo>
                <a:lnTo>
                  <a:pt x="56222" y="333347"/>
                </a:lnTo>
                <a:lnTo>
                  <a:pt x="55871" y="333347"/>
                </a:lnTo>
                <a:lnTo>
                  <a:pt x="56346" y="333207"/>
                </a:lnTo>
                <a:lnTo>
                  <a:pt x="56351" y="333202"/>
                </a:lnTo>
                <a:lnTo>
                  <a:pt x="56365" y="333202"/>
                </a:lnTo>
                <a:lnTo>
                  <a:pt x="79571" y="326360"/>
                </a:lnTo>
                <a:cubicBezTo>
                  <a:pt x="87782" y="326037"/>
                  <a:pt x="96164" y="327572"/>
                  <a:pt x="104297" y="330529"/>
                </a:cubicBezTo>
                <a:lnTo>
                  <a:pt x="107170" y="334417"/>
                </a:lnTo>
                <a:lnTo>
                  <a:pt x="109366" y="336046"/>
                </a:lnTo>
                <a:lnTo>
                  <a:pt x="109463" y="336020"/>
                </a:lnTo>
                <a:lnTo>
                  <a:pt x="109463" y="336118"/>
                </a:lnTo>
                <a:lnTo>
                  <a:pt x="115226" y="340394"/>
                </a:lnTo>
                <a:lnTo>
                  <a:pt x="114010" y="340120"/>
                </a:lnTo>
                <a:lnTo>
                  <a:pt x="133285" y="357423"/>
                </a:lnTo>
                <a:cubicBezTo>
                  <a:pt x="142471" y="373187"/>
                  <a:pt x="155564" y="382744"/>
                  <a:pt x="173509" y="389571"/>
                </a:cubicBezTo>
                <a:cubicBezTo>
                  <a:pt x="176254" y="390785"/>
                  <a:pt x="178988" y="392017"/>
                  <a:pt x="181711" y="393270"/>
                </a:cubicBezTo>
                <a:cubicBezTo>
                  <a:pt x="182964" y="393833"/>
                  <a:pt x="184216" y="394396"/>
                  <a:pt x="185507" y="394976"/>
                </a:cubicBezTo>
                <a:cubicBezTo>
                  <a:pt x="187897" y="396058"/>
                  <a:pt x="190281" y="397151"/>
                  <a:pt x="192658" y="398257"/>
                </a:cubicBezTo>
                <a:cubicBezTo>
                  <a:pt x="193749" y="398762"/>
                  <a:pt x="194841" y="399267"/>
                  <a:pt x="195966" y="399788"/>
                </a:cubicBezTo>
                <a:cubicBezTo>
                  <a:pt x="196912" y="400231"/>
                  <a:pt x="197858" y="400674"/>
                  <a:pt x="198833" y="401131"/>
                </a:cubicBezTo>
                <a:cubicBezTo>
                  <a:pt x="201808" y="402326"/>
                  <a:pt x="204701" y="403032"/>
                  <a:pt x="207877" y="403663"/>
                </a:cubicBezTo>
                <a:cubicBezTo>
                  <a:pt x="207877" y="404593"/>
                  <a:pt x="207877" y="405523"/>
                  <a:pt x="207877" y="406481"/>
                </a:cubicBezTo>
                <a:cubicBezTo>
                  <a:pt x="221233" y="411377"/>
                  <a:pt x="234752" y="415503"/>
                  <a:pt x="248492" y="419428"/>
                </a:cubicBezTo>
                <a:cubicBezTo>
                  <a:pt x="250298" y="419947"/>
                  <a:pt x="252104" y="420466"/>
                  <a:pt x="253965" y="421000"/>
                </a:cubicBezTo>
                <a:cubicBezTo>
                  <a:pt x="258388" y="422270"/>
                  <a:pt x="262812" y="423537"/>
                  <a:pt x="267237" y="424801"/>
                </a:cubicBezTo>
                <a:lnTo>
                  <a:pt x="267237" y="426451"/>
                </a:lnTo>
                <a:lnTo>
                  <a:pt x="288701" y="429217"/>
                </a:lnTo>
                <a:cubicBezTo>
                  <a:pt x="288701" y="430147"/>
                  <a:pt x="288701" y="431078"/>
                  <a:pt x="288701" y="432036"/>
                </a:cubicBezTo>
                <a:cubicBezTo>
                  <a:pt x="301487" y="433472"/>
                  <a:pt x="314148" y="433662"/>
                  <a:pt x="327010" y="433628"/>
                </a:cubicBezTo>
                <a:cubicBezTo>
                  <a:pt x="330502" y="433621"/>
                  <a:pt x="333994" y="433628"/>
                  <a:pt x="337486" y="433637"/>
                </a:cubicBezTo>
                <a:cubicBezTo>
                  <a:pt x="339734" y="433637"/>
                  <a:pt x="341982" y="433635"/>
                  <a:pt x="344229" y="433632"/>
                </a:cubicBezTo>
                <a:cubicBezTo>
                  <a:pt x="347246" y="433630"/>
                  <a:pt x="347246" y="433630"/>
                  <a:pt x="350323" y="433627"/>
                </a:cubicBezTo>
                <a:cubicBezTo>
                  <a:pt x="355445" y="433459"/>
                  <a:pt x="360220" y="432915"/>
                  <a:pt x="365245" y="432036"/>
                </a:cubicBezTo>
                <a:lnTo>
                  <a:pt x="360797" y="433759"/>
                </a:lnTo>
                <a:lnTo>
                  <a:pt x="365650" y="433257"/>
                </a:lnTo>
                <a:cubicBezTo>
                  <a:pt x="366166" y="431861"/>
                  <a:pt x="366682" y="430466"/>
                  <a:pt x="367213" y="429029"/>
                </a:cubicBezTo>
                <a:cubicBezTo>
                  <a:pt x="369854" y="427628"/>
                  <a:pt x="372501" y="426234"/>
                  <a:pt x="375188" y="424906"/>
                </a:cubicBezTo>
                <a:cubicBezTo>
                  <a:pt x="390245" y="417204"/>
                  <a:pt x="397438" y="403183"/>
                  <a:pt x="404704" y="389571"/>
                </a:cubicBezTo>
                <a:cubicBezTo>
                  <a:pt x="405219" y="389105"/>
                  <a:pt x="405734" y="388641"/>
                  <a:pt x="406265" y="388161"/>
                </a:cubicBezTo>
                <a:cubicBezTo>
                  <a:pt x="406663" y="382152"/>
                  <a:pt x="406555" y="376125"/>
                  <a:pt x="406559" y="370106"/>
                </a:cubicBezTo>
                <a:cubicBezTo>
                  <a:pt x="406578" y="368412"/>
                  <a:pt x="406597" y="366718"/>
                  <a:pt x="406617" y="364973"/>
                </a:cubicBezTo>
                <a:cubicBezTo>
                  <a:pt x="406620" y="363344"/>
                  <a:pt x="406622" y="361715"/>
                  <a:pt x="406626" y="360038"/>
                </a:cubicBezTo>
                <a:cubicBezTo>
                  <a:pt x="406632" y="358541"/>
                  <a:pt x="406638" y="357045"/>
                  <a:pt x="406645" y="355503"/>
                </a:cubicBezTo>
                <a:cubicBezTo>
                  <a:pt x="406264" y="351503"/>
                  <a:pt x="405326" y="349318"/>
                  <a:pt x="403142" y="345885"/>
                </a:cubicBezTo>
                <a:cubicBezTo>
                  <a:pt x="402583" y="343484"/>
                  <a:pt x="402067" y="341075"/>
                  <a:pt x="401579" y="338663"/>
                </a:cubicBezTo>
                <a:cubicBezTo>
                  <a:pt x="399365" y="330323"/>
                  <a:pt x="395538" y="323370"/>
                  <a:pt x="390938" y="315939"/>
                </a:cubicBezTo>
                <a:cubicBezTo>
                  <a:pt x="390290" y="314890"/>
                  <a:pt x="389642" y="313842"/>
                  <a:pt x="388976" y="312762"/>
                </a:cubicBezTo>
                <a:cubicBezTo>
                  <a:pt x="385623" y="307500"/>
                  <a:pt x="382070" y="302607"/>
                  <a:pt x="377934" y="297817"/>
                </a:cubicBezTo>
                <a:cubicBezTo>
                  <a:pt x="373788" y="292978"/>
                  <a:pt x="371423" y="288111"/>
                  <a:pt x="368775" y="282470"/>
                </a:cubicBezTo>
                <a:cubicBezTo>
                  <a:pt x="366035" y="278585"/>
                  <a:pt x="362994" y="274937"/>
                  <a:pt x="359890" y="271284"/>
                </a:cubicBezTo>
                <a:cubicBezTo>
                  <a:pt x="359059" y="270296"/>
                  <a:pt x="358230" y="269307"/>
                  <a:pt x="357374" y="268288"/>
                </a:cubicBezTo>
                <a:cubicBezTo>
                  <a:pt x="351312" y="261177"/>
                  <a:pt x="344882" y="254704"/>
                  <a:pt x="337533" y="248649"/>
                </a:cubicBezTo>
                <a:cubicBezTo>
                  <a:pt x="336767" y="247896"/>
                  <a:pt x="336002" y="247144"/>
                  <a:pt x="335214" y="246369"/>
                </a:cubicBezTo>
                <a:cubicBezTo>
                  <a:pt x="332597" y="243963"/>
                  <a:pt x="332597" y="243963"/>
                  <a:pt x="327085" y="242571"/>
                </a:cubicBezTo>
                <a:cubicBezTo>
                  <a:pt x="309670" y="236923"/>
                  <a:pt x="296614" y="222751"/>
                  <a:pt x="288785" y="207968"/>
                </a:cubicBezTo>
                <a:cubicBezTo>
                  <a:pt x="286673" y="202851"/>
                  <a:pt x="286348" y="197968"/>
                  <a:pt x="286373" y="192544"/>
                </a:cubicBezTo>
                <a:cubicBezTo>
                  <a:pt x="286377" y="191437"/>
                  <a:pt x="286381" y="190330"/>
                  <a:pt x="286385" y="189190"/>
                </a:cubicBezTo>
                <a:cubicBezTo>
                  <a:pt x="286881" y="178340"/>
                  <a:pt x="291581" y="171728"/>
                  <a:pt x="300042" y="164095"/>
                </a:cubicBezTo>
                <a:cubicBezTo>
                  <a:pt x="301386" y="162752"/>
                  <a:pt x="301386" y="162752"/>
                  <a:pt x="302757" y="161381"/>
                </a:cubicBezTo>
                <a:cubicBezTo>
                  <a:pt x="312597" y="152504"/>
                  <a:pt x="325185" y="152675"/>
                  <a:pt x="338411" y="152293"/>
                </a:cubicBezTo>
                <a:cubicBezTo>
                  <a:pt x="350839" y="152463"/>
                  <a:pt x="359094" y="154554"/>
                  <a:pt x="368482" y="161893"/>
                </a:cubicBezTo>
                <a:cubicBezTo>
                  <a:pt x="369609" y="163085"/>
                  <a:pt x="370737" y="164277"/>
                  <a:pt x="371899" y="165505"/>
                </a:cubicBezTo>
                <a:cubicBezTo>
                  <a:pt x="372962" y="166522"/>
                  <a:pt x="374026" y="167539"/>
                  <a:pt x="375121" y="168587"/>
                </a:cubicBezTo>
                <a:cubicBezTo>
                  <a:pt x="381050" y="176351"/>
                  <a:pt x="384520" y="184328"/>
                  <a:pt x="384982" y="193777"/>
                </a:cubicBezTo>
                <a:cubicBezTo>
                  <a:pt x="385464" y="201192"/>
                  <a:pt x="387638" y="207607"/>
                  <a:pt x="390352" y="214563"/>
                </a:cubicBezTo>
                <a:cubicBezTo>
                  <a:pt x="390934" y="216079"/>
                  <a:pt x="390934" y="216079"/>
                  <a:pt x="391529" y="217626"/>
                </a:cubicBezTo>
                <a:cubicBezTo>
                  <a:pt x="394082" y="223926"/>
                  <a:pt x="397412" y="228969"/>
                  <a:pt x="401579" y="234556"/>
                </a:cubicBezTo>
                <a:cubicBezTo>
                  <a:pt x="401579" y="235952"/>
                  <a:pt x="401579" y="237347"/>
                  <a:pt x="401579" y="238784"/>
                </a:cubicBezTo>
                <a:cubicBezTo>
                  <a:pt x="402884" y="239263"/>
                  <a:pt x="402884" y="239263"/>
                  <a:pt x="404215" y="239753"/>
                </a:cubicBezTo>
                <a:cubicBezTo>
                  <a:pt x="410099" y="242765"/>
                  <a:pt x="414395" y="246733"/>
                  <a:pt x="417811" y="251996"/>
                </a:cubicBezTo>
                <a:cubicBezTo>
                  <a:pt x="420462" y="255897"/>
                  <a:pt x="423407" y="258959"/>
                  <a:pt x="426866" y="262300"/>
                </a:cubicBezTo>
                <a:cubicBezTo>
                  <a:pt x="435101" y="270407"/>
                  <a:pt x="442641" y="278936"/>
                  <a:pt x="450097" y="287628"/>
                </a:cubicBezTo>
                <a:cubicBezTo>
                  <a:pt x="453081" y="291117"/>
                  <a:pt x="453081" y="291117"/>
                  <a:pt x="457425" y="293920"/>
                </a:cubicBezTo>
                <a:cubicBezTo>
                  <a:pt x="458585" y="294792"/>
                  <a:pt x="459745" y="295664"/>
                  <a:pt x="460940" y="296562"/>
                </a:cubicBezTo>
                <a:cubicBezTo>
                  <a:pt x="460940" y="297957"/>
                  <a:pt x="460940" y="299352"/>
                  <a:pt x="460940" y="300790"/>
                </a:cubicBezTo>
                <a:cubicBezTo>
                  <a:pt x="465063" y="302782"/>
                  <a:pt x="468862" y="304133"/>
                  <a:pt x="473437" y="305018"/>
                </a:cubicBezTo>
                <a:cubicBezTo>
                  <a:pt x="473437" y="305947"/>
                  <a:pt x="473437" y="306877"/>
                  <a:pt x="473437" y="307836"/>
                </a:cubicBezTo>
                <a:cubicBezTo>
                  <a:pt x="475581" y="308519"/>
                  <a:pt x="477730" y="309193"/>
                  <a:pt x="479881" y="309862"/>
                </a:cubicBezTo>
                <a:cubicBezTo>
                  <a:pt x="481077" y="310237"/>
                  <a:pt x="482273" y="310614"/>
                  <a:pt x="483505" y="311001"/>
                </a:cubicBezTo>
                <a:cubicBezTo>
                  <a:pt x="505448" y="316843"/>
                  <a:pt x="527690" y="314359"/>
                  <a:pt x="548419" y="306427"/>
                </a:cubicBezTo>
                <a:cubicBezTo>
                  <a:pt x="549548" y="305998"/>
                  <a:pt x="550678" y="305569"/>
                  <a:pt x="551842" y="305127"/>
                </a:cubicBezTo>
                <a:cubicBezTo>
                  <a:pt x="555376" y="303227"/>
                  <a:pt x="557584" y="300980"/>
                  <a:pt x="560232" y="298148"/>
                </a:cubicBezTo>
                <a:cubicBezTo>
                  <a:pt x="561137" y="297192"/>
                  <a:pt x="562041" y="296236"/>
                  <a:pt x="562972" y="295252"/>
                </a:cubicBezTo>
                <a:cubicBezTo>
                  <a:pt x="564755" y="293274"/>
                  <a:pt x="566459" y="291237"/>
                  <a:pt x="568086" y="289152"/>
                </a:cubicBezTo>
                <a:cubicBezTo>
                  <a:pt x="568813" y="288342"/>
                  <a:pt x="569539" y="287532"/>
                  <a:pt x="570289" y="286697"/>
                </a:cubicBezTo>
                <a:cubicBezTo>
                  <a:pt x="571319" y="286697"/>
                  <a:pt x="572350" y="286697"/>
                  <a:pt x="573413" y="286697"/>
                </a:cubicBezTo>
                <a:cubicBezTo>
                  <a:pt x="577408" y="276984"/>
                  <a:pt x="577197" y="267284"/>
                  <a:pt x="577220" y="257016"/>
                </a:cubicBezTo>
                <a:cubicBezTo>
                  <a:pt x="577227" y="255625"/>
                  <a:pt x="577227" y="255625"/>
                  <a:pt x="577235" y="254206"/>
                </a:cubicBezTo>
                <a:cubicBezTo>
                  <a:pt x="577257" y="237553"/>
                  <a:pt x="574604" y="222055"/>
                  <a:pt x="569443" y="206049"/>
                </a:cubicBezTo>
                <a:cubicBezTo>
                  <a:pt x="568726" y="203553"/>
                  <a:pt x="568726" y="203553"/>
                  <a:pt x="568726" y="200735"/>
                </a:cubicBezTo>
                <a:cubicBezTo>
                  <a:pt x="567695" y="200735"/>
                  <a:pt x="566664" y="200735"/>
                  <a:pt x="565602" y="200735"/>
                </a:cubicBezTo>
                <a:cubicBezTo>
                  <a:pt x="563274" y="195295"/>
                  <a:pt x="561092" y="190108"/>
                  <a:pt x="559549" y="184441"/>
                </a:cubicBezTo>
                <a:cubicBezTo>
                  <a:pt x="555572" y="173477"/>
                  <a:pt x="547043" y="167105"/>
                  <a:pt x="537484" y="159867"/>
                </a:cubicBezTo>
                <a:cubicBezTo>
                  <a:pt x="533579" y="156609"/>
                  <a:pt x="533579" y="156609"/>
                  <a:pt x="531235" y="154230"/>
                </a:cubicBezTo>
                <a:cubicBezTo>
                  <a:pt x="531235" y="153301"/>
                  <a:pt x="531235" y="152371"/>
                  <a:pt x="531235" y="151412"/>
                </a:cubicBezTo>
                <a:cubicBezTo>
                  <a:pt x="529689" y="150947"/>
                  <a:pt x="528143" y="150482"/>
                  <a:pt x="526549" y="150003"/>
                </a:cubicBezTo>
                <a:cubicBezTo>
                  <a:pt x="519904" y="137298"/>
                  <a:pt x="519105" y="120357"/>
                  <a:pt x="524304" y="107198"/>
                </a:cubicBezTo>
                <a:cubicBezTo>
                  <a:pt x="529443" y="97376"/>
                  <a:pt x="535781" y="90193"/>
                  <a:pt x="547052" y="85972"/>
                </a:cubicBezTo>
                <a:cubicBezTo>
                  <a:pt x="559924" y="81835"/>
                  <a:pt x="575221" y="79746"/>
                  <a:pt x="588460" y="83538"/>
                </a:cubicBezTo>
                <a:cubicBezTo>
                  <a:pt x="601643" y="89713"/>
                  <a:pt x="611835" y="99450"/>
                  <a:pt x="617152" y="111954"/>
                </a:cubicBezTo>
                <a:cubicBezTo>
                  <a:pt x="617935" y="116052"/>
                  <a:pt x="617954" y="120024"/>
                  <a:pt x="617884" y="124175"/>
                </a:cubicBezTo>
                <a:cubicBezTo>
                  <a:pt x="617896" y="125307"/>
                  <a:pt x="617906" y="126440"/>
                  <a:pt x="617917" y="127607"/>
                </a:cubicBezTo>
                <a:cubicBezTo>
                  <a:pt x="617963" y="132394"/>
                  <a:pt x="617938" y="137181"/>
                  <a:pt x="617919" y="141969"/>
                </a:cubicBezTo>
                <a:cubicBezTo>
                  <a:pt x="617899" y="160184"/>
                  <a:pt x="619422" y="175572"/>
                  <a:pt x="630625" y="191311"/>
                </a:cubicBezTo>
                <a:cubicBezTo>
                  <a:pt x="633753" y="195891"/>
                  <a:pt x="636431" y="199900"/>
                  <a:pt x="637850" y="205139"/>
                </a:cubicBezTo>
                <a:cubicBezTo>
                  <a:pt x="638615" y="209623"/>
                  <a:pt x="638615" y="209623"/>
                  <a:pt x="643708" y="212009"/>
                </a:cubicBezTo>
                <a:cubicBezTo>
                  <a:pt x="645380" y="214563"/>
                  <a:pt x="645380" y="214563"/>
                  <a:pt x="647027" y="217645"/>
                </a:cubicBezTo>
                <a:cubicBezTo>
                  <a:pt x="652549" y="227016"/>
                  <a:pt x="660443" y="235696"/>
                  <a:pt x="670264" y="241603"/>
                </a:cubicBezTo>
                <a:cubicBezTo>
                  <a:pt x="670264" y="242532"/>
                  <a:pt x="670264" y="243462"/>
                  <a:pt x="670264" y="244421"/>
                </a:cubicBezTo>
                <a:cubicBezTo>
                  <a:pt x="672036" y="244857"/>
                  <a:pt x="673808" y="245293"/>
                  <a:pt x="675634" y="245742"/>
                </a:cubicBezTo>
                <a:cubicBezTo>
                  <a:pt x="681199" y="247239"/>
                  <a:pt x="681199" y="247239"/>
                  <a:pt x="682761" y="248649"/>
                </a:cubicBezTo>
                <a:cubicBezTo>
                  <a:pt x="704487" y="252065"/>
                  <a:pt x="732606" y="256402"/>
                  <a:pt x="752092" y="245076"/>
                </a:cubicBezTo>
                <a:cubicBezTo>
                  <a:pt x="754252" y="243599"/>
                  <a:pt x="756372" y="242073"/>
                  <a:pt x="758433" y="240485"/>
                </a:cubicBezTo>
                <a:cubicBezTo>
                  <a:pt x="760867" y="238784"/>
                  <a:pt x="760867" y="238784"/>
                  <a:pt x="763991" y="238784"/>
                </a:cubicBezTo>
                <a:cubicBezTo>
                  <a:pt x="764647" y="237296"/>
                  <a:pt x="764647" y="237296"/>
                  <a:pt x="765315" y="235778"/>
                </a:cubicBezTo>
                <a:cubicBezTo>
                  <a:pt x="767151" y="231659"/>
                  <a:pt x="769030" y="227557"/>
                  <a:pt x="770923" y="223459"/>
                </a:cubicBezTo>
                <a:cubicBezTo>
                  <a:pt x="771608" y="221966"/>
                  <a:pt x="772292" y="220472"/>
                  <a:pt x="772998" y="218934"/>
                </a:cubicBezTo>
                <a:cubicBezTo>
                  <a:pt x="774429" y="215885"/>
                  <a:pt x="775968" y="212878"/>
                  <a:pt x="777562" y="209895"/>
                </a:cubicBezTo>
                <a:cubicBezTo>
                  <a:pt x="787607" y="185732"/>
                  <a:pt x="788559" y="149501"/>
                  <a:pt x="781175" y="124637"/>
                </a:cubicBezTo>
                <a:cubicBezTo>
                  <a:pt x="780144" y="124637"/>
                  <a:pt x="779113" y="124637"/>
                  <a:pt x="778051" y="124637"/>
                </a:cubicBezTo>
                <a:cubicBezTo>
                  <a:pt x="768501" y="110080"/>
                  <a:pt x="762898" y="96653"/>
                  <a:pt x="767116" y="79542"/>
                </a:cubicBezTo>
                <a:cubicBezTo>
                  <a:pt x="772286" y="69057"/>
                  <a:pt x="781456" y="58252"/>
                  <a:pt x="793379" y="54000"/>
                </a:cubicBezTo>
                <a:cubicBezTo>
                  <a:pt x="808369" y="49250"/>
                  <a:pt x="826058" y="49579"/>
                  <a:pt x="840688" y="55503"/>
                </a:cubicBezTo>
                <a:cubicBezTo>
                  <a:pt x="845183" y="57759"/>
                  <a:pt x="848037" y="60575"/>
                  <a:pt x="851470" y="64040"/>
                </a:cubicBezTo>
                <a:cubicBezTo>
                  <a:pt x="852721" y="65272"/>
                  <a:pt x="852721" y="65272"/>
                  <a:pt x="853997" y="66529"/>
                </a:cubicBezTo>
                <a:cubicBezTo>
                  <a:pt x="858396" y="71505"/>
                  <a:pt x="860490" y="76640"/>
                  <a:pt x="861488" y="82057"/>
                </a:cubicBezTo>
                <a:lnTo>
                  <a:pt x="861937" y="90492"/>
                </a:lnTo>
                <a:lnTo>
                  <a:pt x="863826" y="100715"/>
                </a:lnTo>
                <a:cubicBezTo>
                  <a:pt x="862141" y="107853"/>
                  <a:pt x="859866" y="114857"/>
                  <a:pt x="857577" y="121853"/>
                </a:cubicBezTo>
                <a:cubicBezTo>
                  <a:pt x="857062" y="121853"/>
                  <a:pt x="856547" y="121853"/>
                  <a:pt x="856015" y="121853"/>
                </a:cubicBezTo>
                <a:cubicBezTo>
                  <a:pt x="855731" y="120401"/>
                  <a:pt x="855731" y="120401"/>
                  <a:pt x="855442" y="118919"/>
                </a:cubicBezTo>
                <a:lnTo>
                  <a:pt x="855417" y="118798"/>
                </a:lnTo>
                <a:lnTo>
                  <a:pt x="856157" y="124637"/>
                </a:lnTo>
                <a:lnTo>
                  <a:pt x="850623" y="134701"/>
                </a:lnTo>
                <a:lnTo>
                  <a:pt x="851325" y="135968"/>
                </a:lnTo>
                <a:cubicBezTo>
                  <a:pt x="850851" y="137246"/>
                  <a:pt x="850376" y="138525"/>
                  <a:pt x="849886" y="139843"/>
                </a:cubicBezTo>
                <a:cubicBezTo>
                  <a:pt x="848171" y="144505"/>
                  <a:pt x="847798" y="148002"/>
                  <a:pt x="847786" y="152889"/>
                </a:cubicBezTo>
                <a:cubicBezTo>
                  <a:pt x="847779" y="154500"/>
                  <a:pt x="847773" y="156109"/>
                  <a:pt x="847767" y="157768"/>
                </a:cubicBezTo>
                <a:cubicBezTo>
                  <a:pt x="847782" y="159468"/>
                  <a:pt x="847796" y="161167"/>
                  <a:pt x="847810" y="162919"/>
                </a:cubicBezTo>
                <a:cubicBezTo>
                  <a:pt x="847821" y="165546"/>
                  <a:pt x="847821" y="165546"/>
                  <a:pt x="847832" y="168227"/>
                </a:cubicBezTo>
                <a:cubicBezTo>
                  <a:pt x="847980" y="181934"/>
                  <a:pt x="849003" y="195419"/>
                  <a:pt x="850903" y="209013"/>
                </a:cubicBezTo>
                <a:lnTo>
                  <a:pt x="852880" y="224692"/>
                </a:lnTo>
                <a:lnTo>
                  <a:pt x="854595" y="224692"/>
                </a:lnTo>
                <a:cubicBezTo>
                  <a:pt x="855086" y="225542"/>
                  <a:pt x="855577" y="226392"/>
                  <a:pt x="856083" y="227268"/>
                </a:cubicBezTo>
                <a:cubicBezTo>
                  <a:pt x="862358" y="237839"/>
                  <a:pt x="866924" y="242785"/>
                  <a:pt x="879588" y="247239"/>
                </a:cubicBezTo>
                <a:cubicBezTo>
                  <a:pt x="881642" y="248025"/>
                  <a:pt x="883692" y="248817"/>
                  <a:pt x="885739" y="249618"/>
                </a:cubicBezTo>
                <a:cubicBezTo>
                  <a:pt x="887318" y="250227"/>
                  <a:pt x="888897" y="250838"/>
                  <a:pt x="890523" y="251467"/>
                </a:cubicBezTo>
                <a:cubicBezTo>
                  <a:pt x="890523" y="252397"/>
                  <a:pt x="890523" y="253327"/>
                  <a:pt x="890523" y="254285"/>
                </a:cubicBezTo>
                <a:cubicBezTo>
                  <a:pt x="900347" y="257061"/>
                  <a:pt x="910127" y="259425"/>
                  <a:pt x="920203" y="261332"/>
                </a:cubicBezTo>
                <a:cubicBezTo>
                  <a:pt x="920203" y="261796"/>
                  <a:pt x="920203" y="262262"/>
                  <a:pt x="920203" y="262741"/>
                </a:cubicBezTo>
                <a:cubicBezTo>
                  <a:pt x="917111" y="262741"/>
                  <a:pt x="914018" y="262741"/>
                  <a:pt x="910831" y="262741"/>
                </a:cubicBezTo>
                <a:lnTo>
                  <a:pt x="910831" y="262864"/>
                </a:lnTo>
                <a:lnTo>
                  <a:pt x="927993" y="264177"/>
                </a:lnTo>
                <a:lnTo>
                  <a:pt x="939273" y="265285"/>
                </a:lnTo>
                <a:lnTo>
                  <a:pt x="940456" y="265191"/>
                </a:lnTo>
                <a:cubicBezTo>
                  <a:pt x="962552" y="263054"/>
                  <a:pt x="974979" y="255295"/>
                  <a:pt x="991622" y="242329"/>
                </a:cubicBezTo>
                <a:lnTo>
                  <a:pt x="1000803" y="236505"/>
                </a:lnTo>
                <a:lnTo>
                  <a:pt x="999806" y="236055"/>
                </a:lnTo>
                <a:cubicBezTo>
                  <a:pt x="1000902" y="234997"/>
                  <a:pt x="1001997" y="233941"/>
                  <a:pt x="1003126" y="232851"/>
                </a:cubicBezTo>
                <a:cubicBezTo>
                  <a:pt x="1012364" y="223880"/>
                  <a:pt x="1021184" y="214752"/>
                  <a:pt x="1029487" y="205052"/>
                </a:cubicBezTo>
                <a:lnTo>
                  <a:pt x="1029872" y="206442"/>
                </a:lnTo>
                <a:lnTo>
                  <a:pt x="1031614" y="203719"/>
                </a:lnTo>
                <a:cubicBezTo>
                  <a:pt x="1033221" y="199204"/>
                  <a:pt x="1035713" y="196017"/>
                  <a:pt x="1038924" y="192280"/>
                </a:cubicBezTo>
                <a:cubicBezTo>
                  <a:pt x="1039956" y="191815"/>
                  <a:pt x="1040987" y="191349"/>
                  <a:pt x="1042049" y="190870"/>
                </a:cubicBezTo>
                <a:cubicBezTo>
                  <a:pt x="1043161" y="188473"/>
                  <a:pt x="1043161" y="188473"/>
                  <a:pt x="1044294" y="186026"/>
                </a:cubicBezTo>
                <a:cubicBezTo>
                  <a:pt x="1046735" y="181006"/>
                  <a:pt x="1046735" y="181006"/>
                  <a:pt x="1051422" y="178188"/>
                </a:cubicBezTo>
                <a:cubicBezTo>
                  <a:pt x="1052553" y="175286"/>
                  <a:pt x="1052553" y="175286"/>
                  <a:pt x="1052984" y="172551"/>
                </a:cubicBezTo>
                <a:cubicBezTo>
                  <a:pt x="1054014" y="172551"/>
                  <a:pt x="1055046" y="172551"/>
                  <a:pt x="1056108" y="172551"/>
                </a:cubicBezTo>
                <a:cubicBezTo>
                  <a:pt x="1057139" y="169295"/>
                  <a:pt x="1058170" y="166040"/>
                  <a:pt x="1059232" y="162686"/>
                </a:cubicBezTo>
                <a:cubicBezTo>
                  <a:pt x="1060263" y="162686"/>
                  <a:pt x="1061295" y="162686"/>
                  <a:pt x="1062357" y="162686"/>
                </a:cubicBezTo>
                <a:cubicBezTo>
                  <a:pt x="1062755" y="161484"/>
                  <a:pt x="1062755" y="161484"/>
                  <a:pt x="1063162" y="160258"/>
                </a:cubicBezTo>
                <a:cubicBezTo>
                  <a:pt x="1065716" y="152917"/>
                  <a:pt x="1068813" y="146686"/>
                  <a:pt x="1073292" y="140138"/>
                </a:cubicBezTo>
                <a:cubicBezTo>
                  <a:pt x="1074322" y="140138"/>
                  <a:pt x="1075353" y="140138"/>
                  <a:pt x="1076415" y="140138"/>
                </a:cubicBezTo>
                <a:cubicBezTo>
                  <a:pt x="1079808" y="132748"/>
                  <a:pt x="1082509" y="125160"/>
                  <a:pt x="1085294" y="117569"/>
                </a:cubicBezTo>
                <a:cubicBezTo>
                  <a:pt x="1085972" y="116181"/>
                  <a:pt x="1086651" y="114793"/>
                  <a:pt x="1087350" y="113363"/>
                </a:cubicBezTo>
                <a:cubicBezTo>
                  <a:pt x="1089671" y="112666"/>
                  <a:pt x="1089671" y="112666"/>
                  <a:pt x="1092037" y="111954"/>
                </a:cubicBezTo>
                <a:cubicBezTo>
                  <a:pt x="1092230" y="110879"/>
                  <a:pt x="1092423" y="109803"/>
                  <a:pt x="1092623" y="108695"/>
                </a:cubicBezTo>
                <a:cubicBezTo>
                  <a:pt x="1093599" y="104908"/>
                  <a:pt x="1093599" y="104908"/>
                  <a:pt x="1096723" y="100680"/>
                </a:cubicBezTo>
                <a:cubicBezTo>
                  <a:pt x="1097207" y="99140"/>
                  <a:pt x="1097689" y="97599"/>
                  <a:pt x="1098188" y="96013"/>
                </a:cubicBezTo>
                <a:cubicBezTo>
                  <a:pt x="1099847" y="90815"/>
                  <a:pt x="1099847" y="90815"/>
                  <a:pt x="1102288" y="87029"/>
                </a:cubicBezTo>
                <a:cubicBezTo>
                  <a:pt x="1106061" y="79186"/>
                  <a:pt x="1107564" y="69424"/>
                  <a:pt x="1104534" y="61222"/>
                </a:cubicBezTo>
                <a:cubicBezTo>
                  <a:pt x="1104409" y="59341"/>
                  <a:pt x="1104366" y="57454"/>
                  <a:pt x="1104381" y="55569"/>
                </a:cubicBezTo>
                <a:cubicBezTo>
                  <a:pt x="1104386" y="54501"/>
                  <a:pt x="1104391" y="53434"/>
                  <a:pt x="1104397" y="52335"/>
                </a:cubicBezTo>
                <a:cubicBezTo>
                  <a:pt x="1104410" y="51228"/>
                  <a:pt x="1104423" y="50120"/>
                  <a:pt x="1104436" y="48979"/>
                </a:cubicBezTo>
                <a:cubicBezTo>
                  <a:pt x="1104443" y="47856"/>
                  <a:pt x="1104451" y="46733"/>
                  <a:pt x="1104457" y="45575"/>
                </a:cubicBezTo>
                <a:cubicBezTo>
                  <a:pt x="1104476" y="42805"/>
                  <a:pt x="1104504" y="40035"/>
                  <a:pt x="1104534" y="37265"/>
                </a:cubicBezTo>
                <a:cubicBezTo>
                  <a:pt x="1105565" y="37265"/>
                  <a:pt x="1106596" y="37265"/>
                  <a:pt x="1107658" y="37265"/>
                </a:cubicBezTo>
                <a:cubicBezTo>
                  <a:pt x="1107561" y="34562"/>
                  <a:pt x="1107561" y="34562"/>
                  <a:pt x="1107463" y="31805"/>
                </a:cubicBezTo>
                <a:cubicBezTo>
                  <a:pt x="1107353" y="28733"/>
                  <a:pt x="1107353" y="28733"/>
                  <a:pt x="1107658" y="25991"/>
                </a:cubicBezTo>
                <a:cubicBezTo>
                  <a:pt x="1108689" y="25062"/>
                  <a:pt x="1109720" y="24131"/>
                  <a:pt x="1110782" y="23173"/>
                </a:cubicBezTo>
                <a:cubicBezTo>
                  <a:pt x="1111104" y="22156"/>
                  <a:pt x="1111427" y="21138"/>
                  <a:pt x="1111759" y="20091"/>
                </a:cubicBezTo>
                <a:cubicBezTo>
                  <a:pt x="1116393" y="11539"/>
                  <a:pt x="1124927" y="6390"/>
                  <a:pt x="1134507" y="2828"/>
                </a:cubicBezTo>
                <a:cubicBezTo>
                  <a:pt x="1141389" y="825"/>
                  <a:pt x="1148262" y="-204"/>
                  <a:pt x="1155019" y="35"/>
                </a:cubicBezTo>
                <a:close/>
              </a:path>
            </a:pathLst>
          </a:custGeom>
          <a:solidFill>
            <a:schemeClr val="accent3"/>
          </a:solidFill>
          <a:ln w="2232" cap="flat">
            <a:noFill/>
            <a:prstDash val="solid"/>
            <a:miter/>
          </a:ln>
          <a:effectLst>
            <a:innerShdw blurRad="63500" dist="190500" dir="8100000">
              <a:schemeClr val="accent3">
                <a:lumMod val="75000"/>
                <a:alpha val="50000"/>
              </a:schemeClr>
            </a:innerShdw>
          </a:effectLst>
        </p:spPr>
        <p:txBody>
          <a:bodyPr wrap="squar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49" name="Oval 248">
            <a:extLst>
              <a:ext uri="{FF2B5EF4-FFF2-40B4-BE49-F238E27FC236}">
                <a16:creationId xmlns:a16="http://schemas.microsoft.com/office/drawing/2014/main" id="{FF087FA6-8B5A-02BF-7384-F1F3F51F9A00}"/>
              </a:ext>
            </a:extLst>
          </p:cNvPr>
          <p:cNvSpPr/>
          <p:nvPr/>
        </p:nvSpPr>
        <p:spPr>
          <a:xfrm>
            <a:off x="4451170" y="2702862"/>
            <a:ext cx="96793" cy="96793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50" name="Oval 249">
            <a:extLst>
              <a:ext uri="{FF2B5EF4-FFF2-40B4-BE49-F238E27FC236}">
                <a16:creationId xmlns:a16="http://schemas.microsoft.com/office/drawing/2014/main" id="{394FED8C-1A89-F60D-1851-4C2555F42B39}"/>
              </a:ext>
            </a:extLst>
          </p:cNvPr>
          <p:cNvSpPr/>
          <p:nvPr/>
        </p:nvSpPr>
        <p:spPr>
          <a:xfrm>
            <a:off x="4580382" y="2787614"/>
            <a:ext cx="96793" cy="96793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51" name="Oval 250">
            <a:extLst>
              <a:ext uri="{FF2B5EF4-FFF2-40B4-BE49-F238E27FC236}">
                <a16:creationId xmlns:a16="http://schemas.microsoft.com/office/drawing/2014/main" id="{44D350E0-37C9-9E7C-142A-018B83A9EED0}"/>
              </a:ext>
            </a:extLst>
          </p:cNvPr>
          <p:cNvSpPr/>
          <p:nvPr/>
        </p:nvSpPr>
        <p:spPr>
          <a:xfrm>
            <a:off x="4486599" y="2945306"/>
            <a:ext cx="75769" cy="75769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52" name="Oval 251">
            <a:extLst>
              <a:ext uri="{FF2B5EF4-FFF2-40B4-BE49-F238E27FC236}">
                <a16:creationId xmlns:a16="http://schemas.microsoft.com/office/drawing/2014/main" id="{1C582472-9258-A592-889E-5159D2E95F21}"/>
              </a:ext>
            </a:extLst>
          </p:cNvPr>
          <p:cNvSpPr/>
          <p:nvPr/>
        </p:nvSpPr>
        <p:spPr>
          <a:xfrm>
            <a:off x="4688752" y="2927939"/>
            <a:ext cx="96793" cy="96793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53" name="Oval 252">
            <a:extLst>
              <a:ext uri="{FF2B5EF4-FFF2-40B4-BE49-F238E27FC236}">
                <a16:creationId xmlns:a16="http://schemas.microsoft.com/office/drawing/2014/main" id="{7ACFA2F1-7627-D28A-DDEB-A0A7EEECA398}"/>
              </a:ext>
            </a:extLst>
          </p:cNvPr>
          <p:cNvSpPr/>
          <p:nvPr/>
        </p:nvSpPr>
        <p:spPr>
          <a:xfrm>
            <a:off x="4720012" y="2726481"/>
            <a:ext cx="65532" cy="65532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6" name="Free-form: Shape 335">
            <a:extLst>
              <a:ext uri="{FF2B5EF4-FFF2-40B4-BE49-F238E27FC236}">
                <a16:creationId xmlns:a16="http://schemas.microsoft.com/office/drawing/2014/main" id="{A6D1F32F-0125-430D-4D65-7FF163D25F7C}"/>
              </a:ext>
            </a:extLst>
          </p:cNvPr>
          <p:cNvSpPr/>
          <p:nvPr/>
        </p:nvSpPr>
        <p:spPr>
          <a:xfrm>
            <a:off x="7497026" y="3237033"/>
            <a:ext cx="744826" cy="151965"/>
          </a:xfrm>
          <a:custGeom>
            <a:avLst/>
            <a:gdLst>
              <a:gd name="csX0" fmla="*/ 0 w 1020019"/>
              <a:gd name="csY0" fmla="*/ 0 h 228600"/>
              <a:gd name="csX1" fmla="*/ 892656 w 1020019"/>
              <a:gd name="csY1" fmla="*/ 0 h 228600"/>
              <a:gd name="csX2" fmla="*/ 1020019 w 1020019"/>
              <a:gd name="csY2" fmla="*/ 228600 h 228600"/>
              <a:gd name="csX3" fmla="*/ 65128 w 1020019"/>
              <a:gd name="csY3" fmla="*/ 228600 h 228600"/>
              <a:gd name="csX4" fmla="*/ 0 w 1020019"/>
              <a:gd name="csY4" fmla="*/ 0 h 22860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020019" h="228600">
                <a:moveTo>
                  <a:pt x="0" y="0"/>
                </a:moveTo>
                <a:lnTo>
                  <a:pt x="892656" y="0"/>
                </a:lnTo>
                <a:lnTo>
                  <a:pt x="1020019" y="228600"/>
                </a:lnTo>
                <a:lnTo>
                  <a:pt x="65128" y="2286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7" name="Free-form: Shape 336">
            <a:extLst>
              <a:ext uri="{FF2B5EF4-FFF2-40B4-BE49-F238E27FC236}">
                <a16:creationId xmlns:a16="http://schemas.microsoft.com/office/drawing/2014/main" id="{A7041E7E-B834-9A01-B758-87592EF4AC1B}"/>
              </a:ext>
            </a:extLst>
          </p:cNvPr>
          <p:cNvSpPr/>
          <p:nvPr/>
        </p:nvSpPr>
        <p:spPr>
          <a:xfrm>
            <a:off x="7588865" y="3551909"/>
            <a:ext cx="856070" cy="205101"/>
          </a:xfrm>
          <a:custGeom>
            <a:avLst/>
            <a:gdLst>
              <a:gd name="csX0" fmla="*/ 0 w 1020019"/>
              <a:gd name="csY0" fmla="*/ 0 h 228600"/>
              <a:gd name="csX1" fmla="*/ 892656 w 1020019"/>
              <a:gd name="csY1" fmla="*/ 0 h 228600"/>
              <a:gd name="csX2" fmla="*/ 1020019 w 1020019"/>
              <a:gd name="csY2" fmla="*/ 228600 h 228600"/>
              <a:gd name="csX3" fmla="*/ 65128 w 1020019"/>
              <a:gd name="csY3" fmla="*/ 228600 h 228600"/>
              <a:gd name="csX4" fmla="*/ 0 w 1020019"/>
              <a:gd name="csY4" fmla="*/ 0 h 228600"/>
              <a:gd name="csX0" fmla="*/ 0 w 1020019"/>
              <a:gd name="csY0" fmla="*/ 0 h 230815"/>
              <a:gd name="csX1" fmla="*/ 892656 w 1020019"/>
              <a:gd name="csY1" fmla="*/ 0 h 230815"/>
              <a:gd name="csX2" fmla="*/ 1020019 w 1020019"/>
              <a:gd name="csY2" fmla="*/ 228600 h 230815"/>
              <a:gd name="csX3" fmla="*/ 67512 w 1020019"/>
              <a:gd name="csY3" fmla="*/ 230815 h 230815"/>
              <a:gd name="csX4" fmla="*/ 0 w 1020019"/>
              <a:gd name="csY4" fmla="*/ 0 h 230815"/>
              <a:gd name="csX0" fmla="*/ 0 w 1036702"/>
              <a:gd name="csY0" fmla="*/ 0 h 230815"/>
              <a:gd name="csX1" fmla="*/ 892656 w 1036702"/>
              <a:gd name="csY1" fmla="*/ 0 h 230815"/>
              <a:gd name="csX2" fmla="*/ 1036702 w 1036702"/>
              <a:gd name="csY2" fmla="*/ 226385 h 230815"/>
              <a:gd name="csX3" fmla="*/ 67512 w 1036702"/>
              <a:gd name="csY3" fmla="*/ 230815 h 230815"/>
              <a:gd name="csX4" fmla="*/ 0 w 1036702"/>
              <a:gd name="csY4" fmla="*/ 0 h 23081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036702" h="230815">
                <a:moveTo>
                  <a:pt x="0" y="0"/>
                </a:moveTo>
                <a:lnTo>
                  <a:pt x="892656" y="0"/>
                </a:lnTo>
                <a:lnTo>
                  <a:pt x="1036702" y="226385"/>
                </a:lnTo>
                <a:lnTo>
                  <a:pt x="67512" y="23081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8" name="Oval 337">
            <a:extLst>
              <a:ext uri="{FF2B5EF4-FFF2-40B4-BE49-F238E27FC236}">
                <a16:creationId xmlns:a16="http://schemas.microsoft.com/office/drawing/2014/main" id="{7B117E93-7637-C711-4BDA-FA7092E544BF}"/>
              </a:ext>
            </a:extLst>
          </p:cNvPr>
          <p:cNvSpPr/>
          <p:nvPr/>
        </p:nvSpPr>
        <p:spPr>
          <a:xfrm>
            <a:off x="7075581" y="5191111"/>
            <a:ext cx="717698" cy="104135"/>
          </a:xfrm>
          <a:prstGeom prst="ellipse">
            <a:avLst/>
          </a:prstGeom>
          <a:solidFill>
            <a:schemeClr val="tx1">
              <a:alpha val="6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9" name="Oval 338">
            <a:extLst>
              <a:ext uri="{FF2B5EF4-FFF2-40B4-BE49-F238E27FC236}">
                <a16:creationId xmlns:a16="http://schemas.microsoft.com/office/drawing/2014/main" id="{1E3EF967-5329-3494-799B-9C7E936D65DB}"/>
              </a:ext>
            </a:extLst>
          </p:cNvPr>
          <p:cNvSpPr/>
          <p:nvPr/>
        </p:nvSpPr>
        <p:spPr>
          <a:xfrm>
            <a:off x="2326329" y="5191111"/>
            <a:ext cx="717698" cy="104135"/>
          </a:xfrm>
          <a:prstGeom prst="ellipse">
            <a:avLst/>
          </a:prstGeom>
          <a:solidFill>
            <a:schemeClr val="tx1">
              <a:alpha val="6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0" name="Oval 339">
            <a:extLst>
              <a:ext uri="{FF2B5EF4-FFF2-40B4-BE49-F238E27FC236}">
                <a16:creationId xmlns:a16="http://schemas.microsoft.com/office/drawing/2014/main" id="{8ACC44C0-71EB-CA13-2066-177B3E779A6A}"/>
              </a:ext>
            </a:extLst>
          </p:cNvPr>
          <p:cNvSpPr/>
          <p:nvPr/>
        </p:nvSpPr>
        <p:spPr>
          <a:xfrm>
            <a:off x="10589904" y="5191111"/>
            <a:ext cx="717698" cy="104135"/>
          </a:xfrm>
          <a:prstGeom prst="ellipse">
            <a:avLst/>
          </a:prstGeom>
          <a:solidFill>
            <a:schemeClr val="tx1">
              <a:alpha val="6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1" name="Oval 340">
            <a:extLst>
              <a:ext uri="{FF2B5EF4-FFF2-40B4-BE49-F238E27FC236}">
                <a16:creationId xmlns:a16="http://schemas.microsoft.com/office/drawing/2014/main" id="{08548A99-B4EA-1226-A2B2-78619505A915}"/>
              </a:ext>
            </a:extLst>
          </p:cNvPr>
          <p:cNvSpPr/>
          <p:nvPr/>
        </p:nvSpPr>
        <p:spPr>
          <a:xfrm>
            <a:off x="3512106" y="5191111"/>
            <a:ext cx="717698" cy="104135"/>
          </a:xfrm>
          <a:prstGeom prst="ellipse">
            <a:avLst/>
          </a:prstGeom>
          <a:solidFill>
            <a:schemeClr val="tx1">
              <a:alpha val="6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3" name="Oval 342">
            <a:extLst>
              <a:ext uri="{FF2B5EF4-FFF2-40B4-BE49-F238E27FC236}">
                <a16:creationId xmlns:a16="http://schemas.microsoft.com/office/drawing/2014/main" id="{502B2DDF-8CD4-5772-5A20-46B0BC117916}"/>
              </a:ext>
            </a:extLst>
          </p:cNvPr>
          <p:cNvSpPr/>
          <p:nvPr/>
        </p:nvSpPr>
        <p:spPr>
          <a:xfrm>
            <a:off x="9202218" y="4662733"/>
            <a:ext cx="593138" cy="104135"/>
          </a:xfrm>
          <a:prstGeom prst="ellipse">
            <a:avLst/>
          </a:prstGeom>
          <a:solidFill>
            <a:schemeClr val="tx1">
              <a:alpha val="6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4" name="Free-form: Shape 343">
            <a:extLst>
              <a:ext uri="{FF2B5EF4-FFF2-40B4-BE49-F238E27FC236}">
                <a16:creationId xmlns:a16="http://schemas.microsoft.com/office/drawing/2014/main" id="{09CE7F61-1DCC-32F1-33B3-C1033201FD83}"/>
              </a:ext>
            </a:extLst>
          </p:cNvPr>
          <p:cNvSpPr/>
          <p:nvPr/>
        </p:nvSpPr>
        <p:spPr>
          <a:xfrm>
            <a:off x="9279030" y="3886742"/>
            <a:ext cx="476450" cy="847024"/>
          </a:xfrm>
          <a:custGeom>
            <a:avLst/>
            <a:gdLst>
              <a:gd name="csX0" fmla="*/ 581793 w 697572"/>
              <a:gd name="csY0" fmla="*/ 1234401 h 1240128"/>
              <a:gd name="csX1" fmla="*/ 577427 w 697572"/>
              <a:gd name="csY1" fmla="*/ 1234156 h 1240128"/>
              <a:gd name="csX2" fmla="*/ 559133 w 697572"/>
              <a:gd name="csY2" fmla="*/ 1230909 h 1240128"/>
              <a:gd name="csX3" fmla="*/ 516706 w 697572"/>
              <a:gd name="csY3" fmla="*/ 1235117 h 1240128"/>
              <a:gd name="csX4" fmla="*/ 475244 w 697572"/>
              <a:gd name="csY4" fmla="*/ 1237506 h 1240128"/>
              <a:gd name="csX5" fmla="*/ 371154 w 697572"/>
              <a:gd name="csY5" fmla="*/ 1239428 h 1240128"/>
              <a:gd name="csX6" fmla="*/ 276813 w 697572"/>
              <a:gd name="csY6" fmla="*/ 1237654 h 1240128"/>
              <a:gd name="csX7" fmla="*/ 268212 w 697572"/>
              <a:gd name="csY7" fmla="*/ 1237635 h 1240128"/>
              <a:gd name="csX8" fmla="*/ 262072 w 697572"/>
              <a:gd name="csY8" fmla="*/ 1237523 h 1240128"/>
              <a:gd name="csX9" fmla="*/ 195111 w 697572"/>
              <a:gd name="csY9" fmla="*/ 1232775 h 1240128"/>
              <a:gd name="csX10" fmla="*/ 145060 w 697572"/>
              <a:gd name="csY10" fmla="*/ 1230076 h 1240128"/>
              <a:gd name="csX11" fmla="*/ 114933 w 697572"/>
              <a:gd name="csY11" fmla="*/ 1225832 h 1240128"/>
              <a:gd name="csX12" fmla="*/ 72642 w 697572"/>
              <a:gd name="csY12" fmla="*/ 1220237 h 1240128"/>
              <a:gd name="csX13" fmla="*/ 10894 w 697572"/>
              <a:gd name="csY13" fmla="*/ 1205737 h 1240128"/>
              <a:gd name="csX14" fmla="*/ 5856 w 697572"/>
              <a:gd name="csY14" fmla="*/ 1202799 h 1240128"/>
              <a:gd name="csX15" fmla="*/ 40 w 697572"/>
              <a:gd name="csY15" fmla="*/ 1174450 h 1240128"/>
              <a:gd name="csX16" fmla="*/ 19831 w 697572"/>
              <a:gd name="csY16" fmla="*/ 1118410 h 1240128"/>
              <a:gd name="csX17" fmla="*/ 22004 w 697572"/>
              <a:gd name="csY17" fmla="*/ 1107240 h 1240128"/>
              <a:gd name="csX18" fmla="*/ 25947 w 697572"/>
              <a:gd name="csY18" fmla="*/ 1038650 h 1240128"/>
              <a:gd name="csX19" fmla="*/ 58234 w 697572"/>
              <a:gd name="csY19" fmla="*/ 988567 h 1240128"/>
              <a:gd name="csX20" fmla="*/ 118645 w 697572"/>
              <a:gd name="csY20" fmla="*/ 928298 h 1240128"/>
              <a:gd name="csX21" fmla="*/ 126320 w 697572"/>
              <a:gd name="csY21" fmla="*/ 892015 h 1240128"/>
              <a:gd name="csX22" fmla="*/ 120345 w 697572"/>
              <a:gd name="csY22" fmla="*/ 872258 h 1240128"/>
              <a:gd name="csX23" fmla="*/ 125668 w 697572"/>
              <a:gd name="csY23" fmla="*/ 861640 h 1240128"/>
              <a:gd name="csX24" fmla="*/ 154237 w 697572"/>
              <a:gd name="csY24" fmla="*/ 850716 h 1240128"/>
              <a:gd name="csX25" fmla="*/ 170248 w 697572"/>
              <a:gd name="csY25" fmla="*/ 836767 h 1240128"/>
              <a:gd name="csX26" fmla="*/ 187840 w 697572"/>
              <a:gd name="csY26" fmla="*/ 796341 h 1240128"/>
              <a:gd name="csX27" fmla="*/ 209346 w 697572"/>
              <a:gd name="csY27" fmla="*/ 743126 h 1240128"/>
              <a:gd name="csX28" fmla="*/ 210630 w 697572"/>
              <a:gd name="csY28" fmla="*/ 737219 h 1240128"/>
              <a:gd name="csX29" fmla="*/ 213836 w 697572"/>
              <a:gd name="csY29" fmla="*/ 720505 h 1240128"/>
              <a:gd name="csX30" fmla="*/ 227791 w 697572"/>
              <a:gd name="csY30" fmla="*/ 667353 h 1240128"/>
              <a:gd name="csX31" fmla="*/ 241013 w 697572"/>
              <a:gd name="csY31" fmla="*/ 599151 h 1240128"/>
              <a:gd name="csX32" fmla="*/ 247322 w 697572"/>
              <a:gd name="csY32" fmla="*/ 542242 h 1240128"/>
              <a:gd name="csX33" fmla="*/ 247948 w 697572"/>
              <a:gd name="csY33" fmla="*/ 499296 h 1240128"/>
              <a:gd name="csX34" fmla="*/ 247577 w 697572"/>
              <a:gd name="csY34" fmla="*/ 470384 h 1240128"/>
              <a:gd name="csX35" fmla="*/ 238877 w 697572"/>
              <a:gd name="csY35" fmla="*/ 460987 h 1240128"/>
              <a:gd name="csX36" fmla="*/ 222040 w 697572"/>
              <a:gd name="csY36" fmla="*/ 458353 h 1240128"/>
              <a:gd name="csX37" fmla="*/ 172193 w 697572"/>
              <a:gd name="csY37" fmla="*/ 433714 h 1240128"/>
              <a:gd name="csX38" fmla="*/ 168410 w 697572"/>
              <a:gd name="csY38" fmla="*/ 396591 h 1240128"/>
              <a:gd name="csX39" fmla="*/ 209826 w 697572"/>
              <a:gd name="csY39" fmla="*/ 367773 h 1240128"/>
              <a:gd name="csX40" fmla="*/ 250732 w 697572"/>
              <a:gd name="csY40" fmla="*/ 355208 h 1240128"/>
              <a:gd name="csX41" fmla="*/ 258289 w 697572"/>
              <a:gd name="csY41" fmla="*/ 350426 h 1240128"/>
              <a:gd name="csX42" fmla="*/ 233274 w 697572"/>
              <a:gd name="csY42" fmla="*/ 333513 h 1240128"/>
              <a:gd name="csX43" fmla="*/ 229677 w 697572"/>
              <a:gd name="csY43" fmla="*/ 333922 h 1240128"/>
              <a:gd name="csX44" fmla="*/ 230149 w 697572"/>
              <a:gd name="csY44" fmla="*/ 332979 h 1240128"/>
              <a:gd name="csX45" fmla="*/ 227053 w 697572"/>
              <a:gd name="csY45" fmla="*/ 327076 h 1240128"/>
              <a:gd name="csX46" fmla="*/ 196769 w 697572"/>
              <a:gd name="csY46" fmla="*/ 291380 h 1240128"/>
              <a:gd name="csX47" fmla="*/ 184389 w 697572"/>
              <a:gd name="csY47" fmla="*/ 264042 h 1240128"/>
              <a:gd name="csX48" fmla="*/ 180630 w 697572"/>
              <a:gd name="csY48" fmla="*/ 257839 h 1240128"/>
              <a:gd name="csX49" fmla="*/ 176231 w 697572"/>
              <a:gd name="csY49" fmla="*/ 250643 h 1240128"/>
              <a:gd name="csX50" fmla="*/ 170073 w 697572"/>
              <a:gd name="csY50" fmla="*/ 146723 h 1240128"/>
              <a:gd name="csX51" fmla="*/ 180929 w 697572"/>
              <a:gd name="csY51" fmla="*/ 114280 h 1240128"/>
              <a:gd name="csX52" fmla="*/ 180839 w 697572"/>
              <a:gd name="csY52" fmla="*/ 101501 h 1240128"/>
              <a:gd name="csX53" fmla="*/ 233536 w 697572"/>
              <a:gd name="csY53" fmla="*/ 39653 h 1240128"/>
              <a:gd name="csX54" fmla="*/ 347618 w 697572"/>
              <a:gd name="csY54" fmla="*/ 35 h 1240128"/>
              <a:gd name="csX55" fmla="*/ 437139 w 697572"/>
              <a:gd name="csY55" fmla="*/ 22396 h 1240128"/>
              <a:gd name="csX56" fmla="*/ 529052 w 697572"/>
              <a:gd name="csY56" fmla="*/ 131093 h 1240128"/>
              <a:gd name="csX57" fmla="*/ 518497 w 697572"/>
              <a:gd name="csY57" fmla="*/ 271517 h 1240128"/>
              <a:gd name="csX58" fmla="*/ 500808 w 697572"/>
              <a:gd name="csY58" fmla="*/ 287385 h 1240128"/>
              <a:gd name="csX59" fmla="*/ 472948 w 697572"/>
              <a:gd name="csY59" fmla="*/ 323290 h 1240128"/>
              <a:gd name="csX60" fmla="*/ 469385 w 697572"/>
              <a:gd name="csY60" fmla="*/ 331565 h 1240128"/>
              <a:gd name="csX61" fmla="*/ 468293 w 697572"/>
              <a:gd name="csY61" fmla="*/ 331320 h 1240128"/>
              <a:gd name="csX62" fmla="*/ 459542 w 697572"/>
              <a:gd name="csY62" fmla="*/ 338942 h 1240128"/>
              <a:gd name="csX63" fmla="*/ 458492 w 697572"/>
              <a:gd name="csY63" fmla="*/ 338671 h 1240128"/>
              <a:gd name="csX64" fmla="*/ 436978 w 697572"/>
              <a:gd name="csY64" fmla="*/ 352226 h 1240128"/>
              <a:gd name="csX65" fmla="*/ 472329 w 697572"/>
              <a:gd name="csY65" fmla="*/ 362890 h 1240128"/>
              <a:gd name="csX66" fmla="*/ 523779 w 697572"/>
              <a:gd name="csY66" fmla="*/ 391962 h 1240128"/>
              <a:gd name="csX67" fmla="*/ 527344 w 697572"/>
              <a:gd name="csY67" fmla="*/ 430096 h 1240128"/>
              <a:gd name="csX68" fmla="*/ 504112 w 697572"/>
              <a:gd name="csY68" fmla="*/ 449628 h 1240128"/>
              <a:gd name="csX69" fmla="*/ 459430 w 697572"/>
              <a:gd name="csY69" fmla="*/ 461116 h 1240128"/>
              <a:gd name="csX70" fmla="*/ 446666 w 697572"/>
              <a:gd name="csY70" fmla="*/ 474229 h 1240128"/>
              <a:gd name="csX71" fmla="*/ 449133 w 697572"/>
              <a:gd name="csY71" fmla="*/ 531639 h 1240128"/>
              <a:gd name="csX72" fmla="*/ 454546 w 697572"/>
              <a:gd name="csY72" fmla="*/ 588688 h 1240128"/>
              <a:gd name="csX73" fmla="*/ 466126 w 697572"/>
              <a:gd name="csY73" fmla="*/ 649736 h 1240128"/>
              <a:gd name="csX74" fmla="*/ 512154 w 697572"/>
              <a:gd name="csY74" fmla="*/ 794006 h 1240128"/>
              <a:gd name="csX75" fmla="*/ 525763 w 697572"/>
              <a:gd name="csY75" fmla="*/ 834323 h 1240128"/>
              <a:gd name="csX76" fmla="*/ 530555 w 697572"/>
              <a:gd name="csY76" fmla="*/ 845114 h 1240128"/>
              <a:gd name="csX77" fmla="*/ 554424 w 697572"/>
              <a:gd name="csY77" fmla="*/ 856618 h 1240128"/>
              <a:gd name="csX78" fmla="*/ 572880 w 697572"/>
              <a:gd name="csY78" fmla="*/ 862546 h 1240128"/>
              <a:gd name="csX79" fmla="*/ 578643 w 697572"/>
              <a:gd name="csY79" fmla="*/ 880396 h 1240128"/>
              <a:gd name="csX80" fmla="*/ 572188 w 697572"/>
              <a:gd name="csY80" fmla="*/ 899820 h 1240128"/>
              <a:gd name="csX81" fmla="*/ 582698 w 697572"/>
              <a:gd name="csY81" fmla="*/ 930382 h 1240128"/>
              <a:gd name="csX82" fmla="*/ 604747 w 697572"/>
              <a:gd name="csY82" fmla="*/ 960852 h 1240128"/>
              <a:gd name="csX83" fmla="*/ 613863 w 697572"/>
              <a:gd name="csY83" fmla="*/ 968311 h 1240128"/>
              <a:gd name="csX84" fmla="*/ 629435 w 697572"/>
              <a:gd name="csY84" fmla="*/ 981186 h 1240128"/>
              <a:gd name="csX85" fmla="*/ 633611 w 697572"/>
              <a:gd name="csY85" fmla="*/ 985609 h 1240128"/>
              <a:gd name="csX86" fmla="*/ 673790 w 697572"/>
              <a:gd name="csY86" fmla="*/ 1049348 h 1240128"/>
              <a:gd name="csX87" fmla="*/ 675873 w 697572"/>
              <a:gd name="csY87" fmla="*/ 1092839 h 1240128"/>
              <a:gd name="csX88" fmla="*/ 681668 w 697572"/>
              <a:gd name="csY88" fmla="*/ 1129292 h 1240128"/>
              <a:gd name="csX89" fmla="*/ 697338 w 697572"/>
              <a:gd name="csY89" fmla="*/ 1196079 h 1240128"/>
              <a:gd name="csX90" fmla="*/ 690637 w 697572"/>
              <a:gd name="csY90" fmla="*/ 1205035 h 1240128"/>
              <a:gd name="csX91" fmla="*/ 639777 w 697572"/>
              <a:gd name="csY91" fmla="*/ 1217994 h 1240128"/>
              <a:gd name="csX92" fmla="*/ 587072 w 697572"/>
              <a:gd name="csY92" fmla="*/ 1227761 h 1240128"/>
              <a:gd name="csX93" fmla="*/ 581793 w 697572"/>
              <a:gd name="csY93" fmla="*/ 1234401 h 1240128"/>
              <a:gd name="csX94" fmla="*/ 357446 w 697572"/>
              <a:gd name="csY94" fmla="*/ 903795 h 1240128"/>
              <a:gd name="csX95" fmla="*/ 344445 w 697572"/>
              <a:gd name="csY95" fmla="*/ 903795 h 1240128"/>
              <a:gd name="csX96" fmla="*/ 349212 w 697572"/>
              <a:gd name="csY96" fmla="*/ 950515 h 1240128"/>
              <a:gd name="csX97" fmla="*/ 349538 w 697572"/>
              <a:gd name="csY97" fmla="*/ 1069392 h 1240128"/>
              <a:gd name="csX98" fmla="*/ 349415 w 697572"/>
              <a:gd name="csY98" fmla="*/ 1108925 h 1240128"/>
              <a:gd name="csX99" fmla="*/ 647726 w 697572"/>
              <a:gd name="csY99" fmla="*/ 1089872 h 1240128"/>
              <a:gd name="csX100" fmla="*/ 647654 w 697572"/>
              <a:gd name="csY100" fmla="*/ 1076267 h 1240128"/>
              <a:gd name="csX101" fmla="*/ 610267 w 697572"/>
              <a:gd name="csY101" fmla="*/ 994126 h 1240128"/>
              <a:gd name="csX102" fmla="*/ 571459 w 697572"/>
              <a:gd name="csY102" fmla="*/ 956568 h 1240128"/>
              <a:gd name="csX103" fmla="*/ 541653 w 697572"/>
              <a:gd name="csY103" fmla="*/ 901544 h 1240128"/>
              <a:gd name="csX104" fmla="*/ 539477 w 697572"/>
              <a:gd name="csY104" fmla="*/ 895908 h 1240128"/>
              <a:gd name="csX105" fmla="*/ 357446 w 697572"/>
              <a:gd name="csY105" fmla="*/ 903795 h 1240128"/>
              <a:gd name="csX106" fmla="*/ 300108 w 697572"/>
              <a:gd name="csY106" fmla="*/ 85260 h 1240128"/>
              <a:gd name="csX107" fmla="*/ 290213 w 697572"/>
              <a:gd name="csY107" fmla="*/ 127888 h 1240128"/>
              <a:gd name="csX108" fmla="*/ 331056 w 697572"/>
              <a:gd name="csY108" fmla="*/ 214168 h 1240128"/>
              <a:gd name="csX109" fmla="*/ 424717 w 697572"/>
              <a:gd name="csY109" fmla="*/ 245160 h 1240128"/>
              <a:gd name="csX110" fmla="*/ 496752 w 697572"/>
              <a:gd name="csY110" fmla="*/ 141256 h 1240128"/>
              <a:gd name="csX111" fmla="*/ 390320 w 697572"/>
              <a:gd name="csY111" fmla="*/ 43995 h 1240128"/>
              <a:gd name="csX112" fmla="*/ 300108 w 697572"/>
              <a:gd name="csY112" fmla="*/ 85260 h 1240128"/>
              <a:gd name="csX113" fmla="*/ 343360 w 697572"/>
              <a:gd name="csY113" fmla="*/ 634332 h 1240128"/>
              <a:gd name="csX114" fmla="*/ 340877 w 697572"/>
              <a:gd name="csY114" fmla="*/ 732259 h 1240128"/>
              <a:gd name="csX115" fmla="*/ 338360 w 697572"/>
              <a:gd name="csY115" fmla="*/ 810538 h 1240128"/>
              <a:gd name="csX116" fmla="*/ 337115 w 697572"/>
              <a:gd name="csY116" fmla="*/ 817736 h 1240128"/>
              <a:gd name="csX117" fmla="*/ 336516 w 697572"/>
              <a:gd name="csY117" fmla="*/ 863022 h 1240128"/>
              <a:gd name="csX118" fmla="*/ 343436 w 697572"/>
              <a:gd name="csY118" fmla="*/ 864027 h 1240128"/>
              <a:gd name="csX119" fmla="*/ 406718 w 697572"/>
              <a:gd name="csY119" fmla="*/ 862982 h 1240128"/>
              <a:gd name="csX120" fmla="*/ 456888 w 697572"/>
              <a:gd name="csY120" fmla="*/ 861794 h 1240128"/>
              <a:gd name="csX121" fmla="*/ 495873 w 697572"/>
              <a:gd name="csY121" fmla="*/ 863963 h 1240128"/>
              <a:gd name="csX122" fmla="*/ 509286 w 697572"/>
              <a:gd name="csY122" fmla="*/ 863595 h 1240128"/>
              <a:gd name="csX123" fmla="*/ 516956 w 697572"/>
              <a:gd name="csY123" fmla="*/ 856791 h 1240128"/>
              <a:gd name="csX124" fmla="*/ 513920 w 697572"/>
              <a:gd name="csY124" fmla="*/ 848709 h 1240128"/>
              <a:gd name="csX125" fmla="*/ 506683 w 697572"/>
              <a:gd name="csY125" fmla="*/ 839054 h 1240128"/>
              <a:gd name="csX126" fmla="*/ 488629 w 697572"/>
              <a:gd name="csY126" fmla="*/ 799037 h 1240128"/>
              <a:gd name="csX127" fmla="*/ 456922 w 697572"/>
              <a:gd name="csY127" fmla="*/ 696297 h 1240128"/>
              <a:gd name="csX128" fmla="*/ 441346 w 697572"/>
              <a:gd name="csY128" fmla="*/ 619885 h 1240128"/>
              <a:gd name="csX129" fmla="*/ 435963 w 697572"/>
              <a:gd name="csY129" fmla="*/ 582529 h 1240128"/>
              <a:gd name="csX130" fmla="*/ 429497 w 697572"/>
              <a:gd name="csY130" fmla="*/ 521990 h 1240128"/>
              <a:gd name="csX131" fmla="*/ 426887 w 697572"/>
              <a:gd name="csY131" fmla="*/ 471989 h 1240128"/>
              <a:gd name="csX132" fmla="*/ 413744 w 697572"/>
              <a:gd name="csY132" fmla="*/ 461077 h 1240128"/>
              <a:gd name="csX133" fmla="*/ 353573 w 697572"/>
              <a:gd name="csY133" fmla="*/ 461120 h 1240128"/>
              <a:gd name="csX134" fmla="*/ 344160 w 697572"/>
              <a:gd name="csY134" fmla="*/ 462286 h 1240128"/>
              <a:gd name="csX135" fmla="*/ 343404 w 697572"/>
              <a:gd name="csY135" fmla="*/ 469192 h 1240128"/>
              <a:gd name="csX136" fmla="*/ 343469 w 697572"/>
              <a:gd name="csY136" fmla="*/ 574797 h 1240128"/>
              <a:gd name="csX137" fmla="*/ 345522 w 697572"/>
              <a:gd name="csY137" fmla="*/ 591669 h 1240128"/>
              <a:gd name="csX138" fmla="*/ 343360 w 697572"/>
              <a:gd name="csY138" fmla="*/ 634332 h 1240128"/>
              <a:gd name="csX139" fmla="*/ 416946 w 697572"/>
              <a:gd name="csY139" fmla="*/ 385943 h 1240128"/>
              <a:gd name="csX140" fmla="*/ 401091 w 697572"/>
              <a:gd name="csY140" fmla="*/ 387162 h 1240128"/>
              <a:gd name="csX141" fmla="*/ 369218 w 697572"/>
              <a:gd name="csY141" fmla="*/ 387708 h 1240128"/>
              <a:gd name="csX142" fmla="*/ 351833 w 697572"/>
              <a:gd name="csY142" fmla="*/ 398991 h 1240128"/>
              <a:gd name="csX143" fmla="*/ 349778 w 697572"/>
              <a:gd name="csY143" fmla="*/ 426021 h 1240128"/>
              <a:gd name="csX144" fmla="*/ 361839 w 697572"/>
              <a:gd name="csY144" fmla="*/ 426538 h 1240128"/>
              <a:gd name="csX145" fmla="*/ 455022 w 697572"/>
              <a:gd name="csY145" fmla="*/ 426922 h 1240128"/>
              <a:gd name="csX146" fmla="*/ 481958 w 697572"/>
              <a:gd name="csY146" fmla="*/ 426527 h 1240128"/>
              <a:gd name="csX147" fmla="*/ 499817 w 697572"/>
              <a:gd name="csY147" fmla="*/ 419888 h 1240128"/>
              <a:gd name="csX148" fmla="*/ 499439 w 697572"/>
              <a:gd name="csY148" fmla="*/ 400719 h 1240128"/>
              <a:gd name="csX149" fmla="*/ 468062 w 697572"/>
              <a:gd name="csY149" fmla="*/ 387775 h 1240128"/>
              <a:gd name="csX150" fmla="*/ 416946 w 697572"/>
              <a:gd name="csY150" fmla="*/ 385943 h 1240128"/>
              <a:gd name="csX151" fmla="*/ 636802 w 697572"/>
              <a:gd name="csY151" fmla="*/ 1190940 h 1240128"/>
              <a:gd name="csX152" fmla="*/ 666492 w 697572"/>
              <a:gd name="csY152" fmla="*/ 1184186 h 1240128"/>
              <a:gd name="csX153" fmla="*/ 674465 w 697572"/>
              <a:gd name="csY153" fmla="*/ 1170880 h 1240128"/>
              <a:gd name="csX154" fmla="*/ 662462 w 697572"/>
              <a:gd name="csY154" fmla="*/ 1141464 h 1240128"/>
              <a:gd name="csX155" fmla="*/ 645564 w 697572"/>
              <a:gd name="csY155" fmla="*/ 1131937 h 1240128"/>
              <a:gd name="csX156" fmla="*/ 627387 w 697572"/>
              <a:gd name="csY156" fmla="*/ 1133618 h 1240128"/>
              <a:gd name="csX157" fmla="*/ 583917 w 697572"/>
              <a:gd name="csY157" fmla="*/ 1139222 h 1240128"/>
              <a:gd name="csX158" fmla="*/ 543741 w 697572"/>
              <a:gd name="csY158" fmla="*/ 1141869 h 1240128"/>
              <a:gd name="csX159" fmla="*/ 512146 w 697572"/>
              <a:gd name="csY159" fmla="*/ 1144418 h 1240128"/>
              <a:gd name="csX160" fmla="*/ 447711 w 697572"/>
              <a:gd name="csY160" fmla="*/ 1148973 h 1240128"/>
              <a:gd name="csX161" fmla="*/ 351979 w 697572"/>
              <a:gd name="csY161" fmla="*/ 1149200 h 1240128"/>
              <a:gd name="csX162" fmla="*/ 338443 w 697572"/>
              <a:gd name="csY162" fmla="*/ 1150040 h 1240128"/>
              <a:gd name="csX163" fmla="*/ 338451 w 697572"/>
              <a:gd name="csY163" fmla="*/ 1190780 h 1240128"/>
              <a:gd name="csX164" fmla="*/ 351082 w 697572"/>
              <a:gd name="csY164" fmla="*/ 1207015 h 1240128"/>
              <a:gd name="csX165" fmla="*/ 358298 w 697572"/>
              <a:gd name="csY165" fmla="*/ 1208094 h 1240128"/>
              <a:gd name="csX166" fmla="*/ 521229 w 697572"/>
              <a:gd name="csY166" fmla="*/ 1205646 h 1240128"/>
              <a:gd name="csX167" fmla="*/ 523675 w 697572"/>
              <a:gd name="csY167" fmla="*/ 1205490 h 1240128"/>
              <a:gd name="csX168" fmla="*/ 580423 w 697572"/>
              <a:gd name="csY168" fmla="*/ 1198350 h 1240128"/>
              <a:gd name="csX169" fmla="*/ 636802 w 697572"/>
              <a:gd name="csY169" fmla="*/ 1190940 h 124012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</a:cxnLst>
            <a:rect l="l" t="t" r="r" b="b"/>
            <a:pathLst>
              <a:path w="697572" h="1240128">
                <a:moveTo>
                  <a:pt x="581793" y="1234401"/>
                </a:moveTo>
                <a:cubicBezTo>
                  <a:pt x="580693" y="1234661"/>
                  <a:pt x="579594" y="1234922"/>
                  <a:pt x="577427" y="1234156"/>
                </a:cubicBezTo>
                <a:cubicBezTo>
                  <a:pt x="571216" y="1227899"/>
                  <a:pt x="564912" y="1230441"/>
                  <a:pt x="559133" y="1230909"/>
                </a:cubicBezTo>
                <a:cubicBezTo>
                  <a:pt x="544971" y="1232056"/>
                  <a:pt x="530869" y="1233971"/>
                  <a:pt x="516706" y="1235117"/>
                </a:cubicBezTo>
                <a:cubicBezTo>
                  <a:pt x="502910" y="1236232"/>
                  <a:pt x="489077" y="1237097"/>
                  <a:pt x="475244" y="1237506"/>
                </a:cubicBezTo>
                <a:cubicBezTo>
                  <a:pt x="440539" y="1238535"/>
                  <a:pt x="405696" y="1241458"/>
                  <a:pt x="371154" y="1239428"/>
                </a:cubicBezTo>
                <a:cubicBezTo>
                  <a:pt x="339645" y="1237575"/>
                  <a:pt x="308239" y="1238753"/>
                  <a:pt x="276813" y="1237654"/>
                </a:cubicBezTo>
                <a:cubicBezTo>
                  <a:pt x="273949" y="1237553"/>
                  <a:pt x="271079" y="1237652"/>
                  <a:pt x="268212" y="1237635"/>
                </a:cubicBezTo>
                <a:cubicBezTo>
                  <a:pt x="266165" y="1237623"/>
                  <a:pt x="264111" y="1237668"/>
                  <a:pt x="262072" y="1237523"/>
                </a:cubicBezTo>
                <a:cubicBezTo>
                  <a:pt x="239751" y="1235944"/>
                  <a:pt x="217441" y="1234201"/>
                  <a:pt x="195111" y="1232775"/>
                </a:cubicBezTo>
                <a:cubicBezTo>
                  <a:pt x="178437" y="1231710"/>
                  <a:pt x="161712" y="1231378"/>
                  <a:pt x="145060" y="1230076"/>
                </a:cubicBezTo>
                <a:cubicBezTo>
                  <a:pt x="134969" y="1229287"/>
                  <a:pt x="124987" y="1227177"/>
                  <a:pt x="114933" y="1225832"/>
                </a:cubicBezTo>
                <a:cubicBezTo>
                  <a:pt x="100834" y="1223946"/>
                  <a:pt x="86554" y="1223022"/>
                  <a:pt x="72642" y="1220237"/>
                </a:cubicBezTo>
                <a:cubicBezTo>
                  <a:pt x="51920" y="1216091"/>
                  <a:pt x="31443" y="1210723"/>
                  <a:pt x="10894" y="1205737"/>
                </a:cubicBezTo>
                <a:cubicBezTo>
                  <a:pt x="9027" y="1205284"/>
                  <a:pt x="6196" y="1204140"/>
                  <a:pt x="5856" y="1202799"/>
                </a:cubicBezTo>
                <a:cubicBezTo>
                  <a:pt x="3474" y="1193418"/>
                  <a:pt x="-438" y="1183796"/>
                  <a:pt x="40" y="1174450"/>
                </a:cubicBezTo>
                <a:cubicBezTo>
                  <a:pt x="1079" y="1154149"/>
                  <a:pt x="9757" y="1135843"/>
                  <a:pt x="19831" y="1118410"/>
                </a:cubicBezTo>
                <a:cubicBezTo>
                  <a:pt x="21968" y="1114713"/>
                  <a:pt x="22970" y="1111858"/>
                  <a:pt x="22004" y="1107240"/>
                </a:cubicBezTo>
                <a:cubicBezTo>
                  <a:pt x="17168" y="1084118"/>
                  <a:pt x="17717" y="1061168"/>
                  <a:pt x="25947" y="1038650"/>
                </a:cubicBezTo>
                <a:cubicBezTo>
                  <a:pt x="32954" y="1019481"/>
                  <a:pt x="44478" y="1003118"/>
                  <a:pt x="58234" y="988567"/>
                </a:cubicBezTo>
                <a:cubicBezTo>
                  <a:pt x="77769" y="967902"/>
                  <a:pt x="97978" y="947832"/>
                  <a:pt x="118645" y="928298"/>
                </a:cubicBezTo>
                <a:cubicBezTo>
                  <a:pt x="130104" y="917467"/>
                  <a:pt x="131835" y="905961"/>
                  <a:pt x="126320" y="892015"/>
                </a:cubicBezTo>
                <a:cubicBezTo>
                  <a:pt x="123798" y="885637"/>
                  <a:pt x="122123" y="878904"/>
                  <a:pt x="120345" y="872258"/>
                </a:cubicBezTo>
                <a:cubicBezTo>
                  <a:pt x="119029" y="867341"/>
                  <a:pt x="120162" y="863613"/>
                  <a:pt x="125668" y="861640"/>
                </a:cubicBezTo>
                <a:cubicBezTo>
                  <a:pt x="135266" y="858201"/>
                  <a:pt x="144535" y="853788"/>
                  <a:pt x="154237" y="850716"/>
                </a:cubicBezTo>
                <a:cubicBezTo>
                  <a:pt x="161882" y="848296"/>
                  <a:pt x="167110" y="843897"/>
                  <a:pt x="170248" y="836767"/>
                </a:cubicBezTo>
                <a:cubicBezTo>
                  <a:pt x="176168" y="823316"/>
                  <a:pt x="182193" y="809907"/>
                  <a:pt x="187840" y="796341"/>
                </a:cubicBezTo>
                <a:cubicBezTo>
                  <a:pt x="195194" y="778679"/>
                  <a:pt x="202250" y="760894"/>
                  <a:pt x="209346" y="743126"/>
                </a:cubicBezTo>
                <a:cubicBezTo>
                  <a:pt x="210083" y="741280"/>
                  <a:pt x="210252" y="739200"/>
                  <a:pt x="210630" y="737219"/>
                </a:cubicBezTo>
                <a:cubicBezTo>
                  <a:pt x="211694" y="731645"/>
                  <a:pt x="212425" y="725987"/>
                  <a:pt x="213836" y="720505"/>
                </a:cubicBezTo>
                <a:cubicBezTo>
                  <a:pt x="218406" y="702764"/>
                  <a:pt x="223811" y="685219"/>
                  <a:pt x="227791" y="667353"/>
                </a:cubicBezTo>
                <a:cubicBezTo>
                  <a:pt x="232826" y="644755"/>
                  <a:pt x="237367" y="622009"/>
                  <a:pt x="241013" y="599151"/>
                </a:cubicBezTo>
                <a:cubicBezTo>
                  <a:pt x="244018" y="580319"/>
                  <a:pt x="246001" y="561272"/>
                  <a:pt x="247322" y="542242"/>
                </a:cubicBezTo>
                <a:cubicBezTo>
                  <a:pt x="248312" y="527975"/>
                  <a:pt x="246344" y="513451"/>
                  <a:pt x="247948" y="499296"/>
                </a:cubicBezTo>
                <a:cubicBezTo>
                  <a:pt x="249066" y="489432"/>
                  <a:pt x="247923" y="480014"/>
                  <a:pt x="247577" y="470384"/>
                </a:cubicBezTo>
                <a:cubicBezTo>
                  <a:pt x="247364" y="464453"/>
                  <a:pt x="245121" y="461397"/>
                  <a:pt x="238877" y="460987"/>
                </a:cubicBezTo>
                <a:cubicBezTo>
                  <a:pt x="233224" y="460615"/>
                  <a:pt x="227461" y="459920"/>
                  <a:pt x="222040" y="458353"/>
                </a:cubicBezTo>
                <a:cubicBezTo>
                  <a:pt x="203991" y="453134"/>
                  <a:pt x="185737" y="448229"/>
                  <a:pt x="172193" y="433714"/>
                </a:cubicBezTo>
                <a:cubicBezTo>
                  <a:pt x="162702" y="423544"/>
                  <a:pt x="160887" y="408134"/>
                  <a:pt x="168410" y="396591"/>
                </a:cubicBezTo>
                <a:cubicBezTo>
                  <a:pt x="178294" y="381428"/>
                  <a:pt x="193736" y="373793"/>
                  <a:pt x="209826" y="367773"/>
                </a:cubicBezTo>
                <a:cubicBezTo>
                  <a:pt x="223159" y="362784"/>
                  <a:pt x="237124" y="359493"/>
                  <a:pt x="250732" y="355208"/>
                </a:cubicBezTo>
                <a:cubicBezTo>
                  <a:pt x="253085" y="354467"/>
                  <a:pt x="255058" y="352518"/>
                  <a:pt x="258289" y="350426"/>
                </a:cubicBezTo>
                <a:cubicBezTo>
                  <a:pt x="250173" y="342610"/>
                  <a:pt x="241833" y="337880"/>
                  <a:pt x="233274" y="333513"/>
                </a:cubicBezTo>
                <a:cubicBezTo>
                  <a:pt x="232377" y="333055"/>
                  <a:pt x="230890" y="333758"/>
                  <a:pt x="229677" y="333922"/>
                </a:cubicBezTo>
                <a:cubicBezTo>
                  <a:pt x="229677" y="333922"/>
                  <a:pt x="230323" y="333834"/>
                  <a:pt x="230149" y="332979"/>
                </a:cubicBezTo>
                <a:cubicBezTo>
                  <a:pt x="229023" y="330409"/>
                  <a:pt x="228502" y="328059"/>
                  <a:pt x="227053" y="327076"/>
                </a:cubicBezTo>
                <a:cubicBezTo>
                  <a:pt x="213615" y="317962"/>
                  <a:pt x="204643" y="305332"/>
                  <a:pt x="196769" y="291380"/>
                </a:cubicBezTo>
                <a:cubicBezTo>
                  <a:pt x="191792" y="282564"/>
                  <a:pt x="185421" y="274665"/>
                  <a:pt x="184389" y="264042"/>
                </a:cubicBezTo>
                <a:cubicBezTo>
                  <a:pt x="184179" y="261874"/>
                  <a:pt x="181925" y="259908"/>
                  <a:pt x="180630" y="257839"/>
                </a:cubicBezTo>
                <a:cubicBezTo>
                  <a:pt x="179137" y="255454"/>
                  <a:pt x="177317" y="253204"/>
                  <a:pt x="176231" y="250643"/>
                </a:cubicBezTo>
                <a:cubicBezTo>
                  <a:pt x="161865" y="216749"/>
                  <a:pt x="159606" y="182060"/>
                  <a:pt x="170073" y="146723"/>
                </a:cubicBezTo>
                <a:cubicBezTo>
                  <a:pt x="173311" y="135795"/>
                  <a:pt x="177248" y="125074"/>
                  <a:pt x="180929" y="114280"/>
                </a:cubicBezTo>
                <a:cubicBezTo>
                  <a:pt x="182396" y="109981"/>
                  <a:pt x="183922" y="105742"/>
                  <a:pt x="180839" y="101501"/>
                </a:cubicBezTo>
                <a:cubicBezTo>
                  <a:pt x="192473" y="75833"/>
                  <a:pt x="211344" y="56271"/>
                  <a:pt x="233536" y="39653"/>
                </a:cubicBezTo>
                <a:cubicBezTo>
                  <a:pt x="267321" y="14353"/>
                  <a:pt x="305621" y="873"/>
                  <a:pt x="347618" y="35"/>
                </a:cubicBezTo>
                <a:cubicBezTo>
                  <a:pt x="379125" y="-593"/>
                  <a:pt x="409214" y="7172"/>
                  <a:pt x="437139" y="22396"/>
                </a:cubicBezTo>
                <a:cubicBezTo>
                  <a:pt x="481844" y="46766"/>
                  <a:pt x="514077" y="82116"/>
                  <a:pt x="529052" y="131093"/>
                </a:cubicBezTo>
                <a:cubicBezTo>
                  <a:pt x="543544" y="178495"/>
                  <a:pt x="541630" y="225548"/>
                  <a:pt x="518497" y="271517"/>
                </a:cubicBezTo>
                <a:cubicBezTo>
                  <a:pt x="511428" y="277096"/>
                  <a:pt x="503848" y="281136"/>
                  <a:pt x="500808" y="287385"/>
                </a:cubicBezTo>
                <a:cubicBezTo>
                  <a:pt x="493932" y="301522"/>
                  <a:pt x="483805" y="312513"/>
                  <a:pt x="472948" y="323290"/>
                </a:cubicBezTo>
                <a:cubicBezTo>
                  <a:pt x="470972" y="325253"/>
                  <a:pt x="470533" y="328767"/>
                  <a:pt x="469385" y="331565"/>
                </a:cubicBezTo>
                <a:cubicBezTo>
                  <a:pt x="469385" y="331565"/>
                  <a:pt x="469172" y="331584"/>
                  <a:pt x="468293" y="331320"/>
                </a:cubicBezTo>
                <a:cubicBezTo>
                  <a:pt x="461937" y="330836"/>
                  <a:pt x="458618" y="332772"/>
                  <a:pt x="459542" y="338942"/>
                </a:cubicBezTo>
                <a:cubicBezTo>
                  <a:pt x="459542" y="338942"/>
                  <a:pt x="459473" y="338913"/>
                  <a:pt x="458492" y="338671"/>
                </a:cubicBezTo>
                <a:cubicBezTo>
                  <a:pt x="450936" y="342653"/>
                  <a:pt x="440712" y="341355"/>
                  <a:pt x="436978" y="352226"/>
                </a:cubicBezTo>
                <a:cubicBezTo>
                  <a:pt x="449178" y="355911"/>
                  <a:pt x="460733" y="359469"/>
                  <a:pt x="472329" y="362890"/>
                </a:cubicBezTo>
                <a:cubicBezTo>
                  <a:pt x="491728" y="368613"/>
                  <a:pt x="510182" y="375784"/>
                  <a:pt x="523779" y="391962"/>
                </a:cubicBezTo>
                <a:cubicBezTo>
                  <a:pt x="535849" y="406326"/>
                  <a:pt x="534845" y="420076"/>
                  <a:pt x="527344" y="430096"/>
                </a:cubicBezTo>
                <a:cubicBezTo>
                  <a:pt x="521323" y="438139"/>
                  <a:pt x="513928" y="445333"/>
                  <a:pt x="504112" y="449628"/>
                </a:cubicBezTo>
                <a:cubicBezTo>
                  <a:pt x="489776" y="455901"/>
                  <a:pt x="475173" y="460486"/>
                  <a:pt x="459430" y="461116"/>
                </a:cubicBezTo>
                <a:cubicBezTo>
                  <a:pt x="448415" y="461557"/>
                  <a:pt x="446384" y="463369"/>
                  <a:pt x="446666" y="474229"/>
                </a:cubicBezTo>
                <a:cubicBezTo>
                  <a:pt x="447164" y="493376"/>
                  <a:pt x="447839" y="512533"/>
                  <a:pt x="449133" y="531639"/>
                </a:cubicBezTo>
                <a:cubicBezTo>
                  <a:pt x="450424" y="550696"/>
                  <a:pt x="451783" y="569809"/>
                  <a:pt x="454546" y="588688"/>
                </a:cubicBezTo>
                <a:cubicBezTo>
                  <a:pt x="457543" y="609164"/>
                  <a:pt x="462165" y="629403"/>
                  <a:pt x="466126" y="649736"/>
                </a:cubicBezTo>
                <a:cubicBezTo>
                  <a:pt x="475845" y="699621"/>
                  <a:pt x="493414" y="746980"/>
                  <a:pt x="512154" y="794006"/>
                </a:cubicBezTo>
                <a:cubicBezTo>
                  <a:pt x="517387" y="807138"/>
                  <a:pt x="525145" y="819463"/>
                  <a:pt x="525763" y="834323"/>
                </a:cubicBezTo>
                <a:cubicBezTo>
                  <a:pt x="525919" y="838081"/>
                  <a:pt x="527739" y="843335"/>
                  <a:pt x="530555" y="845114"/>
                </a:cubicBezTo>
                <a:cubicBezTo>
                  <a:pt x="537981" y="849801"/>
                  <a:pt x="546243" y="853278"/>
                  <a:pt x="554424" y="856618"/>
                </a:cubicBezTo>
                <a:cubicBezTo>
                  <a:pt x="560391" y="859054"/>
                  <a:pt x="567041" y="859887"/>
                  <a:pt x="572880" y="862546"/>
                </a:cubicBezTo>
                <a:cubicBezTo>
                  <a:pt x="581470" y="866458"/>
                  <a:pt x="582467" y="871415"/>
                  <a:pt x="578643" y="880396"/>
                </a:cubicBezTo>
                <a:cubicBezTo>
                  <a:pt x="575969" y="886677"/>
                  <a:pt x="572900" y="893182"/>
                  <a:pt x="572188" y="899820"/>
                </a:cubicBezTo>
                <a:cubicBezTo>
                  <a:pt x="570960" y="911271"/>
                  <a:pt x="576506" y="920944"/>
                  <a:pt x="582698" y="930382"/>
                </a:cubicBezTo>
                <a:cubicBezTo>
                  <a:pt x="589569" y="940856"/>
                  <a:pt x="600933" y="947930"/>
                  <a:pt x="604747" y="960852"/>
                </a:cubicBezTo>
                <a:cubicBezTo>
                  <a:pt x="605684" y="964030"/>
                  <a:pt x="610294" y="967128"/>
                  <a:pt x="613863" y="968311"/>
                </a:cubicBezTo>
                <a:cubicBezTo>
                  <a:pt x="620963" y="970665"/>
                  <a:pt x="625924" y="974774"/>
                  <a:pt x="629435" y="981186"/>
                </a:cubicBezTo>
                <a:cubicBezTo>
                  <a:pt x="630381" y="982913"/>
                  <a:pt x="631977" y="984459"/>
                  <a:pt x="633611" y="985609"/>
                </a:cubicBezTo>
                <a:cubicBezTo>
                  <a:pt x="655878" y="1001272"/>
                  <a:pt x="668032" y="1023762"/>
                  <a:pt x="673790" y="1049348"/>
                </a:cubicBezTo>
                <a:cubicBezTo>
                  <a:pt x="676936" y="1063327"/>
                  <a:pt x="679769" y="1077802"/>
                  <a:pt x="675873" y="1092839"/>
                </a:cubicBezTo>
                <a:cubicBezTo>
                  <a:pt x="672677" y="1105174"/>
                  <a:pt x="673042" y="1116963"/>
                  <a:pt x="681668" y="1129292"/>
                </a:cubicBezTo>
                <a:cubicBezTo>
                  <a:pt x="695321" y="1148802"/>
                  <a:pt x="698550" y="1172235"/>
                  <a:pt x="697338" y="1196079"/>
                </a:cubicBezTo>
                <a:cubicBezTo>
                  <a:pt x="697087" y="1201014"/>
                  <a:pt x="694979" y="1203886"/>
                  <a:pt x="690637" y="1205035"/>
                </a:cubicBezTo>
                <a:cubicBezTo>
                  <a:pt x="673723" y="1209511"/>
                  <a:pt x="656856" y="1214241"/>
                  <a:pt x="639777" y="1217994"/>
                </a:cubicBezTo>
                <a:cubicBezTo>
                  <a:pt x="622334" y="1221827"/>
                  <a:pt x="604691" y="1224790"/>
                  <a:pt x="587072" y="1227761"/>
                </a:cubicBezTo>
                <a:cubicBezTo>
                  <a:pt x="582708" y="1228497"/>
                  <a:pt x="581724" y="1230736"/>
                  <a:pt x="581793" y="1234401"/>
                </a:cubicBezTo>
                <a:moveTo>
                  <a:pt x="357446" y="903795"/>
                </a:moveTo>
                <a:cubicBezTo>
                  <a:pt x="353141" y="903795"/>
                  <a:pt x="348835" y="903795"/>
                  <a:pt x="344445" y="903795"/>
                </a:cubicBezTo>
                <a:cubicBezTo>
                  <a:pt x="346169" y="920562"/>
                  <a:pt x="347908" y="935520"/>
                  <a:pt x="349212" y="950515"/>
                </a:cubicBezTo>
                <a:cubicBezTo>
                  <a:pt x="352656" y="990125"/>
                  <a:pt x="351941" y="1029743"/>
                  <a:pt x="349538" y="1069392"/>
                </a:cubicBezTo>
                <a:cubicBezTo>
                  <a:pt x="348759" y="1082241"/>
                  <a:pt x="349415" y="1095176"/>
                  <a:pt x="349415" y="1108925"/>
                </a:cubicBezTo>
                <a:cubicBezTo>
                  <a:pt x="449467" y="1111953"/>
                  <a:pt x="548509" y="1104712"/>
                  <a:pt x="647726" y="1089872"/>
                </a:cubicBezTo>
                <a:cubicBezTo>
                  <a:pt x="647726" y="1084313"/>
                  <a:pt x="648180" y="1080225"/>
                  <a:pt x="647654" y="1076267"/>
                </a:cubicBezTo>
                <a:cubicBezTo>
                  <a:pt x="643515" y="1045124"/>
                  <a:pt x="633172" y="1016714"/>
                  <a:pt x="610267" y="994126"/>
                </a:cubicBezTo>
                <a:cubicBezTo>
                  <a:pt x="597451" y="981485"/>
                  <a:pt x="584392" y="969090"/>
                  <a:pt x="571459" y="956568"/>
                </a:cubicBezTo>
                <a:cubicBezTo>
                  <a:pt x="555751" y="941359"/>
                  <a:pt x="544836" y="923558"/>
                  <a:pt x="541653" y="901544"/>
                </a:cubicBezTo>
                <a:cubicBezTo>
                  <a:pt x="541430" y="900007"/>
                  <a:pt x="540528" y="898570"/>
                  <a:pt x="539477" y="895908"/>
                </a:cubicBezTo>
                <a:cubicBezTo>
                  <a:pt x="479736" y="901652"/>
                  <a:pt x="419815" y="904536"/>
                  <a:pt x="357446" y="903795"/>
                </a:cubicBezTo>
                <a:moveTo>
                  <a:pt x="300108" y="85260"/>
                </a:moveTo>
                <a:cubicBezTo>
                  <a:pt x="293656" y="98745"/>
                  <a:pt x="289202" y="113094"/>
                  <a:pt x="290213" y="127888"/>
                </a:cubicBezTo>
                <a:cubicBezTo>
                  <a:pt x="292527" y="161736"/>
                  <a:pt x="304185" y="191723"/>
                  <a:pt x="331056" y="214168"/>
                </a:cubicBezTo>
                <a:cubicBezTo>
                  <a:pt x="358172" y="236816"/>
                  <a:pt x="388435" y="249934"/>
                  <a:pt x="424717" y="245160"/>
                </a:cubicBezTo>
                <a:cubicBezTo>
                  <a:pt x="468593" y="239387"/>
                  <a:pt x="509574" y="203365"/>
                  <a:pt x="496752" y="141256"/>
                </a:cubicBezTo>
                <a:cubicBezTo>
                  <a:pt x="487021" y="94124"/>
                  <a:pt x="447261" y="51874"/>
                  <a:pt x="390320" y="43995"/>
                </a:cubicBezTo>
                <a:cubicBezTo>
                  <a:pt x="353241" y="38865"/>
                  <a:pt x="321136" y="48750"/>
                  <a:pt x="300108" y="85260"/>
                </a:cubicBezTo>
                <a:moveTo>
                  <a:pt x="343360" y="634332"/>
                </a:moveTo>
                <a:cubicBezTo>
                  <a:pt x="342539" y="666975"/>
                  <a:pt x="341785" y="699619"/>
                  <a:pt x="340877" y="732259"/>
                </a:cubicBezTo>
                <a:cubicBezTo>
                  <a:pt x="340151" y="758355"/>
                  <a:pt x="339265" y="784447"/>
                  <a:pt x="338360" y="810538"/>
                </a:cubicBezTo>
                <a:cubicBezTo>
                  <a:pt x="338277" y="812948"/>
                  <a:pt x="337465" y="815325"/>
                  <a:pt x="337115" y="817736"/>
                </a:cubicBezTo>
                <a:cubicBezTo>
                  <a:pt x="334935" y="832710"/>
                  <a:pt x="336026" y="847647"/>
                  <a:pt x="336516" y="863022"/>
                </a:cubicBezTo>
                <a:cubicBezTo>
                  <a:pt x="339537" y="863479"/>
                  <a:pt x="341490" y="864053"/>
                  <a:pt x="343436" y="864027"/>
                </a:cubicBezTo>
                <a:cubicBezTo>
                  <a:pt x="364531" y="863739"/>
                  <a:pt x="385626" y="863422"/>
                  <a:pt x="406718" y="862982"/>
                </a:cubicBezTo>
                <a:cubicBezTo>
                  <a:pt x="423444" y="862634"/>
                  <a:pt x="440168" y="861675"/>
                  <a:pt x="456888" y="861794"/>
                </a:cubicBezTo>
                <a:cubicBezTo>
                  <a:pt x="469887" y="861886"/>
                  <a:pt x="482872" y="863302"/>
                  <a:pt x="495873" y="863963"/>
                </a:cubicBezTo>
                <a:cubicBezTo>
                  <a:pt x="500358" y="864191"/>
                  <a:pt x="505108" y="864773"/>
                  <a:pt x="509286" y="863595"/>
                </a:cubicBezTo>
                <a:cubicBezTo>
                  <a:pt x="512346" y="862732"/>
                  <a:pt x="515714" y="859703"/>
                  <a:pt x="516956" y="856791"/>
                </a:cubicBezTo>
                <a:cubicBezTo>
                  <a:pt x="517783" y="854851"/>
                  <a:pt x="515475" y="851192"/>
                  <a:pt x="513920" y="848709"/>
                </a:cubicBezTo>
                <a:cubicBezTo>
                  <a:pt x="511791" y="845308"/>
                  <a:pt x="508393" y="842606"/>
                  <a:pt x="506683" y="839054"/>
                </a:cubicBezTo>
                <a:cubicBezTo>
                  <a:pt x="500331" y="825864"/>
                  <a:pt x="493224" y="812855"/>
                  <a:pt x="488629" y="799037"/>
                </a:cubicBezTo>
                <a:cubicBezTo>
                  <a:pt x="477322" y="765031"/>
                  <a:pt x="466537" y="730814"/>
                  <a:pt x="456922" y="696297"/>
                </a:cubicBezTo>
                <a:cubicBezTo>
                  <a:pt x="449953" y="671276"/>
                  <a:pt x="443477" y="646020"/>
                  <a:pt x="441346" y="619885"/>
                </a:cubicBezTo>
                <a:cubicBezTo>
                  <a:pt x="440327" y="607371"/>
                  <a:pt x="437466" y="595018"/>
                  <a:pt x="435963" y="582529"/>
                </a:cubicBezTo>
                <a:cubicBezTo>
                  <a:pt x="433539" y="562380"/>
                  <a:pt x="431154" y="542212"/>
                  <a:pt x="429497" y="521990"/>
                </a:cubicBezTo>
                <a:cubicBezTo>
                  <a:pt x="428135" y="505363"/>
                  <a:pt x="428437" y="488593"/>
                  <a:pt x="426887" y="471989"/>
                </a:cubicBezTo>
                <a:cubicBezTo>
                  <a:pt x="425874" y="461140"/>
                  <a:pt x="424983" y="461120"/>
                  <a:pt x="413744" y="461077"/>
                </a:cubicBezTo>
                <a:cubicBezTo>
                  <a:pt x="393687" y="461000"/>
                  <a:pt x="373630" y="461011"/>
                  <a:pt x="353573" y="461120"/>
                </a:cubicBezTo>
                <a:cubicBezTo>
                  <a:pt x="350472" y="461137"/>
                  <a:pt x="347374" y="461869"/>
                  <a:pt x="344160" y="462286"/>
                </a:cubicBezTo>
                <a:cubicBezTo>
                  <a:pt x="343828" y="465198"/>
                  <a:pt x="343406" y="467195"/>
                  <a:pt x="343404" y="469192"/>
                </a:cubicBezTo>
                <a:cubicBezTo>
                  <a:pt x="343360" y="504394"/>
                  <a:pt x="343267" y="539596"/>
                  <a:pt x="343469" y="574797"/>
                </a:cubicBezTo>
                <a:cubicBezTo>
                  <a:pt x="343501" y="580426"/>
                  <a:pt x="345652" y="586065"/>
                  <a:pt x="345522" y="591669"/>
                </a:cubicBezTo>
                <a:cubicBezTo>
                  <a:pt x="345214" y="605082"/>
                  <a:pt x="344131" y="618478"/>
                  <a:pt x="343360" y="634332"/>
                </a:cubicBezTo>
                <a:moveTo>
                  <a:pt x="416946" y="385943"/>
                </a:moveTo>
                <a:cubicBezTo>
                  <a:pt x="411661" y="386365"/>
                  <a:pt x="406384" y="387006"/>
                  <a:pt x="401091" y="387162"/>
                </a:cubicBezTo>
                <a:cubicBezTo>
                  <a:pt x="390470" y="387477"/>
                  <a:pt x="379841" y="387447"/>
                  <a:pt x="369218" y="387708"/>
                </a:cubicBezTo>
                <a:cubicBezTo>
                  <a:pt x="361167" y="387906"/>
                  <a:pt x="354429" y="391368"/>
                  <a:pt x="351833" y="398991"/>
                </a:cubicBezTo>
                <a:cubicBezTo>
                  <a:pt x="348989" y="407342"/>
                  <a:pt x="347050" y="416214"/>
                  <a:pt x="349778" y="426021"/>
                </a:cubicBezTo>
                <a:cubicBezTo>
                  <a:pt x="353876" y="426204"/>
                  <a:pt x="357857" y="426517"/>
                  <a:pt x="361839" y="426538"/>
                </a:cubicBezTo>
                <a:cubicBezTo>
                  <a:pt x="392900" y="426701"/>
                  <a:pt x="423961" y="426826"/>
                  <a:pt x="455022" y="426922"/>
                </a:cubicBezTo>
                <a:cubicBezTo>
                  <a:pt x="464013" y="426950"/>
                  <a:pt x="473106" y="427654"/>
                  <a:pt x="481958" y="426527"/>
                </a:cubicBezTo>
                <a:cubicBezTo>
                  <a:pt x="488144" y="425740"/>
                  <a:pt x="494821" y="423501"/>
                  <a:pt x="499817" y="419888"/>
                </a:cubicBezTo>
                <a:cubicBezTo>
                  <a:pt x="507869" y="414066"/>
                  <a:pt x="507286" y="406755"/>
                  <a:pt x="499439" y="400719"/>
                </a:cubicBezTo>
                <a:cubicBezTo>
                  <a:pt x="490179" y="393597"/>
                  <a:pt x="479486" y="388885"/>
                  <a:pt x="468062" y="387775"/>
                </a:cubicBezTo>
                <a:cubicBezTo>
                  <a:pt x="451873" y="386202"/>
                  <a:pt x="435520" y="386321"/>
                  <a:pt x="416946" y="385943"/>
                </a:cubicBezTo>
                <a:moveTo>
                  <a:pt x="636802" y="1190940"/>
                </a:moveTo>
                <a:cubicBezTo>
                  <a:pt x="646709" y="1188723"/>
                  <a:pt x="656705" y="1186841"/>
                  <a:pt x="666492" y="1184186"/>
                </a:cubicBezTo>
                <a:cubicBezTo>
                  <a:pt x="674710" y="1181958"/>
                  <a:pt x="676989" y="1178509"/>
                  <a:pt x="674465" y="1170880"/>
                </a:cubicBezTo>
                <a:cubicBezTo>
                  <a:pt x="671144" y="1160843"/>
                  <a:pt x="667026" y="1151009"/>
                  <a:pt x="662462" y="1141464"/>
                </a:cubicBezTo>
                <a:cubicBezTo>
                  <a:pt x="659273" y="1134795"/>
                  <a:pt x="653671" y="1130908"/>
                  <a:pt x="645564" y="1131937"/>
                </a:cubicBezTo>
                <a:cubicBezTo>
                  <a:pt x="639532" y="1132703"/>
                  <a:pt x="633423" y="1132867"/>
                  <a:pt x="627387" y="1133618"/>
                </a:cubicBezTo>
                <a:cubicBezTo>
                  <a:pt x="612888" y="1135421"/>
                  <a:pt x="598449" y="1137770"/>
                  <a:pt x="583917" y="1139222"/>
                </a:cubicBezTo>
                <a:cubicBezTo>
                  <a:pt x="570571" y="1140557"/>
                  <a:pt x="557130" y="1140930"/>
                  <a:pt x="543741" y="1141869"/>
                </a:cubicBezTo>
                <a:cubicBezTo>
                  <a:pt x="533202" y="1142610"/>
                  <a:pt x="522682" y="1143623"/>
                  <a:pt x="512146" y="1144418"/>
                </a:cubicBezTo>
                <a:cubicBezTo>
                  <a:pt x="490671" y="1146038"/>
                  <a:pt x="469214" y="1148450"/>
                  <a:pt x="447711" y="1148973"/>
                </a:cubicBezTo>
                <a:cubicBezTo>
                  <a:pt x="415817" y="1149749"/>
                  <a:pt x="383891" y="1149136"/>
                  <a:pt x="351979" y="1149200"/>
                </a:cubicBezTo>
                <a:cubicBezTo>
                  <a:pt x="347698" y="1149209"/>
                  <a:pt x="343419" y="1149717"/>
                  <a:pt x="338443" y="1150040"/>
                </a:cubicBezTo>
                <a:cubicBezTo>
                  <a:pt x="338443" y="1164651"/>
                  <a:pt x="338413" y="1177715"/>
                  <a:pt x="338451" y="1190780"/>
                </a:cubicBezTo>
                <a:cubicBezTo>
                  <a:pt x="338490" y="1204031"/>
                  <a:pt x="338512" y="1204062"/>
                  <a:pt x="351082" y="1207015"/>
                </a:cubicBezTo>
                <a:cubicBezTo>
                  <a:pt x="353445" y="1207570"/>
                  <a:pt x="355895" y="1208128"/>
                  <a:pt x="358298" y="1208094"/>
                </a:cubicBezTo>
                <a:cubicBezTo>
                  <a:pt x="412608" y="1207329"/>
                  <a:pt x="466919" y="1206484"/>
                  <a:pt x="521229" y="1205646"/>
                </a:cubicBezTo>
                <a:cubicBezTo>
                  <a:pt x="522045" y="1205634"/>
                  <a:pt x="522865" y="1205591"/>
                  <a:pt x="523675" y="1205490"/>
                </a:cubicBezTo>
                <a:cubicBezTo>
                  <a:pt x="542593" y="1203123"/>
                  <a:pt x="561519" y="1200820"/>
                  <a:pt x="580423" y="1198350"/>
                </a:cubicBezTo>
                <a:cubicBezTo>
                  <a:pt x="598523" y="1195985"/>
                  <a:pt x="616599" y="1193446"/>
                  <a:pt x="636802" y="1190940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1227" cap="flat">
            <a:solidFill>
              <a:srgbClr val="CDD9DF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5" name="Free-form: Shape 344">
            <a:extLst>
              <a:ext uri="{FF2B5EF4-FFF2-40B4-BE49-F238E27FC236}">
                <a16:creationId xmlns:a16="http://schemas.microsoft.com/office/drawing/2014/main" id="{DB86148A-BD0A-FC7D-CE3E-617A4E8F7678}"/>
              </a:ext>
            </a:extLst>
          </p:cNvPr>
          <p:cNvSpPr/>
          <p:nvPr/>
        </p:nvSpPr>
        <p:spPr>
          <a:xfrm>
            <a:off x="9556129" y="4735324"/>
            <a:ext cx="18902" cy="1998"/>
          </a:xfrm>
          <a:custGeom>
            <a:avLst/>
            <a:gdLst>
              <a:gd name="csX0" fmla="*/ 0 w 27674"/>
              <a:gd name="csY0" fmla="*/ 2915 h 2925"/>
              <a:gd name="csX1" fmla="*/ 27675 w 27674"/>
              <a:gd name="csY1" fmla="*/ 1550 h 2925"/>
              <a:gd name="csX2" fmla="*/ 0 w 27674"/>
              <a:gd name="csY2" fmla="*/ 2915 h 292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27674" h="2925">
                <a:moveTo>
                  <a:pt x="0" y="2915"/>
                </a:moveTo>
                <a:cubicBezTo>
                  <a:pt x="8211" y="-1939"/>
                  <a:pt x="17625" y="498"/>
                  <a:pt x="27675" y="1550"/>
                </a:cubicBezTo>
                <a:cubicBezTo>
                  <a:pt x="19225" y="2593"/>
                  <a:pt x="10029" y="2999"/>
                  <a:pt x="0" y="2915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6" name="Free-form: Shape 345">
            <a:extLst>
              <a:ext uri="{FF2B5EF4-FFF2-40B4-BE49-F238E27FC236}">
                <a16:creationId xmlns:a16="http://schemas.microsoft.com/office/drawing/2014/main" id="{5F6B6ABC-6424-B618-F96C-B02C0B17254E}"/>
              </a:ext>
            </a:extLst>
          </p:cNvPr>
          <p:cNvSpPr/>
          <p:nvPr/>
        </p:nvSpPr>
        <p:spPr>
          <a:xfrm>
            <a:off x="9504094" y="4736450"/>
            <a:ext cx="12297" cy="770"/>
          </a:xfrm>
          <a:custGeom>
            <a:avLst/>
            <a:gdLst>
              <a:gd name="csX0" fmla="*/ 0 w 18003"/>
              <a:gd name="csY0" fmla="*/ 1050 h 1128"/>
              <a:gd name="csX1" fmla="*/ 18004 w 18003"/>
              <a:gd name="csY1" fmla="*/ 93 h 1128"/>
              <a:gd name="csX2" fmla="*/ 0 w 18003"/>
              <a:gd name="csY2" fmla="*/ 1050 h 112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8003" h="1128">
                <a:moveTo>
                  <a:pt x="0" y="1050"/>
                </a:moveTo>
                <a:cubicBezTo>
                  <a:pt x="5276" y="182"/>
                  <a:pt x="11306" y="-189"/>
                  <a:pt x="18004" y="93"/>
                </a:cubicBezTo>
                <a:cubicBezTo>
                  <a:pt x="12699" y="1013"/>
                  <a:pt x="6726" y="1280"/>
                  <a:pt x="0" y="1050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7" name="Free-form: Shape 346">
            <a:extLst>
              <a:ext uri="{FF2B5EF4-FFF2-40B4-BE49-F238E27FC236}">
                <a16:creationId xmlns:a16="http://schemas.microsoft.com/office/drawing/2014/main" id="{89B3359E-682A-2103-04B3-E4DBB55E9BC1}"/>
              </a:ext>
            </a:extLst>
          </p:cNvPr>
          <p:cNvSpPr/>
          <p:nvPr/>
        </p:nvSpPr>
        <p:spPr>
          <a:xfrm>
            <a:off x="9593159" y="4112970"/>
            <a:ext cx="5783" cy="5354"/>
          </a:xfrm>
          <a:custGeom>
            <a:avLst/>
            <a:gdLst>
              <a:gd name="csX0" fmla="*/ 473 w 8466"/>
              <a:gd name="csY0" fmla="*/ 7839 h 7838"/>
              <a:gd name="csX1" fmla="*/ 8466 w 8466"/>
              <a:gd name="csY1" fmla="*/ 61 h 7838"/>
              <a:gd name="csX2" fmla="*/ 473 w 8466"/>
              <a:gd name="csY2" fmla="*/ 7839 h 783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66" h="7838">
                <a:moveTo>
                  <a:pt x="473" y="7839"/>
                </a:moveTo>
                <a:cubicBezTo>
                  <a:pt x="-1298" y="1550"/>
                  <a:pt x="2020" y="-386"/>
                  <a:pt x="8466" y="61"/>
                </a:cubicBezTo>
                <a:cubicBezTo>
                  <a:pt x="6730" y="2845"/>
                  <a:pt x="4026" y="5401"/>
                  <a:pt x="473" y="7839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8" name="Free-form: Shape 347">
            <a:extLst>
              <a:ext uri="{FF2B5EF4-FFF2-40B4-BE49-F238E27FC236}">
                <a16:creationId xmlns:a16="http://schemas.microsoft.com/office/drawing/2014/main" id="{08ECD333-060E-88CC-AF00-1EE2DB67E2A1}"/>
              </a:ext>
            </a:extLst>
          </p:cNvPr>
          <p:cNvSpPr/>
          <p:nvPr/>
        </p:nvSpPr>
        <p:spPr>
          <a:xfrm>
            <a:off x="9443563" y="4734784"/>
            <a:ext cx="5792" cy="680"/>
          </a:xfrm>
          <a:custGeom>
            <a:avLst/>
            <a:gdLst>
              <a:gd name="csX0" fmla="*/ 0 w 8480"/>
              <a:gd name="csY0" fmla="*/ 896 h 996"/>
              <a:gd name="csX1" fmla="*/ 8480 w 8480"/>
              <a:gd name="csY1" fmla="*/ 110 h 996"/>
              <a:gd name="csX2" fmla="*/ 0 w 8480"/>
              <a:gd name="csY2" fmla="*/ 896 h 99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80" h="996">
                <a:moveTo>
                  <a:pt x="0" y="896"/>
                </a:moveTo>
                <a:cubicBezTo>
                  <a:pt x="2285" y="115"/>
                  <a:pt x="5130" y="-182"/>
                  <a:pt x="8480" y="110"/>
                </a:cubicBezTo>
                <a:cubicBezTo>
                  <a:pt x="6177" y="927"/>
                  <a:pt x="3368" y="1153"/>
                  <a:pt x="0" y="896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9" name="Free-form: Shape 348">
            <a:extLst>
              <a:ext uri="{FF2B5EF4-FFF2-40B4-BE49-F238E27FC236}">
                <a16:creationId xmlns:a16="http://schemas.microsoft.com/office/drawing/2014/main" id="{3B8943E5-6211-DF64-2C5F-26FBB9047FBC}"/>
              </a:ext>
            </a:extLst>
          </p:cNvPr>
          <p:cNvSpPr/>
          <p:nvPr/>
        </p:nvSpPr>
        <p:spPr>
          <a:xfrm>
            <a:off x="9758999" y="4705603"/>
            <a:ext cx="840" cy="4547"/>
          </a:xfrm>
          <a:custGeom>
            <a:avLst/>
            <a:gdLst>
              <a:gd name="csX0" fmla="*/ 132 w 1229"/>
              <a:gd name="csY0" fmla="*/ 6659 h 6658"/>
              <a:gd name="csX1" fmla="*/ 1107 w 1229"/>
              <a:gd name="csY1" fmla="*/ 0 h 6658"/>
              <a:gd name="csX2" fmla="*/ 132 w 1229"/>
              <a:gd name="csY2" fmla="*/ 6659 h 665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229" h="6658">
                <a:moveTo>
                  <a:pt x="132" y="6659"/>
                </a:moveTo>
                <a:cubicBezTo>
                  <a:pt x="-219" y="4616"/>
                  <a:pt x="139" y="2560"/>
                  <a:pt x="1107" y="0"/>
                </a:cubicBezTo>
                <a:cubicBezTo>
                  <a:pt x="1425" y="1879"/>
                  <a:pt x="1133" y="4263"/>
                  <a:pt x="132" y="6659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0" name="Free-form: Shape 349">
            <a:extLst>
              <a:ext uri="{FF2B5EF4-FFF2-40B4-BE49-F238E27FC236}">
                <a16:creationId xmlns:a16="http://schemas.microsoft.com/office/drawing/2014/main" id="{3610C8BC-0114-0095-5623-8425692C925E}"/>
              </a:ext>
            </a:extLst>
          </p:cNvPr>
          <p:cNvSpPr/>
          <p:nvPr/>
        </p:nvSpPr>
        <p:spPr>
          <a:xfrm>
            <a:off x="9685084" y="4727908"/>
            <a:ext cx="2588" cy="931"/>
          </a:xfrm>
          <a:custGeom>
            <a:avLst/>
            <a:gdLst>
              <a:gd name="csX0" fmla="*/ 0 w 3788"/>
              <a:gd name="csY0" fmla="*/ 1364 h 1364"/>
              <a:gd name="csX1" fmla="*/ 3788 w 3788"/>
              <a:gd name="csY1" fmla="*/ 0 h 1364"/>
              <a:gd name="csX2" fmla="*/ 0 w 3788"/>
              <a:gd name="csY2" fmla="*/ 1364 h 136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788" h="1364">
                <a:moveTo>
                  <a:pt x="0" y="1364"/>
                </a:moveTo>
                <a:cubicBezTo>
                  <a:pt x="856" y="517"/>
                  <a:pt x="2126" y="39"/>
                  <a:pt x="3788" y="0"/>
                </a:cubicBezTo>
                <a:cubicBezTo>
                  <a:pt x="2925" y="870"/>
                  <a:pt x="1670" y="1303"/>
                  <a:pt x="0" y="1364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1" name="Free-form: Shape 350">
            <a:extLst>
              <a:ext uri="{FF2B5EF4-FFF2-40B4-BE49-F238E27FC236}">
                <a16:creationId xmlns:a16="http://schemas.microsoft.com/office/drawing/2014/main" id="{3C3F1ED8-E4FB-57FA-A3CD-93E2E96BA0EB}"/>
              </a:ext>
            </a:extLst>
          </p:cNvPr>
          <p:cNvSpPr/>
          <p:nvPr/>
        </p:nvSpPr>
        <p:spPr>
          <a:xfrm>
            <a:off x="9386343" y="4731508"/>
            <a:ext cx="2726" cy="566"/>
          </a:xfrm>
          <a:custGeom>
            <a:avLst/>
            <a:gdLst>
              <a:gd name="csX0" fmla="*/ 0 w 3990"/>
              <a:gd name="csY0" fmla="*/ 719 h 829"/>
              <a:gd name="csX1" fmla="*/ 3990 w 3990"/>
              <a:gd name="csY1" fmla="*/ 119 h 829"/>
              <a:gd name="csX2" fmla="*/ 0 w 3990"/>
              <a:gd name="csY2" fmla="*/ 719 h 82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990" h="829">
                <a:moveTo>
                  <a:pt x="0" y="719"/>
                </a:moveTo>
                <a:cubicBezTo>
                  <a:pt x="982" y="66"/>
                  <a:pt x="2323" y="-163"/>
                  <a:pt x="3990" y="119"/>
                </a:cubicBezTo>
                <a:cubicBezTo>
                  <a:pt x="2998" y="800"/>
                  <a:pt x="1678" y="972"/>
                  <a:pt x="0" y="719"/>
                </a:cubicBezTo>
                <a:close/>
              </a:path>
            </a:pathLst>
          </a:custGeom>
          <a:solidFill>
            <a:srgbClr val="959DA0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2" name="Free-form: Shape 351">
            <a:extLst>
              <a:ext uri="{FF2B5EF4-FFF2-40B4-BE49-F238E27FC236}">
                <a16:creationId xmlns:a16="http://schemas.microsoft.com/office/drawing/2014/main" id="{47B0D7E2-6720-FEC6-8D27-2803B3BB9447}"/>
              </a:ext>
            </a:extLst>
          </p:cNvPr>
          <p:cNvSpPr/>
          <p:nvPr/>
        </p:nvSpPr>
        <p:spPr>
          <a:xfrm>
            <a:off x="9617946" y="4734761"/>
            <a:ext cx="2659" cy="775"/>
          </a:xfrm>
          <a:custGeom>
            <a:avLst/>
            <a:gdLst>
              <a:gd name="csX0" fmla="*/ 0 w 3893"/>
              <a:gd name="csY0" fmla="*/ 1133 h 1135"/>
              <a:gd name="csX1" fmla="*/ 3893 w 3893"/>
              <a:gd name="csY1" fmla="*/ 7 h 1135"/>
              <a:gd name="csX2" fmla="*/ 0 w 3893"/>
              <a:gd name="csY2" fmla="*/ 1133 h 113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893" h="1135">
                <a:moveTo>
                  <a:pt x="0" y="1133"/>
                </a:moveTo>
                <a:cubicBezTo>
                  <a:pt x="902" y="349"/>
                  <a:pt x="2213" y="-60"/>
                  <a:pt x="3893" y="7"/>
                </a:cubicBezTo>
                <a:cubicBezTo>
                  <a:pt x="2978" y="825"/>
                  <a:pt x="1693" y="1167"/>
                  <a:pt x="0" y="1133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3" name="Free-form: Shape 352">
            <a:extLst>
              <a:ext uri="{FF2B5EF4-FFF2-40B4-BE49-F238E27FC236}">
                <a16:creationId xmlns:a16="http://schemas.microsoft.com/office/drawing/2014/main" id="{7C07FD6D-AD2A-9EC8-BA87-C18474B2C21A}"/>
              </a:ext>
            </a:extLst>
          </p:cNvPr>
          <p:cNvSpPr/>
          <p:nvPr/>
        </p:nvSpPr>
        <p:spPr>
          <a:xfrm>
            <a:off x="9508389" y="4201630"/>
            <a:ext cx="123846" cy="275447"/>
          </a:xfrm>
          <a:custGeom>
            <a:avLst/>
            <a:gdLst>
              <a:gd name="csX0" fmla="*/ 7554 w 181323"/>
              <a:gd name="csY0" fmla="*/ 172079 h 403282"/>
              <a:gd name="csX1" fmla="*/ 9716 w 181323"/>
              <a:gd name="csY1" fmla="*/ 130641 h 403282"/>
              <a:gd name="csX2" fmla="*/ 7663 w 181323"/>
              <a:gd name="csY2" fmla="*/ 113770 h 403282"/>
              <a:gd name="csX3" fmla="*/ 7598 w 181323"/>
              <a:gd name="csY3" fmla="*/ 8165 h 403282"/>
              <a:gd name="csX4" fmla="*/ 8353 w 181323"/>
              <a:gd name="csY4" fmla="*/ 1259 h 403282"/>
              <a:gd name="csX5" fmla="*/ 17767 w 181323"/>
              <a:gd name="csY5" fmla="*/ 93 h 403282"/>
              <a:gd name="csX6" fmla="*/ 77938 w 181323"/>
              <a:gd name="csY6" fmla="*/ 50 h 403282"/>
              <a:gd name="csX7" fmla="*/ 91081 w 181323"/>
              <a:gd name="csY7" fmla="*/ 10962 h 403282"/>
              <a:gd name="csX8" fmla="*/ 93691 w 181323"/>
              <a:gd name="csY8" fmla="*/ 60963 h 403282"/>
              <a:gd name="csX9" fmla="*/ 100157 w 181323"/>
              <a:gd name="csY9" fmla="*/ 121501 h 403282"/>
              <a:gd name="csX10" fmla="*/ 105540 w 181323"/>
              <a:gd name="csY10" fmla="*/ 158857 h 403282"/>
              <a:gd name="csX11" fmla="*/ 121116 w 181323"/>
              <a:gd name="csY11" fmla="*/ 235269 h 403282"/>
              <a:gd name="csX12" fmla="*/ 152823 w 181323"/>
              <a:gd name="csY12" fmla="*/ 338010 h 403282"/>
              <a:gd name="csX13" fmla="*/ 170877 w 181323"/>
              <a:gd name="csY13" fmla="*/ 378027 h 403282"/>
              <a:gd name="csX14" fmla="*/ 178114 w 181323"/>
              <a:gd name="csY14" fmla="*/ 387682 h 403282"/>
              <a:gd name="csX15" fmla="*/ 181150 w 181323"/>
              <a:gd name="csY15" fmla="*/ 395764 h 403282"/>
              <a:gd name="csX16" fmla="*/ 173480 w 181323"/>
              <a:gd name="csY16" fmla="*/ 402568 h 403282"/>
              <a:gd name="csX17" fmla="*/ 160067 w 181323"/>
              <a:gd name="csY17" fmla="*/ 402936 h 403282"/>
              <a:gd name="csX18" fmla="*/ 121081 w 181323"/>
              <a:gd name="csY18" fmla="*/ 400766 h 403282"/>
              <a:gd name="csX19" fmla="*/ 70912 w 181323"/>
              <a:gd name="csY19" fmla="*/ 401955 h 403282"/>
              <a:gd name="csX20" fmla="*/ 7630 w 181323"/>
              <a:gd name="csY20" fmla="*/ 402999 h 403282"/>
              <a:gd name="csX21" fmla="*/ 710 w 181323"/>
              <a:gd name="csY21" fmla="*/ 401995 h 403282"/>
              <a:gd name="csX22" fmla="*/ 1308 w 181323"/>
              <a:gd name="csY22" fmla="*/ 356708 h 403282"/>
              <a:gd name="csX23" fmla="*/ 2554 w 181323"/>
              <a:gd name="csY23" fmla="*/ 349510 h 403282"/>
              <a:gd name="csX24" fmla="*/ 5071 w 181323"/>
              <a:gd name="csY24" fmla="*/ 271231 h 403282"/>
              <a:gd name="csX25" fmla="*/ 7554 w 181323"/>
              <a:gd name="csY25" fmla="*/ 172079 h 403282"/>
              <a:gd name="csX26" fmla="*/ 98286 w 181323"/>
              <a:gd name="csY26" fmla="*/ 163566 h 403282"/>
              <a:gd name="csX27" fmla="*/ 83497 w 181323"/>
              <a:gd name="csY27" fmla="*/ 8289 h 403282"/>
              <a:gd name="csX28" fmla="*/ 15161 w 181323"/>
              <a:gd name="csY28" fmla="*/ 9148 h 403282"/>
              <a:gd name="csX29" fmla="*/ 15058 w 181323"/>
              <a:gd name="csY29" fmla="*/ 137939 h 403282"/>
              <a:gd name="csX30" fmla="*/ 12252 w 181323"/>
              <a:gd name="csY30" fmla="*/ 266862 h 403282"/>
              <a:gd name="csX31" fmla="*/ 7068 w 181323"/>
              <a:gd name="csY31" fmla="*/ 395996 h 403282"/>
              <a:gd name="csX32" fmla="*/ 171647 w 181323"/>
              <a:gd name="csY32" fmla="*/ 395996 h 403282"/>
              <a:gd name="csX33" fmla="*/ 119950 w 181323"/>
              <a:gd name="csY33" fmla="*/ 259496 h 403282"/>
              <a:gd name="csX34" fmla="*/ 98286 w 181323"/>
              <a:gd name="csY34" fmla="*/ 163566 h 40328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</a:cxnLst>
            <a:rect l="l" t="t" r="r" b="b"/>
            <a:pathLst>
              <a:path w="181323" h="403282">
                <a:moveTo>
                  <a:pt x="7554" y="172079"/>
                </a:moveTo>
                <a:cubicBezTo>
                  <a:pt x="8325" y="157451"/>
                  <a:pt x="9408" y="144055"/>
                  <a:pt x="9716" y="130641"/>
                </a:cubicBezTo>
                <a:cubicBezTo>
                  <a:pt x="9846" y="125037"/>
                  <a:pt x="7695" y="119399"/>
                  <a:pt x="7663" y="113770"/>
                </a:cubicBezTo>
                <a:cubicBezTo>
                  <a:pt x="7461" y="78569"/>
                  <a:pt x="7554" y="43367"/>
                  <a:pt x="7598" y="8165"/>
                </a:cubicBezTo>
                <a:cubicBezTo>
                  <a:pt x="7600" y="6167"/>
                  <a:pt x="8022" y="4170"/>
                  <a:pt x="8353" y="1259"/>
                </a:cubicBezTo>
                <a:cubicBezTo>
                  <a:pt x="11568" y="842"/>
                  <a:pt x="14666" y="109"/>
                  <a:pt x="17767" y="93"/>
                </a:cubicBezTo>
                <a:cubicBezTo>
                  <a:pt x="37824" y="-17"/>
                  <a:pt x="57881" y="-27"/>
                  <a:pt x="77938" y="50"/>
                </a:cubicBezTo>
                <a:cubicBezTo>
                  <a:pt x="89177" y="93"/>
                  <a:pt x="90068" y="113"/>
                  <a:pt x="91081" y="10962"/>
                </a:cubicBezTo>
                <a:cubicBezTo>
                  <a:pt x="92631" y="27565"/>
                  <a:pt x="92329" y="44335"/>
                  <a:pt x="93691" y="60963"/>
                </a:cubicBezTo>
                <a:cubicBezTo>
                  <a:pt x="95348" y="81184"/>
                  <a:pt x="97732" y="101353"/>
                  <a:pt x="100157" y="121501"/>
                </a:cubicBezTo>
                <a:cubicBezTo>
                  <a:pt x="101660" y="133990"/>
                  <a:pt x="104521" y="146343"/>
                  <a:pt x="105540" y="158857"/>
                </a:cubicBezTo>
                <a:cubicBezTo>
                  <a:pt x="107671" y="184993"/>
                  <a:pt x="114147" y="210249"/>
                  <a:pt x="121116" y="235269"/>
                </a:cubicBezTo>
                <a:cubicBezTo>
                  <a:pt x="130731" y="269786"/>
                  <a:pt x="141516" y="304004"/>
                  <a:pt x="152823" y="338010"/>
                </a:cubicBezTo>
                <a:cubicBezTo>
                  <a:pt x="157418" y="351828"/>
                  <a:pt x="164524" y="364837"/>
                  <a:pt x="170877" y="378027"/>
                </a:cubicBezTo>
                <a:cubicBezTo>
                  <a:pt x="172587" y="381579"/>
                  <a:pt x="175985" y="384280"/>
                  <a:pt x="178114" y="387682"/>
                </a:cubicBezTo>
                <a:cubicBezTo>
                  <a:pt x="179669" y="390165"/>
                  <a:pt x="181977" y="393824"/>
                  <a:pt x="181150" y="395764"/>
                </a:cubicBezTo>
                <a:cubicBezTo>
                  <a:pt x="179907" y="398676"/>
                  <a:pt x="176540" y="401705"/>
                  <a:pt x="173480" y="402568"/>
                </a:cubicBezTo>
                <a:cubicBezTo>
                  <a:pt x="169302" y="403746"/>
                  <a:pt x="164551" y="403164"/>
                  <a:pt x="160067" y="402936"/>
                </a:cubicBezTo>
                <a:cubicBezTo>
                  <a:pt x="147066" y="402274"/>
                  <a:pt x="134081" y="400859"/>
                  <a:pt x="121081" y="400766"/>
                </a:cubicBezTo>
                <a:cubicBezTo>
                  <a:pt x="104362" y="400647"/>
                  <a:pt x="87638" y="401607"/>
                  <a:pt x="70912" y="401955"/>
                </a:cubicBezTo>
                <a:cubicBezTo>
                  <a:pt x="49820" y="402394"/>
                  <a:pt x="28725" y="402712"/>
                  <a:pt x="7630" y="402999"/>
                </a:cubicBezTo>
                <a:cubicBezTo>
                  <a:pt x="5684" y="403026"/>
                  <a:pt x="3731" y="402452"/>
                  <a:pt x="710" y="401995"/>
                </a:cubicBezTo>
                <a:cubicBezTo>
                  <a:pt x="219" y="386620"/>
                  <a:pt x="-871" y="371682"/>
                  <a:pt x="1308" y="356708"/>
                </a:cubicBezTo>
                <a:cubicBezTo>
                  <a:pt x="1659" y="354298"/>
                  <a:pt x="2471" y="351920"/>
                  <a:pt x="2554" y="349510"/>
                </a:cubicBezTo>
                <a:cubicBezTo>
                  <a:pt x="3459" y="323419"/>
                  <a:pt x="4345" y="297328"/>
                  <a:pt x="5071" y="271231"/>
                </a:cubicBezTo>
                <a:cubicBezTo>
                  <a:pt x="5979" y="238591"/>
                  <a:pt x="6733" y="205947"/>
                  <a:pt x="7554" y="172079"/>
                </a:cubicBezTo>
                <a:moveTo>
                  <a:pt x="98286" y="163566"/>
                </a:moveTo>
                <a:cubicBezTo>
                  <a:pt x="89288" y="112116"/>
                  <a:pt x="86355" y="60033"/>
                  <a:pt x="83497" y="8289"/>
                </a:cubicBezTo>
                <a:cubicBezTo>
                  <a:pt x="65606" y="5845"/>
                  <a:pt x="24110" y="6470"/>
                  <a:pt x="15161" y="9148"/>
                </a:cubicBezTo>
                <a:cubicBezTo>
                  <a:pt x="15161" y="52045"/>
                  <a:pt x="15527" y="94996"/>
                  <a:pt x="15058" y="137939"/>
                </a:cubicBezTo>
                <a:cubicBezTo>
                  <a:pt x="14587" y="180919"/>
                  <a:pt x="13597" y="223900"/>
                  <a:pt x="12252" y="266862"/>
                </a:cubicBezTo>
                <a:cubicBezTo>
                  <a:pt x="10912" y="309638"/>
                  <a:pt x="8849" y="352391"/>
                  <a:pt x="7068" y="395996"/>
                </a:cubicBezTo>
                <a:cubicBezTo>
                  <a:pt x="62774" y="395996"/>
                  <a:pt x="116821" y="395996"/>
                  <a:pt x="171647" y="395996"/>
                </a:cubicBezTo>
                <a:cubicBezTo>
                  <a:pt x="148550" y="352016"/>
                  <a:pt x="132566" y="306307"/>
                  <a:pt x="119950" y="259496"/>
                </a:cubicBezTo>
                <a:cubicBezTo>
                  <a:pt x="111608" y="228543"/>
                  <a:pt x="105493" y="196989"/>
                  <a:pt x="98286" y="163566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4" name="Free-form: Shape 353">
            <a:extLst>
              <a:ext uri="{FF2B5EF4-FFF2-40B4-BE49-F238E27FC236}">
                <a16:creationId xmlns:a16="http://schemas.microsoft.com/office/drawing/2014/main" id="{4F7CA052-B0F9-8136-8165-D828F9C41CFE}"/>
              </a:ext>
            </a:extLst>
          </p:cNvPr>
          <p:cNvSpPr/>
          <p:nvPr/>
        </p:nvSpPr>
        <p:spPr>
          <a:xfrm>
            <a:off x="9510184" y="4659759"/>
            <a:ext cx="230181" cy="52128"/>
          </a:xfrm>
          <a:custGeom>
            <a:avLst/>
            <a:gdLst>
              <a:gd name="csX0" fmla="*/ 297312 w 337008"/>
              <a:gd name="csY0" fmla="*/ 59188 h 76321"/>
              <a:gd name="csX1" fmla="*/ 241991 w 337008"/>
              <a:gd name="csY1" fmla="*/ 66577 h 76321"/>
              <a:gd name="csX2" fmla="*/ 185243 w 337008"/>
              <a:gd name="csY2" fmla="*/ 73717 h 76321"/>
              <a:gd name="csX3" fmla="*/ 182797 w 337008"/>
              <a:gd name="csY3" fmla="*/ 73873 h 76321"/>
              <a:gd name="csX4" fmla="*/ 19866 w 337008"/>
              <a:gd name="csY4" fmla="*/ 76320 h 76321"/>
              <a:gd name="csX5" fmla="*/ 12650 w 337008"/>
              <a:gd name="csY5" fmla="*/ 75242 h 76321"/>
              <a:gd name="csX6" fmla="*/ 19 w 337008"/>
              <a:gd name="csY6" fmla="*/ 59006 h 76321"/>
              <a:gd name="csX7" fmla="*/ 11 w 337008"/>
              <a:gd name="csY7" fmla="*/ 18266 h 76321"/>
              <a:gd name="csX8" fmla="*/ 13547 w 337008"/>
              <a:gd name="csY8" fmla="*/ 17427 h 76321"/>
              <a:gd name="csX9" fmla="*/ 109279 w 337008"/>
              <a:gd name="csY9" fmla="*/ 17200 h 76321"/>
              <a:gd name="csX10" fmla="*/ 173714 w 337008"/>
              <a:gd name="csY10" fmla="*/ 12645 h 76321"/>
              <a:gd name="csX11" fmla="*/ 205309 w 337008"/>
              <a:gd name="csY11" fmla="*/ 10096 h 76321"/>
              <a:gd name="csX12" fmla="*/ 245485 w 337008"/>
              <a:gd name="csY12" fmla="*/ 7449 h 76321"/>
              <a:gd name="csX13" fmla="*/ 288955 w 337008"/>
              <a:gd name="csY13" fmla="*/ 1844 h 76321"/>
              <a:gd name="csX14" fmla="*/ 307132 w 337008"/>
              <a:gd name="csY14" fmla="*/ 164 h 76321"/>
              <a:gd name="csX15" fmla="*/ 324030 w 337008"/>
              <a:gd name="csY15" fmla="*/ 9691 h 76321"/>
              <a:gd name="csX16" fmla="*/ 336033 w 337008"/>
              <a:gd name="csY16" fmla="*/ 39107 h 76321"/>
              <a:gd name="csX17" fmla="*/ 328060 w 337008"/>
              <a:gd name="csY17" fmla="*/ 52413 h 76321"/>
              <a:gd name="csX18" fmla="*/ 297312 w 337008"/>
              <a:gd name="csY18" fmla="*/ 59188 h 76321"/>
              <a:gd name="csX19" fmla="*/ 207688 w 337008"/>
              <a:gd name="csY19" fmla="*/ 64284 h 76321"/>
              <a:gd name="csX20" fmla="*/ 330050 w 337008"/>
              <a:gd name="csY20" fmla="*/ 45606 h 76321"/>
              <a:gd name="csX21" fmla="*/ 317356 w 337008"/>
              <a:gd name="csY21" fmla="*/ 11297 h 76321"/>
              <a:gd name="csX22" fmla="*/ 304170 w 337008"/>
              <a:gd name="csY22" fmla="*/ 5545 h 76321"/>
              <a:gd name="csX23" fmla="*/ 273851 w 337008"/>
              <a:gd name="csY23" fmla="*/ 10014 h 76321"/>
              <a:gd name="csX24" fmla="*/ 163935 w 337008"/>
              <a:gd name="csY24" fmla="*/ 20274 h 76321"/>
              <a:gd name="csX25" fmla="*/ 17973 w 337008"/>
              <a:gd name="csY25" fmla="*/ 22950 h 76321"/>
              <a:gd name="csX26" fmla="*/ 7372 w 337008"/>
              <a:gd name="csY26" fmla="*/ 23601 h 76321"/>
              <a:gd name="csX27" fmla="*/ 7372 w 337008"/>
              <a:gd name="csY27" fmla="*/ 67898 h 76321"/>
              <a:gd name="csX28" fmla="*/ 207688 w 337008"/>
              <a:gd name="csY28" fmla="*/ 64284 h 7632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</a:cxnLst>
            <a:rect l="l" t="t" r="r" b="b"/>
            <a:pathLst>
              <a:path w="337008" h="76321">
                <a:moveTo>
                  <a:pt x="297312" y="59188"/>
                </a:moveTo>
                <a:cubicBezTo>
                  <a:pt x="278167" y="61672"/>
                  <a:pt x="260091" y="64212"/>
                  <a:pt x="241991" y="66577"/>
                </a:cubicBezTo>
                <a:cubicBezTo>
                  <a:pt x="223087" y="69047"/>
                  <a:pt x="204161" y="71350"/>
                  <a:pt x="185243" y="73717"/>
                </a:cubicBezTo>
                <a:cubicBezTo>
                  <a:pt x="184433" y="73818"/>
                  <a:pt x="183613" y="73861"/>
                  <a:pt x="182797" y="73873"/>
                </a:cubicBezTo>
                <a:cubicBezTo>
                  <a:pt x="128487" y="74710"/>
                  <a:pt x="74176" y="75556"/>
                  <a:pt x="19866" y="76320"/>
                </a:cubicBezTo>
                <a:cubicBezTo>
                  <a:pt x="17463" y="76354"/>
                  <a:pt x="15013" y="75797"/>
                  <a:pt x="12650" y="75242"/>
                </a:cubicBezTo>
                <a:cubicBezTo>
                  <a:pt x="80" y="72288"/>
                  <a:pt x="58" y="72258"/>
                  <a:pt x="19" y="59006"/>
                </a:cubicBezTo>
                <a:cubicBezTo>
                  <a:pt x="-19" y="45942"/>
                  <a:pt x="11" y="32877"/>
                  <a:pt x="11" y="18266"/>
                </a:cubicBezTo>
                <a:cubicBezTo>
                  <a:pt x="4987" y="17944"/>
                  <a:pt x="9266" y="17435"/>
                  <a:pt x="13547" y="17427"/>
                </a:cubicBezTo>
                <a:cubicBezTo>
                  <a:pt x="45459" y="17362"/>
                  <a:pt x="77385" y="17975"/>
                  <a:pt x="109279" y="17200"/>
                </a:cubicBezTo>
                <a:cubicBezTo>
                  <a:pt x="130782" y="16677"/>
                  <a:pt x="152239" y="14265"/>
                  <a:pt x="173714" y="12645"/>
                </a:cubicBezTo>
                <a:cubicBezTo>
                  <a:pt x="184250" y="11850"/>
                  <a:pt x="194770" y="10836"/>
                  <a:pt x="205309" y="10096"/>
                </a:cubicBezTo>
                <a:cubicBezTo>
                  <a:pt x="218698" y="9156"/>
                  <a:pt x="232139" y="8783"/>
                  <a:pt x="245485" y="7449"/>
                </a:cubicBezTo>
                <a:cubicBezTo>
                  <a:pt x="260017" y="5997"/>
                  <a:pt x="274456" y="3648"/>
                  <a:pt x="288955" y="1844"/>
                </a:cubicBezTo>
                <a:cubicBezTo>
                  <a:pt x="294991" y="1094"/>
                  <a:pt x="301100" y="930"/>
                  <a:pt x="307132" y="164"/>
                </a:cubicBezTo>
                <a:cubicBezTo>
                  <a:pt x="315239" y="-865"/>
                  <a:pt x="320841" y="3022"/>
                  <a:pt x="324030" y="9691"/>
                </a:cubicBezTo>
                <a:cubicBezTo>
                  <a:pt x="328594" y="19236"/>
                  <a:pt x="332712" y="29070"/>
                  <a:pt x="336033" y="39107"/>
                </a:cubicBezTo>
                <a:cubicBezTo>
                  <a:pt x="338557" y="46735"/>
                  <a:pt x="336278" y="50185"/>
                  <a:pt x="328060" y="52413"/>
                </a:cubicBezTo>
                <a:cubicBezTo>
                  <a:pt x="318273" y="55068"/>
                  <a:pt x="308277" y="56950"/>
                  <a:pt x="297312" y="59188"/>
                </a:cubicBezTo>
                <a:moveTo>
                  <a:pt x="207688" y="64284"/>
                </a:moveTo>
                <a:cubicBezTo>
                  <a:pt x="248681" y="60632"/>
                  <a:pt x="289317" y="54812"/>
                  <a:pt x="330050" y="45606"/>
                </a:cubicBezTo>
                <a:cubicBezTo>
                  <a:pt x="327603" y="32443"/>
                  <a:pt x="323777" y="21532"/>
                  <a:pt x="317356" y="11297"/>
                </a:cubicBezTo>
                <a:cubicBezTo>
                  <a:pt x="313908" y="5803"/>
                  <a:pt x="310145" y="4465"/>
                  <a:pt x="304170" y="5545"/>
                </a:cubicBezTo>
                <a:cubicBezTo>
                  <a:pt x="294121" y="7361"/>
                  <a:pt x="284007" y="9006"/>
                  <a:pt x="273851" y="10014"/>
                </a:cubicBezTo>
                <a:cubicBezTo>
                  <a:pt x="237233" y="13650"/>
                  <a:pt x="200632" y="17661"/>
                  <a:pt x="163935" y="20274"/>
                </a:cubicBezTo>
                <a:cubicBezTo>
                  <a:pt x="115360" y="23734"/>
                  <a:pt x="66701" y="25937"/>
                  <a:pt x="17973" y="22950"/>
                </a:cubicBezTo>
                <a:cubicBezTo>
                  <a:pt x="14492" y="22737"/>
                  <a:pt x="10959" y="23361"/>
                  <a:pt x="7372" y="23601"/>
                </a:cubicBezTo>
                <a:cubicBezTo>
                  <a:pt x="7372" y="38609"/>
                  <a:pt x="7372" y="52361"/>
                  <a:pt x="7372" y="67898"/>
                </a:cubicBezTo>
                <a:cubicBezTo>
                  <a:pt x="74001" y="69806"/>
                  <a:pt x="139746" y="71025"/>
                  <a:pt x="207688" y="64284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5" name="Free-form: Shape 354">
            <a:extLst>
              <a:ext uri="{FF2B5EF4-FFF2-40B4-BE49-F238E27FC236}">
                <a16:creationId xmlns:a16="http://schemas.microsoft.com/office/drawing/2014/main" id="{252411D9-2C6C-CF44-99B5-43FA8C700FB9}"/>
              </a:ext>
            </a:extLst>
          </p:cNvPr>
          <p:cNvSpPr/>
          <p:nvPr/>
        </p:nvSpPr>
        <p:spPr>
          <a:xfrm>
            <a:off x="9514289" y="4498659"/>
            <a:ext cx="207269" cy="145956"/>
          </a:xfrm>
          <a:custGeom>
            <a:avLst/>
            <a:gdLst>
              <a:gd name="csX0" fmla="*/ 14160 w 303463"/>
              <a:gd name="csY0" fmla="*/ 7889 h 213695"/>
              <a:gd name="csX1" fmla="*/ 195033 w 303463"/>
              <a:gd name="csY1" fmla="*/ 0 h 213695"/>
              <a:gd name="csX2" fmla="*/ 197208 w 303463"/>
              <a:gd name="csY2" fmla="*/ 5635 h 213695"/>
              <a:gd name="csX3" fmla="*/ 227014 w 303463"/>
              <a:gd name="csY3" fmla="*/ 60660 h 213695"/>
              <a:gd name="csX4" fmla="*/ 265823 w 303463"/>
              <a:gd name="csY4" fmla="*/ 98217 h 213695"/>
              <a:gd name="csX5" fmla="*/ 303210 w 303463"/>
              <a:gd name="csY5" fmla="*/ 180358 h 213695"/>
              <a:gd name="csX6" fmla="*/ 303282 w 303463"/>
              <a:gd name="csY6" fmla="*/ 193964 h 213695"/>
              <a:gd name="csX7" fmla="*/ 4971 w 303463"/>
              <a:gd name="csY7" fmla="*/ 213017 h 213695"/>
              <a:gd name="csX8" fmla="*/ 5093 w 303463"/>
              <a:gd name="csY8" fmla="*/ 173484 h 213695"/>
              <a:gd name="csX9" fmla="*/ 4767 w 303463"/>
              <a:gd name="csY9" fmla="*/ 54607 h 213695"/>
              <a:gd name="csX10" fmla="*/ 0 w 303463"/>
              <a:gd name="csY10" fmla="*/ 7887 h 213695"/>
              <a:gd name="csX11" fmla="*/ 14160 w 303463"/>
              <a:gd name="csY11" fmla="*/ 7889 h 21369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303463" h="213695">
                <a:moveTo>
                  <a:pt x="14160" y="7889"/>
                </a:moveTo>
                <a:cubicBezTo>
                  <a:pt x="75371" y="8627"/>
                  <a:pt x="135292" y="5744"/>
                  <a:pt x="195033" y="0"/>
                </a:cubicBezTo>
                <a:cubicBezTo>
                  <a:pt x="196084" y="2662"/>
                  <a:pt x="196986" y="4099"/>
                  <a:pt x="197208" y="5635"/>
                </a:cubicBezTo>
                <a:cubicBezTo>
                  <a:pt x="200391" y="27650"/>
                  <a:pt x="211307" y="45450"/>
                  <a:pt x="227014" y="60660"/>
                </a:cubicBezTo>
                <a:cubicBezTo>
                  <a:pt x="239947" y="73182"/>
                  <a:pt x="253006" y="85577"/>
                  <a:pt x="265823" y="98217"/>
                </a:cubicBezTo>
                <a:cubicBezTo>
                  <a:pt x="288727" y="120806"/>
                  <a:pt x="299071" y="149215"/>
                  <a:pt x="303210" y="180358"/>
                </a:cubicBezTo>
                <a:cubicBezTo>
                  <a:pt x="303735" y="184317"/>
                  <a:pt x="303282" y="188405"/>
                  <a:pt x="303282" y="193964"/>
                </a:cubicBezTo>
                <a:cubicBezTo>
                  <a:pt x="204065" y="208804"/>
                  <a:pt x="105022" y="216044"/>
                  <a:pt x="4971" y="213017"/>
                </a:cubicBezTo>
                <a:cubicBezTo>
                  <a:pt x="4971" y="199268"/>
                  <a:pt x="4314" y="186332"/>
                  <a:pt x="5093" y="173484"/>
                </a:cubicBezTo>
                <a:cubicBezTo>
                  <a:pt x="7497" y="133835"/>
                  <a:pt x="8211" y="94216"/>
                  <a:pt x="4767" y="54607"/>
                </a:cubicBezTo>
                <a:cubicBezTo>
                  <a:pt x="3464" y="39611"/>
                  <a:pt x="1725" y="24653"/>
                  <a:pt x="0" y="7887"/>
                </a:cubicBezTo>
                <a:cubicBezTo>
                  <a:pt x="4390" y="7887"/>
                  <a:pt x="8696" y="7887"/>
                  <a:pt x="14160" y="7889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6" name="Free-form: Shape 355">
            <a:extLst>
              <a:ext uri="{FF2B5EF4-FFF2-40B4-BE49-F238E27FC236}">
                <a16:creationId xmlns:a16="http://schemas.microsoft.com/office/drawing/2014/main" id="{0719114C-1336-FF25-9F9E-AA018426D6A7}"/>
              </a:ext>
            </a:extLst>
          </p:cNvPr>
          <p:cNvSpPr/>
          <p:nvPr/>
        </p:nvSpPr>
        <p:spPr>
          <a:xfrm>
            <a:off x="9477151" y="3915927"/>
            <a:ext cx="142796" cy="138929"/>
          </a:xfrm>
          <a:custGeom>
            <a:avLst/>
            <a:gdLst>
              <a:gd name="csX0" fmla="*/ 10475 w 209067"/>
              <a:gd name="csY0" fmla="*/ 41718 h 203406"/>
              <a:gd name="csX1" fmla="*/ 100250 w 209067"/>
              <a:gd name="csY1" fmla="*/ 1265 h 203406"/>
              <a:gd name="csX2" fmla="*/ 206681 w 209067"/>
              <a:gd name="csY2" fmla="*/ 98526 h 203406"/>
              <a:gd name="csX3" fmla="*/ 134647 w 209067"/>
              <a:gd name="csY3" fmla="*/ 202431 h 203406"/>
              <a:gd name="csX4" fmla="*/ 40986 w 209067"/>
              <a:gd name="csY4" fmla="*/ 171438 h 203406"/>
              <a:gd name="csX5" fmla="*/ 143 w 209067"/>
              <a:gd name="csY5" fmla="*/ 85158 h 203406"/>
              <a:gd name="csX6" fmla="*/ 10475 w 209067"/>
              <a:gd name="csY6" fmla="*/ 41718 h 20340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</a:cxnLst>
            <a:rect l="l" t="t" r="r" b="b"/>
            <a:pathLst>
              <a:path w="209067" h="203406">
                <a:moveTo>
                  <a:pt x="10475" y="41718"/>
                </a:moveTo>
                <a:cubicBezTo>
                  <a:pt x="31065" y="6021"/>
                  <a:pt x="63171" y="-3865"/>
                  <a:pt x="100250" y="1265"/>
                </a:cubicBezTo>
                <a:cubicBezTo>
                  <a:pt x="157191" y="9144"/>
                  <a:pt x="196951" y="51394"/>
                  <a:pt x="206681" y="98526"/>
                </a:cubicBezTo>
                <a:cubicBezTo>
                  <a:pt x="219504" y="160635"/>
                  <a:pt x="178523" y="196657"/>
                  <a:pt x="134647" y="202431"/>
                </a:cubicBezTo>
                <a:cubicBezTo>
                  <a:pt x="98365" y="207204"/>
                  <a:pt x="68101" y="194086"/>
                  <a:pt x="40986" y="171438"/>
                </a:cubicBezTo>
                <a:cubicBezTo>
                  <a:pt x="14115" y="148994"/>
                  <a:pt x="2457" y="119007"/>
                  <a:pt x="143" y="85158"/>
                </a:cubicBezTo>
                <a:cubicBezTo>
                  <a:pt x="-869" y="70364"/>
                  <a:pt x="3586" y="56015"/>
                  <a:pt x="10475" y="41718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7" name="Free-form: Shape 356">
            <a:extLst>
              <a:ext uri="{FF2B5EF4-FFF2-40B4-BE49-F238E27FC236}">
                <a16:creationId xmlns:a16="http://schemas.microsoft.com/office/drawing/2014/main" id="{EED7D639-BB50-E2C5-4B34-0BD6E598879F}"/>
              </a:ext>
            </a:extLst>
          </p:cNvPr>
          <p:cNvSpPr/>
          <p:nvPr/>
        </p:nvSpPr>
        <p:spPr>
          <a:xfrm>
            <a:off x="9517036" y="4150269"/>
            <a:ext cx="107321" cy="28231"/>
          </a:xfrm>
          <a:custGeom>
            <a:avLst/>
            <a:gdLst>
              <a:gd name="csX0" fmla="*/ 69625 w 157129"/>
              <a:gd name="csY0" fmla="*/ 0 h 41334"/>
              <a:gd name="csX1" fmla="*/ 119596 w 157129"/>
              <a:gd name="csY1" fmla="*/ 1945 h 41334"/>
              <a:gd name="csX2" fmla="*/ 150973 w 157129"/>
              <a:gd name="csY2" fmla="*/ 14889 h 41334"/>
              <a:gd name="csX3" fmla="*/ 151351 w 157129"/>
              <a:gd name="csY3" fmla="*/ 34058 h 41334"/>
              <a:gd name="csX4" fmla="*/ 133492 w 157129"/>
              <a:gd name="csY4" fmla="*/ 40697 h 41334"/>
              <a:gd name="csX5" fmla="*/ 106556 w 157129"/>
              <a:gd name="csY5" fmla="*/ 41092 h 41334"/>
              <a:gd name="csX6" fmla="*/ 13373 w 157129"/>
              <a:gd name="csY6" fmla="*/ 40708 h 41334"/>
              <a:gd name="csX7" fmla="*/ 1312 w 157129"/>
              <a:gd name="csY7" fmla="*/ 40191 h 41334"/>
              <a:gd name="csX8" fmla="*/ 3367 w 157129"/>
              <a:gd name="csY8" fmla="*/ 13162 h 41334"/>
              <a:gd name="csX9" fmla="*/ 20752 w 157129"/>
              <a:gd name="csY9" fmla="*/ 1879 h 41334"/>
              <a:gd name="csX10" fmla="*/ 52625 w 157129"/>
              <a:gd name="csY10" fmla="*/ 1332 h 41334"/>
              <a:gd name="csX11" fmla="*/ 69625 w 157129"/>
              <a:gd name="csY11" fmla="*/ 0 h 4133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157129" h="41334">
                <a:moveTo>
                  <a:pt x="69625" y="0"/>
                </a:moveTo>
                <a:cubicBezTo>
                  <a:pt x="87054" y="491"/>
                  <a:pt x="103407" y="373"/>
                  <a:pt x="119596" y="1945"/>
                </a:cubicBezTo>
                <a:cubicBezTo>
                  <a:pt x="131020" y="3055"/>
                  <a:pt x="141713" y="7767"/>
                  <a:pt x="150973" y="14889"/>
                </a:cubicBezTo>
                <a:cubicBezTo>
                  <a:pt x="158820" y="20925"/>
                  <a:pt x="159403" y="28236"/>
                  <a:pt x="151351" y="34058"/>
                </a:cubicBezTo>
                <a:cubicBezTo>
                  <a:pt x="146355" y="37671"/>
                  <a:pt x="139678" y="39910"/>
                  <a:pt x="133492" y="40697"/>
                </a:cubicBezTo>
                <a:cubicBezTo>
                  <a:pt x="124640" y="41824"/>
                  <a:pt x="115547" y="41120"/>
                  <a:pt x="106556" y="41092"/>
                </a:cubicBezTo>
                <a:cubicBezTo>
                  <a:pt x="75495" y="40996"/>
                  <a:pt x="44434" y="40872"/>
                  <a:pt x="13373" y="40708"/>
                </a:cubicBezTo>
                <a:cubicBezTo>
                  <a:pt x="9391" y="40687"/>
                  <a:pt x="5410" y="40374"/>
                  <a:pt x="1312" y="40191"/>
                </a:cubicBezTo>
                <a:cubicBezTo>
                  <a:pt x="-1416" y="30384"/>
                  <a:pt x="523" y="21512"/>
                  <a:pt x="3367" y="13162"/>
                </a:cubicBezTo>
                <a:cubicBezTo>
                  <a:pt x="5963" y="5538"/>
                  <a:pt x="12701" y="2077"/>
                  <a:pt x="20752" y="1879"/>
                </a:cubicBezTo>
                <a:cubicBezTo>
                  <a:pt x="31375" y="1617"/>
                  <a:pt x="42004" y="1647"/>
                  <a:pt x="52625" y="1332"/>
                </a:cubicBezTo>
                <a:cubicBezTo>
                  <a:pt x="57918" y="1176"/>
                  <a:pt x="63195" y="535"/>
                  <a:pt x="69625" y="0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8" name="Free-form: Shape 357">
            <a:extLst>
              <a:ext uri="{FF2B5EF4-FFF2-40B4-BE49-F238E27FC236}">
                <a16:creationId xmlns:a16="http://schemas.microsoft.com/office/drawing/2014/main" id="{27F0A7C4-E48D-0B36-A85B-C0BC43188647}"/>
              </a:ext>
            </a:extLst>
          </p:cNvPr>
          <p:cNvSpPr/>
          <p:nvPr/>
        </p:nvSpPr>
        <p:spPr>
          <a:xfrm>
            <a:off x="9513217" y="4206245"/>
            <a:ext cx="112410" cy="265855"/>
          </a:xfrm>
          <a:custGeom>
            <a:avLst/>
            <a:gdLst>
              <a:gd name="csX0" fmla="*/ 91265 w 164579"/>
              <a:gd name="csY0" fmla="*/ 157878 h 389238"/>
              <a:gd name="csX1" fmla="*/ 112882 w 164579"/>
              <a:gd name="csY1" fmla="*/ 252738 h 389238"/>
              <a:gd name="csX2" fmla="*/ 164579 w 164579"/>
              <a:gd name="csY2" fmla="*/ 389238 h 389238"/>
              <a:gd name="csX3" fmla="*/ 0 w 164579"/>
              <a:gd name="csY3" fmla="*/ 389238 h 389238"/>
              <a:gd name="csX4" fmla="*/ 5184 w 164579"/>
              <a:gd name="csY4" fmla="*/ 260105 h 389238"/>
              <a:gd name="csX5" fmla="*/ 7989 w 164579"/>
              <a:gd name="csY5" fmla="*/ 131182 h 389238"/>
              <a:gd name="csX6" fmla="*/ 8093 w 164579"/>
              <a:gd name="csY6" fmla="*/ 2390 h 389238"/>
              <a:gd name="csX7" fmla="*/ 76429 w 164579"/>
              <a:gd name="csY7" fmla="*/ 1531 h 389238"/>
              <a:gd name="csX8" fmla="*/ 91265 w 164579"/>
              <a:gd name="csY8" fmla="*/ 157878 h 38923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</a:cxnLst>
            <a:rect l="l" t="t" r="r" b="b"/>
            <a:pathLst>
              <a:path w="164579" h="389238">
                <a:moveTo>
                  <a:pt x="91265" y="157878"/>
                </a:moveTo>
                <a:cubicBezTo>
                  <a:pt x="98425" y="190232"/>
                  <a:pt x="104539" y="221785"/>
                  <a:pt x="112882" y="252738"/>
                </a:cubicBezTo>
                <a:cubicBezTo>
                  <a:pt x="125498" y="299549"/>
                  <a:pt x="141482" y="345258"/>
                  <a:pt x="164579" y="389238"/>
                </a:cubicBezTo>
                <a:cubicBezTo>
                  <a:pt x="109753" y="389238"/>
                  <a:pt x="55706" y="389238"/>
                  <a:pt x="0" y="389238"/>
                </a:cubicBezTo>
                <a:cubicBezTo>
                  <a:pt x="1781" y="345633"/>
                  <a:pt x="3844" y="302880"/>
                  <a:pt x="5184" y="260105"/>
                </a:cubicBezTo>
                <a:cubicBezTo>
                  <a:pt x="6529" y="217143"/>
                  <a:pt x="7519" y="174162"/>
                  <a:pt x="7989" y="131182"/>
                </a:cubicBezTo>
                <a:cubicBezTo>
                  <a:pt x="8459" y="88239"/>
                  <a:pt x="8093" y="45287"/>
                  <a:pt x="8093" y="2390"/>
                </a:cubicBezTo>
                <a:cubicBezTo>
                  <a:pt x="17041" y="-288"/>
                  <a:pt x="58537" y="-913"/>
                  <a:pt x="76429" y="1531"/>
                </a:cubicBezTo>
                <a:cubicBezTo>
                  <a:pt x="79287" y="53276"/>
                  <a:pt x="82219" y="105359"/>
                  <a:pt x="91265" y="157878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9" name="Free-form: Shape 358">
            <a:extLst>
              <a:ext uri="{FF2B5EF4-FFF2-40B4-BE49-F238E27FC236}">
                <a16:creationId xmlns:a16="http://schemas.microsoft.com/office/drawing/2014/main" id="{E5A5F56C-3E49-6354-0A16-E884CA83AD36}"/>
              </a:ext>
            </a:extLst>
          </p:cNvPr>
          <p:cNvSpPr/>
          <p:nvPr/>
        </p:nvSpPr>
        <p:spPr>
          <a:xfrm>
            <a:off x="9515217" y="4663309"/>
            <a:ext cx="220393" cy="43851"/>
          </a:xfrm>
          <a:custGeom>
            <a:avLst/>
            <a:gdLst>
              <a:gd name="csX0" fmla="*/ 199184 w 322677"/>
              <a:gd name="csY0" fmla="*/ 59136 h 64202"/>
              <a:gd name="csX1" fmla="*/ 0 w 322677"/>
              <a:gd name="csY1" fmla="*/ 62697 h 64202"/>
              <a:gd name="csX2" fmla="*/ 0 w 322677"/>
              <a:gd name="csY2" fmla="*/ 18400 h 64202"/>
              <a:gd name="csX3" fmla="*/ 10601 w 322677"/>
              <a:gd name="csY3" fmla="*/ 17750 h 64202"/>
              <a:gd name="csX4" fmla="*/ 156563 w 322677"/>
              <a:gd name="csY4" fmla="*/ 15074 h 64202"/>
              <a:gd name="csX5" fmla="*/ 266479 w 322677"/>
              <a:gd name="csY5" fmla="*/ 4814 h 64202"/>
              <a:gd name="csX6" fmla="*/ 296798 w 322677"/>
              <a:gd name="csY6" fmla="*/ 344 h 64202"/>
              <a:gd name="csX7" fmla="*/ 309983 w 322677"/>
              <a:gd name="csY7" fmla="*/ 6097 h 64202"/>
              <a:gd name="csX8" fmla="*/ 322678 w 322677"/>
              <a:gd name="csY8" fmla="*/ 40406 h 64202"/>
              <a:gd name="csX9" fmla="*/ 199184 w 322677"/>
              <a:gd name="csY9" fmla="*/ 59136 h 6420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322677" h="64202">
                <a:moveTo>
                  <a:pt x="199184" y="59136"/>
                </a:moveTo>
                <a:cubicBezTo>
                  <a:pt x="132374" y="65824"/>
                  <a:pt x="66629" y="64605"/>
                  <a:pt x="0" y="62697"/>
                </a:cubicBezTo>
                <a:cubicBezTo>
                  <a:pt x="0" y="47160"/>
                  <a:pt x="0" y="33409"/>
                  <a:pt x="0" y="18400"/>
                </a:cubicBezTo>
                <a:cubicBezTo>
                  <a:pt x="3587" y="18160"/>
                  <a:pt x="7120" y="17536"/>
                  <a:pt x="10601" y="17750"/>
                </a:cubicBezTo>
                <a:cubicBezTo>
                  <a:pt x="59329" y="20736"/>
                  <a:pt x="107987" y="18533"/>
                  <a:pt x="156563" y="15074"/>
                </a:cubicBezTo>
                <a:cubicBezTo>
                  <a:pt x="193260" y="12461"/>
                  <a:pt x="229860" y="8449"/>
                  <a:pt x="266479" y="4814"/>
                </a:cubicBezTo>
                <a:cubicBezTo>
                  <a:pt x="276635" y="3806"/>
                  <a:pt x="286748" y="2160"/>
                  <a:pt x="296798" y="344"/>
                </a:cubicBezTo>
                <a:cubicBezTo>
                  <a:pt x="302773" y="-735"/>
                  <a:pt x="306536" y="602"/>
                  <a:pt x="309983" y="6097"/>
                </a:cubicBezTo>
                <a:cubicBezTo>
                  <a:pt x="316405" y="16331"/>
                  <a:pt x="320231" y="27243"/>
                  <a:pt x="322678" y="40406"/>
                </a:cubicBezTo>
                <a:cubicBezTo>
                  <a:pt x="281944" y="49611"/>
                  <a:pt x="241309" y="55431"/>
                  <a:pt x="199184" y="59136"/>
                </a:cubicBezTo>
                <a:close/>
              </a:path>
            </a:pathLst>
          </a:custGeom>
          <a:solidFill>
            <a:schemeClr val="bg1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77" name="Oval 376">
            <a:extLst>
              <a:ext uri="{FF2B5EF4-FFF2-40B4-BE49-F238E27FC236}">
                <a16:creationId xmlns:a16="http://schemas.microsoft.com/office/drawing/2014/main" id="{14C64D2B-AC68-B719-A41A-1011B5C73AF5}"/>
              </a:ext>
            </a:extLst>
          </p:cNvPr>
          <p:cNvSpPr/>
          <p:nvPr/>
        </p:nvSpPr>
        <p:spPr>
          <a:xfrm>
            <a:off x="6106449" y="4335262"/>
            <a:ext cx="593138" cy="104135"/>
          </a:xfrm>
          <a:prstGeom prst="ellipse">
            <a:avLst/>
          </a:prstGeom>
          <a:solidFill>
            <a:schemeClr val="tx1">
              <a:alpha val="6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78" name="Free-form: Shape 377">
            <a:extLst>
              <a:ext uri="{FF2B5EF4-FFF2-40B4-BE49-F238E27FC236}">
                <a16:creationId xmlns:a16="http://schemas.microsoft.com/office/drawing/2014/main" id="{D8431CBB-5C6B-C1F1-DBD8-080178C31C63}"/>
              </a:ext>
            </a:extLst>
          </p:cNvPr>
          <p:cNvSpPr/>
          <p:nvPr/>
        </p:nvSpPr>
        <p:spPr>
          <a:xfrm>
            <a:off x="6205115" y="3654611"/>
            <a:ext cx="433137" cy="770022"/>
          </a:xfrm>
          <a:custGeom>
            <a:avLst/>
            <a:gdLst>
              <a:gd name="csX0" fmla="*/ 581793 w 697572"/>
              <a:gd name="csY0" fmla="*/ 1234401 h 1240128"/>
              <a:gd name="csX1" fmla="*/ 577427 w 697572"/>
              <a:gd name="csY1" fmla="*/ 1234156 h 1240128"/>
              <a:gd name="csX2" fmla="*/ 559133 w 697572"/>
              <a:gd name="csY2" fmla="*/ 1230909 h 1240128"/>
              <a:gd name="csX3" fmla="*/ 516706 w 697572"/>
              <a:gd name="csY3" fmla="*/ 1235117 h 1240128"/>
              <a:gd name="csX4" fmla="*/ 475244 w 697572"/>
              <a:gd name="csY4" fmla="*/ 1237506 h 1240128"/>
              <a:gd name="csX5" fmla="*/ 371154 w 697572"/>
              <a:gd name="csY5" fmla="*/ 1239428 h 1240128"/>
              <a:gd name="csX6" fmla="*/ 276813 w 697572"/>
              <a:gd name="csY6" fmla="*/ 1237654 h 1240128"/>
              <a:gd name="csX7" fmla="*/ 268212 w 697572"/>
              <a:gd name="csY7" fmla="*/ 1237635 h 1240128"/>
              <a:gd name="csX8" fmla="*/ 262072 w 697572"/>
              <a:gd name="csY8" fmla="*/ 1237523 h 1240128"/>
              <a:gd name="csX9" fmla="*/ 195111 w 697572"/>
              <a:gd name="csY9" fmla="*/ 1232775 h 1240128"/>
              <a:gd name="csX10" fmla="*/ 145060 w 697572"/>
              <a:gd name="csY10" fmla="*/ 1230076 h 1240128"/>
              <a:gd name="csX11" fmla="*/ 114933 w 697572"/>
              <a:gd name="csY11" fmla="*/ 1225832 h 1240128"/>
              <a:gd name="csX12" fmla="*/ 72642 w 697572"/>
              <a:gd name="csY12" fmla="*/ 1220237 h 1240128"/>
              <a:gd name="csX13" fmla="*/ 10894 w 697572"/>
              <a:gd name="csY13" fmla="*/ 1205737 h 1240128"/>
              <a:gd name="csX14" fmla="*/ 5856 w 697572"/>
              <a:gd name="csY14" fmla="*/ 1202799 h 1240128"/>
              <a:gd name="csX15" fmla="*/ 40 w 697572"/>
              <a:gd name="csY15" fmla="*/ 1174450 h 1240128"/>
              <a:gd name="csX16" fmla="*/ 19831 w 697572"/>
              <a:gd name="csY16" fmla="*/ 1118410 h 1240128"/>
              <a:gd name="csX17" fmla="*/ 22004 w 697572"/>
              <a:gd name="csY17" fmla="*/ 1107240 h 1240128"/>
              <a:gd name="csX18" fmla="*/ 25947 w 697572"/>
              <a:gd name="csY18" fmla="*/ 1038650 h 1240128"/>
              <a:gd name="csX19" fmla="*/ 58234 w 697572"/>
              <a:gd name="csY19" fmla="*/ 988567 h 1240128"/>
              <a:gd name="csX20" fmla="*/ 118645 w 697572"/>
              <a:gd name="csY20" fmla="*/ 928298 h 1240128"/>
              <a:gd name="csX21" fmla="*/ 126320 w 697572"/>
              <a:gd name="csY21" fmla="*/ 892015 h 1240128"/>
              <a:gd name="csX22" fmla="*/ 120345 w 697572"/>
              <a:gd name="csY22" fmla="*/ 872258 h 1240128"/>
              <a:gd name="csX23" fmla="*/ 125668 w 697572"/>
              <a:gd name="csY23" fmla="*/ 861640 h 1240128"/>
              <a:gd name="csX24" fmla="*/ 154237 w 697572"/>
              <a:gd name="csY24" fmla="*/ 850716 h 1240128"/>
              <a:gd name="csX25" fmla="*/ 170248 w 697572"/>
              <a:gd name="csY25" fmla="*/ 836767 h 1240128"/>
              <a:gd name="csX26" fmla="*/ 187840 w 697572"/>
              <a:gd name="csY26" fmla="*/ 796341 h 1240128"/>
              <a:gd name="csX27" fmla="*/ 209346 w 697572"/>
              <a:gd name="csY27" fmla="*/ 743126 h 1240128"/>
              <a:gd name="csX28" fmla="*/ 210630 w 697572"/>
              <a:gd name="csY28" fmla="*/ 737219 h 1240128"/>
              <a:gd name="csX29" fmla="*/ 213836 w 697572"/>
              <a:gd name="csY29" fmla="*/ 720505 h 1240128"/>
              <a:gd name="csX30" fmla="*/ 227791 w 697572"/>
              <a:gd name="csY30" fmla="*/ 667353 h 1240128"/>
              <a:gd name="csX31" fmla="*/ 241013 w 697572"/>
              <a:gd name="csY31" fmla="*/ 599151 h 1240128"/>
              <a:gd name="csX32" fmla="*/ 247322 w 697572"/>
              <a:gd name="csY32" fmla="*/ 542242 h 1240128"/>
              <a:gd name="csX33" fmla="*/ 247948 w 697572"/>
              <a:gd name="csY33" fmla="*/ 499296 h 1240128"/>
              <a:gd name="csX34" fmla="*/ 247577 w 697572"/>
              <a:gd name="csY34" fmla="*/ 470384 h 1240128"/>
              <a:gd name="csX35" fmla="*/ 238877 w 697572"/>
              <a:gd name="csY35" fmla="*/ 460987 h 1240128"/>
              <a:gd name="csX36" fmla="*/ 222040 w 697572"/>
              <a:gd name="csY36" fmla="*/ 458353 h 1240128"/>
              <a:gd name="csX37" fmla="*/ 172193 w 697572"/>
              <a:gd name="csY37" fmla="*/ 433714 h 1240128"/>
              <a:gd name="csX38" fmla="*/ 168410 w 697572"/>
              <a:gd name="csY38" fmla="*/ 396591 h 1240128"/>
              <a:gd name="csX39" fmla="*/ 209826 w 697572"/>
              <a:gd name="csY39" fmla="*/ 367773 h 1240128"/>
              <a:gd name="csX40" fmla="*/ 250732 w 697572"/>
              <a:gd name="csY40" fmla="*/ 355208 h 1240128"/>
              <a:gd name="csX41" fmla="*/ 258289 w 697572"/>
              <a:gd name="csY41" fmla="*/ 350426 h 1240128"/>
              <a:gd name="csX42" fmla="*/ 233274 w 697572"/>
              <a:gd name="csY42" fmla="*/ 333513 h 1240128"/>
              <a:gd name="csX43" fmla="*/ 229677 w 697572"/>
              <a:gd name="csY43" fmla="*/ 333922 h 1240128"/>
              <a:gd name="csX44" fmla="*/ 230149 w 697572"/>
              <a:gd name="csY44" fmla="*/ 332979 h 1240128"/>
              <a:gd name="csX45" fmla="*/ 227053 w 697572"/>
              <a:gd name="csY45" fmla="*/ 327076 h 1240128"/>
              <a:gd name="csX46" fmla="*/ 196769 w 697572"/>
              <a:gd name="csY46" fmla="*/ 291380 h 1240128"/>
              <a:gd name="csX47" fmla="*/ 184389 w 697572"/>
              <a:gd name="csY47" fmla="*/ 264042 h 1240128"/>
              <a:gd name="csX48" fmla="*/ 180630 w 697572"/>
              <a:gd name="csY48" fmla="*/ 257839 h 1240128"/>
              <a:gd name="csX49" fmla="*/ 176231 w 697572"/>
              <a:gd name="csY49" fmla="*/ 250643 h 1240128"/>
              <a:gd name="csX50" fmla="*/ 170073 w 697572"/>
              <a:gd name="csY50" fmla="*/ 146723 h 1240128"/>
              <a:gd name="csX51" fmla="*/ 180929 w 697572"/>
              <a:gd name="csY51" fmla="*/ 114280 h 1240128"/>
              <a:gd name="csX52" fmla="*/ 180839 w 697572"/>
              <a:gd name="csY52" fmla="*/ 101501 h 1240128"/>
              <a:gd name="csX53" fmla="*/ 233536 w 697572"/>
              <a:gd name="csY53" fmla="*/ 39653 h 1240128"/>
              <a:gd name="csX54" fmla="*/ 347618 w 697572"/>
              <a:gd name="csY54" fmla="*/ 35 h 1240128"/>
              <a:gd name="csX55" fmla="*/ 437139 w 697572"/>
              <a:gd name="csY55" fmla="*/ 22396 h 1240128"/>
              <a:gd name="csX56" fmla="*/ 529052 w 697572"/>
              <a:gd name="csY56" fmla="*/ 131093 h 1240128"/>
              <a:gd name="csX57" fmla="*/ 518497 w 697572"/>
              <a:gd name="csY57" fmla="*/ 271517 h 1240128"/>
              <a:gd name="csX58" fmla="*/ 500808 w 697572"/>
              <a:gd name="csY58" fmla="*/ 287385 h 1240128"/>
              <a:gd name="csX59" fmla="*/ 472948 w 697572"/>
              <a:gd name="csY59" fmla="*/ 323290 h 1240128"/>
              <a:gd name="csX60" fmla="*/ 469385 w 697572"/>
              <a:gd name="csY60" fmla="*/ 331565 h 1240128"/>
              <a:gd name="csX61" fmla="*/ 468293 w 697572"/>
              <a:gd name="csY61" fmla="*/ 331320 h 1240128"/>
              <a:gd name="csX62" fmla="*/ 459542 w 697572"/>
              <a:gd name="csY62" fmla="*/ 338942 h 1240128"/>
              <a:gd name="csX63" fmla="*/ 458492 w 697572"/>
              <a:gd name="csY63" fmla="*/ 338671 h 1240128"/>
              <a:gd name="csX64" fmla="*/ 436978 w 697572"/>
              <a:gd name="csY64" fmla="*/ 352226 h 1240128"/>
              <a:gd name="csX65" fmla="*/ 472329 w 697572"/>
              <a:gd name="csY65" fmla="*/ 362890 h 1240128"/>
              <a:gd name="csX66" fmla="*/ 523779 w 697572"/>
              <a:gd name="csY66" fmla="*/ 391962 h 1240128"/>
              <a:gd name="csX67" fmla="*/ 527344 w 697572"/>
              <a:gd name="csY67" fmla="*/ 430096 h 1240128"/>
              <a:gd name="csX68" fmla="*/ 504112 w 697572"/>
              <a:gd name="csY68" fmla="*/ 449628 h 1240128"/>
              <a:gd name="csX69" fmla="*/ 459430 w 697572"/>
              <a:gd name="csY69" fmla="*/ 461116 h 1240128"/>
              <a:gd name="csX70" fmla="*/ 446666 w 697572"/>
              <a:gd name="csY70" fmla="*/ 474229 h 1240128"/>
              <a:gd name="csX71" fmla="*/ 449133 w 697572"/>
              <a:gd name="csY71" fmla="*/ 531639 h 1240128"/>
              <a:gd name="csX72" fmla="*/ 454546 w 697572"/>
              <a:gd name="csY72" fmla="*/ 588688 h 1240128"/>
              <a:gd name="csX73" fmla="*/ 466126 w 697572"/>
              <a:gd name="csY73" fmla="*/ 649736 h 1240128"/>
              <a:gd name="csX74" fmla="*/ 512154 w 697572"/>
              <a:gd name="csY74" fmla="*/ 794006 h 1240128"/>
              <a:gd name="csX75" fmla="*/ 525763 w 697572"/>
              <a:gd name="csY75" fmla="*/ 834323 h 1240128"/>
              <a:gd name="csX76" fmla="*/ 530555 w 697572"/>
              <a:gd name="csY76" fmla="*/ 845114 h 1240128"/>
              <a:gd name="csX77" fmla="*/ 554424 w 697572"/>
              <a:gd name="csY77" fmla="*/ 856618 h 1240128"/>
              <a:gd name="csX78" fmla="*/ 572880 w 697572"/>
              <a:gd name="csY78" fmla="*/ 862546 h 1240128"/>
              <a:gd name="csX79" fmla="*/ 578643 w 697572"/>
              <a:gd name="csY79" fmla="*/ 880396 h 1240128"/>
              <a:gd name="csX80" fmla="*/ 572188 w 697572"/>
              <a:gd name="csY80" fmla="*/ 899820 h 1240128"/>
              <a:gd name="csX81" fmla="*/ 582698 w 697572"/>
              <a:gd name="csY81" fmla="*/ 930382 h 1240128"/>
              <a:gd name="csX82" fmla="*/ 604747 w 697572"/>
              <a:gd name="csY82" fmla="*/ 960852 h 1240128"/>
              <a:gd name="csX83" fmla="*/ 613863 w 697572"/>
              <a:gd name="csY83" fmla="*/ 968311 h 1240128"/>
              <a:gd name="csX84" fmla="*/ 629435 w 697572"/>
              <a:gd name="csY84" fmla="*/ 981186 h 1240128"/>
              <a:gd name="csX85" fmla="*/ 633611 w 697572"/>
              <a:gd name="csY85" fmla="*/ 985609 h 1240128"/>
              <a:gd name="csX86" fmla="*/ 673790 w 697572"/>
              <a:gd name="csY86" fmla="*/ 1049348 h 1240128"/>
              <a:gd name="csX87" fmla="*/ 675873 w 697572"/>
              <a:gd name="csY87" fmla="*/ 1092839 h 1240128"/>
              <a:gd name="csX88" fmla="*/ 681668 w 697572"/>
              <a:gd name="csY88" fmla="*/ 1129292 h 1240128"/>
              <a:gd name="csX89" fmla="*/ 697338 w 697572"/>
              <a:gd name="csY89" fmla="*/ 1196079 h 1240128"/>
              <a:gd name="csX90" fmla="*/ 690637 w 697572"/>
              <a:gd name="csY90" fmla="*/ 1205035 h 1240128"/>
              <a:gd name="csX91" fmla="*/ 639777 w 697572"/>
              <a:gd name="csY91" fmla="*/ 1217994 h 1240128"/>
              <a:gd name="csX92" fmla="*/ 587072 w 697572"/>
              <a:gd name="csY92" fmla="*/ 1227761 h 1240128"/>
              <a:gd name="csX93" fmla="*/ 581793 w 697572"/>
              <a:gd name="csY93" fmla="*/ 1234401 h 1240128"/>
              <a:gd name="csX94" fmla="*/ 357446 w 697572"/>
              <a:gd name="csY94" fmla="*/ 903795 h 1240128"/>
              <a:gd name="csX95" fmla="*/ 344445 w 697572"/>
              <a:gd name="csY95" fmla="*/ 903795 h 1240128"/>
              <a:gd name="csX96" fmla="*/ 349212 w 697572"/>
              <a:gd name="csY96" fmla="*/ 950515 h 1240128"/>
              <a:gd name="csX97" fmla="*/ 349538 w 697572"/>
              <a:gd name="csY97" fmla="*/ 1069392 h 1240128"/>
              <a:gd name="csX98" fmla="*/ 349415 w 697572"/>
              <a:gd name="csY98" fmla="*/ 1108925 h 1240128"/>
              <a:gd name="csX99" fmla="*/ 647726 w 697572"/>
              <a:gd name="csY99" fmla="*/ 1089872 h 1240128"/>
              <a:gd name="csX100" fmla="*/ 647654 w 697572"/>
              <a:gd name="csY100" fmla="*/ 1076267 h 1240128"/>
              <a:gd name="csX101" fmla="*/ 610267 w 697572"/>
              <a:gd name="csY101" fmla="*/ 994126 h 1240128"/>
              <a:gd name="csX102" fmla="*/ 571459 w 697572"/>
              <a:gd name="csY102" fmla="*/ 956568 h 1240128"/>
              <a:gd name="csX103" fmla="*/ 541653 w 697572"/>
              <a:gd name="csY103" fmla="*/ 901544 h 1240128"/>
              <a:gd name="csX104" fmla="*/ 539477 w 697572"/>
              <a:gd name="csY104" fmla="*/ 895908 h 1240128"/>
              <a:gd name="csX105" fmla="*/ 357446 w 697572"/>
              <a:gd name="csY105" fmla="*/ 903795 h 1240128"/>
              <a:gd name="csX106" fmla="*/ 300108 w 697572"/>
              <a:gd name="csY106" fmla="*/ 85260 h 1240128"/>
              <a:gd name="csX107" fmla="*/ 290213 w 697572"/>
              <a:gd name="csY107" fmla="*/ 127888 h 1240128"/>
              <a:gd name="csX108" fmla="*/ 331056 w 697572"/>
              <a:gd name="csY108" fmla="*/ 214168 h 1240128"/>
              <a:gd name="csX109" fmla="*/ 424717 w 697572"/>
              <a:gd name="csY109" fmla="*/ 245160 h 1240128"/>
              <a:gd name="csX110" fmla="*/ 496752 w 697572"/>
              <a:gd name="csY110" fmla="*/ 141256 h 1240128"/>
              <a:gd name="csX111" fmla="*/ 390320 w 697572"/>
              <a:gd name="csY111" fmla="*/ 43995 h 1240128"/>
              <a:gd name="csX112" fmla="*/ 300108 w 697572"/>
              <a:gd name="csY112" fmla="*/ 85260 h 1240128"/>
              <a:gd name="csX113" fmla="*/ 343360 w 697572"/>
              <a:gd name="csY113" fmla="*/ 634332 h 1240128"/>
              <a:gd name="csX114" fmla="*/ 340877 w 697572"/>
              <a:gd name="csY114" fmla="*/ 732259 h 1240128"/>
              <a:gd name="csX115" fmla="*/ 338360 w 697572"/>
              <a:gd name="csY115" fmla="*/ 810538 h 1240128"/>
              <a:gd name="csX116" fmla="*/ 337115 w 697572"/>
              <a:gd name="csY116" fmla="*/ 817736 h 1240128"/>
              <a:gd name="csX117" fmla="*/ 336516 w 697572"/>
              <a:gd name="csY117" fmla="*/ 863022 h 1240128"/>
              <a:gd name="csX118" fmla="*/ 343436 w 697572"/>
              <a:gd name="csY118" fmla="*/ 864027 h 1240128"/>
              <a:gd name="csX119" fmla="*/ 406718 w 697572"/>
              <a:gd name="csY119" fmla="*/ 862982 h 1240128"/>
              <a:gd name="csX120" fmla="*/ 456888 w 697572"/>
              <a:gd name="csY120" fmla="*/ 861794 h 1240128"/>
              <a:gd name="csX121" fmla="*/ 495873 w 697572"/>
              <a:gd name="csY121" fmla="*/ 863963 h 1240128"/>
              <a:gd name="csX122" fmla="*/ 509286 w 697572"/>
              <a:gd name="csY122" fmla="*/ 863595 h 1240128"/>
              <a:gd name="csX123" fmla="*/ 516956 w 697572"/>
              <a:gd name="csY123" fmla="*/ 856791 h 1240128"/>
              <a:gd name="csX124" fmla="*/ 513920 w 697572"/>
              <a:gd name="csY124" fmla="*/ 848709 h 1240128"/>
              <a:gd name="csX125" fmla="*/ 506683 w 697572"/>
              <a:gd name="csY125" fmla="*/ 839054 h 1240128"/>
              <a:gd name="csX126" fmla="*/ 488629 w 697572"/>
              <a:gd name="csY126" fmla="*/ 799037 h 1240128"/>
              <a:gd name="csX127" fmla="*/ 456922 w 697572"/>
              <a:gd name="csY127" fmla="*/ 696297 h 1240128"/>
              <a:gd name="csX128" fmla="*/ 441346 w 697572"/>
              <a:gd name="csY128" fmla="*/ 619885 h 1240128"/>
              <a:gd name="csX129" fmla="*/ 435963 w 697572"/>
              <a:gd name="csY129" fmla="*/ 582529 h 1240128"/>
              <a:gd name="csX130" fmla="*/ 429497 w 697572"/>
              <a:gd name="csY130" fmla="*/ 521990 h 1240128"/>
              <a:gd name="csX131" fmla="*/ 426887 w 697572"/>
              <a:gd name="csY131" fmla="*/ 471989 h 1240128"/>
              <a:gd name="csX132" fmla="*/ 413744 w 697572"/>
              <a:gd name="csY132" fmla="*/ 461077 h 1240128"/>
              <a:gd name="csX133" fmla="*/ 353573 w 697572"/>
              <a:gd name="csY133" fmla="*/ 461120 h 1240128"/>
              <a:gd name="csX134" fmla="*/ 344160 w 697572"/>
              <a:gd name="csY134" fmla="*/ 462286 h 1240128"/>
              <a:gd name="csX135" fmla="*/ 343404 w 697572"/>
              <a:gd name="csY135" fmla="*/ 469192 h 1240128"/>
              <a:gd name="csX136" fmla="*/ 343469 w 697572"/>
              <a:gd name="csY136" fmla="*/ 574797 h 1240128"/>
              <a:gd name="csX137" fmla="*/ 345522 w 697572"/>
              <a:gd name="csY137" fmla="*/ 591669 h 1240128"/>
              <a:gd name="csX138" fmla="*/ 343360 w 697572"/>
              <a:gd name="csY138" fmla="*/ 634332 h 1240128"/>
              <a:gd name="csX139" fmla="*/ 416946 w 697572"/>
              <a:gd name="csY139" fmla="*/ 385943 h 1240128"/>
              <a:gd name="csX140" fmla="*/ 401091 w 697572"/>
              <a:gd name="csY140" fmla="*/ 387162 h 1240128"/>
              <a:gd name="csX141" fmla="*/ 369218 w 697572"/>
              <a:gd name="csY141" fmla="*/ 387708 h 1240128"/>
              <a:gd name="csX142" fmla="*/ 351833 w 697572"/>
              <a:gd name="csY142" fmla="*/ 398991 h 1240128"/>
              <a:gd name="csX143" fmla="*/ 349778 w 697572"/>
              <a:gd name="csY143" fmla="*/ 426021 h 1240128"/>
              <a:gd name="csX144" fmla="*/ 361839 w 697572"/>
              <a:gd name="csY144" fmla="*/ 426538 h 1240128"/>
              <a:gd name="csX145" fmla="*/ 455022 w 697572"/>
              <a:gd name="csY145" fmla="*/ 426922 h 1240128"/>
              <a:gd name="csX146" fmla="*/ 481958 w 697572"/>
              <a:gd name="csY146" fmla="*/ 426527 h 1240128"/>
              <a:gd name="csX147" fmla="*/ 499817 w 697572"/>
              <a:gd name="csY147" fmla="*/ 419888 h 1240128"/>
              <a:gd name="csX148" fmla="*/ 499439 w 697572"/>
              <a:gd name="csY148" fmla="*/ 400719 h 1240128"/>
              <a:gd name="csX149" fmla="*/ 468062 w 697572"/>
              <a:gd name="csY149" fmla="*/ 387775 h 1240128"/>
              <a:gd name="csX150" fmla="*/ 416946 w 697572"/>
              <a:gd name="csY150" fmla="*/ 385943 h 1240128"/>
              <a:gd name="csX151" fmla="*/ 636802 w 697572"/>
              <a:gd name="csY151" fmla="*/ 1190940 h 1240128"/>
              <a:gd name="csX152" fmla="*/ 666492 w 697572"/>
              <a:gd name="csY152" fmla="*/ 1184186 h 1240128"/>
              <a:gd name="csX153" fmla="*/ 674465 w 697572"/>
              <a:gd name="csY153" fmla="*/ 1170880 h 1240128"/>
              <a:gd name="csX154" fmla="*/ 662462 w 697572"/>
              <a:gd name="csY154" fmla="*/ 1141464 h 1240128"/>
              <a:gd name="csX155" fmla="*/ 645564 w 697572"/>
              <a:gd name="csY155" fmla="*/ 1131937 h 1240128"/>
              <a:gd name="csX156" fmla="*/ 627387 w 697572"/>
              <a:gd name="csY156" fmla="*/ 1133618 h 1240128"/>
              <a:gd name="csX157" fmla="*/ 583917 w 697572"/>
              <a:gd name="csY157" fmla="*/ 1139222 h 1240128"/>
              <a:gd name="csX158" fmla="*/ 543741 w 697572"/>
              <a:gd name="csY158" fmla="*/ 1141869 h 1240128"/>
              <a:gd name="csX159" fmla="*/ 512146 w 697572"/>
              <a:gd name="csY159" fmla="*/ 1144418 h 1240128"/>
              <a:gd name="csX160" fmla="*/ 447711 w 697572"/>
              <a:gd name="csY160" fmla="*/ 1148973 h 1240128"/>
              <a:gd name="csX161" fmla="*/ 351979 w 697572"/>
              <a:gd name="csY161" fmla="*/ 1149200 h 1240128"/>
              <a:gd name="csX162" fmla="*/ 338443 w 697572"/>
              <a:gd name="csY162" fmla="*/ 1150040 h 1240128"/>
              <a:gd name="csX163" fmla="*/ 338451 w 697572"/>
              <a:gd name="csY163" fmla="*/ 1190780 h 1240128"/>
              <a:gd name="csX164" fmla="*/ 351082 w 697572"/>
              <a:gd name="csY164" fmla="*/ 1207015 h 1240128"/>
              <a:gd name="csX165" fmla="*/ 358298 w 697572"/>
              <a:gd name="csY165" fmla="*/ 1208094 h 1240128"/>
              <a:gd name="csX166" fmla="*/ 521229 w 697572"/>
              <a:gd name="csY166" fmla="*/ 1205646 h 1240128"/>
              <a:gd name="csX167" fmla="*/ 523675 w 697572"/>
              <a:gd name="csY167" fmla="*/ 1205490 h 1240128"/>
              <a:gd name="csX168" fmla="*/ 580423 w 697572"/>
              <a:gd name="csY168" fmla="*/ 1198350 h 1240128"/>
              <a:gd name="csX169" fmla="*/ 636802 w 697572"/>
              <a:gd name="csY169" fmla="*/ 1190940 h 124012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</a:cxnLst>
            <a:rect l="l" t="t" r="r" b="b"/>
            <a:pathLst>
              <a:path w="697572" h="1240128">
                <a:moveTo>
                  <a:pt x="581793" y="1234401"/>
                </a:moveTo>
                <a:cubicBezTo>
                  <a:pt x="580693" y="1234661"/>
                  <a:pt x="579594" y="1234922"/>
                  <a:pt x="577427" y="1234156"/>
                </a:cubicBezTo>
                <a:cubicBezTo>
                  <a:pt x="571216" y="1227899"/>
                  <a:pt x="564912" y="1230441"/>
                  <a:pt x="559133" y="1230909"/>
                </a:cubicBezTo>
                <a:cubicBezTo>
                  <a:pt x="544971" y="1232056"/>
                  <a:pt x="530869" y="1233971"/>
                  <a:pt x="516706" y="1235117"/>
                </a:cubicBezTo>
                <a:cubicBezTo>
                  <a:pt x="502910" y="1236232"/>
                  <a:pt x="489077" y="1237097"/>
                  <a:pt x="475244" y="1237506"/>
                </a:cubicBezTo>
                <a:cubicBezTo>
                  <a:pt x="440539" y="1238535"/>
                  <a:pt x="405696" y="1241458"/>
                  <a:pt x="371154" y="1239428"/>
                </a:cubicBezTo>
                <a:cubicBezTo>
                  <a:pt x="339645" y="1237575"/>
                  <a:pt x="308239" y="1238753"/>
                  <a:pt x="276813" y="1237654"/>
                </a:cubicBezTo>
                <a:cubicBezTo>
                  <a:pt x="273949" y="1237553"/>
                  <a:pt x="271079" y="1237652"/>
                  <a:pt x="268212" y="1237635"/>
                </a:cubicBezTo>
                <a:cubicBezTo>
                  <a:pt x="266165" y="1237623"/>
                  <a:pt x="264111" y="1237668"/>
                  <a:pt x="262072" y="1237523"/>
                </a:cubicBezTo>
                <a:cubicBezTo>
                  <a:pt x="239751" y="1235944"/>
                  <a:pt x="217441" y="1234201"/>
                  <a:pt x="195111" y="1232775"/>
                </a:cubicBezTo>
                <a:cubicBezTo>
                  <a:pt x="178437" y="1231710"/>
                  <a:pt x="161712" y="1231378"/>
                  <a:pt x="145060" y="1230076"/>
                </a:cubicBezTo>
                <a:cubicBezTo>
                  <a:pt x="134969" y="1229287"/>
                  <a:pt x="124987" y="1227177"/>
                  <a:pt x="114933" y="1225832"/>
                </a:cubicBezTo>
                <a:cubicBezTo>
                  <a:pt x="100834" y="1223946"/>
                  <a:pt x="86554" y="1223022"/>
                  <a:pt x="72642" y="1220237"/>
                </a:cubicBezTo>
                <a:cubicBezTo>
                  <a:pt x="51920" y="1216091"/>
                  <a:pt x="31443" y="1210723"/>
                  <a:pt x="10894" y="1205737"/>
                </a:cubicBezTo>
                <a:cubicBezTo>
                  <a:pt x="9027" y="1205284"/>
                  <a:pt x="6196" y="1204140"/>
                  <a:pt x="5856" y="1202799"/>
                </a:cubicBezTo>
                <a:cubicBezTo>
                  <a:pt x="3474" y="1193418"/>
                  <a:pt x="-438" y="1183796"/>
                  <a:pt x="40" y="1174450"/>
                </a:cubicBezTo>
                <a:cubicBezTo>
                  <a:pt x="1079" y="1154149"/>
                  <a:pt x="9757" y="1135843"/>
                  <a:pt x="19831" y="1118410"/>
                </a:cubicBezTo>
                <a:cubicBezTo>
                  <a:pt x="21968" y="1114713"/>
                  <a:pt x="22970" y="1111858"/>
                  <a:pt x="22004" y="1107240"/>
                </a:cubicBezTo>
                <a:cubicBezTo>
                  <a:pt x="17168" y="1084118"/>
                  <a:pt x="17717" y="1061168"/>
                  <a:pt x="25947" y="1038650"/>
                </a:cubicBezTo>
                <a:cubicBezTo>
                  <a:pt x="32954" y="1019481"/>
                  <a:pt x="44478" y="1003118"/>
                  <a:pt x="58234" y="988567"/>
                </a:cubicBezTo>
                <a:cubicBezTo>
                  <a:pt x="77769" y="967902"/>
                  <a:pt x="97978" y="947832"/>
                  <a:pt x="118645" y="928298"/>
                </a:cubicBezTo>
                <a:cubicBezTo>
                  <a:pt x="130104" y="917467"/>
                  <a:pt x="131835" y="905961"/>
                  <a:pt x="126320" y="892015"/>
                </a:cubicBezTo>
                <a:cubicBezTo>
                  <a:pt x="123798" y="885637"/>
                  <a:pt x="122123" y="878904"/>
                  <a:pt x="120345" y="872258"/>
                </a:cubicBezTo>
                <a:cubicBezTo>
                  <a:pt x="119029" y="867341"/>
                  <a:pt x="120162" y="863613"/>
                  <a:pt x="125668" y="861640"/>
                </a:cubicBezTo>
                <a:cubicBezTo>
                  <a:pt x="135266" y="858201"/>
                  <a:pt x="144535" y="853788"/>
                  <a:pt x="154237" y="850716"/>
                </a:cubicBezTo>
                <a:cubicBezTo>
                  <a:pt x="161882" y="848296"/>
                  <a:pt x="167110" y="843897"/>
                  <a:pt x="170248" y="836767"/>
                </a:cubicBezTo>
                <a:cubicBezTo>
                  <a:pt x="176168" y="823316"/>
                  <a:pt x="182193" y="809907"/>
                  <a:pt x="187840" y="796341"/>
                </a:cubicBezTo>
                <a:cubicBezTo>
                  <a:pt x="195194" y="778679"/>
                  <a:pt x="202250" y="760894"/>
                  <a:pt x="209346" y="743126"/>
                </a:cubicBezTo>
                <a:cubicBezTo>
                  <a:pt x="210083" y="741280"/>
                  <a:pt x="210252" y="739200"/>
                  <a:pt x="210630" y="737219"/>
                </a:cubicBezTo>
                <a:cubicBezTo>
                  <a:pt x="211694" y="731645"/>
                  <a:pt x="212425" y="725987"/>
                  <a:pt x="213836" y="720505"/>
                </a:cubicBezTo>
                <a:cubicBezTo>
                  <a:pt x="218406" y="702764"/>
                  <a:pt x="223811" y="685219"/>
                  <a:pt x="227791" y="667353"/>
                </a:cubicBezTo>
                <a:cubicBezTo>
                  <a:pt x="232826" y="644755"/>
                  <a:pt x="237367" y="622009"/>
                  <a:pt x="241013" y="599151"/>
                </a:cubicBezTo>
                <a:cubicBezTo>
                  <a:pt x="244018" y="580319"/>
                  <a:pt x="246001" y="561272"/>
                  <a:pt x="247322" y="542242"/>
                </a:cubicBezTo>
                <a:cubicBezTo>
                  <a:pt x="248312" y="527975"/>
                  <a:pt x="246344" y="513451"/>
                  <a:pt x="247948" y="499296"/>
                </a:cubicBezTo>
                <a:cubicBezTo>
                  <a:pt x="249066" y="489432"/>
                  <a:pt x="247923" y="480014"/>
                  <a:pt x="247577" y="470384"/>
                </a:cubicBezTo>
                <a:cubicBezTo>
                  <a:pt x="247364" y="464453"/>
                  <a:pt x="245121" y="461397"/>
                  <a:pt x="238877" y="460987"/>
                </a:cubicBezTo>
                <a:cubicBezTo>
                  <a:pt x="233224" y="460615"/>
                  <a:pt x="227461" y="459920"/>
                  <a:pt x="222040" y="458353"/>
                </a:cubicBezTo>
                <a:cubicBezTo>
                  <a:pt x="203991" y="453134"/>
                  <a:pt x="185737" y="448229"/>
                  <a:pt x="172193" y="433714"/>
                </a:cubicBezTo>
                <a:cubicBezTo>
                  <a:pt x="162702" y="423544"/>
                  <a:pt x="160887" y="408134"/>
                  <a:pt x="168410" y="396591"/>
                </a:cubicBezTo>
                <a:cubicBezTo>
                  <a:pt x="178294" y="381428"/>
                  <a:pt x="193736" y="373793"/>
                  <a:pt x="209826" y="367773"/>
                </a:cubicBezTo>
                <a:cubicBezTo>
                  <a:pt x="223159" y="362784"/>
                  <a:pt x="237124" y="359493"/>
                  <a:pt x="250732" y="355208"/>
                </a:cubicBezTo>
                <a:cubicBezTo>
                  <a:pt x="253085" y="354467"/>
                  <a:pt x="255058" y="352518"/>
                  <a:pt x="258289" y="350426"/>
                </a:cubicBezTo>
                <a:cubicBezTo>
                  <a:pt x="250173" y="342610"/>
                  <a:pt x="241833" y="337880"/>
                  <a:pt x="233274" y="333513"/>
                </a:cubicBezTo>
                <a:cubicBezTo>
                  <a:pt x="232377" y="333055"/>
                  <a:pt x="230890" y="333758"/>
                  <a:pt x="229677" y="333922"/>
                </a:cubicBezTo>
                <a:cubicBezTo>
                  <a:pt x="229677" y="333922"/>
                  <a:pt x="230323" y="333834"/>
                  <a:pt x="230149" y="332979"/>
                </a:cubicBezTo>
                <a:cubicBezTo>
                  <a:pt x="229023" y="330409"/>
                  <a:pt x="228502" y="328059"/>
                  <a:pt x="227053" y="327076"/>
                </a:cubicBezTo>
                <a:cubicBezTo>
                  <a:pt x="213615" y="317962"/>
                  <a:pt x="204643" y="305332"/>
                  <a:pt x="196769" y="291380"/>
                </a:cubicBezTo>
                <a:cubicBezTo>
                  <a:pt x="191792" y="282564"/>
                  <a:pt x="185421" y="274665"/>
                  <a:pt x="184389" y="264042"/>
                </a:cubicBezTo>
                <a:cubicBezTo>
                  <a:pt x="184179" y="261874"/>
                  <a:pt x="181925" y="259908"/>
                  <a:pt x="180630" y="257839"/>
                </a:cubicBezTo>
                <a:cubicBezTo>
                  <a:pt x="179137" y="255454"/>
                  <a:pt x="177317" y="253204"/>
                  <a:pt x="176231" y="250643"/>
                </a:cubicBezTo>
                <a:cubicBezTo>
                  <a:pt x="161865" y="216749"/>
                  <a:pt x="159606" y="182060"/>
                  <a:pt x="170073" y="146723"/>
                </a:cubicBezTo>
                <a:cubicBezTo>
                  <a:pt x="173311" y="135795"/>
                  <a:pt x="177248" y="125074"/>
                  <a:pt x="180929" y="114280"/>
                </a:cubicBezTo>
                <a:cubicBezTo>
                  <a:pt x="182396" y="109981"/>
                  <a:pt x="183922" y="105742"/>
                  <a:pt x="180839" y="101501"/>
                </a:cubicBezTo>
                <a:cubicBezTo>
                  <a:pt x="192473" y="75833"/>
                  <a:pt x="211344" y="56271"/>
                  <a:pt x="233536" y="39653"/>
                </a:cubicBezTo>
                <a:cubicBezTo>
                  <a:pt x="267321" y="14353"/>
                  <a:pt x="305621" y="873"/>
                  <a:pt x="347618" y="35"/>
                </a:cubicBezTo>
                <a:cubicBezTo>
                  <a:pt x="379125" y="-593"/>
                  <a:pt x="409214" y="7172"/>
                  <a:pt x="437139" y="22396"/>
                </a:cubicBezTo>
                <a:cubicBezTo>
                  <a:pt x="481844" y="46766"/>
                  <a:pt x="514077" y="82116"/>
                  <a:pt x="529052" y="131093"/>
                </a:cubicBezTo>
                <a:cubicBezTo>
                  <a:pt x="543544" y="178495"/>
                  <a:pt x="541630" y="225548"/>
                  <a:pt x="518497" y="271517"/>
                </a:cubicBezTo>
                <a:cubicBezTo>
                  <a:pt x="511428" y="277096"/>
                  <a:pt x="503848" y="281136"/>
                  <a:pt x="500808" y="287385"/>
                </a:cubicBezTo>
                <a:cubicBezTo>
                  <a:pt x="493932" y="301522"/>
                  <a:pt x="483805" y="312513"/>
                  <a:pt x="472948" y="323290"/>
                </a:cubicBezTo>
                <a:cubicBezTo>
                  <a:pt x="470972" y="325253"/>
                  <a:pt x="470533" y="328767"/>
                  <a:pt x="469385" y="331565"/>
                </a:cubicBezTo>
                <a:cubicBezTo>
                  <a:pt x="469385" y="331565"/>
                  <a:pt x="469172" y="331584"/>
                  <a:pt x="468293" y="331320"/>
                </a:cubicBezTo>
                <a:cubicBezTo>
                  <a:pt x="461937" y="330836"/>
                  <a:pt x="458618" y="332772"/>
                  <a:pt x="459542" y="338942"/>
                </a:cubicBezTo>
                <a:cubicBezTo>
                  <a:pt x="459542" y="338942"/>
                  <a:pt x="459473" y="338913"/>
                  <a:pt x="458492" y="338671"/>
                </a:cubicBezTo>
                <a:cubicBezTo>
                  <a:pt x="450936" y="342653"/>
                  <a:pt x="440712" y="341355"/>
                  <a:pt x="436978" y="352226"/>
                </a:cubicBezTo>
                <a:cubicBezTo>
                  <a:pt x="449178" y="355911"/>
                  <a:pt x="460733" y="359469"/>
                  <a:pt x="472329" y="362890"/>
                </a:cubicBezTo>
                <a:cubicBezTo>
                  <a:pt x="491728" y="368613"/>
                  <a:pt x="510182" y="375784"/>
                  <a:pt x="523779" y="391962"/>
                </a:cubicBezTo>
                <a:cubicBezTo>
                  <a:pt x="535849" y="406326"/>
                  <a:pt x="534845" y="420076"/>
                  <a:pt x="527344" y="430096"/>
                </a:cubicBezTo>
                <a:cubicBezTo>
                  <a:pt x="521323" y="438139"/>
                  <a:pt x="513928" y="445333"/>
                  <a:pt x="504112" y="449628"/>
                </a:cubicBezTo>
                <a:cubicBezTo>
                  <a:pt x="489776" y="455901"/>
                  <a:pt x="475173" y="460486"/>
                  <a:pt x="459430" y="461116"/>
                </a:cubicBezTo>
                <a:cubicBezTo>
                  <a:pt x="448415" y="461557"/>
                  <a:pt x="446384" y="463369"/>
                  <a:pt x="446666" y="474229"/>
                </a:cubicBezTo>
                <a:cubicBezTo>
                  <a:pt x="447164" y="493376"/>
                  <a:pt x="447839" y="512533"/>
                  <a:pt x="449133" y="531639"/>
                </a:cubicBezTo>
                <a:cubicBezTo>
                  <a:pt x="450424" y="550696"/>
                  <a:pt x="451783" y="569809"/>
                  <a:pt x="454546" y="588688"/>
                </a:cubicBezTo>
                <a:cubicBezTo>
                  <a:pt x="457543" y="609164"/>
                  <a:pt x="462165" y="629403"/>
                  <a:pt x="466126" y="649736"/>
                </a:cubicBezTo>
                <a:cubicBezTo>
                  <a:pt x="475845" y="699621"/>
                  <a:pt x="493414" y="746980"/>
                  <a:pt x="512154" y="794006"/>
                </a:cubicBezTo>
                <a:cubicBezTo>
                  <a:pt x="517387" y="807138"/>
                  <a:pt x="525145" y="819463"/>
                  <a:pt x="525763" y="834323"/>
                </a:cubicBezTo>
                <a:cubicBezTo>
                  <a:pt x="525919" y="838081"/>
                  <a:pt x="527739" y="843335"/>
                  <a:pt x="530555" y="845114"/>
                </a:cubicBezTo>
                <a:cubicBezTo>
                  <a:pt x="537981" y="849801"/>
                  <a:pt x="546243" y="853278"/>
                  <a:pt x="554424" y="856618"/>
                </a:cubicBezTo>
                <a:cubicBezTo>
                  <a:pt x="560391" y="859054"/>
                  <a:pt x="567041" y="859887"/>
                  <a:pt x="572880" y="862546"/>
                </a:cubicBezTo>
                <a:cubicBezTo>
                  <a:pt x="581470" y="866458"/>
                  <a:pt x="582467" y="871415"/>
                  <a:pt x="578643" y="880396"/>
                </a:cubicBezTo>
                <a:cubicBezTo>
                  <a:pt x="575969" y="886677"/>
                  <a:pt x="572900" y="893182"/>
                  <a:pt x="572188" y="899820"/>
                </a:cubicBezTo>
                <a:cubicBezTo>
                  <a:pt x="570960" y="911271"/>
                  <a:pt x="576506" y="920944"/>
                  <a:pt x="582698" y="930382"/>
                </a:cubicBezTo>
                <a:cubicBezTo>
                  <a:pt x="589569" y="940856"/>
                  <a:pt x="600933" y="947930"/>
                  <a:pt x="604747" y="960852"/>
                </a:cubicBezTo>
                <a:cubicBezTo>
                  <a:pt x="605684" y="964030"/>
                  <a:pt x="610294" y="967128"/>
                  <a:pt x="613863" y="968311"/>
                </a:cubicBezTo>
                <a:cubicBezTo>
                  <a:pt x="620963" y="970665"/>
                  <a:pt x="625924" y="974774"/>
                  <a:pt x="629435" y="981186"/>
                </a:cubicBezTo>
                <a:cubicBezTo>
                  <a:pt x="630381" y="982913"/>
                  <a:pt x="631977" y="984459"/>
                  <a:pt x="633611" y="985609"/>
                </a:cubicBezTo>
                <a:cubicBezTo>
                  <a:pt x="655878" y="1001272"/>
                  <a:pt x="668032" y="1023762"/>
                  <a:pt x="673790" y="1049348"/>
                </a:cubicBezTo>
                <a:cubicBezTo>
                  <a:pt x="676936" y="1063327"/>
                  <a:pt x="679769" y="1077802"/>
                  <a:pt x="675873" y="1092839"/>
                </a:cubicBezTo>
                <a:cubicBezTo>
                  <a:pt x="672677" y="1105174"/>
                  <a:pt x="673042" y="1116963"/>
                  <a:pt x="681668" y="1129292"/>
                </a:cubicBezTo>
                <a:cubicBezTo>
                  <a:pt x="695321" y="1148802"/>
                  <a:pt x="698550" y="1172235"/>
                  <a:pt x="697338" y="1196079"/>
                </a:cubicBezTo>
                <a:cubicBezTo>
                  <a:pt x="697087" y="1201014"/>
                  <a:pt x="694979" y="1203886"/>
                  <a:pt x="690637" y="1205035"/>
                </a:cubicBezTo>
                <a:cubicBezTo>
                  <a:pt x="673723" y="1209511"/>
                  <a:pt x="656856" y="1214241"/>
                  <a:pt x="639777" y="1217994"/>
                </a:cubicBezTo>
                <a:cubicBezTo>
                  <a:pt x="622334" y="1221827"/>
                  <a:pt x="604691" y="1224790"/>
                  <a:pt x="587072" y="1227761"/>
                </a:cubicBezTo>
                <a:cubicBezTo>
                  <a:pt x="582708" y="1228497"/>
                  <a:pt x="581724" y="1230736"/>
                  <a:pt x="581793" y="1234401"/>
                </a:cubicBezTo>
                <a:moveTo>
                  <a:pt x="357446" y="903795"/>
                </a:moveTo>
                <a:cubicBezTo>
                  <a:pt x="353141" y="903795"/>
                  <a:pt x="348835" y="903795"/>
                  <a:pt x="344445" y="903795"/>
                </a:cubicBezTo>
                <a:cubicBezTo>
                  <a:pt x="346169" y="920562"/>
                  <a:pt x="347908" y="935520"/>
                  <a:pt x="349212" y="950515"/>
                </a:cubicBezTo>
                <a:cubicBezTo>
                  <a:pt x="352656" y="990125"/>
                  <a:pt x="351941" y="1029743"/>
                  <a:pt x="349538" y="1069392"/>
                </a:cubicBezTo>
                <a:cubicBezTo>
                  <a:pt x="348759" y="1082241"/>
                  <a:pt x="349415" y="1095176"/>
                  <a:pt x="349415" y="1108925"/>
                </a:cubicBezTo>
                <a:cubicBezTo>
                  <a:pt x="449467" y="1111953"/>
                  <a:pt x="548509" y="1104712"/>
                  <a:pt x="647726" y="1089872"/>
                </a:cubicBezTo>
                <a:cubicBezTo>
                  <a:pt x="647726" y="1084313"/>
                  <a:pt x="648180" y="1080225"/>
                  <a:pt x="647654" y="1076267"/>
                </a:cubicBezTo>
                <a:cubicBezTo>
                  <a:pt x="643515" y="1045124"/>
                  <a:pt x="633172" y="1016714"/>
                  <a:pt x="610267" y="994126"/>
                </a:cubicBezTo>
                <a:cubicBezTo>
                  <a:pt x="597451" y="981485"/>
                  <a:pt x="584392" y="969090"/>
                  <a:pt x="571459" y="956568"/>
                </a:cubicBezTo>
                <a:cubicBezTo>
                  <a:pt x="555751" y="941359"/>
                  <a:pt x="544836" y="923558"/>
                  <a:pt x="541653" y="901544"/>
                </a:cubicBezTo>
                <a:cubicBezTo>
                  <a:pt x="541430" y="900007"/>
                  <a:pt x="540528" y="898570"/>
                  <a:pt x="539477" y="895908"/>
                </a:cubicBezTo>
                <a:cubicBezTo>
                  <a:pt x="479736" y="901652"/>
                  <a:pt x="419815" y="904536"/>
                  <a:pt x="357446" y="903795"/>
                </a:cubicBezTo>
                <a:moveTo>
                  <a:pt x="300108" y="85260"/>
                </a:moveTo>
                <a:cubicBezTo>
                  <a:pt x="293656" y="98745"/>
                  <a:pt x="289202" y="113094"/>
                  <a:pt x="290213" y="127888"/>
                </a:cubicBezTo>
                <a:cubicBezTo>
                  <a:pt x="292527" y="161736"/>
                  <a:pt x="304185" y="191723"/>
                  <a:pt x="331056" y="214168"/>
                </a:cubicBezTo>
                <a:cubicBezTo>
                  <a:pt x="358172" y="236816"/>
                  <a:pt x="388435" y="249934"/>
                  <a:pt x="424717" y="245160"/>
                </a:cubicBezTo>
                <a:cubicBezTo>
                  <a:pt x="468593" y="239387"/>
                  <a:pt x="509574" y="203365"/>
                  <a:pt x="496752" y="141256"/>
                </a:cubicBezTo>
                <a:cubicBezTo>
                  <a:pt x="487021" y="94124"/>
                  <a:pt x="447261" y="51874"/>
                  <a:pt x="390320" y="43995"/>
                </a:cubicBezTo>
                <a:cubicBezTo>
                  <a:pt x="353241" y="38865"/>
                  <a:pt x="321136" y="48750"/>
                  <a:pt x="300108" y="85260"/>
                </a:cubicBezTo>
                <a:moveTo>
                  <a:pt x="343360" y="634332"/>
                </a:moveTo>
                <a:cubicBezTo>
                  <a:pt x="342539" y="666975"/>
                  <a:pt x="341785" y="699619"/>
                  <a:pt x="340877" y="732259"/>
                </a:cubicBezTo>
                <a:cubicBezTo>
                  <a:pt x="340151" y="758355"/>
                  <a:pt x="339265" y="784447"/>
                  <a:pt x="338360" y="810538"/>
                </a:cubicBezTo>
                <a:cubicBezTo>
                  <a:pt x="338277" y="812948"/>
                  <a:pt x="337465" y="815325"/>
                  <a:pt x="337115" y="817736"/>
                </a:cubicBezTo>
                <a:cubicBezTo>
                  <a:pt x="334935" y="832710"/>
                  <a:pt x="336026" y="847647"/>
                  <a:pt x="336516" y="863022"/>
                </a:cubicBezTo>
                <a:cubicBezTo>
                  <a:pt x="339537" y="863479"/>
                  <a:pt x="341490" y="864053"/>
                  <a:pt x="343436" y="864027"/>
                </a:cubicBezTo>
                <a:cubicBezTo>
                  <a:pt x="364531" y="863739"/>
                  <a:pt x="385626" y="863422"/>
                  <a:pt x="406718" y="862982"/>
                </a:cubicBezTo>
                <a:cubicBezTo>
                  <a:pt x="423444" y="862634"/>
                  <a:pt x="440168" y="861675"/>
                  <a:pt x="456888" y="861794"/>
                </a:cubicBezTo>
                <a:cubicBezTo>
                  <a:pt x="469887" y="861886"/>
                  <a:pt x="482872" y="863302"/>
                  <a:pt x="495873" y="863963"/>
                </a:cubicBezTo>
                <a:cubicBezTo>
                  <a:pt x="500358" y="864191"/>
                  <a:pt x="505108" y="864773"/>
                  <a:pt x="509286" y="863595"/>
                </a:cubicBezTo>
                <a:cubicBezTo>
                  <a:pt x="512346" y="862732"/>
                  <a:pt x="515714" y="859703"/>
                  <a:pt x="516956" y="856791"/>
                </a:cubicBezTo>
                <a:cubicBezTo>
                  <a:pt x="517783" y="854851"/>
                  <a:pt x="515475" y="851192"/>
                  <a:pt x="513920" y="848709"/>
                </a:cubicBezTo>
                <a:cubicBezTo>
                  <a:pt x="511791" y="845308"/>
                  <a:pt x="508393" y="842606"/>
                  <a:pt x="506683" y="839054"/>
                </a:cubicBezTo>
                <a:cubicBezTo>
                  <a:pt x="500331" y="825864"/>
                  <a:pt x="493224" y="812855"/>
                  <a:pt x="488629" y="799037"/>
                </a:cubicBezTo>
                <a:cubicBezTo>
                  <a:pt x="477322" y="765031"/>
                  <a:pt x="466537" y="730814"/>
                  <a:pt x="456922" y="696297"/>
                </a:cubicBezTo>
                <a:cubicBezTo>
                  <a:pt x="449953" y="671276"/>
                  <a:pt x="443477" y="646020"/>
                  <a:pt x="441346" y="619885"/>
                </a:cubicBezTo>
                <a:cubicBezTo>
                  <a:pt x="440327" y="607371"/>
                  <a:pt x="437466" y="595018"/>
                  <a:pt x="435963" y="582529"/>
                </a:cubicBezTo>
                <a:cubicBezTo>
                  <a:pt x="433539" y="562380"/>
                  <a:pt x="431154" y="542212"/>
                  <a:pt x="429497" y="521990"/>
                </a:cubicBezTo>
                <a:cubicBezTo>
                  <a:pt x="428135" y="505363"/>
                  <a:pt x="428437" y="488593"/>
                  <a:pt x="426887" y="471989"/>
                </a:cubicBezTo>
                <a:cubicBezTo>
                  <a:pt x="425874" y="461140"/>
                  <a:pt x="424983" y="461120"/>
                  <a:pt x="413744" y="461077"/>
                </a:cubicBezTo>
                <a:cubicBezTo>
                  <a:pt x="393687" y="461000"/>
                  <a:pt x="373630" y="461011"/>
                  <a:pt x="353573" y="461120"/>
                </a:cubicBezTo>
                <a:cubicBezTo>
                  <a:pt x="350472" y="461137"/>
                  <a:pt x="347374" y="461869"/>
                  <a:pt x="344160" y="462286"/>
                </a:cubicBezTo>
                <a:cubicBezTo>
                  <a:pt x="343828" y="465198"/>
                  <a:pt x="343406" y="467195"/>
                  <a:pt x="343404" y="469192"/>
                </a:cubicBezTo>
                <a:cubicBezTo>
                  <a:pt x="343360" y="504394"/>
                  <a:pt x="343267" y="539596"/>
                  <a:pt x="343469" y="574797"/>
                </a:cubicBezTo>
                <a:cubicBezTo>
                  <a:pt x="343501" y="580426"/>
                  <a:pt x="345652" y="586065"/>
                  <a:pt x="345522" y="591669"/>
                </a:cubicBezTo>
                <a:cubicBezTo>
                  <a:pt x="345214" y="605082"/>
                  <a:pt x="344131" y="618478"/>
                  <a:pt x="343360" y="634332"/>
                </a:cubicBezTo>
                <a:moveTo>
                  <a:pt x="416946" y="385943"/>
                </a:moveTo>
                <a:cubicBezTo>
                  <a:pt x="411661" y="386365"/>
                  <a:pt x="406384" y="387006"/>
                  <a:pt x="401091" y="387162"/>
                </a:cubicBezTo>
                <a:cubicBezTo>
                  <a:pt x="390470" y="387477"/>
                  <a:pt x="379841" y="387447"/>
                  <a:pt x="369218" y="387708"/>
                </a:cubicBezTo>
                <a:cubicBezTo>
                  <a:pt x="361167" y="387906"/>
                  <a:pt x="354429" y="391368"/>
                  <a:pt x="351833" y="398991"/>
                </a:cubicBezTo>
                <a:cubicBezTo>
                  <a:pt x="348989" y="407342"/>
                  <a:pt x="347050" y="416214"/>
                  <a:pt x="349778" y="426021"/>
                </a:cubicBezTo>
                <a:cubicBezTo>
                  <a:pt x="353876" y="426204"/>
                  <a:pt x="357857" y="426517"/>
                  <a:pt x="361839" y="426538"/>
                </a:cubicBezTo>
                <a:cubicBezTo>
                  <a:pt x="392900" y="426701"/>
                  <a:pt x="423961" y="426826"/>
                  <a:pt x="455022" y="426922"/>
                </a:cubicBezTo>
                <a:cubicBezTo>
                  <a:pt x="464013" y="426950"/>
                  <a:pt x="473106" y="427654"/>
                  <a:pt x="481958" y="426527"/>
                </a:cubicBezTo>
                <a:cubicBezTo>
                  <a:pt x="488144" y="425740"/>
                  <a:pt x="494821" y="423501"/>
                  <a:pt x="499817" y="419888"/>
                </a:cubicBezTo>
                <a:cubicBezTo>
                  <a:pt x="507869" y="414066"/>
                  <a:pt x="507286" y="406755"/>
                  <a:pt x="499439" y="400719"/>
                </a:cubicBezTo>
                <a:cubicBezTo>
                  <a:pt x="490179" y="393597"/>
                  <a:pt x="479486" y="388885"/>
                  <a:pt x="468062" y="387775"/>
                </a:cubicBezTo>
                <a:cubicBezTo>
                  <a:pt x="451873" y="386202"/>
                  <a:pt x="435520" y="386321"/>
                  <a:pt x="416946" y="385943"/>
                </a:cubicBezTo>
                <a:moveTo>
                  <a:pt x="636802" y="1190940"/>
                </a:moveTo>
                <a:cubicBezTo>
                  <a:pt x="646709" y="1188723"/>
                  <a:pt x="656705" y="1186841"/>
                  <a:pt x="666492" y="1184186"/>
                </a:cubicBezTo>
                <a:cubicBezTo>
                  <a:pt x="674710" y="1181958"/>
                  <a:pt x="676989" y="1178509"/>
                  <a:pt x="674465" y="1170880"/>
                </a:cubicBezTo>
                <a:cubicBezTo>
                  <a:pt x="671144" y="1160843"/>
                  <a:pt x="667026" y="1151009"/>
                  <a:pt x="662462" y="1141464"/>
                </a:cubicBezTo>
                <a:cubicBezTo>
                  <a:pt x="659273" y="1134795"/>
                  <a:pt x="653671" y="1130908"/>
                  <a:pt x="645564" y="1131937"/>
                </a:cubicBezTo>
                <a:cubicBezTo>
                  <a:pt x="639532" y="1132703"/>
                  <a:pt x="633423" y="1132867"/>
                  <a:pt x="627387" y="1133618"/>
                </a:cubicBezTo>
                <a:cubicBezTo>
                  <a:pt x="612888" y="1135421"/>
                  <a:pt x="598449" y="1137770"/>
                  <a:pt x="583917" y="1139222"/>
                </a:cubicBezTo>
                <a:cubicBezTo>
                  <a:pt x="570571" y="1140557"/>
                  <a:pt x="557130" y="1140930"/>
                  <a:pt x="543741" y="1141869"/>
                </a:cubicBezTo>
                <a:cubicBezTo>
                  <a:pt x="533202" y="1142610"/>
                  <a:pt x="522682" y="1143623"/>
                  <a:pt x="512146" y="1144418"/>
                </a:cubicBezTo>
                <a:cubicBezTo>
                  <a:pt x="490671" y="1146038"/>
                  <a:pt x="469214" y="1148450"/>
                  <a:pt x="447711" y="1148973"/>
                </a:cubicBezTo>
                <a:cubicBezTo>
                  <a:pt x="415817" y="1149749"/>
                  <a:pt x="383891" y="1149136"/>
                  <a:pt x="351979" y="1149200"/>
                </a:cubicBezTo>
                <a:cubicBezTo>
                  <a:pt x="347698" y="1149209"/>
                  <a:pt x="343419" y="1149717"/>
                  <a:pt x="338443" y="1150040"/>
                </a:cubicBezTo>
                <a:cubicBezTo>
                  <a:pt x="338443" y="1164651"/>
                  <a:pt x="338413" y="1177715"/>
                  <a:pt x="338451" y="1190780"/>
                </a:cubicBezTo>
                <a:cubicBezTo>
                  <a:pt x="338490" y="1204031"/>
                  <a:pt x="338512" y="1204062"/>
                  <a:pt x="351082" y="1207015"/>
                </a:cubicBezTo>
                <a:cubicBezTo>
                  <a:pt x="353445" y="1207570"/>
                  <a:pt x="355895" y="1208128"/>
                  <a:pt x="358298" y="1208094"/>
                </a:cubicBezTo>
                <a:cubicBezTo>
                  <a:pt x="412608" y="1207329"/>
                  <a:pt x="466919" y="1206484"/>
                  <a:pt x="521229" y="1205646"/>
                </a:cubicBezTo>
                <a:cubicBezTo>
                  <a:pt x="522045" y="1205634"/>
                  <a:pt x="522865" y="1205591"/>
                  <a:pt x="523675" y="1205490"/>
                </a:cubicBezTo>
                <a:cubicBezTo>
                  <a:pt x="542593" y="1203123"/>
                  <a:pt x="561519" y="1200820"/>
                  <a:pt x="580423" y="1198350"/>
                </a:cubicBezTo>
                <a:cubicBezTo>
                  <a:pt x="598523" y="1195985"/>
                  <a:pt x="616599" y="1193446"/>
                  <a:pt x="636802" y="1190940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79" name="Free-form: Shape 378">
            <a:extLst>
              <a:ext uri="{FF2B5EF4-FFF2-40B4-BE49-F238E27FC236}">
                <a16:creationId xmlns:a16="http://schemas.microsoft.com/office/drawing/2014/main" id="{057A35A4-3167-D50B-D52D-40DC7784FC2C}"/>
              </a:ext>
            </a:extLst>
          </p:cNvPr>
          <p:cNvSpPr/>
          <p:nvPr/>
        </p:nvSpPr>
        <p:spPr>
          <a:xfrm>
            <a:off x="6457023" y="4426049"/>
            <a:ext cx="17183" cy="1817"/>
          </a:xfrm>
          <a:custGeom>
            <a:avLst/>
            <a:gdLst>
              <a:gd name="csX0" fmla="*/ 0 w 27674"/>
              <a:gd name="csY0" fmla="*/ 2915 h 2925"/>
              <a:gd name="csX1" fmla="*/ 27675 w 27674"/>
              <a:gd name="csY1" fmla="*/ 1550 h 2925"/>
              <a:gd name="csX2" fmla="*/ 0 w 27674"/>
              <a:gd name="csY2" fmla="*/ 2915 h 292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27674" h="2925">
                <a:moveTo>
                  <a:pt x="0" y="2915"/>
                </a:moveTo>
                <a:cubicBezTo>
                  <a:pt x="8211" y="-1939"/>
                  <a:pt x="17625" y="498"/>
                  <a:pt x="27675" y="1550"/>
                </a:cubicBezTo>
                <a:cubicBezTo>
                  <a:pt x="19225" y="2593"/>
                  <a:pt x="10029" y="2999"/>
                  <a:pt x="0" y="2915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80" name="Free-form: Shape 379">
            <a:extLst>
              <a:ext uri="{FF2B5EF4-FFF2-40B4-BE49-F238E27FC236}">
                <a16:creationId xmlns:a16="http://schemas.microsoft.com/office/drawing/2014/main" id="{E9CCAA54-FE82-152F-5FA2-DE0196AE0103}"/>
              </a:ext>
            </a:extLst>
          </p:cNvPr>
          <p:cNvSpPr/>
          <p:nvPr/>
        </p:nvSpPr>
        <p:spPr>
          <a:xfrm>
            <a:off x="6409719" y="4427073"/>
            <a:ext cx="11179" cy="700"/>
          </a:xfrm>
          <a:custGeom>
            <a:avLst/>
            <a:gdLst>
              <a:gd name="csX0" fmla="*/ 0 w 18003"/>
              <a:gd name="csY0" fmla="*/ 1050 h 1128"/>
              <a:gd name="csX1" fmla="*/ 18004 w 18003"/>
              <a:gd name="csY1" fmla="*/ 93 h 1128"/>
              <a:gd name="csX2" fmla="*/ 0 w 18003"/>
              <a:gd name="csY2" fmla="*/ 1050 h 112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8003" h="1128">
                <a:moveTo>
                  <a:pt x="0" y="1050"/>
                </a:moveTo>
                <a:cubicBezTo>
                  <a:pt x="5276" y="182"/>
                  <a:pt x="11306" y="-189"/>
                  <a:pt x="18004" y="93"/>
                </a:cubicBezTo>
                <a:cubicBezTo>
                  <a:pt x="12699" y="1013"/>
                  <a:pt x="6726" y="1280"/>
                  <a:pt x="0" y="1050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81" name="Free-form: Shape 380">
            <a:extLst>
              <a:ext uri="{FF2B5EF4-FFF2-40B4-BE49-F238E27FC236}">
                <a16:creationId xmlns:a16="http://schemas.microsoft.com/office/drawing/2014/main" id="{28D33A8F-2BF5-9643-A520-38047CCD4828}"/>
              </a:ext>
            </a:extLst>
          </p:cNvPr>
          <p:cNvSpPr/>
          <p:nvPr/>
        </p:nvSpPr>
        <p:spPr>
          <a:xfrm>
            <a:off x="6490686" y="3860273"/>
            <a:ext cx="5257" cy="4867"/>
          </a:xfrm>
          <a:custGeom>
            <a:avLst/>
            <a:gdLst>
              <a:gd name="csX0" fmla="*/ 473 w 8466"/>
              <a:gd name="csY0" fmla="*/ 7839 h 7838"/>
              <a:gd name="csX1" fmla="*/ 8466 w 8466"/>
              <a:gd name="csY1" fmla="*/ 61 h 7838"/>
              <a:gd name="csX2" fmla="*/ 473 w 8466"/>
              <a:gd name="csY2" fmla="*/ 7839 h 783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66" h="7838">
                <a:moveTo>
                  <a:pt x="473" y="7839"/>
                </a:moveTo>
                <a:cubicBezTo>
                  <a:pt x="-1298" y="1550"/>
                  <a:pt x="2020" y="-386"/>
                  <a:pt x="8466" y="61"/>
                </a:cubicBezTo>
                <a:cubicBezTo>
                  <a:pt x="6730" y="2845"/>
                  <a:pt x="4026" y="5401"/>
                  <a:pt x="473" y="7839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82" name="Free-form: Shape 381">
            <a:extLst>
              <a:ext uri="{FF2B5EF4-FFF2-40B4-BE49-F238E27FC236}">
                <a16:creationId xmlns:a16="http://schemas.microsoft.com/office/drawing/2014/main" id="{8C0DE88D-9254-5DBE-C1D0-45539861E47E}"/>
              </a:ext>
            </a:extLst>
          </p:cNvPr>
          <p:cNvSpPr/>
          <p:nvPr/>
        </p:nvSpPr>
        <p:spPr>
          <a:xfrm>
            <a:off x="6354690" y="4425559"/>
            <a:ext cx="5265" cy="618"/>
          </a:xfrm>
          <a:custGeom>
            <a:avLst/>
            <a:gdLst>
              <a:gd name="csX0" fmla="*/ 0 w 8480"/>
              <a:gd name="csY0" fmla="*/ 896 h 996"/>
              <a:gd name="csX1" fmla="*/ 8480 w 8480"/>
              <a:gd name="csY1" fmla="*/ 110 h 996"/>
              <a:gd name="csX2" fmla="*/ 0 w 8480"/>
              <a:gd name="csY2" fmla="*/ 896 h 99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80" h="996">
                <a:moveTo>
                  <a:pt x="0" y="896"/>
                </a:moveTo>
                <a:cubicBezTo>
                  <a:pt x="2285" y="115"/>
                  <a:pt x="5130" y="-182"/>
                  <a:pt x="8480" y="110"/>
                </a:cubicBezTo>
                <a:cubicBezTo>
                  <a:pt x="6177" y="927"/>
                  <a:pt x="3368" y="1153"/>
                  <a:pt x="0" y="896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83" name="Free-form: Shape 382">
            <a:extLst>
              <a:ext uri="{FF2B5EF4-FFF2-40B4-BE49-F238E27FC236}">
                <a16:creationId xmlns:a16="http://schemas.microsoft.com/office/drawing/2014/main" id="{49D978DB-B385-C9B5-8253-B24576B76D6E}"/>
              </a:ext>
            </a:extLst>
          </p:cNvPr>
          <p:cNvSpPr/>
          <p:nvPr/>
        </p:nvSpPr>
        <p:spPr>
          <a:xfrm>
            <a:off x="6641451" y="4399030"/>
            <a:ext cx="763" cy="4134"/>
          </a:xfrm>
          <a:custGeom>
            <a:avLst/>
            <a:gdLst>
              <a:gd name="csX0" fmla="*/ 132 w 1229"/>
              <a:gd name="csY0" fmla="*/ 6659 h 6658"/>
              <a:gd name="csX1" fmla="*/ 1107 w 1229"/>
              <a:gd name="csY1" fmla="*/ 0 h 6658"/>
              <a:gd name="csX2" fmla="*/ 132 w 1229"/>
              <a:gd name="csY2" fmla="*/ 6659 h 665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229" h="6658">
                <a:moveTo>
                  <a:pt x="132" y="6659"/>
                </a:moveTo>
                <a:cubicBezTo>
                  <a:pt x="-219" y="4616"/>
                  <a:pt x="139" y="2560"/>
                  <a:pt x="1107" y="0"/>
                </a:cubicBezTo>
                <a:cubicBezTo>
                  <a:pt x="1425" y="1879"/>
                  <a:pt x="1133" y="4263"/>
                  <a:pt x="132" y="6659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84" name="Free-form: Shape 383">
            <a:extLst>
              <a:ext uri="{FF2B5EF4-FFF2-40B4-BE49-F238E27FC236}">
                <a16:creationId xmlns:a16="http://schemas.microsoft.com/office/drawing/2014/main" id="{585D496A-E66B-995E-3DEF-7D26AB0945B5}"/>
              </a:ext>
            </a:extLst>
          </p:cNvPr>
          <p:cNvSpPr/>
          <p:nvPr/>
        </p:nvSpPr>
        <p:spPr>
          <a:xfrm>
            <a:off x="6574255" y="4419307"/>
            <a:ext cx="2352" cy="847"/>
          </a:xfrm>
          <a:custGeom>
            <a:avLst/>
            <a:gdLst>
              <a:gd name="csX0" fmla="*/ 0 w 3788"/>
              <a:gd name="csY0" fmla="*/ 1364 h 1364"/>
              <a:gd name="csX1" fmla="*/ 3788 w 3788"/>
              <a:gd name="csY1" fmla="*/ 0 h 1364"/>
              <a:gd name="csX2" fmla="*/ 0 w 3788"/>
              <a:gd name="csY2" fmla="*/ 1364 h 136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788" h="1364">
                <a:moveTo>
                  <a:pt x="0" y="1364"/>
                </a:moveTo>
                <a:cubicBezTo>
                  <a:pt x="856" y="517"/>
                  <a:pt x="2126" y="39"/>
                  <a:pt x="3788" y="0"/>
                </a:cubicBezTo>
                <a:cubicBezTo>
                  <a:pt x="2925" y="870"/>
                  <a:pt x="1670" y="1303"/>
                  <a:pt x="0" y="1364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85" name="Free-form: Shape 384">
            <a:extLst>
              <a:ext uri="{FF2B5EF4-FFF2-40B4-BE49-F238E27FC236}">
                <a16:creationId xmlns:a16="http://schemas.microsoft.com/office/drawing/2014/main" id="{7EDB4B96-C796-B643-A1E7-8915DEFD4DB8}"/>
              </a:ext>
            </a:extLst>
          </p:cNvPr>
          <p:cNvSpPr/>
          <p:nvPr/>
        </p:nvSpPr>
        <p:spPr>
          <a:xfrm>
            <a:off x="6302672" y="4422581"/>
            <a:ext cx="2478" cy="515"/>
          </a:xfrm>
          <a:custGeom>
            <a:avLst/>
            <a:gdLst>
              <a:gd name="csX0" fmla="*/ 0 w 3990"/>
              <a:gd name="csY0" fmla="*/ 719 h 829"/>
              <a:gd name="csX1" fmla="*/ 3990 w 3990"/>
              <a:gd name="csY1" fmla="*/ 119 h 829"/>
              <a:gd name="csX2" fmla="*/ 0 w 3990"/>
              <a:gd name="csY2" fmla="*/ 719 h 82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990" h="829">
                <a:moveTo>
                  <a:pt x="0" y="719"/>
                </a:moveTo>
                <a:cubicBezTo>
                  <a:pt x="982" y="66"/>
                  <a:pt x="2323" y="-163"/>
                  <a:pt x="3990" y="119"/>
                </a:cubicBezTo>
                <a:cubicBezTo>
                  <a:pt x="2998" y="800"/>
                  <a:pt x="1678" y="972"/>
                  <a:pt x="0" y="719"/>
                </a:cubicBezTo>
                <a:close/>
              </a:path>
            </a:pathLst>
          </a:custGeom>
          <a:solidFill>
            <a:srgbClr val="959DA0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86" name="Free-form: Shape 385">
            <a:extLst>
              <a:ext uri="{FF2B5EF4-FFF2-40B4-BE49-F238E27FC236}">
                <a16:creationId xmlns:a16="http://schemas.microsoft.com/office/drawing/2014/main" id="{1559039A-ACE1-E13A-7A85-EBAB14AA8606}"/>
              </a:ext>
            </a:extLst>
          </p:cNvPr>
          <p:cNvSpPr/>
          <p:nvPr/>
        </p:nvSpPr>
        <p:spPr>
          <a:xfrm>
            <a:off x="6513220" y="4425537"/>
            <a:ext cx="2417" cy="705"/>
          </a:xfrm>
          <a:custGeom>
            <a:avLst/>
            <a:gdLst>
              <a:gd name="csX0" fmla="*/ 0 w 3893"/>
              <a:gd name="csY0" fmla="*/ 1133 h 1135"/>
              <a:gd name="csX1" fmla="*/ 3893 w 3893"/>
              <a:gd name="csY1" fmla="*/ 7 h 1135"/>
              <a:gd name="csX2" fmla="*/ 0 w 3893"/>
              <a:gd name="csY2" fmla="*/ 1133 h 113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893" h="1135">
                <a:moveTo>
                  <a:pt x="0" y="1133"/>
                </a:moveTo>
                <a:cubicBezTo>
                  <a:pt x="902" y="349"/>
                  <a:pt x="2213" y="-60"/>
                  <a:pt x="3893" y="7"/>
                </a:cubicBezTo>
                <a:cubicBezTo>
                  <a:pt x="2978" y="825"/>
                  <a:pt x="1693" y="1167"/>
                  <a:pt x="0" y="1133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87" name="Free-form: Shape 386">
            <a:extLst>
              <a:ext uri="{FF2B5EF4-FFF2-40B4-BE49-F238E27FC236}">
                <a16:creationId xmlns:a16="http://schemas.microsoft.com/office/drawing/2014/main" id="{410AC46B-9296-57D1-E78D-C68C4F0C662C}"/>
              </a:ext>
            </a:extLst>
          </p:cNvPr>
          <p:cNvSpPr/>
          <p:nvPr/>
        </p:nvSpPr>
        <p:spPr>
          <a:xfrm>
            <a:off x="6413624" y="3940873"/>
            <a:ext cx="112588" cy="250407"/>
          </a:xfrm>
          <a:custGeom>
            <a:avLst/>
            <a:gdLst>
              <a:gd name="csX0" fmla="*/ 7554 w 181323"/>
              <a:gd name="csY0" fmla="*/ 172079 h 403282"/>
              <a:gd name="csX1" fmla="*/ 9716 w 181323"/>
              <a:gd name="csY1" fmla="*/ 130641 h 403282"/>
              <a:gd name="csX2" fmla="*/ 7663 w 181323"/>
              <a:gd name="csY2" fmla="*/ 113770 h 403282"/>
              <a:gd name="csX3" fmla="*/ 7598 w 181323"/>
              <a:gd name="csY3" fmla="*/ 8165 h 403282"/>
              <a:gd name="csX4" fmla="*/ 8353 w 181323"/>
              <a:gd name="csY4" fmla="*/ 1259 h 403282"/>
              <a:gd name="csX5" fmla="*/ 17767 w 181323"/>
              <a:gd name="csY5" fmla="*/ 93 h 403282"/>
              <a:gd name="csX6" fmla="*/ 77938 w 181323"/>
              <a:gd name="csY6" fmla="*/ 50 h 403282"/>
              <a:gd name="csX7" fmla="*/ 91081 w 181323"/>
              <a:gd name="csY7" fmla="*/ 10962 h 403282"/>
              <a:gd name="csX8" fmla="*/ 93691 w 181323"/>
              <a:gd name="csY8" fmla="*/ 60963 h 403282"/>
              <a:gd name="csX9" fmla="*/ 100157 w 181323"/>
              <a:gd name="csY9" fmla="*/ 121501 h 403282"/>
              <a:gd name="csX10" fmla="*/ 105540 w 181323"/>
              <a:gd name="csY10" fmla="*/ 158857 h 403282"/>
              <a:gd name="csX11" fmla="*/ 121116 w 181323"/>
              <a:gd name="csY11" fmla="*/ 235269 h 403282"/>
              <a:gd name="csX12" fmla="*/ 152823 w 181323"/>
              <a:gd name="csY12" fmla="*/ 338010 h 403282"/>
              <a:gd name="csX13" fmla="*/ 170877 w 181323"/>
              <a:gd name="csY13" fmla="*/ 378027 h 403282"/>
              <a:gd name="csX14" fmla="*/ 178114 w 181323"/>
              <a:gd name="csY14" fmla="*/ 387682 h 403282"/>
              <a:gd name="csX15" fmla="*/ 181150 w 181323"/>
              <a:gd name="csY15" fmla="*/ 395764 h 403282"/>
              <a:gd name="csX16" fmla="*/ 173480 w 181323"/>
              <a:gd name="csY16" fmla="*/ 402568 h 403282"/>
              <a:gd name="csX17" fmla="*/ 160067 w 181323"/>
              <a:gd name="csY17" fmla="*/ 402936 h 403282"/>
              <a:gd name="csX18" fmla="*/ 121081 w 181323"/>
              <a:gd name="csY18" fmla="*/ 400766 h 403282"/>
              <a:gd name="csX19" fmla="*/ 70912 w 181323"/>
              <a:gd name="csY19" fmla="*/ 401955 h 403282"/>
              <a:gd name="csX20" fmla="*/ 7630 w 181323"/>
              <a:gd name="csY20" fmla="*/ 402999 h 403282"/>
              <a:gd name="csX21" fmla="*/ 710 w 181323"/>
              <a:gd name="csY21" fmla="*/ 401995 h 403282"/>
              <a:gd name="csX22" fmla="*/ 1308 w 181323"/>
              <a:gd name="csY22" fmla="*/ 356708 h 403282"/>
              <a:gd name="csX23" fmla="*/ 2554 w 181323"/>
              <a:gd name="csY23" fmla="*/ 349510 h 403282"/>
              <a:gd name="csX24" fmla="*/ 5071 w 181323"/>
              <a:gd name="csY24" fmla="*/ 271231 h 403282"/>
              <a:gd name="csX25" fmla="*/ 7554 w 181323"/>
              <a:gd name="csY25" fmla="*/ 172079 h 403282"/>
              <a:gd name="csX26" fmla="*/ 98286 w 181323"/>
              <a:gd name="csY26" fmla="*/ 163566 h 403282"/>
              <a:gd name="csX27" fmla="*/ 83497 w 181323"/>
              <a:gd name="csY27" fmla="*/ 8289 h 403282"/>
              <a:gd name="csX28" fmla="*/ 15161 w 181323"/>
              <a:gd name="csY28" fmla="*/ 9148 h 403282"/>
              <a:gd name="csX29" fmla="*/ 15058 w 181323"/>
              <a:gd name="csY29" fmla="*/ 137939 h 403282"/>
              <a:gd name="csX30" fmla="*/ 12252 w 181323"/>
              <a:gd name="csY30" fmla="*/ 266862 h 403282"/>
              <a:gd name="csX31" fmla="*/ 7068 w 181323"/>
              <a:gd name="csY31" fmla="*/ 395996 h 403282"/>
              <a:gd name="csX32" fmla="*/ 171647 w 181323"/>
              <a:gd name="csY32" fmla="*/ 395996 h 403282"/>
              <a:gd name="csX33" fmla="*/ 119950 w 181323"/>
              <a:gd name="csY33" fmla="*/ 259496 h 403282"/>
              <a:gd name="csX34" fmla="*/ 98286 w 181323"/>
              <a:gd name="csY34" fmla="*/ 163566 h 40328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</a:cxnLst>
            <a:rect l="l" t="t" r="r" b="b"/>
            <a:pathLst>
              <a:path w="181323" h="403282">
                <a:moveTo>
                  <a:pt x="7554" y="172079"/>
                </a:moveTo>
                <a:cubicBezTo>
                  <a:pt x="8325" y="157451"/>
                  <a:pt x="9408" y="144055"/>
                  <a:pt x="9716" y="130641"/>
                </a:cubicBezTo>
                <a:cubicBezTo>
                  <a:pt x="9846" y="125037"/>
                  <a:pt x="7695" y="119399"/>
                  <a:pt x="7663" y="113770"/>
                </a:cubicBezTo>
                <a:cubicBezTo>
                  <a:pt x="7461" y="78569"/>
                  <a:pt x="7554" y="43367"/>
                  <a:pt x="7598" y="8165"/>
                </a:cubicBezTo>
                <a:cubicBezTo>
                  <a:pt x="7600" y="6167"/>
                  <a:pt x="8022" y="4170"/>
                  <a:pt x="8353" y="1259"/>
                </a:cubicBezTo>
                <a:cubicBezTo>
                  <a:pt x="11568" y="842"/>
                  <a:pt x="14666" y="109"/>
                  <a:pt x="17767" y="93"/>
                </a:cubicBezTo>
                <a:cubicBezTo>
                  <a:pt x="37824" y="-17"/>
                  <a:pt x="57881" y="-27"/>
                  <a:pt x="77938" y="50"/>
                </a:cubicBezTo>
                <a:cubicBezTo>
                  <a:pt x="89177" y="93"/>
                  <a:pt x="90068" y="113"/>
                  <a:pt x="91081" y="10962"/>
                </a:cubicBezTo>
                <a:cubicBezTo>
                  <a:pt x="92631" y="27565"/>
                  <a:pt x="92329" y="44335"/>
                  <a:pt x="93691" y="60963"/>
                </a:cubicBezTo>
                <a:cubicBezTo>
                  <a:pt x="95348" y="81184"/>
                  <a:pt x="97732" y="101353"/>
                  <a:pt x="100157" y="121501"/>
                </a:cubicBezTo>
                <a:cubicBezTo>
                  <a:pt x="101660" y="133990"/>
                  <a:pt x="104521" y="146343"/>
                  <a:pt x="105540" y="158857"/>
                </a:cubicBezTo>
                <a:cubicBezTo>
                  <a:pt x="107671" y="184993"/>
                  <a:pt x="114147" y="210249"/>
                  <a:pt x="121116" y="235269"/>
                </a:cubicBezTo>
                <a:cubicBezTo>
                  <a:pt x="130731" y="269786"/>
                  <a:pt x="141516" y="304004"/>
                  <a:pt x="152823" y="338010"/>
                </a:cubicBezTo>
                <a:cubicBezTo>
                  <a:pt x="157418" y="351828"/>
                  <a:pt x="164524" y="364837"/>
                  <a:pt x="170877" y="378027"/>
                </a:cubicBezTo>
                <a:cubicBezTo>
                  <a:pt x="172587" y="381579"/>
                  <a:pt x="175985" y="384280"/>
                  <a:pt x="178114" y="387682"/>
                </a:cubicBezTo>
                <a:cubicBezTo>
                  <a:pt x="179669" y="390165"/>
                  <a:pt x="181977" y="393824"/>
                  <a:pt x="181150" y="395764"/>
                </a:cubicBezTo>
                <a:cubicBezTo>
                  <a:pt x="179907" y="398676"/>
                  <a:pt x="176540" y="401705"/>
                  <a:pt x="173480" y="402568"/>
                </a:cubicBezTo>
                <a:cubicBezTo>
                  <a:pt x="169302" y="403746"/>
                  <a:pt x="164551" y="403164"/>
                  <a:pt x="160067" y="402936"/>
                </a:cubicBezTo>
                <a:cubicBezTo>
                  <a:pt x="147066" y="402274"/>
                  <a:pt x="134081" y="400859"/>
                  <a:pt x="121081" y="400766"/>
                </a:cubicBezTo>
                <a:cubicBezTo>
                  <a:pt x="104362" y="400647"/>
                  <a:pt x="87638" y="401607"/>
                  <a:pt x="70912" y="401955"/>
                </a:cubicBezTo>
                <a:cubicBezTo>
                  <a:pt x="49820" y="402394"/>
                  <a:pt x="28725" y="402712"/>
                  <a:pt x="7630" y="402999"/>
                </a:cubicBezTo>
                <a:cubicBezTo>
                  <a:pt x="5684" y="403026"/>
                  <a:pt x="3731" y="402452"/>
                  <a:pt x="710" y="401995"/>
                </a:cubicBezTo>
                <a:cubicBezTo>
                  <a:pt x="219" y="386620"/>
                  <a:pt x="-871" y="371682"/>
                  <a:pt x="1308" y="356708"/>
                </a:cubicBezTo>
                <a:cubicBezTo>
                  <a:pt x="1659" y="354298"/>
                  <a:pt x="2471" y="351920"/>
                  <a:pt x="2554" y="349510"/>
                </a:cubicBezTo>
                <a:cubicBezTo>
                  <a:pt x="3459" y="323419"/>
                  <a:pt x="4345" y="297328"/>
                  <a:pt x="5071" y="271231"/>
                </a:cubicBezTo>
                <a:cubicBezTo>
                  <a:pt x="5979" y="238591"/>
                  <a:pt x="6733" y="205947"/>
                  <a:pt x="7554" y="172079"/>
                </a:cubicBezTo>
                <a:moveTo>
                  <a:pt x="98286" y="163566"/>
                </a:moveTo>
                <a:cubicBezTo>
                  <a:pt x="89288" y="112116"/>
                  <a:pt x="86355" y="60033"/>
                  <a:pt x="83497" y="8289"/>
                </a:cubicBezTo>
                <a:cubicBezTo>
                  <a:pt x="65606" y="5845"/>
                  <a:pt x="24110" y="6470"/>
                  <a:pt x="15161" y="9148"/>
                </a:cubicBezTo>
                <a:cubicBezTo>
                  <a:pt x="15161" y="52045"/>
                  <a:pt x="15527" y="94996"/>
                  <a:pt x="15058" y="137939"/>
                </a:cubicBezTo>
                <a:cubicBezTo>
                  <a:pt x="14587" y="180919"/>
                  <a:pt x="13597" y="223900"/>
                  <a:pt x="12252" y="266862"/>
                </a:cubicBezTo>
                <a:cubicBezTo>
                  <a:pt x="10912" y="309638"/>
                  <a:pt x="8849" y="352391"/>
                  <a:pt x="7068" y="395996"/>
                </a:cubicBezTo>
                <a:cubicBezTo>
                  <a:pt x="62774" y="395996"/>
                  <a:pt x="116821" y="395996"/>
                  <a:pt x="171647" y="395996"/>
                </a:cubicBezTo>
                <a:cubicBezTo>
                  <a:pt x="148550" y="352016"/>
                  <a:pt x="132566" y="306307"/>
                  <a:pt x="119950" y="259496"/>
                </a:cubicBezTo>
                <a:cubicBezTo>
                  <a:pt x="111608" y="228543"/>
                  <a:pt x="105493" y="196989"/>
                  <a:pt x="98286" y="163566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88" name="Free-form: Shape 387">
            <a:extLst>
              <a:ext uri="{FF2B5EF4-FFF2-40B4-BE49-F238E27FC236}">
                <a16:creationId xmlns:a16="http://schemas.microsoft.com/office/drawing/2014/main" id="{F29C4062-0E6E-FB4F-48FD-35A7FF2965E9}"/>
              </a:ext>
            </a:extLst>
          </p:cNvPr>
          <p:cNvSpPr/>
          <p:nvPr/>
        </p:nvSpPr>
        <p:spPr>
          <a:xfrm>
            <a:off x="6415255" y="4357354"/>
            <a:ext cx="209255" cy="47389"/>
          </a:xfrm>
          <a:custGeom>
            <a:avLst/>
            <a:gdLst>
              <a:gd name="csX0" fmla="*/ 297312 w 337008"/>
              <a:gd name="csY0" fmla="*/ 59188 h 76321"/>
              <a:gd name="csX1" fmla="*/ 241991 w 337008"/>
              <a:gd name="csY1" fmla="*/ 66577 h 76321"/>
              <a:gd name="csX2" fmla="*/ 185243 w 337008"/>
              <a:gd name="csY2" fmla="*/ 73717 h 76321"/>
              <a:gd name="csX3" fmla="*/ 182797 w 337008"/>
              <a:gd name="csY3" fmla="*/ 73873 h 76321"/>
              <a:gd name="csX4" fmla="*/ 19866 w 337008"/>
              <a:gd name="csY4" fmla="*/ 76320 h 76321"/>
              <a:gd name="csX5" fmla="*/ 12650 w 337008"/>
              <a:gd name="csY5" fmla="*/ 75242 h 76321"/>
              <a:gd name="csX6" fmla="*/ 19 w 337008"/>
              <a:gd name="csY6" fmla="*/ 59006 h 76321"/>
              <a:gd name="csX7" fmla="*/ 11 w 337008"/>
              <a:gd name="csY7" fmla="*/ 18266 h 76321"/>
              <a:gd name="csX8" fmla="*/ 13547 w 337008"/>
              <a:gd name="csY8" fmla="*/ 17427 h 76321"/>
              <a:gd name="csX9" fmla="*/ 109279 w 337008"/>
              <a:gd name="csY9" fmla="*/ 17200 h 76321"/>
              <a:gd name="csX10" fmla="*/ 173714 w 337008"/>
              <a:gd name="csY10" fmla="*/ 12645 h 76321"/>
              <a:gd name="csX11" fmla="*/ 205309 w 337008"/>
              <a:gd name="csY11" fmla="*/ 10096 h 76321"/>
              <a:gd name="csX12" fmla="*/ 245485 w 337008"/>
              <a:gd name="csY12" fmla="*/ 7449 h 76321"/>
              <a:gd name="csX13" fmla="*/ 288955 w 337008"/>
              <a:gd name="csY13" fmla="*/ 1844 h 76321"/>
              <a:gd name="csX14" fmla="*/ 307132 w 337008"/>
              <a:gd name="csY14" fmla="*/ 164 h 76321"/>
              <a:gd name="csX15" fmla="*/ 324030 w 337008"/>
              <a:gd name="csY15" fmla="*/ 9691 h 76321"/>
              <a:gd name="csX16" fmla="*/ 336033 w 337008"/>
              <a:gd name="csY16" fmla="*/ 39107 h 76321"/>
              <a:gd name="csX17" fmla="*/ 328060 w 337008"/>
              <a:gd name="csY17" fmla="*/ 52413 h 76321"/>
              <a:gd name="csX18" fmla="*/ 297312 w 337008"/>
              <a:gd name="csY18" fmla="*/ 59188 h 76321"/>
              <a:gd name="csX19" fmla="*/ 207688 w 337008"/>
              <a:gd name="csY19" fmla="*/ 64284 h 76321"/>
              <a:gd name="csX20" fmla="*/ 330050 w 337008"/>
              <a:gd name="csY20" fmla="*/ 45606 h 76321"/>
              <a:gd name="csX21" fmla="*/ 317356 w 337008"/>
              <a:gd name="csY21" fmla="*/ 11297 h 76321"/>
              <a:gd name="csX22" fmla="*/ 304170 w 337008"/>
              <a:gd name="csY22" fmla="*/ 5545 h 76321"/>
              <a:gd name="csX23" fmla="*/ 273851 w 337008"/>
              <a:gd name="csY23" fmla="*/ 10014 h 76321"/>
              <a:gd name="csX24" fmla="*/ 163935 w 337008"/>
              <a:gd name="csY24" fmla="*/ 20274 h 76321"/>
              <a:gd name="csX25" fmla="*/ 17973 w 337008"/>
              <a:gd name="csY25" fmla="*/ 22950 h 76321"/>
              <a:gd name="csX26" fmla="*/ 7372 w 337008"/>
              <a:gd name="csY26" fmla="*/ 23601 h 76321"/>
              <a:gd name="csX27" fmla="*/ 7372 w 337008"/>
              <a:gd name="csY27" fmla="*/ 67898 h 76321"/>
              <a:gd name="csX28" fmla="*/ 207688 w 337008"/>
              <a:gd name="csY28" fmla="*/ 64284 h 7632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</a:cxnLst>
            <a:rect l="l" t="t" r="r" b="b"/>
            <a:pathLst>
              <a:path w="337008" h="76321">
                <a:moveTo>
                  <a:pt x="297312" y="59188"/>
                </a:moveTo>
                <a:cubicBezTo>
                  <a:pt x="278167" y="61672"/>
                  <a:pt x="260091" y="64212"/>
                  <a:pt x="241991" y="66577"/>
                </a:cubicBezTo>
                <a:cubicBezTo>
                  <a:pt x="223087" y="69047"/>
                  <a:pt x="204161" y="71350"/>
                  <a:pt x="185243" y="73717"/>
                </a:cubicBezTo>
                <a:cubicBezTo>
                  <a:pt x="184433" y="73818"/>
                  <a:pt x="183613" y="73861"/>
                  <a:pt x="182797" y="73873"/>
                </a:cubicBezTo>
                <a:cubicBezTo>
                  <a:pt x="128487" y="74710"/>
                  <a:pt x="74176" y="75556"/>
                  <a:pt x="19866" y="76320"/>
                </a:cubicBezTo>
                <a:cubicBezTo>
                  <a:pt x="17463" y="76354"/>
                  <a:pt x="15013" y="75797"/>
                  <a:pt x="12650" y="75242"/>
                </a:cubicBezTo>
                <a:cubicBezTo>
                  <a:pt x="80" y="72288"/>
                  <a:pt x="58" y="72258"/>
                  <a:pt x="19" y="59006"/>
                </a:cubicBezTo>
                <a:cubicBezTo>
                  <a:pt x="-19" y="45942"/>
                  <a:pt x="11" y="32877"/>
                  <a:pt x="11" y="18266"/>
                </a:cubicBezTo>
                <a:cubicBezTo>
                  <a:pt x="4987" y="17944"/>
                  <a:pt x="9266" y="17435"/>
                  <a:pt x="13547" y="17427"/>
                </a:cubicBezTo>
                <a:cubicBezTo>
                  <a:pt x="45459" y="17362"/>
                  <a:pt x="77385" y="17975"/>
                  <a:pt x="109279" y="17200"/>
                </a:cubicBezTo>
                <a:cubicBezTo>
                  <a:pt x="130782" y="16677"/>
                  <a:pt x="152239" y="14265"/>
                  <a:pt x="173714" y="12645"/>
                </a:cubicBezTo>
                <a:cubicBezTo>
                  <a:pt x="184250" y="11850"/>
                  <a:pt x="194770" y="10836"/>
                  <a:pt x="205309" y="10096"/>
                </a:cubicBezTo>
                <a:cubicBezTo>
                  <a:pt x="218698" y="9156"/>
                  <a:pt x="232139" y="8783"/>
                  <a:pt x="245485" y="7449"/>
                </a:cubicBezTo>
                <a:cubicBezTo>
                  <a:pt x="260017" y="5997"/>
                  <a:pt x="274456" y="3648"/>
                  <a:pt x="288955" y="1844"/>
                </a:cubicBezTo>
                <a:cubicBezTo>
                  <a:pt x="294991" y="1094"/>
                  <a:pt x="301100" y="930"/>
                  <a:pt x="307132" y="164"/>
                </a:cubicBezTo>
                <a:cubicBezTo>
                  <a:pt x="315239" y="-865"/>
                  <a:pt x="320841" y="3022"/>
                  <a:pt x="324030" y="9691"/>
                </a:cubicBezTo>
                <a:cubicBezTo>
                  <a:pt x="328594" y="19236"/>
                  <a:pt x="332712" y="29070"/>
                  <a:pt x="336033" y="39107"/>
                </a:cubicBezTo>
                <a:cubicBezTo>
                  <a:pt x="338557" y="46735"/>
                  <a:pt x="336278" y="50185"/>
                  <a:pt x="328060" y="52413"/>
                </a:cubicBezTo>
                <a:cubicBezTo>
                  <a:pt x="318273" y="55068"/>
                  <a:pt x="308277" y="56950"/>
                  <a:pt x="297312" y="59188"/>
                </a:cubicBezTo>
                <a:moveTo>
                  <a:pt x="207688" y="64284"/>
                </a:moveTo>
                <a:cubicBezTo>
                  <a:pt x="248681" y="60632"/>
                  <a:pt x="289317" y="54812"/>
                  <a:pt x="330050" y="45606"/>
                </a:cubicBezTo>
                <a:cubicBezTo>
                  <a:pt x="327603" y="32443"/>
                  <a:pt x="323777" y="21532"/>
                  <a:pt x="317356" y="11297"/>
                </a:cubicBezTo>
                <a:cubicBezTo>
                  <a:pt x="313908" y="5803"/>
                  <a:pt x="310145" y="4465"/>
                  <a:pt x="304170" y="5545"/>
                </a:cubicBezTo>
                <a:cubicBezTo>
                  <a:pt x="294121" y="7361"/>
                  <a:pt x="284007" y="9006"/>
                  <a:pt x="273851" y="10014"/>
                </a:cubicBezTo>
                <a:cubicBezTo>
                  <a:pt x="237233" y="13650"/>
                  <a:pt x="200632" y="17661"/>
                  <a:pt x="163935" y="20274"/>
                </a:cubicBezTo>
                <a:cubicBezTo>
                  <a:pt x="115360" y="23734"/>
                  <a:pt x="66701" y="25937"/>
                  <a:pt x="17973" y="22950"/>
                </a:cubicBezTo>
                <a:cubicBezTo>
                  <a:pt x="14492" y="22737"/>
                  <a:pt x="10959" y="23361"/>
                  <a:pt x="7372" y="23601"/>
                </a:cubicBezTo>
                <a:cubicBezTo>
                  <a:pt x="7372" y="38609"/>
                  <a:pt x="7372" y="52361"/>
                  <a:pt x="7372" y="67898"/>
                </a:cubicBezTo>
                <a:cubicBezTo>
                  <a:pt x="74001" y="69806"/>
                  <a:pt x="139746" y="71025"/>
                  <a:pt x="207688" y="64284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89" name="Free-form: Shape 388">
            <a:extLst>
              <a:ext uri="{FF2B5EF4-FFF2-40B4-BE49-F238E27FC236}">
                <a16:creationId xmlns:a16="http://schemas.microsoft.com/office/drawing/2014/main" id="{BB207431-A84E-25E5-9F8A-F0BE116CF6F7}"/>
              </a:ext>
            </a:extLst>
          </p:cNvPr>
          <p:cNvSpPr/>
          <p:nvPr/>
        </p:nvSpPr>
        <p:spPr>
          <a:xfrm>
            <a:off x="6418988" y="4210900"/>
            <a:ext cx="188426" cy="132688"/>
          </a:xfrm>
          <a:custGeom>
            <a:avLst/>
            <a:gdLst>
              <a:gd name="csX0" fmla="*/ 14160 w 303463"/>
              <a:gd name="csY0" fmla="*/ 7889 h 213695"/>
              <a:gd name="csX1" fmla="*/ 195033 w 303463"/>
              <a:gd name="csY1" fmla="*/ 0 h 213695"/>
              <a:gd name="csX2" fmla="*/ 197208 w 303463"/>
              <a:gd name="csY2" fmla="*/ 5635 h 213695"/>
              <a:gd name="csX3" fmla="*/ 227014 w 303463"/>
              <a:gd name="csY3" fmla="*/ 60660 h 213695"/>
              <a:gd name="csX4" fmla="*/ 265823 w 303463"/>
              <a:gd name="csY4" fmla="*/ 98217 h 213695"/>
              <a:gd name="csX5" fmla="*/ 303210 w 303463"/>
              <a:gd name="csY5" fmla="*/ 180358 h 213695"/>
              <a:gd name="csX6" fmla="*/ 303282 w 303463"/>
              <a:gd name="csY6" fmla="*/ 193964 h 213695"/>
              <a:gd name="csX7" fmla="*/ 4971 w 303463"/>
              <a:gd name="csY7" fmla="*/ 213017 h 213695"/>
              <a:gd name="csX8" fmla="*/ 5093 w 303463"/>
              <a:gd name="csY8" fmla="*/ 173484 h 213695"/>
              <a:gd name="csX9" fmla="*/ 4767 w 303463"/>
              <a:gd name="csY9" fmla="*/ 54607 h 213695"/>
              <a:gd name="csX10" fmla="*/ 0 w 303463"/>
              <a:gd name="csY10" fmla="*/ 7887 h 213695"/>
              <a:gd name="csX11" fmla="*/ 14160 w 303463"/>
              <a:gd name="csY11" fmla="*/ 7889 h 21369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303463" h="213695">
                <a:moveTo>
                  <a:pt x="14160" y="7889"/>
                </a:moveTo>
                <a:cubicBezTo>
                  <a:pt x="75371" y="8627"/>
                  <a:pt x="135292" y="5744"/>
                  <a:pt x="195033" y="0"/>
                </a:cubicBezTo>
                <a:cubicBezTo>
                  <a:pt x="196084" y="2662"/>
                  <a:pt x="196986" y="4099"/>
                  <a:pt x="197208" y="5635"/>
                </a:cubicBezTo>
                <a:cubicBezTo>
                  <a:pt x="200391" y="27650"/>
                  <a:pt x="211307" y="45450"/>
                  <a:pt x="227014" y="60660"/>
                </a:cubicBezTo>
                <a:cubicBezTo>
                  <a:pt x="239947" y="73182"/>
                  <a:pt x="253006" y="85577"/>
                  <a:pt x="265823" y="98217"/>
                </a:cubicBezTo>
                <a:cubicBezTo>
                  <a:pt x="288727" y="120806"/>
                  <a:pt x="299071" y="149215"/>
                  <a:pt x="303210" y="180358"/>
                </a:cubicBezTo>
                <a:cubicBezTo>
                  <a:pt x="303735" y="184317"/>
                  <a:pt x="303282" y="188405"/>
                  <a:pt x="303282" y="193964"/>
                </a:cubicBezTo>
                <a:cubicBezTo>
                  <a:pt x="204065" y="208804"/>
                  <a:pt x="105022" y="216044"/>
                  <a:pt x="4971" y="213017"/>
                </a:cubicBezTo>
                <a:cubicBezTo>
                  <a:pt x="4971" y="199268"/>
                  <a:pt x="4314" y="186332"/>
                  <a:pt x="5093" y="173484"/>
                </a:cubicBezTo>
                <a:cubicBezTo>
                  <a:pt x="7497" y="133835"/>
                  <a:pt x="8211" y="94216"/>
                  <a:pt x="4767" y="54607"/>
                </a:cubicBezTo>
                <a:cubicBezTo>
                  <a:pt x="3464" y="39611"/>
                  <a:pt x="1725" y="24653"/>
                  <a:pt x="0" y="7887"/>
                </a:cubicBezTo>
                <a:cubicBezTo>
                  <a:pt x="4390" y="7887"/>
                  <a:pt x="8696" y="7887"/>
                  <a:pt x="14160" y="7889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90" name="Free-form: Shape 389">
            <a:extLst>
              <a:ext uri="{FF2B5EF4-FFF2-40B4-BE49-F238E27FC236}">
                <a16:creationId xmlns:a16="http://schemas.microsoft.com/office/drawing/2014/main" id="{4C10F7CA-13B3-54CB-7F0E-D9ADB79332FE}"/>
              </a:ext>
            </a:extLst>
          </p:cNvPr>
          <p:cNvSpPr/>
          <p:nvPr/>
        </p:nvSpPr>
        <p:spPr>
          <a:xfrm>
            <a:off x="6385226" y="3681144"/>
            <a:ext cx="129814" cy="126299"/>
          </a:xfrm>
          <a:custGeom>
            <a:avLst/>
            <a:gdLst>
              <a:gd name="csX0" fmla="*/ 10475 w 209067"/>
              <a:gd name="csY0" fmla="*/ 41718 h 203406"/>
              <a:gd name="csX1" fmla="*/ 100250 w 209067"/>
              <a:gd name="csY1" fmla="*/ 1265 h 203406"/>
              <a:gd name="csX2" fmla="*/ 206681 w 209067"/>
              <a:gd name="csY2" fmla="*/ 98526 h 203406"/>
              <a:gd name="csX3" fmla="*/ 134647 w 209067"/>
              <a:gd name="csY3" fmla="*/ 202431 h 203406"/>
              <a:gd name="csX4" fmla="*/ 40986 w 209067"/>
              <a:gd name="csY4" fmla="*/ 171438 h 203406"/>
              <a:gd name="csX5" fmla="*/ 143 w 209067"/>
              <a:gd name="csY5" fmla="*/ 85158 h 203406"/>
              <a:gd name="csX6" fmla="*/ 10475 w 209067"/>
              <a:gd name="csY6" fmla="*/ 41718 h 20340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</a:cxnLst>
            <a:rect l="l" t="t" r="r" b="b"/>
            <a:pathLst>
              <a:path w="209067" h="203406">
                <a:moveTo>
                  <a:pt x="10475" y="41718"/>
                </a:moveTo>
                <a:cubicBezTo>
                  <a:pt x="31065" y="6021"/>
                  <a:pt x="63171" y="-3865"/>
                  <a:pt x="100250" y="1265"/>
                </a:cubicBezTo>
                <a:cubicBezTo>
                  <a:pt x="157191" y="9144"/>
                  <a:pt x="196951" y="51394"/>
                  <a:pt x="206681" y="98526"/>
                </a:cubicBezTo>
                <a:cubicBezTo>
                  <a:pt x="219504" y="160635"/>
                  <a:pt x="178523" y="196657"/>
                  <a:pt x="134647" y="202431"/>
                </a:cubicBezTo>
                <a:cubicBezTo>
                  <a:pt x="98365" y="207204"/>
                  <a:pt x="68101" y="194086"/>
                  <a:pt x="40986" y="171438"/>
                </a:cubicBezTo>
                <a:cubicBezTo>
                  <a:pt x="14115" y="148994"/>
                  <a:pt x="2457" y="119007"/>
                  <a:pt x="143" y="85158"/>
                </a:cubicBezTo>
                <a:cubicBezTo>
                  <a:pt x="-869" y="70364"/>
                  <a:pt x="3586" y="56015"/>
                  <a:pt x="10475" y="41718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91" name="Free-form: Shape 390">
            <a:extLst>
              <a:ext uri="{FF2B5EF4-FFF2-40B4-BE49-F238E27FC236}">
                <a16:creationId xmlns:a16="http://schemas.microsoft.com/office/drawing/2014/main" id="{ABD61FD3-902B-1D8B-6990-131060B4591F}"/>
              </a:ext>
            </a:extLst>
          </p:cNvPr>
          <p:cNvSpPr/>
          <p:nvPr/>
        </p:nvSpPr>
        <p:spPr>
          <a:xfrm>
            <a:off x="6421485" y="3894182"/>
            <a:ext cx="97564" cy="25665"/>
          </a:xfrm>
          <a:custGeom>
            <a:avLst/>
            <a:gdLst>
              <a:gd name="csX0" fmla="*/ 69625 w 157129"/>
              <a:gd name="csY0" fmla="*/ 0 h 41334"/>
              <a:gd name="csX1" fmla="*/ 119596 w 157129"/>
              <a:gd name="csY1" fmla="*/ 1945 h 41334"/>
              <a:gd name="csX2" fmla="*/ 150973 w 157129"/>
              <a:gd name="csY2" fmla="*/ 14889 h 41334"/>
              <a:gd name="csX3" fmla="*/ 151351 w 157129"/>
              <a:gd name="csY3" fmla="*/ 34058 h 41334"/>
              <a:gd name="csX4" fmla="*/ 133492 w 157129"/>
              <a:gd name="csY4" fmla="*/ 40697 h 41334"/>
              <a:gd name="csX5" fmla="*/ 106556 w 157129"/>
              <a:gd name="csY5" fmla="*/ 41092 h 41334"/>
              <a:gd name="csX6" fmla="*/ 13373 w 157129"/>
              <a:gd name="csY6" fmla="*/ 40708 h 41334"/>
              <a:gd name="csX7" fmla="*/ 1312 w 157129"/>
              <a:gd name="csY7" fmla="*/ 40191 h 41334"/>
              <a:gd name="csX8" fmla="*/ 3367 w 157129"/>
              <a:gd name="csY8" fmla="*/ 13162 h 41334"/>
              <a:gd name="csX9" fmla="*/ 20752 w 157129"/>
              <a:gd name="csY9" fmla="*/ 1879 h 41334"/>
              <a:gd name="csX10" fmla="*/ 52625 w 157129"/>
              <a:gd name="csY10" fmla="*/ 1332 h 41334"/>
              <a:gd name="csX11" fmla="*/ 69625 w 157129"/>
              <a:gd name="csY11" fmla="*/ 0 h 4133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157129" h="41334">
                <a:moveTo>
                  <a:pt x="69625" y="0"/>
                </a:moveTo>
                <a:cubicBezTo>
                  <a:pt x="87054" y="491"/>
                  <a:pt x="103407" y="373"/>
                  <a:pt x="119596" y="1945"/>
                </a:cubicBezTo>
                <a:cubicBezTo>
                  <a:pt x="131020" y="3055"/>
                  <a:pt x="141713" y="7767"/>
                  <a:pt x="150973" y="14889"/>
                </a:cubicBezTo>
                <a:cubicBezTo>
                  <a:pt x="158820" y="20925"/>
                  <a:pt x="159403" y="28236"/>
                  <a:pt x="151351" y="34058"/>
                </a:cubicBezTo>
                <a:cubicBezTo>
                  <a:pt x="146355" y="37671"/>
                  <a:pt x="139678" y="39910"/>
                  <a:pt x="133492" y="40697"/>
                </a:cubicBezTo>
                <a:cubicBezTo>
                  <a:pt x="124640" y="41824"/>
                  <a:pt x="115547" y="41120"/>
                  <a:pt x="106556" y="41092"/>
                </a:cubicBezTo>
                <a:cubicBezTo>
                  <a:pt x="75495" y="40996"/>
                  <a:pt x="44434" y="40872"/>
                  <a:pt x="13373" y="40708"/>
                </a:cubicBezTo>
                <a:cubicBezTo>
                  <a:pt x="9391" y="40687"/>
                  <a:pt x="5410" y="40374"/>
                  <a:pt x="1312" y="40191"/>
                </a:cubicBezTo>
                <a:cubicBezTo>
                  <a:pt x="-1416" y="30384"/>
                  <a:pt x="523" y="21512"/>
                  <a:pt x="3367" y="13162"/>
                </a:cubicBezTo>
                <a:cubicBezTo>
                  <a:pt x="5963" y="5538"/>
                  <a:pt x="12701" y="2077"/>
                  <a:pt x="20752" y="1879"/>
                </a:cubicBezTo>
                <a:cubicBezTo>
                  <a:pt x="31375" y="1617"/>
                  <a:pt x="42004" y="1647"/>
                  <a:pt x="52625" y="1332"/>
                </a:cubicBezTo>
                <a:cubicBezTo>
                  <a:pt x="57918" y="1176"/>
                  <a:pt x="63195" y="535"/>
                  <a:pt x="69625" y="0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92" name="Free-form: Shape 391">
            <a:extLst>
              <a:ext uri="{FF2B5EF4-FFF2-40B4-BE49-F238E27FC236}">
                <a16:creationId xmlns:a16="http://schemas.microsoft.com/office/drawing/2014/main" id="{18D63D06-0507-1830-1D53-BBF5EF51806D}"/>
              </a:ext>
            </a:extLst>
          </p:cNvPr>
          <p:cNvSpPr/>
          <p:nvPr/>
        </p:nvSpPr>
        <p:spPr>
          <a:xfrm>
            <a:off x="6418012" y="3945069"/>
            <a:ext cx="102191" cy="241686"/>
          </a:xfrm>
          <a:custGeom>
            <a:avLst/>
            <a:gdLst>
              <a:gd name="csX0" fmla="*/ 91265 w 164579"/>
              <a:gd name="csY0" fmla="*/ 157878 h 389238"/>
              <a:gd name="csX1" fmla="*/ 112882 w 164579"/>
              <a:gd name="csY1" fmla="*/ 252738 h 389238"/>
              <a:gd name="csX2" fmla="*/ 164579 w 164579"/>
              <a:gd name="csY2" fmla="*/ 389238 h 389238"/>
              <a:gd name="csX3" fmla="*/ 0 w 164579"/>
              <a:gd name="csY3" fmla="*/ 389238 h 389238"/>
              <a:gd name="csX4" fmla="*/ 5184 w 164579"/>
              <a:gd name="csY4" fmla="*/ 260105 h 389238"/>
              <a:gd name="csX5" fmla="*/ 7989 w 164579"/>
              <a:gd name="csY5" fmla="*/ 131182 h 389238"/>
              <a:gd name="csX6" fmla="*/ 8093 w 164579"/>
              <a:gd name="csY6" fmla="*/ 2390 h 389238"/>
              <a:gd name="csX7" fmla="*/ 76429 w 164579"/>
              <a:gd name="csY7" fmla="*/ 1531 h 389238"/>
              <a:gd name="csX8" fmla="*/ 91265 w 164579"/>
              <a:gd name="csY8" fmla="*/ 157878 h 38923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</a:cxnLst>
            <a:rect l="l" t="t" r="r" b="b"/>
            <a:pathLst>
              <a:path w="164579" h="389238">
                <a:moveTo>
                  <a:pt x="91265" y="157878"/>
                </a:moveTo>
                <a:cubicBezTo>
                  <a:pt x="98425" y="190232"/>
                  <a:pt x="104539" y="221785"/>
                  <a:pt x="112882" y="252738"/>
                </a:cubicBezTo>
                <a:cubicBezTo>
                  <a:pt x="125498" y="299549"/>
                  <a:pt x="141482" y="345258"/>
                  <a:pt x="164579" y="389238"/>
                </a:cubicBezTo>
                <a:cubicBezTo>
                  <a:pt x="109753" y="389238"/>
                  <a:pt x="55706" y="389238"/>
                  <a:pt x="0" y="389238"/>
                </a:cubicBezTo>
                <a:cubicBezTo>
                  <a:pt x="1781" y="345633"/>
                  <a:pt x="3844" y="302880"/>
                  <a:pt x="5184" y="260105"/>
                </a:cubicBezTo>
                <a:cubicBezTo>
                  <a:pt x="6529" y="217143"/>
                  <a:pt x="7519" y="174162"/>
                  <a:pt x="7989" y="131182"/>
                </a:cubicBezTo>
                <a:cubicBezTo>
                  <a:pt x="8459" y="88239"/>
                  <a:pt x="8093" y="45287"/>
                  <a:pt x="8093" y="2390"/>
                </a:cubicBezTo>
                <a:cubicBezTo>
                  <a:pt x="17041" y="-288"/>
                  <a:pt x="58537" y="-913"/>
                  <a:pt x="76429" y="1531"/>
                </a:cubicBezTo>
                <a:cubicBezTo>
                  <a:pt x="79287" y="53276"/>
                  <a:pt x="82219" y="105359"/>
                  <a:pt x="91265" y="157878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93" name="Free-form: Shape 392">
            <a:extLst>
              <a:ext uri="{FF2B5EF4-FFF2-40B4-BE49-F238E27FC236}">
                <a16:creationId xmlns:a16="http://schemas.microsoft.com/office/drawing/2014/main" id="{261D2C9B-56DD-C61A-962D-FAB08EE08494}"/>
              </a:ext>
            </a:extLst>
          </p:cNvPr>
          <p:cNvSpPr/>
          <p:nvPr/>
        </p:nvSpPr>
        <p:spPr>
          <a:xfrm>
            <a:off x="6419831" y="4360582"/>
            <a:ext cx="200357" cy="39865"/>
          </a:xfrm>
          <a:custGeom>
            <a:avLst/>
            <a:gdLst>
              <a:gd name="csX0" fmla="*/ 199184 w 322677"/>
              <a:gd name="csY0" fmla="*/ 59136 h 64202"/>
              <a:gd name="csX1" fmla="*/ 0 w 322677"/>
              <a:gd name="csY1" fmla="*/ 62697 h 64202"/>
              <a:gd name="csX2" fmla="*/ 0 w 322677"/>
              <a:gd name="csY2" fmla="*/ 18400 h 64202"/>
              <a:gd name="csX3" fmla="*/ 10601 w 322677"/>
              <a:gd name="csY3" fmla="*/ 17750 h 64202"/>
              <a:gd name="csX4" fmla="*/ 156563 w 322677"/>
              <a:gd name="csY4" fmla="*/ 15074 h 64202"/>
              <a:gd name="csX5" fmla="*/ 266479 w 322677"/>
              <a:gd name="csY5" fmla="*/ 4814 h 64202"/>
              <a:gd name="csX6" fmla="*/ 296798 w 322677"/>
              <a:gd name="csY6" fmla="*/ 344 h 64202"/>
              <a:gd name="csX7" fmla="*/ 309983 w 322677"/>
              <a:gd name="csY7" fmla="*/ 6097 h 64202"/>
              <a:gd name="csX8" fmla="*/ 322678 w 322677"/>
              <a:gd name="csY8" fmla="*/ 40406 h 64202"/>
              <a:gd name="csX9" fmla="*/ 199184 w 322677"/>
              <a:gd name="csY9" fmla="*/ 59136 h 6420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322677" h="64202">
                <a:moveTo>
                  <a:pt x="199184" y="59136"/>
                </a:moveTo>
                <a:cubicBezTo>
                  <a:pt x="132374" y="65824"/>
                  <a:pt x="66629" y="64605"/>
                  <a:pt x="0" y="62697"/>
                </a:cubicBezTo>
                <a:cubicBezTo>
                  <a:pt x="0" y="47160"/>
                  <a:pt x="0" y="33409"/>
                  <a:pt x="0" y="18400"/>
                </a:cubicBezTo>
                <a:cubicBezTo>
                  <a:pt x="3587" y="18160"/>
                  <a:pt x="7120" y="17536"/>
                  <a:pt x="10601" y="17750"/>
                </a:cubicBezTo>
                <a:cubicBezTo>
                  <a:pt x="59329" y="20736"/>
                  <a:pt x="107987" y="18533"/>
                  <a:pt x="156563" y="15074"/>
                </a:cubicBezTo>
                <a:cubicBezTo>
                  <a:pt x="193260" y="12461"/>
                  <a:pt x="229860" y="8449"/>
                  <a:pt x="266479" y="4814"/>
                </a:cubicBezTo>
                <a:cubicBezTo>
                  <a:pt x="276635" y="3806"/>
                  <a:pt x="286748" y="2160"/>
                  <a:pt x="296798" y="344"/>
                </a:cubicBezTo>
                <a:cubicBezTo>
                  <a:pt x="302773" y="-735"/>
                  <a:pt x="306536" y="602"/>
                  <a:pt x="309983" y="6097"/>
                </a:cubicBezTo>
                <a:cubicBezTo>
                  <a:pt x="316405" y="16331"/>
                  <a:pt x="320231" y="27243"/>
                  <a:pt x="322678" y="40406"/>
                </a:cubicBezTo>
                <a:cubicBezTo>
                  <a:pt x="281944" y="49611"/>
                  <a:pt x="241309" y="55431"/>
                  <a:pt x="199184" y="59136"/>
                </a:cubicBezTo>
                <a:close/>
              </a:path>
            </a:pathLst>
          </a:custGeom>
          <a:solidFill>
            <a:schemeClr val="bg1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94" name="Oval 393">
            <a:extLst>
              <a:ext uri="{FF2B5EF4-FFF2-40B4-BE49-F238E27FC236}">
                <a16:creationId xmlns:a16="http://schemas.microsoft.com/office/drawing/2014/main" id="{68D16C57-9C14-76B6-A6C7-5B3D3C87D4EC}"/>
              </a:ext>
            </a:extLst>
          </p:cNvPr>
          <p:cNvSpPr/>
          <p:nvPr/>
        </p:nvSpPr>
        <p:spPr>
          <a:xfrm>
            <a:off x="7064706" y="4662733"/>
            <a:ext cx="593138" cy="104135"/>
          </a:xfrm>
          <a:prstGeom prst="ellipse">
            <a:avLst/>
          </a:prstGeom>
          <a:solidFill>
            <a:schemeClr val="tx1">
              <a:alpha val="6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95" name="Free-form: Shape 394">
            <a:extLst>
              <a:ext uri="{FF2B5EF4-FFF2-40B4-BE49-F238E27FC236}">
                <a16:creationId xmlns:a16="http://schemas.microsoft.com/office/drawing/2014/main" id="{4BA96D56-C789-EC97-F6E3-2C3C4DD6A38D}"/>
              </a:ext>
            </a:extLst>
          </p:cNvPr>
          <p:cNvSpPr/>
          <p:nvPr/>
        </p:nvSpPr>
        <p:spPr>
          <a:xfrm>
            <a:off x="7141517" y="3886742"/>
            <a:ext cx="476450" cy="847024"/>
          </a:xfrm>
          <a:custGeom>
            <a:avLst/>
            <a:gdLst>
              <a:gd name="csX0" fmla="*/ 581793 w 697572"/>
              <a:gd name="csY0" fmla="*/ 1234401 h 1240128"/>
              <a:gd name="csX1" fmla="*/ 577427 w 697572"/>
              <a:gd name="csY1" fmla="*/ 1234156 h 1240128"/>
              <a:gd name="csX2" fmla="*/ 559133 w 697572"/>
              <a:gd name="csY2" fmla="*/ 1230909 h 1240128"/>
              <a:gd name="csX3" fmla="*/ 516706 w 697572"/>
              <a:gd name="csY3" fmla="*/ 1235117 h 1240128"/>
              <a:gd name="csX4" fmla="*/ 475244 w 697572"/>
              <a:gd name="csY4" fmla="*/ 1237506 h 1240128"/>
              <a:gd name="csX5" fmla="*/ 371154 w 697572"/>
              <a:gd name="csY5" fmla="*/ 1239428 h 1240128"/>
              <a:gd name="csX6" fmla="*/ 276813 w 697572"/>
              <a:gd name="csY6" fmla="*/ 1237654 h 1240128"/>
              <a:gd name="csX7" fmla="*/ 268212 w 697572"/>
              <a:gd name="csY7" fmla="*/ 1237635 h 1240128"/>
              <a:gd name="csX8" fmla="*/ 262072 w 697572"/>
              <a:gd name="csY8" fmla="*/ 1237523 h 1240128"/>
              <a:gd name="csX9" fmla="*/ 195111 w 697572"/>
              <a:gd name="csY9" fmla="*/ 1232775 h 1240128"/>
              <a:gd name="csX10" fmla="*/ 145060 w 697572"/>
              <a:gd name="csY10" fmla="*/ 1230076 h 1240128"/>
              <a:gd name="csX11" fmla="*/ 114933 w 697572"/>
              <a:gd name="csY11" fmla="*/ 1225832 h 1240128"/>
              <a:gd name="csX12" fmla="*/ 72642 w 697572"/>
              <a:gd name="csY12" fmla="*/ 1220237 h 1240128"/>
              <a:gd name="csX13" fmla="*/ 10894 w 697572"/>
              <a:gd name="csY13" fmla="*/ 1205737 h 1240128"/>
              <a:gd name="csX14" fmla="*/ 5856 w 697572"/>
              <a:gd name="csY14" fmla="*/ 1202799 h 1240128"/>
              <a:gd name="csX15" fmla="*/ 40 w 697572"/>
              <a:gd name="csY15" fmla="*/ 1174450 h 1240128"/>
              <a:gd name="csX16" fmla="*/ 19831 w 697572"/>
              <a:gd name="csY16" fmla="*/ 1118410 h 1240128"/>
              <a:gd name="csX17" fmla="*/ 22004 w 697572"/>
              <a:gd name="csY17" fmla="*/ 1107240 h 1240128"/>
              <a:gd name="csX18" fmla="*/ 25947 w 697572"/>
              <a:gd name="csY18" fmla="*/ 1038650 h 1240128"/>
              <a:gd name="csX19" fmla="*/ 58234 w 697572"/>
              <a:gd name="csY19" fmla="*/ 988567 h 1240128"/>
              <a:gd name="csX20" fmla="*/ 118645 w 697572"/>
              <a:gd name="csY20" fmla="*/ 928298 h 1240128"/>
              <a:gd name="csX21" fmla="*/ 126320 w 697572"/>
              <a:gd name="csY21" fmla="*/ 892015 h 1240128"/>
              <a:gd name="csX22" fmla="*/ 120345 w 697572"/>
              <a:gd name="csY22" fmla="*/ 872258 h 1240128"/>
              <a:gd name="csX23" fmla="*/ 125668 w 697572"/>
              <a:gd name="csY23" fmla="*/ 861640 h 1240128"/>
              <a:gd name="csX24" fmla="*/ 154237 w 697572"/>
              <a:gd name="csY24" fmla="*/ 850716 h 1240128"/>
              <a:gd name="csX25" fmla="*/ 170248 w 697572"/>
              <a:gd name="csY25" fmla="*/ 836767 h 1240128"/>
              <a:gd name="csX26" fmla="*/ 187840 w 697572"/>
              <a:gd name="csY26" fmla="*/ 796341 h 1240128"/>
              <a:gd name="csX27" fmla="*/ 209346 w 697572"/>
              <a:gd name="csY27" fmla="*/ 743126 h 1240128"/>
              <a:gd name="csX28" fmla="*/ 210630 w 697572"/>
              <a:gd name="csY28" fmla="*/ 737219 h 1240128"/>
              <a:gd name="csX29" fmla="*/ 213836 w 697572"/>
              <a:gd name="csY29" fmla="*/ 720505 h 1240128"/>
              <a:gd name="csX30" fmla="*/ 227791 w 697572"/>
              <a:gd name="csY30" fmla="*/ 667353 h 1240128"/>
              <a:gd name="csX31" fmla="*/ 241013 w 697572"/>
              <a:gd name="csY31" fmla="*/ 599151 h 1240128"/>
              <a:gd name="csX32" fmla="*/ 247322 w 697572"/>
              <a:gd name="csY32" fmla="*/ 542242 h 1240128"/>
              <a:gd name="csX33" fmla="*/ 247948 w 697572"/>
              <a:gd name="csY33" fmla="*/ 499296 h 1240128"/>
              <a:gd name="csX34" fmla="*/ 247577 w 697572"/>
              <a:gd name="csY34" fmla="*/ 470384 h 1240128"/>
              <a:gd name="csX35" fmla="*/ 238877 w 697572"/>
              <a:gd name="csY35" fmla="*/ 460987 h 1240128"/>
              <a:gd name="csX36" fmla="*/ 222040 w 697572"/>
              <a:gd name="csY36" fmla="*/ 458353 h 1240128"/>
              <a:gd name="csX37" fmla="*/ 172193 w 697572"/>
              <a:gd name="csY37" fmla="*/ 433714 h 1240128"/>
              <a:gd name="csX38" fmla="*/ 168410 w 697572"/>
              <a:gd name="csY38" fmla="*/ 396591 h 1240128"/>
              <a:gd name="csX39" fmla="*/ 209826 w 697572"/>
              <a:gd name="csY39" fmla="*/ 367773 h 1240128"/>
              <a:gd name="csX40" fmla="*/ 250732 w 697572"/>
              <a:gd name="csY40" fmla="*/ 355208 h 1240128"/>
              <a:gd name="csX41" fmla="*/ 258289 w 697572"/>
              <a:gd name="csY41" fmla="*/ 350426 h 1240128"/>
              <a:gd name="csX42" fmla="*/ 233274 w 697572"/>
              <a:gd name="csY42" fmla="*/ 333513 h 1240128"/>
              <a:gd name="csX43" fmla="*/ 229677 w 697572"/>
              <a:gd name="csY43" fmla="*/ 333922 h 1240128"/>
              <a:gd name="csX44" fmla="*/ 230149 w 697572"/>
              <a:gd name="csY44" fmla="*/ 332979 h 1240128"/>
              <a:gd name="csX45" fmla="*/ 227053 w 697572"/>
              <a:gd name="csY45" fmla="*/ 327076 h 1240128"/>
              <a:gd name="csX46" fmla="*/ 196769 w 697572"/>
              <a:gd name="csY46" fmla="*/ 291380 h 1240128"/>
              <a:gd name="csX47" fmla="*/ 184389 w 697572"/>
              <a:gd name="csY47" fmla="*/ 264042 h 1240128"/>
              <a:gd name="csX48" fmla="*/ 180630 w 697572"/>
              <a:gd name="csY48" fmla="*/ 257839 h 1240128"/>
              <a:gd name="csX49" fmla="*/ 176231 w 697572"/>
              <a:gd name="csY49" fmla="*/ 250643 h 1240128"/>
              <a:gd name="csX50" fmla="*/ 170073 w 697572"/>
              <a:gd name="csY50" fmla="*/ 146723 h 1240128"/>
              <a:gd name="csX51" fmla="*/ 180929 w 697572"/>
              <a:gd name="csY51" fmla="*/ 114280 h 1240128"/>
              <a:gd name="csX52" fmla="*/ 180839 w 697572"/>
              <a:gd name="csY52" fmla="*/ 101501 h 1240128"/>
              <a:gd name="csX53" fmla="*/ 233536 w 697572"/>
              <a:gd name="csY53" fmla="*/ 39653 h 1240128"/>
              <a:gd name="csX54" fmla="*/ 347618 w 697572"/>
              <a:gd name="csY54" fmla="*/ 35 h 1240128"/>
              <a:gd name="csX55" fmla="*/ 437139 w 697572"/>
              <a:gd name="csY55" fmla="*/ 22396 h 1240128"/>
              <a:gd name="csX56" fmla="*/ 529052 w 697572"/>
              <a:gd name="csY56" fmla="*/ 131093 h 1240128"/>
              <a:gd name="csX57" fmla="*/ 518497 w 697572"/>
              <a:gd name="csY57" fmla="*/ 271517 h 1240128"/>
              <a:gd name="csX58" fmla="*/ 500808 w 697572"/>
              <a:gd name="csY58" fmla="*/ 287385 h 1240128"/>
              <a:gd name="csX59" fmla="*/ 472948 w 697572"/>
              <a:gd name="csY59" fmla="*/ 323290 h 1240128"/>
              <a:gd name="csX60" fmla="*/ 469385 w 697572"/>
              <a:gd name="csY60" fmla="*/ 331565 h 1240128"/>
              <a:gd name="csX61" fmla="*/ 468293 w 697572"/>
              <a:gd name="csY61" fmla="*/ 331320 h 1240128"/>
              <a:gd name="csX62" fmla="*/ 459542 w 697572"/>
              <a:gd name="csY62" fmla="*/ 338942 h 1240128"/>
              <a:gd name="csX63" fmla="*/ 458492 w 697572"/>
              <a:gd name="csY63" fmla="*/ 338671 h 1240128"/>
              <a:gd name="csX64" fmla="*/ 436978 w 697572"/>
              <a:gd name="csY64" fmla="*/ 352226 h 1240128"/>
              <a:gd name="csX65" fmla="*/ 472329 w 697572"/>
              <a:gd name="csY65" fmla="*/ 362890 h 1240128"/>
              <a:gd name="csX66" fmla="*/ 523779 w 697572"/>
              <a:gd name="csY66" fmla="*/ 391962 h 1240128"/>
              <a:gd name="csX67" fmla="*/ 527344 w 697572"/>
              <a:gd name="csY67" fmla="*/ 430096 h 1240128"/>
              <a:gd name="csX68" fmla="*/ 504112 w 697572"/>
              <a:gd name="csY68" fmla="*/ 449628 h 1240128"/>
              <a:gd name="csX69" fmla="*/ 459430 w 697572"/>
              <a:gd name="csY69" fmla="*/ 461116 h 1240128"/>
              <a:gd name="csX70" fmla="*/ 446666 w 697572"/>
              <a:gd name="csY70" fmla="*/ 474229 h 1240128"/>
              <a:gd name="csX71" fmla="*/ 449133 w 697572"/>
              <a:gd name="csY71" fmla="*/ 531639 h 1240128"/>
              <a:gd name="csX72" fmla="*/ 454546 w 697572"/>
              <a:gd name="csY72" fmla="*/ 588688 h 1240128"/>
              <a:gd name="csX73" fmla="*/ 466126 w 697572"/>
              <a:gd name="csY73" fmla="*/ 649736 h 1240128"/>
              <a:gd name="csX74" fmla="*/ 512154 w 697572"/>
              <a:gd name="csY74" fmla="*/ 794006 h 1240128"/>
              <a:gd name="csX75" fmla="*/ 525763 w 697572"/>
              <a:gd name="csY75" fmla="*/ 834323 h 1240128"/>
              <a:gd name="csX76" fmla="*/ 530555 w 697572"/>
              <a:gd name="csY76" fmla="*/ 845114 h 1240128"/>
              <a:gd name="csX77" fmla="*/ 554424 w 697572"/>
              <a:gd name="csY77" fmla="*/ 856618 h 1240128"/>
              <a:gd name="csX78" fmla="*/ 572880 w 697572"/>
              <a:gd name="csY78" fmla="*/ 862546 h 1240128"/>
              <a:gd name="csX79" fmla="*/ 578643 w 697572"/>
              <a:gd name="csY79" fmla="*/ 880396 h 1240128"/>
              <a:gd name="csX80" fmla="*/ 572188 w 697572"/>
              <a:gd name="csY80" fmla="*/ 899820 h 1240128"/>
              <a:gd name="csX81" fmla="*/ 582698 w 697572"/>
              <a:gd name="csY81" fmla="*/ 930382 h 1240128"/>
              <a:gd name="csX82" fmla="*/ 604747 w 697572"/>
              <a:gd name="csY82" fmla="*/ 960852 h 1240128"/>
              <a:gd name="csX83" fmla="*/ 613863 w 697572"/>
              <a:gd name="csY83" fmla="*/ 968311 h 1240128"/>
              <a:gd name="csX84" fmla="*/ 629435 w 697572"/>
              <a:gd name="csY84" fmla="*/ 981186 h 1240128"/>
              <a:gd name="csX85" fmla="*/ 633611 w 697572"/>
              <a:gd name="csY85" fmla="*/ 985609 h 1240128"/>
              <a:gd name="csX86" fmla="*/ 673790 w 697572"/>
              <a:gd name="csY86" fmla="*/ 1049348 h 1240128"/>
              <a:gd name="csX87" fmla="*/ 675873 w 697572"/>
              <a:gd name="csY87" fmla="*/ 1092839 h 1240128"/>
              <a:gd name="csX88" fmla="*/ 681668 w 697572"/>
              <a:gd name="csY88" fmla="*/ 1129292 h 1240128"/>
              <a:gd name="csX89" fmla="*/ 697338 w 697572"/>
              <a:gd name="csY89" fmla="*/ 1196079 h 1240128"/>
              <a:gd name="csX90" fmla="*/ 690637 w 697572"/>
              <a:gd name="csY90" fmla="*/ 1205035 h 1240128"/>
              <a:gd name="csX91" fmla="*/ 639777 w 697572"/>
              <a:gd name="csY91" fmla="*/ 1217994 h 1240128"/>
              <a:gd name="csX92" fmla="*/ 587072 w 697572"/>
              <a:gd name="csY92" fmla="*/ 1227761 h 1240128"/>
              <a:gd name="csX93" fmla="*/ 581793 w 697572"/>
              <a:gd name="csY93" fmla="*/ 1234401 h 1240128"/>
              <a:gd name="csX94" fmla="*/ 357446 w 697572"/>
              <a:gd name="csY94" fmla="*/ 903795 h 1240128"/>
              <a:gd name="csX95" fmla="*/ 344445 w 697572"/>
              <a:gd name="csY95" fmla="*/ 903795 h 1240128"/>
              <a:gd name="csX96" fmla="*/ 349212 w 697572"/>
              <a:gd name="csY96" fmla="*/ 950515 h 1240128"/>
              <a:gd name="csX97" fmla="*/ 349538 w 697572"/>
              <a:gd name="csY97" fmla="*/ 1069392 h 1240128"/>
              <a:gd name="csX98" fmla="*/ 349415 w 697572"/>
              <a:gd name="csY98" fmla="*/ 1108925 h 1240128"/>
              <a:gd name="csX99" fmla="*/ 647726 w 697572"/>
              <a:gd name="csY99" fmla="*/ 1089872 h 1240128"/>
              <a:gd name="csX100" fmla="*/ 647654 w 697572"/>
              <a:gd name="csY100" fmla="*/ 1076267 h 1240128"/>
              <a:gd name="csX101" fmla="*/ 610267 w 697572"/>
              <a:gd name="csY101" fmla="*/ 994126 h 1240128"/>
              <a:gd name="csX102" fmla="*/ 571459 w 697572"/>
              <a:gd name="csY102" fmla="*/ 956568 h 1240128"/>
              <a:gd name="csX103" fmla="*/ 541653 w 697572"/>
              <a:gd name="csY103" fmla="*/ 901544 h 1240128"/>
              <a:gd name="csX104" fmla="*/ 539477 w 697572"/>
              <a:gd name="csY104" fmla="*/ 895908 h 1240128"/>
              <a:gd name="csX105" fmla="*/ 357446 w 697572"/>
              <a:gd name="csY105" fmla="*/ 903795 h 1240128"/>
              <a:gd name="csX106" fmla="*/ 300108 w 697572"/>
              <a:gd name="csY106" fmla="*/ 85260 h 1240128"/>
              <a:gd name="csX107" fmla="*/ 290213 w 697572"/>
              <a:gd name="csY107" fmla="*/ 127888 h 1240128"/>
              <a:gd name="csX108" fmla="*/ 331056 w 697572"/>
              <a:gd name="csY108" fmla="*/ 214168 h 1240128"/>
              <a:gd name="csX109" fmla="*/ 424717 w 697572"/>
              <a:gd name="csY109" fmla="*/ 245160 h 1240128"/>
              <a:gd name="csX110" fmla="*/ 496752 w 697572"/>
              <a:gd name="csY110" fmla="*/ 141256 h 1240128"/>
              <a:gd name="csX111" fmla="*/ 390320 w 697572"/>
              <a:gd name="csY111" fmla="*/ 43995 h 1240128"/>
              <a:gd name="csX112" fmla="*/ 300108 w 697572"/>
              <a:gd name="csY112" fmla="*/ 85260 h 1240128"/>
              <a:gd name="csX113" fmla="*/ 343360 w 697572"/>
              <a:gd name="csY113" fmla="*/ 634332 h 1240128"/>
              <a:gd name="csX114" fmla="*/ 340877 w 697572"/>
              <a:gd name="csY114" fmla="*/ 732259 h 1240128"/>
              <a:gd name="csX115" fmla="*/ 338360 w 697572"/>
              <a:gd name="csY115" fmla="*/ 810538 h 1240128"/>
              <a:gd name="csX116" fmla="*/ 337115 w 697572"/>
              <a:gd name="csY116" fmla="*/ 817736 h 1240128"/>
              <a:gd name="csX117" fmla="*/ 336516 w 697572"/>
              <a:gd name="csY117" fmla="*/ 863022 h 1240128"/>
              <a:gd name="csX118" fmla="*/ 343436 w 697572"/>
              <a:gd name="csY118" fmla="*/ 864027 h 1240128"/>
              <a:gd name="csX119" fmla="*/ 406718 w 697572"/>
              <a:gd name="csY119" fmla="*/ 862982 h 1240128"/>
              <a:gd name="csX120" fmla="*/ 456888 w 697572"/>
              <a:gd name="csY120" fmla="*/ 861794 h 1240128"/>
              <a:gd name="csX121" fmla="*/ 495873 w 697572"/>
              <a:gd name="csY121" fmla="*/ 863963 h 1240128"/>
              <a:gd name="csX122" fmla="*/ 509286 w 697572"/>
              <a:gd name="csY122" fmla="*/ 863595 h 1240128"/>
              <a:gd name="csX123" fmla="*/ 516956 w 697572"/>
              <a:gd name="csY123" fmla="*/ 856791 h 1240128"/>
              <a:gd name="csX124" fmla="*/ 513920 w 697572"/>
              <a:gd name="csY124" fmla="*/ 848709 h 1240128"/>
              <a:gd name="csX125" fmla="*/ 506683 w 697572"/>
              <a:gd name="csY125" fmla="*/ 839054 h 1240128"/>
              <a:gd name="csX126" fmla="*/ 488629 w 697572"/>
              <a:gd name="csY126" fmla="*/ 799037 h 1240128"/>
              <a:gd name="csX127" fmla="*/ 456922 w 697572"/>
              <a:gd name="csY127" fmla="*/ 696297 h 1240128"/>
              <a:gd name="csX128" fmla="*/ 441346 w 697572"/>
              <a:gd name="csY128" fmla="*/ 619885 h 1240128"/>
              <a:gd name="csX129" fmla="*/ 435963 w 697572"/>
              <a:gd name="csY129" fmla="*/ 582529 h 1240128"/>
              <a:gd name="csX130" fmla="*/ 429497 w 697572"/>
              <a:gd name="csY130" fmla="*/ 521990 h 1240128"/>
              <a:gd name="csX131" fmla="*/ 426887 w 697572"/>
              <a:gd name="csY131" fmla="*/ 471989 h 1240128"/>
              <a:gd name="csX132" fmla="*/ 413744 w 697572"/>
              <a:gd name="csY132" fmla="*/ 461077 h 1240128"/>
              <a:gd name="csX133" fmla="*/ 353573 w 697572"/>
              <a:gd name="csY133" fmla="*/ 461120 h 1240128"/>
              <a:gd name="csX134" fmla="*/ 344160 w 697572"/>
              <a:gd name="csY134" fmla="*/ 462286 h 1240128"/>
              <a:gd name="csX135" fmla="*/ 343404 w 697572"/>
              <a:gd name="csY135" fmla="*/ 469192 h 1240128"/>
              <a:gd name="csX136" fmla="*/ 343469 w 697572"/>
              <a:gd name="csY136" fmla="*/ 574797 h 1240128"/>
              <a:gd name="csX137" fmla="*/ 345522 w 697572"/>
              <a:gd name="csY137" fmla="*/ 591669 h 1240128"/>
              <a:gd name="csX138" fmla="*/ 343360 w 697572"/>
              <a:gd name="csY138" fmla="*/ 634332 h 1240128"/>
              <a:gd name="csX139" fmla="*/ 416946 w 697572"/>
              <a:gd name="csY139" fmla="*/ 385943 h 1240128"/>
              <a:gd name="csX140" fmla="*/ 401091 w 697572"/>
              <a:gd name="csY140" fmla="*/ 387162 h 1240128"/>
              <a:gd name="csX141" fmla="*/ 369218 w 697572"/>
              <a:gd name="csY141" fmla="*/ 387708 h 1240128"/>
              <a:gd name="csX142" fmla="*/ 351833 w 697572"/>
              <a:gd name="csY142" fmla="*/ 398991 h 1240128"/>
              <a:gd name="csX143" fmla="*/ 349778 w 697572"/>
              <a:gd name="csY143" fmla="*/ 426021 h 1240128"/>
              <a:gd name="csX144" fmla="*/ 361839 w 697572"/>
              <a:gd name="csY144" fmla="*/ 426538 h 1240128"/>
              <a:gd name="csX145" fmla="*/ 455022 w 697572"/>
              <a:gd name="csY145" fmla="*/ 426922 h 1240128"/>
              <a:gd name="csX146" fmla="*/ 481958 w 697572"/>
              <a:gd name="csY146" fmla="*/ 426527 h 1240128"/>
              <a:gd name="csX147" fmla="*/ 499817 w 697572"/>
              <a:gd name="csY147" fmla="*/ 419888 h 1240128"/>
              <a:gd name="csX148" fmla="*/ 499439 w 697572"/>
              <a:gd name="csY148" fmla="*/ 400719 h 1240128"/>
              <a:gd name="csX149" fmla="*/ 468062 w 697572"/>
              <a:gd name="csY149" fmla="*/ 387775 h 1240128"/>
              <a:gd name="csX150" fmla="*/ 416946 w 697572"/>
              <a:gd name="csY150" fmla="*/ 385943 h 1240128"/>
              <a:gd name="csX151" fmla="*/ 636802 w 697572"/>
              <a:gd name="csY151" fmla="*/ 1190940 h 1240128"/>
              <a:gd name="csX152" fmla="*/ 666492 w 697572"/>
              <a:gd name="csY152" fmla="*/ 1184186 h 1240128"/>
              <a:gd name="csX153" fmla="*/ 674465 w 697572"/>
              <a:gd name="csY153" fmla="*/ 1170880 h 1240128"/>
              <a:gd name="csX154" fmla="*/ 662462 w 697572"/>
              <a:gd name="csY154" fmla="*/ 1141464 h 1240128"/>
              <a:gd name="csX155" fmla="*/ 645564 w 697572"/>
              <a:gd name="csY155" fmla="*/ 1131937 h 1240128"/>
              <a:gd name="csX156" fmla="*/ 627387 w 697572"/>
              <a:gd name="csY156" fmla="*/ 1133618 h 1240128"/>
              <a:gd name="csX157" fmla="*/ 583917 w 697572"/>
              <a:gd name="csY157" fmla="*/ 1139222 h 1240128"/>
              <a:gd name="csX158" fmla="*/ 543741 w 697572"/>
              <a:gd name="csY158" fmla="*/ 1141869 h 1240128"/>
              <a:gd name="csX159" fmla="*/ 512146 w 697572"/>
              <a:gd name="csY159" fmla="*/ 1144418 h 1240128"/>
              <a:gd name="csX160" fmla="*/ 447711 w 697572"/>
              <a:gd name="csY160" fmla="*/ 1148973 h 1240128"/>
              <a:gd name="csX161" fmla="*/ 351979 w 697572"/>
              <a:gd name="csY161" fmla="*/ 1149200 h 1240128"/>
              <a:gd name="csX162" fmla="*/ 338443 w 697572"/>
              <a:gd name="csY162" fmla="*/ 1150040 h 1240128"/>
              <a:gd name="csX163" fmla="*/ 338451 w 697572"/>
              <a:gd name="csY163" fmla="*/ 1190780 h 1240128"/>
              <a:gd name="csX164" fmla="*/ 351082 w 697572"/>
              <a:gd name="csY164" fmla="*/ 1207015 h 1240128"/>
              <a:gd name="csX165" fmla="*/ 358298 w 697572"/>
              <a:gd name="csY165" fmla="*/ 1208094 h 1240128"/>
              <a:gd name="csX166" fmla="*/ 521229 w 697572"/>
              <a:gd name="csY166" fmla="*/ 1205646 h 1240128"/>
              <a:gd name="csX167" fmla="*/ 523675 w 697572"/>
              <a:gd name="csY167" fmla="*/ 1205490 h 1240128"/>
              <a:gd name="csX168" fmla="*/ 580423 w 697572"/>
              <a:gd name="csY168" fmla="*/ 1198350 h 1240128"/>
              <a:gd name="csX169" fmla="*/ 636802 w 697572"/>
              <a:gd name="csY169" fmla="*/ 1190940 h 124012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</a:cxnLst>
            <a:rect l="l" t="t" r="r" b="b"/>
            <a:pathLst>
              <a:path w="697572" h="1240128">
                <a:moveTo>
                  <a:pt x="581793" y="1234401"/>
                </a:moveTo>
                <a:cubicBezTo>
                  <a:pt x="580693" y="1234661"/>
                  <a:pt x="579594" y="1234922"/>
                  <a:pt x="577427" y="1234156"/>
                </a:cubicBezTo>
                <a:cubicBezTo>
                  <a:pt x="571216" y="1227899"/>
                  <a:pt x="564912" y="1230441"/>
                  <a:pt x="559133" y="1230909"/>
                </a:cubicBezTo>
                <a:cubicBezTo>
                  <a:pt x="544971" y="1232056"/>
                  <a:pt x="530869" y="1233971"/>
                  <a:pt x="516706" y="1235117"/>
                </a:cubicBezTo>
                <a:cubicBezTo>
                  <a:pt x="502910" y="1236232"/>
                  <a:pt x="489077" y="1237097"/>
                  <a:pt x="475244" y="1237506"/>
                </a:cubicBezTo>
                <a:cubicBezTo>
                  <a:pt x="440539" y="1238535"/>
                  <a:pt x="405696" y="1241458"/>
                  <a:pt x="371154" y="1239428"/>
                </a:cubicBezTo>
                <a:cubicBezTo>
                  <a:pt x="339645" y="1237575"/>
                  <a:pt x="308239" y="1238753"/>
                  <a:pt x="276813" y="1237654"/>
                </a:cubicBezTo>
                <a:cubicBezTo>
                  <a:pt x="273949" y="1237553"/>
                  <a:pt x="271079" y="1237652"/>
                  <a:pt x="268212" y="1237635"/>
                </a:cubicBezTo>
                <a:cubicBezTo>
                  <a:pt x="266165" y="1237623"/>
                  <a:pt x="264111" y="1237668"/>
                  <a:pt x="262072" y="1237523"/>
                </a:cubicBezTo>
                <a:cubicBezTo>
                  <a:pt x="239751" y="1235944"/>
                  <a:pt x="217441" y="1234201"/>
                  <a:pt x="195111" y="1232775"/>
                </a:cubicBezTo>
                <a:cubicBezTo>
                  <a:pt x="178437" y="1231710"/>
                  <a:pt x="161712" y="1231378"/>
                  <a:pt x="145060" y="1230076"/>
                </a:cubicBezTo>
                <a:cubicBezTo>
                  <a:pt x="134969" y="1229287"/>
                  <a:pt x="124987" y="1227177"/>
                  <a:pt x="114933" y="1225832"/>
                </a:cubicBezTo>
                <a:cubicBezTo>
                  <a:pt x="100834" y="1223946"/>
                  <a:pt x="86554" y="1223022"/>
                  <a:pt x="72642" y="1220237"/>
                </a:cubicBezTo>
                <a:cubicBezTo>
                  <a:pt x="51920" y="1216091"/>
                  <a:pt x="31443" y="1210723"/>
                  <a:pt x="10894" y="1205737"/>
                </a:cubicBezTo>
                <a:cubicBezTo>
                  <a:pt x="9027" y="1205284"/>
                  <a:pt x="6196" y="1204140"/>
                  <a:pt x="5856" y="1202799"/>
                </a:cubicBezTo>
                <a:cubicBezTo>
                  <a:pt x="3474" y="1193418"/>
                  <a:pt x="-438" y="1183796"/>
                  <a:pt x="40" y="1174450"/>
                </a:cubicBezTo>
                <a:cubicBezTo>
                  <a:pt x="1079" y="1154149"/>
                  <a:pt x="9757" y="1135843"/>
                  <a:pt x="19831" y="1118410"/>
                </a:cubicBezTo>
                <a:cubicBezTo>
                  <a:pt x="21968" y="1114713"/>
                  <a:pt x="22970" y="1111858"/>
                  <a:pt x="22004" y="1107240"/>
                </a:cubicBezTo>
                <a:cubicBezTo>
                  <a:pt x="17168" y="1084118"/>
                  <a:pt x="17717" y="1061168"/>
                  <a:pt x="25947" y="1038650"/>
                </a:cubicBezTo>
                <a:cubicBezTo>
                  <a:pt x="32954" y="1019481"/>
                  <a:pt x="44478" y="1003118"/>
                  <a:pt x="58234" y="988567"/>
                </a:cubicBezTo>
                <a:cubicBezTo>
                  <a:pt x="77769" y="967902"/>
                  <a:pt x="97978" y="947832"/>
                  <a:pt x="118645" y="928298"/>
                </a:cubicBezTo>
                <a:cubicBezTo>
                  <a:pt x="130104" y="917467"/>
                  <a:pt x="131835" y="905961"/>
                  <a:pt x="126320" y="892015"/>
                </a:cubicBezTo>
                <a:cubicBezTo>
                  <a:pt x="123798" y="885637"/>
                  <a:pt x="122123" y="878904"/>
                  <a:pt x="120345" y="872258"/>
                </a:cubicBezTo>
                <a:cubicBezTo>
                  <a:pt x="119029" y="867341"/>
                  <a:pt x="120162" y="863613"/>
                  <a:pt x="125668" y="861640"/>
                </a:cubicBezTo>
                <a:cubicBezTo>
                  <a:pt x="135266" y="858201"/>
                  <a:pt x="144535" y="853788"/>
                  <a:pt x="154237" y="850716"/>
                </a:cubicBezTo>
                <a:cubicBezTo>
                  <a:pt x="161882" y="848296"/>
                  <a:pt x="167110" y="843897"/>
                  <a:pt x="170248" y="836767"/>
                </a:cubicBezTo>
                <a:cubicBezTo>
                  <a:pt x="176168" y="823316"/>
                  <a:pt x="182193" y="809907"/>
                  <a:pt x="187840" y="796341"/>
                </a:cubicBezTo>
                <a:cubicBezTo>
                  <a:pt x="195194" y="778679"/>
                  <a:pt x="202250" y="760894"/>
                  <a:pt x="209346" y="743126"/>
                </a:cubicBezTo>
                <a:cubicBezTo>
                  <a:pt x="210083" y="741280"/>
                  <a:pt x="210252" y="739200"/>
                  <a:pt x="210630" y="737219"/>
                </a:cubicBezTo>
                <a:cubicBezTo>
                  <a:pt x="211694" y="731645"/>
                  <a:pt x="212425" y="725987"/>
                  <a:pt x="213836" y="720505"/>
                </a:cubicBezTo>
                <a:cubicBezTo>
                  <a:pt x="218406" y="702764"/>
                  <a:pt x="223811" y="685219"/>
                  <a:pt x="227791" y="667353"/>
                </a:cubicBezTo>
                <a:cubicBezTo>
                  <a:pt x="232826" y="644755"/>
                  <a:pt x="237367" y="622009"/>
                  <a:pt x="241013" y="599151"/>
                </a:cubicBezTo>
                <a:cubicBezTo>
                  <a:pt x="244018" y="580319"/>
                  <a:pt x="246001" y="561272"/>
                  <a:pt x="247322" y="542242"/>
                </a:cubicBezTo>
                <a:cubicBezTo>
                  <a:pt x="248312" y="527975"/>
                  <a:pt x="246344" y="513451"/>
                  <a:pt x="247948" y="499296"/>
                </a:cubicBezTo>
                <a:cubicBezTo>
                  <a:pt x="249066" y="489432"/>
                  <a:pt x="247923" y="480014"/>
                  <a:pt x="247577" y="470384"/>
                </a:cubicBezTo>
                <a:cubicBezTo>
                  <a:pt x="247364" y="464453"/>
                  <a:pt x="245121" y="461397"/>
                  <a:pt x="238877" y="460987"/>
                </a:cubicBezTo>
                <a:cubicBezTo>
                  <a:pt x="233224" y="460615"/>
                  <a:pt x="227461" y="459920"/>
                  <a:pt x="222040" y="458353"/>
                </a:cubicBezTo>
                <a:cubicBezTo>
                  <a:pt x="203991" y="453134"/>
                  <a:pt x="185737" y="448229"/>
                  <a:pt x="172193" y="433714"/>
                </a:cubicBezTo>
                <a:cubicBezTo>
                  <a:pt x="162702" y="423544"/>
                  <a:pt x="160887" y="408134"/>
                  <a:pt x="168410" y="396591"/>
                </a:cubicBezTo>
                <a:cubicBezTo>
                  <a:pt x="178294" y="381428"/>
                  <a:pt x="193736" y="373793"/>
                  <a:pt x="209826" y="367773"/>
                </a:cubicBezTo>
                <a:cubicBezTo>
                  <a:pt x="223159" y="362784"/>
                  <a:pt x="237124" y="359493"/>
                  <a:pt x="250732" y="355208"/>
                </a:cubicBezTo>
                <a:cubicBezTo>
                  <a:pt x="253085" y="354467"/>
                  <a:pt x="255058" y="352518"/>
                  <a:pt x="258289" y="350426"/>
                </a:cubicBezTo>
                <a:cubicBezTo>
                  <a:pt x="250173" y="342610"/>
                  <a:pt x="241833" y="337880"/>
                  <a:pt x="233274" y="333513"/>
                </a:cubicBezTo>
                <a:cubicBezTo>
                  <a:pt x="232377" y="333055"/>
                  <a:pt x="230890" y="333758"/>
                  <a:pt x="229677" y="333922"/>
                </a:cubicBezTo>
                <a:cubicBezTo>
                  <a:pt x="229677" y="333922"/>
                  <a:pt x="230323" y="333834"/>
                  <a:pt x="230149" y="332979"/>
                </a:cubicBezTo>
                <a:cubicBezTo>
                  <a:pt x="229023" y="330409"/>
                  <a:pt x="228502" y="328059"/>
                  <a:pt x="227053" y="327076"/>
                </a:cubicBezTo>
                <a:cubicBezTo>
                  <a:pt x="213615" y="317962"/>
                  <a:pt x="204643" y="305332"/>
                  <a:pt x="196769" y="291380"/>
                </a:cubicBezTo>
                <a:cubicBezTo>
                  <a:pt x="191792" y="282564"/>
                  <a:pt x="185421" y="274665"/>
                  <a:pt x="184389" y="264042"/>
                </a:cubicBezTo>
                <a:cubicBezTo>
                  <a:pt x="184179" y="261874"/>
                  <a:pt x="181925" y="259908"/>
                  <a:pt x="180630" y="257839"/>
                </a:cubicBezTo>
                <a:cubicBezTo>
                  <a:pt x="179137" y="255454"/>
                  <a:pt x="177317" y="253204"/>
                  <a:pt x="176231" y="250643"/>
                </a:cubicBezTo>
                <a:cubicBezTo>
                  <a:pt x="161865" y="216749"/>
                  <a:pt x="159606" y="182060"/>
                  <a:pt x="170073" y="146723"/>
                </a:cubicBezTo>
                <a:cubicBezTo>
                  <a:pt x="173311" y="135795"/>
                  <a:pt x="177248" y="125074"/>
                  <a:pt x="180929" y="114280"/>
                </a:cubicBezTo>
                <a:cubicBezTo>
                  <a:pt x="182396" y="109981"/>
                  <a:pt x="183922" y="105742"/>
                  <a:pt x="180839" y="101501"/>
                </a:cubicBezTo>
                <a:cubicBezTo>
                  <a:pt x="192473" y="75833"/>
                  <a:pt x="211344" y="56271"/>
                  <a:pt x="233536" y="39653"/>
                </a:cubicBezTo>
                <a:cubicBezTo>
                  <a:pt x="267321" y="14353"/>
                  <a:pt x="305621" y="873"/>
                  <a:pt x="347618" y="35"/>
                </a:cubicBezTo>
                <a:cubicBezTo>
                  <a:pt x="379125" y="-593"/>
                  <a:pt x="409214" y="7172"/>
                  <a:pt x="437139" y="22396"/>
                </a:cubicBezTo>
                <a:cubicBezTo>
                  <a:pt x="481844" y="46766"/>
                  <a:pt x="514077" y="82116"/>
                  <a:pt x="529052" y="131093"/>
                </a:cubicBezTo>
                <a:cubicBezTo>
                  <a:pt x="543544" y="178495"/>
                  <a:pt x="541630" y="225548"/>
                  <a:pt x="518497" y="271517"/>
                </a:cubicBezTo>
                <a:cubicBezTo>
                  <a:pt x="511428" y="277096"/>
                  <a:pt x="503848" y="281136"/>
                  <a:pt x="500808" y="287385"/>
                </a:cubicBezTo>
                <a:cubicBezTo>
                  <a:pt x="493932" y="301522"/>
                  <a:pt x="483805" y="312513"/>
                  <a:pt x="472948" y="323290"/>
                </a:cubicBezTo>
                <a:cubicBezTo>
                  <a:pt x="470972" y="325253"/>
                  <a:pt x="470533" y="328767"/>
                  <a:pt x="469385" y="331565"/>
                </a:cubicBezTo>
                <a:cubicBezTo>
                  <a:pt x="469385" y="331565"/>
                  <a:pt x="469172" y="331584"/>
                  <a:pt x="468293" y="331320"/>
                </a:cubicBezTo>
                <a:cubicBezTo>
                  <a:pt x="461937" y="330836"/>
                  <a:pt x="458618" y="332772"/>
                  <a:pt x="459542" y="338942"/>
                </a:cubicBezTo>
                <a:cubicBezTo>
                  <a:pt x="459542" y="338942"/>
                  <a:pt x="459473" y="338913"/>
                  <a:pt x="458492" y="338671"/>
                </a:cubicBezTo>
                <a:cubicBezTo>
                  <a:pt x="450936" y="342653"/>
                  <a:pt x="440712" y="341355"/>
                  <a:pt x="436978" y="352226"/>
                </a:cubicBezTo>
                <a:cubicBezTo>
                  <a:pt x="449178" y="355911"/>
                  <a:pt x="460733" y="359469"/>
                  <a:pt x="472329" y="362890"/>
                </a:cubicBezTo>
                <a:cubicBezTo>
                  <a:pt x="491728" y="368613"/>
                  <a:pt x="510182" y="375784"/>
                  <a:pt x="523779" y="391962"/>
                </a:cubicBezTo>
                <a:cubicBezTo>
                  <a:pt x="535849" y="406326"/>
                  <a:pt x="534845" y="420076"/>
                  <a:pt x="527344" y="430096"/>
                </a:cubicBezTo>
                <a:cubicBezTo>
                  <a:pt x="521323" y="438139"/>
                  <a:pt x="513928" y="445333"/>
                  <a:pt x="504112" y="449628"/>
                </a:cubicBezTo>
                <a:cubicBezTo>
                  <a:pt x="489776" y="455901"/>
                  <a:pt x="475173" y="460486"/>
                  <a:pt x="459430" y="461116"/>
                </a:cubicBezTo>
                <a:cubicBezTo>
                  <a:pt x="448415" y="461557"/>
                  <a:pt x="446384" y="463369"/>
                  <a:pt x="446666" y="474229"/>
                </a:cubicBezTo>
                <a:cubicBezTo>
                  <a:pt x="447164" y="493376"/>
                  <a:pt x="447839" y="512533"/>
                  <a:pt x="449133" y="531639"/>
                </a:cubicBezTo>
                <a:cubicBezTo>
                  <a:pt x="450424" y="550696"/>
                  <a:pt x="451783" y="569809"/>
                  <a:pt x="454546" y="588688"/>
                </a:cubicBezTo>
                <a:cubicBezTo>
                  <a:pt x="457543" y="609164"/>
                  <a:pt x="462165" y="629403"/>
                  <a:pt x="466126" y="649736"/>
                </a:cubicBezTo>
                <a:cubicBezTo>
                  <a:pt x="475845" y="699621"/>
                  <a:pt x="493414" y="746980"/>
                  <a:pt x="512154" y="794006"/>
                </a:cubicBezTo>
                <a:cubicBezTo>
                  <a:pt x="517387" y="807138"/>
                  <a:pt x="525145" y="819463"/>
                  <a:pt x="525763" y="834323"/>
                </a:cubicBezTo>
                <a:cubicBezTo>
                  <a:pt x="525919" y="838081"/>
                  <a:pt x="527739" y="843335"/>
                  <a:pt x="530555" y="845114"/>
                </a:cubicBezTo>
                <a:cubicBezTo>
                  <a:pt x="537981" y="849801"/>
                  <a:pt x="546243" y="853278"/>
                  <a:pt x="554424" y="856618"/>
                </a:cubicBezTo>
                <a:cubicBezTo>
                  <a:pt x="560391" y="859054"/>
                  <a:pt x="567041" y="859887"/>
                  <a:pt x="572880" y="862546"/>
                </a:cubicBezTo>
                <a:cubicBezTo>
                  <a:pt x="581470" y="866458"/>
                  <a:pt x="582467" y="871415"/>
                  <a:pt x="578643" y="880396"/>
                </a:cubicBezTo>
                <a:cubicBezTo>
                  <a:pt x="575969" y="886677"/>
                  <a:pt x="572900" y="893182"/>
                  <a:pt x="572188" y="899820"/>
                </a:cubicBezTo>
                <a:cubicBezTo>
                  <a:pt x="570960" y="911271"/>
                  <a:pt x="576506" y="920944"/>
                  <a:pt x="582698" y="930382"/>
                </a:cubicBezTo>
                <a:cubicBezTo>
                  <a:pt x="589569" y="940856"/>
                  <a:pt x="600933" y="947930"/>
                  <a:pt x="604747" y="960852"/>
                </a:cubicBezTo>
                <a:cubicBezTo>
                  <a:pt x="605684" y="964030"/>
                  <a:pt x="610294" y="967128"/>
                  <a:pt x="613863" y="968311"/>
                </a:cubicBezTo>
                <a:cubicBezTo>
                  <a:pt x="620963" y="970665"/>
                  <a:pt x="625924" y="974774"/>
                  <a:pt x="629435" y="981186"/>
                </a:cubicBezTo>
                <a:cubicBezTo>
                  <a:pt x="630381" y="982913"/>
                  <a:pt x="631977" y="984459"/>
                  <a:pt x="633611" y="985609"/>
                </a:cubicBezTo>
                <a:cubicBezTo>
                  <a:pt x="655878" y="1001272"/>
                  <a:pt x="668032" y="1023762"/>
                  <a:pt x="673790" y="1049348"/>
                </a:cubicBezTo>
                <a:cubicBezTo>
                  <a:pt x="676936" y="1063327"/>
                  <a:pt x="679769" y="1077802"/>
                  <a:pt x="675873" y="1092839"/>
                </a:cubicBezTo>
                <a:cubicBezTo>
                  <a:pt x="672677" y="1105174"/>
                  <a:pt x="673042" y="1116963"/>
                  <a:pt x="681668" y="1129292"/>
                </a:cubicBezTo>
                <a:cubicBezTo>
                  <a:pt x="695321" y="1148802"/>
                  <a:pt x="698550" y="1172235"/>
                  <a:pt x="697338" y="1196079"/>
                </a:cubicBezTo>
                <a:cubicBezTo>
                  <a:pt x="697087" y="1201014"/>
                  <a:pt x="694979" y="1203886"/>
                  <a:pt x="690637" y="1205035"/>
                </a:cubicBezTo>
                <a:cubicBezTo>
                  <a:pt x="673723" y="1209511"/>
                  <a:pt x="656856" y="1214241"/>
                  <a:pt x="639777" y="1217994"/>
                </a:cubicBezTo>
                <a:cubicBezTo>
                  <a:pt x="622334" y="1221827"/>
                  <a:pt x="604691" y="1224790"/>
                  <a:pt x="587072" y="1227761"/>
                </a:cubicBezTo>
                <a:cubicBezTo>
                  <a:pt x="582708" y="1228497"/>
                  <a:pt x="581724" y="1230736"/>
                  <a:pt x="581793" y="1234401"/>
                </a:cubicBezTo>
                <a:moveTo>
                  <a:pt x="357446" y="903795"/>
                </a:moveTo>
                <a:cubicBezTo>
                  <a:pt x="353141" y="903795"/>
                  <a:pt x="348835" y="903795"/>
                  <a:pt x="344445" y="903795"/>
                </a:cubicBezTo>
                <a:cubicBezTo>
                  <a:pt x="346169" y="920562"/>
                  <a:pt x="347908" y="935520"/>
                  <a:pt x="349212" y="950515"/>
                </a:cubicBezTo>
                <a:cubicBezTo>
                  <a:pt x="352656" y="990125"/>
                  <a:pt x="351941" y="1029743"/>
                  <a:pt x="349538" y="1069392"/>
                </a:cubicBezTo>
                <a:cubicBezTo>
                  <a:pt x="348759" y="1082241"/>
                  <a:pt x="349415" y="1095176"/>
                  <a:pt x="349415" y="1108925"/>
                </a:cubicBezTo>
                <a:cubicBezTo>
                  <a:pt x="449467" y="1111953"/>
                  <a:pt x="548509" y="1104712"/>
                  <a:pt x="647726" y="1089872"/>
                </a:cubicBezTo>
                <a:cubicBezTo>
                  <a:pt x="647726" y="1084313"/>
                  <a:pt x="648180" y="1080225"/>
                  <a:pt x="647654" y="1076267"/>
                </a:cubicBezTo>
                <a:cubicBezTo>
                  <a:pt x="643515" y="1045124"/>
                  <a:pt x="633172" y="1016714"/>
                  <a:pt x="610267" y="994126"/>
                </a:cubicBezTo>
                <a:cubicBezTo>
                  <a:pt x="597451" y="981485"/>
                  <a:pt x="584392" y="969090"/>
                  <a:pt x="571459" y="956568"/>
                </a:cubicBezTo>
                <a:cubicBezTo>
                  <a:pt x="555751" y="941359"/>
                  <a:pt x="544836" y="923558"/>
                  <a:pt x="541653" y="901544"/>
                </a:cubicBezTo>
                <a:cubicBezTo>
                  <a:pt x="541430" y="900007"/>
                  <a:pt x="540528" y="898570"/>
                  <a:pt x="539477" y="895908"/>
                </a:cubicBezTo>
                <a:cubicBezTo>
                  <a:pt x="479736" y="901652"/>
                  <a:pt x="419815" y="904536"/>
                  <a:pt x="357446" y="903795"/>
                </a:cubicBezTo>
                <a:moveTo>
                  <a:pt x="300108" y="85260"/>
                </a:moveTo>
                <a:cubicBezTo>
                  <a:pt x="293656" y="98745"/>
                  <a:pt x="289202" y="113094"/>
                  <a:pt x="290213" y="127888"/>
                </a:cubicBezTo>
                <a:cubicBezTo>
                  <a:pt x="292527" y="161736"/>
                  <a:pt x="304185" y="191723"/>
                  <a:pt x="331056" y="214168"/>
                </a:cubicBezTo>
                <a:cubicBezTo>
                  <a:pt x="358172" y="236816"/>
                  <a:pt x="388435" y="249934"/>
                  <a:pt x="424717" y="245160"/>
                </a:cubicBezTo>
                <a:cubicBezTo>
                  <a:pt x="468593" y="239387"/>
                  <a:pt x="509574" y="203365"/>
                  <a:pt x="496752" y="141256"/>
                </a:cubicBezTo>
                <a:cubicBezTo>
                  <a:pt x="487021" y="94124"/>
                  <a:pt x="447261" y="51874"/>
                  <a:pt x="390320" y="43995"/>
                </a:cubicBezTo>
                <a:cubicBezTo>
                  <a:pt x="353241" y="38865"/>
                  <a:pt x="321136" y="48750"/>
                  <a:pt x="300108" y="85260"/>
                </a:cubicBezTo>
                <a:moveTo>
                  <a:pt x="343360" y="634332"/>
                </a:moveTo>
                <a:cubicBezTo>
                  <a:pt x="342539" y="666975"/>
                  <a:pt x="341785" y="699619"/>
                  <a:pt x="340877" y="732259"/>
                </a:cubicBezTo>
                <a:cubicBezTo>
                  <a:pt x="340151" y="758355"/>
                  <a:pt x="339265" y="784447"/>
                  <a:pt x="338360" y="810538"/>
                </a:cubicBezTo>
                <a:cubicBezTo>
                  <a:pt x="338277" y="812948"/>
                  <a:pt x="337465" y="815325"/>
                  <a:pt x="337115" y="817736"/>
                </a:cubicBezTo>
                <a:cubicBezTo>
                  <a:pt x="334935" y="832710"/>
                  <a:pt x="336026" y="847647"/>
                  <a:pt x="336516" y="863022"/>
                </a:cubicBezTo>
                <a:cubicBezTo>
                  <a:pt x="339537" y="863479"/>
                  <a:pt x="341490" y="864053"/>
                  <a:pt x="343436" y="864027"/>
                </a:cubicBezTo>
                <a:cubicBezTo>
                  <a:pt x="364531" y="863739"/>
                  <a:pt x="385626" y="863422"/>
                  <a:pt x="406718" y="862982"/>
                </a:cubicBezTo>
                <a:cubicBezTo>
                  <a:pt x="423444" y="862634"/>
                  <a:pt x="440168" y="861675"/>
                  <a:pt x="456888" y="861794"/>
                </a:cubicBezTo>
                <a:cubicBezTo>
                  <a:pt x="469887" y="861886"/>
                  <a:pt x="482872" y="863302"/>
                  <a:pt x="495873" y="863963"/>
                </a:cubicBezTo>
                <a:cubicBezTo>
                  <a:pt x="500358" y="864191"/>
                  <a:pt x="505108" y="864773"/>
                  <a:pt x="509286" y="863595"/>
                </a:cubicBezTo>
                <a:cubicBezTo>
                  <a:pt x="512346" y="862732"/>
                  <a:pt x="515714" y="859703"/>
                  <a:pt x="516956" y="856791"/>
                </a:cubicBezTo>
                <a:cubicBezTo>
                  <a:pt x="517783" y="854851"/>
                  <a:pt x="515475" y="851192"/>
                  <a:pt x="513920" y="848709"/>
                </a:cubicBezTo>
                <a:cubicBezTo>
                  <a:pt x="511791" y="845308"/>
                  <a:pt x="508393" y="842606"/>
                  <a:pt x="506683" y="839054"/>
                </a:cubicBezTo>
                <a:cubicBezTo>
                  <a:pt x="500331" y="825864"/>
                  <a:pt x="493224" y="812855"/>
                  <a:pt x="488629" y="799037"/>
                </a:cubicBezTo>
                <a:cubicBezTo>
                  <a:pt x="477322" y="765031"/>
                  <a:pt x="466537" y="730814"/>
                  <a:pt x="456922" y="696297"/>
                </a:cubicBezTo>
                <a:cubicBezTo>
                  <a:pt x="449953" y="671276"/>
                  <a:pt x="443477" y="646020"/>
                  <a:pt x="441346" y="619885"/>
                </a:cubicBezTo>
                <a:cubicBezTo>
                  <a:pt x="440327" y="607371"/>
                  <a:pt x="437466" y="595018"/>
                  <a:pt x="435963" y="582529"/>
                </a:cubicBezTo>
                <a:cubicBezTo>
                  <a:pt x="433539" y="562380"/>
                  <a:pt x="431154" y="542212"/>
                  <a:pt x="429497" y="521990"/>
                </a:cubicBezTo>
                <a:cubicBezTo>
                  <a:pt x="428135" y="505363"/>
                  <a:pt x="428437" y="488593"/>
                  <a:pt x="426887" y="471989"/>
                </a:cubicBezTo>
                <a:cubicBezTo>
                  <a:pt x="425874" y="461140"/>
                  <a:pt x="424983" y="461120"/>
                  <a:pt x="413744" y="461077"/>
                </a:cubicBezTo>
                <a:cubicBezTo>
                  <a:pt x="393687" y="461000"/>
                  <a:pt x="373630" y="461011"/>
                  <a:pt x="353573" y="461120"/>
                </a:cubicBezTo>
                <a:cubicBezTo>
                  <a:pt x="350472" y="461137"/>
                  <a:pt x="347374" y="461869"/>
                  <a:pt x="344160" y="462286"/>
                </a:cubicBezTo>
                <a:cubicBezTo>
                  <a:pt x="343828" y="465198"/>
                  <a:pt x="343406" y="467195"/>
                  <a:pt x="343404" y="469192"/>
                </a:cubicBezTo>
                <a:cubicBezTo>
                  <a:pt x="343360" y="504394"/>
                  <a:pt x="343267" y="539596"/>
                  <a:pt x="343469" y="574797"/>
                </a:cubicBezTo>
                <a:cubicBezTo>
                  <a:pt x="343501" y="580426"/>
                  <a:pt x="345652" y="586065"/>
                  <a:pt x="345522" y="591669"/>
                </a:cubicBezTo>
                <a:cubicBezTo>
                  <a:pt x="345214" y="605082"/>
                  <a:pt x="344131" y="618478"/>
                  <a:pt x="343360" y="634332"/>
                </a:cubicBezTo>
                <a:moveTo>
                  <a:pt x="416946" y="385943"/>
                </a:moveTo>
                <a:cubicBezTo>
                  <a:pt x="411661" y="386365"/>
                  <a:pt x="406384" y="387006"/>
                  <a:pt x="401091" y="387162"/>
                </a:cubicBezTo>
                <a:cubicBezTo>
                  <a:pt x="390470" y="387477"/>
                  <a:pt x="379841" y="387447"/>
                  <a:pt x="369218" y="387708"/>
                </a:cubicBezTo>
                <a:cubicBezTo>
                  <a:pt x="361167" y="387906"/>
                  <a:pt x="354429" y="391368"/>
                  <a:pt x="351833" y="398991"/>
                </a:cubicBezTo>
                <a:cubicBezTo>
                  <a:pt x="348989" y="407342"/>
                  <a:pt x="347050" y="416214"/>
                  <a:pt x="349778" y="426021"/>
                </a:cubicBezTo>
                <a:cubicBezTo>
                  <a:pt x="353876" y="426204"/>
                  <a:pt x="357857" y="426517"/>
                  <a:pt x="361839" y="426538"/>
                </a:cubicBezTo>
                <a:cubicBezTo>
                  <a:pt x="392900" y="426701"/>
                  <a:pt x="423961" y="426826"/>
                  <a:pt x="455022" y="426922"/>
                </a:cubicBezTo>
                <a:cubicBezTo>
                  <a:pt x="464013" y="426950"/>
                  <a:pt x="473106" y="427654"/>
                  <a:pt x="481958" y="426527"/>
                </a:cubicBezTo>
                <a:cubicBezTo>
                  <a:pt x="488144" y="425740"/>
                  <a:pt x="494821" y="423501"/>
                  <a:pt x="499817" y="419888"/>
                </a:cubicBezTo>
                <a:cubicBezTo>
                  <a:pt x="507869" y="414066"/>
                  <a:pt x="507286" y="406755"/>
                  <a:pt x="499439" y="400719"/>
                </a:cubicBezTo>
                <a:cubicBezTo>
                  <a:pt x="490179" y="393597"/>
                  <a:pt x="479486" y="388885"/>
                  <a:pt x="468062" y="387775"/>
                </a:cubicBezTo>
                <a:cubicBezTo>
                  <a:pt x="451873" y="386202"/>
                  <a:pt x="435520" y="386321"/>
                  <a:pt x="416946" y="385943"/>
                </a:cubicBezTo>
                <a:moveTo>
                  <a:pt x="636802" y="1190940"/>
                </a:moveTo>
                <a:cubicBezTo>
                  <a:pt x="646709" y="1188723"/>
                  <a:pt x="656705" y="1186841"/>
                  <a:pt x="666492" y="1184186"/>
                </a:cubicBezTo>
                <a:cubicBezTo>
                  <a:pt x="674710" y="1181958"/>
                  <a:pt x="676989" y="1178509"/>
                  <a:pt x="674465" y="1170880"/>
                </a:cubicBezTo>
                <a:cubicBezTo>
                  <a:pt x="671144" y="1160843"/>
                  <a:pt x="667026" y="1151009"/>
                  <a:pt x="662462" y="1141464"/>
                </a:cubicBezTo>
                <a:cubicBezTo>
                  <a:pt x="659273" y="1134795"/>
                  <a:pt x="653671" y="1130908"/>
                  <a:pt x="645564" y="1131937"/>
                </a:cubicBezTo>
                <a:cubicBezTo>
                  <a:pt x="639532" y="1132703"/>
                  <a:pt x="633423" y="1132867"/>
                  <a:pt x="627387" y="1133618"/>
                </a:cubicBezTo>
                <a:cubicBezTo>
                  <a:pt x="612888" y="1135421"/>
                  <a:pt x="598449" y="1137770"/>
                  <a:pt x="583917" y="1139222"/>
                </a:cubicBezTo>
                <a:cubicBezTo>
                  <a:pt x="570571" y="1140557"/>
                  <a:pt x="557130" y="1140930"/>
                  <a:pt x="543741" y="1141869"/>
                </a:cubicBezTo>
                <a:cubicBezTo>
                  <a:pt x="533202" y="1142610"/>
                  <a:pt x="522682" y="1143623"/>
                  <a:pt x="512146" y="1144418"/>
                </a:cubicBezTo>
                <a:cubicBezTo>
                  <a:pt x="490671" y="1146038"/>
                  <a:pt x="469214" y="1148450"/>
                  <a:pt x="447711" y="1148973"/>
                </a:cubicBezTo>
                <a:cubicBezTo>
                  <a:pt x="415817" y="1149749"/>
                  <a:pt x="383891" y="1149136"/>
                  <a:pt x="351979" y="1149200"/>
                </a:cubicBezTo>
                <a:cubicBezTo>
                  <a:pt x="347698" y="1149209"/>
                  <a:pt x="343419" y="1149717"/>
                  <a:pt x="338443" y="1150040"/>
                </a:cubicBezTo>
                <a:cubicBezTo>
                  <a:pt x="338443" y="1164651"/>
                  <a:pt x="338413" y="1177715"/>
                  <a:pt x="338451" y="1190780"/>
                </a:cubicBezTo>
                <a:cubicBezTo>
                  <a:pt x="338490" y="1204031"/>
                  <a:pt x="338512" y="1204062"/>
                  <a:pt x="351082" y="1207015"/>
                </a:cubicBezTo>
                <a:cubicBezTo>
                  <a:pt x="353445" y="1207570"/>
                  <a:pt x="355895" y="1208128"/>
                  <a:pt x="358298" y="1208094"/>
                </a:cubicBezTo>
                <a:cubicBezTo>
                  <a:pt x="412608" y="1207329"/>
                  <a:pt x="466919" y="1206484"/>
                  <a:pt x="521229" y="1205646"/>
                </a:cubicBezTo>
                <a:cubicBezTo>
                  <a:pt x="522045" y="1205634"/>
                  <a:pt x="522865" y="1205591"/>
                  <a:pt x="523675" y="1205490"/>
                </a:cubicBezTo>
                <a:cubicBezTo>
                  <a:pt x="542593" y="1203123"/>
                  <a:pt x="561519" y="1200820"/>
                  <a:pt x="580423" y="1198350"/>
                </a:cubicBezTo>
                <a:cubicBezTo>
                  <a:pt x="598523" y="1195985"/>
                  <a:pt x="616599" y="1193446"/>
                  <a:pt x="636802" y="1190940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96" name="Free-form: Shape 395">
            <a:extLst>
              <a:ext uri="{FF2B5EF4-FFF2-40B4-BE49-F238E27FC236}">
                <a16:creationId xmlns:a16="http://schemas.microsoft.com/office/drawing/2014/main" id="{F8244535-69C7-69D3-CD28-D78356DD7046}"/>
              </a:ext>
            </a:extLst>
          </p:cNvPr>
          <p:cNvSpPr/>
          <p:nvPr/>
        </p:nvSpPr>
        <p:spPr>
          <a:xfrm>
            <a:off x="7418617" y="4735324"/>
            <a:ext cx="18902" cy="1998"/>
          </a:xfrm>
          <a:custGeom>
            <a:avLst/>
            <a:gdLst>
              <a:gd name="csX0" fmla="*/ 0 w 27674"/>
              <a:gd name="csY0" fmla="*/ 2915 h 2925"/>
              <a:gd name="csX1" fmla="*/ 27675 w 27674"/>
              <a:gd name="csY1" fmla="*/ 1550 h 2925"/>
              <a:gd name="csX2" fmla="*/ 0 w 27674"/>
              <a:gd name="csY2" fmla="*/ 2915 h 292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27674" h="2925">
                <a:moveTo>
                  <a:pt x="0" y="2915"/>
                </a:moveTo>
                <a:cubicBezTo>
                  <a:pt x="8211" y="-1939"/>
                  <a:pt x="17625" y="498"/>
                  <a:pt x="27675" y="1550"/>
                </a:cubicBezTo>
                <a:cubicBezTo>
                  <a:pt x="19225" y="2593"/>
                  <a:pt x="10029" y="2999"/>
                  <a:pt x="0" y="2915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97" name="Free-form: Shape 396">
            <a:extLst>
              <a:ext uri="{FF2B5EF4-FFF2-40B4-BE49-F238E27FC236}">
                <a16:creationId xmlns:a16="http://schemas.microsoft.com/office/drawing/2014/main" id="{593D90F7-1649-2FA9-2EF7-0A4B2C2B6330}"/>
              </a:ext>
            </a:extLst>
          </p:cNvPr>
          <p:cNvSpPr/>
          <p:nvPr/>
        </p:nvSpPr>
        <p:spPr>
          <a:xfrm>
            <a:off x="7366582" y="4736450"/>
            <a:ext cx="12297" cy="770"/>
          </a:xfrm>
          <a:custGeom>
            <a:avLst/>
            <a:gdLst>
              <a:gd name="csX0" fmla="*/ 0 w 18003"/>
              <a:gd name="csY0" fmla="*/ 1050 h 1128"/>
              <a:gd name="csX1" fmla="*/ 18004 w 18003"/>
              <a:gd name="csY1" fmla="*/ 93 h 1128"/>
              <a:gd name="csX2" fmla="*/ 0 w 18003"/>
              <a:gd name="csY2" fmla="*/ 1050 h 112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8003" h="1128">
                <a:moveTo>
                  <a:pt x="0" y="1050"/>
                </a:moveTo>
                <a:cubicBezTo>
                  <a:pt x="5276" y="182"/>
                  <a:pt x="11306" y="-189"/>
                  <a:pt x="18004" y="93"/>
                </a:cubicBezTo>
                <a:cubicBezTo>
                  <a:pt x="12699" y="1013"/>
                  <a:pt x="6726" y="1280"/>
                  <a:pt x="0" y="1050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98" name="Free-form: Shape 397">
            <a:extLst>
              <a:ext uri="{FF2B5EF4-FFF2-40B4-BE49-F238E27FC236}">
                <a16:creationId xmlns:a16="http://schemas.microsoft.com/office/drawing/2014/main" id="{A6E8EE94-B2D1-3CBE-3CD6-BFF1693B6405}"/>
              </a:ext>
            </a:extLst>
          </p:cNvPr>
          <p:cNvSpPr/>
          <p:nvPr/>
        </p:nvSpPr>
        <p:spPr>
          <a:xfrm>
            <a:off x="7455646" y="4112970"/>
            <a:ext cx="5783" cy="5354"/>
          </a:xfrm>
          <a:custGeom>
            <a:avLst/>
            <a:gdLst>
              <a:gd name="csX0" fmla="*/ 473 w 8466"/>
              <a:gd name="csY0" fmla="*/ 7839 h 7838"/>
              <a:gd name="csX1" fmla="*/ 8466 w 8466"/>
              <a:gd name="csY1" fmla="*/ 61 h 7838"/>
              <a:gd name="csX2" fmla="*/ 473 w 8466"/>
              <a:gd name="csY2" fmla="*/ 7839 h 783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66" h="7838">
                <a:moveTo>
                  <a:pt x="473" y="7839"/>
                </a:moveTo>
                <a:cubicBezTo>
                  <a:pt x="-1298" y="1550"/>
                  <a:pt x="2020" y="-386"/>
                  <a:pt x="8466" y="61"/>
                </a:cubicBezTo>
                <a:cubicBezTo>
                  <a:pt x="6730" y="2845"/>
                  <a:pt x="4026" y="5401"/>
                  <a:pt x="473" y="7839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99" name="Free-form: Shape 398">
            <a:extLst>
              <a:ext uri="{FF2B5EF4-FFF2-40B4-BE49-F238E27FC236}">
                <a16:creationId xmlns:a16="http://schemas.microsoft.com/office/drawing/2014/main" id="{A2659EE8-7B62-622F-72EC-B60850F1DA89}"/>
              </a:ext>
            </a:extLst>
          </p:cNvPr>
          <p:cNvSpPr/>
          <p:nvPr/>
        </p:nvSpPr>
        <p:spPr>
          <a:xfrm>
            <a:off x="7306050" y="4734784"/>
            <a:ext cx="5792" cy="680"/>
          </a:xfrm>
          <a:custGeom>
            <a:avLst/>
            <a:gdLst>
              <a:gd name="csX0" fmla="*/ 0 w 8480"/>
              <a:gd name="csY0" fmla="*/ 896 h 996"/>
              <a:gd name="csX1" fmla="*/ 8480 w 8480"/>
              <a:gd name="csY1" fmla="*/ 110 h 996"/>
              <a:gd name="csX2" fmla="*/ 0 w 8480"/>
              <a:gd name="csY2" fmla="*/ 896 h 99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80" h="996">
                <a:moveTo>
                  <a:pt x="0" y="896"/>
                </a:moveTo>
                <a:cubicBezTo>
                  <a:pt x="2285" y="115"/>
                  <a:pt x="5130" y="-182"/>
                  <a:pt x="8480" y="110"/>
                </a:cubicBezTo>
                <a:cubicBezTo>
                  <a:pt x="6177" y="927"/>
                  <a:pt x="3368" y="1153"/>
                  <a:pt x="0" y="896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0" name="Free-form: Shape 399">
            <a:extLst>
              <a:ext uri="{FF2B5EF4-FFF2-40B4-BE49-F238E27FC236}">
                <a16:creationId xmlns:a16="http://schemas.microsoft.com/office/drawing/2014/main" id="{BD0F5C70-711D-3637-DF9F-939436CCED26}"/>
              </a:ext>
            </a:extLst>
          </p:cNvPr>
          <p:cNvSpPr/>
          <p:nvPr/>
        </p:nvSpPr>
        <p:spPr>
          <a:xfrm>
            <a:off x="7621487" y="4705603"/>
            <a:ext cx="840" cy="4547"/>
          </a:xfrm>
          <a:custGeom>
            <a:avLst/>
            <a:gdLst>
              <a:gd name="csX0" fmla="*/ 132 w 1229"/>
              <a:gd name="csY0" fmla="*/ 6659 h 6658"/>
              <a:gd name="csX1" fmla="*/ 1107 w 1229"/>
              <a:gd name="csY1" fmla="*/ 0 h 6658"/>
              <a:gd name="csX2" fmla="*/ 132 w 1229"/>
              <a:gd name="csY2" fmla="*/ 6659 h 665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229" h="6658">
                <a:moveTo>
                  <a:pt x="132" y="6659"/>
                </a:moveTo>
                <a:cubicBezTo>
                  <a:pt x="-219" y="4616"/>
                  <a:pt x="139" y="2560"/>
                  <a:pt x="1107" y="0"/>
                </a:cubicBezTo>
                <a:cubicBezTo>
                  <a:pt x="1425" y="1879"/>
                  <a:pt x="1133" y="4263"/>
                  <a:pt x="132" y="6659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1" name="Free-form: Shape 400">
            <a:extLst>
              <a:ext uri="{FF2B5EF4-FFF2-40B4-BE49-F238E27FC236}">
                <a16:creationId xmlns:a16="http://schemas.microsoft.com/office/drawing/2014/main" id="{6F6FD80C-20F8-184F-591C-51B19FCDCEEC}"/>
              </a:ext>
            </a:extLst>
          </p:cNvPr>
          <p:cNvSpPr/>
          <p:nvPr/>
        </p:nvSpPr>
        <p:spPr>
          <a:xfrm>
            <a:off x="7547571" y="4727908"/>
            <a:ext cx="2588" cy="931"/>
          </a:xfrm>
          <a:custGeom>
            <a:avLst/>
            <a:gdLst>
              <a:gd name="csX0" fmla="*/ 0 w 3788"/>
              <a:gd name="csY0" fmla="*/ 1364 h 1364"/>
              <a:gd name="csX1" fmla="*/ 3788 w 3788"/>
              <a:gd name="csY1" fmla="*/ 0 h 1364"/>
              <a:gd name="csX2" fmla="*/ 0 w 3788"/>
              <a:gd name="csY2" fmla="*/ 1364 h 136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788" h="1364">
                <a:moveTo>
                  <a:pt x="0" y="1364"/>
                </a:moveTo>
                <a:cubicBezTo>
                  <a:pt x="856" y="517"/>
                  <a:pt x="2126" y="39"/>
                  <a:pt x="3788" y="0"/>
                </a:cubicBezTo>
                <a:cubicBezTo>
                  <a:pt x="2925" y="870"/>
                  <a:pt x="1670" y="1303"/>
                  <a:pt x="0" y="1364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2" name="Free-form: Shape 401">
            <a:extLst>
              <a:ext uri="{FF2B5EF4-FFF2-40B4-BE49-F238E27FC236}">
                <a16:creationId xmlns:a16="http://schemas.microsoft.com/office/drawing/2014/main" id="{5BD6D465-5C90-48B6-B0A2-2E286EBE1DFE}"/>
              </a:ext>
            </a:extLst>
          </p:cNvPr>
          <p:cNvSpPr/>
          <p:nvPr/>
        </p:nvSpPr>
        <p:spPr>
          <a:xfrm>
            <a:off x="7248831" y="4731508"/>
            <a:ext cx="2726" cy="566"/>
          </a:xfrm>
          <a:custGeom>
            <a:avLst/>
            <a:gdLst>
              <a:gd name="csX0" fmla="*/ 0 w 3990"/>
              <a:gd name="csY0" fmla="*/ 719 h 829"/>
              <a:gd name="csX1" fmla="*/ 3990 w 3990"/>
              <a:gd name="csY1" fmla="*/ 119 h 829"/>
              <a:gd name="csX2" fmla="*/ 0 w 3990"/>
              <a:gd name="csY2" fmla="*/ 719 h 82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990" h="829">
                <a:moveTo>
                  <a:pt x="0" y="719"/>
                </a:moveTo>
                <a:cubicBezTo>
                  <a:pt x="982" y="66"/>
                  <a:pt x="2323" y="-163"/>
                  <a:pt x="3990" y="119"/>
                </a:cubicBezTo>
                <a:cubicBezTo>
                  <a:pt x="2998" y="800"/>
                  <a:pt x="1678" y="972"/>
                  <a:pt x="0" y="719"/>
                </a:cubicBezTo>
                <a:close/>
              </a:path>
            </a:pathLst>
          </a:custGeom>
          <a:solidFill>
            <a:srgbClr val="959DA0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3" name="Free-form: Shape 402">
            <a:extLst>
              <a:ext uri="{FF2B5EF4-FFF2-40B4-BE49-F238E27FC236}">
                <a16:creationId xmlns:a16="http://schemas.microsoft.com/office/drawing/2014/main" id="{45421D18-7004-B5CF-1B8F-866CC4B3D12B}"/>
              </a:ext>
            </a:extLst>
          </p:cNvPr>
          <p:cNvSpPr/>
          <p:nvPr/>
        </p:nvSpPr>
        <p:spPr>
          <a:xfrm>
            <a:off x="7480433" y="4734761"/>
            <a:ext cx="2659" cy="775"/>
          </a:xfrm>
          <a:custGeom>
            <a:avLst/>
            <a:gdLst>
              <a:gd name="csX0" fmla="*/ 0 w 3893"/>
              <a:gd name="csY0" fmla="*/ 1133 h 1135"/>
              <a:gd name="csX1" fmla="*/ 3893 w 3893"/>
              <a:gd name="csY1" fmla="*/ 7 h 1135"/>
              <a:gd name="csX2" fmla="*/ 0 w 3893"/>
              <a:gd name="csY2" fmla="*/ 1133 h 113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893" h="1135">
                <a:moveTo>
                  <a:pt x="0" y="1133"/>
                </a:moveTo>
                <a:cubicBezTo>
                  <a:pt x="902" y="349"/>
                  <a:pt x="2213" y="-60"/>
                  <a:pt x="3893" y="7"/>
                </a:cubicBezTo>
                <a:cubicBezTo>
                  <a:pt x="2978" y="825"/>
                  <a:pt x="1693" y="1167"/>
                  <a:pt x="0" y="1133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4" name="Free-form: Shape 403">
            <a:extLst>
              <a:ext uri="{FF2B5EF4-FFF2-40B4-BE49-F238E27FC236}">
                <a16:creationId xmlns:a16="http://schemas.microsoft.com/office/drawing/2014/main" id="{EC62A17A-DDC5-A336-91F1-5C9FB35A3D57}"/>
              </a:ext>
            </a:extLst>
          </p:cNvPr>
          <p:cNvSpPr/>
          <p:nvPr/>
        </p:nvSpPr>
        <p:spPr>
          <a:xfrm>
            <a:off x="7370877" y="4201630"/>
            <a:ext cx="123846" cy="275447"/>
          </a:xfrm>
          <a:custGeom>
            <a:avLst/>
            <a:gdLst>
              <a:gd name="csX0" fmla="*/ 7554 w 181323"/>
              <a:gd name="csY0" fmla="*/ 172079 h 403282"/>
              <a:gd name="csX1" fmla="*/ 9716 w 181323"/>
              <a:gd name="csY1" fmla="*/ 130641 h 403282"/>
              <a:gd name="csX2" fmla="*/ 7663 w 181323"/>
              <a:gd name="csY2" fmla="*/ 113770 h 403282"/>
              <a:gd name="csX3" fmla="*/ 7598 w 181323"/>
              <a:gd name="csY3" fmla="*/ 8165 h 403282"/>
              <a:gd name="csX4" fmla="*/ 8353 w 181323"/>
              <a:gd name="csY4" fmla="*/ 1259 h 403282"/>
              <a:gd name="csX5" fmla="*/ 17767 w 181323"/>
              <a:gd name="csY5" fmla="*/ 93 h 403282"/>
              <a:gd name="csX6" fmla="*/ 77938 w 181323"/>
              <a:gd name="csY6" fmla="*/ 50 h 403282"/>
              <a:gd name="csX7" fmla="*/ 91081 w 181323"/>
              <a:gd name="csY7" fmla="*/ 10962 h 403282"/>
              <a:gd name="csX8" fmla="*/ 93691 w 181323"/>
              <a:gd name="csY8" fmla="*/ 60963 h 403282"/>
              <a:gd name="csX9" fmla="*/ 100157 w 181323"/>
              <a:gd name="csY9" fmla="*/ 121501 h 403282"/>
              <a:gd name="csX10" fmla="*/ 105540 w 181323"/>
              <a:gd name="csY10" fmla="*/ 158857 h 403282"/>
              <a:gd name="csX11" fmla="*/ 121116 w 181323"/>
              <a:gd name="csY11" fmla="*/ 235269 h 403282"/>
              <a:gd name="csX12" fmla="*/ 152823 w 181323"/>
              <a:gd name="csY12" fmla="*/ 338010 h 403282"/>
              <a:gd name="csX13" fmla="*/ 170877 w 181323"/>
              <a:gd name="csY13" fmla="*/ 378027 h 403282"/>
              <a:gd name="csX14" fmla="*/ 178114 w 181323"/>
              <a:gd name="csY14" fmla="*/ 387682 h 403282"/>
              <a:gd name="csX15" fmla="*/ 181150 w 181323"/>
              <a:gd name="csY15" fmla="*/ 395764 h 403282"/>
              <a:gd name="csX16" fmla="*/ 173480 w 181323"/>
              <a:gd name="csY16" fmla="*/ 402568 h 403282"/>
              <a:gd name="csX17" fmla="*/ 160067 w 181323"/>
              <a:gd name="csY17" fmla="*/ 402936 h 403282"/>
              <a:gd name="csX18" fmla="*/ 121081 w 181323"/>
              <a:gd name="csY18" fmla="*/ 400766 h 403282"/>
              <a:gd name="csX19" fmla="*/ 70912 w 181323"/>
              <a:gd name="csY19" fmla="*/ 401955 h 403282"/>
              <a:gd name="csX20" fmla="*/ 7630 w 181323"/>
              <a:gd name="csY20" fmla="*/ 402999 h 403282"/>
              <a:gd name="csX21" fmla="*/ 710 w 181323"/>
              <a:gd name="csY21" fmla="*/ 401995 h 403282"/>
              <a:gd name="csX22" fmla="*/ 1308 w 181323"/>
              <a:gd name="csY22" fmla="*/ 356708 h 403282"/>
              <a:gd name="csX23" fmla="*/ 2554 w 181323"/>
              <a:gd name="csY23" fmla="*/ 349510 h 403282"/>
              <a:gd name="csX24" fmla="*/ 5071 w 181323"/>
              <a:gd name="csY24" fmla="*/ 271231 h 403282"/>
              <a:gd name="csX25" fmla="*/ 7554 w 181323"/>
              <a:gd name="csY25" fmla="*/ 172079 h 403282"/>
              <a:gd name="csX26" fmla="*/ 98286 w 181323"/>
              <a:gd name="csY26" fmla="*/ 163566 h 403282"/>
              <a:gd name="csX27" fmla="*/ 83497 w 181323"/>
              <a:gd name="csY27" fmla="*/ 8289 h 403282"/>
              <a:gd name="csX28" fmla="*/ 15161 w 181323"/>
              <a:gd name="csY28" fmla="*/ 9148 h 403282"/>
              <a:gd name="csX29" fmla="*/ 15058 w 181323"/>
              <a:gd name="csY29" fmla="*/ 137939 h 403282"/>
              <a:gd name="csX30" fmla="*/ 12252 w 181323"/>
              <a:gd name="csY30" fmla="*/ 266862 h 403282"/>
              <a:gd name="csX31" fmla="*/ 7068 w 181323"/>
              <a:gd name="csY31" fmla="*/ 395996 h 403282"/>
              <a:gd name="csX32" fmla="*/ 171647 w 181323"/>
              <a:gd name="csY32" fmla="*/ 395996 h 403282"/>
              <a:gd name="csX33" fmla="*/ 119950 w 181323"/>
              <a:gd name="csY33" fmla="*/ 259496 h 403282"/>
              <a:gd name="csX34" fmla="*/ 98286 w 181323"/>
              <a:gd name="csY34" fmla="*/ 163566 h 40328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</a:cxnLst>
            <a:rect l="l" t="t" r="r" b="b"/>
            <a:pathLst>
              <a:path w="181323" h="403282">
                <a:moveTo>
                  <a:pt x="7554" y="172079"/>
                </a:moveTo>
                <a:cubicBezTo>
                  <a:pt x="8325" y="157451"/>
                  <a:pt x="9408" y="144055"/>
                  <a:pt x="9716" y="130641"/>
                </a:cubicBezTo>
                <a:cubicBezTo>
                  <a:pt x="9846" y="125037"/>
                  <a:pt x="7695" y="119399"/>
                  <a:pt x="7663" y="113770"/>
                </a:cubicBezTo>
                <a:cubicBezTo>
                  <a:pt x="7461" y="78569"/>
                  <a:pt x="7554" y="43367"/>
                  <a:pt x="7598" y="8165"/>
                </a:cubicBezTo>
                <a:cubicBezTo>
                  <a:pt x="7600" y="6167"/>
                  <a:pt x="8022" y="4170"/>
                  <a:pt x="8353" y="1259"/>
                </a:cubicBezTo>
                <a:cubicBezTo>
                  <a:pt x="11568" y="842"/>
                  <a:pt x="14666" y="109"/>
                  <a:pt x="17767" y="93"/>
                </a:cubicBezTo>
                <a:cubicBezTo>
                  <a:pt x="37824" y="-17"/>
                  <a:pt x="57881" y="-27"/>
                  <a:pt x="77938" y="50"/>
                </a:cubicBezTo>
                <a:cubicBezTo>
                  <a:pt x="89177" y="93"/>
                  <a:pt x="90068" y="113"/>
                  <a:pt x="91081" y="10962"/>
                </a:cubicBezTo>
                <a:cubicBezTo>
                  <a:pt x="92631" y="27565"/>
                  <a:pt x="92329" y="44335"/>
                  <a:pt x="93691" y="60963"/>
                </a:cubicBezTo>
                <a:cubicBezTo>
                  <a:pt x="95348" y="81184"/>
                  <a:pt x="97732" y="101353"/>
                  <a:pt x="100157" y="121501"/>
                </a:cubicBezTo>
                <a:cubicBezTo>
                  <a:pt x="101660" y="133990"/>
                  <a:pt x="104521" y="146343"/>
                  <a:pt x="105540" y="158857"/>
                </a:cubicBezTo>
                <a:cubicBezTo>
                  <a:pt x="107671" y="184993"/>
                  <a:pt x="114147" y="210249"/>
                  <a:pt x="121116" y="235269"/>
                </a:cubicBezTo>
                <a:cubicBezTo>
                  <a:pt x="130731" y="269786"/>
                  <a:pt x="141516" y="304004"/>
                  <a:pt x="152823" y="338010"/>
                </a:cubicBezTo>
                <a:cubicBezTo>
                  <a:pt x="157418" y="351828"/>
                  <a:pt x="164524" y="364837"/>
                  <a:pt x="170877" y="378027"/>
                </a:cubicBezTo>
                <a:cubicBezTo>
                  <a:pt x="172587" y="381579"/>
                  <a:pt x="175985" y="384280"/>
                  <a:pt x="178114" y="387682"/>
                </a:cubicBezTo>
                <a:cubicBezTo>
                  <a:pt x="179669" y="390165"/>
                  <a:pt x="181977" y="393824"/>
                  <a:pt x="181150" y="395764"/>
                </a:cubicBezTo>
                <a:cubicBezTo>
                  <a:pt x="179907" y="398676"/>
                  <a:pt x="176540" y="401705"/>
                  <a:pt x="173480" y="402568"/>
                </a:cubicBezTo>
                <a:cubicBezTo>
                  <a:pt x="169302" y="403746"/>
                  <a:pt x="164551" y="403164"/>
                  <a:pt x="160067" y="402936"/>
                </a:cubicBezTo>
                <a:cubicBezTo>
                  <a:pt x="147066" y="402274"/>
                  <a:pt x="134081" y="400859"/>
                  <a:pt x="121081" y="400766"/>
                </a:cubicBezTo>
                <a:cubicBezTo>
                  <a:pt x="104362" y="400647"/>
                  <a:pt x="87638" y="401607"/>
                  <a:pt x="70912" y="401955"/>
                </a:cubicBezTo>
                <a:cubicBezTo>
                  <a:pt x="49820" y="402394"/>
                  <a:pt x="28725" y="402712"/>
                  <a:pt x="7630" y="402999"/>
                </a:cubicBezTo>
                <a:cubicBezTo>
                  <a:pt x="5684" y="403026"/>
                  <a:pt x="3731" y="402452"/>
                  <a:pt x="710" y="401995"/>
                </a:cubicBezTo>
                <a:cubicBezTo>
                  <a:pt x="219" y="386620"/>
                  <a:pt x="-871" y="371682"/>
                  <a:pt x="1308" y="356708"/>
                </a:cubicBezTo>
                <a:cubicBezTo>
                  <a:pt x="1659" y="354298"/>
                  <a:pt x="2471" y="351920"/>
                  <a:pt x="2554" y="349510"/>
                </a:cubicBezTo>
                <a:cubicBezTo>
                  <a:pt x="3459" y="323419"/>
                  <a:pt x="4345" y="297328"/>
                  <a:pt x="5071" y="271231"/>
                </a:cubicBezTo>
                <a:cubicBezTo>
                  <a:pt x="5979" y="238591"/>
                  <a:pt x="6733" y="205947"/>
                  <a:pt x="7554" y="172079"/>
                </a:cubicBezTo>
                <a:moveTo>
                  <a:pt x="98286" y="163566"/>
                </a:moveTo>
                <a:cubicBezTo>
                  <a:pt x="89288" y="112116"/>
                  <a:pt x="86355" y="60033"/>
                  <a:pt x="83497" y="8289"/>
                </a:cubicBezTo>
                <a:cubicBezTo>
                  <a:pt x="65606" y="5845"/>
                  <a:pt x="24110" y="6470"/>
                  <a:pt x="15161" y="9148"/>
                </a:cubicBezTo>
                <a:cubicBezTo>
                  <a:pt x="15161" y="52045"/>
                  <a:pt x="15527" y="94996"/>
                  <a:pt x="15058" y="137939"/>
                </a:cubicBezTo>
                <a:cubicBezTo>
                  <a:pt x="14587" y="180919"/>
                  <a:pt x="13597" y="223900"/>
                  <a:pt x="12252" y="266862"/>
                </a:cubicBezTo>
                <a:cubicBezTo>
                  <a:pt x="10912" y="309638"/>
                  <a:pt x="8849" y="352391"/>
                  <a:pt x="7068" y="395996"/>
                </a:cubicBezTo>
                <a:cubicBezTo>
                  <a:pt x="62774" y="395996"/>
                  <a:pt x="116821" y="395996"/>
                  <a:pt x="171647" y="395996"/>
                </a:cubicBezTo>
                <a:cubicBezTo>
                  <a:pt x="148550" y="352016"/>
                  <a:pt x="132566" y="306307"/>
                  <a:pt x="119950" y="259496"/>
                </a:cubicBezTo>
                <a:cubicBezTo>
                  <a:pt x="111608" y="228543"/>
                  <a:pt x="105493" y="196989"/>
                  <a:pt x="98286" y="163566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5" name="Free-form: Shape 404">
            <a:extLst>
              <a:ext uri="{FF2B5EF4-FFF2-40B4-BE49-F238E27FC236}">
                <a16:creationId xmlns:a16="http://schemas.microsoft.com/office/drawing/2014/main" id="{A30EE9EC-42DE-88BC-88E4-B14AA7D49537}"/>
              </a:ext>
            </a:extLst>
          </p:cNvPr>
          <p:cNvSpPr/>
          <p:nvPr/>
        </p:nvSpPr>
        <p:spPr>
          <a:xfrm>
            <a:off x="7372671" y="4659759"/>
            <a:ext cx="230181" cy="52128"/>
          </a:xfrm>
          <a:custGeom>
            <a:avLst/>
            <a:gdLst>
              <a:gd name="csX0" fmla="*/ 297312 w 337008"/>
              <a:gd name="csY0" fmla="*/ 59188 h 76321"/>
              <a:gd name="csX1" fmla="*/ 241991 w 337008"/>
              <a:gd name="csY1" fmla="*/ 66577 h 76321"/>
              <a:gd name="csX2" fmla="*/ 185243 w 337008"/>
              <a:gd name="csY2" fmla="*/ 73717 h 76321"/>
              <a:gd name="csX3" fmla="*/ 182797 w 337008"/>
              <a:gd name="csY3" fmla="*/ 73873 h 76321"/>
              <a:gd name="csX4" fmla="*/ 19866 w 337008"/>
              <a:gd name="csY4" fmla="*/ 76320 h 76321"/>
              <a:gd name="csX5" fmla="*/ 12650 w 337008"/>
              <a:gd name="csY5" fmla="*/ 75242 h 76321"/>
              <a:gd name="csX6" fmla="*/ 19 w 337008"/>
              <a:gd name="csY6" fmla="*/ 59006 h 76321"/>
              <a:gd name="csX7" fmla="*/ 11 w 337008"/>
              <a:gd name="csY7" fmla="*/ 18266 h 76321"/>
              <a:gd name="csX8" fmla="*/ 13547 w 337008"/>
              <a:gd name="csY8" fmla="*/ 17427 h 76321"/>
              <a:gd name="csX9" fmla="*/ 109279 w 337008"/>
              <a:gd name="csY9" fmla="*/ 17200 h 76321"/>
              <a:gd name="csX10" fmla="*/ 173714 w 337008"/>
              <a:gd name="csY10" fmla="*/ 12645 h 76321"/>
              <a:gd name="csX11" fmla="*/ 205309 w 337008"/>
              <a:gd name="csY11" fmla="*/ 10096 h 76321"/>
              <a:gd name="csX12" fmla="*/ 245485 w 337008"/>
              <a:gd name="csY12" fmla="*/ 7449 h 76321"/>
              <a:gd name="csX13" fmla="*/ 288955 w 337008"/>
              <a:gd name="csY13" fmla="*/ 1844 h 76321"/>
              <a:gd name="csX14" fmla="*/ 307132 w 337008"/>
              <a:gd name="csY14" fmla="*/ 164 h 76321"/>
              <a:gd name="csX15" fmla="*/ 324030 w 337008"/>
              <a:gd name="csY15" fmla="*/ 9691 h 76321"/>
              <a:gd name="csX16" fmla="*/ 336033 w 337008"/>
              <a:gd name="csY16" fmla="*/ 39107 h 76321"/>
              <a:gd name="csX17" fmla="*/ 328060 w 337008"/>
              <a:gd name="csY17" fmla="*/ 52413 h 76321"/>
              <a:gd name="csX18" fmla="*/ 297312 w 337008"/>
              <a:gd name="csY18" fmla="*/ 59188 h 76321"/>
              <a:gd name="csX19" fmla="*/ 207688 w 337008"/>
              <a:gd name="csY19" fmla="*/ 64284 h 76321"/>
              <a:gd name="csX20" fmla="*/ 330050 w 337008"/>
              <a:gd name="csY20" fmla="*/ 45606 h 76321"/>
              <a:gd name="csX21" fmla="*/ 317356 w 337008"/>
              <a:gd name="csY21" fmla="*/ 11297 h 76321"/>
              <a:gd name="csX22" fmla="*/ 304170 w 337008"/>
              <a:gd name="csY22" fmla="*/ 5545 h 76321"/>
              <a:gd name="csX23" fmla="*/ 273851 w 337008"/>
              <a:gd name="csY23" fmla="*/ 10014 h 76321"/>
              <a:gd name="csX24" fmla="*/ 163935 w 337008"/>
              <a:gd name="csY24" fmla="*/ 20274 h 76321"/>
              <a:gd name="csX25" fmla="*/ 17973 w 337008"/>
              <a:gd name="csY25" fmla="*/ 22950 h 76321"/>
              <a:gd name="csX26" fmla="*/ 7372 w 337008"/>
              <a:gd name="csY26" fmla="*/ 23601 h 76321"/>
              <a:gd name="csX27" fmla="*/ 7372 w 337008"/>
              <a:gd name="csY27" fmla="*/ 67898 h 76321"/>
              <a:gd name="csX28" fmla="*/ 207688 w 337008"/>
              <a:gd name="csY28" fmla="*/ 64284 h 7632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</a:cxnLst>
            <a:rect l="l" t="t" r="r" b="b"/>
            <a:pathLst>
              <a:path w="337008" h="76321">
                <a:moveTo>
                  <a:pt x="297312" y="59188"/>
                </a:moveTo>
                <a:cubicBezTo>
                  <a:pt x="278167" y="61672"/>
                  <a:pt x="260091" y="64212"/>
                  <a:pt x="241991" y="66577"/>
                </a:cubicBezTo>
                <a:cubicBezTo>
                  <a:pt x="223087" y="69047"/>
                  <a:pt x="204161" y="71350"/>
                  <a:pt x="185243" y="73717"/>
                </a:cubicBezTo>
                <a:cubicBezTo>
                  <a:pt x="184433" y="73818"/>
                  <a:pt x="183613" y="73861"/>
                  <a:pt x="182797" y="73873"/>
                </a:cubicBezTo>
                <a:cubicBezTo>
                  <a:pt x="128487" y="74710"/>
                  <a:pt x="74176" y="75556"/>
                  <a:pt x="19866" y="76320"/>
                </a:cubicBezTo>
                <a:cubicBezTo>
                  <a:pt x="17463" y="76354"/>
                  <a:pt x="15013" y="75797"/>
                  <a:pt x="12650" y="75242"/>
                </a:cubicBezTo>
                <a:cubicBezTo>
                  <a:pt x="80" y="72288"/>
                  <a:pt x="58" y="72258"/>
                  <a:pt x="19" y="59006"/>
                </a:cubicBezTo>
                <a:cubicBezTo>
                  <a:pt x="-19" y="45942"/>
                  <a:pt x="11" y="32877"/>
                  <a:pt x="11" y="18266"/>
                </a:cubicBezTo>
                <a:cubicBezTo>
                  <a:pt x="4987" y="17944"/>
                  <a:pt x="9266" y="17435"/>
                  <a:pt x="13547" y="17427"/>
                </a:cubicBezTo>
                <a:cubicBezTo>
                  <a:pt x="45459" y="17362"/>
                  <a:pt x="77385" y="17975"/>
                  <a:pt x="109279" y="17200"/>
                </a:cubicBezTo>
                <a:cubicBezTo>
                  <a:pt x="130782" y="16677"/>
                  <a:pt x="152239" y="14265"/>
                  <a:pt x="173714" y="12645"/>
                </a:cubicBezTo>
                <a:cubicBezTo>
                  <a:pt x="184250" y="11850"/>
                  <a:pt x="194770" y="10836"/>
                  <a:pt x="205309" y="10096"/>
                </a:cubicBezTo>
                <a:cubicBezTo>
                  <a:pt x="218698" y="9156"/>
                  <a:pt x="232139" y="8783"/>
                  <a:pt x="245485" y="7449"/>
                </a:cubicBezTo>
                <a:cubicBezTo>
                  <a:pt x="260017" y="5997"/>
                  <a:pt x="274456" y="3648"/>
                  <a:pt x="288955" y="1844"/>
                </a:cubicBezTo>
                <a:cubicBezTo>
                  <a:pt x="294991" y="1094"/>
                  <a:pt x="301100" y="930"/>
                  <a:pt x="307132" y="164"/>
                </a:cubicBezTo>
                <a:cubicBezTo>
                  <a:pt x="315239" y="-865"/>
                  <a:pt x="320841" y="3022"/>
                  <a:pt x="324030" y="9691"/>
                </a:cubicBezTo>
                <a:cubicBezTo>
                  <a:pt x="328594" y="19236"/>
                  <a:pt x="332712" y="29070"/>
                  <a:pt x="336033" y="39107"/>
                </a:cubicBezTo>
                <a:cubicBezTo>
                  <a:pt x="338557" y="46735"/>
                  <a:pt x="336278" y="50185"/>
                  <a:pt x="328060" y="52413"/>
                </a:cubicBezTo>
                <a:cubicBezTo>
                  <a:pt x="318273" y="55068"/>
                  <a:pt x="308277" y="56950"/>
                  <a:pt x="297312" y="59188"/>
                </a:cubicBezTo>
                <a:moveTo>
                  <a:pt x="207688" y="64284"/>
                </a:moveTo>
                <a:cubicBezTo>
                  <a:pt x="248681" y="60632"/>
                  <a:pt x="289317" y="54812"/>
                  <a:pt x="330050" y="45606"/>
                </a:cubicBezTo>
                <a:cubicBezTo>
                  <a:pt x="327603" y="32443"/>
                  <a:pt x="323777" y="21532"/>
                  <a:pt x="317356" y="11297"/>
                </a:cubicBezTo>
                <a:cubicBezTo>
                  <a:pt x="313908" y="5803"/>
                  <a:pt x="310145" y="4465"/>
                  <a:pt x="304170" y="5545"/>
                </a:cubicBezTo>
                <a:cubicBezTo>
                  <a:pt x="294121" y="7361"/>
                  <a:pt x="284007" y="9006"/>
                  <a:pt x="273851" y="10014"/>
                </a:cubicBezTo>
                <a:cubicBezTo>
                  <a:pt x="237233" y="13650"/>
                  <a:pt x="200632" y="17661"/>
                  <a:pt x="163935" y="20274"/>
                </a:cubicBezTo>
                <a:cubicBezTo>
                  <a:pt x="115360" y="23734"/>
                  <a:pt x="66701" y="25937"/>
                  <a:pt x="17973" y="22950"/>
                </a:cubicBezTo>
                <a:cubicBezTo>
                  <a:pt x="14492" y="22737"/>
                  <a:pt x="10959" y="23361"/>
                  <a:pt x="7372" y="23601"/>
                </a:cubicBezTo>
                <a:cubicBezTo>
                  <a:pt x="7372" y="38609"/>
                  <a:pt x="7372" y="52361"/>
                  <a:pt x="7372" y="67898"/>
                </a:cubicBezTo>
                <a:cubicBezTo>
                  <a:pt x="74001" y="69806"/>
                  <a:pt x="139746" y="71025"/>
                  <a:pt x="207688" y="64284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6" name="Free-form: Shape 405">
            <a:extLst>
              <a:ext uri="{FF2B5EF4-FFF2-40B4-BE49-F238E27FC236}">
                <a16:creationId xmlns:a16="http://schemas.microsoft.com/office/drawing/2014/main" id="{FCAF4A2C-94F3-CBAB-BC9E-CB2CAE106E92}"/>
              </a:ext>
            </a:extLst>
          </p:cNvPr>
          <p:cNvSpPr/>
          <p:nvPr/>
        </p:nvSpPr>
        <p:spPr>
          <a:xfrm>
            <a:off x="7376777" y="4498659"/>
            <a:ext cx="207269" cy="145956"/>
          </a:xfrm>
          <a:custGeom>
            <a:avLst/>
            <a:gdLst>
              <a:gd name="csX0" fmla="*/ 14160 w 303463"/>
              <a:gd name="csY0" fmla="*/ 7889 h 213695"/>
              <a:gd name="csX1" fmla="*/ 195033 w 303463"/>
              <a:gd name="csY1" fmla="*/ 0 h 213695"/>
              <a:gd name="csX2" fmla="*/ 197208 w 303463"/>
              <a:gd name="csY2" fmla="*/ 5635 h 213695"/>
              <a:gd name="csX3" fmla="*/ 227014 w 303463"/>
              <a:gd name="csY3" fmla="*/ 60660 h 213695"/>
              <a:gd name="csX4" fmla="*/ 265823 w 303463"/>
              <a:gd name="csY4" fmla="*/ 98217 h 213695"/>
              <a:gd name="csX5" fmla="*/ 303210 w 303463"/>
              <a:gd name="csY5" fmla="*/ 180358 h 213695"/>
              <a:gd name="csX6" fmla="*/ 303282 w 303463"/>
              <a:gd name="csY6" fmla="*/ 193964 h 213695"/>
              <a:gd name="csX7" fmla="*/ 4971 w 303463"/>
              <a:gd name="csY7" fmla="*/ 213017 h 213695"/>
              <a:gd name="csX8" fmla="*/ 5093 w 303463"/>
              <a:gd name="csY8" fmla="*/ 173484 h 213695"/>
              <a:gd name="csX9" fmla="*/ 4767 w 303463"/>
              <a:gd name="csY9" fmla="*/ 54607 h 213695"/>
              <a:gd name="csX10" fmla="*/ 0 w 303463"/>
              <a:gd name="csY10" fmla="*/ 7887 h 213695"/>
              <a:gd name="csX11" fmla="*/ 14160 w 303463"/>
              <a:gd name="csY11" fmla="*/ 7889 h 21369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303463" h="213695">
                <a:moveTo>
                  <a:pt x="14160" y="7889"/>
                </a:moveTo>
                <a:cubicBezTo>
                  <a:pt x="75371" y="8627"/>
                  <a:pt x="135292" y="5744"/>
                  <a:pt x="195033" y="0"/>
                </a:cubicBezTo>
                <a:cubicBezTo>
                  <a:pt x="196084" y="2662"/>
                  <a:pt x="196986" y="4099"/>
                  <a:pt x="197208" y="5635"/>
                </a:cubicBezTo>
                <a:cubicBezTo>
                  <a:pt x="200391" y="27650"/>
                  <a:pt x="211307" y="45450"/>
                  <a:pt x="227014" y="60660"/>
                </a:cubicBezTo>
                <a:cubicBezTo>
                  <a:pt x="239947" y="73182"/>
                  <a:pt x="253006" y="85577"/>
                  <a:pt x="265823" y="98217"/>
                </a:cubicBezTo>
                <a:cubicBezTo>
                  <a:pt x="288727" y="120806"/>
                  <a:pt x="299071" y="149215"/>
                  <a:pt x="303210" y="180358"/>
                </a:cubicBezTo>
                <a:cubicBezTo>
                  <a:pt x="303735" y="184317"/>
                  <a:pt x="303282" y="188405"/>
                  <a:pt x="303282" y="193964"/>
                </a:cubicBezTo>
                <a:cubicBezTo>
                  <a:pt x="204065" y="208804"/>
                  <a:pt x="105022" y="216044"/>
                  <a:pt x="4971" y="213017"/>
                </a:cubicBezTo>
                <a:cubicBezTo>
                  <a:pt x="4971" y="199268"/>
                  <a:pt x="4314" y="186332"/>
                  <a:pt x="5093" y="173484"/>
                </a:cubicBezTo>
                <a:cubicBezTo>
                  <a:pt x="7497" y="133835"/>
                  <a:pt x="8211" y="94216"/>
                  <a:pt x="4767" y="54607"/>
                </a:cubicBezTo>
                <a:cubicBezTo>
                  <a:pt x="3464" y="39611"/>
                  <a:pt x="1725" y="24653"/>
                  <a:pt x="0" y="7887"/>
                </a:cubicBezTo>
                <a:cubicBezTo>
                  <a:pt x="4390" y="7887"/>
                  <a:pt x="8696" y="7887"/>
                  <a:pt x="14160" y="7889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7" name="Free-form: Shape 406">
            <a:extLst>
              <a:ext uri="{FF2B5EF4-FFF2-40B4-BE49-F238E27FC236}">
                <a16:creationId xmlns:a16="http://schemas.microsoft.com/office/drawing/2014/main" id="{641AE934-2073-E855-5C44-081666810493}"/>
              </a:ext>
            </a:extLst>
          </p:cNvPr>
          <p:cNvSpPr/>
          <p:nvPr/>
        </p:nvSpPr>
        <p:spPr>
          <a:xfrm>
            <a:off x="7339639" y="3915927"/>
            <a:ext cx="142796" cy="138929"/>
          </a:xfrm>
          <a:custGeom>
            <a:avLst/>
            <a:gdLst>
              <a:gd name="csX0" fmla="*/ 10475 w 209067"/>
              <a:gd name="csY0" fmla="*/ 41718 h 203406"/>
              <a:gd name="csX1" fmla="*/ 100250 w 209067"/>
              <a:gd name="csY1" fmla="*/ 1265 h 203406"/>
              <a:gd name="csX2" fmla="*/ 206681 w 209067"/>
              <a:gd name="csY2" fmla="*/ 98526 h 203406"/>
              <a:gd name="csX3" fmla="*/ 134647 w 209067"/>
              <a:gd name="csY3" fmla="*/ 202431 h 203406"/>
              <a:gd name="csX4" fmla="*/ 40986 w 209067"/>
              <a:gd name="csY4" fmla="*/ 171438 h 203406"/>
              <a:gd name="csX5" fmla="*/ 143 w 209067"/>
              <a:gd name="csY5" fmla="*/ 85158 h 203406"/>
              <a:gd name="csX6" fmla="*/ 10475 w 209067"/>
              <a:gd name="csY6" fmla="*/ 41718 h 20340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</a:cxnLst>
            <a:rect l="l" t="t" r="r" b="b"/>
            <a:pathLst>
              <a:path w="209067" h="203406">
                <a:moveTo>
                  <a:pt x="10475" y="41718"/>
                </a:moveTo>
                <a:cubicBezTo>
                  <a:pt x="31065" y="6021"/>
                  <a:pt x="63171" y="-3865"/>
                  <a:pt x="100250" y="1265"/>
                </a:cubicBezTo>
                <a:cubicBezTo>
                  <a:pt x="157191" y="9144"/>
                  <a:pt x="196951" y="51394"/>
                  <a:pt x="206681" y="98526"/>
                </a:cubicBezTo>
                <a:cubicBezTo>
                  <a:pt x="219504" y="160635"/>
                  <a:pt x="178523" y="196657"/>
                  <a:pt x="134647" y="202431"/>
                </a:cubicBezTo>
                <a:cubicBezTo>
                  <a:pt x="98365" y="207204"/>
                  <a:pt x="68101" y="194086"/>
                  <a:pt x="40986" y="171438"/>
                </a:cubicBezTo>
                <a:cubicBezTo>
                  <a:pt x="14115" y="148994"/>
                  <a:pt x="2457" y="119007"/>
                  <a:pt x="143" y="85158"/>
                </a:cubicBezTo>
                <a:cubicBezTo>
                  <a:pt x="-869" y="70364"/>
                  <a:pt x="3586" y="56015"/>
                  <a:pt x="10475" y="41718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8" name="Free-form: Shape 407">
            <a:extLst>
              <a:ext uri="{FF2B5EF4-FFF2-40B4-BE49-F238E27FC236}">
                <a16:creationId xmlns:a16="http://schemas.microsoft.com/office/drawing/2014/main" id="{96B874BC-6172-18BA-C29A-08DE41AEBCD2}"/>
              </a:ext>
            </a:extLst>
          </p:cNvPr>
          <p:cNvSpPr/>
          <p:nvPr/>
        </p:nvSpPr>
        <p:spPr>
          <a:xfrm>
            <a:off x="7379524" y="4150269"/>
            <a:ext cx="107321" cy="28231"/>
          </a:xfrm>
          <a:custGeom>
            <a:avLst/>
            <a:gdLst>
              <a:gd name="csX0" fmla="*/ 69625 w 157129"/>
              <a:gd name="csY0" fmla="*/ 0 h 41334"/>
              <a:gd name="csX1" fmla="*/ 119596 w 157129"/>
              <a:gd name="csY1" fmla="*/ 1945 h 41334"/>
              <a:gd name="csX2" fmla="*/ 150973 w 157129"/>
              <a:gd name="csY2" fmla="*/ 14889 h 41334"/>
              <a:gd name="csX3" fmla="*/ 151351 w 157129"/>
              <a:gd name="csY3" fmla="*/ 34058 h 41334"/>
              <a:gd name="csX4" fmla="*/ 133492 w 157129"/>
              <a:gd name="csY4" fmla="*/ 40697 h 41334"/>
              <a:gd name="csX5" fmla="*/ 106556 w 157129"/>
              <a:gd name="csY5" fmla="*/ 41092 h 41334"/>
              <a:gd name="csX6" fmla="*/ 13373 w 157129"/>
              <a:gd name="csY6" fmla="*/ 40708 h 41334"/>
              <a:gd name="csX7" fmla="*/ 1312 w 157129"/>
              <a:gd name="csY7" fmla="*/ 40191 h 41334"/>
              <a:gd name="csX8" fmla="*/ 3367 w 157129"/>
              <a:gd name="csY8" fmla="*/ 13162 h 41334"/>
              <a:gd name="csX9" fmla="*/ 20752 w 157129"/>
              <a:gd name="csY9" fmla="*/ 1879 h 41334"/>
              <a:gd name="csX10" fmla="*/ 52625 w 157129"/>
              <a:gd name="csY10" fmla="*/ 1332 h 41334"/>
              <a:gd name="csX11" fmla="*/ 69625 w 157129"/>
              <a:gd name="csY11" fmla="*/ 0 h 4133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157129" h="41334">
                <a:moveTo>
                  <a:pt x="69625" y="0"/>
                </a:moveTo>
                <a:cubicBezTo>
                  <a:pt x="87054" y="491"/>
                  <a:pt x="103407" y="373"/>
                  <a:pt x="119596" y="1945"/>
                </a:cubicBezTo>
                <a:cubicBezTo>
                  <a:pt x="131020" y="3055"/>
                  <a:pt x="141713" y="7767"/>
                  <a:pt x="150973" y="14889"/>
                </a:cubicBezTo>
                <a:cubicBezTo>
                  <a:pt x="158820" y="20925"/>
                  <a:pt x="159403" y="28236"/>
                  <a:pt x="151351" y="34058"/>
                </a:cubicBezTo>
                <a:cubicBezTo>
                  <a:pt x="146355" y="37671"/>
                  <a:pt x="139678" y="39910"/>
                  <a:pt x="133492" y="40697"/>
                </a:cubicBezTo>
                <a:cubicBezTo>
                  <a:pt x="124640" y="41824"/>
                  <a:pt x="115547" y="41120"/>
                  <a:pt x="106556" y="41092"/>
                </a:cubicBezTo>
                <a:cubicBezTo>
                  <a:pt x="75495" y="40996"/>
                  <a:pt x="44434" y="40872"/>
                  <a:pt x="13373" y="40708"/>
                </a:cubicBezTo>
                <a:cubicBezTo>
                  <a:pt x="9391" y="40687"/>
                  <a:pt x="5410" y="40374"/>
                  <a:pt x="1312" y="40191"/>
                </a:cubicBezTo>
                <a:cubicBezTo>
                  <a:pt x="-1416" y="30384"/>
                  <a:pt x="523" y="21512"/>
                  <a:pt x="3367" y="13162"/>
                </a:cubicBezTo>
                <a:cubicBezTo>
                  <a:pt x="5963" y="5538"/>
                  <a:pt x="12701" y="2077"/>
                  <a:pt x="20752" y="1879"/>
                </a:cubicBezTo>
                <a:cubicBezTo>
                  <a:pt x="31375" y="1617"/>
                  <a:pt x="42004" y="1647"/>
                  <a:pt x="52625" y="1332"/>
                </a:cubicBezTo>
                <a:cubicBezTo>
                  <a:pt x="57918" y="1176"/>
                  <a:pt x="63195" y="535"/>
                  <a:pt x="69625" y="0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9" name="Free-form: Shape 408">
            <a:extLst>
              <a:ext uri="{FF2B5EF4-FFF2-40B4-BE49-F238E27FC236}">
                <a16:creationId xmlns:a16="http://schemas.microsoft.com/office/drawing/2014/main" id="{6F711DD1-C6B9-BF3E-06A1-0DC99E5AAA1B}"/>
              </a:ext>
            </a:extLst>
          </p:cNvPr>
          <p:cNvSpPr/>
          <p:nvPr/>
        </p:nvSpPr>
        <p:spPr>
          <a:xfrm>
            <a:off x="7375705" y="4206245"/>
            <a:ext cx="112410" cy="265855"/>
          </a:xfrm>
          <a:custGeom>
            <a:avLst/>
            <a:gdLst>
              <a:gd name="csX0" fmla="*/ 91265 w 164579"/>
              <a:gd name="csY0" fmla="*/ 157878 h 389238"/>
              <a:gd name="csX1" fmla="*/ 112882 w 164579"/>
              <a:gd name="csY1" fmla="*/ 252738 h 389238"/>
              <a:gd name="csX2" fmla="*/ 164579 w 164579"/>
              <a:gd name="csY2" fmla="*/ 389238 h 389238"/>
              <a:gd name="csX3" fmla="*/ 0 w 164579"/>
              <a:gd name="csY3" fmla="*/ 389238 h 389238"/>
              <a:gd name="csX4" fmla="*/ 5184 w 164579"/>
              <a:gd name="csY4" fmla="*/ 260105 h 389238"/>
              <a:gd name="csX5" fmla="*/ 7989 w 164579"/>
              <a:gd name="csY5" fmla="*/ 131182 h 389238"/>
              <a:gd name="csX6" fmla="*/ 8093 w 164579"/>
              <a:gd name="csY6" fmla="*/ 2390 h 389238"/>
              <a:gd name="csX7" fmla="*/ 76429 w 164579"/>
              <a:gd name="csY7" fmla="*/ 1531 h 389238"/>
              <a:gd name="csX8" fmla="*/ 91265 w 164579"/>
              <a:gd name="csY8" fmla="*/ 157878 h 38923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</a:cxnLst>
            <a:rect l="l" t="t" r="r" b="b"/>
            <a:pathLst>
              <a:path w="164579" h="389238">
                <a:moveTo>
                  <a:pt x="91265" y="157878"/>
                </a:moveTo>
                <a:cubicBezTo>
                  <a:pt x="98425" y="190232"/>
                  <a:pt x="104539" y="221785"/>
                  <a:pt x="112882" y="252738"/>
                </a:cubicBezTo>
                <a:cubicBezTo>
                  <a:pt x="125498" y="299549"/>
                  <a:pt x="141482" y="345258"/>
                  <a:pt x="164579" y="389238"/>
                </a:cubicBezTo>
                <a:cubicBezTo>
                  <a:pt x="109753" y="389238"/>
                  <a:pt x="55706" y="389238"/>
                  <a:pt x="0" y="389238"/>
                </a:cubicBezTo>
                <a:cubicBezTo>
                  <a:pt x="1781" y="345633"/>
                  <a:pt x="3844" y="302880"/>
                  <a:pt x="5184" y="260105"/>
                </a:cubicBezTo>
                <a:cubicBezTo>
                  <a:pt x="6529" y="217143"/>
                  <a:pt x="7519" y="174162"/>
                  <a:pt x="7989" y="131182"/>
                </a:cubicBezTo>
                <a:cubicBezTo>
                  <a:pt x="8459" y="88239"/>
                  <a:pt x="8093" y="45287"/>
                  <a:pt x="8093" y="2390"/>
                </a:cubicBezTo>
                <a:cubicBezTo>
                  <a:pt x="17041" y="-288"/>
                  <a:pt x="58537" y="-913"/>
                  <a:pt x="76429" y="1531"/>
                </a:cubicBezTo>
                <a:cubicBezTo>
                  <a:pt x="79287" y="53276"/>
                  <a:pt x="82219" y="105359"/>
                  <a:pt x="91265" y="157878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10" name="Free-form: Shape 409">
            <a:extLst>
              <a:ext uri="{FF2B5EF4-FFF2-40B4-BE49-F238E27FC236}">
                <a16:creationId xmlns:a16="http://schemas.microsoft.com/office/drawing/2014/main" id="{67F4F05C-F7FC-27D1-2820-1B6156A18763}"/>
              </a:ext>
            </a:extLst>
          </p:cNvPr>
          <p:cNvSpPr/>
          <p:nvPr/>
        </p:nvSpPr>
        <p:spPr>
          <a:xfrm>
            <a:off x="7377705" y="4663309"/>
            <a:ext cx="220393" cy="43851"/>
          </a:xfrm>
          <a:custGeom>
            <a:avLst/>
            <a:gdLst>
              <a:gd name="csX0" fmla="*/ 199184 w 322677"/>
              <a:gd name="csY0" fmla="*/ 59136 h 64202"/>
              <a:gd name="csX1" fmla="*/ 0 w 322677"/>
              <a:gd name="csY1" fmla="*/ 62697 h 64202"/>
              <a:gd name="csX2" fmla="*/ 0 w 322677"/>
              <a:gd name="csY2" fmla="*/ 18400 h 64202"/>
              <a:gd name="csX3" fmla="*/ 10601 w 322677"/>
              <a:gd name="csY3" fmla="*/ 17750 h 64202"/>
              <a:gd name="csX4" fmla="*/ 156563 w 322677"/>
              <a:gd name="csY4" fmla="*/ 15074 h 64202"/>
              <a:gd name="csX5" fmla="*/ 266479 w 322677"/>
              <a:gd name="csY5" fmla="*/ 4814 h 64202"/>
              <a:gd name="csX6" fmla="*/ 296798 w 322677"/>
              <a:gd name="csY6" fmla="*/ 344 h 64202"/>
              <a:gd name="csX7" fmla="*/ 309983 w 322677"/>
              <a:gd name="csY7" fmla="*/ 6097 h 64202"/>
              <a:gd name="csX8" fmla="*/ 322678 w 322677"/>
              <a:gd name="csY8" fmla="*/ 40406 h 64202"/>
              <a:gd name="csX9" fmla="*/ 199184 w 322677"/>
              <a:gd name="csY9" fmla="*/ 59136 h 6420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322677" h="64202">
                <a:moveTo>
                  <a:pt x="199184" y="59136"/>
                </a:moveTo>
                <a:cubicBezTo>
                  <a:pt x="132374" y="65824"/>
                  <a:pt x="66629" y="64605"/>
                  <a:pt x="0" y="62697"/>
                </a:cubicBezTo>
                <a:cubicBezTo>
                  <a:pt x="0" y="47160"/>
                  <a:pt x="0" y="33409"/>
                  <a:pt x="0" y="18400"/>
                </a:cubicBezTo>
                <a:cubicBezTo>
                  <a:pt x="3587" y="18160"/>
                  <a:pt x="7120" y="17536"/>
                  <a:pt x="10601" y="17750"/>
                </a:cubicBezTo>
                <a:cubicBezTo>
                  <a:pt x="59329" y="20736"/>
                  <a:pt x="107987" y="18533"/>
                  <a:pt x="156563" y="15074"/>
                </a:cubicBezTo>
                <a:cubicBezTo>
                  <a:pt x="193260" y="12461"/>
                  <a:pt x="229860" y="8449"/>
                  <a:pt x="266479" y="4814"/>
                </a:cubicBezTo>
                <a:cubicBezTo>
                  <a:pt x="276635" y="3806"/>
                  <a:pt x="286748" y="2160"/>
                  <a:pt x="296798" y="344"/>
                </a:cubicBezTo>
                <a:cubicBezTo>
                  <a:pt x="302773" y="-735"/>
                  <a:pt x="306536" y="602"/>
                  <a:pt x="309983" y="6097"/>
                </a:cubicBezTo>
                <a:cubicBezTo>
                  <a:pt x="316405" y="16331"/>
                  <a:pt x="320231" y="27243"/>
                  <a:pt x="322678" y="40406"/>
                </a:cubicBezTo>
                <a:cubicBezTo>
                  <a:pt x="281944" y="49611"/>
                  <a:pt x="241309" y="55431"/>
                  <a:pt x="199184" y="59136"/>
                </a:cubicBezTo>
                <a:close/>
              </a:path>
            </a:pathLst>
          </a:custGeom>
          <a:solidFill>
            <a:schemeClr val="bg1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11" name="Free-form: Shape 410">
            <a:extLst>
              <a:ext uri="{FF2B5EF4-FFF2-40B4-BE49-F238E27FC236}">
                <a16:creationId xmlns:a16="http://schemas.microsoft.com/office/drawing/2014/main" id="{56EBFDA2-7153-6987-C58A-CCAEA8B5EF86}"/>
              </a:ext>
            </a:extLst>
          </p:cNvPr>
          <p:cNvSpPr/>
          <p:nvPr/>
        </p:nvSpPr>
        <p:spPr>
          <a:xfrm>
            <a:off x="7180336" y="3765774"/>
            <a:ext cx="557648" cy="1497715"/>
          </a:xfrm>
          <a:custGeom>
            <a:avLst/>
            <a:gdLst>
              <a:gd name="csX0" fmla="*/ 898754 w 1315852"/>
              <a:gd name="csY0" fmla="*/ 1637125 h 3212801"/>
              <a:gd name="csX1" fmla="*/ 900426 w 1315852"/>
              <a:gd name="csY1" fmla="*/ 1643802 h 3212801"/>
              <a:gd name="csX2" fmla="*/ 903549 w 1315852"/>
              <a:gd name="csY2" fmla="*/ 1709345 h 3212801"/>
              <a:gd name="csX3" fmla="*/ 908512 w 1315852"/>
              <a:gd name="csY3" fmla="*/ 1750739 h 3212801"/>
              <a:gd name="csX4" fmla="*/ 911839 w 1315852"/>
              <a:gd name="csY4" fmla="*/ 1783999 h 3212801"/>
              <a:gd name="csX5" fmla="*/ 919775 w 1315852"/>
              <a:gd name="csY5" fmla="*/ 1846044 h 3212801"/>
              <a:gd name="csX6" fmla="*/ 928724 w 1315852"/>
              <a:gd name="csY6" fmla="*/ 1912212 h 3212801"/>
              <a:gd name="csX7" fmla="*/ 943556 w 1315852"/>
              <a:gd name="csY7" fmla="*/ 1998602 h 3212801"/>
              <a:gd name="csX8" fmla="*/ 967918 w 1315852"/>
              <a:gd name="csY8" fmla="*/ 2121455 h 3212801"/>
              <a:gd name="csX9" fmla="*/ 988236 w 1315852"/>
              <a:gd name="csY9" fmla="*/ 2216813 h 3212801"/>
              <a:gd name="csX10" fmla="*/ 1028961 w 1315852"/>
              <a:gd name="csY10" fmla="*/ 2386212 h 3212801"/>
              <a:gd name="csX11" fmla="*/ 1055369 w 1315852"/>
              <a:gd name="csY11" fmla="*/ 2485963 h 3212801"/>
              <a:gd name="csX12" fmla="*/ 1069125 w 1315852"/>
              <a:gd name="csY12" fmla="*/ 2501571 h 3212801"/>
              <a:gd name="csX13" fmla="*/ 1104775 w 1315852"/>
              <a:gd name="csY13" fmla="*/ 2517672 h 3212801"/>
              <a:gd name="csX14" fmla="*/ 1117910 w 1315852"/>
              <a:gd name="csY14" fmla="*/ 2527831 h 3212801"/>
              <a:gd name="csX15" fmla="*/ 1122737 w 1315852"/>
              <a:gd name="csY15" fmla="*/ 2552282 h 3212801"/>
              <a:gd name="csX16" fmla="*/ 1114779 w 1315852"/>
              <a:gd name="csY16" fmla="*/ 2570125 h 3212801"/>
              <a:gd name="csX17" fmla="*/ 1114207 w 1315852"/>
              <a:gd name="csY17" fmla="*/ 2618225 h 3212801"/>
              <a:gd name="csX18" fmla="*/ 1148150 w 1315852"/>
              <a:gd name="csY18" fmla="*/ 2663984 h 3212801"/>
              <a:gd name="csX19" fmla="*/ 1206600 w 1315852"/>
              <a:gd name="csY19" fmla="*/ 2720256 h 3212801"/>
              <a:gd name="csX20" fmla="*/ 1275524 w 1315852"/>
              <a:gd name="csY20" fmla="*/ 2850317 h 3212801"/>
              <a:gd name="csX21" fmla="*/ 1277353 w 1315852"/>
              <a:gd name="csY21" fmla="*/ 2897326 h 3212801"/>
              <a:gd name="csX22" fmla="*/ 1271355 w 1315852"/>
              <a:gd name="csY22" fmla="*/ 2935725 h 3212801"/>
              <a:gd name="csX23" fmla="*/ 1274691 w 1315852"/>
              <a:gd name="csY23" fmla="*/ 2954335 h 3212801"/>
              <a:gd name="csX24" fmla="*/ 1301797 w 1315852"/>
              <a:gd name="csY24" fmla="*/ 3028744 h 3212801"/>
              <a:gd name="csX25" fmla="*/ 1311943 w 1315852"/>
              <a:gd name="csY25" fmla="*/ 3082025 h 3212801"/>
              <a:gd name="csX26" fmla="*/ 1315801 w 1315852"/>
              <a:gd name="csY26" fmla="*/ 3133440 h 3212801"/>
              <a:gd name="csX27" fmla="*/ 1307182 w 1315852"/>
              <a:gd name="csY27" fmla="*/ 3146201 h 3212801"/>
              <a:gd name="csX28" fmla="*/ 1280933 w 1315852"/>
              <a:gd name="csY28" fmla="*/ 3155733 h 3212801"/>
              <a:gd name="csX29" fmla="*/ 1169576 w 1315852"/>
              <a:gd name="csY29" fmla="*/ 3181105 h 3212801"/>
              <a:gd name="csX30" fmla="*/ 1098129 w 1315852"/>
              <a:gd name="csY30" fmla="*/ 3192005 h 3212801"/>
              <a:gd name="csX31" fmla="*/ 1025959 w 1315852"/>
              <a:gd name="csY31" fmla="*/ 3198069 h 3212801"/>
              <a:gd name="csX32" fmla="*/ 969161 w 1315852"/>
              <a:gd name="csY32" fmla="*/ 3203391 h 3212801"/>
              <a:gd name="csX33" fmla="*/ 966367 w 1315852"/>
              <a:gd name="csY33" fmla="*/ 3203587 h 3212801"/>
              <a:gd name="csX34" fmla="*/ 890991 w 1315852"/>
              <a:gd name="csY34" fmla="*/ 3206415 h 3212801"/>
              <a:gd name="csX35" fmla="*/ 786197 w 1315852"/>
              <a:gd name="csY35" fmla="*/ 3209641 h 3212801"/>
              <a:gd name="csX36" fmla="*/ 618254 w 1315852"/>
              <a:gd name="csY36" fmla="*/ 3211234 h 3212801"/>
              <a:gd name="csX37" fmla="*/ 506392 w 1315852"/>
              <a:gd name="csY37" fmla="*/ 3209195 h 3212801"/>
              <a:gd name="csX38" fmla="*/ 443638 w 1315852"/>
              <a:gd name="csY38" fmla="*/ 3206415 h 3212801"/>
              <a:gd name="csX39" fmla="*/ 389301 w 1315852"/>
              <a:gd name="csY39" fmla="*/ 3203597 h 3212801"/>
              <a:gd name="csX40" fmla="*/ 305884 w 1315852"/>
              <a:gd name="csY40" fmla="*/ 3197747 h 3212801"/>
              <a:gd name="csX41" fmla="*/ 216151 w 1315852"/>
              <a:gd name="csY41" fmla="*/ 3186940 h 3212801"/>
              <a:gd name="csX42" fmla="*/ 141593 w 1315852"/>
              <a:gd name="csY42" fmla="*/ 3177824 h 3212801"/>
              <a:gd name="csX43" fmla="*/ 44929 w 1315852"/>
              <a:gd name="csY43" fmla="*/ 3157176 h 3212801"/>
              <a:gd name="csX44" fmla="*/ 10154 w 1315852"/>
              <a:gd name="csY44" fmla="*/ 3146750 h 3212801"/>
              <a:gd name="csX45" fmla="*/ 112 w 1315852"/>
              <a:gd name="csY45" fmla="*/ 3132149 h 3212801"/>
              <a:gd name="csX46" fmla="*/ 5263 w 1315852"/>
              <a:gd name="csY46" fmla="*/ 3080960 h 3212801"/>
              <a:gd name="csX47" fmla="*/ 13758 w 1315852"/>
              <a:gd name="csY47" fmla="*/ 3031612 h 3212801"/>
              <a:gd name="csX48" fmla="*/ 40996 w 1315852"/>
              <a:gd name="csY48" fmla="*/ 2960204 h 3212801"/>
              <a:gd name="csX49" fmla="*/ 43510 w 1315852"/>
              <a:gd name="csY49" fmla="*/ 2944616 h 3212801"/>
              <a:gd name="csX50" fmla="*/ 36916 w 1315852"/>
              <a:gd name="csY50" fmla="*/ 2875457 h 3212801"/>
              <a:gd name="csX51" fmla="*/ 46646 w 1315852"/>
              <a:gd name="csY51" fmla="*/ 2827778 h 3212801"/>
              <a:gd name="csX52" fmla="*/ 108895 w 1315852"/>
              <a:gd name="csY52" fmla="*/ 2723307 h 3212801"/>
              <a:gd name="csX53" fmla="*/ 188375 w 1315852"/>
              <a:gd name="csY53" fmla="*/ 2646399 h 3212801"/>
              <a:gd name="csX54" fmla="*/ 211535 w 1315852"/>
              <a:gd name="csY54" fmla="*/ 2605867 h 3212801"/>
              <a:gd name="csX55" fmla="*/ 205182 w 1315852"/>
              <a:gd name="csY55" fmla="*/ 2571418 h 3212801"/>
              <a:gd name="csX56" fmla="*/ 196651 w 1315852"/>
              <a:gd name="csY56" fmla="*/ 2557085 h 3212801"/>
              <a:gd name="csX57" fmla="*/ 209021 w 1315852"/>
              <a:gd name="csY57" fmla="*/ 2521560 h 3212801"/>
              <a:gd name="csX58" fmla="*/ 245764 w 1315852"/>
              <a:gd name="csY58" fmla="*/ 2504395 h 3212801"/>
              <a:gd name="csX59" fmla="*/ 263769 w 1315852"/>
              <a:gd name="csY59" fmla="*/ 2485128 h 3212801"/>
              <a:gd name="csX60" fmla="*/ 300045 w 1315852"/>
              <a:gd name="csY60" fmla="*/ 2354726 h 3212801"/>
              <a:gd name="csX61" fmla="*/ 326003 w 1315852"/>
              <a:gd name="csY61" fmla="*/ 2249117 h 3212801"/>
              <a:gd name="csX62" fmla="*/ 359250 w 1315852"/>
              <a:gd name="csY62" fmla="*/ 2092493 h 3212801"/>
              <a:gd name="csX63" fmla="*/ 378011 w 1315852"/>
              <a:gd name="csY63" fmla="*/ 1995496 h 3212801"/>
              <a:gd name="csX64" fmla="*/ 390230 w 1315852"/>
              <a:gd name="csY64" fmla="*/ 1915745 h 3212801"/>
              <a:gd name="csX65" fmla="*/ 400702 w 1315852"/>
              <a:gd name="csY65" fmla="*/ 1851249 h 3212801"/>
              <a:gd name="csX66" fmla="*/ 406954 w 1315852"/>
              <a:gd name="csY66" fmla="*/ 1788916 h 3212801"/>
              <a:gd name="csX67" fmla="*/ 412016 w 1315852"/>
              <a:gd name="csY67" fmla="*/ 1747526 h 3212801"/>
              <a:gd name="csX68" fmla="*/ 415185 w 1315852"/>
              <a:gd name="csY68" fmla="*/ 1712850 h 3212801"/>
              <a:gd name="csX69" fmla="*/ 418197 w 1315852"/>
              <a:gd name="csY69" fmla="*/ 1651507 h 3212801"/>
              <a:gd name="csX70" fmla="*/ 423324 w 1315852"/>
              <a:gd name="csY70" fmla="*/ 1583479 h 3212801"/>
              <a:gd name="csX71" fmla="*/ 426059 w 1315852"/>
              <a:gd name="csY71" fmla="*/ 1477299 h 3212801"/>
              <a:gd name="csX72" fmla="*/ 424204 w 1315852"/>
              <a:gd name="csY72" fmla="*/ 1473415 h 3212801"/>
              <a:gd name="csX73" fmla="*/ 390769 w 1315852"/>
              <a:gd name="csY73" fmla="*/ 1470003 h 3212801"/>
              <a:gd name="csX74" fmla="*/ 327487 w 1315852"/>
              <a:gd name="csY74" fmla="*/ 1460760 h 3212801"/>
              <a:gd name="csX75" fmla="*/ 289037 w 1315852"/>
              <a:gd name="csY75" fmla="*/ 1410705 h 3212801"/>
              <a:gd name="csX76" fmla="*/ 292610 w 1315852"/>
              <a:gd name="csY76" fmla="*/ 1374826 h 3212801"/>
              <a:gd name="csX77" fmla="*/ 335365 w 1315852"/>
              <a:gd name="csY77" fmla="*/ 1319956 h 3212801"/>
              <a:gd name="csX78" fmla="*/ 358966 w 1315852"/>
              <a:gd name="csY78" fmla="*/ 1286091 h 3212801"/>
              <a:gd name="csX79" fmla="*/ 390267 w 1315852"/>
              <a:gd name="csY79" fmla="*/ 1239202 h 3212801"/>
              <a:gd name="csX80" fmla="*/ 435898 w 1315852"/>
              <a:gd name="csY80" fmla="*/ 1202610 h 3212801"/>
              <a:gd name="csX81" fmla="*/ 443089 w 1315852"/>
              <a:gd name="csY81" fmla="*/ 1186662 h 3212801"/>
              <a:gd name="csX82" fmla="*/ 443336 w 1315852"/>
              <a:gd name="csY82" fmla="*/ 1174100 h 3212801"/>
              <a:gd name="csX83" fmla="*/ 432713 w 1315852"/>
              <a:gd name="csY83" fmla="*/ 1161284 h 3212801"/>
              <a:gd name="csX84" fmla="*/ 406712 w 1315852"/>
              <a:gd name="csY84" fmla="*/ 1151413 h 3212801"/>
              <a:gd name="csX85" fmla="*/ 399212 w 1315852"/>
              <a:gd name="csY85" fmla="*/ 1135845 h 3212801"/>
              <a:gd name="csX86" fmla="*/ 409719 w 1315852"/>
              <a:gd name="csY86" fmla="*/ 1113213 h 3212801"/>
              <a:gd name="csX87" fmla="*/ 414650 w 1315852"/>
              <a:gd name="csY87" fmla="*/ 1091062 h 3212801"/>
              <a:gd name="csX88" fmla="*/ 402048 w 1315852"/>
              <a:gd name="csY88" fmla="*/ 1042520 h 3212801"/>
              <a:gd name="csX89" fmla="*/ 366526 w 1315852"/>
              <a:gd name="csY89" fmla="*/ 932054 h 3212801"/>
              <a:gd name="csX90" fmla="*/ 304855 w 1315852"/>
              <a:gd name="csY90" fmla="*/ 733506 h 3212801"/>
              <a:gd name="csX91" fmla="*/ 273722 w 1315852"/>
              <a:gd name="csY91" fmla="*/ 639312 h 3212801"/>
              <a:gd name="csX92" fmla="*/ 242525 w 1315852"/>
              <a:gd name="csY92" fmla="*/ 527843 h 3212801"/>
              <a:gd name="csX93" fmla="*/ 245838 w 1315852"/>
              <a:gd name="csY93" fmla="*/ 485521 h 3212801"/>
              <a:gd name="csX94" fmla="*/ 258319 w 1315852"/>
              <a:gd name="csY94" fmla="*/ 473233 h 3212801"/>
              <a:gd name="csX95" fmla="*/ 291527 w 1315852"/>
              <a:gd name="csY95" fmla="*/ 463336 h 3212801"/>
              <a:gd name="csX96" fmla="*/ 373160 w 1315852"/>
              <a:gd name="csY96" fmla="*/ 454842 h 3212801"/>
              <a:gd name="csX97" fmla="*/ 427480 w 1315852"/>
              <a:gd name="csY97" fmla="*/ 451758 h 3212801"/>
              <a:gd name="csX98" fmla="*/ 477998 w 1315852"/>
              <a:gd name="csY98" fmla="*/ 447870 h 3212801"/>
              <a:gd name="csX99" fmla="*/ 479585 w 1315852"/>
              <a:gd name="csY99" fmla="*/ 442932 h 3212801"/>
              <a:gd name="csX100" fmla="*/ 488907 w 1315852"/>
              <a:gd name="csY100" fmla="*/ 421401 h 3212801"/>
              <a:gd name="csX101" fmla="*/ 492315 w 1315852"/>
              <a:gd name="csY101" fmla="*/ 409196 h 3212801"/>
              <a:gd name="csX102" fmla="*/ 498582 w 1315852"/>
              <a:gd name="csY102" fmla="*/ 396231 h 3212801"/>
              <a:gd name="csX103" fmla="*/ 531424 w 1315852"/>
              <a:gd name="csY103" fmla="*/ 365066 h 3212801"/>
              <a:gd name="csX104" fmla="*/ 567201 w 1315852"/>
              <a:gd name="csY104" fmla="*/ 305069 h 3212801"/>
              <a:gd name="csX105" fmla="*/ 580157 w 1315852"/>
              <a:gd name="csY105" fmla="*/ 281885 h 3212801"/>
              <a:gd name="csX106" fmla="*/ 575177 w 1315852"/>
              <a:gd name="csY106" fmla="*/ 258759 h 3212801"/>
              <a:gd name="csX107" fmla="*/ 472048 w 1315852"/>
              <a:gd name="csY107" fmla="*/ 283266 h 3212801"/>
              <a:gd name="csX108" fmla="*/ 473659 w 1315852"/>
              <a:gd name="csY108" fmla="*/ 112243 h 3212801"/>
              <a:gd name="csX109" fmla="*/ 487139 w 1315852"/>
              <a:gd name="csY109" fmla="*/ 114763 h 3212801"/>
              <a:gd name="csX110" fmla="*/ 569608 w 1315852"/>
              <a:gd name="csY110" fmla="*/ 140735 h 3212801"/>
              <a:gd name="csX111" fmla="*/ 585180 w 1315852"/>
              <a:gd name="csY111" fmla="*/ 124742 h 3212801"/>
              <a:gd name="csX112" fmla="*/ 563868 w 1315852"/>
              <a:gd name="csY112" fmla="*/ 70080 h 3212801"/>
              <a:gd name="csX113" fmla="*/ 546041 w 1315852"/>
              <a:gd name="csY113" fmla="*/ 26021 h 3212801"/>
              <a:gd name="csX114" fmla="*/ 568462 w 1315852"/>
              <a:gd name="csY114" fmla="*/ 18986 h 3212801"/>
              <a:gd name="csX115" fmla="*/ 637623 w 1315852"/>
              <a:gd name="csY115" fmla="*/ 2731 h 3212801"/>
              <a:gd name="csX116" fmla="*/ 692817 w 1315852"/>
              <a:gd name="csY116" fmla="*/ 4346 h 3212801"/>
              <a:gd name="csX117" fmla="*/ 759126 w 1315852"/>
              <a:gd name="csY117" fmla="*/ 20739 h 3212801"/>
              <a:gd name="csX118" fmla="*/ 774460 w 1315852"/>
              <a:gd name="csY118" fmla="*/ 24289 h 3212801"/>
              <a:gd name="csX119" fmla="*/ 751608 w 1315852"/>
              <a:gd name="csY119" fmla="*/ 81205 h 3212801"/>
              <a:gd name="csX120" fmla="*/ 731002 w 1315852"/>
              <a:gd name="csY120" fmla="*/ 141135 h 3212801"/>
              <a:gd name="csX121" fmla="*/ 749917 w 1315852"/>
              <a:gd name="csY121" fmla="*/ 137732 h 3212801"/>
              <a:gd name="csX122" fmla="*/ 836197 w 1315852"/>
              <a:gd name="csY122" fmla="*/ 114792 h 3212801"/>
              <a:gd name="csX123" fmla="*/ 843209 w 1315852"/>
              <a:gd name="csY123" fmla="*/ 113433 h 3212801"/>
              <a:gd name="csX124" fmla="*/ 844400 w 1315852"/>
              <a:gd name="csY124" fmla="*/ 119435 h 3212801"/>
              <a:gd name="csX125" fmla="*/ 847390 w 1315852"/>
              <a:gd name="csY125" fmla="*/ 232672 h 3212801"/>
              <a:gd name="csX126" fmla="*/ 850015 w 1315852"/>
              <a:gd name="csY126" fmla="*/ 261773 h 3212801"/>
              <a:gd name="csX127" fmla="*/ 850085 w 1315852"/>
              <a:gd name="csY127" fmla="*/ 280220 h 3212801"/>
              <a:gd name="csX128" fmla="*/ 815285 w 1315852"/>
              <a:gd name="csY128" fmla="*/ 272127 h 3212801"/>
              <a:gd name="csX129" fmla="*/ 757181 w 1315852"/>
              <a:gd name="csY129" fmla="*/ 257455 h 3212801"/>
              <a:gd name="csX130" fmla="*/ 732939 w 1315852"/>
              <a:gd name="csY130" fmla="*/ 263859 h 3212801"/>
              <a:gd name="csX131" fmla="*/ 739871 w 1315852"/>
              <a:gd name="csY131" fmla="*/ 279988 h 3212801"/>
              <a:gd name="csX132" fmla="*/ 725900 w 1315852"/>
              <a:gd name="csY132" fmla="*/ 292074 h 3212801"/>
              <a:gd name="csX133" fmla="*/ 747132 w 1315852"/>
              <a:gd name="csY133" fmla="*/ 298017 h 3212801"/>
              <a:gd name="csX134" fmla="*/ 768268 w 1315852"/>
              <a:gd name="csY134" fmla="*/ 327815 h 3212801"/>
              <a:gd name="csX135" fmla="*/ 785901 w 1315852"/>
              <a:gd name="csY135" fmla="*/ 362862 h 3212801"/>
              <a:gd name="csX136" fmla="*/ 798627 w 1315852"/>
              <a:gd name="csY136" fmla="*/ 374591 h 3212801"/>
              <a:gd name="csX137" fmla="*/ 815580 w 1315852"/>
              <a:gd name="csY137" fmla="*/ 387899 h 3212801"/>
              <a:gd name="csX138" fmla="*/ 813282 w 1315852"/>
              <a:gd name="csY138" fmla="*/ 390947 h 3212801"/>
              <a:gd name="csX139" fmla="*/ 776501 w 1315852"/>
              <a:gd name="csY139" fmla="*/ 393213 h 3212801"/>
              <a:gd name="csX140" fmla="*/ 702336 w 1315852"/>
              <a:gd name="csY140" fmla="*/ 381496 h 3212801"/>
              <a:gd name="csX141" fmla="*/ 662021 w 1315852"/>
              <a:gd name="csY141" fmla="*/ 378921 h 3212801"/>
              <a:gd name="csX142" fmla="*/ 651111 w 1315852"/>
              <a:gd name="csY142" fmla="*/ 386942 h 3212801"/>
              <a:gd name="csX143" fmla="*/ 648295 w 1315852"/>
              <a:gd name="csY143" fmla="*/ 437069 h 3212801"/>
              <a:gd name="csX144" fmla="*/ 659561 w 1315852"/>
              <a:gd name="csY144" fmla="*/ 448907 h 3212801"/>
              <a:gd name="csX145" fmla="*/ 799805 w 1315852"/>
              <a:gd name="csY145" fmla="*/ 449022 h 3212801"/>
              <a:gd name="csX146" fmla="*/ 811083 w 1315852"/>
              <a:gd name="csY146" fmla="*/ 439581 h 3212801"/>
              <a:gd name="csX147" fmla="*/ 817945 w 1315852"/>
              <a:gd name="csY147" fmla="*/ 425008 h 3212801"/>
              <a:gd name="csX148" fmla="*/ 828609 w 1315852"/>
              <a:gd name="csY148" fmla="*/ 403122 h 3212801"/>
              <a:gd name="csX149" fmla="*/ 838374 w 1315852"/>
              <a:gd name="csY149" fmla="*/ 406435 h 3212801"/>
              <a:gd name="csX150" fmla="*/ 844275 w 1315852"/>
              <a:gd name="csY150" fmla="*/ 430561 h 3212801"/>
              <a:gd name="csX151" fmla="*/ 865761 w 1315852"/>
              <a:gd name="csY151" fmla="*/ 447068 h 3212801"/>
              <a:gd name="csX152" fmla="*/ 885673 w 1315852"/>
              <a:gd name="csY152" fmla="*/ 449965 h 3212801"/>
              <a:gd name="csX153" fmla="*/ 904428 w 1315852"/>
              <a:gd name="csY153" fmla="*/ 454230 h 3212801"/>
              <a:gd name="csX154" fmla="*/ 930689 w 1315852"/>
              <a:gd name="csY154" fmla="*/ 457318 h 3212801"/>
              <a:gd name="csX155" fmla="*/ 1036296 w 1315852"/>
              <a:gd name="csY155" fmla="*/ 485877 h 3212801"/>
              <a:gd name="csX156" fmla="*/ 1076027 w 1315852"/>
              <a:gd name="csY156" fmla="*/ 535212 h 3212801"/>
              <a:gd name="csX157" fmla="*/ 1075403 w 1315852"/>
              <a:gd name="csY157" fmla="*/ 578208 h 3212801"/>
              <a:gd name="csX158" fmla="*/ 1028317 w 1315852"/>
              <a:gd name="csY158" fmla="*/ 728867 h 3212801"/>
              <a:gd name="csX159" fmla="*/ 983498 w 1315852"/>
              <a:gd name="csY159" fmla="*/ 858331 h 3212801"/>
              <a:gd name="csX160" fmla="*/ 948940 w 1315852"/>
              <a:gd name="csY160" fmla="*/ 961698 h 3212801"/>
              <a:gd name="csX161" fmla="*/ 911066 w 1315852"/>
              <a:gd name="csY161" fmla="*/ 1087385 h 3212801"/>
              <a:gd name="csX162" fmla="*/ 910828 w 1315852"/>
              <a:gd name="csY162" fmla="*/ 1098086 h 3212801"/>
              <a:gd name="csX163" fmla="*/ 911498 w 1315852"/>
              <a:gd name="csY163" fmla="*/ 1130209 h 3212801"/>
              <a:gd name="csX164" fmla="*/ 905716 w 1315852"/>
              <a:gd name="csY164" fmla="*/ 1140786 h 3212801"/>
              <a:gd name="csX165" fmla="*/ 904041 w 1315852"/>
              <a:gd name="csY165" fmla="*/ 1171694 h 3212801"/>
              <a:gd name="csX166" fmla="*/ 929797 w 1315852"/>
              <a:gd name="csY166" fmla="*/ 1202854 h 3212801"/>
              <a:gd name="csX167" fmla="*/ 956714 w 1315852"/>
              <a:gd name="csY167" fmla="*/ 1270749 h 3212801"/>
              <a:gd name="csX168" fmla="*/ 960074 w 1315852"/>
              <a:gd name="csY168" fmla="*/ 1289888 h 3212801"/>
              <a:gd name="csX169" fmla="*/ 975795 w 1315852"/>
              <a:gd name="csY169" fmla="*/ 1308746 h 3212801"/>
              <a:gd name="csX170" fmla="*/ 1002397 w 1315852"/>
              <a:gd name="csY170" fmla="*/ 1326635 h 3212801"/>
              <a:gd name="csX171" fmla="*/ 1018686 w 1315852"/>
              <a:gd name="csY171" fmla="*/ 1435905 h 3212801"/>
              <a:gd name="csX172" fmla="*/ 996257 w 1315852"/>
              <a:gd name="csY172" fmla="*/ 1454107 h 3212801"/>
              <a:gd name="csX173" fmla="*/ 970849 w 1315852"/>
              <a:gd name="csY173" fmla="*/ 1461303 h 3212801"/>
              <a:gd name="csX174" fmla="*/ 917943 w 1315852"/>
              <a:gd name="csY174" fmla="*/ 1464461 h 3212801"/>
              <a:gd name="csX175" fmla="*/ 905433 w 1315852"/>
              <a:gd name="csY175" fmla="*/ 1465358 h 3212801"/>
              <a:gd name="csX176" fmla="*/ 897863 w 1315852"/>
              <a:gd name="csY176" fmla="*/ 1474014 h 3212801"/>
              <a:gd name="csX177" fmla="*/ 897812 w 1315852"/>
              <a:gd name="csY177" fmla="*/ 1475415 h 3212801"/>
              <a:gd name="csX178" fmla="*/ 895549 w 1315852"/>
              <a:gd name="csY178" fmla="*/ 1519988 h 3212801"/>
              <a:gd name="csX179" fmla="*/ 895093 w 1315852"/>
              <a:gd name="csY179" fmla="*/ 1566174 h 3212801"/>
              <a:gd name="csX180" fmla="*/ 898754 w 1315852"/>
              <a:gd name="csY180" fmla="*/ 1637125 h 3212801"/>
              <a:gd name="csX181" fmla="*/ 654604 w 1315852"/>
              <a:gd name="csY181" fmla="*/ 2329281 h 3212801"/>
              <a:gd name="csX182" fmla="*/ 650429 w 1315852"/>
              <a:gd name="csY182" fmla="*/ 2271391 h 3212801"/>
              <a:gd name="csX183" fmla="*/ 648148 w 1315852"/>
              <a:gd name="csY183" fmla="*/ 2289942 h 3212801"/>
              <a:gd name="csX184" fmla="*/ 648156 w 1315852"/>
              <a:gd name="csY184" fmla="*/ 2367948 h 3212801"/>
              <a:gd name="csX185" fmla="*/ 655577 w 1315852"/>
              <a:gd name="csY185" fmla="*/ 2381454 h 3212801"/>
              <a:gd name="csX186" fmla="*/ 655485 w 1315852"/>
              <a:gd name="csY186" fmla="*/ 2404945 h 3212801"/>
              <a:gd name="csX187" fmla="*/ 651805 w 1315852"/>
              <a:gd name="csY187" fmla="*/ 2455510 h 3212801"/>
              <a:gd name="csX188" fmla="*/ 650902 w 1315852"/>
              <a:gd name="csY188" fmla="*/ 2395333 h 3212801"/>
              <a:gd name="csX189" fmla="*/ 649248 w 1315852"/>
              <a:gd name="csY189" fmla="*/ 2386025 h 3212801"/>
              <a:gd name="csX190" fmla="*/ 645333 w 1315852"/>
              <a:gd name="csY190" fmla="*/ 2386512 h 3212801"/>
              <a:gd name="csX191" fmla="*/ 645333 w 1315852"/>
              <a:gd name="csY191" fmla="*/ 2399858 h 3212801"/>
              <a:gd name="csX192" fmla="*/ 645232 w 1315852"/>
              <a:gd name="csY192" fmla="*/ 2471367 h 3212801"/>
              <a:gd name="csX193" fmla="*/ 643489 w 1315852"/>
              <a:gd name="csY193" fmla="*/ 2486535 h 3212801"/>
              <a:gd name="csX194" fmla="*/ 662548 w 1315852"/>
              <a:gd name="csY194" fmla="*/ 2510760 h 3212801"/>
              <a:gd name="csX195" fmla="*/ 942625 w 1315852"/>
              <a:gd name="csY195" fmla="*/ 2507990 h 3212801"/>
              <a:gd name="csX196" fmla="*/ 997309 w 1315852"/>
              <a:gd name="csY196" fmla="*/ 2507928 h 3212801"/>
              <a:gd name="csX197" fmla="*/ 1012693 w 1315852"/>
              <a:gd name="csY197" fmla="*/ 2507237 h 3212801"/>
              <a:gd name="csX198" fmla="*/ 1010948 w 1315852"/>
              <a:gd name="csY198" fmla="*/ 2493054 h 3212801"/>
              <a:gd name="csX199" fmla="*/ 982017 w 1315852"/>
              <a:gd name="csY199" fmla="*/ 2386719 h 3212801"/>
              <a:gd name="csX200" fmla="*/ 955543 w 1315852"/>
              <a:gd name="csY200" fmla="*/ 2275604 h 3212801"/>
              <a:gd name="csX201" fmla="*/ 922638 w 1315852"/>
              <a:gd name="csY201" fmla="*/ 2125997 h 3212801"/>
              <a:gd name="csX202" fmla="*/ 897474 w 1315852"/>
              <a:gd name="csY202" fmla="*/ 1994858 h 3212801"/>
              <a:gd name="csX203" fmla="*/ 878061 w 1315852"/>
              <a:gd name="csY203" fmla="*/ 1878280 h 3212801"/>
              <a:gd name="csX204" fmla="*/ 866965 w 1315852"/>
              <a:gd name="csY204" fmla="*/ 1791411 h 3212801"/>
              <a:gd name="csX205" fmla="*/ 863902 w 1315852"/>
              <a:gd name="csY205" fmla="*/ 1755335 h 3212801"/>
              <a:gd name="csX206" fmla="*/ 855983 w 1315852"/>
              <a:gd name="csY206" fmla="*/ 1677866 h 3212801"/>
              <a:gd name="csX207" fmla="*/ 852873 w 1315852"/>
              <a:gd name="csY207" fmla="*/ 1578685 h 3212801"/>
              <a:gd name="csX208" fmla="*/ 851635 w 1315852"/>
              <a:gd name="csY208" fmla="*/ 1535546 h 3212801"/>
              <a:gd name="csX209" fmla="*/ 850039 w 1315852"/>
              <a:gd name="csY209" fmla="*/ 1484182 h 3212801"/>
              <a:gd name="csX210" fmla="*/ 848486 w 1315852"/>
              <a:gd name="csY210" fmla="*/ 1472876 h 3212801"/>
              <a:gd name="csX211" fmla="*/ 832070 w 1315852"/>
              <a:gd name="csY211" fmla="*/ 1472888 h 3212801"/>
              <a:gd name="csX212" fmla="*/ 676784 w 1315852"/>
              <a:gd name="csY212" fmla="*/ 1475691 h 3212801"/>
              <a:gd name="csX213" fmla="*/ 662172 w 1315852"/>
              <a:gd name="csY213" fmla="*/ 1490031 h 3212801"/>
              <a:gd name="csX214" fmla="*/ 662153 w 1315852"/>
              <a:gd name="csY214" fmla="*/ 1497041 h 3212801"/>
              <a:gd name="csX215" fmla="*/ 659832 w 1315852"/>
              <a:gd name="csY215" fmla="*/ 1642548 h 3212801"/>
              <a:gd name="csX216" fmla="*/ 656544 w 1315852"/>
              <a:gd name="csY216" fmla="*/ 1761338 h 3212801"/>
              <a:gd name="csX217" fmla="*/ 654344 w 1315852"/>
              <a:gd name="csY217" fmla="*/ 1943296 h 3212801"/>
              <a:gd name="csX218" fmla="*/ 651002 w 1315852"/>
              <a:gd name="csY218" fmla="*/ 2137811 h 3212801"/>
              <a:gd name="csX219" fmla="*/ 650933 w 1315852"/>
              <a:gd name="csY219" fmla="*/ 2240168 h 3212801"/>
              <a:gd name="csX220" fmla="*/ 651273 w 1315852"/>
              <a:gd name="csY220" fmla="*/ 2249880 h 3212801"/>
              <a:gd name="csX221" fmla="*/ 658332 w 1315852"/>
              <a:gd name="csY221" fmla="*/ 2258024 h 3212801"/>
              <a:gd name="csX222" fmla="*/ 654604 w 1315852"/>
              <a:gd name="csY222" fmla="*/ 2329281 h 3212801"/>
              <a:gd name="csX223" fmla="*/ 999154 w 1315852"/>
              <a:gd name="csY223" fmla="*/ 2930680 h 3212801"/>
              <a:gd name="csX224" fmla="*/ 1224400 w 1315852"/>
              <a:gd name="csY224" fmla="*/ 2904672 h 3212801"/>
              <a:gd name="csX225" fmla="*/ 1225778 w 1315852"/>
              <a:gd name="csY225" fmla="*/ 2893948 h 3212801"/>
              <a:gd name="csX226" fmla="*/ 1197990 w 1315852"/>
              <a:gd name="csY226" fmla="*/ 2788499 h 3212801"/>
              <a:gd name="csX227" fmla="*/ 1156721 w 1315852"/>
              <a:gd name="csY227" fmla="*/ 2737429 h 3212801"/>
              <a:gd name="csX228" fmla="*/ 1096512 w 1315852"/>
              <a:gd name="csY228" fmla="*/ 2674794 h 3212801"/>
              <a:gd name="csX229" fmla="*/ 1056842 w 1315852"/>
              <a:gd name="csY229" fmla="*/ 2584575 h 3212801"/>
              <a:gd name="csX230" fmla="*/ 1055233 w 1315852"/>
              <a:gd name="csY230" fmla="*/ 2579758 h 3212801"/>
              <a:gd name="csX231" fmla="*/ 1017950 w 1315852"/>
              <a:gd name="csY231" fmla="*/ 2581956 h 3212801"/>
              <a:gd name="csX232" fmla="*/ 785764 w 1315852"/>
              <a:gd name="csY232" fmla="*/ 2595473 h 3212801"/>
              <a:gd name="csX233" fmla="*/ 665238 w 1315852"/>
              <a:gd name="csY233" fmla="*/ 2597498 h 3212801"/>
              <a:gd name="csX234" fmla="*/ 654332 w 1315852"/>
              <a:gd name="csY234" fmla="*/ 2598673 h 3212801"/>
              <a:gd name="csX235" fmla="*/ 653026 w 1315852"/>
              <a:gd name="csY235" fmla="*/ 2935427 h 3212801"/>
              <a:gd name="csX236" fmla="*/ 999154 w 1315852"/>
              <a:gd name="csY236" fmla="*/ 2930680 h 3212801"/>
              <a:gd name="csX237" fmla="*/ 947894 w 1315852"/>
              <a:gd name="csY237" fmla="*/ 3022480 h 3212801"/>
              <a:gd name="csX238" fmla="*/ 854096 w 1315852"/>
              <a:gd name="csY238" fmla="*/ 3026952 h 3212801"/>
              <a:gd name="csX239" fmla="*/ 676076 w 1315852"/>
              <a:gd name="csY239" fmla="*/ 3027217 h 3212801"/>
              <a:gd name="csX240" fmla="*/ 657155 w 1315852"/>
              <a:gd name="csY240" fmla="*/ 3027217 h 3212801"/>
              <a:gd name="csX241" fmla="*/ 650929 w 1315852"/>
              <a:gd name="csY241" fmla="*/ 3130009 h 3212801"/>
              <a:gd name="csX242" fmla="*/ 662475 w 1315852"/>
              <a:gd name="csY242" fmla="*/ 3131016 h 3212801"/>
              <a:gd name="csX243" fmla="*/ 775955 w 1315852"/>
              <a:gd name="csY243" fmla="*/ 3134982 h 3212801"/>
              <a:gd name="csX244" fmla="*/ 1061598 w 1315852"/>
              <a:gd name="csY244" fmla="*/ 3125377 h 3212801"/>
              <a:gd name="csX245" fmla="*/ 1249397 w 1315852"/>
              <a:gd name="csY245" fmla="*/ 3093967 h 3212801"/>
              <a:gd name="csX246" fmla="*/ 1262842 w 1315852"/>
              <a:gd name="csY246" fmla="*/ 3089764 h 3212801"/>
              <a:gd name="csX247" fmla="*/ 1244253 w 1315852"/>
              <a:gd name="csY247" fmla="*/ 3014005 h 3212801"/>
              <a:gd name="csX248" fmla="*/ 1237768 w 1315852"/>
              <a:gd name="csY248" fmla="*/ 3003206 h 3212801"/>
              <a:gd name="csX249" fmla="*/ 1217957 w 1315852"/>
              <a:gd name="csY249" fmla="*/ 2993424 h 3212801"/>
              <a:gd name="csX250" fmla="*/ 1163725 w 1315852"/>
              <a:gd name="csY250" fmla="*/ 3000119 h 3212801"/>
              <a:gd name="csX251" fmla="*/ 947894 w 1315852"/>
              <a:gd name="csY251" fmla="*/ 3022480 h 3212801"/>
              <a:gd name="csX252" fmla="*/ 784197 w 1315852"/>
              <a:gd name="csY252" fmla="*/ 1352777 h 3212801"/>
              <a:gd name="csX253" fmla="*/ 730991 w 1315852"/>
              <a:gd name="csY253" fmla="*/ 1354793 h 3212801"/>
              <a:gd name="csX254" fmla="*/ 676320 w 1315852"/>
              <a:gd name="csY254" fmla="*/ 1356902 h 3212801"/>
              <a:gd name="csX255" fmla="*/ 671906 w 1315852"/>
              <a:gd name="csY255" fmla="*/ 1418933 h 3212801"/>
              <a:gd name="csX256" fmla="*/ 685797 w 1315852"/>
              <a:gd name="csY256" fmla="*/ 1418917 h 3212801"/>
              <a:gd name="csX257" fmla="*/ 953300 w 1315852"/>
              <a:gd name="csY257" fmla="*/ 1410383 h 3212801"/>
              <a:gd name="csX258" fmla="*/ 968586 w 1315852"/>
              <a:gd name="csY258" fmla="*/ 1408564 h 3212801"/>
              <a:gd name="csX259" fmla="*/ 980375 w 1315852"/>
              <a:gd name="csY259" fmla="*/ 1394590 h 3212801"/>
              <a:gd name="csX260" fmla="*/ 965591 w 1315852"/>
              <a:gd name="csY260" fmla="*/ 1364447 h 3212801"/>
              <a:gd name="csX261" fmla="*/ 910211 w 1315852"/>
              <a:gd name="csY261" fmla="*/ 1348103 h 3212801"/>
              <a:gd name="csX262" fmla="*/ 784197 w 1315852"/>
              <a:gd name="csY262" fmla="*/ 1352777 h 3212801"/>
              <a:gd name="csX263" fmla="*/ 648129 w 1315852"/>
              <a:gd name="csY263" fmla="*/ 615881 h 3212801"/>
              <a:gd name="csX264" fmla="*/ 650869 w 1315852"/>
              <a:gd name="csY264" fmla="*/ 664591 h 3212801"/>
              <a:gd name="csX265" fmla="*/ 653223 w 1315852"/>
              <a:gd name="csY265" fmla="*/ 746994 h 3212801"/>
              <a:gd name="csX266" fmla="*/ 656163 w 1315852"/>
              <a:gd name="csY266" fmla="*/ 830737 h 3212801"/>
              <a:gd name="csX267" fmla="*/ 658740 w 1315852"/>
              <a:gd name="csY267" fmla="*/ 903281 h 3212801"/>
              <a:gd name="csX268" fmla="*/ 662209 w 1315852"/>
              <a:gd name="csY268" fmla="*/ 1019226 h 3212801"/>
              <a:gd name="csX269" fmla="*/ 665088 w 1315852"/>
              <a:gd name="csY269" fmla="*/ 1081942 h 3212801"/>
              <a:gd name="csX270" fmla="*/ 674628 w 1315852"/>
              <a:gd name="csY270" fmla="*/ 1090643 h 3212801"/>
              <a:gd name="csX271" fmla="*/ 762289 w 1315852"/>
              <a:gd name="csY271" fmla="*/ 1085865 h 3212801"/>
              <a:gd name="csX272" fmla="*/ 853046 w 1315852"/>
              <a:gd name="csY272" fmla="*/ 1082948 h 3212801"/>
              <a:gd name="csX273" fmla="*/ 854448 w 1315852"/>
              <a:gd name="csY273" fmla="*/ 1082924 h 3212801"/>
              <a:gd name="csX274" fmla="*/ 866364 w 1315852"/>
              <a:gd name="csY274" fmla="*/ 1074839 h 3212801"/>
              <a:gd name="csX275" fmla="*/ 891726 w 1315852"/>
              <a:gd name="csY275" fmla="*/ 1006797 h 3212801"/>
              <a:gd name="csX276" fmla="*/ 913720 w 1315852"/>
              <a:gd name="csY276" fmla="*/ 939278 h 3212801"/>
              <a:gd name="csX277" fmla="*/ 953952 w 1315852"/>
              <a:gd name="csY277" fmla="*/ 826060 h 3212801"/>
              <a:gd name="csX278" fmla="*/ 988796 w 1315852"/>
              <a:gd name="csY278" fmla="*/ 727233 h 3212801"/>
              <a:gd name="csX279" fmla="*/ 1036110 w 1315852"/>
              <a:gd name="csY279" fmla="*/ 592920 h 3212801"/>
              <a:gd name="csX280" fmla="*/ 1043677 w 1315852"/>
              <a:gd name="csY280" fmla="*/ 542152 h 3212801"/>
              <a:gd name="csX281" fmla="*/ 1030884 w 1315852"/>
              <a:gd name="csY281" fmla="*/ 517222 h 3212801"/>
              <a:gd name="csX282" fmla="*/ 1009162 w 1315852"/>
              <a:gd name="csY282" fmla="*/ 507963 h 3212801"/>
              <a:gd name="csX283" fmla="*/ 931266 w 1315852"/>
              <a:gd name="csY283" fmla="*/ 493552 h 3212801"/>
              <a:gd name="csX284" fmla="*/ 880100 w 1315852"/>
              <a:gd name="csY284" fmla="*/ 488348 h 3212801"/>
              <a:gd name="csX285" fmla="*/ 835610 w 1315852"/>
              <a:gd name="csY285" fmla="*/ 485330 h 3212801"/>
              <a:gd name="csX286" fmla="*/ 755014 w 1315852"/>
              <a:gd name="csY286" fmla="*/ 480162 h 3212801"/>
              <a:gd name="csX287" fmla="*/ 657249 w 1315852"/>
              <a:gd name="csY287" fmla="*/ 482686 h 3212801"/>
              <a:gd name="csX288" fmla="*/ 643184 w 1315852"/>
              <a:gd name="csY288" fmla="*/ 500211 h 3212801"/>
              <a:gd name="csX289" fmla="*/ 645220 w 1315852"/>
              <a:gd name="csY289" fmla="*/ 511112 h 3212801"/>
              <a:gd name="csX290" fmla="*/ 648129 w 1315852"/>
              <a:gd name="csY290" fmla="*/ 615881 h 3212801"/>
              <a:gd name="csX291" fmla="*/ 886495 w 1315852"/>
              <a:gd name="csY291" fmla="*/ 1207714 h 3212801"/>
              <a:gd name="csX292" fmla="*/ 881380 w 1315852"/>
              <a:gd name="csY292" fmla="*/ 1202980 h 3212801"/>
              <a:gd name="csX293" fmla="*/ 866913 w 1315852"/>
              <a:gd name="csY293" fmla="*/ 1175042 h 3212801"/>
              <a:gd name="csX294" fmla="*/ 866482 w 1315852"/>
              <a:gd name="csY294" fmla="*/ 1156869 h 3212801"/>
              <a:gd name="csX295" fmla="*/ 856429 w 1315852"/>
              <a:gd name="csY295" fmla="*/ 1147458 h 3212801"/>
              <a:gd name="csX296" fmla="*/ 790615 w 1315852"/>
              <a:gd name="csY296" fmla="*/ 1147813 h 3212801"/>
              <a:gd name="csX297" fmla="*/ 718484 w 1315852"/>
              <a:gd name="csY297" fmla="*/ 1153058 h 3212801"/>
              <a:gd name="csX298" fmla="*/ 671232 w 1315852"/>
              <a:gd name="csY298" fmla="*/ 1156034 h 3212801"/>
              <a:gd name="csX299" fmla="*/ 664146 w 1315852"/>
              <a:gd name="csY299" fmla="*/ 1168443 h 3212801"/>
              <a:gd name="csX300" fmla="*/ 667611 w 1315852"/>
              <a:gd name="csY300" fmla="*/ 1187354 h 3212801"/>
              <a:gd name="csX301" fmla="*/ 667803 w 1315852"/>
              <a:gd name="csY301" fmla="*/ 1283992 h 3212801"/>
              <a:gd name="csX302" fmla="*/ 683140 w 1315852"/>
              <a:gd name="csY302" fmla="*/ 1298850 h 3212801"/>
              <a:gd name="csX303" fmla="*/ 736011 w 1315852"/>
              <a:gd name="csY303" fmla="*/ 1296220 h 3212801"/>
              <a:gd name="csX304" fmla="*/ 830893 w 1315852"/>
              <a:gd name="csY304" fmla="*/ 1293324 h 3212801"/>
              <a:gd name="csX305" fmla="*/ 833691 w 1315852"/>
              <a:gd name="csY305" fmla="*/ 1293213 h 3212801"/>
              <a:gd name="csX306" fmla="*/ 903014 w 1315852"/>
              <a:gd name="csY306" fmla="*/ 1287831 h 3212801"/>
              <a:gd name="csX307" fmla="*/ 917225 w 1315852"/>
              <a:gd name="csY307" fmla="*/ 1271856 h 3212801"/>
              <a:gd name="csX308" fmla="*/ 886495 w 1315852"/>
              <a:gd name="csY308" fmla="*/ 1207714 h 321280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  <a:cxn ang="0">
                <a:pos x="csX170" y="csY170"/>
              </a:cxn>
              <a:cxn ang="0">
                <a:pos x="csX171" y="csY171"/>
              </a:cxn>
              <a:cxn ang="0">
                <a:pos x="csX172" y="csY172"/>
              </a:cxn>
              <a:cxn ang="0">
                <a:pos x="csX173" y="csY173"/>
              </a:cxn>
              <a:cxn ang="0">
                <a:pos x="csX174" y="csY174"/>
              </a:cxn>
              <a:cxn ang="0">
                <a:pos x="csX175" y="csY175"/>
              </a:cxn>
              <a:cxn ang="0">
                <a:pos x="csX176" y="csY176"/>
              </a:cxn>
              <a:cxn ang="0">
                <a:pos x="csX177" y="csY177"/>
              </a:cxn>
              <a:cxn ang="0">
                <a:pos x="csX178" y="csY178"/>
              </a:cxn>
              <a:cxn ang="0">
                <a:pos x="csX179" y="csY179"/>
              </a:cxn>
              <a:cxn ang="0">
                <a:pos x="csX180" y="csY180"/>
              </a:cxn>
              <a:cxn ang="0">
                <a:pos x="csX181" y="csY181"/>
              </a:cxn>
              <a:cxn ang="0">
                <a:pos x="csX182" y="csY182"/>
              </a:cxn>
              <a:cxn ang="0">
                <a:pos x="csX183" y="csY183"/>
              </a:cxn>
              <a:cxn ang="0">
                <a:pos x="csX184" y="csY184"/>
              </a:cxn>
              <a:cxn ang="0">
                <a:pos x="csX185" y="csY185"/>
              </a:cxn>
              <a:cxn ang="0">
                <a:pos x="csX186" y="csY186"/>
              </a:cxn>
              <a:cxn ang="0">
                <a:pos x="csX187" y="csY187"/>
              </a:cxn>
              <a:cxn ang="0">
                <a:pos x="csX188" y="csY188"/>
              </a:cxn>
              <a:cxn ang="0">
                <a:pos x="csX189" y="csY189"/>
              </a:cxn>
              <a:cxn ang="0">
                <a:pos x="csX190" y="csY190"/>
              </a:cxn>
              <a:cxn ang="0">
                <a:pos x="csX191" y="csY191"/>
              </a:cxn>
              <a:cxn ang="0">
                <a:pos x="csX192" y="csY192"/>
              </a:cxn>
              <a:cxn ang="0">
                <a:pos x="csX193" y="csY193"/>
              </a:cxn>
              <a:cxn ang="0">
                <a:pos x="csX194" y="csY194"/>
              </a:cxn>
              <a:cxn ang="0">
                <a:pos x="csX195" y="csY195"/>
              </a:cxn>
              <a:cxn ang="0">
                <a:pos x="csX196" y="csY196"/>
              </a:cxn>
              <a:cxn ang="0">
                <a:pos x="csX197" y="csY197"/>
              </a:cxn>
              <a:cxn ang="0">
                <a:pos x="csX198" y="csY198"/>
              </a:cxn>
              <a:cxn ang="0">
                <a:pos x="csX199" y="csY199"/>
              </a:cxn>
              <a:cxn ang="0">
                <a:pos x="csX200" y="csY200"/>
              </a:cxn>
              <a:cxn ang="0">
                <a:pos x="csX201" y="csY201"/>
              </a:cxn>
              <a:cxn ang="0">
                <a:pos x="csX202" y="csY202"/>
              </a:cxn>
              <a:cxn ang="0">
                <a:pos x="csX203" y="csY203"/>
              </a:cxn>
              <a:cxn ang="0">
                <a:pos x="csX204" y="csY204"/>
              </a:cxn>
              <a:cxn ang="0">
                <a:pos x="csX205" y="csY205"/>
              </a:cxn>
              <a:cxn ang="0">
                <a:pos x="csX206" y="csY206"/>
              </a:cxn>
              <a:cxn ang="0">
                <a:pos x="csX207" y="csY207"/>
              </a:cxn>
              <a:cxn ang="0">
                <a:pos x="csX208" y="csY208"/>
              </a:cxn>
              <a:cxn ang="0">
                <a:pos x="csX209" y="csY209"/>
              </a:cxn>
              <a:cxn ang="0">
                <a:pos x="csX210" y="csY210"/>
              </a:cxn>
              <a:cxn ang="0">
                <a:pos x="csX211" y="csY211"/>
              </a:cxn>
              <a:cxn ang="0">
                <a:pos x="csX212" y="csY212"/>
              </a:cxn>
              <a:cxn ang="0">
                <a:pos x="csX213" y="csY213"/>
              </a:cxn>
              <a:cxn ang="0">
                <a:pos x="csX214" y="csY214"/>
              </a:cxn>
              <a:cxn ang="0">
                <a:pos x="csX215" y="csY215"/>
              </a:cxn>
              <a:cxn ang="0">
                <a:pos x="csX216" y="csY216"/>
              </a:cxn>
              <a:cxn ang="0">
                <a:pos x="csX217" y="csY217"/>
              </a:cxn>
              <a:cxn ang="0">
                <a:pos x="csX218" y="csY218"/>
              </a:cxn>
              <a:cxn ang="0">
                <a:pos x="csX219" y="csY219"/>
              </a:cxn>
              <a:cxn ang="0">
                <a:pos x="csX220" y="csY220"/>
              </a:cxn>
              <a:cxn ang="0">
                <a:pos x="csX221" y="csY221"/>
              </a:cxn>
              <a:cxn ang="0">
                <a:pos x="csX222" y="csY222"/>
              </a:cxn>
              <a:cxn ang="0">
                <a:pos x="csX223" y="csY223"/>
              </a:cxn>
              <a:cxn ang="0">
                <a:pos x="csX224" y="csY224"/>
              </a:cxn>
              <a:cxn ang="0">
                <a:pos x="csX225" y="csY225"/>
              </a:cxn>
              <a:cxn ang="0">
                <a:pos x="csX226" y="csY226"/>
              </a:cxn>
              <a:cxn ang="0">
                <a:pos x="csX227" y="csY227"/>
              </a:cxn>
              <a:cxn ang="0">
                <a:pos x="csX228" y="csY228"/>
              </a:cxn>
              <a:cxn ang="0">
                <a:pos x="csX229" y="csY229"/>
              </a:cxn>
              <a:cxn ang="0">
                <a:pos x="csX230" y="csY230"/>
              </a:cxn>
              <a:cxn ang="0">
                <a:pos x="csX231" y="csY231"/>
              </a:cxn>
              <a:cxn ang="0">
                <a:pos x="csX232" y="csY232"/>
              </a:cxn>
              <a:cxn ang="0">
                <a:pos x="csX233" y="csY233"/>
              </a:cxn>
              <a:cxn ang="0">
                <a:pos x="csX234" y="csY234"/>
              </a:cxn>
              <a:cxn ang="0">
                <a:pos x="csX235" y="csY235"/>
              </a:cxn>
              <a:cxn ang="0">
                <a:pos x="csX236" y="csY236"/>
              </a:cxn>
              <a:cxn ang="0">
                <a:pos x="csX237" y="csY237"/>
              </a:cxn>
              <a:cxn ang="0">
                <a:pos x="csX238" y="csY238"/>
              </a:cxn>
              <a:cxn ang="0">
                <a:pos x="csX239" y="csY239"/>
              </a:cxn>
              <a:cxn ang="0">
                <a:pos x="csX240" y="csY240"/>
              </a:cxn>
              <a:cxn ang="0">
                <a:pos x="csX241" y="csY241"/>
              </a:cxn>
              <a:cxn ang="0">
                <a:pos x="csX242" y="csY242"/>
              </a:cxn>
              <a:cxn ang="0">
                <a:pos x="csX243" y="csY243"/>
              </a:cxn>
              <a:cxn ang="0">
                <a:pos x="csX244" y="csY244"/>
              </a:cxn>
              <a:cxn ang="0">
                <a:pos x="csX245" y="csY245"/>
              </a:cxn>
              <a:cxn ang="0">
                <a:pos x="csX246" y="csY246"/>
              </a:cxn>
              <a:cxn ang="0">
                <a:pos x="csX247" y="csY247"/>
              </a:cxn>
              <a:cxn ang="0">
                <a:pos x="csX248" y="csY248"/>
              </a:cxn>
              <a:cxn ang="0">
                <a:pos x="csX249" y="csY249"/>
              </a:cxn>
              <a:cxn ang="0">
                <a:pos x="csX250" y="csY250"/>
              </a:cxn>
              <a:cxn ang="0">
                <a:pos x="csX251" y="csY251"/>
              </a:cxn>
              <a:cxn ang="0">
                <a:pos x="csX252" y="csY252"/>
              </a:cxn>
              <a:cxn ang="0">
                <a:pos x="csX253" y="csY253"/>
              </a:cxn>
              <a:cxn ang="0">
                <a:pos x="csX254" y="csY254"/>
              </a:cxn>
              <a:cxn ang="0">
                <a:pos x="csX255" y="csY255"/>
              </a:cxn>
              <a:cxn ang="0">
                <a:pos x="csX256" y="csY256"/>
              </a:cxn>
              <a:cxn ang="0">
                <a:pos x="csX257" y="csY257"/>
              </a:cxn>
              <a:cxn ang="0">
                <a:pos x="csX258" y="csY258"/>
              </a:cxn>
              <a:cxn ang="0">
                <a:pos x="csX259" y="csY259"/>
              </a:cxn>
              <a:cxn ang="0">
                <a:pos x="csX260" y="csY260"/>
              </a:cxn>
              <a:cxn ang="0">
                <a:pos x="csX261" y="csY261"/>
              </a:cxn>
              <a:cxn ang="0">
                <a:pos x="csX262" y="csY262"/>
              </a:cxn>
              <a:cxn ang="0">
                <a:pos x="csX263" y="csY263"/>
              </a:cxn>
              <a:cxn ang="0">
                <a:pos x="csX264" y="csY264"/>
              </a:cxn>
              <a:cxn ang="0">
                <a:pos x="csX265" y="csY265"/>
              </a:cxn>
              <a:cxn ang="0">
                <a:pos x="csX266" y="csY266"/>
              </a:cxn>
              <a:cxn ang="0">
                <a:pos x="csX267" y="csY267"/>
              </a:cxn>
              <a:cxn ang="0">
                <a:pos x="csX268" y="csY268"/>
              </a:cxn>
              <a:cxn ang="0">
                <a:pos x="csX269" y="csY269"/>
              </a:cxn>
              <a:cxn ang="0">
                <a:pos x="csX270" y="csY270"/>
              </a:cxn>
              <a:cxn ang="0">
                <a:pos x="csX271" y="csY271"/>
              </a:cxn>
              <a:cxn ang="0">
                <a:pos x="csX272" y="csY272"/>
              </a:cxn>
              <a:cxn ang="0">
                <a:pos x="csX273" y="csY273"/>
              </a:cxn>
              <a:cxn ang="0">
                <a:pos x="csX274" y="csY274"/>
              </a:cxn>
              <a:cxn ang="0">
                <a:pos x="csX275" y="csY275"/>
              </a:cxn>
              <a:cxn ang="0">
                <a:pos x="csX276" y="csY276"/>
              </a:cxn>
              <a:cxn ang="0">
                <a:pos x="csX277" y="csY277"/>
              </a:cxn>
              <a:cxn ang="0">
                <a:pos x="csX278" y="csY278"/>
              </a:cxn>
              <a:cxn ang="0">
                <a:pos x="csX279" y="csY279"/>
              </a:cxn>
              <a:cxn ang="0">
                <a:pos x="csX280" y="csY280"/>
              </a:cxn>
              <a:cxn ang="0">
                <a:pos x="csX281" y="csY281"/>
              </a:cxn>
              <a:cxn ang="0">
                <a:pos x="csX282" y="csY282"/>
              </a:cxn>
              <a:cxn ang="0">
                <a:pos x="csX283" y="csY283"/>
              </a:cxn>
              <a:cxn ang="0">
                <a:pos x="csX284" y="csY284"/>
              </a:cxn>
              <a:cxn ang="0">
                <a:pos x="csX285" y="csY285"/>
              </a:cxn>
              <a:cxn ang="0">
                <a:pos x="csX286" y="csY286"/>
              </a:cxn>
              <a:cxn ang="0">
                <a:pos x="csX287" y="csY287"/>
              </a:cxn>
              <a:cxn ang="0">
                <a:pos x="csX288" y="csY288"/>
              </a:cxn>
              <a:cxn ang="0">
                <a:pos x="csX289" y="csY289"/>
              </a:cxn>
              <a:cxn ang="0">
                <a:pos x="csX290" y="csY290"/>
              </a:cxn>
              <a:cxn ang="0">
                <a:pos x="csX291" y="csY291"/>
              </a:cxn>
              <a:cxn ang="0">
                <a:pos x="csX292" y="csY292"/>
              </a:cxn>
              <a:cxn ang="0">
                <a:pos x="csX293" y="csY293"/>
              </a:cxn>
              <a:cxn ang="0">
                <a:pos x="csX294" y="csY294"/>
              </a:cxn>
              <a:cxn ang="0">
                <a:pos x="csX295" y="csY295"/>
              </a:cxn>
              <a:cxn ang="0">
                <a:pos x="csX296" y="csY296"/>
              </a:cxn>
              <a:cxn ang="0">
                <a:pos x="csX297" y="csY297"/>
              </a:cxn>
              <a:cxn ang="0">
                <a:pos x="csX298" y="csY298"/>
              </a:cxn>
              <a:cxn ang="0">
                <a:pos x="csX299" y="csY299"/>
              </a:cxn>
              <a:cxn ang="0">
                <a:pos x="csX300" y="csY300"/>
              </a:cxn>
              <a:cxn ang="0">
                <a:pos x="csX301" y="csY301"/>
              </a:cxn>
              <a:cxn ang="0">
                <a:pos x="csX302" y="csY302"/>
              </a:cxn>
              <a:cxn ang="0">
                <a:pos x="csX303" y="csY303"/>
              </a:cxn>
              <a:cxn ang="0">
                <a:pos x="csX304" y="csY304"/>
              </a:cxn>
              <a:cxn ang="0">
                <a:pos x="csX305" y="csY305"/>
              </a:cxn>
              <a:cxn ang="0">
                <a:pos x="csX306" y="csY306"/>
              </a:cxn>
              <a:cxn ang="0">
                <a:pos x="csX307" y="csY307"/>
              </a:cxn>
              <a:cxn ang="0">
                <a:pos x="csX308" y="csY308"/>
              </a:cxn>
            </a:cxnLst>
            <a:rect l="l" t="t" r="r" b="b"/>
            <a:pathLst>
              <a:path w="1315852" h="3212801">
                <a:moveTo>
                  <a:pt x="898754" y="1637125"/>
                </a:moveTo>
                <a:cubicBezTo>
                  <a:pt x="899614" y="1640179"/>
                  <a:pt x="900338" y="1641975"/>
                  <a:pt x="900426" y="1643802"/>
                </a:cubicBezTo>
                <a:cubicBezTo>
                  <a:pt x="901475" y="1665651"/>
                  <a:pt x="902040" y="1687530"/>
                  <a:pt x="903549" y="1709345"/>
                </a:cubicBezTo>
                <a:cubicBezTo>
                  <a:pt x="904508" y="1723191"/>
                  <a:pt x="906945" y="1736929"/>
                  <a:pt x="908512" y="1750739"/>
                </a:cubicBezTo>
                <a:cubicBezTo>
                  <a:pt x="909768" y="1761809"/>
                  <a:pt x="910504" y="1772940"/>
                  <a:pt x="911839" y="1783999"/>
                </a:cubicBezTo>
                <a:cubicBezTo>
                  <a:pt x="914339" y="1804698"/>
                  <a:pt x="917061" y="1825371"/>
                  <a:pt x="919775" y="1846044"/>
                </a:cubicBezTo>
                <a:cubicBezTo>
                  <a:pt x="922673" y="1868112"/>
                  <a:pt x="925267" y="1890230"/>
                  <a:pt x="928724" y="1912212"/>
                </a:cubicBezTo>
                <a:cubicBezTo>
                  <a:pt x="933262" y="1941073"/>
                  <a:pt x="938122" y="1969897"/>
                  <a:pt x="943556" y="1998602"/>
                </a:cubicBezTo>
                <a:cubicBezTo>
                  <a:pt x="951321" y="2039621"/>
                  <a:pt x="959572" y="2080549"/>
                  <a:pt x="967918" y="2121455"/>
                </a:cubicBezTo>
                <a:cubicBezTo>
                  <a:pt x="974414" y="2153298"/>
                  <a:pt x="980861" y="2185166"/>
                  <a:pt x="988236" y="2216813"/>
                </a:cubicBezTo>
                <a:cubicBezTo>
                  <a:pt x="1001417" y="2273372"/>
                  <a:pt x="1015007" y="2329839"/>
                  <a:pt x="1028961" y="2386212"/>
                </a:cubicBezTo>
                <a:cubicBezTo>
                  <a:pt x="1037223" y="2419597"/>
                  <a:pt x="1046464" y="2452740"/>
                  <a:pt x="1055369" y="2485963"/>
                </a:cubicBezTo>
                <a:cubicBezTo>
                  <a:pt x="1057341" y="2493320"/>
                  <a:pt x="1060485" y="2498788"/>
                  <a:pt x="1069125" y="2501571"/>
                </a:cubicBezTo>
                <a:cubicBezTo>
                  <a:pt x="1081467" y="2505544"/>
                  <a:pt x="1093147" y="2511758"/>
                  <a:pt x="1104775" y="2517672"/>
                </a:cubicBezTo>
                <a:cubicBezTo>
                  <a:pt x="1109642" y="2520148"/>
                  <a:pt x="1114279" y="2523752"/>
                  <a:pt x="1117910" y="2527831"/>
                </a:cubicBezTo>
                <a:cubicBezTo>
                  <a:pt x="1124099" y="2534784"/>
                  <a:pt x="1126976" y="2542950"/>
                  <a:pt x="1122737" y="2552282"/>
                </a:cubicBezTo>
                <a:cubicBezTo>
                  <a:pt x="1120041" y="2558217"/>
                  <a:pt x="1118208" y="2564666"/>
                  <a:pt x="1114779" y="2570125"/>
                </a:cubicBezTo>
                <a:cubicBezTo>
                  <a:pt x="1104671" y="2586210"/>
                  <a:pt x="1107442" y="2602158"/>
                  <a:pt x="1114207" y="2618225"/>
                </a:cubicBezTo>
                <a:cubicBezTo>
                  <a:pt x="1121782" y="2636214"/>
                  <a:pt x="1134908" y="2650364"/>
                  <a:pt x="1148150" y="2663984"/>
                </a:cubicBezTo>
                <a:cubicBezTo>
                  <a:pt x="1166992" y="2683364"/>
                  <a:pt x="1187718" y="2700911"/>
                  <a:pt x="1206600" y="2720256"/>
                </a:cubicBezTo>
                <a:cubicBezTo>
                  <a:pt x="1242228" y="2756756"/>
                  <a:pt x="1266941" y="2799706"/>
                  <a:pt x="1275524" y="2850317"/>
                </a:cubicBezTo>
                <a:cubicBezTo>
                  <a:pt x="1278084" y="2865409"/>
                  <a:pt x="1281110" y="2880935"/>
                  <a:pt x="1277353" y="2897326"/>
                </a:cubicBezTo>
                <a:cubicBezTo>
                  <a:pt x="1274514" y="2909711"/>
                  <a:pt x="1274674" y="2923014"/>
                  <a:pt x="1271355" y="2935725"/>
                </a:cubicBezTo>
                <a:cubicBezTo>
                  <a:pt x="1269750" y="2941870"/>
                  <a:pt x="1270927" y="2948063"/>
                  <a:pt x="1274691" y="2954335"/>
                </a:cubicBezTo>
                <a:cubicBezTo>
                  <a:pt x="1288477" y="2977303"/>
                  <a:pt x="1297024" y="3002358"/>
                  <a:pt x="1301797" y="3028744"/>
                </a:cubicBezTo>
                <a:cubicBezTo>
                  <a:pt x="1305016" y="3046537"/>
                  <a:pt x="1309526" y="3064135"/>
                  <a:pt x="1311943" y="3082025"/>
                </a:cubicBezTo>
                <a:cubicBezTo>
                  <a:pt x="1314240" y="3099026"/>
                  <a:pt x="1314491" y="3116299"/>
                  <a:pt x="1315801" y="3133440"/>
                </a:cubicBezTo>
                <a:cubicBezTo>
                  <a:pt x="1316312" y="3140137"/>
                  <a:pt x="1313007" y="3144001"/>
                  <a:pt x="1307182" y="3146201"/>
                </a:cubicBezTo>
                <a:cubicBezTo>
                  <a:pt x="1298468" y="3149492"/>
                  <a:pt x="1289929" y="3153581"/>
                  <a:pt x="1280933" y="3155733"/>
                </a:cubicBezTo>
                <a:cubicBezTo>
                  <a:pt x="1243908" y="3164594"/>
                  <a:pt x="1206866" y="3173472"/>
                  <a:pt x="1169576" y="3181105"/>
                </a:cubicBezTo>
                <a:cubicBezTo>
                  <a:pt x="1145999" y="3185932"/>
                  <a:pt x="1122051" y="3189224"/>
                  <a:pt x="1098129" y="3192005"/>
                </a:cubicBezTo>
                <a:cubicBezTo>
                  <a:pt x="1074162" y="3194791"/>
                  <a:pt x="1050013" y="3195993"/>
                  <a:pt x="1025959" y="3198069"/>
                </a:cubicBezTo>
                <a:cubicBezTo>
                  <a:pt x="1007015" y="3199703"/>
                  <a:pt x="988093" y="3201610"/>
                  <a:pt x="969161" y="3203391"/>
                </a:cubicBezTo>
                <a:cubicBezTo>
                  <a:pt x="968232" y="3203478"/>
                  <a:pt x="967299" y="3203552"/>
                  <a:pt x="966367" y="3203587"/>
                </a:cubicBezTo>
                <a:cubicBezTo>
                  <a:pt x="941242" y="3204545"/>
                  <a:pt x="916121" y="3205640"/>
                  <a:pt x="890991" y="3206415"/>
                </a:cubicBezTo>
                <a:cubicBezTo>
                  <a:pt x="856053" y="3207494"/>
                  <a:pt x="820973" y="3206720"/>
                  <a:pt x="786197" y="3209641"/>
                </a:cubicBezTo>
                <a:cubicBezTo>
                  <a:pt x="730188" y="3214346"/>
                  <a:pt x="674133" y="3212833"/>
                  <a:pt x="618254" y="3211234"/>
                </a:cubicBezTo>
                <a:cubicBezTo>
                  <a:pt x="580962" y="3210166"/>
                  <a:pt x="543663" y="3210429"/>
                  <a:pt x="506392" y="3209195"/>
                </a:cubicBezTo>
                <a:cubicBezTo>
                  <a:pt x="485466" y="3208502"/>
                  <a:pt x="464553" y="3207412"/>
                  <a:pt x="443638" y="3206415"/>
                </a:cubicBezTo>
                <a:cubicBezTo>
                  <a:pt x="425522" y="3205552"/>
                  <a:pt x="407401" y="3204739"/>
                  <a:pt x="389301" y="3203597"/>
                </a:cubicBezTo>
                <a:cubicBezTo>
                  <a:pt x="361481" y="3201842"/>
                  <a:pt x="333617" y="3200446"/>
                  <a:pt x="305884" y="3197747"/>
                </a:cubicBezTo>
                <a:cubicBezTo>
                  <a:pt x="275907" y="3194830"/>
                  <a:pt x="246063" y="3190549"/>
                  <a:pt x="216151" y="3186940"/>
                </a:cubicBezTo>
                <a:cubicBezTo>
                  <a:pt x="191288" y="3183939"/>
                  <a:pt x="166206" y="3182205"/>
                  <a:pt x="141593" y="3177824"/>
                </a:cubicBezTo>
                <a:cubicBezTo>
                  <a:pt x="109171" y="3172054"/>
                  <a:pt x="77055" y="3164497"/>
                  <a:pt x="44929" y="3157176"/>
                </a:cubicBezTo>
                <a:cubicBezTo>
                  <a:pt x="33156" y="3154493"/>
                  <a:pt x="21711" y="3150349"/>
                  <a:pt x="10154" y="3146750"/>
                </a:cubicBezTo>
                <a:cubicBezTo>
                  <a:pt x="3067" y="3144544"/>
                  <a:pt x="-715" y="3140051"/>
                  <a:pt x="112" y="3132149"/>
                </a:cubicBezTo>
                <a:cubicBezTo>
                  <a:pt x="1898" y="3115092"/>
                  <a:pt x="2952" y="3097941"/>
                  <a:pt x="5263" y="3080960"/>
                </a:cubicBezTo>
                <a:cubicBezTo>
                  <a:pt x="7512" y="3064431"/>
                  <a:pt x="11458" y="3048135"/>
                  <a:pt x="13758" y="3031612"/>
                </a:cubicBezTo>
                <a:cubicBezTo>
                  <a:pt x="17373" y="3005647"/>
                  <a:pt x="28643" y="2982695"/>
                  <a:pt x="40996" y="2960204"/>
                </a:cubicBezTo>
                <a:cubicBezTo>
                  <a:pt x="43921" y="2954879"/>
                  <a:pt x="44978" y="2950688"/>
                  <a:pt x="43510" y="2944616"/>
                </a:cubicBezTo>
                <a:cubicBezTo>
                  <a:pt x="38022" y="2921926"/>
                  <a:pt x="34351" y="2898766"/>
                  <a:pt x="36916" y="2875457"/>
                </a:cubicBezTo>
                <a:cubicBezTo>
                  <a:pt x="38685" y="2859391"/>
                  <a:pt x="42237" y="2843358"/>
                  <a:pt x="46646" y="2827778"/>
                </a:cubicBezTo>
                <a:cubicBezTo>
                  <a:pt x="58040" y="2787514"/>
                  <a:pt x="79014" y="2752619"/>
                  <a:pt x="108895" y="2723307"/>
                </a:cubicBezTo>
                <a:cubicBezTo>
                  <a:pt x="135212" y="2697491"/>
                  <a:pt x="162086" y="2672243"/>
                  <a:pt x="188375" y="2646399"/>
                </a:cubicBezTo>
                <a:cubicBezTo>
                  <a:pt x="199778" y="2635188"/>
                  <a:pt x="207849" y="2622209"/>
                  <a:pt x="211535" y="2605867"/>
                </a:cubicBezTo>
                <a:cubicBezTo>
                  <a:pt x="214510" y="2592678"/>
                  <a:pt x="211592" y="2582100"/>
                  <a:pt x="205182" y="2571418"/>
                </a:cubicBezTo>
                <a:cubicBezTo>
                  <a:pt x="202318" y="2566645"/>
                  <a:pt x="198777" y="2562163"/>
                  <a:pt x="196651" y="2557085"/>
                </a:cubicBezTo>
                <a:cubicBezTo>
                  <a:pt x="190347" y="2542031"/>
                  <a:pt x="194717" y="2529077"/>
                  <a:pt x="209021" y="2521560"/>
                </a:cubicBezTo>
                <a:cubicBezTo>
                  <a:pt x="220978" y="2515277"/>
                  <a:pt x="233317" y="2509655"/>
                  <a:pt x="245764" y="2504395"/>
                </a:cubicBezTo>
                <a:cubicBezTo>
                  <a:pt x="254856" y="2500554"/>
                  <a:pt x="261020" y="2495272"/>
                  <a:pt x="263769" y="2485128"/>
                </a:cubicBezTo>
                <a:cubicBezTo>
                  <a:pt x="275569" y="2441581"/>
                  <a:pt x="288425" y="2398319"/>
                  <a:pt x="300045" y="2354726"/>
                </a:cubicBezTo>
                <a:cubicBezTo>
                  <a:pt x="309381" y="2319703"/>
                  <a:pt x="318110" y="2284492"/>
                  <a:pt x="326003" y="2249117"/>
                </a:cubicBezTo>
                <a:cubicBezTo>
                  <a:pt x="337625" y="2197029"/>
                  <a:pt x="348457" y="2144762"/>
                  <a:pt x="359250" y="2092493"/>
                </a:cubicBezTo>
                <a:cubicBezTo>
                  <a:pt x="365909" y="2060243"/>
                  <a:pt x="372293" y="2027924"/>
                  <a:pt x="378011" y="1995496"/>
                </a:cubicBezTo>
                <a:cubicBezTo>
                  <a:pt x="382679" y="1969018"/>
                  <a:pt x="386061" y="1942315"/>
                  <a:pt x="390230" y="1915745"/>
                </a:cubicBezTo>
                <a:cubicBezTo>
                  <a:pt x="393606" y="1894227"/>
                  <a:pt x="397846" y="1872831"/>
                  <a:pt x="400702" y="1851249"/>
                </a:cubicBezTo>
                <a:cubicBezTo>
                  <a:pt x="403440" y="1830558"/>
                  <a:pt x="404754" y="1809683"/>
                  <a:pt x="406954" y="1788916"/>
                </a:cubicBezTo>
                <a:cubicBezTo>
                  <a:pt x="408419" y="1775096"/>
                  <a:pt x="410485" y="1761340"/>
                  <a:pt x="412016" y="1747526"/>
                </a:cubicBezTo>
                <a:cubicBezTo>
                  <a:pt x="413295" y="1735991"/>
                  <a:pt x="414503" y="1724431"/>
                  <a:pt x="415185" y="1712850"/>
                </a:cubicBezTo>
                <a:cubicBezTo>
                  <a:pt x="416387" y="1692414"/>
                  <a:pt x="416884" y="1671935"/>
                  <a:pt x="418197" y="1651507"/>
                </a:cubicBezTo>
                <a:cubicBezTo>
                  <a:pt x="419655" y="1628814"/>
                  <a:pt x="422378" y="1606186"/>
                  <a:pt x="423324" y="1583479"/>
                </a:cubicBezTo>
                <a:cubicBezTo>
                  <a:pt x="424797" y="1548109"/>
                  <a:pt x="425243" y="1512695"/>
                  <a:pt x="426059" y="1477299"/>
                </a:cubicBezTo>
                <a:cubicBezTo>
                  <a:pt x="426077" y="1476493"/>
                  <a:pt x="425310" y="1475668"/>
                  <a:pt x="424204" y="1473415"/>
                </a:cubicBezTo>
                <a:cubicBezTo>
                  <a:pt x="413635" y="1472358"/>
                  <a:pt x="402157" y="1471516"/>
                  <a:pt x="390769" y="1470003"/>
                </a:cubicBezTo>
                <a:cubicBezTo>
                  <a:pt x="369635" y="1467195"/>
                  <a:pt x="348419" y="1464707"/>
                  <a:pt x="327487" y="1460760"/>
                </a:cubicBezTo>
                <a:cubicBezTo>
                  <a:pt x="305605" y="1456634"/>
                  <a:pt x="286603" y="1433026"/>
                  <a:pt x="289037" y="1410705"/>
                </a:cubicBezTo>
                <a:cubicBezTo>
                  <a:pt x="290343" y="1398733"/>
                  <a:pt x="289247" y="1386137"/>
                  <a:pt x="292610" y="1374826"/>
                </a:cubicBezTo>
                <a:cubicBezTo>
                  <a:pt x="299584" y="1351367"/>
                  <a:pt x="313866" y="1331810"/>
                  <a:pt x="335365" y="1319956"/>
                </a:cubicBezTo>
                <a:cubicBezTo>
                  <a:pt x="349736" y="1312032"/>
                  <a:pt x="355513" y="1300196"/>
                  <a:pt x="358966" y="1286091"/>
                </a:cubicBezTo>
                <a:cubicBezTo>
                  <a:pt x="363751" y="1266546"/>
                  <a:pt x="376163" y="1252003"/>
                  <a:pt x="390267" y="1239202"/>
                </a:cubicBezTo>
                <a:cubicBezTo>
                  <a:pt x="404675" y="1226125"/>
                  <a:pt x="421167" y="1215364"/>
                  <a:pt x="435898" y="1202610"/>
                </a:cubicBezTo>
                <a:cubicBezTo>
                  <a:pt x="439929" y="1199120"/>
                  <a:pt x="441515" y="1192282"/>
                  <a:pt x="443089" y="1186662"/>
                </a:cubicBezTo>
                <a:cubicBezTo>
                  <a:pt x="444184" y="1182756"/>
                  <a:pt x="443471" y="1178302"/>
                  <a:pt x="443336" y="1174100"/>
                </a:cubicBezTo>
                <a:cubicBezTo>
                  <a:pt x="443002" y="1163708"/>
                  <a:pt x="442564" y="1164032"/>
                  <a:pt x="432713" y="1161284"/>
                </a:cubicBezTo>
                <a:cubicBezTo>
                  <a:pt x="423812" y="1158801"/>
                  <a:pt x="415102" y="1155322"/>
                  <a:pt x="406712" y="1151413"/>
                </a:cubicBezTo>
                <a:cubicBezTo>
                  <a:pt x="398571" y="1147621"/>
                  <a:pt x="396617" y="1143812"/>
                  <a:pt x="399212" y="1135845"/>
                </a:cubicBezTo>
                <a:cubicBezTo>
                  <a:pt x="401786" y="1127943"/>
                  <a:pt x="404616" y="1119485"/>
                  <a:pt x="409719" y="1113213"/>
                </a:cubicBezTo>
                <a:cubicBezTo>
                  <a:pt x="415540" y="1106060"/>
                  <a:pt x="416443" y="1098866"/>
                  <a:pt x="414650" y="1091062"/>
                </a:cubicBezTo>
                <a:cubicBezTo>
                  <a:pt x="410906" y="1074773"/>
                  <a:pt x="407015" y="1058465"/>
                  <a:pt x="402048" y="1042520"/>
                </a:cubicBezTo>
                <a:cubicBezTo>
                  <a:pt x="390546" y="1005592"/>
                  <a:pt x="378091" y="968962"/>
                  <a:pt x="366526" y="932054"/>
                </a:cubicBezTo>
                <a:cubicBezTo>
                  <a:pt x="345804" y="865923"/>
                  <a:pt x="325665" y="799609"/>
                  <a:pt x="304855" y="733506"/>
                </a:cubicBezTo>
                <a:cubicBezTo>
                  <a:pt x="294926" y="701966"/>
                  <a:pt x="283362" y="670934"/>
                  <a:pt x="273722" y="639312"/>
                </a:cubicBezTo>
                <a:cubicBezTo>
                  <a:pt x="262471" y="602404"/>
                  <a:pt x="251509" y="565342"/>
                  <a:pt x="242525" y="527843"/>
                </a:cubicBezTo>
                <a:cubicBezTo>
                  <a:pt x="239293" y="514353"/>
                  <a:pt x="237774" y="498828"/>
                  <a:pt x="245838" y="485521"/>
                </a:cubicBezTo>
                <a:cubicBezTo>
                  <a:pt x="248810" y="480617"/>
                  <a:pt x="253278" y="475342"/>
                  <a:pt x="258319" y="473233"/>
                </a:cubicBezTo>
                <a:cubicBezTo>
                  <a:pt x="268936" y="468788"/>
                  <a:pt x="280185" y="464871"/>
                  <a:pt x="291527" y="463336"/>
                </a:cubicBezTo>
                <a:cubicBezTo>
                  <a:pt x="318626" y="459667"/>
                  <a:pt x="345903" y="457192"/>
                  <a:pt x="373160" y="454842"/>
                </a:cubicBezTo>
                <a:cubicBezTo>
                  <a:pt x="391221" y="453285"/>
                  <a:pt x="409382" y="452934"/>
                  <a:pt x="427480" y="451758"/>
                </a:cubicBezTo>
                <a:cubicBezTo>
                  <a:pt x="444131" y="450676"/>
                  <a:pt x="460757" y="449212"/>
                  <a:pt x="477998" y="447870"/>
                </a:cubicBezTo>
                <a:cubicBezTo>
                  <a:pt x="478532" y="446298"/>
                  <a:pt x="479654" y="444590"/>
                  <a:pt x="479585" y="442932"/>
                </a:cubicBezTo>
                <a:cubicBezTo>
                  <a:pt x="479223" y="434201"/>
                  <a:pt x="480208" y="426475"/>
                  <a:pt x="488907" y="421401"/>
                </a:cubicBezTo>
                <a:cubicBezTo>
                  <a:pt x="493200" y="418897"/>
                  <a:pt x="494755" y="414446"/>
                  <a:pt x="492315" y="409196"/>
                </a:cubicBezTo>
                <a:cubicBezTo>
                  <a:pt x="489226" y="402552"/>
                  <a:pt x="492501" y="398939"/>
                  <a:pt x="498582" y="396231"/>
                </a:cubicBezTo>
                <a:cubicBezTo>
                  <a:pt x="513139" y="389749"/>
                  <a:pt x="523218" y="378073"/>
                  <a:pt x="531424" y="365066"/>
                </a:cubicBezTo>
                <a:cubicBezTo>
                  <a:pt x="543844" y="345378"/>
                  <a:pt x="555388" y="325136"/>
                  <a:pt x="567201" y="305069"/>
                </a:cubicBezTo>
                <a:cubicBezTo>
                  <a:pt x="571692" y="297440"/>
                  <a:pt x="576215" y="289801"/>
                  <a:pt x="580157" y="281885"/>
                </a:cubicBezTo>
                <a:cubicBezTo>
                  <a:pt x="585924" y="270307"/>
                  <a:pt x="585466" y="269028"/>
                  <a:pt x="575177" y="258759"/>
                </a:cubicBezTo>
                <a:cubicBezTo>
                  <a:pt x="540669" y="263385"/>
                  <a:pt x="508449" y="279582"/>
                  <a:pt x="472048" y="283266"/>
                </a:cubicBezTo>
                <a:cubicBezTo>
                  <a:pt x="468926" y="225961"/>
                  <a:pt x="477230" y="170326"/>
                  <a:pt x="473659" y="112243"/>
                </a:cubicBezTo>
                <a:cubicBezTo>
                  <a:pt x="479647" y="113333"/>
                  <a:pt x="483524" y="113631"/>
                  <a:pt x="487139" y="114763"/>
                </a:cubicBezTo>
                <a:cubicBezTo>
                  <a:pt x="514644" y="123375"/>
                  <a:pt x="541992" y="132503"/>
                  <a:pt x="569608" y="140735"/>
                </a:cubicBezTo>
                <a:cubicBezTo>
                  <a:pt x="584612" y="145208"/>
                  <a:pt x="590199" y="139652"/>
                  <a:pt x="585180" y="124742"/>
                </a:cubicBezTo>
                <a:cubicBezTo>
                  <a:pt x="578949" y="106227"/>
                  <a:pt x="571109" y="88251"/>
                  <a:pt x="563868" y="70080"/>
                </a:cubicBezTo>
                <a:cubicBezTo>
                  <a:pt x="558214" y="55891"/>
                  <a:pt x="552416" y="41758"/>
                  <a:pt x="546041" y="26021"/>
                </a:cubicBezTo>
                <a:cubicBezTo>
                  <a:pt x="554662" y="23284"/>
                  <a:pt x="561452" y="20680"/>
                  <a:pt x="568462" y="18986"/>
                </a:cubicBezTo>
                <a:cubicBezTo>
                  <a:pt x="591481" y="13422"/>
                  <a:pt x="614656" y="8495"/>
                  <a:pt x="637623" y="2731"/>
                </a:cubicBezTo>
                <a:cubicBezTo>
                  <a:pt x="656287" y="-1953"/>
                  <a:pt x="674559" y="-81"/>
                  <a:pt x="692817" y="4346"/>
                </a:cubicBezTo>
                <a:cubicBezTo>
                  <a:pt x="714944" y="9710"/>
                  <a:pt x="737021" y="15284"/>
                  <a:pt x="759126" y="20739"/>
                </a:cubicBezTo>
                <a:cubicBezTo>
                  <a:pt x="763594" y="21842"/>
                  <a:pt x="768092" y="22819"/>
                  <a:pt x="774460" y="24289"/>
                </a:cubicBezTo>
                <a:cubicBezTo>
                  <a:pt x="766727" y="43585"/>
                  <a:pt x="759317" y="62457"/>
                  <a:pt x="751608" y="81205"/>
                </a:cubicBezTo>
                <a:cubicBezTo>
                  <a:pt x="743947" y="99838"/>
                  <a:pt x="734803" y="117984"/>
                  <a:pt x="731002" y="141135"/>
                </a:cubicBezTo>
                <a:cubicBezTo>
                  <a:pt x="739490" y="139636"/>
                  <a:pt x="744805" y="139073"/>
                  <a:pt x="749917" y="137732"/>
                </a:cubicBezTo>
                <a:cubicBezTo>
                  <a:pt x="778702" y="130182"/>
                  <a:pt x="807436" y="122435"/>
                  <a:pt x="836197" y="114792"/>
                </a:cubicBezTo>
                <a:cubicBezTo>
                  <a:pt x="838352" y="114219"/>
                  <a:pt x="840584" y="113934"/>
                  <a:pt x="843209" y="113433"/>
                </a:cubicBezTo>
                <a:cubicBezTo>
                  <a:pt x="843710" y="115876"/>
                  <a:pt x="844352" y="117648"/>
                  <a:pt x="844400" y="119435"/>
                </a:cubicBezTo>
                <a:cubicBezTo>
                  <a:pt x="845405" y="157181"/>
                  <a:pt x="846208" y="194932"/>
                  <a:pt x="847390" y="232672"/>
                </a:cubicBezTo>
                <a:cubicBezTo>
                  <a:pt x="847695" y="242389"/>
                  <a:pt x="849334" y="252058"/>
                  <a:pt x="850015" y="261773"/>
                </a:cubicBezTo>
                <a:cubicBezTo>
                  <a:pt x="850401" y="267273"/>
                  <a:pt x="850085" y="272822"/>
                  <a:pt x="850085" y="280220"/>
                </a:cubicBezTo>
                <a:cubicBezTo>
                  <a:pt x="837463" y="277293"/>
                  <a:pt x="826347" y="274822"/>
                  <a:pt x="815285" y="272127"/>
                </a:cubicBezTo>
                <a:cubicBezTo>
                  <a:pt x="795873" y="267398"/>
                  <a:pt x="776299" y="263181"/>
                  <a:pt x="757181" y="257455"/>
                </a:cubicBezTo>
                <a:cubicBezTo>
                  <a:pt x="747363" y="254515"/>
                  <a:pt x="739983" y="255620"/>
                  <a:pt x="732939" y="263859"/>
                </a:cubicBezTo>
                <a:cubicBezTo>
                  <a:pt x="735150" y="269003"/>
                  <a:pt x="737509" y="274491"/>
                  <a:pt x="739871" y="279988"/>
                </a:cubicBezTo>
                <a:cubicBezTo>
                  <a:pt x="735196" y="284033"/>
                  <a:pt x="730592" y="288016"/>
                  <a:pt x="725900" y="292074"/>
                </a:cubicBezTo>
                <a:cubicBezTo>
                  <a:pt x="731987" y="302329"/>
                  <a:pt x="739718" y="300546"/>
                  <a:pt x="747132" y="298017"/>
                </a:cubicBezTo>
                <a:cubicBezTo>
                  <a:pt x="758463" y="305429"/>
                  <a:pt x="762190" y="317570"/>
                  <a:pt x="768268" y="327815"/>
                </a:cubicBezTo>
                <a:cubicBezTo>
                  <a:pt x="774924" y="339037"/>
                  <a:pt x="780217" y="351080"/>
                  <a:pt x="785901" y="362862"/>
                </a:cubicBezTo>
                <a:cubicBezTo>
                  <a:pt x="788639" y="368539"/>
                  <a:pt x="792017" y="372441"/>
                  <a:pt x="798627" y="374591"/>
                </a:cubicBezTo>
                <a:cubicBezTo>
                  <a:pt x="809488" y="378123"/>
                  <a:pt x="810054" y="379498"/>
                  <a:pt x="815580" y="387899"/>
                </a:cubicBezTo>
                <a:cubicBezTo>
                  <a:pt x="814864" y="388896"/>
                  <a:pt x="814194" y="390825"/>
                  <a:pt x="813282" y="390947"/>
                </a:cubicBezTo>
                <a:cubicBezTo>
                  <a:pt x="801085" y="392587"/>
                  <a:pt x="788983" y="395969"/>
                  <a:pt x="776501" y="393213"/>
                </a:cubicBezTo>
                <a:cubicBezTo>
                  <a:pt x="752021" y="387807"/>
                  <a:pt x="727631" y="382034"/>
                  <a:pt x="702336" y="381496"/>
                </a:cubicBezTo>
                <a:cubicBezTo>
                  <a:pt x="688886" y="381209"/>
                  <a:pt x="675464" y="379722"/>
                  <a:pt x="662021" y="378921"/>
                </a:cubicBezTo>
                <a:cubicBezTo>
                  <a:pt x="656307" y="378581"/>
                  <a:pt x="651557" y="380270"/>
                  <a:pt x="651111" y="386942"/>
                </a:cubicBezTo>
                <a:cubicBezTo>
                  <a:pt x="649994" y="403641"/>
                  <a:pt x="648739" y="420346"/>
                  <a:pt x="648295" y="437069"/>
                </a:cubicBezTo>
                <a:cubicBezTo>
                  <a:pt x="648034" y="446937"/>
                  <a:pt x="650047" y="448870"/>
                  <a:pt x="659561" y="448907"/>
                </a:cubicBezTo>
                <a:cubicBezTo>
                  <a:pt x="706308" y="449089"/>
                  <a:pt x="753056" y="448964"/>
                  <a:pt x="799805" y="449022"/>
                </a:cubicBezTo>
                <a:cubicBezTo>
                  <a:pt x="806377" y="449030"/>
                  <a:pt x="809905" y="446744"/>
                  <a:pt x="811083" y="439581"/>
                </a:cubicBezTo>
                <a:cubicBezTo>
                  <a:pt x="811941" y="434369"/>
                  <a:pt x="814063" y="427618"/>
                  <a:pt x="817945" y="425008"/>
                </a:cubicBezTo>
                <a:cubicBezTo>
                  <a:pt x="826399" y="419324"/>
                  <a:pt x="828426" y="411596"/>
                  <a:pt x="828609" y="403122"/>
                </a:cubicBezTo>
                <a:cubicBezTo>
                  <a:pt x="833858" y="400461"/>
                  <a:pt x="837181" y="402725"/>
                  <a:pt x="838374" y="406435"/>
                </a:cubicBezTo>
                <a:cubicBezTo>
                  <a:pt x="840905" y="414312"/>
                  <a:pt x="843515" y="422394"/>
                  <a:pt x="844275" y="430561"/>
                </a:cubicBezTo>
                <a:cubicBezTo>
                  <a:pt x="845704" y="445903"/>
                  <a:pt x="850511" y="450005"/>
                  <a:pt x="865761" y="447068"/>
                </a:cubicBezTo>
                <a:cubicBezTo>
                  <a:pt x="872626" y="445746"/>
                  <a:pt x="878915" y="445539"/>
                  <a:pt x="885673" y="449965"/>
                </a:cubicBezTo>
                <a:cubicBezTo>
                  <a:pt x="890708" y="453263"/>
                  <a:pt x="898041" y="453271"/>
                  <a:pt x="904428" y="454230"/>
                </a:cubicBezTo>
                <a:cubicBezTo>
                  <a:pt x="913142" y="455538"/>
                  <a:pt x="921904" y="456741"/>
                  <a:pt x="930689" y="457318"/>
                </a:cubicBezTo>
                <a:cubicBezTo>
                  <a:pt x="967829" y="459759"/>
                  <a:pt x="1003019" y="469066"/>
                  <a:pt x="1036296" y="485877"/>
                </a:cubicBezTo>
                <a:cubicBezTo>
                  <a:pt x="1057129" y="496401"/>
                  <a:pt x="1071673" y="512633"/>
                  <a:pt x="1076027" y="535212"/>
                </a:cubicBezTo>
                <a:cubicBezTo>
                  <a:pt x="1078694" y="549043"/>
                  <a:pt x="1078298" y="564366"/>
                  <a:pt x="1075403" y="578208"/>
                </a:cubicBezTo>
                <a:cubicBezTo>
                  <a:pt x="1064597" y="629873"/>
                  <a:pt x="1044688" y="678854"/>
                  <a:pt x="1028317" y="728867"/>
                </a:cubicBezTo>
                <a:cubicBezTo>
                  <a:pt x="1014112" y="772262"/>
                  <a:pt x="998310" y="815132"/>
                  <a:pt x="983498" y="858331"/>
                </a:cubicBezTo>
                <a:cubicBezTo>
                  <a:pt x="971714" y="892697"/>
                  <a:pt x="959865" y="927055"/>
                  <a:pt x="948940" y="961698"/>
                </a:cubicBezTo>
                <a:cubicBezTo>
                  <a:pt x="935780" y="1003426"/>
                  <a:pt x="923502" y="1045433"/>
                  <a:pt x="911066" y="1087385"/>
                </a:cubicBezTo>
                <a:cubicBezTo>
                  <a:pt x="910087" y="1090688"/>
                  <a:pt x="910738" y="1094511"/>
                  <a:pt x="910828" y="1098086"/>
                </a:cubicBezTo>
                <a:cubicBezTo>
                  <a:pt x="911096" y="1108800"/>
                  <a:pt x="911984" y="1119535"/>
                  <a:pt x="911498" y="1130209"/>
                </a:cubicBezTo>
                <a:cubicBezTo>
                  <a:pt x="911333" y="1133841"/>
                  <a:pt x="908325" y="1137771"/>
                  <a:pt x="905716" y="1140786"/>
                </a:cubicBezTo>
                <a:cubicBezTo>
                  <a:pt x="896689" y="1151217"/>
                  <a:pt x="895625" y="1160669"/>
                  <a:pt x="904041" y="1171694"/>
                </a:cubicBezTo>
                <a:cubicBezTo>
                  <a:pt x="912211" y="1182398"/>
                  <a:pt x="921368" y="1192341"/>
                  <a:pt x="929797" y="1202854"/>
                </a:cubicBezTo>
                <a:cubicBezTo>
                  <a:pt x="945705" y="1222696"/>
                  <a:pt x="952969" y="1246039"/>
                  <a:pt x="956714" y="1270749"/>
                </a:cubicBezTo>
                <a:cubicBezTo>
                  <a:pt x="957687" y="1277170"/>
                  <a:pt x="957779" y="1283963"/>
                  <a:pt x="960074" y="1289888"/>
                </a:cubicBezTo>
                <a:cubicBezTo>
                  <a:pt x="963075" y="1297631"/>
                  <a:pt x="967750" y="1304358"/>
                  <a:pt x="975795" y="1308746"/>
                </a:cubicBezTo>
                <a:cubicBezTo>
                  <a:pt x="985143" y="1313846"/>
                  <a:pt x="994116" y="1319926"/>
                  <a:pt x="1002397" y="1326635"/>
                </a:cubicBezTo>
                <a:cubicBezTo>
                  <a:pt x="1030424" y="1349343"/>
                  <a:pt x="1038408" y="1401530"/>
                  <a:pt x="1018686" y="1435905"/>
                </a:cubicBezTo>
                <a:cubicBezTo>
                  <a:pt x="1013500" y="1444943"/>
                  <a:pt x="1005098" y="1450152"/>
                  <a:pt x="996257" y="1454107"/>
                </a:cubicBezTo>
                <a:cubicBezTo>
                  <a:pt x="988281" y="1457674"/>
                  <a:pt x="979503" y="1460398"/>
                  <a:pt x="970849" y="1461303"/>
                </a:cubicBezTo>
                <a:cubicBezTo>
                  <a:pt x="953296" y="1463139"/>
                  <a:pt x="935587" y="1463487"/>
                  <a:pt x="917943" y="1464461"/>
                </a:cubicBezTo>
                <a:cubicBezTo>
                  <a:pt x="913762" y="1464691"/>
                  <a:pt x="909478" y="1464482"/>
                  <a:pt x="905433" y="1465358"/>
                </a:cubicBezTo>
                <a:cubicBezTo>
                  <a:pt x="901150" y="1466287"/>
                  <a:pt x="897709" y="1468792"/>
                  <a:pt x="897863" y="1474014"/>
                </a:cubicBezTo>
                <a:cubicBezTo>
                  <a:pt x="897877" y="1474480"/>
                  <a:pt x="897822" y="1474948"/>
                  <a:pt x="897812" y="1475415"/>
                </a:cubicBezTo>
                <a:cubicBezTo>
                  <a:pt x="897511" y="1490282"/>
                  <a:pt x="898056" y="1504999"/>
                  <a:pt x="895549" y="1519988"/>
                </a:cubicBezTo>
                <a:cubicBezTo>
                  <a:pt x="893039" y="1534995"/>
                  <a:pt x="894597" y="1550763"/>
                  <a:pt x="895093" y="1566174"/>
                </a:cubicBezTo>
                <a:cubicBezTo>
                  <a:pt x="895841" y="1589420"/>
                  <a:pt x="897215" y="1612646"/>
                  <a:pt x="898754" y="1637125"/>
                </a:cubicBezTo>
                <a:moveTo>
                  <a:pt x="654604" y="2329281"/>
                </a:moveTo>
                <a:cubicBezTo>
                  <a:pt x="652015" y="2310116"/>
                  <a:pt x="655822" y="2290495"/>
                  <a:pt x="650429" y="2271391"/>
                </a:cubicBezTo>
                <a:cubicBezTo>
                  <a:pt x="648307" y="2277580"/>
                  <a:pt x="648156" y="2283761"/>
                  <a:pt x="648148" y="2289942"/>
                </a:cubicBezTo>
                <a:cubicBezTo>
                  <a:pt x="648117" y="2315944"/>
                  <a:pt x="648093" y="2341946"/>
                  <a:pt x="648156" y="2367948"/>
                </a:cubicBezTo>
                <a:cubicBezTo>
                  <a:pt x="648168" y="2372820"/>
                  <a:pt x="646633" y="2378876"/>
                  <a:pt x="655577" y="2381454"/>
                </a:cubicBezTo>
                <a:cubicBezTo>
                  <a:pt x="655560" y="2389285"/>
                  <a:pt x="655756" y="2397123"/>
                  <a:pt x="655485" y="2404945"/>
                </a:cubicBezTo>
                <a:cubicBezTo>
                  <a:pt x="654880" y="2422378"/>
                  <a:pt x="654042" y="2439804"/>
                  <a:pt x="651805" y="2455510"/>
                </a:cubicBezTo>
                <a:cubicBezTo>
                  <a:pt x="651527" y="2435450"/>
                  <a:pt x="651319" y="2415390"/>
                  <a:pt x="650902" y="2395333"/>
                </a:cubicBezTo>
                <a:cubicBezTo>
                  <a:pt x="650837" y="2392220"/>
                  <a:pt x="649823" y="2389127"/>
                  <a:pt x="649248" y="2386025"/>
                </a:cubicBezTo>
                <a:cubicBezTo>
                  <a:pt x="647943" y="2386187"/>
                  <a:pt x="646638" y="2386350"/>
                  <a:pt x="645333" y="2386512"/>
                </a:cubicBezTo>
                <a:cubicBezTo>
                  <a:pt x="645333" y="2390961"/>
                  <a:pt x="645334" y="2395409"/>
                  <a:pt x="645333" y="2399858"/>
                </a:cubicBezTo>
                <a:cubicBezTo>
                  <a:pt x="645326" y="2423694"/>
                  <a:pt x="645418" y="2447532"/>
                  <a:pt x="645232" y="2471367"/>
                </a:cubicBezTo>
                <a:cubicBezTo>
                  <a:pt x="645193" y="2476432"/>
                  <a:pt x="644504" y="2481563"/>
                  <a:pt x="643489" y="2486535"/>
                </a:cubicBezTo>
                <a:cubicBezTo>
                  <a:pt x="639304" y="2507036"/>
                  <a:pt x="642157" y="2510950"/>
                  <a:pt x="662548" y="2510760"/>
                </a:cubicBezTo>
                <a:cubicBezTo>
                  <a:pt x="755908" y="2509888"/>
                  <a:pt x="849266" y="2508878"/>
                  <a:pt x="942625" y="2507990"/>
                </a:cubicBezTo>
                <a:cubicBezTo>
                  <a:pt x="960852" y="2507816"/>
                  <a:pt x="979082" y="2508002"/>
                  <a:pt x="997309" y="2507928"/>
                </a:cubicBezTo>
                <a:cubicBezTo>
                  <a:pt x="1001871" y="2507910"/>
                  <a:pt x="1006430" y="2507531"/>
                  <a:pt x="1012693" y="2507237"/>
                </a:cubicBezTo>
                <a:cubicBezTo>
                  <a:pt x="1012056" y="2501789"/>
                  <a:pt x="1012084" y="2497264"/>
                  <a:pt x="1010948" y="2493054"/>
                </a:cubicBezTo>
                <a:cubicBezTo>
                  <a:pt x="1001379" y="2457588"/>
                  <a:pt x="991103" y="2422306"/>
                  <a:pt x="982017" y="2386719"/>
                </a:cubicBezTo>
                <a:cubicBezTo>
                  <a:pt x="972598" y="2349832"/>
                  <a:pt x="963965" y="2312735"/>
                  <a:pt x="955543" y="2275604"/>
                </a:cubicBezTo>
                <a:cubicBezTo>
                  <a:pt x="944249" y="2225808"/>
                  <a:pt x="933022" y="2175988"/>
                  <a:pt x="922638" y="2125997"/>
                </a:cubicBezTo>
                <a:cubicBezTo>
                  <a:pt x="913587" y="2082421"/>
                  <a:pt x="905382" y="2038659"/>
                  <a:pt x="897474" y="1994858"/>
                </a:cubicBezTo>
                <a:cubicBezTo>
                  <a:pt x="890476" y="1956093"/>
                  <a:pt x="883980" y="1917224"/>
                  <a:pt x="878061" y="1878280"/>
                </a:cubicBezTo>
                <a:cubicBezTo>
                  <a:pt x="873675" y="1849428"/>
                  <a:pt x="870415" y="1820399"/>
                  <a:pt x="866965" y="1791411"/>
                </a:cubicBezTo>
                <a:cubicBezTo>
                  <a:pt x="865539" y="1779434"/>
                  <a:pt x="865114" y="1767342"/>
                  <a:pt x="863902" y="1755335"/>
                </a:cubicBezTo>
                <a:cubicBezTo>
                  <a:pt x="861296" y="1729506"/>
                  <a:pt x="857509" y="1703754"/>
                  <a:pt x="855983" y="1677866"/>
                </a:cubicBezTo>
                <a:cubicBezTo>
                  <a:pt x="854037" y="1644859"/>
                  <a:pt x="853904" y="1611748"/>
                  <a:pt x="852873" y="1578685"/>
                </a:cubicBezTo>
                <a:cubicBezTo>
                  <a:pt x="852423" y="1564271"/>
                  <a:pt x="849465" y="1549523"/>
                  <a:pt x="851635" y="1535546"/>
                </a:cubicBezTo>
                <a:cubicBezTo>
                  <a:pt x="854359" y="1517991"/>
                  <a:pt x="850206" y="1501278"/>
                  <a:pt x="850039" y="1484182"/>
                </a:cubicBezTo>
                <a:cubicBezTo>
                  <a:pt x="850005" y="1480667"/>
                  <a:pt x="849101" y="1477161"/>
                  <a:pt x="848486" y="1472876"/>
                </a:cubicBezTo>
                <a:cubicBezTo>
                  <a:pt x="842279" y="1472876"/>
                  <a:pt x="837173" y="1472798"/>
                  <a:pt x="832070" y="1472888"/>
                </a:cubicBezTo>
                <a:cubicBezTo>
                  <a:pt x="780308" y="1473806"/>
                  <a:pt x="728546" y="1474749"/>
                  <a:pt x="676784" y="1475691"/>
                </a:cubicBezTo>
                <a:cubicBezTo>
                  <a:pt x="663422" y="1475935"/>
                  <a:pt x="662442" y="1476899"/>
                  <a:pt x="662172" y="1490031"/>
                </a:cubicBezTo>
                <a:cubicBezTo>
                  <a:pt x="662124" y="1492367"/>
                  <a:pt x="662222" y="1494706"/>
                  <a:pt x="662153" y="1497041"/>
                </a:cubicBezTo>
                <a:cubicBezTo>
                  <a:pt x="660720" y="1545521"/>
                  <a:pt x="663794" y="1593996"/>
                  <a:pt x="659832" y="1642548"/>
                </a:cubicBezTo>
                <a:cubicBezTo>
                  <a:pt x="656616" y="1681972"/>
                  <a:pt x="657530" y="1721730"/>
                  <a:pt x="656544" y="1761338"/>
                </a:cubicBezTo>
                <a:cubicBezTo>
                  <a:pt x="655035" y="1821971"/>
                  <a:pt x="657667" y="1882583"/>
                  <a:pt x="654344" y="1943296"/>
                </a:cubicBezTo>
                <a:cubicBezTo>
                  <a:pt x="650802" y="2008002"/>
                  <a:pt x="651715" y="2072959"/>
                  <a:pt x="651002" y="2137811"/>
                </a:cubicBezTo>
                <a:cubicBezTo>
                  <a:pt x="650627" y="2171926"/>
                  <a:pt x="650929" y="2206049"/>
                  <a:pt x="650933" y="2240168"/>
                </a:cubicBezTo>
                <a:cubicBezTo>
                  <a:pt x="650933" y="2243439"/>
                  <a:pt x="650161" y="2247032"/>
                  <a:pt x="651273" y="2249880"/>
                </a:cubicBezTo>
                <a:cubicBezTo>
                  <a:pt x="652187" y="2252220"/>
                  <a:pt x="655368" y="2253675"/>
                  <a:pt x="658332" y="2258024"/>
                </a:cubicBezTo>
                <a:cubicBezTo>
                  <a:pt x="657587" y="2282352"/>
                  <a:pt x="656842" y="2306679"/>
                  <a:pt x="654604" y="2329281"/>
                </a:cubicBezTo>
                <a:moveTo>
                  <a:pt x="999154" y="2930680"/>
                </a:moveTo>
                <a:cubicBezTo>
                  <a:pt x="1074430" y="2924379"/>
                  <a:pt x="1149252" y="2914341"/>
                  <a:pt x="1224400" y="2904672"/>
                </a:cubicBezTo>
                <a:cubicBezTo>
                  <a:pt x="1224983" y="2900287"/>
                  <a:pt x="1225723" y="2897124"/>
                  <a:pt x="1225778" y="2893948"/>
                </a:cubicBezTo>
                <a:cubicBezTo>
                  <a:pt x="1226437" y="2856188"/>
                  <a:pt x="1218943" y="2820187"/>
                  <a:pt x="1197990" y="2788499"/>
                </a:cubicBezTo>
                <a:cubicBezTo>
                  <a:pt x="1185967" y="2770315"/>
                  <a:pt x="1171427" y="2753616"/>
                  <a:pt x="1156721" y="2737429"/>
                </a:cubicBezTo>
                <a:cubicBezTo>
                  <a:pt x="1137254" y="2716002"/>
                  <a:pt x="1115793" y="2696376"/>
                  <a:pt x="1096512" y="2674794"/>
                </a:cubicBezTo>
                <a:cubicBezTo>
                  <a:pt x="1073694" y="2649251"/>
                  <a:pt x="1056484" y="2620624"/>
                  <a:pt x="1056842" y="2584575"/>
                </a:cubicBezTo>
                <a:cubicBezTo>
                  <a:pt x="1056854" y="2583302"/>
                  <a:pt x="1056015" y="2582020"/>
                  <a:pt x="1055233" y="2579758"/>
                </a:cubicBezTo>
                <a:cubicBezTo>
                  <a:pt x="1042855" y="2580471"/>
                  <a:pt x="1030372" y="2580868"/>
                  <a:pt x="1017950" y="2581956"/>
                </a:cubicBezTo>
                <a:cubicBezTo>
                  <a:pt x="940684" y="2588728"/>
                  <a:pt x="863326" y="2593894"/>
                  <a:pt x="785764" y="2595473"/>
                </a:cubicBezTo>
                <a:cubicBezTo>
                  <a:pt x="745592" y="2596290"/>
                  <a:pt x="705413" y="2596778"/>
                  <a:pt x="665238" y="2597498"/>
                </a:cubicBezTo>
                <a:cubicBezTo>
                  <a:pt x="661698" y="2597562"/>
                  <a:pt x="658168" y="2598244"/>
                  <a:pt x="654332" y="2598673"/>
                </a:cubicBezTo>
                <a:cubicBezTo>
                  <a:pt x="664449" y="2711162"/>
                  <a:pt x="659668" y="2822547"/>
                  <a:pt x="653026" y="2935427"/>
                </a:cubicBezTo>
                <a:cubicBezTo>
                  <a:pt x="768837" y="2937973"/>
                  <a:pt x="882730" y="2939028"/>
                  <a:pt x="999154" y="2930680"/>
                </a:cubicBezTo>
                <a:moveTo>
                  <a:pt x="947894" y="3022480"/>
                </a:moveTo>
                <a:cubicBezTo>
                  <a:pt x="916629" y="3024040"/>
                  <a:pt x="885376" y="3026565"/>
                  <a:pt x="854096" y="3026952"/>
                </a:cubicBezTo>
                <a:cubicBezTo>
                  <a:pt x="794764" y="3027687"/>
                  <a:pt x="735417" y="3027198"/>
                  <a:pt x="676076" y="3027217"/>
                </a:cubicBezTo>
                <a:cubicBezTo>
                  <a:pt x="670121" y="3027219"/>
                  <a:pt x="664166" y="3027217"/>
                  <a:pt x="657155" y="3027217"/>
                </a:cubicBezTo>
                <a:cubicBezTo>
                  <a:pt x="655529" y="3062293"/>
                  <a:pt x="651846" y="3095886"/>
                  <a:pt x="650929" y="3130009"/>
                </a:cubicBezTo>
                <a:cubicBezTo>
                  <a:pt x="656057" y="3130467"/>
                  <a:pt x="659260" y="3130899"/>
                  <a:pt x="662475" y="3131016"/>
                </a:cubicBezTo>
                <a:cubicBezTo>
                  <a:pt x="700300" y="3132391"/>
                  <a:pt x="738118" y="3134111"/>
                  <a:pt x="775955" y="3134982"/>
                </a:cubicBezTo>
                <a:cubicBezTo>
                  <a:pt x="871340" y="3137178"/>
                  <a:pt x="966589" y="3135038"/>
                  <a:pt x="1061598" y="3125377"/>
                </a:cubicBezTo>
                <a:cubicBezTo>
                  <a:pt x="1124889" y="3118941"/>
                  <a:pt x="1187609" y="3109276"/>
                  <a:pt x="1249397" y="3093967"/>
                </a:cubicBezTo>
                <a:cubicBezTo>
                  <a:pt x="1253752" y="3092888"/>
                  <a:pt x="1257981" y="3091298"/>
                  <a:pt x="1262842" y="3089764"/>
                </a:cubicBezTo>
                <a:cubicBezTo>
                  <a:pt x="1259040" y="3062969"/>
                  <a:pt x="1254881" y="3037707"/>
                  <a:pt x="1244253" y="3014005"/>
                </a:cubicBezTo>
                <a:cubicBezTo>
                  <a:pt x="1242547" y="3010201"/>
                  <a:pt x="1239948" y="3006798"/>
                  <a:pt x="1237768" y="3003206"/>
                </a:cubicBezTo>
                <a:cubicBezTo>
                  <a:pt x="1233239" y="2995743"/>
                  <a:pt x="1227131" y="2992138"/>
                  <a:pt x="1217957" y="2993424"/>
                </a:cubicBezTo>
                <a:cubicBezTo>
                  <a:pt x="1199921" y="2995951"/>
                  <a:pt x="1181756" y="2997558"/>
                  <a:pt x="1163725" y="3000119"/>
                </a:cubicBezTo>
                <a:cubicBezTo>
                  <a:pt x="1092925" y="3010176"/>
                  <a:pt x="1021883" y="3017834"/>
                  <a:pt x="947894" y="3022480"/>
                </a:cubicBezTo>
                <a:moveTo>
                  <a:pt x="784197" y="1352777"/>
                </a:moveTo>
                <a:cubicBezTo>
                  <a:pt x="766462" y="1353462"/>
                  <a:pt x="748731" y="1354287"/>
                  <a:pt x="730991" y="1354793"/>
                </a:cubicBezTo>
                <a:cubicBezTo>
                  <a:pt x="712981" y="1355307"/>
                  <a:pt x="694940" y="1355183"/>
                  <a:pt x="676320" y="1356902"/>
                </a:cubicBezTo>
                <a:cubicBezTo>
                  <a:pt x="674799" y="1378289"/>
                  <a:pt x="673393" y="1398039"/>
                  <a:pt x="671906" y="1418933"/>
                </a:cubicBezTo>
                <a:cubicBezTo>
                  <a:pt x="677552" y="1418933"/>
                  <a:pt x="681678" y="1419046"/>
                  <a:pt x="685797" y="1418917"/>
                </a:cubicBezTo>
                <a:cubicBezTo>
                  <a:pt x="774966" y="1416107"/>
                  <a:pt x="864134" y="1413293"/>
                  <a:pt x="953300" y="1410383"/>
                </a:cubicBezTo>
                <a:cubicBezTo>
                  <a:pt x="958412" y="1410216"/>
                  <a:pt x="963542" y="1409471"/>
                  <a:pt x="968586" y="1408564"/>
                </a:cubicBezTo>
                <a:cubicBezTo>
                  <a:pt x="978218" y="1406833"/>
                  <a:pt x="980261" y="1404383"/>
                  <a:pt x="980375" y="1394590"/>
                </a:cubicBezTo>
                <a:cubicBezTo>
                  <a:pt x="980521" y="1382101"/>
                  <a:pt x="976026" y="1371666"/>
                  <a:pt x="965591" y="1364447"/>
                </a:cubicBezTo>
                <a:cubicBezTo>
                  <a:pt x="948967" y="1352947"/>
                  <a:pt x="930599" y="1347277"/>
                  <a:pt x="910211" y="1348103"/>
                </a:cubicBezTo>
                <a:cubicBezTo>
                  <a:pt x="869142" y="1349769"/>
                  <a:pt x="828062" y="1351175"/>
                  <a:pt x="784197" y="1352777"/>
                </a:cubicBezTo>
                <a:moveTo>
                  <a:pt x="648129" y="615881"/>
                </a:moveTo>
                <a:cubicBezTo>
                  <a:pt x="649058" y="632117"/>
                  <a:pt x="650192" y="648345"/>
                  <a:pt x="650869" y="664591"/>
                </a:cubicBezTo>
                <a:cubicBezTo>
                  <a:pt x="652013" y="692034"/>
                  <a:pt x="650274" y="719448"/>
                  <a:pt x="653223" y="746994"/>
                </a:cubicBezTo>
                <a:cubicBezTo>
                  <a:pt x="656187" y="774679"/>
                  <a:pt x="652958" y="802766"/>
                  <a:pt x="656163" y="830737"/>
                </a:cubicBezTo>
                <a:cubicBezTo>
                  <a:pt x="658910" y="854709"/>
                  <a:pt x="656763" y="879007"/>
                  <a:pt x="658740" y="903281"/>
                </a:cubicBezTo>
                <a:cubicBezTo>
                  <a:pt x="661875" y="941767"/>
                  <a:pt x="661060" y="980568"/>
                  <a:pt x="662209" y="1019226"/>
                </a:cubicBezTo>
                <a:cubicBezTo>
                  <a:pt x="662831" y="1040143"/>
                  <a:pt x="663923" y="1061048"/>
                  <a:pt x="665088" y="1081942"/>
                </a:cubicBezTo>
                <a:cubicBezTo>
                  <a:pt x="665498" y="1089302"/>
                  <a:pt x="668166" y="1091025"/>
                  <a:pt x="674628" y="1090643"/>
                </a:cubicBezTo>
                <a:cubicBezTo>
                  <a:pt x="703841" y="1088916"/>
                  <a:pt x="733054" y="1087111"/>
                  <a:pt x="762289" y="1085865"/>
                </a:cubicBezTo>
                <a:cubicBezTo>
                  <a:pt x="792528" y="1084574"/>
                  <a:pt x="822793" y="1083894"/>
                  <a:pt x="853046" y="1082948"/>
                </a:cubicBezTo>
                <a:cubicBezTo>
                  <a:pt x="853513" y="1082934"/>
                  <a:pt x="853981" y="1082919"/>
                  <a:pt x="854448" y="1082924"/>
                </a:cubicBezTo>
                <a:cubicBezTo>
                  <a:pt x="860299" y="1082998"/>
                  <a:pt x="864379" y="1080055"/>
                  <a:pt x="866364" y="1074839"/>
                </a:cubicBezTo>
                <a:cubicBezTo>
                  <a:pt x="874977" y="1052218"/>
                  <a:pt x="883766" y="1029650"/>
                  <a:pt x="891726" y="1006797"/>
                </a:cubicBezTo>
                <a:cubicBezTo>
                  <a:pt x="899510" y="984448"/>
                  <a:pt x="905967" y="961638"/>
                  <a:pt x="913720" y="939278"/>
                </a:cubicBezTo>
                <a:cubicBezTo>
                  <a:pt x="926840" y="901438"/>
                  <a:pt x="940566" y="863808"/>
                  <a:pt x="953952" y="826060"/>
                </a:cubicBezTo>
                <a:cubicBezTo>
                  <a:pt x="965626" y="793139"/>
                  <a:pt x="977165" y="760170"/>
                  <a:pt x="988796" y="727233"/>
                </a:cubicBezTo>
                <a:cubicBezTo>
                  <a:pt x="1004602" y="682474"/>
                  <a:pt x="1020729" y="637825"/>
                  <a:pt x="1036110" y="592920"/>
                </a:cubicBezTo>
                <a:cubicBezTo>
                  <a:pt x="1041693" y="576621"/>
                  <a:pt x="1044731" y="559627"/>
                  <a:pt x="1043677" y="542152"/>
                </a:cubicBezTo>
                <a:cubicBezTo>
                  <a:pt x="1043059" y="531887"/>
                  <a:pt x="1040345" y="522522"/>
                  <a:pt x="1030884" y="517222"/>
                </a:cubicBezTo>
                <a:cubicBezTo>
                  <a:pt x="1024045" y="513391"/>
                  <a:pt x="1016699" y="510004"/>
                  <a:pt x="1009162" y="507963"/>
                </a:cubicBezTo>
                <a:cubicBezTo>
                  <a:pt x="983620" y="501048"/>
                  <a:pt x="957981" y="494740"/>
                  <a:pt x="931266" y="493552"/>
                </a:cubicBezTo>
                <a:cubicBezTo>
                  <a:pt x="914169" y="492791"/>
                  <a:pt x="897177" y="489870"/>
                  <a:pt x="880100" y="488348"/>
                </a:cubicBezTo>
                <a:cubicBezTo>
                  <a:pt x="865298" y="487029"/>
                  <a:pt x="850441" y="486332"/>
                  <a:pt x="835610" y="485330"/>
                </a:cubicBezTo>
                <a:cubicBezTo>
                  <a:pt x="808745" y="483516"/>
                  <a:pt x="781896" y="480471"/>
                  <a:pt x="755014" y="480162"/>
                </a:cubicBezTo>
                <a:cubicBezTo>
                  <a:pt x="722439" y="479789"/>
                  <a:pt x="689836" y="481665"/>
                  <a:pt x="657249" y="482686"/>
                </a:cubicBezTo>
                <a:cubicBezTo>
                  <a:pt x="646583" y="483021"/>
                  <a:pt x="641424" y="489596"/>
                  <a:pt x="643184" y="500211"/>
                </a:cubicBezTo>
                <a:cubicBezTo>
                  <a:pt x="643789" y="503860"/>
                  <a:pt x="645104" y="507461"/>
                  <a:pt x="645220" y="511112"/>
                </a:cubicBezTo>
                <a:cubicBezTo>
                  <a:pt x="646298" y="545100"/>
                  <a:pt x="647185" y="579094"/>
                  <a:pt x="648129" y="615881"/>
                </a:cubicBezTo>
                <a:moveTo>
                  <a:pt x="886495" y="1207714"/>
                </a:moveTo>
                <a:cubicBezTo>
                  <a:pt x="884805" y="1206106"/>
                  <a:pt x="883380" y="1203949"/>
                  <a:pt x="881380" y="1202980"/>
                </a:cubicBezTo>
                <a:cubicBezTo>
                  <a:pt x="869508" y="1197225"/>
                  <a:pt x="866866" y="1186901"/>
                  <a:pt x="866913" y="1175042"/>
                </a:cubicBezTo>
                <a:cubicBezTo>
                  <a:pt x="866937" y="1168979"/>
                  <a:pt x="867225" y="1162853"/>
                  <a:pt x="866482" y="1156869"/>
                </a:cubicBezTo>
                <a:cubicBezTo>
                  <a:pt x="865810" y="1151447"/>
                  <a:pt x="863028" y="1147406"/>
                  <a:pt x="856429" y="1147458"/>
                </a:cubicBezTo>
                <a:cubicBezTo>
                  <a:pt x="834490" y="1147630"/>
                  <a:pt x="812519" y="1146897"/>
                  <a:pt x="790615" y="1147813"/>
                </a:cubicBezTo>
                <a:cubicBezTo>
                  <a:pt x="766540" y="1148819"/>
                  <a:pt x="742532" y="1151353"/>
                  <a:pt x="718484" y="1153058"/>
                </a:cubicBezTo>
                <a:cubicBezTo>
                  <a:pt x="702742" y="1154174"/>
                  <a:pt x="686965" y="1154817"/>
                  <a:pt x="671232" y="1156034"/>
                </a:cubicBezTo>
                <a:cubicBezTo>
                  <a:pt x="662945" y="1156675"/>
                  <a:pt x="661657" y="1159923"/>
                  <a:pt x="664146" y="1168443"/>
                </a:cubicBezTo>
                <a:cubicBezTo>
                  <a:pt x="665938" y="1174575"/>
                  <a:pt x="667544" y="1181027"/>
                  <a:pt x="667611" y="1187354"/>
                </a:cubicBezTo>
                <a:cubicBezTo>
                  <a:pt x="667956" y="1219564"/>
                  <a:pt x="667704" y="1251779"/>
                  <a:pt x="667803" y="1283992"/>
                </a:cubicBezTo>
                <a:cubicBezTo>
                  <a:pt x="667847" y="1297938"/>
                  <a:pt x="668871" y="1299219"/>
                  <a:pt x="683140" y="1298850"/>
                </a:cubicBezTo>
                <a:cubicBezTo>
                  <a:pt x="700774" y="1298393"/>
                  <a:pt x="718378" y="1296854"/>
                  <a:pt x="736011" y="1296220"/>
                </a:cubicBezTo>
                <a:cubicBezTo>
                  <a:pt x="767632" y="1295083"/>
                  <a:pt x="799265" y="1294272"/>
                  <a:pt x="830893" y="1293324"/>
                </a:cubicBezTo>
                <a:cubicBezTo>
                  <a:pt x="831826" y="1293296"/>
                  <a:pt x="832761" y="1293286"/>
                  <a:pt x="833691" y="1293213"/>
                </a:cubicBezTo>
                <a:cubicBezTo>
                  <a:pt x="856797" y="1291390"/>
                  <a:pt x="879886" y="1289299"/>
                  <a:pt x="903014" y="1287831"/>
                </a:cubicBezTo>
                <a:cubicBezTo>
                  <a:pt x="916073" y="1287002"/>
                  <a:pt x="919042" y="1284797"/>
                  <a:pt x="917225" y="1271856"/>
                </a:cubicBezTo>
                <a:cubicBezTo>
                  <a:pt x="913886" y="1248076"/>
                  <a:pt x="908472" y="1225007"/>
                  <a:pt x="886495" y="1207714"/>
                </a:cubicBezTo>
                <a:close/>
              </a:path>
            </a:pathLst>
          </a:custGeom>
          <a:solidFill>
            <a:srgbClr val="CDD9DF"/>
          </a:solidFill>
          <a:ln w="1401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12" name="Free-form: Shape 411">
            <a:extLst>
              <a:ext uri="{FF2B5EF4-FFF2-40B4-BE49-F238E27FC236}">
                <a16:creationId xmlns:a16="http://schemas.microsoft.com/office/drawing/2014/main" id="{D37C34DD-0293-9EA6-88D1-96AEABDB18AB}"/>
              </a:ext>
            </a:extLst>
          </p:cNvPr>
          <p:cNvSpPr/>
          <p:nvPr/>
        </p:nvSpPr>
        <p:spPr>
          <a:xfrm>
            <a:off x="7458681" y="3946128"/>
            <a:ext cx="61317" cy="24570"/>
          </a:xfrm>
          <a:custGeom>
            <a:avLst/>
            <a:gdLst>
              <a:gd name="csX0" fmla="*/ 94424 w 144688"/>
              <a:gd name="csY0" fmla="*/ 9299 h 52707"/>
              <a:gd name="csX1" fmla="*/ 121261 w 144688"/>
              <a:gd name="csY1" fmla="*/ 16460 h 52707"/>
              <a:gd name="csX2" fmla="*/ 143563 w 144688"/>
              <a:gd name="csY2" fmla="*/ 43347 h 52707"/>
              <a:gd name="csX3" fmla="*/ 144689 w 144688"/>
              <a:gd name="csY3" fmla="*/ 52708 h 52707"/>
              <a:gd name="csX4" fmla="*/ 349 w 144688"/>
              <a:gd name="csY4" fmla="*/ 52708 h 52707"/>
              <a:gd name="csX5" fmla="*/ 738 w 144688"/>
              <a:gd name="csY5" fmla="*/ 572 h 52707"/>
              <a:gd name="csX6" fmla="*/ 94424 w 144688"/>
              <a:gd name="csY6" fmla="*/ 9299 h 5270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</a:cxnLst>
            <a:rect l="l" t="t" r="r" b="b"/>
            <a:pathLst>
              <a:path w="144688" h="52707">
                <a:moveTo>
                  <a:pt x="94424" y="9299"/>
                </a:moveTo>
                <a:cubicBezTo>
                  <a:pt x="104138" y="11826"/>
                  <a:pt x="112739" y="14007"/>
                  <a:pt x="121261" y="16460"/>
                </a:cubicBezTo>
                <a:cubicBezTo>
                  <a:pt x="134742" y="20340"/>
                  <a:pt x="143121" y="28544"/>
                  <a:pt x="143563" y="43347"/>
                </a:cubicBezTo>
                <a:cubicBezTo>
                  <a:pt x="143645" y="46090"/>
                  <a:pt x="144206" y="48818"/>
                  <a:pt x="144689" y="52708"/>
                </a:cubicBezTo>
                <a:cubicBezTo>
                  <a:pt x="96675" y="52708"/>
                  <a:pt x="49316" y="52708"/>
                  <a:pt x="349" y="52708"/>
                </a:cubicBezTo>
                <a:cubicBezTo>
                  <a:pt x="-379" y="35695"/>
                  <a:pt x="172" y="18742"/>
                  <a:pt x="738" y="572"/>
                </a:cubicBezTo>
                <a:cubicBezTo>
                  <a:pt x="32910" y="-1712"/>
                  <a:pt x="63133" y="3179"/>
                  <a:pt x="94424" y="9299"/>
                </a:cubicBezTo>
                <a:close/>
              </a:path>
            </a:pathLst>
          </a:custGeom>
          <a:solidFill>
            <a:srgbClr val="FBFCFB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13" name="Free-form: Shape 412">
            <a:extLst>
              <a:ext uri="{FF2B5EF4-FFF2-40B4-BE49-F238E27FC236}">
                <a16:creationId xmlns:a16="http://schemas.microsoft.com/office/drawing/2014/main" id="{203BE321-7036-345E-0535-F6DAABCC7AE3}"/>
              </a:ext>
            </a:extLst>
          </p:cNvPr>
          <p:cNvSpPr/>
          <p:nvPr/>
        </p:nvSpPr>
        <p:spPr>
          <a:xfrm>
            <a:off x="7457198" y="4456576"/>
            <a:ext cx="149086" cy="475360"/>
          </a:xfrm>
          <a:custGeom>
            <a:avLst/>
            <a:gdLst>
              <a:gd name="csX0" fmla="*/ 0 w 351791"/>
              <a:gd name="csY0" fmla="*/ 975370 h 1019713"/>
              <a:gd name="csX1" fmla="*/ 2187 w 351791"/>
              <a:gd name="csY1" fmla="*/ 923083 h 1019713"/>
              <a:gd name="csX2" fmla="*/ 2287 w 351791"/>
              <a:gd name="csY2" fmla="*/ 897079 h 1019713"/>
              <a:gd name="csX3" fmla="*/ 2799 w 351791"/>
              <a:gd name="csY3" fmla="*/ 849144 h 1019713"/>
              <a:gd name="csX4" fmla="*/ 5052 w 351791"/>
              <a:gd name="csY4" fmla="*/ 773650 h 1019713"/>
              <a:gd name="csX5" fmla="*/ 7113 w 351791"/>
              <a:gd name="csY5" fmla="*/ 630071 h 1019713"/>
              <a:gd name="csX6" fmla="*/ 9133 w 351791"/>
              <a:gd name="csY6" fmla="*/ 528600 h 1019713"/>
              <a:gd name="csX7" fmla="*/ 9163 w 351791"/>
              <a:gd name="csY7" fmla="*/ 497413 h 1019713"/>
              <a:gd name="csX8" fmla="*/ 11812 w 351791"/>
              <a:gd name="csY8" fmla="*/ 379910 h 1019713"/>
              <a:gd name="csX9" fmla="*/ 12024 w 351791"/>
              <a:gd name="csY9" fmla="*/ 348726 h 1019713"/>
              <a:gd name="csX10" fmla="*/ 14645 w 351791"/>
              <a:gd name="csY10" fmla="*/ 239691 h 1019713"/>
              <a:gd name="csX11" fmla="*/ 14784 w 351791"/>
              <a:gd name="csY11" fmla="*/ 214091 h 1019713"/>
              <a:gd name="csX12" fmla="*/ 17570 w 351791"/>
              <a:gd name="csY12" fmla="*/ 88165 h 1019713"/>
              <a:gd name="csX13" fmla="*/ 17615 w 351791"/>
              <a:gd name="csY13" fmla="*/ 37421 h 1019713"/>
              <a:gd name="csX14" fmla="*/ 18182 w 351791"/>
              <a:gd name="csY14" fmla="*/ 15484 h 1019713"/>
              <a:gd name="csX15" fmla="*/ 22091 w 351791"/>
              <a:gd name="csY15" fmla="*/ 2787 h 1019713"/>
              <a:gd name="csX16" fmla="*/ 54703 w 351791"/>
              <a:gd name="csY16" fmla="*/ 2968 h 1019713"/>
              <a:gd name="csX17" fmla="*/ 102677 w 351791"/>
              <a:gd name="csY17" fmla="*/ 2086 h 1019713"/>
              <a:gd name="csX18" fmla="*/ 175262 w 351791"/>
              <a:gd name="csY18" fmla="*/ 0 h 1019713"/>
              <a:gd name="csX19" fmla="*/ 189022 w 351791"/>
              <a:gd name="csY19" fmla="*/ 1595 h 1019713"/>
              <a:gd name="csX20" fmla="*/ 190628 w 351791"/>
              <a:gd name="csY20" fmla="*/ 112461 h 1019713"/>
              <a:gd name="csX21" fmla="*/ 191584 w 351791"/>
              <a:gd name="csY21" fmla="*/ 129605 h 1019713"/>
              <a:gd name="csX22" fmla="*/ 193429 w 351791"/>
              <a:gd name="csY22" fmla="*/ 173943 h 1019713"/>
              <a:gd name="csX23" fmla="*/ 194215 w 351791"/>
              <a:gd name="csY23" fmla="*/ 182908 h 1019713"/>
              <a:gd name="csX24" fmla="*/ 196316 w 351791"/>
              <a:gd name="csY24" fmla="*/ 215902 h 1019713"/>
              <a:gd name="csX25" fmla="*/ 196980 w 351791"/>
              <a:gd name="csY25" fmla="*/ 222182 h 1019713"/>
              <a:gd name="csX26" fmla="*/ 198972 w 351791"/>
              <a:gd name="csY26" fmla="*/ 249680 h 1019713"/>
              <a:gd name="csX27" fmla="*/ 199949 w 351791"/>
              <a:gd name="csY27" fmla="*/ 258553 h 1019713"/>
              <a:gd name="csX28" fmla="*/ 201912 w 351791"/>
              <a:gd name="csY28" fmla="*/ 280418 h 1019713"/>
              <a:gd name="csX29" fmla="*/ 202686 w 351791"/>
              <a:gd name="csY29" fmla="*/ 286632 h 1019713"/>
              <a:gd name="csX30" fmla="*/ 204600 w 351791"/>
              <a:gd name="csY30" fmla="*/ 308453 h 1019713"/>
              <a:gd name="csX31" fmla="*/ 205443 w 351791"/>
              <a:gd name="csY31" fmla="*/ 314650 h 1019713"/>
              <a:gd name="csX32" fmla="*/ 207431 w 351791"/>
              <a:gd name="csY32" fmla="*/ 333707 h 1019713"/>
              <a:gd name="csX33" fmla="*/ 208345 w 351791"/>
              <a:gd name="csY33" fmla="*/ 339842 h 1019713"/>
              <a:gd name="csX34" fmla="*/ 210218 w 351791"/>
              <a:gd name="csY34" fmla="*/ 356144 h 1019713"/>
              <a:gd name="csX35" fmla="*/ 211157 w 351791"/>
              <a:gd name="csY35" fmla="*/ 362375 h 1019713"/>
              <a:gd name="csX36" fmla="*/ 215820 w 351791"/>
              <a:gd name="csY36" fmla="*/ 398224 h 1019713"/>
              <a:gd name="csX37" fmla="*/ 216821 w 351791"/>
              <a:gd name="csY37" fmla="*/ 404425 h 1019713"/>
              <a:gd name="csX38" fmla="*/ 224187 w 351791"/>
              <a:gd name="csY38" fmla="*/ 451440 h 1019713"/>
              <a:gd name="csX39" fmla="*/ 225295 w 351791"/>
              <a:gd name="csY39" fmla="*/ 457691 h 1019713"/>
              <a:gd name="csX40" fmla="*/ 226831 w 351791"/>
              <a:gd name="csY40" fmla="*/ 468268 h 1019713"/>
              <a:gd name="csX41" fmla="*/ 228069 w 351791"/>
              <a:gd name="csY41" fmla="*/ 474360 h 1019713"/>
              <a:gd name="csX42" fmla="*/ 229778 w 351791"/>
              <a:gd name="csY42" fmla="*/ 485181 h 1019713"/>
              <a:gd name="csX43" fmla="*/ 230932 w 351791"/>
              <a:gd name="csY43" fmla="*/ 491348 h 1019713"/>
              <a:gd name="csX44" fmla="*/ 238095 w 351791"/>
              <a:gd name="csY44" fmla="*/ 532855 h 1019713"/>
              <a:gd name="csX45" fmla="*/ 239424 w 351791"/>
              <a:gd name="csY45" fmla="*/ 539021 h 1019713"/>
              <a:gd name="csX46" fmla="*/ 252120 w 351791"/>
              <a:gd name="csY46" fmla="*/ 605725 h 1019713"/>
              <a:gd name="csX47" fmla="*/ 253460 w 351791"/>
              <a:gd name="csY47" fmla="*/ 611945 h 1019713"/>
              <a:gd name="csX48" fmla="*/ 258622 w 351791"/>
              <a:gd name="csY48" fmla="*/ 639154 h 1019713"/>
              <a:gd name="csX49" fmla="*/ 285765 w 351791"/>
              <a:gd name="csY49" fmla="*/ 762817 h 1019713"/>
              <a:gd name="csX50" fmla="*/ 287284 w 351791"/>
              <a:gd name="csY50" fmla="*/ 768970 h 1019713"/>
              <a:gd name="csX51" fmla="*/ 351792 w 351791"/>
              <a:gd name="csY51" fmla="*/ 1017474 h 1019713"/>
              <a:gd name="csX52" fmla="*/ 308062 w 351791"/>
              <a:gd name="csY52" fmla="*/ 1016918 h 1019713"/>
              <a:gd name="csX53" fmla="*/ 241358 w 351791"/>
              <a:gd name="csY53" fmla="*/ 1016276 h 1019713"/>
              <a:gd name="csX54" fmla="*/ 229231 w 351791"/>
              <a:gd name="csY54" fmla="*/ 1017881 h 1019713"/>
              <a:gd name="csX55" fmla="*/ 0 w 351791"/>
              <a:gd name="csY55" fmla="*/ 1019714 h 1019713"/>
              <a:gd name="csX56" fmla="*/ 0 w 351791"/>
              <a:gd name="csY56" fmla="*/ 975370 h 101971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</a:cxnLst>
            <a:rect l="l" t="t" r="r" b="b"/>
            <a:pathLst>
              <a:path w="351791" h="1019713">
                <a:moveTo>
                  <a:pt x="0" y="975370"/>
                </a:moveTo>
                <a:cubicBezTo>
                  <a:pt x="743" y="957941"/>
                  <a:pt x="1582" y="940516"/>
                  <a:pt x="2187" y="923083"/>
                </a:cubicBezTo>
                <a:cubicBezTo>
                  <a:pt x="2458" y="915260"/>
                  <a:pt x="2262" y="907422"/>
                  <a:pt x="2287" y="897079"/>
                </a:cubicBezTo>
                <a:cubicBezTo>
                  <a:pt x="2463" y="879425"/>
                  <a:pt x="2631" y="864284"/>
                  <a:pt x="2799" y="849144"/>
                </a:cubicBezTo>
                <a:cubicBezTo>
                  <a:pt x="3544" y="824817"/>
                  <a:pt x="4289" y="800489"/>
                  <a:pt x="5052" y="773650"/>
                </a:cubicBezTo>
                <a:cubicBezTo>
                  <a:pt x="5751" y="724115"/>
                  <a:pt x="6432" y="677093"/>
                  <a:pt x="7113" y="630071"/>
                </a:cubicBezTo>
                <a:cubicBezTo>
                  <a:pt x="7598" y="596560"/>
                  <a:pt x="8084" y="563050"/>
                  <a:pt x="9133" y="528600"/>
                </a:cubicBezTo>
                <a:cubicBezTo>
                  <a:pt x="9465" y="518010"/>
                  <a:pt x="9234" y="508360"/>
                  <a:pt x="9163" y="497413"/>
                </a:cubicBezTo>
                <a:cubicBezTo>
                  <a:pt x="9957" y="457690"/>
                  <a:pt x="10592" y="419261"/>
                  <a:pt x="11812" y="379910"/>
                </a:cubicBezTo>
                <a:cubicBezTo>
                  <a:pt x="12221" y="369334"/>
                  <a:pt x="12045" y="359680"/>
                  <a:pt x="12024" y="348726"/>
                </a:cubicBezTo>
                <a:cubicBezTo>
                  <a:pt x="12813" y="311813"/>
                  <a:pt x="13446" y="276201"/>
                  <a:pt x="14645" y="239691"/>
                </a:cubicBezTo>
                <a:cubicBezTo>
                  <a:pt x="15021" y="230992"/>
                  <a:pt x="14832" y="223190"/>
                  <a:pt x="14784" y="214091"/>
                </a:cubicBezTo>
                <a:cubicBezTo>
                  <a:pt x="15615" y="171575"/>
                  <a:pt x="16305" y="130355"/>
                  <a:pt x="17570" y="88165"/>
                </a:cubicBezTo>
                <a:cubicBezTo>
                  <a:pt x="17924" y="71015"/>
                  <a:pt x="17703" y="54835"/>
                  <a:pt x="17615" y="37421"/>
                </a:cubicBezTo>
                <a:cubicBezTo>
                  <a:pt x="17715" y="29569"/>
                  <a:pt x="17682" y="22951"/>
                  <a:pt x="18182" y="15484"/>
                </a:cubicBezTo>
                <a:cubicBezTo>
                  <a:pt x="19427" y="10639"/>
                  <a:pt x="20141" y="6642"/>
                  <a:pt x="22091" y="2787"/>
                </a:cubicBezTo>
                <a:cubicBezTo>
                  <a:pt x="33455" y="2760"/>
                  <a:pt x="43581" y="2592"/>
                  <a:pt x="54703" y="2968"/>
                </a:cubicBezTo>
                <a:cubicBezTo>
                  <a:pt x="70921" y="2997"/>
                  <a:pt x="86144" y="2480"/>
                  <a:pt x="102677" y="2086"/>
                </a:cubicBezTo>
                <a:cubicBezTo>
                  <a:pt x="127444" y="1303"/>
                  <a:pt x="150901" y="399"/>
                  <a:pt x="175262" y="0"/>
                </a:cubicBezTo>
                <a:cubicBezTo>
                  <a:pt x="180415" y="388"/>
                  <a:pt x="184664" y="270"/>
                  <a:pt x="189022" y="1595"/>
                </a:cubicBezTo>
                <a:cubicBezTo>
                  <a:pt x="189796" y="39233"/>
                  <a:pt x="190459" y="75430"/>
                  <a:pt x="190628" y="112461"/>
                </a:cubicBezTo>
                <a:cubicBezTo>
                  <a:pt x="190659" y="118310"/>
                  <a:pt x="191185" y="123324"/>
                  <a:pt x="191584" y="129605"/>
                </a:cubicBezTo>
                <a:cubicBezTo>
                  <a:pt x="192268" y="145024"/>
                  <a:pt x="193079" y="159176"/>
                  <a:pt x="193429" y="173943"/>
                </a:cubicBezTo>
                <a:cubicBezTo>
                  <a:pt x="193407" y="176938"/>
                  <a:pt x="193846" y="179318"/>
                  <a:pt x="194215" y="182908"/>
                </a:cubicBezTo>
                <a:cubicBezTo>
                  <a:pt x="195008" y="194551"/>
                  <a:pt x="195871" y="204983"/>
                  <a:pt x="196316" y="215902"/>
                </a:cubicBezTo>
                <a:cubicBezTo>
                  <a:pt x="196287" y="217918"/>
                  <a:pt x="196676" y="219447"/>
                  <a:pt x="196980" y="222182"/>
                </a:cubicBezTo>
                <a:cubicBezTo>
                  <a:pt x="197737" y="231943"/>
                  <a:pt x="198578" y="240498"/>
                  <a:pt x="198972" y="249680"/>
                </a:cubicBezTo>
                <a:cubicBezTo>
                  <a:pt x="199023" y="252674"/>
                  <a:pt x="199521" y="255040"/>
                  <a:pt x="199949" y="258553"/>
                </a:cubicBezTo>
                <a:cubicBezTo>
                  <a:pt x="200695" y="266443"/>
                  <a:pt x="201512" y="273186"/>
                  <a:pt x="201912" y="280418"/>
                </a:cubicBezTo>
                <a:cubicBezTo>
                  <a:pt x="201915" y="282431"/>
                  <a:pt x="202335" y="283954"/>
                  <a:pt x="202686" y="286632"/>
                </a:cubicBezTo>
                <a:cubicBezTo>
                  <a:pt x="203420" y="294511"/>
                  <a:pt x="204221" y="301235"/>
                  <a:pt x="204600" y="308453"/>
                </a:cubicBezTo>
                <a:cubicBezTo>
                  <a:pt x="204617" y="310478"/>
                  <a:pt x="205056" y="312010"/>
                  <a:pt x="205443" y="314650"/>
                </a:cubicBezTo>
                <a:cubicBezTo>
                  <a:pt x="206209" y="321575"/>
                  <a:pt x="207026" y="327392"/>
                  <a:pt x="207431" y="333707"/>
                </a:cubicBezTo>
                <a:cubicBezTo>
                  <a:pt x="207477" y="335726"/>
                  <a:pt x="207935" y="337248"/>
                  <a:pt x="208345" y="339842"/>
                </a:cubicBezTo>
                <a:cubicBezTo>
                  <a:pt x="209075" y="345825"/>
                  <a:pt x="209853" y="350735"/>
                  <a:pt x="210218" y="356144"/>
                </a:cubicBezTo>
                <a:cubicBezTo>
                  <a:pt x="210268" y="358165"/>
                  <a:pt x="210732" y="359689"/>
                  <a:pt x="211157" y="362375"/>
                </a:cubicBezTo>
                <a:cubicBezTo>
                  <a:pt x="212820" y="374932"/>
                  <a:pt x="214522" y="386326"/>
                  <a:pt x="215820" y="398224"/>
                </a:cubicBezTo>
                <a:cubicBezTo>
                  <a:pt x="215896" y="400245"/>
                  <a:pt x="216376" y="401761"/>
                  <a:pt x="216821" y="404425"/>
                </a:cubicBezTo>
                <a:cubicBezTo>
                  <a:pt x="219381" y="420620"/>
                  <a:pt x="221974" y="435667"/>
                  <a:pt x="224187" y="451440"/>
                </a:cubicBezTo>
                <a:cubicBezTo>
                  <a:pt x="224310" y="453633"/>
                  <a:pt x="224814" y="455099"/>
                  <a:pt x="225295" y="457691"/>
                </a:cubicBezTo>
                <a:cubicBezTo>
                  <a:pt x="225916" y="461722"/>
                  <a:pt x="226560" y="464628"/>
                  <a:pt x="226831" y="468268"/>
                </a:cubicBezTo>
                <a:cubicBezTo>
                  <a:pt x="227002" y="470469"/>
                  <a:pt x="227545" y="471935"/>
                  <a:pt x="228069" y="474360"/>
                </a:cubicBezTo>
                <a:cubicBezTo>
                  <a:pt x="228757" y="478435"/>
                  <a:pt x="229465" y="481551"/>
                  <a:pt x="229778" y="485181"/>
                </a:cubicBezTo>
                <a:cubicBezTo>
                  <a:pt x="229895" y="487205"/>
                  <a:pt x="230405" y="488717"/>
                  <a:pt x="230932" y="491348"/>
                </a:cubicBezTo>
                <a:cubicBezTo>
                  <a:pt x="233462" y="505758"/>
                  <a:pt x="235976" y="519047"/>
                  <a:pt x="238095" y="532855"/>
                </a:cubicBezTo>
                <a:cubicBezTo>
                  <a:pt x="238266" y="534884"/>
                  <a:pt x="238832" y="536393"/>
                  <a:pt x="239424" y="539021"/>
                </a:cubicBezTo>
                <a:cubicBezTo>
                  <a:pt x="243794" y="561754"/>
                  <a:pt x="248139" y="583369"/>
                  <a:pt x="252120" y="605725"/>
                </a:cubicBezTo>
                <a:cubicBezTo>
                  <a:pt x="252314" y="607922"/>
                  <a:pt x="252872" y="609379"/>
                  <a:pt x="253460" y="611945"/>
                </a:cubicBezTo>
                <a:cubicBezTo>
                  <a:pt x="255190" y="621757"/>
                  <a:pt x="256700" y="630501"/>
                  <a:pt x="258622" y="639154"/>
                </a:cubicBezTo>
                <a:cubicBezTo>
                  <a:pt x="267724" y="680139"/>
                  <a:pt x="276939" y="721098"/>
                  <a:pt x="285765" y="762817"/>
                </a:cubicBezTo>
                <a:cubicBezTo>
                  <a:pt x="286023" y="765009"/>
                  <a:pt x="286629" y="766448"/>
                  <a:pt x="287284" y="768970"/>
                </a:cubicBezTo>
                <a:cubicBezTo>
                  <a:pt x="306160" y="852474"/>
                  <a:pt x="325237" y="934833"/>
                  <a:pt x="351792" y="1017474"/>
                </a:cubicBezTo>
                <a:cubicBezTo>
                  <a:pt x="335905" y="1017474"/>
                  <a:pt x="322480" y="1017474"/>
                  <a:pt x="308062" y="1016918"/>
                </a:cubicBezTo>
                <a:cubicBezTo>
                  <a:pt x="285165" y="1016306"/>
                  <a:pt x="263261" y="1016166"/>
                  <a:pt x="241358" y="1016276"/>
                </a:cubicBezTo>
                <a:cubicBezTo>
                  <a:pt x="237751" y="1016294"/>
                  <a:pt x="234149" y="1017408"/>
                  <a:pt x="229231" y="1017881"/>
                </a:cubicBezTo>
                <a:cubicBezTo>
                  <a:pt x="152375" y="1018399"/>
                  <a:pt x="76832" y="1019051"/>
                  <a:pt x="0" y="1019714"/>
                </a:cubicBezTo>
                <a:cubicBezTo>
                  <a:pt x="0" y="1004040"/>
                  <a:pt x="0" y="989705"/>
                  <a:pt x="0" y="975370"/>
                </a:cubicBezTo>
                <a:close/>
              </a:path>
            </a:pathLst>
          </a:custGeom>
          <a:solidFill>
            <a:srgbClr val="FEFEFD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14" name="Free-form: Shape 413">
            <a:extLst>
              <a:ext uri="{FF2B5EF4-FFF2-40B4-BE49-F238E27FC236}">
                <a16:creationId xmlns:a16="http://schemas.microsoft.com/office/drawing/2014/main" id="{AE027D58-23AE-DABA-81D1-4B63855350DF}"/>
              </a:ext>
            </a:extLst>
          </p:cNvPr>
          <p:cNvSpPr/>
          <p:nvPr/>
        </p:nvSpPr>
        <p:spPr>
          <a:xfrm>
            <a:off x="7457083" y="4968383"/>
            <a:ext cx="242745" cy="166660"/>
          </a:xfrm>
          <a:custGeom>
            <a:avLst/>
            <a:gdLst>
              <a:gd name="csX0" fmla="*/ 344821 w 572791"/>
              <a:gd name="csY0" fmla="*/ 351014 h 357509"/>
              <a:gd name="csX1" fmla="*/ 0 w 572791"/>
              <a:gd name="csY1" fmla="*/ 355669 h 357509"/>
              <a:gd name="csX2" fmla="*/ 1306 w 572791"/>
              <a:gd name="csY2" fmla="*/ 18915 h 357509"/>
              <a:gd name="csX3" fmla="*/ 12212 w 572791"/>
              <a:gd name="csY3" fmla="*/ 17740 h 357509"/>
              <a:gd name="csX4" fmla="*/ 132738 w 572791"/>
              <a:gd name="csY4" fmla="*/ 15715 h 357509"/>
              <a:gd name="csX5" fmla="*/ 364924 w 572791"/>
              <a:gd name="csY5" fmla="*/ 2198 h 357509"/>
              <a:gd name="csX6" fmla="*/ 402207 w 572791"/>
              <a:gd name="csY6" fmla="*/ 0 h 357509"/>
              <a:gd name="csX7" fmla="*/ 403816 w 572791"/>
              <a:gd name="csY7" fmla="*/ 4817 h 357509"/>
              <a:gd name="csX8" fmla="*/ 443486 w 572791"/>
              <a:gd name="csY8" fmla="*/ 95035 h 357509"/>
              <a:gd name="csX9" fmla="*/ 503695 w 572791"/>
              <a:gd name="csY9" fmla="*/ 157671 h 357509"/>
              <a:gd name="csX10" fmla="*/ 544964 w 572791"/>
              <a:gd name="csY10" fmla="*/ 208741 h 357509"/>
              <a:gd name="csX11" fmla="*/ 572752 w 572791"/>
              <a:gd name="csY11" fmla="*/ 314190 h 357509"/>
              <a:gd name="csX12" fmla="*/ 571373 w 572791"/>
              <a:gd name="csY12" fmla="*/ 324914 h 357509"/>
              <a:gd name="csX13" fmla="*/ 344821 w 572791"/>
              <a:gd name="csY13" fmla="*/ 351014 h 35750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</a:cxnLst>
            <a:rect l="l" t="t" r="r" b="b"/>
            <a:pathLst>
              <a:path w="572791" h="357509">
                <a:moveTo>
                  <a:pt x="344821" y="351014"/>
                </a:moveTo>
                <a:cubicBezTo>
                  <a:pt x="229704" y="359270"/>
                  <a:pt x="115810" y="358215"/>
                  <a:pt x="0" y="355669"/>
                </a:cubicBezTo>
                <a:cubicBezTo>
                  <a:pt x="6641" y="242789"/>
                  <a:pt x="11423" y="131403"/>
                  <a:pt x="1306" y="18915"/>
                </a:cubicBezTo>
                <a:cubicBezTo>
                  <a:pt x="5142" y="18486"/>
                  <a:pt x="8671" y="17803"/>
                  <a:pt x="12212" y="17740"/>
                </a:cubicBezTo>
                <a:cubicBezTo>
                  <a:pt x="52386" y="17019"/>
                  <a:pt x="92565" y="16532"/>
                  <a:pt x="132738" y="15715"/>
                </a:cubicBezTo>
                <a:cubicBezTo>
                  <a:pt x="210300" y="14136"/>
                  <a:pt x="287658" y="8969"/>
                  <a:pt x="364924" y="2198"/>
                </a:cubicBezTo>
                <a:cubicBezTo>
                  <a:pt x="377346" y="1110"/>
                  <a:pt x="389829" y="713"/>
                  <a:pt x="402207" y="0"/>
                </a:cubicBezTo>
                <a:cubicBezTo>
                  <a:pt x="402989" y="2261"/>
                  <a:pt x="403828" y="3543"/>
                  <a:pt x="403816" y="4817"/>
                </a:cubicBezTo>
                <a:cubicBezTo>
                  <a:pt x="403458" y="40866"/>
                  <a:pt x="420668" y="69493"/>
                  <a:pt x="443486" y="95035"/>
                </a:cubicBezTo>
                <a:cubicBezTo>
                  <a:pt x="462767" y="116618"/>
                  <a:pt x="484228" y="136244"/>
                  <a:pt x="503695" y="157671"/>
                </a:cubicBezTo>
                <a:cubicBezTo>
                  <a:pt x="518401" y="173858"/>
                  <a:pt x="532941" y="190557"/>
                  <a:pt x="544964" y="208741"/>
                </a:cubicBezTo>
                <a:cubicBezTo>
                  <a:pt x="565917" y="240429"/>
                  <a:pt x="573411" y="276430"/>
                  <a:pt x="572752" y="314190"/>
                </a:cubicBezTo>
                <a:cubicBezTo>
                  <a:pt x="572696" y="317365"/>
                  <a:pt x="571957" y="320529"/>
                  <a:pt x="571373" y="324914"/>
                </a:cubicBezTo>
                <a:cubicBezTo>
                  <a:pt x="496226" y="334583"/>
                  <a:pt x="421404" y="344621"/>
                  <a:pt x="344821" y="351014"/>
                </a:cubicBezTo>
                <a:close/>
              </a:path>
            </a:pathLst>
          </a:custGeom>
          <a:solidFill>
            <a:srgbClr val="FEFEFD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15" name="Free-form: Shape 414">
            <a:extLst>
              <a:ext uri="{FF2B5EF4-FFF2-40B4-BE49-F238E27FC236}">
                <a16:creationId xmlns:a16="http://schemas.microsoft.com/office/drawing/2014/main" id="{C0BD667C-A16D-38A9-B028-CE6F0E82FD05}"/>
              </a:ext>
            </a:extLst>
          </p:cNvPr>
          <p:cNvSpPr/>
          <p:nvPr/>
        </p:nvSpPr>
        <p:spPr>
          <a:xfrm>
            <a:off x="7456194" y="5161103"/>
            <a:ext cx="259324" cy="66477"/>
          </a:xfrm>
          <a:custGeom>
            <a:avLst/>
            <a:gdLst>
              <a:gd name="csX0" fmla="*/ 298270 w 611913"/>
              <a:gd name="csY0" fmla="*/ 29215 h 142602"/>
              <a:gd name="csX1" fmla="*/ 512796 w 611913"/>
              <a:gd name="csY1" fmla="*/ 6951 h 142602"/>
              <a:gd name="csX2" fmla="*/ 567029 w 611913"/>
              <a:gd name="csY2" fmla="*/ 256 h 142602"/>
              <a:gd name="csX3" fmla="*/ 586840 w 611913"/>
              <a:gd name="csY3" fmla="*/ 10038 h 142602"/>
              <a:gd name="csX4" fmla="*/ 593324 w 611913"/>
              <a:gd name="csY4" fmla="*/ 20837 h 142602"/>
              <a:gd name="csX5" fmla="*/ 611914 w 611913"/>
              <a:gd name="csY5" fmla="*/ 96596 h 142602"/>
              <a:gd name="csX6" fmla="*/ 598468 w 611913"/>
              <a:gd name="csY6" fmla="*/ 100799 h 142602"/>
              <a:gd name="csX7" fmla="*/ 410669 w 611913"/>
              <a:gd name="csY7" fmla="*/ 132209 h 142602"/>
              <a:gd name="csX8" fmla="*/ 125026 w 611913"/>
              <a:gd name="csY8" fmla="*/ 141814 h 142602"/>
              <a:gd name="csX9" fmla="*/ 11546 w 611913"/>
              <a:gd name="csY9" fmla="*/ 137848 h 142602"/>
              <a:gd name="csX10" fmla="*/ 0 w 611913"/>
              <a:gd name="csY10" fmla="*/ 136841 h 142602"/>
              <a:gd name="csX11" fmla="*/ 6226 w 611913"/>
              <a:gd name="csY11" fmla="*/ 34049 h 142602"/>
              <a:gd name="csX12" fmla="*/ 25148 w 611913"/>
              <a:gd name="csY12" fmla="*/ 34049 h 142602"/>
              <a:gd name="csX13" fmla="*/ 203168 w 611913"/>
              <a:gd name="csY13" fmla="*/ 33784 h 142602"/>
              <a:gd name="csX14" fmla="*/ 298270 w 611913"/>
              <a:gd name="csY14" fmla="*/ 29215 h 14260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</a:cxnLst>
            <a:rect l="l" t="t" r="r" b="b"/>
            <a:pathLst>
              <a:path w="611913" h="142602">
                <a:moveTo>
                  <a:pt x="298270" y="29215"/>
                </a:moveTo>
                <a:cubicBezTo>
                  <a:pt x="370954" y="24666"/>
                  <a:pt x="441996" y="17008"/>
                  <a:pt x="512796" y="6951"/>
                </a:cubicBezTo>
                <a:cubicBezTo>
                  <a:pt x="530827" y="4390"/>
                  <a:pt x="548992" y="2783"/>
                  <a:pt x="567029" y="256"/>
                </a:cubicBezTo>
                <a:cubicBezTo>
                  <a:pt x="576202" y="-1030"/>
                  <a:pt x="582311" y="2575"/>
                  <a:pt x="586840" y="10038"/>
                </a:cubicBezTo>
                <a:cubicBezTo>
                  <a:pt x="589020" y="13630"/>
                  <a:pt x="591618" y="17033"/>
                  <a:pt x="593324" y="20837"/>
                </a:cubicBezTo>
                <a:cubicBezTo>
                  <a:pt x="603952" y="44539"/>
                  <a:pt x="608111" y="69801"/>
                  <a:pt x="611914" y="96596"/>
                </a:cubicBezTo>
                <a:cubicBezTo>
                  <a:pt x="607052" y="98130"/>
                  <a:pt x="602824" y="99720"/>
                  <a:pt x="598468" y="100799"/>
                </a:cubicBezTo>
                <a:cubicBezTo>
                  <a:pt x="536680" y="116108"/>
                  <a:pt x="473961" y="125773"/>
                  <a:pt x="410669" y="132209"/>
                </a:cubicBezTo>
                <a:cubicBezTo>
                  <a:pt x="315660" y="141870"/>
                  <a:pt x="220411" y="144010"/>
                  <a:pt x="125026" y="141814"/>
                </a:cubicBezTo>
                <a:cubicBezTo>
                  <a:pt x="87189" y="140943"/>
                  <a:pt x="49371" y="139223"/>
                  <a:pt x="11546" y="137848"/>
                </a:cubicBezTo>
                <a:cubicBezTo>
                  <a:pt x="8331" y="137731"/>
                  <a:pt x="5128" y="137299"/>
                  <a:pt x="0" y="136841"/>
                </a:cubicBezTo>
                <a:cubicBezTo>
                  <a:pt x="917" y="102718"/>
                  <a:pt x="4600" y="69125"/>
                  <a:pt x="6226" y="34049"/>
                </a:cubicBezTo>
                <a:cubicBezTo>
                  <a:pt x="13237" y="34049"/>
                  <a:pt x="19192" y="34051"/>
                  <a:pt x="25148" y="34049"/>
                </a:cubicBezTo>
                <a:cubicBezTo>
                  <a:pt x="84488" y="34030"/>
                  <a:pt x="143836" y="34519"/>
                  <a:pt x="203168" y="33784"/>
                </a:cubicBezTo>
                <a:cubicBezTo>
                  <a:pt x="234447" y="33397"/>
                  <a:pt x="265701" y="30872"/>
                  <a:pt x="298270" y="29215"/>
                </a:cubicBezTo>
                <a:close/>
              </a:path>
            </a:pathLst>
          </a:custGeom>
          <a:solidFill>
            <a:srgbClr val="FEFDFB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16" name="Free-form: Shape 415">
            <a:extLst>
              <a:ext uri="{FF2B5EF4-FFF2-40B4-BE49-F238E27FC236}">
                <a16:creationId xmlns:a16="http://schemas.microsoft.com/office/drawing/2014/main" id="{C1B641F0-4079-D669-6DB2-008D758115AB}"/>
              </a:ext>
            </a:extLst>
          </p:cNvPr>
          <p:cNvSpPr/>
          <p:nvPr/>
        </p:nvSpPr>
        <p:spPr>
          <a:xfrm>
            <a:off x="7465084" y="4394184"/>
            <a:ext cx="130728" cy="33077"/>
          </a:xfrm>
          <a:custGeom>
            <a:avLst/>
            <a:gdLst>
              <a:gd name="csX0" fmla="*/ 113686 w 308472"/>
              <a:gd name="csY0" fmla="*/ 4708 h 70954"/>
              <a:gd name="csX1" fmla="*/ 238304 w 308472"/>
              <a:gd name="csY1" fmla="*/ 79 h 70954"/>
              <a:gd name="csX2" fmla="*/ 293684 w 308472"/>
              <a:gd name="csY2" fmla="*/ 16423 h 70954"/>
              <a:gd name="csX3" fmla="*/ 308469 w 308472"/>
              <a:gd name="csY3" fmla="*/ 46566 h 70954"/>
              <a:gd name="csX4" fmla="*/ 296679 w 308472"/>
              <a:gd name="csY4" fmla="*/ 60539 h 70954"/>
              <a:gd name="csX5" fmla="*/ 281393 w 308472"/>
              <a:gd name="csY5" fmla="*/ 62359 h 70954"/>
              <a:gd name="csX6" fmla="*/ 13891 w 308472"/>
              <a:gd name="csY6" fmla="*/ 70892 h 70954"/>
              <a:gd name="csX7" fmla="*/ 0 w 308472"/>
              <a:gd name="csY7" fmla="*/ 70909 h 70954"/>
              <a:gd name="csX8" fmla="*/ 4414 w 308472"/>
              <a:gd name="csY8" fmla="*/ 8877 h 70954"/>
              <a:gd name="csX9" fmla="*/ 59085 w 308472"/>
              <a:gd name="csY9" fmla="*/ 6769 h 70954"/>
              <a:gd name="csX10" fmla="*/ 113686 w 308472"/>
              <a:gd name="csY10" fmla="*/ 4708 h 7095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</a:cxnLst>
            <a:rect l="l" t="t" r="r" b="b"/>
            <a:pathLst>
              <a:path w="308472" h="70954">
                <a:moveTo>
                  <a:pt x="113686" y="4708"/>
                </a:moveTo>
                <a:cubicBezTo>
                  <a:pt x="156156" y="3151"/>
                  <a:pt x="197235" y="1744"/>
                  <a:pt x="238304" y="79"/>
                </a:cubicBezTo>
                <a:cubicBezTo>
                  <a:pt x="258693" y="-748"/>
                  <a:pt x="277061" y="4922"/>
                  <a:pt x="293684" y="16423"/>
                </a:cubicBezTo>
                <a:cubicBezTo>
                  <a:pt x="304119" y="23641"/>
                  <a:pt x="308615" y="34077"/>
                  <a:pt x="308469" y="46566"/>
                </a:cubicBezTo>
                <a:cubicBezTo>
                  <a:pt x="308355" y="56359"/>
                  <a:pt x="306312" y="58808"/>
                  <a:pt x="296679" y="60539"/>
                </a:cubicBezTo>
                <a:cubicBezTo>
                  <a:pt x="291635" y="61446"/>
                  <a:pt x="286506" y="62192"/>
                  <a:pt x="281393" y="62359"/>
                </a:cubicBezTo>
                <a:cubicBezTo>
                  <a:pt x="192228" y="65269"/>
                  <a:pt x="103059" y="68083"/>
                  <a:pt x="13891" y="70892"/>
                </a:cubicBezTo>
                <a:cubicBezTo>
                  <a:pt x="9772" y="71022"/>
                  <a:pt x="5645" y="70909"/>
                  <a:pt x="0" y="70909"/>
                </a:cubicBezTo>
                <a:cubicBezTo>
                  <a:pt x="1487" y="50015"/>
                  <a:pt x="2892" y="30265"/>
                  <a:pt x="4414" y="8877"/>
                </a:cubicBezTo>
                <a:cubicBezTo>
                  <a:pt x="23034" y="7159"/>
                  <a:pt x="41075" y="7283"/>
                  <a:pt x="59085" y="6769"/>
                </a:cubicBezTo>
                <a:cubicBezTo>
                  <a:pt x="76825" y="6262"/>
                  <a:pt x="94556" y="5438"/>
                  <a:pt x="113686" y="4708"/>
                </a:cubicBezTo>
                <a:close/>
              </a:path>
            </a:pathLst>
          </a:custGeom>
          <a:solidFill>
            <a:srgbClr val="FEFDFB"/>
          </a:solidFill>
          <a:ln w="1401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17" name="Free-form: Shape 416">
            <a:extLst>
              <a:ext uri="{FF2B5EF4-FFF2-40B4-BE49-F238E27FC236}">
                <a16:creationId xmlns:a16="http://schemas.microsoft.com/office/drawing/2014/main" id="{5E6938DF-3201-CEC9-18A0-2ED1AC29FE2E}"/>
              </a:ext>
            </a:extLst>
          </p:cNvPr>
          <p:cNvSpPr/>
          <p:nvPr/>
        </p:nvSpPr>
        <p:spPr>
          <a:xfrm>
            <a:off x="7457241" y="3993817"/>
            <a:ext cx="162064" cy="275701"/>
          </a:xfrm>
          <a:custGeom>
            <a:avLst/>
            <a:gdLst>
              <a:gd name="csX0" fmla="*/ 14188 w 382415"/>
              <a:gd name="csY0" fmla="*/ 447946 h 591415"/>
              <a:gd name="csX1" fmla="*/ 12298 w 382415"/>
              <a:gd name="csY1" fmla="*/ 381038 h 591415"/>
              <a:gd name="csX2" fmla="*/ 11200 w 382415"/>
              <a:gd name="csY2" fmla="*/ 363835 h 591415"/>
              <a:gd name="csX3" fmla="*/ 9378 w 382415"/>
              <a:gd name="csY3" fmla="*/ 305508 h 591415"/>
              <a:gd name="csX4" fmla="*/ 8516 w 382415"/>
              <a:gd name="csY4" fmla="*/ 296482 h 591415"/>
              <a:gd name="csX5" fmla="*/ 6728 w 382415"/>
              <a:gd name="csY5" fmla="*/ 223958 h 591415"/>
              <a:gd name="csX6" fmla="*/ 5645 w 382415"/>
              <a:gd name="csY6" fmla="*/ 206735 h 591415"/>
              <a:gd name="csX7" fmla="*/ 3964 w 382415"/>
              <a:gd name="csY7" fmla="*/ 137053 h 591415"/>
              <a:gd name="csX8" fmla="*/ 2902 w 382415"/>
              <a:gd name="csY8" fmla="*/ 122565 h 591415"/>
              <a:gd name="csX9" fmla="*/ 1011 w 382415"/>
              <a:gd name="csY9" fmla="*/ 47301 h 591415"/>
              <a:gd name="csX10" fmla="*/ 20 w 382415"/>
              <a:gd name="csY10" fmla="*/ 32821 h 591415"/>
              <a:gd name="csX11" fmla="*/ 512 w 382415"/>
              <a:gd name="csY11" fmla="*/ 4394 h 591415"/>
              <a:gd name="csX12" fmla="*/ 2417 w 382415"/>
              <a:gd name="csY12" fmla="*/ 1592 h 591415"/>
              <a:gd name="csX13" fmla="*/ 115794 w 382415"/>
              <a:gd name="csY13" fmla="*/ 4 h 591415"/>
              <a:gd name="csX14" fmla="*/ 162265 w 382415"/>
              <a:gd name="csY14" fmla="*/ 2117 h 591415"/>
              <a:gd name="csX15" fmla="*/ 168630 w 382415"/>
              <a:gd name="csY15" fmla="*/ 1773 h 591415"/>
              <a:gd name="csX16" fmla="*/ 314663 w 382415"/>
              <a:gd name="csY16" fmla="*/ 18731 h 591415"/>
              <a:gd name="csX17" fmla="*/ 367127 w 382415"/>
              <a:gd name="csY17" fmla="*/ 32924 h 591415"/>
              <a:gd name="csX18" fmla="*/ 382384 w 382415"/>
              <a:gd name="csY18" fmla="*/ 56466 h 591415"/>
              <a:gd name="csX19" fmla="*/ 368394 w 382415"/>
              <a:gd name="csY19" fmla="*/ 120544 h 591415"/>
              <a:gd name="csX20" fmla="*/ 314675 w 382415"/>
              <a:gd name="csY20" fmla="*/ 270961 h 591415"/>
              <a:gd name="csX21" fmla="*/ 213644 w 382415"/>
              <a:gd name="csY21" fmla="*/ 563667 h 591415"/>
              <a:gd name="csX22" fmla="*/ 205897 w 382415"/>
              <a:gd name="csY22" fmla="*/ 585758 h 591415"/>
              <a:gd name="csX23" fmla="*/ 138249 w 382415"/>
              <a:gd name="csY23" fmla="*/ 587362 h 591415"/>
              <a:gd name="csX24" fmla="*/ 118197 w 382415"/>
              <a:gd name="csY24" fmla="*/ 588344 h 591415"/>
              <a:gd name="csX25" fmla="*/ 59707 w 382415"/>
              <a:gd name="csY25" fmla="*/ 590000 h 591415"/>
              <a:gd name="csX26" fmla="*/ 42516 w 382415"/>
              <a:gd name="csY26" fmla="*/ 591416 h 591415"/>
              <a:gd name="csX27" fmla="*/ 20811 w 382415"/>
              <a:gd name="csY27" fmla="*/ 591416 h 591415"/>
              <a:gd name="csX28" fmla="*/ 17902 w 382415"/>
              <a:gd name="csY28" fmla="*/ 546518 h 591415"/>
              <a:gd name="csX29" fmla="*/ 16779 w 382415"/>
              <a:gd name="csY29" fmla="*/ 526538 h 591415"/>
              <a:gd name="csX30" fmla="*/ 15163 w 382415"/>
              <a:gd name="csY30" fmla="*/ 459741 h 591415"/>
              <a:gd name="csX31" fmla="*/ 14188 w 382415"/>
              <a:gd name="csY31" fmla="*/ 447946 h 59141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</a:cxnLst>
            <a:rect l="l" t="t" r="r" b="b"/>
            <a:pathLst>
              <a:path w="382415" h="591415">
                <a:moveTo>
                  <a:pt x="14188" y="447946"/>
                </a:moveTo>
                <a:cubicBezTo>
                  <a:pt x="13448" y="426344"/>
                  <a:pt x="12708" y="404741"/>
                  <a:pt x="12298" y="381038"/>
                </a:cubicBezTo>
                <a:cubicBezTo>
                  <a:pt x="12152" y="373904"/>
                  <a:pt x="11676" y="368869"/>
                  <a:pt x="11200" y="363835"/>
                </a:cubicBezTo>
                <a:cubicBezTo>
                  <a:pt x="10498" y="345020"/>
                  <a:pt x="9796" y="326206"/>
                  <a:pt x="9378" y="305508"/>
                </a:cubicBezTo>
                <a:cubicBezTo>
                  <a:pt x="9280" y="301244"/>
                  <a:pt x="8898" y="298863"/>
                  <a:pt x="8516" y="296482"/>
                </a:cubicBezTo>
                <a:cubicBezTo>
                  <a:pt x="7809" y="273008"/>
                  <a:pt x="7102" y="249535"/>
                  <a:pt x="6728" y="223958"/>
                </a:cubicBezTo>
                <a:cubicBezTo>
                  <a:pt x="6589" y="216815"/>
                  <a:pt x="6117" y="211775"/>
                  <a:pt x="5645" y="206735"/>
                </a:cubicBezTo>
                <a:cubicBezTo>
                  <a:pt x="4976" y="184187"/>
                  <a:pt x="4307" y="161639"/>
                  <a:pt x="3964" y="137053"/>
                </a:cubicBezTo>
                <a:cubicBezTo>
                  <a:pt x="3828" y="130865"/>
                  <a:pt x="3365" y="126715"/>
                  <a:pt x="2902" y="122565"/>
                </a:cubicBezTo>
                <a:cubicBezTo>
                  <a:pt x="2158" y="98167"/>
                  <a:pt x="1414" y="73768"/>
                  <a:pt x="1011" y="47301"/>
                </a:cubicBezTo>
                <a:cubicBezTo>
                  <a:pt x="908" y="41095"/>
                  <a:pt x="464" y="36958"/>
                  <a:pt x="20" y="32821"/>
                </a:cubicBezTo>
                <a:cubicBezTo>
                  <a:pt x="-19" y="23766"/>
                  <a:pt x="-59" y="14711"/>
                  <a:pt x="512" y="4394"/>
                </a:cubicBezTo>
                <a:cubicBezTo>
                  <a:pt x="1883" y="2894"/>
                  <a:pt x="2314" y="2381"/>
                  <a:pt x="2417" y="1592"/>
                </a:cubicBezTo>
                <a:cubicBezTo>
                  <a:pt x="40209" y="1024"/>
                  <a:pt x="78000" y="223"/>
                  <a:pt x="115794" y="4"/>
                </a:cubicBezTo>
                <a:cubicBezTo>
                  <a:pt x="130708" y="-82"/>
                  <a:pt x="145630" y="1128"/>
                  <a:pt x="162265" y="2117"/>
                </a:cubicBezTo>
                <a:cubicBezTo>
                  <a:pt x="165531" y="2247"/>
                  <a:pt x="167081" y="2010"/>
                  <a:pt x="168630" y="1773"/>
                </a:cubicBezTo>
                <a:cubicBezTo>
                  <a:pt x="217325" y="7297"/>
                  <a:pt x="266121" y="12088"/>
                  <a:pt x="314663" y="18731"/>
                </a:cubicBezTo>
                <a:cubicBezTo>
                  <a:pt x="332471" y="21168"/>
                  <a:pt x="349777" y="27666"/>
                  <a:pt x="367127" y="32924"/>
                </a:cubicBezTo>
                <a:cubicBezTo>
                  <a:pt x="378391" y="36339"/>
                  <a:pt x="382842" y="44413"/>
                  <a:pt x="382384" y="56466"/>
                </a:cubicBezTo>
                <a:cubicBezTo>
                  <a:pt x="381538" y="78749"/>
                  <a:pt x="375716" y="99822"/>
                  <a:pt x="368394" y="120544"/>
                </a:cubicBezTo>
                <a:cubicBezTo>
                  <a:pt x="350655" y="170742"/>
                  <a:pt x="332173" y="220680"/>
                  <a:pt x="314675" y="270961"/>
                </a:cubicBezTo>
                <a:cubicBezTo>
                  <a:pt x="280751" y="368444"/>
                  <a:pt x="247300" y="466091"/>
                  <a:pt x="213644" y="563667"/>
                </a:cubicBezTo>
                <a:cubicBezTo>
                  <a:pt x="211232" y="570661"/>
                  <a:pt x="208750" y="577629"/>
                  <a:pt x="205897" y="585758"/>
                </a:cubicBezTo>
                <a:cubicBezTo>
                  <a:pt x="184079" y="586417"/>
                  <a:pt x="162247" y="587077"/>
                  <a:pt x="138249" y="587362"/>
                </a:cubicBezTo>
                <a:cubicBezTo>
                  <a:pt x="130120" y="587439"/>
                  <a:pt x="124159" y="587891"/>
                  <a:pt x="118197" y="588344"/>
                </a:cubicBezTo>
                <a:cubicBezTo>
                  <a:pt x="99397" y="589004"/>
                  <a:pt x="80596" y="589663"/>
                  <a:pt x="59707" y="590000"/>
                </a:cubicBezTo>
                <a:cubicBezTo>
                  <a:pt x="52584" y="590258"/>
                  <a:pt x="47550" y="590837"/>
                  <a:pt x="42516" y="591416"/>
                </a:cubicBezTo>
                <a:cubicBezTo>
                  <a:pt x="35565" y="591416"/>
                  <a:pt x="28614" y="591416"/>
                  <a:pt x="20811" y="591416"/>
                </a:cubicBezTo>
                <a:cubicBezTo>
                  <a:pt x="16891" y="577297"/>
                  <a:pt x="18678" y="562841"/>
                  <a:pt x="17902" y="546518"/>
                </a:cubicBezTo>
                <a:cubicBezTo>
                  <a:pt x="17764" y="538425"/>
                  <a:pt x="17271" y="532482"/>
                  <a:pt x="16779" y="526538"/>
                </a:cubicBezTo>
                <a:cubicBezTo>
                  <a:pt x="16131" y="504937"/>
                  <a:pt x="15482" y="483336"/>
                  <a:pt x="15163" y="459741"/>
                </a:cubicBezTo>
                <a:cubicBezTo>
                  <a:pt x="15057" y="454480"/>
                  <a:pt x="14622" y="451213"/>
                  <a:pt x="14188" y="447946"/>
                </a:cubicBezTo>
                <a:close/>
              </a:path>
            </a:pathLst>
          </a:custGeom>
          <a:solidFill>
            <a:srgbClr val="FEFEFD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18" name="Free-form: Shape 417">
            <a:extLst>
              <a:ext uri="{FF2B5EF4-FFF2-40B4-BE49-F238E27FC236}">
                <a16:creationId xmlns:a16="http://schemas.microsoft.com/office/drawing/2014/main" id="{1A4CB9DC-DF0C-6A32-94F9-75BD66AD2E43}"/>
              </a:ext>
            </a:extLst>
          </p:cNvPr>
          <p:cNvSpPr/>
          <p:nvPr/>
        </p:nvSpPr>
        <p:spPr>
          <a:xfrm>
            <a:off x="7465429" y="4304529"/>
            <a:ext cx="100308" cy="62743"/>
          </a:xfrm>
          <a:custGeom>
            <a:avLst/>
            <a:gdLst>
              <a:gd name="csX0" fmla="*/ 105130 w 236692"/>
              <a:gd name="csY0" fmla="*/ 130054 h 134592"/>
              <a:gd name="csX1" fmla="*/ 4609 w 236692"/>
              <a:gd name="csY1" fmla="*/ 134592 h 134592"/>
              <a:gd name="csX2" fmla="*/ 3775 w 236692"/>
              <a:gd name="csY2" fmla="*/ 121667 h 134592"/>
              <a:gd name="csX3" fmla="*/ 3868 w 236692"/>
              <a:gd name="csY3" fmla="*/ 51573 h 134592"/>
              <a:gd name="csX4" fmla="*/ 0 w 236692"/>
              <a:gd name="csY4" fmla="*/ 9673 h 134592"/>
              <a:gd name="csX5" fmla="*/ 184850 w 236692"/>
              <a:gd name="csY5" fmla="*/ 471 h 134592"/>
              <a:gd name="csX6" fmla="*/ 185564 w 236692"/>
              <a:gd name="csY6" fmla="*/ 15071 h 134592"/>
              <a:gd name="csX7" fmla="*/ 204819 w 236692"/>
              <a:gd name="csY7" fmla="*/ 54944 h 134592"/>
              <a:gd name="csX8" fmla="*/ 236693 w 236692"/>
              <a:gd name="csY8" fmla="*/ 123534 h 134592"/>
              <a:gd name="csX9" fmla="*/ 170865 w 236692"/>
              <a:gd name="csY9" fmla="*/ 126995 h 134592"/>
              <a:gd name="csX10" fmla="*/ 105130 w 236692"/>
              <a:gd name="csY10" fmla="*/ 130054 h 13459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</a:cxnLst>
            <a:rect l="l" t="t" r="r" b="b"/>
            <a:pathLst>
              <a:path w="236692" h="134592">
                <a:moveTo>
                  <a:pt x="105130" y="130054"/>
                </a:moveTo>
                <a:cubicBezTo>
                  <a:pt x="71180" y="131586"/>
                  <a:pt x="38558" y="133059"/>
                  <a:pt x="4609" y="134592"/>
                </a:cubicBezTo>
                <a:cubicBezTo>
                  <a:pt x="4277" y="129680"/>
                  <a:pt x="3770" y="125673"/>
                  <a:pt x="3775" y="121667"/>
                </a:cubicBezTo>
                <a:cubicBezTo>
                  <a:pt x="3800" y="98301"/>
                  <a:pt x="4430" y="74923"/>
                  <a:pt x="3868" y="51573"/>
                </a:cubicBezTo>
                <a:cubicBezTo>
                  <a:pt x="3536" y="37759"/>
                  <a:pt x="1384" y="23989"/>
                  <a:pt x="0" y="9673"/>
                </a:cubicBezTo>
                <a:cubicBezTo>
                  <a:pt x="9728" y="5925"/>
                  <a:pt x="156314" y="-2008"/>
                  <a:pt x="184850" y="471"/>
                </a:cubicBezTo>
                <a:cubicBezTo>
                  <a:pt x="185096" y="5177"/>
                  <a:pt x="185626" y="10128"/>
                  <a:pt x="185564" y="15071"/>
                </a:cubicBezTo>
                <a:cubicBezTo>
                  <a:pt x="185359" y="31609"/>
                  <a:pt x="191283" y="44787"/>
                  <a:pt x="204819" y="54944"/>
                </a:cubicBezTo>
                <a:cubicBezTo>
                  <a:pt x="227073" y="71641"/>
                  <a:pt x="235149" y="95272"/>
                  <a:pt x="236693" y="123534"/>
                </a:cubicBezTo>
                <a:cubicBezTo>
                  <a:pt x="214423" y="127191"/>
                  <a:pt x="192555" y="125928"/>
                  <a:pt x="170865" y="126995"/>
                </a:cubicBezTo>
                <a:cubicBezTo>
                  <a:pt x="149400" y="128051"/>
                  <a:pt x="127929" y="128999"/>
                  <a:pt x="105130" y="130054"/>
                </a:cubicBezTo>
                <a:close/>
              </a:path>
            </a:pathLst>
          </a:custGeom>
          <a:solidFill>
            <a:srgbClr val="FEFDFB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19" name="Free-form: Shape 418">
            <a:extLst>
              <a:ext uri="{FF2B5EF4-FFF2-40B4-BE49-F238E27FC236}">
                <a16:creationId xmlns:a16="http://schemas.microsoft.com/office/drawing/2014/main" id="{C85DA540-DDED-0A21-A3DB-EFAF0F803470}"/>
              </a:ext>
            </a:extLst>
          </p:cNvPr>
          <p:cNvSpPr/>
          <p:nvPr/>
        </p:nvSpPr>
        <p:spPr>
          <a:xfrm>
            <a:off x="2462812" y="3981674"/>
            <a:ext cx="593502" cy="1281815"/>
          </a:xfrm>
          <a:custGeom>
            <a:avLst/>
            <a:gdLst>
              <a:gd name="csX0" fmla="*/ 576414 w 768725"/>
              <a:gd name="csY0" fmla="*/ 893042 h 1509319"/>
              <a:gd name="csX1" fmla="*/ 613047 w 768725"/>
              <a:gd name="csY1" fmla="*/ 1059329 h 1509319"/>
              <a:gd name="csX2" fmla="*/ 623337 w 768725"/>
              <a:gd name="csY2" fmla="*/ 1071825 h 1509319"/>
              <a:gd name="csX3" fmla="*/ 639863 w 768725"/>
              <a:gd name="csY3" fmla="*/ 1079946 h 1509319"/>
              <a:gd name="csX4" fmla="*/ 652266 w 768725"/>
              <a:gd name="csY4" fmla="*/ 1109045 h 1509319"/>
              <a:gd name="csX5" fmla="*/ 645501 w 768725"/>
              <a:gd name="csY5" fmla="*/ 1127466 h 1509319"/>
              <a:gd name="csX6" fmla="*/ 645547 w 768725"/>
              <a:gd name="csY6" fmla="*/ 1144138 h 1509319"/>
              <a:gd name="csX7" fmla="*/ 664589 w 768725"/>
              <a:gd name="csY7" fmla="*/ 1175322 h 1509319"/>
              <a:gd name="csX8" fmla="*/ 712015 w 768725"/>
              <a:gd name="csY8" fmla="*/ 1225118 h 1509319"/>
              <a:gd name="csX9" fmla="*/ 744465 w 768725"/>
              <a:gd name="csY9" fmla="*/ 1300385 h 1509319"/>
              <a:gd name="csX10" fmla="*/ 743270 w 768725"/>
              <a:gd name="csY10" fmla="*/ 1350524 h 1509319"/>
              <a:gd name="csX11" fmla="*/ 745429 w 768725"/>
              <a:gd name="csY11" fmla="*/ 1363274 h 1509319"/>
              <a:gd name="csX12" fmla="*/ 768672 w 768725"/>
              <a:gd name="csY12" fmla="*/ 1456512 h 1509319"/>
              <a:gd name="csX13" fmla="*/ 758521 w 768725"/>
              <a:gd name="csY13" fmla="*/ 1472434 h 1509319"/>
              <a:gd name="csX14" fmla="*/ 730455 w 768725"/>
              <a:gd name="csY14" fmla="*/ 1481228 h 1509319"/>
              <a:gd name="csX15" fmla="*/ 594867 w 768725"/>
              <a:gd name="csY15" fmla="*/ 1502210 h 1509319"/>
              <a:gd name="csX16" fmla="*/ 320018 w 768725"/>
              <a:gd name="csY16" fmla="*/ 1508300 h 1509319"/>
              <a:gd name="csX17" fmla="*/ 186464 w 768725"/>
              <a:gd name="csY17" fmla="*/ 1501258 h 1509319"/>
              <a:gd name="csX18" fmla="*/ 26582 w 768725"/>
              <a:gd name="csY18" fmla="*/ 1477021 h 1509319"/>
              <a:gd name="csX19" fmla="*/ 3929 w 768725"/>
              <a:gd name="csY19" fmla="*/ 1465652 h 1509319"/>
              <a:gd name="csX20" fmla="*/ 18 w 768725"/>
              <a:gd name="csY20" fmla="*/ 1456203 h 1509319"/>
              <a:gd name="csX21" fmla="*/ 4393 w 768725"/>
              <a:gd name="csY21" fmla="*/ 1417235 h 1509319"/>
              <a:gd name="csX22" fmla="*/ 19158 w 768725"/>
              <a:gd name="csY22" fmla="*/ 1370678 h 1509319"/>
              <a:gd name="csX23" fmla="*/ 23255 w 768725"/>
              <a:gd name="csY23" fmla="*/ 1342388 h 1509319"/>
              <a:gd name="csX24" fmla="*/ 38705 w 768725"/>
              <a:gd name="csY24" fmla="*/ 1247261 h 1509319"/>
              <a:gd name="csX25" fmla="*/ 58454 w 768725"/>
              <a:gd name="csY25" fmla="*/ 1220807 h 1509319"/>
              <a:gd name="csX26" fmla="*/ 103638 w 768725"/>
              <a:gd name="csY26" fmla="*/ 1175667 h 1509319"/>
              <a:gd name="csX27" fmla="*/ 122996 w 768725"/>
              <a:gd name="csY27" fmla="*/ 1146131 h 1509319"/>
              <a:gd name="csX28" fmla="*/ 122689 w 768725"/>
              <a:gd name="csY28" fmla="*/ 1128316 h 1509319"/>
              <a:gd name="csX29" fmla="*/ 116576 w 768725"/>
              <a:gd name="csY29" fmla="*/ 1113575 h 1509319"/>
              <a:gd name="csX30" fmla="*/ 127479 w 768725"/>
              <a:gd name="csY30" fmla="*/ 1081076 h 1509319"/>
              <a:gd name="csX31" fmla="*/ 137480 w 768725"/>
              <a:gd name="csY31" fmla="*/ 1076482 h 1509319"/>
              <a:gd name="csX32" fmla="*/ 157312 w 768725"/>
              <a:gd name="csY32" fmla="*/ 1053855 h 1509319"/>
              <a:gd name="csX33" fmla="*/ 178876 w 768725"/>
              <a:gd name="csY33" fmla="*/ 958120 h 1509319"/>
              <a:gd name="csX34" fmla="*/ 210165 w 768725"/>
              <a:gd name="csY34" fmla="*/ 781849 h 1509319"/>
              <a:gd name="csX35" fmla="*/ 223295 w 768725"/>
              <a:gd name="csY35" fmla="*/ 674755 h 1509319"/>
              <a:gd name="csX36" fmla="*/ 231121 w 768725"/>
              <a:gd name="csY36" fmla="*/ 564636 h 1509319"/>
              <a:gd name="csX37" fmla="*/ 235173 w 768725"/>
              <a:gd name="csY37" fmla="*/ 453038 h 1509319"/>
              <a:gd name="csX38" fmla="*/ 235001 w 768725"/>
              <a:gd name="csY38" fmla="*/ 443215 h 1509319"/>
              <a:gd name="csX39" fmla="*/ 224321 w 768725"/>
              <a:gd name="csY39" fmla="*/ 428479 h 1509319"/>
              <a:gd name="csX40" fmla="*/ 204712 w 768725"/>
              <a:gd name="csY40" fmla="*/ 418450 h 1509319"/>
              <a:gd name="csX41" fmla="*/ 184069 w 768725"/>
              <a:gd name="csY41" fmla="*/ 366060 h 1509319"/>
              <a:gd name="csX42" fmla="*/ 206519 w 768725"/>
              <a:gd name="csY42" fmla="*/ 338181 h 1509319"/>
              <a:gd name="csX43" fmla="*/ 226643 w 768725"/>
              <a:gd name="csY43" fmla="*/ 329113 h 1509319"/>
              <a:gd name="csX44" fmla="*/ 232085 w 768725"/>
              <a:gd name="csY44" fmla="*/ 311135 h 1509319"/>
              <a:gd name="csX45" fmla="*/ 221280 w 768725"/>
              <a:gd name="csY45" fmla="*/ 299552 h 1509319"/>
              <a:gd name="csX46" fmla="*/ 173478 w 768725"/>
              <a:gd name="csY46" fmla="*/ 230303 h 1509319"/>
              <a:gd name="csX47" fmla="*/ 141864 w 768725"/>
              <a:gd name="csY47" fmla="*/ 95780 h 1509319"/>
              <a:gd name="csX48" fmla="*/ 137158 w 768725"/>
              <a:gd name="csY48" fmla="*/ 37107 h 1509319"/>
              <a:gd name="csX49" fmla="*/ 148750 w 768725"/>
              <a:gd name="csY49" fmla="*/ 22335 h 1509319"/>
              <a:gd name="csX50" fmla="*/ 236982 w 768725"/>
              <a:gd name="csY50" fmla="*/ 7640 h 1509319"/>
              <a:gd name="csX51" fmla="*/ 246862 w 768725"/>
              <a:gd name="csY51" fmla="*/ 7580 h 1509319"/>
              <a:gd name="csX52" fmla="*/ 261473 w 768725"/>
              <a:gd name="csY52" fmla="*/ 86763 h 1509319"/>
              <a:gd name="csX53" fmla="*/ 306246 w 768725"/>
              <a:gd name="csY53" fmla="*/ 83559 h 1509319"/>
              <a:gd name="csX54" fmla="*/ 306960 w 768725"/>
              <a:gd name="csY54" fmla="*/ 71087 h 1509319"/>
              <a:gd name="csX55" fmla="*/ 306724 w 768725"/>
              <a:gd name="csY55" fmla="*/ 19491 h 1509319"/>
              <a:gd name="csX56" fmla="*/ 319581 w 768725"/>
              <a:gd name="csY56" fmla="*/ 4733 h 1509319"/>
              <a:gd name="csX57" fmla="*/ 430956 w 768725"/>
              <a:gd name="csY57" fmla="*/ 2070 h 1509319"/>
              <a:gd name="csX58" fmla="*/ 437066 w 768725"/>
              <a:gd name="csY58" fmla="*/ 2646 h 1509319"/>
              <a:gd name="csX59" fmla="*/ 460335 w 768725"/>
              <a:gd name="csY59" fmla="*/ 24205 h 1509319"/>
              <a:gd name="csX60" fmla="*/ 463579 w 768725"/>
              <a:gd name="csY60" fmla="*/ 62081 h 1509319"/>
              <a:gd name="csX61" fmla="*/ 463652 w 768725"/>
              <a:gd name="csY61" fmla="*/ 82953 h 1509319"/>
              <a:gd name="csX62" fmla="*/ 507205 w 768725"/>
              <a:gd name="csY62" fmla="*/ 85553 h 1509319"/>
              <a:gd name="csX63" fmla="*/ 513271 w 768725"/>
              <a:gd name="csY63" fmla="*/ 61890 h 1509319"/>
              <a:gd name="csX64" fmla="*/ 520203 w 768725"/>
              <a:gd name="csY64" fmla="*/ 18323 h 1509319"/>
              <a:gd name="csX65" fmla="*/ 534008 w 768725"/>
              <a:gd name="csY65" fmla="*/ 7785 h 1509319"/>
              <a:gd name="csX66" fmla="*/ 595925 w 768725"/>
              <a:gd name="csY66" fmla="*/ 16407 h 1509319"/>
              <a:gd name="csX67" fmla="*/ 619972 w 768725"/>
              <a:gd name="csY67" fmla="*/ 21156 h 1509319"/>
              <a:gd name="csX68" fmla="*/ 631161 w 768725"/>
              <a:gd name="csY68" fmla="*/ 36134 h 1509319"/>
              <a:gd name="csX69" fmla="*/ 628140 w 768725"/>
              <a:gd name="csY69" fmla="*/ 85104 h 1509319"/>
              <a:gd name="csX70" fmla="*/ 613954 w 768725"/>
              <a:gd name="csY70" fmla="*/ 179618 h 1509319"/>
              <a:gd name="csX71" fmla="*/ 586196 w 768725"/>
              <a:gd name="csY71" fmla="*/ 256886 h 1509319"/>
              <a:gd name="csX72" fmla="*/ 554619 w 768725"/>
              <a:gd name="csY72" fmla="*/ 295312 h 1509319"/>
              <a:gd name="csX73" fmla="*/ 538601 w 768725"/>
              <a:gd name="csY73" fmla="*/ 315001 h 1509319"/>
              <a:gd name="csX74" fmla="*/ 542630 w 768725"/>
              <a:gd name="csY74" fmla="*/ 326199 h 1509319"/>
              <a:gd name="csX75" fmla="*/ 560240 w 768725"/>
              <a:gd name="csY75" fmla="*/ 334912 h 1509319"/>
              <a:gd name="csX76" fmla="*/ 586933 w 768725"/>
              <a:gd name="csY76" fmla="*/ 371800 h 1509319"/>
              <a:gd name="csX77" fmla="*/ 563039 w 768725"/>
              <a:gd name="csY77" fmla="*/ 418184 h 1509319"/>
              <a:gd name="csX78" fmla="*/ 545522 w 768725"/>
              <a:gd name="csY78" fmla="*/ 427008 h 1509319"/>
              <a:gd name="csX79" fmla="*/ 535507 w 768725"/>
              <a:gd name="csY79" fmla="*/ 440667 h 1509319"/>
              <a:gd name="csX80" fmla="*/ 536723 w 768725"/>
              <a:gd name="csY80" fmla="*/ 537651 h 1509319"/>
              <a:gd name="csX81" fmla="*/ 539820 w 768725"/>
              <a:gd name="csY81" fmla="*/ 595237 h 1509319"/>
              <a:gd name="csX82" fmla="*/ 553105 w 768725"/>
              <a:gd name="csY82" fmla="*/ 746727 h 1509319"/>
              <a:gd name="csX83" fmla="*/ 576414 w 768725"/>
              <a:gd name="csY83" fmla="*/ 893042 h 1509319"/>
              <a:gd name="csX84" fmla="*/ 500356 w 768725"/>
              <a:gd name="csY84" fmla="*/ 473996 h 1509319"/>
              <a:gd name="csX85" fmla="*/ 499749 w 768725"/>
              <a:gd name="csY85" fmla="*/ 463598 h 1509319"/>
              <a:gd name="csX86" fmla="*/ 392525 w 768725"/>
              <a:gd name="csY86" fmla="*/ 471627 h 1509319"/>
              <a:gd name="csX87" fmla="*/ 392518 w 768725"/>
              <a:gd name="csY87" fmla="*/ 482742 h 1509319"/>
              <a:gd name="csX88" fmla="*/ 390814 w 768725"/>
              <a:gd name="csY88" fmla="*/ 596913 h 1509319"/>
              <a:gd name="csX89" fmla="*/ 385953 w 768725"/>
              <a:gd name="csY89" fmla="*/ 788374 h 1509319"/>
              <a:gd name="csX90" fmla="*/ 383485 w 768725"/>
              <a:gd name="csY90" fmla="*/ 884103 h 1509319"/>
              <a:gd name="csX91" fmla="*/ 380173 w 768725"/>
              <a:gd name="csY91" fmla="*/ 1035109 h 1509319"/>
              <a:gd name="csX92" fmla="*/ 378826 w 768725"/>
              <a:gd name="csY92" fmla="*/ 1068199 h 1509319"/>
              <a:gd name="csX93" fmla="*/ 380180 w 768725"/>
              <a:gd name="csY93" fmla="*/ 1074648 h 1509319"/>
              <a:gd name="csX94" fmla="*/ 446854 w 768725"/>
              <a:gd name="csY94" fmla="*/ 1074654 h 1509319"/>
              <a:gd name="csX95" fmla="*/ 513191 w 768725"/>
              <a:gd name="csY95" fmla="*/ 1074731 h 1509319"/>
              <a:gd name="csX96" fmla="*/ 580317 w 768725"/>
              <a:gd name="csY96" fmla="*/ 1075095 h 1509319"/>
              <a:gd name="csX97" fmla="*/ 500356 w 768725"/>
              <a:gd name="csY97" fmla="*/ 473996 h 1509319"/>
              <a:gd name="csX98" fmla="*/ 459731 w 768725"/>
              <a:gd name="csY98" fmla="*/ 1135086 h 1509319"/>
              <a:gd name="csX99" fmla="*/ 383756 w 768725"/>
              <a:gd name="csY99" fmla="*/ 1135086 h 1509319"/>
              <a:gd name="csX100" fmla="*/ 387612 w 768725"/>
              <a:gd name="csY100" fmla="*/ 1242590 h 1509319"/>
              <a:gd name="csX101" fmla="*/ 383907 w 768725"/>
              <a:gd name="csY101" fmla="*/ 1351330 h 1509319"/>
              <a:gd name="csX102" fmla="*/ 707112 w 768725"/>
              <a:gd name="csY102" fmla="*/ 1330559 h 1509319"/>
              <a:gd name="csX103" fmla="*/ 686366 w 768725"/>
              <a:gd name="csY103" fmla="*/ 1251637 h 1509319"/>
              <a:gd name="csX104" fmla="*/ 639403 w 768725"/>
              <a:gd name="csY104" fmla="*/ 1199952 h 1509319"/>
              <a:gd name="csX105" fmla="*/ 606292 w 768725"/>
              <a:gd name="csY105" fmla="*/ 1135508 h 1509319"/>
              <a:gd name="csX106" fmla="*/ 602971 w 768725"/>
              <a:gd name="csY106" fmla="*/ 1123400 h 1509319"/>
              <a:gd name="csX107" fmla="*/ 591474 w 768725"/>
              <a:gd name="csY107" fmla="*/ 1124633 h 1509319"/>
              <a:gd name="csX108" fmla="*/ 530551 w 768725"/>
              <a:gd name="csY108" fmla="*/ 1130880 h 1509319"/>
              <a:gd name="csX109" fmla="*/ 459731 w 768725"/>
              <a:gd name="csY109" fmla="*/ 1135086 h 1509319"/>
              <a:gd name="csX110" fmla="*/ 469505 w 768725"/>
              <a:gd name="csY110" fmla="*/ 116252 h 1509319"/>
              <a:gd name="csX111" fmla="*/ 443782 w 768725"/>
              <a:gd name="csY111" fmla="*/ 114911 h 1509319"/>
              <a:gd name="csX112" fmla="*/ 430007 w 768725"/>
              <a:gd name="csY112" fmla="*/ 99878 h 1509319"/>
              <a:gd name="csX113" fmla="*/ 429331 w 768725"/>
              <a:gd name="csY113" fmla="*/ 69197 h 1509319"/>
              <a:gd name="csX114" fmla="*/ 426333 w 768725"/>
              <a:gd name="csY114" fmla="*/ 34606 h 1509319"/>
              <a:gd name="csX115" fmla="*/ 377548 w 768725"/>
              <a:gd name="csY115" fmla="*/ 34613 h 1509319"/>
              <a:gd name="csX116" fmla="*/ 368004 w 768725"/>
              <a:gd name="csY116" fmla="*/ 44529 h 1509319"/>
              <a:gd name="csX117" fmla="*/ 366185 w 768725"/>
              <a:gd name="csY117" fmla="*/ 76343 h 1509319"/>
              <a:gd name="csX118" fmla="*/ 379384 w 768725"/>
              <a:gd name="csY118" fmla="*/ 206619 h 1509319"/>
              <a:gd name="csX119" fmla="*/ 390997 w 768725"/>
              <a:gd name="csY119" fmla="*/ 277965 h 1509319"/>
              <a:gd name="csX120" fmla="*/ 394040 w 768725"/>
              <a:gd name="csY120" fmla="*/ 305053 h 1509319"/>
              <a:gd name="csX121" fmla="*/ 501758 w 768725"/>
              <a:gd name="csY121" fmla="*/ 304814 h 1509319"/>
              <a:gd name="csX122" fmla="*/ 510340 w 768725"/>
              <a:gd name="csY122" fmla="*/ 299427 h 1509319"/>
              <a:gd name="csX123" fmla="*/ 526940 w 768725"/>
              <a:gd name="csY123" fmla="*/ 279822 h 1509319"/>
              <a:gd name="csX124" fmla="*/ 576920 w 768725"/>
              <a:gd name="csY124" fmla="*/ 192342 h 1509319"/>
              <a:gd name="csX125" fmla="*/ 594042 w 768725"/>
              <a:gd name="csY125" fmla="*/ 74918 h 1509319"/>
              <a:gd name="csX126" fmla="*/ 594159 w 768725"/>
              <a:gd name="csY126" fmla="*/ 49195 h 1509319"/>
              <a:gd name="csX127" fmla="*/ 554791 w 768725"/>
              <a:gd name="csY127" fmla="*/ 42552 h 1509319"/>
              <a:gd name="csX128" fmla="*/ 552461 w 768725"/>
              <a:gd name="csY128" fmla="*/ 55598 h 1509319"/>
              <a:gd name="csX129" fmla="*/ 544678 w 768725"/>
              <a:gd name="csY129" fmla="*/ 102721 h 1509319"/>
              <a:gd name="csX130" fmla="*/ 525701 w 768725"/>
              <a:gd name="csY130" fmla="*/ 118186 h 1509319"/>
              <a:gd name="csX131" fmla="*/ 469505 w 768725"/>
              <a:gd name="csY131" fmla="*/ 116252 h 1509319"/>
              <a:gd name="csX132" fmla="*/ 513928 w 768725"/>
              <a:gd name="csY132" fmla="*/ 1403203 h 1509319"/>
              <a:gd name="csX133" fmla="*/ 379322 w 768725"/>
              <a:gd name="csY133" fmla="*/ 1404000 h 1509319"/>
              <a:gd name="csX134" fmla="*/ 379322 w 768725"/>
              <a:gd name="csY134" fmla="*/ 1460424 h 1509319"/>
              <a:gd name="csX135" fmla="*/ 726554 w 768725"/>
              <a:gd name="csY135" fmla="*/ 1439225 h 1509319"/>
              <a:gd name="csX136" fmla="*/ 721089 w 768725"/>
              <a:gd name="csY136" fmla="*/ 1397750 h 1509319"/>
              <a:gd name="csX137" fmla="*/ 697967 w 768725"/>
              <a:gd name="csY137" fmla="*/ 1385046 h 1509319"/>
              <a:gd name="csX138" fmla="*/ 619039 w 768725"/>
              <a:gd name="csY138" fmla="*/ 1395892 h 1509319"/>
              <a:gd name="csX139" fmla="*/ 513928 w 768725"/>
              <a:gd name="csY139" fmla="*/ 1403203 h 1509319"/>
              <a:gd name="csX140" fmla="*/ 462814 w 768725"/>
              <a:gd name="csY140" fmla="*/ 375981 h 1509319"/>
              <a:gd name="csX141" fmla="*/ 538992 w 768725"/>
              <a:gd name="csY141" fmla="*/ 375736 h 1509319"/>
              <a:gd name="csX142" fmla="*/ 551835 w 768725"/>
              <a:gd name="csY142" fmla="*/ 373923 h 1509319"/>
              <a:gd name="csX143" fmla="*/ 539689 w 768725"/>
              <a:gd name="csY143" fmla="*/ 356085 h 1509319"/>
              <a:gd name="csX144" fmla="*/ 521074 w 768725"/>
              <a:gd name="csY144" fmla="*/ 344186 h 1509319"/>
              <a:gd name="csX145" fmla="*/ 503789 w 768725"/>
              <a:gd name="csY145" fmla="*/ 339280 h 1509319"/>
              <a:gd name="csX146" fmla="*/ 404270 w 768725"/>
              <a:gd name="csY146" fmla="*/ 339994 h 1509319"/>
              <a:gd name="csX147" fmla="*/ 393081 w 768725"/>
              <a:gd name="csY147" fmla="*/ 340868 h 1509319"/>
              <a:gd name="csX148" fmla="*/ 395001 w 768725"/>
              <a:gd name="csY148" fmla="*/ 375976 h 1509319"/>
              <a:gd name="csX149" fmla="*/ 462814 w 768725"/>
              <a:gd name="csY149" fmla="*/ 375981 h 150931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</a:cxnLst>
            <a:rect l="l" t="t" r="r" b="b"/>
            <a:pathLst>
              <a:path w="768725" h="1509319">
                <a:moveTo>
                  <a:pt x="576414" y="893042"/>
                </a:moveTo>
                <a:cubicBezTo>
                  <a:pt x="588806" y="949146"/>
                  <a:pt x="601091" y="1004202"/>
                  <a:pt x="613047" y="1059329"/>
                </a:cubicBezTo>
                <a:cubicBezTo>
                  <a:pt x="614432" y="1065716"/>
                  <a:pt x="617736" y="1069332"/>
                  <a:pt x="623337" y="1071825"/>
                </a:cubicBezTo>
                <a:cubicBezTo>
                  <a:pt x="628942" y="1074320"/>
                  <a:pt x="634521" y="1076938"/>
                  <a:pt x="639863" y="1079946"/>
                </a:cubicBezTo>
                <a:cubicBezTo>
                  <a:pt x="650944" y="1086186"/>
                  <a:pt x="655598" y="1096871"/>
                  <a:pt x="652266" y="1109045"/>
                </a:cubicBezTo>
                <a:cubicBezTo>
                  <a:pt x="650545" y="1115333"/>
                  <a:pt x="647953" y="1121401"/>
                  <a:pt x="645501" y="1127466"/>
                </a:cubicBezTo>
                <a:cubicBezTo>
                  <a:pt x="643225" y="1133097"/>
                  <a:pt x="643438" y="1138435"/>
                  <a:pt x="645547" y="1144138"/>
                </a:cubicBezTo>
                <a:cubicBezTo>
                  <a:pt x="649868" y="1155821"/>
                  <a:pt x="655892" y="1166306"/>
                  <a:pt x="664589" y="1175322"/>
                </a:cubicBezTo>
                <a:cubicBezTo>
                  <a:pt x="680503" y="1191819"/>
                  <a:pt x="696298" y="1208434"/>
                  <a:pt x="712015" y="1225118"/>
                </a:cubicBezTo>
                <a:cubicBezTo>
                  <a:pt x="731931" y="1246258"/>
                  <a:pt x="740856" y="1272032"/>
                  <a:pt x="744465" y="1300385"/>
                </a:cubicBezTo>
                <a:cubicBezTo>
                  <a:pt x="746614" y="1317273"/>
                  <a:pt x="744537" y="1333855"/>
                  <a:pt x="743270" y="1350524"/>
                </a:cubicBezTo>
                <a:cubicBezTo>
                  <a:pt x="742916" y="1355183"/>
                  <a:pt x="743079" y="1358990"/>
                  <a:pt x="745429" y="1363274"/>
                </a:cubicBezTo>
                <a:cubicBezTo>
                  <a:pt x="761335" y="1392276"/>
                  <a:pt x="766719" y="1423956"/>
                  <a:pt x="768672" y="1456512"/>
                </a:cubicBezTo>
                <a:cubicBezTo>
                  <a:pt x="769161" y="1464651"/>
                  <a:pt x="766327" y="1469951"/>
                  <a:pt x="758521" y="1472434"/>
                </a:cubicBezTo>
                <a:cubicBezTo>
                  <a:pt x="749176" y="1475406"/>
                  <a:pt x="739961" y="1478919"/>
                  <a:pt x="730455" y="1481228"/>
                </a:cubicBezTo>
                <a:cubicBezTo>
                  <a:pt x="685866" y="1492058"/>
                  <a:pt x="640613" y="1498445"/>
                  <a:pt x="594867" y="1502210"/>
                </a:cubicBezTo>
                <a:cubicBezTo>
                  <a:pt x="503351" y="1509743"/>
                  <a:pt x="411695" y="1510364"/>
                  <a:pt x="320018" y="1508300"/>
                </a:cubicBezTo>
                <a:cubicBezTo>
                  <a:pt x="275466" y="1507297"/>
                  <a:pt x="230913" y="1504582"/>
                  <a:pt x="186464" y="1501258"/>
                </a:cubicBezTo>
                <a:cubicBezTo>
                  <a:pt x="132610" y="1497231"/>
                  <a:pt x="79072" y="1490389"/>
                  <a:pt x="26582" y="1477021"/>
                </a:cubicBezTo>
                <a:cubicBezTo>
                  <a:pt x="18195" y="1474885"/>
                  <a:pt x="9735" y="1472585"/>
                  <a:pt x="3929" y="1465652"/>
                </a:cubicBezTo>
                <a:cubicBezTo>
                  <a:pt x="1807" y="1463117"/>
                  <a:pt x="-213" y="1459275"/>
                  <a:pt x="18" y="1456203"/>
                </a:cubicBezTo>
                <a:cubicBezTo>
                  <a:pt x="995" y="1443177"/>
                  <a:pt x="2714" y="1430200"/>
                  <a:pt x="4393" y="1417235"/>
                </a:cubicBezTo>
                <a:cubicBezTo>
                  <a:pt x="6515" y="1400846"/>
                  <a:pt x="11310" y="1385118"/>
                  <a:pt x="19158" y="1370678"/>
                </a:cubicBezTo>
                <a:cubicBezTo>
                  <a:pt x="24205" y="1361393"/>
                  <a:pt x="24576" y="1352443"/>
                  <a:pt x="23255" y="1342388"/>
                </a:cubicBezTo>
                <a:cubicBezTo>
                  <a:pt x="18901" y="1309218"/>
                  <a:pt x="21603" y="1276876"/>
                  <a:pt x="38705" y="1247261"/>
                </a:cubicBezTo>
                <a:cubicBezTo>
                  <a:pt x="44179" y="1237783"/>
                  <a:pt x="50956" y="1228786"/>
                  <a:pt x="58454" y="1220807"/>
                </a:cubicBezTo>
                <a:cubicBezTo>
                  <a:pt x="73024" y="1205299"/>
                  <a:pt x="88543" y="1190683"/>
                  <a:pt x="103638" y="1175667"/>
                </a:cubicBezTo>
                <a:cubicBezTo>
                  <a:pt x="112161" y="1167189"/>
                  <a:pt x="118801" y="1157513"/>
                  <a:pt x="122996" y="1146131"/>
                </a:cubicBezTo>
                <a:cubicBezTo>
                  <a:pt x="125249" y="1140016"/>
                  <a:pt x="125488" y="1134282"/>
                  <a:pt x="122689" y="1128316"/>
                </a:cubicBezTo>
                <a:cubicBezTo>
                  <a:pt x="120431" y="1123504"/>
                  <a:pt x="118446" y="1118553"/>
                  <a:pt x="116576" y="1113575"/>
                </a:cubicBezTo>
                <a:cubicBezTo>
                  <a:pt x="111153" y="1099133"/>
                  <a:pt x="114404" y="1089299"/>
                  <a:pt x="127479" y="1081076"/>
                </a:cubicBezTo>
                <a:cubicBezTo>
                  <a:pt x="130563" y="1079137"/>
                  <a:pt x="134000" y="1077564"/>
                  <a:pt x="137480" y="1076482"/>
                </a:cubicBezTo>
                <a:cubicBezTo>
                  <a:pt x="148800" y="1072962"/>
                  <a:pt x="154794" y="1065351"/>
                  <a:pt x="157312" y="1053855"/>
                </a:cubicBezTo>
                <a:cubicBezTo>
                  <a:pt x="164312" y="1021900"/>
                  <a:pt x="172752" y="990234"/>
                  <a:pt x="178876" y="958120"/>
                </a:cubicBezTo>
                <a:cubicBezTo>
                  <a:pt x="190055" y="899504"/>
                  <a:pt x="200649" y="840756"/>
                  <a:pt x="210165" y="781849"/>
                </a:cubicBezTo>
                <a:cubicBezTo>
                  <a:pt x="215898" y="746366"/>
                  <a:pt x="219868" y="710550"/>
                  <a:pt x="223295" y="674755"/>
                </a:cubicBezTo>
                <a:cubicBezTo>
                  <a:pt x="226801" y="638133"/>
                  <a:pt x="229185" y="601381"/>
                  <a:pt x="231121" y="564636"/>
                </a:cubicBezTo>
                <a:cubicBezTo>
                  <a:pt x="233079" y="527469"/>
                  <a:pt x="233899" y="490241"/>
                  <a:pt x="235173" y="453038"/>
                </a:cubicBezTo>
                <a:cubicBezTo>
                  <a:pt x="235285" y="449770"/>
                  <a:pt x="235108" y="446488"/>
                  <a:pt x="235001" y="443215"/>
                </a:cubicBezTo>
                <a:cubicBezTo>
                  <a:pt x="234761" y="435907"/>
                  <a:pt x="231291" y="431283"/>
                  <a:pt x="224321" y="428479"/>
                </a:cubicBezTo>
                <a:cubicBezTo>
                  <a:pt x="217531" y="425747"/>
                  <a:pt x="210873" y="422395"/>
                  <a:pt x="204712" y="418450"/>
                </a:cubicBezTo>
                <a:cubicBezTo>
                  <a:pt x="187562" y="407468"/>
                  <a:pt x="179141" y="385623"/>
                  <a:pt x="184069" y="366060"/>
                </a:cubicBezTo>
                <a:cubicBezTo>
                  <a:pt x="187270" y="353354"/>
                  <a:pt x="195406" y="344379"/>
                  <a:pt x="206519" y="338181"/>
                </a:cubicBezTo>
                <a:cubicBezTo>
                  <a:pt x="212922" y="334611"/>
                  <a:pt x="219930" y="332132"/>
                  <a:pt x="226643" y="329113"/>
                </a:cubicBezTo>
                <a:cubicBezTo>
                  <a:pt x="236636" y="324620"/>
                  <a:pt x="238185" y="320246"/>
                  <a:pt x="232085" y="311135"/>
                </a:cubicBezTo>
                <a:cubicBezTo>
                  <a:pt x="229169" y="306779"/>
                  <a:pt x="225643" y="302195"/>
                  <a:pt x="221280" y="299552"/>
                </a:cubicBezTo>
                <a:cubicBezTo>
                  <a:pt x="194874" y="283553"/>
                  <a:pt x="183766" y="257401"/>
                  <a:pt x="173478" y="230303"/>
                </a:cubicBezTo>
                <a:cubicBezTo>
                  <a:pt x="156973" y="186824"/>
                  <a:pt x="146078" y="142097"/>
                  <a:pt x="141864" y="95780"/>
                </a:cubicBezTo>
                <a:cubicBezTo>
                  <a:pt x="140086" y="76240"/>
                  <a:pt x="138323" y="56689"/>
                  <a:pt x="137158" y="37107"/>
                </a:cubicBezTo>
                <a:cubicBezTo>
                  <a:pt x="136482" y="25735"/>
                  <a:pt x="137408" y="24372"/>
                  <a:pt x="148750" y="22335"/>
                </a:cubicBezTo>
                <a:cubicBezTo>
                  <a:pt x="178094" y="17065"/>
                  <a:pt x="207551" y="12418"/>
                  <a:pt x="236982" y="7640"/>
                </a:cubicBezTo>
                <a:cubicBezTo>
                  <a:pt x="239748" y="7191"/>
                  <a:pt x="242650" y="7580"/>
                  <a:pt x="246862" y="7580"/>
                </a:cubicBezTo>
                <a:cubicBezTo>
                  <a:pt x="255824" y="32568"/>
                  <a:pt x="255201" y="59502"/>
                  <a:pt x="261473" y="86763"/>
                </a:cubicBezTo>
                <a:cubicBezTo>
                  <a:pt x="276122" y="85715"/>
                  <a:pt x="290587" y="84680"/>
                  <a:pt x="306246" y="83559"/>
                </a:cubicBezTo>
                <a:cubicBezTo>
                  <a:pt x="306524" y="78935"/>
                  <a:pt x="306966" y="75011"/>
                  <a:pt x="306960" y="71087"/>
                </a:cubicBezTo>
                <a:cubicBezTo>
                  <a:pt x="306936" y="53888"/>
                  <a:pt x="306633" y="36688"/>
                  <a:pt x="306724" y="19491"/>
                </a:cubicBezTo>
                <a:cubicBezTo>
                  <a:pt x="306789" y="7258"/>
                  <a:pt x="307148" y="6664"/>
                  <a:pt x="319581" y="4733"/>
                </a:cubicBezTo>
                <a:cubicBezTo>
                  <a:pt x="356571" y="-1011"/>
                  <a:pt x="393735" y="-1048"/>
                  <a:pt x="430956" y="2070"/>
                </a:cubicBezTo>
                <a:cubicBezTo>
                  <a:pt x="432994" y="2241"/>
                  <a:pt x="435026" y="2485"/>
                  <a:pt x="437066" y="2646"/>
                </a:cubicBezTo>
                <a:cubicBezTo>
                  <a:pt x="455684" y="4122"/>
                  <a:pt x="457626" y="5472"/>
                  <a:pt x="460335" y="24205"/>
                </a:cubicBezTo>
                <a:cubicBezTo>
                  <a:pt x="462146" y="36727"/>
                  <a:pt x="462770" y="49435"/>
                  <a:pt x="463579" y="62081"/>
                </a:cubicBezTo>
                <a:cubicBezTo>
                  <a:pt x="463995" y="68573"/>
                  <a:pt x="463652" y="75113"/>
                  <a:pt x="463652" y="82953"/>
                </a:cubicBezTo>
                <a:cubicBezTo>
                  <a:pt x="478793" y="83857"/>
                  <a:pt x="492851" y="84696"/>
                  <a:pt x="507205" y="85553"/>
                </a:cubicBezTo>
                <a:cubicBezTo>
                  <a:pt x="512102" y="78145"/>
                  <a:pt x="511920" y="69770"/>
                  <a:pt x="513271" y="61890"/>
                </a:cubicBezTo>
                <a:cubicBezTo>
                  <a:pt x="515756" y="47397"/>
                  <a:pt x="517439" y="32758"/>
                  <a:pt x="520203" y="18323"/>
                </a:cubicBezTo>
                <a:cubicBezTo>
                  <a:pt x="522330" y="7216"/>
                  <a:pt x="522926" y="6539"/>
                  <a:pt x="534008" y="7785"/>
                </a:cubicBezTo>
                <a:cubicBezTo>
                  <a:pt x="554709" y="10113"/>
                  <a:pt x="575316" y="13322"/>
                  <a:pt x="595925" y="16407"/>
                </a:cubicBezTo>
                <a:cubicBezTo>
                  <a:pt x="604001" y="17616"/>
                  <a:pt x="612093" y="19051"/>
                  <a:pt x="619972" y="21156"/>
                </a:cubicBezTo>
                <a:cubicBezTo>
                  <a:pt x="628887" y="23538"/>
                  <a:pt x="631496" y="26848"/>
                  <a:pt x="631161" y="36134"/>
                </a:cubicBezTo>
                <a:cubicBezTo>
                  <a:pt x="630572" y="52475"/>
                  <a:pt x="629765" y="68840"/>
                  <a:pt x="628140" y="85104"/>
                </a:cubicBezTo>
                <a:cubicBezTo>
                  <a:pt x="624968" y="116827"/>
                  <a:pt x="621618" y="148545"/>
                  <a:pt x="613954" y="179618"/>
                </a:cubicBezTo>
                <a:cubicBezTo>
                  <a:pt x="607361" y="206344"/>
                  <a:pt x="597791" y="231950"/>
                  <a:pt x="586196" y="256886"/>
                </a:cubicBezTo>
                <a:cubicBezTo>
                  <a:pt x="578940" y="272491"/>
                  <a:pt x="568647" y="285371"/>
                  <a:pt x="554619" y="295312"/>
                </a:cubicBezTo>
                <a:cubicBezTo>
                  <a:pt x="547467" y="300381"/>
                  <a:pt x="541673" y="306562"/>
                  <a:pt x="538601" y="315001"/>
                </a:cubicBezTo>
                <a:cubicBezTo>
                  <a:pt x="536802" y="319945"/>
                  <a:pt x="537533" y="323761"/>
                  <a:pt x="542630" y="326199"/>
                </a:cubicBezTo>
                <a:cubicBezTo>
                  <a:pt x="548539" y="329025"/>
                  <a:pt x="554513" y="331748"/>
                  <a:pt x="560240" y="334912"/>
                </a:cubicBezTo>
                <a:cubicBezTo>
                  <a:pt x="574874" y="342998"/>
                  <a:pt x="586216" y="353688"/>
                  <a:pt x="586933" y="371800"/>
                </a:cubicBezTo>
                <a:cubicBezTo>
                  <a:pt x="587721" y="391697"/>
                  <a:pt x="581146" y="407998"/>
                  <a:pt x="563039" y="418184"/>
                </a:cubicBezTo>
                <a:cubicBezTo>
                  <a:pt x="557338" y="421391"/>
                  <a:pt x="551634" y="424825"/>
                  <a:pt x="545522" y="427008"/>
                </a:cubicBezTo>
                <a:cubicBezTo>
                  <a:pt x="538690" y="429449"/>
                  <a:pt x="535443" y="433770"/>
                  <a:pt x="535507" y="440667"/>
                </a:cubicBezTo>
                <a:cubicBezTo>
                  <a:pt x="535813" y="472997"/>
                  <a:pt x="535953" y="505332"/>
                  <a:pt x="536723" y="537651"/>
                </a:cubicBezTo>
                <a:cubicBezTo>
                  <a:pt x="537181" y="556862"/>
                  <a:pt x="538274" y="576081"/>
                  <a:pt x="539820" y="595237"/>
                </a:cubicBezTo>
                <a:cubicBezTo>
                  <a:pt x="543897" y="645768"/>
                  <a:pt x="546950" y="696441"/>
                  <a:pt x="553105" y="746727"/>
                </a:cubicBezTo>
                <a:cubicBezTo>
                  <a:pt x="559060" y="795370"/>
                  <a:pt x="568372" y="843602"/>
                  <a:pt x="576414" y="893042"/>
                </a:cubicBezTo>
                <a:moveTo>
                  <a:pt x="500356" y="473996"/>
                </a:moveTo>
                <a:cubicBezTo>
                  <a:pt x="500146" y="470396"/>
                  <a:pt x="499936" y="466797"/>
                  <a:pt x="499749" y="463598"/>
                </a:cubicBezTo>
                <a:cubicBezTo>
                  <a:pt x="463731" y="466295"/>
                  <a:pt x="428548" y="468929"/>
                  <a:pt x="392525" y="471627"/>
                </a:cubicBezTo>
                <a:cubicBezTo>
                  <a:pt x="392525" y="475456"/>
                  <a:pt x="392570" y="479099"/>
                  <a:pt x="392518" y="482742"/>
                </a:cubicBezTo>
                <a:cubicBezTo>
                  <a:pt x="391977" y="520799"/>
                  <a:pt x="391669" y="558862"/>
                  <a:pt x="390814" y="596913"/>
                </a:cubicBezTo>
                <a:cubicBezTo>
                  <a:pt x="389379" y="660737"/>
                  <a:pt x="387596" y="724554"/>
                  <a:pt x="385953" y="788374"/>
                </a:cubicBezTo>
                <a:cubicBezTo>
                  <a:pt x="385132" y="820284"/>
                  <a:pt x="384217" y="852191"/>
                  <a:pt x="383485" y="884103"/>
                </a:cubicBezTo>
                <a:cubicBezTo>
                  <a:pt x="382329" y="934437"/>
                  <a:pt x="381336" y="984775"/>
                  <a:pt x="380173" y="1035109"/>
                </a:cubicBezTo>
                <a:cubicBezTo>
                  <a:pt x="379918" y="1046143"/>
                  <a:pt x="379172" y="1057166"/>
                  <a:pt x="378826" y="1068199"/>
                </a:cubicBezTo>
                <a:cubicBezTo>
                  <a:pt x="378768" y="1070073"/>
                  <a:pt x="379592" y="1071975"/>
                  <a:pt x="380180" y="1074648"/>
                </a:cubicBezTo>
                <a:cubicBezTo>
                  <a:pt x="402724" y="1074648"/>
                  <a:pt x="424789" y="1074626"/>
                  <a:pt x="446854" y="1074654"/>
                </a:cubicBezTo>
                <a:cubicBezTo>
                  <a:pt x="468967" y="1074682"/>
                  <a:pt x="491084" y="1075062"/>
                  <a:pt x="513191" y="1074731"/>
                </a:cubicBezTo>
                <a:cubicBezTo>
                  <a:pt x="535020" y="1074404"/>
                  <a:pt x="556890" y="1078397"/>
                  <a:pt x="580317" y="1075095"/>
                </a:cubicBezTo>
                <a:cubicBezTo>
                  <a:pt x="530688" y="877741"/>
                  <a:pt x="498514" y="679261"/>
                  <a:pt x="500356" y="473996"/>
                </a:cubicBezTo>
                <a:moveTo>
                  <a:pt x="459731" y="1135086"/>
                </a:moveTo>
                <a:cubicBezTo>
                  <a:pt x="434501" y="1135086"/>
                  <a:pt x="409270" y="1135086"/>
                  <a:pt x="383756" y="1135086"/>
                </a:cubicBezTo>
                <a:cubicBezTo>
                  <a:pt x="385145" y="1171037"/>
                  <a:pt x="387590" y="1206813"/>
                  <a:pt x="387612" y="1242590"/>
                </a:cubicBezTo>
                <a:cubicBezTo>
                  <a:pt x="387634" y="1278699"/>
                  <a:pt x="385252" y="1314810"/>
                  <a:pt x="383907" y="1351330"/>
                </a:cubicBezTo>
                <a:cubicBezTo>
                  <a:pt x="493016" y="1355954"/>
                  <a:pt x="600298" y="1349068"/>
                  <a:pt x="707112" y="1330559"/>
                </a:cubicBezTo>
                <a:cubicBezTo>
                  <a:pt x="710922" y="1301049"/>
                  <a:pt x="703971" y="1274394"/>
                  <a:pt x="686366" y="1251637"/>
                </a:cubicBezTo>
                <a:cubicBezTo>
                  <a:pt x="672164" y="1233278"/>
                  <a:pt x="655625" y="1216649"/>
                  <a:pt x="639403" y="1199952"/>
                </a:cubicBezTo>
                <a:cubicBezTo>
                  <a:pt x="621690" y="1181720"/>
                  <a:pt x="611031" y="1160243"/>
                  <a:pt x="606292" y="1135508"/>
                </a:cubicBezTo>
                <a:cubicBezTo>
                  <a:pt x="605546" y="1131614"/>
                  <a:pt x="604205" y="1127833"/>
                  <a:pt x="602971" y="1123400"/>
                </a:cubicBezTo>
                <a:cubicBezTo>
                  <a:pt x="598647" y="1123864"/>
                  <a:pt x="595062" y="1124258"/>
                  <a:pt x="591474" y="1124633"/>
                </a:cubicBezTo>
                <a:cubicBezTo>
                  <a:pt x="571170" y="1126753"/>
                  <a:pt x="550896" y="1129262"/>
                  <a:pt x="530551" y="1130880"/>
                </a:cubicBezTo>
                <a:cubicBezTo>
                  <a:pt x="507752" y="1132694"/>
                  <a:pt x="484887" y="1133699"/>
                  <a:pt x="459731" y="1135086"/>
                </a:cubicBezTo>
                <a:moveTo>
                  <a:pt x="469505" y="116252"/>
                </a:moveTo>
                <a:cubicBezTo>
                  <a:pt x="460926" y="115846"/>
                  <a:pt x="452288" y="115932"/>
                  <a:pt x="443782" y="114911"/>
                </a:cubicBezTo>
                <a:cubicBezTo>
                  <a:pt x="433023" y="113619"/>
                  <a:pt x="430601" y="110848"/>
                  <a:pt x="430007" y="99878"/>
                </a:cubicBezTo>
                <a:cubicBezTo>
                  <a:pt x="429457" y="89668"/>
                  <a:pt x="429903" y="79404"/>
                  <a:pt x="429331" y="69197"/>
                </a:cubicBezTo>
                <a:cubicBezTo>
                  <a:pt x="428702" y="57943"/>
                  <a:pt x="427414" y="46725"/>
                  <a:pt x="426333" y="34606"/>
                </a:cubicBezTo>
                <a:cubicBezTo>
                  <a:pt x="409217" y="34606"/>
                  <a:pt x="393383" y="34593"/>
                  <a:pt x="377548" y="34613"/>
                </a:cubicBezTo>
                <a:cubicBezTo>
                  <a:pt x="370973" y="34621"/>
                  <a:pt x="368175" y="37880"/>
                  <a:pt x="368004" y="44529"/>
                </a:cubicBezTo>
                <a:cubicBezTo>
                  <a:pt x="367731" y="55142"/>
                  <a:pt x="366531" y="65729"/>
                  <a:pt x="366185" y="76343"/>
                </a:cubicBezTo>
                <a:cubicBezTo>
                  <a:pt x="364748" y="120348"/>
                  <a:pt x="372586" y="163440"/>
                  <a:pt x="379384" y="206619"/>
                </a:cubicBezTo>
                <a:cubicBezTo>
                  <a:pt x="383132" y="230420"/>
                  <a:pt x="387281" y="254159"/>
                  <a:pt x="390997" y="277965"/>
                </a:cubicBezTo>
                <a:cubicBezTo>
                  <a:pt x="392356" y="286668"/>
                  <a:pt x="392988" y="295485"/>
                  <a:pt x="394040" y="305053"/>
                </a:cubicBezTo>
                <a:cubicBezTo>
                  <a:pt x="430625" y="305053"/>
                  <a:pt x="466194" y="305182"/>
                  <a:pt x="501758" y="304814"/>
                </a:cubicBezTo>
                <a:cubicBezTo>
                  <a:pt x="504672" y="304784"/>
                  <a:pt x="508099" y="301870"/>
                  <a:pt x="510340" y="299427"/>
                </a:cubicBezTo>
                <a:cubicBezTo>
                  <a:pt x="516125" y="293119"/>
                  <a:pt x="520822" y="285749"/>
                  <a:pt x="526940" y="279822"/>
                </a:cubicBezTo>
                <a:cubicBezTo>
                  <a:pt x="552103" y="255447"/>
                  <a:pt x="566819" y="225104"/>
                  <a:pt x="576920" y="192342"/>
                </a:cubicBezTo>
                <a:cubicBezTo>
                  <a:pt x="588690" y="154165"/>
                  <a:pt x="590063" y="114309"/>
                  <a:pt x="594042" y="74918"/>
                </a:cubicBezTo>
                <a:cubicBezTo>
                  <a:pt x="594852" y="66901"/>
                  <a:pt x="594159" y="58731"/>
                  <a:pt x="594159" y="49195"/>
                </a:cubicBezTo>
                <a:cubicBezTo>
                  <a:pt x="581125" y="46996"/>
                  <a:pt x="568493" y="44864"/>
                  <a:pt x="554791" y="42552"/>
                </a:cubicBezTo>
                <a:cubicBezTo>
                  <a:pt x="553857" y="47762"/>
                  <a:pt x="553099" y="51670"/>
                  <a:pt x="552461" y="55598"/>
                </a:cubicBezTo>
                <a:cubicBezTo>
                  <a:pt x="549905" y="71314"/>
                  <a:pt x="547903" y="87144"/>
                  <a:pt x="544678" y="102721"/>
                </a:cubicBezTo>
                <a:cubicBezTo>
                  <a:pt x="542363" y="113902"/>
                  <a:pt x="537010" y="118223"/>
                  <a:pt x="525701" y="118186"/>
                </a:cubicBezTo>
                <a:cubicBezTo>
                  <a:pt x="507730" y="118128"/>
                  <a:pt x="489762" y="117027"/>
                  <a:pt x="469505" y="116252"/>
                </a:cubicBezTo>
                <a:moveTo>
                  <a:pt x="513928" y="1403203"/>
                </a:moveTo>
                <a:cubicBezTo>
                  <a:pt x="469441" y="1403467"/>
                  <a:pt x="424955" y="1403730"/>
                  <a:pt x="379322" y="1404000"/>
                </a:cubicBezTo>
                <a:cubicBezTo>
                  <a:pt x="379322" y="1423089"/>
                  <a:pt x="379322" y="1440883"/>
                  <a:pt x="379322" y="1460424"/>
                </a:cubicBezTo>
                <a:cubicBezTo>
                  <a:pt x="496078" y="1471584"/>
                  <a:pt x="611510" y="1462301"/>
                  <a:pt x="726554" y="1439225"/>
                </a:cubicBezTo>
                <a:cubicBezTo>
                  <a:pt x="728615" y="1424350"/>
                  <a:pt x="725601" y="1410872"/>
                  <a:pt x="721089" y="1397750"/>
                </a:cubicBezTo>
                <a:cubicBezTo>
                  <a:pt x="717269" y="1386638"/>
                  <a:pt x="709802" y="1383286"/>
                  <a:pt x="697967" y="1385046"/>
                </a:cubicBezTo>
                <a:cubicBezTo>
                  <a:pt x="671697" y="1388954"/>
                  <a:pt x="645454" y="1393360"/>
                  <a:pt x="619039" y="1395892"/>
                </a:cubicBezTo>
                <a:cubicBezTo>
                  <a:pt x="584863" y="1399168"/>
                  <a:pt x="550531" y="1400815"/>
                  <a:pt x="513928" y="1403203"/>
                </a:cubicBezTo>
                <a:moveTo>
                  <a:pt x="462814" y="375981"/>
                </a:moveTo>
                <a:cubicBezTo>
                  <a:pt x="488207" y="375927"/>
                  <a:pt x="513601" y="375954"/>
                  <a:pt x="538992" y="375736"/>
                </a:cubicBezTo>
                <a:cubicBezTo>
                  <a:pt x="543170" y="375700"/>
                  <a:pt x="547338" y="374587"/>
                  <a:pt x="551835" y="373923"/>
                </a:cubicBezTo>
                <a:cubicBezTo>
                  <a:pt x="550780" y="364535"/>
                  <a:pt x="545320" y="360090"/>
                  <a:pt x="539689" y="356085"/>
                </a:cubicBezTo>
                <a:cubicBezTo>
                  <a:pt x="533696" y="351821"/>
                  <a:pt x="527145" y="348349"/>
                  <a:pt x="521074" y="344186"/>
                </a:cubicBezTo>
                <a:cubicBezTo>
                  <a:pt x="515783" y="340559"/>
                  <a:pt x="510232" y="339198"/>
                  <a:pt x="503789" y="339280"/>
                </a:cubicBezTo>
                <a:cubicBezTo>
                  <a:pt x="470618" y="339700"/>
                  <a:pt x="437443" y="339744"/>
                  <a:pt x="404270" y="339994"/>
                </a:cubicBezTo>
                <a:cubicBezTo>
                  <a:pt x="400758" y="340021"/>
                  <a:pt x="397250" y="340529"/>
                  <a:pt x="393081" y="340868"/>
                </a:cubicBezTo>
                <a:cubicBezTo>
                  <a:pt x="393653" y="352908"/>
                  <a:pt x="392145" y="363845"/>
                  <a:pt x="395001" y="375976"/>
                </a:cubicBezTo>
                <a:cubicBezTo>
                  <a:pt x="417133" y="375976"/>
                  <a:pt x="438745" y="375976"/>
                  <a:pt x="462814" y="375981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20" name="Free-form: Shape 419">
            <a:extLst>
              <a:ext uri="{FF2B5EF4-FFF2-40B4-BE49-F238E27FC236}">
                <a16:creationId xmlns:a16="http://schemas.microsoft.com/office/drawing/2014/main" id="{610722E1-3228-86F0-1750-2A92CBCBE60F}"/>
              </a:ext>
            </a:extLst>
          </p:cNvPr>
          <p:cNvSpPr/>
          <p:nvPr/>
        </p:nvSpPr>
        <p:spPr>
          <a:xfrm>
            <a:off x="2755288" y="4375392"/>
            <a:ext cx="155564" cy="520442"/>
          </a:xfrm>
          <a:custGeom>
            <a:avLst/>
            <a:gdLst>
              <a:gd name="csX0" fmla="*/ 121535 w 201493"/>
              <a:gd name="csY0" fmla="*/ 11562 h 612813"/>
              <a:gd name="csX1" fmla="*/ 201493 w 201493"/>
              <a:gd name="csY1" fmla="*/ 611498 h 612813"/>
              <a:gd name="csX2" fmla="*/ 134368 w 201493"/>
              <a:gd name="csY2" fmla="*/ 611133 h 612813"/>
              <a:gd name="csX3" fmla="*/ 68030 w 201493"/>
              <a:gd name="csY3" fmla="*/ 611056 h 612813"/>
              <a:gd name="csX4" fmla="*/ 1357 w 201493"/>
              <a:gd name="csY4" fmla="*/ 611050 h 612813"/>
              <a:gd name="csX5" fmla="*/ 3 w 201493"/>
              <a:gd name="csY5" fmla="*/ 604601 h 612813"/>
              <a:gd name="csX6" fmla="*/ 1350 w 201493"/>
              <a:gd name="csY6" fmla="*/ 571511 h 612813"/>
              <a:gd name="csX7" fmla="*/ 4661 w 201493"/>
              <a:gd name="csY7" fmla="*/ 420505 h 612813"/>
              <a:gd name="csX8" fmla="*/ 7130 w 201493"/>
              <a:gd name="csY8" fmla="*/ 324777 h 612813"/>
              <a:gd name="csX9" fmla="*/ 11991 w 201493"/>
              <a:gd name="csY9" fmla="*/ 133315 h 612813"/>
              <a:gd name="csX10" fmla="*/ 13695 w 201493"/>
              <a:gd name="csY10" fmla="*/ 19144 h 612813"/>
              <a:gd name="csX11" fmla="*/ 13702 w 201493"/>
              <a:gd name="csY11" fmla="*/ 8029 h 612813"/>
              <a:gd name="csX12" fmla="*/ 120926 w 201493"/>
              <a:gd name="csY12" fmla="*/ 0 h 612813"/>
              <a:gd name="csX13" fmla="*/ 121535 w 201493"/>
              <a:gd name="csY13" fmla="*/ 11562 h 61281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</a:cxnLst>
            <a:rect l="l" t="t" r="r" b="b"/>
            <a:pathLst>
              <a:path w="201493" h="612813">
                <a:moveTo>
                  <a:pt x="121535" y="11562"/>
                </a:moveTo>
                <a:cubicBezTo>
                  <a:pt x="119691" y="215664"/>
                  <a:pt x="151865" y="414144"/>
                  <a:pt x="201493" y="611498"/>
                </a:cubicBezTo>
                <a:cubicBezTo>
                  <a:pt x="178066" y="614799"/>
                  <a:pt x="156197" y="610806"/>
                  <a:pt x="134368" y="611133"/>
                </a:cubicBezTo>
                <a:cubicBezTo>
                  <a:pt x="112261" y="611465"/>
                  <a:pt x="90143" y="611084"/>
                  <a:pt x="68030" y="611056"/>
                </a:cubicBezTo>
                <a:cubicBezTo>
                  <a:pt x="45965" y="611028"/>
                  <a:pt x="23900" y="611050"/>
                  <a:pt x="1357" y="611050"/>
                </a:cubicBezTo>
                <a:cubicBezTo>
                  <a:pt x="769" y="608377"/>
                  <a:pt x="-56" y="606475"/>
                  <a:pt x="3" y="604601"/>
                </a:cubicBezTo>
                <a:cubicBezTo>
                  <a:pt x="349" y="593568"/>
                  <a:pt x="1095" y="582545"/>
                  <a:pt x="1350" y="571511"/>
                </a:cubicBezTo>
                <a:cubicBezTo>
                  <a:pt x="2513" y="521177"/>
                  <a:pt x="3506" y="470839"/>
                  <a:pt x="4661" y="420505"/>
                </a:cubicBezTo>
                <a:cubicBezTo>
                  <a:pt x="5393" y="388594"/>
                  <a:pt x="6308" y="356686"/>
                  <a:pt x="7130" y="324777"/>
                </a:cubicBezTo>
                <a:cubicBezTo>
                  <a:pt x="8772" y="260956"/>
                  <a:pt x="10555" y="197140"/>
                  <a:pt x="11991" y="133315"/>
                </a:cubicBezTo>
                <a:cubicBezTo>
                  <a:pt x="12846" y="95264"/>
                  <a:pt x="13154" y="57201"/>
                  <a:pt x="13695" y="19144"/>
                </a:cubicBezTo>
                <a:cubicBezTo>
                  <a:pt x="13746" y="15501"/>
                  <a:pt x="13702" y="11858"/>
                  <a:pt x="13702" y="8029"/>
                </a:cubicBezTo>
                <a:cubicBezTo>
                  <a:pt x="49725" y="5331"/>
                  <a:pt x="84908" y="2697"/>
                  <a:pt x="120926" y="0"/>
                </a:cubicBezTo>
                <a:cubicBezTo>
                  <a:pt x="121113" y="3199"/>
                  <a:pt x="121323" y="6798"/>
                  <a:pt x="121535" y="11562"/>
                </a:cubicBezTo>
                <a:close/>
              </a:path>
            </a:pathLst>
          </a:custGeom>
          <a:solidFill>
            <a:srgbClr val="FDFDFD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21" name="Free-form: Shape 420">
            <a:extLst>
              <a:ext uri="{FF2B5EF4-FFF2-40B4-BE49-F238E27FC236}">
                <a16:creationId xmlns:a16="http://schemas.microsoft.com/office/drawing/2014/main" id="{EA54FAF5-A008-694F-9353-5C545516A810}"/>
              </a:ext>
            </a:extLst>
          </p:cNvPr>
          <p:cNvSpPr/>
          <p:nvPr/>
        </p:nvSpPr>
        <p:spPr>
          <a:xfrm>
            <a:off x="2759096" y="4935741"/>
            <a:ext cx="250431" cy="194755"/>
          </a:xfrm>
          <a:custGeom>
            <a:avLst/>
            <a:gdLst>
              <a:gd name="csX0" fmla="*/ 77135 w 324367"/>
              <a:gd name="csY0" fmla="*/ 11670 h 229322"/>
              <a:gd name="csX1" fmla="*/ 146795 w 324367"/>
              <a:gd name="csY1" fmla="*/ 7480 h 229322"/>
              <a:gd name="csX2" fmla="*/ 207718 w 324367"/>
              <a:gd name="csY2" fmla="*/ 1232 h 229322"/>
              <a:gd name="csX3" fmla="*/ 219215 w 324367"/>
              <a:gd name="csY3" fmla="*/ 0 h 229322"/>
              <a:gd name="csX4" fmla="*/ 222536 w 324367"/>
              <a:gd name="csY4" fmla="*/ 12108 h 229322"/>
              <a:gd name="csX5" fmla="*/ 255647 w 324367"/>
              <a:gd name="csY5" fmla="*/ 76552 h 229322"/>
              <a:gd name="csX6" fmla="*/ 302610 w 324367"/>
              <a:gd name="csY6" fmla="*/ 128236 h 229322"/>
              <a:gd name="csX7" fmla="*/ 323355 w 324367"/>
              <a:gd name="csY7" fmla="*/ 207159 h 229322"/>
              <a:gd name="csX8" fmla="*/ 151 w 324367"/>
              <a:gd name="csY8" fmla="*/ 227930 h 229322"/>
              <a:gd name="csX9" fmla="*/ 3855 w 324367"/>
              <a:gd name="csY9" fmla="*/ 119190 h 229322"/>
              <a:gd name="csX10" fmla="*/ 0 w 324367"/>
              <a:gd name="csY10" fmla="*/ 11685 h 229322"/>
              <a:gd name="csX11" fmla="*/ 77135 w 324367"/>
              <a:gd name="csY11" fmla="*/ 11670 h 22932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324367" h="229322">
                <a:moveTo>
                  <a:pt x="77135" y="11670"/>
                </a:moveTo>
                <a:cubicBezTo>
                  <a:pt x="101131" y="10299"/>
                  <a:pt x="123996" y="9293"/>
                  <a:pt x="146795" y="7480"/>
                </a:cubicBezTo>
                <a:cubicBezTo>
                  <a:pt x="167139" y="5862"/>
                  <a:pt x="187413" y="3352"/>
                  <a:pt x="207718" y="1232"/>
                </a:cubicBezTo>
                <a:cubicBezTo>
                  <a:pt x="211305" y="858"/>
                  <a:pt x="214891" y="464"/>
                  <a:pt x="219215" y="0"/>
                </a:cubicBezTo>
                <a:cubicBezTo>
                  <a:pt x="220448" y="4433"/>
                  <a:pt x="221789" y="8213"/>
                  <a:pt x="222536" y="12108"/>
                </a:cubicBezTo>
                <a:cubicBezTo>
                  <a:pt x="227274" y="36843"/>
                  <a:pt x="237933" y="58320"/>
                  <a:pt x="255647" y="76552"/>
                </a:cubicBezTo>
                <a:cubicBezTo>
                  <a:pt x="271868" y="93249"/>
                  <a:pt x="288407" y="109878"/>
                  <a:pt x="302610" y="128236"/>
                </a:cubicBezTo>
                <a:cubicBezTo>
                  <a:pt x="320215" y="150993"/>
                  <a:pt x="327166" y="177648"/>
                  <a:pt x="323355" y="207159"/>
                </a:cubicBezTo>
                <a:cubicBezTo>
                  <a:pt x="216542" y="225668"/>
                  <a:pt x="109259" y="232554"/>
                  <a:pt x="151" y="227930"/>
                </a:cubicBezTo>
                <a:cubicBezTo>
                  <a:pt x="1495" y="191410"/>
                  <a:pt x="3878" y="155299"/>
                  <a:pt x="3855" y="119190"/>
                </a:cubicBezTo>
                <a:cubicBezTo>
                  <a:pt x="3834" y="83413"/>
                  <a:pt x="1388" y="47637"/>
                  <a:pt x="0" y="11685"/>
                </a:cubicBezTo>
                <a:cubicBezTo>
                  <a:pt x="25514" y="11685"/>
                  <a:pt x="50744" y="11685"/>
                  <a:pt x="77135" y="11670"/>
                </a:cubicBezTo>
                <a:close/>
              </a:path>
            </a:pathLst>
          </a:custGeom>
          <a:solidFill>
            <a:srgbClr val="FDFEFE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22" name="Free-form: Shape 421">
            <a:extLst>
              <a:ext uri="{FF2B5EF4-FFF2-40B4-BE49-F238E27FC236}">
                <a16:creationId xmlns:a16="http://schemas.microsoft.com/office/drawing/2014/main" id="{13175F75-A790-546C-3925-3EC1D68DDB29}"/>
              </a:ext>
            </a:extLst>
          </p:cNvPr>
          <p:cNvSpPr/>
          <p:nvPr/>
        </p:nvSpPr>
        <p:spPr>
          <a:xfrm>
            <a:off x="2745397" y="4011060"/>
            <a:ext cx="176355" cy="229704"/>
          </a:xfrm>
          <a:custGeom>
            <a:avLst/>
            <a:gdLst>
              <a:gd name="csX0" fmla="*/ 104636 w 228422"/>
              <a:gd name="csY0" fmla="*/ 81707 h 270473"/>
              <a:gd name="csX1" fmla="*/ 159689 w 228422"/>
              <a:gd name="csY1" fmla="*/ 83584 h 270473"/>
              <a:gd name="csX2" fmla="*/ 178665 w 228422"/>
              <a:gd name="csY2" fmla="*/ 68119 h 270473"/>
              <a:gd name="csX3" fmla="*/ 186448 w 228422"/>
              <a:gd name="csY3" fmla="*/ 20996 h 270473"/>
              <a:gd name="csX4" fmla="*/ 188779 w 228422"/>
              <a:gd name="csY4" fmla="*/ 7950 h 270473"/>
              <a:gd name="csX5" fmla="*/ 228146 w 228422"/>
              <a:gd name="csY5" fmla="*/ 14593 h 270473"/>
              <a:gd name="csX6" fmla="*/ 228030 w 228422"/>
              <a:gd name="csY6" fmla="*/ 40316 h 270473"/>
              <a:gd name="csX7" fmla="*/ 210907 w 228422"/>
              <a:gd name="csY7" fmla="*/ 157740 h 270473"/>
              <a:gd name="csX8" fmla="*/ 160928 w 228422"/>
              <a:gd name="csY8" fmla="*/ 245220 h 270473"/>
              <a:gd name="csX9" fmla="*/ 144327 w 228422"/>
              <a:gd name="csY9" fmla="*/ 264825 h 270473"/>
              <a:gd name="csX10" fmla="*/ 135745 w 228422"/>
              <a:gd name="csY10" fmla="*/ 270212 h 270473"/>
              <a:gd name="csX11" fmla="*/ 28028 w 228422"/>
              <a:gd name="csY11" fmla="*/ 270451 h 270473"/>
              <a:gd name="csX12" fmla="*/ 24984 w 228422"/>
              <a:gd name="csY12" fmla="*/ 243363 h 270473"/>
              <a:gd name="csX13" fmla="*/ 13372 w 228422"/>
              <a:gd name="csY13" fmla="*/ 172017 h 270473"/>
              <a:gd name="csX14" fmla="*/ 172 w 228422"/>
              <a:gd name="csY14" fmla="*/ 41741 h 270473"/>
              <a:gd name="csX15" fmla="*/ 1991 w 228422"/>
              <a:gd name="csY15" fmla="*/ 9927 h 270473"/>
              <a:gd name="csX16" fmla="*/ 11535 w 228422"/>
              <a:gd name="csY16" fmla="*/ 11 h 270473"/>
              <a:gd name="csX17" fmla="*/ 60320 w 228422"/>
              <a:gd name="csY17" fmla="*/ 4 h 270473"/>
              <a:gd name="csX18" fmla="*/ 63319 w 228422"/>
              <a:gd name="csY18" fmla="*/ 34595 h 270473"/>
              <a:gd name="csX19" fmla="*/ 63995 w 228422"/>
              <a:gd name="csY19" fmla="*/ 65276 h 270473"/>
              <a:gd name="csX20" fmla="*/ 77770 w 228422"/>
              <a:gd name="csY20" fmla="*/ 80309 h 270473"/>
              <a:gd name="csX21" fmla="*/ 104636 w 228422"/>
              <a:gd name="csY21" fmla="*/ 81707 h 27047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</a:cxnLst>
            <a:rect l="l" t="t" r="r" b="b"/>
            <a:pathLst>
              <a:path w="228422" h="270473">
                <a:moveTo>
                  <a:pt x="104636" y="81707"/>
                </a:moveTo>
                <a:cubicBezTo>
                  <a:pt x="123750" y="82425"/>
                  <a:pt x="141717" y="83526"/>
                  <a:pt x="159689" y="83584"/>
                </a:cubicBezTo>
                <a:cubicBezTo>
                  <a:pt x="170998" y="83621"/>
                  <a:pt x="176351" y="79300"/>
                  <a:pt x="178665" y="68119"/>
                </a:cubicBezTo>
                <a:cubicBezTo>
                  <a:pt x="181890" y="52542"/>
                  <a:pt x="183892" y="36712"/>
                  <a:pt x="186448" y="20996"/>
                </a:cubicBezTo>
                <a:cubicBezTo>
                  <a:pt x="187087" y="17068"/>
                  <a:pt x="187844" y="13160"/>
                  <a:pt x="188779" y="7950"/>
                </a:cubicBezTo>
                <a:cubicBezTo>
                  <a:pt x="202480" y="10262"/>
                  <a:pt x="215113" y="12394"/>
                  <a:pt x="228146" y="14593"/>
                </a:cubicBezTo>
                <a:cubicBezTo>
                  <a:pt x="228146" y="24129"/>
                  <a:pt x="228839" y="32299"/>
                  <a:pt x="228030" y="40316"/>
                </a:cubicBezTo>
                <a:cubicBezTo>
                  <a:pt x="224051" y="79707"/>
                  <a:pt x="222678" y="119563"/>
                  <a:pt x="210907" y="157740"/>
                </a:cubicBezTo>
                <a:cubicBezTo>
                  <a:pt x="200806" y="190502"/>
                  <a:pt x="186090" y="220845"/>
                  <a:pt x="160928" y="245220"/>
                </a:cubicBezTo>
                <a:cubicBezTo>
                  <a:pt x="154810" y="251147"/>
                  <a:pt x="150112" y="258517"/>
                  <a:pt x="144327" y="264825"/>
                </a:cubicBezTo>
                <a:cubicBezTo>
                  <a:pt x="142086" y="267268"/>
                  <a:pt x="138659" y="270182"/>
                  <a:pt x="135745" y="270212"/>
                </a:cubicBezTo>
                <a:cubicBezTo>
                  <a:pt x="100181" y="270580"/>
                  <a:pt x="64612" y="270451"/>
                  <a:pt x="28028" y="270451"/>
                </a:cubicBezTo>
                <a:cubicBezTo>
                  <a:pt x="26976" y="260883"/>
                  <a:pt x="26343" y="252066"/>
                  <a:pt x="24984" y="243363"/>
                </a:cubicBezTo>
                <a:cubicBezTo>
                  <a:pt x="21268" y="219557"/>
                  <a:pt x="17119" y="195818"/>
                  <a:pt x="13372" y="172017"/>
                </a:cubicBezTo>
                <a:cubicBezTo>
                  <a:pt x="6574" y="128838"/>
                  <a:pt x="-1265" y="85746"/>
                  <a:pt x="172" y="41741"/>
                </a:cubicBezTo>
                <a:cubicBezTo>
                  <a:pt x="518" y="31127"/>
                  <a:pt x="1719" y="20540"/>
                  <a:pt x="1991" y="9927"/>
                </a:cubicBezTo>
                <a:cubicBezTo>
                  <a:pt x="2163" y="3278"/>
                  <a:pt x="4961" y="19"/>
                  <a:pt x="11535" y="11"/>
                </a:cubicBezTo>
                <a:cubicBezTo>
                  <a:pt x="27370" y="-9"/>
                  <a:pt x="43205" y="4"/>
                  <a:pt x="60320" y="4"/>
                </a:cubicBezTo>
                <a:cubicBezTo>
                  <a:pt x="61401" y="12123"/>
                  <a:pt x="62689" y="23341"/>
                  <a:pt x="63319" y="34595"/>
                </a:cubicBezTo>
                <a:cubicBezTo>
                  <a:pt x="63890" y="44802"/>
                  <a:pt x="63444" y="55066"/>
                  <a:pt x="63995" y="65276"/>
                </a:cubicBezTo>
                <a:cubicBezTo>
                  <a:pt x="64588" y="76246"/>
                  <a:pt x="67011" y="79017"/>
                  <a:pt x="77770" y="80309"/>
                </a:cubicBezTo>
                <a:cubicBezTo>
                  <a:pt x="86275" y="81330"/>
                  <a:pt x="94914" y="81244"/>
                  <a:pt x="104636" y="81707"/>
                </a:cubicBezTo>
                <a:close/>
              </a:path>
            </a:pathLst>
          </a:custGeom>
          <a:solidFill>
            <a:srgbClr val="FDFDFD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23" name="Free-form: Shape 422">
            <a:extLst>
              <a:ext uri="{FF2B5EF4-FFF2-40B4-BE49-F238E27FC236}">
                <a16:creationId xmlns:a16="http://schemas.microsoft.com/office/drawing/2014/main" id="{C19ECE5C-496B-DE30-D3DB-0E8787D5EAF3}"/>
              </a:ext>
            </a:extLst>
          </p:cNvPr>
          <p:cNvSpPr/>
          <p:nvPr/>
        </p:nvSpPr>
        <p:spPr>
          <a:xfrm>
            <a:off x="2755672" y="5157573"/>
            <a:ext cx="268594" cy="68395"/>
          </a:xfrm>
          <a:custGeom>
            <a:avLst/>
            <a:gdLst>
              <a:gd name="csX0" fmla="*/ 135775 w 347893"/>
              <a:gd name="csY0" fmla="*/ 18580 h 80534"/>
              <a:gd name="csX1" fmla="*/ 239717 w 347893"/>
              <a:gd name="csY1" fmla="*/ 11288 h 80534"/>
              <a:gd name="csX2" fmla="*/ 318645 w 347893"/>
              <a:gd name="csY2" fmla="*/ 442 h 80534"/>
              <a:gd name="csX3" fmla="*/ 341767 w 347893"/>
              <a:gd name="csY3" fmla="*/ 13145 h 80534"/>
              <a:gd name="csX4" fmla="*/ 347232 w 347893"/>
              <a:gd name="csY4" fmla="*/ 54621 h 80534"/>
              <a:gd name="csX5" fmla="*/ 0 w 347893"/>
              <a:gd name="csY5" fmla="*/ 75820 h 80534"/>
              <a:gd name="csX6" fmla="*/ 0 w 347893"/>
              <a:gd name="csY6" fmla="*/ 19396 h 80534"/>
              <a:gd name="csX7" fmla="*/ 135775 w 347893"/>
              <a:gd name="csY7" fmla="*/ 18580 h 8053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</a:cxnLst>
            <a:rect l="l" t="t" r="r" b="b"/>
            <a:pathLst>
              <a:path w="347893" h="80534">
                <a:moveTo>
                  <a:pt x="135775" y="18580"/>
                </a:moveTo>
                <a:cubicBezTo>
                  <a:pt x="171209" y="16211"/>
                  <a:pt x="205541" y="14564"/>
                  <a:pt x="239717" y="11288"/>
                </a:cubicBezTo>
                <a:cubicBezTo>
                  <a:pt x="266132" y="8756"/>
                  <a:pt x="292375" y="4350"/>
                  <a:pt x="318645" y="442"/>
                </a:cubicBezTo>
                <a:cubicBezTo>
                  <a:pt x="330480" y="-1319"/>
                  <a:pt x="337947" y="2033"/>
                  <a:pt x="341767" y="13145"/>
                </a:cubicBezTo>
                <a:cubicBezTo>
                  <a:pt x="346279" y="26268"/>
                  <a:pt x="349293" y="39746"/>
                  <a:pt x="347232" y="54621"/>
                </a:cubicBezTo>
                <a:cubicBezTo>
                  <a:pt x="232188" y="77697"/>
                  <a:pt x="116756" y="86979"/>
                  <a:pt x="0" y="75820"/>
                </a:cubicBezTo>
                <a:cubicBezTo>
                  <a:pt x="0" y="56279"/>
                  <a:pt x="0" y="38485"/>
                  <a:pt x="0" y="19396"/>
                </a:cubicBezTo>
                <a:cubicBezTo>
                  <a:pt x="45633" y="19126"/>
                  <a:pt x="90119" y="18862"/>
                  <a:pt x="135775" y="18580"/>
                </a:cubicBezTo>
                <a:close/>
              </a:path>
            </a:pathLst>
          </a:custGeom>
          <a:solidFill>
            <a:srgbClr val="FCFDFD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24" name="Free-form: Shape 423">
            <a:extLst>
              <a:ext uri="{FF2B5EF4-FFF2-40B4-BE49-F238E27FC236}">
                <a16:creationId xmlns:a16="http://schemas.microsoft.com/office/drawing/2014/main" id="{091174DE-B5C5-0FD8-B2EB-D3E73FB7EFFB}"/>
              </a:ext>
            </a:extLst>
          </p:cNvPr>
          <p:cNvSpPr/>
          <p:nvPr/>
        </p:nvSpPr>
        <p:spPr>
          <a:xfrm>
            <a:off x="2766295" y="4269810"/>
            <a:ext cx="122568" cy="31169"/>
          </a:xfrm>
          <a:custGeom>
            <a:avLst/>
            <a:gdLst>
              <a:gd name="csX0" fmla="*/ 68505 w 158754"/>
              <a:gd name="csY0" fmla="*/ 36702 h 36701"/>
              <a:gd name="csX1" fmla="*/ 1920 w 158754"/>
              <a:gd name="csY1" fmla="*/ 36699 h 36701"/>
              <a:gd name="csX2" fmla="*/ 0 w 158754"/>
              <a:gd name="csY2" fmla="*/ 1592 h 36701"/>
              <a:gd name="csX3" fmla="*/ 11189 w 158754"/>
              <a:gd name="csY3" fmla="*/ 718 h 36701"/>
              <a:gd name="csX4" fmla="*/ 110708 w 158754"/>
              <a:gd name="csY4" fmla="*/ 3 h 36701"/>
              <a:gd name="csX5" fmla="*/ 127993 w 158754"/>
              <a:gd name="csY5" fmla="*/ 4910 h 36701"/>
              <a:gd name="csX6" fmla="*/ 146608 w 158754"/>
              <a:gd name="csY6" fmla="*/ 16808 h 36701"/>
              <a:gd name="csX7" fmla="*/ 158755 w 158754"/>
              <a:gd name="csY7" fmla="*/ 34647 h 36701"/>
              <a:gd name="csX8" fmla="*/ 145911 w 158754"/>
              <a:gd name="csY8" fmla="*/ 36459 h 36701"/>
              <a:gd name="csX9" fmla="*/ 68505 w 158754"/>
              <a:gd name="csY9" fmla="*/ 36702 h 3670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158754" h="36701">
                <a:moveTo>
                  <a:pt x="68505" y="36702"/>
                </a:moveTo>
                <a:cubicBezTo>
                  <a:pt x="45664" y="36699"/>
                  <a:pt x="24052" y="36699"/>
                  <a:pt x="1920" y="36699"/>
                </a:cubicBezTo>
                <a:cubicBezTo>
                  <a:pt x="-935" y="24569"/>
                  <a:pt x="572" y="13631"/>
                  <a:pt x="0" y="1592"/>
                </a:cubicBezTo>
                <a:cubicBezTo>
                  <a:pt x="4169" y="1253"/>
                  <a:pt x="7677" y="744"/>
                  <a:pt x="11189" y="718"/>
                </a:cubicBezTo>
                <a:cubicBezTo>
                  <a:pt x="44362" y="468"/>
                  <a:pt x="77538" y="423"/>
                  <a:pt x="110708" y="3"/>
                </a:cubicBezTo>
                <a:cubicBezTo>
                  <a:pt x="117152" y="-78"/>
                  <a:pt x="122702" y="1282"/>
                  <a:pt x="127993" y="4910"/>
                </a:cubicBezTo>
                <a:cubicBezTo>
                  <a:pt x="134065" y="9072"/>
                  <a:pt x="140615" y="12545"/>
                  <a:pt x="146608" y="16808"/>
                </a:cubicBezTo>
                <a:cubicBezTo>
                  <a:pt x="152239" y="20814"/>
                  <a:pt x="157699" y="25259"/>
                  <a:pt x="158755" y="34647"/>
                </a:cubicBezTo>
                <a:cubicBezTo>
                  <a:pt x="154257" y="35310"/>
                  <a:pt x="150089" y="36424"/>
                  <a:pt x="145911" y="36459"/>
                </a:cubicBezTo>
                <a:cubicBezTo>
                  <a:pt x="120520" y="36677"/>
                  <a:pt x="95126" y="36650"/>
                  <a:pt x="68505" y="36702"/>
                </a:cubicBezTo>
                <a:close/>
              </a:path>
            </a:pathLst>
          </a:custGeom>
          <a:solidFill>
            <a:srgbClr val="FBFCFB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25" name="Free-form: Shape 424">
            <a:extLst>
              <a:ext uri="{FF2B5EF4-FFF2-40B4-BE49-F238E27FC236}">
                <a16:creationId xmlns:a16="http://schemas.microsoft.com/office/drawing/2014/main" id="{A509F1D6-B5A0-E009-F786-D704EC31A89F}"/>
              </a:ext>
            </a:extLst>
          </p:cNvPr>
          <p:cNvSpPr/>
          <p:nvPr/>
        </p:nvSpPr>
        <p:spPr>
          <a:xfrm>
            <a:off x="10726388" y="3981674"/>
            <a:ext cx="593502" cy="1281815"/>
          </a:xfrm>
          <a:custGeom>
            <a:avLst/>
            <a:gdLst>
              <a:gd name="csX0" fmla="*/ 576414 w 768725"/>
              <a:gd name="csY0" fmla="*/ 893042 h 1509319"/>
              <a:gd name="csX1" fmla="*/ 613047 w 768725"/>
              <a:gd name="csY1" fmla="*/ 1059329 h 1509319"/>
              <a:gd name="csX2" fmla="*/ 623337 w 768725"/>
              <a:gd name="csY2" fmla="*/ 1071825 h 1509319"/>
              <a:gd name="csX3" fmla="*/ 639863 w 768725"/>
              <a:gd name="csY3" fmla="*/ 1079946 h 1509319"/>
              <a:gd name="csX4" fmla="*/ 652266 w 768725"/>
              <a:gd name="csY4" fmla="*/ 1109045 h 1509319"/>
              <a:gd name="csX5" fmla="*/ 645501 w 768725"/>
              <a:gd name="csY5" fmla="*/ 1127466 h 1509319"/>
              <a:gd name="csX6" fmla="*/ 645547 w 768725"/>
              <a:gd name="csY6" fmla="*/ 1144138 h 1509319"/>
              <a:gd name="csX7" fmla="*/ 664589 w 768725"/>
              <a:gd name="csY7" fmla="*/ 1175322 h 1509319"/>
              <a:gd name="csX8" fmla="*/ 712015 w 768725"/>
              <a:gd name="csY8" fmla="*/ 1225118 h 1509319"/>
              <a:gd name="csX9" fmla="*/ 744465 w 768725"/>
              <a:gd name="csY9" fmla="*/ 1300385 h 1509319"/>
              <a:gd name="csX10" fmla="*/ 743270 w 768725"/>
              <a:gd name="csY10" fmla="*/ 1350524 h 1509319"/>
              <a:gd name="csX11" fmla="*/ 745429 w 768725"/>
              <a:gd name="csY11" fmla="*/ 1363274 h 1509319"/>
              <a:gd name="csX12" fmla="*/ 768672 w 768725"/>
              <a:gd name="csY12" fmla="*/ 1456512 h 1509319"/>
              <a:gd name="csX13" fmla="*/ 758521 w 768725"/>
              <a:gd name="csY13" fmla="*/ 1472434 h 1509319"/>
              <a:gd name="csX14" fmla="*/ 730455 w 768725"/>
              <a:gd name="csY14" fmla="*/ 1481228 h 1509319"/>
              <a:gd name="csX15" fmla="*/ 594867 w 768725"/>
              <a:gd name="csY15" fmla="*/ 1502210 h 1509319"/>
              <a:gd name="csX16" fmla="*/ 320018 w 768725"/>
              <a:gd name="csY16" fmla="*/ 1508300 h 1509319"/>
              <a:gd name="csX17" fmla="*/ 186464 w 768725"/>
              <a:gd name="csY17" fmla="*/ 1501258 h 1509319"/>
              <a:gd name="csX18" fmla="*/ 26582 w 768725"/>
              <a:gd name="csY18" fmla="*/ 1477021 h 1509319"/>
              <a:gd name="csX19" fmla="*/ 3929 w 768725"/>
              <a:gd name="csY19" fmla="*/ 1465652 h 1509319"/>
              <a:gd name="csX20" fmla="*/ 18 w 768725"/>
              <a:gd name="csY20" fmla="*/ 1456203 h 1509319"/>
              <a:gd name="csX21" fmla="*/ 4393 w 768725"/>
              <a:gd name="csY21" fmla="*/ 1417235 h 1509319"/>
              <a:gd name="csX22" fmla="*/ 19158 w 768725"/>
              <a:gd name="csY22" fmla="*/ 1370678 h 1509319"/>
              <a:gd name="csX23" fmla="*/ 23255 w 768725"/>
              <a:gd name="csY23" fmla="*/ 1342388 h 1509319"/>
              <a:gd name="csX24" fmla="*/ 38705 w 768725"/>
              <a:gd name="csY24" fmla="*/ 1247261 h 1509319"/>
              <a:gd name="csX25" fmla="*/ 58454 w 768725"/>
              <a:gd name="csY25" fmla="*/ 1220807 h 1509319"/>
              <a:gd name="csX26" fmla="*/ 103638 w 768725"/>
              <a:gd name="csY26" fmla="*/ 1175667 h 1509319"/>
              <a:gd name="csX27" fmla="*/ 122996 w 768725"/>
              <a:gd name="csY27" fmla="*/ 1146131 h 1509319"/>
              <a:gd name="csX28" fmla="*/ 122689 w 768725"/>
              <a:gd name="csY28" fmla="*/ 1128316 h 1509319"/>
              <a:gd name="csX29" fmla="*/ 116576 w 768725"/>
              <a:gd name="csY29" fmla="*/ 1113575 h 1509319"/>
              <a:gd name="csX30" fmla="*/ 127479 w 768725"/>
              <a:gd name="csY30" fmla="*/ 1081076 h 1509319"/>
              <a:gd name="csX31" fmla="*/ 137480 w 768725"/>
              <a:gd name="csY31" fmla="*/ 1076482 h 1509319"/>
              <a:gd name="csX32" fmla="*/ 157312 w 768725"/>
              <a:gd name="csY32" fmla="*/ 1053855 h 1509319"/>
              <a:gd name="csX33" fmla="*/ 178876 w 768725"/>
              <a:gd name="csY33" fmla="*/ 958120 h 1509319"/>
              <a:gd name="csX34" fmla="*/ 210165 w 768725"/>
              <a:gd name="csY34" fmla="*/ 781849 h 1509319"/>
              <a:gd name="csX35" fmla="*/ 223295 w 768725"/>
              <a:gd name="csY35" fmla="*/ 674755 h 1509319"/>
              <a:gd name="csX36" fmla="*/ 231121 w 768725"/>
              <a:gd name="csY36" fmla="*/ 564636 h 1509319"/>
              <a:gd name="csX37" fmla="*/ 235173 w 768725"/>
              <a:gd name="csY37" fmla="*/ 453038 h 1509319"/>
              <a:gd name="csX38" fmla="*/ 235001 w 768725"/>
              <a:gd name="csY38" fmla="*/ 443215 h 1509319"/>
              <a:gd name="csX39" fmla="*/ 224321 w 768725"/>
              <a:gd name="csY39" fmla="*/ 428479 h 1509319"/>
              <a:gd name="csX40" fmla="*/ 204712 w 768725"/>
              <a:gd name="csY40" fmla="*/ 418450 h 1509319"/>
              <a:gd name="csX41" fmla="*/ 184069 w 768725"/>
              <a:gd name="csY41" fmla="*/ 366060 h 1509319"/>
              <a:gd name="csX42" fmla="*/ 206519 w 768725"/>
              <a:gd name="csY42" fmla="*/ 338181 h 1509319"/>
              <a:gd name="csX43" fmla="*/ 226643 w 768725"/>
              <a:gd name="csY43" fmla="*/ 329113 h 1509319"/>
              <a:gd name="csX44" fmla="*/ 232085 w 768725"/>
              <a:gd name="csY44" fmla="*/ 311135 h 1509319"/>
              <a:gd name="csX45" fmla="*/ 221280 w 768725"/>
              <a:gd name="csY45" fmla="*/ 299552 h 1509319"/>
              <a:gd name="csX46" fmla="*/ 173478 w 768725"/>
              <a:gd name="csY46" fmla="*/ 230303 h 1509319"/>
              <a:gd name="csX47" fmla="*/ 141864 w 768725"/>
              <a:gd name="csY47" fmla="*/ 95780 h 1509319"/>
              <a:gd name="csX48" fmla="*/ 137158 w 768725"/>
              <a:gd name="csY48" fmla="*/ 37107 h 1509319"/>
              <a:gd name="csX49" fmla="*/ 148750 w 768725"/>
              <a:gd name="csY49" fmla="*/ 22335 h 1509319"/>
              <a:gd name="csX50" fmla="*/ 236982 w 768725"/>
              <a:gd name="csY50" fmla="*/ 7640 h 1509319"/>
              <a:gd name="csX51" fmla="*/ 246862 w 768725"/>
              <a:gd name="csY51" fmla="*/ 7580 h 1509319"/>
              <a:gd name="csX52" fmla="*/ 261473 w 768725"/>
              <a:gd name="csY52" fmla="*/ 86763 h 1509319"/>
              <a:gd name="csX53" fmla="*/ 306246 w 768725"/>
              <a:gd name="csY53" fmla="*/ 83559 h 1509319"/>
              <a:gd name="csX54" fmla="*/ 306960 w 768725"/>
              <a:gd name="csY54" fmla="*/ 71087 h 1509319"/>
              <a:gd name="csX55" fmla="*/ 306724 w 768725"/>
              <a:gd name="csY55" fmla="*/ 19491 h 1509319"/>
              <a:gd name="csX56" fmla="*/ 319581 w 768725"/>
              <a:gd name="csY56" fmla="*/ 4733 h 1509319"/>
              <a:gd name="csX57" fmla="*/ 430956 w 768725"/>
              <a:gd name="csY57" fmla="*/ 2070 h 1509319"/>
              <a:gd name="csX58" fmla="*/ 437066 w 768725"/>
              <a:gd name="csY58" fmla="*/ 2646 h 1509319"/>
              <a:gd name="csX59" fmla="*/ 460335 w 768725"/>
              <a:gd name="csY59" fmla="*/ 24205 h 1509319"/>
              <a:gd name="csX60" fmla="*/ 463579 w 768725"/>
              <a:gd name="csY60" fmla="*/ 62081 h 1509319"/>
              <a:gd name="csX61" fmla="*/ 463652 w 768725"/>
              <a:gd name="csY61" fmla="*/ 82953 h 1509319"/>
              <a:gd name="csX62" fmla="*/ 507205 w 768725"/>
              <a:gd name="csY62" fmla="*/ 85553 h 1509319"/>
              <a:gd name="csX63" fmla="*/ 513271 w 768725"/>
              <a:gd name="csY63" fmla="*/ 61890 h 1509319"/>
              <a:gd name="csX64" fmla="*/ 520203 w 768725"/>
              <a:gd name="csY64" fmla="*/ 18323 h 1509319"/>
              <a:gd name="csX65" fmla="*/ 534008 w 768725"/>
              <a:gd name="csY65" fmla="*/ 7785 h 1509319"/>
              <a:gd name="csX66" fmla="*/ 595925 w 768725"/>
              <a:gd name="csY66" fmla="*/ 16407 h 1509319"/>
              <a:gd name="csX67" fmla="*/ 619972 w 768725"/>
              <a:gd name="csY67" fmla="*/ 21156 h 1509319"/>
              <a:gd name="csX68" fmla="*/ 631161 w 768725"/>
              <a:gd name="csY68" fmla="*/ 36134 h 1509319"/>
              <a:gd name="csX69" fmla="*/ 628140 w 768725"/>
              <a:gd name="csY69" fmla="*/ 85104 h 1509319"/>
              <a:gd name="csX70" fmla="*/ 613954 w 768725"/>
              <a:gd name="csY70" fmla="*/ 179618 h 1509319"/>
              <a:gd name="csX71" fmla="*/ 586196 w 768725"/>
              <a:gd name="csY71" fmla="*/ 256886 h 1509319"/>
              <a:gd name="csX72" fmla="*/ 554619 w 768725"/>
              <a:gd name="csY72" fmla="*/ 295312 h 1509319"/>
              <a:gd name="csX73" fmla="*/ 538601 w 768725"/>
              <a:gd name="csY73" fmla="*/ 315001 h 1509319"/>
              <a:gd name="csX74" fmla="*/ 542630 w 768725"/>
              <a:gd name="csY74" fmla="*/ 326199 h 1509319"/>
              <a:gd name="csX75" fmla="*/ 560240 w 768725"/>
              <a:gd name="csY75" fmla="*/ 334912 h 1509319"/>
              <a:gd name="csX76" fmla="*/ 586933 w 768725"/>
              <a:gd name="csY76" fmla="*/ 371800 h 1509319"/>
              <a:gd name="csX77" fmla="*/ 563039 w 768725"/>
              <a:gd name="csY77" fmla="*/ 418184 h 1509319"/>
              <a:gd name="csX78" fmla="*/ 545522 w 768725"/>
              <a:gd name="csY78" fmla="*/ 427008 h 1509319"/>
              <a:gd name="csX79" fmla="*/ 535507 w 768725"/>
              <a:gd name="csY79" fmla="*/ 440667 h 1509319"/>
              <a:gd name="csX80" fmla="*/ 536723 w 768725"/>
              <a:gd name="csY80" fmla="*/ 537651 h 1509319"/>
              <a:gd name="csX81" fmla="*/ 539820 w 768725"/>
              <a:gd name="csY81" fmla="*/ 595237 h 1509319"/>
              <a:gd name="csX82" fmla="*/ 553105 w 768725"/>
              <a:gd name="csY82" fmla="*/ 746727 h 1509319"/>
              <a:gd name="csX83" fmla="*/ 576414 w 768725"/>
              <a:gd name="csY83" fmla="*/ 893042 h 1509319"/>
              <a:gd name="csX84" fmla="*/ 500356 w 768725"/>
              <a:gd name="csY84" fmla="*/ 473996 h 1509319"/>
              <a:gd name="csX85" fmla="*/ 499749 w 768725"/>
              <a:gd name="csY85" fmla="*/ 463598 h 1509319"/>
              <a:gd name="csX86" fmla="*/ 392525 w 768725"/>
              <a:gd name="csY86" fmla="*/ 471627 h 1509319"/>
              <a:gd name="csX87" fmla="*/ 392518 w 768725"/>
              <a:gd name="csY87" fmla="*/ 482742 h 1509319"/>
              <a:gd name="csX88" fmla="*/ 390814 w 768725"/>
              <a:gd name="csY88" fmla="*/ 596913 h 1509319"/>
              <a:gd name="csX89" fmla="*/ 385953 w 768725"/>
              <a:gd name="csY89" fmla="*/ 788374 h 1509319"/>
              <a:gd name="csX90" fmla="*/ 383485 w 768725"/>
              <a:gd name="csY90" fmla="*/ 884103 h 1509319"/>
              <a:gd name="csX91" fmla="*/ 380173 w 768725"/>
              <a:gd name="csY91" fmla="*/ 1035109 h 1509319"/>
              <a:gd name="csX92" fmla="*/ 378826 w 768725"/>
              <a:gd name="csY92" fmla="*/ 1068199 h 1509319"/>
              <a:gd name="csX93" fmla="*/ 380180 w 768725"/>
              <a:gd name="csY93" fmla="*/ 1074648 h 1509319"/>
              <a:gd name="csX94" fmla="*/ 446854 w 768725"/>
              <a:gd name="csY94" fmla="*/ 1074654 h 1509319"/>
              <a:gd name="csX95" fmla="*/ 513191 w 768725"/>
              <a:gd name="csY95" fmla="*/ 1074731 h 1509319"/>
              <a:gd name="csX96" fmla="*/ 580317 w 768725"/>
              <a:gd name="csY96" fmla="*/ 1075095 h 1509319"/>
              <a:gd name="csX97" fmla="*/ 500356 w 768725"/>
              <a:gd name="csY97" fmla="*/ 473996 h 1509319"/>
              <a:gd name="csX98" fmla="*/ 459731 w 768725"/>
              <a:gd name="csY98" fmla="*/ 1135086 h 1509319"/>
              <a:gd name="csX99" fmla="*/ 383756 w 768725"/>
              <a:gd name="csY99" fmla="*/ 1135086 h 1509319"/>
              <a:gd name="csX100" fmla="*/ 387612 w 768725"/>
              <a:gd name="csY100" fmla="*/ 1242590 h 1509319"/>
              <a:gd name="csX101" fmla="*/ 383907 w 768725"/>
              <a:gd name="csY101" fmla="*/ 1351330 h 1509319"/>
              <a:gd name="csX102" fmla="*/ 707112 w 768725"/>
              <a:gd name="csY102" fmla="*/ 1330559 h 1509319"/>
              <a:gd name="csX103" fmla="*/ 686366 w 768725"/>
              <a:gd name="csY103" fmla="*/ 1251637 h 1509319"/>
              <a:gd name="csX104" fmla="*/ 639403 w 768725"/>
              <a:gd name="csY104" fmla="*/ 1199952 h 1509319"/>
              <a:gd name="csX105" fmla="*/ 606292 w 768725"/>
              <a:gd name="csY105" fmla="*/ 1135508 h 1509319"/>
              <a:gd name="csX106" fmla="*/ 602971 w 768725"/>
              <a:gd name="csY106" fmla="*/ 1123400 h 1509319"/>
              <a:gd name="csX107" fmla="*/ 591474 w 768725"/>
              <a:gd name="csY107" fmla="*/ 1124633 h 1509319"/>
              <a:gd name="csX108" fmla="*/ 530551 w 768725"/>
              <a:gd name="csY108" fmla="*/ 1130880 h 1509319"/>
              <a:gd name="csX109" fmla="*/ 459731 w 768725"/>
              <a:gd name="csY109" fmla="*/ 1135086 h 1509319"/>
              <a:gd name="csX110" fmla="*/ 469505 w 768725"/>
              <a:gd name="csY110" fmla="*/ 116252 h 1509319"/>
              <a:gd name="csX111" fmla="*/ 443782 w 768725"/>
              <a:gd name="csY111" fmla="*/ 114911 h 1509319"/>
              <a:gd name="csX112" fmla="*/ 430007 w 768725"/>
              <a:gd name="csY112" fmla="*/ 99878 h 1509319"/>
              <a:gd name="csX113" fmla="*/ 429331 w 768725"/>
              <a:gd name="csY113" fmla="*/ 69197 h 1509319"/>
              <a:gd name="csX114" fmla="*/ 426333 w 768725"/>
              <a:gd name="csY114" fmla="*/ 34606 h 1509319"/>
              <a:gd name="csX115" fmla="*/ 377548 w 768725"/>
              <a:gd name="csY115" fmla="*/ 34613 h 1509319"/>
              <a:gd name="csX116" fmla="*/ 368004 w 768725"/>
              <a:gd name="csY116" fmla="*/ 44529 h 1509319"/>
              <a:gd name="csX117" fmla="*/ 366185 w 768725"/>
              <a:gd name="csY117" fmla="*/ 76343 h 1509319"/>
              <a:gd name="csX118" fmla="*/ 379384 w 768725"/>
              <a:gd name="csY118" fmla="*/ 206619 h 1509319"/>
              <a:gd name="csX119" fmla="*/ 390997 w 768725"/>
              <a:gd name="csY119" fmla="*/ 277965 h 1509319"/>
              <a:gd name="csX120" fmla="*/ 394040 w 768725"/>
              <a:gd name="csY120" fmla="*/ 305053 h 1509319"/>
              <a:gd name="csX121" fmla="*/ 501758 w 768725"/>
              <a:gd name="csY121" fmla="*/ 304814 h 1509319"/>
              <a:gd name="csX122" fmla="*/ 510340 w 768725"/>
              <a:gd name="csY122" fmla="*/ 299427 h 1509319"/>
              <a:gd name="csX123" fmla="*/ 526940 w 768725"/>
              <a:gd name="csY123" fmla="*/ 279822 h 1509319"/>
              <a:gd name="csX124" fmla="*/ 576920 w 768725"/>
              <a:gd name="csY124" fmla="*/ 192342 h 1509319"/>
              <a:gd name="csX125" fmla="*/ 594042 w 768725"/>
              <a:gd name="csY125" fmla="*/ 74918 h 1509319"/>
              <a:gd name="csX126" fmla="*/ 594159 w 768725"/>
              <a:gd name="csY126" fmla="*/ 49195 h 1509319"/>
              <a:gd name="csX127" fmla="*/ 554791 w 768725"/>
              <a:gd name="csY127" fmla="*/ 42552 h 1509319"/>
              <a:gd name="csX128" fmla="*/ 552461 w 768725"/>
              <a:gd name="csY128" fmla="*/ 55598 h 1509319"/>
              <a:gd name="csX129" fmla="*/ 544678 w 768725"/>
              <a:gd name="csY129" fmla="*/ 102721 h 1509319"/>
              <a:gd name="csX130" fmla="*/ 525701 w 768725"/>
              <a:gd name="csY130" fmla="*/ 118186 h 1509319"/>
              <a:gd name="csX131" fmla="*/ 469505 w 768725"/>
              <a:gd name="csY131" fmla="*/ 116252 h 1509319"/>
              <a:gd name="csX132" fmla="*/ 513928 w 768725"/>
              <a:gd name="csY132" fmla="*/ 1403203 h 1509319"/>
              <a:gd name="csX133" fmla="*/ 379322 w 768725"/>
              <a:gd name="csY133" fmla="*/ 1404000 h 1509319"/>
              <a:gd name="csX134" fmla="*/ 379322 w 768725"/>
              <a:gd name="csY134" fmla="*/ 1460424 h 1509319"/>
              <a:gd name="csX135" fmla="*/ 726554 w 768725"/>
              <a:gd name="csY135" fmla="*/ 1439225 h 1509319"/>
              <a:gd name="csX136" fmla="*/ 721089 w 768725"/>
              <a:gd name="csY136" fmla="*/ 1397750 h 1509319"/>
              <a:gd name="csX137" fmla="*/ 697967 w 768725"/>
              <a:gd name="csY137" fmla="*/ 1385046 h 1509319"/>
              <a:gd name="csX138" fmla="*/ 619039 w 768725"/>
              <a:gd name="csY138" fmla="*/ 1395892 h 1509319"/>
              <a:gd name="csX139" fmla="*/ 513928 w 768725"/>
              <a:gd name="csY139" fmla="*/ 1403203 h 1509319"/>
              <a:gd name="csX140" fmla="*/ 462814 w 768725"/>
              <a:gd name="csY140" fmla="*/ 375981 h 1509319"/>
              <a:gd name="csX141" fmla="*/ 538992 w 768725"/>
              <a:gd name="csY141" fmla="*/ 375736 h 1509319"/>
              <a:gd name="csX142" fmla="*/ 551835 w 768725"/>
              <a:gd name="csY142" fmla="*/ 373923 h 1509319"/>
              <a:gd name="csX143" fmla="*/ 539689 w 768725"/>
              <a:gd name="csY143" fmla="*/ 356085 h 1509319"/>
              <a:gd name="csX144" fmla="*/ 521074 w 768725"/>
              <a:gd name="csY144" fmla="*/ 344186 h 1509319"/>
              <a:gd name="csX145" fmla="*/ 503789 w 768725"/>
              <a:gd name="csY145" fmla="*/ 339280 h 1509319"/>
              <a:gd name="csX146" fmla="*/ 404270 w 768725"/>
              <a:gd name="csY146" fmla="*/ 339994 h 1509319"/>
              <a:gd name="csX147" fmla="*/ 393081 w 768725"/>
              <a:gd name="csY147" fmla="*/ 340868 h 1509319"/>
              <a:gd name="csX148" fmla="*/ 395001 w 768725"/>
              <a:gd name="csY148" fmla="*/ 375976 h 1509319"/>
              <a:gd name="csX149" fmla="*/ 462814 w 768725"/>
              <a:gd name="csY149" fmla="*/ 375981 h 150931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</a:cxnLst>
            <a:rect l="l" t="t" r="r" b="b"/>
            <a:pathLst>
              <a:path w="768725" h="1509319">
                <a:moveTo>
                  <a:pt x="576414" y="893042"/>
                </a:moveTo>
                <a:cubicBezTo>
                  <a:pt x="588806" y="949146"/>
                  <a:pt x="601091" y="1004202"/>
                  <a:pt x="613047" y="1059329"/>
                </a:cubicBezTo>
                <a:cubicBezTo>
                  <a:pt x="614432" y="1065716"/>
                  <a:pt x="617736" y="1069332"/>
                  <a:pt x="623337" y="1071825"/>
                </a:cubicBezTo>
                <a:cubicBezTo>
                  <a:pt x="628942" y="1074320"/>
                  <a:pt x="634521" y="1076938"/>
                  <a:pt x="639863" y="1079946"/>
                </a:cubicBezTo>
                <a:cubicBezTo>
                  <a:pt x="650944" y="1086186"/>
                  <a:pt x="655598" y="1096871"/>
                  <a:pt x="652266" y="1109045"/>
                </a:cubicBezTo>
                <a:cubicBezTo>
                  <a:pt x="650545" y="1115333"/>
                  <a:pt x="647953" y="1121401"/>
                  <a:pt x="645501" y="1127466"/>
                </a:cubicBezTo>
                <a:cubicBezTo>
                  <a:pt x="643225" y="1133097"/>
                  <a:pt x="643438" y="1138435"/>
                  <a:pt x="645547" y="1144138"/>
                </a:cubicBezTo>
                <a:cubicBezTo>
                  <a:pt x="649868" y="1155821"/>
                  <a:pt x="655892" y="1166306"/>
                  <a:pt x="664589" y="1175322"/>
                </a:cubicBezTo>
                <a:cubicBezTo>
                  <a:pt x="680503" y="1191819"/>
                  <a:pt x="696298" y="1208434"/>
                  <a:pt x="712015" y="1225118"/>
                </a:cubicBezTo>
                <a:cubicBezTo>
                  <a:pt x="731931" y="1246258"/>
                  <a:pt x="740856" y="1272032"/>
                  <a:pt x="744465" y="1300385"/>
                </a:cubicBezTo>
                <a:cubicBezTo>
                  <a:pt x="746614" y="1317273"/>
                  <a:pt x="744537" y="1333855"/>
                  <a:pt x="743270" y="1350524"/>
                </a:cubicBezTo>
                <a:cubicBezTo>
                  <a:pt x="742916" y="1355183"/>
                  <a:pt x="743079" y="1358990"/>
                  <a:pt x="745429" y="1363274"/>
                </a:cubicBezTo>
                <a:cubicBezTo>
                  <a:pt x="761335" y="1392276"/>
                  <a:pt x="766719" y="1423956"/>
                  <a:pt x="768672" y="1456512"/>
                </a:cubicBezTo>
                <a:cubicBezTo>
                  <a:pt x="769161" y="1464651"/>
                  <a:pt x="766327" y="1469951"/>
                  <a:pt x="758521" y="1472434"/>
                </a:cubicBezTo>
                <a:cubicBezTo>
                  <a:pt x="749176" y="1475406"/>
                  <a:pt x="739961" y="1478919"/>
                  <a:pt x="730455" y="1481228"/>
                </a:cubicBezTo>
                <a:cubicBezTo>
                  <a:pt x="685866" y="1492058"/>
                  <a:pt x="640613" y="1498445"/>
                  <a:pt x="594867" y="1502210"/>
                </a:cubicBezTo>
                <a:cubicBezTo>
                  <a:pt x="503351" y="1509743"/>
                  <a:pt x="411695" y="1510364"/>
                  <a:pt x="320018" y="1508300"/>
                </a:cubicBezTo>
                <a:cubicBezTo>
                  <a:pt x="275466" y="1507297"/>
                  <a:pt x="230913" y="1504582"/>
                  <a:pt x="186464" y="1501258"/>
                </a:cubicBezTo>
                <a:cubicBezTo>
                  <a:pt x="132610" y="1497231"/>
                  <a:pt x="79072" y="1490389"/>
                  <a:pt x="26582" y="1477021"/>
                </a:cubicBezTo>
                <a:cubicBezTo>
                  <a:pt x="18195" y="1474885"/>
                  <a:pt x="9735" y="1472585"/>
                  <a:pt x="3929" y="1465652"/>
                </a:cubicBezTo>
                <a:cubicBezTo>
                  <a:pt x="1807" y="1463117"/>
                  <a:pt x="-213" y="1459275"/>
                  <a:pt x="18" y="1456203"/>
                </a:cubicBezTo>
                <a:cubicBezTo>
                  <a:pt x="995" y="1443177"/>
                  <a:pt x="2714" y="1430200"/>
                  <a:pt x="4393" y="1417235"/>
                </a:cubicBezTo>
                <a:cubicBezTo>
                  <a:pt x="6515" y="1400846"/>
                  <a:pt x="11310" y="1385118"/>
                  <a:pt x="19158" y="1370678"/>
                </a:cubicBezTo>
                <a:cubicBezTo>
                  <a:pt x="24205" y="1361393"/>
                  <a:pt x="24576" y="1352443"/>
                  <a:pt x="23255" y="1342388"/>
                </a:cubicBezTo>
                <a:cubicBezTo>
                  <a:pt x="18901" y="1309218"/>
                  <a:pt x="21603" y="1276876"/>
                  <a:pt x="38705" y="1247261"/>
                </a:cubicBezTo>
                <a:cubicBezTo>
                  <a:pt x="44179" y="1237783"/>
                  <a:pt x="50956" y="1228786"/>
                  <a:pt x="58454" y="1220807"/>
                </a:cubicBezTo>
                <a:cubicBezTo>
                  <a:pt x="73024" y="1205299"/>
                  <a:pt x="88543" y="1190683"/>
                  <a:pt x="103638" y="1175667"/>
                </a:cubicBezTo>
                <a:cubicBezTo>
                  <a:pt x="112161" y="1167189"/>
                  <a:pt x="118801" y="1157513"/>
                  <a:pt x="122996" y="1146131"/>
                </a:cubicBezTo>
                <a:cubicBezTo>
                  <a:pt x="125249" y="1140016"/>
                  <a:pt x="125488" y="1134282"/>
                  <a:pt x="122689" y="1128316"/>
                </a:cubicBezTo>
                <a:cubicBezTo>
                  <a:pt x="120431" y="1123504"/>
                  <a:pt x="118446" y="1118553"/>
                  <a:pt x="116576" y="1113575"/>
                </a:cubicBezTo>
                <a:cubicBezTo>
                  <a:pt x="111153" y="1099133"/>
                  <a:pt x="114404" y="1089299"/>
                  <a:pt x="127479" y="1081076"/>
                </a:cubicBezTo>
                <a:cubicBezTo>
                  <a:pt x="130563" y="1079137"/>
                  <a:pt x="134000" y="1077564"/>
                  <a:pt x="137480" y="1076482"/>
                </a:cubicBezTo>
                <a:cubicBezTo>
                  <a:pt x="148800" y="1072962"/>
                  <a:pt x="154794" y="1065351"/>
                  <a:pt x="157312" y="1053855"/>
                </a:cubicBezTo>
                <a:cubicBezTo>
                  <a:pt x="164312" y="1021900"/>
                  <a:pt x="172752" y="990234"/>
                  <a:pt x="178876" y="958120"/>
                </a:cubicBezTo>
                <a:cubicBezTo>
                  <a:pt x="190055" y="899504"/>
                  <a:pt x="200649" y="840756"/>
                  <a:pt x="210165" y="781849"/>
                </a:cubicBezTo>
                <a:cubicBezTo>
                  <a:pt x="215898" y="746366"/>
                  <a:pt x="219868" y="710550"/>
                  <a:pt x="223295" y="674755"/>
                </a:cubicBezTo>
                <a:cubicBezTo>
                  <a:pt x="226801" y="638133"/>
                  <a:pt x="229185" y="601381"/>
                  <a:pt x="231121" y="564636"/>
                </a:cubicBezTo>
                <a:cubicBezTo>
                  <a:pt x="233079" y="527469"/>
                  <a:pt x="233899" y="490241"/>
                  <a:pt x="235173" y="453038"/>
                </a:cubicBezTo>
                <a:cubicBezTo>
                  <a:pt x="235285" y="449770"/>
                  <a:pt x="235108" y="446488"/>
                  <a:pt x="235001" y="443215"/>
                </a:cubicBezTo>
                <a:cubicBezTo>
                  <a:pt x="234761" y="435907"/>
                  <a:pt x="231291" y="431283"/>
                  <a:pt x="224321" y="428479"/>
                </a:cubicBezTo>
                <a:cubicBezTo>
                  <a:pt x="217531" y="425747"/>
                  <a:pt x="210873" y="422395"/>
                  <a:pt x="204712" y="418450"/>
                </a:cubicBezTo>
                <a:cubicBezTo>
                  <a:pt x="187562" y="407468"/>
                  <a:pt x="179141" y="385623"/>
                  <a:pt x="184069" y="366060"/>
                </a:cubicBezTo>
                <a:cubicBezTo>
                  <a:pt x="187270" y="353354"/>
                  <a:pt x="195406" y="344379"/>
                  <a:pt x="206519" y="338181"/>
                </a:cubicBezTo>
                <a:cubicBezTo>
                  <a:pt x="212922" y="334611"/>
                  <a:pt x="219930" y="332132"/>
                  <a:pt x="226643" y="329113"/>
                </a:cubicBezTo>
                <a:cubicBezTo>
                  <a:pt x="236636" y="324620"/>
                  <a:pt x="238185" y="320246"/>
                  <a:pt x="232085" y="311135"/>
                </a:cubicBezTo>
                <a:cubicBezTo>
                  <a:pt x="229169" y="306779"/>
                  <a:pt x="225643" y="302195"/>
                  <a:pt x="221280" y="299552"/>
                </a:cubicBezTo>
                <a:cubicBezTo>
                  <a:pt x="194874" y="283553"/>
                  <a:pt x="183766" y="257401"/>
                  <a:pt x="173478" y="230303"/>
                </a:cubicBezTo>
                <a:cubicBezTo>
                  <a:pt x="156973" y="186824"/>
                  <a:pt x="146078" y="142097"/>
                  <a:pt x="141864" y="95780"/>
                </a:cubicBezTo>
                <a:cubicBezTo>
                  <a:pt x="140086" y="76240"/>
                  <a:pt x="138323" y="56689"/>
                  <a:pt x="137158" y="37107"/>
                </a:cubicBezTo>
                <a:cubicBezTo>
                  <a:pt x="136482" y="25735"/>
                  <a:pt x="137408" y="24372"/>
                  <a:pt x="148750" y="22335"/>
                </a:cubicBezTo>
                <a:cubicBezTo>
                  <a:pt x="178094" y="17065"/>
                  <a:pt x="207551" y="12418"/>
                  <a:pt x="236982" y="7640"/>
                </a:cubicBezTo>
                <a:cubicBezTo>
                  <a:pt x="239748" y="7191"/>
                  <a:pt x="242650" y="7580"/>
                  <a:pt x="246862" y="7580"/>
                </a:cubicBezTo>
                <a:cubicBezTo>
                  <a:pt x="255824" y="32568"/>
                  <a:pt x="255201" y="59502"/>
                  <a:pt x="261473" y="86763"/>
                </a:cubicBezTo>
                <a:cubicBezTo>
                  <a:pt x="276122" y="85715"/>
                  <a:pt x="290587" y="84680"/>
                  <a:pt x="306246" y="83559"/>
                </a:cubicBezTo>
                <a:cubicBezTo>
                  <a:pt x="306524" y="78935"/>
                  <a:pt x="306966" y="75011"/>
                  <a:pt x="306960" y="71087"/>
                </a:cubicBezTo>
                <a:cubicBezTo>
                  <a:pt x="306936" y="53888"/>
                  <a:pt x="306633" y="36688"/>
                  <a:pt x="306724" y="19491"/>
                </a:cubicBezTo>
                <a:cubicBezTo>
                  <a:pt x="306789" y="7258"/>
                  <a:pt x="307148" y="6664"/>
                  <a:pt x="319581" y="4733"/>
                </a:cubicBezTo>
                <a:cubicBezTo>
                  <a:pt x="356571" y="-1011"/>
                  <a:pt x="393735" y="-1048"/>
                  <a:pt x="430956" y="2070"/>
                </a:cubicBezTo>
                <a:cubicBezTo>
                  <a:pt x="432994" y="2241"/>
                  <a:pt x="435026" y="2485"/>
                  <a:pt x="437066" y="2646"/>
                </a:cubicBezTo>
                <a:cubicBezTo>
                  <a:pt x="455684" y="4122"/>
                  <a:pt x="457626" y="5472"/>
                  <a:pt x="460335" y="24205"/>
                </a:cubicBezTo>
                <a:cubicBezTo>
                  <a:pt x="462146" y="36727"/>
                  <a:pt x="462770" y="49435"/>
                  <a:pt x="463579" y="62081"/>
                </a:cubicBezTo>
                <a:cubicBezTo>
                  <a:pt x="463995" y="68573"/>
                  <a:pt x="463652" y="75113"/>
                  <a:pt x="463652" y="82953"/>
                </a:cubicBezTo>
                <a:cubicBezTo>
                  <a:pt x="478793" y="83857"/>
                  <a:pt x="492851" y="84696"/>
                  <a:pt x="507205" y="85553"/>
                </a:cubicBezTo>
                <a:cubicBezTo>
                  <a:pt x="512102" y="78145"/>
                  <a:pt x="511920" y="69770"/>
                  <a:pt x="513271" y="61890"/>
                </a:cubicBezTo>
                <a:cubicBezTo>
                  <a:pt x="515756" y="47397"/>
                  <a:pt x="517439" y="32758"/>
                  <a:pt x="520203" y="18323"/>
                </a:cubicBezTo>
                <a:cubicBezTo>
                  <a:pt x="522330" y="7216"/>
                  <a:pt x="522926" y="6539"/>
                  <a:pt x="534008" y="7785"/>
                </a:cubicBezTo>
                <a:cubicBezTo>
                  <a:pt x="554709" y="10113"/>
                  <a:pt x="575316" y="13322"/>
                  <a:pt x="595925" y="16407"/>
                </a:cubicBezTo>
                <a:cubicBezTo>
                  <a:pt x="604001" y="17616"/>
                  <a:pt x="612093" y="19051"/>
                  <a:pt x="619972" y="21156"/>
                </a:cubicBezTo>
                <a:cubicBezTo>
                  <a:pt x="628887" y="23538"/>
                  <a:pt x="631496" y="26848"/>
                  <a:pt x="631161" y="36134"/>
                </a:cubicBezTo>
                <a:cubicBezTo>
                  <a:pt x="630572" y="52475"/>
                  <a:pt x="629765" y="68840"/>
                  <a:pt x="628140" y="85104"/>
                </a:cubicBezTo>
                <a:cubicBezTo>
                  <a:pt x="624968" y="116827"/>
                  <a:pt x="621618" y="148545"/>
                  <a:pt x="613954" y="179618"/>
                </a:cubicBezTo>
                <a:cubicBezTo>
                  <a:pt x="607361" y="206344"/>
                  <a:pt x="597791" y="231950"/>
                  <a:pt x="586196" y="256886"/>
                </a:cubicBezTo>
                <a:cubicBezTo>
                  <a:pt x="578940" y="272491"/>
                  <a:pt x="568647" y="285371"/>
                  <a:pt x="554619" y="295312"/>
                </a:cubicBezTo>
                <a:cubicBezTo>
                  <a:pt x="547467" y="300381"/>
                  <a:pt x="541673" y="306562"/>
                  <a:pt x="538601" y="315001"/>
                </a:cubicBezTo>
                <a:cubicBezTo>
                  <a:pt x="536802" y="319945"/>
                  <a:pt x="537533" y="323761"/>
                  <a:pt x="542630" y="326199"/>
                </a:cubicBezTo>
                <a:cubicBezTo>
                  <a:pt x="548539" y="329025"/>
                  <a:pt x="554513" y="331748"/>
                  <a:pt x="560240" y="334912"/>
                </a:cubicBezTo>
                <a:cubicBezTo>
                  <a:pt x="574874" y="342998"/>
                  <a:pt x="586216" y="353688"/>
                  <a:pt x="586933" y="371800"/>
                </a:cubicBezTo>
                <a:cubicBezTo>
                  <a:pt x="587721" y="391697"/>
                  <a:pt x="581146" y="407998"/>
                  <a:pt x="563039" y="418184"/>
                </a:cubicBezTo>
                <a:cubicBezTo>
                  <a:pt x="557338" y="421391"/>
                  <a:pt x="551634" y="424825"/>
                  <a:pt x="545522" y="427008"/>
                </a:cubicBezTo>
                <a:cubicBezTo>
                  <a:pt x="538690" y="429449"/>
                  <a:pt x="535443" y="433770"/>
                  <a:pt x="535507" y="440667"/>
                </a:cubicBezTo>
                <a:cubicBezTo>
                  <a:pt x="535813" y="472997"/>
                  <a:pt x="535953" y="505332"/>
                  <a:pt x="536723" y="537651"/>
                </a:cubicBezTo>
                <a:cubicBezTo>
                  <a:pt x="537181" y="556862"/>
                  <a:pt x="538274" y="576081"/>
                  <a:pt x="539820" y="595237"/>
                </a:cubicBezTo>
                <a:cubicBezTo>
                  <a:pt x="543897" y="645768"/>
                  <a:pt x="546950" y="696441"/>
                  <a:pt x="553105" y="746727"/>
                </a:cubicBezTo>
                <a:cubicBezTo>
                  <a:pt x="559060" y="795370"/>
                  <a:pt x="568372" y="843602"/>
                  <a:pt x="576414" y="893042"/>
                </a:cubicBezTo>
                <a:moveTo>
                  <a:pt x="500356" y="473996"/>
                </a:moveTo>
                <a:cubicBezTo>
                  <a:pt x="500146" y="470396"/>
                  <a:pt x="499936" y="466797"/>
                  <a:pt x="499749" y="463598"/>
                </a:cubicBezTo>
                <a:cubicBezTo>
                  <a:pt x="463731" y="466295"/>
                  <a:pt x="428548" y="468929"/>
                  <a:pt x="392525" y="471627"/>
                </a:cubicBezTo>
                <a:cubicBezTo>
                  <a:pt x="392525" y="475456"/>
                  <a:pt x="392570" y="479099"/>
                  <a:pt x="392518" y="482742"/>
                </a:cubicBezTo>
                <a:cubicBezTo>
                  <a:pt x="391977" y="520799"/>
                  <a:pt x="391669" y="558862"/>
                  <a:pt x="390814" y="596913"/>
                </a:cubicBezTo>
                <a:cubicBezTo>
                  <a:pt x="389379" y="660737"/>
                  <a:pt x="387596" y="724554"/>
                  <a:pt x="385953" y="788374"/>
                </a:cubicBezTo>
                <a:cubicBezTo>
                  <a:pt x="385132" y="820284"/>
                  <a:pt x="384217" y="852191"/>
                  <a:pt x="383485" y="884103"/>
                </a:cubicBezTo>
                <a:cubicBezTo>
                  <a:pt x="382329" y="934437"/>
                  <a:pt x="381336" y="984775"/>
                  <a:pt x="380173" y="1035109"/>
                </a:cubicBezTo>
                <a:cubicBezTo>
                  <a:pt x="379918" y="1046143"/>
                  <a:pt x="379172" y="1057166"/>
                  <a:pt x="378826" y="1068199"/>
                </a:cubicBezTo>
                <a:cubicBezTo>
                  <a:pt x="378768" y="1070073"/>
                  <a:pt x="379592" y="1071975"/>
                  <a:pt x="380180" y="1074648"/>
                </a:cubicBezTo>
                <a:cubicBezTo>
                  <a:pt x="402724" y="1074648"/>
                  <a:pt x="424789" y="1074626"/>
                  <a:pt x="446854" y="1074654"/>
                </a:cubicBezTo>
                <a:cubicBezTo>
                  <a:pt x="468967" y="1074682"/>
                  <a:pt x="491084" y="1075062"/>
                  <a:pt x="513191" y="1074731"/>
                </a:cubicBezTo>
                <a:cubicBezTo>
                  <a:pt x="535020" y="1074404"/>
                  <a:pt x="556890" y="1078397"/>
                  <a:pt x="580317" y="1075095"/>
                </a:cubicBezTo>
                <a:cubicBezTo>
                  <a:pt x="530688" y="877741"/>
                  <a:pt x="498514" y="679261"/>
                  <a:pt x="500356" y="473996"/>
                </a:cubicBezTo>
                <a:moveTo>
                  <a:pt x="459731" y="1135086"/>
                </a:moveTo>
                <a:cubicBezTo>
                  <a:pt x="434501" y="1135086"/>
                  <a:pt x="409270" y="1135086"/>
                  <a:pt x="383756" y="1135086"/>
                </a:cubicBezTo>
                <a:cubicBezTo>
                  <a:pt x="385145" y="1171037"/>
                  <a:pt x="387590" y="1206813"/>
                  <a:pt x="387612" y="1242590"/>
                </a:cubicBezTo>
                <a:cubicBezTo>
                  <a:pt x="387634" y="1278699"/>
                  <a:pt x="385252" y="1314810"/>
                  <a:pt x="383907" y="1351330"/>
                </a:cubicBezTo>
                <a:cubicBezTo>
                  <a:pt x="493016" y="1355954"/>
                  <a:pt x="600298" y="1349068"/>
                  <a:pt x="707112" y="1330559"/>
                </a:cubicBezTo>
                <a:cubicBezTo>
                  <a:pt x="710922" y="1301049"/>
                  <a:pt x="703971" y="1274394"/>
                  <a:pt x="686366" y="1251637"/>
                </a:cubicBezTo>
                <a:cubicBezTo>
                  <a:pt x="672164" y="1233278"/>
                  <a:pt x="655625" y="1216649"/>
                  <a:pt x="639403" y="1199952"/>
                </a:cubicBezTo>
                <a:cubicBezTo>
                  <a:pt x="621690" y="1181720"/>
                  <a:pt x="611031" y="1160243"/>
                  <a:pt x="606292" y="1135508"/>
                </a:cubicBezTo>
                <a:cubicBezTo>
                  <a:pt x="605546" y="1131614"/>
                  <a:pt x="604205" y="1127833"/>
                  <a:pt x="602971" y="1123400"/>
                </a:cubicBezTo>
                <a:cubicBezTo>
                  <a:pt x="598647" y="1123864"/>
                  <a:pt x="595062" y="1124258"/>
                  <a:pt x="591474" y="1124633"/>
                </a:cubicBezTo>
                <a:cubicBezTo>
                  <a:pt x="571170" y="1126753"/>
                  <a:pt x="550896" y="1129262"/>
                  <a:pt x="530551" y="1130880"/>
                </a:cubicBezTo>
                <a:cubicBezTo>
                  <a:pt x="507752" y="1132694"/>
                  <a:pt x="484887" y="1133699"/>
                  <a:pt x="459731" y="1135086"/>
                </a:cubicBezTo>
                <a:moveTo>
                  <a:pt x="469505" y="116252"/>
                </a:moveTo>
                <a:cubicBezTo>
                  <a:pt x="460926" y="115846"/>
                  <a:pt x="452288" y="115932"/>
                  <a:pt x="443782" y="114911"/>
                </a:cubicBezTo>
                <a:cubicBezTo>
                  <a:pt x="433023" y="113619"/>
                  <a:pt x="430601" y="110848"/>
                  <a:pt x="430007" y="99878"/>
                </a:cubicBezTo>
                <a:cubicBezTo>
                  <a:pt x="429457" y="89668"/>
                  <a:pt x="429903" y="79404"/>
                  <a:pt x="429331" y="69197"/>
                </a:cubicBezTo>
                <a:cubicBezTo>
                  <a:pt x="428702" y="57943"/>
                  <a:pt x="427414" y="46725"/>
                  <a:pt x="426333" y="34606"/>
                </a:cubicBezTo>
                <a:cubicBezTo>
                  <a:pt x="409217" y="34606"/>
                  <a:pt x="393383" y="34593"/>
                  <a:pt x="377548" y="34613"/>
                </a:cubicBezTo>
                <a:cubicBezTo>
                  <a:pt x="370973" y="34621"/>
                  <a:pt x="368175" y="37880"/>
                  <a:pt x="368004" y="44529"/>
                </a:cubicBezTo>
                <a:cubicBezTo>
                  <a:pt x="367731" y="55142"/>
                  <a:pt x="366531" y="65729"/>
                  <a:pt x="366185" y="76343"/>
                </a:cubicBezTo>
                <a:cubicBezTo>
                  <a:pt x="364748" y="120348"/>
                  <a:pt x="372586" y="163440"/>
                  <a:pt x="379384" y="206619"/>
                </a:cubicBezTo>
                <a:cubicBezTo>
                  <a:pt x="383132" y="230420"/>
                  <a:pt x="387281" y="254159"/>
                  <a:pt x="390997" y="277965"/>
                </a:cubicBezTo>
                <a:cubicBezTo>
                  <a:pt x="392356" y="286668"/>
                  <a:pt x="392988" y="295485"/>
                  <a:pt x="394040" y="305053"/>
                </a:cubicBezTo>
                <a:cubicBezTo>
                  <a:pt x="430625" y="305053"/>
                  <a:pt x="466194" y="305182"/>
                  <a:pt x="501758" y="304814"/>
                </a:cubicBezTo>
                <a:cubicBezTo>
                  <a:pt x="504672" y="304784"/>
                  <a:pt x="508099" y="301870"/>
                  <a:pt x="510340" y="299427"/>
                </a:cubicBezTo>
                <a:cubicBezTo>
                  <a:pt x="516125" y="293119"/>
                  <a:pt x="520822" y="285749"/>
                  <a:pt x="526940" y="279822"/>
                </a:cubicBezTo>
                <a:cubicBezTo>
                  <a:pt x="552103" y="255447"/>
                  <a:pt x="566819" y="225104"/>
                  <a:pt x="576920" y="192342"/>
                </a:cubicBezTo>
                <a:cubicBezTo>
                  <a:pt x="588690" y="154165"/>
                  <a:pt x="590063" y="114309"/>
                  <a:pt x="594042" y="74918"/>
                </a:cubicBezTo>
                <a:cubicBezTo>
                  <a:pt x="594852" y="66901"/>
                  <a:pt x="594159" y="58731"/>
                  <a:pt x="594159" y="49195"/>
                </a:cubicBezTo>
                <a:cubicBezTo>
                  <a:pt x="581125" y="46996"/>
                  <a:pt x="568493" y="44864"/>
                  <a:pt x="554791" y="42552"/>
                </a:cubicBezTo>
                <a:cubicBezTo>
                  <a:pt x="553857" y="47762"/>
                  <a:pt x="553099" y="51670"/>
                  <a:pt x="552461" y="55598"/>
                </a:cubicBezTo>
                <a:cubicBezTo>
                  <a:pt x="549905" y="71314"/>
                  <a:pt x="547903" y="87144"/>
                  <a:pt x="544678" y="102721"/>
                </a:cubicBezTo>
                <a:cubicBezTo>
                  <a:pt x="542363" y="113902"/>
                  <a:pt x="537010" y="118223"/>
                  <a:pt x="525701" y="118186"/>
                </a:cubicBezTo>
                <a:cubicBezTo>
                  <a:pt x="507730" y="118128"/>
                  <a:pt x="489762" y="117027"/>
                  <a:pt x="469505" y="116252"/>
                </a:cubicBezTo>
                <a:moveTo>
                  <a:pt x="513928" y="1403203"/>
                </a:moveTo>
                <a:cubicBezTo>
                  <a:pt x="469441" y="1403467"/>
                  <a:pt x="424955" y="1403730"/>
                  <a:pt x="379322" y="1404000"/>
                </a:cubicBezTo>
                <a:cubicBezTo>
                  <a:pt x="379322" y="1423089"/>
                  <a:pt x="379322" y="1440883"/>
                  <a:pt x="379322" y="1460424"/>
                </a:cubicBezTo>
                <a:cubicBezTo>
                  <a:pt x="496078" y="1471584"/>
                  <a:pt x="611510" y="1462301"/>
                  <a:pt x="726554" y="1439225"/>
                </a:cubicBezTo>
                <a:cubicBezTo>
                  <a:pt x="728615" y="1424350"/>
                  <a:pt x="725601" y="1410872"/>
                  <a:pt x="721089" y="1397750"/>
                </a:cubicBezTo>
                <a:cubicBezTo>
                  <a:pt x="717269" y="1386638"/>
                  <a:pt x="709802" y="1383286"/>
                  <a:pt x="697967" y="1385046"/>
                </a:cubicBezTo>
                <a:cubicBezTo>
                  <a:pt x="671697" y="1388954"/>
                  <a:pt x="645454" y="1393360"/>
                  <a:pt x="619039" y="1395892"/>
                </a:cubicBezTo>
                <a:cubicBezTo>
                  <a:pt x="584863" y="1399168"/>
                  <a:pt x="550531" y="1400815"/>
                  <a:pt x="513928" y="1403203"/>
                </a:cubicBezTo>
                <a:moveTo>
                  <a:pt x="462814" y="375981"/>
                </a:moveTo>
                <a:cubicBezTo>
                  <a:pt x="488207" y="375927"/>
                  <a:pt x="513601" y="375954"/>
                  <a:pt x="538992" y="375736"/>
                </a:cubicBezTo>
                <a:cubicBezTo>
                  <a:pt x="543170" y="375700"/>
                  <a:pt x="547338" y="374587"/>
                  <a:pt x="551835" y="373923"/>
                </a:cubicBezTo>
                <a:cubicBezTo>
                  <a:pt x="550780" y="364535"/>
                  <a:pt x="545320" y="360090"/>
                  <a:pt x="539689" y="356085"/>
                </a:cubicBezTo>
                <a:cubicBezTo>
                  <a:pt x="533696" y="351821"/>
                  <a:pt x="527145" y="348349"/>
                  <a:pt x="521074" y="344186"/>
                </a:cubicBezTo>
                <a:cubicBezTo>
                  <a:pt x="515783" y="340559"/>
                  <a:pt x="510232" y="339198"/>
                  <a:pt x="503789" y="339280"/>
                </a:cubicBezTo>
                <a:cubicBezTo>
                  <a:pt x="470618" y="339700"/>
                  <a:pt x="437443" y="339744"/>
                  <a:pt x="404270" y="339994"/>
                </a:cubicBezTo>
                <a:cubicBezTo>
                  <a:pt x="400758" y="340021"/>
                  <a:pt x="397250" y="340529"/>
                  <a:pt x="393081" y="340868"/>
                </a:cubicBezTo>
                <a:cubicBezTo>
                  <a:pt x="393653" y="352908"/>
                  <a:pt x="392145" y="363845"/>
                  <a:pt x="395001" y="375976"/>
                </a:cubicBezTo>
                <a:cubicBezTo>
                  <a:pt x="417133" y="375976"/>
                  <a:pt x="438745" y="375976"/>
                  <a:pt x="462814" y="375981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26" name="Free-form: Shape 425">
            <a:extLst>
              <a:ext uri="{FF2B5EF4-FFF2-40B4-BE49-F238E27FC236}">
                <a16:creationId xmlns:a16="http://schemas.microsoft.com/office/drawing/2014/main" id="{9826C5AB-BB15-EB69-7CF4-C6BA59D9AB76}"/>
              </a:ext>
            </a:extLst>
          </p:cNvPr>
          <p:cNvSpPr/>
          <p:nvPr/>
        </p:nvSpPr>
        <p:spPr>
          <a:xfrm>
            <a:off x="11018863" y="4375392"/>
            <a:ext cx="155564" cy="520442"/>
          </a:xfrm>
          <a:custGeom>
            <a:avLst/>
            <a:gdLst>
              <a:gd name="csX0" fmla="*/ 121535 w 201493"/>
              <a:gd name="csY0" fmla="*/ 11562 h 612813"/>
              <a:gd name="csX1" fmla="*/ 201493 w 201493"/>
              <a:gd name="csY1" fmla="*/ 611498 h 612813"/>
              <a:gd name="csX2" fmla="*/ 134368 w 201493"/>
              <a:gd name="csY2" fmla="*/ 611133 h 612813"/>
              <a:gd name="csX3" fmla="*/ 68030 w 201493"/>
              <a:gd name="csY3" fmla="*/ 611056 h 612813"/>
              <a:gd name="csX4" fmla="*/ 1357 w 201493"/>
              <a:gd name="csY4" fmla="*/ 611050 h 612813"/>
              <a:gd name="csX5" fmla="*/ 3 w 201493"/>
              <a:gd name="csY5" fmla="*/ 604601 h 612813"/>
              <a:gd name="csX6" fmla="*/ 1350 w 201493"/>
              <a:gd name="csY6" fmla="*/ 571511 h 612813"/>
              <a:gd name="csX7" fmla="*/ 4661 w 201493"/>
              <a:gd name="csY7" fmla="*/ 420505 h 612813"/>
              <a:gd name="csX8" fmla="*/ 7130 w 201493"/>
              <a:gd name="csY8" fmla="*/ 324777 h 612813"/>
              <a:gd name="csX9" fmla="*/ 11991 w 201493"/>
              <a:gd name="csY9" fmla="*/ 133315 h 612813"/>
              <a:gd name="csX10" fmla="*/ 13695 w 201493"/>
              <a:gd name="csY10" fmla="*/ 19144 h 612813"/>
              <a:gd name="csX11" fmla="*/ 13702 w 201493"/>
              <a:gd name="csY11" fmla="*/ 8029 h 612813"/>
              <a:gd name="csX12" fmla="*/ 120926 w 201493"/>
              <a:gd name="csY12" fmla="*/ 0 h 612813"/>
              <a:gd name="csX13" fmla="*/ 121535 w 201493"/>
              <a:gd name="csY13" fmla="*/ 11562 h 61281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</a:cxnLst>
            <a:rect l="l" t="t" r="r" b="b"/>
            <a:pathLst>
              <a:path w="201493" h="612813">
                <a:moveTo>
                  <a:pt x="121535" y="11562"/>
                </a:moveTo>
                <a:cubicBezTo>
                  <a:pt x="119691" y="215664"/>
                  <a:pt x="151865" y="414144"/>
                  <a:pt x="201493" y="611498"/>
                </a:cubicBezTo>
                <a:cubicBezTo>
                  <a:pt x="178066" y="614799"/>
                  <a:pt x="156197" y="610806"/>
                  <a:pt x="134368" y="611133"/>
                </a:cubicBezTo>
                <a:cubicBezTo>
                  <a:pt x="112261" y="611465"/>
                  <a:pt x="90143" y="611084"/>
                  <a:pt x="68030" y="611056"/>
                </a:cubicBezTo>
                <a:cubicBezTo>
                  <a:pt x="45965" y="611028"/>
                  <a:pt x="23900" y="611050"/>
                  <a:pt x="1357" y="611050"/>
                </a:cubicBezTo>
                <a:cubicBezTo>
                  <a:pt x="769" y="608377"/>
                  <a:pt x="-56" y="606475"/>
                  <a:pt x="3" y="604601"/>
                </a:cubicBezTo>
                <a:cubicBezTo>
                  <a:pt x="349" y="593568"/>
                  <a:pt x="1095" y="582545"/>
                  <a:pt x="1350" y="571511"/>
                </a:cubicBezTo>
                <a:cubicBezTo>
                  <a:pt x="2513" y="521177"/>
                  <a:pt x="3506" y="470839"/>
                  <a:pt x="4661" y="420505"/>
                </a:cubicBezTo>
                <a:cubicBezTo>
                  <a:pt x="5393" y="388594"/>
                  <a:pt x="6308" y="356686"/>
                  <a:pt x="7130" y="324777"/>
                </a:cubicBezTo>
                <a:cubicBezTo>
                  <a:pt x="8772" y="260956"/>
                  <a:pt x="10555" y="197140"/>
                  <a:pt x="11991" y="133315"/>
                </a:cubicBezTo>
                <a:cubicBezTo>
                  <a:pt x="12846" y="95264"/>
                  <a:pt x="13154" y="57201"/>
                  <a:pt x="13695" y="19144"/>
                </a:cubicBezTo>
                <a:cubicBezTo>
                  <a:pt x="13746" y="15501"/>
                  <a:pt x="13702" y="11858"/>
                  <a:pt x="13702" y="8029"/>
                </a:cubicBezTo>
                <a:cubicBezTo>
                  <a:pt x="49725" y="5331"/>
                  <a:pt x="84908" y="2697"/>
                  <a:pt x="120926" y="0"/>
                </a:cubicBezTo>
                <a:cubicBezTo>
                  <a:pt x="121113" y="3199"/>
                  <a:pt x="121323" y="6798"/>
                  <a:pt x="121535" y="11562"/>
                </a:cubicBezTo>
                <a:close/>
              </a:path>
            </a:pathLst>
          </a:custGeom>
          <a:solidFill>
            <a:srgbClr val="FDFDFD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27" name="Free-form: Shape 426">
            <a:extLst>
              <a:ext uri="{FF2B5EF4-FFF2-40B4-BE49-F238E27FC236}">
                <a16:creationId xmlns:a16="http://schemas.microsoft.com/office/drawing/2014/main" id="{B327764F-097B-FA58-B5F0-E10F0BCDCD62}"/>
              </a:ext>
            </a:extLst>
          </p:cNvPr>
          <p:cNvSpPr/>
          <p:nvPr/>
        </p:nvSpPr>
        <p:spPr>
          <a:xfrm>
            <a:off x="11022671" y="4935741"/>
            <a:ext cx="250431" cy="194755"/>
          </a:xfrm>
          <a:custGeom>
            <a:avLst/>
            <a:gdLst>
              <a:gd name="csX0" fmla="*/ 77135 w 324367"/>
              <a:gd name="csY0" fmla="*/ 11670 h 229322"/>
              <a:gd name="csX1" fmla="*/ 146795 w 324367"/>
              <a:gd name="csY1" fmla="*/ 7480 h 229322"/>
              <a:gd name="csX2" fmla="*/ 207718 w 324367"/>
              <a:gd name="csY2" fmla="*/ 1232 h 229322"/>
              <a:gd name="csX3" fmla="*/ 219215 w 324367"/>
              <a:gd name="csY3" fmla="*/ 0 h 229322"/>
              <a:gd name="csX4" fmla="*/ 222536 w 324367"/>
              <a:gd name="csY4" fmla="*/ 12108 h 229322"/>
              <a:gd name="csX5" fmla="*/ 255647 w 324367"/>
              <a:gd name="csY5" fmla="*/ 76552 h 229322"/>
              <a:gd name="csX6" fmla="*/ 302610 w 324367"/>
              <a:gd name="csY6" fmla="*/ 128236 h 229322"/>
              <a:gd name="csX7" fmla="*/ 323355 w 324367"/>
              <a:gd name="csY7" fmla="*/ 207159 h 229322"/>
              <a:gd name="csX8" fmla="*/ 151 w 324367"/>
              <a:gd name="csY8" fmla="*/ 227930 h 229322"/>
              <a:gd name="csX9" fmla="*/ 3855 w 324367"/>
              <a:gd name="csY9" fmla="*/ 119190 h 229322"/>
              <a:gd name="csX10" fmla="*/ 0 w 324367"/>
              <a:gd name="csY10" fmla="*/ 11685 h 229322"/>
              <a:gd name="csX11" fmla="*/ 77135 w 324367"/>
              <a:gd name="csY11" fmla="*/ 11670 h 22932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324367" h="229322">
                <a:moveTo>
                  <a:pt x="77135" y="11670"/>
                </a:moveTo>
                <a:cubicBezTo>
                  <a:pt x="101131" y="10299"/>
                  <a:pt x="123996" y="9293"/>
                  <a:pt x="146795" y="7480"/>
                </a:cubicBezTo>
                <a:cubicBezTo>
                  <a:pt x="167139" y="5862"/>
                  <a:pt x="187413" y="3352"/>
                  <a:pt x="207718" y="1232"/>
                </a:cubicBezTo>
                <a:cubicBezTo>
                  <a:pt x="211305" y="858"/>
                  <a:pt x="214891" y="464"/>
                  <a:pt x="219215" y="0"/>
                </a:cubicBezTo>
                <a:cubicBezTo>
                  <a:pt x="220448" y="4433"/>
                  <a:pt x="221789" y="8213"/>
                  <a:pt x="222536" y="12108"/>
                </a:cubicBezTo>
                <a:cubicBezTo>
                  <a:pt x="227274" y="36843"/>
                  <a:pt x="237933" y="58320"/>
                  <a:pt x="255647" y="76552"/>
                </a:cubicBezTo>
                <a:cubicBezTo>
                  <a:pt x="271868" y="93249"/>
                  <a:pt x="288407" y="109878"/>
                  <a:pt x="302610" y="128236"/>
                </a:cubicBezTo>
                <a:cubicBezTo>
                  <a:pt x="320215" y="150993"/>
                  <a:pt x="327166" y="177648"/>
                  <a:pt x="323355" y="207159"/>
                </a:cubicBezTo>
                <a:cubicBezTo>
                  <a:pt x="216542" y="225668"/>
                  <a:pt x="109259" y="232554"/>
                  <a:pt x="151" y="227930"/>
                </a:cubicBezTo>
                <a:cubicBezTo>
                  <a:pt x="1495" y="191410"/>
                  <a:pt x="3878" y="155299"/>
                  <a:pt x="3855" y="119190"/>
                </a:cubicBezTo>
                <a:cubicBezTo>
                  <a:pt x="3834" y="83413"/>
                  <a:pt x="1388" y="47637"/>
                  <a:pt x="0" y="11685"/>
                </a:cubicBezTo>
                <a:cubicBezTo>
                  <a:pt x="25514" y="11685"/>
                  <a:pt x="50744" y="11685"/>
                  <a:pt x="77135" y="11670"/>
                </a:cubicBezTo>
                <a:close/>
              </a:path>
            </a:pathLst>
          </a:custGeom>
          <a:solidFill>
            <a:srgbClr val="FDFEFE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28" name="Free-form: Shape 427">
            <a:extLst>
              <a:ext uri="{FF2B5EF4-FFF2-40B4-BE49-F238E27FC236}">
                <a16:creationId xmlns:a16="http://schemas.microsoft.com/office/drawing/2014/main" id="{53F2AEF3-E82B-D91C-A74B-ADFF8600AD90}"/>
              </a:ext>
            </a:extLst>
          </p:cNvPr>
          <p:cNvSpPr/>
          <p:nvPr/>
        </p:nvSpPr>
        <p:spPr>
          <a:xfrm>
            <a:off x="11008972" y="4011060"/>
            <a:ext cx="176355" cy="229704"/>
          </a:xfrm>
          <a:custGeom>
            <a:avLst/>
            <a:gdLst>
              <a:gd name="csX0" fmla="*/ 104636 w 228422"/>
              <a:gd name="csY0" fmla="*/ 81707 h 270473"/>
              <a:gd name="csX1" fmla="*/ 159689 w 228422"/>
              <a:gd name="csY1" fmla="*/ 83584 h 270473"/>
              <a:gd name="csX2" fmla="*/ 178665 w 228422"/>
              <a:gd name="csY2" fmla="*/ 68119 h 270473"/>
              <a:gd name="csX3" fmla="*/ 186448 w 228422"/>
              <a:gd name="csY3" fmla="*/ 20996 h 270473"/>
              <a:gd name="csX4" fmla="*/ 188779 w 228422"/>
              <a:gd name="csY4" fmla="*/ 7950 h 270473"/>
              <a:gd name="csX5" fmla="*/ 228146 w 228422"/>
              <a:gd name="csY5" fmla="*/ 14593 h 270473"/>
              <a:gd name="csX6" fmla="*/ 228030 w 228422"/>
              <a:gd name="csY6" fmla="*/ 40316 h 270473"/>
              <a:gd name="csX7" fmla="*/ 210907 w 228422"/>
              <a:gd name="csY7" fmla="*/ 157740 h 270473"/>
              <a:gd name="csX8" fmla="*/ 160928 w 228422"/>
              <a:gd name="csY8" fmla="*/ 245220 h 270473"/>
              <a:gd name="csX9" fmla="*/ 144327 w 228422"/>
              <a:gd name="csY9" fmla="*/ 264825 h 270473"/>
              <a:gd name="csX10" fmla="*/ 135745 w 228422"/>
              <a:gd name="csY10" fmla="*/ 270212 h 270473"/>
              <a:gd name="csX11" fmla="*/ 28028 w 228422"/>
              <a:gd name="csY11" fmla="*/ 270451 h 270473"/>
              <a:gd name="csX12" fmla="*/ 24984 w 228422"/>
              <a:gd name="csY12" fmla="*/ 243363 h 270473"/>
              <a:gd name="csX13" fmla="*/ 13372 w 228422"/>
              <a:gd name="csY13" fmla="*/ 172017 h 270473"/>
              <a:gd name="csX14" fmla="*/ 172 w 228422"/>
              <a:gd name="csY14" fmla="*/ 41741 h 270473"/>
              <a:gd name="csX15" fmla="*/ 1991 w 228422"/>
              <a:gd name="csY15" fmla="*/ 9927 h 270473"/>
              <a:gd name="csX16" fmla="*/ 11535 w 228422"/>
              <a:gd name="csY16" fmla="*/ 11 h 270473"/>
              <a:gd name="csX17" fmla="*/ 60320 w 228422"/>
              <a:gd name="csY17" fmla="*/ 4 h 270473"/>
              <a:gd name="csX18" fmla="*/ 63319 w 228422"/>
              <a:gd name="csY18" fmla="*/ 34595 h 270473"/>
              <a:gd name="csX19" fmla="*/ 63995 w 228422"/>
              <a:gd name="csY19" fmla="*/ 65276 h 270473"/>
              <a:gd name="csX20" fmla="*/ 77770 w 228422"/>
              <a:gd name="csY20" fmla="*/ 80309 h 270473"/>
              <a:gd name="csX21" fmla="*/ 104636 w 228422"/>
              <a:gd name="csY21" fmla="*/ 81707 h 27047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</a:cxnLst>
            <a:rect l="l" t="t" r="r" b="b"/>
            <a:pathLst>
              <a:path w="228422" h="270473">
                <a:moveTo>
                  <a:pt x="104636" y="81707"/>
                </a:moveTo>
                <a:cubicBezTo>
                  <a:pt x="123750" y="82425"/>
                  <a:pt x="141717" y="83526"/>
                  <a:pt x="159689" y="83584"/>
                </a:cubicBezTo>
                <a:cubicBezTo>
                  <a:pt x="170998" y="83621"/>
                  <a:pt x="176351" y="79300"/>
                  <a:pt x="178665" y="68119"/>
                </a:cubicBezTo>
                <a:cubicBezTo>
                  <a:pt x="181890" y="52542"/>
                  <a:pt x="183892" y="36712"/>
                  <a:pt x="186448" y="20996"/>
                </a:cubicBezTo>
                <a:cubicBezTo>
                  <a:pt x="187087" y="17068"/>
                  <a:pt x="187844" y="13160"/>
                  <a:pt x="188779" y="7950"/>
                </a:cubicBezTo>
                <a:cubicBezTo>
                  <a:pt x="202480" y="10262"/>
                  <a:pt x="215113" y="12394"/>
                  <a:pt x="228146" y="14593"/>
                </a:cubicBezTo>
                <a:cubicBezTo>
                  <a:pt x="228146" y="24129"/>
                  <a:pt x="228839" y="32299"/>
                  <a:pt x="228030" y="40316"/>
                </a:cubicBezTo>
                <a:cubicBezTo>
                  <a:pt x="224051" y="79707"/>
                  <a:pt x="222678" y="119563"/>
                  <a:pt x="210907" y="157740"/>
                </a:cubicBezTo>
                <a:cubicBezTo>
                  <a:pt x="200806" y="190502"/>
                  <a:pt x="186090" y="220845"/>
                  <a:pt x="160928" y="245220"/>
                </a:cubicBezTo>
                <a:cubicBezTo>
                  <a:pt x="154810" y="251147"/>
                  <a:pt x="150112" y="258517"/>
                  <a:pt x="144327" y="264825"/>
                </a:cubicBezTo>
                <a:cubicBezTo>
                  <a:pt x="142086" y="267268"/>
                  <a:pt x="138659" y="270182"/>
                  <a:pt x="135745" y="270212"/>
                </a:cubicBezTo>
                <a:cubicBezTo>
                  <a:pt x="100181" y="270580"/>
                  <a:pt x="64612" y="270451"/>
                  <a:pt x="28028" y="270451"/>
                </a:cubicBezTo>
                <a:cubicBezTo>
                  <a:pt x="26976" y="260883"/>
                  <a:pt x="26343" y="252066"/>
                  <a:pt x="24984" y="243363"/>
                </a:cubicBezTo>
                <a:cubicBezTo>
                  <a:pt x="21268" y="219557"/>
                  <a:pt x="17119" y="195818"/>
                  <a:pt x="13372" y="172017"/>
                </a:cubicBezTo>
                <a:cubicBezTo>
                  <a:pt x="6574" y="128838"/>
                  <a:pt x="-1265" y="85746"/>
                  <a:pt x="172" y="41741"/>
                </a:cubicBezTo>
                <a:cubicBezTo>
                  <a:pt x="518" y="31127"/>
                  <a:pt x="1719" y="20540"/>
                  <a:pt x="1991" y="9927"/>
                </a:cubicBezTo>
                <a:cubicBezTo>
                  <a:pt x="2163" y="3278"/>
                  <a:pt x="4961" y="19"/>
                  <a:pt x="11535" y="11"/>
                </a:cubicBezTo>
                <a:cubicBezTo>
                  <a:pt x="27370" y="-9"/>
                  <a:pt x="43205" y="4"/>
                  <a:pt x="60320" y="4"/>
                </a:cubicBezTo>
                <a:cubicBezTo>
                  <a:pt x="61401" y="12123"/>
                  <a:pt x="62689" y="23341"/>
                  <a:pt x="63319" y="34595"/>
                </a:cubicBezTo>
                <a:cubicBezTo>
                  <a:pt x="63890" y="44802"/>
                  <a:pt x="63444" y="55066"/>
                  <a:pt x="63995" y="65276"/>
                </a:cubicBezTo>
                <a:cubicBezTo>
                  <a:pt x="64588" y="76246"/>
                  <a:pt x="67011" y="79017"/>
                  <a:pt x="77770" y="80309"/>
                </a:cubicBezTo>
                <a:cubicBezTo>
                  <a:pt x="86275" y="81330"/>
                  <a:pt x="94914" y="81244"/>
                  <a:pt x="104636" y="81707"/>
                </a:cubicBezTo>
                <a:close/>
              </a:path>
            </a:pathLst>
          </a:custGeom>
          <a:solidFill>
            <a:srgbClr val="FDFDFD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29" name="Free-form: Shape 428">
            <a:extLst>
              <a:ext uri="{FF2B5EF4-FFF2-40B4-BE49-F238E27FC236}">
                <a16:creationId xmlns:a16="http://schemas.microsoft.com/office/drawing/2014/main" id="{B7104B67-668F-89F3-09A4-103D0125D04D}"/>
              </a:ext>
            </a:extLst>
          </p:cNvPr>
          <p:cNvSpPr/>
          <p:nvPr/>
        </p:nvSpPr>
        <p:spPr>
          <a:xfrm>
            <a:off x="11019247" y="5157573"/>
            <a:ext cx="268594" cy="68395"/>
          </a:xfrm>
          <a:custGeom>
            <a:avLst/>
            <a:gdLst>
              <a:gd name="csX0" fmla="*/ 135775 w 347893"/>
              <a:gd name="csY0" fmla="*/ 18580 h 80534"/>
              <a:gd name="csX1" fmla="*/ 239717 w 347893"/>
              <a:gd name="csY1" fmla="*/ 11288 h 80534"/>
              <a:gd name="csX2" fmla="*/ 318645 w 347893"/>
              <a:gd name="csY2" fmla="*/ 442 h 80534"/>
              <a:gd name="csX3" fmla="*/ 341767 w 347893"/>
              <a:gd name="csY3" fmla="*/ 13145 h 80534"/>
              <a:gd name="csX4" fmla="*/ 347232 w 347893"/>
              <a:gd name="csY4" fmla="*/ 54621 h 80534"/>
              <a:gd name="csX5" fmla="*/ 0 w 347893"/>
              <a:gd name="csY5" fmla="*/ 75820 h 80534"/>
              <a:gd name="csX6" fmla="*/ 0 w 347893"/>
              <a:gd name="csY6" fmla="*/ 19396 h 80534"/>
              <a:gd name="csX7" fmla="*/ 135775 w 347893"/>
              <a:gd name="csY7" fmla="*/ 18580 h 8053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</a:cxnLst>
            <a:rect l="l" t="t" r="r" b="b"/>
            <a:pathLst>
              <a:path w="347893" h="80534">
                <a:moveTo>
                  <a:pt x="135775" y="18580"/>
                </a:moveTo>
                <a:cubicBezTo>
                  <a:pt x="171209" y="16211"/>
                  <a:pt x="205541" y="14564"/>
                  <a:pt x="239717" y="11288"/>
                </a:cubicBezTo>
                <a:cubicBezTo>
                  <a:pt x="266132" y="8756"/>
                  <a:pt x="292375" y="4350"/>
                  <a:pt x="318645" y="442"/>
                </a:cubicBezTo>
                <a:cubicBezTo>
                  <a:pt x="330480" y="-1319"/>
                  <a:pt x="337947" y="2033"/>
                  <a:pt x="341767" y="13145"/>
                </a:cubicBezTo>
                <a:cubicBezTo>
                  <a:pt x="346279" y="26268"/>
                  <a:pt x="349293" y="39746"/>
                  <a:pt x="347232" y="54621"/>
                </a:cubicBezTo>
                <a:cubicBezTo>
                  <a:pt x="232188" y="77697"/>
                  <a:pt x="116756" y="86979"/>
                  <a:pt x="0" y="75820"/>
                </a:cubicBezTo>
                <a:cubicBezTo>
                  <a:pt x="0" y="56279"/>
                  <a:pt x="0" y="38485"/>
                  <a:pt x="0" y="19396"/>
                </a:cubicBezTo>
                <a:cubicBezTo>
                  <a:pt x="45633" y="19126"/>
                  <a:pt x="90119" y="18862"/>
                  <a:pt x="135775" y="18580"/>
                </a:cubicBezTo>
                <a:close/>
              </a:path>
            </a:pathLst>
          </a:custGeom>
          <a:solidFill>
            <a:srgbClr val="FCFDFD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30" name="Free-form: Shape 429">
            <a:extLst>
              <a:ext uri="{FF2B5EF4-FFF2-40B4-BE49-F238E27FC236}">
                <a16:creationId xmlns:a16="http://schemas.microsoft.com/office/drawing/2014/main" id="{F5A0A692-6CF0-D436-3F26-2F54F5FD8B74}"/>
              </a:ext>
            </a:extLst>
          </p:cNvPr>
          <p:cNvSpPr/>
          <p:nvPr/>
        </p:nvSpPr>
        <p:spPr>
          <a:xfrm>
            <a:off x="11029870" y="4269810"/>
            <a:ext cx="122568" cy="31169"/>
          </a:xfrm>
          <a:custGeom>
            <a:avLst/>
            <a:gdLst>
              <a:gd name="csX0" fmla="*/ 68505 w 158754"/>
              <a:gd name="csY0" fmla="*/ 36702 h 36701"/>
              <a:gd name="csX1" fmla="*/ 1920 w 158754"/>
              <a:gd name="csY1" fmla="*/ 36699 h 36701"/>
              <a:gd name="csX2" fmla="*/ 0 w 158754"/>
              <a:gd name="csY2" fmla="*/ 1592 h 36701"/>
              <a:gd name="csX3" fmla="*/ 11189 w 158754"/>
              <a:gd name="csY3" fmla="*/ 718 h 36701"/>
              <a:gd name="csX4" fmla="*/ 110708 w 158754"/>
              <a:gd name="csY4" fmla="*/ 3 h 36701"/>
              <a:gd name="csX5" fmla="*/ 127993 w 158754"/>
              <a:gd name="csY5" fmla="*/ 4910 h 36701"/>
              <a:gd name="csX6" fmla="*/ 146608 w 158754"/>
              <a:gd name="csY6" fmla="*/ 16808 h 36701"/>
              <a:gd name="csX7" fmla="*/ 158755 w 158754"/>
              <a:gd name="csY7" fmla="*/ 34647 h 36701"/>
              <a:gd name="csX8" fmla="*/ 145911 w 158754"/>
              <a:gd name="csY8" fmla="*/ 36459 h 36701"/>
              <a:gd name="csX9" fmla="*/ 68505 w 158754"/>
              <a:gd name="csY9" fmla="*/ 36702 h 3670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158754" h="36701">
                <a:moveTo>
                  <a:pt x="68505" y="36702"/>
                </a:moveTo>
                <a:cubicBezTo>
                  <a:pt x="45664" y="36699"/>
                  <a:pt x="24052" y="36699"/>
                  <a:pt x="1920" y="36699"/>
                </a:cubicBezTo>
                <a:cubicBezTo>
                  <a:pt x="-935" y="24569"/>
                  <a:pt x="572" y="13631"/>
                  <a:pt x="0" y="1592"/>
                </a:cubicBezTo>
                <a:cubicBezTo>
                  <a:pt x="4169" y="1253"/>
                  <a:pt x="7677" y="744"/>
                  <a:pt x="11189" y="718"/>
                </a:cubicBezTo>
                <a:cubicBezTo>
                  <a:pt x="44362" y="468"/>
                  <a:pt x="77538" y="423"/>
                  <a:pt x="110708" y="3"/>
                </a:cubicBezTo>
                <a:cubicBezTo>
                  <a:pt x="117152" y="-78"/>
                  <a:pt x="122702" y="1282"/>
                  <a:pt x="127993" y="4910"/>
                </a:cubicBezTo>
                <a:cubicBezTo>
                  <a:pt x="134065" y="9072"/>
                  <a:pt x="140615" y="12545"/>
                  <a:pt x="146608" y="16808"/>
                </a:cubicBezTo>
                <a:cubicBezTo>
                  <a:pt x="152239" y="20814"/>
                  <a:pt x="157699" y="25259"/>
                  <a:pt x="158755" y="34647"/>
                </a:cubicBezTo>
                <a:cubicBezTo>
                  <a:pt x="154257" y="35310"/>
                  <a:pt x="150089" y="36424"/>
                  <a:pt x="145911" y="36459"/>
                </a:cubicBezTo>
                <a:cubicBezTo>
                  <a:pt x="120520" y="36677"/>
                  <a:pt x="95126" y="36650"/>
                  <a:pt x="68505" y="36702"/>
                </a:cubicBezTo>
                <a:close/>
              </a:path>
            </a:pathLst>
          </a:custGeom>
          <a:solidFill>
            <a:srgbClr val="FBFCFB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31" name="Free-form: Shape 430">
            <a:extLst>
              <a:ext uri="{FF2B5EF4-FFF2-40B4-BE49-F238E27FC236}">
                <a16:creationId xmlns:a16="http://schemas.microsoft.com/office/drawing/2014/main" id="{FE2620C9-C88E-140F-53C4-871161BF6047}"/>
              </a:ext>
            </a:extLst>
          </p:cNvPr>
          <p:cNvSpPr/>
          <p:nvPr/>
        </p:nvSpPr>
        <p:spPr>
          <a:xfrm>
            <a:off x="3607150" y="3997227"/>
            <a:ext cx="634942" cy="1266262"/>
          </a:xfrm>
          <a:custGeom>
            <a:avLst/>
            <a:gdLst>
              <a:gd name="csX0" fmla="*/ 703087 w 763849"/>
              <a:gd name="csY0" fmla="*/ 1241174 h 1523340"/>
              <a:gd name="csX1" fmla="*/ 732932 w 763849"/>
              <a:gd name="csY1" fmla="*/ 1359634 h 1523340"/>
              <a:gd name="csX2" fmla="*/ 735544 w 763849"/>
              <a:gd name="csY2" fmla="*/ 1377287 h 1523340"/>
              <a:gd name="csX3" fmla="*/ 756764 w 763849"/>
              <a:gd name="csY3" fmla="*/ 1458577 h 1523340"/>
              <a:gd name="csX4" fmla="*/ 757108 w 763849"/>
              <a:gd name="csY4" fmla="*/ 1465940 h 1523340"/>
              <a:gd name="csX5" fmla="*/ 744215 w 763849"/>
              <a:gd name="csY5" fmla="*/ 1488332 h 1523340"/>
              <a:gd name="csX6" fmla="*/ 712781 w 763849"/>
              <a:gd name="csY6" fmla="*/ 1498472 h 1523340"/>
              <a:gd name="csX7" fmla="*/ 625540 w 763849"/>
              <a:gd name="csY7" fmla="*/ 1511981 h 1523340"/>
              <a:gd name="csX8" fmla="*/ 488540 w 763849"/>
              <a:gd name="csY8" fmla="*/ 1522029 h 1523340"/>
              <a:gd name="csX9" fmla="*/ 306789 w 763849"/>
              <a:gd name="csY9" fmla="*/ 1523231 h 1523340"/>
              <a:gd name="csX10" fmla="*/ 200103 w 763849"/>
              <a:gd name="csY10" fmla="*/ 1518579 h 1523340"/>
              <a:gd name="csX11" fmla="*/ 31607 w 763849"/>
              <a:gd name="csY11" fmla="*/ 1493880 h 1523340"/>
              <a:gd name="csX12" fmla="*/ 5860 w 763849"/>
              <a:gd name="csY12" fmla="*/ 1482933 h 1523340"/>
              <a:gd name="csX13" fmla="*/ 32 w 763849"/>
              <a:gd name="csY13" fmla="*/ 1471774 h 1523340"/>
              <a:gd name="csX14" fmla="*/ 21295 w 763849"/>
              <a:gd name="csY14" fmla="*/ 1378237 h 1523340"/>
              <a:gd name="csX15" fmla="*/ 23169 w 763849"/>
              <a:gd name="csY15" fmla="*/ 1364271 h 1523340"/>
              <a:gd name="csX16" fmla="*/ 23871 w 763849"/>
              <a:gd name="csY16" fmla="*/ 1303132 h 1523340"/>
              <a:gd name="csX17" fmla="*/ 59740 w 763849"/>
              <a:gd name="csY17" fmla="*/ 1234649 h 1523340"/>
              <a:gd name="csX18" fmla="*/ 98899 w 763849"/>
              <a:gd name="csY18" fmla="*/ 1195619 h 1523340"/>
              <a:gd name="csX19" fmla="*/ 131493 w 763849"/>
              <a:gd name="csY19" fmla="*/ 1127593 h 1523340"/>
              <a:gd name="csX20" fmla="*/ 108213 w 763849"/>
              <a:gd name="csY20" fmla="*/ 1058723 h 1523340"/>
              <a:gd name="csX21" fmla="*/ 74370 w 763849"/>
              <a:gd name="csY21" fmla="*/ 1024929 h 1523340"/>
              <a:gd name="csX22" fmla="*/ 68137 w 763849"/>
              <a:gd name="csY22" fmla="*/ 987550 h 1523340"/>
              <a:gd name="csX23" fmla="*/ 86420 w 763849"/>
              <a:gd name="csY23" fmla="*/ 941991 h 1523340"/>
              <a:gd name="csX24" fmla="*/ 97082 w 763849"/>
              <a:gd name="csY24" fmla="*/ 828037 h 1523340"/>
              <a:gd name="csX25" fmla="*/ 61782 w 763849"/>
              <a:gd name="csY25" fmla="*/ 696973 h 1523340"/>
              <a:gd name="csX26" fmla="*/ 26901 w 763849"/>
              <a:gd name="csY26" fmla="*/ 547868 h 1523340"/>
              <a:gd name="csX27" fmla="*/ 20221 w 763849"/>
              <a:gd name="csY27" fmla="*/ 479529 h 1523340"/>
              <a:gd name="csX28" fmla="*/ 40808 w 763849"/>
              <a:gd name="csY28" fmla="*/ 334388 h 1523340"/>
              <a:gd name="csX29" fmla="*/ 65171 w 763849"/>
              <a:gd name="csY29" fmla="*/ 263707 h 1523340"/>
              <a:gd name="csX30" fmla="*/ 142827 w 763849"/>
              <a:gd name="csY30" fmla="*/ 171003 h 1523340"/>
              <a:gd name="csX31" fmla="*/ 172290 w 763849"/>
              <a:gd name="csY31" fmla="*/ 155872 h 1523340"/>
              <a:gd name="csX32" fmla="*/ 189008 w 763849"/>
              <a:gd name="csY32" fmla="*/ 148158 h 1523340"/>
              <a:gd name="csX33" fmla="*/ 212828 w 763849"/>
              <a:gd name="csY33" fmla="*/ 126123 h 1523340"/>
              <a:gd name="csX34" fmla="*/ 217217 w 763849"/>
              <a:gd name="csY34" fmla="*/ 118740 h 1523340"/>
              <a:gd name="csX35" fmla="*/ 253000 w 763849"/>
              <a:gd name="csY35" fmla="*/ 88998 h 1523340"/>
              <a:gd name="csX36" fmla="*/ 322085 w 763849"/>
              <a:gd name="csY36" fmla="*/ 72193 h 1523340"/>
              <a:gd name="csX37" fmla="*/ 330478 w 763849"/>
              <a:gd name="csY37" fmla="*/ 70387 h 1523340"/>
              <a:gd name="csX38" fmla="*/ 388016 w 763849"/>
              <a:gd name="csY38" fmla="*/ 35457 h 1523340"/>
              <a:gd name="csX39" fmla="*/ 421527 w 763849"/>
              <a:gd name="csY39" fmla="*/ 0 h 1523340"/>
              <a:gd name="csX40" fmla="*/ 424538 w 763849"/>
              <a:gd name="csY40" fmla="*/ 10833 h 1523340"/>
              <a:gd name="csX41" fmla="*/ 436339 w 763849"/>
              <a:gd name="csY41" fmla="*/ 121836 h 1523340"/>
              <a:gd name="csX42" fmla="*/ 449983 w 763849"/>
              <a:gd name="csY42" fmla="*/ 141450 h 1523340"/>
              <a:gd name="csX43" fmla="*/ 503299 w 763849"/>
              <a:gd name="csY43" fmla="*/ 169290 h 1523340"/>
              <a:gd name="csX44" fmla="*/ 551461 w 763849"/>
              <a:gd name="csY44" fmla="*/ 203111 h 1523340"/>
              <a:gd name="csX45" fmla="*/ 588803 w 763849"/>
              <a:gd name="csY45" fmla="*/ 252797 h 1523340"/>
              <a:gd name="csX46" fmla="*/ 634209 w 763849"/>
              <a:gd name="csY46" fmla="*/ 327081 h 1523340"/>
              <a:gd name="csX47" fmla="*/ 697923 w 763849"/>
              <a:gd name="csY47" fmla="*/ 384157 h 1523340"/>
              <a:gd name="csX48" fmla="*/ 729658 w 763849"/>
              <a:gd name="csY48" fmla="*/ 407288 h 1523340"/>
              <a:gd name="csX49" fmla="*/ 763354 w 763849"/>
              <a:gd name="csY49" fmla="*/ 471325 h 1523340"/>
              <a:gd name="csX50" fmla="*/ 757092 w 763849"/>
              <a:gd name="csY50" fmla="*/ 527116 h 1523340"/>
              <a:gd name="csX51" fmla="*/ 720673 w 763849"/>
              <a:gd name="csY51" fmla="*/ 570023 h 1523340"/>
              <a:gd name="csX52" fmla="*/ 704918 w 763849"/>
              <a:gd name="csY52" fmla="*/ 581294 h 1523340"/>
              <a:gd name="csX53" fmla="*/ 671960 w 763849"/>
              <a:gd name="csY53" fmla="*/ 595325 h 1523340"/>
              <a:gd name="csX54" fmla="*/ 633021 w 763849"/>
              <a:gd name="csY54" fmla="*/ 591397 h 1523340"/>
              <a:gd name="csX55" fmla="*/ 580696 w 763849"/>
              <a:gd name="csY55" fmla="*/ 556742 h 1523340"/>
              <a:gd name="csX56" fmla="*/ 545415 w 763849"/>
              <a:gd name="csY56" fmla="*/ 524617 h 1523340"/>
              <a:gd name="csX57" fmla="*/ 518889 w 763849"/>
              <a:gd name="csY57" fmla="*/ 516179 h 1523340"/>
              <a:gd name="csX58" fmla="*/ 472309 w 763849"/>
              <a:gd name="csY58" fmla="*/ 517812 h 1523340"/>
              <a:gd name="csX59" fmla="*/ 415953 w 763849"/>
              <a:gd name="csY59" fmla="*/ 517245 h 1523340"/>
              <a:gd name="csX60" fmla="*/ 403392 w 763849"/>
              <a:gd name="csY60" fmla="*/ 516539 h 1523340"/>
              <a:gd name="csX61" fmla="*/ 407957 w 763849"/>
              <a:gd name="csY61" fmla="*/ 542045 h 1523340"/>
              <a:gd name="csX62" fmla="*/ 434134 w 763849"/>
              <a:gd name="csY62" fmla="*/ 583349 h 1523340"/>
              <a:gd name="csX63" fmla="*/ 524267 w 763849"/>
              <a:gd name="csY63" fmla="*/ 683922 h 1523340"/>
              <a:gd name="csX64" fmla="*/ 614317 w 763849"/>
              <a:gd name="csY64" fmla="*/ 786085 h 1523340"/>
              <a:gd name="csX65" fmla="*/ 669590 w 763849"/>
              <a:gd name="csY65" fmla="*/ 921089 h 1523340"/>
              <a:gd name="csX66" fmla="*/ 647360 w 763849"/>
              <a:gd name="csY66" fmla="*/ 1057245 h 1523340"/>
              <a:gd name="csX67" fmla="*/ 627872 w 763849"/>
              <a:gd name="csY67" fmla="*/ 1102111 h 1523340"/>
              <a:gd name="csX68" fmla="*/ 642300 w 763849"/>
              <a:gd name="csY68" fmla="*/ 1175941 h 1523340"/>
              <a:gd name="csX69" fmla="*/ 668829 w 763849"/>
              <a:gd name="csY69" fmla="*/ 1206449 h 1523340"/>
              <a:gd name="csX70" fmla="*/ 703087 w 763849"/>
              <a:gd name="csY70" fmla="*/ 1241174 h 1523340"/>
              <a:gd name="csX71" fmla="*/ 648750 w 763849"/>
              <a:gd name="csY71" fmla="*/ 562343 h 1523340"/>
              <a:gd name="csX72" fmla="*/ 674049 w 763849"/>
              <a:gd name="csY72" fmla="*/ 562834 h 1523340"/>
              <a:gd name="csX73" fmla="*/ 660781 w 763849"/>
              <a:gd name="csY73" fmla="*/ 550178 h 1523340"/>
              <a:gd name="csX74" fmla="*/ 650911 w 763849"/>
              <a:gd name="csY74" fmla="*/ 534051 h 1523340"/>
              <a:gd name="csX75" fmla="*/ 660724 w 763849"/>
              <a:gd name="csY75" fmla="*/ 537605 h 1523340"/>
              <a:gd name="csX76" fmla="*/ 688133 w 763849"/>
              <a:gd name="csY76" fmla="*/ 543363 h 1523340"/>
              <a:gd name="csX77" fmla="*/ 731514 w 763849"/>
              <a:gd name="csY77" fmla="*/ 510767 h 1523340"/>
              <a:gd name="csX78" fmla="*/ 733611 w 763849"/>
              <a:gd name="csY78" fmla="*/ 466905 h 1523340"/>
              <a:gd name="csX79" fmla="*/ 708076 w 763849"/>
              <a:gd name="csY79" fmla="*/ 425975 h 1523340"/>
              <a:gd name="csX80" fmla="*/ 667538 w 763849"/>
              <a:gd name="csY80" fmla="*/ 398254 h 1523340"/>
              <a:gd name="csX81" fmla="*/ 601016 w 763849"/>
              <a:gd name="csY81" fmla="*/ 332127 h 1523340"/>
              <a:gd name="csX82" fmla="*/ 565354 w 763849"/>
              <a:gd name="csY82" fmla="*/ 270526 h 1523340"/>
              <a:gd name="csX83" fmla="*/ 490657 w 763849"/>
              <a:gd name="csY83" fmla="*/ 195121 h 1523340"/>
              <a:gd name="csX84" fmla="*/ 432834 w 763849"/>
              <a:gd name="csY84" fmla="*/ 165243 h 1523340"/>
              <a:gd name="csX85" fmla="*/ 407594 w 763849"/>
              <a:gd name="csY85" fmla="*/ 127852 h 1523340"/>
              <a:gd name="csX86" fmla="*/ 405020 w 763849"/>
              <a:gd name="csY86" fmla="*/ 69029 h 1523340"/>
              <a:gd name="csX87" fmla="*/ 403638 w 763849"/>
              <a:gd name="csY87" fmla="*/ 58130 h 1523340"/>
              <a:gd name="csX88" fmla="*/ 349776 w 763849"/>
              <a:gd name="csY88" fmla="*/ 133259 h 1523340"/>
              <a:gd name="csX89" fmla="*/ 326975 w 763849"/>
              <a:gd name="csY89" fmla="*/ 159669 h 1523340"/>
              <a:gd name="csX90" fmla="*/ 240374 w 763849"/>
              <a:gd name="csY90" fmla="*/ 221714 h 1523340"/>
              <a:gd name="csX91" fmla="*/ 171637 w 763849"/>
              <a:gd name="csY91" fmla="*/ 309087 h 1523340"/>
              <a:gd name="csX92" fmla="*/ 138048 w 763849"/>
              <a:gd name="csY92" fmla="*/ 516954 h 1523340"/>
              <a:gd name="csX93" fmla="*/ 163889 w 763849"/>
              <a:gd name="csY93" fmla="*/ 641780 h 1523340"/>
              <a:gd name="csX94" fmla="*/ 204800 w 763849"/>
              <a:gd name="csY94" fmla="*/ 787055 h 1523340"/>
              <a:gd name="csX95" fmla="*/ 218549 w 763849"/>
              <a:gd name="csY95" fmla="*/ 949545 h 1523340"/>
              <a:gd name="csX96" fmla="*/ 191487 w 763849"/>
              <a:gd name="csY96" fmla="*/ 1033064 h 1523340"/>
              <a:gd name="csX97" fmla="*/ 188729 w 763849"/>
              <a:gd name="csY97" fmla="*/ 1039835 h 1523340"/>
              <a:gd name="csX98" fmla="*/ 221417 w 763849"/>
              <a:gd name="csY98" fmla="*/ 1040799 h 1523340"/>
              <a:gd name="csX99" fmla="*/ 348895 w 763849"/>
              <a:gd name="csY99" fmla="*/ 1046759 h 1523340"/>
              <a:gd name="csX100" fmla="*/ 545369 w 763849"/>
              <a:gd name="csY100" fmla="*/ 1044456 h 1523340"/>
              <a:gd name="csX101" fmla="*/ 612424 w 763849"/>
              <a:gd name="csY101" fmla="*/ 1037365 h 1523340"/>
              <a:gd name="csX102" fmla="*/ 623169 w 763849"/>
              <a:gd name="csY102" fmla="*/ 1028873 h 1523340"/>
              <a:gd name="csX103" fmla="*/ 638508 w 763849"/>
              <a:gd name="csY103" fmla="*/ 959599 h 1523340"/>
              <a:gd name="csX104" fmla="*/ 609213 w 763849"/>
              <a:gd name="csY104" fmla="*/ 842075 h 1523340"/>
              <a:gd name="csX105" fmla="*/ 529367 w 763849"/>
              <a:gd name="csY105" fmla="*/ 735065 h 1523340"/>
              <a:gd name="csX106" fmla="*/ 403792 w 763849"/>
              <a:gd name="csY106" fmla="*/ 596993 h 1523340"/>
              <a:gd name="csX107" fmla="*/ 344708 w 763849"/>
              <a:gd name="csY107" fmla="*/ 511366 h 1523340"/>
              <a:gd name="csX108" fmla="*/ 324464 w 763849"/>
              <a:gd name="csY108" fmla="*/ 380084 h 1523340"/>
              <a:gd name="csX109" fmla="*/ 327688 w 763849"/>
              <a:gd name="csY109" fmla="*/ 373535 h 1523340"/>
              <a:gd name="csX110" fmla="*/ 330334 w 763849"/>
              <a:gd name="csY110" fmla="*/ 373641 h 1523340"/>
              <a:gd name="csX111" fmla="*/ 334272 w 763849"/>
              <a:gd name="csY111" fmla="*/ 384645 h 1523340"/>
              <a:gd name="csX112" fmla="*/ 365260 w 763849"/>
              <a:gd name="csY112" fmla="*/ 453955 h 1523340"/>
              <a:gd name="csX113" fmla="*/ 408246 w 763849"/>
              <a:gd name="csY113" fmla="*/ 483592 h 1523340"/>
              <a:gd name="csX114" fmla="*/ 464529 w 763849"/>
              <a:gd name="csY114" fmla="*/ 486187 h 1523340"/>
              <a:gd name="csX115" fmla="*/ 511119 w 763849"/>
              <a:gd name="csY115" fmla="*/ 484308 h 1523340"/>
              <a:gd name="csX116" fmla="*/ 567913 w 763849"/>
              <a:gd name="csY116" fmla="*/ 503736 h 1523340"/>
              <a:gd name="csX117" fmla="*/ 607611 w 763849"/>
              <a:gd name="csY117" fmla="*/ 540326 h 1523340"/>
              <a:gd name="csX118" fmla="*/ 648750 w 763849"/>
              <a:gd name="csY118" fmla="*/ 562343 h 1523340"/>
              <a:gd name="csX119" fmla="*/ 462594 w 763849"/>
              <a:gd name="csY119" fmla="*/ 1369008 h 1523340"/>
              <a:gd name="csX120" fmla="*/ 510357 w 763849"/>
              <a:gd name="csY120" fmla="*/ 1366345 h 1523340"/>
              <a:gd name="csX121" fmla="*/ 549434 w 763849"/>
              <a:gd name="csY121" fmla="*/ 1362956 h 1523340"/>
              <a:gd name="csX122" fmla="*/ 632369 w 763849"/>
              <a:gd name="csY122" fmla="*/ 1354439 h 1523340"/>
              <a:gd name="csX123" fmla="*/ 697252 w 763849"/>
              <a:gd name="csY123" fmla="*/ 1346424 h 1523340"/>
              <a:gd name="csX124" fmla="*/ 676674 w 763849"/>
              <a:gd name="csY124" fmla="*/ 1266396 h 1523340"/>
              <a:gd name="csX125" fmla="*/ 646594 w 763849"/>
              <a:gd name="csY125" fmla="*/ 1234108 h 1523340"/>
              <a:gd name="csX126" fmla="*/ 612063 w 763849"/>
              <a:gd name="csY126" fmla="*/ 1194382 h 1523340"/>
              <a:gd name="csX127" fmla="*/ 591616 w 763849"/>
              <a:gd name="csY127" fmla="*/ 1111541 h 1523340"/>
              <a:gd name="csX128" fmla="*/ 594320 w 763849"/>
              <a:gd name="csY128" fmla="*/ 1089609 h 1523340"/>
              <a:gd name="csX129" fmla="*/ 578634 w 763849"/>
              <a:gd name="csY129" fmla="*/ 1089642 h 1523340"/>
              <a:gd name="csX130" fmla="*/ 443931 w 763849"/>
              <a:gd name="csY130" fmla="*/ 1096700 h 1523340"/>
              <a:gd name="csX131" fmla="*/ 403417 w 763849"/>
              <a:gd name="csY131" fmla="*/ 1097156 h 1523340"/>
              <a:gd name="csX132" fmla="*/ 388348 w 763849"/>
              <a:gd name="csY132" fmla="*/ 1111502 h 1523340"/>
              <a:gd name="csX133" fmla="*/ 385048 w 763849"/>
              <a:gd name="csY133" fmla="*/ 1176431 h 1523340"/>
              <a:gd name="csX134" fmla="*/ 377687 w 763849"/>
              <a:gd name="csY134" fmla="*/ 1308672 h 1523340"/>
              <a:gd name="csX135" fmla="*/ 376823 w 763849"/>
              <a:gd name="csY135" fmla="*/ 1320897 h 1523340"/>
              <a:gd name="csX136" fmla="*/ 376781 w 763849"/>
              <a:gd name="csY136" fmla="*/ 1366151 h 1523340"/>
              <a:gd name="csX137" fmla="*/ 462594 w 763849"/>
              <a:gd name="csY137" fmla="*/ 1369008 h 1523340"/>
              <a:gd name="csX138" fmla="*/ 648494 w 763849"/>
              <a:gd name="csY138" fmla="*/ 1463981 h 1523340"/>
              <a:gd name="csX139" fmla="*/ 718746 w 763849"/>
              <a:gd name="csY139" fmla="*/ 1451892 h 1523340"/>
              <a:gd name="csX140" fmla="*/ 711827 w 763849"/>
              <a:gd name="csY140" fmla="*/ 1416835 h 1523340"/>
              <a:gd name="csX141" fmla="*/ 685812 w 763849"/>
              <a:gd name="csY141" fmla="*/ 1398502 h 1523340"/>
              <a:gd name="csX142" fmla="*/ 680924 w 763849"/>
              <a:gd name="csY142" fmla="*/ 1398973 h 1523340"/>
              <a:gd name="csX143" fmla="*/ 598278 w 763849"/>
              <a:gd name="csY143" fmla="*/ 1409218 h 1523340"/>
              <a:gd name="csX144" fmla="*/ 474765 w 763849"/>
              <a:gd name="csY144" fmla="*/ 1417945 h 1523340"/>
              <a:gd name="csX145" fmla="*/ 385143 w 763849"/>
              <a:gd name="csY145" fmla="*/ 1418978 h 1523340"/>
              <a:gd name="csX146" fmla="*/ 376639 w 763849"/>
              <a:gd name="csY146" fmla="*/ 1419613 h 1523340"/>
              <a:gd name="csX147" fmla="*/ 376639 w 763849"/>
              <a:gd name="csY147" fmla="*/ 1473939 h 1523340"/>
              <a:gd name="csX148" fmla="*/ 382089 w 763849"/>
              <a:gd name="csY148" fmla="*/ 1474854 h 1523340"/>
              <a:gd name="csX149" fmla="*/ 449536 w 763849"/>
              <a:gd name="csY149" fmla="*/ 1476855 h 1523340"/>
              <a:gd name="csX150" fmla="*/ 559930 w 763849"/>
              <a:gd name="csY150" fmla="*/ 1474307 h 1523340"/>
              <a:gd name="csX151" fmla="*/ 648494 w 763849"/>
              <a:gd name="csY151" fmla="*/ 1463981 h 152334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</a:cxnLst>
            <a:rect l="l" t="t" r="r" b="b"/>
            <a:pathLst>
              <a:path w="763849" h="1523340">
                <a:moveTo>
                  <a:pt x="703087" y="1241174"/>
                </a:moveTo>
                <a:cubicBezTo>
                  <a:pt x="732418" y="1276379"/>
                  <a:pt x="738825" y="1316526"/>
                  <a:pt x="732932" y="1359634"/>
                </a:cubicBezTo>
                <a:cubicBezTo>
                  <a:pt x="732067" y="1365959"/>
                  <a:pt x="732453" y="1371428"/>
                  <a:pt x="735544" y="1377287"/>
                </a:cubicBezTo>
                <a:cubicBezTo>
                  <a:pt x="748937" y="1402675"/>
                  <a:pt x="755318" y="1430010"/>
                  <a:pt x="756764" y="1458577"/>
                </a:cubicBezTo>
                <a:cubicBezTo>
                  <a:pt x="756887" y="1461031"/>
                  <a:pt x="756895" y="1463494"/>
                  <a:pt x="757108" y="1465940"/>
                </a:cubicBezTo>
                <a:cubicBezTo>
                  <a:pt x="758375" y="1480486"/>
                  <a:pt x="757802" y="1482498"/>
                  <a:pt x="744215" y="1488332"/>
                </a:cubicBezTo>
                <a:cubicBezTo>
                  <a:pt x="734126" y="1492664"/>
                  <a:pt x="723536" y="1496562"/>
                  <a:pt x="712781" y="1498472"/>
                </a:cubicBezTo>
                <a:cubicBezTo>
                  <a:pt x="683814" y="1503617"/>
                  <a:pt x="654674" y="1507832"/>
                  <a:pt x="625540" y="1511981"/>
                </a:cubicBezTo>
                <a:cubicBezTo>
                  <a:pt x="580114" y="1518449"/>
                  <a:pt x="534395" y="1521481"/>
                  <a:pt x="488540" y="1522029"/>
                </a:cubicBezTo>
                <a:cubicBezTo>
                  <a:pt x="427958" y="1522752"/>
                  <a:pt x="367367" y="1523658"/>
                  <a:pt x="306789" y="1523231"/>
                </a:cubicBezTo>
                <a:cubicBezTo>
                  <a:pt x="271215" y="1522980"/>
                  <a:pt x="235625" y="1520833"/>
                  <a:pt x="200103" y="1518579"/>
                </a:cubicBezTo>
                <a:cubicBezTo>
                  <a:pt x="143289" y="1514974"/>
                  <a:pt x="86915" y="1507766"/>
                  <a:pt x="31607" y="1493880"/>
                </a:cubicBezTo>
                <a:cubicBezTo>
                  <a:pt x="22666" y="1491635"/>
                  <a:pt x="14297" y="1486920"/>
                  <a:pt x="5860" y="1482933"/>
                </a:cubicBezTo>
                <a:cubicBezTo>
                  <a:pt x="1433" y="1480841"/>
                  <a:pt x="-262" y="1476934"/>
                  <a:pt x="32" y="1471774"/>
                </a:cubicBezTo>
                <a:cubicBezTo>
                  <a:pt x="1880" y="1439401"/>
                  <a:pt x="3993" y="1407192"/>
                  <a:pt x="21295" y="1378237"/>
                </a:cubicBezTo>
                <a:cubicBezTo>
                  <a:pt x="23526" y="1374504"/>
                  <a:pt x="23666" y="1368858"/>
                  <a:pt x="23169" y="1364271"/>
                </a:cubicBezTo>
                <a:cubicBezTo>
                  <a:pt x="20957" y="1343833"/>
                  <a:pt x="20482" y="1323540"/>
                  <a:pt x="23871" y="1303132"/>
                </a:cubicBezTo>
                <a:cubicBezTo>
                  <a:pt x="28332" y="1276267"/>
                  <a:pt x="41045" y="1253887"/>
                  <a:pt x="59740" y="1234649"/>
                </a:cubicBezTo>
                <a:cubicBezTo>
                  <a:pt x="72582" y="1221434"/>
                  <a:pt x="85657" y="1208434"/>
                  <a:pt x="98899" y="1195619"/>
                </a:cubicBezTo>
                <a:cubicBezTo>
                  <a:pt x="118216" y="1176926"/>
                  <a:pt x="130484" y="1154702"/>
                  <a:pt x="131493" y="1127593"/>
                </a:cubicBezTo>
                <a:cubicBezTo>
                  <a:pt x="132448" y="1101948"/>
                  <a:pt x="127125" y="1077868"/>
                  <a:pt x="108213" y="1058723"/>
                </a:cubicBezTo>
                <a:cubicBezTo>
                  <a:pt x="97010" y="1047381"/>
                  <a:pt x="85438" y="1036399"/>
                  <a:pt x="74370" y="1024929"/>
                </a:cubicBezTo>
                <a:cubicBezTo>
                  <a:pt x="63868" y="1014043"/>
                  <a:pt x="62267" y="1001475"/>
                  <a:pt x="68137" y="987550"/>
                </a:cubicBezTo>
                <a:cubicBezTo>
                  <a:pt x="74493" y="972473"/>
                  <a:pt x="80703" y="957319"/>
                  <a:pt x="86420" y="941991"/>
                </a:cubicBezTo>
                <a:cubicBezTo>
                  <a:pt x="100218" y="905001"/>
                  <a:pt x="99441" y="866690"/>
                  <a:pt x="97082" y="828037"/>
                </a:cubicBezTo>
                <a:cubicBezTo>
                  <a:pt x="94260" y="781809"/>
                  <a:pt x="76370" y="739899"/>
                  <a:pt x="61782" y="696973"/>
                </a:cubicBezTo>
                <a:cubicBezTo>
                  <a:pt x="45282" y="648419"/>
                  <a:pt x="33285" y="598770"/>
                  <a:pt x="26901" y="547868"/>
                </a:cubicBezTo>
                <a:cubicBezTo>
                  <a:pt x="24054" y="525160"/>
                  <a:pt x="21110" y="502364"/>
                  <a:pt x="20221" y="479529"/>
                </a:cubicBezTo>
                <a:cubicBezTo>
                  <a:pt x="18293" y="430013"/>
                  <a:pt x="26126" y="381610"/>
                  <a:pt x="40808" y="334388"/>
                </a:cubicBezTo>
                <a:cubicBezTo>
                  <a:pt x="48208" y="310588"/>
                  <a:pt x="55162" y="286441"/>
                  <a:pt x="65171" y="263707"/>
                </a:cubicBezTo>
                <a:cubicBezTo>
                  <a:pt x="81946" y="225606"/>
                  <a:pt x="106517" y="193071"/>
                  <a:pt x="142827" y="171003"/>
                </a:cubicBezTo>
                <a:cubicBezTo>
                  <a:pt x="152238" y="165283"/>
                  <a:pt x="162401" y="160787"/>
                  <a:pt x="172290" y="155872"/>
                </a:cubicBezTo>
                <a:cubicBezTo>
                  <a:pt x="177784" y="153142"/>
                  <a:pt x="183393" y="150635"/>
                  <a:pt x="189008" y="148158"/>
                </a:cubicBezTo>
                <a:cubicBezTo>
                  <a:pt x="199487" y="143534"/>
                  <a:pt x="207598" y="136426"/>
                  <a:pt x="212828" y="126123"/>
                </a:cubicBezTo>
                <a:cubicBezTo>
                  <a:pt x="214121" y="123575"/>
                  <a:pt x="215966" y="121304"/>
                  <a:pt x="217217" y="118740"/>
                </a:cubicBezTo>
                <a:cubicBezTo>
                  <a:pt x="224688" y="103433"/>
                  <a:pt x="237053" y="93440"/>
                  <a:pt x="253000" y="88998"/>
                </a:cubicBezTo>
                <a:cubicBezTo>
                  <a:pt x="275818" y="82642"/>
                  <a:pt x="299033" y="77711"/>
                  <a:pt x="322085" y="72193"/>
                </a:cubicBezTo>
                <a:cubicBezTo>
                  <a:pt x="324867" y="71527"/>
                  <a:pt x="327694" y="71045"/>
                  <a:pt x="330478" y="70387"/>
                </a:cubicBezTo>
                <a:cubicBezTo>
                  <a:pt x="364731" y="62297"/>
                  <a:pt x="364569" y="62151"/>
                  <a:pt x="388016" y="35457"/>
                </a:cubicBezTo>
                <a:cubicBezTo>
                  <a:pt x="398189" y="23875"/>
                  <a:pt x="409180" y="13010"/>
                  <a:pt x="421527" y="0"/>
                </a:cubicBezTo>
                <a:cubicBezTo>
                  <a:pt x="423000" y="5190"/>
                  <a:pt x="424219" y="7961"/>
                  <a:pt x="424538" y="10833"/>
                </a:cubicBezTo>
                <a:cubicBezTo>
                  <a:pt x="428638" y="47817"/>
                  <a:pt x="433030" y="84779"/>
                  <a:pt x="436339" y="121836"/>
                </a:cubicBezTo>
                <a:cubicBezTo>
                  <a:pt x="437236" y="131893"/>
                  <a:pt x="441545" y="137271"/>
                  <a:pt x="449983" y="141450"/>
                </a:cubicBezTo>
                <a:cubicBezTo>
                  <a:pt x="467954" y="150348"/>
                  <a:pt x="486187" y="158915"/>
                  <a:pt x="503299" y="169290"/>
                </a:cubicBezTo>
                <a:cubicBezTo>
                  <a:pt x="520041" y="179441"/>
                  <a:pt x="535883" y="191197"/>
                  <a:pt x="551461" y="203111"/>
                </a:cubicBezTo>
                <a:cubicBezTo>
                  <a:pt x="568416" y="216079"/>
                  <a:pt x="579195" y="234146"/>
                  <a:pt x="588803" y="252797"/>
                </a:cubicBezTo>
                <a:cubicBezTo>
                  <a:pt x="602134" y="278677"/>
                  <a:pt x="616556" y="303835"/>
                  <a:pt x="634209" y="327081"/>
                </a:cubicBezTo>
                <a:cubicBezTo>
                  <a:pt x="651797" y="350241"/>
                  <a:pt x="673980" y="368103"/>
                  <a:pt x="697923" y="384157"/>
                </a:cubicBezTo>
                <a:cubicBezTo>
                  <a:pt x="708787" y="391441"/>
                  <a:pt x="719007" y="399678"/>
                  <a:pt x="729658" y="407288"/>
                </a:cubicBezTo>
                <a:cubicBezTo>
                  <a:pt x="751657" y="423004"/>
                  <a:pt x="761259" y="445265"/>
                  <a:pt x="763354" y="471325"/>
                </a:cubicBezTo>
                <a:cubicBezTo>
                  <a:pt x="764877" y="490275"/>
                  <a:pt x="762919" y="509064"/>
                  <a:pt x="757092" y="527116"/>
                </a:cubicBezTo>
                <a:cubicBezTo>
                  <a:pt x="750932" y="546198"/>
                  <a:pt x="738296" y="560266"/>
                  <a:pt x="720673" y="570023"/>
                </a:cubicBezTo>
                <a:cubicBezTo>
                  <a:pt x="715048" y="573138"/>
                  <a:pt x="709487" y="576825"/>
                  <a:pt x="704918" y="581294"/>
                </a:cubicBezTo>
                <a:cubicBezTo>
                  <a:pt x="695625" y="590383"/>
                  <a:pt x="684728" y="595697"/>
                  <a:pt x="671960" y="595325"/>
                </a:cubicBezTo>
                <a:cubicBezTo>
                  <a:pt x="658939" y="594945"/>
                  <a:pt x="645743" y="594018"/>
                  <a:pt x="633021" y="591397"/>
                </a:cubicBezTo>
                <a:cubicBezTo>
                  <a:pt x="611233" y="586907"/>
                  <a:pt x="595034" y="572939"/>
                  <a:pt x="580696" y="556742"/>
                </a:cubicBezTo>
                <a:cubicBezTo>
                  <a:pt x="570081" y="544750"/>
                  <a:pt x="559052" y="533306"/>
                  <a:pt x="545415" y="524617"/>
                </a:cubicBezTo>
                <a:cubicBezTo>
                  <a:pt x="537261" y="519422"/>
                  <a:pt x="528551" y="515996"/>
                  <a:pt x="518889" y="516179"/>
                </a:cubicBezTo>
                <a:cubicBezTo>
                  <a:pt x="503357" y="516473"/>
                  <a:pt x="487839" y="517663"/>
                  <a:pt x="472309" y="517812"/>
                </a:cubicBezTo>
                <a:cubicBezTo>
                  <a:pt x="453527" y="517993"/>
                  <a:pt x="434738" y="517514"/>
                  <a:pt x="415953" y="517245"/>
                </a:cubicBezTo>
                <a:cubicBezTo>
                  <a:pt x="411976" y="517189"/>
                  <a:pt x="408003" y="516808"/>
                  <a:pt x="403392" y="516539"/>
                </a:cubicBezTo>
                <a:cubicBezTo>
                  <a:pt x="401207" y="526363"/>
                  <a:pt x="404857" y="534293"/>
                  <a:pt x="407957" y="542045"/>
                </a:cubicBezTo>
                <a:cubicBezTo>
                  <a:pt x="414092" y="557387"/>
                  <a:pt x="423168" y="571042"/>
                  <a:pt x="434134" y="583349"/>
                </a:cubicBezTo>
                <a:cubicBezTo>
                  <a:pt x="464083" y="616959"/>
                  <a:pt x="493980" y="650618"/>
                  <a:pt x="524267" y="683922"/>
                </a:cubicBezTo>
                <a:cubicBezTo>
                  <a:pt x="554818" y="717518"/>
                  <a:pt x="588291" y="748619"/>
                  <a:pt x="614317" y="786085"/>
                </a:cubicBezTo>
                <a:cubicBezTo>
                  <a:pt x="642656" y="826881"/>
                  <a:pt x="663974" y="871159"/>
                  <a:pt x="669590" y="921089"/>
                </a:cubicBezTo>
                <a:cubicBezTo>
                  <a:pt x="674894" y="968240"/>
                  <a:pt x="669774" y="1014226"/>
                  <a:pt x="647360" y="1057245"/>
                </a:cubicBezTo>
                <a:cubicBezTo>
                  <a:pt x="639830" y="1071697"/>
                  <a:pt x="630533" y="1085565"/>
                  <a:pt x="627872" y="1102111"/>
                </a:cubicBezTo>
                <a:cubicBezTo>
                  <a:pt x="623640" y="1128439"/>
                  <a:pt x="626183" y="1153784"/>
                  <a:pt x="642300" y="1175941"/>
                </a:cubicBezTo>
                <a:cubicBezTo>
                  <a:pt x="650201" y="1186801"/>
                  <a:pt x="659595" y="1196636"/>
                  <a:pt x="668829" y="1206449"/>
                </a:cubicBezTo>
                <a:cubicBezTo>
                  <a:pt x="679770" y="1218075"/>
                  <a:pt x="691267" y="1229177"/>
                  <a:pt x="703087" y="1241174"/>
                </a:cubicBezTo>
                <a:moveTo>
                  <a:pt x="648750" y="562343"/>
                </a:moveTo>
                <a:cubicBezTo>
                  <a:pt x="656729" y="562558"/>
                  <a:pt x="664698" y="567407"/>
                  <a:pt x="674049" y="562834"/>
                </a:cubicBezTo>
                <a:cubicBezTo>
                  <a:pt x="668990" y="558037"/>
                  <a:pt x="664729" y="554259"/>
                  <a:pt x="660781" y="550178"/>
                </a:cubicBezTo>
                <a:cubicBezTo>
                  <a:pt x="656713" y="545973"/>
                  <a:pt x="651493" y="542363"/>
                  <a:pt x="650911" y="534051"/>
                </a:cubicBezTo>
                <a:cubicBezTo>
                  <a:pt x="654940" y="535536"/>
                  <a:pt x="657753" y="536907"/>
                  <a:pt x="660724" y="537605"/>
                </a:cubicBezTo>
                <a:cubicBezTo>
                  <a:pt x="669824" y="539743"/>
                  <a:pt x="678915" y="542853"/>
                  <a:pt x="688133" y="543363"/>
                </a:cubicBezTo>
                <a:cubicBezTo>
                  <a:pt x="712019" y="544686"/>
                  <a:pt x="726964" y="534053"/>
                  <a:pt x="731514" y="510767"/>
                </a:cubicBezTo>
                <a:cubicBezTo>
                  <a:pt x="734296" y="496535"/>
                  <a:pt x="734146" y="481511"/>
                  <a:pt x="733611" y="466905"/>
                </a:cubicBezTo>
                <a:cubicBezTo>
                  <a:pt x="732951" y="448863"/>
                  <a:pt x="723348" y="435653"/>
                  <a:pt x="708076" y="425975"/>
                </a:cubicBezTo>
                <a:cubicBezTo>
                  <a:pt x="694258" y="417218"/>
                  <a:pt x="681056" y="407489"/>
                  <a:pt x="667538" y="398254"/>
                </a:cubicBezTo>
                <a:cubicBezTo>
                  <a:pt x="641278" y="380314"/>
                  <a:pt x="617580" y="359743"/>
                  <a:pt x="601016" y="332127"/>
                </a:cubicBezTo>
                <a:cubicBezTo>
                  <a:pt x="588810" y="311778"/>
                  <a:pt x="576093" y="291645"/>
                  <a:pt x="565354" y="270526"/>
                </a:cubicBezTo>
                <a:cubicBezTo>
                  <a:pt x="548401" y="237186"/>
                  <a:pt x="523821" y="212104"/>
                  <a:pt x="490657" y="195121"/>
                </a:cubicBezTo>
                <a:cubicBezTo>
                  <a:pt x="471346" y="185231"/>
                  <a:pt x="452394" y="174606"/>
                  <a:pt x="432834" y="165243"/>
                </a:cubicBezTo>
                <a:cubicBezTo>
                  <a:pt x="416725" y="157532"/>
                  <a:pt x="408325" y="145526"/>
                  <a:pt x="407594" y="127852"/>
                </a:cubicBezTo>
                <a:cubicBezTo>
                  <a:pt x="406783" y="108242"/>
                  <a:pt x="405935" y="88634"/>
                  <a:pt x="405020" y="69029"/>
                </a:cubicBezTo>
                <a:cubicBezTo>
                  <a:pt x="404882" y="66067"/>
                  <a:pt x="404287" y="63127"/>
                  <a:pt x="403638" y="58130"/>
                </a:cubicBezTo>
                <a:cubicBezTo>
                  <a:pt x="381792" y="82321"/>
                  <a:pt x="361650" y="104820"/>
                  <a:pt x="349776" y="133259"/>
                </a:cubicBezTo>
                <a:cubicBezTo>
                  <a:pt x="345032" y="144621"/>
                  <a:pt x="337822" y="153814"/>
                  <a:pt x="326975" y="159669"/>
                </a:cubicBezTo>
                <a:cubicBezTo>
                  <a:pt x="295461" y="176681"/>
                  <a:pt x="266610" y="197333"/>
                  <a:pt x="240374" y="221714"/>
                </a:cubicBezTo>
                <a:cubicBezTo>
                  <a:pt x="212881" y="247263"/>
                  <a:pt x="188313" y="275340"/>
                  <a:pt x="171637" y="309087"/>
                </a:cubicBezTo>
                <a:cubicBezTo>
                  <a:pt x="139180" y="374765"/>
                  <a:pt x="129692" y="444532"/>
                  <a:pt x="138048" y="516954"/>
                </a:cubicBezTo>
                <a:cubicBezTo>
                  <a:pt x="142936" y="559318"/>
                  <a:pt x="152518" y="600762"/>
                  <a:pt x="163889" y="641780"/>
                </a:cubicBezTo>
                <a:cubicBezTo>
                  <a:pt x="177329" y="690261"/>
                  <a:pt x="191989" y="738413"/>
                  <a:pt x="204800" y="787055"/>
                </a:cubicBezTo>
                <a:cubicBezTo>
                  <a:pt x="218820" y="840287"/>
                  <a:pt x="228587" y="894088"/>
                  <a:pt x="218549" y="949545"/>
                </a:cubicBezTo>
                <a:cubicBezTo>
                  <a:pt x="213279" y="978659"/>
                  <a:pt x="207130" y="1007359"/>
                  <a:pt x="191487" y="1033064"/>
                </a:cubicBezTo>
                <a:cubicBezTo>
                  <a:pt x="190499" y="1034686"/>
                  <a:pt x="190018" y="1036618"/>
                  <a:pt x="188729" y="1039835"/>
                </a:cubicBezTo>
                <a:cubicBezTo>
                  <a:pt x="200470" y="1040170"/>
                  <a:pt x="210952" y="1040298"/>
                  <a:pt x="221417" y="1040799"/>
                </a:cubicBezTo>
                <a:cubicBezTo>
                  <a:pt x="263912" y="1042835"/>
                  <a:pt x="306390" y="1046436"/>
                  <a:pt x="348895" y="1046759"/>
                </a:cubicBezTo>
                <a:cubicBezTo>
                  <a:pt x="414380" y="1047258"/>
                  <a:pt x="479896" y="1046092"/>
                  <a:pt x="545369" y="1044456"/>
                </a:cubicBezTo>
                <a:cubicBezTo>
                  <a:pt x="567764" y="1043897"/>
                  <a:pt x="590066" y="1039744"/>
                  <a:pt x="612424" y="1037365"/>
                </a:cubicBezTo>
                <a:cubicBezTo>
                  <a:pt x="617948" y="1036777"/>
                  <a:pt x="621342" y="1034139"/>
                  <a:pt x="623169" y="1028873"/>
                </a:cubicBezTo>
                <a:cubicBezTo>
                  <a:pt x="630975" y="1006370"/>
                  <a:pt x="637026" y="983472"/>
                  <a:pt x="638508" y="959599"/>
                </a:cubicBezTo>
                <a:cubicBezTo>
                  <a:pt x="641131" y="917363"/>
                  <a:pt x="628970" y="878727"/>
                  <a:pt x="609213" y="842075"/>
                </a:cubicBezTo>
                <a:cubicBezTo>
                  <a:pt x="587874" y="802491"/>
                  <a:pt x="559403" y="768169"/>
                  <a:pt x="529367" y="735065"/>
                </a:cubicBezTo>
                <a:cubicBezTo>
                  <a:pt x="487563" y="688992"/>
                  <a:pt x="445474" y="643176"/>
                  <a:pt x="403792" y="596993"/>
                </a:cubicBezTo>
                <a:cubicBezTo>
                  <a:pt x="380393" y="571066"/>
                  <a:pt x="360083" y="542922"/>
                  <a:pt x="344708" y="511366"/>
                </a:cubicBezTo>
                <a:cubicBezTo>
                  <a:pt x="324385" y="469655"/>
                  <a:pt x="317321" y="425966"/>
                  <a:pt x="324464" y="380084"/>
                </a:cubicBezTo>
                <a:cubicBezTo>
                  <a:pt x="324821" y="377789"/>
                  <a:pt x="326581" y="375713"/>
                  <a:pt x="327688" y="373535"/>
                </a:cubicBezTo>
                <a:cubicBezTo>
                  <a:pt x="328570" y="373570"/>
                  <a:pt x="329452" y="373606"/>
                  <a:pt x="330334" y="373641"/>
                </a:cubicBezTo>
                <a:cubicBezTo>
                  <a:pt x="331649" y="377308"/>
                  <a:pt x="333001" y="380963"/>
                  <a:pt x="334272" y="384645"/>
                </a:cubicBezTo>
                <a:cubicBezTo>
                  <a:pt x="342569" y="408660"/>
                  <a:pt x="351164" y="432573"/>
                  <a:pt x="365260" y="453955"/>
                </a:cubicBezTo>
                <a:cubicBezTo>
                  <a:pt x="375537" y="469544"/>
                  <a:pt x="388811" y="481767"/>
                  <a:pt x="408246" y="483592"/>
                </a:cubicBezTo>
                <a:cubicBezTo>
                  <a:pt x="426928" y="485346"/>
                  <a:pt x="445757" y="486037"/>
                  <a:pt x="464529" y="486187"/>
                </a:cubicBezTo>
                <a:cubicBezTo>
                  <a:pt x="480053" y="486311"/>
                  <a:pt x="495582" y="484792"/>
                  <a:pt x="511119" y="484308"/>
                </a:cubicBezTo>
                <a:cubicBezTo>
                  <a:pt x="532443" y="483644"/>
                  <a:pt x="551690" y="490014"/>
                  <a:pt x="567913" y="503736"/>
                </a:cubicBezTo>
                <a:cubicBezTo>
                  <a:pt x="581642" y="515348"/>
                  <a:pt x="594604" y="527888"/>
                  <a:pt x="607611" y="540326"/>
                </a:cubicBezTo>
                <a:cubicBezTo>
                  <a:pt x="618811" y="551038"/>
                  <a:pt x="631177" y="559300"/>
                  <a:pt x="648750" y="562343"/>
                </a:cubicBezTo>
                <a:moveTo>
                  <a:pt x="462594" y="1369008"/>
                </a:moveTo>
                <a:cubicBezTo>
                  <a:pt x="478517" y="1368137"/>
                  <a:pt x="494449" y="1367429"/>
                  <a:pt x="510357" y="1366345"/>
                </a:cubicBezTo>
                <a:cubicBezTo>
                  <a:pt x="523399" y="1365456"/>
                  <a:pt x="536424" y="1364247"/>
                  <a:pt x="549434" y="1362956"/>
                </a:cubicBezTo>
                <a:cubicBezTo>
                  <a:pt x="577089" y="1360213"/>
                  <a:pt x="604749" y="1357503"/>
                  <a:pt x="632369" y="1354439"/>
                </a:cubicBezTo>
                <a:cubicBezTo>
                  <a:pt x="653805" y="1352062"/>
                  <a:pt x="675183" y="1349170"/>
                  <a:pt x="697252" y="1346424"/>
                </a:cubicBezTo>
                <a:cubicBezTo>
                  <a:pt x="701148" y="1316348"/>
                  <a:pt x="695768" y="1289474"/>
                  <a:pt x="676674" y="1266396"/>
                </a:cubicBezTo>
                <a:cubicBezTo>
                  <a:pt x="667313" y="1255080"/>
                  <a:pt x="656878" y="1244625"/>
                  <a:pt x="646594" y="1234108"/>
                </a:cubicBezTo>
                <a:cubicBezTo>
                  <a:pt x="634298" y="1221533"/>
                  <a:pt x="621353" y="1209623"/>
                  <a:pt x="612063" y="1194382"/>
                </a:cubicBezTo>
                <a:cubicBezTo>
                  <a:pt x="596511" y="1168867"/>
                  <a:pt x="588079" y="1141707"/>
                  <a:pt x="591616" y="1111541"/>
                </a:cubicBezTo>
                <a:cubicBezTo>
                  <a:pt x="592450" y="1104432"/>
                  <a:pt x="593365" y="1097332"/>
                  <a:pt x="594320" y="1089609"/>
                </a:cubicBezTo>
                <a:cubicBezTo>
                  <a:pt x="588294" y="1089609"/>
                  <a:pt x="583452" y="1089392"/>
                  <a:pt x="578634" y="1089642"/>
                </a:cubicBezTo>
                <a:cubicBezTo>
                  <a:pt x="533732" y="1091976"/>
                  <a:pt x="488841" y="1094525"/>
                  <a:pt x="443931" y="1096700"/>
                </a:cubicBezTo>
                <a:cubicBezTo>
                  <a:pt x="430451" y="1097353"/>
                  <a:pt x="416923" y="1097005"/>
                  <a:pt x="403417" y="1097156"/>
                </a:cubicBezTo>
                <a:cubicBezTo>
                  <a:pt x="389337" y="1097313"/>
                  <a:pt x="388961" y="1097850"/>
                  <a:pt x="388348" y="1111502"/>
                </a:cubicBezTo>
                <a:cubicBezTo>
                  <a:pt x="387375" y="1133151"/>
                  <a:pt x="386231" y="1154793"/>
                  <a:pt x="385048" y="1176431"/>
                </a:cubicBezTo>
                <a:cubicBezTo>
                  <a:pt x="382637" y="1220514"/>
                  <a:pt x="380158" y="1264593"/>
                  <a:pt x="377687" y="1308672"/>
                </a:cubicBezTo>
                <a:cubicBezTo>
                  <a:pt x="377458" y="1312751"/>
                  <a:pt x="376852" y="1316821"/>
                  <a:pt x="376823" y="1320897"/>
                </a:cubicBezTo>
                <a:cubicBezTo>
                  <a:pt x="376717" y="1335880"/>
                  <a:pt x="376781" y="1350864"/>
                  <a:pt x="376781" y="1366151"/>
                </a:cubicBezTo>
                <a:cubicBezTo>
                  <a:pt x="404707" y="1370397"/>
                  <a:pt x="432477" y="1369351"/>
                  <a:pt x="462594" y="1369008"/>
                </a:cubicBezTo>
                <a:moveTo>
                  <a:pt x="648494" y="1463981"/>
                </a:moveTo>
                <a:cubicBezTo>
                  <a:pt x="671329" y="1460052"/>
                  <a:pt x="694163" y="1456122"/>
                  <a:pt x="718746" y="1451892"/>
                </a:cubicBezTo>
                <a:cubicBezTo>
                  <a:pt x="716257" y="1439067"/>
                  <a:pt x="714578" y="1427816"/>
                  <a:pt x="711827" y="1416835"/>
                </a:cubicBezTo>
                <a:cubicBezTo>
                  <a:pt x="707611" y="1400009"/>
                  <a:pt x="703502" y="1397423"/>
                  <a:pt x="685812" y="1398502"/>
                </a:cubicBezTo>
                <a:cubicBezTo>
                  <a:pt x="684179" y="1398602"/>
                  <a:pt x="682547" y="1398768"/>
                  <a:pt x="680924" y="1398973"/>
                </a:cubicBezTo>
                <a:cubicBezTo>
                  <a:pt x="653380" y="1402446"/>
                  <a:pt x="625911" y="1406752"/>
                  <a:pt x="598278" y="1409218"/>
                </a:cubicBezTo>
                <a:cubicBezTo>
                  <a:pt x="557171" y="1412886"/>
                  <a:pt x="515983" y="1415946"/>
                  <a:pt x="474765" y="1417945"/>
                </a:cubicBezTo>
                <a:cubicBezTo>
                  <a:pt x="444944" y="1419391"/>
                  <a:pt x="415021" y="1418680"/>
                  <a:pt x="385143" y="1418978"/>
                </a:cubicBezTo>
                <a:cubicBezTo>
                  <a:pt x="382419" y="1419005"/>
                  <a:pt x="379697" y="1419376"/>
                  <a:pt x="376639" y="1419613"/>
                </a:cubicBezTo>
                <a:cubicBezTo>
                  <a:pt x="376639" y="1438152"/>
                  <a:pt x="376639" y="1455909"/>
                  <a:pt x="376639" y="1473939"/>
                </a:cubicBezTo>
                <a:cubicBezTo>
                  <a:pt x="378971" y="1474343"/>
                  <a:pt x="380523" y="1474802"/>
                  <a:pt x="382089" y="1474854"/>
                </a:cubicBezTo>
                <a:cubicBezTo>
                  <a:pt x="404571" y="1475605"/>
                  <a:pt x="427058" y="1476986"/>
                  <a:pt x="449536" y="1476855"/>
                </a:cubicBezTo>
                <a:cubicBezTo>
                  <a:pt x="486344" y="1476639"/>
                  <a:pt x="523207" y="1476480"/>
                  <a:pt x="559930" y="1474307"/>
                </a:cubicBezTo>
                <a:cubicBezTo>
                  <a:pt x="588839" y="1472596"/>
                  <a:pt x="617570" y="1467884"/>
                  <a:pt x="648494" y="1463981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32" name="Free-form: Shape 431">
            <a:extLst>
              <a:ext uri="{FF2B5EF4-FFF2-40B4-BE49-F238E27FC236}">
                <a16:creationId xmlns:a16="http://schemas.microsoft.com/office/drawing/2014/main" id="{D27FFB6F-A6FA-8455-9B4F-F0E1A0CB1479}"/>
              </a:ext>
            </a:extLst>
          </p:cNvPr>
          <p:cNvSpPr/>
          <p:nvPr/>
        </p:nvSpPr>
        <p:spPr>
          <a:xfrm>
            <a:off x="3719514" y="4045547"/>
            <a:ext cx="497702" cy="821885"/>
          </a:xfrm>
          <a:custGeom>
            <a:avLst/>
            <a:gdLst>
              <a:gd name="csX0" fmla="*/ 512604 w 598747"/>
              <a:gd name="csY0" fmla="*/ 503918 h 988745"/>
              <a:gd name="csX1" fmla="*/ 472435 w 598747"/>
              <a:gd name="csY1" fmla="*/ 482196 h 988745"/>
              <a:gd name="csX2" fmla="*/ 432737 w 598747"/>
              <a:gd name="csY2" fmla="*/ 445605 h 988745"/>
              <a:gd name="csX3" fmla="*/ 375943 w 598747"/>
              <a:gd name="csY3" fmla="*/ 426178 h 988745"/>
              <a:gd name="csX4" fmla="*/ 329354 w 598747"/>
              <a:gd name="csY4" fmla="*/ 428057 h 988745"/>
              <a:gd name="csX5" fmla="*/ 273070 w 598747"/>
              <a:gd name="csY5" fmla="*/ 425461 h 988745"/>
              <a:gd name="csX6" fmla="*/ 230084 w 598747"/>
              <a:gd name="csY6" fmla="*/ 395825 h 988745"/>
              <a:gd name="csX7" fmla="*/ 199097 w 598747"/>
              <a:gd name="csY7" fmla="*/ 326515 h 988745"/>
              <a:gd name="csX8" fmla="*/ 195158 w 598747"/>
              <a:gd name="csY8" fmla="*/ 315511 h 988745"/>
              <a:gd name="csX9" fmla="*/ 192512 w 598747"/>
              <a:gd name="csY9" fmla="*/ 315405 h 988745"/>
              <a:gd name="csX10" fmla="*/ 189288 w 598747"/>
              <a:gd name="csY10" fmla="*/ 321954 h 988745"/>
              <a:gd name="csX11" fmla="*/ 209532 w 598747"/>
              <a:gd name="csY11" fmla="*/ 453235 h 988745"/>
              <a:gd name="csX12" fmla="*/ 268616 w 598747"/>
              <a:gd name="csY12" fmla="*/ 538863 h 988745"/>
              <a:gd name="csX13" fmla="*/ 394191 w 598747"/>
              <a:gd name="csY13" fmla="*/ 676935 h 988745"/>
              <a:gd name="csX14" fmla="*/ 474037 w 598747"/>
              <a:gd name="csY14" fmla="*/ 783945 h 988745"/>
              <a:gd name="csX15" fmla="*/ 503332 w 598747"/>
              <a:gd name="csY15" fmla="*/ 901469 h 988745"/>
              <a:gd name="csX16" fmla="*/ 487993 w 598747"/>
              <a:gd name="csY16" fmla="*/ 970743 h 988745"/>
              <a:gd name="csX17" fmla="*/ 477248 w 598747"/>
              <a:gd name="csY17" fmla="*/ 979235 h 988745"/>
              <a:gd name="csX18" fmla="*/ 410194 w 598747"/>
              <a:gd name="csY18" fmla="*/ 986326 h 988745"/>
              <a:gd name="csX19" fmla="*/ 213720 w 598747"/>
              <a:gd name="csY19" fmla="*/ 988629 h 988745"/>
              <a:gd name="csX20" fmla="*/ 86242 w 598747"/>
              <a:gd name="csY20" fmla="*/ 982669 h 988745"/>
              <a:gd name="csX21" fmla="*/ 53553 w 598747"/>
              <a:gd name="csY21" fmla="*/ 981705 h 988745"/>
              <a:gd name="csX22" fmla="*/ 56311 w 598747"/>
              <a:gd name="csY22" fmla="*/ 974933 h 988745"/>
              <a:gd name="csX23" fmla="*/ 83373 w 598747"/>
              <a:gd name="csY23" fmla="*/ 891414 h 988745"/>
              <a:gd name="csX24" fmla="*/ 69625 w 598747"/>
              <a:gd name="csY24" fmla="*/ 728925 h 988745"/>
              <a:gd name="csX25" fmla="*/ 28713 w 598747"/>
              <a:gd name="csY25" fmla="*/ 583650 h 988745"/>
              <a:gd name="csX26" fmla="*/ 2872 w 598747"/>
              <a:gd name="csY26" fmla="*/ 458823 h 988745"/>
              <a:gd name="csX27" fmla="*/ 36461 w 598747"/>
              <a:gd name="csY27" fmla="*/ 250957 h 988745"/>
              <a:gd name="csX28" fmla="*/ 105198 w 598747"/>
              <a:gd name="csY28" fmla="*/ 163584 h 988745"/>
              <a:gd name="csX29" fmla="*/ 191800 w 598747"/>
              <a:gd name="csY29" fmla="*/ 101539 h 988745"/>
              <a:gd name="csX30" fmla="*/ 214600 w 598747"/>
              <a:gd name="csY30" fmla="*/ 75129 h 988745"/>
              <a:gd name="csX31" fmla="*/ 268462 w 598747"/>
              <a:gd name="csY31" fmla="*/ 0 h 988745"/>
              <a:gd name="csX32" fmla="*/ 269844 w 598747"/>
              <a:gd name="csY32" fmla="*/ 10898 h 988745"/>
              <a:gd name="csX33" fmla="*/ 272418 w 598747"/>
              <a:gd name="csY33" fmla="*/ 69722 h 988745"/>
              <a:gd name="csX34" fmla="*/ 297658 w 598747"/>
              <a:gd name="csY34" fmla="*/ 107113 h 988745"/>
              <a:gd name="csX35" fmla="*/ 355481 w 598747"/>
              <a:gd name="csY35" fmla="*/ 136991 h 988745"/>
              <a:gd name="csX36" fmla="*/ 430178 w 598747"/>
              <a:gd name="csY36" fmla="*/ 212396 h 988745"/>
              <a:gd name="csX37" fmla="*/ 465840 w 598747"/>
              <a:gd name="csY37" fmla="*/ 273997 h 988745"/>
              <a:gd name="csX38" fmla="*/ 532362 w 598747"/>
              <a:gd name="csY38" fmla="*/ 340124 h 988745"/>
              <a:gd name="csX39" fmla="*/ 572901 w 598747"/>
              <a:gd name="csY39" fmla="*/ 367845 h 988745"/>
              <a:gd name="csX40" fmla="*/ 598436 w 598747"/>
              <a:gd name="csY40" fmla="*/ 408775 h 988745"/>
              <a:gd name="csX41" fmla="*/ 596339 w 598747"/>
              <a:gd name="csY41" fmla="*/ 452637 h 988745"/>
              <a:gd name="csX42" fmla="*/ 552957 w 598747"/>
              <a:gd name="csY42" fmla="*/ 485233 h 988745"/>
              <a:gd name="csX43" fmla="*/ 525548 w 598747"/>
              <a:gd name="csY43" fmla="*/ 479475 h 988745"/>
              <a:gd name="csX44" fmla="*/ 515736 w 598747"/>
              <a:gd name="csY44" fmla="*/ 475921 h 988745"/>
              <a:gd name="csX45" fmla="*/ 525605 w 598747"/>
              <a:gd name="csY45" fmla="*/ 492048 h 988745"/>
              <a:gd name="csX46" fmla="*/ 538873 w 598747"/>
              <a:gd name="csY46" fmla="*/ 504704 h 988745"/>
              <a:gd name="csX47" fmla="*/ 512604 w 598747"/>
              <a:gd name="csY47" fmla="*/ 503918 h 988745"/>
              <a:gd name="csX48" fmla="*/ 332072 w 598747"/>
              <a:gd name="csY48" fmla="*/ 218143 h 988745"/>
              <a:gd name="csX49" fmla="*/ 334388 w 598747"/>
              <a:gd name="csY49" fmla="*/ 226400 h 988745"/>
              <a:gd name="csX50" fmla="*/ 372370 w 598747"/>
              <a:gd name="csY50" fmla="*/ 254505 h 988745"/>
              <a:gd name="csX51" fmla="*/ 405258 w 598747"/>
              <a:gd name="csY51" fmla="*/ 252089 h 988745"/>
              <a:gd name="csX52" fmla="*/ 409167 w 598747"/>
              <a:gd name="csY52" fmla="*/ 244359 h 988745"/>
              <a:gd name="csX53" fmla="*/ 396364 w 598747"/>
              <a:gd name="csY53" fmla="*/ 219471 h 988745"/>
              <a:gd name="csX54" fmla="*/ 365755 w 598747"/>
              <a:gd name="csY54" fmla="*/ 195821 h 988745"/>
              <a:gd name="csX55" fmla="*/ 333572 w 598747"/>
              <a:gd name="csY55" fmla="*/ 188536 h 988745"/>
              <a:gd name="csX56" fmla="*/ 322931 w 598747"/>
              <a:gd name="csY56" fmla="*/ 190843 h 988745"/>
              <a:gd name="csX57" fmla="*/ 329041 w 598747"/>
              <a:gd name="csY57" fmla="*/ 203001 h 988745"/>
              <a:gd name="csX58" fmla="*/ 332072 w 598747"/>
              <a:gd name="csY58" fmla="*/ 218143 h 98874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</a:cxnLst>
            <a:rect l="l" t="t" r="r" b="b"/>
            <a:pathLst>
              <a:path w="598747" h="988745">
                <a:moveTo>
                  <a:pt x="512604" y="503918"/>
                </a:moveTo>
                <a:cubicBezTo>
                  <a:pt x="496002" y="501170"/>
                  <a:pt x="483635" y="492907"/>
                  <a:pt x="472435" y="482196"/>
                </a:cubicBezTo>
                <a:cubicBezTo>
                  <a:pt x="459429" y="469758"/>
                  <a:pt x="446467" y="457218"/>
                  <a:pt x="432737" y="445605"/>
                </a:cubicBezTo>
                <a:cubicBezTo>
                  <a:pt x="416514" y="431883"/>
                  <a:pt x="397267" y="425513"/>
                  <a:pt x="375943" y="426178"/>
                </a:cubicBezTo>
                <a:cubicBezTo>
                  <a:pt x="360407" y="426662"/>
                  <a:pt x="344877" y="428180"/>
                  <a:pt x="329354" y="428057"/>
                </a:cubicBezTo>
                <a:cubicBezTo>
                  <a:pt x="310581" y="427907"/>
                  <a:pt x="291752" y="427215"/>
                  <a:pt x="273070" y="425461"/>
                </a:cubicBezTo>
                <a:cubicBezTo>
                  <a:pt x="253636" y="423637"/>
                  <a:pt x="240361" y="411413"/>
                  <a:pt x="230084" y="395825"/>
                </a:cubicBezTo>
                <a:cubicBezTo>
                  <a:pt x="215988" y="374443"/>
                  <a:pt x="207393" y="350530"/>
                  <a:pt x="199097" y="326515"/>
                </a:cubicBezTo>
                <a:cubicBezTo>
                  <a:pt x="197825" y="322833"/>
                  <a:pt x="196473" y="319178"/>
                  <a:pt x="195158" y="315511"/>
                </a:cubicBezTo>
                <a:cubicBezTo>
                  <a:pt x="194276" y="315475"/>
                  <a:pt x="193394" y="315440"/>
                  <a:pt x="192512" y="315405"/>
                </a:cubicBezTo>
                <a:cubicBezTo>
                  <a:pt x="191405" y="317583"/>
                  <a:pt x="189646" y="319659"/>
                  <a:pt x="189288" y="321954"/>
                </a:cubicBezTo>
                <a:cubicBezTo>
                  <a:pt x="182145" y="367836"/>
                  <a:pt x="189209" y="411525"/>
                  <a:pt x="209532" y="453235"/>
                </a:cubicBezTo>
                <a:cubicBezTo>
                  <a:pt x="224908" y="484792"/>
                  <a:pt x="245217" y="512936"/>
                  <a:pt x="268616" y="538863"/>
                </a:cubicBezTo>
                <a:cubicBezTo>
                  <a:pt x="310298" y="585046"/>
                  <a:pt x="352387" y="630861"/>
                  <a:pt x="394191" y="676935"/>
                </a:cubicBezTo>
                <a:cubicBezTo>
                  <a:pt x="424227" y="710039"/>
                  <a:pt x="452698" y="744360"/>
                  <a:pt x="474037" y="783945"/>
                </a:cubicBezTo>
                <a:cubicBezTo>
                  <a:pt x="493795" y="820596"/>
                  <a:pt x="505956" y="859233"/>
                  <a:pt x="503332" y="901469"/>
                </a:cubicBezTo>
                <a:cubicBezTo>
                  <a:pt x="501850" y="925342"/>
                  <a:pt x="495799" y="948239"/>
                  <a:pt x="487993" y="970743"/>
                </a:cubicBezTo>
                <a:cubicBezTo>
                  <a:pt x="486166" y="976009"/>
                  <a:pt x="482772" y="978647"/>
                  <a:pt x="477248" y="979235"/>
                </a:cubicBezTo>
                <a:cubicBezTo>
                  <a:pt x="454890" y="981614"/>
                  <a:pt x="432589" y="985767"/>
                  <a:pt x="410194" y="986326"/>
                </a:cubicBezTo>
                <a:cubicBezTo>
                  <a:pt x="344720" y="987961"/>
                  <a:pt x="279205" y="989128"/>
                  <a:pt x="213720" y="988629"/>
                </a:cubicBezTo>
                <a:cubicBezTo>
                  <a:pt x="171215" y="988306"/>
                  <a:pt x="128736" y="984705"/>
                  <a:pt x="86242" y="982669"/>
                </a:cubicBezTo>
                <a:cubicBezTo>
                  <a:pt x="75776" y="982167"/>
                  <a:pt x="65294" y="982040"/>
                  <a:pt x="53553" y="981705"/>
                </a:cubicBezTo>
                <a:cubicBezTo>
                  <a:pt x="54842" y="978488"/>
                  <a:pt x="55323" y="976556"/>
                  <a:pt x="56311" y="974933"/>
                </a:cubicBezTo>
                <a:cubicBezTo>
                  <a:pt x="71955" y="949229"/>
                  <a:pt x="78103" y="920529"/>
                  <a:pt x="83373" y="891414"/>
                </a:cubicBezTo>
                <a:cubicBezTo>
                  <a:pt x="93411" y="835958"/>
                  <a:pt x="83645" y="782156"/>
                  <a:pt x="69625" y="728925"/>
                </a:cubicBezTo>
                <a:cubicBezTo>
                  <a:pt x="56813" y="680283"/>
                  <a:pt x="42153" y="632130"/>
                  <a:pt x="28713" y="583650"/>
                </a:cubicBezTo>
                <a:cubicBezTo>
                  <a:pt x="17342" y="542631"/>
                  <a:pt x="7760" y="501188"/>
                  <a:pt x="2872" y="458823"/>
                </a:cubicBezTo>
                <a:cubicBezTo>
                  <a:pt x="-5484" y="386401"/>
                  <a:pt x="4005" y="316635"/>
                  <a:pt x="36461" y="250957"/>
                </a:cubicBezTo>
                <a:cubicBezTo>
                  <a:pt x="53137" y="217210"/>
                  <a:pt x="77705" y="189133"/>
                  <a:pt x="105198" y="163584"/>
                </a:cubicBezTo>
                <a:cubicBezTo>
                  <a:pt x="131434" y="139203"/>
                  <a:pt x="160285" y="118551"/>
                  <a:pt x="191800" y="101539"/>
                </a:cubicBezTo>
                <a:cubicBezTo>
                  <a:pt x="202646" y="95684"/>
                  <a:pt x="209856" y="86491"/>
                  <a:pt x="214600" y="75129"/>
                </a:cubicBezTo>
                <a:cubicBezTo>
                  <a:pt x="226474" y="46689"/>
                  <a:pt x="246616" y="24191"/>
                  <a:pt x="268462" y="0"/>
                </a:cubicBezTo>
                <a:cubicBezTo>
                  <a:pt x="269111" y="4997"/>
                  <a:pt x="269706" y="7937"/>
                  <a:pt x="269844" y="10898"/>
                </a:cubicBezTo>
                <a:cubicBezTo>
                  <a:pt x="270760" y="30504"/>
                  <a:pt x="271607" y="50112"/>
                  <a:pt x="272418" y="69722"/>
                </a:cubicBezTo>
                <a:cubicBezTo>
                  <a:pt x="273150" y="87396"/>
                  <a:pt x="281549" y="99401"/>
                  <a:pt x="297658" y="107113"/>
                </a:cubicBezTo>
                <a:cubicBezTo>
                  <a:pt x="317218" y="116476"/>
                  <a:pt x="336170" y="127101"/>
                  <a:pt x="355481" y="136991"/>
                </a:cubicBezTo>
                <a:cubicBezTo>
                  <a:pt x="388645" y="153974"/>
                  <a:pt x="413226" y="179056"/>
                  <a:pt x="430178" y="212396"/>
                </a:cubicBezTo>
                <a:cubicBezTo>
                  <a:pt x="440917" y="233515"/>
                  <a:pt x="453634" y="253647"/>
                  <a:pt x="465840" y="273997"/>
                </a:cubicBezTo>
                <a:cubicBezTo>
                  <a:pt x="482404" y="301613"/>
                  <a:pt x="506102" y="322183"/>
                  <a:pt x="532362" y="340124"/>
                </a:cubicBezTo>
                <a:cubicBezTo>
                  <a:pt x="545881" y="349359"/>
                  <a:pt x="559082" y="359088"/>
                  <a:pt x="572901" y="367845"/>
                </a:cubicBezTo>
                <a:cubicBezTo>
                  <a:pt x="588172" y="377523"/>
                  <a:pt x="597775" y="390733"/>
                  <a:pt x="598436" y="408775"/>
                </a:cubicBezTo>
                <a:cubicBezTo>
                  <a:pt x="598970" y="423381"/>
                  <a:pt x="599120" y="438404"/>
                  <a:pt x="596339" y="452637"/>
                </a:cubicBezTo>
                <a:cubicBezTo>
                  <a:pt x="591789" y="475923"/>
                  <a:pt x="576843" y="486555"/>
                  <a:pt x="552957" y="485233"/>
                </a:cubicBezTo>
                <a:cubicBezTo>
                  <a:pt x="543740" y="484722"/>
                  <a:pt x="534648" y="481613"/>
                  <a:pt x="525548" y="479475"/>
                </a:cubicBezTo>
                <a:cubicBezTo>
                  <a:pt x="522577" y="478776"/>
                  <a:pt x="519764" y="477405"/>
                  <a:pt x="515736" y="475921"/>
                </a:cubicBezTo>
                <a:cubicBezTo>
                  <a:pt x="516318" y="484233"/>
                  <a:pt x="521537" y="487842"/>
                  <a:pt x="525605" y="492048"/>
                </a:cubicBezTo>
                <a:cubicBezTo>
                  <a:pt x="529554" y="496129"/>
                  <a:pt x="533815" y="499907"/>
                  <a:pt x="538873" y="504704"/>
                </a:cubicBezTo>
                <a:cubicBezTo>
                  <a:pt x="529522" y="509277"/>
                  <a:pt x="521553" y="504428"/>
                  <a:pt x="512604" y="503918"/>
                </a:cubicBezTo>
                <a:moveTo>
                  <a:pt x="332072" y="218143"/>
                </a:moveTo>
                <a:cubicBezTo>
                  <a:pt x="332837" y="220898"/>
                  <a:pt x="333478" y="223695"/>
                  <a:pt x="334388" y="226400"/>
                </a:cubicBezTo>
                <a:cubicBezTo>
                  <a:pt x="341073" y="246268"/>
                  <a:pt x="351614" y="254460"/>
                  <a:pt x="372370" y="254505"/>
                </a:cubicBezTo>
                <a:cubicBezTo>
                  <a:pt x="383333" y="254529"/>
                  <a:pt x="394312" y="253121"/>
                  <a:pt x="405258" y="252089"/>
                </a:cubicBezTo>
                <a:cubicBezTo>
                  <a:pt x="409961" y="251646"/>
                  <a:pt x="411340" y="248568"/>
                  <a:pt x="409167" y="244359"/>
                </a:cubicBezTo>
                <a:cubicBezTo>
                  <a:pt x="404885" y="236068"/>
                  <a:pt x="400139" y="227985"/>
                  <a:pt x="396364" y="219471"/>
                </a:cubicBezTo>
                <a:cubicBezTo>
                  <a:pt x="390350" y="205908"/>
                  <a:pt x="379963" y="198663"/>
                  <a:pt x="365755" y="195821"/>
                </a:cubicBezTo>
                <a:cubicBezTo>
                  <a:pt x="354973" y="193665"/>
                  <a:pt x="344291" y="191003"/>
                  <a:pt x="333572" y="188536"/>
                </a:cubicBezTo>
                <a:cubicBezTo>
                  <a:pt x="329511" y="187602"/>
                  <a:pt x="325579" y="187007"/>
                  <a:pt x="322931" y="190843"/>
                </a:cubicBezTo>
                <a:cubicBezTo>
                  <a:pt x="325138" y="195129"/>
                  <a:pt x="327613" y="198884"/>
                  <a:pt x="329041" y="203001"/>
                </a:cubicBezTo>
                <a:cubicBezTo>
                  <a:pt x="330500" y="207204"/>
                  <a:pt x="330929" y="211764"/>
                  <a:pt x="332072" y="218143"/>
                </a:cubicBezTo>
                <a:close/>
              </a:path>
            </a:pathLst>
          </a:custGeom>
          <a:solidFill>
            <a:srgbClr val="FEFEFE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33" name="Free-form: Shape 432">
            <a:extLst>
              <a:ext uri="{FF2B5EF4-FFF2-40B4-BE49-F238E27FC236}">
                <a16:creationId xmlns:a16="http://schemas.microsoft.com/office/drawing/2014/main" id="{9A0D279B-1327-0B55-C13B-56B48E4DDD22}"/>
              </a:ext>
            </a:extLst>
          </p:cNvPr>
          <p:cNvSpPr/>
          <p:nvPr/>
        </p:nvSpPr>
        <p:spPr>
          <a:xfrm>
            <a:off x="3920331" y="4902882"/>
            <a:ext cx="267393" cy="232628"/>
          </a:xfrm>
          <a:custGeom>
            <a:avLst/>
            <a:gdLst>
              <a:gd name="csX0" fmla="*/ 84645 w 321679"/>
              <a:gd name="csY0" fmla="*/ 279507 h 279857"/>
              <a:gd name="csX1" fmla="*/ 19 w 321679"/>
              <a:gd name="csY1" fmla="*/ 276629 h 279857"/>
              <a:gd name="csX2" fmla="*/ 61 w 321679"/>
              <a:gd name="csY2" fmla="*/ 231376 h 279857"/>
              <a:gd name="csX3" fmla="*/ 925 w 321679"/>
              <a:gd name="csY3" fmla="*/ 219150 h 279857"/>
              <a:gd name="csX4" fmla="*/ 8286 w 321679"/>
              <a:gd name="csY4" fmla="*/ 86910 h 279857"/>
              <a:gd name="csX5" fmla="*/ 11586 w 321679"/>
              <a:gd name="csY5" fmla="*/ 21981 h 279857"/>
              <a:gd name="csX6" fmla="*/ 26655 w 321679"/>
              <a:gd name="csY6" fmla="*/ 7635 h 279857"/>
              <a:gd name="csX7" fmla="*/ 67169 w 321679"/>
              <a:gd name="csY7" fmla="*/ 7178 h 279857"/>
              <a:gd name="csX8" fmla="*/ 201872 w 321679"/>
              <a:gd name="csY8" fmla="*/ 121 h 279857"/>
              <a:gd name="csX9" fmla="*/ 217558 w 321679"/>
              <a:gd name="csY9" fmla="*/ 87 h 279857"/>
              <a:gd name="csX10" fmla="*/ 214854 w 321679"/>
              <a:gd name="csY10" fmla="*/ 22019 h 279857"/>
              <a:gd name="csX11" fmla="*/ 235301 w 321679"/>
              <a:gd name="csY11" fmla="*/ 104861 h 279857"/>
              <a:gd name="csX12" fmla="*/ 269832 w 321679"/>
              <a:gd name="csY12" fmla="*/ 144587 h 279857"/>
              <a:gd name="csX13" fmla="*/ 299912 w 321679"/>
              <a:gd name="csY13" fmla="*/ 176874 h 279857"/>
              <a:gd name="csX14" fmla="*/ 320491 w 321679"/>
              <a:gd name="csY14" fmla="*/ 256903 h 279857"/>
              <a:gd name="csX15" fmla="*/ 255607 w 321679"/>
              <a:gd name="csY15" fmla="*/ 264918 h 279857"/>
              <a:gd name="csX16" fmla="*/ 172672 w 321679"/>
              <a:gd name="csY16" fmla="*/ 273435 h 279857"/>
              <a:gd name="csX17" fmla="*/ 133595 w 321679"/>
              <a:gd name="csY17" fmla="*/ 276823 h 279857"/>
              <a:gd name="csX18" fmla="*/ 84645 w 321679"/>
              <a:gd name="csY18" fmla="*/ 279507 h 27985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</a:cxnLst>
            <a:rect l="l" t="t" r="r" b="b"/>
            <a:pathLst>
              <a:path w="321679" h="279857">
                <a:moveTo>
                  <a:pt x="84645" y="279507"/>
                </a:moveTo>
                <a:cubicBezTo>
                  <a:pt x="55716" y="279830"/>
                  <a:pt x="27945" y="280875"/>
                  <a:pt x="19" y="276629"/>
                </a:cubicBezTo>
                <a:cubicBezTo>
                  <a:pt x="19" y="261343"/>
                  <a:pt x="-45" y="246359"/>
                  <a:pt x="61" y="231376"/>
                </a:cubicBezTo>
                <a:cubicBezTo>
                  <a:pt x="90" y="227299"/>
                  <a:pt x="696" y="223229"/>
                  <a:pt x="925" y="219150"/>
                </a:cubicBezTo>
                <a:cubicBezTo>
                  <a:pt x="3396" y="175071"/>
                  <a:pt x="5876" y="130992"/>
                  <a:pt x="8286" y="86910"/>
                </a:cubicBezTo>
                <a:cubicBezTo>
                  <a:pt x="9469" y="65271"/>
                  <a:pt x="10613" y="43630"/>
                  <a:pt x="11586" y="21981"/>
                </a:cubicBezTo>
                <a:cubicBezTo>
                  <a:pt x="12199" y="8328"/>
                  <a:pt x="12576" y="7792"/>
                  <a:pt x="26655" y="7635"/>
                </a:cubicBezTo>
                <a:cubicBezTo>
                  <a:pt x="40161" y="7484"/>
                  <a:pt x="53689" y="7831"/>
                  <a:pt x="67169" y="7178"/>
                </a:cubicBezTo>
                <a:cubicBezTo>
                  <a:pt x="112079" y="5004"/>
                  <a:pt x="156970" y="2455"/>
                  <a:pt x="201872" y="121"/>
                </a:cubicBezTo>
                <a:cubicBezTo>
                  <a:pt x="206690" y="-130"/>
                  <a:pt x="211533" y="87"/>
                  <a:pt x="217558" y="87"/>
                </a:cubicBezTo>
                <a:cubicBezTo>
                  <a:pt x="216603" y="7811"/>
                  <a:pt x="215688" y="14910"/>
                  <a:pt x="214854" y="22019"/>
                </a:cubicBezTo>
                <a:cubicBezTo>
                  <a:pt x="211318" y="52185"/>
                  <a:pt x="219749" y="79345"/>
                  <a:pt x="235301" y="104861"/>
                </a:cubicBezTo>
                <a:cubicBezTo>
                  <a:pt x="244591" y="120102"/>
                  <a:pt x="257536" y="132012"/>
                  <a:pt x="269832" y="144587"/>
                </a:cubicBezTo>
                <a:cubicBezTo>
                  <a:pt x="280116" y="155103"/>
                  <a:pt x="290551" y="165559"/>
                  <a:pt x="299912" y="176874"/>
                </a:cubicBezTo>
                <a:cubicBezTo>
                  <a:pt x="319006" y="199953"/>
                  <a:pt x="324386" y="226827"/>
                  <a:pt x="320491" y="256903"/>
                </a:cubicBezTo>
                <a:cubicBezTo>
                  <a:pt x="298421" y="259649"/>
                  <a:pt x="277043" y="262541"/>
                  <a:pt x="255607" y="264918"/>
                </a:cubicBezTo>
                <a:cubicBezTo>
                  <a:pt x="227987" y="267981"/>
                  <a:pt x="200327" y="270692"/>
                  <a:pt x="172672" y="273435"/>
                </a:cubicBezTo>
                <a:cubicBezTo>
                  <a:pt x="159662" y="274725"/>
                  <a:pt x="146637" y="275935"/>
                  <a:pt x="133595" y="276823"/>
                </a:cubicBezTo>
                <a:cubicBezTo>
                  <a:pt x="117688" y="277907"/>
                  <a:pt x="101755" y="278616"/>
                  <a:pt x="84645" y="279507"/>
                </a:cubicBezTo>
                <a:close/>
              </a:path>
            </a:pathLst>
          </a:custGeom>
          <a:solidFill>
            <a:srgbClr val="FDFEFE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34" name="Free-form: Shape 433">
            <a:extLst>
              <a:ext uri="{FF2B5EF4-FFF2-40B4-BE49-F238E27FC236}">
                <a16:creationId xmlns:a16="http://schemas.microsoft.com/office/drawing/2014/main" id="{CA231D3B-545D-CDBD-48DA-20BC70C4D2CE}"/>
              </a:ext>
            </a:extLst>
          </p:cNvPr>
          <p:cNvSpPr/>
          <p:nvPr/>
        </p:nvSpPr>
        <p:spPr>
          <a:xfrm>
            <a:off x="3920228" y="5159543"/>
            <a:ext cx="284373" cy="65313"/>
          </a:xfrm>
          <a:custGeom>
            <a:avLst/>
            <a:gdLst>
              <a:gd name="csX0" fmla="*/ 270798 w 342106"/>
              <a:gd name="csY0" fmla="*/ 65953 h 78573"/>
              <a:gd name="csX1" fmla="*/ 183290 w 342106"/>
              <a:gd name="csY1" fmla="*/ 76017 h 78573"/>
              <a:gd name="csX2" fmla="*/ 72897 w 342106"/>
              <a:gd name="csY2" fmla="*/ 78565 h 78573"/>
              <a:gd name="csX3" fmla="*/ 5450 w 342106"/>
              <a:gd name="csY3" fmla="*/ 76564 h 78573"/>
              <a:gd name="csX4" fmla="*/ 0 w 342106"/>
              <a:gd name="csY4" fmla="*/ 75649 h 78573"/>
              <a:gd name="csX5" fmla="*/ 0 w 342106"/>
              <a:gd name="csY5" fmla="*/ 21324 h 78573"/>
              <a:gd name="csX6" fmla="*/ 8504 w 342106"/>
              <a:gd name="csY6" fmla="*/ 20688 h 78573"/>
              <a:gd name="csX7" fmla="*/ 98126 w 342106"/>
              <a:gd name="csY7" fmla="*/ 19655 h 78573"/>
              <a:gd name="csX8" fmla="*/ 221639 w 342106"/>
              <a:gd name="csY8" fmla="*/ 10929 h 78573"/>
              <a:gd name="csX9" fmla="*/ 304285 w 342106"/>
              <a:gd name="csY9" fmla="*/ 683 h 78573"/>
              <a:gd name="csX10" fmla="*/ 309173 w 342106"/>
              <a:gd name="csY10" fmla="*/ 212 h 78573"/>
              <a:gd name="csX11" fmla="*/ 335187 w 342106"/>
              <a:gd name="csY11" fmla="*/ 18545 h 78573"/>
              <a:gd name="csX12" fmla="*/ 342106 w 342106"/>
              <a:gd name="csY12" fmla="*/ 53602 h 78573"/>
              <a:gd name="csX13" fmla="*/ 270798 w 342106"/>
              <a:gd name="csY13" fmla="*/ 65953 h 7857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</a:cxnLst>
            <a:rect l="l" t="t" r="r" b="b"/>
            <a:pathLst>
              <a:path w="342106" h="78573">
                <a:moveTo>
                  <a:pt x="270798" y="65953"/>
                </a:moveTo>
                <a:cubicBezTo>
                  <a:pt x="240931" y="69594"/>
                  <a:pt x="212199" y="74306"/>
                  <a:pt x="183290" y="76017"/>
                </a:cubicBezTo>
                <a:cubicBezTo>
                  <a:pt x="146568" y="78191"/>
                  <a:pt x="109704" y="78349"/>
                  <a:pt x="72897" y="78565"/>
                </a:cubicBezTo>
                <a:cubicBezTo>
                  <a:pt x="50419" y="78697"/>
                  <a:pt x="27931" y="77315"/>
                  <a:pt x="5450" y="76564"/>
                </a:cubicBezTo>
                <a:cubicBezTo>
                  <a:pt x="3884" y="76512"/>
                  <a:pt x="2332" y="76053"/>
                  <a:pt x="0" y="75649"/>
                </a:cubicBezTo>
                <a:cubicBezTo>
                  <a:pt x="0" y="57619"/>
                  <a:pt x="0" y="39863"/>
                  <a:pt x="0" y="21324"/>
                </a:cubicBezTo>
                <a:cubicBezTo>
                  <a:pt x="3058" y="21086"/>
                  <a:pt x="5779" y="20715"/>
                  <a:pt x="8504" y="20688"/>
                </a:cubicBezTo>
                <a:cubicBezTo>
                  <a:pt x="38382" y="20390"/>
                  <a:pt x="68305" y="21101"/>
                  <a:pt x="98126" y="19655"/>
                </a:cubicBezTo>
                <a:cubicBezTo>
                  <a:pt x="139343" y="17657"/>
                  <a:pt x="180532" y="14597"/>
                  <a:pt x="221639" y="10929"/>
                </a:cubicBezTo>
                <a:cubicBezTo>
                  <a:pt x="249272" y="8463"/>
                  <a:pt x="276741" y="4156"/>
                  <a:pt x="304285" y="683"/>
                </a:cubicBezTo>
                <a:cubicBezTo>
                  <a:pt x="305908" y="478"/>
                  <a:pt x="307539" y="312"/>
                  <a:pt x="309173" y="212"/>
                </a:cubicBezTo>
                <a:cubicBezTo>
                  <a:pt x="326863" y="-867"/>
                  <a:pt x="330972" y="1719"/>
                  <a:pt x="335187" y="18545"/>
                </a:cubicBezTo>
                <a:cubicBezTo>
                  <a:pt x="337939" y="29526"/>
                  <a:pt x="339618" y="40777"/>
                  <a:pt x="342106" y="53602"/>
                </a:cubicBezTo>
                <a:cubicBezTo>
                  <a:pt x="317523" y="57833"/>
                  <a:pt x="294689" y="61762"/>
                  <a:pt x="270798" y="65953"/>
                </a:cubicBezTo>
                <a:close/>
              </a:path>
            </a:pathLst>
          </a:custGeom>
          <a:solidFill>
            <a:srgbClr val="FCFCFC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35" name="Free-form: Shape 434">
            <a:extLst>
              <a:ext uri="{FF2B5EF4-FFF2-40B4-BE49-F238E27FC236}">
                <a16:creationId xmlns:a16="http://schemas.microsoft.com/office/drawing/2014/main" id="{E9767B4C-4CCF-17E2-0CF2-91BDE63698E4}"/>
              </a:ext>
            </a:extLst>
          </p:cNvPr>
          <p:cNvSpPr/>
          <p:nvPr/>
        </p:nvSpPr>
        <p:spPr>
          <a:xfrm>
            <a:off x="3987947" y="4201687"/>
            <a:ext cx="72517" cy="55415"/>
          </a:xfrm>
          <a:custGeom>
            <a:avLst/>
            <a:gdLst>
              <a:gd name="csX0" fmla="*/ 9010 w 87239"/>
              <a:gd name="csY0" fmla="*/ 29316 h 66665"/>
              <a:gd name="csX1" fmla="*/ 6110 w 87239"/>
              <a:gd name="csY1" fmla="*/ 15162 h 66665"/>
              <a:gd name="csX2" fmla="*/ 0 w 87239"/>
              <a:gd name="csY2" fmla="*/ 3003 h 66665"/>
              <a:gd name="csX3" fmla="*/ 10641 w 87239"/>
              <a:gd name="csY3" fmla="*/ 697 h 66665"/>
              <a:gd name="csX4" fmla="*/ 42824 w 87239"/>
              <a:gd name="csY4" fmla="*/ 7981 h 66665"/>
              <a:gd name="csX5" fmla="*/ 73433 w 87239"/>
              <a:gd name="csY5" fmla="*/ 31631 h 66665"/>
              <a:gd name="csX6" fmla="*/ 86236 w 87239"/>
              <a:gd name="csY6" fmla="*/ 56519 h 66665"/>
              <a:gd name="csX7" fmla="*/ 82327 w 87239"/>
              <a:gd name="csY7" fmla="*/ 64249 h 66665"/>
              <a:gd name="csX8" fmla="*/ 49439 w 87239"/>
              <a:gd name="csY8" fmla="*/ 66665 h 66665"/>
              <a:gd name="csX9" fmla="*/ 11457 w 87239"/>
              <a:gd name="csY9" fmla="*/ 38560 h 66665"/>
              <a:gd name="csX10" fmla="*/ 9010 w 87239"/>
              <a:gd name="csY10" fmla="*/ 29316 h 6666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</a:cxnLst>
            <a:rect l="l" t="t" r="r" b="b"/>
            <a:pathLst>
              <a:path w="87239" h="66665">
                <a:moveTo>
                  <a:pt x="9010" y="29316"/>
                </a:moveTo>
                <a:cubicBezTo>
                  <a:pt x="7998" y="23924"/>
                  <a:pt x="7568" y="19365"/>
                  <a:pt x="6110" y="15162"/>
                </a:cubicBezTo>
                <a:cubicBezTo>
                  <a:pt x="4682" y="11044"/>
                  <a:pt x="2207" y="7289"/>
                  <a:pt x="0" y="3003"/>
                </a:cubicBezTo>
                <a:cubicBezTo>
                  <a:pt x="2648" y="-833"/>
                  <a:pt x="6580" y="-238"/>
                  <a:pt x="10641" y="697"/>
                </a:cubicBezTo>
                <a:cubicBezTo>
                  <a:pt x="21360" y="3163"/>
                  <a:pt x="32042" y="5825"/>
                  <a:pt x="42824" y="7981"/>
                </a:cubicBezTo>
                <a:cubicBezTo>
                  <a:pt x="57032" y="10823"/>
                  <a:pt x="67419" y="18068"/>
                  <a:pt x="73433" y="31631"/>
                </a:cubicBezTo>
                <a:cubicBezTo>
                  <a:pt x="77208" y="40146"/>
                  <a:pt x="81954" y="48228"/>
                  <a:pt x="86236" y="56519"/>
                </a:cubicBezTo>
                <a:cubicBezTo>
                  <a:pt x="88409" y="60728"/>
                  <a:pt x="87030" y="63806"/>
                  <a:pt x="82327" y="64249"/>
                </a:cubicBezTo>
                <a:cubicBezTo>
                  <a:pt x="71381" y="65282"/>
                  <a:pt x="60402" y="66689"/>
                  <a:pt x="49439" y="66665"/>
                </a:cubicBezTo>
                <a:cubicBezTo>
                  <a:pt x="28683" y="66620"/>
                  <a:pt x="18142" y="58428"/>
                  <a:pt x="11457" y="38560"/>
                </a:cubicBezTo>
                <a:cubicBezTo>
                  <a:pt x="10547" y="35855"/>
                  <a:pt x="9906" y="33058"/>
                  <a:pt x="9010" y="29316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41" name="Oval 440">
            <a:extLst>
              <a:ext uri="{FF2B5EF4-FFF2-40B4-BE49-F238E27FC236}">
                <a16:creationId xmlns:a16="http://schemas.microsoft.com/office/drawing/2014/main" id="{018CA98C-AB39-DB11-C46F-CC363B013770}"/>
              </a:ext>
            </a:extLst>
          </p:cNvPr>
          <p:cNvSpPr/>
          <p:nvPr/>
        </p:nvSpPr>
        <p:spPr>
          <a:xfrm>
            <a:off x="4719232" y="5143056"/>
            <a:ext cx="739960" cy="152189"/>
          </a:xfrm>
          <a:prstGeom prst="ellipse">
            <a:avLst/>
          </a:prstGeom>
          <a:solidFill>
            <a:schemeClr val="tx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42" name="Free-form: Shape 441">
            <a:extLst>
              <a:ext uri="{FF2B5EF4-FFF2-40B4-BE49-F238E27FC236}">
                <a16:creationId xmlns:a16="http://schemas.microsoft.com/office/drawing/2014/main" id="{E119C53D-B81B-3EF6-2DCD-639A0EDA41D5}"/>
              </a:ext>
            </a:extLst>
          </p:cNvPr>
          <p:cNvSpPr/>
          <p:nvPr/>
        </p:nvSpPr>
        <p:spPr>
          <a:xfrm>
            <a:off x="4799196" y="3841479"/>
            <a:ext cx="650203" cy="1414846"/>
          </a:xfrm>
          <a:custGeom>
            <a:avLst/>
            <a:gdLst>
              <a:gd name="csX0" fmla="*/ 466852 w 715223"/>
              <a:gd name="csY0" fmla="*/ 229083 h 1556330"/>
              <a:gd name="csX1" fmla="*/ 462328 w 715223"/>
              <a:gd name="csY1" fmla="*/ 242604 h 1556330"/>
              <a:gd name="csX2" fmla="*/ 496944 w 715223"/>
              <a:gd name="csY2" fmla="*/ 204739 h 1556330"/>
              <a:gd name="csX3" fmla="*/ 534359 w 715223"/>
              <a:gd name="csY3" fmla="*/ 270960 h 1556330"/>
              <a:gd name="csX4" fmla="*/ 540589 w 715223"/>
              <a:gd name="csY4" fmla="*/ 445986 h 1556330"/>
              <a:gd name="csX5" fmla="*/ 509727 w 715223"/>
              <a:gd name="csY5" fmla="*/ 496924 h 1556330"/>
              <a:gd name="csX6" fmla="*/ 505366 w 715223"/>
              <a:gd name="csY6" fmla="*/ 511893 h 1556330"/>
              <a:gd name="csX7" fmla="*/ 501982 w 715223"/>
              <a:gd name="csY7" fmla="*/ 530377 h 1556330"/>
              <a:gd name="csX8" fmla="*/ 505678 w 715223"/>
              <a:gd name="csY8" fmla="*/ 556455 h 1556330"/>
              <a:gd name="csX9" fmla="*/ 526115 w 715223"/>
              <a:gd name="csY9" fmla="*/ 591784 h 1556330"/>
              <a:gd name="csX10" fmla="*/ 541579 w 715223"/>
              <a:gd name="csY10" fmla="*/ 612264 h 1556330"/>
              <a:gd name="csX11" fmla="*/ 569572 w 715223"/>
              <a:gd name="csY11" fmla="*/ 643441 h 1556330"/>
              <a:gd name="csX12" fmla="*/ 555234 w 715223"/>
              <a:gd name="csY12" fmla="*/ 688473 h 1556330"/>
              <a:gd name="csX13" fmla="*/ 513278 w 715223"/>
              <a:gd name="csY13" fmla="*/ 700556 h 1556330"/>
              <a:gd name="csX14" fmla="*/ 488559 w 715223"/>
              <a:gd name="csY14" fmla="*/ 702821 h 1556330"/>
              <a:gd name="csX15" fmla="*/ 488544 w 715223"/>
              <a:gd name="csY15" fmla="*/ 718085 h 1556330"/>
              <a:gd name="csX16" fmla="*/ 526561 w 715223"/>
              <a:gd name="csY16" fmla="*/ 1010212 h 1556330"/>
              <a:gd name="csX17" fmla="*/ 569986 w 715223"/>
              <a:gd name="csY17" fmla="*/ 1153317 h 1556330"/>
              <a:gd name="csX18" fmla="*/ 587389 w 715223"/>
              <a:gd name="csY18" fmla="*/ 1172173 h 1556330"/>
              <a:gd name="csX19" fmla="*/ 606286 w 715223"/>
              <a:gd name="csY19" fmla="*/ 1180891 h 1556330"/>
              <a:gd name="csX20" fmla="*/ 613400 w 715223"/>
              <a:gd name="csY20" fmla="*/ 1204260 h 1556330"/>
              <a:gd name="csX21" fmla="*/ 605350 w 715223"/>
              <a:gd name="csY21" fmla="*/ 1216760 h 1556330"/>
              <a:gd name="csX22" fmla="*/ 600268 w 715223"/>
              <a:gd name="csY22" fmla="*/ 1220273 h 1556330"/>
              <a:gd name="csX23" fmla="*/ 610574 w 715223"/>
              <a:gd name="csY23" fmla="*/ 1258750 h 1556330"/>
              <a:gd name="csX24" fmla="*/ 672371 w 715223"/>
              <a:gd name="csY24" fmla="*/ 1319810 h 1556330"/>
              <a:gd name="csX25" fmla="*/ 675494 w 715223"/>
              <a:gd name="csY25" fmla="*/ 1323366 h 1556330"/>
              <a:gd name="csX26" fmla="*/ 692949 w 715223"/>
              <a:gd name="csY26" fmla="*/ 1396068 h 1556330"/>
              <a:gd name="csX27" fmla="*/ 690628 w 715223"/>
              <a:gd name="csY27" fmla="*/ 1414117 h 1556330"/>
              <a:gd name="csX28" fmla="*/ 695588 w 715223"/>
              <a:gd name="csY28" fmla="*/ 1421035 h 1556330"/>
              <a:gd name="csX29" fmla="*/ 694353 w 715223"/>
              <a:gd name="csY29" fmla="*/ 1425190 h 1556330"/>
              <a:gd name="csX30" fmla="*/ 689106 w 715223"/>
              <a:gd name="csY30" fmla="*/ 1428714 h 1556330"/>
              <a:gd name="csX31" fmla="*/ 695093 w 715223"/>
              <a:gd name="csY31" fmla="*/ 1428433 h 1556330"/>
              <a:gd name="csX32" fmla="*/ 697643 w 715223"/>
              <a:gd name="csY32" fmla="*/ 1432864 h 1556330"/>
              <a:gd name="csX33" fmla="*/ 698207 w 715223"/>
              <a:gd name="csY33" fmla="*/ 1441988 h 1556330"/>
              <a:gd name="csX34" fmla="*/ 715183 w 715223"/>
              <a:gd name="csY34" fmla="*/ 1508752 h 1556330"/>
              <a:gd name="csX35" fmla="*/ 701540 w 715223"/>
              <a:gd name="csY35" fmla="*/ 1526524 h 1556330"/>
              <a:gd name="csX36" fmla="*/ 581715 w 715223"/>
              <a:gd name="csY36" fmla="*/ 1548559 h 1556330"/>
              <a:gd name="csX37" fmla="*/ 522168 w 715223"/>
              <a:gd name="csY37" fmla="*/ 1553543 h 1556330"/>
              <a:gd name="csX38" fmla="*/ 450008 w 715223"/>
              <a:gd name="csY38" fmla="*/ 1556019 h 1556330"/>
              <a:gd name="csX39" fmla="*/ 245169 w 715223"/>
              <a:gd name="csY39" fmla="*/ 1553749 h 1556330"/>
              <a:gd name="csX40" fmla="*/ 221854 w 715223"/>
              <a:gd name="csY40" fmla="*/ 1553306 h 1556330"/>
              <a:gd name="csX41" fmla="*/ 168405 w 715223"/>
              <a:gd name="csY41" fmla="*/ 1548828 h 1556330"/>
              <a:gd name="csX42" fmla="*/ 126970 w 715223"/>
              <a:gd name="csY42" fmla="*/ 1546091 h 1556330"/>
              <a:gd name="csX43" fmla="*/ 104053 w 715223"/>
              <a:gd name="csY43" fmla="*/ 1542912 h 1556330"/>
              <a:gd name="csX44" fmla="*/ 65625 w 715223"/>
              <a:gd name="csY44" fmla="*/ 1536401 h 1556330"/>
              <a:gd name="csX45" fmla="*/ 10909 w 715223"/>
              <a:gd name="csY45" fmla="*/ 1524010 h 1556330"/>
              <a:gd name="csX46" fmla="*/ 8 w 715223"/>
              <a:gd name="csY46" fmla="*/ 1509263 h 1556330"/>
              <a:gd name="csX47" fmla="*/ 21158 w 715223"/>
              <a:gd name="csY47" fmla="*/ 1433611 h 1556330"/>
              <a:gd name="csX48" fmla="*/ 23462 w 715223"/>
              <a:gd name="csY48" fmla="*/ 1418658 h 1556330"/>
              <a:gd name="csX49" fmla="*/ 19643 w 715223"/>
              <a:gd name="csY49" fmla="*/ 1382324 h 1556330"/>
              <a:gd name="csX50" fmla="*/ 49060 w 715223"/>
              <a:gd name="csY50" fmla="*/ 1311832 h 1556330"/>
              <a:gd name="csX51" fmla="*/ 109176 w 715223"/>
              <a:gd name="csY51" fmla="*/ 1254078 h 1556330"/>
              <a:gd name="csX52" fmla="*/ 118319 w 715223"/>
              <a:gd name="csY52" fmla="*/ 1214801 h 1556330"/>
              <a:gd name="csX53" fmla="*/ 113082 w 715223"/>
              <a:gd name="csY53" fmla="*/ 1201084 h 1556330"/>
              <a:gd name="csX54" fmla="*/ 120417 w 715223"/>
              <a:gd name="csY54" fmla="*/ 1183950 h 1556330"/>
              <a:gd name="csX55" fmla="*/ 135209 w 715223"/>
              <a:gd name="csY55" fmla="*/ 1178138 h 1556330"/>
              <a:gd name="csX56" fmla="*/ 156535 w 715223"/>
              <a:gd name="csY56" fmla="*/ 1156396 h 1556330"/>
              <a:gd name="csX57" fmla="*/ 185647 w 715223"/>
              <a:gd name="csY57" fmla="*/ 1061682 h 1556330"/>
              <a:gd name="csX58" fmla="*/ 201074 w 715223"/>
              <a:gd name="csY58" fmla="*/ 1005093 h 1556330"/>
              <a:gd name="csX59" fmla="*/ 213864 w 715223"/>
              <a:gd name="csY59" fmla="*/ 943040 h 1556330"/>
              <a:gd name="csX60" fmla="*/ 223580 w 715223"/>
              <a:gd name="csY60" fmla="*/ 884167 h 1556330"/>
              <a:gd name="csX61" fmla="*/ 228827 w 715223"/>
              <a:gd name="csY61" fmla="*/ 839382 h 1556330"/>
              <a:gd name="csX62" fmla="*/ 233251 w 715223"/>
              <a:gd name="csY62" fmla="*/ 794539 h 1556330"/>
              <a:gd name="csX63" fmla="*/ 233413 w 715223"/>
              <a:gd name="csY63" fmla="*/ 708554 h 1556330"/>
              <a:gd name="csX64" fmla="*/ 232253 w 715223"/>
              <a:gd name="csY64" fmla="*/ 699181 h 1556330"/>
              <a:gd name="csX65" fmla="*/ 192775 w 715223"/>
              <a:gd name="csY65" fmla="*/ 693131 h 1556330"/>
              <a:gd name="csX66" fmla="*/ 166222 w 715223"/>
              <a:gd name="csY66" fmla="*/ 684229 h 1556330"/>
              <a:gd name="csX67" fmla="*/ 153485 w 715223"/>
              <a:gd name="csY67" fmla="*/ 649704 h 1556330"/>
              <a:gd name="csX68" fmla="*/ 179302 w 715223"/>
              <a:gd name="csY68" fmla="*/ 621006 h 1556330"/>
              <a:gd name="csX69" fmla="*/ 192182 w 715223"/>
              <a:gd name="csY69" fmla="*/ 601675 h 1556330"/>
              <a:gd name="csX70" fmla="*/ 204894 w 715223"/>
              <a:gd name="csY70" fmla="*/ 583417 h 1556330"/>
              <a:gd name="csX71" fmla="*/ 233213 w 715223"/>
              <a:gd name="csY71" fmla="*/ 564393 h 1556330"/>
              <a:gd name="csX72" fmla="*/ 229725 w 715223"/>
              <a:gd name="csY72" fmla="*/ 538177 h 1556330"/>
              <a:gd name="csX73" fmla="*/ 218771 w 715223"/>
              <a:gd name="csY73" fmla="*/ 532633 h 1556330"/>
              <a:gd name="csX74" fmla="*/ 215183 w 715223"/>
              <a:gd name="csY74" fmla="*/ 521568 h 1556330"/>
              <a:gd name="csX75" fmla="*/ 223368 w 715223"/>
              <a:gd name="csY75" fmla="*/ 508901 h 1556330"/>
              <a:gd name="csX76" fmla="*/ 218372 w 715223"/>
              <a:gd name="csY76" fmla="*/ 498135 h 1556330"/>
              <a:gd name="csX77" fmla="*/ 181440 w 715223"/>
              <a:gd name="csY77" fmla="*/ 432308 h 1556330"/>
              <a:gd name="csX78" fmla="*/ 167535 w 715223"/>
              <a:gd name="csY78" fmla="*/ 349841 h 1556330"/>
              <a:gd name="csX79" fmla="*/ 193488 w 715223"/>
              <a:gd name="csY79" fmla="*/ 262518 h 1556330"/>
              <a:gd name="csX80" fmla="*/ 237748 w 715223"/>
              <a:gd name="csY80" fmla="*/ 190690 h 1556330"/>
              <a:gd name="csX81" fmla="*/ 309459 w 715223"/>
              <a:gd name="csY81" fmla="*/ 102623 h 1556330"/>
              <a:gd name="csX82" fmla="*/ 310459 w 715223"/>
              <a:gd name="csY82" fmla="*/ 78521 h 1556330"/>
              <a:gd name="csX83" fmla="*/ 300267 w 715223"/>
              <a:gd name="csY83" fmla="*/ 57856 h 1556330"/>
              <a:gd name="csX84" fmla="*/ 332242 w 715223"/>
              <a:gd name="csY84" fmla="*/ 4422 h 1556330"/>
              <a:gd name="csX85" fmla="*/ 384904 w 715223"/>
              <a:gd name="csY85" fmla="*/ 5551 h 1556330"/>
              <a:gd name="csX86" fmla="*/ 409773 w 715223"/>
              <a:gd name="csY86" fmla="*/ 26778 h 1556330"/>
              <a:gd name="csX87" fmla="*/ 407026 w 715223"/>
              <a:gd name="csY87" fmla="*/ 46052 h 1556330"/>
              <a:gd name="csX88" fmla="*/ 402771 w 715223"/>
              <a:gd name="csY88" fmla="*/ 30951 h 1556330"/>
              <a:gd name="csX89" fmla="*/ 397038 w 715223"/>
              <a:gd name="csY89" fmla="*/ 30361 h 1556330"/>
              <a:gd name="csX90" fmla="*/ 360694 w 715223"/>
              <a:gd name="csY90" fmla="*/ 22760 h 1556330"/>
              <a:gd name="csX91" fmla="*/ 351669 w 715223"/>
              <a:gd name="csY91" fmla="*/ 31736 h 1556330"/>
              <a:gd name="csX92" fmla="*/ 351426 w 715223"/>
              <a:gd name="csY92" fmla="*/ 43987 h 1556330"/>
              <a:gd name="csX93" fmla="*/ 390968 w 715223"/>
              <a:gd name="csY93" fmla="*/ 68762 h 1556330"/>
              <a:gd name="csX94" fmla="*/ 401770 w 715223"/>
              <a:gd name="csY94" fmla="*/ 59025 h 1556330"/>
              <a:gd name="csX95" fmla="*/ 409619 w 715223"/>
              <a:gd name="csY95" fmla="*/ 55786 h 1556330"/>
              <a:gd name="csX96" fmla="*/ 410427 w 715223"/>
              <a:gd name="csY96" fmla="*/ 64256 h 1556330"/>
              <a:gd name="csX97" fmla="*/ 399453 w 715223"/>
              <a:gd name="csY97" fmla="*/ 81811 h 1556330"/>
              <a:gd name="csX98" fmla="*/ 399346 w 715223"/>
              <a:gd name="csY98" fmla="*/ 98083 h 1556330"/>
              <a:gd name="csX99" fmla="*/ 471592 w 715223"/>
              <a:gd name="csY99" fmla="*/ 180524 h 1556330"/>
              <a:gd name="csX100" fmla="*/ 473550 w 715223"/>
              <a:gd name="csY100" fmla="*/ 200923 h 1556330"/>
              <a:gd name="csX101" fmla="*/ 463677 w 715223"/>
              <a:gd name="csY101" fmla="*/ 223311 h 1556330"/>
              <a:gd name="csX102" fmla="*/ 466852 w 715223"/>
              <a:gd name="csY102" fmla="*/ 229083 h 1556330"/>
              <a:gd name="csX103" fmla="*/ 474186 w 715223"/>
              <a:gd name="csY103" fmla="*/ 928382 h 1556330"/>
              <a:gd name="csX104" fmla="*/ 459927 w 715223"/>
              <a:gd name="csY104" fmla="*/ 817790 h 1556330"/>
              <a:gd name="csX105" fmla="*/ 456025 w 715223"/>
              <a:gd name="csY105" fmla="*/ 706469 h 1556330"/>
              <a:gd name="csX106" fmla="*/ 366863 w 715223"/>
              <a:gd name="csY106" fmla="*/ 710754 h 1556330"/>
              <a:gd name="csX107" fmla="*/ 366159 w 715223"/>
              <a:gd name="csY107" fmla="*/ 719219 h 1556330"/>
              <a:gd name="csX108" fmla="*/ 364159 w 715223"/>
              <a:gd name="csY108" fmla="*/ 834581 h 1556330"/>
              <a:gd name="csX109" fmla="*/ 361633 w 715223"/>
              <a:gd name="csY109" fmla="*/ 940117 h 1556330"/>
              <a:gd name="csX110" fmla="*/ 358313 w 715223"/>
              <a:gd name="csY110" fmla="*/ 1053005 h 1556330"/>
              <a:gd name="csX111" fmla="*/ 358081 w 715223"/>
              <a:gd name="csY111" fmla="*/ 1057912 h 1556330"/>
              <a:gd name="csX112" fmla="*/ 353706 w 715223"/>
              <a:gd name="csY112" fmla="*/ 1164570 h 1556330"/>
              <a:gd name="csX113" fmla="*/ 354951 w 715223"/>
              <a:gd name="csY113" fmla="*/ 1172547 h 1556330"/>
              <a:gd name="csX114" fmla="*/ 540959 w 715223"/>
              <a:gd name="csY114" fmla="*/ 1175972 h 1556330"/>
              <a:gd name="csX115" fmla="*/ 474186 w 715223"/>
              <a:gd name="csY115" fmla="*/ 928382 h 1556330"/>
              <a:gd name="csX116" fmla="*/ 513768 w 715223"/>
              <a:gd name="csY116" fmla="*/ 1417676 h 1556330"/>
              <a:gd name="csX117" fmla="*/ 519822 w 715223"/>
              <a:gd name="csY117" fmla="*/ 1416700 h 1556330"/>
              <a:gd name="csX118" fmla="*/ 632041 w 715223"/>
              <a:gd name="csY118" fmla="*/ 1406122 h 1556330"/>
              <a:gd name="csX119" fmla="*/ 665040 w 715223"/>
              <a:gd name="csY119" fmla="*/ 1400634 h 1556330"/>
              <a:gd name="csX120" fmla="*/ 665677 w 715223"/>
              <a:gd name="csY120" fmla="*/ 1396126 h 1556330"/>
              <a:gd name="csX121" fmla="*/ 665529 w 715223"/>
              <a:gd name="csY121" fmla="*/ 1389994 h 1556330"/>
              <a:gd name="csX122" fmla="*/ 623046 w 715223"/>
              <a:gd name="csY122" fmla="*/ 1306238 h 1556330"/>
              <a:gd name="csX123" fmla="*/ 596015 w 715223"/>
              <a:gd name="csY123" fmla="*/ 1281285 h 1556330"/>
              <a:gd name="csX124" fmla="*/ 567683 w 715223"/>
              <a:gd name="csY124" fmla="*/ 1220059 h 1556330"/>
              <a:gd name="csX125" fmla="*/ 540273 w 715223"/>
              <a:gd name="csY125" fmla="*/ 1220129 h 1556330"/>
              <a:gd name="csX126" fmla="*/ 424010 w 715223"/>
              <a:gd name="csY126" fmla="*/ 1226781 h 1556330"/>
              <a:gd name="csX127" fmla="*/ 357832 w 715223"/>
              <a:gd name="csY127" fmla="*/ 1229178 h 1556330"/>
              <a:gd name="csX128" fmla="*/ 352386 w 715223"/>
              <a:gd name="csY128" fmla="*/ 1230616 h 1556330"/>
              <a:gd name="csX129" fmla="*/ 355852 w 715223"/>
              <a:gd name="csY129" fmla="*/ 1324222 h 1556330"/>
              <a:gd name="csX130" fmla="*/ 352930 w 715223"/>
              <a:gd name="csY130" fmla="*/ 1417867 h 1556330"/>
              <a:gd name="csX131" fmla="*/ 513768 w 715223"/>
              <a:gd name="csY131" fmla="*/ 1417676 h 1556330"/>
              <a:gd name="csX132" fmla="*/ 387930 w 715223"/>
              <a:gd name="csY132" fmla="*/ 499741 h 1556330"/>
              <a:gd name="csX133" fmla="*/ 456529 w 715223"/>
              <a:gd name="csY133" fmla="*/ 496826 h 1556330"/>
              <a:gd name="csX134" fmla="*/ 482355 w 715223"/>
              <a:gd name="csY134" fmla="*/ 485095 h 1556330"/>
              <a:gd name="csX135" fmla="*/ 528016 w 715223"/>
              <a:gd name="csY135" fmla="*/ 374829 h 1556330"/>
              <a:gd name="csX136" fmla="*/ 501375 w 715223"/>
              <a:gd name="csY136" fmla="*/ 261643 h 1556330"/>
              <a:gd name="csX137" fmla="*/ 493534 w 715223"/>
              <a:gd name="csY137" fmla="*/ 249818 h 1556330"/>
              <a:gd name="csX138" fmla="*/ 485920 w 715223"/>
              <a:gd name="csY138" fmla="*/ 260010 h 1556330"/>
              <a:gd name="csX139" fmla="*/ 453305 w 715223"/>
              <a:gd name="csY139" fmla="*/ 310523 h 1556330"/>
              <a:gd name="csX140" fmla="*/ 433678 w 715223"/>
              <a:gd name="csY140" fmla="*/ 338672 h 1556330"/>
              <a:gd name="csX141" fmla="*/ 403713 w 715223"/>
              <a:gd name="csY141" fmla="*/ 343710 h 1556330"/>
              <a:gd name="csX142" fmla="*/ 396427 w 715223"/>
              <a:gd name="csY142" fmla="*/ 315612 h 1556330"/>
              <a:gd name="csX143" fmla="*/ 399663 w 715223"/>
              <a:gd name="csY143" fmla="*/ 309000 h 1556330"/>
              <a:gd name="csX144" fmla="*/ 452097 w 715223"/>
              <a:gd name="csY144" fmla="*/ 200770 h 1556330"/>
              <a:gd name="csX145" fmla="*/ 450118 w 715223"/>
              <a:gd name="csY145" fmla="*/ 180596 h 1556330"/>
              <a:gd name="csX146" fmla="*/ 376545 w 715223"/>
              <a:gd name="csY146" fmla="*/ 105525 h 1556330"/>
              <a:gd name="csX147" fmla="*/ 368791 w 715223"/>
              <a:gd name="csY147" fmla="*/ 101653 h 1556330"/>
              <a:gd name="csX148" fmla="*/ 366449 w 715223"/>
              <a:gd name="csY148" fmla="*/ 144676 h 1556330"/>
              <a:gd name="csX149" fmla="*/ 365447 w 715223"/>
              <a:gd name="csY149" fmla="*/ 183946 h 1556330"/>
              <a:gd name="csX150" fmla="*/ 364738 w 715223"/>
              <a:gd name="csY150" fmla="*/ 298022 h 1556330"/>
              <a:gd name="csX151" fmla="*/ 373865 w 715223"/>
              <a:gd name="csY151" fmla="*/ 430096 h 1556330"/>
              <a:gd name="csX152" fmla="*/ 381088 w 715223"/>
              <a:gd name="csY152" fmla="*/ 492169 h 1556330"/>
              <a:gd name="csX153" fmla="*/ 387930 w 715223"/>
              <a:gd name="csY153" fmla="*/ 499741 h 1556330"/>
              <a:gd name="csX154" fmla="*/ 455850 w 715223"/>
              <a:gd name="csY154" fmla="*/ 1521476 h 1556330"/>
              <a:gd name="csX155" fmla="*/ 685121 w 715223"/>
              <a:gd name="csY155" fmla="*/ 1496509 h 1556330"/>
              <a:gd name="csX156" fmla="*/ 672999 w 715223"/>
              <a:gd name="csY156" fmla="*/ 1456665 h 1556330"/>
              <a:gd name="csX157" fmla="*/ 660009 w 715223"/>
              <a:gd name="csY157" fmla="*/ 1450249 h 1556330"/>
              <a:gd name="csX158" fmla="*/ 633248 w 715223"/>
              <a:gd name="csY158" fmla="*/ 1453589 h 1556330"/>
              <a:gd name="csX159" fmla="*/ 451131 w 715223"/>
              <a:gd name="csY159" fmla="*/ 1467458 h 1556330"/>
              <a:gd name="csX160" fmla="*/ 362719 w 715223"/>
              <a:gd name="csY160" fmla="*/ 1467934 h 1556330"/>
              <a:gd name="csX161" fmla="*/ 349983 w 715223"/>
              <a:gd name="csY161" fmla="*/ 1467936 h 1556330"/>
              <a:gd name="csX162" fmla="*/ 352220 w 715223"/>
              <a:gd name="csY162" fmla="*/ 1519140 h 1556330"/>
              <a:gd name="csX163" fmla="*/ 455850 w 715223"/>
              <a:gd name="csY163" fmla="*/ 1521476 h 1556330"/>
              <a:gd name="csX164" fmla="*/ 368682 w 715223"/>
              <a:gd name="csY164" fmla="*/ 544846 h 1556330"/>
              <a:gd name="csX165" fmla="*/ 363600 w 715223"/>
              <a:gd name="csY165" fmla="*/ 605633 h 1556330"/>
              <a:gd name="csX166" fmla="*/ 496351 w 715223"/>
              <a:gd name="csY166" fmla="*/ 601466 h 1556330"/>
              <a:gd name="csX167" fmla="*/ 485068 w 715223"/>
              <a:gd name="csY167" fmla="*/ 579288 h 1556330"/>
              <a:gd name="csX168" fmla="*/ 466524 w 715223"/>
              <a:gd name="csY168" fmla="*/ 541026 h 1556330"/>
              <a:gd name="csX169" fmla="*/ 465000 w 715223"/>
              <a:gd name="csY169" fmla="*/ 536289 h 1556330"/>
              <a:gd name="csX170" fmla="*/ 451328 w 715223"/>
              <a:gd name="csY170" fmla="*/ 536316 h 1556330"/>
              <a:gd name="csX171" fmla="*/ 390140 w 715223"/>
              <a:gd name="csY171" fmla="*/ 538979 h 1556330"/>
              <a:gd name="csX172" fmla="*/ 374215 w 715223"/>
              <a:gd name="csY172" fmla="*/ 539303 h 1556330"/>
              <a:gd name="csX173" fmla="*/ 368682 w 715223"/>
              <a:gd name="csY173" fmla="*/ 544846 h 1556330"/>
              <a:gd name="csX174" fmla="*/ 453915 w 715223"/>
              <a:gd name="csY174" fmla="*/ 635267 h 1556330"/>
              <a:gd name="csX175" fmla="*/ 374200 w 715223"/>
              <a:gd name="csY175" fmla="*/ 639402 h 1556330"/>
              <a:gd name="csX176" fmla="*/ 374200 w 715223"/>
              <a:gd name="csY176" fmla="*/ 673206 h 1556330"/>
              <a:gd name="csX177" fmla="*/ 386639 w 715223"/>
              <a:gd name="csY177" fmla="*/ 673718 h 1556330"/>
              <a:gd name="csX178" fmla="*/ 521198 w 715223"/>
              <a:gd name="csY178" fmla="*/ 668541 h 1556330"/>
              <a:gd name="csX179" fmla="*/ 534198 w 715223"/>
              <a:gd name="csY179" fmla="*/ 665521 h 1556330"/>
              <a:gd name="csX180" fmla="*/ 538413 w 715223"/>
              <a:gd name="csY180" fmla="*/ 652526 h 1556330"/>
              <a:gd name="csX181" fmla="*/ 529377 w 715223"/>
              <a:gd name="csY181" fmla="*/ 642895 h 1556330"/>
              <a:gd name="csX182" fmla="*/ 502829 w 715223"/>
              <a:gd name="csY182" fmla="*/ 634808 h 1556330"/>
              <a:gd name="csX183" fmla="*/ 453915 w 715223"/>
              <a:gd name="csY183" fmla="*/ 635267 h 155633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  <a:cxn ang="0">
                <a:pos x="csX170" y="csY170"/>
              </a:cxn>
              <a:cxn ang="0">
                <a:pos x="csX171" y="csY171"/>
              </a:cxn>
              <a:cxn ang="0">
                <a:pos x="csX172" y="csY172"/>
              </a:cxn>
              <a:cxn ang="0">
                <a:pos x="csX173" y="csY173"/>
              </a:cxn>
              <a:cxn ang="0">
                <a:pos x="csX174" y="csY174"/>
              </a:cxn>
              <a:cxn ang="0">
                <a:pos x="csX175" y="csY175"/>
              </a:cxn>
              <a:cxn ang="0">
                <a:pos x="csX176" y="csY176"/>
              </a:cxn>
              <a:cxn ang="0">
                <a:pos x="csX177" y="csY177"/>
              </a:cxn>
              <a:cxn ang="0">
                <a:pos x="csX178" y="csY178"/>
              </a:cxn>
              <a:cxn ang="0">
                <a:pos x="csX179" y="csY179"/>
              </a:cxn>
              <a:cxn ang="0">
                <a:pos x="csX180" y="csY180"/>
              </a:cxn>
              <a:cxn ang="0">
                <a:pos x="csX181" y="csY181"/>
              </a:cxn>
              <a:cxn ang="0">
                <a:pos x="csX182" y="csY182"/>
              </a:cxn>
              <a:cxn ang="0">
                <a:pos x="csX183" y="csY183"/>
              </a:cxn>
            </a:cxnLst>
            <a:rect l="l" t="t" r="r" b="b"/>
            <a:pathLst>
              <a:path w="715223" h="1556330">
                <a:moveTo>
                  <a:pt x="466852" y="229083"/>
                </a:moveTo>
                <a:cubicBezTo>
                  <a:pt x="465344" y="233590"/>
                  <a:pt x="463836" y="238097"/>
                  <a:pt x="462328" y="242604"/>
                </a:cubicBezTo>
                <a:cubicBezTo>
                  <a:pt x="476604" y="232528"/>
                  <a:pt x="484219" y="216936"/>
                  <a:pt x="496944" y="204739"/>
                </a:cubicBezTo>
                <a:cubicBezTo>
                  <a:pt x="511903" y="225901"/>
                  <a:pt x="524807" y="247414"/>
                  <a:pt x="534359" y="270960"/>
                </a:cubicBezTo>
                <a:cubicBezTo>
                  <a:pt x="557740" y="328591"/>
                  <a:pt x="560223" y="386926"/>
                  <a:pt x="540589" y="445986"/>
                </a:cubicBezTo>
                <a:cubicBezTo>
                  <a:pt x="534197" y="465215"/>
                  <a:pt x="524450" y="482672"/>
                  <a:pt x="509727" y="496924"/>
                </a:cubicBezTo>
                <a:cubicBezTo>
                  <a:pt x="505277" y="501232"/>
                  <a:pt x="502734" y="505157"/>
                  <a:pt x="505366" y="511893"/>
                </a:cubicBezTo>
                <a:cubicBezTo>
                  <a:pt x="507828" y="518196"/>
                  <a:pt x="505953" y="524402"/>
                  <a:pt x="501982" y="530377"/>
                </a:cubicBezTo>
                <a:cubicBezTo>
                  <a:pt x="495613" y="539961"/>
                  <a:pt x="496865" y="548901"/>
                  <a:pt x="505678" y="556455"/>
                </a:cubicBezTo>
                <a:cubicBezTo>
                  <a:pt x="516748" y="565943"/>
                  <a:pt x="523694" y="577557"/>
                  <a:pt x="526115" y="591784"/>
                </a:cubicBezTo>
                <a:cubicBezTo>
                  <a:pt x="527758" y="601445"/>
                  <a:pt x="532593" y="608029"/>
                  <a:pt x="541579" y="612264"/>
                </a:cubicBezTo>
                <a:cubicBezTo>
                  <a:pt x="555150" y="618662"/>
                  <a:pt x="564081" y="629523"/>
                  <a:pt x="569572" y="643441"/>
                </a:cubicBezTo>
                <a:cubicBezTo>
                  <a:pt x="576413" y="660776"/>
                  <a:pt x="570996" y="678245"/>
                  <a:pt x="555234" y="688473"/>
                </a:cubicBezTo>
                <a:cubicBezTo>
                  <a:pt x="542486" y="696746"/>
                  <a:pt x="528127" y="699474"/>
                  <a:pt x="513278" y="700556"/>
                </a:cubicBezTo>
                <a:cubicBezTo>
                  <a:pt x="505590" y="701115"/>
                  <a:pt x="497922" y="701952"/>
                  <a:pt x="488559" y="702821"/>
                </a:cubicBezTo>
                <a:cubicBezTo>
                  <a:pt x="488559" y="708552"/>
                  <a:pt x="488653" y="713320"/>
                  <a:pt x="488544" y="718085"/>
                </a:cubicBezTo>
                <a:cubicBezTo>
                  <a:pt x="486284" y="817406"/>
                  <a:pt x="502313" y="914319"/>
                  <a:pt x="526561" y="1010212"/>
                </a:cubicBezTo>
                <a:cubicBezTo>
                  <a:pt x="538799" y="1058612"/>
                  <a:pt x="553050" y="1106345"/>
                  <a:pt x="569986" y="1153317"/>
                </a:cubicBezTo>
                <a:cubicBezTo>
                  <a:pt x="573328" y="1162590"/>
                  <a:pt x="578279" y="1168740"/>
                  <a:pt x="587389" y="1172173"/>
                </a:cubicBezTo>
                <a:cubicBezTo>
                  <a:pt x="593869" y="1174616"/>
                  <a:pt x="600289" y="1177449"/>
                  <a:pt x="606286" y="1180891"/>
                </a:cubicBezTo>
                <a:cubicBezTo>
                  <a:pt x="617185" y="1187146"/>
                  <a:pt x="618776" y="1192931"/>
                  <a:pt x="613400" y="1204260"/>
                </a:cubicBezTo>
                <a:cubicBezTo>
                  <a:pt x="611475" y="1208315"/>
                  <a:pt x="609140" y="1212177"/>
                  <a:pt x="605350" y="1216760"/>
                </a:cubicBezTo>
                <a:cubicBezTo>
                  <a:pt x="602514" y="1218347"/>
                  <a:pt x="600399" y="1219189"/>
                  <a:pt x="600268" y="1220273"/>
                </a:cubicBezTo>
                <a:cubicBezTo>
                  <a:pt x="598551" y="1234430"/>
                  <a:pt x="599473" y="1247881"/>
                  <a:pt x="610574" y="1258750"/>
                </a:cubicBezTo>
                <a:cubicBezTo>
                  <a:pt x="631265" y="1279009"/>
                  <a:pt x="651790" y="1299438"/>
                  <a:pt x="672371" y="1319810"/>
                </a:cubicBezTo>
                <a:cubicBezTo>
                  <a:pt x="673495" y="1320922"/>
                  <a:pt x="674892" y="1321987"/>
                  <a:pt x="675494" y="1323366"/>
                </a:cubicBezTo>
                <a:cubicBezTo>
                  <a:pt x="685626" y="1346558"/>
                  <a:pt x="694775" y="1370031"/>
                  <a:pt x="692949" y="1396068"/>
                </a:cubicBezTo>
                <a:cubicBezTo>
                  <a:pt x="692525" y="1402108"/>
                  <a:pt x="691276" y="1408087"/>
                  <a:pt x="690628" y="1414117"/>
                </a:cubicBezTo>
                <a:cubicBezTo>
                  <a:pt x="690241" y="1417713"/>
                  <a:pt x="691290" y="1420628"/>
                  <a:pt x="695588" y="1421035"/>
                </a:cubicBezTo>
                <a:cubicBezTo>
                  <a:pt x="695527" y="1422155"/>
                  <a:pt x="695467" y="1423274"/>
                  <a:pt x="694353" y="1425190"/>
                </a:cubicBezTo>
                <a:cubicBezTo>
                  <a:pt x="691901" y="1426894"/>
                  <a:pt x="690503" y="1427804"/>
                  <a:pt x="689106" y="1428714"/>
                </a:cubicBezTo>
                <a:cubicBezTo>
                  <a:pt x="691101" y="1428620"/>
                  <a:pt x="693098" y="1428527"/>
                  <a:pt x="695093" y="1428433"/>
                </a:cubicBezTo>
                <a:cubicBezTo>
                  <a:pt x="695976" y="1429430"/>
                  <a:pt x="696859" y="1430427"/>
                  <a:pt x="697643" y="1432864"/>
                </a:cubicBezTo>
                <a:cubicBezTo>
                  <a:pt x="697724" y="1436887"/>
                  <a:pt x="697087" y="1439912"/>
                  <a:pt x="698207" y="1441988"/>
                </a:cubicBezTo>
                <a:cubicBezTo>
                  <a:pt x="709464" y="1462853"/>
                  <a:pt x="715798" y="1484864"/>
                  <a:pt x="715183" y="1508752"/>
                </a:cubicBezTo>
                <a:cubicBezTo>
                  <a:pt x="714863" y="1521166"/>
                  <a:pt x="713458" y="1523372"/>
                  <a:pt x="701540" y="1526524"/>
                </a:cubicBezTo>
                <a:cubicBezTo>
                  <a:pt x="662165" y="1536936"/>
                  <a:pt x="622006" y="1543243"/>
                  <a:pt x="581715" y="1548559"/>
                </a:cubicBezTo>
                <a:cubicBezTo>
                  <a:pt x="561988" y="1551162"/>
                  <a:pt x="542052" y="1552457"/>
                  <a:pt x="522168" y="1553543"/>
                </a:cubicBezTo>
                <a:cubicBezTo>
                  <a:pt x="498138" y="1554856"/>
                  <a:pt x="474063" y="1556013"/>
                  <a:pt x="450008" y="1556019"/>
                </a:cubicBezTo>
                <a:cubicBezTo>
                  <a:pt x="381724" y="1556035"/>
                  <a:pt x="313415" y="1557550"/>
                  <a:pt x="245169" y="1553749"/>
                </a:cubicBezTo>
                <a:cubicBezTo>
                  <a:pt x="237413" y="1553317"/>
                  <a:pt x="229596" y="1553867"/>
                  <a:pt x="221854" y="1553306"/>
                </a:cubicBezTo>
                <a:cubicBezTo>
                  <a:pt x="204023" y="1552015"/>
                  <a:pt x="186231" y="1550202"/>
                  <a:pt x="168405" y="1548828"/>
                </a:cubicBezTo>
                <a:cubicBezTo>
                  <a:pt x="154605" y="1547764"/>
                  <a:pt x="140762" y="1547242"/>
                  <a:pt x="126970" y="1546091"/>
                </a:cubicBezTo>
                <a:cubicBezTo>
                  <a:pt x="119295" y="1545451"/>
                  <a:pt x="111668" y="1544132"/>
                  <a:pt x="104053" y="1542912"/>
                </a:cubicBezTo>
                <a:cubicBezTo>
                  <a:pt x="91223" y="1540858"/>
                  <a:pt x="78344" y="1539011"/>
                  <a:pt x="65625" y="1536401"/>
                </a:cubicBezTo>
                <a:cubicBezTo>
                  <a:pt x="47307" y="1532642"/>
                  <a:pt x="29006" y="1528694"/>
                  <a:pt x="10909" y="1524010"/>
                </a:cubicBezTo>
                <a:cubicBezTo>
                  <a:pt x="744" y="1521379"/>
                  <a:pt x="119" y="1519620"/>
                  <a:pt x="8" y="1509263"/>
                </a:cubicBezTo>
                <a:cubicBezTo>
                  <a:pt x="-283" y="1482004"/>
                  <a:pt x="7525" y="1456906"/>
                  <a:pt x="21158" y="1433611"/>
                </a:cubicBezTo>
                <a:cubicBezTo>
                  <a:pt x="24128" y="1428537"/>
                  <a:pt x="25100" y="1424162"/>
                  <a:pt x="23462" y="1418658"/>
                </a:cubicBezTo>
                <a:cubicBezTo>
                  <a:pt x="19938" y="1406814"/>
                  <a:pt x="19145" y="1394638"/>
                  <a:pt x="19643" y="1382324"/>
                </a:cubicBezTo>
                <a:cubicBezTo>
                  <a:pt x="20741" y="1355171"/>
                  <a:pt x="29461" y="1331114"/>
                  <a:pt x="49060" y="1311832"/>
                </a:cubicBezTo>
                <a:cubicBezTo>
                  <a:pt x="68866" y="1292344"/>
                  <a:pt x="89102" y="1273294"/>
                  <a:pt x="109176" y="1254078"/>
                </a:cubicBezTo>
                <a:cubicBezTo>
                  <a:pt x="120788" y="1242961"/>
                  <a:pt x="123122" y="1229673"/>
                  <a:pt x="118319" y="1214801"/>
                </a:cubicBezTo>
                <a:cubicBezTo>
                  <a:pt x="116817" y="1210150"/>
                  <a:pt x="114697" y="1205702"/>
                  <a:pt x="113082" y="1201084"/>
                </a:cubicBezTo>
                <a:cubicBezTo>
                  <a:pt x="109606" y="1191147"/>
                  <a:pt x="110855" y="1188189"/>
                  <a:pt x="120417" y="1183950"/>
                </a:cubicBezTo>
                <a:cubicBezTo>
                  <a:pt x="125262" y="1181801"/>
                  <a:pt x="130109" y="1179394"/>
                  <a:pt x="135209" y="1178138"/>
                </a:cubicBezTo>
                <a:cubicBezTo>
                  <a:pt x="146972" y="1175241"/>
                  <a:pt x="153194" y="1166910"/>
                  <a:pt x="156535" y="1156396"/>
                </a:cubicBezTo>
                <a:cubicBezTo>
                  <a:pt x="166535" y="1124919"/>
                  <a:pt x="176229" y="1093339"/>
                  <a:pt x="185647" y="1061682"/>
                </a:cubicBezTo>
                <a:cubicBezTo>
                  <a:pt x="191222" y="1042945"/>
                  <a:pt x="196570" y="1024108"/>
                  <a:pt x="201074" y="1005093"/>
                </a:cubicBezTo>
                <a:cubicBezTo>
                  <a:pt x="205941" y="984550"/>
                  <a:pt x="210000" y="963801"/>
                  <a:pt x="213864" y="943040"/>
                </a:cubicBezTo>
                <a:cubicBezTo>
                  <a:pt x="217503" y="923489"/>
                  <a:pt x="220701" y="903846"/>
                  <a:pt x="223580" y="884167"/>
                </a:cubicBezTo>
                <a:cubicBezTo>
                  <a:pt x="225754" y="869301"/>
                  <a:pt x="227195" y="854324"/>
                  <a:pt x="228827" y="839382"/>
                </a:cubicBezTo>
                <a:cubicBezTo>
                  <a:pt x="230459" y="824446"/>
                  <a:pt x="232880" y="809515"/>
                  <a:pt x="233251" y="794539"/>
                </a:cubicBezTo>
                <a:cubicBezTo>
                  <a:pt x="233961" y="765893"/>
                  <a:pt x="233499" y="737217"/>
                  <a:pt x="233413" y="708554"/>
                </a:cubicBezTo>
                <a:cubicBezTo>
                  <a:pt x="233404" y="705465"/>
                  <a:pt x="232667" y="702378"/>
                  <a:pt x="232253" y="699181"/>
                </a:cubicBezTo>
                <a:cubicBezTo>
                  <a:pt x="218443" y="697138"/>
                  <a:pt x="205461" y="695831"/>
                  <a:pt x="192775" y="693131"/>
                </a:cubicBezTo>
                <a:cubicBezTo>
                  <a:pt x="183686" y="691197"/>
                  <a:pt x="174549" y="688305"/>
                  <a:pt x="166222" y="684229"/>
                </a:cubicBezTo>
                <a:cubicBezTo>
                  <a:pt x="151266" y="676909"/>
                  <a:pt x="147247" y="664789"/>
                  <a:pt x="153485" y="649704"/>
                </a:cubicBezTo>
                <a:cubicBezTo>
                  <a:pt x="158693" y="637111"/>
                  <a:pt x="168160" y="628190"/>
                  <a:pt x="179302" y="621006"/>
                </a:cubicBezTo>
                <a:cubicBezTo>
                  <a:pt x="186548" y="616334"/>
                  <a:pt x="191317" y="611105"/>
                  <a:pt x="192182" y="601675"/>
                </a:cubicBezTo>
                <a:cubicBezTo>
                  <a:pt x="192878" y="594094"/>
                  <a:pt x="197099" y="587626"/>
                  <a:pt x="204894" y="583417"/>
                </a:cubicBezTo>
                <a:cubicBezTo>
                  <a:pt x="214873" y="578030"/>
                  <a:pt x="224643" y="571774"/>
                  <a:pt x="233213" y="564393"/>
                </a:cubicBezTo>
                <a:cubicBezTo>
                  <a:pt x="242623" y="556289"/>
                  <a:pt x="240441" y="544193"/>
                  <a:pt x="229725" y="538177"/>
                </a:cubicBezTo>
                <a:cubicBezTo>
                  <a:pt x="226159" y="536176"/>
                  <a:pt x="222483" y="534351"/>
                  <a:pt x="218771" y="532633"/>
                </a:cubicBezTo>
                <a:cubicBezTo>
                  <a:pt x="213503" y="530196"/>
                  <a:pt x="212651" y="526226"/>
                  <a:pt x="215183" y="521568"/>
                </a:cubicBezTo>
                <a:cubicBezTo>
                  <a:pt x="217485" y="517332"/>
                  <a:pt x="220405" y="513432"/>
                  <a:pt x="223368" y="508901"/>
                </a:cubicBezTo>
                <a:cubicBezTo>
                  <a:pt x="221781" y="505376"/>
                  <a:pt x="220809" y="501165"/>
                  <a:pt x="218372" y="498135"/>
                </a:cubicBezTo>
                <a:cubicBezTo>
                  <a:pt x="202366" y="478231"/>
                  <a:pt x="190774" y="455961"/>
                  <a:pt x="181440" y="432308"/>
                </a:cubicBezTo>
                <a:cubicBezTo>
                  <a:pt x="170959" y="405748"/>
                  <a:pt x="164933" y="378186"/>
                  <a:pt x="167535" y="349841"/>
                </a:cubicBezTo>
                <a:cubicBezTo>
                  <a:pt x="170341" y="319265"/>
                  <a:pt x="179208" y="289917"/>
                  <a:pt x="193488" y="262518"/>
                </a:cubicBezTo>
                <a:cubicBezTo>
                  <a:pt x="206512" y="237529"/>
                  <a:pt x="220831" y="213359"/>
                  <a:pt x="237748" y="190690"/>
                </a:cubicBezTo>
                <a:cubicBezTo>
                  <a:pt x="260421" y="160310"/>
                  <a:pt x="282602" y="129592"/>
                  <a:pt x="309459" y="102623"/>
                </a:cubicBezTo>
                <a:cubicBezTo>
                  <a:pt x="316627" y="95424"/>
                  <a:pt x="316261" y="87541"/>
                  <a:pt x="310459" y="78521"/>
                </a:cubicBezTo>
                <a:cubicBezTo>
                  <a:pt x="306309" y="72071"/>
                  <a:pt x="301695" y="65150"/>
                  <a:pt x="300267" y="57856"/>
                </a:cubicBezTo>
                <a:cubicBezTo>
                  <a:pt x="295286" y="32423"/>
                  <a:pt x="314502" y="10133"/>
                  <a:pt x="332242" y="4422"/>
                </a:cubicBezTo>
                <a:cubicBezTo>
                  <a:pt x="349540" y="-1148"/>
                  <a:pt x="367530" y="-2176"/>
                  <a:pt x="384904" y="5551"/>
                </a:cubicBezTo>
                <a:cubicBezTo>
                  <a:pt x="395271" y="10161"/>
                  <a:pt x="403310" y="17760"/>
                  <a:pt x="409773" y="26778"/>
                </a:cubicBezTo>
                <a:cubicBezTo>
                  <a:pt x="415168" y="34307"/>
                  <a:pt x="413749" y="41584"/>
                  <a:pt x="407026" y="46052"/>
                </a:cubicBezTo>
                <a:cubicBezTo>
                  <a:pt x="405624" y="40964"/>
                  <a:pt x="404503" y="35849"/>
                  <a:pt x="402771" y="30951"/>
                </a:cubicBezTo>
                <a:cubicBezTo>
                  <a:pt x="401450" y="27216"/>
                  <a:pt x="399383" y="28477"/>
                  <a:pt x="397038" y="30361"/>
                </a:cubicBezTo>
                <a:cubicBezTo>
                  <a:pt x="384440" y="15986"/>
                  <a:pt x="377037" y="14494"/>
                  <a:pt x="360694" y="22760"/>
                </a:cubicBezTo>
                <a:cubicBezTo>
                  <a:pt x="353707" y="22767"/>
                  <a:pt x="352275" y="27176"/>
                  <a:pt x="351669" y="31736"/>
                </a:cubicBezTo>
                <a:cubicBezTo>
                  <a:pt x="351136" y="35760"/>
                  <a:pt x="351383" y="39899"/>
                  <a:pt x="351426" y="43987"/>
                </a:cubicBezTo>
                <a:cubicBezTo>
                  <a:pt x="351648" y="64919"/>
                  <a:pt x="372389" y="78115"/>
                  <a:pt x="390968" y="68762"/>
                </a:cubicBezTo>
                <a:cubicBezTo>
                  <a:pt x="395158" y="66653"/>
                  <a:pt x="398534" y="62629"/>
                  <a:pt x="401770" y="59025"/>
                </a:cubicBezTo>
                <a:cubicBezTo>
                  <a:pt x="404045" y="56491"/>
                  <a:pt x="405661" y="53409"/>
                  <a:pt x="409619" y="55786"/>
                </a:cubicBezTo>
                <a:cubicBezTo>
                  <a:pt x="413544" y="58145"/>
                  <a:pt x="412176" y="61347"/>
                  <a:pt x="410427" y="64256"/>
                </a:cubicBezTo>
                <a:cubicBezTo>
                  <a:pt x="406872" y="70170"/>
                  <a:pt x="403244" y="76046"/>
                  <a:pt x="399453" y="81811"/>
                </a:cubicBezTo>
                <a:cubicBezTo>
                  <a:pt x="394663" y="89097"/>
                  <a:pt x="394382" y="94032"/>
                  <a:pt x="399346" y="98083"/>
                </a:cubicBezTo>
                <a:cubicBezTo>
                  <a:pt x="428062" y="121519"/>
                  <a:pt x="450822" y="150083"/>
                  <a:pt x="471592" y="180524"/>
                </a:cubicBezTo>
                <a:cubicBezTo>
                  <a:pt x="476398" y="187569"/>
                  <a:pt x="476844" y="193688"/>
                  <a:pt x="473550" y="200923"/>
                </a:cubicBezTo>
                <a:cubicBezTo>
                  <a:pt x="470171" y="208346"/>
                  <a:pt x="467091" y="215905"/>
                  <a:pt x="463677" y="223311"/>
                </a:cubicBezTo>
                <a:cubicBezTo>
                  <a:pt x="461993" y="226965"/>
                  <a:pt x="462995" y="228697"/>
                  <a:pt x="466852" y="229083"/>
                </a:cubicBezTo>
                <a:moveTo>
                  <a:pt x="474186" y="928382"/>
                </a:moveTo>
                <a:cubicBezTo>
                  <a:pt x="469297" y="891529"/>
                  <a:pt x="462961" y="854794"/>
                  <a:pt x="459927" y="817790"/>
                </a:cubicBezTo>
                <a:cubicBezTo>
                  <a:pt x="456905" y="780939"/>
                  <a:pt x="457197" y="743817"/>
                  <a:pt x="456025" y="706469"/>
                </a:cubicBezTo>
                <a:cubicBezTo>
                  <a:pt x="425780" y="707923"/>
                  <a:pt x="396554" y="709327"/>
                  <a:pt x="366863" y="710754"/>
                </a:cubicBezTo>
                <a:cubicBezTo>
                  <a:pt x="366546" y="714450"/>
                  <a:pt x="366201" y="716832"/>
                  <a:pt x="366159" y="719219"/>
                </a:cubicBezTo>
                <a:cubicBezTo>
                  <a:pt x="365479" y="757672"/>
                  <a:pt x="364935" y="796129"/>
                  <a:pt x="364159" y="834581"/>
                </a:cubicBezTo>
                <a:cubicBezTo>
                  <a:pt x="363450" y="869762"/>
                  <a:pt x="362581" y="904941"/>
                  <a:pt x="361633" y="940117"/>
                </a:cubicBezTo>
                <a:cubicBezTo>
                  <a:pt x="360619" y="977749"/>
                  <a:pt x="359431" y="1015376"/>
                  <a:pt x="358313" y="1053005"/>
                </a:cubicBezTo>
                <a:cubicBezTo>
                  <a:pt x="358265" y="1054641"/>
                  <a:pt x="358149" y="1056276"/>
                  <a:pt x="358081" y="1057912"/>
                </a:cubicBezTo>
                <a:cubicBezTo>
                  <a:pt x="356598" y="1093463"/>
                  <a:pt x="355081" y="1129014"/>
                  <a:pt x="353706" y="1164570"/>
                </a:cubicBezTo>
                <a:cubicBezTo>
                  <a:pt x="353604" y="1167221"/>
                  <a:pt x="354516" y="1169911"/>
                  <a:pt x="354951" y="1172547"/>
                </a:cubicBezTo>
                <a:cubicBezTo>
                  <a:pt x="416984" y="1173689"/>
                  <a:pt x="478158" y="1174816"/>
                  <a:pt x="540959" y="1175972"/>
                </a:cubicBezTo>
                <a:cubicBezTo>
                  <a:pt x="513162" y="1094194"/>
                  <a:pt x="489081" y="1013598"/>
                  <a:pt x="474186" y="928382"/>
                </a:cubicBezTo>
                <a:moveTo>
                  <a:pt x="513768" y="1417676"/>
                </a:moveTo>
                <a:cubicBezTo>
                  <a:pt x="515785" y="1417344"/>
                  <a:pt x="517792" y="1416889"/>
                  <a:pt x="519822" y="1416700"/>
                </a:cubicBezTo>
                <a:cubicBezTo>
                  <a:pt x="557234" y="1413220"/>
                  <a:pt x="594682" y="1410089"/>
                  <a:pt x="632041" y="1406122"/>
                </a:cubicBezTo>
                <a:cubicBezTo>
                  <a:pt x="643122" y="1404945"/>
                  <a:pt x="654730" y="1405292"/>
                  <a:pt x="665040" y="1400634"/>
                </a:cubicBezTo>
                <a:cubicBezTo>
                  <a:pt x="665352" y="1398517"/>
                  <a:pt x="665651" y="1397324"/>
                  <a:pt x="665677" y="1396126"/>
                </a:cubicBezTo>
                <a:cubicBezTo>
                  <a:pt x="665722" y="1394084"/>
                  <a:pt x="665674" y="1392032"/>
                  <a:pt x="665529" y="1389994"/>
                </a:cubicBezTo>
                <a:cubicBezTo>
                  <a:pt x="663118" y="1356121"/>
                  <a:pt x="650063" y="1327787"/>
                  <a:pt x="623046" y="1306238"/>
                </a:cubicBezTo>
                <a:cubicBezTo>
                  <a:pt x="613485" y="1298611"/>
                  <a:pt x="605001" y="1289635"/>
                  <a:pt x="596015" y="1281285"/>
                </a:cubicBezTo>
                <a:cubicBezTo>
                  <a:pt x="578506" y="1265018"/>
                  <a:pt x="567837" y="1245446"/>
                  <a:pt x="567683" y="1220059"/>
                </a:cubicBezTo>
                <a:cubicBezTo>
                  <a:pt x="558046" y="1220059"/>
                  <a:pt x="549136" y="1219649"/>
                  <a:pt x="540273" y="1220129"/>
                </a:cubicBezTo>
                <a:cubicBezTo>
                  <a:pt x="501512" y="1222229"/>
                  <a:pt x="462775" y="1224768"/>
                  <a:pt x="424010" y="1226781"/>
                </a:cubicBezTo>
                <a:cubicBezTo>
                  <a:pt x="401969" y="1227926"/>
                  <a:pt x="379889" y="1228330"/>
                  <a:pt x="357832" y="1229178"/>
                </a:cubicBezTo>
                <a:cubicBezTo>
                  <a:pt x="355938" y="1229251"/>
                  <a:pt x="354076" y="1230151"/>
                  <a:pt x="352386" y="1230616"/>
                </a:cubicBezTo>
                <a:cubicBezTo>
                  <a:pt x="353642" y="1262222"/>
                  <a:pt x="355769" y="1293219"/>
                  <a:pt x="355852" y="1324222"/>
                </a:cubicBezTo>
                <a:cubicBezTo>
                  <a:pt x="355936" y="1355438"/>
                  <a:pt x="353988" y="1386659"/>
                  <a:pt x="352930" y="1417867"/>
                </a:cubicBezTo>
                <a:cubicBezTo>
                  <a:pt x="406069" y="1417867"/>
                  <a:pt x="458771" y="1417867"/>
                  <a:pt x="513768" y="1417676"/>
                </a:cubicBezTo>
                <a:moveTo>
                  <a:pt x="387930" y="499741"/>
                </a:moveTo>
                <a:cubicBezTo>
                  <a:pt x="410797" y="498777"/>
                  <a:pt x="433665" y="497860"/>
                  <a:pt x="456529" y="496826"/>
                </a:cubicBezTo>
                <a:cubicBezTo>
                  <a:pt x="466656" y="496369"/>
                  <a:pt x="475418" y="493371"/>
                  <a:pt x="482355" y="485095"/>
                </a:cubicBezTo>
                <a:cubicBezTo>
                  <a:pt x="509188" y="453083"/>
                  <a:pt x="525387" y="416636"/>
                  <a:pt x="528016" y="374829"/>
                </a:cubicBezTo>
                <a:cubicBezTo>
                  <a:pt x="530547" y="334558"/>
                  <a:pt x="520095" y="297041"/>
                  <a:pt x="501375" y="261643"/>
                </a:cubicBezTo>
                <a:cubicBezTo>
                  <a:pt x="499379" y="257869"/>
                  <a:pt x="496654" y="254482"/>
                  <a:pt x="493534" y="249818"/>
                </a:cubicBezTo>
                <a:cubicBezTo>
                  <a:pt x="490233" y="254212"/>
                  <a:pt x="487883" y="256986"/>
                  <a:pt x="485920" y="260010"/>
                </a:cubicBezTo>
                <a:cubicBezTo>
                  <a:pt x="475010" y="276824"/>
                  <a:pt x="464300" y="293767"/>
                  <a:pt x="453305" y="310523"/>
                </a:cubicBezTo>
                <a:cubicBezTo>
                  <a:pt x="447028" y="320089"/>
                  <a:pt x="440916" y="329858"/>
                  <a:pt x="433678" y="338672"/>
                </a:cubicBezTo>
                <a:cubicBezTo>
                  <a:pt x="425909" y="348131"/>
                  <a:pt x="413084" y="349691"/>
                  <a:pt x="403713" y="343710"/>
                </a:cubicBezTo>
                <a:cubicBezTo>
                  <a:pt x="394358" y="337739"/>
                  <a:pt x="391675" y="327526"/>
                  <a:pt x="396427" y="315612"/>
                </a:cubicBezTo>
                <a:cubicBezTo>
                  <a:pt x="397334" y="313339"/>
                  <a:pt x="398595" y="311210"/>
                  <a:pt x="399663" y="309000"/>
                </a:cubicBezTo>
                <a:cubicBezTo>
                  <a:pt x="417094" y="272900"/>
                  <a:pt x="434331" y="236704"/>
                  <a:pt x="452097" y="200770"/>
                </a:cubicBezTo>
                <a:cubicBezTo>
                  <a:pt x="455910" y="193060"/>
                  <a:pt x="455310" y="187173"/>
                  <a:pt x="450118" y="180596"/>
                </a:cubicBezTo>
                <a:cubicBezTo>
                  <a:pt x="428273" y="152922"/>
                  <a:pt x="405805" y="125901"/>
                  <a:pt x="376545" y="105525"/>
                </a:cubicBezTo>
                <a:cubicBezTo>
                  <a:pt x="374483" y="104089"/>
                  <a:pt x="372013" y="103239"/>
                  <a:pt x="368791" y="101653"/>
                </a:cubicBezTo>
                <a:cubicBezTo>
                  <a:pt x="367942" y="116965"/>
                  <a:pt x="367019" y="130814"/>
                  <a:pt x="366449" y="144676"/>
                </a:cubicBezTo>
                <a:cubicBezTo>
                  <a:pt x="365912" y="157758"/>
                  <a:pt x="365593" y="170854"/>
                  <a:pt x="365447" y="183946"/>
                </a:cubicBezTo>
                <a:cubicBezTo>
                  <a:pt x="365020" y="221975"/>
                  <a:pt x="363367" y="260055"/>
                  <a:pt x="364738" y="298022"/>
                </a:cubicBezTo>
                <a:cubicBezTo>
                  <a:pt x="366329" y="342101"/>
                  <a:pt x="370336" y="386106"/>
                  <a:pt x="373865" y="430096"/>
                </a:cubicBezTo>
                <a:cubicBezTo>
                  <a:pt x="375530" y="450849"/>
                  <a:pt x="378387" y="471514"/>
                  <a:pt x="381088" y="492169"/>
                </a:cubicBezTo>
                <a:cubicBezTo>
                  <a:pt x="381433" y="494807"/>
                  <a:pt x="384102" y="497143"/>
                  <a:pt x="387930" y="499741"/>
                </a:cubicBezTo>
                <a:moveTo>
                  <a:pt x="455850" y="1521476"/>
                </a:moveTo>
                <a:cubicBezTo>
                  <a:pt x="533043" y="1519612"/>
                  <a:pt x="609810" y="1514084"/>
                  <a:pt x="685121" y="1496509"/>
                </a:cubicBezTo>
                <a:cubicBezTo>
                  <a:pt x="683922" y="1481705"/>
                  <a:pt x="679199" y="1467708"/>
                  <a:pt x="672999" y="1456665"/>
                </a:cubicBezTo>
                <a:cubicBezTo>
                  <a:pt x="669933" y="1451203"/>
                  <a:pt x="666057" y="1449329"/>
                  <a:pt x="660009" y="1450249"/>
                </a:cubicBezTo>
                <a:cubicBezTo>
                  <a:pt x="651125" y="1451601"/>
                  <a:pt x="642144" y="1452308"/>
                  <a:pt x="633248" y="1453589"/>
                </a:cubicBezTo>
                <a:cubicBezTo>
                  <a:pt x="572852" y="1462289"/>
                  <a:pt x="511993" y="1465134"/>
                  <a:pt x="451131" y="1467458"/>
                </a:cubicBezTo>
                <a:cubicBezTo>
                  <a:pt x="421697" y="1468582"/>
                  <a:pt x="392192" y="1467837"/>
                  <a:pt x="362719" y="1467934"/>
                </a:cubicBezTo>
                <a:cubicBezTo>
                  <a:pt x="358386" y="1467948"/>
                  <a:pt x="354052" y="1467936"/>
                  <a:pt x="349983" y="1467936"/>
                </a:cubicBezTo>
                <a:cubicBezTo>
                  <a:pt x="347592" y="1485362"/>
                  <a:pt x="348606" y="1509458"/>
                  <a:pt x="352220" y="1519140"/>
                </a:cubicBezTo>
                <a:cubicBezTo>
                  <a:pt x="385617" y="1519916"/>
                  <a:pt x="419507" y="1520703"/>
                  <a:pt x="455850" y="1521476"/>
                </a:cubicBezTo>
                <a:moveTo>
                  <a:pt x="368682" y="544846"/>
                </a:moveTo>
                <a:cubicBezTo>
                  <a:pt x="374258" y="564891"/>
                  <a:pt x="370074" y="584394"/>
                  <a:pt x="363600" y="605633"/>
                </a:cubicBezTo>
                <a:cubicBezTo>
                  <a:pt x="408859" y="604212"/>
                  <a:pt x="452263" y="602850"/>
                  <a:pt x="496351" y="601466"/>
                </a:cubicBezTo>
                <a:cubicBezTo>
                  <a:pt x="496109" y="591095"/>
                  <a:pt x="491408" y="584247"/>
                  <a:pt x="485068" y="579288"/>
                </a:cubicBezTo>
                <a:cubicBezTo>
                  <a:pt x="472414" y="569391"/>
                  <a:pt x="466934" y="556602"/>
                  <a:pt x="466524" y="541026"/>
                </a:cubicBezTo>
                <a:cubicBezTo>
                  <a:pt x="466485" y="539528"/>
                  <a:pt x="465591" y="538053"/>
                  <a:pt x="465000" y="536289"/>
                </a:cubicBezTo>
                <a:cubicBezTo>
                  <a:pt x="460209" y="536289"/>
                  <a:pt x="455761" y="536132"/>
                  <a:pt x="451328" y="536316"/>
                </a:cubicBezTo>
                <a:cubicBezTo>
                  <a:pt x="430930" y="537159"/>
                  <a:pt x="410538" y="538137"/>
                  <a:pt x="390140" y="538979"/>
                </a:cubicBezTo>
                <a:cubicBezTo>
                  <a:pt x="384834" y="539198"/>
                  <a:pt x="379484" y="538790"/>
                  <a:pt x="374215" y="539303"/>
                </a:cubicBezTo>
                <a:cubicBezTo>
                  <a:pt x="372259" y="539494"/>
                  <a:pt x="370480" y="541498"/>
                  <a:pt x="368682" y="544846"/>
                </a:cubicBezTo>
                <a:moveTo>
                  <a:pt x="453915" y="635267"/>
                </a:moveTo>
                <a:cubicBezTo>
                  <a:pt x="427589" y="636632"/>
                  <a:pt x="401262" y="637998"/>
                  <a:pt x="374200" y="639402"/>
                </a:cubicBezTo>
                <a:cubicBezTo>
                  <a:pt x="374200" y="651578"/>
                  <a:pt x="374200" y="661970"/>
                  <a:pt x="374200" y="673206"/>
                </a:cubicBezTo>
                <a:cubicBezTo>
                  <a:pt x="378672" y="673406"/>
                  <a:pt x="382666" y="673863"/>
                  <a:pt x="386639" y="673718"/>
                </a:cubicBezTo>
                <a:cubicBezTo>
                  <a:pt x="431495" y="672082"/>
                  <a:pt x="476352" y="670422"/>
                  <a:pt x="521198" y="668541"/>
                </a:cubicBezTo>
                <a:cubicBezTo>
                  <a:pt x="525584" y="668357"/>
                  <a:pt x="530162" y="667254"/>
                  <a:pt x="534198" y="665521"/>
                </a:cubicBezTo>
                <a:cubicBezTo>
                  <a:pt x="540213" y="662938"/>
                  <a:pt x="541802" y="658194"/>
                  <a:pt x="538413" y="652526"/>
                </a:cubicBezTo>
                <a:cubicBezTo>
                  <a:pt x="536192" y="648813"/>
                  <a:pt x="532979" y="645251"/>
                  <a:pt x="529377" y="642895"/>
                </a:cubicBezTo>
                <a:cubicBezTo>
                  <a:pt x="521426" y="637695"/>
                  <a:pt x="512576" y="634669"/>
                  <a:pt x="502829" y="634808"/>
                </a:cubicBezTo>
                <a:cubicBezTo>
                  <a:pt x="487311" y="635030"/>
                  <a:pt x="471791" y="635092"/>
                  <a:pt x="453915" y="635267"/>
                </a:cubicBezTo>
                <a:close/>
              </a:path>
            </a:pathLst>
          </a:custGeom>
          <a:solidFill>
            <a:srgbClr val="CDD9DF"/>
          </a:solidFill>
          <a:ln w="12700" cap="flat">
            <a:solidFill>
              <a:srgbClr val="CDD9DF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43" name="Free-form: Shape 442">
            <a:extLst>
              <a:ext uri="{FF2B5EF4-FFF2-40B4-BE49-F238E27FC236}">
                <a16:creationId xmlns:a16="http://schemas.microsoft.com/office/drawing/2014/main" id="{7803F158-6CF1-19DD-CAE2-ADD3DC4D4CB9}"/>
              </a:ext>
            </a:extLst>
          </p:cNvPr>
          <p:cNvSpPr/>
          <p:nvPr/>
        </p:nvSpPr>
        <p:spPr>
          <a:xfrm>
            <a:off x="4790858" y="3834759"/>
            <a:ext cx="665488" cy="1428730"/>
          </a:xfrm>
          <a:custGeom>
            <a:avLst/>
            <a:gdLst>
              <a:gd name="csX0" fmla="*/ 406842 w 732037"/>
              <a:gd name="csY0" fmla="*/ 38347 h 1571603"/>
              <a:gd name="csX1" fmla="*/ 411944 w 732037"/>
              <a:gd name="csY1" fmla="*/ 38343 h 1571603"/>
              <a:gd name="csX2" fmla="*/ 416198 w 732037"/>
              <a:gd name="csY2" fmla="*/ 53444 h 1571603"/>
              <a:gd name="csX3" fmla="*/ 418945 w 732037"/>
              <a:gd name="csY3" fmla="*/ 34170 h 1571603"/>
              <a:gd name="csX4" fmla="*/ 394077 w 732037"/>
              <a:gd name="csY4" fmla="*/ 12943 h 1571603"/>
              <a:gd name="csX5" fmla="*/ 341415 w 732037"/>
              <a:gd name="csY5" fmla="*/ 11814 h 1571603"/>
              <a:gd name="csX6" fmla="*/ 309440 w 732037"/>
              <a:gd name="csY6" fmla="*/ 65249 h 1571603"/>
              <a:gd name="csX7" fmla="*/ 319632 w 732037"/>
              <a:gd name="csY7" fmla="*/ 85914 h 1571603"/>
              <a:gd name="csX8" fmla="*/ 318632 w 732037"/>
              <a:gd name="csY8" fmla="*/ 110015 h 1571603"/>
              <a:gd name="csX9" fmla="*/ 246921 w 732037"/>
              <a:gd name="csY9" fmla="*/ 198083 h 1571603"/>
              <a:gd name="csX10" fmla="*/ 202660 w 732037"/>
              <a:gd name="csY10" fmla="*/ 269911 h 1571603"/>
              <a:gd name="csX11" fmla="*/ 176707 w 732037"/>
              <a:gd name="csY11" fmla="*/ 357233 h 1571603"/>
              <a:gd name="csX12" fmla="*/ 190612 w 732037"/>
              <a:gd name="csY12" fmla="*/ 439700 h 1571603"/>
              <a:gd name="csX13" fmla="*/ 227544 w 732037"/>
              <a:gd name="csY13" fmla="*/ 505527 h 1571603"/>
              <a:gd name="csX14" fmla="*/ 232541 w 732037"/>
              <a:gd name="csY14" fmla="*/ 516294 h 1571603"/>
              <a:gd name="csX15" fmla="*/ 224356 w 732037"/>
              <a:gd name="csY15" fmla="*/ 528960 h 1571603"/>
              <a:gd name="csX16" fmla="*/ 227944 w 732037"/>
              <a:gd name="csY16" fmla="*/ 540026 h 1571603"/>
              <a:gd name="csX17" fmla="*/ 238897 w 732037"/>
              <a:gd name="csY17" fmla="*/ 545570 h 1571603"/>
              <a:gd name="csX18" fmla="*/ 242386 w 732037"/>
              <a:gd name="csY18" fmla="*/ 571785 h 1571603"/>
              <a:gd name="csX19" fmla="*/ 214067 w 732037"/>
              <a:gd name="csY19" fmla="*/ 590809 h 1571603"/>
              <a:gd name="csX20" fmla="*/ 201355 w 732037"/>
              <a:gd name="csY20" fmla="*/ 609067 h 1571603"/>
              <a:gd name="csX21" fmla="*/ 188474 w 732037"/>
              <a:gd name="csY21" fmla="*/ 628398 h 1571603"/>
              <a:gd name="csX22" fmla="*/ 162658 w 732037"/>
              <a:gd name="csY22" fmla="*/ 657096 h 1571603"/>
              <a:gd name="csX23" fmla="*/ 175395 w 732037"/>
              <a:gd name="csY23" fmla="*/ 691621 h 1571603"/>
              <a:gd name="csX24" fmla="*/ 201948 w 732037"/>
              <a:gd name="csY24" fmla="*/ 700523 h 1571603"/>
              <a:gd name="csX25" fmla="*/ 241426 w 732037"/>
              <a:gd name="csY25" fmla="*/ 706574 h 1571603"/>
              <a:gd name="csX26" fmla="*/ 242586 w 732037"/>
              <a:gd name="csY26" fmla="*/ 715946 h 1571603"/>
              <a:gd name="csX27" fmla="*/ 242424 w 732037"/>
              <a:gd name="csY27" fmla="*/ 801932 h 1571603"/>
              <a:gd name="csX28" fmla="*/ 238000 w 732037"/>
              <a:gd name="csY28" fmla="*/ 846774 h 1571603"/>
              <a:gd name="csX29" fmla="*/ 232752 w 732037"/>
              <a:gd name="csY29" fmla="*/ 891559 h 1571603"/>
              <a:gd name="csX30" fmla="*/ 223037 w 732037"/>
              <a:gd name="csY30" fmla="*/ 950433 h 1571603"/>
              <a:gd name="csX31" fmla="*/ 210247 w 732037"/>
              <a:gd name="csY31" fmla="*/ 1012485 h 1571603"/>
              <a:gd name="csX32" fmla="*/ 194820 w 732037"/>
              <a:gd name="csY32" fmla="*/ 1069074 h 1571603"/>
              <a:gd name="csX33" fmla="*/ 165707 w 732037"/>
              <a:gd name="csY33" fmla="*/ 1163788 h 1571603"/>
              <a:gd name="csX34" fmla="*/ 144382 w 732037"/>
              <a:gd name="csY34" fmla="*/ 1185530 h 1571603"/>
              <a:gd name="csX35" fmla="*/ 129590 w 732037"/>
              <a:gd name="csY35" fmla="*/ 1191342 h 1571603"/>
              <a:gd name="csX36" fmla="*/ 122255 w 732037"/>
              <a:gd name="csY36" fmla="*/ 1208476 h 1571603"/>
              <a:gd name="csX37" fmla="*/ 127491 w 732037"/>
              <a:gd name="csY37" fmla="*/ 1222193 h 1571603"/>
              <a:gd name="csX38" fmla="*/ 118348 w 732037"/>
              <a:gd name="csY38" fmla="*/ 1261470 h 1571603"/>
              <a:gd name="csX39" fmla="*/ 58232 w 732037"/>
              <a:gd name="csY39" fmla="*/ 1319224 h 1571603"/>
              <a:gd name="csX40" fmla="*/ 28815 w 732037"/>
              <a:gd name="csY40" fmla="*/ 1389717 h 1571603"/>
              <a:gd name="csX41" fmla="*/ 32634 w 732037"/>
              <a:gd name="csY41" fmla="*/ 1426050 h 1571603"/>
              <a:gd name="csX42" fmla="*/ 30331 w 732037"/>
              <a:gd name="csY42" fmla="*/ 1441003 h 1571603"/>
              <a:gd name="csX43" fmla="*/ 9180 w 732037"/>
              <a:gd name="csY43" fmla="*/ 1516655 h 1571603"/>
              <a:gd name="csX44" fmla="*/ 20082 w 732037"/>
              <a:gd name="csY44" fmla="*/ 1531402 h 1571603"/>
              <a:gd name="csX45" fmla="*/ 74798 w 732037"/>
              <a:gd name="csY45" fmla="*/ 1543794 h 1571603"/>
              <a:gd name="csX46" fmla="*/ 113225 w 732037"/>
              <a:gd name="csY46" fmla="*/ 1550305 h 1571603"/>
              <a:gd name="csX47" fmla="*/ 136142 w 732037"/>
              <a:gd name="csY47" fmla="*/ 1553484 h 1571603"/>
              <a:gd name="csX48" fmla="*/ 177578 w 732037"/>
              <a:gd name="csY48" fmla="*/ 1556220 h 1571603"/>
              <a:gd name="csX49" fmla="*/ 231027 w 732037"/>
              <a:gd name="csY49" fmla="*/ 1560698 h 1571603"/>
              <a:gd name="csX50" fmla="*/ 254342 w 732037"/>
              <a:gd name="csY50" fmla="*/ 1561142 h 1571603"/>
              <a:gd name="csX51" fmla="*/ 459180 w 732037"/>
              <a:gd name="csY51" fmla="*/ 1563411 h 1571603"/>
              <a:gd name="csX52" fmla="*/ 531340 w 732037"/>
              <a:gd name="csY52" fmla="*/ 1560936 h 1571603"/>
              <a:gd name="csX53" fmla="*/ 590888 w 732037"/>
              <a:gd name="csY53" fmla="*/ 1555951 h 1571603"/>
              <a:gd name="csX54" fmla="*/ 710712 w 732037"/>
              <a:gd name="csY54" fmla="*/ 1533916 h 1571603"/>
              <a:gd name="csX55" fmla="*/ 724356 w 732037"/>
              <a:gd name="csY55" fmla="*/ 1516144 h 1571603"/>
              <a:gd name="csX56" fmla="*/ 707380 w 732037"/>
              <a:gd name="csY56" fmla="*/ 1449380 h 1571603"/>
              <a:gd name="csX57" fmla="*/ 707050 w 732037"/>
              <a:gd name="csY57" fmla="*/ 1440881 h 1571603"/>
              <a:gd name="csX58" fmla="*/ 731479 w 732037"/>
              <a:gd name="csY58" fmla="*/ 1500017 h 1571603"/>
              <a:gd name="csX59" fmla="*/ 731163 w 732037"/>
              <a:gd name="csY59" fmla="*/ 1513759 h 1571603"/>
              <a:gd name="csX60" fmla="*/ 731650 w 732037"/>
              <a:gd name="csY60" fmla="*/ 1521766 h 1571603"/>
              <a:gd name="csX61" fmla="*/ 721896 w 732037"/>
              <a:gd name="csY61" fmla="*/ 1537319 h 1571603"/>
              <a:gd name="csX62" fmla="*/ 657740 w 732037"/>
              <a:gd name="csY62" fmla="*/ 1553265 h 1571603"/>
              <a:gd name="csX63" fmla="*/ 507791 w 732037"/>
              <a:gd name="csY63" fmla="*/ 1568943 h 1571603"/>
              <a:gd name="csX64" fmla="*/ 264676 w 732037"/>
              <a:gd name="csY64" fmla="*/ 1569724 h 1571603"/>
              <a:gd name="csX65" fmla="*/ 82743 w 732037"/>
              <a:gd name="csY65" fmla="*/ 1553254 h 1571603"/>
              <a:gd name="csX66" fmla="*/ 17072 w 732037"/>
              <a:gd name="csY66" fmla="*/ 1538153 h 1571603"/>
              <a:gd name="csX67" fmla="*/ 275 w 732037"/>
              <a:gd name="csY67" fmla="*/ 1513030 h 1571603"/>
              <a:gd name="csX68" fmla="*/ 20923 w 732037"/>
              <a:gd name="csY68" fmla="*/ 1441861 h 1571603"/>
              <a:gd name="csX69" fmla="*/ 23045 w 732037"/>
              <a:gd name="csY69" fmla="*/ 1423105 h 1571603"/>
              <a:gd name="csX70" fmla="*/ 30564 w 732037"/>
              <a:gd name="csY70" fmla="*/ 1346289 h 1571603"/>
              <a:gd name="csX71" fmla="*/ 71350 w 732037"/>
              <a:gd name="csY71" fmla="*/ 1295039 h 1571603"/>
              <a:gd name="csX72" fmla="*/ 112257 w 732037"/>
              <a:gd name="csY72" fmla="*/ 1255093 h 1571603"/>
              <a:gd name="csX73" fmla="*/ 115864 w 732037"/>
              <a:gd name="csY73" fmla="*/ 1217271 h 1571603"/>
              <a:gd name="csX74" fmla="*/ 112256 w 732037"/>
              <a:gd name="csY74" fmla="*/ 1210870 h 1571603"/>
              <a:gd name="csX75" fmla="*/ 121141 w 732037"/>
              <a:gd name="csY75" fmla="*/ 1186548 h 1571603"/>
              <a:gd name="csX76" fmla="*/ 136571 w 732037"/>
              <a:gd name="csY76" fmla="*/ 1179850 h 1571603"/>
              <a:gd name="csX77" fmla="*/ 158281 w 732037"/>
              <a:gd name="csY77" fmla="*/ 1157879 h 1571603"/>
              <a:gd name="csX78" fmla="*/ 187986 w 732037"/>
              <a:gd name="csY78" fmla="*/ 1059736 h 1571603"/>
              <a:gd name="csX79" fmla="*/ 217119 w 732037"/>
              <a:gd name="csY79" fmla="*/ 938896 h 1571603"/>
              <a:gd name="csX80" fmla="*/ 225792 w 732037"/>
              <a:gd name="csY80" fmla="*/ 893236 h 1571603"/>
              <a:gd name="csX81" fmla="*/ 226150 w 732037"/>
              <a:gd name="csY81" fmla="*/ 887970 h 1571603"/>
              <a:gd name="csX82" fmla="*/ 230782 w 732037"/>
              <a:gd name="csY82" fmla="*/ 853969 h 1571603"/>
              <a:gd name="csX83" fmla="*/ 230786 w 732037"/>
              <a:gd name="csY83" fmla="*/ 848558 h 1571603"/>
              <a:gd name="csX84" fmla="*/ 233315 w 732037"/>
              <a:gd name="csY84" fmla="*/ 824438 h 1571603"/>
              <a:gd name="csX85" fmla="*/ 233199 w 732037"/>
              <a:gd name="csY85" fmla="*/ 819050 h 1571603"/>
              <a:gd name="csX86" fmla="*/ 235848 w 732037"/>
              <a:gd name="csY86" fmla="*/ 782380 h 1571603"/>
              <a:gd name="csX87" fmla="*/ 237465 w 732037"/>
              <a:gd name="csY87" fmla="*/ 719113 h 1571603"/>
              <a:gd name="csX88" fmla="*/ 233057 w 732037"/>
              <a:gd name="csY88" fmla="*/ 713160 h 1571603"/>
              <a:gd name="csX89" fmla="*/ 203056 w 732037"/>
              <a:gd name="csY89" fmla="*/ 708405 h 1571603"/>
              <a:gd name="csX90" fmla="*/ 169628 w 732037"/>
              <a:gd name="csY90" fmla="*/ 698106 h 1571603"/>
              <a:gd name="csX91" fmla="*/ 153237 w 732037"/>
              <a:gd name="csY91" fmla="*/ 659111 h 1571603"/>
              <a:gd name="csX92" fmla="*/ 178365 w 732037"/>
              <a:gd name="csY92" fmla="*/ 626008 h 1571603"/>
              <a:gd name="csX93" fmla="*/ 191885 w 732037"/>
              <a:gd name="csY93" fmla="*/ 617513 h 1571603"/>
              <a:gd name="csX94" fmla="*/ 193681 w 732037"/>
              <a:gd name="csY94" fmla="*/ 610098 h 1571603"/>
              <a:gd name="csX95" fmla="*/ 213301 w 732037"/>
              <a:gd name="csY95" fmla="*/ 579885 h 1571603"/>
              <a:gd name="csX96" fmla="*/ 229635 w 732037"/>
              <a:gd name="csY96" fmla="*/ 571429 h 1571603"/>
              <a:gd name="csX97" fmla="*/ 237351 w 732037"/>
              <a:gd name="csY97" fmla="*/ 565882 h 1571603"/>
              <a:gd name="csX98" fmla="*/ 233673 w 732037"/>
              <a:gd name="csY98" fmla="*/ 550926 h 1571603"/>
              <a:gd name="csX99" fmla="*/ 226799 w 732037"/>
              <a:gd name="csY99" fmla="*/ 548359 h 1571603"/>
              <a:gd name="csX100" fmla="*/ 218639 w 732037"/>
              <a:gd name="csY100" fmla="*/ 522664 h 1571603"/>
              <a:gd name="csX101" fmla="*/ 218264 w 732037"/>
              <a:gd name="csY101" fmla="*/ 505463 h 1571603"/>
              <a:gd name="csX102" fmla="*/ 181762 w 732037"/>
              <a:gd name="csY102" fmla="*/ 437574 h 1571603"/>
              <a:gd name="csX103" fmla="*/ 185971 w 732037"/>
              <a:gd name="csY103" fmla="*/ 289069 h 1571603"/>
              <a:gd name="csX104" fmla="*/ 253787 w 732037"/>
              <a:gd name="csY104" fmla="*/ 175580 h 1571603"/>
              <a:gd name="csX105" fmla="*/ 309639 w 732037"/>
              <a:gd name="csY105" fmla="*/ 108695 h 1571603"/>
              <a:gd name="csX106" fmla="*/ 318061 w 732037"/>
              <a:gd name="csY106" fmla="*/ 98855 h 1571603"/>
              <a:gd name="csX107" fmla="*/ 304967 w 732037"/>
              <a:gd name="csY107" fmla="*/ 70056 h 1571603"/>
              <a:gd name="csX108" fmla="*/ 317012 w 732037"/>
              <a:gd name="csY108" fmla="*/ 19436 h 1571603"/>
              <a:gd name="csX109" fmla="*/ 415542 w 732037"/>
              <a:gd name="csY109" fmla="*/ 18221 h 1571603"/>
              <a:gd name="csX110" fmla="*/ 423203 w 732037"/>
              <a:gd name="csY110" fmla="*/ 82660 h 1571603"/>
              <a:gd name="csX111" fmla="*/ 413361 w 732037"/>
              <a:gd name="csY111" fmla="*/ 97975 h 1571603"/>
              <a:gd name="csX112" fmla="*/ 421654 w 732037"/>
              <a:gd name="csY112" fmla="*/ 106676 h 1571603"/>
              <a:gd name="csX113" fmla="*/ 487032 w 732037"/>
              <a:gd name="csY113" fmla="*/ 184632 h 1571603"/>
              <a:gd name="csX114" fmla="*/ 489213 w 732037"/>
              <a:gd name="csY114" fmla="*/ 208238 h 1571603"/>
              <a:gd name="csX115" fmla="*/ 476520 w 732037"/>
              <a:gd name="csY115" fmla="*/ 235738 h 1571603"/>
              <a:gd name="csX116" fmla="*/ 472850 w 732037"/>
              <a:gd name="csY116" fmla="*/ 230703 h 1571603"/>
              <a:gd name="csX117" fmla="*/ 482723 w 732037"/>
              <a:gd name="csY117" fmla="*/ 208315 h 1571603"/>
              <a:gd name="csX118" fmla="*/ 480764 w 732037"/>
              <a:gd name="csY118" fmla="*/ 187916 h 1571603"/>
              <a:gd name="csX119" fmla="*/ 408519 w 732037"/>
              <a:gd name="csY119" fmla="*/ 105475 h 1571603"/>
              <a:gd name="csX120" fmla="*/ 408625 w 732037"/>
              <a:gd name="csY120" fmla="*/ 89203 h 1571603"/>
              <a:gd name="csX121" fmla="*/ 419600 w 732037"/>
              <a:gd name="csY121" fmla="*/ 71648 h 1571603"/>
              <a:gd name="csX122" fmla="*/ 418792 w 732037"/>
              <a:gd name="csY122" fmla="*/ 63179 h 1571603"/>
              <a:gd name="csX123" fmla="*/ 410943 w 732037"/>
              <a:gd name="csY123" fmla="*/ 66417 h 1571603"/>
              <a:gd name="csX124" fmla="*/ 400140 w 732037"/>
              <a:gd name="csY124" fmla="*/ 76155 h 1571603"/>
              <a:gd name="csX125" fmla="*/ 360599 w 732037"/>
              <a:gd name="csY125" fmla="*/ 51379 h 1571603"/>
              <a:gd name="csX126" fmla="*/ 360842 w 732037"/>
              <a:gd name="csY126" fmla="*/ 39128 h 1571603"/>
              <a:gd name="csX127" fmla="*/ 369470 w 732037"/>
              <a:gd name="csY127" fmla="*/ 30960 h 1571603"/>
              <a:gd name="csX128" fmla="*/ 365613 w 732037"/>
              <a:gd name="csY128" fmla="*/ 49108 h 1571603"/>
              <a:gd name="csX129" fmla="*/ 389468 w 732037"/>
              <a:gd name="csY129" fmla="*/ 71608 h 1571603"/>
              <a:gd name="csX130" fmla="*/ 408822 w 732037"/>
              <a:gd name="csY130" fmla="*/ 46613 h 1571603"/>
              <a:gd name="csX131" fmla="*/ 406842 w 732037"/>
              <a:gd name="csY131" fmla="*/ 38347 h 157160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</a:cxnLst>
            <a:rect l="l" t="t" r="r" b="b"/>
            <a:pathLst>
              <a:path w="732037" h="1571603">
                <a:moveTo>
                  <a:pt x="406842" y="38347"/>
                </a:moveTo>
                <a:cubicBezTo>
                  <a:pt x="408555" y="35869"/>
                  <a:pt x="410622" y="34608"/>
                  <a:pt x="411944" y="38343"/>
                </a:cubicBezTo>
                <a:cubicBezTo>
                  <a:pt x="413676" y="43242"/>
                  <a:pt x="414797" y="48356"/>
                  <a:pt x="416198" y="53444"/>
                </a:cubicBezTo>
                <a:cubicBezTo>
                  <a:pt x="422922" y="48977"/>
                  <a:pt x="424340" y="41699"/>
                  <a:pt x="418945" y="34170"/>
                </a:cubicBezTo>
                <a:cubicBezTo>
                  <a:pt x="412483" y="25152"/>
                  <a:pt x="404444" y="17554"/>
                  <a:pt x="394077" y="12943"/>
                </a:cubicBezTo>
                <a:cubicBezTo>
                  <a:pt x="376702" y="5216"/>
                  <a:pt x="358713" y="6244"/>
                  <a:pt x="341415" y="11814"/>
                </a:cubicBezTo>
                <a:cubicBezTo>
                  <a:pt x="323675" y="17525"/>
                  <a:pt x="304459" y="39816"/>
                  <a:pt x="309440" y="65249"/>
                </a:cubicBezTo>
                <a:cubicBezTo>
                  <a:pt x="310868" y="72543"/>
                  <a:pt x="315482" y="79463"/>
                  <a:pt x="319632" y="85914"/>
                </a:cubicBezTo>
                <a:cubicBezTo>
                  <a:pt x="325434" y="94933"/>
                  <a:pt x="325800" y="102817"/>
                  <a:pt x="318632" y="110015"/>
                </a:cubicBezTo>
                <a:cubicBezTo>
                  <a:pt x="291775" y="136984"/>
                  <a:pt x="269594" y="167702"/>
                  <a:pt x="246921" y="198083"/>
                </a:cubicBezTo>
                <a:cubicBezTo>
                  <a:pt x="230003" y="220751"/>
                  <a:pt x="215685" y="244921"/>
                  <a:pt x="202660" y="269911"/>
                </a:cubicBezTo>
                <a:cubicBezTo>
                  <a:pt x="188381" y="297309"/>
                  <a:pt x="179513" y="326657"/>
                  <a:pt x="176707" y="357233"/>
                </a:cubicBezTo>
                <a:cubicBezTo>
                  <a:pt x="174106" y="385578"/>
                  <a:pt x="180131" y="413140"/>
                  <a:pt x="190612" y="439700"/>
                </a:cubicBezTo>
                <a:cubicBezTo>
                  <a:pt x="199946" y="463353"/>
                  <a:pt x="211538" y="485623"/>
                  <a:pt x="227544" y="505527"/>
                </a:cubicBezTo>
                <a:cubicBezTo>
                  <a:pt x="229982" y="508558"/>
                  <a:pt x="230954" y="512768"/>
                  <a:pt x="232541" y="516294"/>
                </a:cubicBezTo>
                <a:cubicBezTo>
                  <a:pt x="229578" y="520824"/>
                  <a:pt x="226658" y="524724"/>
                  <a:pt x="224356" y="528960"/>
                </a:cubicBezTo>
                <a:cubicBezTo>
                  <a:pt x="221823" y="533618"/>
                  <a:pt x="222675" y="537588"/>
                  <a:pt x="227944" y="540026"/>
                </a:cubicBezTo>
                <a:cubicBezTo>
                  <a:pt x="231656" y="541743"/>
                  <a:pt x="235331" y="543568"/>
                  <a:pt x="238897" y="545570"/>
                </a:cubicBezTo>
                <a:cubicBezTo>
                  <a:pt x="249613" y="551585"/>
                  <a:pt x="251795" y="563681"/>
                  <a:pt x="242386" y="571785"/>
                </a:cubicBezTo>
                <a:cubicBezTo>
                  <a:pt x="233816" y="579166"/>
                  <a:pt x="224045" y="585423"/>
                  <a:pt x="214067" y="590809"/>
                </a:cubicBezTo>
                <a:cubicBezTo>
                  <a:pt x="206271" y="595018"/>
                  <a:pt x="202051" y="601487"/>
                  <a:pt x="201355" y="609067"/>
                </a:cubicBezTo>
                <a:cubicBezTo>
                  <a:pt x="200489" y="618497"/>
                  <a:pt x="195720" y="623726"/>
                  <a:pt x="188474" y="628398"/>
                </a:cubicBezTo>
                <a:cubicBezTo>
                  <a:pt x="177332" y="635582"/>
                  <a:pt x="167866" y="644503"/>
                  <a:pt x="162658" y="657096"/>
                </a:cubicBezTo>
                <a:cubicBezTo>
                  <a:pt x="156420" y="672181"/>
                  <a:pt x="160439" y="684301"/>
                  <a:pt x="175395" y="691621"/>
                </a:cubicBezTo>
                <a:cubicBezTo>
                  <a:pt x="183722" y="695697"/>
                  <a:pt x="192859" y="698589"/>
                  <a:pt x="201948" y="700523"/>
                </a:cubicBezTo>
                <a:cubicBezTo>
                  <a:pt x="214634" y="703224"/>
                  <a:pt x="227616" y="704530"/>
                  <a:pt x="241426" y="706574"/>
                </a:cubicBezTo>
                <a:cubicBezTo>
                  <a:pt x="241839" y="709770"/>
                  <a:pt x="242576" y="712857"/>
                  <a:pt x="242586" y="715946"/>
                </a:cubicBezTo>
                <a:cubicBezTo>
                  <a:pt x="242672" y="744610"/>
                  <a:pt x="243133" y="773285"/>
                  <a:pt x="242424" y="801932"/>
                </a:cubicBezTo>
                <a:cubicBezTo>
                  <a:pt x="242053" y="816907"/>
                  <a:pt x="239631" y="831838"/>
                  <a:pt x="238000" y="846774"/>
                </a:cubicBezTo>
                <a:cubicBezTo>
                  <a:pt x="236368" y="861717"/>
                  <a:pt x="234927" y="876693"/>
                  <a:pt x="232752" y="891559"/>
                </a:cubicBezTo>
                <a:cubicBezTo>
                  <a:pt x="229873" y="911238"/>
                  <a:pt x="226675" y="930882"/>
                  <a:pt x="223037" y="950433"/>
                </a:cubicBezTo>
                <a:cubicBezTo>
                  <a:pt x="219173" y="971193"/>
                  <a:pt x="215113" y="991942"/>
                  <a:pt x="210247" y="1012485"/>
                </a:cubicBezTo>
                <a:cubicBezTo>
                  <a:pt x="205743" y="1031500"/>
                  <a:pt x="200395" y="1050337"/>
                  <a:pt x="194820" y="1069074"/>
                </a:cubicBezTo>
                <a:cubicBezTo>
                  <a:pt x="185401" y="1100731"/>
                  <a:pt x="175708" y="1132311"/>
                  <a:pt x="165707" y="1163788"/>
                </a:cubicBezTo>
                <a:cubicBezTo>
                  <a:pt x="162367" y="1174302"/>
                  <a:pt x="156145" y="1182634"/>
                  <a:pt x="144382" y="1185530"/>
                </a:cubicBezTo>
                <a:cubicBezTo>
                  <a:pt x="139281" y="1186787"/>
                  <a:pt x="134434" y="1189193"/>
                  <a:pt x="129590" y="1191342"/>
                </a:cubicBezTo>
                <a:cubicBezTo>
                  <a:pt x="120028" y="1195581"/>
                  <a:pt x="118779" y="1198539"/>
                  <a:pt x="122255" y="1208476"/>
                </a:cubicBezTo>
                <a:cubicBezTo>
                  <a:pt x="123870" y="1213094"/>
                  <a:pt x="125990" y="1217542"/>
                  <a:pt x="127491" y="1222193"/>
                </a:cubicBezTo>
                <a:cubicBezTo>
                  <a:pt x="132294" y="1237066"/>
                  <a:pt x="129961" y="1250353"/>
                  <a:pt x="118348" y="1261470"/>
                </a:cubicBezTo>
                <a:cubicBezTo>
                  <a:pt x="98275" y="1280686"/>
                  <a:pt x="78038" y="1299737"/>
                  <a:pt x="58232" y="1319224"/>
                </a:cubicBezTo>
                <a:cubicBezTo>
                  <a:pt x="38634" y="1338507"/>
                  <a:pt x="29913" y="1362564"/>
                  <a:pt x="28815" y="1389717"/>
                </a:cubicBezTo>
                <a:cubicBezTo>
                  <a:pt x="28318" y="1402031"/>
                  <a:pt x="29110" y="1414206"/>
                  <a:pt x="32634" y="1426050"/>
                </a:cubicBezTo>
                <a:cubicBezTo>
                  <a:pt x="34273" y="1431554"/>
                  <a:pt x="33300" y="1435929"/>
                  <a:pt x="30331" y="1441003"/>
                </a:cubicBezTo>
                <a:cubicBezTo>
                  <a:pt x="16698" y="1464298"/>
                  <a:pt x="8890" y="1489397"/>
                  <a:pt x="9180" y="1516655"/>
                </a:cubicBezTo>
                <a:cubicBezTo>
                  <a:pt x="9291" y="1527012"/>
                  <a:pt x="9917" y="1528771"/>
                  <a:pt x="20082" y="1531402"/>
                </a:cubicBezTo>
                <a:cubicBezTo>
                  <a:pt x="38179" y="1536086"/>
                  <a:pt x="56480" y="1540035"/>
                  <a:pt x="74798" y="1543794"/>
                </a:cubicBezTo>
                <a:cubicBezTo>
                  <a:pt x="87517" y="1546403"/>
                  <a:pt x="100396" y="1548250"/>
                  <a:pt x="113225" y="1550305"/>
                </a:cubicBezTo>
                <a:cubicBezTo>
                  <a:pt x="120841" y="1551524"/>
                  <a:pt x="128467" y="1552843"/>
                  <a:pt x="136142" y="1553484"/>
                </a:cubicBezTo>
                <a:cubicBezTo>
                  <a:pt x="149934" y="1554635"/>
                  <a:pt x="163778" y="1555156"/>
                  <a:pt x="177578" y="1556220"/>
                </a:cubicBezTo>
                <a:cubicBezTo>
                  <a:pt x="195403" y="1557595"/>
                  <a:pt x="213196" y="1559407"/>
                  <a:pt x="231027" y="1560698"/>
                </a:cubicBezTo>
                <a:cubicBezTo>
                  <a:pt x="238768" y="1561259"/>
                  <a:pt x="246585" y="1560709"/>
                  <a:pt x="254342" y="1561142"/>
                </a:cubicBezTo>
                <a:cubicBezTo>
                  <a:pt x="322588" y="1564942"/>
                  <a:pt x="390896" y="1563427"/>
                  <a:pt x="459180" y="1563411"/>
                </a:cubicBezTo>
                <a:cubicBezTo>
                  <a:pt x="483236" y="1563406"/>
                  <a:pt x="507311" y="1562248"/>
                  <a:pt x="531340" y="1560936"/>
                </a:cubicBezTo>
                <a:cubicBezTo>
                  <a:pt x="551225" y="1559849"/>
                  <a:pt x="571160" y="1558554"/>
                  <a:pt x="590888" y="1555951"/>
                </a:cubicBezTo>
                <a:cubicBezTo>
                  <a:pt x="631179" y="1550635"/>
                  <a:pt x="671338" y="1544328"/>
                  <a:pt x="710712" y="1533916"/>
                </a:cubicBezTo>
                <a:cubicBezTo>
                  <a:pt x="722630" y="1530764"/>
                  <a:pt x="724036" y="1528558"/>
                  <a:pt x="724356" y="1516144"/>
                </a:cubicBezTo>
                <a:cubicBezTo>
                  <a:pt x="724970" y="1492256"/>
                  <a:pt x="718637" y="1470245"/>
                  <a:pt x="707380" y="1449380"/>
                </a:cubicBezTo>
                <a:cubicBezTo>
                  <a:pt x="706259" y="1447304"/>
                  <a:pt x="706896" y="1444279"/>
                  <a:pt x="707050" y="1440881"/>
                </a:cubicBezTo>
                <a:cubicBezTo>
                  <a:pt x="722747" y="1457101"/>
                  <a:pt x="728653" y="1477963"/>
                  <a:pt x="731479" y="1500017"/>
                </a:cubicBezTo>
                <a:cubicBezTo>
                  <a:pt x="731992" y="1504029"/>
                  <a:pt x="731781" y="1508135"/>
                  <a:pt x="731163" y="1513759"/>
                </a:cubicBezTo>
                <a:cubicBezTo>
                  <a:pt x="730831" y="1517468"/>
                  <a:pt x="731241" y="1519618"/>
                  <a:pt x="731650" y="1521766"/>
                </a:cubicBezTo>
                <a:cubicBezTo>
                  <a:pt x="733191" y="1529956"/>
                  <a:pt x="730165" y="1535242"/>
                  <a:pt x="721896" y="1537319"/>
                </a:cubicBezTo>
                <a:cubicBezTo>
                  <a:pt x="700520" y="1542690"/>
                  <a:pt x="679367" y="1549248"/>
                  <a:pt x="657740" y="1553265"/>
                </a:cubicBezTo>
                <a:cubicBezTo>
                  <a:pt x="608220" y="1562464"/>
                  <a:pt x="558146" y="1566701"/>
                  <a:pt x="507791" y="1568943"/>
                </a:cubicBezTo>
                <a:cubicBezTo>
                  <a:pt x="426738" y="1572552"/>
                  <a:pt x="345677" y="1572161"/>
                  <a:pt x="264676" y="1569724"/>
                </a:cubicBezTo>
                <a:cubicBezTo>
                  <a:pt x="203800" y="1567891"/>
                  <a:pt x="142882" y="1563907"/>
                  <a:pt x="82743" y="1553254"/>
                </a:cubicBezTo>
                <a:cubicBezTo>
                  <a:pt x="60647" y="1549341"/>
                  <a:pt x="38739" y="1544032"/>
                  <a:pt x="17072" y="1538153"/>
                </a:cubicBezTo>
                <a:cubicBezTo>
                  <a:pt x="1381" y="1533894"/>
                  <a:pt x="-938" y="1529341"/>
                  <a:pt x="275" y="1513030"/>
                </a:cubicBezTo>
                <a:cubicBezTo>
                  <a:pt x="2146" y="1487871"/>
                  <a:pt x="7321" y="1463566"/>
                  <a:pt x="20923" y="1441861"/>
                </a:cubicBezTo>
                <a:cubicBezTo>
                  <a:pt x="24812" y="1435656"/>
                  <a:pt x="24566" y="1429699"/>
                  <a:pt x="23045" y="1423105"/>
                </a:cubicBezTo>
                <a:cubicBezTo>
                  <a:pt x="16952" y="1396684"/>
                  <a:pt x="19689" y="1370924"/>
                  <a:pt x="30564" y="1346289"/>
                </a:cubicBezTo>
                <a:cubicBezTo>
                  <a:pt x="39621" y="1325774"/>
                  <a:pt x="54481" y="1309709"/>
                  <a:pt x="71350" y="1295039"/>
                </a:cubicBezTo>
                <a:cubicBezTo>
                  <a:pt x="85712" y="1282550"/>
                  <a:pt x="99164" y="1268932"/>
                  <a:pt x="112257" y="1255093"/>
                </a:cubicBezTo>
                <a:cubicBezTo>
                  <a:pt x="122891" y="1243852"/>
                  <a:pt x="124955" y="1230879"/>
                  <a:pt x="115864" y="1217271"/>
                </a:cubicBezTo>
                <a:cubicBezTo>
                  <a:pt x="114506" y="1215239"/>
                  <a:pt x="113304" y="1213078"/>
                  <a:pt x="112256" y="1210870"/>
                </a:cubicBezTo>
                <a:cubicBezTo>
                  <a:pt x="106526" y="1198808"/>
                  <a:pt x="109052" y="1191969"/>
                  <a:pt x="121141" y="1186548"/>
                </a:cubicBezTo>
                <a:cubicBezTo>
                  <a:pt x="126274" y="1184246"/>
                  <a:pt x="131201" y="1180803"/>
                  <a:pt x="136571" y="1179850"/>
                </a:cubicBezTo>
                <a:cubicBezTo>
                  <a:pt x="149372" y="1177579"/>
                  <a:pt x="154892" y="1168948"/>
                  <a:pt x="158281" y="1157879"/>
                </a:cubicBezTo>
                <a:cubicBezTo>
                  <a:pt x="168288" y="1125194"/>
                  <a:pt x="179178" y="1092742"/>
                  <a:pt x="187986" y="1059736"/>
                </a:cubicBezTo>
                <a:cubicBezTo>
                  <a:pt x="198666" y="1019713"/>
                  <a:pt x="207813" y="979272"/>
                  <a:pt x="217119" y="938896"/>
                </a:cubicBezTo>
                <a:cubicBezTo>
                  <a:pt x="220491" y="924267"/>
                  <a:pt x="222410" y="909302"/>
                  <a:pt x="225792" y="893236"/>
                </a:cubicBezTo>
                <a:cubicBezTo>
                  <a:pt x="226444" y="890644"/>
                  <a:pt x="226297" y="889307"/>
                  <a:pt x="226150" y="887970"/>
                </a:cubicBezTo>
                <a:cubicBezTo>
                  <a:pt x="227450" y="877085"/>
                  <a:pt x="228750" y="866198"/>
                  <a:pt x="230782" y="853969"/>
                </a:cubicBezTo>
                <a:cubicBezTo>
                  <a:pt x="231271" y="851270"/>
                  <a:pt x="231029" y="849914"/>
                  <a:pt x="230786" y="848558"/>
                </a:cubicBezTo>
                <a:cubicBezTo>
                  <a:pt x="231390" y="840967"/>
                  <a:pt x="231993" y="833375"/>
                  <a:pt x="233315" y="824438"/>
                </a:cubicBezTo>
                <a:cubicBezTo>
                  <a:pt x="233755" y="821744"/>
                  <a:pt x="233477" y="820397"/>
                  <a:pt x="233199" y="819050"/>
                </a:cubicBezTo>
                <a:cubicBezTo>
                  <a:pt x="233786" y="807422"/>
                  <a:pt x="234374" y="795794"/>
                  <a:pt x="235848" y="782380"/>
                </a:cubicBezTo>
                <a:cubicBezTo>
                  <a:pt x="237047" y="760099"/>
                  <a:pt x="237488" y="739606"/>
                  <a:pt x="237465" y="719113"/>
                </a:cubicBezTo>
                <a:cubicBezTo>
                  <a:pt x="237463" y="717127"/>
                  <a:pt x="234595" y="715144"/>
                  <a:pt x="233057" y="713160"/>
                </a:cubicBezTo>
                <a:cubicBezTo>
                  <a:pt x="223043" y="711630"/>
                  <a:pt x="212881" y="710731"/>
                  <a:pt x="203056" y="708405"/>
                </a:cubicBezTo>
                <a:cubicBezTo>
                  <a:pt x="191716" y="705720"/>
                  <a:pt x="180144" y="702931"/>
                  <a:pt x="169628" y="698106"/>
                </a:cubicBezTo>
                <a:cubicBezTo>
                  <a:pt x="154505" y="691164"/>
                  <a:pt x="148867" y="675179"/>
                  <a:pt x="153237" y="659111"/>
                </a:cubicBezTo>
                <a:cubicBezTo>
                  <a:pt x="157196" y="644561"/>
                  <a:pt x="166649" y="634454"/>
                  <a:pt x="178365" y="626008"/>
                </a:cubicBezTo>
                <a:cubicBezTo>
                  <a:pt x="182258" y="623202"/>
                  <a:pt x="186579" y="620992"/>
                  <a:pt x="191885" y="617513"/>
                </a:cubicBezTo>
                <a:cubicBezTo>
                  <a:pt x="194882" y="614532"/>
                  <a:pt x="197062" y="612583"/>
                  <a:pt x="193681" y="610098"/>
                </a:cubicBezTo>
                <a:cubicBezTo>
                  <a:pt x="193381" y="595591"/>
                  <a:pt x="202034" y="586776"/>
                  <a:pt x="213301" y="579885"/>
                </a:cubicBezTo>
                <a:cubicBezTo>
                  <a:pt x="218517" y="576695"/>
                  <a:pt x="224270" y="574393"/>
                  <a:pt x="229635" y="571429"/>
                </a:cubicBezTo>
                <a:cubicBezTo>
                  <a:pt x="232401" y="569901"/>
                  <a:pt x="235344" y="568225"/>
                  <a:pt x="237351" y="565882"/>
                </a:cubicBezTo>
                <a:cubicBezTo>
                  <a:pt x="243193" y="559063"/>
                  <a:pt x="242021" y="554779"/>
                  <a:pt x="233673" y="550926"/>
                </a:cubicBezTo>
                <a:cubicBezTo>
                  <a:pt x="231458" y="549904"/>
                  <a:pt x="229049" y="549314"/>
                  <a:pt x="226799" y="548359"/>
                </a:cubicBezTo>
                <a:cubicBezTo>
                  <a:pt x="215108" y="543398"/>
                  <a:pt x="211118" y="532802"/>
                  <a:pt x="218639" y="522664"/>
                </a:cubicBezTo>
                <a:cubicBezTo>
                  <a:pt x="223647" y="515913"/>
                  <a:pt x="222661" y="511633"/>
                  <a:pt x="218264" y="505463"/>
                </a:cubicBezTo>
                <a:cubicBezTo>
                  <a:pt x="203255" y="484407"/>
                  <a:pt x="190650" y="461993"/>
                  <a:pt x="181762" y="437574"/>
                </a:cubicBezTo>
                <a:cubicBezTo>
                  <a:pt x="163530" y="387483"/>
                  <a:pt x="165826" y="338057"/>
                  <a:pt x="185971" y="289069"/>
                </a:cubicBezTo>
                <a:cubicBezTo>
                  <a:pt x="202921" y="247851"/>
                  <a:pt x="226229" y="210377"/>
                  <a:pt x="253787" y="175580"/>
                </a:cubicBezTo>
                <a:cubicBezTo>
                  <a:pt x="271814" y="152817"/>
                  <a:pt x="290973" y="130951"/>
                  <a:pt x="309639" y="108695"/>
                </a:cubicBezTo>
                <a:cubicBezTo>
                  <a:pt x="312744" y="104993"/>
                  <a:pt x="315922" y="101352"/>
                  <a:pt x="318061" y="98855"/>
                </a:cubicBezTo>
                <a:cubicBezTo>
                  <a:pt x="313257" y="88362"/>
                  <a:pt x="308695" y="79376"/>
                  <a:pt x="304967" y="70056"/>
                </a:cubicBezTo>
                <a:cubicBezTo>
                  <a:pt x="297146" y="50504"/>
                  <a:pt x="303366" y="33481"/>
                  <a:pt x="317012" y="19436"/>
                </a:cubicBezTo>
                <a:cubicBezTo>
                  <a:pt x="344741" y="-9105"/>
                  <a:pt x="393463" y="-3345"/>
                  <a:pt x="415542" y="18221"/>
                </a:cubicBezTo>
                <a:cubicBezTo>
                  <a:pt x="429559" y="31914"/>
                  <a:pt x="438373" y="56968"/>
                  <a:pt x="423203" y="82660"/>
                </a:cubicBezTo>
                <a:cubicBezTo>
                  <a:pt x="420306" y="87568"/>
                  <a:pt x="417047" y="92262"/>
                  <a:pt x="413361" y="97975"/>
                </a:cubicBezTo>
                <a:cubicBezTo>
                  <a:pt x="416167" y="100932"/>
                  <a:pt x="418781" y="103940"/>
                  <a:pt x="421654" y="106676"/>
                </a:cubicBezTo>
                <a:cubicBezTo>
                  <a:pt x="446372" y="130213"/>
                  <a:pt x="467902" y="156374"/>
                  <a:pt x="487032" y="184632"/>
                </a:cubicBezTo>
                <a:cubicBezTo>
                  <a:pt x="492374" y="192525"/>
                  <a:pt x="493990" y="199495"/>
                  <a:pt x="489213" y="208238"/>
                </a:cubicBezTo>
                <a:cubicBezTo>
                  <a:pt x="484525" y="216819"/>
                  <a:pt x="481033" y="226053"/>
                  <a:pt x="476520" y="235738"/>
                </a:cubicBezTo>
                <a:cubicBezTo>
                  <a:pt x="472168" y="236089"/>
                  <a:pt x="471165" y="234358"/>
                  <a:pt x="472850" y="230703"/>
                </a:cubicBezTo>
                <a:cubicBezTo>
                  <a:pt x="476263" y="223297"/>
                  <a:pt x="479344" y="215738"/>
                  <a:pt x="482723" y="208315"/>
                </a:cubicBezTo>
                <a:cubicBezTo>
                  <a:pt x="486016" y="201080"/>
                  <a:pt x="485571" y="194961"/>
                  <a:pt x="480764" y="187916"/>
                </a:cubicBezTo>
                <a:cubicBezTo>
                  <a:pt x="459995" y="157475"/>
                  <a:pt x="437234" y="128912"/>
                  <a:pt x="408519" y="105475"/>
                </a:cubicBezTo>
                <a:cubicBezTo>
                  <a:pt x="403555" y="101425"/>
                  <a:pt x="403835" y="96489"/>
                  <a:pt x="408625" y="89203"/>
                </a:cubicBezTo>
                <a:cubicBezTo>
                  <a:pt x="412416" y="83438"/>
                  <a:pt x="416045" y="77562"/>
                  <a:pt x="419600" y="71648"/>
                </a:cubicBezTo>
                <a:cubicBezTo>
                  <a:pt x="421349" y="68739"/>
                  <a:pt x="422717" y="65537"/>
                  <a:pt x="418792" y="63179"/>
                </a:cubicBezTo>
                <a:cubicBezTo>
                  <a:pt x="414834" y="60801"/>
                  <a:pt x="413218" y="63883"/>
                  <a:pt x="410943" y="66417"/>
                </a:cubicBezTo>
                <a:cubicBezTo>
                  <a:pt x="407706" y="70022"/>
                  <a:pt x="404330" y="74045"/>
                  <a:pt x="400140" y="76155"/>
                </a:cubicBezTo>
                <a:cubicBezTo>
                  <a:pt x="381561" y="85507"/>
                  <a:pt x="360821" y="72312"/>
                  <a:pt x="360599" y="51379"/>
                </a:cubicBezTo>
                <a:cubicBezTo>
                  <a:pt x="360556" y="47292"/>
                  <a:pt x="360308" y="43152"/>
                  <a:pt x="360842" y="39128"/>
                </a:cubicBezTo>
                <a:cubicBezTo>
                  <a:pt x="361447" y="34568"/>
                  <a:pt x="362880" y="30159"/>
                  <a:pt x="369470" y="30960"/>
                </a:cubicBezTo>
                <a:cubicBezTo>
                  <a:pt x="368501" y="37551"/>
                  <a:pt x="365745" y="43300"/>
                  <a:pt x="365613" y="49108"/>
                </a:cubicBezTo>
                <a:cubicBezTo>
                  <a:pt x="365328" y="61659"/>
                  <a:pt x="377498" y="72522"/>
                  <a:pt x="389468" y="71608"/>
                </a:cubicBezTo>
                <a:cubicBezTo>
                  <a:pt x="401478" y="70690"/>
                  <a:pt x="410127" y="59637"/>
                  <a:pt x="408822" y="46613"/>
                </a:cubicBezTo>
                <a:cubicBezTo>
                  <a:pt x="408542" y="43819"/>
                  <a:pt x="407521" y="41100"/>
                  <a:pt x="406842" y="38347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44" name="Free-form: Shape 443">
            <a:extLst>
              <a:ext uri="{FF2B5EF4-FFF2-40B4-BE49-F238E27FC236}">
                <a16:creationId xmlns:a16="http://schemas.microsoft.com/office/drawing/2014/main" id="{3DA6C39B-F0F0-9D2D-9409-3B87638B2E10}"/>
              </a:ext>
            </a:extLst>
          </p:cNvPr>
          <p:cNvSpPr/>
          <p:nvPr/>
        </p:nvSpPr>
        <p:spPr>
          <a:xfrm>
            <a:off x="5344280" y="4948150"/>
            <a:ext cx="91545" cy="184495"/>
          </a:xfrm>
          <a:custGeom>
            <a:avLst/>
            <a:gdLst>
              <a:gd name="csX0" fmla="*/ 96534 w 100699"/>
              <a:gd name="csY0" fmla="*/ 202912 h 202945"/>
              <a:gd name="csX1" fmla="*/ 91036 w 100699"/>
              <a:gd name="csY1" fmla="*/ 196780 h 202945"/>
              <a:gd name="csX2" fmla="*/ 93357 w 100699"/>
              <a:gd name="csY2" fmla="*/ 178731 h 202945"/>
              <a:gd name="csX3" fmla="*/ 75903 w 100699"/>
              <a:gd name="csY3" fmla="*/ 106029 h 202945"/>
              <a:gd name="csX4" fmla="*/ 72780 w 100699"/>
              <a:gd name="csY4" fmla="*/ 102473 h 202945"/>
              <a:gd name="csX5" fmla="*/ 10982 w 100699"/>
              <a:gd name="csY5" fmla="*/ 41414 h 202945"/>
              <a:gd name="csX6" fmla="*/ 676 w 100699"/>
              <a:gd name="csY6" fmla="*/ 2936 h 202945"/>
              <a:gd name="csX7" fmla="*/ 5198 w 100699"/>
              <a:gd name="csY7" fmla="*/ 0 h 202945"/>
              <a:gd name="csX8" fmla="*/ 15435 w 100699"/>
              <a:gd name="csY8" fmla="*/ 35855 h 202945"/>
              <a:gd name="csX9" fmla="*/ 44498 w 100699"/>
              <a:gd name="csY9" fmla="*/ 63833 h 202945"/>
              <a:gd name="csX10" fmla="*/ 81385 w 100699"/>
              <a:gd name="csY10" fmla="*/ 106005 h 202945"/>
              <a:gd name="csX11" fmla="*/ 98950 w 100699"/>
              <a:gd name="csY11" fmla="*/ 190063 h 202945"/>
              <a:gd name="csX12" fmla="*/ 96534 w 100699"/>
              <a:gd name="csY12" fmla="*/ 202912 h 20294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</a:cxnLst>
            <a:rect l="l" t="t" r="r" b="b"/>
            <a:pathLst>
              <a:path w="100699" h="202945">
                <a:moveTo>
                  <a:pt x="96534" y="202912"/>
                </a:moveTo>
                <a:cubicBezTo>
                  <a:pt x="91699" y="203291"/>
                  <a:pt x="90650" y="200377"/>
                  <a:pt x="91036" y="196780"/>
                </a:cubicBezTo>
                <a:cubicBezTo>
                  <a:pt x="91685" y="190750"/>
                  <a:pt x="92933" y="184771"/>
                  <a:pt x="93357" y="178731"/>
                </a:cubicBezTo>
                <a:cubicBezTo>
                  <a:pt x="95183" y="152694"/>
                  <a:pt x="86034" y="129222"/>
                  <a:pt x="75903" y="106029"/>
                </a:cubicBezTo>
                <a:cubicBezTo>
                  <a:pt x="75300" y="104650"/>
                  <a:pt x="73904" y="103585"/>
                  <a:pt x="72780" y="102473"/>
                </a:cubicBezTo>
                <a:cubicBezTo>
                  <a:pt x="52199" y="82101"/>
                  <a:pt x="31673" y="61673"/>
                  <a:pt x="10982" y="41414"/>
                </a:cubicBezTo>
                <a:cubicBezTo>
                  <a:pt x="-119" y="30544"/>
                  <a:pt x="-1041" y="17093"/>
                  <a:pt x="676" y="2936"/>
                </a:cubicBezTo>
                <a:cubicBezTo>
                  <a:pt x="808" y="1852"/>
                  <a:pt x="2922" y="1010"/>
                  <a:pt x="5198" y="0"/>
                </a:cubicBezTo>
                <a:cubicBezTo>
                  <a:pt x="2043" y="13772"/>
                  <a:pt x="5665" y="25821"/>
                  <a:pt x="15435" y="35855"/>
                </a:cubicBezTo>
                <a:cubicBezTo>
                  <a:pt x="24811" y="45486"/>
                  <a:pt x="35301" y="54047"/>
                  <a:pt x="44498" y="63833"/>
                </a:cubicBezTo>
                <a:cubicBezTo>
                  <a:pt x="57293" y="77447"/>
                  <a:pt x="70760" y="90773"/>
                  <a:pt x="81385" y="106005"/>
                </a:cubicBezTo>
                <a:cubicBezTo>
                  <a:pt x="98896" y="131109"/>
                  <a:pt x="103759" y="159808"/>
                  <a:pt x="98950" y="190063"/>
                </a:cubicBezTo>
                <a:cubicBezTo>
                  <a:pt x="98311" y="194082"/>
                  <a:pt x="97697" y="198105"/>
                  <a:pt x="96534" y="202912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45" name="Free-form: Shape 444">
            <a:extLst>
              <a:ext uri="{FF2B5EF4-FFF2-40B4-BE49-F238E27FC236}">
                <a16:creationId xmlns:a16="http://schemas.microsoft.com/office/drawing/2014/main" id="{626C4296-4445-9CB7-6733-9D809E3C74D7}"/>
              </a:ext>
            </a:extLst>
          </p:cNvPr>
          <p:cNvSpPr/>
          <p:nvPr/>
        </p:nvSpPr>
        <p:spPr>
          <a:xfrm>
            <a:off x="5002996" y="4484114"/>
            <a:ext cx="3739" cy="60936"/>
          </a:xfrm>
          <a:custGeom>
            <a:avLst/>
            <a:gdLst>
              <a:gd name="csX0" fmla="*/ 0 w 4113"/>
              <a:gd name="csY0" fmla="*/ 0 h 67029"/>
              <a:gd name="csX1" fmla="*/ 4113 w 4113"/>
              <a:gd name="csY1" fmla="*/ 4824 h 67029"/>
              <a:gd name="csX2" fmla="*/ 2662 w 4113"/>
              <a:gd name="csY2" fmla="*/ 67030 h 67029"/>
              <a:gd name="csX3" fmla="*/ 631 w 4113"/>
              <a:gd name="csY3" fmla="*/ 55883 h 67029"/>
              <a:gd name="csX4" fmla="*/ 0 w 4113"/>
              <a:gd name="csY4" fmla="*/ 0 h 6702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4113" h="67029">
                <a:moveTo>
                  <a:pt x="0" y="0"/>
                </a:moveTo>
                <a:cubicBezTo>
                  <a:pt x="1242" y="855"/>
                  <a:pt x="4111" y="2838"/>
                  <a:pt x="4113" y="4824"/>
                </a:cubicBezTo>
                <a:cubicBezTo>
                  <a:pt x="4135" y="25317"/>
                  <a:pt x="3695" y="45810"/>
                  <a:pt x="2662" y="67030"/>
                </a:cubicBezTo>
                <a:cubicBezTo>
                  <a:pt x="1483" y="63799"/>
                  <a:pt x="680" y="59846"/>
                  <a:pt x="631" y="55883"/>
                </a:cubicBezTo>
                <a:cubicBezTo>
                  <a:pt x="404" y="37633"/>
                  <a:pt x="388" y="19381"/>
                  <a:pt x="0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46" name="Free-form: Shape 445">
            <a:extLst>
              <a:ext uri="{FF2B5EF4-FFF2-40B4-BE49-F238E27FC236}">
                <a16:creationId xmlns:a16="http://schemas.microsoft.com/office/drawing/2014/main" id="{E81B7FCC-6424-5AAD-E152-5DB8299ACC88}"/>
              </a:ext>
            </a:extLst>
          </p:cNvPr>
          <p:cNvSpPr/>
          <p:nvPr/>
        </p:nvSpPr>
        <p:spPr>
          <a:xfrm>
            <a:off x="5455385" y="5211914"/>
            <a:ext cx="1060" cy="5803"/>
          </a:xfrm>
          <a:custGeom>
            <a:avLst/>
            <a:gdLst>
              <a:gd name="csX0" fmla="*/ 1130 w 1165"/>
              <a:gd name="csY0" fmla="*/ 6385 h 6384"/>
              <a:gd name="csX1" fmla="*/ 49 w 1165"/>
              <a:gd name="csY1" fmla="*/ 0 h 6384"/>
              <a:gd name="csX2" fmla="*/ 1130 w 1165"/>
              <a:gd name="csY2" fmla="*/ 6385 h 638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165" h="6384">
                <a:moveTo>
                  <a:pt x="1130" y="6385"/>
                </a:moveTo>
                <a:cubicBezTo>
                  <a:pt x="260" y="4748"/>
                  <a:pt x="-149" y="2599"/>
                  <a:pt x="49" y="0"/>
                </a:cubicBezTo>
                <a:cubicBezTo>
                  <a:pt x="969" y="1658"/>
                  <a:pt x="1279" y="3765"/>
                  <a:pt x="1130" y="6385"/>
                </a:cubicBezTo>
                <a:close/>
              </a:path>
            </a:pathLst>
          </a:custGeom>
          <a:solidFill>
            <a:srgbClr val="939B9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47" name="Free-form: Shape 446">
            <a:extLst>
              <a:ext uri="{FF2B5EF4-FFF2-40B4-BE49-F238E27FC236}">
                <a16:creationId xmlns:a16="http://schemas.microsoft.com/office/drawing/2014/main" id="{473DCF4D-ECDB-8F21-0DB3-A8A31C4B1B4D}"/>
              </a:ext>
            </a:extLst>
          </p:cNvPr>
          <p:cNvSpPr/>
          <p:nvPr/>
        </p:nvSpPr>
        <p:spPr>
          <a:xfrm>
            <a:off x="5425656" y="5137819"/>
            <a:ext cx="5440" cy="2491"/>
          </a:xfrm>
          <a:custGeom>
            <a:avLst/>
            <a:gdLst>
              <a:gd name="csX0" fmla="*/ 5985 w 5984"/>
              <a:gd name="csY0" fmla="*/ 1832 h 2740"/>
              <a:gd name="csX1" fmla="*/ 0 w 5984"/>
              <a:gd name="csY1" fmla="*/ 2740 h 2740"/>
              <a:gd name="csX2" fmla="*/ 4930 w 5984"/>
              <a:gd name="csY2" fmla="*/ 0 h 2740"/>
              <a:gd name="csX3" fmla="*/ 5985 w 5984"/>
              <a:gd name="csY3" fmla="*/ 1832 h 274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</a:cxnLst>
            <a:rect l="l" t="t" r="r" b="b"/>
            <a:pathLst>
              <a:path w="5984" h="2740">
                <a:moveTo>
                  <a:pt x="5985" y="1832"/>
                </a:moveTo>
                <a:cubicBezTo>
                  <a:pt x="3992" y="2553"/>
                  <a:pt x="1996" y="2646"/>
                  <a:pt x="0" y="2740"/>
                </a:cubicBezTo>
                <a:cubicBezTo>
                  <a:pt x="1398" y="1830"/>
                  <a:pt x="2796" y="920"/>
                  <a:pt x="4930" y="0"/>
                </a:cubicBezTo>
                <a:cubicBezTo>
                  <a:pt x="5772" y="394"/>
                  <a:pt x="5877" y="799"/>
                  <a:pt x="5985" y="1832"/>
                </a:cubicBezTo>
                <a:close/>
              </a:path>
            </a:pathLst>
          </a:custGeom>
          <a:solidFill>
            <a:srgbClr val="8E9395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48" name="Free-form: Shape 447">
            <a:extLst>
              <a:ext uri="{FF2B5EF4-FFF2-40B4-BE49-F238E27FC236}">
                <a16:creationId xmlns:a16="http://schemas.microsoft.com/office/drawing/2014/main" id="{A649719E-5468-8AFA-FBA1-384603F1B25B}"/>
              </a:ext>
            </a:extLst>
          </p:cNvPr>
          <p:cNvSpPr/>
          <p:nvPr/>
        </p:nvSpPr>
        <p:spPr>
          <a:xfrm>
            <a:off x="4965769" y="4389934"/>
            <a:ext cx="2645" cy="5625"/>
          </a:xfrm>
          <a:custGeom>
            <a:avLst/>
            <a:gdLst>
              <a:gd name="csX0" fmla="*/ 815 w 2910"/>
              <a:gd name="csY0" fmla="*/ 0 h 6187"/>
              <a:gd name="csX1" fmla="*/ 113 w 2910"/>
              <a:gd name="csY1" fmla="*/ 6187 h 6187"/>
              <a:gd name="csX2" fmla="*/ 815 w 2910"/>
              <a:gd name="csY2" fmla="*/ 0 h 618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2910" h="6187">
                <a:moveTo>
                  <a:pt x="815" y="0"/>
                </a:moveTo>
                <a:cubicBezTo>
                  <a:pt x="4660" y="1891"/>
                  <a:pt x="2480" y="3840"/>
                  <a:pt x="113" y="6187"/>
                </a:cubicBezTo>
                <a:cubicBezTo>
                  <a:pt x="-172" y="4565"/>
                  <a:pt x="89" y="2579"/>
                  <a:pt x="815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49" name="Free-form: Shape 448">
            <a:extLst>
              <a:ext uri="{FF2B5EF4-FFF2-40B4-BE49-F238E27FC236}">
                <a16:creationId xmlns:a16="http://schemas.microsoft.com/office/drawing/2014/main" id="{AA68B303-B2C8-FE08-5824-477905D4967A}"/>
              </a:ext>
            </a:extLst>
          </p:cNvPr>
          <p:cNvSpPr/>
          <p:nvPr/>
        </p:nvSpPr>
        <p:spPr>
          <a:xfrm>
            <a:off x="5000184" y="4606508"/>
            <a:ext cx="770" cy="3664"/>
          </a:xfrm>
          <a:custGeom>
            <a:avLst/>
            <a:gdLst>
              <a:gd name="csX0" fmla="*/ 106 w 847"/>
              <a:gd name="csY0" fmla="*/ 0 h 4030"/>
              <a:gd name="csX1" fmla="*/ 732 w 847"/>
              <a:gd name="csY1" fmla="*/ 4031 h 4030"/>
              <a:gd name="csX2" fmla="*/ 106 w 847"/>
              <a:gd name="csY2" fmla="*/ 0 h 403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7" h="4030">
                <a:moveTo>
                  <a:pt x="106" y="0"/>
                </a:moveTo>
                <a:cubicBezTo>
                  <a:pt x="770" y="990"/>
                  <a:pt x="1013" y="2346"/>
                  <a:pt x="732" y="4031"/>
                </a:cubicBezTo>
                <a:cubicBezTo>
                  <a:pt x="34" y="3029"/>
                  <a:pt x="-141" y="1697"/>
                  <a:pt x="106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50" name="Free-form: Shape 449">
            <a:extLst>
              <a:ext uri="{FF2B5EF4-FFF2-40B4-BE49-F238E27FC236}">
                <a16:creationId xmlns:a16="http://schemas.microsoft.com/office/drawing/2014/main" id="{6B381690-2E2C-6C2E-C2BA-A6B613ED443D}"/>
              </a:ext>
            </a:extLst>
          </p:cNvPr>
          <p:cNvSpPr/>
          <p:nvPr/>
        </p:nvSpPr>
        <p:spPr>
          <a:xfrm>
            <a:off x="4995860" y="4642302"/>
            <a:ext cx="703" cy="3631"/>
          </a:xfrm>
          <a:custGeom>
            <a:avLst/>
            <a:gdLst>
              <a:gd name="csX0" fmla="*/ 195 w 774"/>
              <a:gd name="csY0" fmla="*/ 0 h 3994"/>
              <a:gd name="csX1" fmla="*/ 575 w 774"/>
              <a:gd name="csY1" fmla="*/ 3994 h 3994"/>
              <a:gd name="csX2" fmla="*/ 195 w 774"/>
              <a:gd name="csY2" fmla="*/ 0 h 399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774" h="3994">
                <a:moveTo>
                  <a:pt x="195" y="0"/>
                </a:moveTo>
                <a:cubicBezTo>
                  <a:pt x="794" y="1011"/>
                  <a:pt x="941" y="2348"/>
                  <a:pt x="575" y="3994"/>
                </a:cubicBezTo>
                <a:cubicBezTo>
                  <a:pt x="-44" y="2978"/>
                  <a:pt x="-151" y="1652"/>
                  <a:pt x="195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51" name="Free-form: Shape 450">
            <a:extLst>
              <a:ext uri="{FF2B5EF4-FFF2-40B4-BE49-F238E27FC236}">
                <a16:creationId xmlns:a16="http://schemas.microsoft.com/office/drawing/2014/main" id="{A7181A35-9856-4432-2425-9FF259F68271}"/>
              </a:ext>
            </a:extLst>
          </p:cNvPr>
          <p:cNvSpPr/>
          <p:nvPr/>
        </p:nvSpPr>
        <p:spPr>
          <a:xfrm>
            <a:off x="5002437" y="4579698"/>
            <a:ext cx="787" cy="3631"/>
          </a:xfrm>
          <a:custGeom>
            <a:avLst/>
            <a:gdLst>
              <a:gd name="csX0" fmla="*/ 71 w 865"/>
              <a:gd name="csY0" fmla="*/ 0 h 3995"/>
              <a:gd name="csX1" fmla="*/ 783 w 865"/>
              <a:gd name="csY1" fmla="*/ 3996 h 3995"/>
              <a:gd name="csX2" fmla="*/ 71 w 865"/>
              <a:gd name="csY2" fmla="*/ 0 h 399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65" h="3995">
                <a:moveTo>
                  <a:pt x="71" y="0"/>
                </a:moveTo>
                <a:cubicBezTo>
                  <a:pt x="740" y="963"/>
                  <a:pt x="1018" y="2311"/>
                  <a:pt x="783" y="3996"/>
                </a:cubicBezTo>
                <a:cubicBezTo>
                  <a:pt x="73" y="3017"/>
                  <a:pt x="-124" y="1701"/>
                  <a:pt x="71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52" name="Free-form: Shape 451">
            <a:extLst>
              <a:ext uri="{FF2B5EF4-FFF2-40B4-BE49-F238E27FC236}">
                <a16:creationId xmlns:a16="http://schemas.microsoft.com/office/drawing/2014/main" id="{FAEB2E80-616A-A5DE-5543-368AC55D2626}"/>
              </a:ext>
            </a:extLst>
          </p:cNvPr>
          <p:cNvSpPr/>
          <p:nvPr/>
        </p:nvSpPr>
        <p:spPr>
          <a:xfrm>
            <a:off x="5120741" y="4483724"/>
            <a:ext cx="170236" cy="426821"/>
          </a:xfrm>
          <a:custGeom>
            <a:avLst/>
            <a:gdLst>
              <a:gd name="csX0" fmla="*/ 120604 w 187260"/>
              <a:gd name="csY0" fmla="*/ 222968 h 469503"/>
              <a:gd name="csX1" fmla="*/ 187261 w 187260"/>
              <a:gd name="csY1" fmla="*/ 469503 h 469503"/>
              <a:gd name="csX2" fmla="*/ 1253 w 187260"/>
              <a:gd name="csY2" fmla="*/ 466078 h 469503"/>
              <a:gd name="csX3" fmla="*/ 8 w 187260"/>
              <a:gd name="csY3" fmla="*/ 458101 h 469503"/>
              <a:gd name="csX4" fmla="*/ 4383 w 187260"/>
              <a:gd name="csY4" fmla="*/ 351443 h 469503"/>
              <a:gd name="csX5" fmla="*/ 4615 w 187260"/>
              <a:gd name="csY5" fmla="*/ 346536 h 469503"/>
              <a:gd name="csX6" fmla="*/ 7935 w 187260"/>
              <a:gd name="csY6" fmla="*/ 233648 h 469503"/>
              <a:gd name="csX7" fmla="*/ 10461 w 187260"/>
              <a:gd name="csY7" fmla="*/ 128112 h 469503"/>
              <a:gd name="csX8" fmla="*/ 12461 w 187260"/>
              <a:gd name="csY8" fmla="*/ 12750 h 469503"/>
              <a:gd name="csX9" fmla="*/ 13165 w 187260"/>
              <a:gd name="csY9" fmla="*/ 4285 h 469503"/>
              <a:gd name="csX10" fmla="*/ 102327 w 187260"/>
              <a:gd name="csY10" fmla="*/ 0 h 469503"/>
              <a:gd name="csX11" fmla="*/ 106229 w 187260"/>
              <a:gd name="csY11" fmla="*/ 111321 h 469503"/>
              <a:gd name="csX12" fmla="*/ 120604 w 187260"/>
              <a:gd name="csY12" fmla="*/ 222968 h 46950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</a:cxnLst>
            <a:rect l="l" t="t" r="r" b="b"/>
            <a:pathLst>
              <a:path w="187260" h="469503">
                <a:moveTo>
                  <a:pt x="120604" y="222968"/>
                </a:moveTo>
                <a:cubicBezTo>
                  <a:pt x="135383" y="307129"/>
                  <a:pt x="159464" y="387725"/>
                  <a:pt x="187261" y="469503"/>
                </a:cubicBezTo>
                <a:cubicBezTo>
                  <a:pt x="124460" y="468347"/>
                  <a:pt x="63286" y="467220"/>
                  <a:pt x="1253" y="466078"/>
                </a:cubicBezTo>
                <a:cubicBezTo>
                  <a:pt x="818" y="463442"/>
                  <a:pt x="-95" y="460752"/>
                  <a:pt x="8" y="458101"/>
                </a:cubicBezTo>
                <a:cubicBezTo>
                  <a:pt x="1383" y="422545"/>
                  <a:pt x="2900" y="386994"/>
                  <a:pt x="4383" y="351443"/>
                </a:cubicBezTo>
                <a:cubicBezTo>
                  <a:pt x="4451" y="349807"/>
                  <a:pt x="4566" y="348172"/>
                  <a:pt x="4615" y="346536"/>
                </a:cubicBezTo>
                <a:cubicBezTo>
                  <a:pt x="5732" y="308907"/>
                  <a:pt x="6921" y="271280"/>
                  <a:pt x="7935" y="233648"/>
                </a:cubicBezTo>
                <a:cubicBezTo>
                  <a:pt x="8883" y="198472"/>
                  <a:pt x="9752" y="163293"/>
                  <a:pt x="10461" y="128112"/>
                </a:cubicBezTo>
                <a:cubicBezTo>
                  <a:pt x="11237" y="89660"/>
                  <a:pt x="11781" y="51204"/>
                  <a:pt x="12461" y="12750"/>
                </a:cubicBezTo>
                <a:cubicBezTo>
                  <a:pt x="12503" y="10363"/>
                  <a:pt x="12848" y="7981"/>
                  <a:pt x="13165" y="4285"/>
                </a:cubicBezTo>
                <a:cubicBezTo>
                  <a:pt x="42856" y="2858"/>
                  <a:pt x="72082" y="1454"/>
                  <a:pt x="102327" y="0"/>
                </a:cubicBezTo>
                <a:cubicBezTo>
                  <a:pt x="103499" y="37348"/>
                  <a:pt x="103207" y="74470"/>
                  <a:pt x="106229" y="111321"/>
                </a:cubicBezTo>
                <a:cubicBezTo>
                  <a:pt x="109263" y="148326"/>
                  <a:pt x="115599" y="185060"/>
                  <a:pt x="120604" y="222968"/>
                </a:cubicBezTo>
                <a:close/>
              </a:path>
            </a:pathLst>
          </a:custGeom>
          <a:solidFill>
            <a:srgbClr val="FDFDFD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53" name="Free-form: Shape 452">
            <a:extLst>
              <a:ext uri="{FF2B5EF4-FFF2-40B4-BE49-F238E27FC236}">
                <a16:creationId xmlns:a16="http://schemas.microsoft.com/office/drawing/2014/main" id="{1E5748D6-C6D7-ADB0-A310-256BAE61C982}"/>
              </a:ext>
            </a:extLst>
          </p:cNvPr>
          <p:cNvSpPr/>
          <p:nvPr/>
        </p:nvSpPr>
        <p:spPr>
          <a:xfrm>
            <a:off x="5119548" y="4950476"/>
            <a:ext cx="284824" cy="179974"/>
          </a:xfrm>
          <a:custGeom>
            <a:avLst/>
            <a:gdLst>
              <a:gd name="csX0" fmla="*/ 160234 w 313306"/>
              <a:gd name="csY0" fmla="*/ 197876 h 197971"/>
              <a:gd name="csX1" fmla="*/ 544 w 313306"/>
              <a:gd name="csY1" fmla="*/ 197972 h 197971"/>
              <a:gd name="csX2" fmla="*/ 3466 w 313306"/>
              <a:gd name="csY2" fmla="*/ 104326 h 197971"/>
              <a:gd name="csX3" fmla="*/ 0 w 313306"/>
              <a:gd name="csY3" fmla="*/ 10720 h 197971"/>
              <a:gd name="csX4" fmla="*/ 5445 w 313306"/>
              <a:gd name="csY4" fmla="*/ 9282 h 197971"/>
              <a:gd name="csX5" fmla="*/ 71623 w 313306"/>
              <a:gd name="csY5" fmla="*/ 6885 h 197971"/>
              <a:gd name="csX6" fmla="*/ 187887 w 313306"/>
              <a:gd name="csY6" fmla="*/ 233 h 197971"/>
              <a:gd name="csX7" fmla="*/ 215297 w 313306"/>
              <a:gd name="csY7" fmla="*/ 163 h 197971"/>
              <a:gd name="csX8" fmla="*/ 243629 w 313306"/>
              <a:gd name="csY8" fmla="*/ 61389 h 197971"/>
              <a:gd name="csX9" fmla="*/ 270660 w 313306"/>
              <a:gd name="csY9" fmla="*/ 86342 h 197971"/>
              <a:gd name="csX10" fmla="*/ 313142 w 313306"/>
              <a:gd name="csY10" fmla="*/ 170098 h 197971"/>
              <a:gd name="csX11" fmla="*/ 313291 w 313306"/>
              <a:gd name="csY11" fmla="*/ 176231 h 197971"/>
              <a:gd name="csX12" fmla="*/ 312654 w 313306"/>
              <a:gd name="csY12" fmla="*/ 180738 h 197971"/>
              <a:gd name="csX13" fmla="*/ 279655 w 313306"/>
              <a:gd name="csY13" fmla="*/ 186226 h 197971"/>
              <a:gd name="csX14" fmla="*/ 167436 w 313306"/>
              <a:gd name="csY14" fmla="*/ 196805 h 197971"/>
              <a:gd name="csX15" fmla="*/ 160234 w 313306"/>
              <a:gd name="csY15" fmla="*/ 197876 h 19797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</a:cxnLst>
            <a:rect l="l" t="t" r="r" b="b"/>
            <a:pathLst>
              <a:path w="313306" h="197971">
                <a:moveTo>
                  <a:pt x="160234" y="197876"/>
                </a:moveTo>
                <a:cubicBezTo>
                  <a:pt x="106384" y="197972"/>
                  <a:pt x="53682" y="197972"/>
                  <a:pt x="544" y="197972"/>
                </a:cubicBezTo>
                <a:cubicBezTo>
                  <a:pt x="1602" y="166763"/>
                  <a:pt x="3550" y="135542"/>
                  <a:pt x="3466" y="104326"/>
                </a:cubicBezTo>
                <a:cubicBezTo>
                  <a:pt x="3383" y="73323"/>
                  <a:pt x="1255" y="42326"/>
                  <a:pt x="0" y="10720"/>
                </a:cubicBezTo>
                <a:cubicBezTo>
                  <a:pt x="1689" y="10255"/>
                  <a:pt x="3551" y="9355"/>
                  <a:pt x="5445" y="9282"/>
                </a:cubicBezTo>
                <a:cubicBezTo>
                  <a:pt x="27503" y="8435"/>
                  <a:pt x="49582" y="8030"/>
                  <a:pt x="71623" y="6885"/>
                </a:cubicBezTo>
                <a:cubicBezTo>
                  <a:pt x="110388" y="4872"/>
                  <a:pt x="149126" y="2333"/>
                  <a:pt x="187887" y="233"/>
                </a:cubicBezTo>
                <a:cubicBezTo>
                  <a:pt x="196749" y="-247"/>
                  <a:pt x="205660" y="163"/>
                  <a:pt x="215297" y="163"/>
                </a:cubicBezTo>
                <a:cubicBezTo>
                  <a:pt x="215450" y="25550"/>
                  <a:pt x="226120" y="45122"/>
                  <a:pt x="243629" y="61389"/>
                </a:cubicBezTo>
                <a:cubicBezTo>
                  <a:pt x="252615" y="69739"/>
                  <a:pt x="261099" y="78715"/>
                  <a:pt x="270660" y="86342"/>
                </a:cubicBezTo>
                <a:cubicBezTo>
                  <a:pt x="297676" y="107892"/>
                  <a:pt x="310731" y="136225"/>
                  <a:pt x="313142" y="170098"/>
                </a:cubicBezTo>
                <a:cubicBezTo>
                  <a:pt x="313287" y="172136"/>
                  <a:pt x="313335" y="174188"/>
                  <a:pt x="313291" y="176231"/>
                </a:cubicBezTo>
                <a:cubicBezTo>
                  <a:pt x="313265" y="177429"/>
                  <a:pt x="312966" y="178621"/>
                  <a:pt x="312654" y="180738"/>
                </a:cubicBezTo>
                <a:cubicBezTo>
                  <a:pt x="302343" y="185396"/>
                  <a:pt x="290736" y="185049"/>
                  <a:pt x="279655" y="186226"/>
                </a:cubicBezTo>
                <a:cubicBezTo>
                  <a:pt x="242295" y="190193"/>
                  <a:pt x="204847" y="193324"/>
                  <a:pt x="167436" y="196805"/>
                </a:cubicBezTo>
                <a:cubicBezTo>
                  <a:pt x="165405" y="196994"/>
                  <a:pt x="163399" y="197449"/>
                  <a:pt x="160234" y="197876"/>
                </a:cubicBezTo>
                <a:close/>
              </a:path>
            </a:pathLst>
          </a:custGeom>
          <a:solidFill>
            <a:srgbClr val="FDFEFE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54" name="Free-form: Shape 453">
            <a:extLst>
              <a:ext uri="{FF2B5EF4-FFF2-40B4-BE49-F238E27FC236}">
                <a16:creationId xmlns:a16="http://schemas.microsoft.com/office/drawing/2014/main" id="{BF3847BF-BF2F-714F-3D2B-F305E2DD1D70}"/>
              </a:ext>
            </a:extLst>
          </p:cNvPr>
          <p:cNvSpPr/>
          <p:nvPr/>
        </p:nvSpPr>
        <p:spPr>
          <a:xfrm>
            <a:off x="5130291" y="3933892"/>
            <a:ext cx="149260" cy="361842"/>
          </a:xfrm>
          <a:custGeom>
            <a:avLst/>
            <a:gdLst>
              <a:gd name="csX0" fmla="*/ 22609 w 164186"/>
              <a:gd name="csY0" fmla="*/ 398026 h 398026"/>
              <a:gd name="csX1" fmla="*/ 16884 w 164186"/>
              <a:gd name="csY1" fmla="*/ 390515 h 398026"/>
              <a:gd name="csX2" fmla="*/ 9661 w 164186"/>
              <a:gd name="csY2" fmla="*/ 328443 h 398026"/>
              <a:gd name="csX3" fmla="*/ 534 w 164186"/>
              <a:gd name="csY3" fmla="*/ 196369 h 398026"/>
              <a:gd name="csX4" fmla="*/ 1243 w 164186"/>
              <a:gd name="csY4" fmla="*/ 82293 h 398026"/>
              <a:gd name="csX5" fmla="*/ 2245 w 164186"/>
              <a:gd name="csY5" fmla="*/ 43023 h 398026"/>
              <a:gd name="csX6" fmla="*/ 4587 w 164186"/>
              <a:gd name="csY6" fmla="*/ 0 h 398026"/>
              <a:gd name="csX7" fmla="*/ 12341 w 164186"/>
              <a:gd name="csY7" fmla="*/ 3872 h 398026"/>
              <a:gd name="csX8" fmla="*/ 85914 w 164186"/>
              <a:gd name="csY8" fmla="*/ 78943 h 398026"/>
              <a:gd name="csX9" fmla="*/ 87893 w 164186"/>
              <a:gd name="csY9" fmla="*/ 99117 h 398026"/>
              <a:gd name="csX10" fmla="*/ 35459 w 164186"/>
              <a:gd name="csY10" fmla="*/ 207346 h 398026"/>
              <a:gd name="csX11" fmla="*/ 32223 w 164186"/>
              <a:gd name="csY11" fmla="*/ 213959 h 398026"/>
              <a:gd name="csX12" fmla="*/ 39509 w 164186"/>
              <a:gd name="csY12" fmla="*/ 242056 h 398026"/>
              <a:gd name="csX13" fmla="*/ 69474 w 164186"/>
              <a:gd name="csY13" fmla="*/ 237019 h 398026"/>
              <a:gd name="csX14" fmla="*/ 89101 w 164186"/>
              <a:gd name="csY14" fmla="*/ 208870 h 398026"/>
              <a:gd name="csX15" fmla="*/ 121716 w 164186"/>
              <a:gd name="csY15" fmla="*/ 158357 h 398026"/>
              <a:gd name="csX16" fmla="*/ 129330 w 164186"/>
              <a:gd name="csY16" fmla="*/ 148165 h 398026"/>
              <a:gd name="csX17" fmla="*/ 137171 w 164186"/>
              <a:gd name="csY17" fmla="*/ 159989 h 398026"/>
              <a:gd name="csX18" fmla="*/ 163812 w 164186"/>
              <a:gd name="csY18" fmla="*/ 273175 h 398026"/>
              <a:gd name="csX19" fmla="*/ 118151 w 164186"/>
              <a:gd name="csY19" fmla="*/ 383442 h 398026"/>
              <a:gd name="csX20" fmla="*/ 92325 w 164186"/>
              <a:gd name="csY20" fmla="*/ 395173 h 398026"/>
              <a:gd name="csX21" fmla="*/ 22609 w 164186"/>
              <a:gd name="csY21" fmla="*/ 398026 h 39802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</a:cxnLst>
            <a:rect l="l" t="t" r="r" b="b"/>
            <a:pathLst>
              <a:path w="164186" h="398026">
                <a:moveTo>
                  <a:pt x="22609" y="398026"/>
                </a:moveTo>
                <a:cubicBezTo>
                  <a:pt x="19898" y="395489"/>
                  <a:pt x="17229" y="393154"/>
                  <a:pt x="16884" y="390515"/>
                </a:cubicBezTo>
                <a:cubicBezTo>
                  <a:pt x="14183" y="369861"/>
                  <a:pt x="11326" y="349196"/>
                  <a:pt x="9661" y="328443"/>
                </a:cubicBezTo>
                <a:cubicBezTo>
                  <a:pt x="6132" y="284452"/>
                  <a:pt x="2125" y="240448"/>
                  <a:pt x="534" y="196369"/>
                </a:cubicBezTo>
                <a:cubicBezTo>
                  <a:pt x="-837" y="158401"/>
                  <a:pt x="816" y="120322"/>
                  <a:pt x="1243" y="82293"/>
                </a:cubicBezTo>
                <a:cubicBezTo>
                  <a:pt x="1389" y="69201"/>
                  <a:pt x="1708" y="56105"/>
                  <a:pt x="2245" y="43023"/>
                </a:cubicBezTo>
                <a:cubicBezTo>
                  <a:pt x="2815" y="29160"/>
                  <a:pt x="3738" y="15312"/>
                  <a:pt x="4587" y="0"/>
                </a:cubicBezTo>
                <a:cubicBezTo>
                  <a:pt x="7809" y="1586"/>
                  <a:pt x="10279" y="2436"/>
                  <a:pt x="12341" y="3872"/>
                </a:cubicBezTo>
                <a:cubicBezTo>
                  <a:pt x="41601" y="24248"/>
                  <a:pt x="64069" y="51269"/>
                  <a:pt x="85914" y="78943"/>
                </a:cubicBezTo>
                <a:cubicBezTo>
                  <a:pt x="91106" y="85520"/>
                  <a:pt x="91706" y="91406"/>
                  <a:pt x="87893" y="99117"/>
                </a:cubicBezTo>
                <a:cubicBezTo>
                  <a:pt x="70127" y="135051"/>
                  <a:pt x="52890" y="171246"/>
                  <a:pt x="35459" y="207346"/>
                </a:cubicBezTo>
                <a:cubicBezTo>
                  <a:pt x="34391" y="209557"/>
                  <a:pt x="33130" y="211686"/>
                  <a:pt x="32223" y="213959"/>
                </a:cubicBezTo>
                <a:cubicBezTo>
                  <a:pt x="27471" y="225873"/>
                  <a:pt x="30154" y="236086"/>
                  <a:pt x="39509" y="242056"/>
                </a:cubicBezTo>
                <a:cubicBezTo>
                  <a:pt x="48880" y="248038"/>
                  <a:pt x="61705" y="246477"/>
                  <a:pt x="69474" y="237019"/>
                </a:cubicBezTo>
                <a:cubicBezTo>
                  <a:pt x="76712" y="228205"/>
                  <a:pt x="82824" y="218436"/>
                  <a:pt x="89101" y="208870"/>
                </a:cubicBezTo>
                <a:cubicBezTo>
                  <a:pt x="100096" y="192114"/>
                  <a:pt x="110806" y="175170"/>
                  <a:pt x="121716" y="158357"/>
                </a:cubicBezTo>
                <a:cubicBezTo>
                  <a:pt x="123679" y="155333"/>
                  <a:pt x="126029" y="152559"/>
                  <a:pt x="129330" y="148165"/>
                </a:cubicBezTo>
                <a:cubicBezTo>
                  <a:pt x="132450" y="152828"/>
                  <a:pt x="135175" y="156216"/>
                  <a:pt x="137171" y="159989"/>
                </a:cubicBezTo>
                <a:cubicBezTo>
                  <a:pt x="155891" y="195388"/>
                  <a:pt x="166343" y="232905"/>
                  <a:pt x="163812" y="273175"/>
                </a:cubicBezTo>
                <a:cubicBezTo>
                  <a:pt x="161183" y="314982"/>
                  <a:pt x="144984" y="351430"/>
                  <a:pt x="118151" y="383442"/>
                </a:cubicBezTo>
                <a:cubicBezTo>
                  <a:pt x="111214" y="391718"/>
                  <a:pt x="102452" y="394716"/>
                  <a:pt x="92325" y="395173"/>
                </a:cubicBezTo>
                <a:cubicBezTo>
                  <a:pt x="69461" y="396207"/>
                  <a:pt x="46593" y="397123"/>
                  <a:pt x="22609" y="398026"/>
                </a:cubicBezTo>
                <a:close/>
              </a:path>
            </a:pathLst>
          </a:custGeom>
          <a:solidFill>
            <a:srgbClr val="FCFDFD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55" name="Free-form: Shape 454">
            <a:extLst>
              <a:ext uri="{FF2B5EF4-FFF2-40B4-BE49-F238E27FC236}">
                <a16:creationId xmlns:a16="http://schemas.microsoft.com/office/drawing/2014/main" id="{2FF9CD3B-57BF-C49E-DAA6-CB8A28B2C327}"/>
              </a:ext>
            </a:extLst>
          </p:cNvPr>
          <p:cNvSpPr/>
          <p:nvPr/>
        </p:nvSpPr>
        <p:spPr>
          <a:xfrm>
            <a:off x="5116184" y="5159683"/>
            <a:ext cx="305850" cy="64961"/>
          </a:xfrm>
          <a:custGeom>
            <a:avLst/>
            <a:gdLst>
              <a:gd name="csX0" fmla="*/ 105937 w 336434"/>
              <a:gd name="csY0" fmla="*/ 71458 h 71457"/>
              <a:gd name="csX1" fmla="*/ 3534 w 336434"/>
              <a:gd name="csY1" fmla="*/ 69115 h 71457"/>
              <a:gd name="csX2" fmla="*/ 1296 w 336434"/>
              <a:gd name="csY2" fmla="*/ 17910 h 71457"/>
              <a:gd name="csX3" fmla="*/ 14032 w 336434"/>
              <a:gd name="csY3" fmla="*/ 17908 h 71457"/>
              <a:gd name="csX4" fmla="*/ 102444 w 336434"/>
              <a:gd name="csY4" fmla="*/ 17433 h 71457"/>
              <a:gd name="csX5" fmla="*/ 284561 w 336434"/>
              <a:gd name="csY5" fmla="*/ 3564 h 71457"/>
              <a:gd name="csX6" fmla="*/ 311323 w 336434"/>
              <a:gd name="csY6" fmla="*/ 224 h 71457"/>
              <a:gd name="csX7" fmla="*/ 324313 w 336434"/>
              <a:gd name="csY7" fmla="*/ 6639 h 71457"/>
              <a:gd name="csX8" fmla="*/ 336434 w 336434"/>
              <a:gd name="csY8" fmla="*/ 46484 h 71457"/>
              <a:gd name="csX9" fmla="*/ 105937 w 336434"/>
              <a:gd name="csY9" fmla="*/ 71458 h 7145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336434" h="71457">
                <a:moveTo>
                  <a:pt x="105937" y="71458"/>
                </a:moveTo>
                <a:cubicBezTo>
                  <a:pt x="70820" y="70678"/>
                  <a:pt x="36930" y="69891"/>
                  <a:pt x="3534" y="69115"/>
                </a:cubicBezTo>
                <a:cubicBezTo>
                  <a:pt x="-81" y="59433"/>
                  <a:pt x="-1094" y="35337"/>
                  <a:pt x="1296" y="17910"/>
                </a:cubicBezTo>
                <a:cubicBezTo>
                  <a:pt x="5366" y="17910"/>
                  <a:pt x="9699" y="17923"/>
                  <a:pt x="14032" y="17908"/>
                </a:cubicBezTo>
                <a:cubicBezTo>
                  <a:pt x="43505" y="17812"/>
                  <a:pt x="73011" y="18557"/>
                  <a:pt x="102444" y="17433"/>
                </a:cubicBezTo>
                <a:cubicBezTo>
                  <a:pt x="163306" y="15109"/>
                  <a:pt x="224166" y="12264"/>
                  <a:pt x="284561" y="3564"/>
                </a:cubicBezTo>
                <a:cubicBezTo>
                  <a:pt x="293458" y="2283"/>
                  <a:pt x="302438" y="1575"/>
                  <a:pt x="311323" y="224"/>
                </a:cubicBezTo>
                <a:cubicBezTo>
                  <a:pt x="317371" y="-696"/>
                  <a:pt x="321247" y="1177"/>
                  <a:pt x="324313" y="6639"/>
                </a:cubicBezTo>
                <a:cubicBezTo>
                  <a:pt x="330512" y="17683"/>
                  <a:pt x="335236" y="31679"/>
                  <a:pt x="336434" y="46484"/>
                </a:cubicBezTo>
                <a:cubicBezTo>
                  <a:pt x="261124" y="64059"/>
                  <a:pt x="184356" y="69587"/>
                  <a:pt x="105937" y="71458"/>
                </a:cubicBezTo>
                <a:close/>
              </a:path>
            </a:pathLst>
          </a:custGeom>
          <a:solidFill>
            <a:srgbClr val="FCFCFC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56" name="Free-form: Shape 455">
            <a:extLst>
              <a:ext uri="{FF2B5EF4-FFF2-40B4-BE49-F238E27FC236}">
                <a16:creationId xmlns:a16="http://schemas.microsoft.com/office/drawing/2014/main" id="{4B2834B0-C44B-AE44-DD9A-4CD555CDFA88}"/>
              </a:ext>
            </a:extLst>
          </p:cNvPr>
          <p:cNvSpPr/>
          <p:nvPr/>
        </p:nvSpPr>
        <p:spPr>
          <a:xfrm>
            <a:off x="5129741" y="4328959"/>
            <a:ext cx="120683" cy="63097"/>
          </a:xfrm>
          <a:custGeom>
            <a:avLst/>
            <a:gdLst>
              <a:gd name="csX0" fmla="*/ 5051 w 132751"/>
              <a:gd name="csY0" fmla="*/ 7534 h 69406"/>
              <a:gd name="csX1" fmla="*/ 10615 w 132751"/>
              <a:gd name="csY1" fmla="*/ 3077 h 69406"/>
              <a:gd name="csX2" fmla="*/ 26541 w 132751"/>
              <a:gd name="csY2" fmla="*/ 2752 h 69406"/>
              <a:gd name="csX3" fmla="*/ 87728 w 132751"/>
              <a:gd name="csY3" fmla="*/ 89 h 69406"/>
              <a:gd name="csX4" fmla="*/ 101400 w 132751"/>
              <a:gd name="csY4" fmla="*/ 62 h 69406"/>
              <a:gd name="csX5" fmla="*/ 102924 w 132751"/>
              <a:gd name="csY5" fmla="*/ 4800 h 69406"/>
              <a:gd name="csX6" fmla="*/ 121469 w 132751"/>
              <a:gd name="csY6" fmla="*/ 43062 h 69406"/>
              <a:gd name="csX7" fmla="*/ 132751 w 132751"/>
              <a:gd name="csY7" fmla="*/ 65240 h 69406"/>
              <a:gd name="csX8" fmla="*/ 0 w 132751"/>
              <a:gd name="csY8" fmla="*/ 69406 h 69406"/>
              <a:gd name="csX9" fmla="*/ 5051 w 132751"/>
              <a:gd name="csY9" fmla="*/ 7534 h 6940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132751" h="69406">
                <a:moveTo>
                  <a:pt x="5051" y="7534"/>
                </a:moveTo>
                <a:cubicBezTo>
                  <a:pt x="6880" y="5272"/>
                  <a:pt x="8659" y="3268"/>
                  <a:pt x="10615" y="3077"/>
                </a:cubicBezTo>
                <a:cubicBezTo>
                  <a:pt x="15884" y="2564"/>
                  <a:pt x="21234" y="2972"/>
                  <a:pt x="26541" y="2752"/>
                </a:cubicBezTo>
                <a:cubicBezTo>
                  <a:pt x="46938" y="1911"/>
                  <a:pt x="67330" y="933"/>
                  <a:pt x="87728" y="89"/>
                </a:cubicBezTo>
                <a:cubicBezTo>
                  <a:pt x="92161" y="-94"/>
                  <a:pt x="96609" y="62"/>
                  <a:pt x="101400" y="62"/>
                </a:cubicBezTo>
                <a:cubicBezTo>
                  <a:pt x="101991" y="1827"/>
                  <a:pt x="102885" y="3302"/>
                  <a:pt x="102924" y="4800"/>
                </a:cubicBezTo>
                <a:cubicBezTo>
                  <a:pt x="103334" y="20376"/>
                  <a:pt x="108815" y="33165"/>
                  <a:pt x="121469" y="43062"/>
                </a:cubicBezTo>
                <a:cubicBezTo>
                  <a:pt x="127809" y="48021"/>
                  <a:pt x="132509" y="54869"/>
                  <a:pt x="132751" y="65240"/>
                </a:cubicBezTo>
                <a:cubicBezTo>
                  <a:pt x="88663" y="66624"/>
                  <a:pt x="45259" y="67986"/>
                  <a:pt x="0" y="69406"/>
                </a:cubicBezTo>
                <a:cubicBezTo>
                  <a:pt x="6474" y="48167"/>
                  <a:pt x="10658" y="28665"/>
                  <a:pt x="5051" y="7534"/>
                </a:cubicBezTo>
                <a:close/>
              </a:path>
            </a:pathLst>
          </a:custGeom>
          <a:solidFill>
            <a:srgbClr val="FBFCFB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57" name="Free-form: Shape 456">
            <a:extLst>
              <a:ext uri="{FF2B5EF4-FFF2-40B4-BE49-F238E27FC236}">
                <a16:creationId xmlns:a16="http://schemas.microsoft.com/office/drawing/2014/main" id="{FFA8A129-2985-FB9A-227A-CFEA62DA0CD2}"/>
              </a:ext>
            </a:extLst>
          </p:cNvPr>
          <p:cNvSpPr/>
          <p:nvPr/>
        </p:nvSpPr>
        <p:spPr>
          <a:xfrm>
            <a:off x="5139378" y="4418573"/>
            <a:ext cx="150878" cy="35402"/>
          </a:xfrm>
          <a:custGeom>
            <a:avLst/>
            <a:gdLst>
              <a:gd name="csX0" fmla="*/ 80894 w 165965"/>
              <a:gd name="csY0" fmla="*/ 440 h 38942"/>
              <a:gd name="csX1" fmla="*/ 128629 w 165965"/>
              <a:gd name="csY1" fmla="*/ 5 h 38942"/>
              <a:gd name="csX2" fmla="*/ 155177 w 165965"/>
              <a:gd name="csY2" fmla="*/ 8091 h 38942"/>
              <a:gd name="csX3" fmla="*/ 164213 w 165965"/>
              <a:gd name="csY3" fmla="*/ 17723 h 38942"/>
              <a:gd name="csX4" fmla="*/ 159998 w 165965"/>
              <a:gd name="csY4" fmla="*/ 30717 h 38942"/>
              <a:gd name="csX5" fmla="*/ 146998 w 165965"/>
              <a:gd name="csY5" fmla="*/ 33737 h 38942"/>
              <a:gd name="csX6" fmla="*/ 12439 w 165965"/>
              <a:gd name="csY6" fmla="*/ 38914 h 38942"/>
              <a:gd name="csX7" fmla="*/ 0 w 165965"/>
              <a:gd name="csY7" fmla="*/ 38402 h 38942"/>
              <a:gd name="csX8" fmla="*/ 0 w 165965"/>
              <a:gd name="csY8" fmla="*/ 4598 h 38942"/>
              <a:gd name="csX9" fmla="*/ 80894 w 165965"/>
              <a:gd name="csY9" fmla="*/ 440 h 3894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165965" h="38942">
                <a:moveTo>
                  <a:pt x="80894" y="440"/>
                </a:moveTo>
                <a:cubicBezTo>
                  <a:pt x="97591" y="288"/>
                  <a:pt x="113111" y="227"/>
                  <a:pt x="128629" y="5"/>
                </a:cubicBezTo>
                <a:cubicBezTo>
                  <a:pt x="138376" y="-135"/>
                  <a:pt x="147226" y="2891"/>
                  <a:pt x="155177" y="8091"/>
                </a:cubicBezTo>
                <a:cubicBezTo>
                  <a:pt x="158779" y="10447"/>
                  <a:pt x="161992" y="14009"/>
                  <a:pt x="164213" y="17723"/>
                </a:cubicBezTo>
                <a:cubicBezTo>
                  <a:pt x="167602" y="23390"/>
                  <a:pt x="166013" y="28134"/>
                  <a:pt x="159998" y="30717"/>
                </a:cubicBezTo>
                <a:cubicBezTo>
                  <a:pt x="155963" y="32450"/>
                  <a:pt x="151384" y="33554"/>
                  <a:pt x="146998" y="33737"/>
                </a:cubicBezTo>
                <a:cubicBezTo>
                  <a:pt x="102152" y="35619"/>
                  <a:pt x="57295" y="37279"/>
                  <a:pt x="12439" y="38914"/>
                </a:cubicBezTo>
                <a:cubicBezTo>
                  <a:pt x="8467" y="39059"/>
                  <a:pt x="4472" y="38602"/>
                  <a:pt x="0" y="38402"/>
                </a:cubicBezTo>
                <a:cubicBezTo>
                  <a:pt x="0" y="27166"/>
                  <a:pt x="0" y="16774"/>
                  <a:pt x="0" y="4598"/>
                </a:cubicBezTo>
                <a:cubicBezTo>
                  <a:pt x="27063" y="3194"/>
                  <a:pt x="53389" y="1829"/>
                  <a:pt x="80894" y="440"/>
                </a:cubicBezTo>
                <a:close/>
              </a:path>
            </a:pathLst>
          </a:custGeom>
          <a:solidFill>
            <a:srgbClr val="FBFCFB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58" name="Free-form: Shape 457">
            <a:extLst>
              <a:ext uri="{FF2B5EF4-FFF2-40B4-BE49-F238E27FC236}">
                <a16:creationId xmlns:a16="http://schemas.microsoft.com/office/drawing/2014/main" id="{5F3D3D62-C012-88E3-A70B-9432D4D38791}"/>
              </a:ext>
            </a:extLst>
          </p:cNvPr>
          <p:cNvSpPr/>
          <p:nvPr/>
        </p:nvSpPr>
        <p:spPr>
          <a:xfrm>
            <a:off x="5123229" y="3857749"/>
            <a:ext cx="39402" cy="42156"/>
          </a:xfrm>
          <a:custGeom>
            <a:avLst/>
            <a:gdLst>
              <a:gd name="csX0" fmla="*/ 40602 w 43343"/>
              <a:gd name="csY0" fmla="*/ 12465 h 46372"/>
              <a:gd name="csX1" fmla="*/ 43214 w 43343"/>
              <a:gd name="csY1" fmla="*/ 21324 h 46372"/>
              <a:gd name="csX2" fmla="*/ 23859 w 43343"/>
              <a:gd name="csY2" fmla="*/ 46319 h 46372"/>
              <a:gd name="csX3" fmla="*/ 5 w 43343"/>
              <a:gd name="csY3" fmla="*/ 23820 h 46372"/>
              <a:gd name="csX4" fmla="*/ 4855 w 43343"/>
              <a:gd name="csY4" fmla="*/ 5679 h 46372"/>
              <a:gd name="csX5" fmla="*/ 40602 w 43343"/>
              <a:gd name="csY5" fmla="*/ 12465 h 4637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</a:cxnLst>
            <a:rect l="l" t="t" r="r" b="b"/>
            <a:pathLst>
              <a:path w="43343" h="46372">
                <a:moveTo>
                  <a:pt x="40602" y="12465"/>
                </a:moveTo>
                <a:cubicBezTo>
                  <a:pt x="41913" y="15811"/>
                  <a:pt x="42933" y="18530"/>
                  <a:pt x="43214" y="21324"/>
                </a:cubicBezTo>
                <a:cubicBezTo>
                  <a:pt x="44519" y="34348"/>
                  <a:pt x="35870" y="45401"/>
                  <a:pt x="23859" y="46319"/>
                </a:cubicBezTo>
                <a:cubicBezTo>
                  <a:pt x="11890" y="47233"/>
                  <a:pt x="-280" y="36371"/>
                  <a:pt x="5" y="23820"/>
                </a:cubicBezTo>
                <a:cubicBezTo>
                  <a:pt x="136" y="18011"/>
                  <a:pt x="2893" y="12263"/>
                  <a:pt x="4855" y="5679"/>
                </a:cubicBezTo>
                <a:cubicBezTo>
                  <a:pt x="20601" y="-3403"/>
                  <a:pt x="28004" y="-1910"/>
                  <a:pt x="40602" y="12465"/>
                </a:cubicBezTo>
                <a:close/>
              </a:path>
            </a:pathLst>
          </a:custGeom>
          <a:solidFill>
            <a:srgbClr val="FBFCFB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70" name="Oval 469">
            <a:extLst>
              <a:ext uri="{FF2B5EF4-FFF2-40B4-BE49-F238E27FC236}">
                <a16:creationId xmlns:a16="http://schemas.microsoft.com/office/drawing/2014/main" id="{B778C836-6C89-9BAC-0C74-E061B9E7AF93}"/>
              </a:ext>
            </a:extLst>
          </p:cNvPr>
          <p:cNvSpPr/>
          <p:nvPr/>
        </p:nvSpPr>
        <p:spPr>
          <a:xfrm>
            <a:off x="8261588" y="5143056"/>
            <a:ext cx="739960" cy="152189"/>
          </a:xfrm>
          <a:prstGeom prst="ellipse">
            <a:avLst/>
          </a:prstGeom>
          <a:solidFill>
            <a:schemeClr val="tx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71" name="Free-form: Shape 470">
            <a:extLst>
              <a:ext uri="{FF2B5EF4-FFF2-40B4-BE49-F238E27FC236}">
                <a16:creationId xmlns:a16="http://schemas.microsoft.com/office/drawing/2014/main" id="{CE8AFD0C-8EC9-1312-DF19-842B68AB7527}"/>
              </a:ext>
            </a:extLst>
          </p:cNvPr>
          <p:cNvSpPr/>
          <p:nvPr/>
        </p:nvSpPr>
        <p:spPr>
          <a:xfrm>
            <a:off x="8341551" y="3841479"/>
            <a:ext cx="650203" cy="1414846"/>
          </a:xfrm>
          <a:custGeom>
            <a:avLst/>
            <a:gdLst>
              <a:gd name="csX0" fmla="*/ 466852 w 715223"/>
              <a:gd name="csY0" fmla="*/ 229083 h 1556330"/>
              <a:gd name="csX1" fmla="*/ 462328 w 715223"/>
              <a:gd name="csY1" fmla="*/ 242604 h 1556330"/>
              <a:gd name="csX2" fmla="*/ 496944 w 715223"/>
              <a:gd name="csY2" fmla="*/ 204739 h 1556330"/>
              <a:gd name="csX3" fmla="*/ 534359 w 715223"/>
              <a:gd name="csY3" fmla="*/ 270960 h 1556330"/>
              <a:gd name="csX4" fmla="*/ 540589 w 715223"/>
              <a:gd name="csY4" fmla="*/ 445986 h 1556330"/>
              <a:gd name="csX5" fmla="*/ 509727 w 715223"/>
              <a:gd name="csY5" fmla="*/ 496924 h 1556330"/>
              <a:gd name="csX6" fmla="*/ 505366 w 715223"/>
              <a:gd name="csY6" fmla="*/ 511893 h 1556330"/>
              <a:gd name="csX7" fmla="*/ 501982 w 715223"/>
              <a:gd name="csY7" fmla="*/ 530377 h 1556330"/>
              <a:gd name="csX8" fmla="*/ 505678 w 715223"/>
              <a:gd name="csY8" fmla="*/ 556455 h 1556330"/>
              <a:gd name="csX9" fmla="*/ 526115 w 715223"/>
              <a:gd name="csY9" fmla="*/ 591784 h 1556330"/>
              <a:gd name="csX10" fmla="*/ 541579 w 715223"/>
              <a:gd name="csY10" fmla="*/ 612264 h 1556330"/>
              <a:gd name="csX11" fmla="*/ 569572 w 715223"/>
              <a:gd name="csY11" fmla="*/ 643441 h 1556330"/>
              <a:gd name="csX12" fmla="*/ 555234 w 715223"/>
              <a:gd name="csY12" fmla="*/ 688473 h 1556330"/>
              <a:gd name="csX13" fmla="*/ 513278 w 715223"/>
              <a:gd name="csY13" fmla="*/ 700556 h 1556330"/>
              <a:gd name="csX14" fmla="*/ 488559 w 715223"/>
              <a:gd name="csY14" fmla="*/ 702821 h 1556330"/>
              <a:gd name="csX15" fmla="*/ 488544 w 715223"/>
              <a:gd name="csY15" fmla="*/ 718085 h 1556330"/>
              <a:gd name="csX16" fmla="*/ 526561 w 715223"/>
              <a:gd name="csY16" fmla="*/ 1010212 h 1556330"/>
              <a:gd name="csX17" fmla="*/ 569986 w 715223"/>
              <a:gd name="csY17" fmla="*/ 1153317 h 1556330"/>
              <a:gd name="csX18" fmla="*/ 587389 w 715223"/>
              <a:gd name="csY18" fmla="*/ 1172173 h 1556330"/>
              <a:gd name="csX19" fmla="*/ 606286 w 715223"/>
              <a:gd name="csY19" fmla="*/ 1180891 h 1556330"/>
              <a:gd name="csX20" fmla="*/ 613400 w 715223"/>
              <a:gd name="csY20" fmla="*/ 1204260 h 1556330"/>
              <a:gd name="csX21" fmla="*/ 605350 w 715223"/>
              <a:gd name="csY21" fmla="*/ 1216760 h 1556330"/>
              <a:gd name="csX22" fmla="*/ 600268 w 715223"/>
              <a:gd name="csY22" fmla="*/ 1220273 h 1556330"/>
              <a:gd name="csX23" fmla="*/ 610574 w 715223"/>
              <a:gd name="csY23" fmla="*/ 1258750 h 1556330"/>
              <a:gd name="csX24" fmla="*/ 672371 w 715223"/>
              <a:gd name="csY24" fmla="*/ 1319810 h 1556330"/>
              <a:gd name="csX25" fmla="*/ 675494 w 715223"/>
              <a:gd name="csY25" fmla="*/ 1323366 h 1556330"/>
              <a:gd name="csX26" fmla="*/ 692949 w 715223"/>
              <a:gd name="csY26" fmla="*/ 1396068 h 1556330"/>
              <a:gd name="csX27" fmla="*/ 690628 w 715223"/>
              <a:gd name="csY27" fmla="*/ 1414117 h 1556330"/>
              <a:gd name="csX28" fmla="*/ 695588 w 715223"/>
              <a:gd name="csY28" fmla="*/ 1421035 h 1556330"/>
              <a:gd name="csX29" fmla="*/ 694353 w 715223"/>
              <a:gd name="csY29" fmla="*/ 1425190 h 1556330"/>
              <a:gd name="csX30" fmla="*/ 689106 w 715223"/>
              <a:gd name="csY30" fmla="*/ 1428714 h 1556330"/>
              <a:gd name="csX31" fmla="*/ 695093 w 715223"/>
              <a:gd name="csY31" fmla="*/ 1428433 h 1556330"/>
              <a:gd name="csX32" fmla="*/ 697643 w 715223"/>
              <a:gd name="csY32" fmla="*/ 1432864 h 1556330"/>
              <a:gd name="csX33" fmla="*/ 698207 w 715223"/>
              <a:gd name="csY33" fmla="*/ 1441988 h 1556330"/>
              <a:gd name="csX34" fmla="*/ 715183 w 715223"/>
              <a:gd name="csY34" fmla="*/ 1508752 h 1556330"/>
              <a:gd name="csX35" fmla="*/ 701540 w 715223"/>
              <a:gd name="csY35" fmla="*/ 1526524 h 1556330"/>
              <a:gd name="csX36" fmla="*/ 581715 w 715223"/>
              <a:gd name="csY36" fmla="*/ 1548559 h 1556330"/>
              <a:gd name="csX37" fmla="*/ 522168 w 715223"/>
              <a:gd name="csY37" fmla="*/ 1553543 h 1556330"/>
              <a:gd name="csX38" fmla="*/ 450008 w 715223"/>
              <a:gd name="csY38" fmla="*/ 1556019 h 1556330"/>
              <a:gd name="csX39" fmla="*/ 245169 w 715223"/>
              <a:gd name="csY39" fmla="*/ 1553749 h 1556330"/>
              <a:gd name="csX40" fmla="*/ 221854 w 715223"/>
              <a:gd name="csY40" fmla="*/ 1553306 h 1556330"/>
              <a:gd name="csX41" fmla="*/ 168405 w 715223"/>
              <a:gd name="csY41" fmla="*/ 1548828 h 1556330"/>
              <a:gd name="csX42" fmla="*/ 126970 w 715223"/>
              <a:gd name="csY42" fmla="*/ 1546091 h 1556330"/>
              <a:gd name="csX43" fmla="*/ 104053 w 715223"/>
              <a:gd name="csY43" fmla="*/ 1542912 h 1556330"/>
              <a:gd name="csX44" fmla="*/ 65625 w 715223"/>
              <a:gd name="csY44" fmla="*/ 1536401 h 1556330"/>
              <a:gd name="csX45" fmla="*/ 10909 w 715223"/>
              <a:gd name="csY45" fmla="*/ 1524010 h 1556330"/>
              <a:gd name="csX46" fmla="*/ 8 w 715223"/>
              <a:gd name="csY46" fmla="*/ 1509263 h 1556330"/>
              <a:gd name="csX47" fmla="*/ 21158 w 715223"/>
              <a:gd name="csY47" fmla="*/ 1433611 h 1556330"/>
              <a:gd name="csX48" fmla="*/ 23462 w 715223"/>
              <a:gd name="csY48" fmla="*/ 1418658 h 1556330"/>
              <a:gd name="csX49" fmla="*/ 19643 w 715223"/>
              <a:gd name="csY49" fmla="*/ 1382324 h 1556330"/>
              <a:gd name="csX50" fmla="*/ 49060 w 715223"/>
              <a:gd name="csY50" fmla="*/ 1311832 h 1556330"/>
              <a:gd name="csX51" fmla="*/ 109176 w 715223"/>
              <a:gd name="csY51" fmla="*/ 1254078 h 1556330"/>
              <a:gd name="csX52" fmla="*/ 118319 w 715223"/>
              <a:gd name="csY52" fmla="*/ 1214801 h 1556330"/>
              <a:gd name="csX53" fmla="*/ 113082 w 715223"/>
              <a:gd name="csY53" fmla="*/ 1201084 h 1556330"/>
              <a:gd name="csX54" fmla="*/ 120417 w 715223"/>
              <a:gd name="csY54" fmla="*/ 1183950 h 1556330"/>
              <a:gd name="csX55" fmla="*/ 135209 w 715223"/>
              <a:gd name="csY55" fmla="*/ 1178138 h 1556330"/>
              <a:gd name="csX56" fmla="*/ 156535 w 715223"/>
              <a:gd name="csY56" fmla="*/ 1156396 h 1556330"/>
              <a:gd name="csX57" fmla="*/ 185647 w 715223"/>
              <a:gd name="csY57" fmla="*/ 1061682 h 1556330"/>
              <a:gd name="csX58" fmla="*/ 201074 w 715223"/>
              <a:gd name="csY58" fmla="*/ 1005093 h 1556330"/>
              <a:gd name="csX59" fmla="*/ 213864 w 715223"/>
              <a:gd name="csY59" fmla="*/ 943040 h 1556330"/>
              <a:gd name="csX60" fmla="*/ 223580 w 715223"/>
              <a:gd name="csY60" fmla="*/ 884167 h 1556330"/>
              <a:gd name="csX61" fmla="*/ 228827 w 715223"/>
              <a:gd name="csY61" fmla="*/ 839382 h 1556330"/>
              <a:gd name="csX62" fmla="*/ 233251 w 715223"/>
              <a:gd name="csY62" fmla="*/ 794539 h 1556330"/>
              <a:gd name="csX63" fmla="*/ 233413 w 715223"/>
              <a:gd name="csY63" fmla="*/ 708554 h 1556330"/>
              <a:gd name="csX64" fmla="*/ 232253 w 715223"/>
              <a:gd name="csY64" fmla="*/ 699181 h 1556330"/>
              <a:gd name="csX65" fmla="*/ 192775 w 715223"/>
              <a:gd name="csY65" fmla="*/ 693131 h 1556330"/>
              <a:gd name="csX66" fmla="*/ 166222 w 715223"/>
              <a:gd name="csY66" fmla="*/ 684229 h 1556330"/>
              <a:gd name="csX67" fmla="*/ 153485 w 715223"/>
              <a:gd name="csY67" fmla="*/ 649704 h 1556330"/>
              <a:gd name="csX68" fmla="*/ 179302 w 715223"/>
              <a:gd name="csY68" fmla="*/ 621006 h 1556330"/>
              <a:gd name="csX69" fmla="*/ 192182 w 715223"/>
              <a:gd name="csY69" fmla="*/ 601675 h 1556330"/>
              <a:gd name="csX70" fmla="*/ 204894 w 715223"/>
              <a:gd name="csY70" fmla="*/ 583417 h 1556330"/>
              <a:gd name="csX71" fmla="*/ 233213 w 715223"/>
              <a:gd name="csY71" fmla="*/ 564393 h 1556330"/>
              <a:gd name="csX72" fmla="*/ 229725 w 715223"/>
              <a:gd name="csY72" fmla="*/ 538177 h 1556330"/>
              <a:gd name="csX73" fmla="*/ 218771 w 715223"/>
              <a:gd name="csY73" fmla="*/ 532633 h 1556330"/>
              <a:gd name="csX74" fmla="*/ 215183 w 715223"/>
              <a:gd name="csY74" fmla="*/ 521568 h 1556330"/>
              <a:gd name="csX75" fmla="*/ 223368 w 715223"/>
              <a:gd name="csY75" fmla="*/ 508901 h 1556330"/>
              <a:gd name="csX76" fmla="*/ 218372 w 715223"/>
              <a:gd name="csY76" fmla="*/ 498135 h 1556330"/>
              <a:gd name="csX77" fmla="*/ 181440 w 715223"/>
              <a:gd name="csY77" fmla="*/ 432308 h 1556330"/>
              <a:gd name="csX78" fmla="*/ 167535 w 715223"/>
              <a:gd name="csY78" fmla="*/ 349841 h 1556330"/>
              <a:gd name="csX79" fmla="*/ 193488 w 715223"/>
              <a:gd name="csY79" fmla="*/ 262518 h 1556330"/>
              <a:gd name="csX80" fmla="*/ 237748 w 715223"/>
              <a:gd name="csY80" fmla="*/ 190690 h 1556330"/>
              <a:gd name="csX81" fmla="*/ 309459 w 715223"/>
              <a:gd name="csY81" fmla="*/ 102623 h 1556330"/>
              <a:gd name="csX82" fmla="*/ 310459 w 715223"/>
              <a:gd name="csY82" fmla="*/ 78521 h 1556330"/>
              <a:gd name="csX83" fmla="*/ 300267 w 715223"/>
              <a:gd name="csY83" fmla="*/ 57856 h 1556330"/>
              <a:gd name="csX84" fmla="*/ 332242 w 715223"/>
              <a:gd name="csY84" fmla="*/ 4422 h 1556330"/>
              <a:gd name="csX85" fmla="*/ 384904 w 715223"/>
              <a:gd name="csY85" fmla="*/ 5551 h 1556330"/>
              <a:gd name="csX86" fmla="*/ 409773 w 715223"/>
              <a:gd name="csY86" fmla="*/ 26778 h 1556330"/>
              <a:gd name="csX87" fmla="*/ 407026 w 715223"/>
              <a:gd name="csY87" fmla="*/ 46052 h 1556330"/>
              <a:gd name="csX88" fmla="*/ 402771 w 715223"/>
              <a:gd name="csY88" fmla="*/ 30951 h 1556330"/>
              <a:gd name="csX89" fmla="*/ 397038 w 715223"/>
              <a:gd name="csY89" fmla="*/ 30361 h 1556330"/>
              <a:gd name="csX90" fmla="*/ 360694 w 715223"/>
              <a:gd name="csY90" fmla="*/ 22760 h 1556330"/>
              <a:gd name="csX91" fmla="*/ 351669 w 715223"/>
              <a:gd name="csY91" fmla="*/ 31736 h 1556330"/>
              <a:gd name="csX92" fmla="*/ 351426 w 715223"/>
              <a:gd name="csY92" fmla="*/ 43987 h 1556330"/>
              <a:gd name="csX93" fmla="*/ 390968 w 715223"/>
              <a:gd name="csY93" fmla="*/ 68762 h 1556330"/>
              <a:gd name="csX94" fmla="*/ 401770 w 715223"/>
              <a:gd name="csY94" fmla="*/ 59025 h 1556330"/>
              <a:gd name="csX95" fmla="*/ 409619 w 715223"/>
              <a:gd name="csY95" fmla="*/ 55786 h 1556330"/>
              <a:gd name="csX96" fmla="*/ 410427 w 715223"/>
              <a:gd name="csY96" fmla="*/ 64256 h 1556330"/>
              <a:gd name="csX97" fmla="*/ 399453 w 715223"/>
              <a:gd name="csY97" fmla="*/ 81811 h 1556330"/>
              <a:gd name="csX98" fmla="*/ 399346 w 715223"/>
              <a:gd name="csY98" fmla="*/ 98083 h 1556330"/>
              <a:gd name="csX99" fmla="*/ 471592 w 715223"/>
              <a:gd name="csY99" fmla="*/ 180524 h 1556330"/>
              <a:gd name="csX100" fmla="*/ 473550 w 715223"/>
              <a:gd name="csY100" fmla="*/ 200923 h 1556330"/>
              <a:gd name="csX101" fmla="*/ 463677 w 715223"/>
              <a:gd name="csY101" fmla="*/ 223311 h 1556330"/>
              <a:gd name="csX102" fmla="*/ 466852 w 715223"/>
              <a:gd name="csY102" fmla="*/ 229083 h 1556330"/>
              <a:gd name="csX103" fmla="*/ 474186 w 715223"/>
              <a:gd name="csY103" fmla="*/ 928382 h 1556330"/>
              <a:gd name="csX104" fmla="*/ 459927 w 715223"/>
              <a:gd name="csY104" fmla="*/ 817790 h 1556330"/>
              <a:gd name="csX105" fmla="*/ 456025 w 715223"/>
              <a:gd name="csY105" fmla="*/ 706469 h 1556330"/>
              <a:gd name="csX106" fmla="*/ 366863 w 715223"/>
              <a:gd name="csY106" fmla="*/ 710754 h 1556330"/>
              <a:gd name="csX107" fmla="*/ 366159 w 715223"/>
              <a:gd name="csY107" fmla="*/ 719219 h 1556330"/>
              <a:gd name="csX108" fmla="*/ 364159 w 715223"/>
              <a:gd name="csY108" fmla="*/ 834581 h 1556330"/>
              <a:gd name="csX109" fmla="*/ 361633 w 715223"/>
              <a:gd name="csY109" fmla="*/ 940117 h 1556330"/>
              <a:gd name="csX110" fmla="*/ 358313 w 715223"/>
              <a:gd name="csY110" fmla="*/ 1053005 h 1556330"/>
              <a:gd name="csX111" fmla="*/ 358081 w 715223"/>
              <a:gd name="csY111" fmla="*/ 1057912 h 1556330"/>
              <a:gd name="csX112" fmla="*/ 353706 w 715223"/>
              <a:gd name="csY112" fmla="*/ 1164570 h 1556330"/>
              <a:gd name="csX113" fmla="*/ 354951 w 715223"/>
              <a:gd name="csY113" fmla="*/ 1172547 h 1556330"/>
              <a:gd name="csX114" fmla="*/ 540959 w 715223"/>
              <a:gd name="csY114" fmla="*/ 1175972 h 1556330"/>
              <a:gd name="csX115" fmla="*/ 474186 w 715223"/>
              <a:gd name="csY115" fmla="*/ 928382 h 1556330"/>
              <a:gd name="csX116" fmla="*/ 513768 w 715223"/>
              <a:gd name="csY116" fmla="*/ 1417676 h 1556330"/>
              <a:gd name="csX117" fmla="*/ 519822 w 715223"/>
              <a:gd name="csY117" fmla="*/ 1416700 h 1556330"/>
              <a:gd name="csX118" fmla="*/ 632041 w 715223"/>
              <a:gd name="csY118" fmla="*/ 1406122 h 1556330"/>
              <a:gd name="csX119" fmla="*/ 665040 w 715223"/>
              <a:gd name="csY119" fmla="*/ 1400634 h 1556330"/>
              <a:gd name="csX120" fmla="*/ 665677 w 715223"/>
              <a:gd name="csY120" fmla="*/ 1396126 h 1556330"/>
              <a:gd name="csX121" fmla="*/ 665529 w 715223"/>
              <a:gd name="csY121" fmla="*/ 1389994 h 1556330"/>
              <a:gd name="csX122" fmla="*/ 623046 w 715223"/>
              <a:gd name="csY122" fmla="*/ 1306238 h 1556330"/>
              <a:gd name="csX123" fmla="*/ 596015 w 715223"/>
              <a:gd name="csY123" fmla="*/ 1281285 h 1556330"/>
              <a:gd name="csX124" fmla="*/ 567683 w 715223"/>
              <a:gd name="csY124" fmla="*/ 1220059 h 1556330"/>
              <a:gd name="csX125" fmla="*/ 540273 w 715223"/>
              <a:gd name="csY125" fmla="*/ 1220129 h 1556330"/>
              <a:gd name="csX126" fmla="*/ 424010 w 715223"/>
              <a:gd name="csY126" fmla="*/ 1226781 h 1556330"/>
              <a:gd name="csX127" fmla="*/ 357832 w 715223"/>
              <a:gd name="csY127" fmla="*/ 1229178 h 1556330"/>
              <a:gd name="csX128" fmla="*/ 352386 w 715223"/>
              <a:gd name="csY128" fmla="*/ 1230616 h 1556330"/>
              <a:gd name="csX129" fmla="*/ 355852 w 715223"/>
              <a:gd name="csY129" fmla="*/ 1324222 h 1556330"/>
              <a:gd name="csX130" fmla="*/ 352930 w 715223"/>
              <a:gd name="csY130" fmla="*/ 1417867 h 1556330"/>
              <a:gd name="csX131" fmla="*/ 513768 w 715223"/>
              <a:gd name="csY131" fmla="*/ 1417676 h 1556330"/>
              <a:gd name="csX132" fmla="*/ 387930 w 715223"/>
              <a:gd name="csY132" fmla="*/ 499741 h 1556330"/>
              <a:gd name="csX133" fmla="*/ 456529 w 715223"/>
              <a:gd name="csY133" fmla="*/ 496826 h 1556330"/>
              <a:gd name="csX134" fmla="*/ 482355 w 715223"/>
              <a:gd name="csY134" fmla="*/ 485095 h 1556330"/>
              <a:gd name="csX135" fmla="*/ 528016 w 715223"/>
              <a:gd name="csY135" fmla="*/ 374829 h 1556330"/>
              <a:gd name="csX136" fmla="*/ 501375 w 715223"/>
              <a:gd name="csY136" fmla="*/ 261643 h 1556330"/>
              <a:gd name="csX137" fmla="*/ 493534 w 715223"/>
              <a:gd name="csY137" fmla="*/ 249818 h 1556330"/>
              <a:gd name="csX138" fmla="*/ 485920 w 715223"/>
              <a:gd name="csY138" fmla="*/ 260010 h 1556330"/>
              <a:gd name="csX139" fmla="*/ 453305 w 715223"/>
              <a:gd name="csY139" fmla="*/ 310523 h 1556330"/>
              <a:gd name="csX140" fmla="*/ 433678 w 715223"/>
              <a:gd name="csY140" fmla="*/ 338672 h 1556330"/>
              <a:gd name="csX141" fmla="*/ 403713 w 715223"/>
              <a:gd name="csY141" fmla="*/ 343710 h 1556330"/>
              <a:gd name="csX142" fmla="*/ 396427 w 715223"/>
              <a:gd name="csY142" fmla="*/ 315612 h 1556330"/>
              <a:gd name="csX143" fmla="*/ 399663 w 715223"/>
              <a:gd name="csY143" fmla="*/ 309000 h 1556330"/>
              <a:gd name="csX144" fmla="*/ 452097 w 715223"/>
              <a:gd name="csY144" fmla="*/ 200770 h 1556330"/>
              <a:gd name="csX145" fmla="*/ 450118 w 715223"/>
              <a:gd name="csY145" fmla="*/ 180596 h 1556330"/>
              <a:gd name="csX146" fmla="*/ 376545 w 715223"/>
              <a:gd name="csY146" fmla="*/ 105525 h 1556330"/>
              <a:gd name="csX147" fmla="*/ 368791 w 715223"/>
              <a:gd name="csY147" fmla="*/ 101653 h 1556330"/>
              <a:gd name="csX148" fmla="*/ 366449 w 715223"/>
              <a:gd name="csY148" fmla="*/ 144676 h 1556330"/>
              <a:gd name="csX149" fmla="*/ 365447 w 715223"/>
              <a:gd name="csY149" fmla="*/ 183946 h 1556330"/>
              <a:gd name="csX150" fmla="*/ 364738 w 715223"/>
              <a:gd name="csY150" fmla="*/ 298022 h 1556330"/>
              <a:gd name="csX151" fmla="*/ 373865 w 715223"/>
              <a:gd name="csY151" fmla="*/ 430096 h 1556330"/>
              <a:gd name="csX152" fmla="*/ 381088 w 715223"/>
              <a:gd name="csY152" fmla="*/ 492169 h 1556330"/>
              <a:gd name="csX153" fmla="*/ 387930 w 715223"/>
              <a:gd name="csY153" fmla="*/ 499741 h 1556330"/>
              <a:gd name="csX154" fmla="*/ 455850 w 715223"/>
              <a:gd name="csY154" fmla="*/ 1521476 h 1556330"/>
              <a:gd name="csX155" fmla="*/ 685121 w 715223"/>
              <a:gd name="csY155" fmla="*/ 1496509 h 1556330"/>
              <a:gd name="csX156" fmla="*/ 672999 w 715223"/>
              <a:gd name="csY156" fmla="*/ 1456665 h 1556330"/>
              <a:gd name="csX157" fmla="*/ 660009 w 715223"/>
              <a:gd name="csY157" fmla="*/ 1450249 h 1556330"/>
              <a:gd name="csX158" fmla="*/ 633248 w 715223"/>
              <a:gd name="csY158" fmla="*/ 1453589 h 1556330"/>
              <a:gd name="csX159" fmla="*/ 451131 w 715223"/>
              <a:gd name="csY159" fmla="*/ 1467458 h 1556330"/>
              <a:gd name="csX160" fmla="*/ 362719 w 715223"/>
              <a:gd name="csY160" fmla="*/ 1467934 h 1556330"/>
              <a:gd name="csX161" fmla="*/ 349983 w 715223"/>
              <a:gd name="csY161" fmla="*/ 1467936 h 1556330"/>
              <a:gd name="csX162" fmla="*/ 352220 w 715223"/>
              <a:gd name="csY162" fmla="*/ 1519140 h 1556330"/>
              <a:gd name="csX163" fmla="*/ 455850 w 715223"/>
              <a:gd name="csY163" fmla="*/ 1521476 h 1556330"/>
              <a:gd name="csX164" fmla="*/ 368682 w 715223"/>
              <a:gd name="csY164" fmla="*/ 544846 h 1556330"/>
              <a:gd name="csX165" fmla="*/ 363600 w 715223"/>
              <a:gd name="csY165" fmla="*/ 605633 h 1556330"/>
              <a:gd name="csX166" fmla="*/ 496351 w 715223"/>
              <a:gd name="csY166" fmla="*/ 601466 h 1556330"/>
              <a:gd name="csX167" fmla="*/ 485068 w 715223"/>
              <a:gd name="csY167" fmla="*/ 579288 h 1556330"/>
              <a:gd name="csX168" fmla="*/ 466524 w 715223"/>
              <a:gd name="csY168" fmla="*/ 541026 h 1556330"/>
              <a:gd name="csX169" fmla="*/ 465000 w 715223"/>
              <a:gd name="csY169" fmla="*/ 536289 h 1556330"/>
              <a:gd name="csX170" fmla="*/ 451328 w 715223"/>
              <a:gd name="csY170" fmla="*/ 536316 h 1556330"/>
              <a:gd name="csX171" fmla="*/ 390140 w 715223"/>
              <a:gd name="csY171" fmla="*/ 538979 h 1556330"/>
              <a:gd name="csX172" fmla="*/ 374215 w 715223"/>
              <a:gd name="csY172" fmla="*/ 539303 h 1556330"/>
              <a:gd name="csX173" fmla="*/ 368682 w 715223"/>
              <a:gd name="csY173" fmla="*/ 544846 h 1556330"/>
              <a:gd name="csX174" fmla="*/ 453915 w 715223"/>
              <a:gd name="csY174" fmla="*/ 635267 h 1556330"/>
              <a:gd name="csX175" fmla="*/ 374200 w 715223"/>
              <a:gd name="csY175" fmla="*/ 639402 h 1556330"/>
              <a:gd name="csX176" fmla="*/ 374200 w 715223"/>
              <a:gd name="csY176" fmla="*/ 673206 h 1556330"/>
              <a:gd name="csX177" fmla="*/ 386639 w 715223"/>
              <a:gd name="csY177" fmla="*/ 673718 h 1556330"/>
              <a:gd name="csX178" fmla="*/ 521198 w 715223"/>
              <a:gd name="csY178" fmla="*/ 668541 h 1556330"/>
              <a:gd name="csX179" fmla="*/ 534198 w 715223"/>
              <a:gd name="csY179" fmla="*/ 665521 h 1556330"/>
              <a:gd name="csX180" fmla="*/ 538413 w 715223"/>
              <a:gd name="csY180" fmla="*/ 652526 h 1556330"/>
              <a:gd name="csX181" fmla="*/ 529377 w 715223"/>
              <a:gd name="csY181" fmla="*/ 642895 h 1556330"/>
              <a:gd name="csX182" fmla="*/ 502829 w 715223"/>
              <a:gd name="csY182" fmla="*/ 634808 h 1556330"/>
              <a:gd name="csX183" fmla="*/ 453915 w 715223"/>
              <a:gd name="csY183" fmla="*/ 635267 h 155633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  <a:cxn ang="0">
                <a:pos x="csX170" y="csY170"/>
              </a:cxn>
              <a:cxn ang="0">
                <a:pos x="csX171" y="csY171"/>
              </a:cxn>
              <a:cxn ang="0">
                <a:pos x="csX172" y="csY172"/>
              </a:cxn>
              <a:cxn ang="0">
                <a:pos x="csX173" y="csY173"/>
              </a:cxn>
              <a:cxn ang="0">
                <a:pos x="csX174" y="csY174"/>
              </a:cxn>
              <a:cxn ang="0">
                <a:pos x="csX175" y="csY175"/>
              </a:cxn>
              <a:cxn ang="0">
                <a:pos x="csX176" y="csY176"/>
              </a:cxn>
              <a:cxn ang="0">
                <a:pos x="csX177" y="csY177"/>
              </a:cxn>
              <a:cxn ang="0">
                <a:pos x="csX178" y="csY178"/>
              </a:cxn>
              <a:cxn ang="0">
                <a:pos x="csX179" y="csY179"/>
              </a:cxn>
              <a:cxn ang="0">
                <a:pos x="csX180" y="csY180"/>
              </a:cxn>
              <a:cxn ang="0">
                <a:pos x="csX181" y="csY181"/>
              </a:cxn>
              <a:cxn ang="0">
                <a:pos x="csX182" y="csY182"/>
              </a:cxn>
              <a:cxn ang="0">
                <a:pos x="csX183" y="csY183"/>
              </a:cxn>
            </a:cxnLst>
            <a:rect l="l" t="t" r="r" b="b"/>
            <a:pathLst>
              <a:path w="715223" h="1556330">
                <a:moveTo>
                  <a:pt x="466852" y="229083"/>
                </a:moveTo>
                <a:cubicBezTo>
                  <a:pt x="465344" y="233590"/>
                  <a:pt x="463836" y="238097"/>
                  <a:pt x="462328" y="242604"/>
                </a:cubicBezTo>
                <a:cubicBezTo>
                  <a:pt x="476604" y="232528"/>
                  <a:pt x="484219" y="216936"/>
                  <a:pt x="496944" y="204739"/>
                </a:cubicBezTo>
                <a:cubicBezTo>
                  <a:pt x="511903" y="225901"/>
                  <a:pt x="524807" y="247414"/>
                  <a:pt x="534359" y="270960"/>
                </a:cubicBezTo>
                <a:cubicBezTo>
                  <a:pt x="557740" y="328591"/>
                  <a:pt x="560223" y="386926"/>
                  <a:pt x="540589" y="445986"/>
                </a:cubicBezTo>
                <a:cubicBezTo>
                  <a:pt x="534197" y="465215"/>
                  <a:pt x="524450" y="482672"/>
                  <a:pt x="509727" y="496924"/>
                </a:cubicBezTo>
                <a:cubicBezTo>
                  <a:pt x="505277" y="501232"/>
                  <a:pt x="502734" y="505157"/>
                  <a:pt x="505366" y="511893"/>
                </a:cubicBezTo>
                <a:cubicBezTo>
                  <a:pt x="507828" y="518196"/>
                  <a:pt x="505953" y="524402"/>
                  <a:pt x="501982" y="530377"/>
                </a:cubicBezTo>
                <a:cubicBezTo>
                  <a:pt x="495613" y="539961"/>
                  <a:pt x="496865" y="548901"/>
                  <a:pt x="505678" y="556455"/>
                </a:cubicBezTo>
                <a:cubicBezTo>
                  <a:pt x="516748" y="565943"/>
                  <a:pt x="523694" y="577557"/>
                  <a:pt x="526115" y="591784"/>
                </a:cubicBezTo>
                <a:cubicBezTo>
                  <a:pt x="527758" y="601445"/>
                  <a:pt x="532593" y="608029"/>
                  <a:pt x="541579" y="612264"/>
                </a:cubicBezTo>
                <a:cubicBezTo>
                  <a:pt x="555150" y="618662"/>
                  <a:pt x="564081" y="629523"/>
                  <a:pt x="569572" y="643441"/>
                </a:cubicBezTo>
                <a:cubicBezTo>
                  <a:pt x="576413" y="660776"/>
                  <a:pt x="570996" y="678245"/>
                  <a:pt x="555234" y="688473"/>
                </a:cubicBezTo>
                <a:cubicBezTo>
                  <a:pt x="542486" y="696746"/>
                  <a:pt x="528127" y="699474"/>
                  <a:pt x="513278" y="700556"/>
                </a:cubicBezTo>
                <a:cubicBezTo>
                  <a:pt x="505590" y="701115"/>
                  <a:pt x="497922" y="701952"/>
                  <a:pt x="488559" y="702821"/>
                </a:cubicBezTo>
                <a:cubicBezTo>
                  <a:pt x="488559" y="708552"/>
                  <a:pt x="488653" y="713320"/>
                  <a:pt x="488544" y="718085"/>
                </a:cubicBezTo>
                <a:cubicBezTo>
                  <a:pt x="486284" y="817406"/>
                  <a:pt x="502313" y="914319"/>
                  <a:pt x="526561" y="1010212"/>
                </a:cubicBezTo>
                <a:cubicBezTo>
                  <a:pt x="538799" y="1058612"/>
                  <a:pt x="553050" y="1106345"/>
                  <a:pt x="569986" y="1153317"/>
                </a:cubicBezTo>
                <a:cubicBezTo>
                  <a:pt x="573328" y="1162590"/>
                  <a:pt x="578279" y="1168740"/>
                  <a:pt x="587389" y="1172173"/>
                </a:cubicBezTo>
                <a:cubicBezTo>
                  <a:pt x="593869" y="1174616"/>
                  <a:pt x="600289" y="1177449"/>
                  <a:pt x="606286" y="1180891"/>
                </a:cubicBezTo>
                <a:cubicBezTo>
                  <a:pt x="617185" y="1187146"/>
                  <a:pt x="618776" y="1192931"/>
                  <a:pt x="613400" y="1204260"/>
                </a:cubicBezTo>
                <a:cubicBezTo>
                  <a:pt x="611475" y="1208315"/>
                  <a:pt x="609140" y="1212177"/>
                  <a:pt x="605350" y="1216760"/>
                </a:cubicBezTo>
                <a:cubicBezTo>
                  <a:pt x="602514" y="1218347"/>
                  <a:pt x="600399" y="1219189"/>
                  <a:pt x="600268" y="1220273"/>
                </a:cubicBezTo>
                <a:cubicBezTo>
                  <a:pt x="598551" y="1234430"/>
                  <a:pt x="599473" y="1247881"/>
                  <a:pt x="610574" y="1258750"/>
                </a:cubicBezTo>
                <a:cubicBezTo>
                  <a:pt x="631265" y="1279009"/>
                  <a:pt x="651790" y="1299438"/>
                  <a:pt x="672371" y="1319810"/>
                </a:cubicBezTo>
                <a:cubicBezTo>
                  <a:pt x="673495" y="1320922"/>
                  <a:pt x="674892" y="1321987"/>
                  <a:pt x="675494" y="1323366"/>
                </a:cubicBezTo>
                <a:cubicBezTo>
                  <a:pt x="685626" y="1346558"/>
                  <a:pt x="694775" y="1370031"/>
                  <a:pt x="692949" y="1396068"/>
                </a:cubicBezTo>
                <a:cubicBezTo>
                  <a:pt x="692525" y="1402108"/>
                  <a:pt x="691276" y="1408087"/>
                  <a:pt x="690628" y="1414117"/>
                </a:cubicBezTo>
                <a:cubicBezTo>
                  <a:pt x="690241" y="1417713"/>
                  <a:pt x="691290" y="1420628"/>
                  <a:pt x="695588" y="1421035"/>
                </a:cubicBezTo>
                <a:cubicBezTo>
                  <a:pt x="695527" y="1422155"/>
                  <a:pt x="695467" y="1423274"/>
                  <a:pt x="694353" y="1425190"/>
                </a:cubicBezTo>
                <a:cubicBezTo>
                  <a:pt x="691901" y="1426894"/>
                  <a:pt x="690503" y="1427804"/>
                  <a:pt x="689106" y="1428714"/>
                </a:cubicBezTo>
                <a:cubicBezTo>
                  <a:pt x="691101" y="1428620"/>
                  <a:pt x="693098" y="1428527"/>
                  <a:pt x="695093" y="1428433"/>
                </a:cubicBezTo>
                <a:cubicBezTo>
                  <a:pt x="695976" y="1429430"/>
                  <a:pt x="696859" y="1430427"/>
                  <a:pt x="697643" y="1432864"/>
                </a:cubicBezTo>
                <a:cubicBezTo>
                  <a:pt x="697724" y="1436887"/>
                  <a:pt x="697087" y="1439912"/>
                  <a:pt x="698207" y="1441988"/>
                </a:cubicBezTo>
                <a:cubicBezTo>
                  <a:pt x="709464" y="1462853"/>
                  <a:pt x="715798" y="1484864"/>
                  <a:pt x="715183" y="1508752"/>
                </a:cubicBezTo>
                <a:cubicBezTo>
                  <a:pt x="714863" y="1521166"/>
                  <a:pt x="713458" y="1523372"/>
                  <a:pt x="701540" y="1526524"/>
                </a:cubicBezTo>
                <a:cubicBezTo>
                  <a:pt x="662165" y="1536936"/>
                  <a:pt x="622006" y="1543243"/>
                  <a:pt x="581715" y="1548559"/>
                </a:cubicBezTo>
                <a:cubicBezTo>
                  <a:pt x="561988" y="1551162"/>
                  <a:pt x="542052" y="1552457"/>
                  <a:pt x="522168" y="1553543"/>
                </a:cubicBezTo>
                <a:cubicBezTo>
                  <a:pt x="498138" y="1554856"/>
                  <a:pt x="474063" y="1556013"/>
                  <a:pt x="450008" y="1556019"/>
                </a:cubicBezTo>
                <a:cubicBezTo>
                  <a:pt x="381724" y="1556035"/>
                  <a:pt x="313415" y="1557550"/>
                  <a:pt x="245169" y="1553749"/>
                </a:cubicBezTo>
                <a:cubicBezTo>
                  <a:pt x="237413" y="1553317"/>
                  <a:pt x="229596" y="1553867"/>
                  <a:pt x="221854" y="1553306"/>
                </a:cubicBezTo>
                <a:cubicBezTo>
                  <a:pt x="204023" y="1552015"/>
                  <a:pt x="186231" y="1550202"/>
                  <a:pt x="168405" y="1548828"/>
                </a:cubicBezTo>
                <a:cubicBezTo>
                  <a:pt x="154605" y="1547764"/>
                  <a:pt x="140762" y="1547242"/>
                  <a:pt x="126970" y="1546091"/>
                </a:cubicBezTo>
                <a:cubicBezTo>
                  <a:pt x="119295" y="1545451"/>
                  <a:pt x="111668" y="1544132"/>
                  <a:pt x="104053" y="1542912"/>
                </a:cubicBezTo>
                <a:cubicBezTo>
                  <a:pt x="91223" y="1540858"/>
                  <a:pt x="78344" y="1539011"/>
                  <a:pt x="65625" y="1536401"/>
                </a:cubicBezTo>
                <a:cubicBezTo>
                  <a:pt x="47307" y="1532642"/>
                  <a:pt x="29006" y="1528694"/>
                  <a:pt x="10909" y="1524010"/>
                </a:cubicBezTo>
                <a:cubicBezTo>
                  <a:pt x="744" y="1521379"/>
                  <a:pt x="119" y="1519620"/>
                  <a:pt x="8" y="1509263"/>
                </a:cubicBezTo>
                <a:cubicBezTo>
                  <a:pt x="-283" y="1482004"/>
                  <a:pt x="7525" y="1456906"/>
                  <a:pt x="21158" y="1433611"/>
                </a:cubicBezTo>
                <a:cubicBezTo>
                  <a:pt x="24128" y="1428537"/>
                  <a:pt x="25100" y="1424162"/>
                  <a:pt x="23462" y="1418658"/>
                </a:cubicBezTo>
                <a:cubicBezTo>
                  <a:pt x="19938" y="1406814"/>
                  <a:pt x="19145" y="1394638"/>
                  <a:pt x="19643" y="1382324"/>
                </a:cubicBezTo>
                <a:cubicBezTo>
                  <a:pt x="20741" y="1355171"/>
                  <a:pt x="29461" y="1331114"/>
                  <a:pt x="49060" y="1311832"/>
                </a:cubicBezTo>
                <a:cubicBezTo>
                  <a:pt x="68866" y="1292344"/>
                  <a:pt x="89102" y="1273294"/>
                  <a:pt x="109176" y="1254078"/>
                </a:cubicBezTo>
                <a:cubicBezTo>
                  <a:pt x="120788" y="1242961"/>
                  <a:pt x="123122" y="1229673"/>
                  <a:pt x="118319" y="1214801"/>
                </a:cubicBezTo>
                <a:cubicBezTo>
                  <a:pt x="116817" y="1210150"/>
                  <a:pt x="114697" y="1205702"/>
                  <a:pt x="113082" y="1201084"/>
                </a:cubicBezTo>
                <a:cubicBezTo>
                  <a:pt x="109606" y="1191147"/>
                  <a:pt x="110855" y="1188189"/>
                  <a:pt x="120417" y="1183950"/>
                </a:cubicBezTo>
                <a:cubicBezTo>
                  <a:pt x="125262" y="1181801"/>
                  <a:pt x="130109" y="1179394"/>
                  <a:pt x="135209" y="1178138"/>
                </a:cubicBezTo>
                <a:cubicBezTo>
                  <a:pt x="146972" y="1175241"/>
                  <a:pt x="153194" y="1166910"/>
                  <a:pt x="156535" y="1156396"/>
                </a:cubicBezTo>
                <a:cubicBezTo>
                  <a:pt x="166535" y="1124919"/>
                  <a:pt x="176229" y="1093339"/>
                  <a:pt x="185647" y="1061682"/>
                </a:cubicBezTo>
                <a:cubicBezTo>
                  <a:pt x="191222" y="1042945"/>
                  <a:pt x="196570" y="1024108"/>
                  <a:pt x="201074" y="1005093"/>
                </a:cubicBezTo>
                <a:cubicBezTo>
                  <a:pt x="205941" y="984550"/>
                  <a:pt x="210000" y="963801"/>
                  <a:pt x="213864" y="943040"/>
                </a:cubicBezTo>
                <a:cubicBezTo>
                  <a:pt x="217503" y="923489"/>
                  <a:pt x="220701" y="903846"/>
                  <a:pt x="223580" y="884167"/>
                </a:cubicBezTo>
                <a:cubicBezTo>
                  <a:pt x="225754" y="869301"/>
                  <a:pt x="227195" y="854324"/>
                  <a:pt x="228827" y="839382"/>
                </a:cubicBezTo>
                <a:cubicBezTo>
                  <a:pt x="230459" y="824446"/>
                  <a:pt x="232880" y="809515"/>
                  <a:pt x="233251" y="794539"/>
                </a:cubicBezTo>
                <a:cubicBezTo>
                  <a:pt x="233961" y="765893"/>
                  <a:pt x="233499" y="737217"/>
                  <a:pt x="233413" y="708554"/>
                </a:cubicBezTo>
                <a:cubicBezTo>
                  <a:pt x="233404" y="705465"/>
                  <a:pt x="232667" y="702378"/>
                  <a:pt x="232253" y="699181"/>
                </a:cubicBezTo>
                <a:cubicBezTo>
                  <a:pt x="218443" y="697138"/>
                  <a:pt x="205461" y="695831"/>
                  <a:pt x="192775" y="693131"/>
                </a:cubicBezTo>
                <a:cubicBezTo>
                  <a:pt x="183686" y="691197"/>
                  <a:pt x="174549" y="688305"/>
                  <a:pt x="166222" y="684229"/>
                </a:cubicBezTo>
                <a:cubicBezTo>
                  <a:pt x="151266" y="676909"/>
                  <a:pt x="147247" y="664789"/>
                  <a:pt x="153485" y="649704"/>
                </a:cubicBezTo>
                <a:cubicBezTo>
                  <a:pt x="158693" y="637111"/>
                  <a:pt x="168160" y="628190"/>
                  <a:pt x="179302" y="621006"/>
                </a:cubicBezTo>
                <a:cubicBezTo>
                  <a:pt x="186548" y="616334"/>
                  <a:pt x="191317" y="611105"/>
                  <a:pt x="192182" y="601675"/>
                </a:cubicBezTo>
                <a:cubicBezTo>
                  <a:pt x="192878" y="594094"/>
                  <a:pt x="197099" y="587626"/>
                  <a:pt x="204894" y="583417"/>
                </a:cubicBezTo>
                <a:cubicBezTo>
                  <a:pt x="214873" y="578030"/>
                  <a:pt x="224643" y="571774"/>
                  <a:pt x="233213" y="564393"/>
                </a:cubicBezTo>
                <a:cubicBezTo>
                  <a:pt x="242623" y="556289"/>
                  <a:pt x="240441" y="544193"/>
                  <a:pt x="229725" y="538177"/>
                </a:cubicBezTo>
                <a:cubicBezTo>
                  <a:pt x="226159" y="536176"/>
                  <a:pt x="222483" y="534351"/>
                  <a:pt x="218771" y="532633"/>
                </a:cubicBezTo>
                <a:cubicBezTo>
                  <a:pt x="213503" y="530196"/>
                  <a:pt x="212651" y="526226"/>
                  <a:pt x="215183" y="521568"/>
                </a:cubicBezTo>
                <a:cubicBezTo>
                  <a:pt x="217485" y="517332"/>
                  <a:pt x="220405" y="513432"/>
                  <a:pt x="223368" y="508901"/>
                </a:cubicBezTo>
                <a:cubicBezTo>
                  <a:pt x="221781" y="505376"/>
                  <a:pt x="220809" y="501165"/>
                  <a:pt x="218372" y="498135"/>
                </a:cubicBezTo>
                <a:cubicBezTo>
                  <a:pt x="202366" y="478231"/>
                  <a:pt x="190774" y="455961"/>
                  <a:pt x="181440" y="432308"/>
                </a:cubicBezTo>
                <a:cubicBezTo>
                  <a:pt x="170959" y="405748"/>
                  <a:pt x="164933" y="378186"/>
                  <a:pt x="167535" y="349841"/>
                </a:cubicBezTo>
                <a:cubicBezTo>
                  <a:pt x="170341" y="319265"/>
                  <a:pt x="179208" y="289917"/>
                  <a:pt x="193488" y="262518"/>
                </a:cubicBezTo>
                <a:cubicBezTo>
                  <a:pt x="206512" y="237529"/>
                  <a:pt x="220831" y="213359"/>
                  <a:pt x="237748" y="190690"/>
                </a:cubicBezTo>
                <a:cubicBezTo>
                  <a:pt x="260421" y="160310"/>
                  <a:pt x="282602" y="129592"/>
                  <a:pt x="309459" y="102623"/>
                </a:cubicBezTo>
                <a:cubicBezTo>
                  <a:pt x="316627" y="95424"/>
                  <a:pt x="316261" y="87541"/>
                  <a:pt x="310459" y="78521"/>
                </a:cubicBezTo>
                <a:cubicBezTo>
                  <a:pt x="306309" y="72071"/>
                  <a:pt x="301695" y="65150"/>
                  <a:pt x="300267" y="57856"/>
                </a:cubicBezTo>
                <a:cubicBezTo>
                  <a:pt x="295286" y="32423"/>
                  <a:pt x="314502" y="10133"/>
                  <a:pt x="332242" y="4422"/>
                </a:cubicBezTo>
                <a:cubicBezTo>
                  <a:pt x="349540" y="-1148"/>
                  <a:pt x="367530" y="-2176"/>
                  <a:pt x="384904" y="5551"/>
                </a:cubicBezTo>
                <a:cubicBezTo>
                  <a:pt x="395271" y="10161"/>
                  <a:pt x="403310" y="17760"/>
                  <a:pt x="409773" y="26778"/>
                </a:cubicBezTo>
                <a:cubicBezTo>
                  <a:pt x="415168" y="34307"/>
                  <a:pt x="413749" y="41584"/>
                  <a:pt x="407026" y="46052"/>
                </a:cubicBezTo>
                <a:cubicBezTo>
                  <a:pt x="405624" y="40964"/>
                  <a:pt x="404503" y="35849"/>
                  <a:pt x="402771" y="30951"/>
                </a:cubicBezTo>
                <a:cubicBezTo>
                  <a:pt x="401450" y="27216"/>
                  <a:pt x="399383" y="28477"/>
                  <a:pt x="397038" y="30361"/>
                </a:cubicBezTo>
                <a:cubicBezTo>
                  <a:pt x="384440" y="15986"/>
                  <a:pt x="377037" y="14494"/>
                  <a:pt x="360694" y="22760"/>
                </a:cubicBezTo>
                <a:cubicBezTo>
                  <a:pt x="353707" y="22767"/>
                  <a:pt x="352275" y="27176"/>
                  <a:pt x="351669" y="31736"/>
                </a:cubicBezTo>
                <a:cubicBezTo>
                  <a:pt x="351136" y="35760"/>
                  <a:pt x="351383" y="39899"/>
                  <a:pt x="351426" y="43987"/>
                </a:cubicBezTo>
                <a:cubicBezTo>
                  <a:pt x="351648" y="64919"/>
                  <a:pt x="372389" y="78115"/>
                  <a:pt x="390968" y="68762"/>
                </a:cubicBezTo>
                <a:cubicBezTo>
                  <a:pt x="395158" y="66653"/>
                  <a:pt x="398534" y="62629"/>
                  <a:pt x="401770" y="59025"/>
                </a:cubicBezTo>
                <a:cubicBezTo>
                  <a:pt x="404045" y="56491"/>
                  <a:pt x="405661" y="53409"/>
                  <a:pt x="409619" y="55786"/>
                </a:cubicBezTo>
                <a:cubicBezTo>
                  <a:pt x="413544" y="58145"/>
                  <a:pt x="412176" y="61347"/>
                  <a:pt x="410427" y="64256"/>
                </a:cubicBezTo>
                <a:cubicBezTo>
                  <a:pt x="406872" y="70170"/>
                  <a:pt x="403244" y="76046"/>
                  <a:pt x="399453" y="81811"/>
                </a:cubicBezTo>
                <a:cubicBezTo>
                  <a:pt x="394663" y="89097"/>
                  <a:pt x="394382" y="94032"/>
                  <a:pt x="399346" y="98083"/>
                </a:cubicBezTo>
                <a:cubicBezTo>
                  <a:pt x="428062" y="121519"/>
                  <a:pt x="450822" y="150083"/>
                  <a:pt x="471592" y="180524"/>
                </a:cubicBezTo>
                <a:cubicBezTo>
                  <a:pt x="476398" y="187569"/>
                  <a:pt x="476844" y="193688"/>
                  <a:pt x="473550" y="200923"/>
                </a:cubicBezTo>
                <a:cubicBezTo>
                  <a:pt x="470171" y="208346"/>
                  <a:pt x="467091" y="215905"/>
                  <a:pt x="463677" y="223311"/>
                </a:cubicBezTo>
                <a:cubicBezTo>
                  <a:pt x="461993" y="226965"/>
                  <a:pt x="462995" y="228697"/>
                  <a:pt x="466852" y="229083"/>
                </a:cubicBezTo>
                <a:moveTo>
                  <a:pt x="474186" y="928382"/>
                </a:moveTo>
                <a:cubicBezTo>
                  <a:pt x="469297" y="891529"/>
                  <a:pt x="462961" y="854794"/>
                  <a:pt x="459927" y="817790"/>
                </a:cubicBezTo>
                <a:cubicBezTo>
                  <a:pt x="456905" y="780939"/>
                  <a:pt x="457197" y="743817"/>
                  <a:pt x="456025" y="706469"/>
                </a:cubicBezTo>
                <a:cubicBezTo>
                  <a:pt x="425780" y="707923"/>
                  <a:pt x="396554" y="709327"/>
                  <a:pt x="366863" y="710754"/>
                </a:cubicBezTo>
                <a:cubicBezTo>
                  <a:pt x="366546" y="714450"/>
                  <a:pt x="366201" y="716832"/>
                  <a:pt x="366159" y="719219"/>
                </a:cubicBezTo>
                <a:cubicBezTo>
                  <a:pt x="365479" y="757672"/>
                  <a:pt x="364935" y="796129"/>
                  <a:pt x="364159" y="834581"/>
                </a:cubicBezTo>
                <a:cubicBezTo>
                  <a:pt x="363450" y="869762"/>
                  <a:pt x="362581" y="904941"/>
                  <a:pt x="361633" y="940117"/>
                </a:cubicBezTo>
                <a:cubicBezTo>
                  <a:pt x="360619" y="977749"/>
                  <a:pt x="359431" y="1015376"/>
                  <a:pt x="358313" y="1053005"/>
                </a:cubicBezTo>
                <a:cubicBezTo>
                  <a:pt x="358265" y="1054641"/>
                  <a:pt x="358149" y="1056276"/>
                  <a:pt x="358081" y="1057912"/>
                </a:cubicBezTo>
                <a:cubicBezTo>
                  <a:pt x="356598" y="1093463"/>
                  <a:pt x="355081" y="1129014"/>
                  <a:pt x="353706" y="1164570"/>
                </a:cubicBezTo>
                <a:cubicBezTo>
                  <a:pt x="353604" y="1167221"/>
                  <a:pt x="354516" y="1169911"/>
                  <a:pt x="354951" y="1172547"/>
                </a:cubicBezTo>
                <a:cubicBezTo>
                  <a:pt x="416984" y="1173689"/>
                  <a:pt x="478158" y="1174816"/>
                  <a:pt x="540959" y="1175972"/>
                </a:cubicBezTo>
                <a:cubicBezTo>
                  <a:pt x="513162" y="1094194"/>
                  <a:pt x="489081" y="1013598"/>
                  <a:pt x="474186" y="928382"/>
                </a:cubicBezTo>
                <a:moveTo>
                  <a:pt x="513768" y="1417676"/>
                </a:moveTo>
                <a:cubicBezTo>
                  <a:pt x="515785" y="1417344"/>
                  <a:pt x="517792" y="1416889"/>
                  <a:pt x="519822" y="1416700"/>
                </a:cubicBezTo>
                <a:cubicBezTo>
                  <a:pt x="557234" y="1413220"/>
                  <a:pt x="594682" y="1410089"/>
                  <a:pt x="632041" y="1406122"/>
                </a:cubicBezTo>
                <a:cubicBezTo>
                  <a:pt x="643122" y="1404945"/>
                  <a:pt x="654730" y="1405292"/>
                  <a:pt x="665040" y="1400634"/>
                </a:cubicBezTo>
                <a:cubicBezTo>
                  <a:pt x="665352" y="1398517"/>
                  <a:pt x="665651" y="1397324"/>
                  <a:pt x="665677" y="1396126"/>
                </a:cubicBezTo>
                <a:cubicBezTo>
                  <a:pt x="665722" y="1394084"/>
                  <a:pt x="665674" y="1392032"/>
                  <a:pt x="665529" y="1389994"/>
                </a:cubicBezTo>
                <a:cubicBezTo>
                  <a:pt x="663118" y="1356121"/>
                  <a:pt x="650063" y="1327787"/>
                  <a:pt x="623046" y="1306238"/>
                </a:cubicBezTo>
                <a:cubicBezTo>
                  <a:pt x="613485" y="1298611"/>
                  <a:pt x="605001" y="1289635"/>
                  <a:pt x="596015" y="1281285"/>
                </a:cubicBezTo>
                <a:cubicBezTo>
                  <a:pt x="578506" y="1265018"/>
                  <a:pt x="567837" y="1245446"/>
                  <a:pt x="567683" y="1220059"/>
                </a:cubicBezTo>
                <a:cubicBezTo>
                  <a:pt x="558046" y="1220059"/>
                  <a:pt x="549136" y="1219649"/>
                  <a:pt x="540273" y="1220129"/>
                </a:cubicBezTo>
                <a:cubicBezTo>
                  <a:pt x="501512" y="1222229"/>
                  <a:pt x="462775" y="1224768"/>
                  <a:pt x="424010" y="1226781"/>
                </a:cubicBezTo>
                <a:cubicBezTo>
                  <a:pt x="401969" y="1227926"/>
                  <a:pt x="379889" y="1228330"/>
                  <a:pt x="357832" y="1229178"/>
                </a:cubicBezTo>
                <a:cubicBezTo>
                  <a:pt x="355938" y="1229251"/>
                  <a:pt x="354076" y="1230151"/>
                  <a:pt x="352386" y="1230616"/>
                </a:cubicBezTo>
                <a:cubicBezTo>
                  <a:pt x="353642" y="1262222"/>
                  <a:pt x="355769" y="1293219"/>
                  <a:pt x="355852" y="1324222"/>
                </a:cubicBezTo>
                <a:cubicBezTo>
                  <a:pt x="355936" y="1355438"/>
                  <a:pt x="353988" y="1386659"/>
                  <a:pt x="352930" y="1417867"/>
                </a:cubicBezTo>
                <a:cubicBezTo>
                  <a:pt x="406069" y="1417867"/>
                  <a:pt x="458771" y="1417867"/>
                  <a:pt x="513768" y="1417676"/>
                </a:cubicBezTo>
                <a:moveTo>
                  <a:pt x="387930" y="499741"/>
                </a:moveTo>
                <a:cubicBezTo>
                  <a:pt x="410797" y="498777"/>
                  <a:pt x="433665" y="497860"/>
                  <a:pt x="456529" y="496826"/>
                </a:cubicBezTo>
                <a:cubicBezTo>
                  <a:pt x="466656" y="496369"/>
                  <a:pt x="475418" y="493371"/>
                  <a:pt x="482355" y="485095"/>
                </a:cubicBezTo>
                <a:cubicBezTo>
                  <a:pt x="509188" y="453083"/>
                  <a:pt x="525387" y="416636"/>
                  <a:pt x="528016" y="374829"/>
                </a:cubicBezTo>
                <a:cubicBezTo>
                  <a:pt x="530547" y="334558"/>
                  <a:pt x="520095" y="297041"/>
                  <a:pt x="501375" y="261643"/>
                </a:cubicBezTo>
                <a:cubicBezTo>
                  <a:pt x="499379" y="257869"/>
                  <a:pt x="496654" y="254482"/>
                  <a:pt x="493534" y="249818"/>
                </a:cubicBezTo>
                <a:cubicBezTo>
                  <a:pt x="490233" y="254212"/>
                  <a:pt x="487883" y="256986"/>
                  <a:pt x="485920" y="260010"/>
                </a:cubicBezTo>
                <a:cubicBezTo>
                  <a:pt x="475010" y="276824"/>
                  <a:pt x="464300" y="293767"/>
                  <a:pt x="453305" y="310523"/>
                </a:cubicBezTo>
                <a:cubicBezTo>
                  <a:pt x="447028" y="320089"/>
                  <a:pt x="440916" y="329858"/>
                  <a:pt x="433678" y="338672"/>
                </a:cubicBezTo>
                <a:cubicBezTo>
                  <a:pt x="425909" y="348131"/>
                  <a:pt x="413084" y="349691"/>
                  <a:pt x="403713" y="343710"/>
                </a:cubicBezTo>
                <a:cubicBezTo>
                  <a:pt x="394358" y="337739"/>
                  <a:pt x="391675" y="327526"/>
                  <a:pt x="396427" y="315612"/>
                </a:cubicBezTo>
                <a:cubicBezTo>
                  <a:pt x="397334" y="313339"/>
                  <a:pt x="398595" y="311210"/>
                  <a:pt x="399663" y="309000"/>
                </a:cubicBezTo>
                <a:cubicBezTo>
                  <a:pt x="417094" y="272900"/>
                  <a:pt x="434331" y="236704"/>
                  <a:pt x="452097" y="200770"/>
                </a:cubicBezTo>
                <a:cubicBezTo>
                  <a:pt x="455910" y="193060"/>
                  <a:pt x="455310" y="187173"/>
                  <a:pt x="450118" y="180596"/>
                </a:cubicBezTo>
                <a:cubicBezTo>
                  <a:pt x="428273" y="152922"/>
                  <a:pt x="405805" y="125901"/>
                  <a:pt x="376545" y="105525"/>
                </a:cubicBezTo>
                <a:cubicBezTo>
                  <a:pt x="374483" y="104089"/>
                  <a:pt x="372013" y="103239"/>
                  <a:pt x="368791" y="101653"/>
                </a:cubicBezTo>
                <a:cubicBezTo>
                  <a:pt x="367942" y="116965"/>
                  <a:pt x="367019" y="130814"/>
                  <a:pt x="366449" y="144676"/>
                </a:cubicBezTo>
                <a:cubicBezTo>
                  <a:pt x="365912" y="157758"/>
                  <a:pt x="365593" y="170854"/>
                  <a:pt x="365447" y="183946"/>
                </a:cubicBezTo>
                <a:cubicBezTo>
                  <a:pt x="365020" y="221975"/>
                  <a:pt x="363367" y="260055"/>
                  <a:pt x="364738" y="298022"/>
                </a:cubicBezTo>
                <a:cubicBezTo>
                  <a:pt x="366329" y="342101"/>
                  <a:pt x="370336" y="386106"/>
                  <a:pt x="373865" y="430096"/>
                </a:cubicBezTo>
                <a:cubicBezTo>
                  <a:pt x="375530" y="450849"/>
                  <a:pt x="378387" y="471514"/>
                  <a:pt x="381088" y="492169"/>
                </a:cubicBezTo>
                <a:cubicBezTo>
                  <a:pt x="381433" y="494807"/>
                  <a:pt x="384102" y="497143"/>
                  <a:pt x="387930" y="499741"/>
                </a:cubicBezTo>
                <a:moveTo>
                  <a:pt x="455850" y="1521476"/>
                </a:moveTo>
                <a:cubicBezTo>
                  <a:pt x="533043" y="1519612"/>
                  <a:pt x="609810" y="1514084"/>
                  <a:pt x="685121" y="1496509"/>
                </a:cubicBezTo>
                <a:cubicBezTo>
                  <a:pt x="683922" y="1481705"/>
                  <a:pt x="679199" y="1467708"/>
                  <a:pt x="672999" y="1456665"/>
                </a:cubicBezTo>
                <a:cubicBezTo>
                  <a:pt x="669933" y="1451203"/>
                  <a:pt x="666057" y="1449329"/>
                  <a:pt x="660009" y="1450249"/>
                </a:cubicBezTo>
                <a:cubicBezTo>
                  <a:pt x="651125" y="1451601"/>
                  <a:pt x="642144" y="1452308"/>
                  <a:pt x="633248" y="1453589"/>
                </a:cubicBezTo>
                <a:cubicBezTo>
                  <a:pt x="572852" y="1462289"/>
                  <a:pt x="511993" y="1465134"/>
                  <a:pt x="451131" y="1467458"/>
                </a:cubicBezTo>
                <a:cubicBezTo>
                  <a:pt x="421697" y="1468582"/>
                  <a:pt x="392192" y="1467837"/>
                  <a:pt x="362719" y="1467934"/>
                </a:cubicBezTo>
                <a:cubicBezTo>
                  <a:pt x="358386" y="1467948"/>
                  <a:pt x="354052" y="1467936"/>
                  <a:pt x="349983" y="1467936"/>
                </a:cubicBezTo>
                <a:cubicBezTo>
                  <a:pt x="347592" y="1485362"/>
                  <a:pt x="348606" y="1509458"/>
                  <a:pt x="352220" y="1519140"/>
                </a:cubicBezTo>
                <a:cubicBezTo>
                  <a:pt x="385617" y="1519916"/>
                  <a:pt x="419507" y="1520703"/>
                  <a:pt x="455850" y="1521476"/>
                </a:cubicBezTo>
                <a:moveTo>
                  <a:pt x="368682" y="544846"/>
                </a:moveTo>
                <a:cubicBezTo>
                  <a:pt x="374258" y="564891"/>
                  <a:pt x="370074" y="584394"/>
                  <a:pt x="363600" y="605633"/>
                </a:cubicBezTo>
                <a:cubicBezTo>
                  <a:pt x="408859" y="604212"/>
                  <a:pt x="452263" y="602850"/>
                  <a:pt x="496351" y="601466"/>
                </a:cubicBezTo>
                <a:cubicBezTo>
                  <a:pt x="496109" y="591095"/>
                  <a:pt x="491408" y="584247"/>
                  <a:pt x="485068" y="579288"/>
                </a:cubicBezTo>
                <a:cubicBezTo>
                  <a:pt x="472414" y="569391"/>
                  <a:pt x="466934" y="556602"/>
                  <a:pt x="466524" y="541026"/>
                </a:cubicBezTo>
                <a:cubicBezTo>
                  <a:pt x="466485" y="539528"/>
                  <a:pt x="465591" y="538053"/>
                  <a:pt x="465000" y="536289"/>
                </a:cubicBezTo>
                <a:cubicBezTo>
                  <a:pt x="460209" y="536289"/>
                  <a:pt x="455761" y="536132"/>
                  <a:pt x="451328" y="536316"/>
                </a:cubicBezTo>
                <a:cubicBezTo>
                  <a:pt x="430930" y="537159"/>
                  <a:pt x="410538" y="538137"/>
                  <a:pt x="390140" y="538979"/>
                </a:cubicBezTo>
                <a:cubicBezTo>
                  <a:pt x="384834" y="539198"/>
                  <a:pt x="379484" y="538790"/>
                  <a:pt x="374215" y="539303"/>
                </a:cubicBezTo>
                <a:cubicBezTo>
                  <a:pt x="372259" y="539494"/>
                  <a:pt x="370480" y="541498"/>
                  <a:pt x="368682" y="544846"/>
                </a:cubicBezTo>
                <a:moveTo>
                  <a:pt x="453915" y="635267"/>
                </a:moveTo>
                <a:cubicBezTo>
                  <a:pt x="427589" y="636632"/>
                  <a:pt x="401262" y="637998"/>
                  <a:pt x="374200" y="639402"/>
                </a:cubicBezTo>
                <a:cubicBezTo>
                  <a:pt x="374200" y="651578"/>
                  <a:pt x="374200" y="661970"/>
                  <a:pt x="374200" y="673206"/>
                </a:cubicBezTo>
                <a:cubicBezTo>
                  <a:pt x="378672" y="673406"/>
                  <a:pt x="382666" y="673863"/>
                  <a:pt x="386639" y="673718"/>
                </a:cubicBezTo>
                <a:cubicBezTo>
                  <a:pt x="431495" y="672082"/>
                  <a:pt x="476352" y="670422"/>
                  <a:pt x="521198" y="668541"/>
                </a:cubicBezTo>
                <a:cubicBezTo>
                  <a:pt x="525584" y="668357"/>
                  <a:pt x="530162" y="667254"/>
                  <a:pt x="534198" y="665521"/>
                </a:cubicBezTo>
                <a:cubicBezTo>
                  <a:pt x="540213" y="662938"/>
                  <a:pt x="541802" y="658194"/>
                  <a:pt x="538413" y="652526"/>
                </a:cubicBezTo>
                <a:cubicBezTo>
                  <a:pt x="536192" y="648813"/>
                  <a:pt x="532979" y="645251"/>
                  <a:pt x="529377" y="642895"/>
                </a:cubicBezTo>
                <a:cubicBezTo>
                  <a:pt x="521426" y="637695"/>
                  <a:pt x="512576" y="634669"/>
                  <a:pt x="502829" y="634808"/>
                </a:cubicBezTo>
                <a:cubicBezTo>
                  <a:pt x="487311" y="635030"/>
                  <a:pt x="471791" y="635092"/>
                  <a:pt x="453915" y="635267"/>
                </a:cubicBezTo>
                <a:close/>
              </a:path>
            </a:pathLst>
          </a:custGeom>
          <a:solidFill>
            <a:srgbClr val="CDD9DF"/>
          </a:solidFill>
          <a:ln w="12700" cap="flat">
            <a:solidFill>
              <a:srgbClr val="CDD9DF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72" name="Free-form: Shape 471">
            <a:extLst>
              <a:ext uri="{FF2B5EF4-FFF2-40B4-BE49-F238E27FC236}">
                <a16:creationId xmlns:a16="http://schemas.microsoft.com/office/drawing/2014/main" id="{CF3696BB-2256-8758-E993-F37E65CC026C}"/>
              </a:ext>
            </a:extLst>
          </p:cNvPr>
          <p:cNvSpPr/>
          <p:nvPr/>
        </p:nvSpPr>
        <p:spPr>
          <a:xfrm>
            <a:off x="8333213" y="3834759"/>
            <a:ext cx="665488" cy="1428730"/>
          </a:xfrm>
          <a:custGeom>
            <a:avLst/>
            <a:gdLst>
              <a:gd name="csX0" fmla="*/ 406842 w 732037"/>
              <a:gd name="csY0" fmla="*/ 38347 h 1571603"/>
              <a:gd name="csX1" fmla="*/ 411944 w 732037"/>
              <a:gd name="csY1" fmla="*/ 38343 h 1571603"/>
              <a:gd name="csX2" fmla="*/ 416198 w 732037"/>
              <a:gd name="csY2" fmla="*/ 53444 h 1571603"/>
              <a:gd name="csX3" fmla="*/ 418945 w 732037"/>
              <a:gd name="csY3" fmla="*/ 34170 h 1571603"/>
              <a:gd name="csX4" fmla="*/ 394077 w 732037"/>
              <a:gd name="csY4" fmla="*/ 12943 h 1571603"/>
              <a:gd name="csX5" fmla="*/ 341415 w 732037"/>
              <a:gd name="csY5" fmla="*/ 11814 h 1571603"/>
              <a:gd name="csX6" fmla="*/ 309440 w 732037"/>
              <a:gd name="csY6" fmla="*/ 65249 h 1571603"/>
              <a:gd name="csX7" fmla="*/ 319632 w 732037"/>
              <a:gd name="csY7" fmla="*/ 85914 h 1571603"/>
              <a:gd name="csX8" fmla="*/ 318632 w 732037"/>
              <a:gd name="csY8" fmla="*/ 110015 h 1571603"/>
              <a:gd name="csX9" fmla="*/ 246921 w 732037"/>
              <a:gd name="csY9" fmla="*/ 198083 h 1571603"/>
              <a:gd name="csX10" fmla="*/ 202660 w 732037"/>
              <a:gd name="csY10" fmla="*/ 269911 h 1571603"/>
              <a:gd name="csX11" fmla="*/ 176707 w 732037"/>
              <a:gd name="csY11" fmla="*/ 357233 h 1571603"/>
              <a:gd name="csX12" fmla="*/ 190612 w 732037"/>
              <a:gd name="csY12" fmla="*/ 439700 h 1571603"/>
              <a:gd name="csX13" fmla="*/ 227544 w 732037"/>
              <a:gd name="csY13" fmla="*/ 505527 h 1571603"/>
              <a:gd name="csX14" fmla="*/ 232541 w 732037"/>
              <a:gd name="csY14" fmla="*/ 516294 h 1571603"/>
              <a:gd name="csX15" fmla="*/ 224356 w 732037"/>
              <a:gd name="csY15" fmla="*/ 528960 h 1571603"/>
              <a:gd name="csX16" fmla="*/ 227944 w 732037"/>
              <a:gd name="csY16" fmla="*/ 540026 h 1571603"/>
              <a:gd name="csX17" fmla="*/ 238897 w 732037"/>
              <a:gd name="csY17" fmla="*/ 545570 h 1571603"/>
              <a:gd name="csX18" fmla="*/ 242386 w 732037"/>
              <a:gd name="csY18" fmla="*/ 571785 h 1571603"/>
              <a:gd name="csX19" fmla="*/ 214067 w 732037"/>
              <a:gd name="csY19" fmla="*/ 590809 h 1571603"/>
              <a:gd name="csX20" fmla="*/ 201355 w 732037"/>
              <a:gd name="csY20" fmla="*/ 609067 h 1571603"/>
              <a:gd name="csX21" fmla="*/ 188474 w 732037"/>
              <a:gd name="csY21" fmla="*/ 628398 h 1571603"/>
              <a:gd name="csX22" fmla="*/ 162658 w 732037"/>
              <a:gd name="csY22" fmla="*/ 657096 h 1571603"/>
              <a:gd name="csX23" fmla="*/ 175395 w 732037"/>
              <a:gd name="csY23" fmla="*/ 691621 h 1571603"/>
              <a:gd name="csX24" fmla="*/ 201948 w 732037"/>
              <a:gd name="csY24" fmla="*/ 700523 h 1571603"/>
              <a:gd name="csX25" fmla="*/ 241426 w 732037"/>
              <a:gd name="csY25" fmla="*/ 706574 h 1571603"/>
              <a:gd name="csX26" fmla="*/ 242586 w 732037"/>
              <a:gd name="csY26" fmla="*/ 715946 h 1571603"/>
              <a:gd name="csX27" fmla="*/ 242424 w 732037"/>
              <a:gd name="csY27" fmla="*/ 801932 h 1571603"/>
              <a:gd name="csX28" fmla="*/ 238000 w 732037"/>
              <a:gd name="csY28" fmla="*/ 846774 h 1571603"/>
              <a:gd name="csX29" fmla="*/ 232752 w 732037"/>
              <a:gd name="csY29" fmla="*/ 891559 h 1571603"/>
              <a:gd name="csX30" fmla="*/ 223037 w 732037"/>
              <a:gd name="csY30" fmla="*/ 950433 h 1571603"/>
              <a:gd name="csX31" fmla="*/ 210247 w 732037"/>
              <a:gd name="csY31" fmla="*/ 1012485 h 1571603"/>
              <a:gd name="csX32" fmla="*/ 194820 w 732037"/>
              <a:gd name="csY32" fmla="*/ 1069074 h 1571603"/>
              <a:gd name="csX33" fmla="*/ 165707 w 732037"/>
              <a:gd name="csY33" fmla="*/ 1163788 h 1571603"/>
              <a:gd name="csX34" fmla="*/ 144382 w 732037"/>
              <a:gd name="csY34" fmla="*/ 1185530 h 1571603"/>
              <a:gd name="csX35" fmla="*/ 129590 w 732037"/>
              <a:gd name="csY35" fmla="*/ 1191342 h 1571603"/>
              <a:gd name="csX36" fmla="*/ 122255 w 732037"/>
              <a:gd name="csY36" fmla="*/ 1208476 h 1571603"/>
              <a:gd name="csX37" fmla="*/ 127491 w 732037"/>
              <a:gd name="csY37" fmla="*/ 1222193 h 1571603"/>
              <a:gd name="csX38" fmla="*/ 118348 w 732037"/>
              <a:gd name="csY38" fmla="*/ 1261470 h 1571603"/>
              <a:gd name="csX39" fmla="*/ 58232 w 732037"/>
              <a:gd name="csY39" fmla="*/ 1319224 h 1571603"/>
              <a:gd name="csX40" fmla="*/ 28815 w 732037"/>
              <a:gd name="csY40" fmla="*/ 1389717 h 1571603"/>
              <a:gd name="csX41" fmla="*/ 32634 w 732037"/>
              <a:gd name="csY41" fmla="*/ 1426050 h 1571603"/>
              <a:gd name="csX42" fmla="*/ 30331 w 732037"/>
              <a:gd name="csY42" fmla="*/ 1441003 h 1571603"/>
              <a:gd name="csX43" fmla="*/ 9180 w 732037"/>
              <a:gd name="csY43" fmla="*/ 1516655 h 1571603"/>
              <a:gd name="csX44" fmla="*/ 20082 w 732037"/>
              <a:gd name="csY44" fmla="*/ 1531402 h 1571603"/>
              <a:gd name="csX45" fmla="*/ 74798 w 732037"/>
              <a:gd name="csY45" fmla="*/ 1543794 h 1571603"/>
              <a:gd name="csX46" fmla="*/ 113225 w 732037"/>
              <a:gd name="csY46" fmla="*/ 1550305 h 1571603"/>
              <a:gd name="csX47" fmla="*/ 136142 w 732037"/>
              <a:gd name="csY47" fmla="*/ 1553484 h 1571603"/>
              <a:gd name="csX48" fmla="*/ 177578 w 732037"/>
              <a:gd name="csY48" fmla="*/ 1556220 h 1571603"/>
              <a:gd name="csX49" fmla="*/ 231027 w 732037"/>
              <a:gd name="csY49" fmla="*/ 1560698 h 1571603"/>
              <a:gd name="csX50" fmla="*/ 254342 w 732037"/>
              <a:gd name="csY50" fmla="*/ 1561142 h 1571603"/>
              <a:gd name="csX51" fmla="*/ 459180 w 732037"/>
              <a:gd name="csY51" fmla="*/ 1563411 h 1571603"/>
              <a:gd name="csX52" fmla="*/ 531340 w 732037"/>
              <a:gd name="csY52" fmla="*/ 1560936 h 1571603"/>
              <a:gd name="csX53" fmla="*/ 590888 w 732037"/>
              <a:gd name="csY53" fmla="*/ 1555951 h 1571603"/>
              <a:gd name="csX54" fmla="*/ 710712 w 732037"/>
              <a:gd name="csY54" fmla="*/ 1533916 h 1571603"/>
              <a:gd name="csX55" fmla="*/ 724356 w 732037"/>
              <a:gd name="csY55" fmla="*/ 1516144 h 1571603"/>
              <a:gd name="csX56" fmla="*/ 707380 w 732037"/>
              <a:gd name="csY56" fmla="*/ 1449380 h 1571603"/>
              <a:gd name="csX57" fmla="*/ 707050 w 732037"/>
              <a:gd name="csY57" fmla="*/ 1440881 h 1571603"/>
              <a:gd name="csX58" fmla="*/ 731479 w 732037"/>
              <a:gd name="csY58" fmla="*/ 1500017 h 1571603"/>
              <a:gd name="csX59" fmla="*/ 731163 w 732037"/>
              <a:gd name="csY59" fmla="*/ 1513759 h 1571603"/>
              <a:gd name="csX60" fmla="*/ 731650 w 732037"/>
              <a:gd name="csY60" fmla="*/ 1521766 h 1571603"/>
              <a:gd name="csX61" fmla="*/ 721896 w 732037"/>
              <a:gd name="csY61" fmla="*/ 1537319 h 1571603"/>
              <a:gd name="csX62" fmla="*/ 657740 w 732037"/>
              <a:gd name="csY62" fmla="*/ 1553265 h 1571603"/>
              <a:gd name="csX63" fmla="*/ 507791 w 732037"/>
              <a:gd name="csY63" fmla="*/ 1568943 h 1571603"/>
              <a:gd name="csX64" fmla="*/ 264676 w 732037"/>
              <a:gd name="csY64" fmla="*/ 1569724 h 1571603"/>
              <a:gd name="csX65" fmla="*/ 82743 w 732037"/>
              <a:gd name="csY65" fmla="*/ 1553254 h 1571603"/>
              <a:gd name="csX66" fmla="*/ 17072 w 732037"/>
              <a:gd name="csY66" fmla="*/ 1538153 h 1571603"/>
              <a:gd name="csX67" fmla="*/ 275 w 732037"/>
              <a:gd name="csY67" fmla="*/ 1513030 h 1571603"/>
              <a:gd name="csX68" fmla="*/ 20923 w 732037"/>
              <a:gd name="csY68" fmla="*/ 1441861 h 1571603"/>
              <a:gd name="csX69" fmla="*/ 23045 w 732037"/>
              <a:gd name="csY69" fmla="*/ 1423105 h 1571603"/>
              <a:gd name="csX70" fmla="*/ 30564 w 732037"/>
              <a:gd name="csY70" fmla="*/ 1346289 h 1571603"/>
              <a:gd name="csX71" fmla="*/ 71350 w 732037"/>
              <a:gd name="csY71" fmla="*/ 1295039 h 1571603"/>
              <a:gd name="csX72" fmla="*/ 112257 w 732037"/>
              <a:gd name="csY72" fmla="*/ 1255093 h 1571603"/>
              <a:gd name="csX73" fmla="*/ 115864 w 732037"/>
              <a:gd name="csY73" fmla="*/ 1217271 h 1571603"/>
              <a:gd name="csX74" fmla="*/ 112256 w 732037"/>
              <a:gd name="csY74" fmla="*/ 1210870 h 1571603"/>
              <a:gd name="csX75" fmla="*/ 121141 w 732037"/>
              <a:gd name="csY75" fmla="*/ 1186548 h 1571603"/>
              <a:gd name="csX76" fmla="*/ 136571 w 732037"/>
              <a:gd name="csY76" fmla="*/ 1179850 h 1571603"/>
              <a:gd name="csX77" fmla="*/ 158281 w 732037"/>
              <a:gd name="csY77" fmla="*/ 1157879 h 1571603"/>
              <a:gd name="csX78" fmla="*/ 187986 w 732037"/>
              <a:gd name="csY78" fmla="*/ 1059736 h 1571603"/>
              <a:gd name="csX79" fmla="*/ 217119 w 732037"/>
              <a:gd name="csY79" fmla="*/ 938896 h 1571603"/>
              <a:gd name="csX80" fmla="*/ 225792 w 732037"/>
              <a:gd name="csY80" fmla="*/ 893236 h 1571603"/>
              <a:gd name="csX81" fmla="*/ 226150 w 732037"/>
              <a:gd name="csY81" fmla="*/ 887970 h 1571603"/>
              <a:gd name="csX82" fmla="*/ 230782 w 732037"/>
              <a:gd name="csY82" fmla="*/ 853969 h 1571603"/>
              <a:gd name="csX83" fmla="*/ 230786 w 732037"/>
              <a:gd name="csY83" fmla="*/ 848558 h 1571603"/>
              <a:gd name="csX84" fmla="*/ 233315 w 732037"/>
              <a:gd name="csY84" fmla="*/ 824438 h 1571603"/>
              <a:gd name="csX85" fmla="*/ 233199 w 732037"/>
              <a:gd name="csY85" fmla="*/ 819050 h 1571603"/>
              <a:gd name="csX86" fmla="*/ 235848 w 732037"/>
              <a:gd name="csY86" fmla="*/ 782380 h 1571603"/>
              <a:gd name="csX87" fmla="*/ 237465 w 732037"/>
              <a:gd name="csY87" fmla="*/ 719113 h 1571603"/>
              <a:gd name="csX88" fmla="*/ 233057 w 732037"/>
              <a:gd name="csY88" fmla="*/ 713160 h 1571603"/>
              <a:gd name="csX89" fmla="*/ 203056 w 732037"/>
              <a:gd name="csY89" fmla="*/ 708405 h 1571603"/>
              <a:gd name="csX90" fmla="*/ 169628 w 732037"/>
              <a:gd name="csY90" fmla="*/ 698106 h 1571603"/>
              <a:gd name="csX91" fmla="*/ 153237 w 732037"/>
              <a:gd name="csY91" fmla="*/ 659111 h 1571603"/>
              <a:gd name="csX92" fmla="*/ 178365 w 732037"/>
              <a:gd name="csY92" fmla="*/ 626008 h 1571603"/>
              <a:gd name="csX93" fmla="*/ 191885 w 732037"/>
              <a:gd name="csY93" fmla="*/ 617513 h 1571603"/>
              <a:gd name="csX94" fmla="*/ 193681 w 732037"/>
              <a:gd name="csY94" fmla="*/ 610098 h 1571603"/>
              <a:gd name="csX95" fmla="*/ 213301 w 732037"/>
              <a:gd name="csY95" fmla="*/ 579885 h 1571603"/>
              <a:gd name="csX96" fmla="*/ 229635 w 732037"/>
              <a:gd name="csY96" fmla="*/ 571429 h 1571603"/>
              <a:gd name="csX97" fmla="*/ 237351 w 732037"/>
              <a:gd name="csY97" fmla="*/ 565882 h 1571603"/>
              <a:gd name="csX98" fmla="*/ 233673 w 732037"/>
              <a:gd name="csY98" fmla="*/ 550926 h 1571603"/>
              <a:gd name="csX99" fmla="*/ 226799 w 732037"/>
              <a:gd name="csY99" fmla="*/ 548359 h 1571603"/>
              <a:gd name="csX100" fmla="*/ 218639 w 732037"/>
              <a:gd name="csY100" fmla="*/ 522664 h 1571603"/>
              <a:gd name="csX101" fmla="*/ 218264 w 732037"/>
              <a:gd name="csY101" fmla="*/ 505463 h 1571603"/>
              <a:gd name="csX102" fmla="*/ 181762 w 732037"/>
              <a:gd name="csY102" fmla="*/ 437574 h 1571603"/>
              <a:gd name="csX103" fmla="*/ 185971 w 732037"/>
              <a:gd name="csY103" fmla="*/ 289069 h 1571603"/>
              <a:gd name="csX104" fmla="*/ 253787 w 732037"/>
              <a:gd name="csY104" fmla="*/ 175580 h 1571603"/>
              <a:gd name="csX105" fmla="*/ 309639 w 732037"/>
              <a:gd name="csY105" fmla="*/ 108695 h 1571603"/>
              <a:gd name="csX106" fmla="*/ 318061 w 732037"/>
              <a:gd name="csY106" fmla="*/ 98855 h 1571603"/>
              <a:gd name="csX107" fmla="*/ 304967 w 732037"/>
              <a:gd name="csY107" fmla="*/ 70056 h 1571603"/>
              <a:gd name="csX108" fmla="*/ 317012 w 732037"/>
              <a:gd name="csY108" fmla="*/ 19436 h 1571603"/>
              <a:gd name="csX109" fmla="*/ 415542 w 732037"/>
              <a:gd name="csY109" fmla="*/ 18221 h 1571603"/>
              <a:gd name="csX110" fmla="*/ 423203 w 732037"/>
              <a:gd name="csY110" fmla="*/ 82660 h 1571603"/>
              <a:gd name="csX111" fmla="*/ 413361 w 732037"/>
              <a:gd name="csY111" fmla="*/ 97975 h 1571603"/>
              <a:gd name="csX112" fmla="*/ 421654 w 732037"/>
              <a:gd name="csY112" fmla="*/ 106676 h 1571603"/>
              <a:gd name="csX113" fmla="*/ 487032 w 732037"/>
              <a:gd name="csY113" fmla="*/ 184632 h 1571603"/>
              <a:gd name="csX114" fmla="*/ 489213 w 732037"/>
              <a:gd name="csY114" fmla="*/ 208238 h 1571603"/>
              <a:gd name="csX115" fmla="*/ 476520 w 732037"/>
              <a:gd name="csY115" fmla="*/ 235738 h 1571603"/>
              <a:gd name="csX116" fmla="*/ 472850 w 732037"/>
              <a:gd name="csY116" fmla="*/ 230703 h 1571603"/>
              <a:gd name="csX117" fmla="*/ 482723 w 732037"/>
              <a:gd name="csY117" fmla="*/ 208315 h 1571603"/>
              <a:gd name="csX118" fmla="*/ 480764 w 732037"/>
              <a:gd name="csY118" fmla="*/ 187916 h 1571603"/>
              <a:gd name="csX119" fmla="*/ 408519 w 732037"/>
              <a:gd name="csY119" fmla="*/ 105475 h 1571603"/>
              <a:gd name="csX120" fmla="*/ 408625 w 732037"/>
              <a:gd name="csY120" fmla="*/ 89203 h 1571603"/>
              <a:gd name="csX121" fmla="*/ 419600 w 732037"/>
              <a:gd name="csY121" fmla="*/ 71648 h 1571603"/>
              <a:gd name="csX122" fmla="*/ 418792 w 732037"/>
              <a:gd name="csY122" fmla="*/ 63179 h 1571603"/>
              <a:gd name="csX123" fmla="*/ 410943 w 732037"/>
              <a:gd name="csY123" fmla="*/ 66417 h 1571603"/>
              <a:gd name="csX124" fmla="*/ 400140 w 732037"/>
              <a:gd name="csY124" fmla="*/ 76155 h 1571603"/>
              <a:gd name="csX125" fmla="*/ 360599 w 732037"/>
              <a:gd name="csY125" fmla="*/ 51379 h 1571603"/>
              <a:gd name="csX126" fmla="*/ 360842 w 732037"/>
              <a:gd name="csY126" fmla="*/ 39128 h 1571603"/>
              <a:gd name="csX127" fmla="*/ 369470 w 732037"/>
              <a:gd name="csY127" fmla="*/ 30960 h 1571603"/>
              <a:gd name="csX128" fmla="*/ 365613 w 732037"/>
              <a:gd name="csY128" fmla="*/ 49108 h 1571603"/>
              <a:gd name="csX129" fmla="*/ 389468 w 732037"/>
              <a:gd name="csY129" fmla="*/ 71608 h 1571603"/>
              <a:gd name="csX130" fmla="*/ 408822 w 732037"/>
              <a:gd name="csY130" fmla="*/ 46613 h 1571603"/>
              <a:gd name="csX131" fmla="*/ 406842 w 732037"/>
              <a:gd name="csY131" fmla="*/ 38347 h 157160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</a:cxnLst>
            <a:rect l="l" t="t" r="r" b="b"/>
            <a:pathLst>
              <a:path w="732037" h="1571603">
                <a:moveTo>
                  <a:pt x="406842" y="38347"/>
                </a:moveTo>
                <a:cubicBezTo>
                  <a:pt x="408555" y="35869"/>
                  <a:pt x="410622" y="34608"/>
                  <a:pt x="411944" y="38343"/>
                </a:cubicBezTo>
                <a:cubicBezTo>
                  <a:pt x="413676" y="43242"/>
                  <a:pt x="414797" y="48356"/>
                  <a:pt x="416198" y="53444"/>
                </a:cubicBezTo>
                <a:cubicBezTo>
                  <a:pt x="422922" y="48977"/>
                  <a:pt x="424340" y="41699"/>
                  <a:pt x="418945" y="34170"/>
                </a:cubicBezTo>
                <a:cubicBezTo>
                  <a:pt x="412483" y="25152"/>
                  <a:pt x="404444" y="17554"/>
                  <a:pt x="394077" y="12943"/>
                </a:cubicBezTo>
                <a:cubicBezTo>
                  <a:pt x="376702" y="5216"/>
                  <a:pt x="358713" y="6244"/>
                  <a:pt x="341415" y="11814"/>
                </a:cubicBezTo>
                <a:cubicBezTo>
                  <a:pt x="323675" y="17525"/>
                  <a:pt x="304459" y="39816"/>
                  <a:pt x="309440" y="65249"/>
                </a:cubicBezTo>
                <a:cubicBezTo>
                  <a:pt x="310868" y="72543"/>
                  <a:pt x="315482" y="79463"/>
                  <a:pt x="319632" y="85914"/>
                </a:cubicBezTo>
                <a:cubicBezTo>
                  <a:pt x="325434" y="94933"/>
                  <a:pt x="325800" y="102817"/>
                  <a:pt x="318632" y="110015"/>
                </a:cubicBezTo>
                <a:cubicBezTo>
                  <a:pt x="291775" y="136984"/>
                  <a:pt x="269594" y="167702"/>
                  <a:pt x="246921" y="198083"/>
                </a:cubicBezTo>
                <a:cubicBezTo>
                  <a:pt x="230003" y="220751"/>
                  <a:pt x="215685" y="244921"/>
                  <a:pt x="202660" y="269911"/>
                </a:cubicBezTo>
                <a:cubicBezTo>
                  <a:pt x="188381" y="297309"/>
                  <a:pt x="179513" y="326657"/>
                  <a:pt x="176707" y="357233"/>
                </a:cubicBezTo>
                <a:cubicBezTo>
                  <a:pt x="174106" y="385578"/>
                  <a:pt x="180131" y="413140"/>
                  <a:pt x="190612" y="439700"/>
                </a:cubicBezTo>
                <a:cubicBezTo>
                  <a:pt x="199946" y="463353"/>
                  <a:pt x="211538" y="485623"/>
                  <a:pt x="227544" y="505527"/>
                </a:cubicBezTo>
                <a:cubicBezTo>
                  <a:pt x="229982" y="508558"/>
                  <a:pt x="230954" y="512768"/>
                  <a:pt x="232541" y="516294"/>
                </a:cubicBezTo>
                <a:cubicBezTo>
                  <a:pt x="229578" y="520824"/>
                  <a:pt x="226658" y="524724"/>
                  <a:pt x="224356" y="528960"/>
                </a:cubicBezTo>
                <a:cubicBezTo>
                  <a:pt x="221823" y="533618"/>
                  <a:pt x="222675" y="537588"/>
                  <a:pt x="227944" y="540026"/>
                </a:cubicBezTo>
                <a:cubicBezTo>
                  <a:pt x="231656" y="541743"/>
                  <a:pt x="235331" y="543568"/>
                  <a:pt x="238897" y="545570"/>
                </a:cubicBezTo>
                <a:cubicBezTo>
                  <a:pt x="249613" y="551585"/>
                  <a:pt x="251795" y="563681"/>
                  <a:pt x="242386" y="571785"/>
                </a:cubicBezTo>
                <a:cubicBezTo>
                  <a:pt x="233816" y="579166"/>
                  <a:pt x="224045" y="585423"/>
                  <a:pt x="214067" y="590809"/>
                </a:cubicBezTo>
                <a:cubicBezTo>
                  <a:pt x="206271" y="595018"/>
                  <a:pt x="202051" y="601487"/>
                  <a:pt x="201355" y="609067"/>
                </a:cubicBezTo>
                <a:cubicBezTo>
                  <a:pt x="200489" y="618497"/>
                  <a:pt x="195720" y="623726"/>
                  <a:pt x="188474" y="628398"/>
                </a:cubicBezTo>
                <a:cubicBezTo>
                  <a:pt x="177332" y="635582"/>
                  <a:pt x="167866" y="644503"/>
                  <a:pt x="162658" y="657096"/>
                </a:cubicBezTo>
                <a:cubicBezTo>
                  <a:pt x="156420" y="672181"/>
                  <a:pt x="160439" y="684301"/>
                  <a:pt x="175395" y="691621"/>
                </a:cubicBezTo>
                <a:cubicBezTo>
                  <a:pt x="183722" y="695697"/>
                  <a:pt x="192859" y="698589"/>
                  <a:pt x="201948" y="700523"/>
                </a:cubicBezTo>
                <a:cubicBezTo>
                  <a:pt x="214634" y="703224"/>
                  <a:pt x="227616" y="704530"/>
                  <a:pt x="241426" y="706574"/>
                </a:cubicBezTo>
                <a:cubicBezTo>
                  <a:pt x="241839" y="709770"/>
                  <a:pt x="242576" y="712857"/>
                  <a:pt x="242586" y="715946"/>
                </a:cubicBezTo>
                <a:cubicBezTo>
                  <a:pt x="242672" y="744610"/>
                  <a:pt x="243133" y="773285"/>
                  <a:pt x="242424" y="801932"/>
                </a:cubicBezTo>
                <a:cubicBezTo>
                  <a:pt x="242053" y="816907"/>
                  <a:pt x="239631" y="831838"/>
                  <a:pt x="238000" y="846774"/>
                </a:cubicBezTo>
                <a:cubicBezTo>
                  <a:pt x="236368" y="861717"/>
                  <a:pt x="234927" y="876693"/>
                  <a:pt x="232752" y="891559"/>
                </a:cubicBezTo>
                <a:cubicBezTo>
                  <a:pt x="229873" y="911238"/>
                  <a:pt x="226675" y="930882"/>
                  <a:pt x="223037" y="950433"/>
                </a:cubicBezTo>
                <a:cubicBezTo>
                  <a:pt x="219173" y="971193"/>
                  <a:pt x="215113" y="991942"/>
                  <a:pt x="210247" y="1012485"/>
                </a:cubicBezTo>
                <a:cubicBezTo>
                  <a:pt x="205743" y="1031500"/>
                  <a:pt x="200395" y="1050337"/>
                  <a:pt x="194820" y="1069074"/>
                </a:cubicBezTo>
                <a:cubicBezTo>
                  <a:pt x="185401" y="1100731"/>
                  <a:pt x="175708" y="1132311"/>
                  <a:pt x="165707" y="1163788"/>
                </a:cubicBezTo>
                <a:cubicBezTo>
                  <a:pt x="162367" y="1174302"/>
                  <a:pt x="156145" y="1182634"/>
                  <a:pt x="144382" y="1185530"/>
                </a:cubicBezTo>
                <a:cubicBezTo>
                  <a:pt x="139281" y="1186787"/>
                  <a:pt x="134434" y="1189193"/>
                  <a:pt x="129590" y="1191342"/>
                </a:cubicBezTo>
                <a:cubicBezTo>
                  <a:pt x="120028" y="1195581"/>
                  <a:pt x="118779" y="1198539"/>
                  <a:pt x="122255" y="1208476"/>
                </a:cubicBezTo>
                <a:cubicBezTo>
                  <a:pt x="123870" y="1213094"/>
                  <a:pt x="125990" y="1217542"/>
                  <a:pt x="127491" y="1222193"/>
                </a:cubicBezTo>
                <a:cubicBezTo>
                  <a:pt x="132294" y="1237066"/>
                  <a:pt x="129961" y="1250353"/>
                  <a:pt x="118348" y="1261470"/>
                </a:cubicBezTo>
                <a:cubicBezTo>
                  <a:pt x="98275" y="1280686"/>
                  <a:pt x="78038" y="1299737"/>
                  <a:pt x="58232" y="1319224"/>
                </a:cubicBezTo>
                <a:cubicBezTo>
                  <a:pt x="38634" y="1338507"/>
                  <a:pt x="29913" y="1362564"/>
                  <a:pt x="28815" y="1389717"/>
                </a:cubicBezTo>
                <a:cubicBezTo>
                  <a:pt x="28318" y="1402031"/>
                  <a:pt x="29110" y="1414206"/>
                  <a:pt x="32634" y="1426050"/>
                </a:cubicBezTo>
                <a:cubicBezTo>
                  <a:pt x="34273" y="1431554"/>
                  <a:pt x="33300" y="1435929"/>
                  <a:pt x="30331" y="1441003"/>
                </a:cubicBezTo>
                <a:cubicBezTo>
                  <a:pt x="16698" y="1464298"/>
                  <a:pt x="8890" y="1489397"/>
                  <a:pt x="9180" y="1516655"/>
                </a:cubicBezTo>
                <a:cubicBezTo>
                  <a:pt x="9291" y="1527012"/>
                  <a:pt x="9917" y="1528771"/>
                  <a:pt x="20082" y="1531402"/>
                </a:cubicBezTo>
                <a:cubicBezTo>
                  <a:pt x="38179" y="1536086"/>
                  <a:pt x="56480" y="1540035"/>
                  <a:pt x="74798" y="1543794"/>
                </a:cubicBezTo>
                <a:cubicBezTo>
                  <a:pt x="87517" y="1546403"/>
                  <a:pt x="100396" y="1548250"/>
                  <a:pt x="113225" y="1550305"/>
                </a:cubicBezTo>
                <a:cubicBezTo>
                  <a:pt x="120841" y="1551524"/>
                  <a:pt x="128467" y="1552843"/>
                  <a:pt x="136142" y="1553484"/>
                </a:cubicBezTo>
                <a:cubicBezTo>
                  <a:pt x="149934" y="1554635"/>
                  <a:pt x="163778" y="1555156"/>
                  <a:pt x="177578" y="1556220"/>
                </a:cubicBezTo>
                <a:cubicBezTo>
                  <a:pt x="195403" y="1557595"/>
                  <a:pt x="213196" y="1559407"/>
                  <a:pt x="231027" y="1560698"/>
                </a:cubicBezTo>
                <a:cubicBezTo>
                  <a:pt x="238768" y="1561259"/>
                  <a:pt x="246585" y="1560709"/>
                  <a:pt x="254342" y="1561142"/>
                </a:cubicBezTo>
                <a:cubicBezTo>
                  <a:pt x="322588" y="1564942"/>
                  <a:pt x="390896" y="1563427"/>
                  <a:pt x="459180" y="1563411"/>
                </a:cubicBezTo>
                <a:cubicBezTo>
                  <a:pt x="483236" y="1563406"/>
                  <a:pt x="507311" y="1562248"/>
                  <a:pt x="531340" y="1560936"/>
                </a:cubicBezTo>
                <a:cubicBezTo>
                  <a:pt x="551225" y="1559849"/>
                  <a:pt x="571160" y="1558554"/>
                  <a:pt x="590888" y="1555951"/>
                </a:cubicBezTo>
                <a:cubicBezTo>
                  <a:pt x="631179" y="1550635"/>
                  <a:pt x="671338" y="1544328"/>
                  <a:pt x="710712" y="1533916"/>
                </a:cubicBezTo>
                <a:cubicBezTo>
                  <a:pt x="722630" y="1530764"/>
                  <a:pt x="724036" y="1528558"/>
                  <a:pt x="724356" y="1516144"/>
                </a:cubicBezTo>
                <a:cubicBezTo>
                  <a:pt x="724970" y="1492256"/>
                  <a:pt x="718637" y="1470245"/>
                  <a:pt x="707380" y="1449380"/>
                </a:cubicBezTo>
                <a:cubicBezTo>
                  <a:pt x="706259" y="1447304"/>
                  <a:pt x="706896" y="1444279"/>
                  <a:pt x="707050" y="1440881"/>
                </a:cubicBezTo>
                <a:cubicBezTo>
                  <a:pt x="722747" y="1457101"/>
                  <a:pt x="728653" y="1477963"/>
                  <a:pt x="731479" y="1500017"/>
                </a:cubicBezTo>
                <a:cubicBezTo>
                  <a:pt x="731992" y="1504029"/>
                  <a:pt x="731781" y="1508135"/>
                  <a:pt x="731163" y="1513759"/>
                </a:cubicBezTo>
                <a:cubicBezTo>
                  <a:pt x="730831" y="1517468"/>
                  <a:pt x="731241" y="1519618"/>
                  <a:pt x="731650" y="1521766"/>
                </a:cubicBezTo>
                <a:cubicBezTo>
                  <a:pt x="733191" y="1529956"/>
                  <a:pt x="730165" y="1535242"/>
                  <a:pt x="721896" y="1537319"/>
                </a:cubicBezTo>
                <a:cubicBezTo>
                  <a:pt x="700520" y="1542690"/>
                  <a:pt x="679367" y="1549248"/>
                  <a:pt x="657740" y="1553265"/>
                </a:cubicBezTo>
                <a:cubicBezTo>
                  <a:pt x="608220" y="1562464"/>
                  <a:pt x="558146" y="1566701"/>
                  <a:pt x="507791" y="1568943"/>
                </a:cubicBezTo>
                <a:cubicBezTo>
                  <a:pt x="426738" y="1572552"/>
                  <a:pt x="345677" y="1572161"/>
                  <a:pt x="264676" y="1569724"/>
                </a:cubicBezTo>
                <a:cubicBezTo>
                  <a:pt x="203800" y="1567891"/>
                  <a:pt x="142882" y="1563907"/>
                  <a:pt x="82743" y="1553254"/>
                </a:cubicBezTo>
                <a:cubicBezTo>
                  <a:pt x="60647" y="1549341"/>
                  <a:pt x="38739" y="1544032"/>
                  <a:pt x="17072" y="1538153"/>
                </a:cubicBezTo>
                <a:cubicBezTo>
                  <a:pt x="1381" y="1533894"/>
                  <a:pt x="-938" y="1529341"/>
                  <a:pt x="275" y="1513030"/>
                </a:cubicBezTo>
                <a:cubicBezTo>
                  <a:pt x="2146" y="1487871"/>
                  <a:pt x="7321" y="1463566"/>
                  <a:pt x="20923" y="1441861"/>
                </a:cubicBezTo>
                <a:cubicBezTo>
                  <a:pt x="24812" y="1435656"/>
                  <a:pt x="24566" y="1429699"/>
                  <a:pt x="23045" y="1423105"/>
                </a:cubicBezTo>
                <a:cubicBezTo>
                  <a:pt x="16952" y="1396684"/>
                  <a:pt x="19689" y="1370924"/>
                  <a:pt x="30564" y="1346289"/>
                </a:cubicBezTo>
                <a:cubicBezTo>
                  <a:pt x="39621" y="1325774"/>
                  <a:pt x="54481" y="1309709"/>
                  <a:pt x="71350" y="1295039"/>
                </a:cubicBezTo>
                <a:cubicBezTo>
                  <a:pt x="85712" y="1282550"/>
                  <a:pt x="99164" y="1268932"/>
                  <a:pt x="112257" y="1255093"/>
                </a:cubicBezTo>
                <a:cubicBezTo>
                  <a:pt x="122891" y="1243852"/>
                  <a:pt x="124955" y="1230879"/>
                  <a:pt x="115864" y="1217271"/>
                </a:cubicBezTo>
                <a:cubicBezTo>
                  <a:pt x="114506" y="1215239"/>
                  <a:pt x="113304" y="1213078"/>
                  <a:pt x="112256" y="1210870"/>
                </a:cubicBezTo>
                <a:cubicBezTo>
                  <a:pt x="106526" y="1198808"/>
                  <a:pt x="109052" y="1191969"/>
                  <a:pt x="121141" y="1186548"/>
                </a:cubicBezTo>
                <a:cubicBezTo>
                  <a:pt x="126274" y="1184246"/>
                  <a:pt x="131201" y="1180803"/>
                  <a:pt x="136571" y="1179850"/>
                </a:cubicBezTo>
                <a:cubicBezTo>
                  <a:pt x="149372" y="1177579"/>
                  <a:pt x="154892" y="1168948"/>
                  <a:pt x="158281" y="1157879"/>
                </a:cubicBezTo>
                <a:cubicBezTo>
                  <a:pt x="168288" y="1125194"/>
                  <a:pt x="179178" y="1092742"/>
                  <a:pt x="187986" y="1059736"/>
                </a:cubicBezTo>
                <a:cubicBezTo>
                  <a:pt x="198666" y="1019713"/>
                  <a:pt x="207813" y="979272"/>
                  <a:pt x="217119" y="938896"/>
                </a:cubicBezTo>
                <a:cubicBezTo>
                  <a:pt x="220491" y="924267"/>
                  <a:pt x="222410" y="909302"/>
                  <a:pt x="225792" y="893236"/>
                </a:cubicBezTo>
                <a:cubicBezTo>
                  <a:pt x="226444" y="890644"/>
                  <a:pt x="226297" y="889307"/>
                  <a:pt x="226150" y="887970"/>
                </a:cubicBezTo>
                <a:cubicBezTo>
                  <a:pt x="227450" y="877085"/>
                  <a:pt x="228750" y="866198"/>
                  <a:pt x="230782" y="853969"/>
                </a:cubicBezTo>
                <a:cubicBezTo>
                  <a:pt x="231271" y="851270"/>
                  <a:pt x="231029" y="849914"/>
                  <a:pt x="230786" y="848558"/>
                </a:cubicBezTo>
                <a:cubicBezTo>
                  <a:pt x="231390" y="840967"/>
                  <a:pt x="231993" y="833375"/>
                  <a:pt x="233315" y="824438"/>
                </a:cubicBezTo>
                <a:cubicBezTo>
                  <a:pt x="233755" y="821744"/>
                  <a:pt x="233477" y="820397"/>
                  <a:pt x="233199" y="819050"/>
                </a:cubicBezTo>
                <a:cubicBezTo>
                  <a:pt x="233786" y="807422"/>
                  <a:pt x="234374" y="795794"/>
                  <a:pt x="235848" y="782380"/>
                </a:cubicBezTo>
                <a:cubicBezTo>
                  <a:pt x="237047" y="760099"/>
                  <a:pt x="237488" y="739606"/>
                  <a:pt x="237465" y="719113"/>
                </a:cubicBezTo>
                <a:cubicBezTo>
                  <a:pt x="237463" y="717127"/>
                  <a:pt x="234595" y="715144"/>
                  <a:pt x="233057" y="713160"/>
                </a:cubicBezTo>
                <a:cubicBezTo>
                  <a:pt x="223043" y="711630"/>
                  <a:pt x="212881" y="710731"/>
                  <a:pt x="203056" y="708405"/>
                </a:cubicBezTo>
                <a:cubicBezTo>
                  <a:pt x="191716" y="705720"/>
                  <a:pt x="180144" y="702931"/>
                  <a:pt x="169628" y="698106"/>
                </a:cubicBezTo>
                <a:cubicBezTo>
                  <a:pt x="154505" y="691164"/>
                  <a:pt x="148867" y="675179"/>
                  <a:pt x="153237" y="659111"/>
                </a:cubicBezTo>
                <a:cubicBezTo>
                  <a:pt x="157196" y="644561"/>
                  <a:pt x="166649" y="634454"/>
                  <a:pt x="178365" y="626008"/>
                </a:cubicBezTo>
                <a:cubicBezTo>
                  <a:pt x="182258" y="623202"/>
                  <a:pt x="186579" y="620992"/>
                  <a:pt x="191885" y="617513"/>
                </a:cubicBezTo>
                <a:cubicBezTo>
                  <a:pt x="194882" y="614532"/>
                  <a:pt x="197062" y="612583"/>
                  <a:pt x="193681" y="610098"/>
                </a:cubicBezTo>
                <a:cubicBezTo>
                  <a:pt x="193381" y="595591"/>
                  <a:pt x="202034" y="586776"/>
                  <a:pt x="213301" y="579885"/>
                </a:cubicBezTo>
                <a:cubicBezTo>
                  <a:pt x="218517" y="576695"/>
                  <a:pt x="224270" y="574393"/>
                  <a:pt x="229635" y="571429"/>
                </a:cubicBezTo>
                <a:cubicBezTo>
                  <a:pt x="232401" y="569901"/>
                  <a:pt x="235344" y="568225"/>
                  <a:pt x="237351" y="565882"/>
                </a:cubicBezTo>
                <a:cubicBezTo>
                  <a:pt x="243193" y="559063"/>
                  <a:pt x="242021" y="554779"/>
                  <a:pt x="233673" y="550926"/>
                </a:cubicBezTo>
                <a:cubicBezTo>
                  <a:pt x="231458" y="549904"/>
                  <a:pt x="229049" y="549314"/>
                  <a:pt x="226799" y="548359"/>
                </a:cubicBezTo>
                <a:cubicBezTo>
                  <a:pt x="215108" y="543398"/>
                  <a:pt x="211118" y="532802"/>
                  <a:pt x="218639" y="522664"/>
                </a:cubicBezTo>
                <a:cubicBezTo>
                  <a:pt x="223647" y="515913"/>
                  <a:pt x="222661" y="511633"/>
                  <a:pt x="218264" y="505463"/>
                </a:cubicBezTo>
                <a:cubicBezTo>
                  <a:pt x="203255" y="484407"/>
                  <a:pt x="190650" y="461993"/>
                  <a:pt x="181762" y="437574"/>
                </a:cubicBezTo>
                <a:cubicBezTo>
                  <a:pt x="163530" y="387483"/>
                  <a:pt x="165826" y="338057"/>
                  <a:pt x="185971" y="289069"/>
                </a:cubicBezTo>
                <a:cubicBezTo>
                  <a:pt x="202921" y="247851"/>
                  <a:pt x="226229" y="210377"/>
                  <a:pt x="253787" y="175580"/>
                </a:cubicBezTo>
                <a:cubicBezTo>
                  <a:pt x="271814" y="152817"/>
                  <a:pt x="290973" y="130951"/>
                  <a:pt x="309639" y="108695"/>
                </a:cubicBezTo>
                <a:cubicBezTo>
                  <a:pt x="312744" y="104993"/>
                  <a:pt x="315922" y="101352"/>
                  <a:pt x="318061" y="98855"/>
                </a:cubicBezTo>
                <a:cubicBezTo>
                  <a:pt x="313257" y="88362"/>
                  <a:pt x="308695" y="79376"/>
                  <a:pt x="304967" y="70056"/>
                </a:cubicBezTo>
                <a:cubicBezTo>
                  <a:pt x="297146" y="50504"/>
                  <a:pt x="303366" y="33481"/>
                  <a:pt x="317012" y="19436"/>
                </a:cubicBezTo>
                <a:cubicBezTo>
                  <a:pt x="344741" y="-9105"/>
                  <a:pt x="393463" y="-3345"/>
                  <a:pt x="415542" y="18221"/>
                </a:cubicBezTo>
                <a:cubicBezTo>
                  <a:pt x="429559" y="31914"/>
                  <a:pt x="438373" y="56968"/>
                  <a:pt x="423203" y="82660"/>
                </a:cubicBezTo>
                <a:cubicBezTo>
                  <a:pt x="420306" y="87568"/>
                  <a:pt x="417047" y="92262"/>
                  <a:pt x="413361" y="97975"/>
                </a:cubicBezTo>
                <a:cubicBezTo>
                  <a:pt x="416167" y="100932"/>
                  <a:pt x="418781" y="103940"/>
                  <a:pt x="421654" y="106676"/>
                </a:cubicBezTo>
                <a:cubicBezTo>
                  <a:pt x="446372" y="130213"/>
                  <a:pt x="467902" y="156374"/>
                  <a:pt x="487032" y="184632"/>
                </a:cubicBezTo>
                <a:cubicBezTo>
                  <a:pt x="492374" y="192525"/>
                  <a:pt x="493990" y="199495"/>
                  <a:pt x="489213" y="208238"/>
                </a:cubicBezTo>
                <a:cubicBezTo>
                  <a:pt x="484525" y="216819"/>
                  <a:pt x="481033" y="226053"/>
                  <a:pt x="476520" y="235738"/>
                </a:cubicBezTo>
                <a:cubicBezTo>
                  <a:pt x="472168" y="236089"/>
                  <a:pt x="471165" y="234358"/>
                  <a:pt x="472850" y="230703"/>
                </a:cubicBezTo>
                <a:cubicBezTo>
                  <a:pt x="476263" y="223297"/>
                  <a:pt x="479344" y="215738"/>
                  <a:pt x="482723" y="208315"/>
                </a:cubicBezTo>
                <a:cubicBezTo>
                  <a:pt x="486016" y="201080"/>
                  <a:pt x="485571" y="194961"/>
                  <a:pt x="480764" y="187916"/>
                </a:cubicBezTo>
                <a:cubicBezTo>
                  <a:pt x="459995" y="157475"/>
                  <a:pt x="437234" y="128912"/>
                  <a:pt x="408519" y="105475"/>
                </a:cubicBezTo>
                <a:cubicBezTo>
                  <a:pt x="403555" y="101425"/>
                  <a:pt x="403835" y="96489"/>
                  <a:pt x="408625" y="89203"/>
                </a:cubicBezTo>
                <a:cubicBezTo>
                  <a:pt x="412416" y="83438"/>
                  <a:pt x="416045" y="77562"/>
                  <a:pt x="419600" y="71648"/>
                </a:cubicBezTo>
                <a:cubicBezTo>
                  <a:pt x="421349" y="68739"/>
                  <a:pt x="422717" y="65537"/>
                  <a:pt x="418792" y="63179"/>
                </a:cubicBezTo>
                <a:cubicBezTo>
                  <a:pt x="414834" y="60801"/>
                  <a:pt x="413218" y="63883"/>
                  <a:pt x="410943" y="66417"/>
                </a:cubicBezTo>
                <a:cubicBezTo>
                  <a:pt x="407706" y="70022"/>
                  <a:pt x="404330" y="74045"/>
                  <a:pt x="400140" y="76155"/>
                </a:cubicBezTo>
                <a:cubicBezTo>
                  <a:pt x="381561" y="85507"/>
                  <a:pt x="360821" y="72312"/>
                  <a:pt x="360599" y="51379"/>
                </a:cubicBezTo>
                <a:cubicBezTo>
                  <a:pt x="360556" y="47292"/>
                  <a:pt x="360308" y="43152"/>
                  <a:pt x="360842" y="39128"/>
                </a:cubicBezTo>
                <a:cubicBezTo>
                  <a:pt x="361447" y="34568"/>
                  <a:pt x="362880" y="30159"/>
                  <a:pt x="369470" y="30960"/>
                </a:cubicBezTo>
                <a:cubicBezTo>
                  <a:pt x="368501" y="37551"/>
                  <a:pt x="365745" y="43300"/>
                  <a:pt x="365613" y="49108"/>
                </a:cubicBezTo>
                <a:cubicBezTo>
                  <a:pt x="365328" y="61659"/>
                  <a:pt x="377498" y="72522"/>
                  <a:pt x="389468" y="71608"/>
                </a:cubicBezTo>
                <a:cubicBezTo>
                  <a:pt x="401478" y="70690"/>
                  <a:pt x="410127" y="59637"/>
                  <a:pt x="408822" y="46613"/>
                </a:cubicBezTo>
                <a:cubicBezTo>
                  <a:pt x="408542" y="43819"/>
                  <a:pt x="407521" y="41100"/>
                  <a:pt x="406842" y="38347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73" name="Free-form: Shape 472">
            <a:extLst>
              <a:ext uri="{FF2B5EF4-FFF2-40B4-BE49-F238E27FC236}">
                <a16:creationId xmlns:a16="http://schemas.microsoft.com/office/drawing/2014/main" id="{BD75BE29-3C30-91A6-7E0E-BEF277BB58A0}"/>
              </a:ext>
            </a:extLst>
          </p:cNvPr>
          <p:cNvSpPr/>
          <p:nvPr/>
        </p:nvSpPr>
        <p:spPr>
          <a:xfrm>
            <a:off x="8886636" y="4948150"/>
            <a:ext cx="91545" cy="184495"/>
          </a:xfrm>
          <a:custGeom>
            <a:avLst/>
            <a:gdLst>
              <a:gd name="csX0" fmla="*/ 96534 w 100699"/>
              <a:gd name="csY0" fmla="*/ 202912 h 202945"/>
              <a:gd name="csX1" fmla="*/ 91036 w 100699"/>
              <a:gd name="csY1" fmla="*/ 196780 h 202945"/>
              <a:gd name="csX2" fmla="*/ 93357 w 100699"/>
              <a:gd name="csY2" fmla="*/ 178731 h 202945"/>
              <a:gd name="csX3" fmla="*/ 75903 w 100699"/>
              <a:gd name="csY3" fmla="*/ 106029 h 202945"/>
              <a:gd name="csX4" fmla="*/ 72780 w 100699"/>
              <a:gd name="csY4" fmla="*/ 102473 h 202945"/>
              <a:gd name="csX5" fmla="*/ 10982 w 100699"/>
              <a:gd name="csY5" fmla="*/ 41414 h 202945"/>
              <a:gd name="csX6" fmla="*/ 676 w 100699"/>
              <a:gd name="csY6" fmla="*/ 2936 h 202945"/>
              <a:gd name="csX7" fmla="*/ 5198 w 100699"/>
              <a:gd name="csY7" fmla="*/ 0 h 202945"/>
              <a:gd name="csX8" fmla="*/ 15435 w 100699"/>
              <a:gd name="csY8" fmla="*/ 35855 h 202945"/>
              <a:gd name="csX9" fmla="*/ 44498 w 100699"/>
              <a:gd name="csY9" fmla="*/ 63833 h 202945"/>
              <a:gd name="csX10" fmla="*/ 81385 w 100699"/>
              <a:gd name="csY10" fmla="*/ 106005 h 202945"/>
              <a:gd name="csX11" fmla="*/ 98950 w 100699"/>
              <a:gd name="csY11" fmla="*/ 190063 h 202945"/>
              <a:gd name="csX12" fmla="*/ 96534 w 100699"/>
              <a:gd name="csY12" fmla="*/ 202912 h 20294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</a:cxnLst>
            <a:rect l="l" t="t" r="r" b="b"/>
            <a:pathLst>
              <a:path w="100699" h="202945">
                <a:moveTo>
                  <a:pt x="96534" y="202912"/>
                </a:moveTo>
                <a:cubicBezTo>
                  <a:pt x="91699" y="203291"/>
                  <a:pt x="90650" y="200377"/>
                  <a:pt x="91036" y="196780"/>
                </a:cubicBezTo>
                <a:cubicBezTo>
                  <a:pt x="91685" y="190750"/>
                  <a:pt x="92933" y="184771"/>
                  <a:pt x="93357" y="178731"/>
                </a:cubicBezTo>
                <a:cubicBezTo>
                  <a:pt x="95183" y="152694"/>
                  <a:pt x="86034" y="129222"/>
                  <a:pt x="75903" y="106029"/>
                </a:cubicBezTo>
                <a:cubicBezTo>
                  <a:pt x="75300" y="104650"/>
                  <a:pt x="73904" y="103585"/>
                  <a:pt x="72780" y="102473"/>
                </a:cubicBezTo>
                <a:cubicBezTo>
                  <a:pt x="52199" y="82101"/>
                  <a:pt x="31673" y="61673"/>
                  <a:pt x="10982" y="41414"/>
                </a:cubicBezTo>
                <a:cubicBezTo>
                  <a:pt x="-119" y="30544"/>
                  <a:pt x="-1041" y="17093"/>
                  <a:pt x="676" y="2936"/>
                </a:cubicBezTo>
                <a:cubicBezTo>
                  <a:pt x="808" y="1852"/>
                  <a:pt x="2922" y="1010"/>
                  <a:pt x="5198" y="0"/>
                </a:cubicBezTo>
                <a:cubicBezTo>
                  <a:pt x="2043" y="13772"/>
                  <a:pt x="5665" y="25821"/>
                  <a:pt x="15435" y="35855"/>
                </a:cubicBezTo>
                <a:cubicBezTo>
                  <a:pt x="24811" y="45486"/>
                  <a:pt x="35301" y="54047"/>
                  <a:pt x="44498" y="63833"/>
                </a:cubicBezTo>
                <a:cubicBezTo>
                  <a:pt x="57293" y="77447"/>
                  <a:pt x="70760" y="90773"/>
                  <a:pt x="81385" y="106005"/>
                </a:cubicBezTo>
                <a:cubicBezTo>
                  <a:pt x="98896" y="131109"/>
                  <a:pt x="103759" y="159808"/>
                  <a:pt x="98950" y="190063"/>
                </a:cubicBezTo>
                <a:cubicBezTo>
                  <a:pt x="98311" y="194082"/>
                  <a:pt x="97697" y="198105"/>
                  <a:pt x="96534" y="202912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74" name="Free-form: Shape 473">
            <a:extLst>
              <a:ext uri="{FF2B5EF4-FFF2-40B4-BE49-F238E27FC236}">
                <a16:creationId xmlns:a16="http://schemas.microsoft.com/office/drawing/2014/main" id="{A45BA580-115A-1FB4-42EB-72E257B3CF37}"/>
              </a:ext>
            </a:extLst>
          </p:cNvPr>
          <p:cNvSpPr/>
          <p:nvPr/>
        </p:nvSpPr>
        <p:spPr>
          <a:xfrm>
            <a:off x="8545351" y="4484114"/>
            <a:ext cx="3739" cy="60936"/>
          </a:xfrm>
          <a:custGeom>
            <a:avLst/>
            <a:gdLst>
              <a:gd name="csX0" fmla="*/ 0 w 4113"/>
              <a:gd name="csY0" fmla="*/ 0 h 67029"/>
              <a:gd name="csX1" fmla="*/ 4113 w 4113"/>
              <a:gd name="csY1" fmla="*/ 4824 h 67029"/>
              <a:gd name="csX2" fmla="*/ 2662 w 4113"/>
              <a:gd name="csY2" fmla="*/ 67030 h 67029"/>
              <a:gd name="csX3" fmla="*/ 631 w 4113"/>
              <a:gd name="csY3" fmla="*/ 55883 h 67029"/>
              <a:gd name="csX4" fmla="*/ 0 w 4113"/>
              <a:gd name="csY4" fmla="*/ 0 h 6702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4113" h="67029">
                <a:moveTo>
                  <a:pt x="0" y="0"/>
                </a:moveTo>
                <a:cubicBezTo>
                  <a:pt x="1242" y="855"/>
                  <a:pt x="4111" y="2838"/>
                  <a:pt x="4113" y="4824"/>
                </a:cubicBezTo>
                <a:cubicBezTo>
                  <a:pt x="4135" y="25317"/>
                  <a:pt x="3695" y="45810"/>
                  <a:pt x="2662" y="67030"/>
                </a:cubicBezTo>
                <a:cubicBezTo>
                  <a:pt x="1483" y="63799"/>
                  <a:pt x="680" y="59846"/>
                  <a:pt x="631" y="55883"/>
                </a:cubicBezTo>
                <a:cubicBezTo>
                  <a:pt x="404" y="37633"/>
                  <a:pt x="388" y="19381"/>
                  <a:pt x="0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75" name="Free-form: Shape 474">
            <a:extLst>
              <a:ext uri="{FF2B5EF4-FFF2-40B4-BE49-F238E27FC236}">
                <a16:creationId xmlns:a16="http://schemas.microsoft.com/office/drawing/2014/main" id="{403C0E9B-1190-3C79-5A56-CC258530533C}"/>
              </a:ext>
            </a:extLst>
          </p:cNvPr>
          <p:cNvSpPr/>
          <p:nvPr/>
        </p:nvSpPr>
        <p:spPr>
          <a:xfrm>
            <a:off x="8997741" y="5211914"/>
            <a:ext cx="1060" cy="5803"/>
          </a:xfrm>
          <a:custGeom>
            <a:avLst/>
            <a:gdLst>
              <a:gd name="csX0" fmla="*/ 1130 w 1165"/>
              <a:gd name="csY0" fmla="*/ 6385 h 6384"/>
              <a:gd name="csX1" fmla="*/ 49 w 1165"/>
              <a:gd name="csY1" fmla="*/ 0 h 6384"/>
              <a:gd name="csX2" fmla="*/ 1130 w 1165"/>
              <a:gd name="csY2" fmla="*/ 6385 h 638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165" h="6384">
                <a:moveTo>
                  <a:pt x="1130" y="6385"/>
                </a:moveTo>
                <a:cubicBezTo>
                  <a:pt x="260" y="4748"/>
                  <a:pt x="-149" y="2599"/>
                  <a:pt x="49" y="0"/>
                </a:cubicBezTo>
                <a:cubicBezTo>
                  <a:pt x="969" y="1658"/>
                  <a:pt x="1279" y="3765"/>
                  <a:pt x="1130" y="6385"/>
                </a:cubicBezTo>
                <a:close/>
              </a:path>
            </a:pathLst>
          </a:custGeom>
          <a:solidFill>
            <a:srgbClr val="939B9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76" name="Free-form: Shape 475">
            <a:extLst>
              <a:ext uri="{FF2B5EF4-FFF2-40B4-BE49-F238E27FC236}">
                <a16:creationId xmlns:a16="http://schemas.microsoft.com/office/drawing/2014/main" id="{FE37F82E-DD8D-67B3-A662-791A8E422C02}"/>
              </a:ext>
            </a:extLst>
          </p:cNvPr>
          <p:cNvSpPr/>
          <p:nvPr/>
        </p:nvSpPr>
        <p:spPr>
          <a:xfrm>
            <a:off x="8968012" y="5137819"/>
            <a:ext cx="5440" cy="2491"/>
          </a:xfrm>
          <a:custGeom>
            <a:avLst/>
            <a:gdLst>
              <a:gd name="csX0" fmla="*/ 5985 w 5984"/>
              <a:gd name="csY0" fmla="*/ 1832 h 2740"/>
              <a:gd name="csX1" fmla="*/ 0 w 5984"/>
              <a:gd name="csY1" fmla="*/ 2740 h 2740"/>
              <a:gd name="csX2" fmla="*/ 4930 w 5984"/>
              <a:gd name="csY2" fmla="*/ 0 h 2740"/>
              <a:gd name="csX3" fmla="*/ 5985 w 5984"/>
              <a:gd name="csY3" fmla="*/ 1832 h 274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</a:cxnLst>
            <a:rect l="l" t="t" r="r" b="b"/>
            <a:pathLst>
              <a:path w="5984" h="2740">
                <a:moveTo>
                  <a:pt x="5985" y="1832"/>
                </a:moveTo>
                <a:cubicBezTo>
                  <a:pt x="3992" y="2553"/>
                  <a:pt x="1996" y="2646"/>
                  <a:pt x="0" y="2740"/>
                </a:cubicBezTo>
                <a:cubicBezTo>
                  <a:pt x="1398" y="1830"/>
                  <a:pt x="2796" y="920"/>
                  <a:pt x="4930" y="0"/>
                </a:cubicBezTo>
                <a:cubicBezTo>
                  <a:pt x="5772" y="394"/>
                  <a:pt x="5877" y="799"/>
                  <a:pt x="5985" y="1832"/>
                </a:cubicBezTo>
                <a:close/>
              </a:path>
            </a:pathLst>
          </a:custGeom>
          <a:solidFill>
            <a:srgbClr val="8E9395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78" name="Free-form: Shape 477">
            <a:extLst>
              <a:ext uri="{FF2B5EF4-FFF2-40B4-BE49-F238E27FC236}">
                <a16:creationId xmlns:a16="http://schemas.microsoft.com/office/drawing/2014/main" id="{78B73583-ACBD-E4BC-685B-AFB8DBD56C75}"/>
              </a:ext>
            </a:extLst>
          </p:cNvPr>
          <p:cNvSpPr/>
          <p:nvPr/>
        </p:nvSpPr>
        <p:spPr>
          <a:xfrm>
            <a:off x="8542539" y="4606508"/>
            <a:ext cx="770" cy="3664"/>
          </a:xfrm>
          <a:custGeom>
            <a:avLst/>
            <a:gdLst>
              <a:gd name="csX0" fmla="*/ 106 w 847"/>
              <a:gd name="csY0" fmla="*/ 0 h 4030"/>
              <a:gd name="csX1" fmla="*/ 732 w 847"/>
              <a:gd name="csY1" fmla="*/ 4031 h 4030"/>
              <a:gd name="csX2" fmla="*/ 106 w 847"/>
              <a:gd name="csY2" fmla="*/ 0 h 403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7" h="4030">
                <a:moveTo>
                  <a:pt x="106" y="0"/>
                </a:moveTo>
                <a:cubicBezTo>
                  <a:pt x="770" y="990"/>
                  <a:pt x="1013" y="2346"/>
                  <a:pt x="732" y="4031"/>
                </a:cubicBezTo>
                <a:cubicBezTo>
                  <a:pt x="34" y="3029"/>
                  <a:pt x="-141" y="1697"/>
                  <a:pt x="106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79" name="Free-form: Shape 478">
            <a:extLst>
              <a:ext uri="{FF2B5EF4-FFF2-40B4-BE49-F238E27FC236}">
                <a16:creationId xmlns:a16="http://schemas.microsoft.com/office/drawing/2014/main" id="{08A6D322-FF38-5299-8ADD-2B1A9A676383}"/>
              </a:ext>
            </a:extLst>
          </p:cNvPr>
          <p:cNvSpPr/>
          <p:nvPr/>
        </p:nvSpPr>
        <p:spPr>
          <a:xfrm>
            <a:off x="8538215" y="4642302"/>
            <a:ext cx="703" cy="3631"/>
          </a:xfrm>
          <a:custGeom>
            <a:avLst/>
            <a:gdLst>
              <a:gd name="csX0" fmla="*/ 195 w 774"/>
              <a:gd name="csY0" fmla="*/ 0 h 3994"/>
              <a:gd name="csX1" fmla="*/ 575 w 774"/>
              <a:gd name="csY1" fmla="*/ 3994 h 3994"/>
              <a:gd name="csX2" fmla="*/ 195 w 774"/>
              <a:gd name="csY2" fmla="*/ 0 h 399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774" h="3994">
                <a:moveTo>
                  <a:pt x="195" y="0"/>
                </a:moveTo>
                <a:cubicBezTo>
                  <a:pt x="794" y="1011"/>
                  <a:pt x="941" y="2348"/>
                  <a:pt x="575" y="3994"/>
                </a:cubicBezTo>
                <a:cubicBezTo>
                  <a:pt x="-44" y="2978"/>
                  <a:pt x="-151" y="1652"/>
                  <a:pt x="195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80" name="Free-form: Shape 479">
            <a:extLst>
              <a:ext uri="{FF2B5EF4-FFF2-40B4-BE49-F238E27FC236}">
                <a16:creationId xmlns:a16="http://schemas.microsoft.com/office/drawing/2014/main" id="{26217F62-DC30-BC77-07F9-4CB7CA4BCEEC}"/>
              </a:ext>
            </a:extLst>
          </p:cNvPr>
          <p:cNvSpPr/>
          <p:nvPr/>
        </p:nvSpPr>
        <p:spPr>
          <a:xfrm>
            <a:off x="8544793" y="4579698"/>
            <a:ext cx="787" cy="3631"/>
          </a:xfrm>
          <a:custGeom>
            <a:avLst/>
            <a:gdLst>
              <a:gd name="csX0" fmla="*/ 71 w 865"/>
              <a:gd name="csY0" fmla="*/ 0 h 3995"/>
              <a:gd name="csX1" fmla="*/ 783 w 865"/>
              <a:gd name="csY1" fmla="*/ 3996 h 3995"/>
              <a:gd name="csX2" fmla="*/ 71 w 865"/>
              <a:gd name="csY2" fmla="*/ 0 h 399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65" h="3995">
                <a:moveTo>
                  <a:pt x="71" y="0"/>
                </a:moveTo>
                <a:cubicBezTo>
                  <a:pt x="740" y="963"/>
                  <a:pt x="1018" y="2311"/>
                  <a:pt x="783" y="3996"/>
                </a:cubicBezTo>
                <a:cubicBezTo>
                  <a:pt x="73" y="3017"/>
                  <a:pt x="-124" y="1701"/>
                  <a:pt x="71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81" name="Free-form: Shape 480">
            <a:extLst>
              <a:ext uri="{FF2B5EF4-FFF2-40B4-BE49-F238E27FC236}">
                <a16:creationId xmlns:a16="http://schemas.microsoft.com/office/drawing/2014/main" id="{C937EF03-243A-ED30-38CF-CE8AFABA40F3}"/>
              </a:ext>
            </a:extLst>
          </p:cNvPr>
          <p:cNvSpPr/>
          <p:nvPr/>
        </p:nvSpPr>
        <p:spPr>
          <a:xfrm>
            <a:off x="8663096" y="4483724"/>
            <a:ext cx="170236" cy="426821"/>
          </a:xfrm>
          <a:custGeom>
            <a:avLst/>
            <a:gdLst>
              <a:gd name="csX0" fmla="*/ 120604 w 187260"/>
              <a:gd name="csY0" fmla="*/ 222968 h 469503"/>
              <a:gd name="csX1" fmla="*/ 187261 w 187260"/>
              <a:gd name="csY1" fmla="*/ 469503 h 469503"/>
              <a:gd name="csX2" fmla="*/ 1253 w 187260"/>
              <a:gd name="csY2" fmla="*/ 466078 h 469503"/>
              <a:gd name="csX3" fmla="*/ 8 w 187260"/>
              <a:gd name="csY3" fmla="*/ 458101 h 469503"/>
              <a:gd name="csX4" fmla="*/ 4383 w 187260"/>
              <a:gd name="csY4" fmla="*/ 351443 h 469503"/>
              <a:gd name="csX5" fmla="*/ 4615 w 187260"/>
              <a:gd name="csY5" fmla="*/ 346536 h 469503"/>
              <a:gd name="csX6" fmla="*/ 7935 w 187260"/>
              <a:gd name="csY6" fmla="*/ 233648 h 469503"/>
              <a:gd name="csX7" fmla="*/ 10461 w 187260"/>
              <a:gd name="csY7" fmla="*/ 128112 h 469503"/>
              <a:gd name="csX8" fmla="*/ 12461 w 187260"/>
              <a:gd name="csY8" fmla="*/ 12750 h 469503"/>
              <a:gd name="csX9" fmla="*/ 13165 w 187260"/>
              <a:gd name="csY9" fmla="*/ 4285 h 469503"/>
              <a:gd name="csX10" fmla="*/ 102327 w 187260"/>
              <a:gd name="csY10" fmla="*/ 0 h 469503"/>
              <a:gd name="csX11" fmla="*/ 106229 w 187260"/>
              <a:gd name="csY11" fmla="*/ 111321 h 469503"/>
              <a:gd name="csX12" fmla="*/ 120604 w 187260"/>
              <a:gd name="csY12" fmla="*/ 222968 h 46950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</a:cxnLst>
            <a:rect l="l" t="t" r="r" b="b"/>
            <a:pathLst>
              <a:path w="187260" h="469503">
                <a:moveTo>
                  <a:pt x="120604" y="222968"/>
                </a:moveTo>
                <a:cubicBezTo>
                  <a:pt x="135383" y="307129"/>
                  <a:pt x="159464" y="387725"/>
                  <a:pt x="187261" y="469503"/>
                </a:cubicBezTo>
                <a:cubicBezTo>
                  <a:pt x="124460" y="468347"/>
                  <a:pt x="63286" y="467220"/>
                  <a:pt x="1253" y="466078"/>
                </a:cubicBezTo>
                <a:cubicBezTo>
                  <a:pt x="818" y="463442"/>
                  <a:pt x="-95" y="460752"/>
                  <a:pt x="8" y="458101"/>
                </a:cubicBezTo>
                <a:cubicBezTo>
                  <a:pt x="1383" y="422545"/>
                  <a:pt x="2900" y="386994"/>
                  <a:pt x="4383" y="351443"/>
                </a:cubicBezTo>
                <a:cubicBezTo>
                  <a:pt x="4451" y="349807"/>
                  <a:pt x="4566" y="348172"/>
                  <a:pt x="4615" y="346536"/>
                </a:cubicBezTo>
                <a:cubicBezTo>
                  <a:pt x="5732" y="308907"/>
                  <a:pt x="6921" y="271280"/>
                  <a:pt x="7935" y="233648"/>
                </a:cubicBezTo>
                <a:cubicBezTo>
                  <a:pt x="8883" y="198472"/>
                  <a:pt x="9752" y="163293"/>
                  <a:pt x="10461" y="128112"/>
                </a:cubicBezTo>
                <a:cubicBezTo>
                  <a:pt x="11237" y="89660"/>
                  <a:pt x="11781" y="51204"/>
                  <a:pt x="12461" y="12750"/>
                </a:cubicBezTo>
                <a:cubicBezTo>
                  <a:pt x="12503" y="10363"/>
                  <a:pt x="12848" y="7981"/>
                  <a:pt x="13165" y="4285"/>
                </a:cubicBezTo>
                <a:cubicBezTo>
                  <a:pt x="42856" y="2858"/>
                  <a:pt x="72082" y="1454"/>
                  <a:pt x="102327" y="0"/>
                </a:cubicBezTo>
                <a:cubicBezTo>
                  <a:pt x="103499" y="37348"/>
                  <a:pt x="103207" y="74470"/>
                  <a:pt x="106229" y="111321"/>
                </a:cubicBezTo>
                <a:cubicBezTo>
                  <a:pt x="109263" y="148326"/>
                  <a:pt x="115599" y="185060"/>
                  <a:pt x="120604" y="222968"/>
                </a:cubicBezTo>
                <a:close/>
              </a:path>
            </a:pathLst>
          </a:custGeom>
          <a:solidFill>
            <a:srgbClr val="FDFDFD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82" name="Free-form: Shape 481">
            <a:extLst>
              <a:ext uri="{FF2B5EF4-FFF2-40B4-BE49-F238E27FC236}">
                <a16:creationId xmlns:a16="http://schemas.microsoft.com/office/drawing/2014/main" id="{EB8AEE17-0969-8E90-EBBA-4D72E830C644}"/>
              </a:ext>
            </a:extLst>
          </p:cNvPr>
          <p:cNvSpPr/>
          <p:nvPr/>
        </p:nvSpPr>
        <p:spPr>
          <a:xfrm>
            <a:off x="8661903" y="4950476"/>
            <a:ext cx="284824" cy="179974"/>
          </a:xfrm>
          <a:custGeom>
            <a:avLst/>
            <a:gdLst>
              <a:gd name="csX0" fmla="*/ 160234 w 313306"/>
              <a:gd name="csY0" fmla="*/ 197876 h 197971"/>
              <a:gd name="csX1" fmla="*/ 544 w 313306"/>
              <a:gd name="csY1" fmla="*/ 197972 h 197971"/>
              <a:gd name="csX2" fmla="*/ 3466 w 313306"/>
              <a:gd name="csY2" fmla="*/ 104326 h 197971"/>
              <a:gd name="csX3" fmla="*/ 0 w 313306"/>
              <a:gd name="csY3" fmla="*/ 10720 h 197971"/>
              <a:gd name="csX4" fmla="*/ 5445 w 313306"/>
              <a:gd name="csY4" fmla="*/ 9282 h 197971"/>
              <a:gd name="csX5" fmla="*/ 71623 w 313306"/>
              <a:gd name="csY5" fmla="*/ 6885 h 197971"/>
              <a:gd name="csX6" fmla="*/ 187887 w 313306"/>
              <a:gd name="csY6" fmla="*/ 233 h 197971"/>
              <a:gd name="csX7" fmla="*/ 215297 w 313306"/>
              <a:gd name="csY7" fmla="*/ 163 h 197971"/>
              <a:gd name="csX8" fmla="*/ 243629 w 313306"/>
              <a:gd name="csY8" fmla="*/ 61389 h 197971"/>
              <a:gd name="csX9" fmla="*/ 270660 w 313306"/>
              <a:gd name="csY9" fmla="*/ 86342 h 197971"/>
              <a:gd name="csX10" fmla="*/ 313142 w 313306"/>
              <a:gd name="csY10" fmla="*/ 170098 h 197971"/>
              <a:gd name="csX11" fmla="*/ 313291 w 313306"/>
              <a:gd name="csY11" fmla="*/ 176231 h 197971"/>
              <a:gd name="csX12" fmla="*/ 312654 w 313306"/>
              <a:gd name="csY12" fmla="*/ 180738 h 197971"/>
              <a:gd name="csX13" fmla="*/ 279655 w 313306"/>
              <a:gd name="csY13" fmla="*/ 186226 h 197971"/>
              <a:gd name="csX14" fmla="*/ 167436 w 313306"/>
              <a:gd name="csY14" fmla="*/ 196805 h 197971"/>
              <a:gd name="csX15" fmla="*/ 160234 w 313306"/>
              <a:gd name="csY15" fmla="*/ 197876 h 19797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</a:cxnLst>
            <a:rect l="l" t="t" r="r" b="b"/>
            <a:pathLst>
              <a:path w="313306" h="197971">
                <a:moveTo>
                  <a:pt x="160234" y="197876"/>
                </a:moveTo>
                <a:cubicBezTo>
                  <a:pt x="106384" y="197972"/>
                  <a:pt x="53682" y="197972"/>
                  <a:pt x="544" y="197972"/>
                </a:cubicBezTo>
                <a:cubicBezTo>
                  <a:pt x="1602" y="166763"/>
                  <a:pt x="3550" y="135542"/>
                  <a:pt x="3466" y="104326"/>
                </a:cubicBezTo>
                <a:cubicBezTo>
                  <a:pt x="3383" y="73323"/>
                  <a:pt x="1255" y="42326"/>
                  <a:pt x="0" y="10720"/>
                </a:cubicBezTo>
                <a:cubicBezTo>
                  <a:pt x="1689" y="10255"/>
                  <a:pt x="3551" y="9355"/>
                  <a:pt x="5445" y="9282"/>
                </a:cubicBezTo>
                <a:cubicBezTo>
                  <a:pt x="27503" y="8435"/>
                  <a:pt x="49582" y="8030"/>
                  <a:pt x="71623" y="6885"/>
                </a:cubicBezTo>
                <a:cubicBezTo>
                  <a:pt x="110388" y="4872"/>
                  <a:pt x="149126" y="2333"/>
                  <a:pt x="187887" y="233"/>
                </a:cubicBezTo>
                <a:cubicBezTo>
                  <a:pt x="196749" y="-247"/>
                  <a:pt x="205660" y="163"/>
                  <a:pt x="215297" y="163"/>
                </a:cubicBezTo>
                <a:cubicBezTo>
                  <a:pt x="215450" y="25550"/>
                  <a:pt x="226120" y="45122"/>
                  <a:pt x="243629" y="61389"/>
                </a:cubicBezTo>
                <a:cubicBezTo>
                  <a:pt x="252615" y="69739"/>
                  <a:pt x="261099" y="78715"/>
                  <a:pt x="270660" y="86342"/>
                </a:cubicBezTo>
                <a:cubicBezTo>
                  <a:pt x="297676" y="107892"/>
                  <a:pt x="310731" y="136225"/>
                  <a:pt x="313142" y="170098"/>
                </a:cubicBezTo>
                <a:cubicBezTo>
                  <a:pt x="313287" y="172136"/>
                  <a:pt x="313335" y="174188"/>
                  <a:pt x="313291" y="176231"/>
                </a:cubicBezTo>
                <a:cubicBezTo>
                  <a:pt x="313265" y="177429"/>
                  <a:pt x="312966" y="178621"/>
                  <a:pt x="312654" y="180738"/>
                </a:cubicBezTo>
                <a:cubicBezTo>
                  <a:pt x="302343" y="185396"/>
                  <a:pt x="290736" y="185049"/>
                  <a:pt x="279655" y="186226"/>
                </a:cubicBezTo>
                <a:cubicBezTo>
                  <a:pt x="242295" y="190193"/>
                  <a:pt x="204847" y="193324"/>
                  <a:pt x="167436" y="196805"/>
                </a:cubicBezTo>
                <a:cubicBezTo>
                  <a:pt x="165405" y="196994"/>
                  <a:pt x="163399" y="197449"/>
                  <a:pt x="160234" y="197876"/>
                </a:cubicBezTo>
                <a:close/>
              </a:path>
            </a:pathLst>
          </a:custGeom>
          <a:solidFill>
            <a:srgbClr val="FDFEFE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83" name="Free-form: Shape 482">
            <a:extLst>
              <a:ext uri="{FF2B5EF4-FFF2-40B4-BE49-F238E27FC236}">
                <a16:creationId xmlns:a16="http://schemas.microsoft.com/office/drawing/2014/main" id="{F880B7BB-9F77-7007-7311-09D0B736608D}"/>
              </a:ext>
            </a:extLst>
          </p:cNvPr>
          <p:cNvSpPr/>
          <p:nvPr/>
        </p:nvSpPr>
        <p:spPr>
          <a:xfrm>
            <a:off x="8672646" y="3933892"/>
            <a:ext cx="149260" cy="361842"/>
          </a:xfrm>
          <a:custGeom>
            <a:avLst/>
            <a:gdLst>
              <a:gd name="csX0" fmla="*/ 22609 w 164186"/>
              <a:gd name="csY0" fmla="*/ 398026 h 398026"/>
              <a:gd name="csX1" fmla="*/ 16884 w 164186"/>
              <a:gd name="csY1" fmla="*/ 390515 h 398026"/>
              <a:gd name="csX2" fmla="*/ 9661 w 164186"/>
              <a:gd name="csY2" fmla="*/ 328443 h 398026"/>
              <a:gd name="csX3" fmla="*/ 534 w 164186"/>
              <a:gd name="csY3" fmla="*/ 196369 h 398026"/>
              <a:gd name="csX4" fmla="*/ 1243 w 164186"/>
              <a:gd name="csY4" fmla="*/ 82293 h 398026"/>
              <a:gd name="csX5" fmla="*/ 2245 w 164186"/>
              <a:gd name="csY5" fmla="*/ 43023 h 398026"/>
              <a:gd name="csX6" fmla="*/ 4587 w 164186"/>
              <a:gd name="csY6" fmla="*/ 0 h 398026"/>
              <a:gd name="csX7" fmla="*/ 12341 w 164186"/>
              <a:gd name="csY7" fmla="*/ 3872 h 398026"/>
              <a:gd name="csX8" fmla="*/ 85914 w 164186"/>
              <a:gd name="csY8" fmla="*/ 78943 h 398026"/>
              <a:gd name="csX9" fmla="*/ 87893 w 164186"/>
              <a:gd name="csY9" fmla="*/ 99117 h 398026"/>
              <a:gd name="csX10" fmla="*/ 35459 w 164186"/>
              <a:gd name="csY10" fmla="*/ 207346 h 398026"/>
              <a:gd name="csX11" fmla="*/ 32223 w 164186"/>
              <a:gd name="csY11" fmla="*/ 213959 h 398026"/>
              <a:gd name="csX12" fmla="*/ 39509 w 164186"/>
              <a:gd name="csY12" fmla="*/ 242056 h 398026"/>
              <a:gd name="csX13" fmla="*/ 69474 w 164186"/>
              <a:gd name="csY13" fmla="*/ 237019 h 398026"/>
              <a:gd name="csX14" fmla="*/ 89101 w 164186"/>
              <a:gd name="csY14" fmla="*/ 208870 h 398026"/>
              <a:gd name="csX15" fmla="*/ 121716 w 164186"/>
              <a:gd name="csY15" fmla="*/ 158357 h 398026"/>
              <a:gd name="csX16" fmla="*/ 129330 w 164186"/>
              <a:gd name="csY16" fmla="*/ 148165 h 398026"/>
              <a:gd name="csX17" fmla="*/ 137171 w 164186"/>
              <a:gd name="csY17" fmla="*/ 159989 h 398026"/>
              <a:gd name="csX18" fmla="*/ 163812 w 164186"/>
              <a:gd name="csY18" fmla="*/ 273175 h 398026"/>
              <a:gd name="csX19" fmla="*/ 118151 w 164186"/>
              <a:gd name="csY19" fmla="*/ 383442 h 398026"/>
              <a:gd name="csX20" fmla="*/ 92325 w 164186"/>
              <a:gd name="csY20" fmla="*/ 395173 h 398026"/>
              <a:gd name="csX21" fmla="*/ 22609 w 164186"/>
              <a:gd name="csY21" fmla="*/ 398026 h 39802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</a:cxnLst>
            <a:rect l="l" t="t" r="r" b="b"/>
            <a:pathLst>
              <a:path w="164186" h="398026">
                <a:moveTo>
                  <a:pt x="22609" y="398026"/>
                </a:moveTo>
                <a:cubicBezTo>
                  <a:pt x="19898" y="395489"/>
                  <a:pt x="17229" y="393154"/>
                  <a:pt x="16884" y="390515"/>
                </a:cubicBezTo>
                <a:cubicBezTo>
                  <a:pt x="14183" y="369861"/>
                  <a:pt x="11326" y="349196"/>
                  <a:pt x="9661" y="328443"/>
                </a:cubicBezTo>
                <a:cubicBezTo>
                  <a:pt x="6132" y="284452"/>
                  <a:pt x="2125" y="240448"/>
                  <a:pt x="534" y="196369"/>
                </a:cubicBezTo>
                <a:cubicBezTo>
                  <a:pt x="-837" y="158401"/>
                  <a:pt x="816" y="120322"/>
                  <a:pt x="1243" y="82293"/>
                </a:cubicBezTo>
                <a:cubicBezTo>
                  <a:pt x="1389" y="69201"/>
                  <a:pt x="1708" y="56105"/>
                  <a:pt x="2245" y="43023"/>
                </a:cubicBezTo>
                <a:cubicBezTo>
                  <a:pt x="2815" y="29160"/>
                  <a:pt x="3738" y="15312"/>
                  <a:pt x="4587" y="0"/>
                </a:cubicBezTo>
                <a:cubicBezTo>
                  <a:pt x="7809" y="1586"/>
                  <a:pt x="10279" y="2436"/>
                  <a:pt x="12341" y="3872"/>
                </a:cubicBezTo>
                <a:cubicBezTo>
                  <a:pt x="41601" y="24248"/>
                  <a:pt x="64069" y="51269"/>
                  <a:pt x="85914" y="78943"/>
                </a:cubicBezTo>
                <a:cubicBezTo>
                  <a:pt x="91106" y="85520"/>
                  <a:pt x="91706" y="91406"/>
                  <a:pt x="87893" y="99117"/>
                </a:cubicBezTo>
                <a:cubicBezTo>
                  <a:pt x="70127" y="135051"/>
                  <a:pt x="52890" y="171246"/>
                  <a:pt x="35459" y="207346"/>
                </a:cubicBezTo>
                <a:cubicBezTo>
                  <a:pt x="34391" y="209557"/>
                  <a:pt x="33130" y="211686"/>
                  <a:pt x="32223" y="213959"/>
                </a:cubicBezTo>
                <a:cubicBezTo>
                  <a:pt x="27471" y="225873"/>
                  <a:pt x="30154" y="236086"/>
                  <a:pt x="39509" y="242056"/>
                </a:cubicBezTo>
                <a:cubicBezTo>
                  <a:pt x="48880" y="248038"/>
                  <a:pt x="61705" y="246477"/>
                  <a:pt x="69474" y="237019"/>
                </a:cubicBezTo>
                <a:cubicBezTo>
                  <a:pt x="76712" y="228205"/>
                  <a:pt x="82824" y="218436"/>
                  <a:pt x="89101" y="208870"/>
                </a:cubicBezTo>
                <a:cubicBezTo>
                  <a:pt x="100096" y="192114"/>
                  <a:pt x="110806" y="175170"/>
                  <a:pt x="121716" y="158357"/>
                </a:cubicBezTo>
                <a:cubicBezTo>
                  <a:pt x="123679" y="155333"/>
                  <a:pt x="126029" y="152559"/>
                  <a:pt x="129330" y="148165"/>
                </a:cubicBezTo>
                <a:cubicBezTo>
                  <a:pt x="132450" y="152828"/>
                  <a:pt x="135175" y="156216"/>
                  <a:pt x="137171" y="159989"/>
                </a:cubicBezTo>
                <a:cubicBezTo>
                  <a:pt x="155891" y="195388"/>
                  <a:pt x="166343" y="232905"/>
                  <a:pt x="163812" y="273175"/>
                </a:cubicBezTo>
                <a:cubicBezTo>
                  <a:pt x="161183" y="314982"/>
                  <a:pt x="144984" y="351430"/>
                  <a:pt x="118151" y="383442"/>
                </a:cubicBezTo>
                <a:cubicBezTo>
                  <a:pt x="111214" y="391718"/>
                  <a:pt x="102452" y="394716"/>
                  <a:pt x="92325" y="395173"/>
                </a:cubicBezTo>
                <a:cubicBezTo>
                  <a:pt x="69461" y="396207"/>
                  <a:pt x="46593" y="397123"/>
                  <a:pt x="22609" y="398026"/>
                </a:cubicBezTo>
                <a:close/>
              </a:path>
            </a:pathLst>
          </a:custGeom>
          <a:solidFill>
            <a:srgbClr val="FCFDFD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84" name="Free-form: Shape 483">
            <a:extLst>
              <a:ext uri="{FF2B5EF4-FFF2-40B4-BE49-F238E27FC236}">
                <a16:creationId xmlns:a16="http://schemas.microsoft.com/office/drawing/2014/main" id="{7626E312-7A0D-AE16-34CC-AD87F4A7D06B}"/>
              </a:ext>
            </a:extLst>
          </p:cNvPr>
          <p:cNvSpPr/>
          <p:nvPr/>
        </p:nvSpPr>
        <p:spPr>
          <a:xfrm>
            <a:off x="8658540" y="5159683"/>
            <a:ext cx="305850" cy="64961"/>
          </a:xfrm>
          <a:custGeom>
            <a:avLst/>
            <a:gdLst>
              <a:gd name="csX0" fmla="*/ 105937 w 336434"/>
              <a:gd name="csY0" fmla="*/ 71458 h 71457"/>
              <a:gd name="csX1" fmla="*/ 3534 w 336434"/>
              <a:gd name="csY1" fmla="*/ 69115 h 71457"/>
              <a:gd name="csX2" fmla="*/ 1296 w 336434"/>
              <a:gd name="csY2" fmla="*/ 17910 h 71457"/>
              <a:gd name="csX3" fmla="*/ 14032 w 336434"/>
              <a:gd name="csY3" fmla="*/ 17908 h 71457"/>
              <a:gd name="csX4" fmla="*/ 102444 w 336434"/>
              <a:gd name="csY4" fmla="*/ 17433 h 71457"/>
              <a:gd name="csX5" fmla="*/ 284561 w 336434"/>
              <a:gd name="csY5" fmla="*/ 3564 h 71457"/>
              <a:gd name="csX6" fmla="*/ 311323 w 336434"/>
              <a:gd name="csY6" fmla="*/ 224 h 71457"/>
              <a:gd name="csX7" fmla="*/ 324313 w 336434"/>
              <a:gd name="csY7" fmla="*/ 6639 h 71457"/>
              <a:gd name="csX8" fmla="*/ 336434 w 336434"/>
              <a:gd name="csY8" fmla="*/ 46484 h 71457"/>
              <a:gd name="csX9" fmla="*/ 105937 w 336434"/>
              <a:gd name="csY9" fmla="*/ 71458 h 7145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336434" h="71457">
                <a:moveTo>
                  <a:pt x="105937" y="71458"/>
                </a:moveTo>
                <a:cubicBezTo>
                  <a:pt x="70820" y="70678"/>
                  <a:pt x="36930" y="69891"/>
                  <a:pt x="3534" y="69115"/>
                </a:cubicBezTo>
                <a:cubicBezTo>
                  <a:pt x="-81" y="59433"/>
                  <a:pt x="-1094" y="35337"/>
                  <a:pt x="1296" y="17910"/>
                </a:cubicBezTo>
                <a:cubicBezTo>
                  <a:pt x="5366" y="17910"/>
                  <a:pt x="9699" y="17923"/>
                  <a:pt x="14032" y="17908"/>
                </a:cubicBezTo>
                <a:cubicBezTo>
                  <a:pt x="43505" y="17812"/>
                  <a:pt x="73011" y="18557"/>
                  <a:pt x="102444" y="17433"/>
                </a:cubicBezTo>
                <a:cubicBezTo>
                  <a:pt x="163306" y="15109"/>
                  <a:pt x="224166" y="12264"/>
                  <a:pt x="284561" y="3564"/>
                </a:cubicBezTo>
                <a:cubicBezTo>
                  <a:pt x="293458" y="2283"/>
                  <a:pt x="302438" y="1575"/>
                  <a:pt x="311323" y="224"/>
                </a:cubicBezTo>
                <a:cubicBezTo>
                  <a:pt x="317371" y="-696"/>
                  <a:pt x="321247" y="1177"/>
                  <a:pt x="324313" y="6639"/>
                </a:cubicBezTo>
                <a:cubicBezTo>
                  <a:pt x="330512" y="17683"/>
                  <a:pt x="335236" y="31679"/>
                  <a:pt x="336434" y="46484"/>
                </a:cubicBezTo>
                <a:cubicBezTo>
                  <a:pt x="261124" y="64059"/>
                  <a:pt x="184356" y="69587"/>
                  <a:pt x="105937" y="71458"/>
                </a:cubicBezTo>
                <a:close/>
              </a:path>
            </a:pathLst>
          </a:custGeom>
          <a:solidFill>
            <a:srgbClr val="FCFCFC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85" name="Free-form: Shape 484">
            <a:extLst>
              <a:ext uri="{FF2B5EF4-FFF2-40B4-BE49-F238E27FC236}">
                <a16:creationId xmlns:a16="http://schemas.microsoft.com/office/drawing/2014/main" id="{8CFCCD50-DA65-C024-3DC2-2E243B1C8B9A}"/>
              </a:ext>
            </a:extLst>
          </p:cNvPr>
          <p:cNvSpPr/>
          <p:nvPr/>
        </p:nvSpPr>
        <p:spPr>
          <a:xfrm>
            <a:off x="8672097" y="4328959"/>
            <a:ext cx="120683" cy="63097"/>
          </a:xfrm>
          <a:custGeom>
            <a:avLst/>
            <a:gdLst>
              <a:gd name="csX0" fmla="*/ 5051 w 132751"/>
              <a:gd name="csY0" fmla="*/ 7534 h 69406"/>
              <a:gd name="csX1" fmla="*/ 10615 w 132751"/>
              <a:gd name="csY1" fmla="*/ 3077 h 69406"/>
              <a:gd name="csX2" fmla="*/ 26541 w 132751"/>
              <a:gd name="csY2" fmla="*/ 2752 h 69406"/>
              <a:gd name="csX3" fmla="*/ 87728 w 132751"/>
              <a:gd name="csY3" fmla="*/ 89 h 69406"/>
              <a:gd name="csX4" fmla="*/ 101400 w 132751"/>
              <a:gd name="csY4" fmla="*/ 62 h 69406"/>
              <a:gd name="csX5" fmla="*/ 102924 w 132751"/>
              <a:gd name="csY5" fmla="*/ 4800 h 69406"/>
              <a:gd name="csX6" fmla="*/ 121469 w 132751"/>
              <a:gd name="csY6" fmla="*/ 43062 h 69406"/>
              <a:gd name="csX7" fmla="*/ 132751 w 132751"/>
              <a:gd name="csY7" fmla="*/ 65240 h 69406"/>
              <a:gd name="csX8" fmla="*/ 0 w 132751"/>
              <a:gd name="csY8" fmla="*/ 69406 h 69406"/>
              <a:gd name="csX9" fmla="*/ 5051 w 132751"/>
              <a:gd name="csY9" fmla="*/ 7534 h 6940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132751" h="69406">
                <a:moveTo>
                  <a:pt x="5051" y="7534"/>
                </a:moveTo>
                <a:cubicBezTo>
                  <a:pt x="6880" y="5272"/>
                  <a:pt x="8659" y="3268"/>
                  <a:pt x="10615" y="3077"/>
                </a:cubicBezTo>
                <a:cubicBezTo>
                  <a:pt x="15884" y="2564"/>
                  <a:pt x="21234" y="2972"/>
                  <a:pt x="26541" y="2752"/>
                </a:cubicBezTo>
                <a:cubicBezTo>
                  <a:pt x="46938" y="1911"/>
                  <a:pt x="67330" y="933"/>
                  <a:pt x="87728" y="89"/>
                </a:cubicBezTo>
                <a:cubicBezTo>
                  <a:pt x="92161" y="-94"/>
                  <a:pt x="96609" y="62"/>
                  <a:pt x="101400" y="62"/>
                </a:cubicBezTo>
                <a:cubicBezTo>
                  <a:pt x="101991" y="1827"/>
                  <a:pt x="102885" y="3302"/>
                  <a:pt x="102924" y="4800"/>
                </a:cubicBezTo>
                <a:cubicBezTo>
                  <a:pt x="103334" y="20376"/>
                  <a:pt x="108815" y="33165"/>
                  <a:pt x="121469" y="43062"/>
                </a:cubicBezTo>
                <a:cubicBezTo>
                  <a:pt x="127809" y="48021"/>
                  <a:pt x="132509" y="54869"/>
                  <a:pt x="132751" y="65240"/>
                </a:cubicBezTo>
                <a:cubicBezTo>
                  <a:pt x="88663" y="66624"/>
                  <a:pt x="45259" y="67986"/>
                  <a:pt x="0" y="69406"/>
                </a:cubicBezTo>
                <a:cubicBezTo>
                  <a:pt x="6474" y="48167"/>
                  <a:pt x="10658" y="28665"/>
                  <a:pt x="5051" y="7534"/>
                </a:cubicBezTo>
                <a:close/>
              </a:path>
            </a:pathLst>
          </a:custGeom>
          <a:solidFill>
            <a:srgbClr val="FBFCFB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86" name="Free-form: Shape 485">
            <a:extLst>
              <a:ext uri="{FF2B5EF4-FFF2-40B4-BE49-F238E27FC236}">
                <a16:creationId xmlns:a16="http://schemas.microsoft.com/office/drawing/2014/main" id="{C68E25F1-D1BB-D2AD-FB2E-2F77FF0EBC26}"/>
              </a:ext>
            </a:extLst>
          </p:cNvPr>
          <p:cNvSpPr/>
          <p:nvPr/>
        </p:nvSpPr>
        <p:spPr>
          <a:xfrm>
            <a:off x="8681733" y="4418573"/>
            <a:ext cx="150878" cy="35402"/>
          </a:xfrm>
          <a:custGeom>
            <a:avLst/>
            <a:gdLst>
              <a:gd name="csX0" fmla="*/ 80894 w 165965"/>
              <a:gd name="csY0" fmla="*/ 440 h 38942"/>
              <a:gd name="csX1" fmla="*/ 128629 w 165965"/>
              <a:gd name="csY1" fmla="*/ 5 h 38942"/>
              <a:gd name="csX2" fmla="*/ 155177 w 165965"/>
              <a:gd name="csY2" fmla="*/ 8091 h 38942"/>
              <a:gd name="csX3" fmla="*/ 164213 w 165965"/>
              <a:gd name="csY3" fmla="*/ 17723 h 38942"/>
              <a:gd name="csX4" fmla="*/ 159998 w 165965"/>
              <a:gd name="csY4" fmla="*/ 30717 h 38942"/>
              <a:gd name="csX5" fmla="*/ 146998 w 165965"/>
              <a:gd name="csY5" fmla="*/ 33737 h 38942"/>
              <a:gd name="csX6" fmla="*/ 12439 w 165965"/>
              <a:gd name="csY6" fmla="*/ 38914 h 38942"/>
              <a:gd name="csX7" fmla="*/ 0 w 165965"/>
              <a:gd name="csY7" fmla="*/ 38402 h 38942"/>
              <a:gd name="csX8" fmla="*/ 0 w 165965"/>
              <a:gd name="csY8" fmla="*/ 4598 h 38942"/>
              <a:gd name="csX9" fmla="*/ 80894 w 165965"/>
              <a:gd name="csY9" fmla="*/ 440 h 3894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165965" h="38942">
                <a:moveTo>
                  <a:pt x="80894" y="440"/>
                </a:moveTo>
                <a:cubicBezTo>
                  <a:pt x="97591" y="288"/>
                  <a:pt x="113111" y="227"/>
                  <a:pt x="128629" y="5"/>
                </a:cubicBezTo>
                <a:cubicBezTo>
                  <a:pt x="138376" y="-135"/>
                  <a:pt x="147226" y="2891"/>
                  <a:pt x="155177" y="8091"/>
                </a:cubicBezTo>
                <a:cubicBezTo>
                  <a:pt x="158779" y="10447"/>
                  <a:pt x="161992" y="14009"/>
                  <a:pt x="164213" y="17723"/>
                </a:cubicBezTo>
                <a:cubicBezTo>
                  <a:pt x="167602" y="23390"/>
                  <a:pt x="166013" y="28134"/>
                  <a:pt x="159998" y="30717"/>
                </a:cubicBezTo>
                <a:cubicBezTo>
                  <a:pt x="155963" y="32450"/>
                  <a:pt x="151384" y="33554"/>
                  <a:pt x="146998" y="33737"/>
                </a:cubicBezTo>
                <a:cubicBezTo>
                  <a:pt x="102152" y="35619"/>
                  <a:pt x="57295" y="37279"/>
                  <a:pt x="12439" y="38914"/>
                </a:cubicBezTo>
                <a:cubicBezTo>
                  <a:pt x="8467" y="39059"/>
                  <a:pt x="4472" y="38602"/>
                  <a:pt x="0" y="38402"/>
                </a:cubicBezTo>
                <a:cubicBezTo>
                  <a:pt x="0" y="27166"/>
                  <a:pt x="0" y="16774"/>
                  <a:pt x="0" y="4598"/>
                </a:cubicBezTo>
                <a:cubicBezTo>
                  <a:pt x="27063" y="3194"/>
                  <a:pt x="53389" y="1829"/>
                  <a:pt x="80894" y="440"/>
                </a:cubicBezTo>
                <a:close/>
              </a:path>
            </a:pathLst>
          </a:custGeom>
          <a:solidFill>
            <a:srgbClr val="FBFCFB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87" name="Free-form: Shape 486">
            <a:extLst>
              <a:ext uri="{FF2B5EF4-FFF2-40B4-BE49-F238E27FC236}">
                <a16:creationId xmlns:a16="http://schemas.microsoft.com/office/drawing/2014/main" id="{B73892BD-F06E-4033-F794-4D3BC6FB4670}"/>
              </a:ext>
            </a:extLst>
          </p:cNvPr>
          <p:cNvSpPr/>
          <p:nvPr/>
        </p:nvSpPr>
        <p:spPr>
          <a:xfrm>
            <a:off x="8665584" y="3857749"/>
            <a:ext cx="39402" cy="42156"/>
          </a:xfrm>
          <a:custGeom>
            <a:avLst/>
            <a:gdLst>
              <a:gd name="csX0" fmla="*/ 40602 w 43343"/>
              <a:gd name="csY0" fmla="*/ 12465 h 46372"/>
              <a:gd name="csX1" fmla="*/ 43214 w 43343"/>
              <a:gd name="csY1" fmla="*/ 21324 h 46372"/>
              <a:gd name="csX2" fmla="*/ 23859 w 43343"/>
              <a:gd name="csY2" fmla="*/ 46319 h 46372"/>
              <a:gd name="csX3" fmla="*/ 5 w 43343"/>
              <a:gd name="csY3" fmla="*/ 23820 h 46372"/>
              <a:gd name="csX4" fmla="*/ 4855 w 43343"/>
              <a:gd name="csY4" fmla="*/ 5679 h 46372"/>
              <a:gd name="csX5" fmla="*/ 40602 w 43343"/>
              <a:gd name="csY5" fmla="*/ 12465 h 4637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</a:cxnLst>
            <a:rect l="l" t="t" r="r" b="b"/>
            <a:pathLst>
              <a:path w="43343" h="46372">
                <a:moveTo>
                  <a:pt x="40602" y="12465"/>
                </a:moveTo>
                <a:cubicBezTo>
                  <a:pt x="41913" y="15811"/>
                  <a:pt x="42933" y="18530"/>
                  <a:pt x="43214" y="21324"/>
                </a:cubicBezTo>
                <a:cubicBezTo>
                  <a:pt x="44519" y="34348"/>
                  <a:pt x="35870" y="45401"/>
                  <a:pt x="23859" y="46319"/>
                </a:cubicBezTo>
                <a:cubicBezTo>
                  <a:pt x="11890" y="47233"/>
                  <a:pt x="-280" y="36371"/>
                  <a:pt x="5" y="23820"/>
                </a:cubicBezTo>
                <a:cubicBezTo>
                  <a:pt x="136" y="18011"/>
                  <a:pt x="2893" y="12263"/>
                  <a:pt x="4855" y="5679"/>
                </a:cubicBezTo>
                <a:cubicBezTo>
                  <a:pt x="20601" y="-3403"/>
                  <a:pt x="28004" y="-1910"/>
                  <a:pt x="40602" y="12465"/>
                </a:cubicBezTo>
                <a:close/>
              </a:path>
            </a:pathLst>
          </a:custGeom>
          <a:solidFill>
            <a:srgbClr val="FBFCFB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88" name="Oval 487">
            <a:extLst>
              <a:ext uri="{FF2B5EF4-FFF2-40B4-BE49-F238E27FC236}">
                <a16:creationId xmlns:a16="http://schemas.microsoft.com/office/drawing/2014/main" id="{6FBCAC44-DC88-8907-BE29-9E9F3DAC6DB2}"/>
              </a:ext>
            </a:extLst>
          </p:cNvPr>
          <p:cNvSpPr/>
          <p:nvPr/>
        </p:nvSpPr>
        <p:spPr>
          <a:xfrm>
            <a:off x="5889548" y="5191111"/>
            <a:ext cx="717698" cy="104135"/>
          </a:xfrm>
          <a:prstGeom prst="ellipse">
            <a:avLst/>
          </a:prstGeom>
          <a:solidFill>
            <a:schemeClr val="tx1">
              <a:alpha val="6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89" name="Free-form: Shape 488">
            <a:extLst>
              <a:ext uri="{FF2B5EF4-FFF2-40B4-BE49-F238E27FC236}">
                <a16:creationId xmlns:a16="http://schemas.microsoft.com/office/drawing/2014/main" id="{482759C8-F2FE-938A-CCB9-0441F37930C9}"/>
              </a:ext>
            </a:extLst>
          </p:cNvPr>
          <p:cNvSpPr/>
          <p:nvPr/>
        </p:nvSpPr>
        <p:spPr>
          <a:xfrm flipH="1">
            <a:off x="6023431" y="3765774"/>
            <a:ext cx="557648" cy="1497715"/>
          </a:xfrm>
          <a:custGeom>
            <a:avLst/>
            <a:gdLst>
              <a:gd name="csX0" fmla="*/ 96263 w 729419"/>
              <a:gd name="csY0" fmla="*/ 2076207 h 2076207"/>
              <a:gd name="csX1" fmla="*/ 63862 w 729419"/>
              <a:gd name="csY1" fmla="*/ 2065388 h 2076207"/>
              <a:gd name="csX2" fmla="*/ 16555 w 729419"/>
              <a:gd name="csY2" fmla="*/ 2050152 h 2076207"/>
              <a:gd name="csX3" fmla="*/ 15 w 729419"/>
              <a:gd name="csY3" fmla="*/ 2023802 h 2076207"/>
              <a:gd name="csX4" fmla="*/ 18368 w 729419"/>
              <a:gd name="csY4" fmla="*/ 1940709 h 2076207"/>
              <a:gd name="csX5" fmla="*/ 22139 w 729419"/>
              <a:gd name="csY5" fmla="*/ 1907268 h 2076207"/>
              <a:gd name="csX6" fmla="*/ 57941 w 729419"/>
              <a:gd name="csY6" fmla="*/ 1774163 h 2076207"/>
              <a:gd name="csX7" fmla="*/ 102478 w 729419"/>
              <a:gd name="csY7" fmla="*/ 1720275 h 2076207"/>
              <a:gd name="csX8" fmla="*/ 108579 w 729419"/>
              <a:gd name="csY8" fmla="*/ 1650967 h 2076207"/>
              <a:gd name="csX9" fmla="*/ 115628 w 729419"/>
              <a:gd name="csY9" fmla="*/ 1625405 h 2076207"/>
              <a:gd name="csX10" fmla="*/ 156323 w 729419"/>
              <a:gd name="csY10" fmla="*/ 1560181 h 2076207"/>
              <a:gd name="csX11" fmla="*/ 199424 w 729419"/>
              <a:gd name="csY11" fmla="*/ 1364729 h 2076207"/>
              <a:gd name="csX12" fmla="*/ 216779 w 729419"/>
              <a:gd name="csY12" fmla="*/ 1219490 h 2076207"/>
              <a:gd name="csX13" fmla="*/ 229755 w 729419"/>
              <a:gd name="csY13" fmla="*/ 1099357 h 2076207"/>
              <a:gd name="csX14" fmla="*/ 232707 w 729419"/>
              <a:gd name="csY14" fmla="*/ 1056423 h 2076207"/>
              <a:gd name="csX15" fmla="*/ 235622 w 729419"/>
              <a:gd name="csY15" fmla="*/ 952675 h 2076207"/>
              <a:gd name="csX16" fmla="*/ 235445 w 729419"/>
              <a:gd name="csY16" fmla="*/ 780278 h 2076207"/>
              <a:gd name="csX17" fmla="*/ 214544 w 729419"/>
              <a:gd name="csY17" fmla="*/ 756435 h 2076207"/>
              <a:gd name="csX18" fmla="*/ 172569 w 729419"/>
              <a:gd name="csY18" fmla="*/ 742582 h 2076207"/>
              <a:gd name="csX19" fmla="*/ 168784 w 729419"/>
              <a:gd name="csY19" fmla="*/ 669116 h 2076207"/>
              <a:gd name="csX20" fmla="*/ 191657 w 729419"/>
              <a:gd name="csY20" fmla="*/ 630765 h 2076207"/>
              <a:gd name="csX21" fmla="*/ 208150 w 729419"/>
              <a:gd name="csY21" fmla="*/ 609084 h 2076207"/>
              <a:gd name="csX22" fmla="*/ 216756 w 729419"/>
              <a:gd name="csY22" fmla="*/ 558673 h 2076207"/>
              <a:gd name="csX23" fmla="*/ 209092 w 729419"/>
              <a:gd name="csY23" fmla="*/ 521540 h 2076207"/>
              <a:gd name="csX24" fmla="*/ 204683 w 729419"/>
              <a:gd name="csY24" fmla="*/ 474024 h 2076207"/>
              <a:gd name="csX25" fmla="*/ 115483 w 729419"/>
              <a:gd name="csY25" fmla="*/ 213499 h 2076207"/>
              <a:gd name="csX26" fmla="*/ 102909 w 729419"/>
              <a:gd name="csY26" fmla="*/ 182297 h 2076207"/>
              <a:gd name="csX27" fmla="*/ 104315 w 729419"/>
              <a:gd name="csY27" fmla="*/ 163968 h 2076207"/>
              <a:gd name="csX28" fmla="*/ 122444 w 729419"/>
              <a:gd name="csY28" fmla="*/ 160805 h 2076207"/>
              <a:gd name="csX29" fmla="*/ 170283 w 729419"/>
              <a:gd name="csY29" fmla="*/ 187783 h 2076207"/>
              <a:gd name="csX30" fmla="*/ 180938 w 729419"/>
              <a:gd name="csY30" fmla="*/ 195322 h 2076207"/>
              <a:gd name="csX31" fmla="*/ 221419 w 729419"/>
              <a:gd name="csY31" fmla="*/ 138058 h 2076207"/>
              <a:gd name="csX32" fmla="*/ 294099 w 729419"/>
              <a:gd name="csY32" fmla="*/ 91372 h 2076207"/>
              <a:gd name="csX33" fmla="*/ 302307 w 729419"/>
              <a:gd name="csY33" fmla="*/ 76560 h 2076207"/>
              <a:gd name="csX34" fmla="*/ 320284 w 729419"/>
              <a:gd name="csY34" fmla="*/ 8414 h 2076207"/>
              <a:gd name="csX35" fmla="*/ 324784 w 729419"/>
              <a:gd name="csY35" fmla="*/ 946 h 2076207"/>
              <a:gd name="csX36" fmla="*/ 399212 w 729419"/>
              <a:gd name="csY36" fmla="*/ 0 h 2076207"/>
              <a:gd name="csX37" fmla="*/ 425980 w 729419"/>
              <a:gd name="csY37" fmla="*/ 78301 h 2076207"/>
              <a:gd name="csX38" fmla="*/ 431861 w 729419"/>
              <a:gd name="csY38" fmla="*/ 90312 h 2076207"/>
              <a:gd name="csX39" fmla="*/ 540349 w 729419"/>
              <a:gd name="csY39" fmla="*/ 187946 h 2076207"/>
              <a:gd name="csX40" fmla="*/ 545555 w 729419"/>
              <a:gd name="csY40" fmla="*/ 197828 h 2076207"/>
              <a:gd name="csX41" fmla="*/ 587318 w 729419"/>
              <a:gd name="csY41" fmla="*/ 171260 h 2076207"/>
              <a:gd name="csX42" fmla="*/ 601503 w 729419"/>
              <a:gd name="csY42" fmla="*/ 163707 h 2076207"/>
              <a:gd name="csX43" fmla="*/ 625254 w 729419"/>
              <a:gd name="csY43" fmla="*/ 163123 h 2076207"/>
              <a:gd name="csX44" fmla="*/ 625468 w 729419"/>
              <a:gd name="csY44" fmla="*/ 187579 h 2076207"/>
              <a:gd name="csX45" fmla="*/ 597543 w 729419"/>
              <a:gd name="csY45" fmla="*/ 251872 h 2076207"/>
              <a:gd name="csX46" fmla="*/ 531831 w 729419"/>
              <a:gd name="csY46" fmla="*/ 442689 h 2076207"/>
              <a:gd name="csX47" fmla="*/ 519888 w 729419"/>
              <a:gd name="csY47" fmla="*/ 501474 h 2076207"/>
              <a:gd name="csX48" fmla="*/ 522506 w 729419"/>
              <a:gd name="csY48" fmla="*/ 525086 h 2076207"/>
              <a:gd name="csX49" fmla="*/ 516235 w 729419"/>
              <a:gd name="csY49" fmla="*/ 555946 h 2076207"/>
              <a:gd name="csX50" fmla="*/ 521332 w 729419"/>
              <a:gd name="csY50" fmla="*/ 610676 h 2076207"/>
              <a:gd name="csX51" fmla="*/ 541382 w 729419"/>
              <a:gd name="csY51" fmla="*/ 642597 h 2076207"/>
              <a:gd name="csX52" fmla="*/ 557031 w 729419"/>
              <a:gd name="csY52" fmla="*/ 667949 h 2076207"/>
              <a:gd name="csX53" fmla="*/ 553994 w 729419"/>
              <a:gd name="csY53" fmla="*/ 744146 h 2076207"/>
              <a:gd name="csX54" fmla="*/ 508215 w 729419"/>
              <a:gd name="csY54" fmla="*/ 758841 h 2076207"/>
              <a:gd name="csX55" fmla="*/ 497442 w 729419"/>
              <a:gd name="csY55" fmla="*/ 771256 h 2076207"/>
              <a:gd name="csX56" fmla="*/ 493005 w 729419"/>
              <a:gd name="csY56" fmla="*/ 922055 h 2076207"/>
              <a:gd name="csX57" fmla="*/ 502900 w 729419"/>
              <a:gd name="csY57" fmla="*/ 1114191 h 2076207"/>
              <a:gd name="csX58" fmla="*/ 508800 w 729419"/>
              <a:gd name="csY58" fmla="*/ 1205474 h 2076207"/>
              <a:gd name="csX59" fmla="*/ 522952 w 729419"/>
              <a:gd name="csY59" fmla="*/ 1320065 h 2076207"/>
              <a:gd name="csX60" fmla="*/ 554682 w 729419"/>
              <a:gd name="csY60" fmla="*/ 1501203 h 2076207"/>
              <a:gd name="csX61" fmla="*/ 576958 w 729419"/>
              <a:gd name="csY61" fmla="*/ 1593963 h 2076207"/>
              <a:gd name="csX62" fmla="*/ 595349 w 729419"/>
              <a:gd name="csY62" fmla="*/ 1613498 h 2076207"/>
              <a:gd name="csX63" fmla="*/ 613936 w 729419"/>
              <a:gd name="csY63" fmla="*/ 1624058 h 2076207"/>
              <a:gd name="csX64" fmla="*/ 620938 w 729419"/>
              <a:gd name="csY64" fmla="*/ 1652071 h 2076207"/>
              <a:gd name="csX65" fmla="*/ 630805 w 729419"/>
              <a:gd name="csY65" fmla="*/ 1721702 h 2076207"/>
              <a:gd name="csX66" fmla="*/ 685830 w 729419"/>
              <a:gd name="csY66" fmla="*/ 1792915 h 2076207"/>
              <a:gd name="csX67" fmla="*/ 708904 w 729419"/>
              <a:gd name="csY67" fmla="*/ 1890290 h 2076207"/>
              <a:gd name="csX68" fmla="*/ 716580 w 729419"/>
              <a:gd name="csY68" fmla="*/ 1951136 h 2076207"/>
              <a:gd name="csX69" fmla="*/ 729397 w 729419"/>
              <a:gd name="csY69" fmla="*/ 2030261 h 2076207"/>
              <a:gd name="csX70" fmla="*/ 714212 w 729419"/>
              <a:gd name="csY70" fmla="*/ 2049544 h 2076207"/>
              <a:gd name="csX71" fmla="*/ 645428 w 729419"/>
              <a:gd name="csY71" fmla="*/ 2070825 h 2076207"/>
              <a:gd name="csX72" fmla="*/ 635822 w 729419"/>
              <a:gd name="csY72" fmla="*/ 2075145 h 2076207"/>
              <a:gd name="csX73" fmla="*/ 588428 w 729419"/>
              <a:gd name="csY73" fmla="*/ 2075144 h 2076207"/>
              <a:gd name="csX74" fmla="*/ 590041 w 729419"/>
              <a:gd name="csY74" fmla="*/ 2071383 h 2076207"/>
              <a:gd name="csX75" fmla="*/ 667788 w 729419"/>
              <a:gd name="csY75" fmla="*/ 2056852 h 2076207"/>
              <a:gd name="csX76" fmla="*/ 706629 w 729419"/>
              <a:gd name="csY76" fmla="*/ 2044290 h 2076207"/>
              <a:gd name="csX77" fmla="*/ 702674 w 729419"/>
              <a:gd name="csY77" fmla="*/ 2041581 h 2076207"/>
              <a:gd name="csX78" fmla="*/ 544974 w 729419"/>
              <a:gd name="csY78" fmla="*/ 2071274 h 2076207"/>
              <a:gd name="csX79" fmla="*/ 538352 w 729419"/>
              <a:gd name="csY79" fmla="*/ 2076207 h 2076207"/>
              <a:gd name="csX80" fmla="*/ 96263 w 729419"/>
              <a:gd name="csY80" fmla="*/ 2076207 h 2076207"/>
              <a:gd name="csX81" fmla="*/ 489970 w 729419"/>
              <a:gd name="csY81" fmla="*/ 152208 h 2076207"/>
              <a:gd name="csX82" fmla="*/ 490754 w 729419"/>
              <a:gd name="csY82" fmla="*/ 152592 h 2076207"/>
              <a:gd name="csX83" fmla="*/ 489489 w 729419"/>
              <a:gd name="csY83" fmla="*/ 149547 h 2076207"/>
              <a:gd name="csX84" fmla="*/ 393621 w 729419"/>
              <a:gd name="csY84" fmla="*/ 99259 h 2076207"/>
              <a:gd name="csX85" fmla="*/ 390419 w 729419"/>
              <a:gd name="csY85" fmla="*/ 18568 h 2076207"/>
              <a:gd name="csX86" fmla="*/ 334131 w 729419"/>
              <a:gd name="csY86" fmla="*/ 24327 h 2076207"/>
              <a:gd name="csX87" fmla="*/ 344678 w 729419"/>
              <a:gd name="csY87" fmla="*/ 101259 h 2076207"/>
              <a:gd name="csX88" fmla="*/ 298854 w 729419"/>
              <a:gd name="csY88" fmla="*/ 114003 h 2076207"/>
              <a:gd name="csX89" fmla="*/ 237456 w 729419"/>
              <a:gd name="csY89" fmla="*/ 154340 h 2076207"/>
              <a:gd name="csX90" fmla="*/ 240382 w 729419"/>
              <a:gd name="csY90" fmla="*/ 154035 h 2076207"/>
              <a:gd name="csX91" fmla="*/ 262731 w 729419"/>
              <a:gd name="csY91" fmla="*/ 170426 h 2076207"/>
              <a:gd name="csX92" fmla="*/ 279169 w 729419"/>
              <a:gd name="csY92" fmla="*/ 193173 h 2076207"/>
              <a:gd name="csX93" fmla="*/ 327717 w 729419"/>
              <a:gd name="csY93" fmla="*/ 188556 h 2076207"/>
              <a:gd name="csX94" fmla="*/ 348052 w 729419"/>
              <a:gd name="csY94" fmla="*/ 156919 h 2076207"/>
              <a:gd name="csX95" fmla="*/ 380330 w 729419"/>
              <a:gd name="csY95" fmla="*/ 156483 h 2076207"/>
              <a:gd name="csX96" fmla="*/ 408490 w 729419"/>
              <a:gd name="csY96" fmla="*/ 195400 h 2076207"/>
              <a:gd name="csX97" fmla="*/ 445346 w 729419"/>
              <a:gd name="csY97" fmla="*/ 197582 h 2076207"/>
              <a:gd name="csX98" fmla="*/ 464798 w 729419"/>
              <a:gd name="csY98" fmla="*/ 174107 h 2076207"/>
              <a:gd name="csX99" fmla="*/ 489970 w 729419"/>
              <a:gd name="csY99" fmla="*/ 152208 h 2076207"/>
              <a:gd name="csX100" fmla="*/ 140694 w 729419"/>
              <a:gd name="csY100" fmla="*/ 201837 h 2076207"/>
              <a:gd name="csX101" fmla="*/ 139834 w 729419"/>
              <a:gd name="csY101" fmla="*/ 201482 h 2076207"/>
              <a:gd name="csX102" fmla="*/ 140812 w 729419"/>
              <a:gd name="csY102" fmla="*/ 204941 h 2076207"/>
              <a:gd name="csX103" fmla="*/ 144631 w 729419"/>
              <a:gd name="csY103" fmla="*/ 217811 h 2076207"/>
              <a:gd name="csX104" fmla="*/ 201241 w 729419"/>
              <a:gd name="csY104" fmla="*/ 373387 h 2076207"/>
              <a:gd name="csX105" fmla="*/ 235971 w 729419"/>
              <a:gd name="csY105" fmla="*/ 504451 h 2076207"/>
              <a:gd name="csX106" fmla="*/ 247475 w 729419"/>
              <a:gd name="csY106" fmla="*/ 513241 h 2076207"/>
              <a:gd name="csX107" fmla="*/ 289066 w 729419"/>
              <a:gd name="csY107" fmla="*/ 511170 h 2076207"/>
              <a:gd name="csX108" fmla="*/ 378229 w 729419"/>
              <a:gd name="csY108" fmla="*/ 511084 h 2076207"/>
              <a:gd name="csX109" fmla="*/ 470850 w 729419"/>
              <a:gd name="csY109" fmla="*/ 516341 h 2076207"/>
              <a:gd name="csX110" fmla="*/ 492933 w 729419"/>
              <a:gd name="csY110" fmla="*/ 497969 h 2076207"/>
              <a:gd name="csX111" fmla="*/ 557617 w 729419"/>
              <a:gd name="csY111" fmla="*/ 280398 h 2076207"/>
              <a:gd name="csX112" fmla="*/ 588788 w 729419"/>
              <a:gd name="csY112" fmla="*/ 200385 h 2076207"/>
              <a:gd name="csX113" fmla="*/ 530958 w 729419"/>
              <a:gd name="csY113" fmla="*/ 232968 h 2076207"/>
              <a:gd name="csX114" fmla="*/ 483823 w 729419"/>
              <a:gd name="csY114" fmla="*/ 190364 h 2076207"/>
              <a:gd name="csX115" fmla="*/ 466649 w 729419"/>
              <a:gd name="csY115" fmla="*/ 209061 h 2076207"/>
              <a:gd name="csX116" fmla="*/ 399941 w 729419"/>
              <a:gd name="csY116" fmla="*/ 216988 h 2076207"/>
              <a:gd name="csX117" fmla="*/ 363018 w 729419"/>
              <a:gd name="csY117" fmla="*/ 179615 h 2076207"/>
              <a:gd name="csX118" fmla="*/ 308839 w 729419"/>
              <a:gd name="csY118" fmla="*/ 227846 h 2076207"/>
              <a:gd name="csX119" fmla="*/ 245077 w 729419"/>
              <a:gd name="csY119" fmla="*/ 192402 h 2076207"/>
              <a:gd name="csX120" fmla="*/ 242829 w 729419"/>
              <a:gd name="csY120" fmla="*/ 198815 h 2076207"/>
              <a:gd name="csX121" fmla="*/ 168452 w 729419"/>
              <a:gd name="csY121" fmla="*/ 219348 h 2076207"/>
              <a:gd name="csX122" fmla="*/ 140694 w 729419"/>
              <a:gd name="csY122" fmla="*/ 201837 h 2076207"/>
              <a:gd name="csX123" fmla="*/ 259999 w 729419"/>
              <a:gd name="csY123" fmla="*/ 966699 h 2076207"/>
              <a:gd name="csX124" fmla="*/ 257072 w 729419"/>
              <a:gd name="csY124" fmla="*/ 1070424 h 2076207"/>
              <a:gd name="csX125" fmla="*/ 251372 w 729419"/>
              <a:gd name="csY125" fmla="*/ 1157618 h 2076207"/>
              <a:gd name="csX126" fmla="*/ 232677 w 729419"/>
              <a:gd name="csY126" fmla="*/ 1320279 h 2076207"/>
              <a:gd name="csX127" fmla="*/ 209182 w 729419"/>
              <a:gd name="csY127" fmla="*/ 1468667 h 2076207"/>
              <a:gd name="csX128" fmla="*/ 175302 w 729419"/>
              <a:gd name="csY128" fmla="*/ 1616623 h 2076207"/>
              <a:gd name="csX129" fmla="*/ 182769 w 729419"/>
              <a:gd name="csY129" fmla="*/ 1629786 h 2076207"/>
              <a:gd name="csX130" fmla="*/ 212156 w 729419"/>
              <a:gd name="csY130" fmla="*/ 1632656 h 2076207"/>
              <a:gd name="csX131" fmla="*/ 351295 w 729419"/>
              <a:gd name="csY131" fmla="*/ 1632801 h 2076207"/>
              <a:gd name="csX132" fmla="*/ 376150 w 729419"/>
              <a:gd name="csY132" fmla="*/ 1608307 h 2076207"/>
              <a:gd name="csX133" fmla="*/ 373450 w 729419"/>
              <a:gd name="csY133" fmla="*/ 1457291 h 2076207"/>
              <a:gd name="csX134" fmla="*/ 370936 w 729419"/>
              <a:gd name="csY134" fmla="*/ 1342736 h 2076207"/>
              <a:gd name="csX135" fmla="*/ 368328 w 729419"/>
              <a:gd name="csY135" fmla="*/ 1203878 h 2076207"/>
              <a:gd name="csX136" fmla="*/ 367836 w 729419"/>
              <a:gd name="csY136" fmla="*/ 813478 h 2076207"/>
              <a:gd name="csX137" fmla="*/ 365240 w 729419"/>
              <a:gd name="csY137" fmla="*/ 773243 h 2076207"/>
              <a:gd name="csX138" fmla="*/ 353084 w 729419"/>
              <a:gd name="csY138" fmla="*/ 762083 h 2076207"/>
              <a:gd name="csX139" fmla="*/ 280966 w 729419"/>
              <a:gd name="csY139" fmla="*/ 759855 h 2076207"/>
              <a:gd name="csX140" fmla="*/ 259965 w 729419"/>
              <a:gd name="csY140" fmla="*/ 779553 h 2076207"/>
              <a:gd name="csX141" fmla="*/ 262341 w 729419"/>
              <a:gd name="csY141" fmla="*/ 856275 h 2076207"/>
              <a:gd name="csX142" fmla="*/ 259999 w 729419"/>
              <a:gd name="csY142" fmla="*/ 966699 h 2076207"/>
              <a:gd name="csX143" fmla="*/ 55556 w 729419"/>
              <a:gd name="csY143" fmla="*/ 1835827 h 2076207"/>
              <a:gd name="csX144" fmla="*/ 49393 w 729419"/>
              <a:gd name="csY144" fmla="*/ 1878155 h 2076207"/>
              <a:gd name="csX145" fmla="*/ 73949 w 729419"/>
              <a:gd name="csY145" fmla="*/ 1905781 h 2076207"/>
              <a:gd name="csX146" fmla="*/ 110073 w 729419"/>
              <a:gd name="csY146" fmla="*/ 1909068 h 2076207"/>
              <a:gd name="csX147" fmla="*/ 224745 w 729419"/>
              <a:gd name="csY147" fmla="*/ 1921652 h 2076207"/>
              <a:gd name="csX148" fmla="*/ 347327 w 729419"/>
              <a:gd name="csY148" fmla="*/ 1924778 h 2076207"/>
              <a:gd name="csX149" fmla="*/ 363345 w 729419"/>
              <a:gd name="csY149" fmla="*/ 1923293 h 2076207"/>
              <a:gd name="csX150" fmla="*/ 373787 w 729419"/>
              <a:gd name="csY150" fmla="*/ 1911200 h 2076207"/>
              <a:gd name="csX151" fmla="*/ 376623 w 729419"/>
              <a:gd name="csY151" fmla="*/ 1696741 h 2076207"/>
              <a:gd name="csX152" fmla="*/ 360437 w 729419"/>
              <a:gd name="csY152" fmla="*/ 1681289 h 2076207"/>
              <a:gd name="csX153" fmla="*/ 263503 w 729419"/>
              <a:gd name="csY153" fmla="*/ 1678179 h 2076207"/>
              <a:gd name="csX154" fmla="*/ 160381 w 729419"/>
              <a:gd name="csY154" fmla="*/ 1670405 h 2076207"/>
              <a:gd name="csX155" fmla="*/ 143321 w 729419"/>
              <a:gd name="csY155" fmla="*/ 1685538 h 2076207"/>
              <a:gd name="csX156" fmla="*/ 124769 w 729419"/>
              <a:gd name="csY156" fmla="*/ 1738195 h 2076207"/>
              <a:gd name="csX157" fmla="*/ 90593 w 729419"/>
              <a:gd name="csY157" fmla="*/ 1779570 h 2076207"/>
              <a:gd name="csX158" fmla="*/ 55556 w 729419"/>
              <a:gd name="csY158" fmla="*/ 1835827 h 2076207"/>
              <a:gd name="csX159" fmla="*/ 378900 w 729419"/>
              <a:gd name="csY159" fmla="*/ 2007280 h 2076207"/>
              <a:gd name="csX160" fmla="*/ 378887 w 729419"/>
              <a:gd name="csY160" fmla="*/ 1995127 h 2076207"/>
              <a:gd name="csX161" fmla="*/ 359084 w 729419"/>
              <a:gd name="csY161" fmla="*/ 1975964 h 2076207"/>
              <a:gd name="csX162" fmla="*/ 247288 w 729419"/>
              <a:gd name="csY162" fmla="*/ 1973305 h 2076207"/>
              <a:gd name="csX163" fmla="*/ 201692 w 729419"/>
              <a:gd name="csY163" fmla="*/ 1970275 h 2076207"/>
              <a:gd name="csX164" fmla="*/ 57962 w 729419"/>
              <a:gd name="csY164" fmla="*/ 1952648 h 2076207"/>
              <a:gd name="csX165" fmla="*/ 39194 w 729419"/>
              <a:gd name="csY165" fmla="*/ 1963552 h 2076207"/>
              <a:gd name="csX166" fmla="*/ 30066 w 729419"/>
              <a:gd name="csY166" fmla="*/ 2006631 h 2076207"/>
              <a:gd name="csX167" fmla="*/ 40232 w 729419"/>
              <a:gd name="csY167" fmla="*/ 2019486 h 2076207"/>
              <a:gd name="csX168" fmla="*/ 238186 w 729419"/>
              <a:gd name="csY168" fmla="*/ 2046096 h 2076207"/>
              <a:gd name="csX169" fmla="*/ 342155 w 729419"/>
              <a:gd name="csY169" fmla="*/ 2046441 h 2076207"/>
              <a:gd name="csX170" fmla="*/ 378900 w 729419"/>
              <a:gd name="csY170" fmla="*/ 2007280 h 2076207"/>
              <a:gd name="csX171" fmla="*/ 310220 w 729419"/>
              <a:gd name="csY171" fmla="*/ 554288 h 2076207"/>
              <a:gd name="csX172" fmla="*/ 259136 w 729419"/>
              <a:gd name="csY172" fmla="*/ 556881 h 2076207"/>
              <a:gd name="csX173" fmla="*/ 249085 w 729419"/>
              <a:gd name="csY173" fmla="*/ 567981 h 2076207"/>
              <a:gd name="csX174" fmla="*/ 249141 w 729419"/>
              <a:gd name="csY174" fmla="*/ 605644 h 2076207"/>
              <a:gd name="csX175" fmla="*/ 262628 w 729419"/>
              <a:gd name="csY175" fmla="*/ 605627 h 2076207"/>
              <a:gd name="csX176" fmla="*/ 369608 w 729419"/>
              <a:gd name="csY176" fmla="*/ 603027 h 2076207"/>
              <a:gd name="csX177" fmla="*/ 463931 w 729419"/>
              <a:gd name="csY177" fmla="*/ 605146 h 2076207"/>
              <a:gd name="csX178" fmla="*/ 478113 w 729419"/>
              <a:gd name="csY178" fmla="*/ 595843 h 2076207"/>
              <a:gd name="csX179" fmla="*/ 478796 w 729419"/>
              <a:gd name="csY179" fmla="*/ 556832 h 2076207"/>
              <a:gd name="csX180" fmla="*/ 310220 w 729419"/>
              <a:gd name="csY180" fmla="*/ 554288 h 2076207"/>
              <a:gd name="csX181" fmla="*/ 348836 w 729419"/>
              <a:gd name="csY181" fmla="*/ 684115 h 2076207"/>
              <a:gd name="csX182" fmla="*/ 281333 w 729419"/>
              <a:gd name="csY182" fmla="*/ 683313 h 2076207"/>
              <a:gd name="csX183" fmla="*/ 212728 w 729419"/>
              <a:gd name="csY183" fmla="*/ 681931 h 2076207"/>
              <a:gd name="csX184" fmla="*/ 187283 w 729419"/>
              <a:gd name="csY184" fmla="*/ 689555 h 2076207"/>
              <a:gd name="csX185" fmla="*/ 186163 w 729419"/>
              <a:gd name="csY185" fmla="*/ 718266 h 2076207"/>
              <a:gd name="csX186" fmla="*/ 209894 w 729419"/>
              <a:gd name="csY186" fmla="*/ 726798 h 2076207"/>
              <a:gd name="csX187" fmla="*/ 334814 w 729419"/>
              <a:gd name="csY187" fmla="*/ 732494 h 2076207"/>
              <a:gd name="csX188" fmla="*/ 364856 w 729419"/>
              <a:gd name="csY188" fmla="*/ 707963 h 2076207"/>
              <a:gd name="csX189" fmla="*/ 348836 w 729419"/>
              <a:gd name="csY189" fmla="*/ 684115 h 2076207"/>
              <a:gd name="csX190" fmla="*/ 298865 w 729419"/>
              <a:gd name="csY190" fmla="*/ 621954 h 2076207"/>
              <a:gd name="csX191" fmla="*/ 251619 w 729419"/>
              <a:gd name="csY191" fmla="*/ 622133 h 2076207"/>
              <a:gd name="csX192" fmla="*/ 214459 w 729419"/>
              <a:gd name="csY192" fmla="*/ 636230 h 2076207"/>
              <a:gd name="csX193" fmla="*/ 221436 w 729419"/>
              <a:gd name="csY193" fmla="*/ 654205 h 2076207"/>
              <a:gd name="csX194" fmla="*/ 272412 w 729419"/>
              <a:gd name="csY194" fmla="*/ 657250 h 2076207"/>
              <a:gd name="csX195" fmla="*/ 349094 w 729419"/>
              <a:gd name="csY195" fmla="*/ 659282 h 2076207"/>
              <a:gd name="csX196" fmla="*/ 362996 w 729419"/>
              <a:gd name="csY196" fmla="*/ 644234 h 2076207"/>
              <a:gd name="csX197" fmla="*/ 348472 w 729419"/>
              <a:gd name="csY197" fmla="*/ 624649 h 2076207"/>
              <a:gd name="csX198" fmla="*/ 298865 w 729419"/>
              <a:gd name="csY198" fmla="*/ 621954 h 2076207"/>
              <a:gd name="csX199" fmla="*/ 227796 w 729419"/>
              <a:gd name="csY199" fmla="*/ 528000 h 2076207"/>
              <a:gd name="csX200" fmla="*/ 241009 w 729419"/>
              <a:gd name="csY200" fmla="*/ 545897 h 2076207"/>
              <a:gd name="csX201" fmla="*/ 282607 w 729419"/>
              <a:gd name="csY201" fmla="*/ 543480 h 2076207"/>
              <a:gd name="csX202" fmla="*/ 354213 w 729419"/>
              <a:gd name="csY202" fmla="*/ 543384 h 2076207"/>
              <a:gd name="csX203" fmla="*/ 365334 w 729419"/>
              <a:gd name="csY203" fmla="*/ 533397 h 2076207"/>
              <a:gd name="csX204" fmla="*/ 354531 w 729419"/>
              <a:gd name="csY204" fmla="*/ 521620 h 2076207"/>
              <a:gd name="csX205" fmla="*/ 259169 w 729419"/>
              <a:gd name="csY205" fmla="*/ 521978 h 2076207"/>
              <a:gd name="csX206" fmla="*/ 227796 w 729419"/>
              <a:gd name="csY206" fmla="*/ 528000 h 2076207"/>
              <a:gd name="csX207" fmla="*/ 508068 w 729419"/>
              <a:gd name="csY207" fmla="*/ 190710 h 2076207"/>
              <a:gd name="csX208" fmla="*/ 521293 w 729419"/>
              <a:gd name="csY208" fmla="*/ 205907 h 2076207"/>
              <a:gd name="csX209" fmla="*/ 525175 w 729419"/>
              <a:gd name="csY209" fmla="*/ 202985 h 2076207"/>
              <a:gd name="csX210" fmla="*/ 500276 w 729419"/>
              <a:gd name="csY210" fmla="*/ 160640 h 2076207"/>
              <a:gd name="csX211" fmla="*/ 497122 w 729419"/>
              <a:gd name="csY211" fmla="*/ 162007 h 2076207"/>
              <a:gd name="csX212" fmla="*/ 508068 w 729419"/>
              <a:gd name="csY212" fmla="*/ 190710 h 2076207"/>
              <a:gd name="csX213" fmla="*/ 215522 w 729419"/>
              <a:gd name="csY213" fmla="*/ 197296 h 2076207"/>
              <a:gd name="csX214" fmla="*/ 234029 w 729419"/>
              <a:gd name="csY214" fmla="*/ 162725 h 2076207"/>
              <a:gd name="csX215" fmla="*/ 229000 w 729419"/>
              <a:gd name="csY215" fmla="*/ 159902 h 2076207"/>
              <a:gd name="csX216" fmla="*/ 204824 w 729419"/>
              <a:gd name="csY216" fmla="*/ 199677 h 2076207"/>
              <a:gd name="csX217" fmla="*/ 207990 w 729419"/>
              <a:gd name="csY217" fmla="*/ 202198 h 2076207"/>
              <a:gd name="csX218" fmla="*/ 215522 w 729419"/>
              <a:gd name="csY218" fmla="*/ 197296 h 2076207"/>
              <a:gd name="csX219" fmla="*/ 484400 w 729419"/>
              <a:gd name="csY219" fmla="*/ 863693 h 2076207"/>
              <a:gd name="csX220" fmla="*/ 484400 w 729419"/>
              <a:gd name="csY220" fmla="*/ 896678 h 2076207"/>
              <a:gd name="csX221" fmla="*/ 486181 w 729419"/>
              <a:gd name="csY221" fmla="*/ 896585 h 2076207"/>
              <a:gd name="csX222" fmla="*/ 486181 w 729419"/>
              <a:gd name="csY222" fmla="*/ 795289 h 2076207"/>
              <a:gd name="csX223" fmla="*/ 484406 w 729419"/>
              <a:gd name="csY223" fmla="*/ 795283 h 2076207"/>
              <a:gd name="csX224" fmla="*/ 484400 w 729419"/>
              <a:gd name="csY224" fmla="*/ 863693 h 2076207"/>
              <a:gd name="csX225" fmla="*/ 720241 w 729419"/>
              <a:gd name="csY225" fmla="*/ 2030666 h 2076207"/>
              <a:gd name="csX226" fmla="*/ 721175 w 729419"/>
              <a:gd name="csY226" fmla="*/ 2029733 h 2076207"/>
              <a:gd name="csX227" fmla="*/ 720241 w 729419"/>
              <a:gd name="csY227" fmla="*/ 2030666 h 2076207"/>
              <a:gd name="csX228" fmla="*/ 715702 w 729419"/>
              <a:gd name="csY228" fmla="*/ 2037051 h 2076207"/>
              <a:gd name="csX229" fmla="*/ 715702 w 729419"/>
              <a:gd name="csY229" fmla="*/ 2037051 h 2076207"/>
              <a:gd name="csX230" fmla="*/ 709953 w 729419"/>
              <a:gd name="csY230" fmla="*/ 2040017 h 2076207"/>
              <a:gd name="csX231" fmla="*/ 710209 w 729419"/>
              <a:gd name="csY231" fmla="*/ 2039597 h 2076207"/>
              <a:gd name="csX232" fmla="*/ 709953 w 729419"/>
              <a:gd name="csY232" fmla="*/ 2040017 h 2076207"/>
              <a:gd name="csX0" fmla="*/ 96263 w 729419"/>
              <a:gd name="csY0" fmla="*/ 2076207 h 2076207"/>
              <a:gd name="csX1" fmla="*/ 63862 w 729419"/>
              <a:gd name="csY1" fmla="*/ 2065388 h 2076207"/>
              <a:gd name="csX2" fmla="*/ 16555 w 729419"/>
              <a:gd name="csY2" fmla="*/ 2050152 h 2076207"/>
              <a:gd name="csX3" fmla="*/ 15 w 729419"/>
              <a:gd name="csY3" fmla="*/ 2023802 h 2076207"/>
              <a:gd name="csX4" fmla="*/ 18368 w 729419"/>
              <a:gd name="csY4" fmla="*/ 1940709 h 2076207"/>
              <a:gd name="csX5" fmla="*/ 22139 w 729419"/>
              <a:gd name="csY5" fmla="*/ 1907268 h 2076207"/>
              <a:gd name="csX6" fmla="*/ 57941 w 729419"/>
              <a:gd name="csY6" fmla="*/ 1774163 h 2076207"/>
              <a:gd name="csX7" fmla="*/ 102478 w 729419"/>
              <a:gd name="csY7" fmla="*/ 1720275 h 2076207"/>
              <a:gd name="csX8" fmla="*/ 108579 w 729419"/>
              <a:gd name="csY8" fmla="*/ 1650967 h 2076207"/>
              <a:gd name="csX9" fmla="*/ 115628 w 729419"/>
              <a:gd name="csY9" fmla="*/ 1625405 h 2076207"/>
              <a:gd name="csX10" fmla="*/ 156323 w 729419"/>
              <a:gd name="csY10" fmla="*/ 1560181 h 2076207"/>
              <a:gd name="csX11" fmla="*/ 199424 w 729419"/>
              <a:gd name="csY11" fmla="*/ 1364729 h 2076207"/>
              <a:gd name="csX12" fmla="*/ 216779 w 729419"/>
              <a:gd name="csY12" fmla="*/ 1219490 h 2076207"/>
              <a:gd name="csX13" fmla="*/ 229755 w 729419"/>
              <a:gd name="csY13" fmla="*/ 1099357 h 2076207"/>
              <a:gd name="csX14" fmla="*/ 232707 w 729419"/>
              <a:gd name="csY14" fmla="*/ 1056423 h 2076207"/>
              <a:gd name="csX15" fmla="*/ 235622 w 729419"/>
              <a:gd name="csY15" fmla="*/ 952675 h 2076207"/>
              <a:gd name="csX16" fmla="*/ 235445 w 729419"/>
              <a:gd name="csY16" fmla="*/ 780278 h 2076207"/>
              <a:gd name="csX17" fmla="*/ 214544 w 729419"/>
              <a:gd name="csY17" fmla="*/ 756435 h 2076207"/>
              <a:gd name="csX18" fmla="*/ 172569 w 729419"/>
              <a:gd name="csY18" fmla="*/ 742582 h 2076207"/>
              <a:gd name="csX19" fmla="*/ 168784 w 729419"/>
              <a:gd name="csY19" fmla="*/ 669116 h 2076207"/>
              <a:gd name="csX20" fmla="*/ 191657 w 729419"/>
              <a:gd name="csY20" fmla="*/ 630765 h 2076207"/>
              <a:gd name="csX21" fmla="*/ 208150 w 729419"/>
              <a:gd name="csY21" fmla="*/ 609084 h 2076207"/>
              <a:gd name="csX22" fmla="*/ 216756 w 729419"/>
              <a:gd name="csY22" fmla="*/ 558673 h 2076207"/>
              <a:gd name="csX23" fmla="*/ 209092 w 729419"/>
              <a:gd name="csY23" fmla="*/ 521540 h 2076207"/>
              <a:gd name="csX24" fmla="*/ 204683 w 729419"/>
              <a:gd name="csY24" fmla="*/ 474024 h 2076207"/>
              <a:gd name="csX25" fmla="*/ 115483 w 729419"/>
              <a:gd name="csY25" fmla="*/ 213499 h 2076207"/>
              <a:gd name="csX26" fmla="*/ 102909 w 729419"/>
              <a:gd name="csY26" fmla="*/ 182297 h 2076207"/>
              <a:gd name="csX27" fmla="*/ 104315 w 729419"/>
              <a:gd name="csY27" fmla="*/ 163968 h 2076207"/>
              <a:gd name="csX28" fmla="*/ 122444 w 729419"/>
              <a:gd name="csY28" fmla="*/ 160805 h 2076207"/>
              <a:gd name="csX29" fmla="*/ 170283 w 729419"/>
              <a:gd name="csY29" fmla="*/ 187783 h 2076207"/>
              <a:gd name="csX30" fmla="*/ 180938 w 729419"/>
              <a:gd name="csY30" fmla="*/ 195322 h 2076207"/>
              <a:gd name="csX31" fmla="*/ 221419 w 729419"/>
              <a:gd name="csY31" fmla="*/ 138058 h 2076207"/>
              <a:gd name="csX32" fmla="*/ 294099 w 729419"/>
              <a:gd name="csY32" fmla="*/ 91372 h 2076207"/>
              <a:gd name="csX33" fmla="*/ 302307 w 729419"/>
              <a:gd name="csY33" fmla="*/ 76560 h 2076207"/>
              <a:gd name="csX34" fmla="*/ 320284 w 729419"/>
              <a:gd name="csY34" fmla="*/ 8414 h 2076207"/>
              <a:gd name="csX35" fmla="*/ 324784 w 729419"/>
              <a:gd name="csY35" fmla="*/ 946 h 2076207"/>
              <a:gd name="csX36" fmla="*/ 399212 w 729419"/>
              <a:gd name="csY36" fmla="*/ 0 h 2076207"/>
              <a:gd name="csX37" fmla="*/ 425980 w 729419"/>
              <a:gd name="csY37" fmla="*/ 78301 h 2076207"/>
              <a:gd name="csX38" fmla="*/ 431861 w 729419"/>
              <a:gd name="csY38" fmla="*/ 90312 h 2076207"/>
              <a:gd name="csX39" fmla="*/ 540349 w 729419"/>
              <a:gd name="csY39" fmla="*/ 187946 h 2076207"/>
              <a:gd name="csX40" fmla="*/ 545555 w 729419"/>
              <a:gd name="csY40" fmla="*/ 197828 h 2076207"/>
              <a:gd name="csX41" fmla="*/ 587318 w 729419"/>
              <a:gd name="csY41" fmla="*/ 171260 h 2076207"/>
              <a:gd name="csX42" fmla="*/ 601503 w 729419"/>
              <a:gd name="csY42" fmla="*/ 163707 h 2076207"/>
              <a:gd name="csX43" fmla="*/ 625254 w 729419"/>
              <a:gd name="csY43" fmla="*/ 163123 h 2076207"/>
              <a:gd name="csX44" fmla="*/ 625468 w 729419"/>
              <a:gd name="csY44" fmla="*/ 187579 h 2076207"/>
              <a:gd name="csX45" fmla="*/ 597543 w 729419"/>
              <a:gd name="csY45" fmla="*/ 251872 h 2076207"/>
              <a:gd name="csX46" fmla="*/ 531831 w 729419"/>
              <a:gd name="csY46" fmla="*/ 442689 h 2076207"/>
              <a:gd name="csX47" fmla="*/ 519888 w 729419"/>
              <a:gd name="csY47" fmla="*/ 501474 h 2076207"/>
              <a:gd name="csX48" fmla="*/ 522506 w 729419"/>
              <a:gd name="csY48" fmla="*/ 525086 h 2076207"/>
              <a:gd name="csX49" fmla="*/ 516235 w 729419"/>
              <a:gd name="csY49" fmla="*/ 555946 h 2076207"/>
              <a:gd name="csX50" fmla="*/ 521332 w 729419"/>
              <a:gd name="csY50" fmla="*/ 610676 h 2076207"/>
              <a:gd name="csX51" fmla="*/ 541382 w 729419"/>
              <a:gd name="csY51" fmla="*/ 642597 h 2076207"/>
              <a:gd name="csX52" fmla="*/ 557031 w 729419"/>
              <a:gd name="csY52" fmla="*/ 667949 h 2076207"/>
              <a:gd name="csX53" fmla="*/ 553994 w 729419"/>
              <a:gd name="csY53" fmla="*/ 744146 h 2076207"/>
              <a:gd name="csX54" fmla="*/ 508215 w 729419"/>
              <a:gd name="csY54" fmla="*/ 758841 h 2076207"/>
              <a:gd name="csX55" fmla="*/ 497442 w 729419"/>
              <a:gd name="csY55" fmla="*/ 771256 h 2076207"/>
              <a:gd name="csX56" fmla="*/ 493005 w 729419"/>
              <a:gd name="csY56" fmla="*/ 922055 h 2076207"/>
              <a:gd name="csX57" fmla="*/ 502900 w 729419"/>
              <a:gd name="csY57" fmla="*/ 1114191 h 2076207"/>
              <a:gd name="csX58" fmla="*/ 508800 w 729419"/>
              <a:gd name="csY58" fmla="*/ 1205474 h 2076207"/>
              <a:gd name="csX59" fmla="*/ 522952 w 729419"/>
              <a:gd name="csY59" fmla="*/ 1320065 h 2076207"/>
              <a:gd name="csX60" fmla="*/ 554682 w 729419"/>
              <a:gd name="csY60" fmla="*/ 1501203 h 2076207"/>
              <a:gd name="csX61" fmla="*/ 576958 w 729419"/>
              <a:gd name="csY61" fmla="*/ 1593963 h 2076207"/>
              <a:gd name="csX62" fmla="*/ 595349 w 729419"/>
              <a:gd name="csY62" fmla="*/ 1613498 h 2076207"/>
              <a:gd name="csX63" fmla="*/ 613936 w 729419"/>
              <a:gd name="csY63" fmla="*/ 1624058 h 2076207"/>
              <a:gd name="csX64" fmla="*/ 620938 w 729419"/>
              <a:gd name="csY64" fmla="*/ 1652071 h 2076207"/>
              <a:gd name="csX65" fmla="*/ 630805 w 729419"/>
              <a:gd name="csY65" fmla="*/ 1721702 h 2076207"/>
              <a:gd name="csX66" fmla="*/ 685830 w 729419"/>
              <a:gd name="csY66" fmla="*/ 1792915 h 2076207"/>
              <a:gd name="csX67" fmla="*/ 708904 w 729419"/>
              <a:gd name="csY67" fmla="*/ 1890290 h 2076207"/>
              <a:gd name="csX68" fmla="*/ 716580 w 729419"/>
              <a:gd name="csY68" fmla="*/ 1951136 h 2076207"/>
              <a:gd name="csX69" fmla="*/ 729397 w 729419"/>
              <a:gd name="csY69" fmla="*/ 2030261 h 2076207"/>
              <a:gd name="csX70" fmla="*/ 714212 w 729419"/>
              <a:gd name="csY70" fmla="*/ 2049544 h 2076207"/>
              <a:gd name="csX71" fmla="*/ 645428 w 729419"/>
              <a:gd name="csY71" fmla="*/ 2070825 h 2076207"/>
              <a:gd name="csX72" fmla="*/ 635822 w 729419"/>
              <a:gd name="csY72" fmla="*/ 2075145 h 2076207"/>
              <a:gd name="csX73" fmla="*/ 588428 w 729419"/>
              <a:gd name="csY73" fmla="*/ 2075144 h 2076207"/>
              <a:gd name="csX74" fmla="*/ 590041 w 729419"/>
              <a:gd name="csY74" fmla="*/ 2071383 h 2076207"/>
              <a:gd name="csX75" fmla="*/ 667788 w 729419"/>
              <a:gd name="csY75" fmla="*/ 2056852 h 2076207"/>
              <a:gd name="csX76" fmla="*/ 706629 w 729419"/>
              <a:gd name="csY76" fmla="*/ 2044290 h 2076207"/>
              <a:gd name="csX77" fmla="*/ 702674 w 729419"/>
              <a:gd name="csY77" fmla="*/ 2041581 h 2076207"/>
              <a:gd name="csX78" fmla="*/ 544974 w 729419"/>
              <a:gd name="csY78" fmla="*/ 2071274 h 2076207"/>
              <a:gd name="csX79" fmla="*/ 538352 w 729419"/>
              <a:gd name="csY79" fmla="*/ 2076207 h 2076207"/>
              <a:gd name="csX80" fmla="*/ 96263 w 729419"/>
              <a:gd name="csY80" fmla="*/ 2076207 h 2076207"/>
              <a:gd name="csX81" fmla="*/ 489970 w 729419"/>
              <a:gd name="csY81" fmla="*/ 152208 h 2076207"/>
              <a:gd name="csX82" fmla="*/ 490754 w 729419"/>
              <a:gd name="csY82" fmla="*/ 152592 h 2076207"/>
              <a:gd name="csX83" fmla="*/ 489489 w 729419"/>
              <a:gd name="csY83" fmla="*/ 149547 h 2076207"/>
              <a:gd name="csX84" fmla="*/ 393621 w 729419"/>
              <a:gd name="csY84" fmla="*/ 99259 h 2076207"/>
              <a:gd name="csX85" fmla="*/ 390419 w 729419"/>
              <a:gd name="csY85" fmla="*/ 18568 h 2076207"/>
              <a:gd name="csX86" fmla="*/ 334131 w 729419"/>
              <a:gd name="csY86" fmla="*/ 24327 h 2076207"/>
              <a:gd name="csX87" fmla="*/ 344678 w 729419"/>
              <a:gd name="csY87" fmla="*/ 101259 h 2076207"/>
              <a:gd name="csX88" fmla="*/ 298854 w 729419"/>
              <a:gd name="csY88" fmla="*/ 114003 h 2076207"/>
              <a:gd name="csX89" fmla="*/ 237456 w 729419"/>
              <a:gd name="csY89" fmla="*/ 154340 h 2076207"/>
              <a:gd name="csX90" fmla="*/ 240382 w 729419"/>
              <a:gd name="csY90" fmla="*/ 154035 h 2076207"/>
              <a:gd name="csX91" fmla="*/ 262731 w 729419"/>
              <a:gd name="csY91" fmla="*/ 170426 h 2076207"/>
              <a:gd name="csX92" fmla="*/ 279169 w 729419"/>
              <a:gd name="csY92" fmla="*/ 193173 h 2076207"/>
              <a:gd name="csX93" fmla="*/ 327717 w 729419"/>
              <a:gd name="csY93" fmla="*/ 188556 h 2076207"/>
              <a:gd name="csX94" fmla="*/ 348052 w 729419"/>
              <a:gd name="csY94" fmla="*/ 156919 h 2076207"/>
              <a:gd name="csX95" fmla="*/ 380330 w 729419"/>
              <a:gd name="csY95" fmla="*/ 156483 h 2076207"/>
              <a:gd name="csX96" fmla="*/ 408490 w 729419"/>
              <a:gd name="csY96" fmla="*/ 195400 h 2076207"/>
              <a:gd name="csX97" fmla="*/ 445346 w 729419"/>
              <a:gd name="csY97" fmla="*/ 197582 h 2076207"/>
              <a:gd name="csX98" fmla="*/ 464798 w 729419"/>
              <a:gd name="csY98" fmla="*/ 174107 h 2076207"/>
              <a:gd name="csX99" fmla="*/ 489970 w 729419"/>
              <a:gd name="csY99" fmla="*/ 152208 h 2076207"/>
              <a:gd name="csX100" fmla="*/ 140694 w 729419"/>
              <a:gd name="csY100" fmla="*/ 201837 h 2076207"/>
              <a:gd name="csX101" fmla="*/ 139834 w 729419"/>
              <a:gd name="csY101" fmla="*/ 201482 h 2076207"/>
              <a:gd name="csX102" fmla="*/ 140812 w 729419"/>
              <a:gd name="csY102" fmla="*/ 204941 h 2076207"/>
              <a:gd name="csX103" fmla="*/ 144631 w 729419"/>
              <a:gd name="csY103" fmla="*/ 217811 h 2076207"/>
              <a:gd name="csX104" fmla="*/ 201241 w 729419"/>
              <a:gd name="csY104" fmla="*/ 373387 h 2076207"/>
              <a:gd name="csX105" fmla="*/ 235971 w 729419"/>
              <a:gd name="csY105" fmla="*/ 504451 h 2076207"/>
              <a:gd name="csX106" fmla="*/ 247475 w 729419"/>
              <a:gd name="csY106" fmla="*/ 513241 h 2076207"/>
              <a:gd name="csX107" fmla="*/ 289066 w 729419"/>
              <a:gd name="csY107" fmla="*/ 511170 h 2076207"/>
              <a:gd name="csX108" fmla="*/ 378229 w 729419"/>
              <a:gd name="csY108" fmla="*/ 511084 h 2076207"/>
              <a:gd name="csX109" fmla="*/ 470850 w 729419"/>
              <a:gd name="csY109" fmla="*/ 516341 h 2076207"/>
              <a:gd name="csX110" fmla="*/ 492933 w 729419"/>
              <a:gd name="csY110" fmla="*/ 497969 h 2076207"/>
              <a:gd name="csX111" fmla="*/ 557617 w 729419"/>
              <a:gd name="csY111" fmla="*/ 280398 h 2076207"/>
              <a:gd name="csX112" fmla="*/ 588788 w 729419"/>
              <a:gd name="csY112" fmla="*/ 200385 h 2076207"/>
              <a:gd name="csX113" fmla="*/ 530958 w 729419"/>
              <a:gd name="csY113" fmla="*/ 232968 h 2076207"/>
              <a:gd name="csX114" fmla="*/ 483823 w 729419"/>
              <a:gd name="csY114" fmla="*/ 190364 h 2076207"/>
              <a:gd name="csX115" fmla="*/ 466649 w 729419"/>
              <a:gd name="csY115" fmla="*/ 209061 h 2076207"/>
              <a:gd name="csX116" fmla="*/ 399941 w 729419"/>
              <a:gd name="csY116" fmla="*/ 216988 h 2076207"/>
              <a:gd name="csX117" fmla="*/ 363018 w 729419"/>
              <a:gd name="csY117" fmla="*/ 179615 h 2076207"/>
              <a:gd name="csX118" fmla="*/ 308839 w 729419"/>
              <a:gd name="csY118" fmla="*/ 227846 h 2076207"/>
              <a:gd name="csX119" fmla="*/ 245077 w 729419"/>
              <a:gd name="csY119" fmla="*/ 192402 h 2076207"/>
              <a:gd name="csX120" fmla="*/ 242829 w 729419"/>
              <a:gd name="csY120" fmla="*/ 198815 h 2076207"/>
              <a:gd name="csX121" fmla="*/ 168452 w 729419"/>
              <a:gd name="csY121" fmla="*/ 219348 h 2076207"/>
              <a:gd name="csX122" fmla="*/ 140694 w 729419"/>
              <a:gd name="csY122" fmla="*/ 201837 h 2076207"/>
              <a:gd name="csX123" fmla="*/ 259999 w 729419"/>
              <a:gd name="csY123" fmla="*/ 966699 h 2076207"/>
              <a:gd name="csX124" fmla="*/ 257072 w 729419"/>
              <a:gd name="csY124" fmla="*/ 1070424 h 2076207"/>
              <a:gd name="csX125" fmla="*/ 251372 w 729419"/>
              <a:gd name="csY125" fmla="*/ 1157618 h 2076207"/>
              <a:gd name="csX126" fmla="*/ 232677 w 729419"/>
              <a:gd name="csY126" fmla="*/ 1320279 h 2076207"/>
              <a:gd name="csX127" fmla="*/ 209182 w 729419"/>
              <a:gd name="csY127" fmla="*/ 1468667 h 2076207"/>
              <a:gd name="csX128" fmla="*/ 175302 w 729419"/>
              <a:gd name="csY128" fmla="*/ 1616623 h 2076207"/>
              <a:gd name="csX129" fmla="*/ 182769 w 729419"/>
              <a:gd name="csY129" fmla="*/ 1629786 h 2076207"/>
              <a:gd name="csX130" fmla="*/ 212156 w 729419"/>
              <a:gd name="csY130" fmla="*/ 1632656 h 2076207"/>
              <a:gd name="csX131" fmla="*/ 351295 w 729419"/>
              <a:gd name="csY131" fmla="*/ 1632801 h 2076207"/>
              <a:gd name="csX132" fmla="*/ 376150 w 729419"/>
              <a:gd name="csY132" fmla="*/ 1608307 h 2076207"/>
              <a:gd name="csX133" fmla="*/ 373450 w 729419"/>
              <a:gd name="csY133" fmla="*/ 1457291 h 2076207"/>
              <a:gd name="csX134" fmla="*/ 370936 w 729419"/>
              <a:gd name="csY134" fmla="*/ 1342736 h 2076207"/>
              <a:gd name="csX135" fmla="*/ 368328 w 729419"/>
              <a:gd name="csY135" fmla="*/ 1203878 h 2076207"/>
              <a:gd name="csX136" fmla="*/ 367836 w 729419"/>
              <a:gd name="csY136" fmla="*/ 813478 h 2076207"/>
              <a:gd name="csX137" fmla="*/ 365240 w 729419"/>
              <a:gd name="csY137" fmla="*/ 773243 h 2076207"/>
              <a:gd name="csX138" fmla="*/ 353084 w 729419"/>
              <a:gd name="csY138" fmla="*/ 762083 h 2076207"/>
              <a:gd name="csX139" fmla="*/ 280966 w 729419"/>
              <a:gd name="csY139" fmla="*/ 759855 h 2076207"/>
              <a:gd name="csX140" fmla="*/ 259965 w 729419"/>
              <a:gd name="csY140" fmla="*/ 779553 h 2076207"/>
              <a:gd name="csX141" fmla="*/ 262341 w 729419"/>
              <a:gd name="csY141" fmla="*/ 856275 h 2076207"/>
              <a:gd name="csX142" fmla="*/ 259999 w 729419"/>
              <a:gd name="csY142" fmla="*/ 966699 h 2076207"/>
              <a:gd name="csX143" fmla="*/ 55556 w 729419"/>
              <a:gd name="csY143" fmla="*/ 1835827 h 2076207"/>
              <a:gd name="csX144" fmla="*/ 49393 w 729419"/>
              <a:gd name="csY144" fmla="*/ 1878155 h 2076207"/>
              <a:gd name="csX145" fmla="*/ 73949 w 729419"/>
              <a:gd name="csY145" fmla="*/ 1905781 h 2076207"/>
              <a:gd name="csX146" fmla="*/ 110073 w 729419"/>
              <a:gd name="csY146" fmla="*/ 1909068 h 2076207"/>
              <a:gd name="csX147" fmla="*/ 224745 w 729419"/>
              <a:gd name="csY147" fmla="*/ 1921652 h 2076207"/>
              <a:gd name="csX148" fmla="*/ 347327 w 729419"/>
              <a:gd name="csY148" fmla="*/ 1924778 h 2076207"/>
              <a:gd name="csX149" fmla="*/ 363345 w 729419"/>
              <a:gd name="csY149" fmla="*/ 1923293 h 2076207"/>
              <a:gd name="csX150" fmla="*/ 373787 w 729419"/>
              <a:gd name="csY150" fmla="*/ 1911200 h 2076207"/>
              <a:gd name="csX151" fmla="*/ 376623 w 729419"/>
              <a:gd name="csY151" fmla="*/ 1696741 h 2076207"/>
              <a:gd name="csX152" fmla="*/ 360437 w 729419"/>
              <a:gd name="csY152" fmla="*/ 1681289 h 2076207"/>
              <a:gd name="csX153" fmla="*/ 263503 w 729419"/>
              <a:gd name="csY153" fmla="*/ 1678179 h 2076207"/>
              <a:gd name="csX154" fmla="*/ 160381 w 729419"/>
              <a:gd name="csY154" fmla="*/ 1670405 h 2076207"/>
              <a:gd name="csX155" fmla="*/ 143321 w 729419"/>
              <a:gd name="csY155" fmla="*/ 1685538 h 2076207"/>
              <a:gd name="csX156" fmla="*/ 124769 w 729419"/>
              <a:gd name="csY156" fmla="*/ 1738195 h 2076207"/>
              <a:gd name="csX157" fmla="*/ 90593 w 729419"/>
              <a:gd name="csY157" fmla="*/ 1779570 h 2076207"/>
              <a:gd name="csX158" fmla="*/ 55556 w 729419"/>
              <a:gd name="csY158" fmla="*/ 1835827 h 2076207"/>
              <a:gd name="csX159" fmla="*/ 378900 w 729419"/>
              <a:gd name="csY159" fmla="*/ 2007280 h 2076207"/>
              <a:gd name="csX160" fmla="*/ 378887 w 729419"/>
              <a:gd name="csY160" fmla="*/ 1995127 h 2076207"/>
              <a:gd name="csX161" fmla="*/ 359084 w 729419"/>
              <a:gd name="csY161" fmla="*/ 1975964 h 2076207"/>
              <a:gd name="csX162" fmla="*/ 247288 w 729419"/>
              <a:gd name="csY162" fmla="*/ 1973305 h 2076207"/>
              <a:gd name="csX163" fmla="*/ 201692 w 729419"/>
              <a:gd name="csY163" fmla="*/ 1970275 h 2076207"/>
              <a:gd name="csX164" fmla="*/ 57962 w 729419"/>
              <a:gd name="csY164" fmla="*/ 1952648 h 2076207"/>
              <a:gd name="csX165" fmla="*/ 39194 w 729419"/>
              <a:gd name="csY165" fmla="*/ 1963552 h 2076207"/>
              <a:gd name="csX166" fmla="*/ 30066 w 729419"/>
              <a:gd name="csY166" fmla="*/ 2006631 h 2076207"/>
              <a:gd name="csX167" fmla="*/ 40232 w 729419"/>
              <a:gd name="csY167" fmla="*/ 2019486 h 2076207"/>
              <a:gd name="csX168" fmla="*/ 238186 w 729419"/>
              <a:gd name="csY168" fmla="*/ 2046096 h 2076207"/>
              <a:gd name="csX169" fmla="*/ 342155 w 729419"/>
              <a:gd name="csY169" fmla="*/ 2046441 h 2076207"/>
              <a:gd name="csX170" fmla="*/ 378900 w 729419"/>
              <a:gd name="csY170" fmla="*/ 2007280 h 2076207"/>
              <a:gd name="csX171" fmla="*/ 310220 w 729419"/>
              <a:gd name="csY171" fmla="*/ 554288 h 2076207"/>
              <a:gd name="csX172" fmla="*/ 259136 w 729419"/>
              <a:gd name="csY172" fmla="*/ 556881 h 2076207"/>
              <a:gd name="csX173" fmla="*/ 249085 w 729419"/>
              <a:gd name="csY173" fmla="*/ 567981 h 2076207"/>
              <a:gd name="csX174" fmla="*/ 249141 w 729419"/>
              <a:gd name="csY174" fmla="*/ 605644 h 2076207"/>
              <a:gd name="csX175" fmla="*/ 262628 w 729419"/>
              <a:gd name="csY175" fmla="*/ 605627 h 2076207"/>
              <a:gd name="csX176" fmla="*/ 369608 w 729419"/>
              <a:gd name="csY176" fmla="*/ 603027 h 2076207"/>
              <a:gd name="csX177" fmla="*/ 463931 w 729419"/>
              <a:gd name="csY177" fmla="*/ 605146 h 2076207"/>
              <a:gd name="csX178" fmla="*/ 478113 w 729419"/>
              <a:gd name="csY178" fmla="*/ 595843 h 2076207"/>
              <a:gd name="csX179" fmla="*/ 478796 w 729419"/>
              <a:gd name="csY179" fmla="*/ 556832 h 2076207"/>
              <a:gd name="csX180" fmla="*/ 310220 w 729419"/>
              <a:gd name="csY180" fmla="*/ 554288 h 2076207"/>
              <a:gd name="csX181" fmla="*/ 348836 w 729419"/>
              <a:gd name="csY181" fmla="*/ 684115 h 2076207"/>
              <a:gd name="csX182" fmla="*/ 281333 w 729419"/>
              <a:gd name="csY182" fmla="*/ 683313 h 2076207"/>
              <a:gd name="csX183" fmla="*/ 212728 w 729419"/>
              <a:gd name="csY183" fmla="*/ 681931 h 2076207"/>
              <a:gd name="csX184" fmla="*/ 187283 w 729419"/>
              <a:gd name="csY184" fmla="*/ 689555 h 2076207"/>
              <a:gd name="csX185" fmla="*/ 186163 w 729419"/>
              <a:gd name="csY185" fmla="*/ 718266 h 2076207"/>
              <a:gd name="csX186" fmla="*/ 209894 w 729419"/>
              <a:gd name="csY186" fmla="*/ 726798 h 2076207"/>
              <a:gd name="csX187" fmla="*/ 334814 w 729419"/>
              <a:gd name="csY187" fmla="*/ 732494 h 2076207"/>
              <a:gd name="csX188" fmla="*/ 364856 w 729419"/>
              <a:gd name="csY188" fmla="*/ 707963 h 2076207"/>
              <a:gd name="csX189" fmla="*/ 348836 w 729419"/>
              <a:gd name="csY189" fmla="*/ 684115 h 2076207"/>
              <a:gd name="csX190" fmla="*/ 298865 w 729419"/>
              <a:gd name="csY190" fmla="*/ 621954 h 2076207"/>
              <a:gd name="csX191" fmla="*/ 251619 w 729419"/>
              <a:gd name="csY191" fmla="*/ 622133 h 2076207"/>
              <a:gd name="csX192" fmla="*/ 214459 w 729419"/>
              <a:gd name="csY192" fmla="*/ 636230 h 2076207"/>
              <a:gd name="csX193" fmla="*/ 221436 w 729419"/>
              <a:gd name="csY193" fmla="*/ 654205 h 2076207"/>
              <a:gd name="csX194" fmla="*/ 272412 w 729419"/>
              <a:gd name="csY194" fmla="*/ 657250 h 2076207"/>
              <a:gd name="csX195" fmla="*/ 349094 w 729419"/>
              <a:gd name="csY195" fmla="*/ 659282 h 2076207"/>
              <a:gd name="csX196" fmla="*/ 362996 w 729419"/>
              <a:gd name="csY196" fmla="*/ 644234 h 2076207"/>
              <a:gd name="csX197" fmla="*/ 348472 w 729419"/>
              <a:gd name="csY197" fmla="*/ 624649 h 2076207"/>
              <a:gd name="csX198" fmla="*/ 298865 w 729419"/>
              <a:gd name="csY198" fmla="*/ 621954 h 2076207"/>
              <a:gd name="csX199" fmla="*/ 227796 w 729419"/>
              <a:gd name="csY199" fmla="*/ 528000 h 2076207"/>
              <a:gd name="csX200" fmla="*/ 241009 w 729419"/>
              <a:gd name="csY200" fmla="*/ 545897 h 2076207"/>
              <a:gd name="csX201" fmla="*/ 282607 w 729419"/>
              <a:gd name="csY201" fmla="*/ 543480 h 2076207"/>
              <a:gd name="csX202" fmla="*/ 354213 w 729419"/>
              <a:gd name="csY202" fmla="*/ 543384 h 2076207"/>
              <a:gd name="csX203" fmla="*/ 365334 w 729419"/>
              <a:gd name="csY203" fmla="*/ 533397 h 2076207"/>
              <a:gd name="csX204" fmla="*/ 354531 w 729419"/>
              <a:gd name="csY204" fmla="*/ 521620 h 2076207"/>
              <a:gd name="csX205" fmla="*/ 259169 w 729419"/>
              <a:gd name="csY205" fmla="*/ 521978 h 2076207"/>
              <a:gd name="csX206" fmla="*/ 227796 w 729419"/>
              <a:gd name="csY206" fmla="*/ 528000 h 2076207"/>
              <a:gd name="csX207" fmla="*/ 508068 w 729419"/>
              <a:gd name="csY207" fmla="*/ 190710 h 2076207"/>
              <a:gd name="csX208" fmla="*/ 521293 w 729419"/>
              <a:gd name="csY208" fmla="*/ 205907 h 2076207"/>
              <a:gd name="csX209" fmla="*/ 525175 w 729419"/>
              <a:gd name="csY209" fmla="*/ 202985 h 2076207"/>
              <a:gd name="csX210" fmla="*/ 500276 w 729419"/>
              <a:gd name="csY210" fmla="*/ 160640 h 2076207"/>
              <a:gd name="csX211" fmla="*/ 497122 w 729419"/>
              <a:gd name="csY211" fmla="*/ 162007 h 2076207"/>
              <a:gd name="csX212" fmla="*/ 508068 w 729419"/>
              <a:gd name="csY212" fmla="*/ 190710 h 2076207"/>
              <a:gd name="csX213" fmla="*/ 215522 w 729419"/>
              <a:gd name="csY213" fmla="*/ 197296 h 2076207"/>
              <a:gd name="csX214" fmla="*/ 234029 w 729419"/>
              <a:gd name="csY214" fmla="*/ 162725 h 2076207"/>
              <a:gd name="csX215" fmla="*/ 229000 w 729419"/>
              <a:gd name="csY215" fmla="*/ 159902 h 2076207"/>
              <a:gd name="csX216" fmla="*/ 204824 w 729419"/>
              <a:gd name="csY216" fmla="*/ 199677 h 2076207"/>
              <a:gd name="csX217" fmla="*/ 207990 w 729419"/>
              <a:gd name="csY217" fmla="*/ 202198 h 2076207"/>
              <a:gd name="csX218" fmla="*/ 215522 w 729419"/>
              <a:gd name="csY218" fmla="*/ 197296 h 2076207"/>
              <a:gd name="csX219" fmla="*/ 484400 w 729419"/>
              <a:gd name="csY219" fmla="*/ 863693 h 2076207"/>
              <a:gd name="csX220" fmla="*/ 484400 w 729419"/>
              <a:gd name="csY220" fmla="*/ 896678 h 2076207"/>
              <a:gd name="csX221" fmla="*/ 486181 w 729419"/>
              <a:gd name="csY221" fmla="*/ 896585 h 2076207"/>
              <a:gd name="csX222" fmla="*/ 486181 w 729419"/>
              <a:gd name="csY222" fmla="*/ 795289 h 2076207"/>
              <a:gd name="csX223" fmla="*/ 484400 w 729419"/>
              <a:gd name="csY223" fmla="*/ 863693 h 2076207"/>
              <a:gd name="csX224" fmla="*/ 720241 w 729419"/>
              <a:gd name="csY224" fmla="*/ 2030666 h 2076207"/>
              <a:gd name="csX225" fmla="*/ 721175 w 729419"/>
              <a:gd name="csY225" fmla="*/ 2029733 h 2076207"/>
              <a:gd name="csX226" fmla="*/ 720241 w 729419"/>
              <a:gd name="csY226" fmla="*/ 2030666 h 2076207"/>
              <a:gd name="csX227" fmla="*/ 715702 w 729419"/>
              <a:gd name="csY227" fmla="*/ 2037051 h 2076207"/>
              <a:gd name="csX228" fmla="*/ 715702 w 729419"/>
              <a:gd name="csY228" fmla="*/ 2037051 h 2076207"/>
              <a:gd name="csX229" fmla="*/ 709953 w 729419"/>
              <a:gd name="csY229" fmla="*/ 2040017 h 2076207"/>
              <a:gd name="csX230" fmla="*/ 710209 w 729419"/>
              <a:gd name="csY230" fmla="*/ 2039597 h 2076207"/>
              <a:gd name="csX231" fmla="*/ 709953 w 729419"/>
              <a:gd name="csY231" fmla="*/ 2040017 h 2076207"/>
              <a:gd name="csX0" fmla="*/ 96263 w 729419"/>
              <a:gd name="csY0" fmla="*/ 2076207 h 2076207"/>
              <a:gd name="csX1" fmla="*/ 63862 w 729419"/>
              <a:gd name="csY1" fmla="*/ 2065388 h 2076207"/>
              <a:gd name="csX2" fmla="*/ 16555 w 729419"/>
              <a:gd name="csY2" fmla="*/ 2050152 h 2076207"/>
              <a:gd name="csX3" fmla="*/ 15 w 729419"/>
              <a:gd name="csY3" fmla="*/ 2023802 h 2076207"/>
              <a:gd name="csX4" fmla="*/ 18368 w 729419"/>
              <a:gd name="csY4" fmla="*/ 1940709 h 2076207"/>
              <a:gd name="csX5" fmla="*/ 22139 w 729419"/>
              <a:gd name="csY5" fmla="*/ 1907268 h 2076207"/>
              <a:gd name="csX6" fmla="*/ 57941 w 729419"/>
              <a:gd name="csY6" fmla="*/ 1774163 h 2076207"/>
              <a:gd name="csX7" fmla="*/ 102478 w 729419"/>
              <a:gd name="csY7" fmla="*/ 1720275 h 2076207"/>
              <a:gd name="csX8" fmla="*/ 108579 w 729419"/>
              <a:gd name="csY8" fmla="*/ 1650967 h 2076207"/>
              <a:gd name="csX9" fmla="*/ 115628 w 729419"/>
              <a:gd name="csY9" fmla="*/ 1625405 h 2076207"/>
              <a:gd name="csX10" fmla="*/ 156323 w 729419"/>
              <a:gd name="csY10" fmla="*/ 1560181 h 2076207"/>
              <a:gd name="csX11" fmla="*/ 199424 w 729419"/>
              <a:gd name="csY11" fmla="*/ 1364729 h 2076207"/>
              <a:gd name="csX12" fmla="*/ 216779 w 729419"/>
              <a:gd name="csY12" fmla="*/ 1219490 h 2076207"/>
              <a:gd name="csX13" fmla="*/ 229755 w 729419"/>
              <a:gd name="csY13" fmla="*/ 1099357 h 2076207"/>
              <a:gd name="csX14" fmla="*/ 232707 w 729419"/>
              <a:gd name="csY14" fmla="*/ 1056423 h 2076207"/>
              <a:gd name="csX15" fmla="*/ 235622 w 729419"/>
              <a:gd name="csY15" fmla="*/ 952675 h 2076207"/>
              <a:gd name="csX16" fmla="*/ 235445 w 729419"/>
              <a:gd name="csY16" fmla="*/ 780278 h 2076207"/>
              <a:gd name="csX17" fmla="*/ 214544 w 729419"/>
              <a:gd name="csY17" fmla="*/ 756435 h 2076207"/>
              <a:gd name="csX18" fmla="*/ 172569 w 729419"/>
              <a:gd name="csY18" fmla="*/ 742582 h 2076207"/>
              <a:gd name="csX19" fmla="*/ 168784 w 729419"/>
              <a:gd name="csY19" fmla="*/ 669116 h 2076207"/>
              <a:gd name="csX20" fmla="*/ 191657 w 729419"/>
              <a:gd name="csY20" fmla="*/ 630765 h 2076207"/>
              <a:gd name="csX21" fmla="*/ 208150 w 729419"/>
              <a:gd name="csY21" fmla="*/ 609084 h 2076207"/>
              <a:gd name="csX22" fmla="*/ 216756 w 729419"/>
              <a:gd name="csY22" fmla="*/ 558673 h 2076207"/>
              <a:gd name="csX23" fmla="*/ 209092 w 729419"/>
              <a:gd name="csY23" fmla="*/ 521540 h 2076207"/>
              <a:gd name="csX24" fmla="*/ 204683 w 729419"/>
              <a:gd name="csY24" fmla="*/ 474024 h 2076207"/>
              <a:gd name="csX25" fmla="*/ 115483 w 729419"/>
              <a:gd name="csY25" fmla="*/ 213499 h 2076207"/>
              <a:gd name="csX26" fmla="*/ 102909 w 729419"/>
              <a:gd name="csY26" fmla="*/ 182297 h 2076207"/>
              <a:gd name="csX27" fmla="*/ 104315 w 729419"/>
              <a:gd name="csY27" fmla="*/ 163968 h 2076207"/>
              <a:gd name="csX28" fmla="*/ 122444 w 729419"/>
              <a:gd name="csY28" fmla="*/ 160805 h 2076207"/>
              <a:gd name="csX29" fmla="*/ 170283 w 729419"/>
              <a:gd name="csY29" fmla="*/ 187783 h 2076207"/>
              <a:gd name="csX30" fmla="*/ 180938 w 729419"/>
              <a:gd name="csY30" fmla="*/ 195322 h 2076207"/>
              <a:gd name="csX31" fmla="*/ 221419 w 729419"/>
              <a:gd name="csY31" fmla="*/ 138058 h 2076207"/>
              <a:gd name="csX32" fmla="*/ 294099 w 729419"/>
              <a:gd name="csY32" fmla="*/ 91372 h 2076207"/>
              <a:gd name="csX33" fmla="*/ 302307 w 729419"/>
              <a:gd name="csY33" fmla="*/ 76560 h 2076207"/>
              <a:gd name="csX34" fmla="*/ 320284 w 729419"/>
              <a:gd name="csY34" fmla="*/ 8414 h 2076207"/>
              <a:gd name="csX35" fmla="*/ 324784 w 729419"/>
              <a:gd name="csY35" fmla="*/ 946 h 2076207"/>
              <a:gd name="csX36" fmla="*/ 399212 w 729419"/>
              <a:gd name="csY36" fmla="*/ 0 h 2076207"/>
              <a:gd name="csX37" fmla="*/ 425980 w 729419"/>
              <a:gd name="csY37" fmla="*/ 78301 h 2076207"/>
              <a:gd name="csX38" fmla="*/ 431861 w 729419"/>
              <a:gd name="csY38" fmla="*/ 90312 h 2076207"/>
              <a:gd name="csX39" fmla="*/ 540349 w 729419"/>
              <a:gd name="csY39" fmla="*/ 187946 h 2076207"/>
              <a:gd name="csX40" fmla="*/ 545555 w 729419"/>
              <a:gd name="csY40" fmla="*/ 197828 h 2076207"/>
              <a:gd name="csX41" fmla="*/ 587318 w 729419"/>
              <a:gd name="csY41" fmla="*/ 171260 h 2076207"/>
              <a:gd name="csX42" fmla="*/ 601503 w 729419"/>
              <a:gd name="csY42" fmla="*/ 163707 h 2076207"/>
              <a:gd name="csX43" fmla="*/ 625254 w 729419"/>
              <a:gd name="csY43" fmla="*/ 163123 h 2076207"/>
              <a:gd name="csX44" fmla="*/ 625468 w 729419"/>
              <a:gd name="csY44" fmla="*/ 187579 h 2076207"/>
              <a:gd name="csX45" fmla="*/ 597543 w 729419"/>
              <a:gd name="csY45" fmla="*/ 251872 h 2076207"/>
              <a:gd name="csX46" fmla="*/ 531831 w 729419"/>
              <a:gd name="csY46" fmla="*/ 442689 h 2076207"/>
              <a:gd name="csX47" fmla="*/ 519888 w 729419"/>
              <a:gd name="csY47" fmla="*/ 501474 h 2076207"/>
              <a:gd name="csX48" fmla="*/ 522506 w 729419"/>
              <a:gd name="csY48" fmla="*/ 525086 h 2076207"/>
              <a:gd name="csX49" fmla="*/ 516235 w 729419"/>
              <a:gd name="csY49" fmla="*/ 555946 h 2076207"/>
              <a:gd name="csX50" fmla="*/ 521332 w 729419"/>
              <a:gd name="csY50" fmla="*/ 610676 h 2076207"/>
              <a:gd name="csX51" fmla="*/ 541382 w 729419"/>
              <a:gd name="csY51" fmla="*/ 642597 h 2076207"/>
              <a:gd name="csX52" fmla="*/ 557031 w 729419"/>
              <a:gd name="csY52" fmla="*/ 667949 h 2076207"/>
              <a:gd name="csX53" fmla="*/ 553994 w 729419"/>
              <a:gd name="csY53" fmla="*/ 744146 h 2076207"/>
              <a:gd name="csX54" fmla="*/ 508215 w 729419"/>
              <a:gd name="csY54" fmla="*/ 758841 h 2076207"/>
              <a:gd name="csX55" fmla="*/ 497442 w 729419"/>
              <a:gd name="csY55" fmla="*/ 771256 h 2076207"/>
              <a:gd name="csX56" fmla="*/ 493005 w 729419"/>
              <a:gd name="csY56" fmla="*/ 922055 h 2076207"/>
              <a:gd name="csX57" fmla="*/ 502900 w 729419"/>
              <a:gd name="csY57" fmla="*/ 1114191 h 2076207"/>
              <a:gd name="csX58" fmla="*/ 508800 w 729419"/>
              <a:gd name="csY58" fmla="*/ 1205474 h 2076207"/>
              <a:gd name="csX59" fmla="*/ 522952 w 729419"/>
              <a:gd name="csY59" fmla="*/ 1320065 h 2076207"/>
              <a:gd name="csX60" fmla="*/ 554682 w 729419"/>
              <a:gd name="csY60" fmla="*/ 1501203 h 2076207"/>
              <a:gd name="csX61" fmla="*/ 576958 w 729419"/>
              <a:gd name="csY61" fmla="*/ 1593963 h 2076207"/>
              <a:gd name="csX62" fmla="*/ 595349 w 729419"/>
              <a:gd name="csY62" fmla="*/ 1613498 h 2076207"/>
              <a:gd name="csX63" fmla="*/ 613936 w 729419"/>
              <a:gd name="csY63" fmla="*/ 1624058 h 2076207"/>
              <a:gd name="csX64" fmla="*/ 620938 w 729419"/>
              <a:gd name="csY64" fmla="*/ 1652071 h 2076207"/>
              <a:gd name="csX65" fmla="*/ 630805 w 729419"/>
              <a:gd name="csY65" fmla="*/ 1721702 h 2076207"/>
              <a:gd name="csX66" fmla="*/ 685830 w 729419"/>
              <a:gd name="csY66" fmla="*/ 1792915 h 2076207"/>
              <a:gd name="csX67" fmla="*/ 708904 w 729419"/>
              <a:gd name="csY67" fmla="*/ 1890290 h 2076207"/>
              <a:gd name="csX68" fmla="*/ 716580 w 729419"/>
              <a:gd name="csY68" fmla="*/ 1951136 h 2076207"/>
              <a:gd name="csX69" fmla="*/ 729397 w 729419"/>
              <a:gd name="csY69" fmla="*/ 2030261 h 2076207"/>
              <a:gd name="csX70" fmla="*/ 714212 w 729419"/>
              <a:gd name="csY70" fmla="*/ 2049544 h 2076207"/>
              <a:gd name="csX71" fmla="*/ 645428 w 729419"/>
              <a:gd name="csY71" fmla="*/ 2070825 h 2076207"/>
              <a:gd name="csX72" fmla="*/ 635822 w 729419"/>
              <a:gd name="csY72" fmla="*/ 2075145 h 2076207"/>
              <a:gd name="csX73" fmla="*/ 588428 w 729419"/>
              <a:gd name="csY73" fmla="*/ 2075144 h 2076207"/>
              <a:gd name="csX74" fmla="*/ 590041 w 729419"/>
              <a:gd name="csY74" fmla="*/ 2071383 h 2076207"/>
              <a:gd name="csX75" fmla="*/ 667788 w 729419"/>
              <a:gd name="csY75" fmla="*/ 2056852 h 2076207"/>
              <a:gd name="csX76" fmla="*/ 706629 w 729419"/>
              <a:gd name="csY76" fmla="*/ 2044290 h 2076207"/>
              <a:gd name="csX77" fmla="*/ 702674 w 729419"/>
              <a:gd name="csY77" fmla="*/ 2041581 h 2076207"/>
              <a:gd name="csX78" fmla="*/ 544974 w 729419"/>
              <a:gd name="csY78" fmla="*/ 2071274 h 2076207"/>
              <a:gd name="csX79" fmla="*/ 538352 w 729419"/>
              <a:gd name="csY79" fmla="*/ 2076207 h 2076207"/>
              <a:gd name="csX80" fmla="*/ 96263 w 729419"/>
              <a:gd name="csY80" fmla="*/ 2076207 h 2076207"/>
              <a:gd name="csX81" fmla="*/ 489970 w 729419"/>
              <a:gd name="csY81" fmla="*/ 152208 h 2076207"/>
              <a:gd name="csX82" fmla="*/ 490754 w 729419"/>
              <a:gd name="csY82" fmla="*/ 152592 h 2076207"/>
              <a:gd name="csX83" fmla="*/ 489489 w 729419"/>
              <a:gd name="csY83" fmla="*/ 149547 h 2076207"/>
              <a:gd name="csX84" fmla="*/ 393621 w 729419"/>
              <a:gd name="csY84" fmla="*/ 99259 h 2076207"/>
              <a:gd name="csX85" fmla="*/ 390419 w 729419"/>
              <a:gd name="csY85" fmla="*/ 18568 h 2076207"/>
              <a:gd name="csX86" fmla="*/ 334131 w 729419"/>
              <a:gd name="csY86" fmla="*/ 24327 h 2076207"/>
              <a:gd name="csX87" fmla="*/ 344678 w 729419"/>
              <a:gd name="csY87" fmla="*/ 101259 h 2076207"/>
              <a:gd name="csX88" fmla="*/ 298854 w 729419"/>
              <a:gd name="csY88" fmla="*/ 114003 h 2076207"/>
              <a:gd name="csX89" fmla="*/ 237456 w 729419"/>
              <a:gd name="csY89" fmla="*/ 154340 h 2076207"/>
              <a:gd name="csX90" fmla="*/ 240382 w 729419"/>
              <a:gd name="csY90" fmla="*/ 154035 h 2076207"/>
              <a:gd name="csX91" fmla="*/ 262731 w 729419"/>
              <a:gd name="csY91" fmla="*/ 170426 h 2076207"/>
              <a:gd name="csX92" fmla="*/ 279169 w 729419"/>
              <a:gd name="csY92" fmla="*/ 193173 h 2076207"/>
              <a:gd name="csX93" fmla="*/ 327717 w 729419"/>
              <a:gd name="csY93" fmla="*/ 188556 h 2076207"/>
              <a:gd name="csX94" fmla="*/ 348052 w 729419"/>
              <a:gd name="csY94" fmla="*/ 156919 h 2076207"/>
              <a:gd name="csX95" fmla="*/ 380330 w 729419"/>
              <a:gd name="csY95" fmla="*/ 156483 h 2076207"/>
              <a:gd name="csX96" fmla="*/ 408490 w 729419"/>
              <a:gd name="csY96" fmla="*/ 195400 h 2076207"/>
              <a:gd name="csX97" fmla="*/ 445346 w 729419"/>
              <a:gd name="csY97" fmla="*/ 197582 h 2076207"/>
              <a:gd name="csX98" fmla="*/ 464798 w 729419"/>
              <a:gd name="csY98" fmla="*/ 174107 h 2076207"/>
              <a:gd name="csX99" fmla="*/ 489970 w 729419"/>
              <a:gd name="csY99" fmla="*/ 152208 h 2076207"/>
              <a:gd name="csX100" fmla="*/ 140694 w 729419"/>
              <a:gd name="csY100" fmla="*/ 201837 h 2076207"/>
              <a:gd name="csX101" fmla="*/ 139834 w 729419"/>
              <a:gd name="csY101" fmla="*/ 201482 h 2076207"/>
              <a:gd name="csX102" fmla="*/ 140812 w 729419"/>
              <a:gd name="csY102" fmla="*/ 204941 h 2076207"/>
              <a:gd name="csX103" fmla="*/ 144631 w 729419"/>
              <a:gd name="csY103" fmla="*/ 217811 h 2076207"/>
              <a:gd name="csX104" fmla="*/ 201241 w 729419"/>
              <a:gd name="csY104" fmla="*/ 373387 h 2076207"/>
              <a:gd name="csX105" fmla="*/ 235971 w 729419"/>
              <a:gd name="csY105" fmla="*/ 504451 h 2076207"/>
              <a:gd name="csX106" fmla="*/ 247475 w 729419"/>
              <a:gd name="csY106" fmla="*/ 513241 h 2076207"/>
              <a:gd name="csX107" fmla="*/ 289066 w 729419"/>
              <a:gd name="csY107" fmla="*/ 511170 h 2076207"/>
              <a:gd name="csX108" fmla="*/ 378229 w 729419"/>
              <a:gd name="csY108" fmla="*/ 511084 h 2076207"/>
              <a:gd name="csX109" fmla="*/ 470850 w 729419"/>
              <a:gd name="csY109" fmla="*/ 516341 h 2076207"/>
              <a:gd name="csX110" fmla="*/ 492933 w 729419"/>
              <a:gd name="csY110" fmla="*/ 497969 h 2076207"/>
              <a:gd name="csX111" fmla="*/ 557617 w 729419"/>
              <a:gd name="csY111" fmla="*/ 280398 h 2076207"/>
              <a:gd name="csX112" fmla="*/ 588788 w 729419"/>
              <a:gd name="csY112" fmla="*/ 200385 h 2076207"/>
              <a:gd name="csX113" fmla="*/ 530958 w 729419"/>
              <a:gd name="csY113" fmla="*/ 232968 h 2076207"/>
              <a:gd name="csX114" fmla="*/ 483823 w 729419"/>
              <a:gd name="csY114" fmla="*/ 190364 h 2076207"/>
              <a:gd name="csX115" fmla="*/ 466649 w 729419"/>
              <a:gd name="csY115" fmla="*/ 209061 h 2076207"/>
              <a:gd name="csX116" fmla="*/ 399941 w 729419"/>
              <a:gd name="csY116" fmla="*/ 216988 h 2076207"/>
              <a:gd name="csX117" fmla="*/ 363018 w 729419"/>
              <a:gd name="csY117" fmla="*/ 179615 h 2076207"/>
              <a:gd name="csX118" fmla="*/ 308839 w 729419"/>
              <a:gd name="csY118" fmla="*/ 227846 h 2076207"/>
              <a:gd name="csX119" fmla="*/ 245077 w 729419"/>
              <a:gd name="csY119" fmla="*/ 192402 h 2076207"/>
              <a:gd name="csX120" fmla="*/ 242829 w 729419"/>
              <a:gd name="csY120" fmla="*/ 198815 h 2076207"/>
              <a:gd name="csX121" fmla="*/ 168452 w 729419"/>
              <a:gd name="csY121" fmla="*/ 219348 h 2076207"/>
              <a:gd name="csX122" fmla="*/ 140694 w 729419"/>
              <a:gd name="csY122" fmla="*/ 201837 h 2076207"/>
              <a:gd name="csX123" fmla="*/ 259999 w 729419"/>
              <a:gd name="csY123" fmla="*/ 966699 h 2076207"/>
              <a:gd name="csX124" fmla="*/ 257072 w 729419"/>
              <a:gd name="csY124" fmla="*/ 1070424 h 2076207"/>
              <a:gd name="csX125" fmla="*/ 251372 w 729419"/>
              <a:gd name="csY125" fmla="*/ 1157618 h 2076207"/>
              <a:gd name="csX126" fmla="*/ 232677 w 729419"/>
              <a:gd name="csY126" fmla="*/ 1320279 h 2076207"/>
              <a:gd name="csX127" fmla="*/ 209182 w 729419"/>
              <a:gd name="csY127" fmla="*/ 1468667 h 2076207"/>
              <a:gd name="csX128" fmla="*/ 175302 w 729419"/>
              <a:gd name="csY128" fmla="*/ 1616623 h 2076207"/>
              <a:gd name="csX129" fmla="*/ 182769 w 729419"/>
              <a:gd name="csY129" fmla="*/ 1629786 h 2076207"/>
              <a:gd name="csX130" fmla="*/ 212156 w 729419"/>
              <a:gd name="csY130" fmla="*/ 1632656 h 2076207"/>
              <a:gd name="csX131" fmla="*/ 351295 w 729419"/>
              <a:gd name="csY131" fmla="*/ 1632801 h 2076207"/>
              <a:gd name="csX132" fmla="*/ 376150 w 729419"/>
              <a:gd name="csY132" fmla="*/ 1608307 h 2076207"/>
              <a:gd name="csX133" fmla="*/ 373450 w 729419"/>
              <a:gd name="csY133" fmla="*/ 1457291 h 2076207"/>
              <a:gd name="csX134" fmla="*/ 370936 w 729419"/>
              <a:gd name="csY134" fmla="*/ 1342736 h 2076207"/>
              <a:gd name="csX135" fmla="*/ 368328 w 729419"/>
              <a:gd name="csY135" fmla="*/ 1203878 h 2076207"/>
              <a:gd name="csX136" fmla="*/ 367836 w 729419"/>
              <a:gd name="csY136" fmla="*/ 813478 h 2076207"/>
              <a:gd name="csX137" fmla="*/ 365240 w 729419"/>
              <a:gd name="csY137" fmla="*/ 773243 h 2076207"/>
              <a:gd name="csX138" fmla="*/ 353084 w 729419"/>
              <a:gd name="csY138" fmla="*/ 762083 h 2076207"/>
              <a:gd name="csX139" fmla="*/ 280966 w 729419"/>
              <a:gd name="csY139" fmla="*/ 759855 h 2076207"/>
              <a:gd name="csX140" fmla="*/ 259965 w 729419"/>
              <a:gd name="csY140" fmla="*/ 779553 h 2076207"/>
              <a:gd name="csX141" fmla="*/ 262341 w 729419"/>
              <a:gd name="csY141" fmla="*/ 856275 h 2076207"/>
              <a:gd name="csX142" fmla="*/ 259999 w 729419"/>
              <a:gd name="csY142" fmla="*/ 966699 h 2076207"/>
              <a:gd name="csX143" fmla="*/ 55556 w 729419"/>
              <a:gd name="csY143" fmla="*/ 1835827 h 2076207"/>
              <a:gd name="csX144" fmla="*/ 49393 w 729419"/>
              <a:gd name="csY144" fmla="*/ 1878155 h 2076207"/>
              <a:gd name="csX145" fmla="*/ 73949 w 729419"/>
              <a:gd name="csY145" fmla="*/ 1905781 h 2076207"/>
              <a:gd name="csX146" fmla="*/ 110073 w 729419"/>
              <a:gd name="csY146" fmla="*/ 1909068 h 2076207"/>
              <a:gd name="csX147" fmla="*/ 224745 w 729419"/>
              <a:gd name="csY147" fmla="*/ 1921652 h 2076207"/>
              <a:gd name="csX148" fmla="*/ 347327 w 729419"/>
              <a:gd name="csY148" fmla="*/ 1924778 h 2076207"/>
              <a:gd name="csX149" fmla="*/ 363345 w 729419"/>
              <a:gd name="csY149" fmla="*/ 1923293 h 2076207"/>
              <a:gd name="csX150" fmla="*/ 373787 w 729419"/>
              <a:gd name="csY150" fmla="*/ 1911200 h 2076207"/>
              <a:gd name="csX151" fmla="*/ 376623 w 729419"/>
              <a:gd name="csY151" fmla="*/ 1696741 h 2076207"/>
              <a:gd name="csX152" fmla="*/ 360437 w 729419"/>
              <a:gd name="csY152" fmla="*/ 1681289 h 2076207"/>
              <a:gd name="csX153" fmla="*/ 263503 w 729419"/>
              <a:gd name="csY153" fmla="*/ 1678179 h 2076207"/>
              <a:gd name="csX154" fmla="*/ 160381 w 729419"/>
              <a:gd name="csY154" fmla="*/ 1670405 h 2076207"/>
              <a:gd name="csX155" fmla="*/ 143321 w 729419"/>
              <a:gd name="csY155" fmla="*/ 1685538 h 2076207"/>
              <a:gd name="csX156" fmla="*/ 124769 w 729419"/>
              <a:gd name="csY156" fmla="*/ 1738195 h 2076207"/>
              <a:gd name="csX157" fmla="*/ 90593 w 729419"/>
              <a:gd name="csY157" fmla="*/ 1779570 h 2076207"/>
              <a:gd name="csX158" fmla="*/ 55556 w 729419"/>
              <a:gd name="csY158" fmla="*/ 1835827 h 2076207"/>
              <a:gd name="csX159" fmla="*/ 378900 w 729419"/>
              <a:gd name="csY159" fmla="*/ 2007280 h 2076207"/>
              <a:gd name="csX160" fmla="*/ 378887 w 729419"/>
              <a:gd name="csY160" fmla="*/ 1995127 h 2076207"/>
              <a:gd name="csX161" fmla="*/ 359084 w 729419"/>
              <a:gd name="csY161" fmla="*/ 1975964 h 2076207"/>
              <a:gd name="csX162" fmla="*/ 247288 w 729419"/>
              <a:gd name="csY162" fmla="*/ 1973305 h 2076207"/>
              <a:gd name="csX163" fmla="*/ 201692 w 729419"/>
              <a:gd name="csY163" fmla="*/ 1970275 h 2076207"/>
              <a:gd name="csX164" fmla="*/ 57962 w 729419"/>
              <a:gd name="csY164" fmla="*/ 1952648 h 2076207"/>
              <a:gd name="csX165" fmla="*/ 39194 w 729419"/>
              <a:gd name="csY165" fmla="*/ 1963552 h 2076207"/>
              <a:gd name="csX166" fmla="*/ 30066 w 729419"/>
              <a:gd name="csY166" fmla="*/ 2006631 h 2076207"/>
              <a:gd name="csX167" fmla="*/ 40232 w 729419"/>
              <a:gd name="csY167" fmla="*/ 2019486 h 2076207"/>
              <a:gd name="csX168" fmla="*/ 238186 w 729419"/>
              <a:gd name="csY168" fmla="*/ 2046096 h 2076207"/>
              <a:gd name="csX169" fmla="*/ 342155 w 729419"/>
              <a:gd name="csY169" fmla="*/ 2046441 h 2076207"/>
              <a:gd name="csX170" fmla="*/ 378900 w 729419"/>
              <a:gd name="csY170" fmla="*/ 2007280 h 2076207"/>
              <a:gd name="csX171" fmla="*/ 310220 w 729419"/>
              <a:gd name="csY171" fmla="*/ 554288 h 2076207"/>
              <a:gd name="csX172" fmla="*/ 259136 w 729419"/>
              <a:gd name="csY172" fmla="*/ 556881 h 2076207"/>
              <a:gd name="csX173" fmla="*/ 249085 w 729419"/>
              <a:gd name="csY173" fmla="*/ 567981 h 2076207"/>
              <a:gd name="csX174" fmla="*/ 249141 w 729419"/>
              <a:gd name="csY174" fmla="*/ 605644 h 2076207"/>
              <a:gd name="csX175" fmla="*/ 262628 w 729419"/>
              <a:gd name="csY175" fmla="*/ 605627 h 2076207"/>
              <a:gd name="csX176" fmla="*/ 369608 w 729419"/>
              <a:gd name="csY176" fmla="*/ 603027 h 2076207"/>
              <a:gd name="csX177" fmla="*/ 463931 w 729419"/>
              <a:gd name="csY177" fmla="*/ 605146 h 2076207"/>
              <a:gd name="csX178" fmla="*/ 478113 w 729419"/>
              <a:gd name="csY178" fmla="*/ 595843 h 2076207"/>
              <a:gd name="csX179" fmla="*/ 478796 w 729419"/>
              <a:gd name="csY179" fmla="*/ 556832 h 2076207"/>
              <a:gd name="csX180" fmla="*/ 310220 w 729419"/>
              <a:gd name="csY180" fmla="*/ 554288 h 2076207"/>
              <a:gd name="csX181" fmla="*/ 348836 w 729419"/>
              <a:gd name="csY181" fmla="*/ 684115 h 2076207"/>
              <a:gd name="csX182" fmla="*/ 281333 w 729419"/>
              <a:gd name="csY182" fmla="*/ 683313 h 2076207"/>
              <a:gd name="csX183" fmla="*/ 212728 w 729419"/>
              <a:gd name="csY183" fmla="*/ 681931 h 2076207"/>
              <a:gd name="csX184" fmla="*/ 187283 w 729419"/>
              <a:gd name="csY184" fmla="*/ 689555 h 2076207"/>
              <a:gd name="csX185" fmla="*/ 186163 w 729419"/>
              <a:gd name="csY185" fmla="*/ 718266 h 2076207"/>
              <a:gd name="csX186" fmla="*/ 209894 w 729419"/>
              <a:gd name="csY186" fmla="*/ 726798 h 2076207"/>
              <a:gd name="csX187" fmla="*/ 334814 w 729419"/>
              <a:gd name="csY187" fmla="*/ 732494 h 2076207"/>
              <a:gd name="csX188" fmla="*/ 364856 w 729419"/>
              <a:gd name="csY188" fmla="*/ 707963 h 2076207"/>
              <a:gd name="csX189" fmla="*/ 348836 w 729419"/>
              <a:gd name="csY189" fmla="*/ 684115 h 2076207"/>
              <a:gd name="csX190" fmla="*/ 298865 w 729419"/>
              <a:gd name="csY190" fmla="*/ 621954 h 2076207"/>
              <a:gd name="csX191" fmla="*/ 251619 w 729419"/>
              <a:gd name="csY191" fmla="*/ 622133 h 2076207"/>
              <a:gd name="csX192" fmla="*/ 214459 w 729419"/>
              <a:gd name="csY192" fmla="*/ 636230 h 2076207"/>
              <a:gd name="csX193" fmla="*/ 221436 w 729419"/>
              <a:gd name="csY193" fmla="*/ 654205 h 2076207"/>
              <a:gd name="csX194" fmla="*/ 272412 w 729419"/>
              <a:gd name="csY194" fmla="*/ 657250 h 2076207"/>
              <a:gd name="csX195" fmla="*/ 349094 w 729419"/>
              <a:gd name="csY195" fmla="*/ 659282 h 2076207"/>
              <a:gd name="csX196" fmla="*/ 362996 w 729419"/>
              <a:gd name="csY196" fmla="*/ 644234 h 2076207"/>
              <a:gd name="csX197" fmla="*/ 348472 w 729419"/>
              <a:gd name="csY197" fmla="*/ 624649 h 2076207"/>
              <a:gd name="csX198" fmla="*/ 298865 w 729419"/>
              <a:gd name="csY198" fmla="*/ 621954 h 2076207"/>
              <a:gd name="csX199" fmla="*/ 227796 w 729419"/>
              <a:gd name="csY199" fmla="*/ 528000 h 2076207"/>
              <a:gd name="csX200" fmla="*/ 241009 w 729419"/>
              <a:gd name="csY200" fmla="*/ 545897 h 2076207"/>
              <a:gd name="csX201" fmla="*/ 282607 w 729419"/>
              <a:gd name="csY201" fmla="*/ 543480 h 2076207"/>
              <a:gd name="csX202" fmla="*/ 354213 w 729419"/>
              <a:gd name="csY202" fmla="*/ 543384 h 2076207"/>
              <a:gd name="csX203" fmla="*/ 365334 w 729419"/>
              <a:gd name="csY203" fmla="*/ 533397 h 2076207"/>
              <a:gd name="csX204" fmla="*/ 354531 w 729419"/>
              <a:gd name="csY204" fmla="*/ 521620 h 2076207"/>
              <a:gd name="csX205" fmla="*/ 259169 w 729419"/>
              <a:gd name="csY205" fmla="*/ 521978 h 2076207"/>
              <a:gd name="csX206" fmla="*/ 227796 w 729419"/>
              <a:gd name="csY206" fmla="*/ 528000 h 2076207"/>
              <a:gd name="csX207" fmla="*/ 508068 w 729419"/>
              <a:gd name="csY207" fmla="*/ 190710 h 2076207"/>
              <a:gd name="csX208" fmla="*/ 521293 w 729419"/>
              <a:gd name="csY208" fmla="*/ 205907 h 2076207"/>
              <a:gd name="csX209" fmla="*/ 525175 w 729419"/>
              <a:gd name="csY209" fmla="*/ 202985 h 2076207"/>
              <a:gd name="csX210" fmla="*/ 500276 w 729419"/>
              <a:gd name="csY210" fmla="*/ 160640 h 2076207"/>
              <a:gd name="csX211" fmla="*/ 497122 w 729419"/>
              <a:gd name="csY211" fmla="*/ 162007 h 2076207"/>
              <a:gd name="csX212" fmla="*/ 508068 w 729419"/>
              <a:gd name="csY212" fmla="*/ 190710 h 2076207"/>
              <a:gd name="csX213" fmla="*/ 215522 w 729419"/>
              <a:gd name="csY213" fmla="*/ 197296 h 2076207"/>
              <a:gd name="csX214" fmla="*/ 234029 w 729419"/>
              <a:gd name="csY214" fmla="*/ 162725 h 2076207"/>
              <a:gd name="csX215" fmla="*/ 229000 w 729419"/>
              <a:gd name="csY215" fmla="*/ 159902 h 2076207"/>
              <a:gd name="csX216" fmla="*/ 204824 w 729419"/>
              <a:gd name="csY216" fmla="*/ 199677 h 2076207"/>
              <a:gd name="csX217" fmla="*/ 207990 w 729419"/>
              <a:gd name="csY217" fmla="*/ 202198 h 2076207"/>
              <a:gd name="csX218" fmla="*/ 215522 w 729419"/>
              <a:gd name="csY218" fmla="*/ 197296 h 2076207"/>
              <a:gd name="csX219" fmla="*/ 484400 w 729419"/>
              <a:gd name="csY219" fmla="*/ 863693 h 2076207"/>
              <a:gd name="csX220" fmla="*/ 484400 w 729419"/>
              <a:gd name="csY220" fmla="*/ 896678 h 2076207"/>
              <a:gd name="csX221" fmla="*/ 486181 w 729419"/>
              <a:gd name="csY221" fmla="*/ 896585 h 2076207"/>
              <a:gd name="csX222" fmla="*/ 486181 w 729419"/>
              <a:gd name="csY222" fmla="*/ 795289 h 2076207"/>
              <a:gd name="csX223" fmla="*/ 720241 w 729419"/>
              <a:gd name="csY223" fmla="*/ 2030666 h 2076207"/>
              <a:gd name="csX224" fmla="*/ 721175 w 729419"/>
              <a:gd name="csY224" fmla="*/ 2029733 h 2076207"/>
              <a:gd name="csX225" fmla="*/ 720241 w 729419"/>
              <a:gd name="csY225" fmla="*/ 2030666 h 2076207"/>
              <a:gd name="csX226" fmla="*/ 715702 w 729419"/>
              <a:gd name="csY226" fmla="*/ 2037051 h 2076207"/>
              <a:gd name="csX227" fmla="*/ 715702 w 729419"/>
              <a:gd name="csY227" fmla="*/ 2037051 h 2076207"/>
              <a:gd name="csX228" fmla="*/ 709953 w 729419"/>
              <a:gd name="csY228" fmla="*/ 2040017 h 2076207"/>
              <a:gd name="csX229" fmla="*/ 710209 w 729419"/>
              <a:gd name="csY229" fmla="*/ 2039597 h 2076207"/>
              <a:gd name="csX230" fmla="*/ 709953 w 729419"/>
              <a:gd name="csY230" fmla="*/ 2040017 h 2076207"/>
              <a:gd name="csX0" fmla="*/ 96263 w 729419"/>
              <a:gd name="csY0" fmla="*/ 2076207 h 2076207"/>
              <a:gd name="csX1" fmla="*/ 63862 w 729419"/>
              <a:gd name="csY1" fmla="*/ 2065388 h 2076207"/>
              <a:gd name="csX2" fmla="*/ 16555 w 729419"/>
              <a:gd name="csY2" fmla="*/ 2050152 h 2076207"/>
              <a:gd name="csX3" fmla="*/ 15 w 729419"/>
              <a:gd name="csY3" fmla="*/ 2023802 h 2076207"/>
              <a:gd name="csX4" fmla="*/ 18368 w 729419"/>
              <a:gd name="csY4" fmla="*/ 1940709 h 2076207"/>
              <a:gd name="csX5" fmla="*/ 22139 w 729419"/>
              <a:gd name="csY5" fmla="*/ 1907268 h 2076207"/>
              <a:gd name="csX6" fmla="*/ 57941 w 729419"/>
              <a:gd name="csY6" fmla="*/ 1774163 h 2076207"/>
              <a:gd name="csX7" fmla="*/ 102478 w 729419"/>
              <a:gd name="csY7" fmla="*/ 1720275 h 2076207"/>
              <a:gd name="csX8" fmla="*/ 108579 w 729419"/>
              <a:gd name="csY8" fmla="*/ 1650967 h 2076207"/>
              <a:gd name="csX9" fmla="*/ 115628 w 729419"/>
              <a:gd name="csY9" fmla="*/ 1625405 h 2076207"/>
              <a:gd name="csX10" fmla="*/ 156323 w 729419"/>
              <a:gd name="csY10" fmla="*/ 1560181 h 2076207"/>
              <a:gd name="csX11" fmla="*/ 199424 w 729419"/>
              <a:gd name="csY11" fmla="*/ 1364729 h 2076207"/>
              <a:gd name="csX12" fmla="*/ 216779 w 729419"/>
              <a:gd name="csY12" fmla="*/ 1219490 h 2076207"/>
              <a:gd name="csX13" fmla="*/ 229755 w 729419"/>
              <a:gd name="csY13" fmla="*/ 1099357 h 2076207"/>
              <a:gd name="csX14" fmla="*/ 232707 w 729419"/>
              <a:gd name="csY14" fmla="*/ 1056423 h 2076207"/>
              <a:gd name="csX15" fmla="*/ 235622 w 729419"/>
              <a:gd name="csY15" fmla="*/ 952675 h 2076207"/>
              <a:gd name="csX16" fmla="*/ 235445 w 729419"/>
              <a:gd name="csY16" fmla="*/ 780278 h 2076207"/>
              <a:gd name="csX17" fmla="*/ 214544 w 729419"/>
              <a:gd name="csY17" fmla="*/ 756435 h 2076207"/>
              <a:gd name="csX18" fmla="*/ 172569 w 729419"/>
              <a:gd name="csY18" fmla="*/ 742582 h 2076207"/>
              <a:gd name="csX19" fmla="*/ 168784 w 729419"/>
              <a:gd name="csY19" fmla="*/ 669116 h 2076207"/>
              <a:gd name="csX20" fmla="*/ 191657 w 729419"/>
              <a:gd name="csY20" fmla="*/ 630765 h 2076207"/>
              <a:gd name="csX21" fmla="*/ 208150 w 729419"/>
              <a:gd name="csY21" fmla="*/ 609084 h 2076207"/>
              <a:gd name="csX22" fmla="*/ 216756 w 729419"/>
              <a:gd name="csY22" fmla="*/ 558673 h 2076207"/>
              <a:gd name="csX23" fmla="*/ 209092 w 729419"/>
              <a:gd name="csY23" fmla="*/ 521540 h 2076207"/>
              <a:gd name="csX24" fmla="*/ 204683 w 729419"/>
              <a:gd name="csY24" fmla="*/ 474024 h 2076207"/>
              <a:gd name="csX25" fmla="*/ 115483 w 729419"/>
              <a:gd name="csY25" fmla="*/ 213499 h 2076207"/>
              <a:gd name="csX26" fmla="*/ 102909 w 729419"/>
              <a:gd name="csY26" fmla="*/ 182297 h 2076207"/>
              <a:gd name="csX27" fmla="*/ 104315 w 729419"/>
              <a:gd name="csY27" fmla="*/ 163968 h 2076207"/>
              <a:gd name="csX28" fmla="*/ 122444 w 729419"/>
              <a:gd name="csY28" fmla="*/ 160805 h 2076207"/>
              <a:gd name="csX29" fmla="*/ 170283 w 729419"/>
              <a:gd name="csY29" fmla="*/ 187783 h 2076207"/>
              <a:gd name="csX30" fmla="*/ 180938 w 729419"/>
              <a:gd name="csY30" fmla="*/ 195322 h 2076207"/>
              <a:gd name="csX31" fmla="*/ 221419 w 729419"/>
              <a:gd name="csY31" fmla="*/ 138058 h 2076207"/>
              <a:gd name="csX32" fmla="*/ 294099 w 729419"/>
              <a:gd name="csY32" fmla="*/ 91372 h 2076207"/>
              <a:gd name="csX33" fmla="*/ 302307 w 729419"/>
              <a:gd name="csY33" fmla="*/ 76560 h 2076207"/>
              <a:gd name="csX34" fmla="*/ 320284 w 729419"/>
              <a:gd name="csY34" fmla="*/ 8414 h 2076207"/>
              <a:gd name="csX35" fmla="*/ 324784 w 729419"/>
              <a:gd name="csY35" fmla="*/ 946 h 2076207"/>
              <a:gd name="csX36" fmla="*/ 399212 w 729419"/>
              <a:gd name="csY36" fmla="*/ 0 h 2076207"/>
              <a:gd name="csX37" fmla="*/ 425980 w 729419"/>
              <a:gd name="csY37" fmla="*/ 78301 h 2076207"/>
              <a:gd name="csX38" fmla="*/ 431861 w 729419"/>
              <a:gd name="csY38" fmla="*/ 90312 h 2076207"/>
              <a:gd name="csX39" fmla="*/ 540349 w 729419"/>
              <a:gd name="csY39" fmla="*/ 187946 h 2076207"/>
              <a:gd name="csX40" fmla="*/ 545555 w 729419"/>
              <a:gd name="csY40" fmla="*/ 197828 h 2076207"/>
              <a:gd name="csX41" fmla="*/ 587318 w 729419"/>
              <a:gd name="csY41" fmla="*/ 171260 h 2076207"/>
              <a:gd name="csX42" fmla="*/ 601503 w 729419"/>
              <a:gd name="csY42" fmla="*/ 163707 h 2076207"/>
              <a:gd name="csX43" fmla="*/ 625254 w 729419"/>
              <a:gd name="csY43" fmla="*/ 163123 h 2076207"/>
              <a:gd name="csX44" fmla="*/ 625468 w 729419"/>
              <a:gd name="csY44" fmla="*/ 187579 h 2076207"/>
              <a:gd name="csX45" fmla="*/ 597543 w 729419"/>
              <a:gd name="csY45" fmla="*/ 251872 h 2076207"/>
              <a:gd name="csX46" fmla="*/ 531831 w 729419"/>
              <a:gd name="csY46" fmla="*/ 442689 h 2076207"/>
              <a:gd name="csX47" fmla="*/ 519888 w 729419"/>
              <a:gd name="csY47" fmla="*/ 501474 h 2076207"/>
              <a:gd name="csX48" fmla="*/ 522506 w 729419"/>
              <a:gd name="csY48" fmla="*/ 525086 h 2076207"/>
              <a:gd name="csX49" fmla="*/ 516235 w 729419"/>
              <a:gd name="csY49" fmla="*/ 555946 h 2076207"/>
              <a:gd name="csX50" fmla="*/ 521332 w 729419"/>
              <a:gd name="csY50" fmla="*/ 610676 h 2076207"/>
              <a:gd name="csX51" fmla="*/ 541382 w 729419"/>
              <a:gd name="csY51" fmla="*/ 642597 h 2076207"/>
              <a:gd name="csX52" fmla="*/ 557031 w 729419"/>
              <a:gd name="csY52" fmla="*/ 667949 h 2076207"/>
              <a:gd name="csX53" fmla="*/ 553994 w 729419"/>
              <a:gd name="csY53" fmla="*/ 744146 h 2076207"/>
              <a:gd name="csX54" fmla="*/ 508215 w 729419"/>
              <a:gd name="csY54" fmla="*/ 758841 h 2076207"/>
              <a:gd name="csX55" fmla="*/ 497442 w 729419"/>
              <a:gd name="csY55" fmla="*/ 771256 h 2076207"/>
              <a:gd name="csX56" fmla="*/ 493005 w 729419"/>
              <a:gd name="csY56" fmla="*/ 922055 h 2076207"/>
              <a:gd name="csX57" fmla="*/ 502900 w 729419"/>
              <a:gd name="csY57" fmla="*/ 1114191 h 2076207"/>
              <a:gd name="csX58" fmla="*/ 508800 w 729419"/>
              <a:gd name="csY58" fmla="*/ 1205474 h 2076207"/>
              <a:gd name="csX59" fmla="*/ 522952 w 729419"/>
              <a:gd name="csY59" fmla="*/ 1320065 h 2076207"/>
              <a:gd name="csX60" fmla="*/ 554682 w 729419"/>
              <a:gd name="csY60" fmla="*/ 1501203 h 2076207"/>
              <a:gd name="csX61" fmla="*/ 576958 w 729419"/>
              <a:gd name="csY61" fmla="*/ 1593963 h 2076207"/>
              <a:gd name="csX62" fmla="*/ 595349 w 729419"/>
              <a:gd name="csY62" fmla="*/ 1613498 h 2076207"/>
              <a:gd name="csX63" fmla="*/ 613936 w 729419"/>
              <a:gd name="csY63" fmla="*/ 1624058 h 2076207"/>
              <a:gd name="csX64" fmla="*/ 620938 w 729419"/>
              <a:gd name="csY64" fmla="*/ 1652071 h 2076207"/>
              <a:gd name="csX65" fmla="*/ 630805 w 729419"/>
              <a:gd name="csY65" fmla="*/ 1721702 h 2076207"/>
              <a:gd name="csX66" fmla="*/ 685830 w 729419"/>
              <a:gd name="csY66" fmla="*/ 1792915 h 2076207"/>
              <a:gd name="csX67" fmla="*/ 708904 w 729419"/>
              <a:gd name="csY67" fmla="*/ 1890290 h 2076207"/>
              <a:gd name="csX68" fmla="*/ 716580 w 729419"/>
              <a:gd name="csY68" fmla="*/ 1951136 h 2076207"/>
              <a:gd name="csX69" fmla="*/ 729397 w 729419"/>
              <a:gd name="csY69" fmla="*/ 2030261 h 2076207"/>
              <a:gd name="csX70" fmla="*/ 714212 w 729419"/>
              <a:gd name="csY70" fmla="*/ 2049544 h 2076207"/>
              <a:gd name="csX71" fmla="*/ 645428 w 729419"/>
              <a:gd name="csY71" fmla="*/ 2070825 h 2076207"/>
              <a:gd name="csX72" fmla="*/ 635822 w 729419"/>
              <a:gd name="csY72" fmla="*/ 2075145 h 2076207"/>
              <a:gd name="csX73" fmla="*/ 588428 w 729419"/>
              <a:gd name="csY73" fmla="*/ 2075144 h 2076207"/>
              <a:gd name="csX74" fmla="*/ 590041 w 729419"/>
              <a:gd name="csY74" fmla="*/ 2071383 h 2076207"/>
              <a:gd name="csX75" fmla="*/ 667788 w 729419"/>
              <a:gd name="csY75" fmla="*/ 2056852 h 2076207"/>
              <a:gd name="csX76" fmla="*/ 706629 w 729419"/>
              <a:gd name="csY76" fmla="*/ 2044290 h 2076207"/>
              <a:gd name="csX77" fmla="*/ 702674 w 729419"/>
              <a:gd name="csY77" fmla="*/ 2041581 h 2076207"/>
              <a:gd name="csX78" fmla="*/ 544974 w 729419"/>
              <a:gd name="csY78" fmla="*/ 2071274 h 2076207"/>
              <a:gd name="csX79" fmla="*/ 538352 w 729419"/>
              <a:gd name="csY79" fmla="*/ 2076207 h 2076207"/>
              <a:gd name="csX80" fmla="*/ 96263 w 729419"/>
              <a:gd name="csY80" fmla="*/ 2076207 h 2076207"/>
              <a:gd name="csX81" fmla="*/ 489970 w 729419"/>
              <a:gd name="csY81" fmla="*/ 152208 h 2076207"/>
              <a:gd name="csX82" fmla="*/ 490754 w 729419"/>
              <a:gd name="csY82" fmla="*/ 152592 h 2076207"/>
              <a:gd name="csX83" fmla="*/ 489489 w 729419"/>
              <a:gd name="csY83" fmla="*/ 149547 h 2076207"/>
              <a:gd name="csX84" fmla="*/ 393621 w 729419"/>
              <a:gd name="csY84" fmla="*/ 99259 h 2076207"/>
              <a:gd name="csX85" fmla="*/ 390419 w 729419"/>
              <a:gd name="csY85" fmla="*/ 18568 h 2076207"/>
              <a:gd name="csX86" fmla="*/ 334131 w 729419"/>
              <a:gd name="csY86" fmla="*/ 24327 h 2076207"/>
              <a:gd name="csX87" fmla="*/ 344678 w 729419"/>
              <a:gd name="csY87" fmla="*/ 101259 h 2076207"/>
              <a:gd name="csX88" fmla="*/ 298854 w 729419"/>
              <a:gd name="csY88" fmla="*/ 114003 h 2076207"/>
              <a:gd name="csX89" fmla="*/ 237456 w 729419"/>
              <a:gd name="csY89" fmla="*/ 154340 h 2076207"/>
              <a:gd name="csX90" fmla="*/ 240382 w 729419"/>
              <a:gd name="csY90" fmla="*/ 154035 h 2076207"/>
              <a:gd name="csX91" fmla="*/ 262731 w 729419"/>
              <a:gd name="csY91" fmla="*/ 170426 h 2076207"/>
              <a:gd name="csX92" fmla="*/ 279169 w 729419"/>
              <a:gd name="csY92" fmla="*/ 193173 h 2076207"/>
              <a:gd name="csX93" fmla="*/ 327717 w 729419"/>
              <a:gd name="csY93" fmla="*/ 188556 h 2076207"/>
              <a:gd name="csX94" fmla="*/ 348052 w 729419"/>
              <a:gd name="csY94" fmla="*/ 156919 h 2076207"/>
              <a:gd name="csX95" fmla="*/ 380330 w 729419"/>
              <a:gd name="csY95" fmla="*/ 156483 h 2076207"/>
              <a:gd name="csX96" fmla="*/ 408490 w 729419"/>
              <a:gd name="csY96" fmla="*/ 195400 h 2076207"/>
              <a:gd name="csX97" fmla="*/ 445346 w 729419"/>
              <a:gd name="csY97" fmla="*/ 197582 h 2076207"/>
              <a:gd name="csX98" fmla="*/ 464798 w 729419"/>
              <a:gd name="csY98" fmla="*/ 174107 h 2076207"/>
              <a:gd name="csX99" fmla="*/ 489970 w 729419"/>
              <a:gd name="csY99" fmla="*/ 152208 h 2076207"/>
              <a:gd name="csX100" fmla="*/ 140694 w 729419"/>
              <a:gd name="csY100" fmla="*/ 201837 h 2076207"/>
              <a:gd name="csX101" fmla="*/ 139834 w 729419"/>
              <a:gd name="csY101" fmla="*/ 201482 h 2076207"/>
              <a:gd name="csX102" fmla="*/ 140812 w 729419"/>
              <a:gd name="csY102" fmla="*/ 204941 h 2076207"/>
              <a:gd name="csX103" fmla="*/ 144631 w 729419"/>
              <a:gd name="csY103" fmla="*/ 217811 h 2076207"/>
              <a:gd name="csX104" fmla="*/ 201241 w 729419"/>
              <a:gd name="csY104" fmla="*/ 373387 h 2076207"/>
              <a:gd name="csX105" fmla="*/ 235971 w 729419"/>
              <a:gd name="csY105" fmla="*/ 504451 h 2076207"/>
              <a:gd name="csX106" fmla="*/ 247475 w 729419"/>
              <a:gd name="csY106" fmla="*/ 513241 h 2076207"/>
              <a:gd name="csX107" fmla="*/ 289066 w 729419"/>
              <a:gd name="csY107" fmla="*/ 511170 h 2076207"/>
              <a:gd name="csX108" fmla="*/ 378229 w 729419"/>
              <a:gd name="csY108" fmla="*/ 511084 h 2076207"/>
              <a:gd name="csX109" fmla="*/ 470850 w 729419"/>
              <a:gd name="csY109" fmla="*/ 516341 h 2076207"/>
              <a:gd name="csX110" fmla="*/ 492933 w 729419"/>
              <a:gd name="csY110" fmla="*/ 497969 h 2076207"/>
              <a:gd name="csX111" fmla="*/ 557617 w 729419"/>
              <a:gd name="csY111" fmla="*/ 280398 h 2076207"/>
              <a:gd name="csX112" fmla="*/ 588788 w 729419"/>
              <a:gd name="csY112" fmla="*/ 200385 h 2076207"/>
              <a:gd name="csX113" fmla="*/ 530958 w 729419"/>
              <a:gd name="csY113" fmla="*/ 232968 h 2076207"/>
              <a:gd name="csX114" fmla="*/ 483823 w 729419"/>
              <a:gd name="csY114" fmla="*/ 190364 h 2076207"/>
              <a:gd name="csX115" fmla="*/ 466649 w 729419"/>
              <a:gd name="csY115" fmla="*/ 209061 h 2076207"/>
              <a:gd name="csX116" fmla="*/ 399941 w 729419"/>
              <a:gd name="csY116" fmla="*/ 216988 h 2076207"/>
              <a:gd name="csX117" fmla="*/ 363018 w 729419"/>
              <a:gd name="csY117" fmla="*/ 179615 h 2076207"/>
              <a:gd name="csX118" fmla="*/ 308839 w 729419"/>
              <a:gd name="csY118" fmla="*/ 227846 h 2076207"/>
              <a:gd name="csX119" fmla="*/ 245077 w 729419"/>
              <a:gd name="csY119" fmla="*/ 192402 h 2076207"/>
              <a:gd name="csX120" fmla="*/ 242829 w 729419"/>
              <a:gd name="csY120" fmla="*/ 198815 h 2076207"/>
              <a:gd name="csX121" fmla="*/ 168452 w 729419"/>
              <a:gd name="csY121" fmla="*/ 219348 h 2076207"/>
              <a:gd name="csX122" fmla="*/ 140694 w 729419"/>
              <a:gd name="csY122" fmla="*/ 201837 h 2076207"/>
              <a:gd name="csX123" fmla="*/ 259999 w 729419"/>
              <a:gd name="csY123" fmla="*/ 966699 h 2076207"/>
              <a:gd name="csX124" fmla="*/ 257072 w 729419"/>
              <a:gd name="csY124" fmla="*/ 1070424 h 2076207"/>
              <a:gd name="csX125" fmla="*/ 251372 w 729419"/>
              <a:gd name="csY125" fmla="*/ 1157618 h 2076207"/>
              <a:gd name="csX126" fmla="*/ 232677 w 729419"/>
              <a:gd name="csY126" fmla="*/ 1320279 h 2076207"/>
              <a:gd name="csX127" fmla="*/ 209182 w 729419"/>
              <a:gd name="csY127" fmla="*/ 1468667 h 2076207"/>
              <a:gd name="csX128" fmla="*/ 175302 w 729419"/>
              <a:gd name="csY128" fmla="*/ 1616623 h 2076207"/>
              <a:gd name="csX129" fmla="*/ 182769 w 729419"/>
              <a:gd name="csY129" fmla="*/ 1629786 h 2076207"/>
              <a:gd name="csX130" fmla="*/ 212156 w 729419"/>
              <a:gd name="csY130" fmla="*/ 1632656 h 2076207"/>
              <a:gd name="csX131" fmla="*/ 351295 w 729419"/>
              <a:gd name="csY131" fmla="*/ 1632801 h 2076207"/>
              <a:gd name="csX132" fmla="*/ 376150 w 729419"/>
              <a:gd name="csY132" fmla="*/ 1608307 h 2076207"/>
              <a:gd name="csX133" fmla="*/ 373450 w 729419"/>
              <a:gd name="csY133" fmla="*/ 1457291 h 2076207"/>
              <a:gd name="csX134" fmla="*/ 370936 w 729419"/>
              <a:gd name="csY134" fmla="*/ 1342736 h 2076207"/>
              <a:gd name="csX135" fmla="*/ 368328 w 729419"/>
              <a:gd name="csY135" fmla="*/ 1203878 h 2076207"/>
              <a:gd name="csX136" fmla="*/ 367836 w 729419"/>
              <a:gd name="csY136" fmla="*/ 813478 h 2076207"/>
              <a:gd name="csX137" fmla="*/ 365240 w 729419"/>
              <a:gd name="csY137" fmla="*/ 773243 h 2076207"/>
              <a:gd name="csX138" fmla="*/ 353084 w 729419"/>
              <a:gd name="csY138" fmla="*/ 762083 h 2076207"/>
              <a:gd name="csX139" fmla="*/ 280966 w 729419"/>
              <a:gd name="csY139" fmla="*/ 759855 h 2076207"/>
              <a:gd name="csX140" fmla="*/ 259965 w 729419"/>
              <a:gd name="csY140" fmla="*/ 779553 h 2076207"/>
              <a:gd name="csX141" fmla="*/ 262341 w 729419"/>
              <a:gd name="csY141" fmla="*/ 856275 h 2076207"/>
              <a:gd name="csX142" fmla="*/ 259999 w 729419"/>
              <a:gd name="csY142" fmla="*/ 966699 h 2076207"/>
              <a:gd name="csX143" fmla="*/ 55556 w 729419"/>
              <a:gd name="csY143" fmla="*/ 1835827 h 2076207"/>
              <a:gd name="csX144" fmla="*/ 49393 w 729419"/>
              <a:gd name="csY144" fmla="*/ 1878155 h 2076207"/>
              <a:gd name="csX145" fmla="*/ 73949 w 729419"/>
              <a:gd name="csY145" fmla="*/ 1905781 h 2076207"/>
              <a:gd name="csX146" fmla="*/ 110073 w 729419"/>
              <a:gd name="csY146" fmla="*/ 1909068 h 2076207"/>
              <a:gd name="csX147" fmla="*/ 224745 w 729419"/>
              <a:gd name="csY147" fmla="*/ 1921652 h 2076207"/>
              <a:gd name="csX148" fmla="*/ 347327 w 729419"/>
              <a:gd name="csY148" fmla="*/ 1924778 h 2076207"/>
              <a:gd name="csX149" fmla="*/ 363345 w 729419"/>
              <a:gd name="csY149" fmla="*/ 1923293 h 2076207"/>
              <a:gd name="csX150" fmla="*/ 373787 w 729419"/>
              <a:gd name="csY150" fmla="*/ 1911200 h 2076207"/>
              <a:gd name="csX151" fmla="*/ 376623 w 729419"/>
              <a:gd name="csY151" fmla="*/ 1696741 h 2076207"/>
              <a:gd name="csX152" fmla="*/ 360437 w 729419"/>
              <a:gd name="csY152" fmla="*/ 1681289 h 2076207"/>
              <a:gd name="csX153" fmla="*/ 263503 w 729419"/>
              <a:gd name="csY153" fmla="*/ 1678179 h 2076207"/>
              <a:gd name="csX154" fmla="*/ 160381 w 729419"/>
              <a:gd name="csY154" fmla="*/ 1670405 h 2076207"/>
              <a:gd name="csX155" fmla="*/ 143321 w 729419"/>
              <a:gd name="csY155" fmla="*/ 1685538 h 2076207"/>
              <a:gd name="csX156" fmla="*/ 124769 w 729419"/>
              <a:gd name="csY156" fmla="*/ 1738195 h 2076207"/>
              <a:gd name="csX157" fmla="*/ 90593 w 729419"/>
              <a:gd name="csY157" fmla="*/ 1779570 h 2076207"/>
              <a:gd name="csX158" fmla="*/ 55556 w 729419"/>
              <a:gd name="csY158" fmla="*/ 1835827 h 2076207"/>
              <a:gd name="csX159" fmla="*/ 378900 w 729419"/>
              <a:gd name="csY159" fmla="*/ 2007280 h 2076207"/>
              <a:gd name="csX160" fmla="*/ 378887 w 729419"/>
              <a:gd name="csY160" fmla="*/ 1995127 h 2076207"/>
              <a:gd name="csX161" fmla="*/ 359084 w 729419"/>
              <a:gd name="csY161" fmla="*/ 1975964 h 2076207"/>
              <a:gd name="csX162" fmla="*/ 247288 w 729419"/>
              <a:gd name="csY162" fmla="*/ 1973305 h 2076207"/>
              <a:gd name="csX163" fmla="*/ 201692 w 729419"/>
              <a:gd name="csY163" fmla="*/ 1970275 h 2076207"/>
              <a:gd name="csX164" fmla="*/ 57962 w 729419"/>
              <a:gd name="csY164" fmla="*/ 1952648 h 2076207"/>
              <a:gd name="csX165" fmla="*/ 39194 w 729419"/>
              <a:gd name="csY165" fmla="*/ 1963552 h 2076207"/>
              <a:gd name="csX166" fmla="*/ 30066 w 729419"/>
              <a:gd name="csY166" fmla="*/ 2006631 h 2076207"/>
              <a:gd name="csX167" fmla="*/ 40232 w 729419"/>
              <a:gd name="csY167" fmla="*/ 2019486 h 2076207"/>
              <a:gd name="csX168" fmla="*/ 238186 w 729419"/>
              <a:gd name="csY168" fmla="*/ 2046096 h 2076207"/>
              <a:gd name="csX169" fmla="*/ 342155 w 729419"/>
              <a:gd name="csY169" fmla="*/ 2046441 h 2076207"/>
              <a:gd name="csX170" fmla="*/ 378900 w 729419"/>
              <a:gd name="csY170" fmla="*/ 2007280 h 2076207"/>
              <a:gd name="csX171" fmla="*/ 310220 w 729419"/>
              <a:gd name="csY171" fmla="*/ 554288 h 2076207"/>
              <a:gd name="csX172" fmla="*/ 259136 w 729419"/>
              <a:gd name="csY172" fmla="*/ 556881 h 2076207"/>
              <a:gd name="csX173" fmla="*/ 249085 w 729419"/>
              <a:gd name="csY173" fmla="*/ 567981 h 2076207"/>
              <a:gd name="csX174" fmla="*/ 249141 w 729419"/>
              <a:gd name="csY174" fmla="*/ 605644 h 2076207"/>
              <a:gd name="csX175" fmla="*/ 262628 w 729419"/>
              <a:gd name="csY175" fmla="*/ 605627 h 2076207"/>
              <a:gd name="csX176" fmla="*/ 369608 w 729419"/>
              <a:gd name="csY176" fmla="*/ 603027 h 2076207"/>
              <a:gd name="csX177" fmla="*/ 463931 w 729419"/>
              <a:gd name="csY177" fmla="*/ 605146 h 2076207"/>
              <a:gd name="csX178" fmla="*/ 478113 w 729419"/>
              <a:gd name="csY178" fmla="*/ 595843 h 2076207"/>
              <a:gd name="csX179" fmla="*/ 478796 w 729419"/>
              <a:gd name="csY179" fmla="*/ 556832 h 2076207"/>
              <a:gd name="csX180" fmla="*/ 310220 w 729419"/>
              <a:gd name="csY180" fmla="*/ 554288 h 2076207"/>
              <a:gd name="csX181" fmla="*/ 348836 w 729419"/>
              <a:gd name="csY181" fmla="*/ 684115 h 2076207"/>
              <a:gd name="csX182" fmla="*/ 281333 w 729419"/>
              <a:gd name="csY182" fmla="*/ 683313 h 2076207"/>
              <a:gd name="csX183" fmla="*/ 212728 w 729419"/>
              <a:gd name="csY183" fmla="*/ 681931 h 2076207"/>
              <a:gd name="csX184" fmla="*/ 187283 w 729419"/>
              <a:gd name="csY184" fmla="*/ 689555 h 2076207"/>
              <a:gd name="csX185" fmla="*/ 186163 w 729419"/>
              <a:gd name="csY185" fmla="*/ 718266 h 2076207"/>
              <a:gd name="csX186" fmla="*/ 209894 w 729419"/>
              <a:gd name="csY186" fmla="*/ 726798 h 2076207"/>
              <a:gd name="csX187" fmla="*/ 334814 w 729419"/>
              <a:gd name="csY187" fmla="*/ 732494 h 2076207"/>
              <a:gd name="csX188" fmla="*/ 364856 w 729419"/>
              <a:gd name="csY188" fmla="*/ 707963 h 2076207"/>
              <a:gd name="csX189" fmla="*/ 348836 w 729419"/>
              <a:gd name="csY189" fmla="*/ 684115 h 2076207"/>
              <a:gd name="csX190" fmla="*/ 298865 w 729419"/>
              <a:gd name="csY190" fmla="*/ 621954 h 2076207"/>
              <a:gd name="csX191" fmla="*/ 251619 w 729419"/>
              <a:gd name="csY191" fmla="*/ 622133 h 2076207"/>
              <a:gd name="csX192" fmla="*/ 214459 w 729419"/>
              <a:gd name="csY192" fmla="*/ 636230 h 2076207"/>
              <a:gd name="csX193" fmla="*/ 221436 w 729419"/>
              <a:gd name="csY193" fmla="*/ 654205 h 2076207"/>
              <a:gd name="csX194" fmla="*/ 272412 w 729419"/>
              <a:gd name="csY194" fmla="*/ 657250 h 2076207"/>
              <a:gd name="csX195" fmla="*/ 349094 w 729419"/>
              <a:gd name="csY195" fmla="*/ 659282 h 2076207"/>
              <a:gd name="csX196" fmla="*/ 362996 w 729419"/>
              <a:gd name="csY196" fmla="*/ 644234 h 2076207"/>
              <a:gd name="csX197" fmla="*/ 348472 w 729419"/>
              <a:gd name="csY197" fmla="*/ 624649 h 2076207"/>
              <a:gd name="csX198" fmla="*/ 298865 w 729419"/>
              <a:gd name="csY198" fmla="*/ 621954 h 2076207"/>
              <a:gd name="csX199" fmla="*/ 227796 w 729419"/>
              <a:gd name="csY199" fmla="*/ 528000 h 2076207"/>
              <a:gd name="csX200" fmla="*/ 241009 w 729419"/>
              <a:gd name="csY200" fmla="*/ 545897 h 2076207"/>
              <a:gd name="csX201" fmla="*/ 282607 w 729419"/>
              <a:gd name="csY201" fmla="*/ 543480 h 2076207"/>
              <a:gd name="csX202" fmla="*/ 354213 w 729419"/>
              <a:gd name="csY202" fmla="*/ 543384 h 2076207"/>
              <a:gd name="csX203" fmla="*/ 365334 w 729419"/>
              <a:gd name="csY203" fmla="*/ 533397 h 2076207"/>
              <a:gd name="csX204" fmla="*/ 354531 w 729419"/>
              <a:gd name="csY204" fmla="*/ 521620 h 2076207"/>
              <a:gd name="csX205" fmla="*/ 259169 w 729419"/>
              <a:gd name="csY205" fmla="*/ 521978 h 2076207"/>
              <a:gd name="csX206" fmla="*/ 227796 w 729419"/>
              <a:gd name="csY206" fmla="*/ 528000 h 2076207"/>
              <a:gd name="csX207" fmla="*/ 508068 w 729419"/>
              <a:gd name="csY207" fmla="*/ 190710 h 2076207"/>
              <a:gd name="csX208" fmla="*/ 521293 w 729419"/>
              <a:gd name="csY208" fmla="*/ 205907 h 2076207"/>
              <a:gd name="csX209" fmla="*/ 525175 w 729419"/>
              <a:gd name="csY209" fmla="*/ 202985 h 2076207"/>
              <a:gd name="csX210" fmla="*/ 500276 w 729419"/>
              <a:gd name="csY210" fmla="*/ 160640 h 2076207"/>
              <a:gd name="csX211" fmla="*/ 497122 w 729419"/>
              <a:gd name="csY211" fmla="*/ 162007 h 2076207"/>
              <a:gd name="csX212" fmla="*/ 508068 w 729419"/>
              <a:gd name="csY212" fmla="*/ 190710 h 2076207"/>
              <a:gd name="csX213" fmla="*/ 215522 w 729419"/>
              <a:gd name="csY213" fmla="*/ 197296 h 2076207"/>
              <a:gd name="csX214" fmla="*/ 234029 w 729419"/>
              <a:gd name="csY214" fmla="*/ 162725 h 2076207"/>
              <a:gd name="csX215" fmla="*/ 229000 w 729419"/>
              <a:gd name="csY215" fmla="*/ 159902 h 2076207"/>
              <a:gd name="csX216" fmla="*/ 204824 w 729419"/>
              <a:gd name="csY216" fmla="*/ 199677 h 2076207"/>
              <a:gd name="csX217" fmla="*/ 207990 w 729419"/>
              <a:gd name="csY217" fmla="*/ 202198 h 2076207"/>
              <a:gd name="csX218" fmla="*/ 215522 w 729419"/>
              <a:gd name="csY218" fmla="*/ 197296 h 2076207"/>
              <a:gd name="csX219" fmla="*/ 484400 w 729419"/>
              <a:gd name="csY219" fmla="*/ 896678 h 2076207"/>
              <a:gd name="csX220" fmla="*/ 486181 w 729419"/>
              <a:gd name="csY220" fmla="*/ 896585 h 2076207"/>
              <a:gd name="csX221" fmla="*/ 486181 w 729419"/>
              <a:gd name="csY221" fmla="*/ 795289 h 2076207"/>
              <a:gd name="csX222" fmla="*/ 720241 w 729419"/>
              <a:gd name="csY222" fmla="*/ 2030666 h 2076207"/>
              <a:gd name="csX223" fmla="*/ 721175 w 729419"/>
              <a:gd name="csY223" fmla="*/ 2029733 h 2076207"/>
              <a:gd name="csX224" fmla="*/ 720241 w 729419"/>
              <a:gd name="csY224" fmla="*/ 2030666 h 2076207"/>
              <a:gd name="csX225" fmla="*/ 715702 w 729419"/>
              <a:gd name="csY225" fmla="*/ 2037051 h 2076207"/>
              <a:gd name="csX226" fmla="*/ 715702 w 729419"/>
              <a:gd name="csY226" fmla="*/ 2037051 h 2076207"/>
              <a:gd name="csX227" fmla="*/ 709953 w 729419"/>
              <a:gd name="csY227" fmla="*/ 2040017 h 2076207"/>
              <a:gd name="csX228" fmla="*/ 710209 w 729419"/>
              <a:gd name="csY228" fmla="*/ 2039597 h 2076207"/>
              <a:gd name="csX229" fmla="*/ 709953 w 729419"/>
              <a:gd name="csY229" fmla="*/ 2040017 h 2076207"/>
              <a:gd name="csX0" fmla="*/ 96263 w 729419"/>
              <a:gd name="csY0" fmla="*/ 2076207 h 2076207"/>
              <a:gd name="csX1" fmla="*/ 63862 w 729419"/>
              <a:gd name="csY1" fmla="*/ 2065388 h 2076207"/>
              <a:gd name="csX2" fmla="*/ 16555 w 729419"/>
              <a:gd name="csY2" fmla="*/ 2050152 h 2076207"/>
              <a:gd name="csX3" fmla="*/ 15 w 729419"/>
              <a:gd name="csY3" fmla="*/ 2023802 h 2076207"/>
              <a:gd name="csX4" fmla="*/ 18368 w 729419"/>
              <a:gd name="csY4" fmla="*/ 1940709 h 2076207"/>
              <a:gd name="csX5" fmla="*/ 22139 w 729419"/>
              <a:gd name="csY5" fmla="*/ 1907268 h 2076207"/>
              <a:gd name="csX6" fmla="*/ 57941 w 729419"/>
              <a:gd name="csY6" fmla="*/ 1774163 h 2076207"/>
              <a:gd name="csX7" fmla="*/ 102478 w 729419"/>
              <a:gd name="csY7" fmla="*/ 1720275 h 2076207"/>
              <a:gd name="csX8" fmla="*/ 108579 w 729419"/>
              <a:gd name="csY8" fmla="*/ 1650967 h 2076207"/>
              <a:gd name="csX9" fmla="*/ 115628 w 729419"/>
              <a:gd name="csY9" fmla="*/ 1625405 h 2076207"/>
              <a:gd name="csX10" fmla="*/ 156323 w 729419"/>
              <a:gd name="csY10" fmla="*/ 1560181 h 2076207"/>
              <a:gd name="csX11" fmla="*/ 199424 w 729419"/>
              <a:gd name="csY11" fmla="*/ 1364729 h 2076207"/>
              <a:gd name="csX12" fmla="*/ 216779 w 729419"/>
              <a:gd name="csY12" fmla="*/ 1219490 h 2076207"/>
              <a:gd name="csX13" fmla="*/ 229755 w 729419"/>
              <a:gd name="csY13" fmla="*/ 1099357 h 2076207"/>
              <a:gd name="csX14" fmla="*/ 232707 w 729419"/>
              <a:gd name="csY14" fmla="*/ 1056423 h 2076207"/>
              <a:gd name="csX15" fmla="*/ 235622 w 729419"/>
              <a:gd name="csY15" fmla="*/ 952675 h 2076207"/>
              <a:gd name="csX16" fmla="*/ 235445 w 729419"/>
              <a:gd name="csY16" fmla="*/ 780278 h 2076207"/>
              <a:gd name="csX17" fmla="*/ 214544 w 729419"/>
              <a:gd name="csY17" fmla="*/ 756435 h 2076207"/>
              <a:gd name="csX18" fmla="*/ 172569 w 729419"/>
              <a:gd name="csY18" fmla="*/ 742582 h 2076207"/>
              <a:gd name="csX19" fmla="*/ 168784 w 729419"/>
              <a:gd name="csY19" fmla="*/ 669116 h 2076207"/>
              <a:gd name="csX20" fmla="*/ 191657 w 729419"/>
              <a:gd name="csY20" fmla="*/ 630765 h 2076207"/>
              <a:gd name="csX21" fmla="*/ 208150 w 729419"/>
              <a:gd name="csY21" fmla="*/ 609084 h 2076207"/>
              <a:gd name="csX22" fmla="*/ 216756 w 729419"/>
              <a:gd name="csY22" fmla="*/ 558673 h 2076207"/>
              <a:gd name="csX23" fmla="*/ 209092 w 729419"/>
              <a:gd name="csY23" fmla="*/ 521540 h 2076207"/>
              <a:gd name="csX24" fmla="*/ 204683 w 729419"/>
              <a:gd name="csY24" fmla="*/ 474024 h 2076207"/>
              <a:gd name="csX25" fmla="*/ 115483 w 729419"/>
              <a:gd name="csY25" fmla="*/ 213499 h 2076207"/>
              <a:gd name="csX26" fmla="*/ 102909 w 729419"/>
              <a:gd name="csY26" fmla="*/ 182297 h 2076207"/>
              <a:gd name="csX27" fmla="*/ 104315 w 729419"/>
              <a:gd name="csY27" fmla="*/ 163968 h 2076207"/>
              <a:gd name="csX28" fmla="*/ 122444 w 729419"/>
              <a:gd name="csY28" fmla="*/ 160805 h 2076207"/>
              <a:gd name="csX29" fmla="*/ 170283 w 729419"/>
              <a:gd name="csY29" fmla="*/ 187783 h 2076207"/>
              <a:gd name="csX30" fmla="*/ 180938 w 729419"/>
              <a:gd name="csY30" fmla="*/ 195322 h 2076207"/>
              <a:gd name="csX31" fmla="*/ 221419 w 729419"/>
              <a:gd name="csY31" fmla="*/ 138058 h 2076207"/>
              <a:gd name="csX32" fmla="*/ 294099 w 729419"/>
              <a:gd name="csY32" fmla="*/ 91372 h 2076207"/>
              <a:gd name="csX33" fmla="*/ 302307 w 729419"/>
              <a:gd name="csY33" fmla="*/ 76560 h 2076207"/>
              <a:gd name="csX34" fmla="*/ 320284 w 729419"/>
              <a:gd name="csY34" fmla="*/ 8414 h 2076207"/>
              <a:gd name="csX35" fmla="*/ 324784 w 729419"/>
              <a:gd name="csY35" fmla="*/ 946 h 2076207"/>
              <a:gd name="csX36" fmla="*/ 399212 w 729419"/>
              <a:gd name="csY36" fmla="*/ 0 h 2076207"/>
              <a:gd name="csX37" fmla="*/ 425980 w 729419"/>
              <a:gd name="csY37" fmla="*/ 78301 h 2076207"/>
              <a:gd name="csX38" fmla="*/ 431861 w 729419"/>
              <a:gd name="csY38" fmla="*/ 90312 h 2076207"/>
              <a:gd name="csX39" fmla="*/ 540349 w 729419"/>
              <a:gd name="csY39" fmla="*/ 187946 h 2076207"/>
              <a:gd name="csX40" fmla="*/ 545555 w 729419"/>
              <a:gd name="csY40" fmla="*/ 197828 h 2076207"/>
              <a:gd name="csX41" fmla="*/ 587318 w 729419"/>
              <a:gd name="csY41" fmla="*/ 171260 h 2076207"/>
              <a:gd name="csX42" fmla="*/ 601503 w 729419"/>
              <a:gd name="csY42" fmla="*/ 163707 h 2076207"/>
              <a:gd name="csX43" fmla="*/ 625254 w 729419"/>
              <a:gd name="csY43" fmla="*/ 163123 h 2076207"/>
              <a:gd name="csX44" fmla="*/ 625468 w 729419"/>
              <a:gd name="csY44" fmla="*/ 187579 h 2076207"/>
              <a:gd name="csX45" fmla="*/ 597543 w 729419"/>
              <a:gd name="csY45" fmla="*/ 251872 h 2076207"/>
              <a:gd name="csX46" fmla="*/ 531831 w 729419"/>
              <a:gd name="csY46" fmla="*/ 442689 h 2076207"/>
              <a:gd name="csX47" fmla="*/ 519888 w 729419"/>
              <a:gd name="csY47" fmla="*/ 501474 h 2076207"/>
              <a:gd name="csX48" fmla="*/ 522506 w 729419"/>
              <a:gd name="csY48" fmla="*/ 525086 h 2076207"/>
              <a:gd name="csX49" fmla="*/ 516235 w 729419"/>
              <a:gd name="csY49" fmla="*/ 555946 h 2076207"/>
              <a:gd name="csX50" fmla="*/ 521332 w 729419"/>
              <a:gd name="csY50" fmla="*/ 610676 h 2076207"/>
              <a:gd name="csX51" fmla="*/ 541382 w 729419"/>
              <a:gd name="csY51" fmla="*/ 642597 h 2076207"/>
              <a:gd name="csX52" fmla="*/ 557031 w 729419"/>
              <a:gd name="csY52" fmla="*/ 667949 h 2076207"/>
              <a:gd name="csX53" fmla="*/ 553994 w 729419"/>
              <a:gd name="csY53" fmla="*/ 744146 h 2076207"/>
              <a:gd name="csX54" fmla="*/ 508215 w 729419"/>
              <a:gd name="csY54" fmla="*/ 758841 h 2076207"/>
              <a:gd name="csX55" fmla="*/ 497442 w 729419"/>
              <a:gd name="csY55" fmla="*/ 771256 h 2076207"/>
              <a:gd name="csX56" fmla="*/ 493005 w 729419"/>
              <a:gd name="csY56" fmla="*/ 922055 h 2076207"/>
              <a:gd name="csX57" fmla="*/ 502900 w 729419"/>
              <a:gd name="csY57" fmla="*/ 1114191 h 2076207"/>
              <a:gd name="csX58" fmla="*/ 508800 w 729419"/>
              <a:gd name="csY58" fmla="*/ 1205474 h 2076207"/>
              <a:gd name="csX59" fmla="*/ 522952 w 729419"/>
              <a:gd name="csY59" fmla="*/ 1320065 h 2076207"/>
              <a:gd name="csX60" fmla="*/ 554682 w 729419"/>
              <a:gd name="csY60" fmla="*/ 1501203 h 2076207"/>
              <a:gd name="csX61" fmla="*/ 576958 w 729419"/>
              <a:gd name="csY61" fmla="*/ 1593963 h 2076207"/>
              <a:gd name="csX62" fmla="*/ 595349 w 729419"/>
              <a:gd name="csY62" fmla="*/ 1613498 h 2076207"/>
              <a:gd name="csX63" fmla="*/ 613936 w 729419"/>
              <a:gd name="csY63" fmla="*/ 1624058 h 2076207"/>
              <a:gd name="csX64" fmla="*/ 620938 w 729419"/>
              <a:gd name="csY64" fmla="*/ 1652071 h 2076207"/>
              <a:gd name="csX65" fmla="*/ 630805 w 729419"/>
              <a:gd name="csY65" fmla="*/ 1721702 h 2076207"/>
              <a:gd name="csX66" fmla="*/ 685830 w 729419"/>
              <a:gd name="csY66" fmla="*/ 1792915 h 2076207"/>
              <a:gd name="csX67" fmla="*/ 708904 w 729419"/>
              <a:gd name="csY67" fmla="*/ 1890290 h 2076207"/>
              <a:gd name="csX68" fmla="*/ 716580 w 729419"/>
              <a:gd name="csY68" fmla="*/ 1951136 h 2076207"/>
              <a:gd name="csX69" fmla="*/ 729397 w 729419"/>
              <a:gd name="csY69" fmla="*/ 2030261 h 2076207"/>
              <a:gd name="csX70" fmla="*/ 714212 w 729419"/>
              <a:gd name="csY70" fmla="*/ 2049544 h 2076207"/>
              <a:gd name="csX71" fmla="*/ 645428 w 729419"/>
              <a:gd name="csY71" fmla="*/ 2070825 h 2076207"/>
              <a:gd name="csX72" fmla="*/ 635822 w 729419"/>
              <a:gd name="csY72" fmla="*/ 2075145 h 2076207"/>
              <a:gd name="csX73" fmla="*/ 588428 w 729419"/>
              <a:gd name="csY73" fmla="*/ 2075144 h 2076207"/>
              <a:gd name="csX74" fmla="*/ 590041 w 729419"/>
              <a:gd name="csY74" fmla="*/ 2071383 h 2076207"/>
              <a:gd name="csX75" fmla="*/ 667788 w 729419"/>
              <a:gd name="csY75" fmla="*/ 2056852 h 2076207"/>
              <a:gd name="csX76" fmla="*/ 706629 w 729419"/>
              <a:gd name="csY76" fmla="*/ 2044290 h 2076207"/>
              <a:gd name="csX77" fmla="*/ 702674 w 729419"/>
              <a:gd name="csY77" fmla="*/ 2041581 h 2076207"/>
              <a:gd name="csX78" fmla="*/ 544974 w 729419"/>
              <a:gd name="csY78" fmla="*/ 2071274 h 2076207"/>
              <a:gd name="csX79" fmla="*/ 538352 w 729419"/>
              <a:gd name="csY79" fmla="*/ 2076207 h 2076207"/>
              <a:gd name="csX80" fmla="*/ 96263 w 729419"/>
              <a:gd name="csY80" fmla="*/ 2076207 h 2076207"/>
              <a:gd name="csX81" fmla="*/ 489970 w 729419"/>
              <a:gd name="csY81" fmla="*/ 152208 h 2076207"/>
              <a:gd name="csX82" fmla="*/ 490754 w 729419"/>
              <a:gd name="csY82" fmla="*/ 152592 h 2076207"/>
              <a:gd name="csX83" fmla="*/ 489489 w 729419"/>
              <a:gd name="csY83" fmla="*/ 149547 h 2076207"/>
              <a:gd name="csX84" fmla="*/ 393621 w 729419"/>
              <a:gd name="csY84" fmla="*/ 99259 h 2076207"/>
              <a:gd name="csX85" fmla="*/ 390419 w 729419"/>
              <a:gd name="csY85" fmla="*/ 18568 h 2076207"/>
              <a:gd name="csX86" fmla="*/ 334131 w 729419"/>
              <a:gd name="csY86" fmla="*/ 24327 h 2076207"/>
              <a:gd name="csX87" fmla="*/ 344678 w 729419"/>
              <a:gd name="csY87" fmla="*/ 101259 h 2076207"/>
              <a:gd name="csX88" fmla="*/ 298854 w 729419"/>
              <a:gd name="csY88" fmla="*/ 114003 h 2076207"/>
              <a:gd name="csX89" fmla="*/ 237456 w 729419"/>
              <a:gd name="csY89" fmla="*/ 154340 h 2076207"/>
              <a:gd name="csX90" fmla="*/ 240382 w 729419"/>
              <a:gd name="csY90" fmla="*/ 154035 h 2076207"/>
              <a:gd name="csX91" fmla="*/ 262731 w 729419"/>
              <a:gd name="csY91" fmla="*/ 170426 h 2076207"/>
              <a:gd name="csX92" fmla="*/ 279169 w 729419"/>
              <a:gd name="csY92" fmla="*/ 193173 h 2076207"/>
              <a:gd name="csX93" fmla="*/ 327717 w 729419"/>
              <a:gd name="csY93" fmla="*/ 188556 h 2076207"/>
              <a:gd name="csX94" fmla="*/ 348052 w 729419"/>
              <a:gd name="csY94" fmla="*/ 156919 h 2076207"/>
              <a:gd name="csX95" fmla="*/ 380330 w 729419"/>
              <a:gd name="csY95" fmla="*/ 156483 h 2076207"/>
              <a:gd name="csX96" fmla="*/ 408490 w 729419"/>
              <a:gd name="csY96" fmla="*/ 195400 h 2076207"/>
              <a:gd name="csX97" fmla="*/ 445346 w 729419"/>
              <a:gd name="csY97" fmla="*/ 197582 h 2076207"/>
              <a:gd name="csX98" fmla="*/ 464798 w 729419"/>
              <a:gd name="csY98" fmla="*/ 174107 h 2076207"/>
              <a:gd name="csX99" fmla="*/ 489970 w 729419"/>
              <a:gd name="csY99" fmla="*/ 152208 h 2076207"/>
              <a:gd name="csX100" fmla="*/ 140694 w 729419"/>
              <a:gd name="csY100" fmla="*/ 201837 h 2076207"/>
              <a:gd name="csX101" fmla="*/ 139834 w 729419"/>
              <a:gd name="csY101" fmla="*/ 201482 h 2076207"/>
              <a:gd name="csX102" fmla="*/ 140812 w 729419"/>
              <a:gd name="csY102" fmla="*/ 204941 h 2076207"/>
              <a:gd name="csX103" fmla="*/ 144631 w 729419"/>
              <a:gd name="csY103" fmla="*/ 217811 h 2076207"/>
              <a:gd name="csX104" fmla="*/ 201241 w 729419"/>
              <a:gd name="csY104" fmla="*/ 373387 h 2076207"/>
              <a:gd name="csX105" fmla="*/ 235971 w 729419"/>
              <a:gd name="csY105" fmla="*/ 504451 h 2076207"/>
              <a:gd name="csX106" fmla="*/ 247475 w 729419"/>
              <a:gd name="csY106" fmla="*/ 513241 h 2076207"/>
              <a:gd name="csX107" fmla="*/ 289066 w 729419"/>
              <a:gd name="csY107" fmla="*/ 511170 h 2076207"/>
              <a:gd name="csX108" fmla="*/ 378229 w 729419"/>
              <a:gd name="csY108" fmla="*/ 511084 h 2076207"/>
              <a:gd name="csX109" fmla="*/ 470850 w 729419"/>
              <a:gd name="csY109" fmla="*/ 516341 h 2076207"/>
              <a:gd name="csX110" fmla="*/ 492933 w 729419"/>
              <a:gd name="csY110" fmla="*/ 497969 h 2076207"/>
              <a:gd name="csX111" fmla="*/ 557617 w 729419"/>
              <a:gd name="csY111" fmla="*/ 280398 h 2076207"/>
              <a:gd name="csX112" fmla="*/ 588788 w 729419"/>
              <a:gd name="csY112" fmla="*/ 200385 h 2076207"/>
              <a:gd name="csX113" fmla="*/ 530958 w 729419"/>
              <a:gd name="csY113" fmla="*/ 232968 h 2076207"/>
              <a:gd name="csX114" fmla="*/ 483823 w 729419"/>
              <a:gd name="csY114" fmla="*/ 190364 h 2076207"/>
              <a:gd name="csX115" fmla="*/ 466649 w 729419"/>
              <a:gd name="csY115" fmla="*/ 209061 h 2076207"/>
              <a:gd name="csX116" fmla="*/ 399941 w 729419"/>
              <a:gd name="csY116" fmla="*/ 216988 h 2076207"/>
              <a:gd name="csX117" fmla="*/ 363018 w 729419"/>
              <a:gd name="csY117" fmla="*/ 179615 h 2076207"/>
              <a:gd name="csX118" fmla="*/ 308839 w 729419"/>
              <a:gd name="csY118" fmla="*/ 227846 h 2076207"/>
              <a:gd name="csX119" fmla="*/ 245077 w 729419"/>
              <a:gd name="csY119" fmla="*/ 192402 h 2076207"/>
              <a:gd name="csX120" fmla="*/ 242829 w 729419"/>
              <a:gd name="csY120" fmla="*/ 198815 h 2076207"/>
              <a:gd name="csX121" fmla="*/ 168452 w 729419"/>
              <a:gd name="csY121" fmla="*/ 219348 h 2076207"/>
              <a:gd name="csX122" fmla="*/ 140694 w 729419"/>
              <a:gd name="csY122" fmla="*/ 201837 h 2076207"/>
              <a:gd name="csX123" fmla="*/ 259999 w 729419"/>
              <a:gd name="csY123" fmla="*/ 966699 h 2076207"/>
              <a:gd name="csX124" fmla="*/ 257072 w 729419"/>
              <a:gd name="csY124" fmla="*/ 1070424 h 2076207"/>
              <a:gd name="csX125" fmla="*/ 251372 w 729419"/>
              <a:gd name="csY125" fmla="*/ 1157618 h 2076207"/>
              <a:gd name="csX126" fmla="*/ 232677 w 729419"/>
              <a:gd name="csY126" fmla="*/ 1320279 h 2076207"/>
              <a:gd name="csX127" fmla="*/ 209182 w 729419"/>
              <a:gd name="csY127" fmla="*/ 1468667 h 2076207"/>
              <a:gd name="csX128" fmla="*/ 175302 w 729419"/>
              <a:gd name="csY128" fmla="*/ 1616623 h 2076207"/>
              <a:gd name="csX129" fmla="*/ 182769 w 729419"/>
              <a:gd name="csY129" fmla="*/ 1629786 h 2076207"/>
              <a:gd name="csX130" fmla="*/ 212156 w 729419"/>
              <a:gd name="csY130" fmla="*/ 1632656 h 2076207"/>
              <a:gd name="csX131" fmla="*/ 351295 w 729419"/>
              <a:gd name="csY131" fmla="*/ 1632801 h 2076207"/>
              <a:gd name="csX132" fmla="*/ 376150 w 729419"/>
              <a:gd name="csY132" fmla="*/ 1608307 h 2076207"/>
              <a:gd name="csX133" fmla="*/ 373450 w 729419"/>
              <a:gd name="csY133" fmla="*/ 1457291 h 2076207"/>
              <a:gd name="csX134" fmla="*/ 370936 w 729419"/>
              <a:gd name="csY134" fmla="*/ 1342736 h 2076207"/>
              <a:gd name="csX135" fmla="*/ 368328 w 729419"/>
              <a:gd name="csY135" fmla="*/ 1203878 h 2076207"/>
              <a:gd name="csX136" fmla="*/ 367836 w 729419"/>
              <a:gd name="csY136" fmla="*/ 813478 h 2076207"/>
              <a:gd name="csX137" fmla="*/ 365240 w 729419"/>
              <a:gd name="csY137" fmla="*/ 773243 h 2076207"/>
              <a:gd name="csX138" fmla="*/ 353084 w 729419"/>
              <a:gd name="csY138" fmla="*/ 762083 h 2076207"/>
              <a:gd name="csX139" fmla="*/ 280966 w 729419"/>
              <a:gd name="csY139" fmla="*/ 759855 h 2076207"/>
              <a:gd name="csX140" fmla="*/ 259965 w 729419"/>
              <a:gd name="csY140" fmla="*/ 779553 h 2076207"/>
              <a:gd name="csX141" fmla="*/ 262341 w 729419"/>
              <a:gd name="csY141" fmla="*/ 856275 h 2076207"/>
              <a:gd name="csX142" fmla="*/ 259999 w 729419"/>
              <a:gd name="csY142" fmla="*/ 966699 h 2076207"/>
              <a:gd name="csX143" fmla="*/ 55556 w 729419"/>
              <a:gd name="csY143" fmla="*/ 1835827 h 2076207"/>
              <a:gd name="csX144" fmla="*/ 49393 w 729419"/>
              <a:gd name="csY144" fmla="*/ 1878155 h 2076207"/>
              <a:gd name="csX145" fmla="*/ 73949 w 729419"/>
              <a:gd name="csY145" fmla="*/ 1905781 h 2076207"/>
              <a:gd name="csX146" fmla="*/ 110073 w 729419"/>
              <a:gd name="csY146" fmla="*/ 1909068 h 2076207"/>
              <a:gd name="csX147" fmla="*/ 224745 w 729419"/>
              <a:gd name="csY147" fmla="*/ 1921652 h 2076207"/>
              <a:gd name="csX148" fmla="*/ 347327 w 729419"/>
              <a:gd name="csY148" fmla="*/ 1924778 h 2076207"/>
              <a:gd name="csX149" fmla="*/ 363345 w 729419"/>
              <a:gd name="csY149" fmla="*/ 1923293 h 2076207"/>
              <a:gd name="csX150" fmla="*/ 373787 w 729419"/>
              <a:gd name="csY150" fmla="*/ 1911200 h 2076207"/>
              <a:gd name="csX151" fmla="*/ 376623 w 729419"/>
              <a:gd name="csY151" fmla="*/ 1696741 h 2076207"/>
              <a:gd name="csX152" fmla="*/ 360437 w 729419"/>
              <a:gd name="csY152" fmla="*/ 1681289 h 2076207"/>
              <a:gd name="csX153" fmla="*/ 263503 w 729419"/>
              <a:gd name="csY153" fmla="*/ 1678179 h 2076207"/>
              <a:gd name="csX154" fmla="*/ 160381 w 729419"/>
              <a:gd name="csY154" fmla="*/ 1670405 h 2076207"/>
              <a:gd name="csX155" fmla="*/ 143321 w 729419"/>
              <a:gd name="csY155" fmla="*/ 1685538 h 2076207"/>
              <a:gd name="csX156" fmla="*/ 124769 w 729419"/>
              <a:gd name="csY156" fmla="*/ 1738195 h 2076207"/>
              <a:gd name="csX157" fmla="*/ 90593 w 729419"/>
              <a:gd name="csY157" fmla="*/ 1779570 h 2076207"/>
              <a:gd name="csX158" fmla="*/ 55556 w 729419"/>
              <a:gd name="csY158" fmla="*/ 1835827 h 2076207"/>
              <a:gd name="csX159" fmla="*/ 378900 w 729419"/>
              <a:gd name="csY159" fmla="*/ 2007280 h 2076207"/>
              <a:gd name="csX160" fmla="*/ 378887 w 729419"/>
              <a:gd name="csY160" fmla="*/ 1995127 h 2076207"/>
              <a:gd name="csX161" fmla="*/ 359084 w 729419"/>
              <a:gd name="csY161" fmla="*/ 1975964 h 2076207"/>
              <a:gd name="csX162" fmla="*/ 247288 w 729419"/>
              <a:gd name="csY162" fmla="*/ 1973305 h 2076207"/>
              <a:gd name="csX163" fmla="*/ 201692 w 729419"/>
              <a:gd name="csY163" fmla="*/ 1970275 h 2076207"/>
              <a:gd name="csX164" fmla="*/ 57962 w 729419"/>
              <a:gd name="csY164" fmla="*/ 1952648 h 2076207"/>
              <a:gd name="csX165" fmla="*/ 39194 w 729419"/>
              <a:gd name="csY165" fmla="*/ 1963552 h 2076207"/>
              <a:gd name="csX166" fmla="*/ 30066 w 729419"/>
              <a:gd name="csY166" fmla="*/ 2006631 h 2076207"/>
              <a:gd name="csX167" fmla="*/ 40232 w 729419"/>
              <a:gd name="csY167" fmla="*/ 2019486 h 2076207"/>
              <a:gd name="csX168" fmla="*/ 238186 w 729419"/>
              <a:gd name="csY168" fmla="*/ 2046096 h 2076207"/>
              <a:gd name="csX169" fmla="*/ 342155 w 729419"/>
              <a:gd name="csY169" fmla="*/ 2046441 h 2076207"/>
              <a:gd name="csX170" fmla="*/ 378900 w 729419"/>
              <a:gd name="csY170" fmla="*/ 2007280 h 2076207"/>
              <a:gd name="csX171" fmla="*/ 310220 w 729419"/>
              <a:gd name="csY171" fmla="*/ 554288 h 2076207"/>
              <a:gd name="csX172" fmla="*/ 259136 w 729419"/>
              <a:gd name="csY172" fmla="*/ 556881 h 2076207"/>
              <a:gd name="csX173" fmla="*/ 249085 w 729419"/>
              <a:gd name="csY173" fmla="*/ 567981 h 2076207"/>
              <a:gd name="csX174" fmla="*/ 249141 w 729419"/>
              <a:gd name="csY174" fmla="*/ 605644 h 2076207"/>
              <a:gd name="csX175" fmla="*/ 262628 w 729419"/>
              <a:gd name="csY175" fmla="*/ 605627 h 2076207"/>
              <a:gd name="csX176" fmla="*/ 369608 w 729419"/>
              <a:gd name="csY176" fmla="*/ 603027 h 2076207"/>
              <a:gd name="csX177" fmla="*/ 463931 w 729419"/>
              <a:gd name="csY177" fmla="*/ 605146 h 2076207"/>
              <a:gd name="csX178" fmla="*/ 478113 w 729419"/>
              <a:gd name="csY178" fmla="*/ 595843 h 2076207"/>
              <a:gd name="csX179" fmla="*/ 478796 w 729419"/>
              <a:gd name="csY179" fmla="*/ 556832 h 2076207"/>
              <a:gd name="csX180" fmla="*/ 310220 w 729419"/>
              <a:gd name="csY180" fmla="*/ 554288 h 2076207"/>
              <a:gd name="csX181" fmla="*/ 348836 w 729419"/>
              <a:gd name="csY181" fmla="*/ 684115 h 2076207"/>
              <a:gd name="csX182" fmla="*/ 281333 w 729419"/>
              <a:gd name="csY182" fmla="*/ 683313 h 2076207"/>
              <a:gd name="csX183" fmla="*/ 212728 w 729419"/>
              <a:gd name="csY183" fmla="*/ 681931 h 2076207"/>
              <a:gd name="csX184" fmla="*/ 187283 w 729419"/>
              <a:gd name="csY184" fmla="*/ 689555 h 2076207"/>
              <a:gd name="csX185" fmla="*/ 186163 w 729419"/>
              <a:gd name="csY185" fmla="*/ 718266 h 2076207"/>
              <a:gd name="csX186" fmla="*/ 209894 w 729419"/>
              <a:gd name="csY186" fmla="*/ 726798 h 2076207"/>
              <a:gd name="csX187" fmla="*/ 334814 w 729419"/>
              <a:gd name="csY187" fmla="*/ 732494 h 2076207"/>
              <a:gd name="csX188" fmla="*/ 364856 w 729419"/>
              <a:gd name="csY188" fmla="*/ 707963 h 2076207"/>
              <a:gd name="csX189" fmla="*/ 348836 w 729419"/>
              <a:gd name="csY189" fmla="*/ 684115 h 2076207"/>
              <a:gd name="csX190" fmla="*/ 298865 w 729419"/>
              <a:gd name="csY190" fmla="*/ 621954 h 2076207"/>
              <a:gd name="csX191" fmla="*/ 251619 w 729419"/>
              <a:gd name="csY191" fmla="*/ 622133 h 2076207"/>
              <a:gd name="csX192" fmla="*/ 214459 w 729419"/>
              <a:gd name="csY192" fmla="*/ 636230 h 2076207"/>
              <a:gd name="csX193" fmla="*/ 221436 w 729419"/>
              <a:gd name="csY193" fmla="*/ 654205 h 2076207"/>
              <a:gd name="csX194" fmla="*/ 272412 w 729419"/>
              <a:gd name="csY194" fmla="*/ 657250 h 2076207"/>
              <a:gd name="csX195" fmla="*/ 349094 w 729419"/>
              <a:gd name="csY195" fmla="*/ 659282 h 2076207"/>
              <a:gd name="csX196" fmla="*/ 362996 w 729419"/>
              <a:gd name="csY196" fmla="*/ 644234 h 2076207"/>
              <a:gd name="csX197" fmla="*/ 348472 w 729419"/>
              <a:gd name="csY197" fmla="*/ 624649 h 2076207"/>
              <a:gd name="csX198" fmla="*/ 298865 w 729419"/>
              <a:gd name="csY198" fmla="*/ 621954 h 2076207"/>
              <a:gd name="csX199" fmla="*/ 227796 w 729419"/>
              <a:gd name="csY199" fmla="*/ 528000 h 2076207"/>
              <a:gd name="csX200" fmla="*/ 241009 w 729419"/>
              <a:gd name="csY200" fmla="*/ 545897 h 2076207"/>
              <a:gd name="csX201" fmla="*/ 282607 w 729419"/>
              <a:gd name="csY201" fmla="*/ 543480 h 2076207"/>
              <a:gd name="csX202" fmla="*/ 354213 w 729419"/>
              <a:gd name="csY202" fmla="*/ 543384 h 2076207"/>
              <a:gd name="csX203" fmla="*/ 365334 w 729419"/>
              <a:gd name="csY203" fmla="*/ 533397 h 2076207"/>
              <a:gd name="csX204" fmla="*/ 354531 w 729419"/>
              <a:gd name="csY204" fmla="*/ 521620 h 2076207"/>
              <a:gd name="csX205" fmla="*/ 259169 w 729419"/>
              <a:gd name="csY205" fmla="*/ 521978 h 2076207"/>
              <a:gd name="csX206" fmla="*/ 227796 w 729419"/>
              <a:gd name="csY206" fmla="*/ 528000 h 2076207"/>
              <a:gd name="csX207" fmla="*/ 508068 w 729419"/>
              <a:gd name="csY207" fmla="*/ 190710 h 2076207"/>
              <a:gd name="csX208" fmla="*/ 521293 w 729419"/>
              <a:gd name="csY208" fmla="*/ 205907 h 2076207"/>
              <a:gd name="csX209" fmla="*/ 525175 w 729419"/>
              <a:gd name="csY209" fmla="*/ 202985 h 2076207"/>
              <a:gd name="csX210" fmla="*/ 500276 w 729419"/>
              <a:gd name="csY210" fmla="*/ 160640 h 2076207"/>
              <a:gd name="csX211" fmla="*/ 497122 w 729419"/>
              <a:gd name="csY211" fmla="*/ 162007 h 2076207"/>
              <a:gd name="csX212" fmla="*/ 508068 w 729419"/>
              <a:gd name="csY212" fmla="*/ 190710 h 2076207"/>
              <a:gd name="csX213" fmla="*/ 215522 w 729419"/>
              <a:gd name="csY213" fmla="*/ 197296 h 2076207"/>
              <a:gd name="csX214" fmla="*/ 234029 w 729419"/>
              <a:gd name="csY214" fmla="*/ 162725 h 2076207"/>
              <a:gd name="csX215" fmla="*/ 229000 w 729419"/>
              <a:gd name="csY215" fmla="*/ 159902 h 2076207"/>
              <a:gd name="csX216" fmla="*/ 204824 w 729419"/>
              <a:gd name="csY216" fmla="*/ 199677 h 2076207"/>
              <a:gd name="csX217" fmla="*/ 207990 w 729419"/>
              <a:gd name="csY217" fmla="*/ 202198 h 2076207"/>
              <a:gd name="csX218" fmla="*/ 215522 w 729419"/>
              <a:gd name="csY218" fmla="*/ 197296 h 2076207"/>
              <a:gd name="csX219" fmla="*/ 484400 w 729419"/>
              <a:gd name="csY219" fmla="*/ 896678 h 2076207"/>
              <a:gd name="csX220" fmla="*/ 486181 w 729419"/>
              <a:gd name="csY220" fmla="*/ 896585 h 2076207"/>
              <a:gd name="csX221" fmla="*/ 486181 w 729419"/>
              <a:gd name="csY221" fmla="*/ 795289 h 2076207"/>
              <a:gd name="csX222" fmla="*/ 720241 w 729419"/>
              <a:gd name="csY222" fmla="*/ 2030666 h 2076207"/>
              <a:gd name="csX223" fmla="*/ 721175 w 729419"/>
              <a:gd name="csY223" fmla="*/ 2029733 h 2076207"/>
              <a:gd name="csX224" fmla="*/ 720241 w 729419"/>
              <a:gd name="csY224" fmla="*/ 2030666 h 2076207"/>
              <a:gd name="csX225" fmla="*/ 715702 w 729419"/>
              <a:gd name="csY225" fmla="*/ 2037051 h 2076207"/>
              <a:gd name="csX226" fmla="*/ 715702 w 729419"/>
              <a:gd name="csY226" fmla="*/ 2037051 h 2076207"/>
              <a:gd name="csX0" fmla="*/ 96263 w 729419"/>
              <a:gd name="csY0" fmla="*/ 2076207 h 2091729"/>
              <a:gd name="csX1" fmla="*/ 63862 w 729419"/>
              <a:gd name="csY1" fmla="*/ 2065388 h 2091729"/>
              <a:gd name="csX2" fmla="*/ 16555 w 729419"/>
              <a:gd name="csY2" fmla="*/ 2050152 h 2091729"/>
              <a:gd name="csX3" fmla="*/ 15 w 729419"/>
              <a:gd name="csY3" fmla="*/ 2023802 h 2091729"/>
              <a:gd name="csX4" fmla="*/ 18368 w 729419"/>
              <a:gd name="csY4" fmla="*/ 1940709 h 2091729"/>
              <a:gd name="csX5" fmla="*/ 22139 w 729419"/>
              <a:gd name="csY5" fmla="*/ 1907268 h 2091729"/>
              <a:gd name="csX6" fmla="*/ 57941 w 729419"/>
              <a:gd name="csY6" fmla="*/ 1774163 h 2091729"/>
              <a:gd name="csX7" fmla="*/ 102478 w 729419"/>
              <a:gd name="csY7" fmla="*/ 1720275 h 2091729"/>
              <a:gd name="csX8" fmla="*/ 108579 w 729419"/>
              <a:gd name="csY8" fmla="*/ 1650967 h 2091729"/>
              <a:gd name="csX9" fmla="*/ 115628 w 729419"/>
              <a:gd name="csY9" fmla="*/ 1625405 h 2091729"/>
              <a:gd name="csX10" fmla="*/ 156323 w 729419"/>
              <a:gd name="csY10" fmla="*/ 1560181 h 2091729"/>
              <a:gd name="csX11" fmla="*/ 199424 w 729419"/>
              <a:gd name="csY11" fmla="*/ 1364729 h 2091729"/>
              <a:gd name="csX12" fmla="*/ 216779 w 729419"/>
              <a:gd name="csY12" fmla="*/ 1219490 h 2091729"/>
              <a:gd name="csX13" fmla="*/ 229755 w 729419"/>
              <a:gd name="csY13" fmla="*/ 1099357 h 2091729"/>
              <a:gd name="csX14" fmla="*/ 232707 w 729419"/>
              <a:gd name="csY14" fmla="*/ 1056423 h 2091729"/>
              <a:gd name="csX15" fmla="*/ 235622 w 729419"/>
              <a:gd name="csY15" fmla="*/ 952675 h 2091729"/>
              <a:gd name="csX16" fmla="*/ 235445 w 729419"/>
              <a:gd name="csY16" fmla="*/ 780278 h 2091729"/>
              <a:gd name="csX17" fmla="*/ 214544 w 729419"/>
              <a:gd name="csY17" fmla="*/ 756435 h 2091729"/>
              <a:gd name="csX18" fmla="*/ 172569 w 729419"/>
              <a:gd name="csY18" fmla="*/ 742582 h 2091729"/>
              <a:gd name="csX19" fmla="*/ 168784 w 729419"/>
              <a:gd name="csY19" fmla="*/ 669116 h 2091729"/>
              <a:gd name="csX20" fmla="*/ 191657 w 729419"/>
              <a:gd name="csY20" fmla="*/ 630765 h 2091729"/>
              <a:gd name="csX21" fmla="*/ 208150 w 729419"/>
              <a:gd name="csY21" fmla="*/ 609084 h 2091729"/>
              <a:gd name="csX22" fmla="*/ 216756 w 729419"/>
              <a:gd name="csY22" fmla="*/ 558673 h 2091729"/>
              <a:gd name="csX23" fmla="*/ 209092 w 729419"/>
              <a:gd name="csY23" fmla="*/ 521540 h 2091729"/>
              <a:gd name="csX24" fmla="*/ 204683 w 729419"/>
              <a:gd name="csY24" fmla="*/ 474024 h 2091729"/>
              <a:gd name="csX25" fmla="*/ 115483 w 729419"/>
              <a:gd name="csY25" fmla="*/ 213499 h 2091729"/>
              <a:gd name="csX26" fmla="*/ 102909 w 729419"/>
              <a:gd name="csY26" fmla="*/ 182297 h 2091729"/>
              <a:gd name="csX27" fmla="*/ 104315 w 729419"/>
              <a:gd name="csY27" fmla="*/ 163968 h 2091729"/>
              <a:gd name="csX28" fmla="*/ 122444 w 729419"/>
              <a:gd name="csY28" fmla="*/ 160805 h 2091729"/>
              <a:gd name="csX29" fmla="*/ 170283 w 729419"/>
              <a:gd name="csY29" fmla="*/ 187783 h 2091729"/>
              <a:gd name="csX30" fmla="*/ 180938 w 729419"/>
              <a:gd name="csY30" fmla="*/ 195322 h 2091729"/>
              <a:gd name="csX31" fmla="*/ 221419 w 729419"/>
              <a:gd name="csY31" fmla="*/ 138058 h 2091729"/>
              <a:gd name="csX32" fmla="*/ 294099 w 729419"/>
              <a:gd name="csY32" fmla="*/ 91372 h 2091729"/>
              <a:gd name="csX33" fmla="*/ 302307 w 729419"/>
              <a:gd name="csY33" fmla="*/ 76560 h 2091729"/>
              <a:gd name="csX34" fmla="*/ 320284 w 729419"/>
              <a:gd name="csY34" fmla="*/ 8414 h 2091729"/>
              <a:gd name="csX35" fmla="*/ 324784 w 729419"/>
              <a:gd name="csY35" fmla="*/ 946 h 2091729"/>
              <a:gd name="csX36" fmla="*/ 399212 w 729419"/>
              <a:gd name="csY36" fmla="*/ 0 h 2091729"/>
              <a:gd name="csX37" fmla="*/ 425980 w 729419"/>
              <a:gd name="csY37" fmla="*/ 78301 h 2091729"/>
              <a:gd name="csX38" fmla="*/ 431861 w 729419"/>
              <a:gd name="csY38" fmla="*/ 90312 h 2091729"/>
              <a:gd name="csX39" fmla="*/ 540349 w 729419"/>
              <a:gd name="csY39" fmla="*/ 187946 h 2091729"/>
              <a:gd name="csX40" fmla="*/ 545555 w 729419"/>
              <a:gd name="csY40" fmla="*/ 197828 h 2091729"/>
              <a:gd name="csX41" fmla="*/ 587318 w 729419"/>
              <a:gd name="csY41" fmla="*/ 171260 h 2091729"/>
              <a:gd name="csX42" fmla="*/ 601503 w 729419"/>
              <a:gd name="csY42" fmla="*/ 163707 h 2091729"/>
              <a:gd name="csX43" fmla="*/ 625254 w 729419"/>
              <a:gd name="csY43" fmla="*/ 163123 h 2091729"/>
              <a:gd name="csX44" fmla="*/ 625468 w 729419"/>
              <a:gd name="csY44" fmla="*/ 187579 h 2091729"/>
              <a:gd name="csX45" fmla="*/ 597543 w 729419"/>
              <a:gd name="csY45" fmla="*/ 251872 h 2091729"/>
              <a:gd name="csX46" fmla="*/ 531831 w 729419"/>
              <a:gd name="csY46" fmla="*/ 442689 h 2091729"/>
              <a:gd name="csX47" fmla="*/ 519888 w 729419"/>
              <a:gd name="csY47" fmla="*/ 501474 h 2091729"/>
              <a:gd name="csX48" fmla="*/ 522506 w 729419"/>
              <a:gd name="csY48" fmla="*/ 525086 h 2091729"/>
              <a:gd name="csX49" fmla="*/ 516235 w 729419"/>
              <a:gd name="csY49" fmla="*/ 555946 h 2091729"/>
              <a:gd name="csX50" fmla="*/ 521332 w 729419"/>
              <a:gd name="csY50" fmla="*/ 610676 h 2091729"/>
              <a:gd name="csX51" fmla="*/ 541382 w 729419"/>
              <a:gd name="csY51" fmla="*/ 642597 h 2091729"/>
              <a:gd name="csX52" fmla="*/ 557031 w 729419"/>
              <a:gd name="csY52" fmla="*/ 667949 h 2091729"/>
              <a:gd name="csX53" fmla="*/ 553994 w 729419"/>
              <a:gd name="csY53" fmla="*/ 744146 h 2091729"/>
              <a:gd name="csX54" fmla="*/ 508215 w 729419"/>
              <a:gd name="csY54" fmla="*/ 758841 h 2091729"/>
              <a:gd name="csX55" fmla="*/ 497442 w 729419"/>
              <a:gd name="csY55" fmla="*/ 771256 h 2091729"/>
              <a:gd name="csX56" fmla="*/ 493005 w 729419"/>
              <a:gd name="csY56" fmla="*/ 922055 h 2091729"/>
              <a:gd name="csX57" fmla="*/ 502900 w 729419"/>
              <a:gd name="csY57" fmla="*/ 1114191 h 2091729"/>
              <a:gd name="csX58" fmla="*/ 508800 w 729419"/>
              <a:gd name="csY58" fmla="*/ 1205474 h 2091729"/>
              <a:gd name="csX59" fmla="*/ 522952 w 729419"/>
              <a:gd name="csY59" fmla="*/ 1320065 h 2091729"/>
              <a:gd name="csX60" fmla="*/ 554682 w 729419"/>
              <a:gd name="csY60" fmla="*/ 1501203 h 2091729"/>
              <a:gd name="csX61" fmla="*/ 576958 w 729419"/>
              <a:gd name="csY61" fmla="*/ 1593963 h 2091729"/>
              <a:gd name="csX62" fmla="*/ 595349 w 729419"/>
              <a:gd name="csY62" fmla="*/ 1613498 h 2091729"/>
              <a:gd name="csX63" fmla="*/ 613936 w 729419"/>
              <a:gd name="csY63" fmla="*/ 1624058 h 2091729"/>
              <a:gd name="csX64" fmla="*/ 620938 w 729419"/>
              <a:gd name="csY64" fmla="*/ 1652071 h 2091729"/>
              <a:gd name="csX65" fmla="*/ 630805 w 729419"/>
              <a:gd name="csY65" fmla="*/ 1721702 h 2091729"/>
              <a:gd name="csX66" fmla="*/ 685830 w 729419"/>
              <a:gd name="csY66" fmla="*/ 1792915 h 2091729"/>
              <a:gd name="csX67" fmla="*/ 708904 w 729419"/>
              <a:gd name="csY67" fmla="*/ 1890290 h 2091729"/>
              <a:gd name="csX68" fmla="*/ 716580 w 729419"/>
              <a:gd name="csY68" fmla="*/ 1951136 h 2091729"/>
              <a:gd name="csX69" fmla="*/ 729397 w 729419"/>
              <a:gd name="csY69" fmla="*/ 2030261 h 2091729"/>
              <a:gd name="csX70" fmla="*/ 714212 w 729419"/>
              <a:gd name="csY70" fmla="*/ 2049544 h 2091729"/>
              <a:gd name="csX71" fmla="*/ 645428 w 729419"/>
              <a:gd name="csY71" fmla="*/ 2070825 h 2091729"/>
              <a:gd name="csX72" fmla="*/ 635822 w 729419"/>
              <a:gd name="csY72" fmla="*/ 2075145 h 2091729"/>
              <a:gd name="csX73" fmla="*/ 588428 w 729419"/>
              <a:gd name="csY73" fmla="*/ 2075144 h 2091729"/>
              <a:gd name="csX74" fmla="*/ 590041 w 729419"/>
              <a:gd name="csY74" fmla="*/ 2071383 h 2091729"/>
              <a:gd name="csX75" fmla="*/ 667788 w 729419"/>
              <a:gd name="csY75" fmla="*/ 2056852 h 2091729"/>
              <a:gd name="csX76" fmla="*/ 706629 w 729419"/>
              <a:gd name="csY76" fmla="*/ 2044290 h 2091729"/>
              <a:gd name="csX77" fmla="*/ 702674 w 729419"/>
              <a:gd name="csY77" fmla="*/ 2041581 h 2091729"/>
              <a:gd name="csX78" fmla="*/ 544974 w 729419"/>
              <a:gd name="csY78" fmla="*/ 2071274 h 2091729"/>
              <a:gd name="csX79" fmla="*/ 538352 w 729419"/>
              <a:gd name="csY79" fmla="*/ 2076207 h 2091729"/>
              <a:gd name="csX80" fmla="*/ 96263 w 729419"/>
              <a:gd name="csY80" fmla="*/ 2076207 h 2091729"/>
              <a:gd name="csX81" fmla="*/ 489970 w 729419"/>
              <a:gd name="csY81" fmla="*/ 152208 h 2091729"/>
              <a:gd name="csX82" fmla="*/ 490754 w 729419"/>
              <a:gd name="csY82" fmla="*/ 152592 h 2091729"/>
              <a:gd name="csX83" fmla="*/ 489489 w 729419"/>
              <a:gd name="csY83" fmla="*/ 149547 h 2091729"/>
              <a:gd name="csX84" fmla="*/ 393621 w 729419"/>
              <a:gd name="csY84" fmla="*/ 99259 h 2091729"/>
              <a:gd name="csX85" fmla="*/ 390419 w 729419"/>
              <a:gd name="csY85" fmla="*/ 18568 h 2091729"/>
              <a:gd name="csX86" fmla="*/ 334131 w 729419"/>
              <a:gd name="csY86" fmla="*/ 24327 h 2091729"/>
              <a:gd name="csX87" fmla="*/ 344678 w 729419"/>
              <a:gd name="csY87" fmla="*/ 101259 h 2091729"/>
              <a:gd name="csX88" fmla="*/ 298854 w 729419"/>
              <a:gd name="csY88" fmla="*/ 114003 h 2091729"/>
              <a:gd name="csX89" fmla="*/ 237456 w 729419"/>
              <a:gd name="csY89" fmla="*/ 154340 h 2091729"/>
              <a:gd name="csX90" fmla="*/ 240382 w 729419"/>
              <a:gd name="csY90" fmla="*/ 154035 h 2091729"/>
              <a:gd name="csX91" fmla="*/ 262731 w 729419"/>
              <a:gd name="csY91" fmla="*/ 170426 h 2091729"/>
              <a:gd name="csX92" fmla="*/ 279169 w 729419"/>
              <a:gd name="csY92" fmla="*/ 193173 h 2091729"/>
              <a:gd name="csX93" fmla="*/ 327717 w 729419"/>
              <a:gd name="csY93" fmla="*/ 188556 h 2091729"/>
              <a:gd name="csX94" fmla="*/ 348052 w 729419"/>
              <a:gd name="csY94" fmla="*/ 156919 h 2091729"/>
              <a:gd name="csX95" fmla="*/ 380330 w 729419"/>
              <a:gd name="csY95" fmla="*/ 156483 h 2091729"/>
              <a:gd name="csX96" fmla="*/ 408490 w 729419"/>
              <a:gd name="csY96" fmla="*/ 195400 h 2091729"/>
              <a:gd name="csX97" fmla="*/ 445346 w 729419"/>
              <a:gd name="csY97" fmla="*/ 197582 h 2091729"/>
              <a:gd name="csX98" fmla="*/ 464798 w 729419"/>
              <a:gd name="csY98" fmla="*/ 174107 h 2091729"/>
              <a:gd name="csX99" fmla="*/ 489970 w 729419"/>
              <a:gd name="csY99" fmla="*/ 152208 h 2091729"/>
              <a:gd name="csX100" fmla="*/ 140694 w 729419"/>
              <a:gd name="csY100" fmla="*/ 201837 h 2091729"/>
              <a:gd name="csX101" fmla="*/ 139834 w 729419"/>
              <a:gd name="csY101" fmla="*/ 201482 h 2091729"/>
              <a:gd name="csX102" fmla="*/ 140812 w 729419"/>
              <a:gd name="csY102" fmla="*/ 204941 h 2091729"/>
              <a:gd name="csX103" fmla="*/ 144631 w 729419"/>
              <a:gd name="csY103" fmla="*/ 217811 h 2091729"/>
              <a:gd name="csX104" fmla="*/ 201241 w 729419"/>
              <a:gd name="csY104" fmla="*/ 373387 h 2091729"/>
              <a:gd name="csX105" fmla="*/ 235971 w 729419"/>
              <a:gd name="csY105" fmla="*/ 504451 h 2091729"/>
              <a:gd name="csX106" fmla="*/ 247475 w 729419"/>
              <a:gd name="csY106" fmla="*/ 513241 h 2091729"/>
              <a:gd name="csX107" fmla="*/ 289066 w 729419"/>
              <a:gd name="csY107" fmla="*/ 511170 h 2091729"/>
              <a:gd name="csX108" fmla="*/ 378229 w 729419"/>
              <a:gd name="csY108" fmla="*/ 511084 h 2091729"/>
              <a:gd name="csX109" fmla="*/ 470850 w 729419"/>
              <a:gd name="csY109" fmla="*/ 516341 h 2091729"/>
              <a:gd name="csX110" fmla="*/ 492933 w 729419"/>
              <a:gd name="csY110" fmla="*/ 497969 h 2091729"/>
              <a:gd name="csX111" fmla="*/ 557617 w 729419"/>
              <a:gd name="csY111" fmla="*/ 280398 h 2091729"/>
              <a:gd name="csX112" fmla="*/ 588788 w 729419"/>
              <a:gd name="csY112" fmla="*/ 200385 h 2091729"/>
              <a:gd name="csX113" fmla="*/ 530958 w 729419"/>
              <a:gd name="csY113" fmla="*/ 232968 h 2091729"/>
              <a:gd name="csX114" fmla="*/ 483823 w 729419"/>
              <a:gd name="csY114" fmla="*/ 190364 h 2091729"/>
              <a:gd name="csX115" fmla="*/ 466649 w 729419"/>
              <a:gd name="csY115" fmla="*/ 209061 h 2091729"/>
              <a:gd name="csX116" fmla="*/ 399941 w 729419"/>
              <a:gd name="csY116" fmla="*/ 216988 h 2091729"/>
              <a:gd name="csX117" fmla="*/ 363018 w 729419"/>
              <a:gd name="csY117" fmla="*/ 179615 h 2091729"/>
              <a:gd name="csX118" fmla="*/ 308839 w 729419"/>
              <a:gd name="csY118" fmla="*/ 227846 h 2091729"/>
              <a:gd name="csX119" fmla="*/ 245077 w 729419"/>
              <a:gd name="csY119" fmla="*/ 192402 h 2091729"/>
              <a:gd name="csX120" fmla="*/ 242829 w 729419"/>
              <a:gd name="csY120" fmla="*/ 198815 h 2091729"/>
              <a:gd name="csX121" fmla="*/ 168452 w 729419"/>
              <a:gd name="csY121" fmla="*/ 219348 h 2091729"/>
              <a:gd name="csX122" fmla="*/ 140694 w 729419"/>
              <a:gd name="csY122" fmla="*/ 201837 h 2091729"/>
              <a:gd name="csX123" fmla="*/ 259999 w 729419"/>
              <a:gd name="csY123" fmla="*/ 966699 h 2091729"/>
              <a:gd name="csX124" fmla="*/ 257072 w 729419"/>
              <a:gd name="csY124" fmla="*/ 1070424 h 2091729"/>
              <a:gd name="csX125" fmla="*/ 251372 w 729419"/>
              <a:gd name="csY125" fmla="*/ 1157618 h 2091729"/>
              <a:gd name="csX126" fmla="*/ 232677 w 729419"/>
              <a:gd name="csY126" fmla="*/ 1320279 h 2091729"/>
              <a:gd name="csX127" fmla="*/ 209182 w 729419"/>
              <a:gd name="csY127" fmla="*/ 1468667 h 2091729"/>
              <a:gd name="csX128" fmla="*/ 175302 w 729419"/>
              <a:gd name="csY128" fmla="*/ 1616623 h 2091729"/>
              <a:gd name="csX129" fmla="*/ 182769 w 729419"/>
              <a:gd name="csY129" fmla="*/ 1629786 h 2091729"/>
              <a:gd name="csX130" fmla="*/ 212156 w 729419"/>
              <a:gd name="csY130" fmla="*/ 1632656 h 2091729"/>
              <a:gd name="csX131" fmla="*/ 351295 w 729419"/>
              <a:gd name="csY131" fmla="*/ 1632801 h 2091729"/>
              <a:gd name="csX132" fmla="*/ 376150 w 729419"/>
              <a:gd name="csY132" fmla="*/ 1608307 h 2091729"/>
              <a:gd name="csX133" fmla="*/ 373450 w 729419"/>
              <a:gd name="csY133" fmla="*/ 1457291 h 2091729"/>
              <a:gd name="csX134" fmla="*/ 370936 w 729419"/>
              <a:gd name="csY134" fmla="*/ 1342736 h 2091729"/>
              <a:gd name="csX135" fmla="*/ 368328 w 729419"/>
              <a:gd name="csY135" fmla="*/ 1203878 h 2091729"/>
              <a:gd name="csX136" fmla="*/ 367836 w 729419"/>
              <a:gd name="csY136" fmla="*/ 813478 h 2091729"/>
              <a:gd name="csX137" fmla="*/ 365240 w 729419"/>
              <a:gd name="csY137" fmla="*/ 773243 h 2091729"/>
              <a:gd name="csX138" fmla="*/ 353084 w 729419"/>
              <a:gd name="csY138" fmla="*/ 762083 h 2091729"/>
              <a:gd name="csX139" fmla="*/ 280966 w 729419"/>
              <a:gd name="csY139" fmla="*/ 759855 h 2091729"/>
              <a:gd name="csX140" fmla="*/ 259965 w 729419"/>
              <a:gd name="csY140" fmla="*/ 779553 h 2091729"/>
              <a:gd name="csX141" fmla="*/ 262341 w 729419"/>
              <a:gd name="csY141" fmla="*/ 856275 h 2091729"/>
              <a:gd name="csX142" fmla="*/ 259999 w 729419"/>
              <a:gd name="csY142" fmla="*/ 966699 h 2091729"/>
              <a:gd name="csX143" fmla="*/ 55556 w 729419"/>
              <a:gd name="csY143" fmla="*/ 1835827 h 2091729"/>
              <a:gd name="csX144" fmla="*/ 49393 w 729419"/>
              <a:gd name="csY144" fmla="*/ 1878155 h 2091729"/>
              <a:gd name="csX145" fmla="*/ 73949 w 729419"/>
              <a:gd name="csY145" fmla="*/ 1905781 h 2091729"/>
              <a:gd name="csX146" fmla="*/ 110073 w 729419"/>
              <a:gd name="csY146" fmla="*/ 1909068 h 2091729"/>
              <a:gd name="csX147" fmla="*/ 224745 w 729419"/>
              <a:gd name="csY147" fmla="*/ 1921652 h 2091729"/>
              <a:gd name="csX148" fmla="*/ 347327 w 729419"/>
              <a:gd name="csY148" fmla="*/ 1924778 h 2091729"/>
              <a:gd name="csX149" fmla="*/ 363345 w 729419"/>
              <a:gd name="csY149" fmla="*/ 1923293 h 2091729"/>
              <a:gd name="csX150" fmla="*/ 373787 w 729419"/>
              <a:gd name="csY150" fmla="*/ 1911200 h 2091729"/>
              <a:gd name="csX151" fmla="*/ 376623 w 729419"/>
              <a:gd name="csY151" fmla="*/ 1696741 h 2091729"/>
              <a:gd name="csX152" fmla="*/ 360437 w 729419"/>
              <a:gd name="csY152" fmla="*/ 1681289 h 2091729"/>
              <a:gd name="csX153" fmla="*/ 263503 w 729419"/>
              <a:gd name="csY153" fmla="*/ 1678179 h 2091729"/>
              <a:gd name="csX154" fmla="*/ 160381 w 729419"/>
              <a:gd name="csY154" fmla="*/ 1670405 h 2091729"/>
              <a:gd name="csX155" fmla="*/ 143321 w 729419"/>
              <a:gd name="csY155" fmla="*/ 1685538 h 2091729"/>
              <a:gd name="csX156" fmla="*/ 124769 w 729419"/>
              <a:gd name="csY156" fmla="*/ 1738195 h 2091729"/>
              <a:gd name="csX157" fmla="*/ 90593 w 729419"/>
              <a:gd name="csY157" fmla="*/ 1779570 h 2091729"/>
              <a:gd name="csX158" fmla="*/ 55556 w 729419"/>
              <a:gd name="csY158" fmla="*/ 1835827 h 2091729"/>
              <a:gd name="csX159" fmla="*/ 378900 w 729419"/>
              <a:gd name="csY159" fmla="*/ 2007280 h 2091729"/>
              <a:gd name="csX160" fmla="*/ 378887 w 729419"/>
              <a:gd name="csY160" fmla="*/ 1995127 h 2091729"/>
              <a:gd name="csX161" fmla="*/ 359084 w 729419"/>
              <a:gd name="csY161" fmla="*/ 1975964 h 2091729"/>
              <a:gd name="csX162" fmla="*/ 247288 w 729419"/>
              <a:gd name="csY162" fmla="*/ 1973305 h 2091729"/>
              <a:gd name="csX163" fmla="*/ 201692 w 729419"/>
              <a:gd name="csY163" fmla="*/ 1970275 h 2091729"/>
              <a:gd name="csX164" fmla="*/ 57962 w 729419"/>
              <a:gd name="csY164" fmla="*/ 1952648 h 2091729"/>
              <a:gd name="csX165" fmla="*/ 39194 w 729419"/>
              <a:gd name="csY165" fmla="*/ 1963552 h 2091729"/>
              <a:gd name="csX166" fmla="*/ 30066 w 729419"/>
              <a:gd name="csY166" fmla="*/ 2006631 h 2091729"/>
              <a:gd name="csX167" fmla="*/ 40232 w 729419"/>
              <a:gd name="csY167" fmla="*/ 2019486 h 2091729"/>
              <a:gd name="csX168" fmla="*/ 238186 w 729419"/>
              <a:gd name="csY168" fmla="*/ 2046096 h 2091729"/>
              <a:gd name="csX169" fmla="*/ 342155 w 729419"/>
              <a:gd name="csY169" fmla="*/ 2046441 h 2091729"/>
              <a:gd name="csX170" fmla="*/ 378900 w 729419"/>
              <a:gd name="csY170" fmla="*/ 2007280 h 2091729"/>
              <a:gd name="csX171" fmla="*/ 310220 w 729419"/>
              <a:gd name="csY171" fmla="*/ 554288 h 2091729"/>
              <a:gd name="csX172" fmla="*/ 259136 w 729419"/>
              <a:gd name="csY172" fmla="*/ 556881 h 2091729"/>
              <a:gd name="csX173" fmla="*/ 249085 w 729419"/>
              <a:gd name="csY173" fmla="*/ 567981 h 2091729"/>
              <a:gd name="csX174" fmla="*/ 249141 w 729419"/>
              <a:gd name="csY174" fmla="*/ 605644 h 2091729"/>
              <a:gd name="csX175" fmla="*/ 262628 w 729419"/>
              <a:gd name="csY175" fmla="*/ 605627 h 2091729"/>
              <a:gd name="csX176" fmla="*/ 369608 w 729419"/>
              <a:gd name="csY176" fmla="*/ 603027 h 2091729"/>
              <a:gd name="csX177" fmla="*/ 463931 w 729419"/>
              <a:gd name="csY177" fmla="*/ 605146 h 2091729"/>
              <a:gd name="csX178" fmla="*/ 478113 w 729419"/>
              <a:gd name="csY178" fmla="*/ 595843 h 2091729"/>
              <a:gd name="csX179" fmla="*/ 478796 w 729419"/>
              <a:gd name="csY179" fmla="*/ 556832 h 2091729"/>
              <a:gd name="csX180" fmla="*/ 310220 w 729419"/>
              <a:gd name="csY180" fmla="*/ 554288 h 2091729"/>
              <a:gd name="csX181" fmla="*/ 348836 w 729419"/>
              <a:gd name="csY181" fmla="*/ 684115 h 2091729"/>
              <a:gd name="csX182" fmla="*/ 281333 w 729419"/>
              <a:gd name="csY182" fmla="*/ 683313 h 2091729"/>
              <a:gd name="csX183" fmla="*/ 212728 w 729419"/>
              <a:gd name="csY183" fmla="*/ 681931 h 2091729"/>
              <a:gd name="csX184" fmla="*/ 187283 w 729419"/>
              <a:gd name="csY184" fmla="*/ 689555 h 2091729"/>
              <a:gd name="csX185" fmla="*/ 186163 w 729419"/>
              <a:gd name="csY185" fmla="*/ 718266 h 2091729"/>
              <a:gd name="csX186" fmla="*/ 209894 w 729419"/>
              <a:gd name="csY186" fmla="*/ 726798 h 2091729"/>
              <a:gd name="csX187" fmla="*/ 334814 w 729419"/>
              <a:gd name="csY187" fmla="*/ 732494 h 2091729"/>
              <a:gd name="csX188" fmla="*/ 364856 w 729419"/>
              <a:gd name="csY188" fmla="*/ 707963 h 2091729"/>
              <a:gd name="csX189" fmla="*/ 348836 w 729419"/>
              <a:gd name="csY189" fmla="*/ 684115 h 2091729"/>
              <a:gd name="csX190" fmla="*/ 298865 w 729419"/>
              <a:gd name="csY190" fmla="*/ 621954 h 2091729"/>
              <a:gd name="csX191" fmla="*/ 251619 w 729419"/>
              <a:gd name="csY191" fmla="*/ 622133 h 2091729"/>
              <a:gd name="csX192" fmla="*/ 214459 w 729419"/>
              <a:gd name="csY192" fmla="*/ 636230 h 2091729"/>
              <a:gd name="csX193" fmla="*/ 221436 w 729419"/>
              <a:gd name="csY193" fmla="*/ 654205 h 2091729"/>
              <a:gd name="csX194" fmla="*/ 272412 w 729419"/>
              <a:gd name="csY194" fmla="*/ 657250 h 2091729"/>
              <a:gd name="csX195" fmla="*/ 349094 w 729419"/>
              <a:gd name="csY195" fmla="*/ 659282 h 2091729"/>
              <a:gd name="csX196" fmla="*/ 362996 w 729419"/>
              <a:gd name="csY196" fmla="*/ 644234 h 2091729"/>
              <a:gd name="csX197" fmla="*/ 348472 w 729419"/>
              <a:gd name="csY197" fmla="*/ 624649 h 2091729"/>
              <a:gd name="csX198" fmla="*/ 298865 w 729419"/>
              <a:gd name="csY198" fmla="*/ 621954 h 2091729"/>
              <a:gd name="csX199" fmla="*/ 227796 w 729419"/>
              <a:gd name="csY199" fmla="*/ 528000 h 2091729"/>
              <a:gd name="csX200" fmla="*/ 241009 w 729419"/>
              <a:gd name="csY200" fmla="*/ 545897 h 2091729"/>
              <a:gd name="csX201" fmla="*/ 282607 w 729419"/>
              <a:gd name="csY201" fmla="*/ 543480 h 2091729"/>
              <a:gd name="csX202" fmla="*/ 354213 w 729419"/>
              <a:gd name="csY202" fmla="*/ 543384 h 2091729"/>
              <a:gd name="csX203" fmla="*/ 365334 w 729419"/>
              <a:gd name="csY203" fmla="*/ 533397 h 2091729"/>
              <a:gd name="csX204" fmla="*/ 354531 w 729419"/>
              <a:gd name="csY204" fmla="*/ 521620 h 2091729"/>
              <a:gd name="csX205" fmla="*/ 259169 w 729419"/>
              <a:gd name="csY205" fmla="*/ 521978 h 2091729"/>
              <a:gd name="csX206" fmla="*/ 227796 w 729419"/>
              <a:gd name="csY206" fmla="*/ 528000 h 2091729"/>
              <a:gd name="csX207" fmla="*/ 508068 w 729419"/>
              <a:gd name="csY207" fmla="*/ 190710 h 2091729"/>
              <a:gd name="csX208" fmla="*/ 521293 w 729419"/>
              <a:gd name="csY208" fmla="*/ 205907 h 2091729"/>
              <a:gd name="csX209" fmla="*/ 525175 w 729419"/>
              <a:gd name="csY209" fmla="*/ 202985 h 2091729"/>
              <a:gd name="csX210" fmla="*/ 500276 w 729419"/>
              <a:gd name="csY210" fmla="*/ 160640 h 2091729"/>
              <a:gd name="csX211" fmla="*/ 497122 w 729419"/>
              <a:gd name="csY211" fmla="*/ 162007 h 2091729"/>
              <a:gd name="csX212" fmla="*/ 508068 w 729419"/>
              <a:gd name="csY212" fmla="*/ 190710 h 2091729"/>
              <a:gd name="csX213" fmla="*/ 215522 w 729419"/>
              <a:gd name="csY213" fmla="*/ 197296 h 2091729"/>
              <a:gd name="csX214" fmla="*/ 234029 w 729419"/>
              <a:gd name="csY214" fmla="*/ 162725 h 2091729"/>
              <a:gd name="csX215" fmla="*/ 229000 w 729419"/>
              <a:gd name="csY215" fmla="*/ 159902 h 2091729"/>
              <a:gd name="csX216" fmla="*/ 204824 w 729419"/>
              <a:gd name="csY216" fmla="*/ 199677 h 2091729"/>
              <a:gd name="csX217" fmla="*/ 207990 w 729419"/>
              <a:gd name="csY217" fmla="*/ 202198 h 2091729"/>
              <a:gd name="csX218" fmla="*/ 215522 w 729419"/>
              <a:gd name="csY218" fmla="*/ 197296 h 2091729"/>
              <a:gd name="csX219" fmla="*/ 484400 w 729419"/>
              <a:gd name="csY219" fmla="*/ 896678 h 2091729"/>
              <a:gd name="csX220" fmla="*/ 486181 w 729419"/>
              <a:gd name="csY220" fmla="*/ 896585 h 2091729"/>
              <a:gd name="csX221" fmla="*/ 486181 w 729419"/>
              <a:gd name="csY221" fmla="*/ 795289 h 2091729"/>
              <a:gd name="csX222" fmla="*/ 720241 w 729419"/>
              <a:gd name="csY222" fmla="*/ 2030666 h 2091729"/>
              <a:gd name="csX223" fmla="*/ 721175 w 729419"/>
              <a:gd name="csY223" fmla="*/ 2029733 h 2091729"/>
              <a:gd name="csX224" fmla="*/ 720241 w 729419"/>
              <a:gd name="csY224" fmla="*/ 2030666 h 2091729"/>
              <a:gd name="csX225" fmla="*/ 715702 w 729419"/>
              <a:gd name="csY225" fmla="*/ 2037051 h 2091729"/>
              <a:gd name="csX226" fmla="*/ 715702 w 729419"/>
              <a:gd name="csY226" fmla="*/ 2037051 h 2091729"/>
              <a:gd name="csX0" fmla="*/ 96263 w 729419"/>
              <a:gd name="csY0" fmla="*/ 2076207 h 2102400"/>
              <a:gd name="csX1" fmla="*/ 63862 w 729419"/>
              <a:gd name="csY1" fmla="*/ 2065388 h 2102400"/>
              <a:gd name="csX2" fmla="*/ 16555 w 729419"/>
              <a:gd name="csY2" fmla="*/ 2050152 h 2102400"/>
              <a:gd name="csX3" fmla="*/ 15 w 729419"/>
              <a:gd name="csY3" fmla="*/ 2023802 h 2102400"/>
              <a:gd name="csX4" fmla="*/ 18368 w 729419"/>
              <a:gd name="csY4" fmla="*/ 1940709 h 2102400"/>
              <a:gd name="csX5" fmla="*/ 22139 w 729419"/>
              <a:gd name="csY5" fmla="*/ 1907268 h 2102400"/>
              <a:gd name="csX6" fmla="*/ 57941 w 729419"/>
              <a:gd name="csY6" fmla="*/ 1774163 h 2102400"/>
              <a:gd name="csX7" fmla="*/ 102478 w 729419"/>
              <a:gd name="csY7" fmla="*/ 1720275 h 2102400"/>
              <a:gd name="csX8" fmla="*/ 108579 w 729419"/>
              <a:gd name="csY8" fmla="*/ 1650967 h 2102400"/>
              <a:gd name="csX9" fmla="*/ 115628 w 729419"/>
              <a:gd name="csY9" fmla="*/ 1625405 h 2102400"/>
              <a:gd name="csX10" fmla="*/ 156323 w 729419"/>
              <a:gd name="csY10" fmla="*/ 1560181 h 2102400"/>
              <a:gd name="csX11" fmla="*/ 199424 w 729419"/>
              <a:gd name="csY11" fmla="*/ 1364729 h 2102400"/>
              <a:gd name="csX12" fmla="*/ 216779 w 729419"/>
              <a:gd name="csY12" fmla="*/ 1219490 h 2102400"/>
              <a:gd name="csX13" fmla="*/ 229755 w 729419"/>
              <a:gd name="csY13" fmla="*/ 1099357 h 2102400"/>
              <a:gd name="csX14" fmla="*/ 232707 w 729419"/>
              <a:gd name="csY14" fmla="*/ 1056423 h 2102400"/>
              <a:gd name="csX15" fmla="*/ 235622 w 729419"/>
              <a:gd name="csY15" fmla="*/ 952675 h 2102400"/>
              <a:gd name="csX16" fmla="*/ 235445 w 729419"/>
              <a:gd name="csY16" fmla="*/ 780278 h 2102400"/>
              <a:gd name="csX17" fmla="*/ 214544 w 729419"/>
              <a:gd name="csY17" fmla="*/ 756435 h 2102400"/>
              <a:gd name="csX18" fmla="*/ 172569 w 729419"/>
              <a:gd name="csY18" fmla="*/ 742582 h 2102400"/>
              <a:gd name="csX19" fmla="*/ 168784 w 729419"/>
              <a:gd name="csY19" fmla="*/ 669116 h 2102400"/>
              <a:gd name="csX20" fmla="*/ 191657 w 729419"/>
              <a:gd name="csY20" fmla="*/ 630765 h 2102400"/>
              <a:gd name="csX21" fmla="*/ 208150 w 729419"/>
              <a:gd name="csY21" fmla="*/ 609084 h 2102400"/>
              <a:gd name="csX22" fmla="*/ 216756 w 729419"/>
              <a:gd name="csY22" fmla="*/ 558673 h 2102400"/>
              <a:gd name="csX23" fmla="*/ 209092 w 729419"/>
              <a:gd name="csY23" fmla="*/ 521540 h 2102400"/>
              <a:gd name="csX24" fmla="*/ 204683 w 729419"/>
              <a:gd name="csY24" fmla="*/ 474024 h 2102400"/>
              <a:gd name="csX25" fmla="*/ 115483 w 729419"/>
              <a:gd name="csY25" fmla="*/ 213499 h 2102400"/>
              <a:gd name="csX26" fmla="*/ 102909 w 729419"/>
              <a:gd name="csY26" fmla="*/ 182297 h 2102400"/>
              <a:gd name="csX27" fmla="*/ 104315 w 729419"/>
              <a:gd name="csY27" fmla="*/ 163968 h 2102400"/>
              <a:gd name="csX28" fmla="*/ 122444 w 729419"/>
              <a:gd name="csY28" fmla="*/ 160805 h 2102400"/>
              <a:gd name="csX29" fmla="*/ 170283 w 729419"/>
              <a:gd name="csY29" fmla="*/ 187783 h 2102400"/>
              <a:gd name="csX30" fmla="*/ 180938 w 729419"/>
              <a:gd name="csY30" fmla="*/ 195322 h 2102400"/>
              <a:gd name="csX31" fmla="*/ 221419 w 729419"/>
              <a:gd name="csY31" fmla="*/ 138058 h 2102400"/>
              <a:gd name="csX32" fmla="*/ 294099 w 729419"/>
              <a:gd name="csY32" fmla="*/ 91372 h 2102400"/>
              <a:gd name="csX33" fmla="*/ 302307 w 729419"/>
              <a:gd name="csY33" fmla="*/ 76560 h 2102400"/>
              <a:gd name="csX34" fmla="*/ 320284 w 729419"/>
              <a:gd name="csY34" fmla="*/ 8414 h 2102400"/>
              <a:gd name="csX35" fmla="*/ 324784 w 729419"/>
              <a:gd name="csY35" fmla="*/ 946 h 2102400"/>
              <a:gd name="csX36" fmla="*/ 399212 w 729419"/>
              <a:gd name="csY36" fmla="*/ 0 h 2102400"/>
              <a:gd name="csX37" fmla="*/ 425980 w 729419"/>
              <a:gd name="csY37" fmla="*/ 78301 h 2102400"/>
              <a:gd name="csX38" fmla="*/ 431861 w 729419"/>
              <a:gd name="csY38" fmla="*/ 90312 h 2102400"/>
              <a:gd name="csX39" fmla="*/ 540349 w 729419"/>
              <a:gd name="csY39" fmla="*/ 187946 h 2102400"/>
              <a:gd name="csX40" fmla="*/ 545555 w 729419"/>
              <a:gd name="csY40" fmla="*/ 197828 h 2102400"/>
              <a:gd name="csX41" fmla="*/ 587318 w 729419"/>
              <a:gd name="csY41" fmla="*/ 171260 h 2102400"/>
              <a:gd name="csX42" fmla="*/ 601503 w 729419"/>
              <a:gd name="csY42" fmla="*/ 163707 h 2102400"/>
              <a:gd name="csX43" fmla="*/ 625254 w 729419"/>
              <a:gd name="csY43" fmla="*/ 163123 h 2102400"/>
              <a:gd name="csX44" fmla="*/ 625468 w 729419"/>
              <a:gd name="csY44" fmla="*/ 187579 h 2102400"/>
              <a:gd name="csX45" fmla="*/ 597543 w 729419"/>
              <a:gd name="csY45" fmla="*/ 251872 h 2102400"/>
              <a:gd name="csX46" fmla="*/ 531831 w 729419"/>
              <a:gd name="csY46" fmla="*/ 442689 h 2102400"/>
              <a:gd name="csX47" fmla="*/ 519888 w 729419"/>
              <a:gd name="csY47" fmla="*/ 501474 h 2102400"/>
              <a:gd name="csX48" fmla="*/ 522506 w 729419"/>
              <a:gd name="csY48" fmla="*/ 525086 h 2102400"/>
              <a:gd name="csX49" fmla="*/ 516235 w 729419"/>
              <a:gd name="csY49" fmla="*/ 555946 h 2102400"/>
              <a:gd name="csX50" fmla="*/ 521332 w 729419"/>
              <a:gd name="csY50" fmla="*/ 610676 h 2102400"/>
              <a:gd name="csX51" fmla="*/ 541382 w 729419"/>
              <a:gd name="csY51" fmla="*/ 642597 h 2102400"/>
              <a:gd name="csX52" fmla="*/ 557031 w 729419"/>
              <a:gd name="csY52" fmla="*/ 667949 h 2102400"/>
              <a:gd name="csX53" fmla="*/ 553994 w 729419"/>
              <a:gd name="csY53" fmla="*/ 744146 h 2102400"/>
              <a:gd name="csX54" fmla="*/ 508215 w 729419"/>
              <a:gd name="csY54" fmla="*/ 758841 h 2102400"/>
              <a:gd name="csX55" fmla="*/ 497442 w 729419"/>
              <a:gd name="csY55" fmla="*/ 771256 h 2102400"/>
              <a:gd name="csX56" fmla="*/ 493005 w 729419"/>
              <a:gd name="csY56" fmla="*/ 922055 h 2102400"/>
              <a:gd name="csX57" fmla="*/ 502900 w 729419"/>
              <a:gd name="csY57" fmla="*/ 1114191 h 2102400"/>
              <a:gd name="csX58" fmla="*/ 508800 w 729419"/>
              <a:gd name="csY58" fmla="*/ 1205474 h 2102400"/>
              <a:gd name="csX59" fmla="*/ 522952 w 729419"/>
              <a:gd name="csY59" fmla="*/ 1320065 h 2102400"/>
              <a:gd name="csX60" fmla="*/ 554682 w 729419"/>
              <a:gd name="csY60" fmla="*/ 1501203 h 2102400"/>
              <a:gd name="csX61" fmla="*/ 576958 w 729419"/>
              <a:gd name="csY61" fmla="*/ 1593963 h 2102400"/>
              <a:gd name="csX62" fmla="*/ 595349 w 729419"/>
              <a:gd name="csY62" fmla="*/ 1613498 h 2102400"/>
              <a:gd name="csX63" fmla="*/ 613936 w 729419"/>
              <a:gd name="csY63" fmla="*/ 1624058 h 2102400"/>
              <a:gd name="csX64" fmla="*/ 620938 w 729419"/>
              <a:gd name="csY64" fmla="*/ 1652071 h 2102400"/>
              <a:gd name="csX65" fmla="*/ 630805 w 729419"/>
              <a:gd name="csY65" fmla="*/ 1721702 h 2102400"/>
              <a:gd name="csX66" fmla="*/ 685830 w 729419"/>
              <a:gd name="csY66" fmla="*/ 1792915 h 2102400"/>
              <a:gd name="csX67" fmla="*/ 708904 w 729419"/>
              <a:gd name="csY67" fmla="*/ 1890290 h 2102400"/>
              <a:gd name="csX68" fmla="*/ 716580 w 729419"/>
              <a:gd name="csY68" fmla="*/ 1951136 h 2102400"/>
              <a:gd name="csX69" fmla="*/ 729397 w 729419"/>
              <a:gd name="csY69" fmla="*/ 2030261 h 2102400"/>
              <a:gd name="csX70" fmla="*/ 714212 w 729419"/>
              <a:gd name="csY70" fmla="*/ 2049544 h 2102400"/>
              <a:gd name="csX71" fmla="*/ 645428 w 729419"/>
              <a:gd name="csY71" fmla="*/ 2070825 h 2102400"/>
              <a:gd name="csX72" fmla="*/ 635822 w 729419"/>
              <a:gd name="csY72" fmla="*/ 2075145 h 2102400"/>
              <a:gd name="csX73" fmla="*/ 588428 w 729419"/>
              <a:gd name="csY73" fmla="*/ 2075144 h 2102400"/>
              <a:gd name="csX74" fmla="*/ 590041 w 729419"/>
              <a:gd name="csY74" fmla="*/ 2071383 h 2102400"/>
              <a:gd name="csX75" fmla="*/ 667788 w 729419"/>
              <a:gd name="csY75" fmla="*/ 2056852 h 2102400"/>
              <a:gd name="csX76" fmla="*/ 706629 w 729419"/>
              <a:gd name="csY76" fmla="*/ 2044290 h 2102400"/>
              <a:gd name="csX77" fmla="*/ 702674 w 729419"/>
              <a:gd name="csY77" fmla="*/ 2041581 h 2102400"/>
              <a:gd name="csX78" fmla="*/ 544974 w 729419"/>
              <a:gd name="csY78" fmla="*/ 2071274 h 2102400"/>
              <a:gd name="csX79" fmla="*/ 538352 w 729419"/>
              <a:gd name="csY79" fmla="*/ 2076207 h 2102400"/>
              <a:gd name="csX80" fmla="*/ 96263 w 729419"/>
              <a:gd name="csY80" fmla="*/ 2076207 h 2102400"/>
              <a:gd name="csX81" fmla="*/ 489970 w 729419"/>
              <a:gd name="csY81" fmla="*/ 152208 h 2102400"/>
              <a:gd name="csX82" fmla="*/ 490754 w 729419"/>
              <a:gd name="csY82" fmla="*/ 152592 h 2102400"/>
              <a:gd name="csX83" fmla="*/ 489489 w 729419"/>
              <a:gd name="csY83" fmla="*/ 149547 h 2102400"/>
              <a:gd name="csX84" fmla="*/ 393621 w 729419"/>
              <a:gd name="csY84" fmla="*/ 99259 h 2102400"/>
              <a:gd name="csX85" fmla="*/ 390419 w 729419"/>
              <a:gd name="csY85" fmla="*/ 18568 h 2102400"/>
              <a:gd name="csX86" fmla="*/ 334131 w 729419"/>
              <a:gd name="csY86" fmla="*/ 24327 h 2102400"/>
              <a:gd name="csX87" fmla="*/ 344678 w 729419"/>
              <a:gd name="csY87" fmla="*/ 101259 h 2102400"/>
              <a:gd name="csX88" fmla="*/ 298854 w 729419"/>
              <a:gd name="csY88" fmla="*/ 114003 h 2102400"/>
              <a:gd name="csX89" fmla="*/ 237456 w 729419"/>
              <a:gd name="csY89" fmla="*/ 154340 h 2102400"/>
              <a:gd name="csX90" fmla="*/ 240382 w 729419"/>
              <a:gd name="csY90" fmla="*/ 154035 h 2102400"/>
              <a:gd name="csX91" fmla="*/ 262731 w 729419"/>
              <a:gd name="csY91" fmla="*/ 170426 h 2102400"/>
              <a:gd name="csX92" fmla="*/ 279169 w 729419"/>
              <a:gd name="csY92" fmla="*/ 193173 h 2102400"/>
              <a:gd name="csX93" fmla="*/ 327717 w 729419"/>
              <a:gd name="csY93" fmla="*/ 188556 h 2102400"/>
              <a:gd name="csX94" fmla="*/ 348052 w 729419"/>
              <a:gd name="csY94" fmla="*/ 156919 h 2102400"/>
              <a:gd name="csX95" fmla="*/ 380330 w 729419"/>
              <a:gd name="csY95" fmla="*/ 156483 h 2102400"/>
              <a:gd name="csX96" fmla="*/ 408490 w 729419"/>
              <a:gd name="csY96" fmla="*/ 195400 h 2102400"/>
              <a:gd name="csX97" fmla="*/ 445346 w 729419"/>
              <a:gd name="csY97" fmla="*/ 197582 h 2102400"/>
              <a:gd name="csX98" fmla="*/ 464798 w 729419"/>
              <a:gd name="csY98" fmla="*/ 174107 h 2102400"/>
              <a:gd name="csX99" fmla="*/ 489970 w 729419"/>
              <a:gd name="csY99" fmla="*/ 152208 h 2102400"/>
              <a:gd name="csX100" fmla="*/ 140694 w 729419"/>
              <a:gd name="csY100" fmla="*/ 201837 h 2102400"/>
              <a:gd name="csX101" fmla="*/ 139834 w 729419"/>
              <a:gd name="csY101" fmla="*/ 201482 h 2102400"/>
              <a:gd name="csX102" fmla="*/ 140812 w 729419"/>
              <a:gd name="csY102" fmla="*/ 204941 h 2102400"/>
              <a:gd name="csX103" fmla="*/ 144631 w 729419"/>
              <a:gd name="csY103" fmla="*/ 217811 h 2102400"/>
              <a:gd name="csX104" fmla="*/ 201241 w 729419"/>
              <a:gd name="csY104" fmla="*/ 373387 h 2102400"/>
              <a:gd name="csX105" fmla="*/ 235971 w 729419"/>
              <a:gd name="csY105" fmla="*/ 504451 h 2102400"/>
              <a:gd name="csX106" fmla="*/ 247475 w 729419"/>
              <a:gd name="csY106" fmla="*/ 513241 h 2102400"/>
              <a:gd name="csX107" fmla="*/ 289066 w 729419"/>
              <a:gd name="csY107" fmla="*/ 511170 h 2102400"/>
              <a:gd name="csX108" fmla="*/ 378229 w 729419"/>
              <a:gd name="csY108" fmla="*/ 511084 h 2102400"/>
              <a:gd name="csX109" fmla="*/ 470850 w 729419"/>
              <a:gd name="csY109" fmla="*/ 516341 h 2102400"/>
              <a:gd name="csX110" fmla="*/ 492933 w 729419"/>
              <a:gd name="csY110" fmla="*/ 497969 h 2102400"/>
              <a:gd name="csX111" fmla="*/ 557617 w 729419"/>
              <a:gd name="csY111" fmla="*/ 280398 h 2102400"/>
              <a:gd name="csX112" fmla="*/ 588788 w 729419"/>
              <a:gd name="csY112" fmla="*/ 200385 h 2102400"/>
              <a:gd name="csX113" fmla="*/ 530958 w 729419"/>
              <a:gd name="csY113" fmla="*/ 232968 h 2102400"/>
              <a:gd name="csX114" fmla="*/ 483823 w 729419"/>
              <a:gd name="csY114" fmla="*/ 190364 h 2102400"/>
              <a:gd name="csX115" fmla="*/ 466649 w 729419"/>
              <a:gd name="csY115" fmla="*/ 209061 h 2102400"/>
              <a:gd name="csX116" fmla="*/ 399941 w 729419"/>
              <a:gd name="csY116" fmla="*/ 216988 h 2102400"/>
              <a:gd name="csX117" fmla="*/ 363018 w 729419"/>
              <a:gd name="csY117" fmla="*/ 179615 h 2102400"/>
              <a:gd name="csX118" fmla="*/ 308839 w 729419"/>
              <a:gd name="csY118" fmla="*/ 227846 h 2102400"/>
              <a:gd name="csX119" fmla="*/ 245077 w 729419"/>
              <a:gd name="csY119" fmla="*/ 192402 h 2102400"/>
              <a:gd name="csX120" fmla="*/ 242829 w 729419"/>
              <a:gd name="csY120" fmla="*/ 198815 h 2102400"/>
              <a:gd name="csX121" fmla="*/ 168452 w 729419"/>
              <a:gd name="csY121" fmla="*/ 219348 h 2102400"/>
              <a:gd name="csX122" fmla="*/ 140694 w 729419"/>
              <a:gd name="csY122" fmla="*/ 201837 h 2102400"/>
              <a:gd name="csX123" fmla="*/ 259999 w 729419"/>
              <a:gd name="csY123" fmla="*/ 966699 h 2102400"/>
              <a:gd name="csX124" fmla="*/ 257072 w 729419"/>
              <a:gd name="csY124" fmla="*/ 1070424 h 2102400"/>
              <a:gd name="csX125" fmla="*/ 251372 w 729419"/>
              <a:gd name="csY125" fmla="*/ 1157618 h 2102400"/>
              <a:gd name="csX126" fmla="*/ 232677 w 729419"/>
              <a:gd name="csY126" fmla="*/ 1320279 h 2102400"/>
              <a:gd name="csX127" fmla="*/ 209182 w 729419"/>
              <a:gd name="csY127" fmla="*/ 1468667 h 2102400"/>
              <a:gd name="csX128" fmla="*/ 175302 w 729419"/>
              <a:gd name="csY128" fmla="*/ 1616623 h 2102400"/>
              <a:gd name="csX129" fmla="*/ 182769 w 729419"/>
              <a:gd name="csY129" fmla="*/ 1629786 h 2102400"/>
              <a:gd name="csX130" fmla="*/ 212156 w 729419"/>
              <a:gd name="csY130" fmla="*/ 1632656 h 2102400"/>
              <a:gd name="csX131" fmla="*/ 351295 w 729419"/>
              <a:gd name="csY131" fmla="*/ 1632801 h 2102400"/>
              <a:gd name="csX132" fmla="*/ 376150 w 729419"/>
              <a:gd name="csY132" fmla="*/ 1608307 h 2102400"/>
              <a:gd name="csX133" fmla="*/ 373450 w 729419"/>
              <a:gd name="csY133" fmla="*/ 1457291 h 2102400"/>
              <a:gd name="csX134" fmla="*/ 370936 w 729419"/>
              <a:gd name="csY134" fmla="*/ 1342736 h 2102400"/>
              <a:gd name="csX135" fmla="*/ 368328 w 729419"/>
              <a:gd name="csY135" fmla="*/ 1203878 h 2102400"/>
              <a:gd name="csX136" fmla="*/ 367836 w 729419"/>
              <a:gd name="csY136" fmla="*/ 813478 h 2102400"/>
              <a:gd name="csX137" fmla="*/ 365240 w 729419"/>
              <a:gd name="csY137" fmla="*/ 773243 h 2102400"/>
              <a:gd name="csX138" fmla="*/ 353084 w 729419"/>
              <a:gd name="csY138" fmla="*/ 762083 h 2102400"/>
              <a:gd name="csX139" fmla="*/ 280966 w 729419"/>
              <a:gd name="csY139" fmla="*/ 759855 h 2102400"/>
              <a:gd name="csX140" fmla="*/ 259965 w 729419"/>
              <a:gd name="csY140" fmla="*/ 779553 h 2102400"/>
              <a:gd name="csX141" fmla="*/ 262341 w 729419"/>
              <a:gd name="csY141" fmla="*/ 856275 h 2102400"/>
              <a:gd name="csX142" fmla="*/ 259999 w 729419"/>
              <a:gd name="csY142" fmla="*/ 966699 h 2102400"/>
              <a:gd name="csX143" fmla="*/ 55556 w 729419"/>
              <a:gd name="csY143" fmla="*/ 1835827 h 2102400"/>
              <a:gd name="csX144" fmla="*/ 49393 w 729419"/>
              <a:gd name="csY144" fmla="*/ 1878155 h 2102400"/>
              <a:gd name="csX145" fmla="*/ 73949 w 729419"/>
              <a:gd name="csY145" fmla="*/ 1905781 h 2102400"/>
              <a:gd name="csX146" fmla="*/ 110073 w 729419"/>
              <a:gd name="csY146" fmla="*/ 1909068 h 2102400"/>
              <a:gd name="csX147" fmla="*/ 224745 w 729419"/>
              <a:gd name="csY147" fmla="*/ 1921652 h 2102400"/>
              <a:gd name="csX148" fmla="*/ 347327 w 729419"/>
              <a:gd name="csY148" fmla="*/ 1924778 h 2102400"/>
              <a:gd name="csX149" fmla="*/ 363345 w 729419"/>
              <a:gd name="csY149" fmla="*/ 1923293 h 2102400"/>
              <a:gd name="csX150" fmla="*/ 373787 w 729419"/>
              <a:gd name="csY150" fmla="*/ 1911200 h 2102400"/>
              <a:gd name="csX151" fmla="*/ 376623 w 729419"/>
              <a:gd name="csY151" fmla="*/ 1696741 h 2102400"/>
              <a:gd name="csX152" fmla="*/ 360437 w 729419"/>
              <a:gd name="csY152" fmla="*/ 1681289 h 2102400"/>
              <a:gd name="csX153" fmla="*/ 263503 w 729419"/>
              <a:gd name="csY153" fmla="*/ 1678179 h 2102400"/>
              <a:gd name="csX154" fmla="*/ 160381 w 729419"/>
              <a:gd name="csY154" fmla="*/ 1670405 h 2102400"/>
              <a:gd name="csX155" fmla="*/ 143321 w 729419"/>
              <a:gd name="csY155" fmla="*/ 1685538 h 2102400"/>
              <a:gd name="csX156" fmla="*/ 124769 w 729419"/>
              <a:gd name="csY156" fmla="*/ 1738195 h 2102400"/>
              <a:gd name="csX157" fmla="*/ 90593 w 729419"/>
              <a:gd name="csY157" fmla="*/ 1779570 h 2102400"/>
              <a:gd name="csX158" fmla="*/ 55556 w 729419"/>
              <a:gd name="csY158" fmla="*/ 1835827 h 2102400"/>
              <a:gd name="csX159" fmla="*/ 378900 w 729419"/>
              <a:gd name="csY159" fmla="*/ 2007280 h 2102400"/>
              <a:gd name="csX160" fmla="*/ 378887 w 729419"/>
              <a:gd name="csY160" fmla="*/ 1995127 h 2102400"/>
              <a:gd name="csX161" fmla="*/ 359084 w 729419"/>
              <a:gd name="csY161" fmla="*/ 1975964 h 2102400"/>
              <a:gd name="csX162" fmla="*/ 247288 w 729419"/>
              <a:gd name="csY162" fmla="*/ 1973305 h 2102400"/>
              <a:gd name="csX163" fmla="*/ 201692 w 729419"/>
              <a:gd name="csY163" fmla="*/ 1970275 h 2102400"/>
              <a:gd name="csX164" fmla="*/ 57962 w 729419"/>
              <a:gd name="csY164" fmla="*/ 1952648 h 2102400"/>
              <a:gd name="csX165" fmla="*/ 39194 w 729419"/>
              <a:gd name="csY165" fmla="*/ 1963552 h 2102400"/>
              <a:gd name="csX166" fmla="*/ 30066 w 729419"/>
              <a:gd name="csY166" fmla="*/ 2006631 h 2102400"/>
              <a:gd name="csX167" fmla="*/ 40232 w 729419"/>
              <a:gd name="csY167" fmla="*/ 2019486 h 2102400"/>
              <a:gd name="csX168" fmla="*/ 238186 w 729419"/>
              <a:gd name="csY168" fmla="*/ 2046096 h 2102400"/>
              <a:gd name="csX169" fmla="*/ 342155 w 729419"/>
              <a:gd name="csY169" fmla="*/ 2046441 h 2102400"/>
              <a:gd name="csX170" fmla="*/ 378900 w 729419"/>
              <a:gd name="csY170" fmla="*/ 2007280 h 2102400"/>
              <a:gd name="csX171" fmla="*/ 310220 w 729419"/>
              <a:gd name="csY171" fmla="*/ 554288 h 2102400"/>
              <a:gd name="csX172" fmla="*/ 259136 w 729419"/>
              <a:gd name="csY172" fmla="*/ 556881 h 2102400"/>
              <a:gd name="csX173" fmla="*/ 249085 w 729419"/>
              <a:gd name="csY173" fmla="*/ 567981 h 2102400"/>
              <a:gd name="csX174" fmla="*/ 249141 w 729419"/>
              <a:gd name="csY174" fmla="*/ 605644 h 2102400"/>
              <a:gd name="csX175" fmla="*/ 262628 w 729419"/>
              <a:gd name="csY175" fmla="*/ 605627 h 2102400"/>
              <a:gd name="csX176" fmla="*/ 369608 w 729419"/>
              <a:gd name="csY176" fmla="*/ 603027 h 2102400"/>
              <a:gd name="csX177" fmla="*/ 463931 w 729419"/>
              <a:gd name="csY177" fmla="*/ 605146 h 2102400"/>
              <a:gd name="csX178" fmla="*/ 478113 w 729419"/>
              <a:gd name="csY178" fmla="*/ 595843 h 2102400"/>
              <a:gd name="csX179" fmla="*/ 478796 w 729419"/>
              <a:gd name="csY179" fmla="*/ 556832 h 2102400"/>
              <a:gd name="csX180" fmla="*/ 310220 w 729419"/>
              <a:gd name="csY180" fmla="*/ 554288 h 2102400"/>
              <a:gd name="csX181" fmla="*/ 348836 w 729419"/>
              <a:gd name="csY181" fmla="*/ 684115 h 2102400"/>
              <a:gd name="csX182" fmla="*/ 281333 w 729419"/>
              <a:gd name="csY182" fmla="*/ 683313 h 2102400"/>
              <a:gd name="csX183" fmla="*/ 212728 w 729419"/>
              <a:gd name="csY183" fmla="*/ 681931 h 2102400"/>
              <a:gd name="csX184" fmla="*/ 187283 w 729419"/>
              <a:gd name="csY184" fmla="*/ 689555 h 2102400"/>
              <a:gd name="csX185" fmla="*/ 186163 w 729419"/>
              <a:gd name="csY185" fmla="*/ 718266 h 2102400"/>
              <a:gd name="csX186" fmla="*/ 209894 w 729419"/>
              <a:gd name="csY186" fmla="*/ 726798 h 2102400"/>
              <a:gd name="csX187" fmla="*/ 334814 w 729419"/>
              <a:gd name="csY187" fmla="*/ 732494 h 2102400"/>
              <a:gd name="csX188" fmla="*/ 364856 w 729419"/>
              <a:gd name="csY188" fmla="*/ 707963 h 2102400"/>
              <a:gd name="csX189" fmla="*/ 348836 w 729419"/>
              <a:gd name="csY189" fmla="*/ 684115 h 2102400"/>
              <a:gd name="csX190" fmla="*/ 298865 w 729419"/>
              <a:gd name="csY190" fmla="*/ 621954 h 2102400"/>
              <a:gd name="csX191" fmla="*/ 251619 w 729419"/>
              <a:gd name="csY191" fmla="*/ 622133 h 2102400"/>
              <a:gd name="csX192" fmla="*/ 214459 w 729419"/>
              <a:gd name="csY192" fmla="*/ 636230 h 2102400"/>
              <a:gd name="csX193" fmla="*/ 221436 w 729419"/>
              <a:gd name="csY193" fmla="*/ 654205 h 2102400"/>
              <a:gd name="csX194" fmla="*/ 272412 w 729419"/>
              <a:gd name="csY194" fmla="*/ 657250 h 2102400"/>
              <a:gd name="csX195" fmla="*/ 349094 w 729419"/>
              <a:gd name="csY195" fmla="*/ 659282 h 2102400"/>
              <a:gd name="csX196" fmla="*/ 362996 w 729419"/>
              <a:gd name="csY196" fmla="*/ 644234 h 2102400"/>
              <a:gd name="csX197" fmla="*/ 348472 w 729419"/>
              <a:gd name="csY197" fmla="*/ 624649 h 2102400"/>
              <a:gd name="csX198" fmla="*/ 298865 w 729419"/>
              <a:gd name="csY198" fmla="*/ 621954 h 2102400"/>
              <a:gd name="csX199" fmla="*/ 227796 w 729419"/>
              <a:gd name="csY199" fmla="*/ 528000 h 2102400"/>
              <a:gd name="csX200" fmla="*/ 241009 w 729419"/>
              <a:gd name="csY200" fmla="*/ 545897 h 2102400"/>
              <a:gd name="csX201" fmla="*/ 282607 w 729419"/>
              <a:gd name="csY201" fmla="*/ 543480 h 2102400"/>
              <a:gd name="csX202" fmla="*/ 354213 w 729419"/>
              <a:gd name="csY202" fmla="*/ 543384 h 2102400"/>
              <a:gd name="csX203" fmla="*/ 365334 w 729419"/>
              <a:gd name="csY203" fmla="*/ 533397 h 2102400"/>
              <a:gd name="csX204" fmla="*/ 354531 w 729419"/>
              <a:gd name="csY204" fmla="*/ 521620 h 2102400"/>
              <a:gd name="csX205" fmla="*/ 259169 w 729419"/>
              <a:gd name="csY205" fmla="*/ 521978 h 2102400"/>
              <a:gd name="csX206" fmla="*/ 227796 w 729419"/>
              <a:gd name="csY206" fmla="*/ 528000 h 2102400"/>
              <a:gd name="csX207" fmla="*/ 508068 w 729419"/>
              <a:gd name="csY207" fmla="*/ 190710 h 2102400"/>
              <a:gd name="csX208" fmla="*/ 521293 w 729419"/>
              <a:gd name="csY208" fmla="*/ 205907 h 2102400"/>
              <a:gd name="csX209" fmla="*/ 525175 w 729419"/>
              <a:gd name="csY209" fmla="*/ 202985 h 2102400"/>
              <a:gd name="csX210" fmla="*/ 500276 w 729419"/>
              <a:gd name="csY210" fmla="*/ 160640 h 2102400"/>
              <a:gd name="csX211" fmla="*/ 497122 w 729419"/>
              <a:gd name="csY211" fmla="*/ 162007 h 2102400"/>
              <a:gd name="csX212" fmla="*/ 508068 w 729419"/>
              <a:gd name="csY212" fmla="*/ 190710 h 2102400"/>
              <a:gd name="csX213" fmla="*/ 215522 w 729419"/>
              <a:gd name="csY213" fmla="*/ 197296 h 2102400"/>
              <a:gd name="csX214" fmla="*/ 234029 w 729419"/>
              <a:gd name="csY214" fmla="*/ 162725 h 2102400"/>
              <a:gd name="csX215" fmla="*/ 229000 w 729419"/>
              <a:gd name="csY215" fmla="*/ 159902 h 2102400"/>
              <a:gd name="csX216" fmla="*/ 204824 w 729419"/>
              <a:gd name="csY216" fmla="*/ 199677 h 2102400"/>
              <a:gd name="csX217" fmla="*/ 207990 w 729419"/>
              <a:gd name="csY217" fmla="*/ 202198 h 2102400"/>
              <a:gd name="csX218" fmla="*/ 215522 w 729419"/>
              <a:gd name="csY218" fmla="*/ 197296 h 2102400"/>
              <a:gd name="csX219" fmla="*/ 484400 w 729419"/>
              <a:gd name="csY219" fmla="*/ 896678 h 2102400"/>
              <a:gd name="csX220" fmla="*/ 486181 w 729419"/>
              <a:gd name="csY220" fmla="*/ 896585 h 2102400"/>
              <a:gd name="csX221" fmla="*/ 486181 w 729419"/>
              <a:gd name="csY221" fmla="*/ 795289 h 2102400"/>
              <a:gd name="csX222" fmla="*/ 720241 w 729419"/>
              <a:gd name="csY222" fmla="*/ 2030666 h 2102400"/>
              <a:gd name="csX223" fmla="*/ 721175 w 729419"/>
              <a:gd name="csY223" fmla="*/ 2029733 h 2102400"/>
              <a:gd name="csX224" fmla="*/ 720241 w 729419"/>
              <a:gd name="csY224" fmla="*/ 2030666 h 2102400"/>
              <a:gd name="csX225" fmla="*/ 715702 w 729419"/>
              <a:gd name="csY225" fmla="*/ 2037051 h 2102400"/>
              <a:gd name="csX226" fmla="*/ 715702 w 729419"/>
              <a:gd name="csY226" fmla="*/ 2037051 h 2102400"/>
              <a:gd name="csX0" fmla="*/ 96263 w 729419"/>
              <a:gd name="csY0" fmla="*/ 2076207 h 2076207"/>
              <a:gd name="csX1" fmla="*/ 63862 w 729419"/>
              <a:gd name="csY1" fmla="*/ 2065388 h 2076207"/>
              <a:gd name="csX2" fmla="*/ 16555 w 729419"/>
              <a:gd name="csY2" fmla="*/ 2050152 h 2076207"/>
              <a:gd name="csX3" fmla="*/ 15 w 729419"/>
              <a:gd name="csY3" fmla="*/ 2023802 h 2076207"/>
              <a:gd name="csX4" fmla="*/ 18368 w 729419"/>
              <a:gd name="csY4" fmla="*/ 1940709 h 2076207"/>
              <a:gd name="csX5" fmla="*/ 22139 w 729419"/>
              <a:gd name="csY5" fmla="*/ 1907268 h 2076207"/>
              <a:gd name="csX6" fmla="*/ 57941 w 729419"/>
              <a:gd name="csY6" fmla="*/ 1774163 h 2076207"/>
              <a:gd name="csX7" fmla="*/ 102478 w 729419"/>
              <a:gd name="csY7" fmla="*/ 1720275 h 2076207"/>
              <a:gd name="csX8" fmla="*/ 108579 w 729419"/>
              <a:gd name="csY8" fmla="*/ 1650967 h 2076207"/>
              <a:gd name="csX9" fmla="*/ 115628 w 729419"/>
              <a:gd name="csY9" fmla="*/ 1625405 h 2076207"/>
              <a:gd name="csX10" fmla="*/ 156323 w 729419"/>
              <a:gd name="csY10" fmla="*/ 1560181 h 2076207"/>
              <a:gd name="csX11" fmla="*/ 199424 w 729419"/>
              <a:gd name="csY11" fmla="*/ 1364729 h 2076207"/>
              <a:gd name="csX12" fmla="*/ 216779 w 729419"/>
              <a:gd name="csY12" fmla="*/ 1219490 h 2076207"/>
              <a:gd name="csX13" fmla="*/ 229755 w 729419"/>
              <a:gd name="csY13" fmla="*/ 1099357 h 2076207"/>
              <a:gd name="csX14" fmla="*/ 232707 w 729419"/>
              <a:gd name="csY14" fmla="*/ 1056423 h 2076207"/>
              <a:gd name="csX15" fmla="*/ 235622 w 729419"/>
              <a:gd name="csY15" fmla="*/ 952675 h 2076207"/>
              <a:gd name="csX16" fmla="*/ 235445 w 729419"/>
              <a:gd name="csY16" fmla="*/ 780278 h 2076207"/>
              <a:gd name="csX17" fmla="*/ 214544 w 729419"/>
              <a:gd name="csY17" fmla="*/ 756435 h 2076207"/>
              <a:gd name="csX18" fmla="*/ 172569 w 729419"/>
              <a:gd name="csY18" fmla="*/ 742582 h 2076207"/>
              <a:gd name="csX19" fmla="*/ 168784 w 729419"/>
              <a:gd name="csY19" fmla="*/ 669116 h 2076207"/>
              <a:gd name="csX20" fmla="*/ 191657 w 729419"/>
              <a:gd name="csY20" fmla="*/ 630765 h 2076207"/>
              <a:gd name="csX21" fmla="*/ 208150 w 729419"/>
              <a:gd name="csY21" fmla="*/ 609084 h 2076207"/>
              <a:gd name="csX22" fmla="*/ 216756 w 729419"/>
              <a:gd name="csY22" fmla="*/ 558673 h 2076207"/>
              <a:gd name="csX23" fmla="*/ 209092 w 729419"/>
              <a:gd name="csY23" fmla="*/ 521540 h 2076207"/>
              <a:gd name="csX24" fmla="*/ 204683 w 729419"/>
              <a:gd name="csY24" fmla="*/ 474024 h 2076207"/>
              <a:gd name="csX25" fmla="*/ 115483 w 729419"/>
              <a:gd name="csY25" fmla="*/ 213499 h 2076207"/>
              <a:gd name="csX26" fmla="*/ 102909 w 729419"/>
              <a:gd name="csY26" fmla="*/ 182297 h 2076207"/>
              <a:gd name="csX27" fmla="*/ 104315 w 729419"/>
              <a:gd name="csY27" fmla="*/ 163968 h 2076207"/>
              <a:gd name="csX28" fmla="*/ 122444 w 729419"/>
              <a:gd name="csY28" fmla="*/ 160805 h 2076207"/>
              <a:gd name="csX29" fmla="*/ 170283 w 729419"/>
              <a:gd name="csY29" fmla="*/ 187783 h 2076207"/>
              <a:gd name="csX30" fmla="*/ 180938 w 729419"/>
              <a:gd name="csY30" fmla="*/ 195322 h 2076207"/>
              <a:gd name="csX31" fmla="*/ 221419 w 729419"/>
              <a:gd name="csY31" fmla="*/ 138058 h 2076207"/>
              <a:gd name="csX32" fmla="*/ 294099 w 729419"/>
              <a:gd name="csY32" fmla="*/ 91372 h 2076207"/>
              <a:gd name="csX33" fmla="*/ 302307 w 729419"/>
              <a:gd name="csY33" fmla="*/ 76560 h 2076207"/>
              <a:gd name="csX34" fmla="*/ 320284 w 729419"/>
              <a:gd name="csY34" fmla="*/ 8414 h 2076207"/>
              <a:gd name="csX35" fmla="*/ 324784 w 729419"/>
              <a:gd name="csY35" fmla="*/ 946 h 2076207"/>
              <a:gd name="csX36" fmla="*/ 399212 w 729419"/>
              <a:gd name="csY36" fmla="*/ 0 h 2076207"/>
              <a:gd name="csX37" fmla="*/ 425980 w 729419"/>
              <a:gd name="csY37" fmla="*/ 78301 h 2076207"/>
              <a:gd name="csX38" fmla="*/ 431861 w 729419"/>
              <a:gd name="csY38" fmla="*/ 90312 h 2076207"/>
              <a:gd name="csX39" fmla="*/ 540349 w 729419"/>
              <a:gd name="csY39" fmla="*/ 187946 h 2076207"/>
              <a:gd name="csX40" fmla="*/ 545555 w 729419"/>
              <a:gd name="csY40" fmla="*/ 197828 h 2076207"/>
              <a:gd name="csX41" fmla="*/ 587318 w 729419"/>
              <a:gd name="csY41" fmla="*/ 171260 h 2076207"/>
              <a:gd name="csX42" fmla="*/ 601503 w 729419"/>
              <a:gd name="csY42" fmla="*/ 163707 h 2076207"/>
              <a:gd name="csX43" fmla="*/ 625254 w 729419"/>
              <a:gd name="csY43" fmla="*/ 163123 h 2076207"/>
              <a:gd name="csX44" fmla="*/ 625468 w 729419"/>
              <a:gd name="csY44" fmla="*/ 187579 h 2076207"/>
              <a:gd name="csX45" fmla="*/ 597543 w 729419"/>
              <a:gd name="csY45" fmla="*/ 251872 h 2076207"/>
              <a:gd name="csX46" fmla="*/ 531831 w 729419"/>
              <a:gd name="csY46" fmla="*/ 442689 h 2076207"/>
              <a:gd name="csX47" fmla="*/ 519888 w 729419"/>
              <a:gd name="csY47" fmla="*/ 501474 h 2076207"/>
              <a:gd name="csX48" fmla="*/ 522506 w 729419"/>
              <a:gd name="csY48" fmla="*/ 525086 h 2076207"/>
              <a:gd name="csX49" fmla="*/ 516235 w 729419"/>
              <a:gd name="csY49" fmla="*/ 555946 h 2076207"/>
              <a:gd name="csX50" fmla="*/ 521332 w 729419"/>
              <a:gd name="csY50" fmla="*/ 610676 h 2076207"/>
              <a:gd name="csX51" fmla="*/ 541382 w 729419"/>
              <a:gd name="csY51" fmla="*/ 642597 h 2076207"/>
              <a:gd name="csX52" fmla="*/ 557031 w 729419"/>
              <a:gd name="csY52" fmla="*/ 667949 h 2076207"/>
              <a:gd name="csX53" fmla="*/ 553994 w 729419"/>
              <a:gd name="csY53" fmla="*/ 744146 h 2076207"/>
              <a:gd name="csX54" fmla="*/ 508215 w 729419"/>
              <a:gd name="csY54" fmla="*/ 758841 h 2076207"/>
              <a:gd name="csX55" fmla="*/ 497442 w 729419"/>
              <a:gd name="csY55" fmla="*/ 771256 h 2076207"/>
              <a:gd name="csX56" fmla="*/ 493005 w 729419"/>
              <a:gd name="csY56" fmla="*/ 922055 h 2076207"/>
              <a:gd name="csX57" fmla="*/ 502900 w 729419"/>
              <a:gd name="csY57" fmla="*/ 1114191 h 2076207"/>
              <a:gd name="csX58" fmla="*/ 508800 w 729419"/>
              <a:gd name="csY58" fmla="*/ 1205474 h 2076207"/>
              <a:gd name="csX59" fmla="*/ 522952 w 729419"/>
              <a:gd name="csY59" fmla="*/ 1320065 h 2076207"/>
              <a:gd name="csX60" fmla="*/ 554682 w 729419"/>
              <a:gd name="csY60" fmla="*/ 1501203 h 2076207"/>
              <a:gd name="csX61" fmla="*/ 576958 w 729419"/>
              <a:gd name="csY61" fmla="*/ 1593963 h 2076207"/>
              <a:gd name="csX62" fmla="*/ 595349 w 729419"/>
              <a:gd name="csY62" fmla="*/ 1613498 h 2076207"/>
              <a:gd name="csX63" fmla="*/ 613936 w 729419"/>
              <a:gd name="csY63" fmla="*/ 1624058 h 2076207"/>
              <a:gd name="csX64" fmla="*/ 620938 w 729419"/>
              <a:gd name="csY64" fmla="*/ 1652071 h 2076207"/>
              <a:gd name="csX65" fmla="*/ 630805 w 729419"/>
              <a:gd name="csY65" fmla="*/ 1721702 h 2076207"/>
              <a:gd name="csX66" fmla="*/ 685830 w 729419"/>
              <a:gd name="csY66" fmla="*/ 1792915 h 2076207"/>
              <a:gd name="csX67" fmla="*/ 708904 w 729419"/>
              <a:gd name="csY67" fmla="*/ 1890290 h 2076207"/>
              <a:gd name="csX68" fmla="*/ 716580 w 729419"/>
              <a:gd name="csY68" fmla="*/ 1951136 h 2076207"/>
              <a:gd name="csX69" fmla="*/ 729397 w 729419"/>
              <a:gd name="csY69" fmla="*/ 2030261 h 2076207"/>
              <a:gd name="csX70" fmla="*/ 714212 w 729419"/>
              <a:gd name="csY70" fmla="*/ 2049544 h 2076207"/>
              <a:gd name="csX71" fmla="*/ 645428 w 729419"/>
              <a:gd name="csY71" fmla="*/ 2070825 h 2076207"/>
              <a:gd name="csX72" fmla="*/ 635822 w 729419"/>
              <a:gd name="csY72" fmla="*/ 2075145 h 2076207"/>
              <a:gd name="csX73" fmla="*/ 588428 w 729419"/>
              <a:gd name="csY73" fmla="*/ 2075144 h 2076207"/>
              <a:gd name="csX74" fmla="*/ 590041 w 729419"/>
              <a:gd name="csY74" fmla="*/ 2071383 h 2076207"/>
              <a:gd name="csX75" fmla="*/ 667788 w 729419"/>
              <a:gd name="csY75" fmla="*/ 2056852 h 2076207"/>
              <a:gd name="csX76" fmla="*/ 706629 w 729419"/>
              <a:gd name="csY76" fmla="*/ 2044290 h 2076207"/>
              <a:gd name="csX77" fmla="*/ 702674 w 729419"/>
              <a:gd name="csY77" fmla="*/ 2041581 h 2076207"/>
              <a:gd name="csX78" fmla="*/ 544974 w 729419"/>
              <a:gd name="csY78" fmla="*/ 2071274 h 2076207"/>
              <a:gd name="csX79" fmla="*/ 96263 w 729419"/>
              <a:gd name="csY79" fmla="*/ 2076207 h 2076207"/>
              <a:gd name="csX80" fmla="*/ 489970 w 729419"/>
              <a:gd name="csY80" fmla="*/ 152208 h 2076207"/>
              <a:gd name="csX81" fmla="*/ 490754 w 729419"/>
              <a:gd name="csY81" fmla="*/ 152592 h 2076207"/>
              <a:gd name="csX82" fmla="*/ 489489 w 729419"/>
              <a:gd name="csY82" fmla="*/ 149547 h 2076207"/>
              <a:gd name="csX83" fmla="*/ 393621 w 729419"/>
              <a:gd name="csY83" fmla="*/ 99259 h 2076207"/>
              <a:gd name="csX84" fmla="*/ 390419 w 729419"/>
              <a:gd name="csY84" fmla="*/ 18568 h 2076207"/>
              <a:gd name="csX85" fmla="*/ 334131 w 729419"/>
              <a:gd name="csY85" fmla="*/ 24327 h 2076207"/>
              <a:gd name="csX86" fmla="*/ 344678 w 729419"/>
              <a:gd name="csY86" fmla="*/ 101259 h 2076207"/>
              <a:gd name="csX87" fmla="*/ 298854 w 729419"/>
              <a:gd name="csY87" fmla="*/ 114003 h 2076207"/>
              <a:gd name="csX88" fmla="*/ 237456 w 729419"/>
              <a:gd name="csY88" fmla="*/ 154340 h 2076207"/>
              <a:gd name="csX89" fmla="*/ 240382 w 729419"/>
              <a:gd name="csY89" fmla="*/ 154035 h 2076207"/>
              <a:gd name="csX90" fmla="*/ 262731 w 729419"/>
              <a:gd name="csY90" fmla="*/ 170426 h 2076207"/>
              <a:gd name="csX91" fmla="*/ 279169 w 729419"/>
              <a:gd name="csY91" fmla="*/ 193173 h 2076207"/>
              <a:gd name="csX92" fmla="*/ 327717 w 729419"/>
              <a:gd name="csY92" fmla="*/ 188556 h 2076207"/>
              <a:gd name="csX93" fmla="*/ 348052 w 729419"/>
              <a:gd name="csY93" fmla="*/ 156919 h 2076207"/>
              <a:gd name="csX94" fmla="*/ 380330 w 729419"/>
              <a:gd name="csY94" fmla="*/ 156483 h 2076207"/>
              <a:gd name="csX95" fmla="*/ 408490 w 729419"/>
              <a:gd name="csY95" fmla="*/ 195400 h 2076207"/>
              <a:gd name="csX96" fmla="*/ 445346 w 729419"/>
              <a:gd name="csY96" fmla="*/ 197582 h 2076207"/>
              <a:gd name="csX97" fmla="*/ 464798 w 729419"/>
              <a:gd name="csY97" fmla="*/ 174107 h 2076207"/>
              <a:gd name="csX98" fmla="*/ 489970 w 729419"/>
              <a:gd name="csY98" fmla="*/ 152208 h 2076207"/>
              <a:gd name="csX99" fmla="*/ 140694 w 729419"/>
              <a:gd name="csY99" fmla="*/ 201837 h 2076207"/>
              <a:gd name="csX100" fmla="*/ 139834 w 729419"/>
              <a:gd name="csY100" fmla="*/ 201482 h 2076207"/>
              <a:gd name="csX101" fmla="*/ 140812 w 729419"/>
              <a:gd name="csY101" fmla="*/ 204941 h 2076207"/>
              <a:gd name="csX102" fmla="*/ 144631 w 729419"/>
              <a:gd name="csY102" fmla="*/ 217811 h 2076207"/>
              <a:gd name="csX103" fmla="*/ 201241 w 729419"/>
              <a:gd name="csY103" fmla="*/ 373387 h 2076207"/>
              <a:gd name="csX104" fmla="*/ 235971 w 729419"/>
              <a:gd name="csY104" fmla="*/ 504451 h 2076207"/>
              <a:gd name="csX105" fmla="*/ 247475 w 729419"/>
              <a:gd name="csY105" fmla="*/ 513241 h 2076207"/>
              <a:gd name="csX106" fmla="*/ 289066 w 729419"/>
              <a:gd name="csY106" fmla="*/ 511170 h 2076207"/>
              <a:gd name="csX107" fmla="*/ 378229 w 729419"/>
              <a:gd name="csY107" fmla="*/ 511084 h 2076207"/>
              <a:gd name="csX108" fmla="*/ 470850 w 729419"/>
              <a:gd name="csY108" fmla="*/ 516341 h 2076207"/>
              <a:gd name="csX109" fmla="*/ 492933 w 729419"/>
              <a:gd name="csY109" fmla="*/ 497969 h 2076207"/>
              <a:gd name="csX110" fmla="*/ 557617 w 729419"/>
              <a:gd name="csY110" fmla="*/ 280398 h 2076207"/>
              <a:gd name="csX111" fmla="*/ 588788 w 729419"/>
              <a:gd name="csY111" fmla="*/ 200385 h 2076207"/>
              <a:gd name="csX112" fmla="*/ 530958 w 729419"/>
              <a:gd name="csY112" fmla="*/ 232968 h 2076207"/>
              <a:gd name="csX113" fmla="*/ 483823 w 729419"/>
              <a:gd name="csY113" fmla="*/ 190364 h 2076207"/>
              <a:gd name="csX114" fmla="*/ 466649 w 729419"/>
              <a:gd name="csY114" fmla="*/ 209061 h 2076207"/>
              <a:gd name="csX115" fmla="*/ 399941 w 729419"/>
              <a:gd name="csY115" fmla="*/ 216988 h 2076207"/>
              <a:gd name="csX116" fmla="*/ 363018 w 729419"/>
              <a:gd name="csY116" fmla="*/ 179615 h 2076207"/>
              <a:gd name="csX117" fmla="*/ 308839 w 729419"/>
              <a:gd name="csY117" fmla="*/ 227846 h 2076207"/>
              <a:gd name="csX118" fmla="*/ 245077 w 729419"/>
              <a:gd name="csY118" fmla="*/ 192402 h 2076207"/>
              <a:gd name="csX119" fmla="*/ 242829 w 729419"/>
              <a:gd name="csY119" fmla="*/ 198815 h 2076207"/>
              <a:gd name="csX120" fmla="*/ 168452 w 729419"/>
              <a:gd name="csY120" fmla="*/ 219348 h 2076207"/>
              <a:gd name="csX121" fmla="*/ 140694 w 729419"/>
              <a:gd name="csY121" fmla="*/ 201837 h 2076207"/>
              <a:gd name="csX122" fmla="*/ 259999 w 729419"/>
              <a:gd name="csY122" fmla="*/ 966699 h 2076207"/>
              <a:gd name="csX123" fmla="*/ 257072 w 729419"/>
              <a:gd name="csY123" fmla="*/ 1070424 h 2076207"/>
              <a:gd name="csX124" fmla="*/ 251372 w 729419"/>
              <a:gd name="csY124" fmla="*/ 1157618 h 2076207"/>
              <a:gd name="csX125" fmla="*/ 232677 w 729419"/>
              <a:gd name="csY125" fmla="*/ 1320279 h 2076207"/>
              <a:gd name="csX126" fmla="*/ 209182 w 729419"/>
              <a:gd name="csY126" fmla="*/ 1468667 h 2076207"/>
              <a:gd name="csX127" fmla="*/ 175302 w 729419"/>
              <a:gd name="csY127" fmla="*/ 1616623 h 2076207"/>
              <a:gd name="csX128" fmla="*/ 182769 w 729419"/>
              <a:gd name="csY128" fmla="*/ 1629786 h 2076207"/>
              <a:gd name="csX129" fmla="*/ 212156 w 729419"/>
              <a:gd name="csY129" fmla="*/ 1632656 h 2076207"/>
              <a:gd name="csX130" fmla="*/ 351295 w 729419"/>
              <a:gd name="csY130" fmla="*/ 1632801 h 2076207"/>
              <a:gd name="csX131" fmla="*/ 376150 w 729419"/>
              <a:gd name="csY131" fmla="*/ 1608307 h 2076207"/>
              <a:gd name="csX132" fmla="*/ 373450 w 729419"/>
              <a:gd name="csY132" fmla="*/ 1457291 h 2076207"/>
              <a:gd name="csX133" fmla="*/ 370936 w 729419"/>
              <a:gd name="csY133" fmla="*/ 1342736 h 2076207"/>
              <a:gd name="csX134" fmla="*/ 368328 w 729419"/>
              <a:gd name="csY134" fmla="*/ 1203878 h 2076207"/>
              <a:gd name="csX135" fmla="*/ 367836 w 729419"/>
              <a:gd name="csY135" fmla="*/ 813478 h 2076207"/>
              <a:gd name="csX136" fmla="*/ 365240 w 729419"/>
              <a:gd name="csY136" fmla="*/ 773243 h 2076207"/>
              <a:gd name="csX137" fmla="*/ 353084 w 729419"/>
              <a:gd name="csY137" fmla="*/ 762083 h 2076207"/>
              <a:gd name="csX138" fmla="*/ 280966 w 729419"/>
              <a:gd name="csY138" fmla="*/ 759855 h 2076207"/>
              <a:gd name="csX139" fmla="*/ 259965 w 729419"/>
              <a:gd name="csY139" fmla="*/ 779553 h 2076207"/>
              <a:gd name="csX140" fmla="*/ 262341 w 729419"/>
              <a:gd name="csY140" fmla="*/ 856275 h 2076207"/>
              <a:gd name="csX141" fmla="*/ 259999 w 729419"/>
              <a:gd name="csY141" fmla="*/ 966699 h 2076207"/>
              <a:gd name="csX142" fmla="*/ 55556 w 729419"/>
              <a:gd name="csY142" fmla="*/ 1835827 h 2076207"/>
              <a:gd name="csX143" fmla="*/ 49393 w 729419"/>
              <a:gd name="csY143" fmla="*/ 1878155 h 2076207"/>
              <a:gd name="csX144" fmla="*/ 73949 w 729419"/>
              <a:gd name="csY144" fmla="*/ 1905781 h 2076207"/>
              <a:gd name="csX145" fmla="*/ 110073 w 729419"/>
              <a:gd name="csY145" fmla="*/ 1909068 h 2076207"/>
              <a:gd name="csX146" fmla="*/ 224745 w 729419"/>
              <a:gd name="csY146" fmla="*/ 1921652 h 2076207"/>
              <a:gd name="csX147" fmla="*/ 347327 w 729419"/>
              <a:gd name="csY147" fmla="*/ 1924778 h 2076207"/>
              <a:gd name="csX148" fmla="*/ 363345 w 729419"/>
              <a:gd name="csY148" fmla="*/ 1923293 h 2076207"/>
              <a:gd name="csX149" fmla="*/ 373787 w 729419"/>
              <a:gd name="csY149" fmla="*/ 1911200 h 2076207"/>
              <a:gd name="csX150" fmla="*/ 376623 w 729419"/>
              <a:gd name="csY150" fmla="*/ 1696741 h 2076207"/>
              <a:gd name="csX151" fmla="*/ 360437 w 729419"/>
              <a:gd name="csY151" fmla="*/ 1681289 h 2076207"/>
              <a:gd name="csX152" fmla="*/ 263503 w 729419"/>
              <a:gd name="csY152" fmla="*/ 1678179 h 2076207"/>
              <a:gd name="csX153" fmla="*/ 160381 w 729419"/>
              <a:gd name="csY153" fmla="*/ 1670405 h 2076207"/>
              <a:gd name="csX154" fmla="*/ 143321 w 729419"/>
              <a:gd name="csY154" fmla="*/ 1685538 h 2076207"/>
              <a:gd name="csX155" fmla="*/ 124769 w 729419"/>
              <a:gd name="csY155" fmla="*/ 1738195 h 2076207"/>
              <a:gd name="csX156" fmla="*/ 90593 w 729419"/>
              <a:gd name="csY156" fmla="*/ 1779570 h 2076207"/>
              <a:gd name="csX157" fmla="*/ 55556 w 729419"/>
              <a:gd name="csY157" fmla="*/ 1835827 h 2076207"/>
              <a:gd name="csX158" fmla="*/ 378900 w 729419"/>
              <a:gd name="csY158" fmla="*/ 2007280 h 2076207"/>
              <a:gd name="csX159" fmla="*/ 378887 w 729419"/>
              <a:gd name="csY159" fmla="*/ 1995127 h 2076207"/>
              <a:gd name="csX160" fmla="*/ 359084 w 729419"/>
              <a:gd name="csY160" fmla="*/ 1975964 h 2076207"/>
              <a:gd name="csX161" fmla="*/ 247288 w 729419"/>
              <a:gd name="csY161" fmla="*/ 1973305 h 2076207"/>
              <a:gd name="csX162" fmla="*/ 201692 w 729419"/>
              <a:gd name="csY162" fmla="*/ 1970275 h 2076207"/>
              <a:gd name="csX163" fmla="*/ 57962 w 729419"/>
              <a:gd name="csY163" fmla="*/ 1952648 h 2076207"/>
              <a:gd name="csX164" fmla="*/ 39194 w 729419"/>
              <a:gd name="csY164" fmla="*/ 1963552 h 2076207"/>
              <a:gd name="csX165" fmla="*/ 30066 w 729419"/>
              <a:gd name="csY165" fmla="*/ 2006631 h 2076207"/>
              <a:gd name="csX166" fmla="*/ 40232 w 729419"/>
              <a:gd name="csY166" fmla="*/ 2019486 h 2076207"/>
              <a:gd name="csX167" fmla="*/ 238186 w 729419"/>
              <a:gd name="csY167" fmla="*/ 2046096 h 2076207"/>
              <a:gd name="csX168" fmla="*/ 342155 w 729419"/>
              <a:gd name="csY168" fmla="*/ 2046441 h 2076207"/>
              <a:gd name="csX169" fmla="*/ 378900 w 729419"/>
              <a:gd name="csY169" fmla="*/ 2007280 h 2076207"/>
              <a:gd name="csX170" fmla="*/ 310220 w 729419"/>
              <a:gd name="csY170" fmla="*/ 554288 h 2076207"/>
              <a:gd name="csX171" fmla="*/ 259136 w 729419"/>
              <a:gd name="csY171" fmla="*/ 556881 h 2076207"/>
              <a:gd name="csX172" fmla="*/ 249085 w 729419"/>
              <a:gd name="csY172" fmla="*/ 567981 h 2076207"/>
              <a:gd name="csX173" fmla="*/ 249141 w 729419"/>
              <a:gd name="csY173" fmla="*/ 605644 h 2076207"/>
              <a:gd name="csX174" fmla="*/ 262628 w 729419"/>
              <a:gd name="csY174" fmla="*/ 605627 h 2076207"/>
              <a:gd name="csX175" fmla="*/ 369608 w 729419"/>
              <a:gd name="csY175" fmla="*/ 603027 h 2076207"/>
              <a:gd name="csX176" fmla="*/ 463931 w 729419"/>
              <a:gd name="csY176" fmla="*/ 605146 h 2076207"/>
              <a:gd name="csX177" fmla="*/ 478113 w 729419"/>
              <a:gd name="csY177" fmla="*/ 595843 h 2076207"/>
              <a:gd name="csX178" fmla="*/ 478796 w 729419"/>
              <a:gd name="csY178" fmla="*/ 556832 h 2076207"/>
              <a:gd name="csX179" fmla="*/ 310220 w 729419"/>
              <a:gd name="csY179" fmla="*/ 554288 h 2076207"/>
              <a:gd name="csX180" fmla="*/ 348836 w 729419"/>
              <a:gd name="csY180" fmla="*/ 684115 h 2076207"/>
              <a:gd name="csX181" fmla="*/ 281333 w 729419"/>
              <a:gd name="csY181" fmla="*/ 683313 h 2076207"/>
              <a:gd name="csX182" fmla="*/ 212728 w 729419"/>
              <a:gd name="csY182" fmla="*/ 681931 h 2076207"/>
              <a:gd name="csX183" fmla="*/ 187283 w 729419"/>
              <a:gd name="csY183" fmla="*/ 689555 h 2076207"/>
              <a:gd name="csX184" fmla="*/ 186163 w 729419"/>
              <a:gd name="csY184" fmla="*/ 718266 h 2076207"/>
              <a:gd name="csX185" fmla="*/ 209894 w 729419"/>
              <a:gd name="csY185" fmla="*/ 726798 h 2076207"/>
              <a:gd name="csX186" fmla="*/ 334814 w 729419"/>
              <a:gd name="csY186" fmla="*/ 732494 h 2076207"/>
              <a:gd name="csX187" fmla="*/ 364856 w 729419"/>
              <a:gd name="csY187" fmla="*/ 707963 h 2076207"/>
              <a:gd name="csX188" fmla="*/ 348836 w 729419"/>
              <a:gd name="csY188" fmla="*/ 684115 h 2076207"/>
              <a:gd name="csX189" fmla="*/ 298865 w 729419"/>
              <a:gd name="csY189" fmla="*/ 621954 h 2076207"/>
              <a:gd name="csX190" fmla="*/ 251619 w 729419"/>
              <a:gd name="csY190" fmla="*/ 622133 h 2076207"/>
              <a:gd name="csX191" fmla="*/ 214459 w 729419"/>
              <a:gd name="csY191" fmla="*/ 636230 h 2076207"/>
              <a:gd name="csX192" fmla="*/ 221436 w 729419"/>
              <a:gd name="csY192" fmla="*/ 654205 h 2076207"/>
              <a:gd name="csX193" fmla="*/ 272412 w 729419"/>
              <a:gd name="csY193" fmla="*/ 657250 h 2076207"/>
              <a:gd name="csX194" fmla="*/ 349094 w 729419"/>
              <a:gd name="csY194" fmla="*/ 659282 h 2076207"/>
              <a:gd name="csX195" fmla="*/ 362996 w 729419"/>
              <a:gd name="csY195" fmla="*/ 644234 h 2076207"/>
              <a:gd name="csX196" fmla="*/ 348472 w 729419"/>
              <a:gd name="csY196" fmla="*/ 624649 h 2076207"/>
              <a:gd name="csX197" fmla="*/ 298865 w 729419"/>
              <a:gd name="csY197" fmla="*/ 621954 h 2076207"/>
              <a:gd name="csX198" fmla="*/ 227796 w 729419"/>
              <a:gd name="csY198" fmla="*/ 528000 h 2076207"/>
              <a:gd name="csX199" fmla="*/ 241009 w 729419"/>
              <a:gd name="csY199" fmla="*/ 545897 h 2076207"/>
              <a:gd name="csX200" fmla="*/ 282607 w 729419"/>
              <a:gd name="csY200" fmla="*/ 543480 h 2076207"/>
              <a:gd name="csX201" fmla="*/ 354213 w 729419"/>
              <a:gd name="csY201" fmla="*/ 543384 h 2076207"/>
              <a:gd name="csX202" fmla="*/ 365334 w 729419"/>
              <a:gd name="csY202" fmla="*/ 533397 h 2076207"/>
              <a:gd name="csX203" fmla="*/ 354531 w 729419"/>
              <a:gd name="csY203" fmla="*/ 521620 h 2076207"/>
              <a:gd name="csX204" fmla="*/ 259169 w 729419"/>
              <a:gd name="csY204" fmla="*/ 521978 h 2076207"/>
              <a:gd name="csX205" fmla="*/ 227796 w 729419"/>
              <a:gd name="csY205" fmla="*/ 528000 h 2076207"/>
              <a:gd name="csX206" fmla="*/ 508068 w 729419"/>
              <a:gd name="csY206" fmla="*/ 190710 h 2076207"/>
              <a:gd name="csX207" fmla="*/ 521293 w 729419"/>
              <a:gd name="csY207" fmla="*/ 205907 h 2076207"/>
              <a:gd name="csX208" fmla="*/ 525175 w 729419"/>
              <a:gd name="csY208" fmla="*/ 202985 h 2076207"/>
              <a:gd name="csX209" fmla="*/ 500276 w 729419"/>
              <a:gd name="csY209" fmla="*/ 160640 h 2076207"/>
              <a:gd name="csX210" fmla="*/ 497122 w 729419"/>
              <a:gd name="csY210" fmla="*/ 162007 h 2076207"/>
              <a:gd name="csX211" fmla="*/ 508068 w 729419"/>
              <a:gd name="csY211" fmla="*/ 190710 h 2076207"/>
              <a:gd name="csX212" fmla="*/ 215522 w 729419"/>
              <a:gd name="csY212" fmla="*/ 197296 h 2076207"/>
              <a:gd name="csX213" fmla="*/ 234029 w 729419"/>
              <a:gd name="csY213" fmla="*/ 162725 h 2076207"/>
              <a:gd name="csX214" fmla="*/ 229000 w 729419"/>
              <a:gd name="csY214" fmla="*/ 159902 h 2076207"/>
              <a:gd name="csX215" fmla="*/ 204824 w 729419"/>
              <a:gd name="csY215" fmla="*/ 199677 h 2076207"/>
              <a:gd name="csX216" fmla="*/ 207990 w 729419"/>
              <a:gd name="csY216" fmla="*/ 202198 h 2076207"/>
              <a:gd name="csX217" fmla="*/ 215522 w 729419"/>
              <a:gd name="csY217" fmla="*/ 197296 h 2076207"/>
              <a:gd name="csX218" fmla="*/ 484400 w 729419"/>
              <a:gd name="csY218" fmla="*/ 896678 h 2076207"/>
              <a:gd name="csX219" fmla="*/ 486181 w 729419"/>
              <a:gd name="csY219" fmla="*/ 896585 h 2076207"/>
              <a:gd name="csX220" fmla="*/ 486181 w 729419"/>
              <a:gd name="csY220" fmla="*/ 795289 h 2076207"/>
              <a:gd name="csX221" fmla="*/ 720241 w 729419"/>
              <a:gd name="csY221" fmla="*/ 2030666 h 2076207"/>
              <a:gd name="csX222" fmla="*/ 721175 w 729419"/>
              <a:gd name="csY222" fmla="*/ 2029733 h 2076207"/>
              <a:gd name="csX223" fmla="*/ 720241 w 729419"/>
              <a:gd name="csY223" fmla="*/ 2030666 h 2076207"/>
              <a:gd name="csX224" fmla="*/ 715702 w 729419"/>
              <a:gd name="csY224" fmla="*/ 2037051 h 2076207"/>
              <a:gd name="csX225" fmla="*/ 715702 w 729419"/>
              <a:gd name="csY225" fmla="*/ 2037051 h 2076207"/>
              <a:gd name="csX0" fmla="*/ 96263 w 748195"/>
              <a:gd name="csY0" fmla="*/ 2076207 h 2076207"/>
              <a:gd name="csX1" fmla="*/ 63862 w 748195"/>
              <a:gd name="csY1" fmla="*/ 2065388 h 2076207"/>
              <a:gd name="csX2" fmla="*/ 16555 w 748195"/>
              <a:gd name="csY2" fmla="*/ 2050152 h 2076207"/>
              <a:gd name="csX3" fmla="*/ 15 w 748195"/>
              <a:gd name="csY3" fmla="*/ 2023802 h 2076207"/>
              <a:gd name="csX4" fmla="*/ 18368 w 748195"/>
              <a:gd name="csY4" fmla="*/ 1940709 h 2076207"/>
              <a:gd name="csX5" fmla="*/ 22139 w 748195"/>
              <a:gd name="csY5" fmla="*/ 1907268 h 2076207"/>
              <a:gd name="csX6" fmla="*/ 57941 w 748195"/>
              <a:gd name="csY6" fmla="*/ 1774163 h 2076207"/>
              <a:gd name="csX7" fmla="*/ 102478 w 748195"/>
              <a:gd name="csY7" fmla="*/ 1720275 h 2076207"/>
              <a:gd name="csX8" fmla="*/ 108579 w 748195"/>
              <a:gd name="csY8" fmla="*/ 1650967 h 2076207"/>
              <a:gd name="csX9" fmla="*/ 115628 w 748195"/>
              <a:gd name="csY9" fmla="*/ 1625405 h 2076207"/>
              <a:gd name="csX10" fmla="*/ 156323 w 748195"/>
              <a:gd name="csY10" fmla="*/ 1560181 h 2076207"/>
              <a:gd name="csX11" fmla="*/ 199424 w 748195"/>
              <a:gd name="csY11" fmla="*/ 1364729 h 2076207"/>
              <a:gd name="csX12" fmla="*/ 216779 w 748195"/>
              <a:gd name="csY12" fmla="*/ 1219490 h 2076207"/>
              <a:gd name="csX13" fmla="*/ 229755 w 748195"/>
              <a:gd name="csY13" fmla="*/ 1099357 h 2076207"/>
              <a:gd name="csX14" fmla="*/ 232707 w 748195"/>
              <a:gd name="csY14" fmla="*/ 1056423 h 2076207"/>
              <a:gd name="csX15" fmla="*/ 235622 w 748195"/>
              <a:gd name="csY15" fmla="*/ 952675 h 2076207"/>
              <a:gd name="csX16" fmla="*/ 235445 w 748195"/>
              <a:gd name="csY16" fmla="*/ 780278 h 2076207"/>
              <a:gd name="csX17" fmla="*/ 214544 w 748195"/>
              <a:gd name="csY17" fmla="*/ 756435 h 2076207"/>
              <a:gd name="csX18" fmla="*/ 172569 w 748195"/>
              <a:gd name="csY18" fmla="*/ 742582 h 2076207"/>
              <a:gd name="csX19" fmla="*/ 168784 w 748195"/>
              <a:gd name="csY19" fmla="*/ 669116 h 2076207"/>
              <a:gd name="csX20" fmla="*/ 191657 w 748195"/>
              <a:gd name="csY20" fmla="*/ 630765 h 2076207"/>
              <a:gd name="csX21" fmla="*/ 208150 w 748195"/>
              <a:gd name="csY21" fmla="*/ 609084 h 2076207"/>
              <a:gd name="csX22" fmla="*/ 216756 w 748195"/>
              <a:gd name="csY22" fmla="*/ 558673 h 2076207"/>
              <a:gd name="csX23" fmla="*/ 209092 w 748195"/>
              <a:gd name="csY23" fmla="*/ 521540 h 2076207"/>
              <a:gd name="csX24" fmla="*/ 204683 w 748195"/>
              <a:gd name="csY24" fmla="*/ 474024 h 2076207"/>
              <a:gd name="csX25" fmla="*/ 115483 w 748195"/>
              <a:gd name="csY25" fmla="*/ 213499 h 2076207"/>
              <a:gd name="csX26" fmla="*/ 102909 w 748195"/>
              <a:gd name="csY26" fmla="*/ 182297 h 2076207"/>
              <a:gd name="csX27" fmla="*/ 104315 w 748195"/>
              <a:gd name="csY27" fmla="*/ 163968 h 2076207"/>
              <a:gd name="csX28" fmla="*/ 122444 w 748195"/>
              <a:gd name="csY28" fmla="*/ 160805 h 2076207"/>
              <a:gd name="csX29" fmla="*/ 170283 w 748195"/>
              <a:gd name="csY29" fmla="*/ 187783 h 2076207"/>
              <a:gd name="csX30" fmla="*/ 180938 w 748195"/>
              <a:gd name="csY30" fmla="*/ 195322 h 2076207"/>
              <a:gd name="csX31" fmla="*/ 221419 w 748195"/>
              <a:gd name="csY31" fmla="*/ 138058 h 2076207"/>
              <a:gd name="csX32" fmla="*/ 294099 w 748195"/>
              <a:gd name="csY32" fmla="*/ 91372 h 2076207"/>
              <a:gd name="csX33" fmla="*/ 302307 w 748195"/>
              <a:gd name="csY33" fmla="*/ 76560 h 2076207"/>
              <a:gd name="csX34" fmla="*/ 320284 w 748195"/>
              <a:gd name="csY34" fmla="*/ 8414 h 2076207"/>
              <a:gd name="csX35" fmla="*/ 324784 w 748195"/>
              <a:gd name="csY35" fmla="*/ 946 h 2076207"/>
              <a:gd name="csX36" fmla="*/ 399212 w 748195"/>
              <a:gd name="csY36" fmla="*/ 0 h 2076207"/>
              <a:gd name="csX37" fmla="*/ 425980 w 748195"/>
              <a:gd name="csY37" fmla="*/ 78301 h 2076207"/>
              <a:gd name="csX38" fmla="*/ 431861 w 748195"/>
              <a:gd name="csY38" fmla="*/ 90312 h 2076207"/>
              <a:gd name="csX39" fmla="*/ 540349 w 748195"/>
              <a:gd name="csY39" fmla="*/ 187946 h 2076207"/>
              <a:gd name="csX40" fmla="*/ 545555 w 748195"/>
              <a:gd name="csY40" fmla="*/ 197828 h 2076207"/>
              <a:gd name="csX41" fmla="*/ 587318 w 748195"/>
              <a:gd name="csY41" fmla="*/ 171260 h 2076207"/>
              <a:gd name="csX42" fmla="*/ 601503 w 748195"/>
              <a:gd name="csY42" fmla="*/ 163707 h 2076207"/>
              <a:gd name="csX43" fmla="*/ 625254 w 748195"/>
              <a:gd name="csY43" fmla="*/ 163123 h 2076207"/>
              <a:gd name="csX44" fmla="*/ 625468 w 748195"/>
              <a:gd name="csY44" fmla="*/ 187579 h 2076207"/>
              <a:gd name="csX45" fmla="*/ 597543 w 748195"/>
              <a:gd name="csY45" fmla="*/ 251872 h 2076207"/>
              <a:gd name="csX46" fmla="*/ 531831 w 748195"/>
              <a:gd name="csY46" fmla="*/ 442689 h 2076207"/>
              <a:gd name="csX47" fmla="*/ 519888 w 748195"/>
              <a:gd name="csY47" fmla="*/ 501474 h 2076207"/>
              <a:gd name="csX48" fmla="*/ 522506 w 748195"/>
              <a:gd name="csY48" fmla="*/ 525086 h 2076207"/>
              <a:gd name="csX49" fmla="*/ 516235 w 748195"/>
              <a:gd name="csY49" fmla="*/ 555946 h 2076207"/>
              <a:gd name="csX50" fmla="*/ 521332 w 748195"/>
              <a:gd name="csY50" fmla="*/ 610676 h 2076207"/>
              <a:gd name="csX51" fmla="*/ 541382 w 748195"/>
              <a:gd name="csY51" fmla="*/ 642597 h 2076207"/>
              <a:gd name="csX52" fmla="*/ 557031 w 748195"/>
              <a:gd name="csY52" fmla="*/ 667949 h 2076207"/>
              <a:gd name="csX53" fmla="*/ 553994 w 748195"/>
              <a:gd name="csY53" fmla="*/ 744146 h 2076207"/>
              <a:gd name="csX54" fmla="*/ 508215 w 748195"/>
              <a:gd name="csY54" fmla="*/ 758841 h 2076207"/>
              <a:gd name="csX55" fmla="*/ 497442 w 748195"/>
              <a:gd name="csY55" fmla="*/ 771256 h 2076207"/>
              <a:gd name="csX56" fmla="*/ 493005 w 748195"/>
              <a:gd name="csY56" fmla="*/ 922055 h 2076207"/>
              <a:gd name="csX57" fmla="*/ 502900 w 748195"/>
              <a:gd name="csY57" fmla="*/ 1114191 h 2076207"/>
              <a:gd name="csX58" fmla="*/ 508800 w 748195"/>
              <a:gd name="csY58" fmla="*/ 1205474 h 2076207"/>
              <a:gd name="csX59" fmla="*/ 522952 w 748195"/>
              <a:gd name="csY59" fmla="*/ 1320065 h 2076207"/>
              <a:gd name="csX60" fmla="*/ 554682 w 748195"/>
              <a:gd name="csY60" fmla="*/ 1501203 h 2076207"/>
              <a:gd name="csX61" fmla="*/ 576958 w 748195"/>
              <a:gd name="csY61" fmla="*/ 1593963 h 2076207"/>
              <a:gd name="csX62" fmla="*/ 595349 w 748195"/>
              <a:gd name="csY62" fmla="*/ 1613498 h 2076207"/>
              <a:gd name="csX63" fmla="*/ 613936 w 748195"/>
              <a:gd name="csY63" fmla="*/ 1624058 h 2076207"/>
              <a:gd name="csX64" fmla="*/ 620938 w 748195"/>
              <a:gd name="csY64" fmla="*/ 1652071 h 2076207"/>
              <a:gd name="csX65" fmla="*/ 630805 w 748195"/>
              <a:gd name="csY65" fmla="*/ 1721702 h 2076207"/>
              <a:gd name="csX66" fmla="*/ 685830 w 748195"/>
              <a:gd name="csY66" fmla="*/ 1792915 h 2076207"/>
              <a:gd name="csX67" fmla="*/ 708904 w 748195"/>
              <a:gd name="csY67" fmla="*/ 1890290 h 2076207"/>
              <a:gd name="csX68" fmla="*/ 716580 w 748195"/>
              <a:gd name="csY68" fmla="*/ 1951136 h 2076207"/>
              <a:gd name="csX69" fmla="*/ 729397 w 748195"/>
              <a:gd name="csY69" fmla="*/ 2030261 h 2076207"/>
              <a:gd name="csX70" fmla="*/ 714212 w 748195"/>
              <a:gd name="csY70" fmla="*/ 2049544 h 2076207"/>
              <a:gd name="csX71" fmla="*/ 645428 w 748195"/>
              <a:gd name="csY71" fmla="*/ 2070825 h 2076207"/>
              <a:gd name="csX72" fmla="*/ 635822 w 748195"/>
              <a:gd name="csY72" fmla="*/ 2075145 h 2076207"/>
              <a:gd name="csX73" fmla="*/ 588428 w 748195"/>
              <a:gd name="csY73" fmla="*/ 2075144 h 2076207"/>
              <a:gd name="csX74" fmla="*/ 590041 w 748195"/>
              <a:gd name="csY74" fmla="*/ 2071383 h 2076207"/>
              <a:gd name="csX75" fmla="*/ 667788 w 748195"/>
              <a:gd name="csY75" fmla="*/ 2056852 h 2076207"/>
              <a:gd name="csX76" fmla="*/ 706629 w 748195"/>
              <a:gd name="csY76" fmla="*/ 2044290 h 2076207"/>
              <a:gd name="csX77" fmla="*/ 702674 w 748195"/>
              <a:gd name="csY77" fmla="*/ 2041581 h 2076207"/>
              <a:gd name="csX78" fmla="*/ 96263 w 748195"/>
              <a:gd name="csY78" fmla="*/ 2076207 h 2076207"/>
              <a:gd name="csX79" fmla="*/ 489970 w 748195"/>
              <a:gd name="csY79" fmla="*/ 152208 h 2076207"/>
              <a:gd name="csX80" fmla="*/ 490754 w 748195"/>
              <a:gd name="csY80" fmla="*/ 152592 h 2076207"/>
              <a:gd name="csX81" fmla="*/ 489489 w 748195"/>
              <a:gd name="csY81" fmla="*/ 149547 h 2076207"/>
              <a:gd name="csX82" fmla="*/ 393621 w 748195"/>
              <a:gd name="csY82" fmla="*/ 99259 h 2076207"/>
              <a:gd name="csX83" fmla="*/ 390419 w 748195"/>
              <a:gd name="csY83" fmla="*/ 18568 h 2076207"/>
              <a:gd name="csX84" fmla="*/ 334131 w 748195"/>
              <a:gd name="csY84" fmla="*/ 24327 h 2076207"/>
              <a:gd name="csX85" fmla="*/ 344678 w 748195"/>
              <a:gd name="csY85" fmla="*/ 101259 h 2076207"/>
              <a:gd name="csX86" fmla="*/ 298854 w 748195"/>
              <a:gd name="csY86" fmla="*/ 114003 h 2076207"/>
              <a:gd name="csX87" fmla="*/ 237456 w 748195"/>
              <a:gd name="csY87" fmla="*/ 154340 h 2076207"/>
              <a:gd name="csX88" fmla="*/ 240382 w 748195"/>
              <a:gd name="csY88" fmla="*/ 154035 h 2076207"/>
              <a:gd name="csX89" fmla="*/ 262731 w 748195"/>
              <a:gd name="csY89" fmla="*/ 170426 h 2076207"/>
              <a:gd name="csX90" fmla="*/ 279169 w 748195"/>
              <a:gd name="csY90" fmla="*/ 193173 h 2076207"/>
              <a:gd name="csX91" fmla="*/ 327717 w 748195"/>
              <a:gd name="csY91" fmla="*/ 188556 h 2076207"/>
              <a:gd name="csX92" fmla="*/ 348052 w 748195"/>
              <a:gd name="csY92" fmla="*/ 156919 h 2076207"/>
              <a:gd name="csX93" fmla="*/ 380330 w 748195"/>
              <a:gd name="csY93" fmla="*/ 156483 h 2076207"/>
              <a:gd name="csX94" fmla="*/ 408490 w 748195"/>
              <a:gd name="csY94" fmla="*/ 195400 h 2076207"/>
              <a:gd name="csX95" fmla="*/ 445346 w 748195"/>
              <a:gd name="csY95" fmla="*/ 197582 h 2076207"/>
              <a:gd name="csX96" fmla="*/ 464798 w 748195"/>
              <a:gd name="csY96" fmla="*/ 174107 h 2076207"/>
              <a:gd name="csX97" fmla="*/ 489970 w 748195"/>
              <a:gd name="csY97" fmla="*/ 152208 h 2076207"/>
              <a:gd name="csX98" fmla="*/ 140694 w 748195"/>
              <a:gd name="csY98" fmla="*/ 201837 h 2076207"/>
              <a:gd name="csX99" fmla="*/ 139834 w 748195"/>
              <a:gd name="csY99" fmla="*/ 201482 h 2076207"/>
              <a:gd name="csX100" fmla="*/ 140812 w 748195"/>
              <a:gd name="csY100" fmla="*/ 204941 h 2076207"/>
              <a:gd name="csX101" fmla="*/ 144631 w 748195"/>
              <a:gd name="csY101" fmla="*/ 217811 h 2076207"/>
              <a:gd name="csX102" fmla="*/ 201241 w 748195"/>
              <a:gd name="csY102" fmla="*/ 373387 h 2076207"/>
              <a:gd name="csX103" fmla="*/ 235971 w 748195"/>
              <a:gd name="csY103" fmla="*/ 504451 h 2076207"/>
              <a:gd name="csX104" fmla="*/ 247475 w 748195"/>
              <a:gd name="csY104" fmla="*/ 513241 h 2076207"/>
              <a:gd name="csX105" fmla="*/ 289066 w 748195"/>
              <a:gd name="csY105" fmla="*/ 511170 h 2076207"/>
              <a:gd name="csX106" fmla="*/ 378229 w 748195"/>
              <a:gd name="csY106" fmla="*/ 511084 h 2076207"/>
              <a:gd name="csX107" fmla="*/ 470850 w 748195"/>
              <a:gd name="csY107" fmla="*/ 516341 h 2076207"/>
              <a:gd name="csX108" fmla="*/ 492933 w 748195"/>
              <a:gd name="csY108" fmla="*/ 497969 h 2076207"/>
              <a:gd name="csX109" fmla="*/ 557617 w 748195"/>
              <a:gd name="csY109" fmla="*/ 280398 h 2076207"/>
              <a:gd name="csX110" fmla="*/ 588788 w 748195"/>
              <a:gd name="csY110" fmla="*/ 200385 h 2076207"/>
              <a:gd name="csX111" fmla="*/ 530958 w 748195"/>
              <a:gd name="csY111" fmla="*/ 232968 h 2076207"/>
              <a:gd name="csX112" fmla="*/ 483823 w 748195"/>
              <a:gd name="csY112" fmla="*/ 190364 h 2076207"/>
              <a:gd name="csX113" fmla="*/ 466649 w 748195"/>
              <a:gd name="csY113" fmla="*/ 209061 h 2076207"/>
              <a:gd name="csX114" fmla="*/ 399941 w 748195"/>
              <a:gd name="csY114" fmla="*/ 216988 h 2076207"/>
              <a:gd name="csX115" fmla="*/ 363018 w 748195"/>
              <a:gd name="csY115" fmla="*/ 179615 h 2076207"/>
              <a:gd name="csX116" fmla="*/ 308839 w 748195"/>
              <a:gd name="csY116" fmla="*/ 227846 h 2076207"/>
              <a:gd name="csX117" fmla="*/ 245077 w 748195"/>
              <a:gd name="csY117" fmla="*/ 192402 h 2076207"/>
              <a:gd name="csX118" fmla="*/ 242829 w 748195"/>
              <a:gd name="csY118" fmla="*/ 198815 h 2076207"/>
              <a:gd name="csX119" fmla="*/ 168452 w 748195"/>
              <a:gd name="csY119" fmla="*/ 219348 h 2076207"/>
              <a:gd name="csX120" fmla="*/ 140694 w 748195"/>
              <a:gd name="csY120" fmla="*/ 201837 h 2076207"/>
              <a:gd name="csX121" fmla="*/ 259999 w 748195"/>
              <a:gd name="csY121" fmla="*/ 966699 h 2076207"/>
              <a:gd name="csX122" fmla="*/ 257072 w 748195"/>
              <a:gd name="csY122" fmla="*/ 1070424 h 2076207"/>
              <a:gd name="csX123" fmla="*/ 251372 w 748195"/>
              <a:gd name="csY123" fmla="*/ 1157618 h 2076207"/>
              <a:gd name="csX124" fmla="*/ 232677 w 748195"/>
              <a:gd name="csY124" fmla="*/ 1320279 h 2076207"/>
              <a:gd name="csX125" fmla="*/ 209182 w 748195"/>
              <a:gd name="csY125" fmla="*/ 1468667 h 2076207"/>
              <a:gd name="csX126" fmla="*/ 175302 w 748195"/>
              <a:gd name="csY126" fmla="*/ 1616623 h 2076207"/>
              <a:gd name="csX127" fmla="*/ 182769 w 748195"/>
              <a:gd name="csY127" fmla="*/ 1629786 h 2076207"/>
              <a:gd name="csX128" fmla="*/ 212156 w 748195"/>
              <a:gd name="csY128" fmla="*/ 1632656 h 2076207"/>
              <a:gd name="csX129" fmla="*/ 351295 w 748195"/>
              <a:gd name="csY129" fmla="*/ 1632801 h 2076207"/>
              <a:gd name="csX130" fmla="*/ 376150 w 748195"/>
              <a:gd name="csY130" fmla="*/ 1608307 h 2076207"/>
              <a:gd name="csX131" fmla="*/ 373450 w 748195"/>
              <a:gd name="csY131" fmla="*/ 1457291 h 2076207"/>
              <a:gd name="csX132" fmla="*/ 370936 w 748195"/>
              <a:gd name="csY132" fmla="*/ 1342736 h 2076207"/>
              <a:gd name="csX133" fmla="*/ 368328 w 748195"/>
              <a:gd name="csY133" fmla="*/ 1203878 h 2076207"/>
              <a:gd name="csX134" fmla="*/ 367836 w 748195"/>
              <a:gd name="csY134" fmla="*/ 813478 h 2076207"/>
              <a:gd name="csX135" fmla="*/ 365240 w 748195"/>
              <a:gd name="csY135" fmla="*/ 773243 h 2076207"/>
              <a:gd name="csX136" fmla="*/ 353084 w 748195"/>
              <a:gd name="csY136" fmla="*/ 762083 h 2076207"/>
              <a:gd name="csX137" fmla="*/ 280966 w 748195"/>
              <a:gd name="csY137" fmla="*/ 759855 h 2076207"/>
              <a:gd name="csX138" fmla="*/ 259965 w 748195"/>
              <a:gd name="csY138" fmla="*/ 779553 h 2076207"/>
              <a:gd name="csX139" fmla="*/ 262341 w 748195"/>
              <a:gd name="csY139" fmla="*/ 856275 h 2076207"/>
              <a:gd name="csX140" fmla="*/ 259999 w 748195"/>
              <a:gd name="csY140" fmla="*/ 966699 h 2076207"/>
              <a:gd name="csX141" fmla="*/ 55556 w 748195"/>
              <a:gd name="csY141" fmla="*/ 1835827 h 2076207"/>
              <a:gd name="csX142" fmla="*/ 49393 w 748195"/>
              <a:gd name="csY142" fmla="*/ 1878155 h 2076207"/>
              <a:gd name="csX143" fmla="*/ 73949 w 748195"/>
              <a:gd name="csY143" fmla="*/ 1905781 h 2076207"/>
              <a:gd name="csX144" fmla="*/ 110073 w 748195"/>
              <a:gd name="csY144" fmla="*/ 1909068 h 2076207"/>
              <a:gd name="csX145" fmla="*/ 224745 w 748195"/>
              <a:gd name="csY145" fmla="*/ 1921652 h 2076207"/>
              <a:gd name="csX146" fmla="*/ 347327 w 748195"/>
              <a:gd name="csY146" fmla="*/ 1924778 h 2076207"/>
              <a:gd name="csX147" fmla="*/ 363345 w 748195"/>
              <a:gd name="csY147" fmla="*/ 1923293 h 2076207"/>
              <a:gd name="csX148" fmla="*/ 373787 w 748195"/>
              <a:gd name="csY148" fmla="*/ 1911200 h 2076207"/>
              <a:gd name="csX149" fmla="*/ 376623 w 748195"/>
              <a:gd name="csY149" fmla="*/ 1696741 h 2076207"/>
              <a:gd name="csX150" fmla="*/ 360437 w 748195"/>
              <a:gd name="csY150" fmla="*/ 1681289 h 2076207"/>
              <a:gd name="csX151" fmla="*/ 263503 w 748195"/>
              <a:gd name="csY151" fmla="*/ 1678179 h 2076207"/>
              <a:gd name="csX152" fmla="*/ 160381 w 748195"/>
              <a:gd name="csY152" fmla="*/ 1670405 h 2076207"/>
              <a:gd name="csX153" fmla="*/ 143321 w 748195"/>
              <a:gd name="csY153" fmla="*/ 1685538 h 2076207"/>
              <a:gd name="csX154" fmla="*/ 124769 w 748195"/>
              <a:gd name="csY154" fmla="*/ 1738195 h 2076207"/>
              <a:gd name="csX155" fmla="*/ 90593 w 748195"/>
              <a:gd name="csY155" fmla="*/ 1779570 h 2076207"/>
              <a:gd name="csX156" fmla="*/ 55556 w 748195"/>
              <a:gd name="csY156" fmla="*/ 1835827 h 2076207"/>
              <a:gd name="csX157" fmla="*/ 378900 w 748195"/>
              <a:gd name="csY157" fmla="*/ 2007280 h 2076207"/>
              <a:gd name="csX158" fmla="*/ 378887 w 748195"/>
              <a:gd name="csY158" fmla="*/ 1995127 h 2076207"/>
              <a:gd name="csX159" fmla="*/ 359084 w 748195"/>
              <a:gd name="csY159" fmla="*/ 1975964 h 2076207"/>
              <a:gd name="csX160" fmla="*/ 247288 w 748195"/>
              <a:gd name="csY160" fmla="*/ 1973305 h 2076207"/>
              <a:gd name="csX161" fmla="*/ 201692 w 748195"/>
              <a:gd name="csY161" fmla="*/ 1970275 h 2076207"/>
              <a:gd name="csX162" fmla="*/ 57962 w 748195"/>
              <a:gd name="csY162" fmla="*/ 1952648 h 2076207"/>
              <a:gd name="csX163" fmla="*/ 39194 w 748195"/>
              <a:gd name="csY163" fmla="*/ 1963552 h 2076207"/>
              <a:gd name="csX164" fmla="*/ 30066 w 748195"/>
              <a:gd name="csY164" fmla="*/ 2006631 h 2076207"/>
              <a:gd name="csX165" fmla="*/ 40232 w 748195"/>
              <a:gd name="csY165" fmla="*/ 2019486 h 2076207"/>
              <a:gd name="csX166" fmla="*/ 238186 w 748195"/>
              <a:gd name="csY166" fmla="*/ 2046096 h 2076207"/>
              <a:gd name="csX167" fmla="*/ 342155 w 748195"/>
              <a:gd name="csY167" fmla="*/ 2046441 h 2076207"/>
              <a:gd name="csX168" fmla="*/ 378900 w 748195"/>
              <a:gd name="csY168" fmla="*/ 2007280 h 2076207"/>
              <a:gd name="csX169" fmla="*/ 310220 w 748195"/>
              <a:gd name="csY169" fmla="*/ 554288 h 2076207"/>
              <a:gd name="csX170" fmla="*/ 259136 w 748195"/>
              <a:gd name="csY170" fmla="*/ 556881 h 2076207"/>
              <a:gd name="csX171" fmla="*/ 249085 w 748195"/>
              <a:gd name="csY171" fmla="*/ 567981 h 2076207"/>
              <a:gd name="csX172" fmla="*/ 249141 w 748195"/>
              <a:gd name="csY172" fmla="*/ 605644 h 2076207"/>
              <a:gd name="csX173" fmla="*/ 262628 w 748195"/>
              <a:gd name="csY173" fmla="*/ 605627 h 2076207"/>
              <a:gd name="csX174" fmla="*/ 369608 w 748195"/>
              <a:gd name="csY174" fmla="*/ 603027 h 2076207"/>
              <a:gd name="csX175" fmla="*/ 463931 w 748195"/>
              <a:gd name="csY175" fmla="*/ 605146 h 2076207"/>
              <a:gd name="csX176" fmla="*/ 478113 w 748195"/>
              <a:gd name="csY176" fmla="*/ 595843 h 2076207"/>
              <a:gd name="csX177" fmla="*/ 478796 w 748195"/>
              <a:gd name="csY177" fmla="*/ 556832 h 2076207"/>
              <a:gd name="csX178" fmla="*/ 310220 w 748195"/>
              <a:gd name="csY178" fmla="*/ 554288 h 2076207"/>
              <a:gd name="csX179" fmla="*/ 348836 w 748195"/>
              <a:gd name="csY179" fmla="*/ 684115 h 2076207"/>
              <a:gd name="csX180" fmla="*/ 281333 w 748195"/>
              <a:gd name="csY180" fmla="*/ 683313 h 2076207"/>
              <a:gd name="csX181" fmla="*/ 212728 w 748195"/>
              <a:gd name="csY181" fmla="*/ 681931 h 2076207"/>
              <a:gd name="csX182" fmla="*/ 187283 w 748195"/>
              <a:gd name="csY182" fmla="*/ 689555 h 2076207"/>
              <a:gd name="csX183" fmla="*/ 186163 w 748195"/>
              <a:gd name="csY183" fmla="*/ 718266 h 2076207"/>
              <a:gd name="csX184" fmla="*/ 209894 w 748195"/>
              <a:gd name="csY184" fmla="*/ 726798 h 2076207"/>
              <a:gd name="csX185" fmla="*/ 334814 w 748195"/>
              <a:gd name="csY185" fmla="*/ 732494 h 2076207"/>
              <a:gd name="csX186" fmla="*/ 364856 w 748195"/>
              <a:gd name="csY186" fmla="*/ 707963 h 2076207"/>
              <a:gd name="csX187" fmla="*/ 348836 w 748195"/>
              <a:gd name="csY187" fmla="*/ 684115 h 2076207"/>
              <a:gd name="csX188" fmla="*/ 298865 w 748195"/>
              <a:gd name="csY188" fmla="*/ 621954 h 2076207"/>
              <a:gd name="csX189" fmla="*/ 251619 w 748195"/>
              <a:gd name="csY189" fmla="*/ 622133 h 2076207"/>
              <a:gd name="csX190" fmla="*/ 214459 w 748195"/>
              <a:gd name="csY190" fmla="*/ 636230 h 2076207"/>
              <a:gd name="csX191" fmla="*/ 221436 w 748195"/>
              <a:gd name="csY191" fmla="*/ 654205 h 2076207"/>
              <a:gd name="csX192" fmla="*/ 272412 w 748195"/>
              <a:gd name="csY192" fmla="*/ 657250 h 2076207"/>
              <a:gd name="csX193" fmla="*/ 349094 w 748195"/>
              <a:gd name="csY193" fmla="*/ 659282 h 2076207"/>
              <a:gd name="csX194" fmla="*/ 362996 w 748195"/>
              <a:gd name="csY194" fmla="*/ 644234 h 2076207"/>
              <a:gd name="csX195" fmla="*/ 348472 w 748195"/>
              <a:gd name="csY195" fmla="*/ 624649 h 2076207"/>
              <a:gd name="csX196" fmla="*/ 298865 w 748195"/>
              <a:gd name="csY196" fmla="*/ 621954 h 2076207"/>
              <a:gd name="csX197" fmla="*/ 227796 w 748195"/>
              <a:gd name="csY197" fmla="*/ 528000 h 2076207"/>
              <a:gd name="csX198" fmla="*/ 241009 w 748195"/>
              <a:gd name="csY198" fmla="*/ 545897 h 2076207"/>
              <a:gd name="csX199" fmla="*/ 282607 w 748195"/>
              <a:gd name="csY199" fmla="*/ 543480 h 2076207"/>
              <a:gd name="csX200" fmla="*/ 354213 w 748195"/>
              <a:gd name="csY200" fmla="*/ 543384 h 2076207"/>
              <a:gd name="csX201" fmla="*/ 365334 w 748195"/>
              <a:gd name="csY201" fmla="*/ 533397 h 2076207"/>
              <a:gd name="csX202" fmla="*/ 354531 w 748195"/>
              <a:gd name="csY202" fmla="*/ 521620 h 2076207"/>
              <a:gd name="csX203" fmla="*/ 259169 w 748195"/>
              <a:gd name="csY203" fmla="*/ 521978 h 2076207"/>
              <a:gd name="csX204" fmla="*/ 227796 w 748195"/>
              <a:gd name="csY204" fmla="*/ 528000 h 2076207"/>
              <a:gd name="csX205" fmla="*/ 508068 w 748195"/>
              <a:gd name="csY205" fmla="*/ 190710 h 2076207"/>
              <a:gd name="csX206" fmla="*/ 521293 w 748195"/>
              <a:gd name="csY206" fmla="*/ 205907 h 2076207"/>
              <a:gd name="csX207" fmla="*/ 525175 w 748195"/>
              <a:gd name="csY207" fmla="*/ 202985 h 2076207"/>
              <a:gd name="csX208" fmla="*/ 500276 w 748195"/>
              <a:gd name="csY208" fmla="*/ 160640 h 2076207"/>
              <a:gd name="csX209" fmla="*/ 497122 w 748195"/>
              <a:gd name="csY209" fmla="*/ 162007 h 2076207"/>
              <a:gd name="csX210" fmla="*/ 508068 w 748195"/>
              <a:gd name="csY210" fmla="*/ 190710 h 2076207"/>
              <a:gd name="csX211" fmla="*/ 215522 w 748195"/>
              <a:gd name="csY211" fmla="*/ 197296 h 2076207"/>
              <a:gd name="csX212" fmla="*/ 234029 w 748195"/>
              <a:gd name="csY212" fmla="*/ 162725 h 2076207"/>
              <a:gd name="csX213" fmla="*/ 229000 w 748195"/>
              <a:gd name="csY213" fmla="*/ 159902 h 2076207"/>
              <a:gd name="csX214" fmla="*/ 204824 w 748195"/>
              <a:gd name="csY214" fmla="*/ 199677 h 2076207"/>
              <a:gd name="csX215" fmla="*/ 207990 w 748195"/>
              <a:gd name="csY215" fmla="*/ 202198 h 2076207"/>
              <a:gd name="csX216" fmla="*/ 215522 w 748195"/>
              <a:gd name="csY216" fmla="*/ 197296 h 2076207"/>
              <a:gd name="csX217" fmla="*/ 484400 w 748195"/>
              <a:gd name="csY217" fmla="*/ 896678 h 2076207"/>
              <a:gd name="csX218" fmla="*/ 486181 w 748195"/>
              <a:gd name="csY218" fmla="*/ 896585 h 2076207"/>
              <a:gd name="csX219" fmla="*/ 486181 w 748195"/>
              <a:gd name="csY219" fmla="*/ 795289 h 2076207"/>
              <a:gd name="csX220" fmla="*/ 720241 w 748195"/>
              <a:gd name="csY220" fmla="*/ 2030666 h 2076207"/>
              <a:gd name="csX221" fmla="*/ 721175 w 748195"/>
              <a:gd name="csY221" fmla="*/ 2029733 h 2076207"/>
              <a:gd name="csX222" fmla="*/ 720241 w 748195"/>
              <a:gd name="csY222" fmla="*/ 2030666 h 2076207"/>
              <a:gd name="csX223" fmla="*/ 715702 w 748195"/>
              <a:gd name="csY223" fmla="*/ 2037051 h 2076207"/>
              <a:gd name="csX224" fmla="*/ 715702 w 748195"/>
              <a:gd name="csY224" fmla="*/ 2037051 h 2076207"/>
              <a:gd name="csX0" fmla="*/ 96263 w 748195"/>
              <a:gd name="csY0" fmla="*/ 2076207 h 2076207"/>
              <a:gd name="csX1" fmla="*/ 63862 w 748195"/>
              <a:gd name="csY1" fmla="*/ 2065388 h 2076207"/>
              <a:gd name="csX2" fmla="*/ 16555 w 748195"/>
              <a:gd name="csY2" fmla="*/ 2050152 h 2076207"/>
              <a:gd name="csX3" fmla="*/ 15 w 748195"/>
              <a:gd name="csY3" fmla="*/ 2023802 h 2076207"/>
              <a:gd name="csX4" fmla="*/ 18368 w 748195"/>
              <a:gd name="csY4" fmla="*/ 1940709 h 2076207"/>
              <a:gd name="csX5" fmla="*/ 22139 w 748195"/>
              <a:gd name="csY5" fmla="*/ 1907268 h 2076207"/>
              <a:gd name="csX6" fmla="*/ 57941 w 748195"/>
              <a:gd name="csY6" fmla="*/ 1774163 h 2076207"/>
              <a:gd name="csX7" fmla="*/ 102478 w 748195"/>
              <a:gd name="csY7" fmla="*/ 1720275 h 2076207"/>
              <a:gd name="csX8" fmla="*/ 108579 w 748195"/>
              <a:gd name="csY8" fmla="*/ 1650967 h 2076207"/>
              <a:gd name="csX9" fmla="*/ 115628 w 748195"/>
              <a:gd name="csY9" fmla="*/ 1625405 h 2076207"/>
              <a:gd name="csX10" fmla="*/ 156323 w 748195"/>
              <a:gd name="csY10" fmla="*/ 1560181 h 2076207"/>
              <a:gd name="csX11" fmla="*/ 199424 w 748195"/>
              <a:gd name="csY11" fmla="*/ 1364729 h 2076207"/>
              <a:gd name="csX12" fmla="*/ 216779 w 748195"/>
              <a:gd name="csY12" fmla="*/ 1219490 h 2076207"/>
              <a:gd name="csX13" fmla="*/ 229755 w 748195"/>
              <a:gd name="csY13" fmla="*/ 1099357 h 2076207"/>
              <a:gd name="csX14" fmla="*/ 232707 w 748195"/>
              <a:gd name="csY14" fmla="*/ 1056423 h 2076207"/>
              <a:gd name="csX15" fmla="*/ 235622 w 748195"/>
              <a:gd name="csY15" fmla="*/ 952675 h 2076207"/>
              <a:gd name="csX16" fmla="*/ 235445 w 748195"/>
              <a:gd name="csY16" fmla="*/ 780278 h 2076207"/>
              <a:gd name="csX17" fmla="*/ 214544 w 748195"/>
              <a:gd name="csY17" fmla="*/ 756435 h 2076207"/>
              <a:gd name="csX18" fmla="*/ 172569 w 748195"/>
              <a:gd name="csY18" fmla="*/ 742582 h 2076207"/>
              <a:gd name="csX19" fmla="*/ 168784 w 748195"/>
              <a:gd name="csY19" fmla="*/ 669116 h 2076207"/>
              <a:gd name="csX20" fmla="*/ 191657 w 748195"/>
              <a:gd name="csY20" fmla="*/ 630765 h 2076207"/>
              <a:gd name="csX21" fmla="*/ 208150 w 748195"/>
              <a:gd name="csY21" fmla="*/ 609084 h 2076207"/>
              <a:gd name="csX22" fmla="*/ 216756 w 748195"/>
              <a:gd name="csY22" fmla="*/ 558673 h 2076207"/>
              <a:gd name="csX23" fmla="*/ 209092 w 748195"/>
              <a:gd name="csY23" fmla="*/ 521540 h 2076207"/>
              <a:gd name="csX24" fmla="*/ 204683 w 748195"/>
              <a:gd name="csY24" fmla="*/ 474024 h 2076207"/>
              <a:gd name="csX25" fmla="*/ 115483 w 748195"/>
              <a:gd name="csY25" fmla="*/ 213499 h 2076207"/>
              <a:gd name="csX26" fmla="*/ 102909 w 748195"/>
              <a:gd name="csY26" fmla="*/ 182297 h 2076207"/>
              <a:gd name="csX27" fmla="*/ 104315 w 748195"/>
              <a:gd name="csY27" fmla="*/ 163968 h 2076207"/>
              <a:gd name="csX28" fmla="*/ 122444 w 748195"/>
              <a:gd name="csY28" fmla="*/ 160805 h 2076207"/>
              <a:gd name="csX29" fmla="*/ 170283 w 748195"/>
              <a:gd name="csY29" fmla="*/ 187783 h 2076207"/>
              <a:gd name="csX30" fmla="*/ 180938 w 748195"/>
              <a:gd name="csY30" fmla="*/ 195322 h 2076207"/>
              <a:gd name="csX31" fmla="*/ 221419 w 748195"/>
              <a:gd name="csY31" fmla="*/ 138058 h 2076207"/>
              <a:gd name="csX32" fmla="*/ 294099 w 748195"/>
              <a:gd name="csY32" fmla="*/ 91372 h 2076207"/>
              <a:gd name="csX33" fmla="*/ 302307 w 748195"/>
              <a:gd name="csY33" fmla="*/ 76560 h 2076207"/>
              <a:gd name="csX34" fmla="*/ 320284 w 748195"/>
              <a:gd name="csY34" fmla="*/ 8414 h 2076207"/>
              <a:gd name="csX35" fmla="*/ 324784 w 748195"/>
              <a:gd name="csY35" fmla="*/ 946 h 2076207"/>
              <a:gd name="csX36" fmla="*/ 399212 w 748195"/>
              <a:gd name="csY36" fmla="*/ 0 h 2076207"/>
              <a:gd name="csX37" fmla="*/ 425980 w 748195"/>
              <a:gd name="csY37" fmla="*/ 78301 h 2076207"/>
              <a:gd name="csX38" fmla="*/ 431861 w 748195"/>
              <a:gd name="csY38" fmla="*/ 90312 h 2076207"/>
              <a:gd name="csX39" fmla="*/ 540349 w 748195"/>
              <a:gd name="csY39" fmla="*/ 187946 h 2076207"/>
              <a:gd name="csX40" fmla="*/ 545555 w 748195"/>
              <a:gd name="csY40" fmla="*/ 197828 h 2076207"/>
              <a:gd name="csX41" fmla="*/ 587318 w 748195"/>
              <a:gd name="csY41" fmla="*/ 171260 h 2076207"/>
              <a:gd name="csX42" fmla="*/ 601503 w 748195"/>
              <a:gd name="csY42" fmla="*/ 163707 h 2076207"/>
              <a:gd name="csX43" fmla="*/ 625254 w 748195"/>
              <a:gd name="csY43" fmla="*/ 163123 h 2076207"/>
              <a:gd name="csX44" fmla="*/ 625468 w 748195"/>
              <a:gd name="csY44" fmla="*/ 187579 h 2076207"/>
              <a:gd name="csX45" fmla="*/ 597543 w 748195"/>
              <a:gd name="csY45" fmla="*/ 251872 h 2076207"/>
              <a:gd name="csX46" fmla="*/ 531831 w 748195"/>
              <a:gd name="csY46" fmla="*/ 442689 h 2076207"/>
              <a:gd name="csX47" fmla="*/ 519888 w 748195"/>
              <a:gd name="csY47" fmla="*/ 501474 h 2076207"/>
              <a:gd name="csX48" fmla="*/ 522506 w 748195"/>
              <a:gd name="csY48" fmla="*/ 525086 h 2076207"/>
              <a:gd name="csX49" fmla="*/ 516235 w 748195"/>
              <a:gd name="csY49" fmla="*/ 555946 h 2076207"/>
              <a:gd name="csX50" fmla="*/ 521332 w 748195"/>
              <a:gd name="csY50" fmla="*/ 610676 h 2076207"/>
              <a:gd name="csX51" fmla="*/ 541382 w 748195"/>
              <a:gd name="csY51" fmla="*/ 642597 h 2076207"/>
              <a:gd name="csX52" fmla="*/ 557031 w 748195"/>
              <a:gd name="csY52" fmla="*/ 667949 h 2076207"/>
              <a:gd name="csX53" fmla="*/ 553994 w 748195"/>
              <a:gd name="csY53" fmla="*/ 744146 h 2076207"/>
              <a:gd name="csX54" fmla="*/ 508215 w 748195"/>
              <a:gd name="csY54" fmla="*/ 758841 h 2076207"/>
              <a:gd name="csX55" fmla="*/ 497442 w 748195"/>
              <a:gd name="csY55" fmla="*/ 771256 h 2076207"/>
              <a:gd name="csX56" fmla="*/ 493005 w 748195"/>
              <a:gd name="csY56" fmla="*/ 922055 h 2076207"/>
              <a:gd name="csX57" fmla="*/ 502900 w 748195"/>
              <a:gd name="csY57" fmla="*/ 1114191 h 2076207"/>
              <a:gd name="csX58" fmla="*/ 508800 w 748195"/>
              <a:gd name="csY58" fmla="*/ 1205474 h 2076207"/>
              <a:gd name="csX59" fmla="*/ 522952 w 748195"/>
              <a:gd name="csY59" fmla="*/ 1320065 h 2076207"/>
              <a:gd name="csX60" fmla="*/ 554682 w 748195"/>
              <a:gd name="csY60" fmla="*/ 1501203 h 2076207"/>
              <a:gd name="csX61" fmla="*/ 576958 w 748195"/>
              <a:gd name="csY61" fmla="*/ 1593963 h 2076207"/>
              <a:gd name="csX62" fmla="*/ 595349 w 748195"/>
              <a:gd name="csY62" fmla="*/ 1613498 h 2076207"/>
              <a:gd name="csX63" fmla="*/ 613936 w 748195"/>
              <a:gd name="csY63" fmla="*/ 1624058 h 2076207"/>
              <a:gd name="csX64" fmla="*/ 620938 w 748195"/>
              <a:gd name="csY64" fmla="*/ 1652071 h 2076207"/>
              <a:gd name="csX65" fmla="*/ 630805 w 748195"/>
              <a:gd name="csY65" fmla="*/ 1721702 h 2076207"/>
              <a:gd name="csX66" fmla="*/ 685830 w 748195"/>
              <a:gd name="csY66" fmla="*/ 1792915 h 2076207"/>
              <a:gd name="csX67" fmla="*/ 708904 w 748195"/>
              <a:gd name="csY67" fmla="*/ 1890290 h 2076207"/>
              <a:gd name="csX68" fmla="*/ 716580 w 748195"/>
              <a:gd name="csY68" fmla="*/ 1951136 h 2076207"/>
              <a:gd name="csX69" fmla="*/ 729397 w 748195"/>
              <a:gd name="csY69" fmla="*/ 2030261 h 2076207"/>
              <a:gd name="csX70" fmla="*/ 714212 w 748195"/>
              <a:gd name="csY70" fmla="*/ 2049544 h 2076207"/>
              <a:gd name="csX71" fmla="*/ 645428 w 748195"/>
              <a:gd name="csY71" fmla="*/ 2070825 h 2076207"/>
              <a:gd name="csX72" fmla="*/ 635822 w 748195"/>
              <a:gd name="csY72" fmla="*/ 2075145 h 2076207"/>
              <a:gd name="csX73" fmla="*/ 588428 w 748195"/>
              <a:gd name="csY73" fmla="*/ 2075144 h 2076207"/>
              <a:gd name="csX74" fmla="*/ 667788 w 748195"/>
              <a:gd name="csY74" fmla="*/ 2056852 h 2076207"/>
              <a:gd name="csX75" fmla="*/ 706629 w 748195"/>
              <a:gd name="csY75" fmla="*/ 2044290 h 2076207"/>
              <a:gd name="csX76" fmla="*/ 702674 w 748195"/>
              <a:gd name="csY76" fmla="*/ 2041581 h 2076207"/>
              <a:gd name="csX77" fmla="*/ 96263 w 748195"/>
              <a:gd name="csY77" fmla="*/ 2076207 h 2076207"/>
              <a:gd name="csX78" fmla="*/ 489970 w 748195"/>
              <a:gd name="csY78" fmla="*/ 152208 h 2076207"/>
              <a:gd name="csX79" fmla="*/ 490754 w 748195"/>
              <a:gd name="csY79" fmla="*/ 152592 h 2076207"/>
              <a:gd name="csX80" fmla="*/ 489489 w 748195"/>
              <a:gd name="csY80" fmla="*/ 149547 h 2076207"/>
              <a:gd name="csX81" fmla="*/ 393621 w 748195"/>
              <a:gd name="csY81" fmla="*/ 99259 h 2076207"/>
              <a:gd name="csX82" fmla="*/ 390419 w 748195"/>
              <a:gd name="csY82" fmla="*/ 18568 h 2076207"/>
              <a:gd name="csX83" fmla="*/ 334131 w 748195"/>
              <a:gd name="csY83" fmla="*/ 24327 h 2076207"/>
              <a:gd name="csX84" fmla="*/ 344678 w 748195"/>
              <a:gd name="csY84" fmla="*/ 101259 h 2076207"/>
              <a:gd name="csX85" fmla="*/ 298854 w 748195"/>
              <a:gd name="csY85" fmla="*/ 114003 h 2076207"/>
              <a:gd name="csX86" fmla="*/ 237456 w 748195"/>
              <a:gd name="csY86" fmla="*/ 154340 h 2076207"/>
              <a:gd name="csX87" fmla="*/ 240382 w 748195"/>
              <a:gd name="csY87" fmla="*/ 154035 h 2076207"/>
              <a:gd name="csX88" fmla="*/ 262731 w 748195"/>
              <a:gd name="csY88" fmla="*/ 170426 h 2076207"/>
              <a:gd name="csX89" fmla="*/ 279169 w 748195"/>
              <a:gd name="csY89" fmla="*/ 193173 h 2076207"/>
              <a:gd name="csX90" fmla="*/ 327717 w 748195"/>
              <a:gd name="csY90" fmla="*/ 188556 h 2076207"/>
              <a:gd name="csX91" fmla="*/ 348052 w 748195"/>
              <a:gd name="csY91" fmla="*/ 156919 h 2076207"/>
              <a:gd name="csX92" fmla="*/ 380330 w 748195"/>
              <a:gd name="csY92" fmla="*/ 156483 h 2076207"/>
              <a:gd name="csX93" fmla="*/ 408490 w 748195"/>
              <a:gd name="csY93" fmla="*/ 195400 h 2076207"/>
              <a:gd name="csX94" fmla="*/ 445346 w 748195"/>
              <a:gd name="csY94" fmla="*/ 197582 h 2076207"/>
              <a:gd name="csX95" fmla="*/ 464798 w 748195"/>
              <a:gd name="csY95" fmla="*/ 174107 h 2076207"/>
              <a:gd name="csX96" fmla="*/ 489970 w 748195"/>
              <a:gd name="csY96" fmla="*/ 152208 h 2076207"/>
              <a:gd name="csX97" fmla="*/ 140694 w 748195"/>
              <a:gd name="csY97" fmla="*/ 201837 h 2076207"/>
              <a:gd name="csX98" fmla="*/ 139834 w 748195"/>
              <a:gd name="csY98" fmla="*/ 201482 h 2076207"/>
              <a:gd name="csX99" fmla="*/ 140812 w 748195"/>
              <a:gd name="csY99" fmla="*/ 204941 h 2076207"/>
              <a:gd name="csX100" fmla="*/ 144631 w 748195"/>
              <a:gd name="csY100" fmla="*/ 217811 h 2076207"/>
              <a:gd name="csX101" fmla="*/ 201241 w 748195"/>
              <a:gd name="csY101" fmla="*/ 373387 h 2076207"/>
              <a:gd name="csX102" fmla="*/ 235971 w 748195"/>
              <a:gd name="csY102" fmla="*/ 504451 h 2076207"/>
              <a:gd name="csX103" fmla="*/ 247475 w 748195"/>
              <a:gd name="csY103" fmla="*/ 513241 h 2076207"/>
              <a:gd name="csX104" fmla="*/ 289066 w 748195"/>
              <a:gd name="csY104" fmla="*/ 511170 h 2076207"/>
              <a:gd name="csX105" fmla="*/ 378229 w 748195"/>
              <a:gd name="csY105" fmla="*/ 511084 h 2076207"/>
              <a:gd name="csX106" fmla="*/ 470850 w 748195"/>
              <a:gd name="csY106" fmla="*/ 516341 h 2076207"/>
              <a:gd name="csX107" fmla="*/ 492933 w 748195"/>
              <a:gd name="csY107" fmla="*/ 497969 h 2076207"/>
              <a:gd name="csX108" fmla="*/ 557617 w 748195"/>
              <a:gd name="csY108" fmla="*/ 280398 h 2076207"/>
              <a:gd name="csX109" fmla="*/ 588788 w 748195"/>
              <a:gd name="csY109" fmla="*/ 200385 h 2076207"/>
              <a:gd name="csX110" fmla="*/ 530958 w 748195"/>
              <a:gd name="csY110" fmla="*/ 232968 h 2076207"/>
              <a:gd name="csX111" fmla="*/ 483823 w 748195"/>
              <a:gd name="csY111" fmla="*/ 190364 h 2076207"/>
              <a:gd name="csX112" fmla="*/ 466649 w 748195"/>
              <a:gd name="csY112" fmla="*/ 209061 h 2076207"/>
              <a:gd name="csX113" fmla="*/ 399941 w 748195"/>
              <a:gd name="csY113" fmla="*/ 216988 h 2076207"/>
              <a:gd name="csX114" fmla="*/ 363018 w 748195"/>
              <a:gd name="csY114" fmla="*/ 179615 h 2076207"/>
              <a:gd name="csX115" fmla="*/ 308839 w 748195"/>
              <a:gd name="csY115" fmla="*/ 227846 h 2076207"/>
              <a:gd name="csX116" fmla="*/ 245077 w 748195"/>
              <a:gd name="csY116" fmla="*/ 192402 h 2076207"/>
              <a:gd name="csX117" fmla="*/ 242829 w 748195"/>
              <a:gd name="csY117" fmla="*/ 198815 h 2076207"/>
              <a:gd name="csX118" fmla="*/ 168452 w 748195"/>
              <a:gd name="csY118" fmla="*/ 219348 h 2076207"/>
              <a:gd name="csX119" fmla="*/ 140694 w 748195"/>
              <a:gd name="csY119" fmla="*/ 201837 h 2076207"/>
              <a:gd name="csX120" fmla="*/ 259999 w 748195"/>
              <a:gd name="csY120" fmla="*/ 966699 h 2076207"/>
              <a:gd name="csX121" fmla="*/ 257072 w 748195"/>
              <a:gd name="csY121" fmla="*/ 1070424 h 2076207"/>
              <a:gd name="csX122" fmla="*/ 251372 w 748195"/>
              <a:gd name="csY122" fmla="*/ 1157618 h 2076207"/>
              <a:gd name="csX123" fmla="*/ 232677 w 748195"/>
              <a:gd name="csY123" fmla="*/ 1320279 h 2076207"/>
              <a:gd name="csX124" fmla="*/ 209182 w 748195"/>
              <a:gd name="csY124" fmla="*/ 1468667 h 2076207"/>
              <a:gd name="csX125" fmla="*/ 175302 w 748195"/>
              <a:gd name="csY125" fmla="*/ 1616623 h 2076207"/>
              <a:gd name="csX126" fmla="*/ 182769 w 748195"/>
              <a:gd name="csY126" fmla="*/ 1629786 h 2076207"/>
              <a:gd name="csX127" fmla="*/ 212156 w 748195"/>
              <a:gd name="csY127" fmla="*/ 1632656 h 2076207"/>
              <a:gd name="csX128" fmla="*/ 351295 w 748195"/>
              <a:gd name="csY128" fmla="*/ 1632801 h 2076207"/>
              <a:gd name="csX129" fmla="*/ 376150 w 748195"/>
              <a:gd name="csY129" fmla="*/ 1608307 h 2076207"/>
              <a:gd name="csX130" fmla="*/ 373450 w 748195"/>
              <a:gd name="csY130" fmla="*/ 1457291 h 2076207"/>
              <a:gd name="csX131" fmla="*/ 370936 w 748195"/>
              <a:gd name="csY131" fmla="*/ 1342736 h 2076207"/>
              <a:gd name="csX132" fmla="*/ 368328 w 748195"/>
              <a:gd name="csY132" fmla="*/ 1203878 h 2076207"/>
              <a:gd name="csX133" fmla="*/ 367836 w 748195"/>
              <a:gd name="csY133" fmla="*/ 813478 h 2076207"/>
              <a:gd name="csX134" fmla="*/ 365240 w 748195"/>
              <a:gd name="csY134" fmla="*/ 773243 h 2076207"/>
              <a:gd name="csX135" fmla="*/ 353084 w 748195"/>
              <a:gd name="csY135" fmla="*/ 762083 h 2076207"/>
              <a:gd name="csX136" fmla="*/ 280966 w 748195"/>
              <a:gd name="csY136" fmla="*/ 759855 h 2076207"/>
              <a:gd name="csX137" fmla="*/ 259965 w 748195"/>
              <a:gd name="csY137" fmla="*/ 779553 h 2076207"/>
              <a:gd name="csX138" fmla="*/ 262341 w 748195"/>
              <a:gd name="csY138" fmla="*/ 856275 h 2076207"/>
              <a:gd name="csX139" fmla="*/ 259999 w 748195"/>
              <a:gd name="csY139" fmla="*/ 966699 h 2076207"/>
              <a:gd name="csX140" fmla="*/ 55556 w 748195"/>
              <a:gd name="csY140" fmla="*/ 1835827 h 2076207"/>
              <a:gd name="csX141" fmla="*/ 49393 w 748195"/>
              <a:gd name="csY141" fmla="*/ 1878155 h 2076207"/>
              <a:gd name="csX142" fmla="*/ 73949 w 748195"/>
              <a:gd name="csY142" fmla="*/ 1905781 h 2076207"/>
              <a:gd name="csX143" fmla="*/ 110073 w 748195"/>
              <a:gd name="csY143" fmla="*/ 1909068 h 2076207"/>
              <a:gd name="csX144" fmla="*/ 224745 w 748195"/>
              <a:gd name="csY144" fmla="*/ 1921652 h 2076207"/>
              <a:gd name="csX145" fmla="*/ 347327 w 748195"/>
              <a:gd name="csY145" fmla="*/ 1924778 h 2076207"/>
              <a:gd name="csX146" fmla="*/ 363345 w 748195"/>
              <a:gd name="csY146" fmla="*/ 1923293 h 2076207"/>
              <a:gd name="csX147" fmla="*/ 373787 w 748195"/>
              <a:gd name="csY147" fmla="*/ 1911200 h 2076207"/>
              <a:gd name="csX148" fmla="*/ 376623 w 748195"/>
              <a:gd name="csY148" fmla="*/ 1696741 h 2076207"/>
              <a:gd name="csX149" fmla="*/ 360437 w 748195"/>
              <a:gd name="csY149" fmla="*/ 1681289 h 2076207"/>
              <a:gd name="csX150" fmla="*/ 263503 w 748195"/>
              <a:gd name="csY150" fmla="*/ 1678179 h 2076207"/>
              <a:gd name="csX151" fmla="*/ 160381 w 748195"/>
              <a:gd name="csY151" fmla="*/ 1670405 h 2076207"/>
              <a:gd name="csX152" fmla="*/ 143321 w 748195"/>
              <a:gd name="csY152" fmla="*/ 1685538 h 2076207"/>
              <a:gd name="csX153" fmla="*/ 124769 w 748195"/>
              <a:gd name="csY153" fmla="*/ 1738195 h 2076207"/>
              <a:gd name="csX154" fmla="*/ 90593 w 748195"/>
              <a:gd name="csY154" fmla="*/ 1779570 h 2076207"/>
              <a:gd name="csX155" fmla="*/ 55556 w 748195"/>
              <a:gd name="csY155" fmla="*/ 1835827 h 2076207"/>
              <a:gd name="csX156" fmla="*/ 378900 w 748195"/>
              <a:gd name="csY156" fmla="*/ 2007280 h 2076207"/>
              <a:gd name="csX157" fmla="*/ 378887 w 748195"/>
              <a:gd name="csY157" fmla="*/ 1995127 h 2076207"/>
              <a:gd name="csX158" fmla="*/ 359084 w 748195"/>
              <a:gd name="csY158" fmla="*/ 1975964 h 2076207"/>
              <a:gd name="csX159" fmla="*/ 247288 w 748195"/>
              <a:gd name="csY159" fmla="*/ 1973305 h 2076207"/>
              <a:gd name="csX160" fmla="*/ 201692 w 748195"/>
              <a:gd name="csY160" fmla="*/ 1970275 h 2076207"/>
              <a:gd name="csX161" fmla="*/ 57962 w 748195"/>
              <a:gd name="csY161" fmla="*/ 1952648 h 2076207"/>
              <a:gd name="csX162" fmla="*/ 39194 w 748195"/>
              <a:gd name="csY162" fmla="*/ 1963552 h 2076207"/>
              <a:gd name="csX163" fmla="*/ 30066 w 748195"/>
              <a:gd name="csY163" fmla="*/ 2006631 h 2076207"/>
              <a:gd name="csX164" fmla="*/ 40232 w 748195"/>
              <a:gd name="csY164" fmla="*/ 2019486 h 2076207"/>
              <a:gd name="csX165" fmla="*/ 238186 w 748195"/>
              <a:gd name="csY165" fmla="*/ 2046096 h 2076207"/>
              <a:gd name="csX166" fmla="*/ 342155 w 748195"/>
              <a:gd name="csY166" fmla="*/ 2046441 h 2076207"/>
              <a:gd name="csX167" fmla="*/ 378900 w 748195"/>
              <a:gd name="csY167" fmla="*/ 2007280 h 2076207"/>
              <a:gd name="csX168" fmla="*/ 310220 w 748195"/>
              <a:gd name="csY168" fmla="*/ 554288 h 2076207"/>
              <a:gd name="csX169" fmla="*/ 259136 w 748195"/>
              <a:gd name="csY169" fmla="*/ 556881 h 2076207"/>
              <a:gd name="csX170" fmla="*/ 249085 w 748195"/>
              <a:gd name="csY170" fmla="*/ 567981 h 2076207"/>
              <a:gd name="csX171" fmla="*/ 249141 w 748195"/>
              <a:gd name="csY171" fmla="*/ 605644 h 2076207"/>
              <a:gd name="csX172" fmla="*/ 262628 w 748195"/>
              <a:gd name="csY172" fmla="*/ 605627 h 2076207"/>
              <a:gd name="csX173" fmla="*/ 369608 w 748195"/>
              <a:gd name="csY173" fmla="*/ 603027 h 2076207"/>
              <a:gd name="csX174" fmla="*/ 463931 w 748195"/>
              <a:gd name="csY174" fmla="*/ 605146 h 2076207"/>
              <a:gd name="csX175" fmla="*/ 478113 w 748195"/>
              <a:gd name="csY175" fmla="*/ 595843 h 2076207"/>
              <a:gd name="csX176" fmla="*/ 478796 w 748195"/>
              <a:gd name="csY176" fmla="*/ 556832 h 2076207"/>
              <a:gd name="csX177" fmla="*/ 310220 w 748195"/>
              <a:gd name="csY177" fmla="*/ 554288 h 2076207"/>
              <a:gd name="csX178" fmla="*/ 348836 w 748195"/>
              <a:gd name="csY178" fmla="*/ 684115 h 2076207"/>
              <a:gd name="csX179" fmla="*/ 281333 w 748195"/>
              <a:gd name="csY179" fmla="*/ 683313 h 2076207"/>
              <a:gd name="csX180" fmla="*/ 212728 w 748195"/>
              <a:gd name="csY180" fmla="*/ 681931 h 2076207"/>
              <a:gd name="csX181" fmla="*/ 187283 w 748195"/>
              <a:gd name="csY181" fmla="*/ 689555 h 2076207"/>
              <a:gd name="csX182" fmla="*/ 186163 w 748195"/>
              <a:gd name="csY182" fmla="*/ 718266 h 2076207"/>
              <a:gd name="csX183" fmla="*/ 209894 w 748195"/>
              <a:gd name="csY183" fmla="*/ 726798 h 2076207"/>
              <a:gd name="csX184" fmla="*/ 334814 w 748195"/>
              <a:gd name="csY184" fmla="*/ 732494 h 2076207"/>
              <a:gd name="csX185" fmla="*/ 364856 w 748195"/>
              <a:gd name="csY185" fmla="*/ 707963 h 2076207"/>
              <a:gd name="csX186" fmla="*/ 348836 w 748195"/>
              <a:gd name="csY186" fmla="*/ 684115 h 2076207"/>
              <a:gd name="csX187" fmla="*/ 298865 w 748195"/>
              <a:gd name="csY187" fmla="*/ 621954 h 2076207"/>
              <a:gd name="csX188" fmla="*/ 251619 w 748195"/>
              <a:gd name="csY188" fmla="*/ 622133 h 2076207"/>
              <a:gd name="csX189" fmla="*/ 214459 w 748195"/>
              <a:gd name="csY189" fmla="*/ 636230 h 2076207"/>
              <a:gd name="csX190" fmla="*/ 221436 w 748195"/>
              <a:gd name="csY190" fmla="*/ 654205 h 2076207"/>
              <a:gd name="csX191" fmla="*/ 272412 w 748195"/>
              <a:gd name="csY191" fmla="*/ 657250 h 2076207"/>
              <a:gd name="csX192" fmla="*/ 349094 w 748195"/>
              <a:gd name="csY192" fmla="*/ 659282 h 2076207"/>
              <a:gd name="csX193" fmla="*/ 362996 w 748195"/>
              <a:gd name="csY193" fmla="*/ 644234 h 2076207"/>
              <a:gd name="csX194" fmla="*/ 348472 w 748195"/>
              <a:gd name="csY194" fmla="*/ 624649 h 2076207"/>
              <a:gd name="csX195" fmla="*/ 298865 w 748195"/>
              <a:gd name="csY195" fmla="*/ 621954 h 2076207"/>
              <a:gd name="csX196" fmla="*/ 227796 w 748195"/>
              <a:gd name="csY196" fmla="*/ 528000 h 2076207"/>
              <a:gd name="csX197" fmla="*/ 241009 w 748195"/>
              <a:gd name="csY197" fmla="*/ 545897 h 2076207"/>
              <a:gd name="csX198" fmla="*/ 282607 w 748195"/>
              <a:gd name="csY198" fmla="*/ 543480 h 2076207"/>
              <a:gd name="csX199" fmla="*/ 354213 w 748195"/>
              <a:gd name="csY199" fmla="*/ 543384 h 2076207"/>
              <a:gd name="csX200" fmla="*/ 365334 w 748195"/>
              <a:gd name="csY200" fmla="*/ 533397 h 2076207"/>
              <a:gd name="csX201" fmla="*/ 354531 w 748195"/>
              <a:gd name="csY201" fmla="*/ 521620 h 2076207"/>
              <a:gd name="csX202" fmla="*/ 259169 w 748195"/>
              <a:gd name="csY202" fmla="*/ 521978 h 2076207"/>
              <a:gd name="csX203" fmla="*/ 227796 w 748195"/>
              <a:gd name="csY203" fmla="*/ 528000 h 2076207"/>
              <a:gd name="csX204" fmla="*/ 508068 w 748195"/>
              <a:gd name="csY204" fmla="*/ 190710 h 2076207"/>
              <a:gd name="csX205" fmla="*/ 521293 w 748195"/>
              <a:gd name="csY205" fmla="*/ 205907 h 2076207"/>
              <a:gd name="csX206" fmla="*/ 525175 w 748195"/>
              <a:gd name="csY206" fmla="*/ 202985 h 2076207"/>
              <a:gd name="csX207" fmla="*/ 500276 w 748195"/>
              <a:gd name="csY207" fmla="*/ 160640 h 2076207"/>
              <a:gd name="csX208" fmla="*/ 497122 w 748195"/>
              <a:gd name="csY208" fmla="*/ 162007 h 2076207"/>
              <a:gd name="csX209" fmla="*/ 508068 w 748195"/>
              <a:gd name="csY209" fmla="*/ 190710 h 2076207"/>
              <a:gd name="csX210" fmla="*/ 215522 w 748195"/>
              <a:gd name="csY210" fmla="*/ 197296 h 2076207"/>
              <a:gd name="csX211" fmla="*/ 234029 w 748195"/>
              <a:gd name="csY211" fmla="*/ 162725 h 2076207"/>
              <a:gd name="csX212" fmla="*/ 229000 w 748195"/>
              <a:gd name="csY212" fmla="*/ 159902 h 2076207"/>
              <a:gd name="csX213" fmla="*/ 204824 w 748195"/>
              <a:gd name="csY213" fmla="*/ 199677 h 2076207"/>
              <a:gd name="csX214" fmla="*/ 207990 w 748195"/>
              <a:gd name="csY214" fmla="*/ 202198 h 2076207"/>
              <a:gd name="csX215" fmla="*/ 215522 w 748195"/>
              <a:gd name="csY215" fmla="*/ 197296 h 2076207"/>
              <a:gd name="csX216" fmla="*/ 484400 w 748195"/>
              <a:gd name="csY216" fmla="*/ 896678 h 2076207"/>
              <a:gd name="csX217" fmla="*/ 486181 w 748195"/>
              <a:gd name="csY217" fmla="*/ 896585 h 2076207"/>
              <a:gd name="csX218" fmla="*/ 486181 w 748195"/>
              <a:gd name="csY218" fmla="*/ 795289 h 2076207"/>
              <a:gd name="csX219" fmla="*/ 720241 w 748195"/>
              <a:gd name="csY219" fmla="*/ 2030666 h 2076207"/>
              <a:gd name="csX220" fmla="*/ 721175 w 748195"/>
              <a:gd name="csY220" fmla="*/ 2029733 h 2076207"/>
              <a:gd name="csX221" fmla="*/ 720241 w 748195"/>
              <a:gd name="csY221" fmla="*/ 2030666 h 2076207"/>
              <a:gd name="csX222" fmla="*/ 715702 w 748195"/>
              <a:gd name="csY222" fmla="*/ 2037051 h 2076207"/>
              <a:gd name="csX223" fmla="*/ 715702 w 748195"/>
              <a:gd name="csY223" fmla="*/ 2037051 h 2076207"/>
              <a:gd name="csX0" fmla="*/ 96263 w 748195"/>
              <a:gd name="csY0" fmla="*/ 2076207 h 2076207"/>
              <a:gd name="csX1" fmla="*/ 63862 w 748195"/>
              <a:gd name="csY1" fmla="*/ 2065388 h 2076207"/>
              <a:gd name="csX2" fmla="*/ 16555 w 748195"/>
              <a:gd name="csY2" fmla="*/ 2050152 h 2076207"/>
              <a:gd name="csX3" fmla="*/ 15 w 748195"/>
              <a:gd name="csY3" fmla="*/ 2023802 h 2076207"/>
              <a:gd name="csX4" fmla="*/ 18368 w 748195"/>
              <a:gd name="csY4" fmla="*/ 1940709 h 2076207"/>
              <a:gd name="csX5" fmla="*/ 22139 w 748195"/>
              <a:gd name="csY5" fmla="*/ 1907268 h 2076207"/>
              <a:gd name="csX6" fmla="*/ 57941 w 748195"/>
              <a:gd name="csY6" fmla="*/ 1774163 h 2076207"/>
              <a:gd name="csX7" fmla="*/ 102478 w 748195"/>
              <a:gd name="csY7" fmla="*/ 1720275 h 2076207"/>
              <a:gd name="csX8" fmla="*/ 108579 w 748195"/>
              <a:gd name="csY8" fmla="*/ 1650967 h 2076207"/>
              <a:gd name="csX9" fmla="*/ 115628 w 748195"/>
              <a:gd name="csY9" fmla="*/ 1625405 h 2076207"/>
              <a:gd name="csX10" fmla="*/ 156323 w 748195"/>
              <a:gd name="csY10" fmla="*/ 1560181 h 2076207"/>
              <a:gd name="csX11" fmla="*/ 199424 w 748195"/>
              <a:gd name="csY11" fmla="*/ 1364729 h 2076207"/>
              <a:gd name="csX12" fmla="*/ 216779 w 748195"/>
              <a:gd name="csY12" fmla="*/ 1219490 h 2076207"/>
              <a:gd name="csX13" fmla="*/ 229755 w 748195"/>
              <a:gd name="csY13" fmla="*/ 1099357 h 2076207"/>
              <a:gd name="csX14" fmla="*/ 232707 w 748195"/>
              <a:gd name="csY14" fmla="*/ 1056423 h 2076207"/>
              <a:gd name="csX15" fmla="*/ 235622 w 748195"/>
              <a:gd name="csY15" fmla="*/ 952675 h 2076207"/>
              <a:gd name="csX16" fmla="*/ 235445 w 748195"/>
              <a:gd name="csY16" fmla="*/ 780278 h 2076207"/>
              <a:gd name="csX17" fmla="*/ 214544 w 748195"/>
              <a:gd name="csY17" fmla="*/ 756435 h 2076207"/>
              <a:gd name="csX18" fmla="*/ 172569 w 748195"/>
              <a:gd name="csY18" fmla="*/ 742582 h 2076207"/>
              <a:gd name="csX19" fmla="*/ 168784 w 748195"/>
              <a:gd name="csY19" fmla="*/ 669116 h 2076207"/>
              <a:gd name="csX20" fmla="*/ 191657 w 748195"/>
              <a:gd name="csY20" fmla="*/ 630765 h 2076207"/>
              <a:gd name="csX21" fmla="*/ 208150 w 748195"/>
              <a:gd name="csY21" fmla="*/ 609084 h 2076207"/>
              <a:gd name="csX22" fmla="*/ 216756 w 748195"/>
              <a:gd name="csY22" fmla="*/ 558673 h 2076207"/>
              <a:gd name="csX23" fmla="*/ 209092 w 748195"/>
              <a:gd name="csY23" fmla="*/ 521540 h 2076207"/>
              <a:gd name="csX24" fmla="*/ 204683 w 748195"/>
              <a:gd name="csY24" fmla="*/ 474024 h 2076207"/>
              <a:gd name="csX25" fmla="*/ 115483 w 748195"/>
              <a:gd name="csY25" fmla="*/ 213499 h 2076207"/>
              <a:gd name="csX26" fmla="*/ 102909 w 748195"/>
              <a:gd name="csY26" fmla="*/ 182297 h 2076207"/>
              <a:gd name="csX27" fmla="*/ 104315 w 748195"/>
              <a:gd name="csY27" fmla="*/ 163968 h 2076207"/>
              <a:gd name="csX28" fmla="*/ 122444 w 748195"/>
              <a:gd name="csY28" fmla="*/ 160805 h 2076207"/>
              <a:gd name="csX29" fmla="*/ 170283 w 748195"/>
              <a:gd name="csY29" fmla="*/ 187783 h 2076207"/>
              <a:gd name="csX30" fmla="*/ 180938 w 748195"/>
              <a:gd name="csY30" fmla="*/ 195322 h 2076207"/>
              <a:gd name="csX31" fmla="*/ 221419 w 748195"/>
              <a:gd name="csY31" fmla="*/ 138058 h 2076207"/>
              <a:gd name="csX32" fmla="*/ 294099 w 748195"/>
              <a:gd name="csY32" fmla="*/ 91372 h 2076207"/>
              <a:gd name="csX33" fmla="*/ 302307 w 748195"/>
              <a:gd name="csY33" fmla="*/ 76560 h 2076207"/>
              <a:gd name="csX34" fmla="*/ 320284 w 748195"/>
              <a:gd name="csY34" fmla="*/ 8414 h 2076207"/>
              <a:gd name="csX35" fmla="*/ 324784 w 748195"/>
              <a:gd name="csY35" fmla="*/ 946 h 2076207"/>
              <a:gd name="csX36" fmla="*/ 399212 w 748195"/>
              <a:gd name="csY36" fmla="*/ 0 h 2076207"/>
              <a:gd name="csX37" fmla="*/ 425980 w 748195"/>
              <a:gd name="csY37" fmla="*/ 78301 h 2076207"/>
              <a:gd name="csX38" fmla="*/ 431861 w 748195"/>
              <a:gd name="csY38" fmla="*/ 90312 h 2076207"/>
              <a:gd name="csX39" fmla="*/ 540349 w 748195"/>
              <a:gd name="csY39" fmla="*/ 187946 h 2076207"/>
              <a:gd name="csX40" fmla="*/ 545555 w 748195"/>
              <a:gd name="csY40" fmla="*/ 197828 h 2076207"/>
              <a:gd name="csX41" fmla="*/ 587318 w 748195"/>
              <a:gd name="csY41" fmla="*/ 171260 h 2076207"/>
              <a:gd name="csX42" fmla="*/ 601503 w 748195"/>
              <a:gd name="csY42" fmla="*/ 163707 h 2076207"/>
              <a:gd name="csX43" fmla="*/ 625254 w 748195"/>
              <a:gd name="csY43" fmla="*/ 163123 h 2076207"/>
              <a:gd name="csX44" fmla="*/ 625468 w 748195"/>
              <a:gd name="csY44" fmla="*/ 187579 h 2076207"/>
              <a:gd name="csX45" fmla="*/ 597543 w 748195"/>
              <a:gd name="csY45" fmla="*/ 251872 h 2076207"/>
              <a:gd name="csX46" fmla="*/ 531831 w 748195"/>
              <a:gd name="csY46" fmla="*/ 442689 h 2076207"/>
              <a:gd name="csX47" fmla="*/ 519888 w 748195"/>
              <a:gd name="csY47" fmla="*/ 501474 h 2076207"/>
              <a:gd name="csX48" fmla="*/ 522506 w 748195"/>
              <a:gd name="csY48" fmla="*/ 525086 h 2076207"/>
              <a:gd name="csX49" fmla="*/ 516235 w 748195"/>
              <a:gd name="csY49" fmla="*/ 555946 h 2076207"/>
              <a:gd name="csX50" fmla="*/ 521332 w 748195"/>
              <a:gd name="csY50" fmla="*/ 610676 h 2076207"/>
              <a:gd name="csX51" fmla="*/ 541382 w 748195"/>
              <a:gd name="csY51" fmla="*/ 642597 h 2076207"/>
              <a:gd name="csX52" fmla="*/ 557031 w 748195"/>
              <a:gd name="csY52" fmla="*/ 667949 h 2076207"/>
              <a:gd name="csX53" fmla="*/ 553994 w 748195"/>
              <a:gd name="csY53" fmla="*/ 744146 h 2076207"/>
              <a:gd name="csX54" fmla="*/ 508215 w 748195"/>
              <a:gd name="csY54" fmla="*/ 758841 h 2076207"/>
              <a:gd name="csX55" fmla="*/ 497442 w 748195"/>
              <a:gd name="csY55" fmla="*/ 771256 h 2076207"/>
              <a:gd name="csX56" fmla="*/ 493005 w 748195"/>
              <a:gd name="csY56" fmla="*/ 922055 h 2076207"/>
              <a:gd name="csX57" fmla="*/ 502900 w 748195"/>
              <a:gd name="csY57" fmla="*/ 1114191 h 2076207"/>
              <a:gd name="csX58" fmla="*/ 508800 w 748195"/>
              <a:gd name="csY58" fmla="*/ 1205474 h 2076207"/>
              <a:gd name="csX59" fmla="*/ 522952 w 748195"/>
              <a:gd name="csY59" fmla="*/ 1320065 h 2076207"/>
              <a:gd name="csX60" fmla="*/ 554682 w 748195"/>
              <a:gd name="csY60" fmla="*/ 1501203 h 2076207"/>
              <a:gd name="csX61" fmla="*/ 576958 w 748195"/>
              <a:gd name="csY61" fmla="*/ 1593963 h 2076207"/>
              <a:gd name="csX62" fmla="*/ 595349 w 748195"/>
              <a:gd name="csY62" fmla="*/ 1613498 h 2076207"/>
              <a:gd name="csX63" fmla="*/ 613936 w 748195"/>
              <a:gd name="csY63" fmla="*/ 1624058 h 2076207"/>
              <a:gd name="csX64" fmla="*/ 620938 w 748195"/>
              <a:gd name="csY64" fmla="*/ 1652071 h 2076207"/>
              <a:gd name="csX65" fmla="*/ 630805 w 748195"/>
              <a:gd name="csY65" fmla="*/ 1721702 h 2076207"/>
              <a:gd name="csX66" fmla="*/ 685830 w 748195"/>
              <a:gd name="csY66" fmla="*/ 1792915 h 2076207"/>
              <a:gd name="csX67" fmla="*/ 708904 w 748195"/>
              <a:gd name="csY67" fmla="*/ 1890290 h 2076207"/>
              <a:gd name="csX68" fmla="*/ 716580 w 748195"/>
              <a:gd name="csY68" fmla="*/ 1951136 h 2076207"/>
              <a:gd name="csX69" fmla="*/ 729397 w 748195"/>
              <a:gd name="csY69" fmla="*/ 2030261 h 2076207"/>
              <a:gd name="csX70" fmla="*/ 714212 w 748195"/>
              <a:gd name="csY70" fmla="*/ 2049544 h 2076207"/>
              <a:gd name="csX71" fmla="*/ 645428 w 748195"/>
              <a:gd name="csY71" fmla="*/ 2070825 h 2076207"/>
              <a:gd name="csX72" fmla="*/ 588428 w 748195"/>
              <a:gd name="csY72" fmla="*/ 2075144 h 2076207"/>
              <a:gd name="csX73" fmla="*/ 667788 w 748195"/>
              <a:gd name="csY73" fmla="*/ 2056852 h 2076207"/>
              <a:gd name="csX74" fmla="*/ 706629 w 748195"/>
              <a:gd name="csY74" fmla="*/ 2044290 h 2076207"/>
              <a:gd name="csX75" fmla="*/ 702674 w 748195"/>
              <a:gd name="csY75" fmla="*/ 2041581 h 2076207"/>
              <a:gd name="csX76" fmla="*/ 96263 w 748195"/>
              <a:gd name="csY76" fmla="*/ 2076207 h 2076207"/>
              <a:gd name="csX77" fmla="*/ 489970 w 748195"/>
              <a:gd name="csY77" fmla="*/ 152208 h 2076207"/>
              <a:gd name="csX78" fmla="*/ 490754 w 748195"/>
              <a:gd name="csY78" fmla="*/ 152592 h 2076207"/>
              <a:gd name="csX79" fmla="*/ 489489 w 748195"/>
              <a:gd name="csY79" fmla="*/ 149547 h 2076207"/>
              <a:gd name="csX80" fmla="*/ 393621 w 748195"/>
              <a:gd name="csY80" fmla="*/ 99259 h 2076207"/>
              <a:gd name="csX81" fmla="*/ 390419 w 748195"/>
              <a:gd name="csY81" fmla="*/ 18568 h 2076207"/>
              <a:gd name="csX82" fmla="*/ 334131 w 748195"/>
              <a:gd name="csY82" fmla="*/ 24327 h 2076207"/>
              <a:gd name="csX83" fmla="*/ 344678 w 748195"/>
              <a:gd name="csY83" fmla="*/ 101259 h 2076207"/>
              <a:gd name="csX84" fmla="*/ 298854 w 748195"/>
              <a:gd name="csY84" fmla="*/ 114003 h 2076207"/>
              <a:gd name="csX85" fmla="*/ 237456 w 748195"/>
              <a:gd name="csY85" fmla="*/ 154340 h 2076207"/>
              <a:gd name="csX86" fmla="*/ 240382 w 748195"/>
              <a:gd name="csY86" fmla="*/ 154035 h 2076207"/>
              <a:gd name="csX87" fmla="*/ 262731 w 748195"/>
              <a:gd name="csY87" fmla="*/ 170426 h 2076207"/>
              <a:gd name="csX88" fmla="*/ 279169 w 748195"/>
              <a:gd name="csY88" fmla="*/ 193173 h 2076207"/>
              <a:gd name="csX89" fmla="*/ 327717 w 748195"/>
              <a:gd name="csY89" fmla="*/ 188556 h 2076207"/>
              <a:gd name="csX90" fmla="*/ 348052 w 748195"/>
              <a:gd name="csY90" fmla="*/ 156919 h 2076207"/>
              <a:gd name="csX91" fmla="*/ 380330 w 748195"/>
              <a:gd name="csY91" fmla="*/ 156483 h 2076207"/>
              <a:gd name="csX92" fmla="*/ 408490 w 748195"/>
              <a:gd name="csY92" fmla="*/ 195400 h 2076207"/>
              <a:gd name="csX93" fmla="*/ 445346 w 748195"/>
              <a:gd name="csY93" fmla="*/ 197582 h 2076207"/>
              <a:gd name="csX94" fmla="*/ 464798 w 748195"/>
              <a:gd name="csY94" fmla="*/ 174107 h 2076207"/>
              <a:gd name="csX95" fmla="*/ 489970 w 748195"/>
              <a:gd name="csY95" fmla="*/ 152208 h 2076207"/>
              <a:gd name="csX96" fmla="*/ 140694 w 748195"/>
              <a:gd name="csY96" fmla="*/ 201837 h 2076207"/>
              <a:gd name="csX97" fmla="*/ 139834 w 748195"/>
              <a:gd name="csY97" fmla="*/ 201482 h 2076207"/>
              <a:gd name="csX98" fmla="*/ 140812 w 748195"/>
              <a:gd name="csY98" fmla="*/ 204941 h 2076207"/>
              <a:gd name="csX99" fmla="*/ 144631 w 748195"/>
              <a:gd name="csY99" fmla="*/ 217811 h 2076207"/>
              <a:gd name="csX100" fmla="*/ 201241 w 748195"/>
              <a:gd name="csY100" fmla="*/ 373387 h 2076207"/>
              <a:gd name="csX101" fmla="*/ 235971 w 748195"/>
              <a:gd name="csY101" fmla="*/ 504451 h 2076207"/>
              <a:gd name="csX102" fmla="*/ 247475 w 748195"/>
              <a:gd name="csY102" fmla="*/ 513241 h 2076207"/>
              <a:gd name="csX103" fmla="*/ 289066 w 748195"/>
              <a:gd name="csY103" fmla="*/ 511170 h 2076207"/>
              <a:gd name="csX104" fmla="*/ 378229 w 748195"/>
              <a:gd name="csY104" fmla="*/ 511084 h 2076207"/>
              <a:gd name="csX105" fmla="*/ 470850 w 748195"/>
              <a:gd name="csY105" fmla="*/ 516341 h 2076207"/>
              <a:gd name="csX106" fmla="*/ 492933 w 748195"/>
              <a:gd name="csY106" fmla="*/ 497969 h 2076207"/>
              <a:gd name="csX107" fmla="*/ 557617 w 748195"/>
              <a:gd name="csY107" fmla="*/ 280398 h 2076207"/>
              <a:gd name="csX108" fmla="*/ 588788 w 748195"/>
              <a:gd name="csY108" fmla="*/ 200385 h 2076207"/>
              <a:gd name="csX109" fmla="*/ 530958 w 748195"/>
              <a:gd name="csY109" fmla="*/ 232968 h 2076207"/>
              <a:gd name="csX110" fmla="*/ 483823 w 748195"/>
              <a:gd name="csY110" fmla="*/ 190364 h 2076207"/>
              <a:gd name="csX111" fmla="*/ 466649 w 748195"/>
              <a:gd name="csY111" fmla="*/ 209061 h 2076207"/>
              <a:gd name="csX112" fmla="*/ 399941 w 748195"/>
              <a:gd name="csY112" fmla="*/ 216988 h 2076207"/>
              <a:gd name="csX113" fmla="*/ 363018 w 748195"/>
              <a:gd name="csY113" fmla="*/ 179615 h 2076207"/>
              <a:gd name="csX114" fmla="*/ 308839 w 748195"/>
              <a:gd name="csY114" fmla="*/ 227846 h 2076207"/>
              <a:gd name="csX115" fmla="*/ 245077 w 748195"/>
              <a:gd name="csY115" fmla="*/ 192402 h 2076207"/>
              <a:gd name="csX116" fmla="*/ 242829 w 748195"/>
              <a:gd name="csY116" fmla="*/ 198815 h 2076207"/>
              <a:gd name="csX117" fmla="*/ 168452 w 748195"/>
              <a:gd name="csY117" fmla="*/ 219348 h 2076207"/>
              <a:gd name="csX118" fmla="*/ 140694 w 748195"/>
              <a:gd name="csY118" fmla="*/ 201837 h 2076207"/>
              <a:gd name="csX119" fmla="*/ 259999 w 748195"/>
              <a:gd name="csY119" fmla="*/ 966699 h 2076207"/>
              <a:gd name="csX120" fmla="*/ 257072 w 748195"/>
              <a:gd name="csY120" fmla="*/ 1070424 h 2076207"/>
              <a:gd name="csX121" fmla="*/ 251372 w 748195"/>
              <a:gd name="csY121" fmla="*/ 1157618 h 2076207"/>
              <a:gd name="csX122" fmla="*/ 232677 w 748195"/>
              <a:gd name="csY122" fmla="*/ 1320279 h 2076207"/>
              <a:gd name="csX123" fmla="*/ 209182 w 748195"/>
              <a:gd name="csY123" fmla="*/ 1468667 h 2076207"/>
              <a:gd name="csX124" fmla="*/ 175302 w 748195"/>
              <a:gd name="csY124" fmla="*/ 1616623 h 2076207"/>
              <a:gd name="csX125" fmla="*/ 182769 w 748195"/>
              <a:gd name="csY125" fmla="*/ 1629786 h 2076207"/>
              <a:gd name="csX126" fmla="*/ 212156 w 748195"/>
              <a:gd name="csY126" fmla="*/ 1632656 h 2076207"/>
              <a:gd name="csX127" fmla="*/ 351295 w 748195"/>
              <a:gd name="csY127" fmla="*/ 1632801 h 2076207"/>
              <a:gd name="csX128" fmla="*/ 376150 w 748195"/>
              <a:gd name="csY128" fmla="*/ 1608307 h 2076207"/>
              <a:gd name="csX129" fmla="*/ 373450 w 748195"/>
              <a:gd name="csY129" fmla="*/ 1457291 h 2076207"/>
              <a:gd name="csX130" fmla="*/ 370936 w 748195"/>
              <a:gd name="csY130" fmla="*/ 1342736 h 2076207"/>
              <a:gd name="csX131" fmla="*/ 368328 w 748195"/>
              <a:gd name="csY131" fmla="*/ 1203878 h 2076207"/>
              <a:gd name="csX132" fmla="*/ 367836 w 748195"/>
              <a:gd name="csY132" fmla="*/ 813478 h 2076207"/>
              <a:gd name="csX133" fmla="*/ 365240 w 748195"/>
              <a:gd name="csY133" fmla="*/ 773243 h 2076207"/>
              <a:gd name="csX134" fmla="*/ 353084 w 748195"/>
              <a:gd name="csY134" fmla="*/ 762083 h 2076207"/>
              <a:gd name="csX135" fmla="*/ 280966 w 748195"/>
              <a:gd name="csY135" fmla="*/ 759855 h 2076207"/>
              <a:gd name="csX136" fmla="*/ 259965 w 748195"/>
              <a:gd name="csY136" fmla="*/ 779553 h 2076207"/>
              <a:gd name="csX137" fmla="*/ 262341 w 748195"/>
              <a:gd name="csY137" fmla="*/ 856275 h 2076207"/>
              <a:gd name="csX138" fmla="*/ 259999 w 748195"/>
              <a:gd name="csY138" fmla="*/ 966699 h 2076207"/>
              <a:gd name="csX139" fmla="*/ 55556 w 748195"/>
              <a:gd name="csY139" fmla="*/ 1835827 h 2076207"/>
              <a:gd name="csX140" fmla="*/ 49393 w 748195"/>
              <a:gd name="csY140" fmla="*/ 1878155 h 2076207"/>
              <a:gd name="csX141" fmla="*/ 73949 w 748195"/>
              <a:gd name="csY141" fmla="*/ 1905781 h 2076207"/>
              <a:gd name="csX142" fmla="*/ 110073 w 748195"/>
              <a:gd name="csY142" fmla="*/ 1909068 h 2076207"/>
              <a:gd name="csX143" fmla="*/ 224745 w 748195"/>
              <a:gd name="csY143" fmla="*/ 1921652 h 2076207"/>
              <a:gd name="csX144" fmla="*/ 347327 w 748195"/>
              <a:gd name="csY144" fmla="*/ 1924778 h 2076207"/>
              <a:gd name="csX145" fmla="*/ 363345 w 748195"/>
              <a:gd name="csY145" fmla="*/ 1923293 h 2076207"/>
              <a:gd name="csX146" fmla="*/ 373787 w 748195"/>
              <a:gd name="csY146" fmla="*/ 1911200 h 2076207"/>
              <a:gd name="csX147" fmla="*/ 376623 w 748195"/>
              <a:gd name="csY147" fmla="*/ 1696741 h 2076207"/>
              <a:gd name="csX148" fmla="*/ 360437 w 748195"/>
              <a:gd name="csY148" fmla="*/ 1681289 h 2076207"/>
              <a:gd name="csX149" fmla="*/ 263503 w 748195"/>
              <a:gd name="csY149" fmla="*/ 1678179 h 2076207"/>
              <a:gd name="csX150" fmla="*/ 160381 w 748195"/>
              <a:gd name="csY150" fmla="*/ 1670405 h 2076207"/>
              <a:gd name="csX151" fmla="*/ 143321 w 748195"/>
              <a:gd name="csY151" fmla="*/ 1685538 h 2076207"/>
              <a:gd name="csX152" fmla="*/ 124769 w 748195"/>
              <a:gd name="csY152" fmla="*/ 1738195 h 2076207"/>
              <a:gd name="csX153" fmla="*/ 90593 w 748195"/>
              <a:gd name="csY153" fmla="*/ 1779570 h 2076207"/>
              <a:gd name="csX154" fmla="*/ 55556 w 748195"/>
              <a:gd name="csY154" fmla="*/ 1835827 h 2076207"/>
              <a:gd name="csX155" fmla="*/ 378900 w 748195"/>
              <a:gd name="csY155" fmla="*/ 2007280 h 2076207"/>
              <a:gd name="csX156" fmla="*/ 378887 w 748195"/>
              <a:gd name="csY156" fmla="*/ 1995127 h 2076207"/>
              <a:gd name="csX157" fmla="*/ 359084 w 748195"/>
              <a:gd name="csY157" fmla="*/ 1975964 h 2076207"/>
              <a:gd name="csX158" fmla="*/ 247288 w 748195"/>
              <a:gd name="csY158" fmla="*/ 1973305 h 2076207"/>
              <a:gd name="csX159" fmla="*/ 201692 w 748195"/>
              <a:gd name="csY159" fmla="*/ 1970275 h 2076207"/>
              <a:gd name="csX160" fmla="*/ 57962 w 748195"/>
              <a:gd name="csY160" fmla="*/ 1952648 h 2076207"/>
              <a:gd name="csX161" fmla="*/ 39194 w 748195"/>
              <a:gd name="csY161" fmla="*/ 1963552 h 2076207"/>
              <a:gd name="csX162" fmla="*/ 30066 w 748195"/>
              <a:gd name="csY162" fmla="*/ 2006631 h 2076207"/>
              <a:gd name="csX163" fmla="*/ 40232 w 748195"/>
              <a:gd name="csY163" fmla="*/ 2019486 h 2076207"/>
              <a:gd name="csX164" fmla="*/ 238186 w 748195"/>
              <a:gd name="csY164" fmla="*/ 2046096 h 2076207"/>
              <a:gd name="csX165" fmla="*/ 342155 w 748195"/>
              <a:gd name="csY165" fmla="*/ 2046441 h 2076207"/>
              <a:gd name="csX166" fmla="*/ 378900 w 748195"/>
              <a:gd name="csY166" fmla="*/ 2007280 h 2076207"/>
              <a:gd name="csX167" fmla="*/ 310220 w 748195"/>
              <a:gd name="csY167" fmla="*/ 554288 h 2076207"/>
              <a:gd name="csX168" fmla="*/ 259136 w 748195"/>
              <a:gd name="csY168" fmla="*/ 556881 h 2076207"/>
              <a:gd name="csX169" fmla="*/ 249085 w 748195"/>
              <a:gd name="csY169" fmla="*/ 567981 h 2076207"/>
              <a:gd name="csX170" fmla="*/ 249141 w 748195"/>
              <a:gd name="csY170" fmla="*/ 605644 h 2076207"/>
              <a:gd name="csX171" fmla="*/ 262628 w 748195"/>
              <a:gd name="csY171" fmla="*/ 605627 h 2076207"/>
              <a:gd name="csX172" fmla="*/ 369608 w 748195"/>
              <a:gd name="csY172" fmla="*/ 603027 h 2076207"/>
              <a:gd name="csX173" fmla="*/ 463931 w 748195"/>
              <a:gd name="csY173" fmla="*/ 605146 h 2076207"/>
              <a:gd name="csX174" fmla="*/ 478113 w 748195"/>
              <a:gd name="csY174" fmla="*/ 595843 h 2076207"/>
              <a:gd name="csX175" fmla="*/ 478796 w 748195"/>
              <a:gd name="csY175" fmla="*/ 556832 h 2076207"/>
              <a:gd name="csX176" fmla="*/ 310220 w 748195"/>
              <a:gd name="csY176" fmla="*/ 554288 h 2076207"/>
              <a:gd name="csX177" fmla="*/ 348836 w 748195"/>
              <a:gd name="csY177" fmla="*/ 684115 h 2076207"/>
              <a:gd name="csX178" fmla="*/ 281333 w 748195"/>
              <a:gd name="csY178" fmla="*/ 683313 h 2076207"/>
              <a:gd name="csX179" fmla="*/ 212728 w 748195"/>
              <a:gd name="csY179" fmla="*/ 681931 h 2076207"/>
              <a:gd name="csX180" fmla="*/ 187283 w 748195"/>
              <a:gd name="csY180" fmla="*/ 689555 h 2076207"/>
              <a:gd name="csX181" fmla="*/ 186163 w 748195"/>
              <a:gd name="csY181" fmla="*/ 718266 h 2076207"/>
              <a:gd name="csX182" fmla="*/ 209894 w 748195"/>
              <a:gd name="csY182" fmla="*/ 726798 h 2076207"/>
              <a:gd name="csX183" fmla="*/ 334814 w 748195"/>
              <a:gd name="csY183" fmla="*/ 732494 h 2076207"/>
              <a:gd name="csX184" fmla="*/ 364856 w 748195"/>
              <a:gd name="csY184" fmla="*/ 707963 h 2076207"/>
              <a:gd name="csX185" fmla="*/ 348836 w 748195"/>
              <a:gd name="csY185" fmla="*/ 684115 h 2076207"/>
              <a:gd name="csX186" fmla="*/ 298865 w 748195"/>
              <a:gd name="csY186" fmla="*/ 621954 h 2076207"/>
              <a:gd name="csX187" fmla="*/ 251619 w 748195"/>
              <a:gd name="csY187" fmla="*/ 622133 h 2076207"/>
              <a:gd name="csX188" fmla="*/ 214459 w 748195"/>
              <a:gd name="csY188" fmla="*/ 636230 h 2076207"/>
              <a:gd name="csX189" fmla="*/ 221436 w 748195"/>
              <a:gd name="csY189" fmla="*/ 654205 h 2076207"/>
              <a:gd name="csX190" fmla="*/ 272412 w 748195"/>
              <a:gd name="csY190" fmla="*/ 657250 h 2076207"/>
              <a:gd name="csX191" fmla="*/ 349094 w 748195"/>
              <a:gd name="csY191" fmla="*/ 659282 h 2076207"/>
              <a:gd name="csX192" fmla="*/ 362996 w 748195"/>
              <a:gd name="csY192" fmla="*/ 644234 h 2076207"/>
              <a:gd name="csX193" fmla="*/ 348472 w 748195"/>
              <a:gd name="csY193" fmla="*/ 624649 h 2076207"/>
              <a:gd name="csX194" fmla="*/ 298865 w 748195"/>
              <a:gd name="csY194" fmla="*/ 621954 h 2076207"/>
              <a:gd name="csX195" fmla="*/ 227796 w 748195"/>
              <a:gd name="csY195" fmla="*/ 528000 h 2076207"/>
              <a:gd name="csX196" fmla="*/ 241009 w 748195"/>
              <a:gd name="csY196" fmla="*/ 545897 h 2076207"/>
              <a:gd name="csX197" fmla="*/ 282607 w 748195"/>
              <a:gd name="csY197" fmla="*/ 543480 h 2076207"/>
              <a:gd name="csX198" fmla="*/ 354213 w 748195"/>
              <a:gd name="csY198" fmla="*/ 543384 h 2076207"/>
              <a:gd name="csX199" fmla="*/ 365334 w 748195"/>
              <a:gd name="csY199" fmla="*/ 533397 h 2076207"/>
              <a:gd name="csX200" fmla="*/ 354531 w 748195"/>
              <a:gd name="csY200" fmla="*/ 521620 h 2076207"/>
              <a:gd name="csX201" fmla="*/ 259169 w 748195"/>
              <a:gd name="csY201" fmla="*/ 521978 h 2076207"/>
              <a:gd name="csX202" fmla="*/ 227796 w 748195"/>
              <a:gd name="csY202" fmla="*/ 528000 h 2076207"/>
              <a:gd name="csX203" fmla="*/ 508068 w 748195"/>
              <a:gd name="csY203" fmla="*/ 190710 h 2076207"/>
              <a:gd name="csX204" fmla="*/ 521293 w 748195"/>
              <a:gd name="csY204" fmla="*/ 205907 h 2076207"/>
              <a:gd name="csX205" fmla="*/ 525175 w 748195"/>
              <a:gd name="csY205" fmla="*/ 202985 h 2076207"/>
              <a:gd name="csX206" fmla="*/ 500276 w 748195"/>
              <a:gd name="csY206" fmla="*/ 160640 h 2076207"/>
              <a:gd name="csX207" fmla="*/ 497122 w 748195"/>
              <a:gd name="csY207" fmla="*/ 162007 h 2076207"/>
              <a:gd name="csX208" fmla="*/ 508068 w 748195"/>
              <a:gd name="csY208" fmla="*/ 190710 h 2076207"/>
              <a:gd name="csX209" fmla="*/ 215522 w 748195"/>
              <a:gd name="csY209" fmla="*/ 197296 h 2076207"/>
              <a:gd name="csX210" fmla="*/ 234029 w 748195"/>
              <a:gd name="csY210" fmla="*/ 162725 h 2076207"/>
              <a:gd name="csX211" fmla="*/ 229000 w 748195"/>
              <a:gd name="csY211" fmla="*/ 159902 h 2076207"/>
              <a:gd name="csX212" fmla="*/ 204824 w 748195"/>
              <a:gd name="csY212" fmla="*/ 199677 h 2076207"/>
              <a:gd name="csX213" fmla="*/ 207990 w 748195"/>
              <a:gd name="csY213" fmla="*/ 202198 h 2076207"/>
              <a:gd name="csX214" fmla="*/ 215522 w 748195"/>
              <a:gd name="csY214" fmla="*/ 197296 h 2076207"/>
              <a:gd name="csX215" fmla="*/ 484400 w 748195"/>
              <a:gd name="csY215" fmla="*/ 896678 h 2076207"/>
              <a:gd name="csX216" fmla="*/ 486181 w 748195"/>
              <a:gd name="csY216" fmla="*/ 896585 h 2076207"/>
              <a:gd name="csX217" fmla="*/ 486181 w 748195"/>
              <a:gd name="csY217" fmla="*/ 795289 h 2076207"/>
              <a:gd name="csX218" fmla="*/ 720241 w 748195"/>
              <a:gd name="csY218" fmla="*/ 2030666 h 2076207"/>
              <a:gd name="csX219" fmla="*/ 721175 w 748195"/>
              <a:gd name="csY219" fmla="*/ 2029733 h 2076207"/>
              <a:gd name="csX220" fmla="*/ 720241 w 748195"/>
              <a:gd name="csY220" fmla="*/ 2030666 h 2076207"/>
              <a:gd name="csX221" fmla="*/ 715702 w 748195"/>
              <a:gd name="csY221" fmla="*/ 2037051 h 2076207"/>
              <a:gd name="csX222" fmla="*/ 715702 w 748195"/>
              <a:gd name="csY222" fmla="*/ 2037051 h 2076207"/>
              <a:gd name="csX0" fmla="*/ 96263 w 748195"/>
              <a:gd name="csY0" fmla="*/ 2076207 h 2076207"/>
              <a:gd name="csX1" fmla="*/ 63862 w 748195"/>
              <a:gd name="csY1" fmla="*/ 2065388 h 2076207"/>
              <a:gd name="csX2" fmla="*/ 16555 w 748195"/>
              <a:gd name="csY2" fmla="*/ 2050152 h 2076207"/>
              <a:gd name="csX3" fmla="*/ 15 w 748195"/>
              <a:gd name="csY3" fmla="*/ 2023802 h 2076207"/>
              <a:gd name="csX4" fmla="*/ 18368 w 748195"/>
              <a:gd name="csY4" fmla="*/ 1940709 h 2076207"/>
              <a:gd name="csX5" fmla="*/ 22139 w 748195"/>
              <a:gd name="csY5" fmla="*/ 1907268 h 2076207"/>
              <a:gd name="csX6" fmla="*/ 57941 w 748195"/>
              <a:gd name="csY6" fmla="*/ 1774163 h 2076207"/>
              <a:gd name="csX7" fmla="*/ 102478 w 748195"/>
              <a:gd name="csY7" fmla="*/ 1720275 h 2076207"/>
              <a:gd name="csX8" fmla="*/ 108579 w 748195"/>
              <a:gd name="csY8" fmla="*/ 1650967 h 2076207"/>
              <a:gd name="csX9" fmla="*/ 115628 w 748195"/>
              <a:gd name="csY9" fmla="*/ 1625405 h 2076207"/>
              <a:gd name="csX10" fmla="*/ 156323 w 748195"/>
              <a:gd name="csY10" fmla="*/ 1560181 h 2076207"/>
              <a:gd name="csX11" fmla="*/ 199424 w 748195"/>
              <a:gd name="csY11" fmla="*/ 1364729 h 2076207"/>
              <a:gd name="csX12" fmla="*/ 216779 w 748195"/>
              <a:gd name="csY12" fmla="*/ 1219490 h 2076207"/>
              <a:gd name="csX13" fmla="*/ 229755 w 748195"/>
              <a:gd name="csY13" fmla="*/ 1099357 h 2076207"/>
              <a:gd name="csX14" fmla="*/ 232707 w 748195"/>
              <a:gd name="csY14" fmla="*/ 1056423 h 2076207"/>
              <a:gd name="csX15" fmla="*/ 235622 w 748195"/>
              <a:gd name="csY15" fmla="*/ 952675 h 2076207"/>
              <a:gd name="csX16" fmla="*/ 235445 w 748195"/>
              <a:gd name="csY16" fmla="*/ 780278 h 2076207"/>
              <a:gd name="csX17" fmla="*/ 214544 w 748195"/>
              <a:gd name="csY17" fmla="*/ 756435 h 2076207"/>
              <a:gd name="csX18" fmla="*/ 172569 w 748195"/>
              <a:gd name="csY18" fmla="*/ 742582 h 2076207"/>
              <a:gd name="csX19" fmla="*/ 168784 w 748195"/>
              <a:gd name="csY19" fmla="*/ 669116 h 2076207"/>
              <a:gd name="csX20" fmla="*/ 191657 w 748195"/>
              <a:gd name="csY20" fmla="*/ 630765 h 2076207"/>
              <a:gd name="csX21" fmla="*/ 208150 w 748195"/>
              <a:gd name="csY21" fmla="*/ 609084 h 2076207"/>
              <a:gd name="csX22" fmla="*/ 216756 w 748195"/>
              <a:gd name="csY22" fmla="*/ 558673 h 2076207"/>
              <a:gd name="csX23" fmla="*/ 209092 w 748195"/>
              <a:gd name="csY23" fmla="*/ 521540 h 2076207"/>
              <a:gd name="csX24" fmla="*/ 204683 w 748195"/>
              <a:gd name="csY24" fmla="*/ 474024 h 2076207"/>
              <a:gd name="csX25" fmla="*/ 115483 w 748195"/>
              <a:gd name="csY25" fmla="*/ 213499 h 2076207"/>
              <a:gd name="csX26" fmla="*/ 102909 w 748195"/>
              <a:gd name="csY26" fmla="*/ 182297 h 2076207"/>
              <a:gd name="csX27" fmla="*/ 104315 w 748195"/>
              <a:gd name="csY27" fmla="*/ 163968 h 2076207"/>
              <a:gd name="csX28" fmla="*/ 122444 w 748195"/>
              <a:gd name="csY28" fmla="*/ 160805 h 2076207"/>
              <a:gd name="csX29" fmla="*/ 170283 w 748195"/>
              <a:gd name="csY29" fmla="*/ 187783 h 2076207"/>
              <a:gd name="csX30" fmla="*/ 180938 w 748195"/>
              <a:gd name="csY30" fmla="*/ 195322 h 2076207"/>
              <a:gd name="csX31" fmla="*/ 221419 w 748195"/>
              <a:gd name="csY31" fmla="*/ 138058 h 2076207"/>
              <a:gd name="csX32" fmla="*/ 294099 w 748195"/>
              <a:gd name="csY32" fmla="*/ 91372 h 2076207"/>
              <a:gd name="csX33" fmla="*/ 302307 w 748195"/>
              <a:gd name="csY33" fmla="*/ 76560 h 2076207"/>
              <a:gd name="csX34" fmla="*/ 320284 w 748195"/>
              <a:gd name="csY34" fmla="*/ 8414 h 2076207"/>
              <a:gd name="csX35" fmla="*/ 324784 w 748195"/>
              <a:gd name="csY35" fmla="*/ 946 h 2076207"/>
              <a:gd name="csX36" fmla="*/ 399212 w 748195"/>
              <a:gd name="csY36" fmla="*/ 0 h 2076207"/>
              <a:gd name="csX37" fmla="*/ 425980 w 748195"/>
              <a:gd name="csY37" fmla="*/ 78301 h 2076207"/>
              <a:gd name="csX38" fmla="*/ 431861 w 748195"/>
              <a:gd name="csY38" fmla="*/ 90312 h 2076207"/>
              <a:gd name="csX39" fmla="*/ 540349 w 748195"/>
              <a:gd name="csY39" fmla="*/ 187946 h 2076207"/>
              <a:gd name="csX40" fmla="*/ 545555 w 748195"/>
              <a:gd name="csY40" fmla="*/ 197828 h 2076207"/>
              <a:gd name="csX41" fmla="*/ 587318 w 748195"/>
              <a:gd name="csY41" fmla="*/ 171260 h 2076207"/>
              <a:gd name="csX42" fmla="*/ 601503 w 748195"/>
              <a:gd name="csY42" fmla="*/ 163707 h 2076207"/>
              <a:gd name="csX43" fmla="*/ 625254 w 748195"/>
              <a:gd name="csY43" fmla="*/ 163123 h 2076207"/>
              <a:gd name="csX44" fmla="*/ 625468 w 748195"/>
              <a:gd name="csY44" fmla="*/ 187579 h 2076207"/>
              <a:gd name="csX45" fmla="*/ 597543 w 748195"/>
              <a:gd name="csY45" fmla="*/ 251872 h 2076207"/>
              <a:gd name="csX46" fmla="*/ 531831 w 748195"/>
              <a:gd name="csY46" fmla="*/ 442689 h 2076207"/>
              <a:gd name="csX47" fmla="*/ 519888 w 748195"/>
              <a:gd name="csY47" fmla="*/ 501474 h 2076207"/>
              <a:gd name="csX48" fmla="*/ 522506 w 748195"/>
              <a:gd name="csY48" fmla="*/ 525086 h 2076207"/>
              <a:gd name="csX49" fmla="*/ 516235 w 748195"/>
              <a:gd name="csY49" fmla="*/ 555946 h 2076207"/>
              <a:gd name="csX50" fmla="*/ 521332 w 748195"/>
              <a:gd name="csY50" fmla="*/ 610676 h 2076207"/>
              <a:gd name="csX51" fmla="*/ 541382 w 748195"/>
              <a:gd name="csY51" fmla="*/ 642597 h 2076207"/>
              <a:gd name="csX52" fmla="*/ 557031 w 748195"/>
              <a:gd name="csY52" fmla="*/ 667949 h 2076207"/>
              <a:gd name="csX53" fmla="*/ 553994 w 748195"/>
              <a:gd name="csY53" fmla="*/ 744146 h 2076207"/>
              <a:gd name="csX54" fmla="*/ 508215 w 748195"/>
              <a:gd name="csY54" fmla="*/ 758841 h 2076207"/>
              <a:gd name="csX55" fmla="*/ 497442 w 748195"/>
              <a:gd name="csY55" fmla="*/ 771256 h 2076207"/>
              <a:gd name="csX56" fmla="*/ 493005 w 748195"/>
              <a:gd name="csY56" fmla="*/ 922055 h 2076207"/>
              <a:gd name="csX57" fmla="*/ 502900 w 748195"/>
              <a:gd name="csY57" fmla="*/ 1114191 h 2076207"/>
              <a:gd name="csX58" fmla="*/ 508800 w 748195"/>
              <a:gd name="csY58" fmla="*/ 1205474 h 2076207"/>
              <a:gd name="csX59" fmla="*/ 522952 w 748195"/>
              <a:gd name="csY59" fmla="*/ 1320065 h 2076207"/>
              <a:gd name="csX60" fmla="*/ 554682 w 748195"/>
              <a:gd name="csY60" fmla="*/ 1501203 h 2076207"/>
              <a:gd name="csX61" fmla="*/ 576958 w 748195"/>
              <a:gd name="csY61" fmla="*/ 1593963 h 2076207"/>
              <a:gd name="csX62" fmla="*/ 595349 w 748195"/>
              <a:gd name="csY62" fmla="*/ 1613498 h 2076207"/>
              <a:gd name="csX63" fmla="*/ 613936 w 748195"/>
              <a:gd name="csY63" fmla="*/ 1624058 h 2076207"/>
              <a:gd name="csX64" fmla="*/ 620938 w 748195"/>
              <a:gd name="csY64" fmla="*/ 1652071 h 2076207"/>
              <a:gd name="csX65" fmla="*/ 630805 w 748195"/>
              <a:gd name="csY65" fmla="*/ 1721702 h 2076207"/>
              <a:gd name="csX66" fmla="*/ 685830 w 748195"/>
              <a:gd name="csY66" fmla="*/ 1792915 h 2076207"/>
              <a:gd name="csX67" fmla="*/ 708904 w 748195"/>
              <a:gd name="csY67" fmla="*/ 1890290 h 2076207"/>
              <a:gd name="csX68" fmla="*/ 716580 w 748195"/>
              <a:gd name="csY68" fmla="*/ 1951136 h 2076207"/>
              <a:gd name="csX69" fmla="*/ 729397 w 748195"/>
              <a:gd name="csY69" fmla="*/ 2030261 h 2076207"/>
              <a:gd name="csX70" fmla="*/ 714212 w 748195"/>
              <a:gd name="csY70" fmla="*/ 2049544 h 2076207"/>
              <a:gd name="csX71" fmla="*/ 645428 w 748195"/>
              <a:gd name="csY71" fmla="*/ 2070825 h 2076207"/>
              <a:gd name="csX72" fmla="*/ 667788 w 748195"/>
              <a:gd name="csY72" fmla="*/ 2056852 h 2076207"/>
              <a:gd name="csX73" fmla="*/ 706629 w 748195"/>
              <a:gd name="csY73" fmla="*/ 2044290 h 2076207"/>
              <a:gd name="csX74" fmla="*/ 702674 w 748195"/>
              <a:gd name="csY74" fmla="*/ 2041581 h 2076207"/>
              <a:gd name="csX75" fmla="*/ 96263 w 748195"/>
              <a:gd name="csY75" fmla="*/ 2076207 h 2076207"/>
              <a:gd name="csX76" fmla="*/ 489970 w 748195"/>
              <a:gd name="csY76" fmla="*/ 152208 h 2076207"/>
              <a:gd name="csX77" fmla="*/ 490754 w 748195"/>
              <a:gd name="csY77" fmla="*/ 152592 h 2076207"/>
              <a:gd name="csX78" fmla="*/ 489489 w 748195"/>
              <a:gd name="csY78" fmla="*/ 149547 h 2076207"/>
              <a:gd name="csX79" fmla="*/ 393621 w 748195"/>
              <a:gd name="csY79" fmla="*/ 99259 h 2076207"/>
              <a:gd name="csX80" fmla="*/ 390419 w 748195"/>
              <a:gd name="csY80" fmla="*/ 18568 h 2076207"/>
              <a:gd name="csX81" fmla="*/ 334131 w 748195"/>
              <a:gd name="csY81" fmla="*/ 24327 h 2076207"/>
              <a:gd name="csX82" fmla="*/ 344678 w 748195"/>
              <a:gd name="csY82" fmla="*/ 101259 h 2076207"/>
              <a:gd name="csX83" fmla="*/ 298854 w 748195"/>
              <a:gd name="csY83" fmla="*/ 114003 h 2076207"/>
              <a:gd name="csX84" fmla="*/ 237456 w 748195"/>
              <a:gd name="csY84" fmla="*/ 154340 h 2076207"/>
              <a:gd name="csX85" fmla="*/ 240382 w 748195"/>
              <a:gd name="csY85" fmla="*/ 154035 h 2076207"/>
              <a:gd name="csX86" fmla="*/ 262731 w 748195"/>
              <a:gd name="csY86" fmla="*/ 170426 h 2076207"/>
              <a:gd name="csX87" fmla="*/ 279169 w 748195"/>
              <a:gd name="csY87" fmla="*/ 193173 h 2076207"/>
              <a:gd name="csX88" fmla="*/ 327717 w 748195"/>
              <a:gd name="csY88" fmla="*/ 188556 h 2076207"/>
              <a:gd name="csX89" fmla="*/ 348052 w 748195"/>
              <a:gd name="csY89" fmla="*/ 156919 h 2076207"/>
              <a:gd name="csX90" fmla="*/ 380330 w 748195"/>
              <a:gd name="csY90" fmla="*/ 156483 h 2076207"/>
              <a:gd name="csX91" fmla="*/ 408490 w 748195"/>
              <a:gd name="csY91" fmla="*/ 195400 h 2076207"/>
              <a:gd name="csX92" fmla="*/ 445346 w 748195"/>
              <a:gd name="csY92" fmla="*/ 197582 h 2076207"/>
              <a:gd name="csX93" fmla="*/ 464798 w 748195"/>
              <a:gd name="csY93" fmla="*/ 174107 h 2076207"/>
              <a:gd name="csX94" fmla="*/ 489970 w 748195"/>
              <a:gd name="csY94" fmla="*/ 152208 h 2076207"/>
              <a:gd name="csX95" fmla="*/ 140694 w 748195"/>
              <a:gd name="csY95" fmla="*/ 201837 h 2076207"/>
              <a:gd name="csX96" fmla="*/ 139834 w 748195"/>
              <a:gd name="csY96" fmla="*/ 201482 h 2076207"/>
              <a:gd name="csX97" fmla="*/ 140812 w 748195"/>
              <a:gd name="csY97" fmla="*/ 204941 h 2076207"/>
              <a:gd name="csX98" fmla="*/ 144631 w 748195"/>
              <a:gd name="csY98" fmla="*/ 217811 h 2076207"/>
              <a:gd name="csX99" fmla="*/ 201241 w 748195"/>
              <a:gd name="csY99" fmla="*/ 373387 h 2076207"/>
              <a:gd name="csX100" fmla="*/ 235971 w 748195"/>
              <a:gd name="csY100" fmla="*/ 504451 h 2076207"/>
              <a:gd name="csX101" fmla="*/ 247475 w 748195"/>
              <a:gd name="csY101" fmla="*/ 513241 h 2076207"/>
              <a:gd name="csX102" fmla="*/ 289066 w 748195"/>
              <a:gd name="csY102" fmla="*/ 511170 h 2076207"/>
              <a:gd name="csX103" fmla="*/ 378229 w 748195"/>
              <a:gd name="csY103" fmla="*/ 511084 h 2076207"/>
              <a:gd name="csX104" fmla="*/ 470850 w 748195"/>
              <a:gd name="csY104" fmla="*/ 516341 h 2076207"/>
              <a:gd name="csX105" fmla="*/ 492933 w 748195"/>
              <a:gd name="csY105" fmla="*/ 497969 h 2076207"/>
              <a:gd name="csX106" fmla="*/ 557617 w 748195"/>
              <a:gd name="csY106" fmla="*/ 280398 h 2076207"/>
              <a:gd name="csX107" fmla="*/ 588788 w 748195"/>
              <a:gd name="csY107" fmla="*/ 200385 h 2076207"/>
              <a:gd name="csX108" fmla="*/ 530958 w 748195"/>
              <a:gd name="csY108" fmla="*/ 232968 h 2076207"/>
              <a:gd name="csX109" fmla="*/ 483823 w 748195"/>
              <a:gd name="csY109" fmla="*/ 190364 h 2076207"/>
              <a:gd name="csX110" fmla="*/ 466649 w 748195"/>
              <a:gd name="csY110" fmla="*/ 209061 h 2076207"/>
              <a:gd name="csX111" fmla="*/ 399941 w 748195"/>
              <a:gd name="csY111" fmla="*/ 216988 h 2076207"/>
              <a:gd name="csX112" fmla="*/ 363018 w 748195"/>
              <a:gd name="csY112" fmla="*/ 179615 h 2076207"/>
              <a:gd name="csX113" fmla="*/ 308839 w 748195"/>
              <a:gd name="csY113" fmla="*/ 227846 h 2076207"/>
              <a:gd name="csX114" fmla="*/ 245077 w 748195"/>
              <a:gd name="csY114" fmla="*/ 192402 h 2076207"/>
              <a:gd name="csX115" fmla="*/ 242829 w 748195"/>
              <a:gd name="csY115" fmla="*/ 198815 h 2076207"/>
              <a:gd name="csX116" fmla="*/ 168452 w 748195"/>
              <a:gd name="csY116" fmla="*/ 219348 h 2076207"/>
              <a:gd name="csX117" fmla="*/ 140694 w 748195"/>
              <a:gd name="csY117" fmla="*/ 201837 h 2076207"/>
              <a:gd name="csX118" fmla="*/ 259999 w 748195"/>
              <a:gd name="csY118" fmla="*/ 966699 h 2076207"/>
              <a:gd name="csX119" fmla="*/ 257072 w 748195"/>
              <a:gd name="csY119" fmla="*/ 1070424 h 2076207"/>
              <a:gd name="csX120" fmla="*/ 251372 w 748195"/>
              <a:gd name="csY120" fmla="*/ 1157618 h 2076207"/>
              <a:gd name="csX121" fmla="*/ 232677 w 748195"/>
              <a:gd name="csY121" fmla="*/ 1320279 h 2076207"/>
              <a:gd name="csX122" fmla="*/ 209182 w 748195"/>
              <a:gd name="csY122" fmla="*/ 1468667 h 2076207"/>
              <a:gd name="csX123" fmla="*/ 175302 w 748195"/>
              <a:gd name="csY123" fmla="*/ 1616623 h 2076207"/>
              <a:gd name="csX124" fmla="*/ 182769 w 748195"/>
              <a:gd name="csY124" fmla="*/ 1629786 h 2076207"/>
              <a:gd name="csX125" fmla="*/ 212156 w 748195"/>
              <a:gd name="csY125" fmla="*/ 1632656 h 2076207"/>
              <a:gd name="csX126" fmla="*/ 351295 w 748195"/>
              <a:gd name="csY126" fmla="*/ 1632801 h 2076207"/>
              <a:gd name="csX127" fmla="*/ 376150 w 748195"/>
              <a:gd name="csY127" fmla="*/ 1608307 h 2076207"/>
              <a:gd name="csX128" fmla="*/ 373450 w 748195"/>
              <a:gd name="csY128" fmla="*/ 1457291 h 2076207"/>
              <a:gd name="csX129" fmla="*/ 370936 w 748195"/>
              <a:gd name="csY129" fmla="*/ 1342736 h 2076207"/>
              <a:gd name="csX130" fmla="*/ 368328 w 748195"/>
              <a:gd name="csY130" fmla="*/ 1203878 h 2076207"/>
              <a:gd name="csX131" fmla="*/ 367836 w 748195"/>
              <a:gd name="csY131" fmla="*/ 813478 h 2076207"/>
              <a:gd name="csX132" fmla="*/ 365240 w 748195"/>
              <a:gd name="csY132" fmla="*/ 773243 h 2076207"/>
              <a:gd name="csX133" fmla="*/ 353084 w 748195"/>
              <a:gd name="csY133" fmla="*/ 762083 h 2076207"/>
              <a:gd name="csX134" fmla="*/ 280966 w 748195"/>
              <a:gd name="csY134" fmla="*/ 759855 h 2076207"/>
              <a:gd name="csX135" fmla="*/ 259965 w 748195"/>
              <a:gd name="csY135" fmla="*/ 779553 h 2076207"/>
              <a:gd name="csX136" fmla="*/ 262341 w 748195"/>
              <a:gd name="csY136" fmla="*/ 856275 h 2076207"/>
              <a:gd name="csX137" fmla="*/ 259999 w 748195"/>
              <a:gd name="csY137" fmla="*/ 966699 h 2076207"/>
              <a:gd name="csX138" fmla="*/ 55556 w 748195"/>
              <a:gd name="csY138" fmla="*/ 1835827 h 2076207"/>
              <a:gd name="csX139" fmla="*/ 49393 w 748195"/>
              <a:gd name="csY139" fmla="*/ 1878155 h 2076207"/>
              <a:gd name="csX140" fmla="*/ 73949 w 748195"/>
              <a:gd name="csY140" fmla="*/ 1905781 h 2076207"/>
              <a:gd name="csX141" fmla="*/ 110073 w 748195"/>
              <a:gd name="csY141" fmla="*/ 1909068 h 2076207"/>
              <a:gd name="csX142" fmla="*/ 224745 w 748195"/>
              <a:gd name="csY142" fmla="*/ 1921652 h 2076207"/>
              <a:gd name="csX143" fmla="*/ 347327 w 748195"/>
              <a:gd name="csY143" fmla="*/ 1924778 h 2076207"/>
              <a:gd name="csX144" fmla="*/ 363345 w 748195"/>
              <a:gd name="csY144" fmla="*/ 1923293 h 2076207"/>
              <a:gd name="csX145" fmla="*/ 373787 w 748195"/>
              <a:gd name="csY145" fmla="*/ 1911200 h 2076207"/>
              <a:gd name="csX146" fmla="*/ 376623 w 748195"/>
              <a:gd name="csY146" fmla="*/ 1696741 h 2076207"/>
              <a:gd name="csX147" fmla="*/ 360437 w 748195"/>
              <a:gd name="csY147" fmla="*/ 1681289 h 2076207"/>
              <a:gd name="csX148" fmla="*/ 263503 w 748195"/>
              <a:gd name="csY148" fmla="*/ 1678179 h 2076207"/>
              <a:gd name="csX149" fmla="*/ 160381 w 748195"/>
              <a:gd name="csY149" fmla="*/ 1670405 h 2076207"/>
              <a:gd name="csX150" fmla="*/ 143321 w 748195"/>
              <a:gd name="csY150" fmla="*/ 1685538 h 2076207"/>
              <a:gd name="csX151" fmla="*/ 124769 w 748195"/>
              <a:gd name="csY151" fmla="*/ 1738195 h 2076207"/>
              <a:gd name="csX152" fmla="*/ 90593 w 748195"/>
              <a:gd name="csY152" fmla="*/ 1779570 h 2076207"/>
              <a:gd name="csX153" fmla="*/ 55556 w 748195"/>
              <a:gd name="csY153" fmla="*/ 1835827 h 2076207"/>
              <a:gd name="csX154" fmla="*/ 378900 w 748195"/>
              <a:gd name="csY154" fmla="*/ 2007280 h 2076207"/>
              <a:gd name="csX155" fmla="*/ 378887 w 748195"/>
              <a:gd name="csY155" fmla="*/ 1995127 h 2076207"/>
              <a:gd name="csX156" fmla="*/ 359084 w 748195"/>
              <a:gd name="csY156" fmla="*/ 1975964 h 2076207"/>
              <a:gd name="csX157" fmla="*/ 247288 w 748195"/>
              <a:gd name="csY157" fmla="*/ 1973305 h 2076207"/>
              <a:gd name="csX158" fmla="*/ 201692 w 748195"/>
              <a:gd name="csY158" fmla="*/ 1970275 h 2076207"/>
              <a:gd name="csX159" fmla="*/ 57962 w 748195"/>
              <a:gd name="csY159" fmla="*/ 1952648 h 2076207"/>
              <a:gd name="csX160" fmla="*/ 39194 w 748195"/>
              <a:gd name="csY160" fmla="*/ 1963552 h 2076207"/>
              <a:gd name="csX161" fmla="*/ 30066 w 748195"/>
              <a:gd name="csY161" fmla="*/ 2006631 h 2076207"/>
              <a:gd name="csX162" fmla="*/ 40232 w 748195"/>
              <a:gd name="csY162" fmla="*/ 2019486 h 2076207"/>
              <a:gd name="csX163" fmla="*/ 238186 w 748195"/>
              <a:gd name="csY163" fmla="*/ 2046096 h 2076207"/>
              <a:gd name="csX164" fmla="*/ 342155 w 748195"/>
              <a:gd name="csY164" fmla="*/ 2046441 h 2076207"/>
              <a:gd name="csX165" fmla="*/ 378900 w 748195"/>
              <a:gd name="csY165" fmla="*/ 2007280 h 2076207"/>
              <a:gd name="csX166" fmla="*/ 310220 w 748195"/>
              <a:gd name="csY166" fmla="*/ 554288 h 2076207"/>
              <a:gd name="csX167" fmla="*/ 259136 w 748195"/>
              <a:gd name="csY167" fmla="*/ 556881 h 2076207"/>
              <a:gd name="csX168" fmla="*/ 249085 w 748195"/>
              <a:gd name="csY168" fmla="*/ 567981 h 2076207"/>
              <a:gd name="csX169" fmla="*/ 249141 w 748195"/>
              <a:gd name="csY169" fmla="*/ 605644 h 2076207"/>
              <a:gd name="csX170" fmla="*/ 262628 w 748195"/>
              <a:gd name="csY170" fmla="*/ 605627 h 2076207"/>
              <a:gd name="csX171" fmla="*/ 369608 w 748195"/>
              <a:gd name="csY171" fmla="*/ 603027 h 2076207"/>
              <a:gd name="csX172" fmla="*/ 463931 w 748195"/>
              <a:gd name="csY172" fmla="*/ 605146 h 2076207"/>
              <a:gd name="csX173" fmla="*/ 478113 w 748195"/>
              <a:gd name="csY173" fmla="*/ 595843 h 2076207"/>
              <a:gd name="csX174" fmla="*/ 478796 w 748195"/>
              <a:gd name="csY174" fmla="*/ 556832 h 2076207"/>
              <a:gd name="csX175" fmla="*/ 310220 w 748195"/>
              <a:gd name="csY175" fmla="*/ 554288 h 2076207"/>
              <a:gd name="csX176" fmla="*/ 348836 w 748195"/>
              <a:gd name="csY176" fmla="*/ 684115 h 2076207"/>
              <a:gd name="csX177" fmla="*/ 281333 w 748195"/>
              <a:gd name="csY177" fmla="*/ 683313 h 2076207"/>
              <a:gd name="csX178" fmla="*/ 212728 w 748195"/>
              <a:gd name="csY178" fmla="*/ 681931 h 2076207"/>
              <a:gd name="csX179" fmla="*/ 187283 w 748195"/>
              <a:gd name="csY179" fmla="*/ 689555 h 2076207"/>
              <a:gd name="csX180" fmla="*/ 186163 w 748195"/>
              <a:gd name="csY180" fmla="*/ 718266 h 2076207"/>
              <a:gd name="csX181" fmla="*/ 209894 w 748195"/>
              <a:gd name="csY181" fmla="*/ 726798 h 2076207"/>
              <a:gd name="csX182" fmla="*/ 334814 w 748195"/>
              <a:gd name="csY182" fmla="*/ 732494 h 2076207"/>
              <a:gd name="csX183" fmla="*/ 364856 w 748195"/>
              <a:gd name="csY183" fmla="*/ 707963 h 2076207"/>
              <a:gd name="csX184" fmla="*/ 348836 w 748195"/>
              <a:gd name="csY184" fmla="*/ 684115 h 2076207"/>
              <a:gd name="csX185" fmla="*/ 298865 w 748195"/>
              <a:gd name="csY185" fmla="*/ 621954 h 2076207"/>
              <a:gd name="csX186" fmla="*/ 251619 w 748195"/>
              <a:gd name="csY186" fmla="*/ 622133 h 2076207"/>
              <a:gd name="csX187" fmla="*/ 214459 w 748195"/>
              <a:gd name="csY187" fmla="*/ 636230 h 2076207"/>
              <a:gd name="csX188" fmla="*/ 221436 w 748195"/>
              <a:gd name="csY188" fmla="*/ 654205 h 2076207"/>
              <a:gd name="csX189" fmla="*/ 272412 w 748195"/>
              <a:gd name="csY189" fmla="*/ 657250 h 2076207"/>
              <a:gd name="csX190" fmla="*/ 349094 w 748195"/>
              <a:gd name="csY190" fmla="*/ 659282 h 2076207"/>
              <a:gd name="csX191" fmla="*/ 362996 w 748195"/>
              <a:gd name="csY191" fmla="*/ 644234 h 2076207"/>
              <a:gd name="csX192" fmla="*/ 348472 w 748195"/>
              <a:gd name="csY192" fmla="*/ 624649 h 2076207"/>
              <a:gd name="csX193" fmla="*/ 298865 w 748195"/>
              <a:gd name="csY193" fmla="*/ 621954 h 2076207"/>
              <a:gd name="csX194" fmla="*/ 227796 w 748195"/>
              <a:gd name="csY194" fmla="*/ 528000 h 2076207"/>
              <a:gd name="csX195" fmla="*/ 241009 w 748195"/>
              <a:gd name="csY195" fmla="*/ 545897 h 2076207"/>
              <a:gd name="csX196" fmla="*/ 282607 w 748195"/>
              <a:gd name="csY196" fmla="*/ 543480 h 2076207"/>
              <a:gd name="csX197" fmla="*/ 354213 w 748195"/>
              <a:gd name="csY197" fmla="*/ 543384 h 2076207"/>
              <a:gd name="csX198" fmla="*/ 365334 w 748195"/>
              <a:gd name="csY198" fmla="*/ 533397 h 2076207"/>
              <a:gd name="csX199" fmla="*/ 354531 w 748195"/>
              <a:gd name="csY199" fmla="*/ 521620 h 2076207"/>
              <a:gd name="csX200" fmla="*/ 259169 w 748195"/>
              <a:gd name="csY200" fmla="*/ 521978 h 2076207"/>
              <a:gd name="csX201" fmla="*/ 227796 w 748195"/>
              <a:gd name="csY201" fmla="*/ 528000 h 2076207"/>
              <a:gd name="csX202" fmla="*/ 508068 w 748195"/>
              <a:gd name="csY202" fmla="*/ 190710 h 2076207"/>
              <a:gd name="csX203" fmla="*/ 521293 w 748195"/>
              <a:gd name="csY203" fmla="*/ 205907 h 2076207"/>
              <a:gd name="csX204" fmla="*/ 525175 w 748195"/>
              <a:gd name="csY204" fmla="*/ 202985 h 2076207"/>
              <a:gd name="csX205" fmla="*/ 500276 w 748195"/>
              <a:gd name="csY205" fmla="*/ 160640 h 2076207"/>
              <a:gd name="csX206" fmla="*/ 497122 w 748195"/>
              <a:gd name="csY206" fmla="*/ 162007 h 2076207"/>
              <a:gd name="csX207" fmla="*/ 508068 w 748195"/>
              <a:gd name="csY207" fmla="*/ 190710 h 2076207"/>
              <a:gd name="csX208" fmla="*/ 215522 w 748195"/>
              <a:gd name="csY208" fmla="*/ 197296 h 2076207"/>
              <a:gd name="csX209" fmla="*/ 234029 w 748195"/>
              <a:gd name="csY209" fmla="*/ 162725 h 2076207"/>
              <a:gd name="csX210" fmla="*/ 229000 w 748195"/>
              <a:gd name="csY210" fmla="*/ 159902 h 2076207"/>
              <a:gd name="csX211" fmla="*/ 204824 w 748195"/>
              <a:gd name="csY211" fmla="*/ 199677 h 2076207"/>
              <a:gd name="csX212" fmla="*/ 207990 w 748195"/>
              <a:gd name="csY212" fmla="*/ 202198 h 2076207"/>
              <a:gd name="csX213" fmla="*/ 215522 w 748195"/>
              <a:gd name="csY213" fmla="*/ 197296 h 2076207"/>
              <a:gd name="csX214" fmla="*/ 484400 w 748195"/>
              <a:gd name="csY214" fmla="*/ 896678 h 2076207"/>
              <a:gd name="csX215" fmla="*/ 486181 w 748195"/>
              <a:gd name="csY215" fmla="*/ 896585 h 2076207"/>
              <a:gd name="csX216" fmla="*/ 486181 w 748195"/>
              <a:gd name="csY216" fmla="*/ 795289 h 2076207"/>
              <a:gd name="csX217" fmla="*/ 720241 w 748195"/>
              <a:gd name="csY217" fmla="*/ 2030666 h 2076207"/>
              <a:gd name="csX218" fmla="*/ 721175 w 748195"/>
              <a:gd name="csY218" fmla="*/ 2029733 h 2076207"/>
              <a:gd name="csX219" fmla="*/ 720241 w 748195"/>
              <a:gd name="csY219" fmla="*/ 2030666 h 2076207"/>
              <a:gd name="csX220" fmla="*/ 715702 w 748195"/>
              <a:gd name="csY220" fmla="*/ 2037051 h 2076207"/>
              <a:gd name="csX221" fmla="*/ 715702 w 748195"/>
              <a:gd name="csY221" fmla="*/ 2037051 h 2076207"/>
              <a:gd name="csX0" fmla="*/ 96263 w 748195"/>
              <a:gd name="csY0" fmla="*/ 2076207 h 2076207"/>
              <a:gd name="csX1" fmla="*/ 63862 w 748195"/>
              <a:gd name="csY1" fmla="*/ 2065388 h 2076207"/>
              <a:gd name="csX2" fmla="*/ 16555 w 748195"/>
              <a:gd name="csY2" fmla="*/ 2050152 h 2076207"/>
              <a:gd name="csX3" fmla="*/ 15 w 748195"/>
              <a:gd name="csY3" fmla="*/ 2023802 h 2076207"/>
              <a:gd name="csX4" fmla="*/ 18368 w 748195"/>
              <a:gd name="csY4" fmla="*/ 1940709 h 2076207"/>
              <a:gd name="csX5" fmla="*/ 22139 w 748195"/>
              <a:gd name="csY5" fmla="*/ 1907268 h 2076207"/>
              <a:gd name="csX6" fmla="*/ 57941 w 748195"/>
              <a:gd name="csY6" fmla="*/ 1774163 h 2076207"/>
              <a:gd name="csX7" fmla="*/ 102478 w 748195"/>
              <a:gd name="csY7" fmla="*/ 1720275 h 2076207"/>
              <a:gd name="csX8" fmla="*/ 108579 w 748195"/>
              <a:gd name="csY8" fmla="*/ 1650967 h 2076207"/>
              <a:gd name="csX9" fmla="*/ 115628 w 748195"/>
              <a:gd name="csY9" fmla="*/ 1625405 h 2076207"/>
              <a:gd name="csX10" fmla="*/ 156323 w 748195"/>
              <a:gd name="csY10" fmla="*/ 1560181 h 2076207"/>
              <a:gd name="csX11" fmla="*/ 199424 w 748195"/>
              <a:gd name="csY11" fmla="*/ 1364729 h 2076207"/>
              <a:gd name="csX12" fmla="*/ 216779 w 748195"/>
              <a:gd name="csY12" fmla="*/ 1219490 h 2076207"/>
              <a:gd name="csX13" fmla="*/ 229755 w 748195"/>
              <a:gd name="csY13" fmla="*/ 1099357 h 2076207"/>
              <a:gd name="csX14" fmla="*/ 232707 w 748195"/>
              <a:gd name="csY14" fmla="*/ 1056423 h 2076207"/>
              <a:gd name="csX15" fmla="*/ 235622 w 748195"/>
              <a:gd name="csY15" fmla="*/ 952675 h 2076207"/>
              <a:gd name="csX16" fmla="*/ 235445 w 748195"/>
              <a:gd name="csY16" fmla="*/ 780278 h 2076207"/>
              <a:gd name="csX17" fmla="*/ 214544 w 748195"/>
              <a:gd name="csY17" fmla="*/ 756435 h 2076207"/>
              <a:gd name="csX18" fmla="*/ 172569 w 748195"/>
              <a:gd name="csY18" fmla="*/ 742582 h 2076207"/>
              <a:gd name="csX19" fmla="*/ 168784 w 748195"/>
              <a:gd name="csY19" fmla="*/ 669116 h 2076207"/>
              <a:gd name="csX20" fmla="*/ 191657 w 748195"/>
              <a:gd name="csY20" fmla="*/ 630765 h 2076207"/>
              <a:gd name="csX21" fmla="*/ 208150 w 748195"/>
              <a:gd name="csY21" fmla="*/ 609084 h 2076207"/>
              <a:gd name="csX22" fmla="*/ 216756 w 748195"/>
              <a:gd name="csY22" fmla="*/ 558673 h 2076207"/>
              <a:gd name="csX23" fmla="*/ 209092 w 748195"/>
              <a:gd name="csY23" fmla="*/ 521540 h 2076207"/>
              <a:gd name="csX24" fmla="*/ 204683 w 748195"/>
              <a:gd name="csY24" fmla="*/ 474024 h 2076207"/>
              <a:gd name="csX25" fmla="*/ 115483 w 748195"/>
              <a:gd name="csY25" fmla="*/ 213499 h 2076207"/>
              <a:gd name="csX26" fmla="*/ 102909 w 748195"/>
              <a:gd name="csY26" fmla="*/ 182297 h 2076207"/>
              <a:gd name="csX27" fmla="*/ 104315 w 748195"/>
              <a:gd name="csY27" fmla="*/ 163968 h 2076207"/>
              <a:gd name="csX28" fmla="*/ 122444 w 748195"/>
              <a:gd name="csY28" fmla="*/ 160805 h 2076207"/>
              <a:gd name="csX29" fmla="*/ 170283 w 748195"/>
              <a:gd name="csY29" fmla="*/ 187783 h 2076207"/>
              <a:gd name="csX30" fmla="*/ 180938 w 748195"/>
              <a:gd name="csY30" fmla="*/ 195322 h 2076207"/>
              <a:gd name="csX31" fmla="*/ 221419 w 748195"/>
              <a:gd name="csY31" fmla="*/ 138058 h 2076207"/>
              <a:gd name="csX32" fmla="*/ 294099 w 748195"/>
              <a:gd name="csY32" fmla="*/ 91372 h 2076207"/>
              <a:gd name="csX33" fmla="*/ 302307 w 748195"/>
              <a:gd name="csY33" fmla="*/ 76560 h 2076207"/>
              <a:gd name="csX34" fmla="*/ 320284 w 748195"/>
              <a:gd name="csY34" fmla="*/ 8414 h 2076207"/>
              <a:gd name="csX35" fmla="*/ 324784 w 748195"/>
              <a:gd name="csY35" fmla="*/ 946 h 2076207"/>
              <a:gd name="csX36" fmla="*/ 399212 w 748195"/>
              <a:gd name="csY36" fmla="*/ 0 h 2076207"/>
              <a:gd name="csX37" fmla="*/ 425980 w 748195"/>
              <a:gd name="csY37" fmla="*/ 78301 h 2076207"/>
              <a:gd name="csX38" fmla="*/ 431861 w 748195"/>
              <a:gd name="csY38" fmla="*/ 90312 h 2076207"/>
              <a:gd name="csX39" fmla="*/ 540349 w 748195"/>
              <a:gd name="csY39" fmla="*/ 187946 h 2076207"/>
              <a:gd name="csX40" fmla="*/ 545555 w 748195"/>
              <a:gd name="csY40" fmla="*/ 197828 h 2076207"/>
              <a:gd name="csX41" fmla="*/ 587318 w 748195"/>
              <a:gd name="csY41" fmla="*/ 171260 h 2076207"/>
              <a:gd name="csX42" fmla="*/ 601503 w 748195"/>
              <a:gd name="csY42" fmla="*/ 163707 h 2076207"/>
              <a:gd name="csX43" fmla="*/ 625254 w 748195"/>
              <a:gd name="csY43" fmla="*/ 163123 h 2076207"/>
              <a:gd name="csX44" fmla="*/ 625468 w 748195"/>
              <a:gd name="csY44" fmla="*/ 187579 h 2076207"/>
              <a:gd name="csX45" fmla="*/ 597543 w 748195"/>
              <a:gd name="csY45" fmla="*/ 251872 h 2076207"/>
              <a:gd name="csX46" fmla="*/ 531831 w 748195"/>
              <a:gd name="csY46" fmla="*/ 442689 h 2076207"/>
              <a:gd name="csX47" fmla="*/ 519888 w 748195"/>
              <a:gd name="csY47" fmla="*/ 501474 h 2076207"/>
              <a:gd name="csX48" fmla="*/ 522506 w 748195"/>
              <a:gd name="csY48" fmla="*/ 525086 h 2076207"/>
              <a:gd name="csX49" fmla="*/ 516235 w 748195"/>
              <a:gd name="csY49" fmla="*/ 555946 h 2076207"/>
              <a:gd name="csX50" fmla="*/ 521332 w 748195"/>
              <a:gd name="csY50" fmla="*/ 610676 h 2076207"/>
              <a:gd name="csX51" fmla="*/ 541382 w 748195"/>
              <a:gd name="csY51" fmla="*/ 642597 h 2076207"/>
              <a:gd name="csX52" fmla="*/ 557031 w 748195"/>
              <a:gd name="csY52" fmla="*/ 667949 h 2076207"/>
              <a:gd name="csX53" fmla="*/ 553994 w 748195"/>
              <a:gd name="csY53" fmla="*/ 744146 h 2076207"/>
              <a:gd name="csX54" fmla="*/ 508215 w 748195"/>
              <a:gd name="csY54" fmla="*/ 758841 h 2076207"/>
              <a:gd name="csX55" fmla="*/ 497442 w 748195"/>
              <a:gd name="csY55" fmla="*/ 771256 h 2076207"/>
              <a:gd name="csX56" fmla="*/ 493005 w 748195"/>
              <a:gd name="csY56" fmla="*/ 922055 h 2076207"/>
              <a:gd name="csX57" fmla="*/ 502900 w 748195"/>
              <a:gd name="csY57" fmla="*/ 1114191 h 2076207"/>
              <a:gd name="csX58" fmla="*/ 508800 w 748195"/>
              <a:gd name="csY58" fmla="*/ 1205474 h 2076207"/>
              <a:gd name="csX59" fmla="*/ 522952 w 748195"/>
              <a:gd name="csY59" fmla="*/ 1320065 h 2076207"/>
              <a:gd name="csX60" fmla="*/ 554682 w 748195"/>
              <a:gd name="csY60" fmla="*/ 1501203 h 2076207"/>
              <a:gd name="csX61" fmla="*/ 576958 w 748195"/>
              <a:gd name="csY61" fmla="*/ 1593963 h 2076207"/>
              <a:gd name="csX62" fmla="*/ 595349 w 748195"/>
              <a:gd name="csY62" fmla="*/ 1613498 h 2076207"/>
              <a:gd name="csX63" fmla="*/ 613936 w 748195"/>
              <a:gd name="csY63" fmla="*/ 1624058 h 2076207"/>
              <a:gd name="csX64" fmla="*/ 620938 w 748195"/>
              <a:gd name="csY64" fmla="*/ 1652071 h 2076207"/>
              <a:gd name="csX65" fmla="*/ 630805 w 748195"/>
              <a:gd name="csY65" fmla="*/ 1721702 h 2076207"/>
              <a:gd name="csX66" fmla="*/ 685830 w 748195"/>
              <a:gd name="csY66" fmla="*/ 1792915 h 2076207"/>
              <a:gd name="csX67" fmla="*/ 708904 w 748195"/>
              <a:gd name="csY67" fmla="*/ 1890290 h 2076207"/>
              <a:gd name="csX68" fmla="*/ 716580 w 748195"/>
              <a:gd name="csY68" fmla="*/ 1951136 h 2076207"/>
              <a:gd name="csX69" fmla="*/ 729397 w 748195"/>
              <a:gd name="csY69" fmla="*/ 2030261 h 2076207"/>
              <a:gd name="csX70" fmla="*/ 714212 w 748195"/>
              <a:gd name="csY70" fmla="*/ 2049544 h 2076207"/>
              <a:gd name="csX71" fmla="*/ 667788 w 748195"/>
              <a:gd name="csY71" fmla="*/ 2056852 h 2076207"/>
              <a:gd name="csX72" fmla="*/ 706629 w 748195"/>
              <a:gd name="csY72" fmla="*/ 2044290 h 2076207"/>
              <a:gd name="csX73" fmla="*/ 702674 w 748195"/>
              <a:gd name="csY73" fmla="*/ 2041581 h 2076207"/>
              <a:gd name="csX74" fmla="*/ 96263 w 748195"/>
              <a:gd name="csY74" fmla="*/ 2076207 h 2076207"/>
              <a:gd name="csX75" fmla="*/ 489970 w 748195"/>
              <a:gd name="csY75" fmla="*/ 152208 h 2076207"/>
              <a:gd name="csX76" fmla="*/ 490754 w 748195"/>
              <a:gd name="csY76" fmla="*/ 152592 h 2076207"/>
              <a:gd name="csX77" fmla="*/ 489489 w 748195"/>
              <a:gd name="csY77" fmla="*/ 149547 h 2076207"/>
              <a:gd name="csX78" fmla="*/ 393621 w 748195"/>
              <a:gd name="csY78" fmla="*/ 99259 h 2076207"/>
              <a:gd name="csX79" fmla="*/ 390419 w 748195"/>
              <a:gd name="csY79" fmla="*/ 18568 h 2076207"/>
              <a:gd name="csX80" fmla="*/ 334131 w 748195"/>
              <a:gd name="csY80" fmla="*/ 24327 h 2076207"/>
              <a:gd name="csX81" fmla="*/ 344678 w 748195"/>
              <a:gd name="csY81" fmla="*/ 101259 h 2076207"/>
              <a:gd name="csX82" fmla="*/ 298854 w 748195"/>
              <a:gd name="csY82" fmla="*/ 114003 h 2076207"/>
              <a:gd name="csX83" fmla="*/ 237456 w 748195"/>
              <a:gd name="csY83" fmla="*/ 154340 h 2076207"/>
              <a:gd name="csX84" fmla="*/ 240382 w 748195"/>
              <a:gd name="csY84" fmla="*/ 154035 h 2076207"/>
              <a:gd name="csX85" fmla="*/ 262731 w 748195"/>
              <a:gd name="csY85" fmla="*/ 170426 h 2076207"/>
              <a:gd name="csX86" fmla="*/ 279169 w 748195"/>
              <a:gd name="csY86" fmla="*/ 193173 h 2076207"/>
              <a:gd name="csX87" fmla="*/ 327717 w 748195"/>
              <a:gd name="csY87" fmla="*/ 188556 h 2076207"/>
              <a:gd name="csX88" fmla="*/ 348052 w 748195"/>
              <a:gd name="csY88" fmla="*/ 156919 h 2076207"/>
              <a:gd name="csX89" fmla="*/ 380330 w 748195"/>
              <a:gd name="csY89" fmla="*/ 156483 h 2076207"/>
              <a:gd name="csX90" fmla="*/ 408490 w 748195"/>
              <a:gd name="csY90" fmla="*/ 195400 h 2076207"/>
              <a:gd name="csX91" fmla="*/ 445346 w 748195"/>
              <a:gd name="csY91" fmla="*/ 197582 h 2076207"/>
              <a:gd name="csX92" fmla="*/ 464798 w 748195"/>
              <a:gd name="csY92" fmla="*/ 174107 h 2076207"/>
              <a:gd name="csX93" fmla="*/ 489970 w 748195"/>
              <a:gd name="csY93" fmla="*/ 152208 h 2076207"/>
              <a:gd name="csX94" fmla="*/ 140694 w 748195"/>
              <a:gd name="csY94" fmla="*/ 201837 h 2076207"/>
              <a:gd name="csX95" fmla="*/ 139834 w 748195"/>
              <a:gd name="csY95" fmla="*/ 201482 h 2076207"/>
              <a:gd name="csX96" fmla="*/ 140812 w 748195"/>
              <a:gd name="csY96" fmla="*/ 204941 h 2076207"/>
              <a:gd name="csX97" fmla="*/ 144631 w 748195"/>
              <a:gd name="csY97" fmla="*/ 217811 h 2076207"/>
              <a:gd name="csX98" fmla="*/ 201241 w 748195"/>
              <a:gd name="csY98" fmla="*/ 373387 h 2076207"/>
              <a:gd name="csX99" fmla="*/ 235971 w 748195"/>
              <a:gd name="csY99" fmla="*/ 504451 h 2076207"/>
              <a:gd name="csX100" fmla="*/ 247475 w 748195"/>
              <a:gd name="csY100" fmla="*/ 513241 h 2076207"/>
              <a:gd name="csX101" fmla="*/ 289066 w 748195"/>
              <a:gd name="csY101" fmla="*/ 511170 h 2076207"/>
              <a:gd name="csX102" fmla="*/ 378229 w 748195"/>
              <a:gd name="csY102" fmla="*/ 511084 h 2076207"/>
              <a:gd name="csX103" fmla="*/ 470850 w 748195"/>
              <a:gd name="csY103" fmla="*/ 516341 h 2076207"/>
              <a:gd name="csX104" fmla="*/ 492933 w 748195"/>
              <a:gd name="csY104" fmla="*/ 497969 h 2076207"/>
              <a:gd name="csX105" fmla="*/ 557617 w 748195"/>
              <a:gd name="csY105" fmla="*/ 280398 h 2076207"/>
              <a:gd name="csX106" fmla="*/ 588788 w 748195"/>
              <a:gd name="csY106" fmla="*/ 200385 h 2076207"/>
              <a:gd name="csX107" fmla="*/ 530958 w 748195"/>
              <a:gd name="csY107" fmla="*/ 232968 h 2076207"/>
              <a:gd name="csX108" fmla="*/ 483823 w 748195"/>
              <a:gd name="csY108" fmla="*/ 190364 h 2076207"/>
              <a:gd name="csX109" fmla="*/ 466649 w 748195"/>
              <a:gd name="csY109" fmla="*/ 209061 h 2076207"/>
              <a:gd name="csX110" fmla="*/ 399941 w 748195"/>
              <a:gd name="csY110" fmla="*/ 216988 h 2076207"/>
              <a:gd name="csX111" fmla="*/ 363018 w 748195"/>
              <a:gd name="csY111" fmla="*/ 179615 h 2076207"/>
              <a:gd name="csX112" fmla="*/ 308839 w 748195"/>
              <a:gd name="csY112" fmla="*/ 227846 h 2076207"/>
              <a:gd name="csX113" fmla="*/ 245077 w 748195"/>
              <a:gd name="csY113" fmla="*/ 192402 h 2076207"/>
              <a:gd name="csX114" fmla="*/ 242829 w 748195"/>
              <a:gd name="csY114" fmla="*/ 198815 h 2076207"/>
              <a:gd name="csX115" fmla="*/ 168452 w 748195"/>
              <a:gd name="csY115" fmla="*/ 219348 h 2076207"/>
              <a:gd name="csX116" fmla="*/ 140694 w 748195"/>
              <a:gd name="csY116" fmla="*/ 201837 h 2076207"/>
              <a:gd name="csX117" fmla="*/ 259999 w 748195"/>
              <a:gd name="csY117" fmla="*/ 966699 h 2076207"/>
              <a:gd name="csX118" fmla="*/ 257072 w 748195"/>
              <a:gd name="csY118" fmla="*/ 1070424 h 2076207"/>
              <a:gd name="csX119" fmla="*/ 251372 w 748195"/>
              <a:gd name="csY119" fmla="*/ 1157618 h 2076207"/>
              <a:gd name="csX120" fmla="*/ 232677 w 748195"/>
              <a:gd name="csY120" fmla="*/ 1320279 h 2076207"/>
              <a:gd name="csX121" fmla="*/ 209182 w 748195"/>
              <a:gd name="csY121" fmla="*/ 1468667 h 2076207"/>
              <a:gd name="csX122" fmla="*/ 175302 w 748195"/>
              <a:gd name="csY122" fmla="*/ 1616623 h 2076207"/>
              <a:gd name="csX123" fmla="*/ 182769 w 748195"/>
              <a:gd name="csY123" fmla="*/ 1629786 h 2076207"/>
              <a:gd name="csX124" fmla="*/ 212156 w 748195"/>
              <a:gd name="csY124" fmla="*/ 1632656 h 2076207"/>
              <a:gd name="csX125" fmla="*/ 351295 w 748195"/>
              <a:gd name="csY125" fmla="*/ 1632801 h 2076207"/>
              <a:gd name="csX126" fmla="*/ 376150 w 748195"/>
              <a:gd name="csY126" fmla="*/ 1608307 h 2076207"/>
              <a:gd name="csX127" fmla="*/ 373450 w 748195"/>
              <a:gd name="csY127" fmla="*/ 1457291 h 2076207"/>
              <a:gd name="csX128" fmla="*/ 370936 w 748195"/>
              <a:gd name="csY128" fmla="*/ 1342736 h 2076207"/>
              <a:gd name="csX129" fmla="*/ 368328 w 748195"/>
              <a:gd name="csY129" fmla="*/ 1203878 h 2076207"/>
              <a:gd name="csX130" fmla="*/ 367836 w 748195"/>
              <a:gd name="csY130" fmla="*/ 813478 h 2076207"/>
              <a:gd name="csX131" fmla="*/ 365240 w 748195"/>
              <a:gd name="csY131" fmla="*/ 773243 h 2076207"/>
              <a:gd name="csX132" fmla="*/ 353084 w 748195"/>
              <a:gd name="csY132" fmla="*/ 762083 h 2076207"/>
              <a:gd name="csX133" fmla="*/ 280966 w 748195"/>
              <a:gd name="csY133" fmla="*/ 759855 h 2076207"/>
              <a:gd name="csX134" fmla="*/ 259965 w 748195"/>
              <a:gd name="csY134" fmla="*/ 779553 h 2076207"/>
              <a:gd name="csX135" fmla="*/ 262341 w 748195"/>
              <a:gd name="csY135" fmla="*/ 856275 h 2076207"/>
              <a:gd name="csX136" fmla="*/ 259999 w 748195"/>
              <a:gd name="csY136" fmla="*/ 966699 h 2076207"/>
              <a:gd name="csX137" fmla="*/ 55556 w 748195"/>
              <a:gd name="csY137" fmla="*/ 1835827 h 2076207"/>
              <a:gd name="csX138" fmla="*/ 49393 w 748195"/>
              <a:gd name="csY138" fmla="*/ 1878155 h 2076207"/>
              <a:gd name="csX139" fmla="*/ 73949 w 748195"/>
              <a:gd name="csY139" fmla="*/ 1905781 h 2076207"/>
              <a:gd name="csX140" fmla="*/ 110073 w 748195"/>
              <a:gd name="csY140" fmla="*/ 1909068 h 2076207"/>
              <a:gd name="csX141" fmla="*/ 224745 w 748195"/>
              <a:gd name="csY141" fmla="*/ 1921652 h 2076207"/>
              <a:gd name="csX142" fmla="*/ 347327 w 748195"/>
              <a:gd name="csY142" fmla="*/ 1924778 h 2076207"/>
              <a:gd name="csX143" fmla="*/ 363345 w 748195"/>
              <a:gd name="csY143" fmla="*/ 1923293 h 2076207"/>
              <a:gd name="csX144" fmla="*/ 373787 w 748195"/>
              <a:gd name="csY144" fmla="*/ 1911200 h 2076207"/>
              <a:gd name="csX145" fmla="*/ 376623 w 748195"/>
              <a:gd name="csY145" fmla="*/ 1696741 h 2076207"/>
              <a:gd name="csX146" fmla="*/ 360437 w 748195"/>
              <a:gd name="csY146" fmla="*/ 1681289 h 2076207"/>
              <a:gd name="csX147" fmla="*/ 263503 w 748195"/>
              <a:gd name="csY147" fmla="*/ 1678179 h 2076207"/>
              <a:gd name="csX148" fmla="*/ 160381 w 748195"/>
              <a:gd name="csY148" fmla="*/ 1670405 h 2076207"/>
              <a:gd name="csX149" fmla="*/ 143321 w 748195"/>
              <a:gd name="csY149" fmla="*/ 1685538 h 2076207"/>
              <a:gd name="csX150" fmla="*/ 124769 w 748195"/>
              <a:gd name="csY150" fmla="*/ 1738195 h 2076207"/>
              <a:gd name="csX151" fmla="*/ 90593 w 748195"/>
              <a:gd name="csY151" fmla="*/ 1779570 h 2076207"/>
              <a:gd name="csX152" fmla="*/ 55556 w 748195"/>
              <a:gd name="csY152" fmla="*/ 1835827 h 2076207"/>
              <a:gd name="csX153" fmla="*/ 378900 w 748195"/>
              <a:gd name="csY153" fmla="*/ 2007280 h 2076207"/>
              <a:gd name="csX154" fmla="*/ 378887 w 748195"/>
              <a:gd name="csY154" fmla="*/ 1995127 h 2076207"/>
              <a:gd name="csX155" fmla="*/ 359084 w 748195"/>
              <a:gd name="csY155" fmla="*/ 1975964 h 2076207"/>
              <a:gd name="csX156" fmla="*/ 247288 w 748195"/>
              <a:gd name="csY156" fmla="*/ 1973305 h 2076207"/>
              <a:gd name="csX157" fmla="*/ 201692 w 748195"/>
              <a:gd name="csY157" fmla="*/ 1970275 h 2076207"/>
              <a:gd name="csX158" fmla="*/ 57962 w 748195"/>
              <a:gd name="csY158" fmla="*/ 1952648 h 2076207"/>
              <a:gd name="csX159" fmla="*/ 39194 w 748195"/>
              <a:gd name="csY159" fmla="*/ 1963552 h 2076207"/>
              <a:gd name="csX160" fmla="*/ 30066 w 748195"/>
              <a:gd name="csY160" fmla="*/ 2006631 h 2076207"/>
              <a:gd name="csX161" fmla="*/ 40232 w 748195"/>
              <a:gd name="csY161" fmla="*/ 2019486 h 2076207"/>
              <a:gd name="csX162" fmla="*/ 238186 w 748195"/>
              <a:gd name="csY162" fmla="*/ 2046096 h 2076207"/>
              <a:gd name="csX163" fmla="*/ 342155 w 748195"/>
              <a:gd name="csY163" fmla="*/ 2046441 h 2076207"/>
              <a:gd name="csX164" fmla="*/ 378900 w 748195"/>
              <a:gd name="csY164" fmla="*/ 2007280 h 2076207"/>
              <a:gd name="csX165" fmla="*/ 310220 w 748195"/>
              <a:gd name="csY165" fmla="*/ 554288 h 2076207"/>
              <a:gd name="csX166" fmla="*/ 259136 w 748195"/>
              <a:gd name="csY166" fmla="*/ 556881 h 2076207"/>
              <a:gd name="csX167" fmla="*/ 249085 w 748195"/>
              <a:gd name="csY167" fmla="*/ 567981 h 2076207"/>
              <a:gd name="csX168" fmla="*/ 249141 w 748195"/>
              <a:gd name="csY168" fmla="*/ 605644 h 2076207"/>
              <a:gd name="csX169" fmla="*/ 262628 w 748195"/>
              <a:gd name="csY169" fmla="*/ 605627 h 2076207"/>
              <a:gd name="csX170" fmla="*/ 369608 w 748195"/>
              <a:gd name="csY170" fmla="*/ 603027 h 2076207"/>
              <a:gd name="csX171" fmla="*/ 463931 w 748195"/>
              <a:gd name="csY171" fmla="*/ 605146 h 2076207"/>
              <a:gd name="csX172" fmla="*/ 478113 w 748195"/>
              <a:gd name="csY172" fmla="*/ 595843 h 2076207"/>
              <a:gd name="csX173" fmla="*/ 478796 w 748195"/>
              <a:gd name="csY173" fmla="*/ 556832 h 2076207"/>
              <a:gd name="csX174" fmla="*/ 310220 w 748195"/>
              <a:gd name="csY174" fmla="*/ 554288 h 2076207"/>
              <a:gd name="csX175" fmla="*/ 348836 w 748195"/>
              <a:gd name="csY175" fmla="*/ 684115 h 2076207"/>
              <a:gd name="csX176" fmla="*/ 281333 w 748195"/>
              <a:gd name="csY176" fmla="*/ 683313 h 2076207"/>
              <a:gd name="csX177" fmla="*/ 212728 w 748195"/>
              <a:gd name="csY177" fmla="*/ 681931 h 2076207"/>
              <a:gd name="csX178" fmla="*/ 187283 w 748195"/>
              <a:gd name="csY178" fmla="*/ 689555 h 2076207"/>
              <a:gd name="csX179" fmla="*/ 186163 w 748195"/>
              <a:gd name="csY179" fmla="*/ 718266 h 2076207"/>
              <a:gd name="csX180" fmla="*/ 209894 w 748195"/>
              <a:gd name="csY180" fmla="*/ 726798 h 2076207"/>
              <a:gd name="csX181" fmla="*/ 334814 w 748195"/>
              <a:gd name="csY181" fmla="*/ 732494 h 2076207"/>
              <a:gd name="csX182" fmla="*/ 364856 w 748195"/>
              <a:gd name="csY182" fmla="*/ 707963 h 2076207"/>
              <a:gd name="csX183" fmla="*/ 348836 w 748195"/>
              <a:gd name="csY183" fmla="*/ 684115 h 2076207"/>
              <a:gd name="csX184" fmla="*/ 298865 w 748195"/>
              <a:gd name="csY184" fmla="*/ 621954 h 2076207"/>
              <a:gd name="csX185" fmla="*/ 251619 w 748195"/>
              <a:gd name="csY185" fmla="*/ 622133 h 2076207"/>
              <a:gd name="csX186" fmla="*/ 214459 w 748195"/>
              <a:gd name="csY186" fmla="*/ 636230 h 2076207"/>
              <a:gd name="csX187" fmla="*/ 221436 w 748195"/>
              <a:gd name="csY187" fmla="*/ 654205 h 2076207"/>
              <a:gd name="csX188" fmla="*/ 272412 w 748195"/>
              <a:gd name="csY188" fmla="*/ 657250 h 2076207"/>
              <a:gd name="csX189" fmla="*/ 349094 w 748195"/>
              <a:gd name="csY189" fmla="*/ 659282 h 2076207"/>
              <a:gd name="csX190" fmla="*/ 362996 w 748195"/>
              <a:gd name="csY190" fmla="*/ 644234 h 2076207"/>
              <a:gd name="csX191" fmla="*/ 348472 w 748195"/>
              <a:gd name="csY191" fmla="*/ 624649 h 2076207"/>
              <a:gd name="csX192" fmla="*/ 298865 w 748195"/>
              <a:gd name="csY192" fmla="*/ 621954 h 2076207"/>
              <a:gd name="csX193" fmla="*/ 227796 w 748195"/>
              <a:gd name="csY193" fmla="*/ 528000 h 2076207"/>
              <a:gd name="csX194" fmla="*/ 241009 w 748195"/>
              <a:gd name="csY194" fmla="*/ 545897 h 2076207"/>
              <a:gd name="csX195" fmla="*/ 282607 w 748195"/>
              <a:gd name="csY195" fmla="*/ 543480 h 2076207"/>
              <a:gd name="csX196" fmla="*/ 354213 w 748195"/>
              <a:gd name="csY196" fmla="*/ 543384 h 2076207"/>
              <a:gd name="csX197" fmla="*/ 365334 w 748195"/>
              <a:gd name="csY197" fmla="*/ 533397 h 2076207"/>
              <a:gd name="csX198" fmla="*/ 354531 w 748195"/>
              <a:gd name="csY198" fmla="*/ 521620 h 2076207"/>
              <a:gd name="csX199" fmla="*/ 259169 w 748195"/>
              <a:gd name="csY199" fmla="*/ 521978 h 2076207"/>
              <a:gd name="csX200" fmla="*/ 227796 w 748195"/>
              <a:gd name="csY200" fmla="*/ 528000 h 2076207"/>
              <a:gd name="csX201" fmla="*/ 508068 w 748195"/>
              <a:gd name="csY201" fmla="*/ 190710 h 2076207"/>
              <a:gd name="csX202" fmla="*/ 521293 w 748195"/>
              <a:gd name="csY202" fmla="*/ 205907 h 2076207"/>
              <a:gd name="csX203" fmla="*/ 525175 w 748195"/>
              <a:gd name="csY203" fmla="*/ 202985 h 2076207"/>
              <a:gd name="csX204" fmla="*/ 500276 w 748195"/>
              <a:gd name="csY204" fmla="*/ 160640 h 2076207"/>
              <a:gd name="csX205" fmla="*/ 497122 w 748195"/>
              <a:gd name="csY205" fmla="*/ 162007 h 2076207"/>
              <a:gd name="csX206" fmla="*/ 508068 w 748195"/>
              <a:gd name="csY206" fmla="*/ 190710 h 2076207"/>
              <a:gd name="csX207" fmla="*/ 215522 w 748195"/>
              <a:gd name="csY207" fmla="*/ 197296 h 2076207"/>
              <a:gd name="csX208" fmla="*/ 234029 w 748195"/>
              <a:gd name="csY208" fmla="*/ 162725 h 2076207"/>
              <a:gd name="csX209" fmla="*/ 229000 w 748195"/>
              <a:gd name="csY209" fmla="*/ 159902 h 2076207"/>
              <a:gd name="csX210" fmla="*/ 204824 w 748195"/>
              <a:gd name="csY210" fmla="*/ 199677 h 2076207"/>
              <a:gd name="csX211" fmla="*/ 207990 w 748195"/>
              <a:gd name="csY211" fmla="*/ 202198 h 2076207"/>
              <a:gd name="csX212" fmla="*/ 215522 w 748195"/>
              <a:gd name="csY212" fmla="*/ 197296 h 2076207"/>
              <a:gd name="csX213" fmla="*/ 484400 w 748195"/>
              <a:gd name="csY213" fmla="*/ 896678 h 2076207"/>
              <a:gd name="csX214" fmla="*/ 486181 w 748195"/>
              <a:gd name="csY214" fmla="*/ 896585 h 2076207"/>
              <a:gd name="csX215" fmla="*/ 486181 w 748195"/>
              <a:gd name="csY215" fmla="*/ 795289 h 2076207"/>
              <a:gd name="csX216" fmla="*/ 720241 w 748195"/>
              <a:gd name="csY216" fmla="*/ 2030666 h 2076207"/>
              <a:gd name="csX217" fmla="*/ 721175 w 748195"/>
              <a:gd name="csY217" fmla="*/ 2029733 h 2076207"/>
              <a:gd name="csX218" fmla="*/ 720241 w 748195"/>
              <a:gd name="csY218" fmla="*/ 2030666 h 2076207"/>
              <a:gd name="csX219" fmla="*/ 715702 w 748195"/>
              <a:gd name="csY219" fmla="*/ 2037051 h 2076207"/>
              <a:gd name="csX220" fmla="*/ 715702 w 748195"/>
              <a:gd name="csY220" fmla="*/ 2037051 h 2076207"/>
              <a:gd name="csX0" fmla="*/ 96263 w 748195"/>
              <a:gd name="csY0" fmla="*/ 2076207 h 2076207"/>
              <a:gd name="csX1" fmla="*/ 63862 w 748195"/>
              <a:gd name="csY1" fmla="*/ 2065388 h 2076207"/>
              <a:gd name="csX2" fmla="*/ 16555 w 748195"/>
              <a:gd name="csY2" fmla="*/ 2050152 h 2076207"/>
              <a:gd name="csX3" fmla="*/ 15 w 748195"/>
              <a:gd name="csY3" fmla="*/ 2023802 h 2076207"/>
              <a:gd name="csX4" fmla="*/ 18368 w 748195"/>
              <a:gd name="csY4" fmla="*/ 1940709 h 2076207"/>
              <a:gd name="csX5" fmla="*/ 22139 w 748195"/>
              <a:gd name="csY5" fmla="*/ 1907268 h 2076207"/>
              <a:gd name="csX6" fmla="*/ 57941 w 748195"/>
              <a:gd name="csY6" fmla="*/ 1774163 h 2076207"/>
              <a:gd name="csX7" fmla="*/ 102478 w 748195"/>
              <a:gd name="csY7" fmla="*/ 1720275 h 2076207"/>
              <a:gd name="csX8" fmla="*/ 108579 w 748195"/>
              <a:gd name="csY8" fmla="*/ 1650967 h 2076207"/>
              <a:gd name="csX9" fmla="*/ 115628 w 748195"/>
              <a:gd name="csY9" fmla="*/ 1625405 h 2076207"/>
              <a:gd name="csX10" fmla="*/ 156323 w 748195"/>
              <a:gd name="csY10" fmla="*/ 1560181 h 2076207"/>
              <a:gd name="csX11" fmla="*/ 199424 w 748195"/>
              <a:gd name="csY11" fmla="*/ 1364729 h 2076207"/>
              <a:gd name="csX12" fmla="*/ 216779 w 748195"/>
              <a:gd name="csY12" fmla="*/ 1219490 h 2076207"/>
              <a:gd name="csX13" fmla="*/ 229755 w 748195"/>
              <a:gd name="csY13" fmla="*/ 1099357 h 2076207"/>
              <a:gd name="csX14" fmla="*/ 232707 w 748195"/>
              <a:gd name="csY14" fmla="*/ 1056423 h 2076207"/>
              <a:gd name="csX15" fmla="*/ 235622 w 748195"/>
              <a:gd name="csY15" fmla="*/ 952675 h 2076207"/>
              <a:gd name="csX16" fmla="*/ 235445 w 748195"/>
              <a:gd name="csY16" fmla="*/ 780278 h 2076207"/>
              <a:gd name="csX17" fmla="*/ 214544 w 748195"/>
              <a:gd name="csY17" fmla="*/ 756435 h 2076207"/>
              <a:gd name="csX18" fmla="*/ 172569 w 748195"/>
              <a:gd name="csY18" fmla="*/ 742582 h 2076207"/>
              <a:gd name="csX19" fmla="*/ 168784 w 748195"/>
              <a:gd name="csY19" fmla="*/ 669116 h 2076207"/>
              <a:gd name="csX20" fmla="*/ 191657 w 748195"/>
              <a:gd name="csY20" fmla="*/ 630765 h 2076207"/>
              <a:gd name="csX21" fmla="*/ 208150 w 748195"/>
              <a:gd name="csY21" fmla="*/ 609084 h 2076207"/>
              <a:gd name="csX22" fmla="*/ 216756 w 748195"/>
              <a:gd name="csY22" fmla="*/ 558673 h 2076207"/>
              <a:gd name="csX23" fmla="*/ 209092 w 748195"/>
              <a:gd name="csY23" fmla="*/ 521540 h 2076207"/>
              <a:gd name="csX24" fmla="*/ 204683 w 748195"/>
              <a:gd name="csY24" fmla="*/ 474024 h 2076207"/>
              <a:gd name="csX25" fmla="*/ 115483 w 748195"/>
              <a:gd name="csY25" fmla="*/ 213499 h 2076207"/>
              <a:gd name="csX26" fmla="*/ 102909 w 748195"/>
              <a:gd name="csY26" fmla="*/ 182297 h 2076207"/>
              <a:gd name="csX27" fmla="*/ 104315 w 748195"/>
              <a:gd name="csY27" fmla="*/ 163968 h 2076207"/>
              <a:gd name="csX28" fmla="*/ 122444 w 748195"/>
              <a:gd name="csY28" fmla="*/ 160805 h 2076207"/>
              <a:gd name="csX29" fmla="*/ 170283 w 748195"/>
              <a:gd name="csY29" fmla="*/ 187783 h 2076207"/>
              <a:gd name="csX30" fmla="*/ 180938 w 748195"/>
              <a:gd name="csY30" fmla="*/ 195322 h 2076207"/>
              <a:gd name="csX31" fmla="*/ 221419 w 748195"/>
              <a:gd name="csY31" fmla="*/ 138058 h 2076207"/>
              <a:gd name="csX32" fmla="*/ 294099 w 748195"/>
              <a:gd name="csY32" fmla="*/ 91372 h 2076207"/>
              <a:gd name="csX33" fmla="*/ 302307 w 748195"/>
              <a:gd name="csY33" fmla="*/ 76560 h 2076207"/>
              <a:gd name="csX34" fmla="*/ 320284 w 748195"/>
              <a:gd name="csY34" fmla="*/ 8414 h 2076207"/>
              <a:gd name="csX35" fmla="*/ 324784 w 748195"/>
              <a:gd name="csY35" fmla="*/ 946 h 2076207"/>
              <a:gd name="csX36" fmla="*/ 399212 w 748195"/>
              <a:gd name="csY36" fmla="*/ 0 h 2076207"/>
              <a:gd name="csX37" fmla="*/ 425980 w 748195"/>
              <a:gd name="csY37" fmla="*/ 78301 h 2076207"/>
              <a:gd name="csX38" fmla="*/ 431861 w 748195"/>
              <a:gd name="csY38" fmla="*/ 90312 h 2076207"/>
              <a:gd name="csX39" fmla="*/ 540349 w 748195"/>
              <a:gd name="csY39" fmla="*/ 187946 h 2076207"/>
              <a:gd name="csX40" fmla="*/ 545555 w 748195"/>
              <a:gd name="csY40" fmla="*/ 197828 h 2076207"/>
              <a:gd name="csX41" fmla="*/ 587318 w 748195"/>
              <a:gd name="csY41" fmla="*/ 171260 h 2076207"/>
              <a:gd name="csX42" fmla="*/ 601503 w 748195"/>
              <a:gd name="csY42" fmla="*/ 163707 h 2076207"/>
              <a:gd name="csX43" fmla="*/ 625254 w 748195"/>
              <a:gd name="csY43" fmla="*/ 163123 h 2076207"/>
              <a:gd name="csX44" fmla="*/ 625468 w 748195"/>
              <a:gd name="csY44" fmla="*/ 187579 h 2076207"/>
              <a:gd name="csX45" fmla="*/ 597543 w 748195"/>
              <a:gd name="csY45" fmla="*/ 251872 h 2076207"/>
              <a:gd name="csX46" fmla="*/ 531831 w 748195"/>
              <a:gd name="csY46" fmla="*/ 442689 h 2076207"/>
              <a:gd name="csX47" fmla="*/ 519888 w 748195"/>
              <a:gd name="csY47" fmla="*/ 501474 h 2076207"/>
              <a:gd name="csX48" fmla="*/ 522506 w 748195"/>
              <a:gd name="csY48" fmla="*/ 525086 h 2076207"/>
              <a:gd name="csX49" fmla="*/ 516235 w 748195"/>
              <a:gd name="csY49" fmla="*/ 555946 h 2076207"/>
              <a:gd name="csX50" fmla="*/ 521332 w 748195"/>
              <a:gd name="csY50" fmla="*/ 610676 h 2076207"/>
              <a:gd name="csX51" fmla="*/ 541382 w 748195"/>
              <a:gd name="csY51" fmla="*/ 642597 h 2076207"/>
              <a:gd name="csX52" fmla="*/ 557031 w 748195"/>
              <a:gd name="csY52" fmla="*/ 667949 h 2076207"/>
              <a:gd name="csX53" fmla="*/ 553994 w 748195"/>
              <a:gd name="csY53" fmla="*/ 744146 h 2076207"/>
              <a:gd name="csX54" fmla="*/ 508215 w 748195"/>
              <a:gd name="csY54" fmla="*/ 758841 h 2076207"/>
              <a:gd name="csX55" fmla="*/ 497442 w 748195"/>
              <a:gd name="csY55" fmla="*/ 771256 h 2076207"/>
              <a:gd name="csX56" fmla="*/ 493005 w 748195"/>
              <a:gd name="csY56" fmla="*/ 922055 h 2076207"/>
              <a:gd name="csX57" fmla="*/ 502900 w 748195"/>
              <a:gd name="csY57" fmla="*/ 1114191 h 2076207"/>
              <a:gd name="csX58" fmla="*/ 508800 w 748195"/>
              <a:gd name="csY58" fmla="*/ 1205474 h 2076207"/>
              <a:gd name="csX59" fmla="*/ 522952 w 748195"/>
              <a:gd name="csY59" fmla="*/ 1320065 h 2076207"/>
              <a:gd name="csX60" fmla="*/ 554682 w 748195"/>
              <a:gd name="csY60" fmla="*/ 1501203 h 2076207"/>
              <a:gd name="csX61" fmla="*/ 576958 w 748195"/>
              <a:gd name="csY61" fmla="*/ 1593963 h 2076207"/>
              <a:gd name="csX62" fmla="*/ 595349 w 748195"/>
              <a:gd name="csY62" fmla="*/ 1613498 h 2076207"/>
              <a:gd name="csX63" fmla="*/ 613936 w 748195"/>
              <a:gd name="csY63" fmla="*/ 1624058 h 2076207"/>
              <a:gd name="csX64" fmla="*/ 620938 w 748195"/>
              <a:gd name="csY64" fmla="*/ 1652071 h 2076207"/>
              <a:gd name="csX65" fmla="*/ 630805 w 748195"/>
              <a:gd name="csY65" fmla="*/ 1721702 h 2076207"/>
              <a:gd name="csX66" fmla="*/ 685830 w 748195"/>
              <a:gd name="csY66" fmla="*/ 1792915 h 2076207"/>
              <a:gd name="csX67" fmla="*/ 708904 w 748195"/>
              <a:gd name="csY67" fmla="*/ 1890290 h 2076207"/>
              <a:gd name="csX68" fmla="*/ 716580 w 748195"/>
              <a:gd name="csY68" fmla="*/ 1951136 h 2076207"/>
              <a:gd name="csX69" fmla="*/ 729397 w 748195"/>
              <a:gd name="csY69" fmla="*/ 2030261 h 2076207"/>
              <a:gd name="csX70" fmla="*/ 714212 w 748195"/>
              <a:gd name="csY70" fmla="*/ 2049544 h 2076207"/>
              <a:gd name="csX71" fmla="*/ 706629 w 748195"/>
              <a:gd name="csY71" fmla="*/ 2044290 h 2076207"/>
              <a:gd name="csX72" fmla="*/ 702674 w 748195"/>
              <a:gd name="csY72" fmla="*/ 2041581 h 2076207"/>
              <a:gd name="csX73" fmla="*/ 96263 w 748195"/>
              <a:gd name="csY73" fmla="*/ 2076207 h 2076207"/>
              <a:gd name="csX74" fmla="*/ 489970 w 748195"/>
              <a:gd name="csY74" fmla="*/ 152208 h 2076207"/>
              <a:gd name="csX75" fmla="*/ 490754 w 748195"/>
              <a:gd name="csY75" fmla="*/ 152592 h 2076207"/>
              <a:gd name="csX76" fmla="*/ 489489 w 748195"/>
              <a:gd name="csY76" fmla="*/ 149547 h 2076207"/>
              <a:gd name="csX77" fmla="*/ 393621 w 748195"/>
              <a:gd name="csY77" fmla="*/ 99259 h 2076207"/>
              <a:gd name="csX78" fmla="*/ 390419 w 748195"/>
              <a:gd name="csY78" fmla="*/ 18568 h 2076207"/>
              <a:gd name="csX79" fmla="*/ 334131 w 748195"/>
              <a:gd name="csY79" fmla="*/ 24327 h 2076207"/>
              <a:gd name="csX80" fmla="*/ 344678 w 748195"/>
              <a:gd name="csY80" fmla="*/ 101259 h 2076207"/>
              <a:gd name="csX81" fmla="*/ 298854 w 748195"/>
              <a:gd name="csY81" fmla="*/ 114003 h 2076207"/>
              <a:gd name="csX82" fmla="*/ 237456 w 748195"/>
              <a:gd name="csY82" fmla="*/ 154340 h 2076207"/>
              <a:gd name="csX83" fmla="*/ 240382 w 748195"/>
              <a:gd name="csY83" fmla="*/ 154035 h 2076207"/>
              <a:gd name="csX84" fmla="*/ 262731 w 748195"/>
              <a:gd name="csY84" fmla="*/ 170426 h 2076207"/>
              <a:gd name="csX85" fmla="*/ 279169 w 748195"/>
              <a:gd name="csY85" fmla="*/ 193173 h 2076207"/>
              <a:gd name="csX86" fmla="*/ 327717 w 748195"/>
              <a:gd name="csY86" fmla="*/ 188556 h 2076207"/>
              <a:gd name="csX87" fmla="*/ 348052 w 748195"/>
              <a:gd name="csY87" fmla="*/ 156919 h 2076207"/>
              <a:gd name="csX88" fmla="*/ 380330 w 748195"/>
              <a:gd name="csY88" fmla="*/ 156483 h 2076207"/>
              <a:gd name="csX89" fmla="*/ 408490 w 748195"/>
              <a:gd name="csY89" fmla="*/ 195400 h 2076207"/>
              <a:gd name="csX90" fmla="*/ 445346 w 748195"/>
              <a:gd name="csY90" fmla="*/ 197582 h 2076207"/>
              <a:gd name="csX91" fmla="*/ 464798 w 748195"/>
              <a:gd name="csY91" fmla="*/ 174107 h 2076207"/>
              <a:gd name="csX92" fmla="*/ 489970 w 748195"/>
              <a:gd name="csY92" fmla="*/ 152208 h 2076207"/>
              <a:gd name="csX93" fmla="*/ 140694 w 748195"/>
              <a:gd name="csY93" fmla="*/ 201837 h 2076207"/>
              <a:gd name="csX94" fmla="*/ 139834 w 748195"/>
              <a:gd name="csY94" fmla="*/ 201482 h 2076207"/>
              <a:gd name="csX95" fmla="*/ 140812 w 748195"/>
              <a:gd name="csY95" fmla="*/ 204941 h 2076207"/>
              <a:gd name="csX96" fmla="*/ 144631 w 748195"/>
              <a:gd name="csY96" fmla="*/ 217811 h 2076207"/>
              <a:gd name="csX97" fmla="*/ 201241 w 748195"/>
              <a:gd name="csY97" fmla="*/ 373387 h 2076207"/>
              <a:gd name="csX98" fmla="*/ 235971 w 748195"/>
              <a:gd name="csY98" fmla="*/ 504451 h 2076207"/>
              <a:gd name="csX99" fmla="*/ 247475 w 748195"/>
              <a:gd name="csY99" fmla="*/ 513241 h 2076207"/>
              <a:gd name="csX100" fmla="*/ 289066 w 748195"/>
              <a:gd name="csY100" fmla="*/ 511170 h 2076207"/>
              <a:gd name="csX101" fmla="*/ 378229 w 748195"/>
              <a:gd name="csY101" fmla="*/ 511084 h 2076207"/>
              <a:gd name="csX102" fmla="*/ 470850 w 748195"/>
              <a:gd name="csY102" fmla="*/ 516341 h 2076207"/>
              <a:gd name="csX103" fmla="*/ 492933 w 748195"/>
              <a:gd name="csY103" fmla="*/ 497969 h 2076207"/>
              <a:gd name="csX104" fmla="*/ 557617 w 748195"/>
              <a:gd name="csY104" fmla="*/ 280398 h 2076207"/>
              <a:gd name="csX105" fmla="*/ 588788 w 748195"/>
              <a:gd name="csY105" fmla="*/ 200385 h 2076207"/>
              <a:gd name="csX106" fmla="*/ 530958 w 748195"/>
              <a:gd name="csY106" fmla="*/ 232968 h 2076207"/>
              <a:gd name="csX107" fmla="*/ 483823 w 748195"/>
              <a:gd name="csY107" fmla="*/ 190364 h 2076207"/>
              <a:gd name="csX108" fmla="*/ 466649 w 748195"/>
              <a:gd name="csY108" fmla="*/ 209061 h 2076207"/>
              <a:gd name="csX109" fmla="*/ 399941 w 748195"/>
              <a:gd name="csY109" fmla="*/ 216988 h 2076207"/>
              <a:gd name="csX110" fmla="*/ 363018 w 748195"/>
              <a:gd name="csY110" fmla="*/ 179615 h 2076207"/>
              <a:gd name="csX111" fmla="*/ 308839 w 748195"/>
              <a:gd name="csY111" fmla="*/ 227846 h 2076207"/>
              <a:gd name="csX112" fmla="*/ 245077 w 748195"/>
              <a:gd name="csY112" fmla="*/ 192402 h 2076207"/>
              <a:gd name="csX113" fmla="*/ 242829 w 748195"/>
              <a:gd name="csY113" fmla="*/ 198815 h 2076207"/>
              <a:gd name="csX114" fmla="*/ 168452 w 748195"/>
              <a:gd name="csY114" fmla="*/ 219348 h 2076207"/>
              <a:gd name="csX115" fmla="*/ 140694 w 748195"/>
              <a:gd name="csY115" fmla="*/ 201837 h 2076207"/>
              <a:gd name="csX116" fmla="*/ 259999 w 748195"/>
              <a:gd name="csY116" fmla="*/ 966699 h 2076207"/>
              <a:gd name="csX117" fmla="*/ 257072 w 748195"/>
              <a:gd name="csY117" fmla="*/ 1070424 h 2076207"/>
              <a:gd name="csX118" fmla="*/ 251372 w 748195"/>
              <a:gd name="csY118" fmla="*/ 1157618 h 2076207"/>
              <a:gd name="csX119" fmla="*/ 232677 w 748195"/>
              <a:gd name="csY119" fmla="*/ 1320279 h 2076207"/>
              <a:gd name="csX120" fmla="*/ 209182 w 748195"/>
              <a:gd name="csY120" fmla="*/ 1468667 h 2076207"/>
              <a:gd name="csX121" fmla="*/ 175302 w 748195"/>
              <a:gd name="csY121" fmla="*/ 1616623 h 2076207"/>
              <a:gd name="csX122" fmla="*/ 182769 w 748195"/>
              <a:gd name="csY122" fmla="*/ 1629786 h 2076207"/>
              <a:gd name="csX123" fmla="*/ 212156 w 748195"/>
              <a:gd name="csY123" fmla="*/ 1632656 h 2076207"/>
              <a:gd name="csX124" fmla="*/ 351295 w 748195"/>
              <a:gd name="csY124" fmla="*/ 1632801 h 2076207"/>
              <a:gd name="csX125" fmla="*/ 376150 w 748195"/>
              <a:gd name="csY125" fmla="*/ 1608307 h 2076207"/>
              <a:gd name="csX126" fmla="*/ 373450 w 748195"/>
              <a:gd name="csY126" fmla="*/ 1457291 h 2076207"/>
              <a:gd name="csX127" fmla="*/ 370936 w 748195"/>
              <a:gd name="csY127" fmla="*/ 1342736 h 2076207"/>
              <a:gd name="csX128" fmla="*/ 368328 w 748195"/>
              <a:gd name="csY128" fmla="*/ 1203878 h 2076207"/>
              <a:gd name="csX129" fmla="*/ 367836 w 748195"/>
              <a:gd name="csY129" fmla="*/ 813478 h 2076207"/>
              <a:gd name="csX130" fmla="*/ 365240 w 748195"/>
              <a:gd name="csY130" fmla="*/ 773243 h 2076207"/>
              <a:gd name="csX131" fmla="*/ 353084 w 748195"/>
              <a:gd name="csY131" fmla="*/ 762083 h 2076207"/>
              <a:gd name="csX132" fmla="*/ 280966 w 748195"/>
              <a:gd name="csY132" fmla="*/ 759855 h 2076207"/>
              <a:gd name="csX133" fmla="*/ 259965 w 748195"/>
              <a:gd name="csY133" fmla="*/ 779553 h 2076207"/>
              <a:gd name="csX134" fmla="*/ 262341 w 748195"/>
              <a:gd name="csY134" fmla="*/ 856275 h 2076207"/>
              <a:gd name="csX135" fmla="*/ 259999 w 748195"/>
              <a:gd name="csY135" fmla="*/ 966699 h 2076207"/>
              <a:gd name="csX136" fmla="*/ 55556 w 748195"/>
              <a:gd name="csY136" fmla="*/ 1835827 h 2076207"/>
              <a:gd name="csX137" fmla="*/ 49393 w 748195"/>
              <a:gd name="csY137" fmla="*/ 1878155 h 2076207"/>
              <a:gd name="csX138" fmla="*/ 73949 w 748195"/>
              <a:gd name="csY138" fmla="*/ 1905781 h 2076207"/>
              <a:gd name="csX139" fmla="*/ 110073 w 748195"/>
              <a:gd name="csY139" fmla="*/ 1909068 h 2076207"/>
              <a:gd name="csX140" fmla="*/ 224745 w 748195"/>
              <a:gd name="csY140" fmla="*/ 1921652 h 2076207"/>
              <a:gd name="csX141" fmla="*/ 347327 w 748195"/>
              <a:gd name="csY141" fmla="*/ 1924778 h 2076207"/>
              <a:gd name="csX142" fmla="*/ 363345 w 748195"/>
              <a:gd name="csY142" fmla="*/ 1923293 h 2076207"/>
              <a:gd name="csX143" fmla="*/ 373787 w 748195"/>
              <a:gd name="csY143" fmla="*/ 1911200 h 2076207"/>
              <a:gd name="csX144" fmla="*/ 376623 w 748195"/>
              <a:gd name="csY144" fmla="*/ 1696741 h 2076207"/>
              <a:gd name="csX145" fmla="*/ 360437 w 748195"/>
              <a:gd name="csY145" fmla="*/ 1681289 h 2076207"/>
              <a:gd name="csX146" fmla="*/ 263503 w 748195"/>
              <a:gd name="csY146" fmla="*/ 1678179 h 2076207"/>
              <a:gd name="csX147" fmla="*/ 160381 w 748195"/>
              <a:gd name="csY147" fmla="*/ 1670405 h 2076207"/>
              <a:gd name="csX148" fmla="*/ 143321 w 748195"/>
              <a:gd name="csY148" fmla="*/ 1685538 h 2076207"/>
              <a:gd name="csX149" fmla="*/ 124769 w 748195"/>
              <a:gd name="csY149" fmla="*/ 1738195 h 2076207"/>
              <a:gd name="csX150" fmla="*/ 90593 w 748195"/>
              <a:gd name="csY150" fmla="*/ 1779570 h 2076207"/>
              <a:gd name="csX151" fmla="*/ 55556 w 748195"/>
              <a:gd name="csY151" fmla="*/ 1835827 h 2076207"/>
              <a:gd name="csX152" fmla="*/ 378900 w 748195"/>
              <a:gd name="csY152" fmla="*/ 2007280 h 2076207"/>
              <a:gd name="csX153" fmla="*/ 378887 w 748195"/>
              <a:gd name="csY153" fmla="*/ 1995127 h 2076207"/>
              <a:gd name="csX154" fmla="*/ 359084 w 748195"/>
              <a:gd name="csY154" fmla="*/ 1975964 h 2076207"/>
              <a:gd name="csX155" fmla="*/ 247288 w 748195"/>
              <a:gd name="csY155" fmla="*/ 1973305 h 2076207"/>
              <a:gd name="csX156" fmla="*/ 201692 w 748195"/>
              <a:gd name="csY156" fmla="*/ 1970275 h 2076207"/>
              <a:gd name="csX157" fmla="*/ 57962 w 748195"/>
              <a:gd name="csY157" fmla="*/ 1952648 h 2076207"/>
              <a:gd name="csX158" fmla="*/ 39194 w 748195"/>
              <a:gd name="csY158" fmla="*/ 1963552 h 2076207"/>
              <a:gd name="csX159" fmla="*/ 30066 w 748195"/>
              <a:gd name="csY159" fmla="*/ 2006631 h 2076207"/>
              <a:gd name="csX160" fmla="*/ 40232 w 748195"/>
              <a:gd name="csY160" fmla="*/ 2019486 h 2076207"/>
              <a:gd name="csX161" fmla="*/ 238186 w 748195"/>
              <a:gd name="csY161" fmla="*/ 2046096 h 2076207"/>
              <a:gd name="csX162" fmla="*/ 342155 w 748195"/>
              <a:gd name="csY162" fmla="*/ 2046441 h 2076207"/>
              <a:gd name="csX163" fmla="*/ 378900 w 748195"/>
              <a:gd name="csY163" fmla="*/ 2007280 h 2076207"/>
              <a:gd name="csX164" fmla="*/ 310220 w 748195"/>
              <a:gd name="csY164" fmla="*/ 554288 h 2076207"/>
              <a:gd name="csX165" fmla="*/ 259136 w 748195"/>
              <a:gd name="csY165" fmla="*/ 556881 h 2076207"/>
              <a:gd name="csX166" fmla="*/ 249085 w 748195"/>
              <a:gd name="csY166" fmla="*/ 567981 h 2076207"/>
              <a:gd name="csX167" fmla="*/ 249141 w 748195"/>
              <a:gd name="csY167" fmla="*/ 605644 h 2076207"/>
              <a:gd name="csX168" fmla="*/ 262628 w 748195"/>
              <a:gd name="csY168" fmla="*/ 605627 h 2076207"/>
              <a:gd name="csX169" fmla="*/ 369608 w 748195"/>
              <a:gd name="csY169" fmla="*/ 603027 h 2076207"/>
              <a:gd name="csX170" fmla="*/ 463931 w 748195"/>
              <a:gd name="csY170" fmla="*/ 605146 h 2076207"/>
              <a:gd name="csX171" fmla="*/ 478113 w 748195"/>
              <a:gd name="csY171" fmla="*/ 595843 h 2076207"/>
              <a:gd name="csX172" fmla="*/ 478796 w 748195"/>
              <a:gd name="csY172" fmla="*/ 556832 h 2076207"/>
              <a:gd name="csX173" fmla="*/ 310220 w 748195"/>
              <a:gd name="csY173" fmla="*/ 554288 h 2076207"/>
              <a:gd name="csX174" fmla="*/ 348836 w 748195"/>
              <a:gd name="csY174" fmla="*/ 684115 h 2076207"/>
              <a:gd name="csX175" fmla="*/ 281333 w 748195"/>
              <a:gd name="csY175" fmla="*/ 683313 h 2076207"/>
              <a:gd name="csX176" fmla="*/ 212728 w 748195"/>
              <a:gd name="csY176" fmla="*/ 681931 h 2076207"/>
              <a:gd name="csX177" fmla="*/ 187283 w 748195"/>
              <a:gd name="csY177" fmla="*/ 689555 h 2076207"/>
              <a:gd name="csX178" fmla="*/ 186163 w 748195"/>
              <a:gd name="csY178" fmla="*/ 718266 h 2076207"/>
              <a:gd name="csX179" fmla="*/ 209894 w 748195"/>
              <a:gd name="csY179" fmla="*/ 726798 h 2076207"/>
              <a:gd name="csX180" fmla="*/ 334814 w 748195"/>
              <a:gd name="csY180" fmla="*/ 732494 h 2076207"/>
              <a:gd name="csX181" fmla="*/ 364856 w 748195"/>
              <a:gd name="csY181" fmla="*/ 707963 h 2076207"/>
              <a:gd name="csX182" fmla="*/ 348836 w 748195"/>
              <a:gd name="csY182" fmla="*/ 684115 h 2076207"/>
              <a:gd name="csX183" fmla="*/ 298865 w 748195"/>
              <a:gd name="csY183" fmla="*/ 621954 h 2076207"/>
              <a:gd name="csX184" fmla="*/ 251619 w 748195"/>
              <a:gd name="csY184" fmla="*/ 622133 h 2076207"/>
              <a:gd name="csX185" fmla="*/ 214459 w 748195"/>
              <a:gd name="csY185" fmla="*/ 636230 h 2076207"/>
              <a:gd name="csX186" fmla="*/ 221436 w 748195"/>
              <a:gd name="csY186" fmla="*/ 654205 h 2076207"/>
              <a:gd name="csX187" fmla="*/ 272412 w 748195"/>
              <a:gd name="csY187" fmla="*/ 657250 h 2076207"/>
              <a:gd name="csX188" fmla="*/ 349094 w 748195"/>
              <a:gd name="csY188" fmla="*/ 659282 h 2076207"/>
              <a:gd name="csX189" fmla="*/ 362996 w 748195"/>
              <a:gd name="csY189" fmla="*/ 644234 h 2076207"/>
              <a:gd name="csX190" fmla="*/ 348472 w 748195"/>
              <a:gd name="csY190" fmla="*/ 624649 h 2076207"/>
              <a:gd name="csX191" fmla="*/ 298865 w 748195"/>
              <a:gd name="csY191" fmla="*/ 621954 h 2076207"/>
              <a:gd name="csX192" fmla="*/ 227796 w 748195"/>
              <a:gd name="csY192" fmla="*/ 528000 h 2076207"/>
              <a:gd name="csX193" fmla="*/ 241009 w 748195"/>
              <a:gd name="csY193" fmla="*/ 545897 h 2076207"/>
              <a:gd name="csX194" fmla="*/ 282607 w 748195"/>
              <a:gd name="csY194" fmla="*/ 543480 h 2076207"/>
              <a:gd name="csX195" fmla="*/ 354213 w 748195"/>
              <a:gd name="csY195" fmla="*/ 543384 h 2076207"/>
              <a:gd name="csX196" fmla="*/ 365334 w 748195"/>
              <a:gd name="csY196" fmla="*/ 533397 h 2076207"/>
              <a:gd name="csX197" fmla="*/ 354531 w 748195"/>
              <a:gd name="csY197" fmla="*/ 521620 h 2076207"/>
              <a:gd name="csX198" fmla="*/ 259169 w 748195"/>
              <a:gd name="csY198" fmla="*/ 521978 h 2076207"/>
              <a:gd name="csX199" fmla="*/ 227796 w 748195"/>
              <a:gd name="csY199" fmla="*/ 528000 h 2076207"/>
              <a:gd name="csX200" fmla="*/ 508068 w 748195"/>
              <a:gd name="csY200" fmla="*/ 190710 h 2076207"/>
              <a:gd name="csX201" fmla="*/ 521293 w 748195"/>
              <a:gd name="csY201" fmla="*/ 205907 h 2076207"/>
              <a:gd name="csX202" fmla="*/ 525175 w 748195"/>
              <a:gd name="csY202" fmla="*/ 202985 h 2076207"/>
              <a:gd name="csX203" fmla="*/ 500276 w 748195"/>
              <a:gd name="csY203" fmla="*/ 160640 h 2076207"/>
              <a:gd name="csX204" fmla="*/ 497122 w 748195"/>
              <a:gd name="csY204" fmla="*/ 162007 h 2076207"/>
              <a:gd name="csX205" fmla="*/ 508068 w 748195"/>
              <a:gd name="csY205" fmla="*/ 190710 h 2076207"/>
              <a:gd name="csX206" fmla="*/ 215522 w 748195"/>
              <a:gd name="csY206" fmla="*/ 197296 h 2076207"/>
              <a:gd name="csX207" fmla="*/ 234029 w 748195"/>
              <a:gd name="csY207" fmla="*/ 162725 h 2076207"/>
              <a:gd name="csX208" fmla="*/ 229000 w 748195"/>
              <a:gd name="csY208" fmla="*/ 159902 h 2076207"/>
              <a:gd name="csX209" fmla="*/ 204824 w 748195"/>
              <a:gd name="csY209" fmla="*/ 199677 h 2076207"/>
              <a:gd name="csX210" fmla="*/ 207990 w 748195"/>
              <a:gd name="csY210" fmla="*/ 202198 h 2076207"/>
              <a:gd name="csX211" fmla="*/ 215522 w 748195"/>
              <a:gd name="csY211" fmla="*/ 197296 h 2076207"/>
              <a:gd name="csX212" fmla="*/ 484400 w 748195"/>
              <a:gd name="csY212" fmla="*/ 896678 h 2076207"/>
              <a:gd name="csX213" fmla="*/ 486181 w 748195"/>
              <a:gd name="csY213" fmla="*/ 896585 h 2076207"/>
              <a:gd name="csX214" fmla="*/ 486181 w 748195"/>
              <a:gd name="csY214" fmla="*/ 795289 h 2076207"/>
              <a:gd name="csX215" fmla="*/ 720241 w 748195"/>
              <a:gd name="csY215" fmla="*/ 2030666 h 2076207"/>
              <a:gd name="csX216" fmla="*/ 721175 w 748195"/>
              <a:gd name="csY216" fmla="*/ 2029733 h 2076207"/>
              <a:gd name="csX217" fmla="*/ 720241 w 748195"/>
              <a:gd name="csY217" fmla="*/ 2030666 h 2076207"/>
              <a:gd name="csX218" fmla="*/ 715702 w 748195"/>
              <a:gd name="csY218" fmla="*/ 2037051 h 2076207"/>
              <a:gd name="csX219" fmla="*/ 715702 w 748195"/>
              <a:gd name="csY219" fmla="*/ 2037051 h 2076207"/>
              <a:gd name="csX0" fmla="*/ 96263 w 729414"/>
              <a:gd name="csY0" fmla="*/ 2076207 h 2076207"/>
              <a:gd name="csX1" fmla="*/ 63862 w 729414"/>
              <a:gd name="csY1" fmla="*/ 2065388 h 2076207"/>
              <a:gd name="csX2" fmla="*/ 16555 w 729414"/>
              <a:gd name="csY2" fmla="*/ 2050152 h 2076207"/>
              <a:gd name="csX3" fmla="*/ 15 w 729414"/>
              <a:gd name="csY3" fmla="*/ 2023802 h 2076207"/>
              <a:gd name="csX4" fmla="*/ 18368 w 729414"/>
              <a:gd name="csY4" fmla="*/ 1940709 h 2076207"/>
              <a:gd name="csX5" fmla="*/ 22139 w 729414"/>
              <a:gd name="csY5" fmla="*/ 1907268 h 2076207"/>
              <a:gd name="csX6" fmla="*/ 57941 w 729414"/>
              <a:gd name="csY6" fmla="*/ 1774163 h 2076207"/>
              <a:gd name="csX7" fmla="*/ 102478 w 729414"/>
              <a:gd name="csY7" fmla="*/ 1720275 h 2076207"/>
              <a:gd name="csX8" fmla="*/ 108579 w 729414"/>
              <a:gd name="csY8" fmla="*/ 1650967 h 2076207"/>
              <a:gd name="csX9" fmla="*/ 115628 w 729414"/>
              <a:gd name="csY9" fmla="*/ 1625405 h 2076207"/>
              <a:gd name="csX10" fmla="*/ 156323 w 729414"/>
              <a:gd name="csY10" fmla="*/ 1560181 h 2076207"/>
              <a:gd name="csX11" fmla="*/ 199424 w 729414"/>
              <a:gd name="csY11" fmla="*/ 1364729 h 2076207"/>
              <a:gd name="csX12" fmla="*/ 216779 w 729414"/>
              <a:gd name="csY12" fmla="*/ 1219490 h 2076207"/>
              <a:gd name="csX13" fmla="*/ 229755 w 729414"/>
              <a:gd name="csY13" fmla="*/ 1099357 h 2076207"/>
              <a:gd name="csX14" fmla="*/ 232707 w 729414"/>
              <a:gd name="csY14" fmla="*/ 1056423 h 2076207"/>
              <a:gd name="csX15" fmla="*/ 235622 w 729414"/>
              <a:gd name="csY15" fmla="*/ 952675 h 2076207"/>
              <a:gd name="csX16" fmla="*/ 235445 w 729414"/>
              <a:gd name="csY16" fmla="*/ 780278 h 2076207"/>
              <a:gd name="csX17" fmla="*/ 214544 w 729414"/>
              <a:gd name="csY17" fmla="*/ 756435 h 2076207"/>
              <a:gd name="csX18" fmla="*/ 172569 w 729414"/>
              <a:gd name="csY18" fmla="*/ 742582 h 2076207"/>
              <a:gd name="csX19" fmla="*/ 168784 w 729414"/>
              <a:gd name="csY19" fmla="*/ 669116 h 2076207"/>
              <a:gd name="csX20" fmla="*/ 191657 w 729414"/>
              <a:gd name="csY20" fmla="*/ 630765 h 2076207"/>
              <a:gd name="csX21" fmla="*/ 208150 w 729414"/>
              <a:gd name="csY21" fmla="*/ 609084 h 2076207"/>
              <a:gd name="csX22" fmla="*/ 216756 w 729414"/>
              <a:gd name="csY22" fmla="*/ 558673 h 2076207"/>
              <a:gd name="csX23" fmla="*/ 209092 w 729414"/>
              <a:gd name="csY23" fmla="*/ 521540 h 2076207"/>
              <a:gd name="csX24" fmla="*/ 204683 w 729414"/>
              <a:gd name="csY24" fmla="*/ 474024 h 2076207"/>
              <a:gd name="csX25" fmla="*/ 115483 w 729414"/>
              <a:gd name="csY25" fmla="*/ 213499 h 2076207"/>
              <a:gd name="csX26" fmla="*/ 102909 w 729414"/>
              <a:gd name="csY26" fmla="*/ 182297 h 2076207"/>
              <a:gd name="csX27" fmla="*/ 104315 w 729414"/>
              <a:gd name="csY27" fmla="*/ 163968 h 2076207"/>
              <a:gd name="csX28" fmla="*/ 122444 w 729414"/>
              <a:gd name="csY28" fmla="*/ 160805 h 2076207"/>
              <a:gd name="csX29" fmla="*/ 170283 w 729414"/>
              <a:gd name="csY29" fmla="*/ 187783 h 2076207"/>
              <a:gd name="csX30" fmla="*/ 180938 w 729414"/>
              <a:gd name="csY30" fmla="*/ 195322 h 2076207"/>
              <a:gd name="csX31" fmla="*/ 221419 w 729414"/>
              <a:gd name="csY31" fmla="*/ 138058 h 2076207"/>
              <a:gd name="csX32" fmla="*/ 294099 w 729414"/>
              <a:gd name="csY32" fmla="*/ 91372 h 2076207"/>
              <a:gd name="csX33" fmla="*/ 302307 w 729414"/>
              <a:gd name="csY33" fmla="*/ 76560 h 2076207"/>
              <a:gd name="csX34" fmla="*/ 320284 w 729414"/>
              <a:gd name="csY34" fmla="*/ 8414 h 2076207"/>
              <a:gd name="csX35" fmla="*/ 324784 w 729414"/>
              <a:gd name="csY35" fmla="*/ 946 h 2076207"/>
              <a:gd name="csX36" fmla="*/ 399212 w 729414"/>
              <a:gd name="csY36" fmla="*/ 0 h 2076207"/>
              <a:gd name="csX37" fmla="*/ 425980 w 729414"/>
              <a:gd name="csY37" fmla="*/ 78301 h 2076207"/>
              <a:gd name="csX38" fmla="*/ 431861 w 729414"/>
              <a:gd name="csY38" fmla="*/ 90312 h 2076207"/>
              <a:gd name="csX39" fmla="*/ 540349 w 729414"/>
              <a:gd name="csY39" fmla="*/ 187946 h 2076207"/>
              <a:gd name="csX40" fmla="*/ 545555 w 729414"/>
              <a:gd name="csY40" fmla="*/ 197828 h 2076207"/>
              <a:gd name="csX41" fmla="*/ 587318 w 729414"/>
              <a:gd name="csY41" fmla="*/ 171260 h 2076207"/>
              <a:gd name="csX42" fmla="*/ 601503 w 729414"/>
              <a:gd name="csY42" fmla="*/ 163707 h 2076207"/>
              <a:gd name="csX43" fmla="*/ 625254 w 729414"/>
              <a:gd name="csY43" fmla="*/ 163123 h 2076207"/>
              <a:gd name="csX44" fmla="*/ 625468 w 729414"/>
              <a:gd name="csY44" fmla="*/ 187579 h 2076207"/>
              <a:gd name="csX45" fmla="*/ 597543 w 729414"/>
              <a:gd name="csY45" fmla="*/ 251872 h 2076207"/>
              <a:gd name="csX46" fmla="*/ 531831 w 729414"/>
              <a:gd name="csY46" fmla="*/ 442689 h 2076207"/>
              <a:gd name="csX47" fmla="*/ 519888 w 729414"/>
              <a:gd name="csY47" fmla="*/ 501474 h 2076207"/>
              <a:gd name="csX48" fmla="*/ 522506 w 729414"/>
              <a:gd name="csY48" fmla="*/ 525086 h 2076207"/>
              <a:gd name="csX49" fmla="*/ 516235 w 729414"/>
              <a:gd name="csY49" fmla="*/ 555946 h 2076207"/>
              <a:gd name="csX50" fmla="*/ 521332 w 729414"/>
              <a:gd name="csY50" fmla="*/ 610676 h 2076207"/>
              <a:gd name="csX51" fmla="*/ 541382 w 729414"/>
              <a:gd name="csY51" fmla="*/ 642597 h 2076207"/>
              <a:gd name="csX52" fmla="*/ 557031 w 729414"/>
              <a:gd name="csY52" fmla="*/ 667949 h 2076207"/>
              <a:gd name="csX53" fmla="*/ 553994 w 729414"/>
              <a:gd name="csY53" fmla="*/ 744146 h 2076207"/>
              <a:gd name="csX54" fmla="*/ 508215 w 729414"/>
              <a:gd name="csY54" fmla="*/ 758841 h 2076207"/>
              <a:gd name="csX55" fmla="*/ 497442 w 729414"/>
              <a:gd name="csY55" fmla="*/ 771256 h 2076207"/>
              <a:gd name="csX56" fmla="*/ 493005 w 729414"/>
              <a:gd name="csY56" fmla="*/ 922055 h 2076207"/>
              <a:gd name="csX57" fmla="*/ 502900 w 729414"/>
              <a:gd name="csY57" fmla="*/ 1114191 h 2076207"/>
              <a:gd name="csX58" fmla="*/ 508800 w 729414"/>
              <a:gd name="csY58" fmla="*/ 1205474 h 2076207"/>
              <a:gd name="csX59" fmla="*/ 522952 w 729414"/>
              <a:gd name="csY59" fmla="*/ 1320065 h 2076207"/>
              <a:gd name="csX60" fmla="*/ 554682 w 729414"/>
              <a:gd name="csY60" fmla="*/ 1501203 h 2076207"/>
              <a:gd name="csX61" fmla="*/ 576958 w 729414"/>
              <a:gd name="csY61" fmla="*/ 1593963 h 2076207"/>
              <a:gd name="csX62" fmla="*/ 595349 w 729414"/>
              <a:gd name="csY62" fmla="*/ 1613498 h 2076207"/>
              <a:gd name="csX63" fmla="*/ 613936 w 729414"/>
              <a:gd name="csY63" fmla="*/ 1624058 h 2076207"/>
              <a:gd name="csX64" fmla="*/ 620938 w 729414"/>
              <a:gd name="csY64" fmla="*/ 1652071 h 2076207"/>
              <a:gd name="csX65" fmla="*/ 630805 w 729414"/>
              <a:gd name="csY65" fmla="*/ 1721702 h 2076207"/>
              <a:gd name="csX66" fmla="*/ 685830 w 729414"/>
              <a:gd name="csY66" fmla="*/ 1792915 h 2076207"/>
              <a:gd name="csX67" fmla="*/ 708904 w 729414"/>
              <a:gd name="csY67" fmla="*/ 1890290 h 2076207"/>
              <a:gd name="csX68" fmla="*/ 716580 w 729414"/>
              <a:gd name="csY68" fmla="*/ 1951136 h 2076207"/>
              <a:gd name="csX69" fmla="*/ 729397 w 729414"/>
              <a:gd name="csY69" fmla="*/ 2030261 h 2076207"/>
              <a:gd name="csX70" fmla="*/ 714212 w 729414"/>
              <a:gd name="csY70" fmla="*/ 2049544 h 2076207"/>
              <a:gd name="csX71" fmla="*/ 706629 w 729414"/>
              <a:gd name="csY71" fmla="*/ 2044290 h 2076207"/>
              <a:gd name="csX72" fmla="*/ 96263 w 729414"/>
              <a:gd name="csY72" fmla="*/ 2076207 h 2076207"/>
              <a:gd name="csX73" fmla="*/ 489970 w 729414"/>
              <a:gd name="csY73" fmla="*/ 152208 h 2076207"/>
              <a:gd name="csX74" fmla="*/ 490754 w 729414"/>
              <a:gd name="csY74" fmla="*/ 152592 h 2076207"/>
              <a:gd name="csX75" fmla="*/ 489489 w 729414"/>
              <a:gd name="csY75" fmla="*/ 149547 h 2076207"/>
              <a:gd name="csX76" fmla="*/ 393621 w 729414"/>
              <a:gd name="csY76" fmla="*/ 99259 h 2076207"/>
              <a:gd name="csX77" fmla="*/ 390419 w 729414"/>
              <a:gd name="csY77" fmla="*/ 18568 h 2076207"/>
              <a:gd name="csX78" fmla="*/ 334131 w 729414"/>
              <a:gd name="csY78" fmla="*/ 24327 h 2076207"/>
              <a:gd name="csX79" fmla="*/ 344678 w 729414"/>
              <a:gd name="csY79" fmla="*/ 101259 h 2076207"/>
              <a:gd name="csX80" fmla="*/ 298854 w 729414"/>
              <a:gd name="csY80" fmla="*/ 114003 h 2076207"/>
              <a:gd name="csX81" fmla="*/ 237456 w 729414"/>
              <a:gd name="csY81" fmla="*/ 154340 h 2076207"/>
              <a:gd name="csX82" fmla="*/ 240382 w 729414"/>
              <a:gd name="csY82" fmla="*/ 154035 h 2076207"/>
              <a:gd name="csX83" fmla="*/ 262731 w 729414"/>
              <a:gd name="csY83" fmla="*/ 170426 h 2076207"/>
              <a:gd name="csX84" fmla="*/ 279169 w 729414"/>
              <a:gd name="csY84" fmla="*/ 193173 h 2076207"/>
              <a:gd name="csX85" fmla="*/ 327717 w 729414"/>
              <a:gd name="csY85" fmla="*/ 188556 h 2076207"/>
              <a:gd name="csX86" fmla="*/ 348052 w 729414"/>
              <a:gd name="csY86" fmla="*/ 156919 h 2076207"/>
              <a:gd name="csX87" fmla="*/ 380330 w 729414"/>
              <a:gd name="csY87" fmla="*/ 156483 h 2076207"/>
              <a:gd name="csX88" fmla="*/ 408490 w 729414"/>
              <a:gd name="csY88" fmla="*/ 195400 h 2076207"/>
              <a:gd name="csX89" fmla="*/ 445346 w 729414"/>
              <a:gd name="csY89" fmla="*/ 197582 h 2076207"/>
              <a:gd name="csX90" fmla="*/ 464798 w 729414"/>
              <a:gd name="csY90" fmla="*/ 174107 h 2076207"/>
              <a:gd name="csX91" fmla="*/ 489970 w 729414"/>
              <a:gd name="csY91" fmla="*/ 152208 h 2076207"/>
              <a:gd name="csX92" fmla="*/ 140694 w 729414"/>
              <a:gd name="csY92" fmla="*/ 201837 h 2076207"/>
              <a:gd name="csX93" fmla="*/ 139834 w 729414"/>
              <a:gd name="csY93" fmla="*/ 201482 h 2076207"/>
              <a:gd name="csX94" fmla="*/ 140812 w 729414"/>
              <a:gd name="csY94" fmla="*/ 204941 h 2076207"/>
              <a:gd name="csX95" fmla="*/ 144631 w 729414"/>
              <a:gd name="csY95" fmla="*/ 217811 h 2076207"/>
              <a:gd name="csX96" fmla="*/ 201241 w 729414"/>
              <a:gd name="csY96" fmla="*/ 373387 h 2076207"/>
              <a:gd name="csX97" fmla="*/ 235971 w 729414"/>
              <a:gd name="csY97" fmla="*/ 504451 h 2076207"/>
              <a:gd name="csX98" fmla="*/ 247475 w 729414"/>
              <a:gd name="csY98" fmla="*/ 513241 h 2076207"/>
              <a:gd name="csX99" fmla="*/ 289066 w 729414"/>
              <a:gd name="csY99" fmla="*/ 511170 h 2076207"/>
              <a:gd name="csX100" fmla="*/ 378229 w 729414"/>
              <a:gd name="csY100" fmla="*/ 511084 h 2076207"/>
              <a:gd name="csX101" fmla="*/ 470850 w 729414"/>
              <a:gd name="csY101" fmla="*/ 516341 h 2076207"/>
              <a:gd name="csX102" fmla="*/ 492933 w 729414"/>
              <a:gd name="csY102" fmla="*/ 497969 h 2076207"/>
              <a:gd name="csX103" fmla="*/ 557617 w 729414"/>
              <a:gd name="csY103" fmla="*/ 280398 h 2076207"/>
              <a:gd name="csX104" fmla="*/ 588788 w 729414"/>
              <a:gd name="csY104" fmla="*/ 200385 h 2076207"/>
              <a:gd name="csX105" fmla="*/ 530958 w 729414"/>
              <a:gd name="csY105" fmla="*/ 232968 h 2076207"/>
              <a:gd name="csX106" fmla="*/ 483823 w 729414"/>
              <a:gd name="csY106" fmla="*/ 190364 h 2076207"/>
              <a:gd name="csX107" fmla="*/ 466649 w 729414"/>
              <a:gd name="csY107" fmla="*/ 209061 h 2076207"/>
              <a:gd name="csX108" fmla="*/ 399941 w 729414"/>
              <a:gd name="csY108" fmla="*/ 216988 h 2076207"/>
              <a:gd name="csX109" fmla="*/ 363018 w 729414"/>
              <a:gd name="csY109" fmla="*/ 179615 h 2076207"/>
              <a:gd name="csX110" fmla="*/ 308839 w 729414"/>
              <a:gd name="csY110" fmla="*/ 227846 h 2076207"/>
              <a:gd name="csX111" fmla="*/ 245077 w 729414"/>
              <a:gd name="csY111" fmla="*/ 192402 h 2076207"/>
              <a:gd name="csX112" fmla="*/ 242829 w 729414"/>
              <a:gd name="csY112" fmla="*/ 198815 h 2076207"/>
              <a:gd name="csX113" fmla="*/ 168452 w 729414"/>
              <a:gd name="csY113" fmla="*/ 219348 h 2076207"/>
              <a:gd name="csX114" fmla="*/ 140694 w 729414"/>
              <a:gd name="csY114" fmla="*/ 201837 h 2076207"/>
              <a:gd name="csX115" fmla="*/ 259999 w 729414"/>
              <a:gd name="csY115" fmla="*/ 966699 h 2076207"/>
              <a:gd name="csX116" fmla="*/ 257072 w 729414"/>
              <a:gd name="csY116" fmla="*/ 1070424 h 2076207"/>
              <a:gd name="csX117" fmla="*/ 251372 w 729414"/>
              <a:gd name="csY117" fmla="*/ 1157618 h 2076207"/>
              <a:gd name="csX118" fmla="*/ 232677 w 729414"/>
              <a:gd name="csY118" fmla="*/ 1320279 h 2076207"/>
              <a:gd name="csX119" fmla="*/ 209182 w 729414"/>
              <a:gd name="csY119" fmla="*/ 1468667 h 2076207"/>
              <a:gd name="csX120" fmla="*/ 175302 w 729414"/>
              <a:gd name="csY120" fmla="*/ 1616623 h 2076207"/>
              <a:gd name="csX121" fmla="*/ 182769 w 729414"/>
              <a:gd name="csY121" fmla="*/ 1629786 h 2076207"/>
              <a:gd name="csX122" fmla="*/ 212156 w 729414"/>
              <a:gd name="csY122" fmla="*/ 1632656 h 2076207"/>
              <a:gd name="csX123" fmla="*/ 351295 w 729414"/>
              <a:gd name="csY123" fmla="*/ 1632801 h 2076207"/>
              <a:gd name="csX124" fmla="*/ 376150 w 729414"/>
              <a:gd name="csY124" fmla="*/ 1608307 h 2076207"/>
              <a:gd name="csX125" fmla="*/ 373450 w 729414"/>
              <a:gd name="csY125" fmla="*/ 1457291 h 2076207"/>
              <a:gd name="csX126" fmla="*/ 370936 w 729414"/>
              <a:gd name="csY126" fmla="*/ 1342736 h 2076207"/>
              <a:gd name="csX127" fmla="*/ 368328 w 729414"/>
              <a:gd name="csY127" fmla="*/ 1203878 h 2076207"/>
              <a:gd name="csX128" fmla="*/ 367836 w 729414"/>
              <a:gd name="csY128" fmla="*/ 813478 h 2076207"/>
              <a:gd name="csX129" fmla="*/ 365240 w 729414"/>
              <a:gd name="csY129" fmla="*/ 773243 h 2076207"/>
              <a:gd name="csX130" fmla="*/ 353084 w 729414"/>
              <a:gd name="csY130" fmla="*/ 762083 h 2076207"/>
              <a:gd name="csX131" fmla="*/ 280966 w 729414"/>
              <a:gd name="csY131" fmla="*/ 759855 h 2076207"/>
              <a:gd name="csX132" fmla="*/ 259965 w 729414"/>
              <a:gd name="csY132" fmla="*/ 779553 h 2076207"/>
              <a:gd name="csX133" fmla="*/ 262341 w 729414"/>
              <a:gd name="csY133" fmla="*/ 856275 h 2076207"/>
              <a:gd name="csX134" fmla="*/ 259999 w 729414"/>
              <a:gd name="csY134" fmla="*/ 966699 h 2076207"/>
              <a:gd name="csX135" fmla="*/ 55556 w 729414"/>
              <a:gd name="csY135" fmla="*/ 1835827 h 2076207"/>
              <a:gd name="csX136" fmla="*/ 49393 w 729414"/>
              <a:gd name="csY136" fmla="*/ 1878155 h 2076207"/>
              <a:gd name="csX137" fmla="*/ 73949 w 729414"/>
              <a:gd name="csY137" fmla="*/ 1905781 h 2076207"/>
              <a:gd name="csX138" fmla="*/ 110073 w 729414"/>
              <a:gd name="csY138" fmla="*/ 1909068 h 2076207"/>
              <a:gd name="csX139" fmla="*/ 224745 w 729414"/>
              <a:gd name="csY139" fmla="*/ 1921652 h 2076207"/>
              <a:gd name="csX140" fmla="*/ 347327 w 729414"/>
              <a:gd name="csY140" fmla="*/ 1924778 h 2076207"/>
              <a:gd name="csX141" fmla="*/ 363345 w 729414"/>
              <a:gd name="csY141" fmla="*/ 1923293 h 2076207"/>
              <a:gd name="csX142" fmla="*/ 373787 w 729414"/>
              <a:gd name="csY142" fmla="*/ 1911200 h 2076207"/>
              <a:gd name="csX143" fmla="*/ 376623 w 729414"/>
              <a:gd name="csY143" fmla="*/ 1696741 h 2076207"/>
              <a:gd name="csX144" fmla="*/ 360437 w 729414"/>
              <a:gd name="csY144" fmla="*/ 1681289 h 2076207"/>
              <a:gd name="csX145" fmla="*/ 263503 w 729414"/>
              <a:gd name="csY145" fmla="*/ 1678179 h 2076207"/>
              <a:gd name="csX146" fmla="*/ 160381 w 729414"/>
              <a:gd name="csY146" fmla="*/ 1670405 h 2076207"/>
              <a:gd name="csX147" fmla="*/ 143321 w 729414"/>
              <a:gd name="csY147" fmla="*/ 1685538 h 2076207"/>
              <a:gd name="csX148" fmla="*/ 124769 w 729414"/>
              <a:gd name="csY148" fmla="*/ 1738195 h 2076207"/>
              <a:gd name="csX149" fmla="*/ 90593 w 729414"/>
              <a:gd name="csY149" fmla="*/ 1779570 h 2076207"/>
              <a:gd name="csX150" fmla="*/ 55556 w 729414"/>
              <a:gd name="csY150" fmla="*/ 1835827 h 2076207"/>
              <a:gd name="csX151" fmla="*/ 378900 w 729414"/>
              <a:gd name="csY151" fmla="*/ 2007280 h 2076207"/>
              <a:gd name="csX152" fmla="*/ 378887 w 729414"/>
              <a:gd name="csY152" fmla="*/ 1995127 h 2076207"/>
              <a:gd name="csX153" fmla="*/ 359084 w 729414"/>
              <a:gd name="csY153" fmla="*/ 1975964 h 2076207"/>
              <a:gd name="csX154" fmla="*/ 247288 w 729414"/>
              <a:gd name="csY154" fmla="*/ 1973305 h 2076207"/>
              <a:gd name="csX155" fmla="*/ 201692 w 729414"/>
              <a:gd name="csY155" fmla="*/ 1970275 h 2076207"/>
              <a:gd name="csX156" fmla="*/ 57962 w 729414"/>
              <a:gd name="csY156" fmla="*/ 1952648 h 2076207"/>
              <a:gd name="csX157" fmla="*/ 39194 w 729414"/>
              <a:gd name="csY157" fmla="*/ 1963552 h 2076207"/>
              <a:gd name="csX158" fmla="*/ 30066 w 729414"/>
              <a:gd name="csY158" fmla="*/ 2006631 h 2076207"/>
              <a:gd name="csX159" fmla="*/ 40232 w 729414"/>
              <a:gd name="csY159" fmla="*/ 2019486 h 2076207"/>
              <a:gd name="csX160" fmla="*/ 238186 w 729414"/>
              <a:gd name="csY160" fmla="*/ 2046096 h 2076207"/>
              <a:gd name="csX161" fmla="*/ 342155 w 729414"/>
              <a:gd name="csY161" fmla="*/ 2046441 h 2076207"/>
              <a:gd name="csX162" fmla="*/ 378900 w 729414"/>
              <a:gd name="csY162" fmla="*/ 2007280 h 2076207"/>
              <a:gd name="csX163" fmla="*/ 310220 w 729414"/>
              <a:gd name="csY163" fmla="*/ 554288 h 2076207"/>
              <a:gd name="csX164" fmla="*/ 259136 w 729414"/>
              <a:gd name="csY164" fmla="*/ 556881 h 2076207"/>
              <a:gd name="csX165" fmla="*/ 249085 w 729414"/>
              <a:gd name="csY165" fmla="*/ 567981 h 2076207"/>
              <a:gd name="csX166" fmla="*/ 249141 w 729414"/>
              <a:gd name="csY166" fmla="*/ 605644 h 2076207"/>
              <a:gd name="csX167" fmla="*/ 262628 w 729414"/>
              <a:gd name="csY167" fmla="*/ 605627 h 2076207"/>
              <a:gd name="csX168" fmla="*/ 369608 w 729414"/>
              <a:gd name="csY168" fmla="*/ 603027 h 2076207"/>
              <a:gd name="csX169" fmla="*/ 463931 w 729414"/>
              <a:gd name="csY169" fmla="*/ 605146 h 2076207"/>
              <a:gd name="csX170" fmla="*/ 478113 w 729414"/>
              <a:gd name="csY170" fmla="*/ 595843 h 2076207"/>
              <a:gd name="csX171" fmla="*/ 478796 w 729414"/>
              <a:gd name="csY171" fmla="*/ 556832 h 2076207"/>
              <a:gd name="csX172" fmla="*/ 310220 w 729414"/>
              <a:gd name="csY172" fmla="*/ 554288 h 2076207"/>
              <a:gd name="csX173" fmla="*/ 348836 w 729414"/>
              <a:gd name="csY173" fmla="*/ 684115 h 2076207"/>
              <a:gd name="csX174" fmla="*/ 281333 w 729414"/>
              <a:gd name="csY174" fmla="*/ 683313 h 2076207"/>
              <a:gd name="csX175" fmla="*/ 212728 w 729414"/>
              <a:gd name="csY175" fmla="*/ 681931 h 2076207"/>
              <a:gd name="csX176" fmla="*/ 187283 w 729414"/>
              <a:gd name="csY176" fmla="*/ 689555 h 2076207"/>
              <a:gd name="csX177" fmla="*/ 186163 w 729414"/>
              <a:gd name="csY177" fmla="*/ 718266 h 2076207"/>
              <a:gd name="csX178" fmla="*/ 209894 w 729414"/>
              <a:gd name="csY178" fmla="*/ 726798 h 2076207"/>
              <a:gd name="csX179" fmla="*/ 334814 w 729414"/>
              <a:gd name="csY179" fmla="*/ 732494 h 2076207"/>
              <a:gd name="csX180" fmla="*/ 364856 w 729414"/>
              <a:gd name="csY180" fmla="*/ 707963 h 2076207"/>
              <a:gd name="csX181" fmla="*/ 348836 w 729414"/>
              <a:gd name="csY181" fmla="*/ 684115 h 2076207"/>
              <a:gd name="csX182" fmla="*/ 298865 w 729414"/>
              <a:gd name="csY182" fmla="*/ 621954 h 2076207"/>
              <a:gd name="csX183" fmla="*/ 251619 w 729414"/>
              <a:gd name="csY183" fmla="*/ 622133 h 2076207"/>
              <a:gd name="csX184" fmla="*/ 214459 w 729414"/>
              <a:gd name="csY184" fmla="*/ 636230 h 2076207"/>
              <a:gd name="csX185" fmla="*/ 221436 w 729414"/>
              <a:gd name="csY185" fmla="*/ 654205 h 2076207"/>
              <a:gd name="csX186" fmla="*/ 272412 w 729414"/>
              <a:gd name="csY186" fmla="*/ 657250 h 2076207"/>
              <a:gd name="csX187" fmla="*/ 349094 w 729414"/>
              <a:gd name="csY187" fmla="*/ 659282 h 2076207"/>
              <a:gd name="csX188" fmla="*/ 362996 w 729414"/>
              <a:gd name="csY188" fmla="*/ 644234 h 2076207"/>
              <a:gd name="csX189" fmla="*/ 348472 w 729414"/>
              <a:gd name="csY189" fmla="*/ 624649 h 2076207"/>
              <a:gd name="csX190" fmla="*/ 298865 w 729414"/>
              <a:gd name="csY190" fmla="*/ 621954 h 2076207"/>
              <a:gd name="csX191" fmla="*/ 227796 w 729414"/>
              <a:gd name="csY191" fmla="*/ 528000 h 2076207"/>
              <a:gd name="csX192" fmla="*/ 241009 w 729414"/>
              <a:gd name="csY192" fmla="*/ 545897 h 2076207"/>
              <a:gd name="csX193" fmla="*/ 282607 w 729414"/>
              <a:gd name="csY193" fmla="*/ 543480 h 2076207"/>
              <a:gd name="csX194" fmla="*/ 354213 w 729414"/>
              <a:gd name="csY194" fmla="*/ 543384 h 2076207"/>
              <a:gd name="csX195" fmla="*/ 365334 w 729414"/>
              <a:gd name="csY195" fmla="*/ 533397 h 2076207"/>
              <a:gd name="csX196" fmla="*/ 354531 w 729414"/>
              <a:gd name="csY196" fmla="*/ 521620 h 2076207"/>
              <a:gd name="csX197" fmla="*/ 259169 w 729414"/>
              <a:gd name="csY197" fmla="*/ 521978 h 2076207"/>
              <a:gd name="csX198" fmla="*/ 227796 w 729414"/>
              <a:gd name="csY198" fmla="*/ 528000 h 2076207"/>
              <a:gd name="csX199" fmla="*/ 508068 w 729414"/>
              <a:gd name="csY199" fmla="*/ 190710 h 2076207"/>
              <a:gd name="csX200" fmla="*/ 521293 w 729414"/>
              <a:gd name="csY200" fmla="*/ 205907 h 2076207"/>
              <a:gd name="csX201" fmla="*/ 525175 w 729414"/>
              <a:gd name="csY201" fmla="*/ 202985 h 2076207"/>
              <a:gd name="csX202" fmla="*/ 500276 w 729414"/>
              <a:gd name="csY202" fmla="*/ 160640 h 2076207"/>
              <a:gd name="csX203" fmla="*/ 497122 w 729414"/>
              <a:gd name="csY203" fmla="*/ 162007 h 2076207"/>
              <a:gd name="csX204" fmla="*/ 508068 w 729414"/>
              <a:gd name="csY204" fmla="*/ 190710 h 2076207"/>
              <a:gd name="csX205" fmla="*/ 215522 w 729414"/>
              <a:gd name="csY205" fmla="*/ 197296 h 2076207"/>
              <a:gd name="csX206" fmla="*/ 234029 w 729414"/>
              <a:gd name="csY206" fmla="*/ 162725 h 2076207"/>
              <a:gd name="csX207" fmla="*/ 229000 w 729414"/>
              <a:gd name="csY207" fmla="*/ 159902 h 2076207"/>
              <a:gd name="csX208" fmla="*/ 204824 w 729414"/>
              <a:gd name="csY208" fmla="*/ 199677 h 2076207"/>
              <a:gd name="csX209" fmla="*/ 207990 w 729414"/>
              <a:gd name="csY209" fmla="*/ 202198 h 2076207"/>
              <a:gd name="csX210" fmla="*/ 215522 w 729414"/>
              <a:gd name="csY210" fmla="*/ 197296 h 2076207"/>
              <a:gd name="csX211" fmla="*/ 484400 w 729414"/>
              <a:gd name="csY211" fmla="*/ 896678 h 2076207"/>
              <a:gd name="csX212" fmla="*/ 486181 w 729414"/>
              <a:gd name="csY212" fmla="*/ 896585 h 2076207"/>
              <a:gd name="csX213" fmla="*/ 486181 w 729414"/>
              <a:gd name="csY213" fmla="*/ 795289 h 2076207"/>
              <a:gd name="csX214" fmla="*/ 720241 w 729414"/>
              <a:gd name="csY214" fmla="*/ 2030666 h 2076207"/>
              <a:gd name="csX215" fmla="*/ 721175 w 729414"/>
              <a:gd name="csY215" fmla="*/ 2029733 h 2076207"/>
              <a:gd name="csX216" fmla="*/ 720241 w 729414"/>
              <a:gd name="csY216" fmla="*/ 2030666 h 2076207"/>
              <a:gd name="csX217" fmla="*/ 715702 w 729414"/>
              <a:gd name="csY217" fmla="*/ 2037051 h 2076207"/>
              <a:gd name="csX218" fmla="*/ 715702 w 729414"/>
              <a:gd name="csY218" fmla="*/ 2037051 h 2076207"/>
              <a:gd name="csX0" fmla="*/ 96263 w 765535"/>
              <a:gd name="csY0" fmla="*/ 2076207 h 2076207"/>
              <a:gd name="csX1" fmla="*/ 63862 w 765535"/>
              <a:gd name="csY1" fmla="*/ 2065388 h 2076207"/>
              <a:gd name="csX2" fmla="*/ 16555 w 765535"/>
              <a:gd name="csY2" fmla="*/ 2050152 h 2076207"/>
              <a:gd name="csX3" fmla="*/ 15 w 765535"/>
              <a:gd name="csY3" fmla="*/ 2023802 h 2076207"/>
              <a:gd name="csX4" fmla="*/ 18368 w 765535"/>
              <a:gd name="csY4" fmla="*/ 1940709 h 2076207"/>
              <a:gd name="csX5" fmla="*/ 22139 w 765535"/>
              <a:gd name="csY5" fmla="*/ 1907268 h 2076207"/>
              <a:gd name="csX6" fmla="*/ 57941 w 765535"/>
              <a:gd name="csY6" fmla="*/ 1774163 h 2076207"/>
              <a:gd name="csX7" fmla="*/ 102478 w 765535"/>
              <a:gd name="csY7" fmla="*/ 1720275 h 2076207"/>
              <a:gd name="csX8" fmla="*/ 108579 w 765535"/>
              <a:gd name="csY8" fmla="*/ 1650967 h 2076207"/>
              <a:gd name="csX9" fmla="*/ 115628 w 765535"/>
              <a:gd name="csY9" fmla="*/ 1625405 h 2076207"/>
              <a:gd name="csX10" fmla="*/ 156323 w 765535"/>
              <a:gd name="csY10" fmla="*/ 1560181 h 2076207"/>
              <a:gd name="csX11" fmla="*/ 199424 w 765535"/>
              <a:gd name="csY11" fmla="*/ 1364729 h 2076207"/>
              <a:gd name="csX12" fmla="*/ 216779 w 765535"/>
              <a:gd name="csY12" fmla="*/ 1219490 h 2076207"/>
              <a:gd name="csX13" fmla="*/ 229755 w 765535"/>
              <a:gd name="csY13" fmla="*/ 1099357 h 2076207"/>
              <a:gd name="csX14" fmla="*/ 232707 w 765535"/>
              <a:gd name="csY14" fmla="*/ 1056423 h 2076207"/>
              <a:gd name="csX15" fmla="*/ 235622 w 765535"/>
              <a:gd name="csY15" fmla="*/ 952675 h 2076207"/>
              <a:gd name="csX16" fmla="*/ 235445 w 765535"/>
              <a:gd name="csY16" fmla="*/ 780278 h 2076207"/>
              <a:gd name="csX17" fmla="*/ 214544 w 765535"/>
              <a:gd name="csY17" fmla="*/ 756435 h 2076207"/>
              <a:gd name="csX18" fmla="*/ 172569 w 765535"/>
              <a:gd name="csY18" fmla="*/ 742582 h 2076207"/>
              <a:gd name="csX19" fmla="*/ 168784 w 765535"/>
              <a:gd name="csY19" fmla="*/ 669116 h 2076207"/>
              <a:gd name="csX20" fmla="*/ 191657 w 765535"/>
              <a:gd name="csY20" fmla="*/ 630765 h 2076207"/>
              <a:gd name="csX21" fmla="*/ 208150 w 765535"/>
              <a:gd name="csY21" fmla="*/ 609084 h 2076207"/>
              <a:gd name="csX22" fmla="*/ 216756 w 765535"/>
              <a:gd name="csY22" fmla="*/ 558673 h 2076207"/>
              <a:gd name="csX23" fmla="*/ 209092 w 765535"/>
              <a:gd name="csY23" fmla="*/ 521540 h 2076207"/>
              <a:gd name="csX24" fmla="*/ 204683 w 765535"/>
              <a:gd name="csY24" fmla="*/ 474024 h 2076207"/>
              <a:gd name="csX25" fmla="*/ 115483 w 765535"/>
              <a:gd name="csY25" fmla="*/ 213499 h 2076207"/>
              <a:gd name="csX26" fmla="*/ 102909 w 765535"/>
              <a:gd name="csY26" fmla="*/ 182297 h 2076207"/>
              <a:gd name="csX27" fmla="*/ 104315 w 765535"/>
              <a:gd name="csY27" fmla="*/ 163968 h 2076207"/>
              <a:gd name="csX28" fmla="*/ 122444 w 765535"/>
              <a:gd name="csY28" fmla="*/ 160805 h 2076207"/>
              <a:gd name="csX29" fmla="*/ 170283 w 765535"/>
              <a:gd name="csY29" fmla="*/ 187783 h 2076207"/>
              <a:gd name="csX30" fmla="*/ 180938 w 765535"/>
              <a:gd name="csY30" fmla="*/ 195322 h 2076207"/>
              <a:gd name="csX31" fmla="*/ 221419 w 765535"/>
              <a:gd name="csY31" fmla="*/ 138058 h 2076207"/>
              <a:gd name="csX32" fmla="*/ 294099 w 765535"/>
              <a:gd name="csY32" fmla="*/ 91372 h 2076207"/>
              <a:gd name="csX33" fmla="*/ 302307 w 765535"/>
              <a:gd name="csY33" fmla="*/ 76560 h 2076207"/>
              <a:gd name="csX34" fmla="*/ 320284 w 765535"/>
              <a:gd name="csY34" fmla="*/ 8414 h 2076207"/>
              <a:gd name="csX35" fmla="*/ 324784 w 765535"/>
              <a:gd name="csY35" fmla="*/ 946 h 2076207"/>
              <a:gd name="csX36" fmla="*/ 399212 w 765535"/>
              <a:gd name="csY36" fmla="*/ 0 h 2076207"/>
              <a:gd name="csX37" fmla="*/ 425980 w 765535"/>
              <a:gd name="csY37" fmla="*/ 78301 h 2076207"/>
              <a:gd name="csX38" fmla="*/ 431861 w 765535"/>
              <a:gd name="csY38" fmla="*/ 90312 h 2076207"/>
              <a:gd name="csX39" fmla="*/ 540349 w 765535"/>
              <a:gd name="csY39" fmla="*/ 187946 h 2076207"/>
              <a:gd name="csX40" fmla="*/ 545555 w 765535"/>
              <a:gd name="csY40" fmla="*/ 197828 h 2076207"/>
              <a:gd name="csX41" fmla="*/ 587318 w 765535"/>
              <a:gd name="csY41" fmla="*/ 171260 h 2076207"/>
              <a:gd name="csX42" fmla="*/ 601503 w 765535"/>
              <a:gd name="csY42" fmla="*/ 163707 h 2076207"/>
              <a:gd name="csX43" fmla="*/ 625254 w 765535"/>
              <a:gd name="csY43" fmla="*/ 163123 h 2076207"/>
              <a:gd name="csX44" fmla="*/ 625468 w 765535"/>
              <a:gd name="csY44" fmla="*/ 187579 h 2076207"/>
              <a:gd name="csX45" fmla="*/ 597543 w 765535"/>
              <a:gd name="csY45" fmla="*/ 251872 h 2076207"/>
              <a:gd name="csX46" fmla="*/ 531831 w 765535"/>
              <a:gd name="csY46" fmla="*/ 442689 h 2076207"/>
              <a:gd name="csX47" fmla="*/ 519888 w 765535"/>
              <a:gd name="csY47" fmla="*/ 501474 h 2076207"/>
              <a:gd name="csX48" fmla="*/ 522506 w 765535"/>
              <a:gd name="csY48" fmla="*/ 525086 h 2076207"/>
              <a:gd name="csX49" fmla="*/ 516235 w 765535"/>
              <a:gd name="csY49" fmla="*/ 555946 h 2076207"/>
              <a:gd name="csX50" fmla="*/ 521332 w 765535"/>
              <a:gd name="csY50" fmla="*/ 610676 h 2076207"/>
              <a:gd name="csX51" fmla="*/ 541382 w 765535"/>
              <a:gd name="csY51" fmla="*/ 642597 h 2076207"/>
              <a:gd name="csX52" fmla="*/ 557031 w 765535"/>
              <a:gd name="csY52" fmla="*/ 667949 h 2076207"/>
              <a:gd name="csX53" fmla="*/ 553994 w 765535"/>
              <a:gd name="csY53" fmla="*/ 744146 h 2076207"/>
              <a:gd name="csX54" fmla="*/ 508215 w 765535"/>
              <a:gd name="csY54" fmla="*/ 758841 h 2076207"/>
              <a:gd name="csX55" fmla="*/ 497442 w 765535"/>
              <a:gd name="csY55" fmla="*/ 771256 h 2076207"/>
              <a:gd name="csX56" fmla="*/ 493005 w 765535"/>
              <a:gd name="csY56" fmla="*/ 922055 h 2076207"/>
              <a:gd name="csX57" fmla="*/ 502900 w 765535"/>
              <a:gd name="csY57" fmla="*/ 1114191 h 2076207"/>
              <a:gd name="csX58" fmla="*/ 508800 w 765535"/>
              <a:gd name="csY58" fmla="*/ 1205474 h 2076207"/>
              <a:gd name="csX59" fmla="*/ 522952 w 765535"/>
              <a:gd name="csY59" fmla="*/ 1320065 h 2076207"/>
              <a:gd name="csX60" fmla="*/ 554682 w 765535"/>
              <a:gd name="csY60" fmla="*/ 1501203 h 2076207"/>
              <a:gd name="csX61" fmla="*/ 576958 w 765535"/>
              <a:gd name="csY61" fmla="*/ 1593963 h 2076207"/>
              <a:gd name="csX62" fmla="*/ 595349 w 765535"/>
              <a:gd name="csY62" fmla="*/ 1613498 h 2076207"/>
              <a:gd name="csX63" fmla="*/ 613936 w 765535"/>
              <a:gd name="csY63" fmla="*/ 1624058 h 2076207"/>
              <a:gd name="csX64" fmla="*/ 620938 w 765535"/>
              <a:gd name="csY64" fmla="*/ 1652071 h 2076207"/>
              <a:gd name="csX65" fmla="*/ 630805 w 765535"/>
              <a:gd name="csY65" fmla="*/ 1721702 h 2076207"/>
              <a:gd name="csX66" fmla="*/ 685830 w 765535"/>
              <a:gd name="csY66" fmla="*/ 1792915 h 2076207"/>
              <a:gd name="csX67" fmla="*/ 708904 w 765535"/>
              <a:gd name="csY67" fmla="*/ 1890290 h 2076207"/>
              <a:gd name="csX68" fmla="*/ 716580 w 765535"/>
              <a:gd name="csY68" fmla="*/ 1951136 h 2076207"/>
              <a:gd name="csX69" fmla="*/ 729397 w 765535"/>
              <a:gd name="csY69" fmla="*/ 2030261 h 2076207"/>
              <a:gd name="csX70" fmla="*/ 714212 w 765535"/>
              <a:gd name="csY70" fmla="*/ 2049544 h 2076207"/>
              <a:gd name="csX71" fmla="*/ 96263 w 765535"/>
              <a:gd name="csY71" fmla="*/ 2076207 h 2076207"/>
              <a:gd name="csX72" fmla="*/ 489970 w 765535"/>
              <a:gd name="csY72" fmla="*/ 152208 h 2076207"/>
              <a:gd name="csX73" fmla="*/ 490754 w 765535"/>
              <a:gd name="csY73" fmla="*/ 152592 h 2076207"/>
              <a:gd name="csX74" fmla="*/ 489489 w 765535"/>
              <a:gd name="csY74" fmla="*/ 149547 h 2076207"/>
              <a:gd name="csX75" fmla="*/ 393621 w 765535"/>
              <a:gd name="csY75" fmla="*/ 99259 h 2076207"/>
              <a:gd name="csX76" fmla="*/ 390419 w 765535"/>
              <a:gd name="csY76" fmla="*/ 18568 h 2076207"/>
              <a:gd name="csX77" fmla="*/ 334131 w 765535"/>
              <a:gd name="csY77" fmla="*/ 24327 h 2076207"/>
              <a:gd name="csX78" fmla="*/ 344678 w 765535"/>
              <a:gd name="csY78" fmla="*/ 101259 h 2076207"/>
              <a:gd name="csX79" fmla="*/ 298854 w 765535"/>
              <a:gd name="csY79" fmla="*/ 114003 h 2076207"/>
              <a:gd name="csX80" fmla="*/ 237456 w 765535"/>
              <a:gd name="csY80" fmla="*/ 154340 h 2076207"/>
              <a:gd name="csX81" fmla="*/ 240382 w 765535"/>
              <a:gd name="csY81" fmla="*/ 154035 h 2076207"/>
              <a:gd name="csX82" fmla="*/ 262731 w 765535"/>
              <a:gd name="csY82" fmla="*/ 170426 h 2076207"/>
              <a:gd name="csX83" fmla="*/ 279169 w 765535"/>
              <a:gd name="csY83" fmla="*/ 193173 h 2076207"/>
              <a:gd name="csX84" fmla="*/ 327717 w 765535"/>
              <a:gd name="csY84" fmla="*/ 188556 h 2076207"/>
              <a:gd name="csX85" fmla="*/ 348052 w 765535"/>
              <a:gd name="csY85" fmla="*/ 156919 h 2076207"/>
              <a:gd name="csX86" fmla="*/ 380330 w 765535"/>
              <a:gd name="csY86" fmla="*/ 156483 h 2076207"/>
              <a:gd name="csX87" fmla="*/ 408490 w 765535"/>
              <a:gd name="csY87" fmla="*/ 195400 h 2076207"/>
              <a:gd name="csX88" fmla="*/ 445346 w 765535"/>
              <a:gd name="csY88" fmla="*/ 197582 h 2076207"/>
              <a:gd name="csX89" fmla="*/ 464798 w 765535"/>
              <a:gd name="csY89" fmla="*/ 174107 h 2076207"/>
              <a:gd name="csX90" fmla="*/ 489970 w 765535"/>
              <a:gd name="csY90" fmla="*/ 152208 h 2076207"/>
              <a:gd name="csX91" fmla="*/ 140694 w 765535"/>
              <a:gd name="csY91" fmla="*/ 201837 h 2076207"/>
              <a:gd name="csX92" fmla="*/ 139834 w 765535"/>
              <a:gd name="csY92" fmla="*/ 201482 h 2076207"/>
              <a:gd name="csX93" fmla="*/ 140812 w 765535"/>
              <a:gd name="csY93" fmla="*/ 204941 h 2076207"/>
              <a:gd name="csX94" fmla="*/ 144631 w 765535"/>
              <a:gd name="csY94" fmla="*/ 217811 h 2076207"/>
              <a:gd name="csX95" fmla="*/ 201241 w 765535"/>
              <a:gd name="csY95" fmla="*/ 373387 h 2076207"/>
              <a:gd name="csX96" fmla="*/ 235971 w 765535"/>
              <a:gd name="csY96" fmla="*/ 504451 h 2076207"/>
              <a:gd name="csX97" fmla="*/ 247475 w 765535"/>
              <a:gd name="csY97" fmla="*/ 513241 h 2076207"/>
              <a:gd name="csX98" fmla="*/ 289066 w 765535"/>
              <a:gd name="csY98" fmla="*/ 511170 h 2076207"/>
              <a:gd name="csX99" fmla="*/ 378229 w 765535"/>
              <a:gd name="csY99" fmla="*/ 511084 h 2076207"/>
              <a:gd name="csX100" fmla="*/ 470850 w 765535"/>
              <a:gd name="csY100" fmla="*/ 516341 h 2076207"/>
              <a:gd name="csX101" fmla="*/ 492933 w 765535"/>
              <a:gd name="csY101" fmla="*/ 497969 h 2076207"/>
              <a:gd name="csX102" fmla="*/ 557617 w 765535"/>
              <a:gd name="csY102" fmla="*/ 280398 h 2076207"/>
              <a:gd name="csX103" fmla="*/ 588788 w 765535"/>
              <a:gd name="csY103" fmla="*/ 200385 h 2076207"/>
              <a:gd name="csX104" fmla="*/ 530958 w 765535"/>
              <a:gd name="csY104" fmla="*/ 232968 h 2076207"/>
              <a:gd name="csX105" fmla="*/ 483823 w 765535"/>
              <a:gd name="csY105" fmla="*/ 190364 h 2076207"/>
              <a:gd name="csX106" fmla="*/ 466649 w 765535"/>
              <a:gd name="csY106" fmla="*/ 209061 h 2076207"/>
              <a:gd name="csX107" fmla="*/ 399941 w 765535"/>
              <a:gd name="csY107" fmla="*/ 216988 h 2076207"/>
              <a:gd name="csX108" fmla="*/ 363018 w 765535"/>
              <a:gd name="csY108" fmla="*/ 179615 h 2076207"/>
              <a:gd name="csX109" fmla="*/ 308839 w 765535"/>
              <a:gd name="csY109" fmla="*/ 227846 h 2076207"/>
              <a:gd name="csX110" fmla="*/ 245077 w 765535"/>
              <a:gd name="csY110" fmla="*/ 192402 h 2076207"/>
              <a:gd name="csX111" fmla="*/ 242829 w 765535"/>
              <a:gd name="csY111" fmla="*/ 198815 h 2076207"/>
              <a:gd name="csX112" fmla="*/ 168452 w 765535"/>
              <a:gd name="csY112" fmla="*/ 219348 h 2076207"/>
              <a:gd name="csX113" fmla="*/ 140694 w 765535"/>
              <a:gd name="csY113" fmla="*/ 201837 h 2076207"/>
              <a:gd name="csX114" fmla="*/ 259999 w 765535"/>
              <a:gd name="csY114" fmla="*/ 966699 h 2076207"/>
              <a:gd name="csX115" fmla="*/ 257072 w 765535"/>
              <a:gd name="csY115" fmla="*/ 1070424 h 2076207"/>
              <a:gd name="csX116" fmla="*/ 251372 w 765535"/>
              <a:gd name="csY116" fmla="*/ 1157618 h 2076207"/>
              <a:gd name="csX117" fmla="*/ 232677 w 765535"/>
              <a:gd name="csY117" fmla="*/ 1320279 h 2076207"/>
              <a:gd name="csX118" fmla="*/ 209182 w 765535"/>
              <a:gd name="csY118" fmla="*/ 1468667 h 2076207"/>
              <a:gd name="csX119" fmla="*/ 175302 w 765535"/>
              <a:gd name="csY119" fmla="*/ 1616623 h 2076207"/>
              <a:gd name="csX120" fmla="*/ 182769 w 765535"/>
              <a:gd name="csY120" fmla="*/ 1629786 h 2076207"/>
              <a:gd name="csX121" fmla="*/ 212156 w 765535"/>
              <a:gd name="csY121" fmla="*/ 1632656 h 2076207"/>
              <a:gd name="csX122" fmla="*/ 351295 w 765535"/>
              <a:gd name="csY122" fmla="*/ 1632801 h 2076207"/>
              <a:gd name="csX123" fmla="*/ 376150 w 765535"/>
              <a:gd name="csY123" fmla="*/ 1608307 h 2076207"/>
              <a:gd name="csX124" fmla="*/ 373450 w 765535"/>
              <a:gd name="csY124" fmla="*/ 1457291 h 2076207"/>
              <a:gd name="csX125" fmla="*/ 370936 w 765535"/>
              <a:gd name="csY125" fmla="*/ 1342736 h 2076207"/>
              <a:gd name="csX126" fmla="*/ 368328 w 765535"/>
              <a:gd name="csY126" fmla="*/ 1203878 h 2076207"/>
              <a:gd name="csX127" fmla="*/ 367836 w 765535"/>
              <a:gd name="csY127" fmla="*/ 813478 h 2076207"/>
              <a:gd name="csX128" fmla="*/ 365240 w 765535"/>
              <a:gd name="csY128" fmla="*/ 773243 h 2076207"/>
              <a:gd name="csX129" fmla="*/ 353084 w 765535"/>
              <a:gd name="csY129" fmla="*/ 762083 h 2076207"/>
              <a:gd name="csX130" fmla="*/ 280966 w 765535"/>
              <a:gd name="csY130" fmla="*/ 759855 h 2076207"/>
              <a:gd name="csX131" fmla="*/ 259965 w 765535"/>
              <a:gd name="csY131" fmla="*/ 779553 h 2076207"/>
              <a:gd name="csX132" fmla="*/ 262341 w 765535"/>
              <a:gd name="csY132" fmla="*/ 856275 h 2076207"/>
              <a:gd name="csX133" fmla="*/ 259999 w 765535"/>
              <a:gd name="csY133" fmla="*/ 966699 h 2076207"/>
              <a:gd name="csX134" fmla="*/ 55556 w 765535"/>
              <a:gd name="csY134" fmla="*/ 1835827 h 2076207"/>
              <a:gd name="csX135" fmla="*/ 49393 w 765535"/>
              <a:gd name="csY135" fmla="*/ 1878155 h 2076207"/>
              <a:gd name="csX136" fmla="*/ 73949 w 765535"/>
              <a:gd name="csY136" fmla="*/ 1905781 h 2076207"/>
              <a:gd name="csX137" fmla="*/ 110073 w 765535"/>
              <a:gd name="csY137" fmla="*/ 1909068 h 2076207"/>
              <a:gd name="csX138" fmla="*/ 224745 w 765535"/>
              <a:gd name="csY138" fmla="*/ 1921652 h 2076207"/>
              <a:gd name="csX139" fmla="*/ 347327 w 765535"/>
              <a:gd name="csY139" fmla="*/ 1924778 h 2076207"/>
              <a:gd name="csX140" fmla="*/ 363345 w 765535"/>
              <a:gd name="csY140" fmla="*/ 1923293 h 2076207"/>
              <a:gd name="csX141" fmla="*/ 373787 w 765535"/>
              <a:gd name="csY141" fmla="*/ 1911200 h 2076207"/>
              <a:gd name="csX142" fmla="*/ 376623 w 765535"/>
              <a:gd name="csY142" fmla="*/ 1696741 h 2076207"/>
              <a:gd name="csX143" fmla="*/ 360437 w 765535"/>
              <a:gd name="csY143" fmla="*/ 1681289 h 2076207"/>
              <a:gd name="csX144" fmla="*/ 263503 w 765535"/>
              <a:gd name="csY144" fmla="*/ 1678179 h 2076207"/>
              <a:gd name="csX145" fmla="*/ 160381 w 765535"/>
              <a:gd name="csY145" fmla="*/ 1670405 h 2076207"/>
              <a:gd name="csX146" fmla="*/ 143321 w 765535"/>
              <a:gd name="csY146" fmla="*/ 1685538 h 2076207"/>
              <a:gd name="csX147" fmla="*/ 124769 w 765535"/>
              <a:gd name="csY147" fmla="*/ 1738195 h 2076207"/>
              <a:gd name="csX148" fmla="*/ 90593 w 765535"/>
              <a:gd name="csY148" fmla="*/ 1779570 h 2076207"/>
              <a:gd name="csX149" fmla="*/ 55556 w 765535"/>
              <a:gd name="csY149" fmla="*/ 1835827 h 2076207"/>
              <a:gd name="csX150" fmla="*/ 378900 w 765535"/>
              <a:gd name="csY150" fmla="*/ 2007280 h 2076207"/>
              <a:gd name="csX151" fmla="*/ 378887 w 765535"/>
              <a:gd name="csY151" fmla="*/ 1995127 h 2076207"/>
              <a:gd name="csX152" fmla="*/ 359084 w 765535"/>
              <a:gd name="csY152" fmla="*/ 1975964 h 2076207"/>
              <a:gd name="csX153" fmla="*/ 247288 w 765535"/>
              <a:gd name="csY153" fmla="*/ 1973305 h 2076207"/>
              <a:gd name="csX154" fmla="*/ 201692 w 765535"/>
              <a:gd name="csY154" fmla="*/ 1970275 h 2076207"/>
              <a:gd name="csX155" fmla="*/ 57962 w 765535"/>
              <a:gd name="csY155" fmla="*/ 1952648 h 2076207"/>
              <a:gd name="csX156" fmla="*/ 39194 w 765535"/>
              <a:gd name="csY156" fmla="*/ 1963552 h 2076207"/>
              <a:gd name="csX157" fmla="*/ 30066 w 765535"/>
              <a:gd name="csY157" fmla="*/ 2006631 h 2076207"/>
              <a:gd name="csX158" fmla="*/ 40232 w 765535"/>
              <a:gd name="csY158" fmla="*/ 2019486 h 2076207"/>
              <a:gd name="csX159" fmla="*/ 238186 w 765535"/>
              <a:gd name="csY159" fmla="*/ 2046096 h 2076207"/>
              <a:gd name="csX160" fmla="*/ 342155 w 765535"/>
              <a:gd name="csY160" fmla="*/ 2046441 h 2076207"/>
              <a:gd name="csX161" fmla="*/ 378900 w 765535"/>
              <a:gd name="csY161" fmla="*/ 2007280 h 2076207"/>
              <a:gd name="csX162" fmla="*/ 310220 w 765535"/>
              <a:gd name="csY162" fmla="*/ 554288 h 2076207"/>
              <a:gd name="csX163" fmla="*/ 259136 w 765535"/>
              <a:gd name="csY163" fmla="*/ 556881 h 2076207"/>
              <a:gd name="csX164" fmla="*/ 249085 w 765535"/>
              <a:gd name="csY164" fmla="*/ 567981 h 2076207"/>
              <a:gd name="csX165" fmla="*/ 249141 w 765535"/>
              <a:gd name="csY165" fmla="*/ 605644 h 2076207"/>
              <a:gd name="csX166" fmla="*/ 262628 w 765535"/>
              <a:gd name="csY166" fmla="*/ 605627 h 2076207"/>
              <a:gd name="csX167" fmla="*/ 369608 w 765535"/>
              <a:gd name="csY167" fmla="*/ 603027 h 2076207"/>
              <a:gd name="csX168" fmla="*/ 463931 w 765535"/>
              <a:gd name="csY168" fmla="*/ 605146 h 2076207"/>
              <a:gd name="csX169" fmla="*/ 478113 w 765535"/>
              <a:gd name="csY169" fmla="*/ 595843 h 2076207"/>
              <a:gd name="csX170" fmla="*/ 478796 w 765535"/>
              <a:gd name="csY170" fmla="*/ 556832 h 2076207"/>
              <a:gd name="csX171" fmla="*/ 310220 w 765535"/>
              <a:gd name="csY171" fmla="*/ 554288 h 2076207"/>
              <a:gd name="csX172" fmla="*/ 348836 w 765535"/>
              <a:gd name="csY172" fmla="*/ 684115 h 2076207"/>
              <a:gd name="csX173" fmla="*/ 281333 w 765535"/>
              <a:gd name="csY173" fmla="*/ 683313 h 2076207"/>
              <a:gd name="csX174" fmla="*/ 212728 w 765535"/>
              <a:gd name="csY174" fmla="*/ 681931 h 2076207"/>
              <a:gd name="csX175" fmla="*/ 187283 w 765535"/>
              <a:gd name="csY175" fmla="*/ 689555 h 2076207"/>
              <a:gd name="csX176" fmla="*/ 186163 w 765535"/>
              <a:gd name="csY176" fmla="*/ 718266 h 2076207"/>
              <a:gd name="csX177" fmla="*/ 209894 w 765535"/>
              <a:gd name="csY177" fmla="*/ 726798 h 2076207"/>
              <a:gd name="csX178" fmla="*/ 334814 w 765535"/>
              <a:gd name="csY178" fmla="*/ 732494 h 2076207"/>
              <a:gd name="csX179" fmla="*/ 364856 w 765535"/>
              <a:gd name="csY179" fmla="*/ 707963 h 2076207"/>
              <a:gd name="csX180" fmla="*/ 348836 w 765535"/>
              <a:gd name="csY180" fmla="*/ 684115 h 2076207"/>
              <a:gd name="csX181" fmla="*/ 298865 w 765535"/>
              <a:gd name="csY181" fmla="*/ 621954 h 2076207"/>
              <a:gd name="csX182" fmla="*/ 251619 w 765535"/>
              <a:gd name="csY182" fmla="*/ 622133 h 2076207"/>
              <a:gd name="csX183" fmla="*/ 214459 w 765535"/>
              <a:gd name="csY183" fmla="*/ 636230 h 2076207"/>
              <a:gd name="csX184" fmla="*/ 221436 w 765535"/>
              <a:gd name="csY184" fmla="*/ 654205 h 2076207"/>
              <a:gd name="csX185" fmla="*/ 272412 w 765535"/>
              <a:gd name="csY185" fmla="*/ 657250 h 2076207"/>
              <a:gd name="csX186" fmla="*/ 349094 w 765535"/>
              <a:gd name="csY186" fmla="*/ 659282 h 2076207"/>
              <a:gd name="csX187" fmla="*/ 362996 w 765535"/>
              <a:gd name="csY187" fmla="*/ 644234 h 2076207"/>
              <a:gd name="csX188" fmla="*/ 348472 w 765535"/>
              <a:gd name="csY188" fmla="*/ 624649 h 2076207"/>
              <a:gd name="csX189" fmla="*/ 298865 w 765535"/>
              <a:gd name="csY189" fmla="*/ 621954 h 2076207"/>
              <a:gd name="csX190" fmla="*/ 227796 w 765535"/>
              <a:gd name="csY190" fmla="*/ 528000 h 2076207"/>
              <a:gd name="csX191" fmla="*/ 241009 w 765535"/>
              <a:gd name="csY191" fmla="*/ 545897 h 2076207"/>
              <a:gd name="csX192" fmla="*/ 282607 w 765535"/>
              <a:gd name="csY192" fmla="*/ 543480 h 2076207"/>
              <a:gd name="csX193" fmla="*/ 354213 w 765535"/>
              <a:gd name="csY193" fmla="*/ 543384 h 2076207"/>
              <a:gd name="csX194" fmla="*/ 365334 w 765535"/>
              <a:gd name="csY194" fmla="*/ 533397 h 2076207"/>
              <a:gd name="csX195" fmla="*/ 354531 w 765535"/>
              <a:gd name="csY195" fmla="*/ 521620 h 2076207"/>
              <a:gd name="csX196" fmla="*/ 259169 w 765535"/>
              <a:gd name="csY196" fmla="*/ 521978 h 2076207"/>
              <a:gd name="csX197" fmla="*/ 227796 w 765535"/>
              <a:gd name="csY197" fmla="*/ 528000 h 2076207"/>
              <a:gd name="csX198" fmla="*/ 508068 w 765535"/>
              <a:gd name="csY198" fmla="*/ 190710 h 2076207"/>
              <a:gd name="csX199" fmla="*/ 521293 w 765535"/>
              <a:gd name="csY199" fmla="*/ 205907 h 2076207"/>
              <a:gd name="csX200" fmla="*/ 525175 w 765535"/>
              <a:gd name="csY200" fmla="*/ 202985 h 2076207"/>
              <a:gd name="csX201" fmla="*/ 500276 w 765535"/>
              <a:gd name="csY201" fmla="*/ 160640 h 2076207"/>
              <a:gd name="csX202" fmla="*/ 497122 w 765535"/>
              <a:gd name="csY202" fmla="*/ 162007 h 2076207"/>
              <a:gd name="csX203" fmla="*/ 508068 w 765535"/>
              <a:gd name="csY203" fmla="*/ 190710 h 2076207"/>
              <a:gd name="csX204" fmla="*/ 215522 w 765535"/>
              <a:gd name="csY204" fmla="*/ 197296 h 2076207"/>
              <a:gd name="csX205" fmla="*/ 234029 w 765535"/>
              <a:gd name="csY205" fmla="*/ 162725 h 2076207"/>
              <a:gd name="csX206" fmla="*/ 229000 w 765535"/>
              <a:gd name="csY206" fmla="*/ 159902 h 2076207"/>
              <a:gd name="csX207" fmla="*/ 204824 w 765535"/>
              <a:gd name="csY207" fmla="*/ 199677 h 2076207"/>
              <a:gd name="csX208" fmla="*/ 207990 w 765535"/>
              <a:gd name="csY208" fmla="*/ 202198 h 2076207"/>
              <a:gd name="csX209" fmla="*/ 215522 w 765535"/>
              <a:gd name="csY209" fmla="*/ 197296 h 2076207"/>
              <a:gd name="csX210" fmla="*/ 484400 w 765535"/>
              <a:gd name="csY210" fmla="*/ 896678 h 2076207"/>
              <a:gd name="csX211" fmla="*/ 486181 w 765535"/>
              <a:gd name="csY211" fmla="*/ 896585 h 2076207"/>
              <a:gd name="csX212" fmla="*/ 486181 w 765535"/>
              <a:gd name="csY212" fmla="*/ 795289 h 2076207"/>
              <a:gd name="csX213" fmla="*/ 720241 w 765535"/>
              <a:gd name="csY213" fmla="*/ 2030666 h 2076207"/>
              <a:gd name="csX214" fmla="*/ 721175 w 765535"/>
              <a:gd name="csY214" fmla="*/ 2029733 h 2076207"/>
              <a:gd name="csX215" fmla="*/ 720241 w 765535"/>
              <a:gd name="csY215" fmla="*/ 2030666 h 2076207"/>
              <a:gd name="csX216" fmla="*/ 715702 w 765535"/>
              <a:gd name="csY216" fmla="*/ 2037051 h 2076207"/>
              <a:gd name="csX217" fmla="*/ 715702 w 765535"/>
              <a:gd name="csY217" fmla="*/ 2037051 h 2076207"/>
              <a:gd name="csX0" fmla="*/ 96263 w 733006"/>
              <a:gd name="csY0" fmla="*/ 2076207 h 2076207"/>
              <a:gd name="csX1" fmla="*/ 63862 w 733006"/>
              <a:gd name="csY1" fmla="*/ 2065388 h 2076207"/>
              <a:gd name="csX2" fmla="*/ 16555 w 733006"/>
              <a:gd name="csY2" fmla="*/ 2050152 h 2076207"/>
              <a:gd name="csX3" fmla="*/ 15 w 733006"/>
              <a:gd name="csY3" fmla="*/ 2023802 h 2076207"/>
              <a:gd name="csX4" fmla="*/ 18368 w 733006"/>
              <a:gd name="csY4" fmla="*/ 1940709 h 2076207"/>
              <a:gd name="csX5" fmla="*/ 22139 w 733006"/>
              <a:gd name="csY5" fmla="*/ 1907268 h 2076207"/>
              <a:gd name="csX6" fmla="*/ 57941 w 733006"/>
              <a:gd name="csY6" fmla="*/ 1774163 h 2076207"/>
              <a:gd name="csX7" fmla="*/ 102478 w 733006"/>
              <a:gd name="csY7" fmla="*/ 1720275 h 2076207"/>
              <a:gd name="csX8" fmla="*/ 108579 w 733006"/>
              <a:gd name="csY8" fmla="*/ 1650967 h 2076207"/>
              <a:gd name="csX9" fmla="*/ 115628 w 733006"/>
              <a:gd name="csY9" fmla="*/ 1625405 h 2076207"/>
              <a:gd name="csX10" fmla="*/ 156323 w 733006"/>
              <a:gd name="csY10" fmla="*/ 1560181 h 2076207"/>
              <a:gd name="csX11" fmla="*/ 199424 w 733006"/>
              <a:gd name="csY11" fmla="*/ 1364729 h 2076207"/>
              <a:gd name="csX12" fmla="*/ 216779 w 733006"/>
              <a:gd name="csY12" fmla="*/ 1219490 h 2076207"/>
              <a:gd name="csX13" fmla="*/ 229755 w 733006"/>
              <a:gd name="csY13" fmla="*/ 1099357 h 2076207"/>
              <a:gd name="csX14" fmla="*/ 232707 w 733006"/>
              <a:gd name="csY14" fmla="*/ 1056423 h 2076207"/>
              <a:gd name="csX15" fmla="*/ 235622 w 733006"/>
              <a:gd name="csY15" fmla="*/ 952675 h 2076207"/>
              <a:gd name="csX16" fmla="*/ 235445 w 733006"/>
              <a:gd name="csY16" fmla="*/ 780278 h 2076207"/>
              <a:gd name="csX17" fmla="*/ 214544 w 733006"/>
              <a:gd name="csY17" fmla="*/ 756435 h 2076207"/>
              <a:gd name="csX18" fmla="*/ 172569 w 733006"/>
              <a:gd name="csY18" fmla="*/ 742582 h 2076207"/>
              <a:gd name="csX19" fmla="*/ 168784 w 733006"/>
              <a:gd name="csY19" fmla="*/ 669116 h 2076207"/>
              <a:gd name="csX20" fmla="*/ 191657 w 733006"/>
              <a:gd name="csY20" fmla="*/ 630765 h 2076207"/>
              <a:gd name="csX21" fmla="*/ 208150 w 733006"/>
              <a:gd name="csY21" fmla="*/ 609084 h 2076207"/>
              <a:gd name="csX22" fmla="*/ 216756 w 733006"/>
              <a:gd name="csY22" fmla="*/ 558673 h 2076207"/>
              <a:gd name="csX23" fmla="*/ 209092 w 733006"/>
              <a:gd name="csY23" fmla="*/ 521540 h 2076207"/>
              <a:gd name="csX24" fmla="*/ 204683 w 733006"/>
              <a:gd name="csY24" fmla="*/ 474024 h 2076207"/>
              <a:gd name="csX25" fmla="*/ 115483 w 733006"/>
              <a:gd name="csY25" fmla="*/ 213499 h 2076207"/>
              <a:gd name="csX26" fmla="*/ 102909 w 733006"/>
              <a:gd name="csY26" fmla="*/ 182297 h 2076207"/>
              <a:gd name="csX27" fmla="*/ 104315 w 733006"/>
              <a:gd name="csY27" fmla="*/ 163968 h 2076207"/>
              <a:gd name="csX28" fmla="*/ 122444 w 733006"/>
              <a:gd name="csY28" fmla="*/ 160805 h 2076207"/>
              <a:gd name="csX29" fmla="*/ 170283 w 733006"/>
              <a:gd name="csY29" fmla="*/ 187783 h 2076207"/>
              <a:gd name="csX30" fmla="*/ 180938 w 733006"/>
              <a:gd name="csY30" fmla="*/ 195322 h 2076207"/>
              <a:gd name="csX31" fmla="*/ 221419 w 733006"/>
              <a:gd name="csY31" fmla="*/ 138058 h 2076207"/>
              <a:gd name="csX32" fmla="*/ 294099 w 733006"/>
              <a:gd name="csY32" fmla="*/ 91372 h 2076207"/>
              <a:gd name="csX33" fmla="*/ 302307 w 733006"/>
              <a:gd name="csY33" fmla="*/ 76560 h 2076207"/>
              <a:gd name="csX34" fmla="*/ 320284 w 733006"/>
              <a:gd name="csY34" fmla="*/ 8414 h 2076207"/>
              <a:gd name="csX35" fmla="*/ 324784 w 733006"/>
              <a:gd name="csY35" fmla="*/ 946 h 2076207"/>
              <a:gd name="csX36" fmla="*/ 399212 w 733006"/>
              <a:gd name="csY36" fmla="*/ 0 h 2076207"/>
              <a:gd name="csX37" fmla="*/ 425980 w 733006"/>
              <a:gd name="csY37" fmla="*/ 78301 h 2076207"/>
              <a:gd name="csX38" fmla="*/ 431861 w 733006"/>
              <a:gd name="csY38" fmla="*/ 90312 h 2076207"/>
              <a:gd name="csX39" fmla="*/ 540349 w 733006"/>
              <a:gd name="csY39" fmla="*/ 187946 h 2076207"/>
              <a:gd name="csX40" fmla="*/ 545555 w 733006"/>
              <a:gd name="csY40" fmla="*/ 197828 h 2076207"/>
              <a:gd name="csX41" fmla="*/ 587318 w 733006"/>
              <a:gd name="csY41" fmla="*/ 171260 h 2076207"/>
              <a:gd name="csX42" fmla="*/ 601503 w 733006"/>
              <a:gd name="csY42" fmla="*/ 163707 h 2076207"/>
              <a:gd name="csX43" fmla="*/ 625254 w 733006"/>
              <a:gd name="csY43" fmla="*/ 163123 h 2076207"/>
              <a:gd name="csX44" fmla="*/ 625468 w 733006"/>
              <a:gd name="csY44" fmla="*/ 187579 h 2076207"/>
              <a:gd name="csX45" fmla="*/ 597543 w 733006"/>
              <a:gd name="csY45" fmla="*/ 251872 h 2076207"/>
              <a:gd name="csX46" fmla="*/ 531831 w 733006"/>
              <a:gd name="csY46" fmla="*/ 442689 h 2076207"/>
              <a:gd name="csX47" fmla="*/ 519888 w 733006"/>
              <a:gd name="csY47" fmla="*/ 501474 h 2076207"/>
              <a:gd name="csX48" fmla="*/ 522506 w 733006"/>
              <a:gd name="csY48" fmla="*/ 525086 h 2076207"/>
              <a:gd name="csX49" fmla="*/ 516235 w 733006"/>
              <a:gd name="csY49" fmla="*/ 555946 h 2076207"/>
              <a:gd name="csX50" fmla="*/ 521332 w 733006"/>
              <a:gd name="csY50" fmla="*/ 610676 h 2076207"/>
              <a:gd name="csX51" fmla="*/ 541382 w 733006"/>
              <a:gd name="csY51" fmla="*/ 642597 h 2076207"/>
              <a:gd name="csX52" fmla="*/ 557031 w 733006"/>
              <a:gd name="csY52" fmla="*/ 667949 h 2076207"/>
              <a:gd name="csX53" fmla="*/ 553994 w 733006"/>
              <a:gd name="csY53" fmla="*/ 744146 h 2076207"/>
              <a:gd name="csX54" fmla="*/ 508215 w 733006"/>
              <a:gd name="csY54" fmla="*/ 758841 h 2076207"/>
              <a:gd name="csX55" fmla="*/ 497442 w 733006"/>
              <a:gd name="csY55" fmla="*/ 771256 h 2076207"/>
              <a:gd name="csX56" fmla="*/ 493005 w 733006"/>
              <a:gd name="csY56" fmla="*/ 922055 h 2076207"/>
              <a:gd name="csX57" fmla="*/ 502900 w 733006"/>
              <a:gd name="csY57" fmla="*/ 1114191 h 2076207"/>
              <a:gd name="csX58" fmla="*/ 508800 w 733006"/>
              <a:gd name="csY58" fmla="*/ 1205474 h 2076207"/>
              <a:gd name="csX59" fmla="*/ 522952 w 733006"/>
              <a:gd name="csY59" fmla="*/ 1320065 h 2076207"/>
              <a:gd name="csX60" fmla="*/ 554682 w 733006"/>
              <a:gd name="csY60" fmla="*/ 1501203 h 2076207"/>
              <a:gd name="csX61" fmla="*/ 576958 w 733006"/>
              <a:gd name="csY61" fmla="*/ 1593963 h 2076207"/>
              <a:gd name="csX62" fmla="*/ 595349 w 733006"/>
              <a:gd name="csY62" fmla="*/ 1613498 h 2076207"/>
              <a:gd name="csX63" fmla="*/ 613936 w 733006"/>
              <a:gd name="csY63" fmla="*/ 1624058 h 2076207"/>
              <a:gd name="csX64" fmla="*/ 620938 w 733006"/>
              <a:gd name="csY64" fmla="*/ 1652071 h 2076207"/>
              <a:gd name="csX65" fmla="*/ 630805 w 733006"/>
              <a:gd name="csY65" fmla="*/ 1721702 h 2076207"/>
              <a:gd name="csX66" fmla="*/ 685830 w 733006"/>
              <a:gd name="csY66" fmla="*/ 1792915 h 2076207"/>
              <a:gd name="csX67" fmla="*/ 708904 w 733006"/>
              <a:gd name="csY67" fmla="*/ 1890290 h 2076207"/>
              <a:gd name="csX68" fmla="*/ 716580 w 733006"/>
              <a:gd name="csY68" fmla="*/ 1951136 h 2076207"/>
              <a:gd name="csX69" fmla="*/ 729397 w 733006"/>
              <a:gd name="csY69" fmla="*/ 2030261 h 2076207"/>
              <a:gd name="csX70" fmla="*/ 714212 w 733006"/>
              <a:gd name="csY70" fmla="*/ 2049544 h 2076207"/>
              <a:gd name="csX71" fmla="*/ 96263 w 733006"/>
              <a:gd name="csY71" fmla="*/ 2076207 h 2076207"/>
              <a:gd name="csX72" fmla="*/ 489970 w 733006"/>
              <a:gd name="csY72" fmla="*/ 152208 h 2076207"/>
              <a:gd name="csX73" fmla="*/ 490754 w 733006"/>
              <a:gd name="csY73" fmla="*/ 152592 h 2076207"/>
              <a:gd name="csX74" fmla="*/ 489489 w 733006"/>
              <a:gd name="csY74" fmla="*/ 149547 h 2076207"/>
              <a:gd name="csX75" fmla="*/ 393621 w 733006"/>
              <a:gd name="csY75" fmla="*/ 99259 h 2076207"/>
              <a:gd name="csX76" fmla="*/ 390419 w 733006"/>
              <a:gd name="csY76" fmla="*/ 18568 h 2076207"/>
              <a:gd name="csX77" fmla="*/ 334131 w 733006"/>
              <a:gd name="csY77" fmla="*/ 24327 h 2076207"/>
              <a:gd name="csX78" fmla="*/ 344678 w 733006"/>
              <a:gd name="csY78" fmla="*/ 101259 h 2076207"/>
              <a:gd name="csX79" fmla="*/ 298854 w 733006"/>
              <a:gd name="csY79" fmla="*/ 114003 h 2076207"/>
              <a:gd name="csX80" fmla="*/ 237456 w 733006"/>
              <a:gd name="csY80" fmla="*/ 154340 h 2076207"/>
              <a:gd name="csX81" fmla="*/ 240382 w 733006"/>
              <a:gd name="csY81" fmla="*/ 154035 h 2076207"/>
              <a:gd name="csX82" fmla="*/ 262731 w 733006"/>
              <a:gd name="csY82" fmla="*/ 170426 h 2076207"/>
              <a:gd name="csX83" fmla="*/ 279169 w 733006"/>
              <a:gd name="csY83" fmla="*/ 193173 h 2076207"/>
              <a:gd name="csX84" fmla="*/ 327717 w 733006"/>
              <a:gd name="csY84" fmla="*/ 188556 h 2076207"/>
              <a:gd name="csX85" fmla="*/ 348052 w 733006"/>
              <a:gd name="csY85" fmla="*/ 156919 h 2076207"/>
              <a:gd name="csX86" fmla="*/ 380330 w 733006"/>
              <a:gd name="csY86" fmla="*/ 156483 h 2076207"/>
              <a:gd name="csX87" fmla="*/ 408490 w 733006"/>
              <a:gd name="csY87" fmla="*/ 195400 h 2076207"/>
              <a:gd name="csX88" fmla="*/ 445346 w 733006"/>
              <a:gd name="csY88" fmla="*/ 197582 h 2076207"/>
              <a:gd name="csX89" fmla="*/ 464798 w 733006"/>
              <a:gd name="csY89" fmla="*/ 174107 h 2076207"/>
              <a:gd name="csX90" fmla="*/ 489970 w 733006"/>
              <a:gd name="csY90" fmla="*/ 152208 h 2076207"/>
              <a:gd name="csX91" fmla="*/ 140694 w 733006"/>
              <a:gd name="csY91" fmla="*/ 201837 h 2076207"/>
              <a:gd name="csX92" fmla="*/ 139834 w 733006"/>
              <a:gd name="csY92" fmla="*/ 201482 h 2076207"/>
              <a:gd name="csX93" fmla="*/ 140812 w 733006"/>
              <a:gd name="csY93" fmla="*/ 204941 h 2076207"/>
              <a:gd name="csX94" fmla="*/ 144631 w 733006"/>
              <a:gd name="csY94" fmla="*/ 217811 h 2076207"/>
              <a:gd name="csX95" fmla="*/ 201241 w 733006"/>
              <a:gd name="csY95" fmla="*/ 373387 h 2076207"/>
              <a:gd name="csX96" fmla="*/ 235971 w 733006"/>
              <a:gd name="csY96" fmla="*/ 504451 h 2076207"/>
              <a:gd name="csX97" fmla="*/ 247475 w 733006"/>
              <a:gd name="csY97" fmla="*/ 513241 h 2076207"/>
              <a:gd name="csX98" fmla="*/ 289066 w 733006"/>
              <a:gd name="csY98" fmla="*/ 511170 h 2076207"/>
              <a:gd name="csX99" fmla="*/ 378229 w 733006"/>
              <a:gd name="csY99" fmla="*/ 511084 h 2076207"/>
              <a:gd name="csX100" fmla="*/ 470850 w 733006"/>
              <a:gd name="csY100" fmla="*/ 516341 h 2076207"/>
              <a:gd name="csX101" fmla="*/ 492933 w 733006"/>
              <a:gd name="csY101" fmla="*/ 497969 h 2076207"/>
              <a:gd name="csX102" fmla="*/ 557617 w 733006"/>
              <a:gd name="csY102" fmla="*/ 280398 h 2076207"/>
              <a:gd name="csX103" fmla="*/ 588788 w 733006"/>
              <a:gd name="csY103" fmla="*/ 200385 h 2076207"/>
              <a:gd name="csX104" fmla="*/ 530958 w 733006"/>
              <a:gd name="csY104" fmla="*/ 232968 h 2076207"/>
              <a:gd name="csX105" fmla="*/ 483823 w 733006"/>
              <a:gd name="csY105" fmla="*/ 190364 h 2076207"/>
              <a:gd name="csX106" fmla="*/ 466649 w 733006"/>
              <a:gd name="csY106" fmla="*/ 209061 h 2076207"/>
              <a:gd name="csX107" fmla="*/ 399941 w 733006"/>
              <a:gd name="csY107" fmla="*/ 216988 h 2076207"/>
              <a:gd name="csX108" fmla="*/ 363018 w 733006"/>
              <a:gd name="csY108" fmla="*/ 179615 h 2076207"/>
              <a:gd name="csX109" fmla="*/ 308839 w 733006"/>
              <a:gd name="csY109" fmla="*/ 227846 h 2076207"/>
              <a:gd name="csX110" fmla="*/ 245077 w 733006"/>
              <a:gd name="csY110" fmla="*/ 192402 h 2076207"/>
              <a:gd name="csX111" fmla="*/ 242829 w 733006"/>
              <a:gd name="csY111" fmla="*/ 198815 h 2076207"/>
              <a:gd name="csX112" fmla="*/ 168452 w 733006"/>
              <a:gd name="csY112" fmla="*/ 219348 h 2076207"/>
              <a:gd name="csX113" fmla="*/ 140694 w 733006"/>
              <a:gd name="csY113" fmla="*/ 201837 h 2076207"/>
              <a:gd name="csX114" fmla="*/ 259999 w 733006"/>
              <a:gd name="csY114" fmla="*/ 966699 h 2076207"/>
              <a:gd name="csX115" fmla="*/ 257072 w 733006"/>
              <a:gd name="csY115" fmla="*/ 1070424 h 2076207"/>
              <a:gd name="csX116" fmla="*/ 251372 w 733006"/>
              <a:gd name="csY116" fmla="*/ 1157618 h 2076207"/>
              <a:gd name="csX117" fmla="*/ 232677 w 733006"/>
              <a:gd name="csY117" fmla="*/ 1320279 h 2076207"/>
              <a:gd name="csX118" fmla="*/ 209182 w 733006"/>
              <a:gd name="csY118" fmla="*/ 1468667 h 2076207"/>
              <a:gd name="csX119" fmla="*/ 175302 w 733006"/>
              <a:gd name="csY119" fmla="*/ 1616623 h 2076207"/>
              <a:gd name="csX120" fmla="*/ 182769 w 733006"/>
              <a:gd name="csY120" fmla="*/ 1629786 h 2076207"/>
              <a:gd name="csX121" fmla="*/ 212156 w 733006"/>
              <a:gd name="csY121" fmla="*/ 1632656 h 2076207"/>
              <a:gd name="csX122" fmla="*/ 351295 w 733006"/>
              <a:gd name="csY122" fmla="*/ 1632801 h 2076207"/>
              <a:gd name="csX123" fmla="*/ 376150 w 733006"/>
              <a:gd name="csY123" fmla="*/ 1608307 h 2076207"/>
              <a:gd name="csX124" fmla="*/ 373450 w 733006"/>
              <a:gd name="csY124" fmla="*/ 1457291 h 2076207"/>
              <a:gd name="csX125" fmla="*/ 370936 w 733006"/>
              <a:gd name="csY125" fmla="*/ 1342736 h 2076207"/>
              <a:gd name="csX126" fmla="*/ 368328 w 733006"/>
              <a:gd name="csY126" fmla="*/ 1203878 h 2076207"/>
              <a:gd name="csX127" fmla="*/ 367836 w 733006"/>
              <a:gd name="csY127" fmla="*/ 813478 h 2076207"/>
              <a:gd name="csX128" fmla="*/ 365240 w 733006"/>
              <a:gd name="csY128" fmla="*/ 773243 h 2076207"/>
              <a:gd name="csX129" fmla="*/ 353084 w 733006"/>
              <a:gd name="csY129" fmla="*/ 762083 h 2076207"/>
              <a:gd name="csX130" fmla="*/ 280966 w 733006"/>
              <a:gd name="csY130" fmla="*/ 759855 h 2076207"/>
              <a:gd name="csX131" fmla="*/ 259965 w 733006"/>
              <a:gd name="csY131" fmla="*/ 779553 h 2076207"/>
              <a:gd name="csX132" fmla="*/ 262341 w 733006"/>
              <a:gd name="csY132" fmla="*/ 856275 h 2076207"/>
              <a:gd name="csX133" fmla="*/ 259999 w 733006"/>
              <a:gd name="csY133" fmla="*/ 966699 h 2076207"/>
              <a:gd name="csX134" fmla="*/ 55556 w 733006"/>
              <a:gd name="csY134" fmla="*/ 1835827 h 2076207"/>
              <a:gd name="csX135" fmla="*/ 49393 w 733006"/>
              <a:gd name="csY135" fmla="*/ 1878155 h 2076207"/>
              <a:gd name="csX136" fmla="*/ 73949 w 733006"/>
              <a:gd name="csY136" fmla="*/ 1905781 h 2076207"/>
              <a:gd name="csX137" fmla="*/ 110073 w 733006"/>
              <a:gd name="csY137" fmla="*/ 1909068 h 2076207"/>
              <a:gd name="csX138" fmla="*/ 224745 w 733006"/>
              <a:gd name="csY138" fmla="*/ 1921652 h 2076207"/>
              <a:gd name="csX139" fmla="*/ 347327 w 733006"/>
              <a:gd name="csY139" fmla="*/ 1924778 h 2076207"/>
              <a:gd name="csX140" fmla="*/ 363345 w 733006"/>
              <a:gd name="csY140" fmla="*/ 1923293 h 2076207"/>
              <a:gd name="csX141" fmla="*/ 373787 w 733006"/>
              <a:gd name="csY141" fmla="*/ 1911200 h 2076207"/>
              <a:gd name="csX142" fmla="*/ 376623 w 733006"/>
              <a:gd name="csY142" fmla="*/ 1696741 h 2076207"/>
              <a:gd name="csX143" fmla="*/ 360437 w 733006"/>
              <a:gd name="csY143" fmla="*/ 1681289 h 2076207"/>
              <a:gd name="csX144" fmla="*/ 263503 w 733006"/>
              <a:gd name="csY144" fmla="*/ 1678179 h 2076207"/>
              <a:gd name="csX145" fmla="*/ 160381 w 733006"/>
              <a:gd name="csY145" fmla="*/ 1670405 h 2076207"/>
              <a:gd name="csX146" fmla="*/ 143321 w 733006"/>
              <a:gd name="csY146" fmla="*/ 1685538 h 2076207"/>
              <a:gd name="csX147" fmla="*/ 124769 w 733006"/>
              <a:gd name="csY147" fmla="*/ 1738195 h 2076207"/>
              <a:gd name="csX148" fmla="*/ 90593 w 733006"/>
              <a:gd name="csY148" fmla="*/ 1779570 h 2076207"/>
              <a:gd name="csX149" fmla="*/ 55556 w 733006"/>
              <a:gd name="csY149" fmla="*/ 1835827 h 2076207"/>
              <a:gd name="csX150" fmla="*/ 378900 w 733006"/>
              <a:gd name="csY150" fmla="*/ 2007280 h 2076207"/>
              <a:gd name="csX151" fmla="*/ 378887 w 733006"/>
              <a:gd name="csY151" fmla="*/ 1995127 h 2076207"/>
              <a:gd name="csX152" fmla="*/ 359084 w 733006"/>
              <a:gd name="csY152" fmla="*/ 1975964 h 2076207"/>
              <a:gd name="csX153" fmla="*/ 247288 w 733006"/>
              <a:gd name="csY153" fmla="*/ 1973305 h 2076207"/>
              <a:gd name="csX154" fmla="*/ 201692 w 733006"/>
              <a:gd name="csY154" fmla="*/ 1970275 h 2076207"/>
              <a:gd name="csX155" fmla="*/ 57962 w 733006"/>
              <a:gd name="csY155" fmla="*/ 1952648 h 2076207"/>
              <a:gd name="csX156" fmla="*/ 39194 w 733006"/>
              <a:gd name="csY156" fmla="*/ 1963552 h 2076207"/>
              <a:gd name="csX157" fmla="*/ 30066 w 733006"/>
              <a:gd name="csY157" fmla="*/ 2006631 h 2076207"/>
              <a:gd name="csX158" fmla="*/ 40232 w 733006"/>
              <a:gd name="csY158" fmla="*/ 2019486 h 2076207"/>
              <a:gd name="csX159" fmla="*/ 238186 w 733006"/>
              <a:gd name="csY159" fmla="*/ 2046096 h 2076207"/>
              <a:gd name="csX160" fmla="*/ 342155 w 733006"/>
              <a:gd name="csY160" fmla="*/ 2046441 h 2076207"/>
              <a:gd name="csX161" fmla="*/ 378900 w 733006"/>
              <a:gd name="csY161" fmla="*/ 2007280 h 2076207"/>
              <a:gd name="csX162" fmla="*/ 310220 w 733006"/>
              <a:gd name="csY162" fmla="*/ 554288 h 2076207"/>
              <a:gd name="csX163" fmla="*/ 259136 w 733006"/>
              <a:gd name="csY163" fmla="*/ 556881 h 2076207"/>
              <a:gd name="csX164" fmla="*/ 249085 w 733006"/>
              <a:gd name="csY164" fmla="*/ 567981 h 2076207"/>
              <a:gd name="csX165" fmla="*/ 249141 w 733006"/>
              <a:gd name="csY165" fmla="*/ 605644 h 2076207"/>
              <a:gd name="csX166" fmla="*/ 262628 w 733006"/>
              <a:gd name="csY166" fmla="*/ 605627 h 2076207"/>
              <a:gd name="csX167" fmla="*/ 369608 w 733006"/>
              <a:gd name="csY167" fmla="*/ 603027 h 2076207"/>
              <a:gd name="csX168" fmla="*/ 463931 w 733006"/>
              <a:gd name="csY168" fmla="*/ 605146 h 2076207"/>
              <a:gd name="csX169" fmla="*/ 478113 w 733006"/>
              <a:gd name="csY169" fmla="*/ 595843 h 2076207"/>
              <a:gd name="csX170" fmla="*/ 478796 w 733006"/>
              <a:gd name="csY170" fmla="*/ 556832 h 2076207"/>
              <a:gd name="csX171" fmla="*/ 310220 w 733006"/>
              <a:gd name="csY171" fmla="*/ 554288 h 2076207"/>
              <a:gd name="csX172" fmla="*/ 348836 w 733006"/>
              <a:gd name="csY172" fmla="*/ 684115 h 2076207"/>
              <a:gd name="csX173" fmla="*/ 281333 w 733006"/>
              <a:gd name="csY173" fmla="*/ 683313 h 2076207"/>
              <a:gd name="csX174" fmla="*/ 212728 w 733006"/>
              <a:gd name="csY174" fmla="*/ 681931 h 2076207"/>
              <a:gd name="csX175" fmla="*/ 187283 w 733006"/>
              <a:gd name="csY175" fmla="*/ 689555 h 2076207"/>
              <a:gd name="csX176" fmla="*/ 186163 w 733006"/>
              <a:gd name="csY176" fmla="*/ 718266 h 2076207"/>
              <a:gd name="csX177" fmla="*/ 209894 w 733006"/>
              <a:gd name="csY177" fmla="*/ 726798 h 2076207"/>
              <a:gd name="csX178" fmla="*/ 334814 w 733006"/>
              <a:gd name="csY178" fmla="*/ 732494 h 2076207"/>
              <a:gd name="csX179" fmla="*/ 364856 w 733006"/>
              <a:gd name="csY179" fmla="*/ 707963 h 2076207"/>
              <a:gd name="csX180" fmla="*/ 348836 w 733006"/>
              <a:gd name="csY180" fmla="*/ 684115 h 2076207"/>
              <a:gd name="csX181" fmla="*/ 298865 w 733006"/>
              <a:gd name="csY181" fmla="*/ 621954 h 2076207"/>
              <a:gd name="csX182" fmla="*/ 251619 w 733006"/>
              <a:gd name="csY182" fmla="*/ 622133 h 2076207"/>
              <a:gd name="csX183" fmla="*/ 214459 w 733006"/>
              <a:gd name="csY183" fmla="*/ 636230 h 2076207"/>
              <a:gd name="csX184" fmla="*/ 221436 w 733006"/>
              <a:gd name="csY184" fmla="*/ 654205 h 2076207"/>
              <a:gd name="csX185" fmla="*/ 272412 w 733006"/>
              <a:gd name="csY185" fmla="*/ 657250 h 2076207"/>
              <a:gd name="csX186" fmla="*/ 349094 w 733006"/>
              <a:gd name="csY186" fmla="*/ 659282 h 2076207"/>
              <a:gd name="csX187" fmla="*/ 362996 w 733006"/>
              <a:gd name="csY187" fmla="*/ 644234 h 2076207"/>
              <a:gd name="csX188" fmla="*/ 348472 w 733006"/>
              <a:gd name="csY188" fmla="*/ 624649 h 2076207"/>
              <a:gd name="csX189" fmla="*/ 298865 w 733006"/>
              <a:gd name="csY189" fmla="*/ 621954 h 2076207"/>
              <a:gd name="csX190" fmla="*/ 227796 w 733006"/>
              <a:gd name="csY190" fmla="*/ 528000 h 2076207"/>
              <a:gd name="csX191" fmla="*/ 241009 w 733006"/>
              <a:gd name="csY191" fmla="*/ 545897 h 2076207"/>
              <a:gd name="csX192" fmla="*/ 282607 w 733006"/>
              <a:gd name="csY192" fmla="*/ 543480 h 2076207"/>
              <a:gd name="csX193" fmla="*/ 354213 w 733006"/>
              <a:gd name="csY193" fmla="*/ 543384 h 2076207"/>
              <a:gd name="csX194" fmla="*/ 365334 w 733006"/>
              <a:gd name="csY194" fmla="*/ 533397 h 2076207"/>
              <a:gd name="csX195" fmla="*/ 354531 w 733006"/>
              <a:gd name="csY195" fmla="*/ 521620 h 2076207"/>
              <a:gd name="csX196" fmla="*/ 259169 w 733006"/>
              <a:gd name="csY196" fmla="*/ 521978 h 2076207"/>
              <a:gd name="csX197" fmla="*/ 227796 w 733006"/>
              <a:gd name="csY197" fmla="*/ 528000 h 2076207"/>
              <a:gd name="csX198" fmla="*/ 508068 w 733006"/>
              <a:gd name="csY198" fmla="*/ 190710 h 2076207"/>
              <a:gd name="csX199" fmla="*/ 521293 w 733006"/>
              <a:gd name="csY199" fmla="*/ 205907 h 2076207"/>
              <a:gd name="csX200" fmla="*/ 525175 w 733006"/>
              <a:gd name="csY200" fmla="*/ 202985 h 2076207"/>
              <a:gd name="csX201" fmla="*/ 500276 w 733006"/>
              <a:gd name="csY201" fmla="*/ 160640 h 2076207"/>
              <a:gd name="csX202" fmla="*/ 497122 w 733006"/>
              <a:gd name="csY202" fmla="*/ 162007 h 2076207"/>
              <a:gd name="csX203" fmla="*/ 508068 w 733006"/>
              <a:gd name="csY203" fmla="*/ 190710 h 2076207"/>
              <a:gd name="csX204" fmla="*/ 215522 w 733006"/>
              <a:gd name="csY204" fmla="*/ 197296 h 2076207"/>
              <a:gd name="csX205" fmla="*/ 234029 w 733006"/>
              <a:gd name="csY205" fmla="*/ 162725 h 2076207"/>
              <a:gd name="csX206" fmla="*/ 229000 w 733006"/>
              <a:gd name="csY206" fmla="*/ 159902 h 2076207"/>
              <a:gd name="csX207" fmla="*/ 204824 w 733006"/>
              <a:gd name="csY207" fmla="*/ 199677 h 2076207"/>
              <a:gd name="csX208" fmla="*/ 207990 w 733006"/>
              <a:gd name="csY208" fmla="*/ 202198 h 2076207"/>
              <a:gd name="csX209" fmla="*/ 215522 w 733006"/>
              <a:gd name="csY209" fmla="*/ 197296 h 2076207"/>
              <a:gd name="csX210" fmla="*/ 484400 w 733006"/>
              <a:gd name="csY210" fmla="*/ 896678 h 2076207"/>
              <a:gd name="csX211" fmla="*/ 486181 w 733006"/>
              <a:gd name="csY211" fmla="*/ 896585 h 2076207"/>
              <a:gd name="csX212" fmla="*/ 486181 w 733006"/>
              <a:gd name="csY212" fmla="*/ 795289 h 2076207"/>
              <a:gd name="csX213" fmla="*/ 720241 w 733006"/>
              <a:gd name="csY213" fmla="*/ 2030666 h 2076207"/>
              <a:gd name="csX214" fmla="*/ 721175 w 733006"/>
              <a:gd name="csY214" fmla="*/ 2029733 h 2076207"/>
              <a:gd name="csX215" fmla="*/ 720241 w 733006"/>
              <a:gd name="csY215" fmla="*/ 2030666 h 2076207"/>
              <a:gd name="csX216" fmla="*/ 715702 w 733006"/>
              <a:gd name="csY216" fmla="*/ 2037051 h 2076207"/>
              <a:gd name="csX217" fmla="*/ 715702 w 733006"/>
              <a:gd name="csY217" fmla="*/ 2037051 h 2076207"/>
              <a:gd name="csX0" fmla="*/ 96263 w 733006"/>
              <a:gd name="csY0" fmla="*/ 2076207 h 2084524"/>
              <a:gd name="csX1" fmla="*/ 63862 w 733006"/>
              <a:gd name="csY1" fmla="*/ 2065388 h 2084524"/>
              <a:gd name="csX2" fmla="*/ 16555 w 733006"/>
              <a:gd name="csY2" fmla="*/ 2050152 h 2084524"/>
              <a:gd name="csX3" fmla="*/ 15 w 733006"/>
              <a:gd name="csY3" fmla="*/ 2023802 h 2084524"/>
              <a:gd name="csX4" fmla="*/ 18368 w 733006"/>
              <a:gd name="csY4" fmla="*/ 1940709 h 2084524"/>
              <a:gd name="csX5" fmla="*/ 22139 w 733006"/>
              <a:gd name="csY5" fmla="*/ 1907268 h 2084524"/>
              <a:gd name="csX6" fmla="*/ 57941 w 733006"/>
              <a:gd name="csY6" fmla="*/ 1774163 h 2084524"/>
              <a:gd name="csX7" fmla="*/ 102478 w 733006"/>
              <a:gd name="csY7" fmla="*/ 1720275 h 2084524"/>
              <a:gd name="csX8" fmla="*/ 108579 w 733006"/>
              <a:gd name="csY8" fmla="*/ 1650967 h 2084524"/>
              <a:gd name="csX9" fmla="*/ 115628 w 733006"/>
              <a:gd name="csY9" fmla="*/ 1625405 h 2084524"/>
              <a:gd name="csX10" fmla="*/ 156323 w 733006"/>
              <a:gd name="csY10" fmla="*/ 1560181 h 2084524"/>
              <a:gd name="csX11" fmla="*/ 199424 w 733006"/>
              <a:gd name="csY11" fmla="*/ 1364729 h 2084524"/>
              <a:gd name="csX12" fmla="*/ 216779 w 733006"/>
              <a:gd name="csY12" fmla="*/ 1219490 h 2084524"/>
              <a:gd name="csX13" fmla="*/ 229755 w 733006"/>
              <a:gd name="csY13" fmla="*/ 1099357 h 2084524"/>
              <a:gd name="csX14" fmla="*/ 232707 w 733006"/>
              <a:gd name="csY14" fmla="*/ 1056423 h 2084524"/>
              <a:gd name="csX15" fmla="*/ 235622 w 733006"/>
              <a:gd name="csY15" fmla="*/ 952675 h 2084524"/>
              <a:gd name="csX16" fmla="*/ 235445 w 733006"/>
              <a:gd name="csY16" fmla="*/ 780278 h 2084524"/>
              <a:gd name="csX17" fmla="*/ 214544 w 733006"/>
              <a:gd name="csY17" fmla="*/ 756435 h 2084524"/>
              <a:gd name="csX18" fmla="*/ 172569 w 733006"/>
              <a:gd name="csY18" fmla="*/ 742582 h 2084524"/>
              <a:gd name="csX19" fmla="*/ 168784 w 733006"/>
              <a:gd name="csY19" fmla="*/ 669116 h 2084524"/>
              <a:gd name="csX20" fmla="*/ 191657 w 733006"/>
              <a:gd name="csY20" fmla="*/ 630765 h 2084524"/>
              <a:gd name="csX21" fmla="*/ 208150 w 733006"/>
              <a:gd name="csY21" fmla="*/ 609084 h 2084524"/>
              <a:gd name="csX22" fmla="*/ 216756 w 733006"/>
              <a:gd name="csY22" fmla="*/ 558673 h 2084524"/>
              <a:gd name="csX23" fmla="*/ 209092 w 733006"/>
              <a:gd name="csY23" fmla="*/ 521540 h 2084524"/>
              <a:gd name="csX24" fmla="*/ 204683 w 733006"/>
              <a:gd name="csY24" fmla="*/ 474024 h 2084524"/>
              <a:gd name="csX25" fmla="*/ 115483 w 733006"/>
              <a:gd name="csY25" fmla="*/ 213499 h 2084524"/>
              <a:gd name="csX26" fmla="*/ 102909 w 733006"/>
              <a:gd name="csY26" fmla="*/ 182297 h 2084524"/>
              <a:gd name="csX27" fmla="*/ 104315 w 733006"/>
              <a:gd name="csY27" fmla="*/ 163968 h 2084524"/>
              <a:gd name="csX28" fmla="*/ 122444 w 733006"/>
              <a:gd name="csY28" fmla="*/ 160805 h 2084524"/>
              <a:gd name="csX29" fmla="*/ 170283 w 733006"/>
              <a:gd name="csY29" fmla="*/ 187783 h 2084524"/>
              <a:gd name="csX30" fmla="*/ 180938 w 733006"/>
              <a:gd name="csY30" fmla="*/ 195322 h 2084524"/>
              <a:gd name="csX31" fmla="*/ 221419 w 733006"/>
              <a:gd name="csY31" fmla="*/ 138058 h 2084524"/>
              <a:gd name="csX32" fmla="*/ 294099 w 733006"/>
              <a:gd name="csY32" fmla="*/ 91372 h 2084524"/>
              <a:gd name="csX33" fmla="*/ 302307 w 733006"/>
              <a:gd name="csY33" fmla="*/ 76560 h 2084524"/>
              <a:gd name="csX34" fmla="*/ 320284 w 733006"/>
              <a:gd name="csY34" fmla="*/ 8414 h 2084524"/>
              <a:gd name="csX35" fmla="*/ 324784 w 733006"/>
              <a:gd name="csY35" fmla="*/ 946 h 2084524"/>
              <a:gd name="csX36" fmla="*/ 399212 w 733006"/>
              <a:gd name="csY36" fmla="*/ 0 h 2084524"/>
              <a:gd name="csX37" fmla="*/ 425980 w 733006"/>
              <a:gd name="csY37" fmla="*/ 78301 h 2084524"/>
              <a:gd name="csX38" fmla="*/ 431861 w 733006"/>
              <a:gd name="csY38" fmla="*/ 90312 h 2084524"/>
              <a:gd name="csX39" fmla="*/ 540349 w 733006"/>
              <a:gd name="csY39" fmla="*/ 187946 h 2084524"/>
              <a:gd name="csX40" fmla="*/ 545555 w 733006"/>
              <a:gd name="csY40" fmla="*/ 197828 h 2084524"/>
              <a:gd name="csX41" fmla="*/ 587318 w 733006"/>
              <a:gd name="csY41" fmla="*/ 171260 h 2084524"/>
              <a:gd name="csX42" fmla="*/ 601503 w 733006"/>
              <a:gd name="csY42" fmla="*/ 163707 h 2084524"/>
              <a:gd name="csX43" fmla="*/ 625254 w 733006"/>
              <a:gd name="csY43" fmla="*/ 163123 h 2084524"/>
              <a:gd name="csX44" fmla="*/ 625468 w 733006"/>
              <a:gd name="csY44" fmla="*/ 187579 h 2084524"/>
              <a:gd name="csX45" fmla="*/ 597543 w 733006"/>
              <a:gd name="csY45" fmla="*/ 251872 h 2084524"/>
              <a:gd name="csX46" fmla="*/ 531831 w 733006"/>
              <a:gd name="csY46" fmla="*/ 442689 h 2084524"/>
              <a:gd name="csX47" fmla="*/ 519888 w 733006"/>
              <a:gd name="csY47" fmla="*/ 501474 h 2084524"/>
              <a:gd name="csX48" fmla="*/ 522506 w 733006"/>
              <a:gd name="csY48" fmla="*/ 525086 h 2084524"/>
              <a:gd name="csX49" fmla="*/ 516235 w 733006"/>
              <a:gd name="csY49" fmla="*/ 555946 h 2084524"/>
              <a:gd name="csX50" fmla="*/ 521332 w 733006"/>
              <a:gd name="csY50" fmla="*/ 610676 h 2084524"/>
              <a:gd name="csX51" fmla="*/ 541382 w 733006"/>
              <a:gd name="csY51" fmla="*/ 642597 h 2084524"/>
              <a:gd name="csX52" fmla="*/ 557031 w 733006"/>
              <a:gd name="csY52" fmla="*/ 667949 h 2084524"/>
              <a:gd name="csX53" fmla="*/ 553994 w 733006"/>
              <a:gd name="csY53" fmla="*/ 744146 h 2084524"/>
              <a:gd name="csX54" fmla="*/ 508215 w 733006"/>
              <a:gd name="csY54" fmla="*/ 758841 h 2084524"/>
              <a:gd name="csX55" fmla="*/ 497442 w 733006"/>
              <a:gd name="csY55" fmla="*/ 771256 h 2084524"/>
              <a:gd name="csX56" fmla="*/ 493005 w 733006"/>
              <a:gd name="csY56" fmla="*/ 922055 h 2084524"/>
              <a:gd name="csX57" fmla="*/ 502900 w 733006"/>
              <a:gd name="csY57" fmla="*/ 1114191 h 2084524"/>
              <a:gd name="csX58" fmla="*/ 508800 w 733006"/>
              <a:gd name="csY58" fmla="*/ 1205474 h 2084524"/>
              <a:gd name="csX59" fmla="*/ 522952 w 733006"/>
              <a:gd name="csY59" fmla="*/ 1320065 h 2084524"/>
              <a:gd name="csX60" fmla="*/ 554682 w 733006"/>
              <a:gd name="csY60" fmla="*/ 1501203 h 2084524"/>
              <a:gd name="csX61" fmla="*/ 576958 w 733006"/>
              <a:gd name="csY61" fmla="*/ 1593963 h 2084524"/>
              <a:gd name="csX62" fmla="*/ 595349 w 733006"/>
              <a:gd name="csY62" fmla="*/ 1613498 h 2084524"/>
              <a:gd name="csX63" fmla="*/ 613936 w 733006"/>
              <a:gd name="csY63" fmla="*/ 1624058 h 2084524"/>
              <a:gd name="csX64" fmla="*/ 620938 w 733006"/>
              <a:gd name="csY64" fmla="*/ 1652071 h 2084524"/>
              <a:gd name="csX65" fmla="*/ 630805 w 733006"/>
              <a:gd name="csY65" fmla="*/ 1721702 h 2084524"/>
              <a:gd name="csX66" fmla="*/ 685830 w 733006"/>
              <a:gd name="csY66" fmla="*/ 1792915 h 2084524"/>
              <a:gd name="csX67" fmla="*/ 708904 w 733006"/>
              <a:gd name="csY67" fmla="*/ 1890290 h 2084524"/>
              <a:gd name="csX68" fmla="*/ 716580 w 733006"/>
              <a:gd name="csY68" fmla="*/ 1951136 h 2084524"/>
              <a:gd name="csX69" fmla="*/ 729397 w 733006"/>
              <a:gd name="csY69" fmla="*/ 2030261 h 2084524"/>
              <a:gd name="csX70" fmla="*/ 714212 w 733006"/>
              <a:gd name="csY70" fmla="*/ 2049544 h 2084524"/>
              <a:gd name="csX71" fmla="*/ 96263 w 733006"/>
              <a:gd name="csY71" fmla="*/ 2076207 h 2084524"/>
              <a:gd name="csX72" fmla="*/ 489970 w 733006"/>
              <a:gd name="csY72" fmla="*/ 152208 h 2084524"/>
              <a:gd name="csX73" fmla="*/ 490754 w 733006"/>
              <a:gd name="csY73" fmla="*/ 152592 h 2084524"/>
              <a:gd name="csX74" fmla="*/ 489489 w 733006"/>
              <a:gd name="csY74" fmla="*/ 149547 h 2084524"/>
              <a:gd name="csX75" fmla="*/ 393621 w 733006"/>
              <a:gd name="csY75" fmla="*/ 99259 h 2084524"/>
              <a:gd name="csX76" fmla="*/ 390419 w 733006"/>
              <a:gd name="csY76" fmla="*/ 18568 h 2084524"/>
              <a:gd name="csX77" fmla="*/ 334131 w 733006"/>
              <a:gd name="csY77" fmla="*/ 24327 h 2084524"/>
              <a:gd name="csX78" fmla="*/ 344678 w 733006"/>
              <a:gd name="csY78" fmla="*/ 101259 h 2084524"/>
              <a:gd name="csX79" fmla="*/ 298854 w 733006"/>
              <a:gd name="csY79" fmla="*/ 114003 h 2084524"/>
              <a:gd name="csX80" fmla="*/ 237456 w 733006"/>
              <a:gd name="csY80" fmla="*/ 154340 h 2084524"/>
              <a:gd name="csX81" fmla="*/ 240382 w 733006"/>
              <a:gd name="csY81" fmla="*/ 154035 h 2084524"/>
              <a:gd name="csX82" fmla="*/ 262731 w 733006"/>
              <a:gd name="csY82" fmla="*/ 170426 h 2084524"/>
              <a:gd name="csX83" fmla="*/ 279169 w 733006"/>
              <a:gd name="csY83" fmla="*/ 193173 h 2084524"/>
              <a:gd name="csX84" fmla="*/ 327717 w 733006"/>
              <a:gd name="csY84" fmla="*/ 188556 h 2084524"/>
              <a:gd name="csX85" fmla="*/ 348052 w 733006"/>
              <a:gd name="csY85" fmla="*/ 156919 h 2084524"/>
              <a:gd name="csX86" fmla="*/ 380330 w 733006"/>
              <a:gd name="csY86" fmla="*/ 156483 h 2084524"/>
              <a:gd name="csX87" fmla="*/ 408490 w 733006"/>
              <a:gd name="csY87" fmla="*/ 195400 h 2084524"/>
              <a:gd name="csX88" fmla="*/ 445346 w 733006"/>
              <a:gd name="csY88" fmla="*/ 197582 h 2084524"/>
              <a:gd name="csX89" fmla="*/ 464798 w 733006"/>
              <a:gd name="csY89" fmla="*/ 174107 h 2084524"/>
              <a:gd name="csX90" fmla="*/ 489970 w 733006"/>
              <a:gd name="csY90" fmla="*/ 152208 h 2084524"/>
              <a:gd name="csX91" fmla="*/ 140694 w 733006"/>
              <a:gd name="csY91" fmla="*/ 201837 h 2084524"/>
              <a:gd name="csX92" fmla="*/ 139834 w 733006"/>
              <a:gd name="csY92" fmla="*/ 201482 h 2084524"/>
              <a:gd name="csX93" fmla="*/ 140812 w 733006"/>
              <a:gd name="csY93" fmla="*/ 204941 h 2084524"/>
              <a:gd name="csX94" fmla="*/ 144631 w 733006"/>
              <a:gd name="csY94" fmla="*/ 217811 h 2084524"/>
              <a:gd name="csX95" fmla="*/ 201241 w 733006"/>
              <a:gd name="csY95" fmla="*/ 373387 h 2084524"/>
              <a:gd name="csX96" fmla="*/ 235971 w 733006"/>
              <a:gd name="csY96" fmla="*/ 504451 h 2084524"/>
              <a:gd name="csX97" fmla="*/ 247475 w 733006"/>
              <a:gd name="csY97" fmla="*/ 513241 h 2084524"/>
              <a:gd name="csX98" fmla="*/ 289066 w 733006"/>
              <a:gd name="csY98" fmla="*/ 511170 h 2084524"/>
              <a:gd name="csX99" fmla="*/ 378229 w 733006"/>
              <a:gd name="csY99" fmla="*/ 511084 h 2084524"/>
              <a:gd name="csX100" fmla="*/ 470850 w 733006"/>
              <a:gd name="csY100" fmla="*/ 516341 h 2084524"/>
              <a:gd name="csX101" fmla="*/ 492933 w 733006"/>
              <a:gd name="csY101" fmla="*/ 497969 h 2084524"/>
              <a:gd name="csX102" fmla="*/ 557617 w 733006"/>
              <a:gd name="csY102" fmla="*/ 280398 h 2084524"/>
              <a:gd name="csX103" fmla="*/ 588788 w 733006"/>
              <a:gd name="csY103" fmla="*/ 200385 h 2084524"/>
              <a:gd name="csX104" fmla="*/ 530958 w 733006"/>
              <a:gd name="csY104" fmla="*/ 232968 h 2084524"/>
              <a:gd name="csX105" fmla="*/ 483823 w 733006"/>
              <a:gd name="csY105" fmla="*/ 190364 h 2084524"/>
              <a:gd name="csX106" fmla="*/ 466649 w 733006"/>
              <a:gd name="csY106" fmla="*/ 209061 h 2084524"/>
              <a:gd name="csX107" fmla="*/ 399941 w 733006"/>
              <a:gd name="csY107" fmla="*/ 216988 h 2084524"/>
              <a:gd name="csX108" fmla="*/ 363018 w 733006"/>
              <a:gd name="csY108" fmla="*/ 179615 h 2084524"/>
              <a:gd name="csX109" fmla="*/ 308839 w 733006"/>
              <a:gd name="csY109" fmla="*/ 227846 h 2084524"/>
              <a:gd name="csX110" fmla="*/ 245077 w 733006"/>
              <a:gd name="csY110" fmla="*/ 192402 h 2084524"/>
              <a:gd name="csX111" fmla="*/ 242829 w 733006"/>
              <a:gd name="csY111" fmla="*/ 198815 h 2084524"/>
              <a:gd name="csX112" fmla="*/ 168452 w 733006"/>
              <a:gd name="csY112" fmla="*/ 219348 h 2084524"/>
              <a:gd name="csX113" fmla="*/ 140694 w 733006"/>
              <a:gd name="csY113" fmla="*/ 201837 h 2084524"/>
              <a:gd name="csX114" fmla="*/ 259999 w 733006"/>
              <a:gd name="csY114" fmla="*/ 966699 h 2084524"/>
              <a:gd name="csX115" fmla="*/ 257072 w 733006"/>
              <a:gd name="csY115" fmla="*/ 1070424 h 2084524"/>
              <a:gd name="csX116" fmla="*/ 251372 w 733006"/>
              <a:gd name="csY116" fmla="*/ 1157618 h 2084524"/>
              <a:gd name="csX117" fmla="*/ 232677 w 733006"/>
              <a:gd name="csY117" fmla="*/ 1320279 h 2084524"/>
              <a:gd name="csX118" fmla="*/ 209182 w 733006"/>
              <a:gd name="csY118" fmla="*/ 1468667 h 2084524"/>
              <a:gd name="csX119" fmla="*/ 175302 w 733006"/>
              <a:gd name="csY119" fmla="*/ 1616623 h 2084524"/>
              <a:gd name="csX120" fmla="*/ 182769 w 733006"/>
              <a:gd name="csY120" fmla="*/ 1629786 h 2084524"/>
              <a:gd name="csX121" fmla="*/ 212156 w 733006"/>
              <a:gd name="csY121" fmla="*/ 1632656 h 2084524"/>
              <a:gd name="csX122" fmla="*/ 351295 w 733006"/>
              <a:gd name="csY122" fmla="*/ 1632801 h 2084524"/>
              <a:gd name="csX123" fmla="*/ 376150 w 733006"/>
              <a:gd name="csY123" fmla="*/ 1608307 h 2084524"/>
              <a:gd name="csX124" fmla="*/ 373450 w 733006"/>
              <a:gd name="csY124" fmla="*/ 1457291 h 2084524"/>
              <a:gd name="csX125" fmla="*/ 370936 w 733006"/>
              <a:gd name="csY125" fmla="*/ 1342736 h 2084524"/>
              <a:gd name="csX126" fmla="*/ 368328 w 733006"/>
              <a:gd name="csY126" fmla="*/ 1203878 h 2084524"/>
              <a:gd name="csX127" fmla="*/ 367836 w 733006"/>
              <a:gd name="csY127" fmla="*/ 813478 h 2084524"/>
              <a:gd name="csX128" fmla="*/ 365240 w 733006"/>
              <a:gd name="csY128" fmla="*/ 773243 h 2084524"/>
              <a:gd name="csX129" fmla="*/ 353084 w 733006"/>
              <a:gd name="csY129" fmla="*/ 762083 h 2084524"/>
              <a:gd name="csX130" fmla="*/ 280966 w 733006"/>
              <a:gd name="csY130" fmla="*/ 759855 h 2084524"/>
              <a:gd name="csX131" fmla="*/ 259965 w 733006"/>
              <a:gd name="csY131" fmla="*/ 779553 h 2084524"/>
              <a:gd name="csX132" fmla="*/ 262341 w 733006"/>
              <a:gd name="csY132" fmla="*/ 856275 h 2084524"/>
              <a:gd name="csX133" fmla="*/ 259999 w 733006"/>
              <a:gd name="csY133" fmla="*/ 966699 h 2084524"/>
              <a:gd name="csX134" fmla="*/ 55556 w 733006"/>
              <a:gd name="csY134" fmla="*/ 1835827 h 2084524"/>
              <a:gd name="csX135" fmla="*/ 49393 w 733006"/>
              <a:gd name="csY135" fmla="*/ 1878155 h 2084524"/>
              <a:gd name="csX136" fmla="*/ 73949 w 733006"/>
              <a:gd name="csY136" fmla="*/ 1905781 h 2084524"/>
              <a:gd name="csX137" fmla="*/ 110073 w 733006"/>
              <a:gd name="csY137" fmla="*/ 1909068 h 2084524"/>
              <a:gd name="csX138" fmla="*/ 224745 w 733006"/>
              <a:gd name="csY138" fmla="*/ 1921652 h 2084524"/>
              <a:gd name="csX139" fmla="*/ 347327 w 733006"/>
              <a:gd name="csY139" fmla="*/ 1924778 h 2084524"/>
              <a:gd name="csX140" fmla="*/ 363345 w 733006"/>
              <a:gd name="csY140" fmla="*/ 1923293 h 2084524"/>
              <a:gd name="csX141" fmla="*/ 373787 w 733006"/>
              <a:gd name="csY141" fmla="*/ 1911200 h 2084524"/>
              <a:gd name="csX142" fmla="*/ 376623 w 733006"/>
              <a:gd name="csY142" fmla="*/ 1696741 h 2084524"/>
              <a:gd name="csX143" fmla="*/ 360437 w 733006"/>
              <a:gd name="csY143" fmla="*/ 1681289 h 2084524"/>
              <a:gd name="csX144" fmla="*/ 263503 w 733006"/>
              <a:gd name="csY144" fmla="*/ 1678179 h 2084524"/>
              <a:gd name="csX145" fmla="*/ 160381 w 733006"/>
              <a:gd name="csY145" fmla="*/ 1670405 h 2084524"/>
              <a:gd name="csX146" fmla="*/ 143321 w 733006"/>
              <a:gd name="csY146" fmla="*/ 1685538 h 2084524"/>
              <a:gd name="csX147" fmla="*/ 124769 w 733006"/>
              <a:gd name="csY147" fmla="*/ 1738195 h 2084524"/>
              <a:gd name="csX148" fmla="*/ 90593 w 733006"/>
              <a:gd name="csY148" fmla="*/ 1779570 h 2084524"/>
              <a:gd name="csX149" fmla="*/ 55556 w 733006"/>
              <a:gd name="csY149" fmla="*/ 1835827 h 2084524"/>
              <a:gd name="csX150" fmla="*/ 378900 w 733006"/>
              <a:gd name="csY150" fmla="*/ 2007280 h 2084524"/>
              <a:gd name="csX151" fmla="*/ 378887 w 733006"/>
              <a:gd name="csY151" fmla="*/ 1995127 h 2084524"/>
              <a:gd name="csX152" fmla="*/ 359084 w 733006"/>
              <a:gd name="csY152" fmla="*/ 1975964 h 2084524"/>
              <a:gd name="csX153" fmla="*/ 247288 w 733006"/>
              <a:gd name="csY153" fmla="*/ 1973305 h 2084524"/>
              <a:gd name="csX154" fmla="*/ 201692 w 733006"/>
              <a:gd name="csY154" fmla="*/ 1970275 h 2084524"/>
              <a:gd name="csX155" fmla="*/ 57962 w 733006"/>
              <a:gd name="csY155" fmla="*/ 1952648 h 2084524"/>
              <a:gd name="csX156" fmla="*/ 39194 w 733006"/>
              <a:gd name="csY156" fmla="*/ 1963552 h 2084524"/>
              <a:gd name="csX157" fmla="*/ 30066 w 733006"/>
              <a:gd name="csY157" fmla="*/ 2006631 h 2084524"/>
              <a:gd name="csX158" fmla="*/ 40232 w 733006"/>
              <a:gd name="csY158" fmla="*/ 2019486 h 2084524"/>
              <a:gd name="csX159" fmla="*/ 238186 w 733006"/>
              <a:gd name="csY159" fmla="*/ 2046096 h 2084524"/>
              <a:gd name="csX160" fmla="*/ 342155 w 733006"/>
              <a:gd name="csY160" fmla="*/ 2046441 h 2084524"/>
              <a:gd name="csX161" fmla="*/ 378900 w 733006"/>
              <a:gd name="csY161" fmla="*/ 2007280 h 2084524"/>
              <a:gd name="csX162" fmla="*/ 310220 w 733006"/>
              <a:gd name="csY162" fmla="*/ 554288 h 2084524"/>
              <a:gd name="csX163" fmla="*/ 259136 w 733006"/>
              <a:gd name="csY163" fmla="*/ 556881 h 2084524"/>
              <a:gd name="csX164" fmla="*/ 249085 w 733006"/>
              <a:gd name="csY164" fmla="*/ 567981 h 2084524"/>
              <a:gd name="csX165" fmla="*/ 249141 w 733006"/>
              <a:gd name="csY165" fmla="*/ 605644 h 2084524"/>
              <a:gd name="csX166" fmla="*/ 262628 w 733006"/>
              <a:gd name="csY166" fmla="*/ 605627 h 2084524"/>
              <a:gd name="csX167" fmla="*/ 369608 w 733006"/>
              <a:gd name="csY167" fmla="*/ 603027 h 2084524"/>
              <a:gd name="csX168" fmla="*/ 463931 w 733006"/>
              <a:gd name="csY168" fmla="*/ 605146 h 2084524"/>
              <a:gd name="csX169" fmla="*/ 478113 w 733006"/>
              <a:gd name="csY169" fmla="*/ 595843 h 2084524"/>
              <a:gd name="csX170" fmla="*/ 478796 w 733006"/>
              <a:gd name="csY170" fmla="*/ 556832 h 2084524"/>
              <a:gd name="csX171" fmla="*/ 310220 w 733006"/>
              <a:gd name="csY171" fmla="*/ 554288 h 2084524"/>
              <a:gd name="csX172" fmla="*/ 348836 w 733006"/>
              <a:gd name="csY172" fmla="*/ 684115 h 2084524"/>
              <a:gd name="csX173" fmla="*/ 281333 w 733006"/>
              <a:gd name="csY173" fmla="*/ 683313 h 2084524"/>
              <a:gd name="csX174" fmla="*/ 212728 w 733006"/>
              <a:gd name="csY174" fmla="*/ 681931 h 2084524"/>
              <a:gd name="csX175" fmla="*/ 187283 w 733006"/>
              <a:gd name="csY175" fmla="*/ 689555 h 2084524"/>
              <a:gd name="csX176" fmla="*/ 186163 w 733006"/>
              <a:gd name="csY176" fmla="*/ 718266 h 2084524"/>
              <a:gd name="csX177" fmla="*/ 209894 w 733006"/>
              <a:gd name="csY177" fmla="*/ 726798 h 2084524"/>
              <a:gd name="csX178" fmla="*/ 334814 w 733006"/>
              <a:gd name="csY178" fmla="*/ 732494 h 2084524"/>
              <a:gd name="csX179" fmla="*/ 364856 w 733006"/>
              <a:gd name="csY179" fmla="*/ 707963 h 2084524"/>
              <a:gd name="csX180" fmla="*/ 348836 w 733006"/>
              <a:gd name="csY180" fmla="*/ 684115 h 2084524"/>
              <a:gd name="csX181" fmla="*/ 298865 w 733006"/>
              <a:gd name="csY181" fmla="*/ 621954 h 2084524"/>
              <a:gd name="csX182" fmla="*/ 251619 w 733006"/>
              <a:gd name="csY182" fmla="*/ 622133 h 2084524"/>
              <a:gd name="csX183" fmla="*/ 214459 w 733006"/>
              <a:gd name="csY183" fmla="*/ 636230 h 2084524"/>
              <a:gd name="csX184" fmla="*/ 221436 w 733006"/>
              <a:gd name="csY184" fmla="*/ 654205 h 2084524"/>
              <a:gd name="csX185" fmla="*/ 272412 w 733006"/>
              <a:gd name="csY185" fmla="*/ 657250 h 2084524"/>
              <a:gd name="csX186" fmla="*/ 349094 w 733006"/>
              <a:gd name="csY186" fmla="*/ 659282 h 2084524"/>
              <a:gd name="csX187" fmla="*/ 362996 w 733006"/>
              <a:gd name="csY187" fmla="*/ 644234 h 2084524"/>
              <a:gd name="csX188" fmla="*/ 348472 w 733006"/>
              <a:gd name="csY188" fmla="*/ 624649 h 2084524"/>
              <a:gd name="csX189" fmla="*/ 298865 w 733006"/>
              <a:gd name="csY189" fmla="*/ 621954 h 2084524"/>
              <a:gd name="csX190" fmla="*/ 227796 w 733006"/>
              <a:gd name="csY190" fmla="*/ 528000 h 2084524"/>
              <a:gd name="csX191" fmla="*/ 241009 w 733006"/>
              <a:gd name="csY191" fmla="*/ 545897 h 2084524"/>
              <a:gd name="csX192" fmla="*/ 282607 w 733006"/>
              <a:gd name="csY192" fmla="*/ 543480 h 2084524"/>
              <a:gd name="csX193" fmla="*/ 354213 w 733006"/>
              <a:gd name="csY193" fmla="*/ 543384 h 2084524"/>
              <a:gd name="csX194" fmla="*/ 365334 w 733006"/>
              <a:gd name="csY194" fmla="*/ 533397 h 2084524"/>
              <a:gd name="csX195" fmla="*/ 354531 w 733006"/>
              <a:gd name="csY195" fmla="*/ 521620 h 2084524"/>
              <a:gd name="csX196" fmla="*/ 259169 w 733006"/>
              <a:gd name="csY196" fmla="*/ 521978 h 2084524"/>
              <a:gd name="csX197" fmla="*/ 227796 w 733006"/>
              <a:gd name="csY197" fmla="*/ 528000 h 2084524"/>
              <a:gd name="csX198" fmla="*/ 508068 w 733006"/>
              <a:gd name="csY198" fmla="*/ 190710 h 2084524"/>
              <a:gd name="csX199" fmla="*/ 521293 w 733006"/>
              <a:gd name="csY199" fmla="*/ 205907 h 2084524"/>
              <a:gd name="csX200" fmla="*/ 525175 w 733006"/>
              <a:gd name="csY200" fmla="*/ 202985 h 2084524"/>
              <a:gd name="csX201" fmla="*/ 500276 w 733006"/>
              <a:gd name="csY201" fmla="*/ 160640 h 2084524"/>
              <a:gd name="csX202" fmla="*/ 497122 w 733006"/>
              <a:gd name="csY202" fmla="*/ 162007 h 2084524"/>
              <a:gd name="csX203" fmla="*/ 508068 w 733006"/>
              <a:gd name="csY203" fmla="*/ 190710 h 2084524"/>
              <a:gd name="csX204" fmla="*/ 215522 w 733006"/>
              <a:gd name="csY204" fmla="*/ 197296 h 2084524"/>
              <a:gd name="csX205" fmla="*/ 234029 w 733006"/>
              <a:gd name="csY205" fmla="*/ 162725 h 2084524"/>
              <a:gd name="csX206" fmla="*/ 229000 w 733006"/>
              <a:gd name="csY206" fmla="*/ 159902 h 2084524"/>
              <a:gd name="csX207" fmla="*/ 204824 w 733006"/>
              <a:gd name="csY207" fmla="*/ 199677 h 2084524"/>
              <a:gd name="csX208" fmla="*/ 207990 w 733006"/>
              <a:gd name="csY208" fmla="*/ 202198 h 2084524"/>
              <a:gd name="csX209" fmla="*/ 215522 w 733006"/>
              <a:gd name="csY209" fmla="*/ 197296 h 2084524"/>
              <a:gd name="csX210" fmla="*/ 484400 w 733006"/>
              <a:gd name="csY210" fmla="*/ 896678 h 2084524"/>
              <a:gd name="csX211" fmla="*/ 486181 w 733006"/>
              <a:gd name="csY211" fmla="*/ 896585 h 2084524"/>
              <a:gd name="csX212" fmla="*/ 486181 w 733006"/>
              <a:gd name="csY212" fmla="*/ 795289 h 2084524"/>
              <a:gd name="csX213" fmla="*/ 720241 w 733006"/>
              <a:gd name="csY213" fmla="*/ 2030666 h 2084524"/>
              <a:gd name="csX214" fmla="*/ 721175 w 733006"/>
              <a:gd name="csY214" fmla="*/ 2029733 h 2084524"/>
              <a:gd name="csX215" fmla="*/ 720241 w 733006"/>
              <a:gd name="csY215" fmla="*/ 2030666 h 2084524"/>
              <a:gd name="csX216" fmla="*/ 715702 w 733006"/>
              <a:gd name="csY216" fmla="*/ 2037051 h 2084524"/>
              <a:gd name="csX217" fmla="*/ 715702 w 733006"/>
              <a:gd name="csY217" fmla="*/ 2037051 h 2084524"/>
              <a:gd name="csX0" fmla="*/ 96263 w 733006"/>
              <a:gd name="csY0" fmla="*/ 2076207 h 2095135"/>
              <a:gd name="csX1" fmla="*/ 63862 w 733006"/>
              <a:gd name="csY1" fmla="*/ 2065388 h 2095135"/>
              <a:gd name="csX2" fmla="*/ 16555 w 733006"/>
              <a:gd name="csY2" fmla="*/ 2050152 h 2095135"/>
              <a:gd name="csX3" fmla="*/ 15 w 733006"/>
              <a:gd name="csY3" fmla="*/ 2023802 h 2095135"/>
              <a:gd name="csX4" fmla="*/ 18368 w 733006"/>
              <a:gd name="csY4" fmla="*/ 1940709 h 2095135"/>
              <a:gd name="csX5" fmla="*/ 22139 w 733006"/>
              <a:gd name="csY5" fmla="*/ 1907268 h 2095135"/>
              <a:gd name="csX6" fmla="*/ 57941 w 733006"/>
              <a:gd name="csY6" fmla="*/ 1774163 h 2095135"/>
              <a:gd name="csX7" fmla="*/ 102478 w 733006"/>
              <a:gd name="csY7" fmla="*/ 1720275 h 2095135"/>
              <a:gd name="csX8" fmla="*/ 108579 w 733006"/>
              <a:gd name="csY8" fmla="*/ 1650967 h 2095135"/>
              <a:gd name="csX9" fmla="*/ 115628 w 733006"/>
              <a:gd name="csY9" fmla="*/ 1625405 h 2095135"/>
              <a:gd name="csX10" fmla="*/ 156323 w 733006"/>
              <a:gd name="csY10" fmla="*/ 1560181 h 2095135"/>
              <a:gd name="csX11" fmla="*/ 199424 w 733006"/>
              <a:gd name="csY11" fmla="*/ 1364729 h 2095135"/>
              <a:gd name="csX12" fmla="*/ 216779 w 733006"/>
              <a:gd name="csY12" fmla="*/ 1219490 h 2095135"/>
              <a:gd name="csX13" fmla="*/ 229755 w 733006"/>
              <a:gd name="csY13" fmla="*/ 1099357 h 2095135"/>
              <a:gd name="csX14" fmla="*/ 232707 w 733006"/>
              <a:gd name="csY14" fmla="*/ 1056423 h 2095135"/>
              <a:gd name="csX15" fmla="*/ 235622 w 733006"/>
              <a:gd name="csY15" fmla="*/ 952675 h 2095135"/>
              <a:gd name="csX16" fmla="*/ 235445 w 733006"/>
              <a:gd name="csY16" fmla="*/ 780278 h 2095135"/>
              <a:gd name="csX17" fmla="*/ 214544 w 733006"/>
              <a:gd name="csY17" fmla="*/ 756435 h 2095135"/>
              <a:gd name="csX18" fmla="*/ 172569 w 733006"/>
              <a:gd name="csY18" fmla="*/ 742582 h 2095135"/>
              <a:gd name="csX19" fmla="*/ 168784 w 733006"/>
              <a:gd name="csY19" fmla="*/ 669116 h 2095135"/>
              <a:gd name="csX20" fmla="*/ 191657 w 733006"/>
              <a:gd name="csY20" fmla="*/ 630765 h 2095135"/>
              <a:gd name="csX21" fmla="*/ 208150 w 733006"/>
              <a:gd name="csY21" fmla="*/ 609084 h 2095135"/>
              <a:gd name="csX22" fmla="*/ 216756 w 733006"/>
              <a:gd name="csY22" fmla="*/ 558673 h 2095135"/>
              <a:gd name="csX23" fmla="*/ 209092 w 733006"/>
              <a:gd name="csY23" fmla="*/ 521540 h 2095135"/>
              <a:gd name="csX24" fmla="*/ 204683 w 733006"/>
              <a:gd name="csY24" fmla="*/ 474024 h 2095135"/>
              <a:gd name="csX25" fmla="*/ 115483 w 733006"/>
              <a:gd name="csY25" fmla="*/ 213499 h 2095135"/>
              <a:gd name="csX26" fmla="*/ 102909 w 733006"/>
              <a:gd name="csY26" fmla="*/ 182297 h 2095135"/>
              <a:gd name="csX27" fmla="*/ 104315 w 733006"/>
              <a:gd name="csY27" fmla="*/ 163968 h 2095135"/>
              <a:gd name="csX28" fmla="*/ 122444 w 733006"/>
              <a:gd name="csY28" fmla="*/ 160805 h 2095135"/>
              <a:gd name="csX29" fmla="*/ 170283 w 733006"/>
              <a:gd name="csY29" fmla="*/ 187783 h 2095135"/>
              <a:gd name="csX30" fmla="*/ 180938 w 733006"/>
              <a:gd name="csY30" fmla="*/ 195322 h 2095135"/>
              <a:gd name="csX31" fmla="*/ 221419 w 733006"/>
              <a:gd name="csY31" fmla="*/ 138058 h 2095135"/>
              <a:gd name="csX32" fmla="*/ 294099 w 733006"/>
              <a:gd name="csY32" fmla="*/ 91372 h 2095135"/>
              <a:gd name="csX33" fmla="*/ 302307 w 733006"/>
              <a:gd name="csY33" fmla="*/ 76560 h 2095135"/>
              <a:gd name="csX34" fmla="*/ 320284 w 733006"/>
              <a:gd name="csY34" fmla="*/ 8414 h 2095135"/>
              <a:gd name="csX35" fmla="*/ 324784 w 733006"/>
              <a:gd name="csY35" fmla="*/ 946 h 2095135"/>
              <a:gd name="csX36" fmla="*/ 399212 w 733006"/>
              <a:gd name="csY36" fmla="*/ 0 h 2095135"/>
              <a:gd name="csX37" fmla="*/ 425980 w 733006"/>
              <a:gd name="csY37" fmla="*/ 78301 h 2095135"/>
              <a:gd name="csX38" fmla="*/ 431861 w 733006"/>
              <a:gd name="csY38" fmla="*/ 90312 h 2095135"/>
              <a:gd name="csX39" fmla="*/ 540349 w 733006"/>
              <a:gd name="csY39" fmla="*/ 187946 h 2095135"/>
              <a:gd name="csX40" fmla="*/ 545555 w 733006"/>
              <a:gd name="csY40" fmla="*/ 197828 h 2095135"/>
              <a:gd name="csX41" fmla="*/ 587318 w 733006"/>
              <a:gd name="csY41" fmla="*/ 171260 h 2095135"/>
              <a:gd name="csX42" fmla="*/ 601503 w 733006"/>
              <a:gd name="csY42" fmla="*/ 163707 h 2095135"/>
              <a:gd name="csX43" fmla="*/ 625254 w 733006"/>
              <a:gd name="csY43" fmla="*/ 163123 h 2095135"/>
              <a:gd name="csX44" fmla="*/ 625468 w 733006"/>
              <a:gd name="csY44" fmla="*/ 187579 h 2095135"/>
              <a:gd name="csX45" fmla="*/ 597543 w 733006"/>
              <a:gd name="csY45" fmla="*/ 251872 h 2095135"/>
              <a:gd name="csX46" fmla="*/ 531831 w 733006"/>
              <a:gd name="csY46" fmla="*/ 442689 h 2095135"/>
              <a:gd name="csX47" fmla="*/ 519888 w 733006"/>
              <a:gd name="csY47" fmla="*/ 501474 h 2095135"/>
              <a:gd name="csX48" fmla="*/ 522506 w 733006"/>
              <a:gd name="csY48" fmla="*/ 525086 h 2095135"/>
              <a:gd name="csX49" fmla="*/ 516235 w 733006"/>
              <a:gd name="csY49" fmla="*/ 555946 h 2095135"/>
              <a:gd name="csX50" fmla="*/ 521332 w 733006"/>
              <a:gd name="csY50" fmla="*/ 610676 h 2095135"/>
              <a:gd name="csX51" fmla="*/ 541382 w 733006"/>
              <a:gd name="csY51" fmla="*/ 642597 h 2095135"/>
              <a:gd name="csX52" fmla="*/ 557031 w 733006"/>
              <a:gd name="csY52" fmla="*/ 667949 h 2095135"/>
              <a:gd name="csX53" fmla="*/ 553994 w 733006"/>
              <a:gd name="csY53" fmla="*/ 744146 h 2095135"/>
              <a:gd name="csX54" fmla="*/ 508215 w 733006"/>
              <a:gd name="csY54" fmla="*/ 758841 h 2095135"/>
              <a:gd name="csX55" fmla="*/ 497442 w 733006"/>
              <a:gd name="csY55" fmla="*/ 771256 h 2095135"/>
              <a:gd name="csX56" fmla="*/ 493005 w 733006"/>
              <a:gd name="csY56" fmla="*/ 922055 h 2095135"/>
              <a:gd name="csX57" fmla="*/ 502900 w 733006"/>
              <a:gd name="csY57" fmla="*/ 1114191 h 2095135"/>
              <a:gd name="csX58" fmla="*/ 508800 w 733006"/>
              <a:gd name="csY58" fmla="*/ 1205474 h 2095135"/>
              <a:gd name="csX59" fmla="*/ 522952 w 733006"/>
              <a:gd name="csY59" fmla="*/ 1320065 h 2095135"/>
              <a:gd name="csX60" fmla="*/ 554682 w 733006"/>
              <a:gd name="csY60" fmla="*/ 1501203 h 2095135"/>
              <a:gd name="csX61" fmla="*/ 576958 w 733006"/>
              <a:gd name="csY61" fmla="*/ 1593963 h 2095135"/>
              <a:gd name="csX62" fmla="*/ 595349 w 733006"/>
              <a:gd name="csY62" fmla="*/ 1613498 h 2095135"/>
              <a:gd name="csX63" fmla="*/ 613936 w 733006"/>
              <a:gd name="csY63" fmla="*/ 1624058 h 2095135"/>
              <a:gd name="csX64" fmla="*/ 620938 w 733006"/>
              <a:gd name="csY64" fmla="*/ 1652071 h 2095135"/>
              <a:gd name="csX65" fmla="*/ 630805 w 733006"/>
              <a:gd name="csY65" fmla="*/ 1721702 h 2095135"/>
              <a:gd name="csX66" fmla="*/ 685830 w 733006"/>
              <a:gd name="csY66" fmla="*/ 1792915 h 2095135"/>
              <a:gd name="csX67" fmla="*/ 708904 w 733006"/>
              <a:gd name="csY67" fmla="*/ 1890290 h 2095135"/>
              <a:gd name="csX68" fmla="*/ 716580 w 733006"/>
              <a:gd name="csY68" fmla="*/ 1951136 h 2095135"/>
              <a:gd name="csX69" fmla="*/ 729397 w 733006"/>
              <a:gd name="csY69" fmla="*/ 2030261 h 2095135"/>
              <a:gd name="csX70" fmla="*/ 714212 w 733006"/>
              <a:gd name="csY70" fmla="*/ 2049544 h 2095135"/>
              <a:gd name="csX71" fmla="*/ 96263 w 733006"/>
              <a:gd name="csY71" fmla="*/ 2076207 h 2095135"/>
              <a:gd name="csX72" fmla="*/ 489970 w 733006"/>
              <a:gd name="csY72" fmla="*/ 152208 h 2095135"/>
              <a:gd name="csX73" fmla="*/ 490754 w 733006"/>
              <a:gd name="csY73" fmla="*/ 152592 h 2095135"/>
              <a:gd name="csX74" fmla="*/ 489489 w 733006"/>
              <a:gd name="csY74" fmla="*/ 149547 h 2095135"/>
              <a:gd name="csX75" fmla="*/ 393621 w 733006"/>
              <a:gd name="csY75" fmla="*/ 99259 h 2095135"/>
              <a:gd name="csX76" fmla="*/ 390419 w 733006"/>
              <a:gd name="csY76" fmla="*/ 18568 h 2095135"/>
              <a:gd name="csX77" fmla="*/ 334131 w 733006"/>
              <a:gd name="csY77" fmla="*/ 24327 h 2095135"/>
              <a:gd name="csX78" fmla="*/ 344678 w 733006"/>
              <a:gd name="csY78" fmla="*/ 101259 h 2095135"/>
              <a:gd name="csX79" fmla="*/ 298854 w 733006"/>
              <a:gd name="csY79" fmla="*/ 114003 h 2095135"/>
              <a:gd name="csX80" fmla="*/ 237456 w 733006"/>
              <a:gd name="csY80" fmla="*/ 154340 h 2095135"/>
              <a:gd name="csX81" fmla="*/ 240382 w 733006"/>
              <a:gd name="csY81" fmla="*/ 154035 h 2095135"/>
              <a:gd name="csX82" fmla="*/ 262731 w 733006"/>
              <a:gd name="csY82" fmla="*/ 170426 h 2095135"/>
              <a:gd name="csX83" fmla="*/ 279169 w 733006"/>
              <a:gd name="csY83" fmla="*/ 193173 h 2095135"/>
              <a:gd name="csX84" fmla="*/ 327717 w 733006"/>
              <a:gd name="csY84" fmla="*/ 188556 h 2095135"/>
              <a:gd name="csX85" fmla="*/ 348052 w 733006"/>
              <a:gd name="csY85" fmla="*/ 156919 h 2095135"/>
              <a:gd name="csX86" fmla="*/ 380330 w 733006"/>
              <a:gd name="csY86" fmla="*/ 156483 h 2095135"/>
              <a:gd name="csX87" fmla="*/ 408490 w 733006"/>
              <a:gd name="csY87" fmla="*/ 195400 h 2095135"/>
              <a:gd name="csX88" fmla="*/ 445346 w 733006"/>
              <a:gd name="csY88" fmla="*/ 197582 h 2095135"/>
              <a:gd name="csX89" fmla="*/ 464798 w 733006"/>
              <a:gd name="csY89" fmla="*/ 174107 h 2095135"/>
              <a:gd name="csX90" fmla="*/ 489970 w 733006"/>
              <a:gd name="csY90" fmla="*/ 152208 h 2095135"/>
              <a:gd name="csX91" fmla="*/ 140694 w 733006"/>
              <a:gd name="csY91" fmla="*/ 201837 h 2095135"/>
              <a:gd name="csX92" fmla="*/ 139834 w 733006"/>
              <a:gd name="csY92" fmla="*/ 201482 h 2095135"/>
              <a:gd name="csX93" fmla="*/ 140812 w 733006"/>
              <a:gd name="csY93" fmla="*/ 204941 h 2095135"/>
              <a:gd name="csX94" fmla="*/ 144631 w 733006"/>
              <a:gd name="csY94" fmla="*/ 217811 h 2095135"/>
              <a:gd name="csX95" fmla="*/ 201241 w 733006"/>
              <a:gd name="csY95" fmla="*/ 373387 h 2095135"/>
              <a:gd name="csX96" fmla="*/ 235971 w 733006"/>
              <a:gd name="csY96" fmla="*/ 504451 h 2095135"/>
              <a:gd name="csX97" fmla="*/ 247475 w 733006"/>
              <a:gd name="csY97" fmla="*/ 513241 h 2095135"/>
              <a:gd name="csX98" fmla="*/ 289066 w 733006"/>
              <a:gd name="csY98" fmla="*/ 511170 h 2095135"/>
              <a:gd name="csX99" fmla="*/ 378229 w 733006"/>
              <a:gd name="csY99" fmla="*/ 511084 h 2095135"/>
              <a:gd name="csX100" fmla="*/ 470850 w 733006"/>
              <a:gd name="csY100" fmla="*/ 516341 h 2095135"/>
              <a:gd name="csX101" fmla="*/ 492933 w 733006"/>
              <a:gd name="csY101" fmla="*/ 497969 h 2095135"/>
              <a:gd name="csX102" fmla="*/ 557617 w 733006"/>
              <a:gd name="csY102" fmla="*/ 280398 h 2095135"/>
              <a:gd name="csX103" fmla="*/ 588788 w 733006"/>
              <a:gd name="csY103" fmla="*/ 200385 h 2095135"/>
              <a:gd name="csX104" fmla="*/ 530958 w 733006"/>
              <a:gd name="csY104" fmla="*/ 232968 h 2095135"/>
              <a:gd name="csX105" fmla="*/ 483823 w 733006"/>
              <a:gd name="csY105" fmla="*/ 190364 h 2095135"/>
              <a:gd name="csX106" fmla="*/ 466649 w 733006"/>
              <a:gd name="csY106" fmla="*/ 209061 h 2095135"/>
              <a:gd name="csX107" fmla="*/ 399941 w 733006"/>
              <a:gd name="csY107" fmla="*/ 216988 h 2095135"/>
              <a:gd name="csX108" fmla="*/ 363018 w 733006"/>
              <a:gd name="csY108" fmla="*/ 179615 h 2095135"/>
              <a:gd name="csX109" fmla="*/ 308839 w 733006"/>
              <a:gd name="csY109" fmla="*/ 227846 h 2095135"/>
              <a:gd name="csX110" fmla="*/ 245077 w 733006"/>
              <a:gd name="csY110" fmla="*/ 192402 h 2095135"/>
              <a:gd name="csX111" fmla="*/ 242829 w 733006"/>
              <a:gd name="csY111" fmla="*/ 198815 h 2095135"/>
              <a:gd name="csX112" fmla="*/ 168452 w 733006"/>
              <a:gd name="csY112" fmla="*/ 219348 h 2095135"/>
              <a:gd name="csX113" fmla="*/ 140694 w 733006"/>
              <a:gd name="csY113" fmla="*/ 201837 h 2095135"/>
              <a:gd name="csX114" fmla="*/ 259999 w 733006"/>
              <a:gd name="csY114" fmla="*/ 966699 h 2095135"/>
              <a:gd name="csX115" fmla="*/ 257072 w 733006"/>
              <a:gd name="csY115" fmla="*/ 1070424 h 2095135"/>
              <a:gd name="csX116" fmla="*/ 251372 w 733006"/>
              <a:gd name="csY116" fmla="*/ 1157618 h 2095135"/>
              <a:gd name="csX117" fmla="*/ 232677 w 733006"/>
              <a:gd name="csY117" fmla="*/ 1320279 h 2095135"/>
              <a:gd name="csX118" fmla="*/ 209182 w 733006"/>
              <a:gd name="csY118" fmla="*/ 1468667 h 2095135"/>
              <a:gd name="csX119" fmla="*/ 175302 w 733006"/>
              <a:gd name="csY119" fmla="*/ 1616623 h 2095135"/>
              <a:gd name="csX120" fmla="*/ 182769 w 733006"/>
              <a:gd name="csY120" fmla="*/ 1629786 h 2095135"/>
              <a:gd name="csX121" fmla="*/ 212156 w 733006"/>
              <a:gd name="csY121" fmla="*/ 1632656 h 2095135"/>
              <a:gd name="csX122" fmla="*/ 351295 w 733006"/>
              <a:gd name="csY122" fmla="*/ 1632801 h 2095135"/>
              <a:gd name="csX123" fmla="*/ 376150 w 733006"/>
              <a:gd name="csY123" fmla="*/ 1608307 h 2095135"/>
              <a:gd name="csX124" fmla="*/ 373450 w 733006"/>
              <a:gd name="csY124" fmla="*/ 1457291 h 2095135"/>
              <a:gd name="csX125" fmla="*/ 370936 w 733006"/>
              <a:gd name="csY125" fmla="*/ 1342736 h 2095135"/>
              <a:gd name="csX126" fmla="*/ 368328 w 733006"/>
              <a:gd name="csY126" fmla="*/ 1203878 h 2095135"/>
              <a:gd name="csX127" fmla="*/ 367836 w 733006"/>
              <a:gd name="csY127" fmla="*/ 813478 h 2095135"/>
              <a:gd name="csX128" fmla="*/ 365240 w 733006"/>
              <a:gd name="csY128" fmla="*/ 773243 h 2095135"/>
              <a:gd name="csX129" fmla="*/ 353084 w 733006"/>
              <a:gd name="csY129" fmla="*/ 762083 h 2095135"/>
              <a:gd name="csX130" fmla="*/ 280966 w 733006"/>
              <a:gd name="csY130" fmla="*/ 759855 h 2095135"/>
              <a:gd name="csX131" fmla="*/ 259965 w 733006"/>
              <a:gd name="csY131" fmla="*/ 779553 h 2095135"/>
              <a:gd name="csX132" fmla="*/ 262341 w 733006"/>
              <a:gd name="csY132" fmla="*/ 856275 h 2095135"/>
              <a:gd name="csX133" fmla="*/ 259999 w 733006"/>
              <a:gd name="csY133" fmla="*/ 966699 h 2095135"/>
              <a:gd name="csX134" fmla="*/ 55556 w 733006"/>
              <a:gd name="csY134" fmla="*/ 1835827 h 2095135"/>
              <a:gd name="csX135" fmla="*/ 49393 w 733006"/>
              <a:gd name="csY135" fmla="*/ 1878155 h 2095135"/>
              <a:gd name="csX136" fmla="*/ 73949 w 733006"/>
              <a:gd name="csY136" fmla="*/ 1905781 h 2095135"/>
              <a:gd name="csX137" fmla="*/ 110073 w 733006"/>
              <a:gd name="csY137" fmla="*/ 1909068 h 2095135"/>
              <a:gd name="csX138" fmla="*/ 224745 w 733006"/>
              <a:gd name="csY138" fmla="*/ 1921652 h 2095135"/>
              <a:gd name="csX139" fmla="*/ 347327 w 733006"/>
              <a:gd name="csY139" fmla="*/ 1924778 h 2095135"/>
              <a:gd name="csX140" fmla="*/ 363345 w 733006"/>
              <a:gd name="csY140" fmla="*/ 1923293 h 2095135"/>
              <a:gd name="csX141" fmla="*/ 373787 w 733006"/>
              <a:gd name="csY141" fmla="*/ 1911200 h 2095135"/>
              <a:gd name="csX142" fmla="*/ 376623 w 733006"/>
              <a:gd name="csY142" fmla="*/ 1696741 h 2095135"/>
              <a:gd name="csX143" fmla="*/ 360437 w 733006"/>
              <a:gd name="csY143" fmla="*/ 1681289 h 2095135"/>
              <a:gd name="csX144" fmla="*/ 263503 w 733006"/>
              <a:gd name="csY144" fmla="*/ 1678179 h 2095135"/>
              <a:gd name="csX145" fmla="*/ 160381 w 733006"/>
              <a:gd name="csY145" fmla="*/ 1670405 h 2095135"/>
              <a:gd name="csX146" fmla="*/ 143321 w 733006"/>
              <a:gd name="csY146" fmla="*/ 1685538 h 2095135"/>
              <a:gd name="csX147" fmla="*/ 124769 w 733006"/>
              <a:gd name="csY147" fmla="*/ 1738195 h 2095135"/>
              <a:gd name="csX148" fmla="*/ 90593 w 733006"/>
              <a:gd name="csY148" fmla="*/ 1779570 h 2095135"/>
              <a:gd name="csX149" fmla="*/ 55556 w 733006"/>
              <a:gd name="csY149" fmla="*/ 1835827 h 2095135"/>
              <a:gd name="csX150" fmla="*/ 378900 w 733006"/>
              <a:gd name="csY150" fmla="*/ 2007280 h 2095135"/>
              <a:gd name="csX151" fmla="*/ 378887 w 733006"/>
              <a:gd name="csY151" fmla="*/ 1995127 h 2095135"/>
              <a:gd name="csX152" fmla="*/ 359084 w 733006"/>
              <a:gd name="csY152" fmla="*/ 1975964 h 2095135"/>
              <a:gd name="csX153" fmla="*/ 247288 w 733006"/>
              <a:gd name="csY153" fmla="*/ 1973305 h 2095135"/>
              <a:gd name="csX154" fmla="*/ 201692 w 733006"/>
              <a:gd name="csY154" fmla="*/ 1970275 h 2095135"/>
              <a:gd name="csX155" fmla="*/ 57962 w 733006"/>
              <a:gd name="csY155" fmla="*/ 1952648 h 2095135"/>
              <a:gd name="csX156" fmla="*/ 39194 w 733006"/>
              <a:gd name="csY156" fmla="*/ 1963552 h 2095135"/>
              <a:gd name="csX157" fmla="*/ 30066 w 733006"/>
              <a:gd name="csY157" fmla="*/ 2006631 h 2095135"/>
              <a:gd name="csX158" fmla="*/ 40232 w 733006"/>
              <a:gd name="csY158" fmla="*/ 2019486 h 2095135"/>
              <a:gd name="csX159" fmla="*/ 238186 w 733006"/>
              <a:gd name="csY159" fmla="*/ 2046096 h 2095135"/>
              <a:gd name="csX160" fmla="*/ 342155 w 733006"/>
              <a:gd name="csY160" fmla="*/ 2046441 h 2095135"/>
              <a:gd name="csX161" fmla="*/ 378900 w 733006"/>
              <a:gd name="csY161" fmla="*/ 2007280 h 2095135"/>
              <a:gd name="csX162" fmla="*/ 310220 w 733006"/>
              <a:gd name="csY162" fmla="*/ 554288 h 2095135"/>
              <a:gd name="csX163" fmla="*/ 259136 w 733006"/>
              <a:gd name="csY163" fmla="*/ 556881 h 2095135"/>
              <a:gd name="csX164" fmla="*/ 249085 w 733006"/>
              <a:gd name="csY164" fmla="*/ 567981 h 2095135"/>
              <a:gd name="csX165" fmla="*/ 249141 w 733006"/>
              <a:gd name="csY165" fmla="*/ 605644 h 2095135"/>
              <a:gd name="csX166" fmla="*/ 262628 w 733006"/>
              <a:gd name="csY166" fmla="*/ 605627 h 2095135"/>
              <a:gd name="csX167" fmla="*/ 369608 w 733006"/>
              <a:gd name="csY167" fmla="*/ 603027 h 2095135"/>
              <a:gd name="csX168" fmla="*/ 463931 w 733006"/>
              <a:gd name="csY168" fmla="*/ 605146 h 2095135"/>
              <a:gd name="csX169" fmla="*/ 478113 w 733006"/>
              <a:gd name="csY169" fmla="*/ 595843 h 2095135"/>
              <a:gd name="csX170" fmla="*/ 478796 w 733006"/>
              <a:gd name="csY170" fmla="*/ 556832 h 2095135"/>
              <a:gd name="csX171" fmla="*/ 310220 w 733006"/>
              <a:gd name="csY171" fmla="*/ 554288 h 2095135"/>
              <a:gd name="csX172" fmla="*/ 348836 w 733006"/>
              <a:gd name="csY172" fmla="*/ 684115 h 2095135"/>
              <a:gd name="csX173" fmla="*/ 281333 w 733006"/>
              <a:gd name="csY173" fmla="*/ 683313 h 2095135"/>
              <a:gd name="csX174" fmla="*/ 212728 w 733006"/>
              <a:gd name="csY174" fmla="*/ 681931 h 2095135"/>
              <a:gd name="csX175" fmla="*/ 187283 w 733006"/>
              <a:gd name="csY175" fmla="*/ 689555 h 2095135"/>
              <a:gd name="csX176" fmla="*/ 186163 w 733006"/>
              <a:gd name="csY176" fmla="*/ 718266 h 2095135"/>
              <a:gd name="csX177" fmla="*/ 209894 w 733006"/>
              <a:gd name="csY177" fmla="*/ 726798 h 2095135"/>
              <a:gd name="csX178" fmla="*/ 334814 w 733006"/>
              <a:gd name="csY178" fmla="*/ 732494 h 2095135"/>
              <a:gd name="csX179" fmla="*/ 364856 w 733006"/>
              <a:gd name="csY179" fmla="*/ 707963 h 2095135"/>
              <a:gd name="csX180" fmla="*/ 348836 w 733006"/>
              <a:gd name="csY180" fmla="*/ 684115 h 2095135"/>
              <a:gd name="csX181" fmla="*/ 298865 w 733006"/>
              <a:gd name="csY181" fmla="*/ 621954 h 2095135"/>
              <a:gd name="csX182" fmla="*/ 251619 w 733006"/>
              <a:gd name="csY182" fmla="*/ 622133 h 2095135"/>
              <a:gd name="csX183" fmla="*/ 214459 w 733006"/>
              <a:gd name="csY183" fmla="*/ 636230 h 2095135"/>
              <a:gd name="csX184" fmla="*/ 221436 w 733006"/>
              <a:gd name="csY184" fmla="*/ 654205 h 2095135"/>
              <a:gd name="csX185" fmla="*/ 272412 w 733006"/>
              <a:gd name="csY185" fmla="*/ 657250 h 2095135"/>
              <a:gd name="csX186" fmla="*/ 349094 w 733006"/>
              <a:gd name="csY186" fmla="*/ 659282 h 2095135"/>
              <a:gd name="csX187" fmla="*/ 362996 w 733006"/>
              <a:gd name="csY187" fmla="*/ 644234 h 2095135"/>
              <a:gd name="csX188" fmla="*/ 348472 w 733006"/>
              <a:gd name="csY188" fmla="*/ 624649 h 2095135"/>
              <a:gd name="csX189" fmla="*/ 298865 w 733006"/>
              <a:gd name="csY189" fmla="*/ 621954 h 2095135"/>
              <a:gd name="csX190" fmla="*/ 227796 w 733006"/>
              <a:gd name="csY190" fmla="*/ 528000 h 2095135"/>
              <a:gd name="csX191" fmla="*/ 241009 w 733006"/>
              <a:gd name="csY191" fmla="*/ 545897 h 2095135"/>
              <a:gd name="csX192" fmla="*/ 282607 w 733006"/>
              <a:gd name="csY192" fmla="*/ 543480 h 2095135"/>
              <a:gd name="csX193" fmla="*/ 354213 w 733006"/>
              <a:gd name="csY193" fmla="*/ 543384 h 2095135"/>
              <a:gd name="csX194" fmla="*/ 365334 w 733006"/>
              <a:gd name="csY194" fmla="*/ 533397 h 2095135"/>
              <a:gd name="csX195" fmla="*/ 354531 w 733006"/>
              <a:gd name="csY195" fmla="*/ 521620 h 2095135"/>
              <a:gd name="csX196" fmla="*/ 259169 w 733006"/>
              <a:gd name="csY196" fmla="*/ 521978 h 2095135"/>
              <a:gd name="csX197" fmla="*/ 227796 w 733006"/>
              <a:gd name="csY197" fmla="*/ 528000 h 2095135"/>
              <a:gd name="csX198" fmla="*/ 508068 w 733006"/>
              <a:gd name="csY198" fmla="*/ 190710 h 2095135"/>
              <a:gd name="csX199" fmla="*/ 521293 w 733006"/>
              <a:gd name="csY199" fmla="*/ 205907 h 2095135"/>
              <a:gd name="csX200" fmla="*/ 525175 w 733006"/>
              <a:gd name="csY200" fmla="*/ 202985 h 2095135"/>
              <a:gd name="csX201" fmla="*/ 500276 w 733006"/>
              <a:gd name="csY201" fmla="*/ 160640 h 2095135"/>
              <a:gd name="csX202" fmla="*/ 497122 w 733006"/>
              <a:gd name="csY202" fmla="*/ 162007 h 2095135"/>
              <a:gd name="csX203" fmla="*/ 508068 w 733006"/>
              <a:gd name="csY203" fmla="*/ 190710 h 2095135"/>
              <a:gd name="csX204" fmla="*/ 215522 w 733006"/>
              <a:gd name="csY204" fmla="*/ 197296 h 2095135"/>
              <a:gd name="csX205" fmla="*/ 234029 w 733006"/>
              <a:gd name="csY205" fmla="*/ 162725 h 2095135"/>
              <a:gd name="csX206" fmla="*/ 229000 w 733006"/>
              <a:gd name="csY206" fmla="*/ 159902 h 2095135"/>
              <a:gd name="csX207" fmla="*/ 204824 w 733006"/>
              <a:gd name="csY207" fmla="*/ 199677 h 2095135"/>
              <a:gd name="csX208" fmla="*/ 207990 w 733006"/>
              <a:gd name="csY208" fmla="*/ 202198 h 2095135"/>
              <a:gd name="csX209" fmla="*/ 215522 w 733006"/>
              <a:gd name="csY209" fmla="*/ 197296 h 2095135"/>
              <a:gd name="csX210" fmla="*/ 484400 w 733006"/>
              <a:gd name="csY210" fmla="*/ 896678 h 2095135"/>
              <a:gd name="csX211" fmla="*/ 486181 w 733006"/>
              <a:gd name="csY211" fmla="*/ 896585 h 2095135"/>
              <a:gd name="csX212" fmla="*/ 486181 w 733006"/>
              <a:gd name="csY212" fmla="*/ 795289 h 2095135"/>
              <a:gd name="csX213" fmla="*/ 720241 w 733006"/>
              <a:gd name="csY213" fmla="*/ 2030666 h 2095135"/>
              <a:gd name="csX214" fmla="*/ 721175 w 733006"/>
              <a:gd name="csY214" fmla="*/ 2029733 h 2095135"/>
              <a:gd name="csX215" fmla="*/ 720241 w 733006"/>
              <a:gd name="csY215" fmla="*/ 2030666 h 2095135"/>
              <a:gd name="csX216" fmla="*/ 715702 w 733006"/>
              <a:gd name="csY216" fmla="*/ 2037051 h 2095135"/>
              <a:gd name="csX217" fmla="*/ 715702 w 733006"/>
              <a:gd name="csY217" fmla="*/ 2037051 h 2095135"/>
              <a:gd name="csX0" fmla="*/ 96263 w 733006"/>
              <a:gd name="csY0" fmla="*/ 2076207 h 2095135"/>
              <a:gd name="csX1" fmla="*/ 63862 w 733006"/>
              <a:gd name="csY1" fmla="*/ 2065388 h 2095135"/>
              <a:gd name="csX2" fmla="*/ 16555 w 733006"/>
              <a:gd name="csY2" fmla="*/ 2050152 h 2095135"/>
              <a:gd name="csX3" fmla="*/ 15 w 733006"/>
              <a:gd name="csY3" fmla="*/ 2023802 h 2095135"/>
              <a:gd name="csX4" fmla="*/ 18368 w 733006"/>
              <a:gd name="csY4" fmla="*/ 1940709 h 2095135"/>
              <a:gd name="csX5" fmla="*/ 22139 w 733006"/>
              <a:gd name="csY5" fmla="*/ 1907268 h 2095135"/>
              <a:gd name="csX6" fmla="*/ 57941 w 733006"/>
              <a:gd name="csY6" fmla="*/ 1774163 h 2095135"/>
              <a:gd name="csX7" fmla="*/ 102478 w 733006"/>
              <a:gd name="csY7" fmla="*/ 1720275 h 2095135"/>
              <a:gd name="csX8" fmla="*/ 108579 w 733006"/>
              <a:gd name="csY8" fmla="*/ 1650967 h 2095135"/>
              <a:gd name="csX9" fmla="*/ 115628 w 733006"/>
              <a:gd name="csY9" fmla="*/ 1625405 h 2095135"/>
              <a:gd name="csX10" fmla="*/ 156323 w 733006"/>
              <a:gd name="csY10" fmla="*/ 1560181 h 2095135"/>
              <a:gd name="csX11" fmla="*/ 199424 w 733006"/>
              <a:gd name="csY11" fmla="*/ 1364729 h 2095135"/>
              <a:gd name="csX12" fmla="*/ 216779 w 733006"/>
              <a:gd name="csY12" fmla="*/ 1219490 h 2095135"/>
              <a:gd name="csX13" fmla="*/ 229755 w 733006"/>
              <a:gd name="csY13" fmla="*/ 1099357 h 2095135"/>
              <a:gd name="csX14" fmla="*/ 232707 w 733006"/>
              <a:gd name="csY14" fmla="*/ 1056423 h 2095135"/>
              <a:gd name="csX15" fmla="*/ 235622 w 733006"/>
              <a:gd name="csY15" fmla="*/ 952675 h 2095135"/>
              <a:gd name="csX16" fmla="*/ 235445 w 733006"/>
              <a:gd name="csY16" fmla="*/ 780278 h 2095135"/>
              <a:gd name="csX17" fmla="*/ 214544 w 733006"/>
              <a:gd name="csY17" fmla="*/ 756435 h 2095135"/>
              <a:gd name="csX18" fmla="*/ 172569 w 733006"/>
              <a:gd name="csY18" fmla="*/ 742582 h 2095135"/>
              <a:gd name="csX19" fmla="*/ 168784 w 733006"/>
              <a:gd name="csY19" fmla="*/ 669116 h 2095135"/>
              <a:gd name="csX20" fmla="*/ 191657 w 733006"/>
              <a:gd name="csY20" fmla="*/ 630765 h 2095135"/>
              <a:gd name="csX21" fmla="*/ 208150 w 733006"/>
              <a:gd name="csY21" fmla="*/ 609084 h 2095135"/>
              <a:gd name="csX22" fmla="*/ 216756 w 733006"/>
              <a:gd name="csY22" fmla="*/ 558673 h 2095135"/>
              <a:gd name="csX23" fmla="*/ 209092 w 733006"/>
              <a:gd name="csY23" fmla="*/ 521540 h 2095135"/>
              <a:gd name="csX24" fmla="*/ 204683 w 733006"/>
              <a:gd name="csY24" fmla="*/ 474024 h 2095135"/>
              <a:gd name="csX25" fmla="*/ 115483 w 733006"/>
              <a:gd name="csY25" fmla="*/ 213499 h 2095135"/>
              <a:gd name="csX26" fmla="*/ 102909 w 733006"/>
              <a:gd name="csY26" fmla="*/ 182297 h 2095135"/>
              <a:gd name="csX27" fmla="*/ 104315 w 733006"/>
              <a:gd name="csY27" fmla="*/ 163968 h 2095135"/>
              <a:gd name="csX28" fmla="*/ 122444 w 733006"/>
              <a:gd name="csY28" fmla="*/ 160805 h 2095135"/>
              <a:gd name="csX29" fmla="*/ 170283 w 733006"/>
              <a:gd name="csY29" fmla="*/ 187783 h 2095135"/>
              <a:gd name="csX30" fmla="*/ 180938 w 733006"/>
              <a:gd name="csY30" fmla="*/ 195322 h 2095135"/>
              <a:gd name="csX31" fmla="*/ 221419 w 733006"/>
              <a:gd name="csY31" fmla="*/ 138058 h 2095135"/>
              <a:gd name="csX32" fmla="*/ 294099 w 733006"/>
              <a:gd name="csY32" fmla="*/ 91372 h 2095135"/>
              <a:gd name="csX33" fmla="*/ 302307 w 733006"/>
              <a:gd name="csY33" fmla="*/ 76560 h 2095135"/>
              <a:gd name="csX34" fmla="*/ 320284 w 733006"/>
              <a:gd name="csY34" fmla="*/ 8414 h 2095135"/>
              <a:gd name="csX35" fmla="*/ 324784 w 733006"/>
              <a:gd name="csY35" fmla="*/ 946 h 2095135"/>
              <a:gd name="csX36" fmla="*/ 399212 w 733006"/>
              <a:gd name="csY36" fmla="*/ 0 h 2095135"/>
              <a:gd name="csX37" fmla="*/ 425980 w 733006"/>
              <a:gd name="csY37" fmla="*/ 78301 h 2095135"/>
              <a:gd name="csX38" fmla="*/ 431861 w 733006"/>
              <a:gd name="csY38" fmla="*/ 90312 h 2095135"/>
              <a:gd name="csX39" fmla="*/ 540349 w 733006"/>
              <a:gd name="csY39" fmla="*/ 187946 h 2095135"/>
              <a:gd name="csX40" fmla="*/ 545555 w 733006"/>
              <a:gd name="csY40" fmla="*/ 197828 h 2095135"/>
              <a:gd name="csX41" fmla="*/ 587318 w 733006"/>
              <a:gd name="csY41" fmla="*/ 171260 h 2095135"/>
              <a:gd name="csX42" fmla="*/ 601503 w 733006"/>
              <a:gd name="csY42" fmla="*/ 163707 h 2095135"/>
              <a:gd name="csX43" fmla="*/ 625254 w 733006"/>
              <a:gd name="csY43" fmla="*/ 163123 h 2095135"/>
              <a:gd name="csX44" fmla="*/ 625468 w 733006"/>
              <a:gd name="csY44" fmla="*/ 187579 h 2095135"/>
              <a:gd name="csX45" fmla="*/ 597543 w 733006"/>
              <a:gd name="csY45" fmla="*/ 251872 h 2095135"/>
              <a:gd name="csX46" fmla="*/ 531831 w 733006"/>
              <a:gd name="csY46" fmla="*/ 442689 h 2095135"/>
              <a:gd name="csX47" fmla="*/ 519888 w 733006"/>
              <a:gd name="csY47" fmla="*/ 501474 h 2095135"/>
              <a:gd name="csX48" fmla="*/ 522506 w 733006"/>
              <a:gd name="csY48" fmla="*/ 525086 h 2095135"/>
              <a:gd name="csX49" fmla="*/ 516235 w 733006"/>
              <a:gd name="csY49" fmla="*/ 555946 h 2095135"/>
              <a:gd name="csX50" fmla="*/ 521332 w 733006"/>
              <a:gd name="csY50" fmla="*/ 610676 h 2095135"/>
              <a:gd name="csX51" fmla="*/ 541382 w 733006"/>
              <a:gd name="csY51" fmla="*/ 642597 h 2095135"/>
              <a:gd name="csX52" fmla="*/ 557031 w 733006"/>
              <a:gd name="csY52" fmla="*/ 667949 h 2095135"/>
              <a:gd name="csX53" fmla="*/ 553994 w 733006"/>
              <a:gd name="csY53" fmla="*/ 744146 h 2095135"/>
              <a:gd name="csX54" fmla="*/ 508215 w 733006"/>
              <a:gd name="csY54" fmla="*/ 758841 h 2095135"/>
              <a:gd name="csX55" fmla="*/ 497442 w 733006"/>
              <a:gd name="csY55" fmla="*/ 771256 h 2095135"/>
              <a:gd name="csX56" fmla="*/ 493005 w 733006"/>
              <a:gd name="csY56" fmla="*/ 922055 h 2095135"/>
              <a:gd name="csX57" fmla="*/ 502900 w 733006"/>
              <a:gd name="csY57" fmla="*/ 1114191 h 2095135"/>
              <a:gd name="csX58" fmla="*/ 508800 w 733006"/>
              <a:gd name="csY58" fmla="*/ 1205474 h 2095135"/>
              <a:gd name="csX59" fmla="*/ 522952 w 733006"/>
              <a:gd name="csY59" fmla="*/ 1320065 h 2095135"/>
              <a:gd name="csX60" fmla="*/ 554682 w 733006"/>
              <a:gd name="csY60" fmla="*/ 1501203 h 2095135"/>
              <a:gd name="csX61" fmla="*/ 576958 w 733006"/>
              <a:gd name="csY61" fmla="*/ 1593963 h 2095135"/>
              <a:gd name="csX62" fmla="*/ 595349 w 733006"/>
              <a:gd name="csY62" fmla="*/ 1613498 h 2095135"/>
              <a:gd name="csX63" fmla="*/ 613936 w 733006"/>
              <a:gd name="csY63" fmla="*/ 1624058 h 2095135"/>
              <a:gd name="csX64" fmla="*/ 620938 w 733006"/>
              <a:gd name="csY64" fmla="*/ 1652071 h 2095135"/>
              <a:gd name="csX65" fmla="*/ 630805 w 733006"/>
              <a:gd name="csY65" fmla="*/ 1721702 h 2095135"/>
              <a:gd name="csX66" fmla="*/ 685830 w 733006"/>
              <a:gd name="csY66" fmla="*/ 1792915 h 2095135"/>
              <a:gd name="csX67" fmla="*/ 708904 w 733006"/>
              <a:gd name="csY67" fmla="*/ 1890290 h 2095135"/>
              <a:gd name="csX68" fmla="*/ 716580 w 733006"/>
              <a:gd name="csY68" fmla="*/ 1951136 h 2095135"/>
              <a:gd name="csX69" fmla="*/ 729397 w 733006"/>
              <a:gd name="csY69" fmla="*/ 2030261 h 2095135"/>
              <a:gd name="csX70" fmla="*/ 714212 w 733006"/>
              <a:gd name="csY70" fmla="*/ 2049544 h 2095135"/>
              <a:gd name="csX71" fmla="*/ 96263 w 733006"/>
              <a:gd name="csY71" fmla="*/ 2076207 h 2095135"/>
              <a:gd name="csX72" fmla="*/ 489970 w 733006"/>
              <a:gd name="csY72" fmla="*/ 152208 h 2095135"/>
              <a:gd name="csX73" fmla="*/ 490754 w 733006"/>
              <a:gd name="csY73" fmla="*/ 152592 h 2095135"/>
              <a:gd name="csX74" fmla="*/ 489489 w 733006"/>
              <a:gd name="csY74" fmla="*/ 149547 h 2095135"/>
              <a:gd name="csX75" fmla="*/ 393621 w 733006"/>
              <a:gd name="csY75" fmla="*/ 99259 h 2095135"/>
              <a:gd name="csX76" fmla="*/ 390419 w 733006"/>
              <a:gd name="csY76" fmla="*/ 18568 h 2095135"/>
              <a:gd name="csX77" fmla="*/ 334131 w 733006"/>
              <a:gd name="csY77" fmla="*/ 24327 h 2095135"/>
              <a:gd name="csX78" fmla="*/ 344678 w 733006"/>
              <a:gd name="csY78" fmla="*/ 101259 h 2095135"/>
              <a:gd name="csX79" fmla="*/ 298854 w 733006"/>
              <a:gd name="csY79" fmla="*/ 114003 h 2095135"/>
              <a:gd name="csX80" fmla="*/ 237456 w 733006"/>
              <a:gd name="csY80" fmla="*/ 154340 h 2095135"/>
              <a:gd name="csX81" fmla="*/ 240382 w 733006"/>
              <a:gd name="csY81" fmla="*/ 154035 h 2095135"/>
              <a:gd name="csX82" fmla="*/ 262731 w 733006"/>
              <a:gd name="csY82" fmla="*/ 170426 h 2095135"/>
              <a:gd name="csX83" fmla="*/ 279169 w 733006"/>
              <a:gd name="csY83" fmla="*/ 193173 h 2095135"/>
              <a:gd name="csX84" fmla="*/ 327717 w 733006"/>
              <a:gd name="csY84" fmla="*/ 188556 h 2095135"/>
              <a:gd name="csX85" fmla="*/ 348052 w 733006"/>
              <a:gd name="csY85" fmla="*/ 156919 h 2095135"/>
              <a:gd name="csX86" fmla="*/ 380330 w 733006"/>
              <a:gd name="csY86" fmla="*/ 156483 h 2095135"/>
              <a:gd name="csX87" fmla="*/ 408490 w 733006"/>
              <a:gd name="csY87" fmla="*/ 195400 h 2095135"/>
              <a:gd name="csX88" fmla="*/ 445346 w 733006"/>
              <a:gd name="csY88" fmla="*/ 197582 h 2095135"/>
              <a:gd name="csX89" fmla="*/ 464798 w 733006"/>
              <a:gd name="csY89" fmla="*/ 174107 h 2095135"/>
              <a:gd name="csX90" fmla="*/ 489970 w 733006"/>
              <a:gd name="csY90" fmla="*/ 152208 h 2095135"/>
              <a:gd name="csX91" fmla="*/ 140694 w 733006"/>
              <a:gd name="csY91" fmla="*/ 201837 h 2095135"/>
              <a:gd name="csX92" fmla="*/ 139834 w 733006"/>
              <a:gd name="csY92" fmla="*/ 201482 h 2095135"/>
              <a:gd name="csX93" fmla="*/ 140812 w 733006"/>
              <a:gd name="csY93" fmla="*/ 204941 h 2095135"/>
              <a:gd name="csX94" fmla="*/ 144631 w 733006"/>
              <a:gd name="csY94" fmla="*/ 217811 h 2095135"/>
              <a:gd name="csX95" fmla="*/ 201241 w 733006"/>
              <a:gd name="csY95" fmla="*/ 373387 h 2095135"/>
              <a:gd name="csX96" fmla="*/ 235971 w 733006"/>
              <a:gd name="csY96" fmla="*/ 504451 h 2095135"/>
              <a:gd name="csX97" fmla="*/ 247475 w 733006"/>
              <a:gd name="csY97" fmla="*/ 513241 h 2095135"/>
              <a:gd name="csX98" fmla="*/ 289066 w 733006"/>
              <a:gd name="csY98" fmla="*/ 511170 h 2095135"/>
              <a:gd name="csX99" fmla="*/ 378229 w 733006"/>
              <a:gd name="csY99" fmla="*/ 511084 h 2095135"/>
              <a:gd name="csX100" fmla="*/ 470850 w 733006"/>
              <a:gd name="csY100" fmla="*/ 516341 h 2095135"/>
              <a:gd name="csX101" fmla="*/ 492933 w 733006"/>
              <a:gd name="csY101" fmla="*/ 497969 h 2095135"/>
              <a:gd name="csX102" fmla="*/ 557617 w 733006"/>
              <a:gd name="csY102" fmla="*/ 280398 h 2095135"/>
              <a:gd name="csX103" fmla="*/ 588788 w 733006"/>
              <a:gd name="csY103" fmla="*/ 200385 h 2095135"/>
              <a:gd name="csX104" fmla="*/ 530958 w 733006"/>
              <a:gd name="csY104" fmla="*/ 232968 h 2095135"/>
              <a:gd name="csX105" fmla="*/ 483823 w 733006"/>
              <a:gd name="csY105" fmla="*/ 190364 h 2095135"/>
              <a:gd name="csX106" fmla="*/ 466649 w 733006"/>
              <a:gd name="csY106" fmla="*/ 209061 h 2095135"/>
              <a:gd name="csX107" fmla="*/ 399941 w 733006"/>
              <a:gd name="csY107" fmla="*/ 216988 h 2095135"/>
              <a:gd name="csX108" fmla="*/ 363018 w 733006"/>
              <a:gd name="csY108" fmla="*/ 179615 h 2095135"/>
              <a:gd name="csX109" fmla="*/ 308839 w 733006"/>
              <a:gd name="csY109" fmla="*/ 227846 h 2095135"/>
              <a:gd name="csX110" fmla="*/ 245077 w 733006"/>
              <a:gd name="csY110" fmla="*/ 192402 h 2095135"/>
              <a:gd name="csX111" fmla="*/ 242829 w 733006"/>
              <a:gd name="csY111" fmla="*/ 198815 h 2095135"/>
              <a:gd name="csX112" fmla="*/ 168452 w 733006"/>
              <a:gd name="csY112" fmla="*/ 219348 h 2095135"/>
              <a:gd name="csX113" fmla="*/ 140694 w 733006"/>
              <a:gd name="csY113" fmla="*/ 201837 h 2095135"/>
              <a:gd name="csX114" fmla="*/ 259999 w 733006"/>
              <a:gd name="csY114" fmla="*/ 966699 h 2095135"/>
              <a:gd name="csX115" fmla="*/ 257072 w 733006"/>
              <a:gd name="csY115" fmla="*/ 1070424 h 2095135"/>
              <a:gd name="csX116" fmla="*/ 251372 w 733006"/>
              <a:gd name="csY116" fmla="*/ 1157618 h 2095135"/>
              <a:gd name="csX117" fmla="*/ 232677 w 733006"/>
              <a:gd name="csY117" fmla="*/ 1320279 h 2095135"/>
              <a:gd name="csX118" fmla="*/ 209182 w 733006"/>
              <a:gd name="csY118" fmla="*/ 1468667 h 2095135"/>
              <a:gd name="csX119" fmla="*/ 175302 w 733006"/>
              <a:gd name="csY119" fmla="*/ 1616623 h 2095135"/>
              <a:gd name="csX120" fmla="*/ 182769 w 733006"/>
              <a:gd name="csY120" fmla="*/ 1629786 h 2095135"/>
              <a:gd name="csX121" fmla="*/ 212156 w 733006"/>
              <a:gd name="csY121" fmla="*/ 1632656 h 2095135"/>
              <a:gd name="csX122" fmla="*/ 351295 w 733006"/>
              <a:gd name="csY122" fmla="*/ 1632801 h 2095135"/>
              <a:gd name="csX123" fmla="*/ 376150 w 733006"/>
              <a:gd name="csY123" fmla="*/ 1608307 h 2095135"/>
              <a:gd name="csX124" fmla="*/ 373450 w 733006"/>
              <a:gd name="csY124" fmla="*/ 1457291 h 2095135"/>
              <a:gd name="csX125" fmla="*/ 370936 w 733006"/>
              <a:gd name="csY125" fmla="*/ 1342736 h 2095135"/>
              <a:gd name="csX126" fmla="*/ 368328 w 733006"/>
              <a:gd name="csY126" fmla="*/ 1203878 h 2095135"/>
              <a:gd name="csX127" fmla="*/ 367836 w 733006"/>
              <a:gd name="csY127" fmla="*/ 813478 h 2095135"/>
              <a:gd name="csX128" fmla="*/ 365240 w 733006"/>
              <a:gd name="csY128" fmla="*/ 773243 h 2095135"/>
              <a:gd name="csX129" fmla="*/ 353084 w 733006"/>
              <a:gd name="csY129" fmla="*/ 762083 h 2095135"/>
              <a:gd name="csX130" fmla="*/ 280966 w 733006"/>
              <a:gd name="csY130" fmla="*/ 759855 h 2095135"/>
              <a:gd name="csX131" fmla="*/ 259965 w 733006"/>
              <a:gd name="csY131" fmla="*/ 779553 h 2095135"/>
              <a:gd name="csX132" fmla="*/ 262341 w 733006"/>
              <a:gd name="csY132" fmla="*/ 856275 h 2095135"/>
              <a:gd name="csX133" fmla="*/ 259999 w 733006"/>
              <a:gd name="csY133" fmla="*/ 966699 h 2095135"/>
              <a:gd name="csX134" fmla="*/ 55556 w 733006"/>
              <a:gd name="csY134" fmla="*/ 1835827 h 2095135"/>
              <a:gd name="csX135" fmla="*/ 49393 w 733006"/>
              <a:gd name="csY135" fmla="*/ 1878155 h 2095135"/>
              <a:gd name="csX136" fmla="*/ 73949 w 733006"/>
              <a:gd name="csY136" fmla="*/ 1905781 h 2095135"/>
              <a:gd name="csX137" fmla="*/ 110073 w 733006"/>
              <a:gd name="csY137" fmla="*/ 1909068 h 2095135"/>
              <a:gd name="csX138" fmla="*/ 224745 w 733006"/>
              <a:gd name="csY138" fmla="*/ 1921652 h 2095135"/>
              <a:gd name="csX139" fmla="*/ 347327 w 733006"/>
              <a:gd name="csY139" fmla="*/ 1924778 h 2095135"/>
              <a:gd name="csX140" fmla="*/ 363345 w 733006"/>
              <a:gd name="csY140" fmla="*/ 1923293 h 2095135"/>
              <a:gd name="csX141" fmla="*/ 373787 w 733006"/>
              <a:gd name="csY141" fmla="*/ 1911200 h 2095135"/>
              <a:gd name="csX142" fmla="*/ 376623 w 733006"/>
              <a:gd name="csY142" fmla="*/ 1696741 h 2095135"/>
              <a:gd name="csX143" fmla="*/ 360437 w 733006"/>
              <a:gd name="csY143" fmla="*/ 1681289 h 2095135"/>
              <a:gd name="csX144" fmla="*/ 263503 w 733006"/>
              <a:gd name="csY144" fmla="*/ 1678179 h 2095135"/>
              <a:gd name="csX145" fmla="*/ 160381 w 733006"/>
              <a:gd name="csY145" fmla="*/ 1670405 h 2095135"/>
              <a:gd name="csX146" fmla="*/ 143321 w 733006"/>
              <a:gd name="csY146" fmla="*/ 1685538 h 2095135"/>
              <a:gd name="csX147" fmla="*/ 124769 w 733006"/>
              <a:gd name="csY147" fmla="*/ 1738195 h 2095135"/>
              <a:gd name="csX148" fmla="*/ 90593 w 733006"/>
              <a:gd name="csY148" fmla="*/ 1779570 h 2095135"/>
              <a:gd name="csX149" fmla="*/ 55556 w 733006"/>
              <a:gd name="csY149" fmla="*/ 1835827 h 2095135"/>
              <a:gd name="csX150" fmla="*/ 378900 w 733006"/>
              <a:gd name="csY150" fmla="*/ 2007280 h 2095135"/>
              <a:gd name="csX151" fmla="*/ 378887 w 733006"/>
              <a:gd name="csY151" fmla="*/ 1995127 h 2095135"/>
              <a:gd name="csX152" fmla="*/ 359084 w 733006"/>
              <a:gd name="csY152" fmla="*/ 1975964 h 2095135"/>
              <a:gd name="csX153" fmla="*/ 247288 w 733006"/>
              <a:gd name="csY153" fmla="*/ 1973305 h 2095135"/>
              <a:gd name="csX154" fmla="*/ 201692 w 733006"/>
              <a:gd name="csY154" fmla="*/ 1970275 h 2095135"/>
              <a:gd name="csX155" fmla="*/ 57962 w 733006"/>
              <a:gd name="csY155" fmla="*/ 1952648 h 2095135"/>
              <a:gd name="csX156" fmla="*/ 39194 w 733006"/>
              <a:gd name="csY156" fmla="*/ 1963552 h 2095135"/>
              <a:gd name="csX157" fmla="*/ 30066 w 733006"/>
              <a:gd name="csY157" fmla="*/ 2006631 h 2095135"/>
              <a:gd name="csX158" fmla="*/ 40232 w 733006"/>
              <a:gd name="csY158" fmla="*/ 2019486 h 2095135"/>
              <a:gd name="csX159" fmla="*/ 238186 w 733006"/>
              <a:gd name="csY159" fmla="*/ 2046096 h 2095135"/>
              <a:gd name="csX160" fmla="*/ 342155 w 733006"/>
              <a:gd name="csY160" fmla="*/ 2046441 h 2095135"/>
              <a:gd name="csX161" fmla="*/ 378900 w 733006"/>
              <a:gd name="csY161" fmla="*/ 2007280 h 2095135"/>
              <a:gd name="csX162" fmla="*/ 310220 w 733006"/>
              <a:gd name="csY162" fmla="*/ 554288 h 2095135"/>
              <a:gd name="csX163" fmla="*/ 259136 w 733006"/>
              <a:gd name="csY163" fmla="*/ 556881 h 2095135"/>
              <a:gd name="csX164" fmla="*/ 249085 w 733006"/>
              <a:gd name="csY164" fmla="*/ 567981 h 2095135"/>
              <a:gd name="csX165" fmla="*/ 249141 w 733006"/>
              <a:gd name="csY165" fmla="*/ 605644 h 2095135"/>
              <a:gd name="csX166" fmla="*/ 262628 w 733006"/>
              <a:gd name="csY166" fmla="*/ 605627 h 2095135"/>
              <a:gd name="csX167" fmla="*/ 369608 w 733006"/>
              <a:gd name="csY167" fmla="*/ 603027 h 2095135"/>
              <a:gd name="csX168" fmla="*/ 463931 w 733006"/>
              <a:gd name="csY168" fmla="*/ 605146 h 2095135"/>
              <a:gd name="csX169" fmla="*/ 478113 w 733006"/>
              <a:gd name="csY169" fmla="*/ 595843 h 2095135"/>
              <a:gd name="csX170" fmla="*/ 478796 w 733006"/>
              <a:gd name="csY170" fmla="*/ 556832 h 2095135"/>
              <a:gd name="csX171" fmla="*/ 310220 w 733006"/>
              <a:gd name="csY171" fmla="*/ 554288 h 2095135"/>
              <a:gd name="csX172" fmla="*/ 348836 w 733006"/>
              <a:gd name="csY172" fmla="*/ 684115 h 2095135"/>
              <a:gd name="csX173" fmla="*/ 281333 w 733006"/>
              <a:gd name="csY173" fmla="*/ 683313 h 2095135"/>
              <a:gd name="csX174" fmla="*/ 212728 w 733006"/>
              <a:gd name="csY174" fmla="*/ 681931 h 2095135"/>
              <a:gd name="csX175" fmla="*/ 187283 w 733006"/>
              <a:gd name="csY175" fmla="*/ 689555 h 2095135"/>
              <a:gd name="csX176" fmla="*/ 186163 w 733006"/>
              <a:gd name="csY176" fmla="*/ 718266 h 2095135"/>
              <a:gd name="csX177" fmla="*/ 209894 w 733006"/>
              <a:gd name="csY177" fmla="*/ 726798 h 2095135"/>
              <a:gd name="csX178" fmla="*/ 334814 w 733006"/>
              <a:gd name="csY178" fmla="*/ 732494 h 2095135"/>
              <a:gd name="csX179" fmla="*/ 364856 w 733006"/>
              <a:gd name="csY179" fmla="*/ 707963 h 2095135"/>
              <a:gd name="csX180" fmla="*/ 348836 w 733006"/>
              <a:gd name="csY180" fmla="*/ 684115 h 2095135"/>
              <a:gd name="csX181" fmla="*/ 298865 w 733006"/>
              <a:gd name="csY181" fmla="*/ 621954 h 2095135"/>
              <a:gd name="csX182" fmla="*/ 251619 w 733006"/>
              <a:gd name="csY182" fmla="*/ 622133 h 2095135"/>
              <a:gd name="csX183" fmla="*/ 214459 w 733006"/>
              <a:gd name="csY183" fmla="*/ 636230 h 2095135"/>
              <a:gd name="csX184" fmla="*/ 221436 w 733006"/>
              <a:gd name="csY184" fmla="*/ 654205 h 2095135"/>
              <a:gd name="csX185" fmla="*/ 272412 w 733006"/>
              <a:gd name="csY185" fmla="*/ 657250 h 2095135"/>
              <a:gd name="csX186" fmla="*/ 349094 w 733006"/>
              <a:gd name="csY186" fmla="*/ 659282 h 2095135"/>
              <a:gd name="csX187" fmla="*/ 362996 w 733006"/>
              <a:gd name="csY187" fmla="*/ 644234 h 2095135"/>
              <a:gd name="csX188" fmla="*/ 348472 w 733006"/>
              <a:gd name="csY188" fmla="*/ 624649 h 2095135"/>
              <a:gd name="csX189" fmla="*/ 298865 w 733006"/>
              <a:gd name="csY189" fmla="*/ 621954 h 2095135"/>
              <a:gd name="csX190" fmla="*/ 227796 w 733006"/>
              <a:gd name="csY190" fmla="*/ 528000 h 2095135"/>
              <a:gd name="csX191" fmla="*/ 241009 w 733006"/>
              <a:gd name="csY191" fmla="*/ 545897 h 2095135"/>
              <a:gd name="csX192" fmla="*/ 282607 w 733006"/>
              <a:gd name="csY192" fmla="*/ 543480 h 2095135"/>
              <a:gd name="csX193" fmla="*/ 354213 w 733006"/>
              <a:gd name="csY193" fmla="*/ 543384 h 2095135"/>
              <a:gd name="csX194" fmla="*/ 365334 w 733006"/>
              <a:gd name="csY194" fmla="*/ 533397 h 2095135"/>
              <a:gd name="csX195" fmla="*/ 354531 w 733006"/>
              <a:gd name="csY195" fmla="*/ 521620 h 2095135"/>
              <a:gd name="csX196" fmla="*/ 259169 w 733006"/>
              <a:gd name="csY196" fmla="*/ 521978 h 2095135"/>
              <a:gd name="csX197" fmla="*/ 227796 w 733006"/>
              <a:gd name="csY197" fmla="*/ 528000 h 2095135"/>
              <a:gd name="csX198" fmla="*/ 508068 w 733006"/>
              <a:gd name="csY198" fmla="*/ 190710 h 2095135"/>
              <a:gd name="csX199" fmla="*/ 521293 w 733006"/>
              <a:gd name="csY199" fmla="*/ 205907 h 2095135"/>
              <a:gd name="csX200" fmla="*/ 525175 w 733006"/>
              <a:gd name="csY200" fmla="*/ 202985 h 2095135"/>
              <a:gd name="csX201" fmla="*/ 500276 w 733006"/>
              <a:gd name="csY201" fmla="*/ 160640 h 2095135"/>
              <a:gd name="csX202" fmla="*/ 497122 w 733006"/>
              <a:gd name="csY202" fmla="*/ 162007 h 2095135"/>
              <a:gd name="csX203" fmla="*/ 508068 w 733006"/>
              <a:gd name="csY203" fmla="*/ 190710 h 2095135"/>
              <a:gd name="csX204" fmla="*/ 215522 w 733006"/>
              <a:gd name="csY204" fmla="*/ 197296 h 2095135"/>
              <a:gd name="csX205" fmla="*/ 234029 w 733006"/>
              <a:gd name="csY205" fmla="*/ 162725 h 2095135"/>
              <a:gd name="csX206" fmla="*/ 229000 w 733006"/>
              <a:gd name="csY206" fmla="*/ 159902 h 2095135"/>
              <a:gd name="csX207" fmla="*/ 204824 w 733006"/>
              <a:gd name="csY207" fmla="*/ 199677 h 2095135"/>
              <a:gd name="csX208" fmla="*/ 207990 w 733006"/>
              <a:gd name="csY208" fmla="*/ 202198 h 2095135"/>
              <a:gd name="csX209" fmla="*/ 215522 w 733006"/>
              <a:gd name="csY209" fmla="*/ 197296 h 2095135"/>
              <a:gd name="csX210" fmla="*/ 484400 w 733006"/>
              <a:gd name="csY210" fmla="*/ 896678 h 2095135"/>
              <a:gd name="csX211" fmla="*/ 486181 w 733006"/>
              <a:gd name="csY211" fmla="*/ 896585 h 2095135"/>
              <a:gd name="csX212" fmla="*/ 486181 w 733006"/>
              <a:gd name="csY212" fmla="*/ 795289 h 2095135"/>
              <a:gd name="csX213" fmla="*/ 720241 w 733006"/>
              <a:gd name="csY213" fmla="*/ 2030666 h 2095135"/>
              <a:gd name="csX214" fmla="*/ 721175 w 733006"/>
              <a:gd name="csY214" fmla="*/ 2029733 h 2095135"/>
              <a:gd name="csX215" fmla="*/ 720241 w 733006"/>
              <a:gd name="csY215" fmla="*/ 2030666 h 2095135"/>
              <a:gd name="csX216" fmla="*/ 715702 w 733006"/>
              <a:gd name="csY216" fmla="*/ 2037051 h 2095135"/>
              <a:gd name="csX217" fmla="*/ 715702 w 733006"/>
              <a:gd name="csY217" fmla="*/ 2037051 h 2095135"/>
              <a:gd name="csX0" fmla="*/ 96263 w 733006"/>
              <a:gd name="csY0" fmla="*/ 2076207 h 2095135"/>
              <a:gd name="csX1" fmla="*/ 63862 w 733006"/>
              <a:gd name="csY1" fmla="*/ 2065388 h 2095135"/>
              <a:gd name="csX2" fmla="*/ 16555 w 733006"/>
              <a:gd name="csY2" fmla="*/ 2050152 h 2095135"/>
              <a:gd name="csX3" fmla="*/ 15 w 733006"/>
              <a:gd name="csY3" fmla="*/ 2023802 h 2095135"/>
              <a:gd name="csX4" fmla="*/ 18368 w 733006"/>
              <a:gd name="csY4" fmla="*/ 1940709 h 2095135"/>
              <a:gd name="csX5" fmla="*/ 22139 w 733006"/>
              <a:gd name="csY5" fmla="*/ 1907268 h 2095135"/>
              <a:gd name="csX6" fmla="*/ 57941 w 733006"/>
              <a:gd name="csY6" fmla="*/ 1774163 h 2095135"/>
              <a:gd name="csX7" fmla="*/ 102478 w 733006"/>
              <a:gd name="csY7" fmla="*/ 1720275 h 2095135"/>
              <a:gd name="csX8" fmla="*/ 108579 w 733006"/>
              <a:gd name="csY8" fmla="*/ 1650967 h 2095135"/>
              <a:gd name="csX9" fmla="*/ 115628 w 733006"/>
              <a:gd name="csY9" fmla="*/ 1625405 h 2095135"/>
              <a:gd name="csX10" fmla="*/ 156323 w 733006"/>
              <a:gd name="csY10" fmla="*/ 1560181 h 2095135"/>
              <a:gd name="csX11" fmla="*/ 199424 w 733006"/>
              <a:gd name="csY11" fmla="*/ 1364729 h 2095135"/>
              <a:gd name="csX12" fmla="*/ 216779 w 733006"/>
              <a:gd name="csY12" fmla="*/ 1219490 h 2095135"/>
              <a:gd name="csX13" fmla="*/ 229755 w 733006"/>
              <a:gd name="csY13" fmla="*/ 1099357 h 2095135"/>
              <a:gd name="csX14" fmla="*/ 232707 w 733006"/>
              <a:gd name="csY14" fmla="*/ 1056423 h 2095135"/>
              <a:gd name="csX15" fmla="*/ 235622 w 733006"/>
              <a:gd name="csY15" fmla="*/ 952675 h 2095135"/>
              <a:gd name="csX16" fmla="*/ 235445 w 733006"/>
              <a:gd name="csY16" fmla="*/ 780278 h 2095135"/>
              <a:gd name="csX17" fmla="*/ 214544 w 733006"/>
              <a:gd name="csY17" fmla="*/ 756435 h 2095135"/>
              <a:gd name="csX18" fmla="*/ 172569 w 733006"/>
              <a:gd name="csY18" fmla="*/ 742582 h 2095135"/>
              <a:gd name="csX19" fmla="*/ 168784 w 733006"/>
              <a:gd name="csY19" fmla="*/ 669116 h 2095135"/>
              <a:gd name="csX20" fmla="*/ 191657 w 733006"/>
              <a:gd name="csY20" fmla="*/ 630765 h 2095135"/>
              <a:gd name="csX21" fmla="*/ 208150 w 733006"/>
              <a:gd name="csY21" fmla="*/ 609084 h 2095135"/>
              <a:gd name="csX22" fmla="*/ 216756 w 733006"/>
              <a:gd name="csY22" fmla="*/ 558673 h 2095135"/>
              <a:gd name="csX23" fmla="*/ 209092 w 733006"/>
              <a:gd name="csY23" fmla="*/ 521540 h 2095135"/>
              <a:gd name="csX24" fmla="*/ 204683 w 733006"/>
              <a:gd name="csY24" fmla="*/ 474024 h 2095135"/>
              <a:gd name="csX25" fmla="*/ 115483 w 733006"/>
              <a:gd name="csY25" fmla="*/ 213499 h 2095135"/>
              <a:gd name="csX26" fmla="*/ 102909 w 733006"/>
              <a:gd name="csY26" fmla="*/ 182297 h 2095135"/>
              <a:gd name="csX27" fmla="*/ 104315 w 733006"/>
              <a:gd name="csY27" fmla="*/ 163968 h 2095135"/>
              <a:gd name="csX28" fmla="*/ 122444 w 733006"/>
              <a:gd name="csY28" fmla="*/ 160805 h 2095135"/>
              <a:gd name="csX29" fmla="*/ 170283 w 733006"/>
              <a:gd name="csY29" fmla="*/ 187783 h 2095135"/>
              <a:gd name="csX30" fmla="*/ 180938 w 733006"/>
              <a:gd name="csY30" fmla="*/ 195322 h 2095135"/>
              <a:gd name="csX31" fmla="*/ 221419 w 733006"/>
              <a:gd name="csY31" fmla="*/ 138058 h 2095135"/>
              <a:gd name="csX32" fmla="*/ 294099 w 733006"/>
              <a:gd name="csY32" fmla="*/ 91372 h 2095135"/>
              <a:gd name="csX33" fmla="*/ 302307 w 733006"/>
              <a:gd name="csY33" fmla="*/ 76560 h 2095135"/>
              <a:gd name="csX34" fmla="*/ 320284 w 733006"/>
              <a:gd name="csY34" fmla="*/ 8414 h 2095135"/>
              <a:gd name="csX35" fmla="*/ 324784 w 733006"/>
              <a:gd name="csY35" fmla="*/ 946 h 2095135"/>
              <a:gd name="csX36" fmla="*/ 399212 w 733006"/>
              <a:gd name="csY36" fmla="*/ 0 h 2095135"/>
              <a:gd name="csX37" fmla="*/ 425980 w 733006"/>
              <a:gd name="csY37" fmla="*/ 78301 h 2095135"/>
              <a:gd name="csX38" fmla="*/ 431861 w 733006"/>
              <a:gd name="csY38" fmla="*/ 90312 h 2095135"/>
              <a:gd name="csX39" fmla="*/ 540349 w 733006"/>
              <a:gd name="csY39" fmla="*/ 187946 h 2095135"/>
              <a:gd name="csX40" fmla="*/ 545555 w 733006"/>
              <a:gd name="csY40" fmla="*/ 197828 h 2095135"/>
              <a:gd name="csX41" fmla="*/ 587318 w 733006"/>
              <a:gd name="csY41" fmla="*/ 171260 h 2095135"/>
              <a:gd name="csX42" fmla="*/ 601503 w 733006"/>
              <a:gd name="csY42" fmla="*/ 163707 h 2095135"/>
              <a:gd name="csX43" fmla="*/ 625254 w 733006"/>
              <a:gd name="csY43" fmla="*/ 163123 h 2095135"/>
              <a:gd name="csX44" fmla="*/ 625468 w 733006"/>
              <a:gd name="csY44" fmla="*/ 187579 h 2095135"/>
              <a:gd name="csX45" fmla="*/ 597543 w 733006"/>
              <a:gd name="csY45" fmla="*/ 251872 h 2095135"/>
              <a:gd name="csX46" fmla="*/ 531831 w 733006"/>
              <a:gd name="csY46" fmla="*/ 442689 h 2095135"/>
              <a:gd name="csX47" fmla="*/ 519888 w 733006"/>
              <a:gd name="csY47" fmla="*/ 501474 h 2095135"/>
              <a:gd name="csX48" fmla="*/ 522506 w 733006"/>
              <a:gd name="csY48" fmla="*/ 525086 h 2095135"/>
              <a:gd name="csX49" fmla="*/ 516235 w 733006"/>
              <a:gd name="csY49" fmla="*/ 555946 h 2095135"/>
              <a:gd name="csX50" fmla="*/ 521332 w 733006"/>
              <a:gd name="csY50" fmla="*/ 610676 h 2095135"/>
              <a:gd name="csX51" fmla="*/ 541382 w 733006"/>
              <a:gd name="csY51" fmla="*/ 642597 h 2095135"/>
              <a:gd name="csX52" fmla="*/ 557031 w 733006"/>
              <a:gd name="csY52" fmla="*/ 667949 h 2095135"/>
              <a:gd name="csX53" fmla="*/ 553994 w 733006"/>
              <a:gd name="csY53" fmla="*/ 744146 h 2095135"/>
              <a:gd name="csX54" fmla="*/ 508215 w 733006"/>
              <a:gd name="csY54" fmla="*/ 758841 h 2095135"/>
              <a:gd name="csX55" fmla="*/ 497442 w 733006"/>
              <a:gd name="csY55" fmla="*/ 771256 h 2095135"/>
              <a:gd name="csX56" fmla="*/ 493005 w 733006"/>
              <a:gd name="csY56" fmla="*/ 922055 h 2095135"/>
              <a:gd name="csX57" fmla="*/ 502900 w 733006"/>
              <a:gd name="csY57" fmla="*/ 1114191 h 2095135"/>
              <a:gd name="csX58" fmla="*/ 508800 w 733006"/>
              <a:gd name="csY58" fmla="*/ 1205474 h 2095135"/>
              <a:gd name="csX59" fmla="*/ 522952 w 733006"/>
              <a:gd name="csY59" fmla="*/ 1320065 h 2095135"/>
              <a:gd name="csX60" fmla="*/ 554682 w 733006"/>
              <a:gd name="csY60" fmla="*/ 1501203 h 2095135"/>
              <a:gd name="csX61" fmla="*/ 576958 w 733006"/>
              <a:gd name="csY61" fmla="*/ 1593963 h 2095135"/>
              <a:gd name="csX62" fmla="*/ 595349 w 733006"/>
              <a:gd name="csY62" fmla="*/ 1613498 h 2095135"/>
              <a:gd name="csX63" fmla="*/ 613936 w 733006"/>
              <a:gd name="csY63" fmla="*/ 1624058 h 2095135"/>
              <a:gd name="csX64" fmla="*/ 620938 w 733006"/>
              <a:gd name="csY64" fmla="*/ 1652071 h 2095135"/>
              <a:gd name="csX65" fmla="*/ 630805 w 733006"/>
              <a:gd name="csY65" fmla="*/ 1721702 h 2095135"/>
              <a:gd name="csX66" fmla="*/ 685830 w 733006"/>
              <a:gd name="csY66" fmla="*/ 1792915 h 2095135"/>
              <a:gd name="csX67" fmla="*/ 708904 w 733006"/>
              <a:gd name="csY67" fmla="*/ 1890290 h 2095135"/>
              <a:gd name="csX68" fmla="*/ 716580 w 733006"/>
              <a:gd name="csY68" fmla="*/ 1951136 h 2095135"/>
              <a:gd name="csX69" fmla="*/ 729397 w 733006"/>
              <a:gd name="csY69" fmla="*/ 2030261 h 2095135"/>
              <a:gd name="csX70" fmla="*/ 714212 w 733006"/>
              <a:gd name="csY70" fmla="*/ 2049544 h 2095135"/>
              <a:gd name="csX71" fmla="*/ 96263 w 733006"/>
              <a:gd name="csY71" fmla="*/ 2076207 h 2095135"/>
              <a:gd name="csX72" fmla="*/ 489970 w 733006"/>
              <a:gd name="csY72" fmla="*/ 152208 h 2095135"/>
              <a:gd name="csX73" fmla="*/ 490754 w 733006"/>
              <a:gd name="csY73" fmla="*/ 152592 h 2095135"/>
              <a:gd name="csX74" fmla="*/ 489489 w 733006"/>
              <a:gd name="csY74" fmla="*/ 149547 h 2095135"/>
              <a:gd name="csX75" fmla="*/ 393621 w 733006"/>
              <a:gd name="csY75" fmla="*/ 99259 h 2095135"/>
              <a:gd name="csX76" fmla="*/ 390419 w 733006"/>
              <a:gd name="csY76" fmla="*/ 18568 h 2095135"/>
              <a:gd name="csX77" fmla="*/ 334131 w 733006"/>
              <a:gd name="csY77" fmla="*/ 24327 h 2095135"/>
              <a:gd name="csX78" fmla="*/ 344678 w 733006"/>
              <a:gd name="csY78" fmla="*/ 101259 h 2095135"/>
              <a:gd name="csX79" fmla="*/ 298854 w 733006"/>
              <a:gd name="csY79" fmla="*/ 114003 h 2095135"/>
              <a:gd name="csX80" fmla="*/ 237456 w 733006"/>
              <a:gd name="csY80" fmla="*/ 154340 h 2095135"/>
              <a:gd name="csX81" fmla="*/ 240382 w 733006"/>
              <a:gd name="csY81" fmla="*/ 154035 h 2095135"/>
              <a:gd name="csX82" fmla="*/ 262731 w 733006"/>
              <a:gd name="csY82" fmla="*/ 170426 h 2095135"/>
              <a:gd name="csX83" fmla="*/ 279169 w 733006"/>
              <a:gd name="csY83" fmla="*/ 193173 h 2095135"/>
              <a:gd name="csX84" fmla="*/ 327717 w 733006"/>
              <a:gd name="csY84" fmla="*/ 188556 h 2095135"/>
              <a:gd name="csX85" fmla="*/ 348052 w 733006"/>
              <a:gd name="csY85" fmla="*/ 156919 h 2095135"/>
              <a:gd name="csX86" fmla="*/ 380330 w 733006"/>
              <a:gd name="csY86" fmla="*/ 156483 h 2095135"/>
              <a:gd name="csX87" fmla="*/ 408490 w 733006"/>
              <a:gd name="csY87" fmla="*/ 195400 h 2095135"/>
              <a:gd name="csX88" fmla="*/ 445346 w 733006"/>
              <a:gd name="csY88" fmla="*/ 197582 h 2095135"/>
              <a:gd name="csX89" fmla="*/ 464798 w 733006"/>
              <a:gd name="csY89" fmla="*/ 174107 h 2095135"/>
              <a:gd name="csX90" fmla="*/ 489970 w 733006"/>
              <a:gd name="csY90" fmla="*/ 152208 h 2095135"/>
              <a:gd name="csX91" fmla="*/ 140694 w 733006"/>
              <a:gd name="csY91" fmla="*/ 201837 h 2095135"/>
              <a:gd name="csX92" fmla="*/ 139834 w 733006"/>
              <a:gd name="csY92" fmla="*/ 201482 h 2095135"/>
              <a:gd name="csX93" fmla="*/ 140812 w 733006"/>
              <a:gd name="csY93" fmla="*/ 204941 h 2095135"/>
              <a:gd name="csX94" fmla="*/ 144631 w 733006"/>
              <a:gd name="csY94" fmla="*/ 217811 h 2095135"/>
              <a:gd name="csX95" fmla="*/ 201241 w 733006"/>
              <a:gd name="csY95" fmla="*/ 373387 h 2095135"/>
              <a:gd name="csX96" fmla="*/ 235971 w 733006"/>
              <a:gd name="csY96" fmla="*/ 504451 h 2095135"/>
              <a:gd name="csX97" fmla="*/ 247475 w 733006"/>
              <a:gd name="csY97" fmla="*/ 513241 h 2095135"/>
              <a:gd name="csX98" fmla="*/ 289066 w 733006"/>
              <a:gd name="csY98" fmla="*/ 511170 h 2095135"/>
              <a:gd name="csX99" fmla="*/ 378229 w 733006"/>
              <a:gd name="csY99" fmla="*/ 511084 h 2095135"/>
              <a:gd name="csX100" fmla="*/ 470850 w 733006"/>
              <a:gd name="csY100" fmla="*/ 516341 h 2095135"/>
              <a:gd name="csX101" fmla="*/ 492933 w 733006"/>
              <a:gd name="csY101" fmla="*/ 497969 h 2095135"/>
              <a:gd name="csX102" fmla="*/ 557617 w 733006"/>
              <a:gd name="csY102" fmla="*/ 280398 h 2095135"/>
              <a:gd name="csX103" fmla="*/ 588788 w 733006"/>
              <a:gd name="csY103" fmla="*/ 200385 h 2095135"/>
              <a:gd name="csX104" fmla="*/ 530958 w 733006"/>
              <a:gd name="csY104" fmla="*/ 232968 h 2095135"/>
              <a:gd name="csX105" fmla="*/ 483823 w 733006"/>
              <a:gd name="csY105" fmla="*/ 190364 h 2095135"/>
              <a:gd name="csX106" fmla="*/ 466649 w 733006"/>
              <a:gd name="csY106" fmla="*/ 209061 h 2095135"/>
              <a:gd name="csX107" fmla="*/ 399941 w 733006"/>
              <a:gd name="csY107" fmla="*/ 216988 h 2095135"/>
              <a:gd name="csX108" fmla="*/ 363018 w 733006"/>
              <a:gd name="csY108" fmla="*/ 179615 h 2095135"/>
              <a:gd name="csX109" fmla="*/ 308839 w 733006"/>
              <a:gd name="csY109" fmla="*/ 227846 h 2095135"/>
              <a:gd name="csX110" fmla="*/ 245077 w 733006"/>
              <a:gd name="csY110" fmla="*/ 192402 h 2095135"/>
              <a:gd name="csX111" fmla="*/ 242829 w 733006"/>
              <a:gd name="csY111" fmla="*/ 198815 h 2095135"/>
              <a:gd name="csX112" fmla="*/ 168452 w 733006"/>
              <a:gd name="csY112" fmla="*/ 219348 h 2095135"/>
              <a:gd name="csX113" fmla="*/ 140694 w 733006"/>
              <a:gd name="csY113" fmla="*/ 201837 h 2095135"/>
              <a:gd name="csX114" fmla="*/ 259999 w 733006"/>
              <a:gd name="csY114" fmla="*/ 966699 h 2095135"/>
              <a:gd name="csX115" fmla="*/ 257072 w 733006"/>
              <a:gd name="csY115" fmla="*/ 1070424 h 2095135"/>
              <a:gd name="csX116" fmla="*/ 251372 w 733006"/>
              <a:gd name="csY116" fmla="*/ 1157618 h 2095135"/>
              <a:gd name="csX117" fmla="*/ 232677 w 733006"/>
              <a:gd name="csY117" fmla="*/ 1320279 h 2095135"/>
              <a:gd name="csX118" fmla="*/ 209182 w 733006"/>
              <a:gd name="csY118" fmla="*/ 1468667 h 2095135"/>
              <a:gd name="csX119" fmla="*/ 175302 w 733006"/>
              <a:gd name="csY119" fmla="*/ 1616623 h 2095135"/>
              <a:gd name="csX120" fmla="*/ 182769 w 733006"/>
              <a:gd name="csY120" fmla="*/ 1629786 h 2095135"/>
              <a:gd name="csX121" fmla="*/ 212156 w 733006"/>
              <a:gd name="csY121" fmla="*/ 1632656 h 2095135"/>
              <a:gd name="csX122" fmla="*/ 351295 w 733006"/>
              <a:gd name="csY122" fmla="*/ 1632801 h 2095135"/>
              <a:gd name="csX123" fmla="*/ 376150 w 733006"/>
              <a:gd name="csY123" fmla="*/ 1608307 h 2095135"/>
              <a:gd name="csX124" fmla="*/ 373450 w 733006"/>
              <a:gd name="csY124" fmla="*/ 1457291 h 2095135"/>
              <a:gd name="csX125" fmla="*/ 370936 w 733006"/>
              <a:gd name="csY125" fmla="*/ 1342736 h 2095135"/>
              <a:gd name="csX126" fmla="*/ 368328 w 733006"/>
              <a:gd name="csY126" fmla="*/ 1203878 h 2095135"/>
              <a:gd name="csX127" fmla="*/ 367836 w 733006"/>
              <a:gd name="csY127" fmla="*/ 813478 h 2095135"/>
              <a:gd name="csX128" fmla="*/ 365240 w 733006"/>
              <a:gd name="csY128" fmla="*/ 773243 h 2095135"/>
              <a:gd name="csX129" fmla="*/ 353084 w 733006"/>
              <a:gd name="csY129" fmla="*/ 762083 h 2095135"/>
              <a:gd name="csX130" fmla="*/ 280966 w 733006"/>
              <a:gd name="csY130" fmla="*/ 759855 h 2095135"/>
              <a:gd name="csX131" fmla="*/ 259965 w 733006"/>
              <a:gd name="csY131" fmla="*/ 779553 h 2095135"/>
              <a:gd name="csX132" fmla="*/ 262341 w 733006"/>
              <a:gd name="csY132" fmla="*/ 856275 h 2095135"/>
              <a:gd name="csX133" fmla="*/ 259999 w 733006"/>
              <a:gd name="csY133" fmla="*/ 966699 h 2095135"/>
              <a:gd name="csX134" fmla="*/ 55556 w 733006"/>
              <a:gd name="csY134" fmla="*/ 1835827 h 2095135"/>
              <a:gd name="csX135" fmla="*/ 49393 w 733006"/>
              <a:gd name="csY135" fmla="*/ 1878155 h 2095135"/>
              <a:gd name="csX136" fmla="*/ 73949 w 733006"/>
              <a:gd name="csY136" fmla="*/ 1905781 h 2095135"/>
              <a:gd name="csX137" fmla="*/ 110073 w 733006"/>
              <a:gd name="csY137" fmla="*/ 1909068 h 2095135"/>
              <a:gd name="csX138" fmla="*/ 224745 w 733006"/>
              <a:gd name="csY138" fmla="*/ 1921652 h 2095135"/>
              <a:gd name="csX139" fmla="*/ 347327 w 733006"/>
              <a:gd name="csY139" fmla="*/ 1924778 h 2095135"/>
              <a:gd name="csX140" fmla="*/ 363345 w 733006"/>
              <a:gd name="csY140" fmla="*/ 1923293 h 2095135"/>
              <a:gd name="csX141" fmla="*/ 373787 w 733006"/>
              <a:gd name="csY141" fmla="*/ 1911200 h 2095135"/>
              <a:gd name="csX142" fmla="*/ 376623 w 733006"/>
              <a:gd name="csY142" fmla="*/ 1696741 h 2095135"/>
              <a:gd name="csX143" fmla="*/ 360437 w 733006"/>
              <a:gd name="csY143" fmla="*/ 1681289 h 2095135"/>
              <a:gd name="csX144" fmla="*/ 263503 w 733006"/>
              <a:gd name="csY144" fmla="*/ 1678179 h 2095135"/>
              <a:gd name="csX145" fmla="*/ 160381 w 733006"/>
              <a:gd name="csY145" fmla="*/ 1670405 h 2095135"/>
              <a:gd name="csX146" fmla="*/ 143321 w 733006"/>
              <a:gd name="csY146" fmla="*/ 1685538 h 2095135"/>
              <a:gd name="csX147" fmla="*/ 124769 w 733006"/>
              <a:gd name="csY147" fmla="*/ 1738195 h 2095135"/>
              <a:gd name="csX148" fmla="*/ 90593 w 733006"/>
              <a:gd name="csY148" fmla="*/ 1779570 h 2095135"/>
              <a:gd name="csX149" fmla="*/ 55556 w 733006"/>
              <a:gd name="csY149" fmla="*/ 1835827 h 2095135"/>
              <a:gd name="csX150" fmla="*/ 378900 w 733006"/>
              <a:gd name="csY150" fmla="*/ 2007280 h 2095135"/>
              <a:gd name="csX151" fmla="*/ 378887 w 733006"/>
              <a:gd name="csY151" fmla="*/ 1995127 h 2095135"/>
              <a:gd name="csX152" fmla="*/ 359084 w 733006"/>
              <a:gd name="csY152" fmla="*/ 1975964 h 2095135"/>
              <a:gd name="csX153" fmla="*/ 247288 w 733006"/>
              <a:gd name="csY153" fmla="*/ 1973305 h 2095135"/>
              <a:gd name="csX154" fmla="*/ 201692 w 733006"/>
              <a:gd name="csY154" fmla="*/ 1970275 h 2095135"/>
              <a:gd name="csX155" fmla="*/ 57962 w 733006"/>
              <a:gd name="csY155" fmla="*/ 1952648 h 2095135"/>
              <a:gd name="csX156" fmla="*/ 39194 w 733006"/>
              <a:gd name="csY156" fmla="*/ 1963552 h 2095135"/>
              <a:gd name="csX157" fmla="*/ 30066 w 733006"/>
              <a:gd name="csY157" fmla="*/ 2006631 h 2095135"/>
              <a:gd name="csX158" fmla="*/ 40232 w 733006"/>
              <a:gd name="csY158" fmla="*/ 2019486 h 2095135"/>
              <a:gd name="csX159" fmla="*/ 238186 w 733006"/>
              <a:gd name="csY159" fmla="*/ 2046096 h 2095135"/>
              <a:gd name="csX160" fmla="*/ 342155 w 733006"/>
              <a:gd name="csY160" fmla="*/ 2046441 h 2095135"/>
              <a:gd name="csX161" fmla="*/ 378900 w 733006"/>
              <a:gd name="csY161" fmla="*/ 2007280 h 2095135"/>
              <a:gd name="csX162" fmla="*/ 310220 w 733006"/>
              <a:gd name="csY162" fmla="*/ 554288 h 2095135"/>
              <a:gd name="csX163" fmla="*/ 259136 w 733006"/>
              <a:gd name="csY163" fmla="*/ 556881 h 2095135"/>
              <a:gd name="csX164" fmla="*/ 249085 w 733006"/>
              <a:gd name="csY164" fmla="*/ 567981 h 2095135"/>
              <a:gd name="csX165" fmla="*/ 249141 w 733006"/>
              <a:gd name="csY165" fmla="*/ 605644 h 2095135"/>
              <a:gd name="csX166" fmla="*/ 262628 w 733006"/>
              <a:gd name="csY166" fmla="*/ 605627 h 2095135"/>
              <a:gd name="csX167" fmla="*/ 369608 w 733006"/>
              <a:gd name="csY167" fmla="*/ 603027 h 2095135"/>
              <a:gd name="csX168" fmla="*/ 463931 w 733006"/>
              <a:gd name="csY168" fmla="*/ 605146 h 2095135"/>
              <a:gd name="csX169" fmla="*/ 478113 w 733006"/>
              <a:gd name="csY169" fmla="*/ 595843 h 2095135"/>
              <a:gd name="csX170" fmla="*/ 478796 w 733006"/>
              <a:gd name="csY170" fmla="*/ 556832 h 2095135"/>
              <a:gd name="csX171" fmla="*/ 310220 w 733006"/>
              <a:gd name="csY171" fmla="*/ 554288 h 2095135"/>
              <a:gd name="csX172" fmla="*/ 348836 w 733006"/>
              <a:gd name="csY172" fmla="*/ 684115 h 2095135"/>
              <a:gd name="csX173" fmla="*/ 281333 w 733006"/>
              <a:gd name="csY173" fmla="*/ 683313 h 2095135"/>
              <a:gd name="csX174" fmla="*/ 212728 w 733006"/>
              <a:gd name="csY174" fmla="*/ 681931 h 2095135"/>
              <a:gd name="csX175" fmla="*/ 187283 w 733006"/>
              <a:gd name="csY175" fmla="*/ 689555 h 2095135"/>
              <a:gd name="csX176" fmla="*/ 186163 w 733006"/>
              <a:gd name="csY176" fmla="*/ 718266 h 2095135"/>
              <a:gd name="csX177" fmla="*/ 209894 w 733006"/>
              <a:gd name="csY177" fmla="*/ 726798 h 2095135"/>
              <a:gd name="csX178" fmla="*/ 334814 w 733006"/>
              <a:gd name="csY178" fmla="*/ 732494 h 2095135"/>
              <a:gd name="csX179" fmla="*/ 364856 w 733006"/>
              <a:gd name="csY179" fmla="*/ 707963 h 2095135"/>
              <a:gd name="csX180" fmla="*/ 348836 w 733006"/>
              <a:gd name="csY180" fmla="*/ 684115 h 2095135"/>
              <a:gd name="csX181" fmla="*/ 298865 w 733006"/>
              <a:gd name="csY181" fmla="*/ 621954 h 2095135"/>
              <a:gd name="csX182" fmla="*/ 251619 w 733006"/>
              <a:gd name="csY182" fmla="*/ 622133 h 2095135"/>
              <a:gd name="csX183" fmla="*/ 214459 w 733006"/>
              <a:gd name="csY183" fmla="*/ 636230 h 2095135"/>
              <a:gd name="csX184" fmla="*/ 221436 w 733006"/>
              <a:gd name="csY184" fmla="*/ 654205 h 2095135"/>
              <a:gd name="csX185" fmla="*/ 272412 w 733006"/>
              <a:gd name="csY185" fmla="*/ 657250 h 2095135"/>
              <a:gd name="csX186" fmla="*/ 349094 w 733006"/>
              <a:gd name="csY186" fmla="*/ 659282 h 2095135"/>
              <a:gd name="csX187" fmla="*/ 362996 w 733006"/>
              <a:gd name="csY187" fmla="*/ 644234 h 2095135"/>
              <a:gd name="csX188" fmla="*/ 348472 w 733006"/>
              <a:gd name="csY188" fmla="*/ 624649 h 2095135"/>
              <a:gd name="csX189" fmla="*/ 298865 w 733006"/>
              <a:gd name="csY189" fmla="*/ 621954 h 2095135"/>
              <a:gd name="csX190" fmla="*/ 227796 w 733006"/>
              <a:gd name="csY190" fmla="*/ 528000 h 2095135"/>
              <a:gd name="csX191" fmla="*/ 241009 w 733006"/>
              <a:gd name="csY191" fmla="*/ 545897 h 2095135"/>
              <a:gd name="csX192" fmla="*/ 282607 w 733006"/>
              <a:gd name="csY192" fmla="*/ 543480 h 2095135"/>
              <a:gd name="csX193" fmla="*/ 354213 w 733006"/>
              <a:gd name="csY193" fmla="*/ 543384 h 2095135"/>
              <a:gd name="csX194" fmla="*/ 365334 w 733006"/>
              <a:gd name="csY194" fmla="*/ 533397 h 2095135"/>
              <a:gd name="csX195" fmla="*/ 354531 w 733006"/>
              <a:gd name="csY195" fmla="*/ 521620 h 2095135"/>
              <a:gd name="csX196" fmla="*/ 259169 w 733006"/>
              <a:gd name="csY196" fmla="*/ 521978 h 2095135"/>
              <a:gd name="csX197" fmla="*/ 227796 w 733006"/>
              <a:gd name="csY197" fmla="*/ 528000 h 2095135"/>
              <a:gd name="csX198" fmla="*/ 508068 w 733006"/>
              <a:gd name="csY198" fmla="*/ 190710 h 2095135"/>
              <a:gd name="csX199" fmla="*/ 521293 w 733006"/>
              <a:gd name="csY199" fmla="*/ 205907 h 2095135"/>
              <a:gd name="csX200" fmla="*/ 525175 w 733006"/>
              <a:gd name="csY200" fmla="*/ 202985 h 2095135"/>
              <a:gd name="csX201" fmla="*/ 500276 w 733006"/>
              <a:gd name="csY201" fmla="*/ 160640 h 2095135"/>
              <a:gd name="csX202" fmla="*/ 497122 w 733006"/>
              <a:gd name="csY202" fmla="*/ 162007 h 2095135"/>
              <a:gd name="csX203" fmla="*/ 508068 w 733006"/>
              <a:gd name="csY203" fmla="*/ 190710 h 2095135"/>
              <a:gd name="csX204" fmla="*/ 215522 w 733006"/>
              <a:gd name="csY204" fmla="*/ 197296 h 2095135"/>
              <a:gd name="csX205" fmla="*/ 234029 w 733006"/>
              <a:gd name="csY205" fmla="*/ 162725 h 2095135"/>
              <a:gd name="csX206" fmla="*/ 229000 w 733006"/>
              <a:gd name="csY206" fmla="*/ 159902 h 2095135"/>
              <a:gd name="csX207" fmla="*/ 204824 w 733006"/>
              <a:gd name="csY207" fmla="*/ 199677 h 2095135"/>
              <a:gd name="csX208" fmla="*/ 207990 w 733006"/>
              <a:gd name="csY208" fmla="*/ 202198 h 2095135"/>
              <a:gd name="csX209" fmla="*/ 215522 w 733006"/>
              <a:gd name="csY209" fmla="*/ 197296 h 2095135"/>
              <a:gd name="csX210" fmla="*/ 484400 w 733006"/>
              <a:gd name="csY210" fmla="*/ 896678 h 2095135"/>
              <a:gd name="csX211" fmla="*/ 486181 w 733006"/>
              <a:gd name="csY211" fmla="*/ 896585 h 2095135"/>
              <a:gd name="csX212" fmla="*/ 486181 w 733006"/>
              <a:gd name="csY212" fmla="*/ 795289 h 2095135"/>
              <a:gd name="csX213" fmla="*/ 720241 w 733006"/>
              <a:gd name="csY213" fmla="*/ 2030666 h 2095135"/>
              <a:gd name="csX214" fmla="*/ 721175 w 733006"/>
              <a:gd name="csY214" fmla="*/ 2029733 h 2095135"/>
              <a:gd name="csX215" fmla="*/ 720241 w 733006"/>
              <a:gd name="csY215" fmla="*/ 2030666 h 2095135"/>
              <a:gd name="csX0" fmla="*/ 96263 w 733006"/>
              <a:gd name="csY0" fmla="*/ 2076207 h 2095135"/>
              <a:gd name="csX1" fmla="*/ 63862 w 733006"/>
              <a:gd name="csY1" fmla="*/ 2065388 h 2095135"/>
              <a:gd name="csX2" fmla="*/ 16555 w 733006"/>
              <a:gd name="csY2" fmla="*/ 2050152 h 2095135"/>
              <a:gd name="csX3" fmla="*/ 15 w 733006"/>
              <a:gd name="csY3" fmla="*/ 2023802 h 2095135"/>
              <a:gd name="csX4" fmla="*/ 18368 w 733006"/>
              <a:gd name="csY4" fmla="*/ 1940709 h 2095135"/>
              <a:gd name="csX5" fmla="*/ 22139 w 733006"/>
              <a:gd name="csY5" fmla="*/ 1907268 h 2095135"/>
              <a:gd name="csX6" fmla="*/ 57941 w 733006"/>
              <a:gd name="csY6" fmla="*/ 1774163 h 2095135"/>
              <a:gd name="csX7" fmla="*/ 102478 w 733006"/>
              <a:gd name="csY7" fmla="*/ 1720275 h 2095135"/>
              <a:gd name="csX8" fmla="*/ 108579 w 733006"/>
              <a:gd name="csY8" fmla="*/ 1650967 h 2095135"/>
              <a:gd name="csX9" fmla="*/ 115628 w 733006"/>
              <a:gd name="csY9" fmla="*/ 1625405 h 2095135"/>
              <a:gd name="csX10" fmla="*/ 156323 w 733006"/>
              <a:gd name="csY10" fmla="*/ 1560181 h 2095135"/>
              <a:gd name="csX11" fmla="*/ 199424 w 733006"/>
              <a:gd name="csY11" fmla="*/ 1364729 h 2095135"/>
              <a:gd name="csX12" fmla="*/ 216779 w 733006"/>
              <a:gd name="csY12" fmla="*/ 1219490 h 2095135"/>
              <a:gd name="csX13" fmla="*/ 229755 w 733006"/>
              <a:gd name="csY13" fmla="*/ 1099357 h 2095135"/>
              <a:gd name="csX14" fmla="*/ 232707 w 733006"/>
              <a:gd name="csY14" fmla="*/ 1056423 h 2095135"/>
              <a:gd name="csX15" fmla="*/ 235622 w 733006"/>
              <a:gd name="csY15" fmla="*/ 952675 h 2095135"/>
              <a:gd name="csX16" fmla="*/ 235445 w 733006"/>
              <a:gd name="csY16" fmla="*/ 780278 h 2095135"/>
              <a:gd name="csX17" fmla="*/ 214544 w 733006"/>
              <a:gd name="csY17" fmla="*/ 756435 h 2095135"/>
              <a:gd name="csX18" fmla="*/ 172569 w 733006"/>
              <a:gd name="csY18" fmla="*/ 742582 h 2095135"/>
              <a:gd name="csX19" fmla="*/ 168784 w 733006"/>
              <a:gd name="csY19" fmla="*/ 669116 h 2095135"/>
              <a:gd name="csX20" fmla="*/ 191657 w 733006"/>
              <a:gd name="csY20" fmla="*/ 630765 h 2095135"/>
              <a:gd name="csX21" fmla="*/ 208150 w 733006"/>
              <a:gd name="csY21" fmla="*/ 609084 h 2095135"/>
              <a:gd name="csX22" fmla="*/ 216756 w 733006"/>
              <a:gd name="csY22" fmla="*/ 558673 h 2095135"/>
              <a:gd name="csX23" fmla="*/ 209092 w 733006"/>
              <a:gd name="csY23" fmla="*/ 521540 h 2095135"/>
              <a:gd name="csX24" fmla="*/ 204683 w 733006"/>
              <a:gd name="csY24" fmla="*/ 474024 h 2095135"/>
              <a:gd name="csX25" fmla="*/ 115483 w 733006"/>
              <a:gd name="csY25" fmla="*/ 213499 h 2095135"/>
              <a:gd name="csX26" fmla="*/ 102909 w 733006"/>
              <a:gd name="csY26" fmla="*/ 182297 h 2095135"/>
              <a:gd name="csX27" fmla="*/ 104315 w 733006"/>
              <a:gd name="csY27" fmla="*/ 163968 h 2095135"/>
              <a:gd name="csX28" fmla="*/ 122444 w 733006"/>
              <a:gd name="csY28" fmla="*/ 160805 h 2095135"/>
              <a:gd name="csX29" fmla="*/ 170283 w 733006"/>
              <a:gd name="csY29" fmla="*/ 187783 h 2095135"/>
              <a:gd name="csX30" fmla="*/ 180938 w 733006"/>
              <a:gd name="csY30" fmla="*/ 195322 h 2095135"/>
              <a:gd name="csX31" fmla="*/ 221419 w 733006"/>
              <a:gd name="csY31" fmla="*/ 138058 h 2095135"/>
              <a:gd name="csX32" fmla="*/ 294099 w 733006"/>
              <a:gd name="csY32" fmla="*/ 91372 h 2095135"/>
              <a:gd name="csX33" fmla="*/ 302307 w 733006"/>
              <a:gd name="csY33" fmla="*/ 76560 h 2095135"/>
              <a:gd name="csX34" fmla="*/ 320284 w 733006"/>
              <a:gd name="csY34" fmla="*/ 8414 h 2095135"/>
              <a:gd name="csX35" fmla="*/ 324784 w 733006"/>
              <a:gd name="csY35" fmla="*/ 946 h 2095135"/>
              <a:gd name="csX36" fmla="*/ 399212 w 733006"/>
              <a:gd name="csY36" fmla="*/ 0 h 2095135"/>
              <a:gd name="csX37" fmla="*/ 425980 w 733006"/>
              <a:gd name="csY37" fmla="*/ 78301 h 2095135"/>
              <a:gd name="csX38" fmla="*/ 431861 w 733006"/>
              <a:gd name="csY38" fmla="*/ 90312 h 2095135"/>
              <a:gd name="csX39" fmla="*/ 540349 w 733006"/>
              <a:gd name="csY39" fmla="*/ 187946 h 2095135"/>
              <a:gd name="csX40" fmla="*/ 545555 w 733006"/>
              <a:gd name="csY40" fmla="*/ 197828 h 2095135"/>
              <a:gd name="csX41" fmla="*/ 587318 w 733006"/>
              <a:gd name="csY41" fmla="*/ 171260 h 2095135"/>
              <a:gd name="csX42" fmla="*/ 601503 w 733006"/>
              <a:gd name="csY42" fmla="*/ 163707 h 2095135"/>
              <a:gd name="csX43" fmla="*/ 625254 w 733006"/>
              <a:gd name="csY43" fmla="*/ 163123 h 2095135"/>
              <a:gd name="csX44" fmla="*/ 625468 w 733006"/>
              <a:gd name="csY44" fmla="*/ 187579 h 2095135"/>
              <a:gd name="csX45" fmla="*/ 597543 w 733006"/>
              <a:gd name="csY45" fmla="*/ 251872 h 2095135"/>
              <a:gd name="csX46" fmla="*/ 531831 w 733006"/>
              <a:gd name="csY46" fmla="*/ 442689 h 2095135"/>
              <a:gd name="csX47" fmla="*/ 519888 w 733006"/>
              <a:gd name="csY47" fmla="*/ 501474 h 2095135"/>
              <a:gd name="csX48" fmla="*/ 522506 w 733006"/>
              <a:gd name="csY48" fmla="*/ 525086 h 2095135"/>
              <a:gd name="csX49" fmla="*/ 516235 w 733006"/>
              <a:gd name="csY49" fmla="*/ 555946 h 2095135"/>
              <a:gd name="csX50" fmla="*/ 521332 w 733006"/>
              <a:gd name="csY50" fmla="*/ 610676 h 2095135"/>
              <a:gd name="csX51" fmla="*/ 541382 w 733006"/>
              <a:gd name="csY51" fmla="*/ 642597 h 2095135"/>
              <a:gd name="csX52" fmla="*/ 557031 w 733006"/>
              <a:gd name="csY52" fmla="*/ 667949 h 2095135"/>
              <a:gd name="csX53" fmla="*/ 553994 w 733006"/>
              <a:gd name="csY53" fmla="*/ 744146 h 2095135"/>
              <a:gd name="csX54" fmla="*/ 508215 w 733006"/>
              <a:gd name="csY54" fmla="*/ 758841 h 2095135"/>
              <a:gd name="csX55" fmla="*/ 497442 w 733006"/>
              <a:gd name="csY55" fmla="*/ 771256 h 2095135"/>
              <a:gd name="csX56" fmla="*/ 493005 w 733006"/>
              <a:gd name="csY56" fmla="*/ 922055 h 2095135"/>
              <a:gd name="csX57" fmla="*/ 502900 w 733006"/>
              <a:gd name="csY57" fmla="*/ 1114191 h 2095135"/>
              <a:gd name="csX58" fmla="*/ 508800 w 733006"/>
              <a:gd name="csY58" fmla="*/ 1205474 h 2095135"/>
              <a:gd name="csX59" fmla="*/ 522952 w 733006"/>
              <a:gd name="csY59" fmla="*/ 1320065 h 2095135"/>
              <a:gd name="csX60" fmla="*/ 554682 w 733006"/>
              <a:gd name="csY60" fmla="*/ 1501203 h 2095135"/>
              <a:gd name="csX61" fmla="*/ 576958 w 733006"/>
              <a:gd name="csY61" fmla="*/ 1593963 h 2095135"/>
              <a:gd name="csX62" fmla="*/ 595349 w 733006"/>
              <a:gd name="csY62" fmla="*/ 1613498 h 2095135"/>
              <a:gd name="csX63" fmla="*/ 613936 w 733006"/>
              <a:gd name="csY63" fmla="*/ 1624058 h 2095135"/>
              <a:gd name="csX64" fmla="*/ 620938 w 733006"/>
              <a:gd name="csY64" fmla="*/ 1652071 h 2095135"/>
              <a:gd name="csX65" fmla="*/ 630805 w 733006"/>
              <a:gd name="csY65" fmla="*/ 1721702 h 2095135"/>
              <a:gd name="csX66" fmla="*/ 685830 w 733006"/>
              <a:gd name="csY66" fmla="*/ 1792915 h 2095135"/>
              <a:gd name="csX67" fmla="*/ 708904 w 733006"/>
              <a:gd name="csY67" fmla="*/ 1890290 h 2095135"/>
              <a:gd name="csX68" fmla="*/ 716580 w 733006"/>
              <a:gd name="csY68" fmla="*/ 1951136 h 2095135"/>
              <a:gd name="csX69" fmla="*/ 729397 w 733006"/>
              <a:gd name="csY69" fmla="*/ 2030261 h 2095135"/>
              <a:gd name="csX70" fmla="*/ 714212 w 733006"/>
              <a:gd name="csY70" fmla="*/ 2049544 h 2095135"/>
              <a:gd name="csX71" fmla="*/ 96263 w 733006"/>
              <a:gd name="csY71" fmla="*/ 2076207 h 2095135"/>
              <a:gd name="csX72" fmla="*/ 489970 w 733006"/>
              <a:gd name="csY72" fmla="*/ 152208 h 2095135"/>
              <a:gd name="csX73" fmla="*/ 490754 w 733006"/>
              <a:gd name="csY73" fmla="*/ 152592 h 2095135"/>
              <a:gd name="csX74" fmla="*/ 489489 w 733006"/>
              <a:gd name="csY74" fmla="*/ 149547 h 2095135"/>
              <a:gd name="csX75" fmla="*/ 393621 w 733006"/>
              <a:gd name="csY75" fmla="*/ 99259 h 2095135"/>
              <a:gd name="csX76" fmla="*/ 390419 w 733006"/>
              <a:gd name="csY76" fmla="*/ 18568 h 2095135"/>
              <a:gd name="csX77" fmla="*/ 334131 w 733006"/>
              <a:gd name="csY77" fmla="*/ 24327 h 2095135"/>
              <a:gd name="csX78" fmla="*/ 344678 w 733006"/>
              <a:gd name="csY78" fmla="*/ 101259 h 2095135"/>
              <a:gd name="csX79" fmla="*/ 298854 w 733006"/>
              <a:gd name="csY79" fmla="*/ 114003 h 2095135"/>
              <a:gd name="csX80" fmla="*/ 237456 w 733006"/>
              <a:gd name="csY80" fmla="*/ 154340 h 2095135"/>
              <a:gd name="csX81" fmla="*/ 240382 w 733006"/>
              <a:gd name="csY81" fmla="*/ 154035 h 2095135"/>
              <a:gd name="csX82" fmla="*/ 262731 w 733006"/>
              <a:gd name="csY82" fmla="*/ 170426 h 2095135"/>
              <a:gd name="csX83" fmla="*/ 279169 w 733006"/>
              <a:gd name="csY83" fmla="*/ 193173 h 2095135"/>
              <a:gd name="csX84" fmla="*/ 327717 w 733006"/>
              <a:gd name="csY84" fmla="*/ 188556 h 2095135"/>
              <a:gd name="csX85" fmla="*/ 348052 w 733006"/>
              <a:gd name="csY85" fmla="*/ 156919 h 2095135"/>
              <a:gd name="csX86" fmla="*/ 380330 w 733006"/>
              <a:gd name="csY86" fmla="*/ 156483 h 2095135"/>
              <a:gd name="csX87" fmla="*/ 408490 w 733006"/>
              <a:gd name="csY87" fmla="*/ 195400 h 2095135"/>
              <a:gd name="csX88" fmla="*/ 445346 w 733006"/>
              <a:gd name="csY88" fmla="*/ 197582 h 2095135"/>
              <a:gd name="csX89" fmla="*/ 464798 w 733006"/>
              <a:gd name="csY89" fmla="*/ 174107 h 2095135"/>
              <a:gd name="csX90" fmla="*/ 489970 w 733006"/>
              <a:gd name="csY90" fmla="*/ 152208 h 2095135"/>
              <a:gd name="csX91" fmla="*/ 140694 w 733006"/>
              <a:gd name="csY91" fmla="*/ 201837 h 2095135"/>
              <a:gd name="csX92" fmla="*/ 139834 w 733006"/>
              <a:gd name="csY92" fmla="*/ 201482 h 2095135"/>
              <a:gd name="csX93" fmla="*/ 140812 w 733006"/>
              <a:gd name="csY93" fmla="*/ 204941 h 2095135"/>
              <a:gd name="csX94" fmla="*/ 144631 w 733006"/>
              <a:gd name="csY94" fmla="*/ 217811 h 2095135"/>
              <a:gd name="csX95" fmla="*/ 201241 w 733006"/>
              <a:gd name="csY95" fmla="*/ 373387 h 2095135"/>
              <a:gd name="csX96" fmla="*/ 235971 w 733006"/>
              <a:gd name="csY96" fmla="*/ 504451 h 2095135"/>
              <a:gd name="csX97" fmla="*/ 247475 w 733006"/>
              <a:gd name="csY97" fmla="*/ 513241 h 2095135"/>
              <a:gd name="csX98" fmla="*/ 289066 w 733006"/>
              <a:gd name="csY98" fmla="*/ 511170 h 2095135"/>
              <a:gd name="csX99" fmla="*/ 378229 w 733006"/>
              <a:gd name="csY99" fmla="*/ 511084 h 2095135"/>
              <a:gd name="csX100" fmla="*/ 470850 w 733006"/>
              <a:gd name="csY100" fmla="*/ 516341 h 2095135"/>
              <a:gd name="csX101" fmla="*/ 492933 w 733006"/>
              <a:gd name="csY101" fmla="*/ 497969 h 2095135"/>
              <a:gd name="csX102" fmla="*/ 557617 w 733006"/>
              <a:gd name="csY102" fmla="*/ 280398 h 2095135"/>
              <a:gd name="csX103" fmla="*/ 588788 w 733006"/>
              <a:gd name="csY103" fmla="*/ 200385 h 2095135"/>
              <a:gd name="csX104" fmla="*/ 530958 w 733006"/>
              <a:gd name="csY104" fmla="*/ 232968 h 2095135"/>
              <a:gd name="csX105" fmla="*/ 483823 w 733006"/>
              <a:gd name="csY105" fmla="*/ 190364 h 2095135"/>
              <a:gd name="csX106" fmla="*/ 466649 w 733006"/>
              <a:gd name="csY106" fmla="*/ 209061 h 2095135"/>
              <a:gd name="csX107" fmla="*/ 399941 w 733006"/>
              <a:gd name="csY107" fmla="*/ 216988 h 2095135"/>
              <a:gd name="csX108" fmla="*/ 363018 w 733006"/>
              <a:gd name="csY108" fmla="*/ 179615 h 2095135"/>
              <a:gd name="csX109" fmla="*/ 308839 w 733006"/>
              <a:gd name="csY109" fmla="*/ 227846 h 2095135"/>
              <a:gd name="csX110" fmla="*/ 245077 w 733006"/>
              <a:gd name="csY110" fmla="*/ 192402 h 2095135"/>
              <a:gd name="csX111" fmla="*/ 242829 w 733006"/>
              <a:gd name="csY111" fmla="*/ 198815 h 2095135"/>
              <a:gd name="csX112" fmla="*/ 168452 w 733006"/>
              <a:gd name="csY112" fmla="*/ 219348 h 2095135"/>
              <a:gd name="csX113" fmla="*/ 140694 w 733006"/>
              <a:gd name="csY113" fmla="*/ 201837 h 2095135"/>
              <a:gd name="csX114" fmla="*/ 259999 w 733006"/>
              <a:gd name="csY114" fmla="*/ 966699 h 2095135"/>
              <a:gd name="csX115" fmla="*/ 257072 w 733006"/>
              <a:gd name="csY115" fmla="*/ 1070424 h 2095135"/>
              <a:gd name="csX116" fmla="*/ 251372 w 733006"/>
              <a:gd name="csY116" fmla="*/ 1157618 h 2095135"/>
              <a:gd name="csX117" fmla="*/ 232677 w 733006"/>
              <a:gd name="csY117" fmla="*/ 1320279 h 2095135"/>
              <a:gd name="csX118" fmla="*/ 209182 w 733006"/>
              <a:gd name="csY118" fmla="*/ 1468667 h 2095135"/>
              <a:gd name="csX119" fmla="*/ 175302 w 733006"/>
              <a:gd name="csY119" fmla="*/ 1616623 h 2095135"/>
              <a:gd name="csX120" fmla="*/ 182769 w 733006"/>
              <a:gd name="csY120" fmla="*/ 1629786 h 2095135"/>
              <a:gd name="csX121" fmla="*/ 212156 w 733006"/>
              <a:gd name="csY121" fmla="*/ 1632656 h 2095135"/>
              <a:gd name="csX122" fmla="*/ 351295 w 733006"/>
              <a:gd name="csY122" fmla="*/ 1632801 h 2095135"/>
              <a:gd name="csX123" fmla="*/ 376150 w 733006"/>
              <a:gd name="csY123" fmla="*/ 1608307 h 2095135"/>
              <a:gd name="csX124" fmla="*/ 373450 w 733006"/>
              <a:gd name="csY124" fmla="*/ 1457291 h 2095135"/>
              <a:gd name="csX125" fmla="*/ 370936 w 733006"/>
              <a:gd name="csY125" fmla="*/ 1342736 h 2095135"/>
              <a:gd name="csX126" fmla="*/ 368328 w 733006"/>
              <a:gd name="csY126" fmla="*/ 1203878 h 2095135"/>
              <a:gd name="csX127" fmla="*/ 367836 w 733006"/>
              <a:gd name="csY127" fmla="*/ 813478 h 2095135"/>
              <a:gd name="csX128" fmla="*/ 365240 w 733006"/>
              <a:gd name="csY128" fmla="*/ 773243 h 2095135"/>
              <a:gd name="csX129" fmla="*/ 353084 w 733006"/>
              <a:gd name="csY129" fmla="*/ 762083 h 2095135"/>
              <a:gd name="csX130" fmla="*/ 280966 w 733006"/>
              <a:gd name="csY130" fmla="*/ 759855 h 2095135"/>
              <a:gd name="csX131" fmla="*/ 259965 w 733006"/>
              <a:gd name="csY131" fmla="*/ 779553 h 2095135"/>
              <a:gd name="csX132" fmla="*/ 262341 w 733006"/>
              <a:gd name="csY132" fmla="*/ 856275 h 2095135"/>
              <a:gd name="csX133" fmla="*/ 259999 w 733006"/>
              <a:gd name="csY133" fmla="*/ 966699 h 2095135"/>
              <a:gd name="csX134" fmla="*/ 55556 w 733006"/>
              <a:gd name="csY134" fmla="*/ 1835827 h 2095135"/>
              <a:gd name="csX135" fmla="*/ 49393 w 733006"/>
              <a:gd name="csY135" fmla="*/ 1878155 h 2095135"/>
              <a:gd name="csX136" fmla="*/ 73949 w 733006"/>
              <a:gd name="csY136" fmla="*/ 1905781 h 2095135"/>
              <a:gd name="csX137" fmla="*/ 110073 w 733006"/>
              <a:gd name="csY137" fmla="*/ 1909068 h 2095135"/>
              <a:gd name="csX138" fmla="*/ 224745 w 733006"/>
              <a:gd name="csY138" fmla="*/ 1921652 h 2095135"/>
              <a:gd name="csX139" fmla="*/ 347327 w 733006"/>
              <a:gd name="csY139" fmla="*/ 1924778 h 2095135"/>
              <a:gd name="csX140" fmla="*/ 363345 w 733006"/>
              <a:gd name="csY140" fmla="*/ 1923293 h 2095135"/>
              <a:gd name="csX141" fmla="*/ 373787 w 733006"/>
              <a:gd name="csY141" fmla="*/ 1911200 h 2095135"/>
              <a:gd name="csX142" fmla="*/ 376623 w 733006"/>
              <a:gd name="csY142" fmla="*/ 1696741 h 2095135"/>
              <a:gd name="csX143" fmla="*/ 360437 w 733006"/>
              <a:gd name="csY143" fmla="*/ 1681289 h 2095135"/>
              <a:gd name="csX144" fmla="*/ 263503 w 733006"/>
              <a:gd name="csY144" fmla="*/ 1678179 h 2095135"/>
              <a:gd name="csX145" fmla="*/ 160381 w 733006"/>
              <a:gd name="csY145" fmla="*/ 1670405 h 2095135"/>
              <a:gd name="csX146" fmla="*/ 143321 w 733006"/>
              <a:gd name="csY146" fmla="*/ 1685538 h 2095135"/>
              <a:gd name="csX147" fmla="*/ 124769 w 733006"/>
              <a:gd name="csY147" fmla="*/ 1738195 h 2095135"/>
              <a:gd name="csX148" fmla="*/ 90593 w 733006"/>
              <a:gd name="csY148" fmla="*/ 1779570 h 2095135"/>
              <a:gd name="csX149" fmla="*/ 55556 w 733006"/>
              <a:gd name="csY149" fmla="*/ 1835827 h 2095135"/>
              <a:gd name="csX150" fmla="*/ 378900 w 733006"/>
              <a:gd name="csY150" fmla="*/ 2007280 h 2095135"/>
              <a:gd name="csX151" fmla="*/ 378887 w 733006"/>
              <a:gd name="csY151" fmla="*/ 1995127 h 2095135"/>
              <a:gd name="csX152" fmla="*/ 359084 w 733006"/>
              <a:gd name="csY152" fmla="*/ 1975964 h 2095135"/>
              <a:gd name="csX153" fmla="*/ 247288 w 733006"/>
              <a:gd name="csY153" fmla="*/ 1973305 h 2095135"/>
              <a:gd name="csX154" fmla="*/ 201692 w 733006"/>
              <a:gd name="csY154" fmla="*/ 1970275 h 2095135"/>
              <a:gd name="csX155" fmla="*/ 57962 w 733006"/>
              <a:gd name="csY155" fmla="*/ 1952648 h 2095135"/>
              <a:gd name="csX156" fmla="*/ 39194 w 733006"/>
              <a:gd name="csY156" fmla="*/ 1963552 h 2095135"/>
              <a:gd name="csX157" fmla="*/ 30066 w 733006"/>
              <a:gd name="csY157" fmla="*/ 2006631 h 2095135"/>
              <a:gd name="csX158" fmla="*/ 40232 w 733006"/>
              <a:gd name="csY158" fmla="*/ 2019486 h 2095135"/>
              <a:gd name="csX159" fmla="*/ 238186 w 733006"/>
              <a:gd name="csY159" fmla="*/ 2046096 h 2095135"/>
              <a:gd name="csX160" fmla="*/ 342155 w 733006"/>
              <a:gd name="csY160" fmla="*/ 2046441 h 2095135"/>
              <a:gd name="csX161" fmla="*/ 378900 w 733006"/>
              <a:gd name="csY161" fmla="*/ 2007280 h 2095135"/>
              <a:gd name="csX162" fmla="*/ 310220 w 733006"/>
              <a:gd name="csY162" fmla="*/ 554288 h 2095135"/>
              <a:gd name="csX163" fmla="*/ 259136 w 733006"/>
              <a:gd name="csY163" fmla="*/ 556881 h 2095135"/>
              <a:gd name="csX164" fmla="*/ 249085 w 733006"/>
              <a:gd name="csY164" fmla="*/ 567981 h 2095135"/>
              <a:gd name="csX165" fmla="*/ 249141 w 733006"/>
              <a:gd name="csY165" fmla="*/ 605644 h 2095135"/>
              <a:gd name="csX166" fmla="*/ 262628 w 733006"/>
              <a:gd name="csY166" fmla="*/ 605627 h 2095135"/>
              <a:gd name="csX167" fmla="*/ 369608 w 733006"/>
              <a:gd name="csY167" fmla="*/ 603027 h 2095135"/>
              <a:gd name="csX168" fmla="*/ 463931 w 733006"/>
              <a:gd name="csY168" fmla="*/ 605146 h 2095135"/>
              <a:gd name="csX169" fmla="*/ 478113 w 733006"/>
              <a:gd name="csY169" fmla="*/ 595843 h 2095135"/>
              <a:gd name="csX170" fmla="*/ 478796 w 733006"/>
              <a:gd name="csY170" fmla="*/ 556832 h 2095135"/>
              <a:gd name="csX171" fmla="*/ 310220 w 733006"/>
              <a:gd name="csY171" fmla="*/ 554288 h 2095135"/>
              <a:gd name="csX172" fmla="*/ 348836 w 733006"/>
              <a:gd name="csY172" fmla="*/ 684115 h 2095135"/>
              <a:gd name="csX173" fmla="*/ 281333 w 733006"/>
              <a:gd name="csY173" fmla="*/ 683313 h 2095135"/>
              <a:gd name="csX174" fmla="*/ 212728 w 733006"/>
              <a:gd name="csY174" fmla="*/ 681931 h 2095135"/>
              <a:gd name="csX175" fmla="*/ 187283 w 733006"/>
              <a:gd name="csY175" fmla="*/ 689555 h 2095135"/>
              <a:gd name="csX176" fmla="*/ 186163 w 733006"/>
              <a:gd name="csY176" fmla="*/ 718266 h 2095135"/>
              <a:gd name="csX177" fmla="*/ 209894 w 733006"/>
              <a:gd name="csY177" fmla="*/ 726798 h 2095135"/>
              <a:gd name="csX178" fmla="*/ 334814 w 733006"/>
              <a:gd name="csY178" fmla="*/ 732494 h 2095135"/>
              <a:gd name="csX179" fmla="*/ 364856 w 733006"/>
              <a:gd name="csY179" fmla="*/ 707963 h 2095135"/>
              <a:gd name="csX180" fmla="*/ 348836 w 733006"/>
              <a:gd name="csY180" fmla="*/ 684115 h 2095135"/>
              <a:gd name="csX181" fmla="*/ 298865 w 733006"/>
              <a:gd name="csY181" fmla="*/ 621954 h 2095135"/>
              <a:gd name="csX182" fmla="*/ 251619 w 733006"/>
              <a:gd name="csY182" fmla="*/ 622133 h 2095135"/>
              <a:gd name="csX183" fmla="*/ 214459 w 733006"/>
              <a:gd name="csY183" fmla="*/ 636230 h 2095135"/>
              <a:gd name="csX184" fmla="*/ 221436 w 733006"/>
              <a:gd name="csY184" fmla="*/ 654205 h 2095135"/>
              <a:gd name="csX185" fmla="*/ 272412 w 733006"/>
              <a:gd name="csY185" fmla="*/ 657250 h 2095135"/>
              <a:gd name="csX186" fmla="*/ 349094 w 733006"/>
              <a:gd name="csY186" fmla="*/ 659282 h 2095135"/>
              <a:gd name="csX187" fmla="*/ 362996 w 733006"/>
              <a:gd name="csY187" fmla="*/ 644234 h 2095135"/>
              <a:gd name="csX188" fmla="*/ 348472 w 733006"/>
              <a:gd name="csY188" fmla="*/ 624649 h 2095135"/>
              <a:gd name="csX189" fmla="*/ 298865 w 733006"/>
              <a:gd name="csY189" fmla="*/ 621954 h 2095135"/>
              <a:gd name="csX190" fmla="*/ 227796 w 733006"/>
              <a:gd name="csY190" fmla="*/ 528000 h 2095135"/>
              <a:gd name="csX191" fmla="*/ 241009 w 733006"/>
              <a:gd name="csY191" fmla="*/ 545897 h 2095135"/>
              <a:gd name="csX192" fmla="*/ 282607 w 733006"/>
              <a:gd name="csY192" fmla="*/ 543480 h 2095135"/>
              <a:gd name="csX193" fmla="*/ 354213 w 733006"/>
              <a:gd name="csY193" fmla="*/ 543384 h 2095135"/>
              <a:gd name="csX194" fmla="*/ 365334 w 733006"/>
              <a:gd name="csY194" fmla="*/ 533397 h 2095135"/>
              <a:gd name="csX195" fmla="*/ 354531 w 733006"/>
              <a:gd name="csY195" fmla="*/ 521620 h 2095135"/>
              <a:gd name="csX196" fmla="*/ 259169 w 733006"/>
              <a:gd name="csY196" fmla="*/ 521978 h 2095135"/>
              <a:gd name="csX197" fmla="*/ 227796 w 733006"/>
              <a:gd name="csY197" fmla="*/ 528000 h 2095135"/>
              <a:gd name="csX198" fmla="*/ 508068 w 733006"/>
              <a:gd name="csY198" fmla="*/ 190710 h 2095135"/>
              <a:gd name="csX199" fmla="*/ 521293 w 733006"/>
              <a:gd name="csY199" fmla="*/ 205907 h 2095135"/>
              <a:gd name="csX200" fmla="*/ 525175 w 733006"/>
              <a:gd name="csY200" fmla="*/ 202985 h 2095135"/>
              <a:gd name="csX201" fmla="*/ 500276 w 733006"/>
              <a:gd name="csY201" fmla="*/ 160640 h 2095135"/>
              <a:gd name="csX202" fmla="*/ 497122 w 733006"/>
              <a:gd name="csY202" fmla="*/ 162007 h 2095135"/>
              <a:gd name="csX203" fmla="*/ 508068 w 733006"/>
              <a:gd name="csY203" fmla="*/ 190710 h 2095135"/>
              <a:gd name="csX204" fmla="*/ 215522 w 733006"/>
              <a:gd name="csY204" fmla="*/ 197296 h 2095135"/>
              <a:gd name="csX205" fmla="*/ 234029 w 733006"/>
              <a:gd name="csY205" fmla="*/ 162725 h 2095135"/>
              <a:gd name="csX206" fmla="*/ 229000 w 733006"/>
              <a:gd name="csY206" fmla="*/ 159902 h 2095135"/>
              <a:gd name="csX207" fmla="*/ 204824 w 733006"/>
              <a:gd name="csY207" fmla="*/ 199677 h 2095135"/>
              <a:gd name="csX208" fmla="*/ 207990 w 733006"/>
              <a:gd name="csY208" fmla="*/ 202198 h 2095135"/>
              <a:gd name="csX209" fmla="*/ 215522 w 733006"/>
              <a:gd name="csY209" fmla="*/ 197296 h 2095135"/>
              <a:gd name="csX210" fmla="*/ 484400 w 733006"/>
              <a:gd name="csY210" fmla="*/ 896678 h 2095135"/>
              <a:gd name="csX211" fmla="*/ 486181 w 733006"/>
              <a:gd name="csY211" fmla="*/ 896585 h 2095135"/>
              <a:gd name="csX212" fmla="*/ 486181 w 733006"/>
              <a:gd name="csY212" fmla="*/ 795289 h 2095135"/>
              <a:gd name="csX213" fmla="*/ 720241 w 733006"/>
              <a:gd name="csY213" fmla="*/ 2030666 h 2095135"/>
              <a:gd name="csX214" fmla="*/ 721175 w 733006"/>
              <a:gd name="csY214" fmla="*/ 2029733 h 2095135"/>
              <a:gd name="csX0" fmla="*/ 96263 w 733006"/>
              <a:gd name="csY0" fmla="*/ 2076207 h 2095135"/>
              <a:gd name="csX1" fmla="*/ 63862 w 733006"/>
              <a:gd name="csY1" fmla="*/ 2065388 h 2095135"/>
              <a:gd name="csX2" fmla="*/ 16555 w 733006"/>
              <a:gd name="csY2" fmla="*/ 2050152 h 2095135"/>
              <a:gd name="csX3" fmla="*/ 15 w 733006"/>
              <a:gd name="csY3" fmla="*/ 2023802 h 2095135"/>
              <a:gd name="csX4" fmla="*/ 18368 w 733006"/>
              <a:gd name="csY4" fmla="*/ 1940709 h 2095135"/>
              <a:gd name="csX5" fmla="*/ 22139 w 733006"/>
              <a:gd name="csY5" fmla="*/ 1907268 h 2095135"/>
              <a:gd name="csX6" fmla="*/ 57941 w 733006"/>
              <a:gd name="csY6" fmla="*/ 1774163 h 2095135"/>
              <a:gd name="csX7" fmla="*/ 102478 w 733006"/>
              <a:gd name="csY7" fmla="*/ 1720275 h 2095135"/>
              <a:gd name="csX8" fmla="*/ 108579 w 733006"/>
              <a:gd name="csY8" fmla="*/ 1650967 h 2095135"/>
              <a:gd name="csX9" fmla="*/ 115628 w 733006"/>
              <a:gd name="csY9" fmla="*/ 1625405 h 2095135"/>
              <a:gd name="csX10" fmla="*/ 156323 w 733006"/>
              <a:gd name="csY10" fmla="*/ 1560181 h 2095135"/>
              <a:gd name="csX11" fmla="*/ 199424 w 733006"/>
              <a:gd name="csY11" fmla="*/ 1364729 h 2095135"/>
              <a:gd name="csX12" fmla="*/ 216779 w 733006"/>
              <a:gd name="csY12" fmla="*/ 1219490 h 2095135"/>
              <a:gd name="csX13" fmla="*/ 229755 w 733006"/>
              <a:gd name="csY13" fmla="*/ 1099357 h 2095135"/>
              <a:gd name="csX14" fmla="*/ 232707 w 733006"/>
              <a:gd name="csY14" fmla="*/ 1056423 h 2095135"/>
              <a:gd name="csX15" fmla="*/ 235622 w 733006"/>
              <a:gd name="csY15" fmla="*/ 952675 h 2095135"/>
              <a:gd name="csX16" fmla="*/ 235445 w 733006"/>
              <a:gd name="csY16" fmla="*/ 780278 h 2095135"/>
              <a:gd name="csX17" fmla="*/ 214544 w 733006"/>
              <a:gd name="csY17" fmla="*/ 756435 h 2095135"/>
              <a:gd name="csX18" fmla="*/ 172569 w 733006"/>
              <a:gd name="csY18" fmla="*/ 742582 h 2095135"/>
              <a:gd name="csX19" fmla="*/ 168784 w 733006"/>
              <a:gd name="csY19" fmla="*/ 669116 h 2095135"/>
              <a:gd name="csX20" fmla="*/ 191657 w 733006"/>
              <a:gd name="csY20" fmla="*/ 630765 h 2095135"/>
              <a:gd name="csX21" fmla="*/ 208150 w 733006"/>
              <a:gd name="csY21" fmla="*/ 609084 h 2095135"/>
              <a:gd name="csX22" fmla="*/ 216756 w 733006"/>
              <a:gd name="csY22" fmla="*/ 558673 h 2095135"/>
              <a:gd name="csX23" fmla="*/ 209092 w 733006"/>
              <a:gd name="csY23" fmla="*/ 521540 h 2095135"/>
              <a:gd name="csX24" fmla="*/ 204683 w 733006"/>
              <a:gd name="csY24" fmla="*/ 474024 h 2095135"/>
              <a:gd name="csX25" fmla="*/ 115483 w 733006"/>
              <a:gd name="csY25" fmla="*/ 213499 h 2095135"/>
              <a:gd name="csX26" fmla="*/ 102909 w 733006"/>
              <a:gd name="csY26" fmla="*/ 182297 h 2095135"/>
              <a:gd name="csX27" fmla="*/ 104315 w 733006"/>
              <a:gd name="csY27" fmla="*/ 163968 h 2095135"/>
              <a:gd name="csX28" fmla="*/ 122444 w 733006"/>
              <a:gd name="csY28" fmla="*/ 160805 h 2095135"/>
              <a:gd name="csX29" fmla="*/ 170283 w 733006"/>
              <a:gd name="csY29" fmla="*/ 187783 h 2095135"/>
              <a:gd name="csX30" fmla="*/ 180938 w 733006"/>
              <a:gd name="csY30" fmla="*/ 195322 h 2095135"/>
              <a:gd name="csX31" fmla="*/ 221419 w 733006"/>
              <a:gd name="csY31" fmla="*/ 138058 h 2095135"/>
              <a:gd name="csX32" fmla="*/ 294099 w 733006"/>
              <a:gd name="csY32" fmla="*/ 91372 h 2095135"/>
              <a:gd name="csX33" fmla="*/ 302307 w 733006"/>
              <a:gd name="csY33" fmla="*/ 76560 h 2095135"/>
              <a:gd name="csX34" fmla="*/ 320284 w 733006"/>
              <a:gd name="csY34" fmla="*/ 8414 h 2095135"/>
              <a:gd name="csX35" fmla="*/ 324784 w 733006"/>
              <a:gd name="csY35" fmla="*/ 946 h 2095135"/>
              <a:gd name="csX36" fmla="*/ 399212 w 733006"/>
              <a:gd name="csY36" fmla="*/ 0 h 2095135"/>
              <a:gd name="csX37" fmla="*/ 425980 w 733006"/>
              <a:gd name="csY37" fmla="*/ 78301 h 2095135"/>
              <a:gd name="csX38" fmla="*/ 431861 w 733006"/>
              <a:gd name="csY38" fmla="*/ 90312 h 2095135"/>
              <a:gd name="csX39" fmla="*/ 540349 w 733006"/>
              <a:gd name="csY39" fmla="*/ 187946 h 2095135"/>
              <a:gd name="csX40" fmla="*/ 545555 w 733006"/>
              <a:gd name="csY40" fmla="*/ 197828 h 2095135"/>
              <a:gd name="csX41" fmla="*/ 587318 w 733006"/>
              <a:gd name="csY41" fmla="*/ 171260 h 2095135"/>
              <a:gd name="csX42" fmla="*/ 601503 w 733006"/>
              <a:gd name="csY42" fmla="*/ 163707 h 2095135"/>
              <a:gd name="csX43" fmla="*/ 625254 w 733006"/>
              <a:gd name="csY43" fmla="*/ 163123 h 2095135"/>
              <a:gd name="csX44" fmla="*/ 625468 w 733006"/>
              <a:gd name="csY44" fmla="*/ 187579 h 2095135"/>
              <a:gd name="csX45" fmla="*/ 597543 w 733006"/>
              <a:gd name="csY45" fmla="*/ 251872 h 2095135"/>
              <a:gd name="csX46" fmla="*/ 531831 w 733006"/>
              <a:gd name="csY46" fmla="*/ 442689 h 2095135"/>
              <a:gd name="csX47" fmla="*/ 519888 w 733006"/>
              <a:gd name="csY47" fmla="*/ 501474 h 2095135"/>
              <a:gd name="csX48" fmla="*/ 522506 w 733006"/>
              <a:gd name="csY48" fmla="*/ 525086 h 2095135"/>
              <a:gd name="csX49" fmla="*/ 516235 w 733006"/>
              <a:gd name="csY49" fmla="*/ 555946 h 2095135"/>
              <a:gd name="csX50" fmla="*/ 521332 w 733006"/>
              <a:gd name="csY50" fmla="*/ 610676 h 2095135"/>
              <a:gd name="csX51" fmla="*/ 541382 w 733006"/>
              <a:gd name="csY51" fmla="*/ 642597 h 2095135"/>
              <a:gd name="csX52" fmla="*/ 557031 w 733006"/>
              <a:gd name="csY52" fmla="*/ 667949 h 2095135"/>
              <a:gd name="csX53" fmla="*/ 553994 w 733006"/>
              <a:gd name="csY53" fmla="*/ 744146 h 2095135"/>
              <a:gd name="csX54" fmla="*/ 508215 w 733006"/>
              <a:gd name="csY54" fmla="*/ 758841 h 2095135"/>
              <a:gd name="csX55" fmla="*/ 497442 w 733006"/>
              <a:gd name="csY55" fmla="*/ 771256 h 2095135"/>
              <a:gd name="csX56" fmla="*/ 493005 w 733006"/>
              <a:gd name="csY56" fmla="*/ 922055 h 2095135"/>
              <a:gd name="csX57" fmla="*/ 502900 w 733006"/>
              <a:gd name="csY57" fmla="*/ 1114191 h 2095135"/>
              <a:gd name="csX58" fmla="*/ 508800 w 733006"/>
              <a:gd name="csY58" fmla="*/ 1205474 h 2095135"/>
              <a:gd name="csX59" fmla="*/ 522952 w 733006"/>
              <a:gd name="csY59" fmla="*/ 1320065 h 2095135"/>
              <a:gd name="csX60" fmla="*/ 554682 w 733006"/>
              <a:gd name="csY60" fmla="*/ 1501203 h 2095135"/>
              <a:gd name="csX61" fmla="*/ 576958 w 733006"/>
              <a:gd name="csY61" fmla="*/ 1593963 h 2095135"/>
              <a:gd name="csX62" fmla="*/ 595349 w 733006"/>
              <a:gd name="csY62" fmla="*/ 1613498 h 2095135"/>
              <a:gd name="csX63" fmla="*/ 613936 w 733006"/>
              <a:gd name="csY63" fmla="*/ 1624058 h 2095135"/>
              <a:gd name="csX64" fmla="*/ 620938 w 733006"/>
              <a:gd name="csY64" fmla="*/ 1652071 h 2095135"/>
              <a:gd name="csX65" fmla="*/ 630805 w 733006"/>
              <a:gd name="csY65" fmla="*/ 1721702 h 2095135"/>
              <a:gd name="csX66" fmla="*/ 685830 w 733006"/>
              <a:gd name="csY66" fmla="*/ 1792915 h 2095135"/>
              <a:gd name="csX67" fmla="*/ 708904 w 733006"/>
              <a:gd name="csY67" fmla="*/ 1890290 h 2095135"/>
              <a:gd name="csX68" fmla="*/ 716580 w 733006"/>
              <a:gd name="csY68" fmla="*/ 1951136 h 2095135"/>
              <a:gd name="csX69" fmla="*/ 729397 w 733006"/>
              <a:gd name="csY69" fmla="*/ 2030261 h 2095135"/>
              <a:gd name="csX70" fmla="*/ 714212 w 733006"/>
              <a:gd name="csY70" fmla="*/ 2049544 h 2095135"/>
              <a:gd name="csX71" fmla="*/ 96263 w 733006"/>
              <a:gd name="csY71" fmla="*/ 2076207 h 2095135"/>
              <a:gd name="csX72" fmla="*/ 489970 w 733006"/>
              <a:gd name="csY72" fmla="*/ 152208 h 2095135"/>
              <a:gd name="csX73" fmla="*/ 490754 w 733006"/>
              <a:gd name="csY73" fmla="*/ 152592 h 2095135"/>
              <a:gd name="csX74" fmla="*/ 489489 w 733006"/>
              <a:gd name="csY74" fmla="*/ 149547 h 2095135"/>
              <a:gd name="csX75" fmla="*/ 393621 w 733006"/>
              <a:gd name="csY75" fmla="*/ 99259 h 2095135"/>
              <a:gd name="csX76" fmla="*/ 390419 w 733006"/>
              <a:gd name="csY76" fmla="*/ 18568 h 2095135"/>
              <a:gd name="csX77" fmla="*/ 334131 w 733006"/>
              <a:gd name="csY77" fmla="*/ 24327 h 2095135"/>
              <a:gd name="csX78" fmla="*/ 344678 w 733006"/>
              <a:gd name="csY78" fmla="*/ 101259 h 2095135"/>
              <a:gd name="csX79" fmla="*/ 298854 w 733006"/>
              <a:gd name="csY79" fmla="*/ 114003 h 2095135"/>
              <a:gd name="csX80" fmla="*/ 237456 w 733006"/>
              <a:gd name="csY80" fmla="*/ 154340 h 2095135"/>
              <a:gd name="csX81" fmla="*/ 240382 w 733006"/>
              <a:gd name="csY81" fmla="*/ 154035 h 2095135"/>
              <a:gd name="csX82" fmla="*/ 262731 w 733006"/>
              <a:gd name="csY82" fmla="*/ 170426 h 2095135"/>
              <a:gd name="csX83" fmla="*/ 279169 w 733006"/>
              <a:gd name="csY83" fmla="*/ 193173 h 2095135"/>
              <a:gd name="csX84" fmla="*/ 327717 w 733006"/>
              <a:gd name="csY84" fmla="*/ 188556 h 2095135"/>
              <a:gd name="csX85" fmla="*/ 348052 w 733006"/>
              <a:gd name="csY85" fmla="*/ 156919 h 2095135"/>
              <a:gd name="csX86" fmla="*/ 380330 w 733006"/>
              <a:gd name="csY86" fmla="*/ 156483 h 2095135"/>
              <a:gd name="csX87" fmla="*/ 408490 w 733006"/>
              <a:gd name="csY87" fmla="*/ 195400 h 2095135"/>
              <a:gd name="csX88" fmla="*/ 445346 w 733006"/>
              <a:gd name="csY88" fmla="*/ 197582 h 2095135"/>
              <a:gd name="csX89" fmla="*/ 464798 w 733006"/>
              <a:gd name="csY89" fmla="*/ 174107 h 2095135"/>
              <a:gd name="csX90" fmla="*/ 489970 w 733006"/>
              <a:gd name="csY90" fmla="*/ 152208 h 2095135"/>
              <a:gd name="csX91" fmla="*/ 140694 w 733006"/>
              <a:gd name="csY91" fmla="*/ 201837 h 2095135"/>
              <a:gd name="csX92" fmla="*/ 139834 w 733006"/>
              <a:gd name="csY92" fmla="*/ 201482 h 2095135"/>
              <a:gd name="csX93" fmla="*/ 140812 w 733006"/>
              <a:gd name="csY93" fmla="*/ 204941 h 2095135"/>
              <a:gd name="csX94" fmla="*/ 144631 w 733006"/>
              <a:gd name="csY94" fmla="*/ 217811 h 2095135"/>
              <a:gd name="csX95" fmla="*/ 201241 w 733006"/>
              <a:gd name="csY95" fmla="*/ 373387 h 2095135"/>
              <a:gd name="csX96" fmla="*/ 235971 w 733006"/>
              <a:gd name="csY96" fmla="*/ 504451 h 2095135"/>
              <a:gd name="csX97" fmla="*/ 247475 w 733006"/>
              <a:gd name="csY97" fmla="*/ 513241 h 2095135"/>
              <a:gd name="csX98" fmla="*/ 289066 w 733006"/>
              <a:gd name="csY98" fmla="*/ 511170 h 2095135"/>
              <a:gd name="csX99" fmla="*/ 378229 w 733006"/>
              <a:gd name="csY99" fmla="*/ 511084 h 2095135"/>
              <a:gd name="csX100" fmla="*/ 470850 w 733006"/>
              <a:gd name="csY100" fmla="*/ 516341 h 2095135"/>
              <a:gd name="csX101" fmla="*/ 492933 w 733006"/>
              <a:gd name="csY101" fmla="*/ 497969 h 2095135"/>
              <a:gd name="csX102" fmla="*/ 557617 w 733006"/>
              <a:gd name="csY102" fmla="*/ 280398 h 2095135"/>
              <a:gd name="csX103" fmla="*/ 588788 w 733006"/>
              <a:gd name="csY103" fmla="*/ 200385 h 2095135"/>
              <a:gd name="csX104" fmla="*/ 530958 w 733006"/>
              <a:gd name="csY104" fmla="*/ 232968 h 2095135"/>
              <a:gd name="csX105" fmla="*/ 483823 w 733006"/>
              <a:gd name="csY105" fmla="*/ 190364 h 2095135"/>
              <a:gd name="csX106" fmla="*/ 466649 w 733006"/>
              <a:gd name="csY106" fmla="*/ 209061 h 2095135"/>
              <a:gd name="csX107" fmla="*/ 399941 w 733006"/>
              <a:gd name="csY107" fmla="*/ 216988 h 2095135"/>
              <a:gd name="csX108" fmla="*/ 363018 w 733006"/>
              <a:gd name="csY108" fmla="*/ 179615 h 2095135"/>
              <a:gd name="csX109" fmla="*/ 308839 w 733006"/>
              <a:gd name="csY109" fmla="*/ 227846 h 2095135"/>
              <a:gd name="csX110" fmla="*/ 245077 w 733006"/>
              <a:gd name="csY110" fmla="*/ 192402 h 2095135"/>
              <a:gd name="csX111" fmla="*/ 242829 w 733006"/>
              <a:gd name="csY111" fmla="*/ 198815 h 2095135"/>
              <a:gd name="csX112" fmla="*/ 168452 w 733006"/>
              <a:gd name="csY112" fmla="*/ 219348 h 2095135"/>
              <a:gd name="csX113" fmla="*/ 140694 w 733006"/>
              <a:gd name="csY113" fmla="*/ 201837 h 2095135"/>
              <a:gd name="csX114" fmla="*/ 259999 w 733006"/>
              <a:gd name="csY114" fmla="*/ 966699 h 2095135"/>
              <a:gd name="csX115" fmla="*/ 257072 w 733006"/>
              <a:gd name="csY115" fmla="*/ 1070424 h 2095135"/>
              <a:gd name="csX116" fmla="*/ 251372 w 733006"/>
              <a:gd name="csY116" fmla="*/ 1157618 h 2095135"/>
              <a:gd name="csX117" fmla="*/ 232677 w 733006"/>
              <a:gd name="csY117" fmla="*/ 1320279 h 2095135"/>
              <a:gd name="csX118" fmla="*/ 209182 w 733006"/>
              <a:gd name="csY118" fmla="*/ 1468667 h 2095135"/>
              <a:gd name="csX119" fmla="*/ 175302 w 733006"/>
              <a:gd name="csY119" fmla="*/ 1616623 h 2095135"/>
              <a:gd name="csX120" fmla="*/ 182769 w 733006"/>
              <a:gd name="csY120" fmla="*/ 1629786 h 2095135"/>
              <a:gd name="csX121" fmla="*/ 212156 w 733006"/>
              <a:gd name="csY121" fmla="*/ 1632656 h 2095135"/>
              <a:gd name="csX122" fmla="*/ 351295 w 733006"/>
              <a:gd name="csY122" fmla="*/ 1632801 h 2095135"/>
              <a:gd name="csX123" fmla="*/ 376150 w 733006"/>
              <a:gd name="csY123" fmla="*/ 1608307 h 2095135"/>
              <a:gd name="csX124" fmla="*/ 373450 w 733006"/>
              <a:gd name="csY124" fmla="*/ 1457291 h 2095135"/>
              <a:gd name="csX125" fmla="*/ 370936 w 733006"/>
              <a:gd name="csY125" fmla="*/ 1342736 h 2095135"/>
              <a:gd name="csX126" fmla="*/ 368328 w 733006"/>
              <a:gd name="csY126" fmla="*/ 1203878 h 2095135"/>
              <a:gd name="csX127" fmla="*/ 367836 w 733006"/>
              <a:gd name="csY127" fmla="*/ 813478 h 2095135"/>
              <a:gd name="csX128" fmla="*/ 365240 w 733006"/>
              <a:gd name="csY128" fmla="*/ 773243 h 2095135"/>
              <a:gd name="csX129" fmla="*/ 353084 w 733006"/>
              <a:gd name="csY129" fmla="*/ 762083 h 2095135"/>
              <a:gd name="csX130" fmla="*/ 280966 w 733006"/>
              <a:gd name="csY130" fmla="*/ 759855 h 2095135"/>
              <a:gd name="csX131" fmla="*/ 259965 w 733006"/>
              <a:gd name="csY131" fmla="*/ 779553 h 2095135"/>
              <a:gd name="csX132" fmla="*/ 262341 w 733006"/>
              <a:gd name="csY132" fmla="*/ 856275 h 2095135"/>
              <a:gd name="csX133" fmla="*/ 259999 w 733006"/>
              <a:gd name="csY133" fmla="*/ 966699 h 2095135"/>
              <a:gd name="csX134" fmla="*/ 55556 w 733006"/>
              <a:gd name="csY134" fmla="*/ 1835827 h 2095135"/>
              <a:gd name="csX135" fmla="*/ 49393 w 733006"/>
              <a:gd name="csY135" fmla="*/ 1878155 h 2095135"/>
              <a:gd name="csX136" fmla="*/ 73949 w 733006"/>
              <a:gd name="csY136" fmla="*/ 1905781 h 2095135"/>
              <a:gd name="csX137" fmla="*/ 110073 w 733006"/>
              <a:gd name="csY137" fmla="*/ 1909068 h 2095135"/>
              <a:gd name="csX138" fmla="*/ 224745 w 733006"/>
              <a:gd name="csY138" fmla="*/ 1921652 h 2095135"/>
              <a:gd name="csX139" fmla="*/ 347327 w 733006"/>
              <a:gd name="csY139" fmla="*/ 1924778 h 2095135"/>
              <a:gd name="csX140" fmla="*/ 363345 w 733006"/>
              <a:gd name="csY140" fmla="*/ 1923293 h 2095135"/>
              <a:gd name="csX141" fmla="*/ 373787 w 733006"/>
              <a:gd name="csY141" fmla="*/ 1911200 h 2095135"/>
              <a:gd name="csX142" fmla="*/ 376623 w 733006"/>
              <a:gd name="csY142" fmla="*/ 1696741 h 2095135"/>
              <a:gd name="csX143" fmla="*/ 360437 w 733006"/>
              <a:gd name="csY143" fmla="*/ 1681289 h 2095135"/>
              <a:gd name="csX144" fmla="*/ 263503 w 733006"/>
              <a:gd name="csY144" fmla="*/ 1678179 h 2095135"/>
              <a:gd name="csX145" fmla="*/ 160381 w 733006"/>
              <a:gd name="csY145" fmla="*/ 1670405 h 2095135"/>
              <a:gd name="csX146" fmla="*/ 143321 w 733006"/>
              <a:gd name="csY146" fmla="*/ 1685538 h 2095135"/>
              <a:gd name="csX147" fmla="*/ 124769 w 733006"/>
              <a:gd name="csY147" fmla="*/ 1738195 h 2095135"/>
              <a:gd name="csX148" fmla="*/ 90593 w 733006"/>
              <a:gd name="csY148" fmla="*/ 1779570 h 2095135"/>
              <a:gd name="csX149" fmla="*/ 55556 w 733006"/>
              <a:gd name="csY149" fmla="*/ 1835827 h 2095135"/>
              <a:gd name="csX150" fmla="*/ 378900 w 733006"/>
              <a:gd name="csY150" fmla="*/ 2007280 h 2095135"/>
              <a:gd name="csX151" fmla="*/ 378887 w 733006"/>
              <a:gd name="csY151" fmla="*/ 1995127 h 2095135"/>
              <a:gd name="csX152" fmla="*/ 359084 w 733006"/>
              <a:gd name="csY152" fmla="*/ 1975964 h 2095135"/>
              <a:gd name="csX153" fmla="*/ 247288 w 733006"/>
              <a:gd name="csY153" fmla="*/ 1973305 h 2095135"/>
              <a:gd name="csX154" fmla="*/ 201692 w 733006"/>
              <a:gd name="csY154" fmla="*/ 1970275 h 2095135"/>
              <a:gd name="csX155" fmla="*/ 57962 w 733006"/>
              <a:gd name="csY155" fmla="*/ 1952648 h 2095135"/>
              <a:gd name="csX156" fmla="*/ 39194 w 733006"/>
              <a:gd name="csY156" fmla="*/ 1963552 h 2095135"/>
              <a:gd name="csX157" fmla="*/ 30066 w 733006"/>
              <a:gd name="csY157" fmla="*/ 2006631 h 2095135"/>
              <a:gd name="csX158" fmla="*/ 40232 w 733006"/>
              <a:gd name="csY158" fmla="*/ 2019486 h 2095135"/>
              <a:gd name="csX159" fmla="*/ 238186 w 733006"/>
              <a:gd name="csY159" fmla="*/ 2046096 h 2095135"/>
              <a:gd name="csX160" fmla="*/ 342155 w 733006"/>
              <a:gd name="csY160" fmla="*/ 2046441 h 2095135"/>
              <a:gd name="csX161" fmla="*/ 378900 w 733006"/>
              <a:gd name="csY161" fmla="*/ 2007280 h 2095135"/>
              <a:gd name="csX162" fmla="*/ 310220 w 733006"/>
              <a:gd name="csY162" fmla="*/ 554288 h 2095135"/>
              <a:gd name="csX163" fmla="*/ 259136 w 733006"/>
              <a:gd name="csY163" fmla="*/ 556881 h 2095135"/>
              <a:gd name="csX164" fmla="*/ 249085 w 733006"/>
              <a:gd name="csY164" fmla="*/ 567981 h 2095135"/>
              <a:gd name="csX165" fmla="*/ 249141 w 733006"/>
              <a:gd name="csY165" fmla="*/ 605644 h 2095135"/>
              <a:gd name="csX166" fmla="*/ 262628 w 733006"/>
              <a:gd name="csY166" fmla="*/ 605627 h 2095135"/>
              <a:gd name="csX167" fmla="*/ 369608 w 733006"/>
              <a:gd name="csY167" fmla="*/ 603027 h 2095135"/>
              <a:gd name="csX168" fmla="*/ 463931 w 733006"/>
              <a:gd name="csY168" fmla="*/ 605146 h 2095135"/>
              <a:gd name="csX169" fmla="*/ 478113 w 733006"/>
              <a:gd name="csY169" fmla="*/ 595843 h 2095135"/>
              <a:gd name="csX170" fmla="*/ 478796 w 733006"/>
              <a:gd name="csY170" fmla="*/ 556832 h 2095135"/>
              <a:gd name="csX171" fmla="*/ 310220 w 733006"/>
              <a:gd name="csY171" fmla="*/ 554288 h 2095135"/>
              <a:gd name="csX172" fmla="*/ 348836 w 733006"/>
              <a:gd name="csY172" fmla="*/ 684115 h 2095135"/>
              <a:gd name="csX173" fmla="*/ 281333 w 733006"/>
              <a:gd name="csY173" fmla="*/ 683313 h 2095135"/>
              <a:gd name="csX174" fmla="*/ 212728 w 733006"/>
              <a:gd name="csY174" fmla="*/ 681931 h 2095135"/>
              <a:gd name="csX175" fmla="*/ 187283 w 733006"/>
              <a:gd name="csY175" fmla="*/ 689555 h 2095135"/>
              <a:gd name="csX176" fmla="*/ 186163 w 733006"/>
              <a:gd name="csY176" fmla="*/ 718266 h 2095135"/>
              <a:gd name="csX177" fmla="*/ 209894 w 733006"/>
              <a:gd name="csY177" fmla="*/ 726798 h 2095135"/>
              <a:gd name="csX178" fmla="*/ 334814 w 733006"/>
              <a:gd name="csY178" fmla="*/ 732494 h 2095135"/>
              <a:gd name="csX179" fmla="*/ 364856 w 733006"/>
              <a:gd name="csY179" fmla="*/ 707963 h 2095135"/>
              <a:gd name="csX180" fmla="*/ 348836 w 733006"/>
              <a:gd name="csY180" fmla="*/ 684115 h 2095135"/>
              <a:gd name="csX181" fmla="*/ 298865 w 733006"/>
              <a:gd name="csY181" fmla="*/ 621954 h 2095135"/>
              <a:gd name="csX182" fmla="*/ 251619 w 733006"/>
              <a:gd name="csY182" fmla="*/ 622133 h 2095135"/>
              <a:gd name="csX183" fmla="*/ 214459 w 733006"/>
              <a:gd name="csY183" fmla="*/ 636230 h 2095135"/>
              <a:gd name="csX184" fmla="*/ 221436 w 733006"/>
              <a:gd name="csY184" fmla="*/ 654205 h 2095135"/>
              <a:gd name="csX185" fmla="*/ 272412 w 733006"/>
              <a:gd name="csY185" fmla="*/ 657250 h 2095135"/>
              <a:gd name="csX186" fmla="*/ 349094 w 733006"/>
              <a:gd name="csY186" fmla="*/ 659282 h 2095135"/>
              <a:gd name="csX187" fmla="*/ 362996 w 733006"/>
              <a:gd name="csY187" fmla="*/ 644234 h 2095135"/>
              <a:gd name="csX188" fmla="*/ 348472 w 733006"/>
              <a:gd name="csY188" fmla="*/ 624649 h 2095135"/>
              <a:gd name="csX189" fmla="*/ 298865 w 733006"/>
              <a:gd name="csY189" fmla="*/ 621954 h 2095135"/>
              <a:gd name="csX190" fmla="*/ 227796 w 733006"/>
              <a:gd name="csY190" fmla="*/ 528000 h 2095135"/>
              <a:gd name="csX191" fmla="*/ 241009 w 733006"/>
              <a:gd name="csY191" fmla="*/ 545897 h 2095135"/>
              <a:gd name="csX192" fmla="*/ 282607 w 733006"/>
              <a:gd name="csY192" fmla="*/ 543480 h 2095135"/>
              <a:gd name="csX193" fmla="*/ 354213 w 733006"/>
              <a:gd name="csY193" fmla="*/ 543384 h 2095135"/>
              <a:gd name="csX194" fmla="*/ 365334 w 733006"/>
              <a:gd name="csY194" fmla="*/ 533397 h 2095135"/>
              <a:gd name="csX195" fmla="*/ 354531 w 733006"/>
              <a:gd name="csY195" fmla="*/ 521620 h 2095135"/>
              <a:gd name="csX196" fmla="*/ 259169 w 733006"/>
              <a:gd name="csY196" fmla="*/ 521978 h 2095135"/>
              <a:gd name="csX197" fmla="*/ 227796 w 733006"/>
              <a:gd name="csY197" fmla="*/ 528000 h 2095135"/>
              <a:gd name="csX198" fmla="*/ 508068 w 733006"/>
              <a:gd name="csY198" fmla="*/ 190710 h 2095135"/>
              <a:gd name="csX199" fmla="*/ 521293 w 733006"/>
              <a:gd name="csY199" fmla="*/ 205907 h 2095135"/>
              <a:gd name="csX200" fmla="*/ 525175 w 733006"/>
              <a:gd name="csY200" fmla="*/ 202985 h 2095135"/>
              <a:gd name="csX201" fmla="*/ 500276 w 733006"/>
              <a:gd name="csY201" fmla="*/ 160640 h 2095135"/>
              <a:gd name="csX202" fmla="*/ 497122 w 733006"/>
              <a:gd name="csY202" fmla="*/ 162007 h 2095135"/>
              <a:gd name="csX203" fmla="*/ 508068 w 733006"/>
              <a:gd name="csY203" fmla="*/ 190710 h 2095135"/>
              <a:gd name="csX204" fmla="*/ 215522 w 733006"/>
              <a:gd name="csY204" fmla="*/ 197296 h 2095135"/>
              <a:gd name="csX205" fmla="*/ 234029 w 733006"/>
              <a:gd name="csY205" fmla="*/ 162725 h 2095135"/>
              <a:gd name="csX206" fmla="*/ 229000 w 733006"/>
              <a:gd name="csY206" fmla="*/ 159902 h 2095135"/>
              <a:gd name="csX207" fmla="*/ 204824 w 733006"/>
              <a:gd name="csY207" fmla="*/ 199677 h 2095135"/>
              <a:gd name="csX208" fmla="*/ 207990 w 733006"/>
              <a:gd name="csY208" fmla="*/ 202198 h 2095135"/>
              <a:gd name="csX209" fmla="*/ 215522 w 733006"/>
              <a:gd name="csY209" fmla="*/ 197296 h 2095135"/>
              <a:gd name="csX210" fmla="*/ 484400 w 733006"/>
              <a:gd name="csY210" fmla="*/ 896678 h 2095135"/>
              <a:gd name="csX211" fmla="*/ 486181 w 733006"/>
              <a:gd name="csY211" fmla="*/ 896585 h 2095135"/>
              <a:gd name="csX212" fmla="*/ 486181 w 733006"/>
              <a:gd name="csY212" fmla="*/ 795289 h 2095135"/>
              <a:gd name="csX0" fmla="*/ 96263 w 733006"/>
              <a:gd name="csY0" fmla="*/ 2076207 h 2099709"/>
              <a:gd name="csX1" fmla="*/ 63862 w 733006"/>
              <a:gd name="csY1" fmla="*/ 2065388 h 2099709"/>
              <a:gd name="csX2" fmla="*/ 16555 w 733006"/>
              <a:gd name="csY2" fmla="*/ 2050152 h 2099709"/>
              <a:gd name="csX3" fmla="*/ 15 w 733006"/>
              <a:gd name="csY3" fmla="*/ 2023802 h 2099709"/>
              <a:gd name="csX4" fmla="*/ 18368 w 733006"/>
              <a:gd name="csY4" fmla="*/ 1940709 h 2099709"/>
              <a:gd name="csX5" fmla="*/ 22139 w 733006"/>
              <a:gd name="csY5" fmla="*/ 1907268 h 2099709"/>
              <a:gd name="csX6" fmla="*/ 57941 w 733006"/>
              <a:gd name="csY6" fmla="*/ 1774163 h 2099709"/>
              <a:gd name="csX7" fmla="*/ 102478 w 733006"/>
              <a:gd name="csY7" fmla="*/ 1720275 h 2099709"/>
              <a:gd name="csX8" fmla="*/ 108579 w 733006"/>
              <a:gd name="csY8" fmla="*/ 1650967 h 2099709"/>
              <a:gd name="csX9" fmla="*/ 115628 w 733006"/>
              <a:gd name="csY9" fmla="*/ 1625405 h 2099709"/>
              <a:gd name="csX10" fmla="*/ 156323 w 733006"/>
              <a:gd name="csY10" fmla="*/ 1560181 h 2099709"/>
              <a:gd name="csX11" fmla="*/ 199424 w 733006"/>
              <a:gd name="csY11" fmla="*/ 1364729 h 2099709"/>
              <a:gd name="csX12" fmla="*/ 216779 w 733006"/>
              <a:gd name="csY12" fmla="*/ 1219490 h 2099709"/>
              <a:gd name="csX13" fmla="*/ 229755 w 733006"/>
              <a:gd name="csY13" fmla="*/ 1099357 h 2099709"/>
              <a:gd name="csX14" fmla="*/ 232707 w 733006"/>
              <a:gd name="csY14" fmla="*/ 1056423 h 2099709"/>
              <a:gd name="csX15" fmla="*/ 235622 w 733006"/>
              <a:gd name="csY15" fmla="*/ 952675 h 2099709"/>
              <a:gd name="csX16" fmla="*/ 235445 w 733006"/>
              <a:gd name="csY16" fmla="*/ 780278 h 2099709"/>
              <a:gd name="csX17" fmla="*/ 214544 w 733006"/>
              <a:gd name="csY17" fmla="*/ 756435 h 2099709"/>
              <a:gd name="csX18" fmla="*/ 172569 w 733006"/>
              <a:gd name="csY18" fmla="*/ 742582 h 2099709"/>
              <a:gd name="csX19" fmla="*/ 168784 w 733006"/>
              <a:gd name="csY19" fmla="*/ 669116 h 2099709"/>
              <a:gd name="csX20" fmla="*/ 191657 w 733006"/>
              <a:gd name="csY20" fmla="*/ 630765 h 2099709"/>
              <a:gd name="csX21" fmla="*/ 208150 w 733006"/>
              <a:gd name="csY21" fmla="*/ 609084 h 2099709"/>
              <a:gd name="csX22" fmla="*/ 216756 w 733006"/>
              <a:gd name="csY22" fmla="*/ 558673 h 2099709"/>
              <a:gd name="csX23" fmla="*/ 209092 w 733006"/>
              <a:gd name="csY23" fmla="*/ 521540 h 2099709"/>
              <a:gd name="csX24" fmla="*/ 204683 w 733006"/>
              <a:gd name="csY24" fmla="*/ 474024 h 2099709"/>
              <a:gd name="csX25" fmla="*/ 115483 w 733006"/>
              <a:gd name="csY25" fmla="*/ 213499 h 2099709"/>
              <a:gd name="csX26" fmla="*/ 102909 w 733006"/>
              <a:gd name="csY26" fmla="*/ 182297 h 2099709"/>
              <a:gd name="csX27" fmla="*/ 104315 w 733006"/>
              <a:gd name="csY27" fmla="*/ 163968 h 2099709"/>
              <a:gd name="csX28" fmla="*/ 122444 w 733006"/>
              <a:gd name="csY28" fmla="*/ 160805 h 2099709"/>
              <a:gd name="csX29" fmla="*/ 170283 w 733006"/>
              <a:gd name="csY29" fmla="*/ 187783 h 2099709"/>
              <a:gd name="csX30" fmla="*/ 180938 w 733006"/>
              <a:gd name="csY30" fmla="*/ 195322 h 2099709"/>
              <a:gd name="csX31" fmla="*/ 221419 w 733006"/>
              <a:gd name="csY31" fmla="*/ 138058 h 2099709"/>
              <a:gd name="csX32" fmla="*/ 294099 w 733006"/>
              <a:gd name="csY32" fmla="*/ 91372 h 2099709"/>
              <a:gd name="csX33" fmla="*/ 302307 w 733006"/>
              <a:gd name="csY33" fmla="*/ 76560 h 2099709"/>
              <a:gd name="csX34" fmla="*/ 320284 w 733006"/>
              <a:gd name="csY34" fmla="*/ 8414 h 2099709"/>
              <a:gd name="csX35" fmla="*/ 324784 w 733006"/>
              <a:gd name="csY35" fmla="*/ 946 h 2099709"/>
              <a:gd name="csX36" fmla="*/ 399212 w 733006"/>
              <a:gd name="csY36" fmla="*/ 0 h 2099709"/>
              <a:gd name="csX37" fmla="*/ 425980 w 733006"/>
              <a:gd name="csY37" fmla="*/ 78301 h 2099709"/>
              <a:gd name="csX38" fmla="*/ 431861 w 733006"/>
              <a:gd name="csY38" fmla="*/ 90312 h 2099709"/>
              <a:gd name="csX39" fmla="*/ 540349 w 733006"/>
              <a:gd name="csY39" fmla="*/ 187946 h 2099709"/>
              <a:gd name="csX40" fmla="*/ 545555 w 733006"/>
              <a:gd name="csY40" fmla="*/ 197828 h 2099709"/>
              <a:gd name="csX41" fmla="*/ 587318 w 733006"/>
              <a:gd name="csY41" fmla="*/ 171260 h 2099709"/>
              <a:gd name="csX42" fmla="*/ 601503 w 733006"/>
              <a:gd name="csY42" fmla="*/ 163707 h 2099709"/>
              <a:gd name="csX43" fmla="*/ 625254 w 733006"/>
              <a:gd name="csY43" fmla="*/ 163123 h 2099709"/>
              <a:gd name="csX44" fmla="*/ 625468 w 733006"/>
              <a:gd name="csY44" fmla="*/ 187579 h 2099709"/>
              <a:gd name="csX45" fmla="*/ 597543 w 733006"/>
              <a:gd name="csY45" fmla="*/ 251872 h 2099709"/>
              <a:gd name="csX46" fmla="*/ 531831 w 733006"/>
              <a:gd name="csY46" fmla="*/ 442689 h 2099709"/>
              <a:gd name="csX47" fmla="*/ 519888 w 733006"/>
              <a:gd name="csY47" fmla="*/ 501474 h 2099709"/>
              <a:gd name="csX48" fmla="*/ 522506 w 733006"/>
              <a:gd name="csY48" fmla="*/ 525086 h 2099709"/>
              <a:gd name="csX49" fmla="*/ 516235 w 733006"/>
              <a:gd name="csY49" fmla="*/ 555946 h 2099709"/>
              <a:gd name="csX50" fmla="*/ 521332 w 733006"/>
              <a:gd name="csY50" fmla="*/ 610676 h 2099709"/>
              <a:gd name="csX51" fmla="*/ 541382 w 733006"/>
              <a:gd name="csY51" fmla="*/ 642597 h 2099709"/>
              <a:gd name="csX52" fmla="*/ 557031 w 733006"/>
              <a:gd name="csY52" fmla="*/ 667949 h 2099709"/>
              <a:gd name="csX53" fmla="*/ 553994 w 733006"/>
              <a:gd name="csY53" fmla="*/ 744146 h 2099709"/>
              <a:gd name="csX54" fmla="*/ 508215 w 733006"/>
              <a:gd name="csY54" fmla="*/ 758841 h 2099709"/>
              <a:gd name="csX55" fmla="*/ 497442 w 733006"/>
              <a:gd name="csY55" fmla="*/ 771256 h 2099709"/>
              <a:gd name="csX56" fmla="*/ 493005 w 733006"/>
              <a:gd name="csY56" fmla="*/ 922055 h 2099709"/>
              <a:gd name="csX57" fmla="*/ 502900 w 733006"/>
              <a:gd name="csY57" fmla="*/ 1114191 h 2099709"/>
              <a:gd name="csX58" fmla="*/ 508800 w 733006"/>
              <a:gd name="csY58" fmla="*/ 1205474 h 2099709"/>
              <a:gd name="csX59" fmla="*/ 522952 w 733006"/>
              <a:gd name="csY59" fmla="*/ 1320065 h 2099709"/>
              <a:gd name="csX60" fmla="*/ 554682 w 733006"/>
              <a:gd name="csY60" fmla="*/ 1501203 h 2099709"/>
              <a:gd name="csX61" fmla="*/ 576958 w 733006"/>
              <a:gd name="csY61" fmla="*/ 1593963 h 2099709"/>
              <a:gd name="csX62" fmla="*/ 595349 w 733006"/>
              <a:gd name="csY62" fmla="*/ 1613498 h 2099709"/>
              <a:gd name="csX63" fmla="*/ 613936 w 733006"/>
              <a:gd name="csY63" fmla="*/ 1624058 h 2099709"/>
              <a:gd name="csX64" fmla="*/ 620938 w 733006"/>
              <a:gd name="csY64" fmla="*/ 1652071 h 2099709"/>
              <a:gd name="csX65" fmla="*/ 630805 w 733006"/>
              <a:gd name="csY65" fmla="*/ 1721702 h 2099709"/>
              <a:gd name="csX66" fmla="*/ 685830 w 733006"/>
              <a:gd name="csY66" fmla="*/ 1792915 h 2099709"/>
              <a:gd name="csX67" fmla="*/ 708904 w 733006"/>
              <a:gd name="csY67" fmla="*/ 1890290 h 2099709"/>
              <a:gd name="csX68" fmla="*/ 716580 w 733006"/>
              <a:gd name="csY68" fmla="*/ 1951136 h 2099709"/>
              <a:gd name="csX69" fmla="*/ 729397 w 733006"/>
              <a:gd name="csY69" fmla="*/ 2030261 h 2099709"/>
              <a:gd name="csX70" fmla="*/ 714212 w 733006"/>
              <a:gd name="csY70" fmla="*/ 2059069 h 2099709"/>
              <a:gd name="csX71" fmla="*/ 96263 w 733006"/>
              <a:gd name="csY71" fmla="*/ 2076207 h 2099709"/>
              <a:gd name="csX72" fmla="*/ 489970 w 733006"/>
              <a:gd name="csY72" fmla="*/ 152208 h 2099709"/>
              <a:gd name="csX73" fmla="*/ 490754 w 733006"/>
              <a:gd name="csY73" fmla="*/ 152592 h 2099709"/>
              <a:gd name="csX74" fmla="*/ 489489 w 733006"/>
              <a:gd name="csY74" fmla="*/ 149547 h 2099709"/>
              <a:gd name="csX75" fmla="*/ 393621 w 733006"/>
              <a:gd name="csY75" fmla="*/ 99259 h 2099709"/>
              <a:gd name="csX76" fmla="*/ 390419 w 733006"/>
              <a:gd name="csY76" fmla="*/ 18568 h 2099709"/>
              <a:gd name="csX77" fmla="*/ 334131 w 733006"/>
              <a:gd name="csY77" fmla="*/ 24327 h 2099709"/>
              <a:gd name="csX78" fmla="*/ 344678 w 733006"/>
              <a:gd name="csY78" fmla="*/ 101259 h 2099709"/>
              <a:gd name="csX79" fmla="*/ 298854 w 733006"/>
              <a:gd name="csY79" fmla="*/ 114003 h 2099709"/>
              <a:gd name="csX80" fmla="*/ 237456 w 733006"/>
              <a:gd name="csY80" fmla="*/ 154340 h 2099709"/>
              <a:gd name="csX81" fmla="*/ 240382 w 733006"/>
              <a:gd name="csY81" fmla="*/ 154035 h 2099709"/>
              <a:gd name="csX82" fmla="*/ 262731 w 733006"/>
              <a:gd name="csY82" fmla="*/ 170426 h 2099709"/>
              <a:gd name="csX83" fmla="*/ 279169 w 733006"/>
              <a:gd name="csY83" fmla="*/ 193173 h 2099709"/>
              <a:gd name="csX84" fmla="*/ 327717 w 733006"/>
              <a:gd name="csY84" fmla="*/ 188556 h 2099709"/>
              <a:gd name="csX85" fmla="*/ 348052 w 733006"/>
              <a:gd name="csY85" fmla="*/ 156919 h 2099709"/>
              <a:gd name="csX86" fmla="*/ 380330 w 733006"/>
              <a:gd name="csY86" fmla="*/ 156483 h 2099709"/>
              <a:gd name="csX87" fmla="*/ 408490 w 733006"/>
              <a:gd name="csY87" fmla="*/ 195400 h 2099709"/>
              <a:gd name="csX88" fmla="*/ 445346 w 733006"/>
              <a:gd name="csY88" fmla="*/ 197582 h 2099709"/>
              <a:gd name="csX89" fmla="*/ 464798 w 733006"/>
              <a:gd name="csY89" fmla="*/ 174107 h 2099709"/>
              <a:gd name="csX90" fmla="*/ 489970 w 733006"/>
              <a:gd name="csY90" fmla="*/ 152208 h 2099709"/>
              <a:gd name="csX91" fmla="*/ 140694 w 733006"/>
              <a:gd name="csY91" fmla="*/ 201837 h 2099709"/>
              <a:gd name="csX92" fmla="*/ 139834 w 733006"/>
              <a:gd name="csY92" fmla="*/ 201482 h 2099709"/>
              <a:gd name="csX93" fmla="*/ 140812 w 733006"/>
              <a:gd name="csY93" fmla="*/ 204941 h 2099709"/>
              <a:gd name="csX94" fmla="*/ 144631 w 733006"/>
              <a:gd name="csY94" fmla="*/ 217811 h 2099709"/>
              <a:gd name="csX95" fmla="*/ 201241 w 733006"/>
              <a:gd name="csY95" fmla="*/ 373387 h 2099709"/>
              <a:gd name="csX96" fmla="*/ 235971 w 733006"/>
              <a:gd name="csY96" fmla="*/ 504451 h 2099709"/>
              <a:gd name="csX97" fmla="*/ 247475 w 733006"/>
              <a:gd name="csY97" fmla="*/ 513241 h 2099709"/>
              <a:gd name="csX98" fmla="*/ 289066 w 733006"/>
              <a:gd name="csY98" fmla="*/ 511170 h 2099709"/>
              <a:gd name="csX99" fmla="*/ 378229 w 733006"/>
              <a:gd name="csY99" fmla="*/ 511084 h 2099709"/>
              <a:gd name="csX100" fmla="*/ 470850 w 733006"/>
              <a:gd name="csY100" fmla="*/ 516341 h 2099709"/>
              <a:gd name="csX101" fmla="*/ 492933 w 733006"/>
              <a:gd name="csY101" fmla="*/ 497969 h 2099709"/>
              <a:gd name="csX102" fmla="*/ 557617 w 733006"/>
              <a:gd name="csY102" fmla="*/ 280398 h 2099709"/>
              <a:gd name="csX103" fmla="*/ 588788 w 733006"/>
              <a:gd name="csY103" fmla="*/ 200385 h 2099709"/>
              <a:gd name="csX104" fmla="*/ 530958 w 733006"/>
              <a:gd name="csY104" fmla="*/ 232968 h 2099709"/>
              <a:gd name="csX105" fmla="*/ 483823 w 733006"/>
              <a:gd name="csY105" fmla="*/ 190364 h 2099709"/>
              <a:gd name="csX106" fmla="*/ 466649 w 733006"/>
              <a:gd name="csY106" fmla="*/ 209061 h 2099709"/>
              <a:gd name="csX107" fmla="*/ 399941 w 733006"/>
              <a:gd name="csY107" fmla="*/ 216988 h 2099709"/>
              <a:gd name="csX108" fmla="*/ 363018 w 733006"/>
              <a:gd name="csY108" fmla="*/ 179615 h 2099709"/>
              <a:gd name="csX109" fmla="*/ 308839 w 733006"/>
              <a:gd name="csY109" fmla="*/ 227846 h 2099709"/>
              <a:gd name="csX110" fmla="*/ 245077 w 733006"/>
              <a:gd name="csY110" fmla="*/ 192402 h 2099709"/>
              <a:gd name="csX111" fmla="*/ 242829 w 733006"/>
              <a:gd name="csY111" fmla="*/ 198815 h 2099709"/>
              <a:gd name="csX112" fmla="*/ 168452 w 733006"/>
              <a:gd name="csY112" fmla="*/ 219348 h 2099709"/>
              <a:gd name="csX113" fmla="*/ 140694 w 733006"/>
              <a:gd name="csY113" fmla="*/ 201837 h 2099709"/>
              <a:gd name="csX114" fmla="*/ 259999 w 733006"/>
              <a:gd name="csY114" fmla="*/ 966699 h 2099709"/>
              <a:gd name="csX115" fmla="*/ 257072 w 733006"/>
              <a:gd name="csY115" fmla="*/ 1070424 h 2099709"/>
              <a:gd name="csX116" fmla="*/ 251372 w 733006"/>
              <a:gd name="csY116" fmla="*/ 1157618 h 2099709"/>
              <a:gd name="csX117" fmla="*/ 232677 w 733006"/>
              <a:gd name="csY117" fmla="*/ 1320279 h 2099709"/>
              <a:gd name="csX118" fmla="*/ 209182 w 733006"/>
              <a:gd name="csY118" fmla="*/ 1468667 h 2099709"/>
              <a:gd name="csX119" fmla="*/ 175302 w 733006"/>
              <a:gd name="csY119" fmla="*/ 1616623 h 2099709"/>
              <a:gd name="csX120" fmla="*/ 182769 w 733006"/>
              <a:gd name="csY120" fmla="*/ 1629786 h 2099709"/>
              <a:gd name="csX121" fmla="*/ 212156 w 733006"/>
              <a:gd name="csY121" fmla="*/ 1632656 h 2099709"/>
              <a:gd name="csX122" fmla="*/ 351295 w 733006"/>
              <a:gd name="csY122" fmla="*/ 1632801 h 2099709"/>
              <a:gd name="csX123" fmla="*/ 376150 w 733006"/>
              <a:gd name="csY123" fmla="*/ 1608307 h 2099709"/>
              <a:gd name="csX124" fmla="*/ 373450 w 733006"/>
              <a:gd name="csY124" fmla="*/ 1457291 h 2099709"/>
              <a:gd name="csX125" fmla="*/ 370936 w 733006"/>
              <a:gd name="csY125" fmla="*/ 1342736 h 2099709"/>
              <a:gd name="csX126" fmla="*/ 368328 w 733006"/>
              <a:gd name="csY126" fmla="*/ 1203878 h 2099709"/>
              <a:gd name="csX127" fmla="*/ 367836 w 733006"/>
              <a:gd name="csY127" fmla="*/ 813478 h 2099709"/>
              <a:gd name="csX128" fmla="*/ 365240 w 733006"/>
              <a:gd name="csY128" fmla="*/ 773243 h 2099709"/>
              <a:gd name="csX129" fmla="*/ 353084 w 733006"/>
              <a:gd name="csY129" fmla="*/ 762083 h 2099709"/>
              <a:gd name="csX130" fmla="*/ 280966 w 733006"/>
              <a:gd name="csY130" fmla="*/ 759855 h 2099709"/>
              <a:gd name="csX131" fmla="*/ 259965 w 733006"/>
              <a:gd name="csY131" fmla="*/ 779553 h 2099709"/>
              <a:gd name="csX132" fmla="*/ 262341 w 733006"/>
              <a:gd name="csY132" fmla="*/ 856275 h 2099709"/>
              <a:gd name="csX133" fmla="*/ 259999 w 733006"/>
              <a:gd name="csY133" fmla="*/ 966699 h 2099709"/>
              <a:gd name="csX134" fmla="*/ 55556 w 733006"/>
              <a:gd name="csY134" fmla="*/ 1835827 h 2099709"/>
              <a:gd name="csX135" fmla="*/ 49393 w 733006"/>
              <a:gd name="csY135" fmla="*/ 1878155 h 2099709"/>
              <a:gd name="csX136" fmla="*/ 73949 w 733006"/>
              <a:gd name="csY136" fmla="*/ 1905781 h 2099709"/>
              <a:gd name="csX137" fmla="*/ 110073 w 733006"/>
              <a:gd name="csY137" fmla="*/ 1909068 h 2099709"/>
              <a:gd name="csX138" fmla="*/ 224745 w 733006"/>
              <a:gd name="csY138" fmla="*/ 1921652 h 2099709"/>
              <a:gd name="csX139" fmla="*/ 347327 w 733006"/>
              <a:gd name="csY139" fmla="*/ 1924778 h 2099709"/>
              <a:gd name="csX140" fmla="*/ 363345 w 733006"/>
              <a:gd name="csY140" fmla="*/ 1923293 h 2099709"/>
              <a:gd name="csX141" fmla="*/ 373787 w 733006"/>
              <a:gd name="csY141" fmla="*/ 1911200 h 2099709"/>
              <a:gd name="csX142" fmla="*/ 376623 w 733006"/>
              <a:gd name="csY142" fmla="*/ 1696741 h 2099709"/>
              <a:gd name="csX143" fmla="*/ 360437 w 733006"/>
              <a:gd name="csY143" fmla="*/ 1681289 h 2099709"/>
              <a:gd name="csX144" fmla="*/ 263503 w 733006"/>
              <a:gd name="csY144" fmla="*/ 1678179 h 2099709"/>
              <a:gd name="csX145" fmla="*/ 160381 w 733006"/>
              <a:gd name="csY145" fmla="*/ 1670405 h 2099709"/>
              <a:gd name="csX146" fmla="*/ 143321 w 733006"/>
              <a:gd name="csY146" fmla="*/ 1685538 h 2099709"/>
              <a:gd name="csX147" fmla="*/ 124769 w 733006"/>
              <a:gd name="csY147" fmla="*/ 1738195 h 2099709"/>
              <a:gd name="csX148" fmla="*/ 90593 w 733006"/>
              <a:gd name="csY148" fmla="*/ 1779570 h 2099709"/>
              <a:gd name="csX149" fmla="*/ 55556 w 733006"/>
              <a:gd name="csY149" fmla="*/ 1835827 h 2099709"/>
              <a:gd name="csX150" fmla="*/ 378900 w 733006"/>
              <a:gd name="csY150" fmla="*/ 2007280 h 2099709"/>
              <a:gd name="csX151" fmla="*/ 378887 w 733006"/>
              <a:gd name="csY151" fmla="*/ 1995127 h 2099709"/>
              <a:gd name="csX152" fmla="*/ 359084 w 733006"/>
              <a:gd name="csY152" fmla="*/ 1975964 h 2099709"/>
              <a:gd name="csX153" fmla="*/ 247288 w 733006"/>
              <a:gd name="csY153" fmla="*/ 1973305 h 2099709"/>
              <a:gd name="csX154" fmla="*/ 201692 w 733006"/>
              <a:gd name="csY154" fmla="*/ 1970275 h 2099709"/>
              <a:gd name="csX155" fmla="*/ 57962 w 733006"/>
              <a:gd name="csY155" fmla="*/ 1952648 h 2099709"/>
              <a:gd name="csX156" fmla="*/ 39194 w 733006"/>
              <a:gd name="csY156" fmla="*/ 1963552 h 2099709"/>
              <a:gd name="csX157" fmla="*/ 30066 w 733006"/>
              <a:gd name="csY157" fmla="*/ 2006631 h 2099709"/>
              <a:gd name="csX158" fmla="*/ 40232 w 733006"/>
              <a:gd name="csY158" fmla="*/ 2019486 h 2099709"/>
              <a:gd name="csX159" fmla="*/ 238186 w 733006"/>
              <a:gd name="csY159" fmla="*/ 2046096 h 2099709"/>
              <a:gd name="csX160" fmla="*/ 342155 w 733006"/>
              <a:gd name="csY160" fmla="*/ 2046441 h 2099709"/>
              <a:gd name="csX161" fmla="*/ 378900 w 733006"/>
              <a:gd name="csY161" fmla="*/ 2007280 h 2099709"/>
              <a:gd name="csX162" fmla="*/ 310220 w 733006"/>
              <a:gd name="csY162" fmla="*/ 554288 h 2099709"/>
              <a:gd name="csX163" fmla="*/ 259136 w 733006"/>
              <a:gd name="csY163" fmla="*/ 556881 h 2099709"/>
              <a:gd name="csX164" fmla="*/ 249085 w 733006"/>
              <a:gd name="csY164" fmla="*/ 567981 h 2099709"/>
              <a:gd name="csX165" fmla="*/ 249141 w 733006"/>
              <a:gd name="csY165" fmla="*/ 605644 h 2099709"/>
              <a:gd name="csX166" fmla="*/ 262628 w 733006"/>
              <a:gd name="csY166" fmla="*/ 605627 h 2099709"/>
              <a:gd name="csX167" fmla="*/ 369608 w 733006"/>
              <a:gd name="csY167" fmla="*/ 603027 h 2099709"/>
              <a:gd name="csX168" fmla="*/ 463931 w 733006"/>
              <a:gd name="csY168" fmla="*/ 605146 h 2099709"/>
              <a:gd name="csX169" fmla="*/ 478113 w 733006"/>
              <a:gd name="csY169" fmla="*/ 595843 h 2099709"/>
              <a:gd name="csX170" fmla="*/ 478796 w 733006"/>
              <a:gd name="csY170" fmla="*/ 556832 h 2099709"/>
              <a:gd name="csX171" fmla="*/ 310220 w 733006"/>
              <a:gd name="csY171" fmla="*/ 554288 h 2099709"/>
              <a:gd name="csX172" fmla="*/ 348836 w 733006"/>
              <a:gd name="csY172" fmla="*/ 684115 h 2099709"/>
              <a:gd name="csX173" fmla="*/ 281333 w 733006"/>
              <a:gd name="csY173" fmla="*/ 683313 h 2099709"/>
              <a:gd name="csX174" fmla="*/ 212728 w 733006"/>
              <a:gd name="csY174" fmla="*/ 681931 h 2099709"/>
              <a:gd name="csX175" fmla="*/ 187283 w 733006"/>
              <a:gd name="csY175" fmla="*/ 689555 h 2099709"/>
              <a:gd name="csX176" fmla="*/ 186163 w 733006"/>
              <a:gd name="csY176" fmla="*/ 718266 h 2099709"/>
              <a:gd name="csX177" fmla="*/ 209894 w 733006"/>
              <a:gd name="csY177" fmla="*/ 726798 h 2099709"/>
              <a:gd name="csX178" fmla="*/ 334814 w 733006"/>
              <a:gd name="csY178" fmla="*/ 732494 h 2099709"/>
              <a:gd name="csX179" fmla="*/ 364856 w 733006"/>
              <a:gd name="csY179" fmla="*/ 707963 h 2099709"/>
              <a:gd name="csX180" fmla="*/ 348836 w 733006"/>
              <a:gd name="csY180" fmla="*/ 684115 h 2099709"/>
              <a:gd name="csX181" fmla="*/ 298865 w 733006"/>
              <a:gd name="csY181" fmla="*/ 621954 h 2099709"/>
              <a:gd name="csX182" fmla="*/ 251619 w 733006"/>
              <a:gd name="csY182" fmla="*/ 622133 h 2099709"/>
              <a:gd name="csX183" fmla="*/ 214459 w 733006"/>
              <a:gd name="csY183" fmla="*/ 636230 h 2099709"/>
              <a:gd name="csX184" fmla="*/ 221436 w 733006"/>
              <a:gd name="csY184" fmla="*/ 654205 h 2099709"/>
              <a:gd name="csX185" fmla="*/ 272412 w 733006"/>
              <a:gd name="csY185" fmla="*/ 657250 h 2099709"/>
              <a:gd name="csX186" fmla="*/ 349094 w 733006"/>
              <a:gd name="csY186" fmla="*/ 659282 h 2099709"/>
              <a:gd name="csX187" fmla="*/ 362996 w 733006"/>
              <a:gd name="csY187" fmla="*/ 644234 h 2099709"/>
              <a:gd name="csX188" fmla="*/ 348472 w 733006"/>
              <a:gd name="csY188" fmla="*/ 624649 h 2099709"/>
              <a:gd name="csX189" fmla="*/ 298865 w 733006"/>
              <a:gd name="csY189" fmla="*/ 621954 h 2099709"/>
              <a:gd name="csX190" fmla="*/ 227796 w 733006"/>
              <a:gd name="csY190" fmla="*/ 528000 h 2099709"/>
              <a:gd name="csX191" fmla="*/ 241009 w 733006"/>
              <a:gd name="csY191" fmla="*/ 545897 h 2099709"/>
              <a:gd name="csX192" fmla="*/ 282607 w 733006"/>
              <a:gd name="csY192" fmla="*/ 543480 h 2099709"/>
              <a:gd name="csX193" fmla="*/ 354213 w 733006"/>
              <a:gd name="csY193" fmla="*/ 543384 h 2099709"/>
              <a:gd name="csX194" fmla="*/ 365334 w 733006"/>
              <a:gd name="csY194" fmla="*/ 533397 h 2099709"/>
              <a:gd name="csX195" fmla="*/ 354531 w 733006"/>
              <a:gd name="csY195" fmla="*/ 521620 h 2099709"/>
              <a:gd name="csX196" fmla="*/ 259169 w 733006"/>
              <a:gd name="csY196" fmla="*/ 521978 h 2099709"/>
              <a:gd name="csX197" fmla="*/ 227796 w 733006"/>
              <a:gd name="csY197" fmla="*/ 528000 h 2099709"/>
              <a:gd name="csX198" fmla="*/ 508068 w 733006"/>
              <a:gd name="csY198" fmla="*/ 190710 h 2099709"/>
              <a:gd name="csX199" fmla="*/ 521293 w 733006"/>
              <a:gd name="csY199" fmla="*/ 205907 h 2099709"/>
              <a:gd name="csX200" fmla="*/ 525175 w 733006"/>
              <a:gd name="csY200" fmla="*/ 202985 h 2099709"/>
              <a:gd name="csX201" fmla="*/ 500276 w 733006"/>
              <a:gd name="csY201" fmla="*/ 160640 h 2099709"/>
              <a:gd name="csX202" fmla="*/ 497122 w 733006"/>
              <a:gd name="csY202" fmla="*/ 162007 h 2099709"/>
              <a:gd name="csX203" fmla="*/ 508068 w 733006"/>
              <a:gd name="csY203" fmla="*/ 190710 h 2099709"/>
              <a:gd name="csX204" fmla="*/ 215522 w 733006"/>
              <a:gd name="csY204" fmla="*/ 197296 h 2099709"/>
              <a:gd name="csX205" fmla="*/ 234029 w 733006"/>
              <a:gd name="csY205" fmla="*/ 162725 h 2099709"/>
              <a:gd name="csX206" fmla="*/ 229000 w 733006"/>
              <a:gd name="csY206" fmla="*/ 159902 h 2099709"/>
              <a:gd name="csX207" fmla="*/ 204824 w 733006"/>
              <a:gd name="csY207" fmla="*/ 199677 h 2099709"/>
              <a:gd name="csX208" fmla="*/ 207990 w 733006"/>
              <a:gd name="csY208" fmla="*/ 202198 h 2099709"/>
              <a:gd name="csX209" fmla="*/ 215522 w 733006"/>
              <a:gd name="csY209" fmla="*/ 197296 h 2099709"/>
              <a:gd name="csX210" fmla="*/ 484400 w 733006"/>
              <a:gd name="csY210" fmla="*/ 896678 h 2099709"/>
              <a:gd name="csX211" fmla="*/ 486181 w 733006"/>
              <a:gd name="csY211" fmla="*/ 896585 h 2099709"/>
              <a:gd name="csX212" fmla="*/ 486181 w 733006"/>
              <a:gd name="csY212" fmla="*/ 795289 h 2099709"/>
              <a:gd name="csX0" fmla="*/ 96263 w 733006"/>
              <a:gd name="csY0" fmla="*/ 2076207 h 2091287"/>
              <a:gd name="csX1" fmla="*/ 63862 w 733006"/>
              <a:gd name="csY1" fmla="*/ 2065388 h 2091287"/>
              <a:gd name="csX2" fmla="*/ 16555 w 733006"/>
              <a:gd name="csY2" fmla="*/ 2050152 h 2091287"/>
              <a:gd name="csX3" fmla="*/ 15 w 733006"/>
              <a:gd name="csY3" fmla="*/ 2023802 h 2091287"/>
              <a:gd name="csX4" fmla="*/ 18368 w 733006"/>
              <a:gd name="csY4" fmla="*/ 1940709 h 2091287"/>
              <a:gd name="csX5" fmla="*/ 22139 w 733006"/>
              <a:gd name="csY5" fmla="*/ 1907268 h 2091287"/>
              <a:gd name="csX6" fmla="*/ 57941 w 733006"/>
              <a:gd name="csY6" fmla="*/ 1774163 h 2091287"/>
              <a:gd name="csX7" fmla="*/ 102478 w 733006"/>
              <a:gd name="csY7" fmla="*/ 1720275 h 2091287"/>
              <a:gd name="csX8" fmla="*/ 108579 w 733006"/>
              <a:gd name="csY8" fmla="*/ 1650967 h 2091287"/>
              <a:gd name="csX9" fmla="*/ 115628 w 733006"/>
              <a:gd name="csY9" fmla="*/ 1625405 h 2091287"/>
              <a:gd name="csX10" fmla="*/ 156323 w 733006"/>
              <a:gd name="csY10" fmla="*/ 1560181 h 2091287"/>
              <a:gd name="csX11" fmla="*/ 199424 w 733006"/>
              <a:gd name="csY11" fmla="*/ 1364729 h 2091287"/>
              <a:gd name="csX12" fmla="*/ 216779 w 733006"/>
              <a:gd name="csY12" fmla="*/ 1219490 h 2091287"/>
              <a:gd name="csX13" fmla="*/ 229755 w 733006"/>
              <a:gd name="csY13" fmla="*/ 1099357 h 2091287"/>
              <a:gd name="csX14" fmla="*/ 232707 w 733006"/>
              <a:gd name="csY14" fmla="*/ 1056423 h 2091287"/>
              <a:gd name="csX15" fmla="*/ 235622 w 733006"/>
              <a:gd name="csY15" fmla="*/ 952675 h 2091287"/>
              <a:gd name="csX16" fmla="*/ 235445 w 733006"/>
              <a:gd name="csY16" fmla="*/ 780278 h 2091287"/>
              <a:gd name="csX17" fmla="*/ 214544 w 733006"/>
              <a:gd name="csY17" fmla="*/ 756435 h 2091287"/>
              <a:gd name="csX18" fmla="*/ 172569 w 733006"/>
              <a:gd name="csY18" fmla="*/ 742582 h 2091287"/>
              <a:gd name="csX19" fmla="*/ 168784 w 733006"/>
              <a:gd name="csY19" fmla="*/ 669116 h 2091287"/>
              <a:gd name="csX20" fmla="*/ 191657 w 733006"/>
              <a:gd name="csY20" fmla="*/ 630765 h 2091287"/>
              <a:gd name="csX21" fmla="*/ 208150 w 733006"/>
              <a:gd name="csY21" fmla="*/ 609084 h 2091287"/>
              <a:gd name="csX22" fmla="*/ 216756 w 733006"/>
              <a:gd name="csY22" fmla="*/ 558673 h 2091287"/>
              <a:gd name="csX23" fmla="*/ 209092 w 733006"/>
              <a:gd name="csY23" fmla="*/ 521540 h 2091287"/>
              <a:gd name="csX24" fmla="*/ 204683 w 733006"/>
              <a:gd name="csY24" fmla="*/ 474024 h 2091287"/>
              <a:gd name="csX25" fmla="*/ 115483 w 733006"/>
              <a:gd name="csY25" fmla="*/ 213499 h 2091287"/>
              <a:gd name="csX26" fmla="*/ 102909 w 733006"/>
              <a:gd name="csY26" fmla="*/ 182297 h 2091287"/>
              <a:gd name="csX27" fmla="*/ 104315 w 733006"/>
              <a:gd name="csY27" fmla="*/ 163968 h 2091287"/>
              <a:gd name="csX28" fmla="*/ 122444 w 733006"/>
              <a:gd name="csY28" fmla="*/ 160805 h 2091287"/>
              <a:gd name="csX29" fmla="*/ 170283 w 733006"/>
              <a:gd name="csY29" fmla="*/ 187783 h 2091287"/>
              <a:gd name="csX30" fmla="*/ 180938 w 733006"/>
              <a:gd name="csY30" fmla="*/ 195322 h 2091287"/>
              <a:gd name="csX31" fmla="*/ 221419 w 733006"/>
              <a:gd name="csY31" fmla="*/ 138058 h 2091287"/>
              <a:gd name="csX32" fmla="*/ 294099 w 733006"/>
              <a:gd name="csY32" fmla="*/ 91372 h 2091287"/>
              <a:gd name="csX33" fmla="*/ 302307 w 733006"/>
              <a:gd name="csY33" fmla="*/ 76560 h 2091287"/>
              <a:gd name="csX34" fmla="*/ 320284 w 733006"/>
              <a:gd name="csY34" fmla="*/ 8414 h 2091287"/>
              <a:gd name="csX35" fmla="*/ 324784 w 733006"/>
              <a:gd name="csY35" fmla="*/ 946 h 2091287"/>
              <a:gd name="csX36" fmla="*/ 399212 w 733006"/>
              <a:gd name="csY36" fmla="*/ 0 h 2091287"/>
              <a:gd name="csX37" fmla="*/ 425980 w 733006"/>
              <a:gd name="csY37" fmla="*/ 78301 h 2091287"/>
              <a:gd name="csX38" fmla="*/ 431861 w 733006"/>
              <a:gd name="csY38" fmla="*/ 90312 h 2091287"/>
              <a:gd name="csX39" fmla="*/ 540349 w 733006"/>
              <a:gd name="csY39" fmla="*/ 187946 h 2091287"/>
              <a:gd name="csX40" fmla="*/ 545555 w 733006"/>
              <a:gd name="csY40" fmla="*/ 197828 h 2091287"/>
              <a:gd name="csX41" fmla="*/ 587318 w 733006"/>
              <a:gd name="csY41" fmla="*/ 171260 h 2091287"/>
              <a:gd name="csX42" fmla="*/ 601503 w 733006"/>
              <a:gd name="csY42" fmla="*/ 163707 h 2091287"/>
              <a:gd name="csX43" fmla="*/ 625254 w 733006"/>
              <a:gd name="csY43" fmla="*/ 163123 h 2091287"/>
              <a:gd name="csX44" fmla="*/ 625468 w 733006"/>
              <a:gd name="csY44" fmla="*/ 187579 h 2091287"/>
              <a:gd name="csX45" fmla="*/ 597543 w 733006"/>
              <a:gd name="csY45" fmla="*/ 251872 h 2091287"/>
              <a:gd name="csX46" fmla="*/ 531831 w 733006"/>
              <a:gd name="csY46" fmla="*/ 442689 h 2091287"/>
              <a:gd name="csX47" fmla="*/ 519888 w 733006"/>
              <a:gd name="csY47" fmla="*/ 501474 h 2091287"/>
              <a:gd name="csX48" fmla="*/ 522506 w 733006"/>
              <a:gd name="csY48" fmla="*/ 525086 h 2091287"/>
              <a:gd name="csX49" fmla="*/ 516235 w 733006"/>
              <a:gd name="csY49" fmla="*/ 555946 h 2091287"/>
              <a:gd name="csX50" fmla="*/ 521332 w 733006"/>
              <a:gd name="csY50" fmla="*/ 610676 h 2091287"/>
              <a:gd name="csX51" fmla="*/ 541382 w 733006"/>
              <a:gd name="csY51" fmla="*/ 642597 h 2091287"/>
              <a:gd name="csX52" fmla="*/ 557031 w 733006"/>
              <a:gd name="csY52" fmla="*/ 667949 h 2091287"/>
              <a:gd name="csX53" fmla="*/ 553994 w 733006"/>
              <a:gd name="csY53" fmla="*/ 744146 h 2091287"/>
              <a:gd name="csX54" fmla="*/ 508215 w 733006"/>
              <a:gd name="csY54" fmla="*/ 758841 h 2091287"/>
              <a:gd name="csX55" fmla="*/ 497442 w 733006"/>
              <a:gd name="csY55" fmla="*/ 771256 h 2091287"/>
              <a:gd name="csX56" fmla="*/ 493005 w 733006"/>
              <a:gd name="csY56" fmla="*/ 922055 h 2091287"/>
              <a:gd name="csX57" fmla="*/ 502900 w 733006"/>
              <a:gd name="csY57" fmla="*/ 1114191 h 2091287"/>
              <a:gd name="csX58" fmla="*/ 508800 w 733006"/>
              <a:gd name="csY58" fmla="*/ 1205474 h 2091287"/>
              <a:gd name="csX59" fmla="*/ 522952 w 733006"/>
              <a:gd name="csY59" fmla="*/ 1320065 h 2091287"/>
              <a:gd name="csX60" fmla="*/ 554682 w 733006"/>
              <a:gd name="csY60" fmla="*/ 1501203 h 2091287"/>
              <a:gd name="csX61" fmla="*/ 576958 w 733006"/>
              <a:gd name="csY61" fmla="*/ 1593963 h 2091287"/>
              <a:gd name="csX62" fmla="*/ 595349 w 733006"/>
              <a:gd name="csY62" fmla="*/ 1613498 h 2091287"/>
              <a:gd name="csX63" fmla="*/ 613936 w 733006"/>
              <a:gd name="csY63" fmla="*/ 1624058 h 2091287"/>
              <a:gd name="csX64" fmla="*/ 620938 w 733006"/>
              <a:gd name="csY64" fmla="*/ 1652071 h 2091287"/>
              <a:gd name="csX65" fmla="*/ 630805 w 733006"/>
              <a:gd name="csY65" fmla="*/ 1721702 h 2091287"/>
              <a:gd name="csX66" fmla="*/ 685830 w 733006"/>
              <a:gd name="csY66" fmla="*/ 1792915 h 2091287"/>
              <a:gd name="csX67" fmla="*/ 708904 w 733006"/>
              <a:gd name="csY67" fmla="*/ 1890290 h 2091287"/>
              <a:gd name="csX68" fmla="*/ 716580 w 733006"/>
              <a:gd name="csY68" fmla="*/ 1951136 h 2091287"/>
              <a:gd name="csX69" fmla="*/ 729397 w 733006"/>
              <a:gd name="csY69" fmla="*/ 2030261 h 2091287"/>
              <a:gd name="csX70" fmla="*/ 714212 w 733006"/>
              <a:gd name="csY70" fmla="*/ 2059069 h 2091287"/>
              <a:gd name="csX71" fmla="*/ 96263 w 733006"/>
              <a:gd name="csY71" fmla="*/ 2076207 h 2091287"/>
              <a:gd name="csX72" fmla="*/ 489970 w 733006"/>
              <a:gd name="csY72" fmla="*/ 152208 h 2091287"/>
              <a:gd name="csX73" fmla="*/ 490754 w 733006"/>
              <a:gd name="csY73" fmla="*/ 152592 h 2091287"/>
              <a:gd name="csX74" fmla="*/ 489489 w 733006"/>
              <a:gd name="csY74" fmla="*/ 149547 h 2091287"/>
              <a:gd name="csX75" fmla="*/ 393621 w 733006"/>
              <a:gd name="csY75" fmla="*/ 99259 h 2091287"/>
              <a:gd name="csX76" fmla="*/ 390419 w 733006"/>
              <a:gd name="csY76" fmla="*/ 18568 h 2091287"/>
              <a:gd name="csX77" fmla="*/ 334131 w 733006"/>
              <a:gd name="csY77" fmla="*/ 24327 h 2091287"/>
              <a:gd name="csX78" fmla="*/ 344678 w 733006"/>
              <a:gd name="csY78" fmla="*/ 101259 h 2091287"/>
              <a:gd name="csX79" fmla="*/ 298854 w 733006"/>
              <a:gd name="csY79" fmla="*/ 114003 h 2091287"/>
              <a:gd name="csX80" fmla="*/ 237456 w 733006"/>
              <a:gd name="csY80" fmla="*/ 154340 h 2091287"/>
              <a:gd name="csX81" fmla="*/ 240382 w 733006"/>
              <a:gd name="csY81" fmla="*/ 154035 h 2091287"/>
              <a:gd name="csX82" fmla="*/ 262731 w 733006"/>
              <a:gd name="csY82" fmla="*/ 170426 h 2091287"/>
              <a:gd name="csX83" fmla="*/ 279169 w 733006"/>
              <a:gd name="csY83" fmla="*/ 193173 h 2091287"/>
              <a:gd name="csX84" fmla="*/ 327717 w 733006"/>
              <a:gd name="csY84" fmla="*/ 188556 h 2091287"/>
              <a:gd name="csX85" fmla="*/ 348052 w 733006"/>
              <a:gd name="csY85" fmla="*/ 156919 h 2091287"/>
              <a:gd name="csX86" fmla="*/ 380330 w 733006"/>
              <a:gd name="csY86" fmla="*/ 156483 h 2091287"/>
              <a:gd name="csX87" fmla="*/ 408490 w 733006"/>
              <a:gd name="csY87" fmla="*/ 195400 h 2091287"/>
              <a:gd name="csX88" fmla="*/ 445346 w 733006"/>
              <a:gd name="csY88" fmla="*/ 197582 h 2091287"/>
              <a:gd name="csX89" fmla="*/ 464798 w 733006"/>
              <a:gd name="csY89" fmla="*/ 174107 h 2091287"/>
              <a:gd name="csX90" fmla="*/ 489970 w 733006"/>
              <a:gd name="csY90" fmla="*/ 152208 h 2091287"/>
              <a:gd name="csX91" fmla="*/ 140694 w 733006"/>
              <a:gd name="csY91" fmla="*/ 201837 h 2091287"/>
              <a:gd name="csX92" fmla="*/ 139834 w 733006"/>
              <a:gd name="csY92" fmla="*/ 201482 h 2091287"/>
              <a:gd name="csX93" fmla="*/ 140812 w 733006"/>
              <a:gd name="csY93" fmla="*/ 204941 h 2091287"/>
              <a:gd name="csX94" fmla="*/ 144631 w 733006"/>
              <a:gd name="csY94" fmla="*/ 217811 h 2091287"/>
              <a:gd name="csX95" fmla="*/ 201241 w 733006"/>
              <a:gd name="csY95" fmla="*/ 373387 h 2091287"/>
              <a:gd name="csX96" fmla="*/ 235971 w 733006"/>
              <a:gd name="csY96" fmla="*/ 504451 h 2091287"/>
              <a:gd name="csX97" fmla="*/ 247475 w 733006"/>
              <a:gd name="csY97" fmla="*/ 513241 h 2091287"/>
              <a:gd name="csX98" fmla="*/ 289066 w 733006"/>
              <a:gd name="csY98" fmla="*/ 511170 h 2091287"/>
              <a:gd name="csX99" fmla="*/ 378229 w 733006"/>
              <a:gd name="csY99" fmla="*/ 511084 h 2091287"/>
              <a:gd name="csX100" fmla="*/ 470850 w 733006"/>
              <a:gd name="csY100" fmla="*/ 516341 h 2091287"/>
              <a:gd name="csX101" fmla="*/ 492933 w 733006"/>
              <a:gd name="csY101" fmla="*/ 497969 h 2091287"/>
              <a:gd name="csX102" fmla="*/ 557617 w 733006"/>
              <a:gd name="csY102" fmla="*/ 280398 h 2091287"/>
              <a:gd name="csX103" fmla="*/ 588788 w 733006"/>
              <a:gd name="csY103" fmla="*/ 200385 h 2091287"/>
              <a:gd name="csX104" fmla="*/ 530958 w 733006"/>
              <a:gd name="csY104" fmla="*/ 232968 h 2091287"/>
              <a:gd name="csX105" fmla="*/ 483823 w 733006"/>
              <a:gd name="csY105" fmla="*/ 190364 h 2091287"/>
              <a:gd name="csX106" fmla="*/ 466649 w 733006"/>
              <a:gd name="csY106" fmla="*/ 209061 h 2091287"/>
              <a:gd name="csX107" fmla="*/ 399941 w 733006"/>
              <a:gd name="csY107" fmla="*/ 216988 h 2091287"/>
              <a:gd name="csX108" fmla="*/ 363018 w 733006"/>
              <a:gd name="csY108" fmla="*/ 179615 h 2091287"/>
              <a:gd name="csX109" fmla="*/ 308839 w 733006"/>
              <a:gd name="csY109" fmla="*/ 227846 h 2091287"/>
              <a:gd name="csX110" fmla="*/ 245077 w 733006"/>
              <a:gd name="csY110" fmla="*/ 192402 h 2091287"/>
              <a:gd name="csX111" fmla="*/ 242829 w 733006"/>
              <a:gd name="csY111" fmla="*/ 198815 h 2091287"/>
              <a:gd name="csX112" fmla="*/ 168452 w 733006"/>
              <a:gd name="csY112" fmla="*/ 219348 h 2091287"/>
              <a:gd name="csX113" fmla="*/ 140694 w 733006"/>
              <a:gd name="csY113" fmla="*/ 201837 h 2091287"/>
              <a:gd name="csX114" fmla="*/ 259999 w 733006"/>
              <a:gd name="csY114" fmla="*/ 966699 h 2091287"/>
              <a:gd name="csX115" fmla="*/ 257072 w 733006"/>
              <a:gd name="csY115" fmla="*/ 1070424 h 2091287"/>
              <a:gd name="csX116" fmla="*/ 251372 w 733006"/>
              <a:gd name="csY116" fmla="*/ 1157618 h 2091287"/>
              <a:gd name="csX117" fmla="*/ 232677 w 733006"/>
              <a:gd name="csY117" fmla="*/ 1320279 h 2091287"/>
              <a:gd name="csX118" fmla="*/ 209182 w 733006"/>
              <a:gd name="csY118" fmla="*/ 1468667 h 2091287"/>
              <a:gd name="csX119" fmla="*/ 175302 w 733006"/>
              <a:gd name="csY119" fmla="*/ 1616623 h 2091287"/>
              <a:gd name="csX120" fmla="*/ 182769 w 733006"/>
              <a:gd name="csY120" fmla="*/ 1629786 h 2091287"/>
              <a:gd name="csX121" fmla="*/ 212156 w 733006"/>
              <a:gd name="csY121" fmla="*/ 1632656 h 2091287"/>
              <a:gd name="csX122" fmla="*/ 351295 w 733006"/>
              <a:gd name="csY122" fmla="*/ 1632801 h 2091287"/>
              <a:gd name="csX123" fmla="*/ 376150 w 733006"/>
              <a:gd name="csY123" fmla="*/ 1608307 h 2091287"/>
              <a:gd name="csX124" fmla="*/ 373450 w 733006"/>
              <a:gd name="csY124" fmla="*/ 1457291 h 2091287"/>
              <a:gd name="csX125" fmla="*/ 370936 w 733006"/>
              <a:gd name="csY125" fmla="*/ 1342736 h 2091287"/>
              <a:gd name="csX126" fmla="*/ 368328 w 733006"/>
              <a:gd name="csY126" fmla="*/ 1203878 h 2091287"/>
              <a:gd name="csX127" fmla="*/ 367836 w 733006"/>
              <a:gd name="csY127" fmla="*/ 813478 h 2091287"/>
              <a:gd name="csX128" fmla="*/ 365240 w 733006"/>
              <a:gd name="csY128" fmla="*/ 773243 h 2091287"/>
              <a:gd name="csX129" fmla="*/ 353084 w 733006"/>
              <a:gd name="csY129" fmla="*/ 762083 h 2091287"/>
              <a:gd name="csX130" fmla="*/ 280966 w 733006"/>
              <a:gd name="csY130" fmla="*/ 759855 h 2091287"/>
              <a:gd name="csX131" fmla="*/ 259965 w 733006"/>
              <a:gd name="csY131" fmla="*/ 779553 h 2091287"/>
              <a:gd name="csX132" fmla="*/ 262341 w 733006"/>
              <a:gd name="csY132" fmla="*/ 856275 h 2091287"/>
              <a:gd name="csX133" fmla="*/ 259999 w 733006"/>
              <a:gd name="csY133" fmla="*/ 966699 h 2091287"/>
              <a:gd name="csX134" fmla="*/ 55556 w 733006"/>
              <a:gd name="csY134" fmla="*/ 1835827 h 2091287"/>
              <a:gd name="csX135" fmla="*/ 49393 w 733006"/>
              <a:gd name="csY135" fmla="*/ 1878155 h 2091287"/>
              <a:gd name="csX136" fmla="*/ 73949 w 733006"/>
              <a:gd name="csY136" fmla="*/ 1905781 h 2091287"/>
              <a:gd name="csX137" fmla="*/ 110073 w 733006"/>
              <a:gd name="csY137" fmla="*/ 1909068 h 2091287"/>
              <a:gd name="csX138" fmla="*/ 224745 w 733006"/>
              <a:gd name="csY138" fmla="*/ 1921652 h 2091287"/>
              <a:gd name="csX139" fmla="*/ 347327 w 733006"/>
              <a:gd name="csY139" fmla="*/ 1924778 h 2091287"/>
              <a:gd name="csX140" fmla="*/ 363345 w 733006"/>
              <a:gd name="csY140" fmla="*/ 1923293 h 2091287"/>
              <a:gd name="csX141" fmla="*/ 373787 w 733006"/>
              <a:gd name="csY141" fmla="*/ 1911200 h 2091287"/>
              <a:gd name="csX142" fmla="*/ 376623 w 733006"/>
              <a:gd name="csY142" fmla="*/ 1696741 h 2091287"/>
              <a:gd name="csX143" fmla="*/ 360437 w 733006"/>
              <a:gd name="csY143" fmla="*/ 1681289 h 2091287"/>
              <a:gd name="csX144" fmla="*/ 263503 w 733006"/>
              <a:gd name="csY144" fmla="*/ 1678179 h 2091287"/>
              <a:gd name="csX145" fmla="*/ 160381 w 733006"/>
              <a:gd name="csY145" fmla="*/ 1670405 h 2091287"/>
              <a:gd name="csX146" fmla="*/ 143321 w 733006"/>
              <a:gd name="csY146" fmla="*/ 1685538 h 2091287"/>
              <a:gd name="csX147" fmla="*/ 124769 w 733006"/>
              <a:gd name="csY147" fmla="*/ 1738195 h 2091287"/>
              <a:gd name="csX148" fmla="*/ 90593 w 733006"/>
              <a:gd name="csY148" fmla="*/ 1779570 h 2091287"/>
              <a:gd name="csX149" fmla="*/ 55556 w 733006"/>
              <a:gd name="csY149" fmla="*/ 1835827 h 2091287"/>
              <a:gd name="csX150" fmla="*/ 378900 w 733006"/>
              <a:gd name="csY150" fmla="*/ 2007280 h 2091287"/>
              <a:gd name="csX151" fmla="*/ 378887 w 733006"/>
              <a:gd name="csY151" fmla="*/ 1995127 h 2091287"/>
              <a:gd name="csX152" fmla="*/ 359084 w 733006"/>
              <a:gd name="csY152" fmla="*/ 1975964 h 2091287"/>
              <a:gd name="csX153" fmla="*/ 247288 w 733006"/>
              <a:gd name="csY153" fmla="*/ 1973305 h 2091287"/>
              <a:gd name="csX154" fmla="*/ 201692 w 733006"/>
              <a:gd name="csY154" fmla="*/ 1970275 h 2091287"/>
              <a:gd name="csX155" fmla="*/ 57962 w 733006"/>
              <a:gd name="csY155" fmla="*/ 1952648 h 2091287"/>
              <a:gd name="csX156" fmla="*/ 39194 w 733006"/>
              <a:gd name="csY156" fmla="*/ 1963552 h 2091287"/>
              <a:gd name="csX157" fmla="*/ 30066 w 733006"/>
              <a:gd name="csY157" fmla="*/ 2006631 h 2091287"/>
              <a:gd name="csX158" fmla="*/ 40232 w 733006"/>
              <a:gd name="csY158" fmla="*/ 2019486 h 2091287"/>
              <a:gd name="csX159" fmla="*/ 238186 w 733006"/>
              <a:gd name="csY159" fmla="*/ 2046096 h 2091287"/>
              <a:gd name="csX160" fmla="*/ 342155 w 733006"/>
              <a:gd name="csY160" fmla="*/ 2046441 h 2091287"/>
              <a:gd name="csX161" fmla="*/ 378900 w 733006"/>
              <a:gd name="csY161" fmla="*/ 2007280 h 2091287"/>
              <a:gd name="csX162" fmla="*/ 310220 w 733006"/>
              <a:gd name="csY162" fmla="*/ 554288 h 2091287"/>
              <a:gd name="csX163" fmla="*/ 259136 w 733006"/>
              <a:gd name="csY163" fmla="*/ 556881 h 2091287"/>
              <a:gd name="csX164" fmla="*/ 249085 w 733006"/>
              <a:gd name="csY164" fmla="*/ 567981 h 2091287"/>
              <a:gd name="csX165" fmla="*/ 249141 w 733006"/>
              <a:gd name="csY165" fmla="*/ 605644 h 2091287"/>
              <a:gd name="csX166" fmla="*/ 262628 w 733006"/>
              <a:gd name="csY166" fmla="*/ 605627 h 2091287"/>
              <a:gd name="csX167" fmla="*/ 369608 w 733006"/>
              <a:gd name="csY167" fmla="*/ 603027 h 2091287"/>
              <a:gd name="csX168" fmla="*/ 463931 w 733006"/>
              <a:gd name="csY168" fmla="*/ 605146 h 2091287"/>
              <a:gd name="csX169" fmla="*/ 478113 w 733006"/>
              <a:gd name="csY169" fmla="*/ 595843 h 2091287"/>
              <a:gd name="csX170" fmla="*/ 478796 w 733006"/>
              <a:gd name="csY170" fmla="*/ 556832 h 2091287"/>
              <a:gd name="csX171" fmla="*/ 310220 w 733006"/>
              <a:gd name="csY171" fmla="*/ 554288 h 2091287"/>
              <a:gd name="csX172" fmla="*/ 348836 w 733006"/>
              <a:gd name="csY172" fmla="*/ 684115 h 2091287"/>
              <a:gd name="csX173" fmla="*/ 281333 w 733006"/>
              <a:gd name="csY173" fmla="*/ 683313 h 2091287"/>
              <a:gd name="csX174" fmla="*/ 212728 w 733006"/>
              <a:gd name="csY174" fmla="*/ 681931 h 2091287"/>
              <a:gd name="csX175" fmla="*/ 187283 w 733006"/>
              <a:gd name="csY175" fmla="*/ 689555 h 2091287"/>
              <a:gd name="csX176" fmla="*/ 186163 w 733006"/>
              <a:gd name="csY176" fmla="*/ 718266 h 2091287"/>
              <a:gd name="csX177" fmla="*/ 209894 w 733006"/>
              <a:gd name="csY177" fmla="*/ 726798 h 2091287"/>
              <a:gd name="csX178" fmla="*/ 334814 w 733006"/>
              <a:gd name="csY178" fmla="*/ 732494 h 2091287"/>
              <a:gd name="csX179" fmla="*/ 364856 w 733006"/>
              <a:gd name="csY179" fmla="*/ 707963 h 2091287"/>
              <a:gd name="csX180" fmla="*/ 348836 w 733006"/>
              <a:gd name="csY180" fmla="*/ 684115 h 2091287"/>
              <a:gd name="csX181" fmla="*/ 298865 w 733006"/>
              <a:gd name="csY181" fmla="*/ 621954 h 2091287"/>
              <a:gd name="csX182" fmla="*/ 251619 w 733006"/>
              <a:gd name="csY182" fmla="*/ 622133 h 2091287"/>
              <a:gd name="csX183" fmla="*/ 214459 w 733006"/>
              <a:gd name="csY183" fmla="*/ 636230 h 2091287"/>
              <a:gd name="csX184" fmla="*/ 221436 w 733006"/>
              <a:gd name="csY184" fmla="*/ 654205 h 2091287"/>
              <a:gd name="csX185" fmla="*/ 272412 w 733006"/>
              <a:gd name="csY185" fmla="*/ 657250 h 2091287"/>
              <a:gd name="csX186" fmla="*/ 349094 w 733006"/>
              <a:gd name="csY186" fmla="*/ 659282 h 2091287"/>
              <a:gd name="csX187" fmla="*/ 362996 w 733006"/>
              <a:gd name="csY187" fmla="*/ 644234 h 2091287"/>
              <a:gd name="csX188" fmla="*/ 348472 w 733006"/>
              <a:gd name="csY188" fmla="*/ 624649 h 2091287"/>
              <a:gd name="csX189" fmla="*/ 298865 w 733006"/>
              <a:gd name="csY189" fmla="*/ 621954 h 2091287"/>
              <a:gd name="csX190" fmla="*/ 227796 w 733006"/>
              <a:gd name="csY190" fmla="*/ 528000 h 2091287"/>
              <a:gd name="csX191" fmla="*/ 241009 w 733006"/>
              <a:gd name="csY191" fmla="*/ 545897 h 2091287"/>
              <a:gd name="csX192" fmla="*/ 282607 w 733006"/>
              <a:gd name="csY192" fmla="*/ 543480 h 2091287"/>
              <a:gd name="csX193" fmla="*/ 354213 w 733006"/>
              <a:gd name="csY193" fmla="*/ 543384 h 2091287"/>
              <a:gd name="csX194" fmla="*/ 365334 w 733006"/>
              <a:gd name="csY194" fmla="*/ 533397 h 2091287"/>
              <a:gd name="csX195" fmla="*/ 354531 w 733006"/>
              <a:gd name="csY195" fmla="*/ 521620 h 2091287"/>
              <a:gd name="csX196" fmla="*/ 259169 w 733006"/>
              <a:gd name="csY196" fmla="*/ 521978 h 2091287"/>
              <a:gd name="csX197" fmla="*/ 227796 w 733006"/>
              <a:gd name="csY197" fmla="*/ 528000 h 2091287"/>
              <a:gd name="csX198" fmla="*/ 508068 w 733006"/>
              <a:gd name="csY198" fmla="*/ 190710 h 2091287"/>
              <a:gd name="csX199" fmla="*/ 521293 w 733006"/>
              <a:gd name="csY199" fmla="*/ 205907 h 2091287"/>
              <a:gd name="csX200" fmla="*/ 525175 w 733006"/>
              <a:gd name="csY200" fmla="*/ 202985 h 2091287"/>
              <a:gd name="csX201" fmla="*/ 500276 w 733006"/>
              <a:gd name="csY201" fmla="*/ 160640 h 2091287"/>
              <a:gd name="csX202" fmla="*/ 497122 w 733006"/>
              <a:gd name="csY202" fmla="*/ 162007 h 2091287"/>
              <a:gd name="csX203" fmla="*/ 508068 w 733006"/>
              <a:gd name="csY203" fmla="*/ 190710 h 2091287"/>
              <a:gd name="csX204" fmla="*/ 215522 w 733006"/>
              <a:gd name="csY204" fmla="*/ 197296 h 2091287"/>
              <a:gd name="csX205" fmla="*/ 234029 w 733006"/>
              <a:gd name="csY205" fmla="*/ 162725 h 2091287"/>
              <a:gd name="csX206" fmla="*/ 229000 w 733006"/>
              <a:gd name="csY206" fmla="*/ 159902 h 2091287"/>
              <a:gd name="csX207" fmla="*/ 204824 w 733006"/>
              <a:gd name="csY207" fmla="*/ 199677 h 2091287"/>
              <a:gd name="csX208" fmla="*/ 207990 w 733006"/>
              <a:gd name="csY208" fmla="*/ 202198 h 2091287"/>
              <a:gd name="csX209" fmla="*/ 215522 w 733006"/>
              <a:gd name="csY209" fmla="*/ 197296 h 2091287"/>
              <a:gd name="csX210" fmla="*/ 484400 w 733006"/>
              <a:gd name="csY210" fmla="*/ 896678 h 2091287"/>
              <a:gd name="csX211" fmla="*/ 486181 w 733006"/>
              <a:gd name="csY211" fmla="*/ 896585 h 2091287"/>
              <a:gd name="csX212" fmla="*/ 486181 w 733006"/>
              <a:gd name="csY212" fmla="*/ 795289 h 2091287"/>
              <a:gd name="csX0" fmla="*/ 96263 w 733006"/>
              <a:gd name="csY0" fmla="*/ 2076207 h 2092038"/>
              <a:gd name="csX1" fmla="*/ 63862 w 733006"/>
              <a:gd name="csY1" fmla="*/ 2065388 h 2092038"/>
              <a:gd name="csX2" fmla="*/ 16555 w 733006"/>
              <a:gd name="csY2" fmla="*/ 2050152 h 2092038"/>
              <a:gd name="csX3" fmla="*/ 15 w 733006"/>
              <a:gd name="csY3" fmla="*/ 2023802 h 2092038"/>
              <a:gd name="csX4" fmla="*/ 18368 w 733006"/>
              <a:gd name="csY4" fmla="*/ 1940709 h 2092038"/>
              <a:gd name="csX5" fmla="*/ 22139 w 733006"/>
              <a:gd name="csY5" fmla="*/ 1907268 h 2092038"/>
              <a:gd name="csX6" fmla="*/ 57941 w 733006"/>
              <a:gd name="csY6" fmla="*/ 1774163 h 2092038"/>
              <a:gd name="csX7" fmla="*/ 102478 w 733006"/>
              <a:gd name="csY7" fmla="*/ 1720275 h 2092038"/>
              <a:gd name="csX8" fmla="*/ 108579 w 733006"/>
              <a:gd name="csY8" fmla="*/ 1650967 h 2092038"/>
              <a:gd name="csX9" fmla="*/ 115628 w 733006"/>
              <a:gd name="csY9" fmla="*/ 1625405 h 2092038"/>
              <a:gd name="csX10" fmla="*/ 156323 w 733006"/>
              <a:gd name="csY10" fmla="*/ 1560181 h 2092038"/>
              <a:gd name="csX11" fmla="*/ 199424 w 733006"/>
              <a:gd name="csY11" fmla="*/ 1364729 h 2092038"/>
              <a:gd name="csX12" fmla="*/ 216779 w 733006"/>
              <a:gd name="csY12" fmla="*/ 1219490 h 2092038"/>
              <a:gd name="csX13" fmla="*/ 229755 w 733006"/>
              <a:gd name="csY13" fmla="*/ 1099357 h 2092038"/>
              <a:gd name="csX14" fmla="*/ 232707 w 733006"/>
              <a:gd name="csY14" fmla="*/ 1056423 h 2092038"/>
              <a:gd name="csX15" fmla="*/ 235622 w 733006"/>
              <a:gd name="csY15" fmla="*/ 952675 h 2092038"/>
              <a:gd name="csX16" fmla="*/ 235445 w 733006"/>
              <a:gd name="csY16" fmla="*/ 780278 h 2092038"/>
              <a:gd name="csX17" fmla="*/ 214544 w 733006"/>
              <a:gd name="csY17" fmla="*/ 756435 h 2092038"/>
              <a:gd name="csX18" fmla="*/ 172569 w 733006"/>
              <a:gd name="csY18" fmla="*/ 742582 h 2092038"/>
              <a:gd name="csX19" fmla="*/ 168784 w 733006"/>
              <a:gd name="csY19" fmla="*/ 669116 h 2092038"/>
              <a:gd name="csX20" fmla="*/ 191657 w 733006"/>
              <a:gd name="csY20" fmla="*/ 630765 h 2092038"/>
              <a:gd name="csX21" fmla="*/ 208150 w 733006"/>
              <a:gd name="csY21" fmla="*/ 609084 h 2092038"/>
              <a:gd name="csX22" fmla="*/ 216756 w 733006"/>
              <a:gd name="csY22" fmla="*/ 558673 h 2092038"/>
              <a:gd name="csX23" fmla="*/ 209092 w 733006"/>
              <a:gd name="csY23" fmla="*/ 521540 h 2092038"/>
              <a:gd name="csX24" fmla="*/ 204683 w 733006"/>
              <a:gd name="csY24" fmla="*/ 474024 h 2092038"/>
              <a:gd name="csX25" fmla="*/ 115483 w 733006"/>
              <a:gd name="csY25" fmla="*/ 213499 h 2092038"/>
              <a:gd name="csX26" fmla="*/ 102909 w 733006"/>
              <a:gd name="csY26" fmla="*/ 182297 h 2092038"/>
              <a:gd name="csX27" fmla="*/ 104315 w 733006"/>
              <a:gd name="csY27" fmla="*/ 163968 h 2092038"/>
              <a:gd name="csX28" fmla="*/ 122444 w 733006"/>
              <a:gd name="csY28" fmla="*/ 160805 h 2092038"/>
              <a:gd name="csX29" fmla="*/ 170283 w 733006"/>
              <a:gd name="csY29" fmla="*/ 187783 h 2092038"/>
              <a:gd name="csX30" fmla="*/ 180938 w 733006"/>
              <a:gd name="csY30" fmla="*/ 195322 h 2092038"/>
              <a:gd name="csX31" fmla="*/ 221419 w 733006"/>
              <a:gd name="csY31" fmla="*/ 138058 h 2092038"/>
              <a:gd name="csX32" fmla="*/ 294099 w 733006"/>
              <a:gd name="csY32" fmla="*/ 91372 h 2092038"/>
              <a:gd name="csX33" fmla="*/ 302307 w 733006"/>
              <a:gd name="csY33" fmla="*/ 76560 h 2092038"/>
              <a:gd name="csX34" fmla="*/ 320284 w 733006"/>
              <a:gd name="csY34" fmla="*/ 8414 h 2092038"/>
              <a:gd name="csX35" fmla="*/ 324784 w 733006"/>
              <a:gd name="csY35" fmla="*/ 946 h 2092038"/>
              <a:gd name="csX36" fmla="*/ 399212 w 733006"/>
              <a:gd name="csY36" fmla="*/ 0 h 2092038"/>
              <a:gd name="csX37" fmla="*/ 425980 w 733006"/>
              <a:gd name="csY37" fmla="*/ 78301 h 2092038"/>
              <a:gd name="csX38" fmla="*/ 431861 w 733006"/>
              <a:gd name="csY38" fmla="*/ 90312 h 2092038"/>
              <a:gd name="csX39" fmla="*/ 540349 w 733006"/>
              <a:gd name="csY39" fmla="*/ 187946 h 2092038"/>
              <a:gd name="csX40" fmla="*/ 545555 w 733006"/>
              <a:gd name="csY40" fmla="*/ 197828 h 2092038"/>
              <a:gd name="csX41" fmla="*/ 587318 w 733006"/>
              <a:gd name="csY41" fmla="*/ 171260 h 2092038"/>
              <a:gd name="csX42" fmla="*/ 601503 w 733006"/>
              <a:gd name="csY42" fmla="*/ 163707 h 2092038"/>
              <a:gd name="csX43" fmla="*/ 625254 w 733006"/>
              <a:gd name="csY43" fmla="*/ 163123 h 2092038"/>
              <a:gd name="csX44" fmla="*/ 625468 w 733006"/>
              <a:gd name="csY44" fmla="*/ 187579 h 2092038"/>
              <a:gd name="csX45" fmla="*/ 597543 w 733006"/>
              <a:gd name="csY45" fmla="*/ 251872 h 2092038"/>
              <a:gd name="csX46" fmla="*/ 531831 w 733006"/>
              <a:gd name="csY46" fmla="*/ 442689 h 2092038"/>
              <a:gd name="csX47" fmla="*/ 519888 w 733006"/>
              <a:gd name="csY47" fmla="*/ 501474 h 2092038"/>
              <a:gd name="csX48" fmla="*/ 522506 w 733006"/>
              <a:gd name="csY48" fmla="*/ 525086 h 2092038"/>
              <a:gd name="csX49" fmla="*/ 516235 w 733006"/>
              <a:gd name="csY49" fmla="*/ 555946 h 2092038"/>
              <a:gd name="csX50" fmla="*/ 521332 w 733006"/>
              <a:gd name="csY50" fmla="*/ 610676 h 2092038"/>
              <a:gd name="csX51" fmla="*/ 541382 w 733006"/>
              <a:gd name="csY51" fmla="*/ 642597 h 2092038"/>
              <a:gd name="csX52" fmla="*/ 557031 w 733006"/>
              <a:gd name="csY52" fmla="*/ 667949 h 2092038"/>
              <a:gd name="csX53" fmla="*/ 553994 w 733006"/>
              <a:gd name="csY53" fmla="*/ 744146 h 2092038"/>
              <a:gd name="csX54" fmla="*/ 508215 w 733006"/>
              <a:gd name="csY54" fmla="*/ 758841 h 2092038"/>
              <a:gd name="csX55" fmla="*/ 497442 w 733006"/>
              <a:gd name="csY55" fmla="*/ 771256 h 2092038"/>
              <a:gd name="csX56" fmla="*/ 493005 w 733006"/>
              <a:gd name="csY56" fmla="*/ 922055 h 2092038"/>
              <a:gd name="csX57" fmla="*/ 502900 w 733006"/>
              <a:gd name="csY57" fmla="*/ 1114191 h 2092038"/>
              <a:gd name="csX58" fmla="*/ 508800 w 733006"/>
              <a:gd name="csY58" fmla="*/ 1205474 h 2092038"/>
              <a:gd name="csX59" fmla="*/ 522952 w 733006"/>
              <a:gd name="csY59" fmla="*/ 1320065 h 2092038"/>
              <a:gd name="csX60" fmla="*/ 554682 w 733006"/>
              <a:gd name="csY60" fmla="*/ 1501203 h 2092038"/>
              <a:gd name="csX61" fmla="*/ 576958 w 733006"/>
              <a:gd name="csY61" fmla="*/ 1593963 h 2092038"/>
              <a:gd name="csX62" fmla="*/ 595349 w 733006"/>
              <a:gd name="csY62" fmla="*/ 1613498 h 2092038"/>
              <a:gd name="csX63" fmla="*/ 613936 w 733006"/>
              <a:gd name="csY63" fmla="*/ 1624058 h 2092038"/>
              <a:gd name="csX64" fmla="*/ 620938 w 733006"/>
              <a:gd name="csY64" fmla="*/ 1652071 h 2092038"/>
              <a:gd name="csX65" fmla="*/ 630805 w 733006"/>
              <a:gd name="csY65" fmla="*/ 1721702 h 2092038"/>
              <a:gd name="csX66" fmla="*/ 685830 w 733006"/>
              <a:gd name="csY66" fmla="*/ 1792915 h 2092038"/>
              <a:gd name="csX67" fmla="*/ 708904 w 733006"/>
              <a:gd name="csY67" fmla="*/ 1890290 h 2092038"/>
              <a:gd name="csX68" fmla="*/ 716580 w 733006"/>
              <a:gd name="csY68" fmla="*/ 1951136 h 2092038"/>
              <a:gd name="csX69" fmla="*/ 729397 w 733006"/>
              <a:gd name="csY69" fmla="*/ 2030261 h 2092038"/>
              <a:gd name="csX70" fmla="*/ 714212 w 733006"/>
              <a:gd name="csY70" fmla="*/ 2059069 h 2092038"/>
              <a:gd name="csX71" fmla="*/ 96263 w 733006"/>
              <a:gd name="csY71" fmla="*/ 2076207 h 2092038"/>
              <a:gd name="csX72" fmla="*/ 489970 w 733006"/>
              <a:gd name="csY72" fmla="*/ 152208 h 2092038"/>
              <a:gd name="csX73" fmla="*/ 490754 w 733006"/>
              <a:gd name="csY73" fmla="*/ 152592 h 2092038"/>
              <a:gd name="csX74" fmla="*/ 489489 w 733006"/>
              <a:gd name="csY74" fmla="*/ 149547 h 2092038"/>
              <a:gd name="csX75" fmla="*/ 393621 w 733006"/>
              <a:gd name="csY75" fmla="*/ 99259 h 2092038"/>
              <a:gd name="csX76" fmla="*/ 390419 w 733006"/>
              <a:gd name="csY76" fmla="*/ 18568 h 2092038"/>
              <a:gd name="csX77" fmla="*/ 334131 w 733006"/>
              <a:gd name="csY77" fmla="*/ 24327 h 2092038"/>
              <a:gd name="csX78" fmla="*/ 344678 w 733006"/>
              <a:gd name="csY78" fmla="*/ 101259 h 2092038"/>
              <a:gd name="csX79" fmla="*/ 298854 w 733006"/>
              <a:gd name="csY79" fmla="*/ 114003 h 2092038"/>
              <a:gd name="csX80" fmla="*/ 237456 w 733006"/>
              <a:gd name="csY80" fmla="*/ 154340 h 2092038"/>
              <a:gd name="csX81" fmla="*/ 240382 w 733006"/>
              <a:gd name="csY81" fmla="*/ 154035 h 2092038"/>
              <a:gd name="csX82" fmla="*/ 262731 w 733006"/>
              <a:gd name="csY82" fmla="*/ 170426 h 2092038"/>
              <a:gd name="csX83" fmla="*/ 279169 w 733006"/>
              <a:gd name="csY83" fmla="*/ 193173 h 2092038"/>
              <a:gd name="csX84" fmla="*/ 327717 w 733006"/>
              <a:gd name="csY84" fmla="*/ 188556 h 2092038"/>
              <a:gd name="csX85" fmla="*/ 348052 w 733006"/>
              <a:gd name="csY85" fmla="*/ 156919 h 2092038"/>
              <a:gd name="csX86" fmla="*/ 380330 w 733006"/>
              <a:gd name="csY86" fmla="*/ 156483 h 2092038"/>
              <a:gd name="csX87" fmla="*/ 408490 w 733006"/>
              <a:gd name="csY87" fmla="*/ 195400 h 2092038"/>
              <a:gd name="csX88" fmla="*/ 445346 w 733006"/>
              <a:gd name="csY88" fmla="*/ 197582 h 2092038"/>
              <a:gd name="csX89" fmla="*/ 464798 w 733006"/>
              <a:gd name="csY89" fmla="*/ 174107 h 2092038"/>
              <a:gd name="csX90" fmla="*/ 489970 w 733006"/>
              <a:gd name="csY90" fmla="*/ 152208 h 2092038"/>
              <a:gd name="csX91" fmla="*/ 140694 w 733006"/>
              <a:gd name="csY91" fmla="*/ 201837 h 2092038"/>
              <a:gd name="csX92" fmla="*/ 139834 w 733006"/>
              <a:gd name="csY92" fmla="*/ 201482 h 2092038"/>
              <a:gd name="csX93" fmla="*/ 140812 w 733006"/>
              <a:gd name="csY93" fmla="*/ 204941 h 2092038"/>
              <a:gd name="csX94" fmla="*/ 144631 w 733006"/>
              <a:gd name="csY94" fmla="*/ 217811 h 2092038"/>
              <a:gd name="csX95" fmla="*/ 201241 w 733006"/>
              <a:gd name="csY95" fmla="*/ 373387 h 2092038"/>
              <a:gd name="csX96" fmla="*/ 235971 w 733006"/>
              <a:gd name="csY96" fmla="*/ 504451 h 2092038"/>
              <a:gd name="csX97" fmla="*/ 247475 w 733006"/>
              <a:gd name="csY97" fmla="*/ 513241 h 2092038"/>
              <a:gd name="csX98" fmla="*/ 289066 w 733006"/>
              <a:gd name="csY98" fmla="*/ 511170 h 2092038"/>
              <a:gd name="csX99" fmla="*/ 378229 w 733006"/>
              <a:gd name="csY99" fmla="*/ 511084 h 2092038"/>
              <a:gd name="csX100" fmla="*/ 470850 w 733006"/>
              <a:gd name="csY100" fmla="*/ 516341 h 2092038"/>
              <a:gd name="csX101" fmla="*/ 492933 w 733006"/>
              <a:gd name="csY101" fmla="*/ 497969 h 2092038"/>
              <a:gd name="csX102" fmla="*/ 557617 w 733006"/>
              <a:gd name="csY102" fmla="*/ 280398 h 2092038"/>
              <a:gd name="csX103" fmla="*/ 588788 w 733006"/>
              <a:gd name="csY103" fmla="*/ 200385 h 2092038"/>
              <a:gd name="csX104" fmla="*/ 530958 w 733006"/>
              <a:gd name="csY104" fmla="*/ 232968 h 2092038"/>
              <a:gd name="csX105" fmla="*/ 483823 w 733006"/>
              <a:gd name="csY105" fmla="*/ 190364 h 2092038"/>
              <a:gd name="csX106" fmla="*/ 466649 w 733006"/>
              <a:gd name="csY106" fmla="*/ 209061 h 2092038"/>
              <a:gd name="csX107" fmla="*/ 399941 w 733006"/>
              <a:gd name="csY107" fmla="*/ 216988 h 2092038"/>
              <a:gd name="csX108" fmla="*/ 363018 w 733006"/>
              <a:gd name="csY108" fmla="*/ 179615 h 2092038"/>
              <a:gd name="csX109" fmla="*/ 308839 w 733006"/>
              <a:gd name="csY109" fmla="*/ 227846 h 2092038"/>
              <a:gd name="csX110" fmla="*/ 245077 w 733006"/>
              <a:gd name="csY110" fmla="*/ 192402 h 2092038"/>
              <a:gd name="csX111" fmla="*/ 242829 w 733006"/>
              <a:gd name="csY111" fmla="*/ 198815 h 2092038"/>
              <a:gd name="csX112" fmla="*/ 168452 w 733006"/>
              <a:gd name="csY112" fmla="*/ 219348 h 2092038"/>
              <a:gd name="csX113" fmla="*/ 140694 w 733006"/>
              <a:gd name="csY113" fmla="*/ 201837 h 2092038"/>
              <a:gd name="csX114" fmla="*/ 259999 w 733006"/>
              <a:gd name="csY114" fmla="*/ 966699 h 2092038"/>
              <a:gd name="csX115" fmla="*/ 257072 w 733006"/>
              <a:gd name="csY115" fmla="*/ 1070424 h 2092038"/>
              <a:gd name="csX116" fmla="*/ 251372 w 733006"/>
              <a:gd name="csY116" fmla="*/ 1157618 h 2092038"/>
              <a:gd name="csX117" fmla="*/ 232677 w 733006"/>
              <a:gd name="csY117" fmla="*/ 1320279 h 2092038"/>
              <a:gd name="csX118" fmla="*/ 209182 w 733006"/>
              <a:gd name="csY118" fmla="*/ 1468667 h 2092038"/>
              <a:gd name="csX119" fmla="*/ 175302 w 733006"/>
              <a:gd name="csY119" fmla="*/ 1616623 h 2092038"/>
              <a:gd name="csX120" fmla="*/ 182769 w 733006"/>
              <a:gd name="csY120" fmla="*/ 1629786 h 2092038"/>
              <a:gd name="csX121" fmla="*/ 212156 w 733006"/>
              <a:gd name="csY121" fmla="*/ 1632656 h 2092038"/>
              <a:gd name="csX122" fmla="*/ 351295 w 733006"/>
              <a:gd name="csY122" fmla="*/ 1632801 h 2092038"/>
              <a:gd name="csX123" fmla="*/ 376150 w 733006"/>
              <a:gd name="csY123" fmla="*/ 1608307 h 2092038"/>
              <a:gd name="csX124" fmla="*/ 373450 w 733006"/>
              <a:gd name="csY124" fmla="*/ 1457291 h 2092038"/>
              <a:gd name="csX125" fmla="*/ 370936 w 733006"/>
              <a:gd name="csY125" fmla="*/ 1342736 h 2092038"/>
              <a:gd name="csX126" fmla="*/ 368328 w 733006"/>
              <a:gd name="csY126" fmla="*/ 1203878 h 2092038"/>
              <a:gd name="csX127" fmla="*/ 367836 w 733006"/>
              <a:gd name="csY127" fmla="*/ 813478 h 2092038"/>
              <a:gd name="csX128" fmla="*/ 365240 w 733006"/>
              <a:gd name="csY128" fmla="*/ 773243 h 2092038"/>
              <a:gd name="csX129" fmla="*/ 353084 w 733006"/>
              <a:gd name="csY129" fmla="*/ 762083 h 2092038"/>
              <a:gd name="csX130" fmla="*/ 280966 w 733006"/>
              <a:gd name="csY130" fmla="*/ 759855 h 2092038"/>
              <a:gd name="csX131" fmla="*/ 259965 w 733006"/>
              <a:gd name="csY131" fmla="*/ 779553 h 2092038"/>
              <a:gd name="csX132" fmla="*/ 262341 w 733006"/>
              <a:gd name="csY132" fmla="*/ 856275 h 2092038"/>
              <a:gd name="csX133" fmla="*/ 259999 w 733006"/>
              <a:gd name="csY133" fmla="*/ 966699 h 2092038"/>
              <a:gd name="csX134" fmla="*/ 55556 w 733006"/>
              <a:gd name="csY134" fmla="*/ 1835827 h 2092038"/>
              <a:gd name="csX135" fmla="*/ 49393 w 733006"/>
              <a:gd name="csY135" fmla="*/ 1878155 h 2092038"/>
              <a:gd name="csX136" fmla="*/ 73949 w 733006"/>
              <a:gd name="csY136" fmla="*/ 1905781 h 2092038"/>
              <a:gd name="csX137" fmla="*/ 110073 w 733006"/>
              <a:gd name="csY137" fmla="*/ 1909068 h 2092038"/>
              <a:gd name="csX138" fmla="*/ 224745 w 733006"/>
              <a:gd name="csY138" fmla="*/ 1921652 h 2092038"/>
              <a:gd name="csX139" fmla="*/ 347327 w 733006"/>
              <a:gd name="csY139" fmla="*/ 1924778 h 2092038"/>
              <a:gd name="csX140" fmla="*/ 363345 w 733006"/>
              <a:gd name="csY140" fmla="*/ 1923293 h 2092038"/>
              <a:gd name="csX141" fmla="*/ 373787 w 733006"/>
              <a:gd name="csY141" fmla="*/ 1911200 h 2092038"/>
              <a:gd name="csX142" fmla="*/ 376623 w 733006"/>
              <a:gd name="csY142" fmla="*/ 1696741 h 2092038"/>
              <a:gd name="csX143" fmla="*/ 360437 w 733006"/>
              <a:gd name="csY143" fmla="*/ 1681289 h 2092038"/>
              <a:gd name="csX144" fmla="*/ 263503 w 733006"/>
              <a:gd name="csY144" fmla="*/ 1678179 h 2092038"/>
              <a:gd name="csX145" fmla="*/ 160381 w 733006"/>
              <a:gd name="csY145" fmla="*/ 1670405 h 2092038"/>
              <a:gd name="csX146" fmla="*/ 143321 w 733006"/>
              <a:gd name="csY146" fmla="*/ 1685538 h 2092038"/>
              <a:gd name="csX147" fmla="*/ 124769 w 733006"/>
              <a:gd name="csY147" fmla="*/ 1738195 h 2092038"/>
              <a:gd name="csX148" fmla="*/ 90593 w 733006"/>
              <a:gd name="csY148" fmla="*/ 1779570 h 2092038"/>
              <a:gd name="csX149" fmla="*/ 55556 w 733006"/>
              <a:gd name="csY149" fmla="*/ 1835827 h 2092038"/>
              <a:gd name="csX150" fmla="*/ 378900 w 733006"/>
              <a:gd name="csY150" fmla="*/ 2007280 h 2092038"/>
              <a:gd name="csX151" fmla="*/ 378887 w 733006"/>
              <a:gd name="csY151" fmla="*/ 1995127 h 2092038"/>
              <a:gd name="csX152" fmla="*/ 359084 w 733006"/>
              <a:gd name="csY152" fmla="*/ 1975964 h 2092038"/>
              <a:gd name="csX153" fmla="*/ 247288 w 733006"/>
              <a:gd name="csY153" fmla="*/ 1973305 h 2092038"/>
              <a:gd name="csX154" fmla="*/ 201692 w 733006"/>
              <a:gd name="csY154" fmla="*/ 1970275 h 2092038"/>
              <a:gd name="csX155" fmla="*/ 57962 w 733006"/>
              <a:gd name="csY155" fmla="*/ 1952648 h 2092038"/>
              <a:gd name="csX156" fmla="*/ 39194 w 733006"/>
              <a:gd name="csY156" fmla="*/ 1963552 h 2092038"/>
              <a:gd name="csX157" fmla="*/ 30066 w 733006"/>
              <a:gd name="csY157" fmla="*/ 2006631 h 2092038"/>
              <a:gd name="csX158" fmla="*/ 40232 w 733006"/>
              <a:gd name="csY158" fmla="*/ 2019486 h 2092038"/>
              <a:gd name="csX159" fmla="*/ 238186 w 733006"/>
              <a:gd name="csY159" fmla="*/ 2046096 h 2092038"/>
              <a:gd name="csX160" fmla="*/ 342155 w 733006"/>
              <a:gd name="csY160" fmla="*/ 2046441 h 2092038"/>
              <a:gd name="csX161" fmla="*/ 378900 w 733006"/>
              <a:gd name="csY161" fmla="*/ 2007280 h 2092038"/>
              <a:gd name="csX162" fmla="*/ 310220 w 733006"/>
              <a:gd name="csY162" fmla="*/ 554288 h 2092038"/>
              <a:gd name="csX163" fmla="*/ 259136 w 733006"/>
              <a:gd name="csY163" fmla="*/ 556881 h 2092038"/>
              <a:gd name="csX164" fmla="*/ 249085 w 733006"/>
              <a:gd name="csY164" fmla="*/ 567981 h 2092038"/>
              <a:gd name="csX165" fmla="*/ 249141 w 733006"/>
              <a:gd name="csY165" fmla="*/ 605644 h 2092038"/>
              <a:gd name="csX166" fmla="*/ 262628 w 733006"/>
              <a:gd name="csY166" fmla="*/ 605627 h 2092038"/>
              <a:gd name="csX167" fmla="*/ 369608 w 733006"/>
              <a:gd name="csY167" fmla="*/ 603027 h 2092038"/>
              <a:gd name="csX168" fmla="*/ 463931 w 733006"/>
              <a:gd name="csY168" fmla="*/ 605146 h 2092038"/>
              <a:gd name="csX169" fmla="*/ 478113 w 733006"/>
              <a:gd name="csY169" fmla="*/ 595843 h 2092038"/>
              <a:gd name="csX170" fmla="*/ 478796 w 733006"/>
              <a:gd name="csY170" fmla="*/ 556832 h 2092038"/>
              <a:gd name="csX171" fmla="*/ 310220 w 733006"/>
              <a:gd name="csY171" fmla="*/ 554288 h 2092038"/>
              <a:gd name="csX172" fmla="*/ 348836 w 733006"/>
              <a:gd name="csY172" fmla="*/ 684115 h 2092038"/>
              <a:gd name="csX173" fmla="*/ 281333 w 733006"/>
              <a:gd name="csY173" fmla="*/ 683313 h 2092038"/>
              <a:gd name="csX174" fmla="*/ 212728 w 733006"/>
              <a:gd name="csY174" fmla="*/ 681931 h 2092038"/>
              <a:gd name="csX175" fmla="*/ 187283 w 733006"/>
              <a:gd name="csY175" fmla="*/ 689555 h 2092038"/>
              <a:gd name="csX176" fmla="*/ 186163 w 733006"/>
              <a:gd name="csY176" fmla="*/ 718266 h 2092038"/>
              <a:gd name="csX177" fmla="*/ 209894 w 733006"/>
              <a:gd name="csY177" fmla="*/ 726798 h 2092038"/>
              <a:gd name="csX178" fmla="*/ 334814 w 733006"/>
              <a:gd name="csY178" fmla="*/ 732494 h 2092038"/>
              <a:gd name="csX179" fmla="*/ 364856 w 733006"/>
              <a:gd name="csY179" fmla="*/ 707963 h 2092038"/>
              <a:gd name="csX180" fmla="*/ 348836 w 733006"/>
              <a:gd name="csY180" fmla="*/ 684115 h 2092038"/>
              <a:gd name="csX181" fmla="*/ 298865 w 733006"/>
              <a:gd name="csY181" fmla="*/ 621954 h 2092038"/>
              <a:gd name="csX182" fmla="*/ 251619 w 733006"/>
              <a:gd name="csY182" fmla="*/ 622133 h 2092038"/>
              <a:gd name="csX183" fmla="*/ 214459 w 733006"/>
              <a:gd name="csY183" fmla="*/ 636230 h 2092038"/>
              <a:gd name="csX184" fmla="*/ 221436 w 733006"/>
              <a:gd name="csY184" fmla="*/ 654205 h 2092038"/>
              <a:gd name="csX185" fmla="*/ 272412 w 733006"/>
              <a:gd name="csY185" fmla="*/ 657250 h 2092038"/>
              <a:gd name="csX186" fmla="*/ 349094 w 733006"/>
              <a:gd name="csY186" fmla="*/ 659282 h 2092038"/>
              <a:gd name="csX187" fmla="*/ 362996 w 733006"/>
              <a:gd name="csY187" fmla="*/ 644234 h 2092038"/>
              <a:gd name="csX188" fmla="*/ 348472 w 733006"/>
              <a:gd name="csY188" fmla="*/ 624649 h 2092038"/>
              <a:gd name="csX189" fmla="*/ 298865 w 733006"/>
              <a:gd name="csY189" fmla="*/ 621954 h 2092038"/>
              <a:gd name="csX190" fmla="*/ 227796 w 733006"/>
              <a:gd name="csY190" fmla="*/ 528000 h 2092038"/>
              <a:gd name="csX191" fmla="*/ 241009 w 733006"/>
              <a:gd name="csY191" fmla="*/ 545897 h 2092038"/>
              <a:gd name="csX192" fmla="*/ 282607 w 733006"/>
              <a:gd name="csY192" fmla="*/ 543480 h 2092038"/>
              <a:gd name="csX193" fmla="*/ 354213 w 733006"/>
              <a:gd name="csY193" fmla="*/ 543384 h 2092038"/>
              <a:gd name="csX194" fmla="*/ 365334 w 733006"/>
              <a:gd name="csY194" fmla="*/ 533397 h 2092038"/>
              <a:gd name="csX195" fmla="*/ 354531 w 733006"/>
              <a:gd name="csY195" fmla="*/ 521620 h 2092038"/>
              <a:gd name="csX196" fmla="*/ 259169 w 733006"/>
              <a:gd name="csY196" fmla="*/ 521978 h 2092038"/>
              <a:gd name="csX197" fmla="*/ 227796 w 733006"/>
              <a:gd name="csY197" fmla="*/ 528000 h 2092038"/>
              <a:gd name="csX198" fmla="*/ 508068 w 733006"/>
              <a:gd name="csY198" fmla="*/ 190710 h 2092038"/>
              <a:gd name="csX199" fmla="*/ 521293 w 733006"/>
              <a:gd name="csY199" fmla="*/ 205907 h 2092038"/>
              <a:gd name="csX200" fmla="*/ 525175 w 733006"/>
              <a:gd name="csY200" fmla="*/ 202985 h 2092038"/>
              <a:gd name="csX201" fmla="*/ 500276 w 733006"/>
              <a:gd name="csY201" fmla="*/ 160640 h 2092038"/>
              <a:gd name="csX202" fmla="*/ 497122 w 733006"/>
              <a:gd name="csY202" fmla="*/ 162007 h 2092038"/>
              <a:gd name="csX203" fmla="*/ 508068 w 733006"/>
              <a:gd name="csY203" fmla="*/ 190710 h 2092038"/>
              <a:gd name="csX204" fmla="*/ 215522 w 733006"/>
              <a:gd name="csY204" fmla="*/ 197296 h 2092038"/>
              <a:gd name="csX205" fmla="*/ 234029 w 733006"/>
              <a:gd name="csY205" fmla="*/ 162725 h 2092038"/>
              <a:gd name="csX206" fmla="*/ 229000 w 733006"/>
              <a:gd name="csY206" fmla="*/ 159902 h 2092038"/>
              <a:gd name="csX207" fmla="*/ 204824 w 733006"/>
              <a:gd name="csY207" fmla="*/ 199677 h 2092038"/>
              <a:gd name="csX208" fmla="*/ 207990 w 733006"/>
              <a:gd name="csY208" fmla="*/ 202198 h 2092038"/>
              <a:gd name="csX209" fmla="*/ 215522 w 733006"/>
              <a:gd name="csY209" fmla="*/ 197296 h 2092038"/>
              <a:gd name="csX210" fmla="*/ 484400 w 733006"/>
              <a:gd name="csY210" fmla="*/ 896678 h 2092038"/>
              <a:gd name="csX211" fmla="*/ 486181 w 733006"/>
              <a:gd name="csY211" fmla="*/ 896585 h 2092038"/>
              <a:gd name="csX212" fmla="*/ 486181 w 733006"/>
              <a:gd name="csY212" fmla="*/ 795289 h 2092038"/>
              <a:gd name="csX0" fmla="*/ 96263 w 733006"/>
              <a:gd name="csY0" fmla="*/ 2076207 h 2092038"/>
              <a:gd name="csX1" fmla="*/ 63862 w 733006"/>
              <a:gd name="csY1" fmla="*/ 2065388 h 2092038"/>
              <a:gd name="csX2" fmla="*/ 16555 w 733006"/>
              <a:gd name="csY2" fmla="*/ 2050152 h 2092038"/>
              <a:gd name="csX3" fmla="*/ 15 w 733006"/>
              <a:gd name="csY3" fmla="*/ 2023802 h 2092038"/>
              <a:gd name="csX4" fmla="*/ 18368 w 733006"/>
              <a:gd name="csY4" fmla="*/ 1940709 h 2092038"/>
              <a:gd name="csX5" fmla="*/ 22139 w 733006"/>
              <a:gd name="csY5" fmla="*/ 1907268 h 2092038"/>
              <a:gd name="csX6" fmla="*/ 57941 w 733006"/>
              <a:gd name="csY6" fmla="*/ 1774163 h 2092038"/>
              <a:gd name="csX7" fmla="*/ 102478 w 733006"/>
              <a:gd name="csY7" fmla="*/ 1720275 h 2092038"/>
              <a:gd name="csX8" fmla="*/ 108579 w 733006"/>
              <a:gd name="csY8" fmla="*/ 1650967 h 2092038"/>
              <a:gd name="csX9" fmla="*/ 115628 w 733006"/>
              <a:gd name="csY9" fmla="*/ 1625405 h 2092038"/>
              <a:gd name="csX10" fmla="*/ 156323 w 733006"/>
              <a:gd name="csY10" fmla="*/ 1560181 h 2092038"/>
              <a:gd name="csX11" fmla="*/ 199424 w 733006"/>
              <a:gd name="csY11" fmla="*/ 1364729 h 2092038"/>
              <a:gd name="csX12" fmla="*/ 216779 w 733006"/>
              <a:gd name="csY12" fmla="*/ 1219490 h 2092038"/>
              <a:gd name="csX13" fmla="*/ 229755 w 733006"/>
              <a:gd name="csY13" fmla="*/ 1099357 h 2092038"/>
              <a:gd name="csX14" fmla="*/ 232707 w 733006"/>
              <a:gd name="csY14" fmla="*/ 1056423 h 2092038"/>
              <a:gd name="csX15" fmla="*/ 235622 w 733006"/>
              <a:gd name="csY15" fmla="*/ 952675 h 2092038"/>
              <a:gd name="csX16" fmla="*/ 235445 w 733006"/>
              <a:gd name="csY16" fmla="*/ 780278 h 2092038"/>
              <a:gd name="csX17" fmla="*/ 214544 w 733006"/>
              <a:gd name="csY17" fmla="*/ 756435 h 2092038"/>
              <a:gd name="csX18" fmla="*/ 172569 w 733006"/>
              <a:gd name="csY18" fmla="*/ 742582 h 2092038"/>
              <a:gd name="csX19" fmla="*/ 168784 w 733006"/>
              <a:gd name="csY19" fmla="*/ 669116 h 2092038"/>
              <a:gd name="csX20" fmla="*/ 191657 w 733006"/>
              <a:gd name="csY20" fmla="*/ 630765 h 2092038"/>
              <a:gd name="csX21" fmla="*/ 208150 w 733006"/>
              <a:gd name="csY21" fmla="*/ 609084 h 2092038"/>
              <a:gd name="csX22" fmla="*/ 216756 w 733006"/>
              <a:gd name="csY22" fmla="*/ 558673 h 2092038"/>
              <a:gd name="csX23" fmla="*/ 209092 w 733006"/>
              <a:gd name="csY23" fmla="*/ 521540 h 2092038"/>
              <a:gd name="csX24" fmla="*/ 204683 w 733006"/>
              <a:gd name="csY24" fmla="*/ 474024 h 2092038"/>
              <a:gd name="csX25" fmla="*/ 115483 w 733006"/>
              <a:gd name="csY25" fmla="*/ 213499 h 2092038"/>
              <a:gd name="csX26" fmla="*/ 102909 w 733006"/>
              <a:gd name="csY26" fmla="*/ 182297 h 2092038"/>
              <a:gd name="csX27" fmla="*/ 104315 w 733006"/>
              <a:gd name="csY27" fmla="*/ 163968 h 2092038"/>
              <a:gd name="csX28" fmla="*/ 122444 w 733006"/>
              <a:gd name="csY28" fmla="*/ 160805 h 2092038"/>
              <a:gd name="csX29" fmla="*/ 170283 w 733006"/>
              <a:gd name="csY29" fmla="*/ 187783 h 2092038"/>
              <a:gd name="csX30" fmla="*/ 180938 w 733006"/>
              <a:gd name="csY30" fmla="*/ 195322 h 2092038"/>
              <a:gd name="csX31" fmla="*/ 221419 w 733006"/>
              <a:gd name="csY31" fmla="*/ 138058 h 2092038"/>
              <a:gd name="csX32" fmla="*/ 294099 w 733006"/>
              <a:gd name="csY32" fmla="*/ 91372 h 2092038"/>
              <a:gd name="csX33" fmla="*/ 302307 w 733006"/>
              <a:gd name="csY33" fmla="*/ 76560 h 2092038"/>
              <a:gd name="csX34" fmla="*/ 320284 w 733006"/>
              <a:gd name="csY34" fmla="*/ 8414 h 2092038"/>
              <a:gd name="csX35" fmla="*/ 324784 w 733006"/>
              <a:gd name="csY35" fmla="*/ 946 h 2092038"/>
              <a:gd name="csX36" fmla="*/ 399212 w 733006"/>
              <a:gd name="csY36" fmla="*/ 0 h 2092038"/>
              <a:gd name="csX37" fmla="*/ 425980 w 733006"/>
              <a:gd name="csY37" fmla="*/ 78301 h 2092038"/>
              <a:gd name="csX38" fmla="*/ 431861 w 733006"/>
              <a:gd name="csY38" fmla="*/ 90312 h 2092038"/>
              <a:gd name="csX39" fmla="*/ 540349 w 733006"/>
              <a:gd name="csY39" fmla="*/ 187946 h 2092038"/>
              <a:gd name="csX40" fmla="*/ 545555 w 733006"/>
              <a:gd name="csY40" fmla="*/ 197828 h 2092038"/>
              <a:gd name="csX41" fmla="*/ 587318 w 733006"/>
              <a:gd name="csY41" fmla="*/ 171260 h 2092038"/>
              <a:gd name="csX42" fmla="*/ 601503 w 733006"/>
              <a:gd name="csY42" fmla="*/ 163707 h 2092038"/>
              <a:gd name="csX43" fmla="*/ 625254 w 733006"/>
              <a:gd name="csY43" fmla="*/ 163123 h 2092038"/>
              <a:gd name="csX44" fmla="*/ 625468 w 733006"/>
              <a:gd name="csY44" fmla="*/ 187579 h 2092038"/>
              <a:gd name="csX45" fmla="*/ 597543 w 733006"/>
              <a:gd name="csY45" fmla="*/ 251872 h 2092038"/>
              <a:gd name="csX46" fmla="*/ 531831 w 733006"/>
              <a:gd name="csY46" fmla="*/ 442689 h 2092038"/>
              <a:gd name="csX47" fmla="*/ 519888 w 733006"/>
              <a:gd name="csY47" fmla="*/ 501474 h 2092038"/>
              <a:gd name="csX48" fmla="*/ 522506 w 733006"/>
              <a:gd name="csY48" fmla="*/ 525086 h 2092038"/>
              <a:gd name="csX49" fmla="*/ 516235 w 733006"/>
              <a:gd name="csY49" fmla="*/ 555946 h 2092038"/>
              <a:gd name="csX50" fmla="*/ 521332 w 733006"/>
              <a:gd name="csY50" fmla="*/ 610676 h 2092038"/>
              <a:gd name="csX51" fmla="*/ 541382 w 733006"/>
              <a:gd name="csY51" fmla="*/ 642597 h 2092038"/>
              <a:gd name="csX52" fmla="*/ 557031 w 733006"/>
              <a:gd name="csY52" fmla="*/ 667949 h 2092038"/>
              <a:gd name="csX53" fmla="*/ 553994 w 733006"/>
              <a:gd name="csY53" fmla="*/ 744146 h 2092038"/>
              <a:gd name="csX54" fmla="*/ 508215 w 733006"/>
              <a:gd name="csY54" fmla="*/ 758841 h 2092038"/>
              <a:gd name="csX55" fmla="*/ 497442 w 733006"/>
              <a:gd name="csY55" fmla="*/ 771256 h 2092038"/>
              <a:gd name="csX56" fmla="*/ 493005 w 733006"/>
              <a:gd name="csY56" fmla="*/ 922055 h 2092038"/>
              <a:gd name="csX57" fmla="*/ 502900 w 733006"/>
              <a:gd name="csY57" fmla="*/ 1114191 h 2092038"/>
              <a:gd name="csX58" fmla="*/ 508800 w 733006"/>
              <a:gd name="csY58" fmla="*/ 1205474 h 2092038"/>
              <a:gd name="csX59" fmla="*/ 522952 w 733006"/>
              <a:gd name="csY59" fmla="*/ 1320065 h 2092038"/>
              <a:gd name="csX60" fmla="*/ 554682 w 733006"/>
              <a:gd name="csY60" fmla="*/ 1501203 h 2092038"/>
              <a:gd name="csX61" fmla="*/ 576958 w 733006"/>
              <a:gd name="csY61" fmla="*/ 1593963 h 2092038"/>
              <a:gd name="csX62" fmla="*/ 595349 w 733006"/>
              <a:gd name="csY62" fmla="*/ 1613498 h 2092038"/>
              <a:gd name="csX63" fmla="*/ 613936 w 733006"/>
              <a:gd name="csY63" fmla="*/ 1624058 h 2092038"/>
              <a:gd name="csX64" fmla="*/ 620938 w 733006"/>
              <a:gd name="csY64" fmla="*/ 1652071 h 2092038"/>
              <a:gd name="csX65" fmla="*/ 630805 w 733006"/>
              <a:gd name="csY65" fmla="*/ 1721702 h 2092038"/>
              <a:gd name="csX66" fmla="*/ 685830 w 733006"/>
              <a:gd name="csY66" fmla="*/ 1792915 h 2092038"/>
              <a:gd name="csX67" fmla="*/ 708904 w 733006"/>
              <a:gd name="csY67" fmla="*/ 1890290 h 2092038"/>
              <a:gd name="csX68" fmla="*/ 716580 w 733006"/>
              <a:gd name="csY68" fmla="*/ 1951136 h 2092038"/>
              <a:gd name="csX69" fmla="*/ 729397 w 733006"/>
              <a:gd name="csY69" fmla="*/ 2030261 h 2092038"/>
              <a:gd name="csX70" fmla="*/ 714212 w 733006"/>
              <a:gd name="csY70" fmla="*/ 2059069 h 2092038"/>
              <a:gd name="csX71" fmla="*/ 96263 w 733006"/>
              <a:gd name="csY71" fmla="*/ 2076207 h 2092038"/>
              <a:gd name="csX72" fmla="*/ 489970 w 733006"/>
              <a:gd name="csY72" fmla="*/ 152208 h 2092038"/>
              <a:gd name="csX73" fmla="*/ 490754 w 733006"/>
              <a:gd name="csY73" fmla="*/ 152592 h 2092038"/>
              <a:gd name="csX74" fmla="*/ 489489 w 733006"/>
              <a:gd name="csY74" fmla="*/ 149547 h 2092038"/>
              <a:gd name="csX75" fmla="*/ 393621 w 733006"/>
              <a:gd name="csY75" fmla="*/ 99259 h 2092038"/>
              <a:gd name="csX76" fmla="*/ 390419 w 733006"/>
              <a:gd name="csY76" fmla="*/ 18568 h 2092038"/>
              <a:gd name="csX77" fmla="*/ 334131 w 733006"/>
              <a:gd name="csY77" fmla="*/ 24327 h 2092038"/>
              <a:gd name="csX78" fmla="*/ 344678 w 733006"/>
              <a:gd name="csY78" fmla="*/ 101259 h 2092038"/>
              <a:gd name="csX79" fmla="*/ 298854 w 733006"/>
              <a:gd name="csY79" fmla="*/ 114003 h 2092038"/>
              <a:gd name="csX80" fmla="*/ 237456 w 733006"/>
              <a:gd name="csY80" fmla="*/ 154340 h 2092038"/>
              <a:gd name="csX81" fmla="*/ 240382 w 733006"/>
              <a:gd name="csY81" fmla="*/ 154035 h 2092038"/>
              <a:gd name="csX82" fmla="*/ 262731 w 733006"/>
              <a:gd name="csY82" fmla="*/ 170426 h 2092038"/>
              <a:gd name="csX83" fmla="*/ 279169 w 733006"/>
              <a:gd name="csY83" fmla="*/ 193173 h 2092038"/>
              <a:gd name="csX84" fmla="*/ 327717 w 733006"/>
              <a:gd name="csY84" fmla="*/ 188556 h 2092038"/>
              <a:gd name="csX85" fmla="*/ 348052 w 733006"/>
              <a:gd name="csY85" fmla="*/ 156919 h 2092038"/>
              <a:gd name="csX86" fmla="*/ 380330 w 733006"/>
              <a:gd name="csY86" fmla="*/ 156483 h 2092038"/>
              <a:gd name="csX87" fmla="*/ 408490 w 733006"/>
              <a:gd name="csY87" fmla="*/ 195400 h 2092038"/>
              <a:gd name="csX88" fmla="*/ 445346 w 733006"/>
              <a:gd name="csY88" fmla="*/ 197582 h 2092038"/>
              <a:gd name="csX89" fmla="*/ 464798 w 733006"/>
              <a:gd name="csY89" fmla="*/ 174107 h 2092038"/>
              <a:gd name="csX90" fmla="*/ 489970 w 733006"/>
              <a:gd name="csY90" fmla="*/ 152208 h 2092038"/>
              <a:gd name="csX91" fmla="*/ 140694 w 733006"/>
              <a:gd name="csY91" fmla="*/ 201837 h 2092038"/>
              <a:gd name="csX92" fmla="*/ 139834 w 733006"/>
              <a:gd name="csY92" fmla="*/ 201482 h 2092038"/>
              <a:gd name="csX93" fmla="*/ 140812 w 733006"/>
              <a:gd name="csY93" fmla="*/ 204941 h 2092038"/>
              <a:gd name="csX94" fmla="*/ 144631 w 733006"/>
              <a:gd name="csY94" fmla="*/ 217811 h 2092038"/>
              <a:gd name="csX95" fmla="*/ 201241 w 733006"/>
              <a:gd name="csY95" fmla="*/ 373387 h 2092038"/>
              <a:gd name="csX96" fmla="*/ 235971 w 733006"/>
              <a:gd name="csY96" fmla="*/ 504451 h 2092038"/>
              <a:gd name="csX97" fmla="*/ 247475 w 733006"/>
              <a:gd name="csY97" fmla="*/ 513241 h 2092038"/>
              <a:gd name="csX98" fmla="*/ 289066 w 733006"/>
              <a:gd name="csY98" fmla="*/ 511170 h 2092038"/>
              <a:gd name="csX99" fmla="*/ 378229 w 733006"/>
              <a:gd name="csY99" fmla="*/ 511084 h 2092038"/>
              <a:gd name="csX100" fmla="*/ 470850 w 733006"/>
              <a:gd name="csY100" fmla="*/ 516341 h 2092038"/>
              <a:gd name="csX101" fmla="*/ 492933 w 733006"/>
              <a:gd name="csY101" fmla="*/ 497969 h 2092038"/>
              <a:gd name="csX102" fmla="*/ 557617 w 733006"/>
              <a:gd name="csY102" fmla="*/ 280398 h 2092038"/>
              <a:gd name="csX103" fmla="*/ 588788 w 733006"/>
              <a:gd name="csY103" fmla="*/ 200385 h 2092038"/>
              <a:gd name="csX104" fmla="*/ 530958 w 733006"/>
              <a:gd name="csY104" fmla="*/ 232968 h 2092038"/>
              <a:gd name="csX105" fmla="*/ 483823 w 733006"/>
              <a:gd name="csY105" fmla="*/ 190364 h 2092038"/>
              <a:gd name="csX106" fmla="*/ 466649 w 733006"/>
              <a:gd name="csY106" fmla="*/ 209061 h 2092038"/>
              <a:gd name="csX107" fmla="*/ 399941 w 733006"/>
              <a:gd name="csY107" fmla="*/ 216988 h 2092038"/>
              <a:gd name="csX108" fmla="*/ 363018 w 733006"/>
              <a:gd name="csY108" fmla="*/ 179615 h 2092038"/>
              <a:gd name="csX109" fmla="*/ 308839 w 733006"/>
              <a:gd name="csY109" fmla="*/ 227846 h 2092038"/>
              <a:gd name="csX110" fmla="*/ 245077 w 733006"/>
              <a:gd name="csY110" fmla="*/ 192402 h 2092038"/>
              <a:gd name="csX111" fmla="*/ 242829 w 733006"/>
              <a:gd name="csY111" fmla="*/ 198815 h 2092038"/>
              <a:gd name="csX112" fmla="*/ 168452 w 733006"/>
              <a:gd name="csY112" fmla="*/ 219348 h 2092038"/>
              <a:gd name="csX113" fmla="*/ 140694 w 733006"/>
              <a:gd name="csY113" fmla="*/ 201837 h 2092038"/>
              <a:gd name="csX114" fmla="*/ 259999 w 733006"/>
              <a:gd name="csY114" fmla="*/ 966699 h 2092038"/>
              <a:gd name="csX115" fmla="*/ 257072 w 733006"/>
              <a:gd name="csY115" fmla="*/ 1070424 h 2092038"/>
              <a:gd name="csX116" fmla="*/ 251372 w 733006"/>
              <a:gd name="csY116" fmla="*/ 1157618 h 2092038"/>
              <a:gd name="csX117" fmla="*/ 232677 w 733006"/>
              <a:gd name="csY117" fmla="*/ 1320279 h 2092038"/>
              <a:gd name="csX118" fmla="*/ 209182 w 733006"/>
              <a:gd name="csY118" fmla="*/ 1468667 h 2092038"/>
              <a:gd name="csX119" fmla="*/ 175302 w 733006"/>
              <a:gd name="csY119" fmla="*/ 1616623 h 2092038"/>
              <a:gd name="csX120" fmla="*/ 182769 w 733006"/>
              <a:gd name="csY120" fmla="*/ 1629786 h 2092038"/>
              <a:gd name="csX121" fmla="*/ 212156 w 733006"/>
              <a:gd name="csY121" fmla="*/ 1632656 h 2092038"/>
              <a:gd name="csX122" fmla="*/ 351295 w 733006"/>
              <a:gd name="csY122" fmla="*/ 1632801 h 2092038"/>
              <a:gd name="csX123" fmla="*/ 376150 w 733006"/>
              <a:gd name="csY123" fmla="*/ 1608307 h 2092038"/>
              <a:gd name="csX124" fmla="*/ 373450 w 733006"/>
              <a:gd name="csY124" fmla="*/ 1457291 h 2092038"/>
              <a:gd name="csX125" fmla="*/ 370936 w 733006"/>
              <a:gd name="csY125" fmla="*/ 1342736 h 2092038"/>
              <a:gd name="csX126" fmla="*/ 368328 w 733006"/>
              <a:gd name="csY126" fmla="*/ 1203878 h 2092038"/>
              <a:gd name="csX127" fmla="*/ 367836 w 733006"/>
              <a:gd name="csY127" fmla="*/ 813478 h 2092038"/>
              <a:gd name="csX128" fmla="*/ 365240 w 733006"/>
              <a:gd name="csY128" fmla="*/ 773243 h 2092038"/>
              <a:gd name="csX129" fmla="*/ 353084 w 733006"/>
              <a:gd name="csY129" fmla="*/ 762083 h 2092038"/>
              <a:gd name="csX130" fmla="*/ 280966 w 733006"/>
              <a:gd name="csY130" fmla="*/ 759855 h 2092038"/>
              <a:gd name="csX131" fmla="*/ 259965 w 733006"/>
              <a:gd name="csY131" fmla="*/ 779553 h 2092038"/>
              <a:gd name="csX132" fmla="*/ 262341 w 733006"/>
              <a:gd name="csY132" fmla="*/ 856275 h 2092038"/>
              <a:gd name="csX133" fmla="*/ 259999 w 733006"/>
              <a:gd name="csY133" fmla="*/ 966699 h 2092038"/>
              <a:gd name="csX134" fmla="*/ 55556 w 733006"/>
              <a:gd name="csY134" fmla="*/ 1835827 h 2092038"/>
              <a:gd name="csX135" fmla="*/ 49393 w 733006"/>
              <a:gd name="csY135" fmla="*/ 1878155 h 2092038"/>
              <a:gd name="csX136" fmla="*/ 73949 w 733006"/>
              <a:gd name="csY136" fmla="*/ 1905781 h 2092038"/>
              <a:gd name="csX137" fmla="*/ 110073 w 733006"/>
              <a:gd name="csY137" fmla="*/ 1909068 h 2092038"/>
              <a:gd name="csX138" fmla="*/ 224745 w 733006"/>
              <a:gd name="csY138" fmla="*/ 1921652 h 2092038"/>
              <a:gd name="csX139" fmla="*/ 347327 w 733006"/>
              <a:gd name="csY139" fmla="*/ 1924778 h 2092038"/>
              <a:gd name="csX140" fmla="*/ 363345 w 733006"/>
              <a:gd name="csY140" fmla="*/ 1923293 h 2092038"/>
              <a:gd name="csX141" fmla="*/ 373787 w 733006"/>
              <a:gd name="csY141" fmla="*/ 1911200 h 2092038"/>
              <a:gd name="csX142" fmla="*/ 376623 w 733006"/>
              <a:gd name="csY142" fmla="*/ 1696741 h 2092038"/>
              <a:gd name="csX143" fmla="*/ 360437 w 733006"/>
              <a:gd name="csY143" fmla="*/ 1681289 h 2092038"/>
              <a:gd name="csX144" fmla="*/ 263503 w 733006"/>
              <a:gd name="csY144" fmla="*/ 1678179 h 2092038"/>
              <a:gd name="csX145" fmla="*/ 160381 w 733006"/>
              <a:gd name="csY145" fmla="*/ 1670405 h 2092038"/>
              <a:gd name="csX146" fmla="*/ 143321 w 733006"/>
              <a:gd name="csY146" fmla="*/ 1685538 h 2092038"/>
              <a:gd name="csX147" fmla="*/ 124769 w 733006"/>
              <a:gd name="csY147" fmla="*/ 1738195 h 2092038"/>
              <a:gd name="csX148" fmla="*/ 90593 w 733006"/>
              <a:gd name="csY148" fmla="*/ 1779570 h 2092038"/>
              <a:gd name="csX149" fmla="*/ 55556 w 733006"/>
              <a:gd name="csY149" fmla="*/ 1835827 h 2092038"/>
              <a:gd name="csX150" fmla="*/ 378900 w 733006"/>
              <a:gd name="csY150" fmla="*/ 2007280 h 2092038"/>
              <a:gd name="csX151" fmla="*/ 378887 w 733006"/>
              <a:gd name="csY151" fmla="*/ 1995127 h 2092038"/>
              <a:gd name="csX152" fmla="*/ 359084 w 733006"/>
              <a:gd name="csY152" fmla="*/ 1975964 h 2092038"/>
              <a:gd name="csX153" fmla="*/ 247288 w 733006"/>
              <a:gd name="csY153" fmla="*/ 1973305 h 2092038"/>
              <a:gd name="csX154" fmla="*/ 201692 w 733006"/>
              <a:gd name="csY154" fmla="*/ 1970275 h 2092038"/>
              <a:gd name="csX155" fmla="*/ 57962 w 733006"/>
              <a:gd name="csY155" fmla="*/ 1952648 h 2092038"/>
              <a:gd name="csX156" fmla="*/ 39194 w 733006"/>
              <a:gd name="csY156" fmla="*/ 1963552 h 2092038"/>
              <a:gd name="csX157" fmla="*/ 30066 w 733006"/>
              <a:gd name="csY157" fmla="*/ 2006631 h 2092038"/>
              <a:gd name="csX158" fmla="*/ 40232 w 733006"/>
              <a:gd name="csY158" fmla="*/ 2019486 h 2092038"/>
              <a:gd name="csX159" fmla="*/ 238186 w 733006"/>
              <a:gd name="csY159" fmla="*/ 2046096 h 2092038"/>
              <a:gd name="csX160" fmla="*/ 342155 w 733006"/>
              <a:gd name="csY160" fmla="*/ 2046441 h 2092038"/>
              <a:gd name="csX161" fmla="*/ 378900 w 733006"/>
              <a:gd name="csY161" fmla="*/ 2007280 h 2092038"/>
              <a:gd name="csX162" fmla="*/ 310220 w 733006"/>
              <a:gd name="csY162" fmla="*/ 554288 h 2092038"/>
              <a:gd name="csX163" fmla="*/ 259136 w 733006"/>
              <a:gd name="csY163" fmla="*/ 556881 h 2092038"/>
              <a:gd name="csX164" fmla="*/ 249085 w 733006"/>
              <a:gd name="csY164" fmla="*/ 567981 h 2092038"/>
              <a:gd name="csX165" fmla="*/ 249141 w 733006"/>
              <a:gd name="csY165" fmla="*/ 605644 h 2092038"/>
              <a:gd name="csX166" fmla="*/ 262628 w 733006"/>
              <a:gd name="csY166" fmla="*/ 605627 h 2092038"/>
              <a:gd name="csX167" fmla="*/ 369608 w 733006"/>
              <a:gd name="csY167" fmla="*/ 603027 h 2092038"/>
              <a:gd name="csX168" fmla="*/ 463931 w 733006"/>
              <a:gd name="csY168" fmla="*/ 605146 h 2092038"/>
              <a:gd name="csX169" fmla="*/ 478113 w 733006"/>
              <a:gd name="csY169" fmla="*/ 595843 h 2092038"/>
              <a:gd name="csX170" fmla="*/ 478796 w 733006"/>
              <a:gd name="csY170" fmla="*/ 556832 h 2092038"/>
              <a:gd name="csX171" fmla="*/ 310220 w 733006"/>
              <a:gd name="csY171" fmla="*/ 554288 h 2092038"/>
              <a:gd name="csX172" fmla="*/ 348836 w 733006"/>
              <a:gd name="csY172" fmla="*/ 684115 h 2092038"/>
              <a:gd name="csX173" fmla="*/ 281333 w 733006"/>
              <a:gd name="csY173" fmla="*/ 683313 h 2092038"/>
              <a:gd name="csX174" fmla="*/ 212728 w 733006"/>
              <a:gd name="csY174" fmla="*/ 681931 h 2092038"/>
              <a:gd name="csX175" fmla="*/ 187283 w 733006"/>
              <a:gd name="csY175" fmla="*/ 689555 h 2092038"/>
              <a:gd name="csX176" fmla="*/ 186163 w 733006"/>
              <a:gd name="csY176" fmla="*/ 718266 h 2092038"/>
              <a:gd name="csX177" fmla="*/ 209894 w 733006"/>
              <a:gd name="csY177" fmla="*/ 726798 h 2092038"/>
              <a:gd name="csX178" fmla="*/ 334814 w 733006"/>
              <a:gd name="csY178" fmla="*/ 732494 h 2092038"/>
              <a:gd name="csX179" fmla="*/ 364856 w 733006"/>
              <a:gd name="csY179" fmla="*/ 707963 h 2092038"/>
              <a:gd name="csX180" fmla="*/ 348836 w 733006"/>
              <a:gd name="csY180" fmla="*/ 684115 h 2092038"/>
              <a:gd name="csX181" fmla="*/ 298865 w 733006"/>
              <a:gd name="csY181" fmla="*/ 621954 h 2092038"/>
              <a:gd name="csX182" fmla="*/ 251619 w 733006"/>
              <a:gd name="csY182" fmla="*/ 622133 h 2092038"/>
              <a:gd name="csX183" fmla="*/ 214459 w 733006"/>
              <a:gd name="csY183" fmla="*/ 636230 h 2092038"/>
              <a:gd name="csX184" fmla="*/ 221436 w 733006"/>
              <a:gd name="csY184" fmla="*/ 654205 h 2092038"/>
              <a:gd name="csX185" fmla="*/ 272412 w 733006"/>
              <a:gd name="csY185" fmla="*/ 657250 h 2092038"/>
              <a:gd name="csX186" fmla="*/ 349094 w 733006"/>
              <a:gd name="csY186" fmla="*/ 659282 h 2092038"/>
              <a:gd name="csX187" fmla="*/ 362996 w 733006"/>
              <a:gd name="csY187" fmla="*/ 644234 h 2092038"/>
              <a:gd name="csX188" fmla="*/ 348472 w 733006"/>
              <a:gd name="csY188" fmla="*/ 624649 h 2092038"/>
              <a:gd name="csX189" fmla="*/ 298865 w 733006"/>
              <a:gd name="csY189" fmla="*/ 621954 h 2092038"/>
              <a:gd name="csX190" fmla="*/ 227796 w 733006"/>
              <a:gd name="csY190" fmla="*/ 528000 h 2092038"/>
              <a:gd name="csX191" fmla="*/ 241009 w 733006"/>
              <a:gd name="csY191" fmla="*/ 545897 h 2092038"/>
              <a:gd name="csX192" fmla="*/ 282607 w 733006"/>
              <a:gd name="csY192" fmla="*/ 543480 h 2092038"/>
              <a:gd name="csX193" fmla="*/ 354213 w 733006"/>
              <a:gd name="csY193" fmla="*/ 543384 h 2092038"/>
              <a:gd name="csX194" fmla="*/ 365334 w 733006"/>
              <a:gd name="csY194" fmla="*/ 533397 h 2092038"/>
              <a:gd name="csX195" fmla="*/ 354531 w 733006"/>
              <a:gd name="csY195" fmla="*/ 521620 h 2092038"/>
              <a:gd name="csX196" fmla="*/ 259169 w 733006"/>
              <a:gd name="csY196" fmla="*/ 521978 h 2092038"/>
              <a:gd name="csX197" fmla="*/ 227796 w 733006"/>
              <a:gd name="csY197" fmla="*/ 528000 h 2092038"/>
              <a:gd name="csX198" fmla="*/ 508068 w 733006"/>
              <a:gd name="csY198" fmla="*/ 190710 h 2092038"/>
              <a:gd name="csX199" fmla="*/ 521293 w 733006"/>
              <a:gd name="csY199" fmla="*/ 205907 h 2092038"/>
              <a:gd name="csX200" fmla="*/ 525175 w 733006"/>
              <a:gd name="csY200" fmla="*/ 202985 h 2092038"/>
              <a:gd name="csX201" fmla="*/ 500276 w 733006"/>
              <a:gd name="csY201" fmla="*/ 160640 h 2092038"/>
              <a:gd name="csX202" fmla="*/ 497122 w 733006"/>
              <a:gd name="csY202" fmla="*/ 162007 h 2092038"/>
              <a:gd name="csX203" fmla="*/ 508068 w 733006"/>
              <a:gd name="csY203" fmla="*/ 190710 h 2092038"/>
              <a:gd name="csX204" fmla="*/ 215522 w 733006"/>
              <a:gd name="csY204" fmla="*/ 197296 h 2092038"/>
              <a:gd name="csX205" fmla="*/ 234029 w 733006"/>
              <a:gd name="csY205" fmla="*/ 162725 h 2092038"/>
              <a:gd name="csX206" fmla="*/ 229000 w 733006"/>
              <a:gd name="csY206" fmla="*/ 159902 h 2092038"/>
              <a:gd name="csX207" fmla="*/ 204824 w 733006"/>
              <a:gd name="csY207" fmla="*/ 199677 h 2092038"/>
              <a:gd name="csX208" fmla="*/ 207990 w 733006"/>
              <a:gd name="csY208" fmla="*/ 202198 h 2092038"/>
              <a:gd name="csX209" fmla="*/ 215522 w 733006"/>
              <a:gd name="csY209" fmla="*/ 197296 h 2092038"/>
              <a:gd name="csX210" fmla="*/ 484400 w 733006"/>
              <a:gd name="csY210" fmla="*/ 896678 h 2092038"/>
              <a:gd name="csX211" fmla="*/ 486181 w 733006"/>
              <a:gd name="csY211" fmla="*/ 896585 h 209203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  <a:cxn ang="0">
                <a:pos x="csX170" y="csY170"/>
              </a:cxn>
              <a:cxn ang="0">
                <a:pos x="csX171" y="csY171"/>
              </a:cxn>
              <a:cxn ang="0">
                <a:pos x="csX172" y="csY172"/>
              </a:cxn>
              <a:cxn ang="0">
                <a:pos x="csX173" y="csY173"/>
              </a:cxn>
              <a:cxn ang="0">
                <a:pos x="csX174" y="csY174"/>
              </a:cxn>
              <a:cxn ang="0">
                <a:pos x="csX175" y="csY175"/>
              </a:cxn>
              <a:cxn ang="0">
                <a:pos x="csX176" y="csY176"/>
              </a:cxn>
              <a:cxn ang="0">
                <a:pos x="csX177" y="csY177"/>
              </a:cxn>
              <a:cxn ang="0">
                <a:pos x="csX178" y="csY178"/>
              </a:cxn>
              <a:cxn ang="0">
                <a:pos x="csX179" y="csY179"/>
              </a:cxn>
              <a:cxn ang="0">
                <a:pos x="csX180" y="csY180"/>
              </a:cxn>
              <a:cxn ang="0">
                <a:pos x="csX181" y="csY181"/>
              </a:cxn>
              <a:cxn ang="0">
                <a:pos x="csX182" y="csY182"/>
              </a:cxn>
              <a:cxn ang="0">
                <a:pos x="csX183" y="csY183"/>
              </a:cxn>
              <a:cxn ang="0">
                <a:pos x="csX184" y="csY184"/>
              </a:cxn>
              <a:cxn ang="0">
                <a:pos x="csX185" y="csY185"/>
              </a:cxn>
              <a:cxn ang="0">
                <a:pos x="csX186" y="csY186"/>
              </a:cxn>
              <a:cxn ang="0">
                <a:pos x="csX187" y="csY187"/>
              </a:cxn>
              <a:cxn ang="0">
                <a:pos x="csX188" y="csY188"/>
              </a:cxn>
              <a:cxn ang="0">
                <a:pos x="csX189" y="csY189"/>
              </a:cxn>
              <a:cxn ang="0">
                <a:pos x="csX190" y="csY190"/>
              </a:cxn>
              <a:cxn ang="0">
                <a:pos x="csX191" y="csY191"/>
              </a:cxn>
              <a:cxn ang="0">
                <a:pos x="csX192" y="csY192"/>
              </a:cxn>
              <a:cxn ang="0">
                <a:pos x="csX193" y="csY193"/>
              </a:cxn>
              <a:cxn ang="0">
                <a:pos x="csX194" y="csY194"/>
              </a:cxn>
              <a:cxn ang="0">
                <a:pos x="csX195" y="csY195"/>
              </a:cxn>
              <a:cxn ang="0">
                <a:pos x="csX196" y="csY196"/>
              </a:cxn>
              <a:cxn ang="0">
                <a:pos x="csX197" y="csY197"/>
              </a:cxn>
              <a:cxn ang="0">
                <a:pos x="csX198" y="csY198"/>
              </a:cxn>
              <a:cxn ang="0">
                <a:pos x="csX199" y="csY199"/>
              </a:cxn>
              <a:cxn ang="0">
                <a:pos x="csX200" y="csY200"/>
              </a:cxn>
              <a:cxn ang="0">
                <a:pos x="csX201" y="csY201"/>
              </a:cxn>
              <a:cxn ang="0">
                <a:pos x="csX202" y="csY202"/>
              </a:cxn>
              <a:cxn ang="0">
                <a:pos x="csX203" y="csY203"/>
              </a:cxn>
              <a:cxn ang="0">
                <a:pos x="csX204" y="csY204"/>
              </a:cxn>
              <a:cxn ang="0">
                <a:pos x="csX205" y="csY205"/>
              </a:cxn>
              <a:cxn ang="0">
                <a:pos x="csX206" y="csY206"/>
              </a:cxn>
              <a:cxn ang="0">
                <a:pos x="csX207" y="csY207"/>
              </a:cxn>
              <a:cxn ang="0">
                <a:pos x="csX208" y="csY208"/>
              </a:cxn>
              <a:cxn ang="0">
                <a:pos x="csX209" y="csY209"/>
              </a:cxn>
              <a:cxn ang="0">
                <a:pos x="csX210" y="csY210"/>
              </a:cxn>
              <a:cxn ang="0">
                <a:pos x="csX211" y="csY211"/>
              </a:cxn>
            </a:cxnLst>
            <a:rect l="l" t="t" r="r" b="b"/>
            <a:pathLst>
              <a:path w="733006" h="2092038">
                <a:moveTo>
                  <a:pt x="96263" y="2076207"/>
                </a:moveTo>
                <a:cubicBezTo>
                  <a:pt x="84622" y="2072588"/>
                  <a:pt x="74304" y="2068797"/>
                  <a:pt x="63862" y="2065388"/>
                </a:cubicBezTo>
                <a:cubicBezTo>
                  <a:pt x="48109" y="2060246"/>
                  <a:pt x="32006" y="2056058"/>
                  <a:pt x="16555" y="2050152"/>
                </a:cubicBezTo>
                <a:cubicBezTo>
                  <a:pt x="5209" y="2045814"/>
                  <a:pt x="-330" y="2037145"/>
                  <a:pt x="15" y="2023802"/>
                </a:cubicBezTo>
                <a:cubicBezTo>
                  <a:pt x="765" y="1994802"/>
                  <a:pt x="4044" y="1967023"/>
                  <a:pt x="18368" y="1940709"/>
                </a:cubicBezTo>
                <a:cubicBezTo>
                  <a:pt x="23362" y="1931533"/>
                  <a:pt x="23064" y="1918361"/>
                  <a:pt x="22139" y="1907268"/>
                </a:cubicBezTo>
                <a:cubicBezTo>
                  <a:pt x="18065" y="1858417"/>
                  <a:pt x="26015" y="1813128"/>
                  <a:pt x="57941" y="1774163"/>
                </a:cubicBezTo>
                <a:cubicBezTo>
                  <a:pt x="72712" y="1756135"/>
                  <a:pt x="88476" y="1738872"/>
                  <a:pt x="102478" y="1720275"/>
                </a:cubicBezTo>
                <a:cubicBezTo>
                  <a:pt x="118580" y="1698889"/>
                  <a:pt x="125626" y="1676081"/>
                  <a:pt x="108579" y="1650967"/>
                </a:cubicBezTo>
                <a:cubicBezTo>
                  <a:pt x="101716" y="1640856"/>
                  <a:pt x="106464" y="1629113"/>
                  <a:pt x="115628" y="1625405"/>
                </a:cubicBezTo>
                <a:cubicBezTo>
                  <a:pt x="145731" y="1613224"/>
                  <a:pt x="150205" y="1585698"/>
                  <a:pt x="156323" y="1560181"/>
                </a:cubicBezTo>
                <a:cubicBezTo>
                  <a:pt x="171878" y="1495304"/>
                  <a:pt x="187443" y="1430322"/>
                  <a:pt x="199424" y="1364729"/>
                </a:cubicBezTo>
                <a:cubicBezTo>
                  <a:pt x="208169" y="1316855"/>
                  <a:pt x="211328" y="1267955"/>
                  <a:pt x="216779" y="1219490"/>
                </a:cubicBezTo>
                <a:cubicBezTo>
                  <a:pt x="221281" y="1179465"/>
                  <a:pt x="225637" y="1139423"/>
                  <a:pt x="229755" y="1099357"/>
                </a:cubicBezTo>
                <a:cubicBezTo>
                  <a:pt x="231222" y="1085094"/>
                  <a:pt x="232195" y="1070753"/>
                  <a:pt x="232707" y="1056423"/>
                </a:cubicBezTo>
                <a:cubicBezTo>
                  <a:pt x="233940" y="1021849"/>
                  <a:pt x="235378" y="987264"/>
                  <a:pt x="235622" y="952675"/>
                </a:cubicBezTo>
                <a:cubicBezTo>
                  <a:pt x="236027" y="895212"/>
                  <a:pt x="235593" y="837744"/>
                  <a:pt x="235445" y="780278"/>
                </a:cubicBezTo>
                <a:cubicBezTo>
                  <a:pt x="235394" y="760454"/>
                  <a:pt x="234309" y="760517"/>
                  <a:pt x="214544" y="756435"/>
                </a:cubicBezTo>
                <a:cubicBezTo>
                  <a:pt x="200172" y="753466"/>
                  <a:pt x="185446" y="749377"/>
                  <a:pt x="172569" y="742582"/>
                </a:cubicBezTo>
                <a:cubicBezTo>
                  <a:pt x="144482" y="727762"/>
                  <a:pt x="142615" y="693725"/>
                  <a:pt x="168784" y="669116"/>
                </a:cubicBezTo>
                <a:cubicBezTo>
                  <a:pt x="180480" y="658118"/>
                  <a:pt x="190377" y="648461"/>
                  <a:pt x="191657" y="630765"/>
                </a:cubicBezTo>
                <a:cubicBezTo>
                  <a:pt x="192214" y="623073"/>
                  <a:pt x="200977" y="614427"/>
                  <a:pt x="208150" y="609084"/>
                </a:cubicBezTo>
                <a:cubicBezTo>
                  <a:pt x="222906" y="598094"/>
                  <a:pt x="228637" y="573234"/>
                  <a:pt x="216756" y="558673"/>
                </a:cubicBezTo>
                <a:cubicBezTo>
                  <a:pt x="207342" y="547135"/>
                  <a:pt x="206480" y="536349"/>
                  <a:pt x="209092" y="521540"/>
                </a:cubicBezTo>
                <a:cubicBezTo>
                  <a:pt x="211760" y="506404"/>
                  <a:pt x="207878" y="489633"/>
                  <a:pt x="204683" y="474024"/>
                </a:cubicBezTo>
                <a:cubicBezTo>
                  <a:pt x="186129" y="383394"/>
                  <a:pt x="153540" y="297499"/>
                  <a:pt x="115483" y="213499"/>
                </a:cubicBezTo>
                <a:cubicBezTo>
                  <a:pt x="110852" y="203278"/>
                  <a:pt x="105956" y="193025"/>
                  <a:pt x="102909" y="182297"/>
                </a:cubicBezTo>
                <a:cubicBezTo>
                  <a:pt x="101269" y="176526"/>
                  <a:pt x="100978" y="167554"/>
                  <a:pt x="104315" y="163968"/>
                </a:cubicBezTo>
                <a:cubicBezTo>
                  <a:pt x="107766" y="160259"/>
                  <a:pt x="117669" y="158539"/>
                  <a:pt x="122444" y="160805"/>
                </a:cubicBezTo>
                <a:cubicBezTo>
                  <a:pt x="138944" y="168636"/>
                  <a:pt x="154489" y="178499"/>
                  <a:pt x="170283" y="187783"/>
                </a:cubicBezTo>
                <a:cubicBezTo>
                  <a:pt x="174481" y="190250"/>
                  <a:pt x="178270" y="193414"/>
                  <a:pt x="180938" y="195322"/>
                </a:cubicBezTo>
                <a:cubicBezTo>
                  <a:pt x="194562" y="175763"/>
                  <a:pt x="206327" y="155469"/>
                  <a:pt x="221419" y="138058"/>
                </a:cubicBezTo>
                <a:cubicBezTo>
                  <a:pt x="240743" y="115763"/>
                  <a:pt x="265109" y="99467"/>
                  <a:pt x="294099" y="91372"/>
                </a:cubicBezTo>
                <a:cubicBezTo>
                  <a:pt x="302124" y="89131"/>
                  <a:pt x="305271" y="84852"/>
                  <a:pt x="302307" y="76560"/>
                </a:cubicBezTo>
                <a:cubicBezTo>
                  <a:pt x="292733" y="49783"/>
                  <a:pt x="299732" y="27331"/>
                  <a:pt x="320284" y="8414"/>
                </a:cubicBezTo>
                <a:cubicBezTo>
                  <a:pt x="322179" y="6669"/>
                  <a:pt x="323302" y="4085"/>
                  <a:pt x="324784" y="946"/>
                </a:cubicBezTo>
                <a:cubicBezTo>
                  <a:pt x="349171" y="0"/>
                  <a:pt x="373558" y="0"/>
                  <a:pt x="399212" y="0"/>
                </a:cubicBezTo>
                <a:cubicBezTo>
                  <a:pt x="426476" y="20404"/>
                  <a:pt x="437031" y="45903"/>
                  <a:pt x="425980" y="78301"/>
                </a:cubicBezTo>
                <a:cubicBezTo>
                  <a:pt x="423801" y="84690"/>
                  <a:pt x="424928" y="88239"/>
                  <a:pt x="431861" y="90312"/>
                </a:cubicBezTo>
                <a:cubicBezTo>
                  <a:pt x="483382" y="105720"/>
                  <a:pt x="518342" y="139660"/>
                  <a:pt x="540349" y="187946"/>
                </a:cubicBezTo>
                <a:cubicBezTo>
                  <a:pt x="541642" y="190784"/>
                  <a:pt x="543251" y="193478"/>
                  <a:pt x="545555" y="197828"/>
                </a:cubicBezTo>
                <a:lnTo>
                  <a:pt x="587318" y="171260"/>
                </a:lnTo>
                <a:cubicBezTo>
                  <a:pt x="591878" y="168403"/>
                  <a:pt x="596472" y="164665"/>
                  <a:pt x="601503" y="163707"/>
                </a:cubicBezTo>
                <a:cubicBezTo>
                  <a:pt x="609371" y="162208"/>
                  <a:pt x="619646" y="159555"/>
                  <a:pt x="625254" y="163123"/>
                </a:cubicBezTo>
                <a:cubicBezTo>
                  <a:pt x="634332" y="168899"/>
                  <a:pt x="629055" y="179274"/>
                  <a:pt x="625468" y="187579"/>
                </a:cubicBezTo>
                <a:cubicBezTo>
                  <a:pt x="616205" y="209030"/>
                  <a:pt x="606562" y="230320"/>
                  <a:pt x="597543" y="251872"/>
                </a:cubicBezTo>
                <a:cubicBezTo>
                  <a:pt x="571520" y="314052"/>
                  <a:pt x="547757" y="377046"/>
                  <a:pt x="531831" y="442689"/>
                </a:cubicBezTo>
                <a:cubicBezTo>
                  <a:pt x="527117" y="462116"/>
                  <a:pt x="522945" y="481733"/>
                  <a:pt x="519888" y="501474"/>
                </a:cubicBezTo>
                <a:cubicBezTo>
                  <a:pt x="518711" y="509073"/>
                  <a:pt x="520088" y="517665"/>
                  <a:pt x="522506" y="525086"/>
                </a:cubicBezTo>
                <a:cubicBezTo>
                  <a:pt x="526398" y="537038"/>
                  <a:pt x="525185" y="546687"/>
                  <a:pt x="516235" y="555946"/>
                </a:cubicBezTo>
                <a:cubicBezTo>
                  <a:pt x="498902" y="573877"/>
                  <a:pt x="501328" y="596490"/>
                  <a:pt x="521332" y="610676"/>
                </a:cubicBezTo>
                <a:cubicBezTo>
                  <a:pt x="532355" y="618492"/>
                  <a:pt x="539977" y="628449"/>
                  <a:pt x="541382" y="642597"/>
                </a:cubicBezTo>
                <a:cubicBezTo>
                  <a:pt x="542451" y="653366"/>
                  <a:pt x="548191" y="661148"/>
                  <a:pt x="557031" y="667949"/>
                </a:cubicBezTo>
                <a:cubicBezTo>
                  <a:pt x="583453" y="688277"/>
                  <a:pt x="588691" y="725427"/>
                  <a:pt x="553994" y="744146"/>
                </a:cubicBezTo>
                <a:cubicBezTo>
                  <a:pt x="540107" y="751637"/>
                  <a:pt x="523756" y="754889"/>
                  <a:pt x="508215" y="758841"/>
                </a:cubicBezTo>
                <a:cubicBezTo>
                  <a:pt x="500805" y="760726"/>
                  <a:pt x="497665" y="763405"/>
                  <a:pt x="497442" y="771256"/>
                </a:cubicBezTo>
                <a:cubicBezTo>
                  <a:pt x="496012" y="821532"/>
                  <a:pt x="492028" y="871838"/>
                  <a:pt x="493005" y="922055"/>
                </a:cubicBezTo>
                <a:cubicBezTo>
                  <a:pt x="494253" y="986140"/>
                  <a:pt x="499320" y="1050155"/>
                  <a:pt x="502900" y="1114191"/>
                </a:cubicBezTo>
                <a:cubicBezTo>
                  <a:pt x="504603" y="1144637"/>
                  <a:pt x="505797" y="1175148"/>
                  <a:pt x="508800" y="1205474"/>
                </a:cubicBezTo>
                <a:cubicBezTo>
                  <a:pt x="512592" y="1243768"/>
                  <a:pt x="516901" y="1282076"/>
                  <a:pt x="522952" y="1320065"/>
                </a:cubicBezTo>
                <a:cubicBezTo>
                  <a:pt x="532594" y="1380596"/>
                  <a:pt x="543267" y="1440980"/>
                  <a:pt x="554682" y="1501203"/>
                </a:cubicBezTo>
                <a:cubicBezTo>
                  <a:pt x="560600" y="1532428"/>
                  <a:pt x="568175" y="1563425"/>
                  <a:pt x="576958" y="1593963"/>
                </a:cubicBezTo>
                <a:cubicBezTo>
                  <a:pt x="579170" y="1601655"/>
                  <a:pt x="588378" y="1607829"/>
                  <a:pt x="595349" y="1613498"/>
                </a:cubicBezTo>
                <a:cubicBezTo>
                  <a:pt x="600799" y="1617931"/>
                  <a:pt x="608289" y="1619804"/>
                  <a:pt x="613936" y="1624058"/>
                </a:cubicBezTo>
                <a:cubicBezTo>
                  <a:pt x="623433" y="1631212"/>
                  <a:pt x="627187" y="1639642"/>
                  <a:pt x="620938" y="1652071"/>
                </a:cubicBezTo>
                <a:cubicBezTo>
                  <a:pt x="606287" y="1681209"/>
                  <a:pt x="609918" y="1697027"/>
                  <a:pt x="630805" y="1721702"/>
                </a:cubicBezTo>
                <a:cubicBezTo>
                  <a:pt x="650178" y="1744588"/>
                  <a:pt x="669167" y="1768040"/>
                  <a:pt x="685830" y="1792915"/>
                </a:cubicBezTo>
                <a:cubicBezTo>
                  <a:pt x="705320" y="1822011"/>
                  <a:pt x="711650" y="1855198"/>
                  <a:pt x="708904" y="1890290"/>
                </a:cubicBezTo>
                <a:cubicBezTo>
                  <a:pt x="707288" y="1910935"/>
                  <a:pt x="700766" y="1942639"/>
                  <a:pt x="716580" y="1951136"/>
                </a:cubicBezTo>
                <a:cubicBezTo>
                  <a:pt x="724392" y="1976483"/>
                  <a:pt x="727122" y="2003652"/>
                  <a:pt x="729397" y="2030261"/>
                </a:cubicBezTo>
                <a:cubicBezTo>
                  <a:pt x="729925" y="2036427"/>
                  <a:pt x="743534" y="2056174"/>
                  <a:pt x="714212" y="2059069"/>
                </a:cubicBezTo>
                <a:cubicBezTo>
                  <a:pt x="561064" y="2100066"/>
                  <a:pt x="334540" y="2099227"/>
                  <a:pt x="96263" y="2076207"/>
                </a:cubicBezTo>
                <a:moveTo>
                  <a:pt x="489970" y="152208"/>
                </a:moveTo>
                <a:lnTo>
                  <a:pt x="490754" y="152592"/>
                </a:lnTo>
                <a:cubicBezTo>
                  <a:pt x="490404" y="152187"/>
                  <a:pt x="490054" y="151782"/>
                  <a:pt x="489489" y="149547"/>
                </a:cubicBezTo>
                <a:cubicBezTo>
                  <a:pt x="463400" y="121956"/>
                  <a:pt x="429823" y="108227"/>
                  <a:pt x="393621" y="99259"/>
                </a:cubicBezTo>
                <a:cubicBezTo>
                  <a:pt x="416086" y="61028"/>
                  <a:pt x="414929" y="37233"/>
                  <a:pt x="390419" y="18568"/>
                </a:cubicBezTo>
                <a:cubicBezTo>
                  <a:pt x="373896" y="5985"/>
                  <a:pt x="349634" y="8467"/>
                  <a:pt x="334131" y="24327"/>
                </a:cubicBezTo>
                <a:cubicBezTo>
                  <a:pt x="312288" y="46673"/>
                  <a:pt x="314608" y="63885"/>
                  <a:pt x="344678" y="101259"/>
                </a:cubicBezTo>
                <a:cubicBezTo>
                  <a:pt x="329276" y="105420"/>
                  <a:pt x="313421" y="108117"/>
                  <a:pt x="298854" y="114003"/>
                </a:cubicBezTo>
                <a:cubicBezTo>
                  <a:pt x="276159" y="123172"/>
                  <a:pt x="253379" y="133071"/>
                  <a:pt x="237456" y="154340"/>
                </a:cubicBezTo>
                <a:cubicBezTo>
                  <a:pt x="237723" y="154250"/>
                  <a:pt x="237990" y="154159"/>
                  <a:pt x="240382" y="154035"/>
                </a:cubicBezTo>
                <a:cubicBezTo>
                  <a:pt x="252637" y="152964"/>
                  <a:pt x="257233" y="162164"/>
                  <a:pt x="262731" y="170426"/>
                </a:cubicBezTo>
                <a:cubicBezTo>
                  <a:pt x="267919" y="178225"/>
                  <a:pt x="272568" y="186734"/>
                  <a:pt x="279169" y="193173"/>
                </a:cubicBezTo>
                <a:cubicBezTo>
                  <a:pt x="294554" y="208182"/>
                  <a:pt x="315173" y="206011"/>
                  <a:pt x="327717" y="188556"/>
                </a:cubicBezTo>
                <a:cubicBezTo>
                  <a:pt x="335023" y="178390"/>
                  <a:pt x="341313" y="167493"/>
                  <a:pt x="348052" y="156919"/>
                </a:cubicBezTo>
                <a:cubicBezTo>
                  <a:pt x="360173" y="137899"/>
                  <a:pt x="367728" y="137921"/>
                  <a:pt x="380330" y="156483"/>
                </a:cubicBezTo>
                <a:cubicBezTo>
                  <a:pt x="389331" y="169741"/>
                  <a:pt x="397761" y="183648"/>
                  <a:pt x="408490" y="195400"/>
                </a:cubicBezTo>
                <a:cubicBezTo>
                  <a:pt x="419907" y="207908"/>
                  <a:pt x="432311" y="208318"/>
                  <a:pt x="445346" y="197582"/>
                </a:cubicBezTo>
                <a:cubicBezTo>
                  <a:pt x="453059" y="191228"/>
                  <a:pt x="458941" y="182413"/>
                  <a:pt x="464798" y="174107"/>
                </a:cubicBezTo>
                <a:cubicBezTo>
                  <a:pt x="471492" y="164615"/>
                  <a:pt x="476269" y="153399"/>
                  <a:pt x="489970" y="152208"/>
                </a:cubicBezTo>
                <a:moveTo>
                  <a:pt x="140694" y="201837"/>
                </a:moveTo>
                <a:lnTo>
                  <a:pt x="139834" y="201482"/>
                </a:lnTo>
                <a:cubicBezTo>
                  <a:pt x="140167" y="201940"/>
                  <a:pt x="140499" y="202398"/>
                  <a:pt x="140812" y="204941"/>
                </a:cubicBezTo>
                <a:cubicBezTo>
                  <a:pt x="142073" y="209235"/>
                  <a:pt x="143094" y="213618"/>
                  <a:pt x="144631" y="217811"/>
                </a:cubicBezTo>
                <a:cubicBezTo>
                  <a:pt x="163630" y="269630"/>
                  <a:pt x="184359" y="320889"/>
                  <a:pt x="201241" y="373387"/>
                </a:cubicBezTo>
                <a:cubicBezTo>
                  <a:pt x="215057" y="416348"/>
                  <a:pt x="224086" y="460838"/>
                  <a:pt x="235971" y="504451"/>
                </a:cubicBezTo>
                <a:cubicBezTo>
                  <a:pt x="237017" y="508291"/>
                  <a:pt x="243450" y="513153"/>
                  <a:pt x="247475" y="513241"/>
                </a:cubicBezTo>
                <a:cubicBezTo>
                  <a:pt x="261316" y="513543"/>
                  <a:pt x="275190" y="511373"/>
                  <a:pt x="289066" y="511170"/>
                </a:cubicBezTo>
                <a:cubicBezTo>
                  <a:pt x="318784" y="510736"/>
                  <a:pt x="348532" y="510226"/>
                  <a:pt x="378229" y="511084"/>
                </a:cubicBezTo>
                <a:cubicBezTo>
                  <a:pt x="409129" y="511977"/>
                  <a:pt x="440005" y="514145"/>
                  <a:pt x="470850" y="516341"/>
                </a:cubicBezTo>
                <a:cubicBezTo>
                  <a:pt x="488515" y="517598"/>
                  <a:pt x="488581" y="517383"/>
                  <a:pt x="492933" y="497969"/>
                </a:cubicBezTo>
                <a:cubicBezTo>
                  <a:pt x="509517" y="423981"/>
                  <a:pt x="529141" y="350878"/>
                  <a:pt x="557617" y="280398"/>
                </a:cubicBezTo>
                <a:cubicBezTo>
                  <a:pt x="568115" y="254415"/>
                  <a:pt x="577983" y="228177"/>
                  <a:pt x="588788" y="200385"/>
                </a:cubicBezTo>
                <a:cubicBezTo>
                  <a:pt x="568882" y="211746"/>
                  <a:pt x="556897" y="233442"/>
                  <a:pt x="530958" y="232968"/>
                </a:cubicBezTo>
                <a:cubicBezTo>
                  <a:pt x="501919" y="232437"/>
                  <a:pt x="492615" y="212474"/>
                  <a:pt x="483823" y="190364"/>
                </a:cubicBezTo>
                <a:cubicBezTo>
                  <a:pt x="477516" y="197154"/>
                  <a:pt x="471372" y="202589"/>
                  <a:pt x="466649" y="209061"/>
                </a:cubicBezTo>
                <a:cubicBezTo>
                  <a:pt x="449398" y="232702"/>
                  <a:pt x="420396" y="235708"/>
                  <a:pt x="399941" y="216988"/>
                </a:cubicBezTo>
                <a:cubicBezTo>
                  <a:pt x="387278" y="205398"/>
                  <a:pt x="375741" y="192577"/>
                  <a:pt x="363018" y="179615"/>
                </a:cubicBezTo>
                <a:cubicBezTo>
                  <a:pt x="350255" y="200356"/>
                  <a:pt x="336990" y="223707"/>
                  <a:pt x="308839" y="227846"/>
                </a:cubicBezTo>
                <a:cubicBezTo>
                  <a:pt x="280122" y="232067"/>
                  <a:pt x="262039" y="213088"/>
                  <a:pt x="245077" y="192402"/>
                </a:cubicBezTo>
                <a:cubicBezTo>
                  <a:pt x="244011" y="195470"/>
                  <a:pt x="243549" y="197200"/>
                  <a:pt x="242829" y="198815"/>
                </a:cubicBezTo>
                <a:cubicBezTo>
                  <a:pt x="227987" y="232132"/>
                  <a:pt x="198552" y="240117"/>
                  <a:pt x="168452" y="219348"/>
                </a:cubicBezTo>
                <a:cubicBezTo>
                  <a:pt x="159660" y="213282"/>
                  <a:pt x="150196" y="208189"/>
                  <a:pt x="140694" y="201837"/>
                </a:cubicBezTo>
                <a:moveTo>
                  <a:pt x="259999" y="966699"/>
                </a:moveTo>
                <a:cubicBezTo>
                  <a:pt x="259066" y="1001276"/>
                  <a:pt x="258555" y="1035871"/>
                  <a:pt x="257072" y="1070424"/>
                </a:cubicBezTo>
                <a:cubicBezTo>
                  <a:pt x="255822" y="1099520"/>
                  <a:pt x="254332" y="1128659"/>
                  <a:pt x="251372" y="1157618"/>
                </a:cubicBezTo>
                <a:cubicBezTo>
                  <a:pt x="245822" y="1211910"/>
                  <a:pt x="239941" y="1266195"/>
                  <a:pt x="232677" y="1320279"/>
                </a:cubicBezTo>
                <a:cubicBezTo>
                  <a:pt x="226012" y="1369906"/>
                  <a:pt x="218692" y="1419525"/>
                  <a:pt x="209182" y="1468667"/>
                </a:cubicBezTo>
                <a:cubicBezTo>
                  <a:pt x="199574" y="1518317"/>
                  <a:pt x="187234" y="1567453"/>
                  <a:pt x="175302" y="1616623"/>
                </a:cubicBezTo>
                <a:cubicBezTo>
                  <a:pt x="173247" y="1625091"/>
                  <a:pt x="175038" y="1628715"/>
                  <a:pt x="182769" y="1629786"/>
                </a:cubicBezTo>
                <a:cubicBezTo>
                  <a:pt x="192516" y="1631137"/>
                  <a:pt x="202351" y="1632591"/>
                  <a:pt x="212156" y="1632656"/>
                </a:cubicBezTo>
                <a:lnTo>
                  <a:pt x="351295" y="1632801"/>
                </a:lnTo>
                <a:cubicBezTo>
                  <a:pt x="371086" y="1632783"/>
                  <a:pt x="376419" y="1627831"/>
                  <a:pt x="376150" y="1608307"/>
                </a:cubicBezTo>
                <a:cubicBezTo>
                  <a:pt x="375456" y="1557965"/>
                  <a:pt x="374444" y="1507628"/>
                  <a:pt x="373450" y="1457291"/>
                </a:cubicBezTo>
                <a:cubicBezTo>
                  <a:pt x="372695" y="1419104"/>
                  <a:pt x="371725" y="1380922"/>
                  <a:pt x="370936" y="1342736"/>
                </a:cubicBezTo>
                <a:cubicBezTo>
                  <a:pt x="369980" y="1296451"/>
                  <a:pt x="368481" y="1250167"/>
                  <a:pt x="368328" y="1203878"/>
                </a:cubicBezTo>
                <a:cubicBezTo>
                  <a:pt x="367898" y="1073746"/>
                  <a:pt x="368114" y="943611"/>
                  <a:pt x="367836" y="813478"/>
                </a:cubicBezTo>
                <a:cubicBezTo>
                  <a:pt x="367808" y="800064"/>
                  <a:pt x="366292" y="786643"/>
                  <a:pt x="365240" y="773243"/>
                </a:cubicBezTo>
                <a:cubicBezTo>
                  <a:pt x="364669" y="765967"/>
                  <a:pt x="361177" y="762219"/>
                  <a:pt x="353084" y="762083"/>
                </a:cubicBezTo>
                <a:cubicBezTo>
                  <a:pt x="329039" y="761680"/>
                  <a:pt x="305010" y="760323"/>
                  <a:pt x="280966" y="759855"/>
                </a:cubicBezTo>
                <a:cubicBezTo>
                  <a:pt x="262974" y="759505"/>
                  <a:pt x="259584" y="762728"/>
                  <a:pt x="259965" y="779553"/>
                </a:cubicBezTo>
                <a:cubicBezTo>
                  <a:pt x="260545" y="805134"/>
                  <a:pt x="262417" y="830704"/>
                  <a:pt x="262341" y="856275"/>
                </a:cubicBezTo>
                <a:cubicBezTo>
                  <a:pt x="262235" y="892209"/>
                  <a:pt x="260847" y="928139"/>
                  <a:pt x="259999" y="966699"/>
                </a:cubicBezTo>
                <a:moveTo>
                  <a:pt x="55556" y="1835827"/>
                </a:moveTo>
                <a:cubicBezTo>
                  <a:pt x="53401" y="1849932"/>
                  <a:pt x="49990" y="1863984"/>
                  <a:pt x="49393" y="1878155"/>
                </a:cubicBezTo>
                <a:cubicBezTo>
                  <a:pt x="48549" y="1898208"/>
                  <a:pt x="54196" y="1903667"/>
                  <a:pt x="73949" y="1905781"/>
                </a:cubicBezTo>
                <a:cubicBezTo>
                  <a:pt x="85970" y="1907068"/>
                  <a:pt x="98058" y="1907739"/>
                  <a:pt x="110073" y="1909068"/>
                </a:cubicBezTo>
                <a:cubicBezTo>
                  <a:pt x="148299" y="1913297"/>
                  <a:pt x="186412" y="1919134"/>
                  <a:pt x="224745" y="1921652"/>
                </a:cubicBezTo>
                <a:cubicBezTo>
                  <a:pt x="265500" y="1924329"/>
                  <a:pt x="306455" y="1923995"/>
                  <a:pt x="347327" y="1924778"/>
                </a:cubicBezTo>
                <a:cubicBezTo>
                  <a:pt x="352654" y="1924880"/>
                  <a:pt x="357999" y="1923751"/>
                  <a:pt x="363345" y="1923293"/>
                </a:cubicBezTo>
                <a:cubicBezTo>
                  <a:pt x="370812" y="1922652"/>
                  <a:pt x="373724" y="1919361"/>
                  <a:pt x="373787" y="1911200"/>
                </a:cubicBezTo>
                <a:cubicBezTo>
                  <a:pt x="374339" y="1839709"/>
                  <a:pt x="375066" y="1768215"/>
                  <a:pt x="376623" y="1696741"/>
                </a:cubicBezTo>
                <a:cubicBezTo>
                  <a:pt x="376910" y="1683555"/>
                  <a:pt x="372147" y="1681381"/>
                  <a:pt x="360437" y="1681289"/>
                </a:cubicBezTo>
                <a:cubicBezTo>
                  <a:pt x="328117" y="1681033"/>
                  <a:pt x="295777" y="1679974"/>
                  <a:pt x="263503" y="1678179"/>
                </a:cubicBezTo>
                <a:cubicBezTo>
                  <a:pt x="229090" y="1676266"/>
                  <a:pt x="194719" y="1673423"/>
                  <a:pt x="160381" y="1670405"/>
                </a:cubicBezTo>
                <a:cubicBezTo>
                  <a:pt x="148387" y="1669350"/>
                  <a:pt x="145963" y="1675505"/>
                  <a:pt x="143321" y="1685538"/>
                </a:cubicBezTo>
                <a:cubicBezTo>
                  <a:pt x="138582" y="1703537"/>
                  <a:pt x="133802" y="1722215"/>
                  <a:pt x="124769" y="1738195"/>
                </a:cubicBezTo>
                <a:cubicBezTo>
                  <a:pt x="116109" y="1753517"/>
                  <a:pt x="101000" y="1765040"/>
                  <a:pt x="90593" y="1779570"/>
                </a:cubicBezTo>
                <a:cubicBezTo>
                  <a:pt x="78162" y="1796924"/>
                  <a:pt x="67717" y="1815700"/>
                  <a:pt x="55556" y="1835827"/>
                </a:cubicBezTo>
                <a:moveTo>
                  <a:pt x="378900" y="2007280"/>
                </a:moveTo>
                <a:cubicBezTo>
                  <a:pt x="378896" y="2003229"/>
                  <a:pt x="378901" y="1999178"/>
                  <a:pt x="378887" y="1995127"/>
                </a:cubicBezTo>
                <a:cubicBezTo>
                  <a:pt x="378824" y="1976033"/>
                  <a:pt x="378817" y="1976317"/>
                  <a:pt x="359084" y="1975964"/>
                </a:cubicBezTo>
                <a:lnTo>
                  <a:pt x="247288" y="1973305"/>
                </a:lnTo>
                <a:cubicBezTo>
                  <a:pt x="232069" y="1972838"/>
                  <a:pt x="216796" y="1972093"/>
                  <a:pt x="201692" y="1970275"/>
                </a:cubicBezTo>
                <a:lnTo>
                  <a:pt x="57962" y="1952648"/>
                </a:lnTo>
                <a:cubicBezTo>
                  <a:pt x="51898" y="1952011"/>
                  <a:pt x="41206" y="1958134"/>
                  <a:pt x="39194" y="1963552"/>
                </a:cubicBezTo>
                <a:cubicBezTo>
                  <a:pt x="34138" y="1977168"/>
                  <a:pt x="32687" y="1992148"/>
                  <a:pt x="30066" y="2006631"/>
                </a:cubicBezTo>
                <a:cubicBezTo>
                  <a:pt x="28649" y="2014460"/>
                  <a:pt x="32955" y="2017729"/>
                  <a:pt x="40232" y="2019486"/>
                </a:cubicBezTo>
                <a:cubicBezTo>
                  <a:pt x="105307" y="2035198"/>
                  <a:pt x="171489" y="2043035"/>
                  <a:pt x="238186" y="2046096"/>
                </a:cubicBezTo>
                <a:cubicBezTo>
                  <a:pt x="272775" y="2047683"/>
                  <a:pt x="307494" y="2046505"/>
                  <a:pt x="342155" y="2046441"/>
                </a:cubicBezTo>
                <a:cubicBezTo>
                  <a:pt x="378858" y="2046373"/>
                  <a:pt x="378858" y="2046303"/>
                  <a:pt x="378900" y="2007280"/>
                </a:cubicBezTo>
                <a:moveTo>
                  <a:pt x="310220" y="554288"/>
                </a:moveTo>
                <a:lnTo>
                  <a:pt x="259136" y="556881"/>
                </a:lnTo>
                <a:cubicBezTo>
                  <a:pt x="251446" y="557144"/>
                  <a:pt x="248963" y="560888"/>
                  <a:pt x="249085" y="567981"/>
                </a:cubicBezTo>
                <a:cubicBezTo>
                  <a:pt x="249291" y="580007"/>
                  <a:pt x="249141" y="592039"/>
                  <a:pt x="249141" y="605644"/>
                </a:cubicBezTo>
                <a:cubicBezTo>
                  <a:pt x="252942" y="605644"/>
                  <a:pt x="257788" y="605750"/>
                  <a:pt x="262628" y="605627"/>
                </a:cubicBezTo>
                <a:cubicBezTo>
                  <a:pt x="298288" y="604718"/>
                  <a:pt x="333947" y="603084"/>
                  <a:pt x="369608" y="603027"/>
                </a:cubicBezTo>
                <a:cubicBezTo>
                  <a:pt x="401047" y="602977"/>
                  <a:pt x="432489" y="605109"/>
                  <a:pt x="463931" y="605146"/>
                </a:cubicBezTo>
                <a:cubicBezTo>
                  <a:pt x="468882" y="605152"/>
                  <a:pt x="477522" y="599724"/>
                  <a:pt x="478113" y="595843"/>
                </a:cubicBezTo>
                <a:cubicBezTo>
                  <a:pt x="479968" y="583658"/>
                  <a:pt x="478796" y="571012"/>
                  <a:pt x="478796" y="556832"/>
                </a:cubicBezTo>
                <a:lnTo>
                  <a:pt x="310220" y="554288"/>
                </a:lnTo>
                <a:moveTo>
                  <a:pt x="348836" y="684115"/>
                </a:moveTo>
                <a:lnTo>
                  <a:pt x="281333" y="683313"/>
                </a:lnTo>
                <a:cubicBezTo>
                  <a:pt x="258459" y="682880"/>
                  <a:pt x="235573" y="681397"/>
                  <a:pt x="212728" y="681931"/>
                </a:cubicBezTo>
                <a:cubicBezTo>
                  <a:pt x="204151" y="682132"/>
                  <a:pt x="195144" y="685643"/>
                  <a:pt x="187283" y="689555"/>
                </a:cubicBezTo>
                <a:cubicBezTo>
                  <a:pt x="176092" y="695122"/>
                  <a:pt x="175412" y="711787"/>
                  <a:pt x="186163" y="718266"/>
                </a:cubicBezTo>
                <a:cubicBezTo>
                  <a:pt x="193268" y="722548"/>
                  <a:pt x="201790" y="726298"/>
                  <a:pt x="209894" y="726798"/>
                </a:cubicBezTo>
                <a:cubicBezTo>
                  <a:pt x="251494" y="729369"/>
                  <a:pt x="293151" y="731218"/>
                  <a:pt x="334814" y="732494"/>
                </a:cubicBezTo>
                <a:cubicBezTo>
                  <a:pt x="360875" y="733292"/>
                  <a:pt x="360845" y="732630"/>
                  <a:pt x="364856" y="707963"/>
                </a:cubicBezTo>
                <a:cubicBezTo>
                  <a:pt x="366759" y="696261"/>
                  <a:pt x="364119" y="687361"/>
                  <a:pt x="348836" y="684115"/>
                </a:cubicBezTo>
                <a:moveTo>
                  <a:pt x="298865" y="621954"/>
                </a:moveTo>
                <a:cubicBezTo>
                  <a:pt x="283113" y="621947"/>
                  <a:pt x="267325" y="621283"/>
                  <a:pt x="251619" y="622133"/>
                </a:cubicBezTo>
                <a:cubicBezTo>
                  <a:pt x="238016" y="622869"/>
                  <a:pt x="223730" y="622855"/>
                  <a:pt x="214459" y="636230"/>
                </a:cubicBezTo>
                <a:cubicBezTo>
                  <a:pt x="208245" y="645195"/>
                  <a:pt x="210589" y="653121"/>
                  <a:pt x="221436" y="654205"/>
                </a:cubicBezTo>
                <a:cubicBezTo>
                  <a:pt x="238362" y="655895"/>
                  <a:pt x="255402" y="656613"/>
                  <a:pt x="272412" y="657250"/>
                </a:cubicBezTo>
                <a:cubicBezTo>
                  <a:pt x="297964" y="658207"/>
                  <a:pt x="323529" y="659053"/>
                  <a:pt x="349094" y="659282"/>
                </a:cubicBezTo>
                <a:cubicBezTo>
                  <a:pt x="358195" y="659363"/>
                  <a:pt x="363477" y="655246"/>
                  <a:pt x="362996" y="644234"/>
                </a:cubicBezTo>
                <a:cubicBezTo>
                  <a:pt x="362527" y="633519"/>
                  <a:pt x="361239" y="625376"/>
                  <a:pt x="348472" y="624649"/>
                </a:cubicBezTo>
                <a:lnTo>
                  <a:pt x="298865" y="621954"/>
                </a:lnTo>
                <a:moveTo>
                  <a:pt x="227796" y="528000"/>
                </a:moveTo>
                <a:cubicBezTo>
                  <a:pt x="224777" y="540795"/>
                  <a:pt x="228095" y="545993"/>
                  <a:pt x="241009" y="545897"/>
                </a:cubicBezTo>
                <a:cubicBezTo>
                  <a:pt x="254880" y="545792"/>
                  <a:pt x="268730" y="543734"/>
                  <a:pt x="282607" y="543480"/>
                </a:cubicBezTo>
                <a:cubicBezTo>
                  <a:pt x="306469" y="543043"/>
                  <a:pt x="330344" y="543266"/>
                  <a:pt x="354213" y="543384"/>
                </a:cubicBezTo>
                <a:cubicBezTo>
                  <a:pt x="361191" y="543419"/>
                  <a:pt x="365298" y="541242"/>
                  <a:pt x="365334" y="533397"/>
                </a:cubicBezTo>
                <a:cubicBezTo>
                  <a:pt x="365369" y="525778"/>
                  <a:pt x="362988" y="521561"/>
                  <a:pt x="354531" y="521620"/>
                </a:cubicBezTo>
                <a:lnTo>
                  <a:pt x="259169" y="521978"/>
                </a:lnTo>
                <a:cubicBezTo>
                  <a:pt x="249027" y="522159"/>
                  <a:pt x="238927" y="524679"/>
                  <a:pt x="227796" y="528000"/>
                </a:cubicBezTo>
                <a:moveTo>
                  <a:pt x="508068" y="190710"/>
                </a:moveTo>
                <a:lnTo>
                  <a:pt x="521293" y="205907"/>
                </a:lnTo>
                <a:lnTo>
                  <a:pt x="525175" y="202985"/>
                </a:lnTo>
                <a:cubicBezTo>
                  <a:pt x="522014" y="185953"/>
                  <a:pt x="510916" y="173426"/>
                  <a:pt x="500276" y="160640"/>
                </a:cubicBezTo>
                <a:lnTo>
                  <a:pt x="497122" y="162007"/>
                </a:lnTo>
                <a:cubicBezTo>
                  <a:pt x="500457" y="170983"/>
                  <a:pt x="503791" y="179959"/>
                  <a:pt x="508068" y="190710"/>
                </a:cubicBezTo>
                <a:moveTo>
                  <a:pt x="215522" y="197296"/>
                </a:moveTo>
                <a:lnTo>
                  <a:pt x="234029" y="162725"/>
                </a:lnTo>
                <a:lnTo>
                  <a:pt x="229000" y="159902"/>
                </a:lnTo>
                <a:lnTo>
                  <a:pt x="204824" y="199677"/>
                </a:lnTo>
                <a:lnTo>
                  <a:pt x="207990" y="202198"/>
                </a:lnTo>
                <a:cubicBezTo>
                  <a:pt x="210047" y="201020"/>
                  <a:pt x="212104" y="199843"/>
                  <a:pt x="215522" y="197296"/>
                </a:cubicBezTo>
                <a:moveTo>
                  <a:pt x="484400" y="896678"/>
                </a:moveTo>
                <a:lnTo>
                  <a:pt x="486181" y="896585"/>
                </a:lnTo>
              </a:path>
            </a:pathLst>
          </a:custGeom>
          <a:solidFill>
            <a:srgbClr val="CCD6DA"/>
          </a:solidFill>
          <a:ln w="2699" cap="flat">
            <a:solidFill>
              <a:srgbClr val="CDD9DF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90" name="Free-form: Shape 489">
            <a:extLst>
              <a:ext uri="{FF2B5EF4-FFF2-40B4-BE49-F238E27FC236}">
                <a16:creationId xmlns:a16="http://schemas.microsoft.com/office/drawing/2014/main" id="{9B51FF92-23D1-B7D8-5E87-D06FF2338C3D}"/>
              </a:ext>
            </a:extLst>
          </p:cNvPr>
          <p:cNvSpPr/>
          <p:nvPr/>
        </p:nvSpPr>
        <p:spPr>
          <a:xfrm flipH="1">
            <a:off x="6294910" y="4309744"/>
            <a:ext cx="153404" cy="625011"/>
          </a:xfrm>
          <a:custGeom>
            <a:avLst/>
            <a:gdLst>
              <a:gd name="csX0" fmla="*/ 85488 w 201644"/>
              <a:gd name="csY0" fmla="*/ 205555 h 873028"/>
              <a:gd name="csX1" fmla="*/ 87827 w 201644"/>
              <a:gd name="csY1" fmla="*/ 96444 h 873028"/>
              <a:gd name="csX2" fmla="*/ 85450 w 201644"/>
              <a:gd name="csY2" fmla="*/ 19723 h 873028"/>
              <a:gd name="csX3" fmla="*/ 106451 w 201644"/>
              <a:gd name="csY3" fmla="*/ 25 h 873028"/>
              <a:gd name="csX4" fmla="*/ 178569 w 201644"/>
              <a:gd name="csY4" fmla="*/ 2252 h 873028"/>
              <a:gd name="csX5" fmla="*/ 190725 w 201644"/>
              <a:gd name="csY5" fmla="*/ 13413 h 873028"/>
              <a:gd name="csX6" fmla="*/ 193322 w 201644"/>
              <a:gd name="csY6" fmla="*/ 53648 h 873028"/>
              <a:gd name="csX7" fmla="*/ 193813 w 201644"/>
              <a:gd name="csY7" fmla="*/ 444048 h 873028"/>
              <a:gd name="csX8" fmla="*/ 196421 w 201644"/>
              <a:gd name="csY8" fmla="*/ 582906 h 873028"/>
              <a:gd name="csX9" fmla="*/ 198935 w 201644"/>
              <a:gd name="csY9" fmla="*/ 697460 h 873028"/>
              <a:gd name="csX10" fmla="*/ 201635 w 201644"/>
              <a:gd name="csY10" fmla="*/ 848476 h 873028"/>
              <a:gd name="csX11" fmla="*/ 176780 w 201644"/>
              <a:gd name="csY11" fmla="*/ 872971 h 873028"/>
              <a:gd name="csX12" fmla="*/ 37642 w 201644"/>
              <a:gd name="csY12" fmla="*/ 872825 h 873028"/>
              <a:gd name="csX13" fmla="*/ 8254 w 201644"/>
              <a:gd name="csY13" fmla="*/ 869956 h 873028"/>
              <a:gd name="csX14" fmla="*/ 787 w 201644"/>
              <a:gd name="csY14" fmla="*/ 856792 h 873028"/>
              <a:gd name="csX15" fmla="*/ 34667 w 201644"/>
              <a:gd name="csY15" fmla="*/ 708837 h 873028"/>
              <a:gd name="csX16" fmla="*/ 58163 w 201644"/>
              <a:gd name="csY16" fmla="*/ 560448 h 873028"/>
              <a:gd name="csX17" fmla="*/ 76857 w 201644"/>
              <a:gd name="csY17" fmla="*/ 397787 h 873028"/>
              <a:gd name="csX18" fmla="*/ 82557 w 201644"/>
              <a:gd name="csY18" fmla="*/ 310594 h 873028"/>
              <a:gd name="csX19" fmla="*/ 85488 w 201644"/>
              <a:gd name="csY19" fmla="*/ 205555 h 87302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</a:cxnLst>
            <a:rect l="l" t="t" r="r" b="b"/>
            <a:pathLst>
              <a:path w="201644" h="873028">
                <a:moveTo>
                  <a:pt x="85488" y="205555"/>
                </a:moveTo>
                <a:cubicBezTo>
                  <a:pt x="86332" y="168309"/>
                  <a:pt x="87720" y="132378"/>
                  <a:pt x="87827" y="96444"/>
                </a:cubicBezTo>
                <a:cubicBezTo>
                  <a:pt x="87903" y="70874"/>
                  <a:pt x="86030" y="45303"/>
                  <a:pt x="85450" y="19723"/>
                </a:cubicBezTo>
                <a:cubicBezTo>
                  <a:pt x="85069" y="2897"/>
                  <a:pt x="88460" y="-326"/>
                  <a:pt x="106451" y="25"/>
                </a:cubicBezTo>
                <a:cubicBezTo>
                  <a:pt x="130496" y="493"/>
                  <a:pt x="154524" y="1849"/>
                  <a:pt x="178569" y="2252"/>
                </a:cubicBezTo>
                <a:cubicBezTo>
                  <a:pt x="186663" y="2388"/>
                  <a:pt x="190154" y="6137"/>
                  <a:pt x="190725" y="13413"/>
                </a:cubicBezTo>
                <a:cubicBezTo>
                  <a:pt x="191778" y="26813"/>
                  <a:pt x="193293" y="40233"/>
                  <a:pt x="193322" y="53648"/>
                </a:cubicBezTo>
                <a:cubicBezTo>
                  <a:pt x="193599" y="183781"/>
                  <a:pt x="193383" y="313915"/>
                  <a:pt x="193813" y="444048"/>
                </a:cubicBezTo>
                <a:cubicBezTo>
                  <a:pt x="193967" y="490336"/>
                  <a:pt x="195465" y="536621"/>
                  <a:pt x="196421" y="582906"/>
                </a:cubicBezTo>
                <a:cubicBezTo>
                  <a:pt x="197210" y="621092"/>
                  <a:pt x="198181" y="659274"/>
                  <a:pt x="198935" y="697460"/>
                </a:cubicBezTo>
                <a:cubicBezTo>
                  <a:pt x="199930" y="747797"/>
                  <a:pt x="200941" y="798134"/>
                  <a:pt x="201635" y="848476"/>
                </a:cubicBezTo>
                <a:cubicBezTo>
                  <a:pt x="201904" y="868001"/>
                  <a:pt x="196572" y="872953"/>
                  <a:pt x="176780" y="872971"/>
                </a:cubicBezTo>
                <a:cubicBezTo>
                  <a:pt x="130401" y="873012"/>
                  <a:pt x="84020" y="873131"/>
                  <a:pt x="37642" y="872825"/>
                </a:cubicBezTo>
                <a:cubicBezTo>
                  <a:pt x="27836" y="872761"/>
                  <a:pt x="18001" y="871306"/>
                  <a:pt x="8254" y="869956"/>
                </a:cubicBezTo>
                <a:cubicBezTo>
                  <a:pt x="524" y="868885"/>
                  <a:pt x="-1268" y="865260"/>
                  <a:pt x="787" y="856792"/>
                </a:cubicBezTo>
                <a:cubicBezTo>
                  <a:pt x="12720" y="807623"/>
                  <a:pt x="25059" y="758486"/>
                  <a:pt x="34667" y="708837"/>
                </a:cubicBezTo>
                <a:cubicBezTo>
                  <a:pt x="44177" y="659694"/>
                  <a:pt x="51498" y="610075"/>
                  <a:pt x="58163" y="560448"/>
                </a:cubicBezTo>
                <a:cubicBezTo>
                  <a:pt x="65426" y="506364"/>
                  <a:pt x="71307" y="452080"/>
                  <a:pt x="76857" y="397787"/>
                </a:cubicBezTo>
                <a:cubicBezTo>
                  <a:pt x="79817" y="368829"/>
                  <a:pt x="81308" y="339690"/>
                  <a:pt x="82557" y="310594"/>
                </a:cubicBezTo>
                <a:cubicBezTo>
                  <a:pt x="84040" y="276041"/>
                  <a:pt x="84552" y="241446"/>
                  <a:pt x="85488" y="205555"/>
                </a:cubicBezTo>
                <a:close/>
              </a:path>
            </a:pathLst>
          </a:custGeom>
          <a:solidFill>
            <a:schemeClr val="bg1"/>
          </a:solidFill>
          <a:ln w="2699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91" name="Free-form: Shape 490">
            <a:extLst>
              <a:ext uri="{FF2B5EF4-FFF2-40B4-BE49-F238E27FC236}">
                <a16:creationId xmlns:a16="http://schemas.microsoft.com/office/drawing/2014/main" id="{D9FF289E-0A19-6BDF-324F-5EFDC270C7CB}"/>
              </a:ext>
            </a:extLst>
          </p:cNvPr>
          <p:cNvSpPr/>
          <p:nvPr/>
        </p:nvSpPr>
        <p:spPr>
          <a:xfrm flipH="1">
            <a:off x="6130374" y="3887149"/>
            <a:ext cx="172350" cy="248589"/>
          </a:xfrm>
          <a:custGeom>
            <a:avLst/>
            <a:gdLst>
              <a:gd name="csX0" fmla="*/ 778 w 226548"/>
              <a:gd name="csY0" fmla="*/ 0 h 337161"/>
              <a:gd name="csX1" fmla="*/ 37702 w 226548"/>
              <a:gd name="csY1" fmla="*/ 37373 h 337161"/>
              <a:gd name="csX2" fmla="*/ 104410 w 226548"/>
              <a:gd name="csY2" fmla="*/ 29446 h 337161"/>
              <a:gd name="csX3" fmla="*/ 121584 w 226548"/>
              <a:gd name="csY3" fmla="*/ 10749 h 337161"/>
              <a:gd name="csX4" fmla="*/ 168719 w 226548"/>
              <a:gd name="csY4" fmla="*/ 53353 h 337161"/>
              <a:gd name="csX5" fmla="*/ 226548 w 226548"/>
              <a:gd name="csY5" fmla="*/ 20770 h 337161"/>
              <a:gd name="csX6" fmla="*/ 195378 w 226548"/>
              <a:gd name="csY6" fmla="*/ 100783 h 337161"/>
              <a:gd name="csX7" fmla="*/ 130693 w 226548"/>
              <a:gd name="csY7" fmla="*/ 318354 h 337161"/>
              <a:gd name="csX8" fmla="*/ 108611 w 226548"/>
              <a:gd name="csY8" fmla="*/ 336726 h 337161"/>
              <a:gd name="csX9" fmla="*/ 15990 w 226548"/>
              <a:gd name="csY9" fmla="*/ 331469 h 337161"/>
              <a:gd name="csX10" fmla="*/ 0 w 226548"/>
              <a:gd name="csY10" fmla="*/ 331485 h 337161"/>
              <a:gd name="csX11" fmla="*/ 0 w 226548"/>
              <a:gd name="csY11" fmla="*/ 1107 h 33716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226548" h="337161">
                <a:moveTo>
                  <a:pt x="778" y="0"/>
                </a:moveTo>
                <a:cubicBezTo>
                  <a:pt x="13501" y="12962"/>
                  <a:pt x="25038" y="25783"/>
                  <a:pt x="37702" y="37373"/>
                </a:cubicBezTo>
                <a:cubicBezTo>
                  <a:pt x="58156" y="56093"/>
                  <a:pt x="87159" y="53087"/>
                  <a:pt x="104410" y="29446"/>
                </a:cubicBezTo>
                <a:cubicBezTo>
                  <a:pt x="109133" y="22974"/>
                  <a:pt x="115276" y="17539"/>
                  <a:pt x="121584" y="10749"/>
                </a:cubicBezTo>
                <a:cubicBezTo>
                  <a:pt x="130376" y="32859"/>
                  <a:pt x="139680" y="52822"/>
                  <a:pt x="168719" y="53353"/>
                </a:cubicBezTo>
                <a:cubicBezTo>
                  <a:pt x="194658" y="53827"/>
                  <a:pt x="206643" y="32131"/>
                  <a:pt x="226548" y="20770"/>
                </a:cubicBezTo>
                <a:cubicBezTo>
                  <a:pt x="215744" y="48562"/>
                  <a:pt x="205876" y="74800"/>
                  <a:pt x="195378" y="100783"/>
                </a:cubicBezTo>
                <a:cubicBezTo>
                  <a:pt x="166902" y="171263"/>
                  <a:pt x="147278" y="244366"/>
                  <a:pt x="130693" y="318354"/>
                </a:cubicBezTo>
                <a:cubicBezTo>
                  <a:pt x="126342" y="337768"/>
                  <a:pt x="126276" y="337983"/>
                  <a:pt x="108611" y="336726"/>
                </a:cubicBezTo>
                <a:cubicBezTo>
                  <a:pt x="77766" y="334530"/>
                  <a:pt x="46890" y="332362"/>
                  <a:pt x="15990" y="331469"/>
                </a:cubicBezTo>
                <a:lnTo>
                  <a:pt x="0" y="331485"/>
                </a:lnTo>
                <a:lnTo>
                  <a:pt x="0" y="1107"/>
                </a:lnTo>
                <a:close/>
              </a:path>
            </a:pathLst>
          </a:custGeom>
          <a:solidFill>
            <a:srgbClr val="CCD6DA"/>
          </a:solidFill>
          <a:ln w="2699" cap="flat">
            <a:noFill/>
            <a:prstDash val="solid"/>
            <a:miter/>
          </a:ln>
        </p:spPr>
        <p:txBody>
          <a:bodyPr wrap="squar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92" name="Free-form: Shape 491">
            <a:extLst>
              <a:ext uri="{FF2B5EF4-FFF2-40B4-BE49-F238E27FC236}">
                <a16:creationId xmlns:a16="http://schemas.microsoft.com/office/drawing/2014/main" id="{E363667C-529B-5B0B-3BCA-118314D71F72}"/>
              </a:ext>
            </a:extLst>
          </p:cNvPr>
          <p:cNvSpPr/>
          <p:nvPr/>
        </p:nvSpPr>
        <p:spPr>
          <a:xfrm flipH="1">
            <a:off x="6294547" y="4961551"/>
            <a:ext cx="249017" cy="182198"/>
          </a:xfrm>
          <a:custGeom>
            <a:avLst/>
            <a:gdLst>
              <a:gd name="csX0" fmla="*/ 6671 w 327322"/>
              <a:gd name="csY0" fmla="*/ 164556 h 254497"/>
              <a:gd name="csX1" fmla="*/ 41280 w 327322"/>
              <a:gd name="csY1" fmla="*/ 109282 h 254497"/>
              <a:gd name="csX2" fmla="*/ 75457 w 327322"/>
              <a:gd name="csY2" fmla="*/ 67908 h 254497"/>
              <a:gd name="csX3" fmla="*/ 94008 w 327322"/>
              <a:gd name="csY3" fmla="*/ 15251 h 254497"/>
              <a:gd name="csX4" fmla="*/ 111068 w 327322"/>
              <a:gd name="csY4" fmla="*/ 117 h 254497"/>
              <a:gd name="csX5" fmla="*/ 214190 w 327322"/>
              <a:gd name="csY5" fmla="*/ 7891 h 254497"/>
              <a:gd name="csX6" fmla="*/ 311124 w 327322"/>
              <a:gd name="csY6" fmla="*/ 11001 h 254497"/>
              <a:gd name="csX7" fmla="*/ 327310 w 327322"/>
              <a:gd name="csY7" fmla="*/ 26454 h 254497"/>
              <a:gd name="csX8" fmla="*/ 324474 w 327322"/>
              <a:gd name="csY8" fmla="*/ 240912 h 254497"/>
              <a:gd name="csX9" fmla="*/ 314032 w 327322"/>
              <a:gd name="csY9" fmla="*/ 253005 h 254497"/>
              <a:gd name="csX10" fmla="*/ 298014 w 327322"/>
              <a:gd name="csY10" fmla="*/ 254491 h 254497"/>
              <a:gd name="csX11" fmla="*/ 175432 w 327322"/>
              <a:gd name="csY11" fmla="*/ 251365 h 254497"/>
              <a:gd name="csX12" fmla="*/ 60761 w 327322"/>
              <a:gd name="csY12" fmla="*/ 238781 h 254497"/>
              <a:gd name="csX13" fmla="*/ 24636 w 327322"/>
              <a:gd name="csY13" fmla="*/ 235494 h 254497"/>
              <a:gd name="csX14" fmla="*/ 80 w 327322"/>
              <a:gd name="csY14" fmla="*/ 207868 h 254497"/>
              <a:gd name="csX15" fmla="*/ 6671 w 327322"/>
              <a:gd name="csY15" fmla="*/ 164556 h 25449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</a:cxnLst>
            <a:rect l="l" t="t" r="r" b="b"/>
            <a:pathLst>
              <a:path w="327322" h="254497">
                <a:moveTo>
                  <a:pt x="6671" y="164556"/>
                </a:moveTo>
                <a:cubicBezTo>
                  <a:pt x="18404" y="145412"/>
                  <a:pt x="28850" y="126637"/>
                  <a:pt x="41280" y="109282"/>
                </a:cubicBezTo>
                <a:cubicBezTo>
                  <a:pt x="51687" y="94752"/>
                  <a:pt x="66796" y="83230"/>
                  <a:pt x="75457" y="67908"/>
                </a:cubicBezTo>
                <a:cubicBezTo>
                  <a:pt x="84489" y="51927"/>
                  <a:pt x="89269" y="33249"/>
                  <a:pt x="94008" y="15251"/>
                </a:cubicBezTo>
                <a:cubicBezTo>
                  <a:pt x="96650" y="5217"/>
                  <a:pt x="99074" y="-938"/>
                  <a:pt x="111068" y="117"/>
                </a:cubicBezTo>
                <a:cubicBezTo>
                  <a:pt x="145406" y="3136"/>
                  <a:pt x="179777" y="5978"/>
                  <a:pt x="214190" y="7891"/>
                </a:cubicBezTo>
                <a:cubicBezTo>
                  <a:pt x="246464" y="9686"/>
                  <a:pt x="278804" y="10746"/>
                  <a:pt x="311124" y="11001"/>
                </a:cubicBezTo>
                <a:cubicBezTo>
                  <a:pt x="322834" y="11094"/>
                  <a:pt x="327597" y="13267"/>
                  <a:pt x="327310" y="26454"/>
                </a:cubicBezTo>
                <a:cubicBezTo>
                  <a:pt x="325754" y="97927"/>
                  <a:pt x="325026" y="169421"/>
                  <a:pt x="324474" y="240912"/>
                </a:cubicBezTo>
                <a:cubicBezTo>
                  <a:pt x="324411" y="249073"/>
                  <a:pt x="321499" y="252364"/>
                  <a:pt x="314032" y="253005"/>
                </a:cubicBezTo>
                <a:cubicBezTo>
                  <a:pt x="308686" y="253463"/>
                  <a:pt x="303341" y="254593"/>
                  <a:pt x="298014" y="254491"/>
                </a:cubicBezTo>
                <a:cubicBezTo>
                  <a:pt x="257142" y="253707"/>
                  <a:pt x="216187" y="254041"/>
                  <a:pt x="175432" y="251365"/>
                </a:cubicBezTo>
                <a:cubicBezTo>
                  <a:pt x="137099" y="248847"/>
                  <a:pt x="98986" y="243009"/>
                  <a:pt x="60761" y="238781"/>
                </a:cubicBezTo>
                <a:cubicBezTo>
                  <a:pt x="48745" y="237452"/>
                  <a:pt x="36657" y="236780"/>
                  <a:pt x="24636" y="235494"/>
                </a:cubicBezTo>
                <a:cubicBezTo>
                  <a:pt x="4883" y="233380"/>
                  <a:pt x="-764" y="227920"/>
                  <a:pt x="80" y="207868"/>
                </a:cubicBezTo>
                <a:cubicBezTo>
                  <a:pt x="677" y="193697"/>
                  <a:pt x="4088" y="179644"/>
                  <a:pt x="6671" y="164556"/>
                </a:cubicBezTo>
                <a:close/>
              </a:path>
            </a:pathLst>
          </a:custGeom>
          <a:solidFill>
            <a:schemeClr val="bg1"/>
          </a:solidFill>
          <a:ln w="2699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93" name="Free-form: Shape 492">
            <a:extLst>
              <a:ext uri="{FF2B5EF4-FFF2-40B4-BE49-F238E27FC236}">
                <a16:creationId xmlns:a16="http://schemas.microsoft.com/office/drawing/2014/main" id="{3FB1C49C-2666-AF6F-6A85-0100284F67DC}"/>
              </a:ext>
            </a:extLst>
          </p:cNvPr>
          <p:cNvSpPr/>
          <p:nvPr/>
        </p:nvSpPr>
        <p:spPr>
          <a:xfrm flipH="1">
            <a:off x="6292824" y="5163664"/>
            <a:ext cx="265587" cy="67524"/>
          </a:xfrm>
          <a:custGeom>
            <a:avLst/>
            <a:gdLst>
              <a:gd name="csX0" fmla="*/ 349104 w 349103"/>
              <a:gd name="csY0" fmla="*/ 55996 h 94319"/>
              <a:gd name="csX1" fmla="*/ 312357 w 349103"/>
              <a:gd name="csY1" fmla="*/ 93839 h 94319"/>
              <a:gd name="csX2" fmla="*/ 208388 w 349103"/>
              <a:gd name="csY2" fmla="*/ 93494 h 94319"/>
              <a:gd name="csX3" fmla="*/ 10435 w 349103"/>
              <a:gd name="csY3" fmla="*/ 66884 h 94319"/>
              <a:gd name="csX4" fmla="*/ 269 w 349103"/>
              <a:gd name="csY4" fmla="*/ 54029 h 94319"/>
              <a:gd name="csX5" fmla="*/ 9397 w 349103"/>
              <a:gd name="csY5" fmla="*/ 10950 h 94319"/>
              <a:gd name="csX6" fmla="*/ 28165 w 349103"/>
              <a:gd name="csY6" fmla="*/ 46 h 94319"/>
              <a:gd name="csX7" fmla="*/ 171895 w 349103"/>
              <a:gd name="csY7" fmla="*/ 17673 h 94319"/>
              <a:gd name="csX8" fmla="*/ 217491 w 349103"/>
              <a:gd name="csY8" fmla="*/ 20703 h 94319"/>
              <a:gd name="csX9" fmla="*/ 329287 w 349103"/>
              <a:gd name="csY9" fmla="*/ 23362 h 94319"/>
              <a:gd name="csX10" fmla="*/ 349090 w 349103"/>
              <a:gd name="csY10" fmla="*/ 42524 h 94319"/>
              <a:gd name="csX11" fmla="*/ 349104 w 349103"/>
              <a:gd name="csY11" fmla="*/ 55996 h 9431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349103" h="94319">
                <a:moveTo>
                  <a:pt x="349104" y="55996"/>
                </a:moveTo>
                <a:cubicBezTo>
                  <a:pt x="349060" y="93701"/>
                  <a:pt x="349061" y="93771"/>
                  <a:pt x="312357" y="93839"/>
                </a:cubicBezTo>
                <a:cubicBezTo>
                  <a:pt x="277697" y="93903"/>
                  <a:pt x="242977" y="95081"/>
                  <a:pt x="208388" y="93494"/>
                </a:cubicBezTo>
                <a:cubicBezTo>
                  <a:pt x="141692" y="90433"/>
                  <a:pt x="75510" y="82596"/>
                  <a:pt x="10435" y="66884"/>
                </a:cubicBezTo>
                <a:cubicBezTo>
                  <a:pt x="3157" y="65127"/>
                  <a:pt x="-1148" y="61858"/>
                  <a:pt x="269" y="54029"/>
                </a:cubicBezTo>
                <a:cubicBezTo>
                  <a:pt x="2890" y="39546"/>
                  <a:pt x="4341" y="24565"/>
                  <a:pt x="9397" y="10950"/>
                </a:cubicBezTo>
                <a:cubicBezTo>
                  <a:pt x="11408" y="5532"/>
                  <a:pt x="22101" y="-591"/>
                  <a:pt x="28165" y="46"/>
                </a:cubicBezTo>
                <a:cubicBezTo>
                  <a:pt x="76162" y="5087"/>
                  <a:pt x="123969" y="11902"/>
                  <a:pt x="171895" y="17673"/>
                </a:cubicBezTo>
                <a:cubicBezTo>
                  <a:pt x="186999" y="19491"/>
                  <a:pt x="202271" y="20235"/>
                  <a:pt x="217491" y="20703"/>
                </a:cubicBezTo>
                <a:cubicBezTo>
                  <a:pt x="254748" y="21848"/>
                  <a:pt x="292017" y="22695"/>
                  <a:pt x="329287" y="23362"/>
                </a:cubicBezTo>
                <a:cubicBezTo>
                  <a:pt x="349020" y="23715"/>
                  <a:pt x="349026" y="23431"/>
                  <a:pt x="349090" y="42524"/>
                </a:cubicBezTo>
                <a:cubicBezTo>
                  <a:pt x="349103" y="46576"/>
                  <a:pt x="349099" y="50627"/>
                  <a:pt x="349104" y="55996"/>
                </a:cubicBezTo>
                <a:close/>
              </a:path>
            </a:pathLst>
          </a:custGeom>
          <a:solidFill>
            <a:schemeClr val="bg1"/>
          </a:solidFill>
          <a:ln w="2699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94" name="Free-form: Shape 493">
            <a:extLst>
              <a:ext uri="{FF2B5EF4-FFF2-40B4-BE49-F238E27FC236}">
                <a16:creationId xmlns:a16="http://schemas.microsoft.com/office/drawing/2014/main" id="{CAAD04D5-3ECE-27BE-678C-4110A7A78B10}"/>
              </a:ext>
            </a:extLst>
          </p:cNvPr>
          <p:cNvSpPr/>
          <p:nvPr/>
        </p:nvSpPr>
        <p:spPr>
          <a:xfrm flipH="1">
            <a:off x="6208548" y="3773331"/>
            <a:ext cx="191239" cy="139371"/>
          </a:xfrm>
          <a:custGeom>
            <a:avLst/>
            <a:gdLst>
              <a:gd name="csX0" fmla="*/ 0 w 251376"/>
              <a:gd name="csY0" fmla="*/ 143557 h 194676"/>
              <a:gd name="csX1" fmla="*/ 60552 w 251376"/>
              <a:gd name="csY1" fmla="*/ 103445 h 194676"/>
              <a:gd name="csX2" fmla="*/ 106376 w 251376"/>
              <a:gd name="csY2" fmla="*/ 90701 h 194676"/>
              <a:gd name="csX3" fmla="*/ 95829 w 251376"/>
              <a:gd name="csY3" fmla="*/ 13769 h 194676"/>
              <a:gd name="csX4" fmla="*/ 152117 w 251376"/>
              <a:gd name="csY4" fmla="*/ 8010 h 194676"/>
              <a:gd name="csX5" fmla="*/ 155319 w 251376"/>
              <a:gd name="csY5" fmla="*/ 88701 h 194676"/>
              <a:gd name="csX6" fmla="*/ 251288 w 251376"/>
              <a:gd name="csY6" fmla="*/ 139911 h 194676"/>
              <a:gd name="csX7" fmla="*/ 251376 w 251376"/>
              <a:gd name="csY7" fmla="*/ 140847 h 194676"/>
              <a:gd name="csX8" fmla="*/ 226496 w 251376"/>
              <a:gd name="csY8" fmla="*/ 163548 h 194676"/>
              <a:gd name="csX9" fmla="*/ 207044 w 251376"/>
              <a:gd name="csY9" fmla="*/ 187024 h 194676"/>
              <a:gd name="csX10" fmla="*/ 170188 w 251376"/>
              <a:gd name="csY10" fmla="*/ 184842 h 194676"/>
              <a:gd name="csX11" fmla="*/ 142028 w 251376"/>
              <a:gd name="csY11" fmla="*/ 145925 h 194676"/>
              <a:gd name="csX12" fmla="*/ 109750 w 251376"/>
              <a:gd name="csY12" fmla="*/ 146361 h 194676"/>
              <a:gd name="csX13" fmla="*/ 89415 w 251376"/>
              <a:gd name="csY13" fmla="*/ 177998 h 194676"/>
              <a:gd name="csX14" fmla="*/ 40867 w 251376"/>
              <a:gd name="csY14" fmla="*/ 182615 h 194676"/>
              <a:gd name="csX15" fmla="*/ 24429 w 251376"/>
              <a:gd name="csY15" fmla="*/ 159868 h 194676"/>
              <a:gd name="csX16" fmla="*/ 1027 w 251376"/>
              <a:gd name="csY16" fmla="*/ 143506 h 194676"/>
              <a:gd name="csX17" fmla="*/ 0 w 251376"/>
              <a:gd name="csY17" fmla="*/ 143557 h 19467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</a:cxnLst>
            <a:rect l="l" t="t" r="r" b="b"/>
            <a:pathLst>
              <a:path w="251376" h="194676">
                <a:moveTo>
                  <a:pt x="0" y="143557"/>
                </a:moveTo>
                <a:cubicBezTo>
                  <a:pt x="15077" y="122513"/>
                  <a:pt x="37857" y="112614"/>
                  <a:pt x="60552" y="103445"/>
                </a:cubicBezTo>
                <a:cubicBezTo>
                  <a:pt x="75119" y="97559"/>
                  <a:pt x="90974" y="94861"/>
                  <a:pt x="106376" y="90701"/>
                </a:cubicBezTo>
                <a:cubicBezTo>
                  <a:pt x="76306" y="53327"/>
                  <a:pt x="73986" y="36115"/>
                  <a:pt x="95829" y="13769"/>
                </a:cubicBezTo>
                <a:cubicBezTo>
                  <a:pt x="111332" y="-2091"/>
                  <a:pt x="135594" y="-4573"/>
                  <a:pt x="152117" y="8010"/>
                </a:cubicBezTo>
                <a:cubicBezTo>
                  <a:pt x="176627" y="26675"/>
                  <a:pt x="177784" y="50470"/>
                  <a:pt x="155319" y="88701"/>
                </a:cubicBezTo>
                <a:cubicBezTo>
                  <a:pt x="191521" y="97669"/>
                  <a:pt x="225098" y="111398"/>
                  <a:pt x="251288" y="139911"/>
                </a:cubicBezTo>
                <a:cubicBezTo>
                  <a:pt x="251389" y="140832"/>
                  <a:pt x="251376" y="140847"/>
                  <a:pt x="251376" y="140847"/>
                </a:cubicBezTo>
                <a:cubicBezTo>
                  <a:pt x="237967" y="142841"/>
                  <a:pt x="233190" y="154057"/>
                  <a:pt x="226496" y="163548"/>
                </a:cubicBezTo>
                <a:cubicBezTo>
                  <a:pt x="220639" y="171855"/>
                  <a:pt x="214757" y="180670"/>
                  <a:pt x="207044" y="187024"/>
                </a:cubicBezTo>
                <a:cubicBezTo>
                  <a:pt x="194009" y="197760"/>
                  <a:pt x="181605" y="197350"/>
                  <a:pt x="170188" y="184842"/>
                </a:cubicBezTo>
                <a:cubicBezTo>
                  <a:pt x="159459" y="173090"/>
                  <a:pt x="151029" y="159183"/>
                  <a:pt x="142028" y="145925"/>
                </a:cubicBezTo>
                <a:cubicBezTo>
                  <a:pt x="129426" y="127363"/>
                  <a:pt x="121871" y="127341"/>
                  <a:pt x="109750" y="146361"/>
                </a:cubicBezTo>
                <a:cubicBezTo>
                  <a:pt x="103011" y="156935"/>
                  <a:pt x="96721" y="167832"/>
                  <a:pt x="89415" y="177998"/>
                </a:cubicBezTo>
                <a:cubicBezTo>
                  <a:pt x="76871" y="195453"/>
                  <a:pt x="56252" y="197624"/>
                  <a:pt x="40867" y="182615"/>
                </a:cubicBezTo>
                <a:cubicBezTo>
                  <a:pt x="34266" y="176176"/>
                  <a:pt x="29617" y="167667"/>
                  <a:pt x="24429" y="159868"/>
                </a:cubicBezTo>
                <a:cubicBezTo>
                  <a:pt x="18931" y="151605"/>
                  <a:pt x="14335" y="142406"/>
                  <a:pt x="1027" y="143506"/>
                </a:cubicBezTo>
                <a:cubicBezTo>
                  <a:pt x="-26" y="143536"/>
                  <a:pt x="0" y="143557"/>
                  <a:pt x="0" y="143557"/>
                </a:cubicBezTo>
                <a:close/>
              </a:path>
            </a:pathLst>
          </a:custGeom>
          <a:solidFill>
            <a:srgbClr val="FCFCFB"/>
          </a:solidFill>
          <a:ln w="2699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95" name="Free-form: Shape 494">
            <a:extLst>
              <a:ext uri="{FF2B5EF4-FFF2-40B4-BE49-F238E27FC236}">
                <a16:creationId xmlns:a16="http://schemas.microsoft.com/office/drawing/2014/main" id="{B8456789-266C-E32E-7533-6F210000B5EB}"/>
              </a:ext>
            </a:extLst>
          </p:cNvPr>
          <p:cNvSpPr/>
          <p:nvPr/>
        </p:nvSpPr>
        <p:spPr>
          <a:xfrm flipH="1">
            <a:off x="6304902" y="4162591"/>
            <a:ext cx="86686" cy="45131"/>
          </a:xfrm>
          <a:custGeom>
            <a:avLst/>
            <a:gdLst>
              <a:gd name="csX0" fmla="*/ 62457 w 230080"/>
              <a:gd name="csY0" fmla="*/ 0 h 51402"/>
              <a:gd name="csX1" fmla="*/ 229715 w 230080"/>
              <a:gd name="csY1" fmla="*/ 2548 h 51402"/>
              <a:gd name="csX2" fmla="*/ 229033 w 230080"/>
              <a:gd name="csY2" fmla="*/ 41559 h 51402"/>
              <a:gd name="csX3" fmla="*/ 214851 w 230080"/>
              <a:gd name="csY3" fmla="*/ 50862 h 51402"/>
              <a:gd name="csX4" fmla="*/ 120527 w 230080"/>
              <a:gd name="csY4" fmla="*/ 48743 h 51402"/>
              <a:gd name="csX5" fmla="*/ 13547 w 230080"/>
              <a:gd name="csY5" fmla="*/ 51342 h 51402"/>
              <a:gd name="csX6" fmla="*/ 61 w 230080"/>
              <a:gd name="csY6" fmla="*/ 51359 h 51402"/>
              <a:gd name="csX7" fmla="*/ 4 w 230080"/>
              <a:gd name="csY7" fmla="*/ 13697 h 51402"/>
              <a:gd name="csX8" fmla="*/ 10055 w 230080"/>
              <a:gd name="csY8" fmla="*/ 2596 h 51402"/>
              <a:gd name="csX9" fmla="*/ 62457 w 230080"/>
              <a:gd name="csY9" fmla="*/ 0 h 5140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230080" h="51402">
                <a:moveTo>
                  <a:pt x="62457" y="0"/>
                </a:moveTo>
                <a:cubicBezTo>
                  <a:pt x="118516" y="838"/>
                  <a:pt x="173258" y="1679"/>
                  <a:pt x="229715" y="2548"/>
                </a:cubicBezTo>
                <a:cubicBezTo>
                  <a:pt x="229715" y="16728"/>
                  <a:pt x="230888" y="29374"/>
                  <a:pt x="229033" y="41559"/>
                </a:cubicBezTo>
                <a:cubicBezTo>
                  <a:pt x="228442" y="45440"/>
                  <a:pt x="219802" y="50868"/>
                  <a:pt x="214851" y="50862"/>
                </a:cubicBezTo>
                <a:cubicBezTo>
                  <a:pt x="183409" y="50825"/>
                  <a:pt x="151967" y="48693"/>
                  <a:pt x="120527" y="48743"/>
                </a:cubicBezTo>
                <a:cubicBezTo>
                  <a:pt x="84866" y="48800"/>
                  <a:pt x="49208" y="50434"/>
                  <a:pt x="13547" y="51342"/>
                </a:cubicBezTo>
                <a:cubicBezTo>
                  <a:pt x="8707" y="51466"/>
                  <a:pt x="3861" y="51359"/>
                  <a:pt x="61" y="51359"/>
                </a:cubicBezTo>
                <a:cubicBezTo>
                  <a:pt x="61" y="37755"/>
                  <a:pt x="210" y="25723"/>
                  <a:pt x="4" y="13697"/>
                </a:cubicBezTo>
                <a:cubicBezTo>
                  <a:pt x="-117" y="6604"/>
                  <a:pt x="2365" y="2860"/>
                  <a:pt x="10055" y="2596"/>
                </a:cubicBezTo>
                <a:cubicBezTo>
                  <a:pt x="27093" y="2012"/>
                  <a:pt x="44112" y="901"/>
                  <a:pt x="62457" y="0"/>
                </a:cubicBezTo>
                <a:close/>
              </a:path>
            </a:pathLst>
          </a:custGeom>
          <a:solidFill>
            <a:srgbClr val="FCFCFB"/>
          </a:solidFill>
          <a:ln w="2699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96" name="Free-form: Shape 495">
            <a:extLst>
              <a:ext uri="{FF2B5EF4-FFF2-40B4-BE49-F238E27FC236}">
                <a16:creationId xmlns:a16="http://schemas.microsoft.com/office/drawing/2014/main" id="{ED861AD9-97F5-20D5-8B0E-A1355002CC18}"/>
              </a:ext>
            </a:extLst>
          </p:cNvPr>
          <p:cNvSpPr/>
          <p:nvPr/>
        </p:nvSpPr>
        <p:spPr>
          <a:xfrm flipH="1">
            <a:off x="6303093" y="4253893"/>
            <a:ext cx="142202" cy="36415"/>
          </a:xfrm>
          <a:custGeom>
            <a:avLst/>
            <a:gdLst>
              <a:gd name="csX0" fmla="*/ 171523 w 186920"/>
              <a:gd name="csY0" fmla="*/ 2414 h 50865"/>
              <a:gd name="csX1" fmla="*/ 186375 w 186920"/>
              <a:gd name="csY1" fmla="*/ 26146 h 50865"/>
              <a:gd name="csX2" fmla="*/ 156333 w 186920"/>
              <a:gd name="csY2" fmla="*/ 50678 h 50865"/>
              <a:gd name="csX3" fmla="*/ 31413 w 186920"/>
              <a:gd name="csY3" fmla="*/ 44982 h 50865"/>
              <a:gd name="csX4" fmla="*/ 7682 w 186920"/>
              <a:gd name="csY4" fmla="*/ 36449 h 50865"/>
              <a:gd name="csX5" fmla="*/ 8802 w 186920"/>
              <a:gd name="csY5" fmla="*/ 7738 h 50865"/>
              <a:gd name="csX6" fmla="*/ 34247 w 186920"/>
              <a:gd name="csY6" fmla="*/ 115 h 50865"/>
              <a:gd name="csX7" fmla="*/ 102852 w 186920"/>
              <a:gd name="csY7" fmla="*/ 1497 h 50865"/>
              <a:gd name="csX8" fmla="*/ 171523 w 186920"/>
              <a:gd name="csY8" fmla="*/ 2414 h 5086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</a:cxnLst>
            <a:rect l="l" t="t" r="r" b="b"/>
            <a:pathLst>
              <a:path w="186920" h="50865">
                <a:moveTo>
                  <a:pt x="171523" y="2414"/>
                </a:moveTo>
                <a:cubicBezTo>
                  <a:pt x="185638" y="5545"/>
                  <a:pt x="188278" y="14444"/>
                  <a:pt x="186375" y="26146"/>
                </a:cubicBezTo>
                <a:cubicBezTo>
                  <a:pt x="182364" y="50813"/>
                  <a:pt x="182394" y="51476"/>
                  <a:pt x="156333" y="50678"/>
                </a:cubicBezTo>
                <a:cubicBezTo>
                  <a:pt x="114670" y="49402"/>
                  <a:pt x="73013" y="47552"/>
                  <a:pt x="31413" y="44982"/>
                </a:cubicBezTo>
                <a:cubicBezTo>
                  <a:pt x="23309" y="44481"/>
                  <a:pt x="14787" y="40731"/>
                  <a:pt x="7682" y="36449"/>
                </a:cubicBezTo>
                <a:cubicBezTo>
                  <a:pt x="-3069" y="29971"/>
                  <a:pt x="-2389" y="13306"/>
                  <a:pt x="8802" y="7738"/>
                </a:cubicBezTo>
                <a:cubicBezTo>
                  <a:pt x="16663" y="3827"/>
                  <a:pt x="25670" y="315"/>
                  <a:pt x="34247" y="115"/>
                </a:cubicBezTo>
                <a:cubicBezTo>
                  <a:pt x="57092" y="-420"/>
                  <a:pt x="79978" y="1064"/>
                  <a:pt x="102852" y="1497"/>
                </a:cubicBezTo>
                <a:cubicBezTo>
                  <a:pt x="125350" y="1922"/>
                  <a:pt x="147854" y="2044"/>
                  <a:pt x="171523" y="2414"/>
                </a:cubicBezTo>
                <a:close/>
              </a:path>
            </a:pathLst>
          </a:custGeom>
          <a:solidFill>
            <a:srgbClr val="FCFCFB"/>
          </a:solidFill>
          <a:ln w="2699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97" name="Free-form: Shape 496">
            <a:extLst>
              <a:ext uri="{FF2B5EF4-FFF2-40B4-BE49-F238E27FC236}">
                <a16:creationId xmlns:a16="http://schemas.microsoft.com/office/drawing/2014/main" id="{3BBF7E4C-B3C0-151E-DFA5-FAB99FD891E6}"/>
              </a:ext>
            </a:extLst>
          </p:cNvPr>
          <p:cNvSpPr/>
          <p:nvPr/>
        </p:nvSpPr>
        <p:spPr>
          <a:xfrm flipH="1">
            <a:off x="6304902" y="4210856"/>
            <a:ext cx="115601" cy="26906"/>
          </a:xfrm>
          <a:custGeom>
            <a:avLst/>
            <a:gdLst>
              <a:gd name="csX0" fmla="*/ 89107 w 151953"/>
              <a:gd name="csY0" fmla="*/ 252 h 37582"/>
              <a:gd name="csX1" fmla="*/ 137399 w 151953"/>
              <a:gd name="csY1" fmla="*/ 2948 h 37582"/>
              <a:gd name="csX2" fmla="*/ 151923 w 151953"/>
              <a:gd name="csY2" fmla="*/ 22533 h 37582"/>
              <a:gd name="csX3" fmla="*/ 138022 w 151953"/>
              <a:gd name="csY3" fmla="*/ 37581 h 37582"/>
              <a:gd name="csX4" fmla="*/ 61340 w 151953"/>
              <a:gd name="csY4" fmla="*/ 35549 h 37582"/>
              <a:gd name="csX5" fmla="*/ 10364 w 151953"/>
              <a:gd name="csY5" fmla="*/ 32504 h 37582"/>
              <a:gd name="csX6" fmla="*/ 3387 w 151953"/>
              <a:gd name="csY6" fmla="*/ 14529 h 37582"/>
              <a:gd name="csX7" fmla="*/ 40547 w 151953"/>
              <a:gd name="csY7" fmla="*/ 433 h 37582"/>
              <a:gd name="csX8" fmla="*/ 89107 w 151953"/>
              <a:gd name="csY8" fmla="*/ 252 h 3758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</a:cxnLst>
            <a:rect l="l" t="t" r="r" b="b"/>
            <a:pathLst>
              <a:path w="151953" h="37582">
                <a:moveTo>
                  <a:pt x="89107" y="252"/>
                </a:moveTo>
                <a:cubicBezTo>
                  <a:pt x="106080" y="1151"/>
                  <a:pt x="121739" y="2057"/>
                  <a:pt x="137399" y="2948"/>
                </a:cubicBezTo>
                <a:cubicBezTo>
                  <a:pt x="150166" y="3675"/>
                  <a:pt x="151455" y="11818"/>
                  <a:pt x="151923" y="22533"/>
                </a:cubicBezTo>
                <a:cubicBezTo>
                  <a:pt x="152405" y="33546"/>
                  <a:pt x="147123" y="37663"/>
                  <a:pt x="138022" y="37581"/>
                </a:cubicBezTo>
                <a:cubicBezTo>
                  <a:pt x="112456" y="37353"/>
                  <a:pt x="86891" y="36506"/>
                  <a:pt x="61340" y="35549"/>
                </a:cubicBezTo>
                <a:cubicBezTo>
                  <a:pt x="44330" y="34912"/>
                  <a:pt x="27290" y="34194"/>
                  <a:pt x="10364" y="32504"/>
                </a:cubicBezTo>
                <a:cubicBezTo>
                  <a:pt x="-484" y="31420"/>
                  <a:pt x="-2827" y="23494"/>
                  <a:pt x="3387" y="14529"/>
                </a:cubicBezTo>
                <a:cubicBezTo>
                  <a:pt x="12657" y="1154"/>
                  <a:pt x="26943" y="1169"/>
                  <a:pt x="40547" y="433"/>
                </a:cubicBezTo>
                <a:cubicBezTo>
                  <a:pt x="56253" y="-417"/>
                  <a:pt x="72041" y="246"/>
                  <a:pt x="89107" y="252"/>
                </a:cubicBezTo>
                <a:close/>
              </a:path>
            </a:pathLst>
          </a:custGeom>
          <a:solidFill>
            <a:srgbClr val="FCFCFB"/>
          </a:solidFill>
          <a:ln w="2699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98" name="Free-form: Shape 497">
            <a:extLst>
              <a:ext uri="{FF2B5EF4-FFF2-40B4-BE49-F238E27FC236}">
                <a16:creationId xmlns:a16="http://schemas.microsoft.com/office/drawing/2014/main" id="{0666D16E-4670-1AE4-BC3E-5D6FC4AACB2B}"/>
              </a:ext>
            </a:extLst>
          </p:cNvPr>
          <p:cNvSpPr/>
          <p:nvPr/>
        </p:nvSpPr>
        <p:spPr>
          <a:xfrm flipH="1">
            <a:off x="6303145" y="4139206"/>
            <a:ext cx="105252" cy="17381"/>
          </a:xfrm>
          <a:custGeom>
            <a:avLst/>
            <a:gdLst>
              <a:gd name="csX0" fmla="*/ 1318 w 138350"/>
              <a:gd name="csY0" fmla="*/ 5445 h 24278"/>
              <a:gd name="csX1" fmla="*/ 32185 w 138350"/>
              <a:gd name="csY1" fmla="*/ 359 h 24278"/>
              <a:gd name="csX2" fmla="*/ 127547 w 138350"/>
              <a:gd name="csY2" fmla="*/ 1 h 24278"/>
              <a:gd name="csX3" fmla="*/ 138350 w 138350"/>
              <a:gd name="csY3" fmla="*/ 11778 h 24278"/>
              <a:gd name="csX4" fmla="*/ 127229 w 138350"/>
              <a:gd name="csY4" fmla="*/ 21765 h 24278"/>
              <a:gd name="csX5" fmla="*/ 55623 w 138350"/>
              <a:gd name="csY5" fmla="*/ 21860 h 24278"/>
              <a:gd name="csX6" fmla="*/ 14025 w 138350"/>
              <a:gd name="csY6" fmla="*/ 24277 h 24278"/>
              <a:gd name="csX7" fmla="*/ 1318 w 138350"/>
              <a:gd name="csY7" fmla="*/ 5445 h 2427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</a:cxnLst>
            <a:rect l="l" t="t" r="r" b="b"/>
            <a:pathLst>
              <a:path w="138350" h="24278">
                <a:moveTo>
                  <a:pt x="1318" y="5445"/>
                </a:moveTo>
                <a:cubicBezTo>
                  <a:pt x="11943" y="3060"/>
                  <a:pt x="22043" y="540"/>
                  <a:pt x="32185" y="359"/>
                </a:cubicBezTo>
                <a:cubicBezTo>
                  <a:pt x="63964" y="-209"/>
                  <a:pt x="95760" y="221"/>
                  <a:pt x="127547" y="1"/>
                </a:cubicBezTo>
                <a:cubicBezTo>
                  <a:pt x="136004" y="-58"/>
                  <a:pt x="138385" y="4159"/>
                  <a:pt x="138350" y="11778"/>
                </a:cubicBezTo>
                <a:cubicBezTo>
                  <a:pt x="138314" y="19623"/>
                  <a:pt x="134207" y="21799"/>
                  <a:pt x="127229" y="21765"/>
                </a:cubicBezTo>
                <a:cubicBezTo>
                  <a:pt x="103360" y="21647"/>
                  <a:pt x="79485" y="21423"/>
                  <a:pt x="55623" y="21860"/>
                </a:cubicBezTo>
                <a:cubicBezTo>
                  <a:pt x="41746" y="22114"/>
                  <a:pt x="27896" y="24173"/>
                  <a:pt x="14025" y="24277"/>
                </a:cubicBezTo>
                <a:cubicBezTo>
                  <a:pt x="1111" y="24374"/>
                  <a:pt x="-2207" y="19176"/>
                  <a:pt x="1318" y="5445"/>
                </a:cubicBezTo>
                <a:close/>
              </a:path>
            </a:pathLst>
          </a:custGeom>
          <a:solidFill>
            <a:srgbClr val="FCFCFB"/>
          </a:solidFill>
          <a:ln w="2699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99" name="Free-form: Shape 498">
            <a:extLst>
              <a:ext uri="{FF2B5EF4-FFF2-40B4-BE49-F238E27FC236}">
                <a16:creationId xmlns:a16="http://schemas.microsoft.com/office/drawing/2014/main" id="{A0943BA0-B96F-185A-CF7B-B42814203BE7}"/>
              </a:ext>
            </a:extLst>
          </p:cNvPr>
          <p:cNvSpPr/>
          <p:nvPr/>
        </p:nvSpPr>
        <p:spPr>
          <a:xfrm flipH="1">
            <a:off x="6181543" y="3880776"/>
            <a:ext cx="21342" cy="32407"/>
          </a:xfrm>
          <a:custGeom>
            <a:avLst/>
            <a:gdLst>
              <a:gd name="csX0" fmla="*/ 10475 w 28053"/>
              <a:gd name="csY0" fmla="*/ 29183 h 45267"/>
              <a:gd name="csX1" fmla="*/ 0 w 28053"/>
              <a:gd name="csY1" fmla="*/ 1367 h 45267"/>
              <a:gd name="csX2" fmla="*/ 3154 w 28053"/>
              <a:gd name="csY2" fmla="*/ 0 h 45267"/>
              <a:gd name="csX3" fmla="*/ 28053 w 28053"/>
              <a:gd name="csY3" fmla="*/ 42345 h 45267"/>
              <a:gd name="csX4" fmla="*/ 24171 w 28053"/>
              <a:gd name="csY4" fmla="*/ 45267 h 45267"/>
              <a:gd name="csX5" fmla="*/ 10475 w 28053"/>
              <a:gd name="csY5" fmla="*/ 29183 h 4526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</a:cxnLst>
            <a:rect l="l" t="t" r="r" b="b"/>
            <a:pathLst>
              <a:path w="28053" h="45267">
                <a:moveTo>
                  <a:pt x="10475" y="29183"/>
                </a:moveTo>
                <a:cubicBezTo>
                  <a:pt x="6669" y="19319"/>
                  <a:pt x="3335" y="10343"/>
                  <a:pt x="0" y="1367"/>
                </a:cubicBezTo>
                <a:cubicBezTo>
                  <a:pt x="1051" y="911"/>
                  <a:pt x="2102" y="456"/>
                  <a:pt x="3154" y="0"/>
                </a:cubicBezTo>
                <a:cubicBezTo>
                  <a:pt x="13794" y="12787"/>
                  <a:pt x="24893" y="25314"/>
                  <a:pt x="28053" y="42345"/>
                </a:cubicBezTo>
                <a:cubicBezTo>
                  <a:pt x="26759" y="43319"/>
                  <a:pt x="25465" y="44293"/>
                  <a:pt x="24171" y="45267"/>
                </a:cubicBezTo>
                <a:cubicBezTo>
                  <a:pt x="19762" y="40202"/>
                  <a:pt x="15354" y="35136"/>
                  <a:pt x="10475" y="29183"/>
                </a:cubicBezTo>
                <a:close/>
              </a:path>
            </a:pathLst>
          </a:custGeom>
          <a:solidFill>
            <a:srgbClr val="CCD6DA"/>
          </a:solidFill>
          <a:ln w="2699" cap="flat">
            <a:solidFill>
              <a:srgbClr val="CDD9DF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00" name="Free-form: Shape 499">
            <a:extLst>
              <a:ext uri="{FF2B5EF4-FFF2-40B4-BE49-F238E27FC236}">
                <a16:creationId xmlns:a16="http://schemas.microsoft.com/office/drawing/2014/main" id="{9B89890E-BBFA-E39E-4C35-68FA1563B21A}"/>
              </a:ext>
            </a:extLst>
          </p:cNvPr>
          <p:cNvSpPr/>
          <p:nvPr/>
        </p:nvSpPr>
        <p:spPr>
          <a:xfrm flipH="1">
            <a:off x="6403039" y="3880249"/>
            <a:ext cx="22217" cy="30279"/>
          </a:xfrm>
          <a:custGeom>
            <a:avLst/>
            <a:gdLst>
              <a:gd name="csX0" fmla="*/ 10018 w 29204"/>
              <a:gd name="csY0" fmla="*/ 38080 h 42295"/>
              <a:gd name="csX1" fmla="*/ 3166 w 29204"/>
              <a:gd name="csY1" fmla="*/ 42296 h 42295"/>
              <a:gd name="csX2" fmla="*/ 0 w 29204"/>
              <a:gd name="csY2" fmla="*/ 39775 h 42295"/>
              <a:gd name="csX3" fmla="*/ 24176 w 29204"/>
              <a:gd name="csY3" fmla="*/ 0 h 42295"/>
              <a:gd name="csX4" fmla="*/ 29205 w 29204"/>
              <a:gd name="csY4" fmla="*/ 2823 h 42295"/>
              <a:gd name="csX5" fmla="*/ 10018 w 29204"/>
              <a:gd name="csY5" fmla="*/ 38080 h 4229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</a:cxnLst>
            <a:rect l="l" t="t" r="r" b="b"/>
            <a:pathLst>
              <a:path w="29204" h="42295">
                <a:moveTo>
                  <a:pt x="10018" y="38080"/>
                </a:moveTo>
                <a:cubicBezTo>
                  <a:pt x="7280" y="39942"/>
                  <a:pt x="5223" y="41119"/>
                  <a:pt x="3166" y="42296"/>
                </a:cubicBezTo>
                <a:cubicBezTo>
                  <a:pt x="2111" y="41456"/>
                  <a:pt x="1056" y="40615"/>
                  <a:pt x="0" y="39775"/>
                </a:cubicBezTo>
                <a:cubicBezTo>
                  <a:pt x="8059" y="26517"/>
                  <a:pt x="16118" y="13258"/>
                  <a:pt x="24176" y="0"/>
                </a:cubicBezTo>
                <a:cubicBezTo>
                  <a:pt x="25853" y="941"/>
                  <a:pt x="27529" y="1882"/>
                  <a:pt x="29205" y="2823"/>
                </a:cubicBezTo>
                <a:cubicBezTo>
                  <a:pt x="23036" y="14347"/>
                  <a:pt x="16867" y="25871"/>
                  <a:pt x="10018" y="38080"/>
                </a:cubicBezTo>
                <a:close/>
              </a:path>
            </a:pathLst>
          </a:custGeom>
          <a:solidFill>
            <a:srgbClr val="FCFCFB"/>
          </a:solidFill>
          <a:ln w="2699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01" name="Free-form: Shape 500">
            <a:extLst>
              <a:ext uri="{FF2B5EF4-FFF2-40B4-BE49-F238E27FC236}">
                <a16:creationId xmlns:a16="http://schemas.microsoft.com/office/drawing/2014/main" id="{0158CA66-E6A3-7C15-B15E-BE2A6BA877AB}"/>
              </a:ext>
            </a:extLst>
          </p:cNvPr>
          <p:cNvSpPr/>
          <p:nvPr/>
        </p:nvSpPr>
        <p:spPr>
          <a:xfrm flipH="1">
            <a:off x="6473838" y="3910016"/>
            <a:ext cx="860" cy="949"/>
          </a:xfrm>
          <a:custGeom>
            <a:avLst/>
            <a:gdLst>
              <a:gd name="csX0" fmla="*/ 1053 w 1130"/>
              <a:gd name="csY0" fmla="*/ 1326 h 1325"/>
              <a:gd name="csX1" fmla="*/ 0 w 1130"/>
              <a:gd name="csY1" fmla="*/ 0 h 1325"/>
              <a:gd name="csX2" fmla="*/ 1033 w 1130"/>
              <a:gd name="csY2" fmla="*/ 761 h 1325"/>
              <a:gd name="csX3" fmla="*/ 1053 w 1130"/>
              <a:gd name="csY3" fmla="*/ 1326 h 132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</a:cxnLst>
            <a:rect l="l" t="t" r="r" b="b"/>
            <a:pathLst>
              <a:path w="1130" h="1325">
                <a:moveTo>
                  <a:pt x="1053" y="1326"/>
                </a:moveTo>
                <a:cubicBezTo>
                  <a:pt x="665" y="916"/>
                  <a:pt x="333" y="458"/>
                  <a:pt x="0" y="0"/>
                </a:cubicBezTo>
                <a:cubicBezTo>
                  <a:pt x="287" y="118"/>
                  <a:pt x="574" y="236"/>
                  <a:pt x="1033" y="761"/>
                </a:cubicBezTo>
                <a:cubicBezTo>
                  <a:pt x="1206" y="1168"/>
                  <a:pt x="1108" y="1277"/>
                  <a:pt x="1053" y="1326"/>
                </a:cubicBezTo>
                <a:close/>
              </a:path>
            </a:pathLst>
          </a:custGeom>
          <a:solidFill>
            <a:srgbClr val="FCFCFB"/>
          </a:solidFill>
          <a:ln w="2699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02" name="Free-form: Shape 501">
            <a:extLst>
              <a:ext uri="{FF2B5EF4-FFF2-40B4-BE49-F238E27FC236}">
                <a16:creationId xmlns:a16="http://schemas.microsoft.com/office/drawing/2014/main" id="{0D2DD1A1-240C-EEF2-37EE-F80E01A41F46}"/>
              </a:ext>
            </a:extLst>
          </p:cNvPr>
          <p:cNvSpPr/>
          <p:nvPr/>
        </p:nvSpPr>
        <p:spPr>
          <a:xfrm flipH="1">
            <a:off x="6399812" y="3876082"/>
            <a:ext cx="332" cy="107"/>
          </a:xfrm>
          <a:custGeom>
            <a:avLst/>
            <a:gdLst>
              <a:gd name="csX0" fmla="*/ 434 w 437"/>
              <a:gd name="csY0" fmla="*/ 0 h 149"/>
              <a:gd name="csX1" fmla="*/ 46 w 437"/>
              <a:gd name="csY1" fmla="*/ 146 h 149"/>
              <a:gd name="csX2" fmla="*/ 434 w 437"/>
              <a:gd name="csY2" fmla="*/ 0 h 14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437" h="149">
                <a:moveTo>
                  <a:pt x="434" y="0"/>
                </a:moveTo>
                <a:cubicBezTo>
                  <a:pt x="157" y="78"/>
                  <a:pt x="-110" y="168"/>
                  <a:pt x="46" y="146"/>
                </a:cubicBezTo>
                <a:cubicBezTo>
                  <a:pt x="469" y="33"/>
                  <a:pt x="443" y="12"/>
                  <a:pt x="434" y="0"/>
                </a:cubicBezTo>
                <a:close/>
              </a:path>
            </a:pathLst>
          </a:custGeom>
          <a:solidFill>
            <a:srgbClr val="FCFCFB"/>
          </a:solidFill>
          <a:ln w="2699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03" name="Free-form: Shape 502">
            <a:extLst>
              <a:ext uri="{FF2B5EF4-FFF2-40B4-BE49-F238E27FC236}">
                <a16:creationId xmlns:a16="http://schemas.microsoft.com/office/drawing/2014/main" id="{14409322-D7FF-2702-B93A-6FC9441F55EE}"/>
              </a:ext>
            </a:extLst>
          </p:cNvPr>
          <p:cNvSpPr/>
          <p:nvPr/>
        </p:nvSpPr>
        <p:spPr>
          <a:xfrm flipH="1">
            <a:off x="6207730" y="3874150"/>
            <a:ext cx="806" cy="864"/>
          </a:xfrm>
          <a:custGeom>
            <a:avLst/>
            <a:gdLst>
              <a:gd name="csX0" fmla="*/ 4 w 1059"/>
              <a:gd name="csY0" fmla="*/ 0 h 1207"/>
              <a:gd name="csX1" fmla="*/ 1060 w 1059"/>
              <a:gd name="csY1" fmla="*/ 1208 h 1207"/>
              <a:gd name="csX2" fmla="*/ 130 w 1059"/>
              <a:gd name="csY2" fmla="*/ 422 h 1207"/>
              <a:gd name="csX3" fmla="*/ 4 w 1059"/>
              <a:gd name="csY3" fmla="*/ 0 h 120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</a:cxnLst>
            <a:rect l="l" t="t" r="r" b="b"/>
            <a:pathLst>
              <a:path w="1059" h="1207">
                <a:moveTo>
                  <a:pt x="4" y="0"/>
                </a:moveTo>
                <a:cubicBezTo>
                  <a:pt x="360" y="398"/>
                  <a:pt x="710" y="803"/>
                  <a:pt x="1060" y="1208"/>
                </a:cubicBezTo>
                <a:cubicBezTo>
                  <a:pt x="798" y="1080"/>
                  <a:pt x="537" y="952"/>
                  <a:pt x="130" y="422"/>
                </a:cubicBezTo>
                <a:cubicBezTo>
                  <a:pt x="-16" y="21"/>
                  <a:pt x="-3" y="6"/>
                  <a:pt x="4" y="0"/>
                </a:cubicBezTo>
                <a:close/>
              </a:path>
            </a:pathLst>
          </a:custGeom>
          <a:solidFill>
            <a:srgbClr val="CCD6DA"/>
          </a:solidFill>
          <a:ln w="2699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04" name="Free-form: Shape 503">
            <a:extLst>
              <a:ext uri="{FF2B5EF4-FFF2-40B4-BE49-F238E27FC236}">
                <a16:creationId xmlns:a16="http://schemas.microsoft.com/office/drawing/2014/main" id="{2F32A34C-3DF9-2D4E-C314-0C17DB394A80}"/>
              </a:ext>
            </a:extLst>
          </p:cNvPr>
          <p:cNvSpPr/>
          <p:nvPr/>
        </p:nvSpPr>
        <p:spPr>
          <a:xfrm flipH="1">
            <a:off x="6213115" y="4162591"/>
            <a:ext cx="86686" cy="45131"/>
          </a:xfrm>
          <a:custGeom>
            <a:avLst/>
            <a:gdLst>
              <a:gd name="csX0" fmla="*/ 62457 w 230080"/>
              <a:gd name="csY0" fmla="*/ 0 h 51402"/>
              <a:gd name="csX1" fmla="*/ 229715 w 230080"/>
              <a:gd name="csY1" fmla="*/ 2548 h 51402"/>
              <a:gd name="csX2" fmla="*/ 229033 w 230080"/>
              <a:gd name="csY2" fmla="*/ 41559 h 51402"/>
              <a:gd name="csX3" fmla="*/ 214851 w 230080"/>
              <a:gd name="csY3" fmla="*/ 50862 h 51402"/>
              <a:gd name="csX4" fmla="*/ 120527 w 230080"/>
              <a:gd name="csY4" fmla="*/ 48743 h 51402"/>
              <a:gd name="csX5" fmla="*/ 13547 w 230080"/>
              <a:gd name="csY5" fmla="*/ 51342 h 51402"/>
              <a:gd name="csX6" fmla="*/ 61 w 230080"/>
              <a:gd name="csY6" fmla="*/ 51359 h 51402"/>
              <a:gd name="csX7" fmla="*/ 4 w 230080"/>
              <a:gd name="csY7" fmla="*/ 13697 h 51402"/>
              <a:gd name="csX8" fmla="*/ 10055 w 230080"/>
              <a:gd name="csY8" fmla="*/ 2596 h 51402"/>
              <a:gd name="csX9" fmla="*/ 62457 w 230080"/>
              <a:gd name="csY9" fmla="*/ 0 h 5140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230080" h="51402">
                <a:moveTo>
                  <a:pt x="62457" y="0"/>
                </a:moveTo>
                <a:cubicBezTo>
                  <a:pt x="118516" y="838"/>
                  <a:pt x="173258" y="1679"/>
                  <a:pt x="229715" y="2548"/>
                </a:cubicBezTo>
                <a:cubicBezTo>
                  <a:pt x="229715" y="16728"/>
                  <a:pt x="230888" y="29374"/>
                  <a:pt x="229033" y="41559"/>
                </a:cubicBezTo>
                <a:cubicBezTo>
                  <a:pt x="228442" y="45440"/>
                  <a:pt x="219802" y="50868"/>
                  <a:pt x="214851" y="50862"/>
                </a:cubicBezTo>
                <a:cubicBezTo>
                  <a:pt x="183409" y="50825"/>
                  <a:pt x="151967" y="48693"/>
                  <a:pt x="120527" y="48743"/>
                </a:cubicBezTo>
                <a:cubicBezTo>
                  <a:pt x="84866" y="48800"/>
                  <a:pt x="49208" y="50434"/>
                  <a:pt x="13547" y="51342"/>
                </a:cubicBezTo>
                <a:cubicBezTo>
                  <a:pt x="8707" y="51466"/>
                  <a:pt x="3861" y="51359"/>
                  <a:pt x="61" y="51359"/>
                </a:cubicBezTo>
                <a:cubicBezTo>
                  <a:pt x="61" y="37755"/>
                  <a:pt x="210" y="25723"/>
                  <a:pt x="4" y="13697"/>
                </a:cubicBezTo>
                <a:cubicBezTo>
                  <a:pt x="-117" y="6604"/>
                  <a:pt x="2365" y="2860"/>
                  <a:pt x="10055" y="2596"/>
                </a:cubicBezTo>
                <a:cubicBezTo>
                  <a:pt x="27093" y="2012"/>
                  <a:pt x="44112" y="901"/>
                  <a:pt x="62457" y="0"/>
                </a:cubicBezTo>
                <a:close/>
              </a:path>
            </a:pathLst>
          </a:custGeom>
          <a:solidFill>
            <a:srgbClr val="CCD6DA"/>
          </a:solidFill>
          <a:ln w="2699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05" name="Free-form: Shape 504">
            <a:extLst>
              <a:ext uri="{FF2B5EF4-FFF2-40B4-BE49-F238E27FC236}">
                <a16:creationId xmlns:a16="http://schemas.microsoft.com/office/drawing/2014/main" id="{6791AB41-0629-CFDC-BF24-78AA3A5805F5}"/>
              </a:ext>
            </a:extLst>
          </p:cNvPr>
          <p:cNvSpPr/>
          <p:nvPr/>
        </p:nvSpPr>
        <p:spPr>
          <a:xfrm>
            <a:off x="6299460" y="3887149"/>
            <a:ext cx="181158" cy="248589"/>
          </a:xfrm>
          <a:custGeom>
            <a:avLst/>
            <a:gdLst>
              <a:gd name="csX0" fmla="*/ 778 w 226548"/>
              <a:gd name="csY0" fmla="*/ 0 h 337161"/>
              <a:gd name="csX1" fmla="*/ 37702 w 226548"/>
              <a:gd name="csY1" fmla="*/ 37373 h 337161"/>
              <a:gd name="csX2" fmla="*/ 104410 w 226548"/>
              <a:gd name="csY2" fmla="*/ 29446 h 337161"/>
              <a:gd name="csX3" fmla="*/ 121584 w 226548"/>
              <a:gd name="csY3" fmla="*/ 10749 h 337161"/>
              <a:gd name="csX4" fmla="*/ 168719 w 226548"/>
              <a:gd name="csY4" fmla="*/ 53353 h 337161"/>
              <a:gd name="csX5" fmla="*/ 226548 w 226548"/>
              <a:gd name="csY5" fmla="*/ 20770 h 337161"/>
              <a:gd name="csX6" fmla="*/ 195378 w 226548"/>
              <a:gd name="csY6" fmla="*/ 100783 h 337161"/>
              <a:gd name="csX7" fmla="*/ 130693 w 226548"/>
              <a:gd name="csY7" fmla="*/ 318354 h 337161"/>
              <a:gd name="csX8" fmla="*/ 108611 w 226548"/>
              <a:gd name="csY8" fmla="*/ 336726 h 337161"/>
              <a:gd name="csX9" fmla="*/ 15990 w 226548"/>
              <a:gd name="csY9" fmla="*/ 331469 h 337161"/>
              <a:gd name="csX10" fmla="*/ 0 w 226548"/>
              <a:gd name="csY10" fmla="*/ 331485 h 337161"/>
              <a:gd name="csX11" fmla="*/ 0 w 226548"/>
              <a:gd name="csY11" fmla="*/ 1107 h 33716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226548" h="337161">
                <a:moveTo>
                  <a:pt x="778" y="0"/>
                </a:moveTo>
                <a:cubicBezTo>
                  <a:pt x="13501" y="12962"/>
                  <a:pt x="25038" y="25783"/>
                  <a:pt x="37702" y="37373"/>
                </a:cubicBezTo>
                <a:cubicBezTo>
                  <a:pt x="58156" y="56093"/>
                  <a:pt x="87159" y="53087"/>
                  <a:pt x="104410" y="29446"/>
                </a:cubicBezTo>
                <a:cubicBezTo>
                  <a:pt x="109133" y="22974"/>
                  <a:pt x="115276" y="17539"/>
                  <a:pt x="121584" y="10749"/>
                </a:cubicBezTo>
                <a:cubicBezTo>
                  <a:pt x="130376" y="32859"/>
                  <a:pt x="139680" y="52822"/>
                  <a:pt x="168719" y="53353"/>
                </a:cubicBezTo>
                <a:cubicBezTo>
                  <a:pt x="194658" y="53827"/>
                  <a:pt x="206643" y="32131"/>
                  <a:pt x="226548" y="20770"/>
                </a:cubicBezTo>
                <a:cubicBezTo>
                  <a:pt x="215744" y="48562"/>
                  <a:pt x="205876" y="74800"/>
                  <a:pt x="195378" y="100783"/>
                </a:cubicBezTo>
                <a:cubicBezTo>
                  <a:pt x="166902" y="171263"/>
                  <a:pt x="147278" y="244366"/>
                  <a:pt x="130693" y="318354"/>
                </a:cubicBezTo>
                <a:cubicBezTo>
                  <a:pt x="126342" y="337768"/>
                  <a:pt x="126276" y="337983"/>
                  <a:pt x="108611" y="336726"/>
                </a:cubicBezTo>
                <a:cubicBezTo>
                  <a:pt x="77766" y="334530"/>
                  <a:pt x="46890" y="332362"/>
                  <a:pt x="15990" y="331469"/>
                </a:cubicBezTo>
                <a:lnTo>
                  <a:pt x="0" y="331485"/>
                </a:lnTo>
                <a:lnTo>
                  <a:pt x="0" y="1107"/>
                </a:lnTo>
                <a:close/>
              </a:path>
            </a:pathLst>
          </a:custGeom>
          <a:solidFill>
            <a:schemeClr val="bg1"/>
          </a:solidFill>
          <a:ln w="2699" cap="flat">
            <a:noFill/>
            <a:prstDash val="solid"/>
            <a:miter/>
          </a:ln>
        </p:spPr>
        <p:txBody>
          <a:bodyPr wrap="squar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06" name="Free-form: Shape 505">
            <a:extLst>
              <a:ext uri="{FF2B5EF4-FFF2-40B4-BE49-F238E27FC236}">
                <a16:creationId xmlns:a16="http://schemas.microsoft.com/office/drawing/2014/main" id="{0F5EEA64-94A7-9D00-A5A7-930966197D5A}"/>
              </a:ext>
            </a:extLst>
          </p:cNvPr>
          <p:cNvSpPr/>
          <p:nvPr/>
        </p:nvSpPr>
        <p:spPr>
          <a:xfrm flipH="1">
            <a:off x="6208133" y="3773714"/>
            <a:ext cx="96348" cy="138988"/>
          </a:xfrm>
          <a:custGeom>
            <a:avLst/>
            <a:gdLst>
              <a:gd name="csX0" fmla="*/ 0 w 126645"/>
              <a:gd name="csY0" fmla="*/ 0 h 194142"/>
              <a:gd name="csX1" fmla="*/ 27386 w 126645"/>
              <a:gd name="csY1" fmla="*/ 7476 h 194142"/>
              <a:gd name="csX2" fmla="*/ 30588 w 126645"/>
              <a:gd name="csY2" fmla="*/ 88167 h 194142"/>
              <a:gd name="csX3" fmla="*/ 126557 w 126645"/>
              <a:gd name="csY3" fmla="*/ 139377 h 194142"/>
              <a:gd name="csX4" fmla="*/ 126645 w 126645"/>
              <a:gd name="csY4" fmla="*/ 140313 h 194142"/>
              <a:gd name="csX5" fmla="*/ 101765 w 126645"/>
              <a:gd name="csY5" fmla="*/ 163014 h 194142"/>
              <a:gd name="csX6" fmla="*/ 82313 w 126645"/>
              <a:gd name="csY6" fmla="*/ 186490 h 194142"/>
              <a:gd name="csX7" fmla="*/ 45457 w 126645"/>
              <a:gd name="csY7" fmla="*/ 184308 h 194142"/>
              <a:gd name="csX8" fmla="*/ 17297 w 126645"/>
              <a:gd name="csY8" fmla="*/ 145391 h 194142"/>
              <a:gd name="csX9" fmla="*/ 978 w 126645"/>
              <a:gd name="csY9" fmla="*/ 131516 h 194142"/>
              <a:gd name="csX10" fmla="*/ 0 w 126645"/>
              <a:gd name="csY10" fmla="*/ 132393 h 194142"/>
              <a:gd name="csX11" fmla="*/ 0 w 126645"/>
              <a:gd name="csY11" fmla="*/ 0 h 19414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126645" h="194142">
                <a:moveTo>
                  <a:pt x="0" y="0"/>
                </a:moveTo>
                <a:lnTo>
                  <a:pt x="27386" y="7476"/>
                </a:lnTo>
                <a:cubicBezTo>
                  <a:pt x="51896" y="26141"/>
                  <a:pt x="53053" y="49936"/>
                  <a:pt x="30588" y="88167"/>
                </a:cubicBezTo>
                <a:cubicBezTo>
                  <a:pt x="66790" y="97135"/>
                  <a:pt x="100367" y="110864"/>
                  <a:pt x="126557" y="139377"/>
                </a:cubicBezTo>
                <a:cubicBezTo>
                  <a:pt x="126658" y="140298"/>
                  <a:pt x="126645" y="140313"/>
                  <a:pt x="126645" y="140313"/>
                </a:cubicBezTo>
                <a:cubicBezTo>
                  <a:pt x="113236" y="142307"/>
                  <a:pt x="108459" y="153523"/>
                  <a:pt x="101765" y="163014"/>
                </a:cubicBezTo>
                <a:cubicBezTo>
                  <a:pt x="95908" y="171321"/>
                  <a:pt x="90026" y="180136"/>
                  <a:pt x="82313" y="186490"/>
                </a:cubicBezTo>
                <a:cubicBezTo>
                  <a:pt x="69278" y="197226"/>
                  <a:pt x="56874" y="196816"/>
                  <a:pt x="45457" y="184308"/>
                </a:cubicBezTo>
                <a:cubicBezTo>
                  <a:pt x="34728" y="172556"/>
                  <a:pt x="26298" y="158649"/>
                  <a:pt x="17297" y="145391"/>
                </a:cubicBezTo>
                <a:cubicBezTo>
                  <a:pt x="10996" y="136110"/>
                  <a:pt x="5957" y="131464"/>
                  <a:pt x="978" y="131516"/>
                </a:cubicBezTo>
                <a:lnTo>
                  <a:pt x="0" y="132393"/>
                </a:lnTo>
                <a:lnTo>
                  <a:pt x="0" y="0"/>
                </a:lnTo>
                <a:close/>
              </a:path>
            </a:pathLst>
          </a:custGeom>
          <a:solidFill>
            <a:srgbClr val="CCD6DA"/>
          </a:solidFill>
          <a:ln w="2699" cap="flat">
            <a:solidFill>
              <a:srgbClr val="CDD9DF"/>
            </a:solidFill>
            <a:prstDash val="solid"/>
            <a:miter/>
          </a:ln>
        </p:spPr>
        <p:txBody>
          <a:bodyPr wrap="squar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08" name="Oval 507">
            <a:extLst>
              <a:ext uri="{FF2B5EF4-FFF2-40B4-BE49-F238E27FC236}">
                <a16:creationId xmlns:a16="http://schemas.microsoft.com/office/drawing/2014/main" id="{C48245EF-3860-4E04-935C-A236A9F4EA38}"/>
              </a:ext>
            </a:extLst>
          </p:cNvPr>
          <p:cNvSpPr/>
          <p:nvPr/>
        </p:nvSpPr>
        <p:spPr>
          <a:xfrm>
            <a:off x="9404224" y="5191111"/>
            <a:ext cx="717698" cy="104135"/>
          </a:xfrm>
          <a:prstGeom prst="ellipse">
            <a:avLst/>
          </a:prstGeom>
          <a:solidFill>
            <a:schemeClr val="tx1">
              <a:alpha val="6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09" name="Free-form: Shape 508">
            <a:extLst>
              <a:ext uri="{FF2B5EF4-FFF2-40B4-BE49-F238E27FC236}">
                <a16:creationId xmlns:a16="http://schemas.microsoft.com/office/drawing/2014/main" id="{421C94BE-2F29-4DDE-15CA-7375E998D3F8}"/>
              </a:ext>
            </a:extLst>
          </p:cNvPr>
          <p:cNvSpPr/>
          <p:nvPr/>
        </p:nvSpPr>
        <p:spPr>
          <a:xfrm>
            <a:off x="9499269" y="3997227"/>
            <a:ext cx="634942" cy="1266262"/>
          </a:xfrm>
          <a:custGeom>
            <a:avLst/>
            <a:gdLst>
              <a:gd name="csX0" fmla="*/ 703087 w 763849"/>
              <a:gd name="csY0" fmla="*/ 1241174 h 1523340"/>
              <a:gd name="csX1" fmla="*/ 732932 w 763849"/>
              <a:gd name="csY1" fmla="*/ 1359634 h 1523340"/>
              <a:gd name="csX2" fmla="*/ 735544 w 763849"/>
              <a:gd name="csY2" fmla="*/ 1377287 h 1523340"/>
              <a:gd name="csX3" fmla="*/ 756764 w 763849"/>
              <a:gd name="csY3" fmla="*/ 1458577 h 1523340"/>
              <a:gd name="csX4" fmla="*/ 757108 w 763849"/>
              <a:gd name="csY4" fmla="*/ 1465940 h 1523340"/>
              <a:gd name="csX5" fmla="*/ 744215 w 763849"/>
              <a:gd name="csY5" fmla="*/ 1488332 h 1523340"/>
              <a:gd name="csX6" fmla="*/ 712781 w 763849"/>
              <a:gd name="csY6" fmla="*/ 1498472 h 1523340"/>
              <a:gd name="csX7" fmla="*/ 625540 w 763849"/>
              <a:gd name="csY7" fmla="*/ 1511981 h 1523340"/>
              <a:gd name="csX8" fmla="*/ 488540 w 763849"/>
              <a:gd name="csY8" fmla="*/ 1522029 h 1523340"/>
              <a:gd name="csX9" fmla="*/ 306789 w 763849"/>
              <a:gd name="csY9" fmla="*/ 1523231 h 1523340"/>
              <a:gd name="csX10" fmla="*/ 200103 w 763849"/>
              <a:gd name="csY10" fmla="*/ 1518579 h 1523340"/>
              <a:gd name="csX11" fmla="*/ 31607 w 763849"/>
              <a:gd name="csY11" fmla="*/ 1493880 h 1523340"/>
              <a:gd name="csX12" fmla="*/ 5860 w 763849"/>
              <a:gd name="csY12" fmla="*/ 1482933 h 1523340"/>
              <a:gd name="csX13" fmla="*/ 32 w 763849"/>
              <a:gd name="csY13" fmla="*/ 1471774 h 1523340"/>
              <a:gd name="csX14" fmla="*/ 21295 w 763849"/>
              <a:gd name="csY14" fmla="*/ 1378237 h 1523340"/>
              <a:gd name="csX15" fmla="*/ 23169 w 763849"/>
              <a:gd name="csY15" fmla="*/ 1364271 h 1523340"/>
              <a:gd name="csX16" fmla="*/ 23871 w 763849"/>
              <a:gd name="csY16" fmla="*/ 1303132 h 1523340"/>
              <a:gd name="csX17" fmla="*/ 59740 w 763849"/>
              <a:gd name="csY17" fmla="*/ 1234649 h 1523340"/>
              <a:gd name="csX18" fmla="*/ 98899 w 763849"/>
              <a:gd name="csY18" fmla="*/ 1195619 h 1523340"/>
              <a:gd name="csX19" fmla="*/ 131493 w 763849"/>
              <a:gd name="csY19" fmla="*/ 1127593 h 1523340"/>
              <a:gd name="csX20" fmla="*/ 108213 w 763849"/>
              <a:gd name="csY20" fmla="*/ 1058723 h 1523340"/>
              <a:gd name="csX21" fmla="*/ 74370 w 763849"/>
              <a:gd name="csY21" fmla="*/ 1024929 h 1523340"/>
              <a:gd name="csX22" fmla="*/ 68137 w 763849"/>
              <a:gd name="csY22" fmla="*/ 987550 h 1523340"/>
              <a:gd name="csX23" fmla="*/ 86420 w 763849"/>
              <a:gd name="csY23" fmla="*/ 941991 h 1523340"/>
              <a:gd name="csX24" fmla="*/ 97082 w 763849"/>
              <a:gd name="csY24" fmla="*/ 828037 h 1523340"/>
              <a:gd name="csX25" fmla="*/ 61782 w 763849"/>
              <a:gd name="csY25" fmla="*/ 696973 h 1523340"/>
              <a:gd name="csX26" fmla="*/ 26901 w 763849"/>
              <a:gd name="csY26" fmla="*/ 547868 h 1523340"/>
              <a:gd name="csX27" fmla="*/ 20221 w 763849"/>
              <a:gd name="csY27" fmla="*/ 479529 h 1523340"/>
              <a:gd name="csX28" fmla="*/ 40808 w 763849"/>
              <a:gd name="csY28" fmla="*/ 334388 h 1523340"/>
              <a:gd name="csX29" fmla="*/ 65171 w 763849"/>
              <a:gd name="csY29" fmla="*/ 263707 h 1523340"/>
              <a:gd name="csX30" fmla="*/ 142827 w 763849"/>
              <a:gd name="csY30" fmla="*/ 171003 h 1523340"/>
              <a:gd name="csX31" fmla="*/ 172290 w 763849"/>
              <a:gd name="csY31" fmla="*/ 155872 h 1523340"/>
              <a:gd name="csX32" fmla="*/ 189008 w 763849"/>
              <a:gd name="csY32" fmla="*/ 148158 h 1523340"/>
              <a:gd name="csX33" fmla="*/ 212828 w 763849"/>
              <a:gd name="csY33" fmla="*/ 126123 h 1523340"/>
              <a:gd name="csX34" fmla="*/ 217217 w 763849"/>
              <a:gd name="csY34" fmla="*/ 118740 h 1523340"/>
              <a:gd name="csX35" fmla="*/ 253000 w 763849"/>
              <a:gd name="csY35" fmla="*/ 88998 h 1523340"/>
              <a:gd name="csX36" fmla="*/ 322085 w 763849"/>
              <a:gd name="csY36" fmla="*/ 72193 h 1523340"/>
              <a:gd name="csX37" fmla="*/ 330478 w 763849"/>
              <a:gd name="csY37" fmla="*/ 70387 h 1523340"/>
              <a:gd name="csX38" fmla="*/ 388016 w 763849"/>
              <a:gd name="csY38" fmla="*/ 35457 h 1523340"/>
              <a:gd name="csX39" fmla="*/ 421527 w 763849"/>
              <a:gd name="csY39" fmla="*/ 0 h 1523340"/>
              <a:gd name="csX40" fmla="*/ 424538 w 763849"/>
              <a:gd name="csY40" fmla="*/ 10833 h 1523340"/>
              <a:gd name="csX41" fmla="*/ 436339 w 763849"/>
              <a:gd name="csY41" fmla="*/ 121836 h 1523340"/>
              <a:gd name="csX42" fmla="*/ 449983 w 763849"/>
              <a:gd name="csY42" fmla="*/ 141450 h 1523340"/>
              <a:gd name="csX43" fmla="*/ 503299 w 763849"/>
              <a:gd name="csY43" fmla="*/ 169290 h 1523340"/>
              <a:gd name="csX44" fmla="*/ 551461 w 763849"/>
              <a:gd name="csY44" fmla="*/ 203111 h 1523340"/>
              <a:gd name="csX45" fmla="*/ 588803 w 763849"/>
              <a:gd name="csY45" fmla="*/ 252797 h 1523340"/>
              <a:gd name="csX46" fmla="*/ 634209 w 763849"/>
              <a:gd name="csY46" fmla="*/ 327081 h 1523340"/>
              <a:gd name="csX47" fmla="*/ 697923 w 763849"/>
              <a:gd name="csY47" fmla="*/ 384157 h 1523340"/>
              <a:gd name="csX48" fmla="*/ 729658 w 763849"/>
              <a:gd name="csY48" fmla="*/ 407288 h 1523340"/>
              <a:gd name="csX49" fmla="*/ 763354 w 763849"/>
              <a:gd name="csY49" fmla="*/ 471325 h 1523340"/>
              <a:gd name="csX50" fmla="*/ 757092 w 763849"/>
              <a:gd name="csY50" fmla="*/ 527116 h 1523340"/>
              <a:gd name="csX51" fmla="*/ 720673 w 763849"/>
              <a:gd name="csY51" fmla="*/ 570023 h 1523340"/>
              <a:gd name="csX52" fmla="*/ 704918 w 763849"/>
              <a:gd name="csY52" fmla="*/ 581294 h 1523340"/>
              <a:gd name="csX53" fmla="*/ 671960 w 763849"/>
              <a:gd name="csY53" fmla="*/ 595325 h 1523340"/>
              <a:gd name="csX54" fmla="*/ 633021 w 763849"/>
              <a:gd name="csY54" fmla="*/ 591397 h 1523340"/>
              <a:gd name="csX55" fmla="*/ 580696 w 763849"/>
              <a:gd name="csY55" fmla="*/ 556742 h 1523340"/>
              <a:gd name="csX56" fmla="*/ 545415 w 763849"/>
              <a:gd name="csY56" fmla="*/ 524617 h 1523340"/>
              <a:gd name="csX57" fmla="*/ 518889 w 763849"/>
              <a:gd name="csY57" fmla="*/ 516179 h 1523340"/>
              <a:gd name="csX58" fmla="*/ 472309 w 763849"/>
              <a:gd name="csY58" fmla="*/ 517812 h 1523340"/>
              <a:gd name="csX59" fmla="*/ 415953 w 763849"/>
              <a:gd name="csY59" fmla="*/ 517245 h 1523340"/>
              <a:gd name="csX60" fmla="*/ 403392 w 763849"/>
              <a:gd name="csY60" fmla="*/ 516539 h 1523340"/>
              <a:gd name="csX61" fmla="*/ 407957 w 763849"/>
              <a:gd name="csY61" fmla="*/ 542045 h 1523340"/>
              <a:gd name="csX62" fmla="*/ 434134 w 763849"/>
              <a:gd name="csY62" fmla="*/ 583349 h 1523340"/>
              <a:gd name="csX63" fmla="*/ 524267 w 763849"/>
              <a:gd name="csY63" fmla="*/ 683922 h 1523340"/>
              <a:gd name="csX64" fmla="*/ 614317 w 763849"/>
              <a:gd name="csY64" fmla="*/ 786085 h 1523340"/>
              <a:gd name="csX65" fmla="*/ 669590 w 763849"/>
              <a:gd name="csY65" fmla="*/ 921089 h 1523340"/>
              <a:gd name="csX66" fmla="*/ 647360 w 763849"/>
              <a:gd name="csY66" fmla="*/ 1057245 h 1523340"/>
              <a:gd name="csX67" fmla="*/ 627872 w 763849"/>
              <a:gd name="csY67" fmla="*/ 1102111 h 1523340"/>
              <a:gd name="csX68" fmla="*/ 642300 w 763849"/>
              <a:gd name="csY68" fmla="*/ 1175941 h 1523340"/>
              <a:gd name="csX69" fmla="*/ 668829 w 763849"/>
              <a:gd name="csY69" fmla="*/ 1206449 h 1523340"/>
              <a:gd name="csX70" fmla="*/ 703087 w 763849"/>
              <a:gd name="csY70" fmla="*/ 1241174 h 1523340"/>
              <a:gd name="csX71" fmla="*/ 648750 w 763849"/>
              <a:gd name="csY71" fmla="*/ 562343 h 1523340"/>
              <a:gd name="csX72" fmla="*/ 674049 w 763849"/>
              <a:gd name="csY72" fmla="*/ 562834 h 1523340"/>
              <a:gd name="csX73" fmla="*/ 660781 w 763849"/>
              <a:gd name="csY73" fmla="*/ 550178 h 1523340"/>
              <a:gd name="csX74" fmla="*/ 650911 w 763849"/>
              <a:gd name="csY74" fmla="*/ 534051 h 1523340"/>
              <a:gd name="csX75" fmla="*/ 660724 w 763849"/>
              <a:gd name="csY75" fmla="*/ 537605 h 1523340"/>
              <a:gd name="csX76" fmla="*/ 688133 w 763849"/>
              <a:gd name="csY76" fmla="*/ 543363 h 1523340"/>
              <a:gd name="csX77" fmla="*/ 731514 w 763849"/>
              <a:gd name="csY77" fmla="*/ 510767 h 1523340"/>
              <a:gd name="csX78" fmla="*/ 733611 w 763849"/>
              <a:gd name="csY78" fmla="*/ 466905 h 1523340"/>
              <a:gd name="csX79" fmla="*/ 708076 w 763849"/>
              <a:gd name="csY79" fmla="*/ 425975 h 1523340"/>
              <a:gd name="csX80" fmla="*/ 667538 w 763849"/>
              <a:gd name="csY80" fmla="*/ 398254 h 1523340"/>
              <a:gd name="csX81" fmla="*/ 601016 w 763849"/>
              <a:gd name="csY81" fmla="*/ 332127 h 1523340"/>
              <a:gd name="csX82" fmla="*/ 565354 w 763849"/>
              <a:gd name="csY82" fmla="*/ 270526 h 1523340"/>
              <a:gd name="csX83" fmla="*/ 490657 w 763849"/>
              <a:gd name="csY83" fmla="*/ 195121 h 1523340"/>
              <a:gd name="csX84" fmla="*/ 432834 w 763849"/>
              <a:gd name="csY84" fmla="*/ 165243 h 1523340"/>
              <a:gd name="csX85" fmla="*/ 407594 w 763849"/>
              <a:gd name="csY85" fmla="*/ 127852 h 1523340"/>
              <a:gd name="csX86" fmla="*/ 405020 w 763849"/>
              <a:gd name="csY86" fmla="*/ 69029 h 1523340"/>
              <a:gd name="csX87" fmla="*/ 403638 w 763849"/>
              <a:gd name="csY87" fmla="*/ 58130 h 1523340"/>
              <a:gd name="csX88" fmla="*/ 349776 w 763849"/>
              <a:gd name="csY88" fmla="*/ 133259 h 1523340"/>
              <a:gd name="csX89" fmla="*/ 326975 w 763849"/>
              <a:gd name="csY89" fmla="*/ 159669 h 1523340"/>
              <a:gd name="csX90" fmla="*/ 240374 w 763849"/>
              <a:gd name="csY90" fmla="*/ 221714 h 1523340"/>
              <a:gd name="csX91" fmla="*/ 171637 w 763849"/>
              <a:gd name="csY91" fmla="*/ 309087 h 1523340"/>
              <a:gd name="csX92" fmla="*/ 138048 w 763849"/>
              <a:gd name="csY92" fmla="*/ 516954 h 1523340"/>
              <a:gd name="csX93" fmla="*/ 163889 w 763849"/>
              <a:gd name="csY93" fmla="*/ 641780 h 1523340"/>
              <a:gd name="csX94" fmla="*/ 204800 w 763849"/>
              <a:gd name="csY94" fmla="*/ 787055 h 1523340"/>
              <a:gd name="csX95" fmla="*/ 218549 w 763849"/>
              <a:gd name="csY95" fmla="*/ 949545 h 1523340"/>
              <a:gd name="csX96" fmla="*/ 191487 w 763849"/>
              <a:gd name="csY96" fmla="*/ 1033064 h 1523340"/>
              <a:gd name="csX97" fmla="*/ 188729 w 763849"/>
              <a:gd name="csY97" fmla="*/ 1039835 h 1523340"/>
              <a:gd name="csX98" fmla="*/ 221417 w 763849"/>
              <a:gd name="csY98" fmla="*/ 1040799 h 1523340"/>
              <a:gd name="csX99" fmla="*/ 348895 w 763849"/>
              <a:gd name="csY99" fmla="*/ 1046759 h 1523340"/>
              <a:gd name="csX100" fmla="*/ 545369 w 763849"/>
              <a:gd name="csY100" fmla="*/ 1044456 h 1523340"/>
              <a:gd name="csX101" fmla="*/ 612424 w 763849"/>
              <a:gd name="csY101" fmla="*/ 1037365 h 1523340"/>
              <a:gd name="csX102" fmla="*/ 623169 w 763849"/>
              <a:gd name="csY102" fmla="*/ 1028873 h 1523340"/>
              <a:gd name="csX103" fmla="*/ 638508 w 763849"/>
              <a:gd name="csY103" fmla="*/ 959599 h 1523340"/>
              <a:gd name="csX104" fmla="*/ 609213 w 763849"/>
              <a:gd name="csY104" fmla="*/ 842075 h 1523340"/>
              <a:gd name="csX105" fmla="*/ 529367 w 763849"/>
              <a:gd name="csY105" fmla="*/ 735065 h 1523340"/>
              <a:gd name="csX106" fmla="*/ 403792 w 763849"/>
              <a:gd name="csY106" fmla="*/ 596993 h 1523340"/>
              <a:gd name="csX107" fmla="*/ 344708 w 763849"/>
              <a:gd name="csY107" fmla="*/ 511366 h 1523340"/>
              <a:gd name="csX108" fmla="*/ 324464 w 763849"/>
              <a:gd name="csY108" fmla="*/ 380084 h 1523340"/>
              <a:gd name="csX109" fmla="*/ 327688 w 763849"/>
              <a:gd name="csY109" fmla="*/ 373535 h 1523340"/>
              <a:gd name="csX110" fmla="*/ 330334 w 763849"/>
              <a:gd name="csY110" fmla="*/ 373641 h 1523340"/>
              <a:gd name="csX111" fmla="*/ 334272 w 763849"/>
              <a:gd name="csY111" fmla="*/ 384645 h 1523340"/>
              <a:gd name="csX112" fmla="*/ 365260 w 763849"/>
              <a:gd name="csY112" fmla="*/ 453955 h 1523340"/>
              <a:gd name="csX113" fmla="*/ 408246 w 763849"/>
              <a:gd name="csY113" fmla="*/ 483592 h 1523340"/>
              <a:gd name="csX114" fmla="*/ 464529 w 763849"/>
              <a:gd name="csY114" fmla="*/ 486187 h 1523340"/>
              <a:gd name="csX115" fmla="*/ 511119 w 763849"/>
              <a:gd name="csY115" fmla="*/ 484308 h 1523340"/>
              <a:gd name="csX116" fmla="*/ 567913 w 763849"/>
              <a:gd name="csY116" fmla="*/ 503736 h 1523340"/>
              <a:gd name="csX117" fmla="*/ 607611 w 763849"/>
              <a:gd name="csY117" fmla="*/ 540326 h 1523340"/>
              <a:gd name="csX118" fmla="*/ 648750 w 763849"/>
              <a:gd name="csY118" fmla="*/ 562343 h 1523340"/>
              <a:gd name="csX119" fmla="*/ 462594 w 763849"/>
              <a:gd name="csY119" fmla="*/ 1369008 h 1523340"/>
              <a:gd name="csX120" fmla="*/ 510357 w 763849"/>
              <a:gd name="csY120" fmla="*/ 1366345 h 1523340"/>
              <a:gd name="csX121" fmla="*/ 549434 w 763849"/>
              <a:gd name="csY121" fmla="*/ 1362956 h 1523340"/>
              <a:gd name="csX122" fmla="*/ 632369 w 763849"/>
              <a:gd name="csY122" fmla="*/ 1354439 h 1523340"/>
              <a:gd name="csX123" fmla="*/ 697252 w 763849"/>
              <a:gd name="csY123" fmla="*/ 1346424 h 1523340"/>
              <a:gd name="csX124" fmla="*/ 676674 w 763849"/>
              <a:gd name="csY124" fmla="*/ 1266396 h 1523340"/>
              <a:gd name="csX125" fmla="*/ 646594 w 763849"/>
              <a:gd name="csY125" fmla="*/ 1234108 h 1523340"/>
              <a:gd name="csX126" fmla="*/ 612063 w 763849"/>
              <a:gd name="csY126" fmla="*/ 1194382 h 1523340"/>
              <a:gd name="csX127" fmla="*/ 591616 w 763849"/>
              <a:gd name="csY127" fmla="*/ 1111541 h 1523340"/>
              <a:gd name="csX128" fmla="*/ 594320 w 763849"/>
              <a:gd name="csY128" fmla="*/ 1089609 h 1523340"/>
              <a:gd name="csX129" fmla="*/ 578634 w 763849"/>
              <a:gd name="csY129" fmla="*/ 1089642 h 1523340"/>
              <a:gd name="csX130" fmla="*/ 443931 w 763849"/>
              <a:gd name="csY130" fmla="*/ 1096700 h 1523340"/>
              <a:gd name="csX131" fmla="*/ 403417 w 763849"/>
              <a:gd name="csY131" fmla="*/ 1097156 h 1523340"/>
              <a:gd name="csX132" fmla="*/ 388348 w 763849"/>
              <a:gd name="csY132" fmla="*/ 1111502 h 1523340"/>
              <a:gd name="csX133" fmla="*/ 385048 w 763849"/>
              <a:gd name="csY133" fmla="*/ 1176431 h 1523340"/>
              <a:gd name="csX134" fmla="*/ 377687 w 763849"/>
              <a:gd name="csY134" fmla="*/ 1308672 h 1523340"/>
              <a:gd name="csX135" fmla="*/ 376823 w 763849"/>
              <a:gd name="csY135" fmla="*/ 1320897 h 1523340"/>
              <a:gd name="csX136" fmla="*/ 376781 w 763849"/>
              <a:gd name="csY136" fmla="*/ 1366151 h 1523340"/>
              <a:gd name="csX137" fmla="*/ 462594 w 763849"/>
              <a:gd name="csY137" fmla="*/ 1369008 h 1523340"/>
              <a:gd name="csX138" fmla="*/ 648494 w 763849"/>
              <a:gd name="csY138" fmla="*/ 1463981 h 1523340"/>
              <a:gd name="csX139" fmla="*/ 718746 w 763849"/>
              <a:gd name="csY139" fmla="*/ 1451892 h 1523340"/>
              <a:gd name="csX140" fmla="*/ 711827 w 763849"/>
              <a:gd name="csY140" fmla="*/ 1416835 h 1523340"/>
              <a:gd name="csX141" fmla="*/ 685812 w 763849"/>
              <a:gd name="csY141" fmla="*/ 1398502 h 1523340"/>
              <a:gd name="csX142" fmla="*/ 680924 w 763849"/>
              <a:gd name="csY142" fmla="*/ 1398973 h 1523340"/>
              <a:gd name="csX143" fmla="*/ 598278 w 763849"/>
              <a:gd name="csY143" fmla="*/ 1409218 h 1523340"/>
              <a:gd name="csX144" fmla="*/ 474765 w 763849"/>
              <a:gd name="csY144" fmla="*/ 1417945 h 1523340"/>
              <a:gd name="csX145" fmla="*/ 385143 w 763849"/>
              <a:gd name="csY145" fmla="*/ 1418978 h 1523340"/>
              <a:gd name="csX146" fmla="*/ 376639 w 763849"/>
              <a:gd name="csY146" fmla="*/ 1419613 h 1523340"/>
              <a:gd name="csX147" fmla="*/ 376639 w 763849"/>
              <a:gd name="csY147" fmla="*/ 1473939 h 1523340"/>
              <a:gd name="csX148" fmla="*/ 382089 w 763849"/>
              <a:gd name="csY148" fmla="*/ 1474854 h 1523340"/>
              <a:gd name="csX149" fmla="*/ 449536 w 763849"/>
              <a:gd name="csY149" fmla="*/ 1476855 h 1523340"/>
              <a:gd name="csX150" fmla="*/ 559930 w 763849"/>
              <a:gd name="csY150" fmla="*/ 1474307 h 1523340"/>
              <a:gd name="csX151" fmla="*/ 648494 w 763849"/>
              <a:gd name="csY151" fmla="*/ 1463981 h 152334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</a:cxnLst>
            <a:rect l="l" t="t" r="r" b="b"/>
            <a:pathLst>
              <a:path w="763849" h="1523340">
                <a:moveTo>
                  <a:pt x="703087" y="1241174"/>
                </a:moveTo>
                <a:cubicBezTo>
                  <a:pt x="732418" y="1276379"/>
                  <a:pt x="738825" y="1316526"/>
                  <a:pt x="732932" y="1359634"/>
                </a:cubicBezTo>
                <a:cubicBezTo>
                  <a:pt x="732067" y="1365959"/>
                  <a:pt x="732453" y="1371428"/>
                  <a:pt x="735544" y="1377287"/>
                </a:cubicBezTo>
                <a:cubicBezTo>
                  <a:pt x="748937" y="1402675"/>
                  <a:pt x="755318" y="1430010"/>
                  <a:pt x="756764" y="1458577"/>
                </a:cubicBezTo>
                <a:cubicBezTo>
                  <a:pt x="756887" y="1461031"/>
                  <a:pt x="756895" y="1463494"/>
                  <a:pt x="757108" y="1465940"/>
                </a:cubicBezTo>
                <a:cubicBezTo>
                  <a:pt x="758375" y="1480486"/>
                  <a:pt x="757802" y="1482498"/>
                  <a:pt x="744215" y="1488332"/>
                </a:cubicBezTo>
                <a:cubicBezTo>
                  <a:pt x="734126" y="1492664"/>
                  <a:pt x="723536" y="1496562"/>
                  <a:pt x="712781" y="1498472"/>
                </a:cubicBezTo>
                <a:cubicBezTo>
                  <a:pt x="683814" y="1503617"/>
                  <a:pt x="654674" y="1507832"/>
                  <a:pt x="625540" y="1511981"/>
                </a:cubicBezTo>
                <a:cubicBezTo>
                  <a:pt x="580114" y="1518449"/>
                  <a:pt x="534395" y="1521481"/>
                  <a:pt x="488540" y="1522029"/>
                </a:cubicBezTo>
                <a:cubicBezTo>
                  <a:pt x="427958" y="1522752"/>
                  <a:pt x="367367" y="1523658"/>
                  <a:pt x="306789" y="1523231"/>
                </a:cubicBezTo>
                <a:cubicBezTo>
                  <a:pt x="271215" y="1522980"/>
                  <a:pt x="235625" y="1520833"/>
                  <a:pt x="200103" y="1518579"/>
                </a:cubicBezTo>
                <a:cubicBezTo>
                  <a:pt x="143289" y="1514974"/>
                  <a:pt x="86915" y="1507766"/>
                  <a:pt x="31607" y="1493880"/>
                </a:cubicBezTo>
                <a:cubicBezTo>
                  <a:pt x="22666" y="1491635"/>
                  <a:pt x="14297" y="1486920"/>
                  <a:pt x="5860" y="1482933"/>
                </a:cubicBezTo>
                <a:cubicBezTo>
                  <a:pt x="1433" y="1480841"/>
                  <a:pt x="-262" y="1476934"/>
                  <a:pt x="32" y="1471774"/>
                </a:cubicBezTo>
                <a:cubicBezTo>
                  <a:pt x="1880" y="1439401"/>
                  <a:pt x="3993" y="1407192"/>
                  <a:pt x="21295" y="1378237"/>
                </a:cubicBezTo>
                <a:cubicBezTo>
                  <a:pt x="23526" y="1374504"/>
                  <a:pt x="23666" y="1368858"/>
                  <a:pt x="23169" y="1364271"/>
                </a:cubicBezTo>
                <a:cubicBezTo>
                  <a:pt x="20957" y="1343833"/>
                  <a:pt x="20482" y="1323540"/>
                  <a:pt x="23871" y="1303132"/>
                </a:cubicBezTo>
                <a:cubicBezTo>
                  <a:pt x="28332" y="1276267"/>
                  <a:pt x="41045" y="1253887"/>
                  <a:pt x="59740" y="1234649"/>
                </a:cubicBezTo>
                <a:cubicBezTo>
                  <a:pt x="72582" y="1221434"/>
                  <a:pt x="85657" y="1208434"/>
                  <a:pt x="98899" y="1195619"/>
                </a:cubicBezTo>
                <a:cubicBezTo>
                  <a:pt x="118216" y="1176926"/>
                  <a:pt x="130484" y="1154702"/>
                  <a:pt x="131493" y="1127593"/>
                </a:cubicBezTo>
                <a:cubicBezTo>
                  <a:pt x="132448" y="1101948"/>
                  <a:pt x="127125" y="1077868"/>
                  <a:pt x="108213" y="1058723"/>
                </a:cubicBezTo>
                <a:cubicBezTo>
                  <a:pt x="97010" y="1047381"/>
                  <a:pt x="85438" y="1036399"/>
                  <a:pt x="74370" y="1024929"/>
                </a:cubicBezTo>
                <a:cubicBezTo>
                  <a:pt x="63868" y="1014043"/>
                  <a:pt x="62267" y="1001475"/>
                  <a:pt x="68137" y="987550"/>
                </a:cubicBezTo>
                <a:cubicBezTo>
                  <a:pt x="74493" y="972473"/>
                  <a:pt x="80703" y="957319"/>
                  <a:pt x="86420" y="941991"/>
                </a:cubicBezTo>
                <a:cubicBezTo>
                  <a:pt x="100218" y="905001"/>
                  <a:pt x="99441" y="866690"/>
                  <a:pt x="97082" y="828037"/>
                </a:cubicBezTo>
                <a:cubicBezTo>
                  <a:pt x="94260" y="781809"/>
                  <a:pt x="76370" y="739899"/>
                  <a:pt x="61782" y="696973"/>
                </a:cubicBezTo>
                <a:cubicBezTo>
                  <a:pt x="45282" y="648419"/>
                  <a:pt x="33285" y="598770"/>
                  <a:pt x="26901" y="547868"/>
                </a:cubicBezTo>
                <a:cubicBezTo>
                  <a:pt x="24054" y="525160"/>
                  <a:pt x="21110" y="502364"/>
                  <a:pt x="20221" y="479529"/>
                </a:cubicBezTo>
                <a:cubicBezTo>
                  <a:pt x="18293" y="430013"/>
                  <a:pt x="26126" y="381610"/>
                  <a:pt x="40808" y="334388"/>
                </a:cubicBezTo>
                <a:cubicBezTo>
                  <a:pt x="48208" y="310588"/>
                  <a:pt x="55162" y="286441"/>
                  <a:pt x="65171" y="263707"/>
                </a:cubicBezTo>
                <a:cubicBezTo>
                  <a:pt x="81946" y="225606"/>
                  <a:pt x="106517" y="193071"/>
                  <a:pt x="142827" y="171003"/>
                </a:cubicBezTo>
                <a:cubicBezTo>
                  <a:pt x="152238" y="165283"/>
                  <a:pt x="162401" y="160787"/>
                  <a:pt x="172290" y="155872"/>
                </a:cubicBezTo>
                <a:cubicBezTo>
                  <a:pt x="177784" y="153142"/>
                  <a:pt x="183393" y="150635"/>
                  <a:pt x="189008" y="148158"/>
                </a:cubicBezTo>
                <a:cubicBezTo>
                  <a:pt x="199487" y="143534"/>
                  <a:pt x="207598" y="136426"/>
                  <a:pt x="212828" y="126123"/>
                </a:cubicBezTo>
                <a:cubicBezTo>
                  <a:pt x="214121" y="123575"/>
                  <a:pt x="215966" y="121304"/>
                  <a:pt x="217217" y="118740"/>
                </a:cubicBezTo>
                <a:cubicBezTo>
                  <a:pt x="224688" y="103433"/>
                  <a:pt x="237053" y="93440"/>
                  <a:pt x="253000" y="88998"/>
                </a:cubicBezTo>
                <a:cubicBezTo>
                  <a:pt x="275818" y="82642"/>
                  <a:pt x="299033" y="77711"/>
                  <a:pt x="322085" y="72193"/>
                </a:cubicBezTo>
                <a:cubicBezTo>
                  <a:pt x="324867" y="71527"/>
                  <a:pt x="327694" y="71045"/>
                  <a:pt x="330478" y="70387"/>
                </a:cubicBezTo>
                <a:cubicBezTo>
                  <a:pt x="364731" y="62297"/>
                  <a:pt x="364569" y="62151"/>
                  <a:pt x="388016" y="35457"/>
                </a:cubicBezTo>
                <a:cubicBezTo>
                  <a:pt x="398189" y="23875"/>
                  <a:pt x="409180" y="13010"/>
                  <a:pt x="421527" y="0"/>
                </a:cubicBezTo>
                <a:cubicBezTo>
                  <a:pt x="423000" y="5190"/>
                  <a:pt x="424219" y="7961"/>
                  <a:pt x="424538" y="10833"/>
                </a:cubicBezTo>
                <a:cubicBezTo>
                  <a:pt x="428638" y="47817"/>
                  <a:pt x="433030" y="84779"/>
                  <a:pt x="436339" y="121836"/>
                </a:cubicBezTo>
                <a:cubicBezTo>
                  <a:pt x="437236" y="131893"/>
                  <a:pt x="441545" y="137271"/>
                  <a:pt x="449983" y="141450"/>
                </a:cubicBezTo>
                <a:cubicBezTo>
                  <a:pt x="467954" y="150348"/>
                  <a:pt x="486187" y="158915"/>
                  <a:pt x="503299" y="169290"/>
                </a:cubicBezTo>
                <a:cubicBezTo>
                  <a:pt x="520041" y="179441"/>
                  <a:pt x="535883" y="191197"/>
                  <a:pt x="551461" y="203111"/>
                </a:cubicBezTo>
                <a:cubicBezTo>
                  <a:pt x="568416" y="216079"/>
                  <a:pt x="579195" y="234146"/>
                  <a:pt x="588803" y="252797"/>
                </a:cubicBezTo>
                <a:cubicBezTo>
                  <a:pt x="602134" y="278677"/>
                  <a:pt x="616556" y="303835"/>
                  <a:pt x="634209" y="327081"/>
                </a:cubicBezTo>
                <a:cubicBezTo>
                  <a:pt x="651797" y="350241"/>
                  <a:pt x="673980" y="368103"/>
                  <a:pt x="697923" y="384157"/>
                </a:cubicBezTo>
                <a:cubicBezTo>
                  <a:pt x="708787" y="391441"/>
                  <a:pt x="719007" y="399678"/>
                  <a:pt x="729658" y="407288"/>
                </a:cubicBezTo>
                <a:cubicBezTo>
                  <a:pt x="751657" y="423004"/>
                  <a:pt x="761259" y="445265"/>
                  <a:pt x="763354" y="471325"/>
                </a:cubicBezTo>
                <a:cubicBezTo>
                  <a:pt x="764877" y="490275"/>
                  <a:pt x="762919" y="509064"/>
                  <a:pt x="757092" y="527116"/>
                </a:cubicBezTo>
                <a:cubicBezTo>
                  <a:pt x="750932" y="546198"/>
                  <a:pt x="738296" y="560266"/>
                  <a:pt x="720673" y="570023"/>
                </a:cubicBezTo>
                <a:cubicBezTo>
                  <a:pt x="715048" y="573138"/>
                  <a:pt x="709487" y="576825"/>
                  <a:pt x="704918" y="581294"/>
                </a:cubicBezTo>
                <a:cubicBezTo>
                  <a:pt x="695625" y="590383"/>
                  <a:pt x="684728" y="595697"/>
                  <a:pt x="671960" y="595325"/>
                </a:cubicBezTo>
                <a:cubicBezTo>
                  <a:pt x="658939" y="594945"/>
                  <a:pt x="645743" y="594018"/>
                  <a:pt x="633021" y="591397"/>
                </a:cubicBezTo>
                <a:cubicBezTo>
                  <a:pt x="611233" y="586907"/>
                  <a:pt x="595034" y="572939"/>
                  <a:pt x="580696" y="556742"/>
                </a:cubicBezTo>
                <a:cubicBezTo>
                  <a:pt x="570081" y="544750"/>
                  <a:pt x="559052" y="533306"/>
                  <a:pt x="545415" y="524617"/>
                </a:cubicBezTo>
                <a:cubicBezTo>
                  <a:pt x="537261" y="519422"/>
                  <a:pt x="528551" y="515996"/>
                  <a:pt x="518889" y="516179"/>
                </a:cubicBezTo>
                <a:cubicBezTo>
                  <a:pt x="503357" y="516473"/>
                  <a:pt x="487839" y="517663"/>
                  <a:pt x="472309" y="517812"/>
                </a:cubicBezTo>
                <a:cubicBezTo>
                  <a:pt x="453527" y="517993"/>
                  <a:pt x="434738" y="517514"/>
                  <a:pt x="415953" y="517245"/>
                </a:cubicBezTo>
                <a:cubicBezTo>
                  <a:pt x="411976" y="517189"/>
                  <a:pt x="408003" y="516808"/>
                  <a:pt x="403392" y="516539"/>
                </a:cubicBezTo>
                <a:cubicBezTo>
                  <a:pt x="401207" y="526363"/>
                  <a:pt x="404857" y="534293"/>
                  <a:pt x="407957" y="542045"/>
                </a:cubicBezTo>
                <a:cubicBezTo>
                  <a:pt x="414092" y="557387"/>
                  <a:pt x="423168" y="571042"/>
                  <a:pt x="434134" y="583349"/>
                </a:cubicBezTo>
                <a:cubicBezTo>
                  <a:pt x="464083" y="616959"/>
                  <a:pt x="493980" y="650618"/>
                  <a:pt x="524267" y="683922"/>
                </a:cubicBezTo>
                <a:cubicBezTo>
                  <a:pt x="554818" y="717518"/>
                  <a:pt x="588291" y="748619"/>
                  <a:pt x="614317" y="786085"/>
                </a:cubicBezTo>
                <a:cubicBezTo>
                  <a:pt x="642656" y="826881"/>
                  <a:pt x="663974" y="871159"/>
                  <a:pt x="669590" y="921089"/>
                </a:cubicBezTo>
                <a:cubicBezTo>
                  <a:pt x="674894" y="968240"/>
                  <a:pt x="669774" y="1014226"/>
                  <a:pt x="647360" y="1057245"/>
                </a:cubicBezTo>
                <a:cubicBezTo>
                  <a:pt x="639830" y="1071697"/>
                  <a:pt x="630533" y="1085565"/>
                  <a:pt x="627872" y="1102111"/>
                </a:cubicBezTo>
                <a:cubicBezTo>
                  <a:pt x="623640" y="1128439"/>
                  <a:pt x="626183" y="1153784"/>
                  <a:pt x="642300" y="1175941"/>
                </a:cubicBezTo>
                <a:cubicBezTo>
                  <a:pt x="650201" y="1186801"/>
                  <a:pt x="659595" y="1196636"/>
                  <a:pt x="668829" y="1206449"/>
                </a:cubicBezTo>
                <a:cubicBezTo>
                  <a:pt x="679770" y="1218075"/>
                  <a:pt x="691267" y="1229177"/>
                  <a:pt x="703087" y="1241174"/>
                </a:cubicBezTo>
                <a:moveTo>
                  <a:pt x="648750" y="562343"/>
                </a:moveTo>
                <a:cubicBezTo>
                  <a:pt x="656729" y="562558"/>
                  <a:pt x="664698" y="567407"/>
                  <a:pt x="674049" y="562834"/>
                </a:cubicBezTo>
                <a:cubicBezTo>
                  <a:pt x="668990" y="558037"/>
                  <a:pt x="664729" y="554259"/>
                  <a:pt x="660781" y="550178"/>
                </a:cubicBezTo>
                <a:cubicBezTo>
                  <a:pt x="656713" y="545973"/>
                  <a:pt x="651493" y="542363"/>
                  <a:pt x="650911" y="534051"/>
                </a:cubicBezTo>
                <a:cubicBezTo>
                  <a:pt x="654940" y="535536"/>
                  <a:pt x="657753" y="536907"/>
                  <a:pt x="660724" y="537605"/>
                </a:cubicBezTo>
                <a:cubicBezTo>
                  <a:pt x="669824" y="539743"/>
                  <a:pt x="678915" y="542853"/>
                  <a:pt x="688133" y="543363"/>
                </a:cubicBezTo>
                <a:cubicBezTo>
                  <a:pt x="712019" y="544686"/>
                  <a:pt x="726964" y="534053"/>
                  <a:pt x="731514" y="510767"/>
                </a:cubicBezTo>
                <a:cubicBezTo>
                  <a:pt x="734296" y="496535"/>
                  <a:pt x="734146" y="481511"/>
                  <a:pt x="733611" y="466905"/>
                </a:cubicBezTo>
                <a:cubicBezTo>
                  <a:pt x="732951" y="448863"/>
                  <a:pt x="723348" y="435653"/>
                  <a:pt x="708076" y="425975"/>
                </a:cubicBezTo>
                <a:cubicBezTo>
                  <a:pt x="694258" y="417218"/>
                  <a:pt x="681056" y="407489"/>
                  <a:pt x="667538" y="398254"/>
                </a:cubicBezTo>
                <a:cubicBezTo>
                  <a:pt x="641278" y="380314"/>
                  <a:pt x="617580" y="359743"/>
                  <a:pt x="601016" y="332127"/>
                </a:cubicBezTo>
                <a:cubicBezTo>
                  <a:pt x="588810" y="311778"/>
                  <a:pt x="576093" y="291645"/>
                  <a:pt x="565354" y="270526"/>
                </a:cubicBezTo>
                <a:cubicBezTo>
                  <a:pt x="548401" y="237186"/>
                  <a:pt x="523821" y="212104"/>
                  <a:pt x="490657" y="195121"/>
                </a:cubicBezTo>
                <a:cubicBezTo>
                  <a:pt x="471346" y="185231"/>
                  <a:pt x="452394" y="174606"/>
                  <a:pt x="432834" y="165243"/>
                </a:cubicBezTo>
                <a:cubicBezTo>
                  <a:pt x="416725" y="157532"/>
                  <a:pt x="408325" y="145526"/>
                  <a:pt x="407594" y="127852"/>
                </a:cubicBezTo>
                <a:cubicBezTo>
                  <a:pt x="406783" y="108242"/>
                  <a:pt x="405935" y="88634"/>
                  <a:pt x="405020" y="69029"/>
                </a:cubicBezTo>
                <a:cubicBezTo>
                  <a:pt x="404882" y="66067"/>
                  <a:pt x="404287" y="63127"/>
                  <a:pt x="403638" y="58130"/>
                </a:cubicBezTo>
                <a:cubicBezTo>
                  <a:pt x="381792" y="82321"/>
                  <a:pt x="361650" y="104820"/>
                  <a:pt x="349776" y="133259"/>
                </a:cubicBezTo>
                <a:cubicBezTo>
                  <a:pt x="345032" y="144621"/>
                  <a:pt x="337822" y="153814"/>
                  <a:pt x="326975" y="159669"/>
                </a:cubicBezTo>
                <a:cubicBezTo>
                  <a:pt x="295461" y="176681"/>
                  <a:pt x="266610" y="197333"/>
                  <a:pt x="240374" y="221714"/>
                </a:cubicBezTo>
                <a:cubicBezTo>
                  <a:pt x="212881" y="247263"/>
                  <a:pt x="188313" y="275340"/>
                  <a:pt x="171637" y="309087"/>
                </a:cubicBezTo>
                <a:cubicBezTo>
                  <a:pt x="139180" y="374765"/>
                  <a:pt x="129692" y="444532"/>
                  <a:pt x="138048" y="516954"/>
                </a:cubicBezTo>
                <a:cubicBezTo>
                  <a:pt x="142936" y="559318"/>
                  <a:pt x="152518" y="600762"/>
                  <a:pt x="163889" y="641780"/>
                </a:cubicBezTo>
                <a:cubicBezTo>
                  <a:pt x="177329" y="690261"/>
                  <a:pt x="191989" y="738413"/>
                  <a:pt x="204800" y="787055"/>
                </a:cubicBezTo>
                <a:cubicBezTo>
                  <a:pt x="218820" y="840287"/>
                  <a:pt x="228587" y="894088"/>
                  <a:pt x="218549" y="949545"/>
                </a:cubicBezTo>
                <a:cubicBezTo>
                  <a:pt x="213279" y="978659"/>
                  <a:pt x="207130" y="1007359"/>
                  <a:pt x="191487" y="1033064"/>
                </a:cubicBezTo>
                <a:cubicBezTo>
                  <a:pt x="190499" y="1034686"/>
                  <a:pt x="190018" y="1036618"/>
                  <a:pt x="188729" y="1039835"/>
                </a:cubicBezTo>
                <a:cubicBezTo>
                  <a:pt x="200470" y="1040170"/>
                  <a:pt x="210952" y="1040298"/>
                  <a:pt x="221417" y="1040799"/>
                </a:cubicBezTo>
                <a:cubicBezTo>
                  <a:pt x="263912" y="1042835"/>
                  <a:pt x="306390" y="1046436"/>
                  <a:pt x="348895" y="1046759"/>
                </a:cubicBezTo>
                <a:cubicBezTo>
                  <a:pt x="414380" y="1047258"/>
                  <a:pt x="479896" y="1046092"/>
                  <a:pt x="545369" y="1044456"/>
                </a:cubicBezTo>
                <a:cubicBezTo>
                  <a:pt x="567764" y="1043897"/>
                  <a:pt x="590066" y="1039744"/>
                  <a:pt x="612424" y="1037365"/>
                </a:cubicBezTo>
                <a:cubicBezTo>
                  <a:pt x="617948" y="1036777"/>
                  <a:pt x="621342" y="1034139"/>
                  <a:pt x="623169" y="1028873"/>
                </a:cubicBezTo>
                <a:cubicBezTo>
                  <a:pt x="630975" y="1006370"/>
                  <a:pt x="637026" y="983472"/>
                  <a:pt x="638508" y="959599"/>
                </a:cubicBezTo>
                <a:cubicBezTo>
                  <a:pt x="641131" y="917363"/>
                  <a:pt x="628970" y="878727"/>
                  <a:pt x="609213" y="842075"/>
                </a:cubicBezTo>
                <a:cubicBezTo>
                  <a:pt x="587874" y="802491"/>
                  <a:pt x="559403" y="768169"/>
                  <a:pt x="529367" y="735065"/>
                </a:cubicBezTo>
                <a:cubicBezTo>
                  <a:pt x="487563" y="688992"/>
                  <a:pt x="445474" y="643176"/>
                  <a:pt x="403792" y="596993"/>
                </a:cubicBezTo>
                <a:cubicBezTo>
                  <a:pt x="380393" y="571066"/>
                  <a:pt x="360083" y="542922"/>
                  <a:pt x="344708" y="511366"/>
                </a:cubicBezTo>
                <a:cubicBezTo>
                  <a:pt x="324385" y="469655"/>
                  <a:pt x="317321" y="425966"/>
                  <a:pt x="324464" y="380084"/>
                </a:cubicBezTo>
                <a:cubicBezTo>
                  <a:pt x="324821" y="377789"/>
                  <a:pt x="326581" y="375713"/>
                  <a:pt x="327688" y="373535"/>
                </a:cubicBezTo>
                <a:cubicBezTo>
                  <a:pt x="328570" y="373570"/>
                  <a:pt x="329452" y="373606"/>
                  <a:pt x="330334" y="373641"/>
                </a:cubicBezTo>
                <a:cubicBezTo>
                  <a:pt x="331649" y="377308"/>
                  <a:pt x="333001" y="380963"/>
                  <a:pt x="334272" y="384645"/>
                </a:cubicBezTo>
                <a:cubicBezTo>
                  <a:pt x="342569" y="408660"/>
                  <a:pt x="351164" y="432573"/>
                  <a:pt x="365260" y="453955"/>
                </a:cubicBezTo>
                <a:cubicBezTo>
                  <a:pt x="375537" y="469544"/>
                  <a:pt x="388811" y="481767"/>
                  <a:pt x="408246" y="483592"/>
                </a:cubicBezTo>
                <a:cubicBezTo>
                  <a:pt x="426928" y="485346"/>
                  <a:pt x="445757" y="486037"/>
                  <a:pt x="464529" y="486187"/>
                </a:cubicBezTo>
                <a:cubicBezTo>
                  <a:pt x="480053" y="486311"/>
                  <a:pt x="495582" y="484792"/>
                  <a:pt x="511119" y="484308"/>
                </a:cubicBezTo>
                <a:cubicBezTo>
                  <a:pt x="532443" y="483644"/>
                  <a:pt x="551690" y="490014"/>
                  <a:pt x="567913" y="503736"/>
                </a:cubicBezTo>
                <a:cubicBezTo>
                  <a:pt x="581642" y="515348"/>
                  <a:pt x="594604" y="527888"/>
                  <a:pt x="607611" y="540326"/>
                </a:cubicBezTo>
                <a:cubicBezTo>
                  <a:pt x="618811" y="551038"/>
                  <a:pt x="631177" y="559300"/>
                  <a:pt x="648750" y="562343"/>
                </a:cubicBezTo>
                <a:moveTo>
                  <a:pt x="462594" y="1369008"/>
                </a:moveTo>
                <a:cubicBezTo>
                  <a:pt x="478517" y="1368137"/>
                  <a:pt x="494449" y="1367429"/>
                  <a:pt x="510357" y="1366345"/>
                </a:cubicBezTo>
                <a:cubicBezTo>
                  <a:pt x="523399" y="1365456"/>
                  <a:pt x="536424" y="1364247"/>
                  <a:pt x="549434" y="1362956"/>
                </a:cubicBezTo>
                <a:cubicBezTo>
                  <a:pt x="577089" y="1360213"/>
                  <a:pt x="604749" y="1357503"/>
                  <a:pt x="632369" y="1354439"/>
                </a:cubicBezTo>
                <a:cubicBezTo>
                  <a:pt x="653805" y="1352062"/>
                  <a:pt x="675183" y="1349170"/>
                  <a:pt x="697252" y="1346424"/>
                </a:cubicBezTo>
                <a:cubicBezTo>
                  <a:pt x="701148" y="1316348"/>
                  <a:pt x="695768" y="1289474"/>
                  <a:pt x="676674" y="1266396"/>
                </a:cubicBezTo>
                <a:cubicBezTo>
                  <a:pt x="667313" y="1255080"/>
                  <a:pt x="656878" y="1244625"/>
                  <a:pt x="646594" y="1234108"/>
                </a:cubicBezTo>
                <a:cubicBezTo>
                  <a:pt x="634298" y="1221533"/>
                  <a:pt x="621353" y="1209623"/>
                  <a:pt x="612063" y="1194382"/>
                </a:cubicBezTo>
                <a:cubicBezTo>
                  <a:pt x="596511" y="1168867"/>
                  <a:pt x="588079" y="1141707"/>
                  <a:pt x="591616" y="1111541"/>
                </a:cubicBezTo>
                <a:cubicBezTo>
                  <a:pt x="592450" y="1104432"/>
                  <a:pt x="593365" y="1097332"/>
                  <a:pt x="594320" y="1089609"/>
                </a:cubicBezTo>
                <a:cubicBezTo>
                  <a:pt x="588294" y="1089609"/>
                  <a:pt x="583452" y="1089392"/>
                  <a:pt x="578634" y="1089642"/>
                </a:cubicBezTo>
                <a:cubicBezTo>
                  <a:pt x="533732" y="1091976"/>
                  <a:pt x="488841" y="1094525"/>
                  <a:pt x="443931" y="1096700"/>
                </a:cubicBezTo>
                <a:cubicBezTo>
                  <a:pt x="430451" y="1097353"/>
                  <a:pt x="416923" y="1097005"/>
                  <a:pt x="403417" y="1097156"/>
                </a:cubicBezTo>
                <a:cubicBezTo>
                  <a:pt x="389337" y="1097313"/>
                  <a:pt x="388961" y="1097850"/>
                  <a:pt x="388348" y="1111502"/>
                </a:cubicBezTo>
                <a:cubicBezTo>
                  <a:pt x="387375" y="1133151"/>
                  <a:pt x="386231" y="1154793"/>
                  <a:pt x="385048" y="1176431"/>
                </a:cubicBezTo>
                <a:cubicBezTo>
                  <a:pt x="382637" y="1220514"/>
                  <a:pt x="380158" y="1264593"/>
                  <a:pt x="377687" y="1308672"/>
                </a:cubicBezTo>
                <a:cubicBezTo>
                  <a:pt x="377458" y="1312751"/>
                  <a:pt x="376852" y="1316821"/>
                  <a:pt x="376823" y="1320897"/>
                </a:cubicBezTo>
                <a:cubicBezTo>
                  <a:pt x="376717" y="1335880"/>
                  <a:pt x="376781" y="1350864"/>
                  <a:pt x="376781" y="1366151"/>
                </a:cubicBezTo>
                <a:cubicBezTo>
                  <a:pt x="404707" y="1370397"/>
                  <a:pt x="432477" y="1369351"/>
                  <a:pt x="462594" y="1369008"/>
                </a:cubicBezTo>
                <a:moveTo>
                  <a:pt x="648494" y="1463981"/>
                </a:moveTo>
                <a:cubicBezTo>
                  <a:pt x="671329" y="1460052"/>
                  <a:pt x="694163" y="1456122"/>
                  <a:pt x="718746" y="1451892"/>
                </a:cubicBezTo>
                <a:cubicBezTo>
                  <a:pt x="716257" y="1439067"/>
                  <a:pt x="714578" y="1427816"/>
                  <a:pt x="711827" y="1416835"/>
                </a:cubicBezTo>
                <a:cubicBezTo>
                  <a:pt x="707611" y="1400009"/>
                  <a:pt x="703502" y="1397423"/>
                  <a:pt x="685812" y="1398502"/>
                </a:cubicBezTo>
                <a:cubicBezTo>
                  <a:pt x="684179" y="1398602"/>
                  <a:pt x="682547" y="1398768"/>
                  <a:pt x="680924" y="1398973"/>
                </a:cubicBezTo>
                <a:cubicBezTo>
                  <a:pt x="653380" y="1402446"/>
                  <a:pt x="625911" y="1406752"/>
                  <a:pt x="598278" y="1409218"/>
                </a:cubicBezTo>
                <a:cubicBezTo>
                  <a:pt x="557171" y="1412886"/>
                  <a:pt x="515983" y="1415946"/>
                  <a:pt x="474765" y="1417945"/>
                </a:cubicBezTo>
                <a:cubicBezTo>
                  <a:pt x="444944" y="1419391"/>
                  <a:pt x="415021" y="1418680"/>
                  <a:pt x="385143" y="1418978"/>
                </a:cubicBezTo>
                <a:cubicBezTo>
                  <a:pt x="382419" y="1419005"/>
                  <a:pt x="379697" y="1419376"/>
                  <a:pt x="376639" y="1419613"/>
                </a:cubicBezTo>
                <a:cubicBezTo>
                  <a:pt x="376639" y="1438152"/>
                  <a:pt x="376639" y="1455909"/>
                  <a:pt x="376639" y="1473939"/>
                </a:cubicBezTo>
                <a:cubicBezTo>
                  <a:pt x="378971" y="1474343"/>
                  <a:pt x="380523" y="1474802"/>
                  <a:pt x="382089" y="1474854"/>
                </a:cubicBezTo>
                <a:cubicBezTo>
                  <a:pt x="404571" y="1475605"/>
                  <a:pt x="427058" y="1476986"/>
                  <a:pt x="449536" y="1476855"/>
                </a:cubicBezTo>
                <a:cubicBezTo>
                  <a:pt x="486344" y="1476639"/>
                  <a:pt x="523207" y="1476480"/>
                  <a:pt x="559930" y="1474307"/>
                </a:cubicBezTo>
                <a:cubicBezTo>
                  <a:pt x="588839" y="1472596"/>
                  <a:pt x="617570" y="1467884"/>
                  <a:pt x="648494" y="1463981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10" name="Free-form: Shape 509">
            <a:extLst>
              <a:ext uri="{FF2B5EF4-FFF2-40B4-BE49-F238E27FC236}">
                <a16:creationId xmlns:a16="http://schemas.microsoft.com/office/drawing/2014/main" id="{6FACCC67-5D2C-CA31-3936-002417BB371E}"/>
              </a:ext>
            </a:extLst>
          </p:cNvPr>
          <p:cNvSpPr/>
          <p:nvPr/>
        </p:nvSpPr>
        <p:spPr>
          <a:xfrm>
            <a:off x="9611632" y="4045547"/>
            <a:ext cx="497702" cy="821885"/>
          </a:xfrm>
          <a:custGeom>
            <a:avLst/>
            <a:gdLst>
              <a:gd name="csX0" fmla="*/ 512604 w 598747"/>
              <a:gd name="csY0" fmla="*/ 503918 h 988745"/>
              <a:gd name="csX1" fmla="*/ 472435 w 598747"/>
              <a:gd name="csY1" fmla="*/ 482196 h 988745"/>
              <a:gd name="csX2" fmla="*/ 432737 w 598747"/>
              <a:gd name="csY2" fmla="*/ 445605 h 988745"/>
              <a:gd name="csX3" fmla="*/ 375943 w 598747"/>
              <a:gd name="csY3" fmla="*/ 426178 h 988745"/>
              <a:gd name="csX4" fmla="*/ 329354 w 598747"/>
              <a:gd name="csY4" fmla="*/ 428057 h 988745"/>
              <a:gd name="csX5" fmla="*/ 273070 w 598747"/>
              <a:gd name="csY5" fmla="*/ 425461 h 988745"/>
              <a:gd name="csX6" fmla="*/ 230084 w 598747"/>
              <a:gd name="csY6" fmla="*/ 395825 h 988745"/>
              <a:gd name="csX7" fmla="*/ 199097 w 598747"/>
              <a:gd name="csY7" fmla="*/ 326515 h 988745"/>
              <a:gd name="csX8" fmla="*/ 195158 w 598747"/>
              <a:gd name="csY8" fmla="*/ 315511 h 988745"/>
              <a:gd name="csX9" fmla="*/ 192512 w 598747"/>
              <a:gd name="csY9" fmla="*/ 315405 h 988745"/>
              <a:gd name="csX10" fmla="*/ 189288 w 598747"/>
              <a:gd name="csY10" fmla="*/ 321954 h 988745"/>
              <a:gd name="csX11" fmla="*/ 209532 w 598747"/>
              <a:gd name="csY11" fmla="*/ 453235 h 988745"/>
              <a:gd name="csX12" fmla="*/ 268616 w 598747"/>
              <a:gd name="csY12" fmla="*/ 538863 h 988745"/>
              <a:gd name="csX13" fmla="*/ 394191 w 598747"/>
              <a:gd name="csY13" fmla="*/ 676935 h 988745"/>
              <a:gd name="csX14" fmla="*/ 474037 w 598747"/>
              <a:gd name="csY14" fmla="*/ 783945 h 988745"/>
              <a:gd name="csX15" fmla="*/ 503332 w 598747"/>
              <a:gd name="csY15" fmla="*/ 901469 h 988745"/>
              <a:gd name="csX16" fmla="*/ 487993 w 598747"/>
              <a:gd name="csY16" fmla="*/ 970743 h 988745"/>
              <a:gd name="csX17" fmla="*/ 477248 w 598747"/>
              <a:gd name="csY17" fmla="*/ 979235 h 988745"/>
              <a:gd name="csX18" fmla="*/ 410194 w 598747"/>
              <a:gd name="csY18" fmla="*/ 986326 h 988745"/>
              <a:gd name="csX19" fmla="*/ 213720 w 598747"/>
              <a:gd name="csY19" fmla="*/ 988629 h 988745"/>
              <a:gd name="csX20" fmla="*/ 86242 w 598747"/>
              <a:gd name="csY20" fmla="*/ 982669 h 988745"/>
              <a:gd name="csX21" fmla="*/ 53553 w 598747"/>
              <a:gd name="csY21" fmla="*/ 981705 h 988745"/>
              <a:gd name="csX22" fmla="*/ 56311 w 598747"/>
              <a:gd name="csY22" fmla="*/ 974933 h 988745"/>
              <a:gd name="csX23" fmla="*/ 83373 w 598747"/>
              <a:gd name="csY23" fmla="*/ 891414 h 988745"/>
              <a:gd name="csX24" fmla="*/ 69625 w 598747"/>
              <a:gd name="csY24" fmla="*/ 728925 h 988745"/>
              <a:gd name="csX25" fmla="*/ 28713 w 598747"/>
              <a:gd name="csY25" fmla="*/ 583650 h 988745"/>
              <a:gd name="csX26" fmla="*/ 2872 w 598747"/>
              <a:gd name="csY26" fmla="*/ 458823 h 988745"/>
              <a:gd name="csX27" fmla="*/ 36461 w 598747"/>
              <a:gd name="csY27" fmla="*/ 250957 h 988745"/>
              <a:gd name="csX28" fmla="*/ 105198 w 598747"/>
              <a:gd name="csY28" fmla="*/ 163584 h 988745"/>
              <a:gd name="csX29" fmla="*/ 191800 w 598747"/>
              <a:gd name="csY29" fmla="*/ 101539 h 988745"/>
              <a:gd name="csX30" fmla="*/ 214600 w 598747"/>
              <a:gd name="csY30" fmla="*/ 75129 h 988745"/>
              <a:gd name="csX31" fmla="*/ 268462 w 598747"/>
              <a:gd name="csY31" fmla="*/ 0 h 988745"/>
              <a:gd name="csX32" fmla="*/ 269844 w 598747"/>
              <a:gd name="csY32" fmla="*/ 10898 h 988745"/>
              <a:gd name="csX33" fmla="*/ 272418 w 598747"/>
              <a:gd name="csY33" fmla="*/ 69722 h 988745"/>
              <a:gd name="csX34" fmla="*/ 297658 w 598747"/>
              <a:gd name="csY34" fmla="*/ 107113 h 988745"/>
              <a:gd name="csX35" fmla="*/ 355481 w 598747"/>
              <a:gd name="csY35" fmla="*/ 136991 h 988745"/>
              <a:gd name="csX36" fmla="*/ 430178 w 598747"/>
              <a:gd name="csY36" fmla="*/ 212396 h 988745"/>
              <a:gd name="csX37" fmla="*/ 465840 w 598747"/>
              <a:gd name="csY37" fmla="*/ 273997 h 988745"/>
              <a:gd name="csX38" fmla="*/ 532362 w 598747"/>
              <a:gd name="csY38" fmla="*/ 340124 h 988745"/>
              <a:gd name="csX39" fmla="*/ 572901 w 598747"/>
              <a:gd name="csY39" fmla="*/ 367845 h 988745"/>
              <a:gd name="csX40" fmla="*/ 598436 w 598747"/>
              <a:gd name="csY40" fmla="*/ 408775 h 988745"/>
              <a:gd name="csX41" fmla="*/ 596339 w 598747"/>
              <a:gd name="csY41" fmla="*/ 452637 h 988745"/>
              <a:gd name="csX42" fmla="*/ 552957 w 598747"/>
              <a:gd name="csY42" fmla="*/ 485233 h 988745"/>
              <a:gd name="csX43" fmla="*/ 525548 w 598747"/>
              <a:gd name="csY43" fmla="*/ 479475 h 988745"/>
              <a:gd name="csX44" fmla="*/ 515736 w 598747"/>
              <a:gd name="csY44" fmla="*/ 475921 h 988745"/>
              <a:gd name="csX45" fmla="*/ 525605 w 598747"/>
              <a:gd name="csY45" fmla="*/ 492048 h 988745"/>
              <a:gd name="csX46" fmla="*/ 538873 w 598747"/>
              <a:gd name="csY46" fmla="*/ 504704 h 988745"/>
              <a:gd name="csX47" fmla="*/ 512604 w 598747"/>
              <a:gd name="csY47" fmla="*/ 503918 h 988745"/>
              <a:gd name="csX48" fmla="*/ 332072 w 598747"/>
              <a:gd name="csY48" fmla="*/ 218143 h 988745"/>
              <a:gd name="csX49" fmla="*/ 334388 w 598747"/>
              <a:gd name="csY49" fmla="*/ 226400 h 988745"/>
              <a:gd name="csX50" fmla="*/ 372370 w 598747"/>
              <a:gd name="csY50" fmla="*/ 254505 h 988745"/>
              <a:gd name="csX51" fmla="*/ 405258 w 598747"/>
              <a:gd name="csY51" fmla="*/ 252089 h 988745"/>
              <a:gd name="csX52" fmla="*/ 409167 w 598747"/>
              <a:gd name="csY52" fmla="*/ 244359 h 988745"/>
              <a:gd name="csX53" fmla="*/ 396364 w 598747"/>
              <a:gd name="csY53" fmla="*/ 219471 h 988745"/>
              <a:gd name="csX54" fmla="*/ 365755 w 598747"/>
              <a:gd name="csY54" fmla="*/ 195821 h 988745"/>
              <a:gd name="csX55" fmla="*/ 333572 w 598747"/>
              <a:gd name="csY55" fmla="*/ 188536 h 988745"/>
              <a:gd name="csX56" fmla="*/ 322931 w 598747"/>
              <a:gd name="csY56" fmla="*/ 190843 h 988745"/>
              <a:gd name="csX57" fmla="*/ 329041 w 598747"/>
              <a:gd name="csY57" fmla="*/ 203001 h 988745"/>
              <a:gd name="csX58" fmla="*/ 332072 w 598747"/>
              <a:gd name="csY58" fmla="*/ 218143 h 98874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</a:cxnLst>
            <a:rect l="l" t="t" r="r" b="b"/>
            <a:pathLst>
              <a:path w="598747" h="988745">
                <a:moveTo>
                  <a:pt x="512604" y="503918"/>
                </a:moveTo>
                <a:cubicBezTo>
                  <a:pt x="496002" y="501170"/>
                  <a:pt x="483635" y="492907"/>
                  <a:pt x="472435" y="482196"/>
                </a:cubicBezTo>
                <a:cubicBezTo>
                  <a:pt x="459429" y="469758"/>
                  <a:pt x="446467" y="457218"/>
                  <a:pt x="432737" y="445605"/>
                </a:cubicBezTo>
                <a:cubicBezTo>
                  <a:pt x="416514" y="431883"/>
                  <a:pt x="397267" y="425513"/>
                  <a:pt x="375943" y="426178"/>
                </a:cubicBezTo>
                <a:cubicBezTo>
                  <a:pt x="360407" y="426662"/>
                  <a:pt x="344877" y="428180"/>
                  <a:pt x="329354" y="428057"/>
                </a:cubicBezTo>
                <a:cubicBezTo>
                  <a:pt x="310581" y="427907"/>
                  <a:pt x="291752" y="427215"/>
                  <a:pt x="273070" y="425461"/>
                </a:cubicBezTo>
                <a:cubicBezTo>
                  <a:pt x="253636" y="423637"/>
                  <a:pt x="240361" y="411413"/>
                  <a:pt x="230084" y="395825"/>
                </a:cubicBezTo>
                <a:cubicBezTo>
                  <a:pt x="215988" y="374443"/>
                  <a:pt x="207393" y="350530"/>
                  <a:pt x="199097" y="326515"/>
                </a:cubicBezTo>
                <a:cubicBezTo>
                  <a:pt x="197825" y="322833"/>
                  <a:pt x="196473" y="319178"/>
                  <a:pt x="195158" y="315511"/>
                </a:cubicBezTo>
                <a:cubicBezTo>
                  <a:pt x="194276" y="315475"/>
                  <a:pt x="193394" y="315440"/>
                  <a:pt x="192512" y="315405"/>
                </a:cubicBezTo>
                <a:cubicBezTo>
                  <a:pt x="191405" y="317583"/>
                  <a:pt x="189646" y="319659"/>
                  <a:pt x="189288" y="321954"/>
                </a:cubicBezTo>
                <a:cubicBezTo>
                  <a:pt x="182145" y="367836"/>
                  <a:pt x="189209" y="411525"/>
                  <a:pt x="209532" y="453235"/>
                </a:cubicBezTo>
                <a:cubicBezTo>
                  <a:pt x="224908" y="484792"/>
                  <a:pt x="245217" y="512936"/>
                  <a:pt x="268616" y="538863"/>
                </a:cubicBezTo>
                <a:cubicBezTo>
                  <a:pt x="310298" y="585046"/>
                  <a:pt x="352387" y="630861"/>
                  <a:pt x="394191" y="676935"/>
                </a:cubicBezTo>
                <a:cubicBezTo>
                  <a:pt x="424227" y="710039"/>
                  <a:pt x="452698" y="744360"/>
                  <a:pt x="474037" y="783945"/>
                </a:cubicBezTo>
                <a:cubicBezTo>
                  <a:pt x="493795" y="820596"/>
                  <a:pt x="505956" y="859233"/>
                  <a:pt x="503332" y="901469"/>
                </a:cubicBezTo>
                <a:cubicBezTo>
                  <a:pt x="501850" y="925342"/>
                  <a:pt x="495799" y="948239"/>
                  <a:pt x="487993" y="970743"/>
                </a:cubicBezTo>
                <a:cubicBezTo>
                  <a:pt x="486166" y="976009"/>
                  <a:pt x="482772" y="978647"/>
                  <a:pt x="477248" y="979235"/>
                </a:cubicBezTo>
                <a:cubicBezTo>
                  <a:pt x="454890" y="981614"/>
                  <a:pt x="432589" y="985767"/>
                  <a:pt x="410194" y="986326"/>
                </a:cubicBezTo>
                <a:cubicBezTo>
                  <a:pt x="344720" y="987961"/>
                  <a:pt x="279205" y="989128"/>
                  <a:pt x="213720" y="988629"/>
                </a:cubicBezTo>
                <a:cubicBezTo>
                  <a:pt x="171215" y="988306"/>
                  <a:pt x="128736" y="984705"/>
                  <a:pt x="86242" y="982669"/>
                </a:cubicBezTo>
                <a:cubicBezTo>
                  <a:pt x="75776" y="982167"/>
                  <a:pt x="65294" y="982040"/>
                  <a:pt x="53553" y="981705"/>
                </a:cubicBezTo>
                <a:cubicBezTo>
                  <a:pt x="54842" y="978488"/>
                  <a:pt x="55323" y="976556"/>
                  <a:pt x="56311" y="974933"/>
                </a:cubicBezTo>
                <a:cubicBezTo>
                  <a:pt x="71955" y="949229"/>
                  <a:pt x="78103" y="920529"/>
                  <a:pt x="83373" y="891414"/>
                </a:cubicBezTo>
                <a:cubicBezTo>
                  <a:pt x="93411" y="835958"/>
                  <a:pt x="83645" y="782156"/>
                  <a:pt x="69625" y="728925"/>
                </a:cubicBezTo>
                <a:cubicBezTo>
                  <a:pt x="56813" y="680283"/>
                  <a:pt x="42153" y="632130"/>
                  <a:pt x="28713" y="583650"/>
                </a:cubicBezTo>
                <a:cubicBezTo>
                  <a:pt x="17342" y="542631"/>
                  <a:pt x="7760" y="501188"/>
                  <a:pt x="2872" y="458823"/>
                </a:cubicBezTo>
                <a:cubicBezTo>
                  <a:pt x="-5484" y="386401"/>
                  <a:pt x="4005" y="316635"/>
                  <a:pt x="36461" y="250957"/>
                </a:cubicBezTo>
                <a:cubicBezTo>
                  <a:pt x="53137" y="217210"/>
                  <a:pt x="77705" y="189133"/>
                  <a:pt x="105198" y="163584"/>
                </a:cubicBezTo>
                <a:cubicBezTo>
                  <a:pt x="131434" y="139203"/>
                  <a:pt x="160285" y="118551"/>
                  <a:pt x="191800" y="101539"/>
                </a:cubicBezTo>
                <a:cubicBezTo>
                  <a:pt x="202646" y="95684"/>
                  <a:pt x="209856" y="86491"/>
                  <a:pt x="214600" y="75129"/>
                </a:cubicBezTo>
                <a:cubicBezTo>
                  <a:pt x="226474" y="46689"/>
                  <a:pt x="246616" y="24191"/>
                  <a:pt x="268462" y="0"/>
                </a:cubicBezTo>
                <a:cubicBezTo>
                  <a:pt x="269111" y="4997"/>
                  <a:pt x="269706" y="7937"/>
                  <a:pt x="269844" y="10898"/>
                </a:cubicBezTo>
                <a:cubicBezTo>
                  <a:pt x="270760" y="30504"/>
                  <a:pt x="271607" y="50112"/>
                  <a:pt x="272418" y="69722"/>
                </a:cubicBezTo>
                <a:cubicBezTo>
                  <a:pt x="273150" y="87396"/>
                  <a:pt x="281549" y="99401"/>
                  <a:pt x="297658" y="107113"/>
                </a:cubicBezTo>
                <a:cubicBezTo>
                  <a:pt x="317218" y="116476"/>
                  <a:pt x="336170" y="127101"/>
                  <a:pt x="355481" y="136991"/>
                </a:cubicBezTo>
                <a:cubicBezTo>
                  <a:pt x="388645" y="153974"/>
                  <a:pt x="413226" y="179056"/>
                  <a:pt x="430178" y="212396"/>
                </a:cubicBezTo>
                <a:cubicBezTo>
                  <a:pt x="440917" y="233515"/>
                  <a:pt x="453634" y="253647"/>
                  <a:pt x="465840" y="273997"/>
                </a:cubicBezTo>
                <a:cubicBezTo>
                  <a:pt x="482404" y="301613"/>
                  <a:pt x="506102" y="322183"/>
                  <a:pt x="532362" y="340124"/>
                </a:cubicBezTo>
                <a:cubicBezTo>
                  <a:pt x="545881" y="349359"/>
                  <a:pt x="559082" y="359088"/>
                  <a:pt x="572901" y="367845"/>
                </a:cubicBezTo>
                <a:cubicBezTo>
                  <a:pt x="588172" y="377523"/>
                  <a:pt x="597775" y="390733"/>
                  <a:pt x="598436" y="408775"/>
                </a:cubicBezTo>
                <a:cubicBezTo>
                  <a:pt x="598970" y="423381"/>
                  <a:pt x="599120" y="438404"/>
                  <a:pt x="596339" y="452637"/>
                </a:cubicBezTo>
                <a:cubicBezTo>
                  <a:pt x="591789" y="475923"/>
                  <a:pt x="576843" y="486555"/>
                  <a:pt x="552957" y="485233"/>
                </a:cubicBezTo>
                <a:cubicBezTo>
                  <a:pt x="543740" y="484722"/>
                  <a:pt x="534648" y="481613"/>
                  <a:pt x="525548" y="479475"/>
                </a:cubicBezTo>
                <a:cubicBezTo>
                  <a:pt x="522577" y="478776"/>
                  <a:pt x="519764" y="477405"/>
                  <a:pt x="515736" y="475921"/>
                </a:cubicBezTo>
                <a:cubicBezTo>
                  <a:pt x="516318" y="484233"/>
                  <a:pt x="521537" y="487842"/>
                  <a:pt x="525605" y="492048"/>
                </a:cubicBezTo>
                <a:cubicBezTo>
                  <a:pt x="529554" y="496129"/>
                  <a:pt x="533815" y="499907"/>
                  <a:pt x="538873" y="504704"/>
                </a:cubicBezTo>
                <a:cubicBezTo>
                  <a:pt x="529522" y="509277"/>
                  <a:pt x="521553" y="504428"/>
                  <a:pt x="512604" y="503918"/>
                </a:cubicBezTo>
                <a:moveTo>
                  <a:pt x="332072" y="218143"/>
                </a:moveTo>
                <a:cubicBezTo>
                  <a:pt x="332837" y="220898"/>
                  <a:pt x="333478" y="223695"/>
                  <a:pt x="334388" y="226400"/>
                </a:cubicBezTo>
                <a:cubicBezTo>
                  <a:pt x="341073" y="246268"/>
                  <a:pt x="351614" y="254460"/>
                  <a:pt x="372370" y="254505"/>
                </a:cubicBezTo>
                <a:cubicBezTo>
                  <a:pt x="383333" y="254529"/>
                  <a:pt x="394312" y="253121"/>
                  <a:pt x="405258" y="252089"/>
                </a:cubicBezTo>
                <a:cubicBezTo>
                  <a:pt x="409961" y="251646"/>
                  <a:pt x="411340" y="248568"/>
                  <a:pt x="409167" y="244359"/>
                </a:cubicBezTo>
                <a:cubicBezTo>
                  <a:pt x="404885" y="236068"/>
                  <a:pt x="400139" y="227985"/>
                  <a:pt x="396364" y="219471"/>
                </a:cubicBezTo>
                <a:cubicBezTo>
                  <a:pt x="390350" y="205908"/>
                  <a:pt x="379963" y="198663"/>
                  <a:pt x="365755" y="195821"/>
                </a:cubicBezTo>
                <a:cubicBezTo>
                  <a:pt x="354973" y="193665"/>
                  <a:pt x="344291" y="191003"/>
                  <a:pt x="333572" y="188536"/>
                </a:cubicBezTo>
                <a:cubicBezTo>
                  <a:pt x="329511" y="187602"/>
                  <a:pt x="325579" y="187007"/>
                  <a:pt x="322931" y="190843"/>
                </a:cubicBezTo>
                <a:cubicBezTo>
                  <a:pt x="325138" y="195129"/>
                  <a:pt x="327613" y="198884"/>
                  <a:pt x="329041" y="203001"/>
                </a:cubicBezTo>
                <a:cubicBezTo>
                  <a:pt x="330500" y="207204"/>
                  <a:pt x="330929" y="211764"/>
                  <a:pt x="332072" y="218143"/>
                </a:cubicBezTo>
                <a:close/>
              </a:path>
            </a:pathLst>
          </a:custGeom>
          <a:solidFill>
            <a:srgbClr val="FEFEFE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11" name="Free-form: Shape 510">
            <a:extLst>
              <a:ext uri="{FF2B5EF4-FFF2-40B4-BE49-F238E27FC236}">
                <a16:creationId xmlns:a16="http://schemas.microsoft.com/office/drawing/2014/main" id="{127AE0FF-93D1-89D8-C491-A7E170D356E4}"/>
              </a:ext>
            </a:extLst>
          </p:cNvPr>
          <p:cNvSpPr/>
          <p:nvPr/>
        </p:nvSpPr>
        <p:spPr>
          <a:xfrm>
            <a:off x="9812449" y="4902882"/>
            <a:ext cx="267393" cy="232628"/>
          </a:xfrm>
          <a:custGeom>
            <a:avLst/>
            <a:gdLst>
              <a:gd name="csX0" fmla="*/ 84645 w 321679"/>
              <a:gd name="csY0" fmla="*/ 279507 h 279857"/>
              <a:gd name="csX1" fmla="*/ 19 w 321679"/>
              <a:gd name="csY1" fmla="*/ 276629 h 279857"/>
              <a:gd name="csX2" fmla="*/ 61 w 321679"/>
              <a:gd name="csY2" fmla="*/ 231376 h 279857"/>
              <a:gd name="csX3" fmla="*/ 925 w 321679"/>
              <a:gd name="csY3" fmla="*/ 219150 h 279857"/>
              <a:gd name="csX4" fmla="*/ 8286 w 321679"/>
              <a:gd name="csY4" fmla="*/ 86910 h 279857"/>
              <a:gd name="csX5" fmla="*/ 11586 w 321679"/>
              <a:gd name="csY5" fmla="*/ 21981 h 279857"/>
              <a:gd name="csX6" fmla="*/ 26655 w 321679"/>
              <a:gd name="csY6" fmla="*/ 7635 h 279857"/>
              <a:gd name="csX7" fmla="*/ 67169 w 321679"/>
              <a:gd name="csY7" fmla="*/ 7178 h 279857"/>
              <a:gd name="csX8" fmla="*/ 201872 w 321679"/>
              <a:gd name="csY8" fmla="*/ 121 h 279857"/>
              <a:gd name="csX9" fmla="*/ 217558 w 321679"/>
              <a:gd name="csY9" fmla="*/ 87 h 279857"/>
              <a:gd name="csX10" fmla="*/ 214854 w 321679"/>
              <a:gd name="csY10" fmla="*/ 22019 h 279857"/>
              <a:gd name="csX11" fmla="*/ 235301 w 321679"/>
              <a:gd name="csY11" fmla="*/ 104861 h 279857"/>
              <a:gd name="csX12" fmla="*/ 269832 w 321679"/>
              <a:gd name="csY12" fmla="*/ 144587 h 279857"/>
              <a:gd name="csX13" fmla="*/ 299912 w 321679"/>
              <a:gd name="csY13" fmla="*/ 176874 h 279857"/>
              <a:gd name="csX14" fmla="*/ 320491 w 321679"/>
              <a:gd name="csY14" fmla="*/ 256903 h 279857"/>
              <a:gd name="csX15" fmla="*/ 255607 w 321679"/>
              <a:gd name="csY15" fmla="*/ 264918 h 279857"/>
              <a:gd name="csX16" fmla="*/ 172672 w 321679"/>
              <a:gd name="csY16" fmla="*/ 273435 h 279857"/>
              <a:gd name="csX17" fmla="*/ 133595 w 321679"/>
              <a:gd name="csY17" fmla="*/ 276823 h 279857"/>
              <a:gd name="csX18" fmla="*/ 84645 w 321679"/>
              <a:gd name="csY18" fmla="*/ 279507 h 27985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</a:cxnLst>
            <a:rect l="l" t="t" r="r" b="b"/>
            <a:pathLst>
              <a:path w="321679" h="279857">
                <a:moveTo>
                  <a:pt x="84645" y="279507"/>
                </a:moveTo>
                <a:cubicBezTo>
                  <a:pt x="55716" y="279830"/>
                  <a:pt x="27945" y="280875"/>
                  <a:pt x="19" y="276629"/>
                </a:cubicBezTo>
                <a:cubicBezTo>
                  <a:pt x="19" y="261343"/>
                  <a:pt x="-45" y="246359"/>
                  <a:pt x="61" y="231376"/>
                </a:cubicBezTo>
                <a:cubicBezTo>
                  <a:pt x="90" y="227299"/>
                  <a:pt x="696" y="223229"/>
                  <a:pt x="925" y="219150"/>
                </a:cubicBezTo>
                <a:cubicBezTo>
                  <a:pt x="3396" y="175071"/>
                  <a:pt x="5876" y="130992"/>
                  <a:pt x="8286" y="86910"/>
                </a:cubicBezTo>
                <a:cubicBezTo>
                  <a:pt x="9469" y="65271"/>
                  <a:pt x="10613" y="43630"/>
                  <a:pt x="11586" y="21981"/>
                </a:cubicBezTo>
                <a:cubicBezTo>
                  <a:pt x="12199" y="8328"/>
                  <a:pt x="12576" y="7792"/>
                  <a:pt x="26655" y="7635"/>
                </a:cubicBezTo>
                <a:cubicBezTo>
                  <a:pt x="40161" y="7484"/>
                  <a:pt x="53689" y="7831"/>
                  <a:pt x="67169" y="7178"/>
                </a:cubicBezTo>
                <a:cubicBezTo>
                  <a:pt x="112079" y="5004"/>
                  <a:pt x="156970" y="2455"/>
                  <a:pt x="201872" y="121"/>
                </a:cubicBezTo>
                <a:cubicBezTo>
                  <a:pt x="206690" y="-130"/>
                  <a:pt x="211533" y="87"/>
                  <a:pt x="217558" y="87"/>
                </a:cubicBezTo>
                <a:cubicBezTo>
                  <a:pt x="216603" y="7811"/>
                  <a:pt x="215688" y="14910"/>
                  <a:pt x="214854" y="22019"/>
                </a:cubicBezTo>
                <a:cubicBezTo>
                  <a:pt x="211318" y="52185"/>
                  <a:pt x="219749" y="79345"/>
                  <a:pt x="235301" y="104861"/>
                </a:cubicBezTo>
                <a:cubicBezTo>
                  <a:pt x="244591" y="120102"/>
                  <a:pt x="257536" y="132012"/>
                  <a:pt x="269832" y="144587"/>
                </a:cubicBezTo>
                <a:cubicBezTo>
                  <a:pt x="280116" y="155103"/>
                  <a:pt x="290551" y="165559"/>
                  <a:pt x="299912" y="176874"/>
                </a:cubicBezTo>
                <a:cubicBezTo>
                  <a:pt x="319006" y="199953"/>
                  <a:pt x="324386" y="226827"/>
                  <a:pt x="320491" y="256903"/>
                </a:cubicBezTo>
                <a:cubicBezTo>
                  <a:pt x="298421" y="259649"/>
                  <a:pt x="277043" y="262541"/>
                  <a:pt x="255607" y="264918"/>
                </a:cubicBezTo>
                <a:cubicBezTo>
                  <a:pt x="227987" y="267981"/>
                  <a:pt x="200327" y="270692"/>
                  <a:pt x="172672" y="273435"/>
                </a:cubicBezTo>
                <a:cubicBezTo>
                  <a:pt x="159662" y="274725"/>
                  <a:pt x="146637" y="275935"/>
                  <a:pt x="133595" y="276823"/>
                </a:cubicBezTo>
                <a:cubicBezTo>
                  <a:pt x="117688" y="277907"/>
                  <a:pt x="101755" y="278616"/>
                  <a:pt x="84645" y="279507"/>
                </a:cubicBezTo>
                <a:close/>
              </a:path>
            </a:pathLst>
          </a:custGeom>
          <a:solidFill>
            <a:srgbClr val="FDFEFE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12" name="Free-form: Shape 511">
            <a:extLst>
              <a:ext uri="{FF2B5EF4-FFF2-40B4-BE49-F238E27FC236}">
                <a16:creationId xmlns:a16="http://schemas.microsoft.com/office/drawing/2014/main" id="{354A3F55-02A1-5F9B-F1C7-92526CD20832}"/>
              </a:ext>
            </a:extLst>
          </p:cNvPr>
          <p:cNvSpPr/>
          <p:nvPr/>
        </p:nvSpPr>
        <p:spPr>
          <a:xfrm>
            <a:off x="9812346" y="5159543"/>
            <a:ext cx="284373" cy="65313"/>
          </a:xfrm>
          <a:custGeom>
            <a:avLst/>
            <a:gdLst>
              <a:gd name="csX0" fmla="*/ 270798 w 342106"/>
              <a:gd name="csY0" fmla="*/ 65953 h 78573"/>
              <a:gd name="csX1" fmla="*/ 183290 w 342106"/>
              <a:gd name="csY1" fmla="*/ 76017 h 78573"/>
              <a:gd name="csX2" fmla="*/ 72897 w 342106"/>
              <a:gd name="csY2" fmla="*/ 78565 h 78573"/>
              <a:gd name="csX3" fmla="*/ 5450 w 342106"/>
              <a:gd name="csY3" fmla="*/ 76564 h 78573"/>
              <a:gd name="csX4" fmla="*/ 0 w 342106"/>
              <a:gd name="csY4" fmla="*/ 75649 h 78573"/>
              <a:gd name="csX5" fmla="*/ 0 w 342106"/>
              <a:gd name="csY5" fmla="*/ 21324 h 78573"/>
              <a:gd name="csX6" fmla="*/ 8504 w 342106"/>
              <a:gd name="csY6" fmla="*/ 20688 h 78573"/>
              <a:gd name="csX7" fmla="*/ 98126 w 342106"/>
              <a:gd name="csY7" fmla="*/ 19655 h 78573"/>
              <a:gd name="csX8" fmla="*/ 221639 w 342106"/>
              <a:gd name="csY8" fmla="*/ 10929 h 78573"/>
              <a:gd name="csX9" fmla="*/ 304285 w 342106"/>
              <a:gd name="csY9" fmla="*/ 683 h 78573"/>
              <a:gd name="csX10" fmla="*/ 309173 w 342106"/>
              <a:gd name="csY10" fmla="*/ 212 h 78573"/>
              <a:gd name="csX11" fmla="*/ 335187 w 342106"/>
              <a:gd name="csY11" fmla="*/ 18545 h 78573"/>
              <a:gd name="csX12" fmla="*/ 342106 w 342106"/>
              <a:gd name="csY12" fmla="*/ 53602 h 78573"/>
              <a:gd name="csX13" fmla="*/ 270798 w 342106"/>
              <a:gd name="csY13" fmla="*/ 65953 h 7857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</a:cxnLst>
            <a:rect l="l" t="t" r="r" b="b"/>
            <a:pathLst>
              <a:path w="342106" h="78573">
                <a:moveTo>
                  <a:pt x="270798" y="65953"/>
                </a:moveTo>
                <a:cubicBezTo>
                  <a:pt x="240931" y="69594"/>
                  <a:pt x="212199" y="74306"/>
                  <a:pt x="183290" y="76017"/>
                </a:cubicBezTo>
                <a:cubicBezTo>
                  <a:pt x="146568" y="78191"/>
                  <a:pt x="109704" y="78349"/>
                  <a:pt x="72897" y="78565"/>
                </a:cubicBezTo>
                <a:cubicBezTo>
                  <a:pt x="50419" y="78697"/>
                  <a:pt x="27931" y="77315"/>
                  <a:pt x="5450" y="76564"/>
                </a:cubicBezTo>
                <a:cubicBezTo>
                  <a:pt x="3884" y="76512"/>
                  <a:pt x="2332" y="76053"/>
                  <a:pt x="0" y="75649"/>
                </a:cubicBezTo>
                <a:cubicBezTo>
                  <a:pt x="0" y="57619"/>
                  <a:pt x="0" y="39863"/>
                  <a:pt x="0" y="21324"/>
                </a:cubicBezTo>
                <a:cubicBezTo>
                  <a:pt x="3058" y="21086"/>
                  <a:pt x="5779" y="20715"/>
                  <a:pt x="8504" y="20688"/>
                </a:cubicBezTo>
                <a:cubicBezTo>
                  <a:pt x="38382" y="20390"/>
                  <a:pt x="68305" y="21101"/>
                  <a:pt x="98126" y="19655"/>
                </a:cubicBezTo>
                <a:cubicBezTo>
                  <a:pt x="139343" y="17657"/>
                  <a:pt x="180532" y="14597"/>
                  <a:pt x="221639" y="10929"/>
                </a:cubicBezTo>
                <a:cubicBezTo>
                  <a:pt x="249272" y="8463"/>
                  <a:pt x="276741" y="4156"/>
                  <a:pt x="304285" y="683"/>
                </a:cubicBezTo>
                <a:cubicBezTo>
                  <a:pt x="305908" y="478"/>
                  <a:pt x="307539" y="312"/>
                  <a:pt x="309173" y="212"/>
                </a:cubicBezTo>
                <a:cubicBezTo>
                  <a:pt x="326863" y="-867"/>
                  <a:pt x="330972" y="1719"/>
                  <a:pt x="335187" y="18545"/>
                </a:cubicBezTo>
                <a:cubicBezTo>
                  <a:pt x="337939" y="29526"/>
                  <a:pt x="339618" y="40777"/>
                  <a:pt x="342106" y="53602"/>
                </a:cubicBezTo>
                <a:cubicBezTo>
                  <a:pt x="317523" y="57833"/>
                  <a:pt x="294689" y="61762"/>
                  <a:pt x="270798" y="65953"/>
                </a:cubicBezTo>
                <a:close/>
              </a:path>
            </a:pathLst>
          </a:custGeom>
          <a:solidFill>
            <a:srgbClr val="FCFCFC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13" name="Free-form: Shape 512">
            <a:extLst>
              <a:ext uri="{FF2B5EF4-FFF2-40B4-BE49-F238E27FC236}">
                <a16:creationId xmlns:a16="http://schemas.microsoft.com/office/drawing/2014/main" id="{55BD8763-0652-B713-4BC2-5CD32A533388}"/>
              </a:ext>
            </a:extLst>
          </p:cNvPr>
          <p:cNvSpPr/>
          <p:nvPr/>
        </p:nvSpPr>
        <p:spPr>
          <a:xfrm>
            <a:off x="9880065" y="4201687"/>
            <a:ext cx="72517" cy="55415"/>
          </a:xfrm>
          <a:custGeom>
            <a:avLst/>
            <a:gdLst>
              <a:gd name="csX0" fmla="*/ 9010 w 87239"/>
              <a:gd name="csY0" fmla="*/ 29316 h 66665"/>
              <a:gd name="csX1" fmla="*/ 6110 w 87239"/>
              <a:gd name="csY1" fmla="*/ 15162 h 66665"/>
              <a:gd name="csX2" fmla="*/ 0 w 87239"/>
              <a:gd name="csY2" fmla="*/ 3003 h 66665"/>
              <a:gd name="csX3" fmla="*/ 10641 w 87239"/>
              <a:gd name="csY3" fmla="*/ 697 h 66665"/>
              <a:gd name="csX4" fmla="*/ 42824 w 87239"/>
              <a:gd name="csY4" fmla="*/ 7981 h 66665"/>
              <a:gd name="csX5" fmla="*/ 73433 w 87239"/>
              <a:gd name="csY5" fmla="*/ 31631 h 66665"/>
              <a:gd name="csX6" fmla="*/ 86236 w 87239"/>
              <a:gd name="csY6" fmla="*/ 56519 h 66665"/>
              <a:gd name="csX7" fmla="*/ 82327 w 87239"/>
              <a:gd name="csY7" fmla="*/ 64249 h 66665"/>
              <a:gd name="csX8" fmla="*/ 49439 w 87239"/>
              <a:gd name="csY8" fmla="*/ 66665 h 66665"/>
              <a:gd name="csX9" fmla="*/ 11457 w 87239"/>
              <a:gd name="csY9" fmla="*/ 38560 h 66665"/>
              <a:gd name="csX10" fmla="*/ 9010 w 87239"/>
              <a:gd name="csY10" fmla="*/ 29316 h 6666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</a:cxnLst>
            <a:rect l="l" t="t" r="r" b="b"/>
            <a:pathLst>
              <a:path w="87239" h="66665">
                <a:moveTo>
                  <a:pt x="9010" y="29316"/>
                </a:moveTo>
                <a:cubicBezTo>
                  <a:pt x="7998" y="23924"/>
                  <a:pt x="7568" y="19365"/>
                  <a:pt x="6110" y="15162"/>
                </a:cubicBezTo>
                <a:cubicBezTo>
                  <a:pt x="4682" y="11044"/>
                  <a:pt x="2207" y="7289"/>
                  <a:pt x="0" y="3003"/>
                </a:cubicBezTo>
                <a:cubicBezTo>
                  <a:pt x="2648" y="-833"/>
                  <a:pt x="6580" y="-238"/>
                  <a:pt x="10641" y="697"/>
                </a:cubicBezTo>
                <a:cubicBezTo>
                  <a:pt x="21360" y="3163"/>
                  <a:pt x="32042" y="5825"/>
                  <a:pt x="42824" y="7981"/>
                </a:cubicBezTo>
                <a:cubicBezTo>
                  <a:pt x="57032" y="10823"/>
                  <a:pt x="67419" y="18068"/>
                  <a:pt x="73433" y="31631"/>
                </a:cubicBezTo>
                <a:cubicBezTo>
                  <a:pt x="77208" y="40146"/>
                  <a:pt x="81954" y="48228"/>
                  <a:pt x="86236" y="56519"/>
                </a:cubicBezTo>
                <a:cubicBezTo>
                  <a:pt x="88409" y="60728"/>
                  <a:pt x="87030" y="63806"/>
                  <a:pt x="82327" y="64249"/>
                </a:cubicBezTo>
                <a:cubicBezTo>
                  <a:pt x="71381" y="65282"/>
                  <a:pt x="60402" y="66689"/>
                  <a:pt x="49439" y="66665"/>
                </a:cubicBezTo>
                <a:cubicBezTo>
                  <a:pt x="28683" y="66620"/>
                  <a:pt x="18142" y="58428"/>
                  <a:pt x="11457" y="38560"/>
                </a:cubicBezTo>
                <a:cubicBezTo>
                  <a:pt x="10547" y="35855"/>
                  <a:pt x="9906" y="33058"/>
                  <a:pt x="9010" y="29316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14" name="Oval 513">
            <a:extLst>
              <a:ext uri="{FF2B5EF4-FFF2-40B4-BE49-F238E27FC236}">
                <a16:creationId xmlns:a16="http://schemas.microsoft.com/office/drawing/2014/main" id="{0E9028A2-E35E-3A75-E567-4D2AAE83C2A1}"/>
              </a:ext>
            </a:extLst>
          </p:cNvPr>
          <p:cNvSpPr/>
          <p:nvPr/>
        </p:nvSpPr>
        <p:spPr>
          <a:xfrm>
            <a:off x="5534476" y="3217063"/>
            <a:ext cx="656485" cy="147620"/>
          </a:xfrm>
          <a:prstGeom prst="ellipse">
            <a:avLst/>
          </a:prstGeom>
          <a:solidFill>
            <a:schemeClr val="tx1">
              <a:alpha val="5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21" name="Oval 520">
            <a:extLst>
              <a:ext uri="{FF2B5EF4-FFF2-40B4-BE49-F238E27FC236}">
                <a16:creationId xmlns:a16="http://schemas.microsoft.com/office/drawing/2014/main" id="{F6E61F1B-61BB-F685-A1CD-1F18EFC4E936}"/>
              </a:ext>
            </a:extLst>
          </p:cNvPr>
          <p:cNvSpPr/>
          <p:nvPr/>
        </p:nvSpPr>
        <p:spPr>
          <a:xfrm>
            <a:off x="8170960" y="3217063"/>
            <a:ext cx="656485" cy="147620"/>
          </a:xfrm>
          <a:prstGeom prst="ellipse">
            <a:avLst/>
          </a:prstGeom>
          <a:solidFill>
            <a:schemeClr val="tx1">
              <a:alpha val="5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22" name="Free-form: Shape 521">
            <a:extLst>
              <a:ext uri="{FF2B5EF4-FFF2-40B4-BE49-F238E27FC236}">
                <a16:creationId xmlns:a16="http://schemas.microsoft.com/office/drawing/2014/main" id="{EBE92265-CDB7-CD57-B4A9-A2BD12CCB46C}"/>
              </a:ext>
            </a:extLst>
          </p:cNvPr>
          <p:cNvSpPr/>
          <p:nvPr/>
        </p:nvSpPr>
        <p:spPr>
          <a:xfrm>
            <a:off x="8084981" y="2469783"/>
            <a:ext cx="880396" cy="841622"/>
          </a:xfrm>
          <a:custGeom>
            <a:avLst/>
            <a:gdLst>
              <a:gd name="csX0" fmla="*/ 401579 w 1609516"/>
              <a:gd name="csY0" fmla="*/ 1495809 h 1538630"/>
              <a:gd name="csX1" fmla="*/ 400190 w 1609516"/>
              <a:gd name="csY1" fmla="*/ 1496004 h 1538630"/>
              <a:gd name="csX2" fmla="*/ 401224 w 1609516"/>
              <a:gd name="csY2" fmla="*/ 1496470 h 1538630"/>
              <a:gd name="csX3" fmla="*/ 401224 w 1609516"/>
              <a:gd name="csY3" fmla="*/ 1498590 h 1538630"/>
              <a:gd name="csX4" fmla="*/ 401579 w 1609516"/>
              <a:gd name="csY4" fmla="*/ 1498628 h 1538630"/>
              <a:gd name="csX5" fmla="*/ 401579 w 1609516"/>
              <a:gd name="csY5" fmla="*/ 1495809 h 1538630"/>
              <a:gd name="csX6" fmla="*/ 368755 w 1609516"/>
              <a:gd name="csY6" fmla="*/ 1486512 h 1538630"/>
              <a:gd name="csX7" fmla="*/ 364089 w 1609516"/>
              <a:gd name="csY7" fmla="*/ 1487354 h 1538630"/>
              <a:gd name="csX8" fmla="*/ 364089 w 1609516"/>
              <a:gd name="csY8" fmla="*/ 1487908 h 1538630"/>
              <a:gd name="csX9" fmla="*/ 1049801 w 1609516"/>
              <a:gd name="csY9" fmla="*/ 1484562 h 1538630"/>
              <a:gd name="csX10" fmla="*/ 1046735 w 1609516"/>
              <a:gd name="csY10" fmla="*/ 1485945 h 1538630"/>
              <a:gd name="csX11" fmla="*/ 1046955 w 1609516"/>
              <a:gd name="csY11" fmla="*/ 1486045 h 1538630"/>
              <a:gd name="csX12" fmla="*/ 1049801 w 1609516"/>
              <a:gd name="csY12" fmla="*/ 1485188 h 1538630"/>
              <a:gd name="csX13" fmla="*/ 351234 w 1609516"/>
              <a:gd name="csY13" fmla="*/ 1444508 h 1538630"/>
              <a:gd name="csX14" fmla="*/ 351234 w 1609516"/>
              <a:gd name="csY14" fmla="*/ 1444997 h 1538630"/>
              <a:gd name="csX15" fmla="*/ 351592 w 1609516"/>
              <a:gd name="csY15" fmla="*/ 1445078 h 1538630"/>
              <a:gd name="csX16" fmla="*/ 351908 w 1609516"/>
              <a:gd name="csY16" fmla="*/ 1431206 h 1538630"/>
              <a:gd name="csX17" fmla="*/ 351234 w 1609516"/>
              <a:gd name="csY17" fmla="*/ 1431611 h 1538630"/>
              <a:gd name="csX18" fmla="*/ 351234 w 1609516"/>
              <a:gd name="csY18" fmla="*/ 1432274 h 1538630"/>
              <a:gd name="csX19" fmla="*/ 358162 w 1609516"/>
              <a:gd name="csY19" fmla="*/ 1421494 h 1538630"/>
              <a:gd name="csX20" fmla="*/ 355921 w 1609516"/>
              <a:gd name="csY20" fmla="*/ 1423156 h 1538630"/>
              <a:gd name="csX21" fmla="*/ 355921 w 1609516"/>
              <a:gd name="csY21" fmla="*/ 1423548 h 1538630"/>
              <a:gd name="csX22" fmla="*/ 376098 w 1609516"/>
              <a:gd name="csY22" fmla="*/ 1408347 h 1538630"/>
              <a:gd name="csX23" fmla="*/ 370750 w 1609516"/>
              <a:gd name="csY23" fmla="*/ 1412245 h 1538630"/>
              <a:gd name="csX24" fmla="*/ 375023 w 1609516"/>
              <a:gd name="csY24" fmla="*/ 1411256 h 1538630"/>
              <a:gd name="csX25" fmla="*/ 421956 w 1609516"/>
              <a:gd name="csY25" fmla="*/ 1365623 h 1538630"/>
              <a:gd name="csX26" fmla="*/ 421765 w 1609516"/>
              <a:gd name="csY26" fmla="*/ 1366161 h 1538630"/>
              <a:gd name="csX27" fmla="*/ 421887 w 1609516"/>
              <a:gd name="csY27" fmla="*/ 1366161 h 1538630"/>
              <a:gd name="csX28" fmla="*/ 754553 w 1609516"/>
              <a:gd name="csY28" fmla="*/ 1360575 h 1538630"/>
              <a:gd name="csX29" fmla="*/ 754089 w 1609516"/>
              <a:gd name="csY29" fmla="*/ 1361433 h 1538630"/>
              <a:gd name="csX30" fmla="*/ 754431 w 1609516"/>
              <a:gd name="csY30" fmla="*/ 1361125 h 1538630"/>
              <a:gd name="csX31" fmla="*/ 1277973 w 1609516"/>
              <a:gd name="csY31" fmla="*/ 1332923 h 1538630"/>
              <a:gd name="csX32" fmla="*/ 1277944 w 1609516"/>
              <a:gd name="csY32" fmla="*/ 1332936 h 1538630"/>
              <a:gd name="csX33" fmla="*/ 1277949 w 1609516"/>
              <a:gd name="csY33" fmla="*/ 1333139 h 1538630"/>
              <a:gd name="csX34" fmla="*/ 1268556 w 1609516"/>
              <a:gd name="csY34" fmla="*/ 1321066 h 1538630"/>
              <a:gd name="csX35" fmla="*/ 1268556 w 1609516"/>
              <a:gd name="csY35" fmla="*/ 1325294 h 1538630"/>
              <a:gd name="csX36" fmla="*/ 1265432 w 1609516"/>
              <a:gd name="csY36" fmla="*/ 1325294 h 1538630"/>
              <a:gd name="csX37" fmla="*/ 1265432 w 1609516"/>
              <a:gd name="csY37" fmla="*/ 1340795 h 1538630"/>
              <a:gd name="csX38" fmla="*/ 1265476 w 1609516"/>
              <a:gd name="csY38" fmla="*/ 1340714 h 1538630"/>
              <a:gd name="csX39" fmla="*/ 1265476 w 1609516"/>
              <a:gd name="csY39" fmla="*/ 1325877 h 1538630"/>
              <a:gd name="csX40" fmla="*/ 1268600 w 1609516"/>
              <a:gd name="csY40" fmla="*/ 1325877 h 1538630"/>
              <a:gd name="csX41" fmla="*/ 1268600 w 1609516"/>
              <a:gd name="csY41" fmla="*/ 1321649 h 1538630"/>
              <a:gd name="csX42" fmla="*/ 1273286 w 1609516"/>
              <a:gd name="csY42" fmla="*/ 1321649 h 1538630"/>
              <a:gd name="csX43" fmla="*/ 1273227 w 1609516"/>
              <a:gd name="csY43" fmla="*/ 1321066 h 1538630"/>
              <a:gd name="csX44" fmla="*/ 827891 w 1609516"/>
              <a:gd name="csY44" fmla="*/ 1291474 h 1538630"/>
              <a:gd name="csX45" fmla="*/ 822601 w 1609516"/>
              <a:gd name="csY45" fmla="*/ 1291544 h 1538630"/>
              <a:gd name="csX46" fmla="*/ 818272 w 1609516"/>
              <a:gd name="csY46" fmla="*/ 1292220 h 1538630"/>
              <a:gd name="csX47" fmla="*/ 827891 w 1609516"/>
              <a:gd name="csY47" fmla="*/ 1292047 h 1538630"/>
              <a:gd name="csX48" fmla="*/ 856397 w 1609516"/>
              <a:gd name="csY48" fmla="*/ 1288691 h 1538630"/>
              <a:gd name="csX49" fmla="*/ 865903 w 1609516"/>
              <a:gd name="csY49" fmla="*/ 1290590 h 1538630"/>
              <a:gd name="csX50" fmla="*/ 859999 w 1609516"/>
              <a:gd name="csY50" fmla="*/ 1288752 h 1538630"/>
              <a:gd name="csX51" fmla="*/ 834694 w 1609516"/>
              <a:gd name="csY51" fmla="*/ 1288572 h 1538630"/>
              <a:gd name="csX52" fmla="*/ 828038 w 1609516"/>
              <a:gd name="csY52" fmla="*/ 1288654 h 1538630"/>
              <a:gd name="csX53" fmla="*/ 828038 w 1609516"/>
              <a:gd name="csY53" fmla="*/ 1289214 h 1538630"/>
              <a:gd name="csX54" fmla="*/ 229746 w 1609516"/>
              <a:gd name="csY54" fmla="*/ 1191418 h 1538630"/>
              <a:gd name="csX55" fmla="*/ 227402 w 1609516"/>
              <a:gd name="csY55" fmla="*/ 1191947 h 1538630"/>
              <a:gd name="csX56" fmla="*/ 229315 w 1609516"/>
              <a:gd name="csY56" fmla="*/ 1191947 h 1538630"/>
              <a:gd name="csX57" fmla="*/ 229315 w 1609516"/>
              <a:gd name="csY57" fmla="*/ 1194765 h 1538630"/>
              <a:gd name="csX58" fmla="*/ 231321 w 1609516"/>
              <a:gd name="csY58" fmla="*/ 1194765 h 1538630"/>
              <a:gd name="csX59" fmla="*/ 229746 w 1609516"/>
              <a:gd name="csY59" fmla="*/ 1194236 h 1538630"/>
              <a:gd name="csX60" fmla="*/ 229746 w 1609516"/>
              <a:gd name="csY60" fmla="*/ 1191418 h 1538630"/>
              <a:gd name="csX61" fmla="*/ 215687 w 1609516"/>
              <a:gd name="csY61" fmla="*/ 1187190 h 1538630"/>
              <a:gd name="csX62" fmla="*/ 215198 w 1609516"/>
              <a:gd name="csY62" fmla="*/ 1187720 h 1538630"/>
              <a:gd name="csX63" fmla="*/ 215256 w 1609516"/>
              <a:gd name="csY63" fmla="*/ 1187720 h 1538630"/>
              <a:gd name="csX64" fmla="*/ 215256 w 1609516"/>
              <a:gd name="csY64" fmla="*/ 1191947 h 1538630"/>
              <a:gd name="csX65" fmla="*/ 222721 w 1609516"/>
              <a:gd name="csY65" fmla="*/ 1191947 h 1538630"/>
              <a:gd name="csX66" fmla="*/ 215687 w 1609516"/>
              <a:gd name="csY66" fmla="*/ 1191418 h 1538630"/>
              <a:gd name="csX67" fmla="*/ 215687 w 1609516"/>
              <a:gd name="csY67" fmla="*/ 1187190 h 1538630"/>
              <a:gd name="csX68" fmla="*/ 1279678 w 1609516"/>
              <a:gd name="csY68" fmla="*/ 1082356 h 1538630"/>
              <a:gd name="csX69" fmla="*/ 1271680 w 1609516"/>
              <a:gd name="csY69" fmla="*/ 1084589 h 1538630"/>
              <a:gd name="csX70" fmla="*/ 1282181 w 1609516"/>
              <a:gd name="csY70" fmla="*/ 1082544 h 1538630"/>
              <a:gd name="csX71" fmla="*/ 117703 w 1609516"/>
              <a:gd name="csY71" fmla="*/ 941507 h 1538630"/>
              <a:gd name="csX72" fmla="*/ 112587 w 1609516"/>
              <a:gd name="csY72" fmla="*/ 941985 h 1538630"/>
              <a:gd name="csX73" fmla="*/ 112565 w 1609516"/>
              <a:gd name="csY73" fmla="*/ 942333 h 1538630"/>
              <a:gd name="csX74" fmla="*/ 115665 w 1609516"/>
              <a:gd name="csY74" fmla="*/ 941837 h 1538630"/>
              <a:gd name="csX75" fmla="*/ 144268 w 1609516"/>
              <a:gd name="csY75" fmla="*/ 939395 h 1538630"/>
              <a:gd name="csX76" fmla="*/ 143354 w 1609516"/>
              <a:gd name="csY76" fmla="*/ 939580 h 1538630"/>
              <a:gd name="csX77" fmla="*/ 144077 w 1609516"/>
              <a:gd name="csY77" fmla="*/ 939739 h 1538630"/>
              <a:gd name="csX78" fmla="*/ 162575 w 1609516"/>
              <a:gd name="csY78" fmla="*/ 933530 h 1538630"/>
              <a:gd name="csX79" fmla="*/ 161704 w 1609516"/>
              <a:gd name="csY79" fmla="*/ 935101 h 1538630"/>
              <a:gd name="csX80" fmla="*/ 170045 w 1609516"/>
              <a:gd name="csY80" fmla="*/ 933585 h 1538630"/>
              <a:gd name="csX81" fmla="*/ 1321645 w 1609516"/>
              <a:gd name="csY81" fmla="*/ 918415 h 1538630"/>
              <a:gd name="csX82" fmla="*/ 1321534 w 1609516"/>
              <a:gd name="csY82" fmla="*/ 920177 h 1538630"/>
              <a:gd name="csX83" fmla="*/ 1321740 w 1609516"/>
              <a:gd name="csY83" fmla="*/ 918415 h 1538630"/>
              <a:gd name="csX84" fmla="*/ 1319333 w 1609516"/>
              <a:gd name="csY84" fmla="*/ 915183 h 1538630"/>
              <a:gd name="csX85" fmla="*/ 1318544 w 1609516"/>
              <a:gd name="csY85" fmla="*/ 918029 h 1538630"/>
              <a:gd name="csX86" fmla="*/ 1318702 w 1609516"/>
              <a:gd name="csY86" fmla="*/ 918029 h 1538630"/>
              <a:gd name="csX87" fmla="*/ 1326355 w 1609516"/>
              <a:gd name="csY87" fmla="*/ 907109 h 1538630"/>
              <a:gd name="csX88" fmla="*/ 1326355 w 1609516"/>
              <a:gd name="csY88" fmla="*/ 910983 h 1538630"/>
              <a:gd name="csX89" fmla="*/ 1325831 w 1609516"/>
              <a:gd name="csY89" fmla="*/ 911101 h 1538630"/>
              <a:gd name="csX90" fmla="*/ 1326426 w 1609516"/>
              <a:gd name="csY90" fmla="*/ 911369 h 1538630"/>
              <a:gd name="csX91" fmla="*/ 1326426 w 1609516"/>
              <a:gd name="csY91" fmla="*/ 907141 h 1538630"/>
              <a:gd name="csX92" fmla="*/ 1328144 w 1609516"/>
              <a:gd name="csY92" fmla="*/ 892192 h 1538630"/>
              <a:gd name="csX93" fmla="*/ 1327667 w 1609516"/>
              <a:gd name="csY93" fmla="*/ 893446 h 1538630"/>
              <a:gd name="csX94" fmla="*/ 1327989 w 1609516"/>
              <a:gd name="csY94" fmla="*/ 893049 h 1538630"/>
              <a:gd name="csX95" fmla="*/ 49605 w 1609516"/>
              <a:gd name="csY95" fmla="*/ 887420 h 1538630"/>
              <a:gd name="csX96" fmla="*/ 48549 w 1609516"/>
              <a:gd name="csY96" fmla="*/ 891229 h 1538630"/>
              <a:gd name="csX97" fmla="*/ 49956 w 1609516"/>
              <a:gd name="csY97" fmla="*/ 887420 h 1538630"/>
              <a:gd name="csX98" fmla="*/ 1332266 w 1609516"/>
              <a:gd name="csY98" fmla="*/ 883369 h 1538630"/>
              <a:gd name="csX99" fmla="*/ 1329479 w 1609516"/>
              <a:gd name="csY99" fmla="*/ 884207 h 1538630"/>
              <a:gd name="csX100" fmla="*/ 1329509 w 1609516"/>
              <a:gd name="csY100" fmla="*/ 884816 h 1538630"/>
              <a:gd name="csX101" fmla="*/ 1329551 w 1609516"/>
              <a:gd name="csY101" fmla="*/ 884594 h 1538630"/>
              <a:gd name="csX102" fmla="*/ 1555987 w 1609516"/>
              <a:gd name="csY102" fmla="*/ 821766 h 1538630"/>
              <a:gd name="csX103" fmla="*/ 1555987 w 1609516"/>
              <a:gd name="csY103" fmla="*/ 822201 h 1538630"/>
              <a:gd name="csX104" fmla="*/ 1556081 w 1609516"/>
              <a:gd name="csY104" fmla="*/ 822189 h 1538630"/>
              <a:gd name="csX105" fmla="*/ 1565360 w 1609516"/>
              <a:gd name="csY105" fmla="*/ 810928 h 1538630"/>
              <a:gd name="csX106" fmla="*/ 1564871 w 1609516"/>
              <a:gd name="csY106" fmla="*/ 811809 h 1538630"/>
              <a:gd name="csX107" fmla="*/ 1567314 w 1609516"/>
              <a:gd name="csY107" fmla="*/ 810928 h 1538630"/>
              <a:gd name="csX108" fmla="*/ 1563797 w 1609516"/>
              <a:gd name="csY108" fmla="*/ 810928 h 1538630"/>
              <a:gd name="csX109" fmla="*/ 1556762 w 1609516"/>
              <a:gd name="csY109" fmla="*/ 814736 h 1538630"/>
              <a:gd name="csX110" fmla="*/ 1563797 w 1609516"/>
              <a:gd name="csY110" fmla="*/ 812197 h 1538630"/>
              <a:gd name="csX111" fmla="*/ 265833 w 1609516"/>
              <a:gd name="csY111" fmla="*/ 806020 h 1538630"/>
              <a:gd name="csX112" fmla="*/ 263704 w 1609516"/>
              <a:gd name="csY112" fmla="*/ 809861 h 1538630"/>
              <a:gd name="csX113" fmla="*/ 263704 w 1609516"/>
              <a:gd name="csY113" fmla="*/ 816750 h 1538630"/>
              <a:gd name="csX114" fmla="*/ 264113 w 1609516"/>
              <a:gd name="csY114" fmla="*/ 816565 h 1538630"/>
              <a:gd name="csX115" fmla="*/ 263918 w 1609516"/>
              <a:gd name="csY115" fmla="*/ 812777 h 1538630"/>
              <a:gd name="csX116" fmla="*/ 263774 w 1609516"/>
              <a:gd name="csY116" fmla="*/ 779374 h 1538630"/>
              <a:gd name="csX117" fmla="*/ 263704 w 1609516"/>
              <a:gd name="csY117" fmla="*/ 783086 h 1538630"/>
              <a:gd name="csX118" fmla="*/ 264484 w 1609516"/>
              <a:gd name="csY118" fmla="*/ 785816 h 1538630"/>
              <a:gd name="csX119" fmla="*/ 265265 w 1609516"/>
              <a:gd name="csY119" fmla="*/ 794448 h 1538630"/>
              <a:gd name="csX120" fmla="*/ 265217 w 1609516"/>
              <a:gd name="csY120" fmla="*/ 799730 h 1538630"/>
              <a:gd name="csX121" fmla="*/ 266556 w 1609516"/>
              <a:gd name="csY121" fmla="*/ 803466 h 1538630"/>
              <a:gd name="csX122" fmla="*/ 267237 w 1609516"/>
              <a:gd name="csY122" fmla="*/ 801063 h 1538630"/>
              <a:gd name="csX123" fmla="*/ 265675 w 1609516"/>
              <a:gd name="csY123" fmla="*/ 799654 h 1538630"/>
              <a:gd name="csX124" fmla="*/ 265675 w 1609516"/>
              <a:gd name="csY124" fmla="*/ 793841 h 1538630"/>
              <a:gd name="csX125" fmla="*/ 260988 w 1609516"/>
              <a:gd name="csY125" fmla="*/ 770061 h 1538630"/>
              <a:gd name="csX126" fmla="*/ 260988 w 1609516"/>
              <a:gd name="csY126" fmla="*/ 771364 h 1538630"/>
              <a:gd name="csX127" fmla="*/ 263497 w 1609516"/>
              <a:gd name="csY127" fmla="*/ 777263 h 1538630"/>
              <a:gd name="csX128" fmla="*/ 262551 w 1609516"/>
              <a:gd name="csY128" fmla="*/ 770061 h 1538630"/>
              <a:gd name="csX129" fmla="*/ 260988 w 1609516"/>
              <a:gd name="csY129" fmla="*/ 770061 h 1538630"/>
              <a:gd name="csX130" fmla="*/ 157888 w 1609516"/>
              <a:gd name="csY130" fmla="*/ 651686 h 1538630"/>
              <a:gd name="csX131" fmla="*/ 157415 w 1609516"/>
              <a:gd name="csY131" fmla="*/ 651764 h 1538630"/>
              <a:gd name="csX132" fmla="*/ 160373 w 1609516"/>
              <a:gd name="csY132" fmla="*/ 652274 h 1538630"/>
              <a:gd name="csX133" fmla="*/ 267237 w 1609516"/>
              <a:gd name="csY133" fmla="*/ 426537 h 1538630"/>
              <a:gd name="csX134" fmla="*/ 267237 w 1609516"/>
              <a:gd name="csY134" fmla="*/ 427619 h 1538630"/>
              <a:gd name="csX135" fmla="*/ 270380 w 1609516"/>
              <a:gd name="csY135" fmla="*/ 428137 h 1538630"/>
              <a:gd name="csX136" fmla="*/ 273548 w 1609516"/>
              <a:gd name="csY136" fmla="*/ 428680 h 1538630"/>
              <a:gd name="csX137" fmla="*/ 37605 w 1609516"/>
              <a:gd name="csY137" fmla="*/ 359270 h 1538630"/>
              <a:gd name="csX138" fmla="*/ 37103 w 1609516"/>
              <a:gd name="csY138" fmla="*/ 361533 h 1538630"/>
              <a:gd name="csX139" fmla="*/ 37605 w 1609516"/>
              <a:gd name="csY139" fmla="*/ 361382 h 1538630"/>
              <a:gd name="csX140" fmla="*/ 52477 w 1609516"/>
              <a:gd name="csY140" fmla="*/ 337570 h 1538630"/>
              <a:gd name="csX141" fmla="*/ 47288 w 1609516"/>
              <a:gd name="csY141" fmla="*/ 342340 h 1538630"/>
              <a:gd name="csX142" fmla="*/ 45805 w 1609516"/>
              <a:gd name="csY142" fmla="*/ 345093 h 1538630"/>
              <a:gd name="csX143" fmla="*/ 104291 w 1609516"/>
              <a:gd name="csY143" fmla="*/ 336166 h 1538630"/>
              <a:gd name="csX144" fmla="*/ 103776 w 1609516"/>
              <a:gd name="csY144" fmla="*/ 337559 h 1538630"/>
              <a:gd name="csX145" fmla="*/ 108925 w 1609516"/>
              <a:gd name="csY145" fmla="*/ 336166 h 1538630"/>
              <a:gd name="csX146" fmla="*/ 1309237 w 1609516"/>
              <a:gd name="csY146" fmla="*/ 322954 h 1538630"/>
              <a:gd name="csX147" fmla="*/ 1309180 w 1609516"/>
              <a:gd name="csY147" fmla="*/ 330559 h 1538630"/>
              <a:gd name="csX148" fmla="*/ 1309237 w 1609516"/>
              <a:gd name="csY148" fmla="*/ 330520 h 1538630"/>
              <a:gd name="csX149" fmla="*/ 1308964 w 1609516"/>
              <a:gd name="csY149" fmla="*/ 317715 h 1538630"/>
              <a:gd name="csX150" fmla="*/ 1309237 w 1609516"/>
              <a:gd name="csY150" fmla="*/ 318569 h 1538630"/>
              <a:gd name="csX151" fmla="*/ 1309237 w 1609516"/>
              <a:gd name="csY151" fmla="*/ 317838 h 1538630"/>
              <a:gd name="csX152" fmla="*/ 1310087 w 1609516"/>
              <a:gd name="csY152" fmla="*/ 313153 h 1538630"/>
              <a:gd name="csX153" fmla="*/ 1307609 w 1609516"/>
              <a:gd name="csY153" fmla="*/ 313473 h 1538630"/>
              <a:gd name="csX154" fmla="*/ 1308045 w 1609516"/>
              <a:gd name="csY154" fmla="*/ 314836 h 1538630"/>
              <a:gd name="csX155" fmla="*/ 1318544 w 1609516"/>
              <a:gd name="csY155" fmla="*/ 312064 h 1538630"/>
              <a:gd name="csX156" fmla="*/ 1316298 w 1609516"/>
              <a:gd name="csY156" fmla="*/ 312353 h 1538630"/>
              <a:gd name="csX157" fmla="*/ 1318544 w 1609516"/>
              <a:gd name="csY157" fmla="*/ 312205 h 1538630"/>
              <a:gd name="csX158" fmla="*/ 1084622 w 1609516"/>
              <a:gd name="csY158" fmla="*/ 267674 h 1538630"/>
              <a:gd name="csX159" fmla="*/ 1084227 w 1609516"/>
              <a:gd name="csY159" fmla="*/ 268378 h 1538630"/>
              <a:gd name="csX160" fmla="*/ 1079540 w 1609516"/>
              <a:gd name="csY160" fmla="*/ 268378 h 1538630"/>
              <a:gd name="csX161" fmla="*/ 1079603 w 1609516"/>
              <a:gd name="csY161" fmla="*/ 268477 h 1538630"/>
              <a:gd name="csX162" fmla="*/ 1084192 w 1609516"/>
              <a:gd name="csY162" fmla="*/ 268477 h 1538630"/>
              <a:gd name="csX163" fmla="*/ 956410 w 1609516"/>
              <a:gd name="csY163" fmla="*/ 266968 h 1538630"/>
              <a:gd name="csX164" fmla="*/ 957576 w 1609516"/>
              <a:gd name="csY164" fmla="*/ 267083 h 1538630"/>
              <a:gd name="csX165" fmla="*/ 957576 w 1609516"/>
              <a:gd name="csY165" fmla="*/ 269776 h 1538630"/>
              <a:gd name="csX166" fmla="*/ 957694 w 1609516"/>
              <a:gd name="csY166" fmla="*/ 269787 h 1538630"/>
              <a:gd name="csX167" fmla="*/ 957694 w 1609516"/>
              <a:gd name="csY167" fmla="*/ 266968 h 1538630"/>
              <a:gd name="csX168" fmla="*/ 1089372 w 1609516"/>
              <a:gd name="csY168" fmla="*/ 259220 h 1538630"/>
              <a:gd name="csX169" fmla="*/ 1085856 w 1609516"/>
              <a:gd name="csY169" fmla="*/ 265479 h 1538630"/>
              <a:gd name="csX170" fmla="*/ 1088878 w 1609516"/>
              <a:gd name="csY170" fmla="*/ 261431 h 1538630"/>
              <a:gd name="csX171" fmla="*/ 1018517 w 1609516"/>
              <a:gd name="csY171" fmla="*/ 223356 h 1538630"/>
              <a:gd name="csX172" fmla="*/ 1013866 w 1609516"/>
              <a:gd name="csY172" fmla="*/ 226190 h 1538630"/>
              <a:gd name="csX173" fmla="*/ 1013024 w 1609516"/>
              <a:gd name="csY173" fmla="*/ 227709 h 1538630"/>
              <a:gd name="csX174" fmla="*/ 1017055 w 1609516"/>
              <a:gd name="csY174" fmla="*/ 224692 h 1538630"/>
              <a:gd name="csX175" fmla="*/ 850645 w 1609516"/>
              <a:gd name="csY175" fmla="*/ 220099 h 1538630"/>
              <a:gd name="csX176" fmla="*/ 850897 w 1609516"/>
              <a:gd name="csY176" fmla="*/ 221488 h 1538630"/>
              <a:gd name="csX177" fmla="*/ 851470 w 1609516"/>
              <a:gd name="csY177" fmla="*/ 224692 h 1538630"/>
              <a:gd name="csX178" fmla="*/ 852860 w 1609516"/>
              <a:gd name="csY178" fmla="*/ 224692 h 1538630"/>
              <a:gd name="csX179" fmla="*/ 1155019 w 1609516"/>
              <a:gd name="csY179" fmla="*/ 35 h 1538630"/>
              <a:gd name="csX180" fmla="*/ 1174829 w 1609516"/>
              <a:gd name="csY180" fmla="*/ 4853 h 1538630"/>
              <a:gd name="csX181" fmla="*/ 1179418 w 1609516"/>
              <a:gd name="csY181" fmla="*/ 5998 h 1538630"/>
              <a:gd name="csX182" fmla="*/ 1201385 w 1609516"/>
              <a:gd name="csY182" fmla="*/ 22997 h 1538630"/>
              <a:gd name="csX183" fmla="*/ 1201678 w 1609516"/>
              <a:gd name="csY183" fmla="*/ 62191 h 1538630"/>
              <a:gd name="csX184" fmla="*/ 1198261 w 1609516"/>
              <a:gd name="csY184" fmla="*/ 68268 h 1538630"/>
              <a:gd name="csX185" fmla="*/ 1195723 w 1609516"/>
              <a:gd name="csY185" fmla="*/ 72672 h 1538630"/>
              <a:gd name="csX186" fmla="*/ 1193575 w 1609516"/>
              <a:gd name="csY186" fmla="*/ 75314 h 1538630"/>
              <a:gd name="csX187" fmla="*/ 1190450 w 1609516"/>
              <a:gd name="csY187" fmla="*/ 75314 h 1538630"/>
              <a:gd name="csX188" fmla="*/ 1189474 w 1609516"/>
              <a:gd name="csY188" fmla="*/ 79366 h 1538630"/>
              <a:gd name="csX189" fmla="*/ 1182445 w 1609516"/>
              <a:gd name="csY189" fmla="*/ 85707 h 1538630"/>
              <a:gd name="csX190" fmla="*/ 1177953 w 1609516"/>
              <a:gd name="csY190" fmla="*/ 86588 h 1538630"/>
              <a:gd name="csX191" fmla="*/ 1177953 w 1609516"/>
              <a:gd name="csY191" fmla="*/ 89406 h 1538630"/>
              <a:gd name="csX192" fmla="*/ 1170045 w 1609516"/>
              <a:gd name="csY192" fmla="*/ 94251 h 1538630"/>
              <a:gd name="csX193" fmla="*/ 1143806 w 1609516"/>
              <a:gd name="csY193" fmla="*/ 132828 h 1538630"/>
              <a:gd name="csX194" fmla="*/ 1137338 w 1609516"/>
              <a:gd name="csY194" fmla="*/ 141548 h 1538630"/>
              <a:gd name="csX195" fmla="*/ 1133970 w 1609516"/>
              <a:gd name="csY195" fmla="*/ 149403 h 1538630"/>
              <a:gd name="csX196" fmla="*/ 1127965 w 1609516"/>
              <a:gd name="csY196" fmla="*/ 164095 h 1538630"/>
              <a:gd name="csX197" fmla="*/ 1124762 w 1609516"/>
              <a:gd name="csY197" fmla="*/ 171802 h 1538630"/>
              <a:gd name="csX198" fmla="*/ 1119359 w 1609516"/>
              <a:gd name="csY198" fmla="*/ 184798 h 1538630"/>
              <a:gd name="csX199" fmla="*/ 1111014 w 1609516"/>
              <a:gd name="csY199" fmla="*/ 204941 h 1538630"/>
              <a:gd name="csX200" fmla="*/ 1109729 w 1609516"/>
              <a:gd name="csY200" fmla="*/ 208059 h 1538630"/>
              <a:gd name="csX201" fmla="*/ 1106395 w 1609516"/>
              <a:gd name="csY201" fmla="*/ 216170 h 1538630"/>
              <a:gd name="csX202" fmla="*/ 1102147 w 1609516"/>
              <a:gd name="csY202" fmla="*/ 224810 h 1538630"/>
              <a:gd name="csX203" fmla="*/ 1098261 w 1609516"/>
              <a:gd name="csY203" fmla="*/ 227262 h 1538630"/>
              <a:gd name="csX204" fmla="*/ 1098367 w 1609516"/>
              <a:gd name="csY204" fmla="*/ 238475 h 1538630"/>
              <a:gd name="csX205" fmla="*/ 1097331 w 1609516"/>
              <a:gd name="csY205" fmla="*/ 242358 h 1538630"/>
              <a:gd name="csX206" fmla="*/ 1096201 w 1609516"/>
              <a:gd name="csY206" fmla="*/ 246458 h 1538630"/>
              <a:gd name="csX207" fmla="*/ 1089440 w 1609516"/>
              <a:gd name="csY207" fmla="*/ 279206 h 1538630"/>
              <a:gd name="csX208" fmla="*/ 1087316 w 1609516"/>
              <a:gd name="csY208" fmla="*/ 283978 h 1538630"/>
              <a:gd name="csX209" fmla="*/ 1086822 w 1609516"/>
              <a:gd name="csY209" fmla="*/ 291822 h 1538630"/>
              <a:gd name="csX210" fmla="*/ 1086623 w 1609516"/>
              <a:gd name="csY210" fmla="*/ 296625 h 1538630"/>
              <a:gd name="csX211" fmla="*/ 1086437 w 1609516"/>
              <a:gd name="csY211" fmla="*/ 301681 h 1538630"/>
              <a:gd name="csX212" fmla="*/ 1086233 w 1609516"/>
              <a:gd name="csY212" fmla="*/ 306754 h 1538630"/>
              <a:gd name="csX213" fmla="*/ 1086007 w 1609516"/>
              <a:gd name="csY213" fmla="*/ 312619 h 1538630"/>
              <a:gd name="csX214" fmla="*/ 1087470 w 1609516"/>
              <a:gd name="csY214" fmla="*/ 320554 h 1538630"/>
              <a:gd name="csX215" fmla="*/ 1098285 w 1609516"/>
              <a:gd name="csY215" fmla="*/ 334611 h 1538630"/>
              <a:gd name="csX216" fmla="*/ 1102607 w 1609516"/>
              <a:gd name="csY216" fmla="*/ 337679 h 1538630"/>
              <a:gd name="csX217" fmla="*/ 1106095 w 1609516"/>
              <a:gd name="csY217" fmla="*/ 340248 h 1538630"/>
              <a:gd name="csX218" fmla="*/ 1106095 w 1609516"/>
              <a:gd name="csY218" fmla="*/ 343066 h 1538630"/>
              <a:gd name="csX219" fmla="*/ 1109220 w 1609516"/>
              <a:gd name="csY219" fmla="*/ 343419 h 1538630"/>
              <a:gd name="csX220" fmla="*/ 1126403 w 1609516"/>
              <a:gd name="csY220" fmla="*/ 350112 h 1538630"/>
              <a:gd name="csX221" fmla="*/ 1131871 w 1609516"/>
              <a:gd name="csY221" fmla="*/ 352579 h 1538630"/>
              <a:gd name="csX222" fmla="*/ 1135776 w 1609516"/>
              <a:gd name="csY222" fmla="*/ 354340 h 1538630"/>
              <a:gd name="csX223" fmla="*/ 1135776 w 1609516"/>
              <a:gd name="csY223" fmla="*/ 357158 h 1538630"/>
              <a:gd name="csX224" fmla="*/ 1170143 w 1609516"/>
              <a:gd name="csY224" fmla="*/ 354340 h 1538630"/>
              <a:gd name="csX225" fmla="*/ 1174634 w 1609516"/>
              <a:gd name="csY225" fmla="*/ 352579 h 1538630"/>
              <a:gd name="csX226" fmla="*/ 1190890 w 1609516"/>
              <a:gd name="csY226" fmla="*/ 342907 h 1538630"/>
              <a:gd name="csX227" fmla="*/ 1204021 w 1609516"/>
              <a:gd name="csY227" fmla="*/ 335404 h 1538630"/>
              <a:gd name="csX228" fmla="*/ 1223255 w 1609516"/>
              <a:gd name="csY228" fmla="*/ 319110 h 1538630"/>
              <a:gd name="csX229" fmla="*/ 1226868 w 1609516"/>
              <a:gd name="csY229" fmla="*/ 315587 h 1538630"/>
              <a:gd name="csX230" fmla="*/ 1231859 w 1609516"/>
              <a:gd name="csY230" fmla="*/ 303559 h 1538630"/>
              <a:gd name="csX231" fmla="*/ 1234178 w 1609516"/>
              <a:gd name="csY231" fmla="*/ 298059 h 1538630"/>
              <a:gd name="csX232" fmla="*/ 1237314 w 1609516"/>
              <a:gd name="csY232" fmla="*/ 288195 h 1538630"/>
              <a:gd name="csX233" fmla="*/ 1249811 w 1609516"/>
              <a:gd name="csY233" fmla="*/ 265559 h 1538630"/>
              <a:gd name="csX234" fmla="*/ 1252935 w 1609516"/>
              <a:gd name="csY234" fmla="*/ 265559 h 1538630"/>
              <a:gd name="csX235" fmla="*/ 1252935 w 1609516"/>
              <a:gd name="csY235" fmla="*/ 262741 h 1538630"/>
              <a:gd name="csX236" fmla="*/ 1296675 w 1609516"/>
              <a:gd name="csY236" fmla="*/ 252876 h 1538630"/>
              <a:gd name="csX237" fmla="*/ 1307609 w 1609516"/>
              <a:gd name="csY237" fmla="*/ 255695 h 1538630"/>
              <a:gd name="csX238" fmla="*/ 1307609 w 1609516"/>
              <a:gd name="csY238" fmla="*/ 258513 h 1538630"/>
              <a:gd name="csX239" fmla="*/ 1311887 w 1609516"/>
              <a:gd name="csY239" fmla="*/ 258832 h 1538630"/>
              <a:gd name="csX240" fmla="*/ 1326715 w 1609516"/>
              <a:gd name="csY240" fmla="*/ 269969 h 1538630"/>
              <a:gd name="csX241" fmla="*/ 1334165 w 1609516"/>
              <a:gd name="csY241" fmla="*/ 307836 h 1538630"/>
              <a:gd name="csX242" fmla="*/ 1329479 w 1609516"/>
              <a:gd name="csY242" fmla="*/ 314882 h 1538630"/>
              <a:gd name="csX243" fmla="*/ 1323231 w 1609516"/>
              <a:gd name="csY243" fmla="*/ 314882 h 1538630"/>
              <a:gd name="csX244" fmla="*/ 1323231 w 1609516"/>
              <a:gd name="csY244" fmla="*/ 317700 h 1538630"/>
              <a:gd name="csX245" fmla="*/ 1322774 w 1609516"/>
              <a:gd name="csY245" fmla="*/ 317838 h 1538630"/>
              <a:gd name="csX246" fmla="*/ 1323295 w 1609516"/>
              <a:gd name="csY246" fmla="*/ 317838 h 1538630"/>
              <a:gd name="csX247" fmla="*/ 1323295 w 1609516"/>
              <a:gd name="csY247" fmla="*/ 315019 h 1538630"/>
              <a:gd name="csX248" fmla="*/ 1327982 w 1609516"/>
              <a:gd name="csY248" fmla="*/ 315019 h 1538630"/>
              <a:gd name="csX249" fmla="*/ 1317047 w 1609516"/>
              <a:gd name="csY249" fmla="*/ 327702 h 1538630"/>
              <a:gd name="csX250" fmla="*/ 1315484 w 1609516"/>
              <a:gd name="csY250" fmla="*/ 331930 h 1538630"/>
              <a:gd name="csX251" fmla="*/ 1309139 w 1609516"/>
              <a:gd name="csY251" fmla="*/ 333603 h 1538630"/>
              <a:gd name="csX252" fmla="*/ 1305666 w 1609516"/>
              <a:gd name="csY252" fmla="*/ 334280 h 1538630"/>
              <a:gd name="csX253" fmla="*/ 1302988 w 1609516"/>
              <a:gd name="csY253" fmla="*/ 334748 h 1538630"/>
              <a:gd name="csX254" fmla="*/ 1305905 w 1609516"/>
              <a:gd name="csY254" fmla="*/ 332775 h 1538630"/>
              <a:gd name="csX255" fmla="*/ 1304485 w 1609516"/>
              <a:gd name="csY255" fmla="*/ 333202 h 1538630"/>
              <a:gd name="csX256" fmla="*/ 1301459 w 1609516"/>
              <a:gd name="csY256" fmla="*/ 336108 h 1538630"/>
              <a:gd name="csX257" fmla="*/ 1291989 w 1609516"/>
              <a:gd name="csY257" fmla="*/ 338839 h 1538630"/>
              <a:gd name="csX258" fmla="*/ 1290426 w 1609516"/>
              <a:gd name="csY258" fmla="*/ 343066 h 1538630"/>
              <a:gd name="csX259" fmla="*/ 1285740 w 1609516"/>
              <a:gd name="csY259" fmla="*/ 344123 h 1538630"/>
              <a:gd name="csX260" fmla="*/ 1237314 w 1609516"/>
              <a:gd name="csY260" fmla="*/ 382525 h 1538630"/>
              <a:gd name="csX261" fmla="*/ 1232628 w 1609516"/>
              <a:gd name="csY261" fmla="*/ 392389 h 1538630"/>
              <a:gd name="csX262" fmla="*/ 1228625 w 1609516"/>
              <a:gd name="csY262" fmla="*/ 398731 h 1538630"/>
              <a:gd name="csX263" fmla="*/ 1222822 w 1609516"/>
              <a:gd name="csY263" fmla="*/ 434798 h 1538630"/>
              <a:gd name="csX264" fmla="*/ 1260746 w 1609516"/>
              <a:gd name="csY264" fmla="*/ 485398 h 1538630"/>
              <a:gd name="csX265" fmla="*/ 1268556 w 1609516"/>
              <a:gd name="csY265" fmla="*/ 488216 h 1538630"/>
              <a:gd name="csX266" fmla="*/ 1268556 w 1609516"/>
              <a:gd name="csY266" fmla="*/ 491034 h 1538630"/>
              <a:gd name="csX267" fmla="*/ 1338852 w 1609516"/>
              <a:gd name="csY267" fmla="*/ 489625 h 1538630"/>
              <a:gd name="csX268" fmla="*/ 1347444 w 1609516"/>
              <a:gd name="csY268" fmla="*/ 488480 h 1538630"/>
              <a:gd name="csX269" fmla="*/ 1369362 w 1609516"/>
              <a:gd name="csY269" fmla="*/ 482513 h 1538630"/>
              <a:gd name="csX270" fmla="*/ 1388840 w 1609516"/>
              <a:gd name="csY270" fmla="*/ 478351 h 1538630"/>
              <a:gd name="csX271" fmla="*/ 1388840 w 1609516"/>
              <a:gd name="csY271" fmla="*/ 475533 h 1538630"/>
              <a:gd name="csX272" fmla="*/ 1395576 w 1609516"/>
              <a:gd name="csY272" fmla="*/ 473419 h 1538630"/>
              <a:gd name="csX273" fmla="*/ 1399365 w 1609516"/>
              <a:gd name="csY273" fmla="*/ 472230 h 1538630"/>
              <a:gd name="csX274" fmla="*/ 1407585 w 1609516"/>
              <a:gd name="csY274" fmla="*/ 471305 h 1538630"/>
              <a:gd name="csX275" fmla="*/ 1409147 w 1609516"/>
              <a:gd name="csY275" fmla="*/ 467078 h 1538630"/>
              <a:gd name="csX276" fmla="*/ 1416470 w 1609516"/>
              <a:gd name="csY276" fmla="*/ 464259 h 1538630"/>
              <a:gd name="csX277" fmla="*/ 1437949 w 1609516"/>
              <a:gd name="csY277" fmla="*/ 455011 h 1538630"/>
              <a:gd name="csX278" fmla="*/ 1452887 w 1609516"/>
              <a:gd name="csY278" fmla="*/ 450167 h 1538630"/>
              <a:gd name="csX279" fmla="*/ 1452887 w 1609516"/>
              <a:gd name="csY279" fmla="*/ 447349 h 1538630"/>
              <a:gd name="csX280" fmla="*/ 1455394 w 1609516"/>
              <a:gd name="csY280" fmla="*/ 446122 h 1538630"/>
              <a:gd name="csX281" fmla="*/ 1466653 w 1609516"/>
              <a:gd name="csY281" fmla="*/ 440567 h 1538630"/>
              <a:gd name="csX282" fmla="*/ 1470598 w 1609516"/>
              <a:gd name="csY282" fmla="*/ 438637 h 1538630"/>
              <a:gd name="csX283" fmla="*/ 1474397 w 1609516"/>
              <a:gd name="csY283" fmla="*/ 436752 h 1538630"/>
              <a:gd name="csX284" fmla="*/ 1477892 w 1609516"/>
              <a:gd name="csY284" fmla="*/ 435030 h 1538630"/>
              <a:gd name="csX285" fmla="*/ 1485691 w 1609516"/>
              <a:gd name="csY285" fmla="*/ 429029 h 1538630"/>
              <a:gd name="csX286" fmla="*/ 1488858 w 1609516"/>
              <a:gd name="csY286" fmla="*/ 427653 h 1538630"/>
              <a:gd name="csX287" fmla="*/ 1495943 w 1609516"/>
              <a:gd name="csY287" fmla="*/ 421454 h 1538630"/>
              <a:gd name="csX288" fmla="*/ 1538608 w 1609516"/>
              <a:gd name="csY288" fmla="*/ 388338 h 1538630"/>
              <a:gd name="csX289" fmla="*/ 1543490 w 1609516"/>
              <a:gd name="csY289" fmla="*/ 388161 h 1538630"/>
              <a:gd name="csX290" fmla="*/ 1547621 w 1609516"/>
              <a:gd name="csY290" fmla="*/ 387804 h 1538630"/>
              <a:gd name="csX291" fmla="*/ 1579418 w 1609516"/>
              <a:gd name="csY291" fmla="*/ 396617 h 1538630"/>
              <a:gd name="csX292" fmla="*/ 1583342 w 1609516"/>
              <a:gd name="csY292" fmla="*/ 398780 h 1538630"/>
              <a:gd name="csX293" fmla="*/ 1601288 w 1609516"/>
              <a:gd name="csY293" fmla="*/ 423392 h 1538630"/>
              <a:gd name="csX294" fmla="*/ 1594484 w 1609516"/>
              <a:gd name="csY294" fmla="*/ 460159 h 1538630"/>
              <a:gd name="csX295" fmla="*/ 1574732 w 1609516"/>
              <a:gd name="csY295" fmla="*/ 475533 h 1538630"/>
              <a:gd name="csX296" fmla="*/ 1572097 w 1609516"/>
              <a:gd name="csY296" fmla="*/ 477078 h 1538630"/>
              <a:gd name="csX297" fmla="*/ 1556066 w 1609516"/>
              <a:gd name="csY297" fmla="*/ 478737 h 1538630"/>
              <a:gd name="csX298" fmla="*/ 1548631 w 1609516"/>
              <a:gd name="csY298" fmla="*/ 478825 h 1538630"/>
              <a:gd name="csX299" fmla="*/ 1536991 w 1609516"/>
              <a:gd name="csY299" fmla="*/ 478889 h 1538630"/>
              <a:gd name="csX300" fmla="*/ 1498188 w 1609516"/>
              <a:gd name="csY300" fmla="*/ 485398 h 1538630"/>
              <a:gd name="csX301" fmla="*/ 1493892 w 1609516"/>
              <a:gd name="csY301" fmla="*/ 487600 h 1538630"/>
              <a:gd name="csX302" fmla="*/ 1490377 w 1609516"/>
              <a:gd name="csY302" fmla="*/ 489625 h 1538630"/>
              <a:gd name="csX303" fmla="*/ 1471650 w 1609516"/>
              <a:gd name="csY303" fmla="*/ 498185 h 1538630"/>
              <a:gd name="csX304" fmla="*/ 1459135 w 1609516"/>
              <a:gd name="csY304" fmla="*/ 505127 h 1538630"/>
              <a:gd name="csX305" fmla="*/ 1452594 w 1609516"/>
              <a:gd name="csY305" fmla="*/ 508033 h 1538630"/>
              <a:gd name="csX306" fmla="*/ 1427795 w 1609516"/>
              <a:gd name="csY306" fmla="*/ 520100 h 1538630"/>
              <a:gd name="csX307" fmla="*/ 1423733 w 1609516"/>
              <a:gd name="csY307" fmla="*/ 522148 h 1538630"/>
              <a:gd name="csX308" fmla="*/ 1419929 w 1609516"/>
              <a:gd name="csY308" fmla="*/ 524118 h 1538630"/>
              <a:gd name="csX309" fmla="*/ 1416487 w 1609516"/>
              <a:gd name="csY309" fmla="*/ 525883 h 1538630"/>
              <a:gd name="csX310" fmla="*/ 1412271 w 1609516"/>
              <a:gd name="csY310" fmla="*/ 531902 h 1538630"/>
              <a:gd name="csX311" fmla="*/ 1396650 w 1609516"/>
              <a:gd name="csY311" fmla="*/ 537539 h 1538630"/>
              <a:gd name="csX312" fmla="*/ 1396650 w 1609516"/>
              <a:gd name="csY312" fmla="*/ 540357 h 1538630"/>
              <a:gd name="csX313" fmla="*/ 1393495 w 1609516"/>
              <a:gd name="csY313" fmla="*/ 541502 h 1538630"/>
              <a:gd name="csX314" fmla="*/ 1362284 w 1609516"/>
              <a:gd name="csY314" fmla="*/ 558678 h 1538630"/>
              <a:gd name="csX315" fmla="*/ 1355937 w 1609516"/>
              <a:gd name="csY315" fmla="*/ 562905 h 1538630"/>
              <a:gd name="csX316" fmla="*/ 1334165 w 1609516"/>
              <a:gd name="csY316" fmla="*/ 578406 h 1538630"/>
              <a:gd name="csX317" fmla="*/ 1331200 w 1609516"/>
              <a:gd name="csY317" fmla="*/ 580559 h 1538630"/>
              <a:gd name="csX318" fmla="*/ 1322175 w 1609516"/>
              <a:gd name="csY318" fmla="*/ 596793 h 1538630"/>
              <a:gd name="csX319" fmla="*/ 1320106 w 1609516"/>
              <a:gd name="csY319" fmla="*/ 602363 h 1538630"/>
              <a:gd name="csX320" fmla="*/ 1328015 w 1609516"/>
              <a:gd name="csY320" fmla="*/ 647640 h 1538630"/>
              <a:gd name="csX321" fmla="*/ 1332604 w 1609516"/>
              <a:gd name="csY321" fmla="*/ 675643 h 1538630"/>
              <a:gd name="csX322" fmla="*/ 1335727 w 1609516"/>
              <a:gd name="csY322" fmla="*/ 675643 h 1538630"/>
              <a:gd name="csX323" fmla="*/ 1337741 w 1609516"/>
              <a:gd name="csY323" fmla="*/ 690059 h 1538630"/>
              <a:gd name="csX324" fmla="*/ 1338003 w 1609516"/>
              <a:gd name="csY324" fmla="*/ 696222 h 1538630"/>
              <a:gd name="csX325" fmla="*/ 1338340 w 1609516"/>
              <a:gd name="csY325" fmla="*/ 705887 h 1538630"/>
              <a:gd name="csX326" fmla="*/ 1345277 w 1609516"/>
              <a:gd name="csY326" fmla="*/ 733245 h 1538630"/>
              <a:gd name="csX327" fmla="*/ 1363162 w 1609516"/>
              <a:gd name="csY327" fmla="*/ 741612 h 1538630"/>
              <a:gd name="csX328" fmla="*/ 1384154 w 1609516"/>
              <a:gd name="csY328" fmla="*/ 748922 h 1538630"/>
              <a:gd name="csX329" fmla="*/ 1391476 w 1609516"/>
              <a:gd name="csY329" fmla="*/ 750419 h 1538630"/>
              <a:gd name="csX330" fmla="*/ 1395564 w 1609516"/>
              <a:gd name="csY330" fmla="*/ 751080 h 1538630"/>
              <a:gd name="csX331" fmla="*/ 1399775 w 1609516"/>
              <a:gd name="csY331" fmla="*/ 751740 h 1538630"/>
              <a:gd name="csX332" fmla="*/ 1403887 w 1609516"/>
              <a:gd name="csY332" fmla="*/ 752489 h 1538630"/>
              <a:gd name="csX333" fmla="*/ 1465383 w 1609516"/>
              <a:gd name="csY333" fmla="*/ 755969 h 1538630"/>
              <a:gd name="csX334" fmla="*/ 1470339 w 1609516"/>
              <a:gd name="csY334" fmla="*/ 755897 h 1538630"/>
              <a:gd name="csX335" fmla="*/ 1496809 w 1609516"/>
              <a:gd name="csY335" fmla="*/ 749313 h 1538630"/>
              <a:gd name="csX336" fmla="*/ 1515371 w 1609516"/>
              <a:gd name="csY336" fmla="*/ 743285 h 1538630"/>
              <a:gd name="csX337" fmla="*/ 1515371 w 1609516"/>
              <a:gd name="csY337" fmla="*/ 740467 h 1538630"/>
              <a:gd name="csX338" fmla="*/ 1537632 w 1609516"/>
              <a:gd name="csY338" fmla="*/ 737120 h 1538630"/>
              <a:gd name="csX339" fmla="*/ 1541657 w 1609516"/>
              <a:gd name="csY339" fmla="*/ 737127 h 1538630"/>
              <a:gd name="csX340" fmla="*/ 1574732 w 1609516"/>
              <a:gd name="csY340" fmla="*/ 748922 h 1538630"/>
              <a:gd name="csX341" fmla="*/ 1588791 w 1609516"/>
              <a:gd name="csY341" fmla="*/ 792608 h 1538630"/>
              <a:gd name="csX342" fmla="*/ 1584105 w 1609516"/>
              <a:gd name="csY342" fmla="*/ 805291 h 1538630"/>
              <a:gd name="csX343" fmla="*/ 1580981 w 1609516"/>
              <a:gd name="csY343" fmla="*/ 806700 h 1538630"/>
              <a:gd name="csX344" fmla="*/ 1578735 w 1609516"/>
              <a:gd name="csY344" fmla="*/ 810311 h 1538630"/>
              <a:gd name="csX345" fmla="*/ 1576295 w 1609516"/>
              <a:gd name="csY345" fmla="*/ 813746 h 1538630"/>
              <a:gd name="csX346" fmla="*/ 1571652 w 1609516"/>
              <a:gd name="csY346" fmla="*/ 813746 h 1538630"/>
              <a:gd name="csX347" fmla="*/ 1571785 w 1609516"/>
              <a:gd name="csY347" fmla="*/ 814106 h 1538630"/>
              <a:gd name="csX348" fmla="*/ 1574909 w 1609516"/>
              <a:gd name="csY348" fmla="*/ 815515 h 1538630"/>
              <a:gd name="csX349" fmla="*/ 1565463 w 1609516"/>
              <a:gd name="csY349" fmla="*/ 821839 h 1538630"/>
              <a:gd name="csX350" fmla="*/ 1562085 w 1609516"/>
              <a:gd name="csY350" fmla="*/ 822101 h 1538630"/>
              <a:gd name="csX351" fmla="*/ 1551301 w 1609516"/>
              <a:gd name="csY351" fmla="*/ 825020 h 1538630"/>
              <a:gd name="csX352" fmla="*/ 1551301 w 1609516"/>
              <a:gd name="csY352" fmla="*/ 827838 h 1538630"/>
              <a:gd name="csX353" fmla="*/ 1485380 w 1609516"/>
              <a:gd name="csY353" fmla="*/ 815007 h 1538630"/>
              <a:gd name="csX354" fmla="*/ 1431603 w 1609516"/>
              <a:gd name="csY354" fmla="*/ 808726 h 1538630"/>
              <a:gd name="csX355" fmla="*/ 1424140 w 1609516"/>
              <a:gd name="csY355" fmla="*/ 808542 h 1538630"/>
              <a:gd name="csX356" fmla="*/ 1406023 w 1609516"/>
              <a:gd name="csY356" fmla="*/ 808109 h 1538630"/>
              <a:gd name="csX357" fmla="*/ 1406023 w 1609516"/>
              <a:gd name="csY357" fmla="*/ 810928 h 1538630"/>
              <a:gd name="csX358" fmla="*/ 1403383 w 1609516"/>
              <a:gd name="csY358" fmla="*/ 811311 h 1538630"/>
              <a:gd name="csX359" fmla="*/ 1345442 w 1609516"/>
              <a:gd name="csY359" fmla="*/ 828907 h 1538630"/>
              <a:gd name="csX360" fmla="*/ 1337875 w 1609516"/>
              <a:gd name="csY360" fmla="*/ 856639 h 1538630"/>
              <a:gd name="csX361" fmla="*/ 1337692 w 1609516"/>
              <a:gd name="csY361" fmla="*/ 860171 h 1538630"/>
              <a:gd name="csX362" fmla="*/ 1337290 w 1609516"/>
              <a:gd name="csY362" fmla="*/ 868706 h 1538630"/>
              <a:gd name="csX363" fmla="*/ 1334165 w 1609516"/>
              <a:gd name="csY363" fmla="*/ 868706 h 1538630"/>
              <a:gd name="csX364" fmla="*/ 1334165 w 1609516"/>
              <a:gd name="csY364" fmla="*/ 870034 h 1538630"/>
              <a:gd name="csX365" fmla="*/ 1334237 w 1609516"/>
              <a:gd name="csY365" fmla="*/ 869093 h 1538630"/>
              <a:gd name="csX366" fmla="*/ 1335800 w 1609516"/>
              <a:gd name="csY366" fmla="*/ 869093 h 1538630"/>
              <a:gd name="csX367" fmla="*/ 1335995 w 1609516"/>
              <a:gd name="csY367" fmla="*/ 876491 h 1538630"/>
              <a:gd name="csX368" fmla="*/ 1336105 w 1609516"/>
              <a:gd name="csY368" fmla="*/ 880653 h 1538630"/>
              <a:gd name="csX369" fmla="*/ 1334294 w 1609516"/>
              <a:gd name="csY369" fmla="*/ 887271 h 1538630"/>
              <a:gd name="csX370" fmla="*/ 1331455 w 1609516"/>
              <a:gd name="csY370" fmla="*/ 896440 h 1538630"/>
              <a:gd name="csX371" fmla="*/ 1330887 w 1609516"/>
              <a:gd name="csY371" fmla="*/ 899969 h 1538630"/>
              <a:gd name="csX372" fmla="*/ 1330332 w 1609516"/>
              <a:gd name="csY372" fmla="*/ 903618 h 1538630"/>
              <a:gd name="csX373" fmla="*/ 1329209 w 1609516"/>
              <a:gd name="csY373" fmla="*/ 910797 h 1538630"/>
              <a:gd name="csX374" fmla="*/ 1328724 w 1609516"/>
              <a:gd name="csY374" fmla="*/ 913998 h 1538630"/>
              <a:gd name="csX375" fmla="*/ 1324865 w 1609516"/>
              <a:gd name="csY375" fmla="*/ 922643 h 1538630"/>
              <a:gd name="csX376" fmla="*/ 1322619 w 1609516"/>
              <a:gd name="csY376" fmla="*/ 937979 h 1538630"/>
              <a:gd name="csX377" fmla="*/ 1318744 w 1609516"/>
              <a:gd name="csY377" fmla="*/ 944961 h 1538630"/>
              <a:gd name="csX378" fmla="*/ 1318544 w 1609516"/>
              <a:gd name="csY378" fmla="*/ 946213 h 1538630"/>
              <a:gd name="csX379" fmla="*/ 1318251 w 1609516"/>
              <a:gd name="csY379" fmla="*/ 955285 h 1538630"/>
              <a:gd name="csX380" fmla="*/ 1318184 w 1609516"/>
              <a:gd name="csY380" fmla="*/ 960036 h 1538630"/>
              <a:gd name="csX381" fmla="*/ 1324024 w 1609516"/>
              <a:gd name="csY381" fmla="*/ 973660 h 1538630"/>
              <a:gd name="csX382" fmla="*/ 1329284 w 1609516"/>
              <a:gd name="csY382" fmla="*/ 983382 h 1538630"/>
              <a:gd name="csX383" fmla="*/ 1340414 w 1609516"/>
              <a:gd name="csY383" fmla="*/ 998354 h 1538630"/>
              <a:gd name="csX384" fmla="*/ 1346272 w 1609516"/>
              <a:gd name="csY384" fmla="*/ 1005048 h 1538630"/>
              <a:gd name="csX385" fmla="*/ 1394716 w 1609516"/>
              <a:gd name="csY385" fmla="*/ 1042740 h 1538630"/>
              <a:gd name="csX386" fmla="*/ 1401953 w 1609516"/>
              <a:gd name="csY386" fmla="*/ 1047374 h 1538630"/>
              <a:gd name="csX387" fmla="*/ 1427197 w 1609516"/>
              <a:gd name="csY387" fmla="*/ 1059061 h 1538630"/>
              <a:gd name="csX388" fmla="*/ 1437265 w 1609516"/>
              <a:gd name="csY388" fmla="*/ 1064588 h 1538630"/>
              <a:gd name="csX389" fmla="*/ 1437265 w 1609516"/>
              <a:gd name="csY389" fmla="*/ 1067406 h 1538630"/>
              <a:gd name="csX390" fmla="*/ 1440878 w 1609516"/>
              <a:gd name="csY390" fmla="*/ 1067847 h 1538630"/>
              <a:gd name="csX391" fmla="*/ 1447175 w 1609516"/>
              <a:gd name="csY391" fmla="*/ 1070753 h 1538630"/>
              <a:gd name="csX392" fmla="*/ 1457866 w 1609516"/>
              <a:gd name="csY392" fmla="*/ 1076830 h 1538630"/>
              <a:gd name="csX393" fmla="*/ 1462132 w 1609516"/>
              <a:gd name="csY393" fmla="*/ 1078696 h 1538630"/>
              <a:gd name="csX394" fmla="*/ 1465383 w 1609516"/>
              <a:gd name="csY394" fmla="*/ 1080089 h 1538630"/>
              <a:gd name="csX395" fmla="*/ 1465383 w 1609516"/>
              <a:gd name="csY395" fmla="*/ 1082908 h 1538630"/>
              <a:gd name="csX396" fmla="*/ 1468758 w 1609516"/>
              <a:gd name="csY396" fmla="*/ 1083975 h 1538630"/>
              <a:gd name="csX397" fmla="*/ 1481688 w 1609516"/>
              <a:gd name="csY397" fmla="*/ 1091187 h 1538630"/>
              <a:gd name="csX398" fmla="*/ 1486283 w 1609516"/>
              <a:gd name="csY398" fmla="*/ 1094236 h 1538630"/>
              <a:gd name="csX399" fmla="*/ 1494869 w 1609516"/>
              <a:gd name="csY399" fmla="*/ 1100171 h 1538630"/>
              <a:gd name="csX400" fmla="*/ 1544335 w 1609516"/>
              <a:gd name="csY400" fmla="*/ 1109518 h 1538630"/>
              <a:gd name="csX401" fmla="*/ 1593477 w 1609516"/>
              <a:gd name="csY401" fmla="*/ 1119900 h 1538630"/>
              <a:gd name="csX402" fmla="*/ 1605975 w 1609516"/>
              <a:gd name="csY402" fmla="*/ 1144913 h 1538630"/>
              <a:gd name="csX403" fmla="*/ 1609099 w 1609516"/>
              <a:gd name="csY403" fmla="*/ 1144913 h 1538630"/>
              <a:gd name="csX404" fmla="*/ 1609392 w 1609516"/>
              <a:gd name="csY404" fmla="*/ 1156892 h 1538630"/>
              <a:gd name="csX405" fmla="*/ 1609511 w 1609516"/>
              <a:gd name="csY405" fmla="*/ 1160272 h 1538630"/>
              <a:gd name="csX406" fmla="*/ 1604412 w 1609516"/>
              <a:gd name="csY406" fmla="*/ 1181553 h 1538630"/>
              <a:gd name="csX407" fmla="*/ 1601288 w 1609516"/>
              <a:gd name="csY407" fmla="*/ 1190009 h 1538630"/>
              <a:gd name="csX408" fmla="*/ 1598164 w 1609516"/>
              <a:gd name="csY408" fmla="*/ 1190009 h 1538630"/>
              <a:gd name="csX409" fmla="*/ 1597187 w 1609516"/>
              <a:gd name="csY409" fmla="*/ 1192739 h 1538630"/>
              <a:gd name="csX410" fmla="*/ 1595040 w 1609516"/>
              <a:gd name="csY410" fmla="*/ 1195645 h 1538630"/>
              <a:gd name="csX411" fmla="*/ 1585667 w 1609516"/>
              <a:gd name="csY411" fmla="*/ 1197055 h 1538630"/>
              <a:gd name="csX412" fmla="*/ 1582543 w 1609516"/>
              <a:gd name="csY412" fmla="*/ 1202691 h 1538630"/>
              <a:gd name="csX413" fmla="*/ 1562431 w 1609516"/>
              <a:gd name="csY413" fmla="*/ 1204365 h 1538630"/>
              <a:gd name="csX414" fmla="*/ 1558690 w 1609516"/>
              <a:gd name="csY414" fmla="*/ 1204417 h 1538630"/>
              <a:gd name="csX415" fmla="*/ 1521102 w 1609516"/>
              <a:gd name="csY415" fmla="*/ 1189585 h 1538630"/>
              <a:gd name="csX416" fmla="*/ 1505022 w 1609516"/>
              <a:gd name="csY416" fmla="*/ 1172041 h 1538630"/>
              <a:gd name="csX417" fmla="*/ 1457573 w 1609516"/>
              <a:gd name="csY417" fmla="*/ 1140686 h 1538630"/>
              <a:gd name="csX418" fmla="*/ 1457573 w 1609516"/>
              <a:gd name="csY418" fmla="*/ 1137867 h 1538630"/>
              <a:gd name="csX419" fmla="*/ 1452985 w 1609516"/>
              <a:gd name="csY419" fmla="*/ 1137339 h 1538630"/>
              <a:gd name="csX420" fmla="*/ 1448200 w 1609516"/>
              <a:gd name="csY420" fmla="*/ 1136458 h 1538630"/>
              <a:gd name="csX421" fmla="*/ 1446638 w 1609516"/>
              <a:gd name="csY421" fmla="*/ 1133640 h 1538630"/>
              <a:gd name="csX422" fmla="*/ 1438937 w 1609516"/>
              <a:gd name="csY422" fmla="*/ 1130601 h 1538630"/>
              <a:gd name="csX423" fmla="*/ 1429260 w 1609516"/>
              <a:gd name="csY423" fmla="*/ 1126770 h 1538630"/>
              <a:gd name="csX424" fmla="*/ 1411393 w 1609516"/>
              <a:gd name="csY424" fmla="*/ 1120340 h 1538630"/>
              <a:gd name="csX425" fmla="*/ 1391427 w 1609516"/>
              <a:gd name="csY425" fmla="*/ 1111191 h 1538630"/>
              <a:gd name="csX426" fmla="*/ 1381029 w 1609516"/>
              <a:gd name="csY426" fmla="*/ 1106865 h 1538630"/>
              <a:gd name="csX427" fmla="*/ 1381029 w 1609516"/>
              <a:gd name="csY427" fmla="*/ 1104046 h 1538630"/>
              <a:gd name="csX428" fmla="*/ 1377221 w 1609516"/>
              <a:gd name="csY428" fmla="*/ 1103605 h 1538630"/>
              <a:gd name="csX429" fmla="*/ 1357597 w 1609516"/>
              <a:gd name="csY429" fmla="*/ 1098409 h 1538630"/>
              <a:gd name="csX430" fmla="*/ 1352032 w 1609516"/>
              <a:gd name="csY430" fmla="*/ 1096736 h 1538630"/>
              <a:gd name="csX431" fmla="*/ 1348225 w 1609516"/>
              <a:gd name="csY431" fmla="*/ 1095590 h 1538630"/>
              <a:gd name="csX432" fmla="*/ 1348225 w 1609516"/>
              <a:gd name="csY432" fmla="*/ 1092772 h 1538630"/>
              <a:gd name="csX433" fmla="*/ 1337290 w 1609516"/>
              <a:gd name="csY433" fmla="*/ 1091363 h 1538630"/>
              <a:gd name="csX434" fmla="*/ 1337290 w 1609516"/>
              <a:gd name="csY434" fmla="*/ 1088544 h 1538630"/>
              <a:gd name="csX435" fmla="*/ 1331529 w 1609516"/>
              <a:gd name="csY435" fmla="*/ 1088104 h 1538630"/>
              <a:gd name="csX436" fmla="*/ 1323297 w 1609516"/>
              <a:gd name="csY436" fmla="*/ 1086611 h 1538630"/>
              <a:gd name="csX437" fmla="*/ 1323297 w 1609516"/>
              <a:gd name="csY437" fmla="*/ 1087618 h 1538630"/>
              <a:gd name="csX438" fmla="*/ 1319789 w 1609516"/>
              <a:gd name="csY438" fmla="*/ 1087310 h 1538630"/>
              <a:gd name="csX439" fmla="*/ 1262375 w 1609516"/>
              <a:gd name="csY439" fmla="*/ 1089028 h 1538630"/>
              <a:gd name="csX440" fmla="*/ 1258728 w 1609516"/>
              <a:gd name="csY440" fmla="*/ 1088205 h 1538630"/>
              <a:gd name="csX441" fmla="*/ 1246964 w 1609516"/>
              <a:gd name="csY441" fmla="*/ 1091489 h 1538630"/>
              <a:gd name="csX442" fmla="*/ 1223224 w 1609516"/>
              <a:gd name="csY442" fmla="*/ 1112865 h 1538630"/>
              <a:gd name="csX443" fmla="*/ 1213883 w 1609516"/>
              <a:gd name="csY443" fmla="*/ 1122366 h 1538630"/>
              <a:gd name="csX444" fmla="*/ 1212505 w 1609516"/>
              <a:gd name="csY444" fmla="*/ 1125708 h 1538630"/>
              <a:gd name="csX445" fmla="*/ 1204180 w 1609516"/>
              <a:gd name="csY445" fmla="*/ 1135561 h 1538630"/>
              <a:gd name="csX446" fmla="*/ 1200238 w 1609516"/>
              <a:gd name="csY446" fmla="*/ 1138999 h 1538630"/>
              <a:gd name="csX447" fmla="*/ 1192025 w 1609516"/>
              <a:gd name="csY447" fmla="*/ 1146022 h 1538630"/>
              <a:gd name="csX448" fmla="*/ 1173945 w 1609516"/>
              <a:gd name="csY448" fmla="*/ 1174749 h 1538630"/>
              <a:gd name="csX449" fmla="*/ 1173950 w 1609516"/>
              <a:gd name="csY449" fmla="*/ 1182610 h 1538630"/>
              <a:gd name="csX450" fmla="*/ 1173989 w 1609516"/>
              <a:gd name="csY450" fmla="*/ 1186765 h 1538630"/>
              <a:gd name="csX451" fmla="*/ 1182640 w 1609516"/>
              <a:gd name="csY451" fmla="*/ 1215374 h 1538630"/>
              <a:gd name="csX452" fmla="*/ 1185764 w 1609516"/>
              <a:gd name="csY452" fmla="*/ 1221804 h 1538630"/>
              <a:gd name="csX453" fmla="*/ 1187301 w 1609516"/>
              <a:gd name="csY453" fmla="*/ 1224859 h 1538630"/>
              <a:gd name="csX454" fmla="*/ 1190573 w 1609516"/>
              <a:gd name="csY454" fmla="*/ 1231740 h 1538630"/>
              <a:gd name="csX455" fmla="*/ 1205925 w 1609516"/>
              <a:gd name="csY455" fmla="*/ 1255163 h 1538630"/>
              <a:gd name="csX456" fmla="*/ 1212174 w 1609516"/>
              <a:gd name="csY456" fmla="*/ 1263134 h 1538630"/>
              <a:gd name="csX457" fmla="*/ 1235556 w 1609516"/>
              <a:gd name="csY457" fmla="*/ 1282538 h 1538630"/>
              <a:gd name="csX458" fmla="*/ 1238876 w 1609516"/>
              <a:gd name="csY458" fmla="*/ 1284426 h 1538630"/>
              <a:gd name="csX459" fmla="*/ 1238876 w 1609516"/>
              <a:gd name="csY459" fmla="*/ 1287245 h 1538630"/>
              <a:gd name="csX460" fmla="*/ 1242245 w 1609516"/>
              <a:gd name="csY460" fmla="*/ 1287663 h 1538630"/>
              <a:gd name="csX461" fmla="*/ 1271681 w 1609516"/>
              <a:gd name="csY461" fmla="*/ 1305565 h 1538630"/>
              <a:gd name="csX462" fmla="*/ 1271742 w 1609516"/>
              <a:gd name="csY462" fmla="*/ 1306172 h 1538630"/>
              <a:gd name="csX463" fmla="*/ 1278525 w 1609516"/>
              <a:gd name="csY463" fmla="*/ 1315767 h 1538630"/>
              <a:gd name="csX464" fmla="*/ 1281097 w 1609516"/>
              <a:gd name="csY464" fmla="*/ 1327286 h 1538630"/>
              <a:gd name="csX465" fmla="*/ 1277973 w 1609516"/>
              <a:gd name="csY465" fmla="*/ 1355470 h 1538630"/>
              <a:gd name="csX466" fmla="*/ 1277460 w 1609516"/>
              <a:gd name="csY466" fmla="*/ 1347025 h 1538630"/>
              <a:gd name="csX467" fmla="*/ 1273531 w 1609516"/>
              <a:gd name="csY467" fmla="*/ 1357991 h 1538630"/>
              <a:gd name="csX468" fmla="*/ 1263870 w 1609516"/>
              <a:gd name="csY468" fmla="*/ 1368980 h 1538630"/>
              <a:gd name="csX469" fmla="*/ 1246686 w 1609516"/>
              <a:gd name="csY469" fmla="*/ 1376026 h 1538630"/>
              <a:gd name="csX470" fmla="*/ 1246686 w 1609516"/>
              <a:gd name="csY470" fmla="*/ 1378844 h 1538630"/>
              <a:gd name="csX471" fmla="*/ 1231651 w 1609516"/>
              <a:gd name="csY471" fmla="*/ 1379196 h 1538630"/>
              <a:gd name="csX472" fmla="*/ 1227373 w 1609516"/>
              <a:gd name="csY472" fmla="*/ 1379340 h 1538630"/>
              <a:gd name="csX473" fmla="*/ 1206071 w 1609516"/>
              <a:gd name="csY473" fmla="*/ 1373207 h 1538630"/>
              <a:gd name="csX474" fmla="*/ 1202069 w 1609516"/>
              <a:gd name="csY474" fmla="*/ 1371798 h 1538630"/>
              <a:gd name="csX475" fmla="*/ 1184104 w 1609516"/>
              <a:gd name="csY475" fmla="*/ 1356176 h 1538630"/>
              <a:gd name="csX476" fmla="*/ 1177270 w 1609516"/>
              <a:gd name="csY476" fmla="*/ 1335247 h 1538630"/>
              <a:gd name="csX477" fmla="*/ 1169002 w 1609516"/>
              <a:gd name="csY477" fmla="*/ 1313464 h 1538630"/>
              <a:gd name="csX478" fmla="*/ 1163504 w 1609516"/>
              <a:gd name="csY478" fmla="*/ 1302130 h 1538630"/>
              <a:gd name="csX479" fmla="*/ 1162015 w 1609516"/>
              <a:gd name="csY479" fmla="*/ 1298788 h 1538630"/>
              <a:gd name="csX480" fmla="*/ 1160111 w 1609516"/>
              <a:gd name="csY480" fmla="*/ 1292656 h 1538630"/>
              <a:gd name="csX481" fmla="*/ 1154522 w 1609516"/>
              <a:gd name="csY481" fmla="*/ 1287245 h 1538630"/>
              <a:gd name="csX482" fmla="*/ 1151398 w 1609516"/>
              <a:gd name="csY482" fmla="*/ 1280199 h 1538630"/>
              <a:gd name="csX483" fmla="*/ 1144173 w 1609516"/>
              <a:gd name="csY483" fmla="*/ 1270774 h 1538630"/>
              <a:gd name="csX484" fmla="*/ 1142065 w 1609516"/>
              <a:gd name="csY484" fmla="*/ 1268160 h 1538630"/>
              <a:gd name="csX485" fmla="*/ 1135776 w 1609516"/>
              <a:gd name="csY485" fmla="*/ 1260470 h 1538630"/>
              <a:gd name="csX486" fmla="*/ 1132353 w 1609516"/>
              <a:gd name="csY486" fmla="*/ 1256247 h 1538630"/>
              <a:gd name="csX487" fmla="*/ 1112344 w 1609516"/>
              <a:gd name="csY487" fmla="*/ 1240741 h 1538630"/>
              <a:gd name="csX488" fmla="*/ 1106193 w 1609516"/>
              <a:gd name="csY488" fmla="*/ 1237570 h 1538630"/>
              <a:gd name="csX489" fmla="*/ 1101409 w 1609516"/>
              <a:gd name="csY489" fmla="*/ 1235104 h 1538630"/>
              <a:gd name="csX490" fmla="*/ 1101409 w 1609516"/>
              <a:gd name="csY490" fmla="*/ 1230876 h 1538630"/>
              <a:gd name="csX491" fmla="*/ 1065480 w 1609516"/>
              <a:gd name="csY491" fmla="*/ 1230876 h 1538630"/>
              <a:gd name="csX492" fmla="*/ 1063919 w 1609516"/>
              <a:gd name="csY492" fmla="*/ 1235104 h 1538630"/>
              <a:gd name="csX493" fmla="*/ 1059232 w 1609516"/>
              <a:gd name="csY493" fmla="*/ 1235104 h 1538630"/>
              <a:gd name="csX494" fmla="*/ 1059232 w 1609516"/>
              <a:gd name="csY494" fmla="*/ 1237922 h 1538630"/>
              <a:gd name="csX495" fmla="*/ 1040194 w 1609516"/>
              <a:gd name="csY495" fmla="*/ 1245761 h 1538630"/>
              <a:gd name="csX496" fmla="*/ 1030333 w 1609516"/>
              <a:gd name="csY496" fmla="*/ 1249901 h 1538630"/>
              <a:gd name="csX497" fmla="*/ 1013931 w 1609516"/>
              <a:gd name="csY497" fmla="*/ 1256242 h 1538630"/>
              <a:gd name="csX498" fmla="*/ 1005925 w 1609516"/>
              <a:gd name="csY498" fmla="*/ 1261615 h 1538630"/>
              <a:gd name="csX499" fmla="*/ 1004558 w 1609516"/>
              <a:gd name="csY499" fmla="*/ 1264697 h 1538630"/>
              <a:gd name="csX500" fmla="*/ 1002959 w 1609516"/>
              <a:gd name="csY500" fmla="*/ 1267961 h 1538630"/>
              <a:gd name="csX501" fmla="*/ 1000653 w 1609516"/>
              <a:gd name="csY501" fmla="*/ 1278965 h 1538630"/>
              <a:gd name="csX502" fmla="*/ 998297 w 1609516"/>
              <a:gd name="csY502" fmla="*/ 1294137 h 1538630"/>
              <a:gd name="csX503" fmla="*/ 996162 w 1609516"/>
              <a:gd name="csY503" fmla="*/ 1324765 h 1538630"/>
              <a:gd name="csX504" fmla="*/ 996164 w 1609516"/>
              <a:gd name="csY504" fmla="*/ 1327846 h 1538630"/>
              <a:gd name="csX505" fmla="*/ 1007780 w 1609516"/>
              <a:gd name="csY505" fmla="*/ 1403329 h 1538630"/>
              <a:gd name="csX506" fmla="*/ 1008940 w 1609516"/>
              <a:gd name="csY506" fmla="*/ 1407701 h 1538630"/>
              <a:gd name="csX507" fmla="*/ 1010080 w 1609516"/>
              <a:gd name="csY507" fmla="*/ 1411730 h 1538630"/>
              <a:gd name="csX508" fmla="*/ 1011075 w 1609516"/>
              <a:gd name="csY508" fmla="*/ 1415277 h 1538630"/>
              <a:gd name="csX509" fmla="*/ 1017055 w 1609516"/>
              <a:gd name="csY509" fmla="*/ 1422530 h 1538630"/>
              <a:gd name="csX510" fmla="*/ 1020277 w 1609516"/>
              <a:gd name="csY510" fmla="*/ 1427991 h 1538630"/>
              <a:gd name="csX511" fmla="*/ 1021796 w 1609516"/>
              <a:gd name="csY511" fmla="*/ 1430798 h 1538630"/>
              <a:gd name="csX512" fmla="*/ 1024579 w 1609516"/>
              <a:gd name="csY512" fmla="*/ 1437239 h 1538630"/>
              <a:gd name="csX513" fmla="*/ 1034043 w 1609516"/>
              <a:gd name="csY513" fmla="*/ 1448072 h 1538630"/>
              <a:gd name="csX514" fmla="*/ 1043782 w 1609516"/>
              <a:gd name="csY514" fmla="*/ 1464320 h 1538630"/>
              <a:gd name="csX515" fmla="*/ 1050458 w 1609516"/>
              <a:gd name="csY515" fmla="*/ 1472189 h 1538630"/>
              <a:gd name="csX516" fmla="*/ 1052926 w 1609516"/>
              <a:gd name="csY516" fmla="*/ 1482370 h 1538630"/>
              <a:gd name="csX517" fmla="*/ 1053316 w 1609516"/>
              <a:gd name="csY517" fmla="*/ 1496903 h 1538630"/>
              <a:gd name="csX518" fmla="*/ 1053352 w 1609516"/>
              <a:gd name="csY518" fmla="*/ 1500660 h 1538630"/>
              <a:gd name="csX519" fmla="*/ 1053341 w 1609516"/>
              <a:gd name="csY519" fmla="*/ 1504285 h 1538630"/>
              <a:gd name="csX520" fmla="*/ 1053329 w 1609516"/>
              <a:gd name="csY520" fmla="*/ 1507529 h 1538630"/>
              <a:gd name="csX521" fmla="*/ 1049801 w 1609516"/>
              <a:gd name="csY521" fmla="*/ 1516192 h 1538630"/>
              <a:gd name="csX522" fmla="*/ 1047312 w 1609516"/>
              <a:gd name="csY522" fmla="*/ 1516192 h 1538630"/>
              <a:gd name="csX523" fmla="*/ 1043611 w 1609516"/>
              <a:gd name="csY523" fmla="*/ 1522585 h 1538630"/>
              <a:gd name="csX524" fmla="*/ 1029552 w 1609516"/>
              <a:gd name="csY524" fmla="*/ 1529631 h 1538630"/>
              <a:gd name="csX525" fmla="*/ 1028771 w 1609516"/>
              <a:gd name="csY525" fmla="*/ 1532273 h 1538630"/>
              <a:gd name="csX526" fmla="*/ 1018013 w 1609516"/>
              <a:gd name="csY526" fmla="*/ 1537640 h 1538630"/>
              <a:gd name="csX527" fmla="*/ 981126 w 1609516"/>
              <a:gd name="csY527" fmla="*/ 1533859 h 1538630"/>
              <a:gd name="csX528" fmla="*/ 977227 w 1609516"/>
              <a:gd name="csY528" fmla="*/ 1531943 h 1538630"/>
              <a:gd name="csX529" fmla="*/ 955376 w 1609516"/>
              <a:gd name="csY529" fmla="*/ 1508751 h 1538630"/>
              <a:gd name="csX530" fmla="*/ 954571 w 1609516"/>
              <a:gd name="csY530" fmla="*/ 1500037 h 1538630"/>
              <a:gd name="csX531" fmla="*/ 951446 w 1609516"/>
              <a:gd name="csY531" fmla="*/ 1500037 h 1538630"/>
              <a:gd name="csX532" fmla="*/ 951251 w 1609516"/>
              <a:gd name="csY532" fmla="*/ 1487883 h 1538630"/>
              <a:gd name="csX533" fmla="*/ 951171 w 1609516"/>
              <a:gd name="csY533" fmla="*/ 1484431 h 1538630"/>
              <a:gd name="csX534" fmla="*/ 954571 w 1609516"/>
              <a:gd name="csY534" fmla="*/ 1466216 h 1538630"/>
              <a:gd name="csX535" fmla="*/ 954961 w 1609516"/>
              <a:gd name="csY535" fmla="*/ 1455118 h 1538630"/>
              <a:gd name="csX536" fmla="*/ 954932 w 1609516"/>
              <a:gd name="csY536" fmla="*/ 1451972 h 1538630"/>
              <a:gd name="csX537" fmla="*/ 945099 w 1609516"/>
              <a:gd name="csY537" fmla="*/ 1403594 h 1538630"/>
              <a:gd name="csX538" fmla="*/ 942366 w 1609516"/>
              <a:gd name="csY538" fmla="*/ 1393553 h 1538630"/>
              <a:gd name="csX539" fmla="*/ 934451 w 1609516"/>
              <a:gd name="csY539" fmla="*/ 1372734 h 1538630"/>
              <a:gd name="csX540" fmla="*/ 931974 w 1609516"/>
              <a:gd name="csY540" fmla="*/ 1365754 h 1538630"/>
              <a:gd name="csX541" fmla="*/ 931138 w 1609516"/>
              <a:gd name="csY541" fmla="*/ 1363343 h 1538630"/>
              <a:gd name="csX542" fmla="*/ 926452 w 1609516"/>
              <a:gd name="csY542" fmla="*/ 1361933 h 1538630"/>
              <a:gd name="csX543" fmla="*/ 918641 w 1609516"/>
              <a:gd name="csY543" fmla="*/ 1340795 h 1538630"/>
              <a:gd name="csX544" fmla="*/ 917079 w 1609516"/>
              <a:gd name="csY544" fmla="*/ 1335158 h 1538630"/>
              <a:gd name="csX545" fmla="*/ 913955 w 1609516"/>
              <a:gd name="csY545" fmla="*/ 1335158 h 1538630"/>
              <a:gd name="csX546" fmla="*/ 912057 w 1609516"/>
              <a:gd name="csY546" fmla="*/ 1330793 h 1538630"/>
              <a:gd name="csX547" fmla="*/ 902142 w 1609516"/>
              <a:gd name="csY547" fmla="*/ 1316222 h 1538630"/>
              <a:gd name="csX548" fmla="*/ 900091 w 1609516"/>
              <a:gd name="csY548" fmla="*/ 1313828 h 1538630"/>
              <a:gd name="csX549" fmla="*/ 878026 w 1609516"/>
              <a:gd name="csY549" fmla="*/ 1295700 h 1538630"/>
              <a:gd name="csX550" fmla="*/ 875134 w 1609516"/>
              <a:gd name="csY550" fmla="*/ 1293465 h 1538630"/>
              <a:gd name="csX551" fmla="*/ 869869 w 1609516"/>
              <a:gd name="csY551" fmla="*/ 1291826 h 1538630"/>
              <a:gd name="csX552" fmla="*/ 862384 w 1609516"/>
              <a:gd name="csY552" fmla="*/ 1291327 h 1538630"/>
              <a:gd name="csX553" fmla="*/ 844390 w 1609516"/>
              <a:gd name="csY553" fmla="*/ 1290461 h 1538630"/>
              <a:gd name="csX554" fmla="*/ 840476 w 1609516"/>
              <a:gd name="csY554" fmla="*/ 1290500 h 1538630"/>
              <a:gd name="csX555" fmla="*/ 831015 w 1609516"/>
              <a:gd name="csY555" fmla="*/ 1290637 h 1538630"/>
              <a:gd name="csX556" fmla="*/ 831015 w 1609516"/>
              <a:gd name="csY556" fmla="*/ 1293456 h 1538630"/>
              <a:gd name="csX557" fmla="*/ 818225 w 1609516"/>
              <a:gd name="csY557" fmla="*/ 1295570 h 1538630"/>
              <a:gd name="csX558" fmla="*/ 796774 w 1609516"/>
              <a:gd name="csY558" fmla="*/ 1297671 h 1538630"/>
              <a:gd name="csX559" fmla="*/ 783646 w 1609516"/>
              <a:gd name="csY559" fmla="*/ 1305736 h 1538630"/>
              <a:gd name="csX560" fmla="*/ 769263 w 1609516"/>
              <a:gd name="csY560" fmla="*/ 1327143 h 1538630"/>
              <a:gd name="csX561" fmla="*/ 764797 w 1609516"/>
              <a:gd name="csY561" fmla="*/ 1334360 h 1538630"/>
              <a:gd name="csX562" fmla="*/ 757875 w 1609516"/>
              <a:gd name="csY562" fmla="*/ 1353503 h 1538630"/>
              <a:gd name="csX563" fmla="*/ 755676 w 1609516"/>
              <a:gd name="csY563" fmla="*/ 1367455 h 1538630"/>
              <a:gd name="csX564" fmla="*/ 750558 w 1609516"/>
              <a:gd name="csY564" fmla="*/ 1399690 h 1538630"/>
              <a:gd name="csX565" fmla="*/ 753057 w 1609516"/>
              <a:gd name="csY565" fmla="*/ 1411256 h 1538630"/>
              <a:gd name="csX566" fmla="*/ 753057 w 1609516"/>
              <a:gd name="csY566" fmla="*/ 1416893 h 1538630"/>
              <a:gd name="csX567" fmla="*/ 756181 w 1609516"/>
              <a:gd name="csY567" fmla="*/ 1416893 h 1538630"/>
              <a:gd name="csX568" fmla="*/ 758133 w 1609516"/>
              <a:gd name="csY568" fmla="*/ 1436182 h 1538630"/>
              <a:gd name="csX569" fmla="*/ 758231 w 1609516"/>
              <a:gd name="csY569" fmla="*/ 1440781 h 1538630"/>
              <a:gd name="csX570" fmla="*/ 750713 w 1609516"/>
              <a:gd name="csY570" fmla="*/ 1465704 h 1538630"/>
              <a:gd name="csX571" fmla="*/ 748370 w 1609516"/>
              <a:gd name="csY571" fmla="*/ 1467185 h 1538630"/>
              <a:gd name="csX572" fmla="*/ 741633 w 1609516"/>
              <a:gd name="csY572" fmla="*/ 1473526 h 1538630"/>
              <a:gd name="csX573" fmla="*/ 728154 w 1609516"/>
              <a:gd name="csY573" fmla="*/ 1478343 h 1538630"/>
              <a:gd name="csX574" fmla="*/ 721814 w 1609516"/>
              <a:gd name="csY574" fmla="*/ 1480308 h 1538630"/>
              <a:gd name="csX575" fmla="*/ 708341 w 1609516"/>
              <a:gd name="csY575" fmla="*/ 1480661 h 1538630"/>
              <a:gd name="csX576" fmla="*/ 704637 w 1609516"/>
              <a:gd name="csY576" fmla="*/ 1480748 h 1538630"/>
              <a:gd name="csX577" fmla="*/ 668507 w 1609516"/>
              <a:gd name="csY577" fmla="*/ 1468418 h 1538630"/>
              <a:gd name="csX578" fmla="*/ 660178 w 1609516"/>
              <a:gd name="csY578" fmla="*/ 1450027 h 1538630"/>
              <a:gd name="csX579" fmla="*/ 657767 w 1609516"/>
              <a:gd name="csY579" fmla="*/ 1445078 h 1538630"/>
              <a:gd name="csX580" fmla="*/ 663369 w 1609516"/>
              <a:gd name="csY580" fmla="*/ 1409390 h 1538630"/>
              <a:gd name="csX581" fmla="*/ 671826 w 1609516"/>
              <a:gd name="csY581" fmla="*/ 1401392 h 1538630"/>
              <a:gd name="csX582" fmla="*/ 678075 w 1609516"/>
              <a:gd name="csY582" fmla="*/ 1390118 h 1538630"/>
              <a:gd name="csX583" fmla="*/ 684323 w 1609516"/>
              <a:gd name="csY583" fmla="*/ 1388709 h 1538630"/>
              <a:gd name="csX584" fmla="*/ 685293 w 1609516"/>
              <a:gd name="csY584" fmla="*/ 1384233 h 1538630"/>
              <a:gd name="csX585" fmla="*/ 686569 w 1609516"/>
              <a:gd name="csY585" fmla="*/ 1378404 h 1538630"/>
              <a:gd name="csX586" fmla="*/ 687207 w 1609516"/>
              <a:gd name="csY586" fmla="*/ 1375456 h 1538630"/>
              <a:gd name="csX587" fmla="*/ 690572 w 1609516"/>
              <a:gd name="csY587" fmla="*/ 1363343 h 1538630"/>
              <a:gd name="csX588" fmla="*/ 692495 w 1609516"/>
              <a:gd name="csY588" fmla="*/ 1323376 h 1538630"/>
              <a:gd name="csX589" fmla="*/ 692625 w 1609516"/>
              <a:gd name="csY589" fmla="*/ 1315006 h 1538630"/>
              <a:gd name="csX590" fmla="*/ 687447 w 1609516"/>
              <a:gd name="csY590" fmla="*/ 1287245 h 1538630"/>
              <a:gd name="csX591" fmla="*/ 682761 w 1609516"/>
              <a:gd name="csY591" fmla="*/ 1285835 h 1538630"/>
              <a:gd name="csX592" fmla="*/ 678954 w 1609516"/>
              <a:gd name="csY592" fmla="*/ 1281608 h 1538630"/>
              <a:gd name="csX593" fmla="*/ 668702 w 1609516"/>
              <a:gd name="csY593" fmla="*/ 1275971 h 1538630"/>
              <a:gd name="csX594" fmla="*/ 662454 w 1609516"/>
              <a:gd name="csY594" fmla="*/ 1270334 h 1538630"/>
              <a:gd name="csX595" fmla="*/ 654643 w 1609516"/>
              <a:gd name="csY595" fmla="*/ 1267516 h 1538630"/>
              <a:gd name="csX596" fmla="*/ 654643 w 1609516"/>
              <a:gd name="csY596" fmla="*/ 1264697 h 1538630"/>
              <a:gd name="csX597" fmla="*/ 650152 w 1609516"/>
              <a:gd name="csY597" fmla="*/ 1264345 h 1538630"/>
              <a:gd name="csX598" fmla="*/ 628087 w 1609516"/>
              <a:gd name="csY598" fmla="*/ 1257651 h 1538630"/>
              <a:gd name="csX599" fmla="*/ 628087 w 1609516"/>
              <a:gd name="csY599" fmla="*/ 1254833 h 1538630"/>
              <a:gd name="csX600" fmla="*/ 625121 w 1609516"/>
              <a:gd name="csY600" fmla="*/ 1254315 h 1538630"/>
              <a:gd name="csX601" fmla="*/ 621252 w 1609516"/>
              <a:gd name="csY601" fmla="*/ 1253600 h 1538630"/>
              <a:gd name="csX602" fmla="*/ 617409 w 1609516"/>
              <a:gd name="csY602" fmla="*/ 1252906 h 1538630"/>
              <a:gd name="csX603" fmla="*/ 610904 w 1609516"/>
              <a:gd name="csY603" fmla="*/ 1249196 h 1538630"/>
              <a:gd name="csX604" fmla="*/ 565739 w 1609516"/>
              <a:gd name="csY604" fmla="*/ 1271742 h 1538630"/>
              <a:gd name="csX605" fmla="*/ 546924 w 1609516"/>
              <a:gd name="csY605" fmla="*/ 1290829 h 1538630"/>
              <a:gd name="csX606" fmla="*/ 543635 w 1609516"/>
              <a:gd name="csY606" fmla="*/ 1294643 h 1538630"/>
              <a:gd name="csX607" fmla="*/ 540651 w 1609516"/>
              <a:gd name="csY607" fmla="*/ 1298188 h 1538630"/>
              <a:gd name="csX608" fmla="*/ 529673 w 1609516"/>
              <a:gd name="csY608" fmla="*/ 1305565 h 1538630"/>
              <a:gd name="csX609" fmla="*/ 526549 w 1609516"/>
              <a:gd name="csY609" fmla="*/ 1311202 h 1538630"/>
              <a:gd name="csX610" fmla="*/ 523425 w 1609516"/>
              <a:gd name="csY610" fmla="*/ 1311202 h 1538630"/>
              <a:gd name="csX611" fmla="*/ 523230 w 1609516"/>
              <a:gd name="csY611" fmla="*/ 1313580 h 1538630"/>
              <a:gd name="csX612" fmla="*/ 517732 w 1609516"/>
              <a:gd name="csY612" fmla="*/ 1319739 h 1538630"/>
              <a:gd name="csX613" fmla="*/ 502239 w 1609516"/>
              <a:gd name="csY613" fmla="*/ 1337096 h 1538630"/>
              <a:gd name="csX614" fmla="*/ 497058 w 1609516"/>
              <a:gd name="csY614" fmla="*/ 1344087 h 1538630"/>
              <a:gd name="csX615" fmla="*/ 494572 w 1609516"/>
              <a:gd name="csY615" fmla="*/ 1347465 h 1538630"/>
              <a:gd name="csX616" fmla="*/ 487776 w 1609516"/>
              <a:gd name="csY616" fmla="*/ 1356181 h 1538630"/>
              <a:gd name="csX617" fmla="*/ 481248 w 1609516"/>
              <a:gd name="csY617" fmla="*/ 1367571 h 1538630"/>
              <a:gd name="csX618" fmla="*/ 478123 w 1609516"/>
              <a:gd name="csY618" fmla="*/ 1367571 h 1538630"/>
              <a:gd name="csX619" fmla="*/ 477635 w 1609516"/>
              <a:gd name="csY619" fmla="*/ 1370565 h 1538630"/>
              <a:gd name="csX620" fmla="*/ 465626 w 1609516"/>
              <a:gd name="csY620" fmla="*/ 1388709 h 1538630"/>
              <a:gd name="csX621" fmla="*/ 461233 w 1609516"/>
              <a:gd name="csY621" fmla="*/ 1397340 h 1538630"/>
              <a:gd name="csX622" fmla="*/ 455765 w 1609516"/>
              <a:gd name="csY622" fmla="*/ 1408086 h 1538630"/>
              <a:gd name="csX623" fmla="*/ 439070 w 1609516"/>
              <a:gd name="csY623" fmla="*/ 1477490 h 1538630"/>
              <a:gd name="csX624" fmla="*/ 434384 w 1609516"/>
              <a:gd name="csY624" fmla="*/ 1478899 h 1538630"/>
              <a:gd name="csX625" fmla="*/ 432431 w 1609516"/>
              <a:gd name="csY625" fmla="*/ 1481982 h 1538630"/>
              <a:gd name="csX626" fmla="*/ 418763 w 1609516"/>
              <a:gd name="csY626" fmla="*/ 1494401 h 1538630"/>
              <a:gd name="csX627" fmla="*/ 415639 w 1609516"/>
              <a:gd name="csY627" fmla="*/ 1494401 h 1538630"/>
              <a:gd name="csX628" fmla="*/ 415639 w 1609516"/>
              <a:gd name="csY628" fmla="*/ 1497219 h 1538630"/>
              <a:gd name="csX629" fmla="*/ 406265 w 1609516"/>
              <a:gd name="csY629" fmla="*/ 1498628 h 1538630"/>
              <a:gd name="csX630" fmla="*/ 406265 w 1609516"/>
              <a:gd name="csY630" fmla="*/ 1501447 h 1538630"/>
              <a:gd name="csX631" fmla="*/ 375023 w 1609516"/>
              <a:gd name="csY631" fmla="*/ 1501447 h 1538630"/>
              <a:gd name="csX632" fmla="*/ 375023 w 1609516"/>
              <a:gd name="csY632" fmla="*/ 1499438 h 1538630"/>
              <a:gd name="csX633" fmla="*/ 374964 w 1609516"/>
              <a:gd name="csY633" fmla="*/ 1499436 h 1538630"/>
              <a:gd name="csX634" fmla="*/ 373179 w 1609516"/>
              <a:gd name="csY634" fmla="*/ 1498628 h 1538630"/>
              <a:gd name="csX635" fmla="*/ 365650 w 1609516"/>
              <a:gd name="csY635" fmla="*/ 1498628 h 1538630"/>
              <a:gd name="csX636" fmla="*/ 363134 w 1609516"/>
              <a:gd name="csY636" fmla="*/ 1494087 h 1538630"/>
              <a:gd name="csX637" fmla="*/ 362171 w 1609516"/>
              <a:gd name="csY637" fmla="*/ 1493651 h 1538630"/>
              <a:gd name="csX638" fmla="*/ 360609 w 1609516"/>
              <a:gd name="csY638" fmla="*/ 1490833 h 1538630"/>
              <a:gd name="csX639" fmla="*/ 363733 w 1609516"/>
              <a:gd name="csY639" fmla="*/ 1490833 h 1538630"/>
              <a:gd name="csX640" fmla="*/ 363733 w 1609516"/>
              <a:gd name="csY640" fmla="*/ 1489980 h 1538630"/>
              <a:gd name="csX641" fmla="*/ 348467 w 1609516"/>
              <a:gd name="csY641" fmla="*/ 1481717 h 1538630"/>
              <a:gd name="csX642" fmla="*/ 343872 w 1609516"/>
              <a:gd name="csY642" fmla="*/ 1461078 h 1538630"/>
              <a:gd name="csX643" fmla="*/ 343656 w 1609516"/>
              <a:gd name="csY643" fmla="*/ 1463649 h 1538630"/>
              <a:gd name="csX644" fmla="*/ 343424 w 1609516"/>
              <a:gd name="csY644" fmla="*/ 1466842 h 1538630"/>
              <a:gd name="csX645" fmla="*/ 341861 w 1609516"/>
              <a:gd name="csY645" fmla="*/ 1466842 h 1538630"/>
              <a:gd name="csX646" fmla="*/ 354143 w 1609516"/>
              <a:gd name="csY646" fmla="*/ 1420549 h 1538630"/>
              <a:gd name="csX647" fmla="*/ 376229 w 1609516"/>
              <a:gd name="csY647" fmla="*/ 1403427 h 1538630"/>
              <a:gd name="csX648" fmla="*/ 379491 w 1609516"/>
              <a:gd name="csY648" fmla="*/ 1404408 h 1538630"/>
              <a:gd name="csX649" fmla="*/ 379710 w 1609516"/>
              <a:gd name="csY649" fmla="*/ 1404210 h 1538630"/>
              <a:gd name="csX650" fmla="*/ 380882 w 1609516"/>
              <a:gd name="csY650" fmla="*/ 1401568 h 1538630"/>
              <a:gd name="csX651" fmla="*/ 392207 w 1609516"/>
              <a:gd name="csY651" fmla="*/ 1392936 h 1538630"/>
              <a:gd name="csX652" fmla="*/ 399542 w 1609516"/>
              <a:gd name="csY652" fmla="*/ 1386774 h 1538630"/>
              <a:gd name="csX653" fmla="*/ 405485 w 1609516"/>
              <a:gd name="csY653" fmla="*/ 1378917 h 1538630"/>
              <a:gd name="csX654" fmla="*/ 412008 w 1609516"/>
              <a:gd name="csY654" fmla="*/ 1369481 h 1538630"/>
              <a:gd name="csX655" fmla="*/ 421130 w 1609516"/>
              <a:gd name="csY655" fmla="*/ 1357057 h 1538630"/>
              <a:gd name="csX656" fmla="*/ 424676 w 1609516"/>
              <a:gd name="csY656" fmla="*/ 1348443 h 1538630"/>
              <a:gd name="csX657" fmla="*/ 427275 w 1609516"/>
              <a:gd name="csY657" fmla="*/ 1348443 h 1538630"/>
              <a:gd name="csX658" fmla="*/ 428135 w 1609516"/>
              <a:gd name="csY658" fmla="*/ 1345727 h 1538630"/>
              <a:gd name="csX659" fmla="*/ 432822 w 1609516"/>
              <a:gd name="csY659" fmla="*/ 1335158 h 1538630"/>
              <a:gd name="csX660" fmla="*/ 435946 w 1609516"/>
              <a:gd name="csY660" fmla="*/ 1335158 h 1538630"/>
              <a:gd name="csX661" fmla="*/ 437704 w 1609516"/>
              <a:gd name="csY661" fmla="*/ 1329786 h 1538630"/>
              <a:gd name="csX662" fmla="*/ 447394 w 1609516"/>
              <a:gd name="csY662" fmla="*/ 1311196 h 1538630"/>
              <a:gd name="csX663" fmla="*/ 469287 w 1609516"/>
              <a:gd name="csY663" fmla="*/ 1265964 h 1538630"/>
              <a:gd name="csX664" fmla="*/ 478178 w 1609516"/>
              <a:gd name="csY664" fmla="*/ 1246787 h 1538630"/>
              <a:gd name="csX665" fmla="*/ 480179 w 1609516"/>
              <a:gd name="csY665" fmla="*/ 1225768 h 1538630"/>
              <a:gd name="csX666" fmla="*/ 480250 w 1609516"/>
              <a:gd name="csY666" fmla="*/ 1217149 h 1538630"/>
              <a:gd name="csX667" fmla="*/ 462972 w 1609516"/>
              <a:gd name="csY667" fmla="*/ 1174827 h 1538630"/>
              <a:gd name="csX668" fmla="*/ 457468 w 1609516"/>
              <a:gd name="csY668" fmla="*/ 1169949 h 1538630"/>
              <a:gd name="csX669" fmla="*/ 440657 w 1609516"/>
              <a:gd name="csY669" fmla="*/ 1152570 h 1538630"/>
              <a:gd name="csX670" fmla="*/ 403142 w 1609516"/>
              <a:gd name="csY670" fmla="*/ 1122366 h 1538630"/>
              <a:gd name="csX671" fmla="*/ 401579 w 1609516"/>
              <a:gd name="csY671" fmla="*/ 1119547 h 1538630"/>
              <a:gd name="csX672" fmla="*/ 364564 w 1609516"/>
              <a:gd name="csY672" fmla="*/ 1118209 h 1538630"/>
              <a:gd name="csX673" fmla="*/ 357822 w 1609516"/>
              <a:gd name="csY673" fmla="*/ 1122041 h 1538630"/>
              <a:gd name="csX674" fmla="*/ 348077 w 1609516"/>
              <a:gd name="csY674" fmla="*/ 1125273 h 1538630"/>
              <a:gd name="csX675" fmla="*/ 334408 w 1609516"/>
              <a:gd name="csY675" fmla="*/ 1132230 h 1538630"/>
              <a:gd name="csX676" fmla="*/ 327964 w 1609516"/>
              <a:gd name="csY676" fmla="*/ 1134080 h 1538630"/>
              <a:gd name="csX677" fmla="*/ 279734 w 1609516"/>
              <a:gd name="csY677" fmla="*/ 1166051 h 1538630"/>
              <a:gd name="csX678" fmla="*/ 276609 w 1609516"/>
              <a:gd name="csY678" fmla="*/ 1173098 h 1538630"/>
              <a:gd name="csX679" fmla="*/ 260988 w 1609516"/>
              <a:gd name="csY679" fmla="*/ 1188599 h 1538630"/>
              <a:gd name="csX680" fmla="*/ 257956 w 1609516"/>
              <a:gd name="csY680" fmla="*/ 1191132 h 1538630"/>
              <a:gd name="csX681" fmla="*/ 243805 w 1609516"/>
              <a:gd name="csY681" fmla="*/ 1196629 h 1538630"/>
              <a:gd name="csX682" fmla="*/ 243805 w 1609516"/>
              <a:gd name="csY682" fmla="*/ 1194236 h 1538630"/>
              <a:gd name="csX683" fmla="*/ 240288 w 1609516"/>
              <a:gd name="csY683" fmla="*/ 1194765 h 1538630"/>
              <a:gd name="csX684" fmla="*/ 243374 w 1609516"/>
              <a:gd name="csY684" fmla="*/ 1194765 h 1538630"/>
              <a:gd name="csX685" fmla="*/ 243374 w 1609516"/>
              <a:gd name="csY685" fmla="*/ 1196797 h 1538630"/>
              <a:gd name="csX686" fmla="*/ 243805 w 1609516"/>
              <a:gd name="csY686" fmla="*/ 1196629 h 1538630"/>
              <a:gd name="csX687" fmla="*/ 243805 w 1609516"/>
              <a:gd name="csY687" fmla="*/ 1197055 h 1538630"/>
              <a:gd name="csX688" fmla="*/ 243374 w 1609516"/>
              <a:gd name="csY688" fmla="*/ 1197055 h 1538630"/>
              <a:gd name="csX689" fmla="*/ 243374 w 1609516"/>
              <a:gd name="csY689" fmla="*/ 1197584 h 1538630"/>
              <a:gd name="csX690" fmla="*/ 241319 w 1609516"/>
              <a:gd name="csY690" fmla="*/ 1197595 h 1538630"/>
              <a:gd name="csX691" fmla="*/ 238009 w 1609516"/>
              <a:gd name="csY691" fmla="*/ 1198881 h 1538630"/>
              <a:gd name="csX692" fmla="*/ 215687 w 1609516"/>
              <a:gd name="csY692" fmla="*/ 1198464 h 1538630"/>
              <a:gd name="csX693" fmla="*/ 215687 w 1609516"/>
              <a:gd name="csY693" fmla="*/ 1197734 h 1538630"/>
              <a:gd name="csX694" fmla="*/ 213936 w 1609516"/>
              <a:gd name="csY694" fmla="*/ 1197744 h 1538630"/>
              <a:gd name="csX695" fmla="*/ 207446 w 1609516"/>
              <a:gd name="csY695" fmla="*/ 1196175 h 1538630"/>
              <a:gd name="csX696" fmla="*/ 207822 w 1609516"/>
              <a:gd name="csY696" fmla="*/ 1195610 h 1538630"/>
              <a:gd name="csX697" fmla="*/ 184737 w 1609516"/>
              <a:gd name="csY697" fmla="*/ 1180936 h 1538630"/>
              <a:gd name="csX698" fmla="*/ 179270 w 1609516"/>
              <a:gd name="csY698" fmla="*/ 1154866 h 1538630"/>
              <a:gd name="csX699" fmla="*/ 179194 w 1609516"/>
              <a:gd name="csY699" fmla="*/ 1151621 h 1538630"/>
              <a:gd name="csX700" fmla="*/ 193195 w 1609516"/>
              <a:gd name="csY700" fmla="*/ 1120065 h 1538630"/>
              <a:gd name="csX701" fmla="*/ 229551 w 1609516"/>
              <a:gd name="csY701" fmla="*/ 1110299 h 1538630"/>
              <a:gd name="csX702" fmla="*/ 260988 w 1609516"/>
              <a:gd name="csY702" fmla="*/ 1108274 h 1538630"/>
              <a:gd name="csX703" fmla="*/ 260988 w 1609516"/>
              <a:gd name="csY703" fmla="*/ 1105455 h 1538630"/>
              <a:gd name="csX704" fmla="*/ 263911 w 1609516"/>
              <a:gd name="csY704" fmla="*/ 1104310 h 1538630"/>
              <a:gd name="csX705" fmla="*/ 286995 w 1609516"/>
              <a:gd name="csY705" fmla="*/ 1090185 h 1538630"/>
              <a:gd name="csX706" fmla="*/ 299358 w 1609516"/>
              <a:gd name="csY706" fmla="*/ 1080970 h 1538630"/>
              <a:gd name="csX707" fmla="*/ 317762 w 1609516"/>
              <a:gd name="csY707" fmla="*/ 1063272 h 1538630"/>
              <a:gd name="csX708" fmla="*/ 325035 w 1609516"/>
              <a:gd name="csY708" fmla="*/ 1057542 h 1538630"/>
              <a:gd name="csX709" fmla="*/ 325328 w 1609516"/>
              <a:gd name="csY709" fmla="*/ 1023104 h 1538630"/>
              <a:gd name="csX710" fmla="*/ 324544 w 1609516"/>
              <a:gd name="csY710" fmla="*/ 1019247 h 1538630"/>
              <a:gd name="csX711" fmla="*/ 317225 w 1609516"/>
              <a:gd name="csY711" fmla="*/ 996945 h 1538630"/>
              <a:gd name="csX712" fmla="*/ 315388 w 1609516"/>
              <a:gd name="csY712" fmla="*/ 992690 h 1538630"/>
              <a:gd name="csX713" fmla="*/ 276232 w 1609516"/>
              <a:gd name="csY713" fmla="*/ 950666 h 1538630"/>
              <a:gd name="csX714" fmla="*/ 271923 w 1609516"/>
              <a:gd name="csY714" fmla="*/ 949031 h 1538630"/>
              <a:gd name="csX715" fmla="*/ 268299 w 1609516"/>
              <a:gd name="csY715" fmla="*/ 947441 h 1538630"/>
              <a:gd name="csX716" fmla="*/ 199187 w 1609516"/>
              <a:gd name="csY716" fmla="*/ 938991 h 1538630"/>
              <a:gd name="csX717" fmla="*/ 193719 w 1609516"/>
              <a:gd name="csY717" fmla="*/ 938971 h 1538630"/>
              <a:gd name="csX718" fmla="*/ 188539 w 1609516"/>
              <a:gd name="csY718" fmla="*/ 938980 h 1538630"/>
              <a:gd name="csX719" fmla="*/ 183874 w 1609516"/>
              <a:gd name="csY719" fmla="*/ 938985 h 1538630"/>
              <a:gd name="csX720" fmla="*/ 173509 w 1609516"/>
              <a:gd name="csY720" fmla="*/ 940576 h 1538630"/>
              <a:gd name="csX721" fmla="*/ 161403 w 1609516"/>
              <a:gd name="csY721" fmla="*/ 940664 h 1538630"/>
              <a:gd name="csX722" fmla="*/ 158102 w 1609516"/>
              <a:gd name="csY722" fmla="*/ 940645 h 1538630"/>
              <a:gd name="csX723" fmla="*/ 150875 w 1609516"/>
              <a:gd name="csY723" fmla="*/ 940583 h 1538630"/>
              <a:gd name="csX724" fmla="*/ 148425 w 1609516"/>
              <a:gd name="csY724" fmla="*/ 940717 h 1538630"/>
              <a:gd name="csX725" fmla="*/ 149617 w 1609516"/>
              <a:gd name="csY725" fmla="*/ 940995 h 1538630"/>
              <a:gd name="csX726" fmla="*/ 149617 w 1609516"/>
              <a:gd name="csY726" fmla="*/ 942404 h 1538630"/>
              <a:gd name="csX727" fmla="*/ 146627 w 1609516"/>
              <a:gd name="csY727" fmla="*/ 942871 h 1538630"/>
              <a:gd name="csX728" fmla="*/ 110564 w 1609516"/>
              <a:gd name="csY728" fmla="*/ 949449 h 1538630"/>
              <a:gd name="csX729" fmla="*/ 111283 w 1609516"/>
              <a:gd name="csY729" fmla="*/ 946205 h 1538630"/>
              <a:gd name="csX730" fmla="*/ 101652 w 1609516"/>
              <a:gd name="csY730" fmla="*/ 956078 h 1538630"/>
              <a:gd name="csX731" fmla="*/ 98052 w 1609516"/>
              <a:gd name="csY731" fmla="*/ 958467 h 1538630"/>
              <a:gd name="csX732" fmla="*/ 67286 w 1609516"/>
              <a:gd name="csY732" fmla="*/ 972989 h 1538630"/>
              <a:gd name="csX733" fmla="*/ 67286 w 1609516"/>
              <a:gd name="csY733" fmla="*/ 975807 h 1538630"/>
              <a:gd name="csX734" fmla="*/ 31942 w 1609516"/>
              <a:gd name="csY734" fmla="*/ 976423 h 1538630"/>
              <a:gd name="csX735" fmla="*/ 5673 w 1609516"/>
              <a:gd name="csY735" fmla="*/ 953419 h 1538630"/>
              <a:gd name="csX736" fmla="*/ 4801 w 1609516"/>
              <a:gd name="csY736" fmla="*/ 944804 h 1538630"/>
              <a:gd name="csX737" fmla="*/ 1676 w 1609516"/>
              <a:gd name="csY737" fmla="*/ 944804 h 1538630"/>
              <a:gd name="csX738" fmla="*/ 17 w 1609516"/>
              <a:gd name="csY738" fmla="*/ 931857 h 1538630"/>
              <a:gd name="csX739" fmla="*/ 59 w 1609516"/>
              <a:gd name="csY739" fmla="*/ 927216 h 1538630"/>
              <a:gd name="csX740" fmla="*/ 115 w 1609516"/>
              <a:gd name="csY740" fmla="*/ 923666 h 1538630"/>
              <a:gd name="csX741" fmla="*/ 3238 w 1609516"/>
              <a:gd name="csY741" fmla="*/ 923666 h 1538630"/>
              <a:gd name="csX742" fmla="*/ 3238 w 1609516"/>
              <a:gd name="csY742" fmla="*/ 918029 h 1538630"/>
              <a:gd name="csX743" fmla="*/ 6363 w 1609516"/>
              <a:gd name="csY743" fmla="*/ 918029 h 1538630"/>
              <a:gd name="csX744" fmla="*/ 6656 w 1609516"/>
              <a:gd name="csY744" fmla="*/ 912832 h 1538630"/>
              <a:gd name="csX745" fmla="*/ 15736 w 1609516"/>
              <a:gd name="csY745" fmla="*/ 899709 h 1538630"/>
              <a:gd name="csX746" fmla="*/ 17243 w 1609516"/>
              <a:gd name="csY746" fmla="*/ 898894 h 1538630"/>
              <a:gd name="csX747" fmla="*/ 16800 w 1609516"/>
              <a:gd name="csY747" fmla="*/ 898694 h 1538630"/>
              <a:gd name="csX748" fmla="*/ 24988 w 1609516"/>
              <a:gd name="csY748" fmla="*/ 894101 h 1538630"/>
              <a:gd name="csX749" fmla="*/ 26768 w 1609516"/>
              <a:gd name="csY749" fmla="*/ 892399 h 1538630"/>
              <a:gd name="csX750" fmla="*/ 30198 w 1609516"/>
              <a:gd name="csY750" fmla="*/ 890164 h 1538630"/>
              <a:gd name="csX751" fmla="*/ 32204 w 1609516"/>
              <a:gd name="csY751" fmla="*/ 890054 h 1538630"/>
              <a:gd name="csX752" fmla="*/ 38914 w 1609516"/>
              <a:gd name="csY752" fmla="*/ 886291 h 1538630"/>
              <a:gd name="csX753" fmla="*/ 63664 w 1609516"/>
              <a:gd name="csY753" fmla="*/ 886011 h 1538630"/>
              <a:gd name="csX754" fmla="*/ 63664 w 1609516"/>
              <a:gd name="csY754" fmla="*/ 886531 h 1538630"/>
              <a:gd name="csX755" fmla="*/ 70784 w 1609516"/>
              <a:gd name="csY755" fmla="*/ 886647 h 1538630"/>
              <a:gd name="csX756" fmla="*/ 82126 w 1609516"/>
              <a:gd name="csY756" fmla="*/ 889845 h 1538630"/>
              <a:gd name="csX757" fmla="*/ 114149 w 1609516"/>
              <a:gd name="csY757" fmla="*/ 892663 h 1538630"/>
              <a:gd name="csX758" fmla="*/ 118836 w 1609516"/>
              <a:gd name="csY758" fmla="*/ 889845 h 1538630"/>
              <a:gd name="csX759" fmla="*/ 131626 w 1609516"/>
              <a:gd name="csY759" fmla="*/ 887114 h 1538630"/>
              <a:gd name="csX760" fmla="*/ 155116 w 1609516"/>
              <a:gd name="csY760" fmla="*/ 880913 h 1538630"/>
              <a:gd name="csX761" fmla="*/ 165406 w 1609516"/>
              <a:gd name="csY761" fmla="*/ 878483 h 1538630"/>
              <a:gd name="csX762" fmla="*/ 176634 w 1609516"/>
              <a:gd name="csY762" fmla="*/ 874343 h 1538630"/>
              <a:gd name="csX763" fmla="*/ 186397 w 1609516"/>
              <a:gd name="csY763" fmla="*/ 871524 h 1538630"/>
              <a:gd name="csX764" fmla="*/ 191871 w 1609516"/>
              <a:gd name="csY764" fmla="*/ 870033 h 1538630"/>
              <a:gd name="csX765" fmla="*/ 203483 w 1609516"/>
              <a:gd name="csY765" fmla="*/ 867208 h 1538630"/>
              <a:gd name="csX766" fmla="*/ 211001 w 1609516"/>
              <a:gd name="csY766" fmla="*/ 861660 h 1538630"/>
              <a:gd name="csX767" fmla="*/ 218031 w 1609516"/>
              <a:gd name="csY767" fmla="*/ 858577 h 1538630"/>
              <a:gd name="csX768" fmla="*/ 254740 w 1609516"/>
              <a:gd name="csY768" fmla="*/ 825020 h 1538630"/>
              <a:gd name="csX769" fmla="*/ 257864 w 1609516"/>
              <a:gd name="csY769" fmla="*/ 820792 h 1538630"/>
              <a:gd name="csX770" fmla="*/ 258318 w 1609516"/>
              <a:gd name="csY770" fmla="*/ 813810 h 1538630"/>
              <a:gd name="csX771" fmla="*/ 258378 w 1609516"/>
              <a:gd name="csY771" fmla="*/ 809502 h 1538630"/>
              <a:gd name="csX772" fmla="*/ 258389 w 1609516"/>
              <a:gd name="csY772" fmla="*/ 804845 h 1538630"/>
              <a:gd name="csX773" fmla="*/ 258420 w 1609516"/>
              <a:gd name="csY773" fmla="*/ 800036 h 1538630"/>
              <a:gd name="csX774" fmla="*/ 258443 w 1609516"/>
              <a:gd name="csY774" fmla="*/ 789939 h 1538630"/>
              <a:gd name="csX775" fmla="*/ 258566 w 1609516"/>
              <a:gd name="csY775" fmla="*/ 774594 h 1538630"/>
              <a:gd name="csX776" fmla="*/ 258584 w 1609516"/>
              <a:gd name="csY776" fmla="*/ 764771 h 1538630"/>
              <a:gd name="csX777" fmla="*/ 258652 w 1609516"/>
              <a:gd name="csY777" fmla="*/ 760174 h 1538630"/>
              <a:gd name="csX778" fmla="*/ 251616 w 1609516"/>
              <a:gd name="csY778" fmla="*/ 733421 h 1538630"/>
              <a:gd name="csX779" fmla="*/ 247613 w 1609516"/>
              <a:gd name="csY779" fmla="*/ 721883 h 1538630"/>
              <a:gd name="csX780" fmla="*/ 241291 w 1609516"/>
              <a:gd name="csY780" fmla="*/ 705644 h 1538630"/>
              <a:gd name="csX781" fmla="*/ 237557 w 1609516"/>
              <a:gd name="csY781" fmla="*/ 689735 h 1538630"/>
              <a:gd name="csX782" fmla="*/ 248492 w 1609516"/>
              <a:gd name="csY782" fmla="*/ 685507 h 1538630"/>
              <a:gd name="csX783" fmla="*/ 248492 w 1609516"/>
              <a:gd name="csY783" fmla="*/ 681279 h 1538630"/>
              <a:gd name="csX784" fmla="*/ 240681 w 1609516"/>
              <a:gd name="csY784" fmla="*/ 679870 h 1538630"/>
              <a:gd name="csX785" fmla="*/ 240681 w 1609516"/>
              <a:gd name="csY785" fmla="*/ 677052 h 1538630"/>
              <a:gd name="csX786" fmla="*/ 238094 w 1609516"/>
              <a:gd name="csY786" fmla="*/ 676645 h 1538630"/>
              <a:gd name="csX787" fmla="*/ 225841 w 1609516"/>
              <a:gd name="csY787" fmla="*/ 670886 h 1538630"/>
              <a:gd name="csX788" fmla="*/ 201531 w 1609516"/>
              <a:gd name="csY788" fmla="*/ 662508 h 1538630"/>
              <a:gd name="csX789" fmla="*/ 188252 w 1609516"/>
              <a:gd name="csY789" fmla="*/ 658644 h 1538630"/>
              <a:gd name="csX790" fmla="*/ 182431 w 1609516"/>
              <a:gd name="csY790" fmla="*/ 657327 h 1538630"/>
              <a:gd name="csX791" fmla="*/ 182431 w 1609516"/>
              <a:gd name="csY791" fmla="*/ 657613 h 1538630"/>
              <a:gd name="csX792" fmla="*/ 146503 w 1609516"/>
              <a:gd name="csY792" fmla="*/ 656204 h 1538630"/>
              <a:gd name="csX793" fmla="*/ 146503 w 1609516"/>
              <a:gd name="csY793" fmla="*/ 659022 h 1538630"/>
              <a:gd name="csX794" fmla="*/ 110378 w 1609516"/>
              <a:gd name="csY794" fmla="*/ 663778 h 1538630"/>
              <a:gd name="csX795" fmla="*/ 106453 w 1609516"/>
              <a:gd name="csY795" fmla="*/ 663836 h 1538630"/>
              <a:gd name="csX796" fmla="*/ 102751 w 1609516"/>
              <a:gd name="csY796" fmla="*/ 663811 h 1538630"/>
              <a:gd name="csX797" fmla="*/ 99449 w 1609516"/>
              <a:gd name="csY797" fmla="*/ 663797 h 1538630"/>
              <a:gd name="csX798" fmla="*/ 91828 w 1609516"/>
              <a:gd name="csY798" fmla="*/ 659022 h 1538630"/>
              <a:gd name="csX799" fmla="*/ 98077 w 1609516"/>
              <a:gd name="csY799" fmla="*/ 659022 h 1538630"/>
              <a:gd name="csX800" fmla="*/ 98077 w 1609516"/>
              <a:gd name="csY800" fmla="*/ 661841 h 1538630"/>
              <a:gd name="csX801" fmla="*/ 119023 w 1609516"/>
              <a:gd name="csY801" fmla="*/ 661357 h 1538630"/>
              <a:gd name="csX802" fmla="*/ 119536 w 1609516"/>
              <a:gd name="csY802" fmla="*/ 661197 h 1538630"/>
              <a:gd name="csX803" fmla="*/ 109853 w 1609516"/>
              <a:gd name="csY803" fmla="*/ 661639 h 1538630"/>
              <a:gd name="csX804" fmla="*/ 106552 w 1609516"/>
              <a:gd name="csY804" fmla="*/ 661619 h 1538630"/>
              <a:gd name="csX805" fmla="*/ 98528 w 1609516"/>
              <a:gd name="csY805" fmla="*/ 661550 h 1538630"/>
              <a:gd name="csX806" fmla="*/ 98528 w 1609516"/>
              <a:gd name="csY806" fmla="*/ 658732 h 1538630"/>
              <a:gd name="csX807" fmla="*/ 89155 w 1609516"/>
              <a:gd name="csY807" fmla="*/ 657323 h 1538630"/>
              <a:gd name="csX808" fmla="*/ 89155 w 1609516"/>
              <a:gd name="csY808" fmla="*/ 654504 h 1538630"/>
              <a:gd name="csX809" fmla="*/ 86397 w 1609516"/>
              <a:gd name="csY809" fmla="*/ 653442 h 1538630"/>
              <a:gd name="csX810" fmla="*/ 77049 w 1609516"/>
              <a:gd name="csY810" fmla="*/ 646137 h 1538630"/>
              <a:gd name="csX811" fmla="*/ 74145 w 1609516"/>
              <a:gd name="csY811" fmla="*/ 643192 h 1538630"/>
              <a:gd name="csX812" fmla="*/ 71972 w 1609516"/>
              <a:gd name="csY812" fmla="*/ 636185 h 1538630"/>
              <a:gd name="csX813" fmla="*/ 68848 w 1609516"/>
              <a:gd name="csY813" fmla="*/ 636185 h 1538630"/>
              <a:gd name="csX814" fmla="*/ 70410 w 1609516"/>
              <a:gd name="csY814" fmla="*/ 595317 h 1538630"/>
              <a:gd name="csX815" fmla="*/ 79782 w 1609516"/>
              <a:gd name="csY815" fmla="*/ 584043 h 1538630"/>
              <a:gd name="csX816" fmla="*/ 82656 w 1609516"/>
              <a:gd name="csY816" fmla="*/ 581115 h 1538630"/>
              <a:gd name="csX817" fmla="*/ 116694 w 1609516"/>
              <a:gd name="csY817" fmla="*/ 572323 h 1538630"/>
              <a:gd name="csX818" fmla="*/ 152031 w 1609516"/>
              <a:gd name="csY818" fmla="*/ 590385 h 1538630"/>
              <a:gd name="csX819" fmla="*/ 191474 w 1609516"/>
              <a:gd name="csY819" fmla="*/ 605886 h 1538630"/>
              <a:gd name="csX820" fmla="*/ 206314 w 1609516"/>
              <a:gd name="csY820" fmla="*/ 608000 h 1538630"/>
              <a:gd name="csX821" fmla="*/ 206314 w 1609516"/>
              <a:gd name="csY821" fmla="*/ 610818 h 1538630"/>
              <a:gd name="csX822" fmla="*/ 234433 w 1609516"/>
              <a:gd name="csY822" fmla="*/ 610818 h 1538630"/>
              <a:gd name="csX823" fmla="*/ 239522 w 1609516"/>
              <a:gd name="csY823" fmla="*/ 610802 h 1538630"/>
              <a:gd name="csX824" fmla="*/ 268799 w 1609516"/>
              <a:gd name="csY824" fmla="*/ 600954 h 1538630"/>
              <a:gd name="csX825" fmla="*/ 271740 w 1609516"/>
              <a:gd name="csY825" fmla="*/ 599325 h 1538630"/>
              <a:gd name="csX826" fmla="*/ 284420 w 1609516"/>
              <a:gd name="csY826" fmla="*/ 579816 h 1538630"/>
              <a:gd name="csX827" fmla="*/ 289399 w 1609516"/>
              <a:gd name="csY827" fmla="*/ 568630 h 1538630"/>
              <a:gd name="csX828" fmla="*/ 293958 w 1609516"/>
              <a:gd name="csY828" fmla="*/ 535838 h 1538630"/>
              <a:gd name="csX829" fmla="*/ 289107 w 1609516"/>
              <a:gd name="csY829" fmla="*/ 529084 h 1538630"/>
              <a:gd name="csX830" fmla="*/ 289107 w 1609516"/>
              <a:gd name="csY830" fmla="*/ 526265 h 1538630"/>
              <a:gd name="csX831" fmla="*/ 284420 w 1609516"/>
              <a:gd name="csY831" fmla="*/ 524856 h 1538630"/>
              <a:gd name="csX832" fmla="*/ 282858 w 1609516"/>
              <a:gd name="csY832" fmla="*/ 520628 h 1538630"/>
              <a:gd name="csX833" fmla="*/ 277977 w 1609516"/>
              <a:gd name="csY833" fmla="*/ 516577 h 1538630"/>
              <a:gd name="csX834" fmla="*/ 264925 w 1609516"/>
              <a:gd name="csY834" fmla="*/ 506443 h 1538630"/>
              <a:gd name="csX835" fmla="*/ 229746 w 1609516"/>
              <a:gd name="csY835" fmla="*/ 481170 h 1538630"/>
              <a:gd name="csX836" fmla="*/ 221057 w 1609516"/>
              <a:gd name="csY836" fmla="*/ 475445 h 1538630"/>
              <a:gd name="csX837" fmla="*/ 212563 w 1609516"/>
              <a:gd name="csY837" fmla="*/ 469896 h 1538630"/>
              <a:gd name="csX838" fmla="*/ 208889 w 1609516"/>
              <a:gd name="csY838" fmla="*/ 467491 h 1538630"/>
              <a:gd name="csX839" fmla="*/ 190406 w 1609516"/>
              <a:gd name="csY839" fmla="*/ 456382 h 1538630"/>
              <a:gd name="csX840" fmla="*/ 186942 w 1609516"/>
              <a:gd name="csY840" fmla="*/ 454460 h 1538630"/>
              <a:gd name="csX841" fmla="*/ 180041 w 1609516"/>
              <a:gd name="csY841" fmla="*/ 450696 h 1538630"/>
              <a:gd name="csX842" fmla="*/ 171948 w 1609516"/>
              <a:gd name="csY842" fmla="*/ 445940 h 1538630"/>
              <a:gd name="csX843" fmla="*/ 171948 w 1609516"/>
              <a:gd name="csY843" fmla="*/ 443121 h 1538630"/>
              <a:gd name="csX844" fmla="*/ 168482 w 1609516"/>
              <a:gd name="csY844" fmla="*/ 442708 h 1538630"/>
              <a:gd name="csX845" fmla="*/ 157107 w 1609516"/>
              <a:gd name="csY845" fmla="*/ 437044 h 1538630"/>
              <a:gd name="csX846" fmla="*/ 132559 w 1609516"/>
              <a:gd name="csY846" fmla="*/ 427510 h 1538630"/>
              <a:gd name="csX847" fmla="*/ 123522 w 1609516"/>
              <a:gd name="csY847" fmla="*/ 421983 h 1538630"/>
              <a:gd name="csX848" fmla="*/ 107986 w 1609516"/>
              <a:gd name="csY848" fmla="*/ 418730 h 1538630"/>
              <a:gd name="csX849" fmla="*/ 102494 w 1609516"/>
              <a:gd name="csY849" fmla="*/ 418622 h 1538630"/>
              <a:gd name="csX850" fmla="*/ 91157 w 1609516"/>
              <a:gd name="csY850" fmla="*/ 418490 h 1538630"/>
              <a:gd name="csX851" fmla="*/ 55277 w 1609516"/>
              <a:gd name="csY851" fmla="*/ 410445 h 1538630"/>
              <a:gd name="csX852" fmla="*/ 51665 w 1609516"/>
              <a:gd name="csY852" fmla="*/ 406481 h 1538630"/>
              <a:gd name="csX853" fmla="*/ 45904 w 1609516"/>
              <a:gd name="csY853" fmla="*/ 400492 h 1538630"/>
              <a:gd name="csX854" fmla="*/ 43152 w 1609516"/>
              <a:gd name="csY854" fmla="*/ 397564 h 1538630"/>
              <a:gd name="csX855" fmla="*/ 37605 w 1609516"/>
              <a:gd name="csY855" fmla="*/ 393798 h 1538630"/>
              <a:gd name="csX856" fmla="*/ 38995 w 1609516"/>
              <a:gd name="csY856" fmla="*/ 368712 h 1538630"/>
              <a:gd name="csX857" fmla="*/ 38666 w 1609516"/>
              <a:gd name="csY857" fmla="*/ 369724 h 1538630"/>
              <a:gd name="csX858" fmla="*/ 35542 w 1609516"/>
              <a:gd name="csY858" fmla="*/ 384081 h 1538630"/>
              <a:gd name="csX859" fmla="*/ 33326 w 1609516"/>
              <a:gd name="csY859" fmla="*/ 357791 h 1538630"/>
              <a:gd name="csX860" fmla="*/ 52725 w 1609516"/>
              <a:gd name="csY860" fmla="*/ 333349 h 1538630"/>
              <a:gd name="csX861" fmla="*/ 55222 w 1609516"/>
              <a:gd name="csY861" fmla="*/ 334475 h 1538630"/>
              <a:gd name="csX862" fmla="*/ 56222 w 1609516"/>
              <a:gd name="csY862" fmla="*/ 333347 h 1538630"/>
              <a:gd name="csX863" fmla="*/ 55871 w 1609516"/>
              <a:gd name="csY863" fmla="*/ 333347 h 1538630"/>
              <a:gd name="csX864" fmla="*/ 56346 w 1609516"/>
              <a:gd name="csY864" fmla="*/ 333207 h 1538630"/>
              <a:gd name="csX865" fmla="*/ 56351 w 1609516"/>
              <a:gd name="csY865" fmla="*/ 333202 h 1538630"/>
              <a:gd name="csX866" fmla="*/ 56365 w 1609516"/>
              <a:gd name="csY866" fmla="*/ 333202 h 1538630"/>
              <a:gd name="csX867" fmla="*/ 79571 w 1609516"/>
              <a:gd name="csY867" fmla="*/ 326360 h 1538630"/>
              <a:gd name="csX868" fmla="*/ 104297 w 1609516"/>
              <a:gd name="csY868" fmla="*/ 330529 h 1538630"/>
              <a:gd name="csX869" fmla="*/ 107170 w 1609516"/>
              <a:gd name="csY869" fmla="*/ 334417 h 1538630"/>
              <a:gd name="csX870" fmla="*/ 109366 w 1609516"/>
              <a:gd name="csY870" fmla="*/ 336046 h 1538630"/>
              <a:gd name="csX871" fmla="*/ 109463 w 1609516"/>
              <a:gd name="csY871" fmla="*/ 336020 h 1538630"/>
              <a:gd name="csX872" fmla="*/ 109463 w 1609516"/>
              <a:gd name="csY872" fmla="*/ 336118 h 1538630"/>
              <a:gd name="csX873" fmla="*/ 115226 w 1609516"/>
              <a:gd name="csY873" fmla="*/ 340394 h 1538630"/>
              <a:gd name="csX874" fmla="*/ 114010 w 1609516"/>
              <a:gd name="csY874" fmla="*/ 340120 h 1538630"/>
              <a:gd name="csX875" fmla="*/ 133285 w 1609516"/>
              <a:gd name="csY875" fmla="*/ 357423 h 1538630"/>
              <a:gd name="csX876" fmla="*/ 173509 w 1609516"/>
              <a:gd name="csY876" fmla="*/ 389571 h 1538630"/>
              <a:gd name="csX877" fmla="*/ 181711 w 1609516"/>
              <a:gd name="csY877" fmla="*/ 393270 h 1538630"/>
              <a:gd name="csX878" fmla="*/ 185507 w 1609516"/>
              <a:gd name="csY878" fmla="*/ 394976 h 1538630"/>
              <a:gd name="csX879" fmla="*/ 192658 w 1609516"/>
              <a:gd name="csY879" fmla="*/ 398257 h 1538630"/>
              <a:gd name="csX880" fmla="*/ 195966 w 1609516"/>
              <a:gd name="csY880" fmla="*/ 399788 h 1538630"/>
              <a:gd name="csX881" fmla="*/ 198833 w 1609516"/>
              <a:gd name="csY881" fmla="*/ 401131 h 1538630"/>
              <a:gd name="csX882" fmla="*/ 207877 w 1609516"/>
              <a:gd name="csY882" fmla="*/ 403663 h 1538630"/>
              <a:gd name="csX883" fmla="*/ 207877 w 1609516"/>
              <a:gd name="csY883" fmla="*/ 406481 h 1538630"/>
              <a:gd name="csX884" fmla="*/ 248492 w 1609516"/>
              <a:gd name="csY884" fmla="*/ 419428 h 1538630"/>
              <a:gd name="csX885" fmla="*/ 253965 w 1609516"/>
              <a:gd name="csY885" fmla="*/ 421000 h 1538630"/>
              <a:gd name="csX886" fmla="*/ 267237 w 1609516"/>
              <a:gd name="csY886" fmla="*/ 424801 h 1538630"/>
              <a:gd name="csX887" fmla="*/ 267237 w 1609516"/>
              <a:gd name="csY887" fmla="*/ 426451 h 1538630"/>
              <a:gd name="csX888" fmla="*/ 288701 w 1609516"/>
              <a:gd name="csY888" fmla="*/ 429217 h 1538630"/>
              <a:gd name="csX889" fmla="*/ 288701 w 1609516"/>
              <a:gd name="csY889" fmla="*/ 432036 h 1538630"/>
              <a:gd name="csX890" fmla="*/ 327010 w 1609516"/>
              <a:gd name="csY890" fmla="*/ 433628 h 1538630"/>
              <a:gd name="csX891" fmla="*/ 337486 w 1609516"/>
              <a:gd name="csY891" fmla="*/ 433637 h 1538630"/>
              <a:gd name="csX892" fmla="*/ 344229 w 1609516"/>
              <a:gd name="csY892" fmla="*/ 433632 h 1538630"/>
              <a:gd name="csX893" fmla="*/ 350323 w 1609516"/>
              <a:gd name="csY893" fmla="*/ 433627 h 1538630"/>
              <a:gd name="csX894" fmla="*/ 365245 w 1609516"/>
              <a:gd name="csY894" fmla="*/ 432036 h 1538630"/>
              <a:gd name="csX895" fmla="*/ 360797 w 1609516"/>
              <a:gd name="csY895" fmla="*/ 433759 h 1538630"/>
              <a:gd name="csX896" fmla="*/ 365650 w 1609516"/>
              <a:gd name="csY896" fmla="*/ 433257 h 1538630"/>
              <a:gd name="csX897" fmla="*/ 367213 w 1609516"/>
              <a:gd name="csY897" fmla="*/ 429029 h 1538630"/>
              <a:gd name="csX898" fmla="*/ 375188 w 1609516"/>
              <a:gd name="csY898" fmla="*/ 424906 h 1538630"/>
              <a:gd name="csX899" fmla="*/ 404704 w 1609516"/>
              <a:gd name="csY899" fmla="*/ 389571 h 1538630"/>
              <a:gd name="csX900" fmla="*/ 406265 w 1609516"/>
              <a:gd name="csY900" fmla="*/ 388161 h 1538630"/>
              <a:gd name="csX901" fmla="*/ 406559 w 1609516"/>
              <a:gd name="csY901" fmla="*/ 370106 h 1538630"/>
              <a:gd name="csX902" fmla="*/ 406617 w 1609516"/>
              <a:gd name="csY902" fmla="*/ 364973 h 1538630"/>
              <a:gd name="csX903" fmla="*/ 406626 w 1609516"/>
              <a:gd name="csY903" fmla="*/ 360038 h 1538630"/>
              <a:gd name="csX904" fmla="*/ 406645 w 1609516"/>
              <a:gd name="csY904" fmla="*/ 355503 h 1538630"/>
              <a:gd name="csX905" fmla="*/ 403142 w 1609516"/>
              <a:gd name="csY905" fmla="*/ 345885 h 1538630"/>
              <a:gd name="csX906" fmla="*/ 401579 w 1609516"/>
              <a:gd name="csY906" fmla="*/ 338663 h 1538630"/>
              <a:gd name="csX907" fmla="*/ 390938 w 1609516"/>
              <a:gd name="csY907" fmla="*/ 315939 h 1538630"/>
              <a:gd name="csX908" fmla="*/ 388976 w 1609516"/>
              <a:gd name="csY908" fmla="*/ 312762 h 1538630"/>
              <a:gd name="csX909" fmla="*/ 377934 w 1609516"/>
              <a:gd name="csY909" fmla="*/ 297817 h 1538630"/>
              <a:gd name="csX910" fmla="*/ 368775 w 1609516"/>
              <a:gd name="csY910" fmla="*/ 282470 h 1538630"/>
              <a:gd name="csX911" fmla="*/ 359890 w 1609516"/>
              <a:gd name="csY911" fmla="*/ 271284 h 1538630"/>
              <a:gd name="csX912" fmla="*/ 357374 w 1609516"/>
              <a:gd name="csY912" fmla="*/ 268288 h 1538630"/>
              <a:gd name="csX913" fmla="*/ 337533 w 1609516"/>
              <a:gd name="csY913" fmla="*/ 248649 h 1538630"/>
              <a:gd name="csX914" fmla="*/ 335214 w 1609516"/>
              <a:gd name="csY914" fmla="*/ 246369 h 1538630"/>
              <a:gd name="csX915" fmla="*/ 327085 w 1609516"/>
              <a:gd name="csY915" fmla="*/ 242571 h 1538630"/>
              <a:gd name="csX916" fmla="*/ 288785 w 1609516"/>
              <a:gd name="csY916" fmla="*/ 207968 h 1538630"/>
              <a:gd name="csX917" fmla="*/ 286373 w 1609516"/>
              <a:gd name="csY917" fmla="*/ 192544 h 1538630"/>
              <a:gd name="csX918" fmla="*/ 286385 w 1609516"/>
              <a:gd name="csY918" fmla="*/ 189190 h 1538630"/>
              <a:gd name="csX919" fmla="*/ 300042 w 1609516"/>
              <a:gd name="csY919" fmla="*/ 164095 h 1538630"/>
              <a:gd name="csX920" fmla="*/ 302757 w 1609516"/>
              <a:gd name="csY920" fmla="*/ 161381 h 1538630"/>
              <a:gd name="csX921" fmla="*/ 338411 w 1609516"/>
              <a:gd name="csY921" fmla="*/ 152293 h 1538630"/>
              <a:gd name="csX922" fmla="*/ 368482 w 1609516"/>
              <a:gd name="csY922" fmla="*/ 161893 h 1538630"/>
              <a:gd name="csX923" fmla="*/ 371899 w 1609516"/>
              <a:gd name="csY923" fmla="*/ 165505 h 1538630"/>
              <a:gd name="csX924" fmla="*/ 375121 w 1609516"/>
              <a:gd name="csY924" fmla="*/ 168587 h 1538630"/>
              <a:gd name="csX925" fmla="*/ 384982 w 1609516"/>
              <a:gd name="csY925" fmla="*/ 193777 h 1538630"/>
              <a:gd name="csX926" fmla="*/ 390352 w 1609516"/>
              <a:gd name="csY926" fmla="*/ 214563 h 1538630"/>
              <a:gd name="csX927" fmla="*/ 391529 w 1609516"/>
              <a:gd name="csY927" fmla="*/ 217626 h 1538630"/>
              <a:gd name="csX928" fmla="*/ 401579 w 1609516"/>
              <a:gd name="csY928" fmla="*/ 234556 h 1538630"/>
              <a:gd name="csX929" fmla="*/ 401579 w 1609516"/>
              <a:gd name="csY929" fmla="*/ 238784 h 1538630"/>
              <a:gd name="csX930" fmla="*/ 404215 w 1609516"/>
              <a:gd name="csY930" fmla="*/ 239753 h 1538630"/>
              <a:gd name="csX931" fmla="*/ 417811 w 1609516"/>
              <a:gd name="csY931" fmla="*/ 251996 h 1538630"/>
              <a:gd name="csX932" fmla="*/ 426866 w 1609516"/>
              <a:gd name="csY932" fmla="*/ 262300 h 1538630"/>
              <a:gd name="csX933" fmla="*/ 450097 w 1609516"/>
              <a:gd name="csY933" fmla="*/ 287628 h 1538630"/>
              <a:gd name="csX934" fmla="*/ 457425 w 1609516"/>
              <a:gd name="csY934" fmla="*/ 293920 h 1538630"/>
              <a:gd name="csX935" fmla="*/ 460940 w 1609516"/>
              <a:gd name="csY935" fmla="*/ 296562 h 1538630"/>
              <a:gd name="csX936" fmla="*/ 460940 w 1609516"/>
              <a:gd name="csY936" fmla="*/ 300790 h 1538630"/>
              <a:gd name="csX937" fmla="*/ 473437 w 1609516"/>
              <a:gd name="csY937" fmla="*/ 305018 h 1538630"/>
              <a:gd name="csX938" fmla="*/ 473437 w 1609516"/>
              <a:gd name="csY938" fmla="*/ 307836 h 1538630"/>
              <a:gd name="csX939" fmla="*/ 479881 w 1609516"/>
              <a:gd name="csY939" fmla="*/ 309862 h 1538630"/>
              <a:gd name="csX940" fmla="*/ 483505 w 1609516"/>
              <a:gd name="csY940" fmla="*/ 311001 h 1538630"/>
              <a:gd name="csX941" fmla="*/ 548419 w 1609516"/>
              <a:gd name="csY941" fmla="*/ 306427 h 1538630"/>
              <a:gd name="csX942" fmla="*/ 551842 w 1609516"/>
              <a:gd name="csY942" fmla="*/ 305127 h 1538630"/>
              <a:gd name="csX943" fmla="*/ 560232 w 1609516"/>
              <a:gd name="csY943" fmla="*/ 298148 h 1538630"/>
              <a:gd name="csX944" fmla="*/ 562972 w 1609516"/>
              <a:gd name="csY944" fmla="*/ 295252 h 1538630"/>
              <a:gd name="csX945" fmla="*/ 568086 w 1609516"/>
              <a:gd name="csY945" fmla="*/ 289152 h 1538630"/>
              <a:gd name="csX946" fmla="*/ 570289 w 1609516"/>
              <a:gd name="csY946" fmla="*/ 286697 h 1538630"/>
              <a:gd name="csX947" fmla="*/ 573413 w 1609516"/>
              <a:gd name="csY947" fmla="*/ 286697 h 1538630"/>
              <a:gd name="csX948" fmla="*/ 577220 w 1609516"/>
              <a:gd name="csY948" fmla="*/ 257016 h 1538630"/>
              <a:gd name="csX949" fmla="*/ 577235 w 1609516"/>
              <a:gd name="csY949" fmla="*/ 254206 h 1538630"/>
              <a:gd name="csX950" fmla="*/ 569443 w 1609516"/>
              <a:gd name="csY950" fmla="*/ 206049 h 1538630"/>
              <a:gd name="csX951" fmla="*/ 568726 w 1609516"/>
              <a:gd name="csY951" fmla="*/ 200735 h 1538630"/>
              <a:gd name="csX952" fmla="*/ 565602 w 1609516"/>
              <a:gd name="csY952" fmla="*/ 200735 h 1538630"/>
              <a:gd name="csX953" fmla="*/ 559549 w 1609516"/>
              <a:gd name="csY953" fmla="*/ 184441 h 1538630"/>
              <a:gd name="csX954" fmla="*/ 537484 w 1609516"/>
              <a:gd name="csY954" fmla="*/ 159867 h 1538630"/>
              <a:gd name="csX955" fmla="*/ 531235 w 1609516"/>
              <a:gd name="csY955" fmla="*/ 154230 h 1538630"/>
              <a:gd name="csX956" fmla="*/ 531235 w 1609516"/>
              <a:gd name="csY956" fmla="*/ 151412 h 1538630"/>
              <a:gd name="csX957" fmla="*/ 526549 w 1609516"/>
              <a:gd name="csY957" fmla="*/ 150003 h 1538630"/>
              <a:gd name="csX958" fmla="*/ 524304 w 1609516"/>
              <a:gd name="csY958" fmla="*/ 107198 h 1538630"/>
              <a:gd name="csX959" fmla="*/ 547052 w 1609516"/>
              <a:gd name="csY959" fmla="*/ 85972 h 1538630"/>
              <a:gd name="csX960" fmla="*/ 588460 w 1609516"/>
              <a:gd name="csY960" fmla="*/ 83538 h 1538630"/>
              <a:gd name="csX961" fmla="*/ 617152 w 1609516"/>
              <a:gd name="csY961" fmla="*/ 111954 h 1538630"/>
              <a:gd name="csX962" fmla="*/ 617884 w 1609516"/>
              <a:gd name="csY962" fmla="*/ 124175 h 1538630"/>
              <a:gd name="csX963" fmla="*/ 617917 w 1609516"/>
              <a:gd name="csY963" fmla="*/ 127607 h 1538630"/>
              <a:gd name="csX964" fmla="*/ 617919 w 1609516"/>
              <a:gd name="csY964" fmla="*/ 141969 h 1538630"/>
              <a:gd name="csX965" fmla="*/ 630625 w 1609516"/>
              <a:gd name="csY965" fmla="*/ 191311 h 1538630"/>
              <a:gd name="csX966" fmla="*/ 637850 w 1609516"/>
              <a:gd name="csY966" fmla="*/ 205139 h 1538630"/>
              <a:gd name="csX967" fmla="*/ 643708 w 1609516"/>
              <a:gd name="csY967" fmla="*/ 212009 h 1538630"/>
              <a:gd name="csX968" fmla="*/ 647027 w 1609516"/>
              <a:gd name="csY968" fmla="*/ 217645 h 1538630"/>
              <a:gd name="csX969" fmla="*/ 670264 w 1609516"/>
              <a:gd name="csY969" fmla="*/ 241603 h 1538630"/>
              <a:gd name="csX970" fmla="*/ 670264 w 1609516"/>
              <a:gd name="csY970" fmla="*/ 244421 h 1538630"/>
              <a:gd name="csX971" fmla="*/ 675634 w 1609516"/>
              <a:gd name="csY971" fmla="*/ 245742 h 1538630"/>
              <a:gd name="csX972" fmla="*/ 682761 w 1609516"/>
              <a:gd name="csY972" fmla="*/ 248649 h 1538630"/>
              <a:gd name="csX973" fmla="*/ 752092 w 1609516"/>
              <a:gd name="csY973" fmla="*/ 245076 h 1538630"/>
              <a:gd name="csX974" fmla="*/ 758433 w 1609516"/>
              <a:gd name="csY974" fmla="*/ 240485 h 1538630"/>
              <a:gd name="csX975" fmla="*/ 763991 w 1609516"/>
              <a:gd name="csY975" fmla="*/ 238784 h 1538630"/>
              <a:gd name="csX976" fmla="*/ 765315 w 1609516"/>
              <a:gd name="csY976" fmla="*/ 235778 h 1538630"/>
              <a:gd name="csX977" fmla="*/ 770923 w 1609516"/>
              <a:gd name="csY977" fmla="*/ 223459 h 1538630"/>
              <a:gd name="csX978" fmla="*/ 772998 w 1609516"/>
              <a:gd name="csY978" fmla="*/ 218934 h 1538630"/>
              <a:gd name="csX979" fmla="*/ 777562 w 1609516"/>
              <a:gd name="csY979" fmla="*/ 209895 h 1538630"/>
              <a:gd name="csX980" fmla="*/ 781175 w 1609516"/>
              <a:gd name="csY980" fmla="*/ 124637 h 1538630"/>
              <a:gd name="csX981" fmla="*/ 778051 w 1609516"/>
              <a:gd name="csY981" fmla="*/ 124637 h 1538630"/>
              <a:gd name="csX982" fmla="*/ 767116 w 1609516"/>
              <a:gd name="csY982" fmla="*/ 79542 h 1538630"/>
              <a:gd name="csX983" fmla="*/ 793379 w 1609516"/>
              <a:gd name="csY983" fmla="*/ 54000 h 1538630"/>
              <a:gd name="csX984" fmla="*/ 840688 w 1609516"/>
              <a:gd name="csY984" fmla="*/ 55503 h 1538630"/>
              <a:gd name="csX985" fmla="*/ 851470 w 1609516"/>
              <a:gd name="csY985" fmla="*/ 64040 h 1538630"/>
              <a:gd name="csX986" fmla="*/ 853997 w 1609516"/>
              <a:gd name="csY986" fmla="*/ 66529 h 1538630"/>
              <a:gd name="csX987" fmla="*/ 861488 w 1609516"/>
              <a:gd name="csY987" fmla="*/ 82057 h 1538630"/>
              <a:gd name="csX988" fmla="*/ 861937 w 1609516"/>
              <a:gd name="csY988" fmla="*/ 90492 h 1538630"/>
              <a:gd name="csX989" fmla="*/ 863826 w 1609516"/>
              <a:gd name="csY989" fmla="*/ 100715 h 1538630"/>
              <a:gd name="csX990" fmla="*/ 857577 w 1609516"/>
              <a:gd name="csY990" fmla="*/ 121853 h 1538630"/>
              <a:gd name="csX991" fmla="*/ 856015 w 1609516"/>
              <a:gd name="csY991" fmla="*/ 121853 h 1538630"/>
              <a:gd name="csX992" fmla="*/ 855442 w 1609516"/>
              <a:gd name="csY992" fmla="*/ 118919 h 1538630"/>
              <a:gd name="csX993" fmla="*/ 855417 w 1609516"/>
              <a:gd name="csY993" fmla="*/ 118798 h 1538630"/>
              <a:gd name="csX994" fmla="*/ 856157 w 1609516"/>
              <a:gd name="csY994" fmla="*/ 124637 h 1538630"/>
              <a:gd name="csX995" fmla="*/ 850623 w 1609516"/>
              <a:gd name="csY995" fmla="*/ 134701 h 1538630"/>
              <a:gd name="csX996" fmla="*/ 851325 w 1609516"/>
              <a:gd name="csY996" fmla="*/ 135968 h 1538630"/>
              <a:gd name="csX997" fmla="*/ 849886 w 1609516"/>
              <a:gd name="csY997" fmla="*/ 139843 h 1538630"/>
              <a:gd name="csX998" fmla="*/ 847786 w 1609516"/>
              <a:gd name="csY998" fmla="*/ 152889 h 1538630"/>
              <a:gd name="csX999" fmla="*/ 847767 w 1609516"/>
              <a:gd name="csY999" fmla="*/ 157768 h 1538630"/>
              <a:gd name="csX1000" fmla="*/ 847810 w 1609516"/>
              <a:gd name="csY1000" fmla="*/ 162919 h 1538630"/>
              <a:gd name="csX1001" fmla="*/ 847832 w 1609516"/>
              <a:gd name="csY1001" fmla="*/ 168227 h 1538630"/>
              <a:gd name="csX1002" fmla="*/ 850903 w 1609516"/>
              <a:gd name="csY1002" fmla="*/ 209013 h 1538630"/>
              <a:gd name="csX1003" fmla="*/ 852880 w 1609516"/>
              <a:gd name="csY1003" fmla="*/ 224692 h 1538630"/>
              <a:gd name="csX1004" fmla="*/ 854595 w 1609516"/>
              <a:gd name="csY1004" fmla="*/ 224692 h 1538630"/>
              <a:gd name="csX1005" fmla="*/ 856083 w 1609516"/>
              <a:gd name="csY1005" fmla="*/ 227268 h 1538630"/>
              <a:gd name="csX1006" fmla="*/ 879588 w 1609516"/>
              <a:gd name="csY1006" fmla="*/ 247239 h 1538630"/>
              <a:gd name="csX1007" fmla="*/ 885739 w 1609516"/>
              <a:gd name="csY1007" fmla="*/ 249618 h 1538630"/>
              <a:gd name="csX1008" fmla="*/ 890523 w 1609516"/>
              <a:gd name="csY1008" fmla="*/ 251467 h 1538630"/>
              <a:gd name="csX1009" fmla="*/ 890523 w 1609516"/>
              <a:gd name="csY1009" fmla="*/ 254285 h 1538630"/>
              <a:gd name="csX1010" fmla="*/ 920203 w 1609516"/>
              <a:gd name="csY1010" fmla="*/ 261332 h 1538630"/>
              <a:gd name="csX1011" fmla="*/ 920203 w 1609516"/>
              <a:gd name="csY1011" fmla="*/ 262741 h 1538630"/>
              <a:gd name="csX1012" fmla="*/ 910831 w 1609516"/>
              <a:gd name="csY1012" fmla="*/ 262741 h 1538630"/>
              <a:gd name="csX1013" fmla="*/ 910831 w 1609516"/>
              <a:gd name="csY1013" fmla="*/ 262864 h 1538630"/>
              <a:gd name="csX1014" fmla="*/ 927993 w 1609516"/>
              <a:gd name="csY1014" fmla="*/ 264177 h 1538630"/>
              <a:gd name="csX1015" fmla="*/ 939273 w 1609516"/>
              <a:gd name="csY1015" fmla="*/ 265285 h 1538630"/>
              <a:gd name="csX1016" fmla="*/ 940456 w 1609516"/>
              <a:gd name="csY1016" fmla="*/ 265191 h 1538630"/>
              <a:gd name="csX1017" fmla="*/ 991622 w 1609516"/>
              <a:gd name="csY1017" fmla="*/ 242329 h 1538630"/>
              <a:gd name="csX1018" fmla="*/ 1000803 w 1609516"/>
              <a:gd name="csY1018" fmla="*/ 236505 h 1538630"/>
              <a:gd name="csX1019" fmla="*/ 999806 w 1609516"/>
              <a:gd name="csY1019" fmla="*/ 236055 h 1538630"/>
              <a:gd name="csX1020" fmla="*/ 1003126 w 1609516"/>
              <a:gd name="csY1020" fmla="*/ 232851 h 1538630"/>
              <a:gd name="csX1021" fmla="*/ 1029487 w 1609516"/>
              <a:gd name="csY1021" fmla="*/ 205052 h 1538630"/>
              <a:gd name="csX1022" fmla="*/ 1029872 w 1609516"/>
              <a:gd name="csY1022" fmla="*/ 206442 h 1538630"/>
              <a:gd name="csX1023" fmla="*/ 1031614 w 1609516"/>
              <a:gd name="csY1023" fmla="*/ 203719 h 1538630"/>
              <a:gd name="csX1024" fmla="*/ 1038924 w 1609516"/>
              <a:gd name="csY1024" fmla="*/ 192280 h 1538630"/>
              <a:gd name="csX1025" fmla="*/ 1042049 w 1609516"/>
              <a:gd name="csY1025" fmla="*/ 190870 h 1538630"/>
              <a:gd name="csX1026" fmla="*/ 1044294 w 1609516"/>
              <a:gd name="csY1026" fmla="*/ 186026 h 1538630"/>
              <a:gd name="csX1027" fmla="*/ 1051422 w 1609516"/>
              <a:gd name="csY1027" fmla="*/ 178188 h 1538630"/>
              <a:gd name="csX1028" fmla="*/ 1052984 w 1609516"/>
              <a:gd name="csY1028" fmla="*/ 172551 h 1538630"/>
              <a:gd name="csX1029" fmla="*/ 1056108 w 1609516"/>
              <a:gd name="csY1029" fmla="*/ 172551 h 1538630"/>
              <a:gd name="csX1030" fmla="*/ 1059232 w 1609516"/>
              <a:gd name="csY1030" fmla="*/ 162686 h 1538630"/>
              <a:gd name="csX1031" fmla="*/ 1062357 w 1609516"/>
              <a:gd name="csY1031" fmla="*/ 162686 h 1538630"/>
              <a:gd name="csX1032" fmla="*/ 1063162 w 1609516"/>
              <a:gd name="csY1032" fmla="*/ 160258 h 1538630"/>
              <a:gd name="csX1033" fmla="*/ 1073292 w 1609516"/>
              <a:gd name="csY1033" fmla="*/ 140138 h 1538630"/>
              <a:gd name="csX1034" fmla="*/ 1076415 w 1609516"/>
              <a:gd name="csY1034" fmla="*/ 140138 h 1538630"/>
              <a:gd name="csX1035" fmla="*/ 1085294 w 1609516"/>
              <a:gd name="csY1035" fmla="*/ 117569 h 1538630"/>
              <a:gd name="csX1036" fmla="*/ 1087350 w 1609516"/>
              <a:gd name="csY1036" fmla="*/ 113363 h 1538630"/>
              <a:gd name="csX1037" fmla="*/ 1092037 w 1609516"/>
              <a:gd name="csY1037" fmla="*/ 111954 h 1538630"/>
              <a:gd name="csX1038" fmla="*/ 1092623 w 1609516"/>
              <a:gd name="csY1038" fmla="*/ 108695 h 1538630"/>
              <a:gd name="csX1039" fmla="*/ 1096723 w 1609516"/>
              <a:gd name="csY1039" fmla="*/ 100680 h 1538630"/>
              <a:gd name="csX1040" fmla="*/ 1098188 w 1609516"/>
              <a:gd name="csY1040" fmla="*/ 96013 h 1538630"/>
              <a:gd name="csX1041" fmla="*/ 1102288 w 1609516"/>
              <a:gd name="csY1041" fmla="*/ 87029 h 1538630"/>
              <a:gd name="csX1042" fmla="*/ 1104534 w 1609516"/>
              <a:gd name="csY1042" fmla="*/ 61222 h 1538630"/>
              <a:gd name="csX1043" fmla="*/ 1104381 w 1609516"/>
              <a:gd name="csY1043" fmla="*/ 55569 h 1538630"/>
              <a:gd name="csX1044" fmla="*/ 1104397 w 1609516"/>
              <a:gd name="csY1044" fmla="*/ 52335 h 1538630"/>
              <a:gd name="csX1045" fmla="*/ 1104436 w 1609516"/>
              <a:gd name="csY1045" fmla="*/ 48979 h 1538630"/>
              <a:gd name="csX1046" fmla="*/ 1104457 w 1609516"/>
              <a:gd name="csY1046" fmla="*/ 45575 h 1538630"/>
              <a:gd name="csX1047" fmla="*/ 1104534 w 1609516"/>
              <a:gd name="csY1047" fmla="*/ 37265 h 1538630"/>
              <a:gd name="csX1048" fmla="*/ 1107658 w 1609516"/>
              <a:gd name="csY1048" fmla="*/ 37265 h 1538630"/>
              <a:gd name="csX1049" fmla="*/ 1107463 w 1609516"/>
              <a:gd name="csY1049" fmla="*/ 31805 h 1538630"/>
              <a:gd name="csX1050" fmla="*/ 1107658 w 1609516"/>
              <a:gd name="csY1050" fmla="*/ 25991 h 1538630"/>
              <a:gd name="csX1051" fmla="*/ 1110782 w 1609516"/>
              <a:gd name="csY1051" fmla="*/ 23173 h 1538630"/>
              <a:gd name="csX1052" fmla="*/ 1111759 w 1609516"/>
              <a:gd name="csY1052" fmla="*/ 20091 h 1538630"/>
              <a:gd name="csX1053" fmla="*/ 1134507 w 1609516"/>
              <a:gd name="csY1053" fmla="*/ 2828 h 1538630"/>
              <a:gd name="csX1054" fmla="*/ 1155019 w 1609516"/>
              <a:gd name="csY1054" fmla="*/ 35 h 153863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  <a:cxn ang="0">
                <a:pos x="csX170" y="csY170"/>
              </a:cxn>
              <a:cxn ang="0">
                <a:pos x="csX171" y="csY171"/>
              </a:cxn>
              <a:cxn ang="0">
                <a:pos x="csX172" y="csY172"/>
              </a:cxn>
              <a:cxn ang="0">
                <a:pos x="csX173" y="csY173"/>
              </a:cxn>
              <a:cxn ang="0">
                <a:pos x="csX174" y="csY174"/>
              </a:cxn>
              <a:cxn ang="0">
                <a:pos x="csX175" y="csY175"/>
              </a:cxn>
              <a:cxn ang="0">
                <a:pos x="csX176" y="csY176"/>
              </a:cxn>
              <a:cxn ang="0">
                <a:pos x="csX177" y="csY177"/>
              </a:cxn>
              <a:cxn ang="0">
                <a:pos x="csX178" y="csY178"/>
              </a:cxn>
              <a:cxn ang="0">
                <a:pos x="csX179" y="csY179"/>
              </a:cxn>
              <a:cxn ang="0">
                <a:pos x="csX180" y="csY180"/>
              </a:cxn>
              <a:cxn ang="0">
                <a:pos x="csX181" y="csY181"/>
              </a:cxn>
              <a:cxn ang="0">
                <a:pos x="csX182" y="csY182"/>
              </a:cxn>
              <a:cxn ang="0">
                <a:pos x="csX183" y="csY183"/>
              </a:cxn>
              <a:cxn ang="0">
                <a:pos x="csX184" y="csY184"/>
              </a:cxn>
              <a:cxn ang="0">
                <a:pos x="csX185" y="csY185"/>
              </a:cxn>
              <a:cxn ang="0">
                <a:pos x="csX186" y="csY186"/>
              </a:cxn>
              <a:cxn ang="0">
                <a:pos x="csX187" y="csY187"/>
              </a:cxn>
              <a:cxn ang="0">
                <a:pos x="csX188" y="csY188"/>
              </a:cxn>
              <a:cxn ang="0">
                <a:pos x="csX189" y="csY189"/>
              </a:cxn>
              <a:cxn ang="0">
                <a:pos x="csX190" y="csY190"/>
              </a:cxn>
              <a:cxn ang="0">
                <a:pos x="csX191" y="csY191"/>
              </a:cxn>
              <a:cxn ang="0">
                <a:pos x="csX192" y="csY192"/>
              </a:cxn>
              <a:cxn ang="0">
                <a:pos x="csX193" y="csY193"/>
              </a:cxn>
              <a:cxn ang="0">
                <a:pos x="csX194" y="csY194"/>
              </a:cxn>
              <a:cxn ang="0">
                <a:pos x="csX195" y="csY195"/>
              </a:cxn>
              <a:cxn ang="0">
                <a:pos x="csX196" y="csY196"/>
              </a:cxn>
              <a:cxn ang="0">
                <a:pos x="csX197" y="csY197"/>
              </a:cxn>
              <a:cxn ang="0">
                <a:pos x="csX198" y="csY198"/>
              </a:cxn>
              <a:cxn ang="0">
                <a:pos x="csX199" y="csY199"/>
              </a:cxn>
              <a:cxn ang="0">
                <a:pos x="csX200" y="csY200"/>
              </a:cxn>
              <a:cxn ang="0">
                <a:pos x="csX201" y="csY201"/>
              </a:cxn>
              <a:cxn ang="0">
                <a:pos x="csX202" y="csY202"/>
              </a:cxn>
              <a:cxn ang="0">
                <a:pos x="csX203" y="csY203"/>
              </a:cxn>
              <a:cxn ang="0">
                <a:pos x="csX204" y="csY204"/>
              </a:cxn>
              <a:cxn ang="0">
                <a:pos x="csX205" y="csY205"/>
              </a:cxn>
              <a:cxn ang="0">
                <a:pos x="csX206" y="csY206"/>
              </a:cxn>
              <a:cxn ang="0">
                <a:pos x="csX207" y="csY207"/>
              </a:cxn>
              <a:cxn ang="0">
                <a:pos x="csX208" y="csY208"/>
              </a:cxn>
              <a:cxn ang="0">
                <a:pos x="csX209" y="csY209"/>
              </a:cxn>
              <a:cxn ang="0">
                <a:pos x="csX210" y="csY210"/>
              </a:cxn>
              <a:cxn ang="0">
                <a:pos x="csX211" y="csY211"/>
              </a:cxn>
              <a:cxn ang="0">
                <a:pos x="csX212" y="csY212"/>
              </a:cxn>
              <a:cxn ang="0">
                <a:pos x="csX213" y="csY213"/>
              </a:cxn>
              <a:cxn ang="0">
                <a:pos x="csX214" y="csY214"/>
              </a:cxn>
              <a:cxn ang="0">
                <a:pos x="csX215" y="csY215"/>
              </a:cxn>
              <a:cxn ang="0">
                <a:pos x="csX216" y="csY216"/>
              </a:cxn>
              <a:cxn ang="0">
                <a:pos x="csX217" y="csY217"/>
              </a:cxn>
              <a:cxn ang="0">
                <a:pos x="csX218" y="csY218"/>
              </a:cxn>
              <a:cxn ang="0">
                <a:pos x="csX219" y="csY219"/>
              </a:cxn>
              <a:cxn ang="0">
                <a:pos x="csX220" y="csY220"/>
              </a:cxn>
              <a:cxn ang="0">
                <a:pos x="csX221" y="csY221"/>
              </a:cxn>
              <a:cxn ang="0">
                <a:pos x="csX222" y="csY222"/>
              </a:cxn>
              <a:cxn ang="0">
                <a:pos x="csX223" y="csY223"/>
              </a:cxn>
              <a:cxn ang="0">
                <a:pos x="csX224" y="csY224"/>
              </a:cxn>
              <a:cxn ang="0">
                <a:pos x="csX225" y="csY225"/>
              </a:cxn>
              <a:cxn ang="0">
                <a:pos x="csX226" y="csY226"/>
              </a:cxn>
              <a:cxn ang="0">
                <a:pos x="csX227" y="csY227"/>
              </a:cxn>
              <a:cxn ang="0">
                <a:pos x="csX228" y="csY228"/>
              </a:cxn>
              <a:cxn ang="0">
                <a:pos x="csX229" y="csY229"/>
              </a:cxn>
              <a:cxn ang="0">
                <a:pos x="csX230" y="csY230"/>
              </a:cxn>
              <a:cxn ang="0">
                <a:pos x="csX231" y="csY231"/>
              </a:cxn>
              <a:cxn ang="0">
                <a:pos x="csX232" y="csY232"/>
              </a:cxn>
              <a:cxn ang="0">
                <a:pos x="csX233" y="csY233"/>
              </a:cxn>
              <a:cxn ang="0">
                <a:pos x="csX234" y="csY234"/>
              </a:cxn>
              <a:cxn ang="0">
                <a:pos x="csX235" y="csY235"/>
              </a:cxn>
              <a:cxn ang="0">
                <a:pos x="csX236" y="csY236"/>
              </a:cxn>
              <a:cxn ang="0">
                <a:pos x="csX237" y="csY237"/>
              </a:cxn>
              <a:cxn ang="0">
                <a:pos x="csX238" y="csY238"/>
              </a:cxn>
              <a:cxn ang="0">
                <a:pos x="csX239" y="csY239"/>
              </a:cxn>
              <a:cxn ang="0">
                <a:pos x="csX240" y="csY240"/>
              </a:cxn>
              <a:cxn ang="0">
                <a:pos x="csX241" y="csY241"/>
              </a:cxn>
              <a:cxn ang="0">
                <a:pos x="csX242" y="csY242"/>
              </a:cxn>
              <a:cxn ang="0">
                <a:pos x="csX243" y="csY243"/>
              </a:cxn>
              <a:cxn ang="0">
                <a:pos x="csX244" y="csY244"/>
              </a:cxn>
              <a:cxn ang="0">
                <a:pos x="csX245" y="csY245"/>
              </a:cxn>
              <a:cxn ang="0">
                <a:pos x="csX246" y="csY246"/>
              </a:cxn>
              <a:cxn ang="0">
                <a:pos x="csX247" y="csY247"/>
              </a:cxn>
              <a:cxn ang="0">
                <a:pos x="csX248" y="csY248"/>
              </a:cxn>
              <a:cxn ang="0">
                <a:pos x="csX249" y="csY249"/>
              </a:cxn>
              <a:cxn ang="0">
                <a:pos x="csX250" y="csY250"/>
              </a:cxn>
              <a:cxn ang="0">
                <a:pos x="csX251" y="csY251"/>
              </a:cxn>
              <a:cxn ang="0">
                <a:pos x="csX252" y="csY252"/>
              </a:cxn>
              <a:cxn ang="0">
                <a:pos x="csX253" y="csY253"/>
              </a:cxn>
              <a:cxn ang="0">
                <a:pos x="csX254" y="csY254"/>
              </a:cxn>
              <a:cxn ang="0">
                <a:pos x="csX255" y="csY255"/>
              </a:cxn>
              <a:cxn ang="0">
                <a:pos x="csX256" y="csY256"/>
              </a:cxn>
              <a:cxn ang="0">
                <a:pos x="csX257" y="csY257"/>
              </a:cxn>
              <a:cxn ang="0">
                <a:pos x="csX258" y="csY258"/>
              </a:cxn>
              <a:cxn ang="0">
                <a:pos x="csX259" y="csY259"/>
              </a:cxn>
              <a:cxn ang="0">
                <a:pos x="csX260" y="csY260"/>
              </a:cxn>
              <a:cxn ang="0">
                <a:pos x="csX261" y="csY261"/>
              </a:cxn>
              <a:cxn ang="0">
                <a:pos x="csX262" y="csY262"/>
              </a:cxn>
              <a:cxn ang="0">
                <a:pos x="csX263" y="csY263"/>
              </a:cxn>
              <a:cxn ang="0">
                <a:pos x="csX264" y="csY264"/>
              </a:cxn>
              <a:cxn ang="0">
                <a:pos x="csX265" y="csY265"/>
              </a:cxn>
              <a:cxn ang="0">
                <a:pos x="csX266" y="csY266"/>
              </a:cxn>
              <a:cxn ang="0">
                <a:pos x="csX267" y="csY267"/>
              </a:cxn>
              <a:cxn ang="0">
                <a:pos x="csX268" y="csY268"/>
              </a:cxn>
              <a:cxn ang="0">
                <a:pos x="csX269" y="csY269"/>
              </a:cxn>
              <a:cxn ang="0">
                <a:pos x="csX270" y="csY270"/>
              </a:cxn>
              <a:cxn ang="0">
                <a:pos x="csX271" y="csY271"/>
              </a:cxn>
              <a:cxn ang="0">
                <a:pos x="csX272" y="csY272"/>
              </a:cxn>
              <a:cxn ang="0">
                <a:pos x="csX273" y="csY273"/>
              </a:cxn>
              <a:cxn ang="0">
                <a:pos x="csX274" y="csY274"/>
              </a:cxn>
              <a:cxn ang="0">
                <a:pos x="csX275" y="csY275"/>
              </a:cxn>
              <a:cxn ang="0">
                <a:pos x="csX276" y="csY276"/>
              </a:cxn>
              <a:cxn ang="0">
                <a:pos x="csX277" y="csY277"/>
              </a:cxn>
              <a:cxn ang="0">
                <a:pos x="csX278" y="csY278"/>
              </a:cxn>
              <a:cxn ang="0">
                <a:pos x="csX279" y="csY279"/>
              </a:cxn>
              <a:cxn ang="0">
                <a:pos x="csX280" y="csY280"/>
              </a:cxn>
              <a:cxn ang="0">
                <a:pos x="csX281" y="csY281"/>
              </a:cxn>
              <a:cxn ang="0">
                <a:pos x="csX282" y="csY282"/>
              </a:cxn>
              <a:cxn ang="0">
                <a:pos x="csX283" y="csY283"/>
              </a:cxn>
              <a:cxn ang="0">
                <a:pos x="csX284" y="csY284"/>
              </a:cxn>
              <a:cxn ang="0">
                <a:pos x="csX285" y="csY285"/>
              </a:cxn>
              <a:cxn ang="0">
                <a:pos x="csX286" y="csY286"/>
              </a:cxn>
              <a:cxn ang="0">
                <a:pos x="csX287" y="csY287"/>
              </a:cxn>
              <a:cxn ang="0">
                <a:pos x="csX288" y="csY288"/>
              </a:cxn>
              <a:cxn ang="0">
                <a:pos x="csX289" y="csY289"/>
              </a:cxn>
              <a:cxn ang="0">
                <a:pos x="csX290" y="csY290"/>
              </a:cxn>
              <a:cxn ang="0">
                <a:pos x="csX291" y="csY291"/>
              </a:cxn>
              <a:cxn ang="0">
                <a:pos x="csX292" y="csY292"/>
              </a:cxn>
              <a:cxn ang="0">
                <a:pos x="csX293" y="csY293"/>
              </a:cxn>
              <a:cxn ang="0">
                <a:pos x="csX294" y="csY294"/>
              </a:cxn>
              <a:cxn ang="0">
                <a:pos x="csX295" y="csY295"/>
              </a:cxn>
              <a:cxn ang="0">
                <a:pos x="csX296" y="csY296"/>
              </a:cxn>
              <a:cxn ang="0">
                <a:pos x="csX297" y="csY297"/>
              </a:cxn>
              <a:cxn ang="0">
                <a:pos x="csX298" y="csY298"/>
              </a:cxn>
              <a:cxn ang="0">
                <a:pos x="csX299" y="csY299"/>
              </a:cxn>
              <a:cxn ang="0">
                <a:pos x="csX300" y="csY300"/>
              </a:cxn>
              <a:cxn ang="0">
                <a:pos x="csX301" y="csY301"/>
              </a:cxn>
              <a:cxn ang="0">
                <a:pos x="csX302" y="csY302"/>
              </a:cxn>
              <a:cxn ang="0">
                <a:pos x="csX303" y="csY303"/>
              </a:cxn>
              <a:cxn ang="0">
                <a:pos x="csX304" y="csY304"/>
              </a:cxn>
              <a:cxn ang="0">
                <a:pos x="csX305" y="csY305"/>
              </a:cxn>
              <a:cxn ang="0">
                <a:pos x="csX306" y="csY306"/>
              </a:cxn>
              <a:cxn ang="0">
                <a:pos x="csX307" y="csY307"/>
              </a:cxn>
              <a:cxn ang="0">
                <a:pos x="csX308" y="csY308"/>
              </a:cxn>
              <a:cxn ang="0">
                <a:pos x="csX309" y="csY309"/>
              </a:cxn>
              <a:cxn ang="0">
                <a:pos x="csX310" y="csY310"/>
              </a:cxn>
              <a:cxn ang="0">
                <a:pos x="csX311" y="csY311"/>
              </a:cxn>
              <a:cxn ang="0">
                <a:pos x="csX312" y="csY312"/>
              </a:cxn>
              <a:cxn ang="0">
                <a:pos x="csX313" y="csY313"/>
              </a:cxn>
              <a:cxn ang="0">
                <a:pos x="csX314" y="csY314"/>
              </a:cxn>
              <a:cxn ang="0">
                <a:pos x="csX315" y="csY315"/>
              </a:cxn>
              <a:cxn ang="0">
                <a:pos x="csX316" y="csY316"/>
              </a:cxn>
              <a:cxn ang="0">
                <a:pos x="csX317" y="csY317"/>
              </a:cxn>
              <a:cxn ang="0">
                <a:pos x="csX318" y="csY318"/>
              </a:cxn>
              <a:cxn ang="0">
                <a:pos x="csX319" y="csY319"/>
              </a:cxn>
              <a:cxn ang="0">
                <a:pos x="csX320" y="csY320"/>
              </a:cxn>
              <a:cxn ang="0">
                <a:pos x="csX321" y="csY321"/>
              </a:cxn>
              <a:cxn ang="0">
                <a:pos x="csX322" y="csY322"/>
              </a:cxn>
              <a:cxn ang="0">
                <a:pos x="csX323" y="csY323"/>
              </a:cxn>
              <a:cxn ang="0">
                <a:pos x="csX324" y="csY324"/>
              </a:cxn>
              <a:cxn ang="0">
                <a:pos x="csX325" y="csY325"/>
              </a:cxn>
              <a:cxn ang="0">
                <a:pos x="csX326" y="csY326"/>
              </a:cxn>
              <a:cxn ang="0">
                <a:pos x="csX327" y="csY327"/>
              </a:cxn>
              <a:cxn ang="0">
                <a:pos x="csX328" y="csY328"/>
              </a:cxn>
              <a:cxn ang="0">
                <a:pos x="csX329" y="csY329"/>
              </a:cxn>
              <a:cxn ang="0">
                <a:pos x="csX330" y="csY330"/>
              </a:cxn>
              <a:cxn ang="0">
                <a:pos x="csX331" y="csY331"/>
              </a:cxn>
              <a:cxn ang="0">
                <a:pos x="csX332" y="csY332"/>
              </a:cxn>
              <a:cxn ang="0">
                <a:pos x="csX333" y="csY333"/>
              </a:cxn>
              <a:cxn ang="0">
                <a:pos x="csX334" y="csY334"/>
              </a:cxn>
              <a:cxn ang="0">
                <a:pos x="csX335" y="csY335"/>
              </a:cxn>
              <a:cxn ang="0">
                <a:pos x="csX336" y="csY336"/>
              </a:cxn>
              <a:cxn ang="0">
                <a:pos x="csX337" y="csY337"/>
              </a:cxn>
              <a:cxn ang="0">
                <a:pos x="csX338" y="csY338"/>
              </a:cxn>
              <a:cxn ang="0">
                <a:pos x="csX339" y="csY339"/>
              </a:cxn>
              <a:cxn ang="0">
                <a:pos x="csX340" y="csY340"/>
              </a:cxn>
              <a:cxn ang="0">
                <a:pos x="csX341" y="csY341"/>
              </a:cxn>
              <a:cxn ang="0">
                <a:pos x="csX342" y="csY342"/>
              </a:cxn>
              <a:cxn ang="0">
                <a:pos x="csX343" y="csY343"/>
              </a:cxn>
              <a:cxn ang="0">
                <a:pos x="csX344" y="csY344"/>
              </a:cxn>
              <a:cxn ang="0">
                <a:pos x="csX345" y="csY345"/>
              </a:cxn>
              <a:cxn ang="0">
                <a:pos x="csX346" y="csY346"/>
              </a:cxn>
              <a:cxn ang="0">
                <a:pos x="csX347" y="csY347"/>
              </a:cxn>
              <a:cxn ang="0">
                <a:pos x="csX348" y="csY348"/>
              </a:cxn>
              <a:cxn ang="0">
                <a:pos x="csX349" y="csY349"/>
              </a:cxn>
              <a:cxn ang="0">
                <a:pos x="csX350" y="csY350"/>
              </a:cxn>
              <a:cxn ang="0">
                <a:pos x="csX351" y="csY351"/>
              </a:cxn>
              <a:cxn ang="0">
                <a:pos x="csX352" y="csY352"/>
              </a:cxn>
              <a:cxn ang="0">
                <a:pos x="csX353" y="csY353"/>
              </a:cxn>
              <a:cxn ang="0">
                <a:pos x="csX354" y="csY354"/>
              </a:cxn>
              <a:cxn ang="0">
                <a:pos x="csX355" y="csY355"/>
              </a:cxn>
              <a:cxn ang="0">
                <a:pos x="csX356" y="csY356"/>
              </a:cxn>
              <a:cxn ang="0">
                <a:pos x="csX357" y="csY357"/>
              </a:cxn>
              <a:cxn ang="0">
                <a:pos x="csX358" y="csY358"/>
              </a:cxn>
              <a:cxn ang="0">
                <a:pos x="csX359" y="csY359"/>
              </a:cxn>
              <a:cxn ang="0">
                <a:pos x="csX360" y="csY360"/>
              </a:cxn>
              <a:cxn ang="0">
                <a:pos x="csX361" y="csY361"/>
              </a:cxn>
              <a:cxn ang="0">
                <a:pos x="csX362" y="csY362"/>
              </a:cxn>
              <a:cxn ang="0">
                <a:pos x="csX363" y="csY363"/>
              </a:cxn>
              <a:cxn ang="0">
                <a:pos x="csX364" y="csY364"/>
              </a:cxn>
              <a:cxn ang="0">
                <a:pos x="csX365" y="csY365"/>
              </a:cxn>
              <a:cxn ang="0">
                <a:pos x="csX366" y="csY366"/>
              </a:cxn>
              <a:cxn ang="0">
                <a:pos x="csX367" y="csY367"/>
              </a:cxn>
              <a:cxn ang="0">
                <a:pos x="csX368" y="csY368"/>
              </a:cxn>
              <a:cxn ang="0">
                <a:pos x="csX369" y="csY369"/>
              </a:cxn>
              <a:cxn ang="0">
                <a:pos x="csX370" y="csY370"/>
              </a:cxn>
              <a:cxn ang="0">
                <a:pos x="csX371" y="csY371"/>
              </a:cxn>
              <a:cxn ang="0">
                <a:pos x="csX372" y="csY372"/>
              </a:cxn>
              <a:cxn ang="0">
                <a:pos x="csX373" y="csY373"/>
              </a:cxn>
              <a:cxn ang="0">
                <a:pos x="csX374" y="csY374"/>
              </a:cxn>
              <a:cxn ang="0">
                <a:pos x="csX375" y="csY375"/>
              </a:cxn>
              <a:cxn ang="0">
                <a:pos x="csX376" y="csY376"/>
              </a:cxn>
              <a:cxn ang="0">
                <a:pos x="csX377" y="csY377"/>
              </a:cxn>
              <a:cxn ang="0">
                <a:pos x="csX378" y="csY378"/>
              </a:cxn>
              <a:cxn ang="0">
                <a:pos x="csX379" y="csY379"/>
              </a:cxn>
              <a:cxn ang="0">
                <a:pos x="csX380" y="csY380"/>
              </a:cxn>
              <a:cxn ang="0">
                <a:pos x="csX381" y="csY381"/>
              </a:cxn>
              <a:cxn ang="0">
                <a:pos x="csX382" y="csY382"/>
              </a:cxn>
              <a:cxn ang="0">
                <a:pos x="csX383" y="csY383"/>
              </a:cxn>
              <a:cxn ang="0">
                <a:pos x="csX384" y="csY384"/>
              </a:cxn>
              <a:cxn ang="0">
                <a:pos x="csX385" y="csY385"/>
              </a:cxn>
              <a:cxn ang="0">
                <a:pos x="csX386" y="csY386"/>
              </a:cxn>
              <a:cxn ang="0">
                <a:pos x="csX387" y="csY387"/>
              </a:cxn>
              <a:cxn ang="0">
                <a:pos x="csX388" y="csY388"/>
              </a:cxn>
              <a:cxn ang="0">
                <a:pos x="csX389" y="csY389"/>
              </a:cxn>
              <a:cxn ang="0">
                <a:pos x="csX390" y="csY390"/>
              </a:cxn>
              <a:cxn ang="0">
                <a:pos x="csX391" y="csY391"/>
              </a:cxn>
              <a:cxn ang="0">
                <a:pos x="csX392" y="csY392"/>
              </a:cxn>
              <a:cxn ang="0">
                <a:pos x="csX393" y="csY393"/>
              </a:cxn>
              <a:cxn ang="0">
                <a:pos x="csX394" y="csY394"/>
              </a:cxn>
              <a:cxn ang="0">
                <a:pos x="csX395" y="csY395"/>
              </a:cxn>
              <a:cxn ang="0">
                <a:pos x="csX396" y="csY396"/>
              </a:cxn>
              <a:cxn ang="0">
                <a:pos x="csX397" y="csY397"/>
              </a:cxn>
              <a:cxn ang="0">
                <a:pos x="csX398" y="csY398"/>
              </a:cxn>
              <a:cxn ang="0">
                <a:pos x="csX399" y="csY399"/>
              </a:cxn>
              <a:cxn ang="0">
                <a:pos x="csX400" y="csY400"/>
              </a:cxn>
              <a:cxn ang="0">
                <a:pos x="csX401" y="csY401"/>
              </a:cxn>
              <a:cxn ang="0">
                <a:pos x="csX402" y="csY402"/>
              </a:cxn>
              <a:cxn ang="0">
                <a:pos x="csX403" y="csY403"/>
              </a:cxn>
              <a:cxn ang="0">
                <a:pos x="csX404" y="csY404"/>
              </a:cxn>
              <a:cxn ang="0">
                <a:pos x="csX405" y="csY405"/>
              </a:cxn>
              <a:cxn ang="0">
                <a:pos x="csX406" y="csY406"/>
              </a:cxn>
              <a:cxn ang="0">
                <a:pos x="csX407" y="csY407"/>
              </a:cxn>
              <a:cxn ang="0">
                <a:pos x="csX408" y="csY408"/>
              </a:cxn>
              <a:cxn ang="0">
                <a:pos x="csX409" y="csY409"/>
              </a:cxn>
              <a:cxn ang="0">
                <a:pos x="csX410" y="csY410"/>
              </a:cxn>
              <a:cxn ang="0">
                <a:pos x="csX411" y="csY411"/>
              </a:cxn>
              <a:cxn ang="0">
                <a:pos x="csX412" y="csY412"/>
              </a:cxn>
              <a:cxn ang="0">
                <a:pos x="csX413" y="csY413"/>
              </a:cxn>
              <a:cxn ang="0">
                <a:pos x="csX414" y="csY414"/>
              </a:cxn>
              <a:cxn ang="0">
                <a:pos x="csX415" y="csY415"/>
              </a:cxn>
              <a:cxn ang="0">
                <a:pos x="csX416" y="csY416"/>
              </a:cxn>
              <a:cxn ang="0">
                <a:pos x="csX417" y="csY417"/>
              </a:cxn>
              <a:cxn ang="0">
                <a:pos x="csX418" y="csY418"/>
              </a:cxn>
              <a:cxn ang="0">
                <a:pos x="csX419" y="csY419"/>
              </a:cxn>
              <a:cxn ang="0">
                <a:pos x="csX420" y="csY420"/>
              </a:cxn>
              <a:cxn ang="0">
                <a:pos x="csX421" y="csY421"/>
              </a:cxn>
              <a:cxn ang="0">
                <a:pos x="csX422" y="csY422"/>
              </a:cxn>
              <a:cxn ang="0">
                <a:pos x="csX423" y="csY423"/>
              </a:cxn>
              <a:cxn ang="0">
                <a:pos x="csX424" y="csY424"/>
              </a:cxn>
              <a:cxn ang="0">
                <a:pos x="csX425" y="csY425"/>
              </a:cxn>
              <a:cxn ang="0">
                <a:pos x="csX426" y="csY426"/>
              </a:cxn>
              <a:cxn ang="0">
                <a:pos x="csX427" y="csY427"/>
              </a:cxn>
              <a:cxn ang="0">
                <a:pos x="csX428" y="csY428"/>
              </a:cxn>
              <a:cxn ang="0">
                <a:pos x="csX429" y="csY429"/>
              </a:cxn>
              <a:cxn ang="0">
                <a:pos x="csX430" y="csY430"/>
              </a:cxn>
              <a:cxn ang="0">
                <a:pos x="csX431" y="csY431"/>
              </a:cxn>
              <a:cxn ang="0">
                <a:pos x="csX432" y="csY432"/>
              </a:cxn>
              <a:cxn ang="0">
                <a:pos x="csX433" y="csY433"/>
              </a:cxn>
              <a:cxn ang="0">
                <a:pos x="csX434" y="csY434"/>
              </a:cxn>
              <a:cxn ang="0">
                <a:pos x="csX435" y="csY435"/>
              </a:cxn>
              <a:cxn ang="0">
                <a:pos x="csX436" y="csY436"/>
              </a:cxn>
              <a:cxn ang="0">
                <a:pos x="csX437" y="csY437"/>
              </a:cxn>
              <a:cxn ang="0">
                <a:pos x="csX438" y="csY438"/>
              </a:cxn>
              <a:cxn ang="0">
                <a:pos x="csX439" y="csY439"/>
              </a:cxn>
              <a:cxn ang="0">
                <a:pos x="csX440" y="csY440"/>
              </a:cxn>
              <a:cxn ang="0">
                <a:pos x="csX441" y="csY441"/>
              </a:cxn>
              <a:cxn ang="0">
                <a:pos x="csX442" y="csY442"/>
              </a:cxn>
              <a:cxn ang="0">
                <a:pos x="csX443" y="csY443"/>
              </a:cxn>
              <a:cxn ang="0">
                <a:pos x="csX444" y="csY444"/>
              </a:cxn>
              <a:cxn ang="0">
                <a:pos x="csX445" y="csY445"/>
              </a:cxn>
              <a:cxn ang="0">
                <a:pos x="csX446" y="csY446"/>
              </a:cxn>
              <a:cxn ang="0">
                <a:pos x="csX447" y="csY447"/>
              </a:cxn>
              <a:cxn ang="0">
                <a:pos x="csX448" y="csY448"/>
              </a:cxn>
              <a:cxn ang="0">
                <a:pos x="csX449" y="csY449"/>
              </a:cxn>
              <a:cxn ang="0">
                <a:pos x="csX450" y="csY450"/>
              </a:cxn>
              <a:cxn ang="0">
                <a:pos x="csX451" y="csY451"/>
              </a:cxn>
              <a:cxn ang="0">
                <a:pos x="csX452" y="csY452"/>
              </a:cxn>
              <a:cxn ang="0">
                <a:pos x="csX453" y="csY453"/>
              </a:cxn>
              <a:cxn ang="0">
                <a:pos x="csX454" y="csY454"/>
              </a:cxn>
              <a:cxn ang="0">
                <a:pos x="csX455" y="csY455"/>
              </a:cxn>
              <a:cxn ang="0">
                <a:pos x="csX456" y="csY456"/>
              </a:cxn>
              <a:cxn ang="0">
                <a:pos x="csX457" y="csY457"/>
              </a:cxn>
              <a:cxn ang="0">
                <a:pos x="csX458" y="csY458"/>
              </a:cxn>
              <a:cxn ang="0">
                <a:pos x="csX459" y="csY459"/>
              </a:cxn>
              <a:cxn ang="0">
                <a:pos x="csX460" y="csY460"/>
              </a:cxn>
              <a:cxn ang="0">
                <a:pos x="csX461" y="csY461"/>
              </a:cxn>
              <a:cxn ang="0">
                <a:pos x="csX462" y="csY462"/>
              </a:cxn>
              <a:cxn ang="0">
                <a:pos x="csX463" y="csY463"/>
              </a:cxn>
              <a:cxn ang="0">
                <a:pos x="csX464" y="csY464"/>
              </a:cxn>
              <a:cxn ang="0">
                <a:pos x="csX465" y="csY465"/>
              </a:cxn>
              <a:cxn ang="0">
                <a:pos x="csX466" y="csY466"/>
              </a:cxn>
              <a:cxn ang="0">
                <a:pos x="csX467" y="csY467"/>
              </a:cxn>
              <a:cxn ang="0">
                <a:pos x="csX468" y="csY468"/>
              </a:cxn>
              <a:cxn ang="0">
                <a:pos x="csX469" y="csY469"/>
              </a:cxn>
              <a:cxn ang="0">
                <a:pos x="csX470" y="csY470"/>
              </a:cxn>
              <a:cxn ang="0">
                <a:pos x="csX471" y="csY471"/>
              </a:cxn>
              <a:cxn ang="0">
                <a:pos x="csX472" y="csY472"/>
              </a:cxn>
              <a:cxn ang="0">
                <a:pos x="csX473" y="csY473"/>
              </a:cxn>
              <a:cxn ang="0">
                <a:pos x="csX474" y="csY474"/>
              </a:cxn>
              <a:cxn ang="0">
                <a:pos x="csX475" y="csY475"/>
              </a:cxn>
              <a:cxn ang="0">
                <a:pos x="csX476" y="csY476"/>
              </a:cxn>
              <a:cxn ang="0">
                <a:pos x="csX477" y="csY477"/>
              </a:cxn>
              <a:cxn ang="0">
                <a:pos x="csX478" y="csY478"/>
              </a:cxn>
              <a:cxn ang="0">
                <a:pos x="csX479" y="csY479"/>
              </a:cxn>
              <a:cxn ang="0">
                <a:pos x="csX480" y="csY480"/>
              </a:cxn>
              <a:cxn ang="0">
                <a:pos x="csX481" y="csY481"/>
              </a:cxn>
              <a:cxn ang="0">
                <a:pos x="csX482" y="csY482"/>
              </a:cxn>
              <a:cxn ang="0">
                <a:pos x="csX483" y="csY483"/>
              </a:cxn>
              <a:cxn ang="0">
                <a:pos x="csX484" y="csY484"/>
              </a:cxn>
              <a:cxn ang="0">
                <a:pos x="csX485" y="csY485"/>
              </a:cxn>
              <a:cxn ang="0">
                <a:pos x="csX486" y="csY486"/>
              </a:cxn>
              <a:cxn ang="0">
                <a:pos x="csX487" y="csY487"/>
              </a:cxn>
              <a:cxn ang="0">
                <a:pos x="csX488" y="csY488"/>
              </a:cxn>
              <a:cxn ang="0">
                <a:pos x="csX489" y="csY489"/>
              </a:cxn>
              <a:cxn ang="0">
                <a:pos x="csX490" y="csY490"/>
              </a:cxn>
              <a:cxn ang="0">
                <a:pos x="csX491" y="csY491"/>
              </a:cxn>
              <a:cxn ang="0">
                <a:pos x="csX492" y="csY492"/>
              </a:cxn>
              <a:cxn ang="0">
                <a:pos x="csX493" y="csY493"/>
              </a:cxn>
              <a:cxn ang="0">
                <a:pos x="csX494" y="csY494"/>
              </a:cxn>
              <a:cxn ang="0">
                <a:pos x="csX495" y="csY495"/>
              </a:cxn>
              <a:cxn ang="0">
                <a:pos x="csX496" y="csY496"/>
              </a:cxn>
              <a:cxn ang="0">
                <a:pos x="csX497" y="csY497"/>
              </a:cxn>
              <a:cxn ang="0">
                <a:pos x="csX498" y="csY498"/>
              </a:cxn>
              <a:cxn ang="0">
                <a:pos x="csX499" y="csY499"/>
              </a:cxn>
              <a:cxn ang="0">
                <a:pos x="csX500" y="csY500"/>
              </a:cxn>
              <a:cxn ang="0">
                <a:pos x="csX501" y="csY501"/>
              </a:cxn>
              <a:cxn ang="0">
                <a:pos x="csX502" y="csY502"/>
              </a:cxn>
              <a:cxn ang="0">
                <a:pos x="csX503" y="csY503"/>
              </a:cxn>
              <a:cxn ang="0">
                <a:pos x="csX504" y="csY504"/>
              </a:cxn>
              <a:cxn ang="0">
                <a:pos x="csX505" y="csY505"/>
              </a:cxn>
              <a:cxn ang="0">
                <a:pos x="csX506" y="csY506"/>
              </a:cxn>
              <a:cxn ang="0">
                <a:pos x="csX507" y="csY507"/>
              </a:cxn>
              <a:cxn ang="0">
                <a:pos x="csX508" y="csY508"/>
              </a:cxn>
              <a:cxn ang="0">
                <a:pos x="csX509" y="csY509"/>
              </a:cxn>
              <a:cxn ang="0">
                <a:pos x="csX510" y="csY510"/>
              </a:cxn>
              <a:cxn ang="0">
                <a:pos x="csX511" y="csY511"/>
              </a:cxn>
              <a:cxn ang="0">
                <a:pos x="csX512" y="csY512"/>
              </a:cxn>
              <a:cxn ang="0">
                <a:pos x="csX513" y="csY513"/>
              </a:cxn>
              <a:cxn ang="0">
                <a:pos x="csX514" y="csY514"/>
              </a:cxn>
              <a:cxn ang="0">
                <a:pos x="csX515" y="csY515"/>
              </a:cxn>
              <a:cxn ang="0">
                <a:pos x="csX516" y="csY516"/>
              </a:cxn>
              <a:cxn ang="0">
                <a:pos x="csX517" y="csY517"/>
              </a:cxn>
              <a:cxn ang="0">
                <a:pos x="csX518" y="csY518"/>
              </a:cxn>
              <a:cxn ang="0">
                <a:pos x="csX519" y="csY519"/>
              </a:cxn>
              <a:cxn ang="0">
                <a:pos x="csX520" y="csY520"/>
              </a:cxn>
              <a:cxn ang="0">
                <a:pos x="csX521" y="csY521"/>
              </a:cxn>
              <a:cxn ang="0">
                <a:pos x="csX522" y="csY522"/>
              </a:cxn>
              <a:cxn ang="0">
                <a:pos x="csX523" y="csY523"/>
              </a:cxn>
              <a:cxn ang="0">
                <a:pos x="csX524" y="csY524"/>
              </a:cxn>
              <a:cxn ang="0">
                <a:pos x="csX525" y="csY525"/>
              </a:cxn>
              <a:cxn ang="0">
                <a:pos x="csX526" y="csY526"/>
              </a:cxn>
              <a:cxn ang="0">
                <a:pos x="csX527" y="csY527"/>
              </a:cxn>
              <a:cxn ang="0">
                <a:pos x="csX528" y="csY528"/>
              </a:cxn>
              <a:cxn ang="0">
                <a:pos x="csX529" y="csY529"/>
              </a:cxn>
              <a:cxn ang="0">
                <a:pos x="csX530" y="csY530"/>
              </a:cxn>
              <a:cxn ang="0">
                <a:pos x="csX531" y="csY531"/>
              </a:cxn>
              <a:cxn ang="0">
                <a:pos x="csX532" y="csY532"/>
              </a:cxn>
              <a:cxn ang="0">
                <a:pos x="csX533" y="csY533"/>
              </a:cxn>
              <a:cxn ang="0">
                <a:pos x="csX534" y="csY534"/>
              </a:cxn>
              <a:cxn ang="0">
                <a:pos x="csX535" y="csY535"/>
              </a:cxn>
              <a:cxn ang="0">
                <a:pos x="csX536" y="csY536"/>
              </a:cxn>
              <a:cxn ang="0">
                <a:pos x="csX537" y="csY537"/>
              </a:cxn>
              <a:cxn ang="0">
                <a:pos x="csX538" y="csY538"/>
              </a:cxn>
              <a:cxn ang="0">
                <a:pos x="csX539" y="csY539"/>
              </a:cxn>
              <a:cxn ang="0">
                <a:pos x="csX540" y="csY540"/>
              </a:cxn>
              <a:cxn ang="0">
                <a:pos x="csX541" y="csY541"/>
              </a:cxn>
              <a:cxn ang="0">
                <a:pos x="csX542" y="csY542"/>
              </a:cxn>
              <a:cxn ang="0">
                <a:pos x="csX543" y="csY543"/>
              </a:cxn>
              <a:cxn ang="0">
                <a:pos x="csX544" y="csY544"/>
              </a:cxn>
              <a:cxn ang="0">
                <a:pos x="csX545" y="csY545"/>
              </a:cxn>
              <a:cxn ang="0">
                <a:pos x="csX546" y="csY546"/>
              </a:cxn>
              <a:cxn ang="0">
                <a:pos x="csX547" y="csY547"/>
              </a:cxn>
              <a:cxn ang="0">
                <a:pos x="csX548" y="csY548"/>
              </a:cxn>
              <a:cxn ang="0">
                <a:pos x="csX549" y="csY549"/>
              </a:cxn>
              <a:cxn ang="0">
                <a:pos x="csX550" y="csY550"/>
              </a:cxn>
              <a:cxn ang="0">
                <a:pos x="csX551" y="csY551"/>
              </a:cxn>
              <a:cxn ang="0">
                <a:pos x="csX552" y="csY552"/>
              </a:cxn>
              <a:cxn ang="0">
                <a:pos x="csX553" y="csY553"/>
              </a:cxn>
              <a:cxn ang="0">
                <a:pos x="csX554" y="csY554"/>
              </a:cxn>
              <a:cxn ang="0">
                <a:pos x="csX555" y="csY555"/>
              </a:cxn>
              <a:cxn ang="0">
                <a:pos x="csX556" y="csY556"/>
              </a:cxn>
              <a:cxn ang="0">
                <a:pos x="csX557" y="csY557"/>
              </a:cxn>
              <a:cxn ang="0">
                <a:pos x="csX558" y="csY558"/>
              </a:cxn>
              <a:cxn ang="0">
                <a:pos x="csX559" y="csY559"/>
              </a:cxn>
              <a:cxn ang="0">
                <a:pos x="csX560" y="csY560"/>
              </a:cxn>
              <a:cxn ang="0">
                <a:pos x="csX561" y="csY561"/>
              </a:cxn>
              <a:cxn ang="0">
                <a:pos x="csX562" y="csY562"/>
              </a:cxn>
              <a:cxn ang="0">
                <a:pos x="csX563" y="csY563"/>
              </a:cxn>
              <a:cxn ang="0">
                <a:pos x="csX564" y="csY564"/>
              </a:cxn>
              <a:cxn ang="0">
                <a:pos x="csX565" y="csY565"/>
              </a:cxn>
              <a:cxn ang="0">
                <a:pos x="csX566" y="csY566"/>
              </a:cxn>
              <a:cxn ang="0">
                <a:pos x="csX567" y="csY567"/>
              </a:cxn>
              <a:cxn ang="0">
                <a:pos x="csX568" y="csY568"/>
              </a:cxn>
              <a:cxn ang="0">
                <a:pos x="csX569" y="csY569"/>
              </a:cxn>
              <a:cxn ang="0">
                <a:pos x="csX570" y="csY570"/>
              </a:cxn>
              <a:cxn ang="0">
                <a:pos x="csX571" y="csY571"/>
              </a:cxn>
              <a:cxn ang="0">
                <a:pos x="csX572" y="csY572"/>
              </a:cxn>
              <a:cxn ang="0">
                <a:pos x="csX573" y="csY573"/>
              </a:cxn>
              <a:cxn ang="0">
                <a:pos x="csX574" y="csY574"/>
              </a:cxn>
              <a:cxn ang="0">
                <a:pos x="csX575" y="csY575"/>
              </a:cxn>
              <a:cxn ang="0">
                <a:pos x="csX576" y="csY576"/>
              </a:cxn>
              <a:cxn ang="0">
                <a:pos x="csX577" y="csY577"/>
              </a:cxn>
              <a:cxn ang="0">
                <a:pos x="csX578" y="csY578"/>
              </a:cxn>
              <a:cxn ang="0">
                <a:pos x="csX579" y="csY579"/>
              </a:cxn>
              <a:cxn ang="0">
                <a:pos x="csX580" y="csY580"/>
              </a:cxn>
              <a:cxn ang="0">
                <a:pos x="csX581" y="csY581"/>
              </a:cxn>
              <a:cxn ang="0">
                <a:pos x="csX582" y="csY582"/>
              </a:cxn>
              <a:cxn ang="0">
                <a:pos x="csX583" y="csY583"/>
              </a:cxn>
              <a:cxn ang="0">
                <a:pos x="csX584" y="csY584"/>
              </a:cxn>
              <a:cxn ang="0">
                <a:pos x="csX585" y="csY585"/>
              </a:cxn>
              <a:cxn ang="0">
                <a:pos x="csX586" y="csY586"/>
              </a:cxn>
              <a:cxn ang="0">
                <a:pos x="csX587" y="csY587"/>
              </a:cxn>
              <a:cxn ang="0">
                <a:pos x="csX588" y="csY588"/>
              </a:cxn>
              <a:cxn ang="0">
                <a:pos x="csX589" y="csY589"/>
              </a:cxn>
              <a:cxn ang="0">
                <a:pos x="csX590" y="csY590"/>
              </a:cxn>
              <a:cxn ang="0">
                <a:pos x="csX591" y="csY591"/>
              </a:cxn>
              <a:cxn ang="0">
                <a:pos x="csX592" y="csY592"/>
              </a:cxn>
              <a:cxn ang="0">
                <a:pos x="csX593" y="csY593"/>
              </a:cxn>
              <a:cxn ang="0">
                <a:pos x="csX594" y="csY594"/>
              </a:cxn>
              <a:cxn ang="0">
                <a:pos x="csX595" y="csY595"/>
              </a:cxn>
              <a:cxn ang="0">
                <a:pos x="csX596" y="csY596"/>
              </a:cxn>
              <a:cxn ang="0">
                <a:pos x="csX597" y="csY597"/>
              </a:cxn>
              <a:cxn ang="0">
                <a:pos x="csX598" y="csY598"/>
              </a:cxn>
              <a:cxn ang="0">
                <a:pos x="csX599" y="csY599"/>
              </a:cxn>
              <a:cxn ang="0">
                <a:pos x="csX600" y="csY600"/>
              </a:cxn>
              <a:cxn ang="0">
                <a:pos x="csX601" y="csY601"/>
              </a:cxn>
              <a:cxn ang="0">
                <a:pos x="csX602" y="csY602"/>
              </a:cxn>
              <a:cxn ang="0">
                <a:pos x="csX603" y="csY603"/>
              </a:cxn>
              <a:cxn ang="0">
                <a:pos x="csX604" y="csY604"/>
              </a:cxn>
              <a:cxn ang="0">
                <a:pos x="csX605" y="csY605"/>
              </a:cxn>
              <a:cxn ang="0">
                <a:pos x="csX606" y="csY606"/>
              </a:cxn>
              <a:cxn ang="0">
                <a:pos x="csX607" y="csY607"/>
              </a:cxn>
              <a:cxn ang="0">
                <a:pos x="csX608" y="csY608"/>
              </a:cxn>
              <a:cxn ang="0">
                <a:pos x="csX609" y="csY609"/>
              </a:cxn>
              <a:cxn ang="0">
                <a:pos x="csX610" y="csY610"/>
              </a:cxn>
              <a:cxn ang="0">
                <a:pos x="csX611" y="csY611"/>
              </a:cxn>
              <a:cxn ang="0">
                <a:pos x="csX612" y="csY612"/>
              </a:cxn>
              <a:cxn ang="0">
                <a:pos x="csX613" y="csY613"/>
              </a:cxn>
              <a:cxn ang="0">
                <a:pos x="csX614" y="csY614"/>
              </a:cxn>
              <a:cxn ang="0">
                <a:pos x="csX615" y="csY615"/>
              </a:cxn>
              <a:cxn ang="0">
                <a:pos x="csX616" y="csY616"/>
              </a:cxn>
              <a:cxn ang="0">
                <a:pos x="csX617" y="csY617"/>
              </a:cxn>
              <a:cxn ang="0">
                <a:pos x="csX618" y="csY618"/>
              </a:cxn>
              <a:cxn ang="0">
                <a:pos x="csX619" y="csY619"/>
              </a:cxn>
              <a:cxn ang="0">
                <a:pos x="csX620" y="csY620"/>
              </a:cxn>
              <a:cxn ang="0">
                <a:pos x="csX621" y="csY621"/>
              </a:cxn>
              <a:cxn ang="0">
                <a:pos x="csX622" y="csY622"/>
              </a:cxn>
              <a:cxn ang="0">
                <a:pos x="csX623" y="csY623"/>
              </a:cxn>
              <a:cxn ang="0">
                <a:pos x="csX624" y="csY624"/>
              </a:cxn>
              <a:cxn ang="0">
                <a:pos x="csX625" y="csY625"/>
              </a:cxn>
              <a:cxn ang="0">
                <a:pos x="csX626" y="csY626"/>
              </a:cxn>
              <a:cxn ang="0">
                <a:pos x="csX627" y="csY627"/>
              </a:cxn>
              <a:cxn ang="0">
                <a:pos x="csX628" y="csY628"/>
              </a:cxn>
              <a:cxn ang="0">
                <a:pos x="csX629" y="csY629"/>
              </a:cxn>
              <a:cxn ang="0">
                <a:pos x="csX630" y="csY630"/>
              </a:cxn>
              <a:cxn ang="0">
                <a:pos x="csX631" y="csY631"/>
              </a:cxn>
              <a:cxn ang="0">
                <a:pos x="csX632" y="csY632"/>
              </a:cxn>
              <a:cxn ang="0">
                <a:pos x="csX633" y="csY633"/>
              </a:cxn>
              <a:cxn ang="0">
                <a:pos x="csX634" y="csY634"/>
              </a:cxn>
              <a:cxn ang="0">
                <a:pos x="csX635" y="csY635"/>
              </a:cxn>
              <a:cxn ang="0">
                <a:pos x="csX636" y="csY636"/>
              </a:cxn>
              <a:cxn ang="0">
                <a:pos x="csX637" y="csY637"/>
              </a:cxn>
              <a:cxn ang="0">
                <a:pos x="csX638" y="csY638"/>
              </a:cxn>
              <a:cxn ang="0">
                <a:pos x="csX639" y="csY639"/>
              </a:cxn>
              <a:cxn ang="0">
                <a:pos x="csX640" y="csY640"/>
              </a:cxn>
              <a:cxn ang="0">
                <a:pos x="csX641" y="csY641"/>
              </a:cxn>
              <a:cxn ang="0">
                <a:pos x="csX642" y="csY642"/>
              </a:cxn>
              <a:cxn ang="0">
                <a:pos x="csX643" y="csY643"/>
              </a:cxn>
              <a:cxn ang="0">
                <a:pos x="csX644" y="csY644"/>
              </a:cxn>
              <a:cxn ang="0">
                <a:pos x="csX645" y="csY645"/>
              </a:cxn>
              <a:cxn ang="0">
                <a:pos x="csX646" y="csY646"/>
              </a:cxn>
              <a:cxn ang="0">
                <a:pos x="csX647" y="csY647"/>
              </a:cxn>
              <a:cxn ang="0">
                <a:pos x="csX648" y="csY648"/>
              </a:cxn>
              <a:cxn ang="0">
                <a:pos x="csX649" y="csY649"/>
              </a:cxn>
              <a:cxn ang="0">
                <a:pos x="csX650" y="csY650"/>
              </a:cxn>
              <a:cxn ang="0">
                <a:pos x="csX651" y="csY651"/>
              </a:cxn>
              <a:cxn ang="0">
                <a:pos x="csX652" y="csY652"/>
              </a:cxn>
              <a:cxn ang="0">
                <a:pos x="csX653" y="csY653"/>
              </a:cxn>
              <a:cxn ang="0">
                <a:pos x="csX654" y="csY654"/>
              </a:cxn>
              <a:cxn ang="0">
                <a:pos x="csX655" y="csY655"/>
              </a:cxn>
              <a:cxn ang="0">
                <a:pos x="csX656" y="csY656"/>
              </a:cxn>
              <a:cxn ang="0">
                <a:pos x="csX657" y="csY657"/>
              </a:cxn>
              <a:cxn ang="0">
                <a:pos x="csX658" y="csY658"/>
              </a:cxn>
              <a:cxn ang="0">
                <a:pos x="csX659" y="csY659"/>
              </a:cxn>
              <a:cxn ang="0">
                <a:pos x="csX660" y="csY660"/>
              </a:cxn>
              <a:cxn ang="0">
                <a:pos x="csX661" y="csY661"/>
              </a:cxn>
              <a:cxn ang="0">
                <a:pos x="csX662" y="csY662"/>
              </a:cxn>
              <a:cxn ang="0">
                <a:pos x="csX663" y="csY663"/>
              </a:cxn>
              <a:cxn ang="0">
                <a:pos x="csX664" y="csY664"/>
              </a:cxn>
              <a:cxn ang="0">
                <a:pos x="csX665" y="csY665"/>
              </a:cxn>
              <a:cxn ang="0">
                <a:pos x="csX666" y="csY666"/>
              </a:cxn>
              <a:cxn ang="0">
                <a:pos x="csX667" y="csY667"/>
              </a:cxn>
              <a:cxn ang="0">
                <a:pos x="csX668" y="csY668"/>
              </a:cxn>
              <a:cxn ang="0">
                <a:pos x="csX669" y="csY669"/>
              </a:cxn>
              <a:cxn ang="0">
                <a:pos x="csX670" y="csY670"/>
              </a:cxn>
              <a:cxn ang="0">
                <a:pos x="csX671" y="csY671"/>
              </a:cxn>
              <a:cxn ang="0">
                <a:pos x="csX672" y="csY672"/>
              </a:cxn>
              <a:cxn ang="0">
                <a:pos x="csX673" y="csY673"/>
              </a:cxn>
              <a:cxn ang="0">
                <a:pos x="csX674" y="csY674"/>
              </a:cxn>
              <a:cxn ang="0">
                <a:pos x="csX675" y="csY675"/>
              </a:cxn>
              <a:cxn ang="0">
                <a:pos x="csX676" y="csY676"/>
              </a:cxn>
              <a:cxn ang="0">
                <a:pos x="csX677" y="csY677"/>
              </a:cxn>
              <a:cxn ang="0">
                <a:pos x="csX678" y="csY678"/>
              </a:cxn>
              <a:cxn ang="0">
                <a:pos x="csX679" y="csY679"/>
              </a:cxn>
              <a:cxn ang="0">
                <a:pos x="csX680" y="csY680"/>
              </a:cxn>
              <a:cxn ang="0">
                <a:pos x="csX681" y="csY681"/>
              </a:cxn>
              <a:cxn ang="0">
                <a:pos x="csX682" y="csY682"/>
              </a:cxn>
              <a:cxn ang="0">
                <a:pos x="csX683" y="csY683"/>
              </a:cxn>
              <a:cxn ang="0">
                <a:pos x="csX684" y="csY684"/>
              </a:cxn>
              <a:cxn ang="0">
                <a:pos x="csX685" y="csY685"/>
              </a:cxn>
              <a:cxn ang="0">
                <a:pos x="csX686" y="csY686"/>
              </a:cxn>
              <a:cxn ang="0">
                <a:pos x="csX687" y="csY687"/>
              </a:cxn>
              <a:cxn ang="0">
                <a:pos x="csX688" y="csY688"/>
              </a:cxn>
              <a:cxn ang="0">
                <a:pos x="csX689" y="csY689"/>
              </a:cxn>
              <a:cxn ang="0">
                <a:pos x="csX690" y="csY690"/>
              </a:cxn>
              <a:cxn ang="0">
                <a:pos x="csX691" y="csY691"/>
              </a:cxn>
              <a:cxn ang="0">
                <a:pos x="csX692" y="csY692"/>
              </a:cxn>
              <a:cxn ang="0">
                <a:pos x="csX693" y="csY693"/>
              </a:cxn>
              <a:cxn ang="0">
                <a:pos x="csX694" y="csY694"/>
              </a:cxn>
              <a:cxn ang="0">
                <a:pos x="csX695" y="csY695"/>
              </a:cxn>
              <a:cxn ang="0">
                <a:pos x="csX696" y="csY696"/>
              </a:cxn>
              <a:cxn ang="0">
                <a:pos x="csX697" y="csY697"/>
              </a:cxn>
              <a:cxn ang="0">
                <a:pos x="csX698" y="csY698"/>
              </a:cxn>
              <a:cxn ang="0">
                <a:pos x="csX699" y="csY699"/>
              </a:cxn>
              <a:cxn ang="0">
                <a:pos x="csX700" y="csY700"/>
              </a:cxn>
              <a:cxn ang="0">
                <a:pos x="csX701" y="csY701"/>
              </a:cxn>
              <a:cxn ang="0">
                <a:pos x="csX702" y="csY702"/>
              </a:cxn>
              <a:cxn ang="0">
                <a:pos x="csX703" y="csY703"/>
              </a:cxn>
              <a:cxn ang="0">
                <a:pos x="csX704" y="csY704"/>
              </a:cxn>
              <a:cxn ang="0">
                <a:pos x="csX705" y="csY705"/>
              </a:cxn>
              <a:cxn ang="0">
                <a:pos x="csX706" y="csY706"/>
              </a:cxn>
              <a:cxn ang="0">
                <a:pos x="csX707" y="csY707"/>
              </a:cxn>
              <a:cxn ang="0">
                <a:pos x="csX708" y="csY708"/>
              </a:cxn>
              <a:cxn ang="0">
                <a:pos x="csX709" y="csY709"/>
              </a:cxn>
              <a:cxn ang="0">
                <a:pos x="csX710" y="csY710"/>
              </a:cxn>
              <a:cxn ang="0">
                <a:pos x="csX711" y="csY711"/>
              </a:cxn>
              <a:cxn ang="0">
                <a:pos x="csX712" y="csY712"/>
              </a:cxn>
              <a:cxn ang="0">
                <a:pos x="csX713" y="csY713"/>
              </a:cxn>
              <a:cxn ang="0">
                <a:pos x="csX714" y="csY714"/>
              </a:cxn>
              <a:cxn ang="0">
                <a:pos x="csX715" y="csY715"/>
              </a:cxn>
              <a:cxn ang="0">
                <a:pos x="csX716" y="csY716"/>
              </a:cxn>
              <a:cxn ang="0">
                <a:pos x="csX717" y="csY717"/>
              </a:cxn>
              <a:cxn ang="0">
                <a:pos x="csX718" y="csY718"/>
              </a:cxn>
              <a:cxn ang="0">
                <a:pos x="csX719" y="csY719"/>
              </a:cxn>
              <a:cxn ang="0">
                <a:pos x="csX720" y="csY720"/>
              </a:cxn>
              <a:cxn ang="0">
                <a:pos x="csX721" y="csY721"/>
              </a:cxn>
              <a:cxn ang="0">
                <a:pos x="csX722" y="csY722"/>
              </a:cxn>
              <a:cxn ang="0">
                <a:pos x="csX723" y="csY723"/>
              </a:cxn>
              <a:cxn ang="0">
                <a:pos x="csX724" y="csY724"/>
              </a:cxn>
              <a:cxn ang="0">
                <a:pos x="csX725" y="csY725"/>
              </a:cxn>
              <a:cxn ang="0">
                <a:pos x="csX726" y="csY726"/>
              </a:cxn>
              <a:cxn ang="0">
                <a:pos x="csX727" y="csY727"/>
              </a:cxn>
              <a:cxn ang="0">
                <a:pos x="csX728" y="csY728"/>
              </a:cxn>
              <a:cxn ang="0">
                <a:pos x="csX729" y="csY729"/>
              </a:cxn>
              <a:cxn ang="0">
                <a:pos x="csX730" y="csY730"/>
              </a:cxn>
              <a:cxn ang="0">
                <a:pos x="csX731" y="csY731"/>
              </a:cxn>
              <a:cxn ang="0">
                <a:pos x="csX732" y="csY732"/>
              </a:cxn>
              <a:cxn ang="0">
                <a:pos x="csX733" y="csY733"/>
              </a:cxn>
              <a:cxn ang="0">
                <a:pos x="csX734" y="csY734"/>
              </a:cxn>
              <a:cxn ang="0">
                <a:pos x="csX735" y="csY735"/>
              </a:cxn>
              <a:cxn ang="0">
                <a:pos x="csX736" y="csY736"/>
              </a:cxn>
              <a:cxn ang="0">
                <a:pos x="csX737" y="csY737"/>
              </a:cxn>
              <a:cxn ang="0">
                <a:pos x="csX738" y="csY738"/>
              </a:cxn>
              <a:cxn ang="0">
                <a:pos x="csX739" y="csY739"/>
              </a:cxn>
              <a:cxn ang="0">
                <a:pos x="csX740" y="csY740"/>
              </a:cxn>
              <a:cxn ang="0">
                <a:pos x="csX741" y="csY741"/>
              </a:cxn>
              <a:cxn ang="0">
                <a:pos x="csX742" y="csY742"/>
              </a:cxn>
              <a:cxn ang="0">
                <a:pos x="csX743" y="csY743"/>
              </a:cxn>
              <a:cxn ang="0">
                <a:pos x="csX744" y="csY744"/>
              </a:cxn>
              <a:cxn ang="0">
                <a:pos x="csX745" y="csY745"/>
              </a:cxn>
              <a:cxn ang="0">
                <a:pos x="csX746" y="csY746"/>
              </a:cxn>
              <a:cxn ang="0">
                <a:pos x="csX747" y="csY747"/>
              </a:cxn>
              <a:cxn ang="0">
                <a:pos x="csX748" y="csY748"/>
              </a:cxn>
              <a:cxn ang="0">
                <a:pos x="csX749" y="csY749"/>
              </a:cxn>
              <a:cxn ang="0">
                <a:pos x="csX750" y="csY750"/>
              </a:cxn>
              <a:cxn ang="0">
                <a:pos x="csX751" y="csY751"/>
              </a:cxn>
              <a:cxn ang="0">
                <a:pos x="csX752" y="csY752"/>
              </a:cxn>
              <a:cxn ang="0">
                <a:pos x="csX753" y="csY753"/>
              </a:cxn>
              <a:cxn ang="0">
                <a:pos x="csX754" y="csY754"/>
              </a:cxn>
              <a:cxn ang="0">
                <a:pos x="csX755" y="csY755"/>
              </a:cxn>
              <a:cxn ang="0">
                <a:pos x="csX756" y="csY756"/>
              </a:cxn>
              <a:cxn ang="0">
                <a:pos x="csX757" y="csY757"/>
              </a:cxn>
              <a:cxn ang="0">
                <a:pos x="csX758" y="csY758"/>
              </a:cxn>
              <a:cxn ang="0">
                <a:pos x="csX759" y="csY759"/>
              </a:cxn>
              <a:cxn ang="0">
                <a:pos x="csX760" y="csY760"/>
              </a:cxn>
              <a:cxn ang="0">
                <a:pos x="csX761" y="csY761"/>
              </a:cxn>
              <a:cxn ang="0">
                <a:pos x="csX762" y="csY762"/>
              </a:cxn>
              <a:cxn ang="0">
                <a:pos x="csX763" y="csY763"/>
              </a:cxn>
              <a:cxn ang="0">
                <a:pos x="csX764" y="csY764"/>
              </a:cxn>
              <a:cxn ang="0">
                <a:pos x="csX765" y="csY765"/>
              </a:cxn>
              <a:cxn ang="0">
                <a:pos x="csX766" y="csY766"/>
              </a:cxn>
              <a:cxn ang="0">
                <a:pos x="csX767" y="csY767"/>
              </a:cxn>
              <a:cxn ang="0">
                <a:pos x="csX768" y="csY768"/>
              </a:cxn>
              <a:cxn ang="0">
                <a:pos x="csX769" y="csY769"/>
              </a:cxn>
              <a:cxn ang="0">
                <a:pos x="csX770" y="csY770"/>
              </a:cxn>
              <a:cxn ang="0">
                <a:pos x="csX771" y="csY771"/>
              </a:cxn>
              <a:cxn ang="0">
                <a:pos x="csX772" y="csY772"/>
              </a:cxn>
              <a:cxn ang="0">
                <a:pos x="csX773" y="csY773"/>
              </a:cxn>
              <a:cxn ang="0">
                <a:pos x="csX774" y="csY774"/>
              </a:cxn>
              <a:cxn ang="0">
                <a:pos x="csX775" y="csY775"/>
              </a:cxn>
              <a:cxn ang="0">
                <a:pos x="csX776" y="csY776"/>
              </a:cxn>
              <a:cxn ang="0">
                <a:pos x="csX777" y="csY777"/>
              </a:cxn>
              <a:cxn ang="0">
                <a:pos x="csX778" y="csY778"/>
              </a:cxn>
              <a:cxn ang="0">
                <a:pos x="csX779" y="csY779"/>
              </a:cxn>
              <a:cxn ang="0">
                <a:pos x="csX780" y="csY780"/>
              </a:cxn>
              <a:cxn ang="0">
                <a:pos x="csX781" y="csY781"/>
              </a:cxn>
              <a:cxn ang="0">
                <a:pos x="csX782" y="csY782"/>
              </a:cxn>
              <a:cxn ang="0">
                <a:pos x="csX783" y="csY783"/>
              </a:cxn>
              <a:cxn ang="0">
                <a:pos x="csX784" y="csY784"/>
              </a:cxn>
              <a:cxn ang="0">
                <a:pos x="csX785" y="csY785"/>
              </a:cxn>
              <a:cxn ang="0">
                <a:pos x="csX786" y="csY786"/>
              </a:cxn>
              <a:cxn ang="0">
                <a:pos x="csX787" y="csY787"/>
              </a:cxn>
              <a:cxn ang="0">
                <a:pos x="csX788" y="csY788"/>
              </a:cxn>
              <a:cxn ang="0">
                <a:pos x="csX789" y="csY789"/>
              </a:cxn>
              <a:cxn ang="0">
                <a:pos x="csX790" y="csY790"/>
              </a:cxn>
              <a:cxn ang="0">
                <a:pos x="csX791" y="csY791"/>
              </a:cxn>
              <a:cxn ang="0">
                <a:pos x="csX792" y="csY792"/>
              </a:cxn>
              <a:cxn ang="0">
                <a:pos x="csX793" y="csY793"/>
              </a:cxn>
              <a:cxn ang="0">
                <a:pos x="csX794" y="csY794"/>
              </a:cxn>
              <a:cxn ang="0">
                <a:pos x="csX795" y="csY795"/>
              </a:cxn>
              <a:cxn ang="0">
                <a:pos x="csX796" y="csY796"/>
              </a:cxn>
              <a:cxn ang="0">
                <a:pos x="csX797" y="csY797"/>
              </a:cxn>
              <a:cxn ang="0">
                <a:pos x="csX798" y="csY798"/>
              </a:cxn>
              <a:cxn ang="0">
                <a:pos x="csX799" y="csY799"/>
              </a:cxn>
              <a:cxn ang="0">
                <a:pos x="csX800" y="csY800"/>
              </a:cxn>
              <a:cxn ang="0">
                <a:pos x="csX801" y="csY801"/>
              </a:cxn>
              <a:cxn ang="0">
                <a:pos x="csX802" y="csY802"/>
              </a:cxn>
              <a:cxn ang="0">
                <a:pos x="csX803" y="csY803"/>
              </a:cxn>
              <a:cxn ang="0">
                <a:pos x="csX804" y="csY804"/>
              </a:cxn>
              <a:cxn ang="0">
                <a:pos x="csX805" y="csY805"/>
              </a:cxn>
              <a:cxn ang="0">
                <a:pos x="csX806" y="csY806"/>
              </a:cxn>
              <a:cxn ang="0">
                <a:pos x="csX807" y="csY807"/>
              </a:cxn>
              <a:cxn ang="0">
                <a:pos x="csX808" y="csY808"/>
              </a:cxn>
              <a:cxn ang="0">
                <a:pos x="csX809" y="csY809"/>
              </a:cxn>
              <a:cxn ang="0">
                <a:pos x="csX810" y="csY810"/>
              </a:cxn>
              <a:cxn ang="0">
                <a:pos x="csX811" y="csY811"/>
              </a:cxn>
              <a:cxn ang="0">
                <a:pos x="csX812" y="csY812"/>
              </a:cxn>
              <a:cxn ang="0">
                <a:pos x="csX813" y="csY813"/>
              </a:cxn>
              <a:cxn ang="0">
                <a:pos x="csX814" y="csY814"/>
              </a:cxn>
              <a:cxn ang="0">
                <a:pos x="csX815" y="csY815"/>
              </a:cxn>
              <a:cxn ang="0">
                <a:pos x="csX816" y="csY816"/>
              </a:cxn>
              <a:cxn ang="0">
                <a:pos x="csX817" y="csY817"/>
              </a:cxn>
              <a:cxn ang="0">
                <a:pos x="csX818" y="csY818"/>
              </a:cxn>
              <a:cxn ang="0">
                <a:pos x="csX819" y="csY819"/>
              </a:cxn>
              <a:cxn ang="0">
                <a:pos x="csX820" y="csY820"/>
              </a:cxn>
              <a:cxn ang="0">
                <a:pos x="csX821" y="csY821"/>
              </a:cxn>
              <a:cxn ang="0">
                <a:pos x="csX822" y="csY822"/>
              </a:cxn>
              <a:cxn ang="0">
                <a:pos x="csX823" y="csY823"/>
              </a:cxn>
              <a:cxn ang="0">
                <a:pos x="csX824" y="csY824"/>
              </a:cxn>
              <a:cxn ang="0">
                <a:pos x="csX825" y="csY825"/>
              </a:cxn>
              <a:cxn ang="0">
                <a:pos x="csX826" y="csY826"/>
              </a:cxn>
              <a:cxn ang="0">
                <a:pos x="csX827" y="csY827"/>
              </a:cxn>
              <a:cxn ang="0">
                <a:pos x="csX828" y="csY828"/>
              </a:cxn>
              <a:cxn ang="0">
                <a:pos x="csX829" y="csY829"/>
              </a:cxn>
              <a:cxn ang="0">
                <a:pos x="csX830" y="csY830"/>
              </a:cxn>
              <a:cxn ang="0">
                <a:pos x="csX831" y="csY831"/>
              </a:cxn>
              <a:cxn ang="0">
                <a:pos x="csX832" y="csY832"/>
              </a:cxn>
              <a:cxn ang="0">
                <a:pos x="csX833" y="csY833"/>
              </a:cxn>
              <a:cxn ang="0">
                <a:pos x="csX834" y="csY834"/>
              </a:cxn>
              <a:cxn ang="0">
                <a:pos x="csX835" y="csY835"/>
              </a:cxn>
              <a:cxn ang="0">
                <a:pos x="csX836" y="csY836"/>
              </a:cxn>
              <a:cxn ang="0">
                <a:pos x="csX837" y="csY837"/>
              </a:cxn>
              <a:cxn ang="0">
                <a:pos x="csX838" y="csY838"/>
              </a:cxn>
              <a:cxn ang="0">
                <a:pos x="csX839" y="csY839"/>
              </a:cxn>
              <a:cxn ang="0">
                <a:pos x="csX840" y="csY840"/>
              </a:cxn>
              <a:cxn ang="0">
                <a:pos x="csX841" y="csY841"/>
              </a:cxn>
              <a:cxn ang="0">
                <a:pos x="csX842" y="csY842"/>
              </a:cxn>
              <a:cxn ang="0">
                <a:pos x="csX843" y="csY843"/>
              </a:cxn>
              <a:cxn ang="0">
                <a:pos x="csX844" y="csY844"/>
              </a:cxn>
              <a:cxn ang="0">
                <a:pos x="csX845" y="csY845"/>
              </a:cxn>
              <a:cxn ang="0">
                <a:pos x="csX846" y="csY846"/>
              </a:cxn>
              <a:cxn ang="0">
                <a:pos x="csX847" y="csY847"/>
              </a:cxn>
              <a:cxn ang="0">
                <a:pos x="csX848" y="csY848"/>
              </a:cxn>
              <a:cxn ang="0">
                <a:pos x="csX849" y="csY849"/>
              </a:cxn>
              <a:cxn ang="0">
                <a:pos x="csX850" y="csY850"/>
              </a:cxn>
              <a:cxn ang="0">
                <a:pos x="csX851" y="csY851"/>
              </a:cxn>
              <a:cxn ang="0">
                <a:pos x="csX852" y="csY852"/>
              </a:cxn>
              <a:cxn ang="0">
                <a:pos x="csX853" y="csY853"/>
              </a:cxn>
              <a:cxn ang="0">
                <a:pos x="csX854" y="csY854"/>
              </a:cxn>
              <a:cxn ang="0">
                <a:pos x="csX855" y="csY855"/>
              </a:cxn>
              <a:cxn ang="0">
                <a:pos x="csX856" y="csY856"/>
              </a:cxn>
              <a:cxn ang="0">
                <a:pos x="csX857" y="csY857"/>
              </a:cxn>
              <a:cxn ang="0">
                <a:pos x="csX858" y="csY858"/>
              </a:cxn>
              <a:cxn ang="0">
                <a:pos x="csX859" y="csY859"/>
              </a:cxn>
              <a:cxn ang="0">
                <a:pos x="csX860" y="csY860"/>
              </a:cxn>
              <a:cxn ang="0">
                <a:pos x="csX861" y="csY861"/>
              </a:cxn>
              <a:cxn ang="0">
                <a:pos x="csX862" y="csY862"/>
              </a:cxn>
              <a:cxn ang="0">
                <a:pos x="csX863" y="csY863"/>
              </a:cxn>
              <a:cxn ang="0">
                <a:pos x="csX864" y="csY864"/>
              </a:cxn>
              <a:cxn ang="0">
                <a:pos x="csX865" y="csY865"/>
              </a:cxn>
              <a:cxn ang="0">
                <a:pos x="csX866" y="csY866"/>
              </a:cxn>
              <a:cxn ang="0">
                <a:pos x="csX867" y="csY867"/>
              </a:cxn>
              <a:cxn ang="0">
                <a:pos x="csX868" y="csY868"/>
              </a:cxn>
              <a:cxn ang="0">
                <a:pos x="csX869" y="csY869"/>
              </a:cxn>
              <a:cxn ang="0">
                <a:pos x="csX870" y="csY870"/>
              </a:cxn>
              <a:cxn ang="0">
                <a:pos x="csX871" y="csY871"/>
              </a:cxn>
              <a:cxn ang="0">
                <a:pos x="csX872" y="csY872"/>
              </a:cxn>
              <a:cxn ang="0">
                <a:pos x="csX873" y="csY873"/>
              </a:cxn>
              <a:cxn ang="0">
                <a:pos x="csX874" y="csY874"/>
              </a:cxn>
              <a:cxn ang="0">
                <a:pos x="csX875" y="csY875"/>
              </a:cxn>
              <a:cxn ang="0">
                <a:pos x="csX876" y="csY876"/>
              </a:cxn>
              <a:cxn ang="0">
                <a:pos x="csX877" y="csY877"/>
              </a:cxn>
              <a:cxn ang="0">
                <a:pos x="csX878" y="csY878"/>
              </a:cxn>
              <a:cxn ang="0">
                <a:pos x="csX879" y="csY879"/>
              </a:cxn>
              <a:cxn ang="0">
                <a:pos x="csX880" y="csY880"/>
              </a:cxn>
              <a:cxn ang="0">
                <a:pos x="csX881" y="csY881"/>
              </a:cxn>
              <a:cxn ang="0">
                <a:pos x="csX882" y="csY882"/>
              </a:cxn>
              <a:cxn ang="0">
                <a:pos x="csX883" y="csY883"/>
              </a:cxn>
              <a:cxn ang="0">
                <a:pos x="csX884" y="csY884"/>
              </a:cxn>
              <a:cxn ang="0">
                <a:pos x="csX885" y="csY885"/>
              </a:cxn>
              <a:cxn ang="0">
                <a:pos x="csX886" y="csY886"/>
              </a:cxn>
              <a:cxn ang="0">
                <a:pos x="csX887" y="csY887"/>
              </a:cxn>
              <a:cxn ang="0">
                <a:pos x="csX888" y="csY888"/>
              </a:cxn>
              <a:cxn ang="0">
                <a:pos x="csX889" y="csY889"/>
              </a:cxn>
              <a:cxn ang="0">
                <a:pos x="csX890" y="csY890"/>
              </a:cxn>
              <a:cxn ang="0">
                <a:pos x="csX891" y="csY891"/>
              </a:cxn>
              <a:cxn ang="0">
                <a:pos x="csX892" y="csY892"/>
              </a:cxn>
              <a:cxn ang="0">
                <a:pos x="csX893" y="csY893"/>
              </a:cxn>
              <a:cxn ang="0">
                <a:pos x="csX894" y="csY894"/>
              </a:cxn>
              <a:cxn ang="0">
                <a:pos x="csX895" y="csY895"/>
              </a:cxn>
              <a:cxn ang="0">
                <a:pos x="csX896" y="csY896"/>
              </a:cxn>
              <a:cxn ang="0">
                <a:pos x="csX897" y="csY897"/>
              </a:cxn>
              <a:cxn ang="0">
                <a:pos x="csX898" y="csY898"/>
              </a:cxn>
              <a:cxn ang="0">
                <a:pos x="csX899" y="csY899"/>
              </a:cxn>
              <a:cxn ang="0">
                <a:pos x="csX900" y="csY900"/>
              </a:cxn>
              <a:cxn ang="0">
                <a:pos x="csX901" y="csY901"/>
              </a:cxn>
              <a:cxn ang="0">
                <a:pos x="csX902" y="csY902"/>
              </a:cxn>
              <a:cxn ang="0">
                <a:pos x="csX903" y="csY903"/>
              </a:cxn>
              <a:cxn ang="0">
                <a:pos x="csX904" y="csY904"/>
              </a:cxn>
              <a:cxn ang="0">
                <a:pos x="csX905" y="csY905"/>
              </a:cxn>
              <a:cxn ang="0">
                <a:pos x="csX906" y="csY906"/>
              </a:cxn>
              <a:cxn ang="0">
                <a:pos x="csX907" y="csY907"/>
              </a:cxn>
              <a:cxn ang="0">
                <a:pos x="csX908" y="csY908"/>
              </a:cxn>
              <a:cxn ang="0">
                <a:pos x="csX909" y="csY909"/>
              </a:cxn>
              <a:cxn ang="0">
                <a:pos x="csX910" y="csY910"/>
              </a:cxn>
              <a:cxn ang="0">
                <a:pos x="csX911" y="csY911"/>
              </a:cxn>
              <a:cxn ang="0">
                <a:pos x="csX912" y="csY912"/>
              </a:cxn>
              <a:cxn ang="0">
                <a:pos x="csX913" y="csY913"/>
              </a:cxn>
              <a:cxn ang="0">
                <a:pos x="csX914" y="csY914"/>
              </a:cxn>
              <a:cxn ang="0">
                <a:pos x="csX915" y="csY915"/>
              </a:cxn>
              <a:cxn ang="0">
                <a:pos x="csX916" y="csY916"/>
              </a:cxn>
              <a:cxn ang="0">
                <a:pos x="csX917" y="csY917"/>
              </a:cxn>
              <a:cxn ang="0">
                <a:pos x="csX918" y="csY918"/>
              </a:cxn>
              <a:cxn ang="0">
                <a:pos x="csX919" y="csY919"/>
              </a:cxn>
              <a:cxn ang="0">
                <a:pos x="csX920" y="csY920"/>
              </a:cxn>
              <a:cxn ang="0">
                <a:pos x="csX921" y="csY921"/>
              </a:cxn>
              <a:cxn ang="0">
                <a:pos x="csX922" y="csY922"/>
              </a:cxn>
              <a:cxn ang="0">
                <a:pos x="csX923" y="csY923"/>
              </a:cxn>
              <a:cxn ang="0">
                <a:pos x="csX924" y="csY924"/>
              </a:cxn>
              <a:cxn ang="0">
                <a:pos x="csX925" y="csY925"/>
              </a:cxn>
              <a:cxn ang="0">
                <a:pos x="csX926" y="csY926"/>
              </a:cxn>
              <a:cxn ang="0">
                <a:pos x="csX927" y="csY927"/>
              </a:cxn>
              <a:cxn ang="0">
                <a:pos x="csX928" y="csY928"/>
              </a:cxn>
              <a:cxn ang="0">
                <a:pos x="csX929" y="csY929"/>
              </a:cxn>
              <a:cxn ang="0">
                <a:pos x="csX930" y="csY930"/>
              </a:cxn>
              <a:cxn ang="0">
                <a:pos x="csX931" y="csY931"/>
              </a:cxn>
              <a:cxn ang="0">
                <a:pos x="csX932" y="csY932"/>
              </a:cxn>
              <a:cxn ang="0">
                <a:pos x="csX933" y="csY933"/>
              </a:cxn>
              <a:cxn ang="0">
                <a:pos x="csX934" y="csY934"/>
              </a:cxn>
              <a:cxn ang="0">
                <a:pos x="csX935" y="csY935"/>
              </a:cxn>
              <a:cxn ang="0">
                <a:pos x="csX936" y="csY936"/>
              </a:cxn>
              <a:cxn ang="0">
                <a:pos x="csX937" y="csY937"/>
              </a:cxn>
              <a:cxn ang="0">
                <a:pos x="csX938" y="csY938"/>
              </a:cxn>
              <a:cxn ang="0">
                <a:pos x="csX939" y="csY939"/>
              </a:cxn>
              <a:cxn ang="0">
                <a:pos x="csX940" y="csY940"/>
              </a:cxn>
              <a:cxn ang="0">
                <a:pos x="csX941" y="csY941"/>
              </a:cxn>
              <a:cxn ang="0">
                <a:pos x="csX942" y="csY942"/>
              </a:cxn>
              <a:cxn ang="0">
                <a:pos x="csX943" y="csY943"/>
              </a:cxn>
              <a:cxn ang="0">
                <a:pos x="csX944" y="csY944"/>
              </a:cxn>
              <a:cxn ang="0">
                <a:pos x="csX945" y="csY945"/>
              </a:cxn>
              <a:cxn ang="0">
                <a:pos x="csX946" y="csY946"/>
              </a:cxn>
              <a:cxn ang="0">
                <a:pos x="csX947" y="csY947"/>
              </a:cxn>
              <a:cxn ang="0">
                <a:pos x="csX948" y="csY948"/>
              </a:cxn>
              <a:cxn ang="0">
                <a:pos x="csX949" y="csY949"/>
              </a:cxn>
              <a:cxn ang="0">
                <a:pos x="csX950" y="csY950"/>
              </a:cxn>
              <a:cxn ang="0">
                <a:pos x="csX951" y="csY951"/>
              </a:cxn>
              <a:cxn ang="0">
                <a:pos x="csX952" y="csY952"/>
              </a:cxn>
              <a:cxn ang="0">
                <a:pos x="csX953" y="csY953"/>
              </a:cxn>
              <a:cxn ang="0">
                <a:pos x="csX954" y="csY954"/>
              </a:cxn>
              <a:cxn ang="0">
                <a:pos x="csX955" y="csY955"/>
              </a:cxn>
              <a:cxn ang="0">
                <a:pos x="csX956" y="csY956"/>
              </a:cxn>
              <a:cxn ang="0">
                <a:pos x="csX957" y="csY957"/>
              </a:cxn>
              <a:cxn ang="0">
                <a:pos x="csX958" y="csY958"/>
              </a:cxn>
              <a:cxn ang="0">
                <a:pos x="csX959" y="csY959"/>
              </a:cxn>
              <a:cxn ang="0">
                <a:pos x="csX960" y="csY960"/>
              </a:cxn>
              <a:cxn ang="0">
                <a:pos x="csX961" y="csY961"/>
              </a:cxn>
              <a:cxn ang="0">
                <a:pos x="csX962" y="csY962"/>
              </a:cxn>
              <a:cxn ang="0">
                <a:pos x="csX963" y="csY963"/>
              </a:cxn>
              <a:cxn ang="0">
                <a:pos x="csX964" y="csY964"/>
              </a:cxn>
              <a:cxn ang="0">
                <a:pos x="csX965" y="csY965"/>
              </a:cxn>
              <a:cxn ang="0">
                <a:pos x="csX966" y="csY966"/>
              </a:cxn>
              <a:cxn ang="0">
                <a:pos x="csX967" y="csY967"/>
              </a:cxn>
              <a:cxn ang="0">
                <a:pos x="csX968" y="csY968"/>
              </a:cxn>
              <a:cxn ang="0">
                <a:pos x="csX969" y="csY969"/>
              </a:cxn>
              <a:cxn ang="0">
                <a:pos x="csX970" y="csY970"/>
              </a:cxn>
              <a:cxn ang="0">
                <a:pos x="csX971" y="csY971"/>
              </a:cxn>
              <a:cxn ang="0">
                <a:pos x="csX972" y="csY972"/>
              </a:cxn>
              <a:cxn ang="0">
                <a:pos x="csX973" y="csY973"/>
              </a:cxn>
              <a:cxn ang="0">
                <a:pos x="csX974" y="csY974"/>
              </a:cxn>
              <a:cxn ang="0">
                <a:pos x="csX975" y="csY975"/>
              </a:cxn>
              <a:cxn ang="0">
                <a:pos x="csX976" y="csY976"/>
              </a:cxn>
              <a:cxn ang="0">
                <a:pos x="csX977" y="csY977"/>
              </a:cxn>
              <a:cxn ang="0">
                <a:pos x="csX978" y="csY978"/>
              </a:cxn>
              <a:cxn ang="0">
                <a:pos x="csX979" y="csY979"/>
              </a:cxn>
              <a:cxn ang="0">
                <a:pos x="csX980" y="csY980"/>
              </a:cxn>
              <a:cxn ang="0">
                <a:pos x="csX981" y="csY981"/>
              </a:cxn>
              <a:cxn ang="0">
                <a:pos x="csX982" y="csY982"/>
              </a:cxn>
              <a:cxn ang="0">
                <a:pos x="csX983" y="csY983"/>
              </a:cxn>
              <a:cxn ang="0">
                <a:pos x="csX984" y="csY984"/>
              </a:cxn>
              <a:cxn ang="0">
                <a:pos x="csX985" y="csY985"/>
              </a:cxn>
              <a:cxn ang="0">
                <a:pos x="csX986" y="csY986"/>
              </a:cxn>
              <a:cxn ang="0">
                <a:pos x="csX987" y="csY987"/>
              </a:cxn>
              <a:cxn ang="0">
                <a:pos x="csX988" y="csY988"/>
              </a:cxn>
              <a:cxn ang="0">
                <a:pos x="csX989" y="csY989"/>
              </a:cxn>
              <a:cxn ang="0">
                <a:pos x="csX990" y="csY990"/>
              </a:cxn>
              <a:cxn ang="0">
                <a:pos x="csX991" y="csY991"/>
              </a:cxn>
              <a:cxn ang="0">
                <a:pos x="csX992" y="csY992"/>
              </a:cxn>
              <a:cxn ang="0">
                <a:pos x="csX993" y="csY993"/>
              </a:cxn>
              <a:cxn ang="0">
                <a:pos x="csX994" y="csY994"/>
              </a:cxn>
              <a:cxn ang="0">
                <a:pos x="csX995" y="csY995"/>
              </a:cxn>
              <a:cxn ang="0">
                <a:pos x="csX996" y="csY996"/>
              </a:cxn>
              <a:cxn ang="0">
                <a:pos x="csX997" y="csY997"/>
              </a:cxn>
              <a:cxn ang="0">
                <a:pos x="csX998" y="csY998"/>
              </a:cxn>
              <a:cxn ang="0">
                <a:pos x="csX999" y="csY999"/>
              </a:cxn>
              <a:cxn ang="0">
                <a:pos x="csX1000" y="csY1000"/>
              </a:cxn>
              <a:cxn ang="0">
                <a:pos x="csX1001" y="csY1001"/>
              </a:cxn>
              <a:cxn ang="0">
                <a:pos x="csX1002" y="csY1002"/>
              </a:cxn>
              <a:cxn ang="0">
                <a:pos x="csX1003" y="csY1003"/>
              </a:cxn>
              <a:cxn ang="0">
                <a:pos x="csX1004" y="csY1004"/>
              </a:cxn>
              <a:cxn ang="0">
                <a:pos x="csX1005" y="csY1005"/>
              </a:cxn>
              <a:cxn ang="0">
                <a:pos x="csX1006" y="csY1006"/>
              </a:cxn>
              <a:cxn ang="0">
                <a:pos x="csX1007" y="csY1007"/>
              </a:cxn>
              <a:cxn ang="0">
                <a:pos x="csX1008" y="csY1008"/>
              </a:cxn>
              <a:cxn ang="0">
                <a:pos x="csX1009" y="csY1009"/>
              </a:cxn>
              <a:cxn ang="0">
                <a:pos x="csX1010" y="csY1010"/>
              </a:cxn>
              <a:cxn ang="0">
                <a:pos x="csX1011" y="csY1011"/>
              </a:cxn>
              <a:cxn ang="0">
                <a:pos x="csX1012" y="csY1012"/>
              </a:cxn>
              <a:cxn ang="0">
                <a:pos x="csX1013" y="csY1013"/>
              </a:cxn>
              <a:cxn ang="0">
                <a:pos x="csX1014" y="csY1014"/>
              </a:cxn>
              <a:cxn ang="0">
                <a:pos x="csX1015" y="csY1015"/>
              </a:cxn>
              <a:cxn ang="0">
                <a:pos x="csX1016" y="csY1016"/>
              </a:cxn>
              <a:cxn ang="0">
                <a:pos x="csX1017" y="csY1017"/>
              </a:cxn>
              <a:cxn ang="0">
                <a:pos x="csX1018" y="csY1018"/>
              </a:cxn>
              <a:cxn ang="0">
                <a:pos x="csX1019" y="csY1019"/>
              </a:cxn>
              <a:cxn ang="0">
                <a:pos x="csX1020" y="csY1020"/>
              </a:cxn>
              <a:cxn ang="0">
                <a:pos x="csX1021" y="csY1021"/>
              </a:cxn>
              <a:cxn ang="0">
                <a:pos x="csX1022" y="csY1022"/>
              </a:cxn>
              <a:cxn ang="0">
                <a:pos x="csX1023" y="csY1023"/>
              </a:cxn>
              <a:cxn ang="0">
                <a:pos x="csX1024" y="csY1024"/>
              </a:cxn>
              <a:cxn ang="0">
                <a:pos x="csX1025" y="csY1025"/>
              </a:cxn>
              <a:cxn ang="0">
                <a:pos x="csX1026" y="csY1026"/>
              </a:cxn>
              <a:cxn ang="0">
                <a:pos x="csX1027" y="csY1027"/>
              </a:cxn>
              <a:cxn ang="0">
                <a:pos x="csX1028" y="csY1028"/>
              </a:cxn>
              <a:cxn ang="0">
                <a:pos x="csX1029" y="csY1029"/>
              </a:cxn>
              <a:cxn ang="0">
                <a:pos x="csX1030" y="csY1030"/>
              </a:cxn>
              <a:cxn ang="0">
                <a:pos x="csX1031" y="csY1031"/>
              </a:cxn>
              <a:cxn ang="0">
                <a:pos x="csX1032" y="csY1032"/>
              </a:cxn>
              <a:cxn ang="0">
                <a:pos x="csX1033" y="csY1033"/>
              </a:cxn>
              <a:cxn ang="0">
                <a:pos x="csX1034" y="csY1034"/>
              </a:cxn>
              <a:cxn ang="0">
                <a:pos x="csX1035" y="csY1035"/>
              </a:cxn>
              <a:cxn ang="0">
                <a:pos x="csX1036" y="csY1036"/>
              </a:cxn>
              <a:cxn ang="0">
                <a:pos x="csX1037" y="csY1037"/>
              </a:cxn>
              <a:cxn ang="0">
                <a:pos x="csX1038" y="csY1038"/>
              </a:cxn>
              <a:cxn ang="0">
                <a:pos x="csX1039" y="csY1039"/>
              </a:cxn>
              <a:cxn ang="0">
                <a:pos x="csX1040" y="csY1040"/>
              </a:cxn>
              <a:cxn ang="0">
                <a:pos x="csX1041" y="csY1041"/>
              </a:cxn>
              <a:cxn ang="0">
                <a:pos x="csX1042" y="csY1042"/>
              </a:cxn>
              <a:cxn ang="0">
                <a:pos x="csX1043" y="csY1043"/>
              </a:cxn>
              <a:cxn ang="0">
                <a:pos x="csX1044" y="csY1044"/>
              </a:cxn>
              <a:cxn ang="0">
                <a:pos x="csX1045" y="csY1045"/>
              </a:cxn>
              <a:cxn ang="0">
                <a:pos x="csX1046" y="csY1046"/>
              </a:cxn>
              <a:cxn ang="0">
                <a:pos x="csX1047" y="csY1047"/>
              </a:cxn>
              <a:cxn ang="0">
                <a:pos x="csX1048" y="csY1048"/>
              </a:cxn>
              <a:cxn ang="0">
                <a:pos x="csX1049" y="csY1049"/>
              </a:cxn>
              <a:cxn ang="0">
                <a:pos x="csX1050" y="csY1050"/>
              </a:cxn>
              <a:cxn ang="0">
                <a:pos x="csX1051" y="csY1051"/>
              </a:cxn>
              <a:cxn ang="0">
                <a:pos x="csX1052" y="csY1052"/>
              </a:cxn>
              <a:cxn ang="0">
                <a:pos x="csX1053" y="csY1053"/>
              </a:cxn>
              <a:cxn ang="0">
                <a:pos x="csX1054" y="csY1054"/>
              </a:cxn>
            </a:cxnLst>
            <a:rect l="l" t="t" r="r" b="b"/>
            <a:pathLst>
              <a:path w="1609516" h="1538630">
                <a:moveTo>
                  <a:pt x="401579" y="1495809"/>
                </a:moveTo>
                <a:lnTo>
                  <a:pt x="400190" y="1496004"/>
                </a:lnTo>
                <a:lnTo>
                  <a:pt x="401224" y="1496470"/>
                </a:lnTo>
                <a:lnTo>
                  <a:pt x="401224" y="1498590"/>
                </a:lnTo>
                <a:lnTo>
                  <a:pt x="401579" y="1498628"/>
                </a:lnTo>
                <a:cubicBezTo>
                  <a:pt x="401579" y="1497698"/>
                  <a:pt x="401579" y="1496768"/>
                  <a:pt x="401579" y="1495809"/>
                </a:cubicBezTo>
                <a:close/>
                <a:moveTo>
                  <a:pt x="368755" y="1486512"/>
                </a:moveTo>
                <a:lnTo>
                  <a:pt x="364089" y="1487354"/>
                </a:lnTo>
                <a:lnTo>
                  <a:pt x="364089" y="1487908"/>
                </a:lnTo>
                <a:close/>
                <a:moveTo>
                  <a:pt x="1049801" y="1484562"/>
                </a:moveTo>
                <a:lnTo>
                  <a:pt x="1046735" y="1485945"/>
                </a:lnTo>
                <a:lnTo>
                  <a:pt x="1046955" y="1486045"/>
                </a:lnTo>
                <a:lnTo>
                  <a:pt x="1049801" y="1485188"/>
                </a:lnTo>
                <a:close/>
                <a:moveTo>
                  <a:pt x="351234" y="1444508"/>
                </a:moveTo>
                <a:lnTo>
                  <a:pt x="351234" y="1444997"/>
                </a:lnTo>
                <a:lnTo>
                  <a:pt x="351592" y="1445078"/>
                </a:lnTo>
                <a:close/>
                <a:moveTo>
                  <a:pt x="351908" y="1431206"/>
                </a:moveTo>
                <a:lnTo>
                  <a:pt x="351234" y="1431611"/>
                </a:lnTo>
                <a:lnTo>
                  <a:pt x="351234" y="1432274"/>
                </a:lnTo>
                <a:close/>
                <a:moveTo>
                  <a:pt x="358162" y="1421494"/>
                </a:moveTo>
                <a:lnTo>
                  <a:pt x="355921" y="1423156"/>
                </a:lnTo>
                <a:lnTo>
                  <a:pt x="355921" y="1423548"/>
                </a:lnTo>
                <a:close/>
                <a:moveTo>
                  <a:pt x="376098" y="1408347"/>
                </a:moveTo>
                <a:lnTo>
                  <a:pt x="370750" y="1412245"/>
                </a:lnTo>
                <a:lnTo>
                  <a:pt x="375023" y="1411256"/>
                </a:lnTo>
                <a:close/>
                <a:moveTo>
                  <a:pt x="421956" y="1365623"/>
                </a:moveTo>
                <a:lnTo>
                  <a:pt x="421765" y="1366161"/>
                </a:lnTo>
                <a:lnTo>
                  <a:pt x="421887" y="1366161"/>
                </a:lnTo>
                <a:close/>
                <a:moveTo>
                  <a:pt x="754553" y="1360575"/>
                </a:moveTo>
                <a:lnTo>
                  <a:pt x="754089" y="1361433"/>
                </a:lnTo>
                <a:lnTo>
                  <a:pt x="754431" y="1361125"/>
                </a:lnTo>
                <a:close/>
                <a:moveTo>
                  <a:pt x="1277973" y="1332923"/>
                </a:moveTo>
                <a:lnTo>
                  <a:pt x="1277944" y="1332936"/>
                </a:lnTo>
                <a:lnTo>
                  <a:pt x="1277949" y="1333139"/>
                </a:lnTo>
                <a:close/>
                <a:moveTo>
                  <a:pt x="1268556" y="1321066"/>
                </a:moveTo>
                <a:cubicBezTo>
                  <a:pt x="1268556" y="1322461"/>
                  <a:pt x="1268556" y="1323856"/>
                  <a:pt x="1268556" y="1325294"/>
                </a:cubicBezTo>
                <a:cubicBezTo>
                  <a:pt x="1267525" y="1325294"/>
                  <a:pt x="1266495" y="1325294"/>
                  <a:pt x="1265432" y="1325294"/>
                </a:cubicBezTo>
                <a:cubicBezTo>
                  <a:pt x="1265432" y="1330409"/>
                  <a:pt x="1265432" y="1335525"/>
                  <a:pt x="1265432" y="1340795"/>
                </a:cubicBezTo>
                <a:lnTo>
                  <a:pt x="1265476" y="1340714"/>
                </a:lnTo>
                <a:lnTo>
                  <a:pt x="1265476" y="1325877"/>
                </a:lnTo>
                <a:cubicBezTo>
                  <a:pt x="1266507" y="1325877"/>
                  <a:pt x="1267538" y="1325877"/>
                  <a:pt x="1268600" y="1325877"/>
                </a:cubicBezTo>
                <a:cubicBezTo>
                  <a:pt x="1268600" y="1324482"/>
                  <a:pt x="1268600" y="1323086"/>
                  <a:pt x="1268600" y="1321649"/>
                </a:cubicBezTo>
                <a:cubicBezTo>
                  <a:pt x="1270147" y="1321649"/>
                  <a:pt x="1271693" y="1321649"/>
                  <a:pt x="1273286" y="1321649"/>
                </a:cubicBezTo>
                <a:lnTo>
                  <a:pt x="1273227" y="1321066"/>
                </a:lnTo>
                <a:close/>
                <a:moveTo>
                  <a:pt x="827891" y="1291474"/>
                </a:moveTo>
                <a:lnTo>
                  <a:pt x="822601" y="1291544"/>
                </a:lnTo>
                <a:lnTo>
                  <a:pt x="818272" y="1292220"/>
                </a:lnTo>
                <a:lnTo>
                  <a:pt x="827891" y="1292047"/>
                </a:lnTo>
                <a:close/>
                <a:moveTo>
                  <a:pt x="856397" y="1288691"/>
                </a:moveTo>
                <a:lnTo>
                  <a:pt x="865903" y="1290590"/>
                </a:lnTo>
                <a:lnTo>
                  <a:pt x="859999" y="1288752"/>
                </a:lnTo>
                <a:close/>
                <a:moveTo>
                  <a:pt x="834694" y="1288572"/>
                </a:moveTo>
                <a:lnTo>
                  <a:pt x="828038" y="1288654"/>
                </a:lnTo>
                <a:lnTo>
                  <a:pt x="828038" y="1289214"/>
                </a:lnTo>
                <a:close/>
                <a:moveTo>
                  <a:pt x="229746" y="1191418"/>
                </a:moveTo>
                <a:lnTo>
                  <a:pt x="227402" y="1191947"/>
                </a:lnTo>
                <a:lnTo>
                  <a:pt x="229315" y="1191947"/>
                </a:lnTo>
                <a:cubicBezTo>
                  <a:pt x="229315" y="1192877"/>
                  <a:pt x="229315" y="1193807"/>
                  <a:pt x="229315" y="1194765"/>
                </a:cubicBezTo>
                <a:lnTo>
                  <a:pt x="231321" y="1194765"/>
                </a:lnTo>
                <a:lnTo>
                  <a:pt x="229746" y="1194236"/>
                </a:lnTo>
                <a:cubicBezTo>
                  <a:pt x="229746" y="1193306"/>
                  <a:pt x="229746" y="1192376"/>
                  <a:pt x="229746" y="1191418"/>
                </a:cubicBezTo>
                <a:close/>
                <a:moveTo>
                  <a:pt x="215687" y="1187190"/>
                </a:moveTo>
                <a:lnTo>
                  <a:pt x="215198" y="1187720"/>
                </a:lnTo>
                <a:lnTo>
                  <a:pt x="215256" y="1187720"/>
                </a:lnTo>
                <a:cubicBezTo>
                  <a:pt x="215256" y="1189115"/>
                  <a:pt x="215256" y="1190510"/>
                  <a:pt x="215256" y="1191947"/>
                </a:cubicBezTo>
                <a:lnTo>
                  <a:pt x="222721" y="1191947"/>
                </a:lnTo>
                <a:lnTo>
                  <a:pt x="215687" y="1191418"/>
                </a:lnTo>
                <a:cubicBezTo>
                  <a:pt x="215687" y="1190023"/>
                  <a:pt x="215687" y="1188628"/>
                  <a:pt x="215687" y="1187190"/>
                </a:cubicBezTo>
                <a:close/>
                <a:moveTo>
                  <a:pt x="1279678" y="1082356"/>
                </a:moveTo>
                <a:lnTo>
                  <a:pt x="1271680" y="1084589"/>
                </a:lnTo>
                <a:lnTo>
                  <a:pt x="1282181" y="1082544"/>
                </a:lnTo>
                <a:close/>
                <a:moveTo>
                  <a:pt x="117703" y="941507"/>
                </a:moveTo>
                <a:lnTo>
                  <a:pt x="112587" y="941985"/>
                </a:lnTo>
                <a:lnTo>
                  <a:pt x="112565" y="942333"/>
                </a:lnTo>
                <a:lnTo>
                  <a:pt x="115665" y="941837"/>
                </a:lnTo>
                <a:close/>
                <a:moveTo>
                  <a:pt x="144268" y="939395"/>
                </a:moveTo>
                <a:lnTo>
                  <a:pt x="143354" y="939580"/>
                </a:lnTo>
                <a:lnTo>
                  <a:pt x="144077" y="939739"/>
                </a:lnTo>
                <a:close/>
                <a:moveTo>
                  <a:pt x="162575" y="933530"/>
                </a:moveTo>
                <a:lnTo>
                  <a:pt x="161704" y="935101"/>
                </a:lnTo>
                <a:lnTo>
                  <a:pt x="170045" y="933585"/>
                </a:lnTo>
                <a:close/>
                <a:moveTo>
                  <a:pt x="1321645" y="918415"/>
                </a:moveTo>
                <a:lnTo>
                  <a:pt x="1321534" y="920177"/>
                </a:lnTo>
                <a:lnTo>
                  <a:pt x="1321740" y="918415"/>
                </a:lnTo>
                <a:close/>
                <a:moveTo>
                  <a:pt x="1319333" y="915183"/>
                </a:moveTo>
                <a:lnTo>
                  <a:pt x="1318544" y="918029"/>
                </a:lnTo>
                <a:lnTo>
                  <a:pt x="1318702" y="918029"/>
                </a:lnTo>
                <a:close/>
                <a:moveTo>
                  <a:pt x="1326355" y="907109"/>
                </a:moveTo>
                <a:lnTo>
                  <a:pt x="1326355" y="910983"/>
                </a:lnTo>
                <a:lnTo>
                  <a:pt x="1325831" y="911101"/>
                </a:lnTo>
                <a:lnTo>
                  <a:pt x="1326426" y="911369"/>
                </a:lnTo>
                <a:cubicBezTo>
                  <a:pt x="1326426" y="909974"/>
                  <a:pt x="1326426" y="908579"/>
                  <a:pt x="1326426" y="907141"/>
                </a:cubicBezTo>
                <a:close/>
                <a:moveTo>
                  <a:pt x="1328144" y="892192"/>
                </a:moveTo>
                <a:lnTo>
                  <a:pt x="1327667" y="893446"/>
                </a:lnTo>
                <a:lnTo>
                  <a:pt x="1327989" y="893049"/>
                </a:lnTo>
                <a:close/>
                <a:moveTo>
                  <a:pt x="49605" y="887420"/>
                </a:moveTo>
                <a:lnTo>
                  <a:pt x="48549" y="891229"/>
                </a:lnTo>
                <a:lnTo>
                  <a:pt x="49956" y="887420"/>
                </a:lnTo>
                <a:close/>
                <a:moveTo>
                  <a:pt x="1332266" y="883369"/>
                </a:moveTo>
                <a:lnTo>
                  <a:pt x="1329479" y="884207"/>
                </a:lnTo>
                <a:lnTo>
                  <a:pt x="1329509" y="884816"/>
                </a:lnTo>
                <a:lnTo>
                  <a:pt x="1329551" y="884594"/>
                </a:lnTo>
                <a:close/>
                <a:moveTo>
                  <a:pt x="1555987" y="821766"/>
                </a:moveTo>
                <a:lnTo>
                  <a:pt x="1555987" y="822201"/>
                </a:lnTo>
                <a:lnTo>
                  <a:pt x="1556081" y="822189"/>
                </a:lnTo>
                <a:close/>
                <a:moveTo>
                  <a:pt x="1565360" y="810928"/>
                </a:moveTo>
                <a:lnTo>
                  <a:pt x="1564871" y="811809"/>
                </a:lnTo>
                <a:lnTo>
                  <a:pt x="1567314" y="810928"/>
                </a:lnTo>
                <a:close/>
                <a:moveTo>
                  <a:pt x="1563797" y="810928"/>
                </a:moveTo>
                <a:lnTo>
                  <a:pt x="1556762" y="814736"/>
                </a:lnTo>
                <a:lnTo>
                  <a:pt x="1563797" y="812197"/>
                </a:lnTo>
                <a:close/>
                <a:moveTo>
                  <a:pt x="265833" y="806020"/>
                </a:moveTo>
                <a:lnTo>
                  <a:pt x="263704" y="809861"/>
                </a:lnTo>
                <a:lnTo>
                  <a:pt x="263704" y="816750"/>
                </a:lnTo>
                <a:lnTo>
                  <a:pt x="264113" y="816565"/>
                </a:lnTo>
                <a:cubicBezTo>
                  <a:pt x="264048" y="815315"/>
                  <a:pt x="263984" y="814065"/>
                  <a:pt x="263918" y="812777"/>
                </a:cubicBezTo>
                <a:close/>
                <a:moveTo>
                  <a:pt x="263774" y="779374"/>
                </a:moveTo>
                <a:lnTo>
                  <a:pt x="263704" y="783086"/>
                </a:lnTo>
                <a:cubicBezTo>
                  <a:pt x="263961" y="783987"/>
                  <a:pt x="264219" y="784888"/>
                  <a:pt x="264484" y="785816"/>
                </a:cubicBezTo>
                <a:cubicBezTo>
                  <a:pt x="265299" y="788846"/>
                  <a:pt x="265316" y="791337"/>
                  <a:pt x="265265" y="794448"/>
                </a:cubicBezTo>
                <a:cubicBezTo>
                  <a:pt x="265103" y="797155"/>
                  <a:pt x="265022" y="798508"/>
                  <a:pt x="265217" y="799730"/>
                </a:cubicBezTo>
                <a:lnTo>
                  <a:pt x="266556" y="803466"/>
                </a:lnTo>
                <a:lnTo>
                  <a:pt x="267237" y="801063"/>
                </a:lnTo>
                <a:cubicBezTo>
                  <a:pt x="266721" y="800598"/>
                  <a:pt x="266206" y="800133"/>
                  <a:pt x="265675" y="799654"/>
                </a:cubicBezTo>
                <a:cubicBezTo>
                  <a:pt x="265601" y="797718"/>
                  <a:pt x="265617" y="795778"/>
                  <a:pt x="265675" y="793841"/>
                </a:cubicBezTo>
                <a:close/>
                <a:moveTo>
                  <a:pt x="260988" y="770061"/>
                </a:moveTo>
                <a:lnTo>
                  <a:pt x="260988" y="771364"/>
                </a:lnTo>
                <a:lnTo>
                  <a:pt x="263497" y="777263"/>
                </a:lnTo>
                <a:lnTo>
                  <a:pt x="262551" y="770061"/>
                </a:lnTo>
                <a:cubicBezTo>
                  <a:pt x="262035" y="770061"/>
                  <a:pt x="261520" y="770061"/>
                  <a:pt x="260988" y="770061"/>
                </a:cubicBezTo>
                <a:close/>
                <a:moveTo>
                  <a:pt x="157888" y="651686"/>
                </a:moveTo>
                <a:lnTo>
                  <a:pt x="157415" y="651764"/>
                </a:lnTo>
                <a:lnTo>
                  <a:pt x="160373" y="652274"/>
                </a:lnTo>
                <a:close/>
                <a:moveTo>
                  <a:pt x="267237" y="426537"/>
                </a:moveTo>
                <a:lnTo>
                  <a:pt x="267237" y="427619"/>
                </a:lnTo>
                <a:cubicBezTo>
                  <a:pt x="268274" y="427791"/>
                  <a:pt x="269311" y="427961"/>
                  <a:pt x="270380" y="428137"/>
                </a:cubicBezTo>
                <a:lnTo>
                  <a:pt x="273548" y="428680"/>
                </a:lnTo>
                <a:close/>
                <a:moveTo>
                  <a:pt x="37605" y="359270"/>
                </a:moveTo>
                <a:lnTo>
                  <a:pt x="37103" y="361533"/>
                </a:lnTo>
                <a:lnTo>
                  <a:pt x="37605" y="361382"/>
                </a:lnTo>
                <a:close/>
                <a:moveTo>
                  <a:pt x="52477" y="337570"/>
                </a:moveTo>
                <a:lnTo>
                  <a:pt x="47288" y="342340"/>
                </a:lnTo>
                <a:lnTo>
                  <a:pt x="45805" y="345093"/>
                </a:lnTo>
                <a:close/>
                <a:moveTo>
                  <a:pt x="104291" y="336166"/>
                </a:moveTo>
                <a:lnTo>
                  <a:pt x="103776" y="337559"/>
                </a:lnTo>
                <a:lnTo>
                  <a:pt x="108925" y="336166"/>
                </a:lnTo>
                <a:close/>
                <a:moveTo>
                  <a:pt x="1309237" y="322954"/>
                </a:moveTo>
                <a:lnTo>
                  <a:pt x="1309180" y="330559"/>
                </a:lnTo>
                <a:lnTo>
                  <a:pt x="1309237" y="330520"/>
                </a:lnTo>
                <a:close/>
                <a:moveTo>
                  <a:pt x="1308964" y="317715"/>
                </a:moveTo>
                <a:lnTo>
                  <a:pt x="1309237" y="318569"/>
                </a:lnTo>
                <a:lnTo>
                  <a:pt x="1309237" y="317838"/>
                </a:lnTo>
                <a:close/>
                <a:moveTo>
                  <a:pt x="1310087" y="313153"/>
                </a:moveTo>
                <a:lnTo>
                  <a:pt x="1307609" y="313473"/>
                </a:lnTo>
                <a:lnTo>
                  <a:pt x="1308045" y="314836"/>
                </a:lnTo>
                <a:close/>
                <a:moveTo>
                  <a:pt x="1318544" y="312064"/>
                </a:moveTo>
                <a:lnTo>
                  <a:pt x="1316298" y="312353"/>
                </a:lnTo>
                <a:lnTo>
                  <a:pt x="1318544" y="312205"/>
                </a:lnTo>
                <a:close/>
                <a:moveTo>
                  <a:pt x="1084622" y="267674"/>
                </a:moveTo>
                <a:lnTo>
                  <a:pt x="1084227" y="268378"/>
                </a:lnTo>
                <a:cubicBezTo>
                  <a:pt x="1082679" y="268378"/>
                  <a:pt x="1081133" y="268378"/>
                  <a:pt x="1079540" y="268378"/>
                </a:cubicBezTo>
                <a:lnTo>
                  <a:pt x="1079603" y="268477"/>
                </a:lnTo>
                <a:lnTo>
                  <a:pt x="1084192" y="268477"/>
                </a:lnTo>
                <a:close/>
                <a:moveTo>
                  <a:pt x="956410" y="266968"/>
                </a:moveTo>
                <a:lnTo>
                  <a:pt x="957576" y="267083"/>
                </a:lnTo>
                <a:lnTo>
                  <a:pt x="957576" y="269776"/>
                </a:lnTo>
                <a:lnTo>
                  <a:pt x="957694" y="269787"/>
                </a:lnTo>
                <a:cubicBezTo>
                  <a:pt x="957694" y="268857"/>
                  <a:pt x="957694" y="267927"/>
                  <a:pt x="957694" y="266968"/>
                </a:cubicBezTo>
                <a:close/>
                <a:moveTo>
                  <a:pt x="1089372" y="259220"/>
                </a:moveTo>
                <a:lnTo>
                  <a:pt x="1085856" y="265479"/>
                </a:lnTo>
                <a:lnTo>
                  <a:pt x="1088878" y="261431"/>
                </a:lnTo>
                <a:close/>
                <a:moveTo>
                  <a:pt x="1018517" y="223356"/>
                </a:moveTo>
                <a:lnTo>
                  <a:pt x="1013866" y="226190"/>
                </a:lnTo>
                <a:lnTo>
                  <a:pt x="1013024" y="227709"/>
                </a:lnTo>
                <a:lnTo>
                  <a:pt x="1017055" y="224692"/>
                </a:lnTo>
                <a:close/>
                <a:moveTo>
                  <a:pt x="850645" y="220099"/>
                </a:moveTo>
                <a:lnTo>
                  <a:pt x="850897" y="221488"/>
                </a:lnTo>
                <a:cubicBezTo>
                  <a:pt x="851086" y="222545"/>
                  <a:pt x="851275" y="223602"/>
                  <a:pt x="851470" y="224692"/>
                </a:cubicBezTo>
                <a:lnTo>
                  <a:pt x="852860" y="224692"/>
                </a:lnTo>
                <a:close/>
                <a:moveTo>
                  <a:pt x="1155019" y="35"/>
                </a:moveTo>
                <a:cubicBezTo>
                  <a:pt x="1161775" y="275"/>
                  <a:pt x="1168415" y="1783"/>
                  <a:pt x="1174829" y="4853"/>
                </a:cubicBezTo>
                <a:cubicBezTo>
                  <a:pt x="1176343" y="5231"/>
                  <a:pt x="1177858" y="5609"/>
                  <a:pt x="1179418" y="5998"/>
                </a:cubicBezTo>
                <a:cubicBezTo>
                  <a:pt x="1189392" y="9487"/>
                  <a:pt x="1196322" y="14392"/>
                  <a:pt x="1201385" y="22997"/>
                </a:cubicBezTo>
                <a:cubicBezTo>
                  <a:pt x="1206849" y="35244"/>
                  <a:pt x="1206940" y="49865"/>
                  <a:pt x="1201678" y="62191"/>
                </a:cubicBezTo>
                <a:cubicBezTo>
                  <a:pt x="1200594" y="64241"/>
                  <a:pt x="1199461" y="66271"/>
                  <a:pt x="1198261" y="68268"/>
                </a:cubicBezTo>
                <a:cubicBezTo>
                  <a:pt x="1197423" y="69721"/>
                  <a:pt x="1196586" y="71175"/>
                  <a:pt x="1195723" y="72672"/>
                </a:cubicBezTo>
                <a:cubicBezTo>
                  <a:pt x="1194659" y="73980"/>
                  <a:pt x="1194659" y="73980"/>
                  <a:pt x="1193575" y="75314"/>
                </a:cubicBezTo>
                <a:cubicBezTo>
                  <a:pt x="1192544" y="75314"/>
                  <a:pt x="1191512" y="75314"/>
                  <a:pt x="1190450" y="75314"/>
                </a:cubicBezTo>
                <a:cubicBezTo>
                  <a:pt x="1190128" y="76651"/>
                  <a:pt x="1189806" y="77988"/>
                  <a:pt x="1189474" y="79366"/>
                </a:cubicBezTo>
                <a:cubicBezTo>
                  <a:pt x="1187326" y="83769"/>
                  <a:pt x="1187326" y="83769"/>
                  <a:pt x="1182445" y="85707"/>
                </a:cubicBezTo>
                <a:cubicBezTo>
                  <a:pt x="1180962" y="85998"/>
                  <a:pt x="1179480" y="86289"/>
                  <a:pt x="1177953" y="86588"/>
                </a:cubicBezTo>
                <a:cubicBezTo>
                  <a:pt x="1177953" y="87518"/>
                  <a:pt x="1177953" y="88448"/>
                  <a:pt x="1177953" y="89406"/>
                </a:cubicBezTo>
                <a:cubicBezTo>
                  <a:pt x="1175369" y="91088"/>
                  <a:pt x="1172720" y="92688"/>
                  <a:pt x="1170045" y="94251"/>
                </a:cubicBezTo>
                <a:cubicBezTo>
                  <a:pt x="1154651" y="104199"/>
                  <a:pt x="1148918" y="116979"/>
                  <a:pt x="1143806" y="132828"/>
                </a:cubicBezTo>
                <a:cubicBezTo>
                  <a:pt x="1142095" y="137144"/>
                  <a:pt x="1140989" y="138617"/>
                  <a:pt x="1137338" y="141548"/>
                </a:cubicBezTo>
                <a:cubicBezTo>
                  <a:pt x="1136166" y="144148"/>
                  <a:pt x="1134992" y="146751"/>
                  <a:pt x="1133970" y="149403"/>
                </a:cubicBezTo>
                <a:cubicBezTo>
                  <a:pt x="1132069" y="154334"/>
                  <a:pt x="1130006" y="159210"/>
                  <a:pt x="1127965" y="164095"/>
                </a:cubicBezTo>
                <a:cubicBezTo>
                  <a:pt x="1126897" y="166664"/>
                  <a:pt x="1125830" y="169233"/>
                  <a:pt x="1124762" y="171802"/>
                </a:cubicBezTo>
                <a:cubicBezTo>
                  <a:pt x="1122961" y="176134"/>
                  <a:pt x="1121160" y="180466"/>
                  <a:pt x="1119359" y="184798"/>
                </a:cubicBezTo>
                <a:cubicBezTo>
                  <a:pt x="1116567" y="191508"/>
                  <a:pt x="1113778" y="198220"/>
                  <a:pt x="1111014" y="204941"/>
                </a:cubicBezTo>
                <a:cubicBezTo>
                  <a:pt x="1110590" y="205970"/>
                  <a:pt x="1110165" y="206999"/>
                  <a:pt x="1109729" y="208059"/>
                </a:cubicBezTo>
                <a:cubicBezTo>
                  <a:pt x="1108615" y="210762"/>
                  <a:pt x="1107505" y="213466"/>
                  <a:pt x="1106395" y="216170"/>
                </a:cubicBezTo>
                <a:cubicBezTo>
                  <a:pt x="1104320" y="220956"/>
                  <a:pt x="1103283" y="223349"/>
                  <a:pt x="1102147" y="224810"/>
                </a:cubicBezTo>
                <a:lnTo>
                  <a:pt x="1098261" y="227262"/>
                </a:lnTo>
                <a:lnTo>
                  <a:pt x="1098367" y="238475"/>
                </a:lnTo>
                <a:cubicBezTo>
                  <a:pt x="1098025" y="239757"/>
                  <a:pt x="1097684" y="241038"/>
                  <a:pt x="1097331" y="242358"/>
                </a:cubicBezTo>
                <a:cubicBezTo>
                  <a:pt x="1096958" y="243711"/>
                  <a:pt x="1096585" y="245064"/>
                  <a:pt x="1096201" y="246458"/>
                </a:cubicBezTo>
                <a:cubicBezTo>
                  <a:pt x="1093302" y="257363"/>
                  <a:pt x="1090901" y="268062"/>
                  <a:pt x="1089440" y="279206"/>
                </a:cubicBezTo>
                <a:cubicBezTo>
                  <a:pt x="1088878" y="282569"/>
                  <a:pt x="1088878" y="282569"/>
                  <a:pt x="1087316" y="283978"/>
                </a:cubicBezTo>
                <a:cubicBezTo>
                  <a:pt x="1087070" y="286587"/>
                  <a:pt x="1086924" y="289205"/>
                  <a:pt x="1086822" y="291822"/>
                </a:cubicBezTo>
                <a:cubicBezTo>
                  <a:pt x="1086756" y="293408"/>
                  <a:pt x="1086691" y="294993"/>
                  <a:pt x="1086623" y="296625"/>
                </a:cubicBezTo>
                <a:cubicBezTo>
                  <a:pt x="1086562" y="298294"/>
                  <a:pt x="1086501" y="299962"/>
                  <a:pt x="1086437" y="301681"/>
                </a:cubicBezTo>
                <a:cubicBezTo>
                  <a:pt x="1086336" y="304192"/>
                  <a:pt x="1086336" y="304192"/>
                  <a:pt x="1086233" y="306754"/>
                </a:cubicBezTo>
                <a:lnTo>
                  <a:pt x="1086007" y="312619"/>
                </a:lnTo>
                <a:lnTo>
                  <a:pt x="1087470" y="320554"/>
                </a:lnTo>
                <a:cubicBezTo>
                  <a:pt x="1089648" y="325409"/>
                  <a:pt x="1093111" y="329799"/>
                  <a:pt x="1098285" y="334611"/>
                </a:cubicBezTo>
                <a:cubicBezTo>
                  <a:pt x="1100424" y="336130"/>
                  <a:pt x="1100424" y="336130"/>
                  <a:pt x="1102607" y="337679"/>
                </a:cubicBezTo>
                <a:cubicBezTo>
                  <a:pt x="1104334" y="338951"/>
                  <a:pt x="1104334" y="338951"/>
                  <a:pt x="1106095" y="340248"/>
                </a:cubicBezTo>
                <a:cubicBezTo>
                  <a:pt x="1106095" y="341178"/>
                  <a:pt x="1106095" y="342108"/>
                  <a:pt x="1106095" y="343066"/>
                </a:cubicBezTo>
                <a:cubicBezTo>
                  <a:pt x="1107127" y="343183"/>
                  <a:pt x="1108158" y="343299"/>
                  <a:pt x="1109220" y="343419"/>
                </a:cubicBezTo>
                <a:cubicBezTo>
                  <a:pt x="1115473" y="344829"/>
                  <a:pt x="1120724" y="347416"/>
                  <a:pt x="1126403" y="350112"/>
                </a:cubicBezTo>
                <a:cubicBezTo>
                  <a:pt x="1128207" y="350926"/>
                  <a:pt x="1130012" y="351740"/>
                  <a:pt x="1131871" y="352579"/>
                </a:cubicBezTo>
                <a:cubicBezTo>
                  <a:pt x="1133159" y="353160"/>
                  <a:pt x="1134448" y="353741"/>
                  <a:pt x="1135776" y="354340"/>
                </a:cubicBezTo>
                <a:cubicBezTo>
                  <a:pt x="1135776" y="355270"/>
                  <a:pt x="1135776" y="356200"/>
                  <a:pt x="1135776" y="357158"/>
                </a:cubicBezTo>
                <a:cubicBezTo>
                  <a:pt x="1148107" y="360029"/>
                  <a:pt x="1158679" y="359101"/>
                  <a:pt x="1170143" y="354340"/>
                </a:cubicBezTo>
                <a:cubicBezTo>
                  <a:pt x="1172366" y="353468"/>
                  <a:pt x="1172366" y="353468"/>
                  <a:pt x="1174634" y="352579"/>
                </a:cubicBezTo>
                <a:cubicBezTo>
                  <a:pt x="1180354" y="349689"/>
                  <a:pt x="1185568" y="346355"/>
                  <a:pt x="1190890" y="342907"/>
                </a:cubicBezTo>
                <a:cubicBezTo>
                  <a:pt x="1195169" y="340228"/>
                  <a:pt x="1199557" y="337821"/>
                  <a:pt x="1204021" y="335404"/>
                </a:cubicBezTo>
                <a:cubicBezTo>
                  <a:pt x="1211989" y="330886"/>
                  <a:pt x="1217509" y="325766"/>
                  <a:pt x="1223255" y="319110"/>
                </a:cubicBezTo>
                <a:cubicBezTo>
                  <a:pt x="1224447" y="317947"/>
                  <a:pt x="1225639" y="316784"/>
                  <a:pt x="1226868" y="315587"/>
                </a:cubicBezTo>
                <a:cubicBezTo>
                  <a:pt x="1229855" y="311593"/>
                  <a:pt x="1230852" y="308240"/>
                  <a:pt x="1231859" y="303559"/>
                </a:cubicBezTo>
                <a:cubicBezTo>
                  <a:pt x="1232628" y="300790"/>
                  <a:pt x="1232628" y="300790"/>
                  <a:pt x="1234178" y="298059"/>
                </a:cubicBezTo>
                <a:cubicBezTo>
                  <a:pt x="1235964" y="294761"/>
                  <a:pt x="1236623" y="291807"/>
                  <a:pt x="1237314" y="288195"/>
                </a:cubicBezTo>
                <a:cubicBezTo>
                  <a:pt x="1239360" y="278571"/>
                  <a:pt x="1242414" y="272733"/>
                  <a:pt x="1249811" y="265559"/>
                </a:cubicBezTo>
                <a:cubicBezTo>
                  <a:pt x="1250842" y="265559"/>
                  <a:pt x="1251873" y="265559"/>
                  <a:pt x="1252935" y="265559"/>
                </a:cubicBezTo>
                <a:cubicBezTo>
                  <a:pt x="1252935" y="264629"/>
                  <a:pt x="1252935" y="263699"/>
                  <a:pt x="1252935" y="262741"/>
                </a:cubicBezTo>
                <a:cubicBezTo>
                  <a:pt x="1265591" y="253427"/>
                  <a:pt x="1280762" y="251648"/>
                  <a:pt x="1296675" y="252876"/>
                </a:cubicBezTo>
                <a:cubicBezTo>
                  <a:pt x="1300535" y="253563"/>
                  <a:pt x="1303901" y="254478"/>
                  <a:pt x="1307609" y="255695"/>
                </a:cubicBezTo>
                <a:cubicBezTo>
                  <a:pt x="1307609" y="256625"/>
                  <a:pt x="1307609" y="257555"/>
                  <a:pt x="1307609" y="258513"/>
                </a:cubicBezTo>
                <a:cubicBezTo>
                  <a:pt x="1309021" y="258619"/>
                  <a:pt x="1310432" y="258723"/>
                  <a:pt x="1311887" y="258832"/>
                </a:cubicBezTo>
                <a:cubicBezTo>
                  <a:pt x="1319573" y="260476"/>
                  <a:pt x="1322149" y="264416"/>
                  <a:pt x="1326715" y="269969"/>
                </a:cubicBezTo>
                <a:cubicBezTo>
                  <a:pt x="1334402" y="281220"/>
                  <a:pt x="1336114" y="294839"/>
                  <a:pt x="1334165" y="307836"/>
                </a:cubicBezTo>
                <a:cubicBezTo>
                  <a:pt x="1332176" y="311898"/>
                  <a:pt x="1332176" y="311898"/>
                  <a:pt x="1329479" y="314882"/>
                </a:cubicBezTo>
                <a:cubicBezTo>
                  <a:pt x="1327417" y="314882"/>
                  <a:pt x="1325355" y="314882"/>
                  <a:pt x="1323231" y="314882"/>
                </a:cubicBezTo>
                <a:cubicBezTo>
                  <a:pt x="1323231" y="315812"/>
                  <a:pt x="1323231" y="316742"/>
                  <a:pt x="1323231" y="317700"/>
                </a:cubicBezTo>
                <a:lnTo>
                  <a:pt x="1322774" y="317838"/>
                </a:lnTo>
                <a:lnTo>
                  <a:pt x="1323295" y="317838"/>
                </a:lnTo>
                <a:cubicBezTo>
                  <a:pt x="1323295" y="316907"/>
                  <a:pt x="1323295" y="315977"/>
                  <a:pt x="1323295" y="315019"/>
                </a:cubicBezTo>
                <a:cubicBezTo>
                  <a:pt x="1324842" y="315019"/>
                  <a:pt x="1326388" y="315019"/>
                  <a:pt x="1327982" y="315019"/>
                </a:cubicBezTo>
                <a:cubicBezTo>
                  <a:pt x="1325845" y="321328"/>
                  <a:pt x="1322753" y="323742"/>
                  <a:pt x="1317047" y="327702"/>
                </a:cubicBezTo>
                <a:cubicBezTo>
                  <a:pt x="1316531" y="329097"/>
                  <a:pt x="1316016" y="330492"/>
                  <a:pt x="1315484" y="331930"/>
                </a:cubicBezTo>
                <a:cubicBezTo>
                  <a:pt x="1312599" y="332959"/>
                  <a:pt x="1312599" y="332959"/>
                  <a:pt x="1309139" y="333603"/>
                </a:cubicBezTo>
                <a:cubicBezTo>
                  <a:pt x="1307993" y="333827"/>
                  <a:pt x="1306847" y="334050"/>
                  <a:pt x="1305666" y="334280"/>
                </a:cubicBezTo>
                <a:cubicBezTo>
                  <a:pt x="1304783" y="334434"/>
                  <a:pt x="1303899" y="334589"/>
                  <a:pt x="1302988" y="334748"/>
                </a:cubicBezTo>
                <a:lnTo>
                  <a:pt x="1305905" y="332775"/>
                </a:lnTo>
                <a:lnTo>
                  <a:pt x="1304485" y="333202"/>
                </a:lnTo>
                <a:cubicBezTo>
                  <a:pt x="1302987" y="334640"/>
                  <a:pt x="1302987" y="334640"/>
                  <a:pt x="1301459" y="336108"/>
                </a:cubicBezTo>
                <a:cubicBezTo>
                  <a:pt x="1298237" y="338839"/>
                  <a:pt x="1298237" y="338839"/>
                  <a:pt x="1291989" y="338839"/>
                </a:cubicBezTo>
                <a:cubicBezTo>
                  <a:pt x="1291473" y="340234"/>
                  <a:pt x="1290957" y="341629"/>
                  <a:pt x="1290426" y="343066"/>
                </a:cubicBezTo>
                <a:cubicBezTo>
                  <a:pt x="1288879" y="343415"/>
                  <a:pt x="1287333" y="343764"/>
                  <a:pt x="1285740" y="344123"/>
                </a:cubicBezTo>
                <a:cubicBezTo>
                  <a:pt x="1266905" y="348491"/>
                  <a:pt x="1249005" y="369098"/>
                  <a:pt x="1237314" y="382525"/>
                </a:cubicBezTo>
                <a:cubicBezTo>
                  <a:pt x="1235678" y="385783"/>
                  <a:pt x="1234122" y="389075"/>
                  <a:pt x="1232628" y="392389"/>
                </a:cubicBezTo>
                <a:cubicBezTo>
                  <a:pt x="1231317" y="394515"/>
                  <a:pt x="1229981" y="396629"/>
                  <a:pt x="1228625" y="398731"/>
                </a:cubicBezTo>
                <a:cubicBezTo>
                  <a:pt x="1221457" y="410300"/>
                  <a:pt x="1219465" y="421836"/>
                  <a:pt x="1222822" y="434798"/>
                </a:cubicBezTo>
                <a:cubicBezTo>
                  <a:pt x="1229360" y="453710"/>
                  <a:pt x="1244088" y="472467"/>
                  <a:pt x="1260746" y="485398"/>
                </a:cubicBezTo>
                <a:cubicBezTo>
                  <a:pt x="1264961" y="487349"/>
                  <a:pt x="1264961" y="487349"/>
                  <a:pt x="1268556" y="488216"/>
                </a:cubicBezTo>
                <a:cubicBezTo>
                  <a:pt x="1268556" y="489146"/>
                  <a:pt x="1268556" y="490076"/>
                  <a:pt x="1268556" y="491034"/>
                </a:cubicBezTo>
                <a:cubicBezTo>
                  <a:pt x="1288790" y="497071"/>
                  <a:pt x="1319055" y="498555"/>
                  <a:pt x="1338852" y="489625"/>
                </a:cubicBezTo>
                <a:cubicBezTo>
                  <a:pt x="1341711" y="489213"/>
                  <a:pt x="1344575" y="488837"/>
                  <a:pt x="1347444" y="488480"/>
                </a:cubicBezTo>
                <a:cubicBezTo>
                  <a:pt x="1355372" y="487345"/>
                  <a:pt x="1362033" y="485390"/>
                  <a:pt x="1369362" y="482513"/>
                </a:cubicBezTo>
                <a:cubicBezTo>
                  <a:pt x="1375665" y="480318"/>
                  <a:pt x="1382189" y="479322"/>
                  <a:pt x="1388840" y="478351"/>
                </a:cubicBezTo>
                <a:cubicBezTo>
                  <a:pt x="1388840" y="477421"/>
                  <a:pt x="1388840" y="476492"/>
                  <a:pt x="1388840" y="475533"/>
                </a:cubicBezTo>
                <a:cubicBezTo>
                  <a:pt x="1391083" y="474821"/>
                  <a:pt x="1393329" y="474118"/>
                  <a:pt x="1395576" y="473419"/>
                </a:cubicBezTo>
                <a:cubicBezTo>
                  <a:pt x="1396827" y="473027"/>
                  <a:pt x="1398077" y="472635"/>
                  <a:pt x="1399365" y="472230"/>
                </a:cubicBezTo>
                <a:cubicBezTo>
                  <a:pt x="1402899" y="471305"/>
                  <a:pt x="1402899" y="471305"/>
                  <a:pt x="1407585" y="471305"/>
                </a:cubicBezTo>
                <a:cubicBezTo>
                  <a:pt x="1408101" y="469910"/>
                  <a:pt x="1408616" y="468515"/>
                  <a:pt x="1409147" y="467078"/>
                </a:cubicBezTo>
                <a:cubicBezTo>
                  <a:pt x="1412388" y="465580"/>
                  <a:pt x="1412388" y="465580"/>
                  <a:pt x="1416470" y="464259"/>
                </a:cubicBezTo>
                <a:cubicBezTo>
                  <a:pt x="1424029" y="461705"/>
                  <a:pt x="1431130" y="458955"/>
                  <a:pt x="1437949" y="455011"/>
                </a:cubicBezTo>
                <a:cubicBezTo>
                  <a:pt x="1442765" y="452574"/>
                  <a:pt x="1447553" y="451394"/>
                  <a:pt x="1452887" y="450167"/>
                </a:cubicBezTo>
                <a:cubicBezTo>
                  <a:pt x="1452887" y="449237"/>
                  <a:pt x="1452887" y="448307"/>
                  <a:pt x="1452887" y="447349"/>
                </a:cubicBezTo>
                <a:cubicBezTo>
                  <a:pt x="1453714" y="446944"/>
                  <a:pt x="1454541" y="446539"/>
                  <a:pt x="1455394" y="446122"/>
                </a:cubicBezTo>
                <a:cubicBezTo>
                  <a:pt x="1459151" y="444278"/>
                  <a:pt x="1462902" y="442422"/>
                  <a:pt x="1466653" y="440567"/>
                </a:cubicBezTo>
                <a:cubicBezTo>
                  <a:pt x="1467955" y="439930"/>
                  <a:pt x="1469256" y="439293"/>
                  <a:pt x="1470598" y="438637"/>
                </a:cubicBezTo>
                <a:cubicBezTo>
                  <a:pt x="1471852" y="438016"/>
                  <a:pt x="1473105" y="437393"/>
                  <a:pt x="1474397" y="436752"/>
                </a:cubicBezTo>
                <a:cubicBezTo>
                  <a:pt x="1475550" y="436184"/>
                  <a:pt x="1476703" y="435616"/>
                  <a:pt x="1477892" y="435030"/>
                </a:cubicBezTo>
                <a:cubicBezTo>
                  <a:pt x="1480966" y="433279"/>
                  <a:pt x="1483173" y="431373"/>
                  <a:pt x="1485691" y="429029"/>
                </a:cubicBezTo>
                <a:cubicBezTo>
                  <a:pt x="1486737" y="428575"/>
                  <a:pt x="1487781" y="428121"/>
                  <a:pt x="1488858" y="427653"/>
                </a:cubicBezTo>
                <a:cubicBezTo>
                  <a:pt x="1492438" y="425977"/>
                  <a:pt x="1493705" y="424453"/>
                  <a:pt x="1495943" y="421454"/>
                </a:cubicBezTo>
                <a:cubicBezTo>
                  <a:pt x="1507114" y="407544"/>
                  <a:pt x="1519758" y="393513"/>
                  <a:pt x="1538608" y="388338"/>
                </a:cubicBezTo>
                <a:cubicBezTo>
                  <a:pt x="1541025" y="388250"/>
                  <a:pt x="1541025" y="388250"/>
                  <a:pt x="1543490" y="388161"/>
                </a:cubicBezTo>
                <a:cubicBezTo>
                  <a:pt x="1545535" y="387984"/>
                  <a:pt x="1545535" y="387984"/>
                  <a:pt x="1547621" y="387804"/>
                </a:cubicBezTo>
                <a:cubicBezTo>
                  <a:pt x="1560659" y="387094"/>
                  <a:pt x="1568716" y="390117"/>
                  <a:pt x="1579418" y="396617"/>
                </a:cubicBezTo>
                <a:cubicBezTo>
                  <a:pt x="1581361" y="397687"/>
                  <a:pt x="1581361" y="397687"/>
                  <a:pt x="1583342" y="398780"/>
                </a:cubicBezTo>
                <a:cubicBezTo>
                  <a:pt x="1593703" y="405068"/>
                  <a:pt x="1598513" y="412459"/>
                  <a:pt x="1601288" y="423392"/>
                </a:cubicBezTo>
                <a:cubicBezTo>
                  <a:pt x="1603295" y="436596"/>
                  <a:pt x="1603517" y="449033"/>
                  <a:pt x="1594484" y="460159"/>
                </a:cubicBezTo>
                <a:cubicBezTo>
                  <a:pt x="1588468" y="466462"/>
                  <a:pt x="1582607" y="471150"/>
                  <a:pt x="1574732" y="475533"/>
                </a:cubicBezTo>
                <a:cubicBezTo>
                  <a:pt x="1573862" y="476043"/>
                  <a:pt x="1572993" y="476553"/>
                  <a:pt x="1572097" y="477078"/>
                </a:cubicBezTo>
                <a:cubicBezTo>
                  <a:pt x="1566828" y="478935"/>
                  <a:pt x="1561641" y="478744"/>
                  <a:pt x="1556066" y="478737"/>
                </a:cubicBezTo>
                <a:cubicBezTo>
                  <a:pt x="1553587" y="478765"/>
                  <a:pt x="1551109" y="478795"/>
                  <a:pt x="1548631" y="478825"/>
                </a:cubicBezTo>
                <a:cubicBezTo>
                  <a:pt x="1544751" y="478857"/>
                  <a:pt x="1540871" y="478880"/>
                  <a:pt x="1536991" y="478889"/>
                </a:cubicBezTo>
                <a:cubicBezTo>
                  <a:pt x="1516714" y="478693"/>
                  <a:pt x="1516714" y="478693"/>
                  <a:pt x="1498188" y="485398"/>
                </a:cubicBezTo>
                <a:cubicBezTo>
                  <a:pt x="1496062" y="486488"/>
                  <a:pt x="1496062" y="486488"/>
                  <a:pt x="1493892" y="487600"/>
                </a:cubicBezTo>
                <a:cubicBezTo>
                  <a:pt x="1492733" y="488268"/>
                  <a:pt x="1491573" y="488937"/>
                  <a:pt x="1490377" y="489625"/>
                </a:cubicBezTo>
                <a:cubicBezTo>
                  <a:pt x="1484304" y="493012"/>
                  <a:pt x="1478212" y="495675"/>
                  <a:pt x="1471650" y="498185"/>
                </a:cubicBezTo>
                <a:cubicBezTo>
                  <a:pt x="1467148" y="500054"/>
                  <a:pt x="1463242" y="502632"/>
                  <a:pt x="1459135" y="505127"/>
                </a:cubicBezTo>
                <a:cubicBezTo>
                  <a:pt x="1456968" y="506120"/>
                  <a:pt x="1454786" y="507086"/>
                  <a:pt x="1452594" y="508033"/>
                </a:cubicBezTo>
                <a:cubicBezTo>
                  <a:pt x="1444148" y="511772"/>
                  <a:pt x="1435969" y="515903"/>
                  <a:pt x="1427795" y="520100"/>
                </a:cubicBezTo>
                <a:cubicBezTo>
                  <a:pt x="1425784" y="521114"/>
                  <a:pt x="1425784" y="521114"/>
                  <a:pt x="1423733" y="522148"/>
                </a:cubicBezTo>
                <a:cubicBezTo>
                  <a:pt x="1422478" y="522798"/>
                  <a:pt x="1421223" y="523449"/>
                  <a:pt x="1419929" y="524118"/>
                </a:cubicBezTo>
                <a:cubicBezTo>
                  <a:pt x="1418794" y="524701"/>
                  <a:pt x="1417658" y="525283"/>
                  <a:pt x="1416487" y="525883"/>
                </a:cubicBezTo>
                <a:cubicBezTo>
                  <a:pt x="1413349" y="527646"/>
                  <a:pt x="1413349" y="527646"/>
                  <a:pt x="1412271" y="531902"/>
                </a:cubicBezTo>
                <a:cubicBezTo>
                  <a:pt x="1407205" y="535203"/>
                  <a:pt x="1402819" y="536744"/>
                  <a:pt x="1396650" y="537539"/>
                </a:cubicBezTo>
                <a:cubicBezTo>
                  <a:pt x="1396650" y="538469"/>
                  <a:pt x="1396650" y="539399"/>
                  <a:pt x="1396650" y="540357"/>
                </a:cubicBezTo>
                <a:cubicBezTo>
                  <a:pt x="1395609" y="540735"/>
                  <a:pt x="1394568" y="541113"/>
                  <a:pt x="1393495" y="541502"/>
                </a:cubicBezTo>
                <a:cubicBezTo>
                  <a:pt x="1381840" y="545973"/>
                  <a:pt x="1372279" y="551715"/>
                  <a:pt x="1362284" y="558678"/>
                </a:cubicBezTo>
                <a:cubicBezTo>
                  <a:pt x="1360170" y="560088"/>
                  <a:pt x="1358055" y="561497"/>
                  <a:pt x="1355937" y="562905"/>
                </a:cubicBezTo>
                <a:cubicBezTo>
                  <a:pt x="1348556" y="567937"/>
                  <a:pt x="1341292" y="573085"/>
                  <a:pt x="1334165" y="578406"/>
                </a:cubicBezTo>
                <a:cubicBezTo>
                  <a:pt x="1332697" y="579472"/>
                  <a:pt x="1332697" y="579472"/>
                  <a:pt x="1331200" y="580559"/>
                </a:cubicBezTo>
                <a:cubicBezTo>
                  <a:pt x="1325067" y="585430"/>
                  <a:pt x="1323406" y="589771"/>
                  <a:pt x="1322175" y="596793"/>
                </a:cubicBezTo>
                <a:cubicBezTo>
                  <a:pt x="1321669" y="599545"/>
                  <a:pt x="1321669" y="599545"/>
                  <a:pt x="1320106" y="602363"/>
                </a:cubicBezTo>
                <a:cubicBezTo>
                  <a:pt x="1318419" y="618189"/>
                  <a:pt x="1322416" y="632767"/>
                  <a:pt x="1328015" y="647640"/>
                </a:cubicBezTo>
                <a:cubicBezTo>
                  <a:pt x="1331267" y="656625"/>
                  <a:pt x="1333170" y="666179"/>
                  <a:pt x="1332604" y="675643"/>
                </a:cubicBezTo>
                <a:cubicBezTo>
                  <a:pt x="1333634" y="675643"/>
                  <a:pt x="1334665" y="675643"/>
                  <a:pt x="1335727" y="675643"/>
                </a:cubicBezTo>
                <a:cubicBezTo>
                  <a:pt x="1337571" y="680632"/>
                  <a:pt x="1337591" y="684795"/>
                  <a:pt x="1337741" y="690059"/>
                </a:cubicBezTo>
                <a:cubicBezTo>
                  <a:pt x="1337826" y="692114"/>
                  <a:pt x="1337913" y="694168"/>
                  <a:pt x="1338003" y="696222"/>
                </a:cubicBezTo>
                <a:cubicBezTo>
                  <a:pt x="1338142" y="699444"/>
                  <a:pt x="1338266" y="702664"/>
                  <a:pt x="1338340" y="705887"/>
                </a:cubicBezTo>
                <a:cubicBezTo>
                  <a:pt x="1338372" y="720474"/>
                  <a:pt x="1338372" y="720474"/>
                  <a:pt x="1345277" y="733245"/>
                </a:cubicBezTo>
                <a:cubicBezTo>
                  <a:pt x="1350822" y="737861"/>
                  <a:pt x="1355921" y="739823"/>
                  <a:pt x="1363162" y="741612"/>
                </a:cubicBezTo>
                <a:cubicBezTo>
                  <a:pt x="1370672" y="743533"/>
                  <a:pt x="1377197" y="745750"/>
                  <a:pt x="1384154" y="748922"/>
                </a:cubicBezTo>
                <a:cubicBezTo>
                  <a:pt x="1387833" y="749898"/>
                  <a:pt x="1387833" y="749898"/>
                  <a:pt x="1391476" y="750419"/>
                </a:cubicBezTo>
                <a:cubicBezTo>
                  <a:pt x="1393499" y="750747"/>
                  <a:pt x="1393499" y="750747"/>
                  <a:pt x="1395564" y="751080"/>
                </a:cubicBezTo>
                <a:cubicBezTo>
                  <a:pt x="1397648" y="751407"/>
                  <a:pt x="1397648" y="751407"/>
                  <a:pt x="1399775" y="751740"/>
                </a:cubicBezTo>
                <a:cubicBezTo>
                  <a:pt x="1401810" y="752111"/>
                  <a:pt x="1401810" y="752111"/>
                  <a:pt x="1403887" y="752489"/>
                </a:cubicBezTo>
                <a:cubicBezTo>
                  <a:pt x="1424247" y="756131"/>
                  <a:pt x="1444708" y="756350"/>
                  <a:pt x="1465383" y="755969"/>
                </a:cubicBezTo>
                <a:cubicBezTo>
                  <a:pt x="1467019" y="755945"/>
                  <a:pt x="1468654" y="755921"/>
                  <a:pt x="1470339" y="755897"/>
                </a:cubicBezTo>
                <a:cubicBezTo>
                  <a:pt x="1480128" y="755450"/>
                  <a:pt x="1487899" y="752933"/>
                  <a:pt x="1496809" y="749313"/>
                </a:cubicBezTo>
                <a:cubicBezTo>
                  <a:pt x="1502876" y="746888"/>
                  <a:pt x="1509049" y="745091"/>
                  <a:pt x="1515371" y="743285"/>
                </a:cubicBezTo>
                <a:cubicBezTo>
                  <a:pt x="1515371" y="742356"/>
                  <a:pt x="1515371" y="741425"/>
                  <a:pt x="1515371" y="740467"/>
                </a:cubicBezTo>
                <a:cubicBezTo>
                  <a:pt x="1522710" y="737103"/>
                  <a:pt x="1529583" y="737106"/>
                  <a:pt x="1537632" y="737120"/>
                </a:cubicBezTo>
                <a:cubicBezTo>
                  <a:pt x="1538960" y="737122"/>
                  <a:pt x="1540289" y="737124"/>
                  <a:pt x="1541657" y="737127"/>
                </a:cubicBezTo>
                <a:cubicBezTo>
                  <a:pt x="1555502" y="737372"/>
                  <a:pt x="1564314" y="740697"/>
                  <a:pt x="1574732" y="748922"/>
                </a:cubicBezTo>
                <a:cubicBezTo>
                  <a:pt x="1586507" y="762822"/>
                  <a:pt x="1590347" y="775219"/>
                  <a:pt x="1588791" y="792608"/>
                </a:cubicBezTo>
                <a:cubicBezTo>
                  <a:pt x="1587728" y="797050"/>
                  <a:pt x="1586468" y="801261"/>
                  <a:pt x="1584105" y="805291"/>
                </a:cubicBezTo>
                <a:cubicBezTo>
                  <a:pt x="1583074" y="805756"/>
                  <a:pt x="1582043" y="806221"/>
                  <a:pt x="1580981" y="806700"/>
                </a:cubicBezTo>
                <a:cubicBezTo>
                  <a:pt x="1580240" y="807892"/>
                  <a:pt x="1579499" y="809083"/>
                  <a:pt x="1578735" y="810311"/>
                </a:cubicBezTo>
                <a:cubicBezTo>
                  <a:pt x="1577930" y="811445"/>
                  <a:pt x="1577124" y="812579"/>
                  <a:pt x="1576295" y="813746"/>
                </a:cubicBezTo>
                <a:lnTo>
                  <a:pt x="1571652" y="813746"/>
                </a:lnTo>
                <a:lnTo>
                  <a:pt x="1571785" y="814106"/>
                </a:lnTo>
                <a:cubicBezTo>
                  <a:pt x="1572816" y="814571"/>
                  <a:pt x="1573846" y="815036"/>
                  <a:pt x="1574909" y="815515"/>
                </a:cubicBezTo>
                <a:cubicBezTo>
                  <a:pt x="1572126" y="818758"/>
                  <a:pt x="1569968" y="820871"/>
                  <a:pt x="1565463" y="821839"/>
                </a:cubicBezTo>
                <a:lnTo>
                  <a:pt x="1562085" y="822101"/>
                </a:lnTo>
                <a:lnTo>
                  <a:pt x="1551301" y="825020"/>
                </a:lnTo>
                <a:cubicBezTo>
                  <a:pt x="1551301" y="825950"/>
                  <a:pt x="1551301" y="826880"/>
                  <a:pt x="1551301" y="827838"/>
                </a:cubicBezTo>
                <a:cubicBezTo>
                  <a:pt x="1526697" y="828735"/>
                  <a:pt x="1507496" y="825036"/>
                  <a:pt x="1485380" y="815007"/>
                </a:cubicBezTo>
                <a:cubicBezTo>
                  <a:pt x="1468723" y="807743"/>
                  <a:pt x="1449749" y="809144"/>
                  <a:pt x="1431603" y="808726"/>
                </a:cubicBezTo>
                <a:cubicBezTo>
                  <a:pt x="1429115" y="808665"/>
                  <a:pt x="1426627" y="808604"/>
                  <a:pt x="1424140" y="808542"/>
                </a:cubicBezTo>
                <a:cubicBezTo>
                  <a:pt x="1418101" y="808392"/>
                  <a:pt x="1412062" y="808249"/>
                  <a:pt x="1406023" y="808109"/>
                </a:cubicBezTo>
                <a:cubicBezTo>
                  <a:pt x="1406023" y="809040"/>
                  <a:pt x="1406023" y="809970"/>
                  <a:pt x="1406023" y="810928"/>
                </a:cubicBezTo>
                <a:cubicBezTo>
                  <a:pt x="1404716" y="811118"/>
                  <a:pt x="1404716" y="811118"/>
                  <a:pt x="1403383" y="811311"/>
                </a:cubicBezTo>
                <a:cubicBezTo>
                  <a:pt x="1372054" y="815110"/>
                  <a:pt x="1372054" y="815110"/>
                  <a:pt x="1345442" y="828907"/>
                </a:cubicBezTo>
                <a:cubicBezTo>
                  <a:pt x="1338843" y="837605"/>
                  <a:pt x="1338313" y="846434"/>
                  <a:pt x="1337875" y="856639"/>
                </a:cubicBezTo>
                <a:cubicBezTo>
                  <a:pt x="1337815" y="857805"/>
                  <a:pt x="1337754" y="858970"/>
                  <a:pt x="1337692" y="860171"/>
                </a:cubicBezTo>
                <a:cubicBezTo>
                  <a:pt x="1337547" y="863016"/>
                  <a:pt x="1337417" y="865861"/>
                  <a:pt x="1337290" y="868706"/>
                </a:cubicBezTo>
                <a:cubicBezTo>
                  <a:pt x="1336258" y="868706"/>
                  <a:pt x="1335228" y="868706"/>
                  <a:pt x="1334165" y="868706"/>
                </a:cubicBezTo>
                <a:lnTo>
                  <a:pt x="1334165" y="870034"/>
                </a:lnTo>
                <a:lnTo>
                  <a:pt x="1334237" y="869093"/>
                </a:lnTo>
                <a:cubicBezTo>
                  <a:pt x="1334753" y="869093"/>
                  <a:pt x="1335268" y="869093"/>
                  <a:pt x="1335800" y="869093"/>
                </a:cubicBezTo>
                <a:cubicBezTo>
                  <a:pt x="1335884" y="871559"/>
                  <a:pt x="1335944" y="874025"/>
                  <a:pt x="1335995" y="876491"/>
                </a:cubicBezTo>
                <a:cubicBezTo>
                  <a:pt x="1336030" y="877865"/>
                  <a:pt x="1336067" y="879238"/>
                  <a:pt x="1336105" y="880653"/>
                </a:cubicBezTo>
                <a:cubicBezTo>
                  <a:pt x="1335800" y="884594"/>
                  <a:pt x="1335800" y="884594"/>
                  <a:pt x="1334294" y="887271"/>
                </a:cubicBezTo>
                <a:cubicBezTo>
                  <a:pt x="1332567" y="890428"/>
                  <a:pt x="1331982" y="892964"/>
                  <a:pt x="1331455" y="896440"/>
                </a:cubicBezTo>
                <a:cubicBezTo>
                  <a:pt x="1331267" y="897605"/>
                  <a:pt x="1331080" y="898769"/>
                  <a:pt x="1330887" y="899969"/>
                </a:cubicBezTo>
                <a:cubicBezTo>
                  <a:pt x="1330704" y="901174"/>
                  <a:pt x="1330521" y="902378"/>
                  <a:pt x="1330332" y="903618"/>
                </a:cubicBezTo>
                <a:cubicBezTo>
                  <a:pt x="1329968" y="906013"/>
                  <a:pt x="1329594" y="908405"/>
                  <a:pt x="1329209" y="910797"/>
                </a:cubicBezTo>
                <a:cubicBezTo>
                  <a:pt x="1329049" y="911853"/>
                  <a:pt x="1328889" y="912910"/>
                  <a:pt x="1328724" y="913998"/>
                </a:cubicBezTo>
                <a:cubicBezTo>
                  <a:pt x="1327933" y="917233"/>
                  <a:pt x="1326525" y="919703"/>
                  <a:pt x="1324865" y="922643"/>
                </a:cubicBezTo>
                <a:cubicBezTo>
                  <a:pt x="1323924" y="927743"/>
                  <a:pt x="1323282" y="932845"/>
                  <a:pt x="1322619" y="937979"/>
                </a:cubicBezTo>
                <a:lnTo>
                  <a:pt x="1318744" y="944961"/>
                </a:lnTo>
                <a:lnTo>
                  <a:pt x="1318544" y="946213"/>
                </a:lnTo>
                <a:cubicBezTo>
                  <a:pt x="1318360" y="949234"/>
                  <a:pt x="1318271" y="952260"/>
                  <a:pt x="1318251" y="955285"/>
                </a:cubicBezTo>
                <a:cubicBezTo>
                  <a:pt x="1318218" y="957637"/>
                  <a:pt x="1318218" y="957637"/>
                  <a:pt x="1318184" y="960036"/>
                </a:cubicBezTo>
                <a:cubicBezTo>
                  <a:pt x="1318624" y="965530"/>
                  <a:pt x="1319569" y="969724"/>
                  <a:pt x="1324024" y="973660"/>
                </a:cubicBezTo>
                <a:cubicBezTo>
                  <a:pt x="1327197" y="976583"/>
                  <a:pt x="1327950" y="979494"/>
                  <a:pt x="1329284" y="983382"/>
                </a:cubicBezTo>
                <a:cubicBezTo>
                  <a:pt x="1331875" y="990106"/>
                  <a:pt x="1334445" y="993582"/>
                  <a:pt x="1340414" y="998354"/>
                </a:cubicBezTo>
                <a:cubicBezTo>
                  <a:pt x="1342397" y="1000564"/>
                  <a:pt x="1344347" y="1002798"/>
                  <a:pt x="1346272" y="1005048"/>
                </a:cubicBezTo>
                <a:cubicBezTo>
                  <a:pt x="1360055" y="1020713"/>
                  <a:pt x="1376247" y="1031879"/>
                  <a:pt x="1394716" y="1042740"/>
                </a:cubicBezTo>
                <a:cubicBezTo>
                  <a:pt x="1397172" y="1044228"/>
                  <a:pt x="1399581" y="1045779"/>
                  <a:pt x="1401953" y="1047374"/>
                </a:cubicBezTo>
                <a:cubicBezTo>
                  <a:pt x="1410065" y="1052802"/>
                  <a:pt x="1417529" y="1056366"/>
                  <a:pt x="1427197" y="1059061"/>
                </a:cubicBezTo>
                <a:cubicBezTo>
                  <a:pt x="1431243" y="1060437"/>
                  <a:pt x="1434061" y="1061979"/>
                  <a:pt x="1437265" y="1064588"/>
                </a:cubicBezTo>
                <a:cubicBezTo>
                  <a:pt x="1437265" y="1065518"/>
                  <a:pt x="1437265" y="1066448"/>
                  <a:pt x="1437265" y="1067406"/>
                </a:cubicBezTo>
                <a:cubicBezTo>
                  <a:pt x="1439053" y="1067624"/>
                  <a:pt x="1439053" y="1067624"/>
                  <a:pt x="1440878" y="1067847"/>
                </a:cubicBezTo>
                <a:cubicBezTo>
                  <a:pt x="1445076" y="1068815"/>
                  <a:pt x="1445076" y="1068815"/>
                  <a:pt x="1447175" y="1070753"/>
                </a:cubicBezTo>
                <a:cubicBezTo>
                  <a:pt x="1450417" y="1073622"/>
                  <a:pt x="1453781" y="1075060"/>
                  <a:pt x="1457866" y="1076830"/>
                </a:cubicBezTo>
                <a:cubicBezTo>
                  <a:pt x="1459274" y="1077446"/>
                  <a:pt x="1460681" y="1078062"/>
                  <a:pt x="1462132" y="1078696"/>
                </a:cubicBezTo>
                <a:cubicBezTo>
                  <a:pt x="1463204" y="1079156"/>
                  <a:pt x="1464278" y="1079616"/>
                  <a:pt x="1465383" y="1080089"/>
                </a:cubicBezTo>
                <a:cubicBezTo>
                  <a:pt x="1465383" y="1081019"/>
                  <a:pt x="1465383" y="1081949"/>
                  <a:pt x="1465383" y="1082908"/>
                </a:cubicBezTo>
                <a:cubicBezTo>
                  <a:pt x="1466497" y="1083260"/>
                  <a:pt x="1467611" y="1083612"/>
                  <a:pt x="1468758" y="1083975"/>
                </a:cubicBezTo>
                <a:cubicBezTo>
                  <a:pt x="1473648" y="1085905"/>
                  <a:pt x="1477426" y="1088296"/>
                  <a:pt x="1481688" y="1091187"/>
                </a:cubicBezTo>
                <a:cubicBezTo>
                  <a:pt x="1483204" y="1092193"/>
                  <a:pt x="1484721" y="1093200"/>
                  <a:pt x="1486283" y="1094236"/>
                </a:cubicBezTo>
                <a:cubicBezTo>
                  <a:pt x="1489170" y="1096185"/>
                  <a:pt x="1492029" y="1098166"/>
                  <a:pt x="1494869" y="1100171"/>
                </a:cubicBezTo>
                <a:cubicBezTo>
                  <a:pt x="1510181" y="1107906"/>
                  <a:pt x="1527080" y="1109898"/>
                  <a:pt x="1544335" y="1109518"/>
                </a:cubicBezTo>
                <a:cubicBezTo>
                  <a:pt x="1579932" y="1108798"/>
                  <a:pt x="1579932" y="1108798"/>
                  <a:pt x="1593477" y="1119900"/>
                </a:cubicBezTo>
                <a:cubicBezTo>
                  <a:pt x="1600636" y="1127255"/>
                  <a:pt x="1604889" y="1135120"/>
                  <a:pt x="1605975" y="1144913"/>
                </a:cubicBezTo>
                <a:cubicBezTo>
                  <a:pt x="1607006" y="1144913"/>
                  <a:pt x="1608036" y="1144913"/>
                  <a:pt x="1609099" y="1144913"/>
                </a:cubicBezTo>
                <a:cubicBezTo>
                  <a:pt x="1609227" y="1148907"/>
                  <a:pt x="1609319" y="1152897"/>
                  <a:pt x="1609392" y="1156892"/>
                </a:cubicBezTo>
                <a:cubicBezTo>
                  <a:pt x="1609451" y="1158565"/>
                  <a:pt x="1609451" y="1158565"/>
                  <a:pt x="1609511" y="1160272"/>
                </a:cubicBezTo>
                <a:cubicBezTo>
                  <a:pt x="1609621" y="1168378"/>
                  <a:pt x="1607970" y="1174108"/>
                  <a:pt x="1604412" y="1181553"/>
                </a:cubicBezTo>
                <a:cubicBezTo>
                  <a:pt x="1603354" y="1184367"/>
                  <a:pt x="1602306" y="1187183"/>
                  <a:pt x="1601288" y="1190009"/>
                </a:cubicBezTo>
                <a:cubicBezTo>
                  <a:pt x="1600257" y="1190009"/>
                  <a:pt x="1599226" y="1190009"/>
                  <a:pt x="1598164" y="1190009"/>
                </a:cubicBezTo>
                <a:cubicBezTo>
                  <a:pt x="1597842" y="1190910"/>
                  <a:pt x="1597520" y="1191810"/>
                  <a:pt x="1597187" y="1192739"/>
                </a:cubicBezTo>
                <a:cubicBezTo>
                  <a:pt x="1596479" y="1193698"/>
                  <a:pt x="1595770" y="1194657"/>
                  <a:pt x="1595040" y="1195645"/>
                </a:cubicBezTo>
                <a:cubicBezTo>
                  <a:pt x="1591916" y="1196115"/>
                  <a:pt x="1588791" y="1196585"/>
                  <a:pt x="1585667" y="1197055"/>
                </a:cubicBezTo>
                <a:cubicBezTo>
                  <a:pt x="1583871" y="1199826"/>
                  <a:pt x="1583871" y="1199826"/>
                  <a:pt x="1582543" y="1202691"/>
                </a:cubicBezTo>
                <a:cubicBezTo>
                  <a:pt x="1575997" y="1204710"/>
                  <a:pt x="1569266" y="1204360"/>
                  <a:pt x="1562431" y="1204365"/>
                </a:cubicBezTo>
                <a:cubicBezTo>
                  <a:pt x="1561196" y="1204382"/>
                  <a:pt x="1559962" y="1204399"/>
                  <a:pt x="1558690" y="1204417"/>
                </a:cubicBezTo>
                <a:cubicBezTo>
                  <a:pt x="1543339" y="1204452"/>
                  <a:pt x="1531981" y="1199267"/>
                  <a:pt x="1521102" y="1189585"/>
                </a:cubicBezTo>
                <a:cubicBezTo>
                  <a:pt x="1515403" y="1183953"/>
                  <a:pt x="1510116" y="1178123"/>
                  <a:pt x="1505022" y="1172041"/>
                </a:cubicBezTo>
                <a:cubicBezTo>
                  <a:pt x="1493200" y="1158177"/>
                  <a:pt x="1475492" y="1147115"/>
                  <a:pt x="1457573" y="1140686"/>
                </a:cubicBezTo>
                <a:cubicBezTo>
                  <a:pt x="1457573" y="1139755"/>
                  <a:pt x="1457573" y="1138826"/>
                  <a:pt x="1457573" y="1137867"/>
                </a:cubicBezTo>
                <a:cubicBezTo>
                  <a:pt x="1456059" y="1137693"/>
                  <a:pt x="1454544" y="1137518"/>
                  <a:pt x="1452985" y="1137339"/>
                </a:cubicBezTo>
                <a:cubicBezTo>
                  <a:pt x="1451406" y="1137048"/>
                  <a:pt x="1449827" y="1136758"/>
                  <a:pt x="1448200" y="1136458"/>
                </a:cubicBezTo>
                <a:cubicBezTo>
                  <a:pt x="1447685" y="1135528"/>
                  <a:pt x="1447169" y="1134598"/>
                  <a:pt x="1446638" y="1133640"/>
                </a:cubicBezTo>
                <a:cubicBezTo>
                  <a:pt x="1444091" y="1132586"/>
                  <a:pt x="1441535" y="1131550"/>
                  <a:pt x="1438937" y="1130601"/>
                </a:cubicBezTo>
                <a:cubicBezTo>
                  <a:pt x="1435668" y="1129399"/>
                  <a:pt x="1432469" y="1128095"/>
                  <a:pt x="1429260" y="1126770"/>
                </a:cubicBezTo>
                <a:cubicBezTo>
                  <a:pt x="1423389" y="1124389"/>
                  <a:pt x="1417431" y="1122349"/>
                  <a:pt x="1411393" y="1120340"/>
                </a:cubicBezTo>
                <a:cubicBezTo>
                  <a:pt x="1404143" y="1117867"/>
                  <a:pt x="1397842" y="1115090"/>
                  <a:pt x="1391427" y="1111191"/>
                </a:cubicBezTo>
                <a:cubicBezTo>
                  <a:pt x="1388139" y="1109274"/>
                  <a:pt x="1384723" y="1108010"/>
                  <a:pt x="1381029" y="1106865"/>
                </a:cubicBezTo>
                <a:cubicBezTo>
                  <a:pt x="1381029" y="1105934"/>
                  <a:pt x="1381029" y="1105004"/>
                  <a:pt x="1381029" y="1104046"/>
                </a:cubicBezTo>
                <a:cubicBezTo>
                  <a:pt x="1379773" y="1103901"/>
                  <a:pt x="1378516" y="1103755"/>
                  <a:pt x="1377221" y="1103605"/>
                </a:cubicBezTo>
                <a:cubicBezTo>
                  <a:pt x="1370425" y="1102422"/>
                  <a:pt x="1364120" y="1100465"/>
                  <a:pt x="1357597" y="1098409"/>
                </a:cubicBezTo>
                <a:cubicBezTo>
                  <a:pt x="1355761" y="1097857"/>
                  <a:pt x="1353924" y="1097304"/>
                  <a:pt x="1352032" y="1096736"/>
                </a:cubicBezTo>
                <a:cubicBezTo>
                  <a:pt x="1350776" y="1096358"/>
                  <a:pt x="1349519" y="1095980"/>
                  <a:pt x="1348225" y="1095590"/>
                </a:cubicBezTo>
                <a:cubicBezTo>
                  <a:pt x="1348225" y="1094661"/>
                  <a:pt x="1348225" y="1093730"/>
                  <a:pt x="1348225" y="1092772"/>
                </a:cubicBezTo>
                <a:cubicBezTo>
                  <a:pt x="1344616" y="1092307"/>
                  <a:pt x="1341007" y="1091842"/>
                  <a:pt x="1337290" y="1091363"/>
                </a:cubicBezTo>
                <a:cubicBezTo>
                  <a:pt x="1337290" y="1090433"/>
                  <a:pt x="1337290" y="1089503"/>
                  <a:pt x="1337290" y="1088544"/>
                </a:cubicBezTo>
                <a:cubicBezTo>
                  <a:pt x="1334438" y="1088327"/>
                  <a:pt x="1334438" y="1088327"/>
                  <a:pt x="1331529" y="1088104"/>
                </a:cubicBezTo>
                <a:lnTo>
                  <a:pt x="1323297" y="1086611"/>
                </a:lnTo>
                <a:lnTo>
                  <a:pt x="1323297" y="1087618"/>
                </a:lnTo>
                <a:cubicBezTo>
                  <a:pt x="1322139" y="1087517"/>
                  <a:pt x="1320982" y="1087415"/>
                  <a:pt x="1319789" y="1087310"/>
                </a:cubicBezTo>
                <a:cubicBezTo>
                  <a:pt x="1300429" y="1085771"/>
                  <a:pt x="1281330" y="1084680"/>
                  <a:pt x="1262375" y="1089028"/>
                </a:cubicBezTo>
                <a:lnTo>
                  <a:pt x="1258728" y="1088205"/>
                </a:lnTo>
                <a:lnTo>
                  <a:pt x="1246964" y="1091489"/>
                </a:lnTo>
                <a:cubicBezTo>
                  <a:pt x="1237239" y="1097222"/>
                  <a:pt x="1228703" y="1103434"/>
                  <a:pt x="1223224" y="1112865"/>
                </a:cubicBezTo>
                <a:cubicBezTo>
                  <a:pt x="1220867" y="1116643"/>
                  <a:pt x="1217262" y="1119317"/>
                  <a:pt x="1213883" y="1122366"/>
                </a:cubicBezTo>
                <a:cubicBezTo>
                  <a:pt x="1213428" y="1123469"/>
                  <a:pt x="1212973" y="1124572"/>
                  <a:pt x="1212505" y="1125708"/>
                </a:cubicBezTo>
                <a:cubicBezTo>
                  <a:pt x="1210449" y="1130067"/>
                  <a:pt x="1207984" y="1132315"/>
                  <a:pt x="1204180" y="1135561"/>
                </a:cubicBezTo>
                <a:cubicBezTo>
                  <a:pt x="1202879" y="1136695"/>
                  <a:pt x="1201578" y="1137829"/>
                  <a:pt x="1200238" y="1138999"/>
                </a:cubicBezTo>
                <a:cubicBezTo>
                  <a:pt x="1197504" y="1141343"/>
                  <a:pt x="1194765" y="1143684"/>
                  <a:pt x="1192025" y="1146022"/>
                </a:cubicBezTo>
                <a:cubicBezTo>
                  <a:pt x="1181899" y="1154869"/>
                  <a:pt x="1174983" y="1161763"/>
                  <a:pt x="1173945" y="1174749"/>
                </a:cubicBezTo>
                <a:cubicBezTo>
                  <a:pt x="1173902" y="1177369"/>
                  <a:pt x="1173905" y="1179990"/>
                  <a:pt x="1173950" y="1182610"/>
                </a:cubicBezTo>
                <a:cubicBezTo>
                  <a:pt x="1173963" y="1183981"/>
                  <a:pt x="1173975" y="1185352"/>
                  <a:pt x="1173989" y="1186765"/>
                </a:cubicBezTo>
                <a:cubicBezTo>
                  <a:pt x="1174321" y="1197573"/>
                  <a:pt x="1176809" y="1205883"/>
                  <a:pt x="1182640" y="1215374"/>
                </a:cubicBezTo>
                <a:cubicBezTo>
                  <a:pt x="1183703" y="1217509"/>
                  <a:pt x="1184746" y="1219652"/>
                  <a:pt x="1185764" y="1221804"/>
                </a:cubicBezTo>
                <a:cubicBezTo>
                  <a:pt x="1186271" y="1222812"/>
                  <a:pt x="1186779" y="1223821"/>
                  <a:pt x="1187301" y="1224859"/>
                </a:cubicBezTo>
                <a:cubicBezTo>
                  <a:pt x="1188431" y="1227137"/>
                  <a:pt x="1189517" y="1229433"/>
                  <a:pt x="1190573" y="1231740"/>
                </a:cubicBezTo>
                <a:cubicBezTo>
                  <a:pt x="1194650" y="1240409"/>
                  <a:pt x="1199581" y="1247688"/>
                  <a:pt x="1205925" y="1255163"/>
                </a:cubicBezTo>
                <a:cubicBezTo>
                  <a:pt x="1208103" y="1257757"/>
                  <a:pt x="1210188" y="1260417"/>
                  <a:pt x="1212174" y="1263134"/>
                </a:cubicBezTo>
                <a:cubicBezTo>
                  <a:pt x="1218757" y="1272043"/>
                  <a:pt x="1225157" y="1277324"/>
                  <a:pt x="1235556" y="1282538"/>
                </a:cubicBezTo>
                <a:cubicBezTo>
                  <a:pt x="1236652" y="1283161"/>
                  <a:pt x="1237747" y="1283784"/>
                  <a:pt x="1238876" y="1284426"/>
                </a:cubicBezTo>
                <a:cubicBezTo>
                  <a:pt x="1238876" y="1285356"/>
                  <a:pt x="1238876" y="1286287"/>
                  <a:pt x="1238876" y="1287245"/>
                </a:cubicBezTo>
                <a:cubicBezTo>
                  <a:pt x="1239988" y="1287383"/>
                  <a:pt x="1241099" y="1287521"/>
                  <a:pt x="1242245" y="1287663"/>
                </a:cubicBezTo>
                <a:cubicBezTo>
                  <a:pt x="1253043" y="1290072"/>
                  <a:pt x="1264916" y="1297690"/>
                  <a:pt x="1271681" y="1305565"/>
                </a:cubicBezTo>
                <a:lnTo>
                  <a:pt x="1271742" y="1306172"/>
                </a:lnTo>
                <a:lnTo>
                  <a:pt x="1278525" y="1315767"/>
                </a:lnTo>
                <a:cubicBezTo>
                  <a:pt x="1279797" y="1319398"/>
                  <a:pt x="1280365" y="1323346"/>
                  <a:pt x="1281097" y="1327286"/>
                </a:cubicBezTo>
                <a:cubicBezTo>
                  <a:pt x="1281916" y="1337121"/>
                  <a:pt x="1281807" y="1346176"/>
                  <a:pt x="1277973" y="1355470"/>
                </a:cubicBezTo>
                <a:lnTo>
                  <a:pt x="1277460" y="1347025"/>
                </a:lnTo>
                <a:lnTo>
                  <a:pt x="1273531" y="1357991"/>
                </a:lnTo>
                <a:cubicBezTo>
                  <a:pt x="1270940" y="1361892"/>
                  <a:pt x="1267521" y="1365435"/>
                  <a:pt x="1263870" y="1368980"/>
                </a:cubicBezTo>
                <a:cubicBezTo>
                  <a:pt x="1258351" y="1372929"/>
                  <a:pt x="1253850" y="1376026"/>
                  <a:pt x="1246686" y="1376026"/>
                </a:cubicBezTo>
                <a:cubicBezTo>
                  <a:pt x="1246686" y="1376956"/>
                  <a:pt x="1246686" y="1377886"/>
                  <a:pt x="1246686" y="1378844"/>
                </a:cubicBezTo>
                <a:cubicBezTo>
                  <a:pt x="1241676" y="1379009"/>
                  <a:pt x="1236665" y="1379109"/>
                  <a:pt x="1231651" y="1379196"/>
                </a:cubicBezTo>
                <a:cubicBezTo>
                  <a:pt x="1230240" y="1379244"/>
                  <a:pt x="1228828" y="1379291"/>
                  <a:pt x="1227373" y="1379340"/>
                </a:cubicBezTo>
                <a:cubicBezTo>
                  <a:pt x="1218287" y="1379460"/>
                  <a:pt x="1213363" y="1378568"/>
                  <a:pt x="1206071" y="1373207"/>
                </a:cubicBezTo>
                <a:cubicBezTo>
                  <a:pt x="1204751" y="1372742"/>
                  <a:pt x="1203430" y="1372277"/>
                  <a:pt x="1202069" y="1371798"/>
                </a:cubicBezTo>
                <a:cubicBezTo>
                  <a:pt x="1193777" y="1368730"/>
                  <a:pt x="1188124" y="1363294"/>
                  <a:pt x="1184104" y="1356176"/>
                </a:cubicBezTo>
                <a:cubicBezTo>
                  <a:pt x="1180965" y="1349259"/>
                  <a:pt x="1178852" y="1342590"/>
                  <a:pt x="1177270" y="1335247"/>
                </a:cubicBezTo>
                <a:cubicBezTo>
                  <a:pt x="1175525" y="1327352"/>
                  <a:pt x="1172911" y="1320677"/>
                  <a:pt x="1169002" y="1313464"/>
                </a:cubicBezTo>
                <a:cubicBezTo>
                  <a:pt x="1166989" y="1309737"/>
                  <a:pt x="1165215" y="1305976"/>
                  <a:pt x="1163504" y="1302130"/>
                </a:cubicBezTo>
                <a:cubicBezTo>
                  <a:pt x="1163013" y="1301027"/>
                  <a:pt x="1162521" y="1299924"/>
                  <a:pt x="1162015" y="1298788"/>
                </a:cubicBezTo>
                <a:cubicBezTo>
                  <a:pt x="1160770" y="1295700"/>
                  <a:pt x="1160770" y="1295700"/>
                  <a:pt x="1160111" y="1292656"/>
                </a:cubicBezTo>
                <a:cubicBezTo>
                  <a:pt x="1159345" y="1289507"/>
                  <a:pt x="1159345" y="1289507"/>
                  <a:pt x="1154522" y="1287245"/>
                </a:cubicBezTo>
                <a:cubicBezTo>
                  <a:pt x="1153465" y="1284902"/>
                  <a:pt x="1152426" y="1282552"/>
                  <a:pt x="1151398" y="1280199"/>
                </a:cubicBezTo>
                <a:cubicBezTo>
                  <a:pt x="1149056" y="1276983"/>
                  <a:pt x="1146686" y="1273874"/>
                  <a:pt x="1144173" y="1270774"/>
                </a:cubicBezTo>
                <a:cubicBezTo>
                  <a:pt x="1143477" y="1269912"/>
                  <a:pt x="1142782" y="1269049"/>
                  <a:pt x="1142065" y="1268160"/>
                </a:cubicBezTo>
                <a:cubicBezTo>
                  <a:pt x="1139981" y="1265589"/>
                  <a:pt x="1137880" y="1263029"/>
                  <a:pt x="1135776" y="1260470"/>
                </a:cubicBezTo>
                <a:cubicBezTo>
                  <a:pt x="1134647" y="1259076"/>
                  <a:pt x="1133517" y="1257683"/>
                  <a:pt x="1132353" y="1256247"/>
                </a:cubicBezTo>
                <a:cubicBezTo>
                  <a:pt x="1126291" y="1249045"/>
                  <a:pt x="1121408" y="1244606"/>
                  <a:pt x="1112344" y="1240741"/>
                </a:cubicBezTo>
                <a:cubicBezTo>
                  <a:pt x="1110285" y="1239698"/>
                  <a:pt x="1108234" y="1238642"/>
                  <a:pt x="1106193" y="1237570"/>
                </a:cubicBezTo>
                <a:cubicBezTo>
                  <a:pt x="1104615" y="1236756"/>
                  <a:pt x="1103036" y="1235942"/>
                  <a:pt x="1101409" y="1235104"/>
                </a:cubicBezTo>
                <a:cubicBezTo>
                  <a:pt x="1101409" y="1233708"/>
                  <a:pt x="1101409" y="1232313"/>
                  <a:pt x="1101409" y="1230876"/>
                </a:cubicBezTo>
                <a:cubicBezTo>
                  <a:pt x="1089553" y="1230876"/>
                  <a:pt x="1077697" y="1230876"/>
                  <a:pt x="1065480" y="1230876"/>
                </a:cubicBezTo>
                <a:cubicBezTo>
                  <a:pt x="1064965" y="1232271"/>
                  <a:pt x="1064450" y="1233666"/>
                  <a:pt x="1063919" y="1235104"/>
                </a:cubicBezTo>
                <a:cubicBezTo>
                  <a:pt x="1062372" y="1235104"/>
                  <a:pt x="1060826" y="1235104"/>
                  <a:pt x="1059232" y="1235104"/>
                </a:cubicBezTo>
                <a:cubicBezTo>
                  <a:pt x="1059232" y="1236033"/>
                  <a:pt x="1059232" y="1236964"/>
                  <a:pt x="1059232" y="1237922"/>
                </a:cubicBezTo>
                <a:cubicBezTo>
                  <a:pt x="1052964" y="1240850"/>
                  <a:pt x="1046842" y="1243613"/>
                  <a:pt x="1040194" y="1245761"/>
                </a:cubicBezTo>
                <a:cubicBezTo>
                  <a:pt x="1036552" y="1246941"/>
                  <a:pt x="1033682" y="1248088"/>
                  <a:pt x="1030333" y="1249901"/>
                </a:cubicBezTo>
                <a:cubicBezTo>
                  <a:pt x="1025129" y="1252717"/>
                  <a:pt x="1019615" y="1254371"/>
                  <a:pt x="1013931" y="1256242"/>
                </a:cubicBezTo>
                <a:cubicBezTo>
                  <a:pt x="1009870" y="1257688"/>
                  <a:pt x="1008221" y="1258277"/>
                  <a:pt x="1005925" y="1261615"/>
                </a:cubicBezTo>
                <a:cubicBezTo>
                  <a:pt x="1005474" y="1262632"/>
                  <a:pt x="1005023" y="1263649"/>
                  <a:pt x="1004558" y="1264697"/>
                </a:cubicBezTo>
                <a:cubicBezTo>
                  <a:pt x="1004030" y="1265774"/>
                  <a:pt x="1003503" y="1266852"/>
                  <a:pt x="1002959" y="1267961"/>
                </a:cubicBezTo>
                <a:cubicBezTo>
                  <a:pt x="1001408" y="1271808"/>
                  <a:pt x="1000922" y="1274896"/>
                  <a:pt x="1000653" y="1278965"/>
                </a:cubicBezTo>
                <a:cubicBezTo>
                  <a:pt x="1000303" y="1284158"/>
                  <a:pt x="999467" y="1289055"/>
                  <a:pt x="998297" y="1294137"/>
                </a:cubicBezTo>
                <a:cubicBezTo>
                  <a:pt x="996204" y="1304306"/>
                  <a:pt x="996129" y="1314460"/>
                  <a:pt x="996162" y="1324765"/>
                </a:cubicBezTo>
                <a:cubicBezTo>
                  <a:pt x="996163" y="1325782"/>
                  <a:pt x="996163" y="1326799"/>
                  <a:pt x="996164" y="1327846"/>
                </a:cubicBezTo>
                <a:cubicBezTo>
                  <a:pt x="996263" y="1353742"/>
                  <a:pt x="1001081" y="1378188"/>
                  <a:pt x="1007780" y="1403329"/>
                </a:cubicBezTo>
                <a:cubicBezTo>
                  <a:pt x="1008163" y="1404772"/>
                  <a:pt x="1008546" y="1406215"/>
                  <a:pt x="1008940" y="1407701"/>
                </a:cubicBezTo>
                <a:cubicBezTo>
                  <a:pt x="1009316" y="1409030"/>
                  <a:pt x="1009693" y="1410360"/>
                  <a:pt x="1010080" y="1411730"/>
                </a:cubicBezTo>
                <a:cubicBezTo>
                  <a:pt x="1010409" y="1412900"/>
                  <a:pt x="1010737" y="1414071"/>
                  <a:pt x="1011075" y="1415277"/>
                </a:cubicBezTo>
                <a:cubicBezTo>
                  <a:pt x="1012501" y="1418612"/>
                  <a:pt x="1014136" y="1420168"/>
                  <a:pt x="1017055" y="1422530"/>
                </a:cubicBezTo>
                <a:cubicBezTo>
                  <a:pt x="1018770" y="1425162"/>
                  <a:pt x="1018770" y="1425162"/>
                  <a:pt x="1020277" y="1427991"/>
                </a:cubicBezTo>
                <a:cubicBezTo>
                  <a:pt x="1020778" y="1428917"/>
                  <a:pt x="1021280" y="1429844"/>
                  <a:pt x="1021796" y="1430798"/>
                </a:cubicBezTo>
                <a:cubicBezTo>
                  <a:pt x="1023303" y="1433804"/>
                  <a:pt x="1023303" y="1433804"/>
                  <a:pt x="1024579" y="1437239"/>
                </a:cubicBezTo>
                <a:cubicBezTo>
                  <a:pt x="1026915" y="1441803"/>
                  <a:pt x="1030098" y="1444534"/>
                  <a:pt x="1034043" y="1448072"/>
                </a:cubicBezTo>
                <a:lnTo>
                  <a:pt x="1043782" y="1464320"/>
                </a:lnTo>
                <a:lnTo>
                  <a:pt x="1050458" y="1472189"/>
                </a:lnTo>
                <a:cubicBezTo>
                  <a:pt x="1051737" y="1475181"/>
                  <a:pt x="1052277" y="1478513"/>
                  <a:pt x="1052926" y="1482370"/>
                </a:cubicBezTo>
                <a:cubicBezTo>
                  <a:pt x="1053325" y="1487224"/>
                  <a:pt x="1053364" y="1492038"/>
                  <a:pt x="1053316" y="1496903"/>
                </a:cubicBezTo>
                <a:cubicBezTo>
                  <a:pt x="1053328" y="1498142"/>
                  <a:pt x="1053340" y="1499382"/>
                  <a:pt x="1053352" y="1500660"/>
                </a:cubicBezTo>
                <a:cubicBezTo>
                  <a:pt x="1053348" y="1501856"/>
                  <a:pt x="1053344" y="1503052"/>
                  <a:pt x="1053341" y="1504285"/>
                </a:cubicBezTo>
                <a:cubicBezTo>
                  <a:pt x="1053336" y="1505355"/>
                  <a:pt x="1053333" y="1506426"/>
                  <a:pt x="1053329" y="1507529"/>
                </a:cubicBezTo>
                <a:cubicBezTo>
                  <a:pt x="1052876" y="1510927"/>
                  <a:pt x="1051672" y="1513237"/>
                  <a:pt x="1049801" y="1516192"/>
                </a:cubicBezTo>
                <a:lnTo>
                  <a:pt x="1047312" y="1516192"/>
                </a:lnTo>
                <a:lnTo>
                  <a:pt x="1043611" y="1522585"/>
                </a:lnTo>
                <a:cubicBezTo>
                  <a:pt x="1035301" y="1529631"/>
                  <a:pt x="1035301" y="1529631"/>
                  <a:pt x="1029552" y="1529631"/>
                </a:cubicBezTo>
                <a:cubicBezTo>
                  <a:pt x="1029294" y="1530503"/>
                  <a:pt x="1029036" y="1531375"/>
                  <a:pt x="1028771" y="1532273"/>
                </a:cubicBezTo>
                <a:cubicBezTo>
                  <a:pt x="1025795" y="1536076"/>
                  <a:pt x="1022970" y="1536733"/>
                  <a:pt x="1018013" y="1537640"/>
                </a:cubicBezTo>
                <a:cubicBezTo>
                  <a:pt x="1005216" y="1539038"/>
                  <a:pt x="992573" y="1539816"/>
                  <a:pt x="981126" y="1533859"/>
                </a:cubicBezTo>
                <a:cubicBezTo>
                  <a:pt x="979840" y="1533226"/>
                  <a:pt x="978553" y="1532594"/>
                  <a:pt x="977227" y="1531943"/>
                </a:cubicBezTo>
                <a:cubicBezTo>
                  <a:pt x="965286" y="1525877"/>
                  <a:pt x="959626" y="1520520"/>
                  <a:pt x="955376" y="1508751"/>
                </a:cubicBezTo>
                <a:cubicBezTo>
                  <a:pt x="954571" y="1505674"/>
                  <a:pt x="954571" y="1505674"/>
                  <a:pt x="954571" y="1500037"/>
                </a:cubicBezTo>
                <a:cubicBezTo>
                  <a:pt x="953539" y="1500037"/>
                  <a:pt x="952508" y="1500037"/>
                  <a:pt x="951446" y="1500037"/>
                </a:cubicBezTo>
                <a:cubicBezTo>
                  <a:pt x="951361" y="1495986"/>
                  <a:pt x="951299" y="1491935"/>
                  <a:pt x="951251" y="1487883"/>
                </a:cubicBezTo>
                <a:cubicBezTo>
                  <a:pt x="951224" y="1486744"/>
                  <a:pt x="951198" y="1485605"/>
                  <a:pt x="951171" y="1484431"/>
                </a:cubicBezTo>
                <a:cubicBezTo>
                  <a:pt x="951110" y="1477657"/>
                  <a:pt x="952093" y="1472660"/>
                  <a:pt x="954571" y="1466216"/>
                </a:cubicBezTo>
                <a:cubicBezTo>
                  <a:pt x="954867" y="1462451"/>
                  <a:pt x="955016" y="1458876"/>
                  <a:pt x="954961" y="1455118"/>
                </a:cubicBezTo>
                <a:cubicBezTo>
                  <a:pt x="954951" y="1454080"/>
                  <a:pt x="954942" y="1453042"/>
                  <a:pt x="954932" y="1451972"/>
                </a:cubicBezTo>
                <a:cubicBezTo>
                  <a:pt x="954606" y="1435235"/>
                  <a:pt x="952568" y="1419050"/>
                  <a:pt x="945099" y="1403594"/>
                </a:cubicBezTo>
                <a:cubicBezTo>
                  <a:pt x="943714" y="1400177"/>
                  <a:pt x="943046" y="1397128"/>
                  <a:pt x="942366" y="1393553"/>
                </a:cubicBezTo>
                <a:cubicBezTo>
                  <a:pt x="940837" y="1386134"/>
                  <a:pt x="937840" y="1379609"/>
                  <a:pt x="934451" y="1372734"/>
                </a:cubicBezTo>
                <a:cubicBezTo>
                  <a:pt x="932701" y="1368980"/>
                  <a:pt x="932701" y="1368980"/>
                  <a:pt x="931974" y="1365754"/>
                </a:cubicBezTo>
                <a:cubicBezTo>
                  <a:pt x="931699" y="1364958"/>
                  <a:pt x="931422" y="1364162"/>
                  <a:pt x="931138" y="1363343"/>
                </a:cubicBezTo>
                <a:cubicBezTo>
                  <a:pt x="929592" y="1362878"/>
                  <a:pt x="928045" y="1362413"/>
                  <a:pt x="926452" y="1361933"/>
                </a:cubicBezTo>
                <a:cubicBezTo>
                  <a:pt x="921830" y="1355261"/>
                  <a:pt x="920323" y="1348382"/>
                  <a:pt x="918641" y="1340795"/>
                </a:cubicBezTo>
                <a:cubicBezTo>
                  <a:pt x="918133" y="1338914"/>
                  <a:pt x="917616" y="1337034"/>
                  <a:pt x="917079" y="1335158"/>
                </a:cubicBezTo>
                <a:cubicBezTo>
                  <a:pt x="916048" y="1335158"/>
                  <a:pt x="915018" y="1335158"/>
                  <a:pt x="913955" y="1335158"/>
                </a:cubicBezTo>
                <a:cubicBezTo>
                  <a:pt x="913329" y="1333718"/>
                  <a:pt x="912703" y="1332277"/>
                  <a:pt x="912057" y="1330793"/>
                </a:cubicBezTo>
                <a:cubicBezTo>
                  <a:pt x="909497" y="1325424"/>
                  <a:pt x="906114" y="1320822"/>
                  <a:pt x="902142" y="1316222"/>
                </a:cubicBezTo>
                <a:cubicBezTo>
                  <a:pt x="901465" y="1315432"/>
                  <a:pt x="900788" y="1314642"/>
                  <a:pt x="900091" y="1313828"/>
                </a:cubicBezTo>
                <a:cubicBezTo>
                  <a:pt x="893705" y="1306618"/>
                  <a:pt x="886350" y="1301049"/>
                  <a:pt x="878026" y="1295700"/>
                </a:cubicBezTo>
                <a:cubicBezTo>
                  <a:pt x="876595" y="1294594"/>
                  <a:pt x="876595" y="1294594"/>
                  <a:pt x="875134" y="1293465"/>
                </a:cubicBezTo>
                <a:lnTo>
                  <a:pt x="869869" y="1291826"/>
                </a:lnTo>
                <a:lnTo>
                  <a:pt x="862384" y="1291327"/>
                </a:lnTo>
                <a:cubicBezTo>
                  <a:pt x="856441" y="1290067"/>
                  <a:pt x="850461" y="1290346"/>
                  <a:pt x="844390" y="1290461"/>
                </a:cubicBezTo>
                <a:cubicBezTo>
                  <a:pt x="842453" y="1290480"/>
                  <a:pt x="842453" y="1290480"/>
                  <a:pt x="840476" y="1290500"/>
                </a:cubicBezTo>
                <a:cubicBezTo>
                  <a:pt x="837322" y="1290532"/>
                  <a:pt x="834169" y="1290583"/>
                  <a:pt x="831015" y="1290637"/>
                </a:cubicBezTo>
                <a:cubicBezTo>
                  <a:pt x="831015" y="1291568"/>
                  <a:pt x="831015" y="1292498"/>
                  <a:pt x="831015" y="1293456"/>
                </a:cubicBezTo>
                <a:cubicBezTo>
                  <a:pt x="826519" y="1294808"/>
                  <a:pt x="822922" y="1295235"/>
                  <a:pt x="818225" y="1295570"/>
                </a:cubicBezTo>
                <a:lnTo>
                  <a:pt x="796774" y="1297671"/>
                </a:lnTo>
                <a:lnTo>
                  <a:pt x="783646" y="1305736"/>
                </a:lnTo>
                <a:cubicBezTo>
                  <a:pt x="776915" y="1312506"/>
                  <a:pt x="772692" y="1318638"/>
                  <a:pt x="769263" y="1327143"/>
                </a:cubicBezTo>
                <a:cubicBezTo>
                  <a:pt x="767116" y="1332340"/>
                  <a:pt x="767116" y="1332340"/>
                  <a:pt x="764797" y="1334360"/>
                </a:cubicBezTo>
                <a:lnTo>
                  <a:pt x="757875" y="1353503"/>
                </a:lnTo>
                <a:lnTo>
                  <a:pt x="755676" y="1367455"/>
                </a:lnTo>
                <a:lnTo>
                  <a:pt x="750558" y="1399690"/>
                </a:lnTo>
                <a:lnTo>
                  <a:pt x="753057" y="1411256"/>
                </a:lnTo>
                <a:cubicBezTo>
                  <a:pt x="753057" y="1413117"/>
                  <a:pt x="753057" y="1414976"/>
                  <a:pt x="753057" y="1416893"/>
                </a:cubicBezTo>
                <a:cubicBezTo>
                  <a:pt x="754087" y="1416893"/>
                  <a:pt x="755119" y="1416893"/>
                  <a:pt x="756181" y="1416893"/>
                </a:cubicBezTo>
                <a:cubicBezTo>
                  <a:pt x="759348" y="1422607"/>
                  <a:pt x="758101" y="1429902"/>
                  <a:pt x="758133" y="1436182"/>
                </a:cubicBezTo>
                <a:cubicBezTo>
                  <a:pt x="758182" y="1438458"/>
                  <a:pt x="758182" y="1438458"/>
                  <a:pt x="758231" y="1440781"/>
                </a:cubicBezTo>
                <a:cubicBezTo>
                  <a:pt x="758283" y="1450271"/>
                  <a:pt x="758174" y="1458360"/>
                  <a:pt x="750713" y="1465704"/>
                </a:cubicBezTo>
                <a:cubicBezTo>
                  <a:pt x="749940" y="1466193"/>
                  <a:pt x="749167" y="1466681"/>
                  <a:pt x="748370" y="1467185"/>
                </a:cubicBezTo>
                <a:cubicBezTo>
                  <a:pt x="743665" y="1470047"/>
                  <a:pt x="743665" y="1470047"/>
                  <a:pt x="741633" y="1473526"/>
                </a:cubicBezTo>
                <a:cubicBezTo>
                  <a:pt x="737793" y="1477248"/>
                  <a:pt x="733582" y="1477483"/>
                  <a:pt x="728154" y="1478343"/>
                </a:cubicBezTo>
                <a:cubicBezTo>
                  <a:pt x="724855" y="1478778"/>
                  <a:pt x="724855" y="1478778"/>
                  <a:pt x="721814" y="1480308"/>
                </a:cubicBezTo>
                <a:cubicBezTo>
                  <a:pt x="717303" y="1480523"/>
                  <a:pt x="712854" y="1480634"/>
                  <a:pt x="708341" y="1480661"/>
                </a:cubicBezTo>
                <a:cubicBezTo>
                  <a:pt x="707118" y="1480690"/>
                  <a:pt x="705896" y="1480719"/>
                  <a:pt x="704637" y="1480748"/>
                </a:cubicBezTo>
                <a:cubicBezTo>
                  <a:pt x="690446" y="1480834"/>
                  <a:pt x="679632" y="1476246"/>
                  <a:pt x="668507" y="1468418"/>
                </a:cubicBezTo>
                <a:cubicBezTo>
                  <a:pt x="662823" y="1463224"/>
                  <a:pt x="661745" y="1456995"/>
                  <a:pt x="660178" y="1450027"/>
                </a:cubicBezTo>
                <a:cubicBezTo>
                  <a:pt x="659725" y="1446589"/>
                  <a:pt x="659725" y="1446589"/>
                  <a:pt x="657767" y="1445078"/>
                </a:cubicBezTo>
                <a:cubicBezTo>
                  <a:pt x="656859" y="1433686"/>
                  <a:pt x="655965" y="1419178"/>
                  <a:pt x="663369" y="1409390"/>
                </a:cubicBezTo>
                <a:cubicBezTo>
                  <a:pt x="666078" y="1406601"/>
                  <a:pt x="668921" y="1404013"/>
                  <a:pt x="671826" y="1401392"/>
                </a:cubicBezTo>
                <a:cubicBezTo>
                  <a:pt x="675197" y="1397623"/>
                  <a:pt x="677125" y="1394916"/>
                  <a:pt x="678075" y="1390118"/>
                </a:cubicBezTo>
                <a:cubicBezTo>
                  <a:pt x="680137" y="1389653"/>
                  <a:pt x="682199" y="1389188"/>
                  <a:pt x="684323" y="1388709"/>
                </a:cubicBezTo>
                <a:cubicBezTo>
                  <a:pt x="684643" y="1387232"/>
                  <a:pt x="684964" y="1385755"/>
                  <a:pt x="685293" y="1384233"/>
                </a:cubicBezTo>
                <a:cubicBezTo>
                  <a:pt x="685718" y="1382290"/>
                  <a:pt x="686144" y="1380347"/>
                  <a:pt x="686569" y="1378404"/>
                </a:cubicBezTo>
                <a:cubicBezTo>
                  <a:pt x="686885" y="1376945"/>
                  <a:pt x="686885" y="1376945"/>
                  <a:pt x="687207" y="1375456"/>
                </a:cubicBezTo>
                <a:cubicBezTo>
                  <a:pt x="688115" y="1371315"/>
                  <a:pt x="689090" y="1367353"/>
                  <a:pt x="690572" y="1363343"/>
                </a:cubicBezTo>
                <a:cubicBezTo>
                  <a:pt x="692411" y="1350128"/>
                  <a:pt x="692374" y="1336672"/>
                  <a:pt x="692495" y="1323376"/>
                </a:cubicBezTo>
                <a:cubicBezTo>
                  <a:pt x="692524" y="1320586"/>
                  <a:pt x="692574" y="1317796"/>
                  <a:pt x="692625" y="1315006"/>
                </a:cubicBezTo>
                <a:cubicBezTo>
                  <a:pt x="692853" y="1300589"/>
                  <a:pt x="692853" y="1300589"/>
                  <a:pt x="687447" y="1287245"/>
                </a:cubicBezTo>
                <a:cubicBezTo>
                  <a:pt x="685901" y="1286780"/>
                  <a:pt x="684354" y="1286315"/>
                  <a:pt x="682761" y="1285835"/>
                </a:cubicBezTo>
                <a:cubicBezTo>
                  <a:pt x="680876" y="1283743"/>
                  <a:pt x="680876" y="1283743"/>
                  <a:pt x="678954" y="1281608"/>
                </a:cubicBezTo>
                <a:cubicBezTo>
                  <a:pt x="674854" y="1277278"/>
                  <a:pt x="674356" y="1276958"/>
                  <a:pt x="668702" y="1275971"/>
                </a:cubicBezTo>
                <a:cubicBezTo>
                  <a:pt x="666619" y="1274092"/>
                  <a:pt x="664536" y="1272213"/>
                  <a:pt x="662454" y="1270334"/>
                </a:cubicBezTo>
                <a:cubicBezTo>
                  <a:pt x="658341" y="1268566"/>
                  <a:pt x="658341" y="1268566"/>
                  <a:pt x="654643" y="1267516"/>
                </a:cubicBezTo>
                <a:cubicBezTo>
                  <a:pt x="654643" y="1266585"/>
                  <a:pt x="654643" y="1265656"/>
                  <a:pt x="654643" y="1264697"/>
                </a:cubicBezTo>
                <a:cubicBezTo>
                  <a:pt x="653161" y="1264581"/>
                  <a:pt x="651679" y="1264465"/>
                  <a:pt x="650152" y="1264345"/>
                </a:cubicBezTo>
                <a:cubicBezTo>
                  <a:pt x="642318" y="1263373"/>
                  <a:pt x="635297" y="1260465"/>
                  <a:pt x="628087" y="1257651"/>
                </a:cubicBezTo>
                <a:cubicBezTo>
                  <a:pt x="628087" y="1256721"/>
                  <a:pt x="628087" y="1255791"/>
                  <a:pt x="628087" y="1254833"/>
                </a:cubicBezTo>
                <a:cubicBezTo>
                  <a:pt x="627108" y="1254662"/>
                  <a:pt x="626129" y="1254491"/>
                  <a:pt x="625121" y="1254315"/>
                </a:cubicBezTo>
                <a:cubicBezTo>
                  <a:pt x="623845" y="1254079"/>
                  <a:pt x="622568" y="1253843"/>
                  <a:pt x="621252" y="1253600"/>
                </a:cubicBezTo>
                <a:cubicBezTo>
                  <a:pt x="619984" y="1253371"/>
                  <a:pt x="618716" y="1253142"/>
                  <a:pt x="617409" y="1252906"/>
                </a:cubicBezTo>
                <a:cubicBezTo>
                  <a:pt x="614027" y="1252014"/>
                  <a:pt x="614027" y="1252014"/>
                  <a:pt x="610904" y="1249196"/>
                </a:cubicBezTo>
                <a:cubicBezTo>
                  <a:pt x="592259" y="1248653"/>
                  <a:pt x="578635" y="1260869"/>
                  <a:pt x="565739" y="1271742"/>
                </a:cubicBezTo>
                <a:cubicBezTo>
                  <a:pt x="558808" y="1277725"/>
                  <a:pt x="552763" y="1283983"/>
                  <a:pt x="546924" y="1290829"/>
                </a:cubicBezTo>
                <a:cubicBezTo>
                  <a:pt x="545838" y="1292087"/>
                  <a:pt x="544753" y="1293346"/>
                  <a:pt x="543635" y="1294643"/>
                </a:cubicBezTo>
                <a:cubicBezTo>
                  <a:pt x="542650" y="1295813"/>
                  <a:pt x="541666" y="1296983"/>
                  <a:pt x="540651" y="1298188"/>
                </a:cubicBezTo>
                <a:cubicBezTo>
                  <a:pt x="537294" y="1301526"/>
                  <a:pt x="533978" y="1303337"/>
                  <a:pt x="529673" y="1305565"/>
                </a:cubicBezTo>
                <a:cubicBezTo>
                  <a:pt x="527599" y="1308478"/>
                  <a:pt x="527599" y="1308478"/>
                  <a:pt x="526549" y="1311202"/>
                </a:cubicBezTo>
                <a:cubicBezTo>
                  <a:pt x="525518" y="1311202"/>
                  <a:pt x="524487" y="1311202"/>
                  <a:pt x="523425" y="1311202"/>
                </a:cubicBezTo>
                <a:cubicBezTo>
                  <a:pt x="523360" y="1311986"/>
                  <a:pt x="523296" y="1312771"/>
                  <a:pt x="523230" y="1313580"/>
                </a:cubicBezTo>
                <a:cubicBezTo>
                  <a:pt x="521863" y="1316839"/>
                  <a:pt x="521863" y="1316839"/>
                  <a:pt x="517732" y="1319739"/>
                </a:cubicBezTo>
                <a:cubicBezTo>
                  <a:pt x="511111" y="1324565"/>
                  <a:pt x="506875" y="1330731"/>
                  <a:pt x="502239" y="1337096"/>
                </a:cubicBezTo>
                <a:cubicBezTo>
                  <a:pt x="500512" y="1339427"/>
                  <a:pt x="498785" y="1341757"/>
                  <a:pt x="497058" y="1344087"/>
                </a:cubicBezTo>
                <a:cubicBezTo>
                  <a:pt x="495827" y="1345760"/>
                  <a:pt x="495827" y="1345760"/>
                  <a:pt x="494572" y="1347465"/>
                </a:cubicBezTo>
                <a:cubicBezTo>
                  <a:pt x="492366" y="1350414"/>
                  <a:pt x="490094" y="1353304"/>
                  <a:pt x="487776" y="1356181"/>
                </a:cubicBezTo>
                <a:cubicBezTo>
                  <a:pt x="484805" y="1359972"/>
                  <a:pt x="482865" y="1363193"/>
                  <a:pt x="481248" y="1367571"/>
                </a:cubicBezTo>
                <a:cubicBezTo>
                  <a:pt x="480216" y="1367571"/>
                  <a:pt x="479186" y="1367571"/>
                  <a:pt x="478123" y="1367571"/>
                </a:cubicBezTo>
                <a:cubicBezTo>
                  <a:pt x="477963" y="1368558"/>
                  <a:pt x="477801" y="1369547"/>
                  <a:pt x="477635" y="1370565"/>
                </a:cubicBezTo>
                <a:cubicBezTo>
                  <a:pt x="475602" y="1378236"/>
                  <a:pt x="471952" y="1383371"/>
                  <a:pt x="465626" y="1388709"/>
                </a:cubicBezTo>
                <a:cubicBezTo>
                  <a:pt x="462272" y="1392748"/>
                  <a:pt x="462272" y="1392748"/>
                  <a:pt x="461233" y="1397340"/>
                </a:cubicBezTo>
                <a:cubicBezTo>
                  <a:pt x="460030" y="1401461"/>
                  <a:pt x="458298" y="1404501"/>
                  <a:pt x="455765" y="1408086"/>
                </a:cubicBezTo>
                <a:cubicBezTo>
                  <a:pt x="442829" y="1428603"/>
                  <a:pt x="441572" y="1454548"/>
                  <a:pt x="439070" y="1477490"/>
                </a:cubicBezTo>
                <a:cubicBezTo>
                  <a:pt x="437524" y="1477955"/>
                  <a:pt x="435977" y="1478420"/>
                  <a:pt x="434384" y="1478899"/>
                </a:cubicBezTo>
                <a:cubicBezTo>
                  <a:pt x="433739" y="1479916"/>
                  <a:pt x="433095" y="1480933"/>
                  <a:pt x="432431" y="1481982"/>
                </a:cubicBezTo>
                <a:cubicBezTo>
                  <a:pt x="428860" y="1487159"/>
                  <a:pt x="424291" y="1490903"/>
                  <a:pt x="418763" y="1494401"/>
                </a:cubicBezTo>
                <a:cubicBezTo>
                  <a:pt x="417731" y="1494401"/>
                  <a:pt x="416701" y="1494401"/>
                  <a:pt x="415639" y="1494401"/>
                </a:cubicBezTo>
                <a:cubicBezTo>
                  <a:pt x="415639" y="1495330"/>
                  <a:pt x="415639" y="1496260"/>
                  <a:pt x="415639" y="1497219"/>
                </a:cubicBezTo>
                <a:cubicBezTo>
                  <a:pt x="412546" y="1497684"/>
                  <a:pt x="409453" y="1498149"/>
                  <a:pt x="406265" y="1498628"/>
                </a:cubicBezTo>
                <a:cubicBezTo>
                  <a:pt x="406265" y="1499559"/>
                  <a:pt x="406265" y="1500488"/>
                  <a:pt x="406265" y="1501447"/>
                </a:cubicBezTo>
                <a:cubicBezTo>
                  <a:pt x="395955" y="1501447"/>
                  <a:pt x="385645" y="1501447"/>
                  <a:pt x="375023" y="1501447"/>
                </a:cubicBezTo>
                <a:lnTo>
                  <a:pt x="375023" y="1499438"/>
                </a:lnTo>
                <a:lnTo>
                  <a:pt x="374964" y="1499436"/>
                </a:lnTo>
                <a:lnTo>
                  <a:pt x="373179" y="1498628"/>
                </a:lnTo>
                <a:lnTo>
                  <a:pt x="365650" y="1498628"/>
                </a:lnTo>
                <a:lnTo>
                  <a:pt x="363134" y="1494087"/>
                </a:lnTo>
                <a:lnTo>
                  <a:pt x="362171" y="1493651"/>
                </a:lnTo>
                <a:cubicBezTo>
                  <a:pt x="361656" y="1492722"/>
                  <a:pt x="361140" y="1491791"/>
                  <a:pt x="360609" y="1490833"/>
                </a:cubicBezTo>
                <a:cubicBezTo>
                  <a:pt x="361640" y="1490833"/>
                  <a:pt x="362671" y="1490833"/>
                  <a:pt x="363733" y="1490833"/>
                </a:cubicBezTo>
                <a:lnTo>
                  <a:pt x="363733" y="1489980"/>
                </a:lnTo>
                <a:lnTo>
                  <a:pt x="348467" y="1481717"/>
                </a:lnTo>
                <a:lnTo>
                  <a:pt x="343872" y="1461078"/>
                </a:lnTo>
                <a:lnTo>
                  <a:pt x="343656" y="1463649"/>
                </a:lnTo>
                <a:cubicBezTo>
                  <a:pt x="343541" y="1465230"/>
                  <a:pt x="343541" y="1465230"/>
                  <a:pt x="343424" y="1466842"/>
                </a:cubicBezTo>
                <a:cubicBezTo>
                  <a:pt x="342908" y="1466842"/>
                  <a:pt x="342393" y="1466842"/>
                  <a:pt x="341861" y="1466842"/>
                </a:cubicBezTo>
                <a:cubicBezTo>
                  <a:pt x="340987" y="1449564"/>
                  <a:pt x="340999" y="1434331"/>
                  <a:pt x="354143" y="1420549"/>
                </a:cubicBezTo>
                <a:cubicBezTo>
                  <a:pt x="360765" y="1414011"/>
                  <a:pt x="367631" y="1407790"/>
                  <a:pt x="376229" y="1403427"/>
                </a:cubicBezTo>
                <a:lnTo>
                  <a:pt x="379491" y="1404408"/>
                </a:lnTo>
                <a:lnTo>
                  <a:pt x="379710" y="1404210"/>
                </a:lnTo>
                <a:cubicBezTo>
                  <a:pt x="380290" y="1402902"/>
                  <a:pt x="380290" y="1402902"/>
                  <a:pt x="380882" y="1401568"/>
                </a:cubicBezTo>
                <a:cubicBezTo>
                  <a:pt x="383675" y="1397284"/>
                  <a:pt x="387587" y="1395610"/>
                  <a:pt x="392207" y="1392936"/>
                </a:cubicBezTo>
                <a:lnTo>
                  <a:pt x="399542" y="1386774"/>
                </a:lnTo>
                <a:lnTo>
                  <a:pt x="405485" y="1378917"/>
                </a:lnTo>
                <a:cubicBezTo>
                  <a:pt x="408065" y="1375974"/>
                  <a:pt x="410029" y="1372774"/>
                  <a:pt x="412008" y="1369481"/>
                </a:cubicBezTo>
                <a:cubicBezTo>
                  <a:pt x="414759" y="1365166"/>
                  <a:pt x="417963" y="1361131"/>
                  <a:pt x="421130" y="1357057"/>
                </a:cubicBezTo>
                <a:cubicBezTo>
                  <a:pt x="423073" y="1354140"/>
                  <a:pt x="423985" y="1351767"/>
                  <a:pt x="424676" y="1348443"/>
                </a:cubicBezTo>
                <a:lnTo>
                  <a:pt x="427275" y="1348443"/>
                </a:lnTo>
                <a:lnTo>
                  <a:pt x="428135" y="1345727"/>
                </a:lnTo>
                <a:cubicBezTo>
                  <a:pt x="429370" y="1341828"/>
                  <a:pt x="430645" y="1338666"/>
                  <a:pt x="432822" y="1335158"/>
                </a:cubicBezTo>
                <a:cubicBezTo>
                  <a:pt x="433853" y="1335158"/>
                  <a:pt x="434884" y="1335158"/>
                  <a:pt x="435946" y="1335158"/>
                </a:cubicBezTo>
                <a:cubicBezTo>
                  <a:pt x="436526" y="1333385"/>
                  <a:pt x="437106" y="1331613"/>
                  <a:pt x="437704" y="1329786"/>
                </a:cubicBezTo>
                <a:cubicBezTo>
                  <a:pt x="440162" y="1323132"/>
                  <a:pt x="443602" y="1317301"/>
                  <a:pt x="447394" y="1311196"/>
                </a:cubicBezTo>
                <a:cubicBezTo>
                  <a:pt x="456493" y="1296485"/>
                  <a:pt x="463325" y="1281864"/>
                  <a:pt x="469287" y="1265964"/>
                </a:cubicBezTo>
                <a:cubicBezTo>
                  <a:pt x="474589" y="1252134"/>
                  <a:pt x="474589" y="1252134"/>
                  <a:pt x="478178" y="1246787"/>
                </a:cubicBezTo>
                <a:cubicBezTo>
                  <a:pt x="481232" y="1240246"/>
                  <a:pt x="480204" y="1232766"/>
                  <a:pt x="480179" y="1225768"/>
                </a:cubicBezTo>
                <a:cubicBezTo>
                  <a:pt x="480174" y="1222894"/>
                  <a:pt x="480210" y="1220023"/>
                  <a:pt x="480250" y="1217149"/>
                </a:cubicBezTo>
                <a:cubicBezTo>
                  <a:pt x="480260" y="1199291"/>
                  <a:pt x="476718" y="1187768"/>
                  <a:pt x="462972" y="1174827"/>
                </a:cubicBezTo>
                <a:cubicBezTo>
                  <a:pt x="461148" y="1173192"/>
                  <a:pt x="459312" y="1171566"/>
                  <a:pt x="457468" y="1169949"/>
                </a:cubicBezTo>
                <a:cubicBezTo>
                  <a:pt x="451412" y="1164522"/>
                  <a:pt x="445876" y="1158660"/>
                  <a:pt x="440657" y="1152570"/>
                </a:cubicBezTo>
                <a:cubicBezTo>
                  <a:pt x="430474" y="1140786"/>
                  <a:pt x="418230" y="1128998"/>
                  <a:pt x="403142" y="1122366"/>
                </a:cubicBezTo>
                <a:cubicBezTo>
                  <a:pt x="402626" y="1121436"/>
                  <a:pt x="402110" y="1120506"/>
                  <a:pt x="401579" y="1119547"/>
                </a:cubicBezTo>
                <a:cubicBezTo>
                  <a:pt x="390472" y="1115326"/>
                  <a:pt x="375918" y="1114217"/>
                  <a:pt x="364564" y="1118209"/>
                </a:cubicBezTo>
                <a:cubicBezTo>
                  <a:pt x="362278" y="1119428"/>
                  <a:pt x="360026" y="1120704"/>
                  <a:pt x="357822" y="1122041"/>
                </a:cubicBezTo>
                <a:cubicBezTo>
                  <a:pt x="354521" y="1123884"/>
                  <a:pt x="351862" y="1124582"/>
                  <a:pt x="348077" y="1125273"/>
                </a:cubicBezTo>
                <a:cubicBezTo>
                  <a:pt x="341765" y="1126696"/>
                  <a:pt x="339382" y="1128619"/>
                  <a:pt x="334408" y="1132230"/>
                </a:cubicBezTo>
                <a:cubicBezTo>
                  <a:pt x="332284" y="1132909"/>
                  <a:pt x="330131" y="1133519"/>
                  <a:pt x="327964" y="1134080"/>
                </a:cubicBezTo>
                <a:cubicBezTo>
                  <a:pt x="309975" y="1139067"/>
                  <a:pt x="290592" y="1152117"/>
                  <a:pt x="279734" y="1166051"/>
                </a:cubicBezTo>
                <a:cubicBezTo>
                  <a:pt x="277929" y="1169534"/>
                  <a:pt x="277929" y="1169534"/>
                  <a:pt x="276609" y="1173098"/>
                </a:cubicBezTo>
                <a:cubicBezTo>
                  <a:pt x="272413" y="1180804"/>
                  <a:pt x="269322" y="1184144"/>
                  <a:pt x="260988" y="1188599"/>
                </a:cubicBezTo>
                <a:cubicBezTo>
                  <a:pt x="259988" y="1189435"/>
                  <a:pt x="258987" y="1190271"/>
                  <a:pt x="257956" y="1191132"/>
                </a:cubicBezTo>
                <a:lnTo>
                  <a:pt x="243805" y="1196629"/>
                </a:lnTo>
                <a:lnTo>
                  <a:pt x="243805" y="1194236"/>
                </a:lnTo>
                <a:lnTo>
                  <a:pt x="240288" y="1194765"/>
                </a:lnTo>
                <a:lnTo>
                  <a:pt x="243374" y="1194765"/>
                </a:lnTo>
                <a:lnTo>
                  <a:pt x="243374" y="1196797"/>
                </a:lnTo>
                <a:lnTo>
                  <a:pt x="243805" y="1196629"/>
                </a:lnTo>
                <a:lnTo>
                  <a:pt x="243805" y="1197055"/>
                </a:lnTo>
                <a:lnTo>
                  <a:pt x="243374" y="1197055"/>
                </a:lnTo>
                <a:lnTo>
                  <a:pt x="243374" y="1197584"/>
                </a:lnTo>
                <a:lnTo>
                  <a:pt x="241319" y="1197595"/>
                </a:lnTo>
                <a:lnTo>
                  <a:pt x="238009" y="1198881"/>
                </a:lnTo>
                <a:cubicBezTo>
                  <a:pt x="231012" y="1199584"/>
                  <a:pt x="223620" y="1198927"/>
                  <a:pt x="215687" y="1198464"/>
                </a:cubicBezTo>
                <a:lnTo>
                  <a:pt x="215687" y="1197734"/>
                </a:lnTo>
                <a:lnTo>
                  <a:pt x="213936" y="1197744"/>
                </a:lnTo>
                <a:cubicBezTo>
                  <a:pt x="210570" y="1197584"/>
                  <a:pt x="210570" y="1197584"/>
                  <a:pt x="207446" y="1196175"/>
                </a:cubicBezTo>
                <a:lnTo>
                  <a:pt x="207822" y="1195610"/>
                </a:lnTo>
                <a:lnTo>
                  <a:pt x="184737" y="1180936"/>
                </a:lnTo>
                <a:cubicBezTo>
                  <a:pt x="180258" y="1172216"/>
                  <a:pt x="179226" y="1164355"/>
                  <a:pt x="179270" y="1154866"/>
                </a:cubicBezTo>
                <a:cubicBezTo>
                  <a:pt x="179233" y="1153260"/>
                  <a:pt x="179233" y="1153260"/>
                  <a:pt x="179194" y="1151621"/>
                </a:cubicBezTo>
                <a:cubicBezTo>
                  <a:pt x="179182" y="1139523"/>
                  <a:pt x="183658" y="1128837"/>
                  <a:pt x="193195" y="1120065"/>
                </a:cubicBezTo>
                <a:cubicBezTo>
                  <a:pt x="204265" y="1110959"/>
                  <a:pt x="215062" y="1110626"/>
                  <a:pt x="229551" y="1110299"/>
                </a:cubicBezTo>
                <a:cubicBezTo>
                  <a:pt x="240132" y="1110024"/>
                  <a:pt x="250506" y="1109652"/>
                  <a:pt x="260988" y="1108274"/>
                </a:cubicBezTo>
                <a:cubicBezTo>
                  <a:pt x="260988" y="1107344"/>
                  <a:pt x="260988" y="1106413"/>
                  <a:pt x="260988" y="1105455"/>
                </a:cubicBezTo>
                <a:cubicBezTo>
                  <a:pt x="261953" y="1105078"/>
                  <a:pt x="262918" y="1104699"/>
                  <a:pt x="263911" y="1104310"/>
                </a:cubicBezTo>
                <a:cubicBezTo>
                  <a:pt x="272903" y="1100557"/>
                  <a:pt x="279802" y="1096307"/>
                  <a:pt x="286995" y="1090185"/>
                </a:cubicBezTo>
                <a:cubicBezTo>
                  <a:pt x="290956" y="1086897"/>
                  <a:pt x="295114" y="1083955"/>
                  <a:pt x="299358" y="1080970"/>
                </a:cubicBezTo>
                <a:cubicBezTo>
                  <a:pt x="306613" y="1075692"/>
                  <a:pt x="312234" y="1070023"/>
                  <a:pt x="317762" y="1063272"/>
                </a:cubicBezTo>
                <a:cubicBezTo>
                  <a:pt x="320349" y="1060360"/>
                  <a:pt x="320349" y="1060360"/>
                  <a:pt x="325035" y="1057542"/>
                </a:cubicBezTo>
                <a:cubicBezTo>
                  <a:pt x="329912" y="1045734"/>
                  <a:pt x="327928" y="1035103"/>
                  <a:pt x="325328" y="1023104"/>
                </a:cubicBezTo>
                <a:cubicBezTo>
                  <a:pt x="325069" y="1021831"/>
                  <a:pt x="324811" y="1020559"/>
                  <a:pt x="324544" y="1019247"/>
                </a:cubicBezTo>
                <a:cubicBezTo>
                  <a:pt x="322876" y="1011407"/>
                  <a:pt x="320562" y="1004340"/>
                  <a:pt x="317225" y="996945"/>
                </a:cubicBezTo>
                <a:cubicBezTo>
                  <a:pt x="316619" y="995541"/>
                  <a:pt x="316013" y="994137"/>
                  <a:pt x="315388" y="992690"/>
                </a:cubicBezTo>
                <a:cubicBezTo>
                  <a:pt x="306307" y="972561"/>
                  <a:pt x="298931" y="959343"/>
                  <a:pt x="276232" y="950666"/>
                </a:cubicBezTo>
                <a:cubicBezTo>
                  <a:pt x="274810" y="950127"/>
                  <a:pt x="273388" y="949587"/>
                  <a:pt x="271923" y="949031"/>
                </a:cubicBezTo>
                <a:cubicBezTo>
                  <a:pt x="270129" y="948244"/>
                  <a:pt x="270129" y="948244"/>
                  <a:pt x="268299" y="947441"/>
                </a:cubicBezTo>
                <a:cubicBezTo>
                  <a:pt x="247071" y="938140"/>
                  <a:pt x="222259" y="939051"/>
                  <a:pt x="199187" y="938991"/>
                </a:cubicBezTo>
                <a:cubicBezTo>
                  <a:pt x="197383" y="938984"/>
                  <a:pt x="195579" y="938978"/>
                  <a:pt x="193719" y="938971"/>
                </a:cubicBezTo>
                <a:cubicBezTo>
                  <a:pt x="192010" y="938974"/>
                  <a:pt x="190300" y="938977"/>
                  <a:pt x="188539" y="938980"/>
                </a:cubicBezTo>
                <a:cubicBezTo>
                  <a:pt x="187000" y="938981"/>
                  <a:pt x="185460" y="938983"/>
                  <a:pt x="183874" y="938985"/>
                </a:cubicBezTo>
                <a:cubicBezTo>
                  <a:pt x="180148" y="939150"/>
                  <a:pt x="177092" y="939720"/>
                  <a:pt x="173509" y="940576"/>
                </a:cubicBezTo>
                <a:cubicBezTo>
                  <a:pt x="169458" y="940674"/>
                  <a:pt x="165452" y="940710"/>
                  <a:pt x="161403" y="940664"/>
                </a:cubicBezTo>
                <a:cubicBezTo>
                  <a:pt x="160314" y="940658"/>
                  <a:pt x="159224" y="940651"/>
                  <a:pt x="158102" y="940645"/>
                </a:cubicBezTo>
                <a:lnTo>
                  <a:pt x="150875" y="940583"/>
                </a:lnTo>
                <a:lnTo>
                  <a:pt x="148425" y="940717"/>
                </a:lnTo>
                <a:lnTo>
                  <a:pt x="149617" y="940995"/>
                </a:lnTo>
                <a:cubicBezTo>
                  <a:pt x="149617" y="941459"/>
                  <a:pt x="149617" y="941924"/>
                  <a:pt x="149617" y="942404"/>
                </a:cubicBezTo>
                <a:cubicBezTo>
                  <a:pt x="148630" y="942558"/>
                  <a:pt x="147643" y="942712"/>
                  <a:pt x="146627" y="942871"/>
                </a:cubicBezTo>
                <a:cubicBezTo>
                  <a:pt x="134541" y="944804"/>
                  <a:pt x="122553" y="947081"/>
                  <a:pt x="110564" y="949449"/>
                </a:cubicBezTo>
                <a:lnTo>
                  <a:pt x="111283" y="946205"/>
                </a:lnTo>
                <a:lnTo>
                  <a:pt x="101652" y="956078"/>
                </a:lnTo>
                <a:cubicBezTo>
                  <a:pt x="99870" y="957260"/>
                  <a:pt x="99870" y="957260"/>
                  <a:pt x="98052" y="958467"/>
                </a:cubicBezTo>
                <a:cubicBezTo>
                  <a:pt x="75683" y="972989"/>
                  <a:pt x="75683" y="972989"/>
                  <a:pt x="67286" y="972989"/>
                </a:cubicBezTo>
                <a:cubicBezTo>
                  <a:pt x="67286" y="973918"/>
                  <a:pt x="67286" y="974848"/>
                  <a:pt x="67286" y="975807"/>
                </a:cubicBezTo>
                <a:cubicBezTo>
                  <a:pt x="55713" y="979519"/>
                  <a:pt x="43549" y="980689"/>
                  <a:pt x="31942" y="976423"/>
                </a:cubicBezTo>
                <a:cubicBezTo>
                  <a:pt x="19953" y="970870"/>
                  <a:pt x="10774" y="964932"/>
                  <a:pt x="5673" y="953419"/>
                </a:cubicBezTo>
                <a:cubicBezTo>
                  <a:pt x="4801" y="950441"/>
                  <a:pt x="4801" y="950441"/>
                  <a:pt x="4801" y="944804"/>
                </a:cubicBezTo>
                <a:cubicBezTo>
                  <a:pt x="3770" y="944804"/>
                  <a:pt x="2739" y="944804"/>
                  <a:pt x="1676" y="944804"/>
                </a:cubicBezTo>
                <a:cubicBezTo>
                  <a:pt x="-34" y="940174"/>
                  <a:pt x="-41" y="936720"/>
                  <a:pt x="17" y="931857"/>
                </a:cubicBezTo>
                <a:cubicBezTo>
                  <a:pt x="31" y="930325"/>
                  <a:pt x="45" y="928794"/>
                  <a:pt x="59" y="927216"/>
                </a:cubicBezTo>
                <a:cubicBezTo>
                  <a:pt x="78" y="926044"/>
                  <a:pt x="96" y="924873"/>
                  <a:pt x="115" y="923666"/>
                </a:cubicBezTo>
                <a:cubicBezTo>
                  <a:pt x="1145" y="923666"/>
                  <a:pt x="2176" y="923666"/>
                  <a:pt x="3238" y="923666"/>
                </a:cubicBezTo>
                <a:cubicBezTo>
                  <a:pt x="3238" y="921805"/>
                  <a:pt x="3238" y="919945"/>
                  <a:pt x="3238" y="918029"/>
                </a:cubicBezTo>
                <a:cubicBezTo>
                  <a:pt x="4270" y="918029"/>
                  <a:pt x="5300" y="918029"/>
                  <a:pt x="6363" y="918029"/>
                </a:cubicBezTo>
                <a:cubicBezTo>
                  <a:pt x="6459" y="916314"/>
                  <a:pt x="6556" y="914599"/>
                  <a:pt x="6656" y="912832"/>
                </a:cubicBezTo>
                <a:cubicBezTo>
                  <a:pt x="7542" y="906455"/>
                  <a:pt x="10104" y="903750"/>
                  <a:pt x="15736" y="899709"/>
                </a:cubicBezTo>
                <a:lnTo>
                  <a:pt x="17243" y="898894"/>
                </a:lnTo>
                <a:lnTo>
                  <a:pt x="16800" y="898694"/>
                </a:lnTo>
                <a:lnTo>
                  <a:pt x="24988" y="894101"/>
                </a:lnTo>
                <a:lnTo>
                  <a:pt x="26768" y="892399"/>
                </a:lnTo>
                <a:cubicBezTo>
                  <a:pt x="28282" y="891122"/>
                  <a:pt x="29038" y="890483"/>
                  <a:pt x="30198" y="890164"/>
                </a:cubicBezTo>
                <a:lnTo>
                  <a:pt x="32204" y="890054"/>
                </a:lnTo>
                <a:lnTo>
                  <a:pt x="38914" y="886291"/>
                </a:lnTo>
                <a:cubicBezTo>
                  <a:pt x="47169" y="885770"/>
                  <a:pt x="55396" y="885800"/>
                  <a:pt x="63664" y="886011"/>
                </a:cubicBezTo>
                <a:lnTo>
                  <a:pt x="63664" y="886531"/>
                </a:lnTo>
                <a:lnTo>
                  <a:pt x="70784" y="886647"/>
                </a:lnTo>
                <a:cubicBezTo>
                  <a:pt x="74787" y="887000"/>
                  <a:pt x="77233" y="887948"/>
                  <a:pt x="82126" y="889845"/>
                </a:cubicBezTo>
                <a:cubicBezTo>
                  <a:pt x="92427" y="893791"/>
                  <a:pt x="103139" y="893710"/>
                  <a:pt x="114149" y="892663"/>
                </a:cubicBezTo>
                <a:cubicBezTo>
                  <a:pt x="115696" y="891733"/>
                  <a:pt x="117242" y="890803"/>
                  <a:pt x="118836" y="889845"/>
                </a:cubicBezTo>
                <a:cubicBezTo>
                  <a:pt x="123097" y="888850"/>
                  <a:pt x="127325" y="887944"/>
                  <a:pt x="131626" y="887114"/>
                </a:cubicBezTo>
                <a:cubicBezTo>
                  <a:pt x="139750" y="885542"/>
                  <a:pt x="147376" y="883653"/>
                  <a:pt x="155116" y="880913"/>
                </a:cubicBezTo>
                <a:cubicBezTo>
                  <a:pt x="158498" y="879775"/>
                  <a:pt x="161861" y="879076"/>
                  <a:pt x="165406" y="878483"/>
                </a:cubicBezTo>
                <a:cubicBezTo>
                  <a:pt x="170342" y="877655"/>
                  <a:pt x="172265" y="876971"/>
                  <a:pt x="176634" y="874343"/>
                </a:cubicBezTo>
                <a:cubicBezTo>
                  <a:pt x="179863" y="873335"/>
                  <a:pt x="183123" y="872404"/>
                  <a:pt x="186397" y="871524"/>
                </a:cubicBezTo>
                <a:cubicBezTo>
                  <a:pt x="189107" y="870786"/>
                  <a:pt x="189107" y="870786"/>
                  <a:pt x="191871" y="870033"/>
                </a:cubicBezTo>
                <a:cubicBezTo>
                  <a:pt x="195731" y="869023"/>
                  <a:pt x="199587" y="868093"/>
                  <a:pt x="203483" y="867208"/>
                </a:cubicBezTo>
                <a:cubicBezTo>
                  <a:pt x="208339" y="866199"/>
                  <a:pt x="208339" y="866199"/>
                  <a:pt x="211001" y="861660"/>
                </a:cubicBezTo>
                <a:cubicBezTo>
                  <a:pt x="214174" y="860102"/>
                  <a:pt x="214174" y="860102"/>
                  <a:pt x="218031" y="858577"/>
                </a:cubicBezTo>
                <a:cubicBezTo>
                  <a:pt x="236068" y="850629"/>
                  <a:pt x="245199" y="840442"/>
                  <a:pt x="254740" y="825020"/>
                </a:cubicBezTo>
                <a:cubicBezTo>
                  <a:pt x="255771" y="823625"/>
                  <a:pt x="256802" y="822230"/>
                  <a:pt x="257864" y="820792"/>
                </a:cubicBezTo>
                <a:cubicBezTo>
                  <a:pt x="258359" y="817506"/>
                  <a:pt x="258359" y="817506"/>
                  <a:pt x="258318" y="813810"/>
                </a:cubicBezTo>
                <a:cubicBezTo>
                  <a:pt x="258338" y="812388"/>
                  <a:pt x="258358" y="810967"/>
                  <a:pt x="258378" y="809502"/>
                </a:cubicBezTo>
                <a:cubicBezTo>
                  <a:pt x="258382" y="807965"/>
                  <a:pt x="258385" y="806429"/>
                  <a:pt x="258389" y="804845"/>
                </a:cubicBezTo>
                <a:cubicBezTo>
                  <a:pt x="258399" y="803258"/>
                  <a:pt x="258410" y="801671"/>
                  <a:pt x="258420" y="800036"/>
                </a:cubicBezTo>
                <a:cubicBezTo>
                  <a:pt x="258436" y="796670"/>
                  <a:pt x="258443" y="793305"/>
                  <a:pt x="258443" y="789939"/>
                </a:cubicBezTo>
                <a:cubicBezTo>
                  <a:pt x="258450" y="784823"/>
                  <a:pt x="258506" y="779709"/>
                  <a:pt x="258566" y="774594"/>
                </a:cubicBezTo>
                <a:cubicBezTo>
                  <a:pt x="258575" y="771319"/>
                  <a:pt x="258581" y="768045"/>
                  <a:pt x="258584" y="764771"/>
                </a:cubicBezTo>
                <a:cubicBezTo>
                  <a:pt x="258618" y="762495"/>
                  <a:pt x="258618" y="762495"/>
                  <a:pt x="258652" y="760174"/>
                </a:cubicBezTo>
                <a:cubicBezTo>
                  <a:pt x="258586" y="750030"/>
                  <a:pt x="256266" y="742584"/>
                  <a:pt x="251616" y="733421"/>
                </a:cubicBezTo>
                <a:cubicBezTo>
                  <a:pt x="250163" y="729605"/>
                  <a:pt x="248880" y="725752"/>
                  <a:pt x="247613" y="721883"/>
                </a:cubicBezTo>
                <a:cubicBezTo>
                  <a:pt x="245789" y="716328"/>
                  <a:pt x="243913" y="710939"/>
                  <a:pt x="241291" y="705644"/>
                </a:cubicBezTo>
                <a:cubicBezTo>
                  <a:pt x="238691" y="700096"/>
                  <a:pt x="238136" y="695685"/>
                  <a:pt x="237557" y="689735"/>
                </a:cubicBezTo>
                <a:cubicBezTo>
                  <a:pt x="244977" y="685507"/>
                  <a:pt x="244977" y="685507"/>
                  <a:pt x="248492" y="685507"/>
                </a:cubicBezTo>
                <a:cubicBezTo>
                  <a:pt x="248492" y="684112"/>
                  <a:pt x="248492" y="682717"/>
                  <a:pt x="248492" y="681279"/>
                </a:cubicBezTo>
                <a:cubicBezTo>
                  <a:pt x="245914" y="680815"/>
                  <a:pt x="243337" y="680350"/>
                  <a:pt x="240681" y="679870"/>
                </a:cubicBezTo>
                <a:cubicBezTo>
                  <a:pt x="240681" y="678940"/>
                  <a:pt x="240681" y="678010"/>
                  <a:pt x="240681" y="677052"/>
                </a:cubicBezTo>
                <a:cubicBezTo>
                  <a:pt x="239827" y="676917"/>
                  <a:pt x="238973" y="676783"/>
                  <a:pt x="238094" y="676645"/>
                </a:cubicBezTo>
                <a:cubicBezTo>
                  <a:pt x="233442" y="675371"/>
                  <a:pt x="229939" y="673242"/>
                  <a:pt x="225841" y="670886"/>
                </a:cubicBezTo>
                <a:cubicBezTo>
                  <a:pt x="217808" y="666564"/>
                  <a:pt x="210635" y="664241"/>
                  <a:pt x="201531" y="662508"/>
                </a:cubicBezTo>
                <a:cubicBezTo>
                  <a:pt x="196896" y="661541"/>
                  <a:pt x="192682" y="660199"/>
                  <a:pt x="188252" y="658644"/>
                </a:cubicBezTo>
                <a:lnTo>
                  <a:pt x="182431" y="657327"/>
                </a:lnTo>
                <a:lnTo>
                  <a:pt x="182431" y="657613"/>
                </a:lnTo>
                <a:cubicBezTo>
                  <a:pt x="170575" y="657148"/>
                  <a:pt x="158718" y="656683"/>
                  <a:pt x="146503" y="656204"/>
                </a:cubicBezTo>
                <a:cubicBezTo>
                  <a:pt x="146503" y="657133"/>
                  <a:pt x="146503" y="658064"/>
                  <a:pt x="146503" y="659022"/>
                </a:cubicBezTo>
                <a:cubicBezTo>
                  <a:pt x="134359" y="662326"/>
                  <a:pt x="123013" y="663700"/>
                  <a:pt x="110378" y="663778"/>
                </a:cubicBezTo>
                <a:cubicBezTo>
                  <a:pt x="108435" y="663806"/>
                  <a:pt x="108435" y="663806"/>
                  <a:pt x="106453" y="663836"/>
                </a:cubicBezTo>
                <a:cubicBezTo>
                  <a:pt x="105231" y="663828"/>
                  <a:pt x="104009" y="663820"/>
                  <a:pt x="102751" y="663811"/>
                </a:cubicBezTo>
                <a:cubicBezTo>
                  <a:pt x="101117" y="663804"/>
                  <a:pt x="101117" y="663804"/>
                  <a:pt x="99449" y="663797"/>
                </a:cubicBezTo>
                <a:cubicBezTo>
                  <a:pt x="95696" y="663097"/>
                  <a:pt x="94265" y="661615"/>
                  <a:pt x="91828" y="659022"/>
                </a:cubicBezTo>
                <a:cubicBezTo>
                  <a:pt x="93890" y="659022"/>
                  <a:pt x="95953" y="659022"/>
                  <a:pt x="98077" y="659022"/>
                </a:cubicBezTo>
                <a:cubicBezTo>
                  <a:pt x="98077" y="659952"/>
                  <a:pt x="98077" y="660882"/>
                  <a:pt x="98077" y="661841"/>
                </a:cubicBezTo>
                <a:cubicBezTo>
                  <a:pt x="108735" y="662045"/>
                  <a:pt x="114063" y="662148"/>
                  <a:pt x="119023" y="661357"/>
                </a:cubicBezTo>
                <a:lnTo>
                  <a:pt x="119536" y="661197"/>
                </a:lnTo>
                <a:lnTo>
                  <a:pt x="109853" y="661639"/>
                </a:lnTo>
                <a:cubicBezTo>
                  <a:pt x="108764" y="661632"/>
                  <a:pt x="107675" y="661626"/>
                  <a:pt x="106552" y="661619"/>
                </a:cubicBezTo>
                <a:cubicBezTo>
                  <a:pt x="103877" y="661603"/>
                  <a:pt x="101203" y="661577"/>
                  <a:pt x="98528" y="661550"/>
                </a:cubicBezTo>
                <a:cubicBezTo>
                  <a:pt x="98528" y="660620"/>
                  <a:pt x="98528" y="659691"/>
                  <a:pt x="98528" y="658732"/>
                </a:cubicBezTo>
                <a:cubicBezTo>
                  <a:pt x="95435" y="658267"/>
                  <a:pt x="92342" y="657802"/>
                  <a:pt x="89155" y="657323"/>
                </a:cubicBezTo>
                <a:cubicBezTo>
                  <a:pt x="89155" y="656393"/>
                  <a:pt x="89155" y="655462"/>
                  <a:pt x="89155" y="654504"/>
                </a:cubicBezTo>
                <a:cubicBezTo>
                  <a:pt x="87790" y="653978"/>
                  <a:pt x="87790" y="653978"/>
                  <a:pt x="86397" y="653442"/>
                </a:cubicBezTo>
                <a:cubicBezTo>
                  <a:pt x="82415" y="651438"/>
                  <a:pt x="80039" y="649232"/>
                  <a:pt x="77049" y="646137"/>
                </a:cubicBezTo>
                <a:cubicBezTo>
                  <a:pt x="75611" y="644679"/>
                  <a:pt x="75611" y="644679"/>
                  <a:pt x="74145" y="643192"/>
                </a:cubicBezTo>
                <a:cubicBezTo>
                  <a:pt x="71972" y="640412"/>
                  <a:pt x="71972" y="640412"/>
                  <a:pt x="71972" y="636185"/>
                </a:cubicBezTo>
                <a:cubicBezTo>
                  <a:pt x="70941" y="636185"/>
                  <a:pt x="69910" y="636185"/>
                  <a:pt x="68848" y="636185"/>
                </a:cubicBezTo>
                <a:cubicBezTo>
                  <a:pt x="64250" y="621928"/>
                  <a:pt x="64695" y="609404"/>
                  <a:pt x="70410" y="595317"/>
                </a:cubicBezTo>
                <a:cubicBezTo>
                  <a:pt x="73096" y="591142"/>
                  <a:pt x="76144" y="587574"/>
                  <a:pt x="79782" y="584043"/>
                </a:cubicBezTo>
                <a:cubicBezTo>
                  <a:pt x="81205" y="582594"/>
                  <a:pt x="81205" y="582594"/>
                  <a:pt x="82656" y="581115"/>
                </a:cubicBezTo>
                <a:cubicBezTo>
                  <a:pt x="91488" y="574027"/>
                  <a:pt x="105133" y="571806"/>
                  <a:pt x="116694" y="572323"/>
                </a:cubicBezTo>
                <a:cubicBezTo>
                  <a:pt x="131556" y="574113"/>
                  <a:pt x="142046" y="580551"/>
                  <a:pt x="152031" y="590385"/>
                </a:cubicBezTo>
                <a:cubicBezTo>
                  <a:pt x="162272" y="600009"/>
                  <a:pt x="176992" y="605062"/>
                  <a:pt x="191474" y="605886"/>
                </a:cubicBezTo>
                <a:cubicBezTo>
                  <a:pt x="196845" y="606192"/>
                  <a:pt x="201203" y="606463"/>
                  <a:pt x="206314" y="608000"/>
                </a:cubicBezTo>
                <a:cubicBezTo>
                  <a:pt x="206314" y="608930"/>
                  <a:pt x="206314" y="609860"/>
                  <a:pt x="206314" y="610818"/>
                </a:cubicBezTo>
                <a:cubicBezTo>
                  <a:pt x="215689" y="610902"/>
                  <a:pt x="225058" y="610898"/>
                  <a:pt x="234433" y="610818"/>
                </a:cubicBezTo>
                <a:cubicBezTo>
                  <a:pt x="236112" y="610813"/>
                  <a:pt x="237791" y="610808"/>
                  <a:pt x="239522" y="610802"/>
                </a:cubicBezTo>
                <a:cubicBezTo>
                  <a:pt x="251005" y="610364"/>
                  <a:pt x="259257" y="606564"/>
                  <a:pt x="268799" y="600954"/>
                </a:cubicBezTo>
                <a:cubicBezTo>
                  <a:pt x="269770" y="600416"/>
                  <a:pt x="270740" y="599879"/>
                  <a:pt x="271740" y="599325"/>
                </a:cubicBezTo>
                <a:cubicBezTo>
                  <a:pt x="279452" y="594430"/>
                  <a:pt x="281420" y="587464"/>
                  <a:pt x="284420" y="579816"/>
                </a:cubicBezTo>
                <a:cubicBezTo>
                  <a:pt x="286047" y="576075"/>
                  <a:pt x="287725" y="572353"/>
                  <a:pt x="289399" y="568630"/>
                </a:cubicBezTo>
                <a:cubicBezTo>
                  <a:pt x="294095" y="558121"/>
                  <a:pt x="299004" y="547070"/>
                  <a:pt x="293958" y="535838"/>
                </a:cubicBezTo>
                <a:cubicBezTo>
                  <a:pt x="292436" y="533533"/>
                  <a:pt x="290781" y="531301"/>
                  <a:pt x="289107" y="529084"/>
                </a:cubicBezTo>
                <a:cubicBezTo>
                  <a:pt x="289107" y="528153"/>
                  <a:pt x="289107" y="527223"/>
                  <a:pt x="289107" y="526265"/>
                </a:cubicBezTo>
                <a:cubicBezTo>
                  <a:pt x="287560" y="525800"/>
                  <a:pt x="286014" y="525335"/>
                  <a:pt x="284420" y="524856"/>
                </a:cubicBezTo>
                <a:cubicBezTo>
                  <a:pt x="283905" y="523461"/>
                  <a:pt x="283389" y="522066"/>
                  <a:pt x="282858" y="520628"/>
                </a:cubicBezTo>
                <a:cubicBezTo>
                  <a:pt x="280750" y="518590"/>
                  <a:pt x="280750" y="518590"/>
                  <a:pt x="277977" y="516577"/>
                </a:cubicBezTo>
                <a:cubicBezTo>
                  <a:pt x="273591" y="513232"/>
                  <a:pt x="269227" y="509874"/>
                  <a:pt x="264925" y="506443"/>
                </a:cubicBezTo>
                <a:cubicBezTo>
                  <a:pt x="253596" y="497433"/>
                  <a:pt x="242132" y="488987"/>
                  <a:pt x="229746" y="481170"/>
                </a:cubicBezTo>
                <a:cubicBezTo>
                  <a:pt x="226846" y="479266"/>
                  <a:pt x="223950" y="477358"/>
                  <a:pt x="221057" y="475445"/>
                </a:cubicBezTo>
                <a:cubicBezTo>
                  <a:pt x="218227" y="473594"/>
                  <a:pt x="215396" y="471744"/>
                  <a:pt x="212563" y="469896"/>
                </a:cubicBezTo>
                <a:cubicBezTo>
                  <a:pt x="211351" y="469102"/>
                  <a:pt x="210138" y="468309"/>
                  <a:pt x="208889" y="467491"/>
                </a:cubicBezTo>
                <a:cubicBezTo>
                  <a:pt x="202848" y="463599"/>
                  <a:pt x="196732" y="459888"/>
                  <a:pt x="190406" y="456382"/>
                </a:cubicBezTo>
                <a:cubicBezTo>
                  <a:pt x="189263" y="455748"/>
                  <a:pt x="188119" y="455114"/>
                  <a:pt x="186942" y="454460"/>
                </a:cubicBezTo>
                <a:cubicBezTo>
                  <a:pt x="184648" y="453196"/>
                  <a:pt x="182348" y="451941"/>
                  <a:pt x="180041" y="450696"/>
                </a:cubicBezTo>
                <a:cubicBezTo>
                  <a:pt x="177292" y="449185"/>
                  <a:pt x="174612" y="447571"/>
                  <a:pt x="171948" y="445940"/>
                </a:cubicBezTo>
                <a:cubicBezTo>
                  <a:pt x="171948" y="445009"/>
                  <a:pt x="171948" y="444079"/>
                  <a:pt x="171948" y="443121"/>
                </a:cubicBezTo>
                <a:cubicBezTo>
                  <a:pt x="170804" y="442985"/>
                  <a:pt x="169660" y="442848"/>
                  <a:pt x="168482" y="442708"/>
                </a:cubicBezTo>
                <a:cubicBezTo>
                  <a:pt x="163547" y="441576"/>
                  <a:pt x="161063" y="439897"/>
                  <a:pt x="157107" y="437044"/>
                </a:cubicBezTo>
                <a:cubicBezTo>
                  <a:pt x="149345" y="431895"/>
                  <a:pt x="141843" y="429626"/>
                  <a:pt x="132559" y="427510"/>
                </a:cubicBezTo>
                <a:cubicBezTo>
                  <a:pt x="128067" y="426168"/>
                  <a:pt x="126607" y="425060"/>
                  <a:pt x="123522" y="421983"/>
                </a:cubicBezTo>
                <a:cubicBezTo>
                  <a:pt x="118310" y="419033"/>
                  <a:pt x="114076" y="418794"/>
                  <a:pt x="107986" y="418730"/>
                </a:cubicBezTo>
                <a:cubicBezTo>
                  <a:pt x="106174" y="418694"/>
                  <a:pt x="104362" y="418659"/>
                  <a:pt x="102494" y="418622"/>
                </a:cubicBezTo>
                <a:cubicBezTo>
                  <a:pt x="98715" y="418573"/>
                  <a:pt x="94936" y="418529"/>
                  <a:pt x="91157" y="418490"/>
                </a:cubicBezTo>
                <a:cubicBezTo>
                  <a:pt x="78470" y="418231"/>
                  <a:pt x="65485" y="417940"/>
                  <a:pt x="55277" y="410445"/>
                </a:cubicBezTo>
                <a:cubicBezTo>
                  <a:pt x="54084" y="409137"/>
                  <a:pt x="52893" y="407829"/>
                  <a:pt x="51665" y="406481"/>
                </a:cubicBezTo>
                <a:cubicBezTo>
                  <a:pt x="49752" y="404480"/>
                  <a:pt x="47831" y="402483"/>
                  <a:pt x="45904" y="400492"/>
                </a:cubicBezTo>
                <a:cubicBezTo>
                  <a:pt x="44996" y="399526"/>
                  <a:pt x="44088" y="398559"/>
                  <a:pt x="43152" y="397564"/>
                </a:cubicBezTo>
                <a:cubicBezTo>
                  <a:pt x="40865" y="395062"/>
                  <a:pt x="40865" y="395062"/>
                  <a:pt x="37605" y="393798"/>
                </a:cubicBezTo>
                <a:lnTo>
                  <a:pt x="38995" y="368712"/>
                </a:lnTo>
                <a:lnTo>
                  <a:pt x="38666" y="369724"/>
                </a:lnTo>
                <a:cubicBezTo>
                  <a:pt x="37003" y="374506"/>
                  <a:pt x="36202" y="379113"/>
                  <a:pt x="35542" y="384081"/>
                </a:cubicBezTo>
                <a:cubicBezTo>
                  <a:pt x="30313" y="376119"/>
                  <a:pt x="31188" y="366593"/>
                  <a:pt x="33326" y="357791"/>
                </a:cubicBezTo>
                <a:cubicBezTo>
                  <a:pt x="37176" y="347767"/>
                  <a:pt x="44536" y="340769"/>
                  <a:pt x="52725" y="333349"/>
                </a:cubicBezTo>
                <a:lnTo>
                  <a:pt x="55222" y="334475"/>
                </a:lnTo>
                <a:lnTo>
                  <a:pt x="56222" y="333347"/>
                </a:lnTo>
                <a:lnTo>
                  <a:pt x="55871" y="333347"/>
                </a:lnTo>
                <a:lnTo>
                  <a:pt x="56346" y="333207"/>
                </a:lnTo>
                <a:lnTo>
                  <a:pt x="56351" y="333202"/>
                </a:lnTo>
                <a:lnTo>
                  <a:pt x="56365" y="333202"/>
                </a:lnTo>
                <a:lnTo>
                  <a:pt x="79571" y="326360"/>
                </a:lnTo>
                <a:cubicBezTo>
                  <a:pt x="87782" y="326037"/>
                  <a:pt x="96164" y="327572"/>
                  <a:pt x="104297" y="330529"/>
                </a:cubicBezTo>
                <a:lnTo>
                  <a:pt x="107170" y="334417"/>
                </a:lnTo>
                <a:lnTo>
                  <a:pt x="109366" y="336046"/>
                </a:lnTo>
                <a:lnTo>
                  <a:pt x="109463" y="336020"/>
                </a:lnTo>
                <a:lnTo>
                  <a:pt x="109463" y="336118"/>
                </a:lnTo>
                <a:lnTo>
                  <a:pt x="115226" y="340394"/>
                </a:lnTo>
                <a:lnTo>
                  <a:pt x="114010" y="340120"/>
                </a:lnTo>
                <a:lnTo>
                  <a:pt x="133285" y="357423"/>
                </a:lnTo>
                <a:cubicBezTo>
                  <a:pt x="142471" y="373187"/>
                  <a:pt x="155564" y="382744"/>
                  <a:pt x="173509" y="389571"/>
                </a:cubicBezTo>
                <a:cubicBezTo>
                  <a:pt x="176254" y="390785"/>
                  <a:pt x="178988" y="392017"/>
                  <a:pt x="181711" y="393270"/>
                </a:cubicBezTo>
                <a:cubicBezTo>
                  <a:pt x="182964" y="393833"/>
                  <a:pt x="184216" y="394396"/>
                  <a:pt x="185507" y="394976"/>
                </a:cubicBezTo>
                <a:cubicBezTo>
                  <a:pt x="187897" y="396058"/>
                  <a:pt x="190281" y="397151"/>
                  <a:pt x="192658" y="398257"/>
                </a:cubicBezTo>
                <a:cubicBezTo>
                  <a:pt x="193749" y="398762"/>
                  <a:pt x="194841" y="399267"/>
                  <a:pt x="195966" y="399788"/>
                </a:cubicBezTo>
                <a:cubicBezTo>
                  <a:pt x="196912" y="400231"/>
                  <a:pt x="197858" y="400674"/>
                  <a:pt x="198833" y="401131"/>
                </a:cubicBezTo>
                <a:cubicBezTo>
                  <a:pt x="201808" y="402326"/>
                  <a:pt x="204701" y="403032"/>
                  <a:pt x="207877" y="403663"/>
                </a:cubicBezTo>
                <a:cubicBezTo>
                  <a:pt x="207877" y="404593"/>
                  <a:pt x="207877" y="405523"/>
                  <a:pt x="207877" y="406481"/>
                </a:cubicBezTo>
                <a:cubicBezTo>
                  <a:pt x="221233" y="411377"/>
                  <a:pt x="234752" y="415503"/>
                  <a:pt x="248492" y="419428"/>
                </a:cubicBezTo>
                <a:cubicBezTo>
                  <a:pt x="250298" y="419947"/>
                  <a:pt x="252104" y="420466"/>
                  <a:pt x="253965" y="421000"/>
                </a:cubicBezTo>
                <a:cubicBezTo>
                  <a:pt x="258388" y="422270"/>
                  <a:pt x="262812" y="423537"/>
                  <a:pt x="267237" y="424801"/>
                </a:cubicBezTo>
                <a:lnTo>
                  <a:pt x="267237" y="426451"/>
                </a:lnTo>
                <a:lnTo>
                  <a:pt x="288701" y="429217"/>
                </a:lnTo>
                <a:cubicBezTo>
                  <a:pt x="288701" y="430147"/>
                  <a:pt x="288701" y="431078"/>
                  <a:pt x="288701" y="432036"/>
                </a:cubicBezTo>
                <a:cubicBezTo>
                  <a:pt x="301487" y="433472"/>
                  <a:pt x="314148" y="433662"/>
                  <a:pt x="327010" y="433628"/>
                </a:cubicBezTo>
                <a:cubicBezTo>
                  <a:pt x="330502" y="433621"/>
                  <a:pt x="333994" y="433628"/>
                  <a:pt x="337486" y="433637"/>
                </a:cubicBezTo>
                <a:cubicBezTo>
                  <a:pt x="339734" y="433637"/>
                  <a:pt x="341982" y="433635"/>
                  <a:pt x="344229" y="433632"/>
                </a:cubicBezTo>
                <a:cubicBezTo>
                  <a:pt x="347246" y="433630"/>
                  <a:pt x="347246" y="433630"/>
                  <a:pt x="350323" y="433627"/>
                </a:cubicBezTo>
                <a:cubicBezTo>
                  <a:pt x="355445" y="433459"/>
                  <a:pt x="360220" y="432915"/>
                  <a:pt x="365245" y="432036"/>
                </a:cubicBezTo>
                <a:lnTo>
                  <a:pt x="360797" y="433759"/>
                </a:lnTo>
                <a:lnTo>
                  <a:pt x="365650" y="433257"/>
                </a:lnTo>
                <a:cubicBezTo>
                  <a:pt x="366166" y="431861"/>
                  <a:pt x="366682" y="430466"/>
                  <a:pt x="367213" y="429029"/>
                </a:cubicBezTo>
                <a:cubicBezTo>
                  <a:pt x="369854" y="427628"/>
                  <a:pt x="372501" y="426234"/>
                  <a:pt x="375188" y="424906"/>
                </a:cubicBezTo>
                <a:cubicBezTo>
                  <a:pt x="390245" y="417204"/>
                  <a:pt x="397438" y="403183"/>
                  <a:pt x="404704" y="389571"/>
                </a:cubicBezTo>
                <a:cubicBezTo>
                  <a:pt x="405219" y="389105"/>
                  <a:pt x="405734" y="388641"/>
                  <a:pt x="406265" y="388161"/>
                </a:cubicBezTo>
                <a:cubicBezTo>
                  <a:pt x="406663" y="382152"/>
                  <a:pt x="406555" y="376125"/>
                  <a:pt x="406559" y="370106"/>
                </a:cubicBezTo>
                <a:cubicBezTo>
                  <a:pt x="406578" y="368412"/>
                  <a:pt x="406597" y="366718"/>
                  <a:pt x="406617" y="364973"/>
                </a:cubicBezTo>
                <a:cubicBezTo>
                  <a:pt x="406620" y="363344"/>
                  <a:pt x="406622" y="361715"/>
                  <a:pt x="406626" y="360038"/>
                </a:cubicBezTo>
                <a:cubicBezTo>
                  <a:pt x="406632" y="358541"/>
                  <a:pt x="406638" y="357045"/>
                  <a:pt x="406645" y="355503"/>
                </a:cubicBezTo>
                <a:cubicBezTo>
                  <a:pt x="406264" y="351503"/>
                  <a:pt x="405326" y="349318"/>
                  <a:pt x="403142" y="345885"/>
                </a:cubicBezTo>
                <a:cubicBezTo>
                  <a:pt x="402583" y="343484"/>
                  <a:pt x="402067" y="341075"/>
                  <a:pt x="401579" y="338663"/>
                </a:cubicBezTo>
                <a:cubicBezTo>
                  <a:pt x="399365" y="330323"/>
                  <a:pt x="395538" y="323370"/>
                  <a:pt x="390938" y="315939"/>
                </a:cubicBezTo>
                <a:cubicBezTo>
                  <a:pt x="390290" y="314890"/>
                  <a:pt x="389642" y="313842"/>
                  <a:pt x="388976" y="312762"/>
                </a:cubicBezTo>
                <a:cubicBezTo>
                  <a:pt x="385623" y="307500"/>
                  <a:pt x="382070" y="302607"/>
                  <a:pt x="377934" y="297817"/>
                </a:cubicBezTo>
                <a:cubicBezTo>
                  <a:pt x="373788" y="292978"/>
                  <a:pt x="371423" y="288111"/>
                  <a:pt x="368775" y="282470"/>
                </a:cubicBezTo>
                <a:cubicBezTo>
                  <a:pt x="366035" y="278585"/>
                  <a:pt x="362994" y="274937"/>
                  <a:pt x="359890" y="271284"/>
                </a:cubicBezTo>
                <a:cubicBezTo>
                  <a:pt x="359059" y="270296"/>
                  <a:pt x="358230" y="269307"/>
                  <a:pt x="357374" y="268288"/>
                </a:cubicBezTo>
                <a:cubicBezTo>
                  <a:pt x="351312" y="261177"/>
                  <a:pt x="344882" y="254704"/>
                  <a:pt x="337533" y="248649"/>
                </a:cubicBezTo>
                <a:cubicBezTo>
                  <a:pt x="336767" y="247896"/>
                  <a:pt x="336002" y="247144"/>
                  <a:pt x="335214" y="246369"/>
                </a:cubicBezTo>
                <a:cubicBezTo>
                  <a:pt x="332597" y="243963"/>
                  <a:pt x="332597" y="243963"/>
                  <a:pt x="327085" y="242571"/>
                </a:cubicBezTo>
                <a:cubicBezTo>
                  <a:pt x="309670" y="236923"/>
                  <a:pt x="296614" y="222751"/>
                  <a:pt x="288785" y="207968"/>
                </a:cubicBezTo>
                <a:cubicBezTo>
                  <a:pt x="286673" y="202851"/>
                  <a:pt x="286348" y="197968"/>
                  <a:pt x="286373" y="192544"/>
                </a:cubicBezTo>
                <a:cubicBezTo>
                  <a:pt x="286377" y="191437"/>
                  <a:pt x="286381" y="190330"/>
                  <a:pt x="286385" y="189190"/>
                </a:cubicBezTo>
                <a:cubicBezTo>
                  <a:pt x="286881" y="178340"/>
                  <a:pt x="291581" y="171728"/>
                  <a:pt x="300042" y="164095"/>
                </a:cubicBezTo>
                <a:cubicBezTo>
                  <a:pt x="301386" y="162752"/>
                  <a:pt x="301386" y="162752"/>
                  <a:pt x="302757" y="161381"/>
                </a:cubicBezTo>
                <a:cubicBezTo>
                  <a:pt x="312597" y="152504"/>
                  <a:pt x="325185" y="152675"/>
                  <a:pt x="338411" y="152293"/>
                </a:cubicBezTo>
                <a:cubicBezTo>
                  <a:pt x="350839" y="152463"/>
                  <a:pt x="359094" y="154554"/>
                  <a:pt x="368482" y="161893"/>
                </a:cubicBezTo>
                <a:cubicBezTo>
                  <a:pt x="369609" y="163085"/>
                  <a:pt x="370737" y="164277"/>
                  <a:pt x="371899" y="165505"/>
                </a:cubicBezTo>
                <a:cubicBezTo>
                  <a:pt x="372962" y="166522"/>
                  <a:pt x="374026" y="167539"/>
                  <a:pt x="375121" y="168587"/>
                </a:cubicBezTo>
                <a:cubicBezTo>
                  <a:pt x="381050" y="176351"/>
                  <a:pt x="384520" y="184328"/>
                  <a:pt x="384982" y="193777"/>
                </a:cubicBezTo>
                <a:cubicBezTo>
                  <a:pt x="385464" y="201192"/>
                  <a:pt x="387638" y="207607"/>
                  <a:pt x="390352" y="214563"/>
                </a:cubicBezTo>
                <a:cubicBezTo>
                  <a:pt x="390934" y="216079"/>
                  <a:pt x="390934" y="216079"/>
                  <a:pt x="391529" y="217626"/>
                </a:cubicBezTo>
                <a:cubicBezTo>
                  <a:pt x="394082" y="223926"/>
                  <a:pt x="397412" y="228969"/>
                  <a:pt x="401579" y="234556"/>
                </a:cubicBezTo>
                <a:cubicBezTo>
                  <a:pt x="401579" y="235952"/>
                  <a:pt x="401579" y="237347"/>
                  <a:pt x="401579" y="238784"/>
                </a:cubicBezTo>
                <a:cubicBezTo>
                  <a:pt x="402884" y="239263"/>
                  <a:pt x="402884" y="239263"/>
                  <a:pt x="404215" y="239753"/>
                </a:cubicBezTo>
                <a:cubicBezTo>
                  <a:pt x="410099" y="242765"/>
                  <a:pt x="414395" y="246733"/>
                  <a:pt x="417811" y="251996"/>
                </a:cubicBezTo>
                <a:cubicBezTo>
                  <a:pt x="420462" y="255897"/>
                  <a:pt x="423407" y="258959"/>
                  <a:pt x="426866" y="262300"/>
                </a:cubicBezTo>
                <a:cubicBezTo>
                  <a:pt x="435101" y="270407"/>
                  <a:pt x="442641" y="278936"/>
                  <a:pt x="450097" y="287628"/>
                </a:cubicBezTo>
                <a:cubicBezTo>
                  <a:pt x="453081" y="291117"/>
                  <a:pt x="453081" y="291117"/>
                  <a:pt x="457425" y="293920"/>
                </a:cubicBezTo>
                <a:cubicBezTo>
                  <a:pt x="458585" y="294792"/>
                  <a:pt x="459745" y="295664"/>
                  <a:pt x="460940" y="296562"/>
                </a:cubicBezTo>
                <a:cubicBezTo>
                  <a:pt x="460940" y="297957"/>
                  <a:pt x="460940" y="299352"/>
                  <a:pt x="460940" y="300790"/>
                </a:cubicBezTo>
                <a:cubicBezTo>
                  <a:pt x="465063" y="302782"/>
                  <a:pt x="468862" y="304133"/>
                  <a:pt x="473437" y="305018"/>
                </a:cubicBezTo>
                <a:cubicBezTo>
                  <a:pt x="473437" y="305947"/>
                  <a:pt x="473437" y="306877"/>
                  <a:pt x="473437" y="307836"/>
                </a:cubicBezTo>
                <a:cubicBezTo>
                  <a:pt x="475581" y="308519"/>
                  <a:pt x="477730" y="309193"/>
                  <a:pt x="479881" y="309862"/>
                </a:cubicBezTo>
                <a:cubicBezTo>
                  <a:pt x="481077" y="310237"/>
                  <a:pt x="482273" y="310614"/>
                  <a:pt x="483505" y="311001"/>
                </a:cubicBezTo>
                <a:cubicBezTo>
                  <a:pt x="505448" y="316843"/>
                  <a:pt x="527690" y="314359"/>
                  <a:pt x="548419" y="306427"/>
                </a:cubicBezTo>
                <a:cubicBezTo>
                  <a:pt x="549548" y="305998"/>
                  <a:pt x="550678" y="305569"/>
                  <a:pt x="551842" y="305127"/>
                </a:cubicBezTo>
                <a:cubicBezTo>
                  <a:pt x="555376" y="303227"/>
                  <a:pt x="557584" y="300980"/>
                  <a:pt x="560232" y="298148"/>
                </a:cubicBezTo>
                <a:cubicBezTo>
                  <a:pt x="561137" y="297192"/>
                  <a:pt x="562041" y="296236"/>
                  <a:pt x="562972" y="295252"/>
                </a:cubicBezTo>
                <a:cubicBezTo>
                  <a:pt x="564755" y="293274"/>
                  <a:pt x="566459" y="291237"/>
                  <a:pt x="568086" y="289152"/>
                </a:cubicBezTo>
                <a:cubicBezTo>
                  <a:pt x="568813" y="288342"/>
                  <a:pt x="569539" y="287532"/>
                  <a:pt x="570289" y="286697"/>
                </a:cubicBezTo>
                <a:cubicBezTo>
                  <a:pt x="571319" y="286697"/>
                  <a:pt x="572350" y="286697"/>
                  <a:pt x="573413" y="286697"/>
                </a:cubicBezTo>
                <a:cubicBezTo>
                  <a:pt x="577408" y="276984"/>
                  <a:pt x="577197" y="267284"/>
                  <a:pt x="577220" y="257016"/>
                </a:cubicBezTo>
                <a:cubicBezTo>
                  <a:pt x="577227" y="255625"/>
                  <a:pt x="577227" y="255625"/>
                  <a:pt x="577235" y="254206"/>
                </a:cubicBezTo>
                <a:cubicBezTo>
                  <a:pt x="577257" y="237553"/>
                  <a:pt x="574604" y="222055"/>
                  <a:pt x="569443" y="206049"/>
                </a:cubicBezTo>
                <a:cubicBezTo>
                  <a:pt x="568726" y="203553"/>
                  <a:pt x="568726" y="203553"/>
                  <a:pt x="568726" y="200735"/>
                </a:cubicBezTo>
                <a:cubicBezTo>
                  <a:pt x="567695" y="200735"/>
                  <a:pt x="566664" y="200735"/>
                  <a:pt x="565602" y="200735"/>
                </a:cubicBezTo>
                <a:cubicBezTo>
                  <a:pt x="563274" y="195295"/>
                  <a:pt x="561092" y="190108"/>
                  <a:pt x="559549" y="184441"/>
                </a:cubicBezTo>
                <a:cubicBezTo>
                  <a:pt x="555572" y="173477"/>
                  <a:pt x="547043" y="167105"/>
                  <a:pt x="537484" y="159867"/>
                </a:cubicBezTo>
                <a:cubicBezTo>
                  <a:pt x="533579" y="156609"/>
                  <a:pt x="533579" y="156609"/>
                  <a:pt x="531235" y="154230"/>
                </a:cubicBezTo>
                <a:cubicBezTo>
                  <a:pt x="531235" y="153301"/>
                  <a:pt x="531235" y="152371"/>
                  <a:pt x="531235" y="151412"/>
                </a:cubicBezTo>
                <a:cubicBezTo>
                  <a:pt x="529689" y="150947"/>
                  <a:pt x="528143" y="150482"/>
                  <a:pt x="526549" y="150003"/>
                </a:cubicBezTo>
                <a:cubicBezTo>
                  <a:pt x="519904" y="137298"/>
                  <a:pt x="519105" y="120357"/>
                  <a:pt x="524304" y="107198"/>
                </a:cubicBezTo>
                <a:cubicBezTo>
                  <a:pt x="529443" y="97376"/>
                  <a:pt x="535781" y="90193"/>
                  <a:pt x="547052" y="85972"/>
                </a:cubicBezTo>
                <a:cubicBezTo>
                  <a:pt x="559924" y="81835"/>
                  <a:pt x="575221" y="79746"/>
                  <a:pt x="588460" y="83538"/>
                </a:cubicBezTo>
                <a:cubicBezTo>
                  <a:pt x="601643" y="89713"/>
                  <a:pt x="611835" y="99450"/>
                  <a:pt x="617152" y="111954"/>
                </a:cubicBezTo>
                <a:cubicBezTo>
                  <a:pt x="617935" y="116052"/>
                  <a:pt x="617954" y="120024"/>
                  <a:pt x="617884" y="124175"/>
                </a:cubicBezTo>
                <a:cubicBezTo>
                  <a:pt x="617896" y="125307"/>
                  <a:pt x="617906" y="126440"/>
                  <a:pt x="617917" y="127607"/>
                </a:cubicBezTo>
                <a:cubicBezTo>
                  <a:pt x="617963" y="132394"/>
                  <a:pt x="617938" y="137181"/>
                  <a:pt x="617919" y="141969"/>
                </a:cubicBezTo>
                <a:cubicBezTo>
                  <a:pt x="617899" y="160184"/>
                  <a:pt x="619422" y="175572"/>
                  <a:pt x="630625" y="191311"/>
                </a:cubicBezTo>
                <a:cubicBezTo>
                  <a:pt x="633753" y="195891"/>
                  <a:pt x="636431" y="199900"/>
                  <a:pt x="637850" y="205139"/>
                </a:cubicBezTo>
                <a:cubicBezTo>
                  <a:pt x="638615" y="209623"/>
                  <a:pt x="638615" y="209623"/>
                  <a:pt x="643708" y="212009"/>
                </a:cubicBezTo>
                <a:cubicBezTo>
                  <a:pt x="645380" y="214563"/>
                  <a:pt x="645380" y="214563"/>
                  <a:pt x="647027" y="217645"/>
                </a:cubicBezTo>
                <a:cubicBezTo>
                  <a:pt x="652549" y="227016"/>
                  <a:pt x="660443" y="235696"/>
                  <a:pt x="670264" y="241603"/>
                </a:cubicBezTo>
                <a:cubicBezTo>
                  <a:pt x="670264" y="242532"/>
                  <a:pt x="670264" y="243462"/>
                  <a:pt x="670264" y="244421"/>
                </a:cubicBezTo>
                <a:cubicBezTo>
                  <a:pt x="672036" y="244857"/>
                  <a:pt x="673808" y="245293"/>
                  <a:pt x="675634" y="245742"/>
                </a:cubicBezTo>
                <a:cubicBezTo>
                  <a:pt x="681199" y="247239"/>
                  <a:pt x="681199" y="247239"/>
                  <a:pt x="682761" y="248649"/>
                </a:cubicBezTo>
                <a:cubicBezTo>
                  <a:pt x="704487" y="252065"/>
                  <a:pt x="732606" y="256402"/>
                  <a:pt x="752092" y="245076"/>
                </a:cubicBezTo>
                <a:cubicBezTo>
                  <a:pt x="754252" y="243599"/>
                  <a:pt x="756372" y="242073"/>
                  <a:pt x="758433" y="240485"/>
                </a:cubicBezTo>
                <a:cubicBezTo>
                  <a:pt x="760867" y="238784"/>
                  <a:pt x="760867" y="238784"/>
                  <a:pt x="763991" y="238784"/>
                </a:cubicBezTo>
                <a:cubicBezTo>
                  <a:pt x="764647" y="237296"/>
                  <a:pt x="764647" y="237296"/>
                  <a:pt x="765315" y="235778"/>
                </a:cubicBezTo>
                <a:cubicBezTo>
                  <a:pt x="767151" y="231659"/>
                  <a:pt x="769030" y="227557"/>
                  <a:pt x="770923" y="223459"/>
                </a:cubicBezTo>
                <a:cubicBezTo>
                  <a:pt x="771608" y="221966"/>
                  <a:pt x="772292" y="220472"/>
                  <a:pt x="772998" y="218934"/>
                </a:cubicBezTo>
                <a:cubicBezTo>
                  <a:pt x="774429" y="215885"/>
                  <a:pt x="775968" y="212878"/>
                  <a:pt x="777562" y="209895"/>
                </a:cubicBezTo>
                <a:cubicBezTo>
                  <a:pt x="787607" y="185732"/>
                  <a:pt x="788559" y="149501"/>
                  <a:pt x="781175" y="124637"/>
                </a:cubicBezTo>
                <a:cubicBezTo>
                  <a:pt x="780144" y="124637"/>
                  <a:pt x="779113" y="124637"/>
                  <a:pt x="778051" y="124637"/>
                </a:cubicBezTo>
                <a:cubicBezTo>
                  <a:pt x="768501" y="110080"/>
                  <a:pt x="762898" y="96653"/>
                  <a:pt x="767116" y="79542"/>
                </a:cubicBezTo>
                <a:cubicBezTo>
                  <a:pt x="772286" y="69057"/>
                  <a:pt x="781456" y="58252"/>
                  <a:pt x="793379" y="54000"/>
                </a:cubicBezTo>
                <a:cubicBezTo>
                  <a:pt x="808369" y="49250"/>
                  <a:pt x="826058" y="49579"/>
                  <a:pt x="840688" y="55503"/>
                </a:cubicBezTo>
                <a:cubicBezTo>
                  <a:pt x="845183" y="57759"/>
                  <a:pt x="848037" y="60575"/>
                  <a:pt x="851470" y="64040"/>
                </a:cubicBezTo>
                <a:cubicBezTo>
                  <a:pt x="852721" y="65272"/>
                  <a:pt x="852721" y="65272"/>
                  <a:pt x="853997" y="66529"/>
                </a:cubicBezTo>
                <a:cubicBezTo>
                  <a:pt x="858396" y="71505"/>
                  <a:pt x="860490" y="76640"/>
                  <a:pt x="861488" y="82057"/>
                </a:cubicBezTo>
                <a:lnTo>
                  <a:pt x="861937" y="90492"/>
                </a:lnTo>
                <a:lnTo>
                  <a:pt x="863826" y="100715"/>
                </a:lnTo>
                <a:cubicBezTo>
                  <a:pt x="862141" y="107853"/>
                  <a:pt x="859866" y="114857"/>
                  <a:pt x="857577" y="121853"/>
                </a:cubicBezTo>
                <a:cubicBezTo>
                  <a:pt x="857062" y="121853"/>
                  <a:pt x="856547" y="121853"/>
                  <a:pt x="856015" y="121853"/>
                </a:cubicBezTo>
                <a:cubicBezTo>
                  <a:pt x="855731" y="120401"/>
                  <a:pt x="855731" y="120401"/>
                  <a:pt x="855442" y="118919"/>
                </a:cubicBezTo>
                <a:lnTo>
                  <a:pt x="855417" y="118798"/>
                </a:lnTo>
                <a:lnTo>
                  <a:pt x="856157" y="124637"/>
                </a:lnTo>
                <a:lnTo>
                  <a:pt x="850623" y="134701"/>
                </a:lnTo>
                <a:lnTo>
                  <a:pt x="851325" y="135968"/>
                </a:lnTo>
                <a:cubicBezTo>
                  <a:pt x="850851" y="137246"/>
                  <a:pt x="850376" y="138525"/>
                  <a:pt x="849886" y="139843"/>
                </a:cubicBezTo>
                <a:cubicBezTo>
                  <a:pt x="848171" y="144505"/>
                  <a:pt x="847798" y="148002"/>
                  <a:pt x="847786" y="152889"/>
                </a:cubicBezTo>
                <a:cubicBezTo>
                  <a:pt x="847779" y="154500"/>
                  <a:pt x="847773" y="156109"/>
                  <a:pt x="847767" y="157768"/>
                </a:cubicBezTo>
                <a:cubicBezTo>
                  <a:pt x="847782" y="159468"/>
                  <a:pt x="847796" y="161167"/>
                  <a:pt x="847810" y="162919"/>
                </a:cubicBezTo>
                <a:cubicBezTo>
                  <a:pt x="847821" y="165546"/>
                  <a:pt x="847821" y="165546"/>
                  <a:pt x="847832" y="168227"/>
                </a:cubicBezTo>
                <a:cubicBezTo>
                  <a:pt x="847980" y="181934"/>
                  <a:pt x="849003" y="195419"/>
                  <a:pt x="850903" y="209013"/>
                </a:cubicBezTo>
                <a:lnTo>
                  <a:pt x="852880" y="224692"/>
                </a:lnTo>
                <a:lnTo>
                  <a:pt x="854595" y="224692"/>
                </a:lnTo>
                <a:cubicBezTo>
                  <a:pt x="855086" y="225542"/>
                  <a:pt x="855577" y="226392"/>
                  <a:pt x="856083" y="227268"/>
                </a:cubicBezTo>
                <a:cubicBezTo>
                  <a:pt x="862358" y="237839"/>
                  <a:pt x="866924" y="242785"/>
                  <a:pt x="879588" y="247239"/>
                </a:cubicBezTo>
                <a:cubicBezTo>
                  <a:pt x="881642" y="248025"/>
                  <a:pt x="883692" y="248817"/>
                  <a:pt x="885739" y="249618"/>
                </a:cubicBezTo>
                <a:cubicBezTo>
                  <a:pt x="887318" y="250227"/>
                  <a:pt x="888897" y="250838"/>
                  <a:pt x="890523" y="251467"/>
                </a:cubicBezTo>
                <a:cubicBezTo>
                  <a:pt x="890523" y="252397"/>
                  <a:pt x="890523" y="253327"/>
                  <a:pt x="890523" y="254285"/>
                </a:cubicBezTo>
                <a:cubicBezTo>
                  <a:pt x="900347" y="257061"/>
                  <a:pt x="910127" y="259425"/>
                  <a:pt x="920203" y="261332"/>
                </a:cubicBezTo>
                <a:cubicBezTo>
                  <a:pt x="920203" y="261796"/>
                  <a:pt x="920203" y="262262"/>
                  <a:pt x="920203" y="262741"/>
                </a:cubicBezTo>
                <a:cubicBezTo>
                  <a:pt x="917111" y="262741"/>
                  <a:pt x="914018" y="262741"/>
                  <a:pt x="910831" y="262741"/>
                </a:cubicBezTo>
                <a:lnTo>
                  <a:pt x="910831" y="262864"/>
                </a:lnTo>
                <a:lnTo>
                  <a:pt x="927993" y="264177"/>
                </a:lnTo>
                <a:lnTo>
                  <a:pt x="939273" y="265285"/>
                </a:lnTo>
                <a:lnTo>
                  <a:pt x="940456" y="265191"/>
                </a:lnTo>
                <a:cubicBezTo>
                  <a:pt x="962552" y="263054"/>
                  <a:pt x="974979" y="255295"/>
                  <a:pt x="991622" y="242329"/>
                </a:cubicBezTo>
                <a:lnTo>
                  <a:pt x="1000803" y="236505"/>
                </a:lnTo>
                <a:lnTo>
                  <a:pt x="999806" y="236055"/>
                </a:lnTo>
                <a:cubicBezTo>
                  <a:pt x="1000902" y="234997"/>
                  <a:pt x="1001997" y="233941"/>
                  <a:pt x="1003126" y="232851"/>
                </a:cubicBezTo>
                <a:cubicBezTo>
                  <a:pt x="1012364" y="223880"/>
                  <a:pt x="1021184" y="214752"/>
                  <a:pt x="1029487" y="205052"/>
                </a:cubicBezTo>
                <a:lnTo>
                  <a:pt x="1029872" y="206442"/>
                </a:lnTo>
                <a:lnTo>
                  <a:pt x="1031614" y="203719"/>
                </a:lnTo>
                <a:cubicBezTo>
                  <a:pt x="1033221" y="199204"/>
                  <a:pt x="1035713" y="196017"/>
                  <a:pt x="1038924" y="192280"/>
                </a:cubicBezTo>
                <a:cubicBezTo>
                  <a:pt x="1039956" y="191815"/>
                  <a:pt x="1040987" y="191349"/>
                  <a:pt x="1042049" y="190870"/>
                </a:cubicBezTo>
                <a:cubicBezTo>
                  <a:pt x="1043161" y="188473"/>
                  <a:pt x="1043161" y="188473"/>
                  <a:pt x="1044294" y="186026"/>
                </a:cubicBezTo>
                <a:cubicBezTo>
                  <a:pt x="1046735" y="181006"/>
                  <a:pt x="1046735" y="181006"/>
                  <a:pt x="1051422" y="178188"/>
                </a:cubicBezTo>
                <a:cubicBezTo>
                  <a:pt x="1052553" y="175286"/>
                  <a:pt x="1052553" y="175286"/>
                  <a:pt x="1052984" y="172551"/>
                </a:cubicBezTo>
                <a:cubicBezTo>
                  <a:pt x="1054014" y="172551"/>
                  <a:pt x="1055046" y="172551"/>
                  <a:pt x="1056108" y="172551"/>
                </a:cubicBezTo>
                <a:cubicBezTo>
                  <a:pt x="1057139" y="169295"/>
                  <a:pt x="1058170" y="166040"/>
                  <a:pt x="1059232" y="162686"/>
                </a:cubicBezTo>
                <a:cubicBezTo>
                  <a:pt x="1060263" y="162686"/>
                  <a:pt x="1061295" y="162686"/>
                  <a:pt x="1062357" y="162686"/>
                </a:cubicBezTo>
                <a:cubicBezTo>
                  <a:pt x="1062755" y="161484"/>
                  <a:pt x="1062755" y="161484"/>
                  <a:pt x="1063162" y="160258"/>
                </a:cubicBezTo>
                <a:cubicBezTo>
                  <a:pt x="1065716" y="152917"/>
                  <a:pt x="1068813" y="146686"/>
                  <a:pt x="1073292" y="140138"/>
                </a:cubicBezTo>
                <a:cubicBezTo>
                  <a:pt x="1074322" y="140138"/>
                  <a:pt x="1075353" y="140138"/>
                  <a:pt x="1076415" y="140138"/>
                </a:cubicBezTo>
                <a:cubicBezTo>
                  <a:pt x="1079808" y="132748"/>
                  <a:pt x="1082509" y="125160"/>
                  <a:pt x="1085294" y="117569"/>
                </a:cubicBezTo>
                <a:cubicBezTo>
                  <a:pt x="1085972" y="116181"/>
                  <a:pt x="1086651" y="114793"/>
                  <a:pt x="1087350" y="113363"/>
                </a:cubicBezTo>
                <a:cubicBezTo>
                  <a:pt x="1089671" y="112666"/>
                  <a:pt x="1089671" y="112666"/>
                  <a:pt x="1092037" y="111954"/>
                </a:cubicBezTo>
                <a:cubicBezTo>
                  <a:pt x="1092230" y="110879"/>
                  <a:pt x="1092423" y="109803"/>
                  <a:pt x="1092623" y="108695"/>
                </a:cubicBezTo>
                <a:cubicBezTo>
                  <a:pt x="1093599" y="104908"/>
                  <a:pt x="1093599" y="104908"/>
                  <a:pt x="1096723" y="100680"/>
                </a:cubicBezTo>
                <a:cubicBezTo>
                  <a:pt x="1097207" y="99140"/>
                  <a:pt x="1097689" y="97599"/>
                  <a:pt x="1098188" y="96013"/>
                </a:cubicBezTo>
                <a:cubicBezTo>
                  <a:pt x="1099847" y="90815"/>
                  <a:pt x="1099847" y="90815"/>
                  <a:pt x="1102288" y="87029"/>
                </a:cubicBezTo>
                <a:cubicBezTo>
                  <a:pt x="1106061" y="79186"/>
                  <a:pt x="1107564" y="69424"/>
                  <a:pt x="1104534" y="61222"/>
                </a:cubicBezTo>
                <a:cubicBezTo>
                  <a:pt x="1104409" y="59341"/>
                  <a:pt x="1104366" y="57454"/>
                  <a:pt x="1104381" y="55569"/>
                </a:cubicBezTo>
                <a:cubicBezTo>
                  <a:pt x="1104386" y="54501"/>
                  <a:pt x="1104391" y="53434"/>
                  <a:pt x="1104397" y="52335"/>
                </a:cubicBezTo>
                <a:cubicBezTo>
                  <a:pt x="1104410" y="51228"/>
                  <a:pt x="1104423" y="50120"/>
                  <a:pt x="1104436" y="48979"/>
                </a:cubicBezTo>
                <a:cubicBezTo>
                  <a:pt x="1104443" y="47856"/>
                  <a:pt x="1104451" y="46733"/>
                  <a:pt x="1104457" y="45575"/>
                </a:cubicBezTo>
                <a:cubicBezTo>
                  <a:pt x="1104476" y="42805"/>
                  <a:pt x="1104504" y="40035"/>
                  <a:pt x="1104534" y="37265"/>
                </a:cubicBezTo>
                <a:cubicBezTo>
                  <a:pt x="1105565" y="37265"/>
                  <a:pt x="1106596" y="37265"/>
                  <a:pt x="1107658" y="37265"/>
                </a:cubicBezTo>
                <a:cubicBezTo>
                  <a:pt x="1107561" y="34562"/>
                  <a:pt x="1107561" y="34562"/>
                  <a:pt x="1107463" y="31805"/>
                </a:cubicBezTo>
                <a:cubicBezTo>
                  <a:pt x="1107353" y="28733"/>
                  <a:pt x="1107353" y="28733"/>
                  <a:pt x="1107658" y="25991"/>
                </a:cubicBezTo>
                <a:cubicBezTo>
                  <a:pt x="1108689" y="25062"/>
                  <a:pt x="1109720" y="24131"/>
                  <a:pt x="1110782" y="23173"/>
                </a:cubicBezTo>
                <a:cubicBezTo>
                  <a:pt x="1111104" y="22156"/>
                  <a:pt x="1111427" y="21138"/>
                  <a:pt x="1111759" y="20091"/>
                </a:cubicBezTo>
                <a:cubicBezTo>
                  <a:pt x="1116393" y="11539"/>
                  <a:pt x="1124927" y="6390"/>
                  <a:pt x="1134507" y="2828"/>
                </a:cubicBezTo>
                <a:cubicBezTo>
                  <a:pt x="1141389" y="825"/>
                  <a:pt x="1148262" y="-204"/>
                  <a:pt x="1155019" y="35"/>
                </a:cubicBezTo>
                <a:close/>
              </a:path>
            </a:pathLst>
          </a:custGeom>
          <a:solidFill>
            <a:schemeClr val="accent3"/>
          </a:solidFill>
          <a:ln w="2232" cap="flat">
            <a:noFill/>
            <a:prstDash val="solid"/>
            <a:miter/>
          </a:ln>
          <a:effectLst>
            <a:innerShdw blurRad="63500" dist="190500" dir="8100000">
              <a:schemeClr val="accent3">
                <a:lumMod val="75000"/>
                <a:alpha val="50000"/>
              </a:schemeClr>
            </a:innerShdw>
          </a:effectLst>
        </p:spPr>
        <p:txBody>
          <a:bodyPr wrap="squar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grpSp>
        <p:nvGrpSpPr>
          <p:cNvPr id="607" name="Group 606">
            <a:extLst>
              <a:ext uri="{FF2B5EF4-FFF2-40B4-BE49-F238E27FC236}">
                <a16:creationId xmlns:a16="http://schemas.microsoft.com/office/drawing/2014/main" id="{5CB93612-3B38-567B-7AF9-2BCBA889EC5C}"/>
              </a:ext>
            </a:extLst>
          </p:cNvPr>
          <p:cNvGrpSpPr/>
          <p:nvPr/>
        </p:nvGrpSpPr>
        <p:grpSpPr>
          <a:xfrm>
            <a:off x="8872706" y="2564738"/>
            <a:ext cx="968436" cy="984390"/>
            <a:chOff x="8243626" y="2436763"/>
            <a:chExt cx="880396" cy="894900"/>
          </a:xfrm>
        </p:grpSpPr>
        <p:sp>
          <p:nvSpPr>
            <p:cNvPr id="528" name="Oval 527">
              <a:extLst>
                <a:ext uri="{FF2B5EF4-FFF2-40B4-BE49-F238E27FC236}">
                  <a16:creationId xmlns:a16="http://schemas.microsoft.com/office/drawing/2014/main" id="{1C92B42B-EDD5-C209-60F3-1A82887C32C9}"/>
                </a:ext>
              </a:extLst>
            </p:cNvPr>
            <p:cNvSpPr/>
            <p:nvPr/>
          </p:nvSpPr>
          <p:spPr>
            <a:xfrm>
              <a:off x="8329605" y="3184043"/>
              <a:ext cx="656485" cy="147620"/>
            </a:xfrm>
            <a:prstGeom prst="ellipse">
              <a:avLst/>
            </a:prstGeom>
            <a:solidFill>
              <a:schemeClr val="tx1">
                <a:alpha val="5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529" name="Free-form: Shape 528">
              <a:extLst>
                <a:ext uri="{FF2B5EF4-FFF2-40B4-BE49-F238E27FC236}">
                  <a16:creationId xmlns:a16="http://schemas.microsoft.com/office/drawing/2014/main" id="{4D172416-7E82-528A-5315-396AC001B1BB}"/>
                </a:ext>
              </a:extLst>
            </p:cNvPr>
            <p:cNvSpPr/>
            <p:nvPr/>
          </p:nvSpPr>
          <p:spPr>
            <a:xfrm>
              <a:off x="8243626" y="2436763"/>
              <a:ext cx="880396" cy="841622"/>
            </a:xfrm>
            <a:custGeom>
              <a:avLst/>
              <a:gdLst>
                <a:gd name="csX0" fmla="*/ 401579 w 1609516"/>
                <a:gd name="csY0" fmla="*/ 1495809 h 1538630"/>
                <a:gd name="csX1" fmla="*/ 400190 w 1609516"/>
                <a:gd name="csY1" fmla="*/ 1496004 h 1538630"/>
                <a:gd name="csX2" fmla="*/ 401224 w 1609516"/>
                <a:gd name="csY2" fmla="*/ 1496470 h 1538630"/>
                <a:gd name="csX3" fmla="*/ 401224 w 1609516"/>
                <a:gd name="csY3" fmla="*/ 1498590 h 1538630"/>
                <a:gd name="csX4" fmla="*/ 401579 w 1609516"/>
                <a:gd name="csY4" fmla="*/ 1498628 h 1538630"/>
                <a:gd name="csX5" fmla="*/ 401579 w 1609516"/>
                <a:gd name="csY5" fmla="*/ 1495809 h 1538630"/>
                <a:gd name="csX6" fmla="*/ 368755 w 1609516"/>
                <a:gd name="csY6" fmla="*/ 1486512 h 1538630"/>
                <a:gd name="csX7" fmla="*/ 364089 w 1609516"/>
                <a:gd name="csY7" fmla="*/ 1487354 h 1538630"/>
                <a:gd name="csX8" fmla="*/ 364089 w 1609516"/>
                <a:gd name="csY8" fmla="*/ 1487908 h 1538630"/>
                <a:gd name="csX9" fmla="*/ 1049801 w 1609516"/>
                <a:gd name="csY9" fmla="*/ 1484562 h 1538630"/>
                <a:gd name="csX10" fmla="*/ 1046735 w 1609516"/>
                <a:gd name="csY10" fmla="*/ 1485945 h 1538630"/>
                <a:gd name="csX11" fmla="*/ 1046955 w 1609516"/>
                <a:gd name="csY11" fmla="*/ 1486045 h 1538630"/>
                <a:gd name="csX12" fmla="*/ 1049801 w 1609516"/>
                <a:gd name="csY12" fmla="*/ 1485188 h 1538630"/>
                <a:gd name="csX13" fmla="*/ 351234 w 1609516"/>
                <a:gd name="csY13" fmla="*/ 1444508 h 1538630"/>
                <a:gd name="csX14" fmla="*/ 351234 w 1609516"/>
                <a:gd name="csY14" fmla="*/ 1444997 h 1538630"/>
                <a:gd name="csX15" fmla="*/ 351592 w 1609516"/>
                <a:gd name="csY15" fmla="*/ 1445078 h 1538630"/>
                <a:gd name="csX16" fmla="*/ 351908 w 1609516"/>
                <a:gd name="csY16" fmla="*/ 1431206 h 1538630"/>
                <a:gd name="csX17" fmla="*/ 351234 w 1609516"/>
                <a:gd name="csY17" fmla="*/ 1431611 h 1538630"/>
                <a:gd name="csX18" fmla="*/ 351234 w 1609516"/>
                <a:gd name="csY18" fmla="*/ 1432274 h 1538630"/>
                <a:gd name="csX19" fmla="*/ 358162 w 1609516"/>
                <a:gd name="csY19" fmla="*/ 1421494 h 1538630"/>
                <a:gd name="csX20" fmla="*/ 355921 w 1609516"/>
                <a:gd name="csY20" fmla="*/ 1423156 h 1538630"/>
                <a:gd name="csX21" fmla="*/ 355921 w 1609516"/>
                <a:gd name="csY21" fmla="*/ 1423548 h 1538630"/>
                <a:gd name="csX22" fmla="*/ 376098 w 1609516"/>
                <a:gd name="csY22" fmla="*/ 1408347 h 1538630"/>
                <a:gd name="csX23" fmla="*/ 370750 w 1609516"/>
                <a:gd name="csY23" fmla="*/ 1412245 h 1538630"/>
                <a:gd name="csX24" fmla="*/ 375023 w 1609516"/>
                <a:gd name="csY24" fmla="*/ 1411256 h 1538630"/>
                <a:gd name="csX25" fmla="*/ 421956 w 1609516"/>
                <a:gd name="csY25" fmla="*/ 1365623 h 1538630"/>
                <a:gd name="csX26" fmla="*/ 421765 w 1609516"/>
                <a:gd name="csY26" fmla="*/ 1366161 h 1538630"/>
                <a:gd name="csX27" fmla="*/ 421887 w 1609516"/>
                <a:gd name="csY27" fmla="*/ 1366161 h 1538630"/>
                <a:gd name="csX28" fmla="*/ 754553 w 1609516"/>
                <a:gd name="csY28" fmla="*/ 1360575 h 1538630"/>
                <a:gd name="csX29" fmla="*/ 754089 w 1609516"/>
                <a:gd name="csY29" fmla="*/ 1361433 h 1538630"/>
                <a:gd name="csX30" fmla="*/ 754431 w 1609516"/>
                <a:gd name="csY30" fmla="*/ 1361125 h 1538630"/>
                <a:gd name="csX31" fmla="*/ 1277973 w 1609516"/>
                <a:gd name="csY31" fmla="*/ 1332923 h 1538630"/>
                <a:gd name="csX32" fmla="*/ 1277944 w 1609516"/>
                <a:gd name="csY32" fmla="*/ 1332936 h 1538630"/>
                <a:gd name="csX33" fmla="*/ 1277949 w 1609516"/>
                <a:gd name="csY33" fmla="*/ 1333139 h 1538630"/>
                <a:gd name="csX34" fmla="*/ 1268556 w 1609516"/>
                <a:gd name="csY34" fmla="*/ 1321066 h 1538630"/>
                <a:gd name="csX35" fmla="*/ 1268556 w 1609516"/>
                <a:gd name="csY35" fmla="*/ 1325294 h 1538630"/>
                <a:gd name="csX36" fmla="*/ 1265432 w 1609516"/>
                <a:gd name="csY36" fmla="*/ 1325294 h 1538630"/>
                <a:gd name="csX37" fmla="*/ 1265432 w 1609516"/>
                <a:gd name="csY37" fmla="*/ 1340795 h 1538630"/>
                <a:gd name="csX38" fmla="*/ 1265476 w 1609516"/>
                <a:gd name="csY38" fmla="*/ 1340714 h 1538630"/>
                <a:gd name="csX39" fmla="*/ 1265476 w 1609516"/>
                <a:gd name="csY39" fmla="*/ 1325877 h 1538630"/>
                <a:gd name="csX40" fmla="*/ 1268600 w 1609516"/>
                <a:gd name="csY40" fmla="*/ 1325877 h 1538630"/>
                <a:gd name="csX41" fmla="*/ 1268600 w 1609516"/>
                <a:gd name="csY41" fmla="*/ 1321649 h 1538630"/>
                <a:gd name="csX42" fmla="*/ 1273286 w 1609516"/>
                <a:gd name="csY42" fmla="*/ 1321649 h 1538630"/>
                <a:gd name="csX43" fmla="*/ 1273227 w 1609516"/>
                <a:gd name="csY43" fmla="*/ 1321066 h 1538630"/>
                <a:gd name="csX44" fmla="*/ 827891 w 1609516"/>
                <a:gd name="csY44" fmla="*/ 1291474 h 1538630"/>
                <a:gd name="csX45" fmla="*/ 822601 w 1609516"/>
                <a:gd name="csY45" fmla="*/ 1291544 h 1538630"/>
                <a:gd name="csX46" fmla="*/ 818272 w 1609516"/>
                <a:gd name="csY46" fmla="*/ 1292220 h 1538630"/>
                <a:gd name="csX47" fmla="*/ 827891 w 1609516"/>
                <a:gd name="csY47" fmla="*/ 1292047 h 1538630"/>
                <a:gd name="csX48" fmla="*/ 856397 w 1609516"/>
                <a:gd name="csY48" fmla="*/ 1288691 h 1538630"/>
                <a:gd name="csX49" fmla="*/ 865903 w 1609516"/>
                <a:gd name="csY49" fmla="*/ 1290590 h 1538630"/>
                <a:gd name="csX50" fmla="*/ 859999 w 1609516"/>
                <a:gd name="csY50" fmla="*/ 1288752 h 1538630"/>
                <a:gd name="csX51" fmla="*/ 834694 w 1609516"/>
                <a:gd name="csY51" fmla="*/ 1288572 h 1538630"/>
                <a:gd name="csX52" fmla="*/ 828038 w 1609516"/>
                <a:gd name="csY52" fmla="*/ 1288654 h 1538630"/>
                <a:gd name="csX53" fmla="*/ 828038 w 1609516"/>
                <a:gd name="csY53" fmla="*/ 1289214 h 1538630"/>
                <a:gd name="csX54" fmla="*/ 229746 w 1609516"/>
                <a:gd name="csY54" fmla="*/ 1191418 h 1538630"/>
                <a:gd name="csX55" fmla="*/ 227402 w 1609516"/>
                <a:gd name="csY55" fmla="*/ 1191947 h 1538630"/>
                <a:gd name="csX56" fmla="*/ 229315 w 1609516"/>
                <a:gd name="csY56" fmla="*/ 1191947 h 1538630"/>
                <a:gd name="csX57" fmla="*/ 229315 w 1609516"/>
                <a:gd name="csY57" fmla="*/ 1194765 h 1538630"/>
                <a:gd name="csX58" fmla="*/ 231321 w 1609516"/>
                <a:gd name="csY58" fmla="*/ 1194765 h 1538630"/>
                <a:gd name="csX59" fmla="*/ 229746 w 1609516"/>
                <a:gd name="csY59" fmla="*/ 1194236 h 1538630"/>
                <a:gd name="csX60" fmla="*/ 229746 w 1609516"/>
                <a:gd name="csY60" fmla="*/ 1191418 h 1538630"/>
                <a:gd name="csX61" fmla="*/ 215687 w 1609516"/>
                <a:gd name="csY61" fmla="*/ 1187190 h 1538630"/>
                <a:gd name="csX62" fmla="*/ 215198 w 1609516"/>
                <a:gd name="csY62" fmla="*/ 1187720 h 1538630"/>
                <a:gd name="csX63" fmla="*/ 215256 w 1609516"/>
                <a:gd name="csY63" fmla="*/ 1187720 h 1538630"/>
                <a:gd name="csX64" fmla="*/ 215256 w 1609516"/>
                <a:gd name="csY64" fmla="*/ 1191947 h 1538630"/>
                <a:gd name="csX65" fmla="*/ 222721 w 1609516"/>
                <a:gd name="csY65" fmla="*/ 1191947 h 1538630"/>
                <a:gd name="csX66" fmla="*/ 215687 w 1609516"/>
                <a:gd name="csY66" fmla="*/ 1191418 h 1538630"/>
                <a:gd name="csX67" fmla="*/ 215687 w 1609516"/>
                <a:gd name="csY67" fmla="*/ 1187190 h 1538630"/>
                <a:gd name="csX68" fmla="*/ 1279678 w 1609516"/>
                <a:gd name="csY68" fmla="*/ 1082356 h 1538630"/>
                <a:gd name="csX69" fmla="*/ 1271680 w 1609516"/>
                <a:gd name="csY69" fmla="*/ 1084589 h 1538630"/>
                <a:gd name="csX70" fmla="*/ 1282181 w 1609516"/>
                <a:gd name="csY70" fmla="*/ 1082544 h 1538630"/>
                <a:gd name="csX71" fmla="*/ 117703 w 1609516"/>
                <a:gd name="csY71" fmla="*/ 941507 h 1538630"/>
                <a:gd name="csX72" fmla="*/ 112587 w 1609516"/>
                <a:gd name="csY72" fmla="*/ 941985 h 1538630"/>
                <a:gd name="csX73" fmla="*/ 112565 w 1609516"/>
                <a:gd name="csY73" fmla="*/ 942333 h 1538630"/>
                <a:gd name="csX74" fmla="*/ 115665 w 1609516"/>
                <a:gd name="csY74" fmla="*/ 941837 h 1538630"/>
                <a:gd name="csX75" fmla="*/ 144268 w 1609516"/>
                <a:gd name="csY75" fmla="*/ 939395 h 1538630"/>
                <a:gd name="csX76" fmla="*/ 143354 w 1609516"/>
                <a:gd name="csY76" fmla="*/ 939580 h 1538630"/>
                <a:gd name="csX77" fmla="*/ 144077 w 1609516"/>
                <a:gd name="csY77" fmla="*/ 939739 h 1538630"/>
                <a:gd name="csX78" fmla="*/ 162575 w 1609516"/>
                <a:gd name="csY78" fmla="*/ 933530 h 1538630"/>
                <a:gd name="csX79" fmla="*/ 161704 w 1609516"/>
                <a:gd name="csY79" fmla="*/ 935101 h 1538630"/>
                <a:gd name="csX80" fmla="*/ 170045 w 1609516"/>
                <a:gd name="csY80" fmla="*/ 933585 h 1538630"/>
                <a:gd name="csX81" fmla="*/ 1321645 w 1609516"/>
                <a:gd name="csY81" fmla="*/ 918415 h 1538630"/>
                <a:gd name="csX82" fmla="*/ 1321534 w 1609516"/>
                <a:gd name="csY82" fmla="*/ 920177 h 1538630"/>
                <a:gd name="csX83" fmla="*/ 1321740 w 1609516"/>
                <a:gd name="csY83" fmla="*/ 918415 h 1538630"/>
                <a:gd name="csX84" fmla="*/ 1319333 w 1609516"/>
                <a:gd name="csY84" fmla="*/ 915183 h 1538630"/>
                <a:gd name="csX85" fmla="*/ 1318544 w 1609516"/>
                <a:gd name="csY85" fmla="*/ 918029 h 1538630"/>
                <a:gd name="csX86" fmla="*/ 1318702 w 1609516"/>
                <a:gd name="csY86" fmla="*/ 918029 h 1538630"/>
                <a:gd name="csX87" fmla="*/ 1326355 w 1609516"/>
                <a:gd name="csY87" fmla="*/ 907109 h 1538630"/>
                <a:gd name="csX88" fmla="*/ 1326355 w 1609516"/>
                <a:gd name="csY88" fmla="*/ 910983 h 1538630"/>
                <a:gd name="csX89" fmla="*/ 1325831 w 1609516"/>
                <a:gd name="csY89" fmla="*/ 911101 h 1538630"/>
                <a:gd name="csX90" fmla="*/ 1326426 w 1609516"/>
                <a:gd name="csY90" fmla="*/ 911369 h 1538630"/>
                <a:gd name="csX91" fmla="*/ 1326426 w 1609516"/>
                <a:gd name="csY91" fmla="*/ 907141 h 1538630"/>
                <a:gd name="csX92" fmla="*/ 1328144 w 1609516"/>
                <a:gd name="csY92" fmla="*/ 892192 h 1538630"/>
                <a:gd name="csX93" fmla="*/ 1327667 w 1609516"/>
                <a:gd name="csY93" fmla="*/ 893446 h 1538630"/>
                <a:gd name="csX94" fmla="*/ 1327989 w 1609516"/>
                <a:gd name="csY94" fmla="*/ 893049 h 1538630"/>
                <a:gd name="csX95" fmla="*/ 49605 w 1609516"/>
                <a:gd name="csY95" fmla="*/ 887420 h 1538630"/>
                <a:gd name="csX96" fmla="*/ 48549 w 1609516"/>
                <a:gd name="csY96" fmla="*/ 891229 h 1538630"/>
                <a:gd name="csX97" fmla="*/ 49956 w 1609516"/>
                <a:gd name="csY97" fmla="*/ 887420 h 1538630"/>
                <a:gd name="csX98" fmla="*/ 1332266 w 1609516"/>
                <a:gd name="csY98" fmla="*/ 883369 h 1538630"/>
                <a:gd name="csX99" fmla="*/ 1329479 w 1609516"/>
                <a:gd name="csY99" fmla="*/ 884207 h 1538630"/>
                <a:gd name="csX100" fmla="*/ 1329509 w 1609516"/>
                <a:gd name="csY100" fmla="*/ 884816 h 1538630"/>
                <a:gd name="csX101" fmla="*/ 1329551 w 1609516"/>
                <a:gd name="csY101" fmla="*/ 884594 h 1538630"/>
                <a:gd name="csX102" fmla="*/ 1555987 w 1609516"/>
                <a:gd name="csY102" fmla="*/ 821766 h 1538630"/>
                <a:gd name="csX103" fmla="*/ 1555987 w 1609516"/>
                <a:gd name="csY103" fmla="*/ 822201 h 1538630"/>
                <a:gd name="csX104" fmla="*/ 1556081 w 1609516"/>
                <a:gd name="csY104" fmla="*/ 822189 h 1538630"/>
                <a:gd name="csX105" fmla="*/ 1565360 w 1609516"/>
                <a:gd name="csY105" fmla="*/ 810928 h 1538630"/>
                <a:gd name="csX106" fmla="*/ 1564871 w 1609516"/>
                <a:gd name="csY106" fmla="*/ 811809 h 1538630"/>
                <a:gd name="csX107" fmla="*/ 1567314 w 1609516"/>
                <a:gd name="csY107" fmla="*/ 810928 h 1538630"/>
                <a:gd name="csX108" fmla="*/ 1563797 w 1609516"/>
                <a:gd name="csY108" fmla="*/ 810928 h 1538630"/>
                <a:gd name="csX109" fmla="*/ 1556762 w 1609516"/>
                <a:gd name="csY109" fmla="*/ 814736 h 1538630"/>
                <a:gd name="csX110" fmla="*/ 1563797 w 1609516"/>
                <a:gd name="csY110" fmla="*/ 812197 h 1538630"/>
                <a:gd name="csX111" fmla="*/ 265833 w 1609516"/>
                <a:gd name="csY111" fmla="*/ 806020 h 1538630"/>
                <a:gd name="csX112" fmla="*/ 263704 w 1609516"/>
                <a:gd name="csY112" fmla="*/ 809861 h 1538630"/>
                <a:gd name="csX113" fmla="*/ 263704 w 1609516"/>
                <a:gd name="csY113" fmla="*/ 816750 h 1538630"/>
                <a:gd name="csX114" fmla="*/ 264113 w 1609516"/>
                <a:gd name="csY114" fmla="*/ 816565 h 1538630"/>
                <a:gd name="csX115" fmla="*/ 263918 w 1609516"/>
                <a:gd name="csY115" fmla="*/ 812777 h 1538630"/>
                <a:gd name="csX116" fmla="*/ 263774 w 1609516"/>
                <a:gd name="csY116" fmla="*/ 779374 h 1538630"/>
                <a:gd name="csX117" fmla="*/ 263704 w 1609516"/>
                <a:gd name="csY117" fmla="*/ 783086 h 1538630"/>
                <a:gd name="csX118" fmla="*/ 264484 w 1609516"/>
                <a:gd name="csY118" fmla="*/ 785816 h 1538630"/>
                <a:gd name="csX119" fmla="*/ 265265 w 1609516"/>
                <a:gd name="csY119" fmla="*/ 794448 h 1538630"/>
                <a:gd name="csX120" fmla="*/ 265217 w 1609516"/>
                <a:gd name="csY120" fmla="*/ 799730 h 1538630"/>
                <a:gd name="csX121" fmla="*/ 266556 w 1609516"/>
                <a:gd name="csY121" fmla="*/ 803466 h 1538630"/>
                <a:gd name="csX122" fmla="*/ 267237 w 1609516"/>
                <a:gd name="csY122" fmla="*/ 801063 h 1538630"/>
                <a:gd name="csX123" fmla="*/ 265675 w 1609516"/>
                <a:gd name="csY123" fmla="*/ 799654 h 1538630"/>
                <a:gd name="csX124" fmla="*/ 265675 w 1609516"/>
                <a:gd name="csY124" fmla="*/ 793841 h 1538630"/>
                <a:gd name="csX125" fmla="*/ 260988 w 1609516"/>
                <a:gd name="csY125" fmla="*/ 770061 h 1538630"/>
                <a:gd name="csX126" fmla="*/ 260988 w 1609516"/>
                <a:gd name="csY126" fmla="*/ 771364 h 1538630"/>
                <a:gd name="csX127" fmla="*/ 263497 w 1609516"/>
                <a:gd name="csY127" fmla="*/ 777263 h 1538630"/>
                <a:gd name="csX128" fmla="*/ 262551 w 1609516"/>
                <a:gd name="csY128" fmla="*/ 770061 h 1538630"/>
                <a:gd name="csX129" fmla="*/ 260988 w 1609516"/>
                <a:gd name="csY129" fmla="*/ 770061 h 1538630"/>
                <a:gd name="csX130" fmla="*/ 157888 w 1609516"/>
                <a:gd name="csY130" fmla="*/ 651686 h 1538630"/>
                <a:gd name="csX131" fmla="*/ 157415 w 1609516"/>
                <a:gd name="csY131" fmla="*/ 651764 h 1538630"/>
                <a:gd name="csX132" fmla="*/ 160373 w 1609516"/>
                <a:gd name="csY132" fmla="*/ 652274 h 1538630"/>
                <a:gd name="csX133" fmla="*/ 267237 w 1609516"/>
                <a:gd name="csY133" fmla="*/ 426537 h 1538630"/>
                <a:gd name="csX134" fmla="*/ 267237 w 1609516"/>
                <a:gd name="csY134" fmla="*/ 427619 h 1538630"/>
                <a:gd name="csX135" fmla="*/ 270380 w 1609516"/>
                <a:gd name="csY135" fmla="*/ 428137 h 1538630"/>
                <a:gd name="csX136" fmla="*/ 273548 w 1609516"/>
                <a:gd name="csY136" fmla="*/ 428680 h 1538630"/>
                <a:gd name="csX137" fmla="*/ 37605 w 1609516"/>
                <a:gd name="csY137" fmla="*/ 359270 h 1538630"/>
                <a:gd name="csX138" fmla="*/ 37103 w 1609516"/>
                <a:gd name="csY138" fmla="*/ 361533 h 1538630"/>
                <a:gd name="csX139" fmla="*/ 37605 w 1609516"/>
                <a:gd name="csY139" fmla="*/ 361382 h 1538630"/>
                <a:gd name="csX140" fmla="*/ 52477 w 1609516"/>
                <a:gd name="csY140" fmla="*/ 337570 h 1538630"/>
                <a:gd name="csX141" fmla="*/ 47288 w 1609516"/>
                <a:gd name="csY141" fmla="*/ 342340 h 1538630"/>
                <a:gd name="csX142" fmla="*/ 45805 w 1609516"/>
                <a:gd name="csY142" fmla="*/ 345093 h 1538630"/>
                <a:gd name="csX143" fmla="*/ 104291 w 1609516"/>
                <a:gd name="csY143" fmla="*/ 336166 h 1538630"/>
                <a:gd name="csX144" fmla="*/ 103776 w 1609516"/>
                <a:gd name="csY144" fmla="*/ 337559 h 1538630"/>
                <a:gd name="csX145" fmla="*/ 108925 w 1609516"/>
                <a:gd name="csY145" fmla="*/ 336166 h 1538630"/>
                <a:gd name="csX146" fmla="*/ 1309237 w 1609516"/>
                <a:gd name="csY146" fmla="*/ 322954 h 1538630"/>
                <a:gd name="csX147" fmla="*/ 1309180 w 1609516"/>
                <a:gd name="csY147" fmla="*/ 330559 h 1538630"/>
                <a:gd name="csX148" fmla="*/ 1309237 w 1609516"/>
                <a:gd name="csY148" fmla="*/ 330520 h 1538630"/>
                <a:gd name="csX149" fmla="*/ 1308964 w 1609516"/>
                <a:gd name="csY149" fmla="*/ 317715 h 1538630"/>
                <a:gd name="csX150" fmla="*/ 1309237 w 1609516"/>
                <a:gd name="csY150" fmla="*/ 318569 h 1538630"/>
                <a:gd name="csX151" fmla="*/ 1309237 w 1609516"/>
                <a:gd name="csY151" fmla="*/ 317838 h 1538630"/>
                <a:gd name="csX152" fmla="*/ 1310087 w 1609516"/>
                <a:gd name="csY152" fmla="*/ 313153 h 1538630"/>
                <a:gd name="csX153" fmla="*/ 1307609 w 1609516"/>
                <a:gd name="csY153" fmla="*/ 313473 h 1538630"/>
                <a:gd name="csX154" fmla="*/ 1308045 w 1609516"/>
                <a:gd name="csY154" fmla="*/ 314836 h 1538630"/>
                <a:gd name="csX155" fmla="*/ 1318544 w 1609516"/>
                <a:gd name="csY155" fmla="*/ 312064 h 1538630"/>
                <a:gd name="csX156" fmla="*/ 1316298 w 1609516"/>
                <a:gd name="csY156" fmla="*/ 312353 h 1538630"/>
                <a:gd name="csX157" fmla="*/ 1318544 w 1609516"/>
                <a:gd name="csY157" fmla="*/ 312205 h 1538630"/>
                <a:gd name="csX158" fmla="*/ 1084622 w 1609516"/>
                <a:gd name="csY158" fmla="*/ 267674 h 1538630"/>
                <a:gd name="csX159" fmla="*/ 1084227 w 1609516"/>
                <a:gd name="csY159" fmla="*/ 268378 h 1538630"/>
                <a:gd name="csX160" fmla="*/ 1079540 w 1609516"/>
                <a:gd name="csY160" fmla="*/ 268378 h 1538630"/>
                <a:gd name="csX161" fmla="*/ 1079603 w 1609516"/>
                <a:gd name="csY161" fmla="*/ 268477 h 1538630"/>
                <a:gd name="csX162" fmla="*/ 1084192 w 1609516"/>
                <a:gd name="csY162" fmla="*/ 268477 h 1538630"/>
                <a:gd name="csX163" fmla="*/ 956410 w 1609516"/>
                <a:gd name="csY163" fmla="*/ 266968 h 1538630"/>
                <a:gd name="csX164" fmla="*/ 957576 w 1609516"/>
                <a:gd name="csY164" fmla="*/ 267083 h 1538630"/>
                <a:gd name="csX165" fmla="*/ 957576 w 1609516"/>
                <a:gd name="csY165" fmla="*/ 269776 h 1538630"/>
                <a:gd name="csX166" fmla="*/ 957694 w 1609516"/>
                <a:gd name="csY166" fmla="*/ 269787 h 1538630"/>
                <a:gd name="csX167" fmla="*/ 957694 w 1609516"/>
                <a:gd name="csY167" fmla="*/ 266968 h 1538630"/>
                <a:gd name="csX168" fmla="*/ 1089372 w 1609516"/>
                <a:gd name="csY168" fmla="*/ 259220 h 1538630"/>
                <a:gd name="csX169" fmla="*/ 1085856 w 1609516"/>
                <a:gd name="csY169" fmla="*/ 265479 h 1538630"/>
                <a:gd name="csX170" fmla="*/ 1088878 w 1609516"/>
                <a:gd name="csY170" fmla="*/ 261431 h 1538630"/>
                <a:gd name="csX171" fmla="*/ 1018517 w 1609516"/>
                <a:gd name="csY171" fmla="*/ 223356 h 1538630"/>
                <a:gd name="csX172" fmla="*/ 1013866 w 1609516"/>
                <a:gd name="csY172" fmla="*/ 226190 h 1538630"/>
                <a:gd name="csX173" fmla="*/ 1013024 w 1609516"/>
                <a:gd name="csY173" fmla="*/ 227709 h 1538630"/>
                <a:gd name="csX174" fmla="*/ 1017055 w 1609516"/>
                <a:gd name="csY174" fmla="*/ 224692 h 1538630"/>
                <a:gd name="csX175" fmla="*/ 850645 w 1609516"/>
                <a:gd name="csY175" fmla="*/ 220099 h 1538630"/>
                <a:gd name="csX176" fmla="*/ 850897 w 1609516"/>
                <a:gd name="csY176" fmla="*/ 221488 h 1538630"/>
                <a:gd name="csX177" fmla="*/ 851470 w 1609516"/>
                <a:gd name="csY177" fmla="*/ 224692 h 1538630"/>
                <a:gd name="csX178" fmla="*/ 852860 w 1609516"/>
                <a:gd name="csY178" fmla="*/ 224692 h 1538630"/>
                <a:gd name="csX179" fmla="*/ 1155019 w 1609516"/>
                <a:gd name="csY179" fmla="*/ 35 h 1538630"/>
                <a:gd name="csX180" fmla="*/ 1174829 w 1609516"/>
                <a:gd name="csY180" fmla="*/ 4853 h 1538630"/>
                <a:gd name="csX181" fmla="*/ 1179418 w 1609516"/>
                <a:gd name="csY181" fmla="*/ 5998 h 1538630"/>
                <a:gd name="csX182" fmla="*/ 1201385 w 1609516"/>
                <a:gd name="csY182" fmla="*/ 22997 h 1538630"/>
                <a:gd name="csX183" fmla="*/ 1201678 w 1609516"/>
                <a:gd name="csY183" fmla="*/ 62191 h 1538630"/>
                <a:gd name="csX184" fmla="*/ 1198261 w 1609516"/>
                <a:gd name="csY184" fmla="*/ 68268 h 1538630"/>
                <a:gd name="csX185" fmla="*/ 1195723 w 1609516"/>
                <a:gd name="csY185" fmla="*/ 72672 h 1538630"/>
                <a:gd name="csX186" fmla="*/ 1193575 w 1609516"/>
                <a:gd name="csY186" fmla="*/ 75314 h 1538630"/>
                <a:gd name="csX187" fmla="*/ 1190450 w 1609516"/>
                <a:gd name="csY187" fmla="*/ 75314 h 1538630"/>
                <a:gd name="csX188" fmla="*/ 1189474 w 1609516"/>
                <a:gd name="csY188" fmla="*/ 79366 h 1538630"/>
                <a:gd name="csX189" fmla="*/ 1182445 w 1609516"/>
                <a:gd name="csY189" fmla="*/ 85707 h 1538630"/>
                <a:gd name="csX190" fmla="*/ 1177953 w 1609516"/>
                <a:gd name="csY190" fmla="*/ 86588 h 1538630"/>
                <a:gd name="csX191" fmla="*/ 1177953 w 1609516"/>
                <a:gd name="csY191" fmla="*/ 89406 h 1538630"/>
                <a:gd name="csX192" fmla="*/ 1170045 w 1609516"/>
                <a:gd name="csY192" fmla="*/ 94251 h 1538630"/>
                <a:gd name="csX193" fmla="*/ 1143806 w 1609516"/>
                <a:gd name="csY193" fmla="*/ 132828 h 1538630"/>
                <a:gd name="csX194" fmla="*/ 1137338 w 1609516"/>
                <a:gd name="csY194" fmla="*/ 141548 h 1538630"/>
                <a:gd name="csX195" fmla="*/ 1133970 w 1609516"/>
                <a:gd name="csY195" fmla="*/ 149403 h 1538630"/>
                <a:gd name="csX196" fmla="*/ 1127965 w 1609516"/>
                <a:gd name="csY196" fmla="*/ 164095 h 1538630"/>
                <a:gd name="csX197" fmla="*/ 1124762 w 1609516"/>
                <a:gd name="csY197" fmla="*/ 171802 h 1538630"/>
                <a:gd name="csX198" fmla="*/ 1119359 w 1609516"/>
                <a:gd name="csY198" fmla="*/ 184798 h 1538630"/>
                <a:gd name="csX199" fmla="*/ 1111014 w 1609516"/>
                <a:gd name="csY199" fmla="*/ 204941 h 1538630"/>
                <a:gd name="csX200" fmla="*/ 1109729 w 1609516"/>
                <a:gd name="csY200" fmla="*/ 208059 h 1538630"/>
                <a:gd name="csX201" fmla="*/ 1106395 w 1609516"/>
                <a:gd name="csY201" fmla="*/ 216170 h 1538630"/>
                <a:gd name="csX202" fmla="*/ 1102147 w 1609516"/>
                <a:gd name="csY202" fmla="*/ 224810 h 1538630"/>
                <a:gd name="csX203" fmla="*/ 1098261 w 1609516"/>
                <a:gd name="csY203" fmla="*/ 227262 h 1538630"/>
                <a:gd name="csX204" fmla="*/ 1098367 w 1609516"/>
                <a:gd name="csY204" fmla="*/ 238475 h 1538630"/>
                <a:gd name="csX205" fmla="*/ 1097331 w 1609516"/>
                <a:gd name="csY205" fmla="*/ 242358 h 1538630"/>
                <a:gd name="csX206" fmla="*/ 1096201 w 1609516"/>
                <a:gd name="csY206" fmla="*/ 246458 h 1538630"/>
                <a:gd name="csX207" fmla="*/ 1089440 w 1609516"/>
                <a:gd name="csY207" fmla="*/ 279206 h 1538630"/>
                <a:gd name="csX208" fmla="*/ 1087316 w 1609516"/>
                <a:gd name="csY208" fmla="*/ 283978 h 1538630"/>
                <a:gd name="csX209" fmla="*/ 1086822 w 1609516"/>
                <a:gd name="csY209" fmla="*/ 291822 h 1538630"/>
                <a:gd name="csX210" fmla="*/ 1086623 w 1609516"/>
                <a:gd name="csY210" fmla="*/ 296625 h 1538630"/>
                <a:gd name="csX211" fmla="*/ 1086437 w 1609516"/>
                <a:gd name="csY211" fmla="*/ 301681 h 1538630"/>
                <a:gd name="csX212" fmla="*/ 1086233 w 1609516"/>
                <a:gd name="csY212" fmla="*/ 306754 h 1538630"/>
                <a:gd name="csX213" fmla="*/ 1086007 w 1609516"/>
                <a:gd name="csY213" fmla="*/ 312619 h 1538630"/>
                <a:gd name="csX214" fmla="*/ 1087470 w 1609516"/>
                <a:gd name="csY214" fmla="*/ 320554 h 1538630"/>
                <a:gd name="csX215" fmla="*/ 1098285 w 1609516"/>
                <a:gd name="csY215" fmla="*/ 334611 h 1538630"/>
                <a:gd name="csX216" fmla="*/ 1102607 w 1609516"/>
                <a:gd name="csY216" fmla="*/ 337679 h 1538630"/>
                <a:gd name="csX217" fmla="*/ 1106095 w 1609516"/>
                <a:gd name="csY217" fmla="*/ 340248 h 1538630"/>
                <a:gd name="csX218" fmla="*/ 1106095 w 1609516"/>
                <a:gd name="csY218" fmla="*/ 343066 h 1538630"/>
                <a:gd name="csX219" fmla="*/ 1109220 w 1609516"/>
                <a:gd name="csY219" fmla="*/ 343419 h 1538630"/>
                <a:gd name="csX220" fmla="*/ 1126403 w 1609516"/>
                <a:gd name="csY220" fmla="*/ 350112 h 1538630"/>
                <a:gd name="csX221" fmla="*/ 1131871 w 1609516"/>
                <a:gd name="csY221" fmla="*/ 352579 h 1538630"/>
                <a:gd name="csX222" fmla="*/ 1135776 w 1609516"/>
                <a:gd name="csY222" fmla="*/ 354340 h 1538630"/>
                <a:gd name="csX223" fmla="*/ 1135776 w 1609516"/>
                <a:gd name="csY223" fmla="*/ 357158 h 1538630"/>
                <a:gd name="csX224" fmla="*/ 1170143 w 1609516"/>
                <a:gd name="csY224" fmla="*/ 354340 h 1538630"/>
                <a:gd name="csX225" fmla="*/ 1174634 w 1609516"/>
                <a:gd name="csY225" fmla="*/ 352579 h 1538630"/>
                <a:gd name="csX226" fmla="*/ 1190890 w 1609516"/>
                <a:gd name="csY226" fmla="*/ 342907 h 1538630"/>
                <a:gd name="csX227" fmla="*/ 1204021 w 1609516"/>
                <a:gd name="csY227" fmla="*/ 335404 h 1538630"/>
                <a:gd name="csX228" fmla="*/ 1223255 w 1609516"/>
                <a:gd name="csY228" fmla="*/ 319110 h 1538630"/>
                <a:gd name="csX229" fmla="*/ 1226868 w 1609516"/>
                <a:gd name="csY229" fmla="*/ 315587 h 1538630"/>
                <a:gd name="csX230" fmla="*/ 1231859 w 1609516"/>
                <a:gd name="csY230" fmla="*/ 303559 h 1538630"/>
                <a:gd name="csX231" fmla="*/ 1234178 w 1609516"/>
                <a:gd name="csY231" fmla="*/ 298059 h 1538630"/>
                <a:gd name="csX232" fmla="*/ 1237314 w 1609516"/>
                <a:gd name="csY232" fmla="*/ 288195 h 1538630"/>
                <a:gd name="csX233" fmla="*/ 1249811 w 1609516"/>
                <a:gd name="csY233" fmla="*/ 265559 h 1538630"/>
                <a:gd name="csX234" fmla="*/ 1252935 w 1609516"/>
                <a:gd name="csY234" fmla="*/ 265559 h 1538630"/>
                <a:gd name="csX235" fmla="*/ 1252935 w 1609516"/>
                <a:gd name="csY235" fmla="*/ 262741 h 1538630"/>
                <a:gd name="csX236" fmla="*/ 1296675 w 1609516"/>
                <a:gd name="csY236" fmla="*/ 252876 h 1538630"/>
                <a:gd name="csX237" fmla="*/ 1307609 w 1609516"/>
                <a:gd name="csY237" fmla="*/ 255695 h 1538630"/>
                <a:gd name="csX238" fmla="*/ 1307609 w 1609516"/>
                <a:gd name="csY238" fmla="*/ 258513 h 1538630"/>
                <a:gd name="csX239" fmla="*/ 1311887 w 1609516"/>
                <a:gd name="csY239" fmla="*/ 258832 h 1538630"/>
                <a:gd name="csX240" fmla="*/ 1326715 w 1609516"/>
                <a:gd name="csY240" fmla="*/ 269969 h 1538630"/>
                <a:gd name="csX241" fmla="*/ 1334165 w 1609516"/>
                <a:gd name="csY241" fmla="*/ 307836 h 1538630"/>
                <a:gd name="csX242" fmla="*/ 1329479 w 1609516"/>
                <a:gd name="csY242" fmla="*/ 314882 h 1538630"/>
                <a:gd name="csX243" fmla="*/ 1323231 w 1609516"/>
                <a:gd name="csY243" fmla="*/ 314882 h 1538630"/>
                <a:gd name="csX244" fmla="*/ 1323231 w 1609516"/>
                <a:gd name="csY244" fmla="*/ 317700 h 1538630"/>
                <a:gd name="csX245" fmla="*/ 1322774 w 1609516"/>
                <a:gd name="csY245" fmla="*/ 317838 h 1538630"/>
                <a:gd name="csX246" fmla="*/ 1323295 w 1609516"/>
                <a:gd name="csY246" fmla="*/ 317838 h 1538630"/>
                <a:gd name="csX247" fmla="*/ 1323295 w 1609516"/>
                <a:gd name="csY247" fmla="*/ 315019 h 1538630"/>
                <a:gd name="csX248" fmla="*/ 1327982 w 1609516"/>
                <a:gd name="csY248" fmla="*/ 315019 h 1538630"/>
                <a:gd name="csX249" fmla="*/ 1317047 w 1609516"/>
                <a:gd name="csY249" fmla="*/ 327702 h 1538630"/>
                <a:gd name="csX250" fmla="*/ 1315484 w 1609516"/>
                <a:gd name="csY250" fmla="*/ 331930 h 1538630"/>
                <a:gd name="csX251" fmla="*/ 1309139 w 1609516"/>
                <a:gd name="csY251" fmla="*/ 333603 h 1538630"/>
                <a:gd name="csX252" fmla="*/ 1305666 w 1609516"/>
                <a:gd name="csY252" fmla="*/ 334280 h 1538630"/>
                <a:gd name="csX253" fmla="*/ 1302988 w 1609516"/>
                <a:gd name="csY253" fmla="*/ 334748 h 1538630"/>
                <a:gd name="csX254" fmla="*/ 1305905 w 1609516"/>
                <a:gd name="csY254" fmla="*/ 332775 h 1538630"/>
                <a:gd name="csX255" fmla="*/ 1304485 w 1609516"/>
                <a:gd name="csY255" fmla="*/ 333202 h 1538630"/>
                <a:gd name="csX256" fmla="*/ 1301459 w 1609516"/>
                <a:gd name="csY256" fmla="*/ 336108 h 1538630"/>
                <a:gd name="csX257" fmla="*/ 1291989 w 1609516"/>
                <a:gd name="csY257" fmla="*/ 338839 h 1538630"/>
                <a:gd name="csX258" fmla="*/ 1290426 w 1609516"/>
                <a:gd name="csY258" fmla="*/ 343066 h 1538630"/>
                <a:gd name="csX259" fmla="*/ 1285740 w 1609516"/>
                <a:gd name="csY259" fmla="*/ 344123 h 1538630"/>
                <a:gd name="csX260" fmla="*/ 1237314 w 1609516"/>
                <a:gd name="csY260" fmla="*/ 382525 h 1538630"/>
                <a:gd name="csX261" fmla="*/ 1232628 w 1609516"/>
                <a:gd name="csY261" fmla="*/ 392389 h 1538630"/>
                <a:gd name="csX262" fmla="*/ 1228625 w 1609516"/>
                <a:gd name="csY262" fmla="*/ 398731 h 1538630"/>
                <a:gd name="csX263" fmla="*/ 1222822 w 1609516"/>
                <a:gd name="csY263" fmla="*/ 434798 h 1538630"/>
                <a:gd name="csX264" fmla="*/ 1260746 w 1609516"/>
                <a:gd name="csY264" fmla="*/ 485398 h 1538630"/>
                <a:gd name="csX265" fmla="*/ 1268556 w 1609516"/>
                <a:gd name="csY265" fmla="*/ 488216 h 1538630"/>
                <a:gd name="csX266" fmla="*/ 1268556 w 1609516"/>
                <a:gd name="csY266" fmla="*/ 491034 h 1538630"/>
                <a:gd name="csX267" fmla="*/ 1338852 w 1609516"/>
                <a:gd name="csY267" fmla="*/ 489625 h 1538630"/>
                <a:gd name="csX268" fmla="*/ 1347444 w 1609516"/>
                <a:gd name="csY268" fmla="*/ 488480 h 1538630"/>
                <a:gd name="csX269" fmla="*/ 1369362 w 1609516"/>
                <a:gd name="csY269" fmla="*/ 482513 h 1538630"/>
                <a:gd name="csX270" fmla="*/ 1388840 w 1609516"/>
                <a:gd name="csY270" fmla="*/ 478351 h 1538630"/>
                <a:gd name="csX271" fmla="*/ 1388840 w 1609516"/>
                <a:gd name="csY271" fmla="*/ 475533 h 1538630"/>
                <a:gd name="csX272" fmla="*/ 1395576 w 1609516"/>
                <a:gd name="csY272" fmla="*/ 473419 h 1538630"/>
                <a:gd name="csX273" fmla="*/ 1399365 w 1609516"/>
                <a:gd name="csY273" fmla="*/ 472230 h 1538630"/>
                <a:gd name="csX274" fmla="*/ 1407585 w 1609516"/>
                <a:gd name="csY274" fmla="*/ 471305 h 1538630"/>
                <a:gd name="csX275" fmla="*/ 1409147 w 1609516"/>
                <a:gd name="csY275" fmla="*/ 467078 h 1538630"/>
                <a:gd name="csX276" fmla="*/ 1416470 w 1609516"/>
                <a:gd name="csY276" fmla="*/ 464259 h 1538630"/>
                <a:gd name="csX277" fmla="*/ 1437949 w 1609516"/>
                <a:gd name="csY277" fmla="*/ 455011 h 1538630"/>
                <a:gd name="csX278" fmla="*/ 1452887 w 1609516"/>
                <a:gd name="csY278" fmla="*/ 450167 h 1538630"/>
                <a:gd name="csX279" fmla="*/ 1452887 w 1609516"/>
                <a:gd name="csY279" fmla="*/ 447349 h 1538630"/>
                <a:gd name="csX280" fmla="*/ 1455394 w 1609516"/>
                <a:gd name="csY280" fmla="*/ 446122 h 1538630"/>
                <a:gd name="csX281" fmla="*/ 1466653 w 1609516"/>
                <a:gd name="csY281" fmla="*/ 440567 h 1538630"/>
                <a:gd name="csX282" fmla="*/ 1470598 w 1609516"/>
                <a:gd name="csY282" fmla="*/ 438637 h 1538630"/>
                <a:gd name="csX283" fmla="*/ 1474397 w 1609516"/>
                <a:gd name="csY283" fmla="*/ 436752 h 1538630"/>
                <a:gd name="csX284" fmla="*/ 1477892 w 1609516"/>
                <a:gd name="csY284" fmla="*/ 435030 h 1538630"/>
                <a:gd name="csX285" fmla="*/ 1485691 w 1609516"/>
                <a:gd name="csY285" fmla="*/ 429029 h 1538630"/>
                <a:gd name="csX286" fmla="*/ 1488858 w 1609516"/>
                <a:gd name="csY286" fmla="*/ 427653 h 1538630"/>
                <a:gd name="csX287" fmla="*/ 1495943 w 1609516"/>
                <a:gd name="csY287" fmla="*/ 421454 h 1538630"/>
                <a:gd name="csX288" fmla="*/ 1538608 w 1609516"/>
                <a:gd name="csY288" fmla="*/ 388338 h 1538630"/>
                <a:gd name="csX289" fmla="*/ 1543490 w 1609516"/>
                <a:gd name="csY289" fmla="*/ 388161 h 1538630"/>
                <a:gd name="csX290" fmla="*/ 1547621 w 1609516"/>
                <a:gd name="csY290" fmla="*/ 387804 h 1538630"/>
                <a:gd name="csX291" fmla="*/ 1579418 w 1609516"/>
                <a:gd name="csY291" fmla="*/ 396617 h 1538630"/>
                <a:gd name="csX292" fmla="*/ 1583342 w 1609516"/>
                <a:gd name="csY292" fmla="*/ 398780 h 1538630"/>
                <a:gd name="csX293" fmla="*/ 1601288 w 1609516"/>
                <a:gd name="csY293" fmla="*/ 423392 h 1538630"/>
                <a:gd name="csX294" fmla="*/ 1594484 w 1609516"/>
                <a:gd name="csY294" fmla="*/ 460159 h 1538630"/>
                <a:gd name="csX295" fmla="*/ 1574732 w 1609516"/>
                <a:gd name="csY295" fmla="*/ 475533 h 1538630"/>
                <a:gd name="csX296" fmla="*/ 1572097 w 1609516"/>
                <a:gd name="csY296" fmla="*/ 477078 h 1538630"/>
                <a:gd name="csX297" fmla="*/ 1556066 w 1609516"/>
                <a:gd name="csY297" fmla="*/ 478737 h 1538630"/>
                <a:gd name="csX298" fmla="*/ 1548631 w 1609516"/>
                <a:gd name="csY298" fmla="*/ 478825 h 1538630"/>
                <a:gd name="csX299" fmla="*/ 1536991 w 1609516"/>
                <a:gd name="csY299" fmla="*/ 478889 h 1538630"/>
                <a:gd name="csX300" fmla="*/ 1498188 w 1609516"/>
                <a:gd name="csY300" fmla="*/ 485398 h 1538630"/>
                <a:gd name="csX301" fmla="*/ 1493892 w 1609516"/>
                <a:gd name="csY301" fmla="*/ 487600 h 1538630"/>
                <a:gd name="csX302" fmla="*/ 1490377 w 1609516"/>
                <a:gd name="csY302" fmla="*/ 489625 h 1538630"/>
                <a:gd name="csX303" fmla="*/ 1471650 w 1609516"/>
                <a:gd name="csY303" fmla="*/ 498185 h 1538630"/>
                <a:gd name="csX304" fmla="*/ 1459135 w 1609516"/>
                <a:gd name="csY304" fmla="*/ 505127 h 1538630"/>
                <a:gd name="csX305" fmla="*/ 1452594 w 1609516"/>
                <a:gd name="csY305" fmla="*/ 508033 h 1538630"/>
                <a:gd name="csX306" fmla="*/ 1427795 w 1609516"/>
                <a:gd name="csY306" fmla="*/ 520100 h 1538630"/>
                <a:gd name="csX307" fmla="*/ 1423733 w 1609516"/>
                <a:gd name="csY307" fmla="*/ 522148 h 1538630"/>
                <a:gd name="csX308" fmla="*/ 1419929 w 1609516"/>
                <a:gd name="csY308" fmla="*/ 524118 h 1538630"/>
                <a:gd name="csX309" fmla="*/ 1416487 w 1609516"/>
                <a:gd name="csY309" fmla="*/ 525883 h 1538630"/>
                <a:gd name="csX310" fmla="*/ 1412271 w 1609516"/>
                <a:gd name="csY310" fmla="*/ 531902 h 1538630"/>
                <a:gd name="csX311" fmla="*/ 1396650 w 1609516"/>
                <a:gd name="csY311" fmla="*/ 537539 h 1538630"/>
                <a:gd name="csX312" fmla="*/ 1396650 w 1609516"/>
                <a:gd name="csY312" fmla="*/ 540357 h 1538630"/>
                <a:gd name="csX313" fmla="*/ 1393495 w 1609516"/>
                <a:gd name="csY313" fmla="*/ 541502 h 1538630"/>
                <a:gd name="csX314" fmla="*/ 1362284 w 1609516"/>
                <a:gd name="csY314" fmla="*/ 558678 h 1538630"/>
                <a:gd name="csX315" fmla="*/ 1355937 w 1609516"/>
                <a:gd name="csY315" fmla="*/ 562905 h 1538630"/>
                <a:gd name="csX316" fmla="*/ 1334165 w 1609516"/>
                <a:gd name="csY316" fmla="*/ 578406 h 1538630"/>
                <a:gd name="csX317" fmla="*/ 1331200 w 1609516"/>
                <a:gd name="csY317" fmla="*/ 580559 h 1538630"/>
                <a:gd name="csX318" fmla="*/ 1322175 w 1609516"/>
                <a:gd name="csY318" fmla="*/ 596793 h 1538630"/>
                <a:gd name="csX319" fmla="*/ 1320106 w 1609516"/>
                <a:gd name="csY319" fmla="*/ 602363 h 1538630"/>
                <a:gd name="csX320" fmla="*/ 1328015 w 1609516"/>
                <a:gd name="csY320" fmla="*/ 647640 h 1538630"/>
                <a:gd name="csX321" fmla="*/ 1332604 w 1609516"/>
                <a:gd name="csY321" fmla="*/ 675643 h 1538630"/>
                <a:gd name="csX322" fmla="*/ 1335727 w 1609516"/>
                <a:gd name="csY322" fmla="*/ 675643 h 1538630"/>
                <a:gd name="csX323" fmla="*/ 1337741 w 1609516"/>
                <a:gd name="csY323" fmla="*/ 690059 h 1538630"/>
                <a:gd name="csX324" fmla="*/ 1338003 w 1609516"/>
                <a:gd name="csY324" fmla="*/ 696222 h 1538630"/>
                <a:gd name="csX325" fmla="*/ 1338340 w 1609516"/>
                <a:gd name="csY325" fmla="*/ 705887 h 1538630"/>
                <a:gd name="csX326" fmla="*/ 1345277 w 1609516"/>
                <a:gd name="csY326" fmla="*/ 733245 h 1538630"/>
                <a:gd name="csX327" fmla="*/ 1363162 w 1609516"/>
                <a:gd name="csY327" fmla="*/ 741612 h 1538630"/>
                <a:gd name="csX328" fmla="*/ 1384154 w 1609516"/>
                <a:gd name="csY328" fmla="*/ 748922 h 1538630"/>
                <a:gd name="csX329" fmla="*/ 1391476 w 1609516"/>
                <a:gd name="csY329" fmla="*/ 750419 h 1538630"/>
                <a:gd name="csX330" fmla="*/ 1395564 w 1609516"/>
                <a:gd name="csY330" fmla="*/ 751080 h 1538630"/>
                <a:gd name="csX331" fmla="*/ 1399775 w 1609516"/>
                <a:gd name="csY331" fmla="*/ 751740 h 1538630"/>
                <a:gd name="csX332" fmla="*/ 1403887 w 1609516"/>
                <a:gd name="csY332" fmla="*/ 752489 h 1538630"/>
                <a:gd name="csX333" fmla="*/ 1465383 w 1609516"/>
                <a:gd name="csY333" fmla="*/ 755969 h 1538630"/>
                <a:gd name="csX334" fmla="*/ 1470339 w 1609516"/>
                <a:gd name="csY334" fmla="*/ 755897 h 1538630"/>
                <a:gd name="csX335" fmla="*/ 1496809 w 1609516"/>
                <a:gd name="csY335" fmla="*/ 749313 h 1538630"/>
                <a:gd name="csX336" fmla="*/ 1515371 w 1609516"/>
                <a:gd name="csY336" fmla="*/ 743285 h 1538630"/>
                <a:gd name="csX337" fmla="*/ 1515371 w 1609516"/>
                <a:gd name="csY337" fmla="*/ 740467 h 1538630"/>
                <a:gd name="csX338" fmla="*/ 1537632 w 1609516"/>
                <a:gd name="csY338" fmla="*/ 737120 h 1538630"/>
                <a:gd name="csX339" fmla="*/ 1541657 w 1609516"/>
                <a:gd name="csY339" fmla="*/ 737127 h 1538630"/>
                <a:gd name="csX340" fmla="*/ 1574732 w 1609516"/>
                <a:gd name="csY340" fmla="*/ 748922 h 1538630"/>
                <a:gd name="csX341" fmla="*/ 1588791 w 1609516"/>
                <a:gd name="csY341" fmla="*/ 792608 h 1538630"/>
                <a:gd name="csX342" fmla="*/ 1584105 w 1609516"/>
                <a:gd name="csY342" fmla="*/ 805291 h 1538630"/>
                <a:gd name="csX343" fmla="*/ 1580981 w 1609516"/>
                <a:gd name="csY343" fmla="*/ 806700 h 1538630"/>
                <a:gd name="csX344" fmla="*/ 1578735 w 1609516"/>
                <a:gd name="csY344" fmla="*/ 810311 h 1538630"/>
                <a:gd name="csX345" fmla="*/ 1576295 w 1609516"/>
                <a:gd name="csY345" fmla="*/ 813746 h 1538630"/>
                <a:gd name="csX346" fmla="*/ 1571652 w 1609516"/>
                <a:gd name="csY346" fmla="*/ 813746 h 1538630"/>
                <a:gd name="csX347" fmla="*/ 1571785 w 1609516"/>
                <a:gd name="csY347" fmla="*/ 814106 h 1538630"/>
                <a:gd name="csX348" fmla="*/ 1574909 w 1609516"/>
                <a:gd name="csY348" fmla="*/ 815515 h 1538630"/>
                <a:gd name="csX349" fmla="*/ 1565463 w 1609516"/>
                <a:gd name="csY349" fmla="*/ 821839 h 1538630"/>
                <a:gd name="csX350" fmla="*/ 1562085 w 1609516"/>
                <a:gd name="csY350" fmla="*/ 822101 h 1538630"/>
                <a:gd name="csX351" fmla="*/ 1551301 w 1609516"/>
                <a:gd name="csY351" fmla="*/ 825020 h 1538630"/>
                <a:gd name="csX352" fmla="*/ 1551301 w 1609516"/>
                <a:gd name="csY352" fmla="*/ 827838 h 1538630"/>
                <a:gd name="csX353" fmla="*/ 1485380 w 1609516"/>
                <a:gd name="csY353" fmla="*/ 815007 h 1538630"/>
                <a:gd name="csX354" fmla="*/ 1431603 w 1609516"/>
                <a:gd name="csY354" fmla="*/ 808726 h 1538630"/>
                <a:gd name="csX355" fmla="*/ 1424140 w 1609516"/>
                <a:gd name="csY355" fmla="*/ 808542 h 1538630"/>
                <a:gd name="csX356" fmla="*/ 1406023 w 1609516"/>
                <a:gd name="csY356" fmla="*/ 808109 h 1538630"/>
                <a:gd name="csX357" fmla="*/ 1406023 w 1609516"/>
                <a:gd name="csY357" fmla="*/ 810928 h 1538630"/>
                <a:gd name="csX358" fmla="*/ 1403383 w 1609516"/>
                <a:gd name="csY358" fmla="*/ 811311 h 1538630"/>
                <a:gd name="csX359" fmla="*/ 1345442 w 1609516"/>
                <a:gd name="csY359" fmla="*/ 828907 h 1538630"/>
                <a:gd name="csX360" fmla="*/ 1337875 w 1609516"/>
                <a:gd name="csY360" fmla="*/ 856639 h 1538630"/>
                <a:gd name="csX361" fmla="*/ 1337692 w 1609516"/>
                <a:gd name="csY361" fmla="*/ 860171 h 1538630"/>
                <a:gd name="csX362" fmla="*/ 1337290 w 1609516"/>
                <a:gd name="csY362" fmla="*/ 868706 h 1538630"/>
                <a:gd name="csX363" fmla="*/ 1334165 w 1609516"/>
                <a:gd name="csY363" fmla="*/ 868706 h 1538630"/>
                <a:gd name="csX364" fmla="*/ 1334165 w 1609516"/>
                <a:gd name="csY364" fmla="*/ 870034 h 1538630"/>
                <a:gd name="csX365" fmla="*/ 1334237 w 1609516"/>
                <a:gd name="csY365" fmla="*/ 869093 h 1538630"/>
                <a:gd name="csX366" fmla="*/ 1335800 w 1609516"/>
                <a:gd name="csY366" fmla="*/ 869093 h 1538630"/>
                <a:gd name="csX367" fmla="*/ 1335995 w 1609516"/>
                <a:gd name="csY367" fmla="*/ 876491 h 1538630"/>
                <a:gd name="csX368" fmla="*/ 1336105 w 1609516"/>
                <a:gd name="csY368" fmla="*/ 880653 h 1538630"/>
                <a:gd name="csX369" fmla="*/ 1334294 w 1609516"/>
                <a:gd name="csY369" fmla="*/ 887271 h 1538630"/>
                <a:gd name="csX370" fmla="*/ 1331455 w 1609516"/>
                <a:gd name="csY370" fmla="*/ 896440 h 1538630"/>
                <a:gd name="csX371" fmla="*/ 1330887 w 1609516"/>
                <a:gd name="csY371" fmla="*/ 899969 h 1538630"/>
                <a:gd name="csX372" fmla="*/ 1330332 w 1609516"/>
                <a:gd name="csY372" fmla="*/ 903618 h 1538630"/>
                <a:gd name="csX373" fmla="*/ 1329209 w 1609516"/>
                <a:gd name="csY373" fmla="*/ 910797 h 1538630"/>
                <a:gd name="csX374" fmla="*/ 1328724 w 1609516"/>
                <a:gd name="csY374" fmla="*/ 913998 h 1538630"/>
                <a:gd name="csX375" fmla="*/ 1324865 w 1609516"/>
                <a:gd name="csY375" fmla="*/ 922643 h 1538630"/>
                <a:gd name="csX376" fmla="*/ 1322619 w 1609516"/>
                <a:gd name="csY376" fmla="*/ 937979 h 1538630"/>
                <a:gd name="csX377" fmla="*/ 1318744 w 1609516"/>
                <a:gd name="csY377" fmla="*/ 944961 h 1538630"/>
                <a:gd name="csX378" fmla="*/ 1318544 w 1609516"/>
                <a:gd name="csY378" fmla="*/ 946213 h 1538630"/>
                <a:gd name="csX379" fmla="*/ 1318251 w 1609516"/>
                <a:gd name="csY379" fmla="*/ 955285 h 1538630"/>
                <a:gd name="csX380" fmla="*/ 1318184 w 1609516"/>
                <a:gd name="csY380" fmla="*/ 960036 h 1538630"/>
                <a:gd name="csX381" fmla="*/ 1324024 w 1609516"/>
                <a:gd name="csY381" fmla="*/ 973660 h 1538630"/>
                <a:gd name="csX382" fmla="*/ 1329284 w 1609516"/>
                <a:gd name="csY382" fmla="*/ 983382 h 1538630"/>
                <a:gd name="csX383" fmla="*/ 1340414 w 1609516"/>
                <a:gd name="csY383" fmla="*/ 998354 h 1538630"/>
                <a:gd name="csX384" fmla="*/ 1346272 w 1609516"/>
                <a:gd name="csY384" fmla="*/ 1005048 h 1538630"/>
                <a:gd name="csX385" fmla="*/ 1394716 w 1609516"/>
                <a:gd name="csY385" fmla="*/ 1042740 h 1538630"/>
                <a:gd name="csX386" fmla="*/ 1401953 w 1609516"/>
                <a:gd name="csY386" fmla="*/ 1047374 h 1538630"/>
                <a:gd name="csX387" fmla="*/ 1427197 w 1609516"/>
                <a:gd name="csY387" fmla="*/ 1059061 h 1538630"/>
                <a:gd name="csX388" fmla="*/ 1437265 w 1609516"/>
                <a:gd name="csY388" fmla="*/ 1064588 h 1538630"/>
                <a:gd name="csX389" fmla="*/ 1437265 w 1609516"/>
                <a:gd name="csY389" fmla="*/ 1067406 h 1538630"/>
                <a:gd name="csX390" fmla="*/ 1440878 w 1609516"/>
                <a:gd name="csY390" fmla="*/ 1067847 h 1538630"/>
                <a:gd name="csX391" fmla="*/ 1447175 w 1609516"/>
                <a:gd name="csY391" fmla="*/ 1070753 h 1538630"/>
                <a:gd name="csX392" fmla="*/ 1457866 w 1609516"/>
                <a:gd name="csY392" fmla="*/ 1076830 h 1538630"/>
                <a:gd name="csX393" fmla="*/ 1462132 w 1609516"/>
                <a:gd name="csY393" fmla="*/ 1078696 h 1538630"/>
                <a:gd name="csX394" fmla="*/ 1465383 w 1609516"/>
                <a:gd name="csY394" fmla="*/ 1080089 h 1538630"/>
                <a:gd name="csX395" fmla="*/ 1465383 w 1609516"/>
                <a:gd name="csY395" fmla="*/ 1082908 h 1538630"/>
                <a:gd name="csX396" fmla="*/ 1468758 w 1609516"/>
                <a:gd name="csY396" fmla="*/ 1083975 h 1538630"/>
                <a:gd name="csX397" fmla="*/ 1481688 w 1609516"/>
                <a:gd name="csY397" fmla="*/ 1091187 h 1538630"/>
                <a:gd name="csX398" fmla="*/ 1486283 w 1609516"/>
                <a:gd name="csY398" fmla="*/ 1094236 h 1538630"/>
                <a:gd name="csX399" fmla="*/ 1494869 w 1609516"/>
                <a:gd name="csY399" fmla="*/ 1100171 h 1538630"/>
                <a:gd name="csX400" fmla="*/ 1544335 w 1609516"/>
                <a:gd name="csY400" fmla="*/ 1109518 h 1538630"/>
                <a:gd name="csX401" fmla="*/ 1593477 w 1609516"/>
                <a:gd name="csY401" fmla="*/ 1119900 h 1538630"/>
                <a:gd name="csX402" fmla="*/ 1605975 w 1609516"/>
                <a:gd name="csY402" fmla="*/ 1144913 h 1538630"/>
                <a:gd name="csX403" fmla="*/ 1609099 w 1609516"/>
                <a:gd name="csY403" fmla="*/ 1144913 h 1538630"/>
                <a:gd name="csX404" fmla="*/ 1609392 w 1609516"/>
                <a:gd name="csY404" fmla="*/ 1156892 h 1538630"/>
                <a:gd name="csX405" fmla="*/ 1609511 w 1609516"/>
                <a:gd name="csY405" fmla="*/ 1160272 h 1538630"/>
                <a:gd name="csX406" fmla="*/ 1604412 w 1609516"/>
                <a:gd name="csY406" fmla="*/ 1181553 h 1538630"/>
                <a:gd name="csX407" fmla="*/ 1601288 w 1609516"/>
                <a:gd name="csY407" fmla="*/ 1190009 h 1538630"/>
                <a:gd name="csX408" fmla="*/ 1598164 w 1609516"/>
                <a:gd name="csY408" fmla="*/ 1190009 h 1538630"/>
                <a:gd name="csX409" fmla="*/ 1597187 w 1609516"/>
                <a:gd name="csY409" fmla="*/ 1192739 h 1538630"/>
                <a:gd name="csX410" fmla="*/ 1595040 w 1609516"/>
                <a:gd name="csY410" fmla="*/ 1195645 h 1538630"/>
                <a:gd name="csX411" fmla="*/ 1585667 w 1609516"/>
                <a:gd name="csY411" fmla="*/ 1197055 h 1538630"/>
                <a:gd name="csX412" fmla="*/ 1582543 w 1609516"/>
                <a:gd name="csY412" fmla="*/ 1202691 h 1538630"/>
                <a:gd name="csX413" fmla="*/ 1562431 w 1609516"/>
                <a:gd name="csY413" fmla="*/ 1204365 h 1538630"/>
                <a:gd name="csX414" fmla="*/ 1558690 w 1609516"/>
                <a:gd name="csY414" fmla="*/ 1204417 h 1538630"/>
                <a:gd name="csX415" fmla="*/ 1521102 w 1609516"/>
                <a:gd name="csY415" fmla="*/ 1189585 h 1538630"/>
                <a:gd name="csX416" fmla="*/ 1505022 w 1609516"/>
                <a:gd name="csY416" fmla="*/ 1172041 h 1538630"/>
                <a:gd name="csX417" fmla="*/ 1457573 w 1609516"/>
                <a:gd name="csY417" fmla="*/ 1140686 h 1538630"/>
                <a:gd name="csX418" fmla="*/ 1457573 w 1609516"/>
                <a:gd name="csY418" fmla="*/ 1137867 h 1538630"/>
                <a:gd name="csX419" fmla="*/ 1452985 w 1609516"/>
                <a:gd name="csY419" fmla="*/ 1137339 h 1538630"/>
                <a:gd name="csX420" fmla="*/ 1448200 w 1609516"/>
                <a:gd name="csY420" fmla="*/ 1136458 h 1538630"/>
                <a:gd name="csX421" fmla="*/ 1446638 w 1609516"/>
                <a:gd name="csY421" fmla="*/ 1133640 h 1538630"/>
                <a:gd name="csX422" fmla="*/ 1438937 w 1609516"/>
                <a:gd name="csY422" fmla="*/ 1130601 h 1538630"/>
                <a:gd name="csX423" fmla="*/ 1429260 w 1609516"/>
                <a:gd name="csY423" fmla="*/ 1126770 h 1538630"/>
                <a:gd name="csX424" fmla="*/ 1411393 w 1609516"/>
                <a:gd name="csY424" fmla="*/ 1120340 h 1538630"/>
                <a:gd name="csX425" fmla="*/ 1391427 w 1609516"/>
                <a:gd name="csY425" fmla="*/ 1111191 h 1538630"/>
                <a:gd name="csX426" fmla="*/ 1381029 w 1609516"/>
                <a:gd name="csY426" fmla="*/ 1106865 h 1538630"/>
                <a:gd name="csX427" fmla="*/ 1381029 w 1609516"/>
                <a:gd name="csY427" fmla="*/ 1104046 h 1538630"/>
                <a:gd name="csX428" fmla="*/ 1377221 w 1609516"/>
                <a:gd name="csY428" fmla="*/ 1103605 h 1538630"/>
                <a:gd name="csX429" fmla="*/ 1357597 w 1609516"/>
                <a:gd name="csY429" fmla="*/ 1098409 h 1538630"/>
                <a:gd name="csX430" fmla="*/ 1352032 w 1609516"/>
                <a:gd name="csY430" fmla="*/ 1096736 h 1538630"/>
                <a:gd name="csX431" fmla="*/ 1348225 w 1609516"/>
                <a:gd name="csY431" fmla="*/ 1095590 h 1538630"/>
                <a:gd name="csX432" fmla="*/ 1348225 w 1609516"/>
                <a:gd name="csY432" fmla="*/ 1092772 h 1538630"/>
                <a:gd name="csX433" fmla="*/ 1337290 w 1609516"/>
                <a:gd name="csY433" fmla="*/ 1091363 h 1538630"/>
                <a:gd name="csX434" fmla="*/ 1337290 w 1609516"/>
                <a:gd name="csY434" fmla="*/ 1088544 h 1538630"/>
                <a:gd name="csX435" fmla="*/ 1331529 w 1609516"/>
                <a:gd name="csY435" fmla="*/ 1088104 h 1538630"/>
                <a:gd name="csX436" fmla="*/ 1323297 w 1609516"/>
                <a:gd name="csY436" fmla="*/ 1086611 h 1538630"/>
                <a:gd name="csX437" fmla="*/ 1323297 w 1609516"/>
                <a:gd name="csY437" fmla="*/ 1087618 h 1538630"/>
                <a:gd name="csX438" fmla="*/ 1319789 w 1609516"/>
                <a:gd name="csY438" fmla="*/ 1087310 h 1538630"/>
                <a:gd name="csX439" fmla="*/ 1262375 w 1609516"/>
                <a:gd name="csY439" fmla="*/ 1089028 h 1538630"/>
                <a:gd name="csX440" fmla="*/ 1258728 w 1609516"/>
                <a:gd name="csY440" fmla="*/ 1088205 h 1538630"/>
                <a:gd name="csX441" fmla="*/ 1246964 w 1609516"/>
                <a:gd name="csY441" fmla="*/ 1091489 h 1538630"/>
                <a:gd name="csX442" fmla="*/ 1223224 w 1609516"/>
                <a:gd name="csY442" fmla="*/ 1112865 h 1538630"/>
                <a:gd name="csX443" fmla="*/ 1213883 w 1609516"/>
                <a:gd name="csY443" fmla="*/ 1122366 h 1538630"/>
                <a:gd name="csX444" fmla="*/ 1212505 w 1609516"/>
                <a:gd name="csY444" fmla="*/ 1125708 h 1538630"/>
                <a:gd name="csX445" fmla="*/ 1204180 w 1609516"/>
                <a:gd name="csY445" fmla="*/ 1135561 h 1538630"/>
                <a:gd name="csX446" fmla="*/ 1200238 w 1609516"/>
                <a:gd name="csY446" fmla="*/ 1138999 h 1538630"/>
                <a:gd name="csX447" fmla="*/ 1192025 w 1609516"/>
                <a:gd name="csY447" fmla="*/ 1146022 h 1538630"/>
                <a:gd name="csX448" fmla="*/ 1173945 w 1609516"/>
                <a:gd name="csY448" fmla="*/ 1174749 h 1538630"/>
                <a:gd name="csX449" fmla="*/ 1173950 w 1609516"/>
                <a:gd name="csY449" fmla="*/ 1182610 h 1538630"/>
                <a:gd name="csX450" fmla="*/ 1173989 w 1609516"/>
                <a:gd name="csY450" fmla="*/ 1186765 h 1538630"/>
                <a:gd name="csX451" fmla="*/ 1182640 w 1609516"/>
                <a:gd name="csY451" fmla="*/ 1215374 h 1538630"/>
                <a:gd name="csX452" fmla="*/ 1185764 w 1609516"/>
                <a:gd name="csY452" fmla="*/ 1221804 h 1538630"/>
                <a:gd name="csX453" fmla="*/ 1187301 w 1609516"/>
                <a:gd name="csY453" fmla="*/ 1224859 h 1538630"/>
                <a:gd name="csX454" fmla="*/ 1190573 w 1609516"/>
                <a:gd name="csY454" fmla="*/ 1231740 h 1538630"/>
                <a:gd name="csX455" fmla="*/ 1205925 w 1609516"/>
                <a:gd name="csY455" fmla="*/ 1255163 h 1538630"/>
                <a:gd name="csX456" fmla="*/ 1212174 w 1609516"/>
                <a:gd name="csY456" fmla="*/ 1263134 h 1538630"/>
                <a:gd name="csX457" fmla="*/ 1235556 w 1609516"/>
                <a:gd name="csY457" fmla="*/ 1282538 h 1538630"/>
                <a:gd name="csX458" fmla="*/ 1238876 w 1609516"/>
                <a:gd name="csY458" fmla="*/ 1284426 h 1538630"/>
                <a:gd name="csX459" fmla="*/ 1238876 w 1609516"/>
                <a:gd name="csY459" fmla="*/ 1287245 h 1538630"/>
                <a:gd name="csX460" fmla="*/ 1242245 w 1609516"/>
                <a:gd name="csY460" fmla="*/ 1287663 h 1538630"/>
                <a:gd name="csX461" fmla="*/ 1271681 w 1609516"/>
                <a:gd name="csY461" fmla="*/ 1305565 h 1538630"/>
                <a:gd name="csX462" fmla="*/ 1271742 w 1609516"/>
                <a:gd name="csY462" fmla="*/ 1306172 h 1538630"/>
                <a:gd name="csX463" fmla="*/ 1278525 w 1609516"/>
                <a:gd name="csY463" fmla="*/ 1315767 h 1538630"/>
                <a:gd name="csX464" fmla="*/ 1281097 w 1609516"/>
                <a:gd name="csY464" fmla="*/ 1327286 h 1538630"/>
                <a:gd name="csX465" fmla="*/ 1277973 w 1609516"/>
                <a:gd name="csY465" fmla="*/ 1355470 h 1538630"/>
                <a:gd name="csX466" fmla="*/ 1277460 w 1609516"/>
                <a:gd name="csY466" fmla="*/ 1347025 h 1538630"/>
                <a:gd name="csX467" fmla="*/ 1273531 w 1609516"/>
                <a:gd name="csY467" fmla="*/ 1357991 h 1538630"/>
                <a:gd name="csX468" fmla="*/ 1263870 w 1609516"/>
                <a:gd name="csY468" fmla="*/ 1368980 h 1538630"/>
                <a:gd name="csX469" fmla="*/ 1246686 w 1609516"/>
                <a:gd name="csY469" fmla="*/ 1376026 h 1538630"/>
                <a:gd name="csX470" fmla="*/ 1246686 w 1609516"/>
                <a:gd name="csY470" fmla="*/ 1378844 h 1538630"/>
                <a:gd name="csX471" fmla="*/ 1231651 w 1609516"/>
                <a:gd name="csY471" fmla="*/ 1379196 h 1538630"/>
                <a:gd name="csX472" fmla="*/ 1227373 w 1609516"/>
                <a:gd name="csY472" fmla="*/ 1379340 h 1538630"/>
                <a:gd name="csX473" fmla="*/ 1206071 w 1609516"/>
                <a:gd name="csY473" fmla="*/ 1373207 h 1538630"/>
                <a:gd name="csX474" fmla="*/ 1202069 w 1609516"/>
                <a:gd name="csY474" fmla="*/ 1371798 h 1538630"/>
                <a:gd name="csX475" fmla="*/ 1184104 w 1609516"/>
                <a:gd name="csY475" fmla="*/ 1356176 h 1538630"/>
                <a:gd name="csX476" fmla="*/ 1177270 w 1609516"/>
                <a:gd name="csY476" fmla="*/ 1335247 h 1538630"/>
                <a:gd name="csX477" fmla="*/ 1169002 w 1609516"/>
                <a:gd name="csY477" fmla="*/ 1313464 h 1538630"/>
                <a:gd name="csX478" fmla="*/ 1163504 w 1609516"/>
                <a:gd name="csY478" fmla="*/ 1302130 h 1538630"/>
                <a:gd name="csX479" fmla="*/ 1162015 w 1609516"/>
                <a:gd name="csY479" fmla="*/ 1298788 h 1538630"/>
                <a:gd name="csX480" fmla="*/ 1160111 w 1609516"/>
                <a:gd name="csY480" fmla="*/ 1292656 h 1538630"/>
                <a:gd name="csX481" fmla="*/ 1154522 w 1609516"/>
                <a:gd name="csY481" fmla="*/ 1287245 h 1538630"/>
                <a:gd name="csX482" fmla="*/ 1151398 w 1609516"/>
                <a:gd name="csY482" fmla="*/ 1280199 h 1538630"/>
                <a:gd name="csX483" fmla="*/ 1144173 w 1609516"/>
                <a:gd name="csY483" fmla="*/ 1270774 h 1538630"/>
                <a:gd name="csX484" fmla="*/ 1142065 w 1609516"/>
                <a:gd name="csY484" fmla="*/ 1268160 h 1538630"/>
                <a:gd name="csX485" fmla="*/ 1135776 w 1609516"/>
                <a:gd name="csY485" fmla="*/ 1260470 h 1538630"/>
                <a:gd name="csX486" fmla="*/ 1132353 w 1609516"/>
                <a:gd name="csY486" fmla="*/ 1256247 h 1538630"/>
                <a:gd name="csX487" fmla="*/ 1112344 w 1609516"/>
                <a:gd name="csY487" fmla="*/ 1240741 h 1538630"/>
                <a:gd name="csX488" fmla="*/ 1106193 w 1609516"/>
                <a:gd name="csY488" fmla="*/ 1237570 h 1538630"/>
                <a:gd name="csX489" fmla="*/ 1101409 w 1609516"/>
                <a:gd name="csY489" fmla="*/ 1235104 h 1538630"/>
                <a:gd name="csX490" fmla="*/ 1101409 w 1609516"/>
                <a:gd name="csY490" fmla="*/ 1230876 h 1538630"/>
                <a:gd name="csX491" fmla="*/ 1065480 w 1609516"/>
                <a:gd name="csY491" fmla="*/ 1230876 h 1538630"/>
                <a:gd name="csX492" fmla="*/ 1063919 w 1609516"/>
                <a:gd name="csY492" fmla="*/ 1235104 h 1538630"/>
                <a:gd name="csX493" fmla="*/ 1059232 w 1609516"/>
                <a:gd name="csY493" fmla="*/ 1235104 h 1538630"/>
                <a:gd name="csX494" fmla="*/ 1059232 w 1609516"/>
                <a:gd name="csY494" fmla="*/ 1237922 h 1538630"/>
                <a:gd name="csX495" fmla="*/ 1040194 w 1609516"/>
                <a:gd name="csY495" fmla="*/ 1245761 h 1538630"/>
                <a:gd name="csX496" fmla="*/ 1030333 w 1609516"/>
                <a:gd name="csY496" fmla="*/ 1249901 h 1538630"/>
                <a:gd name="csX497" fmla="*/ 1013931 w 1609516"/>
                <a:gd name="csY497" fmla="*/ 1256242 h 1538630"/>
                <a:gd name="csX498" fmla="*/ 1005925 w 1609516"/>
                <a:gd name="csY498" fmla="*/ 1261615 h 1538630"/>
                <a:gd name="csX499" fmla="*/ 1004558 w 1609516"/>
                <a:gd name="csY499" fmla="*/ 1264697 h 1538630"/>
                <a:gd name="csX500" fmla="*/ 1002959 w 1609516"/>
                <a:gd name="csY500" fmla="*/ 1267961 h 1538630"/>
                <a:gd name="csX501" fmla="*/ 1000653 w 1609516"/>
                <a:gd name="csY501" fmla="*/ 1278965 h 1538630"/>
                <a:gd name="csX502" fmla="*/ 998297 w 1609516"/>
                <a:gd name="csY502" fmla="*/ 1294137 h 1538630"/>
                <a:gd name="csX503" fmla="*/ 996162 w 1609516"/>
                <a:gd name="csY503" fmla="*/ 1324765 h 1538630"/>
                <a:gd name="csX504" fmla="*/ 996164 w 1609516"/>
                <a:gd name="csY504" fmla="*/ 1327846 h 1538630"/>
                <a:gd name="csX505" fmla="*/ 1007780 w 1609516"/>
                <a:gd name="csY505" fmla="*/ 1403329 h 1538630"/>
                <a:gd name="csX506" fmla="*/ 1008940 w 1609516"/>
                <a:gd name="csY506" fmla="*/ 1407701 h 1538630"/>
                <a:gd name="csX507" fmla="*/ 1010080 w 1609516"/>
                <a:gd name="csY507" fmla="*/ 1411730 h 1538630"/>
                <a:gd name="csX508" fmla="*/ 1011075 w 1609516"/>
                <a:gd name="csY508" fmla="*/ 1415277 h 1538630"/>
                <a:gd name="csX509" fmla="*/ 1017055 w 1609516"/>
                <a:gd name="csY509" fmla="*/ 1422530 h 1538630"/>
                <a:gd name="csX510" fmla="*/ 1020277 w 1609516"/>
                <a:gd name="csY510" fmla="*/ 1427991 h 1538630"/>
                <a:gd name="csX511" fmla="*/ 1021796 w 1609516"/>
                <a:gd name="csY511" fmla="*/ 1430798 h 1538630"/>
                <a:gd name="csX512" fmla="*/ 1024579 w 1609516"/>
                <a:gd name="csY512" fmla="*/ 1437239 h 1538630"/>
                <a:gd name="csX513" fmla="*/ 1034043 w 1609516"/>
                <a:gd name="csY513" fmla="*/ 1448072 h 1538630"/>
                <a:gd name="csX514" fmla="*/ 1043782 w 1609516"/>
                <a:gd name="csY514" fmla="*/ 1464320 h 1538630"/>
                <a:gd name="csX515" fmla="*/ 1050458 w 1609516"/>
                <a:gd name="csY515" fmla="*/ 1472189 h 1538630"/>
                <a:gd name="csX516" fmla="*/ 1052926 w 1609516"/>
                <a:gd name="csY516" fmla="*/ 1482370 h 1538630"/>
                <a:gd name="csX517" fmla="*/ 1053316 w 1609516"/>
                <a:gd name="csY517" fmla="*/ 1496903 h 1538630"/>
                <a:gd name="csX518" fmla="*/ 1053352 w 1609516"/>
                <a:gd name="csY518" fmla="*/ 1500660 h 1538630"/>
                <a:gd name="csX519" fmla="*/ 1053341 w 1609516"/>
                <a:gd name="csY519" fmla="*/ 1504285 h 1538630"/>
                <a:gd name="csX520" fmla="*/ 1053329 w 1609516"/>
                <a:gd name="csY520" fmla="*/ 1507529 h 1538630"/>
                <a:gd name="csX521" fmla="*/ 1049801 w 1609516"/>
                <a:gd name="csY521" fmla="*/ 1516192 h 1538630"/>
                <a:gd name="csX522" fmla="*/ 1047312 w 1609516"/>
                <a:gd name="csY522" fmla="*/ 1516192 h 1538630"/>
                <a:gd name="csX523" fmla="*/ 1043611 w 1609516"/>
                <a:gd name="csY523" fmla="*/ 1522585 h 1538630"/>
                <a:gd name="csX524" fmla="*/ 1029552 w 1609516"/>
                <a:gd name="csY524" fmla="*/ 1529631 h 1538630"/>
                <a:gd name="csX525" fmla="*/ 1028771 w 1609516"/>
                <a:gd name="csY525" fmla="*/ 1532273 h 1538630"/>
                <a:gd name="csX526" fmla="*/ 1018013 w 1609516"/>
                <a:gd name="csY526" fmla="*/ 1537640 h 1538630"/>
                <a:gd name="csX527" fmla="*/ 981126 w 1609516"/>
                <a:gd name="csY527" fmla="*/ 1533859 h 1538630"/>
                <a:gd name="csX528" fmla="*/ 977227 w 1609516"/>
                <a:gd name="csY528" fmla="*/ 1531943 h 1538630"/>
                <a:gd name="csX529" fmla="*/ 955376 w 1609516"/>
                <a:gd name="csY529" fmla="*/ 1508751 h 1538630"/>
                <a:gd name="csX530" fmla="*/ 954571 w 1609516"/>
                <a:gd name="csY530" fmla="*/ 1500037 h 1538630"/>
                <a:gd name="csX531" fmla="*/ 951446 w 1609516"/>
                <a:gd name="csY531" fmla="*/ 1500037 h 1538630"/>
                <a:gd name="csX532" fmla="*/ 951251 w 1609516"/>
                <a:gd name="csY532" fmla="*/ 1487883 h 1538630"/>
                <a:gd name="csX533" fmla="*/ 951171 w 1609516"/>
                <a:gd name="csY533" fmla="*/ 1484431 h 1538630"/>
                <a:gd name="csX534" fmla="*/ 954571 w 1609516"/>
                <a:gd name="csY534" fmla="*/ 1466216 h 1538630"/>
                <a:gd name="csX535" fmla="*/ 954961 w 1609516"/>
                <a:gd name="csY535" fmla="*/ 1455118 h 1538630"/>
                <a:gd name="csX536" fmla="*/ 954932 w 1609516"/>
                <a:gd name="csY536" fmla="*/ 1451972 h 1538630"/>
                <a:gd name="csX537" fmla="*/ 945099 w 1609516"/>
                <a:gd name="csY537" fmla="*/ 1403594 h 1538630"/>
                <a:gd name="csX538" fmla="*/ 942366 w 1609516"/>
                <a:gd name="csY538" fmla="*/ 1393553 h 1538630"/>
                <a:gd name="csX539" fmla="*/ 934451 w 1609516"/>
                <a:gd name="csY539" fmla="*/ 1372734 h 1538630"/>
                <a:gd name="csX540" fmla="*/ 931974 w 1609516"/>
                <a:gd name="csY540" fmla="*/ 1365754 h 1538630"/>
                <a:gd name="csX541" fmla="*/ 931138 w 1609516"/>
                <a:gd name="csY541" fmla="*/ 1363343 h 1538630"/>
                <a:gd name="csX542" fmla="*/ 926452 w 1609516"/>
                <a:gd name="csY542" fmla="*/ 1361933 h 1538630"/>
                <a:gd name="csX543" fmla="*/ 918641 w 1609516"/>
                <a:gd name="csY543" fmla="*/ 1340795 h 1538630"/>
                <a:gd name="csX544" fmla="*/ 917079 w 1609516"/>
                <a:gd name="csY544" fmla="*/ 1335158 h 1538630"/>
                <a:gd name="csX545" fmla="*/ 913955 w 1609516"/>
                <a:gd name="csY545" fmla="*/ 1335158 h 1538630"/>
                <a:gd name="csX546" fmla="*/ 912057 w 1609516"/>
                <a:gd name="csY546" fmla="*/ 1330793 h 1538630"/>
                <a:gd name="csX547" fmla="*/ 902142 w 1609516"/>
                <a:gd name="csY547" fmla="*/ 1316222 h 1538630"/>
                <a:gd name="csX548" fmla="*/ 900091 w 1609516"/>
                <a:gd name="csY548" fmla="*/ 1313828 h 1538630"/>
                <a:gd name="csX549" fmla="*/ 878026 w 1609516"/>
                <a:gd name="csY549" fmla="*/ 1295700 h 1538630"/>
                <a:gd name="csX550" fmla="*/ 875134 w 1609516"/>
                <a:gd name="csY550" fmla="*/ 1293465 h 1538630"/>
                <a:gd name="csX551" fmla="*/ 869869 w 1609516"/>
                <a:gd name="csY551" fmla="*/ 1291826 h 1538630"/>
                <a:gd name="csX552" fmla="*/ 862384 w 1609516"/>
                <a:gd name="csY552" fmla="*/ 1291327 h 1538630"/>
                <a:gd name="csX553" fmla="*/ 844390 w 1609516"/>
                <a:gd name="csY553" fmla="*/ 1290461 h 1538630"/>
                <a:gd name="csX554" fmla="*/ 840476 w 1609516"/>
                <a:gd name="csY554" fmla="*/ 1290500 h 1538630"/>
                <a:gd name="csX555" fmla="*/ 831015 w 1609516"/>
                <a:gd name="csY555" fmla="*/ 1290637 h 1538630"/>
                <a:gd name="csX556" fmla="*/ 831015 w 1609516"/>
                <a:gd name="csY556" fmla="*/ 1293456 h 1538630"/>
                <a:gd name="csX557" fmla="*/ 818225 w 1609516"/>
                <a:gd name="csY557" fmla="*/ 1295570 h 1538630"/>
                <a:gd name="csX558" fmla="*/ 796774 w 1609516"/>
                <a:gd name="csY558" fmla="*/ 1297671 h 1538630"/>
                <a:gd name="csX559" fmla="*/ 783646 w 1609516"/>
                <a:gd name="csY559" fmla="*/ 1305736 h 1538630"/>
                <a:gd name="csX560" fmla="*/ 769263 w 1609516"/>
                <a:gd name="csY560" fmla="*/ 1327143 h 1538630"/>
                <a:gd name="csX561" fmla="*/ 764797 w 1609516"/>
                <a:gd name="csY561" fmla="*/ 1334360 h 1538630"/>
                <a:gd name="csX562" fmla="*/ 757875 w 1609516"/>
                <a:gd name="csY562" fmla="*/ 1353503 h 1538630"/>
                <a:gd name="csX563" fmla="*/ 755676 w 1609516"/>
                <a:gd name="csY563" fmla="*/ 1367455 h 1538630"/>
                <a:gd name="csX564" fmla="*/ 750558 w 1609516"/>
                <a:gd name="csY564" fmla="*/ 1399690 h 1538630"/>
                <a:gd name="csX565" fmla="*/ 753057 w 1609516"/>
                <a:gd name="csY565" fmla="*/ 1411256 h 1538630"/>
                <a:gd name="csX566" fmla="*/ 753057 w 1609516"/>
                <a:gd name="csY566" fmla="*/ 1416893 h 1538630"/>
                <a:gd name="csX567" fmla="*/ 756181 w 1609516"/>
                <a:gd name="csY567" fmla="*/ 1416893 h 1538630"/>
                <a:gd name="csX568" fmla="*/ 758133 w 1609516"/>
                <a:gd name="csY568" fmla="*/ 1436182 h 1538630"/>
                <a:gd name="csX569" fmla="*/ 758231 w 1609516"/>
                <a:gd name="csY569" fmla="*/ 1440781 h 1538630"/>
                <a:gd name="csX570" fmla="*/ 750713 w 1609516"/>
                <a:gd name="csY570" fmla="*/ 1465704 h 1538630"/>
                <a:gd name="csX571" fmla="*/ 748370 w 1609516"/>
                <a:gd name="csY571" fmla="*/ 1467185 h 1538630"/>
                <a:gd name="csX572" fmla="*/ 741633 w 1609516"/>
                <a:gd name="csY572" fmla="*/ 1473526 h 1538630"/>
                <a:gd name="csX573" fmla="*/ 728154 w 1609516"/>
                <a:gd name="csY573" fmla="*/ 1478343 h 1538630"/>
                <a:gd name="csX574" fmla="*/ 721814 w 1609516"/>
                <a:gd name="csY574" fmla="*/ 1480308 h 1538630"/>
                <a:gd name="csX575" fmla="*/ 708341 w 1609516"/>
                <a:gd name="csY575" fmla="*/ 1480661 h 1538630"/>
                <a:gd name="csX576" fmla="*/ 704637 w 1609516"/>
                <a:gd name="csY576" fmla="*/ 1480748 h 1538630"/>
                <a:gd name="csX577" fmla="*/ 668507 w 1609516"/>
                <a:gd name="csY577" fmla="*/ 1468418 h 1538630"/>
                <a:gd name="csX578" fmla="*/ 660178 w 1609516"/>
                <a:gd name="csY578" fmla="*/ 1450027 h 1538630"/>
                <a:gd name="csX579" fmla="*/ 657767 w 1609516"/>
                <a:gd name="csY579" fmla="*/ 1445078 h 1538630"/>
                <a:gd name="csX580" fmla="*/ 663369 w 1609516"/>
                <a:gd name="csY580" fmla="*/ 1409390 h 1538630"/>
                <a:gd name="csX581" fmla="*/ 671826 w 1609516"/>
                <a:gd name="csY581" fmla="*/ 1401392 h 1538630"/>
                <a:gd name="csX582" fmla="*/ 678075 w 1609516"/>
                <a:gd name="csY582" fmla="*/ 1390118 h 1538630"/>
                <a:gd name="csX583" fmla="*/ 684323 w 1609516"/>
                <a:gd name="csY583" fmla="*/ 1388709 h 1538630"/>
                <a:gd name="csX584" fmla="*/ 685293 w 1609516"/>
                <a:gd name="csY584" fmla="*/ 1384233 h 1538630"/>
                <a:gd name="csX585" fmla="*/ 686569 w 1609516"/>
                <a:gd name="csY585" fmla="*/ 1378404 h 1538630"/>
                <a:gd name="csX586" fmla="*/ 687207 w 1609516"/>
                <a:gd name="csY586" fmla="*/ 1375456 h 1538630"/>
                <a:gd name="csX587" fmla="*/ 690572 w 1609516"/>
                <a:gd name="csY587" fmla="*/ 1363343 h 1538630"/>
                <a:gd name="csX588" fmla="*/ 692495 w 1609516"/>
                <a:gd name="csY588" fmla="*/ 1323376 h 1538630"/>
                <a:gd name="csX589" fmla="*/ 692625 w 1609516"/>
                <a:gd name="csY589" fmla="*/ 1315006 h 1538630"/>
                <a:gd name="csX590" fmla="*/ 687447 w 1609516"/>
                <a:gd name="csY590" fmla="*/ 1287245 h 1538630"/>
                <a:gd name="csX591" fmla="*/ 682761 w 1609516"/>
                <a:gd name="csY591" fmla="*/ 1285835 h 1538630"/>
                <a:gd name="csX592" fmla="*/ 678954 w 1609516"/>
                <a:gd name="csY592" fmla="*/ 1281608 h 1538630"/>
                <a:gd name="csX593" fmla="*/ 668702 w 1609516"/>
                <a:gd name="csY593" fmla="*/ 1275971 h 1538630"/>
                <a:gd name="csX594" fmla="*/ 662454 w 1609516"/>
                <a:gd name="csY594" fmla="*/ 1270334 h 1538630"/>
                <a:gd name="csX595" fmla="*/ 654643 w 1609516"/>
                <a:gd name="csY595" fmla="*/ 1267516 h 1538630"/>
                <a:gd name="csX596" fmla="*/ 654643 w 1609516"/>
                <a:gd name="csY596" fmla="*/ 1264697 h 1538630"/>
                <a:gd name="csX597" fmla="*/ 650152 w 1609516"/>
                <a:gd name="csY597" fmla="*/ 1264345 h 1538630"/>
                <a:gd name="csX598" fmla="*/ 628087 w 1609516"/>
                <a:gd name="csY598" fmla="*/ 1257651 h 1538630"/>
                <a:gd name="csX599" fmla="*/ 628087 w 1609516"/>
                <a:gd name="csY599" fmla="*/ 1254833 h 1538630"/>
                <a:gd name="csX600" fmla="*/ 625121 w 1609516"/>
                <a:gd name="csY600" fmla="*/ 1254315 h 1538630"/>
                <a:gd name="csX601" fmla="*/ 621252 w 1609516"/>
                <a:gd name="csY601" fmla="*/ 1253600 h 1538630"/>
                <a:gd name="csX602" fmla="*/ 617409 w 1609516"/>
                <a:gd name="csY602" fmla="*/ 1252906 h 1538630"/>
                <a:gd name="csX603" fmla="*/ 610904 w 1609516"/>
                <a:gd name="csY603" fmla="*/ 1249196 h 1538630"/>
                <a:gd name="csX604" fmla="*/ 565739 w 1609516"/>
                <a:gd name="csY604" fmla="*/ 1271742 h 1538630"/>
                <a:gd name="csX605" fmla="*/ 546924 w 1609516"/>
                <a:gd name="csY605" fmla="*/ 1290829 h 1538630"/>
                <a:gd name="csX606" fmla="*/ 543635 w 1609516"/>
                <a:gd name="csY606" fmla="*/ 1294643 h 1538630"/>
                <a:gd name="csX607" fmla="*/ 540651 w 1609516"/>
                <a:gd name="csY607" fmla="*/ 1298188 h 1538630"/>
                <a:gd name="csX608" fmla="*/ 529673 w 1609516"/>
                <a:gd name="csY608" fmla="*/ 1305565 h 1538630"/>
                <a:gd name="csX609" fmla="*/ 526549 w 1609516"/>
                <a:gd name="csY609" fmla="*/ 1311202 h 1538630"/>
                <a:gd name="csX610" fmla="*/ 523425 w 1609516"/>
                <a:gd name="csY610" fmla="*/ 1311202 h 1538630"/>
                <a:gd name="csX611" fmla="*/ 523230 w 1609516"/>
                <a:gd name="csY611" fmla="*/ 1313580 h 1538630"/>
                <a:gd name="csX612" fmla="*/ 517732 w 1609516"/>
                <a:gd name="csY612" fmla="*/ 1319739 h 1538630"/>
                <a:gd name="csX613" fmla="*/ 502239 w 1609516"/>
                <a:gd name="csY613" fmla="*/ 1337096 h 1538630"/>
                <a:gd name="csX614" fmla="*/ 497058 w 1609516"/>
                <a:gd name="csY614" fmla="*/ 1344087 h 1538630"/>
                <a:gd name="csX615" fmla="*/ 494572 w 1609516"/>
                <a:gd name="csY615" fmla="*/ 1347465 h 1538630"/>
                <a:gd name="csX616" fmla="*/ 487776 w 1609516"/>
                <a:gd name="csY616" fmla="*/ 1356181 h 1538630"/>
                <a:gd name="csX617" fmla="*/ 481248 w 1609516"/>
                <a:gd name="csY617" fmla="*/ 1367571 h 1538630"/>
                <a:gd name="csX618" fmla="*/ 478123 w 1609516"/>
                <a:gd name="csY618" fmla="*/ 1367571 h 1538630"/>
                <a:gd name="csX619" fmla="*/ 477635 w 1609516"/>
                <a:gd name="csY619" fmla="*/ 1370565 h 1538630"/>
                <a:gd name="csX620" fmla="*/ 465626 w 1609516"/>
                <a:gd name="csY620" fmla="*/ 1388709 h 1538630"/>
                <a:gd name="csX621" fmla="*/ 461233 w 1609516"/>
                <a:gd name="csY621" fmla="*/ 1397340 h 1538630"/>
                <a:gd name="csX622" fmla="*/ 455765 w 1609516"/>
                <a:gd name="csY622" fmla="*/ 1408086 h 1538630"/>
                <a:gd name="csX623" fmla="*/ 439070 w 1609516"/>
                <a:gd name="csY623" fmla="*/ 1477490 h 1538630"/>
                <a:gd name="csX624" fmla="*/ 434384 w 1609516"/>
                <a:gd name="csY624" fmla="*/ 1478899 h 1538630"/>
                <a:gd name="csX625" fmla="*/ 432431 w 1609516"/>
                <a:gd name="csY625" fmla="*/ 1481982 h 1538630"/>
                <a:gd name="csX626" fmla="*/ 418763 w 1609516"/>
                <a:gd name="csY626" fmla="*/ 1494401 h 1538630"/>
                <a:gd name="csX627" fmla="*/ 415639 w 1609516"/>
                <a:gd name="csY627" fmla="*/ 1494401 h 1538630"/>
                <a:gd name="csX628" fmla="*/ 415639 w 1609516"/>
                <a:gd name="csY628" fmla="*/ 1497219 h 1538630"/>
                <a:gd name="csX629" fmla="*/ 406265 w 1609516"/>
                <a:gd name="csY629" fmla="*/ 1498628 h 1538630"/>
                <a:gd name="csX630" fmla="*/ 406265 w 1609516"/>
                <a:gd name="csY630" fmla="*/ 1501447 h 1538630"/>
                <a:gd name="csX631" fmla="*/ 375023 w 1609516"/>
                <a:gd name="csY631" fmla="*/ 1501447 h 1538630"/>
                <a:gd name="csX632" fmla="*/ 375023 w 1609516"/>
                <a:gd name="csY632" fmla="*/ 1499438 h 1538630"/>
                <a:gd name="csX633" fmla="*/ 374964 w 1609516"/>
                <a:gd name="csY633" fmla="*/ 1499436 h 1538630"/>
                <a:gd name="csX634" fmla="*/ 373179 w 1609516"/>
                <a:gd name="csY634" fmla="*/ 1498628 h 1538630"/>
                <a:gd name="csX635" fmla="*/ 365650 w 1609516"/>
                <a:gd name="csY635" fmla="*/ 1498628 h 1538630"/>
                <a:gd name="csX636" fmla="*/ 363134 w 1609516"/>
                <a:gd name="csY636" fmla="*/ 1494087 h 1538630"/>
                <a:gd name="csX637" fmla="*/ 362171 w 1609516"/>
                <a:gd name="csY637" fmla="*/ 1493651 h 1538630"/>
                <a:gd name="csX638" fmla="*/ 360609 w 1609516"/>
                <a:gd name="csY638" fmla="*/ 1490833 h 1538630"/>
                <a:gd name="csX639" fmla="*/ 363733 w 1609516"/>
                <a:gd name="csY639" fmla="*/ 1490833 h 1538630"/>
                <a:gd name="csX640" fmla="*/ 363733 w 1609516"/>
                <a:gd name="csY640" fmla="*/ 1489980 h 1538630"/>
                <a:gd name="csX641" fmla="*/ 348467 w 1609516"/>
                <a:gd name="csY641" fmla="*/ 1481717 h 1538630"/>
                <a:gd name="csX642" fmla="*/ 343872 w 1609516"/>
                <a:gd name="csY642" fmla="*/ 1461078 h 1538630"/>
                <a:gd name="csX643" fmla="*/ 343656 w 1609516"/>
                <a:gd name="csY643" fmla="*/ 1463649 h 1538630"/>
                <a:gd name="csX644" fmla="*/ 343424 w 1609516"/>
                <a:gd name="csY644" fmla="*/ 1466842 h 1538630"/>
                <a:gd name="csX645" fmla="*/ 341861 w 1609516"/>
                <a:gd name="csY645" fmla="*/ 1466842 h 1538630"/>
                <a:gd name="csX646" fmla="*/ 354143 w 1609516"/>
                <a:gd name="csY646" fmla="*/ 1420549 h 1538630"/>
                <a:gd name="csX647" fmla="*/ 376229 w 1609516"/>
                <a:gd name="csY647" fmla="*/ 1403427 h 1538630"/>
                <a:gd name="csX648" fmla="*/ 379491 w 1609516"/>
                <a:gd name="csY648" fmla="*/ 1404408 h 1538630"/>
                <a:gd name="csX649" fmla="*/ 379710 w 1609516"/>
                <a:gd name="csY649" fmla="*/ 1404210 h 1538630"/>
                <a:gd name="csX650" fmla="*/ 380882 w 1609516"/>
                <a:gd name="csY650" fmla="*/ 1401568 h 1538630"/>
                <a:gd name="csX651" fmla="*/ 392207 w 1609516"/>
                <a:gd name="csY651" fmla="*/ 1392936 h 1538630"/>
                <a:gd name="csX652" fmla="*/ 399542 w 1609516"/>
                <a:gd name="csY652" fmla="*/ 1386774 h 1538630"/>
                <a:gd name="csX653" fmla="*/ 405485 w 1609516"/>
                <a:gd name="csY653" fmla="*/ 1378917 h 1538630"/>
                <a:gd name="csX654" fmla="*/ 412008 w 1609516"/>
                <a:gd name="csY654" fmla="*/ 1369481 h 1538630"/>
                <a:gd name="csX655" fmla="*/ 421130 w 1609516"/>
                <a:gd name="csY655" fmla="*/ 1357057 h 1538630"/>
                <a:gd name="csX656" fmla="*/ 424676 w 1609516"/>
                <a:gd name="csY656" fmla="*/ 1348443 h 1538630"/>
                <a:gd name="csX657" fmla="*/ 427275 w 1609516"/>
                <a:gd name="csY657" fmla="*/ 1348443 h 1538630"/>
                <a:gd name="csX658" fmla="*/ 428135 w 1609516"/>
                <a:gd name="csY658" fmla="*/ 1345727 h 1538630"/>
                <a:gd name="csX659" fmla="*/ 432822 w 1609516"/>
                <a:gd name="csY659" fmla="*/ 1335158 h 1538630"/>
                <a:gd name="csX660" fmla="*/ 435946 w 1609516"/>
                <a:gd name="csY660" fmla="*/ 1335158 h 1538630"/>
                <a:gd name="csX661" fmla="*/ 437704 w 1609516"/>
                <a:gd name="csY661" fmla="*/ 1329786 h 1538630"/>
                <a:gd name="csX662" fmla="*/ 447394 w 1609516"/>
                <a:gd name="csY662" fmla="*/ 1311196 h 1538630"/>
                <a:gd name="csX663" fmla="*/ 469287 w 1609516"/>
                <a:gd name="csY663" fmla="*/ 1265964 h 1538630"/>
                <a:gd name="csX664" fmla="*/ 478178 w 1609516"/>
                <a:gd name="csY664" fmla="*/ 1246787 h 1538630"/>
                <a:gd name="csX665" fmla="*/ 480179 w 1609516"/>
                <a:gd name="csY665" fmla="*/ 1225768 h 1538630"/>
                <a:gd name="csX666" fmla="*/ 480250 w 1609516"/>
                <a:gd name="csY666" fmla="*/ 1217149 h 1538630"/>
                <a:gd name="csX667" fmla="*/ 462972 w 1609516"/>
                <a:gd name="csY667" fmla="*/ 1174827 h 1538630"/>
                <a:gd name="csX668" fmla="*/ 457468 w 1609516"/>
                <a:gd name="csY668" fmla="*/ 1169949 h 1538630"/>
                <a:gd name="csX669" fmla="*/ 440657 w 1609516"/>
                <a:gd name="csY669" fmla="*/ 1152570 h 1538630"/>
                <a:gd name="csX670" fmla="*/ 403142 w 1609516"/>
                <a:gd name="csY670" fmla="*/ 1122366 h 1538630"/>
                <a:gd name="csX671" fmla="*/ 401579 w 1609516"/>
                <a:gd name="csY671" fmla="*/ 1119547 h 1538630"/>
                <a:gd name="csX672" fmla="*/ 364564 w 1609516"/>
                <a:gd name="csY672" fmla="*/ 1118209 h 1538630"/>
                <a:gd name="csX673" fmla="*/ 357822 w 1609516"/>
                <a:gd name="csY673" fmla="*/ 1122041 h 1538630"/>
                <a:gd name="csX674" fmla="*/ 348077 w 1609516"/>
                <a:gd name="csY674" fmla="*/ 1125273 h 1538630"/>
                <a:gd name="csX675" fmla="*/ 334408 w 1609516"/>
                <a:gd name="csY675" fmla="*/ 1132230 h 1538630"/>
                <a:gd name="csX676" fmla="*/ 327964 w 1609516"/>
                <a:gd name="csY676" fmla="*/ 1134080 h 1538630"/>
                <a:gd name="csX677" fmla="*/ 279734 w 1609516"/>
                <a:gd name="csY677" fmla="*/ 1166051 h 1538630"/>
                <a:gd name="csX678" fmla="*/ 276609 w 1609516"/>
                <a:gd name="csY678" fmla="*/ 1173098 h 1538630"/>
                <a:gd name="csX679" fmla="*/ 260988 w 1609516"/>
                <a:gd name="csY679" fmla="*/ 1188599 h 1538630"/>
                <a:gd name="csX680" fmla="*/ 257956 w 1609516"/>
                <a:gd name="csY680" fmla="*/ 1191132 h 1538630"/>
                <a:gd name="csX681" fmla="*/ 243805 w 1609516"/>
                <a:gd name="csY681" fmla="*/ 1196629 h 1538630"/>
                <a:gd name="csX682" fmla="*/ 243805 w 1609516"/>
                <a:gd name="csY682" fmla="*/ 1194236 h 1538630"/>
                <a:gd name="csX683" fmla="*/ 240288 w 1609516"/>
                <a:gd name="csY683" fmla="*/ 1194765 h 1538630"/>
                <a:gd name="csX684" fmla="*/ 243374 w 1609516"/>
                <a:gd name="csY684" fmla="*/ 1194765 h 1538630"/>
                <a:gd name="csX685" fmla="*/ 243374 w 1609516"/>
                <a:gd name="csY685" fmla="*/ 1196797 h 1538630"/>
                <a:gd name="csX686" fmla="*/ 243805 w 1609516"/>
                <a:gd name="csY686" fmla="*/ 1196629 h 1538630"/>
                <a:gd name="csX687" fmla="*/ 243805 w 1609516"/>
                <a:gd name="csY687" fmla="*/ 1197055 h 1538630"/>
                <a:gd name="csX688" fmla="*/ 243374 w 1609516"/>
                <a:gd name="csY688" fmla="*/ 1197055 h 1538630"/>
                <a:gd name="csX689" fmla="*/ 243374 w 1609516"/>
                <a:gd name="csY689" fmla="*/ 1197584 h 1538630"/>
                <a:gd name="csX690" fmla="*/ 241319 w 1609516"/>
                <a:gd name="csY690" fmla="*/ 1197595 h 1538630"/>
                <a:gd name="csX691" fmla="*/ 238009 w 1609516"/>
                <a:gd name="csY691" fmla="*/ 1198881 h 1538630"/>
                <a:gd name="csX692" fmla="*/ 215687 w 1609516"/>
                <a:gd name="csY692" fmla="*/ 1198464 h 1538630"/>
                <a:gd name="csX693" fmla="*/ 215687 w 1609516"/>
                <a:gd name="csY693" fmla="*/ 1197734 h 1538630"/>
                <a:gd name="csX694" fmla="*/ 213936 w 1609516"/>
                <a:gd name="csY694" fmla="*/ 1197744 h 1538630"/>
                <a:gd name="csX695" fmla="*/ 207446 w 1609516"/>
                <a:gd name="csY695" fmla="*/ 1196175 h 1538630"/>
                <a:gd name="csX696" fmla="*/ 207822 w 1609516"/>
                <a:gd name="csY696" fmla="*/ 1195610 h 1538630"/>
                <a:gd name="csX697" fmla="*/ 184737 w 1609516"/>
                <a:gd name="csY697" fmla="*/ 1180936 h 1538630"/>
                <a:gd name="csX698" fmla="*/ 179270 w 1609516"/>
                <a:gd name="csY698" fmla="*/ 1154866 h 1538630"/>
                <a:gd name="csX699" fmla="*/ 179194 w 1609516"/>
                <a:gd name="csY699" fmla="*/ 1151621 h 1538630"/>
                <a:gd name="csX700" fmla="*/ 193195 w 1609516"/>
                <a:gd name="csY700" fmla="*/ 1120065 h 1538630"/>
                <a:gd name="csX701" fmla="*/ 229551 w 1609516"/>
                <a:gd name="csY701" fmla="*/ 1110299 h 1538630"/>
                <a:gd name="csX702" fmla="*/ 260988 w 1609516"/>
                <a:gd name="csY702" fmla="*/ 1108274 h 1538630"/>
                <a:gd name="csX703" fmla="*/ 260988 w 1609516"/>
                <a:gd name="csY703" fmla="*/ 1105455 h 1538630"/>
                <a:gd name="csX704" fmla="*/ 263911 w 1609516"/>
                <a:gd name="csY704" fmla="*/ 1104310 h 1538630"/>
                <a:gd name="csX705" fmla="*/ 286995 w 1609516"/>
                <a:gd name="csY705" fmla="*/ 1090185 h 1538630"/>
                <a:gd name="csX706" fmla="*/ 299358 w 1609516"/>
                <a:gd name="csY706" fmla="*/ 1080970 h 1538630"/>
                <a:gd name="csX707" fmla="*/ 317762 w 1609516"/>
                <a:gd name="csY707" fmla="*/ 1063272 h 1538630"/>
                <a:gd name="csX708" fmla="*/ 325035 w 1609516"/>
                <a:gd name="csY708" fmla="*/ 1057542 h 1538630"/>
                <a:gd name="csX709" fmla="*/ 325328 w 1609516"/>
                <a:gd name="csY709" fmla="*/ 1023104 h 1538630"/>
                <a:gd name="csX710" fmla="*/ 324544 w 1609516"/>
                <a:gd name="csY710" fmla="*/ 1019247 h 1538630"/>
                <a:gd name="csX711" fmla="*/ 317225 w 1609516"/>
                <a:gd name="csY711" fmla="*/ 996945 h 1538630"/>
                <a:gd name="csX712" fmla="*/ 315388 w 1609516"/>
                <a:gd name="csY712" fmla="*/ 992690 h 1538630"/>
                <a:gd name="csX713" fmla="*/ 276232 w 1609516"/>
                <a:gd name="csY713" fmla="*/ 950666 h 1538630"/>
                <a:gd name="csX714" fmla="*/ 271923 w 1609516"/>
                <a:gd name="csY714" fmla="*/ 949031 h 1538630"/>
                <a:gd name="csX715" fmla="*/ 268299 w 1609516"/>
                <a:gd name="csY715" fmla="*/ 947441 h 1538630"/>
                <a:gd name="csX716" fmla="*/ 199187 w 1609516"/>
                <a:gd name="csY716" fmla="*/ 938991 h 1538630"/>
                <a:gd name="csX717" fmla="*/ 193719 w 1609516"/>
                <a:gd name="csY717" fmla="*/ 938971 h 1538630"/>
                <a:gd name="csX718" fmla="*/ 188539 w 1609516"/>
                <a:gd name="csY718" fmla="*/ 938980 h 1538630"/>
                <a:gd name="csX719" fmla="*/ 183874 w 1609516"/>
                <a:gd name="csY719" fmla="*/ 938985 h 1538630"/>
                <a:gd name="csX720" fmla="*/ 173509 w 1609516"/>
                <a:gd name="csY720" fmla="*/ 940576 h 1538630"/>
                <a:gd name="csX721" fmla="*/ 161403 w 1609516"/>
                <a:gd name="csY721" fmla="*/ 940664 h 1538630"/>
                <a:gd name="csX722" fmla="*/ 158102 w 1609516"/>
                <a:gd name="csY722" fmla="*/ 940645 h 1538630"/>
                <a:gd name="csX723" fmla="*/ 150875 w 1609516"/>
                <a:gd name="csY723" fmla="*/ 940583 h 1538630"/>
                <a:gd name="csX724" fmla="*/ 148425 w 1609516"/>
                <a:gd name="csY724" fmla="*/ 940717 h 1538630"/>
                <a:gd name="csX725" fmla="*/ 149617 w 1609516"/>
                <a:gd name="csY725" fmla="*/ 940995 h 1538630"/>
                <a:gd name="csX726" fmla="*/ 149617 w 1609516"/>
                <a:gd name="csY726" fmla="*/ 942404 h 1538630"/>
                <a:gd name="csX727" fmla="*/ 146627 w 1609516"/>
                <a:gd name="csY727" fmla="*/ 942871 h 1538630"/>
                <a:gd name="csX728" fmla="*/ 110564 w 1609516"/>
                <a:gd name="csY728" fmla="*/ 949449 h 1538630"/>
                <a:gd name="csX729" fmla="*/ 111283 w 1609516"/>
                <a:gd name="csY729" fmla="*/ 946205 h 1538630"/>
                <a:gd name="csX730" fmla="*/ 101652 w 1609516"/>
                <a:gd name="csY730" fmla="*/ 956078 h 1538630"/>
                <a:gd name="csX731" fmla="*/ 98052 w 1609516"/>
                <a:gd name="csY731" fmla="*/ 958467 h 1538630"/>
                <a:gd name="csX732" fmla="*/ 67286 w 1609516"/>
                <a:gd name="csY732" fmla="*/ 972989 h 1538630"/>
                <a:gd name="csX733" fmla="*/ 67286 w 1609516"/>
                <a:gd name="csY733" fmla="*/ 975807 h 1538630"/>
                <a:gd name="csX734" fmla="*/ 31942 w 1609516"/>
                <a:gd name="csY734" fmla="*/ 976423 h 1538630"/>
                <a:gd name="csX735" fmla="*/ 5673 w 1609516"/>
                <a:gd name="csY735" fmla="*/ 953419 h 1538630"/>
                <a:gd name="csX736" fmla="*/ 4801 w 1609516"/>
                <a:gd name="csY736" fmla="*/ 944804 h 1538630"/>
                <a:gd name="csX737" fmla="*/ 1676 w 1609516"/>
                <a:gd name="csY737" fmla="*/ 944804 h 1538630"/>
                <a:gd name="csX738" fmla="*/ 17 w 1609516"/>
                <a:gd name="csY738" fmla="*/ 931857 h 1538630"/>
                <a:gd name="csX739" fmla="*/ 59 w 1609516"/>
                <a:gd name="csY739" fmla="*/ 927216 h 1538630"/>
                <a:gd name="csX740" fmla="*/ 115 w 1609516"/>
                <a:gd name="csY740" fmla="*/ 923666 h 1538630"/>
                <a:gd name="csX741" fmla="*/ 3238 w 1609516"/>
                <a:gd name="csY741" fmla="*/ 923666 h 1538630"/>
                <a:gd name="csX742" fmla="*/ 3238 w 1609516"/>
                <a:gd name="csY742" fmla="*/ 918029 h 1538630"/>
                <a:gd name="csX743" fmla="*/ 6363 w 1609516"/>
                <a:gd name="csY743" fmla="*/ 918029 h 1538630"/>
                <a:gd name="csX744" fmla="*/ 6656 w 1609516"/>
                <a:gd name="csY744" fmla="*/ 912832 h 1538630"/>
                <a:gd name="csX745" fmla="*/ 15736 w 1609516"/>
                <a:gd name="csY745" fmla="*/ 899709 h 1538630"/>
                <a:gd name="csX746" fmla="*/ 17243 w 1609516"/>
                <a:gd name="csY746" fmla="*/ 898894 h 1538630"/>
                <a:gd name="csX747" fmla="*/ 16800 w 1609516"/>
                <a:gd name="csY747" fmla="*/ 898694 h 1538630"/>
                <a:gd name="csX748" fmla="*/ 24988 w 1609516"/>
                <a:gd name="csY748" fmla="*/ 894101 h 1538630"/>
                <a:gd name="csX749" fmla="*/ 26768 w 1609516"/>
                <a:gd name="csY749" fmla="*/ 892399 h 1538630"/>
                <a:gd name="csX750" fmla="*/ 30198 w 1609516"/>
                <a:gd name="csY750" fmla="*/ 890164 h 1538630"/>
                <a:gd name="csX751" fmla="*/ 32204 w 1609516"/>
                <a:gd name="csY751" fmla="*/ 890054 h 1538630"/>
                <a:gd name="csX752" fmla="*/ 38914 w 1609516"/>
                <a:gd name="csY752" fmla="*/ 886291 h 1538630"/>
                <a:gd name="csX753" fmla="*/ 63664 w 1609516"/>
                <a:gd name="csY753" fmla="*/ 886011 h 1538630"/>
                <a:gd name="csX754" fmla="*/ 63664 w 1609516"/>
                <a:gd name="csY754" fmla="*/ 886531 h 1538630"/>
                <a:gd name="csX755" fmla="*/ 70784 w 1609516"/>
                <a:gd name="csY755" fmla="*/ 886647 h 1538630"/>
                <a:gd name="csX756" fmla="*/ 82126 w 1609516"/>
                <a:gd name="csY756" fmla="*/ 889845 h 1538630"/>
                <a:gd name="csX757" fmla="*/ 114149 w 1609516"/>
                <a:gd name="csY757" fmla="*/ 892663 h 1538630"/>
                <a:gd name="csX758" fmla="*/ 118836 w 1609516"/>
                <a:gd name="csY758" fmla="*/ 889845 h 1538630"/>
                <a:gd name="csX759" fmla="*/ 131626 w 1609516"/>
                <a:gd name="csY759" fmla="*/ 887114 h 1538630"/>
                <a:gd name="csX760" fmla="*/ 155116 w 1609516"/>
                <a:gd name="csY760" fmla="*/ 880913 h 1538630"/>
                <a:gd name="csX761" fmla="*/ 165406 w 1609516"/>
                <a:gd name="csY761" fmla="*/ 878483 h 1538630"/>
                <a:gd name="csX762" fmla="*/ 176634 w 1609516"/>
                <a:gd name="csY762" fmla="*/ 874343 h 1538630"/>
                <a:gd name="csX763" fmla="*/ 186397 w 1609516"/>
                <a:gd name="csY763" fmla="*/ 871524 h 1538630"/>
                <a:gd name="csX764" fmla="*/ 191871 w 1609516"/>
                <a:gd name="csY764" fmla="*/ 870033 h 1538630"/>
                <a:gd name="csX765" fmla="*/ 203483 w 1609516"/>
                <a:gd name="csY765" fmla="*/ 867208 h 1538630"/>
                <a:gd name="csX766" fmla="*/ 211001 w 1609516"/>
                <a:gd name="csY766" fmla="*/ 861660 h 1538630"/>
                <a:gd name="csX767" fmla="*/ 218031 w 1609516"/>
                <a:gd name="csY767" fmla="*/ 858577 h 1538630"/>
                <a:gd name="csX768" fmla="*/ 254740 w 1609516"/>
                <a:gd name="csY768" fmla="*/ 825020 h 1538630"/>
                <a:gd name="csX769" fmla="*/ 257864 w 1609516"/>
                <a:gd name="csY769" fmla="*/ 820792 h 1538630"/>
                <a:gd name="csX770" fmla="*/ 258318 w 1609516"/>
                <a:gd name="csY770" fmla="*/ 813810 h 1538630"/>
                <a:gd name="csX771" fmla="*/ 258378 w 1609516"/>
                <a:gd name="csY771" fmla="*/ 809502 h 1538630"/>
                <a:gd name="csX772" fmla="*/ 258389 w 1609516"/>
                <a:gd name="csY772" fmla="*/ 804845 h 1538630"/>
                <a:gd name="csX773" fmla="*/ 258420 w 1609516"/>
                <a:gd name="csY773" fmla="*/ 800036 h 1538630"/>
                <a:gd name="csX774" fmla="*/ 258443 w 1609516"/>
                <a:gd name="csY774" fmla="*/ 789939 h 1538630"/>
                <a:gd name="csX775" fmla="*/ 258566 w 1609516"/>
                <a:gd name="csY775" fmla="*/ 774594 h 1538630"/>
                <a:gd name="csX776" fmla="*/ 258584 w 1609516"/>
                <a:gd name="csY776" fmla="*/ 764771 h 1538630"/>
                <a:gd name="csX777" fmla="*/ 258652 w 1609516"/>
                <a:gd name="csY777" fmla="*/ 760174 h 1538630"/>
                <a:gd name="csX778" fmla="*/ 251616 w 1609516"/>
                <a:gd name="csY778" fmla="*/ 733421 h 1538630"/>
                <a:gd name="csX779" fmla="*/ 247613 w 1609516"/>
                <a:gd name="csY779" fmla="*/ 721883 h 1538630"/>
                <a:gd name="csX780" fmla="*/ 241291 w 1609516"/>
                <a:gd name="csY780" fmla="*/ 705644 h 1538630"/>
                <a:gd name="csX781" fmla="*/ 237557 w 1609516"/>
                <a:gd name="csY781" fmla="*/ 689735 h 1538630"/>
                <a:gd name="csX782" fmla="*/ 248492 w 1609516"/>
                <a:gd name="csY782" fmla="*/ 685507 h 1538630"/>
                <a:gd name="csX783" fmla="*/ 248492 w 1609516"/>
                <a:gd name="csY783" fmla="*/ 681279 h 1538630"/>
                <a:gd name="csX784" fmla="*/ 240681 w 1609516"/>
                <a:gd name="csY784" fmla="*/ 679870 h 1538630"/>
                <a:gd name="csX785" fmla="*/ 240681 w 1609516"/>
                <a:gd name="csY785" fmla="*/ 677052 h 1538630"/>
                <a:gd name="csX786" fmla="*/ 238094 w 1609516"/>
                <a:gd name="csY786" fmla="*/ 676645 h 1538630"/>
                <a:gd name="csX787" fmla="*/ 225841 w 1609516"/>
                <a:gd name="csY787" fmla="*/ 670886 h 1538630"/>
                <a:gd name="csX788" fmla="*/ 201531 w 1609516"/>
                <a:gd name="csY788" fmla="*/ 662508 h 1538630"/>
                <a:gd name="csX789" fmla="*/ 188252 w 1609516"/>
                <a:gd name="csY789" fmla="*/ 658644 h 1538630"/>
                <a:gd name="csX790" fmla="*/ 182431 w 1609516"/>
                <a:gd name="csY790" fmla="*/ 657327 h 1538630"/>
                <a:gd name="csX791" fmla="*/ 182431 w 1609516"/>
                <a:gd name="csY791" fmla="*/ 657613 h 1538630"/>
                <a:gd name="csX792" fmla="*/ 146503 w 1609516"/>
                <a:gd name="csY792" fmla="*/ 656204 h 1538630"/>
                <a:gd name="csX793" fmla="*/ 146503 w 1609516"/>
                <a:gd name="csY793" fmla="*/ 659022 h 1538630"/>
                <a:gd name="csX794" fmla="*/ 110378 w 1609516"/>
                <a:gd name="csY794" fmla="*/ 663778 h 1538630"/>
                <a:gd name="csX795" fmla="*/ 106453 w 1609516"/>
                <a:gd name="csY795" fmla="*/ 663836 h 1538630"/>
                <a:gd name="csX796" fmla="*/ 102751 w 1609516"/>
                <a:gd name="csY796" fmla="*/ 663811 h 1538630"/>
                <a:gd name="csX797" fmla="*/ 99449 w 1609516"/>
                <a:gd name="csY797" fmla="*/ 663797 h 1538630"/>
                <a:gd name="csX798" fmla="*/ 91828 w 1609516"/>
                <a:gd name="csY798" fmla="*/ 659022 h 1538630"/>
                <a:gd name="csX799" fmla="*/ 98077 w 1609516"/>
                <a:gd name="csY799" fmla="*/ 659022 h 1538630"/>
                <a:gd name="csX800" fmla="*/ 98077 w 1609516"/>
                <a:gd name="csY800" fmla="*/ 661841 h 1538630"/>
                <a:gd name="csX801" fmla="*/ 119023 w 1609516"/>
                <a:gd name="csY801" fmla="*/ 661357 h 1538630"/>
                <a:gd name="csX802" fmla="*/ 119536 w 1609516"/>
                <a:gd name="csY802" fmla="*/ 661197 h 1538630"/>
                <a:gd name="csX803" fmla="*/ 109853 w 1609516"/>
                <a:gd name="csY803" fmla="*/ 661639 h 1538630"/>
                <a:gd name="csX804" fmla="*/ 106552 w 1609516"/>
                <a:gd name="csY804" fmla="*/ 661619 h 1538630"/>
                <a:gd name="csX805" fmla="*/ 98528 w 1609516"/>
                <a:gd name="csY805" fmla="*/ 661550 h 1538630"/>
                <a:gd name="csX806" fmla="*/ 98528 w 1609516"/>
                <a:gd name="csY806" fmla="*/ 658732 h 1538630"/>
                <a:gd name="csX807" fmla="*/ 89155 w 1609516"/>
                <a:gd name="csY807" fmla="*/ 657323 h 1538630"/>
                <a:gd name="csX808" fmla="*/ 89155 w 1609516"/>
                <a:gd name="csY808" fmla="*/ 654504 h 1538630"/>
                <a:gd name="csX809" fmla="*/ 86397 w 1609516"/>
                <a:gd name="csY809" fmla="*/ 653442 h 1538630"/>
                <a:gd name="csX810" fmla="*/ 77049 w 1609516"/>
                <a:gd name="csY810" fmla="*/ 646137 h 1538630"/>
                <a:gd name="csX811" fmla="*/ 74145 w 1609516"/>
                <a:gd name="csY811" fmla="*/ 643192 h 1538630"/>
                <a:gd name="csX812" fmla="*/ 71972 w 1609516"/>
                <a:gd name="csY812" fmla="*/ 636185 h 1538630"/>
                <a:gd name="csX813" fmla="*/ 68848 w 1609516"/>
                <a:gd name="csY813" fmla="*/ 636185 h 1538630"/>
                <a:gd name="csX814" fmla="*/ 70410 w 1609516"/>
                <a:gd name="csY814" fmla="*/ 595317 h 1538630"/>
                <a:gd name="csX815" fmla="*/ 79782 w 1609516"/>
                <a:gd name="csY815" fmla="*/ 584043 h 1538630"/>
                <a:gd name="csX816" fmla="*/ 82656 w 1609516"/>
                <a:gd name="csY816" fmla="*/ 581115 h 1538630"/>
                <a:gd name="csX817" fmla="*/ 116694 w 1609516"/>
                <a:gd name="csY817" fmla="*/ 572323 h 1538630"/>
                <a:gd name="csX818" fmla="*/ 152031 w 1609516"/>
                <a:gd name="csY818" fmla="*/ 590385 h 1538630"/>
                <a:gd name="csX819" fmla="*/ 191474 w 1609516"/>
                <a:gd name="csY819" fmla="*/ 605886 h 1538630"/>
                <a:gd name="csX820" fmla="*/ 206314 w 1609516"/>
                <a:gd name="csY820" fmla="*/ 608000 h 1538630"/>
                <a:gd name="csX821" fmla="*/ 206314 w 1609516"/>
                <a:gd name="csY821" fmla="*/ 610818 h 1538630"/>
                <a:gd name="csX822" fmla="*/ 234433 w 1609516"/>
                <a:gd name="csY822" fmla="*/ 610818 h 1538630"/>
                <a:gd name="csX823" fmla="*/ 239522 w 1609516"/>
                <a:gd name="csY823" fmla="*/ 610802 h 1538630"/>
                <a:gd name="csX824" fmla="*/ 268799 w 1609516"/>
                <a:gd name="csY824" fmla="*/ 600954 h 1538630"/>
                <a:gd name="csX825" fmla="*/ 271740 w 1609516"/>
                <a:gd name="csY825" fmla="*/ 599325 h 1538630"/>
                <a:gd name="csX826" fmla="*/ 284420 w 1609516"/>
                <a:gd name="csY826" fmla="*/ 579816 h 1538630"/>
                <a:gd name="csX827" fmla="*/ 289399 w 1609516"/>
                <a:gd name="csY827" fmla="*/ 568630 h 1538630"/>
                <a:gd name="csX828" fmla="*/ 293958 w 1609516"/>
                <a:gd name="csY828" fmla="*/ 535838 h 1538630"/>
                <a:gd name="csX829" fmla="*/ 289107 w 1609516"/>
                <a:gd name="csY829" fmla="*/ 529084 h 1538630"/>
                <a:gd name="csX830" fmla="*/ 289107 w 1609516"/>
                <a:gd name="csY830" fmla="*/ 526265 h 1538630"/>
                <a:gd name="csX831" fmla="*/ 284420 w 1609516"/>
                <a:gd name="csY831" fmla="*/ 524856 h 1538630"/>
                <a:gd name="csX832" fmla="*/ 282858 w 1609516"/>
                <a:gd name="csY832" fmla="*/ 520628 h 1538630"/>
                <a:gd name="csX833" fmla="*/ 277977 w 1609516"/>
                <a:gd name="csY833" fmla="*/ 516577 h 1538630"/>
                <a:gd name="csX834" fmla="*/ 264925 w 1609516"/>
                <a:gd name="csY834" fmla="*/ 506443 h 1538630"/>
                <a:gd name="csX835" fmla="*/ 229746 w 1609516"/>
                <a:gd name="csY835" fmla="*/ 481170 h 1538630"/>
                <a:gd name="csX836" fmla="*/ 221057 w 1609516"/>
                <a:gd name="csY836" fmla="*/ 475445 h 1538630"/>
                <a:gd name="csX837" fmla="*/ 212563 w 1609516"/>
                <a:gd name="csY837" fmla="*/ 469896 h 1538630"/>
                <a:gd name="csX838" fmla="*/ 208889 w 1609516"/>
                <a:gd name="csY838" fmla="*/ 467491 h 1538630"/>
                <a:gd name="csX839" fmla="*/ 190406 w 1609516"/>
                <a:gd name="csY839" fmla="*/ 456382 h 1538630"/>
                <a:gd name="csX840" fmla="*/ 186942 w 1609516"/>
                <a:gd name="csY840" fmla="*/ 454460 h 1538630"/>
                <a:gd name="csX841" fmla="*/ 180041 w 1609516"/>
                <a:gd name="csY841" fmla="*/ 450696 h 1538630"/>
                <a:gd name="csX842" fmla="*/ 171948 w 1609516"/>
                <a:gd name="csY842" fmla="*/ 445940 h 1538630"/>
                <a:gd name="csX843" fmla="*/ 171948 w 1609516"/>
                <a:gd name="csY843" fmla="*/ 443121 h 1538630"/>
                <a:gd name="csX844" fmla="*/ 168482 w 1609516"/>
                <a:gd name="csY844" fmla="*/ 442708 h 1538630"/>
                <a:gd name="csX845" fmla="*/ 157107 w 1609516"/>
                <a:gd name="csY845" fmla="*/ 437044 h 1538630"/>
                <a:gd name="csX846" fmla="*/ 132559 w 1609516"/>
                <a:gd name="csY846" fmla="*/ 427510 h 1538630"/>
                <a:gd name="csX847" fmla="*/ 123522 w 1609516"/>
                <a:gd name="csY847" fmla="*/ 421983 h 1538630"/>
                <a:gd name="csX848" fmla="*/ 107986 w 1609516"/>
                <a:gd name="csY848" fmla="*/ 418730 h 1538630"/>
                <a:gd name="csX849" fmla="*/ 102494 w 1609516"/>
                <a:gd name="csY849" fmla="*/ 418622 h 1538630"/>
                <a:gd name="csX850" fmla="*/ 91157 w 1609516"/>
                <a:gd name="csY850" fmla="*/ 418490 h 1538630"/>
                <a:gd name="csX851" fmla="*/ 55277 w 1609516"/>
                <a:gd name="csY851" fmla="*/ 410445 h 1538630"/>
                <a:gd name="csX852" fmla="*/ 51665 w 1609516"/>
                <a:gd name="csY852" fmla="*/ 406481 h 1538630"/>
                <a:gd name="csX853" fmla="*/ 45904 w 1609516"/>
                <a:gd name="csY853" fmla="*/ 400492 h 1538630"/>
                <a:gd name="csX854" fmla="*/ 43152 w 1609516"/>
                <a:gd name="csY854" fmla="*/ 397564 h 1538630"/>
                <a:gd name="csX855" fmla="*/ 37605 w 1609516"/>
                <a:gd name="csY855" fmla="*/ 393798 h 1538630"/>
                <a:gd name="csX856" fmla="*/ 38995 w 1609516"/>
                <a:gd name="csY856" fmla="*/ 368712 h 1538630"/>
                <a:gd name="csX857" fmla="*/ 38666 w 1609516"/>
                <a:gd name="csY857" fmla="*/ 369724 h 1538630"/>
                <a:gd name="csX858" fmla="*/ 35542 w 1609516"/>
                <a:gd name="csY858" fmla="*/ 384081 h 1538630"/>
                <a:gd name="csX859" fmla="*/ 33326 w 1609516"/>
                <a:gd name="csY859" fmla="*/ 357791 h 1538630"/>
                <a:gd name="csX860" fmla="*/ 52725 w 1609516"/>
                <a:gd name="csY860" fmla="*/ 333349 h 1538630"/>
                <a:gd name="csX861" fmla="*/ 55222 w 1609516"/>
                <a:gd name="csY861" fmla="*/ 334475 h 1538630"/>
                <a:gd name="csX862" fmla="*/ 56222 w 1609516"/>
                <a:gd name="csY862" fmla="*/ 333347 h 1538630"/>
                <a:gd name="csX863" fmla="*/ 55871 w 1609516"/>
                <a:gd name="csY863" fmla="*/ 333347 h 1538630"/>
                <a:gd name="csX864" fmla="*/ 56346 w 1609516"/>
                <a:gd name="csY864" fmla="*/ 333207 h 1538630"/>
                <a:gd name="csX865" fmla="*/ 56351 w 1609516"/>
                <a:gd name="csY865" fmla="*/ 333202 h 1538630"/>
                <a:gd name="csX866" fmla="*/ 56365 w 1609516"/>
                <a:gd name="csY866" fmla="*/ 333202 h 1538630"/>
                <a:gd name="csX867" fmla="*/ 79571 w 1609516"/>
                <a:gd name="csY867" fmla="*/ 326360 h 1538630"/>
                <a:gd name="csX868" fmla="*/ 104297 w 1609516"/>
                <a:gd name="csY868" fmla="*/ 330529 h 1538630"/>
                <a:gd name="csX869" fmla="*/ 107170 w 1609516"/>
                <a:gd name="csY869" fmla="*/ 334417 h 1538630"/>
                <a:gd name="csX870" fmla="*/ 109366 w 1609516"/>
                <a:gd name="csY870" fmla="*/ 336046 h 1538630"/>
                <a:gd name="csX871" fmla="*/ 109463 w 1609516"/>
                <a:gd name="csY871" fmla="*/ 336020 h 1538630"/>
                <a:gd name="csX872" fmla="*/ 109463 w 1609516"/>
                <a:gd name="csY872" fmla="*/ 336118 h 1538630"/>
                <a:gd name="csX873" fmla="*/ 115226 w 1609516"/>
                <a:gd name="csY873" fmla="*/ 340394 h 1538630"/>
                <a:gd name="csX874" fmla="*/ 114010 w 1609516"/>
                <a:gd name="csY874" fmla="*/ 340120 h 1538630"/>
                <a:gd name="csX875" fmla="*/ 133285 w 1609516"/>
                <a:gd name="csY875" fmla="*/ 357423 h 1538630"/>
                <a:gd name="csX876" fmla="*/ 173509 w 1609516"/>
                <a:gd name="csY876" fmla="*/ 389571 h 1538630"/>
                <a:gd name="csX877" fmla="*/ 181711 w 1609516"/>
                <a:gd name="csY877" fmla="*/ 393270 h 1538630"/>
                <a:gd name="csX878" fmla="*/ 185507 w 1609516"/>
                <a:gd name="csY878" fmla="*/ 394976 h 1538630"/>
                <a:gd name="csX879" fmla="*/ 192658 w 1609516"/>
                <a:gd name="csY879" fmla="*/ 398257 h 1538630"/>
                <a:gd name="csX880" fmla="*/ 195966 w 1609516"/>
                <a:gd name="csY880" fmla="*/ 399788 h 1538630"/>
                <a:gd name="csX881" fmla="*/ 198833 w 1609516"/>
                <a:gd name="csY881" fmla="*/ 401131 h 1538630"/>
                <a:gd name="csX882" fmla="*/ 207877 w 1609516"/>
                <a:gd name="csY882" fmla="*/ 403663 h 1538630"/>
                <a:gd name="csX883" fmla="*/ 207877 w 1609516"/>
                <a:gd name="csY883" fmla="*/ 406481 h 1538630"/>
                <a:gd name="csX884" fmla="*/ 248492 w 1609516"/>
                <a:gd name="csY884" fmla="*/ 419428 h 1538630"/>
                <a:gd name="csX885" fmla="*/ 253965 w 1609516"/>
                <a:gd name="csY885" fmla="*/ 421000 h 1538630"/>
                <a:gd name="csX886" fmla="*/ 267237 w 1609516"/>
                <a:gd name="csY886" fmla="*/ 424801 h 1538630"/>
                <a:gd name="csX887" fmla="*/ 267237 w 1609516"/>
                <a:gd name="csY887" fmla="*/ 426451 h 1538630"/>
                <a:gd name="csX888" fmla="*/ 288701 w 1609516"/>
                <a:gd name="csY888" fmla="*/ 429217 h 1538630"/>
                <a:gd name="csX889" fmla="*/ 288701 w 1609516"/>
                <a:gd name="csY889" fmla="*/ 432036 h 1538630"/>
                <a:gd name="csX890" fmla="*/ 327010 w 1609516"/>
                <a:gd name="csY890" fmla="*/ 433628 h 1538630"/>
                <a:gd name="csX891" fmla="*/ 337486 w 1609516"/>
                <a:gd name="csY891" fmla="*/ 433637 h 1538630"/>
                <a:gd name="csX892" fmla="*/ 344229 w 1609516"/>
                <a:gd name="csY892" fmla="*/ 433632 h 1538630"/>
                <a:gd name="csX893" fmla="*/ 350323 w 1609516"/>
                <a:gd name="csY893" fmla="*/ 433627 h 1538630"/>
                <a:gd name="csX894" fmla="*/ 365245 w 1609516"/>
                <a:gd name="csY894" fmla="*/ 432036 h 1538630"/>
                <a:gd name="csX895" fmla="*/ 360797 w 1609516"/>
                <a:gd name="csY895" fmla="*/ 433759 h 1538630"/>
                <a:gd name="csX896" fmla="*/ 365650 w 1609516"/>
                <a:gd name="csY896" fmla="*/ 433257 h 1538630"/>
                <a:gd name="csX897" fmla="*/ 367213 w 1609516"/>
                <a:gd name="csY897" fmla="*/ 429029 h 1538630"/>
                <a:gd name="csX898" fmla="*/ 375188 w 1609516"/>
                <a:gd name="csY898" fmla="*/ 424906 h 1538630"/>
                <a:gd name="csX899" fmla="*/ 404704 w 1609516"/>
                <a:gd name="csY899" fmla="*/ 389571 h 1538630"/>
                <a:gd name="csX900" fmla="*/ 406265 w 1609516"/>
                <a:gd name="csY900" fmla="*/ 388161 h 1538630"/>
                <a:gd name="csX901" fmla="*/ 406559 w 1609516"/>
                <a:gd name="csY901" fmla="*/ 370106 h 1538630"/>
                <a:gd name="csX902" fmla="*/ 406617 w 1609516"/>
                <a:gd name="csY902" fmla="*/ 364973 h 1538630"/>
                <a:gd name="csX903" fmla="*/ 406626 w 1609516"/>
                <a:gd name="csY903" fmla="*/ 360038 h 1538630"/>
                <a:gd name="csX904" fmla="*/ 406645 w 1609516"/>
                <a:gd name="csY904" fmla="*/ 355503 h 1538630"/>
                <a:gd name="csX905" fmla="*/ 403142 w 1609516"/>
                <a:gd name="csY905" fmla="*/ 345885 h 1538630"/>
                <a:gd name="csX906" fmla="*/ 401579 w 1609516"/>
                <a:gd name="csY906" fmla="*/ 338663 h 1538630"/>
                <a:gd name="csX907" fmla="*/ 390938 w 1609516"/>
                <a:gd name="csY907" fmla="*/ 315939 h 1538630"/>
                <a:gd name="csX908" fmla="*/ 388976 w 1609516"/>
                <a:gd name="csY908" fmla="*/ 312762 h 1538630"/>
                <a:gd name="csX909" fmla="*/ 377934 w 1609516"/>
                <a:gd name="csY909" fmla="*/ 297817 h 1538630"/>
                <a:gd name="csX910" fmla="*/ 368775 w 1609516"/>
                <a:gd name="csY910" fmla="*/ 282470 h 1538630"/>
                <a:gd name="csX911" fmla="*/ 359890 w 1609516"/>
                <a:gd name="csY911" fmla="*/ 271284 h 1538630"/>
                <a:gd name="csX912" fmla="*/ 357374 w 1609516"/>
                <a:gd name="csY912" fmla="*/ 268288 h 1538630"/>
                <a:gd name="csX913" fmla="*/ 337533 w 1609516"/>
                <a:gd name="csY913" fmla="*/ 248649 h 1538630"/>
                <a:gd name="csX914" fmla="*/ 335214 w 1609516"/>
                <a:gd name="csY914" fmla="*/ 246369 h 1538630"/>
                <a:gd name="csX915" fmla="*/ 327085 w 1609516"/>
                <a:gd name="csY915" fmla="*/ 242571 h 1538630"/>
                <a:gd name="csX916" fmla="*/ 288785 w 1609516"/>
                <a:gd name="csY916" fmla="*/ 207968 h 1538630"/>
                <a:gd name="csX917" fmla="*/ 286373 w 1609516"/>
                <a:gd name="csY917" fmla="*/ 192544 h 1538630"/>
                <a:gd name="csX918" fmla="*/ 286385 w 1609516"/>
                <a:gd name="csY918" fmla="*/ 189190 h 1538630"/>
                <a:gd name="csX919" fmla="*/ 300042 w 1609516"/>
                <a:gd name="csY919" fmla="*/ 164095 h 1538630"/>
                <a:gd name="csX920" fmla="*/ 302757 w 1609516"/>
                <a:gd name="csY920" fmla="*/ 161381 h 1538630"/>
                <a:gd name="csX921" fmla="*/ 338411 w 1609516"/>
                <a:gd name="csY921" fmla="*/ 152293 h 1538630"/>
                <a:gd name="csX922" fmla="*/ 368482 w 1609516"/>
                <a:gd name="csY922" fmla="*/ 161893 h 1538630"/>
                <a:gd name="csX923" fmla="*/ 371899 w 1609516"/>
                <a:gd name="csY923" fmla="*/ 165505 h 1538630"/>
                <a:gd name="csX924" fmla="*/ 375121 w 1609516"/>
                <a:gd name="csY924" fmla="*/ 168587 h 1538630"/>
                <a:gd name="csX925" fmla="*/ 384982 w 1609516"/>
                <a:gd name="csY925" fmla="*/ 193777 h 1538630"/>
                <a:gd name="csX926" fmla="*/ 390352 w 1609516"/>
                <a:gd name="csY926" fmla="*/ 214563 h 1538630"/>
                <a:gd name="csX927" fmla="*/ 391529 w 1609516"/>
                <a:gd name="csY927" fmla="*/ 217626 h 1538630"/>
                <a:gd name="csX928" fmla="*/ 401579 w 1609516"/>
                <a:gd name="csY928" fmla="*/ 234556 h 1538630"/>
                <a:gd name="csX929" fmla="*/ 401579 w 1609516"/>
                <a:gd name="csY929" fmla="*/ 238784 h 1538630"/>
                <a:gd name="csX930" fmla="*/ 404215 w 1609516"/>
                <a:gd name="csY930" fmla="*/ 239753 h 1538630"/>
                <a:gd name="csX931" fmla="*/ 417811 w 1609516"/>
                <a:gd name="csY931" fmla="*/ 251996 h 1538630"/>
                <a:gd name="csX932" fmla="*/ 426866 w 1609516"/>
                <a:gd name="csY932" fmla="*/ 262300 h 1538630"/>
                <a:gd name="csX933" fmla="*/ 450097 w 1609516"/>
                <a:gd name="csY933" fmla="*/ 287628 h 1538630"/>
                <a:gd name="csX934" fmla="*/ 457425 w 1609516"/>
                <a:gd name="csY934" fmla="*/ 293920 h 1538630"/>
                <a:gd name="csX935" fmla="*/ 460940 w 1609516"/>
                <a:gd name="csY935" fmla="*/ 296562 h 1538630"/>
                <a:gd name="csX936" fmla="*/ 460940 w 1609516"/>
                <a:gd name="csY936" fmla="*/ 300790 h 1538630"/>
                <a:gd name="csX937" fmla="*/ 473437 w 1609516"/>
                <a:gd name="csY937" fmla="*/ 305018 h 1538630"/>
                <a:gd name="csX938" fmla="*/ 473437 w 1609516"/>
                <a:gd name="csY938" fmla="*/ 307836 h 1538630"/>
                <a:gd name="csX939" fmla="*/ 479881 w 1609516"/>
                <a:gd name="csY939" fmla="*/ 309862 h 1538630"/>
                <a:gd name="csX940" fmla="*/ 483505 w 1609516"/>
                <a:gd name="csY940" fmla="*/ 311001 h 1538630"/>
                <a:gd name="csX941" fmla="*/ 548419 w 1609516"/>
                <a:gd name="csY941" fmla="*/ 306427 h 1538630"/>
                <a:gd name="csX942" fmla="*/ 551842 w 1609516"/>
                <a:gd name="csY942" fmla="*/ 305127 h 1538630"/>
                <a:gd name="csX943" fmla="*/ 560232 w 1609516"/>
                <a:gd name="csY943" fmla="*/ 298148 h 1538630"/>
                <a:gd name="csX944" fmla="*/ 562972 w 1609516"/>
                <a:gd name="csY944" fmla="*/ 295252 h 1538630"/>
                <a:gd name="csX945" fmla="*/ 568086 w 1609516"/>
                <a:gd name="csY945" fmla="*/ 289152 h 1538630"/>
                <a:gd name="csX946" fmla="*/ 570289 w 1609516"/>
                <a:gd name="csY946" fmla="*/ 286697 h 1538630"/>
                <a:gd name="csX947" fmla="*/ 573413 w 1609516"/>
                <a:gd name="csY947" fmla="*/ 286697 h 1538630"/>
                <a:gd name="csX948" fmla="*/ 577220 w 1609516"/>
                <a:gd name="csY948" fmla="*/ 257016 h 1538630"/>
                <a:gd name="csX949" fmla="*/ 577235 w 1609516"/>
                <a:gd name="csY949" fmla="*/ 254206 h 1538630"/>
                <a:gd name="csX950" fmla="*/ 569443 w 1609516"/>
                <a:gd name="csY950" fmla="*/ 206049 h 1538630"/>
                <a:gd name="csX951" fmla="*/ 568726 w 1609516"/>
                <a:gd name="csY951" fmla="*/ 200735 h 1538630"/>
                <a:gd name="csX952" fmla="*/ 565602 w 1609516"/>
                <a:gd name="csY952" fmla="*/ 200735 h 1538630"/>
                <a:gd name="csX953" fmla="*/ 559549 w 1609516"/>
                <a:gd name="csY953" fmla="*/ 184441 h 1538630"/>
                <a:gd name="csX954" fmla="*/ 537484 w 1609516"/>
                <a:gd name="csY954" fmla="*/ 159867 h 1538630"/>
                <a:gd name="csX955" fmla="*/ 531235 w 1609516"/>
                <a:gd name="csY955" fmla="*/ 154230 h 1538630"/>
                <a:gd name="csX956" fmla="*/ 531235 w 1609516"/>
                <a:gd name="csY956" fmla="*/ 151412 h 1538630"/>
                <a:gd name="csX957" fmla="*/ 526549 w 1609516"/>
                <a:gd name="csY957" fmla="*/ 150003 h 1538630"/>
                <a:gd name="csX958" fmla="*/ 524304 w 1609516"/>
                <a:gd name="csY958" fmla="*/ 107198 h 1538630"/>
                <a:gd name="csX959" fmla="*/ 547052 w 1609516"/>
                <a:gd name="csY959" fmla="*/ 85972 h 1538630"/>
                <a:gd name="csX960" fmla="*/ 588460 w 1609516"/>
                <a:gd name="csY960" fmla="*/ 83538 h 1538630"/>
                <a:gd name="csX961" fmla="*/ 617152 w 1609516"/>
                <a:gd name="csY961" fmla="*/ 111954 h 1538630"/>
                <a:gd name="csX962" fmla="*/ 617884 w 1609516"/>
                <a:gd name="csY962" fmla="*/ 124175 h 1538630"/>
                <a:gd name="csX963" fmla="*/ 617917 w 1609516"/>
                <a:gd name="csY963" fmla="*/ 127607 h 1538630"/>
                <a:gd name="csX964" fmla="*/ 617919 w 1609516"/>
                <a:gd name="csY964" fmla="*/ 141969 h 1538630"/>
                <a:gd name="csX965" fmla="*/ 630625 w 1609516"/>
                <a:gd name="csY965" fmla="*/ 191311 h 1538630"/>
                <a:gd name="csX966" fmla="*/ 637850 w 1609516"/>
                <a:gd name="csY966" fmla="*/ 205139 h 1538630"/>
                <a:gd name="csX967" fmla="*/ 643708 w 1609516"/>
                <a:gd name="csY967" fmla="*/ 212009 h 1538630"/>
                <a:gd name="csX968" fmla="*/ 647027 w 1609516"/>
                <a:gd name="csY968" fmla="*/ 217645 h 1538630"/>
                <a:gd name="csX969" fmla="*/ 670264 w 1609516"/>
                <a:gd name="csY969" fmla="*/ 241603 h 1538630"/>
                <a:gd name="csX970" fmla="*/ 670264 w 1609516"/>
                <a:gd name="csY970" fmla="*/ 244421 h 1538630"/>
                <a:gd name="csX971" fmla="*/ 675634 w 1609516"/>
                <a:gd name="csY971" fmla="*/ 245742 h 1538630"/>
                <a:gd name="csX972" fmla="*/ 682761 w 1609516"/>
                <a:gd name="csY972" fmla="*/ 248649 h 1538630"/>
                <a:gd name="csX973" fmla="*/ 752092 w 1609516"/>
                <a:gd name="csY973" fmla="*/ 245076 h 1538630"/>
                <a:gd name="csX974" fmla="*/ 758433 w 1609516"/>
                <a:gd name="csY974" fmla="*/ 240485 h 1538630"/>
                <a:gd name="csX975" fmla="*/ 763991 w 1609516"/>
                <a:gd name="csY975" fmla="*/ 238784 h 1538630"/>
                <a:gd name="csX976" fmla="*/ 765315 w 1609516"/>
                <a:gd name="csY976" fmla="*/ 235778 h 1538630"/>
                <a:gd name="csX977" fmla="*/ 770923 w 1609516"/>
                <a:gd name="csY977" fmla="*/ 223459 h 1538630"/>
                <a:gd name="csX978" fmla="*/ 772998 w 1609516"/>
                <a:gd name="csY978" fmla="*/ 218934 h 1538630"/>
                <a:gd name="csX979" fmla="*/ 777562 w 1609516"/>
                <a:gd name="csY979" fmla="*/ 209895 h 1538630"/>
                <a:gd name="csX980" fmla="*/ 781175 w 1609516"/>
                <a:gd name="csY980" fmla="*/ 124637 h 1538630"/>
                <a:gd name="csX981" fmla="*/ 778051 w 1609516"/>
                <a:gd name="csY981" fmla="*/ 124637 h 1538630"/>
                <a:gd name="csX982" fmla="*/ 767116 w 1609516"/>
                <a:gd name="csY982" fmla="*/ 79542 h 1538630"/>
                <a:gd name="csX983" fmla="*/ 793379 w 1609516"/>
                <a:gd name="csY983" fmla="*/ 54000 h 1538630"/>
                <a:gd name="csX984" fmla="*/ 840688 w 1609516"/>
                <a:gd name="csY984" fmla="*/ 55503 h 1538630"/>
                <a:gd name="csX985" fmla="*/ 851470 w 1609516"/>
                <a:gd name="csY985" fmla="*/ 64040 h 1538630"/>
                <a:gd name="csX986" fmla="*/ 853997 w 1609516"/>
                <a:gd name="csY986" fmla="*/ 66529 h 1538630"/>
                <a:gd name="csX987" fmla="*/ 861488 w 1609516"/>
                <a:gd name="csY987" fmla="*/ 82057 h 1538630"/>
                <a:gd name="csX988" fmla="*/ 861937 w 1609516"/>
                <a:gd name="csY988" fmla="*/ 90492 h 1538630"/>
                <a:gd name="csX989" fmla="*/ 863826 w 1609516"/>
                <a:gd name="csY989" fmla="*/ 100715 h 1538630"/>
                <a:gd name="csX990" fmla="*/ 857577 w 1609516"/>
                <a:gd name="csY990" fmla="*/ 121853 h 1538630"/>
                <a:gd name="csX991" fmla="*/ 856015 w 1609516"/>
                <a:gd name="csY991" fmla="*/ 121853 h 1538630"/>
                <a:gd name="csX992" fmla="*/ 855442 w 1609516"/>
                <a:gd name="csY992" fmla="*/ 118919 h 1538630"/>
                <a:gd name="csX993" fmla="*/ 855417 w 1609516"/>
                <a:gd name="csY993" fmla="*/ 118798 h 1538630"/>
                <a:gd name="csX994" fmla="*/ 856157 w 1609516"/>
                <a:gd name="csY994" fmla="*/ 124637 h 1538630"/>
                <a:gd name="csX995" fmla="*/ 850623 w 1609516"/>
                <a:gd name="csY995" fmla="*/ 134701 h 1538630"/>
                <a:gd name="csX996" fmla="*/ 851325 w 1609516"/>
                <a:gd name="csY996" fmla="*/ 135968 h 1538630"/>
                <a:gd name="csX997" fmla="*/ 849886 w 1609516"/>
                <a:gd name="csY997" fmla="*/ 139843 h 1538630"/>
                <a:gd name="csX998" fmla="*/ 847786 w 1609516"/>
                <a:gd name="csY998" fmla="*/ 152889 h 1538630"/>
                <a:gd name="csX999" fmla="*/ 847767 w 1609516"/>
                <a:gd name="csY999" fmla="*/ 157768 h 1538630"/>
                <a:gd name="csX1000" fmla="*/ 847810 w 1609516"/>
                <a:gd name="csY1000" fmla="*/ 162919 h 1538630"/>
                <a:gd name="csX1001" fmla="*/ 847832 w 1609516"/>
                <a:gd name="csY1001" fmla="*/ 168227 h 1538630"/>
                <a:gd name="csX1002" fmla="*/ 850903 w 1609516"/>
                <a:gd name="csY1002" fmla="*/ 209013 h 1538630"/>
                <a:gd name="csX1003" fmla="*/ 852880 w 1609516"/>
                <a:gd name="csY1003" fmla="*/ 224692 h 1538630"/>
                <a:gd name="csX1004" fmla="*/ 854595 w 1609516"/>
                <a:gd name="csY1004" fmla="*/ 224692 h 1538630"/>
                <a:gd name="csX1005" fmla="*/ 856083 w 1609516"/>
                <a:gd name="csY1005" fmla="*/ 227268 h 1538630"/>
                <a:gd name="csX1006" fmla="*/ 879588 w 1609516"/>
                <a:gd name="csY1006" fmla="*/ 247239 h 1538630"/>
                <a:gd name="csX1007" fmla="*/ 885739 w 1609516"/>
                <a:gd name="csY1007" fmla="*/ 249618 h 1538630"/>
                <a:gd name="csX1008" fmla="*/ 890523 w 1609516"/>
                <a:gd name="csY1008" fmla="*/ 251467 h 1538630"/>
                <a:gd name="csX1009" fmla="*/ 890523 w 1609516"/>
                <a:gd name="csY1009" fmla="*/ 254285 h 1538630"/>
                <a:gd name="csX1010" fmla="*/ 920203 w 1609516"/>
                <a:gd name="csY1010" fmla="*/ 261332 h 1538630"/>
                <a:gd name="csX1011" fmla="*/ 920203 w 1609516"/>
                <a:gd name="csY1011" fmla="*/ 262741 h 1538630"/>
                <a:gd name="csX1012" fmla="*/ 910831 w 1609516"/>
                <a:gd name="csY1012" fmla="*/ 262741 h 1538630"/>
                <a:gd name="csX1013" fmla="*/ 910831 w 1609516"/>
                <a:gd name="csY1013" fmla="*/ 262864 h 1538630"/>
                <a:gd name="csX1014" fmla="*/ 927993 w 1609516"/>
                <a:gd name="csY1014" fmla="*/ 264177 h 1538630"/>
                <a:gd name="csX1015" fmla="*/ 939273 w 1609516"/>
                <a:gd name="csY1015" fmla="*/ 265285 h 1538630"/>
                <a:gd name="csX1016" fmla="*/ 940456 w 1609516"/>
                <a:gd name="csY1016" fmla="*/ 265191 h 1538630"/>
                <a:gd name="csX1017" fmla="*/ 991622 w 1609516"/>
                <a:gd name="csY1017" fmla="*/ 242329 h 1538630"/>
                <a:gd name="csX1018" fmla="*/ 1000803 w 1609516"/>
                <a:gd name="csY1018" fmla="*/ 236505 h 1538630"/>
                <a:gd name="csX1019" fmla="*/ 999806 w 1609516"/>
                <a:gd name="csY1019" fmla="*/ 236055 h 1538630"/>
                <a:gd name="csX1020" fmla="*/ 1003126 w 1609516"/>
                <a:gd name="csY1020" fmla="*/ 232851 h 1538630"/>
                <a:gd name="csX1021" fmla="*/ 1029487 w 1609516"/>
                <a:gd name="csY1021" fmla="*/ 205052 h 1538630"/>
                <a:gd name="csX1022" fmla="*/ 1029872 w 1609516"/>
                <a:gd name="csY1022" fmla="*/ 206442 h 1538630"/>
                <a:gd name="csX1023" fmla="*/ 1031614 w 1609516"/>
                <a:gd name="csY1023" fmla="*/ 203719 h 1538630"/>
                <a:gd name="csX1024" fmla="*/ 1038924 w 1609516"/>
                <a:gd name="csY1024" fmla="*/ 192280 h 1538630"/>
                <a:gd name="csX1025" fmla="*/ 1042049 w 1609516"/>
                <a:gd name="csY1025" fmla="*/ 190870 h 1538630"/>
                <a:gd name="csX1026" fmla="*/ 1044294 w 1609516"/>
                <a:gd name="csY1026" fmla="*/ 186026 h 1538630"/>
                <a:gd name="csX1027" fmla="*/ 1051422 w 1609516"/>
                <a:gd name="csY1027" fmla="*/ 178188 h 1538630"/>
                <a:gd name="csX1028" fmla="*/ 1052984 w 1609516"/>
                <a:gd name="csY1028" fmla="*/ 172551 h 1538630"/>
                <a:gd name="csX1029" fmla="*/ 1056108 w 1609516"/>
                <a:gd name="csY1029" fmla="*/ 172551 h 1538630"/>
                <a:gd name="csX1030" fmla="*/ 1059232 w 1609516"/>
                <a:gd name="csY1030" fmla="*/ 162686 h 1538630"/>
                <a:gd name="csX1031" fmla="*/ 1062357 w 1609516"/>
                <a:gd name="csY1031" fmla="*/ 162686 h 1538630"/>
                <a:gd name="csX1032" fmla="*/ 1063162 w 1609516"/>
                <a:gd name="csY1032" fmla="*/ 160258 h 1538630"/>
                <a:gd name="csX1033" fmla="*/ 1073292 w 1609516"/>
                <a:gd name="csY1033" fmla="*/ 140138 h 1538630"/>
                <a:gd name="csX1034" fmla="*/ 1076415 w 1609516"/>
                <a:gd name="csY1034" fmla="*/ 140138 h 1538630"/>
                <a:gd name="csX1035" fmla="*/ 1085294 w 1609516"/>
                <a:gd name="csY1035" fmla="*/ 117569 h 1538630"/>
                <a:gd name="csX1036" fmla="*/ 1087350 w 1609516"/>
                <a:gd name="csY1036" fmla="*/ 113363 h 1538630"/>
                <a:gd name="csX1037" fmla="*/ 1092037 w 1609516"/>
                <a:gd name="csY1037" fmla="*/ 111954 h 1538630"/>
                <a:gd name="csX1038" fmla="*/ 1092623 w 1609516"/>
                <a:gd name="csY1038" fmla="*/ 108695 h 1538630"/>
                <a:gd name="csX1039" fmla="*/ 1096723 w 1609516"/>
                <a:gd name="csY1039" fmla="*/ 100680 h 1538630"/>
                <a:gd name="csX1040" fmla="*/ 1098188 w 1609516"/>
                <a:gd name="csY1040" fmla="*/ 96013 h 1538630"/>
                <a:gd name="csX1041" fmla="*/ 1102288 w 1609516"/>
                <a:gd name="csY1041" fmla="*/ 87029 h 1538630"/>
                <a:gd name="csX1042" fmla="*/ 1104534 w 1609516"/>
                <a:gd name="csY1042" fmla="*/ 61222 h 1538630"/>
                <a:gd name="csX1043" fmla="*/ 1104381 w 1609516"/>
                <a:gd name="csY1043" fmla="*/ 55569 h 1538630"/>
                <a:gd name="csX1044" fmla="*/ 1104397 w 1609516"/>
                <a:gd name="csY1044" fmla="*/ 52335 h 1538630"/>
                <a:gd name="csX1045" fmla="*/ 1104436 w 1609516"/>
                <a:gd name="csY1045" fmla="*/ 48979 h 1538630"/>
                <a:gd name="csX1046" fmla="*/ 1104457 w 1609516"/>
                <a:gd name="csY1046" fmla="*/ 45575 h 1538630"/>
                <a:gd name="csX1047" fmla="*/ 1104534 w 1609516"/>
                <a:gd name="csY1047" fmla="*/ 37265 h 1538630"/>
                <a:gd name="csX1048" fmla="*/ 1107658 w 1609516"/>
                <a:gd name="csY1048" fmla="*/ 37265 h 1538630"/>
                <a:gd name="csX1049" fmla="*/ 1107463 w 1609516"/>
                <a:gd name="csY1049" fmla="*/ 31805 h 1538630"/>
                <a:gd name="csX1050" fmla="*/ 1107658 w 1609516"/>
                <a:gd name="csY1050" fmla="*/ 25991 h 1538630"/>
                <a:gd name="csX1051" fmla="*/ 1110782 w 1609516"/>
                <a:gd name="csY1051" fmla="*/ 23173 h 1538630"/>
                <a:gd name="csX1052" fmla="*/ 1111759 w 1609516"/>
                <a:gd name="csY1052" fmla="*/ 20091 h 1538630"/>
                <a:gd name="csX1053" fmla="*/ 1134507 w 1609516"/>
                <a:gd name="csY1053" fmla="*/ 2828 h 1538630"/>
                <a:gd name="csX1054" fmla="*/ 1155019 w 1609516"/>
                <a:gd name="csY1054" fmla="*/ 35 h 153863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  <a:cxn ang="0">
                  <a:pos x="csX16" y="csY16"/>
                </a:cxn>
                <a:cxn ang="0">
                  <a:pos x="csX17" y="csY17"/>
                </a:cxn>
                <a:cxn ang="0">
                  <a:pos x="csX18" y="csY18"/>
                </a:cxn>
                <a:cxn ang="0">
                  <a:pos x="csX19" y="csY19"/>
                </a:cxn>
                <a:cxn ang="0">
                  <a:pos x="csX20" y="csY20"/>
                </a:cxn>
                <a:cxn ang="0">
                  <a:pos x="csX21" y="csY21"/>
                </a:cxn>
                <a:cxn ang="0">
                  <a:pos x="csX22" y="csY22"/>
                </a:cxn>
                <a:cxn ang="0">
                  <a:pos x="csX23" y="csY23"/>
                </a:cxn>
                <a:cxn ang="0">
                  <a:pos x="csX24" y="csY24"/>
                </a:cxn>
                <a:cxn ang="0">
                  <a:pos x="csX25" y="csY25"/>
                </a:cxn>
                <a:cxn ang="0">
                  <a:pos x="csX26" y="csY26"/>
                </a:cxn>
                <a:cxn ang="0">
                  <a:pos x="csX27" y="csY27"/>
                </a:cxn>
                <a:cxn ang="0">
                  <a:pos x="csX28" y="csY28"/>
                </a:cxn>
                <a:cxn ang="0">
                  <a:pos x="csX29" y="csY29"/>
                </a:cxn>
                <a:cxn ang="0">
                  <a:pos x="csX30" y="csY30"/>
                </a:cxn>
                <a:cxn ang="0">
                  <a:pos x="csX31" y="csY31"/>
                </a:cxn>
                <a:cxn ang="0">
                  <a:pos x="csX32" y="csY32"/>
                </a:cxn>
                <a:cxn ang="0">
                  <a:pos x="csX33" y="csY33"/>
                </a:cxn>
                <a:cxn ang="0">
                  <a:pos x="csX34" y="csY34"/>
                </a:cxn>
                <a:cxn ang="0">
                  <a:pos x="csX35" y="csY35"/>
                </a:cxn>
                <a:cxn ang="0">
                  <a:pos x="csX36" y="csY36"/>
                </a:cxn>
                <a:cxn ang="0">
                  <a:pos x="csX37" y="csY37"/>
                </a:cxn>
                <a:cxn ang="0">
                  <a:pos x="csX38" y="csY38"/>
                </a:cxn>
                <a:cxn ang="0">
                  <a:pos x="csX39" y="csY39"/>
                </a:cxn>
                <a:cxn ang="0">
                  <a:pos x="csX40" y="csY40"/>
                </a:cxn>
                <a:cxn ang="0">
                  <a:pos x="csX41" y="csY41"/>
                </a:cxn>
                <a:cxn ang="0">
                  <a:pos x="csX42" y="csY42"/>
                </a:cxn>
                <a:cxn ang="0">
                  <a:pos x="csX43" y="csY43"/>
                </a:cxn>
                <a:cxn ang="0">
                  <a:pos x="csX44" y="csY44"/>
                </a:cxn>
                <a:cxn ang="0">
                  <a:pos x="csX45" y="csY45"/>
                </a:cxn>
                <a:cxn ang="0">
                  <a:pos x="csX46" y="csY46"/>
                </a:cxn>
                <a:cxn ang="0">
                  <a:pos x="csX47" y="csY47"/>
                </a:cxn>
                <a:cxn ang="0">
                  <a:pos x="csX48" y="csY48"/>
                </a:cxn>
                <a:cxn ang="0">
                  <a:pos x="csX49" y="csY49"/>
                </a:cxn>
                <a:cxn ang="0">
                  <a:pos x="csX50" y="csY50"/>
                </a:cxn>
                <a:cxn ang="0">
                  <a:pos x="csX51" y="csY51"/>
                </a:cxn>
                <a:cxn ang="0">
                  <a:pos x="csX52" y="csY52"/>
                </a:cxn>
                <a:cxn ang="0">
                  <a:pos x="csX53" y="csY53"/>
                </a:cxn>
                <a:cxn ang="0">
                  <a:pos x="csX54" y="csY54"/>
                </a:cxn>
                <a:cxn ang="0">
                  <a:pos x="csX55" y="csY55"/>
                </a:cxn>
                <a:cxn ang="0">
                  <a:pos x="csX56" y="csY56"/>
                </a:cxn>
                <a:cxn ang="0">
                  <a:pos x="csX57" y="csY57"/>
                </a:cxn>
                <a:cxn ang="0">
                  <a:pos x="csX58" y="csY58"/>
                </a:cxn>
                <a:cxn ang="0">
                  <a:pos x="csX59" y="csY59"/>
                </a:cxn>
                <a:cxn ang="0">
                  <a:pos x="csX60" y="csY60"/>
                </a:cxn>
                <a:cxn ang="0">
                  <a:pos x="csX61" y="csY61"/>
                </a:cxn>
                <a:cxn ang="0">
                  <a:pos x="csX62" y="csY62"/>
                </a:cxn>
                <a:cxn ang="0">
                  <a:pos x="csX63" y="csY63"/>
                </a:cxn>
                <a:cxn ang="0">
                  <a:pos x="csX64" y="csY64"/>
                </a:cxn>
                <a:cxn ang="0">
                  <a:pos x="csX65" y="csY65"/>
                </a:cxn>
                <a:cxn ang="0">
                  <a:pos x="csX66" y="csY66"/>
                </a:cxn>
                <a:cxn ang="0">
                  <a:pos x="csX67" y="csY67"/>
                </a:cxn>
                <a:cxn ang="0">
                  <a:pos x="csX68" y="csY68"/>
                </a:cxn>
                <a:cxn ang="0">
                  <a:pos x="csX69" y="csY69"/>
                </a:cxn>
                <a:cxn ang="0">
                  <a:pos x="csX70" y="csY70"/>
                </a:cxn>
                <a:cxn ang="0">
                  <a:pos x="csX71" y="csY71"/>
                </a:cxn>
                <a:cxn ang="0">
                  <a:pos x="csX72" y="csY72"/>
                </a:cxn>
                <a:cxn ang="0">
                  <a:pos x="csX73" y="csY73"/>
                </a:cxn>
                <a:cxn ang="0">
                  <a:pos x="csX74" y="csY74"/>
                </a:cxn>
                <a:cxn ang="0">
                  <a:pos x="csX75" y="csY75"/>
                </a:cxn>
                <a:cxn ang="0">
                  <a:pos x="csX76" y="csY76"/>
                </a:cxn>
                <a:cxn ang="0">
                  <a:pos x="csX77" y="csY77"/>
                </a:cxn>
                <a:cxn ang="0">
                  <a:pos x="csX78" y="csY78"/>
                </a:cxn>
                <a:cxn ang="0">
                  <a:pos x="csX79" y="csY79"/>
                </a:cxn>
                <a:cxn ang="0">
                  <a:pos x="csX80" y="csY80"/>
                </a:cxn>
                <a:cxn ang="0">
                  <a:pos x="csX81" y="csY81"/>
                </a:cxn>
                <a:cxn ang="0">
                  <a:pos x="csX82" y="csY82"/>
                </a:cxn>
                <a:cxn ang="0">
                  <a:pos x="csX83" y="csY83"/>
                </a:cxn>
                <a:cxn ang="0">
                  <a:pos x="csX84" y="csY84"/>
                </a:cxn>
                <a:cxn ang="0">
                  <a:pos x="csX85" y="csY85"/>
                </a:cxn>
                <a:cxn ang="0">
                  <a:pos x="csX86" y="csY86"/>
                </a:cxn>
                <a:cxn ang="0">
                  <a:pos x="csX87" y="csY87"/>
                </a:cxn>
                <a:cxn ang="0">
                  <a:pos x="csX88" y="csY88"/>
                </a:cxn>
                <a:cxn ang="0">
                  <a:pos x="csX89" y="csY89"/>
                </a:cxn>
                <a:cxn ang="0">
                  <a:pos x="csX90" y="csY90"/>
                </a:cxn>
                <a:cxn ang="0">
                  <a:pos x="csX91" y="csY91"/>
                </a:cxn>
                <a:cxn ang="0">
                  <a:pos x="csX92" y="csY92"/>
                </a:cxn>
                <a:cxn ang="0">
                  <a:pos x="csX93" y="csY93"/>
                </a:cxn>
                <a:cxn ang="0">
                  <a:pos x="csX94" y="csY94"/>
                </a:cxn>
                <a:cxn ang="0">
                  <a:pos x="csX95" y="csY95"/>
                </a:cxn>
                <a:cxn ang="0">
                  <a:pos x="csX96" y="csY96"/>
                </a:cxn>
                <a:cxn ang="0">
                  <a:pos x="csX97" y="csY97"/>
                </a:cxn>
                <a:cxn ang="0">
                  <a:pos x="csX98" y="csY98"/>
                </a:cxn>
                <a:cxn ang="0">
                  <a:pos x="csX99" y="csY99"/>
                </a:cxn>
                <a:cxn ang="0">
                  <a:pos x="csX100" y="csY100"/>
                </a:cxn>
                <a:cxn ang="0">
                  <a:pos x="csX101" y="csY101"/>
                </a:cxn>
                <a:cxn ang="0">
                  <a:pos x="csX102" y="csY102"/>
                </a:cxn>
                <a:cxn ang="0">
                  <a:pos x="csX103" y="csY103"/>
                </a:cxn>
                <a:cxn ang="0">
                  <a:pos x="csX104" y="csY104"/>
                </a:cxn>
                <a:cxn ang="0">
                  <a:pos x="csX105" y="csY105"/>
                </a:cxn>
                <a:cxn ang="0">
                  <a:pos x="csX106" y="csY106"/>
                </a:cxn>
                <a:cxn ang="0">
                  <a:pos x="csX107" y="csY107"/>
                </a:cxn>
                <a:cxn ang="0">
                  <a:pos x="csX108" y="csY108"/>
                </a:cxn>
                <a:cxn ang="0">
                  <a:pos x="csX109" y="csY109"/>
                </a:cxn>
                <a:cxn ang="0">
                  <a:pos x="csX110" y="csY110"/>
                </a:cxn>
                <a:cxn ang="0">
                  <a:pos x="csX111" y="csY111"/>
                </a:cxn>
                <a:cxn ang="0">
                  <a:pos x="csX112" y="csY112"/>
                </a:cxn>
                <a:cxn ang="0">
                  <a:pos x="csX113" y="csY113"/>
                </a:cxn>
                <a:cxn ang="0">
                  <a:pos x="csX114" y="csY114"/>
                </a:cxn>
                <a:cxn ang="0">
                  <a:pos x="csX115" y="csY115"/>
                </a:cxn>
                <a:cxn ang="0">
                  <a:pos x="csX116" y="csY116"/>
                </a:cxn>
                <a:cxn ang="0">
                  <a:pos x="csX117" y="csY117"/>
                </a:cxn>
                <a:cxn ang="0">
                  <a:pos x="csX118" y="csY118"/>
                </a:cxn>
                <a:cxn ang="0">
                  <a:pos x="csX119" y="csY119"/>
                </a:cxn>
                <a:cxn ang="0">
                  <a:pos x="csX120" y="csY120"/>
                </a:cxn>
                <a:cxn ang="0">
                  <a:pos x="csX121" y="csY121"/>
                </a:cxn>
                <a:cxn ang="0">
                  <a:pos x="csX122" y="csY122"/>
                </a:cxn>
                <a:cxn ang="0">
                  <a:pos x="csX123" y="csY123"/>
                </a:cxn>
                <a:cxn ang="0">
                  <a:pos x="csX124" y="csY124"/>
                </a:cxn>
                <a:cxn ang="0">
                  <a:pos x="csX125" y="csY125"/>
                </a:cxn>
                <a:cxn ang="0">
                  <a:pos x="csX126" y="csY126"/>
                </a:cxn>
                <a:cxn ang="0">
                  <a:pos x="csX127" y="csY127"/>
                </a:cxn>
                <a:cxn ang="0">
                  <a:pos x="csX128" y="csY128"/>
                </a:cxn>
                <a:cxn ang="0">
                  <a:pos x="csX129" y="csY129"/>
                </a:cxn>
                <a:cxn ang="0">
                  <a:pos x="csX130" y="csY130"/>
                </a:cxn>
                <a:cxn ang="0">
                  <a:pos x="csX131" y="csY131"/>
                </a:cxn>
                <a:cxn ang="0">
                  <a:pos x="csX132" y="csY132"/>
                </a:cxn>
                <a:cxn ang="0">
                  <a:pos x="csX133" y="csY133"/>
                </a:cxn>
                <a:cxn ang="0">
                  <a:pos x="csX134" y="csY134"/>
                </a:cxn>
                <a:cxn ang="0">
                  <a:pos x="csX135" y="csY135"/>
                </a:cxn>
                <a:cxn ang="0">
                  <a:pos x="csX136" y="csY136"/>
                </a:cxn>
                <a:cxn ang="0">
                  <a:pos x="csX137" y="csY137"/>
                </a:cxn>
                <a:cxn ang="0">
                  <a:pos x="csX138" y="csY138"/>
                </a:cxn>
                <a:cxn ang="0">
                  <a:pos x="csX139" y="csY139"/>
                </a:cxn>
                <a:cxn ang="0">
                  <a:pos x="csX140" y="csY140"/>
                </a:cxn>
                <a:cxn ang="0">
                  <a:pos x="csX141" y="csY141"/>
                </a:cxn>
                <a:cxn ang="0">
                  <a:pos x="csX142" y="csY142"/>
                </a:cxn>
                <a:cxn ang="0">
                  <a:pos x="csX143" y="csY143"/>
                </a:cxn>
                <a:cxn ang="0">
                  <a:pos x="csX144" y="csY144"/>
                </a:cxn>
                <a:cxn ang="0">
                  <a:pos x="csX145" y="csY145"/>
                </a:cxn>
                <a:cxn ang="0">
                  <a:pos x="csX146" y="csY146"/>
                </a:cxn>
                <a:cxn ang="0">
                  <a:pos x="csX147" y="csY147"/>
                </a:cxn>
                <a:cxn ang="0">
                  <a:pos x="csX148" y="csY148"/>
                </a:cxn>
                <a:cxn ang="0">
                  <a:pos x="csX149" y="csY149"/>
                </a:cxn>
                <a:cxn ang="0">
                  <a:pos x="csX150" y="csY150"/>
                </a:cxn>
                <a:cxn ang="0">
                  <a:pos x="csX151" y="csY151"/>
                </a:cxn>
                <a:cxn ang="0">
                  <a:pos x="csX152" y="csY152"/>
                </a:cxn>
                <a:cxn ang="0">
                  <a:pos x="csX153" y="csY153"/>
                </a:cxn>
                <a:cxn ang="0">
                  <a:pos x="csX154" y="csY154"/>
                </a:cxn>
                <a:cxn ang="0">
                  <a:pos x="csX155" y="csY155"/>
                </a:cxn>
                <a:cxn ang="0">
                  <a:pos x="csX156" y="csY156"/>
                </a:cxn>
                <a:cxn ang="0">
                  <a:pos x="csX157" y="csY157"/>
                </a:cxn>
                <a:cxn ang="0">
                  <a:pos x="csX158" y="csY158"/>
                </a:cxn>
                <a:cxn ang="0">
                  <a:pos x="csX159" y="csY159"/>
                </a:cxn>
                <a:cxn ang="0">
                  <a:pos x="csX160" y="csY160"/>
                </a:cxn>
                <a:cxn ang="0">
                  <a:pos x="csX161" y="csY161"/>
                </a:cxn>
                <a:cxn ang="0">
                  <a:pos x="csX162" y="csY162"/>
                </a:cxn>
                <a:cxn ang="0">
                  <a:pos x="csX163" y="csY163"/>
                </a:cxn>
                <a:cxn ang="0">
                  <a:pos x="csX164" y="csY164"/>
                </a:cxn>
                <a:cxn ang="0">
                  <a:pos x="csX165" y="csY165"/>
                </a:cxn>
                <a:cxn ang="0">
                  <a:pos x="csX166" y="csY166"/>
                </a:cxn>
                <a:cxn ang="0">
                  <a:pos x="csX167" y="csY167"/>
                </a:cxn>
                <a:cxn ang="0">
                  <a:pos x="csX168" y="csY168"/>
                </a:cxn>
                <a:cxn ang="0">
                  <a:pos x="csX169" y="csY169"/>
                </a:cxn>
                <a:cxn ang="0">
                  <a:pos x="csX170" y="csY170"/>
                </a:cxn>
                <a:cxn ang="0">
                  <a:pos x="csX171" y="csY171"/>
                </a:cxn>
                <a:cxn ang="0">
                  <a:pos x="csX172" y="csY172"/>
                </a:cxn>
                <a:cxn ang="0">
                  <a:pos x="csX173" y="csY173"/>
                </a:cxn>
                <a:cxn ang="0">
                  <a:pos x="csX174" y="csY174"/>
                </a:cxn>
                <a:cxn ang="0">
                  <a:pos x="csX175" y="csY175"/>
                </a:cxn>
                <a:cxn ang="0">
                  <a:pos x="csX176" y="csY176"/>
                </a:cxn>
                <a:cxn ang="0">
                  <a:pos x="csX177" y="csY177"/>
                </a:cxn>
                <a:cxn ang="0">
                  <a:pos x="csX178" y="csY178"/>
                </a:cxn>
                <a:cxn ang="0">
                  <a:pos x="csX179" y="csY179"/>
                </a:cxn>
                <a:cxn ang="0">
                  <a:pos x="csX180" y="csY180"/>
                </a:cxn>
                <a:cxn ang="0">
                  <a:pos x="csX181" y="csY181"/>
                </a:cxn>
                <a:cxn ang="0">
                  <a:pos x="csX182" y="csY182"/>
                </a:cxn>
                <a:cxn ang="0">
                  <a:pos x="csX183" y="csY183"/>
                </a:cxn>
                <a:cxn ang="0">
                  <a:pos x="csX184" y="csY184"/>
                </a:cxn>
                <a:cxn ang="0">
                  <a:pos x="csX185" y="csY185"/>
                </a:cxn>
                <a:cxn ang="0">
                  <a:pos x="csX186" y="csY186"/>
                </a:cxn>
                <a:cxn ang="0">
                  <a:pos x="csX187" y="csY187"/>
                </a:cxn>
                <a:cxn ang="0">
                  <a:pos x="csX188" y="csY188"/>
                </a:cxn>
                <a:cxn ang="0">
                  <a:pos x="csX189" y="csY189"/>
                </a:cxn>
                <a:cxn ang="0">
                  <a:pos x="csX190" y="csY190"/>
                </a:cxn>
                <a:cxn ang="0">
                  <a:pos x="csX191" y="csY191"/>
                </a:cxn>
                <a:cxn ang="0">
                  <a:pos x="csX192" y="csY192"/>
                </a:cxn>
                <a:cxn ang="0">
                  <a:pos x="csX193" y="csY193"/>
                </a:cxn>
                <a:cxn ang="0">
                  <a:pos x="csX194" y="csY194"/>
                </a:cxn>
                <a:cxn ang="0">
                  <a:pos x="csX195" y="csY195"/>
                </a:cxn>
                <a:cxn ang="0">
                  <a:pos x="csX196" y="csY196"/>
                </a:cxn>
                <a:cxn ang="0">
                  <a:pos x="csX197" y="csY197"/>
                </a:cxn>
                <a:cxn ang="0">
                  <a:pos x="csX198" y="csY198"/>
                </a:cxn>
                <a:cxn ang="0">
                  <a:pos x="csX199" y="csY199"/>
                </a:cxn>
                <a:cxn ang="0">
                  <a:pos x="csX200" y="csY200"/>
                </a:cxn>
                <a:cxn ang="0">
                  <a:pos x="csX201" y="csY201"/>
                </a:cxn>
                <a:cxn ang="0">
                  <a:pos x="csX202" y="csY202"/>
                </a:cxn>
                <a:cxn ang="0">
                  <a:pos x="csX203" y="csY203"/>
                </a:cxn>
                <a:cxn ang="0">
                  <a:pos x="csX204" y="csY204"/>
                </a:cxn>
                <a:cxn ang="0">
                  <a:pos x="csX205" y="csY205"/>
                </a:cxn>
                <a:cxn ang="0">
                  <a:pos x="csX206" y="csY206"/>
                </a:cxn>
                <a:cxn ang="0">
                  <a:pos x="csX207" y="csY207"/>
                </a:cxn>
                <a:cxn ang="0">
                  <a:pos x="csX208" y="csY208"/>
                </a:cxn>
                <a:cxn ang="0">
                  <a:pos x="csX209" y="csY209"/>
                </a:cxn>
                <a:cxn ang="0">
                  <a:pos x="csX210" y="csY210"/>
                </a:cxn>
                <a:cxn ang="0">
                  <a:pos x="csX211" y="csY211"/>
                </a:cxn>
                <a:cxn ang="0">
                  <a:pos x="csX212" y="csY212"/>
                </a:cxn>
                <a:cxn ang="0">
                  <a:pos x="csX213" y="csY213"/>
                </a:cxn>
                <a:cxn ang="0">
                  <a:pos x="csX214" y="csY214"/>
                </a:cxn>
                <a:cxn ang="0">
                  <a:pos x="csX215" y="csY215"/>
                </a:cxn>
                <a:cxn ang="0">
                  <a:pos x="csX216" y="csY216"/>
                </a:cxn>
                <a:cxn ang="0">
                  <a:pos x="csX217" y="csY217"/>
                </a:cxn>
                <a:cxn ang="0">
                  <a:pos x="csX218" y="csY218"/>
                </a:cxn>
                <a:cxn ang="0">
                  <a:pos x="csX219" y="csY219"/>
                </a:cxn>
                <a:cxn ang="0">
                  <a:pos x="csX220" y="csY220"/>
                </a:cxn>
                <a:cxn ang="0">
                  <a:pos x="csX221" y="csY221"/>
                </a:cxn>
                <a:cxn ang="0">
                  <a:pos x="csX222" y="csY222"/>
                </a:cxn>
                <a:cxn ang="0">
                  <a:pos x="csX223" y="csY223"/>
                </a:cxn>
                <a:cxn ang="0">
                  <a:pos x="csX224" y="csY224"/>
                </a:cxn>
                <a:cxn ang="0">
                  <a:pos x="csX225" y="csY225"/>
                </a:cxn>
                <a:cxn ang="0">
                  <a:pos x="csX226" y="csY226"/>
                </a:cxn>
                <a:cxn ang="0">
                  <a:pos x="csX227" y="csY227"/>
                </a:cxn>
                <a:cxn ang="0">
                  <a:pos x="csX228" y="csY228"/>
                </a:cxn>
                <a:cxn ang="0">
                  <a:pos x="csX229" y="csY229"/>
                </a:cxn>
                <a:cxn ang="0">
                  <a:pos x="csX230" y="csY230"/>
                </a:cxn>
                <a:cxn ang="0">
                  <a:pos x="csX231" y="csY231"/>
                </a:cxn>
                <a:cxn ang="0">
                  <a:pos x="csX232" y="csY232"/>
                </a:cxn>
                <a:cxn ang="0">
                  <a:pos x="csX233" y="csY233"/>
                </a:cxn>
                <a:cxn ang="0">
                  <a:pos x="csX234" y="csY234"/>
                </a:cxn>
                <a:cxn ang="0">
                  <a:pos x="csX235" y="csY235"/>
                </a:cxn>
                <a:cxn ang="0">
                  <a:pos x="csX236" y="csY236"/>
                </a:cxn>
                <a:cxn ang="0">
                  <a:pos x="csX237" y="csY237"/>
                </a:cxn>
                <a:cxn ang="0">
                  <a:pos x="csX238" y="csY238"/>
                </a:cxn>
                <a:cxn ang="0">
                  <a:pos x="csX239" y="csY239"/>
                </a:cxn>
                <a:cxn ang="0">
                  <a:pos x="csX240" y="csY240"/>
                </a:cxn>
                <a:cxn ang="0">
                  <a:pos x="csX241" y="csY241"/>
                </a:cxn>
                <a:cxn ang="0">
                  <a:pos x="csX242" y="csY242"/>
                </a:cxn>
                <a:cxn ang="0">
                  <a:pos x="csX243" y="csY243"/>
                </a:cxn>
                <a:cxn ang="0">
                  <a:pos x="csX244" y="csY244"/>
                </a:cxn>
                <a:cxn ang="0">
                  <a:pos x="csX245" y="csY245"/>
                </a:cxn>
                <a:cxn ang="0">
                  <a:pos x="csX246" y="csY246"/>
                </a:cxn>
                <a:cxn ang="0">
                  <a:pos x="csX247" y="csY247"/>
                </a:cxn>
                <a:cxn ang="0">
                  <a:pos x="csX248" y="csY248"/>
                </a:cxn>
                <a:cxn ang="0">
                  <a:pos x="csX249" y="csY249"/>
                </a:cxn>
                <a:cxn ang="0">
                  <a:pos x="csX250" y="csY250"/>
                </a:cxn>
                <a:cxn ang="0">
                  <a:pos x="csX251" y="csY251"/>
                </a:cxn>
                <a:cxn ang="0">
                  <a:pos x="csX252" y="csY252"/>
                </a:cxn>
                <a:cxn ang="0">
                  <a:pos x="csX253" y="csY253"/>
                </a:cxn>
                <a:cxn ang="0">
                  <a:pos x="csX254" y="csY254"/>
                </a:cxn>
                <a:cxn ang="0">
                  <a:pos x="csX255" y="csY255"/>
                </a:cxn>
                <a:cxn ang="0">
                  <a:pos x="csX256" y="csY256"/>
                </a:cxn>
                <a:cxn ang="0">
                  <a:pos x="csX257" y="csY257"/>
                </a:cxn>
                <a:cxn ang="0">
                  <a:pos x="csX258" y="csY258"/>
                </a:cxn>
                <a:cxn ang="0">
                  <a:pos x="csX259" y="csY259"/>
                </a:cxn>
                <a:cxn ang="0">
                  <a:pos x="csX260" y="csY260"/>
                </a:cxn>
                <a:cxn ang="0">
                  <a:pos x="csX261" y="csY261"/>
                </a:cxn>
                <a:cxn ang="0">
                  <a:pos x="csX262" y="csY262"/>
                </a:cxn>
                <a:cxn ang="0">
                  <a:pos x="csX263" y="csY263"/>
                </a:cxn>
                <a:cxn ang="0">
                  <a:pos x="csX264" y="csY264"/>
                </a:cxn>
                <a:cxn ang="0">
                  <a:pos x="csX265" y="csY265"/>
                </a:cxn>
                <a:cxn ang="0">
                  <a:pos x="csX266" y="csY266"/>
                </a:cxn>
                <a:cxn ang="0">
                  <a:pos x="csX267" y="csY267"/>
                </a:cxn>
                <a:cxn ang="0">
                  <a:pos x="csX268" y="csY268"/>
                </a:cxn>
                <a:cxn ang="0">
                  <a:pos x="csX269" y="csY269"/>
                </a:cxn>
                <a:cxn ang="0">
                  <a:pos x="csX270" y="csY270"/>
                </a:cxn>
                <a:cxn ang="0">
                  <a:pos x="csX271" y="csY271"/>
                </a:cxn>
                <a:cxn ang="0">
                  <a:pos x="csX272" y="csY272"/>
                </a:cxn>
                <a:cxn ang="0">
                  <a:pos x="csX273" y="csY273"/>
                </a:cxn>
                <a:cxn ang="0">
                  <a:pos x="csX274" y="csY274"/>
                </a:cxn>
                <a:cxn ang="0">
                  <a:pos x="csX275" y="csY275"/>
                </a:cxn>
                <a:cxn ang="0">
                  <a:pos x="csX276" y="csY276"/>
                </a:cxn>
                <a:cxn ang="0">
                  <a:pos x="csX277" y="csY277"/>
                </a:cxn>
                <a:cxn ang="0">
                  <a:pos x="csX278" y="csY278"/>
                </a:cxn>
                <a:cxn ang="0">
                  <a:pos x="csX279" y="csY279"/>
                </a:cxn>
                <a:cxn ang="0">
                  <a:pos x="csX280" y="csY280"/>
                </a:cxn>
                <a:cxn ang="0">
                  <a:pos x="csX281" y="csY281"/>
                </a:cxn>
                <a:cxn ang="0">
                  <a:pos x="csX282" y="csY282"/>
                </a:cxn>
                <a:cxn ang="0">
                  <a:pos x="csX283" y="csY283"/>
                </a:cxn>
                <a:cxn ang="0">
                  <a:pos x="csX284" y="csY284"/>
                </a:cxn>
                <a:cxn ang="0">
                  <a:pos x="csX285" y="csY285"/>
                </a:cxn>
                <a:cxn ang="0">
                  <a:pos x="csX286" y="csY286"/>
                </a:cxn>
                <a:cxn ang="0">
                  <a:pos x="csX287" y="csY287"/>
                </a:cxn>
                <a:cxn ang="0">
                  <a:pos x="csX288" y="csY288"/>
                </a:cxn>
                <a:cxn ang="0">
                  <a:pos x="csX289" y="csY289"/>
                </a:cxn>
                <a:cxn ang="0">
                  <a:pos x="csX290" y="csY290"/>
                </a:cxn>
                <a:cxn ang="0">
                  <a:pos x="csX291" y="csY291"/>
                </a:cxn>
                <a:cxn ang="0">
                  <a:pos x="csX292" y="csY292"/>
                </a:cxn>
                <a:cxn ang="0">
                  <a:pos x="csX293" y="csY293"/>
                </a:cxn>
                <a:cxn ang="0">
                  <a:pos x="csX294" y="csY294"/>
                </a:cxn>
                <a:cxn ang="0">
                  <a:pos x="csX295" y="csY295"/>
                </a:cxn>
                <a:cxn ang="0">
                  <a:pos x="csX296" y="csY296"/>
                </a:cxn>
                <a:cxn ang="0">
                  <a:pos x="csX297" y="csY297"/>
                </a:cxn>
                <a:cxn ang="0">
                  <a:pos x="csX298" y="csY298"/>
                </a:cxn>
                <a:cxn ang="0">
                  <a:pos x="csX299" y="csY299"/>
                </a:cxn>
                <a:cxn ang="0">
                  <a:pos x="csX300" y="csY300"/>
                </a:cxn>
                <a:cxn ang="0">
                  <a:pos x="csX301" y="csY301"/>
                </a:cxn>
                <a:cxn ang="0">
                  <a:pos x="csX302" y="csY302"/>
                </a:cxn>
                <a:cxn ang="0">
                  <a:pos x="csX303" y="csY303"/>
                </a:cxn>
                <a:cxn ang="0">
                  <a:pos x="csX304" y="csY304"/>
                </a:cxn>
                <a:cxn ang="0">
                  <a:pos x="csX305" y="csY305"/>
                </a:cxn>
                <a:cxn ang="0">
                  <a:pos x="csX306" y="csY306"/>
                </a:cxn>
                <a:cxn ang="0">
                  <a:pos x="csX307" y="csY307"/>
                </a:cxn>
                <a:cxn ang="0">
                  <a:pos x="csX308" y="csY308"/>
                </a:cxn>
                <a:cxn ang="0">
                  <a:pos x="csX309" y="csY309"/>
                </a:cxn>
                <a:cxn ang="0">
                  <a:pos x="csX310" y="csY310"/>
                </a:cxn>
                <a:cxn ang="0">
                  <a:pos x="csX311" y="csY311"/>
                </a:cxn>
                <a:cxn ang="0">
                  <a:pos x="csX312" y="csY312"/>
                </a:cxn>
                <a:cxn ang="0">
                  <a:pos x="csX313" y="csY313"/>
                </a:cxn>
                <a:cxn ang="0">
                  <a:pos x="csX314" y="csY314"/>
                </a:cxn>
                <a:cxn ang="0">
                  <a:pos x="csX315" y="csY315"/>
                </a:cxn>
                <a:cxn ang="0">
                  <a:pos x="csX316" y="csY316"/>
                </a:cxn>
                <a:cxn ang="0">
                  <a:pos x="csX317" y="csY317"/>
                </a:cxn>
                <a:cxn ang="0">
                  <a:pos x="csX318" y="csY318"/>
                </a:cxn>
                <a:cxn ang="0">
                  <a:pos x="csX319" y="csY319"/>
                </a:cxn>
                <a:cxn ang="0">
                  <a:pos x="csX320" y="csY320"/>
                </a:cxn>
                <a:cxn ang="0">
                  <a:pos x="csX321" y="csY321"/>
                </a:cxn>
                <a:cxn ang="0">
                  <a:pos x="csX322" y="csY322"/>
                </a:cxn>
                <a:cxn ang="0">
                  <a:pos x="csX323" y="csY323"/>
                </a:cxn>
                <a:cxn ang="0">
                  <a:pos x="csX324" y="csY324"/>
                </a:cxn>
                <a:cxn ang="0">
                  <a:pos x="csX325" y="csY325"/>
                </a:cxn>
                <a:cxn ang="0">
                  <a:pos x="csX326" y="csY326"/>
                </a:cxn>
                <a:cxn ang="0">
                  <a:pos x="csX327" y="csY327"/>
                </a:cxn>
                <a:cxn ang="0">
                  <a:pos x="csX328" y="csY328"/>
                </a:cxn>
                <a:cxn ang="0">
                  <a:pos x="csX329" y="csY329"/>
                </a:cxn>
                <a:cxn ang="0">
                  <a:pos x="csX330" y="csY330"/>
                </a:cxn>
                <a:cxn ang="0">
                  <a:pos x="csX331" y="csY331"/>
                </a:cxn>
                <a:cxn ang="0">
                  <a:pos x="csX332" y="csY332"/>
                </a:cxn>
                <a:cxn ang="0">
                  <a:pos x="csX333" y="csY333"/>
                </a:cxn>
                <a:cxn ang="0">
                  <a:pos x="csX334" y="csY334"/>
                </a:cxn>
                <a:cxn ang="0">
                  <a:pos x="csX335" y="csY335"/>
                </a:cxn>
                <a:cxn ang="0">
                  <a:pos x="csX336" y="csY336"/>
                </a:cxn>
                <a:cxn ang="0">
                  <a:pos x="csX337" y="csY337"/>
                </a:cxn>
                <a:cxn ang="0">
                  <a:pos x="csX338" y="csY338"/>
                </a:cxn>
                <a:cxn ang="0">
                  <a:pos x="csX339" y="csY339"/>
                </a:cxn>
                <a:cxn ang="0">
                  <a:pos x="csX340" y="csY340"/>
                </a:cxn>
                <a:cxn ang="0">
                  <a:pos x="csX341" y="csY341"/>
                </a:cxn>
                <a:cxn ang="0">
                  <a:pos x="csX342" y="csY342"/>
                </a:cxn>
                <a:cxn ang="0">
                  <a:pos x="csX343" y="csY343"/>
                </a:cxn>
                <a:cxn ang="0">
                  <a:pos x="csX344" y="csY344"/>
                </a:cxn>
                <a:cxn ang="0">
                  <a:pos x="csX345" y="csY345"/>
                </a:cxn>
                <a:cxn ang="0">
                  <a:pos x="csX346" y="csY346"/>
                </a:cxn>
                <a:cxn ang="0">
                  <a:pos x="csX347" y="csY347"/>
                </a:cxn>
                <a:cxn ang="0">
                  <a:pos x="csX348" y="csY348"/>
                </a:cxn>
                <a:cxn ang="0">
                  <a:pos x="csX349" y="csY349"/>
                </a:cxn>
                <a:cxn ang="0">
                  <a:pos x="csX350" y="csY350"/>
                </a:cxn>
                <a:cxn ang="0">
                  <a:pos x="csX351" y="csY351"/>
                </a:cxn>
                <a:cxn ang="0">
                  <a:pos x="csX352" y="csY352"/>
                </a:cxn>
                <a:cxn ang="0">
                  <a:pos x="csX353" y="csY353"/>
                </a:cxn>
                <a:cxn ang="0">
                  <a:pos x="csX354" y="csY354"/>
                </a:cxn>
                <a:cxn ang="0">
                  <a:pos x="csX355" y="csY355"/>
                </a:cxn>
                <a:cxn ang="0">
                  <a:pos x="csX356" y="csY356"/>
                </a:cxn>
                <a:cxn ang="0">
                  <a:pos x="csX357" y="csY357"/>
                </a:cxn>
                <a:cxn ang="0">
                  <a:pos x="csX358" y="csY358"/>
                </a:cxn>
                <a:cxn ang="0">
                  <a:pos x="csX359" y="csY359"/>
                </a:cxn>
                <a:cxn ang="0">
                  <a:pos x="csX360" y="csY360"/>
                </a:cxn>
                <a:cxn ang="0">
                  <a:pos x="csX361" y="csY361"/>
                </a:cxn>
                <a:cxn ang="0">
                  <a:pos x="csX362" y="csY362"/>
                </a:cxn>
                <a:cxn ang="0">
                  <a:pos x="csX363" y="csY363"/>
                </a:cxn>
                <a:cxn ang="0">
                  <a:pos x="csX364" y="csY364"/>
                </a:cxn>
                <a:cxn ang="0">
                  <a:pos x="csX365" y="csY365"/>
                </a:cxn>
                <a:cxn ang="0">
                  <a:pos x="csX366" y="csY366"/>
                </a:cxn>
                <a:cxn ang="0">
                  <a:pos x="csX367" y="csY367"/>
                </a:cxn>
                <a:cxn ang="0">
                  <a:pos x="csX368" y="csY368"/>
                </a:cxn>
                <a:cxn ang="0">
                  <a:pos x="csX369" y="csY369"/>
                </a:cxn>
                <a:cxn ang="0">
                  <a:pos x="csX370" y="csY370"/>
                </a:cxn>
                <a:cxn ang="0">
                  <a:pos x="csX371" y="csY371"/>
                </a:cxn>
                <a:cxn ang="0">
                  <a:pos x="csX372" y="csY372"/>
                </a:cxn>
                <a:cxn ang="0">
                  <a:pos x="csX373" y="csY373"/>
                </a:cxn>
                <a:cxn ang="0">
                  <a:pos x="csX374" y="csY374"/>
                </a:cxn>
                <a:cxn ang="0">
                  <a:pos x="csX375" y="csY375"/>
                </a:cxn>
                <a:cxn ang="0">
                  <a:pos x="csX376" y="csY376"/>
                </a:cxn>
                <a:cxn ang="0">
                  <a:pos x="csX377" y="csY377"/>
                </a:cxn>
                <a:cxn ang="0">
                  <a:pos x="csX378" y="csY378"/>
                </a:cxn>
                <a:cxn ang="0">
                  <a:pos x="csX379" y="csY379"/>
                </a:cxn>
                <a:cxn ang="0">
                  <a:pos x="csX380" y="csY380"/>
                </a:cxn>
                <a:cxn ang="0">
                  <a:pos x="csX381" y="csY381"/>
                </a:cxn>
                <a:cxn ang="0">
                  <a:pos x="csX382" y="csY382"/>
                </a:cxn>
                <a:cxn ang="0">
                  <a:pos x="csX383" y="csY383"/>
                </a:cxn>
                <a:cxn ang="0">
                  <a:pos x="csX384" y="csY384"/>
                </a:cxn>
                <a:cxn ang="0">
                  <a:pos x="csX385" y="csY385"/>
                </a:cxn>
                <a:cxn ang="0">
                  <a:pos x="csX386" y="csY386"/>
                </a:cxn>
                <a:cxn ang="0">
                  <a:pos x="csX387" y="csY387"/>
                </a:cxn>
                <a:cxn ang="0">
                  <a:pos x="csX388" y="csY388"/>
                </a:cxn>
                <a:cxn ang="0">
                  <a:pos x="csX389" y="csY389"/>
                </a:cxn>
                <a:cxn ang="0">
                  <a:pos x="csX390" y="csY390"/>
                </a:cxn>
                <a:cxn ang="0">
                  <a:pos x="csX391" y="csY391"/>
                </a:cxn>
                <a:cxn ang="0">
                  <a:pos x="csX392" y="csY392"/>
                </a:cxn>
                <a:cxn ang="0">
                  <a:pos x="csX393" y="csY393"/>
                </a:cxn>
                <a:cxn ang="0">
                  <a:pos x="csX394" y="csY394"/>
                </a:cxn>
                <a:cxn ang="0">
                  <a:pos x="csX395" y="csY395"/>
                </a:cxn>
                <a:cxn ang="0">
                  <a:pos x="csX396" y="csY396"/>
                </a:cxn>
                <a:cxn ang="0">
                  <a:pos x="csX397" y="csY397"/>
                </a:cxn>
                <a:cxn ang="0">
                  <a:pos x="csX398" y="csY398"/>
                </a:cxn>
                <a:cxn ang="0">
                  <a:pos x="csX399" y="csY399"/>
                </a:cxn>
                <a:cxn ang="0">
                  <a:pos x="csX400" y="csY400"/>
                </a:cxn>
                <a:cxn ang="0">
                  <a:pos x="csX401" y="csY401"/>
                </a:cxn>
                <a:cxn ang="0">
                  <a:pos x="csX402" y="csY402"/>
                </a:cxn>
                <a:cxn ang="0">
                  <a:pos x="csX403" y="csY403"/>
                </a:cxn>
                <a:cxn ang="0">
                  <a:pos x="csX404" y="csY404"/>
                </a:cxn>
                <a:cxn ang="0">
                  <a:pos x="csX405" y="csY405"/>
                </a:cxn>
                <a:cxn ang="0">
                  <a:pos x="csX406" y="csY406"/>
                </a:cxn>
                <a:cxn ang="0">
                  <a:pos x="csX407" y="csY407"/>
                </a:cxn>
                <a:cxn ang="0">
                  <a:pos x="csX408" y="csY408"/>
                </a:cxn>
                <a:cxn ang="0">
                  <a:pos x="csX409" y="csY409"/>
                </a:cxn>
                <a:cxn ang="0">
                  <a:pos x="csX410" y="csY410"/>
                </a:cxn>
                <a:cxn ang="0">
                  <a:pos x="csX411" y="csY411"/>
                </a:cxn>
                <a:cxn ang="0">
                  <a:pos x="csX412" y="csY412"/>
                </a:cxn>
                <a:cxn ang="0">
                  <a:pos x="csX413" y="csY413"/>
                </a:cxn>
                <a:cxn ang="0">
                  <a:pos x="csX414" y="csY414"/>
                </a:cxn>
                <a:cxn ang="0">
                  <a:pos x="csX415" y="csY415"/>
                </a:cxn>
                <a:cxn ang="0">
                  <a:pos x="csX416" y="csY416"/>
                </a:cxn>
                <a:cxn ang="0">
                  <a:pos x="csX417" y="csY417"/>
                </a:cxn>
                <a:cxn ang="0">
                  <a:pos x="csX418" y="csY418"/>
                </a:cxn>
                <a:cxn ang="0">
                  <a:pos x="csX419" y="csY419"/>
                </a:cxn>
                <a:cxn ang="0">
                  <a:pos x="csX420" y="csY420"/>
                </a:cxn>
                <a:cxn ang="0">
                  <a:pos x="csX421" y="csY421"/>
                </a:cxn>
                <a:cxn ang="0">
                  <a:pos x="csX422" y="csY422"/>
                </a:cxn>
                <a:cxn ang="0">
                  <a:pos x="csX423" y="csY423"/>
                </a:cxn>
                <a:cxn ang="0">
                  <a:pos x="csX424" y="csY424"/>
                </a:cxn>
                <a:cxn ang="0">
                  <a:pos x="csX425" y="csY425"/>
                </a:cxn>
                <a:cxn ang="0">
                  <a:pos x="csX426" y="csY426"/>
                </a:cxn>
                <a:cxn ang="0">
                  <a:pos x="csX427" y="csY427"/>
                </a:cxn>
                <a:cxn ang="0">
                  <a:pos x="csX428" y="csY428"/>
                </a:cxn>
                <a:cxn ang="0">
                  <a:pos x="csX429" y="csY429"/>
                </a:cxn>
                <a:cxn ang="0">
                  <a:pos x="csX430" y="csY430"/>
                </a:cxn>
                <a:cxn ang="0">
                  <a:pos x="csX431" y="csY431"/>
                </a:cxn>
                <a:cxn ang="0">
                  <a:pos x="csX432" y="csY432"/>
                </a:cxn>
                <a:cxn ang="0">
                  <a:pos x="csX433" y="csY433"/>
                </a:cxn>
                <a:cxn ang="0">
                  <a:pos x="csX434" y="csY434"/>
                </a:cxn>
                <a:cxn ang="0">
                  <a:pos x="csX435" y="csY435"/>
                </a:cxn>
                <a:cxn ang="0">
                  <a:pos x="csX436" y="csY436"/>
                </a:cxn>
                <a:cxn ang="0">
                  <a:pos x="csX437" y="csY437"/>
                </a:cxn>
                <a:cxn ang="0">
                  <a:pos x="csX438" y="csY438"/>
                </a:cxn>
                <a:cxn ang="0">
                  <a:pos x="csX439" y="csY439"/>
                </a:cxn>
                <a:cxn ang="0">
                  <a:pos x="csX440" y="csY440"/>
                </a:cxn>
                <a:cxn ang="0">
                  <a:pos x="csX441" y="csY441"/>
                </a:cxn>
                <a:cxn ang="0">
                  <a:pos x="csX442" y="csY442"/>
                </a:cxn>
                <a:cxn ang="0">
                  <a:pos x="csX443" y="csY443"/>
                </a:cxn>
                <a:cxn ang="0">
                  <a:pos x="csX444" y="csY444"/>
                </a:cxn>
                <a:cxn ang="0">
                  <a:pos x="csX445" y="csY445"/>
                </a:cxn>
                <a:cxn ang="0">
                  <a:pos x="csX446" y="csY446"/>
                </a:cxn>
                <a:cxn ang="0">
                  <a:pos x="csX447" y="csY447"/>
                </a:cxn>
                <a:cxn ang="0">
                  <a:pos x="csX448" y="csY448"/>
                </a:cxn>
                <a:cxn ang="0">
                  <a:pos x="csX449" y="csY449"/>
                </a:cxn>
                <a:cxn ang="0">
                  <a:pos x="csX450" y="csY450"/>
                </a:cxn>
                <a:cxn ang="0">
                  <a:pos x="csX451" y="csY451"/>
                </a:cxn>
                <a:cxn ang="0">
                  <a:pos x="csX452" y="csY452"/>
                </a:cxn>
                <a:cxn ang="0">
                  <a:pos x="csX453" y="csY453"/>
                </a:cxn>
                <a:cxn ang="0">
                  <a:pos x="csX454" y="csY454"/>
                </a:cxn>
                <a:cxn ang="0">
                  <a:pos x="csX455" y="csY455"/>
                </a:cxn>
                <a:cxn ang="0">
                  <a:pos x="csX456" y="csY456"/>
                </a:cxn>
                <a:cxn ang="0">
                  <a:pos x="csX457" y="csY457"/>
                </a:cxn>
                <a:cxn ang="0">
                  <a:pos x="csX458" y="csY458"/>
                </a:cxn>
                <a:cxn ang="0">
                  <a:pos x="csX459" y="csY459"/>
                </a:cxn>
                <a:cxn ang="0">
                  <a:pos x="csX460" y="csY460"/>
                </a:cxn>
                <a:cxn ang="0">
                  <a:pos x="csX461" y="csY461"/>
                </a:cxn>
                <a:cxn ang="0">
                  <a:pos x="csX462" y="csY462"/>
                </a:cxn>
                <a:cxn ang="0">
                  <a:pos x="csX463" y="csY463"/>
                </a:cxn>
                <a:cxn ang="0">
                  <a:pos x="csX464" y="csY464"/>
                </a:cxn>
                <a:cxn ang="0">
                  <a:pos x="csX465" y="csY465"/>
                </a:cxn>
                <a:cxn ang="0">
                  <a:pos x="csX466" y="csY466"/>
                </a:cxn>
                <a:cxn ang="0">
                  <a:pos x="csX467" y="csY467"/>
                </a:cxn>
                <a:cxn ang="0">
                  <a:pos x="csX468" y="csY468"/>
                </a:cxn>
                <a:cxn ang="0">
                  <a:pos x="csX469" y="csY469"/>
                </a:cxn>
                <a:cxn ang="0">
                  <a:pos x="csX470" y="csY470"/>
                </a:cxn>
                <a:cxn ang="0">
                  <a:pos x="csX471" y="csY471"/>
                </a:cxn>
                <a:cxn ang="0">
                  <a:pos x="csX472" y="csY472"/>
                </a:cxn>
                <a:cxn ang="0">
                  <a:pos x="csX473" y="csY473"/>
                </a:cxn>
                <a:cxn ang="0">
                  <a:pos x="csX474" y="csY474"/>
                </a:cxn>
                <a:cxn ang="0">
                  <a:pos x="csX475" y="csY475"/>
                </a:cxn>
                <a:cxn ang="0">
                  <a:pos x="csX476" y="csY476"/>
                </a:cxn>
                <a:cxn ang="0">
                  <a:pos x="csX477" y="csY477"/>
                </a:cxn>
                <a:cxn ang="0">
                  <a:pos x="csX478" y="csY478"/>
                </a:cxn>
                <a:cxn ang="0">
                  <a:pos x="csX479" y="csY479"/>
                </a:cxn>
                <a:cxn ang="0">
                  <a:pos x="csX480" y="csY480"/>
                </a:cxn>
                <a:cxn ang="0">
                  <a:pos x="csX481" y="csY481"/>
                </a:cxn>
                <a:cxn ang="0">
                  <a:pos x="csX482" y="csY482"/>
                </a:cxn>
                <a:cxn ang="0">
                  <a:pos x="csX483" y="csY483"/>
                </a:cxn>
                <a:cxn ang="0">
                  <a:pos x="csX484" y="csY484"/>
                </a:cxn>
                <a:cxn ang="0">
                  <a:pos x="csX485" y="csY485"/>
                </a:cxn>
                <a:cxn ang="0">
                  <a:pos x="csX486" y="csY486"/>
                </a:cxn>
                <a:cxn ang="0">
                  <a:pos x="csX487" y="csY487"/>
                </a:cxn>
                <a:cxn ang="0">
                  <a:pos x="csX488" y="csY488"/>
                </a:cxn>
                <a:cxn ang="0">
                  <a:pos x="csX489" y="csY489"/>
                </a:cxn>
                <a:cxn ang="0">
                  <a:pos x="csX490" y="csY490"/>
                </a:cxn>
                <a:cxn ang="0">
                  <a:pos x="csX491" y="csY491"/>
                </a:cxn>
                <a:cxn ang="0">
                  <a:pos x="csX492" y="csY492"/>
                </a:cxn>
                <a:cxn ang="0">
                  <a:pos x="csX493" y="csY493"/>
                </a:cxn>
                <a:cxn ang="0">
                  <a:pos x="csX494" y="csY494"/>
                </a:cxn>
                <a:cxn ang="0">
                  <a:pos x="csX495" y="csY495"/>
                </a:cxn>
                <a:cxn ang="0">
                  <a:pos x="csX496" y="csY496"/>
                </a:cxn>
                <a:cxn ang="0">
                  <a:pos x="csX497" y="csY497"/>
                </a:cxn>
                <a:cxn ang="0">
                  <a:pos x="csX498" y="csY498"/>
                </a:cxn>
                <a:cxn ang="0">
                  <a:pos x="csX499" y="csY499"/>
                </a:cxn>
                <a:cxn ang="0">
                  <a:pos x="csX500" y="csY500"/>
                </a:cxn>
                <a:cxn ang="0">
                  <a:pos x="csX501" y="csY501"/>
                </a:cxn>
                <a:cxn ang="0">
                  <a:pos x="csX502" y="csY502"/>
                </a:cxn>
                <a:cxn ang="0">
                  <a:pos x="csX503" y="csY503"/>
                </a:cxn>
                <a:cxn ang="0">
                  <a:pos x="csX504" y="csY504"/>
                </a:cxn>
                <a:cxn ang="0">
                  <a:pos x="csX505" y="csY505"/>
                </a:cxn>
                <a:cxn ang="0">
                  <a:pos x="csX506" y="csY506"/>
                </a:cxn>
                <a:cxn ang="0">
                  <a:pos x="csX507" y="csY507"/>
                </a:cxn>
                <a:cxn ang="0">
                  <a:pos x="csX508" y="csY508"/>
                </a:cxn>
                <a:cxn ang="0">
                  <a:pos x="csX509" y="csY509"/>
                </a:cxn>
                <a:cxn ang="0">
                  <a:pos x="csX510" y="csY510"/>
                </a:cxn>
                <a:cxn ang="0">
                  <a:pos x="csX511" y="csY511"/>
                </a:cxn>
                <a:cxn ang="0">
                  <a:pos x="csX512" y="csY512"/>
                </a:cxn>
                <a:cxn ang="0">
                  <a:pos x="csX513" y="csY513"/>
                </a:cxn>
                <a:cxn ang="0">
                  <a:pos x="csX514" y="csY514"/>
                </a:cxn>
                <a:cxn ang="0">
                  <a:pos x="csX515" y="csY515"/>
                </a:cxn>
                <a:cxn ang="0">
                  <a:pos x="csX516" y="csY516"/>
                </a:cxn>
                <a:cxn ang="0">
                  <a:pos x="csX517" y="csY517"/>
                </a:cxn>
                <a:cxn ang="0">
                  <a:pos x="csX518" y="csY518"/>
                </a:cxn>
                <a:cxn ang="0">
                  <a:pos x="csX519" y="csY519"/>
                </a:cxn>
                <a:cxn ang="0">
                  <a:pos x="csX520" y="csY520"/>
                </a:cxn>
                <a:cxn ang="0">
                  <a:pos x="csX521" y="csY521"/>
                </a:cxn>
                <a:cxn ang="0">
                  <a:pos x="csX522" y="csY522"/>
                </a:cxn>
                <a:cxn ang="0">
                  <a:pos x="csX523" y="csY523"/>
                </a:cxn>
                <a:cxn ang="0">
                  <a:pos x="csX524" y="csY524"/>
                </a:cxn>
                <a:cxn ang="0">
                  <a:pos x="csX525" y="csY525"/>
                </a:cxn>
                <a:cxn ang="0">
                  <a:pos x="csX526" y="csY526"/>
                </a:cxn>
                <a:cxn ang="0">
                  <a:pos x="csX527" y="csY527"/>
                </a:cxn>
                <a:cxn ang="0">
                  <a:pos x="csX528" y="csY528"/>
                </a:cxn>
                <a:cxn ang="0">
                  <a:pos x="csX529" y="csY529"/>
                </a:cxn>
                <a:cxn ang="0">
                  <a:pos x="csX530" y="csY530"/>
                </a:cxn>
                <a:cxn ang="0">
                  <a:pos x="csX531" y="csY531"/>
                </a:cxn>
                <a:cxn ang="0">
                  <a:pos x="csX532" y="csY532"/>
                </a:cxn>
                <a:cxn ang="0">
                  <a:pos x="csX533" y="csY533"/>
                </a:cxn>
                <a:cxn ang="0">
                  <a:pos x="csX534" y="csY534"/>
                </a:cxn>
                <a:cxn ang="0">
                  <a:pos x="csX535" y="csY535"/>
                </a:cxn>
                <a:cxn ang="0">
                  <a:pos x="csX536" y="csY536"/>
                </a:cxn>
                <a:cxn ang="0">
                  <a:pos x="csX537" y="csY537"/>
                </a:cxn>
                <a:cxn ang="0">
                  <a:pos x="csX538" y="csY538"/>
                </a:cxn>
                <a:cxn ang="0">
                  <a:pos x="csX539" y="csY539"/>
                </a:cxn>
                <a:cxn ang="0">
                  <a:pos x="csX540" y="csY540"/>
                </a:cxn>
                <a:cxn ang="0">
                  <a:pos x="csX541" y="csY541"/>
                </a:cxn>
                <a:cxn ang="0">
                  <a:pos x="csX542" y="csY542"/>
                </a:cxn>
                <a:cxn ang="0">
                  <a:pos x="csX543" y="csY543"/>
                </a:cxn>
                <a:cxn ang="0">
                  <a:pos x="csX544" y="csY544"/>
                </a:cxn>
                <a:cxn ang="0">
                  <a:pos x="csX545" y="csY545"/>
                </a:cxn>
                <a:cxn ang="0">
                  <a:pos x="csX546" y="csY546"/>
                </a:cxn>
                <a:cxn ang="0">
                  <a:pos x="csX547" y="csY547"/>
                </a:cxn>
                <a:cxn ang="0">
                  <a:pos x="csX548" y="csY548"/>
                </a:cxn>
                <a:cxn ang="0">
                  <a:pos x="csX549" y="csY549"/>
                </a:cxn>
                <a:cxn ang="0">
                  <a:pos x="csX550" y="csY550"/>
                </a:cxn>
                <a:cxn ang="0">
                  <a:pos x="csX551" y="csY551"/>
                </a:cxn>
                <a:cxn ang="0">
                  <a:pos x="csX552" y="csY552"/>
                </a:cxn>
                <a:cxn ang="0">
                  <a:pos x="csX553" y="csY553"/>
                </a:cxn>
                <a:cxn ang="0">
                  <a:pos x="csX554" y="csY554"/>
                </a:cxn>
                <a:cxn ang="0">
                  <a:pos x="csX555" y="csY555"/>
                </a:cxn>
                <a:cxn ang="0">
                  <a:pos x="csX556" y="csY556"/>
                </a:cxn>
                <a:cxn ang="0">
                  <a:pos x="csX557" y="csY557"/>
                </a:cxn>
                <a:cxn ang="0">
                  <a:pos x="csX558" y="csY558"/>
                </a:cxn>
                <a:cxn ang="0">
                  <a:pos x="csX559" y="csY559"/>
                </a:cxn>
                <a:cxn ang="0">
                  <a:pos x="csX560" y="csY560"/>
                </a:cxn>
                <a:cxn ang="0">
                  <a:pos x="csX561" y="csY561"/>
                </a:cxn>
                <a:cxn ang="0">
                  <a:pos x="csX562" y="csY562"/>
                </a:cxn>
                <a:cxn ang="0">
                  <a:pos x="csX563" y="csY563"/>
                </a:cxn>
                <a:cxn ang="0">
                  <a:pos x="csX564" y="csY564"/>
                </a:cxn>
                <a:cxn ang="0">
                  <a:pos x="csX565" y="csY565"/>
                </a:cxn>
                <a:cxn ang="0">
                  <a:pos x="csX566" y="csY566"/>
                </a:cxn>
                <a:cxn ang="0">
                  <a:pos x="csX567" y="csY567"/>
                </a:cxn>
                <a:cxn ang="0">
                  <a:pos x="csX568" y="csY568"/>
                </a:cxn>
                <a:cxn ang="0">
                  <a:pos x="csX569" y="csY569"/>
                </a:cxn>
                <a:cxn ang="0">
                  <a:pos x="csX570" y="csY570"/>
                </a:cxn>
                <a:cxn ang="0">
                  <a:pos x="csX571" y="csY571"/>
                </a:cxn>
                <a:cxn ang="0">
                  <a:pos x="csX572" y="csY572"/>
                </a:cxn>
                <a:cxn ang="0">
                  <a:pos x="csX573" y="csY573"/>
                </a:cxn>
                <a:cxn ang="0">
                  <a:pos x="csX574" y="csY574"/>
                </a:cxn>
                <a:cxn ang="0">
                  <a:pos x="csX575" y="csY575"/>
                </a:cxn>
                <a:cxn ang="0">
                  <a:pos x="csX576" y="csY576"/>
                </a:cxn>
                <a:cxn ang="0">
                  <a:pos x="csX577" y="csY577"/>
                </a:cxn>
                <a:cxn ang="0">
                  <a:pos x="csX578" y="csY578"/>
                </a:cxn>
                <a:cxn ang="0">
                  <a:pos x="csX579" y="csY579"/>
                </a:cxn>
                <a:cxn ang="0">
                  <a:pos x="csX580" y="csY580"/>
                </a:cxn>
                <a:cxn ang="0">
                  <a:pos x="csX581" y="csY581"/>
                </a:cxn>
                <a:cxn ang="0">
                  <a:pos x="csX582" y="csY582"/>
                </a:cxn>
                <a:cxn ang="0">
                  <a:pos x="csX583" y="csY583"/>
                </a:cxn>
                <a:cxn ang="0">
                  <a:pos x="csX584" y="csY584"/>
                </a:cxn>
                <a:cxn ang="0">
                  <a:pos x="csX585" y="csY585"/>
                </a:cxn>
                <a:cxn ang="0">
                  <a:pos x="csX586" y="csY586"/>
                </a:cxn>
                <a:cxn ang="0">
                  <a:pos x="csX587" y="csY587"/>
                </a:cxn>
                <a:cxn ang="0">
                  <a:pos x="csX588" y="csY588"/>
                </a:cxn>
                <a:cxn ang="0">
                  <a:pos x="csX589" y="csY589"/>
                </a:cxn>
                <a:cxn ang="0">
                  <a:pos x="csX590" y="csY590"/>
                </a:cxn>
                <a:cxn ang="0">
                  <a:pos x="csX591" y="csY591"/>
                </a:cxn>
                <a:cxn ang="0">
                  <a:pos x="csX592" y="csY592"/>
                </a:cxn>
                <a:cxn ang="0">
                  <a:pos x="csX593" y="csY593"/>
                </a:cxn>
                <a:cxn ang="0">
                  <a:pos x="csX594" y="csY594"/>
                </a:cxn>
                <a:cxn ang="0">
                  <a:pos x="csX595" y="csY595"/>
                </a:cxn>
                <a:cxn ang="0">
                  <a:pos x="csX596" y="csY596"/>
                </a:cxn>
                <a:cxn ang="0">
                  <a:pos x="csX597" y="csY597"/>
                </a:cxn>
                <a:cxn ang="0">
                  <a:pos x="csX598" y="csY598"/>
                </a:cxn>
                <a:cxn ang="0">
                  <a:pos x="csX599" y="csY599"/>
                </a:cxn>
                <a:cxn ang="0">
                  <a:pos x="csX600" y="csY600"/>
                </a:cxn>
                <a:cxn ang="0">
                  <a:pos x="csX601" y="csY601"/>
                </a:cxn>
                <a:cxn ang="0">
                  <a:pos x="csX602" y="csY602"/>
                </a:cxn>
                <a:cxn ang="0">
                  <a:pos x="csX603" y="csY603"/>
                </a:cxn>
                <a:cxn ang="0">
                  <a:pos x="csX604" y="csY604"/>
                </a:cxn>
                <a:cxn ang="0">
                  <a:pos x="csX605" y="csY605"/>
                </a:cxn>
                <a:cxn ang="0">
                  <a:pos x="csX606" y="csY606"/>
                </a:cxn>
                <a:cxn ang="0">
                  <a:pos x="csX607" y="csY607"/>
                </a:cxn>
                <a:cxn ang="0">
                  <a:pos x="csX608" y="csY608"/>
                </a:cxn>
                <a:cxn ang="0">
                  <a:pos x="csX609" y="csY609"/>
                </a:cxn>
                <a:cxn ang="0">
                  <a:pos x="csX610" y="csY610"/>
                </a:cxn>
                <a:cxn ang="0">
                  <a:pos x="csX611" y="csY611"/>
                </a:cxn>
                <a:cxn ang="0">
                  <a:pos x="csX612" y="csY612"/>
                </a:cxn>
                <a:cxn ang="0">
                  <a:pos x="csX613" y="csY613"/>
                </a:cxn>
                <a:cxn ang="0">
                  <a:pos x="csX614" y="csY614"/>
                </a:cxn>
                <a:cxn ang="0">
                  <a:pos x="csX615" y="csY615"/>
                </a:cxn>
                <a:cxn ang="0">
                  <a:pos x="csX616" y="csY616"/>
                </a:cxn>
                <a:cxn ang="0">
                  <a:pos x="csX617" y="csY617"/>
                </a:cxn>
                <a:cxn ang="0">
                  <a:pos x="csX618" y="csY618"/>
                </a:cxn>
                <a:cxn ang="0">
                  <a:pos x="csX619" y="csY619"/>
                </a:cxn>
                <a:cxn ang="0">
                  <a:pos x="csX620" y="csY620"/>
                </a:cxn>
                <a:cxn ang="0">
                  <a:pos x="csX621" y="csY621"/>
                </a:cxn>
                <a:cxn ang="0">
                  <a:pos x="csX622" y="csY622"/>
                </a:cxn>
                <a:cxn ang="0">
                  <a:pos x="csX623" y="csY623"/>
                </a:cxn>
                <a:cxn ang="0">
                  <a:pos x="csX624" y="csY624"/>
                </a:cxn>
                <a:cxn ang="0">
                  <a:pos x="csX625" y="csY625"/>
                </a:cxn>
                <a:cxn ang="0">
                  <a:pos x="csX626" y="csY626"/>
                </a:cxn>
                <a:cxn ang="0">
                  <a:pos x="csX627" y="csY627"/>
                </a:cxn>
                <a:cxn ang="0">
                  <a:pos x="csX628" y="csY628"/>
                </a:cxn>
                <a:cxn ang="0">
                  <a:pos x="csX629" y="csY629"/>
                </a:cxn>
                <a:cxn ang="0">
                  <a:pos x="csX630" y="csY630"/>
                </a:cxn>
                <a:cxn ang="0">
                  <a:pos x="csX631" y="csY631"/>
                </a:cxn>
                <a:cxn ang="0">
                  <a:pos x="csX632" y="csY632"/>
                </a:cxn>
                <a:cxn ang="0">
                  <a:pos x="csX633" y="csY633"/>
                </a:cxn>
                <a:cxn ang="0">
                  <a:pos x="csX634" y="csY634"/>
                </a:cxn>
                <a:cxn ang="0">
                  <a:pos x="csX635" y="csY635"/>
                </a:cxn>
                <a:cxn ang="0">
                  <a:pos x="csX636" y="csY636"/>
                </a:cxn>
                <a:cxn ang="0">
                  <a:pos x="csX637" y="csY637"/>
                </a:cxn>
                <a:cxn ang="0">
                  <a:pos x="csX638" y="csY638"/>
                </a:cxn>
                <a:cxn ang="0">
                  <a:pos x="csX639" y="csY639"/>
                </a:cxn>
                <a:cxn ang="0">
                  <a:pos x="csX640" y="csY640"/>
                </a:cxn>
                <a:cxn ang="0">
                  <a:pos x="csX641" y="csY641"/>
                </a:cxn>
                <a:cxn ang="0">
                  <a:pos x="csX642" y="csY642"/>
                </a:cxn>
                <a:cxn ang="0">
                  <a:pos x="csX643" y="csY643"/>
                </a:cxn>
                <a:cxn ang="0">
                  <a:pos x="csX644" y="csY644"/>
                </a:cxn>
                <a:cxn ang="0">
                  <a:pos x="csX645" y="csY645"/>
                </a:cxn>
                <a:cxn ang="0">
                  <a:pos x="csX646" y="csY646"/>
                </a:cxn>
                <a:cxn ang="0">
                  <a:pos x="csX647" y="csY647"/>
                </a:cxn>
                <a:cxn ang="0">
                  <a:pos x="csX648" y="csY648"/>
                </a:cxn>
                <a:cxn ang="0">
                  <a:pos x="csX649" y="csY649"/>
                </a:cxn>
                <a:cxn ang="0">
                  <a:pos x="csX650" y="csY650"/>
                </a:cxn>
                <a:cxn ang="0">
                  <a:pos x="csX651" y="csY651"/>
                </a:cxn>
                <a:cxn ang="0">
                  <a:pos x="csX652" y="csY652"/>
                </a:cxn>
                <a:cxn ang="0">
                  <a:pos x="csX653" y="csY653"/>
                </a:cxn>
                <a:cxn ang="0">
                  <a:pos x="csX654" y="csY654"/>
                </a:cxn>
                <a:cxn ang="0">
                  <a:pos x="csX655" y="csY655"/>
                </a:cxn>
                <a:cxn ang="0">
                  <a:pos x="csX656" y="csY656"/>
                </a:cxn>
                <a:cxn ang="0">
                  <a:pos x="csX657" y="csY657"/>
                </a:cxn>
                <a:cxn ang="0">
                  <a:pos x="csX658" y="csY658"/>
                </a:cxn>
                <a:cxn ang="0">
                  <a:pos x="csX659" y="csY659"/>
                </a:cxn>
                <a:cxn ang="0">
                  <a:pos x="csX660" y="csY660"/>
                </a:cxn>
                <a:cxn ang="0">
                  <a:pos x="csX661" y="csY661"/>
                </a:cxn>
                <a:cxn ang="0">
                  <a:pos x="csX662" y="csY662"/>
                </a:cxn>
                <a:cxn ang="0">
                  <a:pos x="csX663" y="csY663"/>
                </a:cxn>
                <a:cxn ang="0">
                  <a:pos x="csX664" y="csY664"/>
                </a:cxn>
                <a:cxn ang="0">
                  <a:pos x="csX665" y="csY665"/>
                </a:cxn>
                <a:cxn ang="0">
                  <a:pos x="csX666" y="csY666"/>
                </a:cxn>
                <a:cxn ang="0">
                  <a:pos x="csX667" y="csY667"/>
                </a:cxn>
                <a:cxn ang="0">
                  <a:pos x="csX668" y="csY668"/>
                </a:cxn>
                <a:cxn ang="0">
                  <a:pos x="csX669" y="csY669"/>
                </a:cxn>
                <a:cxn ang="0">
                  <a:pos x="csX670" y="csY670"/>
                </a:cxn>
                <a:cxn ang="0">
                  <a:pos x="csX671" y="csY671"/>
                </a:cxn>
                <a:cxn ang="0">
                  <a:pos x="csX672" y="csY672"/>
                </a:cxn>
                <a:cxn ang="0">
                  <a:pos x="csX673" y="csY673"/>
                </a:cxn>
                <a:cxn ang="0">
                  <a:pos x="csX674" y="csY674"/>
                </a:cxn>
                <a:cxn ang="0">
                  <a:pos x="csX675" y="csY675"/>
                </a:cxn>
                <a:cxn ang="0">
                  <a:pos x="csX676" y="csY676"/>
                </a:cxn>
                <a:cxn ang="0">
                  <a:pos x="csX677" y="csY677"/>
                </a:cxn>
                <a:cxn ang="0">
                  <a:pos x="csX678" y="csY678"/>
                </a:cxn>
                <a:cxn ang="0">
                  <a:pos x="csX679" y="csY679"/>
                </a:cxn>
                <a:cxn ang="0">
                  <a:pos x="csX680" y="csY680"/>
                </a:cxn>
                <a:cxn ang="0">
                  <a:pos x="csX681" y="csY681"/>
                </a:cxn>
                <a:cxn ang="0">
                  <a:pos x="csX682" y="csY682"/>
                </a:cxn>
                <a:cxn ang="0">
                  <a:pos x="csX683" y="csY683"/>
                </a:cxn>
                <a:cxn ang="0">
                  <a:pos x="csX684" y="csY684"/>
                </a:cxn>
                <a:cxn ang="0">
                  <a:pos x="csX685" y="csY685"/>
                </a:cxn>
                <a:cxn ang="0">
                  <a:pos x="csX686" y="csY686"/>
                </a:cxn>
                <a:cxn ang="0">
                  <a:pos x="csX687" y="csY687"/>
                </a:cxn>
                <a:cxn ang="0">
                  <a:pos x="csX688" y="csY688"/>
                </a:cxn>
                <a:cxn ang="0">
                  <a:pos x="csX689" y="csY689"/>
                </a:cxn>
                <a:cxn ang="0">
                  <a:pos x="csX690" y="csY690"/>
                </a:cxn>
                <a:cxn ang="0">
                  <a:pos x="csX691" y="csY691"/>
                </a:cxn>
                <a:cxn ang="0">
                  <a:pos x="csX692" y="csY692"/>
                </a:cxn>
                <a:cxn ang="0">
                  <a:pos x="csX693" y="csY693"/>
                </a:cxn>
                <a:cxn ang="0">
                  <a:pos x="csX694" y="csY694"/>
                </a:cxn>
                <a:cxn ang="0">
                  <a:pos x="csX695" y="csY695"/>
                </a:cxn>
                <a:cxn ang="0">
                  <a:pos x="csX696" y="csY696"/>
                </a:cxn>
                <a:cxn ang="0">
                  <a:pos x="csX697" y="csY697"/>
                </a:cxn>
                <a:cxn ang="0">
                  <a:pos x="csX698" y="csY698"/>
                </a:cxn>
                <a:cxn ang="0">
                  <a:pos x="csX699" y="csY699"/>
                </a:cxn>
                <a:cxn ang="0">
                  <a:pos x="csX700" y="csY700"/>
                </a:cxn>
                <a:cxn ang="0">
                  <a:pos x="csX701" y="csY701"/>
                </a:cxn>
                <a:cxn ang="0">
                  <a:pos x="csX702" y="csY702"/>
                </a:cxn>
                <a:cxn ang="0">
                  <a:pos x="csX703" y="csY703"/>
                </a:cxn>
                <a:cxn ang="0">
                  <a:pos x="csX704" y="csY704"/>
                </a:cxn>
                <a:cxn ang="0">
                  <a:pos x="csX705" y="csY705"/>
                </a:cxn>
                <a:cxn ang="0">
                  <a:pos x="csX706" y="csY706"/>
                </a:cxn>
                <a:cxn ang="0">
                  <a:pos x="csX707" y="csY707"/>
                </a:cxn>
                <a:cxn ang="0">
                  <a:pos x="csX708" y="csY708"/>
                </a:cxn>
                <a:cxn ang="0">
                  <a:pos x="csX709" y="csY709"/>
                </a:cxn>
                <a:cxn ang="0">
                  <a:pos x="csX710" y="csY710"/>
                </a:cxn>
                <a:cxn ang="0">
                  <a:pos x="csX711" y="csY711"/>
                </a:cxn>
                <a:cxn ang="0">
                  <a:pos x="csX712" y="csY712"/>
                </a:cxn>
                <a:cxn ang="0">
                  <a:pos x="csX713" y="csY713"/>
                </a:cxn>
                <a:cxn ang="0">
                  <a:pos x="csX714" y="csY714"/>
                </a:cxn>
                <a:cxn ang="0">
                  <a:pos x="csX715" y="csY715"/>
                </a:cxn>
                <a:cxn ang="0">
                  <a:pos x="csX716" y="csY716"/>
                </a:cxn>
                <a:cxn ang="0">
                  <a:pos x="csX717" y="csY717"/>
                </a:cxn>
                <a:cxn ang="0">
                  <a:pos x="csX718" y="csY718"/>
                </a:cxn>
                <a:cxn ang="0">
                  <a:pos x="csX719" y="csY719"/>
                </a:cxn>
                <a:cxn ang="0">
                  <a:pos x="csX720" y="csY720"/>
                </a:cxn>
                <a:cxn ang="0">
                  <a:pos x="csX721" y="csY721"/>
                </a:cxn>
                <a:cxn ang="0">
                  <a:pos x="csX722" y="csY722"/>
                </a:cxn>
                <a:cxn ang="0">
                  <a:pos x="csX723" y="csY723"/>
                </a:cxn>
                <a:cxn ang="0">
                  <a:pos x="csX724" y="csY724"/>
                </a:cxn>
                <a:cxn ang="0">
                  <a:pos x="csX725" y="csY725"/>
                </a:cxn>
                <a:cxn ang="0">
                  <a:pos x="csX726" y="csY726"/>
                </a:cxn>
                <a:cxn ang="0">
                  <a:pos x="csX727" y="csY727"/>
                </a:cxn>
                <a:cxn ang="0">
                  <a:pos x="csX728" y="csY728"/>
                </a:cxn>
                <a:cxn ang="0">
                  <a:pos x="csX729" y="csY729"/>
                </a:cxn>
                <a:cxn ang="0">
                  <a:pos x="csX730" y="csY730"/>
                </a:cxn>
                <a:cxn ang="0">
                  <a:pos x="csX731" y="csY731"/>
                </a:cxn>
                <a:cxn ang="0">
                  <a:pos x="csX732" y="csY732"/>
                </a:cxn>
                <a:cxn ang="0">
                  <a:pos x="csX733" y="csY733"/>
                </a:cxn>
                <a:cxn ang="0">
                  <a:pos x="csX734" y="csY734"/>
                </a:cxn>
                <a:cxn ang="0">
                  <a:pos x="csX735" y="csY735"/>
                </a:cxn>
                <a:cxn ang="0">
                  <a:pos x="csX736" y="csY736"/>
                </a:cxn>
                <a:cxn ang="0">
                  <a:pos x="csX737" y="csY737"/>
                </a:cxn>
                <a:cxn ang="0">
                  <a:pos x="csX738" y="csY738"/>
                </a:cxn>
                <a:cxn ang="0">
                  <a:pos x="csX739" y="csY739"/>
                </a:cxn>
                <a:cxn ang="0">
                  <a:pos x="csX740" y="csY740"/>
                </a:cxn>
                <a:cxn ang="0">
                  <a:pos x="csX741" y="csY741"/>
                </a:cxn>
                <a:cxn ang="0">
                  <a:pos x="csX742" y="csY742"/>
                </a:cxn>
                <a:cxn ang="0">
                  <a:pos x="csX743" y="csY743"/>
                </a:cxn>
                <a:cxn ang="0">
                  <a:pos x="csX744" y="csY744"/>
                </a:cxn>
                <a:cxn ang="0">
                  <a:pos x="csX745" y="csY745"/>
                </a:cxn>
                <a:cxn ang="0">
                  <a:pos x="csX746" y="csY746"/>
                </a:cxn>
                <a:cxn ang="0">
                  <a:pos x="csX747" y="csY747"/>
                </a:cxn>
                <a:cxn ang="0">
                  <a:pos x="csX748" y="csY748"/>
                </a:cxn>
                <a:cxn ang="0">
                  <a:pos x="csX749" y="csY749"/>
                </a:cxn>
                <a:cxn ang="0">
                  <a:pos x="csX750" y="csY750"/>
                </a:cxn>
                <a:cxn ang="0">
                  <a:pos x="csX751" y="csY751"/>
                </a:cxn>
                <a:cxn ang="0">
                  <a:pos x="csX752" y="csY752"/>
                </a:cxn>
                <a:cxn ang="0">
                  <a:pos x="csX753" y="csY753"/>
                </a:cxn>
                <a:cxn ang="0">
                  <a:pos x="csX754" y="csY754"/>
                </a:cxn>
                <a:cxn ang="0">
                  <a:pos x="csX755" y="csY755"/>
                </a:cxn>
                <a:cxn ang="0">
                  <a:pos x="csX756" y="csY756"/>
                </a:cxn>
                <a:cxn ang="0">
                  <a:pos x="csX757" y="csY757"/>
                </a:cxn>
                <a:cxn ang="0">
                  <a:pos x="csX758" y="csY758"/>
                </a:cxn>
                <a:cxn ang="0">
                  <a:pos x="csX759" y="csY759"/>
                </a:cxn>
                <a:cxn ang="0">
                  <a:pos x="csX760" y="csY760"/>
                </a:cxn>
                <a:cxn ang="0">
                  <a:pos x="csX761" y="csY761"/>
                </a:cxn>
                <a:cxn ang="0">
                  <a:pos x="csX762" y="csY762"/>
                </a:cxn>
                <a:cxn ang="0">
                  <a:pos x="csX763" y="csY763"/>
                </a:cxn>
                <a:cxn ang="0">
                  <a:pos x="csX764" y="csY764"/>
                </a:cxn>
                <a:cxn ang="0">
                  <a:pos x="csX765" y="csY765"/>
                </a:cxn>
                <a:cxn ang="0">
                  <a:pos x="csX766" y="csY766"/>
                </a:cxn>
                <a:cxn ang="0">
                  <a:pos x="csX767" y="csY767"/>
                </a:cxn>
                <a:cxn ang="0">
                  <a:pos x="csX768" y="csY768"/>
                </a:cxn>
                <a:cxn ang="0">
                  <a:pos x="csX769" y="csY769"/>
                </a:cxn>
                <a:cxn ang="0">
                  <a:pos x="csX770" y="csY770"/>
                </a:cxn>
                <a:cxn ang="0">
                  <a:pos x="csX771" y="csY771"/>
                </a:cxn>
                <a:cxn ang="0">
                  <a:pos x="csX772" y="csY772"/>
                </a:cxn>
                <a:cxn ang="0">
                  <a:pos x="csX773" y="csY773"/>
                </a:cxn>
                <a:cxn ang="0">
                  <a:pos x="csX774" y="csY774"/>
                </a:cxn>
                <a:cxn ang="0">
                  <a:pos x="csX775" y="csY775"/>
                </a:cxn>
                <a:cxn ang="0">
                  <a:pos x="csX776" y="csY776"/>
                </a:cxn>
                <a:cxn ang="0">
                  <a:pos x="csX777" y="csY777"/>
                </a:cxn>
                <a:cxn ang="0">
                  <a:pos x="csX778" y="csY778"/>
                </a:cxn>
                <a:cxn ang="0">
                  <a:pos x="csX779" y="csY779"/>
                </a:cxn>
                <a:cxn ang="0">
                  <a:pos x="csX780" y="csY780"/>
                </a:cxn>
                <a:cxn ang="0">
                  <a:pos x="csX781" y="csY781"/>
                </a:cxn>
                <a:cxn ang="0">
                  <a:pos x="csX782" y="csY782"/>
                </a:cxn>
                <a:cxn ang="0">
                  <a:pos x="csX783" y="csY783"/>
                </a:cxn>
                <a:cxn ang="0">
                  <a:pos x="csX784" y="csY784"/>
                </a:cxn>
                <a:cxn ang="0">
                  <a:pos x="csX785" y="csY785"/>
                </a:cxn>
                <a:cxn ang="0">
                  <a:pos x="csX786" y="csY786"/>
                </a:cxn>
                <a:cxn ang="0">
                  <a:pos x="csX787" y="csY787"/>
                </a:cxn>
                <a:cxn ang="0">
                  <a:pos x="csX788" y="csY788"/>
                </a:cxn>
                <a:cxn ang="0">
                  <a:pos x="csX789" y="csY789"/>
                </a:cxn>
                <a:cxn ang="0">
                  <a:pos x="csX790" y="csY790"/>
                </a:cxn>
                <a:cxn ang="0">
                  <a:pos x="csX791" y="csY791"/>
                </a:cxn>
                <a:cxn ang="0">
                  <a:pos x="csX792" y="csY792"/>
                </a:cxn>
                <a:cxn ang="0">
                  <a:pos x="csX793" y="csY793"/>
                </a:cxn>
                <a:cxn ang="0">
                  <a:pos x="csX794" y="csY794"/>
                </a:cxn>
                <a:cxn ang="0">
                  <a:pos x="csX795" y="csY795"/>
                </a:cxn>
                <a:cxn ang="0">
                  <a:pos x="csX796" y="csY796"/>
                </a:cxn>
                <a:cxn ang="0">
                  <a:pos x="csX797" y="csY797"/>
                </a:cxn>
                <a:cxn ang="0">
                  <a:pos x="csX798" y="csY798"/>
                </a:cxn>
                <a:cxn ang="0">
                  <a:pos x="csX799" y="csY799"/>
                </a:cxn>
                <a:cxn ang="0">
                  <a:pos x="csX800" y="csY800"/>
                </a:cxn>
                <a:cxn ang="0">
                  <a:pos x="csX801" y="csY801"/>
                </a:cxn>
                <a:cxn ang="0">
                  <a:pos x="csX802" y="csY802"/>
                </a:cxn>
                <a:cxn ang="0">
                  <a:pos x="csX803" y="csY803"/>
                </a:cxn>
                <a:cxn ang="0">
                  <a:pos x="csX804" y="csY804"/>
                </a:cxn>
                <a:cxn ang="0">
                  <a:pos x="csX805" y="csY805"/>
                </a:cxn>
                <a:cxn ang="0">
                  <a:pos x="csX806" y="csY806"/>
                </a:cxn>
                <a:cxn ang="0">
                  <a:pos x="csX807" y="csY807"/>
                </a:cxn>
                <a:cxn ang="0">
                  <a:pos x="csX808" y="csY808"/>
                </a:cxn>
                <a:cxn ang="0">
                  <a:pos x="csX809" y="csY809"/>
                </a:cxn>
                <a:cxn ang="0">
                  <a:pos x="csX810" y="csY810"/>
                </a:cxn>
                <a:cxn ang="0">
                  <a:pos x="csX811" y="csY811"/>
                </a:cxn>
                <a:cxn ang="0">
                  <a:pos x="csX812" y="csY812"/>
                </a:cxn>
                <a:cxn ang="0">
                  <a:pos x="csX813" y="csY813"/>
                </a:cxn>
                <a:cxn ang="0">
                  <a:pos x="csX814" y="csY814"/>
                </a:cxn>
                <a:cxn ang="0">
                  <a:pos x="csX815" y="csY815"/>
                </a:cxn>
                <a:cxn ang="0">
                  <a:pos x="csX816" y="csY816"/>
                </a:cxn>
                <a:cxn ang="0">
                  <a:pos x="csX817" y="csY817"/>
                </a:cxn>
                <a:cxn ang="0">
                  <a:pos x="csX818" y="csY818"/>
                </a:cxn>
                <a:cxn ang="0">
                  <a:pos x="csX819" y="csY819"/>
                </a:cxn>
                <a:cxn ang="0">
                  <a:pos x="csX820" y="csY820"/>
                </a:cxn>
                <a:cxn ang="0">
                  <a:pos x="csX821" y="csY821"/>
                </a:cxn>
                <a:cxn ang="0">
                  <a:pos x="csX822" y="csY822"/>
                </a:cxn>
                <a:cxn ang="0">
                  <a:pos x="csX823" y="csY823"/>
                </a:cxn>
                <a:cxn ang="0">
                  <a:pos x="csX824" y="csY824"/>
                </a:cxn>
                <a:cxn ang="0">
                  <a:pos x="csX825" y="csY825"/>
                </a:cxn>
                <a:cxn ang="0">
                  <a:pos x="csX826" y="csY826"/>
                </a:cxn>
                <a:cxn ang="0">
                  <a:pos x="csX827" y="csY827"/>
                </a:cxn>
                <a:cxn ang="0">
                  <a:pos x="csX828" y="csY828"/>
                </a:cxn>
                <a:cxn ang="0">
                  <a:pos x="csX829" y="csY829"/>
                </a:cxn>
                <a:cxn ang="0">
                  <a:pos x="csX830" y="csY830"/>
                </a:cxn>
                <a:cxn ang="0">
                  <a:pos x="csX831" y="csY831"/>
                </a:cxn>
                <a:cxn ang="0">
                  <a:pos x="csX832" y="csY832"/>
                </a:cxn>
                <a:cxn ang="0">
                  <a:pos x="csX833" y="csY833"/>
                </a:cxn>
                <a:cxn ang="0">
                  <a:pos x="csX834" y="csY834"/>
                </a:cxn>
                <a:cxn ang="0">
                  <a:pos x="csX835" y="csY835"/>
                </a:cxn>
                <a:cxn ang="0">
                  <a:pos x="csX836" y="csY836"/>
                </a:cxn>
                <a:cxn ang="0">
                  <a:pos x="csX837" y="csY837"/>
                </a:cxn>
                <a:cxn ang="0">
                  <a:pos x="csX838" y="csY838"/>
                </a:cxn>
                <a:cxn ang="0">
                  <a:pos x="csX839" y="csY839"/>
                </a:cxn>
                <a:cxn ang="0">
                  <a:pos x="csX840" y="csY840"/>
                </a:cxn>
                <a:cxn ang="0">
                  <a:pos x="csX841" y="csY841"/>
                </a:cxn>
                <a:cxn ang="0">
                  <a:pos x="csX842" y="csY842"/>
                </a:cxn>
                <a:cxn ang="0">
                  <a:pos x="csX843" y="csY843"/>
                </a:cxn>
                <a:cxn ang="0">
                  <a:pos x="csX844" y="csY844"/>
                </a:cxn>
                <a:cxn ang="0">
                  <a:pos x="csX845" y="csY845"/>
                </a:cxn>
                <a:cxn ang="0">
                  <a:pos x="csX846" y="csY846"/>
                </a:cxn>
                <a:cxn ang="0">
                  <a:pos x="csX847" y="csY847"/>
                </a:cxn>
                <a:cxn ang="0">
                  <a:pos x="csX848" y="csY848"/>
                </a:cxn>
                <a:cxn ang="0">
                  <a:pos x="csX849" y="csY849"/>
                </a:cxn>
                <a:cxn ang="0">
                  <a:pos x="csX850" y="csY850"/>
                </a:cxn>
                <a:cxn ang="0">
                  <a:pos x="csX851" y="csY851"/>
                </a:cxn>
                <a:cxn ang="0">
                  <a:pos x="csX852" y="csY852"/>
                </a:cxn>
                <a:cxn ang="0">
                  <a:pos x="csX853" y="csY853"/>
                </a:cxn>
                <a:cxn ang="0">
                  <a:pos x="csX854" y="csY854"/>
                </a:cxn>
                <a:cxn ang="0">
                  <a:pos x="csX855" y="csY855"/>
                </a:cxn>
                <a:cxn ang="0">
                  <a:pos x="csX856" y="csY856"/>
                </a:cxn>
                <a:cxn ang="0">
                  <a:pos x="csX857" y="csY857"/>
                </a:cxn>
                <a:cxn ang="0">
                  <a:pos x="csX858" y="csY858"/>
                </a:cxn>
                <a:cxn ang="0">
                  <a:pos x="csX859" y="csY859"/>
                </a:cxn>
                <a:cxn ang="0">
                  <a:pos x="csX860" y="csY860"/>
                </a:cxn>
                <a:cxn ang="0">
                  <a:pos x="csX861" y="csY861"/>
                </a:cxn>
                <a:cxn ang="0">
                  <a:pos x="csX862" y="csY862"/>
                </a:cxn>
                <a:cxn ang="0">
                  <a:pos x="csX863" y="csY863"/>
                </a:cxn>
                <a:cxn ang="0">
                  <a:pos x="csX864" y="csY864"/>
                </a:cxn>
                <a:cxn ang="0">
                  <a:pos x="csX865" y="csY865"/>
                </a:cxn>
                <a:cxn ang="0">
                  <a:pos x="csX866" y="csY866"/>
                </a:cxn>
                <a:cxn ang="0">
                  <a:pos x="csX867" y="csY867"/>
                </a:cxn>
                <a:cxn ang="0">
                  <a:pos x="csX868" y="csY868"/>
                </a:cxn>
                <a:cxn ang="0">
                  <a:pos x="csX869" y="csY869"/>
                </a:cxn>
                <a:cxn ang="0">
                  <a:pos x="csX870" y="csY870"/>
                </a:cxn>
                <a:cxn ang="0">
                  <a:pos x="csX871" y="csY871"/>
                </a:cxn>
                <a:cxn ang="0">
                  <a:pos x="csX872" y="csY872"/>
                </a:cxn>
                <a:cxn ang="0">
                  <a:pos x="csX873" y="csY873"/>
                </a:cxn>
                <a:cxn ang="0">
                  <a:pos x="csX874" y="csY874"/>
                </a:cxn>
                <a:cxn ang="0">
                  <a:pos x="csX875" y="csY875"/>
                </a:cxn>
                <a:cxn ang="0">
                  <a:pos x="csX876" y="csY876"/>
                </a:cxn>
                <a:cxn ang="0">
                  <a:pos x="csX877" y="csY877"/>
                </a:cxn>
                <a:cxn ang="0">
                  <a:pos x="csX878" y="csY878"/>
                </a:cxn>
                <a:cxn ang="0">
                  <a:pos x="csX879" y="csY879"/>
                </a:cxn>
                <a:cxn ang="0">
                  <a:pos x="csX880" y="csY880"/>
                </a:cxn>
                <a:cxn ang="0">
                  <a:pos x="csX881" y="csY881"/>
                </a:cxn>
                <a:cxn ang="0">
                  <a:pos x="csX882" y="csY882"/>
                </a:cxn>
                <a:cxn ang="0">
                  <a:pos x="csX883" y="csY883"/>
                </a:cxn>
                <a:cxn ang="0">
                  <a:pos x="csX884" y="csY884"/>
                </a:cxn>
                <a:cxn ang="0">
                  <a:pos x="csX885" y="csY885"/>
                </a:cxn>
                <a:cxn ang="0">
                  <a:pos x="csX886" y="csY886"/>
                </a:cxn>
                <a:cxn ang="0">
                  <a:pos x="csX887" y="csY887"/>
                </a:cxn>
                <a:cxn ang="0">
                  <a:pos x="csX888" y="csY888"/>
                </a:cxn>
                <a:cxn ang="0">
                  <a:pos x="csX889" y="csY889"/>
                </a:cxn>
                <a:cxn ang="0">
                  <a:pos x="csX890" y="csY890"/>
                </a:cxn>
                <a:cxn ang="0">
                  <a:pos x="csX891" y="csY891"/>
                </a:cxn>
                <a:cxn ang="0">
                  <a:pos x="csX892" y="csY892"/>
                </a:cxn>
                <a:cxn ang="0">
                  <a:pos x="csX893" y="csY893"/>
                </a:cxn>
                <a:cxn ang="0">
                  <a:pos x="csX894" y="csY894"/>
                </a:cxn>
                <a:cxn ang="0">
                  <a:pos x="csX895" y="csY895"/>
                </a:cxn>
                <a:cxn ang="0">
                  <a:pos x="csX896" y="csY896"/>
                </a:cxn>
                <a:cxn ang="0">
                  <a:pos x="csX897" y="csY897"/>
                </a:cxn>
                <a:cxn ang="0">
                  <a:pos x="csX898" y="csY898"/>
                </a:cxn>
                <a:cxn ang="0">
                  <a:pos x="csX899" y="csY899"/>
                </a:cxn>
                <a:cxn ang="0">
                  <a:pos x="csX900" y="csY900"/>
                </a:cxn>
                <a:cxn ang="0">
                  <a:pos x="csX901" y="csY901"/>
                </a:cxn>
                <a:cxn ang="0">
                  <a:pos x="csX902" y="csY902"/>
                </a:cxn>
                <a:cxn ang="0">
                  <a:pos x="csX903" y="csY903"/>
                </a:cxn>
                <a:cxn ang="0">
                  <a:pos x="csX904" y="csY904"/>
                </a:cxn>
                <a:cxn ang="0">
                  <a:pos x="csX905" y="csY905"/>
                </a:cxn>
                <a:cxn ang="0">
                  <a:pos x="csX906" y="csY906"/>
                </a:cxn>
                <a:cxn ang="0">
                  <a:pos x="csX907" y="csY907"/>
                </a:cxn>
                <a:cxn ang="0">
                  <a:pos x="csX908" y="csY908"/>
                </a:cxn>
                <a:cxn ang="0">
                  <a:pos x="csX909" y="csY909"/>
                </a:cxn>
                <a:cxn ang="0">
                  <a:pos x="csX910" y="csY910"/>
                </a:cxn>
                <a:cxn ang="0">
                  <a:pos x="csX911" y="csY911"/>
                </a:cxn>
                <a:cxn ang="0">
                  <a:pos x="csX912" y="csY912"/>
                </a:cxn>
                <a:cxn ang="0">
                  <a:pos x="csX913" y="csY913"/>
                </a:cxn>
                <a:cxn ang="0">
                  <a:pos x="csX914" y="csY914"/>
                </a:cxn>
                <a:cxn ang="0">
                  <a:pos x="csX915" y="csY915"/>
                </a:cxn>
                <a:cxn ang="0">
                  <a:pos x="csX916" y="csY916"/>
                </a:cxn>
                <a:cxn ang="0">
                  <a:pos x="csX917" y="csY917"/>
                </a:cxn>
                <a:cxn ang="0">
                  <a:pos x="csX918" y="csY918"/>
                </a:cxn>
                <a:cxn ang="0">
                  <a:pos x="csX919" y="csY919"/>
                </a:cxn>
                <a:cxn ang="0">
                  <a:pos x="csX920" y="csY920"/>
                </a:cxn>
                <a:cxn ang="0">
                  <a:pos x="csX921" y="csY921"/>
                </a:cxn>
                <a:cxn ang="0">
                  <a:pos x="csX922" y="csY922"/>
                </a:cxn>
                <a:cxn ang="0">
                  <a:pos x="csX923" y="csY923"/>
                </a:cxn>
                <a:cxn ang="0">
                  <a:pos x="csX924" y="csY924"/>
                </a:cxn>
                <a:cxn ang="0">
                  <a:pos x="csX925" y="csY925"/>
                </a:cxn>
                <a:cxn ang="0">
                  <a:pos x="csX926" y="csY926"/>
                </a:cxn>
                <a:cxn ang="0">
                  <a:pos x="csX927" y="csY927"/>
                </a:cxn>
                <a:cxn ang="0">
                  <a:pos x="csX928" y="csY928"/>
                </a:cxn>
                <a:cxn ang="0">
                  <a:pos x="csX929" y="csY929"/>
                </a:cxn>
                <a:cxn ang="0">
                  <a:pos x="csX930" y="csY930"/>
                </a:cxn>
                <a:cxn ang="0">
                  <a:pos x="csX931" y="csY931"/>
                </a:cxn>
                <a:cxn ang="0">
                  <a:pos x="csX932" y="csY932"/>
                </a:cxn>
                <a:cxn ang="0">
                  <a:pos x="csX933" y="csY933"/>
                </a:cxn>
                <a:cxn ang="0">
                  <a:pos x="csX934" y="csY934"/>
                </a:cxn>
                <a:cxn ang="0">
                  <a:pos x="csX935" y="csY935"/>
                </a:cxn>
                <a:cxn ang="0">
                  <a:pos x="csX936" y="csY936"/>
                </a:cxn>
                <a:cxn ang="0">
                  <a:pos x="csX937" y="csY937"/>
                </a:cxn>
                <a:cxn ang="0">
                  <a:pos x="csX938" y="csY938"/>
                </a:cxn>
                <a:cxn ang="0">
                  <a:pos x="csX939" y="csY939"/>
                </a:cxn>
                <a:cxn ang="0">
                  <a:pos x="csX940" y="csY940"/>
                </a:cxn>
                <a:cxn ang="0">
                  <a:pos x="csX941" y="csY941"/>
                </a:cxn>
                <a:cxn ang="0">
                  <a:pos x="csX942" y="csY942"/>
                </a:cxn>
                <a:cxn ang="0">
                  <a:pos x="csX943" y="csY943"/>
                </a:cxn>
                <a:cxn ang="0">
                  <a:pos x="csX944" y="csY944"/>
                </a:cxn>
                <a:cxn ang="0">
                  <a:pos x="csX945" y="csY945"/>
                </a:cxn>
                <a:cxn ang="0">
                  <a:pos x="csX946" y="csY946"/>
                </a:cxn>
                <a:cxn ang="0">
                  <a:pos x="csX947" y="csY947"/>
                </a:cxn>
                <a:cxn ang="0">
                  <a:pos x="csX948" y="csY948"/>
                </a:cxn>
                <a:cxn ang="0">
                  <a:pos x="csX949" y="csY949"/>
                </a:cxn>
                <a:cxn ang="0">
                  <a:pos x="csX950" y="csY950"/>
                </a:cxn>
                <a:cxn ang="0">
                  <a:pos x="csX951" y="csY951"/>
                </a:cxn>
                <a:cxn ang="0">
                  <a:pos x="csX952" y="csY952"/>
                </a:cxn>
                <a:cxn ang="0">
                  <a:pos x="csX953" y="csY953"/>
                </a:cxn>
                <a:cxn ang="0">
                  <a:pos x="csX954" y="csY954"/>
                </a:cxn>
                <a:cxn ang="0">
                  <a:pos x="csX955" y="csY955"/>
                </a:cxn>
                <a:cxn ang="0">
                  <a:pos x="csX956" y="csY956"/>
                </a:cxn>
                <a:cxn ang="0">
                  <a:pos x="csX957" y="csY957"/>
                </a:cxn>
                <a:cxn ang="0">
                  <a:pos x="csX958" y="csY958"/>
                </a:cxn>
                <a:cxn ang="0">
                  <a:pos x="csX959" y="csY959"/>
                </a:cxn>
                <a:cxn ang="0">
                  <a:pos x="csX960" y="csY960"/>
                </a:cxn>
                <a:cxn ang="0">
                  <a:pos x="csX961" y="csY961"/>
                </a:cxn>
                <a:cxn ang="0">
                  <a:pos x="csX962" y="csY962"/>
                </a:cxn>
                <a:cxn ang="0">
                  <a:pos x="csX963" y="csY963"/>
                </a:cxn>
                <a:cxn ang="0">
                  <a:pos x="csX964" y="csY964"/>
                </a:cxn>
                <a:cxn ang="0">
                  <a:pos x="csX965" y="csY965"/>
                </a:cxn>
                <a:cxn ang="0">
                  <a:pos x="csX966" y="csY966"/>
                </a:cxn>
                <a:cxn ang="0">
                  <a:pos x="csX967" y="csY967"/>
                </a:cxn>
                <a:cxn ang="0">
                  <a:pos x="csX968" y="csY968"/>
                </a:cxn>
                <a:cxn ang="0">
                  <a:pos x="csX969" y="csY969"/>
                </a:cxn>
                <a:cxn ang="0">
                  <a:pos x="csX970" y="csY970"/>
                </a:cxn>
                <a:cxn ang="0">
                  <a:pos x="csX971" y="csY971"/>
                </a:cxn>
                <a:cxn ang="0">
                  <a:pos x="csX972" y="csY972"/>
                </a:cxn>
                <a:cxn ang="0">
                  <a:pos x="csX973" y="csY973"/>
                </a:cxn>
                <a:cxn ang="0">
                  <a:pos x="csX974" y="csY974"/>
                </a:cxn>
                <a:cxn ang="0">
                  <a:pos x="csX975" y="csY975"/>
                </a:cxn>
                <a:cxn ang="0">
                  <a:pos x="csX976" y="csY976"/>
                </a:cxn>
                <a:cxn ang="0">
                  <a:pos x="csX977" y="csY977"/>
                </a:cxn>
                <a:cxn ang="0">
                  <a:pos x="csX978" y="csY978"/>
                </a:cxn>
                <a:cxn ang="0">
                  <a:pos x="csX979" y="csY979"/>
                </a:cxn>
                <a:cxn ang="0">
                  <a:pos x="csX980" y="csY980"/>
                </a:cxn>
                <a:cxn ang="0">
                  <a:pos x="csX981" y="csY981"/>
                </a:cxn>
                <a:cxn ang="0">
                  <a:pos x="csX982" y="csY982"/>
                </a:cxn>
                <a:cxn ang="0">
                  <a:pos x="csX983" y="csY983"/>
                </a:cxn>
                <a:cxn ang="0">
                  <a:pos x="csX984" y="csY984"/>
                </a:cxn>
                <a:cxn ang="0">
                  <a:pos x="csX985" y="csY985"/>
                </a:cxn>
                <a:cxn ang="0">
                  <a:pos x="csX986" y="csY986"/>
                </a:cxn>
                <a:cxn ang="0">
                  <a:pos x="csX987" y="csY987"/>
                </a:cxn>
                <a:cxn ang="0">
                  <a:pos x="csX988" y="csY988"/>
                </a:cxn>
                <a:cxn ang="0">
                  <a:pos x="csX989" y="csY989"/>
                </a:cxn>
                <a:cxn ang="0">
                  <a:pos x="csX990" y="csY990"/>
                </a:cxn>
                <a:cxn ang="0">
                  <a:pos x="csX991" y="csY991"/>
                </a:cxn>
                <a:cxn ang="0">
                  <a:pos x="csX992" y="csY992"/>
                </a:cxn>
                <a:cxn ang="0">
                  <a:pos x="csX993" y="csY993"/>
                </a:cxn>
                <a:cxn ang="0">
                  <a:pos x="csX994" y="csY994"/>
                </a:cxn>
                <a:cxn ang="0">
                  <a:pos x="csX995" y="csY995"/>
                </a:cxn>
                <a:cxn ang="0">
                  <a:pos x="csX996" y="csY996"/>
                </a:cxn>
                <a:cxn ang="0">
                  <a:pos x="csX997" y="csY997"/>
                </a:cxn>
                <a:cxn ang="0">
                  <a:pos x="csX998" y="csY998"/>
                </a:cxn>
                <a:cxn ang="0">
                  <a:pos x="csX999" y="csY999"/>
                </a:cxn>
                <a:cxn ang="0">
                  <a:pos x="csX1000" y="csY1000"/>
                </a:cxn>
                <a:cxn ang="0">
                  <a:pos x="csX1001" y="csY1001"/>
                </a:cxn>
                <a:cxn ang="0">
                  <a:pos x="csX1002" y="csY1002"/>
                </a:cxn>
                <a:cxn ang="0">
                  <a:pos x="csX1003" y="csY1003"/>
                </a:cxn>
                <a:cxn ang="0">
                  <a:pos x="csX1004" y="csY1004"/>
                </a:cxn>
                <a:cxn ang="0">
                  <a:pos x="csX1005" y="csY1005"/>
                </a:cxn>
                <a:cxn ang="0">
                  <a:pos x="csX1006" y="csY1006"/>
                </a:cxn>
                <a:cxn ang="0">
                  <a:pos x="csX1007" y="csY1007"/>
                </a:cxn>
                <a:cxn ang="0">
                  <a:pos x="csX1008" y="csY1008"/>
                </a:cxn>
                <a:cxn ang="0">
                  <a:pos x="csX1009" y="csY1009"/>
                </a:cxn>
                <a:cxn ang="0">
                  <a:pos x="csX1010" y="csY1010"/>
                </a:cxn>
                <a:cxn ang="0">
                  <a:pos x="csX1011" y="csY1011"/>
                </a:cxn>
                <a:cxn ang="0">
                  <a:pos x="csX1012" y="csY1012"/>
                </a:cxn>
                <a:cxn ang="0">
                  <a:pos x="csX1013" y="csY1013"/>
                </a:cxn>
                <a:cxn ang="0">
                  <a:pos x="csX1014" y="csY1014"/>
                </a:cxn>
                <a:cxn ang="0">
                  <a:pos x="csX1015" y="csY1015"/>
                </a:cxn>
                <a:cxn ang="0">
                  <a:pos x="csX1016" y="csY1016"/>
                </a:cxn>
                <a:cxn ang="0">
                  <a:pos x="csX1017" y="csY1017"/>
                </a:cxn>
                <a:cxn ang="0">
                  <a:pos x="csX1018" y="csY1018"/>
                </a:cxn>
                <a:cxn ang="0">
                  <a:pos x="csX1019" y="csY1019"/>
                </a:cxn>
                <a:cxn ang="0">
                  <a:pos x="csX1020" y="csY1020"/>
                </a:cxn>
                <a:cxn ang="0">
                  <a:pos x="csX1021" y="csY1021"/>
                </a:cxn>
                <a:cxn ang="0">
                  <a:pos x="csX1022" y="csY1022"/>
                </a:cxn>
                <a:cxn ang="0">
                  <a:pos x="csX1023" y="csY1023"/>
                </a:cxn>
                <a:cxn ang="0">
                  <a:pos x="csX1024" y="csY1024"/>
                </a:cxn>
                <a:cxn ang="0">
                  <a:pos x="csX1025" y="csY1025"/>
                </a:cxn>
                <a:cxn ang="0">
                  <a:pos x="csX1026" y="csY1026"/>
                </a:cxn>
                <a:cxn ang="0">
                  <a:pos x="csX1027" y="csY1027"/>
                </a:cxn>
                <a:cxn ang="0">
                  <a:pos x="csX1028" y="csY1028"/>
                </a:cxn>
                <a:cxn ang="0">
                  <a:pos x="csX1029" y="csY1029"/>
                </a:cxn>
                <a:cxn ang="0">
                  <a:pos x="csX1030" y="csY1030"/>
                </a:cxn>
                <a:cxn ang="0">
                  <a:pos x="csX1031" y="csY1031"/>
                </a:cxn>
                <a:cxn ang="0">
                  <a:pos x="csX1032" y="csY1032"/>
                </a:cxn>
                <a:cxn ang="0">
                  <a:pos x="csX1033" y="csY1033"/>
                </a:cxn>
                <a:cxn ang="0">
                  <a:pos x="csX1034" y="csY1034"/>
                </a:cxn>
                <a:cxn ang="0">
                  <a:pos x="csX1035" y="csY1035"/>
                </a:cxn>
                <a:cxn ang="0">
                  <a:pos x="csX1036" y="csY1036"/>
                </a:cxn>
                <a:cxn ang="0">
                  <a:pos x="csX1037" y="csY1037"/>
                </a:cxn>
                <a:cxn ang="0">
                  <a:pos x="csX1038" y="csY1038"/>
                </a:cxn>
                <a:cxn ang="0">
                  <a:pos x="csX1039" y="csY1039"/>
                </a:cxn>
                <a:cxn ang="0">
                  <a:pos x="csX1040" y="csY1040"/>
                </a:cxn>
                <a:cxn ang="0">
                  <a:pos x="csX1041" y="csY1041"/>
                </a:cxn>
                <a:cxn ang="0">
                  <a:pos x="csX1042" y="csY1042"/>
                </a:cxn>
                <a:cxn ang="0">
                  <a:pos x="csX1043" y="csY1043"/>
                </a:cxn>
                <a:cxn ang="0">
                  <a:pos x="csX1044" y="csY1044"/>
                </a:cxn>
                <a:cxn ang="0">
                  <a:pos x="csX1045" y="csY1045"/>
                </a:cxn>
                <a:cxn ang="0">
                  <a:pos x="csX1046" y="csY1046"/>
                </a:cxn>
                <a:cxn ang="0">
                  <a:pos x="csX1047" y="csY1047"/>
                </a:cxn>
                <a:cxn ang="0">
                  <a:pos x="csX1048" y="csY1048"/>
                </a:cxn>
                <a:cxn ang="0">
                  <a:pos x="csX1049" y="csY1049"/>
                </a:cxn>
                <a:cxn ang="0">
                  <a:pos x="csX1050" y="csY1050"/>
                </a:cxn>
                <a:cxn ang="0">
                  <a:pos x="csX1051" y="csY1051"/>
                </a:cxn>
                <a:cxn ang="0">
                  <a:pos x="csX1052" y="csY1052"/>
                </a:cxn>
                <a:cxn ang="0">
                  <a:pos x="csX1053" y="csY1053"/>
                </a:cxn>
                <a:cxn ang="0">
                  <a:pos x="csX1054" y="csY1054"/>
                </a:cxn>
              </a:cxnLst>
              <a:rect l="l" t="t" r="r" b="b"/>
              <a:pathLst>
                <a:path w="1609516" h="1538630">
                  <a:moveTo>
                    <a:pt x="401579" y="1495809"/>
                  </a:moveTo>
                  <a:lnTo>
                    <a:pt x="400190" y="1496004"/>
                  </a:lnTo>
                  <a:lnTo>
                    <a:pt x="401224" y="1496470"/>
                  </a:lnTo>
                  <a:lnTo>
                    <a:pt x="401224" y="1498590"/>
                  </a:lnTo>
                  <a:lnTo>
                    <a:pt x="401579" y="1498628"/>
                  </a:lnTo>
                  <a:cubicBezTo>
                    <a:pt x="401579" y="1497698"/>
                    <a:pt x="401579" y="1496768"/>
                    <a:pt x="401579" y="1495809"/>
                  </a:cubicBezTo>
                  <a:close/>
                  <a:moveTo>
                    <a:pt x="368755" y="1486512"/>
                  </a:moveTo>
                  <a:lnTo>
                    <a:pt x="364089" y="1487354"/>
                  </a:lnTo>
                  <a:lnTo>
                    <a:pt x="364089" y="1487908"/>
                  </a:lnTo>
                  <a:close/>
                  <a:moveTo>
                    <a:pt x="1049801" y="1484562"/>
                  </a:moveTo>
                  <a:lnTo>
                    <a:pt x="1046735" y="1485945"/>
                  </a:lnTo>
                  <a:lnTo>
                    <a:pt x="1046955" y="1486045"/>
                  </a:lnTo>
                  <a:lnTo>
                    <a:pt x="1049801" y="1485188"/>
                  </a:lnTo>
                  <a:close/>
                  <a:moveTo>
                    <a:pt x="351234" y="1444508"/>
                  </a:moveTo>
                  <a:lnTo>
                    <a:pt x="351234" y="1444997"/>
                  </a:lnTo>
                  <a:lnTo>
                    <a:pt x="351592" y="1445078"/>
                  </a:lnTo>
                  <a:close/>
                  <a:moveTo>
                    <a:pt x="351908" y="1431206"/>
                  </a:moveTo>
                  <a:lnTo>
                    <a:pt x="351234" y="1431611"/>
                  </a:lnTo>
                  <a:lnTo>
                    <a:pt x="351234" y="1432274"/>
                  </a:lnTo>
                  <a:close/>
                  <a:moveTo>
                    <a:pt x="358162" y="1421494"/>
                  </a:moveTo>
                  <a:lnTo>
                    <a:pt x="355921" y="1423156"/>
                  </a:lnTo>
                  <a:lnTo>
                    <a:pt x="355921" y="1423548"/>
                  </a:lnTo>
                  <a:close/>
                  <a:moveTo>
                    <a:pt x="376098" y="1408347"/>
                  </a:moveTo>
                  <a:lnTo>
                    <a:pt x="370750" y="1412245"/>
                  </a:lnTo>
                  <a:lnTo>
                    <a:pt x="375023" y="1411256"/>
                  </a:lnTo>
                  <a:close/>
                  <a:moveTo>
                    <a:pt x="421956" y="1365623"/>
                  </a:moveTo>
                  <a:lnTo>
                    <a:pt x="421765" y="1366161"/>
                  </a:lnTo>
                  <a:lnTo>
                    <a:pt x="421887" y="1366161"/>
                  </a:lnTo>
                  <a:close/>
                  <a:moveTo>
                    <a:pt x="754553" y="1360575"/>
                  </a:moveTo>
                  <a:lnTo>
                    <a:pt x="754089" y="1361433"/>
                  </a:lnTo>
                  <a:lnTo>
                    <a:pt x="754431" y="1361125"/>
                  </a:lnTo>
                  <a:close/>
                  <a:moveTo>
                    <a:pt x="1277973" y="1332923"/>
                  </a:moveTo>
                  <a:lnTo>
                    <a:pt x="1277944" y="1332936"/>
                  </a:lnTo>
                  <a:lnTo>
                    <a:pt x="1277949" y="1333139"/>
                  </a:lnTo>
                  <a:close/>
                  <a:moveTo>
                    <a:pt x="1268556" y="1321066"/>
                  </a:moveTo>
                  <a:cubicBezTo>
                    <a:pt x="1268556" y="1322461"/>
                    <a:pt x="1268556" y="1323856"/>
                    <a:pt x="1268556" y="1325294"/>
                  </a:cubicBezTo>
                  <a:cubicBezTo>
                    <a:pt x="1267525" y="1325294"/>
                    <a:pt x="1266495" y="1325294"/>
                    <a:pt x="1265432" y="1325294"/>
                  </a:cubicBezTo>
                  <a:cubicBezTo>
                    <a:pt x="1265432" y="1330409"/>
                    <a:pt x="1265432" y="1335525"/>
                    <a:pt x="1265432" y="1340795"/>
                  </a:cubicBezTo>
                  <a:lnTo>
                    <a:pt x="1265476" y="1340714"/>
                  </a:lnTo>
                  <a:lnTo>
                    <a:pt x="1265476" y="1325877"/>
                  </a:lnTo>
                  <a:cubicBezTo>
                    <a:pt x="1266507" y="1325877"/>
                    <a:pt x="1267538" y="1325877"/>
                    <a:pt x="1268600" y="1325877"/>
                  </a:cubicBezTo>
                  <a:cubicBezTo>
                    <a:pt x="1268600" y="1324482"/>
                    <a:pt x="1268600" y="1323086"/>
                    <a:pt x="1268600" y="1321649"/>
                  </a:cubicBezTo>
                  <a:cubicBezTo>
                    <a:pt x="1270147" y="1321649"/>
                    <a:pt x="1271693" y="1321649"/>
                    <a:pt x="1273286" y="1321649"/>
                  </a:cubicBezTo>
                  <a:lnTo>
                    <a:pt x="1273227" y="1321066"/>
                  </a:lnTo>
                  <a:close/>
                  <a:moveTo>
                    <a:pt x="827891" y="1291474"/>
                  </a:moveTo>
                  <a:lnTo>
                    <a:pt x="822601" y="1291544"/>
                  </a:lnTo>
                  <a:lnTo>
                    <a:pt x="818272" y="1292220"/>
                  </a:lnTo>
                  <a:lnTo>
                    <a:pt x="827891" y="1292047"/>
                  </a:lnTo>
                  <a:close/>
                  <a:moveTo>
                    <a:pt x="856397" y="1288691"/>
                  </a:moveTo>
                  <a:lnTo>
                    <a:pt x="865903" y="1290590"/>
                  </a:lnTo>
                  <a:lnTo>
                    <a:pt x="859999" y="1288752"/>
                  </a:lnTo>
                  <a:close/>
                  <a:moveTo>
                    <a:pt x="834694" y="1288572"/>
                  </a:moveTo>
                  <a:lnTo>
                    <a:pt x="828038" y="1288654"/>
                  </a:lnTo>
                  <a:lnTo>
                    <a:pt x="828038" y="1289214"/>
                  </a:lnTo>
                  <a:close/>
                  <a:moveTo>
                    <a:pt x="229746" y="1191418"/>
                  </a:moveTo>
                  <a:lnTo>
                    <a:pt x="227402" y="1191947"/>
                  </a:lnTo>
                  <a:lnTo>
                    <a:pt x="229315" y="1191947"/>
                  </a:lnTo>
                  <a:cubicBezTo>
                    <a:pt x="229315" y="1192877"/>
                    <a:pt x="229315" y="1193807"/>
                    <a:pt x="229315" y="1194765"/>
                  </a:cubicBezTo>
                  <a:lnTo>
                    <a:pt x="231321" y="1194765"/>
                  </a:lnTo>
                  <a:lnTo>
                    <a:pt x="229746" y="1194236"/>
                  </a:lnTo>
                  <a:cubicBezTo>
                    <a:pt x="229746" y="1193306"/>
                    <a:pt x="229746" y="1192376"/>
                    <a:pt x="229746" y="1191418"/>
                  </a:cubicBezTo>
                  <a:close/>
                  <a:moveTo>
                    <a:pt x="215687" y="1187190"/>
                  </a:moveTo>
                  <a:lnTo>
                    <a:pt x="215198" y="1187720"/>
                  </a:lnTo>
                  <a:lnTo>
                    <a:pt x="215256" y="1187720"/>
                  </a:lnTo>
                  <a:cubicBezTo>
                    <a:pt x="215256" y="1189115"/>
                    <a:pt x="215256" y="1190510"/>
                    <a:pt x="215256" y="1191947"/>
                  </a:cubicBezTo>
                  <a:lnTo>
                    <a:pt x="222721" y="1191947"/>
                  </a:lnTo>
                  <a:lnTo>
                    <a:pt x="215687" y="1191418"/>
                  </a:lnTo>
                  <a:cubicBezTo>
                    <a:pt x="215687" y="1190023"/>
                    <a:pt x="215687" y="1188628"/>
                    <a:pt x="215687" y="1187190"/>
                  </a:cubicBezTo>
                  <a:close/>
                  <a:moveTo>
                    <a:pt x="1279678" y="1082356"/>
                  </a:moveTo>
                  <a:lnTo>
                    <a:pt x="1271680" y="1084589"/>
                  </a:lnTo>
                  <a:lnTo>
                    <a:pt x="1282181" y="1082544"/>
                  </a:lnTo>
                  <a:close/>
                  <a:moveTo>
                    <a:pt x="117703" y="941507"/>
                  </a:moveTo>
                  <a:lnTo>
                    <a:pt x="112587" y="941985"/>
                  </a:lnTo>
                  <a:lnTo>
                    <a:pt x="112565" y="942333"/>
                  </a:lnTo>
                  <a:lnTo>
                    <a:pt x="115665" y="941837"/>
                  </a:lnTo>
                  <a:close/>
                  <a:moveTo>
                    <a:pt x="144268" y="939395"/>
                  </a:moveTo>
                  <a:lnTo>
                    <a:pt x="143354" y="939580"/>
                  </a:lnTo>
                  <a:lnTo>
                    <a:pt x="144077" y="939739"/>
                  </a:lnTo>
                  <a:close/>
                  <a:moveTo>
                    <a:pt x="162575" y="933530"/>
                  </a:moveTo>
                  <a:lnTo>
                    <a:pt x="161704" y="935101"/>
                  </a:lnTo>
                  <a:lnTo>
                    <a:pt x="170045" y="933585"/>
                  </a:lnTo>
                  <a:close/>
                  <a:moveTo>
                    <a:pt x="1321645" y="918415"/>
                  </a:moveTo>
                  <a:lnTo>
                    <a:pt x="1321534" y="920177"/>
                  </a:lnTo>
                  <a:lnTo>
                    <a:pt x="1321740" y="918415"/>
                  </a:lnTo>
                  <a:close/>
                  <a:moveTo>
                    <a:pt x="1319333" y="915183"/>
                  </a:moveTo>
                  <a:lnTo>
                    <a:pt x="1318544" y="918029"/>
                  </a:lnTo>
                  <a:lnTo>
                    <a:pt x="1318702" y="918029"/>
                  </a:lnTo>
                  <a:close/>
                  <a:moveTo>
                    <a:pt x="1326355" y="907109"/>
                  </a:moveTo>
                  <a:lnTo>
                    <a:pt x="1326355" y="910983"/>
                  </a:lnTo>
                  <a:lnTo>
                    <a:pt x="1325831" y="911101"/>
                  </a:lnTo>
                  <a:lnTo>
                    <a:pt x="1326426" y="911369"/>
                  </a:lnTo>
                  <a:cubicBezTo>
                    <a:pt x="1326426" y="909974"/>
                    <a:pt x="1326426" y="908579"/>
                    <a:pt x="1326426" y="907141"/>
                  </a:cubicBezTo>
                  <a:close/>
                  <a:moveTo>
                    <a:pt x="1328144" y="892192"/>
                  </a:moveTo>
                  <a:lnTo>
                    <a:pt x="1327667" y="893446"/>
                  </a:lnTo>
                  <a:lnTo>
                    <a:pt x="1327989" y="893049"/>
                  </a:lnTo>
                  <a:close/>
                  <a:moveTo>
                    <a:pt x="49605" y="887420"/>
                  </a:moveTo>
                  <a:lnTo>
                    <a:pt x="48549" y="891229"/>
                  </a:lnTo>
                  <a:lnTo>
                    <a:pt x="49956" y="887420"/>
                  </a:lnTo>
                  <a:close/>
                  <a:moveTo>
                    <a:pt x="1332266" y="883369"/>
                  </a:moveTo>
                  <a:lnTo>
                    <a:pt x="1329479" y="884207"/>
                  </a:lnTo>
                  <a:lnTo>
                    <a:pt x="1329509" y="884816"/>
                  </a:lnTo>
                  <a:lnTo>
                    <a:pt x="1329551" y="884594"/>
                  </a:lnTo>
                  <a:close/>
                  <a:moveTo>
                    <a:pt x="1555987" y="821766"/>
                  </a:moveTo>
                  <a:lnTo>
                    <a:pt x="1555987" y="822201"/>
                  </a:lnTo>
                  <a:lnTo>
                    <a:pt x="1556081" y="822189"/>
                  </a:lnTo>
                  <a:close/>
                  <a:moveTo>
                    <a:pt x="1565360" y="810928"/>
                  </a:moveTo>
                  <a:lnTo>
                    <a:pt x="1564871" y="811809"/>
                  </a:lnTo>
                  <a:lnTo>
                    <a:pt x="1567314" y="810928"/>
                  </a:lnTo>
                  <a:close/>
                  <a:moveTo>
                    <a:pt x="1563797" y="810928"/>
                  </a:moveTo>
                  <a:lnTo>
                    <a:pt x="1556762" y="814736"/>
                  </a:lnTo>
                  <a:lnTo>
                    <a:pt x="1563797" y="812197"/>
                  </a:lnTo>
                  <a:close/>
                  <a:moveTo>
                    <a:pt x="265833" y="806020"/>
                  </a:moveTo>
                  <a:lnTo>
                    <a:pt x="263704" y="809861"/>
                  </a:lnTo>
                  <a:lnTo>
                    <a:pt x="263704" y="816750"/>
                  </a:lnTo>
                  <a:lnTo>
                    <a:pt x="264113" y="816565"/>
                  </a:lnTo>
                  <a:cubicBezTo>
                    <a:pt x="264048" y="815315"/>
                    <a:pt x="263984" y="814065"/>
                    <a:pt x="263918" y="812777"/>
                  </a:cubicBezTo>
                  <a:close/>
                  <a:moveTo>
                    <a:pt x="263774" y="779374"/>
                  </a:moveTo>
                  <a:lnTo>
                    <a:pt x="263704" y="783086"/>
                  </a:lnTo>
                  <a:cubicBezTo>
                    <a:pt x="263961" y="783987"/>
                    <a:pt x="264219" y="784888"/>
                    <a:pt x="264484" y="785816"/>
                  </a:cubicBezTo>
                  <a:cubicBezTo>
                    <a:pt x="265299" y="788846"/>
                    <a:pt x="265316" y="791337"/>
                    <a:pt x="265265" y="794448"/>
                  </a:cubicBezTo>
                  <a:cubicBezTo>
                    <a:pt x="265103" y="797155"/>
                    <a:pt x="265022" y="798508"/>
                    <a:pt x="265217" y="799730"/>
                  </a:cubicBezTo>
                  <a:lnTo>
                    <a:pt x="266556" y="803466"/>
                  </a:lnTo>
                  <a:lnTo>
                    <a:pt x="267237" y="801063"/>
                  </a:lnTo>
                  <a:cubicBezTo>
                    <a:pt x="266721" y="800598"/>
                    <a:pt x="266206" y="800133"/>
                    <a:pt x="265675" y="799654"/>
                  </a:cubicBezTo>
                  <a:cubicBezTo>
                    <a:pt x="265601" y="797718"/>
                    <a:pt x="265617" y="795778"/>
                    <a:pt x="265675" y="793841"/>
                  </a:cubicBezTo>
                  <a:close/>
                  <a:moveTo>
                    <a:pt x="260988" y="770061"/>
                  </a:moveTo>
                  <a:lnTo>
                    <a:pt x="260988" y="771364"/>
                  </a:lnTo>
                  <a:lnTo>
                    <a:pt x="263497" y="777263"/>
                  </a:lnTo>
                  <a:lnTo>
                    <a:pt x="262551" y="770061"/>
                  </a:lnTo>
                  <a:cubicBezTo>
                    <a:pt x="262035" y="770061"/>
                    <a:pt x="261520" y="770061"/>
                    <a:pt x="260988" y="770061"/>
                  </a:cubicBezTo>
                  <a:close/>
                  <a:moveTo>
                    <a:pt x="157888" y="651686"/>
                  </a:moveTo>
                  <a:lnTo>
                    <a:pt x="157415" y="651764"/>
                  </a:lnTo>
                  <a:lnTo>
                    <a:pt x="160373" y="652274"/>
                  </a:lnTo>
                  <a:close/>
                  <a:moveTo>
                    <a:pt x="267237" y="426537"/>
                  </a:moveTo>
                  <a:lnTo>
                    <a:pt x="267237" y="427619"/>
                  </a:lnTo>
                  <a:cubicBezTo>
                    <a:pt x="268274" y="427791"/>
                    <a:pt x="269311" y="427961"/>
                    <a:pt x="270380" y="428137"/>
                  </a:cubicBezTo>
                  <a:lnTo>
                    <a:pt x="273548" y="428680"/>
                  </a:lnTo>
                  <a:close/>
                  <a:moveTo>
                    <a:pt x="37605" y="359270"/>
                  </a:moveTo>
                  <a:lnTo>
                    <a:pt x="37103" y="361533"/>
                  </a:lnTo>
                  <a:lnTo>
                    <a:pt x="37605" y="361382"/>
                  </a:lnTo>
                  <a:close/>
                  <a:moveTo>
                    <a:pt x="52477" y="337570"/>
                  </a:moveTo>
                  <a:lnTo>
                    <a:pt x="47288" y="342340"/>
                  </a:lnTo>
                  <a:lnTo>
                    <a:pt x="45805" y="345093"/>
                  </a:lnTo>
                  <a:close/>
                  <a:moveTo>
                    <a:pt x="104291" y="336166"/>
                  </a:moveTo>
                  <a:lnTo>
                    <a:pt x="103776" y="337559"/>
                  </a:lnTo>
                  <a:lnTo>
                    <a:pt x="108925" y="336166"/>
                  </a:lnTo>
                  <a:close/>
                  <a:moveTo>
                    <a:pt x="1309237" y="322954"/>
                  </a:moveTo>
                  <a:lnTo>
                    <a:pt x="1309180" y="330559"/>
                  </a:lnTo>
                  <a:lnTo>
                    <a:pt x="1309237" y="330520"/>
                  </a:lnTo>
                  <a:close/>
                  <a:moveTo>
                    <a:pt x="1308964" y="317715"/>
                  </a:moveTo>
                  <a:lnTo>
                    <a:pt x="1309237" y="318569"/>
                  </a:lnTo>
                  <a:lnTo>
                    <a:pt x="1309237" y="317838"/>
                  </a:lnTo>
                  <a:close/>
                  <a:moveTo>
                    <a:pt x="1310087" y="313153"/>
                  </a:moveTo>
                  <a:lnTo>
                    <a:pt x="1307609" y="313473"/>
                  </a:lnTo>
                  <a:lnTo>
                    <a:pt x="1308045" y="314836"/>
                  </a:lnTo>
                  <a:close/>
                  <a:moveTo>
                    <a:pt x="1318544" y="312064"/>
                  </a:moveTo>
                  <a:lnTo>
                    <a:pt x="1316298" y="312353"/>
                  </a:lnTo>
                  <a:lnTo>
                    <a:pt x="1318544" y="312205"/>
                  </a:lnTo>
                  <a:close/>
                  <a:moveTo>
                    <a:pt x="1084622" y="267674"/>
                  </a:moveTo>
                  <a:lnTo>
                    <a:pt x="1084227" y="268378"/>
                  </a:lnTo>
                  <a:cubicBezTo>
                    <a:pt x="1082679" y="268378"/>
                    <a:pt x="1081133" y="268378"/>
                    <a:pt x="1079540" y="268378"/>
                  </a:cubicBezTo>
                  <a:lnTo>
                    <a:pt x="1079603" y="268477"/>
                  </a:lnTo>
                  <a:lnTo>
                    <a:pt x="1084192" y="268477"/>
                  </a:lnTo>
                  <a:close/>
                  <a:moveTo>
                    <a:pt x="956410" y="266968"/>
                  </a:moveTo>
                  <a:lnTo>
                    <a:pt x="957576" y="267083"/>
                  </a:lnTo>
                  <a:lnTo>
                    <a:pt x="957576" y="269776"/>
                  </a:lnTo>
                  <a:lnTo>
                    <a:pt x="957694" y="269787"/>
                  </a:lnTo>
                  <a:cubicBezTo>
                    <a:pt x="957694" y="268857"/>
                    <a:pt x="957694" y="267927"/>
                    <a:pt x="957694" y="266968"/>
                  </a:cubicBezTo>
                  <a:close/>
                  <a:moveTo>
                    <a:pt x="1089372" y="259220"/>
                  </a:moveTo>
                  <a:lnTo>
                    <a:pt x="1085856" y="265479"/>
                  </a:lnTo>
                  <a:lnTo>
                    <a:pt x="1088878" y="261431"/>
                  </a:lnTo>
                  <a:close/>
                  <a:moveTo>
                    <a:pt x="1018517" y="223356"/>
                  </a:moveTo>
                  <a:lnTo>
                    <a:pt x="1013866" y="226190"/>
                  </a:lnTo>
                  <a:lnTo>
                    <a:pt x="1013024" y="227709"/>
                  </a:lnTo>
                  <a:lnTo>
                    <a:pt x="1017055" y="224692"/>
                  </a:lnTo>
                  <a:close/>
                  <a:moveTo>
                    <a:pt x="850645" y="220099"/>
                  </a:moveTo>
                  <a:lnTo>
                    <a:pt x="850897" y="221488"/>
                  </a:lnTo>
                  <a:cubicBezTo>
                    <a:pt x="851086" y="222545"/>
                    <a:pt x="851275" y="223602"/>
                    <a:pt x="851470" y="224692"/>
                  </a:cubicBezTo>
                  <a:lnTo>
                    <a:pt x="852860" y="224692"/>
                  </a:lnTo>
                  <a:close/>
                  <a:moveTo>
                    <a:pt x="1155019" y="35"/>
                  </a:moveTo>
                  <a:cubicBezTo>
                    <a:pt x="1161775" y="275"/>
                    <a:pt x="1168415" y="1783"/>
                    <a:pt x="1174829" y="4853"/>
                  </a:cubicBezTo>
                  <a:cubicBezTo>
                    <a:pt x="1176343" y="5231"/>
                    <a:pt x="1177858" y="5609"/>
                    <a:pt x="1179418" y="5998"/>
                  </a:cubicBezTo>
                  <a:cubicBezTo>
                    <a:pt x="1189392" y="9487"/>
                    <a:pt x="1196322" y="14392"/>
                    <a:pt x="1201385" y="22997"/>
                  </a:cubicBezTo>
                  <a:cubicBezTo>
                    <a:pt x="1206849" y="35244"/>
                    <a:pt x="1206940" y="49865"/>
                    <a:pt x="1201678" y="62191"/>
                  </a:cubicBezTo>
                  <a:cubicBezTo>
                    <a:pt x="1200594" y="64241"/>
                    <a:pt x="1199461" y="66271"/>
                    <a:pt x="1198261" y="68268"/>
                  </a:cubicBezTo>
                  <a:cubicBezTo>
                    <a:pt x="1197423" y="69721"/>
                    <a:pt x="1196586" y="71175"/>
                    <a:pt x="1195723" y="72672"/>
                  </a:cubicBezTo>
                  <a:cubicBezTo>
                    <a:pt x="1194659" y="73980"/>
                    <a:pt x="1194659" y="73980"/>
                    <a:pt x="1193575" y="75314"/>
                  </a:cubicBezTo>
                  <a:cubicBezTo>
                    <a:pt x="1192544" y="75314"/>
                    <a:pt x="1191512" y="75314"/>
                    <a:pt x="1190450" y="75314"/>
                  </a:cubicBezTo>
                  <a:cubicBezTo>
                    <a:pt x="1190128" y="76651"/>
                    <a:pt x="1189806" y="77988"/>
                    <a:pt x="1189474" y="79366"/>
                  </a:cubicBezTo>
                  <a:cubicBezTo>
                    <a:pt x="1187326" y="83769"/>
                    <a:pt x="1187326" y="83769"/>
                    <a:pt x="1182445" y="85707"/>
                  </a:cubicBezTo>
                  <a:cubicBezTo>
                    <a:pt x="1180962" y="85998"/>
                    <a:pt x="1179480" y="86289"/>
                    <a:pt x="1177953" y="86588"/>
                  </a:cubicBezTo>
                  <a:cubicBezTo>
                    <a:pt x="1177953" y="87518"/>
                    <a:pt x="1177953" y="88448"/>
                    <a:pt x="1177953" y="89406"/>
                  </a:cubicBezTo>
                  <a:cubicBezTo>
                    <a:pt x="1175369" y="91088"/>
                    <a:pt x="1172720" y="92688"/>
                    <a:pt x="1170045" y="94251"/>
                  </a:cubicBezTo>
                  <a:cubicBezTo>
                    <a:pt x="1154651" y="104199"/>
                    <a:pt x="1148918" y="116979"/>
                    <a:pt x="1143806" y="132828"/>
                  </a:cubicBezTo>
                  <a:cubicBezTo>
                    <a:pt x="1142095" y="137144"/>
                    <a:pt x="1140989" y="138617"/>
                    <a:pt x="1137338" y="141548"/>
                  </a:cubicBezTo>
                  <a:cubicBezTo>
                    <a:pt x="1136166" y="144148"/>
                    <a:pt x="1134992" y="146751"/>
                    <a:pt x="1133970" y="149403"/>
                  </a:cubicBezTo>
                  <a:cubicBezTo>
                    <a:pt x="1132069" y="154334"/>
                    <a:pt x="1130006" y="159210"/>
                    <a:pt x="1127965" y="164095"/>
                  </a:cubicBezTo>
                  <a:cubicBezTo>
                    <a:pt x="1126897" y="166664"/>
                    <a:pt x="1125830" y="169233"/>
                    <a:pt x="1124762" y="171802"/>
                  </a:cubicBezTo>
                  <a:cubicBezTo>
                    <a:pt x="1122961" y="176134"/>
                    <a:pt x="1121160" y="180466"/>
                    <a:pt x="1119359" y="184798"/>
                  </a:cubicBezTo>
                  <a:cubicBezTo>
                    <a:pt x="1116567" y="191508"/>
                    <a:pt x="1113778" y="198220"/>
                    <a:pt x="1111014" y="204941"/>
                  </a:cubicBezTo>
                  <a:cubicBezTo>
                    <a:pt x="1110590" y="205970"/>
                    <a:pt x="1110165" y="206999"/>
                    <a:pt x="1109729" y="208059"/>
                  </a:cubicBezTo>
                  <a:cubicBezTo>
                    <a:pt x="1108615" y="210762"/>
                    <a:pt x="1107505" y="213466"/>
                    <a:pt x="1106395" y="216170"/>
                  </a:cubicBezTo>
                  <a:cubicBezTo>
                    <a:pt x="1104320" y="220956"/>
                    <a:pt x="1103283" y="223349"/>
                    <a:pt x="1102147" y="224810"/>
                  </a:cubicBezTo>
                  <a:lnTo>
                    <a:pt x="1098261" y="227262"/>
                  </a:lnTo>
                  <a:lnTo>
                    <a:pt x="1098367" y="238475"/>
                  </a:lnTo>
                  <a:cubicBezTo>
                    <a:pt x="1098025" y="239757"/>
                    <a:pt x="1097684" y="241038"/>
                    <a:pt x="1097331" y="242358"/>
                  </a:cubicBezTo>
                  <a:cubicBezTo>
                    <a:pt x="1096958" y="243711"/>
                    <a:pt x="1096585" y="245064"/>
                    <a:pt x="1096201" y="246458"/>
                  </a:cubicBezTo>
                  <a:cubicBezTo>
                    <a:pt x="1093302" y="257363"/>
                    <a:pt x="1090901" y="268062"/>
                    <a:pt x="1089440" y="279206"/>
                  </a:cubicBezTo>
                  <a:cubicBezTo>
                    <a:pt x="1088878" y="282569"/>
                    <a:pt x="1088878" y="282569"/>
                    <a:pt x="1087316" y="283978"/>
                  </a:cubicBezTo>
                  <a:cubicBezTo>
                    <a:pt x="1087070" y="286587"/>
                    <a:pt x="1086924" y="289205"/>
                    <a:pt x="1086822" y="291822"/>
                  </a:cubicBezTo>
                  <a:cubicBezTo>
                    <a:pt x="1086756" y="293408"/>
                    <a:pt x="1086691" y="294993"/>
                    <a:pt x="1086623" y="296625"/>
                  </a:cubicBezTo>
                  <a:cubicBezTo>
                    <a:pt x="1086562" y="298294"/>
                    <a:pt x="1086501" y="299962"/>
                    <a:pt x="1086437" y="301681"/>
                  </a:cubicBezTo>
                  <a:cubicBezTo>
                    <a:pt x="1086336" y="304192"/>
                    <a:pt x="1086336" y="304192"/>
                    <a:pt x="1086233" y="306754"/>
                  </a:cubicBezTo>
                  <a:lnTo>
                    <a:pt x="1086007" y="312619"/>
                  </a:lnTo>
                  <a:lnTo>
                    <a:pt x="1087470" y="320554"/>
                  </a:lnTo>
                  <a:cubicBezTo>
                    <a:pt x="1089648" y="325409"/>
                    <a:pt x="1093111" y="329799"/>
                    <a:pt x="1098285" y="334611"/>
                  </a:cubicBezTo>
                  <a:cubicBezTo>
                    <a:pt x="1100424" y="336130"/>
                    <a:pt x="1100424" y="336130"/>
                    <a:pt x="1102607" y="337679"/>
                  </a:cubicBezTo>
                  <a:cubicBezTo>
                    <a:pt x="1104334" y="338951"/>
                    <a:pt x="1104334" y="338951"/>
                    <a:pt x="1106095" y="340248"/>
                  </a:cubicBezTo>
                  <a:cubicBezTo>
                    <a:pt x="1106095" y="341178"/>
                    <a:pt x="1106095" y="342108"/>
                    <a:pt x="1106095" y="343066"/>
                  </a:cubicBezTo>
                  <a:cubicBezTo>
                    <a:pt x="1107127" y="343183"/>
                    <a:pt x="1108158" y="343299"/>
                    <a:pt x="1109220" y="343419"/>
                  </a:cubicBezTo>
                  <a:cubicBezTo>
                    <a:pt x="1115473" y="344829"/>
                    <a:pt x="1120724" y="347416"/>
                    <a:pt x="1126403" y="350112"/>
                  </a:cubicBezTo>
                  <a:cubicBezTo>
                    <a:pt x="1128207" y="350926"/>
                    <a:pt x="1130012" y="351740"/>
                    <a:pt x="1131871" y="352579"/>
                  </a:cubicBezTo>
                  <a:cubicBezTo>
                    <a:pt x="1133159" y="353160"/>
                    <a:pt x="1134448" y="353741"/>
                    <a:pt x="1135776" y="354340"/>
                  </a:cubicBezTo>
                  <a:cubicBezTo>
                    <a:pt x="1135776" y="355270"/>
                    <a:pt x="1135776" y="356200"/>
                    <a:pt x="1135776" y="357158"/>
                  </a:cubicBezTo>
                  <a:cubicBezTo>
                    <a:pt x="1148107" y="360029"/>
                    <a:pt x="1158679" y="359101"/>
                    <a:pt x="1170143" y="354340"/>
                  </a:cubicBezTo>
                  <a:cubicBezTo>
                    <a:pt x="1172366" y="353468"/>
                    <a:pt x="1172366" y="353468"/>
                    <a:pt x="1174634" y="352579"/>
                  </a:cubicBezTo>
                  <a:cubicBezTo>
                    <a:pt x="1180354" y="349689"/>
                    <a:pt x="1185568" y="346355"/>
                    <a:pt x="1190890" y="342907"/>
                  </a:cubicBezTo>
                  <a:cubicBezTo>
                    <a:pt x="1195169" y="340228"/>
                    <a:pt x="1199557" y="337821"/>
                    <a:pt x="1204021" y="335404"/>
                  </a:cubicBezTo>
                  <a:cubicBezTo>
                    <a:pt x="1211989" y="330886"/>
                    <a:pt x="1217509" y="325766"/>
                    <a:pt x="1223255" y="319110"/>
                  </a:cubicBezTo>
                  <a:cubicBezTo>
                    <a:pt x="1224447" y="317947"/>
                    <a:pt x="1225639" y="316784"/>
                    <a:pt x="1226868" y="315587"/>
                  </a:cubicBezTo>
                  <a:cubicBezTo>
                    <a:pt x="1229855" y="311593"/>
                    <a:pt x="1230852" y="308240"/>
                    <a:pt x="1231859" y="303559"/>
                  </a:cubicBezTo>
                  <a:cubicBezTo>
                    <a:pt x="1232628" y="300790"/>
                    <a:pt x="1232628" y="300790"/>
                    <a:pt x="1234178" y="298059"/>
                  </a:cubicBezTo>
                  <a:cubicBezTo>
                    <a:pt x="1235964" y="294761"/>
                    <a:pt x="1236623" y="291807"/>
                    <a:pt x="1237314" y="288195"/>
                  </a:cubicBezTo>
                  <a:cubicBezTo>
                    <a:pt x="1239360" y="278571"/>
                    <a:pt x="1242414" y="272733"/>
                    <a:pt x="1249811" y="265559"/>
                  </a:cubicBezTo>
                  <a:cubicBezTo>
                    <a:pt x="1250842" y="265559"/>
                    <a:pt x="1251873" y="265559"/>
                    <a:pt x="1252935" y="265559"/>
                  </a:cubicBezTo>
                  <a:cubicBezTo>
                    <a:pt x="1252935" y="264629"/>
                    <a:pt x="1252935" y="263699"/>
                    <a:pt x="1252935" y="262741"/>
                  </a:cubicBezTo>
                  <a:cubicBezTo>
                    <a:pt x="1265591" y="253427"/>
                    <a:pt x="1280762" y="251648"/>
                    <a:pt x="1296675" y="252876"/>
                  </a:cubicBezTo>
                  <a:cubicBezTo>
                    <a:pt x="1300535" y="253563"/>
                    <a:pt x="1303901" y="254478"/>
                    <a:pt x="1307609" y="255695"/>
                  </a:cubicBezTo>
                  <a:cubicBezTo>
                    <a:pt x="1307609" y="256625"/>
                    <a:pt x="1307609" y="257555"/>
                    <a:pt x="1307609" y="258513"/>
                  </a:cubicBezTo>
                  <a:cubicBezTo>
                    <a:pt x="1309021" y="258619"/>
                    <a:pt x="1310432" y="258723"/>
                    <a:pt x="1311887" y="258832"/>
                  </a:cubicBezTo>
                  <a:cubicBezTo>
                    <a:pt x="1319573" y="260476"/>
                    <a:pt x="1322149" y="264416"/>
                    <a:pt x="1326715" y="269969"/>
                  </a:cubicBezTo>
                  <a:cubicBezTo>
                    <a:pt x="1334402" y="281220"/>
                    <a:pt x="1336114" y="294839"/>
                    <a:pt x="1334165" y="307836"/>
                  </a:cubicBezTo>
                  <a:cubicBezTo>
                    <a:pt x="1332176" y="311898"/>
                    <a:pt x="1332176" y="311898"/>
                    <a:pt x="1329479" y="314882"/>
                  </a:cubicBezTo>
                  <a:cubicBezTo>
                    <a:pt x="1327417" y="314882"/>
                    <a:pt x="1325355" y="314882"/>
                    <a:pt x="1323231" y="314882"/>
                  </a:cubicBezTo>
                  <a:cubicBezTo>
                    <a:pt x="1323231" y="315812"/>
                    <a:pt x="1323231" y="316742"/>
                    <a:pt x="1323231" y="317700"/>
                  </a:cubicBezTo>
                  <a:lnTo>
                    <a:pt x="1322774" y="317838"/>
                  </a:lnTo>
                  <a:lnTo>
                    <a:pt x="1323295" y="317838"/>
                  </a:lnTo>
                  <a:cubicBezTo>
                    <a:pt x="1323295" y="316907"/>
                    <a:pt x="1323295" y="315977"/>
                    <a:pt x="1323295" y="315019"/>
                  </a:cubicBezTo>
                  <a:cubicBezTo>
                    <a:pt x="1324842" y="315019"/>
                    <a:pt x="1326388" y="315019"/>
                    <a:pt x="1327982" y="315019"/>
                  </a:cubicBezTo>
                  <a:cubicBezTo>
                    <a:pt x="1325845" y="321328"/>
                    <a:pt x="1322753" y="323742"/>
                    <a:pt x="1317047" y="327702"/>
                  </a:cubicBezTo>
                  <a:cubicBezTo>
                    <a:pt x="1316531" y="329097"/>
                    <a:pt x="1316016" y="330492"/>
                    <a:pt x="1315484" y="331930"/>
                  </a:cubicBezTo>
                  <a:cubicBezTo>
                    <a:pt x="1312599" y="332959"/>
                    <a:pt x="1312599" y="332959"/>
                    <a:pt x="1309139" y="333603"/>
                  </a:cubicBezTo>
                  <a:cubicBezTo>
                    <a:pt x="1307993" y="333827"/>
                    <a:pt x="1306847" y="334050"/>
                    <a:pt x="1305666" y="334280"/>
                  </a:cubicBezTo>
                  <a:cubicBezTo>
                    <a:pt x="1304783" y="334434"/>
                    <a:pt x="1303899" y="334589"/>
                    <a:pt x="1302988" y="334748"/>
                  </a:cubicBezTo>
                  <a:lnTo>
                    <a:pt x="1305905" y="332775"/>
                  </a:lnTo>
                  <a:lnTo>
                    <a:pt x="1304485" y="333202"/>
                  </a:lnTo>
                  <a:cubicBezTo>
                    <a:pt x="1302987" y="334640"/>
                    <a:pt x="1302987" y="334640"/>
                    <a:pt x="1301459" y="336108"/>
                  </a:cubicBezTo>
                  <a:cubicBezTo>
                    <a:pt x="1298237" y="338839"/>
                    <a:pt x="1298237" y="338839"/>
                    <a:pt x="1291989" y="338839"/>
                  </a:cubicBezTo>
                  <a:cubicBezTo>
                    <a:pt x="1291473" y="340234"/>
                    <a:pt x="1290957" y="341629"/>
                    <a:pt x="1290426" y="343066"/>
                  </a:cubicBezTo>
                  <a:cubicBezTo>
                    <a:pt x="1288879" y="343415"/>
                    <a:pt x="1287333" y="343764"/>
                    <a:pt x="1285740" y="344123"/>
                  </a:cubicBezTo>
                  <a:cubicBezTo>
                    <a:pt x="1266905" y="348491"/>
                    <a:pt x="1249005" y="369098"/>
                    <a:pt x="1237314" y="382525"/>
                  </a:cubicBezTo>
                  <a:cubicBezTo>
                    <a:pt x="1235678" y="385783"/>
                    <a:pt x="1234122" y="389075"/>
                    <a:pt x="1232628" y="392389"/>
                  </a:cubicBezTo>
                  <a:cubicBezTo>
                    <a:pt x="1231317" y="394515"/>
                    <a:pt x="1229981" y="396629"/>
                    <a:pt x="1228625" y="398731"/>
                  </a:cubicBezTo>
                  <a:cubicBezTo>
                    <a:pt x="1221457" y="410300"/>
                    <a:pt x="1219465" y="421836"/>
                    <a:pt x="1222822" y="434798"/>
                  </a:cubicBezTo>
                  <a:cubicBezTo>
                    <a:pt x="1229360" y="453710"/>
                    <a:pt x="1244088" y="472467"/>
                    <a:pt x="1260746" y="485398"/>
                  </a:cubicBezTo>
                  <a:cubicBezTo>
                    <a:pt x="1264961" y="487349"/>
                    <a:pt x="1264961" y="487349"/>
                    <a:pt x="1268556" y="488216"/>
                  </a:cubicBezTo>
                  <a:cubicBezTo>
                    <a:pt x="1268556" y="489146"/>
                    <a:pt x="1268556" y="490076"/>
                    <a:pt x="1268556" y="491034"/>
                  </a:cubicBezTo>
                  <a:cubicBezTo>
                    <a:pt x="1288790" y="497071"/>
                    <a:pt x="1319055" y="498555"/>
                    <a:pt x="1338852" y="489625"/>
                  </a:cubicBezTo>
                  <a:cubicBezTo>
                    <a:pt x="1341711" y="489213"/>
                    <a:pt x="1344575" y="488837"/>
                    <a:pt x="1347444" y="488480"/>
                  </a:cubicBezTo>
                  <a:cubicBezTo>
                    <a:pt x="1355372" y="487345"/>
                    <a:pt x="1362033" y="485390"/>
                    <a:pt x="1369362" y="482513"/>
                  </a:cubicBezTo>
                  <a:cubicBezTo>
                    <a:pt x="1375665" y="480318"/>
                    <a:pt x="1382189" y="479322"/>
                    <a:pt x="1388840" y="478351"/>
                  </a:cubicBezTo>
                  <a:cubicBezTo>
                    <a:pt x="1388840" y="477421"/>
                    <a:pt x="1388840" y="476492"/>
                    <a:pt x="1388840" y="475533"/>
                  </a:cubicBezTo>
                  <a:cubicBezTo>
                    <a:pt x="1391083" y="474821"/>
                    <a:pt x="1393329" y="474118"/>
                    <a:pt x="1395576" y="473419"/>
                  </a:cubicBezTo>
                  <a:cubicBezTo>
                    <a:pt x="1396827" y="473027"/>
                    <a:pt x="1398077" y="472635"/>
                    <a:pt x="1399365" y="472230"/>
                  </a:cubicBezTo>
                  <a:cubicBezTo>
                    <a:pt x="1402899" y="471305"/>
                    <a:pt x="1402899" y="471305"/>
                    <a:pt x="1407585" y="471305"/>
                  </a:cubicBezTo>
                  <a:cubicBezTo>
                    <a:pt x="1408101" y="469910"/>
                    <a:pt x="1408616" y="468515"/>
                    <a:pt x="1409147" y="467078"/>
                  </a:cubicBezTo>
                  <a:cubicBezTo>
                    <a:pt x="1412388" y="465580"/>
                    <a:pt x="1412388" y="465580"/>
                    <a:pt x="1416470" y="464259"/>
                  </a:cubicBezTo>
                  <a:cubicBezTo>
                    <a:pt x="1424029" y="461705"/>
                    <a:pt x="1431130" y="458955"/>
                    <a:pt x="1437949" y="455011"/>
                  </a:cubicBezTo>
                  <a:cubicBezTo>
                    <a:pt x="1442765" y="452574"/>
                    <a:pt x="1447553" y="451394"/>
                    <a:pt x="1452887" y="450167"/>
                  </a:cubicBezTo>
                  <a:cubicBezTo>
                    <a:pt x="1452887" y="449237"/>
                    <a:pt x="1452887" y="448307"/>
                    <a:pt x="1452887" y="447349"/>
                  </a:cubicBezTo>
                  <a:cubicBezTo>
                    <a:pt x="1453714" y="446944"/>
                    <a:pt x="1454541" y="446539"/>
                    <a:pt x="1455394" y="446122"/>
                  </a:cubicBezTo>
                  <a:cubicBezTo>
                    <a:pt x="1459151" y="444278"/>
                    <a:pt x="1462902" y="442422"/>
                    <a:pt x="1466653" y="440567"/>
                  </a:cubicBezTo>
                  <a:cubicBezTo>
                    <a:pt x="1467955" y="439930"/>
                    <a:pt x="1469256" y="439293"/>
                    <a:pt x="1470598" y="438637"/>
                  </a:cubicBezTo>
                  <a:cubicBezTo>
                    <a:pt x="1471852" y="438016"/>
                    <a:pt x="1473105" y="437393"/>
                    <a:pt x="1474397" y="436752"/>
                  </a:cubicBezTo>
                  <a:cubicBezTo>
                    <a:pt x="1475550" y="436184"/>
                    <a:pt x="1476703" y="435616"/>
                    <a:pt x="1477892" y="435030"/>
                  </a:cubicBezTo>
                  <a:cubicBezTo>
                    <a:pt x="1480966" y="433279"/>
                    <a:pt x="1483173" y="431373"/>
                    <a:pt x="1485691" y="429029"/>
                  </a:cubicBezTo>
                  <a:cubicBezTo>
                    <a:pt x="1486737" y="428575"/>
                    <a:pt x="1487781" y="428121"/>
                    <a:pt x="1488858" y="427653"/>
                  </a:cubicBezTo>
                  <a:cubicBezTo>
                    <a:pt x="1492438" y="425977"/>
                    <a:pt x="1493705" y="424453"/>
                    <a:pt x="1495943" y="421454"/>
                  </a:cubicBezTo>
                  <a:cubicBezTo>
                    <a:pt x="1507114" y="407544"/>
                    <a:pt x="1519758" y="393513"/>
                    <a:pt x="1538608" y="388338"/>
                  </a:cubicBezTo>
                  <a:cubicBezTo>
                    <a:pt x="1541025" y="388250"/>
                    <a:pt x="1541025" y="388250"/>
                    <a:pt x="1543490" y="388161"/>
                  </a:cubicBezTo>
                  <a:cubicBezTo>
                    <a:pt x="1545535" y="387984"/>
                    <a:pt x="1545535" y="387984"/>
                    <a:pt x="1547621" y="387804"/>
                  </a:cubicBezTo>
                  <a:cubicBezTo>
                    <a:pt x="1560659" y="387094"/>
                    <a:pt x="1568716" y="390117"/>
                    <a:pt x="1579418" y="396617"/>
                  </a:cubicBezTo>
                  <a:cubicBezTo>
                    <a:pt x="1581361" y="397687"/>
                    <a:pt x="1581361" y="397687"/>
                    <a:pt x="1583342" y="398780"/>
                  </a:cubicBezTo>
                  <a:cubicBezTo>
                    <a:pt x="1593703" y="405068"/>
                    <a:pt x="1598513" y="412459"/>
                    <a:pt x="1601288" y="423392"/>
                  </a:cubicBezTo>
                  <a:cubicBezTo>
                    <a:pt x="1603295" y="436596"/>
                    <a:pt x="1603517" y="449033"/>
                    <a:pt x="1594484" y="460159"/>
                  </a:cubicBezTo>
                  <a:cubicBezTo>
                    <a:pt x="1588468" y="466462"/>
                    <a:pt x="1582607" y="471150"/>
                    <a:pt x="1574732" y="475533"/>
                  </a:cubicBezTo>
                  <a:cubicBezTo>
                    <a:pt x="1573862" y="476043"/>
                    <a:pt x="1572993" y="476553"/>
                    <a:pt x="1572097" y="477078"/>
                  </a:cubicBezTo>
                  <a:cubicBezTo>
                    <a:pt x="1566828" y="478935"/>
                    <a:pt x="1561641" y="478744"/>
                    <a:pt x="1556066" y="478737"/>
                  </a:cubicBezTo>
                  <a:cubicBezTo>
                    <a:pt x="1553587" y="478765"/>
                    <a:pt x="1551109" y="478795"/>
                    <a:pt x="1548631" y="478825"/>
                  </a:cubicBezTo>
                  <a:cubicBezTo>
                    <a:pt x="1544751" y="478857"/>
                    <a:pt x="1540871" y="478880"/>
                    <a:pt x="1536991" y="478889"/>
                  </a:cubicBezTo>
                  <a:cubicBezTo>
                    <a:pt x="1516714" y="478693"/>
                    <a:pt x="1516714" y="478693"/>
                    <a:pt x="1498188" y="485398"/>
                  </a:cubicBezTo>
                  <a:cubicBezTo>
                    <a:pt x="1496062" y="486488"/>
                    <a:pt x="1496062" y="486488"/>
                    <a:pt x="1493892" y="487600"/>
                  </a:cubicBezTo>
                  <a:cubicBezTo>
                    <a:pt x="1492733" y="488268"/>
                    <a:pt x="1491573" y="488937"/>
                    <a:pt x="1490377" y="489625"/>
                  </a:cubicBezTo>
                  <a:cubicBezTo>
                    <a:pt x="1484304" y="493012"/>
                    <a:pt x="1478212" y="495675"/>
                    <a:pt x="1471650" y="498185"/>
                  </a:cubicBezTo>
                  <a:cubicBezTo>
                    <a:pt x="1467148" y="500054"/>
                    <a:pt x="1463242" y="502632"/>
                    <a:pt x="1459135" y="505127"/>
                  </a:cubicBezTo>
                  <a:cubicBezTo>
                    <a:pt x="1456968" y="506120"/>
                    <a:pt x="1454786" y="507086"/>
                    <a:pt x="1452594" y="508033"/>
                  </a:cubicBezTo>
                  <a:cubicBezTo>
                    <a:pt x="1444148" y="511772"/>
                    <a:pt x="1435969" y="515903"/>
                    <a:pt x="1427795" y="520100"/>
                  </a:cubicBezTo>
                  <a:cubicBezTo>
                    <a:pt x="1425784" y="521114"/>
                    <a:pt x="1425784" y="521114"/>
                    <a:pt x="1423733" y="522148"/>
                  </a:cubicBezTo>
                  <a:cubicBezTo>
                    <a:pt x="1422478" y="522798"/>
                    <a:pt x="1421223" y="523449"/>
                    <a:pt x="1419929" y="524118"/>
                  </a:cubicBezTo>
                  <a:cubicBezTo>
                    <a:pt x="1418794" y="524701"/>
                    <a:pt x="1417658" y="525283"/>
                    <a:pt x="1416487" y="525883"/>
                  </a:cubicBezTo>
                  <a:cubicBezTo>
                    <a:pt x="1413349" y="527646"/>
                    <a:pt x="1413349" y="527646"/>
                    <a:pt x="1412271" y="531902"/>
                  </a:cubicBezTo>
                  <a:cubicBezTo>
                    <a:pt x="1407205" y="535203"/>
                    <a:pt x="1402819" y="536744"/>
                    <a:pt x="1396650" y="537539"/>
                  </a:cubicBezTo>
                  <a:cubicBezTo>
                    <a:pt x="1396650" y="538469"/>
                    <a:pt x="1396650" y="539399"/>
                    <a:pt x="1396650" y="540357"/>
                  </a:cubicBezTo>
                  <a:cubicBezTo>
                    <a:pt x="1395609" y="540735"/>
                    <a:pt x="1394568" y="541113"/>
                    <a:pt x="1393495" y="541502"/>
                  </a:cubicBezTo>
                  <a:cubicBezTo>
                    <a:pt x="1381840" y="545973"/>
                    <a:pt x="1372279" y="551715"/>
                    <a:pt x="1362284" y="558678"/>
                  </a:cubicBezTo>
                  <a:cubicBezTo>
                    <a:pt x="1360170" y="560088"/>
                    <a:pt x="1358055" y="561497"/>
                    <a:pt x="1355937" y="562905"/>
                  </a:cubicBezTo>
                  <a:cubicBezTo>
                    <a:pt x="1348556" y="567937"/>
                    <a:pt x="1341292" y="573085"/>
                    <a:pt x="1334165" y="578406"/>
                  </a:cubicBezTo>
                  <a:cubicBezTo>
                    <a:pt x="1332697" y="579472"/>
                    <a:pt x="1332697" y="579472"/>
                    <a:pt x="1331200" y="580559"/>
                  </a:cubicBezTo>
                  <a:cubicBezTo>
                    <a:pt x="1325067" y="585430"/>
                    <a:pt x="1323406" y="589771"/>
                    <a:pt x="1322175" y="596793"/>
                  </a:cubicBezTo>
                  <a:cubicBezTo>
                    <a:pt x="1321669" y="599545"/>
                    <a:pt x="1321669" y="599545"/>
                    <a:pt x="1320106" y="602363"/>
                  </a:cubicBezTo>
                  <a:cubicBezTo>
                    <a:pt x="1318419" y="618189"/>
                    <a:pt x="1322416" y="632767"/>
                    <a:pt x="1328015" y="647640"/>
                  </a:cubicBezTo>
                  <a:cubicBezTo>
                    <a:pt x="1331267" y="656625"/>
                    <a:pt x="1333170" y="666179"/>
                    <a:pt x="1332604" y="675643"/>
                  </a:cubicBezTo>
                  <a:cubicBezTo>
                    <a:pt x="1333634" y="675643"/>
                    <a:pt x="1334665" y="675643"/>
                    <a:pt x="1335727" y="675643"/>
                  </a:cubicBezTo>
                  <a:cubicBezTo>
                    <a:pt x="1337571" y="680632"/>
                    <a:pt x="1337591" y="684795"/>
                    <a:pt x="1337741" y="690059"/>
                  </a:cubicBezTo>
                  <a:cubicBezTo>
                    <a:pt x="1337826" y="692114"/>
                    <a:pt x="1337913" y="694168"/>
                    <a:pt x="1338003" y="696222"/>
                  </a:cubicBezTo>
                  <a:cubicBezTo>
                    <a:pt x="1338142" y="699444"/>
                    <a:pt x="1338266" y="702664"/>
                    <a:pt x="1338340" y="705887"/>
                  </a:cubicBezTo>
                  <a:cubicBezTo>
                    <a:pt x="1338372" y="720474"/>
                    <a:pt x="1338372" y="720474"/>
                    <a:pt x="1345277" y="733245"/>
                  </a:cubicBezTo>
                  <a:cubicBezTo>
                    <a:pt x="1350822" y="737861"/>
                    <a:pt x="1355921" y="739823"/>
                    <a:pt x="1363162" y="741612"/>
                  </a:cubicBezTo>
                  <a:cubicBezTo>
                    <a:pt x="1370672" y="743533"/>
                    <a:pt x="1377197" y="745750"/>
                    <a:pt x="1384154" y="748922"/>
                  </a:cubicBezTo>
                  <a:cubicBezTo>
                    <a:pt x="1387833" y="749898"/>
                    <a:pt x="1387833" y="749898"/>
                    <a:pt x="1391476" y="750419"/>
                  </a:cubicBezTo>
                  <a:cubicBezTo>
                    <a:pt x="1393499" y="750747"/>
                    <a:pt x="1393499" y="750747"/>
                    <a:pt x="1395564" y="751080"/>
                  </a:cubicBezTo>
                  <a:cubicBezTo>
                    <a:pt x="1397648" y="751407"/>
                    <a:pt x="1397648" y="751407"/>
                    <a:pt x="1399775" y="751740"/>
                  </a:cubicBezTo>
                  <a:cubicBezTo>
                    <a:pt x="1401810" y="752111"/>
                    <a:pt x="1401810" y="752111"/>
                    <a:pt x="1403887" y="752489"/>
                  </a:cubicBezTo>
                  <a:cubicBezTo>
                    <a:pt x="1424247" y="756131"/>
                    <a:pt x="1444708" y="756350"/>
                    <a:pt x="1465383" y="755969"/>
                  </a:cubicBezTo>
                  <a:cubicBezTo>
                    <a:pt x="1467019" y="755945"/>
                    <a:pt x="1468654" y="755921"/>
                    <a:pt x="1470339" y="755897"/>
                  </a:cubicBezTo>
                  <a:cubicBezTo>
                    <a:pt x="1480128" y="755450"/>
                    <a:pt x="1487899" y="752933"/>
                    <a:pt x="1496809" y="749313"/>
                  </a:cubicBezTo>
                  <a:cubicBezTo>
                    <a:pt x="1502876" y="746888"/>
                    <a:pt x="1509049" y="745091"/>
                    <a:pt x="1515371" y="743285"/>
                  </a:cubicBezTo>
                  <a:cubicBezTo>
                    <a:pt x="1515371" y="742356"/>
                    <a:pt x="1515371" y="741425"/>
                    <a:pt x="1515371" y="740467"/>
                  </a:cubicBezTo>
                  <a:cubicBezTo>
                    <a:pt x="1522710" y="737103"/>
                    <a:pt x="1529583" y="737106"/>
                    <a:pt x="1537632" y="737120"/>
                  </a:cubicBezTo>
                  <a:cubicBezTo>
                    <a:pt x="1538960" y="737122"/>
                    <a:pt x="1540289" y="737124"/>
                    <a:pt x="1541657" y="737127"/>
                  </a:cubicBezTo>
                  <a:cubicBezTo>
                    <a:pt x="1555502" y="737372"/>
                    <a:pt x="1564314" y="740697"/>
                    <a:pt x="1574732" y="748922"/>
                  </a:cubicBezTo>
                  <a:cubicBezTo>
                    <a:pt x="1586507" y="762822"/>
                    <a:pt x="1590347" y="775219"/>
                    <a:pt x="1588791" y="792608"/>
                  </a:cubicBezTo>
                  <a:cubicBezTo>
                    <a:pt x="1587728" y="797050"/>
                    <a:pt x="1586468" y="801261"/>
                    <a:pt x="1584105" y="805291"/>
                  </a:cubicBezTo>
                  <a:cubicBezTo>
                    <a:pt x="1583074" y="805756"/>
                    <a:pt x="1582043" y="806221"/>
                    <a:pt x="1580981" y="806700"/>
                  </a:cubicBezTo>
                  <a:cubicBezTo>
                    <a:pt x="1580240" y="807892"/>
                    <a:pt x="1579499" y="809083"/>
                    <a:pt x="1578735" y="810311"/>
                  </a:cubicBezTo>
                  <a:cubicBezTo>
                    <a:pt x="1577930" y="811445"/>
                    <a:pt x="1577124" y="812579"/>
                    <a:pt x="1576295" y="813746"/>
                  </a:cubicBezTo>
                  <a:lnTo>
                    <a:pt x="1571652" y="813746"/>
                  </a:lnTo>
                  <a:lnTo>
                    <a:pt x="1571785" y="814106"/>
                  </a:lnTo>
                  <a:cubicBezTo>
                    <a:pt x="1572816" y="814571"/>
                    <a:pt x="1573846" y="815036"/>
                    <a:pt x="1574909" y="815515"/>
                  </a:cubicBezTo>
                  <a:cubicBezTo>
                    <a:pt x="1572126" y="818758"/>
                    <a:pt x="1569968" y="820871"/>
                    <a:pt x="1565463" y="821839"/>
                  </a:cubicBezTo>
                  <a:lnTo>
                    <a:pt x="1562085" y="822101"/>
                  </a:lnTo>
                  <a:lnTo>
                    <a:pt x="1551301" y="825020"/>
                  </a:lnTo>
                  <a:cubicBezTo>
                    <a:pt x="1551301" y="825950"/>
                    <a:pt x="1551301" y="826880"/>
                    <a:pt x="1551301" y="827838"/>
                  </a:cubicBezTo>
                  <a:cubicBezTo>
                    <a:pt x="1526697" y="828735"/>
                    <a:pt x="1507496" y="825036"/>
                    <a:pt x="1485380" y="815007"/>
                  </a:cubicBezTo>
                  <a:cubicBezTo>
                    <a:pt x="1468723" y="807743"/>
                    <a:pt x="1449749" y="809144"/>
                    <a:pt x="1431603" y="808726"/>
                  </a:cubicBezTo>
                  <a:cubicBezTo>
                    <a:pt x="1429115" y="808665"/>
                    <a:pt x="1426627" y="808604"/>
                    <a:pt x="1424140" y="808542"/>
                  </a:cubicBezTo>
                  <a:cubicBezTo>
                    <a:pt x="1418101" y="808392"/>
                    <a:pt x="1412062" y="808249"/>
                    <a:pt x="1406023" y="808109"/>
                  </a:cubicBezTo>
                  <a:cubicBezTo>
                    <a:pt x="1406023" y="809040"/>
                    <a:pt x="1406023" y="809970"/>
                    <a:pt x="1406023" y="810928"/>
                  </a:cubicBezTo>
                  <a:cubicBezTo>
                    <a:pt x="1404716" y="811118"/>
                    <a:pt x="1404716" y="811118"/>
                    <a:pt x="1403383" y="811311"/>
                  </a:cubicBezTo>
                  <a:cubicBezTo>
                    <a:pt x="1372054" y="815110"/>
                    <a:pt x="1372054" y="815110"/>
                    <a:pt x="1345442" y="828907"/>
                  </a:cubicBezTo>
                  <a:cubicBezTo>
                    <a:pt x="1338843" y="837605"/>
                    <a:pt x="1338313" y="846434"/>
                    <a:pt x="1337875" y="856639"/>
                  </a:cubicBezTo>
                  <a:cubicBezTo>
                    <a:pt x="1337815" y="857805"/>
                    <a:pt x="1337754" y="858970"/>
                    <a:pt x="1337692" y="860171"/>
                  </a:cubicBezTo>
                  <a:cubicBezTo>
                    <a:pt x="1337547" y="863016"/>
                    <a:pt x="1337417" y="865861"/>
                    <a:pt x="1337290" y="868706"/>
                  </a:cubicBezTo>
                  <a:cubicBezTo>
                    <a:pt x="1336258" y="868706"/>
                    <a:pt x="1335228" y="868706"/>
                    <a:pt x="1334165" y="868706"/>
                  </a:cubicBezTo>
                  <a:lnTo>
                    <a:pt x="1334165" y="870034"/>
                  </a:lnTo>
                  <a:lnTo>
                    <a:pt x="1334237" y="869093"/>
                  </a:lnTo>
                  <a:cubicBezTo>
                    <a:pt x="1334753" y="869093"/>
                    <a:pt x="1335268" y="869093"/>
                    <a:pt x="1335800" y="869093"/>
                  </a:cubicBezTo>
                  <a:cubicBezTo>
                    <a:pt x="1335884" y="871559"/>
                    <a:pt x="1335944" y="874025"/>
                    <a:pt x="1335995" y="876491"/>
                  </a:cubicBezTo>
                  <a:cubicBezTo>
                    <a:pt x="1336030" y="877865"/>
                    <a:pt x="1336067" y="879238"/>
                    <a:pt x="1336105" y="880653"/>
                  </a:cubicBezTo>
                  <a:cubicBezTo>
                    <a:pt x="1335800" y="884594"/>
                    <a:pt x="1335800" y="884594"/>
                    <a:pt x="1334294" y="887271"/>
                  </a:cubicBezTo>
                  <a:cubicBezTo>
                    <a:pt x="1332567" y="890428"/>
                    <a:pt x="1331982" y="892964"/>
                    <a:pt x="1331455" y="896440"/>
                  </a:cubicBezTo>
                  <a:cubicBezTo>
                    <a:pt x="1331267" y="897605"/>
                    <a:pt x="1331080" y="898769"/>
                    <a:pt x="1330887" y="899969"/>
                  </a:cubicBezTo>
                  <a:cubicBezTo>
                    <a:pt x="1330704" y="901174"/>
                    <a:pt x="1330521" y="902378"/>
                    <a:pt x="1330332" y="903618"/>
                  </a:cubicBezTo>
                  <a:cubicBezTo>
                    <a:pt x="1329968" y="906013"/>
                    <a:pt x="1329594" y="908405"/>
                    <a:pt x="1329209" y="910797"/>
                  </a:cubicBezTo>
                  <a:cubicBezTo>
                    <a:pt x="1329049" y="911853"/>
                    <a:pt x="1328889" y="912910"/>
                    <a:pt x="1328724" y="913998"/>
                  </a:cubicBezTo>
                  <a:cubicBezTo>
                    <a:pt x="1327933" y="917233"/>
                    <a:pt x="1326525" y="919703"/>
                    <a:pt x="1324865" y="922643"/>
                  </a:cubicBezTo>
                  <a:cubicBezTo>
                    <a:pt x="1323924" y="927743"/>
                    <a:pt x="1323282" y="932845"/>
                    <a:pt x="1322619" y="937979"/>
                  </a:cubicBezTo>
                  <a:lnTo>
                    <a:pt x="1318744" y="944961"/>
                  </a:lnTo>
                  <a:lnTo>
                    <a:pt x="1318544" y="946213"/>
                  </a:lnTo>
                  <a:cubicBezTo>
                    <a:pt x="1318360" y="949234"/>
                    <a:pt x="1318271" y="952260"/>
                    <a:pt x="1318251" y="955285"/>
                  </a:cubicBezTo>
                  <a:cubicBezTo>
                    <a:pt x="1318218" y="957637"/>
                    <a:pt x="1318218" y="957637"/>
                    <a:pt x="1318184" y="960036"/>
                  </a:cubicBezTo>
                  <a:cubicBezTo>
                    <a:pt x="1318624" y="965530"/>
                    <a:pt x="1319569" y="969724"/>
                    <a:pt x="1324024" y="973660"/>
                  </a:cubicBezTo>
                  <a:cubicBezTo>
                    <a:pt x="1327197" y="976583"/>
                    <a:pt x="1327950" y="979494"/>
                    <a:pt x="1329284" y="983382"/>
                  </a:cubicBezTo>
                  <a:cubicBezTo>
                    <a:pt x="1331875" y="990106"/>
                    <a:pt x="1334445" y="993582"/>
                    <a:pt x="1340414" y="998354"/>
                  </a:cubicBezTo>
                  <a:cubicBezTo>
                    <a:pt x="1342397" y="1000564"/>
                    <a:pt x="1344347" y="1002798"/>
                    <a:pt x="1346272" y="1005048"/>
                  </a:cubicBezTo>
                  <a:cubicBezTo>
                    <a:pt x="1360055" y="1020713"/>
                    <a:pt x="1376247" y="1031879"/>
                    <a:pt x="1394716" y="1042740"/>
                  </a:cubicBezTo>
                  <a:cubicBezTo>
                    <a:pt x="1397172" y="1044228"/>
                    <a:pt x="1399581" y="1045779"/>
                    <a:pt x="1401953" y="1047374"/>
                  </a:cubicBezTo>
                  <a:cubicBezTo>
                    <a:pt x="1410065" y="1052802"/>
                    <a:pt x="1417529" y="1056366"/>
                    <a:pt x="1427197" y="1059061"/>
                  </a:cubicBezTo>
                  <a:cubicBezTo>
                    <a:pt x="1431243" y="1060437"/>
                    <a:pt x="1434061" y="1061979"/>
                    <a:pt x="1437265" y="1064588"/>
                  </a:cubicBezTo>
                  <a:cubicBezTo>
                    <a:pt x="1437265" y="1065518"/>
                    <a:pt x="1437265" y="1066448"/>
                    <a:pt x="1437265" y="1067406"/>
                  </a:cubicBezTo>
                  <a:cubicBezTo>
                    <a:pt x="1439053" y="1067624"/>
                    <a:pt x="1439053" y="1067624"/>
                    <a:pt x="1440878" y="1067847"/>
                  </a:cubicBezTo>
                  <a:cubicBezTo>
                    <a:pt x="1445076" y="1068815"/>
                    <a:pt x="1445076" y="1068815"/>
                    <a:pt x="1447175" y="1070753"/>
                  </a:cubicBezTo>
                  <a:cubicBezTo>
                    <a:pt x="1450417" y="1073622"/>
                    <a:pt x="1453781" y="1075060"/>
                    <a:pt x="1457866" y="1076830"/>
                  </a:cubicBezTo>
                  <a:cubicBezTo>
                    <a:pt x="1459274" y="1077446"/>
                    <a:pt x="1460681" y="1078062"/>
                    <a:pt x="1462132" y="1078696"/>
                  </a:cubicBezTo>
                  <a:cubicBezTo>
                    <a:pt x="1463204" y="1079156"/>
                    <a:pt x="1464278" y="1079616"/>
                    <a:pt x="1465383" y="1080089"/>
                  </a:cubicBezTo>
                  <a:cubicBezTo>
                    <a:pt x="1465383" y="1081019"/>
                    <a:pt x="1465383" y="1081949"/>
                    <a:pt x="1465383" y="1082908"/>
                  </a:cubicBezTo>
                  <a:cubicBezTo>
                    <a:pt x="1466497" y="1083260"/>
                    <a:pt x="1467611" y="1083612"/>
                    <a:pt x="1468758" y="1083975"/>
                  </a:cubicBezTo>
                  <a:cubicBezTo>
                    <a:pt x="1473648" y="1085905"/>
                    <a:pt x="1477426" y="1088296"/>
                    <a:pt x="1481688" y="1091187"/>
                  </a:cubicBezTo>
                  <a:cubicBezTo>
                    <a:pt x="1483204" y="1092193"/>
                    <a:pt x="1484721" y="1093200"/>
                    <a:pt x="1486283" y="1094236"/>
                  </a:cubicBezTo>
                  <a:cubicBezTo>
                    <a:pt x="1489170" y="1096185"/>
                    <a:pt x="1492029" y="1098166"/>
                    <a:pt x="1494869" y="1100171"/>
                  </a:cubicBezTo>
                  <a:cubicBezTo>
                    <a:pt x="1510181" y="1107906"/>
                    <a:pt x="1527080" y="1109898"/>
                    <a:pt x="1544335" y="1109518"/>
                  </a:cubicBezTo>
                  <a:cubicBezTo>
                    <a:pt x="1579932" y="1108798"/>
                    <a:pt x="1579932" y="1108798"/>
                    <a:pt x="1593477" y="1119900"/>
                  </a:cubicBezTo>
                  <a:cubicBezTo>
                    <a:pt x="1600636" y="1127255"/>
                    <a:pt x="1604889" y="1135120"/>
                    <a:pt x="1605975" y="1144913"/>
                  </a:cubicBezTo>
                  <a:cubicBezTo>
                    <a:pt x="1607006" y="1144913"/>
                    <a:pt x="1608036" y="1144913"/>
                    <a:pt x="1609099" y="1144913"/>
                  </a:cubicBezTo>
                  <a:cubicBezTo>
                    <a:pt x="1609227" y="1148907"/>
                    <a:pt x="1609319" y="1152897"/>
                    <a:pt x="1609392" y="1156892"/>
                  </a:cubicBezTo>
                  <a:cubicBezTo>
                    <a:pt x="1609451" y="1158565"/>
                    <a:pt x="1609451" y="1158565"/>
                    <a:pt x="1609511" y="1160272"/>
                  </a:cubicBezTo>
                  <a:cubicBezTo>
                    <a:pt x="1609621" y="1168378"/>
                    <a:pt x="1607970" y="1174108"/>
                    <a:pt x="1604412" y="1181553"/>
                  </a:cubicBezTo>
                  <a:cubicBezTo>
                    <a:pt x="1603354" y="1184367"/>
                    <a:pt x="1602306" y="1187183"/>
                    <a:pt x="1601288" y="1190009"/>
                  </a:cubicBezTo>
                  <a:cubicBezTo>
                    <a:pt x="1600257" y="1190009"/>
                    <a:pt x="1599226" y="1190009"/>
                    <a:pt x="1598164" y="1190009"/>
                  </a:cubicBezTo>
                  <a:cubicBezTo>
                    <a:pt x="1597842" y="1190910"/>
                    <a:pt x="1597520" y="1191810"/>
                    <a:pt x="1597187" y="1192739"/>
                  </a:cubicBezTo>
                  <a:cubicBezTo>
                    <a:pt x="1596479" y="1193698"/>
                    <a:pt x="1595770" y="1194657"/>
                    <a:pt x="1595040" y="1195645"/>
                  </a:cubicBezTo>
                  <a:cubicBezTo>
                    <a:pt x="1591916" y="1196115"/>
                    <a:pt x="1588791" y="1196585"/>
                    <a:pt x="1585667" y="1197055"/>
                  </a:cubicBezTo>
                  <a:cubicBezTo>
                    <a:pt x="1583871" y="1199826"/>
                    <a:pt x="1583871" y="1199826"/>
                    <a:pt x="1582543" y="1202691"/>
                  </a:cubicBezTo>
                  <a:cubicBezTo>
                    <a:pt x="1575997" y="1204710"/>
                    <a:pt x="1569266" y="1204360"/>
                    <a:pt x="1562431" y="1204365"/>
                  </a:cubicBezTo>
                  <a:cubicBezTo>
                    <a:pt x="1561196" y="1204382"/>
                    <a:pt x="1559962" y="1204399"/>
                    <a:pt x="1558690" y="1204417"/>
                  </a:cubicBezTo>
                  <a:cubicBezTo>
                    <a:pt x="1543339" y="1204452"/>
                    <a:pt x="1531981" y="1199267"/>
                    <a:pt x="1521102" y="1189585"/>
                  </a:cubicBezTo>
                  <a:cubicBezTo>
                    <a:pt x="1515403" y="1183953"/>
                    <a:pt x="1510116" y="1178123"/>
                    <a:pt x="1505022" y="1172041"/>
                  </a:cubicBezTo>
                  <a:cubicBezTo>
                    <a:pt x="1493200" y="1158177"/>
                    <a:pt x="1475492" y="1147115"/>
                    <a:pt x="1457573" y="1140686"/>
                  </a:cubicBezTo>
                  <a:cubicBezTo>
                    <a:pt x="1457573" y="1139755"/>
                    <a:pt x="1457573" y="1138826"/>
                    <a:pt x="1457573" y="1137867"/>
                  </a:cubicBezTo>
                  <a:cubicBezTo>
                    <a:pt x="1456059" y="1137693"/>
                    <a:pt x="1454544" y="1137518"/>
                    <a:pt x="1452985" y="1137339"/>
                  </a:cubicBezTo>
                  <a:cubicBezTo>
                    <a:pt x="1451406" y="1137048"/>
                    <a:pt x="1449827" y="1136758"/>
                    <a:pt x="1448200" y="1136458"/>
                  </a:cubicBezTo>
                  <a:cubicBezTo>
                    <a:pt x="1447685" y="1135528"/>
                    <a:pt x="1447169" y="1134598"/>
                    <a:pt x="1446638" y="1133640"/>
                  </a:cubicBezTo>
                  <a:cubicBezTo>
                    <a:pt x="1444091" y="1132586"/>
                    <a:pt x="1441535" y="1131550"/>
                    <a:pt x="1438937" y="1130601"/>
                  </a:cubicBezTo>
                  <a:cubicBezTo>
                    <a:pt x="1435668" y="1129399"/>
                    <a:pt x="1432469" y="1128095"/>
                    <a:pt x="1429260" y="1126770"/>
                  </a:cubicBezTo>
                  <a:cubicBezTo>
                    <a:pt x="1423389" y="1124389"/>
                    <a:pt x="1417431" y="1122349"/>
                    <a:pt x="1411393" y="1120340"/>
                  </a:cubicBezTo>
                  <a:cubicBezTo>
                    <a:pt x="1404143" y="1117867"/>
                    <a:pt x="1397842" y="1115090"/>
                    <a:pt x="1391427" y="1111191"/>
                  </a:cubicBezTo>
                  <a:cubicBezTo>
                    <a:pt x="1388139" y="1109274"/>
                    <a:pt x="1384723" y="1108010"/>
                    <a:pt x="1381029" y="1106865"/>
                  </a:cubicBezTo>
                  <a:cubicBezTo>
                    <a:pt x="1381029" y="1105934"/>
                    <a:pt x="1381029" y="1105004"/>
                    <a:pt x="1381029" y="1104046"/>
                  </a:cubicBezTo>
                  <a:cubicBezTo>
                    <a:pt x="1379773" y="1103901"/>
                    <a:pt x="1378516" y="1103755"/>
                    <a:pt x="1377221" y="1103605"/>
                  </a:cubicBezTo>
                  <a:cubicBezTo>
                    <a:pt x="1370425" y="1102422"/>
                    <a:pt x="1364120" y="1100465"/>
                    <a:pt x="1357597" y="1098409"/>
                  </a:cubicBezTo>
                  <a:cubicBezTo>
                    <a:pt x="1355761" y="1097857"/>
                    <a:pt x="1353924" y="1097304"/>
                    <a:pt x="1352032" y="1096736"/>
                  </a:cubicBezTo>
                  <a:cubicBezTo>
                    <a:pt x="1350776" y="1096358"/>
                    <a:pt x="1349519" y="1095980"/>
                    <a:pt x="1348225" y="1095590"/>
                  </a:cubicBezTo>
                  <a:cubicBezTo>
                    <a:pt x="1348225" y="1094661"/>
                    <a:pt x="1348225" y="1093730"/>
                    <a:pt x="1348225" y="1092772"/>
                  </a:cubicBezTo>
                  <a:cubicBezTo>
                    <a:pt x="1344616" y="1092307"/>
                    <a:pt x="1341007" y="1091842"/>
                    <a:pt x="1337290" y="1091363"/>
                  </a:cubicBezTo>
                  <a:cubicBezTo>
                    <a:pt x="1337290" y="1090433"/>
                    <a:pt x="1337290" y="1089503"/>
                    <a:pt x="1337290" y="1088544"/>
                  </a:cubicBezTo>
                  <a:cubicBezTo>
                    <a:pt x="1334438" y="1088327"/>
                    <a:pt x="1334438" y="1088327"/>
                    <a:pt x="1331529" y="1088104"/>
                  </a:cubicBezTo>
                  <a:lnTo>
                    <a:pt x="1323297" y="1086611"/>
                  </a:lnTo>
                  <a:lnTo>
                    <a:pt x="1323297" y="1087618"/>
                  </a:lnTo>
                  <a:cubicBezTo>
                    <a:pt x="1322139" y="1087517"/>
                    <a:pt x="1320982" y="1087415"/>
                    <a:pt x="1319789" y="1087310"/>
                  </a:cubicBezTo>
                  <a:cubicBezTo>
                    <a:pt x="1300429" y="1085771"/>
                    <a:pt x="1281330" y="1084680"/>
                    <a:pt x="1262375" y="1089028"/>
                  </a:cubicBezTo>
                  <a:lnTo>
                    <a:pt x="1258728" y="1088205"/>
                  </a:lnTo>
                  <a:lnTo>
                    <a:pt x="1246964" y="1091489"/>
                  </a:lnTo>
                  <a:cubicBezTo>
                    <a:pt x="1237239" y="1097222"/>
                    <a:pt x="1228703" y="1103434"/>
                    <a:pt x="1223224" y="1112865"/>
                  </a:cubicBezTo>
                  <a:cubicBezTo>
                    <a:pt x="1220867" y="1116643"/>
                    <a:pt x="1217262" y="1119317"/>
                    <a:pt x="1213883" y="1122366"/>
                  </a:cubicBezTo>
                  <a:cubicBezTo>
                    <a:pt x="1213428" y="1123469"/>
                    <a:pt x="1212973" y="1124572"/>
                    <a:pt x="1212505" y="1125708"/>
                  </a:cubicBezTo>
                  <a:cubicBezTo>
                    <a:pt x="1210449" y="1130067"/>
                    <a:pt x="1207984" y="1132315"/>
                    <a:pt x="1204180" y="1135561"/>
                  </a:cubicBezTo>
                  <a:cubicBezTo>
                    <a:pt x="1202879" y="1136695"/>
                    <a:pt x="1201578" y="1137829"/>
                    <a:pt x="1200238" y="1138999"/>
                  </a:cubicBezTo>
                  <a:cubicBezTo>
                    <a:pt x="1197504" y="1141343"/>
                    <a:pt x="1194765" y="1143684"/>
                    <a:pt x="1192025" y="1146022"/>
                  </a:cubicBezTo>
                  <a:cubicBezTo>
                    <a:pt x="1181899" y="1154869"/>
                    <a:pt x="1174983" y="1161763"/>
                    <a:pt x="1173945" y="1174749"/>
                  </a:cubicBezTo>
                  <a:cubicBezTo>
                    <a:pt x="1173902" y="1177369"/>
                    <a:pt x="1173905" y="1179990"/>
                    <a:pt x="1173950" y="1182610"/>
                  </a:cubicBezTo>
                  <a:cubicBezTo>
                    <a:pt x="1173963" y="1183981"/>
                    <a:pt x="1173975" y="1185352"/>
                    <a:pt x="1173989" y="1186765"/>
                  </a:cubicBezTo>
                  <a:cubicBezTo>
                    <a:pt x="1174321" y="1197573"/>
                    <a:pt x="1176809" y="1205883"/>
                    <a:pt x="1182640" y="1215374"/>
                  </a:cubicBezTo>
                  <a:cubicBezTo>
                    <a:pt x="1183703" y="1217509"/>
                    <a:pt x="1184746" y="1219652"/>
                    <a:pt x="1185764" y="1221804"/>
                  </a:cubicBezTo>
                  <a:cubicBezTo>
                    <a:pt x="1186271" y="1222812"/>
                    <a:pt x="1186779" y="1223821"/>
                    <a:pt x="1187301" y="1224859"/>
                  </a:cubicBezTo>
                  <a:cubicBezTo>
                    <a:pt x="1188431" y="1227137"/>
                    <a:pt x="1189517" y="1229433"/>
                    <a:pt x="1190573" y="1231740"/>
                  </a:cubicBezTo>
                  <a:cubicBezTo>
                    <a:pt x="1194650" y="1240409"/>
                    <a:pt x="1199581" y="1247688"/>
                    <a:pt x="1205925" y="1255163"/>
                  </a:cubicBezTo>
                  <a:cubicBezTo>
                    <a:pt x="1208103" y="1257757"/>
                    <a:pt x="1210188" y="1260417"/>
                    <a:pt x="1212174" y="1263134"/>
                  </a:cubicBezTo>
                  <a:cubicBezTo>
                    <a:pt x="1218757" y="1272043"/>
                    <a:pt x="1225157" y="1277324"/>
                    <a:pt x="1235556" y="1282538"/>
                  </a:cubicBezTo>
                  <a:cubicBezTo>
                    <a:pt x="1236652" y="1283161"/>
                    <a:pt x="1237747" y="1283784"/>
                    <a:pt x="1238876" y="1284426"/>
                  </a:cubicBezTo>
                  <a:cubicBezTo>
                    <a:pt x="1238876" y="1285356"/>
                    <a:pt x="1238876" y="1286287"/>
                    <a:pt x="1238876" y="1287245"/>
                  </a:cubicBezTo>
                  <a:cubicBezTo>
                    <a:pt x="1239988" y="1287383"/>
                    <a:pt x="1241099" y="1287521"/>
                    <a:pt x="1242245" y="1287663"/>
                  </a:cubicBezTo>
                  <a:cubicBezTo>
                    <a:pt x="1253043" y="1290072"/>
                    <a:pt x="1264916" y="1297690"/>
                    <a:pt x="1271681" y="1305565"/>
                  </a:cubicBezTo>
                  <a:lnTo>
                    <a:pt x="1271742" y="1306172"/>
                  </a:lnTo>
                  <a:lnTo>
                    <a:pt x="1278525" y="1315767"/>
                  </a:lnTo>
                  <a:cubicBezTo>
                    <a:pt x="1279797" y="1319398"/>
                    <a:pt x="1280365" y="1323346"/>
                    <a:pt x="1281097" y="1327286"/>
                  </a:cubicBezTo>
                  <a:cubicBezTo>
                    <a:pt x="1281916" y="1337121"/>
                    <a:pt x="1281807" y="1346176"/>
                    <a:pt x="1277973" y="1355470"/>
                  </a:cubicBezTo>
                  <a:lnTo>
                    <a:pt x="1277460" y="1347025"/>
                  </a:lnTo>
                  <a:lnTo>
                    <a:pt x="1273531" y="1357991"/>
                  </a:lnTo>
                  <a:cubicBezTo>
                    <a:pt x="1270940" y="1361892"/>
                    <a:pt x="1267521" y="1365435"/>
                    <a:pt x="1263870" y="1368980"/>
                  </a:cubicBezTo>
                  <a:cubicBezTo>
                    <a:pt x="1258351" y="1372929"/>
                    <a:pt x="1253850" y="1376026"/>
                    <a:pt x="1246686" y="1376026"/>
                  </a:cubicBezTo>
                  <a:cubicBezTo>
                    <a:pt x="1246686" y="1376956"/>
                    <a:pt x="1246686" y="1377886"/>
                    <a:pt x="1246686" y="1378844"/>
                  </a:cubicBezTo>
                  <a:cubicBezTo>
                    <a:pt x="1241676" y="1379009"/>
                    <a:pt x="1236665" y="1379109"/>
                    <a:pt x="1231651" y="1379196"/>
                  </a:cubicBezTo>
                  <a:cubicBezTo>
                    <a:pt x="1230240" y="1379244"/>
                    <a:pt x="1228828" y="1379291"/>
                    <a:pt x="1227373" y="1379340"/>
                  </a:cubicBezTo>
                  <a:cubicBezTo>
                    <a:pt x="1218287" y="1379460"/>
                    <a:pt x="1213363" y="1378568"/>
                    <a:pt x="1206071" y="1373207"/>
                  </a:cubicBezTo>
                  <a:cubicBezTo>
                    <a:pt x="1204751" y="1372742"/>
                    <a:pt x="1203430" y="1372277"/>
                    <a:pt x="1202069" y="1371798"/>
                  </a:cubicBezTo>
                  <a:cubicBezTo>
                    <a:pt x="1193777" y="1368730"/>
                    <a:pt x="1188124" y="1363294"/>
                    <a:pt x="1184104" y="1356176"/>
                  </a:cubicBezTo>
                  <a:cubicBezTo>
                    <a:pt x="1180965" y="1349259"/>
                    <a:pt x="1178852" y="1342590"/>
                    <a:pt x="1177270" y="1335247"/>
                  </a:cubicBezTo>
                  <a:cubicBezTo>
                    <a:pt x="1175525" y="1327352"/>
                    <a:pt x="1172911" y="1320677"/>
                    <a:pt x="1169002" y="1313464"/>
                  </a:cubicBezTo>
                  <a:cubicBezTo>
                    <a:pt x="1166989" y="1309737"/>
                    <a:pt x="1165215" y="1305976"/>
                    <a:pt x="1163504" y="1302130"/>
                  </a:cubicBezTo>
                  <a:cubicBezTo>
                    <a:pt x="1163013" y="1301027"/>
                    <a:pt x="1162521" y="1299924"/>
                    <a:pt x="1162015" y="1298788"/>
                  </a:cubicBezTo>
                  <a:cubicBezTo>
                    <a:pt x="1160770" y="1295700"/>
                    <a:pt x="1160770" y="1295700"/>
                    <a:pt x="1160111" y="1292656"/>
                  </a:cubicBezTo>
                  <a:cubicBezTo>
                    <a:pt x="1159345" y="1289507"/>
                    <a:pt x="1159345" y="1289507"/>
                    <a:pt x="1154522" y="1287245"/>
                  </a:cubicBezTo>
                  <a:cubicBezTo>
                    <a:pt x="1153465" y="1284902"/>
                    <a:pt x="1152426" y="1282552"/>
                    <a:pt x="1151398" y="1280199"/>
                  </a:cubicBezTo>
                  <a:cubicBezTo>
                    <a:pt x="1149056" y="1276983"/>
                    <a:pt x="1146686" y="1273874"/>
                    <a:pt x="1144173" y="1270774"/>
                  </a:cubicBezTo>
                  <a:cubicBezTo>
                    <a:pt x="1143477" y="1269912"/>
                    <a:pt x="1142782" y="1269049"/>
                    <a:pt x="1142065" y="1268160"/>
                  </a:cubicBezTo>
                  <a:cubicBezTo>
                    <a:pt x="1139981" y="1265589"/>
                    <a:pt x="1137880" y="1263029"/>
                    <a:pt x="1135776" y="1260470"/>
                  </a:cubicBezTo>
                  <a:cubicBezTo>
                    <a:pt x="1134647" y="1259076"/>
                    <a:pt x="1133517" y="1257683"/>
                    <a:pt x="1132353" y="1256247"/>
                  </a:cubicBezTo>
                  <a:cubicBezTo>
                    <a:pt x="1126291" y="1249045"/>
                    <a:pt x="1121408" y="1244606"/>
                    <a:pt x="1112344" y="1240741"/>
                  </a:cubicBezTo>
                  <a:cubicBezTo>
                    <a:pt x="1110285" y="1239698"/>
                    <a:pt x="1108234" y="1238642"/>
                    <a:pt x="1106193" y="1237570"/>
                  </a:cubicBezTo>
                  <a:cubicBezTo>
                    <a:pt x="1104615" y="1236756"/>
                    <a:pt x="1103036" y="1235942"/>
                    <a:pt x="1101409" y="1235104"/>
                  </a:cubicBezTo>
                  <a:cubicBezTo>
                    <a:pt x="1101409" y="1233708"/>
                    <a:pt x="1101409" y="1232313"/>
                    <a:pt x="1101409" y="1230876"/>
                  </a:cubicBezTo>
                  <a:cubicBezTo>
                    <a:pt x="1089553" y="1230876"/>
                    <a:pt x="1077697" y="1230876"/>
                    <a:pt x="1065480" y="1230876"/>
                  </a:cubicBezTo>
                  <a:cubicBezTo>
                    <a:pt x="1064965" y="1232271"/>
                    <a:pt x="1064450" y="1233666"/>
                    <a:pt x="1063919" y="1235104"/>
                  </a:cubicBezTo>
                  <a:cubicBezTo>
                    <a:pt x="1062372" y="1235104"/>
                    <a:pt x="1060826" y="1235104"/>
                    <a:pt x="1059232" y="1235104"/>
                  </a:cubicBezTo>
                  <a:cubicBezTo>
                    <a:pt x="1059232" y="1236033"/>
                    <a:pt x="1059232" y="1236964"/>
                    <a:pt x="1059232" y="1237922"/>
                  </a:cubicBezTo>
                  <a:cubicBezTo>
                    <a:pt x="1052964" y="1240850"/>
                    <a:pt x="1046842" y="1243613"/>
                    <a:pt x="1040194" y="1245761"/>
                  </a:cubicBezTo>
                  <a:cubicBezTo>
                    <a:pt x="1036552" y="1246941"/>
                    <a:pt x="1033682" y="1248088"/>
                    <a:pt x="1030333" y="1249901"/>
                  </a:cubicBezTo>
                  <a:cubicBezTo>
                    <a:pt x="1025129" y="1252717"/>
                    <a:pt x="1019615" y="1254371"/>
                    <a:pt x="1013931" y="1256242"/>
                  </a:cubicBezTo>
                  <a:cubicBezTo>
                    <a:pt x="1009870" y="1257688"/>
                    <a:pt x="1008221" y="1258277"/>
                    <a:pt x="1005925" y="1261615"/>
                  </a:cubicBezTo>
                  <a:cubicBezTo>
                    <a:pt x="1005474" y="1262632"/>
                    <a:pt x="1005023" y="1263649"/>
                    <a:pt x="1004558" y="1264697"/>
                  </a:cubicBezTo>
                  <a:cubicBezTo>
                    <a:pt x="1004030" y="1265774"/>
                    <a:pt x="1003503" y="1266852"/>
                    <a:pt x="1002959" y="1267961"/>
                  </a:cubicBezTo>
                  <a:cubicBezTo>
                    <a:pt x="1001408" y="1271808"/>
                    <a:pt x="1000922" y="1274896"/>
                    <a:pt x="1000653" y="1278965"/>
                  </a:cubicBezTo>
                  <a:cubicBezTo>
                    <a:pt x="1000303" y="1284158"/>
                    <a:pt x="999467" y="1289055"/>
                    <a:pt x="998297" y="1294137"/>
                  </a:cubicBezTo>
                  <a:cubicBezTo>
                    <a:pt x="996204" y="1304306"/>
                    <a:pt x="996129" y="1314460"/>
                    <a:pt x="996162" y="1324765"/>
                  </a:cubicBezTo>
                  <a:cubicBezTo>
                    <a:pt x="996163" y="1325782"/>
                    <a:pt x="996163" y="1326799"/>
                    <a:pt x="996164" y="1327846"/>
                  </a:cubicBezTo>
                  <a:cubicBezTo>
                    <a:pt x="996263" y="1353742"/>
                    <a:pt x="1001081" y="1378188"/>
                    <a:pt x="1007780" y="1403329"/>
                  </a:cubicBezTo>
                  <a:cubicBezTo>
                    <a:pt x="1008163" y="1404772"/>
                    <a:pt x="1008546" y="1406215"/>
                    <a:pt x="1008940" y="1407701"/>
                  </a:cubicBezTo>
                  <a:cubicBezTo>
                    <a:pt x="1009316" y="1409030"/>
                    <a:pt x="1009693" y="1410360"/>
                    <a:pt x="1010080" y="1411730"/>
                  </a:cubicBezTo>
                  <a:cubicBezTo>
                    <a:pt x="1010409" y="1412900"/>
                    <a:pt x="1010737" y="1414071"/>
                    <a:pt x="1011075" y="1415277"/>
                  </a:cubicBezTo>
                  <a:cubicBezTo>
                    <a:pt x="1012501" y="1418612"/>
                    <a:pt x="1014136" y="1420168"/>
                    <a:pt x="1017055" y="1422530"/>
                  </a:cubicBezTo>
                  <a:cubicBezTo>
                    <a:pt x="1018770" y="1425162"/>
                    <a:pt x="1018770" y="1425162"/>
                    <a:pt x="1020277" y="1427991"/>
                  </a:cubicBezTo>
                  <a:cubicBezTo>
                    <a:pt x="1020778" y="1428917"/>
                    <a:pt x="1021280" y="1429844"/>
                    <a:pt x="1021796" y="1430798"/>
                  </a:cubicBezTo>
                  <a:cubicBezTo>
                    <a:pt x="1023303" y="1433804"/>
                    <a:pt x="1023303" y="1433804"/>
                    <a:pt x="1024579" y="1437239"/>
                  </a:cubicBezTo>
                  <a:cubicBezTo>
                    <a:pt x="1026915" y="1441803"/>
                    <a:pt x="1030098" y="1444534"/>
                    <a:pt x="1034043" y="1448072"/>
                  </a:cubicBezTo>
                  <a:lnTo>
                    <a:pt x="1043782" y="1464320"/>
                  </a:lnTo>
                  <a:lnTo>
                    <a:pt x="1050458" y="1472189"/>
                  </a:lnTo>
                  <a:cubicBezTo>
                    <a:pt x="1051737" y="1475181"/>
                    <a:pt x="1052277" y="1478513"/>
                    <a:pt x="1052926" y="1482370"/>
                  </a:cubicBezTo>
                  <a:cubicBezTo>
                    <a:pt x="1053325" y="1487224"/>
                    <a:pt x="1053364" y="1492038"/>
                    <a:pt x="1053316" y="1496903"/>
                  </a:cubicBezTo>
                  <a:cubicBezTo>
                    <a:pt x="1053328" y="1498142"/>
                    <a:pt x="1053340" y="1499382"/>
                    <a:pt x="1053352" y="1500660"/>
                  </a:cubicBezTo>
                  <a:cubicBezTo>
                    <a:pt x="1053348" y="1501856"/>
                    <a:pt x="1053344" y="1503052"/>
                    <a:pt x="1053341" y="1504285"/>
                  </a:cubicBezTo>
                  <a:cubicBezTo>
                    <a:pt x="1053336" y="1505355"/>
                    <a:pt x="1053333" y="1506426"/>
                    <a:pt x="1053329" y="1507529"/>
                  </a:cubicBezTo>
                  <a:cubicBezTo>
                    <a:pt x="1052876" y="1510927"/>
                    <a:pt x="1051672" y="1513237"/>
                    <a:pt x="1049801" y="1516192"/>
                  </a:cubicBezTo>
                  <a:lnTo>
                    <a:pt x="1047312" y="1516192"/>
                  </a:lnTo>
                  <a:lnTo>
                    <a:pt x="1043611" y="1522585"/>
                  </a:lnTo>
                  <a:cubicBezTo>
                    <a:pt x="1035301" y="1529631"/>
                    <a:pt x="1035301" y="1529631"/>
                    <a:pt x="1029552" y="1529631"/>
                  </a:cubicBezTo>
                  <a:cubicBezTo>
                    <a:pt x="1029294" y="1530503"/>
                    <a:pt x="1029036" y="1531375"/>
                    <a:pt x="1028771" y="1532273"/>
                  </a:cubicBezTo>
                  <a:cubicBezTo>
                    <a:pt x="1025795" y="1536076"/>
                    <a:pt x="1022970" y="1536733"/>
                    <a:pt x="1018013" y="1537640"/>
                  </a:cubicBezTo>
                  <a:cubicBezTo>
                    <a:pt x="1005216" y="1539038"/>
                    <a:pt x="992573" y="1539816"/>
                    <a:pt x="981126" y="1533859"/>
                  </a:cubicBezTo>
                  <a:cubicBezTo>
                    <a:pt x="979840" y="1533226"/>
                    <a:pt x="978553" y="1532594"/>
                    <a:pt x="977227" y="1531943"/>
                  </a:cubicBezTo>
                  <a:cubicBezTo>
                    <a:pt x="965286" y="1525877"/>
                    <a:pt x="959626" y="1520520"/>
                    <a:pt x="955376" y="1508751"/>
                  </a:cubicBezTo>
                  <a:cubicBezTo>
                    <a:pt x="954571" y="1505674"/>
                    <a:pt x="954571" y="1505674"/>
                    <a:pt x="954571" y="1500037"/>
                  </a:cubicBezTo>
                  <a:cubicBezTo>
                    <a:pt x="953539" y="1500037"/>
                    <a:pt x="952508" y="1500037"/>
                    <a:pt x="951446" y="1500037"/>
                  </a:cubicBezTo>
                  <a:cubicBezTo>
                    <a:pt x="951361" y="1495986"/>
                    <a:pt x="951299" y="1491935"/>
                    <a:pt x="951251" y="1487883"/>
                  </a:cubicBezTo>
                  <a:cubicBezTo>
                    <a:pt x="951224" y="1486744"/>
                    <a:pt x="951198" y="1485605"/>
                    <a:pt x="951171" y="1484431"/>
                  </a:cubicBezTo>
                  <a:cubicBezTo>
                    <a:pt x="951110" y="1477657"/>
                    <a:pt x="952093" y="1472660"/>
                    <a:pt x="954571" y="1466216"/>
                  </a:cubicBezTo>
                  <a:cubicBezTo>
                    <a:pt x="954867" y="1462451"/>
                    <a:pt x="955016" y="1458876"/>
                    <a:pt x="954961" y="1455118"/>
                  </a:cubicBezTo>
                  <a:cubicBezTo>
                    <a:pt x="954951" y="1454080"/>
                    <a:pt x="954942" y="1453042"/>
                    <a:pt x="954932" y="1451972"/>
                  </a:cubicBezTo>
                  <a:cubicBezTo>
                    <a:pt x="954606" y="1435235"/>
                    <a:pt x="952568" y="1419050"/>
                    <a:pt x="945099" y="1403594"/>
                  </a:cubicBezTo>
                  <a:cubicBezTo>
                    <a:pt x="943714" y="1400177"/>
                    <a:pt x="943046" y="1397128"/>
                    <a:pt x="942366" y="1393553"/>
                  </a:cubicBezTo>
                  <a:cubicBezTo>
                    <a:pt x="940837" y="1386134"/>
                    <a:pt x="937840" y="1379609"/>
                    <a:pt x="934451" y="1372734"/>
                  </a:cubicBezTo>
                  <a:cubicBezTo>
                    <a:pt x="932701" y="1368980"/>
                    <a:pt x="932701" y="1368980"/>
                    <a:pt x="931974" y="1365754"/>
                  </a:cubicBezTo>
                  <a:cubicBezTo>
                    <a:pt x="931699" y="1364958"/>
                    <a:pt x="931422" y="1364162"/>
                    <a:pt x="931138" y="1363343"/>
                  </a:cubicBezTo>
                  <a:cubicBezTo>
                    <a:pt x="929592" y="1362878"/>
                    <a:pt x="928045" y="1362413"/>
                    <a:pt x="926452" y="1361933"/>
                  </a:cubicBezTo>
                  <a:cubicBezTo>
                    <a:pt x="921830" y="1355261"/>
                    <a:pt x="920323" y="1348382"/>
                    <a:pt x="918641" y="1340795"/>
                  </a:cubicBezTo>
                  <a:cubicBezTo>
                    <a:pt x="918133" y="1338914"/>
                    <a:pt x="917616" y="1337034"/>
                    <a:pt x="917079" y="1335158"/>
                  </a:cubicBezTo>
                  <a:cubicBezTo>
                    <a:pt x="916048" y="1335158"/>
                    <a:pt x="915018" y="1335158"/>
                    <a:pt x="913955" y="1335158"/>
                  </a:cubicBezTo>
                  <a:cubicBezTo>
                    <a:pt x="913329" y="1333718"/>
                    <a:pt x="912703" y="1332277"/>
                    <a:pt x="912057" y="1330793"/>
                  </a:cubicBezTo>
                  <a:cubicBezTo>
                    <a:pt x="909497" y="1325424"/>
                    <a:pt x="906114" y="1320822"/>
                    <a:pt x="902142" y="1316222"/>
                  </a:cubicBezTo>
                  <a:cubicBezTo>
                    <a:pt x="901465" y="1315432"/>
                    <a:pt x="900788" y="1314642"/>
                    <a:pt x="900091" y="1313828"/>
                  </a:cubicBezTo>
                  <a:cubicBezTo>
                    <a:pt x="893705" y="1306618"/>
                    <a:pt x="886350" y="1301049"/>
                    <a:pt x="878026" y="1295700"/>
                  </a:cubicBezTo>
                  <a:cubicBezTo>
                    <a:pt x="876595" y="1294594"/>
                    <a:pt x="876595" y="1294594"/>
                    <a:pt x="875134" y="1293465"/>
                  </a:cubicBezTo>
                  <a:lnTo>
                    <a:pt x="869869" y="1291826"/>
                  </a:lnTo>
                  <a:lnTo>
                    <a:pt x="862384" y="1291327"/>
                  </a:lnTo>
                  <a:cubicBezTo>
                    <a:pt x="856441" y="1290067"/>
                    <a:pt x="850461" y="1290346"/>
                    <a:pt x="844390" y="1290461"/>
                  </a:cubicBezTo>
                  <a:cubicBezTo>
                    <a:pt x="842453" y="1290480"/>
                    <a:pt x="842453" y="1290480"/>
                    <a:pt x="840476" y="1290500"/>
                  </a:cubicBezTo>
                  <a:cubicBezTo>
                    <a:pt x="837322" y="1290532"/>
                    <a:pt x="834169" y="1290583"/>
                    <a:pt x="831015" y="1290637"/>
                  </a:cubicBezTo>
                  <a:cubicBezTo>
                    <a:pt x="831015" y="1291568"/>
                    <a:pt x="831015" y="1292498"/>
                    <a:pt x="831015" y="1293456"/>
                  </a:cubicBezTo>
                  <a:cubicBezTo>
                    <a:pt x="826519" y="1294808"/>
                    <a:pt x="822922" y="1295235"/>
                    <a:pt x="818225" y="1295570"/>
                  </a:cubicBezTo>
                  <a:lnTo>
                    <a:pt x="796774" y="1297671"/>
                  </a:lnTo>
                  <a:lnTo>
                    <a:pt x="783646" y="1305736"/>
                  </a:lnTo>
                  <a:cubicBezTo>
                    <a:pt x="776915" y="1312506"/>
                    <a:pt x="772692" y="1318638"/>
                    <a:pt x="769263" y="1327143"/>
                  </a:cubicBezTo>
                  <a:cubicBezTo>
                    <a:pt x="767116" y="1332340"/>
                    <a:pt x="767116" y="1332340"/>
                    <a:pt x="764797" y="1334360"/>
                  </a:cubicBezTo>
                  <a:lnTo>
                    <a:pt x="757875" y="1353503"/>
                  </a:lnTo>
                  <a:lnTo>
                    <a:pt x="755676" y="1367455"/>
                  </a:lnTo>
                  <a:lnTo>
                    <a:pt x="750558" y="1399690"/>
                  </a:lnTo>
                  <a:lnTo>
                    <a:pt x="753057" y="1411256"/>
                  </a:lnTo>
                  <a:cubicBezTo>
                    <a:pt x="753057" y="1413117"/>
                    <a:pt x="753057" y="1414976"/>
                    <a:pt x="753057" y="1416893"/>
                  </a:cubicBezTo>
                  <a:cubicBezTo>
                    <a:pt x="754087" y="1416893"/>
                    <a:pt x="755119" y="1416893"/>
                    <a:pt x="756181" y="1416893"/>
                  </a:cubicBezTo>
                  <a:cubicBezTo>
                    <a:pt x="759348" y="1422607"/>
                    <a:pt x="758101" y="1429902"/>
                    <a:pt x="758133" y="1436182"/>
                  </a:cubicBezTo>
                  <a:cubicBezTo>
                    <a:pt x="758182" y="1438458"/>
                    <a:pt x="758182" y="1438458"/>
                    <a:pt x="758231" y="1440781"/>
                  </a:cubicBezTo>
                  <a:cubicBezTo>
                    <a:pt x="758283" y="1450271"/>
                    <a:pt x="758174" y="1458360"/>
                    <a:pt x="750713" y="1465704"/>
                  </a:cubicBezTo>
                  <a:cubicBezTo>
                    <a:pt x="749940" y="1466193"/>
                    <a:pt x="749167" y="1466681"/>
                    <a:pt x="748370" y="1467185"/>
                  </a:cubicBezTo>
                  <a:cubicBezTo>
                    <a:pt x="743665" y="1470047"/>
                    <a:pt x="743665" y="1470047"/>
                    <a:pt x="741633" y="1473526"/>
                  </a:cubicBezTo>
                  <a:cubicBezTo>
                    <a:pt x="737793" y="1477248"/>
                    <a:pt x="733582" y="1477483"/>
                    <a:pt x="728154" y="1478343"/>
                  </a:cubicBezTo>
                  <a:cubicBezTo>
                    <a:pt x="724855" y="1478778"/>
                    <a:pt x="724855" y="1478778"/>
                    <a:pt x="721814" y="1480308"/>
                  </a:cubicBezTo>
                  <a:cubicBezTo>
                    <a:pt x="717303" y="1480523"/>
                    <a:pt x="712854" y="1480634"/>
                    <a:pt x="708341" y="1480661"/>
                  </a:cubicBezTo>
                  <a:cubicBezTo>
                    <a:pt x="707118" y="1480690"/>
                    <a:pt x="705896" y="1480719"/>
                    <a:pt x="704637" y="1480748"/>
                  </a:cubicBezTo>
                  <a:cubicBezTo>
                    <a:pt x="690446" y="1480834"/>
                    <a:pt x="679632" y="1476246"/>
                    <a:pt x="668507" y="1468418"/>
                  </a:cubicBezTo>
                  <a:cubicBezTo>
                    <a:pt x="662823" y="1463224"/>
                    <a:pt x="661745" y="1456995"/>
                    <a:pt x="660178" y="1450027"/>
                  </a:cubicBezTo>
                  <a:cubicBezTo>
                    <a:pt x="659725" y="1446589"/>
                    <a:pt x="659725" y="1446589"/>
                    <a:pt x="657767" y="1445078"/>
                  </a:cubicBezTo>
                  <a:cubicBezTo>
                    <a:pt x="656859" y="1433686"/>
                    <a:pt x="655965" y="1419178"/>
                    <a:pt x="663369" y="1409390"/>
                  </a:cubicBezTo>
                  <a:cubicBezTo>
                    <a:pt x="666078" y="1406601"/>
                    <a:pt x="668921" y="1404013"/>
                    <a:pt x="671826" y="1401392"/>
                  </a:cubicBezTo>
                  <a:cubicBezTo>
                    <a:pt x="675197" y="1397623"/>
                    <a:pt x="677125" y="1394916"/>
                    <a:pt x="678075" y="1390118"/>
                  </a:cubicBezTo>
                  <a:cubicBezTo>
                    <a:pt x="680137" y="1389653"/>
                    <a:pt x="682199" y="1389188"/>
                    <a:pt x="684323" y="1388709"/>
                  </a:cubicBezTo>
                  <a:cubicBezTo>
                    <a:pt x="684643" y="1387232"/>
                    <a:pt x="684964" y="1385755"/>
                    <a:pt x="685293" y="1384233"/>
                  </a:cubicBezTo>
                  <a:cubicBezTo>
                    <a:pt x="685718" y="1382290"/>
                    <a:pt x="686144" y="1380347"/>
                    <a:pt x="686569" y="1378404"/>
                  </a:cubicBezTo>
                  <a:cubicBezTo>
                    <a:pt x="686885" y="1376945"/>
                    <a:pt x="686885" y="1376945"/>
                    <a:pt x="687207" y="1375456"/>
                  </a:cubicBezTo>
                  <a:cubicBezTo>
                    <a:pt x="688115" y="1371315"/>
                    <a:pt x="689090" y="1367353"/>
                    <a:pt x="690572" y="1363343"/>
                  </a:cubicBezTo>
                  <a:cubicBezTo>
                    <a:pt x="692411" y="1350128"/>
                    <a:pt x="692374" y="1336672"/>
                    <a:pt x="692495" y="1323376"/>
                  </a:cubicBezTo>
                  <a:cubicBezTo>
                    <a:pt x="692524" y="1320586"/>
                    <a:pt x="692574" y="1317796"/>
                    <a:pt x="692625" y="1315006"/>
                  </a:cubicBezTo>
                  <a:cubicBezTo>
                    <a:pt x="692853" y="1300589"/>
                    <a:pt x="692853" y="1300589"/>
                    <a:pt x="687447" y="1287245"/>
                  </a:cubicBezTo>
                  <a:cubicBezTo>
                    <a:pt x="685901" y="1286780"/>
                    <a:pt x="684354" y="1286315"/>
                    <a:pt x="682761" y="1285835"/>
                  </a:cubicBezTo>
                  <a:cubicBezTo>
                    <a:pt x="680876" y="1283743"/>
                    <a:pt x="680876" y="1283743"/>
                    <a:pt x="678954" y="1281608"/>
                  </a:cubicBezTo>
                  <a:cubicBezTo>
                    <a:pt x="674854" y="1277278"/>
                    <a:pt x="674356" y="1276958"/>
                    <a:pt x="668702" y="1275971"/>
                  </a:cubicBezTo>
                  <a:cubicBezTo>
                    <a:pt x="666619" y="1274092"/>
                    <a:pt x="664536" y="1272213"/>
                    <a:pt x="662454" y="1270334"/>
                  </a:cubicBezTo>
                  <a:cubicBezTo>
                    <a:pt x="658341" y="1268566"/>
                    <a:pt x="658341" y="1268566"/>
                    <a:pt x="654643" y="1267516"/>
                  </a:cubicBezTo>
                  <a:cubicBezTo>
                    <a:pt x="654643" y="1266585"/>
                    <a:pt x="654643" y="1265656"/>
                    <a:pt x="654643" y="1264697"/>
                  </a:cubicBezTo>
                  <a:cubicBezTo>
                    <a:pt x="653161" y="1264581"/>
                    <a:pt x="651679" y="1264465"/>
                    <a:pt x="650152" y="1264345"/>
                  </a:cubicBezTo>
                  <a:cubicBezTo>
                    <a:pt x="642318" y="1263373"/>
                    <a:pt x="635297" y="1260465"/>
                    <a:pt x="628087" y="1257651"/>
                  </a:cubicBezTo>
                  <a:cubicBezTo>
                    <a:pt x="628087" y="1256721"/>
                    <a:pt x="628087" y="1255791"/>
                    <a:pt x="628087" y="1254833"/>
                  </a:cubicBezTo>
                  <a:cubicBezTo>
                    <a:pt x="627108" y="1254662"/>
                    <a:pt x="626129" y="1254491"/>
                    <a:pt x="625121" y="1254315"/>
                  </a:cubicBezTo>
                  <a:cubicBezTo>
                    <a:pt x="623845" y="1254079"/>
                    <a:pt x="622568" y="1253843"/>
                    <a:pt x="621252" y="1253600"/>
                  </a:cubicBezTo>
                  <a:cubicBezTo>
                    <a:pt x="619984" y="1253371"/>
                    <a:pt x="618716" y="1253142"/>
                    <a:pt x="617409" y="1252906"/>
                  </a:cubicBezTo>
                  <a:cubicBezTo>
                    <a:pt x="614027" y="1252014"/>
                    <a:pt x="614027" y="1252014"/>
                    <a:pt x="610904" y="1249196"/>
                  </a:cubicBezTo>
                  <a:cubicBezTo>
                    <a:pt x="592259" y="1248653"/>
                    <a:pt x="578635" y="1260869"/>
                    <a:pt x="565739" y="1271742"/>
                  </a:cubicBezTo>
                  <a:cubicBezTo>
                    <a:pt x="558808" y="1277725"/>
                    <a:pt x="552763" y="1283983"/>
                    <a:pt x="546924" y="1290829"/>
                  </a:cubicBezTo>
                  <a:cubicBezTo>
                    <a:pt x="545838" y="1292087"/>
                    <a:pt x="544753" y="1293346"/>
                    <a:pt x="543635" y="1294643"/>
                  </a:cubicBezTo>
                  <a:cubicBezTo>
                    <a:pt x="542650" y="1295813"/>
                    <a:pt x="541666" y="1296983"/>
                    <a:pt x="540651" y="1298188"/>
                  </a:cubicBezTo>
                  <a:cubicBezTo>
                    <a:pt x="537294" y="1301526"/>
                    <a:pt x="533978" y="1303337"/>
                    <a:pt x="529673" y="1305565"/>
                  </a:cubicBezTo>
                  <a:cubicBezTo>
                    <a:pt x="527599" y="1308478"/>
                    <a:pt x="527599" y="1308478"/>
                    <a:pt x="526549" y="1311202"/>
                  </a:cubicBezTo>
                  <a:cubicBezTo>
                    <a:pt x="525518" y="1311202"/>
                    <a:pt x="524487" y="1311202"/>
                    <a:pt x="523425" y="1311202"/>
                  </a:cubicBezTo>
                  <a:cubicBezTo>
                    <a:pt x="523360" y="1311986"/>
                    <a:pt x="523296" y="1312771"/>
                    <a:pt x="523230" y="1313580"/>
                  </a:cubicBezTo>
                  <a:cubicBezTo>
                    <a:pt x="521863" y="1316839"/>
                    <a:pt x="521863" y="1316839"/>
                    <a:pt x="517732" y="1319739"/>
                  </a:cubicBezTo>
                  <a:cubicBezTo>
                    <a:pt x="511111" y="1324565"/>
                    <a:pt x="506875" y="1330731"/>
                    <a:pt x="502239" y="1337096"/>
                  </a:cubicBezTo>
                  <a:cubicBezTo>
                    <a:pt x="500512" y="1339427"/>
                    <a:pt x="498785" y="1341757"/>
                    <a:pt x="497058" y="1344087"/>
                  </a:cubicBezTo>
                  <a:cubicBezTo>
                    <a:pt x="495827" y="1345760"/>
                    <a:pt x="495827" y="1345760"/>
                    <a:pt x="494572" y="1347465"/>
                  </a:cubicBezTo>
                  <a:cubicBezTo>
                    <a:pt x="492366" y="1350414"/>
                    <a:pt x="490094" y="1353304"/>
                    <a:pt x="487776" y="1356181"/>
                  </a:cubicBezTo>
                  <a:cubicBezTo>
                    <a:pt x="484805" y="1359972"/>
                    <a:pt x="482865" y="1363193"/>
                    <a:pt x="481248" y="1367571"/>
                  </a:cubicBezTo>
                  <a:cubicBezTo>
                    <a:pt x="480216" y="1367571"/>
                    <a:pt x="479186" y="1367571"/>
                    <a:pt x="478123" y="1367571"/>
                  </a:cubicBezTo>
                  <a:cubicBezTo>
                    <a:pt x="477963" y="1368558"/>
                    <a:pt x="477801" y="1369547"/>
                    <a:pt x="477635" y="1370565"/>
                  </a:cubicBezTo>
                  <a:cubicBezTo>
                    <a:pt x="475602" y="1378236"/>
                    <a:pt x="471952" y="1383371"/>
                    <a:pt x="465626" y="1388709"/>
                  </a:cubicBezTo>
                  <a:cubicBezTo>
                    <a:pt x="462272" y="1392748"/>
                    <a:pt x="462272" y="1392748"/>
                    <a:pt x="461233" y="1397340"/>
                  </a:cubicBezTo>
                  <a:cubicBezTo>
                    <a:pt x="460030" y="1401461"/>
                    <a:pt x="458298" y="1404501"/>
                    <a:pt x="455765" y="1408086"/>
                  </a:cubicBezTo>
                  <a:cubicBezTo>
                    <a:pt x="442829" y="1428603"/>
                    <a:pt x="441572" y="1454548"/>
                    <a:pt x="439070" y="1477490"/>
                  </a:cubicBezTo>
                  <a:cubicBezTo>
                    <a:pt x="437524" y="1477955"/>
                    <a:pt x="435977" y="1478420"/>
                    <a:pt x="434384" y="1478899"/>
                  </a:cubicBezTo>
                  <a:cubicBezTo>
                    <a:pt x="433739" y="1479916"/>
                    <a:pt x="433095" y="1480933"/>
                    <a:pt x="432431" y="1481982"/>
                  </a:cubicBezTo>
                  <a:cubicBezTo>
                    <a:pt x="428860" y="1487159"/>
                    <a:pt x="424291" y="1490903"/>
                    <a:pt x="418763" y="1494401"/>
                  </a:cubicBezTo>
                  <a:cubicBezTo>
                    <a:pt x="417731" y="1494401"/>
                    <a:pt x="416701" y="1494401"/>
                    <a:pt x="415639" y="1494401"/>
                  </a:cubicBezTo>
                  <a:cubicBezTo>
                    <a:pt x="415639" y="1495330"/>
                    <a:pt x="415639" y="1496260"/>
                    <a:pt x="415639" y="1497219"/>
                  </a:cubicBezTo>
                  <a:cubicBezTo>
                    <a:pt x="412546" y="1497684"/>
                    <a:pt x="409453" y="1498149"/>
                    <a:pt x="406265" y="1498628"/>
                  </a:cubicBezTo>
                  <a:cubicBezTo>
                    <a:pt x="406265" y="1499559"/>
                    <a:pt x="406265" y="1500488"/>
                    <a:pt x="406265" y="1501447"/>
                  </a:cubicBezTo>
                  <a:cubicBezTo>
                    <a:pt x="395955" y="1501447"/>
                    <a:pt x="385645" y="1501447"/>
                    <a:pt x="375023" y="1501447"/>
                  </a:cubicBezTo>
                  <a:lnTo>
                    <a:pt x="375023" y="1499438"/>
                  </a:lnTo>
                  <a:lnTo>
                    <a:pt x="374964" y="1499436"/>
                  </a:lnTo>
                  <a:lnTo>
                    <a:pt x="373179" y="1498628"/>
                  </a:lnTo>
                  <a:lnTo>
                    <a:pt x="365650" y="1498628"/>
                  </a:lnTo>
                  <a:lnTo>
                    <a:pt x="363134" y="1494087"/>
                  </a:lnTo>
                  <a:lnTo>
                    <a:pt x="362171" y="1493651"/>
                  </a:lnTo>
                  <a:cubicBezTo>
                    <a:pt x="361656" y="1492722"/>
                    <a:pt x="361140" y="1491791"/>
                    <a:pt x="360609" y="1490833"/>
                  </a:cubicBezTo>
                  <a:cubicBezTo>
                    <a:pt x="361640" y="1490833"/>
                    <a:pt x="362671" y="1490833"/>
                    <a:pt x="363733" y="1490833"/>
                  </a:cubicBezTo>
                  <a:lnTo>
                    <a:pt x="363733" y="1489980"/>
                  </a:lnTo>
                  <a:lnTo>
                    <a:pt x="348467" y="1481717"/>
                  </a:lnTo>
                  <a:lnTo>
                    <a:pt x="343872" y="1461078"/>
                  </a:lnTo>
                  <a:lnTo>
                    <a:pt x="343656" y="1463649"/>
                  </a:lnTo>
                  <a:cubicBezTo>
                    <a:pt x="343541" y="1465230"/>
                    <a:pt x="343541" y="1465230"/>
                    <a:pt x="343424" y="1466842"/>
                  </a:cubicBezTo>
                  <a:cubicBezTo>
                    <a:pt x="342908" y="1466842"/>
                    <a:pt x="342393" y="1466842"/>
                    <a:pt x="341861" y="1466842"/>
                  </a:cubicBezTo>
                  <a:cubicBezTo>
                    <a:pt x="340987" y="1449564"/>
                    <a:pt x="340999" y="1434331"/>
                    <a:pt x="354143" y="1420549"/>
                  </a:cubicBezTo>
                  <a:cubicBezTo>
                    <a:pt x="360765" y="1414011"/>
                    <a:pt x="367631" y="1407790"/>
                    <a:pt x="376229" y="1403427"/>
                  </a:cubicBezTo>
                  <a:lnTo>
                    <a:pt x="379491" y="1404408"/>
                  </a:lnTo>
                  <a:lnTo>
                    <a:pt x="379710" y="1404210"/>
                  </a:lnTo>
                  <a:cubicBezTo>
                    <a:pt x="380290" y="1402902"/>
                    <a:pt x="380290" y="1402902"/>
                    <a:pt x="380882" y="1401568"/>
                  </a:cubicBezTo>
                  <a:cubicBezTo>
                    <a:pt x="383675" y="1397284"/>
                    <a:pt x="387587" y="1395610"/>
                    <a:pt x="392207" y="1392936"/>
                  </a:cubicBezTo>
                  <a:lnTo>
                    <a:pt x="399542" y="1386774"/>
                  </a:lnTo>
                  <a:lnTo>
                    <a:pt x="405485" y="1378917"/>
                  </a:lnTo>
                  <a:cubicBezTo>
                    <a:pt x="408065" y="1375974"/>
                    <a:pt x="410029" y="1372774"/>
                    <a:pt x="412008" y="1369481"/>
                  </a:cubicBezTo>
                  <a:cubicBezTo>
                    <a:pt x="414759" y="1365166"/>
                    <a:pt x="417963" y="1361131"/>
                    <a:pt x="421130" y="1357057"/>
                  </a:cubicBezTo>
                  <a:cubicBezTo>
                    <a:pt x="423073" y="1354140"/>
                    <a:pt x="423985" y="1351767"/>
                    <a:pt x="424676" y="1348443"/>
                  </a:cubicBezTo>
                  <a:lnTo>
                    <a:pt x="427275" y="1348443"/>
                  </a:lnTo>
                  <a:lnTo>
                    <a:pt x="428135" y="1345727"/>
                  </a:lnTo>
                  <a:cubicBezTo>
                    <a:pt x="429370" y="1341828"/>
                    <a:pt x="430645" y="1338666"/>
                    <a:pt x="432822" y="1335158"/>
                  </a:cubicBezTo>
                  <a:cubicBezTo>
                    <a:pt x="433853" y="1335158"/>
                    <a:pt x="434884" y="1335158"/>
                    <a:pt x="435946" y="1335158"/>
                  </a:cubicBezTo>
                  <a:cubicBezTo>
                    <a:pt x="436526" y="1333385"/>
                    <a:pt x="437106" y="1331613"/>
                    <a:pt x="437704" y="1329786"/>
                  </a:cubicBezTo>
                  <a:cubicBezTo>
                    <a:pt x="440162" y="1323132"/>
                    <a:pt x="443602" y="1317301"/>
                    <a:pt x="447394" y="1311196"/>
                  </a:cubicBezTo>
                  <a:cubicBezTo>
                    <a:pt x="456493" y="1296485"/>
                    <a:pt x="463325" y="1281864"/>
                    <a:pt x="469287" y="1265964"/>
                  </a:cubicBezTo>
                  <a:cubicBezTo>
                    <a:pt x="474589" y="1252134"/>
                    <a:pt x="474589" y="1252134"/>
                    <a:pt x="478178" y="1246787"/>
                  </a:cubicBezTo>
                  <a:cubicBezTo>
                    <a:pt x="481232" y="1240246"/>
                    <a:pt x="480204" y="1232766"/>
                    <a:pt x="480179" y="1225768"/>
                  </a:cubicBezTo>
                  <a:cubicBezTo>
                    <a:pt x="480174" y="1222894"/>
                    <a:pt x="480210" y="1220023"/>
                    <a:pt x="480250" y="1217149"/>
                  </a:cubicBezTo>
                  <a:cubicBezTo>
                    <a:pt x="480260" y="1199291"/>
                    <a:pt x="476718" y="1187768"/>
                    <a:pt x="462972" y="1174827"/>
                  </a:cubicBezTo>
                  <a:cubicBezTo>
                    <a:pt x="461148" y="1173192"/>
                    <a:pt x="459312" y="1171566"/>
                    <a:pt x="457468" y="1169949"/>
                  </a:cubicBezTo>
                  <a:cubicBezTo>
                    <a:pt x="451412" y="1164522"/>
                    <a:pt x="445876" y="1158660"/>
                    <a:pt x="440657" y="1152570"/>
                  </a:cubicBezTo>
                  <a:cubicBezTo>
                    <a:pt x="430474" y="1140786"/>
                    <a:pt x="418230" y="1128998"/>
                    <a:pt x="403142" y="1122366"/>
                  </a:cubicBezTo>
                  <a:cubicBezTo>
                    <a:pt x="402626" y="1121436"/>
                    <a:pt x="402110" y="1120506"/>
                    <a:pt x="401579" y="1119547"/>
                  </a:cubicBezTo>
                  <a:cubicBezTo>
                    <a:pt x="390472" y="1115326"/>
                    <a:pt x="375918" y="1114217"/>
                    <a:pt x="364564" y="1118209"/>
                  </a:cubicBezTo>
                  <a:cubicBezTo>
                    <a:pt x="362278" y="1119428"/>
                    <a:pt x="360026" y="1120704"/>
                    <a:pt x="357822" y="1122041"/>
                  </a:cubicBezTo>
                  <a:cubicBezTo>
                    <a:pt x="354521" y="1123884"/>
                    <a:pt x="351862" y="1124582"/>
                    <a:pt x="348077" y="1125273"/>
                  </a:cubicBezTo>
                  <a:cubicBezTo>
                    <a:pt x="341765" y="1126696"/>
                    <a:pt x="339382" y="1128619"/>
                    <a:pt x="334408" y="1132230"/>
                  </a:cubicBezTo>
                  <a:cubicBezTo>
                    <a:pt x="332284" y="1132909"/>
                    <a:pt x="330131" y="1133519"/>
                    <a:pt x="327964" y="1134080"/>
                  </a:cubicBezTo>
                  <a:cubicBezTo>
                    <a:pt x="309975" y="1139067"/>
                    <a:pt x="290592" y="1152117"/>
                    <a:pt x="279734" y="1166051"/>
                  </a:cubicBezTo>
                  <a:cubicBezTo>
                    <a:pt x="277929" y="1169534"/>
                    <a:pt x="277929" y="1169534"/>
                    <a:pt x="276609" y="1173098"/>
                  </a:cubicBezTo>
                  <a:cubicBezTo>
                    <a:pt x="272413" y="1180804"/>
                    <a:pt x="269322" y="1184144"/>
                    <a:pt x="260988" y="1188599"/>
                  </a:cubicBezTo>
                  <a:cubicBezTo>
                    <a:pt x="259988" y="1189435"/>
                    <a:pt x="258987" y="1190271"/>
                    <a:pt x="257956" y="1191132"/>
                  </a:cubicBezTo>
                  <a:lnTo>
                    <a:pt x="243805" y="1196629"/>
                  </a:lnTo>
                  <a:lnTo>
                    <a:pt x="243805" y="1194236"/>
                  </a:lnTo>
                  <a:lnTo>
                    <a:pt x="240288" y="1194765"/>
                  </a:lnTo>
                  <a:lnTo>
                    <a:pt x="243374" y="1194765"/>
                  </a:lnTo>
                  <a:lnTo>
                    <a:pt x="243374" y="1196797"/>
                  </a:lnTo>
                  <a:lnTo>
                    <a:pt x="243805" y="1196629"/>
                  </a:lnTo>
                  <a:lnTo>
                    <a:pt x="243805" y="1197055"/>
                  </a:lnTo>
                  <a:lnTo>
                    <a:pt x="243374" y="1197055"/>
                  </a:lnTo>
                  <a:lnTo>
                    <a:pt x="243374" y="1197584"/>
                  </a:lnTo>
                  <a:lnTo>
                    <a:pt x="241319" y="1197595"/>
                  </a:lnTo>
                  <a:lnTo>
                    <a:pt x="238009" y="1198881"/>
                  </a:lnTo>
                  <a:cubicBezTo>
                    <a:pt x="231012" y="1199584"/>
                    <a:pt x="223620" y="1198927"/>
                    <a:pt x="215687" y="1198464"/>
                  </a:cubicBezTo>
                  <a:lnTo>
                    <a:pt x="215687" y="1197734"/>
                  </a:lnTo>
                  <a:lnTo>
                    <a:pt x="213936" y="1197744"/>
                  </a:lnTo>
                  <a:cubicBezTo>
                    <a:pt x="210570" y="1197584"/>
                    <a:pt x="210570" y="1197584"/>
                    <a:pt x="207446" y="1196175"/>
                  </a:cubicBezTo>
                  <a:lnTo>
                    <a:pt x="207822" y="1195610"/>
                  </a:lnTo>
                  <a:lnTo>
                    <a:pt x="184737" y="1180936"/>
                  </a:lnTo>
                  <a:cubicBezTo>
                    <a:pt x="180258" y="1172216"/>
                    <a:pt x="179226" y="1164355"/>
                    <a:pt x="179270" y="1154866"/>
                  </a:cubicBezTo>
                  <a:cubicBezTo>
                    <a:pt x="179233" y="1153260"/>
                    <a:pt x="179233" y="1153260"/>
                    <a:pt x="179194" y="1151621"/>
                  </a:cubicBezTo>
                  <a:cubicBezTo>
                    <a:pt x="179182" y="1139523"/>
                    <a:pt x="183658" y="1128837"/>
                    <a:pt x="193195" y="1120065"/>
                  </a:cubicBezTo>
                  <a:cubicBezTo>
                    <a:pt x="204265" y="1110959"/>
                    <a:pt x="215062" y="1110626"/>
                    <a:pt x="229551" y="1110299"/>
                  </a:cubicBezTo>
                  <a:cubicBezTo>
                    <a:pt x="240132" y="1110024"/>
                    <a:pt x="250506" y="1109652"/>
                    <a:pt x="260988" y="1108274"/>
                  </a:cubicBezTo>
                  <a:cubicBezTo>
                    <a:pt x="260988" y="1107344"/>
                    <a:pt x="260988" y="1106413"/>
                    <a:pt x="260988" y="1105455"/>
                  </a:cubicBezTo>
                  <a:cubicBezTo>
                    <a:pt x="261953" y="1105078"/>
                    <a:pt x="262918" y="1104699"/>
                    <a:pt x="263911" y="1104310"/>
                  </a:cubicBezTo>
                  <a:cubicBezTo>
                    <a:pt x="272903" y="1100557"/>
                    <a:pt x="279802" y="1096307"/>
                    <a:pt x="286995" y="1090185"/>
                  </a:cubicBezTo>
                  <a:cubicBezTo>
                    <a:pt x="290956" y="1086897"/>
                    <a:pt x="295114" y="1083955"/>
                    <a:pt x="299358" y="1080970"/>
                  </a:cubicBezTo>
                  <a:cubicBezTo>
                    <a:pt x="306613" y="1075692"/>
                    <a:pt x="312234" y="1070023"/>
                    <a:pt x="317762" y="1063272"/>
                  </a:cubicBezTo>
                  <a:cubicBezTo>
                    <a:pt x="320349" y="1060360"/>
                    <a:pt x="320349" y="1060360"/>
                    <a:pt x="325035" y="1057542"/>
                  </a:cubicBezTo>
                  <a:cubicBezTo>
                    <a:pt x="329912" y="1045734"/>
                    <a:pt x="327928" y="1035103"/>
                    <a:pt x="325328" y="1023104"/>
                  </a:cubicBezTo>
                  <a:cubicBezTo>
                    <a:pt x="325069" y="1021831"/>
                    <a:pt x="324811" y="1020559"/>
                    <a:pt x="324544" y="1019247"/>
                  </a:cubicBezTo>
                  <a:cubicBezTo>
                    <a:pt x="322876" y="1011407"/>
                    <a:pt x="320562" y="1004340"/>
                    <a:pt x="317225" y="996945"/>
                  </a:cubicBezTo>
                  <a:cubicBezTo>
                    <a:pt x="316619" y="995541"/>
                    <a:pt x="316013" y="994137"/>
                    <a:pt x="315388" y="992690"/>
                  </a:cubicBezTo>
                  <a:cubicBezTo>
                    <a:pt x="306307" y="972561"/>
                    <a:pt x="298931" y="959343"/>
                    <a:pt x="276232" y="950666"/>
                  </a:cubicBezTo>
                  <a:cubicBezTo>
                    <a:pt x="274810" y="950127"/>
                    <a:pt x="273388" y="949587"/>
                    <a:pt x="271923" y="949031"/>
                  </a:cubicBezTo>
                  <a:cubicBezTo>
                    <a:pt x="270129" y="948244"/>
                    <a:pt x="270129" y="948244"/>
                    <a:pt x="268299" y="947441"/>
                  </a:cubicBezTo>
                  <a:cubicBezTo>
                    <a:pt x="247071" y="938140"/>
                    <a:pt x="222259" y="939051"/>
                    <a:pt x="199187" y="938991"/>
                  </a:cubicBezTo>
                  <a:cubicBezTo>
                    <a:pt x="197383" y="938984"/>
                    <a:pt x="195579" y="938978"/>
                    <a:pt x="193719" y="938971"/>
                  </a:cubicBezTo>
                  <a:cubicBezTo>
                    <a:pt x="192010" y="938974"/>
                    <a:pt x="190300" y="938977"/>
                    <a:pt x="188539" y="938980"/>
                  </a:cubicBezTo>
                  <a:cubicBezTo>
                    <a:pt x="187000" y="938981"/>
                    <a:pt x="185460" y="938983"/>
                    <a:pt x="183874" y="938985"/>
                  </a:cubicBezTo>
                  <a:cubicBezTo>
                    <a:pt x="180148" y="939150"/>
                    <a:pt x="177092" y="939720"/>
                    <a:pt x="173509" y="940576"/>
                  </a:cubicBezTo>
                  <a:cubicBezTo>
                    <a:pt x="169458" y="940674"/>
                    <a:pt x="165452" y="940710"/>
                    <a:pt x="161403" y="940664"/>
                  </a:cubicBezTo>
                  <a:cubicBezTo>
                    <a:pt x="160314" y="940658"/>
                    <a:pt x="159224" y="940651"/>
                    <a:pt x="158102" y="940645"/>
                  </a:cubicBezTo>
                  <a:lnTo>
                    <a:pt x="150875" y="940583"/>
                  </a:lnTo>
                  <a:lnTo>
                    <a:pt x="148425" y="940717"/>
                  </a:lnTo>
                  <a:lnTo>
                    <a:pt x="149617" y="940995"/>
                  </a:lnTo>
                  <a:cubicBezTo>
                    <a:pt x="149617" y="941459"/>
                    <a:pt x="149617" y="941924"/>
                    <a:pt x="149617" y="942404"/>
                  </a:cubicBezTo>
                  <a:cubicBezTo>
                    <a:pt x="148630" y="942558"/>
                    <a:pt x="147643" y="942712"/>
                    <a:pt x="146627" y="942871"/>
                  </a:cubicBezTo>
                  <a:cubicBezTo>
                    <a:pt x="134541" y="944804"/>
                    <a:pt x="122553" y="947081"/>
                    <a:pt x="110564" y="949449"/>
                  </a:cubicBezTo>
                  <a:lnTo>
                    <a:pt x="111283" y="946205"/>
                  </a:lnTo>
                  <a:lnTo>
                    <a:pt x="101652" y="956078"/>
                  </a:lnTo>
                  <a:cubicBezTo>
                    <a:pt x="99870" y="957260"/>
                    <a:pt x="99870" y="957260"/>
                    <a:pt x="98052" y="958467"/>
                  </a:cubicBezTo>
                  <a:cubicBezTo>
                    <a:pt x="75683" y="972989"/>
                    <a:pt x="75683" y="972989"/>
                    <a:pt x="67286" y="972989"/>
                  </a:cubicBezTo>
                  <a:cubicBezTo>
                    <a:pt x="67286" y="973918"/>
                    <a:pt x="67286" y="974848"/>
                    <a:pt x="67286" y="975807"/>
                  </a:cubicBezTo>
                  <a:cubicBezTo>
                    <a:pt x="55713" y="979519"/>
                    <a:pt x="43549" y="980689"/>
                    <a:pt x="31942" y="976423"/>
                  </a:cubicBezTo>
                  <a:cubicBezTo>
                    <a:pt x="19953" y="970870"/>
                    <a:pt x="10774" y="964932"/>
                    <a:pt x="5673" y="953419"/>
                  </a:cubicBezTo>
                  <a:cubicBezTo>
                    <a:pt x="4801" y="950441"/>
                    <a:pt x="4801" y="950441"/>
                    <a:pt x="4801" y="944804"/>
                  </a:cubicBezTo>
                  <a:cubicBezTo>
                    <a:pt x="3770" y="944804"/>
                    <a:pt x="2739" y="944804"/>
                    <a:pt x="1676" y="944804"/>
                  </a:cubicBezTo>
                  <a:cubicBezTo>
                    <a:pt x="-34" y="940174"/>
                    <a:pt x="-41" y="936720"/>
                    <a:pt x="17" y="931857"/>
                  </a:cubicBezTo>
                  <a:cubicBezTo>
                    <a:pt x="31" y="930325"/>
                    <a:pt x="45" y="928794"/>
                    <a:pt x="59" y="927216"/>
                  </a:cubicBezTo>
                  <a:cubicBezTo>
                    <a:pt x="78" y="926044"/>
                    <a:pt x="96" y="924873"/>
                    <a:pt x="115" y="923666"/>
                  </a:cubicBezTo>
                  <a:cubicBezTo>
                    <a:pt x="1145" y="923666"/>
                    <a:pt x="2176" y="923666"/>
                    <a:pt x="3238" y="923666"/>
                  </a:cubicBezTo>
                  <a:cubicBezTo>
                    <a:pt x="3238" y="921805"/>
                    <a:pt x="3238" y="919945"/>
                    <a:pt x="3238" y="918029"/>
                  </a:cubicBezTo>
                  <a:cubicBezTo>
                    <a:pt x="4270" y="918029"/>
                    <a:pt x="5300" y="918029"/>
                    <a:pt x="6363" y="918029"/>
                  </a:cubicBezTo>
                  <a:cubicBezTo>
                    <a:pt x="6459" y="916314"/>
                    <a:pt x="6556" y="914599"/>
                    <a:pt x="6656" y="912832"/>
                  </a:cubicBezTo>
                  <a:cubicBezTo>
                    <a:pt x="7542" y="906455"/>
                    <a:pt x="10104" y="903750"/>
                    <a:pt x="15736" y="899709"/>
                  </a:cubicBezTo>
                  <a:lnTo>
                    <a:pt x="17243" y="898894"/>
                  </a:lnTo>
                  <a:lnTo>
                    <a:pt x="16800" y="898694"/>
                  </a:lnTo>
                  <a:lnTo>
                    <a:pt x="24988" y="894101"/>
                  </a:lnTo>
                  <a:lnTo>
                    <a:pt x="26768" y="892399"/>
                  </a:lnTo>
                  <a:cubicBezTo>
                    <a:pt x="28282" y="891122"/>
                    <a:pt x="29038" y="890483"/>
                    <a:pt x="30198" y="890164"/>
                  </a:cubicBezTo>
                  <a:lnTo>
                    <a:pt x="32204" y="890054"/>
                  </a:lnTo>
                  <a:lnTo>
                    <a:pt x="38914" y="886291"/>
                  </a:lnTo>
                  <a:cubicBezTo>
                    <a:pt x="47169" y="885770"/>
                    <a:pt x="55396" y="885800"/>
                    <a:pt x="63664" y="886011"/>
                  </a:cubicBezTo>
                  <a:lnTo>
                    <a:pt x="63664" y="886531"/>
                  </a:lnTo>
                  <a:lnTo>
                    <a:pt x="70784" y="886647"/>
                  </a:lnTo>
                  <a:cubicBezTo>
                    <a:pt x="74787" y="887000"/>
                    <a:pt x="77233" y="887948"/>
                    <a:pt x="82126" y="889845"/>
                  </a:cubicBezTo>
                  <a:cubicBezTo>
                    <a:pt x="92427" y="893791"/>
                    <a:pt x="103139" y="893710"/>
                    <a:pt x="114149" y="892663"/>
                  </a:cubicBezTo>
                  <a:cubicBezTo>
                    <a:pt x="115696" y="891733"/>
                    <a:pt x="117242" y="890803"/>
                    <a:pt x="118836" y="889845"/>
                  </a:cubicBezTo>
                  <a:cubicBezTo>
                    <a:pt x="123097" y="888850"/>
                    <a:pt x="127325" y="887944"/>
                    <a:pt x="131626" y="887114"/>
                  </a:cubicBezTo>
                  <a:cubicBezTo>
                    <a:pt x="139750" y="885542"/>
                    <a:pt x="147376" y="883653"/>
                    <a:pt x="155116" y="880913"/>
                  </a:cubicBezTo>
                  <a:cubicBezTo>
                    <a:pt x="158498" y="879775"/>
                    <a:pt x="161861" y="879076"/>
                    <a:pt x="165406" y="878483"/>
                  </a:cubicBezTo>
                  <a:cubicBezTo>
                    <a:pt x="170342" y="877655"/>
                    <a:pt x="172265" y="876971"/>
                    <a:pt x="176634" y="874343"/>
                  </a:cubicBezTo>
                  <a:cubicBezTo>
                    <a:pt x="179863" y="873335"/>
                    <a:pt x="183123" y="872404"/>
                    <a:pt x="186397" y="871524"/>
                  </a:cubicBezTo>
                  <a:cubicBezTo>
                    <a:pt x="189107" y="870786"/>
                    <a:pt x="189107" y="870786"/>
                    <a:pt x="191871" y="870033"/>
                  </a:cubicBezTo>
                  <a:cubicBezTo>
                    <a:pt x="195731" y="869023"/>
                    <a:pt x="199587" y="868093"/>
                    <a:pt x="203483" y="867208"/>
                  </a:cubicBezTo>
                  <a:cubicBezTo>
                    <a:pt x="208339" y="866199"/>
                    <a:pt x="208339" y="866199"/>
                    <a:pt x="211001" y="861660"/>
                  </a:cubicBezTo>
                  <a:cubicBezTo>
                    <a:pt x="214174" y="860102"/>
                    <a:pt x="214174" y="860102"/>
                    <a:pt x="218031" y="858577"/>
                  </a:cubicBezTo>
                  <a:cubicBezTo>
                    <a:pt x="236068" y="850629"/>
                    <a:pt x="245199" y="840442"/>
                    <a:pt x="254740" y="825020"/>
                  </a:cubicBezTo>
                  <a:cubicBezTo>
                    <a:pt x="255771" y="823625"/>
                    <a:pt x="256802" y="822230"/>
                    <a:pt x="257864" y="820792"/>
                  </a:cubicBezTo>
                  <a:cubicBezTo>
                    <a:pt x="258359" y="817506"/>
                    <a:pt x="258359" y="817506"/>
                    <a:pt x="258318" y="813810"/>
                  </a:cubicBezTo>
                  <a:cubicBezTo>
                    <a:pt x="258338" y="812388"/>
                    <a:pt x="258358" y="810967"/>
                    <a:pt x="258378" y="809502"/>
                  </a:cubicBezTo>
                  <a:cubicBezTo>
                    <a:pt x="258382" y="807965"/>
                    <a:pt x="258385" y="806429"/>
                    <a:pt x="258389" y="804845"/>
                  </a:cubicBezTo>
                  <a:cubicBezTo>
                    <a:pt x="258399" y="803258"/>
                    <a:pt x="258410" y="801671"/>
                    <a:pt x="258420" y="800036"/>
                  </a:cubicBezTo>
                  <a:cubicBezTo>
                    <a:pt x="258436" y="796670"/>
                    <a:pt x="258443" y="793305"/>
                    <a:pt x="258443" y="789939"/>
                  </a:cubicBezTo>
                  <a:cubicBezTo>
                    <a:pt x="258450" y="784823"/>
                    <a:pt x="258506" y="779709"/>
                    <a:pt x="258566" y="774594"/>
                  </a:cubicBezTo>
                  <a:cubicBezTo>
                    <a:pt x="258575" y="771319"/>
                    <a:pt x="258581" y="768045"/>
                    <a:pt x="258584" y="764771"/>
                  </a:cubicBezTo>
                  <a:cubicBezTo>
                    <a:pt x="258618" y="762495"/>
                    <a:pt x="258618" y="762495"/>
                    <a:pt x="258652" y="760174"/>
                  </a:cubicBezTo>
                  <a:cubicBezTo>
                    <a:pt x="258586" y="750030"/>
                    <a:pt x="256266" y="742584"/>
                    <a:pt x="251616" y="733421"/>
                  </a:cubicBezTo>
                  <a:cubicBezTo>
                    <a:pt x="250163" y="729605"/>
                    <a:pt x="248880" y="725752"/>
                    <a:pt x="247613" y="721883"/>
                  </a:cubicBezTo>
                  <a:cubicBezTo>
                    <a:pt x="245789" y="716328"/>
                    <a:pt x="243913" y="710939"/>
                    <a:pt x="241291" y="705644"/>
                  </a:cubicBezTo>
                  <a:cubicBezTo>
                    <a:pt x="238691" y="700096"/>
                    <a:pt x="238136" y="695685"/>
                    <a:pt x="237557" y="689735"/>
                  </a:cubicBezTo>
                  <a:cubicBezTo>
                    <a:pt x="244977" y="685507"/>
                    <a:pt x="244977" y="685507"/>
                    <a:pt x="248492" y="685507"/>
                  </a:cubicBezTo>
                  <a:cubicBezTo>
                    <a:pt x="248492" y="684112"/>
                    <a:pt x="248492" y="682717"/>
                    <a:pt x="248492" y="681279"/>
                  </a:cubicBezTo>
                  <a:cubicBezTo>
                    <a:pt x="245914" y="680815"/>
                    <a:pt x="243337" y="680350"/>
                    <a:pt x="240681" y="679870"/>
                  </a:cubicBezTo>
                  <a:cubicBezTo>
                    <a:pt x="240681" y="678940"/>
                    <a:pt x="240681" y="678010"/>
                    <a:pt x="240681" y="677052"/>
                  </a:cubicBezTo>
                  <a:cubicBezTo>
                    <a:pt x="239827" y="676917"/>
                    <a:pt x="238973" y="676783"/>
                    <a:pt x="238094" y="676645"/>
                  </a:cubicBezTo>
                  <a:cubicBezTo>
                    <a:pt x="233442" y="675371"/>
                    <a:pt x="229939" y="673242"/>
                    <a:pt x="225841" y="670886"/>
                  </a:cubicBezTo>
                  <a:cubicBezTo>
                    <a:pt x="217808" y="666564"/>
                    <a:pt x="210635" y="664241"/>
                    <a:pt x="201531" y="662508"/>
                  </a:cubicBezTo>
                  <a:cubicBezTo>
                    <a:pt x="196896" y="661541"/>
                    <a:pt x="192682" y="660199"/>
                    <a:pt x="188252" y="658644"/>
                  </a:cubicBezTo>
                  <a:lnTo>
                    <a:pt x="182431" y="657327"/>
                  </a:lnTo>
                  <a:lnTo>
                    <a:pt x="182431" y="657613"/>
                  </a:lnTo>
                  <a:cubicBezTo>
                    <a:pt x="170575" y="657148"/>
                    <a:pt x="158718" y="656683"/>
                    <a:pt x="146503" y="656204"/>
                  </a:cubicBezTo>
                  <a:cubicBezTo>
                    <a:pt x="146503" y="657133"/>
                    <a:pt x="146503" y="658064"/>
                    <a:pt x="146503" y="659022"/>
                  </a:cubicBezTo>
                  <a:cubicBezTo>
                    <a:pt x="134359" y="662326"/>
                    <a:pt x="123013" y="663700"/>
                    <a:pt x="110378" y="663778"/>
                  </a:cubicBezTo>
                  <a:cubicBezTo>
                    <a:pt x="108435" y="663806"/>
                    <a:pt x="108435" y="663806"/>
                    <a:pt x="106453" y="663836"/>
                  </a:cubicBezTo>
                  <a:cubicBezTo>
                    <a:pt x="105231" y="663828"/>
                    <a:pt x="104009" y="663820"/>
                    <a:pt x="102751" y="663811"/>
                  </a:cubicBezTo>
                  <a:cubicBezTo>
                    <a:pt x="101117" y="663804"/>
                    <a:pt x="101117" y="663804"/>
                    <a:pt x="99449" y="663797"/>
                  </a:cubicBezTo>
                  <a:cubicBezTo>
                    <a:pt x="95696" y="663097"/>
                    <a:pt x="94265" y="661615"/>
                    <a:pt x="91828" y="659022"/>
                  </a:cubicBezTo>
                  <a:cubicBezTo>
                    <a:pt x="93890" y="659022"/>
                    <a:pt x="95953" y="659022"/>
                    <a:pt x="98077" y="659022"/>
                  </a:cubicBezTo>
                  <a:cubicBezTo>
                    <a:pt x="98077" y="659952"/>
                    <a:pt x="98077" y="660882"/>
                    <a:pt x="98077" y="661841"/>
                  </a:cubicBezTo>
                  <a:cubicBezTo>
                    <a:pt x="108735" y="662045"/>
                    <a:pt x="114063" y="662148"/>
                    <a:pt x="119023" y="661357"/>
                  </a:cubicBezTo>
                  <a:lnTo>
                    <a:pt x="119536" y="661197"/>
                  </a:lnTo>
                  <a:lnTo>
                    <a:pt x="109853" y="661639"/>
                  </a:lnTo>
                  <a:cubicBezTo>
                    <a:pt x="108764" y="661632"/>
                    <a:pt x="107675" y="661626"/>
                    <a:pt x="106552" y="661619"/>
                  </a:cubicBezTo>
                  <a:cubicBezTo>
                    <a:pt x="103877" y="661603"/>
                    <a:pt x="101203" y="661577"/>
                    <a:pt x="98528" y="661550"/>
                  </a:cubicBezTo>
                  <a:cubicBezTo>
                    <a:pt x="98528" y="660620"/>
                    <a:pt x="98528" y="659691"/>
                    <a:pt x="98528" y="658732"/>
                  </a:cubicBezTo>
                  <a:cubicBezTo>
                    <a:pt x="95435" y="658267"/>
                    <a:pt x="92342" y="657802"/>
                    <a:pt x="89155" y="657323"/>
                  </a:cubicBezTo>
                  <a:cubicBezTo>
                    <a:pt x="89155" y="656393"/>
                    <a:pt x="89155" y="655462"/>
                    <a:pt x="89155" y="654504"/>
                  </a:cubicBezTo>
                  <a:cubicBezTo>
                    <a:pt x="87790" y="653978"/>
                    <a:pt x="87790" y="653978"/>
                    <a:pt x="86397" y="653442"/>
                  </a:cubicBezTo>
                  <a:cubicBezTo>
                    <a:pt x="82415" y="651438"/>
                    <a:pt x="80039" y="649232"/>
                    <a:pt x="77049" y="646137"/>
                  </a:cubicBezTo>
                  <a:cubicBezTo>
                    <a:pt x="75611" y="644679"/>
                    <a:pt x="75611" y="644679"/>
                    <a:pt x="74145" y="643192"/>
                  </a:cubicBezTo>
                  <a:cubicBezTo>
                    <a:pt x="71972" y="640412"/>
                    <a:pt x="71972" y="640412"/>
                    <a:pt x="71972" y="636185"/>
                  </a:cubicBezTo>
                  <a:cubicBezTo>
                    <a:pt x="70941" y="636185"/>
                    <a:pt x="69910" y="636185"/>
                    <a:pt x="68848" y="636185"/>
                  </a:cubicBezTo>
                  <a:cubicBezTo>
                    <a:pt x="64250" y="621928"/>
                    <a:pt x="64695" y="609404"/>
                    <a:pt x="70410" y="595317"/>
                  </a:cubicBezTo>
                  <a:cubicBezTo>
                    <a:pt x="73096" y="591142"/>
                    <a:pt x="76144" y="587574"/>
                    <a:pt x="79782" y="584043"/>
                  </a:cubicBezTo>
                  <a:cubicBezTo>
                    <a:pt x="81205" y="582594"/>
                    <a:pt x="81205" y="582594"/>
                    <a:pt x="82656" y="581115"/>
                  </a:cubicBezTo>
                  <a:cubicBezTo>
                    <a:pt x="91488" y="574027"/>
                    <a:pt x="105133" y="571806"/>
                    <a:pt x="116694" y="572323"/>
                  </a:cubicBezTo>
                  <a:cubicBezTo>
                    <a:pt x="131556" y="574113"/>
                    <a:pt x="142046" y="580551"/>
                    <a:pt x="152031" y="590385"/>
                  </a:cubicBezTo>
                  <a:cubicBezTo>
                    <a:pt x="162272" y="600009"/>
                    <a:pt x="176992" y="605062"/>
                    <a:pt x="191474" y="605886"/>
                  </a:cubicBezTo>
                  <a:cubicBezTo>
                    <a:pt x="196845" y="606192"/>
                    <a:pt x="201203" y="606463"/>
                    <a:pt x="206314" y="608000"/>
                  </a:cubicBezTo>
                  <a:cubicBezTo>
                    <a:pt x="206314" y="608930"/>
                    <a:pt x="206314" y="609860"/>
                    <a:pt x="206314" y="610818"/>
                  </a:cubicBezTo>
                  <a:cubicBezTo>
                    <a:pt x="215689" y="610902"/>
                    <a:pt x="225058" y="610898"/>
                    <a:pt x="234433" y="610818"/>
                  </a:cubicBezTo>
                  <a:cubicBezTo>
                    <a:pt x="236112" y="610813"/>
                    <a:pt x="237791" y="610808"/>
                    <a:pt x="239522" y="610802"/>
                  </a:cubicBezTo>
                  <a:cubicBezTo>
                    <a:pt x="251005" y="610364"/>
                    <a:pt x="259257" y="606564"/>
                    <a:pt x="268799" y="600954"/>
                  </a:cubicBezTo>
                  <a:cubicBezTo>
                    <a:pt x="269770" y="600416"/>
                    <a:pt x="270740" y="599879"/>
                    <a:pt x="271740" y="599325"/>
                  </a:cubicBezTo>
                  <a:cubicBezTo>
                    <a:pt x="279452" y="594430"/>
                    <a:pt x="281420" y="587464"/>
                    <a:pt x="284420" y="579816"/>
                  </a:cubicBezTo>
                  <a:cubicBezTo>
                    <a:pt x="286047" y="576075"/>
                    <a:pt x="287725" y="572353"/>
                    <a:pt x="289399" y="568630"/>
                  </a:cubicBezTo>
                  <a:cubicBezTo>
                    <a:pt x="294095" y="558121"/>
                    <a:pt x="299004" y="547070"/>
                    <a:pt x="293958" y="535838"/>
                  </a:cubicBezTo>
                  <a:cubicBezTo>
                    <a:pt x="292436" y="533533"/>
                    <a:pt x="290781" y="531301"/>
                    <a:pt x="289107" y="529084"/>
                  </a:cubicBezTo>
                  <a:cubicBezTo>
                    <a:pt x="289107" y="528153"/>
                    <a:pt x="289107" y="527223"/>
                    <a:pt x="289107" y="526265"/>
                  </a:cubicBezTo>
                  <a:cubicBezTo>
                    <a:pt x="287560" y="525800"/>
                    <a:pt x="286014" y="525335"/>
                    <a:pt x="284420" y="524856"/>
                  </a:cubicBezTo>
                  <a:cubicBezTo>
                    <a:pt x="283905" y="523461"/>
                    <a:pt x="283389" y="522066"/>
                    <a:pt x="282858" y="520628"/>
                  </a:cubicBezTo>
                  <a:cubicBezTo>
                    <a:pt x="280750" y="518590"/>
                    <a:pt x="280750" y="518590"/>
                    <a:pt x="277977" y="516577"/>
                  </a:cubicBezTo>
                  <a:cubicBezTo>
                    <a:pt x="273591" y="513232"/>
                    <a:pt x="269227" y="509874"/>
                    <a:pt x="264925" y="506443"/>
                  </a:cubicBezTo>
                  <a:cubicBezTo>
                    <a:pt x="253596" y="497433"/>
                    <a:pt x="242132" y="488987"/>
                    <a:pt x="229746" y="481170"/>
                  </a:cubicBezTo>
                  <a:cubicBezTo>
                    <a:pt x="226846" y="479266"/>
                    <a:pt x="223950" y="477358"/>
                    <a:pt x="221057" y="475445"/>
                  </a:cubicBezTo>
                  <a:cubicBezTo>
                    <a:pt x="218227" y="473594"/>
                    <a:pt x="215396" y="471744"/>
                    <a:pt x="212563" y="469896"/>
                  </a:cubicBezTo>
                  <a:cubicBezTo>
                    <a:pt x="211351" y="469102"/>
                    <a:pt x="210138" y="468309"/>
                    <a:pt x="208889" y="467491"/>
                  </a:cubicBezTo>
                  <a:cubicBezTo>
                    <a:pt x="202848" y="463599"/>
                    <a:pt x="196732" y="459888"/>
                    <a:pt x="190406" y="456382"/>
                  </a:cubicBezTo>
                  <a:cubicBezTo>
                    <a:pt x="189263" y="455748"/>
                    <a:pt x="188119" y="455114"/>
                    <a:pt x="186942" y="454460"/>
                  </a:cubicBezTo>
                  <a:cubicBezTo>
                    <a:pt x="184648" y="453196"/>
                    <a:pt x="182348" y="451941"/>
                    <a:pt x="180041" y="450696"/>
                  </a:cubicBezTo>
                  <a:cubicBezTo>
                    <a:pt x="177292" y="449185"/>
                    <a:pt x="174612" y="447571"/>
                    <a:pt x="171948" y="445940"/>
                  </a:cubicBezTo>
                  <a:cubicBezTo>
                    <a:pt x="171948" y="445009"/>
                    <a:pt x="171948" y="444079"/>
                    <a:pt x="171948" y="443121"/>
                  </a:cubicBezTo>
                  <a:cubicBezTo>
                    <a:pt x="170804" y="442985"/>
                    <a:pt x="169660" y="442848"/>
                    <a:pt x="168482" y="442708"/>
                  </a:cubicBezTo>
                  <a:cubicBezTo>
                    <a:pt x="163547" y="441576"/>
                    <a:pt x="161063" y="439897"/>
                    <a:pt x="157107" y="437044"/>
                  </a:cubicBezTo>
                  <a:cubicBezTo>
                    <a:pt x="149345" y="431895"/>
                    <a:pt x="141843" y="429626"/>
                    <a:pt x="132559" y="427510"/>
                  </a:cubicBezTo>
                  <a:cubicBezTo>
                    <a:pt x="128067" y="426168"/>
                    <a:pt x="126607" y="425060"/>
                    <a:pt x="123522" y="421983"/>
                  </a:cubicBezTo>
                  <a:cubicBezTo>
                    <a:pt x="118310" y="419033"/>
                    <a:pt x="114076" y="418794"/>
                    <a:pt x="107986" y="418730"/>
                  </a:cubicBezTo>
                  <a:cubicBezTo>
                    <a:pt x="106174" y="418694"/>
                    <a:pt x="104362" y="418659"/>
                    <a:pt x="102494" y="418622"/>
                  </a:cubicBezTo>
                  <a:cubicBezTo>
                    <a:pt x="98715" y="418573"/>
                    <a:pt x="94936" y="418529"/>
                    <a:pt x="91157" y="418490"/>
                  </a:cubicBezTo>
                  <a:cubicBezTo>
                    <a:pt x="78470" y="418231"/>
                    <a:pt x="65485" y="417940"/>
                    <a:pt x="55277" y="410445"/>
                  </a:cubicBezTo>
                  <a:cubicBezTo>
                    <a:pt x="54084" y="409137"/>
                    <a:pt x="52893" y="407829"/>
                    <a:pt x="51665" y="406481"/>
                  </a:cubicBezTo>
                  <a:cubicBezTo>
                    <a:pt x="49752" y="404480"/>
                    <a:pt x="47831" y="402483"/>
                    <a:pt x="45904" y="400492"/>
                  </a:cubicBezTo>
                  <a:cubicBezTo>
                    <a:pt x="44996" y="399526"/>
                    <a:pt x="44088" y="398559"/>
                    <a:pt x="43152" y="397564"/>
                  </a:cubicBezTo>
                  <a:cubicBezTo>
                    <a:pt x="40865" y="395062"/>
                    <a:pt x="40865" y="395062"/>
                    <a:pt x="37605" y="393798"/>
                  </a:cubicBezTo>
                  <a:lnTo>
                    <a:pt x="38995" y="368712"/>
                  </a:lnTo>
                  <a:lnTo>
                    <a:pt x="38666" y="369724"/>
                  </a:lnTo>
                  <a:cubicBezTo>
                    <a:pt x="37003" y="374506"/>
                    <a:pt x="36202" y="379113"/>
                    <a:pt x="35542" y="384081"/>
                  </a:cubicBezTo>
                  <a:cubicBezTo>
                    <a:pt x="30313" y="376119"/>
                    <a:pt x="31188" y="366593"/>
                    <a:pt x="33326" y="357791"/>
                  </a:cubicBezTo>
                  <a:cubicBezTo>
                    <a:pt x="37176" y="347767"/>
                    <a:pt x="44536" y="340769"/>
                    <a:pt x="52725" y="333349"/>
                  </a:cubicBezTo>
                  <a:lnTo>
                    <a:pt x="55222" y="334475"/>
                  </a:lnTo>
                  <a:lnTo>
                    <a:pt x="56222" y="333347"/>
                  </a:lnTo>
                  <a:lnTo>
                    <a:pt x="55871" y="333347"/>
                  </a:lnTo>
                  <a:lnTo>
                    <a:pt x="56346" y="333207"/>
                  </a:lnTo>
                  <a:lnTo>
                    <a:pt x="56351" y="333202"/>
                  </a:lnTo>
                  <a:lnTo>
                    <a:pt x="56365" y="333202"/>
                  </a:lnTo>
                  <a:lnTo>
                    <a:pt x="79571" y="326360"/>
                  </a:lnTo>
                  <a:cubicBezTo>
                    <a:pt x="87782" y="326037"/>
                    <a:pt x="96164" y="327572"/>
                    <a:pt x="104297" y="330529"/>
                  </a:cubicBezTo>
                  <a:lnTo>
                    <a:pt x="107170" y="334417"/>
                  </a:lnTo>
                  <a:lnTo>
                    <a:pt x="109366" y="336046"/>
                  </a:lnTo>
                  <a:lnTo>
                    <a:pt x="109463" y="336020"/>
                  </a:lnTo>
                  <a:lnTo>
                    <a:pt x="109463" y="336118"/>
                  </a:lnTo>
                  <a:lnTo>
                    <a:pt x="115226" y="340394"/>
                  </a:lnTo>
                  <a:lnTo>
                    <a:pt x="114010" y="340120"/>
                  </a:lnTo>
                  <a:lnTo>
                    <a:pt x="133285" y="357423"/>
                  </a:lnTo>
                  <a:cubicBezTo>
                    <a:pt x="142471" y="373187"/>
                    <a:pt x="155564" y="382744"/>
                    <a:pt x="173509" y="389571"/>
                  </a:cubicBezTo>
                  <a:cubicBezTo>
                    <a:pt x="176254" y="390785"/>
                    <a:pt x="178988" y="392017"/>
                    <a:pt x="181711" y="393270"/>
                  </a:cubicBezTo>
                  <a:cubicBezTo>
                    <a:pt x="182964" y="393833"/>
                    <a:pt x="184216" y="394396"/>
                    <a:pt x="185507" y="394976"/>
                  </a:cubicBezTo>
                  <a:cubicBezTo>
                    <a:pt x="187897" y="396058"/>
                    <a:pt x="190281" y="397151"/>
                    <a:pt x="192658" y="398257"/>
                  </a:cubicBezTo>
                  <a:cubicBezTo>
                    <a:pt x="193749" y="398762"/>
                    <a:pt x="194841" y="399267"/>
                    <a:pt x="195966" y="399788"/>
                  </a:cubicBezTo>
                  <a:cubicBezTo>
                    <a:pt x="196912" y="400231"/>
                    <a:pt x="197858" y="400674"/>
                    <a:pt x="198833" y="401131"/>
                  </a:cubicBezTo>
                  <a:cubicBezTo>
                    <a:pt x="201808" y="402326"/>
                    <a:pt x="204701" y="403032"/>
                    <a:pt x="207877" y="403663"/>
                  </a:cubicBezTo>
                  <a:cubicBezTo>
                    <a:pt x="207877" y="404593"/>
                    <a:pt x="207877" y="405523"/>
                    <a:pt x="207877" y="406481"/>
                  </a:cubicBezTo>
                  <a:cubicBezTo>
                    <a:pt x="221233" y="411377"/>
                    <a:pt x="234752" y="415503"/>
                    <a:pt x="248492" y="419428"/>
                  </a:cubicBezTo>
                  <a:cubicBezTo>
                    <a:pt x="250298" y="419947"/>
                    <a:pt x="252104" y="420466"/>
                    <a:pt x="253965" y="421000"/>
                  </a:cubicBezTo>
                  <a:cubicBezTo>
                    <a:pt x="258388" y="422270"/>
                    <a:pt x="262812" y="423537"/>
                    <a:pt x="267237" y="424801"/>
                  </a:cubicBezTo>
                  <a:lnTo>
                    <a:pt x="267237" y="426451"/>
                  </a:lnTo>
                  <a:lnTo>
                    <a:pt x="288701" y="429217"/>
                  </a:lnTo>
                  <a:cubicBezTo>
                    <a:pt x="288701" y="430147"/>
                    <a:pt x="288701" y="431078"/>
                    <a:pt x="288701" y="432036"/>
                  </a:cubicBezTo>
                  <a:cubicBezTo>
                    <a:pt x="301487" y="433472"/>
                    <a:pt x="314148" y="433662"/>
                    <a:pt x="327010" y="433628"/>
                  </a:cubicBezTo>
                  <a:cubicBezTo>
                    <a:pt x="330502" y="433621"/>
                    <a:pt x="333994" y="433628"/>
                    <a:pt x="337486" y="433637"/>
                  </a:cubicBezTo>
                  <a:cubicBezTo>
                    <a:pt x="339734" y="433637"/>
                    <a:pt x="341982" y="433635"/>
                    <a:pt x="344229" y="433632"/>
                  </a:cubicBezTo>
                  <a:cubicBezTo>
                    <a:pt x="347246" y="433630"/>
                    <a:pt x="347246" y="433630"/>
                    <a:pt x="350323" y="433627"/>
                  </a:cubicBezTo>
                  <a:cubicBezTo>
                    <a:pt x="355445" y="433459"/>
                    <a:pt x="360220" y="432915"/>
                    <a:pt x="365245" y="432036"/>
                  </a:cubicBezTo>
                  <a:lnTo>
                    <a:pt x="360797" y="433759"/>
                  </a:lnTo>
                  <a:lnTo>
                    <a:pt x="365650" y="433257"/>
                  </a:lnTo>
                  <a:cubicBezTo>
                    <a:pt x="366166" y="431861"/>
                    <a:pt x="366682" y="430466"/>
                    <a:pt x="367213" y="429029"/>
                  </a:cubicBezTo>
                  <a:cubicBezTo>
                    <a:pt x="369854" y="427628"/>
                    <a:pt x="372501" y="426234"/>
                    <a:pt x="375188" y="424906"/>
                  </a:cubicBezTo>
                  <a:cubicBezTo>
                    <a:pt x="390245" y="417204"/>
                    <a:pt x="397438" y="403183"/>
                    <a:pt x="404704" y="389571"/>
                  </a:cubicBezTo>
                  <a:cubicBezTo>
                    <a:pt x="405219" y="389105"/>
                    <a:pt x="405734" y="388641"/>
                    <a:pt x="406265" y="388161"/>
                  </a:cubicBezTo>
                  <a:cubicBezTo>
                    <a:pt x="406663" y="382152"/>
                    <a:pt x="406555" y="376125"/>
                    <a:pt x="406559" y="370106"/>
                  </a:cubicBezTo>
                  <a:cubicBezTo>
                    <a:pt x="406578" y="368412"/>
                    <a:pt x="406597" y="366718"/>
                    <a:pt x="406617" y="364973"/>
                  </a:cubicBezTo>
                  <a:cubicBezTo>
                    <a:pt x="406620" y="363344"/>
                    <a:pt x="406622" y="361715"/>
                    <a:pt x="406626" y="360038"/>
                  </a:cubicBezTo>
                  <a:cubicBezTo>
                    <a:pt x="406632" y="358541"/>
                    <a:pt x="406638" y="357045"/>
                    <a:pt x="406645" y="355503"/>
                  </a:cubicBezTo>
                  <a:cubicBezTo>
                    <a:pt x="406264" y="351503"/>
                    <a:pt x="405326" y="349318"/>
                    <a:pt x="403142" y="345885"/>
                  </a:cubicBezTo>
                  <a:cubicBezTo>
                    <a:pt x="402583" y="343484"/>
                    <a:pt x="402067" y="341075"/>
                    <a:pt x="401579" y="338663"/>
                  </a:cubicBezTo>
                  <a:cubicBezTo>
                    <a:pt x="399365" y="330323"/>
                    <a:pt x="395538" y="323370"/>
                    <a:pt x="390938" y="315939"/>
                  </a:cubicBezTo>
                  <a:cubicBezTo>
                    <a:pt x="390290" y="314890"/>
                    <a:pt x="389642" y="313842"/>
                    <a:pt x="388976" y="312762"/>
                  </a:cubicBezTo>
                  <a:cubicBezTo>
                    <a:pt x="385623" y="307500"/>
                    <a:pt x="382070" y="302607"/>
                    <a:pt x="377934" y="297817"/>
                  </a:cubicBezTo>
                  <a:cubicBezTo>
                    <a:pt x="373788" y="292978"/>
                    <a:pt x="371423" y="288111"/>
                    <a:pt x="368775" y="282470"/>
                  </a:cubicBezTo>
                  <a:cubicBezTo>
                    <a:pt x="366035" y="278585"/>
                    <a:pt x="362994" y="274937"/>
                    <a:pt x="359890" y="271284"/>
                  </a:cubicBezTo>
                  <a:cubicBezTo>
                    <a:pt x="359059" y="270296"/>
                    <a:pt x="358230" y="269307"/>
                    <a:pt x="357374" y="268288"/>
                  </a:cubicBezTo>
                  <a:cubicBezTo>
                    <a:pt x="351312" y="261177"/>
                    <a:pt x="344882" y="254704"/>
                    <a:pt x="337533" y="248649"/>
                  </a:cubicBezTo>
                  <a:cubicBezTo>
                    <a:pt x="336767" y="247896"/>
                    <a:pt x="336002" y="247144"/>
                    <a:pt x="335214" y="246369"/>
                  </a:cubicBezTo>
                  <a:cubicBezTo>
                    <a:pt x="332597" y="243963"/>
                    <a:pt x="332597" y="243963"/>
                    <a:pt x="327085" y="242571"/>
                  </a:cubicBezTo>
                  <a:cubicBezTo>
                    <a:pt x="309670" y="236923"/>
                    <a:pt x="296614" y="222751"/>
                    <a:pt x="288785" y="207968"/>
                  </a:cubicBezTo>
                  <a:cubicBezTo>
                    <a:pt x="286673" y="202851"/>
                    <a:pt x="286348" y="197968"/>
                    <a:pt x="286373" y="192544"/>
                  </a:cubicBezTo>
                  <a:cubicBezTo>
                    <a:pt x="286377" y="191437"/>
                    <a:pt x="286381" y="190330"/>
                    <a:pt x="286385" y="189190"/>
                  </a:cubicBezTo>
                  <a:cubicBezTo>
                    <a:pt x="286881" y="178340"/>
                    <a:pt x="291581" y="171728"/>
                    <a:pt x="300042" y="164095"/>
                  </a:cubicBezTo>
                  <a:cubicBezTo>
                    <a:pt x="301386" y="162752"/>
                    <a:pt x="301386" y="162752"/>
                    <a:pt x="302757" y="161381"/>
                  </a:cubicBezTo>
                  <a:cubicBezTo>
                    <a:pt x="312597" y="152504"/>
                    <a:pt x="325185" y="152675"/>
                    <a:pt x="338411" y="152293"/>
                  </a:cubicBezTo>
                  <a:cubicBezTo>
                    <a:pt x="350839" y="152463"/>
                    <a:pt x="359094" y="154554"/>
                    <a:pt x="368482" y="161893"/>
                  </a:cubicBezTo>
                  <a:cubicBezTo>
                    <a:pt x="369609" y="163085"/>
                    <a:pt x="370737" y="164277"/>
                    <a:pt x="371899" y="165505"/>
                  </a:cubicBezTo>
                  <a:cubicBezTo>
                    <a:pt x="372962" y="166522"/>
                    <a:pt x="374026" y="167539"/>
                    <a:pt x="375121" y="168587"/>
                  </a:cubicBezTo>
                  <a:cubicBezTo>
                    <a:pt x="381050" y="176351"/>
                    <a:pt x="384520" y="184328"/>
                    <a:pt x="384982" y="193777"/>
                  </a:cubicBezTo>
                  <a:cubicBezTo>
                    <a:pt x="385464" y="201192"/>
                    <a:pt x="387638" y="207607"/>
                    <a:pt x="390352" y="214563"/>
                  </a:cubicBezTo>
                  <a:cubicBezTo>
                    <a:pt x="390934" y="216079"/>
                    <a:pt x="390934" y="216079"/>
                    <a:pt x="391529" y="217626"/>
                  </a:cubicBezTo>
                  <a:cubicBezTo>
                    <a:pt x="394082" y="223926"/>
                    <a:pt x="397412" y="228969"/>
                    <a:pt x="401579" y="234556"/>
                  </a:cubicBezTo>
                  <a:cubicBezTo>
                    <a:pt x="401579" y="235952"/>
                    <a:pt x="401579" y="237347"/>
                    <a:pt x="401579" y="238784"/>
                  </a:cubicBezTo>
                  <a:cubicBezTo>
                    <a:pt x="402884" y="239263"/>
                    <a:pt x="402884" y="239263"/>
                    <a:pt x="404215" y="239753"/>
                  </a:cubicBezTo>
                  <a:cubicBezTo>
                    <a:pt x="410099" y="242765"/>
                    <a:pt x="414395" y="246733"/>
                    <a:pt x="417811" y="251996"/>
                  </a:cubicBezTo>
                  <a:cubicBezTo>
                    <a:pt x="420462" y="255897"/>
                    <a:pt x="423407" y="258959"/>
                    <a:pt x="426866" y="262300"/>
                  </a:cubicBezTo>
                  <a:cubicBezTo>
                    <a:pt x="435101" y="270407"/>
                    <a:pt x="442641" y="278936"/>
                    <a:pt x="450097" y="287628"/>
                  </a:cubicBezTo>
                  <a:cubicBezTo>
                    <a:pt x="453081" y="291117"/>
                    <a:pt x="453081" y="291117"/>
                    <a:pt x="457425" y="293920"/>
                  </a:cubicBezTo>
                  <a:cubicBezTo>
                    <a:pt x="458585" y="294792"/>
                    <a:pt x="459745" y="295664"/>
                    <a:pt x="460940" y="296562"/>
                  </a:cubicBezTo>
                  <a:cubicBezTo>
                    <a:pt x="460940" y="297957"/>
                    <a:pt x="460940" y="299352"/>
                    <a:pt x="460940" y="300790"/>
                  </a:cubicBezTo>
                  <a:cubicBezTo>
                    <a:pt x="465063" y="302782"/>
                    <a:pt x="468862" y="304133"/>
                    <a:pt x="473437" y="305018"/>
                  </a:cubicBezTo>
                  <a:cubicBezTo>
                    <a:pt x="473437" y="305947"/>
                    <a:pt x="473437" y="306877"/>
                    <a:pt x="473437" y="307836"/>
                  </a:cubicBezTo>
                  <a:cubicBezTo>
                    <a:pt x="475581" y="308519"/>
                    <a:pt x="477730" y="309193"/>
                    <a:pt x="479881" y="309862"/>
                  </a:cubicBezTo>
                  <a:cubicBezTo>
                    <a:pt x="481077" y="310237"/>
                    <a:pt x="482273" y="310614"/>
                    <a:pt x="483505" y="311001"/>
                  </a:cubicBezTo>
                  <a:cubicBezTo>
                    <a:pt x="505448" y="316843"/>
                    <a:pt x="527690" y="314359"/>
                    <a:pt x="548419" y="306427"/>
                  </a:cubicBezTo>
                  <a:cubicBezTo>
                    <a:pt x="549548" y="305998"/>
                    <a:pt x="550678" y="305569"/>
                    <a:pt x="551842" y="305127"/>
                  </a:cubicBezTo>
                  <a:cubicBezTo>
                    <a:pt x="555376" y="303227"/>
                    <a:pt x="557584" y="300980"/>
                    <a:pt x="560232" y="298148"/>
                  </a:cubicBezTo>
                  <a:cubicBezTo>
                    <a:pt x="561137" y="297192"/>
                    <a:pt x="562041" y="296236"/>
                    <a:pt x="562972" y="295252"/>
                  </a:cubicBezTo>
                  <a:cubicBezTo>
                    <a:pt x="564755" y="293274"/>
                    <a:pt x="566459" y="291237"/>
                    <a:pt x="568086" y="289152"/>
                  </a:cubicBezTo>
                  <a:cubicBezTo>
                    <a:pt x="568813" y="288342"/>
                    <a:pt x="569539" y="287532"/>
                    <a:pt x="570289" y="286697"/>
                  </a:cubicBezTo>
                  <a:cubicBezTo>
                    <a:pt x="571319" y="286697"/>
                    <a:pt x="572350" y="286697"/>
                    <a:pt x="573413" y="286697"/>
                  </a:cubicBezTo>
                  <a:cubicBezTo>
                    <a:pt x="577408" y="276984"/>
                    <a:pt x="577197" y="267284"/>
                    <a:pt x="577220" y="257016"/>
                  </a:cubicBezTo>
                  <a:cubicBezTo>
                    <a:pt x="577227" y="255625"/>
                    <a:pt x="577227" y="255625"/>
                    <a:pt x="577235" y="254206"/>
                  </a:cubicBezTo>
                  <a:cubicBezTo>
                    <a:pt x="577257" y="237553"/>
                    <a:pt x="574604" y="222055"/>
                    <a:pt x="569443" y="206049"/>
                  </a:cubicBezTo>
                  <a:cubicBezTo>
                    <a:pt x="568726" y="203553"/>
                    <a:pt x="568726" y="203553"/>
                    <a:pt x="568726" y="200735"/>
                  </a:cubicBezTo>
                  <a:cubicBezTo>
                    <a:pt x="567695" y="200735"/>
                    <a:pt x="566664" y="200735"/>
                    <a:pt x="565602" y="200735"/>
                  </a:cubicBezTo>
                  <a:cubicBezTo>
                    <a:pt x="563274" y="195295"/>
                    <a:pt x="561092" y="190108"/>
                    <a:pt x="559549" y="184441"/>
                  </a:cubicBezTo>
                  <a:cubicBezTo>
                    <a:pt x="555572" y="173477"/>
                    <a:pt x="547043" y="167105"/>
                    <a:pt x="537484" y="159867"/>
                  </a:cubicBezTo>
                  <a:cubicBezTo>
                    <a:pt x="533579" y="156609"/>
                    <a:pt x="533579" y="156609"/>
                    <a:pt x="531235" y="154230"/>
                  </a:cubicBezTo>
                  <a:cubicBezTo>
                    <a:pt x="531235" y="153301"/>
                    <a:pt x="531235" y="152371"/>
                    <a:pt x="531235" y="151412"/>
                  </a:cubicBezTo>
                  <a:cubicBezTo>
                    <a:pt x="529689" y="150947"/>
                    <a:pt x="528143" y="150482"/>
                    <a:pt x="526549" y="150003"/>
                  </a:cubicBezTo>
                  <a:cubicBezTo>
                    <a:pt x="519904" y="137298"/>
                    <a:pt x="519105" y="120357"/>
                    <a:pt x="524304" y="107198"/>
                  </a:cubicBezTo>
                  <a:cubicBezTo>
                    <a:pt x="529443" y="97376"/>
                    <a:pt x="535781" y="90193"/>
                    <a:pt x="547052" y="85972"/>
                  </a:cubicBezTo>
                  <a:cubicBezTo>
                    <a:pt x="559924" y="81835"/>
                    <a:pt x="575221" y="79746"/>
                    <a:pt x="588460" y="83538"/>
                  </a:cubicBezTo>
                  <a:cubicBezTo>
                    <a:pt x="601643" y="89713"/>
                    <a:pt x="611835" y="99450"/>
                    <a:pt x="617152" y="111954"/>
                  </a:cubicBezTo>
                  <a:cubicBezTo>
                    <a:pt x="617935" y="116052"/>
                    <a:pt x="617954" y="120024"/>
                    <a:pt x="617884" y="124175"/>
                  </a:cubicBezTo>
                  <a:cubicBezTo>
                    <a:pt x="617896" y="125307"/>
                    <a:pt x="617906" y="126440"/>
                    <a:pt x="617917" y="127607"/>
                  </a:cubicBezTo>
                  <a:cubicBezTo>
                    <a:pt x="617963" y="132394"/>
                    <a:pt x="617938" y="137181"/>
                    <a:pt x="617919" y="141969"/>
                  </a:cubicBezTo>
                  <a:cubicBezTo>
                    <a:pt x="617899" y="160184"/>
                    <a:pt x="619422" y="175572"/>
                    <a:pt x="630625" y="191311"/>
                  </a:cubicBezTo>
                  <a:cubicBezTo>
                    <a:pt x="633753" y="195891"/>
                    <a:pt x="636431" y="199900"/>
                    <a:pt x="637850" y="205139"/>
                  </a:cubicBezTo>
                  <a:cubicBezTo>
                    <a:pt x="638615" y="209623"/>
                    <a:pt x="638615" y="209623"/>
                    <a:pt x="643708" y="212009"/>
                  </a:cubicBezTo>
                  <a:cubicBezTo>
                    <a:pt x="645380" y="214563"/>
                    <a:pt x="645380" y="214563"/>
                    <a:pt x="647027" y="217645"/>
                  </a:cubicBezTo>
                  <a:cubicBezTo>
                    <a:pt x="652549" y="227016"/>
                    <a:pt x="660443" y="235696"/>
                    <a:pt x="670264" y="241603"/>
                  </a:cubicBezTo>
                  <a:cubicBezTo>
                    <a:pt x="670264" y="242532"/>
                    <a:pt x="670264" y="243462"/>
                    <a:pt x="670264" y="244421"/>
                  </a:cubicBezTo>
                  <a:cubicBezTo>
                    <a:pt x="672036" y="244857"/>
                    <a:pt x="673808" y="245293"/>
                    <a:pt x="675634" y="245742"/>
                  </a:cubicBezTo>
                  <a:cubicBezTo>
                    <a:pt x="681199" y="247239"/>
                    <a:pt x="681199" y="247239"/>
                    <a:pt x="682761" y="248649"/>
                  </a:cubicBezTo>
                  <a:cubicBezTo>
                    <a:pt x="704487" y="252065"/>
                    <a:pt x="732606" y="256402"/>
                    <a:pt x="752092" y="245076"/>
                  </a:cubicBezTo>
                  <a:cubicBezTo>
                    <a:pt x="754252" y="243599"/>
                    <a:pt x="756372" y="242073"/>
                    <a:pt x="758433" y="240485"/>
                  </a:cubicBezTo>
                  <a:cubicBezTo>
                    <a:pt x="760867" y="238784"/>
                    <a:pt x="760867" y="238784"/>
                    <a:pt x="763991" y="238784"/>
                  </a:cubicBezTo>
                  <a:cubicBezTo>
                    <a:pt x="764647" y="237296"/>
                    <a:pt x="764647" y="237296"/>
                    <a:pt x="765315" y="235778"/>
                  </a:cubicBezTo>
                  <a:cubicBezTo>
                    <a:pt x="767151" y="231659"/>
                    <a:pt x="769030" y="227557"/>
                    <a:pt x="770923" y="223459"/>
                  </a:cubicBezTo>
                  <a:cubicBezTo>
                    <a:pt x="771608" y="221966"/>
                    <a:pt x="772292" y="220472"/>
                    <a:pt x="772998" y="218934"/>
                  </a:cubicBezTo>
                  <a:cubicBezTo>
                    <a:pt x="774429" y="215885"/>
                    <a:pt x="775968" y="212878"/>
                    <a:pt x="777562" y="209895"/>
                  </a:cubicBezTo>
                  <a:cubicBezTo>
                    <a:pt x="787607" y="185732"/>
                    <a:pt x="788559" y="149501"/>
                    <a:pt x="781175" y="124637"/>
                  </a:cubicBezTo>
                  <a:cubicBezTo>
                    <a:pt x="780144" y="124637"/>
                    <a:pt x="779113" y="124637"/>
                    <a:pt x="778051" y="124637"/>
                  </a:cubicBezTo>
                  <a:cubicBezTo>
                    <a:pt x="768501" y="110080"/>
                    <a:pt x="762898" y="96653"/>
                    <a:pt x="767116" y="79542"/>
                  </a:cubicBezTo>
                  <a:cubicBezTo>
                    <a:pt x="772286" y="69057"/>
                    <a:pt x="781456" y="58252"/>
                    <a:pt x="793379" y="54000"/>
                  </a:cubicBezTo>
                  <a:cubicBezTo>
                    <a:pt x="808369" y="49250"/>
                    <a:pt x="826058" y="49579"/>
                    <a:pt x="840688" y="55503"/>
                  </a:cubicBezTo>
                  <a:cubicBezTo>
                    <a:pt x="845183" y="57759"/>
                    <a:pt x="848037" y="60575"/>
                    <a:pt x="851470" y="64040"/>
                  </a:cubicBezTo>
                  <a:cubicBezTo>
                    <a:pt x="852721" y="65272"/>
                    <a:pt x="852721" y="65272"/>
                    <a:pt x="853997" y="66529"/>
                  </a:cubicBezTo>
                  <a:cubicBezTo>
                    <a:pt x="858396" y="71505"/>
                    <a:pt x="860490" y="76640"/>
                    <a:pt x="861488" y="82057"/>
                  </a:cubicBezTo>
                  <a:lnTo>
                    <a:pt x="861937" y="90492"/>
                  </a:lnTo>
                  <a:lnTo>
                    <a:pt x="863826" y="100715"/>
                  </a:lnTo>
                  <a:cubicBezTo>
                    <a:pt x="862141" y="107853"/>
                    <a:pt x="859866" y="114857"/>
                    <a:pt x="857577" y="121853"/>
                  </a:cubicBezTo>
                  <a:cubicBezTo>
                    <a:pt x="857062" y="121853"/>
                    <a:pt x="856547" y="121853"/>
                    <a:pt x="856015" y="121853"/>
                  </a:cubicBezTo>
                  <a:cubicBezTo>
                    <a:pt x="855731" y="120401"/>
                    <a:pt x="855731" y="120401"/>
                    <a:pt x="855442" y="118919"/>
                  </a:cubicBezTo>
                  <a:lnTo>
                    <a:pt x="855417" y="118798"/>
                  </a:lnTo>
                  <a:lnTo>
                    <a:pt x="856157" y="124637"/>
                  </a:lnTo>
                  <a:lnTo>
                    <a:pt x="850623" y="134701"/>
                  </a:lnTo>
                  <a:lnTo>
                    <a:pt x="851325" y="135968"/>
                  </a:lnTo>
                  <a:cubicBezTo>
                    <a:pt x="850851" y="137246"/>
                    <a:pt x="850376" y="138525"/>
                    <a:pt x="849886" y="139843"/>
                  </a:cubicBezTo>
                  <a:cubicBezTo>
                    <a:pt x="848171" y="144505"/>
                    <a:pt x="847798" y="148002"/>
                    <a:pt x="847786" y="152889"/>
                  </a:cubicBezTo>
                  <a:cubicBezTo>
                    <a:pt x="847779" y="154500"/>
                    <a:pt x="847773" y="156109"/>
                    <a:pt x="847767" y="157768"/>
                  </a:cubicBezTo>
                  <a:cubicBezTo>
                    <a:pt x="847782" y="159468"/>
                    <a:pt x="847796" y="161167"/>
                    <a:pt x="847810" y="162919"/>
                  </a:cubicBezTo>
                  <a:cubicBezTo>
                    <a:pt x="847821" y="165546"/>
                    <a:pt x="847821" y="165546"/>
                    <a:pt x="847832" y="168227"/>
                  </a:cubicBezTo>
                  <a:cubicBezTo>
                    <a:pt x="847980" y="181934"/>
                    <a:pt x="849003" y="195419"/>
                    <a:pt x="850903" y="209013"/>
                  </a:cubicBezTo>
                  <a:lnTo>
                    <a:pt x="852880" y="224692"/>
                  </a:lnTo>
                  <a:lnTo>
                    <a:pt x="854595" y="224692"/>
                  </a:lnTo>
                  <a:cubicBezTo>
                    <a:pt x="855086" y="225542"/>
                    <a:pt x="855577" y="226392"/>
                    <a:pt x="856083" y="227268"/>
                  </a:cubicBezTo>
                  <a:cubicBezTo>
                    <a:pt x="862358" y="237839"/>
                    <a:pt x="866924" y="242785"/>
                    <a:pt x="879588" y="247239"/>
                  </a:cubicBezTo>
                  <a:cubicBezTo>
                    <a:pt x="881642" y="248025"/>
                    <a:pt x="883692" y="248817"/>
                    <a:pt x="885739" y="249618"/>
                  </a:cubicBezTo>
                  <a:cubicBezTo>
                    <a:pt x="887318" y="250227"/>
                    <a:pt x="888897" y="250838"/>
                    <a:pt x="890523" y="251467"/>
                  </a:cubicBezTo>
                  <a:cubicBezTo>
                    <a:pt x="890523" y="252397"/>
                    <a:pt x="890523" y="253327"/>
                    <a:pt x="890523" y="254285"/>
                  </a:cubicBezTo>
                  <a:cubicBezTo>
                    <a:pt x="900347" y="257061"/>
                    <a:pt x="910127" y="259425"/>
                    <a:pt x="920203" y="261332"/>
                  </a:cubicBezTo>
                  <a:cubicBezTo>
                    <a:pt x="920203" y="261796"/>
                    <a:pt x="920203" y="262262"/>
                    <a:pt x="920203" y="262741"/>
                  </a:cubicBezTo>
                  <a:cubicBezTo>
                    <a:pt x="917111" y="262741"/>
                    <a:pt x="914018" y="262741"/>
                    <a:pt x="910831" y="262741"/>
                  </a:cubicBezTo>
                  <a:lnTo>
                    <a:pt x="910831" y="262864"/>
                  </a:lnTo>
                  <a:lnTo>
                    <a:pt x="927993" y="264177"/>
                  </a:lnTo>
                  <a:lnTo>
                    <a:pt x="939273" y="265285"/>
                  </a:lnTo>
                  <a:lnTo>
                    <a:pt x="940456" y="265191"/>
                  </a:lnTo>
                  <a:cubicBezTo>
                    <a:pt x="962552" y="263054"/>
                    <a:pt x="974979" y="255295"/>
                    <a:pt x="991622" y="242329"/>
                  </a:cubicBezTo>
                  <a:lnTo>
                    <a:pt x="1000803" y="236505"/>
                  </a:lnTo>
                  <a:lnTo>
                    <a:pt x="999806" y="236055"/>
                  </a:lnTo>
                  <a:cubicBezTo>
                    <a:pt x="1000902" y="234997"/>
                    <a:pt x="1001997" y="233941"/>
                    <a:pt x="1003126" y="232851"/>
                  </a:cubicBezTo>
                  <a:cubicBezTo>
                    <a:pt x="1012364" y="223880"/>
                    <a:pt x="1021184" y="214752"/>
                    <a:pt x="1029487" y="205052"/>
                  </a:cubicBezTo>
                  <a:lnTo>
                    <a:pt x="1029872" y="206442"/>
                  </a:lnTo>
                  <a:lnTo>
                    <a:pt x="1031614" y="203719"/>
                  </a:lnTo>
                  <a:cubicBezTo>
                    <a:pt x="1033221" y="199204"/>
                    <a:pt x="1035713" y="196017"/>
                    <a:pt x="1038924" y="192280"/>
                  </a:cubicBezTo>
                  <a:cubicBezTo>
                    <a:pt x="1039956" y="191815"/>
                    <a:pt x="1040987" y="191349"/>
                    <a:pt x="1042049" y="190870"/>
                  </a:cubicBezTo>
                  <a:cubicBezTo>
                    <a:pt x="1043161" y="188473"/>
                    <a:pt x="1043161" y="188473"/>
                    <a:pt x="1044294" y="186026"/>
                  </a:cubicBezTo>
                  <a:cubicBezTo>
                    <a:pt x="1046735" y="181006"/>
                    <a:pt x="1046735" y="181006"/>
                    <a:pt x="1051422" y="178188"/>
                  </a:cubicBezTo>
                  <a:cubicBezTo>
                    <a:pt x="1052553" y="175286"/>
                    <a:pt x="1052553" y="175286"/>
                    <a:pt x="1052984" y="172551"/>
                  </a:cubicBezTo>
                  <a:cubicBezTo>
                    <a:pt x="1054014" y="172551"/>
                    <a:pt x="1055046" y="172551"/>
                    <a:pt x="1056108" y="172551"/>
                  </a:cubicBezTo>
                  <a:cubicBezTo>
                    <a:pt x="1057139" y="169295"/>
                    <a:pt x="1058170" y="166040"/>
                    <a:pt x="1059232" y="162686"/>
                  </a:cubicBezTo>
                  <a:cubicBezTo>
                    <a:pt x="1060263" y="162686"/>
                    <a:pt x="1061295" y="162686"/>
                    <a:pt x="1062357" y="162686"/>
                  </a:cubicBezTo>
                  <a:cubicBezTo>
                    <a:pt x="1062755" y="161484"/>
                    <a:pt x="1062755" y="161484"/>
                    <a:pt x="1063162" y="160258"/>
                  </a:cubicBezTo>
                  <a:cubicBezTo>
                    <a:pt x="1065716" y="152917"/>
                    <a:pt x="1068813" y="146686"/>
                    <a:pt x="1073292" y="140138"/>
                  </a:cubicBezTo>
                  <a:cubicBezTo>
                    <a:pt x="1074322" y="140138"/>
                    <a:pt x="1075353" y="140138"/>
                    <a:pt x="1076415" y="140138"/>
                  </a:cubicBezTo>
                  <a:cubicBezTo>
                    <a:pt x="1079808" y="132748"/>
                    <a:pt x="1082509" y="125160"/>
                    <a:pt x="1085294" y="117569"/>
                  </a:cubicBezTo>
                  <a:cubicBezTo>
                    <a:pt x="1085972" y="116181"/>
                    <a:pt x="1086651" y="114793"/>
                    <a:pt x="1087350" y="113363"/>
                  </a:cubicBezTo>
                  <a:cubicBezTo>
                    <a:pt x="1089671" y="112666"/>
                    <a:pt x="1089671" y="112666"/>
                    <a:pt x="1092037" y="111954"/>
                  </a:cubicBezTo>
                  <a:cubicBezTo>
                    <a:pt x="1092230" y="110879"/>
                    <a:pt x="1092423" y="109803"/>
                    <a:pt x="1092623" y="108695"/>
                  </a:cubicBezTo>
                  <a:cubicBezTo>
                    <a:pt x="1093599" y="104908"/>
                    <a:pt x="1093599" y="104908"/>
                    <a:pt x="1096723" y="100680"/>
                  </a:cubicBezTo>
                  <a:cubicBezTo>
                    <a:pt x="1097207" y="99140"/>
                    <a:pt x="1097689" y="97599"/>
                    <a:pt x="1098188" y="96013"/>
                  </a:cubicBezTo>
                  <a:cubicBezTo>
                    <a:pt x="1099847" y="90815"/>
                    <a:pt x="1099847" y="90815"/>
                    <a:pt x="1102288" y="87029"/>
                  </a:cubicBezTo>
                  <a:cubicBezTo>
                    <a:pt x="1106061" y="79186"/>
                    <a:pt x="1107564" y="69424"/>
                    <a:pt x="1104534" y="61222"/>
                  </a:cubicBezTo>
                  <a:cubicBezTo>
                    <a:pt x="1104409" y="59341"/>
                    <a:pt x="1104366" y="57454"/>
                    <a:pt x="1104381" y="55569"/>
                  </a:cubicBezTo>
                  <a:cubicBezTo>
                    <a:pt x="1104386" y="54501"/>
                    <a:pt x="1104391" y="53434"/>
                    <a:pt x="1104397" y="52335"/>
                  </a:cubicBezTo>
                  <a:cubicBezTo>
                    <a:pt x="1104410" y="51228"/>
                    <a:pt x="1104423" y="50120"/>
                    <a:pt x="1104436" y="48979"/>
                  </a:cubicBezTo>
                  <a:cubicBezTo>
                    <a:pt x="1104443" y="47856"/>
                    <a:pt x="1104451" y="46733"/>
                    <a:pt x="1104457" y="45575"/>
                  </a:cubicBezTo>
                  <a:cubicBezTo>
                    <a:pt x="1104476" y="42805"/>
                    <a:pt x="1104504" y="40035"/>
                    <a:pt x="1104534" y="37265"/>
                  </a:cubicBezTo>
                  <a:cubicBezTo>
                    <a:pt x="1105565" y="37265"/>
                    <a:pt x="1106596" y="37265"/>
                    <a:pt x="1107658" y="37265"/>
                  </a:cubicBezTo>
                  <a:cubicBezTo>
                    <a:pt x="1107561" y="34562"/>
                    <a:pt x="1107561" y="34562"/>
                    <a:pt x="1107463" y="31805"/>
                  </a:cubicBezTo>
                  <a:cubicBezTo>
                    <a:pt x="1107353" y="28733"/>
                    <a:pt x="1107353" y="28733"/>
                    <a:pt x="1107658" y="25991"/>
                  </a:cubicBezTo>
                  <a:cubicBezTo>
                    <a:pt x="1108689" y="25062"/>
                    <a:pt x="1109720" y="24131"/>
                    <a:pt x="1110782" y="23173"/>
                  </a:cubicBezTo>
                  <a:cubicBezTo>
                    <a:pt x="1111104" y="22156"/>
                    <a:pt x="1111427" y="21138"/>
                    <a:pt x="1111759" y="20091"/>
                  </a:cubicBezTo>
                  <a:cubicBezTo>
                    <a:pt x="1116393" y="11539"/>
                    <a:pt x="1124927" y="6390"/>
                    <a:pt x="1134507" y="2828"/>
                  </a:cubicBezTo>
                  <a:cubicBezTo>
                    <a:pt x="1141389" y="825"/>
                    <a:pt x="1148262" y="-204"/>
                    <a:pt x="1155019" y="35"/>
                  </a:cubicBezTo>
                  <a:close/>
                </a:path>
              </a:pathLst>
            </a:custGeom>
            <a:solidFill>
              <a:schemeClr val="accent3"/>
            </a:solidFill>
            <a:ln w="2232" cap="flat">
              <a:noFill/>
              <a:prstDash val="solid"/>
              <a:miter/>
            </a:ln>
            <a:effectLst>
              <a:innerShdw blurRad="63500" dist="190500" dir="8100000">
                <a:schemeClr val="accent3">
                  <a:lumMod val="75000"/>
                  <a:alpha val="50000"/>
                </a:schemeClr>
              </a:innerShdw>
            </a:effectLst>
          </p:spPr>
          <p:txBody>
            <a:bodyPr wrap="square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530" name="Oval 529">
              <a:extLst>
                <a:ext uri="{FF2B5EF4-FFF2-40B4-BE49-F238E27FC236}">
                  <a16:creationId xmlns:a16="http://schemas.microsoft.com/office/drawing/2014/main" id="{97E3F367-7E72-DA7E-9728-195F947E3816}"/>
                </a:ext>
              </a:extLst>
            </p:cNvPr>
            <p:cNvSpPr/>
            <p:nvPr/>
          </p:nvSpPr>
          <p:spPr>
            <a:xfrm>
              <a:off x="8562874" y="2669842"/>
              <a:ext cx="96793" cy="96793"/>
            </a:xfrm>
            <a:prstGeom prst="ellipse">
              <a:avLst/>
            </a:prstGeom>
            <a:solidFill>
              <a:schemeClr val="accent3">
                <a:lumMod val="75000"/>
                <a:alpha val="38000"/>
              </a:schemeClr>
            </a:solidFill>
            <a:ln>
              <a:noFill/>
            </a:ln>
            <a:effectLst>
              <a:outerShdw blurRad="50800" dist="38100" dir="8100000" sx="129000" sy="129000" algn="tr" rotWithShape="0">
                <a:schemeClr val="accent3">
                  <a:lumMod val="50000"/>
                  <a:alpha val="40000"/>
                </a:scheme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531" name="Oval 530">
              <a:extLst>
                <a:ext uri="{FF2B5EF4-FFF2-40B4-BE49-F238E27FC236}">
                  <a16:creationId xmlns:a16="http://schemas.microsoft.com/office/drawing/2014/main" id="{FDDEA66D-7B96-EF0B-FA74-06DD028988B8}"/>
                </a:ext>
              </a:extLst>
            </p:cNvPr>
            <p:cNvSpPr/>
            <p:nvPr/>
          </p:nvSpPr>
          <p:spPr>
            <a:xfrm>
              <a:off x="8692086" y="2754594"/>
              <a:ext cx="96793" cy="96793"/>
            </a:xfrm>
            <a:prstGeom prst="ellipse">
              <a:avLst/>
            </a:prstGeom>
            <a:solidFill>
              <a:schemeClr val="accent3">
                <a:lumMod val="75000"/>
                <a:alpha val="38000"/>
              </a:schemeClr>
            </a:solidFill>
            <a:ln>
              <a:noFill/>
            </a:ln>
            <a:effectLst>
              <a:outerShdw blurRad="50800" dist="38100" dir="8100000" sx="129000" sy="129000" algn="tr" rotWithShape="0">
                <a:schemeClr val="accent3">
                  <a:lumMod val="50000"/>
                  <a:alpha val="40000"/>
                </a:scheme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532" name="Oval 531">
              <a:extLst>
                <a:ext uri="{FF2B5EF4-FFF2-40B4-BE49-F238E27FC236}">
                  <a16:creationId xmlns:a16="http://schemas.microsoft.com/office/drawing/2014/main" id="{D723FF9D-03AB-B5D8-F3CB-8682FC44D745}"/>
                </a:ext>
              </a:extLst>
            </p:cNvPr>
            <p:cNvSpPr/>
            <p:nvPr/>
          </p:nvSpPr>
          <p:spPr>
            <a:xfrm>
              <a:off x="8598303" y="2912286"/>
              <a:ext cx="75769" cy="75769"/>
            </a:xfrm>
            <a:prstGeom prst="ellipse">
              <a:avLst/>
            </a:prstGeom>
            <a:solidFill>
              <a:schemeClr val="accent3">
                <a:lumMod val="75000"/>
                <a:alpha val="38000"/>
              </a:schemeClr>
            </a:solidFill>
            <a:ln>
              <a:noFill/>
            </a:ln>
            <a:effectLst>
              <a:outerShdw blurRad="50800" dist="38100" dir="8100000" sx="129000" sy="129000" algn="tr" rotWithShape="0">
                <a:schemeClr val="accent3">
                  <a:lumMod val="50000"/>
                  <a:alpha val="40000"/>
                </a:scheme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533" name="Oval 532">
              <a:extLst>
                <a:ext uri="{FF2B5EF4-FFF2-40B4-BE49-F238E27FC236}">
                  <a16:creationId xmlns:a16="http://schemas.microsoft.com/office/drawing/2014/main" id="{49E2D8FB-34EE-55CB-3E8A-1B675799E692}"/>
                </a:ext>
              </a:extLst>
            </p:cNvPr>
            <p:cNvSpPr/>
            <p:nvPr/>
          </p:nvSpPr>
          <p:spPr>
            <a:xfrm>
              <a:off x="8800456" y="2894919"/>
              <a:ext cx="96793" cy="96793"/>
            </a:xfrm>
            <a:prstGeom prst="ellipse">
              <a:avLst/>
            </a:prstGeom>
            <a:solidFill>
              <a:schemeClr val="accent3">
                <a:lumMod val="75000"/>
                <a:alpha val="38000"/>
              </a:schemeClr>
            </a:solidFill>
            <a:ln>
              <a:noFill/>
            </a:ln>
            <a:effectLst>
              <a:outerShdw blurRad="50800" dist="38100" dir="8100000" sx="129000" sy="129000" algn="tr" rotWithShape="0">
                <a:schemeClr val="accent3">
                  <a:lumMod val="50000"/>
                  <a:alpha val="40000"/>
                </a:scheme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534" name="Oval 533">
              <a:extLst>
                <a:ext uri="{FF2B5EF4-FFF2-40B4-BE49-F238E27FC236}">
                  <a16:creationId xmlns:a16="http://schemas.microsoft.com/office/drawing/2014/main" id="{D8DA7363-3B0A-DA9B-4307-8E80EE082DB7}"/>
                </a:ext>
              </a:extLst>
            </p:cNvPr>
            <p:cNvSpPr/>
            <p:nvPr/>
          </p:nvSpPr>
          <p:spPr>
            <a:xfrm>
              <a:off x="8831716" y="2693461"/>
              <a:ext cx="65532" cy="65532"/>
            </a:xfrm>
            <a:prstGeom prst="ellipse">
              <a:avLst/>
            </a:prstGeom>
            <a:solidFill>
              <a:schemeClr val="accent3">
                <a:lumMod val="75000"/>
                <a:alpha val="38000"/>
              </a:schemeClr>
            </a:solidFill>
            <a:ln>
              <a:noFill/>
            </a:ln>
            <a:effectLst>
              <a:outerShdw blurRad="50800" dist="38100" dir="8100000" sx="129000" sy="129000" algn="tr" rotWithShape="0">
                <a:schemeClr val="accent3">
                  <a:lumMod val="50000"/>
                  <a:alpha val="40000"/>
                </a:scheme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</p:grpSp>
      <p:sp>
        <p:nvSpPr>
          <p:cNvPr id="535" name="TextBox 534">
            <a:extLst>
              <a:ext uri="{FF2B5EF4-FFF2-40B4-BE49-F238E27FC236}">
                <a16:creationId xmlns:a16="http://schemas.microsoft.com/office/drawing/2014/main" id="{F35467D8-B5D3-EC67-142B-7E56B6A74B51}"/>
              </a:ext>
            </a:extLst>
          </p:cNvPr>
          <p:cNvSpPr txBox="1"/>
          <p:nvPr/>
        </p:nvSpPr>
        <p:spPr>
          <a:xfrm>
            <a:off x="2989057" y="5425215"/>
            <a:ext cx="7617437" cy="363601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rtlCol="0" anchor="ctr" anchorCtr="0">
            <a:noAutofit/>
          </a:bodyPr>
          <a:lstStyle>
            <a:defPPr>
              <a:defRPr lang="en-GB"/>
            </a:defPPr>
            <a:lvl1pPr algn="ctr">
              <a:defRPr sz="1600" b="1">
                <a:solidFill>
                  <a:schemeClr val="tx2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reatment-related factors</a:t>
            </a:r>
          </a:p>
        </p:txBody>
      </p:sp>
      <p:sp>
        <p:nvSpPr>
          <p:cNvPr id="538" name="Rectangle: Rounded Corners 537">
            <a:extLst>
              <a:ext uri="{FF2B5EF4-FFF2-40B4-BE49-F238E27FC236}">
                <a16:creationId xmlns:a16="http://schemas.microsoft.com/office/drawing/2014/main" id="{8D633E2A-C859-5E21-435F-C3DC2B98C543}"/>
              </a:ext>
            </a:extLst>
          </p:cNvPr>
          <p:cNvSpPr/>
          <p:nvPr/>
        </p:nvSpPr>
        <p:spPr>
          <a:xfrm>
            <a:off x="7732221" y="5831752"/>
            <a:ext cx="1841963" cy="421660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  <a:t>Previous therapies</a:t>
            </a:r>
          </a:p>
        </p:txBody>
      </p:sp>
      <p:sp>
        <p:nvSpPr>
          <p:cNvPr id="539" name="Rectangle: Rounded Corners 538">
            <a:extLst>
              <a:ext uri="{FF2B5EF4-FFF2-40B4-BE49-F238E27FC236}">
                <a16:creationId xmlns:a16="http://schemas.microsoft.com/office/drawing/2014/main" id="{73739586-08D3-F26C-74F5-922E0A983B35}"/>
              </a:ext>
            </a:extLst>
          </p:cNvPr>
          <p:cNvSpPr/>
          <p:nvPr/>
        </p:nvSpPr>
        <p:spPr>
          <a:xfrm>
            <a:off x="3746975" y="5831752"/>
            <a:ext cx="1841963" cy="421660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  <a:t>Efficacy</a:t>
            </a:r>
          </a:p>
        </p:txBody>
      </p:sp>
      <p:sp>
        <p:nvSpPr>
          <p:cNvPr id="542" name="Rectangle: Rounded Corners 541">
            <a:extLst>
              <a:ext uri="{FF2B5EF4-FFF2-40B4-BE49-F238E27FC236}">
                <a16:creationId xmlns:a16="http://schemas.microsoft.com/office/drawing/2014/main" id="{9AA1DA63-8F76-8743-2007-BA4EC6A9A5F5}"/>
              </a:ext>
            </a:extLst>
          </p:cNvPr>
          <p:cNvSpPr/>
          <p:nvPr/>
        </p:nvSpPr>
        <p:spPr>
          <a:xfrm>
            <a:off x="1805079" y="5831752"/>
            <a:ext cx="1841963" cy="421660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  <a:t>Access to treatment</a:t>
            </a:r>
          </a:p>
        </p:txBody>
      </p:sp>
      <p:sp>
        <p:nvSpPr>
          <p:cNvPr id="541" name="Rectangle: Rounded Corners 540">
            <a:extLst>
              <a:ext uri="{FF2B5EF4-FFF2-40B4-BE49-F238E27FC236}">
                <a16:creationId xmlns:a16="http://schemas.microsoft.com/office/drawing/2014/main" id="{8267C1D5-DADD-CF02-D0EA-63413D8DD79F}"/>
              </a:ext>
            </a:extLst>
          </p:cNvPr>
          <p:cNvSpPr/>
          <p:nvPr/>
        </p:nvSpPr>
        <p:spPr>
          <a:xfrm>
            <a:off x="9748509" y="5831752"/>
            <a:ext cx="1841963" cy="421660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  <a:t>Tolerability profile</a:t>
            </a:r>
          </a:p>
        </p:txBody>
      </p:sp>
      <p:sp>
        <p:nvSpPr>
          <p:cNvPr id="540" name="Rectangle: Rounded Corners 539">
            <a:extLst>
              <a:ext uri="{FF2B5EF4-FFF2-40B4-BE49-F238E27FC236}">
                <a16:creationId xmlns:a16="http://schemas.microsoft.com/office/drawing/2014/main" id="{7CEEDF20-54B0-48DB-0CEE-09CE0011B93F}"/>
              </a:ext>
            </a:extLst>
          </p:cNvPr>
          <p:cNvSpPr/>
          <p:nvPr/>
        </p:nvSpPr>
        <p:spPr>
          <a:xfrm>
            <a:off x="5797944" y="5831752"/>
            <a:ext cx="1841963" cy="421660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  <a:t>Sequencing after</a:t>
            </a:r>
            <a:b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  <a:t> 2L failure</a:t>
            </a:r>
          </a:p>
        </p:txBody>
      </p:sp>
      <p:sp>
        <p:nvSpPr>
          <p:cNvPr id="543" name="Rectangle: Rounded Corners 542">
            <a:extLst>
              <a:ext uri="{FF2B5EF4-FFF2-40B4-BE49-F238E27FC236}">
                <a16:creationId xmlns:a16="http://schemas.microsoft.com/office/drawing/2014/main" id="{A610AA71-7727-DDE5-01D4-27BDF949FF16}"/>
              </a:ext>
            </a:extLst>
          </p:cNvPr>
          <p:cNvSpPr/>
          <p:nvPr/>
        </p:nvSpPr>
        <p:spPr>
          <a:xfrm>
            <a:off x="6356419" y="1812202"/>
            <a:ext cx="1258087" cy="421660"/>
          </a:xfrm>
          <a:prstGeom prst="roundRect">
            <a:avLst/>
          </a:prstGeom>
          <a:solidFill>
            <a:srgbClr val="F79B7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  <a:t>Disease biology</a:t>
            </a:r>
          </a:p>
        </p:txBody>
      </p:sp>
      <p:sp>
        <p:nvSpPr>
          <p:cNvPr id="544" name="Rectangle: Rounded Corners 543">
            <a:extLst>
              <a:ext uri="{FF2B5EF4-FFF2-40B4-BE49-F238E27FC236}">
                <a16:creationId xmlns:a16="http://schemas.microsoft.com/office/drawing/2014/main" id="{58131F51-116B-03D9-83AB-171C82B84B35}"/>
              </a:ext>
            </a:extLst>
          </p:cNvPr>
          <p:cNvSpPr/>
          <p:nvPr/>
        </p:nvSpPr>
        <p:spPr>
          <a:xfrm>
            <a:off x="5083877" y="1812202"/>
            <a:ext cx="1258087" cy="421660"/>
          </a:xfrm>
          <a:prstGeom prst="roundRect">
            <a:avLst/>
          </a:prstGeom>
          <a:solidFill>
            <a:srgbClr val="F79B7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  <a:t>Antigen expression</a:t>
            </a:r>
          </a:p>
        </p:txBody>
      </p:sp>
      <p:sp>
        <p:nvSpPr>
          <p:cNvPr id="545" name="Rectangle: Rounded Corners 544">
            <a:extLst>
              <a:ext uri="{FF2B5EF4-FFF2-40B4-BE49-F238E27FC236}">
                <a16:creationId xmlns:a16="http://schemas.microsoft.com/office/drawing/2014/main" id="{88F3648C-CC2C-C4A3-C09E-C25F4FB7A665}"/>
              </a:ext>
            </a:extLst>
          </p:cNvPr>
          <p:cNvSpPr/>
          <p:nvPr/>
        </p:nvSpPr>
        <p:spPr>
          <a:xfrm>
            <a:off x="8901503" y="1812202"/>
            <a:ext cx="1258087" cy="421660"/>
          </a:xfrm>
          <a:prstGeom prst="roundRect">
            <a:avLst/>
          </a:prstGeom>
          <a:solidFill>
            <a:srgbClr val="F79B7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  <a:t>Biomarkers</a:t>
            </a:r>
          </a:p>
        </p:txBody>
      </p:sp>
      <p:sp>
        <p:nvSpPr>
          <p:cNvPr id="546" name="Rectangle: Rounded Corners 545">
            <a:extLst>
              <a:ext uri="{FF2B5EF4-FFF2-40B4-BE49-F238E27FC236}">
                <a16:creationId xmlns:a16="http://schemas.microsoft.com/office/drawing/2014/main" id="{3A0ED78F-C714-8F2A-A4DF-18DF0F5E9E1D}"/>
              </a:ext>
            </a:extLst>
          </p:cNvPr>
          <p:cNvSpPr/>
          <p:nvPr/>
        </p:nvSpPr>
        <p:spPr>
          <a:xfrm>
            <a:off x="3811335" y="1818070"/>
            <a:ext cx="1258087" cy="421660"/>
          </a:xfrm>
          <a:prstGeom prst="roundRect">
            <a:avLst/>
          </a:prstGeom>
          <a:solidFill>
            <a:srgbClr val="F79B7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  <a:t>Immune environment</a:t>
            </a:r>
          </a:p>
        </p:txBody>
      </p:sp>
      <p:sp>
        <p:nvSpPr>
          <p:cNvPr id="547" name="Rectangle: Rounded Corners 546">
            <a:extLst>
              <a:ext uri="{FF2B5EF4-FFF2-40B4-BE49-F238E27FC236}">
                <a16:creationId xmlns:a16="http://schemas.microsoft.com/office/drawing/2014/main" id="{025A539B-7242-B70A-92A5-850900B8B95E}"/>
              </a:ext>
            </a:extLst>
          </p:cNvPr>
          <p:cNvSpPr/>
          <p:nvPr/>
        </p:nvSpPr>
        <p:spPr>
          <a:xfrm>
            <a:off x="7628961" y="1812202"/>
            <a:ext cx="1258087" cy="421660"/>
          </a:xfrm>
          <a:prstGeom prst="roundRect">
            <a:avLst/>
          </a:prstGeom>
          <a:solidFill>
            <a:srgbClr val="F79B7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  <a:t>Clinical presentation</a:t>
            </a:r>
          </a:p>
        </p:txBody>
      </p:sp>
      <p:sp>
        <p:nvSpPr>
          <p:cNvPr id="553" name="TextBox 552">
            <a:extLst>
              <a:ext uri="{FF2B5EF4-FFF2-40B4-BE49-F238E27FC236}">
                <a16:creationId xmlns:a16="http://schemas.microsoft.com/office/drawing/2014/main" id="{2BC0EED5-E1D1-ACF7-BC04-C3D2D25C464E}"/>
              </a:ext>
            </a:extLst>
          </p:cNvPr>
          <p:cNvSpPr txBox="1"/>
          <p:nvPr/>
        </p:nvSpPr>
        <p:spPr>
          <a:xfrm>
            <a:off x="372857" y="2300964"/>
            <a:ext cx="2840243" cy="363601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rtlCol="0" anchor="t" anchorCtr="0">
            <a:noAutofit/>
          </a:bodyPr>
          <a:lstStyle>
            <a:defPPr>
              <a:defRPr lang="en-GB"/>
            </a:defPPr>
            <a:lvl1pPr algn="ctr">
              <a:defRPr sz="1600" b="1">
                <a:solidFill>
                  <a:schemeClr val="tx2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atient-related factors</a:t>
            </a:r>
          </a:p>
        </p:txBody>
      </p:sp>
      <p:sp>
        <p:nvSpPr>
          <p:cNvPr id="554" name="Rectangle: Rounded Corners 553">
            <a:extLst>
              <a:ext uri="{FF2B5EF4-FFF2-40B4-BE49-F238E27FC236}">
                <a16:creationId xmlns:a16="http://schemas.microsoft.com/office/drawing/2014/main" id="{C4243F02-3B6A-E22E-67C0-6CA580680C83}"/>
              </a:ext>
            </a:extLst>
          </p:cNvPr>
          <p:cNvSpPr/>
          <p:nvPr/>
        </p:nvSpPr>
        <p:spPr>
          <a:xfrm>
            <a:off x="293257" y="3256859"/>
            <a:ext cx="1522285" cy="421660"/>
          </a:xfrm>
          <a:prstGeom prst="roundRect">
            <a:avLst/>
          </a:prstGeom>
          <a:solidFill>
            <a:srgbClr val="DDE5E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  <a:t>Age, fitness, ECOG PS</a:t>
            </a:r>
          </a:p>
        </p:txBody>
      </p:sp>
      <p:sp>
        <p:nvSpPr>
          <p:cNvPr id="555" name="Rectangle: Rounded Corners 554">
            <a:extLst>
              <a:ext uri="{FF2B5EF4-FFF2-40B4-BE49-F238E27FC236}">
                <a16:creationId xmlns:a16="http://schemas.microsoft.com/office/drawing/2014/main" id="{9C09AEE7-11F9-DFA8-88D2-4D28567DA18C}"/>
              </a:ext>
            </a:extLst>
          </p:cNvPr>
          <p:cNvSpPr/>
          <p:nvPr/>
        </p:nvSpPr>
        <p:spPr>
          <a:xfrm>
            <a:off x="293257" y="2767480"/>
            <a:ext cx="1522285" cy="421660"/>
          </a:xfrm>
          <a:prstGeom prst="roundRect">
            <a:avLst/>
          </a:prstGeom>
          <a:solidFill>
            <a:srgbClr val="DDE5E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  <a:t>Comorbidities</a:t>
            </a:r>
          </a:p>
        </p:txBody>
      </p:sp>
      <p:sp>
        <p:nvSpPr>
          <p:cNvPr id="556" name="Rectangle: Rounded Corners 555">
            <a:extLst>
              <a:ext uri="{FF2B5EF4-FFF2-40B4-BE49-F238E27FC236}">
                <a16:creationId xmlns:a16="http://schemas.microsoft.com/office/drawing/2014/main" id="{36CBE785-3DA9-1660-8039-9AC30F13ACE2}"/>
              </a:ext>
            </a:extLst>
          </p:cNvPr>
          <p:cNvSpPr/>
          <p:nvPr/>
        </p:nvSpPr>
        <p:spPr>
          <a:xfrm>
            <a:off x="1847020" y="3256859"/>
            <a:ext cx="1522285" cy="421660"/>
          </a:xfrm>
          <a:prstGeom prst="roundRect">
            <a:avLst/>
          </a:prstGeom>
          <a:solidFill>
            <a:srgbClr val="DDE5E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  <a:t>Socioeconomic factors</a:t>
            </a:r>
          </a:p>
        </p:txBody>
      </p:sp>
      <p:sp>
        <p:nvSpPr>
          <p:cNvPr id="557" name="Rectangle: Rounded Corners 556">
            <a:extLst>
              <a:ext uri="{FF2B5EF4-FFF2-40B4-BE49-F238E27FC236}">
                <a16:creationId xmlns:a16="http://schemas.microsoft.com/office/drawing/2014/main" id="{07C79ECB-3D48-AAD5-F58C-212C546B672B}"/>
              </a:ext>
            </a:extLst>
          </p:cNvPr>
          <p:cNvSpPr/>
          <p:nvPr/>
        </p:nvSpPr>
        <p:spPr>
          <a:xfrm>
            <a:off x="1847020" y="2754778"/>
            <a:ext cx="1522285" cy="421660"/>
          </a:xfrm>
          <a:prstGeom prst="roundRect">
            <a:avLst/>
          </a:prstGeom>
          <a:solidFill>
            <a:srgbClr val="DDE5E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  <a:t>Patient preference</a:t>
            </a:r>
          </a:p>
        </p:txBody>
      </p:sp>
      <p:grpSp>
        <p:nvGrpSpPr>
          <p:cNvPr id="608" name="Group 607">
            <a:extLst>
              <a:ext uri="{FF2B5EF4-FFF2-40B4-BE49-F238E27FC236}">
                <a16:creationId xmlns:a16="http://schemas.microsoft.com/office/drawing/2014/main" id="{572383EB-918E-B13C-79F5-8472B6890BB2}"/>
              </a:ext>
            </a:extLst>
          </p:cNvPr>
          <p:cNvGrpSpPr/>
          <p:nvPr/>
        </p:nvGrpSpPr>
        <p:grpSpPr>
          <a:xfrm>
            <a:off x="6754187" y="2530608"/>
            <a:ext cx="968436" cy="984390"/>
            <a:chOff x="8243626" y="2436763"/>
            <a:chExt cx="880396" cy="894900"/>
          </a:xfrm>
        </p:grpSpPr>
        <p:sp>
          <p:nvSpPr>
            <p:cNvPr id="609" name="Oval 608">
              <a:extLst>
                <a:ext uri="{FF2B5EF4-FFF2-40B4-BE49-F238E27FC236}">
                  <a16:creationId xmlns:a16="http://schemas.microsoft.com/office/drawing/2014/main" id="{755CA0EC-F8E2-D8CF-441A-6E6A24B6B308}"/>
                </a:ext>
              </a:extLst>
            </p:cNvPr>
            <p:cNvSpPr/>
            <p:nvPr/>
          </p:nvSpPr>
          <p:spPr>
            <a:xfrm>
              <a:off x="8329605" y="3184043"/>
              <a:ext cx="656485" cy="147620"/>
            </a:xfrm>
            <a:prstGeom prst="ellipse">
              <a:avLst/>
            </a:prstGeom>
            <a:solidFill>
              <a:schemeClr val="tx1">
                <a:alpha val="5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610" name="Free-form: Shape 609">
              <a:extLst>
                <a:ext uri="{FF2B5EF4-FFF2-40B4-BE49-F238E27FC236}">
                  <a16:creationId xmlns:a16="http://schemas.microsoft.com/office/drawing/2014/main" id="{923E1F7B-A3D2-02BE-318A-982CB7E2AD97}"/>
                </a:ext>
              </a:extLst>
            </p:cNvPr>
            <p:cNvSpPr/>
            <p:nvPr/>
          </p:nvSpPr>
          <p:spPr>
            <a:xfrm>
              <a:off x="8243626" y="2436763"/>
              <a:ext cx="880396" cy="841622"/>
            </a:xfrm>
            <a:custGeom>
              <a:avLst/>
              <a:gdLst>
                <a:gd name="csX0" fmla="*/ 401579 w 1609516"/>
                <a:gd name="csY0" fmla="*/ 1495809 h 1538630"/>
                <a:gd name="csX1" fmla="*/ 400190 w 1609516"/>
                <a:gd name="csY1" fmla="*/ 1496004 h 1538630"/>
                <a:gd name="csX2" fmla="*/ 401224 w 1609516"/>
                <a:gd name="csY2" fmla="*/ 1496470 h 1538630"/>
                <a:gd name="csX3" fmla="*/ 401224 w 1609516"/>
                <a:gd name="csY3" fmla="*/ 1498590 h 1538630"/>
                <a:gd name="csX4" fmla="*/ 401579 w 1609516"/>
                <a:gd name="csY4" fmla="*/ 1498628 h 1538630"/>
                <a:gd name="csX5" fmla="*/ 401579 w 1609516"/>
                <a:gd name="csY5" fmla="*/ 1495809 h 1538630"/>
                <a:gd name="csX6" fmla="*/ 368755 w 1609516"/>
                <a:gd name="csY6" fmla="*/ 1486512 h 1538630"/>
                <a:gd name="csX7" fmla="*/ 364089 w 1609516"/>
                <a:gd name="csY7" fmla="*/ 1487354 h 1538630"/>
                <a:gd name="csX8" fmla="*/ 364089 w 1609516"/>
                <a:gd name="csY8" fmla="*/ 1487908 h 1538630"/>
                <a:gd name="csX9" fmla="*/ 1049801 w 1609516"/>
                <a:gd name="csY9" fmla="*/ 1484562 h 1538630"/>
                <a:gd name="csX10" fmla="*/ 1046735 w 1609516"/>
                <a:gd name="csY10" fmla="*/ 1485945 h 1538630"/>
                <a:gd name="csX11" fmla="*/ 1046955 w 1609516"/>
                <a:gd name="csY11" fmla="*/ 1486045 h 1538630"/>
                <a:gd name="csX12" fmla="*/ 1049801 w 1609516"/>
                <a:gd name="csY12" fmla="*/ 1485188 h 1538630"/>
                <a:gd name="csX13" fmla="*/ 351234 w 1609516"/>
                <a:gd name="csY13" fmla="*/ 1444508 h 1538630"/>
                <a:gd name="csX14" fmla="*/ 351234 w 1609516"/>
                <a:gd name="csY14" fmla="*/ 1444997 h 1538630"/>
                <a:gd name="csX15" fmla="*/ 351592 w 1609516"/>
                <a:gd name="csY15" fmla="*/ 1445078 h 1538630"/>
                <a:gd name="csX16" fmla="*/ 351908 w 1609516"/>
                <a:gd name="csY16" fmla="*/ 1431206 h 1538630"/>
                <a:gd name="csX17" fmla="*/ 351234 w 1609516"/>
                <a:gd name="csY17" fmla="*/ 1431611 h 1538630"/>
                <a:gd name="csX18" fmla="*/ 351234 w 1609516"/>
                <a:gd name="csY18" fmla="*/ 1432274 h 1538630"/>
                <a:gd name="csX19" fmla="*/ 358162 w 1609516"/>
                <a:gd name="csY19" fmla="*/ 1421494 h 1538630"/>
                <a:gd name="csX20" fmla="*/ 355921 w 1609516"/>
                <a:gd name="csY20" fmla="*/ 1423156 h 1538630"/>
                <a:gd name="csX21" fmla="*/ 355921 w 1609516"/>
                <a:gd name="csY21" fmla="*/ 1423548 h 1538630"/>
                <a:gd name="csX22" fmla="*/ 376098 w 1609516"/>
                <a:gd name="csY22" fmla="*/ 1408347 h 1538630"/>
                <a:gd name="csX23" fmla="*/ 370750 w 1609516"/>
                <a:gd name="csY23" fmla="*/ 1412245 h 1538630"/>
                <a:gd name="csX24" fmla="*/ 375023 w 1609516"/>
                <a:gd name="csY24" fmla="*/ 1411256 h 1538630"/>
                <a:gd name="csX25" fmla="*/ 421956 w 1609516"/>
                <a:gd name="csY25" fmla="*/ 1365623 h 1538630"/>
                <a:gd name="csX26" fmla="*/ 421765 w 1609516"/>
                <a:gd name="csY26" fmla="*/ 1366161 h 1538630"/>
                <a:gd name="csX27" fmla="*/ 421887 w 1609516"/>
                <a:gd name="csY27" fmla="*/ 1366161 h 1538630"/>
                <a:gd name="csX28" fmla="*/ 754553 w 1609516"/>
                <a:gd name="csY28" fmla="*/ 1360575 h 1538630"/>
                <a:gd name="csX29" fmla="*/ 754089 w 1609516"/>
                <a:gd name="csY29" fmla="*/ 1361433 h 1538630"/>
                <a:gd name="csX30" fmla="*/ 754431 w 1609516"/>
                <a:gd name="csY30" fmla="*/ 1361125 h 1538630"/>
                <a:gd name="csX31" fmla="*/ 1277973 w 1609516"/>
                <a:gd name="csY31" fmla="*/ 1332923 h 1538630"/>
                <a:gd name="csX32" fmla="*/ 1277944 w 1609516"/>
                <a:gd name="csY32" fmla="*/ 1332936 h 1538630"/>
                <a:gd name="csX33" fmla="*/ 1277949 w 1609516"/>
                <a:gd name="csY33" fmla="*/ 1333139 h 1538630"/>
                <a:gd name="csX34" fmla="*/ 1268556 w 1609516"/>
                <a:gd name="csY34" fmla="*/ 1321066 h 1538630"/>
                <a:gd name="csX35" fmla="*/ 1268556 w 1609516"/>
                <a:gd name="csY35" fmla="*/ 1325294 h 1538630"/>
                <a:gd name="csX36" fmla="*/ 1265432 w 1609516"/>
                <a:gd name="csY36" fmla="*/ 1325294 h 1538630"/>
                <a:gd name="csX37" fmla="*/ 1265432 w 1609516"/>
                <a:gd name="csY37" fmla="*/ 1340795 h 1538630"/>
                <a:gd name="csX38" fmla="*/ 1265476 w 1609516"/>
                <a:gd name="csY38" fmla="*/ 1340714 h 1538630"/>
                <a:gd name="csX39" fmla="*/ 1265476 w 1609516"/>
                <a:gd name="csY39" fmla="*/ 1325877 h 1538630"/>
                <a:gd name="csX40" fmla="*/ 1268600 w 1609516"/>
                <a:gd name="csY40" fmla="*/ 1325877 h 1538630"/>
                <a:gd name="csX41" fmla="*/ 1268600 w 1609516"/>
                <a:gd name="csY41" fmla="*/ 1321649 h 1538630"/>
                <a:gd name="csX42" fmla="*/ 1273286 w 1609516"/>
                <a:gd name="csY42" fmla="*/ 1321649 h 1538630"/>
                <a:gd name="csX43" fmla="*/ 1273227 w 1609516"/>
                <a:gd name="csY43" fmla="*/ 1321066 h 1538630"/>
                <a:gd name="csX44" fmla="*/ 827891 w 1609516"/>
                <a:gd name="csY44" fmla="*/ 1291474 h 1538630"/>
                <a:gd name="csX45" fmla="*/ 822601 w 1609516"/>
                <a:gd name="csY45" fmla="*/ 1291544 h 1538630"/>
                <a:gd name="csX46" fmla="*/ 818272 w 1609516"/>
                <a:gd name="csY46" fmla="*/ 1292220 h 1538630"/>
                <a:gd name="csX47" fmla="*/ 827891 w 1609516"/>
                <a:gd name="csY47" fmla="*/ 1292047 h 1538630"/>
                <a:gd name="csX48" fmla="*/ 856397 w 1609516"/>
                <a:gd name="csY48" fmla="*/ 1288691 h 1538630"/>
                <a:gd name="csX49" fmla="*/ 865903 w 1609516"/>
                <a:gd name="csY49" fmla="*/ 1290590 h 1538630"/>
                <a:gd name="csX50" fmla="*/ 859999 w 1609516"/>
                <a:gd name="csY50" fmla="*/ 1288752 h 1538630"/>
                <a:gd name="csX51" fmla="*/ 834694 w 1609516"/>
                <a:gd name="csY51" fmla="*/ 1288572 h 1538630"/>
                <a:gd name="csX52" fmla="*/ 828038 w 1609516"/>
                <a:gd name="csY52" fmla="*/ 1288654 h 1538630"/>
                <a:gd name="csX53" fmla="*/ 828038 w 1609516"/>
                <a:gd name="csY53" fmla="*/ 1289214 h 1538630"/>
                <a:gd name="csX54" fmla="*/ 229746 w 1609516"/>
                <a:gd name="csY54" fmla="*/ 1191418 h 1538630"/>
                <a:gd name="csX55" fmla="*/ 227402 w 1609516"/>
                <a:gd name="csY55" fmla="*/ 1191947 h 1538630"/>
                <a:gd name="csX56" fmla="*/ 229315 w 1609516"/>
                <a:gd name="csY56" fmla="*/ 1191947 h 1538630"/>
                <a:gd name="csX57" fmla="*/ 229315 w 1609516"/>
                <a:gd name="csY57" fmla="*/ 1194765 h 1538630"/>
                <a:gd name="csX58" fmla="*/ 231321 w 1609516"/>
                <a:gd name="csY58" fmla="*/ 1194765 h 1538630"/>
                <a:gd name="csX59" fmla="*/ 229746 w 1609516"/>
                <a:gd name="csY59" fmla="*/ 1194236 h 1538630"/>
                <a:gd name="csX60" fmla="*/ 229746 w 1609516"/>
                <a:gd name="csY60" fmla="*/ 1191418 h 1538630"/>
                <a:gd name="csX61" fmla="*/ 215687 w 1609516"/>
                <a:gd name="csY61" fmla="*/ 1187190 h 1538630"/>
                <a:gd name="csX62" fmla="*/ 215198 w 1609516"/>
                <a:gd name="csY62" fmla="*/ 1187720 h 1538630"/>
                <a:gd name="csX63" fmla="*/ 215256 w 1609516"/>
                <a:gd name="csY63" fmla="*/ 1187720 h 1538630"/>
                <a:gd name="csX64" fmla="*/ 215256 w 1609516"/>
                <a:gd name="csY64" fmla="*/ 1191947 h 1538630"/>
                <a:gd name="csX65" fmla="*/ 222721 w 1609516"/>
                <a:gd name="csY65" fmla="*/ 1191947 h 1538630"/>
                <a:gd name="csX66" fmla="*/ 215687 w 1609516"/>
                <a:gd name="csY66" fmla="*/ 1191418 h 1538630"/>
                <a:gd name="csX67" fmla="*/ 215687 w 1609516"/>
                <a:gd name="csY67" fmla="*/ 1187190 h 1538630"/>
                <a:gd name="csX68" fmla="*/ 1279678 w 1609516"/>
                <a:gd name="csY68" fmla="*/ 1082356 h 1538630"/>
                <a:gd name="csX69" fmla="*/ 1271680 w 1609516"/>
                <a:gd name="csY69" fmla="*/ 1084589 h 1538630"/>
                <a:gd name="csX70" fmla="*/ 1282181 w 1609516"/>
                <a:gd name="csY70" fmla="*/ 1082544 h 1538630"/>
                <a:gd name="csX71" fmla="*/ 117703 w 1609516"/>
                <a:gd name="csY71" fmla="*/ 941507 h 1538630"/>
                <a:gd name="csX72" fmla="*/ 112587 w 1609516"/>
                <a:gd name="csY72" fmla="*/ 941985 h 1538630"/>
                <a:gd name="csX73" fmla="*/ 112565 w 1609516"/>
                <a:gd name="csY73" fmla="*/ 942333 h 1538630"/>
                <a:gd name="csX74" fmla="*/ 115665 w 1609516"/>
                <a:gd name="csY74" fmla="*/ 941837 h 1538630"/>
                <a:gd name="csX75" fmla="*/ 144268 w 1609516"/>
                <a:gd name="csY75" fmla="*/ 939395 h 1538630"/>
                <a:gd name="csX76" fmla="*/ 143354 w 1609516"/>
                <a:gd name="csY76" fmla="*/ 939580 h 1538630"/>
                <a:gd name="csX77" fmla="*/ 144077 w 1609516"/>
                <a:gd name="csY77" fmla="*/ 939739 h 1538630"/>
                <a:gd name="csX78" fmla="*/ 162575 w 1609516"/>
                <a:gd name="csY78" fmla="*/ 933530 h 1538630"/>
                <a:gd name="csX79" fmla="*/ 161704 w 1609516"/>
                <a:gd name="csY79" fmla="*/ 935101 h 1538630"/>
                <a:gd name="csX80" fmla="*/ 170045 w 1609516"/>
                <a:gd name="csY80" fmla="*/ 933585 h 1538630"/>
                <a:gd name="csX81" fmla="*/ 1321645 w 1609516"/>
                <a:gd name="csY81" fmla="*/ 918415 h 1538630"/>
                <a:gd name="csX82" fmla="*/ 1321534 w 1609516"/>
                <a:gd name="csY82" fmla="*/ 920177 h 1538630"/>
                <a:gd name="csX83" fmla="*/ 1321740 w 1609516"/>
                <a:gd name="csY83" fmla="*/ 918415 h 1538630"/>
                <a:gd name="csX84" fmla="*/ 1319333 w 1609516"/>
                <a:gd name="csY84" fmla="*/ 915183 h 1538630"/>
                <a:gd name="csX85" fmla="*/ 1318544 w 1609516"/>
                <a:gd name="csY85" fmla="*/ 918029 h 1538630"/>
                <a:gd name="csX86" fmla="*/ 1318702 w 1609516"/>
                <a:gd name="csY86" fmla="*/ 918029 h 1538630"/>
                <a:gd name="csX87" fmla="*/ 1326355 w 1609516"/>
                <a:gd name="csY87" fmla="*/ 907109 h 1538630"/>
                <a:gd name="csX88" fmla="*/ 1326355 w 1609516"/>
                <a:gd name="csY88" fmla="*/ 910983 h 1538630"/>
                <a:gd name="csX89" fmla="*/ 1325831 w 1609516"/>
                <a:gd name="csY89" fmla="*/ 911101 h 1538630"/>
                <a:gd name="csX90" fmla="*/ 1326426 w 1609516"/>
                <a:gd name="csY90" fmla="*/ 911369 h 1538630"/>
                <a:gd name="csX91" fmla="*/ 1326426 w 1609516"/>
                <a:gd name="csY91" fmla="*/ 907141 h 1538630"/>
                <a:gd name="csX92" fmla="*/ 1328144 w 1609516"/>
                <a:gd name="csY92" fmla="*/ 892192 h 1538630"/>
                <a:gd name="csX93" fmla="*/ 1327667 w 1609516"/>
                <a:gd name="csY93" fmla="*/ 893446 h 1538630"/>
                <a:gd name="csX94" fmla="*/ 1327989 w 1609516"/>
                <a:gd name="csY94" fmla="*/ 893049 h 1538630"/>
                <a:gd name="csX95" fmla="*/ 49605 w 1609516"/>
                <a:gd name="csY95" fmla="*/ 887420 h 1538630"/>
                <a:gd name="csX96" fmla="*/ 48549 w 1609516"/>
                <a:gd name="csY96" fmla="*/ 891229 h 1538630"/>
                <a:gd name="csX97" fmla="*/ 49956 w 1609516"/>
                <a:gd name="csY97" fmla="*/ 887420 h 1538630"/>
                <a:gd name="csX98" fmla="*/ 1332266 w 1609516"/>
                <a:gd name="csY98" fmla="*/ 883369 h 1538630"/>
                <a:gd name="csX99" fmla="*/ 1329479 w 1609516"/>
                <a:gd name="csY99" fmla="*/ 884207 h 1538630"/>
                <a:gd name="csX100" fmla="*/ 1329509 w 1609516"/>
                <a:gd name="csY100" fmla="*/ 884816 h 1538630"/>
                <a:gd name="csX101" fmla="*/ 1329551 w 1609516"/>
                <a:gd name="csY101" fmla="*/ 884594 h 1538630"/>
                <a:gd name="csX102" fmla="*/ 1555987 w 1609516"/>
                <a:gd name="csY102" fmla="*/ 821766 h 1538630"/>
                <a:gd name="csX103" fmla="*/ 1555987 w 1609516"/>
                <a:gd name="csY103" fmla="*/ 822201 h 1538630"/>
                <a:gd name="csX104" fmla="*/ 1556081 w 1609516"/>
                <a:gd name="csY104" fmla="*/ 822189 h 1538630"/>
                <a:gd name="csX105" fmla="*/ 1565360 w 1609516"/>
                <a:gd name="csY105" fmla="*/ 810928 h 1538630"/>
                <a:gd name="csX106" fmla="*/ 1564871 w 1609516"/>
                <a:gd name="csY106" fmla="*/ 811809 h 1538630"/>
                <a:gd name="csX107" fmla="*/ 1567314 w 1609516"/>
                <a:gd name="csY107" fmla="*/ 810928 h 1538630"/>
                <a:gd name="csX108" fmla="*/ 1563797 w 1609516"/>
                <a:gd name="csY108" fmla="*/ 810928 h 1538630"/>
                <a:gd name="csX109" fmla="*/ 1556762 w 1609516"/>
                <a:gd name="csY109" fmla="*/ 814736 h 1538630"/>
                <a:gd name="csX110" fmla="*/ 1563797 w 1609516"/>
                <a:gd name="csY110" fmla="*/ 812197 h 1538630"/>
                <a:gd name="csX111" fmla="*/ 265833 w 1609516"/>
                <a:gd name="csY111" fmla="*/ 806020 h 1538630"/>
                <a:gd name="csX112" fmla="*/ 263704 w 1609516"/>
                <a:gd name="csY112" fmla="*/ 809861 h 1538630"/>
                <a:gd name="csX113" fmla="*/ 263704 w 1609516"/>
                <a:gd name="csY113" fmla="*/ 816750 h 1538630"/>
                <a:gd name="csX114" fmla="*/ 264113 w 1609516"/>
                <a:gd name="csY114" fmla="*/ 816565 h 1538630"/>
                <a:gd name="csX115" fmla="*/ 263918 w 1609516"/>
                <a:gd name="csY115" fmla="*/ 812777 h 1538630"/>
                <a:gd name="csX116" fmla="*/ 263774 w 1609516"/>
                <a:gd name="csY116" fmla="*/ 779374 h 1538630"/>
                <a:gd name="csX117" fmla="*/ 263704 w 1609516"/>
                <a:gd name="csY117" fmla="*/ 783086 h 1538630"/>
                <a:gd name="csX118" fmla="*/ 264484 w 1609516"/>
                <a:gd name="csY118" fmla="*/ 785816 h 1538630"/>
                <a:gd name="csX119" fmla="*/ 265265 w 1609516"/>
                <a:gd name="csY119" fmla="*/ 794448 h 1538630"/>
                <a:gd name="csX120" fmla="*/ 265217 w 1609516"/>
                <a:gd name="csY120" fmla="*/ 799730 h 1538630"/>
                <a:gd name="csX121" fmla="*/ 266556 w 1609516"/>
                <a:gd name="csY121" fmla="*/ 803466 h 1538630"/>
                <a:gd name="csX122" fmla="*/ 267237 w 1609516"/>
                <a:gd name="csY122" fmla="*/ 801063 h 1538630"/>
                <a:gd name="csX123" fmla="*/ 265675 w 1609516"/>
                <a:gd name="csY123" fmla="*/ 799654 h 1538630"/>
                <a:gd name="csX124" fmla="*/ 265675 w 1609516"/>
                <a:gd name="csY124" fmla="*/ 793841 h 1538630"/>
                <a:gd name="csX125" fmla="*/ 260988 w 1609516"/>
                <a:gd name="csY125" fmla="*/ 770061 h 1538630"/>
                <a:gd name="csX126" fmla="*/ 260988 w 1609516"/>
                <a:gd name="csY126" fmla="*/ 771364 h 1538630"/>
                <a:gd name="csX127" fmla="*/ 263497 w 1609516"/>
                <a:gd name="csY127" fmla="*/ 777263 h 1538630"/>
                <a:gd name="csX128" fmla="*/ 262551 w 1609516"/>
                <a:gd name="csY128" fmla="*/ 770061 h 1538630"/>
                <a:gd name="csX129" fmla="*/ 260988 w 1609516"/>
                <a:gd name="csY129" fmla="*/ 770061 h 1538630"/>
                <a:gd name="csX130" fmla="*/ 157888 w 1609516"/>
                <a:gd name="csY130" fmla="*/ 651686 h 1538630"/>
                <a:gd name="csX131" fmla="*/ 157415 w 1609516"/>
                <a:gd name="csY131" fmla="*/ 651764 h 1538630"/>
                <a:gd name="csX132" fmla="*/ 160373 w 1609516"/>
                <a:gd name="csY132" fmla="*/ 652274 h 1538630"/>
                <a:gd name="csX133" fmla="*/ 267237 w 1609516"/>
                <a:gd name="csY133" fmla="*/ 426537 h 1538630"/>
                <a:gd name="csX134" fmla="*/ 267237 w 1609516"/>
                <a:gd name="csY134" fmla="*/ 427619 h 1538630"/>
                <a:gd name="csX135" fmla="*/ 270380 w 1609516"/>
                <a:gd name="csY135" fmla="*/ 428137 h 1538630"/>
                <a:gd name="csX136" fmla="*/ 273548 w 1609516"/>
                <a:gd name="csY136" fmla="*/ 428680 h 1538630"/>
                <a:gd name="csX137" fmla="*/ 37605 w 1609516"/>
                <a:gd name="csY137" fmla="*/ 359270 h 1538630"/>
                <a:gd name="csX138" fmla="*/ 37103 w 1609516"/>
                <a:gd name="csY138" fmla="*/ 361533 h 1538630"/>
                <a:gd name="csX139" fmla="*/ 37605 w 1609516"/>
                <a:gd name="csY139" fmla="*/ 361382 h 1538630"/>
                <a:gd name="csX140" fmla="*/ 52477 w 1609516"/>
                <a:gd name="csY140" fmla="*/ 337570 h 1538630"/>
                <a:gd name="csX141" fmla="*/ 47288 w 1609516"/>
                <a:gd name="csY141" fmla="*/ 342340 h 1538630"/>
                <a:gd name="csX142" fmla="*/ 45805 w 1609516"/>
                <a:gd name="csY142" fmla="*/ 345093 h 1538630"/>
                <a:gd name="csX143" fmla="*/ 104291 w 1609516"/>
                <a:gd name="csY143" fmla="*/ 336166 h 1538630"/>
                <a:gd name="csX144" fmla="*/ 103776 w 1609516"/>
                <a:gd name="csY144" fmla="*/ 337559 h 1538630"/>
                <a:gd name="csX145" fmla="*/ 108925 w 1609516"/>
                <a:gd name="csY145" fmla="*/ 336166 h 1538630"/>
                <a:gd name="csX146" fmla="*/ 1309237 w 1609516"/>
                <a:gd name="csY146" fmla="*/ 322954 h 1538630"/>
                <a:gd name="csX147" fmla="*/ 1309180 w 1609516"/>
                <a:gd name="csY147" fmla="*/ 330559 h 1538630"/>
                <a:gd name="csX148" fmla="*/ 1309237 w 1609516"/>
                <a:gd name="csY148" fmla="*/ 330520 h 1538630"/>
                <a:gd name="csX149" fmla="*/ 1308964 w 1609516"/>
                <a:gd name="csY149" fmla="*/ 317715 h 1538630"/>
                <a:gd name="csX150" fmla="*/ 1309237 w 1609516"/>
                <a:gd name="csY150" fmla="*/ 318569 h 1538630"/>
                <a:gd name="csX151" fmla="*/ 1309237 w 1609516"/>
                <a:gd name="csY151" fmla="*/ 317838 h 1538630"/>
                <a:gd name="csX152" fmla="*/ 1310087 w 1609516"/>
                <a:gd name="csY152" fmla="*/ 313153 h 1538630"/>
                <a:gd name="csX153" fmla="*/ 1307609 w 1609516"/>
                <a:gd name="csY153" fmla="*/ 313473 h 1538630"/>
                <a:gd name="csX154" fmla="*/ 1308045 w 1609516"/>
                <a:gd name="csY154" fmla="*/ 314836 h 1538630"/>
                <a:gd name="csX155" fmla="*/ 1318544 w 1609516"/>
                <a:gd name="csY155" fmla="*/ 312064 h 1538630"/>
                <a:gd name="csX156" fmla="*/ 1316298 w 1609516"/>
                <a:gd name="csY156" fmla="*/ 312353 h 1538630"/>
                <a:gd name="csX157" fmla="*/ 1318544 w 1609516"/>
                <a:gd name="csY157" fmla="*/ 312205 h 1538630"/>
                <a:gd name="csX158" fmla="*/ 1084622 w 1609516"/>
                <a:gd name="csY158" fmla="*/ 267674 h 1538630"/>
                <a:gd name="csX159" fmla="*/ 1084227 w 1609516"/>
                <a:gd name="csY159" fmla="*/ 268378 h 1538630"/>
                <a:gd name="csX160" fmla="*/ 1079540 w 1609516"/>
                <a:gd name="csY160" fmla="*/ 268378 h 1538630"/>
                <a:gd name="csX161" fmla="*/ 1079603 w 1609516"/>
                <a:gd name="csY161" fmla="*/ 268477 h 1538630"/>
                <a:gd name="csX162" fmla="*/ 1084192 w 1609516"/>
                <a:gd name="csY162" fmla="*/ 268477 h 1538630"/>
                <a:gd name="csX163" fmla="*/ 956410 w 1609516"/>
                <a:gd name="csY163" fmla="*/ 266968 h 1538630"/>
                <a:gd name="csX164" fmla="*/ 957576 w 1609516"/>
                <a:gd name="csY164" fmla="*/ 267083 h 1538630"/>
                <a:gd name="csX165" fmla="*/ 957576 w 1609516"/>
                <a:gd name="csY165" fmla="*/ 269776 h 1538630"/>
                <a:gd name="csX166" fmla="*/ 957694 w 1609516"/>
                <a:gd name="csY166" fmla="*/ 269787 h 1538630"/>
                <a:gd name="csX167" fmla="*/ 957694 w 1609516"/>
                <a:gd name="csY167" fmla="*/ 266968 h 1538630"/>
                <a:gd name="csX168" fmla="*/ 1089372 w 1609516"/>
                <a:gd name="csY168" fmla="*/ 259220 h 1538630"/>
                <a:gd name="csX169" fmla="*/ 1085856 w 1609516"/>
                <a:gd name="csY169" fmla="*/ 265479 h 1538630"/>
                <a:gd name="csX170" fmla="*/ 1088878 w 1609516"/>
                <a:gd name="csY170" fmla="*/ 261431 h 1538630"/>
                <a:gd name="csX171" fmla="*/ 1018517 w 1609516"/>
                <a:gd name="csY171" fmla="*/ 223356 h 1538630"/>
                <a:gd name="csX172" fmla="*/ 1013866 w 1609516"/>
                <a:gd name="csY172" fmla="*/ 226190 h 1538630"/>
                <a:gd name="csX173" fmla="*/ 1013024 w 1609516"/>
                <a:gd name="csY173" fmla="*/ 227709 h 1538630"/>
                <a:gd name="csX174" fmla="*/ 1017055 w 1609516"/>
                <a:gd name="csY174" fmla="*/ 224692 h 1538630"/>
                <a:gd name="csX175" fmla="*/ 850645 w 1609516"/>
                <a:gd name="csY175" fmla="*/ 220099 h 1538630"/>
                <a:gd name="csX176" fmla="*/ 850897 w 1609516"/>
                <a:gd name="csY176" fmla="*/ 221488 h 1538630"/>
                <a:gd name="csX177" fmla="*/ 851470 w 1609516"/>
                <a:gd name="csY177" fmla="*/ 224692 h 1538630"/>
                <a:gd name="csX178" fmla="*/ 852860 w 1609516"/>
                <a:gd name="csY178" fmla="*/ 224692 h 1538630"/>
                <a:gd name="csX179" fmla="*/ 1155019 w 1609516"/>
                <a:gd name="csY179" fmla="*/ 35 h 1538630"/>
                <a:gd name="csX180" fmla="*/ 1174829 w 1609516"/>
                <a:gd name="csY180" fmla="*/ 4853 h 1538630"/>
                <a:gd name="csX181" fmla="*/ 1179418 w 1609516"/>
                <a:gd name="csY181" fmla="*/ 5998 h 1538630"/>
                <a:gd name="csX182" fmla="*/ 1201385 w 1609516"/>
                <a:gd name="csY182" fmla="*/ 22997 h 1538630"/>
                <a:gd name="csX183" fmla="*/ 1201678 w 1609516"/>
                <a:gd name="csY183" fmla="*/ 62191 h 1538630"/>
                <a:gd name="csX184" fmla="*/ 1198261 w 1609516"/>
                <a:gd name="csY184" fmla="*/ 68268 h 1538630"/>
                <a:gd name="csX185" fmla="*/ 1195723 w 1609516"/>
                <a:gd name="csY185" fmla="*/ 72672 h 1538630"/>
                <a:gd name="csX186" fmla="*/ 1193575 w 1609516"/>
                <a:gd name="csY186" fmla="*/ 75314 h 1538630"/>
                <a:gd name="csX187" fmla="*/ 1190450 w 1609516"/>
                <a:gd name="csY187" fmla="*/ 75314 h 1538630"/>
                <a:gd name="csX188" fmla="*/ 1189474 w 1609516"/>
                <a:gd name="csY188" fmla="*/ 79366 h 1538630"/>
                <a:gd name="csX189" fmla="*/ 1182445 w 1609516"/>
                <a:gd name="csY189" fmla="*/ 85707 h 1538630"/>
                <a:gd name="csX190" fmla="*/ 1177953 w 1609516"/>
                <a:gd name="csY190" fmla="*/ 86588 h 1538630"/>
                <a:gd name="csX191" fmla="*/ 1177953 w 1609516"/>
                <a:gd name="csY191" fmla="*/ 89406 h 1538630"/>
                <a:gd name="csX192" fmla="*/ 1170045 w 1609516"/>
                <a:gd name="csY192" fmla="*/ 94251 h 1538630"/>
                <a:gd name="csX193" fmla="*/ 1143806 w 1609516"/>
                <a:gd name="csY193" fmla="*/ 132828 h 1538630"/>
                <a:gd name="csX194" fmla="*/ 1137338 w 1609516"/>
                <a:gd name="csY194" fmla="*/ 141548 h 1538630"/>
                <a:gd name="csX195" fmla="*/ 1133970 w 1609516"/>
                <a:gd name="csY195" fmla="*/ 149403 h 1538630"/>
                <a:gd name="csX196" fmla="*/ 1127965 w 1609516"/>
                <a:gd name="csY196" fmla="*/ 164095 h 1538630"/>
                <a:gd name="csX197" fmla="*/ 1124762 w 1609516"/>
                <a:gd name="csY197" fmla="*/ 171802 h 1538630"/>
                <a:gd name="csX198" fmla="*/ 1119359 w 1609516"/>
                <a:gd name="csY198" fmla="*/ 184798 h 1538630"/>
                <a:gd name="csX199" fmla="*/ 1111014 w 1609516"/>
                <a:gd name="csY199" fmla="*/ 204941 h 1538630"/>
                <a:gd name="csX200" fmla="*/ 1109729 w 1609516"/>
                <a:gd name="csY200" fmla="*/ 208059 h 1538630"/>
                <a:gd name="csX201" fmla="*/ 1106395 w 1609516"/>
                <a:gd name="csY201" fmla="*/ 216170 h 1538630"/>
                <a:gd name="csX202" fmla="*/ 1102147 w 1609516"/>
                <a:gd name="csY202" fmla="*/ 224810 h 1538630"/>
                <a:gd name="csX203" fmla="*/ 1098261 w 1609516"/>
                <a:gd name="csY203" fmla="*/ 227262 h 1538630"/>
                <a:gd name="csX204" fmla="*/ 1098367 w 1609516"/>
                <a:gd name="csY204" fmla="*/ 238475 h 1538630"/>
                <a:gd name="csX205" fmla="*/ 1097331 w 1609516"/>
                <a:gd name="csY205" fmla="*/ 242358 h 1538630"/>
                <a:gd name="csX206" fmla="*/ 1096201 w 1609516"/>
                <a:gd name="csY206" fmla="*/ 246458 h 1538630"/>
                <a:gd name="csX207" fmla="*/ 1089440 w 1609516"/>
                <a:gd name="csY207" fmla="*/ 279206 h 1538630"/>
                <a:gd name="csX208" fmla="*/ 1087316 w 1609516"/>
                <a:gd name="csY208" fmla="*/ 283978 h 1538630"/>
                <a:gd name="csX209" fmla="*/ 1086822 w 1609516"/>
                <a:gd name="csY209" fmla="*/ 291822 h 1538630"/>
                <a:gd name="csX210" fmla="*/ 1086623 w 1609516"/>
                <a:gd name="csY210" fmla="*/ 296625 h 1538630"/>
                <a:gd name="csX211" fmla="*/ 1086437 w 1609516"/>
                <a:gd name="csY211" fmla="*/ 301681 h 1538630"/>
                <a:gd name="csX212" fmla="*/ 1086233 w 1609516"/>
                <a:gd name="csY212" fmla="*/ 306754 h 1538630"/>
                <a:gd name="csX213" fmla="*/ 1086007 w 1609516"/>
                <a:gd name="csY213" fmla="*/ 312619 h 1538630"/>
                <a:gd name="csX214" fmla="*/ 1087470 w 1609516"/>
                <a:gd name="csY214" fmla="*/ 320554 h 1538630"/>
                <a:gd name="csX215" fmla="*/ 1098285 w 1609516"/>
                <a:gd name="csY215" fmla="*/ 334611 h 1538630"/>
                <a:gd name="csX216" fmla="*/ 1102607 w 1609516"/>
                <a:gd name="csY216" fmla="*/ 337679 h 1538630"/>
                <a:gd name="csX217" fmla="*/ 1106095 w 1609516"/>
                <a:gd name="csY217" fmla="*/ 340248 h 1538630"/>
                <a:gd name="csX218" fmla="*/ 1106095 w 1609516"/>
                <a:gd name="csY218" fmla="*/ 343066 h 1538630"/>
                <a:gd name="csX219" fmla="*/ 1109220 w 1609516"/>
                <a:gd name="csY219" fmla="*/ 343419 h 1538630"/>
                <a:gd name="csX220" fmla="*/ 1126403 w 1609516"/>
                <a:gd name="csY220" fmla="*/ 350112 h 1538630"/>
                <a:gd name="csX221" fmla="*/ 1131871 w 1609516"/>
                <a:gd name="csY221" fmla="*/ 352579 h 1538630"/>
                <a:gd name="csX222" fmla="*/ 1135776 w 1609516"/>
                <a:gd name="csY222" fmla="*/ 354340 h 1538630"/>
                <a:gd name="csX223" fmla="*/ 1135776 w 1609516"/>
                <a:gd name="csY223" fmla="*/ 357158 h 1538630"/>
                <a:gd name="csX224" fmla="*/ 1170143 w 1609516"/>
                <a:gd name="csY224" fmla="*/ 354340 h 1538630"/>
                <a:gd name="csX225" fmla="*/ 1174634 w 1609516"/>
                <a:gd name="csY225" fmla="*/ 352579 h 1538630"/>
                <a:gd name="csX226" fmla="*/ 1190890 w 1609516"/>
                <a:gd name="csY226" fmla="*/ 342907 h 1538630"/>
                <a:gd name="csX227" fmla="*/ 1204021 w 1609516"/>
                <a:gd name="csY227" fmla="*/ 335404 h 1538630"/>
                <a:gd name="csX228" fmla="*/ 1223255 w 1609516"/>
                <a:gd name="csY228" fmla="*/ 319110 h 1538630"/>
                <a:gd name="csX229" fmla="*/ 1226868 w 1609516"/>
                <a:gd name="csY229" fmla="*/ 315587 h 1538630"/>
                <a:gd name="csX230" fmla="*/ 1231859 w 1609516"/>
                <a:gd name="csY230" fmla="*/ 303559 h 1538630"/>
                <a:gd name="csX231" fmla="*/ 1234178 w 1609516"/>
                <a:gd name="csY231" fmla="*/ 298059 h 1538630"/>
                <a:gd name="csX232" fmla="*/ 1237314 w 1609516"/>
                <a:gd name="csY232" fmla="*/ 288195 h 1538630"/>
                <a:gd name="csX233" fmla="*/ 1249811 w 1609516"/>
                <a:gd name="csY233" fmla="*/ 265559 h 1538630"/>
                <a:gd name="csX234" fmla="*/ 1252935 w 1609516"/>
                <a:gd name="csY234" fmla="*/ 265559 h 1538630"/>
                <a:gd name="csX235" fmla="*/ 1252935 w 1609516"/>
                <a:gd name="csY235" fmla="*/ 262741 h 1538630"/>
                <a:gd name="csX236" fmla="*/ 1296675 w 1609516"/>
                <a:gd name="csY236" fmla="*/ 252876 h 1538630"/>
                <a:gd name="csX237" fmla="*/ 1307609 w 1609516"/>
                <a:gd name="csY237" fmla="*/ 255695 h 1538630"/>
                <a:gd name="csX238" fmla="*/ 1307609 w 1609516"/>
                <a:gd name="csY238" fmla="*/ 258513 h 1538630"/>
                <a:gd name="csX239" fmla="*/ 1311887 w 1609516"/>
                <a:gd name="csY239" fmla="*/ 258832 h 1538630"/>
                <a:gd name="csX240" fmla="*/ 1326715 w 1609516"/>
                <a:gd name="csY240" fmla="*/ 269969 h 1538630"/>
                <a:gd name="csX241" fmla="*/ 1334165 w 1609516"/>
                <a:gd name="csY241" fmla="*/ 307836 h 1538630"/>
                <a:gd name="csX242" fmla="*/ 1329479 w 1609516"/>
                <a:gd name="csY242" fmla="*/ 314882 h 1538630"/>
                <a:gd name="csX243" fmla="*/ 1323231 w 1609516"/>
                <a:gd name="csY243" fmla="*/ 314882 h 1538630"/>
                <a:gd name="csX244" fmla="*/ 1323231 w 1609516"/>
                <a:gd name="csY244" fmla="*/ 317700 h 1538630"/>
                <a:gd name="csX245" fmla="*/ 1322774 w 1609516"/>
                <a:gd name="csY245" fmla="*/ 317838 h 1538630"/>
                <a:gd name="csX246" fmla="*/ 1323295 w 1609516"/>
                <a:gd name="csY246" fmla="*/ 317838 h 1538630"/>
                <a:gd name="csX247" fmla="*/ 1323295 w 1609516"/>
                <a:gd name="csY247" fmla="*/ 315019 h 1538630"/>
                <a:gd name="csX248" fmla="*/ 1327982 w 1609516"/>
                <a:gd name="csY248" fmla="*/ 315019 h 1538630"/>
                <a:gd name="csX249" fmla="*/ 1317047 w 1609516"/>
                <a:gd name="csY249" fmla="*/ 327702 h 1538630"/>
                <a:gd name="csX250" fmla="*/ 1315484 w 1609516"/>
                <a:gd name="csY250" fmla="*/ 331930 h 1538630"/>
                <a:gd name="csX251" fmla="*/ 1309139 w 1609516"/>
                <a:gd name="csY251" fmla="*/ 333603 h 1538630"/>
                <a:gd name="csX252" fmla="*/ 1305666 w 1609516"/>
                <a:gd name="csY252" fmla="*/ 334280 h 1538630"/>
                <a:gd name="csX253" fmla="*/ 1302988 w 1609516"/>
                <a:gd name="csY253" fmla="*/ 334748 h 1538630"/>
                <a:gd name="csX254" fmla="*/ 1305905 w 1609516"/>
                <a:gd name="csY254" fmla="*/ 332775 h 1538630"/>
                <a:gd name="csX255" fmla="*/ 1304485 w 1609516"/>
                <a:gd name="csY255" fmla="*/ 333202 h 1538630"/>
                <a:gd name="csX256" fmla="*/ 1301459 w 1609516"/>
                <a:gd name="csY256" fmla="*/ 336108 h 1538630"/>
                <a:gd name="csX257" fmla="*/ 1291989 w 1609516"/>
                <a:gd name="csY257" fmla="*/ 338839 h 1538630"/>
                <a:gd name="csX258" fmla="*/ 1290426 w 1609516"/>
                <a:gd name="csY258" fmla="*/ 343066 h 1538630"/>
                <a:gd name="csX259" fmla="*/ 1285740 w 1609516"/>
                <a:gd name="csY259" fmla="*/ 344123 h 1538630"/>
                <a:gd name="csX260" fmla="*/ 1237314 w 1609516"/>
                <a:gd name="csY260" fmla="*/ 382525 h 1538630"/>
                <a:gd name="csX261" fmla="*/ 1232628 w 1609516"/>
                <a:gd name="csY261" fmla="*/ 392389 h 1538630"/>
                <a:gd name="csX262" fmla="*/ 1228625 w 1609516"/>
                <a:gd name="csY262" fmla="*/ 398731 h 1538630"/>
                <a:gd name="csX263" fmla="*/ 1222822 w 1609516"/>
                <a:gd name="csY263" fmla="*/ 434798 h 1538630"/>
                <a:gd name="csX264" fmla="*/ 1260746 w 1609516"/>
                <a:gd name="csY264" fmla="*/ 485398 h 1538630"/>
                <a:gd name="csX265" fmla="*/ 1268556 w 1609516"/>
                <a:gd name="csY265" fmla="*/ 488216 h 1538630"/>
                <a:gd name="csX266" fmla="*/ 1268556 w 1609516"/>
                <a:gd name="csY266" fmla="*/ 491034 h 1538630"/>
                <a:gd name="csX267" fmla="*/ 1338852 w 1609516"/>
                <a:gd name="csY267" fmla="*/ 489625 h 1538630"/>
                <a:gd name="csX268" fmla="*/ 1347444 w 1609516"/>
                <a:gd name="csY268" fmla="*/ 488480 h 1538630"/>
                <a:gd name="csX269" fmla="*/ 1369362 w 1609516"/>
                <a:gd name="csY269" fmla="*/ 482513 h 1538630"/>
                <a:gd name="csX270" fmla="*/ 1388840 w 1609516"/>
                <a:gd name="csY270" fmla="*/ 478351 h 1538630"/>
                <a:gd name="csX271" fmla="*/ 1388840 w 1609516"/>
                <a:gd name="csY271" fmla="*/ 475533 h 1538630"/>
                <a:gd name="csX272" fmla="*/ 1395576 w 1609516"/>
                <a:gd name="csY272" fmla="*/ 473419 h 1538630"/>
                <a:gd name="csX273" fmla="*/ 1399365 w 1609516"/>
                <a:gd name="csY273" fmla="*/ 472230 h 1538630"/>
                <a:gd name="csX274" fmla="*/ 1407585 w 1609516"/>
                <a:gd name="csY274" fmla="*/ 471305 h 1538630"/>
                <a:gd name="csX275" fmla="*/ 1409147 w 1609516"/>
                <a:gd name="csY275" fmla="*/ 467078 h 1538630"/>
                <a:gd name="csX276" fmla="*/ 1416470 w 1609516"/>
                <a:gd name="csY276" fmla="*/ 464259 h 1538630"/>
                <a:gd name="csX277" fmla="*/ 1437949 w 1609516"/>
                <a:gd name="csY277" fmla="*/ 455011 h 1538630"/>
                <a:gd name="csX278" fmla="*/ 1452887 w 1609516"/>
                <a:gd name="csY278" fmla="*/ 450167 h 1538630"/>
                <a:gd name="csX279" fmla="*/ 1452887 w 1609516"/>
                <a:gd name="csY279" fmla="*/ 447349 h 1538630"/>
                <a:gd name="csX280" fmla="*/ 1455394 w 1609516"/>
                <a:gd name="csY280" fmla="*/ 446122 h 1538630"/>
                <a:gd name="csX281" fmla="*/ 1466653 w 1609516"/>
                <a:gd name="csY281" fmla="*/ 440567 h 1538630"/>
                <a:gd name="csX282" fmla="*/ 1470598 w 1609516"/>
                <a:gd name="csY282" fmla="*/ 438637 h 1538630"/>
                <a:gd name="csX283" fmla="*/ 1474397 w 1609516"/>
                <a:gd name="csY283" fmla="*/ 436752 h 1538630"/>
                <a:gd name="csX284" fmla="*/ 1477892 w 1609516"/>
                <a:gd name="csY284" fmla="*/ 435030 h 1538630"/>
                <a:gd name="csX285" fmla="*/ 1485691 w 1609516"/>
                <a:gd name="csY285" fmla="*/ 429029 h 1538630"/>
                <a:gd name="csX286" fmla="*/ 1488858 w 1609516"/>
                <a:gd name="csY286" fmla="*/ 427653 h 1538630"/>
                <a:gd name="csX287" fmla="*/ 1495943 w 1609516"/>
                <a:gd name="csY287" fmla="*/ 421454 h 1538630"/>
                <a:gd name="csX288" fmla="*/ 1538608 w 1609516"/>
                <a:gd name="csY288" fmla="*/ 388338 h 1538630"/>
                <a:gd name="csX289" fmla="*/ 1543490 w 1609516"/>
                <a:gd name="csY289" fmla="*/ 388161 h 1538630"/>
                <a:gd name="csX290" fmla="*/ 1547621 w 1609516"/>
                <a:gd name="csY290" fmla="*/ 387804 h 1538630"/>
                <a:gd name="csX291" fmla="*/ 1579418 w 1609516"/>
                <a:gd name="csY291" fmla="*/ 396617 h 1538630"/>
                <a:gd name="csX292" fmla="*/ 1583342 w 1609516"/>
                <a:gd name="csY292" fmla="*/ 398780 h 1538630"/>
                <a:gd name="csX293" fmla="*/ 1601288 w 1609516"/>
                <a:gd name="csY293" fmla="*/ 423392 h 1538630"/>
                <a:gd name="csX294" fmla="*/ 1594484 w 1609516"/>
                <a:gd name="csY294" fmla="*/ 460159 h 1538630"/>
                <a:gd name="csX295" fmla="*/ 1574732 w 1609516"/>
                <a:gd name="csY295" fmla="*/ 475533 h 1538630"/>
                <a:gd name="csX296" fmla="*/ 1572097 w 1609516"/>
                <a:gd name="csY296" fmla="*/ 477078 h 1538630"/>
                <a:gd name="csX297" fmla="*/ 1556066 w 1609516"/>
                <a:gd name="csY297" fmla="*/ 478737 h 1538630"/>
                <a:gd name="csX298" fmla="*/ 1548631 w 1609516"/>
                <a:gd name="csY298" fmla="*/ 478825 h 1538630"/>
                <a:gd name="csX299" fmla="*/ 1536991 w 1609516"/>
                <a:gd name="csY299" fmla="*/ 478889 h 1538630"/>
                <a:gd name="csX300" fmla="*/ 1498188 w 1609516"/>
                <a:gd name="csY300" fmla="*/ 485398 h 1538630"/>
                <a:gd name="csX301" fmla="*/ 1493892 w 1609516"/>
                <a:gd name="csY301" fmla="*/ 487600 h 1538630"/>
                <a:gd name="csX302" fmla="*/ 1490377 w 1609516"/>
                <a:gd name="csY302" fmla="*/ 489625 h 1538630"/>
                <a:gd name="csX303" fmla="*/ 1471650 w 1609516"/>
                <a:gd name="csY303" fmla="*/ 498185 h 1538630"/>
                <a:gd name="csX304" fmla="*/ 1459135 w 1609516"/>
                <a:gd name="csY304" fmla="*/ 505127 h 1538630"/>
                <a:gd name="csX305" fmla="*/ 1452594 w 1609516"/>
                <a:gd name="csY305" fmla="*/ 508033 h 1538630"/>
                <a:gd name="csX306" fmla="*/ 1427795 w 1609516"/>
                <a:gd name="csY306" fmla="*/ 520100 h 1538630"/>
                <a:gd name="csX307" fmla="*/ 1423733 w 1609516"/>
                <a:gd name="csY307" fmla="*/ 522148 h 1538630"/>
                <a:gd name="csX308" fmla="*/ 1419929 w 1609516"/>
                <a:gd name="csY308" fmla="*/ 524118 h 1538630"/>
                <a:gd name="csX309" fmla="*/ 1416487 w 1609516"/>
                <a:gd name="csY309" fmla="*/ 525883 h 1538630"/>
                <a:gd name="csX310" fmla="*/ 1412271 w 1609516"/>
                <a:gd name="csY310" fmla="*/ 531902 h 1538630"/>
                <a:gd name="csX311" fmla="*/ 1396650 w 1609516"/>
                <a:gd name="csY311" fmla="*/ 537539 h 1538630"/>
                <a:gd name="csX312" fmla="*/ 1396650 w 1609516"/>
                <a:gd name="csY312" fmla="*/ 540357 h 1538630"/>
                <a:gd name="csX313" fmla="*/ 1393495 w 1609516"/>
                <a:gd name="csY313" fmla="*/ 541502 h 1538630"/>
                <a:gd name="csX314" fmla="*/ 1362284 w 1609516"/>
                <a:gd name="csY314" fmla="*/ 558678 h 1538630"/>
                <a:gd name="csX315" fmla="*/ 1355937 w 1609516"/>
                <a:gd name="csY315" fmla="*/ 562905 h 1538630"/>
                <a:gd name="csX316" fmla="*/ 1334165 w 1609516"/>
                <a:gd name="csY316" fmla="*/ 578406 h 1538630"/>
                <a:gd name="csX317" fmla="*/ 1331200 w 1609516"/>
                <a:gd name="csY317" fmla="*/ 580559 h 1538630"/>
                <a:gd name="csX318" fmla="*/ 1322175 w 1609516"/>
                <a:gd name="csY318" fmla="*/ 596793 h 1538630"/>
                <a:gd name="csX319" fmla="*/ 1320106 w 1609516"/>
                <a:gd name="csY319" fmla="*/ 602363 h 1538630"/>
                <a:gd name="csX320" fmla="*/ 1328015 w 1609516"/>
                <a:gd name="csY320" fmla="*/ 647640 h 1538630"/>
                <a:gd name="csX321" fmla="*/ 1332604 w 1609516"/>
                <a:gd name="csY321" fmla="*/ 675643 h 1538630"/>
                <a:gd name="csX322" fmla="*/ 1335727 w 1609516"/>
                <a:gd name="csY322" fmla="*/ 675643 h 1538630"/>
                <a:gd name="csX323" fmla="*/ 1337741 w 1609516"/>
                <a:gd name="csY323" fmla="*/ 690059 h 1538630"/>
                <a:gd name="csX324" fmla="*/ 1338003 w 1609516"/>
                <a:gd name="csY324" fmla="*/ 696222 h 1538630"/>
                <a:gd name="csX325" fmla="*/ 1338340 w 1609516"/>
                <a:gd name="csY325" fmla="*/ 705887 h 1538630"/>
                <a:gd name="csX326" fmla="*/ 1345277 w 1609516"/>
                <a:gd name="csY326" fmla="*/ 733245 h 1538630"/>
                <a:gd name="csX327" fmla="*/ 1363162 w 1609516"/>
                <a:gd name="csY327" fmla="*/ 741612 h 1538630"/>
                <a:gd name="csX328" fmla="*/ 1384154 w 1609516"/>
                <a:gd name="csY328" fmla="*/ 748922 h 1538630"/>
                <a:gd name="csX329" fmla="*/ 1391476 w 1609516"/>
                <a:gd name="csY329" fmla="*/ 750419 h 1538630"/>
                <a:gd name="csX330" fmla="*/ 1395564 w 1609516"/>
                <a:gd name="csY330" fmla="*/ 751080 h 1538630"/>
                <a:gd name="csX331" fmla="*/ 1399775 w 1609516"/>
                <a:gd name="csY331" fmla="*/ 751740 h 1538630"/>
                <a:gd name="csX332" fmla="*/ 1403887 w 1609516"/>
                <a:gd name="csY332" fmla="*/ 752489 h 1538630"/>
                <a:gd name="csX333" fmla="*/ 1465383 w 1609516"/>
                <a:gd name="csY333" fmla="*/ 755969 h 1538630"/>
                <a:gd name="csX334" fmla="*/ 1470339 w 1609516"/>
                <a:gd name="csY334" fmla="*/ 755897 h 1538630"/>
                <a:gd name="csX335" fmla="*/ 1496809 w 1609516"/>
                <a:gd name="csY335" fmla="*/ 749313 h 1538630"/>
                <a:gd name="csX336" fmla="*/ 1515371 w 1609516"/>
                <a:gd name="csY336" fmla="*/ 743285 h 1538630"/>
                <a:gd name="csX337" fmla="*/ 1515371 w 1609516"/>
                <a:gd name="csY337" fmla="*/ 740467 h 1538630"/>
                <a:gd name="csX338" fmla="*/ 1537632 w 1609516"/>
                <a:gd name="csY338" fmla="*/ 737120 h 1538630"/>
                <a:gd name="csX339" fmla="*/ 1541657 w 1609516"/>
                <a:gd name="csY339" fmla="*/ 737127 h 1538630"/>
                <a:gd name="csX340" fmla="*/ 1574732 w 1609516"/>
                <a:gd name="csY340" fmla="*/ 748922 h 1538630"/>
                <a:gd name="csX341" fmla="*/ 1588791 w 1609516"/>
                <a:gd name="csY341" fmla="*/ 792608 h 1538630"/>
                <a:gd name="csX342" fmla="*/ 1584105 w 1609516"/>
                <a:gd name="csY342" fmla="*/ 805291 h 1538630"/>
                <a:gd name="csX343" fmla="*/ 1580981 w 1609516"/>
                <a:gd name="csY343" fmla="*/ 806700 h 1538630"/>
                <a:gd name="csX344" fmla="*/ 1578735 w 1609516"/>
                <a:gd name="csY344" fmla="*/ 810311 h 1538630"/>
                <a:gd name="csX345" fmla="*/ 1576295 w 1609516"/>
                <a:gd name="csY345" fmla="*/ 813746 h 1538630"/>
                <a:gd name="csX346" fmla="*/ 1571652 w 1609516"/>
                <a:gd name="csY346" fmla="*/ 813746 h 1538630"/>
                <a:gd name="csX347" fmla="*/ 1571785 w 1609516"/>
                <a:gd name="csY347" fmla="*/ 814106 h 1538630"/>
                <a:gd name="csX348" fmla="*/ 1574909 w 1609516"/>
                <a:gd name="csY348" fmla="*/ 815515 h 1538630"/>
                <a:gd name="csX349" fmla="*/ 1565463 w 1609516"/>
                <a:gd name="csY349" fmla="*/ 821839 h 1538630"/>
                <a:gd name="csX350" fmla="*/ 1562085 w 1609516"/>
                <a:gd name="csY350" fmla="*/ 822101 h 1538630"/>
                <a:gd name="csX351" fmla="*/ 1551301 w 1609516"/>
                <a:gd name="csY351" fmla="*/ 825020 h 1538630"/>
                <a:gd name="csX352" fmla="*/ 1551301 w 1609516"/>
                <a:gd name="csY352" fmla="*/ 827838 h 1538630"/>
                <a:gd name="csX353" fmla="*/ 1485380 w 1609516"/>
                <a:gd name="csY353" fmla="*/ 815007 h 1538630"/>
                <a:gd name="csX354" fmla="*/ 1431603 w 1609516"/>
                <a:gd name="csY354" fmla="*/ 808726 h 1538630"/>
                <a:gd name="csX355" fmla="*/ 1424140 w 1609516"/>
                <a:gd name="csY355" fmla="*/ 808542 h 1538630"/>
                <a:gd name="csX356" fmla="*/ 1406023 w 1609516"/>
                <a:gd name="csY356" fmla="*/ 808109 h 1538630"/>
                <a:gd name="csX357" fmla="*/ 1406023 w 1609516"/>
                <a:gd name="csY357" fmla="*/ 810928 h 1538630"/>
                <a:gd name="csX358" fmla="*/ 1403383 w 1609516"/>
                <a:gd name="csY358" fmla="*/ 811311 h 1538630"/>
                <a:gd name="csX359" fmla="*/ 1345442 w 1609516"/>
                <a:gd name="csY359" fmla="*/ 828907 h 1538630"/>
                <a:gd name="csX360" fmla="*/ 1337875 w 1609516"/>
                <a:gd name="csY360" fmla="*/ 856639 h 1538630"/>
                <a:gd name="csX361" fmla="*/ 1337692 w 1609516"/>
                <a:gd name="csY361" fmla="*/ 860171 h 1538630"/>
                <a:gd name="csX362" fmla="*/ 1337290 w 1609516"/>
                <a:gd name="csY362" fmla="*/ 868706 h 1538630"/>
                <a:gd name="csX363" fmla="*/ 1334165 w 1609516"/>
                <a:gd name="csY363" fmla="*/ 868706 h 1538630"/>
                <a:gd name="csX364" fmla="*/ 1334165 w 1609516"/>
                <a:gd name="csY364" fmla="*/ 870034 h 1538630"/>
                <a:gd name="csX365" fmla="*/ 1334237 w 1609516"/>
                <a:gd name="csY365" fmla="*/ 869093 h 1538630"/>
                <a:gd name="csX366" fmla="*/ 1335800 w 1609516"/>
                <a:gd name="csY366" fmla="*/ 869093 h 1538630"/>
                <a:gd name="csX367" fmla="*/ 1335995 w 1609516"/>
                <a:gd name="csY367" fmla="*/ 876491 h 1538630"/>
                <a:gd name="csX368" fmla="*/ 1336105 w 1609516"/>
                <a:gd name="csY368" fmla="*/ 880653 h 1538630"/>
                <a:gd name="csX369" fmla="*/ 1334294 w 1609516"/>
                <a:gd name="csY369" fmla="*/ 887271 h 1538630"/>
                <a:gd name="csX370" fmla="*/ 1331455 w 1609516"/>
                <a:gd name="csY370" fmla="*/ 896440 h 1538630"/>
                <a:gd name="csX371" fmla="*/ 1330887 w 1609516"/>
                <a:gd name="csY371" fmla="*/ 899969 h 1538630"/>
                <a:gd name="csX372" fmla="*/ 1330332 w 1609516"/>
                <a:gd name="csY372" fmla="*/ 903618 h 1538630"/>
                <a:gd name="csX373" fmla="*/ 1329209 w 1609516"/>
                <a:gd name="csY373" fmla="*/ 910797 h 1538630"/>
                <a:gd name="csX374" fmla="*/ 1328724 w 1609516"/>
                <a:gd name="csY374" fmla="*/ 913998 h 1538630"/>
                <a:gd name="csX375" fmla="*/ 1324865 w 1609516"/>
                <a:gd name="csY375" fmla="*/ 922643 h 1538630"/>
                <a:gd name="csX376" fmla="*/ 1322619 w 1609516"/>
                <a:gd name="csY376" fmla="*/ 937979 h 1538630"/>
                <a:gd name="csX377" fmla="*/ 1318744 w 1609516"/>
                <a:gd name="csY377" fmla="*/ 944961 h 1538630"/>
                <a:gd name="csX378" fmla="*/ 1318544 w 1609516"/>
                <a:gd name="csY378" fmla="*/ 946213 h 1538630"/>
                <a:gd name="csX379" fmla="*/ 1318251 w 1609516"/>
                <a:gd name="csY379" fmla="*/ 955285 h 1538630"/>
                <a:gd name="csX380" fmla="*/ 1318184 w 1609516"/>
                <a:gd name="csY380" fmla="*/ 960036 h 1538630"/>
                <a:gd name="csX381" fmla="*/ 1324024 w 1609516"/>
                <a:gd name="csY381" fmla="*/ 973660 h 1538630"/>
                <a:gd name="csX382" fmla="*/ 1329284 w 1609516"/>
                <a:gd name="csY382" fmla="*/ 983382 h 1538630"/>
                <a:gd name="csX383" fmla="*/ 1340414 w 1609516"/>
                <a:gd name="csY383" fmla="*/ 998354 h 1538630"/>
                <a:gd name="csX384" fmla="*/ 1346272 w 1609516"/>
                <a:gd name="csY384" fmla="*/ 1005048 h 1538630"/>
                <a:gd name="csX385" fmla="*/ 1394716 w 1609516"/>
                <a:gd name="csY385" fmla="*/ 1042740 h 1538630"/>
                <a:gd name="csX386" fmla="*/ 1401953 w 1609516"/>
                <a:gd name="csY386" fmla="*/ 1047374 h 1538630"/>
                <a:gd name="csX387" fmla="*/ 1427197 w 1609516"/>
                <a:gd name="csY387" fmla="*/ 1059061 h 1538630"/>
                <a:gd name="csX388" fmla="*/ 1437265 w 1609516"/>
                <a:gd name="csY388" fmla="*/ 1064588 h 1538630"/>
                <a:gd name="csX389" fmla="*/ 1437265 w 1609516"/>
                <a:gd name="csY389" fmla="*/ 1067406 h 1538630"/>
                <a:gd name="csX390" fmla="*/ 1440878 w 1609516"/>
                <a:gd name="csY390" fmla="*/ 1067847 h 1538630"/>
                <a:gd name="csX391" fmla="*/ 1447175 w 1609516"/>
                <a:gd name="csY391" fmla="*/ 1070753 h 1538630"/>
                <a:gd name="csX392" fmla="*/ 1457866 w 1609516"/>
                <a:gd name="csY392" fmla="*/ 1076830 h 1538630"/>
                <a:gd name="csX393" fmla="*/ 1462132 w 1609516"/>
                <a:gd name="csY393" fmla="*/ 1078696 h 1538630"/>
                <a:gd name="csX394" fmla="*/ 1465383 w 1609516"/>
                <a:gd name="csY394" fmla="*/ 1080089 h 1538630"/>
                <a:gd name="csX395" fmla="*/ 1465383 w 1609516"/>
                <a:gd name="csY395" fmla="*/ 1082908 h 1538630"/>
                <a:gd name="csX396" fmla="*/ 1468758 w 1609516"/>
                <a:gd name="csY396" fmla="*/ 1083975 h 1538630"/>
                <a:gd name="csX397" fmla="*/ 1481688 w 1609516"/>
                <a:gd name="csY397" fmla="*/ 1091187 h 1538630"/>
                <a:gd name="csX398" fmla="*/ 1486283 w 1609516"/>
                <a:gd name="csY398" fmla="*/ 1094236 h 1538630"/>
                <a:gd name="csX399" fmla="*/ 1494869 w 1609516"/>
                <a:gd name="csY399" fmla="*/ 1100171 h 1538630"/>
                <a:gd name="csX400" fmla="*/ 1544335 w 1609516"/>
                <a:gd name="csY400" fmla="*/ 1109518 h 1538630"/>
                <a:gd name="csX401" fmla="*/ 1593477 w 1609516"/>
                <a:gd name="csY401" fmla="*/ 1119900 h 1538630"/>
                <a:gd name="csX402" fmla="*/ 1605975 w 1609516"/>
                <a:gd name="csY402" fmla="*/ 1144913 h 1538630"/>
                <a:gd name="csX403" fmla="*/ 1609099 w 1609516"/>
                <a:gd name="csY403" fmla="*/ 1144913 h 1538630"/>
                <a:gd name="csX404" fmla="*/ 1609392 w 1609516"/>
                <a:gd name="csY404" fmla="*/ 1156892 h 1538630"/>
                <a:gd name="csX405" fmla="*/ 1609511 w 1609516"/>
                <a:gd name="csY405" fmla="*/ 1160272 h 1538630"/>
                <a:gd name="csX406" fmla="*/ 1604412 w 1609516"/>
                <a:gd name="csY406" fmla="*/ 1181553 h 1538630"/>
                <a:gd name="csX407" fmla="*/ 1601288 w 1609516"/>
                <a:gd name="csY407" fmla="*/ 1190009 h 1538630"/>
                <a:gd name="csX408" fmla="*/ 1598164 w 1609516"/>
                <a:gd name="csY408" fmla="*/ 1190009 h 1538630"/>
                <a:gd name="csX409" fmla="*/ 1597187 w 1609516"/>
                <a:gd name="csY409" fmla="*/ 1192739 h 1538630"/>
                <a:gd name="csX410" fmla="*/ 1595040 w 1609516"/>
                <a:gd name="csY410" fmla="*/ 1195645 h 1538630"/>
                <a:gd name="csX411" fmla="*/ 1585667 w 1609516"/>
                <a:gd name="csY411" fmla="*/ 1197055 h 1538630"/>
                <a:gd name="csX412" fmla="*/ 1582543 w 1609516"/>
                <a:gd name="csY412" fmla="*/ 1202691 h 1538630"/>
                <a:gd name="csX413" fmla="*/ 1562431 w 1609516"/>
                <a:gd name="csY413" fmla="*/ 1204365 h 1538630"/>
                <a:gd name="csX414" fmla="*/ 1558690 w 1609516"/>
                <a:gd name="csY414" fmla="*/ 1204417 h 1538630"/>
                <a:gd name="csX415" fmla="*/ 1521102 w 1609516"/>
                <a:gd name="csY415" fmla="*/ 1189585 h 1538630"/>
                <a:gd name="csX416" fmla="*/ 1505022 w 1609516"/>
                <a:gd name="csY416" fmla="*/ 1172041 h 1538630"/>
                <a:gd name="csX417" fmla="*/ 1457573 w 1609516"/>
                <a:gd name="csY417" fmla="*/ 1140686 h 1538630"/>
                <a:gd name="csX418" fmla="*/ 1457573 w 1609516"/>
                <a:gd name="csY418" fmla="*/ 1137867 h 1538630"/>
                <a:gd name="csX419" fmla="*/ 1452985 w 1609516"/>
                <a:gd name="csY419" fmla="*/ 1137339 h 1538630"/>
                <a:gd name="csX420" fmla="*/ 1448200 w 1609516"/>
                <a:gd name="csY420" fmla="*/ 1136458 h 1538630"/>
                <a:gd name="csX421" fmla="*/ 1446638 w 1609516"/>
                <a:gd name="csY421" fmla="*/ 1133640 h 1538630"/>
                <a:gd name="csX422" fmla="*/ 1438937 w 1609516"/>
                <a:gd name="csY422" fmla="*/ 1130601 h 1538630"/>
                <a:gd name="csX423" fmla="*/ 1429260 w 1609516"/>
                <a:gd name="csY423" fmla="*/ 1126770 h 1538630"/>
                <a:gd name="csX424" fmla="*/ 1411393 w 1609516"/>
                <a:gd name="csY424" fmla="*/ 1120340 h 1538630"/>
                <a:gd name="csX425" fmla="*/ 1391427 w 1609516"/>
                <a:gd name="csY425" fmla="*/ 1111191 h 1538630"/>
                <a:gd name="csX426" fmla="*/ 1381029 w 1609516"/>
                <a:gd name="csY426" fmla="*/ 1106865 h 1538630"/>
                <a:gd name="csX427" fmla="*/ 1381029 w 1609516"/>
                <a:gd name="csY427" fmla="*/ 1104046 h 1538630"/>
                <a:gd name="csX428" fmla="*/ 1377221 w 1609516"/>
                <a:gd name="csY428" fmla="*/ 1103605 h 1538630"/>
                <a:gd name="csX429" fmla="*/ 1357597 w 1609516"/>
                <a:gd name="csY429" fmla="*/ 1098409 h 1538630"/>
                <a:gd name="csX430" fmla="*/ 1352032 w 1609516"/>
                <a:gd name="csY430" fmla="*/ 1096736 h 1538630"/>
                <a:gd name="csX431" fmla="*/ 1348225 w 1609516"/>
                <a:gd name="csY431" fmla="*/ 1095590 h 1538630"/>
                <a:gd name="csX432" fmla="*/ 1348225 w 1609516"/>
                <a:gd name="csY432" fmla="*/ 1092772 h 1538630"/>
                <a:gd name="csX433" fmla="*/ 1337290 w 1609516"/>
                <a:gd name="csY433" fmla="*/ 1091363 h 1538630"/>
                <a:gd name="csX434" fmla="*/ 1337290 w 1609516"/>
                <a:gd name="csY434" fmla="*/ 1088544 h 1538630"/>
                <a:gd name="csX435" fmla="*/ 1331529 w 1609516"/>
                <a:gd name="csY435" fmla="*/ 1088104 h 1538630"/>
                <a:gd name="csX436" fmla="*/ 1323297 w 1609516"/>
                <a:gd name="csY436" fmla="*/ 1086611 h 1538630"/>
                <a:gd name="csX437" fmla="*/ 1323297 w 1609516"/>
                <a:gd name="csY437" fmla="*/ 1087618 h 1538630"/>
                <a:gd name="csX438" fmla="*/ 1319789 w 1609516"/>
                <a:gd name="csY438" fmla="*/ 1087310 h 1538630"/>
                <a:gd name="csX439" fmla="*/ 1262375 w 1609516"/>
                <a:gd name="csY439" fmla="*/ 1089028 h 1538630"/>
                <a:gd name="csX440" fmla="*/ 1258728 w 1609516"/>
                <a:gd name="csY440" fmla="*/ 1088205 h 1538630"/>
                <a:gd name="csX441" fmla="*/ 1246964 w 1609516"/>
                <a:gd name="csY441" fmla="*/ 1091489 h 1538630"/>
                <a:gd name="csX442" fmla="*/ 1223224 w 1609516"/>
                <a:gd name="csY442" fmla="*/ 1112865 h 1538630"/>
                <a:gd name="csX443" fmla="*/ 1213883 w 1609516"/>
                <a:gd name="csY443" fmla="*/ 1122366 h 1538630"/>
                <a:gd name="csX444" fmla="*/ 1212505 w 1609516"/>
                <a:gd name="csY444" fmla="*/ 1125708 h 1538630"/>
                <a:gd name="csX445" fmla="*/ 1204180 w 1609516"/>
                <a:gd name="csY445" fmla="*/ 1135561 h 1538630"/>
                <a:gd name="csX446" fmla="*/ 1200238 w 1609516"/>
                <a:gd name="csY446" fmla="*/ 1138999 h 1538630"/>
                <a:gd name="csX447" fmla="*/ 1192025 w 1609516"/>
                <a:gd name="csY447" fmla="*/ 1146022 h 1538630"/>
                <a:gd name="csX448" fmla="*/ 1173945 w 1609516"/>
                <a:gd name="csY448" fmla="*/ 1174749 h 1538630"/>
                <a:gd name="csX449" fmla="*/ 1173950 w 1609516"/>
                <a:gd name="csY449" fmla="*/ 1182610 h 1538630"/>
                <a:gd name="csX450" fmla="*/ 1173989 w 1609516"/>
                <a:gd name="csY450" fmla="*/ 1186765 h 1538630"/>
                <a:gd name="csX451" fmla="*/ 1182640 w 1609516"/>
                <a:gd name="csY451" fmla="*/ 1215374 h 1538630"/>
                <a:gd name="csX452" fmla="*/ 1185764 w 1609516"/>
                <a:gd name="csY452" fmla="*/ 1221804 h 1538630"/>
                <a:gd name="csX453" fmla="*/ 1187301 w 1609516"/>
                <a:gd name="csY453" fmla="*/ 1224859 h 1538630"/>
                <a:gd name="csX454" fmla="*/ 1190573 w 1609516"/>
                <a:gd name="csY454" fmla="*/ 1231740 h 1538630"/>
                <a:gd name="csX455" fmla="*/ 1205925 w 1609516"/>
                <a:gd name="csY455" fmla="*/ 1255163 h 1538630"/>
                <a:gd name="csX456" fmla="*/ 1212174 w 1609516"/>
                <a:gd name="csY456" fmla="*/ 1263134 h 1538630"/>
                <a:gd name="csX457" fmla="*/ 1235556 w 1609516"/>
                <a:gd name="csY457" fmla="*/ 1282538 h 1538630"/>
                <a:gd name="csX458" fmla="*/ 1238876 w 1609516"/>
                <a:gd name="csY458" fmla="*/ 1284426 h 1538630"/>
                <a:gd name="csX459" fmla="*/ 1238876 w 1609516"/>
                <a:gd name="csY459" fmla="*/ 1287245 h 1538630"/>
                <a:gd name="csX460" fmla="*/ 1242245 w 1609516"/>
                <a:gd name="csY460" fmla="*/ 1287663 h 1538630"/>
                <a:gd name="csX461" fmla="*/ 1271681 w 1609516"/>
                <a:gd name="csY461" fmla="*/ 1305565 h 1538630"/>
                <a:gd name="csX462" fmla="*/ 1271742 w 1609516"/>
                <a:gd name="csY462" fmla="*/ 1306172 h 1538630"/>
                <a:gd name="csX463" fmla="*/ 1278525 w 1609516"/>
                <a:gd name="csY463" fmla="*/ 1315767 h 1538630"/>
                <a:gd name="csX464" fmla="*/ 1281097 w 1609516"/>
                <a:gd name="csY464" fmla="*/ 1327286 h 1538630"/>
                <a:gd name="csX465" fmla="*/ 1277973 w 1609516"/>
                <a:gd name="csY465" fmla="*/ 1355470 h 1538630"/>
                <a:gd name="csX466" fmla="*/ 1277460 w 1609516"/>
                <a:gd name="csY466" fmla="*/ 1347025 h 1538630"/>
                <a:gd name="csX467" fmla="*/ 1273531 w 1609516"/>
                <a:gd name="csY467" fmla="*/ 1357991 h 1538630"/>
                <a:gd name="csX468" fmla="*/ 1263870 w 1609516"/>
                <a:gd name="csY468" fmla="*/ 1368980 h 1538630"/>
                <a:gd name="csX469" fmla="*/ 1246686 w 1609516"/>
                <a:gd name="csY469" fmla="*/ 1376026 h 1538630"/>
                <a:gd name="csX470" fmla="*/ 1246686 w 1609516"/>
                <a:gd name="csY470" fmla="*/ 1378844 h 1538630"/>
                <a:gd name="csX471" fmla="*/ 1231651 w 1609516"/>
                <a:gd name="csY471" fmla="*/ 1379196 h 1538630"/>
                <a:gd name="csX472" fmla="*/ 1227373 w 1609516"/>
                <a:gd name="csY472" fmla="*/ 1379340 h 1538630"/>
                <a:gd name="csX473" fmla="*/ 1206071 w 1609516"/>
                <a:gd name="csY473" fmla="*/ 1373207 h 1538630"/>
                <a:gd name="csX474" fmla="*/ 1202069 w 1609516"/>
                <a:gd name="csY474" fmla="*/ 1371798 h 1538630"/>
                <a:gd name="csX475" fmla="*/ 1184104 w 1609516"/>
                <a:gd name="csY475" fmla="*/ 1356176 h 1538630"/>
                <a:gd name="csX476" fmla="*/ 1177270 w 1609516"/>
                <a:gd name="csY476" fmla="*/ 1335247 h 1538630"/>
                <a:gd name="csX477" fmla="*/ 1169002 w 1609516"/>
                <a:gd name="csY477" fmla="*/ 1313464 h 1538630"/>
                <a:gd name="csX478" fmla="*/ 1163504 w 1609516"/>
                <a:gd name="csY478" fmla="*/ 1302130 h 1538630"/>
                <a:gd name="csX479" fmla="*/ 1162015 w 1609516"/>
                <a:gd name="csY479" fmla="*/ 1298788 h 1538630"/>
                <a:gd name="csX480" fmla="*/ 1160111 w 1609516"/>
                <a:gd name="csY480" fmla="*/ 1292656 h 1538630"/>
                <a:gd name="csX481" fmla="*/ 1154522 w 1609516"/>
                <a:gd name="csY481" fmla="*/ 1287245 h 1538630"/>
                <a:gd name="csX482" fmla="*/ 1151398 w 1609516"/>
                <a:gd name="csY482" fmla="*/ 1280199 h 1538630"/>
                <a:gd name="csX483" fmla="*/ 1144173 w 1609516"/>
                <a:gd name="csY483" fmla="*/ 1270774 h 1538630"/>
                <a:gd name="csX484" fmla="*/ 1142065 w 1609516"/>
                <a:gd name="csY484" fmla="*/ 1268160 h 1538630"/>
                <a:gd name="csX485" fmla="*/ 1135776 w 1609516"/>
                <a:gd name="csY485" fmla="*/ 1260470 h 1538630"/>
                <a:gd name="csX486" fmla="*/ 1132353 w 1609516"/>
                <a:gd name="csY486" fmla="*/ 1256247 h 1538630"/>
                <a:gd name="csX487" fmla="*/ 1112344 w 1609516"/>
                <a:gd name="csY487" fmla="*/ 1240741 h 1538630"/>
                <a:gd name="csX488" fmla="*/ 1106193 w 1609516"/>
                <a:gd name="csY488" fmla="*/ 1237570 h 1538630"/>
                <a:gd name="csX489" fmla="*/ 1101409 w 1609516"/>
                <a:gd name="csY489" fmla="*/ 1235104 h 1538630"/>
                <a:gd name="csX490" fmla="*/ 1101409 w 1609516"/>
                <a:gd name="csY490" fmla="*/ 1230876 h 1538630"/>
                <a:gd name="csX491" fmla="*/ 1065480 w 1609516"/>
                <a:gd name="csY491" fmla="*/ 1230876 h 1538630"/>
                <a:gd name="csX492" fmla="*/ 1063919 w 1609516"/>
                <a:gd name="csY492" fmla="*/ 1235104 h 1538630"/>
                <a:gd name="csX493" fmla="*/ 1059232 w 1609516"/>
                <a:gd name="csY493" fmla="*/ 1235104 h 1538630"/>
                <a:gd name="csX494" fmla="*/ 1059232 w 1609516"/>
                <a:gd name="csY494" fmla="*/ 1237922 h 1538630"/>
                <a:gd name="csX495" fmla="*/ 1040194 w 1609516"/>
                <a:gd name="csY495" fmla="*/ 1245761 h 1538630"/>
                <a:gd name="csX496" fmla="*/ 1030333 w 1609516"/>
                <a:gd name="csY496" fmla="*/ 1249901 h 1538630"/>
                <a:gd name="csX497" fmla="*/ 1013931 w 1609516"/>
                <a:gd name="csY497" fmla="*/ 1256242 h 1538630"/>
                <a:gd name="csX498" fmla="*/ 1005925 w 1609516"/>
                <a:gd name="csY498" fmla="*/ 1261615 h 1538630"/>
                <a:gd name="csX499" fmla="*/ 1004558 w 1609516"/>
                <a:gd name="csY499" fmla="*/ 1264697 h 1538630"/>
                <a:gd name="csX500" fmla="*/ 1002959 w 1609516"/>
                <a:gd name="csY500" fmla="*/ 1267961 h 1538630"/>
                <a:gd name="csX501" fmla="*/ 1000653 w 1609516"/>
                <a:gd name="csY501" fmla="*/ 1278965 h 1538630"/>
                <a:gd name="csX502" fmla="*/ 998297 w 1609516"/>
                <a:gd name="csY502" fmla="*/ 1294137 h 1538630"/>
                <a:gd name="csX503" fmla="*/ 996162 w 1609516"/>
                <a:gd name="csY503" fmla="*/ 1324765 h 1538630"/>
                <a:gd name="csX504" fmla="*/ 996164 w 1609516"/>
                <a:gd name="csY504" fmla="*/ 1327846 h 1538630"/>
                <a:gd name="csX505" fmla="*/ 1007780 w 1609516"/>
                <a:gd name="csY505" fmla="*/ 1403329 h 1538630"/>
                <a:gd name="csX506" fmla="*/ 1008940 w 1609516"/>
                <a:gd name="csY506" fmla="*/ 1407701 h 1538630"/>
                <a:gd name="csX507" fmla="*/ 1010080 w 1609516"/>
                <a:gd name="csY507" fmla="*/ 1411730 h 1538630"/>
                <a:gd name="csX508" fmla="*/ 1011075 w 1609516"/>
                <a:gd name="csY508" fmla="*/ 1415277 h 1538630"/>
                <a:gd name="csX509" fmla="*/ 1017055 w 1609516"/>
                <a:gd name="csY509" fmla="*/ 1422530 h 1538630"/>
                <a:gd name="csX510" fmla="*/ 1020277 w 1609516"/>
                <a:gd name="csY510" fmla="*/ 1427991 h 1538630"/>
                <a:gd name="csX511" fmla="*/ 1021796 w 1609516"/>
                <a:gd name="csY511" fmla="*/ 1430798 h 1538630"/>
                <a:gd name="csX512" fmla="*/ 1024579 w 1609516"/>
                <a:gd name="csY512" fmla="*/ 1437239 h 1538630"/>
                <a:gd name="csX513" fmla="*/ 1034043 w 1609516"/>
                <a:gd name="csY513" fmla="*/ 1448072 h 1538630"/>
                <a:gd name="csX514" fmla="*/ 1043782 w 1609516"/>
                <a:gd name="csY514" fmla="*/ 1464320 h 1538630"/>
                <a:gd name="csX515" fmla="*/ 1050458 w 1609516"/>
                <a:gd name="csY515" fmla="*/ 1472189 h 1538630"/>
                <a:gd name="csX516" fmla="*/ 1052926 w 1609516"/>
                <a:gd name="csY516" fmla="*/ 1482370 h 1538630"/>
                <a:gd name="csX517" fmla="*/ 1053316 w 1609516"/>
                <a:gd name="csY517" fmla="*/ 1496903 h 1538630"/>
                <a:gd name="csX518" fmla="*/ 1053352 w 1609516"/>
                <a:gd name="csY518" fmla="*/ 1500660 h 1538630"/>
                <a:gd name="csX519" fmla="*/ 1053341 w 1609516"/>
                <a:gd name="csY519" fmla="*/ 1504285 h 1538630"/>
                <a:gd name="csX520" fmla="*/ 1053329 w 1609516"/>
                <a:gd name="csY520" fmla="*/ 1507529 h 1538630"/>
                <a:gd name="csX521" fmla="*/ 1049801 w 1609516"/>
                <a:gd name="csY521" fmla="*/ 1516192 h 1538630"/>
                <a:gd name="csX522" fmla="*/ 1047312 w 1609516"/>
                <a:gd name="csY522" fmla="*/ 1516192 h 1538630"/>
                <a:gd name="csX523" fmla="*/ 1043611 w 1609516"/>
                <a:gd name="csY523" fmla="*/ 1522585 h 1538630"/>
                <a:gd name="csX524" fmla="*/ 1029552 w 1609516"/>
                <a:gd name="csY524" fmla="*/ 1529631 h 1538630"/>
                <a:gd name="csX525" fmla="*/ 1028771 w 1609516"/>
                <a:gd name="csY525" fmla="*/ 1532273 h 1538630"/>
                <a:gd name="csX526" fmla="*/ 1018013 w 1609516"/>
                <a:gd name="csY526" fmla="*/ 1537640 h 1538630"/>
                <a:gd name="csX527" fmla="*/ 981126 w 1609516"/>
                <a:gd name="csY527" fmla="*/ 1533859 h 1538630"/>
                <a:gd name="csX528" fmla="*/ 977227 w 1609516"/>
                <a:gd name="csY528" fmla="*/ 1531943 h 1538630"/>
                <a:gd name="csX529" fmla="*/ 955376 w 1609516"/>
                <a:gd name="csY529" fmla="*/ 1508751 h 1538630"/>
                <a:gd name="csX530" fmla="*/ 954571 w 1609516"/>
                <a:gd name="csY530" fmla="*/ 1500037 h 1538630"/>
                <a:gd name="csX531" fmla="*/ 951446 w 1609516"/>
                <a:gd name="csY531" fmla="*/ 1500037 h 1538630"/>
                <a:gd name="csX532" fmla="*/ 951251 w 1609516"/>
                <a:gd name="csY532" fmla="*/ 1487883 h 1538630"/>
                <a:gd name="csX533" fmla="*/ 951171 w 1609516"/>
                <a:gd name="csY533" fmla="*/ 1484431 h 1538630"/>
                <a:gd name="csX534" fmla="*/ 954571 w 1609516"/>
                <a:gd name="csY534" fmla="*/ 1466216 h 1538630"/>
                <a:gd name="csX535" fmla="*/ 954961 w 1609516"/>
                <a:gd name="csY535" fmla="*/ 1455118 h 1538630"/>
                <a:gd name="csX536" fmla="*/ 954932 w 1609516"/>
                <a:gd name="csY536" fmla="*/ 1451972 h 1538630"/>
                <a:gd name="csX537" fmla="*/ 945099 w 1609516"/>
                <a:gd name="csY537" fmla="*/ 1403594 h 1538630"/>
                <a:gd name="csX538" fmla="*/ 942366 w 1609516"/>
                <a:gd name="csY538" fmla="*/ 1393553 h 1538630"/>
                <a:gd name="csX539" fmla="*/ 934451 w 1609516"/>
                <a:gd name="csY539" fmla="*/ 1372734 h 1538630"/>
                <a:gd name="csX540" fmla="*/ 931974 w 1609516"/>
                <a:gd name="csY540" fmla="*/ 1365754 h 1538630"/>
                <a:gd name="csX541" fmla="*/ 931138 w 1609516"/>
                <a:gd name="csY541" fmla="*/ 1363343 h 1538630"/>
                <a:gd name="csX542" fmla="*/ 926452 w 1609516"/>
                <a:gd name="csY542" fmla="*/ 1361933 h 1538630"/>
                <a:gd name="csX543" fmla="*/ 918641 w 1609516"/>
                <a:gd name="csY543" fmla="*/ 1340795 h 1538630"/>
                <a:gd name="csX544" fmla="*/ 917079 w 1609516"/>
                <a:gd name="csY544" fmla="*/ 1335158 h 1538630"/>
                <a:gd name="csX545" fmla="*/ 913955 w 1609516"/>
                <a:gd name="csY545" fmla="*/ 1335158 h 1538630"/>
                <a:gd name="csX546" fmla="*/ 912057 w 1609516"/>
                <a:gd name="csY546" fmla="*/ 1330793 h 1538630"/>
                <a:gd name="csX547" fmla="*/ 902142 w 1609516"/>
                <a:gd name="csY547" fmla="*/ 1316222 h 1538630"/>
                <a:gd name="csX548" fmla="*/ 900091 w 1609516"/>
                <a:gd name="csY548" fmla="*/ 1313828 h 1538630"/>
                <a:gd name="csX549" fmla="*/ 878026 w 1609516"/>
                <a:gd name="csY549" fmla="*/ 1295700 h 1538630"/>
                <a:gd name="csX550" fmla="*/ 875134 w 1609516"/>
                <a:gd name="csY550" fmla="*/ 1293465 h 1538630"/>
                <a:gd name="csX551" fmla="*/ 869869 w 1609516"/>
                <a:gd name="csY551" fmla="*/ 1291826 h 1538630"/>
                <a:gd name="csX552" fmla="*/ 862384 w 1609516"/>
                <a:gd name="csY552" fmla="*/ 1291327 h 1538630"/>
                <a:gd name="csX553" fmla="*/ 844390 w 1609516"/>
                <a:gd name="csY553" fmla="*/ 1290461 h 1538630"/>
                <a:gd name="csX554" fmla="*/ 840476 w 1609516"/>
                <a:gd name="csY554" fmla="*/ 1290500 h 1538630"/>
                <a:gd name="csX555" fmla="*/ 831015 w 1609516"/>
                <a:gd name="csY555" fmla="*/ 1290637 h 1538630"/>
                <a:gd name="csX556" fmla="*/ 831015 w 1609516"/>
                <a:gd name="csY556" fmla="*/ 1293456 h 1538630"/>
                <a:gd name="csX557" fmla="*/ 818225 w 1609516"/>
                <a:gd name="csY557" fmla="*/ 1295570 h 1538630"/>
                <a:gd name="csX558" fmla="*/ 796774 w 1609516"/>
                <a:gd name="csY558" fmla="*/ 1297671 h 1538630"/>
                <a:gd name="csX559" fmla="*/ 783646 w 1609516"/>
                <a:gd name="csY559" fmla="*/ 1305736 h 1538630"/>
                <a:gd name="csX560" fmla="*/ 769263 w 1609516"/>
                <a:gd name="csY560" fmla="*/ 1327143 h 1538630"/>
                <a:gd name="csX561" fmla="*/ 764797 w 1609516"/>
                <a:gd name="csY561" fmla="*/ 1334360 h 1538630"/>
                <a:gd name="csX562" fmla="*/ 757875 w 1609516"/>
                <a:gd name="csY562" fmla="*/ 1353503 h 1538630"/>
                <a:gd name="csX563" fmla="*/ 755676 w 1609516"/>
                <a:gd name="csY563" fmla="*/ 1367455 h 1538630"/>
                <a:gd name="csX564" fmla="*/ 750558 w 1609516"/>
                <a:gd name="csY564" fmla="*/ 1399690 h 1538630"/>
                <a:gd name="csX565" fmla="*/ 753057 w 1609516"/>
                <a:gd name="csY565" fmla="*/ 1411256 h 1538630"/>
                <a:gd name="csX566" fmla="*/ 753057 w 1609516"/>
                <a:gd name="csY566" fmla="*/ 1416893 h 1538630"/>
                <a:gd name="csX567" fmla="*/ 756181 w 1609516"/>
                <a:gd name="csY567" fmla="*/ 1416893 h 1538630"/>
                <a:gd name="csX568" fmla="*/ 758133 w 1609516"/>
                <a:gd name="csY568" fmla="*/ 1436182 h 1538630"/>
                <a:gd name="csX569" fmla="*/ 758231 w 1609516"/>
                <a:gd name="csY569" fmla="*/ 1440781 h 1538630"/>
                <a:gd name="csX570" fmla="*/ 750713 w 1609516"/>
                <a:gd name="csY570" fmla="*/ 1465704 h 1538630"/>
                <a:gd name="csX571" fmla="*/ 748370 w 1609516"/>
                <a:gd name="csY571" fmla="*/ 1467185 h 1538630"/>
                <a:gd name="csX572" fmla="*/ 741633 w 1609516"/>
                <a:gd name="csY572" fmla="*/ 1473526 h 1538630"/>
                <a:gd name="csX573" fmla="*/ 728154 w 1609516"/>
                <a:gd name="csY573" fmla="*/ 1478343 h 1538630"/>
                <a:gd name="csX574" fmla="*/ 721814 w 1609516"/>
                <a:gd name="csY574" fmla="*/ 1480308 h 1538630"/>
                <a:gd name="csX575" fmla="*/ 708341 w 1609516"/>
                <a:gd name="csY575" fmla="*/ 1480661 h 1538630"/>
                <a:gd name="csX576" fmla="*/ 704637 w 1609516"/>
                <a:gd name="csY576" fmla="*/ 1480748 h 1538630"/>
                <a:gd name="csX577" fmla="*/ 668507 w 1609516"/>
                <a:gd name="csY577" fmla="*/ 1468418 h 1538630"/>
                <a:gd name="csX578" fmla="*/ 660178 w 1609516"/>
                <a:gd name="csY578" fmla="*/ 1450027 h 1538630"/>
                <a:gd name="csX579" fmla="*/ 657767 w 1609516"/>
                <a:gd name="csY579" fmla="*/ 1445078 h 1538630"/>
                <a:gd name="csX580" fmla="*/ 663369 w 1609516"/>
                <a:gd name="csY580" fmla="*/ 1409390 h 1538630"/>
                <a:gd name="csX581" fmla="*/ 671826 w 1609516"/>
                <a:gd name="csY581" fmla="*/ 1401392 h 1538630"/>
                <a:gd name="csX582" fmla="*/ 678075 w 1609516"/>
                <a:gd name="csY582" fmla="*/ 1390118 h 1538630"/>
                <a:gd name="csX583" fmla="*/ 684323 w 1609516"/>
                <a:gd name="csY583" fmla="*/ 1388709 h 1538630"/>
                <a:gd name="csX584" fmla="*/ 685293 w 1609516"/>
                <a:gd name="csY584" fmla="*/ 1384233 h 1538630"/>
                <a:gd name="csX585" fmla="*/ 686569 w 1609516"/>
                <a:gd name="csY585" fmla="*/ 1378404 h 1538630"/>
                <a:gd name="csX586" fmla="*/ 687207 w 1609516"/>
                <a:gd name="csY586" fmla="*/ 1375456 h 1538630"/>
                <a:gd name="csX587" fmla="*/ 690572 w 1609516"/>
                <a:gd name="csY587" fmla="*/ 1363343 h 1538630"/>
                <a:gd name="csX588" fmla="*/ 692495 w 1609516"/>
                <a:gd name="csY588" fmla="*/ 1323376 h 1538630"/>
                <a:gd name="csX589" fmla="*/ 692625 w 1609516"/>
                <a:gd name="csY589" fmla="*/ 1315006 h 1538630"/>
                <a:gd name="csX590" fmla="*/ 687447 w 1609516"/>
                <a:gd name="csY590" fmla="*/ 1287245 h 1538630"/>
                <a:gd name="csX591" fmla="*/ 682761 w 1609516"/>
                <a:gd name="csY591" fmla="*/ 1285835 h 1538630"/>
                <a:gd name="csX592" fmla="*/ 678954 w 1609516"/>
                <a:gd name="csY592" fmla="*/ 1281608 h 1538630"/>
                <a:gd name="csX593" fmla="*/ 668702 w 1609516"/>
                <a:gd name="csY593" fmla="*/ 1275971 h 1538630"/>
                <a:gd name="csX594" fmla="*/ 662454 w 1609516"/>
                <a:gd name="csY594" fmla="*/ 1270334 h 1538630"/>
                <a:gd name="csX595" fmla="*/ 654643 w 1609516"/>
                <a:gd name="csY595" fmla="*/ 1267516 h 1538630"/>
                <a:gd name="csX596" fmla="*/ 654643 w 1609516"/>
                <a:gd name="csY596" fmla="*/ 1264697 h 1538630"/>
                <a:gd name="csX597" fmla="*/ 650152 w 1609516"/>
                <a:gd name="csY597" fmla="*/ 1264345 h 1538630"/>
                <a:gd name="csX598" fmla="*/ 628087 w 1609516"/>
                <a:gd name="csY598" fmla="*/ 1257651 h 1538630"/>
                <a:gd name="csX599" fmla="*/ 628087 w 1609516"/>
                <a:gd name="csY599" fmla="*/ 1254833 h 1538630"/>
                <a:gd name="csX600" fmla="*/ 625121 w 1609516"/>
                <a:gd name="csY600" fmla="*/ 1254315 h 1538630"/>
                <a:gd name="csX601" fmla="*/ 621252 w 1609516"/>
                <a:gd name="csY601" fmla="*/ 1253600 h 1538630"/>
                <a:gd name="csX602" fmla="*/ 617409 w 1609516"/>
                <a:gd name="csY602" fmla="*/ 1252906 h 1538630"/>
                <a:gd name="csX603" fmla="*/ 610904 w 1609516"/>
                <a:gd name="csY603" fmla="*/ 1249196 h 1538630"/>
                <a:gd name="csX604" fmla="*/ 565739 w 1609516"/>
                <a:gd name="csY604" fmla="*/ 1271742 h 1538630"/>
                <a:gd name="csX605" fmla="*/ 546924 w 1609516"/>
                <a:gd name="csY605" fmla="*/ 1290829 h 1538630"/>
                <a:gd name="csX606" fmla="*/ 543635 w 1609516"/>
                <a:gd name="csY606" fmla="*/ 1294643 h 1538630"/>
                <a:gd name="csX607" fmla="*/ 540651 w 1609516"/>
                <a:gd name="csY607" fmla="*/ 1298188 h 1538630"/>
                <a:gd name="csX608" fmla="*/ 529673 w 1609516"/>
                <a:gd name="csY608" fmla="*/ 1305565 h 1538630"/>
                <a:gd name="csX609" fmla="*/ 526549 w 1609516"/>
                <a:gd name="csY609" fmla="*/ 1311202 h 1538630"/>
                <a:gd name="csX610" fmla="*/ 523425 w 1609516"/>
                <a:gd name="csY610" fmla="*/ 1311202 h 1538630"/>
                <a:gd name="csX611" fmla="*/ 523230 w 1609516"/>
                <a:gd name="csY611" fmla="*/ 1313580 h 1538630"/>
                <a:gd name="csX612" fmla="*/ 517732 w 1609516"/>
                <a:gd name="csY612" fmla="*/ 1319739 h 1538630"/>
                <a:gd name="csX613" fmla="*/ 502239 w 1609516"/>
                <a:gd name="csY613" fmla="*/ 1337096 h 1538630"/>
                <a:gd name="csX614" fmla="*/ 497058 w 1609516"/>
                <a:gd name="csY614" fmla="*/ 1344087 h 1538630"/>
                <a:gd name="csX615" fmla="*/ 494572 w 1609516"/>
                <a:gd name="csY615" fmla="*/ 1347465 h 1538630"/>
                <a:gd name="csX616" fmla="*/ 487776 w 1609516"/>
                <a:gd name="csY616" fmla="*/ 1356181 h 1538630"/>
                <a:gd name="csX617" fmla="*/ 481248 w 1609516"/>
                <a:gd name="csY617" fmla="*/ 1367571 h 1538630"/>
                <a:gd name="csX618" fmla="*/ 478123 w 1609516"/>
                <a:gd name="csY618" fmla="*/ 1367571 h 1538630"/>
                <a:gd name="csX619" fmla="*/ 477635 w 1609516"/>
                <a:gd name="csY619" fmla="*/ 1370565 h 1538630"/>
                <a:gd name="csX620" fmla="*/ 465626 w 1609516"/>
                <a:gd name="csY620" fmla="*/ 1388709 h 1538630"/>
                <a:gd name="csX621" fmla="*/ 461233 w 1609516"/>
                <a:gd name="csY621" fmla="*/ 1397340 h 1538630"/>
                <a:gd name="csX622" fmla="*/ 455765 w 1609516"/>
                <a:gd name="csY622" fmla="*/ 1408086 h 1538630"/>
                <a:gd name="csX623" fmla="*/ 439070 w 1609516"/>
                <a:gd name="csY623" fmla="*/ 1477490 h 1538630"/>
                <a:gd name="csX624" fmla="*/ 434384 w 1609516"/>
                <a:gd name="csY624" fmla="*/ 1478899 h 1538630"/>
                <a:gd name="csX625" fmla="*/ 432431 w 1609516"/>
                <a:gd name="csY625" fmla="*/ 1481982 h 1538630"/>
                <a:gd name="csX626" fmla="*/ 418763 w 1609516"/>
                <a:gd name="csY626" fmla="*/ 1494401 h 1538630"/>
                <a:gd name="csX627" fmla="*/ 415639 w 1609516"/>
                <a:gd name="csY627" fmla="*/ 1494401 h 1538630"/>
                <a:gd name="csX628" fmla="*/ 415639 w 1609516"/>
                <a:gd name="csY628" fmla="*/ 1497219 h 1538630"/>
                <a:gd name="csX629" fmla="*/ 406265 w 1609516"/>
                <a:gd name="csY629" fmla="*/ 1498628 h 1538630"/>
                <a:gd name="csX630" fmla="*/ 406265 w 1609516"/>
                <a:gd name="csY630" fmla="*/ 1501447 h 1538630"/>
                <a:gd name="csX631" fmla="*/ 375023 w 1609516"/>
                <a:gd name="csY631" fmla="*/ 1501447 h 1538630"/>
                <a:gd name="csX632" fmla="*/ 375023 w 1609516"/>
                <a:gd name="csY632" fmla="*/ 1499438 h 1538630"/>
                <a:gd name="csX633" fmla="*/ 374964 w 1609516"/>
                <a:gd name="csY633" fmla="*/ 1499436 h 1538630"/>
                <a:gd name="csX634" fmla="*/ 373179 w 1609516"/>
                <a:gd name="csY634" fmla="*/ 1498628 h 1538630"/>
                <a:gd name="csX635" fmla="*/ 365650 w 1609516"/>
                <a:gd name="csY635" fmla="*/ 1498628 h 1538630"/>
                <a:gd name="csX636" fmla="*/ 363134 w 1609516"/>
                <a:gd name="csY636" fmla="*/ 1494087 h 1538630"/>
                <a:gd name="csX637" fmla="*/ 362171 w 1609516"/>
                <a:gd name="csY637" fmla="*/ 1493651 h 1538630"/>
                <a:gd name="csX638" fmla="*/ 360609 w 1609516"/>
                <a:gd name="csY638" fmla="*/ 1490833 h 1538630"/>
                <a:gd name="csX639" fmla="*/ 363733 w 1609516"/>
                <a:gd name="csY639" fmla="*/ 1490833 h 1538630"/>
                <a:gd name="csX640" fmla="*/ 363733 w 1609516"/>
                <a:gd name="csY640" fmla="*/ 1489980 h 1538630"/>
                <a:gd name="csX641" fmla="*/ 348467 w 1609516"/>
                <a:gd name="csY641" fmla="*/ 1481717 h 1538630"/>
                <a:gd name="csX642" fmla="*/ 343872 w 1609516"/>
                <a:gd name="csY642" fmla="*/ 1461078 h 1538630"/>
                <a:gd name="csX643" fmla="*/ 343656 w 1609516"/>
                <a:gd name="csY643" fmla="*/ 1463649 h 1538630"/>
                <a:gd name="csX644" fmla="*/ 343424 w 1609516"/>
                <a:gd name="csY644" fmla="*/ 1466842 h 1538630"/>
                <a:gd name="csX645" fmla="*/ 341861 w 1609516"/>
                <a:gd name="csY645" fmla="*/ 1466842 h 1538630"/>
                <a:gd name="csX646" fmla="*/ 354143 w 1609516"/>
                <a:gd name="csY646" fmla="*/ 1420549 h 1538630"/>
                <a:gd name="csX647" fmla="*/ 376229 w 1609516"/>
                <a:gd name="csY647" fmla="*/ 1403427 h 1538630"/>
                <a:gd name="csX648" fmla="*/ 379491 w 1609516"/>
                <a:gd name="csY648" fmla="*/ 1404408 h 1538630"/>
                <a:gd name="csX649" fmla="*/ 379710 w 1609516"/>
                <a:gd name="csY649" fmla="*/ 1404210 h 1538630"/>
                <a:gd name="csX650" fmla="*/ 380882 w 1609516"/>
                <a:gd name="csY650" fmla="*/ 1401568 h 1538630"/>
                <a:gd name="csX651" fmla="*/ 392207 w 1609516"/>
                <a:gd name="csY651" fmla="*/ 1392936 h 1538630"/>
                <a:gd name="csX652" fmla="*/ 399542 w 1609516"/>
                <a:gd name="csY652" fmla="*/ 1386774 h 1538630"/>
                <a:gd name="csX653" fmla="*/ 405485 w 1609516"/>
                <a:gd name="csY653" fmla="*/ 1378917 h 1538630"/>
                <a:gd name="csX654" fmla="*/ 412008 w 1609516"/>
                <a:gd name="csY654" fmla="*/ 1369481 h 1538630"/>
                <a:gd name="csX655" fmla="*/ 421130 w 1609516"/>
                <a:gd name="csY655" fmla="*/ 1357057 h 1538630"/>
                <a:gd name="csX656" fmla="*/ 424676 w 1609516"/>
                <a:gd name="csY656" fmla="*/ 1348443 h 1538630"/>
                <a:gd name="csX657" fmla="*/ 427275 w 1609516"/>
                <a:gd name="csY657" fmla="*/ 1348443 h 1538630"/>
                <a:gd name="csX658" fmla="*/ 428135 w 1609516"/>
                <a:gd name="csY658" fmla="*/ 1345727 h 1538630"/>
                <a:gd name="csX659" fmla="*/ 432822 w 1609516"/>
                <a:gd name="csY659" fmla="*/ 1335158 h 1538630"/>
                <a:gd name="csX660" fmla="*/ 435946 w 1609516"/>
                <a:gd name="csY660" fmla="*/ 1335158 h 1538630"/>
                <a:gd name="csX661" fmla="*/ 437704 w 1609516"/>
                <a:gd name="csY661" fmla="*/ 1329786 h 1538630"/>
                <a:gd name="csX662" fmla="*/ 447394 w 1609516"/>
                <a:gd name="csY662" fmla="*/ 1311196 h 1538630"/>
                <a:gd name="csX663" fmla="*/ 469287 w 1609516"/>
                <a:gd name="csY663" fmla="*/ 1265964 h 1538630"/>
                <a:gd name="csX664" fmla="*/ 478178 w 1609516"/>
                <a:gd name="csY664" fmla="*/ 1246787 h 1538630"/>
                <a:gd name="csX665" fmla="*/ 480179 w 1609516"/>
                <a:gd name="csY665" fmla="*/ 1225768 h 1538630"/>
                <a:gd name="csX666" fmla="*/ 480250 w 1609516"/>
                <a:gd name="csY666" fmla="*/ 1217149 h 1538630"/>
                <a:gd name="csX667" fmla="*/ 462972 w 1609516"/>
                <a:gd name="csY667" fmla="*/ 1174827 h 1538630"/>
                <a:gd name="csX668" fmla="*/ 457468 w 1609516"/>
                <a:gd name="csY668" fmla="*/ 1169949 h 1538630"/>
                <a:gd name="csX669" fmla="*/ 440657 w 1609516"/>
                <a:gd name="csY669" fmla="*/ 1152570 h 1538630"/>
                <a:gd name="csX670" fmla="*/ 403142 w 1609516"/>
                <a:gd name="csY670" fmla="*/ 1122366 h 1538630"/>
                <a:gd name="csX671" fmla="*/ 401579 w 1609516"/>
                <a:gd name="csY671" fmla="*/ 1119547 h 1538630"/>
                <a:gd name="csX672" fmla="*/ 364564 w 1609516"/>
                <a:gd name="csY672" fmla="*/ 1118209 h 1538630"/>
                <a:gd name="csX673" fmla="*/ 357822 w 1609516"/>
                <a:gd name="csY673" fmla="*/ 1122041 h 1538630"/>
                <a:gd name="csX674" fmla="*/ 348077 w 1609516"/>
                <a:gd name="csY674" fmla="*/ 1125273 h 1538630"/>
                <a:gd name="csX675" fmla="*/ 334408 w 1609516"/>
                <a:gd name="csY675" fmla="*/ 1132230 h 1538630"/>
                <a:gd name="csX676" fmla="*/ 327964 w 1609516"/>
                <a:gd name="csY676" fmla="*/ 1134080 h 1538630"/>
                <a:gd name="csX677" fmla="*/ 279734 w 1609516"/>
                <a:gd name="csY677" fmla="*/ 1166051 h 1538630"/>
                <a:gd name="csX678" fmla="*/ 276609 w 1609516"/>
                <a:gd name="csY678" fmla="*/ 1173098 h 1538630"/>
                <a:gd name="csX679" fmla="*/ 260988 w 1609516"/>
                <a:gd name="csY679" fmla="*/ 1188599 h 1538630"/>
                <a:gd name="csX680" fmla="*/ 257956 w 1609516"/>
                <a:gd name="csY680" fmla="*/ 1191132 h 1538630"/>
                <a:gd name="csX681" fmla="*/ 243805 w 1609516"/>
                <a:gd name="csY681" fmla="*/ 1196629 h 1538630"/>
                <a:gd name="csX682" fmla="*/ 243805 w 1609516"/>
                <a:gd name="csY682" fmla="*/ 1194236 h 1538630"/>
                <a:gd name="csX683" fmla="*/ 240288 w 1609516"/>
                <a:gd name="csY683" fmla="*/ 1194765 h 1538630"/>
                <a:gd name="csX684" fmla="*/ 243374 w 1609516"/>
                <a:gd name="csY684" fmla="*/ 1194765 h 1538630"/>
                <a:gd name="csX685" fmla="*/ 243374 w 1609516"/>
                <a:gd name="csY685" fmla="*/ 1196797 h 1538630"/>
                <a:gd name="csX686" fmla="*/ 243805 w 1609516"/>
                <a:gd name="csY686" fmla="*/ 1196629 h 1538630"/>
                <a:gd name="csX687" fmla="*/ 243805 w 1609516"/>
                <a:gd name="csY687" fmla="*/ 1197055 h 1538630"/>
                <a:gd name="csX688" fmla="*/ 243374 w 1609516"/>
                <a:gd name="csY688" fmla="*/ 1197055 h 1538630"/>
                <a:gd name="csX689" fmla="*/ 243374 w 1609516"/>
                <a:gd name="csY689" fmla="*/ 1197584 h 1538630"/>
                <a:gd name="csX690" fmla="*/ 241319 w 1609516"/>
                <a:gd name="csY690" fmla="*/ 1197595 h 1538630"/>
                <a:gd name="csX691" fmla="*/ 238009 w 1609516"/>
                <a:gd name="csY691" fmla="*/ 1198881 h 1538630"/>
                <a:gd name="csX692" fmla="*/ 215687 w 1609516"/>
                <a:gd name="csY692" fmla="*/ 1198464 h 1538630"/>
                <a:gd name="csX693" fmla="*/ 215687 w 1609516"/>
                <a:gd name="csY693" fmla="*/ 1197734 h 1538630"/>
                <a:gd name="csX694" fmla="*/ 213936 w 1609516"/>
                <a:gd name="csY694" fmla="*/ 1197744 h 1538630"/>
                <a:gd name="csX695" fmla="*/ 207446 w 1609516"/>
                <a:gd name="csY695" fmla="*/ 1196175 h 1538630"/>
                <a:gd name="csX696" fmla="*/ 207822 w 1609516"/>
                <a:gd name="csY696" fmla="*/ 1195610 h 1538630"/>
                <a:gd name="csX697" fmla="*/ 184737 w 1609516"/>
                <a:gd name="csY697" fmla="*/ 1180936 h 1538630"/>
                <a:gd name="csX698" fmla="*/ 179270 w 1609516"/>
                <a:gd name="csY698" fmla="*/ 1154866 h 1538630"/>
                <a:gd name="csX699" fmla="*/ 179194 w 1609516"/>
                <a:gd name="csY699" fmla="*/ 1151621 h 1538630"/>
                <a:gd name="csX700" fmla="*/ 193195 w 1609516"/>
                <a:gd name="csY700" fmla="*/ 1120065 h 1538630"/>
                <a:gd name="csX701" fmla="*/ 229551 w 1609516"/>
                <a:gd name="csY701" fmla="*/ 1110299 h 1538630"/>
                <a:gd name="csX702" fmla="*/ 260988 w 1609516"/>
                <a:gd name="csY702" fmla="*/ 1108274 h 1538630"/>
                <a:gd name="csX703" fmla="*/ 260988 w 1609516"/>
                <a:gd name="csY703" fmla="*/ 1105455 h 1538630"/>
                <a:gd name="csX704" fmla="*/ 263911 w 1609516"/>
                <a:gd name="csY704" fmla="*/ 1104310 h 1538630"/>
                <a:gd name="csX705" fmla="*/ 286995 w 1609516"/>
                <a:gd name="csY705" fmla="*/ 1090185 h 1538630"/>
                <a:gd name="csX706" fmla="*/ 299358 w 1609516"/>
                <a:gd name="csY706" fmla="*/ 1080970 h 1538630"/>
                <a:gd name="csX707" fmla="*/ 317762 w 1609516"/>
                <a:gd name="csY707" fmla="*/ 1063272 h 1538630"/>
                <a:gd name="csX708" fmla="*/ 325035 w 1609516"/>
                <a:gd name="csY708" fmla="*/ 1057542 h 1538630"/>
                <a:gd name="csX709" fmla="*/ 325328 w 1609516"/>
                <a:gd name="csY709" fmla="*/ 1023104 h 1538630"/>
                <a:gd name="csX710" fmla="*/ 324544 w 1609516"/>
                <a:gd name="csY710" fmla="*/ 1019247 h 1538630"/>
                <a:gd name="csX711" fmla="*/ 317225 w 1609516"/>
                <a:gd name="csY711" fmla="*/ 996945 h 1538630"/>
                <a:gd name="csX712" fmla="*/ 315388 w 1609516"/>
                <a:gd name="csY712" fmla="*/ 992690 h 1538630"/>
                <a:gd name="csX713" fmla="*/ 276232 w 1609516"/>
                <a:gd name="csY713" fmla="*/ 950666 h 1538630"/>
                <a:gd name="csX714" fmla="*/ 271923 w 1609516"/>
                <a:gd name="csY714" fmla="*/ 949031 h 1538630"/>
                <a:gd name="csX715" fmla="*/ 268299 w 1609516"/>
                <a:gd name="csY715" fmla="*/ 947441 h 1538630"/>
                <a:gd name="csX716" fmla="*/ 199187 w 1609516"/>
                <a:gd name="csY716" fmla="*/ 938991 h 1538630"/>
                <a:gd name="csX717" fmla="*/ 193719 w 1609516"/>
                <a:gd name="csY717" fmla="*/ 938971 h 1538630"/>
                <a:gd name="csX718" fmla="*/ 188539 w 1609516"/>
                <a:gd name="csY718" fmla="*/ 938980 h 1538630"/>
                <a:gd name="csX719" fmla="*/ 183874 w 1609516"/>
                <a:gd name="csY719" fmla="*/ 938985 h 1538630"/>
                <a:gd name="csX720" fmla="*/ 173509 w 1609516"/>
                <a:gd name="csY720" fmla="*/ 940576 h 1538630"/>
                <a:gd name="csX721" fmla="*/ 161403 w 1609516"/>
                <a:gd name="csY721" fmla="*/ 940664 h 1538630"/>
                <a:gd name="csX722" fmla="*/ 158102 w 1609516"/>
                <a:gd name="csY722" fmla="*/ 940645 h 1538630"/>
                <a:gd name="csX723" fmla="*/ 150875 w 1609516"/>
                <a:gd name="csY723" fmla="*/ 940583 h 1538630"/>
                <a:gd name="csX724" fmla="*/ 148425 w 1609516"/>
                <a:gd name="csY724" fmla="*/ 940717 h 1538630"/>
                <a:gd name="csX725" fmla="*/ 149617 w 1609516"/>
                <a:gd name="csY725" fmla="*/ 940995 h 1538630"/>
                <a:gd name="csX726" fmla="*/ 149617 w 1609516"/>
                <a:gd name="csY726" fmla="*/ 942404 h 1538630"/>
                <a:gd name="csX727" fmla="*/ 146627 w 1609516"/>
                <a:gd name="csY727" fmla="*/ 942871 h 1538630"/>
                <a:gd name="csX728" fmla="*/ 110564 w 1609516"/>
                <a:gd name="csY728" fmla="*/ 949449 h 1538630"/>
                <a:gd name="csX729" fmla="*/ 111283 w 1609516"/>
                <a:gd name="csY729" fmla="*/ 946205 h 1538630"/>
                <a:gd name="csX730" fmla="*/ 101652 w 1609516"/>
                <a:gd name="csY730" fmla="*/ 956078 h 1538630"/>
                <a:gd name="csX731" fmla="*/ 98052 w 1609516"/>
                <a:gd name="csY731" fmla="*/ 958467 h 1538630"/>
                <a:gd name="csX732" fmla="*/ 67286 w 1609516"/>
                <a:gd name="csY732" fmla="*/ 972989 h 1538630"/>
                <a:gd name="csX733" fmla="*/ 67286 w 1609516"/>
                <a:gd name="csY733" fmla="*/ 975807 h 1538630"/>
                <a:gd name="csX734" fmla="*/ 31942 w 1609516"/>
                <a:gd name="csY734" fmla="*/ 976423 h 1538630"/>
                <a:gd name="csX735" fmla="*/ 5673 w 1609516"/>
                <a:gd name="csY735" fmla="*/ 953419 h 1538630"/>
                <a:gd name="csX736" fmla="*/ 4801 w 1609516"/>
                <a:gd name="csY736" fmla="*/ 944804 h 1538630"/>
                <a:gd name="csX737" fmla="*/ 1676 w 1609516"/>
                <a:gd name="csY737" fmla="*/ 944804 h 1538630"/>
                <a:gd name="csX738" fmla="*/ 17 w 1609516"/>
                <a:gd name="csY738" fmla="*/ 931857 h 1538630"/>
                <a:gd name="csX739" fmla="*/ 59 w 1609516"/>
                <a:gd name="csY739" fmla="*/ 927216 h 1538630"/>
                <a:gd name="csX740" fmla="*/ 115 w 1609516"/>
                <a:gd name="csY740" fmla="*/ 923666 h 1538630"/>
                <a:gd name="csX741" fmla="*/ 3238 w 1609516"/>
                <a:gd name="csY741" fmla="*/ 923666 h 1538630"/>
                <a:gd name="csX742" fmla="*/ 3238 w 1609516"/>
                <a:gd name="csY742" fmla="*/ 918029 h 1538630"/>
                <a:gd name="csX743" fmla="*/ 6363 w 1609516"/>
                <a:gd name="csY743" fmla="*/ 918029 h 1538630"/>
                <a:gd name="csX744" fmla="*/ 6656 w 1609516"/>
                <a:gd name="csY744" fmla="*/ 912832 h 1538630"/>
                <a:gd name="csX745" fmla="*/ 15736 w 1609516"/>
                <a:gd name="csY745" fmla="*/ 899709 h 1538630"/>
                <a:gd name="csX746" fmla="*/ 17243 w 1609516"/>
                <a:gd name="csY746" fmla="*/ 898894 h 1538630"/>
                <a:gd name="csX747" fmla="*/ 16800 w 1609516"/>
                <a:gd name="csY747" fmla="*/ 898694 h 1538630"/>
                <a:gd name="csX748" fmla="*/ 24988 w 1609516"/>
                <a:gd name="csY748" fmla="*/ 894101 h 1538630"/>
                <a:gd name="csX749" fmla="*/ 26768 w 1609516"/>
                <a:gd name="csY749" fmla="*/ 892399 h 1538630"/>
                <a:gd name="csX750" fmla="*/ 30198 w 1609516"/>
                <a:gd name="csY750" fmla="*/ 890164 h 1538630"/>
                <a:gd name="csX751" fmla="*/ 32204 w 1609516"/>
                <a:gd name="csY751" fmla="*/ 890054 h 1538630"/>
                <a:gd name="csX752" fmla="*/ 38914 w 1609516"/>
                <a:gd name="csY752" fmla="*/ 886291 h 1538630"/>
                <a:gd name="csX753" fmla="*/ 63664 w 1609516"/>
                <a:gd name="csY753" fmla="*/ 886011 h 1538630"/>
                <a:gd name="csX754" fmla="*/ 63664 w 1609516"/>
                <a:gd name="csY754" fmla="*/ 886531 h 1538630"/>
                <a:gd name="csX755" fmla="*/ 70784 w 1609516"/>
                <a:gd name="csY755" fmla="*/ 886647 h 1538630"/>
                <a:gd name="csX756" fmla="*/ 82126 w 1609516"/>
                <a:gd name="csY756" fmla="*/ 889845 h 1538630"/>
                <a:gd name="csX757" fmla="*/ 114149 w 1609516"/>
                <a:gd name="csY757" fmla="*/ 892663 h 1538630"/>
                <a:gd name="csX758" fmla="*/ 118836 w 1609516"/>
                <a:gd name="csY758" fmla="*/ 889845 h 1538630"/>
                <a:gd name="csX759" fmla="*/ 131626 w 1609516"/>
                <a:gd name="csY759" fmla="*/ 887114 h 1538630"/>
                <a:gd name="csX760" fmla="*/ 155116 w 1609516"/>
                <a:gd name="csY760" fmla="*/ 880913 h 1538630"/>
                <a:gd name="csX761" fmla="*/ 165406 w 1609516"/>
                <a:gd name="csY761" fmla="*/ 878483 h 1538630"/>
                <a:gd name="csX762" fmla="*/ 176634 w 1609516"/>
                <a:gd name="csY762" fmla="*/ 874343 h 1538630"/>
                <a:gd name="csX763" fmla="*/ 186397 w 1609516"/>
                <a:gd name="csY763" fmla="*/ 871524 h 1538630"/>
                <a:gd name="csX764" fmla="*/ 191871 w 1609516"/>
                <a:gd name="csY764" fmla="*/ 870033 h 1538630"/>
                <a:gd name="csX765" fmla="*/ 203483 w 1609516"/>
                <a:gd name="csY765" fmla="*/ 867208 h 1538630"/>
                <a:gd name="csX766" fmla="*/ 211001 w 1609516"/>
                <a:gd name="csY766" fmla="*/ 861660 h 1538630"/>
                <a:gd name="csX767" fmla="*/ 218031 w 1609516"/>
                <a:gd name="csY767" fmla="*/ 858577 h 1538630"/>
                <a:gd name="csX768" fmla="*/ 254740 w 1609516"/>
                <a:gd name="csY768" fmla="*/ 825020 h 1538630"/>
                <a:gd name="csX769" fmla="*/ 257864 w 1609516"/>
                <a:gd name="csY769" fmla="*/ 820792 h 1538630"/>
                <a:gd name="csX770" fmla="*/ 258318 w 1609516"/>
                <a:gd name="csY770" fmla="*/ 813810 h 1538630"/>
                <a:gd name="csX771" fmla="*/ 258378 w 1609516"/>
                <a:gd name="csY771" fmla="*/ 809502 h 1538630"/>
                <a:gd name="csX772" fmla="*/ 258389 w 1609516"/>
                <a:gd name="csY772" fmla="*/ 804845 h 1538630"/>
                <a:gd name="csX773" fmla="*/ 258420 w 1609516"/>
                <a:gd name="csY773" fmla="*/ 800036 h 1538630"/>
                <a:gd name="csX774" fmla="*/ 258443 w 1609516"/>
                <a:gd name="csY774" fmla="*/ 789939 h 1538630"/>
                <a:gd name="csX775" fmla="*/ 258566 w 1609516"/>
                <a:gd name="csY775" fmla="*/ 774594 h 1538630"/>
                <a:gd name="csX776" fmla="*/ 258584 w 1609516"/>
                <a:gd name="csY776" fmla="*/ 764771 h 1538630"/>
                <a:gd name="csX777" fmla="*/ 258652 w 1609516"/>
                <a:gd name="csY777" fmla="*/ 760174 h 1538630"/>
                <a:gd name="csX778" fmla="*/ 251616 w 1609516"/>
                <a:gd name="csY778" fmla="*/ 733421 h 1538630"/>
                <a:gd name="csX779" fmla="*/ 247613 w 1609516"/>
                <a:gd name="csY779" fmla="*/ 721883 h 1538630"/>
                <a:gd name="csX780" fmla="*/ 241291 w 1609516"/>
                <a:gd name="csY780" fmla="*/ 705644 h 1538630"/>
                <a:gd name="csX781" fmla="*/ 237557 w 1609516"/>
                <a:gd name="csY781" fmla="*/ 689735 h 1538630"/>
                <a:gd name="csX782" fmla="*/ 248492 w 1609516"/>
                <a:gd name="csY782" fmla="*/ 685507 h 1538630"/>
                <a:gd name="csX783" fmla="*/ 248492 w 1609516"/>
                <a:gd name="csY783" fmla="*/ 681279 h 1538630"/>
                <a:gd name="csX784" fmla="*/ 240681 w 1609516"/>
                <a:gd name="csY784" fmla="*/ 679870 h 1538630"/>
                <a:gd name="csX785" fmla="*/ 240681 w 1609516"/>
                <a:gd name="csY785" fmla="*/ 677052 h 1538630"/>
                <a:gd name="csX786" fmla="*/ 238094 w 1609516"/>
                <a:gd name="csY786" fmla="*/ 676645 h 1538630"/>
                <a:gd name="csX787" fmla="*/ 225841 w 1609516"/>
                <a:gd name="csY787" fmla="*/ 670886 h 1538630"/>
                <a:gd name="csX788" fmla="*/ 201531 w 1609516"/>
                <a:gd name="csY788" fmla="*/ 662508 h 1538630"/>
                <a:gd name="csX789" fmla="*/ 188252 w 1609516"/>
                <a:gd name="csY789" fmla="*/ 658644 h 1538630"/>
                <a:gd name="csX790" fmla="*/ 182431 w 1609516"/>
                <a:gd name="csY790" fmla="*/ 657327 h 1538630"/>
                <a:gd name="csX791" fmla="*/ 182431 w 1609516"/>
                <a:gd name="csY791" fmla="*/ 657613 h 1538630"/>
                <a:gd name="csX792" fmla="*/ 146503 w 1609516"/>
                <a:gd name="csY792" fmla="*/ 656204 h 1538630"/>
                <a:gd name="csX793" fmla="*/ 146503 w 1609516"/>
                <a:gd name="csY793" fmla="*/ 659022 h 1538630"/>
                <a:gd name="csX794" fmla="*/ 110378 w 1609516"/>
                <a:gd name="csY794" fmla="*/ 663778 h 1538630"/>
                <a:gd name="csX795" fmla="*/ 106453 w 1609516"/>
                <a:gd name="csY795" fmla="*/ 663836 h 1538630"/>
                <a:gd name="csX796" fmla="*/ 102751 w 1609516"/>
                <a:gd name="csY796" fmla="*/ 663811 h 1538630"/>
                <a:gd name="csX797" fmla="*/ 99449 w 1609516"/>
                <a:gd name="csY797" fmla="*/ 663797 h 1538630"/>
                <a:gd name="csX798" fmla="*/ 91828 w 1609516"/>
                <a:gd name="csY798" fmla="*/ 659022 h 1538630"/>
                <a:gd name="csX799" fmla="*/ 98077 w 1609516"/>
                <a:gd name="csY799" fmla="*/ 659022 h 1538630"/>
                <a:gd name="csX800" fmla="*/ 98077 w 1609516"/>
                <a:gd name="csY800" fmla="*/ 661841 h 1538630"/>
                <a:gd name="csX801" fmla="*/ 119023 w 1609516"/>
                <a:gd name="csY801" fmla="*/ 661357 h 1538630"/>
                <a:gd name="csX802" fmla="*/ 119536 w 1609516"/>
                <a:gd name="csY802" fmla="*/ 661197 h 1538630"/>
                <a:gd name="csX803" fmla="*/ 109853 w 1609516"/>
                <a:gd name="csY803" fmla="*/ 661639 h 1538630"/>
                <a:gd name="csX804" fmla="*/ 106552 w 1609516"/>
                <a:gd name="csY804" fmla="*/ 661619 h 1538630"/>
                <a:gd name="csX805" fmla="*/ 98528 w 1609516"/>
                <a:gd name="csY805" fmla="*/ 661550 h 1538630"/>
                <a:gd name="csX806" fmla="*/ 98528 w 1609516"/>
                <a:gd name="csY806" fmla="*/ 658732 h 1538630"/>
                <a:gd name="csX807" fmla="*/ 89155 w 1609516"/>
                <a:gd name="csY807" fmla="*/ 657323 h 1538630"/>
                <a:gd name="csX808" fmla="*/ 89155 w 1609516"/>
                <a:gd name="csY808" fmla="*/ 654504 h 1538630"/>
                <a:gd name="csX809" fmla="*/ 86397 w 1609516"/>
                <a:gd name="csY809" fmla="*/ 653442 h 1538630"/>
                <a:gd name="csX810" fmla="*/ 77049 w 1609516"/>
                <a:gd name="csY810" fmla="*/ 646137 h 1538630"/>
                <a:gd name="csX811" fmla="*/ 74145 w 1609516"/>
                <a:gd name="csY811" fmla="*/ 643192 h 1538630"/>
                <a:gd name="csX812" fmla="*/ 71972 w 1609516"/>
                <a:gd name="csY812" fmla="*/ 636185 h 1538630"/>
                <a:gd name="csX813" fmla="*/ 68848 w 1609516"/>
                <a:gd name="csY813" fmla="*/ 636185 h 1538630"/>
                <a:gd name="csX814" fmla="*/ 70410 w 1609516"/>
                <a:gd name="csY814" fmla="*/ 595317 h 1538630"/>
                <a:gd name="csX815" fmla="*/ 79782 w 1609516"/>
                <a:gd name="csY815" fmla="*/ 584043 h 1538630"/>
                <a:gd name="csX816" fmla="*/ 82656 w 1609516"/>
                <a:gd name="csY816" fmla="*/ 581115 h 1538630"/>
                <a:gd name="csX817" fmla="*/ 116694 w 1609516"/>
                <a:gd name="csY817" fmla="*/ 572323 h 1538630"/>
                <a:gd name="csX818" fmla="*/ 152031 w 1609516"/>
                <a:gd name="csY818" fmla="*/ 590385 h 1538630"/>
                <a:gd name="csX819" fmla="*/ 191474 w 1609516"/>
                <a:gd name="csY819" fmla="*/ 605886 h 1538630"/>
                <a:gd name="csX820" fmla="*/ 206314 w 1609516"/>
                <a:gd name="csY820" fmla="*/ 608000 h 1538630"/>
                <a:gd name="csX821" fmla="*/ 206314 w 1609516"/>
                <a:gd name="csY821" fmla="*/ 610818 h 1538630"/>
                <a:gd name="csX822" fmla="*/ 234433 w 1609516"/>
                <a:gd name="csY822" fmla="*/ 610818 h 1538630"/>
                <a:gd name="csX823" fmla="*/ 239522 w 1609516"/>
                <a:gd name="csY823" fmla="*/ 610802 h 1538630"/>
                <a:gd name="csX824" fmla="*/ 268799 w 1609516"/>
                <a:gd name="csY824" fmla="*/ 600954 h 1538630"/>
                <a:gd name="csX825" fmla="*/ 271740 w 1609516"/>
                <a:gd name="csY825" fmla="*/ 599325 h 1538630"/>
                <a:gd name="csX826" fmla="*/ 284420 w 1609516"/>
                <a:gd name="csY826" fmla="*/ 579816 h 1538630"/>
                <a:gd name="csX827" fmla="*/ 289399 w 1609516"/>
                <a:gd name="csY827" fmla="*/ 568630 h 1538630"/>
                <a:gd name="csX828" fmla="*/ 293958 w 1609516"/>
                <a:gd name="csY828" fmla="*/ 535838 h 1538630"/>
                <a:gd name="csX829" fmla="*/ 289107 w 1609516"/>
                <a:gd name="csY829" fmla="*/ 529084 h 1538630"/>
                <a:gd name="csX830" fmla="*/ 289107 w 1609516"/>
                <a:gd name="csY830" fmla="*/ 526265 h 1538630"/>
                <a:gd name="csX831" fmla="*/ 284420 w 1609516"/>
                <a:gd name="csY831" fmla="*/ 524856 h 1538630"/>
                <a:gd name="csX832" fmla="*/ 282858 w 1609516"/>
                <a:gd name="csY832" fmla="*/ 520628 h 1538630"/>
                <a:gd name="csX833" fmla="*/ 277977 w 1609516"/>
                <a:gd name="csY833" fmla="*/ 516577 h 1538630"/>
                <a:gd name="csX834" fmla="*/ 264925 w 1609516"/>
                <a:gd name="csY834" fmla="*/ 506443 h 1538630"/>
                <a:gd name="csX835" fmla="*/ 229746 w 1609516"/>
                <a:gd name="csY835" fmla="*/ 481170 h 1538630"/>
                <a:gd name="csX836" fmla="*/ 221057 w 1609516"/>
                <a:gd name="csY836" fmla="*/ 475445 h 1538630"/>
                <a:gd name="csX837" fmla="*/ 212563 w 1609516"/>
                <a:gd name="csY837" fmla="*/ 469896 h 1538630"/>
                <a:gd name="csX838" fmla="*/ 208889 w 1609516"/>
                <a:gd name="csY838" fmla="*/ 467491 h 1538630"/>
                <a:gd name="csX839" fmla="*/ 190406 w 1609516"/>
                <a:gd name="csY839" fmla="*/ 456382 h 1538630"/>
                <a:gd name="csX840" fmla="*/ 186942 w 1609516"/>
                <a:gd name="csY840" fmla="*/ 454460 h 1538630"/>
                <a:gd name="csX841" fmla="*/ 180041 w 1609516"/>
                <a:gd name="csY841" fmla="*/ 450696 h 1538630"/>
                <a:gd name="csX842" fmla="*/ 171948 w 1609516"/>
                <a:gd name="csY842" fmla="*/ 445940 h 1538630"/>
                <a:gd name="csX843" fmla="*/ 171948 w 1609516"/>
                <a:gd name="csY843" fmla="*/ 443121 h 1538630"/>
                <a:gd name="csX844" fmla="*/ 168482 w 1609516"/>
                <a:gd name="csY844" fmla="*/ 442708 h 1538630"/>
                <a:gd name="csX845" fmla="*/ 157107 w 1609516"/>
                <a:gd name="csY845" fmla="*/ 437044 h 1538630"/>
                <a:gd name="csX846" fmla="*/ 132559 w 1609516"/>
                <a:gd name="csY846" fmla="*/ 427510 h 1538630"/>
                <a:gd name="csX847" fmla="*/ 123522 w 1609516"/>
                <a:gd name="csY847" fmla="*/ 421983 h 1538630"/>
                <a:gd name="csX848" fmla="*/ 107986 w 1609516"/>
                <a:gd name="csY848" fmla="*/ 418730 h 1538630"/>
                <a:gd name="csX849" fmla="*/ 102494 w 1609516"/>
                <a:gd name="csY849" fmla="*/ 418622 h 1538630"/>
                <a:gd name="csX850" fmla="*/ 91157 w 1609516"/>
                <a:gd name="csY850" fmla="*/ 418490 h 1538630"/>
                <a:gd name="csX851" fmla="*/ 55277 w 1609516"/>
                <a:gd name="csY851" fmla="*/ 410445 h 1538630"/>
                <a:gd name="csX852" fmla="*/ 51665 w 1609516"/>
                <a:gd name="csY852" fmla="*/ 406481 h 1538630"/>
                <a:gd name="csX853" fmla="*/ 45904 w 1609516"/>
                <a:gd name="csY853" fmla="*/ 400492 h 1538630"/>
                <a:gd name="csX854" fmla="*/ 43152 w 1609516"/>
                <a:gd name="csY854" fmla="*/ 397564 h 1538630"/>
                <a:gd name="csX855" fmla="*/ 37605 w 1609516"/>
                <a:gd name="csY855" fmla="*/ 393798 h 1538630"/>
                <a:gd name="csX856" fmla="*/ 38995 w 1609516"/>
                <a:gd name="csY856" fmla="*/ 368712 h 1538630"/>
                <a:gd name="csX857" fmla="*/ 38666 w 1609516"/>
                <a:gd name="csY857" fmla="*/ 369724 h 1538630"/>
                <a:gd name="csX858" fmla="*/ 35542 w 1609516"/>
                <a:gd name="csY858" fmla="*/ 384081 h 1538630"/>
                <a:gd name="csX859" fmla="*/ 33326 w 1609516"/>
                <a:gd name="csY859" fmla="*/ 357791 h 1538630"/>
                <a:gd name="csX860" fmla="*/ 52725 w 1609516"/>
                <a:gd name="csY860" fmla="*/ 333349 h 1538630"/>
                <a:gd name="csX861" fmla="*/ 55222 w 1609516"/>
                <a:gd name="csY861" fmla="*/ 334475 h 1538630"/>
                <a:gd name="csX862" fmla="*/ 56222 w 1609516"/>
                <a:gd name="csY862" fmla="*/ 333347 h 1538630"/>
                <a:gd name="csX863" fmla="*/ 55871 w 1609516"/>
                <a:gd name="csY863" fmla="*/ 333347 h 1538630"/>
                <a:gd name="csX864" fmla="*/ 56346 w 1609516"/>
                <a:gd name="csY864" fmla="*/ 333207 h 1538630"/>
                <a:gd name="csX865" fmla="*/ 56351 w 1609516"/>
                <a:gd name="csY865" fmla="*/ 333202 h 1538630"/>
                <a:gd name="csX866" fmla="*/ 56365 w 1609516"/>
                <a:gd name="csY866" fmla="*/ 333202 h 1538630"/>
                <a:gd name="csX867" fmla="*/ 79571 w 1609516"/>
                <a:gd name="csY867" fmla="*/ 326360 h 1538630"/>
                <a:gd name="csX868" fmla="*/ 104297 w 1609516"/>
                <a:gd name="csY868" fmla="*/ 330529 h 1538630"/>
                <a:gd name="csX869" fmla="*/ 107170 w 1609516"/>
                <a:gd name="csY869" fmla="*/ 334417 h 1538630"/>
                <a:gd name="csX870" fmla="*/ 109366 w 1609516"/>
                <a:gd name="csY870" fmla="*/ 336046 h 1538630"/>
                <a:gd name="csX871" fmla="*/ 109463 w 1609516"/>
                <a:gd name="csY871" fmla="*/ 336020 h 1538630"/>
                <a:gd name="csX872" fmla="*/ 109463 w 1609516"/>
                <a:gd name="csY872" fmla="*/ 336118 h 1538630"/>
                <a:gd name="csX873" fmla="*/ 115226 w 1609516"/>
                <a:gd name="csY873" fmla="*/ 340394 h 1538630"/>
                <a:gd name="csX874" fmla="*/ 114010 w 1609516"/>
                <a:gd name="csY874" fmla="*/ 340120 h 1538630"/>
                <a:gd name="csX875" fmla="*/ 133285 w 1609516"/>
                <a:gd name="csY875" fmla="*/ 357423 h 1538630"/>
                <a:gd name="csX876" fmla="*/ 173509 w 1609516"/>
                <a:gd name="csY876" fmla="*/ 389571 h 1538630"/>
                <a:gd name="csX877" fmla="*/ 181711 w 1609516"/>
                <a:gd name="csY877" fmla="*/ 393270 h 1538630"/>
                <a:gd name="csX878" fmla="*/ 185507 w 1609516"/>
                <a:gd name="csY878" fmla="*/ 394976 h 1538630"/>
                <a:gd name="csX879" fmla="*/ 192658 w 1609516"/>
                <a:gd name="csY879" fmla="*/ 398257 h 1538630"/>
                <a:gd name="csX880" fmla="*/ 195966 w 1609516"/>
                <a:gd name="csY880" fmla="*/ 399788 h 1538630"/>
                <a:gd name="csX881" fmla="*/ 198833 w 1609516"/>
                <a:gd name="csY881" fmla="*/ 401131 h 1538630"/>
                <a:gd name="csX882" fmla="*/ 207877 w 1609516"/>
                <a:gd name="csY882" fmla="*/ 403663 h 1538630"/>
                <a:gd name="csX883" fmla="*/ 207877 w 1609516"/>
                <a:gd name="csY883" fmla="*/ 406481 h 1538630"/>
                <a:gd name="csX884" fmla="*/ 248492 w 1609516"/>
                <a:gd name="csY884" fmla="*/ 419428 h 1538630"/>
                <a:gd name="csX885" fmla="*/ 253965 w 1609516"/>
                <a:gd name="csY885" fmla="*/ 421000 h 1538630"/>
                <a:gd name="csX886" fmla="*/ 267237 w 1609516"/>
                <a:gd name="csY886" fmla="*/ 424801 h 1538630"/>
                <a:gd name="csX887" fmla="*/ 267237 w 1609516"/>
                <a:gd name="csY887" fmla="*/ 426451 h 1538630"/>
                <a:gd name="csX888" fmla="*/ 288701 w 1609516"/>
                <a:gd name="csY888" fmla="*/ 429217 h 1538630"/>
                <a:gd name="csX889" fmla="*/ 288701 w 1609516"/>
                <a:gd name="csY889" fmla="*/ 432036 h 1538630"/>
                <a:gd name="csX890" fmla="*/ 327010 w 1609516"/>
                <a:gd name="csY890" fmla="*/ 433628 h 1538630"/>
                <a:gd name="csX891" fmla="*/ 337486 w 1609516"/>
                <a:gd name="csY891" fmla="*/ 433637 h 1538630"/>
                <a:gd name="csX892" fmla="*/ 344229 w 1609516"/>
                <a:gd name="csY892" fmla="*/ 433632 h 1538630"/>
                <a:gd name="csX893" fmla="*/ 350323 w 1609516"/>
                <a:gd name="csY893" fmla="*/ 433627 h 1538630"/>
                <a:gd name="csX894" fmla="*/ 365245 w 1609516"/>
                <a:gd name="csY894" fmla="*/ 432036 h 1538630"/>
                <a:gd name="csX895" fmla="*/ 360797 w 1609516"/>
                <a:gd name="csY895" fmla="*/ 433759 h 1538630"/>
                <a:gd name="csX896" fmla="*/ 365650 w 1609516"/>
                <a:gd name="csY896" fmla="*/ 433257 h 1538630"/>
                <a:gd name="csX897" fmla="*/ 367213 w 1609516"/>
                <a:gd name="csY897" fmla="*/ 429029 h 1538630"/>
                <a:gd name="csX898" fmla="*/ 375188 w 1609516"/>
                <a:gd name="csY898" fmla="*/ 424906 h 1538630"/>
                <a:gd name="csX899" fmla="*/ 404704 w 1609516"/>
                <a:gd name="csY899" fmla="*/ 389571 h 1538630"/>
                <a:gd name="csX900" fmla="*/ 406265 w 1609516"/>
                <a:gd name="csY900" fmla="*/ 388161 h 1538630"/>
                <a:gd name="csX901" fmla="*/ 406559 w 1609516"/>
                <a:gd name="csY901" fmla="*/ 370106 h 1538630"/>
                <a:gd name="csX902" fmla="*/ 406617 w 1609516"/>
                <a:gd name="csY902" fmla="*/ 364973 h 1538630"/>
                <a:gd name="csX903" fmla="*/ 406626 w 1609516"/>
                <a:gd name="csY903" fmla="*/ 360038 h 1538630"/>
                <a:gd name="csX904" fmla="*/ 406645 w 1609516"/>
                <a:gd name="csY904" fmla="*/ 355503 h 1538630"/>
                <a:gd name="csX905" fmla="*/ 403142 w 1609516"/>
                <a:gd name="csY905" fmla="*/ 345885 h 1538630"/>
                <a:gd name="csX906" fmla="*/ 401579 w 1609516"/>
                <a:gd name="csY906" fmla="*/ 338663 h 1538630"/>
                <a:gd name="csX907" fmla="*/ 390938 w 1609516"/>
                <a:gd name="csY907" fmla="*/ 315939 h 1538630"/>
                <a:gd name="csX908" fmla="*/ 388976 w 1609516"/>
                <a:gd name="csY908" fmla="*/ 312762 h 1538630"/>
                <a:gd name="csX909" fmla="*/ 377934 w 1609516"/>
                <a:gd name="csY909" fmla="*/ 297817 h 1538630"/>
                <a:gd name="csX910" fmla="*/ 368775 w 1609516"/>
                <a:gd name="csY910" fmla="*/ 282470 h 1538630"/>
                <a:gd name="csX911" fmla="*/ 359890 w 1609516"/>
                <a:gd name="csY911" fmla="*/ 271284 h 1538630"/>
                <a:gd name="csX912" fmla="*/ 357374 w 1609516"/>
                <a:gd name="csY912" fmla="*/ 268288 h 1538630"/>
                <a:gd name="csX913" fmla="*/ 337533 w 1609516"/>
                <a:gd name="csY913" fmla="*/ 248649 h 1538630"/>
                <a:gd name="csX914" fmla="*/ 335214 w 1609516"/>
                <a:gd name="csY914" fmla="*/ 246369 h 1538630"/>
                <a:gd name="csX915" fmla="*/ 327085 w 1609516"/>
                <a:gd name="csY915" fmla="*/ 242571 h 1538630"/>
                <a:gd name="csX916" fmla="*/ 288785 w 1609516"/>
                <a:gd name="csY916" fmla="*/ 207968 h 1538630"/>
                <a:gd name="csX917" fmla="*/ 286373 w 1609516"/>
                <a:gd name="csY917" fmla="*/ 192544 h 1538630"/>
                <a:gd name="csX918" fmla="*/ 286385 w 1609516"/>
                <a:gd name="csY918" fmla="*/ 189190 h 1538630"/>
                <a:gd name="csX919" fmla="*/ 300042 w 1609516"/>
                <a:gd name="csY919" fmla="*/ 164095 h 1538630"/>
                <a:gd name="csX920" fmla="*/ 302757 w 1609516"/>
                <a:gd name="csY920" fmla="*/ 161381 h 1538630"/>
                <a:gd name="csX921" fmla="*/ 338411 w 1609516"/>
                <a:gd name="csY921" fmla="*/ 152293 h 1538630"/>
                <a:gd name="csX922" fmla="*/ 368482 w 1609516"/>
                <a:gd name="csY922" fmla="*/ 161893 h 1538630"/>
                <a:gd name="csX923" fmla="*/ 371899 w 1609516"/>
                <a:gd name="csY923" fmla="*/ 165505 h 1538630"/>
                <a:gd name="csX924" fmla="*/ 375121 w 1609516"/>
                <a:gd name="csY924" fmla="*/ 168587 h 1538630"/>
                <a:gd name="csX925" fmla="*/ 384982 w 1609516"/>
                <a:gd name="csY925" fmla="*/ 193777 h 1538630"/>
                <a:gd name="csX926" fmla="*/ 390352 w 1609516"/>
                <a:gd name="csY926" fmla="*/ 214563 h 1538630"/>
                <a:gd name="csX927" fmla="*/ 391529 w 1609516"/>
                <a:gd name="csY927" fmla="*/ 217626 h 1538630"/>
                <a:gd name="csX928" fmla="*/ 401579 w 1609516"/>
                <a:gd name="csY928" fmla="*/ 234556 h 1538630"/>
                <a:gd name="csX929" fmla="*/ 401579 w 1609516"/>
                <a:gd name="csY929" fmla="*/ 238784 h 1538630"/>
                <a:gd name="csX930" fmla="*/ 404215 w 1609516"/>
                <a:gd name="csY930" fmla="*/ 239753 h 1538630"/>
                <a:gd name="csX931" fmla="*/ 417811 w 1609516"/>
                <a:gd name="csY931" fmla="*/ 251996 h 1538630"/>
                <a:gd name="csX932" fmla="*/ 426866 w 1609516"/>
                <a:gd name="csY932" fmla="*/ 262300 h 1538630"/>
                <a:gd name="csX933" fmla="*/ 450097 w 1609516"/>
                <a:gd name="csY933" fmla="*/ 287628 h 1538630"/>
                <a:gd name="csX934" fmla="*/ 457425 w 1609516"/>
                <a:gd name="csY934" fmla="*/ 293920 h 1538630"/>
                <a:gd name="csX935" fmla="*/ 460940 w 1609516"/>
                <a:gd name="csY935" fmla="*/ 296562 h 1538630"/>
                <a:gd name="csX936" fmla="*/ 460940 w 1609516"/>
                <a:gd name="csY936" fmla="*/ 300790 h 1538630"/>
                <a:gd name="csX937" fmla="*/ 473437 w 1609516"/>
                <a:gd name="csY937" fmla="*/ 305018 h 1538630"/>
                <a:gd name="csX938" fmla="*/ 473437 w 1609516"/>
                <a:gd name="csY938" fmla="*/ 307836 h 1538630"/>
                <a:gd name="csX939" fmla="*/ 479881 w 1609516"/>
                <a:gd name="csY939" fmla="*/ 309862 h 1538630"/>
                <a:gd name="csX940" fmla="*/ 483505 w 1609516"/>
                <a:gd name="csY940" fmla="*/ 311001 h 1538630"/>
                <a:gd name="csX941" fmla="*/ 548419 w 1609516"/>
                <a:gd name="csY941" fmla="*/ 306427 h 1538630"/>
                <a:gd name="csX942" fmla="*/ 551842 w 1609516"/>
                <a:gd name="csY942" fmla="*/ 305127 h 1538630"/>
                <a:gd name="csX943" fmla="*/ 560232 w 1609516"/>
                <a:gd name="csY943" fmla="*/ 298148 h 1538630"/>
                <a:gd name="csX944" fmla="*/ 562972 w 1609516"/>
                <a:gd name="csY944" fmla="*/ 295252 h 1538630"/>
                <a:gd name="csX945" fmla="*/ 568086 w 1609516"/>
                <a:gd name="csY945" fmla="*/ 289152 h 1538630"/>
                <a:gd name="csX946" fmla="*/ 570289 w 1609516"/>
                <a:gd name="csY946" fmla="*/ 286697 h 1538630"/>
                <a:gd name="csX947" fmla="*/ 573413 w 1609516"/>
                <a:gd name="csY947" fmla="*/ 286697 h 1538630"/>
                <a:gd name="csX948" fmla="*/ 577220 w 1609516"/>
                <a:gd name="csY948" fmla="*/ 257016 h 1538630"/>
                <a:gd name="csX949" fmla="*/ 577235 w 1609516"/>
                <a:gd name="csY949" fmla="*/ 254206 h 1538630"/>
                <a:gd name="csX950" fmla="*/ 569443 w 1609516"/>
                <a:gd name="csY950" fmla="*/ 206049 h 1538630"/>
                <a:gd name="csX951" fmla="*/ 568726 w 1609516"/>
                <a:gd name="csY951" fmla="*/ 200735 h 1538630"/>
                <a:gd name="csX952" fmla="*/ 565602 w 1609516"/>
                <a:gd name="csY952" fmla="*/ 200735 h 1538630"/>
                <a:gd name="csX953" fmla="*/ 559549 w 1609516"/>
                <a:gd name="csY953" fmla="*/ 184441 h 1538630"/>
                <a:gd name="csX954" fmla="*/ 537484 w 1609516"/>
                <a:gd name="csY954" fmla="*/ 159867 h 1538630"/>
                <a:gd name="csX955" fmla="*/ 531235 w 1609516"/>
                <a:gd name="csY955" fmla="*/ 154230 h 1538630"/>
                <a:gd name="csX956" fmla="*/ 531235 w 1609516"/>
                <a:gd name="csY956" fmla="*/ 151412 h 1538630"/>
                <a:gd name="csX957" fmla="*/ 526549 w 1609516"/>
                <a:gd name="csY957" fmla="*/ 150003 h 1538630"/>
                <a:gd name="csX958" fmla="*/ 524304 w 1609516"/>
                <a:gd name="csY958" fmla="*/ 107198 h 1538630"/>
                <a:gd name="csX959" fmla="*/ 547052 w 1609516"/>
                <a:gd name="csY959" fmla="*/ 85972 h 1538630"/>
                <a:gd name="csX960" fmla="*/ 588460 w 1609516"/>
                <a:gd name="csY960" fmla="*/ 83538 h 1538630"/>
                <a:gd name="csX961" fmla="*/ 617152 w 1609516"/>
                <a:gd name="csY961" fmla="*/ 111954 h 1538630"/>
                <a:gd name="csX962" fmla="*/ 617884 w 1609516"/>
                <a:gd name="csY962" fmla="*/ 124175 h 1538630"/>
                <a:gd name="csX963" fmla="*/ 617917 w 1609516"/>
                <a:gd name="csY963" fmla="*/ 127607 h 1538630"/>
                <a:gd name="csX964" fmla="*/ 617919 w 1609516"/>
                <a:gd name="csY964" fmla="*/ 141969 h 1538630"/>
                <a:gd name="csX965" fmla="*/ 630625 w 1609516"/>
                <a:gd name="csY965" fmla="*/ 191311 h 1538630"/>
                <a:gd name="csX966" fmla="*/ 637850 w 1609516"/>
                <a:gd name="csY966" fmla="*/ 205139 h 1538630"/>
                <a:gd name="csX967" fmla="*/ 643708 w 1609516"/>
                <a:gd name="csY967" fmla="*/ 212009 h 1538630"/>
                <a:gd name="csX968" fmla="*/ 647027 w 1609516"/>
                <a:gd name="csY968" fmla="*/ 217645 h 1538630"/>
                <a:gd name="csX969" fmla="*/ 670264 w 1609516"/>
                <a:gd name="csY969" fmla="*/ 241603 h 1538630"/>
                <a:gd name="csX970" fmla="*/ 670264 w 1609516"/>
                <a:gd name="csY970" fmla="*/ 244421 h 1538630"/>
                <a:gd name="csX971" fmla="*/ 675634 w 1609516"/>
                <a:gd name="csY971" fmla="*/ 245742 h 1538630"/>
                <a:gd name="csX972" fmla="*/ 682761 w 1609516"/>
                <a:gd name="csY972" fmla="*/ 248649 h 1538630"/>
                <a:gd name="csX973" fmla="*/ 752092 w 1609516"/>
                <a:gd name="csY973" fmla="*/ 245076 h 1538630"/>
                <a:gd name="csX974" fmla="*/ 758433 w 1609516"/>
                <a:gd name="csY974" fmla="*/ 240485 h 1538630"/>
                <a:gd name="csX975" fmla="*/ 763991 w 1609516"/>
                <a:gd name="csY975" fmla="*/ 238784 h 1538630"/>
                <a:gd name="csX976" fmla="*/ 765315 w 1609516"/>
                <a:gd name="csY976" fmla="*/ 235778 h 1538630"/>
                <a:gd name="csX977" fmla="*/ 770923 w 1609516"/>
                <a:gd name="csY977" fmla="*/ 223459 h 1538630"/>
                <a:gd name="csX978" fmla="*/ 772998 w 1609516"/>
                <a:gd name="csY978" fmla="*/ 218934 h 1538630"/>
                <a:gd name="csX979" fmla="*/ 777562 w 1609516"/>
                <a:gd name="csY979" fmla="*/ 209895 h 1538630"/>
                <a:gd name="csX980" fmla="*/ 781175 w 1609516"/>
                <a:gd name="csY980" fmla="*/ 124637 h 1538630"/>
                <a:gd name="csX981" fmla="*/ 778051 w 1609516"/>
                <a:gd name="csY981" fmla="*/ 124637 h 1538630"/>
                <a:gd name="csX982" fmla="*/ 767116 w 1609516"/>
                <a:gd name="csY982" fmla="*/ 79542 h 1538630"/>
                <a:gd name="csX983" fmla="*/ 793379 w 1609516"/>
                <a:gd name="csY983" fmla="*/ 54000 h 1538630"/>
                <a:gd name="csX984" fmla="*/ 840688 w 1609516"/>
                <a:gd name="csY984" fmla="*/ 55503 h 1538630"/>
                <a:gd name="csX985" fmla="*/ 851470 w 1609516"/>
                <a:gd name="csY985" fmla="*/ 64040 h 1538630"/>
                <a:gd name="csX986" fmla="*/ 853997 w 1609516"/>
                <a:gd name="csY986" fmla="*/ 66529 h 1538630"/>
                <a:gd name="csX987" fmla="*/ 861488 w 1609516"/>
                <a:gd name="csY987" fmla="*/ 82057 h 1538630"/>
                <a:gd name="csX988" fmla="*/ 861937 w 1609516"/>
                <a:gd name="csY988" fmla="*/ 90492 h 1538630"/>
                <a:gd name="csX989" fmla="*/ 863826 w 1609516"/>
                <a:gd name="csY989" fmla="*/ 100715 h 1538630"/>
                <a:gd name="csX990" fmla="*/ 857577 w 1609516"/>
                <a:gd name="csY990" fmla="*/ 121853 h 1538630"/>
                <a:gd name="csX991" fmla="*/ 856015 w 1609516"/>
                <a:gd name="csY991" fmla="*/ 121853 h 1538630"/>
                <a:gd name="csX992" fmla="*/ 855442 w 1609516"/>
                <a:gd name="csY992" fmla="*/ 118919 h 1538630"/>
                <a:gd name="csX993" fmla="*/ 855417 w 1609516"/>
                <a:gd name="csY993" fmla="*/ 118798 h 1538630"/>
                <a:gd name="csX994" fmla="*/ 856157 w 1609516"/>
                <a:gd name="csY994" fmla="*/ 124637 h 1538630"/>
                <a:gd name="csX995" fmla="*/ 850623 w 1609516"/>
                <a:gd name="csY995" fmla="*/ 134701 h 1538630"/>
                <a:gd name="csX996" fmla="*/ 851325 w 1609516"/>
                <a:gd name="csY996" fmla="*/ 135968 h 1538630"/>
                <a:gd name="csX997" fmla="*/ 849886 w 1609516"/>
                <a:gd name="csY997" fmla="*/ 139843 h 1538630"/>
                <a:gd name="csX998" fmla="*/ 847786 w 1609516"/>
                <a:gd name="csY998" fmla="*/ 152889 h 1538630"/>
                <a:gd name="csX999" fmla="*/ 847767 w 1609516"/>
                <a:gd name="csY999" fmla="*/ 157768 h 1538630"/>
                <a:gd name="csX1000" fmla="*/ 847810 w 1609516"/>
                <a:gd name="csY1000" fmla="*/ 162919 h 1538630"/>
                <a:gd name="csX1001" fmla="*/ 847832 w 1609516"/>
                <a:gd name="csY1001" fmla="*/ 168227 h 1538630"/>
                <a:gd name="csX1002" fmla="*/ 850903 w 1609516"/>
                <a:gd name="csY1002" fmla="*/ 209013 h 1538630"/>
                <a:gd name="csX1003" fmla="*/ 852880 w 1609516"/>
                <a:gd name="csY1003" fmla="*/ 224692 h 1538630"/>
                <a:gd name="csX1004" fmla="*/ 854595 w 1609516"/>
                <a:gd name="csY1004" fmla="*/ 224692 h 1538630"/>
                <a:gd name="csX1005" fmla="*/ 856083 w 1609516"/>
                <a:gd name="csY1005" fmla="*/ 227268 h 1538630"/>
                <a:gd name="csX1006" fmla="*/ 879588 w 1609516"/>
                <a:gd name="csY1006" fmla="*/ 247239 h 1538630"/>
                <a:gd name="csX1007" fmla="*/ 885739 w 1609516"/>
                <a:gd name="csY1007" fmla="*/ 249618 h 1538630"/>
                <a:gd name="csX1008" fmla="*/ 890523 w 1609516"/>
                <a:gd name="csY1008" fmla="*/ 251467 h 1538630"/>
                <a:gd name="csX1009" fmla="*/ 890523 w 1609516"/>
                <a:gd name="csY1009" fmla="*/ 254285 h 1538630"/>
                <a:gd name="csX1010" fmla="*/ 920203 w 1609516"/>
                <a:gd name="csY1010" fmla="*/ 261332 h 1538630"/>
                <a:gd name="csX1011" fmla="*/ 920203 w 1609516"/>
                <a:gd name="csY1011" fmla="*/ 262741 h 1538630"/>
                <a:gd name="csX1012" fmla="*/ 910831 w 1609516"/>
                <a:gd name="csY1012" fmla="*/ 262741 h 1538630"/>
                <a:gd name="csX1013" fmla="*/ 910831 w 1609516"/>
                <a:gd name="csY1013" fmla="*/ 262864 h 1538630"/>
                <a:gd name="csX1014" fmla="*/ 927993 w 1609516"/>
                <a:gd name="csY1014" fmla="*/ 264177 h 1538630"/>
                <a:gd name="csX1015" fmla="*/ 939273 w 1609516"/>
                <a:gd name="csY1015" fmla="*/ 265285 h 1538630"/>
                <a:gd name="csX1016" fmla="*/ 940456 w 1609516"/>
                <a:gd name="csY1016" fmla="*/ 265191 h 1538630"/>
                <a:gd name="csX1017" fmla="*/ 991622 w 1609516"/>
                <a:gd name="csY1017" fmla="*/ 242329 h 1538630"/>
                <a:gd name="csX1018" fmla="*/ 1000803 w 1609516"/>
                <a:gd name="csY1018" fmla="*/ 236505 h 1538630"/>
                <a:gd name="csX1019" fmla="*/ 999806 w 1609516"/>
                <a:gd name="csY1019" fmla="*/ 236055 h 1538630"/>
                <a:gd name="csX1020" fmla="*/ 1003126 w 1609516"/>
                <a:gd name="csY1020" fmla="*/ 232851 h 1538630"/>
                <a:gd name="csX1021" fmla="*/ 1029487 w 1609516"/>
                <a:gd name="csY1021" fmla="*/ 205052 h 1538630"/>
                <a:gd name="csX1022" fmla="*/ 1029872 w 1609516"/>
                <a:gd name="csY1022" fmla="*/ 206442 h 1538630"/>
                <a:gd name="csX1023" fmla="*/ 1031614 w 1609516"/>
                <a:gd name="csY1023" fmla="*/ 203719 h 1538630"/>
                <a:gd name="csX1024" fmla="*/ 1038924 w 1609516"/>
                <a:gd name="csY1024" fmla="*/ 192280 h 1538630"/>
                <a:gd name="csX1025" fmla="*/ 1042049 w 1609516"/>
                <a:gd name="csY1025" fmla="*/ 190870 h 1538630"/>
                <a:gd name="csX1026" fmla="*/ 1044294 w 1609516"/>
                <a:gd name="csY1026" fmla="*/ 186026 h 1538630"/>
                <a:gd name="csX1027" fmla="*/ 1051422 w 1609516"/>
                <a:gd name="csY1027" fmla="*/ 178188 h 1538630"/>
                <a:gd name="csX1028" fmla="*/ 1052984 w 1609516"/>
                <a:gd name="csY1028" fmla="*/ 172551 h 1538630"/>
                <a:gd name="csX1029" fmla="*/ 1056108 w 1609516"/>
                <a:gd name="csY1029" fmla="*/ 172551 h 1538630"/>
                <a:gd name="csX1030" fmla="*/ 1059232 w 1609516"/>
                <a:gd name="csY1030" fmla="*/ 162686 h 1538630"/>
                <a:gd name="csX1031" fmla="*/ 1062357 w 1609516"/>
                <a:gd name="csY1031" fmla="*/ 162686 h 1538630"/>
                <a:gd name="csX1032" fmla="*/ 1063162 w 1609516"/>
                <a:gd name="csY1032" fmla="*/ 160258 h 1538630"/>
                <a:gd name="csX1033" fmla="*/ 1073292 w 1609516"/>
                <a:gd name="csY1033" fmla="*/ 140138 h 1538630"/>
                <a:gd name="csX1034" fmla="*/ 1076415 w 1609516"/>
                <a:gd name="csY1034" fmla="*/ 140138 h 1538630"/>
                <a:gd name="csX1035" fmla="*/ 1085294 w 1609516"/>
                <a:gd name="csY1035" fmla="*/ 117569 h 1538630"/>
                <a:gd name="csX1036" fmla="*/ 1087350 w 1609516"/>
                <a:gd name="csY1036" fmla="*/ 113363 h 1538630"/>
                <a:gd name="csX1037" fmla="*/ 1092037 w 1609516"/>
                <a:gd name="csY1037" fmla="*/ 111954 h 1538630"/>
                <a:gd name="csX1038" fmla="*/ 1092623 w 1609516"/>
                <a:gd name="csY1038" fmla="*/ 108695 h 1538630"/>
                <a:gd name="csX1039" fmla="*/ 1096723 w 1609516"/>
                <a:gd name="csY1039" fmla="*/ 100680 h 1538630"/>
                <a:gd name="csX1040" fmla="*/ 1098188 w 1609516"/>
                <a:gd name="csY1040" fmla="*/ 96013 h 1538630"/>
                <a:gd name="csX1041" fmla="*/ 1102288 w 1609516"/>
                <a:gd name="csY1041" fmla="*/ 87029 h 1538630"/>
                <a:gd name="csX1042" fmla="*/ 1104534 w 1609516"/>
                <a:gd name="csY1042" fmla="*/ 61222 h 1538630"/>
                <a:gd name="csX1043" fmla="*/ 1104381 w 1609516"/>
                <a:gd name="csY1043" fmla="*/ 55569 h 1538630"/>
                <a:gd name="csX1044" fmla="*/ 1104397 w 1609516"/>
                <a:gd name="csY1044" fmla="*/ 52335 h 1538630"/>
                <a:gd name="csX1045" fmla="*/ 1104436 w 1609516"/>
                <a:gd name="csY1045" fmla="*/ 48979 h 1538630"/>
                <a:gd name="csX1046" fmla="*/ 1104457 w 1609516"/>
                <a:gd name="csY1046" fmla="*/ 45575 h 1538630"/>
                <a:gd name="csX1047" fmla="*/ 1104534 w 1609516"/>
                <a:gd name="csY1047" fmla="*/ 37265 h 1538630"/>
                <a:gd name="csX1048" fmla="*/ 1107658 w 1609516"/>
                <a:gd name="csY1048" fmla="*/ 37265 h 1538630"/>
                <a:gd name="csX1049" fmla="*/ 1107463 w 1609516"/>
                <a:gd name="csY1049" fmla="*/ 31805 h 1538630"/>
                <a:gd name="csX1050" fmla="*/ 1107658 w 1609516"/>
                <a:gd name="csY1050" fmla="*/ 25991 h 1538630"/>
                <a:gd name="csX1051" fmla="*/ 1110782 w 1609516"/>
                <a:gd name="csY1051" fmla="*/ 23173 h 1538630"/>
                <a:gd name="csX1052" fmla="*/ 1111759 w 1609516"/>
                <a:gd name="csY1052" fmla="*/ 20091 h 1538630"/>
                <a:gd name="csX1053" fmla="*/ 1134507 w 1609516"/>
                <a:gd name="csY1053" fmla="*/ 2828 h 1538630"/>
                <a:gd name="csX1054" fmla="*/ 1155019 w 1609516"/>
                <a:gd name="csY1054" fmla="*/ 35 h 153863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  <a:cxn ang="0">
                  <a:pos x="csX16" y="csY16"/>
                </a:cxn>
                <a:cxn ang="0">
                  <a:pos x="csX17" y="csY17"/>
                </a:cxn>
                <a:cxn ang="0">
                  <a:pos x="csX18" y="csY18"/>
                </a:cxn>
                <a:cxn ang="0">
                  <a:pos x="csX19" y="csY19"/>
                </a:cxn>
                <a:cxn ang="0">
                  <a:pos x="csX20" y="csY20"/>
                </a:cxn>
                <a:cxn ang="0">
                  <a:pos x="csX21" y="csY21"/>
                </a:cxn>
                <a:cxn ang="0">
                  <a:pos x="csX22" y="csY22"/>
                </a:cxn>
                <a:cxn ang="0">
                  <a:pos x="csX23" y="csY23"/>
                </a:cxn>
                <a:cxn ang="0">
                  <a:pos x="csX24" y="csY24"/>
                </a:cxn>
                <a:cxn ang="0">
                  <a:pos x="csX25" y="csY25"/>
                </a:cxn>
                <a:cxn ang="0">
                  <a:pos x="csX26" y="csY26"/>
                </a:cxn>
                <a:cxn ang="0">
                  <a:pos x="csX27" y="csY27"/>
                </a:cxn>
                <a:cxn ang="0">
                  <a:pos x="csX28" y="csY28"/>
                </a:cxn>
                <a:cxn ang="0">
                  <a:pos x="csX29" y="csY29"/>
                </a:cxn>
                <a:cxn ang="0">
                  <a:pos x="csX30" y="csY30"/>
                </a:cxn>
                <a:cxn ang="0">
                  <a:pos x="csX31" y="csY31"/>
                </a:cxn>
                <a:cxn ang="0">
                  <a:pos x="csX32" y="csY32"/>
                </a:cxn>
                <a:cxn ang="0">
                  <a:pos x="csX33" y="csY33"/>
                </a:cxn>
                <a:cxn ang="0">
                  <a:pos x="csX34" y="csY34"/>
                </a:cxn>
                <a:cxn ang="0">
                  <a:pos x="csX35" y="csY35"/>
                </a:cxn>
                <a:cxn ang="0">
                  <a:pos x="csX36" y="csY36"/>
                </a:cxn>
                <a:cxn ang="0">
                  <a:pos x="csX37" y="csY37"/>
                </a:cxn>
                <a:cxn ang="0">
                  <a:pos x="csX38" y="csY38"/>
                </a:cxn>
                <a:cxn ang="0">
                  <a:pos x="csX39" y="csY39"/>
                </a:cxn>
                <a:cxn ang="0">
                  <a:pos x="csX40" y="csY40"/>
                </a:cxn>
                <a:cxn ang="0">
                  <a:pos x="csX41" y="csY41"/>
                </a:cxn>
                <a:cxn ang="0">
                  <a:pos x="csX42" y="csY42"/>
                </a:cxn>
                <a:cxn ang="0">
                  <a:pos x="csX43" y="csY43"/>
                </a:cxn>
                <a:cxn ang="0">
                  <a:pos x="csX44" y="csY44"/>
                </a:cxn>
                <a:cxn ang="0">
                  <a:pos x="csX45" y="csY45"/>
                </a:cxn>
                <a:cxn ang="0">
                  <a:pos x="csX46" y="csY46"/>
                </a:cxn>
                <a:cxn ang="0">
                  <a:pos x="csX47" y="csY47"/>
                </a:cxn>
                <a:cxn ang="0">
                  <a:pos x="csX48" y="csY48"/>
                </a:cxn>
                <a:cxn ang="0">
                  <a:pos x="csX49" y="csY49"/>
                </a:cxn>
                <a:cxn ang="0">
                  <a:pos x="csX50" y="csY50"/>
                </a:cxn>
                <a:cxn ang="0">
                  <a:pos x="csX51" y="csY51"/>
                </a:cxn>
                <a:cxn ang="0">
                  <a:pos x="csX52" y="csY52"/>
                </a:cxn>
                <a:cxn ang="0">
                  <a:pos x="csX53" y="csY53"/>
                </a:cxn>
                <a:cxn ang="0">
                  <a:pos x="csX54" y="csY54"/>
                </a:cxn>
                <a:cxn ang="0">
                  <a:pos x="csX55" y="csY55"/>
                </a:cxn>
                <a:cxn ang="0">
                  <a:pos x="csX56" y="csY56"/>
                </a:cxn>
                <a:cxn ang="0">
                  <a:pos x="csX57" y="csY57"/>
                </a:cxn>
                <a:cxn ang="0">
                  <a:pos x="csX58" y="csY58"/>
                </a:cxn>
                <a:cxn ang="0">
                  <a:pos x="csX59" y="csY59"/>
                </a:cxn>
                <a:cxn ang="0">
                  <a:pos x="csX60" y="csY60"/>
                </a:cxn>
                <a:cxn ang="0">
                  <a:pos x="csX61" y="csY61"/>
                </a:cxn>
                <a:cxn ang="0">
                  <a:pos x="csX62" y="csY62"/>
                </a:cxn>
                <a:cxn ang="0">
                  <a:pos x="csX63" y="csY63"/>
                </a:cxn>
                <a:cxn ang="0">
                  <a:pos x="csX64" y="csY64"/>
                </a:cxn>
                <a:cxn ang="0">
                  <a:pos x="csX65" y="csY65"/>
                </a:cxn>
                <a:cxn ang="0">
                  <a:pos x="csX66" y="csY66"/>
                </a:cxn>
                <a:cxn ang="0">
                  <a:pos x="csX67" y="csY67"/>
                </a:cxn>
                <a:cxn ang="0">
                  <a:pos x="csX68" y="csY68"/>
                </a:cxn>
                <a:cxn ang="0">
                  <a:pos x="csX69" y="csY69"/>
                </a:cxn>
                <a:cxn ang="0">
                  <a:pos x="csX70" y="csY70"/>
                </a:cxn>
                <a:cxn ang="0">
                  <a:pos x="csX71" y="csY71"/>
                </a:cxn>
                <a:cxn ang="0">
                  <a:pos x="csX72" y="csY72"/>
                </a:cxn>
                <a:cxn ang="0">
                  <a:pos x="csX73" y="csY73"/>
                </a:cxn>
                <a:cxn ang="0">
                  <a:pos x="csX74" y="csY74"/>
                </a:cxn>
                <a:cxn ang="0">
                  <a:pos x="csX75" y="csY75"/>
                </a:cxn>
                <a:cxn ang="0">
                  <a:pos x="csX76" y="csY76"/>
                </a:cxn>
                <a:cxn ang="0">
                  <a:pos x="csX77" y="csY77"/>
                </a:cxn>
                <a:cxn ang="0">
                  <a:pos x="csX78" y="csY78"/>
                </a:cxn>
                <a:cxn ang="0">
                  <a:pos x="csX79" y="csY79"/>
                </a:cxn>
                <a:cxn ang="0">
                  <a:pos x="csX80" y="csY80"/>
                </a:cxn>
                <a:cxn ang="0">
                  <a:pos x="csX81" y="csY81"/>
                </a:cxn>
                <a:cxn ang="0">
                  <a:pos x="csX82" y="csY82"/>
                </a:cxn>
                <a:cxn ang="0">
                  <a:pos x="csX83" y="csY83"/>
                </a:cxn>
                <a:cxn ang="0">
                  <a:pos x="csX84" y="csY84"/>
                </a:cxn>
                <a:cxn ang="0">
                  <a:pos x="csX85" y="csY85"/>
                </a:cxn>
                <a:cxn ang="0">
                  <a:pos x="csX86" y="csY86"/>
                </a:cxn>
                <a:cxn ang="0">
                  <a:pos x="csX87" y="csY87"/>
                </a:cxn>
                <a:cxn ang="0">
                  <a:pos x="csX88" y="csY88"/>
                </a:cxn>
                <a:cxn ang="0">
                  <a:pos x="csX89" y="csY89"/>
                </a:cxn>
                <a:cxn ang="0">
                  <a:pos x="csX90" y="csY90"/>
                </a:cxn>
                <a:cxn ang="0">
                  <a:pos x="csX91" y="csY91"/>
                </a:cxn>
                <a:cxn ang="0">
                  <a:pos x="csX92" y="csY92"/>
                </a:cxn>
                <a:cxn ang="0">
                  <a:pos x="csX93" y="csY93"/>
                </a:cxn>
                <a:cxn ang="0">
                  <a:pos x="csX94" y="csY94"/>
                </a:cxn>
                <a:cxn ang="0">
                  <a:pos x="csX95" y="csY95"/>
                </a:cxn>
                <a:cxn ang="0">
                  <a:pos x="csX96" y="csY96"/>
                </a:cxn>
                <a:cxn ang="0">
                  <a:pos x="csX97" y="csY97"/>
                </a:cxn>
                <a:cxn ang="0">
                  <a:pos x="csX98" y="csY98"/>
                </a:cxn>
                <a:cxn ang="0">
                  <a:pos x="csX99" y="csY99"/>
                </a:cxn>
                <a:cxn ang="0">
                  <a:pos x="csX100" y="csY100"/>
                </a:cxn>
                <a:cxn ang="0">
                  <a:pos x="csX101" y="csY101"/>
                </a:cxn>
                <a:cxn ang="0">
                  <a:pos x="csX102" y="csY102"/>
                </a:cxn>
                <a:cxn ang="0">
                  <a:pos x="csX103" y="csY103"/>
                </a:cxn>
                <a:cxn ang="0">
                  <a:pos x="csX104" y="csY104"/>
                </a:cxn>
                <a:cxn ang="0">
                  <a:pos x="csX105" y="csY105"/>
                </a:cxn>
                <a:cxn ang="0">
                  <a:pos x="csX106" y="csY106"/>
                </a:cxn>
                <a:cxn ang="0">
                  <a:pos x="csX107" y="csY107"/>
                </a:cxn>
                <a:cxn ang="0">
                  <a:pos x="csX108" y="csY108"/>
                </a:cxn>
                <a:cxn ang="0">
                  <a:pos x="csX109" y="csY109"/>
                </a:cxn>
                <a:cxn ang="0">
                  <a:pos x="csX110" y="csY110"/>
                </a:cxn>
                <a:cxn ang="0">
                  <a:pos x="csX111" y="csY111"/>
                </a:cxn>
                <a:cxn ang="0">
                  <a:pos x="csX112" y="csY112"/>
                </a:cxn>
                <a:cxn ang="0">
                  <a:pos x="csX113" y="csY113"/>
                </a:cxn>
                <a:cxn ang="0">
                  <a:pos x="csX114" y="csY114"/>
                </a:cxn>
                <a:cxn ang="0">
                  <a:pos x="csX115" y="csY115"/>
                </a:cxn>
                <a:cxn ang="0">
                  <a:pos x="csX116" y="csY116"/>
                </a:cxn>
                <a:cxn ang="0">
                  <a:pos x="csX117" y="csY117"/>
                </a:cxn>
                <a:cxn ang="0">
                  <a:pos x="csX118" y="csY118"/>
                </a:cxn>
                <a:cxn ang="0">
                  <a:pos x="csX119" y="csY119"/>
                </a:cxn>
                <a:cxn ang="0">
                  <a:pos x="csX120" y="csY120"/>
                </a:cxn>
                <a:cxn ang="0">
                  <a:pos x="csX121" y="csY121"/>
                </a:cxn>
                <a:cxn ang="0">
                  <a:pos x="csX122" y="csY122"/>
                </a:cxn>
                <a:cxn ang="0">
                  <a:pos x="csX123" y="csY123"/>
                </a:cxn>
                <a:cxn ang="0">
                  <a:pos x="csX124" y="csY124"/>
                </a:cxn>
                <a:cxn ang="0">
                  <a:pos x="csX125" y="csY125"/>
                </a:cxn>
                <a:cxn ang="0">
                  <a:pos x="csX126" y="csY126"/>
                </a:cxn>
                <a:cxn ang="0">
                  <a:pos x="csX127" y="csY127"/>
                </a:cxn>
                <a:cxn ang="0">
                  <a:pos x="csX128" y="csY128"/>
                </a:cxn>
                <a:cxn ang="0">
                  <a:pos x="csX129" y="csY129"/>
                </a:cxn>
                <a:cxn ang="0">
                  <a:pos x="csX130" y="csY130"/>
                </a:cxn>
                <a:cxn ang="0">
                  <a:pos x="csX131" y="csY131"/>
                </a:cxn>
                <a:cxn ang="0">
                  <a:pos x="csX132" y="csY132"/>
                </a:cxn>
                <a:cxn ang="0">
                  <a:pos x="csX133" y="csY133"/>
                </a:cxn>
                <a:cxn ang="0">
                  <a:pos x="csX134" y="csY134"/>
                </a:cxn>
                <a:cxn ang="0">
                  <a:pos x="csX135" y="csY135"/>
                </a:cxn>
                <a:cxn ang="0">
                  <a:pos x="csX136" y="csY136"/>
                </a:cxn>
                <a:cxn ang="0">
                  <a:pos x="csX137" y="csY137"/>
                </a:cxn>
                <a:cxn ang="0">
                  <a:pos x="csX138" y="csY138"/>
                </a:cxn>
                <a:cxn ang="0">
                  <a:pos x="csX139" y="csY139"/>
                </a:cxn>
                <a:cxn ang="0">
                  <a:pos x="csX140" y="csY140"/>
                </a:cxn>
                <a:cxn ang="0">
                  <a:pos x="csX141" y="csY141"/>
                </a:cxn>
                <a:cxn ang="0">
                  <a:pos x="csX142" y="csY142"/>
                </a:cxn>
                <a:cxn ang="0">
                  <a:pos x="csX143" y="csY143"/>
                </a:cxn>
                <a:cxn ang="0">
                  <a:pos x="csX144" y="csY144"/>
                </a:cxn>
                <a:cxn ang="0">
                  <a:pos x="csX145" y="csY145"/>
                </a:cxn>
                <a:cxn ang="0">
                  <a:pos x="csX146" y="csY146"/>
                </a:cxn>
                <a:cxn ang="0">
                  <a:pos x="csX147" y="csY147"/>
                </a:cxn>
                <a:cxn ang="0">
                  <a:pos x="csX148" y="csY148"/>
                </a:cxn>
                <a:cxn ang="0">
                  <a:pos x="csX149" y="csY149"/>
                </a:cxn>
                <a:cxn ang="0">
                  <a:pos x="csX150" y="csY150"/>
                </a:cxn>
                <a:cxn ang="0">
                  <a:pos x="csX151" y="csY151"/>
                </a:cxn>
                <a:cxn ang="0">
                  <a:pos x="csX152" y="csY152"/>
                </a:cxn>
                <a:cxn ang="0">
                  <a:pos x="csX153" y="csY153"/>
                </a:cxn>
                <a:cxn ang="0">
                  <a:pos x="csX154" y="csY154"/>
                </a:cxn>
                <a:cxn ang="0">
                  <a:pos x="csX155" y="csY155"/>
                </a:cxn>
                <a:cxn ang="0">
                  <a:pos x="csX156" y="csY156"/>
                </a:cxn>
                <a:cxn ang="0">
                  <a:pos x="csX157" y="csY157"/>
                </a:cxn>
                <a:cxn ang="0">
                  <a:pos x="csX158" y="csY158"/>
                </a:cxn>
                <a:cxn ang="0">
                  <a:pos x="csX159" y="csY159"/>
                </a:cxn>
                <a:cxn ang="0">
                  <a:pos x="csX160" y="csY160"/>
                </a:cxn>
                <a:cxn ang="0">
                  <a:pos x="csX161" y="csY161"/>
                </a:cxn>
                <a:cxn ang="0">
                  <a:pos x="csX162" y="csY162"/>
                </a:cxn>
                <a:cxn ang="0">
                  <a:pos x="csX163" y="csY163"/>
                </a:cxn>
                <a:cxn ang="0">
                  <a:pos x="csX164" y="csY164"/>
                </a:cxn>
                <a:cxn ang="0">
                  <a:pos x="csX165" y="csY165"/>
                </a:cxn>
                <a:cxn ang="0">
                  <a:pos x="csX166" y="csY166"/>
                </a:cxn>
                <a:cxn ang="0">
                  <a:pos x="csX167" y="csY167"/>
                </a:cxn>
                <a:cxn ang="0">
                  <a:pos x="csX168" y="csY168"/>
                </a:cxn>
                <a:cxn ang="0">
                  <a:pos x="csX169" y="csY169"/>
                </a:cxn>
                <a:cxn ang="0">
                  <a:pos x="csX170" y="csY170"/>
                </a:cxn>
                <a:cxn ang="0">
                  <a:pos x="csX171" y="csY171"/>
                </a:cxn>
                <a:cxn ang="0">
                  <a:pos x="csX172" y="csY172"/>
                </a:cxn>
                <a:cxn ang="0">
                  <a:pos x="csX173" y="csY173"/>
                </a:cxn>
                <a:cxn ang="0">
                  <a:pos x="csX174" y="csY174"/>
                </a:cxn>
                <a:cxn ang="0">
                  <a:pos x="csX175" y="csY175"/>
                </a:cxn>
                <a:cxn ang="0">
                  <a:pos x="csX176" y="csY176"/>
                </a:cxn>
                <a:cxn ang="0">
                  <a:pos x="csX177" y="csY177"/>
                </a:cxn>
                <a:cxn ang="0">
                  <a:pos x="csX178" y="csY178"/>
                </a:cxn>
                <a:cxn ang="0">
                  <a:pos x="csX179" y="csY179"/>
                </a:cxn>
                <a:cxn ang="0">
                  <a:pos x="csX180" y="csY180"/>
                </a:cxn>
                <a:cxn ang="0">
                  <a:pos x="csX181" y="csY181"/>
                </a:cxn>
                <a:cxn ang="0">
                  <a:pos x="csX182" y="csY182"/>
                </a:cxn>
                <a:cxn ang="0">
                  <a:pos x="csX183" y="csY183"/>
                </a:cxn>
                <a:cxn ang="0">
                  <a:pos x="csX184" y="csY184"/>
                </a:cxn>
                <a:cxn ang="0">
                  <a:pos x="csX185" y="csY185"/>
                </a:cxn>
                <a:cxn ang="0">
                  <a:pos x="csX186" y="csY186"/>
                </a:cxn>
                <a:cxn ang="0">
                  <a:pos x="csX187" y="csY187"/>
                </a:cxn>
                <a:cxn ang="0">
                  <a:pos x="csX188" y="csY188"/>
                </a:cxn>
                <a:cxn ang="0">
                  <a:pos x="csX189" y="csY189"/>
                </a:cxn>
                <a:cxn ang="0">
                  <a:pos x="csX190" y="csY190"/>
                </a:cxn>
                <a:cxn ang="0">
                  <a:pos x="csX191" y="csY191"/>
                </a:cxn>
                <a:cxn ang="0">
                  <a:pos x="csX192" y="csY192"/>
                </a:cxn>
                <a:cxn ang="0">
                  <a:pos x="csX193" y="csY193"/>
                </a:cxn>
                <a:cxn ang="0">
                  <a:pos x="csX194" y="csY194"/>
                </a:cxn>
                <a:cxn ang="0">
                  <a:pos x="csX195" y="csY195"/>
                </a:cxn>
                <a:cxn ang="0">
                  <a:pos x="csX196" y="csY196"/>
                </a:cxn>
                <a:cxn ang="0">
                  <a:pos x="csX197" y="csY197"/>
                </a:cxn>
                <a:cxn ang="0">
                  <a:pos x="csX198" y="csY198"/>
                </a:cxn>
                <a:cxn ang="0">
                  <a:pos x="csX199" y="csY199"/>
                </a:cxn>
                <a:cxn ang="0">
                  <a:pos x="csX200" y="csY200"/>
                </a:cxn>
                <a:cxn ang="0">
                  <a:pos x="csX201" y="csY201"/>
                </a:cxn>
                <a:cxn ang="0">
                  <a:pos x="csX202" y="csY202"/>
                </a:cxn>
                <a:cxn ang="0">
                  <a:pos x="csX203" y="csY203"/>
                </a:cxn>
                <a:cxn ang="0">
                  <a:pos x="csX204" y="csY204"/>
                </a:cxn>
                <a:cxn ang="0">
                  <a:pos x="csX205" y="csY205"/>
                </a:cxn>
                <a:cxn ang="0">
                  <a:pos x="csX206" y="csY206"/>
                </a:cxn>
                <a:cxn ang="0">
                  <a:pos x="csX207" y="csY207"/>
                </a:cxn>
                <a:cxn ang="0">
                  <a:pos x="csX208" y="csY208"/>
                </a:cxn>
                <a:cxn ang="0">
                  <a:pos x="csX209" y="csY209"/>
                </a:cxn>
                <a:cxn ang="0">
                  <a:pos x="csX210" y="csY210"/>
                </a:cxn>
                <a:cxn ang="0">
                  <a:pos x="csX211" y="csY211"/>
                </a:cxn>
                <a:cxn ang="0">
                  <a:pos x="csX212" y="csY212"/>
                </a:cxn>
                <a:cxn ang="0">
                  <a:pos x="csX213" y="csY213"/>
                </a:cxn>
                <a:cxn ang="0">
                  <a:pos x="csX214" y="csY214"/>
                </a:cxn>
                <a:cxn ang="0">
                  <a:pos x="csX215" y="csY215"/>
                </a:cxn>
                <a:cxn ang="0">
                  <a:pos x="csX216" y="csY216"/>
                </a:cxn>
                <a:cxn ang="0">
                  <a:pos x="csX217" y="csY217"/>
                </a:cxn>
                <a:cxn ang="0">
                  <a:pos x="csX218" y="csY218"/>
                </a:cxn>
                <a:cxn ang="0">
                  <a:pos x="csX219" y="csY219"/>
                </a:cxn>
                <a:cxn ang="0">
                  <a:pos x="csX220" y="csY220"/>
                </a:cxn>
                <a:cxn ang="0">
                  <a:pos x="csX221" y="csY221"/>
                </a:cxn>
                <a:cxn ang="0">
                  <a:pos x="csX222" y="csY222"/>
                </a:cxn>
                <a:cxn ang="0">
                  <a:pos x="csX223" y="csY223"/>
                </a:cxn>
                <a:cxn ang="0">
                  <a:pos x="csX224" y="csY224"/>
                </a:cxn>
                <a:cxn ang="0">
                  <a:pos x="csX225" y="csY225"/>
                </a:cxn>
                <a:cxn ang="0">
                  <a:pos x="csX226" y="csY226"/>
                </a:cxn>
                <a:cxn ang="0">
                  <a:pos x="csX227" y="csY227"/>
                </a:cxn>
                <a:cxn ang="0">
                  <a:pos x="csX228" y="csY228"/>
                </a:cxn>
                <a:cxn ang="0">
                  <a:pos x="csX229" y="csY229"/>
                </a:cxn>
                <a:cxn ang="0">
                  <a:pos x="csX230" y="csY230"/>
                </a:cxn>
                <a:cxn ang="0">
                  <a:pos x="csX231" y="csY231"/>
                </a:cxn>
                <a:cxn ang="0">
                  <a:pos x="csX232" y="csY232"/>
                </a:cxn>
                <a:cxn ang="0">
                  <a:pos x="csX233" y="csY233"/>
                </a:cxn>
                <a:cxn ang="0">
                  <a:pos x="csX234" y="csY234"/>
                </a:cxn>
                <a:cxn ang="0">
                  <a:pos x="csX235" y="csY235"/>
                </a:cxn>
                <a:cxn ang="0">
                  <a:pos x="csX236" y="csY236"/>
                </a:cxn>
                <a:cxn ang="0">
                  <a:pos x="csX237" y="csY237"/>
                </a:cxn>
                <a:cxn ang="0">
                  <a:pos x="csX238" y="csY238"/>
                </a:cxn>
                <a:cxn ang="0">
                  <a:pos x="csX239" y="csY239"/>
                </a:cxn>
                <a:cxn ang="0">
                  <a:pos x="csX240" y="csY240"/>
                </a:cxn>
                <a:cxn ang="0">
                  <a:pos x="csX241" y="csY241"/>
                </a:cxn>
                <a:cxn ang="0">
                  <a:pos x="csX242" y="csY242"/>
                </a:cxn>
                <a:cxn ang="0">
                  <a:pos x="csX243" y="csY243"/>
                </a:cxn>
                <a:cxn ang="0">
                  <a:pos x="csX244" y="csY244"/>
                </a:cxn>
                <a:cxn ang="0">
                  <a:pos x="csX245" y="csY245"/>
                </a:cxn>
                <a:cxn ang="0">
                  <a:pos x="csX246" y="csY246"/>
                </a:cxn>
                <a:cxn ang="0">
                  <a:pos x="csX247" y="csY247"/>
                </a:cxn>
                <a:cxn ang="0">
                  <a:pos x="csX248" y="csY248"/>
                </a:cxn>
                <a:cxn ang="0">
                  <a:pos x="csX249" y="csY249"/>
                </a:cxn>
                <a:cxn ang="0">
                  <a:pos x="csX250" y="csY250"/>
                </a:cxn>
                <a:cxn ang="0">
                  <a:pos x="csX251" y="csY251"/>
                </a:cxn>
                <a:cxn ang="0">
                  <a:pos x="csX252" y="csY252"/>
                </a:cxn>
                <a:cxn ang="0">
                  <a:pos x="csX253" y="csY253"/>
                </a:cxn>
                <a:cxn ang="0">
                  <a:pos x="csX254" y="csY254"/>
                </a:cxn>
                <a:cxn ang="0">
                  <a:pos x="csX255" y="csY255"/>
                </a:cxn>
                <a:cxn ang="0">
                  <a:pos x="csX256" y="csY256"/>
                </a:cxn>
                <a:cxn ang="0">
                  <a:pos x="csX257" y="csY257"/>
                </a:cxn>
                <a:cxn ang="0">
                  <a:pos x="csX258" y="csY258"/>
                </a:cxn>
                <a:cxn ang="0">
                  <a:pos x="csX259" y="csY259"/>
                </a:cxn>
                <a:cxn ang="0">
                  <a:pos x="csX260" y="csY260"/>
                </a:cxn>
                <a:cxn ang="0">
                  <a:pos x="csX261" y="csY261"/>
                </a:cxn>
                <a:cxn ang="0">
                  <a:pos x="csX262" y="csY262"/>
                </a:cxn>
                <a:cxn ang="0">
                  <a:pos x="csX263" y="csY263"/>
                </a:cxn>
                <a:cxn ang="0">
                  <a:pos x="csX264" y="csY264"/>
                </a:cxn>
                <a:cxn ang="0">
                  <a:pos x="csX265" y="csY265"/>
                </a:cxn>
                <a:cxn ang="0">
                  <a:pos x="csX266" y="csY266"/>
                </a:cxn>
                <a:cxn ang="0">
                  <a:pos x="csX267" y="csY267"/>
                </a:cxn>
                <a:cxn ang="0">
                  <a:pos x="csX268" y="csY268"/>
                </a:cxn>
                <a:cxn ang="0">
                  <a:pos x="csX269" y="csY269"/>
                </a:cxn>
                <a:cxn ang="0">
                  <a:pos x="csX270" y="csY270"/>
                </a:cxn>
                <a:cxn ang="0">
                  <a:pos x="csX271" y="csY271"/>
                </a:cxn>
                <a:cxn ang="0">
                  <a:pos x="csX272" y="csY272"/>
                </a:cxn>
                <a:cxn ang="0">
                  <a:pos x="csX273" y="csY273"/>
                </a:cxn>
                <a:cxn ang="0">
                  <a:pos x="csX274" y="csY274"/>
                </a:cxn>
                <a:cxn ang="0">
                  <a:pos x="csX275" y="csY275"/>
                </a:cxn>
                <a:cxn ang="0">
                  <a:pos x="csX276" y="csY276"/>
                </a:cxn>
                <a:cxn ang="0">
                  <a:pos x="csX277" y="csY277"/>
                </a:cxn>
                <a:cxn ang="0">
                  <a:pos x="csX278" y="csY278"/>
                </a:cxn>
                <a:cxn ang="0">
                  <a:pos x="csX279" y="csY279"/>
                </a:cxn>
                <a:cxn ang="0">
                  <a:pos x="csX280" y="csY280"/>
                </a:cxn>
                <a:cxn ang="0">
                  <a:pos x="csX281" y="csY281"/>
                </a:cxn>
                <a:cxn ang="0">
                  <a:pos x="csX282" y="csY282"/>
                </a:cxn>
                <a:cxn ang="0">
                  <a:pos x="csX283" y="csY283"/>
                </a:cxn>
                <a:cxn ang="0">
                  <a:pos x="csX284" y="csY284"/>
                </a:cxn>
                <a:cxn ang="0">
                  <a:pos x="csX285" y="csY285"/>
                </a:cxn>
                <a:cxn ang="0">
                  <a:pos x="csX286" y="csY286"/>
                </a:cxn>
                <a:cxn ang="0">
                  <a:pos x="csX287" y="csY287"/>
                </a:cxn>
                <a:cxn ang="0">
                  <a:pos x="csX288" y="csY288"/>
                </a:cxn>
                <a:cxn ang="0">
                  <a:pos x="csX289" y="csY289"/>
                </a:cxn>
                <a:cxn ang="0">
                  <a:pos x="csX290" y="csY290"/>
                </a:cxn>
                <a:cxn ang="0">
                  <a:pos x="csX291" y="csY291"/>
                </a:cxn>
                <a:cxn ang="0">
                  <a:pos x="csX292" y="csY292"/>
                </a:cxn>
                <a:cxn ang="0">
                  <a:pos x="csX293" y="csY293"/>
                </a:cxn>
                <a:cxn ang="0">
                  <a:pos x="csX294" y="csY294"/>
                </a:cxn>
                <a:cxn ang="0">
                  <a:pos x="csX295" y="csY295"/>
                </a:cxn>
                <a:cxn ang="0">
                  <a:pos x="csX296" y="csY296"/>
                </a:cxn>
                <a:cxn ang="0">
                  <a:pos x="csX297" y="csY297"/>
                </a:cxn>
                <a:cxn ang="0">
                  <a:pos x="csX298" y="csY298"/>
                </a:cxn>
                <a:cxn ang="0">
                  <a:pos x="csX299" y="csY299"/>
                </a:cxn>
                <a:cxn ang="0">
                  <a:pos x="csX300" y="csY300"/>
                </a:cxn>
                <a:cxn ang="0">
                  <a:pos x="csX301" y="csY301"/>
                </a:cxn>
                <a:cxn ang="0">
                  <a:pos x="csX302" y="csY302"/>
                </a:cxn>
                <a:cxn ang="0">
                  <a:pos x="csX303" y="csY303"/>
                </a:cxn>
                <a:cxn ang="0">
                  <a:pos x="csX304" y="csY304"/>
                </a:cxn>
                <a:cxn ang="0">
                  <a:pos x="csX305" y="csY305"/>
                </a:cxn>
                <a:cxn ang="0">
                  <a:pos x="csX306" y="csY306"/>
                </a:cxn>
                <a:cxn ang="0">
                  <a:pos x="csX307" y="csY307"/>
                </a:cxn>
                <a:cxn ang="0">
                  <a:pos x="csX308" y="csY308"/>
                </a:cxn>
                <a:cxn ang="0">
                  <a:pos x="csX309" y="csY309"/>
                </a:cxn>
                <a:cxn ang="0">
                  <a:pos x="csX310" y="csY310"/>
                </a:cxn>
                <a:cxn ang="0">
                  <a:pos x="csX311" y="csY311"/>
                </a:cxn>
                <a:cxn ang="0">
                  <a:pos x="csX312" y="csY312"/>
                </a:cxn>
                <a:cxn ang="0">
                  <a:pos x="csX313" y="csY313"/>
                </a:cxn>
                <a:cxn ang="0">
                  <a:pos x="csX314" y="csY314"/>
                </a:cxn>
                <a:cxn ang="0">
                  <a:pos x="csX315" y="csY315"/>
                </a:cxn>
                <a:cxn ang="0">
                  <a:pos x="csX316" y="csY316"/>
                </a:cxn>
                <a:cxn ang="0">
                  <a:pos x="csX317" y="csY317"/>
                </a:cxn>
                <a:cxn ang="0">
                  <a:pos x="csX318" y="csY318"/>
                </a:cxn>
                <a:cxn ang="0">
                  <a:pos x="csX319" y="csY319"/>
                </a:cxn>
                <a:cxn ang="0">
                  <a:pos x="csX320" y="csY320"/>
                </a:cxn>
                <a:cxn ang="0">
                  <a:pos x="csX321" y="csY321"/>
                </a:cxn>
                <a:cxn ang="0">
                  <a:pos x="csX322" y="csY322"/>
                </a:cxn>
                <a:cxn ang="0">
                  <a:pos x="csX323" y="csY323"/>
                </a:cxn>
                <a:cxn ang="0">
                  <a:pos x="csX324" y="csY324"/>
                </a:cxn>
                <a:cxn ang="0">
                  <a:pos x="csX325" y="csY325"/>
                </a:cxn>
                <a:cxn ang="0">
                  <a:pos x="csX326" y="csY326"/>
                </a:cxn>
                <a:cxn ang="0">
                  <a:pos x="csX327" y="csY327"/>
                </a:cxn>
                <a:cxn ang="0">
                  <a:pos x="csX328" y="csY328"/>
                </a:cxn>
                <a:cxn ang="0">
                  <a:pos x="csX329" y="csY329"/>
                </a:cxn>
                <a:cxn ang="0">
                  <a:pos x="csX330" y="csY330"/>
                </a:cxn>
                <a:cxn ang="0">
                  <a:pos x="csX331" y="csY331"/>
                </a:cxn>
                <a:cxn ang="0">
                  <a:pos x="csX332" y="csY332"/>
                </a:cxn>
                <a:cxn ang="0">
                  <a:pos x="csX333" y="csY333"/>
                </a:cxn>
                <a:cxn ang="0">
                  <a:pos x="csX334" y="csY334"/>
                </a:cxn>
                <a:cxn ang="0">
                  <a:pos x="csX335" y="csY335"/>
                </a:cxn>
                <a:cxn ang="0">
                  <a:pos x="csX336" y="csY336"/>
                </a:cxn>
                <a:cxn ang="0">
                  <a:pos x="csX337" y="csY337"/>
                </a:cxn>
                <a:cxn ang="0">
                  <a:pos x="csX338" y="csY338"/>
                </a:cxn>
                <a:cxn ang="0">
                  <a:pos x="csX339" y="csY339"/>
                </a:cxn>
                <a:cxn ang="0">
                  <a:pos x="csX340" y="csY340"/>
                </a:cxn>
                <a:cxn ang="0">
                  <a:pos x="csX341" y="csY341"/>
                </a:cxn>
                <a:cxn ang="0">
                  <a:pos x="csX342" y="csY342"/>
                </a:cxn>
                <a:cxn ang="0">
                  <a:pos x="csX343" y="csY343"/>
                </a:cxn>
                <a:cxn ang="0">
                  <a:pos x="csX344" y="csY344"/>
                </a:cxn>
                <a:cxn ang="0">
                  <a:pos x="csX345" y="csY345"/>
                </a:cxn>
                <a:cxn ang="0">
                  <a:pos x="csX346" y="csY346"/>
                </a:cxn>
                <a:cxn ang="0">
                  <a:pos x="csX347" y="csY347"/>
                </a:cxn>
                <a:cxn ang="0">
                  <a:pos x="csX348" y="csY348"/>
                </a:cxn>
                <a:cxn ang="0">
                  <a:pos x="csX349" y="csY349"/>
                </a:cxn>
                <a:cxn ang="0">
                  <a:pos x="csX350" y="csY350"/>
                </a:cxn>
                <a:cxn ang="0">
                  <a:pos x="csX351" y="csY351"/>
                </a:cxn>
                <a:cxn ang="0">
                  <a:pos x="csX352" y="csY352"/>
                </a:cxn>
                <a:cxn ang="0">
                  <a:pos x="csX353" y="csY353"/>
                </a:cxn>
                <a:cxn ang="0">
                  <a:pos x="csX354" y="csY354"/>
                </a:cxn>
                <a:cxn ang="0">
                  <a:pos x="csX355" y="csY355"/>
                </a:cxn>
                <a:cxn ang="0">
                  <a:pos x="csX356" y="csY356"/>
                </a:cxn>
                <a:cxn ang="0">
                  <a:pos x="csX357" y="csY357"/>
                </a:cxn>
                <a:cxn ang="0">
                  <a:pos x="csX358" y="csY358"/>
                </a:cxn>
                <a:cxn ang="0">
                  <a:pos x="csX359" y="csY359"/>
                </a:cxn>
                <a:cxn ang="0">
                  <a:pos x="csX360" y="csY360"/>
                </a:cxn>
                <a:cxn ang="0">
                  <a:pos x="csX361" y="csY361"/>
                </a:cxn>
                <a:cxn ang="0">
                  <a:pos x="csX362" y="csY362"/>
                </a:cxn>
                <a:cxn ang="0">
                  <a:pos x="csX363" y="csY363"/>
                </a:cxn>
                <a:cxn ang="0">
                  <a:pos x="csX364" y="csY364"/>
                </a:cxn>
                <a:cxn ang="0">
                  <a:pos x="csX365" y="csY365"/>
                </a:cxn>
                <a:cxn ang="0">
                  <a:pos x="csX366" y="csY366"/>
                </a:cxn>
                <a:cxn ang="0">
                  <a:pos x="csX367" y="csY367"/>
                </a:cxn>
                <a:cxn ang="0">
                  <a:pos x="csX368" y="csY368"/>
                </a:cxn>
                <a:cxn ang="0">
                  <a:pos x="csX369" y="csY369"/>
                </a:cxn>
                <a:cxn ang="0">
                  <a:pos x="csX370" y="csY370"/>
                </a:cxn>
                <a:cxn ang="0">
                  <a:pos x="csX371" y="csY371"/>
                </a:cxn>
                <a:cxn ang="0">
                  <a:pos x="csX372" y="csY372"/>
                </a:cxn>
                <a:cxn ang="0">
                  <a:pos x="csX373" y="csY373"/>
                </a:cxn>
                <a:cxn ang="0">
                  <a:pos x="csX374" y="csY374"/>
                </a:cxn>
                <a:cxn ang="0">
                  <a:pos x="csX375" y="csY375"/>
                </a:cxn>
                <a:cxn ang="0">
                  <a:pos x="csX376" y="csY376"/>
                </a:cxn>
                <a:cxn ang="0">
                  <a:pos x="csX377" y="csY377"/>
                </a:cxn>
                <a:cxn ang="0">
                  <a:pos x="csX378" y="csY378"/>
                </a:cxn>
                <a:cxn ang="0">
                  <a:pos x="csX379" y="csY379"/>
                </a:cxn>
                <a:cxn ang="0">
                  <a:pos x="csX380" y="csY380"/>
                </a:cxn>
                <a:cxn ang="0">
                  <a:pos x="csX381" y="csY381"/>
                </a:cxn>
                <a:cxn ang="0">
                  <a:pos x="csX382" y="csY382"/>
                </a:cxn>
                <a:cxn ang="0">
                  <a:pos x="csX383" y="csY383"/>
                </a:cxn>
                <a:cxn ang="0">
                  <a:pos x="csX384" y="csY384"/>
                </a:cxn>
                <a:cxn ang="0">
                  <a:pos x="csX385" y="csY385"/>
                </a:cxn>
                <a:cxn ang="0">
                  <a:pos x="csX386" y="csY386"/>
                </a:cxn>
                <a:cxn ang="0">
                  <a:pos x="csX387" y="csY387"/>
                </a:cxn>
                <a:cxn ang="0">
                  <a:pos x="csX388" y="csY388"/>
                </a:cxn>
                <a:cxn ang="0">
                  <a:pos x="csX389" y="csY389"/>
                </a:cxn>
                <a:cxn ang="0">
                  <a:pos x="csX390" y="csY390"/>
                </a:cxn>
                <a:cxn ang="0">
                  <a:pos x="csX391" y="csY391"/>
                </a:cxn>
                <a:cxn ang="0">
                  <a:pos x="csX392" y="csY392"/>
                </a:cxn>
                <a:cxn ang="0">
                  <a:pos x="csX393" y="csY393"/>
                </a:cxn>
                <a:cxn ang="0">
                  <a:pos x="csX394" y="csY394"/>
                </a:cxn>
                <a:cxn ang="0">
                  <a:pos x="csX395" y="csY395"/>
                </a:cxn>
                <a:cxn ang="0">
                  <a:pos x="csX396" y="csY396"/>
                </a:cxn>
                <a:cxn ang="0">
                  <a:pos x="csX397" y="csY397"/>
                </a:cxn>
                <a:cxn ang="0">
                  <a:pos x="csX398" y="csY398"/>
                </a:cxn>
                <a:cxn ang="0">
                  <a:pos x="csX399" y="csY399"/>
                </a:cxn>
                <a:cxn ang="0">
                  <a:pos x="csX400" y="csY400"/>
                </a:cxn>
                <a:cxn ang="0">
                  <a:pos x="csX401" y="csY401"/>
                </a:cxn>
                <a:cxn ang="0">
                  <a:pos x="csX402" y="csY402"/>
                </a:cxn>
                <a:cxn ang="0">
                  <a:pos x="csX403" y="csY403"/>
                </a:cxn>
                <a:cxn ang="0">
                  <a:pos x="csX404" y="csY404"/>
                </a:cxn>
                <a:cxn ang="0">
                  <a:pos x="csX405" y="csY405"/>
                </a:cxn>
                <a:cxn ang="0">
                  <a:pos x="csX406" y="csY406"/>
                </a:cxn>
                <a:cxn ang="0">
                  <a:pos x="csX407" y="csY407"/>
                </a:cxn>
                <a:cxn ang="0">
                  <a:pos x="csX408" y="csY408"/>
                </a:cxn>
                <a:cxn ang="0">
                  <a:pos x="csX409" y="csY409"/>
                </a:cxn>
                <a:cxn ang="0">
                  <a:pos x="csX410" y="csY410"/>
                </a:cxn>
                <a:cxn ang="0">
                  <a:pos x="csX411" y="csY411"/>
                </a:cxn>
                <a:cxn ang="0">
                  <a:pos x="csX412" y="csY412"/>
                </a:cxn>
                <a:cxn ang="0">
                  <a:pos x="csX413" y="csY413"/>
                </a:cxn>
                <a:cxn ang="0">
                  <a:pos x="csX414" y="csY414"/>
                </a:cxn>
                <a:cxn ang="0">
                  <a:pos x="csX415" y="csY415"/>
                </a:cxn>
                <a:cxn ang="0">
                  <a:pos x="csX416" y="csY416"/>
                </a:cxn>
                <a:cxn ang="0">
                  <a:pos x="csX417" y="csY417"/>
                </a:cxn>
                <a:cxn ang="0">
                  <a:pos x="csX418" y="csY418"/>
                </a:cxn>
                <a:cxn ang="0">
                  <a:pos x="csX419" y="csY419"/>
                </a:cxn>
                <a:cxn ang="0">
                  <a:pos x="csX420" y="csY420"/>
                </a:cxn>
                <a:cxn ang="0">
                  <a:pos x="csX421" y="csY421"/>
                </a:cxn>
                <a:cxn ang="0">
                  <a:pos x="csX422" y="csY422"/>
                </a:cxn>
                <a:cxn ang="0">
                  <a:pos x="csX423" y="csY423"/>
                </a:cxn>
                <a:cxn ang="0">
                  <a:pos x="csX424" y="csY424"/>
                </a:cxn>
                <a:cxn ang="0">
                  <a:pos x="csX425" y="csY425"/>
                </a:cxn>
                <a:cxn ang="0">
                  <a:pos x="csX426" y="csY426"/>
                </a:cxn>
                <a:cxn ang="0">
                  <a:pos x="csX427" y="csY427"/>
                </a:cxn>
                <a:cxn ang="0">
                  <a:pos x="csX428" y="csY428"/>
                </a:cxn>
                <a:cxn ang="0">
                  <a:pos x="csX429" y="csY429"/>
                </a:cxn>
                <a:cxn ang="0">
                  <a:pos x="csX430" y="csY430"/>
                </a:cxn>
                <a:cxn ang="0">
                  <a:pos x="csX431" y="csY431"/>
                </a:cxn>
                <a:cxn ang="0">
                  <a:pos x="csX432" y="csY432"/>
                </a:cxn>
                <a:cxn ang="0">
                  <a:pos x="csX433" y="csY433"/>
                </a:cxn>
                <a:cxn ang="0">
                  <a:pos x="csX434" y="csY434"/>
                </a:cxn>
                <a:cxn ang="0">
                  <a:pos x="csX435" y="csY435"/>
                </a:cxn>
                <a:cxn ang="0">
                  <a:pos x="csX436" y="csY436"/>
                </a:cxn>
                <a:cxn ang="0">
                  <a:pos x="csX437" y="csY437"/>
                </a:cxn>
                <a:cxn ang="0">
                  <a:pos x="csX438" y="csY438"/>
                </a:cxn>
                <a:cxn ang="0">
                  <a:pos x="csX439" y="csY439"/>
                </a:cxn>
                <a:cxn ang="0">
                  <a:pos x="csX440" y="csY440"/>
                </a:cxn>
                <a:cxn ang="0">
                  <a:pos x="csX441" y="csY441"/>
                </a:cxn>
                <a:cxn ang="0">
                  <a:pos x="csX442" y="csY442"/>
                </a:cxn>
                <a:cxn ang="0">
                  <a:pos x="csX443" y="csY443"/>
                </a:cxn>
                <a:cxn ang="0">
                  <a:pos x="csX444" y="csY444"/>
                </a:cxn>
                <a:cxn ang="0">
                  <a:pos x="csX445" y="csY445"/>
                </a:cxn>
                <a:cxn ang="0">
                  <a:pos x="csX446" y="csY446"/>
                </a:cxn>
                <a:cxn ang="0">
                  <a:pos x="csX447" y="csY447"/>
                </a:cxn>
                <a:cxn ang="0">
                  <a:pos x="csX448" y="csY448"/>
                </a:cxn>
                <a:cxn ang="0">
                  <a:pos x="csX449" y="csY449"/>
                </a:cxn>
                <a:cxn ang="0">
                  <a:pos x="csX450" y="csY450"/>
                </a:cxn>
                <a:cxn ang="0">
                  <a:pos x="csX451" y="csY451"/>
                </a:cxn>
                <a:cxn ang="0">
                  <a:pos x="csX452" y="csY452"/>
                </a:cxn>
                <a:cxn ang="0">
                  <a:pos x="csX453" y="csY453"/>
                </a:cxn>
                <a:cxn ang="0">
                  <a:pos x="csX454" y="csY454"/>
                </a:cxn>
                <a:cxn ang="0">
                  <a:pos x="csX455" y="csY455"/>
                </a:cxn>
                <a:cxn ang="0">
                  <a:pos x="csX456" y="csY456"/>
                </a:cxn>
                <a:cxn ang="0">
                  <a:pos x="csX457" y="csY457"/>
                </a:cxn>
                <a:cxn ang="0">
                  <a:pos x="csX458" y="csY458"/>
                </a:cxn>
                <a:cxn ang="0">
                  <a:pos x="csX459" y="csY459"/>
                </a:cxn>
                <a:cxn ang="0">
                  <a:pos x="csX460" y="csY460"/>
                </a:cxn>
                <a:cxn ang="0">
                  <a:pos x="csX461" y="csY461"/>
                </a:cxn>
                <a:cxn ang="0">
                  <a:pos x="csX462" y="csY462"/>
                </a:cxn>
                <a:cxn ang="0">
                  <a:pos x="csX463" y="csY463"/>
                </a:cxn>
                <a:cxn ang="0">
                  <a:pos x="csX464" y="csY464"/>
                </a:cxn>
                <a:cxn ang="0">
                  <a:pos x="csX465" y="csY465"/>
                </a:cxn>
                <a:cxn ang="0">
                  <a:pos x="csX466" y="csY466"/>
                </a:cxn>
                <a:cxn ang="0">
                  <a:pos x="csX467" y="csY467"/>
                </a:cxn>
                <a:cxn ang="0">
                  <a:pos x="csX468" y="csY468"/>
                </a:cxn>
                <a:cxn ang="0">
                  <a:pos x="csX469" y="csY469"/>
                </a:cxn>
                <a:cxn ang="0">
                  <a:pos x="csX470" y="csY470"/>
                </a:cxn>
                <a:cxn ang="0">
                  <a:pos x="csX471" y="csY471"/>
                </a:cxn>
                <a:cxn ang="0">
                  <a:pos x="csX472" y="csY472"/>
                </a:cxn>
                <a:cxn ang="0">
                  <a:pos x="csX473" y="csY473"/>
                </a:cxn>
                <a:cxn ang="0">
                  <a:pos x="csX474" y="csY474"/>
                </a:cxn>
                <a:cxn ang="0">
                  <a:pos x="csX475" y="csY475"/>
                </a:cxn>
                <a:cxn ang="0">
                  <a:pos x="csX476" y="csY476"/>
                </a:cxn>
                <a:cxn ang="0">
                  <a:pos x="csX477" y="csY477"/>
                </a:cxn>
                <a:cxn ang="0">
                  <a:pos x="csX478" y="csY478"/>
                </a:cxn>
                <a:cxn ang="0">
                  <a:pos x="csX479" y="csY479"/>
                </a:cxn>
                <a:cxn ang="0">
                  <a:pos x="csX480" y="csY480"/>
                </a:cxn>
                <a:cxn ang="0">
                  <a:pos x="csX481" y="csY481"/>
                </a:cxn>
                <a:cxn ang="0">
                  <a:pos x="csX482" y="csY482"/>
                </a:cxn>
                <a:cxn ang="0">
                  <a:pos x="csX483" y="csY483"/>
                </a:cxn>
                <a:cxn ang="0">
                  <a:pos x="csX484" y="csY484"/>
                </a:cxn>
                <a:cxn ang="0">
                  <a:pos x="csX485" y="csY485"/>
                </a:cxn>
                <a:cxn ang="0">
                  <a:pos x="csX486" y="csY486"/>
                </a:cxn>
                <a:cxn ang="0">
                  <a:pos x="csX487" y="csY487"/>
                </a:cxn>
                <a:cxn ang="0">
                  <a:pos x="csX488" y="csY488"/>
                </a:cxn>
                <a:cxn ang="0">
                  <a:pos x="csX489" y="csY489"/>
                </a:cxn>
                <a:cxn ang="0">
                  <a:pos x="csX490" y="csY490"/>
                </a:cxn>
                <a:cxn ang="0">
                  <a:pos x="csX491" y="csY491"/>
                </a:cxn>
                <a:cxn ang="0">
                  <a:pos x="csX492" y="csY492"/>
                </a:cxn>
                <a:cxn ang="0">
                  <a:pos x="csX493" y="csY493"/>
                </a:cxn>
                <a:cxn ang="0">
                  <a:pos x="csX494" y="csY494"/>
                </a:cxn>
                <a:cxn ang="0">
                  <a:pos x="csX495" y="csY495"/>
                </a:cxn>
                <a:cxn ang="0">
                  <a:pos x="csX496" y="csY496"/>
                </a:cxn>
                <a:cxn ang="0">
                  <a:pos x="csX497" y="csY497"/>
                </a:cxn>
                <a:cxn ang="0">
                  <a:pos x="csX498" y="csY498"/>
                </a:cxn>
                <a:cxn ang="0">
                  <a:pos x="csX499" y="csY499"/>
                </a:cxn>
                <a:cxn ang="0">
                  <a:pos x="csX500" y="csY500"/>
                </a:cxn>
                <a:cxn ang="0">
                  <a:pos x="csX501" y="csY501"/>
                </a:cxn>
                <a:cxn ang="0">
                  <a:pos x="csX502" y="csY502"/>
                </a:cxn>
                <a:cxn ang="0">
                  <a:pos x="csX503" y="csY503"/>
                </a:cxn>
                <a:cxn ang="0">
                  <a:pos x="csX504" y="csY504"/>
                </a:cxn>
                <a:cxn ang="0">
                  <a:pos x="csX505" y="csY505"/>
                </a:cxn>
                <a:cxn ang="0">
                  <a:pos x="csX506" y="csY506"/>
                </a:cxn>
                <a:cxn ang="0">
                  <a:pos x="csX507" y="csY507"/>
                </a:cxn>
                <a:cxn ang="0">
                  <a:pos x="csX508" y="csY508"/>
                </a:cxn>
                <a:cxn ang="0">
                  <a:pos x="csX509" y="csY509"/>
                </a:cxn>
                <a:cxn ang="0">
                  <a:pos x="csX510" y="csY510"/>
                </a:cxn>
                <a:cxn ang="0">
                  <a:pos x="csX511" y="csY511"/>
                </a:cxn>
                <a:cxn ang="0">
                  <a:pos x="csX512" y="csY512"/>
                </a:cxn>
                <a:cxn ang="0">
                  <a:pos x="csX513" y="csY513"/>
                </a:cxn>
                <a:cxn ang="0">
                  <a:pos x="csX514" y="csY514"/>
                </a:cxn>
                <a:cxn ang="0">
                  <a:pos x="csX515" y="csY515"/>
                </a:cxn>
                <a:cxn ang="0">
                  <a:pos x="csX516" y="csY516"/>
                </a:cxn>
                <a:cxn ang="0">
                  <a:pos x="csX517" y="csY517"/>
                </a:cxn>
                <a:cxn ang="0">
                  <a:pos x="csX518" y="csY518"/>
                </a:cxn>
                <a:cxn ang="0">
                  <a:pos x="csX519" y="csY519"/>
                </a:cxn>
                <a:cxn ang="0">
                  <a:pos x="csX520" y="csY520"/>
                </a:cxn>
                <a:cxn ang="0">
                  <a:pos x="csX521" y="csY521"/>
                </a:cxn>
                <a:cxn ang="0">
                  <a:pos x="csX522" y="csY522"/>
                </a:cxn>
                <a:cxn ang="0">
                  <a:pos x="csX523" y="csY523"/>
                </a:cxn>
                <a:cxn ang="0">
                  <a:pos x="csX524" y="csY524"/>
                </a:cxn>
                <a:cxn ang="0">
                  <a:pos x="csX525" y="csY525"/>
                </a:cxn>
                <a:cxn ang="0">
                  <a:pos x="csX526" y="csY526"/>
                </a:cxn>
                <a:cxn ang="0">
                  <a:pos x="csX527" y="csY527"/>
                </a:cxn>
                <a:cxn ang="0">
                  <a:pos x="csX528" y="csY528"/>
                </a:cxn>
                <a:cxn ang="0">
                  <a:pos x="csX529" y="csY529"/>
                </a:cxn>
                <a:cxn ang="0">
                  <a:pos x="csX530" y="csY530"/>
                </a:cxn>
                <a:cxn ang="0">
                  <a:pos x="csX531" y="csY531"/>
                </a:cxn>
                <a:cxn ang="0">
                  <a:pos x="csX532" y="csY532"/>
                </a:cxn>
                <a:cxn ang="0">
                  <a:pos x="csX533" y="csY533"/>
                </a:cxn>
                <a:cxn ang="0">
                  <a:pos x="csX534" y="csY534"/>
                </a:cxn>
                <a:cxn ang="0">
                  <a:pos x="csX535" y="csY535"/>
                </a:cxn>
                <a:cxn ang="0">
                  <a:pos x="csX536" y="csY536"/>
                </a:cxn>
                <a:cxn ang="0">
                  <a:pos x="csX537" y="csY537"/>
                </a:cxn>
                <a:cxn ang="0">
                  <a:pos x="csX538" y="csY538"/>
                </a:cxn>
                <a:cxn ang="0">
                  <a:pos x="csX539" y="csY539"/>
                </a:cxn>
                <a:cxn ang="0">
                  <a:pos x="csX540" y="csY540"/>
                </a:cxn>
                <a:cxn ang="0">
                  <a:pos x="csX541" y="csY541"/>
                </a:cxn>
                <a:cxn ang="0">
                  <a:pos x="csX542" y="csY542"/>
                </a:cxn>
                <a:cxn ang="0">
                  <a:pos x="csX543" y="csY543"/>
                </a:cxn>
                <a:cxn ang="0">
                  <a:pos x="csX544" y="csY544"/>
                </a:cxn>
                <a:cxn ang="0">
                  <a:pos x="csX545" y="csY545"/>
                </a:cxn>
                <a:cxn ang="0">
                  <a:pos x="csX546" y="csY546"/>
                </a:cxn>
                <a:cxn ang="0">
                  <a:pos x="csX547" y="csY547"/>
                </a:cxn>
                <a:cxn ang="0">
                  <a:pos x="csX548" y="csY548"/>
                </a:cxn>
                <a:cxn ang="0">
                  <a:pos x="csX549" y="csY549"/>
                </a:cxn>
                <a:cxn ang="0">
                  <a:pos x="csX550" y="csY550"/>
                </a:cxn>
                <a:cxn ang="0">
                  <a:pos x="csX551" y="csY551"/>
                </a:cxn>
                <a:cxn ang="0">
                  <a:pos x="csX552" y="csY552"/>
                </a:cxn>
                <a:cxn ang="0">
                  <a:pos x="csX553" y="csY553"/>
                </a:cxn>
                <a:cxn ang="0">
                  <a:pos x="csX554" y="csY554"/>
                </a:cxn>
                <a:cxn ang="0">
                  <a:pos x="csX555" y="csY555"/>
                </a:cxn>
                <a:cxn ang="0">
                  <a:pos x="csX556" y="csY556"/>
                </a:cxn>
                <a:cxn ang="0">
                  <a:pos x="csX557" y="csY557"/>
                </a:cxn>
                <a:cxn ang="0">
                  <a:pos x="csX558" y="csY558"/>
                </a:cxn>
                <a:cxn ang="0">
                  <a:pos x="csX559" y="csY559"/>
                </a:cxn>
                <a:cxn ang="0">
                  <a:pos x="csX560" y="csY560"/>
                </a:cxn>
                <a:cxn ang="0">
                  <a:pos x="csX561" y="csY561"/>
                </a:cxn>
                <a:cxn ang="0">
                  <a:pos x="csX562" y="csY562"/>
                </a:cxn>
                <a:cxn ang="0">
                  <a:pos x="csX563" y="csY563"/>
                </a:cxn>
                <a:cxn ang="0">
                  <a:pos x="csX564" y="csY564"/>
                </a:cxn>
                <a:cxn ang="0">
                  <a:pos x="csX565" y="csY565"/>
                </a:cxn>
                <a:cxn ang="0">
                  <a:pos x="csX566" y="csY566"/>
                </a:cxn>
                <a:cxn ang="0">
                  <a:pos x="csX567" y="csY567"/>
                </a:cxn>
                <a:cxn ang="0">
                  <a:pos x="csX568" y="csY568"/>
                </a:cxn>
                <a:cxn ang="0">
                  <a:pos x="csX569" y="csY569"/>
                </a:cxn>
                <a:cxn ang="0">
                  <a:pos x="csX570" y="csY570"/>
                </a:cxn>
                <a:cxn ang="0">
                  <a:pos x="csX571" y="csY571"/>
                </a:cxn>
                <a:cxn ang="0">
                  <a:pos x="csX572" y="csY572"/>
                </a:cxn>
                <a:cxn ang="0">
                  <a:pos x="csX573" y="csY573"/>
                </a:cxn>
                <a:cxn ang="0">
                  <a:pos x="csX574" y="csY574"/>
                </a:cxn>
                <a:cxn ang="0">
                  <a:pos x="csX575" y="csY575"/>
                </a:cxn>
                <a:cxn ang="0">
                  <a:pos x="csX576" y="csY576"/>
                </a:cxn>
                <a:cxn ang="0">
                  <a:pos x="csX577" y="csY577"/>
                </a:cxn>
                <a:cxn ang="0">
                  <a:pos x="csX578" y="csY578"/>
                </a:cxn>
                <a:cxn ang="0">
                  <a:pos x="csX579" y="csY579"/>
                </a:cxn>
                <a:cxn ang="0">
                  <a:pos x="csX580" y="csY580"/>
                </a:cxn>
                <a:cxn ang="0">
                  <a:pos x="csX581" y="csY581"/>
                </a:cxn>
                <a:cxn ang="0">
                  <a:pos x="csX582" y="csY582"/>
                </a:cxn>
                <a:cxn ang="0">
                  <a:pos x="csX583" y="csY583"/>
                </a:cxn>
                <a:cxn ang="0">
                  <a:pos x="csX584" y="csY584"/>
                </a:cxn>
                <a:cxn ang="0">
                  <a:pos x="csX585" y="csY585"/>
                </a:cxn>
                <a:cxn ang="0">
                  <a:pos x="csX586" y="csY586"/>
                </a:cxn>
                <a:cxn ang="0">
                  <a:pos x="csX587" y="csY587"/>
                </a:cxn>
                <a:cxn ang="0">
                  <a:pos x="csX588" y="csY588"/>
                </a:cxn>
                <a:cxn ang="0">
                  <a:pos x="csX589" y="csY589"/>
                </a:cxn>
                <a:cxn ang="0">
                  <a:pos x="csX590" y="csY590"/>
                </a:cxn>
                <a:cxn ang="0">
                  <a:pos x="csX591" y="csY591"/>
                </a:cxn>
                <a:cxn ang="0">
                  <a:pos x="csX592" y="csY592"/>
                </a:cxn>
                <a:cxn ang="0">
                  <a:pos x="csX593" y="csY593"/>
                </a:cxn>
                <a:cxn ang="0">
                  <a:pos x="csX594" y="csY594"/>
                </a:cxn>
                <a:cxn ang="0">
                  <a:pos x="csX595" y="csY595"/>
                </a:cxn>
                <a:cxn ang="0">
                  <a:pos x="csX596" y="csY596"/>
                </a:cxn>
                <a:cxn ang="0">
                  <a:pos x="csX597" y="csY597"/>
                </a:cxn>
                <a:cxn ang="0">
                  <a:pos x="csX598" y="csY598"/>
                </a:cxn>
                <a:cxn ang="0">
                  <a:pos x="csX599" y="csY599"/>
                </a:cxn>
                <a:cxn ang="0">
                  <a:pos x="csX600" y="csY600"/>
                </a:cxn>
                <a:cxn ang="0">
                  <a:pos x="csX601" y="csY601"/>
                </a:cxn>
                <a:cxn ang="0">
                  <a:pos x="csX602" y="csY602"/>
                </a:cxn>
                <a:cxn ang="0">
                  <a:pos x="csX603" y="csY603"/>
                </a:cxn>
                <a:cxn ang="0">
                  <a:pos x="csX604" y="csY604"/>
                </a:cxn>
                <a:cxn ang="0">
                  <a:pos x="csX605" y="csY605"/>
                </a:cxn>
                <a:cxn ang="0">
                  <a:pos x="csX606" y="csY606"/>
                </a:cxn>
                <a:cxn ang="0">
                  <a:pos x="csX607" y="csY607"/>
                </a:cxn>
                <a:cxn ang="0">
                  <a:pos x="csX608" y="csY608"/>
                </a:cxn>
                <a:cxn ang="0">
                  <a:pos x="csX609" y="csY609"/>
                </a:cxn>
                <a:cxn ang="0">
                  <a:pos x="csX610" y="csY610"/>
                </a:cxn>
                <a:cxn ang="0">
                  <a:pos x="csX611" y="csY611"/>
                </a:cxn>
                <a:cxn ang="0">
                  <a:pos x="csX612" y="csY612"/>
                </a:cxn>
                <a:cxn ang="0">
                  <a:pos x="csX613" y="csY613"/>
                </a:cxn>
                <a:cxn ang="0">
                  <a:pos x="csX614" y="csY614"/>
                </a:cxn>
                <a:cxn ang="0">
                  <a:pos x="csX615" y="csY615"/>
                </a:cxn>
                <a:cxn ang="0">
                  <a:pos x="csX616" y="csY616"/>
                </a:cxn>
                <a:cxn ang="0">
                  <a:pos x="csX617" y="csY617"/>
                </a:cxn>
                <a:cxn ang="0">
                  <a:pos x="csX618" y="csY618"/>
                </a:cxn>
                <a:cxn ang="0">
                  <a:pos x="csX619" y="csY619"/>
                </a:cxn>
                <a:cxn ang="0">
                  <a:pos x="csX620" y="csY620"/>
                </a:cxn>
                <a:cxn ang="0">
                  <a:pos x="csX621" y="csY621"/>
                </a:cxn>
                <a:cxn ang="0">
                  <a:pos x="csX622" y="csY622"/>
                </a:cxn>
                <a:cxn ang="0">
                  <a:pos x="csX623" y="csY623"/>
                </a:cxn>
                <a:cxn ang="0">
                  <a:pos x="csX624" y="csY624"/>
                </a:cxn>
                <a:cxn ang="0">
                  <a:pos x="csX625" y="csY625"/>
                </a:cxn>
                <a:cxn ang="0">
                  <a:pos x="csX626" y="csY626"/>
                </a:cxn>
                <a:cxn ang="0">
                  <a:pos x="csX627" y="csY627"/>
                </a:cxn>
                <a:cxn ang="0">
                  <a:pos x="csX628" y="csY628"/>
                </a:cxn>
                <a:cxn ang="0">
                  <a:pos x="csX629" y="csY629"/>
                </a:cxn>
                <a:cxn ang="0">
                  <a:pos x="csX630" y="csY630"/>
                </a:cxn>
                <a:cxn ang="0">
                  <a:pos x="csX631" y="csY631"/>
                </a:cxn>
                <a:cxn ang="0">
                  <a:pos x="csX632" y="csY632"/>
                </a:cxn>
                <a:cxn ang="0">
                  <a:pos x="csX633" y="csY633"/>
                </a:cxn>
                <a:cxn ang="0">
                  <a:pos x="csX634" y="csY634"/>
                </a:cxn>
                <a:cxn ang="0">
                  <a:pos x="csX635" y="csY635"/>
                </a:cxn>
                <a:cxn ang="0">
                  <a:pos x="csX636" y="csY636"/>
                </a:cxn>
                <a:cxn ang="0">
                  <a:pos x="csX637" y="csY637"/>
                </a:cxn>
                <a:cxn ang="0">
                  <a:pos x="csX638" y="csY638"/>
                </a:cxn>
                <a:cxn ang="0">
                  <a:pos x="csX639" y="csY639"/>
                </a:cxn>
                <a:cxn ang="0">
                  <a:pos x="csX640" y="csY640"/>
                </a:cxn>
                <a:cxn ang="0">
                  <a:pos x="csX641" y="csY641"/>
                </a:cxn>
                <a:cxn ang="0">
                  <a:pos x="csX642" y="csY642"/>
                </a:cxn>
                <a:cxn ang="0">
                  <a:pos x="csX643" y="csY643"/>
                </a:cxn>
                <a:cxn ang="0">
                  <a:pos x="csX644" y="csY644"/>
                </a:cxn>
                <a:cxn ang="0">
                  <a:pos x="csX645" y="csY645"/>
                </a:cxn>
                <a:cxn ang="0">
                  <a:pos x="csX646" y="csY646"/>
                </a:cxn>
                <a:cxn ang="0">
                  <a:pos x="csX647" y="csY647"/>
                </a:cxn>
                <a:cxn ang="0">
                  <a:pos x="csX648" y="csY648"/>
                </a:cxn>
                <a:cxn ang="0">
                  <a:pos x="csX649" y="csY649"/>
                </a:cxn>
                <a:cxn ang="0">
                  <a:pos x="csX650" y="csY650"/>
                </a:cxn>
                <a:cxn ang="0">
                  <a:pos x="csX651" y="csY651"/>
                </a:cxn>
                <a:cxn ang="0">
                  <a:pos x="csX652" y="csY652"/>
                </a:cxn>
                <a:cxn ang="0">
                  <a:pos x="csX653" y="csY653"/>
                </a:cxn>
                <a:cxn ang="0">
                  <a:pos x="csX654" y="csY654"/>
                </a:cxn>
                <a:cxn ang="0">
                  <a:pos x="csX655" y="csY655"/>
                </a:cxn>
                <a:cxn ang="0">
                  <a:pos x="csX656" y="csY656"/>
                </a:cxn>
                <a:cxn ang="0">
                  <a:pos x="csX657" y="csY657"/>
                </a:cxn>
                <a:cxn ang="0">
                  <a:pos x="csX658" y="csY658"/>
                </a:cxn>
                <a:cxn ang="0">
                  <a:pos x="csX659" y="csY659"/>
                </a:cxn>
                <a:cxn ang="0">
                  <a:pos x="csX660" y="csY660"/>
                </a:cxn>
                <a:cxn ang="0">
                  <a:pos x="csX661" y="csY661"/>
                </a:cxn>
                <a:cxn ang="0">
                  <a:pos x="csX662" y="csY662"/>
                </a:cxn>
                <a:cxn ang="0">
                  <a:pos x="csX663" y="csY663"/>
                </a:cxn>
                <a:cxn ang="0">
                  <a:pos x="csX664" y="csY664"/>
                </a:cxn>
                <a:cxn ang="0">
                  <a:pos x="csX665" y="csY665"/>
                </a:cxn>
                <a:cxn ang="0">
                  <a:pos x="csX666" y="csY666"/>
                </a:cxn>
                <a:cxn ang="0">
                  <a:pos x="csX667" y="csY667"/>
                </a:cxn>
                <a:cxn ang="0">
                  <a:pos x="csX668" y="csY668"/>
                </a:cxn>
                <a:cxn ang="0">
                  <a:pos x="csX669" y="csY669"/>
                </a:cxn>
                <a:cxn ang="0">
                  <a:pos x="csX670" y="csY670"/>
                </a:cxn>
                <a:cxn ang="0">
                  <a:pos x="csX671" y="csY671"/>
                </a:cxn>
                <a:cxn ang="0">
                  <a:pos x="csX672" y="csY672"/>
                </a:cxn>
                <a:cxn ang="0">
                  <a:pos x="csX673" y="csY673"/>
                </a:cxn>
                <a:cxn ang="0">
                  <a:pos x="csX674" y="csY674"/>
                </a:cxn>
                <a:cxn ang="0">
                  <a:pos x="csX675" y="csY675"/>
                </a:cxn>
                <a:cxn ang="0">
                  <a:pos x="csX676" y="csY676"/>
                </a:cxn>
                <a:cxn ang="0">
                  <a:pos x="csX677" y="csY677"/>
                </a:cxn>
                <a:cxn ang="0">
                  <a:pos x="csX678" y="csY678"/>
                </a:cxn>
                <a:cxn ang="0">
                  <a:pos x="csX679" y="csY679"/>
                </a:cxn>
                <a:cxn ang="0">
                  <a:pos x="csX680" y="csY680"/>
                </a:cxn>
                <a:cxn ang="0">
                  <a:pos x="csX681" y="csY681"/>
                </a:cxn>
                <a:cxn ang="0">
                  <a:pos x="csX682" y="csY682"/>
                </a:cxn>
                <a:cxn ang="0">
                  <a:pos x="csX683" y="csY683"/>
                </a:cxn>
                <a:cxn ang="0">
                  <a:pos x="csX684" y="csY684"/>
                </a:cxn>
                <a:cxn ang="0">
                  <a:pos x="csX685" y="csY685"/>
                </a:cxn>
                <a:cxn ang="0">
                  <a:pos x="csX686" y="csY686"/>
                </a:cxn>
                <a:cxn ang="0">
                  <a:pos x="csX687" y="csY687"/>
                </a:cxn>
                <a:cxn ang="0">
                  <a:pos x="csX688" y="csY688"/>
                </a:cxn>
                <a:cxn ang="0">
                  <a:pos x="csX689" y="csY689"/>
                </a:cxn>
                <a:cxn ang="0">
                  <a:pos x="csX690" y="csY690"/>
                </a:cxn>
                <a:cxn ang="0">
                  <a:pos x="csX691" y="csY691"/>
                </a:cxn>
                <a:cxn ang="0">
                  <a:pos x="csX692" y="csY692"/>
                </a:cxn>
                <a:cxn ang="0">
                  <a:pos x="csX693" y="csY693"/>
                </a:cxn>
                <a:cxn ang="0">
                  <a:pos x="csX694" y="csY694"/>
                </a:cxn>
                <a:cxn ang="0">
                  <a:pos x="csX695" y="csY695"/>
                </a:cxn>
                <a:cxn ang="0">
                  <a:pos x="csX696" y="csY696"/>
                </a:cxn>
                <a:cxn ang="0">
                  <a:pos x="csX697" y="csY697"/>
                </a:cxn>
                <a:cxn ang="0">
                  <a:pos x="csX698" y="csY698"/>
                </a:cxn>
                <a:cxn ang="0">
                  <a:pos x="csX699" y="csY699"/>
                </a:cxn>
                <a:cxn ang="0">
                  <a:pos x="csX700" y="csY700"/>
                </a:cxn>
                <a:cxn ang="0">
                  <a:pos x="csX701" y="csY701"/>
                </a:cxn>
                <a:cxn ang="0">
                  <a:pos x="csX702" y="csY702"/>
                </a:cxn>
                <a:cxn ang="0">
                  <a:pos x="csX703" y="csY703"/>
                </a:cxn>
                <a:cxn ang="0">
                  <a:pos x="csX704" y="csY704"/>
                </a:cxn>
                <a:cxn ang="0">
                  <a:pos x="csX705" y="csY705"/>
                </a:cxn>
                <a:cxn ang="0">
                  <a:pos x="csX706" y="csY706"/>
                </a:cxn>
                <a:cxn ang="0">
                  <a:pos x="csX707" y="csY707"/>
                </a:cxn>
                <a:cxn ang="0">
                  <a:pos x="csX708" y="csY708"/>
                </a:cxn>
                <a:cxn ang="0">
                  <a:pos x="csX709" y="csY709"/>
                </a:cxn>
                <a:cxn ang="0">
                  <a:pos x="csX710" y="csY710"/>
                </a:cxn>
                <a:cxn ang="0">
                  <a:pos x="csX711" y="csY711"/>
                </a:cxn>
                <a:cxn ang="0">
                  <a:pos x="csX712" y="csY712"/>
                </a:cxn>
                <a:cxn ang="0">
                  <a:pos x="csX713" y="csY713"/>
                </a:cxn>
                <a:cxn ang="0">
                  <a:pos x="csX714" y="csY714"/>
                </a:cxn>
                <a:cxn ang="0">
                  <a:pos x="csX715" y="csY715"/>
                </a:cxn>
                <a:cxn ang="0">
                  <a:pos x="csX716" y="csY716"/>
                </a:cxn>
                <a:cxn ang="0">
                  <a:pos x="csX717" y="csY717"/>
                </a:cxn>
                <a:cxn ang="0">
                  <a:pos x="csX718" y="csY718"/>
                </a:cxn>
                <a:cxn ang="0">
                  <a:pos x="csX719" y="csY719"/>
                </a:cxn>
                <a:cxn ang="0">
                  <a:pos x="csX720" y="csY720"/>
                </a:cxn>
                <a:cxn ang="0">
                  <a:pos x="csX721" y="csY721"/>
                </a:cxn>
                <a:cxn ang="0">
                  <a:pos x="csX722" y="csY722"/>
                </a:cxn>
                <a:cxn ang="0">
                  <a:pos x="csX723" y="csY723"/>
                </a:cxn>
                <a:cxn ang="0">
                  <a:pos x="csX724" y="csY724"/>
                </a:cxn>
                <a:cxn ang="0">
                  <a:pos x="csX725" y="csY725"/>
                </a:cxn>
                <a:cxn ang="0">
                  <a:pos x="csX726" y="csY726"/>
                </a:cxn>
                <a:cxn ang="0">
                  <a:pos x="csX727" y="csY727"/>
                </a:cxn>
                <a:cxn ang="0">
                  <a:pos x="csX728" y="csY728"/>
                </a:cxn>
                <a:cxn ang="0">
                  <a:pos x="csX729" y="csY729"/>
                </a:cxn>
                <a:cxn ang="0">
                  <a:pos x="csX730" y="csY730"/>
                </a:cxn>
                <a:cxn ang="0">
                  <a:pos x="csX731" y="csY731"/>
                </a:cxn>
                <a:cxn ang="0">
                  <a:pos x="csX732" y="csY732"/>
                </a:cxn>
                <a:cxn ang="0">
                  <a:pos x="csX733" y="csY733"/>
                </a:cxn>
                <a:cxn ang="0">
                  <a:pos x="csX734" y="csY734"/>
                </a:cxn>
                <a:cxn ang="0">
                  <a:pos x="csX735" y="csY735"/>
                </a:cxn>
                <a:cxn ang="0">
                  <a:pos x="csX736" y="csY736"/>
                </a:cxn>
                <a:cxn ang="0">
                  <a:pos x="csX737" y="csY737"/>
                </a:cxn>
                <a:cxn ang="0">
                  <a:pos x="csX738" y="csY738"/>
                </a:cxn>
                <a:cxn ang="0">
                  <a:pos x="csX739" y="csY739"/>
                </a:cxn>
                <a:cxn ang="0">
                  <a:pos x="csX740" y="csY740"/>
                </a:cxn>
                <a:cxn ang="0">
                  <a:pos x="csX741" y="csY741"/>
                </a:cxn>
                <a:cxn ang="0">
                  <a:pos x="csX742" y="csY742"/>
                </a:cxn>
                <a:cxn ang="0">
                  <a:pos x="csX743" y="csY743"/>
                </a:cxn>
                <a:cxn ang="0">
                  <a:pos x="csX744" y="csY744"/>
                </a:cxn>
                <a:cxn ang="0">
                  <a:pos x="csX745" y="csY745"/>
                </a:cxn>
                <a:cxn ang="0">
                  <a:pos x="csX746" y="csY746"/>
                </a:cxn>
                <a:cxn ang="0">
                  <a:pos x="csX747" y="csY747"/>
                </a:cxn>
                <a:cxn ang="0">
                  <a:pos x="csX748" y="csY748"/>
                </a:cxn>
                <a:cxn ang="0">
                  <a:pos x="csX749" y="csY749"/>
                </a:cxn>
                <a:cxn ang="0">
                  <a:pos x="csX750" y="csY750"/>
                </a:cxn>
                <a:cxn ang="0">
                  <a:pos x="csX751" y="csY751"/>
                </a:cxn>
                <a:cxn ang="0">
                  <a:pos x="csX752" y="csY752"/>
                </a:cxn>
                <a:cxn ang="0">
                  <a:pos x="csX753" y="csY753"/>
                </a:cxn>
                <a:cxn ang="0">
                  <a:pos x="csX754" y="csY754"/>
                </a:cxn>
                <a:cxn ang="0">
                  <a:pos x="csX755" y="csY755"/>
                </a:cxn>
                <a:cxn ang="0">
                  <a:pos x="csX756" y="csY756"/>
                </a:cxn>
                <a:cxn ang="0">
                  <a:pos x="csX757" y="csY757"/>
                </a:cxn>
                <a:cxn ang="0">
                  <a:pos x="csX758" y="csY758"/>
                </a:cxn>
                <a:cxn ang="0">
                  <a:pos x="csX759" y="csY759"/>
                </a:cxn>
                <a:cxn ang="0">
                  <a:pos x="csX760" y="csY760"/>
                </a:cxn>
                <a:cxn ang="0">
                  <a:pos x="csX761" y="csY761"/>
                </a:cxn>
                <a:cxn ang="0">
                  <a:pos x="csX762" y="csY762"/>
                </a:cxn>
                <a:cxn ang="0">
                  <a:pos x="csX763" y="csY763"/>
                </a:cxn>
                <a:cxn ang="0">
                  <a:pos x="csX764" y="csY764"/>
                </a:cxn>
                <a:cxn ang="0">
                  <a:pos x="csX765" y="csY765"/>
                </a:cxn>
                <a:cxn ang="0">
                  <a:pos x="csX766" y="csY766"/>
                </a:cxn>
                <a:cxn ang="0">
                  <a:pos x="csX767" y="csY767"/>
                </a:cxn>
                <a:cxn ang="0">
                  <a:pos x="csX768" y="csY768"/>
                </a:cxn>
                <a:cxn ang="0">
                  <a:pos x="csX769" y="csY769"/>
                </a:cxn>
                <a:cxn ang="0">
                  <a:pos x="csX770" y="csY770"/>
                </a:cxn>
                <a:cxn ang="0">
                  <a:pos x="csX771" y="csY771"/>
                </a:cxn>
                <a:cxn ang="0">
                  <a:pos x="csX772" y="csY772"/>
                </a:cxn>
                <a:cxn ang="0">
                  <a:pos x="csX773" y="csY773"/>
                </a:cxn>
                <a:cxn ang="0">
                  <a:pos x="csX774" y="csY774"/>
                </a:cxn>
                <a:cxn ang="0">
                  <a:pos x="csX775" y="csY775"/>
                </a:cxn>
                <a:cxn ang="0">
                  <a:pos x="csX776" y="csY776"/>
                </a:cxn>
                <a:cxn ang="0">
                  <a:pos x="csX777" y="csY777"/>
                </a:cxn>
                <a:cxn ang="0">
                  <a:pos x="csX778" y="csY778"/>
                </a:cxn>
                <a:cxn ang="0">
                  <a:pos x="csX779" y="csY779"/>
                </a:cxn>
                <a:cxn ang="0">
                  <a:pos x="csX780" y="csY780"/>
                </a:cxn>
                <a:cxn ang="0">
                  <a:pos x="csX781" y="csY781"/>
                </a:cxn>
                <a:cxn ang="0">
                  <a:pos x="csX782" y="csY782"/>
                </a:cxn>
                <a:cxn ang="0">
                  <a:pos x="csX783" y="csY783"/>
                </a:cxn>
                <a:cxn ang="0">
                  <a:pos x="csX784" y="csY784"/>
                </a:cxn>
                <a:cxn ang="0">
                  <a:pos x="csX785" y="csY785"/>
                </a:cxn>
                <a:cxn ang="0">
                  <a:pos x="csX786" y="csY786"/>
                </a:cxn>
                <a:cxn ang="0">
                  <a:pos x="csX787" y="csY787"/>
                </a:cxn>
                <a:cxn ang="0">
                  <a:pos x="csX788" y="csY788"/>
                </a:cxn>
                <a:cxn ang="0">
                  <a:pos x="csX789" y="csY789"/>
                </a:cxn>
                <a:cxn ang="0">
                  <a:pos x="csX790" y="csY790"/>
                </a:cxn>
                <a:cxn ang="0">
                  <a:pos x="csX791" y="csY791"/>
                </a:cxn>
                <a:cxn ang="0">
                  <a:pos x="csX792" y="csY792"/>
                </a:cxn>
                <a:cxn ang="0">
                  <a:pos x="csX793" y="csY793"/>
                </a:cxn>
                <a:cxn ang="0">
                  <a:pos x="csX794" y="csY794"/>
                </a:cxn>
                <a:cxn ang="0">
                  <a:pos x="csX795" y="csY795"/>
                </a:cxn>
                <a:cxn ang="0">
                  <a:pos x="csX796" y="csY796"/>
                </a:cxn>
                <a:cxn ang="0">
                  <a:pos x="csX797" y="csY797"/>
                </a:cxn>
                <a:cxn ang="0">
                  <a:pos x="csX798" y="csY798"/>
                </a:cxn>
                <a:cxn ang="0">
                  <a:pos x="csX799" y="csY799"/>
                </a:cxn>
                <a:cxn ang="0">
                  <a:pos x="csX800" y="csY800"/>
                </a:cxn>
                <a:cxn ang="0">
                  <a:pos x="csX801" y="csY801"/>
                </a:cxn>
                <a:cxn ang="0">
                  <a:pos x="csX802" y="csY802"/>
                </a:cxn>
                <a:cxn ang="0">
                  <a:pos x="csX803" y="csY803"/>
                </a:cxn>
                <a:cxn ang="0">
                  <a:pos x="csX804" y="csY804"/>
                </a:cxn>
                <a:cxn ang="0">
                  <a:pos x="csX805" y="csY805"/>
                </a:cxn>
                <a:cxn ang="0">
                  <a:pos x="csX806" y="csY806"/>
                </a:cxn>
                <a:cxn ang="0">
                  <a:pos x="csX807" y="csY807"/>
                </a:cxn>
                <a:cxn ang="0">
                  <a:pos x="csX808" y="csY808"/>
                </a:cxn>
                <a:cxn ang="0">
                  <a:pos x="csX809" y="csY809"/>
                </a:cxn>
                <a:cxn ang="0">
                  <a:pos x="csX810" y="csY810"/>
                </a:cxn>
                <a:cxn ang="0">
                  <a:pos x="csX811" y="csY811"/>
                </a:cxn>
                <a:cxn ang="0">
                  <a:pos x="csX812" y="csY812"/>
                </a:cxn>
                <a:cxn ang="0">
                  <a:pos x="csX813" y="csY813"/>
                </a:cxn>
                <a:cxn ang="0">
                  <a:pos x="csX814" y="csY814"/>
                </a:cxn>
                <a:cxn ang="0">
                  <a:pos x="csX815" y="csY815"/>
                </a:cxn>
                <a:cxn ang="0">
                  <a:pos x="csX816" y="csY816"/>
                </a:cxn>
                <a:cxn ang="0">
                  <a:pos x="csX817" y="csY817"/>
                </a:cxn>
                <a:cxn ang="0">
                  <a:pos x="csX818" y="csY818"/>
                </a:cxn>
                <a:cxn ang="0">
                  <a:pos x="csX819" y="csY819"/>
                </a:cxn>
                <a:cxn ang="0">
                  <a:pos x="csX820" y="csY820"/>
                </a:cxn>
                <a:cxn ang="0">
                  <a:pos x="csX821" y="csY821"/>
                </a:cxn>
                <a:cxn ang="0">
                  <a:pos x="csX822" y="csY822"/>
                </a:cxn>
                <a:cxn ang="0">
                  <a:pos x="csX823" y="csY823"/>
                </a:cxn>
                <a:cxn ang="0">
                  <a:pos x="csX824" y="csY824"/>
                </a:cxn>
                <a:cxn ang="0">
                  <a:pos x="csX825" y="csY825"/>
                </a:cxn>
                <a:cxn ang="0">
                  <a:pos x="csX826" y="csY826"/>
                </a:cxn>
                <a:cxn ang="0">
                  <a:pos x="csX827" y="csY827"/>
                </a:cxn>
                <a:cxn ang="0">
                  <a:pos x="csX828" y="csY828"/>
                </a:cxn>
                <a:cxn ang="0">
                  <a:pos x="csX829" y="csY829"/>
                </a:cxn>
                <a:cxn ang="0">
                  <a:pos x="csX830" y="csY830"/>
                </a:cxn>
                <a:cxn ang="0">
                  <a:pos x="csX831" y="csY831"/>
                </a:cxn>
                <a:cxn ang="0">
                  <a:pos x="csX832" y="csY832"/>
                </a:cxn>
                <a:cxn ang="0">
                  <a:pos x="csX833" y="csY833"/>
                </a:cxn>
                <a:cxn ang="0">
                  <a:pos x="csX834" y="csY834"/>
                </a:cxn>
                <a:cxn ang="0">
                  <a:pos x="csX835" y="csY835"/>
                </a:cxn>
                <a:cxn ang="0">
                  <a:pos x="csX836" y="csY836"/>
                </a:cxn>
                <a:cxn ang="0">
                  <a:pos x="csX837" y="csY837"/>
                </a:cxn>
                <a:cxn ang="0">
                  <a:pos x="csX838" y="csY838"/>
                </a:cxn>
                <a:cxn ang="0">
                  <a:pos x="csX839" y="csY839"/>
                </a:cxn>
                <a:cxn ang="0">
                  <a:pos x="csX840" y="csY840"/>
                </a:cxn>
                <a:cxn ang="0">
                  <a:pos x="csX841" y="csY841"/>
                </a:cxn>
                <a:cxn ang="0">
                  <a:pos x="csX842" y="csY842"/>
                </a:cxn>
                <a:cxn ang="0">
                  <a:pos x="csX843" y="csY843"/>
                </a:cxn>
                <a:cxn ang="0">
                  <a:pos x="csX844" y="csY844"/>
                </a:cxn>
                <a:cxn ang="0">
                  <a:pos x="csX845" y="csY845"/>
                </a:cxn>
                <a:cxn ang="0">
                  <a:pos x="csX846" y="csY846"/>
                </a:cxn>
                <a:cxn ang="0">
                  <a:pos x="csX847" y="csY847"/>
                </a:cxn>
                <a:cxn ang="0">
                  <a:pos x="csX848" y="csY848"/>
                </a:cxn>
                <a:cxn ang="0">
                  <a:pos x="csX849" y="csY849"/>
                </a:cxn>
                <a:cxn ang="0">
                  <a:pos x="csX850" y="csY850"/>
                </a:cxn>
                <a:cxn ang="0">
                  <a:pos x="csX851" y="csY851"/>
                </a:cxn>
                <a:cxn ang="0">
                  <a:pos x="csX852" y="csY852"/>
                </a:cxn>
                <a:cxn ang="0">
                  <a:pos x="csX853" y="csY853"/>
                </a:cxn>
                <a:cxn ang="0">
                  <a:pos x="csX854" y="csY854"/>
                </a:cxn>
                <a:cxn ang="0">
                  <a:pos x="csX855" y="csY855"/>
                </a:cxn>
                <a:cxn ang="0">
                  <a:pos x="csX856" y="csY856"/>
                </a:cxn>
                <a:cxn ang="0">
                  <a:pos x="csX857" y="csY857"/>
                </a:cxn>
                <a:cxn ang="0">
                  <a:pos x="csX858" y="csY858"/>
                </a:cxn>
                <a:cxn ang="0">
                  <a:pos x="csX859" y="csY859"/>
                </a:cxn>
                <a:cxn ang="0">
                  <a:pos x="csX860" y="csY860"/>
                </a:cxn>
                <a:cxn ang="0">
                  <a:pos x="csX861" y="csY861"/>
                </a:cxn>
                <a:cxn ang="0">
                  <a:pos x="csX862" y="csY862"/>
                </a:cxn>
                <a:cxn ang="0">
                  <a:pos x="csX863" y="csY863"/>
                </a:cxn>
                <a:cxn ang="0">
                  <a:pos x="csX864" y="csY864"/>
                </a:cxn>
                <a:cxn ang="0">
                  <a:pos x="csX865" y="csY865"/>
                </a:cxn>
                <a:cxn ang="0">
                  <a:pos x="csX866" y="csY866"/>
                </a:cxn>
                <a:cxn ang="0">
                  <a:pos x="csX867" y="csY867"/>
                </a:cxn>
                <a:cxn ang="0">
                  <a:pos x="csX868" y="csY868"/>
                </a:cxn>
                <a:cxn ang="0">
                  <a:pos x="csX869" y="csY869"/>
                </a:cxn>
                <a:cxn ang="0">
                  <a:pos x="csX870" y="csY870"/>
                </a:cxn>
                <a:cxn ang="0">
                  <a:pos x="csX871" y="csY871"/>
                </a:cxn>
                <a:cxn ang="0">
                  <a:pos x="csX872" y="csY872"/>
                </a:cxn>
                <a:cxn ang="0">
                  <a:pos x="csX873" y="csY873"/>
                </a:cxn>
                <a:cxn ang="0">
                  <a:pos x="csX874" y="csY874"/>
                </a:cxn>
                <a:cxn ang="0">
                  <a:pos x="csX875" y="csY875"/>
                </a:cxn>
                <a:cxn ang="0">
                  <a:pos x="csX876" y="csY876"/>
                </a:cxn>
                <a:cxn ang="0">
                  <a:pos x="csX877" y="csY877"/>
                </a:cxn>
                <a:cxn ang="0">
                  <a:pos x="csX878" y="csY878"/>
                </a:cxn>
                <a:cxn ang="0">
                  <a:pos x="csX879" y="csY879"/>
                </a:cxn>
                <a:cxn ang="0">
                  <a:pos x="csX880" y="csY880"/>
                </a:cxn>
                <a:cxn ang="0">
                  <a:pos x="csX881" y="csY881"/>
                </a:cxn>
                <a:cxn ang="0">
                  <a:pos x="csX882" y="csY882"/>
                </a:cxn>
                <a:cxn ang="0">
                  <a:pos x="csX883" y="csY883"/>
                </a:cxn>
                <a:cxn ang="0">
                  <a:pos x="csX884" y="csY884"/>
                </a:cxn>
                <a:cxn ang="0">
                  <a:pos x="csX885" y="csY885"/>
                </a:cxn>
                <a:cxn ang="0">
                  <a:pos x="csX886" y="csY886"/>
                </a:cxn>
                <a:cxn ang="0">
                  <a:pos x="csX887" y="csY887"/>
                </a:cxn>
                <a:cxn ang="0">
                  <a:pos x="csX888" y="csY888"/>
                </a:cxn>
                <a:cxn ang="0">
                  <a:pos x="csX889" y="csY889"/>
                </a:cxn>
                <a:cxn ang="0">
                  <a:pos x="csX890" y="csY890"/>
                </a:cxn>
                <a:cxn ang="0">
                  <a:pos x="csX891" y="csY891"/>
                </a:cxn>
                <a:cxn ang="0">
                  <a:pos x="csX892" y="csY892"/>
                </a:cxn>
                <a:cxn ang="0">
                  <a:pos x="csX893" y="csY893"/>
                </a:cxn>
                <a:cxn ang="0">
                  <a:pos x="csX894" y="csY894"/>
                </a:cxn>
                <a:cxn ang="0">
                  <a:pos x="csX895" y="csY895"/>
                </a:cxn>
                <a:cxn ang="0">
                  <a:pos x="csX896" y="csY896"/>
                </a:cxn>
                <a:cxn ang="0">
                  <a:pos x="csX897" y="csY897"/>
                </a:cxn>
                <a:cxn ang="0">
                  <a:pos x="csX898" y="csY898"/>
                </a:cxn>
                <a:cxn ang="0">
                  <a:pos x="csX899" y="csY899"/>
                </a:cxn>
                <a:cxn ang="0">
                  <a:pos x="csX900" y="csY900"/>
                </a:cxn>
                <a:cxn ang="0">
                  <a:pos x="csX901" y="csY901"/>
                </a:cxn>
                <a:cxn ang="0">
                  <a:pos x="csX902" y="csY902"/>
                </a:cxn>
                <a:cxn ang="0">
                  <a:pos x="csX903" y="csY903"/>
                </a:cxn>
                <a:cxn ang="0">
                  <a:pos x="csX904" y="csY904"/>
                </a:cxn>
                <a:cxn ang="0">
                  <a:pos x="csX905" y="csY905"/>
                </a:cxn>
                <a:cxn ang="0">
                  <a:pos x="csX906" y="csY906"/>
                </a:cxn>
                <a:cxn ang="0">
                  <a:pos x="csX907" y="csY907"/>
                </a:cxn>
                <a:cxn ang="0">
                  <a:pos x="csX908" y="csY908"/>
                </a:cxn>
                <a:cxn ang="0">
                  <a:pos x="csX909" y="csY909"/>
                </a:cxn>
                <a:cxn ang="0">
                  <a:pos x="csX910" y="csY910"/>
                </a:cxn>
                <a:cxn ang="0">
                  <a:pos x="csX911" y="csY911"/>
                </a:cxn>
                <a:cxn ang="0">
                  <a:pos x="csX912" y="csY912"/>
                </a:cxn>
                <a:cxn ang="0">
                  <a:pos x="csX913" y="csY913"/>
                </a:cxn>
                <a:cxn ang="0">
                  <a:pos x="csX914" y="csY914"/>
                </a:cxn>
                <a:cxn ang="0">
                  <a:pos x="csX915" y="csY915"/>
                </a:cxn>
                <a:cxn ang="0">
                  <a:pos x="csX916" y="csY916"/>
                </a:cxn>
                <a:cxn ang="0">
                  <a:pos x="csX917" y="csY917"/>
                </a:cxn>
                <a:cxn ang="0">
                  <a:pos x="csX918" y="csY918"/>
                </a:cxn>
                <a:cxn ang="0">
                  <a:pos x="csX919" y="csY919"/>
                </a:cxn>
                <a:cxn ang="0">
                  <a:pos x="csX920" y="csY920"/>
                </a:cxn>
                <a:cxn ang="0">
                  <a:pos x="csX921" y="csY921"/>
                </a:cxn>
                <a:cxn ang="0">
                  <a:pos x="csX922" y="csY922"/>
                </a:cxn>
                <a:cxn ang="0">
                  <a:pos x="csX923" y="csY923"/>
                </a:cxn>
                <a:cxn ang="0">
                  <a:pos x="csX924" y="csY924"/>
                </a:cxn>
                <a:cxn ang="0">
                  <a:pos x="csX925" y="csY925"/>
                </a:cxn>
                <a:cxn ang="0">
                  <a:pos x="csX926" y="csY926"/>
                </a:cxn>
                <a:cxn ang="0">
                  <a:pos x="csX927" y="csY927"/>
                </a:cxn>
                <a:cxn ang="0">
                  <a:pos x="csX928" y="csY928"/>
                </a:cxn>
                <a:cxn ang="0">
                  <a:pos x="csX929" y="csY929"/>
                </a:cxn>
                <a:cxn ang="0">
                  <a:pos x="csX930" y="csY930"/>
                </a:cxn>
                <a:cxn ang="0">
                  <a:pos x="csX931" y="csY931"/>
                </a:cxn>
                <a:cxn ang="0">
                  <a:pos x="csX932" y="csY932"/>
                </a:cxn>
                <a:cxn ang="0">
                  <a:pos x="csX933" y="csY933"/>
                </a:cxn>
                <a:cxn ang="0">
                  <a:pos x="csX934" y="csY934"/>
                </a:cxn>
                <a:cxn ang="0">
                  <a:pos x="csX935" y="csY935"/>
                </a:cxn>
                <a:cxn ang="0">
                  <a:pos x="csX936" y="csY936"/>
                </a:cxn>
                <a:cxn ang="0">
                  <a:pos x="csX937" y="csY937"/>
                </a:cxn>
                <a:cxn ang="0">
                  <a:pos x="csX938" y="csY938"/>
                </a:cxn>
                <a:cxn ang="0">
                  <a:pos x="csX939" y="csY939"/>
                </a:cxn>
                <a:cxn ang="0">
                  <a:pos x="csX940" y="csY940"/>
                </a:cxn>
                <a:cxn ang="0">
                  <a:pos x="csX941" y="csY941"/>
                </a:cxn>
                <a:cxn ang="0">
                  <a:pos x="csX942" y="csY942"/>
                </a:cxn>
                <a:cxn ang="0">
                  <a:pos x="csX943" y="csY943"/>
                </a:cxn>
                <a:cxn ang="0">
                  <a:pos x="csX944" y="csY944"/>
                </a:cxn>
                <a:cxn ang="0">
                  <a:pos x="csX945" y="csY945"/>
                </a:cxn>
                <a:cxn ang="0">
                  <a:pos x="csX946" y="csY946"/>
                </a:cxn>
                <a:cxn ang="0">
                  <a:pos x="csX947" y="csY947"/>
                </a:cxn>
                <a:cxn ang="0">
                  <a:pos x="csX948" y="csY948"/>
                </a:cxn>
                <a:cxn ang="0">
                  <a:pos x="csX949" y="csY949"/>
                </a:cxn>
                <a:cxn ang="0">
                  <a:pos x="csX950" y="csY950"/>
                </a:cxn>
                <a:cxn ang="0">
                  <a:pos x="csX951" y="csY951"/>
                </a:cxn>
                <a:cxn ang="0">
                  <a:pos x="csX952" y="csY952"/>
                </a:cxn>
                <a:cxn ang="0">
                  <a:pos x="csX953" y="csY953"/>
                </a:cxn>
                <a:cxn ang="0">
                  <a:pos x="csX954" y="csY954"/>
                </a:cxn>
                <a:cxn ang="0">
                  <a:pos x="csX955" y="csY955"/>
                </a:cxn>
                <a:cxn ang="0">
                  <a:pos x="csX956" y="csY956"/>
                </a:cxn>
                <a:cxn ang="0">
                  <a:pos x="csX957" y="csY957"/>
                </a:cxn>
                <a:cxn ang="0">
                  <a:pos x="csX958" y="csY958"/>
                </a:cxn>
                <a:cxn ang="0">
                  <a:pos x="csX959" y="csY959"/>
                </a:cxn>
                <a:cxn ang="0">
                  <a:pos x="csX960" y="csY960"/>
                </a:cxn>
                <a:cxn ang="0">
                  <a:pos x="csX961" y="csY961"/>
                </a:cxn>
                <a:cxn ang="0">
                  <a:pos x="csX962" y="csY962"/>
                </a:cxn>
                <a:cxn ang="0">
                  <a:pos x="csX963" y="csY963"/>
                </a:cxn>
                <a:cxn ang="0">
                  <a:pos x="csX964" y="csY964"/>
                </a:cxn>
                <a:cxn ang="0">
                  <a:pos x="csX965" y="csY965"/>
                </a:cxn>
                <a:cxn ang="0">
                  <a:pos x="csX966" y="csY966"/>
                </a:cxn>
                <a:cxn ang="0">
                  <a:pos x="csX967" y="csY967"/>
                </a:cxn>
                <a:cxn ang="0">
                  <a:pos x="csX968" y="csY968"/>
                </a:cxn>
                <a:cxn ang="0">
                  <a:pos x="csX969" y="csY969"/>
                </a:cxn>
                <a:cxn ang="0">
                  <a:pos x="csX970" y="csY970"/>
                </a:cxn>
                <a:cxn ang="0">
                  <a:pos x="csX971" y="csY971"/>
                </a:cxn>
                <a:cxn ang="0">
                  <a:pos x="csX972" y="csY972"/>
                </a:cxn>
                <a:cxn ang="0">
                  <a:pos x="csX973" y="csY973"/>
                </a:cxn>
                <a:cxn ang="0">
                  <a:pos x="csX974" y="csY974"/>
                </a:cxn>
                <a:cxn ang="0">
                  <a:pos x="csX975" y="csY975"/>
                </a:cxn>
                <a:cxn ang="0">
                  <a:pos x="csX976" y="csY976"/>
                </a:cxn>
                <a:cxn ang="0">
                  <a:pos x="csX977" y="csY977"/>
                </a:cxn>
                <a:cxn ang="0">
                  <a:pos x="csX978" y="csY978"/>
                </a:cxn>
                <a:cxn ang="0">
                  <a:pos x="csX979" y="csY979"/>
                </a:cxn>
                <a:cxn ang="0">
                  <a:pos x="csX980" y="csY980"/>
                </a:cxn>
                <a:cxn ang="0">
                  <a:pos x="csX981" y="csY981"/>
                </a:cxn>
                <a:cxn ang="0">
                  <a:pos x="csX982" y="csY982"/>
                </a:cxn>
                <a:cxn ang="0">
                  <a:pos x="csX983" y="csY983"/>
                </a:cxn>
                <a:cxn ang="0">
                  <a:pos x="csX984" y="csY984"/>
                </a:cxn>
                <a:cxn ang="0">
                  <a:pos x="csX985" y="csY985"/>
                </a:cxn>
                <a:cxn ang="0">
                  <a:pos x="csX986" y="csY986"/>
                </a:cxn>
                <a:cxn ang="0">
                  <a:pos x="csX987" y="csY987"/>
                </a:cxn>
                <a:cxn ang="0">
                  <a:pos x="csX988" y="csY988"/>
                </a:cxn>
                <a:cxn ang="0">
                  <a:pos x="csX989" y="csY989"/>
                </a:cxn>
                <a:cxn ang="0">
                  <a:pos x="csX990" y="csY990"/>
                </a:cxn>
                <a:cxn ang="0">
                  <a:pos x="csX991" y="csY991"/>
                </a:cxn>
                <a:cxn ang="0">
                  <a:pos x="csX992" y="csY992"/>
                </a:cxn>
                <a:cxn ang="0">
                  <a:pos x="csX993" y="csY993"/>
                </a:cxn>
                <a:cxn ang="0">
                  <a:pos x="csX994" y="csY994"/>
                </a:cxn>
                <a:cxn ang="0">
                  <a:pos x="csX995" y="csY995"/>
                </a:cxn>
                <a:cxn ang="0">
                  <a:pos x="csX996" y="csY996"/>
                </a:cxn>
                <a:cxn ang="0">
                  <a:pos x="csX997" y="csY997"/>
                </a:cxn>
                <a:cxn ang="0">
                  <a:pos x="csX998" y="csY998"/>
                </a:cxn>
                <a:cxn ang="0">
                  <a:pos x="csX999" y="csY999"/>
                </a:cxn>
                <a:cxn ang="0">
                  <a:pos x="csX1000" y="csY1000"/>
                </a:cxn>
                <a:cxn ang="0">
                  <a:pos x="csX1001" y="csY1001"/>
                </a:cxn>
                <a:cxn ang="0">
                  <a:pos x="csX1002" y="csY1002"/>
                </a:cxn>
                <a:cxn ang="0">
                  <a:pos x="csX1003" y="csY1003"/>
                </a:cxn>
                <a:cxn ang="0">
                  <a:pos x="csX1004" y="csY1004"/>
                </a:cxn>
                <a:cxn ang="0">
                  <a:pos x="csX1005" y="csY1005"/>
                </a:cxn>
                <a:cxn ang="0">
                  <a:pos x="csX1006" y="csY1006"/>
                </a:cxn>
                <a:cxn ang="0">
                  <a:pos x="csX1007" y="csY1007"/>
                </a:cxn>
                <a:cxn ang="0">
                  <a:pos x="csX1008" y="csY1008"/>
                </a:cxn>
                <a:cxn ang="0">
                  <a:pos x="csX1009" y="csY1009"/>
                </a:cxn>
                <a:cxn ang="0">
                  <a:pos x="csX1010" y="csY1010"/>
                </a:cxn>
                <a:cxn ang="0">
                  <a:pos x="csX1011" y="csY1011"/>
                </a:cxn>
                <a:cxn ang="0">
                  <a:pos x="csX1012" y="csY1012"/>
                </a:cxn>
                <a:cxn ang="0">
                  <a:pos x="csX1013" y="csY1013"/>
                </a:cxn>
                <a:cxn ang="0">
                  <a:pos x="csX1014" y="csY1014"/>
                </a:cxn>
                <a:cxn ang="0">
                  <a:pos x="csX1015" y="csY1015"/>
                </a:cxn>
                <a:cxn ang="0">
                  <a:pos x="csX1016" y="csY1016"/>
                </a:cxn>
                <a:cxn ang="0">
                  <a:pos x="csX1017" y="csY1017"/>
                </a:cxn>
                <a:cxn ang="0">
                  <a:pos x="csX1018" y="csY1018"/>
                </a:cxn>
                <a:cxn ang="0">
                  <a:pos x="csX1019" y="csY1019"/>
                </a:cxn>
                <a:cxn ang="0">
                  <a:pos x="csX1020" y="csY1020"/>
                </a:cxn>
                <a:cxn ang="0">
                  <a:pos x="csX1021" y="csY1021"/>
                </a:cxn>
                <a:cxn ang="0">
                  <a:pos x="csX1022" y="csY1022"/>
                </a:cxn>
                <a:cxn ang="0">
                  <a:pos x="csX1023" y="csY1023"/>
                </a:cxn>
                <a:cxn ang="0">
                  <a:pos x="csX1024" y="csY1024"/>
                </a:cxn>
                <a:cxn ang="0">
                  <a:pos x="csX1025" y="csY1025"/>
                </a:cxn>
                <a:cxn ang="0">
                  <a:pos x="csX1026" y="csY1026"/>
                </a:cxn>
                <a:cxn ang="0">
                  <a:pos x="csX1027" y="csY1027"/>
                </a:cxn>
                <a:cxn ang="0">
                  <a:pos x="csX1028" y="csY1028"/>
                </a:cxn>
                <a:cxn ang="0">
                  <a:pos x="csX1029" y="csY1029"/>
                </a:cxn>
                <a:cxn ang="0">
                  <a:pos x="csX1030" y="csY1030"/>
                </a:cxn>
                <a:cxn ang="0">
                  <a:pos x="csX1031" y="csY1031"/>
                </a:cxn>
                <a:cxn ang="0">
                  <a:pos x="csX1032" y="csY1032"/>
                </a:cxn>
                <a:cxn ang="0">
                  <a:pos x="csX1033" y="csY1033"/>
                </a:cxn>
                <a:cxn ang="0">
                  <a:pos x="csX1034" y="csY1034"/>
                </a:cxn>
                <a:cxn ang="0">
                  <a:pos x="csX1035" y="csY1035"/>
                </a:cxn>
                <a:cxn ang="0">
                  <a:pos x="csX1036" y="csY1036"/>
                </a:cxn>
                <a:cxn ang="0">
                  <a:pos x="csX1037" y="csY1037"/>
                </a:cxn>
                <a:cxn ang="0">
                  <a:pos x="csX1038" y="csY1038"/>
                </a:cxn>
                <a:cxn ang="0">
                  <a:pos x="csX1039" y="csY1039"/>
                </a:cxn>
                <a:cxn ang="0">
                  <a:pos x="csX1040" y="csY1040"/>
                </a:cxn>
                <a:cxn ang="0">
                  <a:pos x="csX1041" y="csY1041"/>
                </a:cxn>
                <a:cxn ang="0">
                  <a:pos x="csX1042" y="csY1042"/>
                </a:cxn>
                <a:cxn ang="0">
                  <a:pos x="csX1043" y="csY1043"/>
                </a:cxn>
                <a:cxn ang="0">
                  <a:pos x="csX1044" y="csY1044"/>
                </a:cxn>
                <a:cxn ang="0">
                  <a:pos x="csX1045" y="csY1045"/>
                </a:cxn>
                <a:cxn ang="0">
                  <a:pos x="csX1046" y="csY1046"/>
                </a:cxn>
                <a:cxn ang="0">
                  <a:pos x="csX1047" y="csY1047"/>
                </a:cxn>
                <a:cxn ang="0">
                  <a:pos x="csX1048" y="csY1048"/>
                </a:cxn>
                <a:cxn ang="0">
                  <a:pos x="csX1049" y="csY1049"/>
                </a:cxn>
                <a:cxn ang="0">
                  <a:pos x="csX1050" y="csY1050"/>
                </a:cxn>
                <a:cxn ang="0">
                  <a:pos x="csX1051" y="csY1051"/>
                </a:cxn>
                <a:cxn ang="0">
                  <a:pos x="csX1052" y="csY1052"/>
                </a:cxn>
                <a:cxn ang="0">
                  <a:pos x="csX1053" y="csY1053"/>
                </a:cxn>
                <a:cxn ang="0">
                  <a:pos x="csX1054" y="csY1054"/>
                </a:cxn>
              </a:cxnLst>
              <a:rect l="l" t="t" r="r" b="b"/>
              <a:pathLst>
                <a:path w="1609516" h="1538630">
                  <a:moveTo>
                    <a:pt x="401579" y="1495809"/>
                  </a:moveTo>
                  <a:lnTo>
                    <a:pt x="400190" y="1496004"/>
                  </a:lnTo>
                  <a:lnTo>
                    <a:pt x="401224" y="1496470"/>
                  </a:lnTo>
                  <a:lnTo>
                    <a:pt x="401224" y="1498590"/>
                  </a:lnTo>
                  <a:lnTo>
                    <a:pt x="401579" y="1498628"/>
                  </a:lnTo>
                  <a:cubicBezTo>
                    <a:pt x="401579" y="1497698"/>
                    <a:pt x="401579" y="1496768"/>
                    <a:pt x="401579" y="1495809"/>
                  </a:cubicBezTo>
                  <a:close/>
                  <a:moveTo>
                    <a:pt x="368755" y="1486512"/>
                  </a:moveTo>
                  <a:lnTo>
                    <a:pt x="364089" y="1487354"/>
                  </a:lnTo>
                  <a:lnTo>
                    <a:pt x="364089" y="1487908"/>
                  </a:lnTo>
                  <a:close/>
                  <a:moveTo>
                    <a:pt x="1049801" y="1484562"/>
                  </a:moveTo>
                  <a:lnTo>
                    <a:pt x="1046735" y="1485945"/>
                  </a:lnTo>
                  <a:lnTo>
                    <a:pt x="1046955" y="1486045"/>
                  </a:lnTo>
                  <a:lnTo>
                    <a:pt x="1049801" y="1485188"/>
                  </a:lnTo>
                  <a:close/>
                  <a:moveTo>
                    <a:pt x="351234" y="1444508"/>
                  </a:moveTo>
                  <a:lnTo>
                    <a:pt x="351234" y="1444997"/>
                  </a:lnTo>
                  <a:lnTo>
                    <a:pt x="351592" y="1445078"/>
                  </a:lnTo>
                  <a:close/>
                  <a:moveTo>
                    <a:pt x="351908" y="1431206"/>
                  </a:moveTo>
                  <a:lnTo>
                    <a:pt x="351234" y="1431611"/>
                  </a:lnTo>
                  <a:lnTo>
                    <a:pt x="351234" y="1432274"/>
                  </a:lnTo>
                  <a:close/>
                  <a:moveTo>
                    <a:pt x="358162" y="1421494"/>
                  </a:moveTo>
                  <a:lnTo>
                    <a:pt x="355921" y="1423156"/>
                  </a:lnTo>
                  <a:lnTo>
                    <a:pt x="355921" y="1423548"/>
                  </a:lnTo>
                  <a:close/>
                  <a:moveTo>
                    <a:pt x="376098" y="1408347"/>
                  </a:moveTo>
                  <a:lnTo>
                    <a:pt x="370750" y="1412245"/>
                  </a:lnTo>
                  <a:lnTo>
                    <a:pt x="375023" y="1411256"/>
                  </a:lnTo>
                  <a:close/>
                  <a:moveTo>
                    <a:pt x="421956" y="1365623"/>
                  </a:moveTo>
                  <a:lnTo>
                    <a:pt x="421765" y="1366161"/>
                  </a:lnTo>
                  <a:lnTo>
                    <a:pt x="421887" y="1366161"/>
                  </a:lnTo>
                  <a:close/>
                  <a:moveTo>
                    <a:pt x="754553" y="1360575"/>
                  </a:moveTo>
                  <a:lnTo>
                    <a:pt x="754089" y="1361433"/>
                  </a:lnTo>
                  <a:lnTo>
                    <a:pt x="754431" y="1361125"/>
                  </a:lnTo>
                  <a:close/>
                  <a:moveTo>
                    <a:pt x="1277973" y="1332923"/>
                  </a:moveTo>
                  <a:lnTo>
                    <a:pt x="1277944" y="1332936"/>
                  </a:lnTo>
                  <a:lnTo>
                    <a:pt x="1277949" y="1333139"/>
                  </a:lnTo>
                  <a:close/>
                  <a:moveTo>
                    <a:pt x="1268556" y="1321066"/>
                  </a:moveTo>
                  <a:cubicBezTo>
                    <a:pt x="1268556" y="1322461"/>
                    <a:pt x="1268556" y="1323856"/>
                    <a:pt x="1268556" y="1325294"/>
                  </a:cubicBezTo>
                  <a:cubicBezTo>
                    <a:pt x="1267525" y="1325294"/>
                    <a:pt x="1266495" y="1325294"/>
                    <a:pt x="1265432" y="1325294"/>
                  </a:cubicBezTo>
                  <a:cubicBezTo>
                    <a:pt x="1265432" y="1330409"/>
                    <a:pt x="1265432" y="1335525"/>
                    <a:pt x="1265432" y="1340795"/>
                  </a:cubicBezTo>
                  <a:lnTo>
                    <a:pt x="1265476" y="1340714"/>
                  </a:lnTo>
                  <a:lnTo>
                    <a:pt x="1265476" y="1325877"/>
                  </a:lnTo>
                  <a:cubicBezTo>
                    <a:pt x="1266507" y="1325877"/>
                    <a:pt x="1267538" y="1325877"/>
                    <a:pt x="1268600" y="1325877"/>
                  </a:cubicBezTo>
                  <a:cubicBezTo>
                    <a:pt x="1268600" y="1324482"/>
                    <a:pt x="1268600" y="1323086"/>
                    <a:pt x="1268600" y="1321649"/>
                  </a:cubicBezTo>
                  <a:cubicBezTo>
                    <a:pt x="1270147" y="1321649"/>
                    <a:pt x="1271693" y="1321649"/>
                    <a:pt x="1273286" y="1321649"/>
                  </a:cubicBezTo>
                  <a:lnTo>
                    <a:pt x="1273227" y="1321066"/>
                  </a:lnTo>
                  <a:close/>
                  <a:moveTo>
                    <a:pt x="827891" y="1291474"/>
                  </a:moveTo>
                  <a:lnTo>
                    <a:pt x="822601" y="1291544"/>
                  </a:lnTo>
                  <a:lnTo>
                    <a:pt x="818272" y="1292220"/>
                  </a:lnTo>
                  <a:lnTo>
                    <a:pt x="827891" y="1292047"/>
                  </a:lnTo>
                  <a:close/>
                  <a:moveTo>
                    <a:pt x="856397" y="1288691"/>
                  </a:moveTo>
                  <a:lnTo>
                    <a:pt x="865903" y="1290590"/>
                  </a:lnTo>
                  <a:lnTo>
                    <a:pt x="859999" y="1288752"/>
                  </a:lnTo>
                  <a:close/>
                  <a:moveTo>
                    <a:pt x="834694" y="1288572"/>
                  </a:moveTo>
                  <a:lnTo>
                    <a:pt x="828038" y="1288654"/>
                  </a:lnTo>
                  <a:lnTo>
                    <a:pt x="828038" y="1289214"/>
                  </a:lnTo>
                  <a:close/>
                  <a:moveTo>
                    <a:pt x="229746" y="1191418"/>
                  </a:moveTo>
                  <a:lnTo>
                    <a:pt x="227402" y="1191947"/>
                  </a:lnTo>
                  <a:lnTo>
                    <a:pt x="229315" y="1191947"/>
                  </a:lnTo>
                  <a:cubicBezTo>
                    <a:pt x="229315" y="1192877"/>
                    <a:pt x="229315" y="1193807"/>
                    <a:pt x="229315" y="1194765"/>
                  </a:cubicBezTo>
                  <a:lnTo>
                    <a:pt x="231321" y="1194765"/>
                  </a:lnTo>
                  <a:lnTo>
                    <a:pt x="229746" y="1194236"/>
                  </a:lnTo>
                  <a:cubicBezTo>
                    <a:pt x="229746" y="1193306"/>
                    <a:pt x="229746" y="1192376"/>
                    <a:pt x="229746" y="1191418"/>
                  </a:cubicBezTo>
                  <a:close/>
                  <a:moveTo>
                    <a:pt x="215687" y="1187190"/>
                  </a:moveTo>
                  <a:lnTo>
                    <a:pt x="215198" y="1187720"/>
                  </a:lnTo>
                  <a:lnTo>
                    <a:pt x="215256" y="1187720"/>
                  </a:lnTo>
                  <a:cubicBezTo>
                    <a:pt x="215256" y="1189115"/>
                    <a:pt x="215256" y="1190510"/>
                    <a:pt x="215256" y="1191947"/>
                  </a:cubicBezTo>
                  <a:lnTo>
                    <a:pt x="222721" y="1191947"/>
                  </a:lnTo>
                  <a:lnTo>
                    <a:pt x="215687" y="1191418"/>
                  </a:lnTo>
                  <a:cubicBezTo>
                    <a:pt x="215687" y="1190023"/>
                    <a:pt x="215687" y="1188628"/>
                    <a:pt x="215687" y="1187190"/>
                  </a:cubicBezTo>
                  <a:close/>
                  <a:moveTo>
                    <a:pt x="1279678" y="1082356"/>
                  </a:moveTo>
                  <a:lnTo>
                    <a:pt x="1271680" y="1084589"/>
                  </a:lnTo>
                  <a:lnTo>
                    <a:pt x="1282181" y="1082544"/>
                  </a:lnTo>
                  <a:close/>
                  <a:moveTo>
                    <a:pt x="117703" y="941507"/>
                  </a:moveTo>
                  <a:lnTo>
                    <a:pt x="112587" y="941985"/>
                  </a:lnTo>
                  <a:lnTo>
                    <a:pt x="112565" y="942333"/>
                  </a:lnTo>
                  <a:lnTo>
                    <a:pt x="115665" y="941837"/>
                  </a:lnTo>
                  <a:close/>
                  <a:moveTo>
                    <a:pt x="144268" y="939395"/>
                  </a:moveTo>
                  <a:lnTo>
                    <a:pt x="143354" y="939580"/>
                  </a:lnTo>
                  <a:lnTo>
                    <a:pt x="144077" y="939739"/>
                  </a:lnTo>
                  <a:close/>
                  <a:moveTo>
                    <a:pt x="162575" y="933530"/>
                  </a:moveTo>
                  <a:lnTo>
                    <a:pt x="161704" y="935101"/>
                  </a:lnTo>
                  <a:lnTo>
                    <a:pt x="170045" y="933585"/>
                  </a:lnTo>
                  <a:close/>
                  <a:moveTo>
                    <a:pt x="1321645" y="918415"/>
                  </a:moveTo>
                  <a:lnTo>
                    <a:pt x="1321534" y="920177"/>
                  </a:lnTo>
                  <a:lnTo>
                    <a:pt x="1321740" y="918415"/>
                  </a:lnTo>
                  <a:close/>
                  <a:moveTo>
                    <a:pt x="1319333" y="915183"/>
                  </a:moveTo>
                  <a:lnTo>
                    <a:pt x="1318544" y="918029"/>
                  </a:lnTo>
                  <a:lnTo>
                    <a:pt x="1318702" y="918029"/>
                  </a:lnTo>
                  <a:close/>
                  <a:moveTo>
                    <a:pt x="1326355" y="907109"/>
                  </a:moveTo>
                  <a:lnTo>
                    <a:pt x="1326355" y="910983"/>
                  </a:lnTo>
                  <a:lnTo>
                    <a:pt x="1325831" y="911101"/>
                  </a:lnTo>
                  <a:lnTo>
                    <a:pt x="1326426" y="911369"/>
                  </a:lnTo>
                  <a:cubicBezTo>
                    <a:pt x="1326426" y="909974"/>
                    <a:pt x="1326426" y="908579"/>
                    <a:pt x="1326426" y="907141"/>
                  </a:cubicBezTo>
                  <a:close/>
                  <a:moveTo>
                    <a:pt x="1328144" y="892192"/>
                  </a:moveTo>
                  <a:lnTo>
                    <a:pt x="1327667" y="893446"/>
                  </a:lnTo>
                  <a:lnTo>
                    <a:pt x="1327989" y="893049"/>
                  </a:lnTo>
                  <a:close/>
                  <a:moveTo>
                    <a:pt x="49605" y="887420"/>
                  </a:moveTo>
                  <a:lnTo>
                    <a:pt x="48549" y="891229"/>
                  </a:lnTo>
                  <a:lnTo>
                    <a:pt x="49956" y="887420"/>
                  </a:lnTo>
                  <a:close/>
                  <a:moveTo>
                    <a:pt x="1332266" y="883369"/>
                  </a:moveTo>
                  <a:lnTo>
                    <a:pt x="1329479" y="884207"/>
                  </a:lnTo>
                  <a:lnTo>
                    <a:pt x="1329509" y="884816"/>
                  </a:lnTo>
                  <a:lnTo>
                    <a:pt x="1329551" y="884594"/>
                  </a:lnTo>
                  <a:close/>
                  <a:moveTo>
                    <a:pt x="1555987" y="821766"/>
                  </a:moveTo>
                  <a:lnTo>
                    <a:pt x="1555987" y="822201"/>
                  </a:lnTo>
                  <a:lnTo>
                    <a:pt x="1556081" y="822189"/>
                  </a:lnTo>
                  <a:close/>
                  <a:moveTo>
                    <a:pt x="1565360" y="810928"/>
                  </a:moveTo>
                  <a:lnTo>
                    <a:pt x="1564871" y="811809"/>
                  </a:lnTo>
                  <a:lnTo>
                    <a:pt x="1567314" y="810928"/>
                  </a:lnTo>
                  <a:close/>
                  <a:moveTo>
                    <a:pt x="1563797" y="810928"/>
                  </a:moveTo>
                  <a:lnTo>
                    <a:pt x="1556762" y="814736"/>
                  </a:lnTo>
                  <a:lnTo>
                    <a:pt x="1563797" y="812197"/>
                  </a:lnTo>
                  <a:close/>
                  <a:moveTo>
                    <a:pt x="265833" y="806020"/>
                  </a:moveTo>
                  <a:lnTo>
                    <a:pt x="263704" y="809861"/>
                  </a:lnTo>
                  <a:lnTo>
                    <a:pt x="263704" y="816750"/>
                  </a:lnTo>
                  <a:lnTo>
                    <a:pt x="264113" y="816565"/>
                  </a:lnTo>
                  <a:cubicBezTo>
                    <a:pt x="264048" y="815315"/>
                    <a:pt x="263984" y="814065"/>
                    <a:pt x="263918" y="812777"/>
                  </a:cubicBezTo>
                  <a:close/>
                  <a:moveTo>
                    <a:pt x="263774" y="779374"/>
                  </a:moveTo>
                  <a:lnTo>
                    <a:pt x="263704" y="783086"/>
                  </a:lnTo>
                  <a:cubicBezTo>
                    <a:pt x="263961" y="783987"/>
                    <a:pt x="264219" y="784888"/>
                    <a:pt x="264484" y="785816"/>
                  </a:cubicBezTo>
                  <a:cubicBezTo>
                    <a:pt x="265299" y="788846"/>
                    <a:pt x="265316" y="791337"/>
                    <a:pt x="265265" y="794448"/>
                  </a:cubicBezTo>
                  <a:cubicBezTo>
                    <a:pt x="265103" y="797155"/>
                    <a:pt x="265022" y="798508"/>
                    <a:pt x="265217" y="799730"/>
                  </a:cubicBezTo>
                  <a:lnTo>
                    <a:pt x="266556" y="803466"/>
                  </a:lnTo>
                  <a:lnTo>
                    <a:pt x="267237" y="801063"/>
                  </a:lnTo>
                  <a:cubicBezTo>
                    <a:pt x="266721" y="800598"/>
                    <a:pt x="266206" y="800133"/>
                    <a:pt x="265675" y="799654"/>
                  </a:cubicBezTo>
                  <a:cubicBezTo>
                    <a:pt x="265601" y="797718"/>
                    <a:pt x="265617" y="795778"/>
                    <a:pt x="265675" y="793841"/>
                  </a:cubicBezTo>
                  <a:close/>
                  <a:moveTo>
                    <a:pt x="260988" y="770061"/>
                  </a:moveTo>
                  <a:lnTo>
                    <a:pt x="260988" y="771364"/>
                  </a:lnTo>
                  <a:lnTo>
                    <a:pt x="263497" y="777263"/>
                  </a:lnTo>
                  <a:lnTo>
                    <a:pt x="262551" y="770061"/>
                  </a:lnTo>
                  <a:cubicBezTo>
                    <a:pt x="262035" y="770061"/>
                    <a:pt x="261520" y="770061"/>
                    <a:pt x="260988" y="770061"/>
                  </a:cubicBezTo>
                  <a:close/>
                  <a:moveTo>
                    <a:pt x="157888" y="651686"/>
                  </a:moveTo>
                  <a:lnTo>
                    <a:pt x="157415" y="651764"/>
                  </a:lnTo>
                  <a:lnTo>
                    <a:pt x="160373" y="652274"/>
                  </a:lnTo>
                  <a:close/>
                  <a:moveTo>
                    <a:pt x="267237" y="426537"/>
                  </a:moveTo>
                  <a:lnTo>
                    <a:pt x="267237" y="427619"/>
                  </a:lnTo>
                  <a:cubicBezTo>
                    <a:pt x="268274" y="427791"/>
                    <a:pt x="269311" y="427961"/>
                    <a:pt x="270380" y="428137"/>
                  </a:cubicBezTo>
                  <a:lnTo>
                    <a:pt x="273548" y="428680"/>
                  </a:lnTo>
                  <a:close/>
                  <a:moveTo>
                    <a:pt x="37605" y="359270"/>
                  </a:moveTo>
                  <a:lnTo>
                    <a:pt x="37103" y="361533"/>
                  </a:lnTo>
                  <a:lnTo>
                    <a:pt x="37605" y="361382"/>
                  </a:lnTo>
                  <a:close/>
                  <a:moveTo>
                    <a:pt x="52477" y="337570"/>
                  </a:moveTo>
                  <a:lnTo>
                    <a:pt x="47288" y="342340"/>
                  </a:lnTo>
                  <a:lnTo>
                    <a:pt x="45805" y="345093"/>
                  </a:lnTo>
                  <a:close/>
                  <a:moveTo>
                    <a:pt x="104291" y="336166"/>
                  </a:moveTo>
                  <a:lnTo>
                    <a:pt x="103776" y="337559"/>
                  </a:lnTo>
                  <a:lnTo>
                    <a:pt x="108925" y="336166"/>
                  </a:lnTo>
                  <a:close/>
                  <a:moveTo>
                    <a:pt x="1309237" y="322954"/>
                  </a:moveTo>
                  <a:lnTo>
                    <a:pt x="1309180" y="330559"/>
                  </a:lnTo>
                  <a:lnTo>
                    <a:pt x="1309237" y="330520"/>
                  </a:lnTo>
                  <a:close/>
                  <a:moveTo>
                    <a:pt x="1308964" y="317715"/>
                  </a:moveTo>
                  <a:lnTo>
                    <a:pt x="1309237" y="318569"/>
                  </a:lnTo>
                  <a:lnTo>
                    <a:pt x="1309237" y="317838"/>
                  </a:lnTo>
                  <a:close/>
                  <a:moveTo>
                    <a:pt x="1310087" y="313153"/>
                  </a:moveTo>
                  <a:lnTo>
                    <a:pt x="1307609" y="313473"/>
                  </a:lnTo>
                  <a:lnTo>
                    <a:pt x="1308045" y="314836"/>
                  </a:lnTo>
                  <a:close/>
                  <a:moveTo>
                    <a:pt x="1318544" y="312064"/>
                  </a:moveTo>
                  <a:lnTo>
                    <a:pt x="1316298" y="312353"/>
                  </a:lnTo>
                  <a:lnTo>
                    <a:pt x="1318544" y="312205"/>
                  </a:lnTo>
                  <a:close/>
                  <a:moveTo>
                    <a:pt x="1084622" y="267674"/>
                  </a:moveTo>
                  <a:lnTo>
                    <a:pt x="1084227" y="268378"/>
                  </a:lnTo>
                  <a:cubicBezTo>
                    <a:pt x="1082679" y="268378"/>
                    <a:pt x="1081133" y="268378"/>
                    <a:pt x="1079540" y="268378"/>
                  </a:cubicBezTo>
                  <a:lnTo>
                    <a:pt x="1079603" y="268477"/>
                  </a:lnTo>
                  <a:lnTo>
                    <a:pt x="1084192" y="268477"/>
                  </a:lnTo>
                  <a:close/>
                  <a:moveTo>
                    <a:pt x="956410" y="266968"/>
                  </a:moveTo>
                  <a:lnTo>
                    <a:pt x="957576" y="267083"/>
                  </a:lnTo>
                  <a:lnTo>
                    <a:pt x="957576" y="269776"/>
                  </a:lnTo>
                  <a:lnTo>
                    <a:pt x="957694" y="269787"/>
                  </a:lnTo>
                  <a:cubicBezTo>
                    <a:pt x="957694" y="268857"/>
                    <a:pt x="957694" y="267927"/>
                    <a:pt x="957694" y="266968"/>
                  </a:cubicBezTo>
                  <a:close/>
                  <a:moveTo>
                    <a:pt x="1089372" y="259220"/>
                  </a:moveTo>
                  <a:lnTo>
                    <a:pt x="1085856" y="265479"/>
                  </a:lnTo>
                  <a:lnTo>
                    <a:pt x="1088878" y="261431"/>
                  </a:lnTo>
                  <a:close/>
                  <a:moveTo>
                    <a:pt x="1018517" y="223356"/>
                  </a:moveTo>
                  <a:lnTo>
                    <a:pt x="1013866" y="226190"/>
                  </a:lnTo>
                  <a:lnTo>
                    <a:pt x="1013024" y="227709"/>
                  </a:lnTo>
                  <a:lnTo>
                    <a:pt x="1017055" y="224692"/>
                  </a:lnTo>
                  <a:close/>
                  <a:moveTo>
                    <a:pt x="850645" y="220099"/>
                  </a:moveTo>
                  <a:lnTo>
                    <a:pt x="850897" y="221488"/>
                  </a:lnTo>
                  <a:cubicBezTo>
                    <a:pt x="851086" y="222545"/>
                    <a:pt x="851275" y="223602"/>
                    <a:pt x="851470" y="224692"/>
                  </a:cubicBezTo>
                  <a:lnTo>
                    <a:pt x="852860" y="224692"/>
                  </a:lnTo>
                  <a:close/>
                  <a:moveTo>
                    <a:pt x="1155019" y="35"/>
                  </a:moveTo>
                  <a:cubicBezTo>
                    <a:pt x="1161775" y="275"/>
                    <a:pt x="1168415" y="1783"/>
                    <a:pt x="1174829" y="4853"/>
                  </a:cubicBezTo>
                  <a:cubicBezTo>
                    <a:pt x="1176343" y="5231"/>
                    <a:pt x="1177858" y="5609"/>
                    <a:pt x="1179418" y="5998"/>
                  </a:cubicBezTo>
                  <a:cubicBezTo>
                    <a:pt x="1189392" y="9487"/>
                    <a:pt x="1196322" y="14392"/>
                    <a:pt x="1201385" y="22997"/>
                  </a:cubicBezTo>
                  <a:cubicBezTo>
                    <a:pt x="1206849" y="35244"/>
                    <a:pt x="1206940" y="49865"/>
                    <a:pt x="1201678" y="62191"/>
                  </a:cubicBezTo>
                  <a:cubicBezTo>
                    <a:pt x="1200594" y="64241"/>
                    <a:pt x="1199461" y="66271"/>
                    <a:pt x="1198261" y="68268"/>
                  </a:cubicBezTo>
                  <a:cubicBezTo>
                    <a:pt x="1197423" y="69721"/>
                    <a:pt x="1196586" y="71175"/>
                    <a:pt x="1195723" y="72672"/>
                  </a:cubicBezTo>
                  <a:cubicBezTo>
                    <a:pt x="1194659" y="73980"/>
                    <a:pt x="1194659" y="73980"/>
                    <a:pt x="1193575" y="75314"/>
                  </a:cubicBezTo>
                  <a:cubicBezTo>
                    <a:pt x="1192544" y="75314"/>
                    <a:pt x="1191512" y="75314"/>
                    <a:pt x="1190450" y="75314"/>
                  </a:cubicBezTo>
                  <a:cubicBezTo>
                    <a:pt x="1190128" y="76651"/>
                    <a:pt x="1189806" y="77988"/>
                    <a:pt x="1189474" y="79366"/>
                  </a:cubicBezTo>
                  <a:cubicBezTo>
                    <a:pt x="1187326" y="83769"/>
                    <a:pt x="1187326" y="83769"/>
                    <a:pt x="1182445" y="85707"/>
                  </a:cubicBezTo>
                  <a:cubicBezTo>
                    <a:pt x="1180962" y="85998"/>
                    <a:pt x="1179480" y="86289"/>
                    <a:pt x="1177953" y="86588"/>
                  </a:cubicBezTo>
                  <a:cubicBezTo>
                    <a:pt x="1177953" y="87518"/>
                    <a:pt x="1177953" y="88448"/>
                    <a:pt x="1177953" y="89406"/>
                  </a:cubicBezTo>
                  <a:cubicBezTo>
                    <a:pt x="1175369" y="91088"/>
                    <a:pt x="1172720" y="92688"/>
                    <a:pt x="1170045" y="94251"/>
                  </a:cubicBezTo>
                  <a:cubicBezTo>
                    <a:pt x="1154651" y="104199"/>
                    <a:pt x="1148918" y="116979"/>
                    <a:pt x="1143806" y="132828"/>
                  </a:cubicBezTo>
                  <a:cubicBezTo>
                    <a:pt x="1142095" y="137144"/>
                    <a:pt x="1140989" y="138617"/>
                    <a:pt x="1137338" y="141548"/>
                  </a:cubicBezTo>
                  <a:cubicBezTo>
                    <a:pt x="1136166" y="144148"/>
                    <a:pt x="1134992" y="146751"/>
                    <a:pt x="1133970" y="149403"/>
                  </a:cubicBezTo>
                  <a:cubicBezTo>
                    <a:pt x="1132069" y="154334"/>
                    <a:pt x="1130006" y="159210"/>
                    <a:pt x="1127965" y="164095"/>
                  </a:cubicBezTo>
                  <a:cubicBezTo>
                    <a:pt x="1126897" y="166664"/>
                    <a:pt x="1125830" y="169233"/>
                    <a:pt x="1124762" y="171802"/>
                  </a:cubicBezTo>
                  <a:cubicBezTo>
                    <a:pt x="1122961" y="176134"/>
                    <a:pt x="1121160" y="180466"/>
                    <a:pt x="1119359" y="184798"/>
                  </a:cubicBezTo>
                  <a:cubicBezTo>
                    <a:pt x="1116567" y="191508"/>
                    <a:pt x="1113778" y="198220"/>
                    <a:pt x="1111014" y="204941"/>
                  </a:cubicBezTo>
                  <a:cubicBezTo>
                    <a:pt x="1110590" y="205970"/>
                    <a:pt x="1110165" y="206999"/>
                    <a:pt x="1109729" y="208059"/>
                  </a:cubicBezTo>
                  <a:cubicBezTo>
                    <a:pt x="1108615" y="210762"/>
                    <a:pt x="1107505" y="213466"/>
                    <a:pt x="1106395" y="216170"/>
                  </a:cubicBezTo>
                  <a:cubicBezTo>
                    <a:pt x="1104320" y="220956"/>
                    <a:pt x="1103283" y="223349"/>
                    <a:pt x="1102147" y="224810"/>
                  </a:cubicBezTo>
                  <a:lnTo>
                    <a:pt x="1098261" y="227262"/>
                  </a:lnTo>
                  <a:lnTo>
                    <a:pt x="1098367" y="238475"/>
                  </a:lnTo>
                  <a:cubicBezTo>
                    <a:pt x="1098025" y="239757"/>
                    <a:pt x="1097684" y="241038"/>
                    <a:pt x="1097331" y="242358"/>
                  </a:cubicBezTo>
                  <a:cubicBezTo>
                    <a:pt x="1096958" y="243711"/>
                    <a:pt x="1096585" y="245064"/>
                    <a:pt x="1096201" y="246458"/>
                  </a:cubicBezTo>
                  <a:cubicBezTo>
                    <a:pt x="1093302" y="257363"/>
                    <a:pt x="1090901" y="268062"/>
                    <a:pt x="1089440" y="279206"/>
                  </a:cubicBezTo>
                  <a:cubicBezTo>
                    <a:pt x="1088878" y="282569"/>
                    <a:pt x="1088878" y="282569"/>
                    <a:pt x="1087316" y="283978"/>
                  </a:cubicBezTo>
                  <a:cubicBezTo>
                    <a:pt x="1087070" y="286587"/>
                    <a:pt x="1086924" y="289205"/>
                    <a:pt x="1086822" y="291822"/>
                  </a:cubicBezTo>
                  <a:cubicBezTo>
                    <a:pt x="1086756" y="293408"/>
                    <a:pt x="1086691" y="294993"/>
                    <a:pt x="1086623" y="296625"/>
                  </a:cubicBezTo>
                  <a:cubicBezTo>
                    <a:pt x="1086562" y="298294"/>
                    <a:pt x="1086501" y="299962"/>
                    <a:pt x="1086437" y="301681"/>
                  </a:cubicBezTo>
                  <a:cubicBezTo>
                    <a:pt x="1086336" y="304192"/>
                    <a:pt x="1086336" y="304192"/>
                    <a:pt x="1086233" y="306754"/>
                  </a:cubicBezTo>
                  <a:lnTo>
                    <a:pt x="1086007" y="312619"/>
                  </a:lnTo>
                  <a:lnTo>
                    <a:pt x="1087470" y="320554"/>
                  </a:lnTo>
                  <a:cubicBezTo>
                    <a:pt x="1089648" y="325409"/>
                    <a:pt x="1093111" y="329799"/>
                    <a:pt x="1098285" y="334611"/>
                  </a:cubicBezTo>
                  <a:cubicBezTo>
                    <a:pt x="1100424" y="336130"/>
                    <a:pt x="1100424" y="336130"/>
                    <a:pt x="1102607" y="337679"/>
                  </a:cubicBezTo>
                  <a:cubicBezTo>
                    <a:pt x="1104334" y="338951"/>
                    <a:pt x="1104334" y="338951"/>
                    <a:pt x="1106095" y="340248"/>
                  </a:cubicBezTo>
                  <a:cubicBezTo>
                    <a:pt x="1106095" y="341178"/>
                    <a:pt x="1106095" y="342108"/>
                    <a:pt x="1106095" y="343066"/>
                  </a:cubicBezTo>
                  <a:cubicBezTo>
                    <a:pt x="1107127" y="343183"/>
                    <a:pt x="1108158" y="343299"/>
                    <a:pt x="1109220" y="343419"/>
                  </a:cubicBezTo>
                  <a:cubicBezTo>
                    <a:pt x="1115473" y="344829"/>
                    <a:pt x="1120724" y="347416"/>
                    <a:pt x="1126403" y="350112"/>
                  </a:cubicBezTo>
                  <a:cubicBezTo>
                    <a:pt x="1128207" y="350926"/>
                    <a:pt x="1130012" y="351740"/>
                    <a:pt x="1131871" y="352579"/>
                  </a:cubicBezTo>
                  <a:cubicBezTo>
                    <a:pt x="1133159" y="353160"/>
                    <a:pt x="1134448" y="353741"/>
                    <a:pt x="1135776" y="354340"/>
                  </a:cubicBezTo>
                  <a:cubicBezTo>
                    <a:pt x="1135776" y="355270"/>
                    <a:pt x="1135776" y="356200"/>
                    <a:pt x="1135776" y="357158"/>
                  </a:cubicBezTo>
                  <a:cubicBezTo>
                    <a:pt x="1148107" y="360029"/>
                    <a:pt x="1158679" y="359101"/>
                    <a:pt x="1170143" y="354340"/>
                  </a:cubicBezTo>
                  <a:cubicBezTo>
                    <a:pt x="1172366" y="353468"/>
                    <a:pt x="1172366" y="353468"/>
                    <a:pt x="1174634" y="352579"/>
                  </a:cubicBezTo>
                  <a:cubicBezTo>
                    <a:pt x="1180354" y="349689"/>
                    <a:pt x="1185568" y="346355"/>
                    <a:pt x="1190890" y="342907"/>
                  </a:cubicBezTo>
                  <a:cubicBezTo>
                    <a:pt x="1195169" y="340228"/>
                    <a:pt x="1199557" y="337821"/>
                    <a:pt x="1204021" y="335404"/>
                  </a:cubicBezTo>
                  <a:cubicBezTo>
                    <a:pt x="1211989" y="330886"/>
                    <a:pt x="1217509" y="325766"/>
                    <a:pt x="1223255" y="319110"/>
                  </a:cubicBezTo>
                  <a:cubicBezTo>
                    <a:pt x="1224447" y="317947"/>
                    <a:pt x="1225639" y="316784"/>
                    <a:pt x="1226868" y="315587"/>
                  </a:cubicBezTo>
                  <a:cubicBezTo>
                    <a:pt x="1229855" y="311593"/>
                    <a:pt x="1230852" y="308240"/>
                    <a:pt x="1231859" y="303559"/>
                  </a:cubicBezTo>
                  <a:cubicBezTo>
                    <a:pt x="1232628" y="300790"/>
                    <a:pt x="1232628" y="300790"/>
                    <a:pt x="1234178" y="298059"/>
                  </a:cubicBezTo>
                  <a:cubicBezTo>
                    <a:pt x="1235964" y="294761"/>
                    <a:pt x="1236623" y="291807"/>
                    <a:pt x="1237314" y="288195"/>
                  </a:cubicBezTo>
                  <a:cubicBezTo>
                    <a:pt x="1239360" y="278571"/>
                    <a:pt x="1242414" y="272733"/>
                    <a:pt x="1249811" y="265559"/>
                  </a:cubicBezTo>
                  <a:cubicBezTo>
                    <a:pt x="1250842" y="265559"/>
                    <a:pt x="1251873" y="265559"/>
                    <a:pt x="1252935" y="265559"/>
                  </a:cubicBezTo>
                  <a:cubicBezTo>
                    <a:pt x="1252935" y="264629"/>
                    <a:pt x="1252935" y="263699"/>
                    <a:pt x="1252935" y="262741"/>
                  </a:cubicBezTo>
                  <a:cubicBezTo>
                    <a:pt x="1265591" y="253427"/>
                    <a:pt x="1280762" y="251648"/>
                    <a:pt x="1296675" y="252876"/>
                  </a:cubicBezTo>
                  <a:cubicBezTo>
                    <a:pt x="1300535" y="253563"/>
                    <a:pt x="1303901" y="254478"/>
                    <a:pt x="1307609" y="255695"/>
                  </a:cubicBezTo>
                  <a:cubicBezTo>
                    <a:pt x="1307609" y="256625"/>
                    <a:pt x="1307609" y="257555"/>
                    <a:pt x="1307609" y="258513"/>
                  </a:cubicBezTo>
                  <a:cubicBezTo>
                    <a:pt x="1309021" y="258619"/>
                    <a:pt x="1310432" y="258723"/>
                    <a:pt x="1311887" y="258832"/>
                  </a:cubicBezTo>
                  <a:cubicBezTo>
                    <a:pt x="1319573" y="260476"/>
                    <a:pt x="1322149" y="264416"/>
                    <a:pt x="1326715" y="269969"/>
                  </a:cubicBezTo>
                  <a:cubicBezTo>
                    <a:pt x="1334402" y="281220"/>
                    <a:pt x="1336114" y="294839"/>
                    <a:pt x="1334165" y="307836"/>
                  </a:cubicBezTo>
                  <a:cubicBezTo>
                    <a:pt x="1332176" y="311898"/>
                    <a:pt x="1332176" y="311898"/>
                    <a:pt x="1329479" y="314882"/>
                  </a:cubicBezTo>
                  <a:cubicBezTo>
                    <a:pt x="1327417" y="314882"/>
                    <a:pt x="1325355" y="314882"/>
                    <a:pt x="1323231" y="314882"/>
                  </a:cubicBezTo>
                  <a:cubicBezTo>
                    <a:pt x="1323231" y="315812"/>
                    <a:pt x="1323231" y="316742"/>
                    <a:pt x="1323231" y="317700"/>
                  </a:cubicBezTo>
                  <a:lnTo>
                    <a:pt x="1322774" y="317838"/>
                  </a:lnTo>
                  <a:lnTo>
                    <a:pt x="1323295" y="317838"/>
                  </a:lnTo>
                  <a:cubicBezTo>
                    <a:pt x="1323295" y="316907"/>
                    <a:pt x="1323295" y="315977"/>
                    <a:pt x="1323295" y="315019"/>
                  </a:cubicBezTo>
                  <a:cubicBezTo>
                    <a:pt x="1324842" y="315019"/>
                    <a:pt x="1326388" y="315019"/>
                    <a:pt x="1327982" y="315019"/>
                  </a:cubicBezTo>
                  <a:cubicBezTo>
                    <a:pt x="1325845" y="321328"/>
                    <a:pt x="1322753" y="323742"/>
                    <a:pt x="1317047" y="327702"/>
                  </a:cubicBezTo>
                  <a:cubicBezTo>
                    <a:pt x="1316531" y="329097"/>
                    <a:pt x="1316016" y="330492"/>
                    <a:pt x="1315484" y="331930"/>
                  </a:cubicBezTo>
                  <a:cubicBezTo>
                    <a:pt x="1312599" y="332959"/>
                    <a:pt x="1312599" y="332959"/>
                    <a:pt x="1309139" y="333603"/>
                  </a:cubicBezTo>
                  <a:cubicBezTo>
                    <a:pt x="1307993" y="333827"/>
                    <a:pt x="1306847" y="334050"/>
                    <a:pt x="1305666" y="334280"/>
                  </a:cubicBezTo>
                  <a:cubicBezTo>
                    <a:pt x="1304783" y="334434"/>
                    <a:pt x="1303899" y="334589"/>
                    <a:pt x="1302988" y="334748"/>
                  </a:cubicBezTo>
                  <a:lnTo>
                    <a:pt x="1305905" y="332775"/>
                  </a:lnTo>
                  <a:lnTo>
                    <a:pt x="1304485" y="333202"/>
                  </a:lnTo>
                  <a:cubicBezTo>
                    <a:pt x="1302987" y="334640"/>
                    <a:pt x="1302987" y="334640"/>
                    <a:pt x="1301459" y="336108"/>
                  </a:cubicBezTo>
                  <a:cubicBezTo>
                    <a:pt x="1298237" y="338839"/>
                    <a:pt x="1298237" y="338839"/>
                    <a:pt x="1291989" y="338839"/>
                  </a:cubicBezTo>
                  <a:cubicBezTo>
                    <a:pt x="1291473" y="340234"/>
                    <a:pt x="1290957" y="341629"/>
                    <a:pt x="1290426" y="343066"/>
                  </a:cubicBezTo>
                  <a:cubicBezTo>
                    <a:pt x="1288879" y="343415"/>
                    <a:pt x="1287333" y="343764"/>
                    <a:pt x="1285740" y="344123"/>
                  </a:cubicBezTo>
                  <a:cubicBezTo>
                    <a:pt x="1266905" y="348491"/>
                    <a:pt x="1249005" y="369098"/>
                    <a:pt x="1237314" y="382525"/>
                  </a:cubicBezTo>
                  <a:cubicBezTo>
                    <a:pt x="1235678" y="385783"/>
                    <a:pt x="1234122" y="389075"/>
                    <a:pt x="1232628" y="392389"/>
                  </a:cubicBezTo>
                  <a:cubicBezTo>
                    <a:pt x="1231317" y="394515"/>
                    <a:pt x="1229981" y="396629"/>
                    <a:pt x="1228625" y="398731"/>
                  </a:cubicBezTo>
                  <a:cubicBezTo>
                    <a:pt x="1221457" y="410300"/>
                    <a:pt x="1219465" y="421836"/>
                    <a:pt x="1222822" y="434798"/>
                  </a:cubicBezTo>
                  <a:cubicBezTo>
                    <a:pt x="1229360" y="453710"/>
                    <a:pt x="1244088" y="472467"/>
                    <a:pt x="1260746" y="485398"/>
                  </a:cubicBezTo>
                  <a:cubicBezTo>
                    <a:pt x="1264961" y="487349"/>
                    <a:pt x="1264961" y="487349"/>
                    <a:pt x="1268556" y="488216"/>
                  </a:cubicBezTo>
                  <a:cubicBezTo>
                    <a:pt x="1268556" y="489146"/>
                    <a:pt x="1268556" y="490076"/>
                    <a:pt x="1268556" y="491034"/>
                  </a:cubicBezTo>
                  <a:cubicBezTo>
                    <a:pt x="1288790" y="497071"/>
                    <a:pt x="1319055" y="498555"/>
                    <a:pt x="1338852" y="489625"/>
                  </a:cubicBezTo>
                  <a:cubicBezTo>
                    <a:pt x="1341711" y="489213"/>
                    <a:pt x="1344575" y="488837"/>
                    <a:pt x="1347444" y="488480"/>
                  </a:cubicBezTo>
                  <a:cubicBezTo>
                    <a:pt x="1355372" y="487345"/>
                    <a:pt x="1362033" y="485390"/>
                    <a:pt x="1369362" y="482513"/>
                  </a:cubicBezTo>
                  <a:cubicBezTo>
                    <a:pt x="1375665" y="480318"/>
                    <a:pt x="1382189" y="479322"/>
                    <a:pt x="1388840" y="478351"/>
                  </a:cubicBezTo>
                  <a:cubicBezTo>
                    <a:pt x="1388840" y="477421"/>
                    <a:pt x="1388840" y="476492"/>
                    <a:pt x="1388840" y="475533"/>
                  </a:cubicBezTo>
                  <a:cubicBezTo>
                    <a:pt x="1391083" y="474821"/>
                    <a:pt x="1393329" y="474118"/>
                    <a:pt x="1395576" y="473419"/>
                  </a:cubicBezTo>
                  <a:cubicBezTo>
                    <a:pt x="1396827" y="473027"/>
                    <a:pt x="1398077" y="472635"/>
                    <a:pt x="1399365" y="472230"/>
                  </a:cubicBezTo>
                  <a:cubicBezTo>
                    <a:pt x="1402899" y="471305"/>
                    <a:pt x="1402899" y="471305"/>
                    <a:pt x="1407585" y="471305"/>
                  </a:cubicBezTo>
                  <a:cubicBezTo>
                    <a:pt x="1408101" y="469910"/>
                    <a:pt x="1408616" y="468515"/>
                    <a:pt x="1409147" y="467078"/>
                  </a:cubicBezTo>
                  <a:cubicBezTo>
                    <a:pt x="1412388" y="465580"/>
                    <a:pt x="1412388" y="465580"/>
                    <a:pt x="1416470" y="464259"/>
                  </a:cubicBezTo>
                  <a:cubicBezTo>
                    <a:pt x="1424029" y="461705"/>
                    <a:pt x="1431130" y="458955"/>
                    <a:pt x="1437949" y="455011"/>
                  </a:cubicBezTo>
                  <a:cubicBezTo>
                    <a:pt x="1442765" y="452574"/>
                    <a:pt x="1447553" y="451394"/>
                    <a:pt x="1452887" y="450167"/>
                  </a:cubicBezTo>
                  <a:cubicBezTo>
                    <a:pt x="1452887" y="449237"/>
                    <a:pt x="1452887" y="448307"/>
                    <a:pt x="1452887" y="447349"/>
                  </a:cubicBezTo>
                  <a:cubicBezTo>
                    <a:pt x="1453714" y="446944"/>
                    <a:pt x="1454541" y="446539"/>
                    <a:pt x="1455394" y="446122"/>
                  </a:cubicBezTo>
                  <a:cubicBezTo>
                    <a:pt x="1459151" y="444278"/>
                    <a:pt x="1462902" y="442422"/>
                    <a:pt x="1466653" y="440567"/>
                  </a:cubicBezTo>
                  <a:cubicBezTo>
                    <a:pt x="1467955" y="439930"/>
                    <a:pt x="1469256" y="439293"/>
                    <a:pt x="1470598" y="438637"/>
                  </a:cubicBezTo>
                  <a:cubicBezTo>
                    <a:pt x="1471852" y="438016"/>
                    <a:pt x="1473105" y="437393"/>
                    <a:pt x="1474397" y="436752"/>
                  </a:cubicBezTo>
                  <a:cubicBezTo>
                    <a:pt x="1475550" y="436184"/>
                    <a:pt x="1476703" y="435616"/>
                    <a:pt x="1477892" y="435030"/>
                  </a:cubicBezTo>
                  <a:cubicBezTo>
                    <a:pt x="1480966" y="433279"/>
                    <a:pt x="1483173" y="431373"/>
                    <a:pt x="1485691" y="429029"/>
                  </a:cubicBezTo>
                  <a:cubicBezTo>
                    <a:pt x="1486737" y="428575"/>
                    <a:pt x="1487781" y="428121"/>
                    <a:pt x="1488858" y="427653"/>
                  </a:cubicBezTo>
                  <a:cubicBezTo>
                    <a:pt x="1492438" y="425977"/>
                    <a:pt x="1493705" y="424453"/>
                    <a:pt x="1495943" y="421454"/>
                  </a:cubicBezTo>
                  <a:cubicBezTo>
                    <a:pt x="1507114" y="407544"/>
                    <a:pt x="1519758" y="393513"/>
                    <a:pt x="1538608" y="388338"/>
                  </a:cubicBezTo>
                  <a:cubicBezTo>
                    <a:pt x="1541025" y="388250"/>
                    <a:pt x="1541025" y="388250"/>
                    <a:pt x="1543490" y="388161"/>
                  </a:cubicBezTo>
                  <a:cubicBezTo>
                    <a:pt x="1545535" y="387984"/>
                    <a:pt x="1545535" y="387984"/>
                    <a:pt x="1547621" y="387804"/>
                  </a:cubicBezTo>
                  <a:cubicBezTo>
                    <a:pt x="1560659" y="387094"/>
                    <a:pt x="1568716" y="390117"/>
                    <a:pt x="1579418" y="396617"/>
                  </a:cubicBezTo>
                  <a:cubicBezTo>
                    <a:pt x="1581361" y="397687"/>
                    <a:pt x="1581361" y="397687"/>
                    <a:pt x="1583342" y="398780"/>
                  </a:cubicBezTo>
                  <a:cubicBezTo>
                    <a:pt x="1593703" y="405068"/>
                    <a:pt x="1598513" y="412459"/>
                    <a:pt x="1601288" y="423392"/>
                  </a:cubicBezTo>
                  <a:cubicBezTo>
                    <a:pt x="1603295" y="436596"/>
                    <a:pt x="1603517" y="449033"/>
                    <a:pt x="1594484" y="460159"/>
                  </a:cubicBezTo>
                  <a:cubicBezTo>
                    <a:pt x="1588468" y="466462"/>
                    <a:pt x="1582607" y="471150"/>
                    <a:pt x="1574732" y="475533"/>
                  </a:cubicBezTo>
                  <a:cubicBezTo>
                    <a:pt x="1573862" y="476043"/>
                    <a:pt x="1572993" y="476553"/>
                    <a:pt x="1572097" y="477078"/>
                  </a:cubicBezTo>
                  <a:cubicBezTo>
                    <a:pt x="1566828" y="478935"/>
                    <a:pt x="1561641" y="478744"/>
                    <a:pt x="1556066" y="478737"/>
                  </a:cubicBezTo>
                  <a:cubicBezTo>
                    <a:pt x="1553587" y="478765"/>
                    <a:pt x="1551109" y="478795"/>
                    <a:pt x="1548631" y="478825"/>
                  </a:cubicBezTo>
                  <a:cubicBezTo>
                    <a:pt x="1544751" y="478857"/>
                    <a:pt x="1540871" y="478880"/>
                    <a:pt x="1536991" y="478889"/>
                  </a:cubicBezTo>
                  <a:cubicBezTo>
                    <a:pt x="1516714" y="478693"/>
                    <a:pt x="1516714" y="478693"/>
                    <a:pt x="1498188" y="485398"/>
                  </a:cubicBezTo>
                  <a:cubicBezTo>
                    <a:pt x="1496062" y="486488"/>
                    <a:pt x="1496062" y="486488"/>
                    <a:pt x="1493892" y="487600"/>
                  </a:cubicBezTo>
                  <a:cubicBezTo>
                    <a:pt x="1492733" y="488268"/>
                    <a:pt x="1491573" y="488937"/>
                    <a:pt x="1490377" y="489625"/>
                  </a:cubicBezTo>
                  <a:cubicBezTo>
                    <a:pt x="1484304" y="493012"/>
                    <a:pt x="1478212" y="495675"/>
                    <a:pt x="1471650" y="498185"/>
                  </a:cubicBezTo>
                  <a:cubicBezTo>
                    <a:pt x="1467148" y="500054"/>
                    <a:pt x="1463242" y="502632"/>
                    <a:pt x="1459135" y="505127"/>
                  </a:cubicBezTo>
                  <a:cubicBezTo>
                    <a:pt x="1456968" y="506120"/>
                    <a:pt x="1454786" y="507086"/>
                    <a:pt x="1452594" y="508033"/>
                  </a:cubicBezTo>
                  <a:cubicBezTo>
                    <a:pt x="1444148" y="511772"/>
                    <a:pt x="1435969" y="515903"/>
                    <a:pt x="1427795" y="520100"/>
                  </a:cubicBezTo>
                  <a:cubicBezTo>
                    <a:pt x="1425784" y="521114"/>
                    <a:pt x="1425784" y="521114"/>
                    <a:pt x="1423733" y="522148"/>
                  </a:cubicBezTo>
                  <a:cubicBezTo>
                    <a:pt x="1422478" y="522798"/>
                    <a:pt x="1421223" y="523449"/>
                    <a:pt x="1419929" y="524118"/>
                  </a:cubicBezTo>
                  <a:cubicBezTo>
                    <a:pt x="1418794" y="524701"/>
                    <a:pt x="1417658" y="525283"/>
                    <a:pt x="1416487" y="525883"/>
                  </a:cubicBezTo>
                  <a:cubicBezTo>
                    <a:pt x="1413349" y="527646"/>
                    <a:pt x="1413349" y="527646"/>
                    <a:pt x="1412271" y="531902"/>
                  </a:cubicBezTo>
                  <a:cubicBezTo>
                    <a:pt x="1407205" y="535203"/>
                    <a:pt x="1402819" y="536744"/>
                    <a:pt x="1396650" y="537539"/>
                  </a:cubicBezTo>
                  <a:cubicBezTo>
                    <a:pt x="1396650" y="538469"/>
                    <a:pt x="1396650" y="539399"/>
                    <a:pt x="1396650" y="540357"/>
                  </a:cubicBezTo>
                  <a:cubicBezTo>
                    <a:pt x="1395609" y="540735"/>
                    <a:pt x="1394568" y="541113"/>
                    <a:pt x="1393495" y="541502"/>
                  </a:cubicBezTo>
                  <a:cubicBezTo>
                    <a:pt x="1381840" y="545973"/>
                    <a:pt x="1372279" y="551715"/>
                    <a:pt x="1362284" y="558678"/>
                  </a:cubicBezTo>
                  <a:cubicBezTo>
                    <a:pt x="1360170" y="560088"/>
                    <a:pt x="1358055" y="561497"/>
                    <a:pt x="1355937" y="562905"/>
                  </a:cubicBezTo>
                  <a:cubicBezTo>
                    <a:pt x="1348556" y="567937"/>
                    <a:pt x="1341292" y="573085"/>
                    <a:pt x="1334165" y="578406"/>
                  </a:cubicBezTo>
                  <a:cubicBezTo>
                    <a:pt x="1332697" y="579472"/>
                    <a:pt x="1332697" y="579472"/>
                    <a:pt x="1331200" y="580559"/>
                  </a:cubicBezTo>
                  <a:cubicBezTo>
                    <a:pt x="1325067" y="585430"/>
                    <a:pt x="1323406" y="589771"/>
                    <a:pt x="1322175" y="596793"/>
                  </a:cubicBezTo>
                  <a:cubicBezTo>
                    <a:pt x="1321669" y="599545"/>
                    <a:pt x="1321669" y="599545"/>
                    <a:pt x="1320106" y="602363"/>
                  </a:cubicBezTo>
                  <a:cubicBezTo>
                    <a:pt x="1318419" y="618189"/>
                    <a:pt x="1322416" y="632767"/>
                    <a:pt x="1328015" y="647640"/>
                  </a:cubicBezTo>
                  <a:cubicBezTo>
                    <a:pt x="1331267" y="656625"/>
                    <a:pt x="1333170" y="666179"/>
                    <a:pt x="1332604" y="675643"/>
                  </a:cubicBezTo>
                  <a:cubicBezTo>
                    <a:pt x="1333634" y="675643"/>
                    <a:pt x="1334665" y="675643"/>
                    <a:pt x="1335727" y="675643"/>
                  </a:cubicBezTo>
                  <a:cubicBezTo>
                    <a:pt x="1337571" y="680632"/>
                    <a:pt x="1337591" y="684795"/>
                    <a:pt x="1337741" y="690059"/>
                  </a:cubicBezTo>
                  <a:cubicBezTo>
                    <a:pt x="1337826" y="692114"/>
                    <a:pt x="1337913" y="694168"/>
                    <a:pt x="1338003" y="696222"/>
                  </a:cubicBezTo>
                  <a:cubicBezTo>
                    <a:pt x="1338142" y="699444"/>
                    <a:pt x="1338266" y="702664"/>
                    <a:pt x="1338340" y="705887"/>
                  </a:cubicBezTo>
                  <a:cubicBezTo>
                    <a:pt x="1338372" y="720474"/>
                    <a:pt x="1338372" y="720474"/>
                    <a:pt x="1345277" y="733245"/>
                  </a:cubicBezTo>
                  <a:cubicBezTo>
                    <a:pt x="1350822" y="737861"/>
                    <a:pt x="1355921" y="739823"/>
                    <a:pt x="1363162" y="741612"/>
                  </a:cubicBezTo>
                  <a:cubicBezTo>
                    <a:pt x="1370672" y="743533"/>
                    <a:pt x="1377197" y="745750"/>
                    <a:pt x="1384154" y="748922"/>
                  </a:cubicBezTo>
                  <a:cubicBezTo>
                    <a:pt x="1387833" y="749898"/>
                    <a:pt x="1387833" y="749898"/>
                    <a:pt x="1391476" y="750419"/>
                  </a:cubicBezTo>
                  <a:cubicBezTo>
                    <a:pt x="1393499" y="750747"/>
                    <a:pt x="1393499" y="750747"/>
                    <a:pt x="1395564" y="751080"/>
                  </a:cubicBezTo>
                  <a:cubicBezTo>
                    <a:pt x="1397648" y="751407"/>
                    <a:pt x="1397648" y="751407"/>
                    <a:pt x="1399775" y="751740"/>
                  </a:cubicBezTo>
                  <a:cubicBezTo>
                    <a:pt x="1401810" y="752111"/>
                    <a:pt x="1401810" y="752111"/>
                    <a:pt x="1403887" y="752489"/>
                  </a:cubicBezTo>
                  <a:cubicBezTo>
                    <a:pt x="1424247" y="756131"/>
                    <a:pt x="1444708" y="756350"/>
                    <a:pt x="1465383" y="755969"/>
                  </a:cubicBezTo>
                  <a:cubicBezTo>
                    <a:pt x="1467019" y="755945"/>
                    <a:pt x="1468654" y="755921"/>
                    <a:pt x="1470339" y="755897"/>
                  </a:cubicBezTo>
                  <a:cubicBezTo>
                    <a:pt x="1480128" y="755450"/>
                    <a:pt x="1487899" y="752933"/>
                    <a:pt x="1496809" y="749313"/>
                  </a:cubicBezTo>
                  <a:cubicBezTo>
                    <a:pt x="1502876" y="746888"/>
                    <a:pt x="1509049" y="745091"/>
                    <a:pt x="1515371" y="743285"/>
                  </a:cubicBezTo>
                  <a:cubicBezTo>
                    <a:pt x="1515371" y="742356"/>
                    <a:pt x="1515371" y="741425"/>
                    <a:pt x="1515371" y="740467"/>
                  </a:cubicBezTo>
                  <a:cubicBezTo>
                    <a:pt x="1522710" y="737103"/>
                    <a:pt x="1529583" y="737106"/>
                    <a:pt x="1537632" y="737120"/>
                  </a:cubicBezTo>
                  <a:cubicBezTo>
                    <a:pt x="1538960" y="737122"/>
                    <a:pt x="1540289" y="737124"/>
                    <a:pt x="1541657" y="737127"/>
                  </a:cubicBezTo>
                  <a:cubicBezTo>
                    <a:pt x="1555502" y="737372"/>
                    <a:pt x="1564314" y="740697"/>
                    <a:pt x="1574732" y="748922"/>
                  </a:cubicBezTo>
                  <a:cubicBezTo>
                    <a:pt x="1586507" y="762822"/>
                    <a:pt x="1590347" y="775219"/>
                    <a:pt x="1588791" y="792608"/>
                  </a:cubicBezTo>
                  <a:cubicBezTo>
                    <a:pt x="1587728" y="797050"/>
                    <a:pt x="1586468" y="801261"/>
                    <a:pt x="1584105" y="805291"/>
                  </a:cubicBezTo>
                  <a:cubicBezTo>
                    <a:pt x="1583074" y="805756"/>
                    <a:pt x="1582043" y="806221"/>
                    <a:pt x="1580981" y="806700"/>
                  </a:cubicBezTo>
                  <a:cubicBezTo>
                    <a:pt x="1580240" y="807892"/>
                    <a:pt x="1579499" y="809083"/>
                    <a:pt x="1578735" y="810311"/>
                  </a:cubicBezTo>
                  <a:cubicBezTo>
                    <a:pt x="1577930" y="811445"/>
                    <a:pt x="1577124" y="812579"/>
                    <a:pt x="1576295" y="813746"/>
                  </a:cubicBezTo>
                  <a:lnTo>
                    <a:pt x="1571652" y="813746"/>
                  </a:lnTo>
                  <a:lnTo>
                    <a:pt x="1571785" y="814106"/>
                  </a:lnTo>
                  <a:cubicBezTo>
                    <a:pt x="1572816" y="814571"/>
                    <a:pt x="1573846" y="815036"/>
                    <a:pt x="1574909" y="815515"/>
                  </a:cubicBezTo>
                  <a:cubicBezTo>
                    <a:pt x="1572126" y="818758"/>
                    <a:pt x="1569968" y="820871"/>
                    <a:pt x="1565463" y="821839"/>
                  </a:cubicBezTo>
                  <a:lnTo>
                    <a:pt x="1562085" y="822101"/>
                  </a:lnTo>
                  <a:lnTo>
                    <a:pt x="1551301" y="825020"/>
                  </a:lnTo>
                  <a:cubicBezTo>
                    <a:pt x="1551301" y="825950"/>
                    <a:pt x="1551301" y="826880"/>
                    <a:pt x="1551301" y="827838"/>
                  </a:cubicBezTo>
                  <a:cubicBezTo>
                    <a:pt x="1526697" y="828735"/>
                    <a:pt x="1507496" y="825036"/>
                    <a:pt x="1485380" y="815007"/>
                  </a:cubicBezTo>
                  <a:cubicBezTo>
                    <a:pt x="1468723" y="807743"/>
                    <a:pt x="1449749" y="809144"/>
                    <a:pt x="1431603" y="808726"/>
                  </a:cubicBezTo>
                  <a:cubicBezTo>
                    <a:pt x="1429115" y="808665"/>
                    <a:pt x="1426627" y="808604"/>
                    <a:pt x="1424140" y="808542"/>
                  </a:cubicBezTo>
                  <a:cubicBezTo>
                    <a:pt x="1418101" y="808392"/>
                    <a:pt x="1412062" y="808249"/>
                    <a:pt x="1406023" y="808109"/>
                  </a:cubicBezTo>
                  <a:cubicBezTo>
                    <a:pt x="1406023" y="809040"/>
                    <a:pt x="1406023" y="809970"/>
                    <a:pt x="1406023" y="810928"/>
                  </a:cubicBezTo>
                  <a:cubicBezTo>
                    <a:pt x="1404716" y="811118"/>
                    <a:pt x="1404716" y="811118"/>
                    <a:pt x="1403383" y="811311"/>
                  </a:cubicBezTo>
                  <a:cubicBezTo>
                    <a:pt x="1372054" y="815110"/>
                    <a:pt x="1372054" y="815110"/>
                    <a:pt x="1345442" y="828907"/>
                  </a:cubicBezTo>
                  <a:cubicBezTo>
                    <a:pt x="1338843" y="837605"/>
                    <a:pt x="1338313" y="846434"/>
                    <a:pt x="1337875" y="856639"/>
                  </a:cubicBezTo>
                  <a:cubicBezTo>
                    <a:pt x="1337815" y="857805"/>
                    <a:pt x="1337754" y="858970"/>
                    <a:pt x="1337692" y="860171"/>
                  </a:cubicBezTo>
                  <a:cubicBezTo>
                    <a:pt x="1337547" y="863016"/>
                    <a:pt x="1337417" y="865861"/>
                    <a:pt x="1337290" y="868706"/>
                  </a:cubicBezTo>
                  <a:cubicBezTo>
                    <a:pt x="1336258" y="868706"/>
                    <a:pt x="1335228" y="868706"/>
                    <a:pt x="1334165" y="868706"/>
                  </a:cubicBezTo>
                  <a:lnTo>
                    <a:pt x="1334165" y="870034"/>
                  </a:lnTo>
                  <a:lnTo>
                    <a:pt x="1334237" y="869093"/>
                  </a:lnTo>
                  <a:cubicBezTo>
                    <a:pt x="1334753" y="869093"/>
                    <a:pt x="1335268" y="869093"/>
                    <a:pt x="1335800" y="869093"/>
                  </a:cubicBezTo>
                  <a:cubicBezTo>
                    <a:pt x="1335884" y="871559"/>
                    <a:pt x="1335944" y="874025"/>
                    <a:pt x="1335995" y="876491"/>
                  </a:cubicBezTo>
                  <a:cubicBezTo>
                    <a:pt x="1336030" y="877865"/>
                    <a:pt x="1336067" y="879238"/>
                    <a:pt x="1336105" y="880653"/>
                  </a:cubicBezTo>
                  <a:cubicBezTo>
                    <a:pt x="1335800" y="884594"/>
                    <a:pt x="1335800" y="884594"/>
                    <a:pt x="1334294" y="887271"/>
                  </a:cubicBezTo>
                  <a:cubicBezTo>
                    <a:pt x="1332567" y="890428"/>
                    <a:pt x="1331982" y="892964"/>
                    <a:pt x="1331455" y="896440"/>
                  </a:cubicBezTo>
                  <a:cubicBezTo>
                    <a:pt x="1331267" y="897605"/>
                    <a:pt x="1331080" y="898769"/>
                    <a:pt x="1330887" y="899969"/>
                  </a:cubicBezTo>
                  <a:cubicBezTo>
                    <a:pt x="1330704" y="901174"/>
                    <a:pt x="1330521" y="902378"/>
                    <a:pt x="1330332" y="903618"/>
                  </a:cubicBezTo>
                  <a:cubicBezTo>
                    <a:pt x="1329968" y="906013"/>
                    <a:pt x="1329594" y="908405"/>
                    <a:pt x="1329209" y="910797"/>
                  </a:cubicBezTo>
                  <a:cubicBezTo>
                    <a:pt x="1329049" y="911853"/>
                    <a:pt x="1328889" y="912910"/>
                    <a:pt x="1328724" y="913998"/>
                  </a:cubicBezTo>
                  <a:cubicBezTo>
                    <a:pt x="1327933" y="917233"/>
                    <a:pt x="1326525" y="919703"/>
                    <a:pt x="1324865" y="922643"/>
                  </a:cubicBezTo>
                  <a:cubicBezTo>
                    <a:pt x="1323924" y="927743"/>
                    <a:pt x="1323282" y="932845"/>
                    <a:pt x="1322619" y="937979"/>
                  </a:cubicBezTo>
                  <a:lnTo>
                    <a:pt x="1318744" y="944961"/>
                  </a:lnTo>
                  <a:lnTo>
                    <a:pt x="1318544" y="946213"/>
                  </a:lnTo>
                  <a:cubicBezTo>
                    <a:pt x="1318360" y="949234"/>
                    <a:pt x="1318271" y="952260"/>
                    <a:pt x="1318251" y="955285"/>
                  </a:cubicBezTo>
                  <a:cubicBezTo>
                    <a:pt x="1318218" y="957637"/>
                    <a:pt x="1318218" y="957637"/>
                    <a:pt x="1318184" y="960036"/>
                  </a:cubicBezTo>
                  <a:cubicBezTo>
                    <a:pt x="1318624" y="965530"/>
                    <a:pt x="1319569" y="969724"/>
                    <a:pt x="1324024" y="973660"/>
                  </a:cubicBezTo>
                  <a:cubicBezTo>
                    <a:pt x="1327197" y="976583"/>
                    <a:pt x="1327950" y="979494"/>
                    <a:pt x="1329284" y="983382"/>
                  </a:cubicBezTo>
                  <a:cubicBezTo>
                    <a:pt x="1331875" y="990106"/>
                    <a:pt x="1334445" y="993582"/>
                    <a:pt x="1340414" y="998354"/>
                  </a:cubicBezTo>
                  <a:cubicBezTo>
                    <a:pt x="1342397" y="1000564"/>
                    <a:pt x="1344347" y="1002798"/>
                    <a:pt x="1346272" y="1005048"/>
                  </a:cubicBezTo>
                  <a:cubicBezTo>
                    <a:pt x="1360055" y="1020713"/>
                    <a:pt x="1376247" y="1031879"/>
                    <a:pt x="1394716" y="1042740"/>
                  </a:cubicBezTo>
                  <a:cubicBezTo>
                    <a:pt x="1397172" y="1044228"/>
                    <a:pt x="1399581" y="1045779"/>
                    <a:pt x="1401953" y="1047374"/>
                  </a:cubicBezTo>
                  <a:cubicBezTo>
                    <a:pt x="1410065" y="1052802"/>
                    <a:pt x="1417529" y="1056366"/>
                    <a:pt x="1427197" y="1059061"/>
                  </a:cubicBezTo>
                  <a:cubicBezTo>
                    <a:pt x="1431243" y="1060437"/>
                    <a:pt x="1434061" y="1061979"/>
                    <a:pt x="1437265" y="1064588"/>
                  </a:cubicBezTo>
                  <a:cubicBezTo>
                    <a:pt x="1437265" y="1065518"/>
                    <a:pt x="1437265" y="1066448"/>
                    <a:pt x="1437265" y="1067406"/>
                  </a:cubicBezTo>
                  <a:cubicBezTo>
                    <a:pt x="1439053" y="1067624"/>
                    <a:pt x="1439053" y="1067624"/>
                    <a:pt x="1440878" y="1067847"/>
                  </a:cubicBezTo>
                  <a:cubicBezTo>
                    <a:pt x="1445076" y="1068815"/>
                    <a:pt x="1445076" y="1068815"/>
                    <a:pt x="1447175" y="1070753"/>
                  </a:cubicBezTo>
                  <a:cubicBezTo>
                    <a:pt x="1450417" y="1073622"/>
                    <a:pt x="1453781" y="1075060"/>
                    <a:pt x="1457866" y="1076830"/>
                  </a:cubicBezTo>
                  <a:cubicBezTo>
                    <a:pt x="1459274" y="1077446"/>
                    <a:pt x="1460681" y="1078062"/>
                    <a:pt x="1462132" y="1078696"/>
                  </a:cubicBezTo>
                  <a:cubicBezTo>
                    <a:pt x="1463204" y="1079156"/>
                    <a:pt x="1464278" y="1079616"/>
                    <a:pt x="1465383" y="1080089"/>
                  </a:cubicBezTo>
                  <a:cubicBezTo>
                    <a:pt x="1465383" y="1081019"/>
                    <a:pt x="1465383" y="1081949"/>
                    <a:pt x="1465383" y="1082908"/>
                  </a:cubicBezTo>
                  <a:cubicBezTo>
                    <a:pt x="1466497" y="1083260"/>
                    <a:pt x="1467611" y="1083612"/>
                    <a:pt x="1468758" y="1083975"/>
                  </a:cubicBezTo>
                  <a:cubicBezTo>
                    <a:pt x="1473648" y="1085905"/>
                    <a:pt x="1477426" y="1088296"/>
                    <a:pt x="1481688" y="1091187"/>
                  </a:cubicBezTo>
                  <a:cubicBezTo>
                    <a:pt x="1483204" y="1092193"/>
                    <a:pt x="1484721" y="1093200"/>
                    <a:pt x="1486283" y="1094236"/>
                  </a:cubicBezTo>
                  <a:cubicBezTo>
                    <a:pt x="1489170" y="1096185"/>
                    <a:pt x="1492029" y="1098166"/>
                    <a:pt x="1494869" y="1100171"/>
                  </a:cubicBezTo>
                  <a:cubicBezTo>
                    <a:pt x="1510181" y="1107906"/>
                    <a:pt x="1527080" y="1109898"/>
                    <a:pt x="1544335" y="1109518"/>
                  </a:cubicBezTo>
                  <a:cubicBezTo>
                    <a:pt x="1579932" y="1108798"/>
                    <a:pt x="1579932" y="1108798"/>
                    <a:pt x="1593477" y="1119900"/>
                  </a:cubicBezTo>
                  <a:cubicBezTo>
                    <a:pt x="1600636" y="1127255"/>
                    <a:pt x="1604889" y="1135120"/>
                    <a:pt x="1605975" y="1144913"/>
                  </a:cubicBezTo>
                  <a:cubicBezTo>
                    <a:pt x="1607006" y="1144913"/>
                    <a:pt x="1608036" y="1144913"/>
                    <a:pt x="1609099" y="1144913"/>
                  </a:cubicBezTo>
                  <a:cubicBezTo>
                    <a:pt x="1609227" y="1148907"/>
                    <a:pt x="1609319" y="1152897"/>
                    <a:pt x="1609392" y="1156892"/>
                  </a:cubicBezTo>
                  <a:cubicBezTo>
                    <a:pt x="1609451" y="1158565"/>
                    <a:pt x="1609451" y="1158565"/>
                    <a:pt x="1609511" y="1160272"/>
                  </a:cubicBezTo>
                  <a:cubicBezTo>
                    <a:pt x="1609621" y="1168378"/>
                    <a:pt x="1607970" y="1174108"/>
                    <a:pt x="1604412" y="1181553"/>
                  </a:cubicBezTo>
                  <a:cubicBezTo>
                    <a:pt x="1603354" y="1184367"/>
                    <a:pt x="1602306" y="1187183"/>
                    <a:pt x="1601288" y="1190009"/>
                  </a:cubicBezTo>
                  <a:cubicBezTo>
                    <a:pt x="1600257" y="1190009"/>
                    <a:pt x="1599226" y="1190009"/>
                    <a:pt x="1598164" y="1190009"/>
                  </a:cubicBezTo>
                  <a:cubicBezTo>
                    <a:pt x="1597842" y="1190910"/>
                    <a:pt x="1597520" y="1191810"/>
                    <a:pt x="1597187" y="1192739"/>
                  </a:cubicBezTo>
                  <a:cubicBezTo>
                    <a:pt x="1596479" y="1193698"/>
                    <a:pt x="1595770" y="1194657"/>
                    <a:pt x="1595040" y="1195645"/>
                  </a:cubicBezTo>
                  <a:cubicBezTo>
                    <a:pt x="1591916" y="1196115"/>
                    <a:pt x="1588791" y="1196585"/>
                    <a:pt x="1585667" y="1197055"/>
                  </a:cubicBezTo>
                  <a:cubicBezTo>
                    <a:pt x="1583871" y="1199826"/>
                    <a:pt x="1583871" y="1199826"/>
                    <a:pt x="1582543" y="1202691"/>
                  </a:cubicBezTo>
                  <a:cubicBezTo>
                    <a:pt x="1575997" y="1204710"/>
                    <a:pt x="1569266" y="1204360"/>
                    <a:pt x="1562431" y="1204365"/>
                  </a:cubicBezTo>
                  <a:cubicBezTo>
                    <a:pt x="1561196" y="1204382"/>
                    <a:pt x="1559962" y="1204399"/>
                    <a:pt x="1558690" y="1204417"/>
                  </a:cubicBezTo>
                  <a:cubicBezTo>
                    <a:pt x="1543339" y="1204452"/>
                    <a:pt x="1531981" y="1199267"/>
                    <a:pt x="1521102" y="1189585"/>
                  </a:cubicBezTo>
                  <a:cubicBezTo>
                    <a:pt x="1515403" y="1183953"/>
                    <a:pt x="1510116" y="1178123"/>
                    <a:pt x="1505022" y="1172041"/>
                  </a:cubicBezTo>
                  <a:cubicBezTo>
                    <a:pt x="1493200" y="1158177"/>
                    <a:pt x="1475492" y="1147115"/>
                    <a:pt x="1457573" y="1140686"/>
                  </a:cubicBezTo>
                  <a:cubicBezTo>
                    <a:pt x="1457573" y="1139755"/>
                    <a:pt x="1457573" y="1138826"/>
                    <a:pt x="1457573" y="1137867"/>
                  </a:cubicBezTo>
                  <a:cubicBezTo>
                    <a:pt x="1456059" y="1137693"/>
                    <a:pt x="1454544" y="1137518"/>
                    <a:pt x="1452985" y="1137339"/>
                  </a:cubicBezTo>
                  <a:cubicBezTo>
                    <a:pt x="1451406" y="1137048"/>
                    <a:pt x="1449827" y="1136758"/>
                    <a:pt x="1448200" y="1136458"/>
                  </a:cubicBezTo>
                  <a:cubicBezTo>
                    <a:pt x="1447685" y="1135528"/>
                    <a:pt x="1447169" y="1134598"/>
                    <a:pt x="1446638" y="1133640"/>
                  </a:cubicBezTo>
                  <a:cubicBezTo>
                    <a:pt x="1444091" y="1132586"/>
                    <a:pt x="1441535" y="1131550"/>
                    <a:pt x="1438937" y="1130601"/>
                  </a:cubicBezTo>
                  <a:cubicBezTo>
                    <a:pt x="1435668" y="1129399"/>
                    <a:pt x="1432469" y="1128095"/>
                    <a:pt x="1429260" y="1126770"/>
                  </a:cubicBezTo>
                  <a:cubicBezTo>
                    <a:pt x="1423389" y="1124389"/>
                    <a:pt x="1417431" y="1122349"/>
                    <a:pt x="1411393" y="1120340"/>
                  </a:cubicBezTo>
                  <a:cubicBezTo>
                    <a:pt x="1404143" y="1117867"/>
                    <a:pt x="1397842" y="1115090"/>
                    <a:pt x="1391427" y="1111191"/>
                  </a:cubicBezTo>
                  <a:cubicBezTo>
                    <a:pt x="1388139" y="1109274"/>
                    <a:pt x="1384723" y="1108010"/>
                    <a:pt x="1381029" y="1106865"/>
                  </a:cubicBezTo>
                  <a:cubicBezTo>
                    <a:pt x="1381029" y="1105934"/>
                    <a:pt x="1381029" y="1105004"/>
                    <a:pt x="1381029" y="1104046"/>
                  </a:cubicBezTo>
                  <a:cubicBezTo>
                    <a:pt x="1379773" y="1103901"/>
                    <a:pt x="1378516" y="1103755"/>
                    <a:pt x="1377221" y="1103605"/>
                  </a:cubicBezTo>
                  <a:cubicBezTo>
                    <a:pt x="1370425" y="1102422"/>
                    <a:pt x="1364120" y="1100465"/>
                    <a:pt x="1357597" y="1098409"/>
                  </a:cubicBezTo>
                  <a:cubicBezTo>
                    <a:pt x="1355761" y="1097857"/>
                    <a:pt x="1353924" y="1097304"/>
                    <a:pt x="1352032" y="1096736"/>
                  </a:cubicBezTo>
                  <a:cubicBezTo>
                    <a:pt x="1350776" y="1096358"/>
                    <a:pt x="1349519" y="1095980"/>
                    <a:pt x="1348225" y="1095590"/>
                  </a:cubicBezTo>
                  <a:cubicBezTo>
                    <a:pt x="1348225" y="1094661"/>
                    <a:pt x="1348225" y="1093730"/>
                    <a:pt x="1348225" y="1092772"/>
                  </a:cubicBezTo>
                  <a:cubicBezTo>
                    <a:pt x="1344616" y="1092307"/>
                    <a:pt x="1341007" y="1091842"/>
                    <a:pt x="1337290" y="1091363"/>
                  </a:cubicBezTo>
                  <a:cubicBezTo>
                    <a:pt x="1337290" y="1090433"/>
                    <a:pt x="1337290" y="1089503"/>
                    <a:pt x="1337290" y="1088544"/>
                  </a:cubicBezTo>
                  <a:cubicBezTo>
                    <a:pt x="1334438" y="1088327"/>
                    <a:pt x="1334438" y="1088327"/>
                    <a:pt x="1331529" y="1088104"/>
                  </a:cubicBezTo>
                  <a:lnTo>
                    <a:pt x="1323297" y="1086611"/>
                  </a:lnTo>
                  <a:lnTo>
                    <a:pt x="1323297" y="1087618"/>
                  </a:lnTo>
                  <a:cubicBezTo>
                    <a:pt x="1322139" y="1087517"/>
                    <a:pt x="1320982" y="1087415"/>
                    <a:pt x="1319789" y="1087310"/>
                  </a:cubicBezTo>
                  <a:cubicBezTo>
                    <a:pt x="1300429" y="1085771"/>
                    <a:pt x="1281330" y="1084680"/>
                    <a:pt x="1262375" y="1089028"/>
                  </a:cubicBezTo>
                  <a:lnTo>
                    <a:pt x="1258728" y="1088205"/>
                  </a:lnTo>
                  <a:lnTo>
                    <a:pt x="1246964" y="1091489"/>
                  </a:lnTo>
                  <a:cubicBezTo>
                    <a:pt x="1237239" y="1097222"/>
                    <a:pt x="1228703" y="1103434"/>
                    <a:pt x="1223224" y="1112865"/>
                  </a:cubicBezTo>
                  <a:cubicBezTo>
                    <a:pt x="1220867" y="1116643"/>
                    <a:pt x="1217262" y="1119317"/>
                    <a:pt x="1213883" y="1122366"/>
                  </a:cubicBezTo>
                  <a:cubicBezTo>
                    <a:pt x="1213428" y="1123469"/>
                    <a:pt x="1212973" y="1124572"/>
                    <a:pt x="1212505" y="1125708"/>
                  </a:cubicBezTo>
                  <a:cubicBezTo>
                    <a:pt x="1210449" y="1130067"/>
                    <a:pt x="1207984" y="1132315"/>
                    <a:pt x="1204180" y="1135561"/>
                  </a:cubicBezTo>
                  <a:cubicBezTo>
                    <a:pt x="1202879" y="1136695"/>
                    <a:pt x="1201578" y="1137829"/>
                    <a:pt x="1200238" y="1138999"/>
                  </a:cubicBezTo>
                  <a:cubicBezTo>
                    <a:pt x="1197504" y="1141343"/>
                    <a:pt x="1194765" y="1143684"/>
                    <a:pt x="1192025" y="1146022"/>
                  </a:cubicBezTo>
                  <a:cubicBezTo>
                    <a:pt x="1181899" y="1154869"/>
                    <a:pt x="1174983" y="1161763"/>
                    <a:pt x="1173945" y="1174749"/>
                  </a:cubicBezTo>
                  <a:cubicBezTo>
                    <a:pt x="1173902" y="1177369"/>
                    <a:pt x="1173905" y="1179990"/>
                    <a:pt x="1173950" y="1182610"/>
                  </a:cubicBezTo>
                  <a:cubicBezTo>
                    <a:pt x="1173963" y="1183981"/>
                    <a:pt x="1173975" y="1185352"/>
                    <a:pt x="1173989" y="1186765"/>
                  </a:cubicBezTo>
                  <a:cubicBezTo>
                    <a:pt x="1174321" y="1197573"/>
                    <a:pt x="1176809" y="1205883"/>
                    <a:pt x="1182640" y="1215374"/>
                  </a:cubicBezTo>
                  <a:cubicBezTo>
                    <a:pt x="1183703" y="1217509"/>
                    <a:pt x="1184746" y="1219652"/>
                    <a:pt x="1185764" y="1221804"/>
                  </a:cubicBezTo>
                  <a:cubicBezTo>
                    <a:pt x="1186271" y="1222812"/>
                    <a:pt x="1186779" y="1223821"/>
                    <a:pt x="1187301" y="1224859"/>
                  </a:cubicBezTo>
                  <a:cubicBezTo>
                    <a:pt x="1188431" y="1227137"/>
                    <a:pt x="1189517" y="1229433"/>
                    <a:pt x="1190573" y="1231740"/>
                  </a:cubicBezTo>
                  <a:cubicBezTo>
                    <a:pt x="1194650" y="1240409"/>
                    <a:pt x="1199581" y="1247688"/>
                    <a:pt x="1205925" y="1255163"/>
                  </a:cubicBezTo>
                  <a:cubicBezTo>
                    <a:pt x="1208103" y="1257757"/>
                    <a:pt x="1210188" y="1260417"/>
                    <a:pt x="1212174" y="1263134"/>
                  </a:cubicBezTo>
                  <a:cubicBezTo>
                    <a:pt x="1218757" y="1272043"/>
                    <a:pt x="1225157" y="1277324"/>
                    <a:pt x="1235556" y="1282538"/>
                  </a:cubicBezTo>
                  <a:cubicBezTo>
                    <a:pt x="1236652" y="1283161"/>
                    <a:pt x="1237747" y="1283784"/>
                    <a:pt x="1238876" y="1284426"/>
                  </a:cubicBezTo>
                  <a:cubicBezTo>
                    <a:pt x="1238876" y="1285356"/>
                    <a:pt x="1238876" y="1286287"/>
                    <a:pt x="1238876" y="1287245"/>
                  </a:cubicBezTo>
                  <a:cubicBezTo>
                    <a:pt x="1239988" y="1287383"/>
                    <a:pt x="1241099" y="1287521"/>
                    <a:pt x="1242245" y="1287663"/>
                  </a:cubicBezTo>
                  <a:cubicBezTo>
                    <a:pt x="1253043" y="1290072"/>
                    <a:pt x="1264916" y="1297690"/>
                    <a:pt x="1271681" y="1305565"/>
                  </a:cubicBezTo>
                  <a:lnTo>
                    <a:pt x="1271742" y="1306172"/>
                  </a:lnTo>
                  <a:lnTo>
                    <a:pt x="1278525" y="1315767"/>
                  </a:lnTo>
                  <a:cubicBezTo>
                    <a:pt x="1279797" y="1319398"/>
                    <a:pt x="1280365" y="1323346"/>
                    <a:pt x="1281097" y="1327286"/>
                  </a:cubicBezTo>
                  <a:cubicBezTo>
                    <a:pt x="1281916" y="1337121"/>
                    <a:pt x="1281807" y="1346176"/>
                    <a:pt x="1277973" y="1355470"/>
                  </a:cubicBezTo>
                  <a:lnTo>
                    <a:pt x="1277460" y="1347025"/>
                  </a:lnTo>
                  <a:lnTo>
                    <a:pt x="1273531" y="1357991"/>
                  </a:lnTo>
                  <a:cubicBezTo>
                    <a:pt x="1270940" y="1361892"/>
                    <a:pt x="1267521" y="1365435"/>
                    <a:pt x="1263870" y="1368980"/>
                  </a:cubicBezTo>
                  <a:cubicBezTo>
                    <a:pt x="1258351" y="1372929"/>
                    <a:pt x="1253850" y="1376026"/>
                    <a:pt x="1246686" y="1376026"/>
                  </a:cubicBezTo>
                  <a:cubicBezTo>
                    <a:pt x="1246686" y="1376956"/>
                    <a:pt x="1246686" y="1377886"/>
                    <a:pt x="1246686" y="1378844"/>
                  </a:cubicBezTo>
                  <a:cubicBezTo>
                    <a:pt x="1241676" y="1379009"/>
                    <a:pt x="1236665" y="1379109"/>
                    <a:pt x="1231651" y="1379196"/>
                  </a:cubicBezTo>
                  <a:cubicBezTo>
                    <a:pt x="1230240" y="1379244"/>
                    <a:pt x="1228828" y="1379291"/>
                    <a:pt x="1227373" y="1379340"/>
                  </a:cubicBezTo>
                  <a:cubicBezTo>
                    <a:pt x="1218287" y="1379460"/>
                    <a:pt x="1213363" y="1378568"/>
                    <a:pt x="1206071" y="1373207"/>
                  </a:cubicBezTo>
                  <a:cubicBezTo>
                    <a:pt x="1204751" y="1372742"/>
                    <a:pt x="1203430" y="1372277"/>
                    <a:pt x="1202069" y="1371798"/>
                  </a:cubicBezTo>
                  <a:cubicBezTo>
                    <a:pt x="1193777" y="1368730"/>
                    <a:pt x="1188124" y="1363294"/>
                    <a:pt x="1184104" y="1356176"/>
                  </a:cubicBezTo>
                  <a:cubicBezTo>
                    <a:pt x="1180965" y="1349259"/>
                    <a:pt x="1178852" y="1342590"/>
                    <a:pt x="1177270" y="1335247"/>
                  </a:cubicBezTo>
                  <a:cubicBezTo>
                    <a:pt x="1175525" y="1327352"/>
                    <a:pt x="1172911" y="1320677"/>
                    <a:pt x="1169002" y="1313464"/>
                  </a:cubicBezTo>
                  <a:cubicBezTo>
                    <a:pt x="1166989" y="1309737"/>
                    <a:pt x="1165215" y="1305976"/>
                    <a:pt x="1163504" y="1302130"/>
                  </a:cubicBezTo>
                  <a:cubicBezTo>
                    <a:pt x="1163013" y="1301027"/>
                    <a:pt x="1162521" y="1299924"/>
                    <a:pt x="1162015" y="1298788"/>
                  </a:cubicBezTo>
                  <a:cubicBezTo>
                    <a:pt x="1160770" y="1295700"/>
                    <a:pt x="1160770" y="1295700"/>
                    <a:pt x="1160111" y="1292656"/>
                  </a:cubicBezTo>
                  <a:cubicBezTo>
                    <a:pt x="1159345" y="1289507"/>
                    <a:pt x="1159345" y="1289507"/>
                    <a:pt x="1154522" y="1287245"/>
                  </a:cubicBezTo>
                  <a:cubicBezTo>
                    <a:pt x="1153465" y="1284902"/>
                    <a:pt x="1152426" y="1282552"/>
                    <a:pt x="1151398" y="1280199"/>
                  </a:cubicBezTo>
                  <a:cubicBezTo>
                    <a:pt x="1149056" y="1276983"/>
                    <a:pt x="1146686" y="1273874"/>
                    <a:pt x="1144173" y="1270774"/>
                  </a:cubicBezTo>
                  <a:cubicBezTo>
                    <a:pt x="1143477" y="1269912"/>
                    <a:pt x="1142782" y="1269049"/>
                    <a:pt x="1142065" y="1268160"/>
                  </a:cubicBezTo>
                  <a:cubicBezTo>
                    <a:pt x="1139981" y="1265589"/>
                    <a:pt x="1137880" y="1263029"/>
                    <a:pt x="1135776" y="1260470"/>
                  </a:cubicBezTo>
                  <a:cubicBezTo>
                    <a:pt x="1134647" y="1259076"/>
                    <a:pt x="1133517" y="1257683"/>
                    <a:pt x="1132353" y="1256247"/>
                  </a:cubicBezTo>
                  <a:cubicBezTo>
                    <a:pt x="1126291" y="1249045"/>
                    <a:pt x="1121408" y="1244606"/>
                    <a:pt x="1112344" y="1240741"/>
                  </a:cubicBezTo>
                  <a:cubicBezTo>
                    <a:pt x="1110285" y="1239698"/>
                    <a:pt x="1108234" y="1238642"/>
                    <a:pt x="1106193" y="1237570"/>
                  </a:cubicBezTo>
                  <a:cubicBezTo>
                    <a:pt x="1104615" y="1236756"/>
                    <a:pt x="1103036" y="1235942"/>
                    <a:pt x="1101409" y="1235104"/>
                  </a:cubicBezTo>
                  <a:cubicBezTo>
                    <a:pt x="1101409" y="1233708"/>
                    <a:pt x="1101409" y="1232313"/>
                    <a:pt x="1101409" y="1230876"/>
                  </a:cubicBezTo>
                  <a:cubicBezTo>
                    <a:pt x="1089553" y="1230876"/>
                    <a:pt x="1077697" y="1230876"/>
                    <a:pt x="1065480" y="1230876"/>
                  </a:cubicBezTo>
                  <a:cubicBezTo>
                    <a:pt x="1064965" y="1232271"/>
                    <a:pt x="1064450" y="1233666"/>
                    <a:pt x="1063919" y="1235104"/>
                  </a:cubicBezTo>
                  <a:cubicBezTo>
                    <a:pt x="1062372" y="1235104"/>
                    <a:pt x="1060826" y="1235104"/>
                    <a:pt x="1059232" y="1235104"/>
                  </a:cubicBezTo>
                  <a:cubicBezTo>
                    <a:pt x="1059232" y="1236033"/>
                    <a:pt x="1059232" y="1236964"/>
                    <a:pt x="1059232" y="1237922"/>
                  </a:cubicBezTo>
                  <a:cubicBezTo>
                    <a:pt x="1052964" y="1240850"/>
                    <a:pt x="1046842" y="1243613"/>
                    <a:pt x="1040194" y="1245761"/>
                  </a:cubicBezTo>
                  <a:cubicBezTo>
                    <a:pt x="1036552" y="1246941"/>
                    <a:pt x="1033682" y="1248088"/>
                    <a:pt x="1030333" y="1249901"/>
                  </a:cubicBezTo>
                  <a:cubicBezTo>
                    <a:pt x="1025129" y="1252717"/>
                    <a:pt x="1019615" y="1254371"/>
                    <a:pt x="1013931" y="1256242"/>
                  </a:cubicBezTo>
                  <a:cubicBezTo>
                    <a:pt x="1009870" y="1257688"/>
                    <a:pt x="1008221" y="1258277"/>
                    <a:pt x="1005925" y="1261615"/>
                  </a:cubicBezTo>
                  <a:cubicBezTo>
                    <a:pt x="1005474" y="1262632"/>
                    <a:pt x="1005023" y="1263649"/>
                    <a:pt x="1004558" y="1264697"/>
                  </a:cubicBezTo>
                  <a:cubicBezTo>
                    <a:pt x="1004030" y="1265774"/>
                    <a:pt x="1003503" y="1266852"/>
                    <a:pt x="1002959" y="1267961"/>
                  </a:cubicBezTo>
                  <a:cubicBezTo>
                    <a:pt x="1001408" y="1271808"/>
                    <a:pt x="1000922" y="1274896"/>
                    <a:pt x="1000653" y="1278965"/>
                  </a:cubicBezTo>
                  <a:cubicBezTo>
                    <a:pt x="1000303" y="1284158"/>
                    <a:pt x="999467" y="1289055"/>
                    <a:pt x="998297" y="1294137"/>
                  </a:cubicBezTo>
                  <a:cubicBezTo>
                    <a:pt x="996204" y="1304306"/>
                    <a:pt x="996129" y="1314460"/>
                    <a:pt x="996162" y="1324765"/>
                  </a:cubicBezTo>
                  <a:cubicBezTo>
                    <a:pt x="996163" y="1325782"/>
                    <a:pt x="996163" y="1326799"/>
                    <a:pt x="996164" y="1327846"/>
                  </a:cubicBezTo>
                  <a:cubicBezTo>
                    <a:pt x="996263" y="1353742"/>
                    <a:pt x="1001081" y="1378188"/>
                    <a:pt x="1007780" y="1403329"/>
                  </a:cubicBezTo>
                  <a:cubicBezTo>
                    <a:pt x="1008163" y="1404772"/>
                    <a:pt x="1008546" y="1406215"/>
                    <a:pt x="1008940" y="1407701"/>
                  </a:cubicBezTo>
                  <a:cubicBezTo>
                    <a:pt x="1009316" y="1409030"/>
                    <a:pt x="1009693" y="1410360"/>
                    <a:pt x="1010080" y="1411730"/>
                  </a:cubicBezTo>
                  <a:cubicBezTo>
                    <a:pt x="1010409" y="1412900"/>
                    <a:pt x="1010737" y="1414071"/>
                    <a:pt x="1011075" y="1415277"/>
                  </a:cubicBezTo>
                  <a:cubicBezTo>
                    <a:pt x="1012501" y="1418612"/>
                    <a:pt x="1014136" y="1420168"/>
                    <a:pt x="1017055" y="1422530"/>
                  </a:cubicBezTo>
                  <a:cubicBezTo>
                    <a:pt x="1018770" y="1425162"/>
                    <a:pt x="1018770" y="1425162"/>
                    <a:pt x="1020277" y="1427991"/>
                  </a:cubicBezTo>
                  <a:cubicBezTo>
                    <a:pt x="1020778" y="1428917"/>
                    <a:pt x="1021280" y="1429844"/>
                    <a:pt x="1021796" y="1430798"/>
                  </a:cubicBezTo>
                  <a:cubicBezTo>
                    <a:pt x="1023303" y="1433804"/>
                    <a:pt x="1023303" y="1433804"/>
                    <a:pt x="1024579" y="1437239"/>
                  </a:cubicBezTo>
                  <a:cubicBezTo>
                    <a:pt x="1026915" y="1441803"/>
                    <a:pt x="1030098" y="1444534"/>
                    <a:pt x="1034043" y="1448072"/>
                  </a:cubicBezTo>
                  <a:lnTo>
                    <a:pt x="1043782" y="1464320"/>
                  </a:lnTo>
                  <a:lnTo>
                    <a:pt x="1050458" y="1472189"/>
                  </a:lnTo>
                  <a:cubicBezTo>
                    <a:pt x="1051737" y="1475181"/>
                    <a:pt x="1052277" y="1478513"/>
                    <a:pt x="1052926" y="1482370"/>
                  </a:cubicBezTo>
                  <a:cubicBezTo>
                    <a:pt x="1053325" y="1487224"/>
                    <a:pt x="1053364" y="1492038"/>
                    <a:pt x="1053316" y="1496903"/>
                  </a:cubicBezTo>
                  <a:cubicBezTo>
                    <a:pt x="1053328" y="1498142"/>
                    <a:pt x="1053340" y="1499382"/>
                    <a:pt x="1053352" y="1500660"/>
                  </a:cubicBezTo>
                  <a:cubicBezTo>
                    <a:pt x="1053348" y="1501856"/>
                    <a:pt x="1053344" y="1503052"/>
                    <a:pt x="1053341" y="1504285"/>
                  </a:cubicBezTo>
                  <a:cubicBezTo>
                    <a:pt x="1053336" y="1505355"/>
                    <a:pt x="1053333" y="1506426"/>
                    <a:pt x="1053329" y="1507529"/>
                  </a:cubicBezTo>
                  <a:cubicBezTo>
                    <a:pt x="1052876" y="1510927"/>
                    <a:pt x="1051672" y="1513237"/>
                    <a:pt x="1049801" y="1516192"/>
                  </a:cubicBezTo>
                  <a:lnTo>
                    <a:pt x="1047312" y="1516192"/>
                  </a:lnTo>
                  <a:lnTo>
                    <a:pt x="1043611" y="1522585"/>
                  </a:lnTo>
                  <a:cubicBezTo>
                    <a:pt x="1035301" y="1529631"/>
                    <a:pt x="1035301" y="1529631"/>
                    <a:pt x="1029552" y="1529631"/>
                  </a:cubicBezTo>
                  <a:cubicBezTo>
                    <a:pt x="1029294" y="1530503"/>
                    <a:pt x="1029036" y="1531375"/>
                    <a:pt x="1028771" y="1532273"/>
                  </a:cubicBezTo>
                  <a:cubicBezTo>
                    <a:pt x="1025795" y="1536076"/>
                    <a:pt x="1022970" y="1536733"/>
                    <a:pt x="1018013" y="1537640"/>
                  </a:cubicBezTo>
                  <a:cubicBezTo>
                    <a:pt x="1005216" y="1539038"/>
                    <a:pt x="992573" y="1539816"/>
                    <a:pt x="981126" y="1533859"/>
                  </a:cubicBezTo>
                  <a:cubicBezTo>
                    <a:pt x="979840" y="1533226"/>
                    <a:pt x="978553" y="1532594"/>
                    <a:pt x="977227" y="1531943"/>
                  </a:cubicBezTo>
                  <a:cubicBezTo>
                    <a:pt x="965286" y="1525877"/>
                    <a:pt x="959626" y="1520520"/>
                    <a:pt x="955376" y="1508751"/>
                  </a:cubicBezTo>
                  <a:cubicBezTo>
                    <a:pt x="954571" y="1505674"/>
                    <a:pt x="954571" y="1505674"/>
                    <a:pt x="954571" y="1500037"/>
                  </a:cubicBezTo>
                  <a:cubicBezTo>
                    <a:pt x="953539" y="1500037"/>
                    <a:pt x="952508" y="1500037"/>
                    <a:pt x="951446" y="1500037"/>
                  </a:cubicBezTo>
                  <a:cubicBezTo>
                    <a:pt x="951361" y="1495986"/>
                    <a:pt x="951299" y="1491935"/>
                    <a:pt x="951251" y="1487883"/>
                  </a:cubicBezTo>
                  <a:cubicBezTo>
                    <a:pt x="951224" y="1486744"/>
                    <a:pt x="951198" y="1485605"/>
                    <a:pt x="951171" y="1484431"/>
                  </a:cubicBezTo>
                  <a:cubicBezTo>
                    <a:pt x="951110" y="1477657"/>
                    <a:pt x="952093" y="1472660"/>
                    <a:pt x="954571" y="1466216"/>
                  </a:cubicBezTo>
                  <a:cubicBezTo>
                    <a:pt x="954867" y="1462451"/>
                    <a:pt x="955016" y="1458876"/>
                    <a:pt x="954961" y="1455118"/>
                  </a:cubicBezTo>
                  <a:cubicBezTo>
                    <a:pt x="954951" y="1454080"/>
                    <a:pt x="954942" y="1453042"/>
                    <a:pt x="954932" y="1451972"/>
                  </a:cubicBezTo>
                  <a:cubicBezTo>
                    <a:pt x="954606" y="1435235"/>
                    <a:pt x="952568" y="1419050"/>
                    <a:pt x="945099" y="1403594"/>
                  </a:cubicBezTo>
                  <a:cubicBezTo>
                    <a:pt x="943714" y="1400177"/>
                    <a:pt x="943046" y="1397128"/>
                    <a:pt x="942366" y="1393553"/>
                  </a:cubicBezTo>
                  <a:cubicBezTo>
                    <a:pt x="940837" y="1386134"/>
                    <a:pt x="937840" y="1379609"/>
                    <a:pt x="934451" y="1372734"/>
                  </a:cubicBezTo>
                  <a:cubicBezTo>
                    <a:pt x="932701" y="1368980"/>
                    <a:pt x="932701" y="1368980"/>
                    <a:pt x="931974" y="1365754"/>
                  </a:cubicBezTo>
                  <a:cubicBezTo>
                    <a:pt x="931699" y="1364958"/>
                    <a:pt x="931422" y="1364162"/>
                    <a:pt x="931138" y="1363343"/>
                  </a:cubicBezTo>
                  <a:cubicBezTo>
                    <a:pt x="929592" y="1362878"/>
                    <a:pt x="928045" y="1362413"/>
                    <a:pt x="926452" y="1361933"/>
                  </a:cubicBezTo>
                  <a:cubicBezTo>
                    <a:pt x="921830" y="1355261"/>
                    <a:pt x="920323" y="1348382"/>
                    <a:pt x="918641" y="1340795"/>
                  </a:cubicBezTo>
                  <a:cubicBezTo>
                    <a:pt x="918133" y="1338914"/>
                    <a:pt x="917616" y="1337034"/>
                    <a:pt x="917079" y="1335158"/>
                  </a:cubicBezTo>
                  <a:cubicBezTo>
                    <a:pt x="916048" y="1335158"/>
                    <a:pt x="915018" y="1335158"/>
                    <a:pt x="913955" y="1335158"/>
                  </a:cubicBezTo>
                  <a:cubicBezTo>
                    <a:pt x="913329" y="1333718"/>
                    <a:pt x="912703" y="1332277"/>
                    <a:pt x="912057" y="1330793"/>
                  </a:cubicBezTo>
                  <a:cubicBezTo>
                    <a:pt x="909497" y="1325424"/>
                    <a:pt x="906114" y="1320822"/>
                    <a:pt x="902142" y="1316222"/>
                  </a:cubicBezTo>
                  <a:cubicBezTo>
                    <a:pt x="901465" y="1315432"/>
                    <a:pt x="900788" y="1314642"/>
                    <a:pt x="900091" y="1313828"/>
                  </a:cubicBezTo>
                  <a:cubicBezTo>
                    <a:pt x="893705" y="1306618"/>
                    <a:pt x="886350" y="1301049"/>
                    <a:pt x="878026" y="1295700"/>
                  </a:cubicBezTo>
                  <a:cubicBezTo>
                    <a:pt x="876595" y="1294594"/>
                    <a:pt x="876595" y="1294594"/>
                    <a:pt x="875134" y="1293465"/>
                  </a:cubicBezTo>
                  <a:lnTo>
                    <a:pt x="869869" y="1291826"/>
                  </a:lnTo>
                  <a:lnTo>
                    <a:pt x="862384" y="1291327"/>
                  </a:lnTo>
                  <a:cubicBezTo>
                    <a:pt x="856441" y="1290067"/>
                    <a:pt x="850461" y="1290346"/>
                    <a:pt x="844390" y="1290461"/>
                  </a:cubicBezTo>
                  <a:cubicBezTo>
                    <a:pt x="842453" y="1290480"/>
                    <a:pt x="842453" y="1290480"/>
                    <a:pt x="840476" y="1290500"/>
                  </a:cubicBezTo>
                  <a:cubicBezTo>
                    <a:pt x="837322" y="1290532"/>
                    <a:pt x="834169" y="1290583"/>
                    <a:pt x="831015" y="1290637"/>
                  </a:cubicBezTo>
                  <a:cubicBezTo>
                    <a:pt x="831015" y="1291568"/>
                    <a:pt x="831015" y="1292498"/>
                    <a:pt x="831015" y="1293456"/>
                  </a:cubicBezTo>
                  <a:cubicBezTo>
                    <a:pt x="826519" y="1294808"/>
                    <a:pt x="822922" y="1295235"/>
                    <a:pt x="818225" y="1295570"/>
                  </a:cubicBezTo>
                  <a:lnTo>
                    <a:pt x="796774" y="1297671"/>
                  </a:lnTo>
                  <a:lnTo>
                    <a:pt x="783646" y="1305736"/>
                  </a:lnTo>
                  <a:cubicBezTo>
                    <a:pt x="776915" y="1312506"/>
                    <a:pt x="772692" y="1318638"/>
                    <a:pt x="769263" y="1327143"/>
                  </a:cubicBezTo>
                  <a:cubicBezTo>
                    <a:pt x="767116" y="1332340"/>
                    <a:pt x="767116" y="1332340"/>
                    <a:pt x="764797" y="1334360"/>
                  </a:cubicBezTo>
                  <a:lnTo>
                    <a:pt x="757875" y="1353503"/>
                  </a:lnTo>
                  <a:lnTo>
                    <a:pt x="755676" y="1367455"/>
                  </a:lnTo>
                  <a:lnTo>
                    <a:pt x="750558" y="1399690"/>
                  </a:lnTo>
                  <a:lnTo>
                    <a:pt x="753057" y="1411256"/>
                  </a:lnTo>
                  <a:cubicBezTo>
                    <a:pt x="753057" y="1413117"/>
                    <a:pt x="753057" y="1414976"/>
                    <a:pt x="753057" y="1416893"/>
                  </a:cubicBezTo>
                  <a:cubicBezTo>
                    <a:pt x="754087" y="1416893"/>
                    <a:pt x="755119" y="1416893"/>
                    <a:pt x="756181" y="1416893"/>
                  </a:cubicBezTo>
                  <a:cubicBezTo>
                    <a:pt x="759348" y="1422607"/>
                    <a:pt x="758101" y="1429902"/>
                    <a:pt x="758133" y="1436182"/>
                  </a:cubicBezTo>
                  <a:cubicBezTo>
                    <a:pt x="758182" y="1438458"/>
                    <a:pt x="758182" y="1438458"/>
                    <a:pt x="758231" y="1440781"/>
                  </a:cubicBezTo>
                  <a:cubicBezTo>
                    <a:pt x="758283" y="1450271"/>
                    <a:pt x="758174" y="1458360"/>
                    <a:pt x="750713" y="1465704"/>
                  </a:cubicBezTo>
                  <a:cubicBezTo>
                    <a:pt x="749940" y="1466193"/>
                    <a:pt x="749167" y="1466681"/>
                    <a:pt x="748370" y="1467185"/>
                  </a:cubicBezTo>
                  <a:cubicBezTo>
                    <a:pt x="743665" y="1470047"/>
                    <a:pt x="743665" y="1470047"/>
                    <a:pt x="741633" y="1473526"/>
                  </a:cubicBezTo>
                  <a:cubicBezTo>
                    <a:pt x="737793" y="1477248"/>
                    <a:pt x="733582" y="1477483"/>
                    <a:pt x="728154" y="1478343"/>
                  </a:cubicBezTo>
                  <a:cubicBezTo>
                    <a:pt x="724855" y="1478778"/>
                    <a:pt x="724855" y="1478778"/>
                    <a:pt x="721814" y="1480308"/>
                  </a:cubicBezTo>
                  <a:cubicBezTo>
                    <a:pt x="717303" y="1480523"/>
                    <a:pt x="712854" y="1480634"/>
                    <a:pt x="708341" y="1480661"/>
                  </a:cubicBezTo>
                  <a:cubicBezTo>
                    <a:pt x="707118" y="1480690"/>
                    <a:pt x="705896" y="1480719"/>
                    <a:pt x="704637" y="1480748"/>
                  </a:cubicBezTo>
                  <a:cubicBezTo>
                    <a:pt x="690446" y="1480834"/>
                    <a:pt x="679632" y="1476246"/>
                    <a:pt x="668507" y="1468418"/>
                  </a:cubicBezTo>
                  <a:cubicBezTo>
                    <a:pt x="662823" y="1463224"/>
                    <a:pt x="661745" y="1456995"/>
                    <a:pt x="660178" y="1450027"/>
                  </a:cubicBezTo>
                  <a:cubicBezTo>
                    <a:pt x="659725" y="1446589"/>
                    <a:pt x="659725" y="1446589"/>
                    <a:pt x="657767" y="1445078"/>
                  </a:cubicBezTo>
                  <a:cubicBezTo>
                    <a:pt x="656859" y="1433686"/>
                    <a:pt x="655965" y="1419178"/>
                    <a:pt x="663369" y="1409390"/>
                  </a:cubicBezTo>
                  <a:cubicBezTo>
                    <a:pt x="666078" y="1406601"/>
                    <a:pt x="668921" y="1404013"/>
                    <a:pt x="671826" y="1401392"/>
                  </a:cubicBezTo>
                  <a:cubicBezTo>
                    <a:pt x="675197" y="1397623"/>
                    <a:pt x="677125" y="1394916"/>
                    <a:pt x="678075" y="1390118"/>
                  </a:cubicBezTo>
                  <a:cubicBezTo>
                    <a:pt x="680137" y="1389653"/>
                    <a:pt x="682199" y="1389188"/>
                    <a:pt x="684323" y="1388709"/>
                  </a:cubicBezTo>
                  <a:cubicBezTo>
                    <a:pt x="684643" y="1387232"/>
                    <a:pt x="684964" y="1385755"/>
                    <a:pt x="685293" y="1384233"/>
                  </a:cubicBezTo>
                  <a:cubicBezTo>
                    <a:pt x="685718" y="1382290"/>
                    <a:pt x="686144" y="1380347"/>
                    <a:pt x="686569" y="1378404"/>
                  </a:cubicBezTo>
                  <a:cubicBezTo>
                    <a:pt x="686885" y="1376945"/>
                    <a:pt x="686885" y="1376945"/>
                    <a:pt x="687207" y="1375456"/>
                  </a:cubicBezTo>
                  <a:cubicBezTo>
                    <a:pt x="688115" y="1371315"/>
                    <a:pt x="689090" y="1367353"/>
                    <a:pt x="690572" y="1363343"/>
                  </a:cubicBezTo>
                  <a:cubicBezTo>
                    <a:pt x="692411" y="1350128"/>
                    <a:pt x="692374" y="1336672"/>
                    <a:pt x="692495" y="1323376"/>
                  </a:cubicBezTo>
                  <a:cubicBezTo>
                    <a:pt x="692524" y="1320586"/>
                    <a:pt x="692574" y="1317796"/>
                    <a:pt x="692625" y="1315006"/>
                  </a:cubicBezTo>
                  <a:cubicBezTo>
                    <a:pt x="692853" y="1300589"/>
                    <a:pt x="692853" y="1300589"/>
                    <a:pt x="687447" y="1287245"/>
                  </a:cubicBezTo>
                  <a:cubicBezTo>
                    <a:pt x="685901" y="1286780"/>
                    <a:pt x="684354" y="1286315"/>
                    <a:pt x="682761" y="1285835"/>
                  </a:cubicBezTo>
                  <a:cubicBezTo>
                    <a:pt x="680876" y="1283743"/>
                    <a:pt x="680876" y="1283743"/>
                    <a:pt x="678954" y="1281608"/>
                  </a:cubicBezTo>
                  <a:cubicBezTo>
                    <a:pt x="674854" y="1277278"/>
                    <a:pt x="674356" y="1276958"/>
                    <a:pt x="668702" y="1275971"/>
                  </a:cubicBezTo>
                  <a:cubicBezTo>
                    <a:pt x="666619" y="1274092"/>
                    <a:pt x="664536" y="1272213"/>
                    <a:pt x="662454" y="1270334"/>
                  </a:cubicBezTo>
                  <a:cubicBezTo>
                    <a:pt x="658341" y="1268566"/>
                    <a:pt x="658341" y="1268566"/>
                    <a:pt x="654643" y="1267516"/>
                  </a:cubicBezTo>
                  <a:cubicBezTo>
                    <a:pt x="654643" y="1266585"/>
                    <a:pt x="654643" y="1265656"/>
                    <a:pt x="654643" y="1264697"/>
                  </a:cubicBezTo>
                  <a:cubicBezTo>
                    <a:pt x="653161" y="1264581"/>
                    <a:pt x="651679" y="1264465"/>
                    <a:pt x="650152" y="1264345"/>
                  </a:cubicBezTo>
                  <a:cubicBezTo>
                    <a:pt x="642318" y="1263373"/>
                    <a:pt x="635297" y="1260465"/>
                    <a:pt x="628087" y="1257651"/>
                  </a:cubicBezTo>
                  <a:cubicBezTo>
                    <a:pt x="628087" y="1256721"/>
                    <a:pt x="628087" y="1255791"/>
                    <a:pt x="628087" y="1254833"/>
                  </a:cubicBezTo>
                  <a:cubicBezTo>
                    <a:pt x="627108" y="1254662"/>
                    <a:pt x="626129" y="1254491"/>
                    <a:pt x="625121" y="1254315"/>
                  </a:cubicBezTo>
                  <a:cubicBezTo>
                    <a:pt x="623845" y="1254079"/>
                    <a:pt x="622568" y="1253843"/>
                    <a:pt x="621252" y="1253600"/>
                  </a:cubicBezTo>
                  <a:cubicBezTo>
                    <a:pt x="619984" y="1253371"/>
                    <a:pt x="618716" y="1253142"/>
                    <a:pt x="617409" y="1252906"/>
                  </a:cubicBezTo>
                  <a:cubicBezTo>
                    <a:pt x="614027" y="1252014"/>
                    <a:pt x="614027" y="1252014"/>
                    <a:pt x="610904" y="1249196"/>
                  </a:cubicBezTo>
                  <a:cubicBezTo>
                    <a:pt x="592259" y="1248653"/>
                    <a:pt x="578635" y="1260869"/>
                    <a:pt x="565739" y="1271742"/>
                  </a:cubicBezTo>
                  <a:cubicBezTo>
                    <a:pt x="558808" y="1277725"/>
                    <a:pt x="552763" y="1283983"/>
                    <a:pt x="546924" y="1290829"/>
                  </a:cubicBezTo>
                  <a:cubicBezTo>
                    <a:pt x="545838" y="1292087"/>
                    <a:pt x="544753" y="1293346"/>
                    <a:pt x="543635" y="1294643"/>
                  </a:cubicBezTo>
                  <a:cubicBezTo>
                    <a:pt x="542650" y="1295813"/>
                    <a:pt x="541666" y="1296983"/>
                    <a:pt x="540651" y="1298188"/>
                  </a:cubicBezTo>
                  <a:cubicBezTo>
                    <a:pt x="537294" y="1301526"/>
                    <a:pt x="533978" y="1303337"/>
                    <a:pt x="529673" y="1305565"/>
                  </a:cubicBezTo>
                  <a:cubicBezTo>
                    <a:pt x="527599" y="1308478"/>
                    <a:pt x="527599" y="1308478"/>
                    <a:pt x="526549" y="1311202"/>
                  </a:cubicBezTo>
                  <a:cubicBezTo>
                    <a:pt x="525518" y="1311202"/>
                    <a:pt x="524487" y="1311202"/>
                    <a:pt x="523425" y="1311202"/>
                  </a:cubicBezTo>
                  <a:cubicBezTo>
                    <a:pt x="523360" y="1311986"/>
                    <a:pt x="523296" y="1312771"/>
                    <a:pt x="523230" y="1313580"/>
                  </a:cubicBezTo>
                  <a:cubicBezTo>
                    <a:pt x="521863" y="1316839"/>
                    <a:pt x="521863" y="1316839"/>
                    <a:pt x="517732" y="1319739"/>
                  </a:cubicBezTo>
                  <a:cubicBezTo>
                    <a:pt x="511111" y="1324565"/>
                    <a:pt x="506875" y="1330731"/>
                    <a:pt x="502239" y="1337096"/>
                  </a:cubicBezTo>
                  <a:cubicBezTo>
                    <a:pt x="500512" y="1339427"/>
                    <a:pt x="498785" y="1341757"/>
                    <a:pt x="497058" y="1344087"/>
                  </a:cubicBezTo>
                  <a:cubicBezTo>
                    <a:pt x="495827" y="1345760"/>
                    <a:pt x="495827" y="1345760"/>
                    <a:pt x="494572" y="1347465"/>
                  </a:cubicBezTo>
                  <a:cubicBezTo>
                    <a:pt x="492366" y="1350414"/>
                    <a:pt x="490094" y="1353304"/>
                    <a:pt x="487776" y="1356181"/>
                  </a:cubicBezTo>
                  <a:cubicBezTo>
                    <a:pt x="484805" y="1359972"/>
                    <a:pt x="482865" y="1363193"/>
                    <a:pt x="481248" y="1367571"/>
                  </a:cubicBezTo>
                  <a:cubicBezTo>
                    <a:pt x="480216" y="1367571"/>
                    <a:pt x="479186" y="1367571"/>
                    <a:pt x="478123" y="1367571"/>
                  </a:cubicBezTo>
                  <a:cubicBezTo>
                    <a:pt x="477963" y="1368558"/>
                    <a:pt x="477801" y="1369547"/>
                    <a:pt x="477635" y="1370565"/>
                  </a:cubicBezTo>
                  <a:cubicBezTo>
                    <a:pt x="475602" y="1378236"/>
                    <a:pt x="471952" y="1383371"/>
                    <a:pt x="465626" y="1388709"/>
                  </a:cubicBezTo>
                  <a:cubicBezTo>
                    <a:pt x="462272" y="1392748"/>
                    <a:pt x="462272" y="1392748"/>
                    <a:pt x="461233" y="1397340"/>
                  </a:cubicBezTo>
                  <a:cubicBezTo>
                    <a:pt x="460030" y="1401461"/>
                    <a:pt x="458298" y="1404501"/>
                    <a:pt x="455765" y="1408086"/>
                  </a:cubicBezTo>
                  <a:cubicBezTo>
                    <a:pt x="442829" y="1428603"/>
                    <a:pt x="441572" y="1454548"/>
                    <a:pt x="439070" y="1477490"/>
                  </a:cubicBezTo>
                  <a:cubicBezTo>
                    <a:pt x="437524" y="1477955"/>
                    <a:pt x="435977" y="1478420"/>
                    <a:pt x="434384" y="1478899"/>
                  </a:cubicBezTo>
                  <a:cubicBezTo>
                    <a:pt x="433739" y="1479916"/>
                    <a:pt x="433095" y="1480933"/>
                    <a:pt x="432431" y="1481982"/>
                  </a:cubicBezTo>
                  <a:cubicBezTo>
                    <a:pt x="428860" y="1487159"/>
                    <a:pt x="424291" y="1490903"/>
                    <a:pt x="418763" y="1494401"/>
                  </a:cubicBezTo>
                  <a:cubicBezTo>
                    <a:pt x="417731" y="1494401"/>
                    <a:pt x="416701" y="1494401"/>
                    <a:pt x="415639" y="1494401"/>
                  </a:cubicBezTo>
                  <a:cubicBezTo>
                    <a:pt x="415639" y="1495330"/>
                    <a:pt x="415639" y="1496260"/>
                    <a:pt x="415639" y="1497219"/>
                  </a:cubicBezTo>
                  <a:cubicBezTo>
                    <a:pt x="412546" y="1497684"/>
                    <a:pt x="409453" y="1498149"/>
                    <a:pt x="406265" y="1498628"/>
                  </a:cubicBezTo>
                  <a:cubicBezTo>
                    <a:pt x="406265" y="1499559"/>
                    <a:pt x="406265" y="1500488"/>
                    <a:pt x="406265" y="1501447"/>
                  </a:cubicBezTo>
                  <a:cubicBezTo>
                    <a:pt x="395955" y="1501447"/>
                    <a:pt x="385645" y="1501447"/>
                    <a:pt x="375023" y="1501447"/>
                  </a:cubicBezTo>
                  <a:lnTo>
                    <a:pt x="375023" y="1499438"/>
                  </a:lnTo>
                  <a:lnTo>
                    <a:pt x="374964" y="1499436"/>
                  </a:lnTo>
                  <a:lnTo>
                    <a:pt x="373179" y="1498628"/>
                  </a:lnTo>
                  <a:lnTo>
                    <a:pt x="365650" y="1498628"/>
                  </a:lnTo>
                  <a:lnTo>
                    <a:pt x="363134" y="1494087"/>
                  </a:lnTo>
                  <a:lnTo>
                    <a:pt x="362171" y="1493651"/>
                  </a:lnTo>
                  <a:cubicBezTo>
                    <a:pt x="361656" y="1492722"/>
                    <a:pt x="361140" y="1491791"/>
                    <a:pt x="360609" y="1490833"/>
                  </a:cubicBezTo>
                  <a:cubicBezTo>
                    <a:pt x="361640" y="1490833"/>
                    <a:pt x="362671" y="1490833"/>
                    <a:pt x="363733" y="1490833"/>
                  </a:cubicBezTo>
                  <a:lnTo>
                    <a:pt x="363733" y="1489980"/>
                  </a:lnTo>
                  <a:lnTo>
                    <a:pt x="348467" y="1481717"/>
                  </a:lnTo>
                  <a:lnTo>
                    <a:pt x="343872" y="1461078"/>
                  </a:lnTo>
                  <a:lnTo>
                    <a:pt x="343656" y="1463649"/>
                  </a:lnTo>
                  <a:cubicBezTo>
                    <a:pt x="343541" y="1465230"/>
                    <a:pt x="343541" y="1465230"/>
                    <a:pt x="343424" y="1466842"/>
                  </a:cubicBezTo>
                  <a:cubicBezTo>
                    <a:pt x="342908" y="1466842"/>
                    <a:pt x="342393" y="1466842"/>
                    <a:pt x="341861" y="1466842"/>
                  </a:cubicBezTo>
                  <a:cubicBezTo>
                    <a:pt x="340987" y="1449564"/>
                    <a:pt x="340999" y="1434331"/>
                    <a:pt x="354143" y="1420549"/>
                  </a:cubicBezTo>
                  <a:cubicBezTo>
                    <a:pt x="360765" y="1414011"/>
                    <a:pt x="367631" y="1407790"/>
                    <a:pt x="376229" y="1403427"/>
                  </a:cubicBezTo>
                  <a:lnTo>
                    <a:pt x="379491" y="1404408"/>
                  </a:lnTo>
                  <a:lnTo>
                    <a:pt x="379710" y="1404210"/>
                  </a:lnTo>
                  <a:cubicBezTo>
                    <a:pt x="380290" y="1402902"/>
                    <a:pt x="380290" y="1402902"/>
                    <a:pt x="380882" y="1401568"/>
                  </a:cubicBezTo>
                  <a:cubicBezTo>
                    <a:pt x="383675" y="1397284"/>
                    <a:pt x="387587" y="1395610"/>
                    <a:pt x="392207" y="1392936"/>
                  </a:cubicBezTo>
                  <a:lnTo>
                    <a:pt x="399542" y="1386774"/>
                  </a:lnTo>
                  <a:lnTo>
                    <a:pt x="405485" y="1378917"/>
                  </a:lnTo>
                  <a:cubicBezTo>
                    <a:pt x="408065" y="1375974"/>
                    <a:pt x="410029" y="1372774"/>
                    <a:pt x="412008" y="1369481"/>
                  </a:cubicBezTo>
                  <a:cubicBezTo>
                    <a:pt x="414759" y="1365166"/>
                    <a:pt x="417963" y="1361131"/>
                    <a:pt x="421130" y="1357057"/>
                  </a:cubicBezTo>
                  <a:cubicBezTo>
                    <a:pt x="423073" y="1354140"/>
                    <a:pt x="423985" y="1351767"/>
                    <a:pt x="424676" y="1348443"/>
                  </a:cubicBezTo>
                  <a:lnTo>
                    <a:pt x="427275" y="1348443"/>
                  </a:lnTo>
                  <a:lnTo>
                    <a:pt x="428135" y="1345727"/>
                  </a:lnTo>
                  <a:cubicBezTo>
                    <a:pt x="429370" y="1341828"/>
                    <a:pt x="430645" y="1338666"/>
                    <a:pt x="432822" y="1335158"/>
                  </a:cubicBezTo>
                  <a:cubicBezTo>
                    <a:pt x="433853" y="1335158"/>
                    <a:pt x="434884" y="1335158"/>
                    <a:pt x="435946" y="1335158"/>
                  </a:cubicBezTo>
                  <a:cubicBezTo>
                    <a:pt x="436526" y="1333385"/>
                    <a:pt x="437106" y="1331613"/>
                    <a:pt x="437704" y="1329786"/>
                  </a:cubicBezTo>
                  <a:cubicBezTo>
                    <a:pt x="440162" y="1323132"/>
                    <a:pt x="443602" y="1317301"/>
                    <a:pt x="447394" y="1311196"/>
                  </a:cubicBezTo>
                  <a:cubicBezTo>
                    <a:pt x="456493" y="1296485"/>
                    <a:pt x="463325" y="1281864"/>
                    <a:pt x="469287" y="1265964"/>
                  </a:cubicBezTo>
                  <a:cubicBezTo>
                    <a:pt x="474589" y="1252134"/>
                    <a:pt x="474589" y="1252134"/>
                    <a:pt x="478178" y="1246787"/>
                  </a:cubicBezTo>
                  <a:cubicBezTo>
                    <a:pt x="481232" y="1240246"/>
                    <a:pt x="480204" y="1232766"/>
                    <a:pt x="480179" y="1225768"/>
                  </a:cubicBezTo>
                  <a:cubicBezTo>
                    <a:pt x="480174" y="1222894"/>
                    <a:pt x="480210" y="1220023"/>
                    <a:pt x="480250" y="1217149"/>
                  </a:cubicBezTo>
                  <a:cubicBezTo>
                    <a:pt x="480260" y="1199291"/>
                    <a:pt x="476718" y="1187768"/>
                    <a:pt x="462972" y="1174827"/>
                  </a:cubicBezTo>
                  <a:cubicBezTo>
                    <a:pt x="461148" y="1173192"/>
                    <a:pt x="459312" y="1171566"/>
                    <a:pt x="457468" y="1169949"/>
                  </a:cubicBezTo>
                  <a:cubicBezTo>
                    <a:pt x="451412" y="1164522"/>
                    <a:pt x="445876" y="1158660"/>
                    <a:pt x="440657" y="1152570"/>
                  </a:cubicBezTo>
                  <a:cubicBezTo>
                    <a:pt x="430474" y="1140786"/>
                    <a:pt x="418230" y="1128998"/>
                    <a:pt x="403142" y="1122366"/>
                  </a:cubicBezTo>
                  <a:cubicBezTo>
                    <a:pt x="402626" y="1121436"/>
                    <a:pt x="402110" y="1120506"/>
                    <a:pt x="401579" y="1119547"/>
                  </a:cubicBezTo>
                  <a:cubicBezTo>
                    <a:pt x="390472" y="1115326"/>
                    <a:pt x="375918" y="1114217"/>
                    <a:pt x="364564" y="1118209"/>
                  </a:cubicBezTo>
                  <a:cubicBezTo>
                    <a:pt x="362278" y="1119428"/>
                    <a:pt x="360026" y="1120704"/>
                    <a:pt x="357822" y="1122041"/>
                  </a:cubicBezTo>
                  <a:cubicBezTo>
                    <a:pt x="354521" y="1123884"/>
                    <a:pt x="351862" y="1124582"/>
                    <a:pt x="348077" y="1125273"/>
                  </a:cubicBezTo>
                  <a:cubicBezTo>
                    <a:pt x="341765" y="1126696"/>
                    <a:pt x="339382" y="1128619"/>
                    <a:pt x="334408" y="1132230"/>
                  </a:cubicBezTo>
                  <a:cubicBezTo>
                    <a:pt x="332284" y="1132909"/>
                    <a:pt x="330131" y="1133519"/>
                    <a:pt x="327964" y="1134080"/>
                  </a:cubicBezTo>
                  <a:cubicBezTo>
                    <a:pt x="309975" y="1139067"/>
                    <a:pt x="290592" y="1152117"/>
                    <a:pt x="279734" y="1166051"/>
                  </a:cubicBezTo>
                  <a:cubicBezTo>
                    <a:pt x="277929" y="1169534"/>
                    <a:pt x="277929" y="1169534"/>
                    <a:pt x="276609" y="1173098"/>
                  </a:cubicBezTo>
                  <a:cubicBezTo>
                    <a:pt x="272413" y="1180804"/>
                    <a:pt x="269322" y="1184144"/>
                    <a:pt x="260988" y="1188599"/>
                  </a:cubicBezTo>
                  <a:cubicBezTo>
                    <a:pt x="259988" y="1189435"/>
                    <a:pt x="258987" y="1190271"/>
                    <a:pt x="257956" y="1191132"/>
                  </a:cubicBezTo>
                  <a:lnTo>
                    <a:pt x="243805" y="1196629"/>
                  </a:lnTo>
                  <a:lnTo>
                    <a:pt x="243805" y="1194236"/>
                  </a:lnTo>
                  <a:lnTo>
                    <a:pt x="240288" y="1194765"/>
                  </a:lnTo>
                  <a:lnTo>
                    <a:pt x="243374" y="1194765"/>
                  </a:lnTo>
                  <a:lnTo>
                    <a:pt x="243374" y="1196797"/>
                  </a:lnTo>
                  <a:lnTo>
                    <a:pt x="243805" y="1196629"/>
                  </a:lnTo>
                  <a:lnTo>
                    <a:pt x="243805" y="1197055"/>
                  </a:lnTo>
                  <a:lnTo>
                    <a:pt x="243374" y="1197055"/>
                  </a:lnTo>
                  <a:lnTo>
                    <a:pt x="243374" y="1197584"/>
                  </a:lnTo>
                  <a:lnTo>
                    <a:pt x="241319" y="1197595"/>
                  </a:lnTo>
                  <a:lnTo>
                    <a:pt x="238009" y="1198881"/>
                  </a:lnTo>
                  <a:cubicBezTo>
                    <a:pt x="231012" y="1199584"/>
                    <a:pt x="223620" y="1198927"/>
                    <a:pt x="215687" y="1198464"/>
                  </a:cubicBezTo>
                  <a:lnTo>
                    <a:pt x="215687" y="1197734"/>
                  </a:lnTo>
                  <a:lnTo>
                    <a:pt x="213936" y="1197744"/>
                  </a:lnTo>
                  <a:cubicBezTo>
                    <a:pt x="210570" y="1197584"/>
                    <a:pt x="210570" y="1197584"/>
                    <a:pt x="207446" y="1196175"/>
                  </a:cubicBezTo>
                  <a:lnTo>
                    <a:pt x="207822" y="1195610"/>
                  </a:lnTo>
                  <a:lnTo>
                    <a:pt x="184737" y="1180936"/>
                  </a:lnTo>
                  <a:cubicBezTo>
                    <a:pt x="180258" y="1172216"/>
                    <a:pt x="179226" y="1164355"/>
                    <a:pt x="179270" y="1154866"/>
                  </a:cubicBezTo>
                  <a:cubicBezTo>
                    <a:pt x="179233" y="1153260"/>
                    <a:pt x="179233" y="1153260"/>
                    <a:pt x="179194" y="1151621"/>
                  </a:cubicBezTo>
                  <a:cubicBezTo>
                    <a:pt x="179182" y="1139523"/>
                    <a:pt x="183658" y="1128837"/>
                    <a:pt x="193195" y="1120065"/>
                  </a:cubicBezTo>
                  <a:cubicBezTo>
                    <a:pt x="204265" y="1110959"/>
                    <a:pt x="215062" y="1110626"/>
                    <a:pt x="229551" y="1110299"/>
                  </a:cubicBezTo>
                  <a:cubicBezTo>
                    <a:pt x="240132" y="1110024"/>
                    <a:pt x="250506" y="1109652"/>
                    <a:pt x="260988" y="1108274"/>
                  </a:cubicBezTo>
                  <a:cubicBezTo>
                    <a:pt x="260988" y="1107344"/>
                    <a:pt x="260988" y="1106413"/>
                    <a:pt x="260988" y="1105455"/>
                  </a:cubicBezTo>
                  <a:cubicBezTo>
                    <a:pt x="261953" y="1105078"/>
                    <a:pt x="262918" y="1104699"/>
                    <a:pt x="263911" y="1104310"/>
                  </a:cubicBezTo>
                  <a:cubicBezTo>
                    <a:pt x="272903" y="1100557"/>
                    <a:pt x="279802" y="1096307"/>
                    <a:pt x="286995" y="1090185"/>
                  </a:cubicBezTo>
                  <a:cubicBezTo>
                    <a:pt x="290956" y="1086897"/>
                    <a:pt x="295114" y="1083955"/>
                    <a:pt x="299358" y="1080970"/>
                  </a:cubicBezTo>
                  <a:cubicBezTo>
                    <a:pt x="306613" y="1075692"/>
                    <a:pt x="312234" y="1070023"/>
                    <a:pt x="317762" y="1063272"/>
                  </a:cubicBezTo>
                  <a:cubicBezTo>
                    <a:pt x="320349" y="1060360"/>
                    <a:pt x="320349" y="1060360"/>
                    <a:pt x="325035" y="1057542"/>
                  </a:cubicBezTo>
                  <a:cubicBezTo>
                    <a:pt x="329912" y="1045734"/>
                    <a:pt x="327928" y="1035103"/>
                    <a:pt x="325328" y="1023104"/>
                  </a:cubicBezTo>
                  <a:cubicBezTo>
                    <a:pt x="325069" y="1021831"/>
                    <a:pt x="324811" y="1020559"/>
                    <a:pt x="324544" y="1019247"/>
                  </a:cubicBezTo>
                  <a:cubicBezTo>
                    <a:pt x="322876" y="1011407"/>
                    <a:pt x="320562" y="1004340"/>
                    <a:pt x="317225" y="996945"/>
                  </a:cubicBezTo>
                  <a:cubicBezTo>
                    <a:pt x="316619" y="995541"/>
                    <a:pt x="316013" y="994137"/>
                    <a:pt x="315388" y="992690"/>
                  </a:cubicBezTo>
                  <a:cubicBezTo>
                    <a:pt x="306307" y="972561"/>
                    <a:pt x="298931" y="959343"/>
                    <a:pt x="276232" y="950666"/>
                  </a:cubicBezTo>
                  <a:cubicBezTo>
                    <a:pt x="274810" y="950127"/>
                    <a:pt x="273388" y="949587"/>
                    <a:pt x="271923" y="949031"/>
                  </a:cubicBezTo>
                  <a:cubicBezTo>
                    <a:pt x="270129" y="948244"/>
                    <a:pt x="270129" y="948244"/>
                    <a:pt x="268299" y="947441"/>
                  </a:cubicBezTo>
                  <a:cubicBezTo>
                    <a:pt x="247071" y="938140"/>
                    <a:pt x="222259" y="939051"/>
                    <a:pt x="199187" y="938991"/>
                  </a:cubicBezTo>
                  <a:cubicBezTo>
                    <a:pt x="197383" y="938984"/>
                    <a:pt x="195579" y="938978"/>
                    <a:pt x="193719" y="938971"/>
                  </a:cubicBezTo>
                  <a:cubicBezTo>
                    <a:pt x="192010" y="938974"/>
                    <a:pt x="190300" y="938977"/>
                    <a:pt x="188539" y="938980"/>
                  </a:cubicBezTo>
                  <a:cubicBezTo>
                    <a:pt x="187000" y="938981"/>
                    <a:pt x="185460" y="938983"/>
                    <a:pt x="183874" y="938985"/>
                  </a:cubicBezTo>
                  <a:cubicBezTo>
                    <a:pt x="180148" y="939150"/>
                    <a:pt x="177092" y="939720"/>
                    <a:pt x="173509" y="940576"/>
                  </a:cubicBezTo>
                  <a:cubicBezTo>
                    <a:pt x="169458" y="940674"/>
                    <a:pt x="165452" y="940710"/>
                    <a:pt x="161403" y="940664"/>
                  </a:cubicBezTo>
                  <a:cubicBezTo>
                    <a:pt x="160314" y="940658"/>
                    <a:pt x="159224" y="940651"/>
                    <a:pt x="158102" y="940645"/>
                  </a:cubicBezTo>
                  <a:lnTo>
                    <a:pt x="150875" y="940583"/>
                  </a:lnTo>
                  <a:lnTo>
                    <a:pt x="148425" y="940717"/>
                  </a:lnTo>
                  <a:lnTo>
                    <a:pt x="149617" y="940995"/>
                  </a:lnTo>
                  <a:cubicBezTo>
                    <a:pt x="149617" y="941459"/>
                    <a:pt x="149617" y="941924"/>
                    <a:pt x="149617" y="942404"/>
                  </a:cubicBezTo>
                  <a:cubicBezTo>
                    <a:pt x="148630" y="942558"/>
                    <a:pt x="147643" y="942712"/>
                    <a:pt x="146627" y="942871"/>
                  </a:cubicBezTo>
                  <a:cubicBezTo>
                    <a:pt x="134541" y="944804"/>
                    <a:pt x="122553" y="947081"/>
                    <a:pt x="110564" y="949449"/>
                  </a:cubicBezTo>
                  <a:lnTo>
                    <a:pt x="111283" y="946205"/>
                  </a:lnTo>
                  <a:lnTo>
                    <a:pt x="101652" y="956078"/>
                  </a:lnTo>
                  <a:cubicBezTo>
                    <a:pt x="99870" y="957260"/>
                    <a:pt x="99870" y="957260"/>
                    <a:pt x="98052" y="958467"/>
                  </a:cubicBezTo>
                  <a:cubicBezTo>
                    <a:pt x="75683" y="972989"/>
                    <a:pt x="75683" y="972989"/>
                    <a:pt x="67286" y="972989"/>
                  </a:cubicBezTo>
                  <a:cubicBezTo>
                    <a:pt x="67286" y="973918"/>
                    <a:pt x="67286" y="974848"/>
                    <a:pt x="67286" y="975807"/>
                  </a:cubicBezTo>
                  <a:cubicBezTo>
                    <a:pt x="55713" y="979519"/>
                    <a:pt x="43549" y="980689"/>
                    <a:pt x="31942" y="976423"/>
                  </a:cubicBezTo>
                  <a:cubicBezTo>
                    <a:pt x="19953" y="970870"/>
                    <a:pt x="10774" y="964932"/>
                    <a:pt x="5673" y="953419"/>
                  </a:cubicBezTo>
                  <a:cubicBezTo>
                    <a:pt x="4801" y="950441"/>
                    <a:pt x="4801" y="950441"/>
                    <a:pt x="4801" y="944804"/>
                  </a:cubicBezTo>
                  <a:cubicBezTo>
                    <a:pt x="3770" y="944804"/>
                    <a:pt x="2739" y="944804"/>
                    <a:pt x="1676" y="944804"/>
                  </a:cubicBezTo>
                  <a:cubicBezTo>
                    <a:pt x="-34" y="940174"/>
                    <a:pt x="-41" y="936720"/>
                    <a:pt x="17" y="931857"/>
                  </a:cubicBezTo>
                  <a:cubicBezTo>
                    <a:pt x="31" y="930325"/>
                    <a:pt x="45" y="928794"/>
                    <a:pt x="59" y="927216"/>
                  </a:cubicBezTo>
                  <a:cubicBezTo>
                    <a:pt x="78" y="926044"/>
                    <a:pt x="96" y="924873"/>
                    <a:pt x="115" y="923666"/>
                  </a:cubicBezTo>
                  <a:cubicBezTo>
                    <a:pt x="1145" y="923666"/>
                    <a:pt x="2176" y="923666"/>
                    <a:pt x="3238" y="923666"/>
                  </a:cubicBezTo>
                  <a:cubicBezTo>
                    <a:pt x="3238" y="921805"/>
                    <a:pt x="3238" y="919945"/>
                    <a:pt x="3238" y="918029"/>
                  </a:cubicBezTo>
                  <a:cubicBezTo>
                    <a:pt x="4270" y="918029"/>
                    <a:pt x="5300" y="918029"/>
                    <a:pt x="6363" y="918029"/>
                  </a:cubicBezTo>
                  <a:cubicBezTo>
                    <a:pt x="6459" y="916314"/>
                    <a:pt x="6556" y="914599"/>
                    <a:pt x="6656" y="912832"/>
                  </a:cubicBezTo>
                  <a:cubicBezTo>
                    <a:pt x="7542" y="906455"/>
                    <a:pt x="10104" y="903750"/>
                    <a:pt x="15736" y="899709"/>
                  </a:cubicBezTo>
                  <a:lnTo>
                    <a:pt x="17243" y="898894"/>
                  </a:lnTo>
                  <a:lnTo>
                    <a:pt x="16800" y="898694"/>
                  </a:lnTo>
                  <a:lnTo>
                    <a:pt x="24988" y="894101"/>
                  </a:lnTo>
                  <a:lnTo>
                    <a:pt x="26768" y="892399"/>
                  </a:lnTo>
                  <a:cubicBezTo>
                    <a:pt x="28282" y="891122"/>
                    <a:pt x="29038" y="890483"/>
                    <a:pt x="30198" y="890164"/>
                  </a:cubicBezTo>
                  <a:lnTo>
                    <a:pt x="32204" y="890054"/>
                  </a:lnTo>
                  <a:lnTo>
                    <a:pt x="38914" y="886291"/>
                  </a:lnTo>
                  <a:cubicBezTo>
                    <a:pt x="47169" y="885770"/>
                    <a:pt x="55396" y="885800"/>
                    <a:pt x="63664" y="886011"/>
                  </a:cubicBezTo>
                  <a:lnTo>
                    <a:pt x="63664" y="886531"/>
                  </a:lnTo>
                  <a:lnTo>
                    <a:pt x="70784" y="886647"/>
                  </a:lnTo>
                  <a:cubicBezTo>
                    <a:pt x="74787" y="887000"/>
                    <a:pt x="77233" y="887948"/>
                    <a:pt x="82126" y="889845"/>
                  </a:cubicBezTo>
                  <a:cubicBezTo>
                    <a:pt x="92427" y="893791"/>
                    <a:pt x="103139" y="893710"/>
                    <a:pt x="114149" y="892663"/>
                  </a:cubicBezTo>
                  <a:cubicBezTo>
                    <a:pt x="115696" y="891733"/>
                    <a:pt x="117242" y="890803"/>
                    <a:pt x="118836" y="889845"/>
                  </a:cubicBezTo>
                  <a:cubicBezTo>
                    <a:pt x="123097" y="888850"/>
                    <a:pt x="127325" y="887944"/>
                    <a:pt x="131626" y="887114"/>
                  </a:cubicBezTo>
                  <a:cubicBezTo>
                    <a:pt x="139750" y="885542"/>
                    <a:pt x="147376" y="883653"/>
                    <a:pt x="155116" y="880913"/>
                  </a:cubicBezTo>
                  <a:cubicBezTo>
                    <a:pt x="158498" y="879775"/>
                    <a:pt x="161861" y="879076"/>
                    <a:pt x="165406" y="878483"/>
                  </a:cubicBezTo>
                  <a:cubicBezTo>
                    <a:pt x="170342" y="877655"/>
                    <a:pt x="172265" y="876971"/>
                    <a:pt x="176634" y="874343"/>
                  </a:cubicBezTo>
                  <a:cubicBezTo>
                    <a:pt x="179863" y="873335"/>
                    <a:pt x="183123" y="872404"/>
                    <a:pt x="186397" y="871524"/>
                  </a:cubicBezTo>
                  <a:cubicBezTo>
                    <a:pt x="189107" y="870786"/>
                    <a:pt x="189107" y="870786"/>
                    <a:pt x="191871" y="870033"/>
                  </a:cubicBezTo>
                  <a:cubicBezTo>
                    <a:pt x="195731" y="869023"/>
                    <a:pt x="199587" y="868093"/>
                    <a:pt x="203483" y="867208"/>
                  </a:cubicBezTo>
                  <a:cubicBezTo>
                    <a:pt x="208339" y="866199"/>
                    <a:pt x="208339" y="866199"/>
                    <a:pt x="211001" y="861660"/>
                  </a:cubicBezTo>
                  <a:cubicBezTo>
                    <a:pt x="214174" y="860102"/>
                    <a:pt x="214174" y="860102"/>
                    <a:pt x="218031" y="858577"/>
                  </a:cubicBezTo>
                  <a:cubicBezTo>
                    <a:pt x="236068" y="850629"/>
                    <a:pt x="245199" y="840442"/>
                    <a:pt x="254740" y="825020"/>
                  </a:cubicBezTo>
                  <a:cubicBezTo>
                    <a:pt x="255771" y="823625"/>
                    <a:pt x="256802" y="822230"/>
                    <a:pt x="257864" y="820792"/>
                  </a:cubicBezTo>
                  <a:cubicBezTo>
                    <a:pt x="258359" y="817506"/>
                    <a:pt x="258359" y="817506"/>
                    <a:pt x="258318" y="813810"/>
                  </a:cubicBezTo>
                  <a:cubicBezTo>
                    <a:pt x="258338" y="812388"/>
                    <a:pt x="258358" y="810967"/>
                    <a:pt x="258378" y="809502"/>
                  </a:cubicBezTo>
                  <a:cubicBezTo>
                    <a:pt x="258382" y="807965"/>
                    <a:pt x="258385" y="806429"/>
                    <a:pt x="258389" y="804845"/>
                  </a:cubicBezTo>
                  <a:cubicBezTo>
                    <a:pt x="258399" y="803258"/>
                    <a:pt x="258410" y="801671"/>
                    <a:pt x="258420" y="800036"/>
                  </a:cubicBezTo>
                  <a:cubicBezTo>
                    <a:pt x="258436" y="796670"/>
                    <a:pt x="258443" y="793305"/>
                    <a:pt x="258443" y="789939"/>
                  </a:cubicBezTo>
                  <a:cubicBezTo>
                    <a:pt x="258450" y="784823"/>
                    <a:pt x="258506" y="779709"/>
                    <a:pt x="258566" y="774594"/>
                  </a:cubicBezTo>
                  <a:cubicBezTo>
                    <a:pt x="258575" y="771319"/>
                    <a:pt x="258581" y="768045"/>
                    <a:pt x="258584" y="764771"/>
                  </a:cubicBezTo>
                  <a:cubicBezTo>
                    <a:pt x="258618" y="762495"/>
                    <a:pt x="258618" y="762495"/>
                    <a:pt x="258652" y="760174"/>
                  </a:cubicBezTo>
                  <a:cubicBezTo>
                    <a:pt x="258586" y="750030"/>
                    <a:pt x="256266" y="742584"/>
                    <a:pt x="251616" y="733421"/>
                  </a:cubicBezTo>
                  <a:cubicBezTo>
                    <a:pt x="250163" y="729605"/>
                    <a:pt x="248880" y="725752"/>
                    <a:pt x="247613" y="721883"/>
                  </a:cubicBezTo>
                  <a:cubicBezTo>
                    <a:pt x="245789" y="716328"/>
                    <a:pt x="243913" y="710939"/>
                    <a:pt x="241291" y="705644"/>
                  </a:cubicBezTo>
                  <a:cubicBezTo>
                    <a:pt x="238691" y="700096"/>
                    <a:pt x="238136" y="695685"/>
                    <a:pt x="237557" y="689735"/>
                  </a:cubicBezTo>
                  <a:cubicBezTo>
                    <a:pt x="244977" y="685507"/>
                    <a:pt x="244977" y="685507"/>
                    <a:pt x="248492" y="685507"/>
                  </a:cubicBezTo>
                  <a:cubicBezTo>
                    <a:pt x="248492" y="684112"/>
                    <a:pt x="248492" y="682717"/>
                    <a:pt x="248492" y="681279"/>
                  </a:cubicBezTo>
                  <a:cubicBezTo>
                    <a:pt x="245914" y="680815"/>
                    <a:pt x="243337" y="680350"/>
                    <a:pt x="240681" y="679870"/>
                  </a:cubicBezTo>
                  <a:cubicBezTo>
                    <a:pt x="240681" y="678940"/>
                    <a:pt x="240681" y="678010"/>
                    <a:pt x="240681" y="677052"/>
                  </a:cubicBezTo>
                  <a:cubicBezTo>
                    <a:pt x="239827" y="676917"/>
                    <a:pt x="238973" y="676783"/>
                    <a:pt x="238094" y="676645"/>
                  </a:cubicBezTo>
                  <a:cubicBezTo>
                    <a:pt x="233442" y="675371"/>
                    <a:pt x="229939" y="673242"/>
                    <a:pt x="225841" y="670886"/>
                  </a:cubicBezTo>
                  <a:cubicBezTo>
                    <a:pt x="217808" y="666564"/>
                    <a:pt x="210635" y="664241"/>
                    <a:pt x="201531" y="662508"/>
                  </a:cubicBezTo>
                  <a:cubicBezTo>
                    <a:pt x="196896" y="661541"/>
                    <a:pt x="192682" y="660199"/>
                    <a:pt x="188252" y="658644"/>
                  </a:cubicBezTo>
                  <a:lnTo>
                    <a:pt x="182431" y="657327"/>
                  </a:lnTo>
                  <a:lnTo>
                    <a:pt x="182431" y="657613"/>
                  </a:lnTo>
                  <a:cubicBezTo>
                    <a:pt x="170575" y="657148"/>
                    <a:pt x="158718" y="656683"/>
                    <a:pt x="146503" y="656204"/>
                  </a:cubicBezTo>
                  <a:cubicBezTo>
                    <a:pt x="146503" y="657133"/>
                    <a:pt x="146503" y="658064"/>
                    <a:pt x="146503" y="659022"/>
                  </a:cubicBezTo>
                  <a:cubicBezTo>
                    <a:pt x="134359" y="662326"/>
                    <a:pt x="123013" y="663700"/>
                    <a:pt x="110378" y="663778"/>
                  </a:cubicBezTo>
                  <a:cubicBezTo>
                    <a:pt x="108435" y="663806"/>
                    <a:pt x="108435" y="663806"/>
                    <a:pt x="106453" y="663836"/>
                  </a:cubicBezTo>
                  <a:cubicBezTo>
                    <a:pt x="105231" y="663828"/>
                    <a:pt x="104009" y="663820"/>
                    <a:pt x="102751" y="663811"/>
                  </a:cubicBezTo>
                  <a:cubicBezTo>
                    <a:pt x="101117" y="663804"/>
                    <a:pt x="101117" y="663804"/>
                    <a:pt x="99449" y="663797"/>
                  </a:cubicBezTo>
                  <a:cubicBezTo>
                    <a:pt x="95696" y="663097"/>
                    <a:pt x="94265" y="661615"/>
                    <a:pt x="91828" y="659022"/>
                  </a:cubicBezTo>
                  <a:cubicBezTo>
                    <a:pt x="93890" y="659022"/>
                    <a:pt x="95953" y="659022"/>
                    <a:pt x="98077" y="659022"/>
                  </a:cubicBezTo>
                  <a:cubicBezTo>
                    <a:pt x="98077" y="659952"/>
                    <a:pt x="98077" y="660882"/>
                    <a:pt x="98077" y="661841"/>
                  </a:cubicBezTo>
                  <a:cubicBezTo>
                    <a:pt x="108735" y="662045"/>
                    <a:pt x="114063" y="662148"/>
                    <a:pt x="119023" y="661357"/>
                  </a:cubicBezTo>
                  <a:lnTo>
                    <a:pt x="119536" y="661197"/>
                  </a:lnTo>
                  <a:lnTo>
                    <a:pt x="109853" y="661639"/>
                  </a:lnTo>
                  <a:cubicBezTo>
                    <a:pt x="108764" y="661632"/>
                    <a:pt x="107675" y="661626"/>
                    <a:pt x="106552" y="661619"/>
                  </a:cubicBezTo>
                  <a:cubicBezTo>
                    <a:pt x="103877" y="661603"/>
                    <a:pt x="101203" y="661577"/>
                    <a:pt x="98528" y="661550"/>
                  </a:cubicBezTo>
                  <a:cubicBezTo>
                    <a:pt x="98528" y="660620"/>
                    <a:pt x="98528" y="659691"/>
                    <a:pt x="98528" y="658732"/>
                  </a:cubicBezTo>
                  <a:cubicBezTo>
                    <a:pt x="95435" y="658267"/>
                    <a:pt x="92342" y="657802"/>
                    <a:pt x="89155" y="657323"/>
                  </a:cubicBezTo>
                  <a:cubicBezTo>
                    <a:pt x="89155" y="656393"/>
                    <a:pt x="89155" y="655462"/>
                    <a:pt x="89155" y="654504"/>
                  </a:cubicBezTo>
                  <a:cubicBezTo>
                    <a:pt x="87790" y="653978"/>
                    <a:pt x="87790" y="653978"/>
                    <a:pt x="86397" y="653442"/>
                  </a:cubicBezTo>
                  <a:cubicBezTo>
                    <a:pt x="82415" y="651438"/>
                    <a:pt x="80039" y="649232"/>
                    <a:pt x="77049" y="646137"/>
                  </a:cubicBezTo>
                  <a:cubicBezTo>
                    <a:pt x="75611" y="644679"/>
                    <a:pt x="75611" y="644679"/>
                    <a:pt x="74145" y="643192"/>
                  </a:cubicBezTo>
                  <a:cubicBezTo>
                    <a:pt x="71972" y="640412"/>
                    <a:pt x="71972" y="640412"/>
                    <a:pt x="71972" y="636185"/>
                  </a:cubicBezTo>
                  <a:cubicBezTo>
                    <a:pt x="70941" y="636185"/>
                    <a:pt x="69910" y="636185"/>
                    <a:pt x="68848" y="636185"/>
                  </a:cubicBezTo>
                  <a:cubicBezTo>
                    <a:pt x="64250" y="621928"/>
                    <a:pt x="64695" y="609404"/>
                    <a:pt x="70410" y="595317"/>
                  </a:cubicBezTo>
                  <a:cubicBezTo>
                    <a:pt x="73096" y="591142"/>
                    <a:pt x="76144" y="587574"/>
                    <a:pt x="79782" y="584043"/>
                  </a:cubicBezTo>
                  <a:cubicBezTo>
                    <a:pt x="81205" y="582594"/>
                    <a:pt x="81205" y="582594"/>
                    <a:pt x="82656" y="581115"/>
                  </a:cubicBezTo>
                  <a:cubicBezTo>
                    <a:pt x="91488" y="574027"/>
                    <a:pt x="105133" y="571806"/>
                    <a:pt x="116694" y="572323"/>
                  </a:cubicBezTo>
                  <a:cubicBezTo>
                    <a:pt x="131556" y="574113"/>
                    <a:pt x="142046" y="580551"/>
                    <a:pt x="152031" y="590385"/>
                  </a:cubicBezTo>
                  <a:cubicBezTo>
                    <a:pt x="162272" y="600009"/>
                    <a:pt x="176992" y="605062"/>
                    <a:pt x="191474" y="605886"/>
                  </a:cubicBezTo>
                  <a:cubicBezTo>
                    <a:pt x="196845" y="606192"/>
                    <a:pt x="201203" y="606463"/>
                    <a:pt x="206314" y="608000"/>
                  </a:cubicBezTo>
                  <a:cubicBezTo>
                    <a:pt x="206314" y="608930"/>
                    <a:pt x="206314" y="609860"/>
                    <a:pt x="206314" y="610818"/>
                  </a:cubicBezTo>
                  <a:cubicBezTo>
                    <a:pt x="215689" y="610902"/>
                    <a:pt x="225058" y="610898"/>
                    <a:pt x="234433" y="610818"/>
                  </a:cubicBezTo>
                  <a:cubicBezTo>
                    <a:pt x="236112" y="610813"/>
                    <a:pt x="237791" y="610808"/>
                    <a:pt x="239522" y="610802"/>
                  </a:cubicBezTo>
                  <a:cubicBezTo>
                    <a:pt x="251005" y="610364"/>
                    <a:pt x="259257" y="606564"/>
                    <a:pt x="268799" y="600954"/>
                  </a:cubicBezTo>
                  <a:cubicBezTo>
                    <a:pt x="269770" y="600416"/>
                    <a:pt x="270740" y="599879"/>
                    <a:pt x="271740" y="599325"/>
                  </a:cubicBezTo>
                  <a:cubicBezTo>
                    <a:pt x="279452" y="594430"/>
                    <a:pt x="281420" y="587464"/>
                    <a:pt x="284420" y="579816"/>
                  </a:cubicBezTo>
                  <a:cubicBezTo>
                    <a:pt x="286047" y="576075"/>
                    <a:pt x="287725" y="572353"/>
                    <a:pt x="289399" y="568630"/>
                  </a:cubicBezTo>
                  <a:cubicBezTo>
                    <a:pt x="294095" y="558121"/>
                    <a:pt x="299004" y="547070"/>
                    <a:pt x="293958" y="535838"/>
                  </a:cubicBezTo>
                  <a:cubicBezTo>
                    <a:pt x="292436" y="533533"/>
                    <a:pt x="290781" y="531301"/>
                    <a:pt x="289107" y="529084"/>
                  </a:cubicBezTo>
                  <a:cubicBezTo>
                    <a:pt x="289107" y="528153"/>
                    <a:pt x="289107" y="527223"/>
                    <a:pt x="289107" y="526265"/>
                  </a:cubicBezTo>
                  <a:cubicBezTo>
                    <a:pt x="287560" y="525800"/>
                    <a:pt x="286014" y="525335"/>
                    <a:pt x="284420" y="524856"/>
                  </a:cubicBezTo>
                  <a:cubicBezTo>
                    <a:pt x="283905" y="523461"/>
                    <a:pt x="283389" y="522066"/>
                    <a:pt x="282858" y="520628"/>
                  </a:cubicBezTo>
                  <a:cubicBezTo>
                    <a:pt x="280750" y="518590"/>
                    <a:pt x="280750" y="518590"/>
                    <a:pt x="277977" y="516577"/>
                  </a:cubicBezTo>
                  <a:cubicBezTo>
                    <a:pt x="273591" y="513232"/>
                    <a:pt x="269227" y="509874"/>
                    <a:pt x="264925" y="506443"/>
                  </a:cubicBezTo>
                  <a:cubicBezTo>
                    <a:pt x="253596" y="497433"/>
                    <a:pt x="242132" y="488987"/>
                    <a:pt x="229746" y="481170"/>
                  </a:cubicBezTo>
                  <a:cubicBezTo>
                    <a:pt x="226846" y="479266"/>
                    <a:pt x="223950" y="477358"/>
                    <a:pt x="221057" y="475445"/>
                  </a:cubicBezTo>
                  <a:cubicBezTo>
                    <a:pt x="218227" y="473594"/>
                    <a:pt x="215396" y="471744"/>
                    <a:pt x="212563" y="469896"/>
                  </a:cubicBezTo>
                  <a:cubicBezTo>
                    <a:pt x="211351" y="469102"/>
                    <a:pt x="210138" y="468309"/>
                    <a:pt x="208889" y="467491"/>
                  </a:cubicBezTo>
                  <a:cubicBezTo>
                    <a:pt x="202848" y="463599"/>
                    <a:pt x="196732" y="459888"/>
                    <a:pt x="190406" y="456382"/>
                  </a:cubicBezTo>
                  <a:cubicBezTo>
                    <a:pt x="189263" y="455748"/>
                    <a:pt x="188119" y="455114"/>
                    <a:pt x="186942" y="454460"/>
                  </a:cubicBezTo>
                  <a:cubicBezTo>
                    <a:pt x="184648" y="453196"/>
                    <a:pt x="182348" y="451941"/>
                    <a:pt x="180041" y="450696"/>
                  </a:cubicBezTo>
                  <a:cubicBezTo>
                    <a:pt x="177292" y="449185"/>
                    <a:pt x="174612" y="447571"/>
                    <a:pt x="171948" y="445940"/>
                  </a:cubicBezTo>
                  <a:cubicBezTo>
                    <a:pt x="171948" y="445009"/>
                    <a:pt x="171948" y="444079"/>
                    <a:pt x="171948" y="443121"/>
                  </a:cubicBezTo>
                  <a:cubicBezTo>
                    <a:pt x="170804" y="442985"/>
                    <a:pt x="169660" y="442848"/>
                    <a:pt x="168482" y="442708"/>
                  </a:cubicBezTo>
                  <a:cubicBezTo>
                    <a:pt x="163547" y="441576"/>
                    <a:pt x="161063" y="439897"/>
                    <a:pt x="157107" y="437044"/>
                  </a:cubicBezTo>
                  <a:cubicBezTo>
                    <a:pt x="149345" y="431895"/>
                    <a:pt x="141843" y="429626"/>
                    <a:pt x="132559" y="427510"/>
                  </a:cubicBezTo>
                  <a:cubicBezTo>
                    <a:pt x="128067" y="426168"/>
                    <a:pt x="126607" y="425060"/>
                    <a:pt x="123522" y="421983"/>
                  </a:cubicBezTo>
                  <a:cubicBezTo>
                    <a:pt x="118310" y="419033"/>
                    <a:pt x="114076" y="418794"/>
                    <a:pt x="107986" y="418730"/>
                  </a:cubicBezTo>
                  <a:cubicBezTo>
                    <a:pt x="106174" y="418694"/>
                    <a:pt x="104362" y="418659"/>
                    <a:pt x="102494" y="418622"/>
                  </a:cubicBezTo>
                  <a:cubicBezTo>
                    <a:pt x="98715" y="418573"/>
                    <a:pt x="94936" y="418529"/>
                    <a:pt x="91157" y="418490"/>
                  </a:cubicBezTo>
                  <a:cubicBezTo>
                    <a:pt x="78470" y="418231"/>
                    <a:pt x="65485" y="417940"/>
                    <a:pt x="55277" y="410445"/>
                  </a:cubicBezTo>
                  <a:cubicBezTo>
                    <a:pt x="54084" y="409137"/>
                    <a:pt x="52893" y="407829"/>
                    <a:pt x="51665" y="406481"/>
                  </a:cubicBezTo>
                  <a:cubicBezTo>
                    <a:pt x="49752" y="404480"/>
                    <a:pt x="47831" y="402483"/>
                    <a:pt x="45904" y="400492"/>
                  </a:cubicBezTo>
                  <a:cubicBezTo>
                    <a:pt x="44996" y="399526"/>
                    <a:pt x="44088" y="398559"/>
                    <a:pt x="43152" y="397564"/>
                  </a:cubicBezTo>
                  <a:cubicBezTo>
                    <a:pt x="40865" y="395062"/>
                    <a:pt x="40865" y="395062"/>
                    <a:pt x="37605" y="393798"/>
                  </a:cubicBezTo>
                  <a:lnTo>
                    <a:pt x="38995" y="368712"/>
                  </a:lnTo>
                  <a:lnTo>
                    <a:pt x="38666" y="369724"/>
                  </a:lnTo>
                  <a:cubicBezTo>
                    <a:pt x="37003" y="374506"/>
                    <a:pt x="36202" y="379113"/>
                    <a:pt x="35542" y="384081"/>
                  </a:cubicBezTo>
                  <a:cubicBezTo>
                    <a:pt x="30313" y="376119"/>
                    <a:pt x="31188" y="366593"/>
                    <a:pt x="33326" y="357791"/>
                  </a:cubicBezTo>
                  <a:cubicBezTo>
                    <a:pt x="37176" y="347767"/>
                    <a:pt x="44536" y="340769"/>
                    <a:pt x="52725" y="333349"/>
                  </a:cubicBezTo>
                  <a:lnTo>
                    <a:pt x="55222" y="334475"/>
                  </a:lnTo>
                  <a:lnTo>
                    <a:pt x="56222" y="333347"/>
                  </a:lnTo>
                  <a:lnTo>
                    <a:pt x="55871" y="333347"/>
                  </a:lnTo>
                  <a:lnTo>
                    <a:pt x="56346" y="333207"/>
                  </a:lnTo>
                  <a:lnTo>
                    <a:pt x="56351" y="333202"/>
                  </a:lnTo>
                  <a:lnTo>
                    <a:pt x="56365" y="333202"/>
                  </a:lnTo>
                  <a:lnTo>
                    <a:pt x="79571" y="326360"/>
                  </a:lnTo>
                  <a:cubicBezTo>
                    <a:pt x="87782" y="326037"/>
                    <a:pt x="96164" y="327572"/>
                    <a:pt x="104297" y="330529"/>
                  </a:cubicBezTo>
                  <a:lnTo>
                    <a:pt x="107170" y="334417"/>
                  </a:lnTo>
                  <a:lnTo>
                    <a:pt x="109366" y="336046"/>
                  </a:lnTo>
                  <a:lnTo>
                    <a:pt x="109463" y="336020"/>
                  </a:lnTo>
                  <a:lnTo>
                    <a:pt x="109463" y="336118"/>
                  </a:lnTo>
                  <a:lnTo>
                    <a:pt x="115226" y="340394"/>
                  </a:lnTo>
                  <a:lnTo>
                    <a:pt x="114010" y="340120"/>
                  </a:lnTo>
                  <a:lnTo>
                    <a:pt x="133285" y="357423"/>
                  </a:lnTo>
                  <a:cubicBezTo>
                    <a:pt x="142471" y="373187"/>
                    <a:pt x="155564" y="382744"/>
                    <a:pt x="173509" y="389571"/>
                  </a:cubicBezTo>
                  <a:cubicBezTo>
                    <a:pt x="176254" y="390785"/>
                    <a:pt x="178988" y="392017"/>
                    <a:pt x="181711" y="393270"/>
                  </a:cubicBezTo>
                  <a:cubicBezTo>
                    <a:pt x="182964" y="393833"/>
                    <a:pt x="184216" y="394396"/>
                    <a:pt x="185507" y="394976"/>
                  </a:cubicBezTo>
                  <a:cubicBezTo>
                    <a:pt x="187897" y="396058"/>
                    <a:pt x="190281" y="397151"/>
                    <a:pt x="192658" y="398257"/>
                  </a:cubicBezTo>
                  <a:cubicBezTo>
                    <a:pt x="193749" y="398762"/>
                    <a:pt x="194841" y="399267"/>
                    <a:pt x="195966" y="399788"/>
                  </a:cubicBezTo>
                  <a:cubicBezTo>
                    <a:pt x="196912" y="400231"/>
                    <a:pt x="197858" y="400674"/>
                    <a:pt x="198833" y="401131"/>
                  </a:cubicBezTo>
                  <a:cubicBezTo>
                    <a:pt x="201808" y="402326"/>
                    <a:pt x="204701" y="403032"/>
                    <a:pt x="207877" y="403663"/>
                  </a:cubicBezTo>
                  <a:cubicBezTo>
                    <a:pt x="207877" y="404593"/>
                    <a:pt x="207877" y="405523"/>
                    <a:pt x="207877" y="406481"/>
                  </a:cubicBezTo>
                  <a:cubicBezTo>
                    <a:pt x="221233" y="411377"/>
                    <a:pt x="234752" y="415503"/>
                    <a:pt x="248492" y="419428"/>
                  </a:cubicBezTo>
                  <a:cubicBezTo>
                    <a:pt x="250298" y="419947"/>
                    <a:pt x="252104" y="420466"/>
                    <a:pt x="253965" y="421000"/>
                  </a:cubicBezTo>
                  <a:cubicBezTo>
                    <a:pt x="258388" y="422270"/>
                    <a:pt x="262812" y="423537"/>
                    <a:pt x="267237" y="424801"/>
                  </a:cubicBezTo>
                  <a:lnTo>
                    <a:pt x="267237" y="426451"/>
                  </a:lnTo>
                  <a:lnTo>
                    <a:pt x="288701" y="429217"/>
                  </a:lnTo>
                  <a:cubicBezTo>
                    <a:pt x="288701" y="430147"/>
                    <a:pt x="288701" y="431078"/>
                    <a:pt x="288701" y="432036"/>
                  </a:cubicBezTo>
                  <a:cubicBezTo>
                    <a:pt x="301487" y="433472"/>
                    <a:pt x="314148" y="433662"/>
                    <a:pt x="327010" y="433628"/>
                  </a:cubicBezTo>
                  <a:cubicBezTo>
                    <a:pt x="330502" y="433621"/>
                    <a:pt x="333994" y="433628"/>
                    <a:pt x="337486" y="433637"/>
                  </a:cubicBezTo>
                  <a:cubicBezTo>
                    <a:pt x="339734" y="433637"/>
                    <a:pt x="341982" y="433635"/>
                    <a:pt x="344229" y="433632"/>
                  </a:cubicBezTo>
                  <a:cubicBezTo>
                    <a:pt x="347246" y="433630"/>
                    <a:pt x="347246" y="433630"/>
                    <a:pt x="350323" y="433627"/>
                  </a:cubicBezTo>
                  <a:cubicBezTo>
                    <a:pt x="355445" y="433459"/>
                    <a:pt x="360220" y="432915"/>
                    <a:pt x="365245" y="432036"/>
                  </a:cubicBezTo>
                  <a:lnTo>
                    <a:pt x="360797" y="433759"/>
                  </a:lnTo>
                  <a:lnTo>
                    <a:pt x="365650" y="433257"/>
                  </a:lnTo>
                  <a:cubicBezTo>
                    <a:pt x="366166" y="431861"/>
                    <a:pt x="366682" y="430466"/>
                    <a:pt x="367213" y="429029"/>
                  </a:cubicBezTo>
                  <a:cubicBezTo>
                    <a:pt x="369854" y="427628"/>
                    <a:pt x="372501" y="426234"/>
                    <a:pt x="375188" y="424906"/>
                  </a:cubicBezTo>
                  <a:cubicBezTo>
                    <a:pt x="390245" y="417204"/>
                    <a:pt x="397438" y="403183"/>
                    <a:pt x="404704" y="389571"/>
                  </a:cubicBezTo>
                  <a:cubicBezTo>
                    <a:pt x="405219" y="389105"/>
                    <a:pt x="405734" y="388641"/>
                    <a:pt x="406265" y="388161"/>
                  </a:cubicBezTo>
                  <a:cubicBezTo>
                    <a:pt x="406663" y="382152"/>
                    <a:pt x="406555" y="376125"/>
                    <a:pt x="406559" y="370106"/>
                  </a:cubicBezTo>
                  <a:cubicBezTo>
                    <a:pt x="406578" y="368412"/>
                    <a:pt x="406597" y="366718"/>
                    <a:pt x="406617" y="364973"/>
                  </a:cubicBezTo>
                  <a:cubicBezTo>
                    <a:pt x="406620" y="363344"/>
                    <a:pt x="406622" y="361715"/>
                    <a:pt x="406626" y="360038"/>
                  </a:cubicBezTo>
                  <a:cubicBezTo>
                    <a:pt x="406632" y="358541"/>
                    <a:pt x="406638" y="357045"/>
                    <a:pt x="406645" y="355503"/>
                  </a:cubicBezTo>
                  <a:cubicBezTo>
                    <a:pt x="406264" y="351503"/>
                    <a:pt x="405326" y="349318"/>
                    <a:pt x="403142" y="345885"/>
                  </a:cubicBezTo>
                  <a:cubicBezTo>
                    <a:pt x="402583" y="343484"/>
                    <a:pt x="402067" y="341075"/>
                    <a:pt x="401579" y="338663"/>
                  </a:cubicBezTo>
                  <a:cubicBezTo>
                    <a:pt x="399365" y="330323"/>
                    <a:pt x="395538" y="323370"/>
                    <a:pt x="390938" y="315939"/>
                  </a:cubicBezTo>
                  <a:cubicBezTo>
                    <a:pt x="390290" y="314890"/>
                    <a:pt x="389642" y="313842"/>
                    <a:pt x="388976" y="312762"/>
                  </a:cubicBezTo>
                  <a:cubicBezTo>
                    <a:pt x="385623" y="307500"/>
                    <a:pt x="382070" y="302607"/>
                    <a:pt x="377934" y="297817"/>
                  </a:cubicBezTo>
                  <a:cubicBezTo>
                    <a:pt x="373788" y="292978"/>
                    <a:pt x="371423" y="288111"/>
                    <a:pt x="368775" y="282470"/>
                  </a:cubicBezTo>
                  <a:cubicBezTo>
                    <a:pt x="366035" y="278585"/>
                    <a:pt x="362994" y="274937"/>
                    <a:pt x="359890" y="271284"/>
                  </a:cubicBezTo>
                  <a:cubicBezTo>
                    <a:pt x="359059" y="270296"/>
                    <a:pt x="358230" y="269307"/>
                    <a:pt x="357374" y="268288"/>
                  </a:cubicBezTo>
                  <a:cubicBezTo>
                    <a:pt x="351312" y="261177"/>
                    <a:pt x="344882" y="254704"/>
                    <a:pt x="337533" y="248649"/>
                  </a:cubicBezTo>
                  <a:cubicBezTo>
                    <a:pt x="336767" y="247896"/>
                    <a:pt x="336002" y="247144"/>
                    <a:pt x="335214" y="246369"/>
                  </a:cubicBezTo>
                  <a:cubicBezTo>
                    <a:pt x="332597" y="243963"/>
                    <a:pt x="332597" y="243963"/>
                    <a:pt x="327085" y="242571"/>
                  </a:cubicBezTo>
                  <a:cubicBezTo>
                    <a:pt x="309670" y="236923"/>
                    <a:pt x="296614" y="222751"/>
                    <a:pt x="288785" y="207968"/>
                  </a:cubicBezTo>
                  <a:cubicBezTo>
                    <a:pt x="286673" y="202851"/>
                    <a:pt x="286348" y="197968"/>
                    <a:pt x="286373" y="192544"/>
                  </a:cubicBezTo>
                  <a:cubicBezTo>
                    <a:pt x="286377" y="191437"/>
                    <a:pt x="286381" y="190330"/>
                    <a:pt x="286385" y="189190"/>
                  </a:cubicBezTo>
                  <a:cubicBezTo>
                    <a:pt x="286881" y="178340"/>
                    <a:pt x="291581" y="171728"/>
                    <a:pt x="300042" y="164095"/>
                  </a:cubicBezTo>
                  <a:cubicBezTo>
                    <a:pt x="301386" y="162752"/>
                    <a:pt x="301386" y="162752"/>
                    <a:pt x="302757" y="161381"/>
                  </a:cubicBezTo>
                  <a:cubicBezTo>
                    <a:pt x="312597" y="152504"/>
                    <a:pt x="325185" y="152675"/>
                    <a:pt x="338411" y="152293"/>
                  </a:cubicBezTo>
                  <a:cubicBezTo>
                    <a:pt x="350839" y="152463"/>
                    <a:pt x="359094" y="154554"/>
                    <a:pt x="368482" y="161893"/>
                  </a:cubicBezTo>
                  <a:cubicBezTo>
                    <a:pt x="369609" y="163085"/>
                    <a:pt x="370737" y="164277"/>
                    <a:pt x="371899" y="165505"/>
                  </a:cubicBezTo>
                  <a:cubicBezTo>
                    <a:pt x="372962" y="166522"/>
                    <a:pt x="374026" y="167539"/>
                    <a:pt x="375121" y="168587"/>
                  </a:cubicBezTo>
                  <a:cubicBezTo>
                    <a:pt x="381050" y="176351"/>
                    <a:pt x="384520" y="184328"/>
                    <a:pt x="384982" y="193777"/>
                  </a:cubicBezTo>
                  <a:cubicBezTo>
                    <a:pt x="385464" y="201192"/>
                    <a:pt x="387638" y="207607"/>
                    <a:pt x="390352" y="214563"/>
                  </a:cubicBezTo>
                  <a:cubicBezTo>
                    <a:pt x="390934" y="216079"/>
                    <a:pt x="390934" y="216079"/>
                    <a:pt x="391529" y="217626"/>
                  </a:cubicBezTo>
                  <a:cubicBezTo>
                    <a:pt x="394082" y="223926"/>
                    <a:pt x="397412" y="228969"/>
                    <a:pt x="401579" y="234556"/>
                  </a:cubicBezTo>
                  <a:cubicBezTo>
                    <a:pt x="401579" y="235952"/>
                    <a:pt x="401579" y="237347"/>
                    <a:pt x="401579" y="238784"/>
                  </a:cubicBezTo>
                  <a:cubicBezTo>
                    <a:pt x="402884" y="239263"/>
                    <a:pt x="402884" y="239263"/>
                    <a:pt x="404215" y="239753"/>
                  </a:cubicBezTo>
                  <a:cubicBezTo>
                    <a:pt x="410099" y="242765"/>
                    <a:pt x="414395" y="246733"/>
                    <a:pt x="417811" y="251996"/>
                  </a:cubicBezTo>
                  <a:cubicBezTo>
                    <a:pt x="420462" y="255897"/>
                    <a:pt x="423407" y="258959"/>
                    <a:pt x="426866" y="262300"/>
                  </a:cubicBezTo>
                  <a:cubicBezTo>
                    <a:pt x="435101" y="270407"/>
                    <a:pt x="442641" y="278936"/>
                    <a:pt x="450097" y="287628"/>
                  </a:cubicBezTo>
                  <a:cubicBezTo>
                    <a:pt x="453081" y="291117"/>
                    <a:pt x="453081" y="291117"/>
                    <a:pt x="457425" y="293920"/>
                  </a:cubicBezTo>
                  <a:cubicBezTo>
                    <a:pt x="458585" y="294792"/>
                    <a:pt x="459745" y="295664"/>
                    <a:pt x="460940" y="296562"/>
                  </a:cubicBezTo>
                  <a:cubicBezTo>
                    <a:pt x="460940" y="297957"/>
                    <a:pt x="460940" y="299352"/>
                    <a:pt x="460940" y="300790"/>
                  </a:cubicBezTo>
                  <a:cubicBezTo>
                    <a:pt x="465063" y="302782"/>
                    <a:pt x="468862" y="304133"/>
                    <a:pt x="473437" y="305018"/>
                  </a:cubicBezTo>
                  <a:cubicBezTo>
                    <a:pt x="473437" y="305947"/>
                    <a:pt x="473437" y="306877"/>
                    <a:pt x="473437" y="307836"/>
                  </a:cubicBezTo>
                  <a:cubicBezTo>
                    <a:pt x="475581" y="308519"/>
                    <a:pt x="477730" y="309193"/>
                    <a:pt x="479881" y="309862"/>
                  </a:cubicBezTo>
                  <a:cubicBezTo>
                    <a:pt x="481077" y="310237"/>
                    <a:pt x="482273" y="310614"/>
                    <a:pt x="483505" y="311001"/>
                  </a:cubicBezTo>
                  <a:cubicBezTo>
                    <a:pt x="505448" y="316843"/>
                    <a:pt x="527690" y="314359"/>
                    <a:pt x="548419" y="306427"/>
                  </a:cubicBezTo>
                  <a:cubicBezTo>
                    <a:pt x="549548" y="305998"/>
                    <a:pt x="550678" y="305569"/>
                    <a:pt x="551842" y="305127"/>
                  </a:cubicBezTo>
                  <a:cubicBezTo>
                    <a:pt x="555376" y="303227"/>
                    <a:pt x="557584" y="300980"/>
                    <a:pt x="560232" y="298148"/>
                  </a:cubicBezTo>
                  <a:cubicBezTo>
                    <a:pt x="561137" y="297192"/>
                    <a:pt x="562041" y="296236"/>
                    <a:pt x="562972" y="295252"/>
                  </a:cubicBezTo>
                  <a:cubicBezTo>
                    <a:pt x="564755" y="293274"/>
                    <a:pt x="566459" y="291237"/>
                    <a:pt x="568086" y="289152"/>
                  </a:cubicBezTo>
                  <a:cubicBezTo>
                    <a:pt x="568813" y="288342"/>
                    <a:pt x="569539" y="287532"/>
                    <a:pt x="570289" y="286697"/>
                  </a:cubicBezTo>
                  <a:cubicBezTo>
                    <a:pt x="571319" y="286697"/>
                    <a:pt x="572350" y="286697"/>
                    <a:pt x="573413" y="286697"/>
                  </a:cubicBezTo>
                  <a:cubicBezTo>
                    <a:pt x="577408" y="276984"/>
                    <a:pt x="577197" y="267284"/>
                    <a:pt x="577220" y="257016"/>
                  </a:cubicBezTo>
                  <a:cubicBezTo>
                    <a:pt x="577227" y="255625"/>
                    <a:pt x="577227" y="255625"/>
                    <a:pt x="577235" y="254206"/>
                  </a:cubicBezTo>
                  <a:cubicBezTo>
                    <a:pt x="577257" y="237553"/>
                    <a:pt x="574604" y="222055"/>
                    <a:pt x="569443" y="206049"/>
                  </a:cubicBezTo>
                  <a:cubicBezTo>
                    <a:pt x="568726" y="203553"/>
                    <a:pt x="568726" y="203553"/>
                    <a:pt x="568726" y="200735"/>
                  </a:cubicBezTo>
                  <a:cubicBezTo>
                    <a:pt x="567695" y="200735"/>
                    <a:pt x="566664" y="200735"/>
                    <a:pt x="565602" y="200735"/>
                  </a:cubicBezTo>
                  <a:cubicBezTo>
                    <a:pt x="563274" y="195295"/>
                    <a:pt x="561092" y="190108"/>
                    <a:pt x="559549" y="184441"/>
                  </a:cubicBezTo>
                  <a:cubicBezTo>
                    <a:pt x="555572" y="173477"/>
                    <a:pt x="547043" y="167105"/>
                    <a:pt x="537484" y="159867"/>
                  </a:cubicBezTo>
                  <a:cubicBezTo>
                    <a:pt x="533579" y="156609"/>
                    <a:pt x="533579" y="156609"/>
                    <a:pt x="531235" y="154230"/>
                  </a:cubicBezTo>
                  <a:cubicBezTo>
                    <a:pt x="531235" y="153301"/>
                    <a:pt x="531235" y="152371"/>
                    <a:pt x="531235" y="151412"/>
                  </a:cubicBezTo>
                  <a:cubicBezTo>
                    <a:pt x="529689" y="150947"/>
                    <a:pt x="528143" y="150482"/>
                    <a:pt x="526549" y="150003"/>
                  </a:cubicBezTo>
                  <a:cubicBezTo>
                    <a:pt x="519904" y="137298"/>
                    <a:pt x="519105" y="120357"/>
                    <a:pt x="524304" y="107198"/>
                  </a:cubicBezTo>
                  <a:cubicBezTo>
                    <a:pt x="529443" y="97376"/>
                    <a:pt x="535781" y="90193"/>
                    <a:pt x="547052" y="85972"/>
                  </a:cubicBezTo>
                  <a:cubicBezTo>
                    <a:pt x="559924" y="81835"/>
                    <a:pt x="575221" y="79746"/>
                    <a:pt x="588460" y="83538"/>
                  </a:cubicBezTo>
                  <a:cubicBezTo>
                    <a:pt x="601643" y="89713"/>
                    <a:pt x="611835" y="99450"/>
                    <a:pt x="617152" y="111954"/>
                  </a:cubicBezTo>
                  <a:cubicBezTo>
                    <a:pt x="617935" y="116052"/>
                    <a:pt x="617954" y="120024"/>
                    <a:pt x="617884" y="124175"/>
                  </a:cubicBezTo>
                  <a:cubicBezTo>
                    <a:pt x="617896" y="125307"/>
                    <a:pt x="617906" y="126440"/>
                    <a:pt x="617917" y="127607"/>
                  </a:cubicBezTo>
                  <a:cubicBezTo>
                    <a:pt x="617963" y="132394"/>
                    <a:pt x="617938" y="137181"/>
                    <a:pt x="617919" y="141969"/>
                  </a:cubicBezTo>
                  <a:cubicBezTo>
                    <a:pt x="617899" y="160184"/>
                    <a:pt x="619422" y="175572"/>
                    <a:pt x="630625" y="191311"/>
                  </a:cubicBezTo>
                  <a:cubicBezTo>
                    <a:pt x="633753" y="195891"/>
                    <a:pt x="636431" y="199900"/>
                    <a:pt x="637850" y="205139"/>
                  </a:cubicBezTo>
                  <a:cubicBezTo>
                    <a:pt x="638615" y="209623"/>
                    <a:pt x="638615" y="209623"/>
                    <a:pt x="643708" y="212009"/>
                  </a:cubicBezTo>
                  <a:cubicBezTo>
                    <a:pt x="645380" y="214563"/>
                    <a:pt x="645380" y="214563"/>
                    <a:pt x="647027" y="217645"/>
                  </a:cubicBezTo>
                  <a:cubicBezTo>
                    <a:pt x="652549" y="227016"/>
                    <a:pt x="660443" y="235696"/>
                    <a:pt x="670264" y="241603"/>
                  </a:cubicBezTo>
                  <a:cubicBezTo>
                    <a:pt x="670264" y="242532"/>
                    <a:pt x="670264" y="243462"/>
                    <a:pt x="670264" y="244421"/>
                  </a:cubicBezTo>
                  <a:cubicBezTo>
                    <a:pt x="672036" y="244857"/>
                    <a:pt x="673808" y="245293"/>
                    <a:pt x="675634" y="245742"/>
                  </a:cubicBezTo>
                  <a:cubicBezTo>
                    <a:pt x="681199" y="247239"/>
                    <a:pt x="681199" y="247239"/>
                    <a:pt x="682761" y="248649"/>
                  </a:cubicBezTo>
                  <a:cubicBezTo>
                    <a:pt x="704487" y="252065"/>
                    <a:pt x="732606" y="256402"/>
                    <a:pt x="752092" y="245076"/>
                  </a:cubicBezTo>
                  <a:cubicBezTo>
                    <a:pt x="754252" y="243599"/>
                    <a:pt x="756372" y="242073"/>
                    <a:pt x="758433" y="240485"/>
                  </a:cubicBezTo>
                  <a:cubicBezTo>
                    <a:pt x="760867" y="238784"/>
                    <a:pt x="760867" y="238784"/>
                    <a:pt x="763991" y="238784"/>
                  </a:cubicBezTo>
                  <a:cubicBezTo>
                    <a:pt x="764647" y="237296"/>
                    <a:pt x="764647" y="237296"/>
                    <a:pt x="765315" y="235778"/>
                  </a:cubicBezTo>
                  <a:cubicBezTo>
                    <a:pt x="767151" y="231659"/>
                    <a:pt x="769030" y="227557"/>
                    <a:pt x="770923" y="223459"/>
                  </a:cubicBezTo>
                  <a:cubicBezTo>
                    <a:pt x="771608" y="221966"/>
                    <a:pt x="772292" y="220472"/>
                    <a:pt x="772998" y="218934"/>
                  </a:cubicBezTo>
                  <a:cubicBezTo>
                    <a:pt x="774429" y="215885"/>
                    <a:pt x="775968" y="212878"/>
                    <a:pt x="777562" y="209895"/>
                  </a:cubicBezTo>
                  <a:cubicBezTo>
                    <a:pt x="787607" y="185732"/>
                    <a:pt x="788559" y="149501"/>
                    <a:pt x="781175" y="124637"/>
                  </a:cubicBezTo>
                  <a:cubicBezTo>
                    <a:pt x="780144" y="124637"/>
                    <a:pt x="779113" y="124637"/>
                    <a:pt x="778051" y="124637"/>
                  </a:cubicBezTo>
                  <a:cubicBezTo>
                    <a:pt x="768501" y="110080"/>
                    <a:pt x="762898" y="96653"/>
                    <a:pt x="767116" y="79542"/>
                  </a:cubicBezTo>
                  <a:cubicBezTo>
                    <a:pt x="772286" y="69057"/>
                    <a:pt x="781456" y="58252"/>
                    <a:pt x="793379" y="54000"/>
                  </a:cubicBezTo>
                  <a:cubicBezTo>
                    <a:pt x="808369" y="49250"/>
                    <a:pt x="826058" y="49579"/>
                    <a:pt x="840688" y="55503"/>
                  </a:cubicBezTo>
                  <a:cubicBezTo>
                    <a:pt x="845183" y="57759"/>
                    <a:pt x="848037" y="60575"/>
                    <a:pt x="851470" y="64040"/>
                  </a:cubicBezTo>
                  <a:cubicBezTo>
                    <a:pt x="852721" y="65272"/>
                    <a:pt x="852721" y="65272"/>
                    <a:pt x="853997" y="66529"/>
                  </a:cubicBezTo>
                  <a:cubicBezTo>
                    <a:pt x="858396" y="71505"/>
                    <a:pt x="860490" y="76640"/>
                    <a:pt x="861488" y="82057"/>
                  </a:cubicBezTo>
                  <a:lnTo>
                    <a:pt x="861937" y="90492"/>
                  </a:lnTo>
                  <a:lnTo>
                    <a:pt x="863826" y="100715"/>
                  </a:lnTo>
                  <a:cubicBezTo>
                    <a:pt x="862141" y="107853"/>
                    <a:pt x="859866" y="114857"/>
                    <a:pt x="857577" y="121853"/>
                  </a:cubicBezTo>
                  <a:cubicBezTo>
                    <a:pt x="857062" y="121853"/>
                    <a:pt x="856547" y="121853"/>
                    <a:pt x="856015" y="121853"/>
                  </a:cubicBezTo>
                  <a:cubicBezTo>
                    <a:pt x="855731" y="120401"/>
                    <a:pt x="855731" y="120401"/>
                    <a:pt x="855442" y="118919"/>
                  </a:cubicBezTo>
                  <a:lnTo>
                    <a:pt x="855417" y="118798"/>
                  </a:lnTo>
                  <a:lnTo>
                    <a:pt x="856157" y="124637"/>
                  </a:lnTo>
                  <a:lnTo>
                    <a:pt x="850623" y="134701"/>
                  </a:lnTo>
                  <a:lnTo>
                    <a:pt x="851325" y="135968"/>
                  </a:lnTo>
                  <a:cubicBezTo>
                    <a:pt x="850851" y="137246"/>
                    <a:pt x="850376" y="138525"/>
                    <a:pt x="849886" y="139843"/>
                  </a:cubicBezTo>
                  <a:cubicBezTo>
                    <a:pt x="848171" y="144505"/>
                    <a:pt x="847798" y="148002"/>
                    <a:pt x="847786" y="152889"/>
                  </a:cubicBezTo>
                  <a:cubicBezTo>
                    <a:pt x="847779" y="154500"/>
                    <a:pt x="847773" y="156109"/>
                    <a:pt x="847767" y="157768"/>
                  </a:cubicBezTo>
                  <a:cubicBezTo>
                    <a:pt x="847782" y="159468"/>
                    <a:pt x="847796" y="161167"/>
                    <a:pt x="847810" y="162919"/>
                  </a:cubicBezTo>
                  <a:cubicBezTo>
                    <a:pt x="847821" y="165546"/>
                    <a:pt x="847821" y="165546"/>
                    <a:pt x="847832" y="168227"/>
                  </a:cubicBezTo>
                  <a:cubicBezTo>
                    <a:pt x="847980" y="181934"/>
                    <a:pt x="849003" y="195419"/>
                    <a:pt x="850903" y="209013"/>
                  </a:cubicBezTo>
                  <a:lnTo>
                    <a:pt x="852880" y="224692"/>
                  </a:lnTo>
                  <a:lnTo>
                    <a:pt x="854595" y="224692"/>
                  </a:lnTo>
                  <a:cubicBezTo>
                    <a:pt x="855086" y="225542"/>
                    <a:pt x="855577" y="226392"/>
                    <a:pt x="856083" y="227268"/>
                  </a:cubicBezTo>
                  <a:cubicBezTo>
                    <a:pt x="862358" y="237839"/>
                    <a:pt x="866924" y="242785"/>
                    <a:pt x="879588" y="247239"/>
                  </a:cubicBezTo>
                  <a:cubicBezTo>
                    <a:pt x="881642" y="248025"/>
                    <a:pt x="883692" y="248817"/>
                    <a:pt x="885739" y="249618"/>
                  </a:cubicBezTo>
                  <a:cubicBezTo>
                    <a:pt x="887318" y="250227"/>
                    <a:pt x="888897" y="250838"/>
                    <a:pt x="890523" y="251467"/>
                  </a:cubicBezTo>
                  <a:cubicBezTo>
                    <a:pt x="890523" y="252397"/>
                    <a:pt x="890523" y="253327"/>
                    <a:pt x="890523" y="254285"/>
                  </a:cubicBezTo>
                  <a:cubicBezTo>
                    <a:pt x="900347" y="257061"/>
                    <a:pt x="910127" y="259425"/>
                    <a:pt x="920203" y="261332"/>
                  </a:cubicBezTo>
                  <a:cubicBezTo>
                    <a:pt x="920203" y="261796"/>
                    <a:pt x="920203" y="262262"/>
                    <a:pt x="920203" y="262741"/>
                  </a:cubicBezTo>
                  <a:cubicBezTo>
                    <a:pt x="917111" y="262741"/>
                    <a:pt x="914018" y="262741"/>
                    <a:pt x="910831" y="262741"/>
                  </a:cubicBezTo>
                  <a:lnTo>
                    <a:pt x="910831" y="262864"/>
                  </a:lnTo>
                  <a:lnTo>
                    <a:pt x="927993" y="264177"/>
                  </a:lnTo>
                  <a:lnTo>
                    <a:pt x="939273" y="265285"/>
                  </a:lnTo>
                  <a:lnTo>
                    <a:pt x="940456" y="265191"/>
                  </a:lnTo>
                  <a:cubicBezTo>
                    <a:pt x="962552" y="263054"/>
                    <a:pt x="974979" y="255295"/>
                    <a:pt x="991622" y="242329"/>
                  </a:cubicBezTo>
                  <a:lnTo>
                    <a:pt x="1000803" y="236505"/>
                  </a:lnTo>
                  <a:lnTo>
                    <a:pt x="999806" y="236055"/>
                  </a:lnTo>
                  <a:cubicBezTo>
                    <a:pt x="1000902" y="234997"/>
                    <a:pt x="1001997" y="233941"/>
                    <a:pt x="1003126" y="232851"/>
                  </a:cubicBezTo>
                  <a:cubicBezTo>
                    <a:pt x="1012364" y="223880"/>
                    <a:pt x="1021184" y="214752"/>
                    <a:pt x="1029487" y="205052"/>
                  </a:cubicBezTo>
                  <a:lnTo>
                    <a:pt x="1029872" y="206442"/>
                  </a:lnTo>
                  <a:lnTo>
                    <a:pt x="1031614" y="203719"/>
                  </a:lnTo>
                  <a:cubicBezTo>
                    <a:pt x="1033221" y="199204"/>
                    <a:pt x="1035713" y="196017"/>
                    <a:pt x="1038924" y="192280"/>
                  </a:cubicBezTo>
                  <a:cubicBezTo>
                    <a:pt x="1039956" y="191815"/>
                    <a:pt x="1040987" y="191349"/>
                    <a:pt x="1042049" y="190870"/>
                  </a:cubicBezTo>
                  <a:cubicBezTo>
                    <a:pt x="1043161" y="188473"/>
                    <a:pt x="1043161" y="188473"/>
                    <a:pt x="1044294" y="186026"/>
                  </a:cubicBezTo>
                  <a:cubicBezTo>
                    <a:pt x="1046735" y="181006"/>
                    <a:pt x="1046735" y="181006"/>
                    <a:pt x="1051422" y="178188"/>
                  </a:cubicBezTo>
                  <a:cubicBezTo>
                    <a:pt x="1052553" y="175286"/>
                    <a:pt x="1052553" y="175286"/>
                    <a:pt x="1052984" y="172551"/>
                  </a:cubicBezTo>
                  <a:cubicBezTo>
                    <a:pt x="1054014" y="172551"/>
                    <a:pt x="1055046" y="172551"/>
                    <a:pt x="1056108" y="172551"/>
                  </a:cubicBezTo>
                  <a:cubicBezTo>
                    <a:pt x="1057139" y="169295"/>
                    <a:pt x="1058170" y="166040"/>
                    <a:pt x="1059232" y="162686"/>
                  </a:cubicBezTo>
                  <a:cubicBezTo>
                    <a:pt x="1060263" y="162686"/>
                    <a:pt x="1061295" y="162686"/>
                    <a:pt x="1062357" y="162686"/>
                  </a:cubicBezTo>
                  <a:cubicBezTo>
                    <a:pt x="1062755" y="161484"/>
                    <a:pt x="1062755" y="161484"/>
                    <a:pt x="1063162" y="160258"/>
                  </a:cubicBezTo>
                  <a:cubicBezTo>
                    <a:pt x="1065716" y="152917"/>
                    <a:pt x="1068813" y="146686"/>
                    <a:pt x="1073292" y="140138"/>
                  </a:cubicBezTo>
                  <a:cubicBezTo>
                    <a:pt x="1074322" y="140138"/>
                    <a:pt x="1075353" y="140138"/>
                    <a:pt x="1076415" y="140138"/>
                  </a:cubicBezTo>
                  <a:cubicBezTo>
                    <a:pt x="1079808" y="132748"/>
                    <a:pt x="1082509" y="125160"/>
                    <a:pt x="1085294" y="117569"/>
                  </a:cubicBezTo>
                  <a:cubicBezTo>
                    <a:pt x="1085972" y="116181"/>
                    <a:pt x="1086651" y="114793"/>
                    <a:pt x="1087350" y="113363"/>
                  </a:cubicBezTo>
                  <a:cubicBezTo>
                    <a:pt x="1089671" y="112666"/>
                    <a:pt x="1089671" y="112666"/>
                    <a:pt x="1092037" y="111954"/>
                  </a:cubicBezTo>
                  <a:cubicBezTo>
                    <a:pt x="1092230" y="110879"/>
                    <a:pt x="1092423" y="109803"/>
                    <a:pt x="1092623" y="108695"/>
                  </a:cubicBezTo>
                  <a:cubicBezTo>
                    <a:pt x="1093599" y="104908"/>
                    <a:pt x="1093599" y="104908"/>
                    <a:pt x="1096723" y="100680"/>
                  </a:cubicBezTo>
                  <a:cubicBezTo>
                    <a:pt x="1097207" y="99140"/>
                    <a:pt x="1097689" y="97599"/>
                    <a:pt x="1098188" y="96013"/>
                  </a:cubicBezTo>
                  <a:cubicBezTo>
                    <a:pt x="1099847" y="90815"/>
                    <a:pt x="1099847" y="90815"/>
                    <a:pt x="1102288" y="87029"/>
                  </a:cubicBezTo>
                  <a:cubicBezTo>
                    <a:pt x="1106061" y="79186"/>
                    <a:pt x="1107564" y="69424"/>
                    <a:pt x="1104534" y="61222"/>
                  </a:cubicBezTo>
                  <a:cubicBezTo>
                    <a:pt x="1104409" y="59341"/>
                    <a:pt x="1104366" y="57454"/>
                    <a:pt x="1104381" y="55569"/>
                  </a:cubicBezTo>
                  <a:cubicBezTo>
                    <a:pt x="1104386" y="54501"/>
                    <a:pt x="1104391" y="53434"/>
                    <a:pt x="1104397" y="52335"/>
                  </a:cubicBezTo>
                  <a:cubicBezTo>
                    <a:pt x="1104410" y="51228"/>
                    <a:pt x="1104423" y="50120"/>
                    <a:pt x="1104436" y="48979"/>
                  </a:cubicBezTo>
                  <a:cubicBezTo>
                    <a:pt x="1104443" y="47856"/>
                    <a:pt x="1104451" y="46733"/>
                    <a:pt x="1104457" y="45575"/>
                  </a:cubicBezTo>
                  <a:cubicBezTo>
                    <a:pt x="1104476" y="42805"/>
                    <a:pt x="1104504" y="40035"/>
                    <a:pt x="1104534" y="37265"/>
                  </a:cubicBezTo>
                  <a:cubicBezTo>
                    <a:pt x="1105565" y="37265"/>
                    <a:pt x="1106596" y="37265"/>
                    <a:pt x="1107658" y="37265"/>
                  </a:cubicBezTo>
                  <a:cubicBezTo>
                    <a:pt x="1107561" y="34562"/>
                    <a:pt x="1107561" y="34562"/>
                    <a:pt x="1107463" y="31805"/>
                  </a:cubicBezTo>
                  <a:cubicBezTo>
                    <a:pt x="1107353" y="28733"/>
                    <a:pt x="1107353" y="28733"/>
                    <a:pt x="1107658" y="25991"/>
                  </a:cubicBezTo>
                  <a:cubicBezTo>
                    <a:pt x="1108689" y="25062"/>
                    <a:pt x="1109720" y="24131"/>
                    <a:pt x="1110782" y="23173"/>
                  </a:cubicBezTo>
                  <a:cubicBezTo>
                    <a:pt x="1111104" y="22156"/>
                    <a:pt x="1111427" y="21138"/>
                    <a:pt x="1111759" y="20091"/>
                  </a:cubicBezTo>
                  <a:cubicBezTo>
                    <a:pt x="1116393" y="11539"/>
                    <a:pt x="1124927" y="6390"/>
                    <a:pt x="1134507" y="2828"/>
                  </a:cubicBezTo>
                  <a:cubicBezTo>
                    <a:pt x="1141389" y="825"/>
                    <a:pt x="1148262" y="-204"/>
                    <a:pt x="1155019" y="35"/>
                  </a:cubicBezTo>
                  <a:close/>
                </a:path>
              </a:pathLst>
            </a:custGeom>
            <a:solidFill>
              <a:schemeClr val="accent3"/>
            </a:solidFill>
            <a:ln w="2232" cap="flat">
              <a:noFill/>
              <a:prstDash val="solid"/>
              <a:miter/>
            </a:ln>
            <a:effectLst>
              <a:innerShdw blurRad="63500" dist="190500" dir="8100000">
                <a:schemeClr val="accent3">
                  <a:lumMod val="75000"/>
                  <a:alpha val="50000"/>
                </a:schemeClr>
              </a:innerShdw>
            </a:effectLst>
          </p:spPr>
          <p:txBody>
            <a:bodyPr wrap="square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611" name="Oval 610">
              <a:extLst>
                <a:ext uri="{FF2B5EF4-FFF2-40B4-BE49-F238E27FC236}">
                  <a16:creationId xmlns:a16="http://schemas.microsoft.com/office/drawing/2014/main" id="{7DA52705-6C75-4D62-FB95-CEBC4BDC94FF}"/>
                </a:ext>
              </a:extLst>
            </p:cNvPr>
            <p:cNvSpPr/>
            <p:nvPr/>
          </p:nvSpPr>
          <p:spPr>
            <a:xfrm>
              <a:off x="8562874" y="2669842"/>
              <a:ext cx="96793" cy="96793"/>
            </a:xfrm>
            <a:prstGeom prst="ellipse">
              <a:avLst/>
            </a:prstGeom>
            <a:solidFill>
              <a:schemeClr val="accent3">
                <a:lumMod val="75000"/>
                <a:alpha val="38000"/>
              </a:schemeClr>
            </a:solidFill>
            <a:ln>
              <a:noFill/>
            </a:ln>
            <a:effectLst>
              <a:outerShdw blurRad="50800" dist="38100" dir="8100000" sx="129000" sy="129000" algn="tr" rotWithShape="0">
                <a:schemeClr val="accent3">
                  <a:lumMod val="50000"/>
                  <a:alpha val="40000"/>
                </a:scheme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612" name="Oval 611">
              <a:extLst>
                <a:ext uri="{FF2B5EF4-FFF2-40B4-BE49-F238E27FC236}">
                  <a16:creationId xmlns:a16="http://schemas.microsoft.com/office/drawing/2014/main" id="{D296BBED-8118-78E8-B8E0-605C6808D8E3}"/>
                </a:ext>
              </a:extLst>
            </p:cNvPr>
            <p:cNvSpPr/>
            <p:nvPr/>
          </p:nvSpPr>
          <p:spPr>
            <a:xfrm>
              <a:off x="8692086" y="2754594"/>
              <a:ext cx="96793" cy="96793"/>
            </a:xfrm>
            <a:prstGeom prst="ellipse">
              <a:avLst/>
            </a:prstGeom>
            <a:solidFill>
              <a:schemeClr val="accent3">
                <a:lumMod val="75000"/>
                <a:alpha val="38000"/>
              </a:schemeClr>
            </a:solidFill>
            <a:ln>
              <a:noFill/>
            </a:ln>
            <a:effectLst>
              <a:outerShdw blurRad="50800" dist="38100" dir="8100000" sx="129000" sy="129000" algn="tr" rotWithShape="0">
                <a:schemeClr val="accent3">
                  <a:lumMod val="50000"/>
                  <a:alpha val="40000"/>
                </a:scheme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613" name="Oval 612">
              <a:extLst>
                <a:ext uri="{FF2B5EF4-FFF2-40B4-BE49-F238E27FC236}">
                  <a16:creationId xmlns:a16="http://schemas.microsoft.com/office/drawing/2014/main" id="{0BF09E1D-B22F-E88C-7A7F-CFFBDB4CD563}"/>
                </a:ext>
              </a:extLst>
            </p:cNvPr>
            <p:cNvSpPr/>
            <p:nvPr/>
          </p:nvSpPr>
          <p:spPr>
            <a:xfrm>
              <a:off x="8598303" y="2912286"/>
              <a:ext cx="75769" cy="75769"/>
            </a:xfrm>
            <a:prstGeom prst="ellipse">
              <a:avLst/>
            </a:prstGeom>
            <a:solidFill>
              <a:schemeClr val="accent3">
                <a:lumMod val="75000"/>
                <a:alpha val="38000"/>
              </a:schemeClr>
            </a:solidFill>
            <a:ln>
              <a:noFill/>
            </a:ln>
            <a:effectLst>
              <a:outerShdw blurRad="50800" dist="38100" dir="8100000" sx="129000" sy="129000" algn="tr" rotWithShape="0">
                <a:schemeClr val="accent3">
                  <a:lumMod val="50000"/>
                  <a:alpha val="40000"/>
                </a:scheme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614" name="Oval 613">
              <a:extLst>
                <a:ext uri="{FF2B5EF4-FFF2-40B4-BE49-F238E27FC236}">
                  <a16:creationId xmlns:a16="http://schemas.microsoft.com/office/drawing/2014/main" id="{6592BA6B-48F5-E428-C4E3-67FB651D2BE6}"/>
                </a:ext>
              </a:extLst>
            </p:cNvPr>
            <p:cNvSpPr/>
            <p:nvPr/>
          </p:nvSpPr>
          <p:spPr>
            <a:xfrm>
              <a:off x="8800456" y="2894919"/>
              <a:ext cx="96793" cy="96793"/>
            </a:xfrm>
            <a:prstGeom prst="ellipse">
              <a:avLst/>
            </a:prstGeom>
            <a:solidFill>
              <a:schemeClr val="accent3">
                <a:lumMod val="75000"/>
                <a:alpha val="38000"/>
              </a:schemeClr>
            </a:solidFill>
            <a:ln>
              <a:noFill/>
            </a:ln>
            <a:effectLst>
              <a:outerShdw blurRad="50800" dist="38100" dir="8100000" sx="129000" sy="129000" algn="tr" rotWithShape="0">
                <a:schemeClr val="accent3">
                  <a:lumMod val="50000"/>
                  <a:alpha val="40000"/>
                </a:scheme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615" name="Oval 614">
              <a:extLst>
                <a:ext uri="{FF2B5EF4-FFF2-40B4-BE49-F238E27FC236}">
                  <a16:creationId xmlns:a16="http://schemas.microsoft.com/office/drawing/2014/main" id="{42906132-FBA6-9E13-A74D-00E36A20A578}"/>
                </a:ext>
              </a:extLst>
            </p:cNvPr>
            <p:cNvSpPr/>
            <p:nvPr/>
          </p:nvSpPr>
          <p:spPr>
            <a:xfrm>
              <a:off x="8831716" y="2693461"/>
              <a:ext cx="65532" cy="65532"/>
            </a:xfrm>
            <a:prstGeom prst="ellipse">
              <a:avLst/>
            </a:prstGeom>
            <a:solidFill>
              <a:schemeClr val="accent3">
                <a:lumMod val="75000"/>
                <a:alpha val="38000"/>
              </a:schemeClr>
            </a:solidFill>
            <a:ln>
              <a:noFill/>
            </a:ln>
            <a:effectLst>
              <a:outerShdw blurRad="50800" dist="38100" dir="8100000" sx="129000" sy="129000" algn="tr" rotWithShape="0">
                <a:schemeClr val="accent3">
                  <a:lumMod val="50000"/>
                  <a:alpha val="40000"/>
                </a:scheme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5484019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DF348F2D-722A-46D0-9ED5-F08CB5D1A02C}"/>
              </a:ext>
            </a:extLst>
          </p:cNvPr>
          <p:cNvSpPr/>
          <p:nvPr/>
        </p:nvSpPr>
        <p:spPr>
          <a:xfrm>
            <a:off x="850389" y="3844512"/>
            <a:ext cx="5122950" cy="1924627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0959" tIns="60959" rIns="60959" bIns="60959" numCol="1" spcCol="38100" rtlCol="0" anchor="ctr">
            <a:noAutofit/>
          </a:bodyPr>
          <a:lstStyle/>
          <a:p>
            <a:pPr defTabSz="914377" hangingPunct="0"/>
            <a:endParaRPr lang="en-GB" sz="1733" kern="0" dirty="0">
              <a:solidFill>
                <a:srgbClr val="6B747B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4DFEC3F6-32DC-41C4-AB69-C41146A576E0}"/>
              </a:ext>
            </a:extLst>
          </p:cNvPr>
          <p:cNvSpPr/>
          <p:nvPr/>
        </p:nvSpPr>
        <p:spPr>
          <a:xfrm>
            <a:off x="6303412" y="3844512"/>
            <a:ext cx="5122950" cy="1924627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0959" tIns="60959" rIns="60959" bIns="60959" numCol="1" spcCol="38100" rtlCol="0" anchor="ctr">
            <a:noAutofit/>
          </a:bodyPr>
          <a:lstStyle/>
          <a:p>
            <a:pPr defTabSz="914377" hangingPunct="0"/>
            <a:endParaRPr lang="en-GB" sz="1733" kern="0" dirty="0">
              <a:solidFill>
                <a:srgbClr val="6B747B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A6C7D4CE-761D-4DCF-A98F-8F693141ECDC}"/>
              </a:ext>
            </a:extLst>
          </p:cNvPr>
          <p:cNvSpPr/>
          <p:nvPr/>
        </p:nvSpPr>
        <p:spPr>
          <a:xfrm>
            <a:off x="835310" y="1718132"/>
            <a:ext cx="5122950" cy="1924627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0959" tIns="60959" rIns="60959" bIns="60959" numCol="1" spcCol="38100" rtlCol="0" anchor="ctr">
            <a:noAutofit/>
          </a:bodyPr>
          <a:lstStyle/>
          <a:p>
            <a:pPr defTabSz="914377" hangingPunct="0"/>
            <a:endParaRPr lang="en-GB" sz="1733" kern="0" dirty="0">
              <a:solidFill>
                <a:srgbClr val="6B747B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3D6B647-F80D-4196-A431-B360B15907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ntroductions</a:t>
            </a:r>
          </a:p>
        </p:txBody>
      </p:sp>
      <p:sp>
        <p:nvSpPr>
          <p:cNvPr id="2" name="Slide Number Placeholder 3">
            <a:extLst>
              <a:ext uri="{FF2B5EF4-FFF2-40B4-BE49-F238E27FC236}">
                <a16:creationId xmlns:a16="http://schemas.microsoft.com/office/drawing/2014/main" id="{57DCCA9D-E1CD-C9F6-EC6F-35F4228D95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06B0CF-28DA-4AF7-AD0B-CB9D5901F647}" type="slidenum">
              <a:rPr lang="en-GB" smtClean="0"/>
              <a:pPr/>
              <a:t>4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0C1C0B0-F853-1802-3432-5DE9261BC36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61A6487-1A05-4328-A353-189640A4370F}"/>
              </a:ext>
            </a:extLst>
          </p:cNvPr>
          <p:cNvSpPr/>
          <p:nvPr/>
        </p:nvSpPr>
        <p:spPr>
          <a:xfrm>
            <a:off x="8013057" y="4375939"/>
            <a:ext cx="3343633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77" hangingPunct="0"/>
            <a:r>
              <a:rPr lang="en-GB" b="1" kern="0">
                <a:solidFill>
                  <a:schemeClr val="accent6">
                    <a:lumMod val="50000"/>
                  </a:schemeClr>
                </a:solidFill>
                <a:ea typeface="MS Mincho" panose="02020609040205080304" pitchFamily="49" charset="-128"/>
                <a:cs typeface="Arial" panose="020B0604020202020204" pitchFamily="34" charset="0"/>
                <a:sym typeface="Arial"/>
              </a:rPr>
              <a:t>Prof. Enrico Derenzini</a:t>
            </a:r>
          </a:p>
          <a:p>
            <a:pPr defTabSz="914377" hangingPunct="0"/>
            <a:r>
              <a:rPr lang="en-GB" sz="1600" kern="0">
                <a:solidFill>
                  <a:schemeClr val="tx2"/>
                </a:solidFill>
                <a:cs typeface="Arial" panose="020B0604020202020204" pitchFamily="34" charset="0"/>
                <a:sym typeface="Arial"/>
              </a:rPr>
              <a:t>University </a:t>
            </a:r>
            <a:r>
              <a:rPr lang="en-GB" sz="1600" kern="0" dirty="0">
                <a:solidFill>
                  <a:schemeClr val="tx2"/>
                </a:solidFill>
                <a:cs typeface="Arial" panose="020B0604020202020204" pitchFamily="34" charset="0"/>
                <a:sym typeface="Arial"/>
              </a:rPr>
              <a:t>of Milan</a:t>
            </a:r>
          </a:p>
          <a:p>
            <a:pPr defTabSz="914377" hangingPunct="0"/>
            <a:r>
              <a:rPr lang="en-GB" sz="1600" kern="0" dirty="0">
                <a:solidFill>
                  <a:schemeClr val="tx2"/>
                </a:solidFill>
                <a:cs typeface="Arial" panose="020B0604020202020204" pitchFamily="34" charset="0"/>
                <a:sym typeface="Arial"/>
              </a:rPr>
              <a:t>Milan, Italy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1717CB9E-6841-46B5-ACC7-C9B2167F33A7}"/>
              </a:ext>
            </a:extLst>
          </p:cNvPr>
          <p:cNvSpPr/>
          <p:nvPr/>
        </p:nvSpPr>
        <p:spPr>
          <a:xfrm>
            <a:off x="2582165" y="4375939"/>
            <a:ext cx="3385536" cy="861774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defTabSz="914377" hangingPunct="0"/>
            <a:r>
              <a:rPr lang="en-GB" b="1" kern="0" dirty="0">
                <a:solidFill>
                  <a:schemeClr val="accent6">
                    <a:lumMod val="50000"/>
                  </a:schemeClr>
                </a:solidFill>
                <a:ea typeface="MS Mincho" panose="02020609040205080304" pitchFamily="49" charset="-128"/>
                <a:cs typeface="Arial" panose="020B0604020202020204" pitchFamily="34" charset="0"/>
                <a:sym typeface="Arial"/>
              </a:rPr>
              <a:t>Prof. Andrew Davies</a:t>
            </a:r>
          </a:p>
          <a:p>
            <a:pPr defTabSz="914377" hangingPunct="0"/>
            <a:r>
              <a:rPr lang="en-GB" sz="1600" kern="0" dirty="0">
                <a:solidFill>
                  <a:schemeClr val="tx2"/>
                </a:solidFill>
                <a:ea typeface="MS Mincho" panose="02020609040205080304" pitchFamily="49" charset="-128"/>
                <a:cs typeface="Arial" panose="020B0604020202020204" pitchFamily="34" charset="0"/>
                <a:sym typeface="Arial"/>
              </a:rPr>
              <a:t>University Hospital Southampton, Southampton, UK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3B148A67-54C1-4156-B652-E8FCC7CBB622}"/>
              </a:ext>
            </a:extLst>
          </p:cNvPr>
          <p:cNvSpPr/>
          <p:nvPr/>
        </p:nvSpPr>
        <p:spPr>
          <a:xfrm>
            <a:off x="2582165" y="2249558"/>
            <a:ext cx="3335779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77" hangingPunct="0"/>
            <a:r>
              <a:rPr lang="en-GB" b="1" kern="0" dirty="0">
                <a:solidFill>
                  <a:schemeClr val="accent6">
                    <a:lumMod val="50000"/>
                  </a:schemeClr>
                </a:solidFill>
                <a:ea typeface="MS Mincho" panose="02020609040205080304" pitchFamily="49" charset="-128"/>
                <a:cs typeface="Arial" panose="020B0604020202020204" pitchFamily="34" charset="0"/>
                <a:sym typeface="Arial"/>
              </a:rPr>
              <a:t>Prof. Pier Luigi </a:t>
            </a:r>
            <a:r>
              <a:rPr lang="en-GB" b="1" kern="0" dirty="0" err="1">
                <a:solidFill>
                  <a:schemeClr val="accent6">
                    <a:lumMod val="50000"/>
                  </a:schemeClr>
                </a:solidFill>
                <a:ea typeface="MS Mincho" panose="02020609040205080304" pitchFamily="49" charset="-128"/>
                <a:cs typeface="Arial" panose="020B0604020202020204" pitchFamily="34" charset="0"/>
                <a:sym typeface="Arial"/>
              </a:rPr>
              <a:t>Zinzani</a:t>
            </a:r>
            <a:r>
              <a:rPr lang="en-GB" b="1" kern="0" dirty="0">
                <a:solidFill>
                  <a:schemeClr val="accent6">
                    <a:lumMod val="50000"/>
                  </a:schemeClr>
                </a:solidFill>
                <a:ea typeface="MS Mincho" panose="02020609040205080304" pitchFamily="49" charset="-128"/>
                <a:cs typeface="Arial" panose="020B0604020202020204" pitchFamily="34" charset="0"/>
                <a:sym typeface="Arial"/>
              </a:rPr>
              <a:t> </a:t>
            </a:r>
          </a:p>
          <a:p>
            <a:pPr defTabSz="914377" hangingPunct="0"/>
            <a:r>
              <a:rPr lang="en-GB" sz="1600" kern="0">
                <a:solidFill>
                  <a:schemeClr val="tx2"/>
                </a:solidFill>
                <a:ea typeface="MS Mincho" panose="02020609040205080304" pitchFamily="49" charset="-128"/>
                <a:cs typeface="Arial" panose="020B0604020202020204" pitchFamily="34" charset="0"/>
                <a:sym typeface="Arial"/>
              </a:rPr>
              <a:t>University of Bologna </a:t>
            </a:r>
            <a:br>
              <a:rPr lang="en-GB" sz="1600" kern="0">
                <a:solidFill>
                  <a:schemeClr val="tx2"/>
                </a:solidFill>
                <a:ea typeface="MS Mincho" panose="02020609040205080304" pitchFamily="49" charset="-128"/>
                <a:cs typeface="Arial" panose="020B0604020202020204" pitchFamily="34" charset="0"/>
                <a:sym typeface="Arial"/>
              </a:rPr>
            </a:br>
            <a:r>
              <a:rPr lang="en-GB" sz="1600" kern="0">
                <a:solidFill>
                  <a:schemeClr val="tx2"/>
                </a:solidFill>
                <a:ea typeface="MS Mincho" panose="02020609040205080304" pitchFamily="49" charset="-128"/>
                <a:cs typeface="Arial" panose="020B0604020202020204" pitchFamily="34" charset="0"/>
                <a:sym typeface="Arial"/>
              </a:rPr>
              <a:t>Bologna, Italy</a:t>
            </a:r>
            <a:endParaRPr lang="en-GB" sz="1600" kern="0" dirty="0">
              <a:solidFill>
                <a:schemeClr val="tx2"/>
              </a:solidFill>
              <a:ea typeface="MS Mincho" panose="02020609040205080304" pitchFamily="49" charset="-128"/>
              <a:cs typeface="Arial" panose="020B0604020202020204" pitchFamily="34" charset="0"/>
              <a:sym typeface="Arial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4E6E2A4-53CD-EE0B-CC83-95B566283FC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25" t="2661" r="4452" b="6206"/>
          <a:stretch/>
        </p:blipFill>
        <p:spPr>
          <a:xfrm>
            <a:off x="1120140" y="2030645"/>
            <a:ext cx="1299600" cy="1299600"/>
          </a:xfrm>
          <a:prstGeom prst="ellipse">
            <a:avLst/>
          </a:prstGeom>
          <a:gradFill>
            <a:gsLst>
              <a:gs pos="0">
                <a:srgbClr val="F2A908"/>
              </a:gs>
              <a:gs pos="100000">
                <a:srgbClr val="FCCF13"/>
              </a:gs>
            </a:gsLst>
            <a:lin ang="5400000" scaled="1"/>
          </a:gradFill>
          <a:ln w="76200">
            <a:gradFill>
              <a:gsLst>
                <a:gs pos="100000">
                  <a:srgbClr val="FCCF13"/>
                </a:gs>
                <a:gs pos="0">
                  <a:srgbClr val="F3AD09"/>
                </a:gs>
              </a:gsLst>
              <a:lin ang="5400000" scaled="1"/>
            </a:gradFill>
          </a:ln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A2B20E89-2239-245B-062E-E0E70BC063B8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/>
          <a:stretch/>
        </p:blipFill>
        <p:spPr>
          <a:xfrm>
            <a:off x="6521300" y="4157026"/>
            <a:ext cx="1299600" cy="1299600"/>
          </a:xfrm>
          <a:prstGeom prst="ellipse">
            <a:avLst/>
          </a:prstGeom>
          <a:gradFill>
            <a:gsLst>
              <a:gs pos="0">
                <a:srgbClr val="F2A908"/>
              </a:gs>
              <a:gs pos="100000">
                <a:srgbClr val="FCCF13"/>
              </a:gs>
            </a:gsLst>
            <a:lin ang="5400000" scaled="1"/>
          </a:gradFill>
          <a:ln w="76200">
            <a:gradFill>
              <a:gsLst>
                <a:gs pos="100000">
                  <a:srgbClr val="FCCF13"/>
                </a:gs>
                <a:gs pos="0">
                  <a:srgbClr val="F3AD09"/>
                </a:gs>
              </a:gsLst>
              <a:lin ang="5400000" scaled="1"/>
            </a:gradFill>
          </a:ln>
        </p:spPr>
      </p:pic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CE2CF1CF-A548-05BF-59D8-140F54741769}"/>
              </a:ext>
            </a:extLst>
          </p:cNvPr>
          <p:cNvSpPr/>
          <p:nvPr/>
        </p:nvSpPr>
        <p:spPr>
          <a:xfrm>
            <a:off x="6303412" y="1718132"/>
            <a:ext cx="5122950" cy="1924627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0959" tIns="60959" rIns="60959" bIns="60959" numCol="1" spcCol="38100" rtlCol="0" anchor="ctr">
            <a:noAutofit/>
          </a:bodyPr>
          <a:lstStyle/>
          <a:p>
            <a:pPr defTabSz="914377" hangingPunct="0"/>
            <a:endParaRPr lang="en-GB" sz="1733" kern="0" dirty="0">
              <a:solidFill>
                <a:srgbClr val="6B747B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62306B2-6A74-022A-35C4-0C5573571454}"/>
              </a:ext>
            </a:extLst>
          </p:cNvPr>
          <p:cNvSpPr/>
          <p:nvPr/>
        </p:nvSpPr>
        <p:spPr>
          <a:xfrm>
            <a:off x="8013057" y="2249558"/>
            <a:ext cx="3343633" cy="861774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defTabSz="914377" hangingPunct="0"/>
            <a:r>
              <a:rPr lang="en-GB" b="1" kern="0">
                <a:solidFill>
                  <a:schemeClr val="accent6">
                    <a:lumMod val="50000"/>
                  </a:schemeClr>
                </a:solidFill>
                <a:ea typeface="MS Mincho"/>
                <a:cs typeface="Arial"/>
                <a:sym typeface="Arial"/>
              </a:rPr>
              <a:t>Prof. Anna Sureda</a:t>
            </a:r>
          </a:p>
          <a:p>
            <a:pPr defTabSz="914377" hangingPunct="0"/>
            <a:r>
              <a:rPr lang="en-GB" sz="1600" kern="0">
                <a:solidFill>
                  <a:schemeClr val="tx2"/>
                </a:solidFill>
                <a:cs typeface="Arial" panose="020B0604020202020204" pitchFamily="34" charset="0"/>
                <a:sym typeface="Arial"/>
              </a:rPr>
              <a:t>University </a:t>
            </a:r>
            <a:r>
              <a:rPr lang="en-GB" sz="1600" kern="0" dirty="0">
                <a:solidFill>
                  <a:schemeClr val="tx2"/>
                </a:solidFill>
                <a:cs typeface="Arial" panose="020B0604020202020204" pitchFamily="34" charset="0"/>
                <a:sym typeface="Arial"/>
              </a:rPr>
              <a:t>of Barcelona</a:t>
            </a:r>
          </a:p>
          <a:p>
            <a:pPr defTabSz="914377" hangingPunct="0"/>
            <a:r>
              <a:rPr lang="en-GB" sz="1600" kern="0" dirty="0">
                <a:solidFill>
                  <a:schemeClr val="tx2"/>
                </a:solidFill>
                <a:cs typeface="Arial"/>
                <a:sym typeface="Arial"/>
              </a:rPr>
              <a:t>Barcelona, Spain</a:t>
            </a:r>
            <a:endParaRPr lang="en-GB" sz="1600" kern="0" dirty="0">
              <a:solidFill>
                <a:schemeClr val="tx2"/>
              </a:solidFill>
              <a:cs typeface="Arial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FD95EC8-BDFC-4806-B851-ADA35B8D442E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19430" t="7148" r="12941" b="28831"/>
          <a:stretch>
            <a:fillRect/>
          </a:stretch>
        </p:blipFill>
        <p:spPr>
          <a:xfrm>
            <a:off x="6521300" y="2030645"/>
            <a:ext cx="1299600" cy="1299600"/>
          </a:xfrm>
          <a:prstGeom prst="ellipse">
            <a:avLst/>
          </a:prstGeom>
          <a:gradFill>
            <a:gsLst>
              <a:gs pos="0">
                <a:srgbClr val="F2A908"/>
              </a:gs>
              <a:gs pos="100000">
                <a:srgbClr val="FCCF13"/>
              </a:gs>
            </a:gsLst>
            <a:lin ang="5400000" scaled="1"/>
          </a:gradFill>
          <a:ln w="76200">
            <a:gradFill>
              <a:gsLst>
                <a:gs pos="100000">
                  <a:srgbClr val="FCCF13"/>
                </a:gs>
                <a:gs pos="0">
                  <a:srgbClr val="F3AD09"/>
                </a:gs>
              </a:gsLst>
              <a:lin ang="5400000" scaled="1"/>
            </a:gradFill>
          </a:ln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4104D27B-E2CA-C82A-DF63-232E9D973FA6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>
            <a:off x="1120140" y="4157026"/>
            <a:ext cx="1299600" cy="1299600"/>
          </a:xfrm>
          <a:prstGeom prst="ellipse">
            <a:avLst/>
          </a:prstGeom>
          <a:gradFill>
            <a:gsLst>
              <a:gs pos="0">
                <a:srgbClr val="F2A908"/>
              </a:gs>
              <a:gs pos="100000">
                <a:srgbClr val="FCCF13"/>
              </a:gs>
            </a:gsLst>
            <a:lin ang="5400000" scaled="1"/>
          </a:gradFill>
          <a:ln w="76200">
            <a:gradFill>
              <a:gsLst>
                <a:gs pos="100000">
                  <a:srgbClr val="FCCF13"/>
                </a:gs>
                <a:gs pos="0">
                  <a:srgbClr val="F3AD09"/>
                </a:gs>
              </a:gsLst>
              <a:lin ang="5400000" scaled="1"/>
            </a:gradFill>
          </a:ln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D4766CE-B91D-F394-87BC-051F2665FBFA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19430" t="7148" r="12941" b="28831"/>
          <a:stretch>
            <a:fillRect/>
          </a:stretch>
        </p:blipFill>
        <p:spPr>
          <a:xfrm>
            <a:off x="6521300" y="4156527"/>
            <a:ext cx="1299600" cy="1299600"/>
          </a:xfrm>
          <a:prstGeom prst="ellipse">
            <a:avLst/>
          </a:prstGeom>
          <a:gradFill>
            <a:gsLst>
              <a:gs pos="0">
                <a:srgbClr val="F2A908"/>
              </a:gs>
              <a:gs pos="100000">
                <a:srgbClr val="FCCF13"/>
              </a:gs>
            </a:gsLst>
            <a:lin ang="5400000" scaled="1"/>
          </a:gradFill>
          <a:ln w="76200">
            <a:gradFill>
              <a:gsLst>
                <a:gs pos="100000">
                  <a:srgbClr val="FCCF13"/>
                </a:gs>
                <a:gs pos="0">
                  <a:srgbClr val="F3AD09"/>
                </a:gs>
              </a:gsLst>
              <a:lin ang="5400000" scaled="1"/>
            </a:gradFill>
          </a:ln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56A5FEC7-1105-AFBD-5494-A06D9FC50BF7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1373" b="12567"/>
          <a:stretch>
            <a:fillRect/>
          </a:stretch>
        </p:blipFill>
        <p:spPr>
          <a:xfrm>
            <a:off x="6521300" y="2051369"/>
            <a:ext cx="1299600" cy="1299600"/>
          </a:xfrm>
          <a:prstGeom prst="ellipse">
            <a:avLst/>
          </a:prstGeom>
          <a:gradFill>
            <a:gsLst>
              <a:gs pos="0">
                <a:srgbClr val="F2A908"/>
              </a:gs>
              <a:gs pos="100000">
                <a:srgbClr val="FCCF13"/>
              </a:gs>
            </a:gsLst>
            <a:lin ang="5400000" scaled="1"/>
          </a:gradFill>
          <a:ln w="76200">
            <a:gradFill>
              <a:gsLst>
                <a:gs pos="100000">
                  <a:srgbClr val="FCCF13"/>
                </a:gs>
                <a:gs pos="0">
                  <a:srgbClr val="F3AD09"/>
                </a:gs>
              </a:gsLst>
              <a:lin ang="5400000" scaled="1"/>
            </a:gradFill>
          </a:ln>
        </p:spPr>
      </p:pic>
    </p:spTree>
    <p:extLst>
      <p:ext uri="{BB962C8B-B14F-4D97-AF65-F5344CB8AC3E}">
        <p14:creationId xmlns:p14="http://schemas.microsoft.com/office/powerpoint/2010/main" val="836945303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FD12F634-0396-033F-4363-2C521F348D07}"/>
              </a:ext>
            </a:extLst>
          </p:cNvPr>
          <p:cNvSpPr txBox="1"/>
          <p:nvPr/>
        </p:nvSpPr>
        <p:spPr>
          <a:xfrm>
            <a:off x="8701116" y="3210688"/>
            <a:ext cx="1124590" cy="1692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SCT eligib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25EC9DA-1507-24A2-EA33-3C09CC6558AB}"/>
              </a:ext>
            </a:extLst>
          </p:cNvPr>
          <p:cNvSpPr txBox="1"/>
          <p:nvPr/>
        </p:nvSpPr>
        <p:spPr>
          <a:xfrm>
            <a:off x="6521701" y="3210688"/>
            <a:ext cx="2237983" cy="1692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o intention to proceed to ASC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242B67-5637-33D9-64C4-3020FCD6E7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0647" y="311858"/>
            <a:ext cx="9789459" cy="986862"/>
          </a:xfrm>
        </p:spPr>
        <p:txBody>
          <a:bodyPr/>
          <a:lstStyle/>
          <a:p>
            <a:r>
              <a:rPr lang="en-GB" dirty="0"/>
              <a:t>Beyond 2L treatment, these factors are even more important in decision making</a:t>
            </a:r>
            <a:r>
              <a:rPr lang="en-GB" baseline="30000" dirty="0"/>
              <a:t>1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B1607B1-1BC9-FC65-02C0-B88D780EFC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01CC8E-1CEF-6746-999E-CF29FF00B1D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82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0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5D882FB-5A43-6985-EACC-5A43D18121C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GB" dirty="0"/>
              <a:t>*CAR-T cell therapy may not be appropriate in patients with PS&gt;2 or who have a large tumour volume and/or rapidly increasing LDH level. †2L immunochemotherapy before HDT/ASCT, in case of CMR, go to HDT/ASCT [IA]. 1L, first line; 2L, second line; 3L+, third line and beyond; ASCT, autologous stem cell transplantation; </a:t>
            </a:r>
            <a:r>
              <a:rPr lang="en-GB" dirty="0" err="1"/>
              <a:t>axi</a:t>
            </a:r>
            <a:r>
              <a:rPr lang="en-GB" dirty="0"/>
              <a:t>-cel, </a:t>
            </a:r>
            <a:r>
              <a:rPr lang="en-GB" dirty="0" err="1"/>
              <a:t>axicabtagene</a:t>
            </a:r>
            <a:r>
              <a:rPr lang="en-GB" dirty="0"/>
              <a:t> </a:t>
            </a:r>
            <a:r>
              <a:rPr lang="en-GB" dirty="0" err="1"/>
              <a:t>ciloleucel</a:t>
            </a:r>
            <a:r>
              <a:rPr lang="en-GB" dirty="0"/>
              <a:t>; CAR-T, chimeric antigen receptor T-cell therapy; </a:t>
            </a:r>
            <a:endParaRPr lang="en-CH" dirty="0"/>
          </a:p>
          <a:p>
            <a:r>
              <a:rPr lang="en-GB" dirty="0"/>
              <a:t>C(M)R, complete (metabolic) response; Epcor, </a:t>
            </a:r>
            <a:r>
              <a:rPr lang="en-GB" dirty="0" err="1"/>
              <a:t>epcoritamab</a:t>
            </a:r>
            <a:r>
              <a:rPr lang="en-GB" dirty="0"/>
              <a:t>; </a:t>
            </a:r>
            <a:r>
              <a:rPr lang="en-GB" dirty="0" err="1"/>
              <a:t>GemOx</a:t>
            </a:r>
            <a:r>
              <a:rPr lang="en-GB" dirty="0"/>
              <a:t>, gemcitabine and oxaliplatin; </a:t>
            </a:r>
            <a:r>
              <a:rPr lang="en-GB" dirty="0" err="1"/>
              <a:t>Glofit</a:t>
            </a:r>
            <a:r>
              <a:rPr lang="en-GB" dirty="0"/>
              <a:t>, </a:t>
            </a:r>
            <a:r>
              <a:rPr lang="en-GB" dirty="0" err="1"/>
              <a:t>glofitamab</a:t>
            </a:r>
            <a:r>
              <a:rPr lang="en-GB" dirty="0"/>
              <a:t>; HDT, high-dose therapy; LBCL, large B-cell lymphoma; LDH, lactate dehydrogenase; </a:t>
            </a:r>
            <a:endParaRPr lang="en-CH" dirty="0"/>
          </a:p>
          <a:p>
            <a:r>
              <a:rPr lang="en-GB" dirty="0" err="1"/>
              <a:t>len</a:t>
            </a:r>
            <a:r>
              <a:rPr lang="en-GB" dirty="0"/>
              <a:t>, lenalidomide; </a:t>
            </a:r>
            <a:r>
              <a:rPr lang="en-GB" dirty="0" err="1"/>
              <a:t>liso</a:t>
            </a:r>
            <a:r>
              <a:rPr lang="en-GB" dirty="0"/>
              <a:t>-cel, </a:t>
            </a:r>
            <a:r>
              <a:rPr lang="en-GB" dirty="0" err="1"/>
              <a:t>lisocabtagene</a:t>
            </a:r>
            <a:r>
              <a:rPr lang="en-GB" dirty="0"/>
              <a:t> </a:t>
            </a:r>
            <a:r>
              <a:rPr lang="en-GB" dirty="0" err="1"/>
              <a:t>maraleucel</a:t>
            </a:r>
            <a:r>
              <a:rPr lang="en-GB" dirty="0"/>
              <a:t>; Pola-BR, </a:t>
            </a:r>
            <a:r>
              <a:rPr lang="en-GB" dirty="0" err="1"/>
              <a:t>polatuzumab</a:t>
            </a:r>
            <a:r>
              <a:rPr lang="en-GB" dirty="0"/>
              <a:t> vedotin, </a:t>
            </a:r>
            <a:r>
              <a:rPr lang="en-GB" dirty="0" err="1"/>
              <a:t>bendamustine</a:t>
            </a:r>
            <a:r>
              <a:rPr lang="en-GB" dirty="0"/>
              <a:t> and rituximab; Pola-R-CHP, </a:t>
            </a:r>
            <a:r>
              <a:rPr lang="en-GB" dirty="0" err="1"/>
              <a:t>polatuzumab</a:t>
            </a:r>
            <a:r>
              <a:rPr lang="en-GB" dirty="0"/>
              <a:t> vedotin, rituximab, cyclophosphamide, doxorubicin, prednisone; PR, partial response; PS, performance status; R-CHOP, rituximab, cyclophosphamide, doxorubicin, vincristine, prednisone; Tafa, </a:t>
            </a:r>
            <a:r>
              <a:rPr lang="en-GB" dirty="0" err="1"/>
              <a:t>tafasitamab</a:t>
            </a:r>
            <a:r>
              <a:rPr lang="en-GB" dirty="0"/>
              <a:t>. </a:t>
            </a:r>
            <a:r>
              <a:rPr lang="en-GB" b="1" dirty="0"/>
              <a:t>1. </a:t>
            </a:r>
            <a:r>
              <a:rPr lang="en-GB" dirty="0"/>
              <a:t>Thieblemont et al. </a:t>
            </a:r>
            <a:r>
              <a:rPr lang="en-GB" i="1" dirty="0" err="1"/>
              <a:t>Hemasphere</a:t>
            </a:r>
            <a:r>
              <a:rPr lang="en-GB" dirty="0"/>
              <a:t> 2025.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5A7354CD-586D-34B8-DA68-FFFE8B7CD96C}"/>
              </a:ext>
            </a:extLst>
          </p:cNvPr>
          <p:cNvSpPr/>
          <p:nvPr/>
        </p:nvSpPr>
        <p:spPr>
          <a:xfrm>
            <a:off x="573741" y="2665052"/>
            <a:ext cx="10924759" cy="1980000"/>
          </a:xfrm>
          <a:prstGeom prst="roundRect">
            <a:avLst>
              <a:gd name="adj" fmla="val 2875"/>
            </a:avLst>
          </a:prstGeom>
          <a:noFill/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4C5107B-AAB7-0F39-1B56-C641F25CE57A}"/>
              </a:ext>
            </a:extLst>
          </p:cNvPr>
          <p:cNvSpPr txBox="1"/>
          <p:nvPr/>
        </p:nvSpPr>
        <p:spPr>
          <a:xfrm>
            <a:off x="720762" y="1728443"/>
            <a:ext cx="349644" cy="2769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L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630F9BBE-09C8-56C6-BD49-47F87976631F}"/>
              </a:ext>
            </a:extLst>
          </p:cNvPr>
          <p:cNvSpPr/>
          <p:nvPr/>
        </p:nvSpPr>
        <p:spPr>
          <a:xfrm>
            <a:off x="1185839" y="1728443"/>
            <a:ext cx="1819765" cy="684315"/>
          </a:xfrm>
          <a:prstGeom prst="roundRect">
            <a:avLst>
              <a:gd name="adj" fmla="val 7584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0 risk factors</a:t>
            </a:r>
          </a:p>
          <a:p>
            <a:pPr marL="0" marR="0" lvl="0" indent="0" algn="ctr" defTabSz="914400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tage I/II, &lt;80 years</a:t>
            </a:r>
          </a:p>
          <a:p>
            <a:pPr marL="0" marR="0" lvl="0" indent="0" algn="ctr" defTabSz="914400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-CHOP [IA]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DF2F2539-BA68-56BA-1799-7C8B58A686F9}"/>
              </a:ext>
            </a:extLst>
          </p:cNvPr>
          <p:cNvSpPr/>
          <p:nvPr/>
        </p:nvSpPr>
        <p:spPr>
          <a:xfrm>
            <a:off x="573764" y="1534638"/>
            <a:ext cx="10924759" cy="937056"/>
          </a:xfrm>
          <a:prstGeom prst="roundRect">
            <a:avLst>
              <a:gd name="adj" fmla="val 6385"/>
            </a:avLst>
          </a:prstGeom>
          <a:noFill/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7BE9FC52-9469-B0D0-B537-D11CD994B97D}"/>
              </a:ext>
            </a:extLst>
          </p:cNvPr>
          <p:cNvSpPr/>
          <p:nvPr/>
        </p:nvSpPr>
        <p:spPr>
          <a:xfrm>
            <a:off x="3242596" y="1728443"/>
            <a:ext cx="3363172" cy="684315"/>
          </a:xfrm>
          <a:prstGeom prst="roundRect">
            <a:avLst>
              <a:gd name="adj" fmla="val 7584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36000" rIns="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 risk factor</a:t>
            </a:r>
          </a:p>
          <a:p>
            <a:pPr marL="0" marR="0" lvl="0" indent="0" algn="ctr" defTabSz="914400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tage III/IV or Stage I/II with high LDH or poor PS, &lt;80 years</a:t>
            </a:r>
          </a:p>
          <a:p>
            <a:pPr marL="0" marR="0" lvl="0" indent="0" algn="ctr" defTabSz="914400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-CHOP [IA]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A1F3153F-D211-BE41-42B1-37138121644F}"/>
              </a:ext>
            </a:extLst>
          </p:cNvPr>
          <p:cNvSpPr/>
          <p:nvPr/>
        </p:nvSpPr>
        <p:spPr>
          <a:xfrm>
            <a:off x="6842761" y="1728443"/>
            <a:ext cx="4407042" cy="684315"/>
          </a:xfrm>
          <a:prstGeom prst="roundRect">
            <a:avLst>
              <a:gd name="adj" fmla="val 7584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36000" rIns="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≥2 risk factors</a:t>
            </a:r>
          </a:p>
          <a:p>
            <a:pPr marL="0" marR="0" lvl="0" indent="0" algn="ctr" defTabSz="914400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tage III/IV and high LDH and/or poor PS and/or ≥2 extranodal sites, &lt;80 years</a:t>
            </a:r>
          </a:p>
          <a:p>
            <a:pPr marL="0" marR="0" lvl="0" indent="0" algn="ctr" defTabSz="914400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ola-R-CHP [IB]</a:t>
            </a: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D415943C-AB2A-FB0B-F102-7E96CE3B7688}"/>
              </a:ext>
            </a:extLst>
          </p:cNvPr>
          <p:cNvSpPr/>
          <p:nvPr/>
        </p:nvSpPr>
        <p:spPr>
          <a:xfrm>
            <a:off x="4252027" y="2557453"/>
            <a:ext cx="4010025" cy="224241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r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Biopsy and CD19 testing recommended</a:t>
            </a: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AC9537A6-0880-6035-5EEF-2FBB304D6421}"/>
              </a:ext>
            </a:extLst>
          </p:cNvPr>
          <p:cNvSpPr/>
          <p:nvPr/>
        </p:nvSpPr>
        <p:spPr>
          <a:xfrm>
            <a:off x="4252027" y="1418443"/>
            <a:ext cx="4010025" cy="224241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r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D20 assessment recommended</a:t>
            </a: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994D0D55-CB90-3628-558C-2F93C81E268F}"/>
              </a:ext>
            </a:extLst>
          </p:cNvPr>
          <p:cNvSpPr/>
          <p:nvPr/>
        </p:nvSpPr>
        <p:spPr>
          <a:xfrm>
            <a:off x="1185838" y="3654933"/>
            <a:ext cx="1764411" cy="918467"/>
          </a:xfrm>
          <a:prstGeom prst="roundRect">
            <a:avLst>
              <a:gd name="adj" fmla="val 8605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xi-cel [IA] or </a:t>
            </a:r>
            <a:b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liso-cel [IA]*</a:t>
            </a:r>
          </a:p>
        </p:txBody>
      </p:sp>
      <p:cxnSp>
        <p:nvCxnSpPr>
          <p:cNvPr id="24" name="Connector: Elbow 23">
            <a:extLst>
              <a:ext uri="{FF2B5EF4-FFF2-40B4-BE49-F238E27FC236}">
                <a16:creationId xmlns:a16="http://schemas.microsoft.com/office/drawing/2014/main" id="{C846E2A0-4C19-7CE2-7D70-EF026CBAB8EF}"/>
              </a:ext>
            </a:extLst>
          </p:cNvPr>
          <p:cNvCxnSpPr>
            <a:cxnSpLocks/>
            <a:stCxn id="43" idx="2"/>
            <a:endCxn id="23" idx="0"/>
          </p:cNvCxnSpPr>
          <p:nvPr/>
        </p:nvCxnSpPr>
        <p:spPr>
          <a:xfrm rot="5400000">
            <a:off x="2326034" y="2881162"/>
            <a:ext cx="515781" cy="1031760"/>
          </a:xfrm>
          <a:prstGeom prst="bentConnector3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1224BA2E-BD31-D79F-760E-6990508B616F}"/>
              </a:ext>
            </a:extLst>
          </p:cNvPr>
          <p:cNvSpPr txBox="1"/>
          <p:nvPr/>
        </p:nvSpPr>
        <p:spPr>
          <a:xfrm>
            <a:off x="2144281" y="3210688"/>
            <a:ext cx="893597" cy="1692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AR-T eligible</a:t>
            </a:r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14CEF9CC-139C-0062-76D7-CA44010A8B68}"/>
              </a:ext>
            </a:extLst>
          </p:cNvPr>
          <p:cNvSpPr/>
          <p:nvPr/>
        </p:nvSpPr>
        <p:spPr>
          <a:xfrm>
            <a:off x="8834818" y="3647498"/>
            <a:ext cx="2414011" cy="925902"/>
          </a:xfrm>
          <a:prstGeom prst="roundRect">
            <a:avLst>
              <a:gd name="adj" fmla="val 8605"/>
            </a:avLst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Immunochemotherapy</a:t>
            </a:r>
            <a:r>
              <a:rPr kumimoji="0" lang="en-GB" sz="1400" b="0" i="0" u="none" strike="noStrike" kern="1200" cap="none" spc="0" normalizeH="0" baseline="3000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† </a:t>
            </a: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followed by HDT/ASCT if CR/PR [IA]</a:t>
            </a:r>
          </a:p>
        </p:txBody>
      </p:sp>
      <p:cxnSp>
        <p:nvCxnSpPr>
          <p:cNvPr id="32" name="Connector: Elbow 31">
            <a:extLst>
              <a:ext uri="{FF2B5EF4-FFF2-40B4-BE49-F238E27FC236}">
                <a16:creationId xmlns:a16="http://schemas.microsoft.com/office/drawing/2014/main" id="{55893B0B-B609-18B6-604E-512D3818C239}"/>
              </a:ext>
            </a:extLst>
          </p:cNvPr>
          <p:cNvCxnSpPr>
            <a:cxnSpLocks/>
            <a:stCxn id="44" idx="2"/>
            <a:endCxn id="31" idx="0"/>
          </p:cNvCxnSpPr>
          <p:nvPr/>
        </p:nvCxnSpPr>
        <p:spPr>
          <a:xfrm rot="16200000" flipH="1">
            <a:off x="9073647" y="2679321"/>
            <a:ext cx="508346" cy="1428008"/>
          </a:xfrm>
          <a:prstGeom prst="bentConnector3">
            <a:avLst>
              <a:gd name="adj1" fmla="val 50468"/>
            </a:avLst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tangle: Rounded Corners 35">
            <a:extLst>
              <a:ext uri="{FF2B5EF4-FFF2-40B4-BE49-F238E27FC236}">
                <a16:creationId xmlns:a16="http://schemas.microsoft.com/office/drawing/2014/main" id="{704B4A5C-D214-38FC-0CF1-D64A4E571868}"/>
              </a:ext>
            </a:extLst>
          </p:cNvPr>
          <p:cNvSpPr/>
          <p:nvPr/>
        </p:nvSpPr>
        <p:spPr>
          <a:xfrm>
            <a:off x="3104147" y="3654931"/>
            <a:ext cx="5564068" cy="918469"/>
          </a:xfrm>
          <a:prstGeom prst="roundRect">
            <a:avLst>
              <a:gd name="adj" fmla="val 8884"/>
            </a:avLst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72000" rtlCol="0" anchor="ctr"/>
          <a:lstStyle/>
          <a:p>
            <a:pPr marL="144000" marR="0" lvl="0" indent="-144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7" name="Rectangle: Rounded Corners 36">
            <a:extLst>
              <a:ext uri="{FF2B5EF4-FFF2-40B4-BE49-F238E27FC236}">
                <a16:creationId xmlns:a16="http://schemas.microsoft.com/office/drawing/2014/main" id="{4018E76F-C380-FED2-B1DA-E94F09BEE371}"/>
              </a:ext>
            </a:extLst>
          </p:cNvPr>
          <p:cNvSpPr/>
          <p:nvPr/>
        </p:nvSpPr>
        <p:spPr>
          <a:xfrm>
            <a:off x="3101223" y="3701287"/>
            <a:ext cx="3359050" cy="1023219"/>
          </a:xfrm>
          <a:prstGeom prst="roundRect">
            <a:avLst>
              <a:gd name="adj" fmla="val 3218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72000" rtlCol="0" anchor="t"/>
          <a:lstStyle/>
          <a:p>
            <a:pPr marL="144000" marR="0" lvl="0" indent="-144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Glofit-GemOx [IA]</a:t>
            </a:r>
          </a:p>
          <a:p>
            <a:pPr marL="144000" marR="0" lvl="0" indent="-144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ituximab-chemotherapy [IB]</a:t>
            </a:r>
          </a:p>
          <a:p>
            <a:pPr marL="144000" marR="0" lvl="0" indent="-144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ola-BR [IIIB]</a:t>
            </a:r>
          </a:p>
          <a:p>
            <a:pPr marL="144000" marR="0" lvl="0" indent="-144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afa-len [IIIC] in non-refractory patients</a:t>
            </a:r>
          </a:p>
        </p:txBody>
      </p:sp>
      <p:cxnSp>
        <p:nvCxnSpPr>
          <p:cNvPr id="38" name="Connector: Elbow 37">
            <a:extLst>
              <a:ext uri="{FF2B5EF4-FFF2-40B4-BE49-F238E27FC236}">
                <a16:creationId xmlns:a16="http://schemas.microsoft.com/office/drawing/2014/main" id="{9DFCE953-9F7A-4AF3-755F-38B7E3E8BFAF}"/>
              </a:ext>
            </a:extLst>
          </p:cNvPr>
          <p:cNvCxnSpPr>
            <a:cxnSpLocks/>
            <a:stCxn id="43" idx="2"/>
            <a:endCxn id="36" idx="0"/>
          </p:cNvCxnSpPr>
          <p:nvPr/>
        </p:nvCxnSpPr>
        <p:spPr>
          <a:xfrm rot="16200000" flipH="1">
            <a:off x="4235103" y="2003852"/>
            <a:ext cx="515779" cy="2786377"/>
          </a:xfrm>
          <a:prstGeom prst="bentConnector3">
            <a:avLst>
              <a:gd name="adj1" fmla="val 50000"/>
            </a:avLst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Connector: Elbow 38">
            <a:extLst>
              <a:ext uri="{FF2B5EF4-FFF2-40B4-BE49-F238E27FC236}">
                <a16:creationId xmlns:a16="http://schemas.microsoft.com/office/drawing/2014/main" id="{B38CA6E9-3CED-AE66-7737-733D0D6A22DF}"/>
              </a:ext>
            </a:extLst>
          </p:cNvPr>
          <p:cNvCxnSpPr>
            <a:cxnSpLocks/>
            <a:stCxn id="44" idx="2"/>
            <a:endCxn id="36" idx="0"/>
          </p:cNvCxnSpPr>
          <p:nvPr/>
        </p:nvCxnSpPr>
        <p:spPr>
          <a:xfrm rot="5400000">
            <a:off x="6992110" y="2033224"/>
            <a:ext cx="515779" cy="2727635"/>
          </a:xfrm>
          <a:prstGeom prst="bentConnector3">
            <a:avLst>
              <a:gd name="adj1" fmla="val 50000"/>
            </a:avLst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>
            <a:extLst>
              <a:ext uri="{FF2B5EF4-FFF2-40B4-BE49-F238E27FC236}">
                <a16:creationId xmlns:a16="http://schemas.microsoft.com/office/drawing/2014/main" id="{0A7AE3C9-09C8-E862-002C-2C9971FEAF3E}"/>
              </a:ext>
            </a:extLst>
          </p:cNvPr>
          <p:cNvSpPr txBox="1"/>
          <p:nvPr/>
        </p:nvSpPr>
        <p:spPr>
          <a:xfrm>
            <a:off x="3171953" y="3210688"/>
            <a:ext cx="2007079" cy="1692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o intention to proceed to CAR-T</a:t>
            </a:r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A8BE1C10-2E7C-2484-4AE0-D2848998A36E}"/>
              </a:ext>
            </a:extLst>
          </p:cNvPr>
          <p:cNvSpPr/>
          <p:nvPr/>
        </p:nvSpPr>
        <p:spPr>
          <a:xfrm>
            <a:off x="6587606" y="3647497"/>
            <a:ext cx="1971461" cy="1023219"/>
          </a:xfrm>
          <a:prstGeom prst="roundRect">
            <a:avLst>
              <a:gd name="adj" fmla="val 3218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72000" rtlCol="0" anchor="t"/>
          <a:lstStyle/>
          <a:p>
            <a:pPr marL="144000" marR="0" lvl="0" indent="-144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Epcor-GemOx [IIIC] when available</a:t>
            </a:r>
          </a:p>
          <a:p>
            <a:pPr marL="144000" marR="0" lvl="0" indent="-144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linical trial</a:t>
            </a:r>
          </a:p>
          <a:p>
            <a:pPr marL="144000" marR="0" lvl="0" indent="-144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Best supportive care</a:t>
            </a:r>
          </a:p>
        </p:txBody>
      </p:sp>
      <p:sp>
        <p:nvSpPr>
          <p:cNvPr id="43" name="Rectangle: Rounded Corners 42">
            <a:extLst>
              <a:ext uri="{FF2B5EF4-FFF2-40B4-BE49-F238E27FC236}">
                <a16:creationId xmlns:a16="http://schemas.microsoft.com/office/drawing/2014/main" id="{C8F1396E-93BC-E59F-92A0-A8B3FF3173DA}"/>
              </a:ext>
            </a:extLst>
          </p:cNvPr>
          <p:cNvSpPr/>
          <p:nvPr/>
        </p:nvSpPr>
        <p:spPr>
          <a:xfrm>
            <a:off x="1185838" y="2856113"/>
            <a:ext cx="3827932" cy="283039"/>
          </a:xfrm>
          <a:prstGeom prst="roundRect">
            <a:avLst>
              <a:gd name="adj" fmla="val 16664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imary refractory or relapse within 12 months</a:t>
            </a:r>
          </a:p>
        </p:txBody>
      </p:sp>
      <p:sp>
        <p:nvSpPr>
          <p:cNvPr id="44" name="Rectangle: Rounded Corners 43">
            <a:extLst>
              <a:ext uri="{FF2B5EF4-FFF2-40B4-BE49-F238E27FC236}">
                <a16:creationId xmlns:a16="http://schemas.microsoft.com/office/drawing/2014/main" id="{4CA9EF0D-2230-7844-501F-4BB294991E90}"/>
              </a:ext>
            </a:extLst>
          </p:cNvPr>
          <p:cNvSpPr/>
          <p:nvPr/>
        </p:nvSpPr>
        <p:spPr>
          <a:xfrm>
            <a:off x="7437099" y="2856113"/>
            <a:ext cx="2353433" cy="283039"/>
          </a:xfrm>
          <a:prstGeom prst="roundRect">
            <a:avLst>
              <a:gd name="adj" fmla="val 16664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elapse after 12 months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841EF61D-23C1-FA6A-D428-9CFFF3C236F8}"/>
              </a:ext>
            </a:extLst>
          </p:cNvPr>
          <p:cNvSpPr txBox="1"/>
          <p:nvPr/>
        </p:nvSpPr>
        <p:spPr>
          <a:xfrm>
            <a:off x="720762" y="2856113"/>
            <a:ext cx="312016" cy="2769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L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F5DF51A8-D1F4-A78A-70F6-B10B38DC54A8}"/>
              </a:ext>
            </a:extLst>
          </p:cNvPr>
          <p:cNvSpPr/>
          <p:nvPr/>
        </p:nvSpPr>
        <p:spPr>
          <a:xfrm>
            <a:off x="470646" y="1306153"/>
            <a:ext cx="11125668" cy="4469898"/>
          </a:xfrm>
          <a:prstGeom prst="rect">
            <a:avLst/>
          </a:prstGeom>
          <a:solidFill>
            <a:srgbClr val="FFFFFF">
              <a:alpha val="80000"/>
            </a:srgbClr>
          </a:solidFill>
          <a:ln w="6350">
            <a:noFill/>
            <a:prstDash val="solid"/>
          </a:ln>
        </p:spPr>
        <p:txBody>
          <a:bodyPr wrap="squar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7" name="Rectangle: Rounded Corners 46">
            <a:extLst>
              <a:ext uri="{FF2B5EF4-FFF2-40B4-BE49-F238E27FC236}">
                <a16:creationId xmlns:a16="http://schemas.microsoft.com/office/drawing/2014/main" id="{D9133164-02C2-8589-C577-83D1992E0EB7}"/>
              </a:ext>
            </a:extLst>
          </p:cNvPr>
          <p:cNvSpPr/>
          <p:nvPr/>
        </p:nvSpPr>
        <p:spPr>
          <a:xfrm>
            <a:off x="573741" y="4896987"/>
            <a:ext cx="10924759" cy="837784"/>
          </a:xfrm>
          <a:prstGeom prst="roundRect">
            <a:avLst>
              <a:gd name="adj" fmla="val 6795"/>
            </a:avLst>
          </a:prstGeom>
          <a:noFill/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392F3E8D-53B1-1352-F99D-ED17852CFC7E}"/>
              </a:ext>
            </a:extLst>
          </p:cNvPr>
          <p:cNvSpPr txBox="1"/>
          <p:nvPr/>
        </p:nvSpPr>
        <p:spPr>
          <a:xfrm>
            <a:off x="720762" y="5113363"/>
            <a:ext cx="487095" cy="2769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3L+</a:t>
            </a:r>
          </a:p>
        </p:txBody>
      </p:sp>
      <p:sp>
        <p:nvSpPr>
          <p:cNvPr id="49" name="Rectangle: Rounded Corners 48">
            <a:extLst>
              <a:ext uri="{FF2B5EF4-FFF2-40B4-BE49-F238E27FC236}">
                <a16:creationId xmlns:a16="http://schemas.microsoft.com/office/drawing/2014/main" id="{9F3FD091-3500-331C-3C8C-8ECC7EA773B2}"/>
              </a:ext>
            </a:extLst>
          </p:cNvPr>
          <p:cNvSpPr/>
          <p:nvPr/>
        </p:nvSpPr>
        <p:spPr>
          <a:xfrm>
            <a:off x="1185838" y="5113363"/>
            <a:ext cx="4746611" cy="534826"/>
          </a:xfrm>
          <a:prstGeom prst="roundRect">
            <a:avLst>
              <a:gd name="adj" fmla="val 10195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CAR-T* [III, A], bispecific antibodies [III, C], loncastuximab tesirine [III, C], Tafa-len [III, C], Pola-BR [III, B]</a:t>
            </a:r>
          </a:p>
        </p:txBody>
      </p:sp>
      <p:sp>
        <p:nvSpPr>
          <p:cNvPr id="50" name="Rectangle: Rounded Corners 49">
            <a:extLst>
              <a:ext uri="{FF2B5EF4-FFF2-40B4-BE49-F238E27FC236}">
                <a16:creationId xmlns:a16="http://schemas.microsoft.com/office/drawing/2014/main" id="{2AE536C4-D4D0-958E-140A-98F0EC8985CE}"/>
              </a:ext>
            </a:extLst>
          </p:cNvPr>
          <p:cNvSpPr/>
          <p:nvPr/>
        </p:nvSpPr>
        <p:spPr>
          <a:xfrm>
            <a:off x="6072469" y="5113363"/>
            <a:ext cx="2595745" cy="534826"/>
          </a:xfrm>
          <a:prstGeom prst="roundRect">
            <a:avLst>
              <a:gd name="adj" fmla="val 10195"/>
            </a:avLst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ts val="13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In limited stage: I</a:t>
            </a:r>
            <a:r>
              <a:rPr kumimoji="0" lang="en-CH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volved</a:t>
            </a:r>
            <a:r>
              <a:rPr kumimoji="0" lang="en-CH" sz="14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site radiotherapy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1" name="Rectangle: Rounded Corners 50">
            <a:extLst>
              <a:ext uri="{FF2B5EF4-FFF2-40B4-BE49-F238E27FC236}">
                <a16:creationId xmlns:a16="http://schemas.microsoft.com/office/drawing/2014/main" id="{2FF79A7F-5572-7D9E-BA7A-DBE844957216}"/>
              </a:ext>
            </a:extLst>
          </p:cNvPr>
          <p:cNvSpPr/>
          <p:nvPr/>
        </p:nvSpPr>
        <p:spPr>
          <a:xfrm>
            <a:off x="8834818" y="5113363"/>
            <a:ext cx="2414012" cy="534826"/>
          </a:xfrm>
          <a:prstGeom prst="roundRect">
            <a:avLst>
              <a:gd name="adj" fmla="val 14365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ts val="13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linical trials</a:t>
            </a:r>
            <a:b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Best supportive care</a:t>
            </a:r>
          </a:p>
        </p:txBody>
      </p:sp>
      <p:sp>
        <p:nvSpPr>
          <p:cNvPr id="52" name="Rectangle: Rounded Corners 51">
            <a:extLst>
              <a:ext uri="{FF2B5EF4-FFF2-40B4-BE49-F238E27FC236}">
                <a16:creationId xmlns:a16="http://schemas.microsoft.com/office/drawing/2014/main" id="{FE96E96D-1C2F-D9A3-33FA-63B7C646D9BA}"/>
              </a:ext>
            </a:extLst>
          </p:cNvPr>
          <p:cNvSpPr/>
          <p:nvPr/>
        </p:nvSpPr>
        <p:spPr>
          <a:xfrm>
            <a:off x="4252027" y="4782326"/>
            <a:ext cx="4010025" cy="242932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r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Biopsy strongly recommended before 3L</a:t>
            </a:r>
          </a:p>
        </p:txBody>
      </p:sp>
    </p:spTree>
    <p:extLst>
      <p:ext uri="{BB962C8B-B14F-4D97-AF65-F5344CB8AC3E}">
        <p14:creationId xmlns:p14="http://schemas.microsoft.com/office/powerpoint/2010/main" val="3849336846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9D208AA1-FE55-77F7-2F7C-DCB23C162F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>
                <a:latin typeface="+mn-lt"/>
              </a:rPr>
              <a:t>CAR-T in DLBCL after 2L</a:t>
            </a:r>
            <a:endParaRPr lang="en-GB" dirty="0">
              <a:latin typeface="+mn-lt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96374FF-7634-1089-1E21-10B559F746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01CC8E-1CEF-6746-999E-CF29FF00B1D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82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1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FD69272-D49A-9402-13FC-6756E938053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70645" y="5629213"/>
            <a:ext cx="10440000" cy="1090738"/>
          </a:xfrm>
        </p:spPr>
        <p:txBody>
          <a:bodyPr/>
          <a:lstStyle/>
          <a:p>
            <a:r>
              <a:rPr lang="en-GB" b="1" dirty="0"/>
              <a:t>Direct comparisons between study results cannot be made due to differences in study design, patient populations, and endpoints; the information is presented for contextual purposes only. </a:t>
            </a:r>
          </a:p>
          <a:p>
            <a:pPr lvl="0">
              <a:defRPr/>
            </a:pPr>
            <a:r>
              <a:rPr lang="en-GB" dirty="0"/>
              <a:t>*Median follow-up</a:t>
            </a:r>
            <a:r>
              <a:rPr lang="en-CH" dirty="0"/>
              <a:t> of</a:t>
            </a:r>
            <a:r>
              <a:rPr lang="en-GB" dirty="0"/>
              <a:t> 40.3 months. †Median follow-up</a:t>
            </a:r>
            <a:r>
              <a:rPr lang="en-CH" dirty="0"/>
              <a:t> of</a:t>
            </a:r>
            <a:r>
              <a:rPr lang="en-GB" dirty="0"/>
              <a:t> 63.1 months. ‡Median follow-up </a:t>
            </a:r>
            <a:r>
              <a:rPr lang="en-CH" dirty="0"/>
              <a:t>of </a:t>
            </a:r>
            <a:r>
              <a:rPr lang="en-GB" dirty="0"/>
              <a:t>18.8 months. 2L, second line; </a:t>
            </a:r>
            <a:r>
              <a:rPr lang="en-CH" dirty="0"/>
              <a:t>a</a:t>
            </a:r>
            <a:r>
              <a:rPr lang="en-GB" dirty="0"/>
              <a:t>xi-cel, </a:t>
            </a:r>
            <a:r>
              <a:rPr lang="en-GB" dirty="0" err="1"/>
              <a:t>axicabtagene</a:t>
            </a:r>
            <a:r>
              <a:rPr lang="en-GB" dirty="0"/>
              <a:t> </a:t>
            </a:r>
            <a:r>
              <a:rPr lang="en-GB" dirty="0" err="1"/>
              <a:t>ciloleucel</a:t>
            </a:r>
            <a:r>
              <a:rPr lang="en-GB" dirty="0"/>
              <a:t>; CAR-T, chimeric antigen receptor T-cell therapy; </a:t>
            </a:r>
            <a:endParaRPr lang="en-CH" dirty="0"/>
          </a:p>
          <a:p>
            <a:pPr lvl="0">
              <a:defRPr/>
            </a:pPr>
            <a:r>
              <a:rPr lang="en-CH" dirty="0"/>
              <a:t>CI, confidence interval; D</a:t>
            </a:r>
            <a:r>
              <a:rPr lang="en-GB" dirty="0"/>
              <a:t>LBCL, </a:t>
            </a:r>
            <a:r>
              <a:rPr lang="en-CH" dirty="0"/>
              <a:t>diffuse </a:t>
            </a:r>
            <a:r>
              <a:rPr lang="en-GB" dirty="0"/>
              <a:t>large B-cell lymphoma; </a:t>
            </a:r>
            <a:r>
              <a:rPr lang="en-GB" dirty="0" err="1"/>
              <a:t>liso</a:t>
            </a:r>
            <a:r>
              <a:rPr lang="en-GB" dirty="0"/>
              <a:t>-cel, </a:t>
            </a:r>
            <a:r>
              <a:rPr lang="en-GB" dirty="0" err="1"/>
              <a:t>lisocabtagene</a:t>
            </a:r>
            <a:r>
              <a:rPr lang="en-GB" dirty="0"/>
              <a:t> </a:t>
            </a:r>
            <a:r>
              <a:rPr lang="en-GB" dirty="0" err="1"/>
              <a:t>maraleucel</a:t>
            </a:r>
            <a:r>
              <a:rPr lang="en-GB" dirty="0"/>
              <a:t>; PFS, progression-free survival; </a:t>
            </a:r>
            <a:r>
              <a:rPr lang="en-GB" dirty="0" err="1"/>
              <a:t>tisa</a:t>
            </a:r>
            <a:r>
              <a:rPr lang="en-GB" dirty="0"/>
              <a:t>-cel, </a:t>
            </a:r>
            <a:r>
              <a:rPr lang="en-GB" dirty="0" err="1"/>
              <a:t>tisagenlecleucel</a:t>
            </a:r>
            <a:r>
              <a:rPr lang="en-GB" dirty="0"/>
              <a:t>. </a:t>
            </a:r>
            <a:br>
              <a:rPr lang="en-GB" dirty="0"/>
            </a:br>
            <a:r>
              <a:rPr lang="it-IT" b="1" dirty="0">
                <a:solidFill>
                  <a:srgbClr val="585854"/>
                </a:solidFill>
              </a:rPr>
              <a:t>1. </a:t>
            </a:r>
            <a:r>
              <a:rPr lang="it-IT" dirty="0">
                <a:solidFill>
                  <a:srgbClr val="585854"/>
                </a:solidFill>
              </a:rPr>
              <a:t>Schuster et al. </a:t>
            </a:r>
            <a:r>
              <a:rPr lang="it-IT" i="1" dirty="0">
                <a:solidFill>
                  <a:srgbClr val="585854"/>
                </a:solidFill>
              </a:rPr>
              <a:t>Lancet </a:t>
            </a:r>
            <a:r>
              <a:rPr lang="it-IT" i="1" dirty="0" err="1">
                <a:solidFill>
                  <a:srgbClr val="585854"/>
                </a:solidFill>
              </a:rPr>
              <a:t>Oncol</a:t>
            </a:r>
            <a:r>
              <a:rPr lang="it-IT" dirty="0">
                <a:solidFill>
                  <a:srgbClr val="585854"/>
                </a:solidFill>
              </a:rPr>
              <a:t> 2021 </a:t>
            </a:r>
            <a:r>
              <a:rPr lang="it-IT" b="1" dirty="0">
                <a:solidFill>
                  <a:srgbClr val="585854"/>
                </a:solidFill>
              </a:rPr>
              <a:t>2. </a:t>
            </a:r>
            <a:r>
              <a:rPr lang="it-IT" dirty="0" err="1">
                <a:solidFill>
                  <a:srgbClr val="585854"/>
                </a:solidFill>
              </a:rPr>
              <a:t>Neelapu</a:t>
            </a:r>
            <a:r>
              <a:rPr lang="it-IT" dirty="0">
                <a:solidFill>
                  <a:srgbClr val="585854"/>
                </a:solidFill>
              </a:rPr>
              <a:t> et al. </a:t>
            </a:r>
            <a:r>
              <a:rPr lang="it-IT" i="1" dirty="0">
                <a:solidFill>
                  <a:srgbClr val="585854"/>
                </a:solidFill>
              </a:rPr>
              <a:t>Blood</a:t>
            </a:r>
            <a:r>
              <a:rPr lang="it-IT" dirty="0">
                <a:solidFill>
                  <a:srgbClr val="585854"/>
                </a:solidFill>
              </a:rPr>
              <a:t> 2023 </a:t>
            </a:r>
            <a:r>
              <a:rPr lang="it-IT" b="1" dirty="0">
                <a:solidFill>
                  <a:srgbClr val="585854"/>
                </a:solidFill>
              </a:rPr>
              <a:t>3. </a:t>
            </a:r>
            <a:r>
              <a:rPr lang="it-IT" dirty="0">
                <a:solidFill>
                  <a:srgbClr val="585854"/>
                </a:solidFill>
              </a:rPr>
              <a:t>Abramson et al. </a:t>
            </a:r>
            <a:r>
              <a:rPr lang="it-IT" i="1" dirty="0">
                <a:solidFill>
                  <a:srgbClr val="585854"/>
                </a:solidFill>
              </a:rPr>
              <a:t>Lancet</a:t>
            </a:r>
            <a:r>
              <a:rPr lang="it-IT" dirty="0">
                <a:solidFill>
                  <a:srgbClr val="585854"/>
                </a:solidFill>
              </a:rPr>
              <a:t> 2020.</a:t>
            </a:r>
            <a:endParaRPr lang="en-GB" b="1" dirty="0"/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1827C5F4-F6C3-F3C3-29A4-6E9EA4202E35}"/>
              </a:ext>
            </a:extLst>
          </p:cNvPr>
          <p:cNvSpPr txBox="1"/>
          <p:nvPr/>
        </p:nvSpPr>
        <p:spPr>
          <a:xfrm>
            <a:off x="835601" y="1816688"/>
            <a:ext cx="3286478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isa-cel: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Arial" charset="0"/>
                <a:cs typeface="Arial" charset="0"/>
              </a:rPr>
              <a:t> 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ivotal study PFS</a:t>
            </a:r>
            <a:r>
              <a:rPr kumimoji="0" lang="en-GB" sz="1600" b="0" i="0" u="none" strike="noStrike" kern="1200" cap="none" spc="0" normalizeH="0" baseline="3000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,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*</a:t>
            </a:r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BD5EF4C2-B436-FB23-6082-04D1F9C990B5}"/>
              </a:ext>
            </a:extLst>
          </p:cNvPr>
          <p:cNvSpPr txBox="1"/>
          <p:nvPr/>
        </p:nvSpPr>
        <p:spPr>
          <a:xfrm>
            <a:off x="4676342" y="1816688"/>
            <a:ext cx="3286478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xi-cel:</a:t>
            </a: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Arial" charset="0"/>
                <a:cs typeface="Arial" charset="0"/>
              </a:rPr>
              <a:t> </a:t>
            </a: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ivotal study PFS</a:t>
            </a:r>
            <a:r>
              <a:rPr kumimoji="0" lang="en-GB" sz="1600" b="0" i="0" u="none" strike="noStrike" kern="1200" cap="none" spc="0" normalizeH="0" baseline="3000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,†</a:t>
            </a:r>
            <a:endParaRPr kumimoji="0" lang="en-GB" sz="1400" b="1" i="0" u="none" strike="noStrike" kern="1200" cap="none" spc="0" normalizeH="0" baseline="3000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9DDCEAF8-0C70-1A95-6050-2BA080E8A6A4}"/>
              </a:ext>
            </a:extLst>
          </p:cNvPr>
          <p:cNvSpPr txBox="1"/>
          <p:nvPr/>
        </p:nvSpPr>
        <p:spPr>
          <a:xfrm>
            <a:off x="8280547" y="1816688"/>
            <a:ext cx="3286478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Liso-cel:</a:t>
            </a: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Arial" charset="0"/>
                <a:cs typeface="Arial" charset="0"/>
              </a:rPr>
              <a:t> </a:t>
            </a: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ivotal study PFS</a:t>
            </a:r>
            <a:r>
              <a:rPr kumimoji="0" lang="en-GB" sz="1600" b="0" i="0" u="none" strike="noStrike" kern="1200" cap="none" spc="0" normalizeH="0" baseline="3000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3,‡</a:t>
            </a:r>
            <a:endParaRPr kumimoji="0" lang="en-GB" sz="1400" b="1" i="0" u="none" strike="noStrike" kern="1200" cap="none" spc="0" normalizeH="0" baseline="3000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" name="Content Placeholder 1">
            <a:extLst>
              <a:ext uri="{FF2B5EF4-FFF2-40B4-BE49-F238E27FC236}">
                <a16:creationId xmlns:a16="http://schemas.microsoft.com/office/drawing/2014/main" id="{09C04AEE-6DE6-C872-BE22-9EEFB9B4B035}"/>
              </a:ext>
            </a:extLst>
          </p:cNvPr>
          <p:cNvSpPr txBox="1">
            <a:spLocks/>
          </p:cNvSpPr>
          <p:nvPr/>
        </p:nvSpPr>
        <p:spPr>
          <a:xfrm>
            <a:off x="2722265" y="2623320"/>
            <a:ext cx="1349355" cy="88812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1" i="0" u="none" strike="noStrike" kern="1200" cap="none" spc="0" normalizeH="0" baseline="0" noProof="0" dirty="0">
                <a:ln>
                  <a:noFill/>
                </a:ln>
                <a:solidFill>
                  <a:srgbClr val="585854">
                    <a:lumMod val="75000"/>
                    <a:lumOff val="2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Median PFS</a:t>
            </a:r>
            <a:r>
              <a:rPr kumimoji="0" lang="en-GB" sz="1500" b="0" i="0" u="none" strike="noStrike" kern="1200" cap="none" spc="0" normalizeH="0" baseline="30000" noProof="0" dirty="0">
                <a:ln>
                  <a:noFill/>
                </a:ln>
                <a:solidFill>
                  <a:srgbClr val="585854">
                    <a:lumMod val="75000"/>
                    <a:lumOff val="2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b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85854">
                    <a:lumMod val="75000"/>
                    <a:lumOff val="2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GB" sz="1900" b="1" i="0" u="none" strike="noStrike" kern="1200" cap="none" spc="0" normalizeH="0" baseline="0" noProof="0" dirty="0">
                <a:ln>
                  <a:noFill/>
                </a:ln>
                <a:solidFill>
                  <a:srgbClr val="2C5E77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.9 months</a:t>
            </a:r>
            <a:br>
              <a:rPr kumimoji="0" lang="en-GB" sz="1900" b="1" i="0" u="none" strike="noStrike" kern="1200" cap="none" spc="0" normalizeH="0" baseline="0" noProof="0" dirty="0">
                <a:ln>
                  <a:noFill/>
                </a:ln>
                <a:solidFill>
                  <a:srgbClr val="2C5E77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85854">
                    <a:lumMod val="75000"/>
                    <a:lumOff val="2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(95% CI: 2.3–5.2)</a:t>
            </a: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900" b="0" i="0" u="none" strike="noStrike" kern="1200" cap="none" spc="0" normalizeH="0" baseline="0" noProof="0" dirty="0">
              <a:ln>
                <a:noFill/>
              </a:ln>
              <a:solidFill>
                <a:srgbClr val="2C5E77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" name="Content Placeholder 1">
            <a:extLst>
              <a:ext uri="{FF2B5EF4-FFF2-40B4-BE49-F238E27FC236}">
                <a16:creationId xmlns:a16="http://schemas.microsoft.com/office/drawing/2014/main" id="{5DD039C1-7F06-BDAB-E0D7-9D2AA1C4F880}"/>
              </a:ext>
            </a:extLst>
          </p:cNvPr>
          <p:cNvSpPr txBox="1">
            <a:spLocks/>
          </p:cNvSpPr>
          <p:nvPr/>
        </p:nvSpPr>
        <p:spPr>
          <a:xfrm>
            <a:off x="6383135" y="2623320"/>
            <a:ext cx="1349355" cy="6242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500" b="1" i="0" u="none" strike="noStrike" kern="1200" cap="none" spc="0" normalizeH="0" baseline="0" noProof="0" dirty="0">
                <a:ln>
                  <a:noFill/>
                </a:ln>
                <a:solidFill>
                  <a:srgbClr val="585854">
                    <a:lumMod val="75000"/>
                    <a:lumOff val="2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Median PFS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900" b="1" i="0" u="none" strike="noStrike" kern="1200" cap="none" spc="0" normalizeH="0" baseline="0" noProof="0" dirty="0">
                <a:ln>
                  <a:noFill/>
                </a:ln>
                <a:solidFill>
                  <a:srgbClr val="2C5E77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5.9 months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85854">
                    <a:lumMod val="75000"/>
                    <a:lumOff val="2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(95% CI: 3.3–15.0)</a:t>
            </a:r>
            <a:endParaRPr kumimoji="0" lang="en-GB" sz="1900" b="1" i="0" u="none" strike="noStrike" kern="1200" cap="none" spc="0" normalizeH="0" baseline="0" noProof="0" dirty="0">
              <a:ln>
                <a:noFill/>
              </a:ln>
              <a:solidFill>
                <a:srgbClr val="2C5E77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3" name="Content Placeholder 1">
            <a:extLst>
              <a:ext uri="{FF2B5EF4-FFF2-40B4-BE49-F238E27FC236}">
                <a16:creationId xmlns:a16="http://schemas.microsoft.com/office/drawing/2014/main" id="{CD294733-C031-E731-044D-7D4D42244D1E}"/>
              </a:ext>
            </a:extLst>
          </p:cNvPr>
          <p:cNvSpPr txBox="1">
            <a:spLocks/>
          </p:cNvSpPr>
          <p:nvPr/>
        </p:nvSpPr>
        <p:spPr>
          <a:xfrm>
            <a:off x="10024860" y="2623320"/>
            <a:ext cx="1349355" cy="6242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1" i="0" u="none" strike="noStrike" kern="1200" cap="none" spc="0" normalizeH="0" baseline="0" noProof="0" dirty="0">
                <a:ln>
                  <a:noFill/>
                </a:ln>
                <a:solidFill>
                  <a:srgbClr val="585854">
                    <a:lumMod val="75000"/>
                    <a:lumOff val="2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Median PFS</a:t>
            </a:r>
            <a:r>
              <a:rPr kumimoji="0" lang="en-GB" sz="1500" b="0" i="0" u="none" strike="noStrike" kern="1200" cap="none" spc="0" normalizeH="0" baseline="30000" noProof="0" dirty="0">
                <a:ln>
                  <a:noFill/>
                </a:ln>
                <a:solidFill>
                  <a:srgbClr val="585854">
                    <a:lumMod val="75000"/>
                    <a:lumOff val="2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b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85854">
                    <a:lumMod val="75000"/>
                    <a:lumOff val="2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GB" sz="1900" b="1" i="0" u="none" strike="noStrike" kern="1200" cap="none" spc="0" normalizeH="0" baseline="0" noProof="0" dirty="0">
                <a:ln>
                  <a:noFill/>
                </a:ln>
                <a:solidFill>
                  <a:srgbClr val="2D5E77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6.8 months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85854">
                    <a:lumMod val="75000"/>
                    <a:lumOff val="2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(95% CI: 3.3–14.1)</a:t>
            </a:r>
            <a:endParaRPr kumimoji="0" lang="en-GB" sz="1900" b="1" i="0" u="none" strike="noStrike" kern="1200" cap="none" spc="0" normalizeH="0" baseline="0" noProof="0" dirty="0">
              <a:ln>
                <a:noFill/>
              </a:ln>
              <a:solidFill>
                <a:srgbClr val="2D5E77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24A9814-26E0-6A9E-8AB9-FC781E1CB2CE}"/>
              </a:ext>
            </a:extLst>
          </p:cNvPr>
          <p:cNvSpPr txBox="1"/>
          <p:nvPr/>
        </p:nvSpPr>
        <p:spPr>
          <a:xfrm>
            <a:off x="395604" y="4882393"/>
            <a:ext cx="643180" cy="12129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No. at risk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6F0E288-B396-3E9F-4A82-D090FC2603C1}"/>
              </a:ext>
            </a:extLst>
          </p:cNvPr>
          <p:cNvSpPr txBox="1"/>
          <p:nvPr/>
        </p:nvSpPr>
        <p:spPr>
          <a:xfrm>
            <a:off x="825686" y="2538713"/>
            <a:ext cx="169966" cy="121411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00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3F18D89-3147-573E-EE43-287B65A3D01E}"/>
              </a:ext>
            </a:extLst>
          </p:cNvPr>
          <p:cNvSpPr txBox="1"/>
          <p:nvPr/>
        </p:nvSpPr>
        <p:spPr>
          <a:xfrm>
            <a:off x="825686" y="2907984"/>
            <a:ext cx="169966" cy="121411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80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FB7238E-45BD-C659-79D0-C83D2042C27B}"/>
              </a:ext>
            </a:extLst>
          </p:cNvPr>
          <p:cNvSpPr txBox="1"/>
          <p:nvPr/>
        </p:nvSpPr>
        <p:spPr>
          <a:xfrm>
            <a:off x="825686" y="3277255"/>
            <a:ext cx="169966" cy="121411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60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16C9F77-50BA-B6B2-2F0F-D7C70D87B701}"/>
              </a:ext>
            </a:extLst>
          </p:cNvPr>
          <p:cNvSpPr txBox="1"/>
          <p:nvPr/>
        </p:nvSpPr>
        <p:spPr>
          <a:xfrm>
            <a:off x="825686" y="3646526"/>
            <a:ext cx="169966" cy="121411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40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D6070F1-F888-BC88-D2A7-2814C22DC634}"/>
              </a:ext>
            </a:extLst>
          </p:cNvPr>
          <p:cNvSpPr txBox="1"/>
          <p:nvPr/>
        </p:nvSpPr>
        <p:spPr>
          <a:xfrm>
            <a:off x="825686" y="4015797"/>
            <a:ext cx="169966" cy="121411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20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6D056AB-B9CE-A554-875A-43F1C5987CD8}"/>
              </a:ext>
            </a:extLst>
          </p:cNvPr>
          <p:cNvSpPr txBox="1"/>
          <p:nvPr/>
        </p:nvSpPr>
        <p:spPr>
          <a:xfrm>
            <a:off x="928761" y="4385066"/>
            <a:ext cx="66892" cy="121411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0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EC94EB47-0487-B65B-4778-3E94F659E175}"/>
              </a:ext>
            </a:extLst>
          </p:cNvPr>
          <p:cNvSpPr txBox="1"/>
          <p:nvPr/>
        </p:nvSpPr>
        <p:spPr>
          <a:xfrm rot="16200000">
            <a:off x="-357330" y="3496710"/>
            <a:ext cx="2026180" cy="125803"/>
          </a:xfrm>
          <a:prstGeom prst="rect">
            <a:avLst/>
          </a:prstGeom>
          <a:noFill/>
        </p:spPr>
        <p:txBody>
          <a:bodyPr wrap="non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PFS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, %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E71B533-13FC-E82A-0106-097818E796BF}"/>
              </a:ext>
            </a:extLst>
          </p:cNvPr>
          <p:cNvCxnSpPr>
            <a:cxnSpLocks/>
          </p:cNvCxnSpPr>
          <p:nvPr/>
        </p:nvCxnSpPr>
        <p:spPr>
          <a:xfrm>
            <a:off x="1073338" y="2596321"/>
            <a:ext cx="0" cy="192562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65DA9434-B033-04F7-F851-F7361F747EC2}"/>
              </a:ext>
            </a:extLst>
          </p:cNvPr>
          <p:cNvCxnSpPr>
            <a:cxnSpLocks/>
          </p:cNvCxnSpPr>
          <p:nvPr/>
        </p:nvCxnSpPr>
        <p:spPr>
          <a:xfrm>
            <a:off x="1019054" y="2601292"/>
            <a:ext cx="53594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DAFB96D1-EA67-23B2-03CB-34212B77629F}"/>
              </a:ext>
            </a:extLst>
          </p:cNvPr>
          <p:cNvCxnSpPr>
            <a:cxnSpLocks/>
          </p:cNvCxnSpPr>
          <p:nvPr/>
        </p:nvCxnSpPr>
        <p:spPr>
          <a:xfrm>
            <a:off x="1019054" y="2970260"/>
            <a:ext cx="53594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88172EF1-440B-3510-1AB0-EEF8064C1B18}"/>
              </a:ext>
            </a:extLst>
          </p:cNvPr>
          <p:cNvCxnSpPr>
            <a:cxnSpLocks/>
          </p:cNvCxnSpPr>
          <p:nvPr/>
        </p:nvCxnSpPr>
        <p:spPr>
          <a:xfrm>
            <a:off x="1019054" y="3339228"/>
            <a:ext cx="53594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73C1AA85-9180-B9A1-2CD0-5052392B6730}"/>
              </a:ext>
            </a:extLst>
          </p:cNvPr>
          <p:cNvCxnSpPr>
            <a:cxnSpLocks/>
          </p:cNvCxnSpPr>
          <p:nvPr/>
        </p:nvCxnSpPr>
        <p:spPr>
          <a:xfrm>
            <a:off x="1019054" y="4077163"/>
            <a:ext cx="53594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F0A38144-0F97-9799-A42A-5D7E0904EC50}"/>
              </a:ext>
            </a:extLst>
          </p:cNvPr>
          <p:cNvCxnSpPr>
            <a:cxnSpLocks/>
          </p:cNvCxnSpPr>
          <p:nvPr/>
        </p:nvCxnSpPr>
        <p:spPr>
          <a:xfrm>
            <a:off x="1019054" y="3708196"/>
            <a:ext cx="53594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958EC2A4-AF5E-6711-AA4C-090CE1310459}"/>
              </a:ext>
            </a:extLst>
          </p:cNvPr>
          <p:cNvCxnSpPr>
            <a:cxnSpLocks/>
          </p:cNvCxnSpPr>
          <p:nvPr/>
        </p:nvCxnSpPr>
        <p:spPr>
          <a:xfrm>
            <a:off x="1019054" y="4446129"/>
            <a:ext cx="3207886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B090F8D5-C8F6-E258-D26D-529C9F80C510}"/>
              </a:ext>
            </a:extLst>
          </p:cNvPr>
          <p:cNvSpPr txBox="1"/>
          <p:nvPr/>
        </p:nvSpPr>
        <p:spPr>
          <a:xfrm>
            <a:off x="2308081" y="4754700"/>
            <a:ext cx="642956" cy="1214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Months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E5788659-E13E-226D-086C-D1800872CD74}"/>
              </a:ext>
            </a:extLst>
          </p:cNvPr>
          <p:cNvSpPr txBox="1"/>
          <p:nvPr/>
        </p:nvSpPr>
        <p:spPr>
          <a:xfrm>
            <a:off x="4383535" y="4882393"/>
            <a:ext cx="643180" cy="12129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No. at risk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EEB67172-697A-F64A-7BBA-FC51F39FBAE3}"/>
              </a:ext>
            </a:extLst>
          </p:cNvPr>
          <p:cNvSpPr txBox="1"/>
          <p:nvPr/>
        </p:nvSpPr>
        <p:spPr>
          <a:xfrm>
            <a:off x="4620142" y="2538713"/>
            <a:ext cx="169966" cy="121411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00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5C396DA0-5F32-DB77-E633-1CB2C0393F17}"/>
              </a:ext>
            </a:extLst>
          </p:cNvPr>
          <p:cNvSpPr txBox="1"/>
          <p:nvPr/>
        </p:nvSpPr>
        <p:spPr>
          <a:xfrm>
            <a:off x="4620142" y="2898458"/>
            <a:ext cx="169966" cy="121411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80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BF4CD777-A030-4B2D-87C4-EAAC6141A6AE}"/>
              </a:ext>
            </a:extLst>
          </p:cNvPr>
          <p:cNvSpPr txBox="1"/>
          <p:nvPr/>
        </p:nvSpPr>
        <p:spPr>
          <a:xfrm>
            <a:off x="4620142" y="3267729"/>
            <a:ext cx="169966" cy="121411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60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658EB6E1-B94A-EF1E-9D74-0CE5B674B2AE}"/>
              </a:ext>
            </a:extLst>
          </p:cNvPr>
          <p:cNvSpPr txBox="1"/>
          <p:nvPr/>
        </p:nvSpPr>
        <p:spPr>
          <a:xfrm>
            <a:off x="4620142" y="3632237"/>
            <a:ext cx="169966" cy="121411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40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B538AFEC-B1B6-A31E-F5AD-562ECF53D659}"/>
              </a:ext>
            </a:extLst>
          </p:cNvPr>
          <p:cNvSpPr txBox="1"/>
          <p:nvPr/>
        </p:nvSpPr>
        <p:spPr>
          <a:xfrm>
            <a:off x="4620142" y="3996745"/>
            <a:ext cx="169966" cy="121411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20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0E70959C-F2E1-8EAC-F5B2-3FB888F96381}"/>
              </a:ext>
            </a:extLst>
          </p:cNvPr>
          <p:cNvSpPr txBox="1"/>
          <p:nvPr/>
        </p:nvSpPr>
        <p:spPr>
          <a:xfrm>
            <a:off x="4723217" y="4385066"/>
            <a:ext cx="66892" cy="121411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0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74BC80DB-1C50-92DB-C81E-231A1641156F}"/>
              </a:ext>
            </a:extLst>
          </p:cNvPr>
          <p:cNvSpPr txBox="1"/>
          <p:nvPr/>
        </p:nvSpPr>
        <p:spPr>
          <a:xfrm rot="16200000">
            <a:off x="3437126" y="3496710"/>
            <a:ext cx="2026180" cy="125803"/>
          </a:xfrm>
          <a:prstGeom prst="rect">
            <a:avLst/>
          </a:prstGeom>
          <a:noFill/>
        </p:spPr>
        <p:txBody>
          <a:bodyPr wrap="non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PFS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, %</a:t>
            </a: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C5DD4E54-607A-5AC3-B024-8D7A4C7BF859}"/>
              </a:ext>
            </a:extLst>
          </p:cNvPr>
          <p:cNvCxnSpPr>
            <a:cxnSpLocks/>
          </p:cNvCxnSpPr>
          <p:nvPr/>
        </p:nvCxnSpPr>
        <p:spPr>
          <a:xfrm>
            <a:off x="4863031" y="2596321"/>
            <a:ext cx="0" cy="192562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C32CC03D-8917-2D41-0708-01DAF8B1AAB0}"/>
              </a:ext>
            </a:extLst>
          </p:cNvPr>
          <p:cNvCxnSpPr>
            <a:cxnSpLocks/>
          </p:cNvCxnSpPr>
          <p:nvPr/>
        </p:nvCxnSpPr>
        <p:spPr>
          <a:xfrm>
            <a:off x="4813510" y="2601292"/>
            <a:ext cx="53594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30FF7848-D53D-6788-901A-D1C7D5AD55CB}"/>
              </a:ext>
            </a:extLst>
          </p:cNvPr>
          <p:cNvCxnSpPr>
            <a:cxnSpLocks/>
          </p:cNvCxnSpPr>
          <p:nvPr/>
        </p:nvCxnSpPr>
        <p:spPr>
          <a:xfrm>
            <a:off x="4813510" y="2964306"/>
            <a:ext cx="53594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F899629D-9BD4-6BE6-8648-A95CF4E4FF07}"/>
              </a:ext>
            </a:extLst>
          </p:cNvPr>
          <p:cNvCxnSpPr>
            <a:cxnSpLocks/>
          </p:cNvCxnSpPr>
          <p:nvPr/>
        </p:nvCxnSpPr>
        <p:spPr>
          <a:xfrm>
            <a:off x="4813510" y="3327320"/>
            <a:ext cx="53594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7D520034-0299-7F52-3519-C9479BA95AC7}"/>
              </a:ext>
            </a:extLst>
          </p:cNvPr>
          <p:cNvCxnSpPr>
            <a:cxnSpLocks/>
          </p:cNvCxnSpPr>
          <p:nvPr/>
        </p:nvCxnSpPr>
        <p:spPr>
          <a:xfrm>
            <a:off x="4813510" y="4053348"/>
            <a:ext cx="53594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8ABD381C-2DC1-8F81-0062-3487E5D16961}"/>
              </a:ext>
            </a:extLst>
          </p:cNvPr>
          <p:cNvCxnSpPr>
            <a:cxnSpLocks/>
          </p:cNvCxnSpPr>
          <p:nvPr/>
        </p:nvCxnSpPr>
        <p:spPr>
          <a:xfrm>
            <a:off x="4813510" y="3690334"/>
            <a:ext cx="53594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785F0608-DA18-6E37-CF83-5F3981085A91}"/>
              </a:ext>
            </a:extLst>
          </p:cNvPr>
          <p:cNvCxnSpPr>
            <a:cxnSpLocks/>
          </p:cNvCxnSpPr>
          <p:nvPr/>
        </p:nvCxnSpPr>
        <p:spPr>
          <a:xfrm>
            <a:off x="4770643" y="4446129"/>
            <a:ext cx="3207886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67D764DC-786D-CE68-C03A-CF1FA078C6E0}"/>
              </a:ext>
            </a:extLst>
          </p:cNvPr>
          <p:cNvCxnSpPr>
            <a:cxnSpLocks/>
          </p:cNvCxnSpPr>
          <p:nvPr/>
        </p:nvCxnSpPr>
        <p:spPr>
          <a:xfrm rot="16200000">
            <a:off x="5015077" y="4484034"/>
            <a:ext cx="75812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AF2F9EB2-011F-7E38-5544-BB9B92422B13}"/>
              </a:ext>
            </a:extLst>
          </p:cNvPr>
          <p:cNvCxnSpPr>
            <a:cxnSpLocks/>
          </p:cNvCxnSpPr>
          <p:nvPr/>
        </p:nvCxnSpPr>
        <p:spPr>
          <a:xfrm rot="16200000">
            <a:off x="7881527" y="4484034"/>
            <a:ext cx="75812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46">
            <a:extLst>
              <a:ext uri="{FF2B5EF4-FFF2-40B4-BE49-F238E27FC236}">
                <a16:creationId xmlns:a16="http://schemas.microsoft.com/office/drawing/2014/main" id="{3AC97AFE-93BB-251A-1E56-6355322C1C43}"/>
              </a:ext>
            </a:extLst>
          </p:cNvPr>
          <p:cNvSpPr txBox="1"/>
          <p:nvPr/>
        </p:nvSpPr>
        <p:spPr>
          <a:xfrm>
            <a:off x="4836597" y="4534458"/>
            <a:ext cx="66892" cy="121411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0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93E9DD4A-AE60-695B-3887-4A0145FDD5AC}"/>
              </a:ext>
            </a:extLst>
          </p:cNvPr>
          <p:cNvSpPr txBox="1"/>
          <p:nvPr/>
        </p:nvSpPr>
        <p:spPr>
          <a:xfrm>
            <a:off x="7846122" y="4534458"/>
            <a:ext cx="132407" cy="121411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64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7DE70545-EE1F-F66B-86C6-FF9FA7097992}"/>
              </a:ext>
            </a:extLst>
          </p:cNvPr>
          <p:cNvSpPr txBox="1"/>
          <p:nvPr/>
        </p:nvSpPr>
        <p:spPr>
          <a:xfrm>
            <a:off x="6061657" y="4754700"/>
            <a:ext cx="642956" cy="1214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Months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2E51563C-57C1-C586-2946-2074BB002225}"/>
              </a:ext>
            </a:extLst>
          </p:cNvPr>
          <p:cNvSpPr txBox="1"/>
          <p:nvPr/>
        </p:nvSpPr>
        <p:spPr>
          <a:xfrm>
            <a:off x="8139718" y="4882393"/>
            <a:ext cx="643180" cy="12129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No. at risk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C1EDAFC7-3093-BDD3-8C91-B71FD744D0E5}"/>
              </a:ext>
            </a:extLst>
          </p:cNvPr>
          <p:cNvSpPr txBox="1"/>
          <p:nvPr/>
        </p:nvSpPr>
        <p:spPr>
          <a:xfrm>
            <a:off x="8376325" y="2538713"/>
            <a:ext cx="169966" cy="121411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00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DF60B5AA-266A-92FF-55FB-C29CDCD7D249}"/>
              </a:ext>
            </a:extLst>
          </p:cNvPr>
          <p:cNvSpPr txBox="1"/>
          <p:nvPr/>
        </p:nvSpPr>
        <p:spPr>
          <a:xfrm>
            <a:off x="8376325" y="2907984"/>
            <a:ext cx="169966" cy="121411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80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51241AF3-5548-16E1-E32D-8A2BDB31A74D}"/>
              </a:ext>
            </a:extLst>
          </p:cNvPr>
          <p:cNvSpPr txBox="1"/>
          <p:nvPr/>
        </p:nvSpPr>
        <p:spPr>
          <a:xfrm>
            <a:off x="8376325" y="3277255"/>
            <a:ext cx="169966" cy="121411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60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7AC6A6B5-AE47-500C-0299-BA50E2055457}"/>
              </a:ext>
            </a:extLst>
          </p:cNvPr>
          <p:cNvSpPr txBox="1"/>
          <p:nvPr/>
        </p:nvSpPr>
        <p:spPr>
          <a:xfrm>
            <a:off x="8376325" y="3646526"/>
            <a:ext cx="169966" cy="121411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40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1DE955C2-A687-FF63-50F6-9702F983C520}"/>
              </a:ext>
            </a:extLst>
          </p:cNvPr>
          <p:cNvSpPr txBox="1"/>
          <p:nvPr/>
        </p:nvSpPr>
        <p:spPr>
          <a:xfrm>
            <a:off x="8376325" y="4015797"/>
            <a:ext cx="169966" cy="121411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20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65207AFD-31AD-EE7F-11D5-AFABE69508ED}"/>
              </a:ext>
            </a:extLst>
          </p:cNvPr>
          <p:cNvSpPr txBox="1"/>
          <p:nvPr/>
        </p:nvSpPr>
        <p:spPr>
          <a:xfrm>
            <a:off x="8479400" y="4385066"/>
            <a:ext cx="66892" cy="121411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0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7A39A5F4-E43B-1219-A947-2FFA5FA23282}"/>
              </a:ext>
            </a:extLst>
          </p:cNvPr>
          <p:cNvSpPr txBox="1"/>
          <p:nvPr/>
        </p:nvSpPr>
        <p:spPr>
          <a:xfrm rot="16200000">
            <a:off x="7193309" y="3496710"/>
            <a:ext cx="2026180" cy="125803"/>
          </a:xfrm>
          <a:prstGeom prst="rect">
            <a:avLst/>
          </a:prstGeom>
          <a:noFill/>
        </p:spPr>
        <p:txBody>
          <a:bodyPr wrap="non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PFS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, %</a:t>
            </a:r>
          </a:p>
        </p:txBody>
      </p: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78FCC8AB-912B-040B-1F28-C74403E48395}"/>
              </a:ext>
            </a:extLst>
          </p:cNvPr>
          <p:cNvCxnSpPr>
            <a:cxnSpLocks/>
          </p:cNvCxnSpPr>
          <p:nvPr/>
        </p:nvCxnSpPr>
        <p:spPr>
          <a:xfrm>
            <a:off x="8569693" y="2601292"/>
            <a:ext cx="53594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E53A3C5C-E91F-B097-F8D8-0DD28ED71744}"/>
              </a:ext>
            </a:extLst>
          </p:cNvPr>
          <p:cNvCxnSpPr>
            <a:cxnSpLocks/>
          </p:cNvCxnSpPr>
          <p:nvPr/>
        </p:nvCxnSpPr>
        <p:spPr>
          <a:xfrm>
            <a:off x="8569693" y="2970260"/>
            <a:ext cx="53594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5AB19BC0-9860-DCBB-723B-2D6A1297E8EC}"/>
              </a:ext>
            </a:extLst>
          </p:cNvPr>
          <p:cNvCxnSpPr>
            <a:cxnSpLocks/>
          </p:cNvCxnSpPr>
          <p:nvPr/>
        </p:nvCxnSpPr>
        <p:spPr>
          <a:xfrm>
            <a:off x="8569693" y="3339228"/>
            <a:ext cx="53594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0FEBA482-F49A-5D63-C86F-369C0D836900}"/>
              </a:ext>
            </a:extLst>
          </p:cNvPr>
          <p:cNvCxnSpPr>
            <a:cxnSpLocks/>
          </p:cNvCxnSpPr>
          <p:nvPr/>
        </p:nvCxnSpPr>
        <p:spPr>
          <a:xfrm>
            <a:off x="8569693" y="4077163"/>
            <a:ext cx="53594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BD1A0B50-5E17-BDA1-6ADF-E04721AB7011}"/>
              </a:ext>
            </a:extLst>
          </p:cNvPr>
          <p:cNvCxnSpPr>
            <a:cxnSpLocks/>
          </p:cNvCxnSpPr>
          <p:nvPr/>
        </p:nvCxnSpPr>
        <p:spPr>
          <a:xfrm>
            <a:off x="8569693" y="3708196"/>
            <a:ext cx="53594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67DAAD08-F17F-05DA-6E4D-33A07D69A65F}"/>
              </a:ext>
            </a:extLst>
          </p:cNvPr>
          <p:cNvCxnSpPr>
            <a:cxnSpLocks/>
          </p:cNvCxnSpPr>
          <p:nvPr/>
        </p:nvCxnSpPr>
        <p:spPr>
          <a:xfrm>
            <a:off x="8569693" y="4446129"/>
            <a:ext cx="3207886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8" name="Straight Connector 447">
            <a:extLst>
              <a:ext uri="{FF2B5EF4-FFF2-40B4-BE49-F238E27FC236}">
                <a16:creationId xmlns:a16="http://schemas.microsoft.com/office/drawing/2014/main" id="{FCE29EF5-A839-346A-EBE7-B08825711108}"/>
              </a:ext>
            </a:extLst>
          </p:cNvPr>
          <p:cNvCxnSpPr>
            <a:cxnSpLocks/>
          </p:cNvCxnSpPr>
          <p:nvPr/>
        </p:nvCxnSpPr>
        <p:spPr>
          <a:xfrm rot="16200000">
            <a:off x="10732080" y="4484035"/>
            <a:ext cx="75812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9" name="Straight Connector 448">
            <a:extLst>
              <a:ext uri="{FF2B5EF4-FFF2-40B4-BE49-F238E27FC236}">
                <a16:creationId xmlns:a16="http://schemas.microsoft.com/office/drawing/2014/main" id="{607DB661-208C-D573-74DC-55756DF3C372}"/>
              </a:ext>
            </a:extLst>
          </p:cNvPr>
          <p:cNvCxnSpPr>
            <a:cxnSpLocks/>
          </p:cNvCxnSpPr>
          <p:nvPr/>
        </p:nvCxnSpPr>
        <p:spPr>
          <a:xfrm rot="16200000">
            <a:off x="11036815" y="4484035"/>
            <a:ext cx="75812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0" name="Straight Connector 449">
            <a:extLst>
              <a:ext uri="{FF2B5EF4-FFF2-40B4-BE49-F238E27FC236}">
                <a16:creationId xmlns:a16="http://schemas.microsoft.com/office/drawing/2014/main" id="{D698D18C-D2DC-283E-2889-A0664B143CA3}"/>
              </a:ext>
            </a:extLst>
          </p:cNvPr>
          <p:cNvCxnSpPr>
            <a:cxnSpLocks/>
          </p:cNvCxnSpPr>
          <p:nvPr/>
        </p:nvCxnSpPr>
        <p:spPr>
          <a:xfrm rot="16200000">
            <a:off x="10427345" y="4484035"/>
            <a:ext cx="75812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1" name="Straight Connector 450">
            <a:extLst>
              <a:ext uri="{FF2B5EF4-FFF2-40B4-BE49-F238E27FC236}">
                <a16:creationId xmlns:a16="http://schemas.microsoft.com/office/drawing/2014/main" id="{A506C667-7D29-5928-934E-DB79D5EAAC3E}"/>
              </a:ext>
            </a:extLst>
          </p:cNvPr>
          <p:cNvCxnSpPr>
            <a:cxnSpLocks/>
          </p:cNvCxnSpPr>
          <p:nvPr/>
        </p:nvCxnSpPr>
        <p:spPr>
          <a:xfrm rot="16200000">
            <a:off x="9817875" y="4484035"/>
            <a:ext cx="75812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2" name="Straight Connector 451">
            <a:extLst>
              <a:ext uri="{FF2B5EF4-FFF2-40B4-BE49-F238E27FC236}">
                <a16:creationId xmlns:a16="http://schemas.microsoft.com/office/drawing/2014/main" id="{4F8A3BFF-B26A-3268-FA7A-01B614481347}"/>
              </a:ext>
            </a:extLst>
          </p:cNvPr>
          <p:cNvCxnSpPr>
            <a:cxnSpLocks/>
          </p:cNvCxnSpPr>
          <p:nvPr/>
        </p:nvCxnSpPr>
        <p:spPr>
          <a:xfrm rot="16200000">
            <a:off x="8903670" y="4484035"/>
            <a:ext cx="75812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3" name="Straight Connector 452">
            <a:extLst>
              <a:ext uri="{FF2B5EF4-FFF2-40B4-BE49-F238E27FC236}">
                <a16:creationId xmlns:a16="http://schemas.microsoft.com/office/drawing/2014/main" id="{CC9197C1-9DA5-B94A-C467-B304E5BBC706}"/>
              </a:ext>
            </a:extLst>
          </p:cNvPr>
          <p:cNvCxnSpPr>
            <a:cxnSpLocks/>
          </p:cNvCxnSpPr>
          <p:nvPr/>
        </p:nvCxnSpPr>
        <p:spPr>
          <a:xfrm rot="16200000">
            <a:off x="10122610" y="4484035"/>
            <a:ext cx="75812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4" name="Straight Connector 453">
            <a:extLst>
              <a:ext uri="{FF2B5EF4-FFF2-40B4-BE49-F238E27FC236}">
                <a16:creationId xmlns:a16="http://schemas.microsoft.com/office/drawing/2014/main" id="{35D1F9F1-785C-F4C8-71DA-C171F24E1D8E}"/>
              </a:ext>
            </a:extLst>
          </p:cNvPr>
          <p:cNvCxnSpPr>
            <a:cxnSpLocks/>
          </p:cNvCxnSpPr>
          <p:nvPr/>
        </p:nvCxnSpPr>
        <p:spPr>
          <a:xfrm rot="16200000">
            <a:off x="11341550" y="4484035"/>
            <a:ext cx="75812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5" name="Straight Connector 454">
            <a:extLst>
              <a:ext uri="{FF2B5EF4-FFF2-40B4-BE49-F238E27FC236}">
                <a16:creationId xmlns:a16="http://schemas.microsoft.com/office/drawing/2014/main" id="{79E600D9-DBD9-6288-5663-03FFF1980526}"/>
              </a:ext>
            </a:extLst>
          </p:cNvPr>
          <p:cNvCxnSpPr>
            <a:cxnSpLocks/>
          </p:cNvCxnSpPr>
          <p:nvPr/>
        </p:nvCxnSpPr>
        <p:spPr>
          <a:xfrm rot="16200000">
            <a:off x="11646283" y="4484035"/>
            <a:ext cx="75812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6" name="TextBox 455">
            <a:extLst>
              <a:ext uri="{FF2B5EF4-FFF2-40B4-BE49-F238E27FC236}">
                <a16:creationId xmlns:a16="http://schemas.microsoft.com/office/drawing/2014/main" id="{1B0B8C97-3DF1-2CCD-7908-CF6E909F2D59}"/>
              </a:ext>
            </a:extLst>
          </p:cNvPr>
          <p:cNvSpPr txBox="1"/>
          <p:nvPr/>
        </p:nvSpPr>
        <p:spPr>
          <a:xfrm>
            <a:off x="8590531" y="4534458"/>
            <a:ext cx="66892" cy="121411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0</a:t>
            </a:r>
          </a:p>
        </p:txBody>
      </p:sp>
      <p:sp>
        <p:nvSpPr>
          <p:cNvPr id="457" name="TextBox 456">
            <a:extLst>
              <a:ext uri="{FF2B5EF4-FFF2-40B4-BE49-F238E27FC236}">
                <a16:creationId xmlns:a16="http://schemas.microsoft.com/office/drawing/2014/main" id="{3C03E02F-2FC1-477D-79AC-B919FCB82C49}"/>
              </a:ext>
            </a:extLst>
          </p:cNvPr>
          <p:cNvSpPr txBox="1"/>
          <p:nvPr/>
        </p:nvSpPr>
        <p:spPr>
          <a:xfrm>
            <a:off x="9858720" y="4754700"/>
            <a:ext cx="642956" cy="1214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Months</a:t>
            </a:r>
          </a:p>
        </p:txBody>
      </p:sp>
      <p:cxnSp>
        <p:nvCxnSpPr>
          <p:cNvPr id="458" name="Straight Connector 457">
            <a:extLst>
              <a:ext uri="{FF2B5EF4-FFF2-40B4-BE49-F238E27FC236}">
                <a16:creationId xmlns:a16="http://schemas.microsoft.com/office/drawing/2014/main" id="{C6EE4555-85E5-A03D-6BA0-7FDC853321F6}"/>
              </a:ext>
            </a:extLst>
          </p:cNvPr>
          <p:cNvCxnSpPr>
            <a:cxnSpLocks/>
          </p:cNvCxnSpPr>
          <p:nvPr/>
        </p:nvCxnSpPr>
        <p:spPr>
          <a:xfrm rot="16200000">
            <a:off x="5207015" y="4484034"/>
            <a:ext cx="75812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9" name="Straight Connector 458">
            <a:extLst>
              <a:ext uri="{FF2B5EF4-FFF2-40B4-BE49-F238E27FC236}">
                <a16:creationId xmlns:a16="http://schemas.microsoft.com/office/drawing/2014/main" id="{4C2CD307-F0DC-A759-0AC9-2B6338F495CB}"/>
              </a:ext>
            </a:extLst>
          </p:cNvPr>
          <p:cNvCxnSpPr>
            <a:cxnSpLocks/>
          </p:cNvCxnSpPr>
          <p:nvPr/>
        </p:nvCxnSpPr>
        <p:spPr>
          <a:xfrm rot="16200000">
            <a:off x="5402277" y="4484034"/>
            <a:ext cx="75812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0" name="Straight Connector 459">
            <a:extLst>
              <a:ext uri="{FF2B5EF4-FFF2-40B4-BE49-F238E27FC236}">
                <a16:creationId xmlns:a16="http://schemas.microsoft.com/office/drawing/2014/main" id="{36B07A50-5BA8-DAD9-11F9-9E6675C4802F}"/>
              </a:ext>
            </a:extLst>
          </p:cNvPr>
          <p:cNvCxnSpPr>
            <a:cxnSpLocks/>
          </p:cNvCxnSpPr>
          <p:nvPr/>
        </p:nvCxnSpPr>
        <p:spPr>
          <a:xfrm rot="16200000">
            <a:off x="5594124" y="4484034"/>
            <a:ext cx="75812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1" name="Straight Connector 460">
            <a:extLst>
              <a:ext uri="{FF2B5EF4-FFF2-40B4-BE49-F238E27FC236}">
                <a16:creationId xmlns:a16="http://schemas.microsoft.com/office/drawing/2014/main" id="{CEAE7106-82C0-EDB0-D1F5-E94188DC13EB}"/>
              </a:ext>
            </a:extLst>
          </p:cNvPr>
          <p:cNvCxnSpPr>
            <a:cxnSpLocks/>
          </p:cNvCxnSpPr>
          <p:nvPr/>
        </p:nvCxnSpPr>
        <p:spPr>
          <a:xfrm rot="16200000">
            <a:off x="5784624" y="4484034"/>
            <a:ext cx="75812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2" name="Straight Connector 461">
            <a:extLst>
              <a:ext uri="{FF2B5EF4-FFF2-40B4-BE49-F238E27FC236}">
                <a16:creationId xmlns:a16="http://schemas.microsoft.com/office/drawing/2014/main" id="{DAEB359B-3274-75D9-53F6-3E25F89E4CF7}"/>
              </a:ext>
            </a:extLst>
          </p:cNvPr>
          <p:cNvCxnSpPr>
            <a:cxnSpLocks/>
          </p:cNvCxnSpPr>
          <p:nvPr/>
        </p:nvCxnSpPr>
        <p:spPr>
          <a:xfrm rot="16200000">
            <a:off x="5974853" y="4484034"/>
            <a:ext cx="75812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3" name="Straight Connector 462">
            <a:extLst>
              <a:ext uri="{FF2B5EF4-FFF2-40B4-BE49-F238E27FC236}">
                <a16:creationId xmlns:a16="http://schemas.microsoft.com/office/drawing/2014/main" id="{4BA1067F-B682-1E23-880F-435E491DE5B2}"/>
              </a:ext>
            </a:extLst>
          </p:cNvPr>
          <p:cNvCxnSpPr>
            <a:cxnSpLocks/>
          </p:cNvCxnSpPr>
          <p:nvPr/>
        </p:nvCxnSpPr>
        <p:spPr>
          <a:xfrm rot="16200000">
            <a:off x="6165352" y="4484034"/>
            <a:ext cx="75812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4" name="Straight Connector 463">
            <a:extLst>
              <a:ext uri="{FF2B5EF4-FFF2-40B4-BE49-F238E27FC236}">
                <a16:creationId xmlns:a16="http://schemas.microsoft.com/office/drawing/2014/main" id="{146E604F-DA48-3263-1118-5D5A15308296}"/>
              </a:ext>
            </a:extLst>
          </p:cNvPr>
          <p:cNvCxnSpPr>
            <a:cxnSpLocks/>
          </p:cNvCxnSpPr>
          <p:nvPr/>
        </p:nvCxnSpPr>
        <p:spPr>
          <a:xfrm rot="16200000">
            <a:off x="6345229" y="4484034"/>
            <a:ext cx="75812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5" name="Straight Connector 464">
            <a:extLst>
              <a:ext uri="{FF2B5EF4-FFF2-40B4-BE49-F238E27FC236}">
                <a16:creationId xmlns:a16="http://schemas.microsoft.com/office/drawing/2014/main" id="{33BE6F2E-A995-5DD5-6A1B-7A6DA921FC07}"/>
              </a:ext>
            </a:extLst>
          </p:cNvPr>
          <p:cNvCxnSpPr>
            <a:cxnSpLocks/>
          </p:cNvCxnSpPr>
          <p:nvPr/>
        </p:nvCxnSpPr>
        <p:spPr>
          <a:xfrm rot="16200000">
            <a:off x="6540491" y="4484034"/>
            <a:ext cx="75812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6" name="Straight Connector 465">
            <a:extLst>
              <a:ext uri="{FF2B5EF4-FFF2-40B4-BE49-F238E27FC236}">
                <a16:creationId xmlns:a16="http://schemas.microsoft.com/office/drawing/2014/main" id="{6F3B2957-1AA6-22EE-7709-5D689438F513}"/>
              </a:ext>
            </a:extLst>
          </p:cNvPr>
          <p:cNvCxnSpPr>
            <a:cxnSpLocks/>
          </p:cNvCxnSpPr>
          <p:nvPr/>
        </p:nvCxnSpPr>
        <p:spPr>
          <a:xfrm rot="16200000">
            <a:off x="6739455" y="4484034"/>
            <a:ext cx="75812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7" name="Straight Connector 466">
            <a:extLst>
              <a:ext uri="{FF2B5EF4-FFF2-40B4-BE49-F238E27FC236}">
                <a16:creationId xmlns:a16="http://schemas.microsoft.com/office/drawing/2014/main" id="{9976B5FD-D424-33A1-B4BD-B5E92A6628A3}"/>
              </a:ext>
            </a:extLst>
          </p:cNvPr>
          <p:cNvCxnSpPr>
            <a:cxnSpLocks/>
          </p:cNvCxnSpPr>
          <p:nvPr/>
        </p:nvCxnSpPr>
        <p:spPr>
          <a:xfrm rot="16200000">
            <a:off x="6934717" y="4484034"/>
            <a:ext cx="75812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8" name="Straight Connector 467">
            <a:extLst>
              <a:ext uri="{FF2B5EF4-FFF2-40B4-BE49-F238E27FC236}">
                <a16:creationId xmlns:a16="http://schemas.microsoft.com/office/drawing/2014/main" id="{AA60FD24-2F0A-DF55-3920-97A2E22E688B}"/>
              </a:ext>
            </a:extLst>
          </p:cNvPr>
          <p:cNvCxnSpPr>
            <a:cxnSpLocks/>
          </p:cNvCxnSpPr>
          <p:nvPr/>
        </p:nvCxnSpPr>
        <p:spPr>
          <a:xfrm rot="16200000">
            <a:off x="7111694" y="4484034"/>
            <a:ext cx="75812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9" name="Straight Connector 468">
            <a:extLst>
              <a:ext uri="{FF2B5EF4-FFF2-40B4-BE49-F238E27FC236}">
                <a16:creationId xmlns:a16="http://schemas.microsoft.com/office/drawing/2014/main" id="{371BE8C3-4AC8-CD12-50F2-FF9A96F69EDD}"/>
              </a:ext>
            </a:extLst>
          </p:cNvPr>
          <p:cNvCxnSpPr>
            <a:cxnSpLocks/>
          </p:cNvCxnSpPr>
          <p:nvPr/>
        </p:nvCxnSpPr>
        <p:spPr>
          <a:xfrm rot="16200000">
            <a:off x="7306957" y="4484034"/>
            <a:ext cx="75812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0" name="Straight Connector 469">
            <a:extLst>
              <a:ext uri="{FF2B5EF4-FFF2-40B4-BE49-F238E27FC236}">
                <a16:creationId xmlns:a16="http://schemas.microsoft.com/office/drawing/2014/main" id="{8F911E68-7688-B98F-8C4D-66B8B92CB47D}"/>
              </a:ext>
            </a:extLst>
          </p:cNvPr>
          <p:cNvCxnSpPr>
            <a:cxnSpLocks/>
          </p:cNvCxnSpPr>
          <p:nvPr/>
        </p:nvCxnSpPr>
        <p:spPr>
          <a:xfrm rot="16200000">
            <a:off x="7496647" y="4484034"/>
            <a:ext cx="75812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1" name="Straight Connector 470">
            <a:extLst>
              <a:ext uri="{FF2B5EF4-FFF2-40B4-BE49-F238E27FC236}">
                <a16:creationId xmlns:a16="http://schemas.microsoft.com/office/drawing/2014/main" id="{0B68A5F8-4E24-9CA9-CAD9-3CCD4E1B3F28}"/>
              </a:ext>
            </a:extLst>
          </p:cNvPr>
          <p:cNvCxnSpPr>
            <a:cxnSpLocks/>
          </p:cNvCxnSpPr>
          <p:nvPr/>
        </p:nvCxnSpPr>
        <p:spPr>
          <a:xfrm rot="16200000">
            <a:off x="7694584" y="4484034"/>
            <a:ext cx="75812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2" name="TextBox 471">
            <a:extLst>
              <a:ext uri="{FF2B5EF4-FFF2-40B4-BE49-F238E27FC236}">
                <a16:creationId xmlns:a16="http://schemas.microsoft.com/office/drawing/2014/main" id="{4EC2FF86-EF9B-72D2-81FA-2024A6D88BD3}"/>
              </a:ext>
            </a:extLst>
          </p:cNvPr>
          <p:cNvSpPr txBox="1"/>
          <p:nvPr/>
        </p:nvSpPr>
        <p:spPr>
          <a:xfrm>
            <a:off x="5024692" y="4534458"/>
            <a:ext cx="66892" cy="121411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4</a:t>
            </a:r>
          </a:p>
        </p:txBody>
      </p:sp>
      <p:sp>
        <p:nvSpPr>
          <p:cNvPr id="473" name="TextBox 472">
            <a:extLst>
              <a:ext uri="{FF2B5EF4-FFF2-40B4-BE49-F238E27FC236}">
                <a16:creationId xmlns:a16="http://schemas.microsoft.com/office/drawing/2014/main" id="{10C9EB98-0754-C3D3-E3C6-F670A609D7C3}"/>
              </a:ext>
            </a:extLst>
          </p:cNvPr>
          <p:cNvSpPr txBox="1"/>
          <p:nvPr/>
        </p:nvSpPr>
        <p:spPr>
          <a:xfrm>
            <a:off x="5212787" y="4534458"/>
            <a:ext cx="66892" cy="121411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8</a:t>
            </a:r>
          </a:p>
        </p:txBody>
      </p:sp>
      <p:sp>
        <p:nvSpPr>
          <p:cNvPr id="474" name="TextBox 473">
            <a:extLst>
              <a:ext uri="{FF2B5EF4-FFF2-40B4-BE49-F238E27FC236}">
                <a16:creationId xmlns:a16="http://schemas.microsoft.com/office/drawing/2014/main" id="{589F409D-7140-5BE5-AE36-5A2830FC75D5}"/>
              </a:ext>
            </a:extLst>
          </p:cNvPr>
          <p:cNvSpPr txBox="1"/>
          <p:nvPr/>
        </p:nvSpPr>
        <p:spPr>
          <a:xfrm>
            <a:off x="5400882" y="4534458"/>
            <a:ext cx="66892" cy="121411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2</a:t>
            </a:r>
          </a:p>
        </p:txBody>
      </p:sp>
      <p:sp>
        <p:nvSpPr>
          <p:cNvPr id="475" name="TextBox 474">
            <a:extLst>
              <a:ext uri="{FF2B5EF4-FFF2-40B4-BE49-F238E27FC236}">
                <a16:creationId xmlns:a16="http://schemas.microsoft.com/office/drawing/2014/main" id="{364593D5-4A13-171A-DE14-9EA4A4A1D1D3}"/>
              </a:ext>
            </a:extLst>
          </p:cNvPr>
          <p:cNvSpPr txBox="1"/>
          <p:nvPr/>
        </p:nvSpPr>
        <p:spPr>
          <a:xfrm>
            <a:off x="5588977" y="4534458"/>
            <a:ext cx="66892" cy="121411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6</a:t>
            </a:r>
          </a:p>
        </p:txBody>
      </p:sp>
      <p:sp>
        <p:nvSpPr>
          <p:cNvPr id="476" name="TextBox 475">
            <a:extLst>
              <a:ext uri="{FF2B5EF4-FFF2-40B4-BE49-F238E27FC236}">
                <a16:creationId xmlns:a16="http://schemas.microsoft.com/office/drawing/2014/main" id="{4CD7220B-E155-2D36-31A3-3A1BCB386751}"/>
              </a:ext>
            </a:extLst>
          </p:cNvPr>
          <p:cNvSpPr txBox="1"/>
          <p:nvPr/>
        </p:nvSpPr>
        <p:spPr>
          <a:xfrm>
            <a:off x="5777072" y="4534458"/>
            <a:ext cx="66892" cy="121411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20</a:t>
            </a:r>
          </a:p>
        </p:txBody>
      </p:sp>
      <p:sp>
        <p:nvSpPr>
          <p:cNvPr id="477" name="TextBox 476">
            <a:extLst>
              <a:ext uri="{FF2B5EF4-FFF2-40B4-BE49-F238E27FC236}">
                <a16:creationId xmlns:a16="http://schemas.microsoft.com/office/drawing/2014/main" id="{24390C8B-7B44-10AB-ACE6-32F9B31EEF14}"/>
              </a:ext>
            </a:extLst>
          </p:cNvPr>
          <p:cNvSpPr txBox="1"/>
          <p:nvPr/>
        </p:nvSpPr>
        <p:spPr>
          <a:xfrm>
            <a:off x="5965167" y="4534458"/>
            <a:ext cx="66892" cy="121411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24</a:t>
            </a:r>
          </a:p>
        </p:txBody>
      </p:sp>
      <p:sp>
        <p:nvSpPr>
          <p:cNvPr id="478" name="TextBox 477">
            <a:extLst>
              <a:ext uri="{FF2B5EF4-FFF2-40B4-BE49-F238E27FC236}">
                <a16:creationId xmlns:a16="http://schemas.microsoft.com/office/drawing/2014/main" id="{C95A9BF1-2E9C-813E-3B4D-CB01C13802F6}"/>
              </a:ext>
            </a:extLst>
          </p:cNvPr>
          <p:cNvSpPr txBox="1"/>
          <p:nvPr/>
        </p:nvSpPr>
        <p:spPr>
          <a:xfrm>
            <a:off x="6165578" y="4534458"/>
            <a:ext cx="66892" cy="121411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28</a:t>
            </a:r>
          </a:p>
        </p:txBody>
      </p:sp>
      <p:sp>
        <p:nvSpPr>
          <p:cNvPr id="479" name="TextBox 478">
            <a:extLst>
              <a:ext uri="{FF2B5EF4-FFF2-40B4-BE49-F238E27FC236}">
                <a16:creationId xmlns:a16="http://schemas.microsoft.com/office/drawing/2014/main" id="{B5BAA5A8-1179-B47C-D7C3-ECF71D2051B1}"/>
              </a:ext>
            </a:extLst>
          </p:cNvPr>
          <p:cNvSpPr txBox="1"/>
          <p:nvPr/>
        </p:nvSpPr>
        <p:spPr>
          <a:xfrm>
            <a:off x="6347515" y="4534458"/>
            <a:ext cx="66892" cy="121411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32</a:t>
            </a:r>
          </a:p>
        </p:txBody>
      </p:sp>
      <p:sp>
        <p:nvSpPr>
          <p:cNvPr id="953" name="TextBox 952">
            <a:extLst>
              <a:ext uri="{FF2B5EF4-FFF2-40B4-BE49-F238E27FC236}">
                <a16:creationId xmlns:a16="http://schemas.microsoft.com/office/drawing/2014/main" id="{CF6AEFD0-BB62-21A9-7321-F5CF243E3B5D}"/>
              </a:ext>
            </a:extLst>
          </p:cNvPr>
          <p:cNvSpPr txBox="1"/>
          <p:nvPr/>
        </p:nvSpPr>
        <p:spPr>
          <a:xfrm>
            <a:off x="6544847" y="4534458"/>
            <a:ext cx="66892" cy="121411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36</a:t>
            </a:r>
          </a:p>
        </p:txBody>
      </p:sp>
      <p:sp>
        <p:nvSpPr>
          <p:cNvPr id="954" name="TextBox 953">
            <a:extLst>
              <a:ext uri="{FF2B5EF4-FFF2-40B4-BE49-F238E27FC236}">
                <a16:creationId xmlns:a16="http://schemas.microsoft.com/office/drawing/2014/main" id="{AEBFE955-33E9-CED2-B106-EE0C633A1BBB}"/>
              </a:ext>
            </a:extLst>
          </p:cNvPr>
          <p:cNvSpPr txBox="1"/>
          <p:nvPr/>
        </p:nvSpPr>
        <p:spPr>
          <a:xfrm>
            <a:off x="6739100" y="4534458"/>
            <a:ext cx="66892" cy="121411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40</a:t>
            </a:r>
          </a:p>
        </p:txBody>
      </p:sp>
      <p:sp>
        <p:nvSpPr>
          <p:cNvPr id="955" name="TextBox 954">
            <a:extLst>
              <a:ext uri="{FF2B5EF4-FFF2-40B4-BE49-F238E27FC236}">
                <a16:creationId xmlns:a16="http://schemas.microsoft.com/office/drawing/2014/main" id="{C58E137B-E6A2-3E13-D5F3-534761211997}"/>
              </a:ext>
            </a:extLst>
          </p:cNvPr>
          <p:cNvSpPr txBox="1"/>
          <p:nvPr/>
        </p:nvSpPr>
        <p:spPr>
          <a:xfrm>
            <a:off x="6930274" y="4534458"/>
            <a:ext cx="66892" cy="121411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44</a:t>
            </a:r>
          </a:p>
        </p:txBody>
      </p:sp>
      <p:sp>
        <p:nvSpPr>
          <p:cNvPr id="956" name="TextBox 955">
            <a:extLst>
              <a:ext uri="{FF2B5EF4-FFF2-40B4-BE49-F238E27FC236}">
                <a16:creationId xmlns:a16="http://schemas.microsoft.com/office/drawing/2014/main" id="{79710B60-4E17-51E7-ADF0-7E3349EB885B}"/>
              </a:ext>
            </a:extLst>
          </p:cNvPr>
          <p:cNvSpPr txBox="1"/>
          <p:nvPr/>
        </p:nvSpPr>
        <p:spPr>
          <a:xfrm>
            <a:off x="7112211" y="4534458"/>
            <a:ext cx="66892" cy="121411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48</a:t>
            </a:r>
          </a:p>
        </p:txBody>
      </p:sp>
      <p:sp>
        <p:nvSpPr>
          <p:cNvPr id="957" name="TextBox 956">
            <a:extLst>
              <a:ext uri="{FF2B5EF4-FFF2-40B4-BE49-F238E27FC236}">
                <a16:creationId xmlns:a16="http://schemas.microsoft.com/office/drawing/2014/main" id="{8D0DC39A-3A8F-F91E-A334-437379E1E5F8}"/>
              </a:ext>
            </a:extLst>
          </p:cNvPr>
          <p:cNvSpPr txBox="1"/>
          <p:nvPr/>
        </p:nvSpPr>
        <p:spPr>
          <a:xfrm>
            <a:off x="7309543" y="4534458"/>
            <a:ext cx="66892" cy="121411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52</a:t>
            </a:r>
          </a:p>
        </p:txBody>
      </p:sp>
      <p:sp>
        <p:nvSpPr>
          <p:cNvPr id="958" name="TextBox 957">
            <a:extLst>
              <a:ext uri="{FF2B5EF4-FFF2-40B4-BE49-F238E27FC236}">
                <a16:creationId xmlns:a16="http://schemas.microsoft.com/office/drawing/2014/main" id="{E3B7A819-F00E-58BE-DDD2-78F61ACEF2D0}"/>
              </a:ext>
            </a:extLst>
          </p:cNvPr>
          <p:cNvSpPr txBox="1"/>
          <p:nvPr/>
        </p:nvSpPr>
        <p:spPr>
          <a:xfrm>
            <a:off x="7497638" y="4534458"/>
            <a:ext cx="66892" cy="121411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56</a:t>
            </a:r>
          </a:p>
        </p:txBody>
      </p:sp>
      <p:sp>
        <p:nvSpPr>
          <p:cNvPr id="959" name="TextBox 958">
            <a:extLst>
              <a:ext uri="{FF2B5EF4-FFF2-40B4-BE49-F238E27FC236}">
                <a16:creationId xmlns:a16="http://schemas.microsoft.com/office/drawing/2014/main" id="{4D33E05D-5E1E-1776-534F-A41761EFD210}"/>
              </a:ext>
            </a:extLst>
          </p:cNvPr>
          <p:cNvSpPr txBox="1"/>
          <p:nvPr/>
        </p:nvSpPr>
        <p:spPr>
          <a:xfrm>
            <a:off x="7698049" y="4534458"/>
            <a:ext cx="66892" cy="121411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60</a:t>
            </a:r>
          </a:p>
        </p:txBody>
      </p:sp>
      <p:sp>
        <p:nvSpPr>
          <p:cNvPr id="64" name="Free-form: Shape 63">
            <a:extLst>
              <a:ext uri="{FF2B5EF4-FFF2-40B4-BE49-F238E27FC236}">
                <a16:creationId xmlns:a16="http://schemas.microsoft.com/office/drawing/2014/main" id="{746682F3-FAC4-BF17-63D0-E989387C5117}"/>
              </a:ext>
            </a:extLst>
          </p:cNvPr>
          <p:cNvSpPr/>
          <p:nvPr/>
        </p:nvSpPr>
        <p:spPr>
          <a:xfrm>
            <a:off x="4867104" y="2611839"/>
            <a:ext cx="3027989" cy="1797703"/>
          </a:xfrm>
          <a:custGeom>
            <a:avLst/>
            <a:gdLst>
              <a:gd name="csX0" fmla="*/ 0 w 4031833"/>
              <a:gd name="csY0" fmla="*/ 0 h 2393680"/>
              <a:gd name="csX1" fmla="*/ 0 w 4031833"/>
              <a:gd name="csY1" fmla="*/ 67080 h 2393680"/>
              <a:gd name="csX2" fmla="*/ 35305 w 4031833"/>
              <a:gd name="csY2" fmla="*/ 67080 h 2393680"/>
              <a:gd name="csX3" fmla="*/ 35305 w 4031833"/>
              <a:gd name="csY3" fmla="*/ 105915 h 2393680"/>
              <a:gd name="csX4" fmla="*/ 56488 w 4031833"/>
              <a:gd name="csY4" fmla="*/ 105915 h 2393680"/>
              <a:gd name="csX5" fmla="*/ 56488 w 4031833"/>
              <a:gd name="csY5" fmla="*/ 165934 h 2393680"/>
              <a:gd name="csX6" fmla="*/ 77671 w 4031833"/>
              <a:gd name="csY6" fmla="*/ 165934 h 2393680"/>
              <a:gd name="csX7" fmla="*/ 77671 w 4031833"/>
              <a:gd name="csY7" fmla="*/ 183586 h 2393680"/>
              <a:gd name="csX8" fmla="*/ 91793 w 4031833"/>
              <a:gd name="csY8" fmla="*/ 183586 h 2393680"/>
              <a:gd name="csX9" fmla="*/ 91793 w 4031833"/>
              <a:gd name="csY9" fmla="*/ 211830 h 2393680"/>
              <a:gd name="csX10" fmla="*/ 105915 w 4031833"/>
              <a:gd name="csY10" fmla="*/ 211830 h 2393680"/>
              <a:gd name="csX11" fmla="*/ 105915 w 4031833"/>
              <a:gd name="csY11" fmla="*/ 261257 h 2393680"/>
              <a:gd name="csX12" fmla="*/ 105915 w 4031833"/>
              <a:gd name="csY12" fmla="*/ 328337 h 2393680"/>
              <a:gd name="csX13" fmla="*/ 130629 w 4031833"/>
              <a:gd name="csY13" fmla="*/ 328337 h 2393680"/>
              <a:gd name="csX14" fmla="*/ 130629 w 4031833"/>
              <a:gd name="csY14" fmla="*/ 388355 h 2393680"/>
              <a:gd name="csX15" fmla="*/ 144751 w 4031833"/>
              <a:gd name="csY15" fmla="*/ 388355 h 2393680"/>
              <a:gd name="csX16" fmla="*/ 144751 w 4031833"/>
              <a:gd name="csY16" fmla="*/ 437782 h 2393680"/>
              <a:gd name="csX17" fmla="*/ 158873 w 4031833"/>
              <a:gd name="csY17" fmla="*/ 437782 h 2393680"/>
              <a:gd name="csX18" fmla="*/ 158873 w 4031833"/>
              <a:gd name="csY18" fmla="*/ 476618 h 2393680"/>
              <a:gd name="csX19" fmla="*/ 165934 w 4031833"/>
              <a:gd name="csY19" fmla="*/ 483679 h 2393680"/>
              <a:gd name="csX20" fmla="*/ 165934 w 4031833"/>
              <a:gd name="csY20" fmla="*/ 734345 h 2393680"/>
              <a:gd name="csX21" fmla="*/ 201239 w 4031833"/>
              <a:gd name="csY21" fmla="*/ 734345 h 2393680"/>
              <a:gd name="csX22" fmla="*/ 201239 w 4031833"/>
              <a:gd name="csY22" fmla="*/ 946175 h 2393680"/>
              <a:gd name="csX23" fmla="*/ 222422 w 4031833"/>
              <a:gd name="csY23" fmla="*/ 946175 h 2393680"/>
              <a:gd name="csX24" fmla="*/ 222422 w 4031833"/>
              <a:gd name="csY24" fmla="*/ 992071 h 2393680"/>
              <a:gd name="csX25" fmla="*/ 243605 w 4031833"/>
              <a:gd name="csY25" fmla="*/ 992071 h 2393680"/>
              <a:gd name="csX26" fmla="*/ 243605 w 4031833"/>
              <a:gd name="csY26" fmla="*/ 1009724 h 2393680"/>
              <a:gd name="csX27" fmla="*/ 289501 w 4031833"/>
              <a:gd name="csY27" fmla="*/ 1009724 h 2393680"/>
              <a:gd name="csX28" fmla="*/ 289501 w 4031833"/>
              <a:gd name="csY28" fmla="*/ 1059151 h 2393680"/>
              <a:gd name="csX29" fmla="*/ 310684 w 4031833"/>
              <a:gd name="csY29" fmla="*/ 1059151 h 2393680"/>
              <a:gd name="csX30" fmla="*/ 310684 w 4031833"/>
              <a:gd name="csY30" fmla="*/ 1097986 h 2393680"/>
              <a:gd name="csX31" fmla="*/ 335398 w 4031833"/>
              <a:gd name="csY31" fmla="*/ 1097986 h 2393680"/>
              <a:gd name="csX32" fmla="*/ 335398 w 4031833"/>
              <a:gd name="csY32" fmla="*/ 1115639 h 2393680"/>
              <a:gd name="csX33" fmla="*/ 356581 w 4031833"/>
              <a:gd name="csY33" fmla="*/ 1115639 h 2393680"/>
              <a:gd name="csX34" fmla="*/ 356581 w 4031833"/>
              <a:gd name="csY34" fmla="*/ 1154474 h 2393680"/>
              <a:gd name="csX35" fmla="*/ 370703 w 4031833"/>
              <a:gd name="csY35" fmla="*/ 1154474 h 2393680"/>
              <a:gd name="csX36" fmla="*/ 370703 w 4031833"/>
              <a:gd name="csY36" fmla="*/ 1225084 h 2393680"/>
              <a:gd name="csX37" fmla="*/ 391886 w 4031833"/>
              <a:gd name="csY37" fmla="*/ 1225084 h 2393680"/>
              <a:gd name="csX38" fmla="*/ 391886 w 4031833"/>
              <a:gd name="csY38" fmla="*/ 1278042 h 2393680"/>
              <a:gd name="csX39" fmla="*/ 466026 w 4031833"/>
              <a:gd name="csY39" fmla="*/ 1278042 h 2393680"/>
              <a:gd name="csX40" fmla="*/ 466026 w 4031833"/>
              <a:gd name="csY40" fmla="*/ 1313347 h 2393680"/>
              <a:gd name="csX41" fmla="*/ 557819 w 4031833"/>
              <a:gd name="csY41" fmla="*/ 1313347 h 2393680"/>
              <a:gd name="csX42" fmla="*/ 557819 w 4031833"/>
              <a:gd name="csY42" fmla="*/ 1323938 h 2393680"/>
              <a:gd name="csX43" fmla="*/ 579002 w 4031833"/>
              <a:gd name="csY43" fmla="*/ 1323938 h 2393680"/>
              <a:gd name="csX44" fmla="*/ 579002 w 4031833"/>
              <a:gd name="csY44" fmla="*/ 1359243 h 2393680"/>
              <a:gd name="csX45" fmla="*/ 769650 w 4031833"/>
              <a:gd name="csY45" fmla="*/ 1359243 h 2393680"/>
              <a:gd name="csX46" fmla="*/ 769650 w 4031833"/>
              <a:gd name="csY46" fmla="*/ 1380426 h 2393680"/>
              <a:gd name="csX47" fmla="*/ 790833 w 4031833"/>
              <a:gd name="csY47" fmla="*/ 1380426 h 2393680"/>
              <a:gd name="csX48" fmla="*/ 790833 w 4031833"/>
              <a:gd name="csY48" fmla="*/ 1401609 h 2393680"/>
              <a:gd name="csX49" fmla="*/ 886156 w 4031833"/>
              <a:gd name="csY49" fmla="*/ 1401609 h 2393680"/>
              <a:gd name="csX50" fmla="*/ 886156 w 4031833"/>
              <a:gd name="csY50" fmla="*/ 1415731 h 2393680"/>
              <a:gd name="csX51" fmla="*/ 1168596 w 4031833"/>
              <a:gd name="csY51" fmla="*/ 1415731 h 2393680"/>
              <a:gd name="csX52" fmla="*/ 1168596 w 4031833"/>
              <a:gd name="csY52" fmla="*/ 1472219 h 2393680"/>
              <a:gd name="csX53" fmla="*/ 1888819 w 4031833"/>
              <a:gd name="csY53" fmla="*/ 1472219 h 2393680"/>
              <a:gd name="csX54" fmla="*/ 1888819 w 4031833"/>
              <a:gd name="csY54" fmla="*/ 1500463 h 2393680"/>
              <a:gd name="csX55" fmla="*/ 2213625 w 4031833"/>
              <a:gd name="csY55" fmla="*/ 1500463 h 2393680"/>
              <a:gd name="csX56" fmla="*/ 2213625 w 4031833"/>
              <a:gd name="csY56" fmla="*/ 1528707 h 2393680"/>
              <a:gd name="csX57" fmla="*/ 2255991 w 4031833"/>
              <a:gd name="csY57" fmla="*/ 1528707 h 2393680"/>
              <a:gd name="csX58" fmla="*/ 2255991 w 4031833"/>
              <a:gd name="csY58" fmla="*/ 1560482 h 2393680"/>
              <a:gd name="csX59" fmla="*/ 2676121 w 4031833"/>
              <a:gd name="csY59" fmla="*/ 1560482 h 2393680"/>
              <a:gd name="csX60" fmla="*/ 2676121 w 4031833"/>
              <a:gd name="csY60" fmla="*/ 1595787 h 2393680"/>
              <a:gd name="csX61" fmla="*/ 2909134 w 4031833"/>
              <a:gd name="csY61" fmla="*/ 1595787 h 2393680"/>
              <a:gd name="csX62" fmla="*/ 2909134 w 4031833"/>
              <a:gd name="csY62" fmla="*/ 1613440 h 2393680"/>
              <a:gd name="csX63" fmla="*/ 3417526 w 4031833"/>
              <a:gd name="csY63" fmla="*/ 1613440 h 2393680"/>
              <a:gd name="csX64" fmla="*/ 3417526 w 4031833"/>
              <a:gd name="csY64" fmla="*/ 1652275 h 2393680"/>
              <a:gd name="csX65" fmla="*/ 4031833 w 4031833"/>
              <a:gd name="csY65" fmla="*/ 1652275 h 2393680"/>
              <a:gd name="csX66" fmla="*/ 4031833 w 4031833"/>
              <a:gd name="csY66" fmla="*/ 2393680 h 239368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</a:cxnLst>
            <a:rect l="l" t="t" r="r" b="b"/>
            <a:pathLst>
              <a:path w="4031833" h="2393680">
                <a:moveTo>
                  <a:pt x="0" y="0"/>
                </a:moveTo>
                <a:lnTo>
                  <a:pt x="0" y="67080"/>
                </a:lnTo>
                <a:lnTo>
                  <a:pt x="35305" y="67080"/>
                </a:lnTo>
                <a:lnTo>
                  <a:pt x="35305" y="105915"/>
                </a:lnTo>
                <a:lnTo>
                  <a:pt x="56488" y="105915"/>
                </a:lnTo>
                <a:lnTo>
                  <a:pt x="56488" y="165934"/>
                </a:lnTo>
                <a:lnTo>
                  <a:pt x="77671" y="165934"/>
                </a:lnTo>
                <a:lnTo>
                  <a:pt x="77671" y="183586"/>
                </a:lnTo>
                <a:lnTo>
                  <a:pt x="91793" y="183586"/>
                </a:lnTo>
                <a:lnTo>
                  <a:pt x="91793" y="211830"/>
                </a:lnTo>
                <a:lnTo>
                  <a:pt x="105915" y="211830"/>
                </a:lnTo>
                <a:lnTo>
                  <a:pt x="105915" y="261257"/>
                </a:lnTo>
                <a:lnTo>
                  <a:pt x="105915" y="328337"/>
                </a:lnTo>
                <a:lnTo>
                  <a:pt x="130629" y="328337"/>
                </a:lnTo>
                <a:lnTo>
                  <a:pt x="130629" y="388355"/>
                </a:lnTo>
                <a:lnTo>
                  <a:pt x="144751" y="388355"/>
                </a:lnTo>
                <a:lnTo>
                  <a:pt x="144751" y="437782"/>
                </a:lnTo>
                <a:lnTo>
                  <a:pt x="158873" y="437782"/>
                </a:lnTo>
                <a:lnTo>
                  <a:pt x="158873" y="476618"/>
                </a:lnTo>
                <a:lnTo>
                  <a:pt x="165934" y="483679"/>
                </a:lnTo>
                <a:lnTo>
                  <a:pt x="165934" y="734345"/>
                </a:lnTo>
                <a:lnTo>
                  <a:pt x="201239" y="734345"/>
                </a:lnTo>
                <a:lnTo>
                  <a:pt x="201239" y="946175"/>
                </a:lnTo>
                <a:lnTo>
                  <a:pt x="222422" y="946175"/>
                </a:lnTo>
                <a:lnTo>
                  <a:pt x="222422" y="992071"/>
                </a:lnTo>
                <a:lnTo>
                  <a:pt x="243605" y="992071"/>
                </a:lnTo>
                <a:lnTo>
                  <a:pt x="243605" y="1009724"/>
                </a:lnTo>
                <a:lnTo>
                  <a:pt x="289501" y="1009724"/>
                </a:lnTo>
                <a:lnTo>
                  <a:pt x="289501" y="1059151"/>
                </a:lnTo>
                <a:lnTo>
                  <a:pt x="310684" y="1059151"/>
                </a:lnTo>
                <a:lnTo>
                  <a:pt x="310684" y="1097986"/>
                </a:lnTo>
                <a:lnTo>
                  <a:pt x="335398" y="1097986"/>
                </a:lnTo>
                <a:lnTo>
                  <a:pt x="335398" y="1115639"/>
                </a:lnTo>
                <a:lnTo>
                  <a:pt x="356581" y="1115639"/>
                </a:lnTo>
                <a:lnTo>
                  <a:pt x="356581" y="1154474"/>
                </a:lnTo>
                <a:lnTo>
                  <a:pt x="370703" y="1154474"/>
                </a:lnTo>
                <a:lnTo>
                  <a:pt x="370703" y="1225084"/>
                </a:lnTo>
                <a:lnTo>
                  <a:pt x="391886" y="1225084"/>
                </a:lnTo>
                <a:lnTo>
                  <a:pt x="391886" y="1278042"/>
                </a:lnTo>
                <a:lnTo>
                  <a:pt x="466026" y="1278042"/>
                </a:lnTo>
                <a:lnTo>
                  <a:pt x="466026" y="1313347"/>
                </a:lnTo>
                <a:lnTo>
                  <a:pt x="557819" y="1313347"/>
                </a:lnTo>
                <a:lnTo>
                  <a:pt x="557819" y="1323938"/>
                </a:lnTo>
                <a:lnTo>
                  <a:pt x="579002" y="1323938"/>
                </a:lnTo>
                <a:lnTo>
                  <a:pt x="579002" y="1359243"/>
                </a:lnTo>
                <a:lnTo>
                  <a:pt x="769650" y="1359243"/>
                </a:lnTo>
                <a:lnTo>
                  <a:pt x="769650" y="1380426"/>
                </a:lnTo>
                <a:lnTo>
                  <a:pt x="790833" y="1380426"/>
                </a:lnTo>
                <a:lnTo>
                  <a:pt x="790833" y="1401609"/>
                </a:lnTo>
                <a:lnTo>
                  <a:pt x="886156" y="1401609"/>
                </a:lnTo>
                <a:lnTo>
                  <a:pt x="886156" y="1415731"/>
                </a:lnTo>
                <a:lnTo>
                  <a:pt x="1168596" y="1415731"/>
                </a:lnTo>
                <a:lnTo>
                  <a:pt x="1168596" y="1472219"/>
                </a:lnTo>
                <a:lnTo>
                  <a:pt x="1888819" y="1472219"/>
                </a:lnTo>
                <a:lnTo>
                  <a:pt x="1888819" y="1500463"/>
                </a:lnTo>
                <a:lnTo>
                  <a:pt x="2213625" y="1500463"/>
                </a:lnTo>
                <a:lnTo>
                  <a:pt x="2213625" y="1528707"/>
                </a:lnTo>
                <a:lnTo>
                  <a:pt x="2255991" y="1528707"/>
                </a:lnTo>
                <a:lnTo>
                  <a:pt x="2255991" y="1560482"/>
                </a:lnTo>
                <a:lnTo>
                  <a:pt x="2676121" y="1560482"/>
                </a:lnTo>
                <a:lnTo>
                  <a:pt x="2676121" y="1595787"/>
                </a:lnTo>
                <a:lnTo>
                  <a:pt x="2909134" y="1595787"/>
                </a:lnTo>
                <a:lnTo>
                  <a:pt x="2909134" y="1613440"/>
                </a:lnTo>
                <a:lnTo>
                  <a:pt x="3417526" y="1613440"/>
                </a:lnTo>
                <a:lnTo>
                  <a:pt x="3417526" y="1652275"/>
                </a:lnTo>
                <a:lnTo>
                  <a:pt x="4031833" y="1652275"/>
                </a:lnTo>
                <a:lnTo>
                  <a:pt x="4031833" y="2393680"/>
                </a:lnTo>
              </a:path>
            </a:pathLst>
          </a:cu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869597B5-2AB7-69D0-F6D1-C7D7A1BEFB37}"/>
              </a:ext>
            </a:extLst>
          </p:cNvPr>
          <p:cNvSpPr txBox="1"/>
          <p:nvPr/>
        </p:nvSpPr>
        <p:spPr>
          <a:xfrm>
            <a:off x="4836597" y="5079847"/>
            <a:ext cx="66892" cy="121411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01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8425965D-074A-B38B-749F-5C105E548B5B}"/>
              </a:ext>
            </a:extLst>
          </p:cNvPr>
          <p:cNvSpPr txBox="1"/>
          <p:nvPr/>
        </p:nvSpPr>
        <p:spPr>
          <a:xfrm>
            <a:off x="7846122" y="5079847"/>
            <a:ext cx="132407" cy="121411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0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11BE9DD6-A865-7CEB-E98B-3196411B89DF}"/>
              </a:ext>
            </a:extLst>
          </p:cNvPr>
          <p:cNvSpPr txBox="1"/>
          <p:nvPr/>
        </p:nvSpPr>
        <p:spPr>
          <a:xfrm>
            <a:off x="5024692" y="5079847"/>
            <a:ext cx="66892" cy="121411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58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9369822F-10E5-7E2D-319B-39DA69B44BF7}"/>
              </a:ext>
            </a:extLst>
          </p:cNvPr>
          <p:cNvSpPr txBox="1"/>
          <p:nvPr/>
        </p:nvSpPr>
        <p:spPr>
          <a:xfrm>
            <a:off x="5212787" y="5079847"/>
            <a:ext cx="66892" cy="121411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46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CC1F2FFB-91F6-9372-74A1-FFDACBC76231}"/>
              </a:ext>
            </a:extLst>
          </p:cNvPr>
          <p:cNvSpPr txBox="1"/>
          <p:nvPr/>
        </p:nvSpPr>
        <p:spPr>
          <a:xfrm>
            <a:off x="5400882" y="5079847"/>
            <a:ext cx="66892" cy="121411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44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B59F51AC-56AD-5250-68FC-B9C0DF4AE5BA}"/>
              </a:ext>
            </a:extLst>
          </p:cNvPr>
          <p:cNvSpPr txBox="1"/>
          <p:nvPr/>
        </p:nvSpPr>
        <p:spPr>
          <a:xfrm>
            <a:off x="5588977" y="5079847"/>
            <a:ext cx="66892" cy="121411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40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A67B648B-6101-3DD1-BE3C-5317F080FE1F}"/>
              </a:ext>
            </a:extLst>
          </p:cNvPr>
          <p:cNvSpPr txBox="1"/>
          <p:nvPr/>
        </p:nvSpPr>
        <p:spPr>
          <a:xfrm>
            <a:off x="5777072" y="5079847"/>
            <a:ext cx="66892" cy="121411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39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BE32A7FA-F73F-2330-37B3-7C12CF89486B}"/>
              </a:ext>
            </a:extLst>
          </p:cNvPr>
          <p:cNvSpPr txBox="1"/>
          <p:nvPr/>
        </p:nvSpPr>
        <p:spPr>
          <a:xfrm>
            <a:off x="5965167" y="5079847"/>
            <a:ext cx="66892" cy="121411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39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6AAF77D3-397F-1513-29DA-8C29970834C1}"/>
              </a:ext>
            </a:extLst>
          </p:cNvPr>
          <p:cNvSpPr txBox="1"/>
          <p:nvPr/>
        </p:nvSpPr>
        <p:spPr>
          <a:xfrm>
            <a:off x="6165578" y="5079847"/>
            <a:ext cx="66892" cy="121411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39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74A1F5AB-2746-633F-642A-6F0FBBC994BA}"/>
              </a:ext>
            </a:extLst>
          </p:cNvPr>
          <p:cNvSpPr txBox="1"/>
          <p:nvPr/>
        </p:nvSpPr>
        <p:spPr>
          <a:xfrm>
            <a:off x="6347515" y="5079847"/>
            <a:ext cx="66892" cy="121411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38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4650BC0D-4895-108C-16A5-47E7A02F883C}"/>
              </a:ext>
            </a:extLst>
          </p:cNvPr>
          <p:cNvSpPr txBox="1"/>
          <p:nvPr/>
        </p:nvSpPr>
        <p:spPr>
          <a:xfrm>
            <a:off x="6544847" y="5079847"/>
            <a:ext cx="66892" cy="121411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35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33B25749-07A4-ACB0-9624-CC9123DD1EFD}"/>
              </a:ext>
            </a:extLst>
          </p:cNvPr>
          <p:cNvSpPr txBox="1"/>
          <p:nvPr/>
        </p:nvSpPr>
        <p:spPr>
          <a:xfrm>
            <a:off x="6739100" y="5079847"/>
            <a:ext cx="66892" cy="121411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35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A4EA66AB-78F3-0041-AE29-45D27D2C6787}"/>
              </a:ext>
            </a:extLst>
          </p:cNvPr>
          <p:cNvSpPr txBox="1"/>
          <p:nvPr/>
        </p:nvSpPr>
        <p:spPr>
          <a:xfrm>
            <a:off x="6930274" y="5079847"/>
            <a:ext cx="66892" cy="121411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33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D9D1F666-4F25-1DDB-3729-3467CC86704F}"/>
              </a:ext>
            </a:extLst>
          </p:cNvPr>
          <p:cNvSpPr txBox="1"/>
          <p:nvPr/>
        </p:nvSpPr>
        <p:spPr>
          <a:xfrm>
            <a:off x="7112211" y="5079847"/>
            <a:ext cx="66892" cy="121411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31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2C2BAE9F-96CE-76A7-9663-DE4691D70454}"/>
              </a:ext>
            </a:extLst>
          </p:cNvPr>
          <p:cNvSpPr txBox="1"/>
          <p:nvPr/>
        </p:nvSpPr>
        <p:spPr>
          <a:xfrm>
            <a:off x="7309543" y="5079847"/>
            <a:ext cx="66892" cy="121411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27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70F7B577-BE11-2A34-CDFC-875E187985FE}"/>
              </a:ext>
            </a:extLst>
          </p:cNvPr>
          <p:cNvSpPr txBox="1"/>
          <p:nvPr/>
        </p:nvSpPr>
        <p:spPr>
          <a:xfrm>
            <a:off x="7497638" y="5079847"/>
            <a:ext cx="66892" cy="121411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24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51FB07A3-6E97-4A0F-6A05-5CB074DEB459}"/>
              </a:ext>
            </a:extLst>
          </p:cNvPr>
          <p:cNvSpPr txBox="1"/>
          <p:nvPr/>
        </p:nvSpPr>
        <p:spPr>
          <a:xfrm>
            <a:off x="7698049" y="5079847"/>
            <a:ext cx="66892" cy="121411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1</a:t>
            </a:r>
          </a:p>
        </p:txBody>
      </p:sp>
      <p:cxnSp>
        <p:nvCxnSpPr>
          <p:cNvPr id="85" name="Straight Connector 84">
            <a:extLst>
              <a:ext uri="{FF2B5EF4-FFF2-40B4-BE49-F238E27FC236}">
                <a16:creationId xmlns:a16="http://schemas.microsoft.com/office/drawing/2014/main" id="{AE34AD03-875F-B4E4-5605-6AA584EAA2BC}"/>
              </a:ext>
            </a:extLst>
          </p:cNvPr>
          <p:cNvCxnSpPr>
            <a:cxnSpLocks/>
          </p:cNvCxnSpPr>
          <p:nvPr/>
        </p:nvCxnSpPr>
        <p:spPr>
          <a:xfrm rot="16200000">
            <a:off x="9208405" y="4484035"/>
            <a:ext cx="75812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067C6FB4-8C5B-22A7-9907-41DA3C1AA79B}"/>
              </a:ext>
            </a:extLst>
          </p:cNvPr>
          <p:cNvCxnSpPr>
            <a:cxnSpLocks/>
          </p:cNvCxnSpPr>
          <p:nvPr/>
        </p:nvCxnSpPr>
        <p:spPr>
          <a:xfrm rot="16200000">
            <a:off x="9513140" y="4484035"/>
            <a:ext cx="75812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TextBox 86">
            <a:extLst>
              <a:ext uri="{FF2B5EF4-FFF2-40B4-BE49-F238E27FC236}">
                <a16:creationId xmlns:a16="http://schemas.microsoft.com/office/drawing/2014/main" id="{5BBEB12A-D67A-A901-5C07-E01A76CA9E66}"/>
              </a:ext>
            </a:extLst>
          </p:cNvPr>
          <p:cNvSpPr txBox="1"/>
          <p:nvPr/>
        </p:nvSpPr>
        <p:spPr>
          <a:xfrm>
            <a:off x="8896284" y="4534458"/>
            <a:ext cx="66892" cy="121411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4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A1C40A6D-5971-0A0D-C9C5-F565ADEAB50A}"/>
              </a:ext>
            </a:extLst>
          </p:cNvPr>
          <p:cNvSpPr txBox="1"/>
          <p:nvPr/>
        </p:nvSpPr>
        <p:spPr>
          <a:xfrm>
            <a:off x="9202037" y="4534458"/>
            <a:ext cx="66892" cy="121411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6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67C611A1-A726-4E2A-B392-0187E4F732C0}"/>
              </a:ext>
            </a:extLst>
          </p:cNvPr>
          <p:cNvSpPr txBox="1"/>
          <p:nvPr/>
        </p:nvSpPr>
        <p:spPr>
          <a:xfrm>
            <a:off x="9507790" y="4534458"/>
            <a:ext cx="66892" cy="121411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9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B0A5D5E2-FD5A-1F61-8714-C72194E12CED}"/>
              </a:ext>
            </a:extLst>
          </p:cNvPr>
          <p:cNvSpPr txBox="1"/>
          <p:nvPr/>
        </p:nvSpPr>
        <p:spPr>
          <a:xfrm>
            <a:off x="9813543" y="4534458"/>
            <a:ext cx="66892" cy="121411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2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3C6AF872-17DD-B4EC-6898-51F83E83AEE1}"/>
              </a:ext>
            </a:extLst>
          </p:cNvPr>
          <p:cNvSpPr txBox="1"/>
          <p:nvPr/>
        </p:nvSpPr>
        <p:spPr>
          <a:xfrm>
            <a:off x="10119296" y="4534458"/>
            <a:ext cx="66892" cy="121411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5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E422582D-6DE9-5E64-B0C8-7191472A8676}"/>
              </a:ext>
            </a:extLst>
          </p:cNvPr>
          <p:cNvSpPr txBox="1"/>
          <p:nvPr/>
        </p:nvSpPr>
        <p:spPr>
          <a:xfrm>
            <a:off x="10425049" y="4534458"/>
            <a:ext cx="66892" cy="121411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8</a:t>
            </a: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51928121-2D87-6D4C-E44C-8927D052E27F}"/>
              </a:ext>
            </a:extLst>
          </p:cNvPr>
          <p:cNvSpPr txBox="1"/>
          <p:nvPr/>
        </p:nvSpPr>
        <p:spPr>
          <a:xfrm>
            <a:off x="10730802" y="4534458"/>
            <a:ext cx="66892" cy="121411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21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6FA02EA0-66E7-CB4C-6D1E-8DA79F1B7F3F}"/>
              </a:ext>
            </a:extLst>
          </p:cNvPr>
          <p:cNvSpPr txBox="1"/>
          <p:nvPr/>
        </p:nvSpPr>
        <p:spPr>
          <a:xfrm>
            <a:off x="11036555" y="4534458"/>
            <a:ext cx="66892" cy="121411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24</a:t>
            </a: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5FECDC70-815A-50E1-60C3-232CAFA27896}"/>
              </a:ext>
            </a:extLst>
          </p:cNvPr>
          <p:cNvSpPr txBox="1"/>
          <p:nvPr/>
        </p:nvSpPr>
        <p:spPr>
          <a:xfrm>
            <a:off x="11342308" y="4534458"/>
            <a:ext cx="66892" cy="121411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27</a:t>
            </a: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A8E3F9BF-9423-277F-D6C2-77CB471D9FFF}"/>
              </a:ext>
            </a:extLst>
          </p:cNvPr>
          <p:cNvSpPr txBox="1"/>
          <p:nvPr/>
        </p:nvSpPr>
        <p:spPr>
          <a:xfrm>
            <a:off x="11648063" y="4534458"/>
            <a:ext cx="66892" cy="121411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30</a:t>
            </a: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F1005ADF-415D-B357-C28C-856CAA6B5E29}"/>
              </a:ext>
            </a:extLst>
          </p:cNvPr>
          <p:cNvSpPr txBox="1"/>
          <p:nvPr/>
        </p:nvSpPr>
        <p:spPr>
          <a:xfrm>
            <a:off x="8599323" y="5081836"/>
            <a:ext cx="66892" cy="121411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256</a:t>
            </a: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B624A233-847B-3D04-DFE2-B5D9E3F4556C}"/>
              </a:ext>
            </a:extLst>
          </p:cNvPr>
          <p:cNvSpPr txBox="1"/>
          <p:nvPr/>
        </p:nvSpPr>
        <p:spPr>
          <a:xfrm>
            <a:off x="8905076" y="5081836"/>
            <a:ext cx="66892" cy="121411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33</a:t>
            </a: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2EC02286-84C2-BCE0-4B75-A96C884AEB54}"/>
              </a:ext>
            </a:extLst>
          </p:cNvPr>
          <p:cNvSpPr txBox="1"/>
          <p:nvPr/>
        </p:nvSpPr>
        <p:spPr>
          <a:xfrm>
            <a:off x="9210829" y="5081836"/>
            <a:ext cx="66892" cy="121411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00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D1410CEE-76D4-482E-5AC1-6B29C0CA4300}"/>
              </a:ext>
            </a:extLst>
          </p:cNvPr>
          <p:cNvSpPr txBox="1"/>
          <p:nvPr/>
        </p:nvSpPr>
        <p:spPr>
          <a:xfrm>
            <a:off x="9516582" y="5081836"/>
            <a:ext cx="66892" cy="121411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87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7DE5E961-EFA8-D853-488D-31D83A11B551}"/>
              </a:ext>
            </a:extLst>
          </p:cNvPr>
          <p:cNvSpPr txBox="1"/>
          <p:nvPr/>
        </p:nvSpPr>
        <p:spPr>
          <a:xfrm>
            <a:off x="9822335" y="5081836"/>
            <a:ext cx="66892" cy="121411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65</a:t>
            </a: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83FA7F6A-3186-B29F-1BA8-B348E7A4BF62}"/>
              </a:ext>
            </a:extLst>
          </p:cNvPr>
          <p:cNvSpPr txBox="1"/>
          <p:nvPr/>
        </p:nvSpPr>
        <p:spPr>
          <a:xfrm>
            <a:off x="10128088" y="5081836"/>
            <a:ext cx="66892" cy="121411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47</a:t>
            </a: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32484719-49F4-8AAD-3CA1-0FA4BA51588B}"/>
              </a:ext>
            </a:extLst>
          </p:cNvPr>
          <p:cNvSpPr txBox="1"/>
          <p:nvPr/>
        </p:nvSpPr>
        <p:spPr>
          <a:xfrm>
            <a:off x="10433841" y="5081836"/>
            <a:ext cx="66892" cy="121411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33</a:t>
            </a: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6A7D6E57-1ACB-98E9-D494-972C0B4CBD73}"/>
              </a:ext>
            </a:extLst>
          </p:cNvPr>
          <p:cNvSpPr txBox="1"/>
          <p:nvPr/>
        </p:nvSpPr>
        <p:spPr>
          <a:xfrm>
            <a:off x="10739594" y="5081836"/>
            <a:ext cx="66892" cy="121411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23</a:t>
            </a:r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B635647A-D756-A2C5-381C-24B2EBE4EFD3}"/>
              </a:ext>
            </a:extLst>
          </p:cNvPr>
          <p:cNvSpPr txBox="1"/>
          <p:nvPr/>
        </p:nvSpPr>
        <p:spPr>
          <a:xfrm>
            <a:off x="11045347" y="5081836"/>
            <a:ext cx="66892" cy="121411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4</a:t>
            </a: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696210CD-6F86-089C-A1DC-3BF1B1D88206}"/>
              </a:ext>
            </a:extLst>
          </p:cNvPr>
          <p:cNvSpPr txBox="1"/>
          <p:nvPr/>
        </p:nvSpPr>
        <p:spPr>
          <a:xfrm>
            <a:off x="11351100" y="5081836"/>
            <a:ext cx="66892" cy="121411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</a:t>
            </a: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4CA2CFB4-CDCC-178B-AA6E-979C45062B93}"/>
              </a:ext>
            </a:extLst>
          </p:cNvPr>
          <p:cNvSpPr txBox="1"/>
          <p:nvPr/>
        </p:nvSpPr>
        <p:spPr>
          <a:xfrm>
            <a:off x="11656855" y="5081836"/>
            <a:ext cx="66892" cy="121411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0</a:t>
            </a:r>
          </a:p>
        </p:txBody>
      </p:sp>
      <p:cxnSp>
        <p:nvCxnSpPr>
          <p:cNvPr id="108" name="Straight Connector 107">
            <a:extLst>
              <a:ext uri="{FF2B5EF4-FFF2-40B4-BE49-F238E27FC236}">
                <a16:creationId xmlns:a16="http://schemas.microsoft.com/office/drawing/2014/main" id="{917CFEB5-0A33-5439-D1CB-679A1FB4C196}"/>
              </a:ext>
            </a:extLst>
          </p:cNvPr>
          <p:cNvCxnSpPr>
            <a:cxnSpLocks/>
          </p:cNvCxnSpPr>
          <p:nvPr/>
        </p:nvCxnSpPr>
        <p:spPr>
          <a:xfrm>
            <a:off x="8641182" y="2568591"/>
            <a:ext cx="0" cy="8013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Connector 108">
            <a:extLst>
              <a:ext uri="{FF2B5EF4-FFF2-40B4-BE49-F238E27FC236}">
                <a16:creationId xmlns:a16="http://schemas.microsoft.com/office/drawing/2014/main" id="{A9A32B8E-2EE9-EC33-7FF0-9037C9EAC6C0}"/>
              </a:ext>
            </a:extLst>
          </p:cNvPr>
          <p:cNvCxnSpPr>
            <a:cxnSpLocks/>
          </p:cNvCxnSpPr>
          <p:nvPr/>
        </p:nvCxnSpPr>
        <p:spPr>
          <a:xfrm>
            <a:off x="8727570" y="2627364"/>
            <a:ext cx="0" cy="8013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105DD353-20D9-6838-E2A6-76149421460E}"/>
              </a:ext>
            </a:extLst>
          </p:cNvPr>
          <p:cNvCxnSpPr>
            <a:cxnSpLocks/>
          </p:cNvCxnSpPr>
          <p:nvPr/>
        </p:nvCxnSpPr>
        <p:spPr>
          <a:xfrm>
            <a:off x="8734002" y="2655644"/>
            <a:ext cx="0" cy="8013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7DD903BF-001A-3D47-CB74-BA2F7AEFCF8B}"/>
              </a:ext>
            </a:extLst>
          </p:cNvPr>
          <p:cNvCxnSpPr>
            <a:cxnSpLocks/>
          </p:cNvCxnSpPr>
          <p:nvPr/>
        </p:nvCxnSpPr>
        <p:spPr>
          <a:xfrm>
            <a:off x="8734921" y="2668275"/>
            <a:ext cx="0" cy="8013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Connector 111">
            <a:extLst>
              <a:ext uri="{FF2B5EF4-FFF2-40B4-BE49-F238E27FC236}">
                <a16:creationId xmlns:a16="http://schemas.microsoft.com/office/drawing/2014/main" id="{F0096F5C-F9FB-89C6-D71C-34710DF5638A}"/>
              </a:ext>
            </a:extLst>
          </p:cNvPr>
          <p:cNvCxnSpPr>
            <a:cxnSpLocks/>
          </p:cNvCxnSpPr>
          <p:nvPr/>
        </p:nvCxnSpPr>
        <p:spPr>
          <a:xfrm>
            <a:off x="8740436" y="2681856"/>
            <a:ext cx="0" cy="8013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F71F9201-6808-9AE0-B42C-F2C7E91917C7}"/>
              </a:ext>
            </a:extLst>
          </p:cNvPr>
          <p:cNvCxnSpPr>
            <a:cxnSpLocks/>
          </p:cNvCxnSpPr>
          <p:nvPr/>
        </p:nvCxnSpPr>
        <p:spPr>
          <a:xfrm>
            <a:off x="8738598" y="2702576"/>
            <a:ext cx="0" cy="8013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4" name="Straight Connector 113">
            <a:extLst>
              <a:ext uri="{FF2B5EF4-FFF2-40B4-BE49-F238E27FC236}">
                <a16:creationId xmlns:a16="http://schemas.microsoft.com/office/drawing/2014/main" id="{80BCCDC4-9CD6-B9C0-59A3-C658F41A2A3F}"/>
              </a:ext>
            </a:extLst>
          </p:cNvPr>
          <p:cNvCxnSpPr>
            <a:cxnSpLocks/>
          </p:cNvCxnSpPr>
          <p:nvPr/>
        </p:nvCxnSpPr>
        <p:spPr>
          <a:xfrm>
            <a:off x="8746868" y="2745328"/>
            <a:ext cx="0" cy="8013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32317AF2-03B0-DA6A-1453-86C35509273C}"/>
              </a:ext>
            </a:extLst>
          </p:cNvPr>
          <p:cNvCxnSpPr>
            <a:cxnSpLocks/>
          </p:cNvCxnSpPr>
          <p:nvPr/>
        </p:nvCxnSpPr>
        <p:spPr>
          <a:xfrm>
            <a:off x="8778115" y="2819258"/>
            <a:ext cx="0" cy="8013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6" name="Straight Connector 115">
            <a:extLst>
              <a:ext uri="{FF2B5EF4-FFF2-40B4-BE49-F238E27FC236}">
                <a16:creationId xmlns:a16="http://schemas.microsoft.com/office/drawing/2014/main" id="{72C0B263-0998-7FA6-F635-AA625D5962CB}"/>
              </a:ext>
            </a:extLst>
          </p:cNvPr>
          <p:cNvCxnSpPr>
            <a:cxnSpLocks/>
          </p:cNvCxnSpPr>
          <p:nvPr/>
        </p:nvCxnSpPr>
        <p:spPr>
          <a:xfrm>
            <a:off x="8811199" y="2894091"/>
            <a:ext cx="0" cy="8013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7" name="Straight Connector 116">
            <a:extLst>
              <a:ext uri="{FF2B5EF4-FFF2-40B4-BE49-F238E27FC236}">
                <a16:creationId xmlns:a16="http://schemas.microsoft.com/office/drawing/2014/main" id="{1E918B65-29C2-DCAF-2208-795D2EA5B923}"/>
              </a:ext>
            </a:extLst>
          </p:cNvPr>
          <p:cNvCxnSpPr>
            <a:cxnSpLocks/>
          </p:cNvCxnSpPr>
          <p:nvPr/>
        </p:nvCxnSpPr>
        <p:spPr>
          <a:xfrm>
            <a:off x="8817632" y="2964826"/>
            <a:ext cx="0" cy="8013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8" name="Straight Connector 117">
            <a:extLst>
              <a:ext uri="{FF2B5EF4-FFF2-40B4-BE49-F238E27FC236}">
                <a16:creationId xmlns:a16="http://schemas.microsoft.com/office/drawing/2014/main" id="{8147EA9C-0199-93CA-145C-484B4F09B724}"/>
              </a:ext>
            </a:extLst>
          </p:cNvPr>
          <p:cNvCxnSpPr>
            <a:cxnSpLocks/>
          </p:cNvCxnSpPr>
          <p:nvPr/>
        </p:nvCxnSpPr>
        <p:spPr>
          <a:xfrm>
            <a:off x="8820390" y="2976020"/>
            <a:ext cx="0" cy="8013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9" name="Straight Connector 118">
            <a:extLst>
              <a:ext uri="{FF2B5EF4-FFF2-40B4-BE49-F238E27FC236}">
                <a16:creationId xmlns:a16="http://schemas.microsoft.com/office/drawing/2014/main" id="{40BA13E4-0FB6-8B09-A342-474D225700EA}"/>
              </a:ext>
            </a:extLst>
          </p:cNvPr>
          <p:cNvCxnSpPr>
            <a:cxnSpLocks/>
          </p:cNvCxnSpPr>
          <p:nvPr/>
        </p:nvCxnSpPr>
        <p:spPr>
          <a:xfrm>
            <a:off x="8839689" y="3022240"/>
            <a:ext cx="0" cy="8013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0" name="Straight Connector 119">
            <a:extLst>
              <a:ext uri="{FF2B5EF4-FFF2-40B4-BE49-F238E27FC236}">
                <a16:creationId xmlns:a16="http://schemas.microsoft.com/office/drawing/2014/main" id="{81D3752C-4B70-38D4-B740-3928B8541BC9}"/>
              </a:ext>
            </a:extLst>
          </p:cNvPr>
          <p:cNvCxnSpPr>
            <a:cxnSpLocks/>
          </p:cNvCxnSpPr>
          <p:nvPr/>
        </p:nvCxnSpPr>
        <p:spPr>
          <a:xfrm>
            <a:off x="8881044" y="3074249"/>
            <a:ext cx="0" cy="8013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1" name="Straight Connector 120">
            <a:extLst>
              <a:ext uri="{FF2B5EF4-FFF2-40B4-BE49-F238E27FC236}">
                <a16:creationId xmlns:a16="http://schemas.microsoft.com/office/drawing/2014/main" id="{866E1449-8A37-F599-1A15-CC7DAC9FFE6B}"/>
              </a:ext>
            </a:extLst>
          </p:cNvPr>
          <p:cNvCxnSpPr>
            <a:cxnSpLocks/>
          </p:cNvCxnSpPr>
          <p:nvPr/>
        </p:nvCxnSpPr>
        <p:spPr>
          <a:xfrm>
            <a:off x="8922399" y="3129833"/>
            <a:ext cx="0" cy="8013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2" name="Straight Connector 121">
            <a:extLst>
              <a:ext uri="{FF2B5EF4-FFF2-40B4-BE49-F238E27FC236}">
                <a16:creationId xmlns:a16="http://schemas.microsoft.com/office/drawing/2014/main" id="{73B70CFA-3674-014F-771D-670207B3F619}"/>
              </a:ext>
            </a:extLst>
          </p:cNvPr>
          <p:cNvCxnSpPr>
            <a:cxnSpLocks/>
          </p:cNvCxnSpPr>
          <p:nvPr/>
        </p:nvCxnSpPr>
        <p:spPr>
          <a:xfrm>
            <a:off x="8941699" y="3258687"/>
            <a:ext cx="0" cy="8013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3" name="Straight Connector 122">
            <a:extLst>
              <a:ext uri="{FF2B5EF4-FFF2-40B4-BE49-F238E27FC236}">
                <a16:creationId xmlns:a16="http://schemas.microsoft.com/office/drawing/2014/main" id="{F9A3041B-39A7-69E3-E599-D0B22C4FCAF3}"/>
              </a:ext>
            </a:extLst>
          </p:cNvPr>
          <p:cNvCxnSpPr>
            <a:cxnSpLocks/>
          </p:cNvCxnSpPr>
          <p:nvPr/>
        </p:nvCxnSpPr>
        <p:spPr>
          <a:xfrm>
            <a:off x="9000515" y="3388941"/>
            <a:ext cx="0" cy="8013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4" name="Straight Connector 123">
            <a:extLst>
              <a:ext uri="{FF2B5EF4-FFF2-40B4-BE49-F238E27FC236}">
                <a16:creationId xmlns:a16="http://schemas.microsoft.com/office/drawing/2014/main" id="{9C753E81-61DC-8423-CD97-CDB02AFADD67}"/>
              </a:ext>
            </a:extLst>
          </p:cNvPr>
          <p:cNvCxnSpPr>
            <a:cxnSpLocks/>
          </p:cNvCxnSpPr>
          <p:nvPr/>
        </p:nvCxnSpPr>
        <p:spPr>
          <a:xfrm>
            <a:off x="9009706" y="3407047"/>
            <a:ext cx="0" cy="8013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5" name="Straight Connector 124">
            <a:extLst>
              <a:ext uri="{FF2B5EF4-FFF2-40B4-BE49-F238E27FC236}">
                <a16:creationId xmlns:a16="http://schemas.microsoft.com/office/drawing/2014/main" id="{02AF3053-8ADC-94DE-697F-13E92A3B97CC}"/>
              </a:ext>
            </a:extLst>
          </p:cNvPr>
          <p:cNvCxnSpPr>
            <a:cxnSpLocks/>
          </p:cNvCxnSpPr>
          <p:nvPr/>
        </p:nvCxnSpPr>
        <p:spPr>
          <a:xfrm>
            <a:off x="9064846" y="3415318"/>
            <a:ext cx="0" cy="8013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6" name="Straight Connector 125">
            <a:extLst>
              <a:ext uri="{FF2B5EF4-FFF2-40B4-BE49-F238E27FC236}">
                <a16:creationId xmlns:a16="http://schemas.microsoft.com/office/drawing/2014/main" id="{60370613-68BA-23FB-6DC5-534D8A005C2B}"/>
              </a:ext>
            </a:extLst>
          </p:cNvPr>
          <p:cNvCxnSpPr>
            <a:cxnSpLocks/>
          </p:cNvCxnSpPr>
          <p:nvPr/>
        </p:nvCxnSpPr>
        <p:spPr>
          <a:xfrm>
            <a:off x="9133772" y="3429793"/>
            <a:ext cx="0" cy="8013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7" name="Straight Connector 126">
            <a:extLst>
              <a:ext uri="{FF2B5EF4-FFF2-40B4-BE49-F238E27FC236}">
                <a16:creationId xmlns:a16="http://schemas.microsoft.com/office/drawing/2014/main" id="{826AAF20-6EE1-A72D-E542-CF0BEE3569D6}"/>
              </a:ext>
            </a:extLst>
          </p:cNvPr>
          <p:cNvCxnSpPr>
            <a:cxnSpLocks/>
          </p:cNvCxnSpPr>
          <p:nvPr/>
        </p:nvCxnSpPr>
        <p:spPr>
          <a:xfrm>
            <a:off x="9227511" y="3425255"/>
            <a:ext cx="0" cy="8013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23" name="Straight Connector 822">
            <a:extLst>
              <a:ext uri="{FF2B5EF4-FFF2-40B4-BE49-F238E27FC236}">
                <a16:creationId xmlns:a16="http://schemas.microsoft.com/office/drawing/2014/main" id="{EF4F3822-AE06-A2F3-E19A-B3E6BD0481FB}"/>
              </a:ext>
            </a:extLst>
          </p:cNvPr>
          <p:cNvCxnSpPr>
            <a:cxnSpLocks/>
          </p:cNvCxnSpPr>
          <p:nvPr/>
        </p:nvCxnSpPr>
        <p:spPr>
          <a:xfrm>
            <a:off x="9249568" y="3492636"/>
            <a:ext cx="0" cy="8013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60" name="Straight Connector 959">
            <a:extLst>
              <a:ext uri="{FF2B5EF4-FFF2-40B4-BE49-F238E27FC236}">
                <a16:creationId xmlns:a16="http://schemas.microsoft.com/office/drawing/2014/main" id="{C089A131-4654-A333-F554-9CD884801B5F}"/>
              </a:ext>
            </a:extLst>
          </p:cNvPr>
          <p:cNvCxnSpPr>
            <a:cxnSpLocks/>
          </p:cNvCxnSpPr>
          <p:nvPr/>
        </p:nvCxnSpPr>
        <p:spPr>
          <a:xfrm>
            <a:off x="9274381" y="3471891"/>
            <a:ext cx="0" cy="8013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61" name="Straight Connector 960">
            <a:extLst>
              <a:ext uri="{FF2B5EF4-FFF2-40B4-BE49-F238E27FC236}">
                <a16:creationId xmlns:a16="http://schemas.microsoft.com/office/drawing/2014/main" id="{B89ADB2B-6485-D3D3-0E8F-E96FEC68ED9B}"/>
              </a:ext>
            </a:extLst>
          </p:cNvPr>
          <p:cNvCxnSpPr>
            <a:cxnSpLocks/>
          </p:cNvCxnSpPr>
          <p:nvPr/>
        </p:nvCxnSpPr>
        <p:spPr>
          <a:xfrm>
            <a:off x="9464617" y="3508060"/>
            <a:ext cx="0" cy="8013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62" name="Straight Connector 961">
            <a:extLst>
              <a:ext uri="{FF2B5EF4-FFF2-40B4-BE49-F238E27FC236}">
                <a16:creationId xmlns:a16="http://schemas.microsoft.com/office/drawing/2014/main" id="{2D7C4600-69B5-7F19-2C77-D9FA743C3F57}"/>
              </a:ext>
            </a:extLst>
          </p:cNvPr>
          <p:cNvCxnSpPr>
            <a:cxnSpLocks/>
          </p:cNvCxnSpPr>
          <p:nvPr/>
        </p:nvCxnSpPr>
        <p:spPr>
          <a:xfrm>
            <a:off x="9505972" y="3508060"/>
            <a:ext cx="0" cy="8013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63" name="Straight Connector 962">
            <a:extLst>
              <a:ext uri="{FF2B5EF4-FFF2-40B4-BE49-F238E27FC236}">
                <a16:creationId xmlns:a16="http://schemas.microsoft.com/office/drawing/2014/main" id="{35F625DC-DC16-47F5-5B0C-DD98147BF51C}"/>
              </a:ext>
            </a:extLst>
          </p:cNvPr>
          <p:cNvCxnSpPr>
            <a:cxnSpLocks/>
          </p:cNvCxnSpPr>
          <p:nvPr/>
        </p:nvCxnSpPr>
        <p:spPr>
          <a:xfrm>
            <a:off x="9539056" y="3508060"/>
            <a:ext cx="0" cy="8013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64" name="Straight Connector 963">
            <a:extLst>
              <a:ext uri="{FF2B5EF4-FFF2-40B4-BE49-F238E27FC236}">
                <a16:creationId xmlns:a16="http://schemas.microsoft.com/office/drawing/2014/main" id="{1E1CE01F-3407-9912-41D2-BADB550AD0F7}"/>
              </a:ext>
            </a:extLst>
          </p:cNvPr>
          <p:cNvCxnSpPr>
            <a:cxnSpLocks/>
          </p:cNvCxnSpPr>
          <p:nvPr/>
        </p:nvCxnSpPr>
        <p:spPr>
          <a:xfrm>
            <a:off x="9558356" y="3527359"/>
            <a:ext cx="0" cy="8013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65" name="Straight Connector 964">
            <a:extLst>
              <a:ext uri="{FF2B5EF4-FFF2-40B4-BE49-F238E27FC236}">
                <a16:creationId xmlns:a16="http://schemas.microsoft.com/office/drawing/2014/main" id="{01B7853F-CD1B-1DD8-FCB9-2628B675FE3B}"/>
              </a:ext>
            </a:extLst>
          </p:cNvPr>
          <p:cNvCxnSpPr>
            <a:cxnSpLocks/>
          </p:cNvCxnSpPr>
          <p:nvPr/>
        </p:nvCxnSpPr>
        <p:spPr>
          <a:xfrm>
            <a:off x="9583169" y="3532873"/>
            <a:ext cx="0" cy="8013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66" name="Straight Connector 965">
            <a:extLst>
              <a:ext uri="{FF2B5EF4-FFF2-40B4-BE49-F238E27FC236}">
                <a16:creationId xmlns:a16="http://schemas.microsoft.com/office/drawing/2014/main" id="{59F3E873-C162-0BFE-64C7-5EB87A9CFEAC}"/>
              </a:ext>
            </a:extLst>
          </p:cNvPr>
          <p:cNvCxnSpPr>
            <a:cxnSpLocks/>
          </p:cNvCxnSpPr>
          <p:nvPr/>
        </p:nvCxnSpPr>
        <p:spPr>
          <a:xfrm>
            <a:off x="9654852" y="3543901"/>
            <a:ext cx="0" cy="8013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67" name="Straight Connector 966">
            <a:extLst>
              <a:ext uri="{FF2B5EF4-FFF2-40B4-BE49-F238E27FC236}">
                <a16:creationId xmlns:a16="http://schemas.microsoft.com/office/drawing/2014/main" id="{779DEFFC-76A3-20C3-0ABC-C6AE4F203FBD}"/>
              </a:ext>
            </a:extLst>
          </p:cNvPr>
          <p:cNvCxnSpPr>
            <a:cxnSpLocks/>
          </p:cNvCxnSpPr>
          <p:nvPr/>
        </p:nvCxnSpPr>
        <p:spPr>
          <a:xfrm>
            <a:off x="9836029" y="3587505"/>
            <a:ext cx="0" cy="8013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68" name="Straight Connector 967">
            <a:extLst>
              <a:ext uri="{FF2B5EF4-FFF2-40B4-BE49-F238E27FC236}">
                <a16:creationId xmlns:a16="http://schemas.microsoft.com/office/drawing/2014/main" id="{BF922EB9-C7E6-4A82-085F-03B3369494F4}"/>
              </a:ext>
            </a:extLst>
          </p:cNvPr>
          <p:cNvCxnSpPr>
            <a:cxnSpLocks/>
          </p:cNvCxnSpPr>
          <p:nvPr/>
        </p:nvCxnSpPr>
        <p:spPr>
          <a:xfrm>
            <a:off x="9860563" y="3587505"/>
            <a:ext cx="0" cy="8013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69" name="Straight Connector 968">
            <a:extLst>
              <a:ext uri="{FF2B5EF4-FFF2-40B4-BE49-F238E27FC236}">
                <a16:creationId xmlns:a16="http://schemas.microsoft.com/office/drawing/2014/main" id="{04522276-E74E-E195-F6BE-0ECE053BAA35}"/>
              </a:ext>
            </a:extLst>
          </p:cNvPr>
          <p:cNvCxnSpPr>
            <a:cxnSpLocks/>
          </p:cNvCxnSpPr>
          <p:nvPr/>
        </p:nvCxnSpPr>
        <p:spPr>
          <a:xfrm>
            <a:off x="9894534" y="3587505"/>
            <a:ext cx="0" cy="8013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70" name="Straight Connector 969">
            <a:extLst>
              <a:ext uri="{FF2B5EF4-FFF2-40B4-BE49-F238E27FC236}">
                <a16:creationId xmlns:a16="http://schemas.microsoft.com/office/drawing/2014/main" id="{C2CE04EC-37EC-B165-A5E2-D76EC69C08C0}"/>
              </a:ext>
            </a:extLst>
          </p:cNvPr>
          <p:cNvCxnSpPr>
            <a:cxnSpLocks/>
          </p:cNvCxnSpPr>
          <p:nvPr/>
        </p:nvCxnSpPr>
        <p:spPr>
          <a:xfrm>
            <a:off x="9907745" y="3587505"/>
            <a:ext cx="0" cy="8013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71" name="Straight Connector 970">
            <a:extLst>
              <a:ext uri="{FF2B5EF4-FFF2-40B4-BE49-F238E27FC236}">
                <a16:creationId xmlns:a16="http://schemas.microsoft.com/office/drawing/2014/main" id="{6858F9DA-32A7-3F16-5CA4-E0B0C714361C}"/>
              </a:ext>
            </a:extLst>
          </p:cNvPr>
          <p:cNvCxnSpPr>
            <a:cxnSpLocks/>
          </p:cNvCxnSpPr>
          <p:nvPr/>
        </p:nvCxnSpPr>
        <p:spPr>
          <a:xfrm>
            <a:off x="9926618" y="3587505"/>
            <a:ext cx="0" cy="8013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72" name="Straight Connector 971">
            <a:extLst>
              <a:ext uri="{FF2B5EF4-FFF2-40B4-BE49-F238E27FC236}">
                <a16:creationId xmlns:a16="http://schemas.microsoft.com/office/drawing/2014/main" id="{F7B6D039-8756-721F-C00F-F32AF4D6B49E}"/>
              </a:ext>
            </a:extLst>
          </p:cNvPr>
          <p:cNvCxnSpPr>
            <a:cxnSpLocks/>
          </p:cNvCxnSpPr>
          <p:nvPr/>
        </p:nvCxnSpPr>
        <p:spPr>
          <a:xfrm>
            <a:off x="9951152" y="3587505"/>
            <a:ext cx="0" cy="8013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73" name="Straight Connector 972">
            <a:extLst>
              <a:ext uri="{FF2B5EF4-FFF2-40B4-BE49-F238E27FC236}">
                <a16:creationId xmlns:a16="http://schemas.microsoft.com/office/drawing/2014/main" id="{C72F807F-7C6D-3F78-6F22-EEF8AF7ABFE8}"/>
              </a:ext>
            </a:extLst>
          </p:cNvPr>
          <p:cNvCxnSpPr>
            <a:cxnSpLocks/>
          </p:cNvCxnSpPr>
          <p:nvPr/>
        </p:nvCxnSpPr>
        <p:spPr>
          <a:xfrm>
            <a:off x="9977573" y="3587505"/>
            <a:ext cx="0" cy="8013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74" name="Straight Connector 973">
            <a:extLst>
              <a:ext uri="{FF2B5EF4-FFF2-40B4-BE49-F238E27FC236}">
                <a16:creationId xmlns:a16="http://schemas.microsoft.com/office/drawing/2014/main" id="{680FD4F8-2EB9-7BBB-26E7-A19D03EA5A01}"/>
              </a:ext>
            </a:extLst>
          </p:cNvPr>
          <p:cNvCxnSpPr>
            <a:cxnSpLocks/>
          </p:cNvCxnSpPr>
          <p:nvPr/>
        </p:nvCxnSpPr>
        <p:spPr>
          <a:xfrm>
            <a:off x="10049289" y="3587505"/>
            <a:ext cx="0" cy="8013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75" name="Straight Connector 974">
            <a:extLst>
              <a:ext uri="{FF2B5EF4-FFF2-40B4-BE49-F238E27FC236}">
                <a16:creationId xmlns:a16="http://schemas.microsoft.com/office/drawing/2014/main" id="{C6C0D235-6890-7E26-6E4C-82F1BB298AAA}"/>
              </a:ext>
            </a:extLst>
          </p:cNvPr>
          <p:cNvCxnSpPr>
            <a:cxnSpLocks/>
          </p:cNvCxnSpPr>
          <p:nvPr/>
        </p:nvCxnSpPr>
        <p:spPr>
          <a:xfrm>
            <a:off x="10407868" y="3613546"/>
            <a:ext cx="0" cy="8013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76" name="Straight Connector 975">
            <a:extLst>
              <a:ext uri="{FF2B5EF4-FFF2-40B4-BE49-F238E27FC236}">
                <a16:creationId xmlns:a16="http://schemas.microsoft.com/office/drawing/2014/main" id="{C29FA378-1F47-B776-5C58-8024B7DA247E}"/>
              </a:ext>
            </a:extLst>
          </p:cNvPr>
          <p:cNvCxnSpPr>
            <a:cxnSpLocks/>
          </p:cNvCxnSpPr>
          <p:nvPr/>
        </p:nvCxnSpPr>
        <p:spPr>
          <a:xfrm>
            <a:off x="10430515" y="3613546"/>
            <a:ext cx="0" cy="8013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77" name="Straight Connector 976">
            <a:extLst>
              <a:ext uri="{FF2B5EF4-FFF2-40B4-BE49-F238E27FC236}">
                <a16:creationId xmlns:a16="http://schemas.microsoft.com/office/drawing/2014/main" id="{8F98BD6E-66D0-F2F0-D5F7-1DAE5F9C6B27}"/>
              </a:ext>
            </a:extLst>
          </p:cNvPr>
          <p:cNvCxnSpPr>
            <a:cxnSpLocks/>
          </p:cNvCxnSpPr>
          <p:nvPr/>
        </p:nvCxnSpPr>
        <p:spPr>
          <a:xfrm>
            <a:off x="10439951" y="3613546"/>
            <a:ext cx="0" cy="8013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78" name="Straight Connector 977">
            <a:extLst>
              <a:ext uri="{FF2B5EF4-FFF2-40B4-BE49-F238E27FC236}">
                <a16:creationId xmlns:a16="http://schemas.microsoft.com/office/drawing/2014/main" id="{BB08BF80-58A6-EC0A-2327-7625841C3EAA}"/>
              </a:ext>
            </a:extLst>
          </p:cNvPr>
          <p:cNvCxnSpPr>
            <a:cxnSpLocks/>
          </p:cNvCxnSpPr>
          <p:nvPr/>
        </p:nvCxnSpPr>
        <p:spPr>
          <a:xfrm>
            <a:off x="10447501" y="3613546"/>
            <a:ext cx="0" cy="8013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79" name="Straight Connector 978">
            <a:extLst>
              <a:ext uri="{FF2B5EF4-FFF2-40B4-BE49-F238E27FC236}">
                <a16:creationId xmlns:a16="http://schemas.microsoft.com/office/drawing/2014/main" id="{CE8F40C4-39AA-EE08-B1FC-2CD2D96C3084}"/>
              </a:ext>
            </a:extLst>
          </p:cNvPr>
          <p:cNvCxnSpPr>
            <a:cxnSpLocks/>
          </p:cNvCxnSpPr>
          <p:nvPr/>
        </p:nvCxnSpPr>
        <p:spPr>
          <a:xfrm>
            <a:off x="10479584" y="3631703"/>
            <a:ext cx="0" cy="8013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80" name="Straight Connector 979">
            <a:extLst>
              <a:ext uri="{FF2B5EF4-FFF2-40B4-BE49-F238E27FC236}">
                <a16:creationId xmlns:a16="http://schemas.microsoft.com/office/drawing/2014/main" id="{8690B610-8958-BF92-2F2B-D94AB2F9A1D7}"/>
              </a:ext>
            </a:extLst>
          </p:cNvPr>
          <p:cNvCxnSpPr>
            <a:cxnSpLocks/>
          </p:cNvCxnSpPr>
          <p:nvPr/>
        </p:nvCxnSpPr>
        <p:spPr>
          <a:xfrm>
            <a:off x="10485245" y="3630987"/>
            <a:ext cx="0" cy="8013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81" name="Straight Connector 980">
            <a:extLst>
              <a:ext uri="{FF2B5EF4-FFF2-40B4-BE49-F238E27FC236}">
                <a16:creationId xmlns:a16="http://schemas.microsoft.com/office/drawing/2014/main" id="{04297562-9E1E-3402-5B33-CCED886FFE3D}"/>
              </a:ext>
            </a:extLst>
          </p:cNvPr>
          <p:cNvCxnSpPr>
            <a:cxnSpLocks/>
          </p:cNvCxnSpPr>
          <p:nvPr/>
        </p:nvCxnSpPr>
        <p:spPr>
          <a:xfrm>
            <a:off x="10506005" y="3630272"/>
            <a:ext cx="0" cy="8013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82" name="Straight Connector 981">
            <a:extLst>
              <a:ext uri="{FF2B5EF4-FFF2-40B4-BE49-F238E27FC236}">
                <a16:creationId xmlns:a16="http://schemas.microsoft.com/office/drawing/2014/main" id="{A2630239-177B-9DC4-B1EC-BFCB92CAA74D}"/>
              </a:ext>
            </a:extLst>
          </p:cNvPr>
          <p:cNvCxnSpPr>
            <a:cxnSpLocks/>
          </p:cNvCxnSpPr>
          <p:nvPr/>
        </p:nvCxnSpPr>
        <p:spPr>
          <a:xfrm>
            <a:off x="10522991" y="3629602"/>
            <a:ext cx="0" cy="8013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83" name="Straight Connector 982">
            <a:extLst>
              <a:ext uri="{FF2B5EF4-FFF2-40B4-BE49-F238E27FC236}">
                <a16:creationId xmlns:a16="http://schemas.microsoft.com/office/drawing/2014/main" id="{0A39C2EA-EFAC-2EF9-CF26-1EB7017C1252}"/>
              </a:ext>
            </a:extLst>
          </p:cNvPr>
          <p:cNvCxnSpPr>
            <a:cxnSpLocks/>
          </p:cNvCxnSpPr>
          <p:nvPr/>
        </p:nvCxnSpPr>
        <p:spPr>
          <a:xfrm>
            <a:off x="10551300" y="3629602"/>
            <a:ext cx="0" cy="8013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84" name="Straight Connector 983">
            <a:extLst>
              <a:ext uri="{FF2B5EF4-FFF2-40B4-BE49-F238E27FC236}">
                <a16:creationId xmlns:a16="http://schemas.microsoft.com/office/drawing/2014/main" id="{1A40EEC6-7E36-0F8A-1E38-D9DC0EC1AA7E}"/>
              </a:ext>
            </a:extLst>
          </p:cNvPr>
          <p:cNvCxnSpPr>
            <a:cxnSpLocks/>
          </p:cNvCxnSpPr>
          <p:nvPr/>
        </p:nvCxnSpPr>
        <p:spPr>
          <a:xfrm>
            <a:off x="10689070" y="3633725"/>
            <a:ext cx="0" cy="8013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85" name="Straight Connector 984">
            <a:extLst>
              <a:ext uri="{FF2B5EF4-FFF2-40B4-BE49-F238E27FC236}">
                <a16:creationId xmlns:a16="http://schemas.microsoft.com/office/drawing/2014/main" id="{EADBBF69-3B7D-53BE-D142-DF90110A53C9}"/>
              </a:ext>
            </a:extLst>
          </p:cNvPr>
          <p:cNvCxnSpPr>
            <a:cxnSpLocks/>
          </p:cNvCxnSpPr>
          <p:nvPr/>
        </p:nvCxnSpPr>
        <p:spPr>
          <a:xfrm>
            <a:off x="10777771" y="3633725"/>
            <a:ext cx="0" cy="8013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86" name="Straight Connector 985">
            <a:extLst>
              <a:ext uri="{FF2B5EF4-FFF2-40B4-BE49-F238E27FC236}">
                <a16:creationId xmlns:a16="http://schemas.microsoft.com/office/drawing/2014/main" id="{DAC00CB7-FA28-A516-7271-0BA1C3A56A37}"/>
              </a:ext>
            </a:extLst>
          </p:cNvPr>
          <p:cNvCxnSpPr>
            <a:cxnSpLocks/>
          </p:cNvCxnSpPr>
          <p:nvPr/>
        </p:nvCxnSpPr>
        <p:spPr>
          <a:xfrm>
            <a:off x="11057085" y="3633725"/>
            <a:ext cx="0" cy="8013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87" name="Straight Connector 986">
            <a:extLst>
              <a:ext uri="{FF2B5EF4-FFF2-40B4-BE49-F238E27FC236}">
                <a16:creationId xmlns:a16="http://schemas.microsoft.com/office/drawing/2014/main" id="{FD2670CC-21DC-B312-034F-793ED0C7A2CD}"/>
              </a:ext>
            </a:extLst>
          </p:cNvPr>
          <p:cNvCxnSpPr>
            <a:cxnSpLocks/>
          </p:cNvCxnSpPr>
          <p:nvPr/>
        </p:nvCxnSpPr>
        <p:spPr>
          <a:xfrm>
            <a:off x="11079732" y="3633725"/>
            <a:ext cx="0" cy="8013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88" name="Straight Connector 987">
            <a:extLst>
              <a:ext uri="{FF2B5EF4-FFF2-40B4-BE49-F238E27FC236}">
                <a16:creationId xmlns:a16="http://schemas.microsoft.com/office/drawing/2014/main" id="{B7536268-958A-F727-2EE1-5EEFA3CAF2D4}"/>
              </a:ext>
            </a:extLst>
          </p:cNvPr>
          <p:cNvCxnSpPr>
            <a:cxnSpLocks/>
          </p:cNvCxnSpPr>
          <p:nvPr/>
        </p:nvCxnSpPr>
        <p:spPr>
          <a:xfrm>
            <a:off x="11087281" y="3633725"/>
            <a:ext cx="0" cy="8013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89" name="Straight Connector 988">
            <a:extLst>
              <a:ext uri="{FF2B5EF4-FFF2-40B4-BE49-F238E27FC236}">
                <a16:creationId xmlns:a16="http://schemas.microsoft.com/office/drawing/2014/main" id="{BFECB69A-14DB-5DE6-7E5B-8AF9F9AD633F}"/>
              </a:ext>
            </a:extLst>
          </p:cNvPr>
          <p:cNvCxnSpPr>
            <a:cxnSpLocks/>
          </p:cNvCxnSpPr>
          <p:nvPr/>
        </p:nvCxnSpPr>
        <p:spPr>
          <a:xfrm>
            <a:off x="11096718" y="3633725"/>
            <a:ext cx="0" cy="8013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90" name="Straight Connector 989">
            <a:extLst>
              <a:ext uri="{FF2B5EF4-FFF2-40B4-BE49-F238E27FC236}">
                <a16:creationId xmlns:a16="http://schemas.microsoft.com/office/drawing/2014/main" id="{3A852D29-56F8-CFD8-5E3A-99CC7D5A1900}"/>
              </a:ext>
            </a:extLst>
          </p:cNvPr>
          <p:cNvCxnSpPr>
            <a:cxnSpLocks/>
          </p:cNvCxnSpPr>
          <p:nvPr/>
        </p:nvCxnSpPr>
        <p:spPr>
          <a:xfrm>
            <a:off x="11109928" y="3633725"/>
            <a:ext cx="0" cy="8013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91" name="Straight Connector 990">
            <a:extLst>
              <a:ext uri="{FF2B5EF4-FFF2-40B4-BE49-F238E27FC236}">
                <a16:creationId xmlns:a16="http://schemas.microsoft.com/office/drawing/2014/main" id="{CE8F36D6-2BF3-C7A5-CC11-E496AEACAC69}"/>
              </a:ext>
            </a:extLst>
          </p:cNvPr>
          <p:cNvCxnSpPr>
            <a:cxnSpLocks/>
          </p:cNvCxnSpPr>
          <p:nvPr/>
        </p:nvCxnSpPr>
        <p:spPr>
          <a:xfrm>
            <a:off x="11102379" y="3633725"/>
            <a:ext cx="0" cy="8013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92" name="Straight Connector 991">
            <a:extLst>
              <a:ext uri="{FF2B5EF4-FFF2-40B4-BE49-F238E27FC236}">
                <a16:creationId xmlns:a16="http://schemas.microsoft.com/office/drawing/2014/main" id="{E9F76BFB-A24D-11C6-BA71-8D6D67BF5A90}"/>
              </a:ext>
            </a:extLst>
          </p:cNvPr>
          <p:cNvCxnSpPr>
            <a:cxnSpLocks/>
          </p:cNvCxnSpPr>
          <p:nvPr/>
        </p:nvCxnSpPr>
        <p:spPr>
          <a:xfrm>
            <a:off x="11119365" y="3633725"/>
            <a:ext cx="0" cy="8013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93" name="Straight Connector 992">
            <a:extLst>
              <a:ext uri="{FF2B5EF4-FFF2-40B4-BE49-F238E27FC236}">
                <a16:creationId xmlns:a16="http://schemas.microsoft.com/office/drawing/2014/main" id="{6672ADBE-0030-FAFA-4DAD-E28EDE837122}"/>
              </a:ext>
            </a:extLst>
          </p:cNvPr>
          <p:cNvCxnSpPr>
            <a:cxnSpLocks/>
          </p:cNvCxnSpPr>
          <p:nvPr/>
        </p:nvCxnSpPr>
        <p:spPr>
          <a:xfrm>
            <a:off x="11132575" y="3633725"/>
            <a:ext cx="0" cy="8013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94" name="Straight Connector 993">
            <a:extLst>
              <a:ext uri="{FF2B5EF4-FFF2-40B4-BE49-F238E27FC236}">
                <a16:creationId xmlns:a16="http://schemas.microsoft.com/office/drawing/2014/main" id="{E8413B80-D755-7B20-CEF6-2A4B72784688}"/>
              </a:ext>
            </a:extLst>
          </p:cNvPr>
          <p:cNvCxnSpPr>
            <a:cxnSpLocks/>
          </p:cNvCxnSpPr>
          <p:nvPr/>
        </p:nvCxnSpPr>
        <p:spPr>
          <a:xfrm>
            <a:off x="11147673" y="3633725"/>
            <a:ext cx="0" cy="8013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95" name="Straight Connector 994">
            <a:extLst>
              <a:ext uri="{FF2B5EF4-FFF2-40B4-BE49-F238E27FC236}">
                <a16:creationId xmlns:a16="http://schemas.microsoft.com/office/drawing/2014/main" id="{08D39F0C-8EE2-7CA9-8241-15824C4968E0}"/>
              </a:ext>
            </a:extLst>
          </p:cNvPr>
          <p:cNvCxnSpPr>
            <a:cxnSpLocks/>
          </p:cNvCxnSpPr>
          <p:nvPr/>
        </p:nvCxnSpPr>
        <p:spPr>
          <a:xfrm>
            <a:off x="11179756" y="3633725"/>
            <a:ext cx="0" cy="8013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96" name="Straight Connector 995">
            <a:extLst>
              <a:ext uri="{FF2B5EF4-FFF2-40B4-BE49-F238E27FC236}">
                <a16:creationId xmlns:a16="http://schemas.microsoft.com/office/drawing/2014/main" id="{B4501B58-A447-A890-8A3B-7CB2F5952578}"/>
              </a:ext>
            </a:extLst>
          </p:cNvPr>
          <p:cNvCxnSpPr>
            <a:cxnSpLocks/>
          </p:cNvCxnSpPr>
          <p:nvPr/>
        </p:nvCxnSpPr>
        <p:spPr>
          <a:xfrm>
            <a:off x="11225051" y="3633725"/>
            <a:ext cx="0" cy="8013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97" name="Straight Connector 996">
            <a:extLst>
              <a:ext uri="{FF2B5EF4-FFF2-40B4-BE49-F238E27FC236}">
                <a16:creationId xmlns:a16="http://schemas.microsoft.com/office/drawing/2014/main" id="{D58C32F0-EF68-4A38-622E-23D385793996}"/>
              </a:ext>
            </a:extLst>
          </p:cNvPr>
          <p:cNvCxnSpPr>
            <a:cxnSpLocks/>
          </p:cNvCxnSpPr>
          <p:nvPr/>
        </p:nvCxnSpPr>
        <p:spPr>
          <a:xfrm>
            <a:off x="11542110" y="3633725"/>
            <a:ext cx="0" cy="8013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98" name="Straight Connector 997">
            <a:extLst>
              <a:ext uri="{FF2B5EF4-FFF2-40B4-BE49-F238E27FC236}">
                <a16:creationId xmlns:a16="http://schemas.microsoft.com/office/drawing/2014/main" id="{A15C3549-D37D-366B-C4A9-303CC40FB2E8}"/>
              </a:ext>
            </a:extLst>
          </p:cNvPr>
          <p:cNvCxnSpPr>
            <a:cxnSpLocks/>
          </p:cNvCxnSpPr>
          <p:nvPr/>
        </p:nvCxnSpPr>
        <p:spPr>
          <a:xfrm>
            <a:off x="8623977" y="2596321"/>
            <a:ext cx="0" cy="192562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9" name="TextBox 998">
            <a:extLst>
              <a:ext uri="{FF2B5EF4-FFF2-40B4-BE49-F238E27FC236}">
                <a16:creationId xmlns:a16="http://schemas.microsoft.com/office/drawing/2014/main" id="{2CFD1152-D5A6-50C9-0DAF-B8F6AC05370E}"/>
              </a:ext>
            </a:extLst>
          </p:cNvPr>
          <p:cNvSpPr txBox="1">
            <a:spLocks/>
          </p:cNvSpPr>
          <p:nvPr/>
        </p:nvSpPr>
        <p:spPr>
          <a:xfrm>
            <a:off x="1039090" y="4518067"/>
            <a:ext cx="64446" cy="128715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0</a:t>
            </a:r>
          </a:p>
        </p:txBody>
      </p:sp>
      <p:cxnSp>
        <p:nvCxnSpPr>
          <p:cNvPr id="1000" name="Straight Connector 999">
            <a:extLst>
              <a:ext uri="{FF2B5EF4-FFF2-40B4-BE49-F238E27FC236}">
                <a16:creationId xmlns:a16="http://schemas.microsoft.com/office/drawing/2014/main" id="{B6840534-D5DE-ED53-F9F5-EB055A44E9F6}"/>
              </a:ext>
            </a:extLst>
          </p:cNvPr>
          <p:cNvCxnSpPr>
            <a:cxnSpLocks/>
          </p:cNvCxnSpPr>
          <p:nvPr/>
        </p:nvCxnSpPr>
        <p:spPr>
          <a:xfrm>
            <a:off x="4992370" y="2981356"/>
            <a:ext cx="0" cy="8013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01" name="Straight Connector 1000">
            <a:extLst>
              <a:ext uri="{FF2B5EF4-FFF2-40B4-BE49-F238E27FC236}">
                <a16:creationId xmlns:a16="http://schemas.microsoft.com/office/drawing/2014/main" id="{BA3605AF-D483-014A-79B8-609A372DF1FE}"/>
              </a:ext>
            </a:extLst>
          </p:cNvPr>
          <p:cNvCxnSpPr>
            <a:cxnSpLocks/>
          </p:cNvCxnSpPr>
          <p:nvPr/>
        </p:nvCxnSpPr>
        <p:spPr>
          <a:xfrm>
            <a:off x="7759672" y="3807649"/>
            <a:ext cx="0" cy="80130"/>
          </a:xfrm>
          <a:prstGeom prst="line">
            <a:avLst/>
          </a:prstGeom>
          <a:ln w="19050">
            <a:solidFill>
              <a:srgbClr val="2C5E77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02" name="Straight Connector 1001">
            <a:extLst>
              <a:ext uri="{FF2B5EF4-FFF2-40B4-BE49-F238E27FC236}">
                <a16:creationId xmlns:a16="http://schemas.microsoft.com/office/drawing/2014/main" id="{8AB9C2CC-BACD-59D7-9FAC-A20D491CF9F2}"/>
              </a:ext>
            </a:extLst>
          </p:cNvPr>
          <p:cNvCxnSpPr>
            <a:cxnSpLocks/>
          </p:cNvCxnSpPr>
          <p:nvPr/>
        </p:nvCxnSpPr>
        <p:spPr>
          <a:xfrm>
            <a:off x="6878607" y="3764787"/>
            <a:ext cx="0" cy="80130"/>
          </a:xfrm>
          <a:prstGeom prst="line">
            <a:avLst/>
          </a:prstGeom>
          <a:ln w="19050">
            <a:solidFill>
              <a:srgbClr val="2C5E77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03" name="Straight Connector 1002">
            <a:extLst>
              <a:ext uri="{FF2B5EF4-FFF2-40B4-BE49-F238E27FC236}">
                <a16:creationId xmlns:a16="http://schemas.microsoft.com/office/drawing/2014/main" id="{915098A5-C691-C6D3-5D91-9633B5C010FC}"/>
              </a:ext>
            </a:extLst>
          </p:cNvPr>
          <p:cNvCxnSpPr>
            <a:cxnSpLocks/>
          </p:cNvCxnSpPr>
          <p:nvPr/>
        </p:nvCxnSpPr>
        <p:spPr>
          <a:xfrm>
            <a:off x="7121495" y="3776693"/>
            <a:ext cx="0" cy="80130"/>
          </a:xfrm>
          <a:prstGeom prst="line">
            <a:avLst/>
          </a:prstGeom>
          <a:ln w="19050">
            <a:solidFill>
              <a:srgbClr val="2C5E77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04" name="Straight Connector 1003">
            <a:extLst>
              <a:ext uri="{FF2B5EF4-FFF2-40B4-BE49-F238E27FC236}">
                <a16:creationId xmlns:a16="http://schemas.microsoft.com/office/drawing/2014/main" id="{4FB6BE24-3302-6B33-602D-70E6C55385C3}"/>
              </a:ext>
            </a:extLst>
          </p:cNvPr>
          <p:cNvCxnSpPr>
            <a:cxnSpLocks/>
          </p:cNvCxnSpPr>
          <p:nvPr/>
        </p:nvCxnSpPr>
        <p:spPr>
          <a:xfrm>
            <a:off x="7166739" y="3776693"/>
            <a:ext cx="0" cy="80130"/>
          </a:xfrm>
          <a:prstGeom prst="line">
            <a:avLst/>
          </a:prstGeom>
          <a:ln w="19050">
            <a:solidFill>
              <a:srgbClr val="2C5E77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05" name="Straight Connector 1004">
            <a:extLst>
              <a:ext uri="{FF2B5EF4-FFF2-40B4-BE49-F238E27FC236}">
                <a16:creationId xmlns:a16="http://schemas.microsoft.com/office/drawing/2014/main" id="{BAC488AB-B57B-D57C-57EA-88A4C7E4E538}"/>
              </a:ext>
            </a:extLst>
          </p:cNvPr>
          <p:cNvCxnSpPr>
            <a:cxnSpLocks/>
          </p:cNvCxnSpPr>
          <p:nvPr/>
        </p:nvCxnSpPr>
        <p:spPr>
          <a:xfrm>
            <a:off x="7226271" y="3776693"/>
            <a:ext cx="0" cy="80130"/>
          </a:xfrm>
          <a:prstGeom prst="line">
            <a:avLst/>
          </a:prstGeom>
          <a:ln w="19050">
            <a:solidFill>
              <a:srgbClr val="2C5E77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06" name="Straight Connector 1005">
            <a:extLst>
              <a:ext uri="{FF2B5EF4-FFF2-40B4-BE49-F238E27FC236}">
                <a16:creationId xmlns:a16="http://schemas.microsoft.com/office/drawing/2014/main" id="{E70A584A-AD58-84CF-E96F-BC9E42F05C3A}"/>
              </a:ext>
            </a:extLst>
          </p:cNvPr>
          <p:cNvCxnSpPr>
            <a:cxnSpLocks/>
          </p:cNvCxnSpPr>
          <p:nvPr/>
        </p:nvCxnSpPr>
        <p:spPr>
          <a:xfrm>
            <a:off x="7342953" y="3776693"/>
            <a:ext cx="0" cy="80130"/>
          </a:xfrm>
          <a:prstGeom prst="line">
            <a:avLst/>
          </a:prstGeom>
          <a:ln w="19050">
            <a:solidFill>
              <a:srgbClr val="2C5E77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07" name="Straight Connector 1006">
            <a:extLst>
              <a:ext uri="{FF2B5EF4-FFF2-40B4-BE49-F238E27FC236}">
                <a16:creationId xmlns:a16="http://schemas.microsoft.com/office/drawing/2014/main" id="{327D883D-B971-681A-B41F-FD499FCAD0F3}"/>
              </a:ext>
            </a:extLst>
          </p:cNvPr>
          <p:cNvCxnSpPr>
            <a:cxnSpLocks/>
          </p:cNvCxnSpPr>
          <p:nvPr/>
        </p:nvCxnSpPr>
        <p:spPr>
          <a:xfrm>
            <a:off x="7376291" y="3776693"/>
            <a:ext cx="0" cy="80130"/>
          </a:xfrm>
          <a:prstGeom prst="line">
            <a:avLst/>
          </a:prstGeom>
          <a:ln w="19050">
            <a:solidFill>
              <a:srgbClr val="2C5E77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08" name="Straight Connector 1007">
            <a:extLst>
              <a:ext uri="{FF2B5EF4-FFF2-40B4-BE49-F238E27FC236}">
                <a16:creationId xmlns:a16="http://schemas.microsoft.com/office/drawing/2014/main" id="{113D3D73-E87A-4E61-9F0E-7408D59B7CE3}"/>
              </a:ext>
            </a:extLst>
          </p:cNvPr>
          <p:cNvCxnSpPr>
            <a:cxnSpLocks/>
          </p:cNvCxnSpPr>
          <p:nvPr/>
        </p:nvCxnSpPr>
        <p:spPr>
          <a:xfrm>
            <a:off x="7476303" y="3807649"/>
            <a:ext cx="0" cy="80130"/>
          </a:xfrm>
          <a:prstGeom prst="line">
            <a:avLst/>
          </a:prstGeom>
          <a:ln w="19050">
            <a:solidFill>
              <a:srgbClr val="2C5E77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09" name="Straight Connector 1008">
            <a:extLst>
              <a:ext uri="{FF2B5EF4-FFF2-40B4-BE49-F238E27FC236}">
                <a16:creationId xmlns:a16="http://schemas.microsoft.com/office/drawing/2014/main" id="{3C1DFB22-14B1-C70B-3D7F-2BBF01701A48}"/>
              </a:ext>
            </a:extLst>
          </p:cNvPr>
          <p:cNvCxnSpPr>
            <a:cxnSpLocks/>
          </p:cNvCxnSpPr>
          <p:nvPr/>
        </p:nvCxnSpPr>
        <p:spPr>
          <a:xfrm>
            <a:off x="7585841" y="3807649"/>
            <a:ext cx="0" cy="80130"/>
          </a:xfrm>
          <a:prstGeom prst="line">
            <a:avLst/>
          </a:prstGeom>
          <a:ln w="19050">
            <a:solidFill>
              <a:srgbClr val="2C5E77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10" name="Straight Connector 1009">
            <a:extLst>
              <a:ext uri="{FF2B5EF4-FFF2-40B4-BE49-F238E27FC236}">
                <a16:creationId xmlns:a16="http://schemas.microsoft.com/office/drawing/2014/main" id="{A119CE24-A374-FDAC-1FA7-4DFAD799D2A6}"/>
              </a:ext>
            </a:extLst>
          </p:cNvPr>
          <p:cNvCxnSpPr>
            <a:cxnSpLocks/>
          </p:cNvCxnSpPr>
          <p:nvPr/>
        </p:nvCxnSpPr>
        <p:spPr>
          <a:xfrm>
            <a:off x="7664422" y="3807649"/>
            <a:ext cx="0" cy="80130"/>
          </a:xfrm>
          <a:prstGeom prst="line">
            <a:avLst/>
          </a:prstGeom>
          <a:ln w="19050">
            <a:solidFill>
              <a:srgbClr val="2C5E77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11" name="Straight Connector 1010">
            <a:extLst>
              <a:ext uri="{FF2B5EF4-FFF2-40B4-BE49-F238E27FC236}">
                <a16:creationId xmlns:a16="http://schemas.microsoft.com/office/drawing/2014/main" id="{78A5A4DC-E6F4-8E51-BD04-91D20F012F73}"/>
              </a:ext>
            </a:extLst>
          </p:cNvPr>
          <p:cNvCxnSpPr>
            <a:cxnSpLocks/>
          </p:cNvCxnSpPr>
          <p:nvPr/>
        </p:nvCxnSpPr>
        <p:spPr>
          <a:xfrm>
            <a:off x="7690616" y="3807649"/>
            <a:ext cx="0" cy="80130"/>
          </a:xfrm>
          <a:prstGeom prst="line">
            <a:avLst/>
          </a:prstGeom>
          <a:ln w="19050">
            <a:solidFill>
              <a:srgbClr val="2C5E77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12" name="Straight Connector 1011">
            <a:extLst>
              <a:ext uri="{FF2B5EF4-FFF2-40B4-BE49-F238E27FC236}">
                <a16:creationId xmlns:a16="http://schemas.microsoft.com/office/drawing/2014/main" id="{38411A53-EDE9-BF6C-BCDF-AA6EB8552842}"/>
              </a:ext>
            </a:extLst>
          </p:cNvPr>
          <p:cNvCxnSpPr>
            <a:cxnSpLocks/>
          </p:cNvCxnSpPr>
          <p:nvPr/>
        </p:nvCxnSpPr>
        <p:spPr>
          <a:xfrm>
            <a:off x="7719191" y="3807649"/>
            <a:ext cx="0" cy="80130"/>
          </a:xfrm>
          <a:prstGeom prst="line">
            <a:avLst/>
          </a:prstGeom>
          <a:ln w="19050">
            <a:solidFill>
              <a:srgbClr val="2C5E77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13" name="Straight Connector 1012">
            <a:extLst>
              <a:ext uri="{FF2B5EF4-FFF2-40B4-BE49-F238E27FC236}">
                <a16:creationId xmlns:a16="http://schemas.microsoft.com/office/drawing/2014/main" id="{46A47D2F-6496-1824-710B-C8AE56800FFA}"/>
              </a:ext>
            </a:extLst>
          </p:cNvPr>
          <p:cNvCxnSpPr>
            <a:cxnSpLocks/>
          </p:cNvCxnSpPr>
          <p:nvPr/>
        </p:nvCxnSpPr>
        <p:spPr>
          <a:xfrm>
            <a:off x="7743003" y="3807649"/>
            <a:ext cx="0" cy="80130"/>
          </a:xfrm>
          <a:prstGeom prst="line">
            <a:avLst/>
          </a:prstGeom>
          <a:ln w="19050">
            <a:solidFill>
              <a:srgbClr val="2C5E77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14" name="Straight Connector 1013">
            <a:extLst>
              <a:ext uri="{FF2B5EF4-FFF2-40B4-BE49-F238E27FC236}">
                <a16:creationId xmlns:a16="http://schemas.microsoft.com/office/drawing/2014/main" id="{EC024C4F-73B2-5028-6F27-492F3E9DBEAE}"/>
              </a:ext>
            </a:extLst>
          </p:cNvPr>
          <p:cNvCxnSpPr>
            <a:cxnSpLocks/>
          </p:cNvCxnSpPr>
          <p:nvPr/>
        </p:nvCxnSpPr>
        <p:spPr>
          <a:xfrm>
            <a:off x="7781103" y="3807649"/>
            <a:ext cx="0" cy="80130"/>
          </a:xfrm>
          <a:prstGeom prst="line">
            <a:avLst/>
          </a:prstGeom>
          <a:ln w="19050">
            <a:solidFill>
              <a:srgbClr val="2C5E77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15" name="Straight Connector 1014">
            <a:extLst>
              <a:ext uri="{FF2B5EF4-FFF2-40B4-BE49-F238E27FC236}">
                <a16:creationId xmlns:a16="http://schemas.microsoft.com/office/drawing/2014/main" id="{68A79ED0-6CDE-5E48-2EF3-9648745B510D}"/>
              </a:ext>
            </a:extLst>
          </p:cNvPr>
          <p:cNvCxnSpPr>
            <a:cxnSpLocks/>
          </p:cNvCxnSpPr>
          <p:nvPr/>
        </p:nvCxnSpPr>
        <p:spPr>
          <a:xfrm>
            <a:off x="7816822" y="3807649"/>
            <a:ext cx="0" cy="80130"/>
          </a:xfrm>
          <a:prstGeom prst="line">
            <a:avLst/>
          </a:prstGeom>
          <a:ln w="19050">
            <a:solidFill>
              <a:srgbClr val="2C5E77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16" name="Free-form: Shape 1015">
            <a:extLst>
              <a:ext uri="{FF2B5EF4-FFF2-40B4-BE49-F238E27FC236}">
                <a16:creationId xmlns:a16="http://schemas.microsoft.com/office/drawing/2014/main" id="{DD6E0B22-699F-1885-D5EF-F4C059D70D49}"/>
              </a:ext>
            </a:extLst>
          </p:cNvPr>
          <p:cNvSpPr/>
          <p:nvPr/>
        </p:nvSpPr>
        <p:spPr>
          <a:xfrm>
            <a:off x="8631992" y="2593236"/>
            <a:ext cx="2919702" cy="1069730"/>
          </a:xfrm>
          <a:custGeom>
            <a:avLst/>
            <a:gdLst>
              <a:gd name="csX0" fmla="*/ 0 w 4210216"/>
              <a:gd name="csY0" fmla="*/ 0 h 1542553"/>
              <a:gd name="csX1" fmla="*/ 71562 w 4210216"/>
              <a:gd name="csY1" fmla="*/ 0 h 1542553"/>
              <a:gd name="csX2" fmla="*/ 71562 w 4210216"/>
              <a:gd name="csY2" fmla="*/ 47708 h 1542553"/>
              <a:gd name="csX3" fmla="*/ 119269 w 4210216"/>
              <a:gd name="csY3" fmla="*/ 47708 h 1542553"/>
              <a:gd name="csX4" fmla="*/ 119269 w 4210216"/>
              <a:gd name="csY4" fmla="*/ 71562 h 1542553"/>
              <a:gd name="csX5" fmla="*/ 143123 w 4210216"/>
              <a:gd name="csY5" fmla="*/ 71562 h 1542553"/>
              <a:gd name="csX6" fmla="*/ 143123 w 4210216"/>
              <a:gd name="csY6" fmla="*/ 182880 h 1542553"/>
              <a:gd name="csX7" fmla="*/ 159026 w 4210216"/>
              <a:gd name="csY7" fmla="*/ 182880 h 1542553"/>
              <a:gd name="csX8" fmla="*/ 159026 w 4210216"/>
              <a:gd name="csY8" fmla="*/ 326003 h 1542553"/>
              <a:gd name="csX9" fmla="*/ 186856 w 4210216"/>
              <a:gd name="csY9" fmla="*/ 326003 h 1542553"/>
              <a:gd name="csX10" fmla="*/ 186856 w 4210216"/>
              <a:gd name="csY10" fmla="*/ 357809 h 1542553"/>
              <a:gd name="csX11" fmla="*/ 222636 w 4210216"/>
              <a:gd name="csY11" fmla="*/ 357809 h 1542553"/>
              <a:gd name="csX12" fmla="*/ 222636 w 4210216"/>
              <a:gd name="csY12" fmla="*/ 437322 h 1542553"/>
              <a:gd name="csX13" fmla="*/ 242515 w 4210216"/>
              <a:gd name="csY13" fmla="*/ 437322 h 1542553"/>
              <a:gd name="csX14" fmla="*/ 242515 w 4210216"/>
              <a:gd name="csY14" fmla="*/ 457200 h 1542553"/>
              <a:gd name="csX15" fmla="*/ 266369 w 4210216"/>
              <a:gd name="csY15" fmla="*/ 457200 h 1542553"/>
              <a:gd name="csX16" fmla="*/ 266369 w 4210216"/>
              <a:gd name="csY16" fmla="*/ 604299 h 1542553"/>
              <a:gd name="csX17" fmla="*/ 302149 w 4210216"/>
              <a:gd name="csY17" fmla="*/ 604299 h 1542553"/>
              <a:gd name="csX18" fmla="*/ 302149 w 4210216"/>
              <a:gd name="csY18" fmla="*/ 707666 h 1542553"/>
              <a:gd name="csX19" fmla="*/ 333955 w 4210216"/>
              <a:gd name="csY19" fmla="*/ 707666 h 1542553"/>
              <a:gd name="csX20" fmla="*/ 333955 w 4210216"/>
              <a:gd name="csY20" fmla="*/ 731520 h 1542553"/>
              <a:gd name="csX21" fmla="*/ 361784 w 4210216"/>
              <a:gd name="csY21" fmla="*/ 731520 h 1542553"/>
              <a:gd name="csX22" fmla="*/ 361784 w 4210216"/>
              <a:gd name="csY22" fmla="*/ 811033 h 1542553"/>
              <a:gd name="csX23" fmla="*/ 425395 w 4210216"/>
              <a:gd name="csY23" fmla="*/ 811033 h 1542553"/>
              <a:gd name="csX24" fmla="*/ 425395 w 4210216"/>
              <a:gd name="csY24" fmla="*/ 950181 h 1542553"/>
              <a:gd name="csX25" fmla="*/ 441297 w 4210216"/>
              <a:gd name="csY25" fmla="*/ 950181 h 1542553"/>
              <a:gd name="csX26" fmla="*/ 441297 w 4210216"/>
              <a:gd name="csY26" fmla="*/ 1172817 h 1542553"/>
              <a:gd name="csX27" fmla="*/ 564543 w 4210216"/>
              <a:gd name="csY27" fmla="*/ 1172817 h 1542553"/>
              <a:gd name="csX28" fmla="*/ 564543 w 4210216"/>
              <a:gd name="csY28" fmla="*/ 1204623 h 1542553"/>
              <a:gd name="csX29" fmla="*/ 679836 w 4210216"/>
              <a:gd name="csY29" fmla="*/ 1204623 h 1542553"/>
              <a:gd name="csX30" fmla="*/ 679836 w 4210216"/>
              <a:gd name="csY30" fmla="*/ 1228476 h 1542553"/>
              <a:gd name="csX31" fmla="*/ 759349 w 4210216"/>
              <a:gd name="csY31" fmla="*/ 1228476 h 1542553"/>
              <a:gd name="csX32" fmla="*/ 759349 w 4210216"/>
              <a:gd name="csY32" fmla="*/ 1248355 h 1542553"/>
              <a:gd name="csX33" fmla="*/ 894522 w 4210216"/>
              <a:gd name="csY33" fmla="*/ 1248355 h 1542553"/>
              <a:gd name="csX34" fmla="*/ 894522 w 4210216"/>
              <a:gd name="csY34" fmla="*/ 1296063 h 1542553"/>
              <a:gd name="csX35" fmla="*/ 950181 w 4210216"/>
              <a:gd name="csY35" fmla="*/ 1296063 h 1542553"/>
              <a:gd name="csX36" fmla="*/ 950181 w 4210216"/>
              <a:gd name="csY36" fmla="*/ 1307990 h 1542553"/>
              <a:gd name="csX37" fmla="*/ 993913 w 4210216"/>
              <a:gd name="csY37" fmla="*/ 1307990 h 1542553"/>
              <a:gd name="csX38" fmla="*/ 993913 w 4210216"/>
              <a:gd name="csY38" fmla="*/ 1339795 h 1542553"/>
              <a:gd name="csX39" fmla="*/ 1101256 w 4210216"/>
              <a:gd name="csY39" fmla="*/ 1339795 h 1542553"/>
              <a:gd name="csX40" fmla="*/ 1101256 w 4210216"/>
              <a:gd name="csY40" fmla="*/ 1367624 h 1542553"/>
              <a:gd name="csX41" fmla="*/ 1371600 w 4210216"/>
              <a:gd name="csY41" fmla="*/ 1367624 h 1542553"/>
              <a:gd name="csX42" fmla="*/ 1371600 w 4210216"/>
              <a:gd name="csY42" fmla="*/ 1399430 h 1542553"/>
              <a:gd name="csX43" fmla="*/ 1423283 w 4210216"/>
              <a:gd name="csY43" fmla="*/ 1399430 h 1542553"/>
              <a:gd name="csX44" fmla="*/ 1423283 w 4210216"/>
              <a:gd name="csY44" fmla="*/ 1411356 h 1542553"/>
              <a:gd name="csX45" fmla="*/ 1502796 w 4210216"/>
              <a:gd name="csY45" fmla="*/ 1411356 h 1542553"/>
              <a:gd name="csX46" fmla="*/ 1502796 w 4210216"/>
              <a:gd name="csY46" fmla="*/ 1439186 h 1542553"/>
              <a:gd name="csX47" fmla="*/ 1701579 w 4210216"/>
              <a:gd name="csY47" fmla="*/ 1439186 h 1542553"/>
              <a:gd name="csX48" fmla="*/ 1701579 w 4210216"/>
              <a:gd name="csY48" fmla="*/ 1478943 h 1542553"/>
              <a:gd name="csX49" fmla="*/ 2095169 w 4210216"/>
              <a:gd name="csY49" fmla="*/ 1478943 h 1542553"/>
              <a:gd name="csX50" fmla="*/ 2095169 w 4210216"/>
              <a:gd name="csY50" fmla="*/ 1522675 h 1542553"/>
              <a:gd name="csX51" fmla="*/ 2647784 w 4210216"/>
              <a:gd name="csY51" fmla="*/ 1522675 h 1542553"/>
              <a:gd name="csX52" fmla="*/ 2647784 w 4210216"/>
              <a:gd name="csY52" fmla="*/ 1542553 h 1542553"/>
              <a:gd name="csX53" fmla="*/ 4210216 w 4210216"/>
              <a:gd name="csY53" fmla="*/ 1542553 h 154255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</a:cxnLst>
            <a:rect l="l" t="t" r="r" b="b"/>
            <a:pathLst>
              <a:path w="4210216" h="1542553">
                <a:moveTo>
                  <a:pt x="0" y="0"/>
                </a:moveTo>
                <a:lnTo>
                  <a:pt x="71562" y="0"/>
                </a:lnTo>
                <a:lnTo>
                  <a:pt x="71562" y="47708"/>
                </a:lnTo>
                <a:lnTo>
                  <a:pt x="119269" y="47708"/>
                </a:lnTo>
                <a:lnTo>
                  <a:pt x="119269" y="71562"/>
                </a:lnTo>
                <a:lnTo>
                  <a:pt x="143123" y="71562"/>
                </a:lnTo>
                <a:lnTo>
                  <a:pt x="143123" y="182880"/>
                </a:lnTo>
                <a:lnTo>
                  <a:pt x="159026" y="182880"/>
                </a:lnTo>
                <a:lnTo>
                  <a:pt x="159026" y="326003"/>
                </a:lnTo>
                <a:lnTo>
                  <a:pt x="186856" y="326003"/>
                </a:lnTo>
                <a:lnTo>
                  <a:pt x="186856" y="357809"/>
                </a:lnTo>
                <a:lnTo>
                  <a:pt x="222636" y="357809"/>
                </a:lnTo>
                <a:lnTo>
                  <a:pt x="222636" y="437322"/>
                </a:lnTo>
                <a:lnTo>
                  <a:pt x="242515" y="437322"/>
                </a:lnTo>
                <a:lnTo>
                  <a:pt x="242515" y="457200"/>
                </a:lnTo>
                <a:lnTo>
                  <a:pt x="266369" y="457200"/>
                </a:lnTo>
                <a:lnTo>
                  <a:pt x="266369" y="604299"/>
                </a:lnTo>
                <a:lnTo>
                  <a:pt x="302149" y="604299"/>
                </a:lnTo>
                <a:lnTo>
                  <a:pt x="302149" y="707666"/>
                </a:lnTo>
                <a:lnTo>
                  <a:pt x="333955" y="707666"/>
                </a:lnTo>
                <a:lnTo>
                  <a:pt x="333955" y="731520"/>
                </a:lnTo>
                <a:lnTo>
                  <a:pt x="361784" y="731520"/>
                </a:lnTo>
                <a:lnTo>
                  <a:pt x="361784" y="811033"/>
                </a:lnTo>
                <a:lnTo>
                  <a:pt x="425395" y="811033"/>
                </a:lnTo>
                <a:lnTo>
                  <a:pt x="425395" y="950181"/>
                </a:lnTo>
                <a:lnTo>
                  <a:pt x="441297" y="950181"/>
                </a:lnTo>
                <a:lnTo>
                  <a:pt x="441297" y="1172817"/>
                </a:lnTo>
                <a:lnTo>
                  <a:pt x="564543" y="1172817"/>
                </a:lnTo>
                <a:lnTo>
                  <a:pt x="564543" y="1204623"/>
                </a:lnTo>
                <a:lnTo>
                  <a:pt x="679836" y="1204623"/>
                </a:lnTo>
                <a:lnTo>
                  <a:pt x="679836" y="1228476"/>
                </a:lnTo>
                <a:lnTo>
                  <a:pt x="759349" y="1228476"/>
                </a:lnTo>
                <a:lnTo>
                  <a:pt x="759349" y="1248355"/>
                </a:lnTo>
                <a:lnTo>
                  <a:pt x="894522" y="1248355"/>
                </a:lnTo>
                <a:lnTo>
                  <a:pt x="894522" y="1296063"/>
                </a:lnTo>
                <a:lnTo>
                  <a:pt x="950181" y="1296063"/>
                </a:lnTo>
                <a:lnTo>
                  <a:pt x="950181" y="1307990"/>
                </a:lnTo>
                <a:lnTo>
                  <a:pt x="993913" y="1307990"/>
                </a:lnTo>
                <a:lnTo>
                  <a:pt x="993913" y="1339795"/>
                </a:lnTo>
                <a:lnTo>
                  <a:pt x="1101256" y="1339795"/>
                </a:lnTo>
                <a:lnTo>
                  <a:pt x="1101256" y="1367624"/>
                </a:lnTo>
                <a:lnTo>
                  <a:pt x="1371600" y="1367624"/>
                </a:lnTo>
                <a:lnTo>
                  <a:pt x="1371600" y="1399430"/>
                </a:lnTo>
                <a:lnTo>
                  <a:pt x="1423283" y="1399430"/>
                </a:lnTo>
                <a:lnTo>
                  <a:pt x="1423283" y="1411356"/>
                </a:lnTo>
                <a:lnTo>
                  <a:pt x="1502796" y="1411356"/>
                </a:lnTo>
                <a:lnTo>
                  <a:pt x="1502796" y="1439186"/>
                </a:lnTo>
                <a:lnTo>
                  <a:pt x="1701579" y="1439186"/>
                </a:lnTo>
                <a:lnTo>
                  <a:pt x="1701579" y="1478943"/>
                </a:lnTo>
                <a:lnTo>
                  <a:pt x="2095169" y="1478943"/>
                </a:lnTo>
                <a:lnTo>
                  <a:pt x="2095169" y="1522675"/>
                </a:lnTo>
                <a:lnTo>
                  <a:pt x="2647784" y="1522675"/>
                </a:lnTo>
                <a:lnTo>
                  <a:pt x="2647784" y="1542553"/>
                </a:lnTo>
                <a:lnTo>
                  <a:pt x="4210216" y="1542553"/>
                </a:lnTo>
              </a:path>
            </a:pathLst>
          </a:custGeom>
          <a:ln w="19050">
            <a:solidFill>
              <a:schemeClr val="accent3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17" name="TextBox 1016">
            <a:extLst>
              <a:ext uri="{FF2B5EF4-FFF2-40B4-BE49-F238E27FC236}">
                <a16:creationId xmlns:a16="http://schemas.microsoft.com/office/drawing/2014/main" id="{ECC2CC3A-D7D2-6263-1181-F08D8987E21C}"/>
              </a:ext>
            </a:extLst>
          </p:cNvPr>
          <p:cNvSpPr txBox="1">
            <a:spLocks/>
          </p:cNvSpPr>
          <p:nvPr/>
        </p:nvSpPr>
        <p:spPr>
          <a:xfrm>
            <a:off x="1253403" y="4518067"/>
            <a:ext cx="64446" cy="128715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3</a:t>
            </a:r>
          </a:p>
        </p:txBody>
      </p:sp>
      <p:cxnSp>
        <p:nvCxnSpPr>
          <p:cNvPr id="1018" name="Straight Connector 1017">
            <a:extLst>
              <a:ext uri="{FF2B5EF4-FFF2-40B4-BE49-F238E27FC236}">
                <a16:creationId xmlns:a16="http://schemas.microsoft.com/office/drawing/2014/main" id="{DD665F5A-C051-A35A-A95A-504B4A2FF065}"/>
              </a:ext>
            </a:extLst>
          </p:cNvPr>
          <p:cNvCxnSpPr>
            <a:cxnSpLocks/>
          </p:cNvCxnSpPr>
          <p:nvPr/>
        </p:nvCxnSpPr>
        <p:spPr>
          <a:xfrm rot="16200000">
            <a:off x="1248733" y="4484034"/>
            <a:ext cx="75812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9" name="TextBox 1018">
            <a:extLst>
              <a:ext uri="{FF2B5EF4-FFF2-40B4-BE49-F238E27FC236}">
                <a16:creationId xmlns:a16="http://schemas.microsoft.com/office/drawing/2014/main" id="{29DF6F4F-B234-E8C0-BDB0-EB9689FE3530}"/>
              </a:ext>
            </a:extLst>
          </p:cNvPr>
          <p:cNvSpPr txBox="1">
            <a:spLocks/>
          </p:cNvSpPr>
          <p:nvPr/>
        </p:nvSpPr>
        <p:spPr>
          <a:xfrm>
            <a:off x="1462953" y="4518067"/>
            <a:ext cx="64446" cy="128715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6</a:t>
            </a:r>
          </a:p>
        </p:txBody>
      </p:sp>
      <p:cxnSp>
        <p:nvCxnSpPr>
          <p:cNvPr id="1020" name="Straight Connector 1019">
            <a:extLst>
              <a:ext uri="{FF2B5EF4-FFF2-40B4-BE49-F238E27FC236}">
                <a16:creationId xmlns:a16="http://schemas.microsoft.com/office/drawing/2014/main" id="{EE768226-8C4B-B616-DE9D-B89E81533C78}"/>
              </a:ext>
            </a:extLst>
          </p:cNvPr>
          <p:cNvCxnSpPr>
            <a:cxnSpLocks/>
          </p:cNvCxnSpPr>
          <p:nvPr/>
        </p:nvCxnSpPr>
        <p:spPr>
          <a:xfrm rot="16200000">
            <a:off x="1458283" y="4484034"/>
            <a:ext cx="75812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1" name="TextBox 1020">
            <a:extLst>
              <a:ext uri="{FF2B5EF4-FFF2-40B4-BE49-F238E27FC236}">
                <a16:creationId xmlns:a16="http://schemas.microsoft.com/office/drawing/2014/main" id="{BA2BB7E6-4890-B699-7D27-89FD2DC7AE38}"/>
              </a:ext>
            </a:extLst>
          </p:cNvPr>
          <p:cNvSpPr txBox="1">
            <a:spLocks/>
          </p:cNvSpPr>
          <p:nvPr/>
        </p:nvSpPr>
        <p:spPr>
          <a:xfrm>
            <a:off x="1672503" y="4518067"/>
            <a:ext cx="64446" cy="128715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9</a:t>
            </a:r>
          </a:p>
        </p:txBody>
      </p:sp>
      <p:cxnSp>
        <p:nvCxnSpPr>
          <p:cNvPr id="1022" name="Straight Connector 1021">
            <a:extLst>
              <a:ext uri="{FF2B5EF4-FFF2-40B4-BE49-F238E27FC236}">
                <a16:creationId xmlns:a16="http://schemas.microsoft.com/office/drawing/2014/main" id="{8B746643-AE1A-A5F3-8700-C09A4CB83CF2}"/>
              </a:ext>
            </a:extLst>
          </p:cNvPr>
          <p:cNvCxnSpPr>
            <a:cxnSpLocks/>
          </p:cNvCxnSpPr>
          <p:nvPr/>
        </p:nvCxnSpPr>
        <p:spPr>
          <a:xfrm rot="16200000">
            <a:off x="1667833" y="4484034"/>
            <a:ext cx="75812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3" name="TextBox 1022">
            <a:extLst>
              <a:ext uri="{FF2B5EF4-FFF2-40B4-BE49-F238E27FC236}">
                <a16:creationId xmlns:a16="http://schemas.microsoft.com/office/drawing/2014/main" id="{B8B05118-D613-497E-EEA6-E7D0EDF6B99D}"/>
              </a:ext>
            </a:extLst>
          </p:cNvPr>
          <p:cNvSpPr txBox="1">
            <a:spLocks/>
          </p:cNvSpPr>
          <p:nvPr/>
        </p:nvSpPr>
        <p:spPr>
          <a:xfrm>
            <a:off x="1879672" y="4518067"/>
            <a:ext cx="64446" cy="128715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2</a:t>
            </a:r>
          </a:p>
        </p:txBody>
      </p:sp>
      <p:cxnSp>
        <p:nvCxnSpPr>
          <p:cNvPr id="1024" name="Straight Connector 1023">
            <a:extLst>
              <a:ext uri="{FF2B5EF4-FFF2-40B4-BE49-F238E27FC236}">
                <a16:creationId xmlns:a16="http://schemas.microsoft.com/office/drawing/2014/main" id="{AAC27D11-E4FE-13C5-A099-78E0506EF9DE}"/>
              </a:ext>
            </a:extLst>
          </p:cNvPr>
          <p:cNvCxnSpPr>
            <a:cxnSpLocks/>
          </p:cNvCxnSpPr>
          <p:nvPr/>
        </p:nvCxnSpPr>
        <p:spPr>
          <a:xfrm rot="16200000">
            <a:off x="1875002" y="4484034"/>
            <a:ext cx="75812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5" name="TextBox 1024">
            <a:extLst>
              <a:ext uri="{FF2B5EF4-FFF2-40B4-BE49-F238E27FC236}">
                <a16:creationId xmlns:a16="http://schemas.microsoft.com/office/drawing/2014/main" id="{CA630EE1-2DBA-84EC-F60F-3416D940B49E}"/>
              </a:ext>
            </a:extLst>
          </p:cNvPr>
          <p:cNvSpPr txBox="1">
            <a:spLocks/>
          </p:cNvSpPr>
          <p:nvPr/>
        </p:nvSpPr>
        <p:spPr>
          <a:xfrm>
            <a:off x="2091603" y="4518067"/>
            <a:ext cx="64446" cy="128715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5</a:t>
            </a:r>
          </a:p>
        </p:txBody>
      </p:sp>
      <p:cxnSp>
        <p:nvCxnSpPr>
          <p:cNvPr id="1026" name="Straight Connector 1025">
            <a:extLst>
              <a:ext uri="{FF2B5EF4-FFF2-40B4-BE49-F238E27FC236}">
                <a16:creationId xmlns:a16="http://schemas.microsoft.com/office/drawing/2014/main" id="{189CEF6C-3597-ABA2-09E7-65E9ADD66E2D}"/>
              </a:ext>
            </a:extLst>
          </p:cNvPr>
          <p:cNvCxnSpPr>
            <a:cxnSpLocks/>
          </p:cNvCxnSpPr>
          <p:nvPr/>
        </p:nvCxnSpPr>
        <p:spPr>
          <a:xfrm rot="16200000">
            <a:off x="2086933" y="4484034"/>
            <a:ext cx="75812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7" name="TextBox 1026">
            <a:extLst>
              <a:ext uri="{FF2B5EF4-FFF2-40B4-BE49-F238E27FC236}">
                <a16:creationId xmlns:a16="http://schemas.microsoft.com/office/drawing/2014/main" id="{6C8A6914-C6F2-CC97-E9DF-AD3D5E8B38A7}"/>
              </a:ext>
            </a:extLst>
          </p:cNvPr>
          <p:cNvSpPr txBox="1">
            <a:spLocks/>
          </p:cNvSpPr>
          <p:nvPr/>
        </p:nvSpPr>
        <p:spPr>
          <a:xfrm>
            <a:off x="2301153" y="4518067"/>
            <a:ext cx="64446" cy="128715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8</a:t>
            </a:r>
          </a:p>
        </p:txBody>
      </p:sp>
      <p:cxnSp>
        <p:nvCxnSpPr>
          <p:cNvPr id="1028" name="Straight Connector 1027">
            <a:extLst>
              <a:ext uri="{FF2B5EF4-FFF2-40B4-BE49-F238E27FC236}">
                <a16:creationId xmlns:a16="http://schemas.microsoft.com/office/drawing/2014/main" id="{9ED9716E-1D9D-B2A9-B1C2-F89E8214B75C}"/>
              </a:ext>
            </a:extLst>
          </p:cNvPr>
          <p:cNvCxnSpPr>
            <a:cxnSpLocks/>
          </p:cNvCxnSpPr>
          <p:nvPr/>
        </p:nvCxnSpPr>
        <p:spPr>
          <a:xfrm rot="16200000">
            <a:off x="2296483" y="4484034"/>
            <a:ext cx="75812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9" name="TextBox 1028">
            <a:extLst>
              <a:ext uri="{FF2B5EF4-FFF2-40B4-BE49-F238E27FC236}">
                <a16:creationId xmlns:a16="http://schemas.microsoft.com/office/drawing/2014/main" id="{5A0784FC-1686-8214-EE77-C3374E919560}"/>
              </a:ext>
            </a:extLst>
          </p:cNvPr>
          <p:cNvSpPr txBox="1">
            <a:spLocks/>
          </p:cNvSpPr>
          <p:nvPr/>
        </p:nvSpPr>
        <p:spPr>
          <a:xfrm>
            <a:off x="2510703" y="4518067"/>
            <a:ext cx="64446" cy="128715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21</a:t>
            </a:r>
          </a:p>
        </p:txBody>
      </p:sp>
      <p:cxnSp>
        <p:nvCxnSpPr>
          <p:cNvPr id="1030" name="Straight Connector 1029">
            <a:extLst>
              <a:ext uri="{FF2B5EF4-FFF2-40B4-BE49-F238E27FC236}">
                <a16:creationId xmlns:a16="http://schemas.microsoft.com/office/drawing/2014/main" id="{467341B9-BD43-819F-68CD-40D53B8A93B5}"/>
              </a:ext>
            </a:extLst>
          </p:cNvPr>
          <p:cNvCxnSpPr>
            <a:cxnSpLocks/>
          </p:cNvCxnSpPr>
          <p:nvPr/>
        </p:nvCxnSpPr>
        <p:spPr>
          <a:xfrm rot="16200000">
            <a:off x="2506033" y="4484034"/>
            <a:ext cx="75812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1" name="TextBox 1030">
            <a:extLst>
              <a:ext uri="{FF2B5EF4-FFF2-40B4-BE49-F238E27FC236}">
                <a16:creationId xmlns:a16="http://schemas.microsoft.com/office/drawing/2014/main" id="{D9ADFC72-50F8-189F-E787-F789F6925F10}"/>
              </a:ext>
            </a:extLst>
          </p:cNvPr>
          <p:cNvSpPr txBox="1">
            <a:spLocks/>
          </p:cNvSpPr>
          <p:nvPr/>
        </p:nvSpPr>
        <p:spPr>
          <a:xfrm>
            <a:off x="2720253" y="4518067"/>
            <a:ext cx="64446" cy="128715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24</a:t>
            </a:r>
          </a:p>
        </p:txBody>
      </p:sp>
      <p:cxnSp>
        <p:nvCxnSpPr>
          <p:cNvPr id="1032" name="Straight Connector 1031">
            <a:extLst>
              <a:ext uri="{FF2B5EF4-FFF2-40B4-BE49-F238E27FC236}">
                <a16:creationId xmlns:a16="http://schemas.microsoft.com/office/drawing/2014/main" id="{24CE2C2F-1CA0-97A4-6394-100030FDF4D1}"/>
              </a:ext>
            </a:extLst>
          </p:cNvPr>
          <p:cNvCxnSpPr>
            <a:cxnSpLocks/>
          </p:cNvCxnSpPr>
          <p:nvPr/>
        </p:nvCxnSpPr>
        <p:spPr>
          <a:xfrm rot="16200000">
            <a:off x="2715583" y="4484034"/>
            <a:ext cx="75812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3" name="TextBox 1032">
            <a:extLst>
              <a:ext uri="{FF2B5EF4-FFF2-40B4-BE49-F238E27FC236}">
                <a16:creationId xmlns:a16="http://schemas.microsoft.com/office/drawing/2014/main" id="{085554EE-05E4-669F-0B31-9671ACA76E15}"/>
              </a:ext>
            </a:extLst>
          </p:cNvPr>
          <p:cNvSpPr txBox="1">
            <a:spLocks/>
          </p:cNvSpPr>
          <p:nvPr/>
        </p:nvSpPr>
        <p:spPr>
          <a:xfrm>
            <a:off x="2929803" y="4518067"/>
            <a:ext cx="64446" cy="128715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27</a:t>
            </a:r>
          </a:p>
        </p:txBody>
      </p:sp>
      <p:cxnSp>
        <p:nvCxnSpPr>
          <p:cNvPr id="1034" name="Straight Connector 1033">
            <a:extLst>
              <a:ext uri="{FF2B5EF4-FFF2-40B4-BE49-F238E27FC236}">
                <a16:creationId xmlns:a16="http://schemas.microsoft.com/office/drawing/2014/main" id="{F1C83A7F-129E-9980-4090-1A6295FE6860}"/>
              </a:ext>
            </a:extLst>
          </p:cNvPr>
          <p:cNvCxnSpPr>
            <a:cxnSpLocks/>
          </p:cNvCxnSpPr>
          <p:nvPr/>
        </p:nvCxnSpPr>
        <p:spPr>
          <a:xfrm rot="16200000">
            <a:off x="2925133" y="4484034"/>
            <a:ext cx="75812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5" name="TextBox 1034">
            <a:extLst>
              <a:ext uri="{FF2B5EF4-FFF2-40B4-BE49-F238E27FC236}">
                <a16:creationId xmlns:a16="http://schemas.microsoft.com/office/drawing/2014/main" id="{1E3C2B8F-D4C9-CE4F-E818-4D6172AFE407}"/>
              </a:ext>
            </a:extLst>
          </p:cNvPr>
          <p:cNvSpPr txBox="1">
            <a:spLocks/>
          </p:cNvSpPr>
          <p:nvPr/>
        </p:nvSpPr>
        <p:spPr>
          <a:xfrm>
            <a:off x="3136972" y="4518067"/>
            <a:ext cx="64446" cy="128715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30</a:t>
            </a:r>
          </a:p>
        </p:txBody>
      </p:sp>
      <p:cxnSp>
        <p:nvCxnSpPr>
          <p:cNvPr id="1036" name="Straight Connector 1035">
            <a:extLst>
              <a:ext uri="{FF2B5EF4-FFF2-40B4-BE49-F238E27FC236}">
                <a16:creationId xmlns:a16="http://schemas.microsoft.com/office/drawing/2014/main" id="{F51DC287-4190-77EB-3723-2649A6FDC5C1}"/>
              </a:ext>
            </a:extLst>
          </p:cNvPr>
          <p:cNvCxnSpPr>
            <a:cxnSpLocks/>
          </p:cNvCxnSpPr>
          <p:nvPr/>
        </p:nvCxnSpPr>
        <p:spPr>
          <a:xfrm rot="16200000">
            <a:off x="3132302" y="4484034"/>
            <a:ext cx="75812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7" name="TextBox 1036">
            <a:extLst>
              <a:ext uri="{FF2B5EF4-FFF2-40B4-BE49-F238E27FC236}">
                <a16:creationId xmlns:a16="http://schemas.microsoft.com/office/drawing/2014/main" id="{F0C299AA-6A52-66D6-15AF-EA798AAE6D25}"/>
              </a:ext>
            </a:extLst>
          </p:cNvPr>
          <p:cNvSpPr txBox="1">
            <a:spLocks/>
          </p:cNvSpPr>
          <p:nvPr/>
        </p:nvSpPr>
        <p:spPr>
          <a:xfrm>
            <a:off x="3351285" y="4518067"/>
            <a:ext cx="64446" cy="128715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33</a:t>
            </a:r>
          </a:p>
        </p:txBody>
      </p:sp>
      <p:cxnSp>
        <p:nvCxnSpPr>
          <p:cNvPr id="1038" name="Straight Connector 1037">
            <a:extLst>
              <a:ext uri="{FF2B5EF4-FFF2-40B4-BE49-F238E27FC236}">
                <a16:creationId xmlns:a16="http://schemas.microsoft.com/office/drawing/2014/main" id="{A81D622F-7425-C8BE-A656-7FAD2158372B}"/>
              </a:ext>
            </a:extLst>
          </p:cNvPr>
          <p:cNvCxnSpPr>
            <a:cxnSpLocks/>
          </p:cNvCxnSpPr>
          <p:nvPr/>
        </p:nvCxnSpPr>
        <p:spPr>
          <a:xfrm rot="16200000">
            <a:off x="3346615" y="4484034"/>
            <a:ext cx="75812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9" name="TextBox 1038">
            <a:extLst>
              <a:ext uri="{FF2B5EF4-FFF2-40B4-BE49-F238E27FC236}">
                <a16:creationId xmlns:a16="http://schemas.microsoft.com/office/drawing/2014/main" id="{410C86E9-4175-4A07-4935-77827379480D}"/>
              </a:ext>
            </a:extLst>
          </p:cNvPr>
          <p:cNvSpPr txBox="1">
            <a:spLocks/>
          </p:cNvSpPr>
          <p:nvPr/>
        </p:nvSpPr>
        <p:spPr>
          <a:xfrm>
            <a:off x="3560835" y="4518067"/>
            <a:ext cx="64446" cy="128715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36</a:t>
            </a:r>
          </a:p>
        </p:txBody>
      </p:sp>
      <p:cxnSp>
        <p:nvCxnSpPr>
          <p:cNvPr id="1040" name="Straight Connector 1039">
            <a:extLst>
              <a:ext uri="{FF2B5EF4-FFF2-40B4-BE49-F238E27FC236}">
                <a16:creationId xmlns:a16="http://schemas.microsoft.com/office/drawing/2014/main" id="{2C6971BE-A9E3-244A-7D22-8F86B7B43B8A}"/>
              </a:ext>
            </a:extLst>
          </p:cNvPr>
          <p:cNvCxnSpPr>
            <a:cxnSpLocks/>
          </p:cNvCxnSpPr>
          <p:nvPr/>
        </p:nvCxnSpPr>
        <p:spPr>
          <a:xfrm rot="16200000">
            <a:off x="3556165" y="4484034"/>
            <a:ext cx="75812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1" name="TextBox 1040">
            <a:extLst>
              <a:ext uri="{FF2B5EF4-FFF2-40B4-BE49-F238E27FC236}">
                <a16:creationId xmlns:a16="http://schemas.microsoft.com/office/drawing/2014/main" id="{8DD49197-DC7F-1E23-49FA-98802C795AF1}"/>
              </a:ext>
            </a:extLst>
          </p:cNvPr>
          <p:cNvSpPr txBox="1">
            <a:spLocks/>
          </p:cNvSpPr>
          <p:nvPr/>
        </p:nvSpPr>
        <p:spPr>
          <a:xfrm>
            <a:off x="3765622" y="4518067"/>
            <a:ext cx="64446" cy="128715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39</a:t>
            </a:r>
          </a:p>
        </p:txBody>
      </p:sp>
      <p:cxnSp>
        <p:nvCxnSpPr>
          <p:cNvPr id="1042" name="Straight Connector 1041">
            <a:extLst>
              <a:ext uri="{FF2B5EF4-FFF2-40B4-BE49-F238E27FC236}">
                <a16:creationId xmlns:a16="http://schemas.microsoft.com/office/drawing/2014/main" id="{E6E8F7F3-D632-F677-02A4-58D9DD1C68EA}"/>
              </a:ext>
            </a:extLst>
          </p:cNvPr>
          <p:cNvCxnSpPr>
            <a:cxnSpLocks/>
          </p:cNvCxnSpPr>
          <p:nvPr/>
        </p:nvCxnSpPr>
        <p:spPr>
          <a:xfrm rot="16200000">
            <a:off x="3760952" y="4484034"/>
            <a:ext cx="75812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3" name="TextBox 1042">
            <a:extLst>
              <a:ext uri="{FF2B5EF4-FFF2-40B4-BE49-F238E27FC236}">
                <a16:creationId xmlns:a16="http://schemas.microsoft.com/office/drawing/2014/main" id="{7615CC39-D70A-BE48-8203-37C75BAD96CF}"/>
              </a:ext>
            </a:extLst>
          </p:cNvPr>
          <p:cNvSpPr txBox="1">
            <a:spLocks/>
          </p:cNvSpPr>
          <p:nvPr/>
        </p:nvSpPr>
        <p:spPr>
          <a:xfrm>
            <a:off x="3979935" y="4518067"/>
            <a:ext cx="64446" cy="128715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42</a:t>
            </a:r>
          </a:p>
        </p:txBody>
      </p:sp>
      <p:cxnSp>
        <p:nvCxnSpPr>
          <p:cNvPr id="1044" name="Straight Connector 1043">
            <a:extLst>
              <a:ext uri="{FF2B5EF4-FFF2-40B4-BE49-F238E27FC236}">
                <a16:creationId xmlns:a16="http://schemas.microsoft.com/office/drawing/2014/main" id="{06F2EF53-526C-498C-3A32-A64642262E21}"/>
              </a:ext>
            </a:extLst>
          </p:cNvPr>
          <p:cNvCxnSpPr>
            <a:cxnSpLocks/>
          </p:cNvCxnSpPr>
          <p:nvPr/>
        </p:nvCxnSpPr>
        <p:spPr>
          <a:xfrm rot="16200000">
            <a:off x="3975265" y="4484034"/>
            <a:ext cx="75812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5" name="TextBox 1044">
            <a:extLst>
              <a:ext uri="{FF2B5EF4-FFF2-40B4-BE49-F238E27FC236}">
                <a16:creationId xmlns:a16="http://schemas.microsoft.com/office/drawing/2014/main" id="{2DE62656-8DA0-11C1-0D7E-5F4C70C9B69F}"/>
              </a:ext>
            </a:extLst>
          </p:cNvPr>
          <p:cNvSpPr txBox="1">
            <a:spLocks/>
          </p:cNvSpPr>
          <p:nvPr/>
        </p:nvSpPr>
        <p:spPr>
          <a:xfrm>
            <a:off x="4189485" y="4518067"/>
            <a:ext cx="64446" cy="128715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45</a:t>
            </a:r>
          </a:p>
        </p:txBody>
      </p:sp>
      <p:cxnSp>
        <p:nvCxnSpPr>
          <p:cNvPr id="1046" name="Straight Connector 1045">
            <a:extLst>
              <a:ext uri="{FF2B5EF4-FFF2-40B4-BE49-F238E27FC236}">
                <a16:creationId xmlns:a16="http://schemas.microsoft.com/office/drawing/2014/main" id="{716F21FD-87F5-B2FE-F27B-C0E4F6B7E7C8}"/>
              </a:ext>
            </a:extLst>
          </p:cNvPr>
          <p:cNvCxnSpPr>
            <a:cxnSpLocks/>
          </p:cNvCxnSpPr>
          <p:nvPr/>
        </p:nvCxnSpPr>
        <p:spPr>
          <a:xfrm rot="16200000">
            <a:off x="4184815" y="4484034"/>
            <a:ext cx="75812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7" name="TextBox 1046">
            <a:extLst>
              <a:ext uri="{FF2B5EF4-FFF2-40B4-BE49-F238E27FC236}">
                <a16:creationId xmlns:a16="http://schemas.microsoft.com/office/drawing/2014/main" id="{76E6F623-1875-BBC3-A1F1-7E4B6F2B3AFB}"/>
              </a:ext>
            </a:extLst>
          </p:cNvPr>
          <p:cNvSpPr txBox="1">
            <a:spLocks/>
          </p:cNvSpPr>
          <p:nvPr/>
        </p:nvSpPr>
        <p:spPr>
          <a:xfrm>
            <a:off x="1039090" y="5082423"/>
            <a:ext cx="64446" cy="128715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15</a:t>
            </a:r>
          </a:p>
        </p:txBody>
      </p:sp>
      <p:sp>
        <p:nvSpPr>
          <p:cNvPr id="1048" name="TextBox 1047">
            <a:extLst>
              <a:ext uri="{FF2B5EF4-FFF2-40B4-BE49-F238E27FC236}">
                <a16:creationId xmlns:a16="http://schemas.microsoft.com/office/drawing/2014/main" id="{8A4347A4-6E7C-2FF9-2C59-CF4E478326CF}"/>
              </a:ext>
            </a:extLst>
          </p:cNvPr>
          <p:cNvSpPr txBox="1">
            <a:spLocks/>
          </p:cNvSpPr>
          <p:nvPr/>
        </p:nvSpPr>
        <p:spPr>
          <a:xfrm>
            <a:off x="1253403" y="5082423"/>
            <a:ext cx="64446" cy="128715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47</a:t>
            </a:r>
          </a:p>
        </p:txBody>
      </p:sp>
      <p:sp>
        <p:nvSpPr>
          <p:cNvPr id="1049" name="TextBox 1048">
            <a:extLst>
              <a:ext uri="{FF2B5EF4-FFF2-40B4-BE49-F238E27FC236}">
                <a16:creationId xmlns:a16="http://schemas.microsoft.com/office/drawing/2014/main" id="{569B4B0B-AF29-F6C4-4DEA-D4FBAB3EA207}"/>
              </a:ext>
            </a:extLst>
          </p:cNvPr>
          <p:cNvSpPr txBox="1">
            <a:spLocks/>
          </p:cNvSpPr>
          <p:nvPr/>
        </p:nvSpPr>
        <p:spPr>
          <a:xfrm>
            <a:off x="1462953" y="5082423"/>
            <a:ext cx="64446" cy="128715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38</a:t>
            </a:r>
          </a:p>
        </p:txBody>
      </p:sp>
      <p:sp>
        <p:nvSpPr>
          <p:cNvPr id="1050" name="TextBox 1049">
            <a:extLst>
              <a:ext uri="{FF2B5EF4-FFF2-40B4-BE49-F238E27FC236}">
                <a16:creationId xmlns:a16="http://schemas.microsoft.com/office/drawing/2014/main" id="{79B66803-515B-5231-F43F-C2D69E6D544E}"/>
              </a:ext>
            </a:extLst>
          </p:cNvPr>
          <p:cNvSpPr txBox="1">
            <a:spLocks/>
          </p:cNvSpPr>
          <p:nvPr/>
        </p:nvSpPr>
        <p:spPr>
          <a:xfrm>
            <a:off x="1672503" y="5082423"/>
            <a:ext cx="64446" cy="128715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36</a:t>
            </a:r>
          </a:p>
        </p:txBody>
      </p:sp>
      <p:sp>
        <p:nvSpPr>
          <p:cNvPr id="1051" name="TextBox 1050">
            <a:extLst>
              <a:ext uri="{FF2B5EF4-FFF2-40B4-BE49-F238E27FC236}">
                <a16:creationId xmlns:a16="http://schemas.microsoft.com/office/drawing/2014/main" id="{F7EC8E6B-8545-C89D-F8C3-76121FB1FFC3}"/>
              </a:ext>
            </a:extLst>
          </p:cNvPr>
          <p:cNvSpPr txBox="1">
            <a:spLocks/>
          </p:cNvSpPr>
          <p:nvPr/>
        </p:nvSpPr>
        <p:spPr>
          <a:xfrm>
            <a:off x="1879672" y="5082423"/>
            <a:ext cx="64446" cy="128715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31</a:t>
            </a:r>
          </a:p>
        </p:txBody>
      </p:sp>
      <p:sp>
        <p:nvSpPr>
          <p:cNvPr id="1052" name="TextBox 1051">
            <a:extLst>
              <a:ext uri="{FF2B5EF4-FFF2-40B4-BE49-F238E27FC236}">
                <a16:creationId xmlns:a16="http://schemas.microsoft.com/office/drawing/2014/main" id="{40026532-21E9-6965-38CC-7311431E9B4F}"/>
              </a:ext>
            </a:extLst>
          </p:cNvPr>
          <p:cNvSpPr txBox="1">
            <a:spLocks/>
          </p:cNvSpPr>
          <p:nvPr/>
        </p:nvSpPr>
        <p:spPr>
          <a:xfrm>
            <a:off x="2091603" y="5082423"/>
            <a:ext cx="64446" cy="128715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31</a:t>
            </a:r>
          </a:p>
        </p:txBody>
      </p:sp>
      <p:sp>
        <p:nvSpPr>
          <p:cNvPr id="1053" name="TextBox 1052">
            <a:extLst>
              <a:ext uri="{FF2B5EF4-FFF2-40B4-BE49-F238E27FC236}">
                <a16:creationId xmlns:a16="http://schemas.microsoft.com/office/drawing/2014/main" id="{FFD354BC-D669-27C4-F4BB-49422B295AB6}"/>
              </a:ext>
            </a:extLst>
          </p:cNvPr>
          <p:cNvSpPr txBox="1">
            <a:spLocks/>
          </p:cNvSpPr>
          <p:nvPr/>
        </p:nvSpPr>
        <p:spPr>
          <a:xfrm>
            <a:off x="2301153" y="5082423"/>
            <a:ext cx="64446" cy="128715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30</a:t>
            </a:r>
          </a:p>
        </p:txBody>
      </p:sp>
      <p:sp>
        <p:nvSpPr>
          <p:cNvPr id="1054" name="TextBox 1053">
            <a:extLst>
              <a:ext uri="{FF2B5EF4-FFF2-40B4-BE49-F238E27FC236}">
                <a16:creationId xmlns:a16="http://schemas.microsoft.com/office/drawing/2014/main" id="{654B85D6-2243-BEB2-4D7F-DC1FB0D37BD8}"/>
              </a:ext>
            </a:extLst>
          </p:cNvPr>
          <p:cNvSpPr txBox="1">
            <a:spLocks/>
          </p:cNvSpPr>
          <p:nvPr/>
        </p:nvSpPr>
        <p:spPr>
          <a:xfrm>
            <a:off x="2510703" y="5082423"/>
            <a:ext cx="64446" cy="128715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26</a:t>
            </a:r>
          </a:p>
        </p:txBody>
      </p:sp>
      <p:sp>
        <p:nvSpPr>
          <p:cNvPr id="1055" name="TextBox 1054">
            <a:extLst>
              <a:ext uri="{FF2B5EF4-FFF2-40B4-BE49-F238E27FC236}">
                <a16:creationId xmlns:a16="http://schemas.microsoft.com/office/drawing/2014/main" id="{1FD40A2A-0557-B8C2-3B02-E8964D495475}"/>
              </a:ext>
            </a:extLst>
          </p:cNvPr>
          <p:cNvSpPr txBox="1">
            <a:spLocks/>
          </p:cNvSpPr>
          <p:nvPr/>
        </p:nvSpPr>
        <p:spPr>
          <a:xfrm>
            <a:off x="2720253" y="5082423"/>
            <a:ext cx="64446" cy="128715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24</a:t>
            </a:r>
          </a:p>
        </p:txBody>
      </p:sp>
      <p:sp>
        <p:nvSpPr>
          <p:cNvPr id="1056" name="TextBox 1055">
            <a:extLst>
              <a:ext uri="{FF2B5EF4-FFF2-40B4-BE49-F238E27FC236}">
                <a16:creationId xmlns:a16="http://schemas.microsoft.com/office/drawing/2014/main" id="{2A9D66A3-8D02-27EE-FEA2-AD59DCA3B482}"/>
              </a:ext>
            </a:extLst>
          </p:cNvPr>
          <p:cNvSpPr txBox="1">
            <a:spLocks/>
          </p:cNvSpPr>
          <p:nvPr/>
        </p:nvSpPr>
        <p:spPr>
          <a:xfrm>
            <a:off x="2929803" y="5082423"/>
            <a:ext cx="64446" cy="128715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21</a:t>
            </a:r>
          </a:p>
        </p:txBody>
      </p:sp>
      <p:sp>
        <p:nvSpPr>
          <p:cNvPr id="1057" name="TextBox 1056">
            <a:extLst>
              <a:ext uri="{FF2B5EF4-FFF2-40B4-BE49-F238E27FC236}">
                <a16:creationId xmlns:a16="http://schemas.microsoft.com/office/drawing/2014/main" id="{94C87E65-D8C6-1F82-D9BD-203B0C3270E2}"/>
              </a:ext>
            </a:extLst>
          </p:cNvPr>
          <p:cNvSpPr txBox="1">
            <a:spLocks/>
          </p:cNvSpPr>
          <p:nvPr/>
        </p:nvSpPr>
        <p:spPr>
          <a:xfrm>
            <a:off x="3136972" y="5082423"/>
            <a:ext cx="64446" cy="128715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21</a:t>
            </a:r>
          </a:p>
        </p:txBody>
      </p:sp>
      <p:sp>
        <p:nvSpPr>
          <p:cNvPr id="1058" name="TextBox 1057">
            <a:extLst>
              <a:ext uri="{FF2B5EF4-FFF2-40B4-BE49-F238E27FC236}">
                <a16:creationId xmlns:a16="http://schemas.microsoft.com/office/drawing/2014/main" id="{61CA6E5B-70F4-887D-526F-2937BC2E6608}"/>
              </a:ext>
            </a:extLst>
          </p:cNvPr>
          <p:cNvSpPr txBox="1">
            <a:spLocks/>
          </p:cNvSpPr>
          <p:nvPr/>
        </p:nvSpPr>
        <p:spPr>
          <a:xfrm>
            <a:off x="3351285" y="5082423"/>
            <a:ext cx="64446" cy="128715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21</a:t>
            </a:r>
          </a:p>
        </p:txBody>
      </p:sp>
      <p:sp>
        <p:nvSpPr>
          <p:cNvPr id="1059" name="TextBox 1058">
            <a:extLst>
              <a:ext uri="{FF2B5EF4-FFF2-40B4-BE49-F238E27FC236}">
                <a16:creationId xmlns:a16="http://schemas.microsoft.com/office/drawing/2014/main" id="{D54394B5-5C27-F832-C125-ECC5C025C62A}"/>
              </a:ext>
            </a:extLst>
          </p:cNvPr>
          <p:cNvSpPr txBox="1">
            <a:spLocks/>
          </p:cNvSpPr>
          <p:nvPr/>
        </p:nvSpPr>
        <p:spPr>
          <a:xfrm>
            <a:off x="3560835" y="5082423"/>
            <a:ext cx="64446" cy="128715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1</a:t>
            </a:r>
          </a:p>
        </p:txBody>
      </p:sp>
      <p:sp>
        <p:nvSpPr>
          <p:cNvPr id="1060" name="TextBox 1059">
            <a:extLst>
              <a:ext uri="{FF2B5EF4-FFF2-40B4-BE49-F238E27FC236}">
                <a16:creationId xmlns:a16="http://schemas.microsoft.com/office/drawing/2014/main" id="{24C56269-7131-D283-3709-2612947C930D}"/>
              </a:ext>
            </a:extLst>
          </p:cNvPr>
          <p:cNvSpPr txBox="1">
            <a:spLocks/>
          </p:cNvSpPr>
          <p:nvPr/>
        </p:nvSpPr>
        <p:spPr>
          <a:xfrm>
            <a:off x="3765622" y="5082423"/>
            <a:ext cx="64446" cy="128715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2</a:t>
            </a:r>
          </a:p>
        </p:txBody>
      </p:sp>
      <p:sp>
        <p:nvSpPr>
          <p:cNvPr id="1061" name="TextBox 1060">
            <a:extLst>
              <a:ext uri="{FF2B5EF4-FFF2-40B4-BE49-F238E27FC236}">
                <a16:creationId xmlns:a16="http://schemas.microsoft.com/office/drawing/2014/main" id="{B8A16861-D387-7CB9-34AF-97131A432BD4}"/>
              </a:ext>
            </a:extLst>
          </p:cNvPr>
          <p:cNvSpPr txBox="1">
            <a:spLocks/>
          </p:cNvSpPr>
          <p:nvPr/>
        </p:nvSpPr>
        <p:spPr>
          <a:xfrm>
            <a:off x="3979935" y="5082423"/>
            <a:ext cx="64446" cy="128715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</a:t>
            </a:r>
          </a:p>
        </p:txBody>
      </p:sp>
      <p:sp>
        <p:nvSpPr>
          <p:cNvPr id="1062" name="TextBox 1061">
            <a:extLst>
              <a:ext uri="{FF2B5EF4-FFF2-40B4-BE49-F238E27FC236}">
                <a16:creationId xmlns:a16="http://schemas.microsoft.com/office/drawing/2014/main" id="{99D12E0E-F2BC-512A-EA2A-AE730D4135F3}"/>
              </a:ext>
            </a:extLst>
          </p:cNvPr>
          <p:cNvSpPr txBox="1">
            <a:spLocks/>
          </p:cNvSpPr>
          <p:nvPr/>
        </p:nvSpPr>
        <p:spPr>
          <a:xfrm>
            <a:off x="4189485" y="5082423"/>
            <a:ext cx="64446" cy="128715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0</a:t>
            </a:r>
          </a:p>
        </p:txBody>
      </p:sp>
      <p:sp>
        <p:nvSpPr>
          <p:cNvPr id="1063" name="Free-form: Shape 1062">
            <a:extLst>
              <a:ext uri="{FF2B5EF4-FFF2-40B4-BE49-F238E27FC236}">
                <a16:creationId xmlns:a16="http://schemas.microsoft.com/office/drawing/2014/main" id="{D5EB5DD4-0E64-2490-804E-49300A5674C3}"/>
              </a:ext>
            </a:extLst>
          </p:cNvPr>
          <p:cNvSpPr/>
          <p:nvPr/>
        </p:nvSpPr>
        <p:spPr>
          <a:xfrm>
            <a:off x="1071563" y="2600325"/>
            <a:ext cx="3152775" cy="1264444"/>
          </a:xfrm>
          <a:custGeom>
            <a:avLst/>
            <a:gdLst>
              <a:gd name="csX0" fmla="*/ 3152775 w 3152775"/>
              <a:gd name="csY0" fmla="*/ 1264444 h 1264444"/>
              <a:gd name="csX1" fmla="*/ 2400300 w 3152775"/>
              <a:gd name="csY1" fmla="*/ 1264444 h 1264444"/>
              <a:gd name="csX2" fmla="*/ 2400300 w 3152775"/>
              <a:gd name="csY2" fmla="*/ 1233488 h 1264444"/>
              <a:gd name="csX3" fmla="*/ 1454943 w 3152775"/>
              <a:gd name="csY3" fmla="*/ 1233488 h 1264444"/>
              <a:gd name="csX4" fmla="*/ 1454943 w 3152775"/>
              <a:gd name="csY4" fmla="*/ 1209675 h 1264444"/>
              <a:gd name="csX5" fmla="*/ 1366837 w 3152775"/>
              <a:gd name="csY5" fmla="*/ 1209675 h 1264444"/>
              <a:gd name="csX6" fmla="*/ 1366837 w 3152775"/>
              <a:gd name="csY6" fmla="*/ 1185863 h 1264444"/>
              <a:gd name="csX7" fmla="*/ 823912 w 3152775"/>
              <a:gd name="csY7" fmla="*/ 1185863 h 1264444"/>
              <a:gd name="csX8" fmla="*/ 823912 w 3152775"/>
              <a:gd name="csY8" fmla="*/ 1166813 h 1264444"/>
              <a:gd name="csX9" fmla="*/ 762000 w 3152775"/>
              <a:gd name="csY9" fmla="*/ 1166813 h 1264444"/>
              <a:gd name="csX10" fmla="*/ 762000 w 3152775"/>
              <a:gd name="csY10" fmla="*/ 1150144 h 1264444"/>
              <a:gd name="csX11" fmla="*/ 628650 w 3152775"/>
              <a:gd name="csY11" fmla="*/ 1150144 h 1264444"/>
              <a:gd name="csX12" fmla="*/ 628650 w 3152775"/>
              <a:gd name="csY12" fmla="*/ 1126331 h 1264444"/>
              <a:gd name="csX13" fmla="*/ 435768 w 3152775"/>
              <a:gd name="csY13" fmla="*/ 1126331 h 1264444"/>
              <a:gd name="csX14" fmla="*/ 435768 w 3152775"/>
              <a:gd name="csY14" fmla="*/ 1109663 h 1264444"/>
              <a:gd name="csX15" fmla="*/ 400050 w 3152775"/>
              <a:gd name="csY15" fmla="*/ 1109663 h 1264444"/>
              <a:gd name="csX16" fmla="*/ 400050 w 3152775"/>
              <a:gd name="csY16" fmla="*/ 1085850 h 1264444"/>
              <a:gd name="csX17" fmla="*/ 369093 w 3152775"/>
              <a:gd name="csY17" fmla="*/ 1085850 h 1264444"/>
              <a:gd name="csX18" fmla="*/ 369093 w 3152775"/>
              <a:gd name="csY18" fmla="*/ 1073944 h 1264444"/>
              <a:gd name="csX19" fmla="*/ 295275 w 3152775"/>
              <a:gd name="csY19" fmla="*/ 1073944 h 1264444"/>
              <a:gd name="csX20" fmla="*/ 295275 w 3152775"/>
              <a:gd name="csY20" fmla="*/ 1054894 h 1264444"/>
              <a:gd name="csX21" fmla="*/ 233362 w 3152775"/>
              <a:gd name="csY21" fmla="*/ 1054894 h 1264444"/>
              <a:gd name="csX22" fmla="*/ 233362 w 3152775"/>
              <a:gd name="csY22" fmla="*/ 1040606 h 1264444"/>
              <a:gd name="csX23" fmla="*/ 214312 w 3152775"/>
              <a:gd name="csY23" fmla="*/ 1040606 h 1264444"/>
              <a:gd name="csX24" fmla="*/ 214312 w 3152775"/>
              <a:gd name="csY24" fmla="*/ 1007269 h 1264444"/>
              <a:gd name="csX25" fmla="*/ 207168 w 3152775"/>
              <a:gd name="csY25" fmla="*/ 1007269 h 1264444"/>
              <a:gd name="csX26" fmla="*/ 207168 w 3152775"/>
              <a:gd name="csY26" fmla="*/ 935831 h 1264444"/>
              <a:gd name="csX27" fmla="*/ 207168 w 3152775"/>
              <a:gd name="csY27" fmla="*/ 897731 h 1264444"/>
              <a:gd name="csX28" fmla="*/ 207168 w 3152775"/>
              <a:gd name="csY28" fmla="*/ 840581 h 1264444"/>
              <a:gd name="csX29" fmla="*/ 183356 w 3152775"/>
              <a:gd name="csY29" fmla="*/ 840581 h 1264444"/>
              <a:gd name="csX30" fmla="*/ 183356 w 3152775"/>
              <a:gd name="csY30" fmla="*/ 795338 h 1264444"/>
              <a:gd name="csX31" fmla="*/ 161925 w 3152775"/>
              <a:gd name="csY31" fmla="*/ 795338 h 1264444"/>
              <a:gd name="csX32" fmla="*/ 161925 w 3152775"/>
              <a:gd name="csY32" fmla="*/ 742950 h 1264444"/>
              <a:gd name="csX33" fmla="*/ 161925 w 3152775"/>
              <a:gd name="csY33" fmla="*/ 697706 h 1264444"/>
              <a:gd name="csX34" fmla="*/ 145256 w 3152775"/>
              <a:gd name="csY34" fmla="*/ 697706 h 1264444"/>
              <a:gd name="csX35" fmla="*/ 145256 w 3152775"/>
              <a:gd name="csY35" fmla="*/ 616744 h 1264444"/>
              <a:gd name="csX36" fmla="*/ 130968 w 3152775"/>
              <a:gd name="csY36" fmla="*/ 616744 h 1264444"/>
              <a:gd name="csX37" fmla="*/ 130968 w 3152775"/>
              <a:gd name="csY37" fmla="*/ 559594 h 1264444"/>
              <a:gd name="csX38" fmla="*/ 104775 w 3152775"/>
              <a:gd name="csY38" fmla="*/ 559594 h 1264444"/>
              <a:gd name="csX39" fmla="*/ 104775 w 3152775"/>
              <a:gd name="csY39" fmla="*/ 507206 h 1264444"/>
              <a:gd name="csX40" fmla="*/ 104775 w 3152775"/>
              <a:gd name="csY40" fmla="*/ 507206 h 1264444"/>
              <a:gd name="csX41" fmla="*/ 104775 w 3152775"/>
              <a:gd name="csY41" fmla="*/ 471488 h 1264444"/>
              <a:gd name="csX42" fmla="*/ 85725 w 3152775"/>
              <a:gd name="csY42" fmla="*/ 471488 h 1264444"/>
              <a:gd name="csX43" fmla="*/ 85725 w 3152775"/>
              <a:gd name="csY43" fmla="*/ 454819 h 1264444"/>
              <a:gd name="csX44" fmla="*/ 59531 w 3152775"/>
              <a:gd name="csY44" fmla="*/ 454819 h 1264444"/>
              <a:gd name="csX45" fmla="*/ 59531 w 3152775"/>
              <a:gd name="csY45" fmla="*/ 190500 h 1264444"/>
              <a:gd name="csX46" fmla="*/ 59531 w 3152775"/>
              <a:gd name="csY46" fmla="*/ 161925 h 1264444"/>
              <a:gd name="csX47" fmla="*/ 59531 w 3152775"/>
              <a:gd name="csY47" fmla="*/ 138113 h 1264444"/>
              <a:gd name="csX48" fmla="*/ 59531 w 3152775"/>
              <a:gd name="csY48" fmla="*/ 114300 h 1264444"/>
              <a:gd name="csX49" fmla="*/ 50006 w 3152775"/>
              <a:gd name="csY49" fmla="*/ 104775 h 1264444"/>
              <a:gd name="csX50" fmla="*/ 50006 w 3152775"/>
              <a:gd name="csY50" fmla="*/ 28575 h 1264444"/>
              <a:gd name="csX51" fmla="*/ 23812 w 3152775"/>
              <a:gd name="csY51" fmla="*/ 28575 h 1264444"/>
              <a:gd name="csX52" fmla="*/ 23812 w 3152775"/>
              <a:gd name="csY52" fmla="*/ 0 h 1264444"/>
              <a:gd name="csX53" fmla="*/ 0 w 3152775"/>
              <a:gd name="csY53" fmla="*/ 0 h 1264444"/>
              <a:gd name="csX54" fmla="*/ 0 w 3152775"/>
              <a:gd name="csY54" fmla="*/ 2381 h 1264444"/>
              <a:gd name="csX55" fmla="*/ 0 w 3152775"/>
              <a:gd name="csY55" fmla="*/ 2381 h 126444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</a:cxnLst>
            <a:rect l="l" t="t" r="r" b="b"/>
            <a:pathLst>
              <a:path w="3152775" h="1264444">
                <a:moveTo>
                  <a:pt x="3152775" y="1264444"/>
                </a:moveTo>
                <a:lnTo>
                  <a:pt x="2400300" y="1264444"/>
                </a:lnTo>
                <a:lnTo>
                  <a:pt x="2400300" y="1233488"/>
                </a:lnTo>
                <a:lnTo>
                  <a:pt x="1454943" y="1233488"/>
                </a:lnTo>
                <a:lnTo>
                  <a:pt x="1454943" y="1209675"/>
                </a:lnTo>
                <a:lnTo>
                  <a:pt x="1366837" y="1209675"/>
                </a:lnTo>
                <a:lnTo>
                  <a:pt x="1366837" y="1185863"/>
                </a:lnTo>
                <a:lnTo>
                  <a:pt x="823912" y="1185863"/>
                </a:lnTo>
                <a:lnTo>
                  <a:pt x="823912" y="1166813"/>
                </a:lnTo>
                <a:lnTo>
                  <a:pt x="762000" y="1166813"/>
                </a:lnTo>
                <a:lnTo>
                  <a:pt x="762000" y="1150144"/>
                </a:lnTo>
                <a:lnTo>
                  <a:pt x="628650" y="1150144"/>
                </a:lnTo>
                <a:lnTo>
                  <a:pt x="628650" y="1126331"/>
                </a:lnTo>
                <a:lnTo>
                  <a:pt x="435768" y="1126331"/>
                </a:lnTo>
                <a:lnTo>
                  <a:pt x="435768" y="1109663"/>
                </a:lnTo>
                <a:lnTo>
                  <a:pt x="400050" y="1109663"/>
                </a:lnTo>
                <a:lnTo>
                  <a:pt x="400050" y="1085850"/>
                </a:lnTo>
                <a:lnTo>
                  <a:pt x="369093" y="1085850"/>
                </a:lnTo>
                <a:lnTo>
                  <a:pt x="369093" y="1073944"/>
                </a:lnTo>
                <a:lnTo>
                  <a:pt x="295275" y="1073944"/>
                </a:lnTo>
                <a:lnTo>
                  <a:pt x="295275" y="1054894"/>
                </a:lnTo>
                <a:lnTo>
                  <a:pt x="233362" y="1054894"/>
                </a:lnTo>
                <a:lnTo>
                  <a:pt x="233362" y="1040606"/>
                </a:lnTo>
                <a:lnTo>
                  <a:pt x="214312" y="1040606"/>
                </a:lnTo>
                <a:lnTo>
                  <a:pt x="214312" y="1007269"/>
                </a:lnTo>
                <a:lnTo>
                  <a:pt x="207168" y="1007269"/>
                </a:lnTo>
                <a:lnTo>
                  <a:pt x="207168" y="935831"/>
                </a:lnTo>
                <a:lnTo>
                  <a:pt x="207168" y="897731"/>
                </a:lnTo>
                <a:lnTo>
                  <a:pt x="207168" y="840581"/>
                </a:lnTo>
                <a:lnTo>
                  <a:pt x="183356" y="840581"/>
                </a:lnTo>
                <a:lnTo>
                  <a:pt x="183356" y="795338"/>
                </a:lnTo>
                <a:lnTo>
                  <a:pt x="161925" y="795338"/>
                </a:lnTo>
                <a:lnTo>
                  <a:pt x="161925" y="742950"/>
                </a:lnTo>
                <a:lnTo>
                  <a:pt x="161925" y="697706"/>
                </a:lnTo>
                <a:lnTo>
                  <a:pt x="145256" y="697706"/>
                </a:lnTo>
                <a:lnTo>
                  <a:pt x="145256" y="616744"/>
                </a:lnTo>
                <a:lnTo>
                  <a:pt x="130968" y="616744"/>
                </a:lnTo>
                <a:lnTo>
                  <a:pt x="130968" y="559594"/>
                </a:lnTo>
                <a:lnTo>
                  <a:pt x="104775" y="559594"/>
                </a:lnTo>
                <a:lnTo>
                  <a:pt x="104775" y="507206"/>
                </a:lnTo>
                <a:lnTo>
                  <a:pt x="104775" y="507206"/>
                </a:lnTo>
                <a:lnTo>
                  <a:pt x="104775" y="471488"/>
                </a:lnTo>
                <a:lnTo>
                  <a:pt x="85725" y="471488"/>
                </a:lnTo>
                <a:lnTo>
                  <a:pt x="85725" y="454819"/>
                </a:lnTo>
                <a:lnTo>
                  <a:pt x="59531" y="454819"/>
                </a:lnTo>
                <a:lnTo>
                  <a:pt x="59531" y="190500"/>
                </a:lnTo>
                <a:lnTo>
                  <a:pt x="59531" y="161925"/>
                </a:lnTo>
                <a:lnTo>
                  <a:pt x="59531" y="138113"/>
                </a:lnTo>
                <a:lnTo>
                  <a:pt x="59531" y="114300"/>
                </a:lnTo>
                <a:lnTo>
                  <a:pt x="50006" y="104775"/>
                </a:lnTo>
                <a:lnTo>
                  <a:pt x="50006" y="28575"/>
                </a:lnTo>
                <a:lnTo>
                  <a:pt x="23812" y="28575"/>
                </a:lnTo>
                <a:lnTo>
                  <a:pt x="23812" y="0"/>
                </a:lnTo>
                <a:lnTo>
                  <a:pt x="0" y="0"/>
                </a:lnTo>
                <a:lnTo>
                  <a:pt x="0" y="2381"/>
                </a:lnTo>
                <a:lnTo>
                  <a:pt x="0" y="2381"/>
                </a:lnTo>
              </a:path>
            </a:pathLst>
          </a:custGeom>
          <a:noFill/>
          <a:ln>
            <a:solidFill>
              <a:srgbClr val="2C5E77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064" name="Straight Connector 1063">
            <a:extLst>
              <a:ext uri="{FF2B5EF4-FFF2-40B4-BE49-F238E27FC236}">
                <a16:creationId xmlns:a16="http://schemas.microsoft.com/office/drawing/2014/main" id="{2EAE1C42-376C-9FB6-7051-CE96B29F6EFD}"/>
              </a:ext>
            </a:extLst>
          </p:cNvPr>
          <p:cNvCxnSpPr>
            <a:cxnSpLocks/>
          </p:cNvCxnSpPr>
          <p:nvPr/>
        </p:nvCxnSpPr>
        <p:spPr>
          <a:xfrm>
            <a:off x="4193351" y="3829081"/>
            <a:ext cx="0" cy="80130"/>
          </a:xfrm>
          <a:prstGeom prst="line">
            <a:avLst/>
          </a:prstGeom>
          <a:ln w="19050">
            <a:solidFill>
              <a:srgbClr val="2C5E77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65" name="Straight Connector 1064">
            <a:extLst>
              <a:ext uri="{FF2B5EF4-FFF2-40B4-BE49-F238E27FC236}">
                <a16:creationId xmlns:a16="http://schemas.microsoft.com/office/drawing/2014/main" id="{CBA844D1-0C4D-C69B-5356-27CD951A7E37}"/>
              </a:ext>
            </a:extLst>
          </p:cNvPr>
          <p:cNvCxnSpPr>
            <a:cxnSpLocks/>
          </p:cNvCxnSpPr>
          <p:nvPr/>
        </p:nvCxnSpPr>
        <p:spPr>
          <a:xfrm>
            <a:off x="4176682" y="3829081"/>
            <a:ext cx="0" cy="80130"/>
          </a:xfrm>
          <a:prstGeom prst="line">
            <a:avLst/>
          </a:prstGeom>
          <a:ln w="19050">
            <a:solidFill>
              <a:srgbClr val="2C5E77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66" name="Straight Connector 1065">
            <a:extLst>
              <a:ext uri="{FF2B5EF4-FFF2-40B4-BE49-F238E27FC236}">
                <a16:creationId xmlns:a16="http://schemas.microsoft.com/office/drawing/2014/main" id="{464E5A5E-4E2E-D850-AB0B-31E6F3423D58}"/>
              </a:ext>
            </a:extLst>
          </p:cNvPr>
          <p:cNvCxnSpPr>
            <a:cxnSpLocks/>
          </p:cNvCxnSpPr>
          <p:nvPr/>
        </p:nvCxnSpPr>
        <p:spPr>
          <a:xfrm>
            <a:off x="3979038" y="3829081"/>
            <a:ext cx="0" cy="80130"/>
          </a:xfrm>
          <a:prstGeom prst="line">
            <a:avLst/>
          </a:prstGeom>
          <a:ln w="19050">
            <a:solidFill>
              <a:srgbClr val="2C5E77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67" name="Straight Connector 1066">
            <a:extLst>
              <a:ext uri="{FF2B5EF4-FFF2-40B4-BE49-F238E27FC236}">
                <a16:creationId xmlns:a16="http://schemas.microsoft.com/office/drawing/2014/main" id="{877B8315-1BEA-1B91-FFE6-D1354580E359}"/>
              </a:ext>
            </a:extLst>
          </p:cNvPr>
          <p:cNvCxnSpPr>
            <a:cxnSpLocks/>
          </p:cNvCxnSpPr>
          <p:nvPr/>
        </p:nvCxnSpPr>
        <p:spPr>
          <a:xfrm>
            <a:off x="3969513" y="3829081"/>
            <a:ext cx="0" cy="80130"/>
          </a:xfrm>
          <a:prstGeom prst="line">
            <a:avLst/>
          </a:prstGeom>
          <a:ln w="19050">
            <a:solidFill>
              <a:srgbClr val="2C5E77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68" name="Straight Connector 1067">
            <a:extLst>
              <a:ext uri="{FF2B5EF4-FFF2-40B4-BE49-F238E27FC236}">
                <a16:creationId xmlns:a16="http://schemas.microsoft.com/office/drawing/2014/main" id="{C14853EB-D621-48F1-0AD2-5D0585C5976B}"/>
              </a:ext>
            </a:extLst>
          </p:cNvPr>
          <p:cNvCxnSpPr>
            <a:cxnSpLocks/>
          </p:cNvCxnSpPr>
          <p:nvPr/>
        </p:nvCxnSpPr>
        <p:spPr>
          <a:xfrm>
            <a:off x="3786157" y="3829081"/>
            <a:ext cx="0" cy="80130"/>
          </a:xfrm>
          <a:prstGeom prst="line">
            <a:avLst/>
          </a:prstGeom>
          <a:ln w="19050">
            <a:solidFill>
              <a:srgbClr val="2C5E77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69" name="Straight Connector 1068">
            <a:extLst>
              <a:ext uri="{FF2B5EF4-FFF2-40B4-BE49-F238E27FC236}">
                <a16:creationId xmlns:a16="http://schemas.microsoft.com/office/drawing/2014/main" id="{17ADD893-78E6-AF42-B7D1-AB0F32EC53D4}"/>
              </a:ext>
            </a:extLst>
          </p:cNvPr>
          <p:cNvCxnSpPr>
            <a:cxnSpLocks/>
          </p:cNvCxnSpPr>
          <p:nvPr/>
        </p:nvCxnSpPr>
        <p:spPr>
          <a:xfrm>
            <a:off x="3779013" y="3829081"/>
            <a:ext cx="0" cy="80130"/>
          </a:xfrm>
          <a:prstGeom prst="line">
            <a:avLst/>
          </a:prstGeom>
          <a:ln w="19050">
            <a:solidFill>
              <a:srgbClr val="2C5E77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70" name="Straight Connector 1069">
            <a:extLst>
              <a:ext uri="{FF2B5EF4-FFF2-40B4-BE49-F238E27FC236}">
                <a16:creationId xmlns:a16="http://schemas.microsoft.com/office/drawing/2014/main" id="{10F1E761-DECB-FFE5-4AAB-84F05276B516}"/>
              </a:ext>
            </a:extLst>
          </p:cNvPr>
          <p:cNvCxnSpPr>
            <a:cxnSpLocks/>
          </p:cNvCxnSpPr>
          <p:nvPr/>
        </p:nvCxnSpPr>
        <p:spPr>
          <a:xfrm>
            <a:off x="3752820" y="3829081"/>
            <a:ext cx="0" cy="80130"/>
          </a:xfrm>
          <a:prstGeom prst="line">
            <a:avLst/>
          </a:prstGeom>
          <a:ln w="19050">
            <a:solidFill>
              <a:srgbClr val="2C5E77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71" name="Straight Connector 1070">
            <a:extLst>
              <a:ext uri="{FF2B5EF4-FFF2-40B4-BE49-F238E27FC236}">
                <a16:creationId xmlns:a16="http://schemas.microsoft.com/office/drawing/2014/main" id="{EC26AC91-0C01-D871-521B-6A7BB90A9576}"/>
              </a:ext>
            </a:extLst>
          </p:cNvPr>
          <p:cNvCxnSpPr>
            <a:cxnSpLocks/>
          </p:cNvCxnSpPr>
          <p:nvPr/>
        </p:nvCxnSpPr>
        <p:spPr>
          <a:xfrm>
            <a:off x="3740914" y="3829081"/>
            <a:ext cx="0" cy="80130"/>
          </a:xfrm>
          <a:prstGeom prst="line">
            <a:avLst/>
          </a:prstGeom>
          <a:ln w="19050">
            <a:solidFill>
              <a:srgbClr val="2C5E77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72" name="Straight Connector 1071">
            <a:extLst>
              <a:ext uri="{FF2B5EF4-FFF2-40B4-BE49-F238E27FC236}">
                <a16:creationId xmlns:a16="http://schemas.microsoft.com/office/drawing/2014/main" id="{0B5B5001-7F18-347F-DB89-0989B39AE005}"/>
              </a:ext>
            </a:extLst>
          </p:cNvPr>
          <p:cNvCxnSpPr>
            <a:cxnSpLocks/>
          </p:cNvCxnSpPr>
          <p:nvPr/>
        </p:nvCxnSpPr>
        <p:spPr>
          <a:xfrm>
            <a:off x="3695671" y="3829081"/>
            <a:ext cx="0" cy="80130"/>
          </a:xfrm>
          <a:prstGeom prst="line">
            <a:avLst/>
          </a:prstGeom>
          <a:ln w="19050">
            <a:solidFill>
              <a:srgbClr val="2C5E77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73" name="Straight Connector 1072">
            <a:extLst>
              <a:ext uri="{FF2B5EF4-FFF2-40B4-BE49-F238E27FC236}">
                <a16:creationId xmlns:a16="http://schemas.microsoft.com/office/drawing/2014/main" id="{9DDFF2FE-18E0-5B3C-5615-D942C91F3721}"/>
              </a:ext>
            </a:extLst>
          </p:cNvPr>
          <p:cNvCxnSpPr>
            <a:cxnSpLocks/>
          </p:cNvCxnSpPr>
          <p:nvPr/>
        </p:nvCxnSpPr>
        <p:spPr>
          <a:xfrm>
            <a:off x="3679002" y="3829081"/>
            <a:ext cx="0" cy="80130"/>
          </a:xfrm>
          <a:prstGeom prst="line">
            <a:avLst/>
          </a:prstGeom>
          <a:ln w="19050">
            <a:solidFill>
              <a:srgbClr val="2C5E77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74" name="Straight Connector 1073">
            <a:extLst>
              <a:ext uri="{FF2B5EF4-FFF2-40B4-BE49-F238E27FC236}">
                <a16:creationId xmlns:a16="http://schemas.microsoft.com/office/drawing/2014/main" id="{CF93269F-92BF-D472-F409-02583B33460E}"/>
              </a:ext>
            </a:extLst>
          </p:cNvPr>
          <p:cNvCxnSpPr>
            <a:cxnSpLocks/>
          </p:cNvCxnSpPr>
          <p:nvPr/>
        </p:nvCxnSpPr>
        <p:spPr>
          <a:xfrm>
            <a:off x="3640902" y="3829081"/>
            <a:ext cx="0" cy="80130"/>
          </a:xfrm>
          <a:prstGeom prst="line">
            <a:avLst/>
          </a:prstGeom>
          <a:ln w="19050">
            <a:solidFill>
              <a:srgbClr val="2C5E77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75" name="Straight Connector 1074">
            <a:extLst>
              <a:ext uri="{FF2B5EF4-FFF2-40B4-BE49-F238E27FC236}">
                <a16:creationId xmlns:a16="http://schemas.microsoft.com/office/drawing/2014/main" id="{AE3CCCF5-4F22-4CC0-D79D-5D6E27465631}"/>
              </a:ext>
            </a:extLst>
          </p:cNvPr>
          <p:cNvCxnSpPr>
            <a:cxnSpLocks/>
          </p:cNvCxnSpPr>
          <p:nvPr/>
        </p:nvCxnSpPr>
        <p:spPr>
          <a:xfrm>
            <a:off x="3628996" y="3829081"/>
            <a:ext cx="0" cy="80130"/>
          </a:xfrm>
          <a:prstGeom prst="line">
            <a:avLst/>
          </a:prstGeom>
          <a:ln w="19050">
            <a:solidFill>
              <a:srgbClr val="2C5E77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76" name="Straight Connector 1075">
            <a:extLst>
              <a:ext uri="{FF2B5EF4-FFF2-40B4-BE49-F238E27FC236}">
                <a16:creationId xmlns:a16="http://schemas.microsoft.com/office/drawing/2014/main" id="{46C74058-00E6-706E-AE0A-0120A67885BC}"/>
              </a:ext>
            </a:extLst>
          </p:cNvPr>
          <p:cNvCxnSpPr>
            <a:cxnSpLocks/>
          </p:cNvCxnSpPr>
          <p:nvPr/>
        </p:nvCxnSpPr>
        <p:spPr>
          <a:xfrm>
            <a:off x="3619471" y="3829081"/>
            <a:ext cx="0" cy="80130"/>
          </a:xfrm>
          <a:prstGeom prst="line">
            <a:avLst/>
          </a:prstGeom>
          <a:ln w="19050">
            <a:solidFill>
              <a:srgbClr val="2C5E77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77" name="Straight Connector 1076">
            <a:extLst>
              <a:ext uri="{FF2B5EF4-FFF2-40B4-BE49-F238E27FC236}">
                <a16:creationId xmlns:a16="http://schemas.microsoft.com/office/drawing/2014/main" id="{B77B8F19-8158-4E34-FEFC-B83302B736E5}"/>
              </a:ext>
            </a:extLst>
          </p:cNvPr>
          <p:cNvCxnSpPr>
            <a:cxnSpLocks/>
          </p:cNvCxnSpPr>
          <p:nvPr/>
        </p:nvCxnSpPr>
        <p:spPr>
          <a:xfrm>
            <a:off x="3607565" y="3829081"/>
            <a:ext cx="0" cy="80130"/>
          </a:xfrm>
          <a:prstGeom prst="line">
            <a:avLst/>
          </a:prstGeom>
          <a:ln w="19050">
            <a:solidFill>
              <a:srgbClr val="2C5E77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78" name="Straight Connector 1077">
            <a:extLst>
              <a:ext uri="{FF2B5EF4-FFF2-40B4-BE49-F238E27FC236}">
                <a16:creationId xmlns:a16="http://schemas.microsoft.com/office/drawing/2014/main" id="{402E0A26-9D7C-B59C-35E3-8C102F649ED8}"/>
              </a:ext>
            </a:extLst>
          </p:cNvPr>
          <p:cNvCxnSpPr>
            <a:cxnSpLocks/>
          </p:cNvCxnSpPr>
          <p:nvPr/>
        </p:nvCxnSpPr>
        <p:spPr>
          <a:xfrm>
            <a:off x="3598040" y="3829081"/>
            <a:ext cx="0" cy="80130"/>
          </a:xfrm>
          <a:prstGeom prst="line">
            <a:avLst/>
          </a:prstGeom>
          <a:ln w="19050">
            <a:solidFill>
              <a:srgbClr val="2C5E77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79" name="Straight Connector 1078">
            <a:extLst>
              <a:ext uri="{FF2B5EF4-FFF2-40B4-BE49-F238E27FC236}">
                <a16:creationId xmlns:a16="http://schemas.microsoft.com/office/drawing/2014/main" id="{3AF34533-242F-93D9-3264-AF6C0A3EC460}"/>
              </a:ext>
            </a:extLst>
          </p:cNvPr>
          <p:cNvCxnSpPr>
            <a:cxnSpLocks/>
          </p:cNvCxnSpPr>
          <p:nvPr/>
        </p:nvCxnSpPr>
        <p:spPr>
          <a:xfrm>
            <a:off x="3581371" y="3829081"/>
            <a:ext cx="0" cy="80130"/>
          </a:xfrm>
          <a:prstGeom prst="line">
            <a:avLst/>
          </a:prstGeom>
          <a:ln w="19050">
            <a:solidFill>
              <a:srgbClr val="2C5E77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80" name="Straight Connector 1079">
            <a:extLst>
              <a:ext uri="{FF2B5EF4-FFF2-40B4-BE49-F238E27FC236}">
                <a16:creationId xmlns:a16="http://schemas.microsoft.com/office/drawing/2014/main" id="{7C551905-3F35-3E1E-9D87-3C3F5A2B2521}"/>
              </a:ext>
            </a:extLst>
          </p:cNvPr>
          <p:cNvCxnSpPr>
            <a:cxnSpLocks/>
          </p:cNvCxnSpPr>
          <p:nvPr/>
        </p:nvCxnSpPr>
        <p:spPr>
          <a:xfrm>
            <a:off x="3569465" y="3829081"/>
            <a:ext cx="0" cy="80130"/>
          </a:xfrm>
          <a:prstGeom prst="line">
            <a:avLst/>
          </a:prstGeom>
          <a:ln w="19050">
            <a:solidFill>
              <a:srgbClr val="2C5E77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81" name="Straight Connector 1080">
            <a:extLst>
              <a:ext uri="{FF2B5EF4-FFF2-40B4-BE49-F238E27FC236}">
                <a16:creationId xmlns:a16="http://schemas.microsoft.com/office/drawing/2014/main" id="{C15E2AD7-C054-8C20-B3C6-8F83363A2DB5}"/>
              </a:ext>
            </a:extLst>
          </p:cNvPr>
          <p:cNvCxnSpPr>
            <a:cxnSpLocks/>
          </p:cNvCxnSpPr>
          <p:nvPr/>
        </p:nvCxnSpPr>
        <p:spPr>
          <a:xfrm>
            <a:off x="3557559" y="3829081"/>
            <a:ext cx="0" cy="80130"/>
          </a:xfrm>
          <a:prstGeom prst="line">
            <a:avLst/>
          </a:prstGeom>
          <a:ln w="19050">
            <a:solidFill>
              <a:srgbClr val="2C5E77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82" name="Straight Connector 1081">
            <a:extLst>
              <a:ext uri="{FF2B5EF4-FFF2-40B4-BE49-F238E27FC236}">
                <a16:creationId xmlns:a16="http://schemas.microsoft.com/office/drawing/2014/main" id="{02DC438F-D349-44C8-93CC-1D7347B9C913}"/>
              </a:ext>
            </a:extLst>
          </p:cNvPr>
          <p:cNvCxnSpPr>
            <a:cxnSpLocks/>
          </p:cNvCxnSpPr>
          <p:nvPr/>
        </p:nvCxnSpPr>
        <p:spPr>
          <a:xfrm>
            <a:off x="3548034" y="3829081"/>
            <a:ext cx="0" cy="80130"/>
          </a:xfrm>
          <a:prstGeom prst="line">
            <a:avLst/>
          </a:prstGeom>
          <a:ln w="19050">
            <a:solidFill>
              <a:srgbClr val="2C5E77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83" name="Straight Connector 1082">
            <a:extLst>
              <a:ext uri="{FF2B5EF4-FFF2-40B4-BE49-F238E27FC236}">
                <a16:creationId xmlns:a16="http://schemas.microsoft.com/office/drawing/2014/main" id="{3F9531C7-A016-0547-4661-B578E54FBD5E}"/>
              </a:ext>
            </a:extLst>
          </p:cNvPr>
          <p:cNvCxnSpPr>
            <a:cxnSpLocks/>
          </p:cNvCxnSpPr>
          <p:nvPr/>
        </p:nvCxnSpPr>
        <p:spPr>
          <a:xfrm>
            <a:off x="3538509" y="3829081"/>
            <a:ext cx="0" cy="80130"/>
          </a:xfrm>
          <a:prstGeom prst="line">
            <a:avLst/>
          </a:prstGeom>
          <a:ln w="19050">
            <a:solidFill>
              <a:srgbClr val="2C5E77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84" name="Straight Connector 1083">
            <a:extLst>
              <a:ext uri="{FF2B5EF4-FFF2-40B4-BE49-F238E27FC236}">
                <a16:creationId xmlns:a16="http://schemas.microsoft.com/office/drawing/2014/main" id="{4E32C16B-BEC6-8E8B-A863-6CEFD4F16160}"/>
              </a:ext>
            </a:extLst>
          </p:cNvPr>
          <p:cNvCxnSpPr>
            <a:cxnSpLocks/>
          </p:cNvCxnSpPr>
          <p:nvPr/>
        </p:nvCxnSpPr>
        <p:spPr>
          <a:xfrm>
            <a:off x="3419447" y="3800506"/>
            <a:ext cx="0" cy="80130"/>
          </a:xfrm>
          <a:prstGeom prst="line">
            <a:avLst/>
          </a:prstGeom>
          <a:ln w="19050">
            <a:solidFill>
              <a:srgbClr val="2C5E77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85" name="Straight Connector 1084">
            <a:extLst>
              <a:ext uri="{FF2B5EF4-FFF2-40B4-BE49-F238E27FC236}">
                <a16:creationId xmlns:a16="http://schemas.microsoft.com/office/drawing/2014/main" id="{2279246C-076C-A4F7-3EE7-2845A736E48E}"/>
              </a:ext>
            </a:extLst>
          </p:cNvPr>
          <p:cNvCxnSpPr>
            <a:cxnSpLocks/>
          </p:cNvCxnSpPr>
          <p:nvPr/>
        </p:nvCxnSpPr>
        <p:spPr>
          <a:xfrm>
            <a:off x="3412304" y="3800506"/>
            <a:ext cx="0" cy="80130"/>
          </a:xfrm>
          <a:prstGeom prst="line">
            <a:avLst/>
          </a:prstGeom>
          <a:ln w="19050">
            <a:solidFill>
              <a:srgbClr val="2C5E77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86" name="Straight Connector 1085">
            <a:extLst>
              <a:ext uri="{FF2B5EF4-FFF2-40B4-BE49-F238E27FC236}">
                <a16:creationId xmlns:a16="http://schemas.microsoft.com/office/drawing/2014/main" id="{97BD28B0-C8CB-19C6-A3C7-7494BD7A4E61}"/>
              </a:ext>
            </a:extLst>
          </p:cNvPr>
          <p:cNvCxnSpPr>
            <a:cxnSpLocks/>
          </p:cNvCxnSpPr>
          <p:nvPr/>
        </p:nvCxnSpPr>
        <p:spPr>
          <a:xfrm>
            <a:off x="2786035" y="3800506"/>
            <a:ext cx="0" cy="80130"/>
          </a:xfrm>
          <a:prstGeom prst="line">
            <a:avLst/>
          </a:prstGeom>
          <a:ln w="19050">
            <a:solidFill>
              <a:srgbClr val="2C5E77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87" name="Straight Connector 1086">
            <a:extLst>
              <a:ext uri="{FF2B5EF4-FFF2-40B4-BE49-F238E27FC236}">
                <a16:creationId xmlns:a16="http://schemas.microsoft.com/office/drawing/2014/main" id="{F03917DC-346D-6F53-7F2A-485601CB5CC2}"/>
              </a:ext>
            </a:extLst>
          </p:cNvPr>
          <p:cNvCxnSpPr>
            <a:cxnSpLocks/>
          </p:cNvCxnSpPr>
          <p:nvPr/>
        </p:nvCxnSpPr>
        <p:spPr>
          <a:xfrm>
            <a:off x="2771747" y="3800506"/>
            <a:ext cx="0" cy="80130"/>
          </a:xfrm>
          <a:prstGeom prst="line">
            <a:avLst/>
          </a:prstGeom>
          <a:ln w="19050">
            <a:solidFill>
              <a:srgbClr val="2C5E77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88" name="Straight Connector 1087">
            <a:extLst>
              <a:ext uri="{FF2B5EF4-FFF2-40B4-BE49-F238E27FC236}">
                <a16:creationId xmlns:a16="http://schemas.microsoft.com/office/drawing/2014/main" id="{2DE10B95-EB22-9943-8AE8-66AA8BC6C1E1}"/>
              </a:ext>
            </a:extLst>
          </p:cNvPr>
          <p:cNvCxnSpPr>
            <a:cxnSpLocks/>
          </p:cNvCxnSpPr>
          <p:nvPr/>
        </p:nvCxnSpPr>
        <p:spPr>
          <a:xfrm>
            <a:off x="2762222" y="3800506"/>
            <a:ext cx="0" cy="80130"/>
          </a:xfrm>
          <a:prstGeom prst="line">
            <a:avLst/>
          </a:prstGeom>
          <a:ln w="19050">
            <a:solidFill>
              <a:srgbClr val="2C5E77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89" name="Straight Connector 1088">
            <a:extLst>
              <a:ext uri="{FF2B5EF4-FFF2-40B4-BE49-F238E27FC236}">
                <a16:creationId xmlns:a16="http://schemas.microsoft.com/office/drawing/2014/main" id="{CB09D373-1EB8-3585-CAB4-E73ADE5FF1D6}"/>
              </a:ext>
            </a:extLst>
          </p:cNvPr>
          <p:cNvCxnSpPr>
            <a:cxnSpLocks/>
          </p:cNvCxnSpPr>
          <p:nvPr/>
        </p:nvCxnSpPr>
        <p:spPr>
          <a:xfrm>
            <a:off x="2752697" y="3800506"/>
            <a:ext cx="0" cy="80130"/>
          </a:xfrm>
          <a:prstGeom prst="line">
            <a:avLst/>
          </a:prstGeom>
          <a:ln w="19050">
            <a:solidFill>
              <a:srgbClr val="2C5E77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90" name="Straight Connector 1089">
            <a:extLst>
              <a:ext uri="{FF2B5EF4-FFF2-40B4-BE49-F238E27FC236}">
                <a16:creationId xmlns:a16="http://schemas.microsoft.com/office/drawing/2014/main" id="{0022DAC2-00D1-8A9B-579B-B6F8CA118ADC}"/>
              </a:ext>
            </a:extLst>
          </p:cNvPr>
          <p:cNvCxnSpPr>
            <a:cxnSpLocks/>
          </p:cNvCxnSpPr>
          <p:nvPr/>
        </p:nvCxnSpPr>
        <p:spPr>
          <a:xfrm>
            <a:off x="2743172" y="3800506"/>
            <a:ext cx="0" cy="80130"/>
          </a:xfrm>
          <a:prstGeom prst="line">
            <a:avLst/>
          </a:prstGeom>
          <a:ln w="19050">
            <a:solidFill>
              <a:srgbClr val="2C5E77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91" name="Straight Connector 1090">
            <a:extLst>
              <a:ext uri="{FF2B5EF4-FFF2-40B4-BE49-F238E27FC236}">
                <a16:creationId xmlns:a16="http://schemas.microsoft.com/office/drawing/2014/main" id="{9B55F5B5-6139-6B33-53DC-FFE1B7EFDAFE}"/>
              </a:ext>
            </a:extLst>
          </p:cNvPr>
          <p:cNvCxnSpPr>
            <a:cxnSpLocks/>
          </p:cNvCxnSpPr>
          <p:nvPr/>
        </p:nvCxnSpPr>
        <p:spPr>
          <a:xfrm>
            <a:off x="2733647" y="3800506"/>
            <a:ext cx="0" cy="80130"/>
          </a:xfrm>
          <a:prstGeom prst="line">
            <a:avLst/>
          </a:prstGeom>
          <a:ln w="19050">
            <a:solidFill>
              <a:srgbClr val="2C5E77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92" name="Straight Connector 1091">
            <a:extLst>
              <a:ext uri="{FF2B5EF4-FFF2-40B4-BE49-F238E27FC236}">
                <a16:creationId xmlns:a16="http://schemas.microsoft.com/office/drawing/2014/main" id="{DAD7A48A-BB58-C315-8767-2C50B572EDF3}"/>
              </a:ext>
            </a:extLst>
          </p:cNvPr>
          <p:cNvCxnSpPr>
            <a:cxnSpLocks/>
          </p:cNvCxnSpPr>
          <p:nvPr/>
        </p:nvCxnSpPr>
        <p:spPr>
          <a:xfrm>
            <a:off x="2726503" y="3800506"/>
            <a:ext cx="0" cy="80130"/>
          </a:xfrm>
          <a:prstGeom prst="line">
            <a:avLst/>
          </a:prstGeom>
          <a:ln w="19050">
            <a:solidFill>
              <a:srgbClr val="2C5E77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93" name="Straight Connector 1092">
            <a:extLst>
              <a:ext uri="{FF2B5EF4-FFF2-40B4-BE49-F238E27FC236}">
                <a16:creationId xmlns:a16="http://schemas.microsoft.com/office/drawing/2014/main" id="{140DDAE6-6BAF-8896-010C-9E2DE619DD15}"/>
              </a:ext>
            </a:extLst>
          </p:cNvPr>
          <p:cNvCxnSpPr>
            <a:cxnSpLocks/>
          </p:cNvCxnSpPr>
          <p:nvPr/>
        </p:nvCxnSpPr>
        <p:spPr>
          <a:xfrm>
            <a:off x="2374078" y="3750499"/>
            <a:ext cx="0" cy="80130"/>
          </a:xfrm>
          <a:prstGeom prst="line">
            <a:avLst/>
          </a:prstGeom>
          <a:ln w="19050">
            <a:solidFill>
              <a:srgbClr val="2C5E77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94" name="Straight Connector 1093">
            <a:extLst>
              <a:ext uri="{FF2B5EF4-FFF2-40B4-BE49-F238E27FC236}">
                <a16:creationId xmlns:a16="http://schemas.microsoft.com/office/drawing/2014/main" id="{EC0D17B5-365E-93EE-7ADB-CD657D6A29F3}"/>
              </a:ext>
            </a:extLst>
          </p:cNvPr>
          <p:cNvCxnSpPr>
            <a:cxnSpLocks/>
          </p:cNvCxnSpPr>
          <p:nvPr/>
        </p:nvCxnSpPr>
        <p:spPr>
          <a:xfrm>
            <a:off x="2359791" y="3750499"/>
            <a:ext cx="0" cy="80130"/>
          </a:xfrm>
          <a:prstGeom prst="line">
            <a:avLst/>
          </a:prstGeom>
          <a:ln w="19050">
            <a:solidFill>
              <a:srgbClr val="2C5E77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95" name="Straight Connector 1094">
            <a:extLst>
              <a:ext uri="{FF2B5EF4-FFF2-40B4-BE49-F238E27FC236}">
                <a16:creationId xmlns:a16="http://schemas.microsoft.com/office/drawing/2014/main" id="{3210090C-4220-C4EB-2C2B-4FE6117F8313}"/>
              </a:ext>
            </a:extLst>
          </p:cNvPr>
          <p:cNvCxnSpPr>
            <a:cxnSpLocks/>
          </p:cNvCxnSpPr>
          <p:nvPr/>
        </p:nvCxnSpPr>
        <p:spPr>
          <a:xfrm>
            <a:off x="2335978" y="3750499"/>
            <a:ext cx="0" cy="80130"/>
          </a:xfrm>
          <a:prstGeom prst="line">
            <a:avLst/>
          </a:prstGeom>
          <a:ln w="19050">
            <a:solidFill>
              <a:srgbClr val="2C5E77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96" name="Straight Connector 1095">
            <a:extLst>
              <a:ext uri="{FF2B5EF4-FFF2-40B4-BE49-F238E27FC236}">
                <a16:creationId xmlns:a16="http://schemas.microsoft.com/office/drawing/2014/main" id="{310AB667-B4C2-E13C-034B-C1885F7480ED}"/>
              </a:ext>
            </a:extLst>
          </p:cNvPr>
          <p:cNvCxnSpPr>
            <a:cxnSpLocks/>
          </p:cNvCxnSpPr>
          <p:nvPr/>
        </p:nvCxnSpPr>
        <p:spPr>
          <a:xfrm>
            <a:off x="2324072" y="3750499"/>
            <a:ext cx="0" cy="80130"/>
          </a:xfrm>
          <a:prstGeom prst="line">
            <a:avLst/>
          </a:prstGeom>
          <a:ln w="19050">
            <a:solidFill>
              <a:srgbClr val="2C5E77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97" name="Straight Connector 1096">
            <a:extLst>
              <a:ext uri="{FF2B5EF4-FFF2-40B4-BE49-F238E27FC236}">
                <a16:creationId xmlns:a16="http://schemas.microsoft.com/office/drawing/2014/main" id="{6AE5F68A-4E0A-9628-73C9-903E6BBB58B5}"/>
              </a:ext>
            </a:extLst>
          </p:cNvPr>
          <p:cNvCxnSpPr>
            <a:cxnSpLocks/>
          </p:cNvCxnSpPr>
          <p:nvPr/>
        </p:nvCxnSpPr>
        <p:spPr>
          <a:xfrm>
            <a:off x="2181197" y="3750499"/>
            <a:ext cx="0" cy="80130"/>
          </a:xfrm>
          <a:prstGeom prst="line">
            <a:avLst/>
          </a:prstGeom>
          <a:ln w="19050">
            <a:solidFill>
              <a:srgbClr val="2C5E77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98" name="Straight Connector 1097">
            <a:extLst>
              <a:ext uri="{FF2B5EF4-FFF2-40B4-BE49-F238E27FC236}">
                <a16:creationId xmlns:a16="http://schemas.microsoft.com/office/drawing/2014/main" id="{4BF1D161-EC46-29AD-6434-8B2ECAC080D8}"/>
              </a:ext>
            </a:extLst>
          </p:cNvPr>
          <p:cNvCxnSpPr>
            <a:cxnSpLocks/>
          </p:cNvCxnSpPr>
          <p:nvPr/>
        </p:nvCxnSpPr>
        <p:spPr>
          <a:xfrm>
            <a:off x="2169291" y="3750499"/>
            <a:ext cx="0" cy="80130"/>
          </a:xfrm>
          <a:prstGeom prst="line">
            <a:avLst/>
          </a:prstGeom>
          <a:ln w="19050">
            <a:solidFill>
              <a:srgbClr val="2C5E77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99" name="Straight Connector 1098">
            <a:extLst>
              <a:ext uri="{FF2B5EF4-FFF2-40B4-BE49-F238E27FC236}">
                <a16:creationId xmlns:a16="http://schemas.microsoft.com/office/drawing/2014/main" id="{BC443371-C35B-C2BD-EA82-D0F92AC5CED3}"/>
              </a:ext>
            </a:extLst>
          </p:cNvPr>
          <p:cNvCxnSpPr>
            <a:cxnSpLocks/>
          </p:cNvCxnSpPr>
          <p:nvPr/>
        </p:nvCxnSpPr>
        <p:spPr>
          <a:xfrm>
            <a:off x="1909734" y="3750499"/>
            <a:ext cx="0" cy="80130"/>
          </a:xfrm>
          <a:prstGeom prst="line">
            <a:avLst/>
          </a:prstGeom>
          <a:ln w="19050">
            <a:solidFill>
              <a:srgbClr val="2C5E77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00" name="Straight Connector 1099">
            <a:extLst>
              <a:ext uri="{FF2B5EF4-FFF2-40B4-BE49-F238E27FC236}">
                <a16:creationId xmlns:a16="http://schemas.microsoft.com/office/drawing/2014/main" id="{7ED1477B-48BD-15AC-9ED1-E079215D081D}"/>
              </a:ext>
            </a:extLst>
          </p:cNvPr>
          <p:cNvCxnSpPr>
            <a:cxnSpLocks/>
          </p:cNvCxnSpPr>
          <p:nvPr/>
        </p:nvCxnSpPr>
        <p:spPr>
          <a:xfrm>
            <a:off x="1895446" y="3750499"/>
            <a:ext cx="0" cy="80130"/>
          </a:xfrm>
          <a:prstGeom prst="line">
            <a:avLst/>
          </a:prstGeom>
          <a:ln w="19050">
            <a:solidFill>
              <a:srgbClr val="2C5E77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01" name="Straight Connector 1100">
            <a:extLst>
              <a:ext uri="{FF2B5EF4-FFF2-40B4-BE49-F238E27FC236}">
                <a16:creationId xmlns:a16="http://schemas.microsoft.com/office/drawing/2014/main" id="{FEB87E9F-FEB7-3E5D-AC75-9D0D9CA03DF3}"/>
              </a:ext>
            </a:extLst>
          </p:cNvPr>
          <p:cNvCxnSpPr>
            <a:cxnSpLocks/>
          </p:cNvCxnSpPr>
          <p:nvPr/>
        </p:nvCxnSpPr>
        <p:spPr>
          <a:xfrm>
            <a:off x="1716852" y="3702874"/>
            <a:ext cx="0" cy="80130"/>
          </a:xfrm>
          <a:prstGeom prst="line">
            <a:avLst/>
          </a:prstGeom>
          <a:ln w="19050">
            <a:solidFill>
              <a:srgbClr val="2C5E77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02" name="Straight Connector 1101">
            <a:extLst>
              <a:ext uri="{FF2B5EF4-FFF2-40B4-BE49-F238E27FC236}">
                <a16:creationId xmlns:a16="http://schemas.microsoft.com/office/drawing/2014/main" id="{8AEC4205-47F1-7016-A865-B09D934C2E63}"/>
              </a:ext>
            </a:extLst>
          </p:cNvPr>
          <p:cNvCxnSpPr>
            <a:cxnSpLocks/>
          </p:cNvCxnSpPr>
          <p:nvPr/>
        </p:nvCxnSpPr>
        <p:spPr>
          <a:xfrm>
            <a:off x="1702565" y="3702874"/>
            <a:ext cx="0" cy="80130"/>
          </a:xfrm>
          <a:prstGeom prst="line">
            <a:avLst/>
          </a:prstGeom>
          <a:ln w="19050">
            <a:solidFill>
              <a:srgbClr val="2C5E77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03" name="Straight Connector 1102">
            <a:extLst>
              <a:ext uri="{FF2B5EF4-FFF2-40B4-BE49-F238E27FC236}">
                <a16:creationId xmlns:a16="http://schemas.microsoft.com/office/drawing/2014/main" id="{E0897716-CDB2-3122-F15F-48C36E75B7F1}"/>
              </a:ext>
            </a:extLst>
          </p:cNvPr>
          <p:cNvCxnSpPr>
            <a:cxnSpLocks/>
          </p:cNvCxnSpPr>
          <p:nvPr/>
        </p:nvCxnSpPr>
        <p:spPr>
          <a:xfrm>
            <a:off x="1528734" y="3688586"/>
            <a:ext cx="0" cy="80130"/>
          </a:xfrm>
          <a:prstGeom prst="line">
            <a:avLst/>
          </a:prstGeom>
          <a:ln w="19050">
            <a:solidFill>
              <a:srgbClr val="2C5E77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04" name="Straight Connector 1103">
            <a:extLst>
              <a:ext uri="{FF2B5EF4-FFF2-40B4-BE49-F238E27FC236}">
                <a16:creationId xmlns:a16="http://schemas.microsoft.com/office/drawing/2014/main" id="{7293A67F-6D43-6862-1E40-33F31FD1AA65}"/>
              </a:ext>
            </a:extLst>
          </p:cNvPr>
          <p:cNvCxnSpPr>
            <a:cxnSpLocks/>
          </p:cNvCxnSpPr>
          <p:nvPr/>
        </p:nvCxnSpPr>
        <p:spPr>
          <a:xfrm>
            <a:off x="1519209" y="3688586"/>
            <a:ext cx="0" cy="80130"/>
          </a:xfrm>
          <a:prstGeom prst="line">
            <a:avLst/>
          </a:prstGeom>
          <a:ln w="19050">
            <a:solidFill>
              <a:srgbClr val="2C5E77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05" name="Straight Connector 1104">
            <a:extLst>
              <a:ext uri="{FF2B5EF4-FFF2-40B4-BE49-F238E27FC236}">
                <a16:creationId xmlns:a16="http://schemas.microsoft.com/office/drawing/2014/main" id="{D3E3DC2B-3F6D-C406-5092-B28CF043BC7E}"/>
              </a:ext>
            </a:extLst>
          </p:cNvPr>
          <p:cNvCxnSpPr>
            <a:cxnSpLocks/>
          </p:cNvCxnSpPr>
          <p:nvPr/>
        </p:nvCxnSpPr>
        <p:spPr>
          <a:xfrm>
            <a:off x="1488253" y="3655248"/>
            <a:ext cx="0" cy="80130"/>
          </a:xfrm>
          <a:prstGeom prst="line">
            <a:avLst/>
          </a:prstGeom>
          <a:ln w="19050">
            <a:solidFill>
              <a:srgbClr val="2C5E77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06" name="Straight Connector 1105">
            <a:extLst>
              <a:ext uri="{FF2B5EF4-FFF2-40B4-BE49-F238E27FC236}">
                <a16:creationId xmlns:a16="http://schemas.microsoft.com/office/drawing/2014/main" id="{B6A55AA0-E092-566D-4640-5AE90F4B09C6}"/>
              </a:ext>
            </a:extLst>
          </p:cNvPr>
          <p:cNvCxnSpPr>
            <a:cxnSpLocks/>
          </p:cNvCxnSpPr>
          <p:nvPr/>
        </p:nvCxnSpPr>
        <p:spPr>
          <a:xfrm>
            <a:off x="1473965" y="3655248"/>
            <a:ext cx="0" cy="80130"/>
          </a:xfrm>
          <a:prstGeom prst="line">
            <a:avLst/>
          </a:prstGeom>
          <a:ln w="19050">
            <a:solidFill>
              <a:srgbClr val="2C5E77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07" name="Straight Connector 1106">
            <a:extLst>
              <a:ext uri="{FF2B5EF4-FFF2-40B4-BE49-F238E27FC236}">
                <a16:creationId xmlns:a16="http://schemas.microsoft.com/office/drawing/2014/main" id="{5D340D51-84BE-DAE6-3D49-4F7B81C34D5D}"/>
              </a:ext>
            </a:extLst>
          </p:cNvPr>
          <p:cNvCxnSpPr>
            <a:cxnSpLocks/>
          </p:cNvCxnSpPr>
          <p:nvPr/>
        </p:nvCxnSpPr>
        <p:spPr>
          <a:xfrm>
            <a:off x="1290609" y="3579048"/>
            <a:ext cx="0" cy="80130"/>
          </a:xfrm>
          <a:prstGeom prst="line">
            <a:avLst/>
          </a:prstGeom>
          <a:ln w="19050">
            <a:solidFill>
              <a:srgbClr val="2C5E77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08" name="Straight Connector 1107">
            <a:extLst>
              <a:ext uri="{FF2B5EF4-FFF2-40B4-BE49-F238E27FC236}">
                <a16:creationId xmlns:a16="http://schemas.microsoft.com/office/drawing/2014/main" id="{22373C5D-BCB3-CB98-DC5F-EAB3DFFACF45}"/>
              </a:ext>
            </a:extLst>
          </p:cNvPr>
          <p:cNvCxnSpPr>
            <a:cxnSpLocks/>
          </p:cNvCxnSpPr>
          <p:nvPr/>
        </p:nvCxnSpPr>
        <p:spPr>
          <a:xfrm>
            <a:off x="1269177" y="3393311"/>
            <a:ext cx="0" cy="80130"/>
          </a:xfrm>
          <a:prstGeom prst="line">
            <a:avLst/>
          </a:prstGeom>
          <a:ln w="19050">
            <a:solidFill>
              <a:srgbClr val="2C5E77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09" name="Straight Connector 1108">
            <a:extLst>
              <a:ext uri="{FF2B5EF4-FFF2-40B4-BE49-F238E27FC236}">
                <a16:creationId xmlns:a16="http://schemas.microsoft.com/office/drawing/2014/main" id="{32579CD2-A655-EFAB-1742-7259CC26118F}"/>
              </a:ext>
            </a:extLst>
          </p:cNvPr>
          <p:cNvCxnSpPr>
            <a:cxnSpLocks/>
          </p:cNvCxnSpPr>
          <p:nvPr/>
        </p:nvCxnSpPr>
        <p:spPr>
          <a:xfrm>
            <a:off x="1250127" y="3340923"/>
            <a:ext cx="0" cy="80130"/>
          </a:xfrm>
          <a:prstGeom prst="line">
            <a:avLst/>
          </a:prstGeom>
          <a:ln w="19050">
            <a:solidFill>
              <a:srgbClr val="2C5E77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10" name="Straight Connector 1109">
            <a:extLst>
              <a:ext uri="{FF2B5EF4-FFF2-40B4-BE49-F238E27FC236}">
                <a16:creationId xmlns:a16="http://schemas.microsoft.com/office/drawing/2014/main" id="{625BE1CD-E670-8CE4-F518-20E7BB81C376}"/>
              </a:ext>
            </a:extLst>
          </p:cNvPr>
          <p:cNvCxnSpPr>
            <a:cxnSpLocks/>
          </p:cNvCxnSpPr>
          <p:nvPr/>
        </p:nvCxnSpPr>
        <p:spPr>
          <a:xfrm>
            <a:off x="1192977" y="3121848"/>
            <a:ext cx="0" cy="80130"/>
          </a:xfrm>
          <a:prstGeom prst="line">
            <a:avLst/>
          </a:prstGeom>
          <a:ln w="19050">
            <a:solidFill>
              <a:srgbClr val="2C5E77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11" name="Straight Connector 1110">
            <a:extLst>
              <a:ext uri="{FF2B5EF4-FFF2-40B4-BE49-F238E27FC236}">
                <a16:creationId xmlns:a16="http://schemas.microsoft.com/office/drawing/2014/main" id="{4556AA19-8E1A-E7D1-D93B-35F63911284C}"/>
              </a:ext>
            </a:extLst>
          </p:cNvPr>
          <p:cNvCxnSpPr>
            <a:cxnSpLocks/>
          </p:cNvCxnSpPr>
          <p:nvPr/>
        </p:nvCxnSpPr>
        <p:spPr>
          <a:xfrm>
            <a:off x="1147733" y="3007548"/>
            <a:ext cx="0" cy="80130"/>
          </a:xfrm>
          <a:prstGeom prst="line">
            <a:avLst/>
          </a:prstGeom>
          <a:ln w="19050">
            <a:solidFill>
              <a:srgbClr val="2C5E77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12" name="Straight Connector 1111">
            <a:extLst>
              <a:ext uri="{FF2B5EF4-FFF2-40B4-BE49-F238E27FC236}">
                <a16:creationId xmlns:a16="http://schemas.microsoft.com/office/drawing/2014/main" id="{1DCA6B5E-373E-AEFF-4E2C-9837EC7551E9}"/>
              </a:ext>
            </a:extLst>
          </p:cNvPr>
          <p:cNvCxnSpPr>
            <a:cxnSpLocks/>
          </p:cNvCxnSpPr>
          <p:nvPr/>
        </p:nvCxnSpPr>
        <p:spPr>
          <a:xfrm>
            <a:off x="1145352" y="2917061"/>
            <a:ext cx="0" cy="80130"/>
          </a:xfrm>
          <a:prstGeom prst="line">
            <a:avLst/>
          </a:prstGeom>
          <a:ln w="19050">
            <a:solidFill>
              <a:srgbClr val="2C5E77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13" name="Straight Connector 1112">
            <a:extLst>
              <a:ext uri="{FF2B5EF4-FFF2-40B4-BE49-F238E27FC236}">
                <a16:creationId xmlns:a16="http://schemas.microsoft.com/office/drawing/2014/main" id="{E90C760C-A88F-3EAC-79CC-E002E250EC7E}"/>
              </a:ext>
            </a:extLst>
          </p:cNvPr>
          <p:cNvCxnSpPr>
            <a:cxnSpLocks/>
          </p:cNvCxnSpPr>
          <p:nvPr/>
        </p:nvCxnSpPr>
        <p:spPr>
          <a:xfrm>
            <a:off x="1123921" y="2652743"/>
            <a:ext cx="0" cy="80130"/>
          </a:xfrm>
          <a:prstGeom prst="line">
            <a:avLst/>
          </a:prstGeom>
          <a:ln w="19050">
            <a:solidFill>
              <a:srgbClr val="2C5E77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14" name="Straight Connector 1113">
            <a:extLst>
              <a:ext uri="{FF2B5EF4-FFF2-40B4-BE49-F238E27FC236}">
                <a16:creationId xmlns:a16="http://schemas.microsoft.com/office/drawing/2014/main" id="{362B56BD-CC70-960C-132D-20F7CCFE8B54}"/>
              </a:ext>
            </a:extLst>
          </p:cNvPr>
          <p:cNvCxnSpPr>
            <a:cxnSpLocks/>
          </p:cNvCxnSpPr>
          <p:nvPr/>
        </p:nvCxnSpPr>
        <p:spPr>
          <a:xfrm>
            <a:off x="1076296" y="2578924"/>
            <a:ext cx="0" cy="80130"/>
          </a:xfrm>
          <a:prstGeom prst="line">
            <a:avLst/>
          </a:prstGeom>
          <a:ln w="19050">
            <a:solidFill>
              <a:srgbClr val="2C5E77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74471288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E937053-F76D-C1DB-185B-EB957C7E9A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E388CF-68FC-8AEC-6D6B-5D022E0A6C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0645" y="311858"/>
            <a:ext cx="9789459" cy="632402"/>
          </a:xfrm>
        </p:spPr>
        <p:txBody>
          <a:bodyPr/>
          <a:lstStyle/>
          <a:p>
            <a:r>
              <a:rPr lang="en-GB" dirty="0">
                <a:latin typeface="+mn-lt"/>
              </a:rPr>
              <a:t>Bispecific antibodies as monotherapies in 3L</a:t>
            </a:r>
            <a:endParaRPr lang="en-GB" baseline="30000" dirty="0">
              <a:latin typeface="+mn-lt"/>
            </a:endParaRPr>
          </a:p>
        </p:txBody>
      </p:sp>
      <p:sp>
        <p:nvSpPr>
          <p:cNvPr id="101" name="Slide Number Placeholder 2">
            <a:extLst>
              <a:ext uri="{FF2B5EF4-FFF2-40B4-BE49-F238E27FC236}">
                <a16:creationId xmlns:a16="http://schemas.microsoft.com/office/drawing/2014/main" id="{13EC94C3-F81A-5538-67E1-496339650D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01CC8E-1CEF-6746-999E-CF29FF00B1D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82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2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8708B6A-B0FA-8B79-A6BF-032222AF53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70645" y="5957615"/>
            <a:ext cx="10440000" cy="762335"/>
          </a:xfrm>
        </p:spPr>
        <p:txBody>
          <a:bodyPr/>
          <a:lstStyle/>
          <a:p>
            <a:r>
              <a:rPr lang="en-GB" b="1" dirty="0"/>
              <a:t>Direct comparisons between study results cannot be made due to differences in study design, patient populations, and endpoints; the information is presented for contextual purposes only. </a:t>
            </a:r>
          </a:p>
          <a:p>
            <a:r>
              <a:rPr lang="en-GB" dirty="0"/>
              <a:t>*</a:t>
            </a:r>
            <a:r>
              <a:rPr lang="en-GB" dirty="0">
                <a:solidFill>
                  <a:srgbClr val="585854"/>
                </a:solidFill>
                <a:ea typeface="Arial" pitchFamily="34" charset="-122"/>
                <a:cs typeface="Arial" pitchFamily="34" charset="-120"/>
              </a:rPr>
              <a:t>Median follow-up in the NP30179 trial</a:t>
            </a:r>
            <a:r>
              <a:rPr lang="en-CH" dirty="0">
                <a:solidFill>
                  <a:srgbClr val="585854"/>
                </a:solidFill>
                <a:ea typeface="Arial" pitchFamily="34" charset="-122"/>
                <a:cs typeface="Arial" pitchFamily="34" charset="-120"/>
              </a:rPr>
              <a:t> of</a:t>
            </a:r>
            <a:r>
              <a:rPr lang="en-GB" dirty="0">
                <a:solidFill>
                  <a:srgbClr val="585854"/>
                </a:solidFill>
                <a:ea typeface="Arial" pitchFamily="34" charset="-122"/>
                <a:cs typeface="Arial" pitchFamily="34" charset="-120"/>
              </a:rPr>
              <a:t> 12.6 months. †Median follow-up in the EPCORE NHL-1 trial</a:t>
            </a:r>
            <a:r>
              <a:rPr lang="en-CH" dirty="0">
                <a:solidFill>
                  <a:srgbClr val="585854"/>
                </a:solidFill>
                <a:ea typeface="Arial" pitchFamily="34" charset="-122"/>
                <a:cs typeface="Arial" pitchFamily="34" charset="-120"/>
              </a:rPr>
              <a:t> of</a:t>
            </a:r>
            <a:r>
              <a:rPr lang="en-GB" dirty="0">
                <a:solidFill>
                  <a:srgbClr val="585854"/>
                </a:solidFill>
                <a:ea typeface="Arial" pitchFamily="34" charset="-122"/>
                <a:cs typeface="Arial" pitchFamily="34" charset="-120"/>
              </a:rPr>
              <a:t> </a:t>
            </a:r>
            <a:r>
              <a:rPr lang="en-CH" dirty="0">
                <a:solidFill>
                  <a:srgbClr val="585854"/>
                </a:solidFill>
                <a:ea typeface="Arial" pitchFamily="34" charset="-122"/>
                <a:cs typeface="Arial" pitchFamily="34" charset="-120"/>
              </a:rPr>
              <a:t>25.1</a:t>
            </a:r>
            <a:r>
              <a:rPr lang="en-GB" dirty="0">
                <a:solidFill>
                  <a:srgbClr val="585854"/>
                </a:solidFill>
                <a:ea typeface="Arial" pitchFamily="34" charset="-122"/>
                <a:cs typeface="Arial" pitchFamily="34" charset="-120"/>
              </a:rPr>
              <a:t> months.</a:t>
            </a:r>
            <a:br>
              <a:rPr lang="en-GB" dirty="0"/>
            </a:br>
            <a:r>
              <a:rPr lang="en-GB" dirty="0"/>
              <a:t>3L, third line; CI, confidence interval; PFS, progression-free survival.</a:t>
            </a:r>
          </a:p>
          <a:p>
            <a:r>
              <a:rPr lang="en-GB" b="1" dirty="0"/>
              <a:t>1. </a:t>
            </a:r>
            <a:r>
              <a:rPr lang="en-GB" dirty="0"/>
              <a:t>Dickinson et al. </a:t>
            </a:r>
            <a:r>
              <a:rPr lang="en-GB" i="1" dirty="0"/>
              <a:t>N Engl J Med </a:t>
            </a:r>
            <a:r>
              <a:rPr lang="en-GB" dirty="0"/>
              <a:t>2022</a:t>
            </a:r>
            <a:r>
              <a:rPr lang="en-GB" b="1" dirty="0"/>
              <a:t> 2.</a:t>
            </a:r>
            <a:r>
              <a:rPr lang="en-GB" dirty="0"/>
              <a:t> </a:t>
            </a:r>
            <a:r>
              <a:rPr lang="en-CH" dirty="0" err="1"/>
              <a:t>Thieblemont</a:t>
            </a:r>
            <a:r>
              <a:rPr lang="en-GB" dirty="0"/>
              <a:t> et al. </a:t>
            </a:r>
            <a:r>
              <a:rPr lang="en-CH" i="1" dirty="0" err="1"/>
              <a:t>Leukemia</a:t>
            </a:r>
            <a:r>
              <a:rPr lang="en-CH" dirty="0"/>
              <a:t> 2024</a:t>
            </a:r>
            <a:r>
              <a:rPr lang="en-GB" dirty="0"/>
              <a:t>.</a:t>
            </a:r>
          </a:p>
        </p:txBody>
      </p:sp>
      <p:sp>
        <p:nvSpPr>
          <p:cNvPr id="30" name="Content Placeholder 1">
            <a:extLst>
              <a:ext uri="{FF2B5EF4-FFF2-40B4-BE49-F238E27FC236}">
                <a16:creationId xmlns:a16="http://schemas.microsoft.com/office/drawing/2014/main" id="{EC00B5DA-957B-9220-2C81-087F8F53E8C2}"/>
              </a:ext>
            </a:extLst>
          </p:cNvPr>
          <p:cNvSpPr txBox="1">
            <a:spLocks/>
          </p:cNvSpPr>
          <p:nvPr/>
        </p:nvSpPr>
        <p:spPr>
          <a:xfrm>
            <a:off x="3645329" y="2734415"/>
            <a:ext cx="1647070" cy="624210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500" b="1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75000"/>
                    <a:lumOff val="2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Median PFS</a:t>
            </a:r>
            <a:r>
              <a:rPr kumimoji="0" lang="en-GB" sz="1500" b="0" i="0" u="none" strike="noStrike" kern="1200" cap="none" spc="0" normalizeH="0" baseline="30000" noProof="0">
                <a:ln>
                  <a:noFill/>
                </a:ln>
                <a:solidFill>
                  <a:srgbClr val="585854">
                    <a:lumMod val="75000"/>
                    <a:lumOff val="2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b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75000"/>
                    <a:lumOff val="2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GB" sz="1900" b="1" i="0" u="none" strike="noStrike" kern="1200" cap="none" spc="0" normalizeH="0" baseline="0" noProof="0">
                <a:ln>
                  <a:noFill/>
                </a:ln>
                <a:solidFill>
                  <a:srgbClr val="4CA1A6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4.9 months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75000"/>
                    <a:lumOff val="2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(95% CI: 3.4–8.1)</a:t>
            </a:r>
            <a:endParaRPr kumimoji="0" lang="en-GB" sz="11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3970981-D6EA-625D-47B2-2F7927E9C11F}"/>
              </a:ext>
            </a:extLst>
          </p:cNvPr>
          <p:cNvSpPr txBox="1"/>
          <p:nvPr/>
        </p:nvSpPr>
        <p:spPr>
          <a:xfrm>
            <a:off x="470645" y="5091679"/>
            <a:ext cx="864066" cy="11519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No. at risk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E94E274-5132-C8CB-C26A-2164751BF598}"/>
              </a:ext>
            </a:extLst>
          </p:cNvPr>
          <p:cNvSpPr txBox="1"/>
          <p:nvPr/>
        </p:nvSpPr>
        <p:spPr>
          <a:xfrm>
            <a:off x="1336185" y="5143768"/>
            <a:ext cx="89895" cy="115198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55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C467921-6064-4C7A-00DD-EAE60B6C8D05}"/>
              </a:ext>
            </a:extLst>
          </p:cNvPr>
          <p:cNvSpPr txBox="1"/>
          <p:nvPr/>
        </p:nvSpPr>
        <p:spPr>
          <a:xfrm>
            <a:off x="1864040" y="5143768"/>
            <a:ext cx="89895" cy="115198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92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C934D82-76CA-E07D-A97C-619E8158484A}"/>
              </a:ext>
            </a:extLst>
          </p:cNvPr>
          <p:cNvSpPr txBox="1"/>
          <p:nvPr/>
        </p:nvSpPr>
        <p:spPr>
          <a:xfrm>
            <a:off x="2375522" y="5143768"/>
            <a:ext cx="89895" cy="115198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47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2D61A67-498F-88D9-7EB1-C640DF9B5D4A}"/>
              </a:ext>
            </a:extLst>
          </p:cNvPr>
          <p:cNvSpPr txBox="1"/>
          <p:nvPr/>
        </p:nvSpPr>
        <p:spPr>
          <a:xfrm>
            <a:off x="2887004" y="5143768"/>
            <a:ext cx="89895" cy="115198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35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5B43001-BC55-832F-CB3C-74E801ECD855}"/>
              </a:ext>
            </a:extLst>
          </p:cNvPr>
          <p:cNvSpPr txBox="1"/>
          <p:nvPr/>
        </p:nvSpPr>
        <p:spPr>
          <a:xfrm>
            <a:off x="3398681" y="5143768"/>
            <a:ext cx="89895" cy="115198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29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6001287-2BD7-E3F6-3C93-96DC98EB8AE7}"/>
              </a:ext>
            </a:extLst>
          </p:cNvPr>
          <p:cNvSpPr txBox="1"/>
          <p:nvPr/>
        </p:nvSpPr>
        <p:spPr>
          <a:xfrm>
            <a:off x="3914192" y="5143768"/>
            <a:ext cx="89895" cy="115198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8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BE6AA9C0-13CC-33E7-F4E5-3F000FD24216}"/>
              </a:ext>
            </a:extLst>
          </p:cNvPr>
          <p:cNvSpPr txBox="1"/>
          <p:nvPr/>
        </p:nvSpPr>
        <p:spPr>
          <a:xfrm>
            <a:off x="4414269" y="5143768"/>
            <a:ext cx="89895" cy="115198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3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0B200C7A-7C0F-0260-CF60-66965C46DBF1}"/>
              </a:ext>
            </a:extLst>
          </p:cNvPr>
          <p:cNvSpPr txBox="1"/>
          <p:nvPr/>
        </p:nvSpPr>
        <p:spPr>
          <a:xfrm>
            <a:off x="4931425" y="5143768"/>
            <a:ext cx="89895" cy="115198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0D049112-0834-34F5-4B52-B4AE996ED22A}"/>
              </a:ext>
            </a:extLst>
          </p:cNvPr>
          <p:cNvSpPr txBox="1"/>
          <p:nvPr/>
        </p:nvSpPr>
        <p:spPr>
          <a:xfrm>
            <a:off x="5399737" y="5143768"/>
            <a:ext cx="177942" cy="115198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0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AA553842-B911-0479-7891-A27634F6AAD6}"/>
              </a:ext>
            </a:extLst>
          </p:cNvPr>
          <p:cNvSpPr txBox="1"/>
          <p:nvPr/>
        </p:nvSpPr>
        <p:spPr>
          <a:xfrm>
            <a:off x="1048430" y="2732218"/>
            <a:ext cx="228337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00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2B943EDB-DF20-E4E3-0EE7-9431B964D299}"/>
              </a:ext>
            </a:extLst>
          </p:cNvPr>
          <p:cNvSpPr txBox="1"/>
          <p:nvPr/>
        </p:nvSpPr>
        <p:spPr>
          <a:xfrm>
            <a:off x="1048430" y="3082922"/>
            <a:ext cx="228337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80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840DA1D1-DA72-2FFD-99DF-82CA8AD1E03D}"/>
              </a:ext>
            </a:extLst>
          </p:cNvPr>
          <p:cNvSpPr txBox="1"/>
          <p:nvPr/>
        </p:nvSpPr>
        <p:spPr>
          <a:xfrm>
            <a:off x="1048430" y="3433626"/>
            <a:ext cx="228337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60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D1574EF0-F990-FCF7-71AD-082894E388A4}"/>
              </a:ext>
            </a:extLst>
          </p:cNvPr>
          <p:cNvSpPr txBox="1"/>
          <p:nvPr/>
        </p:nvSpPr>
        <p:spPr>
          <a:xfrm>
            <a:off x="1048430" y="3784330"/>
            <a:ext cx="228337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40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B8B9670B-D738-E860-753D-81B78F733BF6}"/>
              </a:ext>
            </a:extLst>
          </p:cNvPr>
          <p:cNvSpPr txBox="1"/>
          <p:nvPr/>
        </p:nvSpPr>
        <p:spPr>
          <a:xfrm>
            <a:off x="1048430" y="4135034"/>
            <a:ext cx="228337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20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A7ED871C-9E0E-16DC-8589-2A9C5A46FFD2}"/>
              </a:ext>
            </a:extLst>
          </p:cNvPr>
          <p:cNvSpPr txBox="1"/>
          <p:nvPr/>
        </p:nvSpPr>
        <p:spPr>
          <a:xfrm>
            <a:off x="1186903" y="4485736"/>
            <a:ext cx="89864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0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1DCA2C29-951A-5058-3168-0B9B582AF4B0}"/>
              </a:ext>
            </a:extLst>
          </p:cNvPr>
          <p:cNvSpPr txBox="1"/>
          <p:nvPr/>
        </p:nvSpPr>
        <p:spPr>
          <a:xfrm rot="16200000">
            <a:off x="-142006" y="3617282"/>
            <a:ext cx="1924304" cy="169007"/>
          </a:xfrm>
          <a:prstGeom prst="rect">
            <a:avLst/>
          </a:prstGeom>
          <a:noFill/>
        </p:spPr>
        <p:txBody>
          <a:bodyPr wrap="non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Cumulative Incidence, %</a:t>
            </a: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87F76C36-C28C-C625-31A4-8A4EA6B745E5}"/>
              </a:ext>
            </a:extLst>
          </p:cNvPr>
          <p:cNvCxnSpPr>
            <a:cxnSpLocks/>
          </p:cNvCxnSpPr>
          <p:nvPr/>
        </p:nvCxnSpPr>
        <p:spPr>
          <a:xfrm>
            <a:off x="1381132" y="2786929"/>
            <a:ext cx="0" cy="182880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D97BB37D-D35A-D948-B4D1-13BF7593F40A}"/>
              </a:ext>
            </a:extLst>
          </p:cNvPr>
          <p:cNvCxnSpPr>
            <a:cxnSpLocks/>
          </p:cNvCxnSpPr>
          <p:nvPr/>
        </p:nvCxnSpPr>
        <p:spPr>
          <a:xfrm>
            <a:off x="1308206" y="2791651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1BC47FC1-A848-6D0F-945B-AF893EAB9621}"/>
              </a:ext>
            </a:extLst>
          </p:cNvPr>
          <p:cNvCxnSpPr>
            <a:cxnSpLocks/>
          </p:cNvCxnSpPr>
          <p:nvPr/>
        </p:nvCxnSpPr>
        <p:spPr>
          <a:xfrm>
            <a:off x="1308206" y="3142067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D2199FD8-7C79-0BAA-CB8A-2F18094816F0}"/>
              </a:ext>
            </a:extLst>
          </p:cNvPr>
          <p:cNvCxnSpPr>
            <a:cxnSpLocks/>
          </p:cNvCxnSpPr>
          <p:nvPr/>
        </p:nvCxnSpPr>
        <p:spPr>
          <a:xfrm>
            <a:off x="1308206" y="3492483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8EBA25C9-73C3-51D3-F346-40BAFDD97E23}"/>
              </a:ext>
            </a:extLst>
          </p:cNvPr>
          <p:cNvCxnSpPr>
            <a:cxnSpLocks/>
          </p:cNvCxnSpPr>
          <p:nvPr/>
        </p:nvCxnSpPr>
        <p:spPr>
          <a:xfrm>
            <a:off x="1308206" y="4193315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501406C4-B314-6593-56C7-AF7E1C6745B2}"/>
              </a:ext>
            </a:extLst>
          </p:cNvPr>
          <p:cNvCxnSpPr>
            <a:cxnSpLocks/>
          </p:cNvCxnSpPr>
          <p:nvPr/>
        </p:nvCxnSpPr>
        <p:spPr>
          <a:xfrm>
            <a:off x="1308206" y="3842899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7C06CCDC-2351-A9E8-1E0A-5C966E77AFD3}"/>
              </a:ext>
            </a:extLst>
          </p:cNvPr>
          <p:cNvCxnSpPr>
            <a:cxnSpLocks/>
          </p:cNvCxnSpPr>
          <p:nvPr/>
        </p:nvCxnSpPr>
        <p:spPr>
          <a:xfrm>
            <a:off x="1308206" y="4543729"/>
            <a:ext cx="4309565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E41A9B25-847C-F69B-C253-D81DF2F18FF3}"/>
              </a:ext>
            </a:extLst>
          </p:cNvPr>
          <p:cNvCxnSpPr>
            <a:cxnSpLocks/>
          </p:cNvCxnSpPr>
          <p:nvPr/>
        </p:nvCxnSpPr>
        <p:spPr>
          <a:xfrm rot="16200000">
            <a:off x="3923326" y="4579730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B4E7B525-3A18-4E29-7DB4-5B6C87126A78}"/>
              </a:ext>
            </a:extLst>
          </p:cNvPr>
          <p:cNvCxnSpPr>
            <a:cxnSpLocks/>
          </p:cNvCxnSpPr>
          <p:nvPr/>
        </p:nvCxnSpPr>
        <p:spPr>
          <a:xfrm rot="16200000">
            <a:off x="4421487" y="4579730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568BB965-A8BF-29CB-6E02-827637CACA28}"/>
              </a:ext>
            </a:extLst>
          </p:cNvPr>
          <p:cNvCxnSpPr>
            <a:cxnSpLocks/>
          </p:cNvCxnSpPr>
          <p:nvPr/>
        </p:nvCxnSpPr>
        <p:spPr>
          <a:xfrm rot="16200000">
            <a:off x="3404624" y="4579729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7BA33056-3FE2-5536-07A8-2B50FCFCA3CD}"/>
              </a:ext>
            </a:extLst>
          </p:cNvPr>
          <p:cNvCxnSpPr>
            <a:cxnSpLocks/>
          </p:cNvCxnSpPr>
          <p:nvPr/>
        </p:nvCxnSpPr>
        <p:spPr>
          <a:xfrm rot="16200000">
            <a:off x="2382616" y="4579729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0E90329A-27A0-9FF6-519F-25F8F0FA6076}"/>
              </a:ext>
            </a:extLst>
          </p:cNvPr>
          <p:cNvCxnSpPr>
            <a:cxnSpLocks/>
          </p:cNvCxnSpPr>
          <p:nvPr/>
        </p:nvCxnSpPr>
        <p:spPr>
          <a:xfrm rot="16200000">
            <a:off x="1869055" y="4579729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B7C7A2C0-C41D-DDE7-B5B4-7118467712C8}"/>
              </a:ext>
            </a:extLst>
          </p:cNvPr>
          <p:cNvCxnSpPr>
            <a:cxnSpLocks/>
          </p:cNvCxnSpPr>
          <p:nvPr/>
        </p:nvCxnSpPr>
        <p:spPr>
          <a:xfrm rot="16200000">
            <a:off x="2895333" y="4579729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D311CEF0-F821-92F9-6E6E-EBCCA8D5C974}"/>
              </a:ext>
            </a:extLst>
          </p:cNvPr>
          <p:cNvCxnSpPr>
            <a:cxnSpLocks/>
          </p:cNvCxnSpPr>
          <p:nvPr/>
        </p:nvCxnSpPr>
        <p:spPr>
          <a:xfrm rot="16200000">
            <a:off x="4938476" y="4579730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49328AD7-D9D5-D46C-C8E0-D7B2A60BFDC3}"/>
              </a:ext>
            </a:extLst>
          </p:cNvPr>
          <p:cNvCxnSpPr>
            <a:cxnSpLocks/>
          </p:cNvCxnSpPr>
          <p:nvPr/>
        </p:nvCxnSpPr>
        <p:spPr>
          <a:xfrm rot="16200000">
            <a:off x="5451189" y="4579730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TextBox 65">
            <a:extLst>
              <a:ext uri="{FF2B5EF4-FFF2-40B4-BE49-F238E27FC236}">
                <a16:creationId xmlns:a16="http://schemas.microsoft.com/office/drawing/2014/main" id="{937C09AC-2321-058B-238E-3CD96BDE79D8}"/>
              </a:ext>
            </a:extLst>
          </p:cNvPr>
          <p:cNvSpPr txBox="1"/>
          <p:nvPr/>
        </p:nvSpPr>
        <p:spPr>
          <a:xfrm>
            <a:off x="1336200" y="4702482"/>
            <a:ext cx="89864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0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309FC1D2-2B13-78DA-B9D6-795A069A7449}"/>
              </a:ext>
            </a:extLst>
          </p:cNvPr>
          <p:cNvSpPr txBox="1"/>
          <p:nvPr/>
        </p:nvSpPr>
        <p:spPr>
          <a:xfrm>
            <a:off x="1864055" y="4702482"/>
            <a:ext cx="89864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3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F9022725-3876-0A25-C988-7CDDC9606F8B}"/>
              </a:ext>
            </a:extLst>
          </p:cNvPr>
          <p:cNvSpPr txBox="1"/>
          <p:nvPr/>
        </p:nvSpPr>
        <p:spPr>
          <a:xfrm>
            <a:off x="2375537" y="4702482"/>
            <a:ext cx="89864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6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444676A2-87E8-5EDA-9454-575329161FBE}"/>
              </a:ext>
            </a:extLst>
          </p:cNvPr>
          <p:cNvSpPr txBox="1"/>
          <p:nvPr/>
        </p:nvSpPr>
        <p:spPr>
          <a:xfrm>
            <a:off x="2887019" y="4702482"/>
            <a:ext cx="89864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9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45824D80-5A8D-2CF9-7F55-CB36EE97D33D}"/>
              </a:ext>
            </a:extLst>
          </p:cNvPr>
          <p:cNvSpPr txBox="1"/>
          <p:nvPr/>
        </p:nvSpPr>
        <p:spPr>
          <a:xfrm>
            <a:off x="3398696" y="4702482"/>
            <a:ext cx="89864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2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253B9CD5-E40C-21F9-2016-5EA8ECF90CE1}"/>
              </a:ext>
            </a:extLst>
          </p:cNvPr>
          <p:cNvSpPr txBox="1"/>
          <p:nvPr/>
        </p:nvSpPr>
        <p:spPr>
          <a:xfrm>
            <a:off x="3914207" y="4702482"/>
            <a:ext cx="89864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5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C0F5349C-C624-D479-B6C9-17BA98845337}"/>
              </a:ext>
            </a:extLst>
          </p:cNvPr>
          <p:cNvSpPr txBox="1"/>
          <p:nvPr/>
        </p:nvSpPr>
        <p:spPr>
          <a:xfrm>
            <a:off x="4414284" y="4702482"/>
            <a:ext cx="89864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8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2BC9368E-B030-95AF-9377-E54688B2D0CF}"/>
              </a:ext>
            </a:extLst>
          </p:cNvPr>
          <p:cNvSpPr txBox="1"/>
          <p:nvPr/>
        </p:nvSpPr>
        <p:spPr>
          <a:xfrm>
            <a:off x="4931440" y="4702482"/>
            <a:ext cx="89864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21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4F90D309-803C-8226-E66C-66BECD17279B}"/>
              </a:ext>
            </a:extLst>
          </p:cNvPr>
          <p:cNvSpPr txBox="1"/>
          <p:nvPr/>
        </p:nvSpPr>
        <p:spPr>
          <a:xfrm>
            <a:off x="5399768" y="4702482"/>
            <a:ext cx="177880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24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73922E00-95D6-F674-009B-5A30619E1D2B}"/>
              </a:ext>
            </a:extLst>
          </p:cNvPr>
          <p:cNvSpPr txBox="1"/>
          <p:nvPr/>
        </p:nvSpPr>
        <p:spPr>
          <a:xfrm>
            <a:off x="3039921" y="4873097"/>
            <a:ext cx="863766" cy="11530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Months</a:t>
            </a:r>
          </a:p>
        </p:txBody>
      </p:sp>
      <p:sp>
        <p:nvSpPr>
          <p:cNvPr id="79" name="Freeform: Shape 70">
            <a:extLst>
              <a:ext uri="{FF2B5EF4-FFF2-40B4-BE49-F238E27FC236}">
                <a16:creationId xmlns:a16="http://schemas.microsoft.com/office/drawing/2014/main" id="{1AF49DF0-1EB5-7BEB-DD52-7274A48191B8}"/>
              </a:ext>
            </a:extLst>
          </p:cNvPr>
          <p:cNvSpPr/>
          <p:nvPr/>
        </p:nvSpPr>
        <p:spPr>
          <a:xfrm>
            <a:off x="1383562" y="2805092"/>
            <a:ext cx="3781211" cy="1371642"/>
          </a:xfrm>
          <a:custGeom>
            <a:avLst/>
            <a:gdLst>
              <a:gd name="connsiteX0" fmla="*/ 0 w 2552700"/>
              <a:gd name="connsiteY0" fmla="*/ 0 h 1119188"/>
              <a:gd name="connsiteX1" fmla="*/ 33338 w 2552700"/>
              <a:gd name="connsiteY1" fmla="*/ 33338 h 1119188"/>
              <a:gd name="connsiteX2" fmla="*/ 33338 w 2552700"/>
              <a:gd name="connsiteY2" fmla="*/ 76200 h 1119188"/>
              <a:gd name="connsiteX3" fmla="*/ 66675 w 2552700"/>
              <a:gd name="connsiteY3" fmla="*/ 76200 h 1119188"/>
              <a:gd name="connsiteX4" fmla="*/ 66675 w 2552700"/>
              <a:gd name="connsiteY4" fmla="*/ 83344 h 1119188"/>
              <a:gd name="connsiteX5" fmla="*/ 71437 w 2552700"/>
              <a:gd name="connsiteY5" fmla="*/ 83344 h 1119188"/>
              <a:gd name="connsiteX6" fmla="*/ 71437 w 2552700"/>
              <a:gd name="connsiteY6" fmla="*/ 97631 h 1119188"/>
              <a:gd name="connsiteX7" fmla="*/ 78581 w 2552700"/>
              <a:gd name="connsiteY7" fmla="*/ 97631 h 1119188"/>
              <a:gd name="connsiteX8" fmla="*/ 78581 w 2552700"/>
              <a:gd name="connsiteY8" fmla="*/ 111919 h 1119188"/>
              <a:gd name="connsiteX9" fmla="*/ 92869 w 2552700"/>
              <a:gd name="connsiteY9" fmla="*/ 111919 h 1119188"/>
              <a:gd name="connsiteX10" fmla="*/ 92869 w 2552700"/>
              <a:gd name="connsiteY10" fmla="*/ 123825 h 1119188"/>
              <a:gd name="connsiteX11" fmla="*/ 104775 w 2552700"/>
              <a:gd name="connsiteY11" fmla="*/ 123825 h 1119188"/>
              <a:gd name="connsiteX12" fmla="*/ 104775 w 2552700"/>
              <a:gd name="connsiteY12" fmla="*/ 140494 h 1119188"/>
              <a:gd name="connsiteX13" fmla="*/ 119062 w 2552700"/>
              <a:gd name="connsiteY13" fmla="*/ 140494 h 1119188"/>
              <a:gd name="connsiteX14" fmla="*/ 119062 w 2552700"/>
              <a:gd name="connsiteY14" fmla="*/ 150019 h 1119188"/>
              <a:gd name="connsiteX15" fmla="*/ 128587 w 2552700"/>
              <a:gd name="connsiteY15" fmla="*/ 150019 h 1119188"/>
              <a:gd name="connsiteX16" fmla="*/ 128587 w 2552700"/>
              <a:gd name="connsiteY16" fmla="*/ 173831 h 1119188"/>
              <a:gd name="connsiteX17" fmla="*/ 138112 w 2552700"/>
              <a:gd name="connsiteY17" fmla="*/ 173831 h 1119188"/>
              <a:gd name="connsiteX18" fmla="*/ 138112 w 2552700"/>
              <a:gd name="connsiteY18" fmla="*/ 209550 h 1119188"/>
              <a:gd name="connsiteX19" fmla="*/ 138112 w 2552700"/>
              <a:gd name="connsiteY19" fmla="*/ 252413 h 1119188"/>
              <a:gd name="connsiteX20" fmla="*/ 145256 w 2552700"/>
              <a:gd name="connsiteY20" fmla="*/ 252413 h 1119188"/>
              <a:gd name="connsiteX21" fmla="*/ 145256 w 2552700"/>
              <a:gd name="connsiteY21" fmla="*/ 300038 h 1119188"/>
              <a:gd name="connsiteX22" fmla="*/ 150019 w 2552700"/>
              <a:gd name="connsiteY22" fmla="*/ 300038 h 1119188"/>
              <a:gd name="connsiteX23" fmla="*/ 150019 w 2552700"/>
              <a:gd name="connsiteY23" fmla="*/ 319088 h 1119188"/>
              <a:gd name="connsiteX24" fmla="*/ 157162 w 2552700"/>
              <a:gd name="connsiteY24" fmla="*/ 319088 h 1119188"/>
              <a:gd name="connsiteX25" fmla="*/ 157162 w 2552700"/>
              <a:gd name="connsiteY25" fmla="*/ 345281 h 1119188"/>
              <a:gd name="connsiteX26" fmla="*/ 157162 w 2552700"/>
              <a:gd name="connsiteY26" fmla="*/ 347663 h 1119188"/>
              <a:gd name="connsiteX27" fmla="*/ 157162 w 2552700"/>
              <a:gd name="connsiteY27" fmla="*/ 385763 h 1119188"/>
              <a:gd name="connsiteX28" fmla="*/ 169069 w 2552700"/>
              <a:gd name="connsiteY28" fmla="*/ 385763 h 1119188"/>
              <a:gd name="connsiteX29" fmla="*/ 169069 w 2552700"/>
              <a:gd name="connsiteY29" fmla="*/ 402431 h 1119188"/>
              <a:gd name="connsiteX30" fmla="*/ 176212 w 2552700"/>
              <a:gd name="connsiteY30" fmla="*/ 402431 h 1119188"/>
              <a:gd name="connsiteX31" fmla="*/ 176212 w 2552700"/>
              <a:gd name="connsiteY31" fmla="*/ 411956 h 1119188"/>
              <a:gd name="connsiteX32" fmla="*/ 204787 w 2552700"/>
              <a:gd name="connsiteY32" fmla="*/ 411956 h 1119188"/>
              <a:gd name="connsiteX33" fmla="*/ 207169 w 2552700"/>
              <a:gd name="connsiteY33" fmla="*/ 414338 h 1119188"/>
              <a:gd name="connsiteX34" fmla="*/ 219075 w 2552700"/>
              <a:gd name="connsiteY34" fmla="*/ 414338 h 1119188"/>
              <a:gd name="connsiteX35" fmla="*/ 219075 w 2552700"/>
              <a:gd name="connsiteY35" fmla="*/ 452438 h 1119188"/>
              <a:gd name="connsiteX36" fmla="*/ 276225 w 2552700"/>
              <a:gd name="connsiteY36" fmla="*/ 452438 h 1119188"/>
              <a:gd name="connsiteX37" fmla="*/ 276225 w 2552700"/>
              <a:gd name="connsiteY37" fmla="*/ 476250 h 1119188"/>
              <a:gd name="connsiteX38" fmla="*/ 283369 w 2552700"/>
              <a:gd name="connsiteY38" fmla="*/ 476250 h 1119188"/>
              <a:gd name="connsiteX39" fmla="*/ 283369 w 2552700"/>
              <a:gd name="connsiteY39" fmla="*/ 490538 h 1119188"/>
              <a:gd name="connsiteX40" fmla="*/ 297656 w 2552700"/>
              <a:gd name="connsiteY40" fmla="*/ 490538 h 1119188"/>
              <a:gd name="connsiteX41" fmla="*/ 297656 w 2552700"/>
              <a:gd name="connsiteY41" fmla="*/ 500063 h 1119188"/>
              <a:gd name="connsiteX42" fmla="*/ 323850 w 2552700"/>
              <a:gd name="connsiteY42" fmla="*/ 500063 h 1119188"/>
              <a:gd name="connsiteX43" fmla="*/ 328612 w 2552700"/>
              <a:gd name="connsiteY43" fmla="*/ 504825 h 1119188"/>
              <a:gd name="connsiteX44" fmla="*/ 361950 w 2552700"/>
              <a:gd name="connsiteY44" fmla="*/ 504825 h 1119188"/>
              <a:gd name="connsiteX45" fmla="*/ 361950 w 2552700"/>
              <a:gd name="connsiteY45" fmla="*/ 516731 h 1119188"/>
              <a:gd name="connsiteX46" fmla="*/ 376237 w 2552700"/>
              <a:gd name="connsiteY46" fmla="*/ 516731 h 1119188"/>
              <a:gd name="connsiteX47" fmla="*/ 376237 w 2552700"/>
              <a:gd name="connsiteY47" fmla="*/ 583406 h 1119188"/>
              <a:gd name="connsiteX48" fmla="*/ 385762 w 2552700"/>
              <a:gd name="connsiteY48" fmla="*/ 583406 h 1119188"/>
              <a:gd name="connsiteX49" fmla="*/ 385762 w 2552700"/>
              <a:gd name="connsiteY49" fmla="*/ 597694 h 1119188"/>
              <a:gd name="connsiteX50" fmla="*/ 395287 w 2552700"/>
              <a:gd name="connsiteY50" fmla="*/ 597694 h 1119188"/>
              <a:gd name="connsiteX51" fmla="*/ 395287 w 2552700"/>
              <a:gd name="connsiteY51" fmla="*/ 645319 h 1119188"/>
              <a:gd name="connsiteX52" fmla="*/ 395287 w 2552700"/>
              <a:gd name="connsiteY52" fmla="*/ 645319 h 1119188"/>
              <a:gd name="connsiteX53" fmla="*/ 407193 w 2552700"/>
              <a:gd name="connsiteY53" fmla="*/ 657225 h 1119188"/>
              <a:gd name="connsiteX54" fmla="*/ 419100 w 2552700"/>
              <a:gd name="connsiteY54" fmla="*/ 657225 h 1119188"/>
              <a:gd name="connsiteX55" fmla="*/ 419100 w 2552700"/>
              <a:gd name="connsiteY55" fmla="*/ 678656 h 1119188"/>
              <a:gd name="connsiteX56" fmla="*/ 433387 w 2552700"/>
              <a:gd name="connsiteY56" fmla="*/ 678656 h 1119188"/>
              <a:gd name="connsiteX57" fmla="*/ 433387 w 2552700"/>
              <a:gd name="connsiteY57" fmla="*/ 690563 h 1119188"/>
              <a:gd name="connsiteX58" fmla="*/ 447675 w 2552700"/>
              <a:gd name="connsiteY58" fmla="*/ 690563 h 1119188"/>
              <a:gd name="connsiteX59" fmla="*/ 447675 w 2552700"/>
              <a:gd name="connsiteY59" fmla="*/ 697706 h 1119188"/>
              <a:gd name="connsiteX60" fmla="*/ 502444 w 2552700"/>
              <a:gd name="connsiteY60" fmla="*/ 697706 h 1119188"/>
              <a:gd name="connsiteX61" fmla="*/ 509587 w 2552700"/>
              <a:gd name="connsiteY61" fmla="*/ 704849 h 1119188"/>
              <a:gd name="connsiteX62" fmla="*/ 538162 w 2552700"/>
              <a:gd name="connsiteY62" fmla="*/ 704849 h 1119188"/>
              <a:gd name="connsiteX63" fmla="*/ 538162 w 2552700"/>
              <a:gd name="connsiteY63" fmla="*/ 719138 h 1119188"/>
              <a:gd name="connsiteX64" fmla="*/ 554831 w 2552700"/>
              <a:gd name="connsiteY64" fmla="*/ 719138 h 1119188"/>
              <a:gd name="connsiteX65" fmla="*/ 554831 w 2552700"/>
              <a:gd name="connsiteY65" fmla="*/ 733425 h 1119188"/>
              <a:gd name="connsiteX66" fmla="*/ 578644 w 2552700"/>
              <a:gd name="connsiteY66" fmla="*/ 733425 h 1119188"/>
              <a:gd name="connsiteX67" fmla="*/ 578644 w 2552700"/>
              <a:gd name="connsiteY67" fmla="*/ 738188 h 1119188"/>
              <a:gd name="connsiteX68" fmla="*/ 604837 w 2552700"/>
              <a:gd name="connsiteY68" fmla="*/ 738188 h 1119188"/>
              <a:gd name="connsiteX69" fmla="*/ 604837 w 2552700"/>
              <a:gd name="connsiteY69" fmla="*/ 747713 h 1119188"/>
              <a:gd name="connsiteX70" fmla="*/ 619125 w 2552700"/>
              <a:gd name="connsiteY70" fmla="*/ 747713 h 1119188"/>
              <a:gd name="connsiteX71" fmla="*/ 619125 w 2552700"/>
              <a:gd name="connsiteY71" fmla="*/ 759619 h 1119188"/>
              <a:gd name="connsiteX72" fmla="*/ 640556 w 2552700"/>
              <a:gd name="connsiteY72" fmla="*/ 759619 h 1119188"/>
              <a:gd name="connsiteX73" fmla="*/ 640556 w 2552700"/>
              <a:gd name="connsiteY73" fmla="*/ 771525 h 1119188"/>
              <a:gd name="connsiteX74" fmla="*/ 659606 w 2552700"/>
              <a:gd name="connsiteY74" fmla="*/ 771525 h 1119188"/>
              <a:gd name="connsiteX75" fmla="*/ 659606 w 2552700"/>
              <a:gd name="connsiteY75" fmla="*/ 785813 h 1119188"/>
              <a:gd name="connsiteX76" fmla="*/ 664369 w 2552700"/>
              <a:gd name="connsiteY76" fmla="*/ 785813 h 1119188"/>
              <a:gd name="connsiteX77" fmla="*/ 664369 w 2552700"/>
              <a:gd name="connsiteY77" fmla="*/ 790575 h 1119188"/>
              <a:gd name="connsiteX78" fmla="*/ 776287 w 2552700"/>
              <a:gd name="connsiteY78" fmla="*/ 790575 h 1119188"/>
              <a:gd name="connsiteX79" fmla="*/ 776287 w 2552700"/>
              <a:gd name="connsiteY79" fmla="*/ 800100 h 1119188"/>
              <a:gd name="connsiteX80" fmla="*/ 823912 w 2552700"/>
              <a:gd name="connsiteY80" fmla="*/ 800100 h 1119188"/>
              <a:gd name="connsiteX81" fmla="*/ 823912 w 2552700"/>
              <a:gd name="connsiteY81" fmla="*/ 819150 h 1119188"/>
              <a:gd name="connsiteX82" fmla="*/ 873919 w 2552700"/>
              <a:gd name="connsiteY82" fmla="*/ 819150 h 1119188"/>
              <a:gd name="connsiteX83" fmla="*/ 873919 w 2552700"/>
              <a:gd name="connsiteY83" fmla="*/ 819150 h 1119188"/>
              <a:gd name="connsiteX84" fmla="*/ 888207 w 2552700"/>
              <a:gd name="connsiteY84" fmla="*/ 833438 h 1119188"/>
              <a:gd name="connsiteX85" fmla="*/ 895350 w 2552700"/>
              <a:gd name="connsiteY85" fmla="*/ 840581 h 1119188"/>
              <a:gd name="connsiteX86" fmla="*/ 938212 w 2552700"/>
              <a:gd name="connsiteY86" fmla="*/ 840581 h 1119188"/>
              <a:gd name="connsiteX87" fmla="*/ 938212 w 2552700"/>
              <a:gd name="connsiteY87" fmla="*/ 869156 h 1119188"/>
              <a:gd name="connsiteX88" fmla="*/ 1173956 w 2552700"/>
              <a:gd name="connsiteY88" fmla="*/ 869156 h 1119188"/>
              <a:gd name="connsiteX89" fmla="*/ 1173956 w 2552700"/>
              <a:gd name="connsiteY89" fmla="*/ 890588 h 1119188"/>
              <a:gd name="connsiteX90" fmla="*/ 1357312 w 2552700"/>
              <a:gd name="connsiteY90" fmla="*/ 890588 h 1119188"/>
              <a:gd name="connsiteX91" fmla="*/ 1357312 w 2552700"/>
              <a:gd name="connsiteY91" fmla="*/ 907256 h 1119188"/>
              <a:gd name="connsiteX92" fmla="*/ 1447800 w 2552700"/>
              <a:gd name="connsiteY92" fmla="*/ 907256 h 1119188"/>
              <a:gd name="connsiteX93" fmla="*/ 1447800 w 2552700"/>
              <a:gd name="connsiteY93" fmla="*/ 928688 h 1119188"/>
              <a:gd name="connsiteX94" fmla="*/ 1721644 w 2552700"/>
              <a:gd name="connsiteY94" fmla="*/ 928688 h 1119188"/>
              <a:gd name="connsiteX95" fmla="*/ 1721644 w 2552700"/>
              <a:gd name="connsiteY95" fmla="*/ 952500 h 1119188"/>
              <a:gd name="connsiteX96" fmla="*/ 1809750 w 2552700"/>
              <a:gd name="connsiteY96" fmla="*/ 952500 h 1119188"/>
              <a:gd name="connsiteX97" fmla="*/ 1809750 w 2552700"/>
              <a:gd name="connsiteY97" fmla="*/ 985838 h 1119188"/>
              <a:gd name="connsiteX98" fmla="*/ 2050256 w 2552700"/>
              <a:gd name="connsiteY98" fmla="*/ 985838 h 1119188"/>
              <a:gd name="connsiteX99" fmla="*/ 2050256 w 2552700"/>
              <a:gd name="connsiteY99" fmla="*/ 1021556 h 1119188"/>
              <a:gd name="connsiteX100" fmla="*/ 2095500 w 2552700"/>
              <a:gd name="connsiteY100" fmla="*/ 1021556 h 1119188"/>
              <a:gd name="connsiteX101" fmla="*/ 2095500 w 2552700"/>
              <a:gd name="connsiteY101" fmla="*/ 1052513 h 1119188"/>
              <a:gd name="connsiteX102" fmla="*/ 2281237 w 2552700"/>
              <a:gd name="connsiteY102" fmla="*/ 1052513 h 1119188"/>
              <a:gd name="connsiteX103" fmla="*/ 2281237 w 2552700"/>
              <a:gd name="connsiteY103" fmla="*/ 1119188 h 1119188"/>
              <a:gd name="connsiteX104" fmla="*/ 2552700 w 2552700"/>
              <a:gd name="connsiteY104" fmla="*/ 1119188 h 1119188"/>
              <a:gd name="connsiteX0" fmla="*/ 0 w 2578893"/>
              <a:gd name="connsiteY0" fmla="*/ 0 h 1097756"/>
              <a:gd name="connsiteX1" fmla="*/ 59531 w 2578893"/>
              <a:gd name="connsiteY1" fmla="*/ 11906 h 1097756"/>
              <a:gd name="connsiteX2" fmla="*/ 59531 w 2578893"/>
              <a:gd name="connsiteY2" fmla="*/ 54768 h 1097756"/>
              <a:gd name="connsiteX3" fmla="*/ 92868 w 2578893"/>
              <a:gd name="connsiteY3" fmla="*/ 54768 h 1097756"/>
              <a:gd name="connsiteX4" fmla="*/ 92868 w 2578893"/>
              <a:gd name="connsiteY4" fmla="*/ 61912 h 1097756"/>
              <a:gd name="connsiteX5" fmla="*/ 97630 w 2578893"/>
              <a:gd name="connsiteY5" fmla="*/ 61912 h 1097756"/>
              <a:gd name="connsiteX6" fmla="*/ 97630 w 2578893"/>
              <a:gd name="connsiteY6" fmla="*/ 76199 h 1097756"/>
              <a:gd name="connsiteX7" fmla="*/ 104774 w 2578893"/>
              <a:gd name="connsiteY7" fmla="*/ 76199 h 1097756"/>
              <a:gd name="connsiteX8" fmla="*/ 104774 w 2578893"/>
              <a:gd name="connsiteY8" fmla="*/ 90487 h 1097756"/>
              <a:gd name="connsiteX9" fmla="*/ 119062 w 2578893"/>
              <a:gd name="connsiteY9" fmla="*/ 90487 h 1097756"/>
              <a:gd name="connsiteX10" fmla="*/ 119062 w 2578893"/>
              <a:gd name="connsiteY10" fmla="*/ 102393 h 1097756"/>
              <a:gd name="connsiteX11" fmla="*/ 130968 w 2578893"/>
              <a:gd name="connsiteY11" fmla="*/ 102393 h 1097756"/>
              <a:gd name="connsiteX12" fmla="*/ 130968 w 2578893"/>
              <a:gd name="connsiteY12" fmla="*/ 119062 h 1097756"/>
              <a:gd name="connsiteX13" fmla="*/ 145255 w 2578893"/>
              <a:gd name="connsiteY13" fmla="*/ 119062 h 1097756"/>
              <a:gd name="connsiteX14" fmla="*/ 145255 w 2578893"/>
              <a:gd name="connsiteY14" fmla="*/ 128587 h 1097756"/>
              <a:gd name="connsiteX15" fmla="*/ 154780 w 2578893"/>
              <a:gd name="connsiteY15" fmla="*/ 128587 h 1097756"/>
              <a:gd name="connsiteX16" fmla="*/ 154780 w 2578893"/>
              <a:gd name="connsiteY16" fmla="*/ 152399 h 1097756"/>
              <a:gd name="connsiteX17" fmla="*/ 164305 w 2578893"/>
              <a:gd name="connsiteY17" fmla="*/ 152399 h 1097756"/>
              <a:gd name="connsiteX18" fmla="*/ 164305 w 2578893"/>
              <a:gd name="connsiteY18" fmla="*/ 188118 h 1097756"/>
              <a:gd name="connsiteX19" fmla="*/ 164305 w 2578893"/>
              <a:gd name="connsiteY19" fmla="*/ 230981 h 1097756"/>
              <a:gd name="connsiteX20" fmla="*/ 171449 w 2578893"/>
              <a:gd name="connsiteY20" fmla="*/ 230981 h 1097756"/>
              <a:gd name="connsiteX21" fmla="*/ 171449 w 2578893"/>
              <a:gd name="connsiteY21" fmla="*/ 278606 h 1097756"/>
              <a:gd name="connsiteX22" fmla="*/ 176212 w 2578893"/>
              <a:gd name="connsiteY22" fmla="*/ 278606 h 1097756"/>
              <a:gd name="connsiteX23" fmla="*/ 176212 w 2578893"/>
              <a:gd name="connsiteY23" fmla="*/ 297656 h 1097756"/>
              <a:gd name="connsiteX24" fmla="*/ 183355 w 2578893"/>
              <a:gd name="connsiteY24" fmla="*/ 297656 h 1097756"/>
              <a:gd name="connsiteX25" fmla="*/ 183355 w 2578893"/>
              <a:gd name="connsiteY25" fmla="*/ 323849 h 1097756"/>
              <a:gd name="connsiteX26" fmla="*/ 183355 w 2578893"/>
              <a:gd name="connsiteY26" fmla="*/ 326231 h 1097756"/>
              <a:gd name="connsiteX27" fmla="*/ 183355 w 2578893"/>
              <a:gd name="connsiteY27" fmla="*/ 364331 h 1097756"/>
              <a:gd name="connsiteX28" fmla="*/ 195262 w 2578893"/>
              <a:gd name="connsiteY28" fmla="*/ 364331 h 1097756"/>
              <a:gd name="connsiteX29" fmla="*/ 195262 w 2578893"/>
              <a:gd name="connsiteY29" fmla="*/ 380999 h 1097756"/>
              <a:gd name="connsiteX30" fmla="*/ 202405 w 2578893"/>
              <a:gd name="connsiteY30" fmla="*/ 380999 h 1097756"/>
              <a:gd name="connsiteX31" fmla="*/ 202405 w 2578893"/>
              <a:gd name="connsiteY31" fmla="*/ 390524 h 1097756"/>
              <a:gd name="connsiteX32" fmla="*/ 230980 w 2578893"/>
              <a:gd name="connsiteY32" fmla="*/ 390524 h 1097756"/>
              <a:gd name="connsiteX33" fmla="*/ 233362 w 2578893"/>
              <a:gd name="connsiteY33" fmla="*/ 392906 h 1097756"/>
              <a:gd name="connsiteX34" fmla="*/ 245268 w 2578893"/>
              <a:gd name="connsiteY34" fmla="*/ 392906 h 1097756"/>
              <a:gd name="connsiteX35" fmla="*/ 245268 w 2578893"/>
              <a:gd name="connsiteY35" fmla="*/ 431006 h 1097756"/>
              <a:gd name="connsiteX36" fmla="*/ 302418 w 2578893"/>
              <a:gd name="connsiteY36" fmla="*/ 431006 h 1097756"/>
              <a:gd name="connsiteX37" fmla="*/ 302418 w 2578893"/>
              <a:gd name="connsiteY37" fmla="*/ 454818 h 1097756"/>
              <a:gd name="connsiteX38" fmla="*/ 309562 w 2578893"/>
              <a:gd name="connsiteY38" fmla="*/ 454818 h 1097756"/>
              <a:gd name="connsiteX39" fmla="*/ 309562 w 2578893"/>
              <a:gd name="connsiteY39" fmla="*/ 469106 h 1097756"/>
              <a:gd name="connsiteX40" fmla="*/ 323849 w 2578893"/>
              <a:gd name="connsiteY40" fmla="*/ 469106 h 1097756"/>
              <a:gd name="connsiteX41" fmla="*/ 323849 w 2578893"/>
              <a:gd name="connsiteY41" fmla="*/ 478631 h 1097756"/>
              <a:gd name="connsiteX42" fmla="*/ 350043 w 2578893"/>
              <a:gd name="connsiteY42" fmla="*/ 478631 h 1097756"/>
              <a:gd name="connsiteX43" fmla="*/ 354805 w 2578893"/>
              <a:gd name="connsiteY43" fmla="*/ 483393 h 1097756"/>
              <a:gd name="connsiteX44" fmla="*/ 388143 w 2578893"/>
              <a:gd name="connsiteY44" fmla="*/ 483393 h 1097756"/>
              <a:gd name="connsiteX45" fmla="*/ 388143 w 2578893"/>
              <a:gd name="connsiteY45" fmla="*/ 495299 h 1097756"/>
              <a:gd name="connsiteX46" fmla="*/ 402430 w 2578893"/>
              <a:gd name="connsiteY46" fmla="*/ 495299 h 1097756"/>
              <a:gd name="connsiteX47" fmla="*/ 402430 w 2578893"/>
              <a:gd name="connsiteY47" fmla="*/ 561974 h 1097756"/>
              <a:gd name="connsiteX48" fmla="*/ 411955 w 2578893"/>
              <a:gd name="connsiteY48" fmla="*/ 561974 h 1097756"/>
              <a:gd name="connsiteX49" fmla="*/ 411955 w 2578893"/>
              <a:gd name="connsiteY49" fmla="*/ 576262 h 1097756"/>
              <a:gd name="connsiteX50" fmla="*/ 421480 w 2578893"/>
              <a:gd name="connsiteY50" fmla="*/ 576262 h 1097756"/>
              <a:gd name="connsiteX51" fmla="*/ 421480 w 2578893"/>
              <a:gd name="connsiteY51" fmla="*/ 623887 h 1097756"/>
              <a:gd name="connsiteX52" fmla="*/ 421480 w 2578893"/>
              <a:gd name="connsiteY52" fmla="*/ 623887 h 1097756"/>
              <a:gd name="connsiteX53" fmla="*/ 433386 w 2578893"/>
              <a:gd name="connsiteY53" fmla="*/ 635793 h 1097756"/>
              <a:gd name="connsiteX54" fmla="*/ 445293 w 2578893"/>
              <a:gd name="connsiteY54" fmla="*/ 635793 h 1097756"/>
              <a:gd name="connsiteX55" fmla="*/ 445293 w 2578893"/>
              <a:gd name="connsiteY55" fmla="*/ 657224 h 1097756"/>
              <a:gd name="connsiteX56" fmla="*/ 459580 w 2578893"/>
              <a:gd name="connsiteY56" fmla="*/ 657224 h 1097756"/>
              <a:gd name="connsiteX57" fmla="*/ 459580 w 2578893"/>
              <a:gd name="connsiteY57" fmla="*/ 669131 h 1097756"/>
              <a:gd name="connsiteX58" fmla="*/ 473868 w 2578893"/>
              <a:gd name="connsiteY58" fmla="*/ 669131 h 1097756"/>
              <a:gd name="connsiteX59" fmla="*/ 473868 w 2578893"/>
              <a:gd name="connsiteY59" fmla="*/ 676274 h 1097756"/>
              <a:gd name="connsiteX60" fmla="*/ 528637 w 2578893"/>
              <a:gd name="connsiteY60" fmla="*/ 676274 h 1097756"/>
              <a:gd name="connsiteX61" fmla="*/ 535780 w 2578893"/>
              <a:gd name="connsiteY61" fmla="*/ 683417 h 1097756"/>
              <a:gd name="connsiteX62" fmla="*/ 564355 w 2578893"/>
              <a:gd name="connsiteY62" fmla="*/ 683417 h 1097756"/>
              <a:gd name="connsiteX63" fmla="*/ 564355 w 2578893"/>
              <a:gd name="connsiteY63" fmla="*/ 697706 h 1097756"/>
              <a:gd name="connsiteX64" fmla="*/ 581024 w 2578893"/>
              <a:gd name="connsiteY64" fmla="*/ 697706 h 1097756"/>
              <a:gd name="connsiteX65" fmla="*/ 581024 w 2578893"/>
              <a:gd name="connsiteY65" fmla="*/ 711993 h 1097756"/>
              <a:gd name="connsiteX66" fmla="*/ 604837 w 2578893"/>
              <a:gd name="connsiteY66" fmla="*/ 711993 h 1097756"/>
              <a:gd name="connsiteX67" fmla="*/ 604837 w 2578893"/>
              <a:gd name="connsiteY67" fmla="*/ 716756 h 1097756"/>
              <a:gd name="connsiteX68" fmla="*/ 631030 w 2578893"/>
              <a:gd name="connsiteY68" fmla="*/ 716756 h 1097756"/>
              <a:gd name="connsiteX69" fmla="*/ 631030 w 2578893"/>
              <a:gd name="connsiteY69" fmla="*/ 726281 h 1097756"/>
              <a:gd name="connsiteX70" fmla="*/ 645318 w 2578893"/>
              <a:gd name="connsiteY70" fmla="*/ 726281 h 1097756"/>
              <a:gd name="connsiteX71" fmla="*/ 645318 w 2578893"/>
              <a:gd name="connsiteY71" fmla="*/ 738187 h 1097756"/>
              <a:gd name="connsiteX72" fmla="*/ 666749 w 2578893"/>
              <a:gd name="connsiteY72" fmla="*/ 738187 h 1097756"/>
              <a:gd name="connsiteX73" fmla="*/ 666749 w 2578893"/>
              <a:gd name="connsiteY73" fmla="*/ 750093 h 1097756"/>
              <a:gd name="connsiteX74" fmla="*/ 685799 w 2578893"/>
              <a:gd name="connsiteY74" fmla="*/ 750093 h 1097756"/>
              <a:gd name="connsiteX75" fmla="*/ 685799 w 2578893"/>
              <a:gd name="connsiteY75" fmla="*/ 764381 h 1097756"/>
              <a:gd name="connsiteX76" fmla="*/ 690562 w 2578893"/>
              <a:gd name="connsiteY76" fmla="*/ 764381 h 1097756"/>
              <a:gd name="connsiteX77" fmla="*/ 690562 w 2578893"/>
              <a:gd name="connsiteY77" fmla="*/ 769143 h 1097756"/>
              <a:gd name="connsiteX78" fmla="*/ 802480 w 2578893"/>
              <a:gd name="connsiteY78" fmla="*/ 769143 h 1097756"/>
              <a:gd name="connsiteX79" fmla="*/ 802480 w 2578893"/>
              <a:gd name="connsiteY79" fmla="*/ 778668 h 1097756"/>
              <a:gd name="connsiteX80" fmla="*/ 850105 w 2578893"/>
              <a:gd name="connsiteY80" fmla="*/ 778668 h 1097756"/>
              <a:gd name="connsiteX81" fmla="*/ 850105 w 2578893"/>
              <a:gd name="connsiteY81" fmla="*/ 797718 h 1097756"/>
              <a:gd name="connsiteX82" fmla="*/ 900112 w 2578893"/>
              <a:gd name="connsiteY82" fmla="*/ 797718 h 1097756"/>
              <a:gd name="connsiteX83" fmla="*/ 900112 w 2578893"/>
              <a:gd name="connsiteY83" fmla="*/ 797718 h 1097756"/>
              <a:gd name="connsiteX84" fmla="*/ 914400 w 2578893"/>
              <a:gd name="connsiteY84" fmla="*/ 812006 h 1097756"/>
              <a:gd name="connsiteX85" fmla="*/ 921543 w 2578893"/>
              <a:gd name="connsiteY85" fmla="*/ 819149 h 1097756"/>
              <a:gd name="connsiteX86" fmla="*/ 964405 w 2578893"/>
              <a:gd name="connsiteY86" fmla="*/ 819149 h 1097756"/>
              <a:gd name="connsiteX87" fmla="*/ 964405 w 2578893"/>
              <a:gd name="connsiteY87" fmla="*/ 847724 h 1097756"/>
              <a:gd name="connsiteX88" fmla="*/ 1200149 w 2578893"/>
              <a:gd name="connsiteY88" fmla="*/ 847724 h 1097756"/>
              <a:gd name="connsiteX89" fmla="*/ 1200149 w 2578893"/>
              <a:gd name="connsiteY89" fmla="*/ 869156 h 1097756"/>
              <a:gd name="connsiteX90" fmla="*/ 1383505 w 2578893"/>
              <a:gd name="connsiteY90" fmla="*/ 869156 h 1097756"/>
              <a:gd name="connsiteX91" fmla="*/ 1383505 w 2578893"/>
              <a:gd name="connsiteY91" fmla="*/ 885824 h 1097756"/>
              <a:gd name="connsiteX92" fmla="*/ 1473993 w 2578893"/>
              <a:gd name="connsiteY92" fmla="*/ 885824 h 1097756"/>
              <a:gd name="connsiteX93" fmla="*/ 1473993 w 2578893"/>
              <a:gd name="connsiteY93" fmla="*/ 907256 h 1097756"/>
              <a:gd name="connsiteX94" fmla="*/ 1747837 w 2578893"/>
              <a:gd name="connsiteY94" fmla="*/ 907256 h 1097756"/>
              <a:gd name="connsiteX95" fmla="*/ 1747837 w 2578893"/>
              <a:gd name="connsiteY95" fmla="*/ 931068 h 1097756"/>
              <a:gd name="connsiteX96" fmla="*/ 1835943 w 2578893"/>
              <a:gd name="connsiteY96" fmla="*/ 931068 h 1097756"/>
              <a:gd name="connsiteX97" fmla="*/ 1835943 w 2578893"/>
              <a:gd name="connsiteY97" fmla="*/ 964406 h 1097756"/>
              <a:gd name="connsiteX98" fmla="*/ 2076449 w 2578893"/>
              <a:gd name="connsiteY98" fmla="*/ 964406 h 1097756"/>
              <a:gd name="connsiteX99" fmla="*/ 2076449 w 2578893"/>
              <a:gd name="connsiteY99" fmla="*/ 1000124 h 1097756"/>
              <a:gd name="connsiteX100" fmla="*/ 2121693 w 2578893"/>
              <a:gd name="connsiteY100" fmla="*/ 1000124 h 1097756"/>
              <a:gd name="connsiteX101" fmla="*/ 2121693 w 2578893"/>
              <a:gd name="connsiteY101" fmla="*/ 1031081 h 1097756"/>
              <a:gd name="connsiteX102" fmla="*/ 2307430 w 2578893"/>
              <a:gd name="connsiteY102" fmla="*/ 1031081 h 1097756"/>
              <a:gd name="connsiteX103" fmla="*/ 2307430 w 2578893"/>
              <a:gd name="connsiteY103" fmla="*/ 1097756 h 1097756"/>
              <a:gd name="connsiteX104" fmla="*/ 2578893 w 2578893"/>
              <a:gd name="connsiteY104" fmla="*/ 1097756 h 1097756"/>
              <a:gd name="connsiteX0" fmla="*/ 0 w 2578893"/>
              <a:gd name="connsiteY0" fmla="*/ 0 h 1097756"/>
              <a:gd name="connsiteX1" fmla="*/ 59531 w 2578893"/>
              <a:gd name="connsiteY1" fmla="*/ 11906 h 1097756"/>
              <a:gd name="connsiteX2" fmla="*/ 59531 w 2578893"/>
              <a:gd name="connsiteY2" fmla="*/ 54768 h 1097756"/>
              <a:gd name="connsiteX3" fmla="*/ 92868 w 2578893"/>
              <a:gd name="connsiteY3" fmla="*/ 54768 h 1097756"/>
              <a:gd name="connsiteX4" fmla="*/ 92868 w 2578893"/>
              <a:gd name="connsiteY4" fmla="*/ 61912 h 1097756"/>
              <a:gd name="connsiteX5" fmla="*/ 97630 w 2578893"/>
              <a:gd name="connsiteY5" fmla="*/ 61912 h 1097756"/>
              <a:gd name="connsiteX6" fmla="*/ 97630 w 2578893"/>
              <a:gd name="connsiteY6" fmla="*/ 76199 h 1097756"/>
              <a:gd name="connsiteX7" fmla="*/ 104774 w 2578893"/>
              <a:gd name="connsiteY7" fmla="*/ 76199 h 1097756"/>
              <a:gd name="connsiteX8" fmla="*/ 104774 w 2578893"/>
              <a:gd name="connsiteY8" fmla="*/ 90487 h 1097756"/>
              <a:gd name="connsiteX9" fmla="*/ 119062 w 2578893"/>
              <a:gd name="connsiteY9" fmla="*/ 90487 h 1097756"/>
              <a:gd name="connsiteX10" fmla="*/ 119062 w 2578893"/>
              <a:gd name="connsiteY10" fmla="*/ 102393 h 1097756"/>
              <a:gd name="connsiteX11" fmla="*/ 130968 w 2578893"/>
              <a:gd name="connsiteY11" fmla="*/ 102393 h 1097756"/>
              <a:gd name="connsiteX12" fmla="*/ 130968 w 2578893"/>
              <a:gd name="connsiteY12" fmla="*/ 119062 h 1097756"/>
              <a:gd name="connsiteX13" fmla="*/ 145255 w 2578893"/>
              <a:gd name="connsiteY13" fmla="*/ 119062 h 1097756"/>
              <a:gd name="connsiteX14" fmla="*/ 145255 w 2578893"/>
              <a:gd name="connsiteY14" fmla="*/ 128587 h 1097756"/>
              <a:gd name="connsiteX15" fmla="*/ 154780 w 2578893"/>
              <a:gd name="connsiteY15" fmla="*/ 128587 h 1097756"/>
              <a:gd name="connsiteX16" fmla="*/ 154780 w 2578893"/>
              <a:gd name="connsiteY16" fmla="*/ 152399 h 1097756"/>
              <a:gd name="connsiteX17" fmla="*/ 164305 w 2578893"/>
              <a:gd name="connsiteY17" fmla="*/ 152399 h 1097756"/>
              <a:gd name="connsiteX18" fmla="*/ 164305 w 2578893"/>
              <a:gd name="connsiteY18" fmla="*/ 188118 h 1097756"/>
              <a:gd name="connsiteX19" fmla="*/ 164305 w 2578893"/>
              <a:gd name="connsiteY19" fmla="*/ 230981 h 1097756"/>
              <a:gd name="connsiteX20" fmla="*/ 171449 w 2578893"/>
              <a:gd name="connsiteY20" fmla="*/ 230981 h 1097756"/>
              <a:gd name="connsiteX21" fmla="*/ 171449 w 2578893"/>
              <a:gd name="connsiteY21" fmla="*/ 278606 h 1097756"/>
              <a:gd name="connsiteX22" fmla="*/ 176212 w 2578893"/>
              <a:gd name="connsiteY22" fmla="*/ 278606 h 1097756"/>
              <a:gd name="connsiteX23" fmla="*/ 176212 w 2578893"/>
              <a:gd name="connsiteY23" fmla="*/ 297656 h 1097756"/>
              <a:gd name="connsiteX24" fmla="*/ 183355 w 2578893"/>
              <a:gd name="connsiteY24" fmla="*/ 297656 h 1097756"/>
              <a:gd name="connsiteX25" fmla="*/ 183355 w 2578893"/>
              <a:gd name="connsiteY25" fmla="*/ 323849 h 1097756"/>
              <a:gd name="connsiteX26" fmla="*/ 183355 w 2578893"/>
              <a:gd name="connsiteY26" fmla="*/ 326231 h 1097756"/>
              <a:gd name="connsiteX27" fmla="*/ 183355 w 2578893"/>
              <a:gd name="connsiteY27" fmla="*/ 364331 h 1097756"/>
              <a:gd name="connsiteX28" fmla="*/ 195262 w 2578893"/>
              <a:gd name="connsiteY28" fmla="*/ 364331 h 1097756"/>
              <a:gd name="connsiteX29" fmla="*/ 195262 w 2578893"/>
              <a:gd name="connsiteY29" fmla="*/ 380999 h 1097756"/>
              <a:gd name="connsiteX30" fmla="*/ 202405 w 2578893"/>
              <a:gd name="connsiteY30" fmla="*/ 380999 h 1097756"/>
              <a:gd name="connsiteX31" fmla="*/ 202405 w 2578893"/>
              <a:gd name="connsiteY31" fmla="*/ 390524 h 1097756"/>
              <a:gd name="connsiteX32" fmla="*/ 230980 w 2578893"/>
              <a:gd name="connsiteY32" fmla="*/ 390524 h 1097756"/>
              <a:gd name="connsiteX33" fmla="*/ 233362 w 2578893"/>
              <a:gd name="connsiteY33" fmla="*/ 392906 h 1097756"/>
              <a:gd name="connsiteX34" fmla="*/ 245268 w 2578893"/>
              <a:gd name="connsiteY34" fmla="*/ 392906 h 1097756"/>
              <a:gd name="connsiteX35" fmla="*/ 245268 w 2578893"/>
              <a:gd name="connsiteY35" fmla="*/ 431006 h 1097756"/>
              <a:gd name="connsiteX36" fmla="*/ 302418 w 2578893"/>
              <a:gd name="connsiteY36" fmla="*/ 431006 h 1097756"/>
              <a:gd name="connsiteX37" fmla="*/ 302418 w 2578893"/>
              <a:gd name="connsiteY37" fmla="*/ 454818 h 1097756"/>
              <a:gd name="connsiteX38" fmla="*/ 309562 w 2578893"/>
              <a:gd name="connsiteY38" fmla="*/ 454818 h 1097756"/>
              <a:gd name="connsiteX39" fmla="*/ 309562 w 2578893"/>
              <a:gd name="connsiteY39" fmla="*/ 469106 h 1097756"/>
              <a:gd name="connsiteX40" fmla="*/ 323849 w 2578893"/>
              <a:gd name="connsiteY40" fmla="*/ 469106 h 1097756"/>
              <a:gd name="connsiteX41" fmla="*/ 323849 w 2578893"/>
              <a:gd name="connsiteY41" fmla="*/ 478631 h 1097756"/>
              <a:gd name="connsiteX42" fmla="*/ 350043 w 2578893"/>
              <a:gd name="connsiteY42" fmla="*/ 478631 h 1097756"/>
              <a:gd name="connsiteX43" fmla="*/ 354805 w 2578893"/>
              <a:gd name="connsiteY43" fmla="*/ 483393 h 1097756"/>
              <a:gd name="connsiteX44" fmla="*/ 388143 w 2578893"/>
              <a:gd name="connsiteY44" fmla="*/ 483393 h 1097756"/>
              <a:gd name="connsiteX45" fmla="*/ 388143 w 2578893"/>
              <a:gd name="connsiteY45" fmla="*/ 495299 h 1097756"/>
              <a:gd name="connsiteX46" fmla="*/ 402430 w 2578893"/>
              <a:gd name="connsiteY46" fmla="*/ 495299 h 1097756"/>
              <a:gd name="connsiteX47" fmla="*/ 402430 w 2578893"/>
              <a:gd name="connsiteY47" fmla="*/ 561974 h 1097756"/>
              <a:gd name="connsiteX48" fmla="*/ 411955 w 2578893"/>
              <a:gd name="connsiteY48" fmla="*/ 561974 h 1097756"/>
              <a:gd name="connsiteX49" fmla="*/ 411955 w 2578893"/>
              <a:gd name="connsiteY49" fmla="*/ 576262 h 1097756"/>
              <a:gd name="connsiteX50" fmla="*/ 421480 w 2578893"/>
              <a:gd name="connsiteY50" fmla="*/ 576262 h 1097756"/>
              <a:gd name="connsiteX51" fmla="*/ 421480 w 2578893"/>
              <a:gd name="connsiteY51" fmla="*/ 623887 h 1097756"/>
              <a:gd name="connsiteX52" fmla="*/ 421480 w 2578893"/>
              <a:gd name="connsiteY52" fmla="*/ 623887 h 1097756"/>
              <a:gd name="connsiteX53" fmla="*/ 433386 w 2578893"/>
              <a:gd name="connsiteY53" fmla="*/ 635793 h 1097756"/>
              <a:gd name="connsiteX54" fmla="*/ 445293 w 2578893"/>
              <a:gd name="connsiteY54" fmla="*/ 635793 h 1097756"/>
              <a:gd name="connsiteX55" fmla="*/ 445293 w 2578893"/>
              <a:gd name="connsiteY55" fmla="*/ 657224 h 1097756"/>
              <a:gd name="connsiteX56" fmla="*/ 459580 w 2578893"/>
              <a:gd name="connsiteY56" fmla="*/ 657224 h 1097756"/>
              <a:gd name="connsiteX57" fmla="*/ 459580 w 2578893"/>
              <a:gd name="connsiteY57" fmla="*/ 669131 h 1097756"/>
              <a:gd name="connsiteX58" fmla="*/ 473868 w 2578893"/>
              <a:gd name="connsiteY58" fmla="*/ 669131 h 1097756"/>
              <a:gd name="connsiteX59" fmla="*/ 473868 w 2578893"/>
              <a:gd name="connsiteY59" fmla="*/ 676274 h 1097756"/>
              <a:gd name="connsiteX60" fmla="*/ 528637 w 2578893"/>
              <a:gd name="connsiteY60" fmla="*/ 676274 h 1097756"/>
              <a:gd name="connsiteX61" fmla="*/ 535780 w 2578893"/>
              <a:gd name="connsiteY61" fmla="*/ 683417 h 1097756"/>
              <a:gd name="connsiteX62" fmla="*/ 564355 w 2578893"/>
              <a:gd name="connsiteY62" fmla="*/ 683417 h 1097756"/>
              <a:gd name="connsiteX63" fmla="*/ 564355 w 2578893"/>
              <a:gd name="connsiteY63" fmla="*/ 697706 h 1097756"/>
              <a:gd name="connsiteX64" fmla="*/ 581024 w 2578893"/>
              <a:gd name="connsiteY64" fmla="*/ 697706 h 1097756"/>
              <a:gd name="connsiteX65" fmla="*/ 581024 w 2578893"/>
              <a:gd name="connsiteY65" fmla="*/ 711993 h 1097756"/>
              <a:gd name="connsiteX66" fmla="*/ 604837 w 2578893"/>
              <a:gd name="connsiteY66" fmla="*/ 711993 h 1097756"/>
              <a:gd name="connsiteX67" fmla="*/ 604837 w 2578893"/>
              <a:gd name="connsiteY67" fmla="*/ 716756 h 1097756"/>
              <a:gd name="connsiteX68" fmla="*/ 631030 w 2578893"/>
              <a:gd name="connsiteY68" fmla="*/ 716756 h 1097756"/>
              <a:gd name="connsiteX69" fmla="*/ 631030 w 2578893"/>
              <a:gd name="connsiteY69" fmla="*/ 726281 h 1097756"/>
              <a:gd name="connsiteX70" fmla="*/ 645318 w 2578893"/>
              <a:gd name="connsiteY70" fmla="*/ 726281 h 1097756"/>
              <a:gd name="connsiteX71" fmla="*/ 645318 w 2578893"/>
              <a:gd name="connsiteY71" fmla="*/ 738187 h 1097756"/>
              <a:gd name="connsiteX72" fmla="*/ 666749 w 2578893"/>
              <a:gd name="connsiteY72" fmla="*/ 738187 h 1097756"/>
              <a:gd name="connsiteX73" fmla="*/ 666749 w 2578893"/>
              <a:gd name="connsiteY73" fmla="*/ 750093 h 1097756"/>
              <a:gd name="connsiteX74" fmla="*/ 685799 w 2578893"/>
              <a:gd name="connsiteY74" fmla="*/ 750093 h 1097756"/>
              <a:gd name="connsiteX75" fmla="*/ 685799 w 2578893"/>
              <a:gd name="connsiteY75" fmla="*/ 764381 h 1097756"/>
              <a:gd name="connsiteX76" fmla="*/ 690562 w 2578893"/>
              <a:gd name="connsiteY76" fmla="*/ 764381 h 1097756"/>
              <a:gd name="connsiteX77" fmla="*/ 690562 w 2578893"/>
              <a:gd name="connsiteY77" fmla="*/ 769143 h 1097756"/>
              <a:gd name="connsiteX78" fmla="*/ 802480 w 2578893"/>
              <a:gd name="connsiteY78" fmla="*/ 769143 h 1097756"/>
              <a:gd name="connsiteX79" fmla="*/ 802480 w 2578893"/>
              <a:gd name="connsiteY79" fmla="*/ 778668 h 1097756"/>
              <a:gd name="connsiteX80" fmla="*/ 850105 w 2578893"/>
              <a:gd name="connsiteY80" fmla="*/ 778668 h 1097756"/>
              <a:gd name="connsiteX81" fmla="*/ 850105 w 2578893"/>
              <a:gd name="connsiteY81" fmla="*/ 797718 h 1097756"/>
              <a:gd name="connsiteX82" fmla="*/ 900112 w 2578893"/>
              <a:gd name="connsiteY82" fmla="*/ 797718 h 1097756"/>
              <a:gd name="connsiteX83" fmla="*/ 900112 w 2578893"/>
              <a:gd name="connsiteY83" fmla="*/ 797718 h 1097756"/>
              <a:gd name="connsiteX84" fmla="*/ 914400 w 2578893"/>
              <a:gd name="connsiteY84" fmla="*/ 812006 h 1097756"/>
              <a:gd name="connsiteX85" fmla="*/ 921543 w 2578893"/>
              <a:gd name="connsiteY85" fmla="*/ 819149 h 1097756"/>
              <a:gd name="connsiteX86" fmla="*/ 964405 w 2578893"/>
              <a:gd name="connsiteY86" fmla="*/ 819149 h 1097756"/>
              <a:gd name="connsiteX87" fmla="*/ 964405 w 2578893"/>
              <a:gd name="connsiteY87" fmla="*/ 847724 h 1097756"/>
              <a:gd name="connsiteX88" fmla="*/ 1200149 w 2578893"/>
              <a:gd name="connsiteY88" fmla="*/ 847724 h 1097756"/>
              <a:gd name="connsiteX89" fmla="*/ 1200149 w 2578893"/>
              <a:gd name="connsiteY89" fmla="*/ 869156 h 1097756"/>
              <a:gd name="connsiteX90" fmla="*/ 1383505 w 2578893"/>
              <a:gd name="connsiteY90" fmla="*/ 869156 h 1097756"/>
              <a:gd name="connsiteX91" fmla="*/ 1383505 w 2578893"/>
              <a:gd name="connsiteY91" fmla="*/ 885824 h 1097756"/>
              <a:gd name="connsiteX92" fmla="*/ 1473993 w 2578893"/>
              <a:gd name="connsiteY92" fmla="*/ 885824 h 1097756"/>
              <a:gd name="connsiteX93" fmla="*/ 1473993 w 2578893"/>
              <a:gd name="connsiteY93" fmla="*/ 907256 h 1097756"/>
              <a:gd name="connsiteX94" fmla="*/ 1747837 w 2578893"/>
              <a:gd name="connsiteY94" fmla="*/ 907256 h 1097756"/>
              <a:gd name="connsiteX95" fmla="*/ 1747837 w 2578893"/>
              <a:gd name="connsiteY95" fmla="*/ 931068 h 1097756"/>
              <a:gd name="connsiteX96" fmla="*/ 1835943 w 2578893"/>
              <a:gd name="connsiteY96" fmla="*/ 931068 h 1097756"/>
              <a:gd name="connsiteX97" fmla="*/ 1835943 w 2578893"/>
              <a:gd name="connsiteY97" fmla="*/ 964406 h 1097756"/>
              <a:gd name="connsiteX98" fmla="*/ 2076449 w 2578893"/>
              <a:gd name="connsiteY98" fmla="*/ 964406 h 1097756"/>
              <a:gd name="connsiteX99" fmla="*/ 2076449 w 2578893"/>
              <a:gd name="connsiteY99" fmla="*/ 1000124 h 1097756"/>
              <a:gd name="connsiteX100" fmla="*/ 2121693 w 2578893"/>
              <a:gd name="connsiteY100" fmla="*/ 1000124 h 1097756"/>
              <a:gd name="connsiteX101" fmla="*/ 2121693 w 2578893"/>
              <a:gd name="connsiteY101" fmla="*/ 1031081 h 1097756"/>
              <a:gd name="connsiteX102" fmla="*/ 2307430 w 2578893"/>
              <a:gd name="connsiteY102" fmla="*/ 1031081 h 1097756"/>
              <a:gd name="connsiteX103" fmla="*/ 2307430 w 2578893"/>
              <a:gd name="connsiteY103" fmla="*/ 1097756 h 1097756"/>
              <a:gd name="connsiteX104" fmla="*/ 2578893 w 2578893"/>
              <a:gd name="connsiteY104" fmla="*/ 1097756 h 1097756"/>
              <a:gd name="connsiteX0" fmla="*/ 0 w 2578893"/>
              <a:gd name="connsiteY0" fmla="*/ 0 h 1097756"/>
              <a:gd name="connsiteX1" fmla="*/ 59531 w 2578893"/>
              <a:gd name="connsiteY1" fmla="*/ 11906 h 1097756"/>
              <a:gd name="connsiteX2" fmla="*/ 73818 w 2578893"/>
              <a:gd name="connsiteY2" fmla="*/ 54768 h 1097756"/>
              <a:gd name="connsiteX3" fmla="*/ 92868 w 2578893"/>
              <a:gd name="connsiteY3" fmla="*/ 54768 h 1097756"/>
              <a:gd name="connsiteX4" fmla="*/ 92868 w 2578893"/>
              <a:gd name="connsiteY4" fmla="*/ 61912 h 1097756"/>
              <a:gd name="connsiteX5" fmla="*/ 97630 w 2578893"/>
              <a:gd name="connsiteY5" fmla="*/ 61912 h 1097756"/>
              <a:gd name="connsiteX6" fmla="*/ 97630 w 2578893"/>
              <a:gd name="connsiteY6" fmla="*/ 76199 h 1097756"/>
              <a:gd name="connsiteX7" fmla="*/ 104774 w 2578893"/>
              <a:gd name="connsiteY7" fmla="*/ 76199 h 1097756"/>
              <a:gd name="connsiteX8" fmla="*/ 104774 w 2578893"/>
              <a:gd name="connsiteY8" fmla="*/ 90487 h 1097756"/>
              <a:gd name="connsiteX9" fmla="*/ 119062 w 2578893"/>
              <a:gd name="connsiteY9" fmla="*/ 90487 h 1097756"/>
              <a:gd name="connsiteX10" fmla="*/ 119062 w 2578893"/>
              <a:gd name="connsiteY10" fmla="*/ 102393 h 1097756"/>
              <a:gd name="connsiteX11" fmla="*/ 130968 w 2578893"/>
              <a:gd name="connsiteY11" fmla="*/ 102393 h 1097756"/>
              <a:gd name="connsiteX12" fmla="*/ 130968 w 2578893"/>
              <a:gd name="connsiteY12" fmla="*/ 119062 h 1097756"/>
              <a:gd name="connsiteX13" fmla="*/ 145255 w 2578893"/>
              <a:gd name="connsiteY13" fmla="*/ 119062 h 1097756"/>
              <a:gd name="connsiteX14" fmla="*/ 145255 w 2578893"/>
              <a:gd name="connsiteY14" fmla="*/ 128587 h 1097756"/>
              <a:gd name="connsiteX15" fmla="*/ 154780 w 2578893"/>
              <a:gd name="connsiteY15" fmla="*/ 128587 h 1097756"/>
              <a:gd name="connsiteX16" fmla="*/ 154780 w 2578893"/>
              <a:gd name="connsiteY16" fmla="*/ 152399 h 1097756"/>
              <a:gd name="connsiteX17" fmla="*/ 164305 w 2578893"/>
              <a:gd name="connsiteY17" fmla="*/ 152399 h 1097756"/>
              <a:gd name="connsiteX18" fmla="*/ 164305 w 2578893"/>
              <a:gd name="connsiteY18" fmla="*/ 188118 h 1097756"/>
              <a:gd name="connsiteX19" fmla="*/ 164305 w 2578893"/>
              <a:gd name="connsiteY19" fmla="*/ 230981 h 1097756"/>
              <a:gd name="connsiteX20" fmla="*/ 171449 w 2578893"/>
              <a:gd name="connsiteY20" fmla="*/ 230981 h 1097756"/>
              <a:gd name="connsiteX21" fmla="*/ 171449 w 2578893"/>
              <a:gd name="connsiteY21" fmla="*/ 278606 h 1097756"/>
              <a:gd name="connsiteX22" fmla="*/ 176212 w 2578893"/>
              <a:gd name="connsiteY22" fmla="*/ 278606 h 1097756"/>
              <a:gd name="connsiteX23" fmla="*/ 176212 w 2578893"/>
              <a:gd name="connsiteY23" fmla="*/ 297656 h 1097756"/>
              <a:gd name="connsiteX24" fmla="*/ 183355 w 2578893"/>
              <a:gd name="connsiteY24" fmla="*/ 297656 h 1097756"/>
              <a:gd name="connsiteX25" fmla="*/ 183355 w 2578893"/>
              <a:gd name="connsiteY25" fmla="*/ 323849 h 1097756"/>
              <a:gd name="connsiteX26" fmla="*/ 183355 w 2578893"/>
              <a:gd name="connsiteY26" fmla="*/ 326231 h 1097756"/>
              <a:gd name="connsiteX27" fmla="*/ 183355 w 2578893"/>
              <a:gd name="connsiteY27" fmla="*/ 364331 h 1097756"/>
              <a:gd name="connsiteX28" fmla="*/ 195262 w 2578893"/>
              <a:gd name="connsiteY28" fmla="*/ 364331 h 1097756"/>
              <a:gd name="connsiteX29" fmla="*/ 195262 w 2578893"/>
              <a:gd name="connsiteY29" fmla="*/ 380999 h 1097756"/>
              <a:gd name="connsiteX30" fmla="*/ 202405 w 2578893"/>
              <a:gd name="connsiteY30" fmla="*/ 380999 h 1097756"/>
              <a:gd name="connsiteX31" fmla="*/ 202405 w 2578893"/>
              <a:gd name="connsiteY31" fmla="*/ 390524 h 1097756"/>
              <a:gd name="connsiteX32" fmla="*/ 230980 w 2578893"/>
              <a:gd name="connsiteY32" fmla="*/ 390524 h 1097756"/>
              <a:gd name="connsiteX33" fmla="*/ 233362 w 2578893"/>
              <a:gd name="connsiteY33" fmla="*/ 392906 h 1097756"/>
              <a:gd name="connsiteX34" fmla="*/ 245268 w 2578893"/>
              <a:gd name="connsiteY34" fmla="*/ 392906 h 1097756"/>
              <a:gd name="connsiteX35" fmla="*/ 245268 w 2578893"/>
              <a:gd name="connsiteY35" fmla="*/ 431006 h 1097756"/>
              <a:gd name="connsiteX36" fmla="*/ 302418 w 2578893"/>
              <a:gd name="connsiteY36" fmla="*/ 431006 h 1097756"/>
              <a:gd name="connsiteX37" fmla="*/ 302418 w 2578893"/>
              <a:gd name="connsiteY37" fmla="*/ 454818 h 1097756"/>
              <a:gd name="connsiteX38" fmla="*/ 309562 w 2578893"/>
              <a:gd name="connsiteY38" fmla="*/ 454818 h 1097756"/>
              <a:gd name="connsiteX39" fmla="*/ 309562 w 2578893"/>
              <a:gd name="connsiteY39" fmla="*/ 469106 h 1097756"/>
              <a:gd name="connsiteX40" fmla="*/ 323849 w 2578893"/>
              <a:gd name="connsiteY40" fmla="*/ 469106 h 1097756"/>
              <a:gd name="connsiteX41" fmla="*/ 323849 w 2578893"/>
              <a:gd name="connsiteY41" fmla="*/ 478631 h 1097756"/>
              <a:gd name="connsiteX42" fmla="*/ 350043 w 2578893"/>
              <a:gd name="connsiteY42" fmla="*/ 478631 h 1097756"/>
              <a:gd name="connsiteX43" fmla="*/ 354805 w 2578893"/>
              <a:gd name="connsiteY43" fmla="*/ 483393 h 1097756"/>
              <a:gd name="connsiteX44" fmla="*/ 388143 w 2578893"/>
              <a:gd name="connsiteY44" fmla="*/ 483393 h 1097756"/>
              <a:gd name="connsiteX45" fmla="*/ 388143 w 2578893"/>
              <a:gd name="connsiteY45" fmla="*/ 495299 h 1097756"/>
              <a:gd name="connsiteX46" fmla="*/ 402430 w 2578893"/>
              <a:gd name="connsiteY46" fmla="*/ 495299 h 1097756"/>
              <a:gd name="connsiteX47" fmla="*/ 402430 w 2578893"/>
              <a:gd name="connsiteY47" fmla="*/ 561974 h 1097756"/>
              <a:gd name="connsiteX48" fmla="*/ 411955 w 2578893"/>
              <a:gd name="connsiteY48" fmla="*/ 561974 h 1097756"/>
              <a:gd name="connsiteX49" fmla="*/ 411955 w 2578893"/>
              <a:gd name="connsiteY49" fmla="*/ 576262 h 1097756"/>
              <a:gd name="connsiteX50" fmla="*/ 421480 w 2578893"/>
              <a:gd name="connsiteY50" fmla="*/ 576262 h 1097756"/>
              <a:gd name="connsiteX51" fmla="*/ 421480 w 2578893"/>
              <a:gd name="connsiteY51" fmla="*/ 623887 h 1097756"/>
              <a:gd name="connsiteX52" fmla="*/ 421480 w 2578893"/>
              <a:gd name="connsiteY52" fmla="*/ 623887 h 1097756"/>
              <a:gd name="connsiteX53" fmla="*/ 433386 w 2578893"/>
              <a:gd name="connsiteY53" fmla="*/ 635793 h 1097756"/>
              <a:gd name="connsiteX54" fmla="*/ 445293 w 2578893"/>
              <a:gd name="connsiteY54" fmla="*/ 635793 h 1097756"/>
              <a:gd name="connsiteX55" fmla="*/ 445293 w 2578893"/>
              <a:gd name="connsiteY55" fmla="*/ 657224 h 1097756"/>
              <a:gd name="connsiteX56" fmla="*/ 459580 w 2578893"/>
              <a:gd name="connsiteY56" fmla="*/ 657224 h 1097756"/>
              <a:gd name="connsiteX57" fmla="*/ 459580 w 2578893"/>
              <a:gd name="connsiteY57" fmla="*/ 669131 h 1097756"/>
              <a:gd name="connsiteX58" fmla="*/ 473868 w 2578893"/>
              <a:gd name="connsiteY58" fmla="*/ 669131 h 1097756"/>
              <a:gd name="connsiteX59" fmla="*/ 473868 w 2578893"/>
              <a:gd name="connsiteY59" fmla="*/ 676274 h 1097756"/>
              <a:gd name="connsiteX60" fmla="*/ 528637 w 2578893"/>
              <a:gd name="connsiteY60" fmla="*/ 676274 h 1097756"/>
              <a:gd name="connsiteX61" fmla="*/ 535780 w 2578893"/>
              <a:gd name="connsiteY61" fmla="*/ 683417 h 1097756"/>
              <a:gd name="connsiteX62" fmla="*/ 564355 w 2578893"/>
              <a:gd name="connsiteY62" fmla="*/ 683417 h 1097756"/>
              <a:gd name="connsiteX63" fmla="*/ 564355 w 2578893"/>
              <a:gd name="connsiteY63" fmla="*/ 697706 h 1097756"/>
              <a:gd name="connsiteX64" fmla="*/ 581024 w 2578893"/>
              <a:gd name="connsiteY64" fmla="*/ 697706 h 1097756"/>
              <a:gd name="connsiteX65" fmla="*/ 581024 w 2578893"/>
              <a:gd name="connsiteY65" fmla="*/ 711993 h 1097756"/>
              <a:gd name="connsiteX66" fmla="*/ 604837 w 2578893"/>
              <a:gd name="connsiteY66" fmla="*/ 711993 h 1097756"/>
              <a:gd name="connsiteX67" fmla="*/ 604837 w 2578893"/>
              <a:gd name="connsiteY67" fmla="*/ 716756 h 1097756"/>
              <a:gd name="connsiteX68" fmla="*/ 631030 w 2578893"/>
              <a:gd name="connsiteY68" fmla="*/ 716756 h 1097756"/>
              <a:gd name="connsiteX69" fmla="*/ 631030 w 2578893"/>
              <a:gd name="connsiteY69" fmla="*/ 726281 h 1097756"/>
              <a:gd name="connsiteX70" fmla="*/ 645318 w 2578893"/>
              <a:gd name="connsiteY70" fmla="*/ 726281 h 1097756"/>
              <a:gd name="connsiteX71" fmla="*/ 645318 w 2578893"/>
              <a:gd name="connsiteY71" fmla="*/ 738187 h 1097756"/>
              <a:gd name="connsiteX72" fmla="*/ 666749 w 2578893"/>
              <a:gd name="connsiteY72" fmla="*/ 738187 h 1097756"/>
              <a:gd name="connsiteX73" fmla="*/ 666749 w 2578893"/>
              <a:gd name="connsiteY73" fmla="*/ 750093 h 1097756"/>
              <a:gd name="connsiteX74" fmla="*/ 685799 w 2578893"/>
              <a:gd name="connsiteY74" fmla="*/ 750093 h 1097756"/>
              <a:gd name="connsiteX75" fmla="*/ 685799 w 2578893"/>
              <a:gd name="connsiteY75" fmla="*/ 764381 h 1097756"/>
              <a:gd name="connsiteX76" fmla="*/ 690562 w 2578893"/>
              <a:gd name="connsiteY76" fmla="*/ 764381 h 1097756"/>
              <a:gd name="connsiteX77" fmla="*/ 690562 w 2578893"/>
              <a:gd name="connsiteY77" fmla="*/ 769143 h 1097756"/>
              <a:gd name="connsiteX78" fmla="*/ 802480 w 2578893"/>
              <a:gd name="connsiteY78" fmla="*/ 769143 h 1097756"/>
              <a:gd name="connsiteX79" fmla="*/ 802480 w 2578893"/>
              <a:gd name="connsiteY79" fmla="*/ 778668 h 1097756"/>
              <a:gd name="connsiteX80" fmla="*/ 850105 w 2578893"/>
              <a:gd name="connsiteY80" fmla="*/ 778668 h 1097756"/>
              <a:gd name="connsiteX81" fmla="*/ 850105 w 2578893"/>
              <a:gd name="connsiteY81" fmla="*/ 797718 h 1097756"/>
              <a:gd name="connsiteX82" fmla="*/ 900112 w 2578893"/>
              <a:gd name="connsiteY82" fmla="*/ 797718 h 1097756"/>
              <a:gd name="connsiteX83" fmla="*/ 900112 w 2578893"/>
              <a:gd name="connsiteY83" fmla="*/ 797718 h 1097756"/>
              <a:gd name="connsiteX84" fmla="*/ 914400 w 2578893"/>
              <a:gd name="connsiteY84" fmla="*/ 812006 h 1097756"/>
              <a:gd name="connsiteX85" fmla="*/ 921543 w 2578893"/>
              <a:gd name="connsiteY85" fmla="*/ 819149 h 1097756"/>
              <a:gd name="connsiteX86" fmla="*/ 964405 w 2578893"/>
              <a:gd name="connsiteY86" fmla="*/ 819149 h 1097756"/>
              <a:gd name="connsiteX87" fmla="*/ 964405 w 2578893"/>
              <a:gd name="connsiteY87" fmla="*/ 847724 h 1097756"/>
              <a:gd name="connsiteX88" fmla="*/ 1200149 w 2578893"/>
              <a:gd name="connsiteY88" fmla="*/ 847724 h 1097756"/>
              <a:gd name="connsiteX89" fmla="*/ 1200149 w 2578893"/>
              <a:gd name="connsiteY89" fmla="*/ 869156 h 1097756"/>
              <a:gd name="connsiteX90" fmla="*/ 1383505 w 2578893"/>
              <a:gd name="connsiteY90" fmla="*/ 869156 h 1097756"/>
              <a:gd name="connsiteX91" fmla="*/ 1383505 w 2578893"/>
              <a:gd name="connsiteY91" fmla="*/ 885824 h 1097756"/>
              <a:gd name="connsiteX92" fmla="*/ 1473993 w 2578893"/>
              <a:gd name="connsiteY92" fmla="*/ 885824 h 1097756"/>
              <a:gd name="connsiteX93" fmla="*/ 1473993 w 2578893"/>
              <a:gd name="connsiteY93" fmla="*/ 907256 h 1097756"/>
              <a:gd name="connsiteX94" fmla="*/ 1747837 w 2578893"/>
              <a:gd name="connsiteY94" fmla="*/ 907256 h 1097756"/>
              <a:gd name="connsiteX95" fmla="*/ 1747837 w 2578893"/>
              <a:gd name="connsiteY95" fmla="*/ 931068 h 1097756"/>
              <a:gd name="connsiteX96" fmla="*/ 1835943 w 2578893"/>
              <a:gd name="connsiteY96" fmla="*/ 931068 h 1097756"/>
              <a:gd name="connsiteX97" fmla="*/ 1835943 w 2578893"/>
              <a:gd name="connsiteY97" fmla="*/ 964406 h 1097756"/>
              <a:gd name="connsiteX98" fmla="*/ 2076449 w 2578893"/>
              <a:gd name="connsiteY98" fmla="*/ 964406 h 1097756"/>
              <a:gd name="connsiteX99" fmla="*/ 2076449 w 2578893"/>
              <a:gd name="connsiteY99" fmla="*/ 1000124 h 1097756"/>
              <a:gd name="connsiteX100" fmla="*/ 2121693 w 2578893"/>
              <a:gd name="connsiteY100" fmla="*/ 1000124 h 1097756"/>
              <a:gd name="connsiteX101" fmla="*/ 2121693 w 2578893"/>
              <a:gd name="connsiteY101" fmla="*/ 1031081 h 1097756"/>
              <a:gd name="connsiteX102" fmla="*/ 2307430 w 2578893"/>
              <a:gd name="connsiteY102" fmla="*/ 1031081 h 1097756"/>
              <a:gd name="connsiteX103" fmla="*/ 2307430 w 2578893"/>
              <a:gd name="connsiteY103" fmla="*/ 1097756 h 1097756"/>
              <a:gd name="connsiteX104" fmla="*/ 2578893 w 2578893"/>
              <a:gd name="connsiteY104" fmla="*/ 1097756 h 1097756"/>
              <a:gd name="connsiteX0" fmla="*/ 0 w 2578893"/>
              <a:gd name="connsiteY0" fmla="*/ 0 h 1097756"/>
              <a:gd name="connsiteX1" fmla="*/ 76200 w 2578893"/>
              <a:gd name="connsiteY1" fmla="*/ 16669 h 1097756"/>
              <a:gd name="connsiteX2" fmla="*/ 73818 w 2578893"/>
              <a:gd name="connsiteY2" fmla="*/ 54768 h 1097756"/>
              <a:gd name="connsiteX3" fmla="*/ 92868 w 2578893"/>
              <a:gd name="connsiteY3" fmla="*/ 54768 h 1097756"/>
              <a:gd name="connsiteX4" fmla="*/ 92868 w 2578893"/>
              <a:gd name="connsiteY4" fmla="*/ 61912 h 1097756"/>
              <a:gd name="connsiteX5" fmla="*/ 97630 w 2578893"/>
              <a:gd name="connsiteY5" fmla="*/ 61912 h 1097756"/>
              <a:gd name="connsiteX6" fmla="*/ 97630 w 2578893"/>
              <a:gd name="connsiteY6" fmla="*/ 76199 h 1097756"/>
              <a:gd name="connsiteX7" fmla="*/ 104774 w 2578893"/>
              <a:gd name="connsiteY7" fmla="*/ 76199 h 1097756"/>
              <a:gd name="connsiteX8" fmla="*/ 104774 w 2578893"/>
              <a:gd name="connsiteY8" fmla="*/ 90487 h 1097756"/>
              <a:gd name="connsiteX9" fmla="*/ 119062 w 2578893"/>
              <a:gd name="connsiteY9" fmla="*/ 90487 h 1097756"/>
              <a:gd name="connsiteX10" fmla="*/ 119062 w 2578893"/>
              <a:gd name="connsiteY10" fmla="*/ 102393 h 1097756"/>
              <a:gd name="connsiteX11" fmla="*/ 130968 w 2578893"/>
              <a:gd name="connsiteY11" fmla="*/ 102393 h 1097756"/>
              <a:gd name="connsiteX12" fmla="*/ 130968 w 2578893"/>
              <a:gd name="connsiteY12" fmla="*/ 119062 h 1097756"/>
              <a:gd name="connsiteX13" fmla="*/ 145255 w 2578893"/>
              <a:gd name="connsiteY13" fmla="*/ 119062 h 1097756"/>
              <a:gd name="connsiteX14" fmla="*/ 145255 w 2578893"/>
              <a:gd name="connsiteY14" fmla="*/ 128587 h 1097756"/>
              <a:gd name="connsiteX15" fmla="*/ 154780 w 2578893"/>
              <a:gd name="connsiteY15" fmla="*/ 128587 h 1097756"/>
              <a:gd name="connsiteX16" fmla="*/ 154780 w 2578893"/>
              <a:gd name="connsiteY16" fmla="*/ 152399 h 1097756"/>
              <a:gd name="connsiteX17" fmla="*/ 164305 w 2578893"/>
              <a:gd name="connsiteY17" fmla="*/ 152399 h 1097756"/>
              <a:gd name="connsiteX18" fmla="*/ 164305 w 2578893"/>
              <a:gd name="connsiteY18" fmla="*/ 188118 h 1097756"/>
              <a:gd name="connsiteX19" fmla="*/ 164305 w 2578893"/>
              <a:gd name="connsiteY19" fmla="*/ 230981 h 1097756"/>
              <a:gd name="connsiteX20" fmla="*/ 171449 w 2578893"/>
              <a:gd name="connsiteY20" fmla="*/ 230981 h 1097756"/>
              <a:gd name="connsiteX21" fmla="*/ 171449 w 2578893"/>
              <a:gd name="connsiteY21" fmla="*/ 278606 h 1097756"/>
              <a:gd name="connsiteX22" fmla="*/ 176212 w 2578893"/>
              <a:gd name="connsiteY22" fmla="*/ 278606 h 1097756"/>
              <a:gd name="connsiteX23" fmla="*/ 176212 w 2578893"/>
              <a:gd name="connsiteY23" fmla="*/ 297656 h 1097756"/>
              <a:gd name="connsiteX24" fmla="*/ 183355 w 2578893"/>
              <a:gd name="connsiteY24" fmla="*/ 297656 h 1097756"/>
              <a:gd name="connsiteX25" fmla="*/ 183355 w 2578893"/>
              <a:gd name="connsiteY25" fmla="*/ 323849 h 1097756"/>
              <a:gd name="connsiteX26" fmla="*/ 183355 w 2578893"/>
              <a:gd name="connsiteY26" fmla="*/ 326231 h 1097756"/>
              <a:gd name="connsiteX27" fmla="*/ 183355 w 2578893"/>
              <a:gd name="connsiteY27" fmla="*/ 364331 h 1097756"/>
              <a:gd name="connsiteX28" fmla="*/ 195262 w 2578893"/>
              <a:gd name="connsiteY28" fmla="*/ 364331 h 1097756"/>
              <a:gd name="connsiteX29" fmla="*/ 195262 w 2578893"/>
              <a:gd name="connsiteY29" fmla="*/ 380999 h 1097756"/>
              <a:gd name="connsiteX30" fmla="*/ 202405 w 2578893"/>
              <a:gd name="connsiteY30" fmla="*/ 380999 h 1097756"/>
              <a:gd name="connsiteX31" fmla="*/ 202405 w 2578893"/>
              <a:gd name="connsiteY31" fmla="*/ 390524 h 1097756"/>
              <a:gd name="connsiteX32" fmla="*/ 230980 w 2578893"/>
              <a:gd name="connsiteY32" fmla="*/ 390524 h 1097756"/>
              <a:gd name="connsiteX33" fmla="*/ 233362 w 2578893"/>
              <a:gd name="connsiteY33" fmla="*/ 392906 h 1097756"/>
              <a:gd name="connsiteX34" fmla="*/ 245268 w 2578893"/>
              <a:gd name="connsiteY34" fmla="*/ 392906 h 1097756"/>
              <a:gd name="connsiteX35" fmla="*/ 245268 w 2578893"/>
              <a:gd name="connsiteY35" fmla="*/ 431006 h 1097756"/>
              <a:gd name="connsiteX36" fmla="*/ 302418 w 2578893"/>
              <a:gd name="connsiteY36" fmla="*/ 431006 h 1097756"/>
              <a:gd name="connsiteX37" fmla="*/ 302418 w 2578893"/>
              <a:gd name="connsiteY37" fmla="*/ 454818 h 1097756"/>
              <a:gd name="connsiteX38" fmla="*/ 309562 w 2578893"/>
              <a:gd name="connsiteY38" fmla="*/ 454818 h 1097756"/>
              <a:gd name="connsiteX39" fmla="*/ 309562 w 2578893"/>
              <a:gd name="connsiteY39" fmla="*/ 469106 h 1097756"/>
              <a:gd name="connsiteX40" fmla="*/ 323849 w 2578893"/>
              <a:gd name="connsiteY40" fmla="*/ 469106 h 1097756"/>
              <a:gd name="connsiteX41" fmla="*/ 323849 w 2578893"/>
              <a:gd name="connsiteY41" fmla="*/ 478631 h 1097756"/>
              <a:gd name="connsiteX42" fmla="*/ 350043 w 2578893"/>
              <a:gd name="connsiteY42" fmla="*/ 478631 h 1097756"/>
              <a:gd name="connsiteX43" fmla="*/ 354805 w 2578893"/>
              <a:gd name="connsiteY43" fmla="*/ 483393 h 1097756"/>
              <a:gd name="connsiteX44" fmla="*/ 388143 w 2578893"/>
              <a:gd name="connsiteY44" fmla="*/ 483393 h 1097756"/>
              <a:gd name="connsiteX45" fmla="*/ 388143 w 2578893"/>
              <a:gd name="connsiteY45" fmla="*/ 495299 h 1097756"/>
              <a:gd name="connsiteX46" fmla="*/ 402430 w 2578893"/>
              <a:gd name="connsiteY46" fmla="*/ 495299 h 1097756"/>
              <a:gd name="connsiteX47" fmla="*/ 402430 w 2578893"/>
              <a:gd name="connsiteY47" fmla="*/ 561974 h 1097756"/>
              <a:gd name="connsiteX48" fmla="*/ 411955 w 2578893"/>
              <a:gd name="connsiteY48" fmla="*/ 561974 h 1097756"/>
              <a:gd name="connsiteX49" fmla="*/ 411955 w 2578893"/>
              <a:gd name="connsiteY49" fmla="*/ 576262 h 1097756"/>
              <a:gd name="connsiteX50" fmla="*/ 421480 w 2578893"/>
              <a:gd name="connsiteY50" fmla="*/ 576262 h 1097756"/>
              <a:gd name="connsiteX51" fmla="*/ 421480 w 2578893"/>
              <a:gd name="connsiteY51" fmla="*/ 623887 h 1097756"/>
              <a:gd name="connsiteX52" fmla="*/ 421480 w 2578893"/>
              <a:gd name="connsiteY52" fmla="*/ 623887 h 1097756"/>
              <a:gd name="connsiteX53" fmla="*/ 433386 w 2578893"/>
              <a:gd name="connsiteY53" fmla="*/ 635793 h 1097756"/>
              <a:gd name="connsiteX54" fmla="*/ 445293 w 2578893"/>
              <a:gd name="connsiteY54" fmla="*/ 635793 h 1097756"/>
              <a:gd name="connsiteX55" fmla="*/ 445293 w 2578893"/>
              <a:gd name="connsiteY55" fmla="*/ 657224 h 1097756"/>
              <a:gd name="connsiteX56" fmla="*/ 459580 w 2578893"/>
              <a:gd name="connsiteY56" fmla="*/ 657224 h 1097756"/>
              <a:gd name="connsiteX57" fmla="*/ 459580 w 2578893"/>
              <a:gd name="connsiteY57" fmla="*/ 669131 h 1097756"/>
              <a:gd name="connsiteX58" fmla="*/ 473868 w 2578893"/>
              <a:gd name="connsiteY58" fmla="*/ 669131 h 1097756"/>
              <a:gd name="connsiteX59" fmla="*/ 473868 w 2578893"/>
              <a:gd name="connsiteY59" fmla="*/ 676274 h 1097756"/>
              <a:gd name="connsiteX60" fmla="*/ 528637 w 2578893"/>
              <a:gd name="connsiteY60" fmla="*/ 676274 h 1097756"/>
              <a:gd name="connsiteX61" fmla="*/ 535780 w 2578893"/>
              <a:gd name="connsiteY61" fmla="*/ 683417 h 1097756"/>
              <a:gd name="connsiteX62" fmla="*/ 564355 w 2578893"/>
              <a:gd name="connsiteY62" fmla="*/ 683417 h 1097756"/>
              <a:gd name="connsiteX63" fmla="*/ 564355 w 2578893"/>
              <a:gd name="connsiteY63" fmla="*/ 697706 h 1097756"/>
              <a:gd name="connsiteX64" fmla="*/ 581024 w 2578893"/>
              <a:gd name="connsiteY64" fmla="*/ 697706 h 1097756"/>
              <a:gd name="connsiteX65" fmla="*/ 581024 w 2578893"/>
              <a:gd name="connsiteY65" fmla="*/ 711993 h 1097756"/>
              <a:gd name="connsiteX66" fmla="*/ 604837 w 2578893"/>
              <a:gd name="connsiteY66" fmla="*/ 711993 h 1097756"/>
              <a:gd name="connsiteX67" fmla="*/ 604837 w 2578893"/>
              <a:gd name="connsiteY67" fmla="*/ 716756 h 1097756"/>
              <a:gd name="connsiteX68" fmla="*/ 631030 w 2578893"/>
              <a:gd name="connsiteY68" fmla="*/ 716756 h 1097756"/>
              <a:gd name="connsiteX69" fmla="*/ 631030 w 2578893"/>
              <a:gd name="connsiteY69" fmla="*/ 726281 h 1097756"/>
              <a:gd name="connsiteX70" fmla="*/ 645318 w 2578893"/>
              <a:gd name="connsiteY70" fmla="*/ 726281 h 1097756"/>
              <a:gd name="connsiteX71" fmla="*/ 645318 w 2578893"/>
              <a:gd name="connsiteY71" fmla="*/ 738187 h 1097756"/>
              <a:gd name="connsiteX72" fmla="*/ 666749 w 2578893"/>
              <a:gd name="connsiteY72" fmla="*/ 738187 h 1097756"/>
              <a:gd name="connsiteX73" fmla="*/ 666749 w 2578893"/>
              <a:gd name="connsiteY73" fmla="*/ 750093 h 1097756"/>
              <a:gd name="connsiteX74" fmla="*/ 685799 w 2578893"/>
              <a:gd name="connsiteY74" fmla="*/ 750093 h 1097756"/>
              <a:gd name="connsiteX75" fmla="*/ 685799 w 2578893"/>
              <a:gd name="connsiteY75" fmla="*/ 764381 h 1097756"/>
              <a:gd name="connsiteX76" fmla="*/ 690562 w 2578893"/>
              <a:gd name="connsiteY76" fmla="*/ 764381 h 1097756"/>
              <a:gd name="connsiteX77" fmla="*/ 690562 w 2578893"/>
              <a:gd name="connsiteY77" fmla="*/ 769143 h 1097756"/>
              <a:gd name="connsiteX78" fmla="*/ 802480 w 2578893"/>
              <a:gd name="connsiteY78" fmla="*/ 769143 h 1097756"/>
              <a:gd name="connsiteX79" fmla="*/ 802480 w 2578893"/>
              <a:gd name="connsiteY79" fmla="*/ 778668 h 1097756"/>
              <a:gd name="connsiteX80" fmla="*/ 850105 w 2578893"/>
              <a:gd name="connsiteY80" fmla="*/ 778668 h 1097756"/>
              <a:gd name="connsiteX81" fmla="*/ 850105 w 2578893"/>
              <a:gd name="connsiteY81" fmla="*/ 797718 h 1097756"/>
              <a:gd name="connsiteX82" fmla="*/ 900112 w 2578893"/>
              <a:gd name="connsiteY82" fmla="*/ 797718 h 1097756"/>
              <a:gd name="connsiteX83" fmla="*/ 900112 w 2578893"/>
              <a:gd name="connsiteY83" fmla="*/ 797718 h 1097756"/>
              <a:gd name="connsiteX84" fmla="*/ 914400 w 2578893"/>
              <a:gd name="connsiteY84" fmla="*/ 812006 h 1097756"/>
              <a:gd name="connsiteX85" fmla="*/ 921543 w 2578893"/>
              <a:gd name="connsiteY85" fmla="*/ 819149 h 1097756"/>
              <a:gd name="connsiteX86" fmla="*/ 964405 w 2578893"/>
              <a:gd name="connsiteY86" fmla="*/ 819149 h 1097756"/>
              <a:gd name="connsiteX87" fmla="*/ 964405 w 2578893"/>
              <a:gd name="connsiteY87" fmla="*/ 847724 h 1097756"/>
              <a:gd name="connsiteX88" fmla="*/ 1200149 w 2578893"/>
              <a:gd name="connsiteY88" fmla="*/ 847724 h 1097756"/>
              <a:gd name="connsiteX89" fmla="*/ 1200149 w 2578893"/>
              <a:gd name="connsiteY89" fmla="*/ 869156 h 1097756"/>
              <a:gd name="connsiteX90" fmla="*/ 1383505 w 2578893"/>
              <a:gd name="connsiteY90" fmla="*/ 869156 h 1097756"/>
              <a:gd name="connsiteX91" fmla="*/ 1383505 w 2578893"/>
              <a:gd name="connsiteY91" fmla="*/ 885824 h 1097756"/>
              <a:gd name="connsiteX92" fmla="*/ 1473993 w 2578893"/>
              <a:gd name="connsiteY92" fmla="*/ 885824 h 1097756"/>
              <a:gd name="connsiteX93" fmla="*/ 1473993 w 2578893"/>
              <a:gd name="connsiteY93" fmla="*/ 907256 h 1097756"/>
              <a:gd name="connsiteX94" fmla="*/ 1747837 w 2578893"/>
              <a:gd name="connsiteY94" fmla="*/ 907256 h 1097756"/>
              <a:gd name="connsiteX95" fmla="*/ 1747837 w 2578893"/>
              <a:gd name="connsiteY95" fmla="*/ 931068 h 1097756"/>
              <a:gd name="connsiteX96" fmla="*/ 1835943 w 2578893"/>
              <a:gd name="connsiteY96" fmla="*/ 931068 h 1097756"/>
              <a:gd name="connsiteX97" fmla="*/ 1835943 w 2578893"/>
              <a:gd name="connsiteY97" fmla="*/ 964406 h 1097756"/>
              <a:gd name="connsiteX98" fmla="*/ 2076449 w 2578893"/>
              <a:gd name="connsiteY98" fmla="*/ 964406 h 1097756"/>
              <a:gd name="connsiteX99" fmla="*/ 2076449 w 2578893"/>
              <a:gd name="connsiteY99" fmla="*/ 1000124 h 1097756"/>
              <a:gd name="connsiteX100" fmla="*/ 2121693 w 2578893"/>
              <a:gd name="connsiteY100" fmla="*/ 1000124 h 1097756"/>
              <a:gd name="connsiteX101" fmla="*/ 2121693 w 2578893"/>
              <a:gd name="connsiteY101" fmla="*/ 1031081 h 1097756"/>
              <a:gd name="connsiteX102" fmla="*/ 2307430 w 2578893"/>
              <a:gd name="connsiteY102" fmla="*/ 1031081 h 1097756"/>
              <a:gd name="connsiteX103" fmla="*/ 2307430 w 2578893"/>
              <a:gd name="connsiteY103" fmla="*/ 1097756 h 1097756"/>
              <a:gd name="connsiteX104" fmla="*/ 2578893 w 2578893"/>
              <a:gd name="connsiteY104" fmla="*/ 1097756 h 1097756"/>
              <a:gd name="connsiteX0" fmla="*/ 0 w 2578893"/>
              <a:gd name="connsiteY0" fmla="*/ 0 h 1097756"/>
              <a:gd name="connsiteX1" fmla="*/ 76200 w 2578893"/>
              <a:gd name="connsiteY1" fmla="*/ 16669 h 1097756"/>
              <a:gd name="connsiteX2" fmla="*/ 73818 w 2578893"/>
              <a:gd name="connsiteY2" fmla="*/ 54768 h 1097756"/>
              <a:gd name="connsiteX3" fmla="*/ 92868 w 2578893"/>
              <a:gd name="connsiteY3" fmla="*/ 54768 h 1097756"/>
              <a:gd name="connsiteX4" fmla="*/ 92868 w 2578893"/>
              <a:gd name="connsiteY4" fmla="*/ 61912 h 1097756"/>
              <a:gd name="connsiteX5" fmla="*/ 97630 w 2578893"/>
              <a:gd name="connsiteY5" fmla="*/ 61912 h 1097756"/>
              <a:gd name="connsiteX6" fmla="*/ 97630 w 2578893"/>
              <a:gd name="connsiteY6" fmla="*/ 76199 h 1097756"/>
              <a:gd name="connsiteX7" fmla="*/ 104774 w 2578893"/>
              <a:gd name="connsiteY7" fmla="*/ 76199 h 1097756"/>
              <a:gd name="connsiteX8" fmla="*/ 104774 w 2578893"/>
              <a:gd name="connsiteY8" fmla="*/ 90487 h 1097756"/>
              <a:gd name="connsiteX9" fmla="*/ 119062 w 2578893"/>
              <a:gd name="connsiteY9" fmla="*/ 90487 h 1097756"/>
              <a:gd name="connsiteX10" fmla="*/ 119062 w 2578893"/>
              <a:gd name="connsiteY10" fmla="*/ 102393 h 1097756"/>
              <a:gd name="connsiteX11" fmla="*/ 130968 w 2578893"/>
              <a:gd name="connsiteY11" fmla="*/ 102393 h 1097756"/>
              <a:gd name="connsiteX12" fmla="*/ 130968 w 2578893"/>
              <a:gd name="connsiteY12" fmla="*/ 119062 h 1097756"/>
              <a:gd name="connsiteX13" fmla="*/ 145255 w 2578893"/>
              <a:gd name="connsiteY13" fmla="*/ 119062 h 1097756"/>
              <a:gd name="connsiteX14" fmla="*/ 145255 w 2578893"/>
              <a:gd name="connsiteY14" fmla="*/ 128587 h 1097756"/>
              <a:gd name="connsiteX15" fmla="*/ 154780 w 2578893"/>
              <a:gd name="connsiteY15" fmla="*/ 128587 h 1097756"/>
              <a:gd name="connsiteX16" fmla="*/ 154780 w 2578893"/>
              <a:gd name="connsiteY16" fmla="*/ 152399 h 1097756"/>
              <a:gd name="connsiteX17" fmla="*/ 164305 w 2578893"/>
              <a:gd name="connsiteY17" fmla="*/ 152399 h 1097756"/>
              <a:gd name="connsiteX18" fmla="*/ 164305 w 2578893"/>
              <a:gd name="connsiteY18" fmla="*/ 188118 h 1097756"/>
              <a:gd name="connsiteX19" fmla="*/ 164305 w 2578893"/>
              <a:gd name="connsiteY19" fmla="*/ 230981 h 1097756"/>
              <a:gd name="connsiteX20" fmla="*/ 171449 w 2578893"/>
              <a:gd name="connsiteY20" fmla="*/ 230981 h 1097756"/>
              <a:gd name="connsiteX21" fmla="*/ 171449 w 2578893"/>
              <a:gd name="connsiteY21" fmla="*/ 278606 h 1097756"/>
              <a:gd name="connsiteX22" fmla="*/ 176212 w 2578893"/>
              <a:gd name="connsiteY22" fmla="*/ 278606 h 1097756"/>
              <a:gd name="connsiteX23" fmla="*/ 176212 w 2578893"/>
              <a:gd name="connsiteY23" fmla="*/ 297656 h 1097756"/>
              <a:gd name="connsiteX24" fmla="*/ 183355 w 2578893"/>
              <a:gd name="connsiteY24" fmla="*/ 297656 h 1097756"/>
              <a:gd name="connsiteX25" fmla="*/ 183355 w 2578893"/>
              <a:gd name="connsiteY25" fmla="*/ 323849 h 1097756"/>
              <a:gd name="connsiteX26" fmla="*/ 183355 w 2578893"/>
              <a:gd name="connsiteY26" fmla="*/ 326231 h 1097756"/>
              <a:gd name="connsiteX27" fmla="*/ 183355 w 2578893"/>
              <a:gd name="connsiteY27" fmla="*/ 364331 h 1097756"/>
              <a:gd name="connsiteX28" fmla="*/ 195262 w 2578893"/>
              <a:gd name="connsiteY28" fmla="*/ 364331 h 1097756"/>
              <a:gd name="connsiteX29" fmla="*/ 195262 w 2578893"/>
              <a:gd name="connsiteY29" fmla="*/ 380999 h 1097756"/>
              <a:gd name="connsiteX30" fmla="*/ 202405 w 2578893"/>
              <a:gd name="connsiteY30" fmla="*/ 380999 h 1097756"/>
              <a:gd name="connsiteX31" fmla="*/ 202405 w 2578893"/>
              <a:gd name="connsiteY31" fmla="*/ 390524 h 1097756"/>
              <a:gd name="connsiteX32" fmla="*/ 230980 w 2578893"/>
              <a:gd name="connsiteY32" fmla="*/ 390524 h 1097756"/>
              <a:gd name="connsiteX33" fmla="*/ 233362 w 2578893"/>
              <a:gd name="connsiteY33" fmla="*/ 392906 h 1097756"/>
              <a:gd name="connsiteX34" fmla="*/ 245268 w 2578893"/>
              <a:gd name="connsiteY34" fmla="*/ 392906 h 1097756"/>
              <a:gd name="connsiteX35" fmla="*/ 245268 w 2578893"/>
              <a:gd name="connsiteY35" fmla="*/ 431006 h 1097756"/>
              <a:gd name="connsiteX36" fmla="*/ 302418 w 2578893"/>
              <a:gd name="connsiteY36" fmla="*/ 431006 h 1097756"/>
              <a:gd name="connsiteX37" fmla="*/ 302418 w 2578893"/>
              <a:gd name="connsiteY37" fmla="*/ 454818 h 1097756"/>
              <a:gd name="connsiteX38" fmla="*/ 309562 w 2578893"/>
              <a:gd name="connsiteY38" fmla="*/ 454818 h 1097756"/>
              <a:gd name="connsiteX39" fmla="*/ 309562 w 2578893"/>
              <a:gd name="connsiteY39" fmla="*/ 469106 h 1097756"/>
              <a:gd name="connsiteX40" fmla="*/ 323849 w 2578893"/>
              <a:gd name="connsiteY40" fmla="*/ 469106 h 1097756"/>
              <a:gd name="connsiteX41" fmla="*/ 323849 w 2578893"/>
              <a:gd name="connsiteY41" fmla="*/ 478631 h 1097756"/>
              <a:gd name="connsiteX42" fmla="*/ 350043 w 2578893"/>
              <a:gd name="connsiteY42" fmla="*/ 478631 h 1097756"/>
              <a:gd name="connsiteX43" fmla="*/ 354805 w 2578893"/>
              <a:gd name="connsiteY43" fmla="*/ 483393 h 1097756"/>
              <a:gd name="connsiteX44" fmla="*/ 388143 w 2578893"/>
              <a:gd name="connsiteY44" fmla="*/ 483393 h 1097756"/>
              <a:gd name="connsiteX45" fmla="*/ 388143 w 2578893"/>
              <a:gd name="connsiteY45" fmla="*/ 495299 h 1097756"/>
              <a:gd name="connsiteX46" fmla="*/ 402430 w 2578893"/>
              <a:gd name="connsiteY46" fmla="*/ 495299 h 1097756"/>
              <a:gd name="connsiteX47" fmla="*/ 402430 w 2578893"/>
              <a:gd name="connsiteY47" fmla="*/ 561974 h 1097756"/>
              <a:gd name="connsiteX48" fmla="*/ 411955 w 2578893"/>
              <a:gd name="connsiteY48" fmla="*/ 561974 h 1097756"/>
              <a:gd name="connsiteX49" fmla="*/ 411955 w 2578893"/>
              <a:gd name="connsiteY49" fmla="*/ 576262 h 1097756"/>
              <a:gd name="connsiteX50" fmla="*/ 421480 w 2578893"/>
              <a:gd name="connsiteY50" fmla="*/ 576262 h 1097756"/>
              <a:gd name="connsiteX51" fmla="*/ 421480 w 2578893"/>
              <a:gd name="connsiteY51" fmla="*/ 623887 h 1097756"/>
              <a:gd name="connsiteX52" fmla="*/ 421480 w 2578893"/>
              <a:gd name="connsiteY52" fmla="*/ 623887 h 1097756"/>
              <a:gd name="connsiteX53" fmla="*/ 433386 w 2578893"/>
              <a:gd name="connsiteY53" fmla="*/ 635793 h 1097756"/>
              <a:gd name="connsiteX54" fmla="*/ 445293 w 2578893"/>
              <a:gd name="connsiteY54" fmla="*/ 635793 h 1097756"/>
              <a:gd name="connsiteX55" fmla="*/ 445293 w 2578893"/>
              <a:gd name="connsiteY55" fmla="*/ 657224 h 1097756"/>
              <a:gd name="connsiteX56" fmla="*/ 459580 w 2578893"/>
              <a:gd name="connsiteY56" fmla="*/ 657224 h 1097756"/>
              <a:gd name="connsiteX57" fmla="*/ 459580 w 2578893"/>
              <a:gd name="connsiteY57" fmla="*/ 669131 h 1097756"/>
              <a:gd name="connsiteX58" fmla="*/ 473868 w 2578893"/>
              <a:gd name="connsiteY58" fmla="*/ 669131 h 1097756"/>
              <a:gd name="connsiteX59" fmla="*/ 473868 w 2578893"/>
              <a:gd name="connsiteY59" fmla="*/ 676274 h 1097756"/>
              <a:gd name="connsiteX60" fmla="*/ 528637 w 2578893"/>
              <a:gd name="connsiteY60" fmla="*/ 676274 h 1097756"/>
              <a:gd name="connsiteX61" fmla="*/ 535780 w 2578893"/>
              <a:gd name="connsiteY61" fmla="*/ 683417 h 1097756"/>
              <a:gd name="connsiteX62" fmla="*/ 564355 w 2578893"/>
              <a:gd name="connsiteY62" fmla="*/ 683417 h 1097756"/>
              <a:gd name="connsiteX63" fmla="*/ 564355 w 2578893"/>
              <a:gd name="connsiteY63" fmla="*/ 697706 h 1097756"/>
              <a:gd name="connsiteX64" fmla="*/ 581024 w 2578893"/>
              <a:gd name="connsiteY64" fmla="*/ 697706 h 1097756"/>
              <a:gd name="connsiteX65" fmla="*/ 581024 w 2578893"/>
              <a:gd name="connsiteY65" fmla="*/ 711993 h 1097756"/>
              <a:gd name="connsiteX66" fmla="*/ 604837 w 2578893"/>
              <a:gd name="connsiteY66" fmla="*/ 711993 h 1097756"/>
              <a:gd name="connsiteX67" fmla="*/ 604837 w 2578893"/>
              <a:gd name="connsiteY67" fmla="*/ 716756 h 1097756"/>
              <a:gd name="connsiteX68" fmla="*/ 631030 w 2578893"/>
              <a:gd name="connsiteY68" fmla="*/ 716756 h 1097756"/>
              <a:gd name="connsiteX69" fmla="*/ 631030 w 2578893"/>
              <a:gd name="connsiteY69" fmla="*/ 726281 h 1097756"/>
              <a:gd name="connsiteX70" fmla="*/ 645318 w 2578893"/>
              <a:gd name="connsiteY70" fmla="*/ 726281 h 1097756"/>
              <a:gd name="connsiteX71" fmla="*/ 645318 w 2578893"/>
              <a:gd name="connsiteY71" fmla="*/ 738187 h 1097756"/>
              <a:gd name="connsiteX72" fmla="*/ 666749 w 2578893"/>
              <a:gd name="connsiteY72" fmla="*/ 738187 h 1097756"/>
              <a:gd name="connsiteX73" fmla="*/ 666749 w 2578893"/>
              <a:gd name="connsiteY73" fmla="*/ 750093 h 1097756"/>
              <a:gd name="connsiteX74" fmla="*/ 685799 w 2578893"/>
              <a:gd name="connsiteY74" fmla="*/ 750093 h 1097756"/>
              <a:gd name="connsiteX75" fmla="*/ 685799 w 2578893"/>
              <a:gd name="connsiteY75" fmla="*/ 764381 h 1097756"/>
              <a:gd name="connsiteX76" fmla="*/ 690562 w 2578893"/>
              <a:gd name="connsiteY76" fmla="*/ 764381 h 1097756"/>
              <a:gd name="connsiteX77" fmla="*/ 690562 w 2578893"/>
              <a:gd name="connsiteY77" fmla="*/ 769143 h 1097756"/>
              <a:gd name="connsiteX78" fmla="*/ 802480 w 2578893"/>
              <a:gd name="connsiteY78" fmla="*/ 769143 h 1097756"/>
              <a:gd name="connsiteX79" fmla="*/ 802480 w 2578893"/>
              <a:gd name="connsiteY79" fmla="*/ 778668 h 1097756"/>
              <a:gd name="connsiteX80" fmla="*/ 850105 w 2578893"/>
              <a:gd name="connsiteY80" fmla="*/ 778668 h 1097756"/>
              <a:gd name="connsiteX81" fmla="*/ 850105 w 2578893"/>
              <a:gd name="connsiteY81" fmla="*/ 797718 h 1097756"/>
              <a:gd name="connsiteX82" fmla="*/ 900112 w 2578893"/>
              <a:gd name="connsiteY82" fmla="*/ 797718 h 1097756"/>
              <a:gd name="connsiteX83" fmla="*/ 900112 w 2578893"/>
              <a:gd name="connsiteY83" fmla="*/ 797718 h 1097756"/>
              <a:gd name="connsiteX84" fmla="*/ 914400 w 2578893"/>
              <a:gd name="connsiteY84" fmla="*/ 812006 h 1097756"/>
              <a:gd name="connsiteX85" fmla="*/ 921543 w 2578893"/>
              <a:gd name="connsiteY85" fmla="*/ 819149 h 1097756"/>
              <a:gd name="connsiteX86" fmla="*/ 964405 w 2578893"/>
              <a:gd name="connsiteY86" fmla="*/ 819149 h 1097756"/>
              <a:gd name="connsiteX87" fmla="*/ 964405 w 2578893"/>
              <a:gd name="connsiteY87" fmla="*/ 847724 h 1097756"/>
              <a:gd name="connsiteX88" fmla="*/ 1200149 w 2578893"/>
              <a:gd name="connsiteY88" fmla="*/ 847724 h 1097756"/>
              <a:gd name="connsiteX89" fmla="*/ 1200149 w 2578893"/>
              <a:gd name="connsiteY89" fmla="*/ 869156 h 1097756"/>
              <a:gd name="connsiteX90" fmla="*/ 1383505 w 2578893"/>
              <a:gd name="connsiteY90" fmla="*/ 869156 h 1097756"/>
              <a:gd name="connsiteX91" fmla="*/ 1383505 w 2578893"/>
              <a:gd name="connsiteY91" fmla="*/ 885824 h 1097756"/>
              <a:gd name="connsiteX92" fmla="*/ 1473993 w 2578893"/>
              <a:gd name="connsiteY92" fmla="*/ 885824 h 1097756"/>
              <a:gd name="connsiteX93" fmla="*/ 1473993 w 2578893"/>
              <a:gd name="connsiteY93" fmla="*/ 907256 h 1097756"/>
              <a:gd name="connsiteX94" fmla="*/ 1747837 w 2578893"/>
              <a:gd name="connsiteY94" fmla="*/ 907256 h 1097756"/>
              <a:gd name="connsiteX95" fmla="*/ 1747837 w 2578893"/>
              <a:gd name="connsiteY95" fmla="*/ 931068 h 1097756"/>
              <a:gd name="connsiteX96" fmla="*/ 1835943 w 2578893"/>
              <a:gd name="connsiteY96" fmla="*/ 931068 h 1097756"/>
              <a:gd name="connsiteX97" fmla="*/ 1835943 w 2578893"/>
              <a:gd name="connsiteY97" fmla="*/ 964406 h 1097756"/>
              <a:gd name="connsiteX98" fmla="*/ 2076449 w 2578893"/>
              <a:gd name="connsiteY98" fmla="*/ 964406 h 1097756"/>
              <a:gd name="connsiteX99" fmla="*/ 2076449 w 2578893"/>
              <a:gd name="connsiteY99" fmla="*/ 1000124 h 1097756"/>
              <a:gd name="connsiteX100" fmla="*/ 2121693 w 2578893"/>
              <a:gd name="connsiteY100" fmla="*/ 1000124 h 1097756"/>
              <a:gd name="connsiteX101" fmla="*/ 2121693 w 2578893"/>
              <a:gd name="connsiteY101" fmla="*/ 1031081 h 1097756"/>
              <a:gd name="connsiteX102" fmla="*/ 2307430 w 2578893"/>
              <a:gd name="connsiteY102" fmla="*/ 1031081 h 1097756"/>
              <a:gd name="connsiteX103" fmla="*/ 2307430 w 2578893"/>
              <a:gd name="connsiteY103" fmla="*/ 1097756 h 1097756"/>
              <a:gd name="connsiteX104" fmla="*/ 2578893 w 2578893"/>
              <a:gd name="connsiteY104" fmla="*/ 1097756 h 1097756"/>
              <a:gd name="connsiteX0" fmla="*/ 0 w 2557461"/>
              <a:gd name="connsiteY0" fmla="*/ 0 h 1090613"/>
              <a:gd name="connsiteX1" fmla="*/ 54768 w 2557461"/>
              <a:gd name="connsiteY1" fmla="*/ 9526 h 1090613"/>
              <a:gd name="connsiteX2" fmla="*/ 52386 w 2557461"/>
              <a:gd name="connsiteY2" fmla="*/ 47625 h 1090613"/>
              <a:gd name="connsiteX3" fmla="*/ 71436 w 2557461"/>
              <a:gd name="connsiteY3" fmla="*/ 47625 h 1090613"/>
              <a:gd name="connsiteX4" fmla="*/ 71436 w 2557461"/>
              <a:gd name="connsiteY4" fmla="*/ 54769 h 1090613"/>
              <a:gd name="connsiteX5" fmla="*/ 76198 w 2557461"/>
              <a:gd name="connsiteY5" fmla="*/ 54769 h 1090613"/>
              <a:gd name="connsiteX6" fmla="*/ 76198 w 2557461"/>
              <a:gd name="connsiteY6" fmla="*/ 69056 h 1090613"/>
              <a:gd name="connsiteX7" fmla="*/ 83342 w 2557461"/>
              <a:gd name="connsiteY7" fmla="*/ 69056 h 1090613"/>
              <a:gd name="connsiteX8" fmla="*/ 83342 w 2557461"/>
              <a:gd name="connsiteY8" fmla="*/ 83344 h 1090613"/>
              <a:gd name="connsiteX9" fmla="*/ 97630 w 2557461"/>
              <a:gd name="connsiteY9" fmla="*/ 83344 h 1090613"/>
              <a:gd name="connsiteX10" fmla="*/ 97630 w 2557461"/>
              <a:gd name="connsiteY10" fmla="*/ 95250 h 1090613"/>
              <a:gd name="connsiteX11" fmla="*/ 109536 w 2557461"/>
              <a:gd name="connsiteY11" fmla="*/ 95250 h 1090613"/>
              <a:gd name="connsiteX12" fmla="*/ 109536 w 2557461"/>
              <a:gd name="connsiteY12" fmla="*/ 111919 h 1090613"/>
              <a:gd name="connsiteX13" fmla="*/ 123823 w 2557461"/>
              <a:gd name="connsiteY13" fmla="*/ 111919 h 1090613"/>
              <a:gd name="connsiteX14" fmla="*/ 123823 w 2557461"/>
              <a:gd name="connsiteY14" fmla="*/ 121444 h 1090613"/>
              <a:gd name="connsiteX15" fmla="*/ 133348 w 2557461"/>
              <a:gd name="connsiteY15" fmla="*/ 121444 h 1090613"/>
              <a:gd name="connsiteX16" fmla="*/ 133348 w 2557461"/>
              <a:gd name="connsiteY16" fmla="*/ 145256 h 1090613"/>
              <a:gd name="connsiteX17" fmla="*/ 142873 w 2557461"/>
              <a:gd name="connsiteY17" fmla="*/ 145256 h 1090613"/>
              <a:gd name="connsiteX18" fmla="*/ 142873 w 2557461"/>
              <a:gd name="connsiteY18" fmla="*/ 180975 h 1090613"/>
              <a:gd name="connsiteX19" fmla="*/ 142873 w 2557461"/>
              <a:gd name="connsiteY19" fmla="*/ 223838 h 1090613"/>
              <a:gd name="connsiteX20" fmla="*/ 150017 w 2557461"/>
              <a:gd name="connsiteY20" fmla="*/ 223838 h 1090613"/>
              <a:gd name="connsiteX21" fmla="*/ 150017 w 2557461"/>
              <a:gd name="connsiteY21" fmla="*/ 271463 h 1090613"/>
              <a:gd name="connsiteX22" fmla="*/ 154780 w 2557461"/>
              <a:gd name="connsiteY22" fmla="*/ 271463 h 1090613"/>
              <a:gd name="connsiteX23" fmla="*/ 154780 w 2557461"/>
              <a:gd name="connsiteY23" fmla="*/ 290513 h 1090613"/>
              <a:gd name="connsiteX24" fmla="*/ 161923 w 2557461"/>
              <a:gd name="connsiteY24" fmla="*/ 290513 h 1090613"/>
              <a:gd name="connsiteX25" fmla="*/ 161923 w 2557461"/>
              <a:gd name="connsiteY25" fmla="*/ 316706 h 1090613"/>
              <a:gd name="connsiteX26" fmla="*/ 161923 w 2557461"/>
              <a:gd name="connsiteY26" fmla="*/ 319088 h 1090613"/>
              <a:gd name="connsiteX27" fmla="*/ 161923 w 2557461"/>
              <a:gd name="connsiteY27" fmla="*/ 357188 h 1090613"/>
              <a:gd name="connsiteX28" fmla="*/ 173830 w 2557461"/>
              <a:gd name="connsiteY28" fmla="*/ 357188 h 1090613"/>
              <a:gd name="connsiteX29" fmla="*/ 173830 w 2557461"/>
              <a:gd name="connsiteY29" fmla="*/ 373856 h 1090613"/>
              <a:gd name="connsiteX30" fmla="*/ 180973 w 2557461"/>
              <a:gd name="connsiteY30" fmla="*/ 373856 h 1090613"/>
              <a:gd name="connsiteX31" fmla="*/ 180973 w 2557461"/>
              <a:gd name="connsiteY31" fmla="*/ 383381 h 1090613"/>
              <a:gd name="connsiteX32" fmla="*/ 209548 w 2557461"/>
              <a:gd name="connsiteY32" fmla="*/ 383381 h 1090613"/>
              <a:gd name="connsiteX33" fmla="*/ 211930 w 2557461"/>
              <a:gd name="connsiteY33" fmla="*/ 385763 h 1090613"/>
              <a:gd name="connsiteX34" fmla="*/ 223836 w 2557461"/>
              <a:gd name="connsiteY34" fmla="*/ 385763 h 1090613"/>
              <a:gd name="connsiteX35" fmla="*/ 223836 w 2557461"/>
              <a:gd name="connsiteY35" fmla="*/ 423863 h 1090613"/>
              <a:gd name="connsiteX36" fmla="*/ 280986 w 2557461"/>
              <a:gd name="connsiteY36" fmla="*/ 423863 h 1090613"/>
              <a:gd name="connsiteX37" fmla="*/ 280986 w 2557461"/>
              <a:gd name="connsiteY37" fmla="*/ 447675 h 1090613"/>
              <a:gd name="connsiteX38" fmla="*/ 288130 w 2557461"/>
              <a:gd name="connsiteY38" fmla="*/ 447675 h 1090613"/>
              <a:gd name="connsiteX39" fmla="*/ 288130 w 2557461"/>
              <a:gd name="connsiteY39" fmla="*/ 461963 h 1090613"/>
              <a:gd name="connsiteX40" fmla="*/ 302417 w 2557461"/>
              <a:gd name="connsiteY40" fmla="*/ 461963 h 1090613"/>
              <a:gd name="connsiteX41" fmla="*/ 302417 w 2557461"/>
              <a:gd name="connsiteY41" fmla="*/ 471488 h 1090613"/>
              <a:gd name="connsiteX42" fmla="*/ 328611 w 2557461"/>
              <a:gd name="connsiteY42" fmla="*/ 471488 h 1090613"/>
              <a:gd name="connsiteX43" fmla="*/ 333373 w 2557461"/>
              <a:gd name="connsiteY43" fmla="*/ 476250 h 1090613"/>
              <a:gd name="connsiteX44" fmla="*/ 366711 w 2557461"/>
              <a:gd name="connsiteY44" fmla="*/ 476250 h 1090613"/>
              <a:gd name="connsiteX45" fmla="*/ 366711 w 2557461"/>
              <a:gd name="connsiteY45" fmla="*/ 488156 h 1090613"/>
              <a:gd name="connsiteX46" fmla="*/ 380998 w 2557461"/>
              <a:gd name="connsiteY46" fmla="*/ 488156 h 1090613"/>
              <a:gd name="connsiteX47" fmla="*/ 380998 w 2557461"/>
              <a:gd name="connsiteY47" fmla="*/ 554831 h 1090613"/>
              <a:gd name="connsiteX48" fmla="*/ 390523 w 2557461"/>
              <a:gd name="connsiteY48" fmla="*/ 554831 h 1090613"/>
              <a:gd name="connsiteX49" fmla="*/ 390523 w 2557461"/>
              <a:gd name="connsiteY49" fmla="*/ 569119 h 1090613"/>
              <a:gd name="connsiteX50" fmla="*/ 400048 w 2557461"/>
              <a:gd name="connsiteY50" fmla="*/ 569119 h 1090613"/>
              <a:gd name="connsiteX51" fmla="*/ 400048 w 2557461"/>
              <a:gd name="connsiteY51" fmla="*/ 616744 h 1090613"/>
              <a:gd name="connsiteX52" fmla="*/ 400048 w 2557461"/>
              <a:gd name="connsiteY52" fmla="*/ 616744 h 1090613"/>
              <a:gd name="connsiteX53" fmla="*/ 411954 w 2557461"/>
              <a:gd name="connsiteY53" fmla="*/ 628650 h 1090613"/>
              <a:gd name="connsiteX54" fmla="*/ 423861 w 2557461"/>
              <a:gd name="connsiteY54" fmla="*/ 628650 h 1090613"/>
              <a:gd name="connsiteX55" fmla="*/ 423861 w 2557461"/>
              <a:gd name="connsiteY55" fmla="*/ 650081 h 1090613"/>
              <a:gd name="connsiteX56" fmla="*/ 438148 w 2557461"/>
              <a:gd name="connsiteY56" fmla="*/ 650081 h 1090613"/>
              <a:gd name="connsiteX57" fmla="*/ 438148 w 2557461"/>
              <a:gd name="connsiteY57" fmla="*/ 661988 h 1090613"/>
              <a:gd name="connsiteX58" fmla="*/ 452436 w 2557461"/>
              <a:gd name="connsiteY58" fmla="*/ 661988 h 1090613"/>
              <a:gd name="connsiteX59" fmla="*/ 452436 w 2557461"/>
              <a:gd name="connsiteY59" fmla="*/ 669131 h 1090613"/>
              <a:gd name="connsiteX60" fmla="*/ 507205 w 2557461"/>
              <a:gd name="connsiteY60" fmla="*/ 669131 h 1090613"/>
              <a:gd name="connsiteX61" fmla="*/ 514348 w 2557461"/>
              <a:gd name="connsiteY61" fmla="*/ 676274 h 1090613"/>
              <a:gd name="connsiteX62" fmla="*/ 542923 w 2557461"/>
              <a:gd name="connsiteY62" fmla="*/ 676274 h 1090613"/>
              <a:gd name="connsiteX63" fmla="*/ 542923 w 2557461"/>
              <a:gd name="connsiteY63" fmla="*/ 690563 h 1090613"/>
              <a:gd name="connsiteX64" fmla="*/ 559592 w 2557461"/>
              <a:gd name="connsiteY64" fmla="*/ 690563 h 1090613"/>
              <a:gd name="connsiteX65" fmla="*/ 559592 w 2557461"/>
              <a:gd name="connsiteY65" fmla="*/ 704850 h 1090613"/>
              <a:gd name="connsiteX66" fmla="*/ 583405 w 2557461"/>
              <a:gd name="connsiteY66" fmla="*/ 704850 h 1090613"/>
              <a:gd name="connsiteX67" fmla="*/ 583405 w 2557461"/>
              <a:gd name="connsiteY67" fmla="*/ 709613 h 1090613"/>
              <a:gd name="connsiteX68" fmla="*/ 609598 w 2557461"/>
              <a:gd name="connsiteY68" fmla="*/ 709613 h 1090613"/>
              <a:gd name="connsiteX69" fmla="*/ 609598 w 2557461"/>
              <a:gd name="connsiteY69" fmla="*/ 719138 h 1090613"/>
              <a:gd name="connsiteX70" fmla="*/ 623886 w 2557461"/>
              <a:gd name="connsiteY70" fmla="*/ 719138 h 1090613"/>
              <a:gd name="connsiteX71" fmla="*/ 623886 w 2557461"/>
              <a:gd name="connsiteY71" fmla="*/ 731044 h 1090613"/>
              <a:gd name="connsiteX72" fmla="*/ 645317 w 2557461"/>
              <a:gd name="connsiteY72" fmla="*/ 731044 h 1090613"/>
              <a:gd name="connsiteX73" fmla="*/ 645317 w 2557461"/>
              <a:gd name="connsiteY73" fmla="*/ 742950 h 1090613"/>
              <a:gd name="connsiteX74" fmla="*/ 664367 w 2557461"/>
              <a:gd name="connsiteY74" fmla="*/ 742950 h 1090613"/>
              <a:gd name="connsiteX75" fmla="*/ 664367 w 2557461"/>
              <a:gd name="connsiteY75" fmla="*/ 757238 h 1090613"/>
              <a:gd name="connsiteX76" fmla="*/ 669130 w 2557461"/>
              <a:gd name="connsiteY76" fmla="*/ 757238 h 1090613"/>
              <a:gd name="connsiteX77" fmla="*/ 669130 w 2557461"/>
              <a:gd name="connsiteY77" fmla="*/ 762000 h 1090613"/>
              <a:gd name="connsiteX78" fmla="*/ 781048 w 2557461"/>
              <a:gd name="connsiteY78" fmla="*/ 762000 h 1090613"/>
              <a:gd name="connsiteX79" fmla="*/ 781048 w 2557461"/>
              <a:gd name="connsiteY79" fmla="*/ 771525 h 1090613"/>
              <a:gd name="connsiteX80" fmla="*/ 828673 w 2557461"/>
              <a:gd name="connsiteY80" fmla="*/ 771525 h 1090613"/>
              <a:gd name="connsiteX81" fmla="*/ 828673 w 2557461"/>
              <a:gd name="connsiteY81" fmla="*/ 790575 h 1090613"/>
              <a:gd name="connsiteX82" fmla="*/ 878680 w 2557461"/>
              <a:gd name="connsiteY82" fmla="*/ 790575 h 1090613"/>
              <a:gd name="connsiteX83" fmla="*/ 878680 w 2557461"/>
              <a:gd name="connsiteY83" fmla="*/ 790575 h 1090613"/>
              <a:gd name="connsiteX84" fmla="*/ 892968 w 2557461"/>
              <a:gd name="connsiteY84" fmla="*/ 804863 h 1090613"/>
              <a:gd name="connsiteX85" fmla="*/ 900111 w 2557461"/>
              <a:gd name="connsiteY85" fmla="*/ 812006 h 1090613"/>
              <a:gd name="connsiteX86" fmla="*/ 942973 w 2557461"/>
              <a:gd name="connsiteY86" fmla="*/ 812006 h 1090613"/>
              <a:gd name="connsiteX87" fmla="*/ 942973 w 2557461"/>
              <a:gd name="connsiteY87" fmla="*/ 840581 h 1090613"/>
              <a:gd name="connsiteX88" fmla="*/ 1178717 w 2557461"/>
              <a:gd name="connsiteY88" fmla="*/ 840581 h 1090613"/>
              <a:gd name="connsiteX89" fmla="*/ 1178717 w 2557461"/>
              <a:gd name="connsiteY89" fmla="*/ 862013 h 1090613"/>
              <a:gd name="connsiteX90" fmla="*/ 1362073 w 2557461"/>
              <a:gd name="connsiteY90" fmla="*/ 862013 h 1090613"/>
              <a:gd name="connsiteX91" fmla="*/ 1362073 w 2557461"/>
              <a:gd name="connsiteY91" fmla="*/ 878681 h 1090613"/>
              <a:gd name="connsiteX92" fmla="*/ 1452561 w 2557461"/>
              <a:gd name="connsiteY92" fmla="*/ 878681 h 1090613"/>
              <a:gd name="connsiteX93" fmla="*/ 1452561 w 2557461"/>
              <a:gd name="connsiteY93" fmla="*/ 900113 h 1090613"/>
              <a:gd name="connsiteX94" fmla="*/ 1726405 w 2557461"/>
              <a:gd name="connsiteY94" fmla="*/ 900113 h 1090613"/>
              <a:gd name="connsiteX95" fmla="*/ 1726405 w 2557461"/>
              <a:gd name="connsiteY95" fmla="*/ 923925 h 1090613"/>
              <a:gd name="connsiteX96" fmla="*/ 1814511 w 2557461"/>
              <a:gd name="connsiteY96" fmla="*/ 923925 h 1090613"/>
              <a:gd name="connsiteX97" fmla="*/ 1814511 w 2557461"/>
              <a:gd name="connsiteY97" fmla="*/ 957263 h 1090613"/>
              <a:gd name="connsiteX98" fmla="*/ 2055017 w 2557461"/>
              <a:gd name="connsiteY98" fmla="*/ 957263 h 1090613"/>
              <a:gd name="connsiteX99" fmla="*/ 2055017 w 2557461"/>
              <a:gd name="connsiteY99" fmla="*/ 992981 h 1090613"/>
              <a:gd name="connsiteX100" fmla="*/ 2100261 w 2557461"/>
              <a:gd name="connsiteY100" fmla="*/ 992981 h 1090613"/>
              <a:gd name="connsiteX101" fmla="*/ 2100261 w 2557461"/>
              <a:gd name="connsiteY101" fmla="*/ 1023938 h 1090613"/>
              <a:gd name="connsiteX102" fmla="*/ 2285998 w 2557461"/>
              <a:gd name="connsiteY102" fmla="*/ 1023938 h 1090613"/>
              <a:gd name="connsiteX103" fmla="*/ 2285998 w 2557461"/>
              <a:gd name="connsiteY103" fmla="*/ 1090613 h 1090613"/>
              <a:gd name="connsiteX104" fmla="*/ 2557461 w 2557461"/>
              <a:gd name="connsiteY104" fmla="*/ 1090613 h 1090613"/>
              <a:gd name="connsiteX0" fmla="*/ 0 w 2559842"/>
              <a:gd name="connsiteY0" fmla="*/ 0 h 1090613"/>
              <a:gd name="connsiteX1" fmla="*/ 57149 w 2559842"/>
              <a:gd name="connsiteY1" fmla="*/ 9526 h 1090613"/>
              <a:gd name="connsiteX2" fmla="*/ 54767 w 2559842"/>
              <a:gd name="connsiteY2" fmla="*/ 47625 h 1090613"/>
              <a:gd name="connsiteX3" fmla="*/ 73817 w 2559842"/>
              <a:gd name="connsiteY3" fmla="*/ 47625 h 1090613"/>
              <a:gd name="connsiteX4" fmla="*/ 73817 w 2559842"/>
              <a:gd name="connsiteY4" fmla="*/ 54769 h 1090613"/>
              <a:gd name="connsiteX5" fmla="*/ 78579 w 2559842"/>
              <a:gd name="connsiteY5" fmla="*/ 54769 h 1090613"/>
              <a:gd name="connsiteX6" fmla="*/ 78579 w 2559842"/>
              <a:gd name="connsiteY6" fmla="*/ 69056 h 1090613"/>
              <a:gd name="connsiteX7" fmla="*/ 85723 w 2559842"/>
              <a:gd name="connsiteY7" fmla="*/ 69056 h 1090613"/>
              <a:gd name="connsiteX8" fmla="*/ 85723 w 2559842"/>
              <a:gd name="connsiteY8" fmla="*/ 83344 h 1090613"/>
              <a:gd name="connsiteX9" fmla="*/ 100011 w 2559842"/>
              <a:gd name="connsiteY9" fmla="*/ 83344 h 1090613"/>
              <a:gd name="connsiteX10" fmla="*/ 100011 w 2559842"/>
              <a:gd name="connsiteY10" fmla="*/ 95250 h 1090613"/>
              <a:gd name="connsiteX11" fmla="*/ 111917 w 2559842"/>
              <a:gd name="connsiteY11" fmla="*/ 95250 h 1090613"/>
              <a:gd name="connsiteX12" fmla="*/ 111917 w 2559842"/>
              <a:gd name="connsiteY12" fmla="*/ 111919 h 1090613"/>
              <a:gd name="connsiteX13" fmla="*/ 126204 w 2559842"/>
              <a:gd name="connsiteY13" fmla="*/ 111919 h 1090613"/>
              <a:gd name="connsiteX14" fmla="*/ 126204 w 2559842"/>
              <a:gd name="connsiteY14" fmla="*/ 121444 h 1090613"/>
              <a:gd name="connsiteX15" fmla="*/ 135729 w 2559842"/>
              <a:gd name="connsiteY15" fmla="*/ 121444 h 1090613"/>
              <a:gd name="connsiteX16" fmla="*/ 135729 w 2559842"/>
              <a:gd name="connsiteY16" fmla="*/ 145256 h 1090613"/>
              <a:gd name="connsiteX17" fmla="*/ 145254 w 2559842"/>
              <a:gd name="connsiteY17" fmla="*/ 145256 h 1090613"/>
              <a:gd name="connsiteX18" fmla="*/ 145254 w 2559842"/>
              <a:gd name="connsiteY18" fmla="*/ 180975 h 1090613"/>
              <a:gd name="connsiteX19" fmla="*/ 145254 w 2559842"/>
              <a:gd name="connsiteY19" fmla="*/ 223838 h 1090613"/>
              <a:gd name="connsiteX20" fmla="*/ 152398 w 2559842"/>
              <a:gd name="connsiteY20" fmla="*/ 223838 h 1090613"/>
              <a:gd name="connsiteX21" fmla="*/ 152398 w 2559842"/>
              <a:gd name="connsiteY21" fmla="*/ 271463 h 1090613"/>
              <a:gd name="connsiteX22" fmla="*/ 157161 w 2559842"/>
              <a:gd name="connsiteY22" fmla="*/ 271463 h 1090613"/>
              <a:gd name="connsiteX23" fmla="*/ 157161 w 2559842"/>
              <a:gd name="connsiteY23" fmla="*/ 290513 h 1090613"/>
              <a:gd name="connsiteX24" fmla="*/ 164304 w 2559842"/>
              <a:gd name="connsiteY24" fmla="*/ 290513 h 1090613"/>
              <a:gd name="connsiteX25" fmla="*/ 164304 w 2559842"/>
              <a:gd name="connsiteY25" fmla="*/ 316706 h 1090613"/>
              <a:gd name="connsiteX26" fmla="*/ 164304 w 2559842"/>
              <a:gd name="connsiteY26" fmla="*/ 319088 h 1090613"/>
              <a:gd name="connsiteX27" fmla="*/ 164304 w 2559842"/>
              <a:gd name="connsiteY27" fmla="*/ 357188 h 1090613"/>
              <a:gd name="connsiteX28" fmla="*/ 176211 w 2559842"/>
              <a:gd name="connsiteY28" fmla="*/ 357188 h 1090613"/>
              <a:gd name="connsiteX29" fmla="*/ 176211 w 2559842"/>
              <a:gd name="connsiteY29" fmla="*/ 373856 h 1090613"/>
              <a:gd name="connsiteX30" fmla="*/ 183354 w 2559842"/>
              <a:gd name="connsiteY30" fmla="*/ 373856 h 1090613"/>
              <a:gd name="connsiteX31" fmla="*/ 183354 w 2559842"/>
              <a:gd name="connsiteY31" fmla="*/ 383381 h 1090613"/>
              <a:gd name="connsiteX32" fmla="*/ 211929 w 2559842"/>
              <a:gd name="connsiteY32" fmla="*/ 383381 h 1090613"/>
              <a:gd name="connsiteX33" fmla="*/ 214311 w 2559842"/>
              <a:gd name="connsiteY33" fmla="*/ 385763 h 1090613"/>
              <a:gd name="connsiteX34" fmla="*/ 226217 w 2559842"/>
              <a:gd name="connsiteY34" fmla="*/ 385763 h 1090613"/>
              <a:gd name="connsiteX35" fmla="*/ 226217 w 2559842"/>
              <a:gd name="connsiteY35" fmla="*/ 423863 h 1090613"/>
              <a:gd name="connsiteX36" fmla="*/ 283367 w 2559842"/>
              <a:gd name="connsiteY36" fmla="*/ 423863 h 1090613"/>
              <a:gd name="connsiteX37" fmla="*/ 283367 w 2559842"/>
              <a:gd name="connsiteY37" fmla="*/ 447675 h 1090613"/>
              <a:gd name="connsiteX38" fmla="*/ 290511 w 2559842"/>
              <a:gd name="connsiteY38" fmla="*/ 447675 h 1090613"/>
              <a:gd name="connsiteX39" fmla="*/ 290511 w 2559842"/>
              <a:gd name="connsiteY39" fmla="*/ 461963 h 1090613"/>
              <a:gd name="connsiteX40" fmla="*/ 304798 w 2559842"/>
              <a:gd name="connsiteY40" fmla="*/ 461963 h 1090613"/>
              <a:gd name="connsiteX41" fmla="*/ 304798 w 2559842"/>
              <a:gd name="connsiteY41" fmla="*/ 471488 h 1090613"/>
              <a:gd name="connsiteX42" fmla="*/ 330992 w 2559842"/>
              <a:gd name="connsiteY42" fmla="*/ 471488 h 1090613"/>
              <a:gd name="connsiteX43" fmla="*/ 335754 w 2559842"/>
              <a:gd name="connsiteY43" fmla="*/ 476250 h 1090613"/>
              <a:gd name="connsiteX44" fmla="*/ 369092 w 2559842"/>
              <a:gd name="connsiteY44" fmla="*/ 476250 h 1090613"/>
              <a:gd name="connsiteX45" fmla="*/ 369092 w 2559842"/>
              <a:gd name="connsiteY45" fmla="*/ 488156 h 1090613"/>
              <a:gd name="connsiteX46" fmla="*/ 383379 w 2559842"/>
              <a:gd name="connsiteY46" fmla="*/ 488156 h 1090613"/>
              <a:gd name="connsiteX47" fmla="*/ 383379 w 2559842"/>
              <a:gd name="connsiteY47" fmla="*/ 554831 h 1090613"/>
              <a:gd name="connsiteX48" fmla="*/ 392904 w 2559842"/>
              <a:gd name="connsiteY48" fmla="*/ 554831 h 1090613"/>
              <a:gd name="connsiteX49" fmla="*/ 392904 w 2559842"/>
              <a:gd name="connsiteY49" fmla="*/ 569119 h 1090613"/>
              <a:gd name="connsiteX50" fmla="*/ 402429 w 2559842"/>
              <a:gd name="connsiteY50" fmla="*/ 569119 h 1090613"/>
              <a:gd name="connsiteX51" fmla="*/ 402429 w 2559842"/>
              <a:gd name="connsiteY51" fmla="*/ 616744 h 1090613"/>
              <a:gd name="connsiteX52" fmla="*/ 402429 w 2559842"/>
              <a:gd name="connsiteY52" fmla="*/ 616744 h 1090613"/>
              <a:gd name="connsiteX53" fmla="*/ 414335 w 2559842"/>
              <a:gd name="connsiteY53" fmla="*/ 628650 h 1090613"/>
              <a:gd name="connsiteX54" fmla="*/ 426242 w 2559842"/>
              <a:gd name="connsiteY54" fmla="*/ 628650 h 1090613"/>
              <a:gd name="connsiteX55" fmla="*/ 426242 w 2559842"/>
              <a:gd name="connsiteY55" fmla="*/ 650081 h 1090613"/>
              <a:gd name="connsiteX56" fmla="*/ 440529 w 2559842"/>
              <a:gd name="connsiteY56" fmla="*/ 650081 h 1090613"/>
              <a:gd name="connsiteX57" fmla="*/ 440529 w 2559842"/>
              <a:gd name="connsiteY57" fmla="*/ 661988 h 1090613"/>
              <a:gd name="connsiteX58" fmla="*/ 454817 w 2559842"/>
              <a:gd name="connsiteY58" fmla="*/ 661988 h 1090613"/>
              <a:gd name="connsiteX59" fmla="*/ 454817 w 2559842"/>
              <a:gd name="connsiteY59" fmla="*/ 669131 h 1090613"/>
              <a:gd name="connsiteX60" fmla="*/ 509586 w 2559842"/>
              <a:gd name="connsiteY60" fmla="*/ 669131 h 1090613"/>
              <a:gd name="connsiteX61" fmla="*/ 516729 w 2559842"/>
              <a:gd name="connsiteY61" fmla="*/ 676274 h 1090613"/>
              <a:gd name="connsiteX62" fmla="*/ 545304 w 2559842"/>
              <a:gd name="connsiteY62" fmla="*/ 676274 h 1090613"/>
              <a:gd name="connsiteX63" fmla="*/ 545304 w 2559842"/>
              <a:gd name="connsiteY63" fmla="*/ 690563 h 1090613"/>
              <a:gd name="connsiteX64" fmla="*/ 561973 w 2559842"/>
              <a:gd name="connsiteY64" fmla="*/ 690563 h 1090613"/>
              <a:gd name="connsiteX65" fmla="*/ 561973 w 2559842"/>
              <a:gd name="connsiteY65" fmla="*/ 704850 h 1090613"/>
              <a:gd name="connsiteX66" fmla="*/ 585786 w 2559842"/>
              <a:gd name="connsiteY66" fmla="*/ 704850 h 1090613"/>
              <a:gd name="connsiteX67" fmla="*/ 585786 w 2559842"/>
              <a:gd name="connsiteY67" fmla="*/ 709613 h 1090613"/>
              <a:gd name="connsiteX68" fmla="*/ 611979 w 2559842"/>
              <a:gd name="connsiteY68" fmla="*/ 709613 h 1090613"/>
              <a:gd name="connsiteX69" fmla="*/ 611979 w 2559842"/>
              <a:gd name="connsiteY69" fmla="*/ 719138 h 1090613"/>
              <a:gd name="connsiteX70" fmla="*/ 626267 w 2559842"/>
              <a:gd name="connsiteY70" fmla="*/ 719138 h 1090613"/>
              <a:gd name="connsiteX71" fmla="*/ 626267 w 2559842"/>
              <a:gd name="connsiteY71" fmla="*/ 731044 h 1090613"/>
              <a:gd name="connsiteX72" fmla="*/ 647698 w 2559842"/>
              <a:gd name="connsiteY72" fmla="*/ 731044 h 1090613"/>
              <a:gd name="connsiteX73" fmla="*/ 647698 w 2559842"/>
              <a:gd name="connsiteY73" fmla="*/ 742950 h 1090613"/>
              <a:gd name="connsiteX74" fmla="*/ 666748 w 2559842"/>
              <a:gd name="connsiteY74" fmla="*/ 742950 h 1090613"/>
              <a:gd name="connsiteX75" fmla="*/ 666748 w 2559842"/>
              <a:gd name="connsiteY75" fmla="*/ 757238 h 1090613"/>
              <a:gd name="connsiteX76" fmla="*/ 671511 w 2559842"/>
              <a:gd name="connsiteY76" fmla="*/ 757238 h 1090613"/>
              <a:gd name="connsiteX77" fmla="*/ 671511 w 2559842"/>
              <a:gd name="connsiteY77" fmla="*/ 762000 h 1090613"/>
              <a:gd name="connsiteX78" fmla="*/ 783429 w 2559842"/>
              <a:gd name="connsiteY78" fmla="*/ 762000 h 1090613"/>
              <a:gd name="connsiteX79" fmla="*/ 783429 w 2559842"/>
              <a:gd name="connsiteY79" fmla="*/ 771525 h 1090613"/>
              <a:gd name="connsiteX80" fmla="*/ 831054 w 2559842"/>
              <a:gd name="connsiteY80" fmla="*/ 771525 h 1090613"/>
              <a:gd name="connsiteX81" fmla="*/ 831054 w 2559842"/>
              <a:gd name="connsiteY81" fmla="*/ 790575 h 1090613"/>
              <a:gd name="connsiteX82" fmla="*/ 881061 w 2559842"/>
              <a:gd name="connsiteY82" fmla="*/ 790575 h 1090613"/>
              <a:gd name="connsiteX83" fmla="*/ 881061 w 2559842"/>
              <a:gd name="connsiteY83" fmla="*/ 790575 h 1090613"/>
              <a:gd name="connsiteX84" fmla="*/ 895349 w 2559842"/>
              <a:gd name="connsiteY84" fmla="*/ 804863 h 1090613"/>
              <a:gd name="connsiteX85" fmla="*/ 902492 w 2559842"/>
              <a:gd name="connsiteY85" fmla="*/ 812006 h 1090613"/>
              <a:gd name="connsiteX86" fmla="*/ 945354 w 2559842"/>
              <a:gd name="connsiteY86" fmla="*/ 812006 h 1090613"/>
              <a:gd name="connsiteX87" fmla="*/ 945354 w 2559842"/>
              <a:gd name="connsiteY87" fmla="*/ 840581 h 1090613"/>
              <a:gd name="connsiteX88" fmla="*/ 1181098 w 2559842"/>
              <a:gd name="connsiteY88" fmla="*/ 840581 h 1090613"/>
              <a:gd name="connsiteX89" fmla="*/ 1181098 w 2559842"/>
              <a:gd name="connsiteY89" fmla="*/ 862013 h 1090613"/>
              <a:gd name="connsiteX90" fmla="*/ 1364454 w 2559842"/>
              <a:gd name="connsiteY90" fmla="*/ 862013 h 1090613"/>
              <a:gd name="connsiteX91" fmla="*/ 1364454 w 2559842"/>
              <a:gd name="connsiteY91" fmla="*/ 878681 h 1090613"/>
              <a:gd name="connsiteX92" fmla="*/ 1454942 w 2559842"/>
              <a:gd name="connsiteY92" fmla="*/ 878681 h 1090613"/>
              <a:gd name="connsiteX93" fmla="*/ 1454942 w 2559842"/>
              <a:gd name="connsiteY93" fmla="*/ 900113 h 1090613"/>
              <a:gd name="connsiteX94" fmla="*/ 1728786 w 2559842"/>
              <a:gd name="connsiteY94" fmla="*/ 900113 h 1090613"/>
              <a:gd name="connsiteX95" fmla="*/ 1728786 w 2559842"/>
              <a:gd name="connsiteY95" fmla="*/ 923925 h 1090613"/>
              <a:gd name="connsiteX96" fmla="*/ 1816892 w 2559842"/>
              <a:gd name="connsiteY96" fmla="*/ 923925 h 1090613"/>
              <a:gd name="connsiteX97" fmla="*/ 1816892 w 2559842"/>
              <a:gd name="connsiteY97" fmla="*/ 957263 h 1090613"/>
              <a:gd name="connsiteX98" fmla="*/ 2057398 w 2559842"/>
              <a:gd name="connsiteY98" fmla="*/ 957263 h 1090613"/>
              <a:gd name="connsiteX99" fmla="*/ 2057398 w 2559842"/>
              <a:gd name="connsiteY99" fmla="*/ 992981 h 1090613"/>
              <a:gd name="connsiteX100" fmla="*/ 2102642 w 2559842"/>
              <a:gd name="connsiteY100" fmla="*/ 992981 h 1090613"/>
              <a:gd name="connsiteX101" fmla="*/ 2102642 w 2559842"/>
              <a:gd name="connsiteY101" fmla="*/ 1023938 h 1090613"/>
              <a:gd name="connsiteX102" fmla="*/ 2288379 w 2559842"/>
              <a:gd name="connsiteY102" fmla="*/ 1023938 h 1090613"/>
              <a:gd name="connsiteX103" fmla="*/ 2288379 w 2559842"/>
              <a:gd name="connsiteY103" fmla="*/ 1090613 h 1090613"/>
              <a:gd name="connsiteX104" fmla="*/ 2559842 w 2559842"/>
              <a:gd name="connsiteY104" fmla="*/ 1090613 h 1090613"/>
              <a:gd name="connsiteX0" fmla="*/ 0 w 2559842"/>
              <a:gd name="connsiteY0" fmla="*/ 0 h 1088232"/>
              <a:gd name="connsiteX1" fmla="*/ 57149 w 2559842"/>
              <a:gd name="connsiteY1" fmla="*/ 7145 h 1088232"/>
              <a:gd name="connsiteX2" fmla="*/ 54767 w 2559842"/>
              <a:gd name="connsiteY2" fmla="*/ 45244 h 1088232"/>
              <a:gd name="connsiteX3" fmla="*/ 73817 w 2559842"/>
              <a:gd name="connsiteY3" fmla="*/ 45244 h 1088232"/>
              <a:gd name="connsiteX4" fmla="*/ 73817 w 2559842"/>
              <a:gd name="connsiteY4" fmla="*/ 52388 h 1088232"/>
              <a:gd name="connsiteX5" fmla="*/ 78579 w 2559842"/>
              <a:gd name="connsiteY5" fmla="*/ 52388 h 1088232"/>
              <a:gd name="connsiteX6" fmla="*/ 78579 w 2559842"/>
              <a:gd name="connsiteY6" fmla="*/ 66675 h 1088232"/>
              <a:gd name="connsiteX7" fmla="*/ 85723 w 2559842"/>
              <a:gd name="connsiteY7" fmla="*/ 66675 h 1088232"/>
              <a:gd name="connsiteX8" fmla="*/ 85723 w 2559842"/>
              <a:gd name="connsiteY8" fmla="*/ 80963 h 1088232"/>
              <a:gd name="connsiteX9" fmla="*/ 100011 w 2559842"/>
              <a:gd name="connsiteY9" fmla="*/ 80963 h 1088232"/>
              <a:gd name="connsiteX10" fmla="*/ 100011 w 2559842"/>
              <a:gd name="connsiteY10" fmla="*/ 92869 h 1088232"/>
              <a:gd name="connsiteX11" fmla="*/ 111917 w 2559842"/>
              <a:gd name="connsiteY11" fmla="*/ 92869 h 1088232"/>
              <a:gd name="connsiteX12" fmla="*/ 111917 w 2559842"/>
              <a:gd name="connsiteY12" fmla="*/ 109538 h 1088232"/>
              <a:gd name="connsiteX13" fmla="*/ 126204 w 2559842"/>
              <a:gd name="connsiteY13" fmla="*/ 109538 h 1088232"/>
              <a:gd name="connsiteX14" fmla="*/ 126204 w 2559842"/>
              <a:gd name="connsiteY14" fmla="*/ 119063 h 1088232"/>
              <a:gd name="connsiteX15" fmla="*/ 135729 w 2559842"/>
              <a:gd name="connsiteY15" fmla="*/ 119063 h 1088232"/>
              <a:gd name="connsiteX16" fmla="*/ 135729 w 2559842"/>
              <a:gd name="connsiteY16" fmla="*/ 142875 h 1088232"/>
              <a:gd name="connsiteX17" fmla="*/ 145254 w 2559842"/>
              <a:gd name="connsiteY17" fmla="*/ 142875 h 1088232"/>
              <a:gd name="connsiteX18" fmla="*/ 145254 w 2559842"/>
              <a:gd name="connsiteY18" fmla="*/ 178594 h 1088232"/>
              <a:gd name="connsiteX19" fmla="*/ 145254 w 2559842"/>
              <a:gd name="connsiteY19" fmla="*/ 221457 h 1088232"/>
              <a:gd name="connsiteX20" fmla="*/ 152398 w 2559842"/>
              <a:gd name="connsiteY20" fmla="*/ 221457 h 1088232"/>
              <a:gd name="connsiteX21" fmla="*/ 152398 w 2559842"/>
              <a:gd name="connsiteY21" fmla="*/ 269082 h 1088232"/>
              <a:gd name="connsiteX22" fmla="*/ 157161 w 2559842"/>
              <a:gd name="connsiteY22" fmla="*/ 269082 h 1088232"/>
              <a:gd name="connsiteX23" fmla="*/ 157161 w 2559842"/>
              <a:gd name="connsiteY23" fmla="*/ 288132 h 1088232"/>
              <a:gd name="connsiteX24" fmla="*/ 164304 w 2559842"/>
              <a:gd name="connsiteY24" fmla="*/ 288132 h 1088232"/>
              <a:gd name="connsiteX25" fmla="*/ 164304 w 2559842"/>
              <a:gd name="connsiteY25" fmla="*/ 314325 h 1088232"/>
              <a:gd name="connsiteX26" fmla="*/ 164304 w 2559842"/>
              <a:gd name="connsiteY26" fmla="*/ 316707 h 1088232"/>
              <a:gd name="connsiteX27" fmla="*/ 164304 w 2559842"/>
              <a:gd name="connsiteY27" fmla="*/ 354807 h 1088232"/>
              <a:gd name="connsiteX28" fmla="*/ 176211 w 2559842"/>
              <a:gd name="connsiteY28" fmla="*/ 354807 h 1088232"/>
              <a:gd name="connsiteX29" fmla="*/ 176211 w 2559842"/>
              <a:gd name="connsiteY29" fmla="*/ 371475 h 1088232"/>
              <a:gd name="connsiteX30" fmla="*/ 183354 w 2559842"/>
              <a:gd name="connsiteY30" fmla="*/ 371475 h 1088232"/>
              <a:gd name="connsiteX31" fmla="*/ 183354 w 2559842"/>
              <a:gd name="connsiteY31" fmla="*/ 381000 h 1088232"/>
              <a:gd name="connsiteX32" fmla="*/ 211929 w 2559842"/>
              <a:gd name="connsiteY32" fmla="*/ 381000 h 1088232"/>
              <a:gd name="connsiteX33" fmla="*/ 214311 w 2559842"/>
              <a:gd name="connsiteY33" fmla="*/ 383382 h 1088232"/>
              <a:gd name="connsiteX34" fmla="*/ 226217 w 2559842"/>
              <a:gd name="connsiteY34" fmla="*/ 383382 h 1088232"/>
              <a:gd name="connsiteX35" fmla="*/ 226217 w 2559842"/>
              <a:gd name="connsiteY35" fmla="*/ 421482 h 1088232"/>
              <a:gd name="connsiteX36" fmla="*/ 283367 w 2559842"/>
              <a:gd name="connsiteY36" fmla="*/ 421482 h 1088232"/>
              <a:gd name="connsiteX37" fmla="*/ 283367 w 2559842"/>
              <a:gd name="connsiteY37" fmla="*/ 445294 h 1088232"/>
              <a:gd name="connsiteX38" fmla="*/ 290511 w 2559842"/>
              <a:gd name="connsiteY38" fmla="*/ 445294 h 1088232"/>
              <a:gd name="connsiteX39" fmla="*/ 290511 w 2559842"/>
              <a:gd name="connsiteY39" fmla="*/ 459582 h 1088232"/>
              <a:gd name="connsiteX40" fmla="*/ 304798 w 2559842"/>
              <a:gd name="connsiteY40" fmla="*/ 459582 h 1088232"/>
              <a:gd name="connsiteX41" fmla="*/ 304798 w 2559842"/>
              <a:gd name="connsiteY41" fmla="*/ 469107 h 1088232"/>
              <a:gd name="connsiteX42" fmla="*/ 330992 w 2559842"/>
              <a:gd name="connsiteY42" fmla="*/ 469107 h 1088232"/>
              <a:gd name="connsiteX43" fmla="*/ 335754 w 2559842"/>
              <a:gd name="connsiteY43" fmla="*/ 473869 h 1088232"/>
              <a:gd name="connsiteX44" fmla="*/ 369092 w 2559842"/>
              <a:gd name="connsiteY44" fmla="*/ 473869 h 1088232"/>
              <a:gd name="connsiteX45" fmla="*/ 369092 w 2559842"/>
              <a:gd name="connsiteY45" fmla="*/ 485775 h 1088232"/>
              <a:gd name="connsiteX46" fmla="*/ 383379 w 2559842"/>
              <a:gd name="connsiteY46" fmla="*/ 485775 h 1088232"/>
              <a:gd name="connsiteX47" fmla="*/ 383379 w 2559842"/>
              <a:gd name="connsiteY47" fmla="*/ 552450 h 1088232"/>
              <a:gd name="connsiteX48" fmla="*/ 392904 w 2559842"/>
              <a:gd name="connsiteY48" fmla="*/ 552450 h 1088232"/>
              <a:gd name="connsiteX49" fmla="*/ 392904 w 2559842"/>
              <a:gd name="connsiteY49" fmla="*/ 566738 h 1088232"/>
              <a:gd name="connsiteX50" fmla="*/ 402429 w 2559842"/>
              <a:gd name="connsiteY50" fmla="*/ 566738 h 1088232"/>
              <a:gd name="connsiteX51" fmla="*/ 402429 w 2559842"/>
              <a:gd name="connsiteY51" fmla="*/ 614363 h 1088232"/>
              <a:gd name="connsiteX52" fmla="*/ 402429 w 2559842"/>
              <a:gd name="connsiteY52" fmla="*/ 614363 h 1088232"/>
              <a:gd name="connsiteX53" fmla="*/ 414335 w 2559842"/>
              <a:gd name="connsiteY53" fmla="*/ 626269 h 1088232"/>
              <a:gd name="connsiteX54" fmla="*/ 426242 w 2559842"/>
              <a:gd name="connsiteY54" fmla="*/ 626269 h 1088232"/>
              <a:gd name="connsiteX55" fmla="*/ 426242 w 2559842"/>
              <a:gd name="connsiteY55" fmla="*/ 647700 h 1088232"/>
              <a:gd name="connsiteX56" fmla="*/ 440529 w 2559842"/>
              <a:gd name="connsiteY56" fmla="*/ 647700 h 1088232"/>
              <a:gd name="connsiteX57" fmla="*/ 440529 w 2559842"/>
              <a:gd name="connsiteY57" fmla="*/ 659607 h 1088232"/>
              <a:gd name="connsiteX58" fmla="*/ 454817 w 2559842"/>
              <a:gd name="connsiteY58" fmla="*/ 659607 h 1088232"/>
              <a:gd name="connsiteX59" fmla="*/ 454817 w 2559842"/>
              <a:gd name="connsiteY59" fmla="*/ 666750 h 1088232"/>
              <a:gd name="connsiteX60" fmla="*/ 509586 w 2559842"/>
              <a:gd name="connsiteY60" fmla="*/ 666750 h 1088232"/>
              <a:gd name="connsiteX61" fmla="*/ 516729 w 2559842"/>
              <a:gd name="connsiteY61" fmla="*/ 673893 h 1088232"/>
              <a:gd name="connsiteX62" fmla="*/ 545304 w 2559842"/>
              <a:gd name="connsiteY62" fmla="*/ 673893 h 1088232"/>
              <a:gd name="connsiteX63" fmla="*/ 545304 w 2559842"/>
              <a:gd name="connsiteY63" fmla="*/ 688182 h 1088232"/>
              <a:gd name="connsiteX64" fmla="*/ 561973 w 2559842"/>
              <a:gd name="connsiteY64" fmla="*/ 688182 h 1088232"/>
              <a:gd name="connsiteX65" fmla="*/ 561973 w 2559842"/>
              <a:gd name="connsiteY65" fmla="*/ 702469 h 1088232"/>
              <a:gd name="connsiteX66" fmla="*/ 585786 w 2559842"/>
              <a:gd name="connsiteY66" fmla="*/ 702469 h 1088232"/>
              <a:gd name="connsiteX67" fmla="*/ 585786 w 2559842"/>
              <a:gd name="connsiteY67" fmla="*/ 707232 h 1088232"/>
              <a:gd name="connsiteX68" fmla="*/ 611979 w 2559842"/>
              <a:gd name="connsiteY68" fmla="*/ 707232 h 1088232"/>
              <a:gd name="connsiteX69" fmla="*/ 611979 w 2559842"/>
              <a:gd name="connsiteY69" fmla="*/ 716757 h 1088232"/>
              <a:gd name="connsiteX70" fmla="*/ 626267 w 2559842"/>
              <a:gd name="connsiteY70" fmla="*/ 716757 h 1088232"/>
              <a:gd name="connsiteX71" fmla="*/ 626267 w 2559842"/>
              <a:gd name="connsiteY71" fmla="*/ 728663 h 1088232"/>
              <a:gd name="connsiteX72" fmla="*/ 647698 w 2559842"/>
              <a:gd name="connsiteY72" fmla="*/ 728663 h 1088232"/>
              <a:gd name="connsiteX73" fmla="*/ 647698 w 2559842"/>
              <a:gd name="connsiteY73" fmla="*/ 740569 h 1088232"/>
              <a:gd name="connsiteX74" fmla="*/ 666748 w 2559842"/>
              <a:gd name="connsiteY74" fmla="*/ 740569 h 1088232"/>
              <a:gd name="connsiteX75" fmla="*/ 666748 w 2559842"/>
              <a:gd name="connsiteY75" fmla="*/ 754857 h 1088232"/>
              <a:gd name="connsiteX76" fmla="*/ 671511 w 2559842"/>
              <a:gd name="connsiteY76" fmla="*/ 754857 h 1088232"/>
              <a:gd name="connsiteX77" fmla="*/ 671511 w 2559842"/>
              <a:gd name="connsiteY77" fmla="*/ 759619 h 1088232"/>
              <a:gd name="connsiteX78" fmla="*/ 783429 w 2559842"/>
              <a:gd name="connsiteY78" fmla="*/ 759619 h 1088232"/>
              <a:gd name="connsiteX79" fmla="*/ 783429 w 2559842"/>
              <a:gd name="connsiteY79" fmla="*/ 769144 h 1088232"/>
              <a:gd name="connsiteX80" fmla="*/ 831054 w 2559842"/>
              <a:gd name="connsiteY80" fmla="*/ 769144 h 1088232"/>
              <a:gd name="connsiteX81" fmla="*/ 831054 w 2559842"/>
              <a:gd name="connsiteY81" fmla="*/ 788194 h 1088232"/>
              <a:gd name="connsiteX82" fmla="*/ 881061 w 2559842"/>
              <a:gd name="connsiteY82" fmla="*/ 788194 h 1088232"/>
              <a:gd name="connsiteX83" fmla="*/ 881061 w 2559842"/>
              <a:gd name="connsiteY83" fmla="*/ 788194 h 1088232"/>
              <a:gd name="connsiteX84" fmla="*/ 895349 w 2559842"/>
              <a:gd name="connsiteY84" fmla="*/ 802482 h 1088232"/>
              <a:gd name="connsiteX85" fmla="*/ 902492 w 2559842"/>
              <a:gd name="connsiteY85" fmla="*/ 809625 h 1088232"/>
              <a:gd name="connsiteX86" fmla="*/ 945354 w 2559842"/>
              <a:gd name="connsiteY86" fmla="*/ 809625 h 1088232"/>
              <a:gd name="connsiteX87" fmla="*/ 945354 w 2559842"/>
              <a:gd name="connsiteY87" fmla="*/ 838200 h 1088232"/>
              <a:gd name="connsiteX88" fmla="*/ 1181098 w 2559842"/>
              <a:gd name="connsiteY88" fmla="*/ 838200 h 1088232"/>
              <a:gd name="connsiteX89" fmla="*/ 1181098 w 2559842"/>
              <a:gd name="connsiteY89" fmla="*/ 859632 h 1088232"/>
              <a:gd name="connsiteX90" fmla="*/ 1364454 w 2559842"/>
              <a:gd name="connsiteY90" fmla="*/ 859632 h 1088232"/>
              <a:gd name="connsiteX91" fmla="*/ 1364454 w 2559842"/>
              <a:gd name="connsiteY91" fmla="*/ 876300 h 1088232"/>
              <a:gd name="connsiteX92" fmla="*/ 1454942 w 2559842"/>
              <a:gd name="connsiteY92" fmla="*/ 876300 h 1088232"/>
              <a:gd name="connsiteX93" fmla="*/ 1454942 w 2559842"/>
              <a:gd name="connsiteY93" fmla="*/ 897732 h 1088232"/>
              <a:gd name="connsiteX94" fmla="*/ 1728786 w 2559842"/>
              <a:gd name="connsiteY94" fmla="*/ 897732 h 1088232"/>
              <a:gd name="connsiteX95" fmla="*/ 1728786 w 2559842"/>
              <a:gd name="connsiteY95" fmla="*/ 921544 h 1088232"/>
              <a:gd name="connsiteX96" fmla="*/ 1816892 w 2559842"/>
              <a:gd name="connsiteY96" fmla="*/ 921544 h 1088232"/>
              <a:gd name="connsiteX97" fmla="*/ 1816892 w 2559842"/>
              <a:gd name="connsiteY97" fmla="*/ 954882 h 1088232"/>
              <a:gd name="connsiteX98" fmla="*/ 2057398 w 2559842"/>
              <a:gd name="connsiteY98" fmla="*/ 954882 h 1088232"/>
              <a:gd name="connsiteX99" fmla="*/ 2057398 w 2559842"/>
              <a:gd name="connsiteY99" fmla="*/ 990600 h 1088232"/>
              <a:gd name="connsiteX100" fmla="*/ 2102642 w 2559842"/>
              <a:gd name="connsiteY100" fmla="*/ 990600 h 1088232"/>
              <a:gd name="connsiteX101" fmla="*/ 2102642 w 2559842"/>
              <a:gd name="connsiteY101" fmla="*/ 1021557 h 1088232"/>
              <a:gd name="connsiteX102" fmla="*/ 2288379 w 2559842"/>
              <a:gd name="connsiteY102" fmla="*/ 1021557 h 1088232"/>
              <a:gd name="connsiteX103" fmla="*/ 2288379 w 2559842"/>
              <a:gd name="connsiteY103" fmla="*/ 1088232 h 1088232"/>
              <a:gd name="connsiteX104" fmla="*/ 2559842 w 2559842"/>
              <a:gd name="connsiteY104" fmla="*/ 1088232 h 1088232"/>
              <a:gd name="connsiteX0" fmla="*/ 10227 w 2570069"/>
              <a:gd name="connsiteY0" fmla="*/ 4940 h 1093172"/>
              <a:gd name="connsiteX1" fmla="*/ 3082 w 2570069"/>
              <a:gd name="connsiteY1" fmla="*/ 177 h 1093172"/>
              <a:gd name="connsiteX2" fmla="*/ 67376 w 2570069"/>
              <a:gd name="connsiteY2" fmla="*/ 12085 h 1093172"/>
              <a:gd name="connsiteX3" fmla="*/ 64994 w 2570069"/>
              <a:gd name="connsiteY3" fmla="*/ 50184 h 1093172"/>
              <a:gd name="connsiteX4" fmla="*/ 84044 w 2570069"/>
              <a:gd name="connsiteY4" fmla="*/ 50184 h 1093172"/>
              <a:gd name="connsiteX5" fmla="*/ 84044 w 2570069"/>
              <a:gd name="connsiteY5" fmla="*/ 57328 h 1093172"/>
              <a:gd name="connsiteX6" fmla="*/ 88806 w 2570069"/>
              <a:gd name="connsiteY6" fmla="*/ 57328 h 1093172"/>
              <a:gd name="connsiteX7" fmla="*/ 88806 w 2570069"/>
              <a:gd name="connsiteY7" fmla="*/ 71615 h 1093172"/>
              <a:gd name="connsiteX8" fmla="*/ 95950 w 2570069"/>
              <a:gd name="connsiteY8" fmla="*/ 71615 h 1093172"/>
              <a:gd name="connsiteX9" fmla="*/ 95950 w 2570069"/>
              <a:gd name="connsiteY9" fmla="*/ 85903 h 1093172"/>
              <a:gd name="connsiteX10" fmla="*/ 110238 w 2570069"/>
              <a:gd name="connsiteY10" fmla="*/ 85903 h 1093172"/>
              <a:gd name="connsiteX11" fmla="*/ 110238 w 2570069"/>
              <a:gd name="connsiteY11" fmla="*/ 97809 h 1093172"/>
              <a:gd name="connsiteX12" fmla="*/ 122144 w 2570069"/>
              <a:gd name="connsiteY12" fmla="*/ 97809 h 1093172"/>
              <a:gd name="connsiteX13" fmla="*/ 122144 w 2570069"/>
              <a:gd name="connsiteY13" fmla="*/ 114478 h 1093172"/>
              <a:gd name="connsiteX14" fmla="*/ 136431 w 2570069"/>
              <a:gd name="connsiteY14" fmla="*/ 114478 h 1093172"/>
              <a:gd name="connsiteX15" fmla="*/ 136431 w 2570069"/>
              <a:gd name="connsiteY15" fmla="*/ 124003 h 1093172"/>
              <a:gd name="connsiteX16" fmla="*/ 145956 w 2570069"/>
              <a:gd name="connsiteY16" fmla="*/ 124003 h 1093172"/>
              <a:gd name="connsiteX17" fmla="*/ 145956 w 2570069"/>
              <a:gd name="connsiteY17" fmla="*/ 147815 h 1093172"/>
              <a:gd name="connsiteX18" fmla="*/ 155481 w 2570069"/>
              <a:gd name="connsiteY18" fmla="*/ 147815 h 1093172"/>
              <a:gd name="connsiteX19" fmla="*/ 155481 w 2570069"/>
              <a:gd name="connsiteY19" fmla="*/ 183534 h 1093172"/>
              <a:gd name="connsiteX20" fmla="*/ 155481 w 2570069"/>
              <a:gd name="connsiteY20" fmla="*/ 226397 h 1093172"/>
              <a:gd name="connsiteX21" fmla="*/ 162625 w 2570069"/>
              <a:gd name="connsiteY21" fmla="*/ 226397 h 1093172"/>
              <a:gd name="connsiteX22" fmla="*/ 162625 w 2570069"/>
              <a:gd name="connsiteY22" fmla="*/ 274022 h 1093172"/>
              <a:gd name="connsiteX23" fmla="*/ 167388 w 2570069"/>
              <a:gd name="connsiteY23" fmla="*/ 274022 h 1093172"/>
              <a:gd name="connsiteX24" fmla="*/ 167388 w 2570069"/>
              <a:gd name="connsiteY24" fmla="*/ 293072 h 1093172"/>
              <a:gd name="connsiteX25" fmla="*/ 174531 w 2570069"/>
              <a:gd name="connsiteY25" fmla="*/ 293072 h 1093172"/>
              <a:gd name="connsiteX26" fmla="*/ 174531 w 2570069"/>
              <a:gd name="connsiteY26" fmla="*/ 319265 h 1093172"/>
              <a:gd name="connsiteX27" fmla="*/ 174531 w 2570069"/>
              <a:gd name="connsiteY27" fmla="*/ 321647 h 1093172"/>
              <a:gd name="connsiteX28" fmla="*/ 174531 w 2570069"/>
              <a:gd name="connsiteY28" fmla="*/ 359747 h 1093172"/>
              <a:gd name="connsiteX29" fmla="*/ 186438 w 2570069"/>
              <a:gd name="connsiteY29" fmla="*/ 359747 h 1093172"/>
              <a:gd name="connsiteX30" fmla="*/ 186438 w 2570069"/>
              <a:gd name="connsiteY30" fmla="*/ 376415 h 1093172"/>
              <a:gd name="connsiteX31" fmla="*/ 193581 w 2570069"/>
              <a:gd name="connsiteY31" fmla="*/ 376415 h 1093172"/>
              <a:gd name="connsiteX32" fmla="*/ 193581 w 2570069"/>
              <a:gd name="connsiteY32" fmla="*/ 385940 h 1093172"/>
              <a:gd name="connsiteX33" fmla="*/ 222156 w 2570069"/>
              <a:gd name="connsiteY33" fmla="*/ 385940 h 1093172"/>
              <a:gd name="connsiteX34" fmla="*/ 224538 w 2570069"/>
              <a:gd name="connsiteY34" fmla="*/ 388322 h 1093172"/>
              <a:gd name="connsiteX35" fmla="*/ 236444 w 2570069"/>
              <a:gd name="connsiteY35" fmla="*/ 388322 h 1093172"/>
              <a:gd name="connsiteX36" fmla="*/ 236444 w 2570069"/>
              <a:gd name="connsiteY36" fmla="*/ 426422 h 1093172"/>
              <a:gd name="connsiteX37" fmla="*/ 293594 w 2570069"/>
              <a:gd name="connsiteY37" fmla="*/ 426422 h 1093172"/>
              <a:gd name="connsiteX38" fmla="*/ 293594 w 2570069"/>
              <a:gd name="connsiteY38" fmla="*/ 450234 h 1093172"/>
              <a:gd name="connsiteX39" fmla="*/ 300738 w 2570069"/>
              <a:gd name="connsiteY39" fmla="*/ 450234 h 1093172"/>
              <a:gd name="connsiteX40" fmla="*/ 300738 w 2570069"/>
              <a:gd name="connsiteY40" fmla="*/ 464522 h 1093172"/>
              <a:gd name="connsiteX41" fmla="*/ 315025 w 2570069"/>
              <a:gd name="connsiteY41" fmla="*/ 464522 h 1093172"/>
              <a:gd name="connsiteX42" fmla="*/ 315025 w 2570069"/>
              <a:gd name="connsiteY42" fmla="*/ 474047 h 1093172"/>
              <a:gd name="connsiteX43" fmla="*/ 341219 w 2570069"/>
              <a:gd name="connsiteY43" fmla="*/ 474047 h 1093172"/>
              <a:gd name="connsiteX44" fmla="*/ 345981 w 2570069"/>
              <a:gd name="connsiteY44" fmla="*/ 478809 h 1093172"/>
              <a:gd name="connsiteX45" fmla="*/ 379319 w 2570069"/>
              <a:gd name="connsiteY45" fmla="*/ 478809 h 1093172"/>
              <a:gd name="connsiteX46" fmla="*/ 379319 w 2570069"/>
              <a:gd name="connsiteY46" fmla="*/ 490715 h 1093172"/>
              <a:gd name="connsiteX47" fmla="*/ 393606 w 2570069"/>
              <a:gd name="connsiteY47" fmla="*/ 490715 h 1093172"/>
              <a:gd name="connsiteX48" fmla="*/ 393606 w 2570069"/>
              <a:gd name="connsiteY48" fmla="*/ 557390 h 1093172"/>
              <a:gd name="connsiteX49" fmla="*/ 403131 w 2570069"/>
              <a:gd name="connsiteY49" fmla="*/ 557390 h 1093172"/>
              <a:gd name="connsiteX50" fmla="*/ 403131 w 2570069"/>
              <a:gd name="connsiteY50" fmla="*/ 571678 h 1093172"/>
              <a:gd name="connsiteX51" fmla="*/ 412656 w 2570069"/>
              <a:gd name="connsiteY51" fmla="*/ 571678 h 1093172"/>
              <a:gd name="connsiteX52" fmla="*/ 412656 w 2570069"/>
              <a:gd name="connsiteY52" fmla="*/ 619303 h 1093172"/>
              <a:gd name="connsiteX53" fmla="*/ 412656 w 2570069"/>
              <a:gd name="connsiteY53" fmla="*/ 619303 h 1093172"/>
              <a:gd name="connsiteX54" fmla="*/ 424562 w 2570069"/>
              <a:gd name="connsiteY54" fmla="*/ 631209 h 1093172"/>
              <a:gd name="connsiteX55" fmla="*/ 436469 w 2570069"/>
              <a:gd name="connsiteY55" fmla="*/ 631209 h 1093172"/>
              <a:gd name="connsiteX56" fmla="*/ 436469 w 2570069"/>
              <a:gd name="connsiteY56" fmla="*/ 652640 h 1093172"/>
              <a:gd name="connsiteX57" fmla="*/ 450756 w 2570069"/>
              <a:gd name="connsiteY57" fmla="*/ 652640 h 1093172"/>
              <a:gd name="connsiteX58" fmla="*/ 450756 w 2570069"/>
              <a:gd name="connsiteY58" fmla="*/ 664547 h 1093172"/>
              <a:gd name="connsiteX59" fmla="*/ 465044 w 2570069"/>
              <a:gd name="connsiteY59" fmla="*/ 664547 h 1093172"/>
              <a:gd name="connsiteX60" fmla="*/ 465044 w 2570069"/>
              <a:gd name="connsiteY60" fmla="*/ 671690 h 1093172"/>
              <a:gd name="connsiteX61" fmla="*/ 519813 w 2570069"/>
              <a:gd name="connsiteY61" fmla="*/ 671690 h 1093172"/>
              <a:gd name="connsiteX62" fmla="*/ 526956 w 2570069"/>
              <a:gd name="connsiteY62" fmla="*/ 678833 h 1093172"/>
              <a:gd name="connsiteX63" fmla="*/ 555531 w 2570069"/>
              <a:gd name="connsiteY63" fmla="*/ 678833 h 1093172"/>
              <a:gd name="connsiteX64" fmla="*/ 555531 w 2570069"/>
              <a:gd name="connsiteY64" fmla="*/ 693122 h 1093172"/>
              <a:gd name="connsiteX65" fmla="*/ 572200 w 2570069"/>
              <a:gd name="connsiteY65" fmla="*/ 693122 h 1093172"/>
              <a:gd name="connsiteX66" fmla="*/ 572200 w 2570069"/>
              <a:gd name="connsiteY66" fmla="*/ 707409 h 1093172"/>
              <a:gd name="connsiteX67" fmla="*/ 596013 w 2570069"/>
              <a:gd name="connsiteY67" fmla="*/ 707409 h 1093172"/>
              <a:gd name="connsiteX68" fmla="*/ 596013 w 2570069"/>
              <a:gd name="connsiteY68" fmla="*/ 712172 h 1093172"/>
              <a:gd name="connsiteX69" fmla="*/ 622206 w 2570069"/>
              <a:gd name="connsiteY69" fmla="*/ 712172 h 1093172"/>
              <a:gd name="connsiteX70" fmla="*/ 622206 w 2570069"/>
              <a:gd name="connsiteY70" fmla="*/ 721697 h 1093172"/>
              <a:gd name="connsiteX71" fmla="*/ 636494 w 2570069"/>
              <a:gd name="connsiteY71" fmla="*/ 721697 h 1093172"/>
              <a:gd name="connsiteX72" fmla="*/ 636494 w 2570069"/>
              <a:gd name="connsiteY72" fmla="*/ 733603 h 1093172"/>
              <a:gd name="connsiteX73" fmla="*/ 657925 w 2570069"/>
              <a:gd name="connsiteY73" fmla="*/ 733603 h 1093172"/>
              <a:gd name="connsiteX74" fmla="*/ 657925 w 2570069"/>
              <a:gd name="connsiteY74" fmla="*/ 745509 h 1093172"/>
              <a:gd name="connsiteX75" fmla="*/ 676975 w 2570069"/>
              <a:gd name="connsiteY75" fmla="*/ 745509 h 1093172"/>
              <a:gd name="connsiteX76" fmla="*/ 676975 w 2570069"/>
              <a:gd name="connsiteY76" fmla="*/ 759797 h 1093172"/>
              <a:gd name="connsiteX77" fmla="*/ 681738 w 2570069"/>
              <a:gd name="connsiteY77" fmla="*/ 759797 h 1093172"/>
              <a:gd name="connsiteX78" fmla="*/ 681738 w 2570069"/>
              <a:gd name="connsiteY78" fmla="*/ 764559 h 1093172"/>
              <a:gd name="connsiteX79" fmla="*/ 793656 w 2570069"/>
              <a:gd name="connsiteY79" fmla="*/ 764559 h 1093172"/>
              <a:gd name="connsiteX80" fmla="*/ 793656 w 2570069"/>
              <a:gd name="connsiteY80" fmla="*/ 774084 h 1093172"/>
              <a:gd name="connsiteX81" fmla="*/ 841281 w 2570069"/>
              <a:gd name="connsiteY81" fmla="*/ 774084 h 1093172"/>
              <a:gd name="connsiteX82" fmla="*/ 841281 w 2570069"/>
              <a:gd name="connsiteY82" fmla="*/ 793134 h 1093172"/>
              <a:gd name="connsiteX83" fmla="*/ 891288 w 2570069"/>
              <a:gd name="connsiteY83" fmla="*/ 793134 h 1093172"/>
              <a:gd name="connsiteX84" fmla="*/ 891288 w 2570069"/>
              <a:gd name="connsiteY84" fmla="*/ 793134 h 1093172"/>
              <a:gd name="connsiteX85" fmla="*/ 905576 w 2570069"/>
              <a:gd name="connsiteY85" fmla="*/ 807422 h 1093172"/>
              <a:gd name="connsiteX86" fmla="*/ 912719 w 2570069"/>
              <a:gd name="connsiteY86" fmla="*/ 814565 h 1093172"/>
              <a:gd name="connsiteX87" fmla="*/ 955581 w 2570069"/>
              <a:gd name="connsiteY87" fmla="*/ 814565 h 1093172"/>
              <a:gd name="connsiteX88" fmla="*/ 955581 w 2570069"/>
              <a:gd name="connsiteY88" fmla="*/ 843140 h 1093172"/>
              <a:gd name="connsiteX89" fmla="*/ 1191325 w 2570069"/>
              <a:gd name="connsiteY89" fmla="*/ 843140 h 1093172"/>
              <a:gd name="connsiteX90" fmla="*/ 1191325 w 2570069"/>
              <a:gd name="connsiteY90" fmla="*/ 864572 h 1093172"/>
              <a:gd name="connsiteX91" fmla="*/ 1374681 w 2570069"/>
              <a:gd name="connsiteY91" fmla="*/ 864572 h 1093172"/>
              <a:gd name="connsiteX92" fmla="*/ 1374681 w 2570069"/>
              <a:gd name="connsiteY92" fmla="*/ 881240 h 1093172"/>
              <a:gd name="connsiteX93" fmla="*/ 1465169 w 2570069"/>
              <a:gd name="connsiteY93" fmla="*/ 881240 h 1093172"/>
              <a:gd name="connsiteX94" fmla="*/ 1465169 w 2570069"/>
              <a:gd name="connsiteY94" fmla="*/ 902672 h 1093172"/>
              <a:gd name="connsiteX95" fmla="*/ 1739013 w 2570069"/>
              <a:gd name="connsiteY95" fmla="*/ 902672 h 1093172"/>
              <a:gd name="connsiteX96" fmla="*/ 1739013 w 2570069"/>
              <a:gd name="connsiteY96" fmla="*/ 926484 h 1093172"/>
              <a:gd name="connsiteX97" fmla="*/ 1827119 w 2570069"/>
              <a:gd name="connsiteY97" fmla="*/ 926484 h 1093172"/>
              <a:gd name="connsiteX98" fmla="*/ 1827119 w 2570069"/>
              <a:gd name="connsiteY98" fmla="*/ 959822 h 1093172"/>
              <a:gd name="connsiteX99" fmla="*/ 2067625 w 2570069"/>
              <a:gd name="connsiteY99" fmla="*/ 959822 h 1093172"/>
              <a:gd name="connsiteX100" fmla="*/ 2067625 w 2570069"/>
              <a:gd name="connsiteY100" fmla="*/ 995540 h 1093172"/>
              <a:gd name="connsiteX101" fmla="*/ 2112869 w 2570069"/>
              <a:gd name="connsiteY101" fmla="*/ 995540 h 1093172"/>
              <a:gd name="connsiteX102" fmla="*/ 2112869 w 2570069"/>
              <a:gd name="connsiteY102" fmla="*/ 1026497 h 1093172"/>
              <a:gd name="connsiteX103" fmla="*/ 2298606 w 2570069"/>
              <a:gd name="connsiteY103" fmla="*/ 1026497 h 1093172"/>
              <a:gd name="connsiteX104" fmla="*/ 2298606 w 2570069"/>
              <a:gd name="connsiteY104" fmla="*/ 1093172 h 1093172"/>
              <a:gd name="connsiteX105" fmla="*/ 2570069 w 2570069"/>
              <a:gd name="connsiteY105" fmla="*/ 1093172 h 1093172"/>
              <a:gd name="connsiteX0" fmla="*/ 114 w 2559956"/>
              <a:gd name="connsiteY0" fmla="*/ 14356 h 1102588"/>
              <a:gd name="connsiteX1" fmla="*/ 16781 w 2559956"/>
              <a:gd name="connsiteY1" fmla="*/ 68 h 1102588"/>
              <a:gd name="connsiteX2" fmla="*/ 57263 w 2559956"/>
              <a:gd name="connsiteY2" fmla="*/ 21501 h 1102588"/>
              <a:gd name="connsiteX3" fmla="*/ 54881 w 2559956"/>
              <a:gd name="connsiteY3" fmla="*/ 59600 h 1102588"/>
              <a:gd name="connsiteX4" fmla="*/ 73931 w 2559956"/>
              <a:gd name="connsiteY4" fmla="*/ 59600 h 1102588"/>
              <a:gd name="connsiteX5" fmla="*/ 73931 w 2559956"/>
              <a:gd name="connsiteY5" fmla="*/ 66744 h 1102588"/>
              <a:gd name="connsiteX6" fmla="*/ 78693 w 2559956"/>
              <a:gd name="connsiteY6" fmla="*/ 66744 h 1102588"/>
              <a:gd name="connsiteX7" fmla="*/ 78693 w 2559956"/>
              <a:gd name="connsiteY7" fmla="*/ 81031 h 1102588"/>
              <a:gd name="connsiteX8" fmla="*/ 85837 w 2559956"/>
              <a:gd name="connsiteY8" fmla="*/ 81031 h 1102588"/>
              <a:gd name="connsiteX9" fmla="*/ 85837 w 2559956"/>
              <a:gd name="connsiteY9" fmla="*/ 95319 h 1102588"/>
              <a:gd name="connsiteX10" fmla="*/ 100125 w 2559956"/>
              <a:gd name="connsiteY10" fmla="*/ 95319 h 1102588"/>
              <a:gd name="connsiteX11" fmla="*/ 100125 w 2559956"/>
              <a:gd name="connsiteY11" fmla="*/ 107225 h 1102588"/>
              <a:gd name="connsiteX12" fmla="*/ 112031 w 2559956"/>
              <a:gd name="connsiteY12" fmla="*/ 107225 h 1102588"/>
              <a:gd name="connsiteX13" fmla="*/ 112031 w 2559956"/>
              <a:gd name="connsiteY13" fmla="*/ 123894 h 1102588"/>
              <a:gd name="connsiteX14" fmla="*/ 126318 w 2559956"/>
              <a:gd name="connsiteY14" fmla="*/ 123894 h 1102588"/>
              <a:gd name="connsiteX15" fmla="*/ 126318 w 2559956"/>
              <a:gd name="connsiteY15" fmla="*/ 133419 h 1102588"/>
              <a:gd name="connsiteX16" fmla="*/ 135843 w 2559956"/>
              <a:gd name="connsiteY16" fmla="*/ 133419 h 1102588"/>
              <a:gd name="connsiteX17" fmla="*/ 135843 w 2559956"/>
              <a:gd name="connsiteY17" fmla="*/ 157231 h 1102588"/>
              <a:gd name="connsiteX18" fmla="*/ 145368 w 2559956"/>
              <a:gd name="connsiteY18" fmla="*/ 157231 h 1102588"/>
              <a:gd name="connsiteX19" fmla="*/ 145368 w 2559956"/>
              <a:gd name="connsiteY19" fmla="*/ 192950 h 1102588"/>
              <a:gd name="connsiteX20" fmla="*/ 145368 w 2559956"/>
              <a:gd name="connsiteY20" fmla="*/ 235813 h 1102588"/>
              <a:gd name="connsiteX21" fmla="*/ 152512 w 2559956"/>
              <a:gd name="connsiteY21" fmla="*/ 235813 h 1102588"/>
              <a:gd name="connsiteX22" fmla="*/ 152512 w 2559956"/>
              <a:gd name="connsiteY22" fmla="*/ 283438 h 1102588"/>
              <a:gd name="connsiteX23" fmla="*/ 157275 w 2559956"/>
              <a:gd name="connsiteY23" fmla="*/ 283438 h 1102588"/>
              <a:gd name="connsiteX24" fmla="*/ 157275 w 2559956"/>
              <a:gd name="connsiteY24" fmla="*/ 302488 h 1102588"/>
              <a:gd name="connsiteX25" fmla="*/ 164418 w 2559956"/>
              <a:gd name="connsiteY25" fmla="*/ 302488 h 1102588"/>
              <a:gd name="connsiteX26" fmla="*/ 164418 w 2559956"/>
              <a:gd name="connsiteY26" fmla="*/ 328681 h 1102588"/>
              <a:gd name="connsiteX27" fmla="*/ 164418 w 2559956"/>
              <a:gd name="connsiteY27" fmla="*/ 331063 h 1102588"/>
              <a:gd name="connsiteX28" fmla="*/ 164418 w 2559956"/>
              <a:gd name="connsiteY28" fmla="*/ 369163 h 1102588"/>
              <a:gd name="connsiteX29" fmla="*/ 176325 w 2559956"/>
              <a:gd name="connsiteY29" fmla="*/ 369163 h 1102588"/>
              <a:gd name="connsiteX30" fmla="*/ 176325 w 2559956"/>
              <a:gd name="connsiteY30" fmla="*/ 385831 h 1102588"/>
              <a:gd name="connsiteX31" fmla="*/ 183468 w 2559956"/>
              <a:gd name="connsiteY31" fmla="*/ 385831 h 1102588"/>
              <a:gd name="connsiteX32" fmla="*/ 183468 w 2559956"/>
              <a:gd name="connsiteY32" fmla="*/ 395356 h 1102588"/>
              <a:gd name="connsiteX33" fmla="*/ 212043 w 2559956"/>
              <a:gd name="connsiteY33" fmla="*/ 395356 h 1102588"/>
              <a:gd name="connsiteX34" fmla="*/ 214425 w 2559956"/>
              <a:gd name="connsiteY34" fmla="*/ 397738 h 1102588"/>
              <a:gd name="connsiteX35" fmla="*/ 226331 w 2559956"/>
              <a:gd name="connsiteY35" fmla="*/ 397738 h 1102588"/>
              <a:gd name="connsiteX36" fmla="*/ 226331 w 2559956"/>
              <a:gd name="connsiteY36" fmla="*/ 435838 h 1102588"/>
              <a:gd name="connsiteX37" fmla="*/ 283481 w 2559956"/>
              <a:gd name="connsiteY37" fmla="*/ 435838 h 1102588"/>
              <a:gd name="connsiteX38" fmla="*/ 283481 w 2559956"/>
              <a:gd name="connsiteY38" fmla="*/ 459650 h 1102588"/>
              <a:gd name="connsiteX39" fmla="*/ 290625 w 2559956"/>
              <a:gd name="connsiteY39" fmla="*/ 459650 h 1102588"/>
              <a:gd name="connsiteX40" fmla="*/ 290625 w 2559956"/>
              <a:gd name="connsiteY40" fmla="*/ 473938 h 1102588"/>
              <a:gd name="connsiteX41" fmla="*/ 304912 w 2559956"/>
              <a:gd name="connsiteY41" fmla="*/ 473938 h 1102588"/>
              <a:gd name="connsiteX42" fmla="*/ 304912 w 2559956"/>
              <a:gd name="connsiteY42" fmla="*/ 483463 h 1102588"/>
              <a:gd name="connsiteX43" fmla="*/ 331106 w 2559956"/>
              <a:gd name="connsiteY43" fmla="*/ 483463 h 1102588"/>
              <a:gd name="connsiteX44" fmla="*/ 335868 w 2559956"/>
              <a:gd name="connsiteY44" fmla="*/ 488225 h 1102588"/>
              <a:gd name="connsiteX45" fmla="*/ 369206 w 2559956"/>
              <a:gd name="connsiteY45" fmla="*/ 488225 h 1102588"/>
              <a:gd name="connsiteX46" fmla="*/ 369206 w 2559956"/>
              <a:gd name="connsiteY46" fmla="*/ 500131 h 1102588"/>
              <a:gd name="connsiteX47" fmla="*/ 383493 w 2559956"/>
              <a:gd name="connsiteY47" fmla="*/ 500131 h 1102588"/>
              <a:gd name="connsiteX48" fmla="*/ 383493 w 2559956"/>
              <a:gd name="connsiteY48" fmla="*/ 566806 h 1102588"/>
              <a:gd name="connsiteX49" fmla="*/ 393018 w 2559956"/>
              <a:gd name="connsiteY49" fmla="*/ 566806 h 1102588"/>
              <a:gd name="connsiteX50" fmla="*/ 393018 w 2559956"/>
              <a:gd name="connsiteY50" fmla="*/ 581094 h 1102588"/>
              <a:gd name="connsiteX51" fmla="*/ 402543 w 2559956"/>
              <a:gd name="connsiteY51" fmla="*/ 581094 h 1102588"/>
              <a:gd name="connsiteX52" fmla="*/ 402543 w 2559956"/>
              <a:gd name="connsiteY52" fmla="*/ 628719 h 1102588"/>
              <a:gd name="connsiteX53" fmla="*/ 402543 w 2559956"/>
              <a:gd name="connsiteY53" fmla="*/ 628719 h 1102588"/>
              <a:gd name="connsiteX54" fmla="*/ 414449 w 2559956"/>
              <a:gd name="connsiteY54" fmla="*/ 640625 h 1102588"/>
              <a:gd name="connsiteX55" fmla="*/ 426356 w 2559956"/>
              <a:gd name="connsiteY55" fmla="*/ 640625 h 1102588"/>
              <a:gd name="connsiteX56" fmla="*/ 426356 w 2559956"/>
              <a:gd name="connsiteY56" fmla="*/ 662056 h 1102588"/>
              <a:gd name="connsiteX57" fmla="*/ 440643 w 2559956"/>
              <a:gd name="connsiteY57" fmla="*/ 662056 h 1102588"/>
              <a:gd name="connsiteX58" fmla="*/ 440643 w 2559956"/>
              <a:gd name="connsiteY58" fmla="*/ 673963 h 1102588"/>
              <a:gd name="connsiteX59" fmla="*/ 454931 w 2559956"/>
              <a:gd name="connsiteY59" fmla="*/ 673963 h 1102588"/>
              <a:gd name="connsiteX60" fmla="*/ 454931 w 2559956"/>
              <a:gd name="connsiteY60" fmla="*/ 681106 h 1102588"/>
              <a:gd name="connsiteX61" fmla="*/ 509700 w 2559956"/>
              <a:gd name="connsiteY61" fmla="*/ 681106 h 1102588"/>
              <a:gd name="connsiteX62" fmla="*/ 516843 w 2559956"/>
              <a:gd name="connsiteY62" fmla="*/ 688249 h 1102588"/>
              <a:gd name="connsiteX63" fmla="*/ 545418 w 2559956"/>
              <a:gd name="connsiteY63" fmla="*/ 688249 h 1102588"/>
              <a:gd name="connsiteX64" fmla="*/ 545418 w 2559956"/>
              <a:gd name="connsiteY64" fmla="*/ 702538 h 1102588"/>
              <a:gd name="connsiteX65" fmla="*/ 562087 w 2559956"/>
              <a:gd name="connsiteY65" fmla="*/ 702538 h 1102588"/>
              <a:gd name="connsiteX66" fmla="*/ 562087 w 2559956"/>
              <a:gd name="connsiteY66" fmla="*/ 716825 h 1102588"/>
              <a:gd name="connsiteX67" fmla="*/ 585900 w 2559956"/>
              <a:gd name="connsiteY67" fmla="*/ 716825 h 1102588"/>
              <a:gd name="connsiteX68" fmla="*/ 585900 w 2559956"/>
              <a:gd name="connsiteY68" fmla="*/ 721588 h 1102588"/>
              <a:gd name="connsiteX69" fmla="*/ 612093 w 2559956"/>
              <a:gd name="connsiteY69" fmla="*/ 721588 h 1102588"/>
              <a:gd name="connsiteX70" fmla="*/ 612093 w 2559956"/>
              <a:gd name="connsiteY70" fmla="*/ 731113 h 1102588"/>
              <a:gd name="connsiteX71" fmla="*/ 626381 w 2559956"/>
              <a:gd name="connsiteY71" fmla="*/ 731113 h 1102588"/>
              <a:gd name="connsiteX72" fmla="*/ 626381 w 2559956"/>
              <a:gd name="connsiteY72" fmla="*/ 743019 h 1102588"/>
              <a:gd name="connsiteX73" fmla="*/ 647812 w 2559956"/>
              <a:gd name="connsiteY73" fmla="*/ 743019 h 1102588"/>
              <a:gd name="connsiteX74" fmla="*/ 647812 w 2559956"/>
              <a:gd name="connsiteY74" fmla="*/ 754925 h 1102588"/>
              <a:gd name="connsiteX75" fmla="*/ 666862 w 2559956"/>
              <a:gd name="connsiteY75" fmla="*/ 754925 h 1102588"/>
              <a:gd name="connsiteX76" fmla="*/ 666862 w 2559956"/>
              <a:gd name="connsiteY76" fmla="*/ 769213 h 1102588"/>
              <a:gd name="connsiteX77" fmla="*/ 671625 w 2559956"/>
              <a:gd name="connsiteY77" fmla="*/ 769213 h 1102588"/>
              <a:gd name="connsiteX78" fmla="*/ 671625 w 2559956"/>
              <a:gd name="connsiteY78" fmla="*/ 773975 h 1102588"/>
              <a:gd name="connsiteX79" fmla="*/ 783543 w 2559956"/>
              <a:gd name="connsiteY79" fmla="*/ 773975 h 1102588"/>
              <a:gd name="connsiteX80" fmla="*/ 783543 w 2559956"/>
              <a:gd name="connsiteY80" fmla="*/ 783500 h 1102588"/>
              <a:gd name="connsiteX81" fmla="*/ 831168 w 2559956"/>
              <a:gd name="connsiteY81" fmla="*/ 783500 h 1102588"/>
              <a:gd name="connsiteX82" fmla="*/ 831168 w 2559956"/>
              <a:gd name="connsiteY82" fmla="*/ 802550 h 1102588"/>
              <a:gd name="connsiteX83" fmla="*/ 881175 w 2559956"/>
              <a:gd name="connsiteY83" fmla="*/ 802550 h 1102588"/>
              <a:gd name="connsiteX84" fmla="*/ 881175 w 2559956"/>
              <a:gd name="connsiteY84" fmla="*/ 802550 h 1102588"/>
              <a:gd name="connsiteX85" fmla="*/ 895463 w 2559956"/>
              <a:gd name="connsiteY85" fmla="*/ 816838 h 1102588"/>
              <a:gd name="connsiteX86" fmla="*/ 902606 w 2559956"/>
              <a:gd name="connsiteY86" fmla="*/ 823981 h 1102588"/>
              <a:gd name="connsiteX87" fmla="*/ 945468 w 2559956"/>
              <a:gd name="connsiteY87" fmla="*/ 823981 h 1102588"/>
              <a:gd name="connsiteX88" fmla="*/ 945468 w 2559956"/>
              <a:gd name="connsiteY88" fmla="*/ 852556 h 1102588"/>
              <a:gd name="connsiteX89" fmla="*/ 1181212 w 2559956"/>
              <a:gd name="connsiteY89" fmla="*/ 852556 h 1102588"/>
              <a:gd name="connsiteX90" fmla="*/ 1181212 w 2559956"/>
              <a:gd name="connsiteY90" fmla="*/ 873988 h 1102588"/>
              <a:gd name="connsiteX91" fmla="*/ 1364568 w 2559956"/>
              <a:gd name="connsiteY91" fmla="*/ 873988 h 1102588"/>
              <a:gd name="connsiteX92" fmla="*/ 1364568 w 2559956"/>
              <a:gd name="connsiteY92" fmla="*/ 890656 h 1102588"/>
              <a:gd name="connsiteX93" fmla="*/ 1455056 w 2559956"/>
              <a:gd name="connsiteY93" fmla="*/ 890656 h 1102588"/>
              <a:gd name="connsiteX94" fmla="*/ 1455056 w 2559956"/>
              <a:gd name="connsiteY94" fmla="*/ 912088 h 1102588"/>
              <a:gd name="connsiteX95" fmla="*/ 1728900 w 2559956"/>
              <a:gd name="connsiteY95" fmla="*/ 912088 h 1102588"/>
              <a:gd name="connsiteX96" fmla="*/ 1728900 w 2559956"/>
              <a:gd name="connsiteY96" fmla="*/ 935900 h 1102588"/>
              <a:gd name="connsiteX97" fmla="*/ 1817006 w 2559956"/>
              <a:gd name="connsiteY97" fmla="*/ 935900 h 1102588"/>
              <a:gd name="connsiteX98" fmla="*/ 1817006 w 2559956"/>
              <a:gd name="connsiteY98" fmla="*/ 969238 h 1102588"/>
              <a:gd name="connsiteX99" fmla="*/ 2057512 w 2559956"/>
              <a:gd name="connsiteY99" fmla="*/ 969238 h 1102588"/>
              <a:gd name="connsiteX100" fmla="*/ 2057512 w 2559956"/>
              <a:gd name="connsiteY100" fmla="*/ 1004956 h 1102588"/>
              <a:gd name="connsiteX101" fmla="*/ 2102756 w 2559956"/>
              <a:gd name="connsiteY101" fmla="*/ 1004956 h 1102588"/>
              <a:gd name="connsiteX102" fmla="*/ 2102756 w 2559956"/>
              <a:gd name="connsiteY102" fmla="*/ 1035913 h 1102588"/>
              <a:gd name="connsiteX103" fmla="*/ 2288493 w 2559956"/>
              <a:gd name="connsiteY103" fmla="*/ 1035913 h 1102588"/>
              <a:gd name="connsiteX104" fmla="*/ 2288493 w 2559956"/>
              <a:gd name="connsiteY104" fmla="*/ 1102588 h 1102588"/>
              <a:gd name="connsiteX105" fmla="*/ 2559956 w 2559956"/>
              <a:gd name="connsiteY105" fmla="*/ 1102588 h 1102588"/>
              <a:gd name="connsiteX0" fmla="*/ 114 w 2559956"/>
              <a:gd name="connsiteY0" fmla="*/ 14356 h 1102588"/>
              <a:gd name="connsiteX1" fmla="*/ 16781 w 2559956"/>
              <a:gd name="connsiteY1" fmla="*/ 68 h 1102588"/>
              <a:gd name="connsiteX2" fmla="*/ 57263 w 2559956"/>
              <a:gd name="connsiteY2" fmla="*/ 21501 h 1102588"/>
              <a:gd name="connsiteX3" fmla="*/ 54881 w 2559956"/>
              <a:gd name="connsiteY3" fmla="*/ 59600 h 1102588"/>
              <a:gd name="connsiteX4" fmla="*/ 73931 w 2559956"/>
              <a:gd name="connsiteY4" fmla="*/ 59600 h 1102588"/>
              <a:gd name="connsiteX5" fmla="*/ 73931 w 2559956"/>
              <a:gd name="connsiteY5" fmla="*/ 66744 h 1102588"/>
              <a:gd name="connsiteX6" fmla="*/ 78693 w 2559956"/>
              <a:gd name="connsiteY6" fmla="*/ 66744 h 1102588"/>
              <a:gd name="connsiteX7" fmla="*/ 78693 w 2559956"/>
              <a:gd name="connsiteY7" fmla="*/ 81031 h 1102588"/>
              <a:gd name="connsiteX8" fmla="*/ 85837 w 2559956"/>
              <a:gd name="connsiteY8" fmla="*/ 81031 h 1102588"/>
              <a:gd name="connsiteX9" fmla="*/ 85837 w 2559956"/>
              <a:gd name="connsiteY9" fmla="*/ 95319 h 1102588"/>
              <a:gd name="connsiteX10" fmla="*/ 100125 w 2559956"/>
              <a:gd name="connsiteY10" fmla="*/ 95319 h 1102588"/>
              <a:gd name="connsiteX11" fmla="*/ 100125 w 2559956"/>
              <a:gd name="connsiteY11" fmla="*/ 107225 h 1102588"/>
              <a:gd name="connsiteX12" fmla="*/ 112031 w 2559956"/>
              <a:gd name="connsiteY12" fmla="*/ 107225 h 1102588"/>
              <a:gd name="connsiteX13" fmla="*/ 112031 w 2559956"/>
              <a:gd name="connsiteY13" fmla="*/ 123894 h 1102588"/>
              <a:gd name="connsiteX14" fmla="*/ 126318 w 2559956"/>
              <a:gd name="connsiteY14" fmla="*/ 123894 h 1102588"/>
              <a:gd name="connsiteX15" fmla="*/ 126318 w 2559956"/>
              <a:gd name="connsiteY15" fmla="*/ 133419 h 1102588"/>
              <a:gd name="connsiteX16" fmla="*/ 135843 w 2559956"/>
              <a:gd name="connsiteY16" fmla="*/ 133419 h 1102588"/>
              <a:gd name="connsiteX17" fmla="*/ 135843 w 2559956"/>
              <a:gd name="connsiteY17" fmla="*/ 157231 h 1102588"/>
              <a:gd name="connsiteX18" fmla="*/ 145368 w 2559956"/>
              <a:gd name="connsiteY18" fmla="*/ 157231 h 1102588"/>
              <a:gd name="connsiteX19" fmla="*/ 145368 w 2559956"/>
              <a:gd name="connsiteY19" fmla="*/ 192950 h 1102588"/>
              <a:gd name="connsiteX20" fmla="*/ 145368 w 2559956"/>
              <a:gd name="connsiteY20" fmla="*/ 235813 h 1102588"/>
              <a:gd name="connsiteX21" fmla="*/ 152512 w 2559956"/>
              <a:gd name="connsiteY21" fmla="*/ 235813 h 1102588"/>
              <a:gd name="connsiteX22" fmla="*/ 152512 w 2559956"/>
              <a:gd name="connsiteY22" fmla="*/ 283438 h 1102588"/>
              <a:gd name="connsiteX23" fmla="*/ 157275 w 2559956"/>
              <a:gd name="connsiteY23" fmla="*/ 283438 h 1102588"/>
              <a:gd name="connsiteX24" fmla="*/ 157275 w 2559956"/>
              <a:gd name="connsiteY24" fmla="*/ 302488 h 1102588"/>
              <a:gd name="connsiteX25" fmla="*/ 164418 w 2559956"/>
              <a:gd name="connsiteY25" fmla="*/ 302488 h 1102588"/>
              <a:gd name="connsiteX26" fmla="*/ 164418 w 2559956"/>
              <a:gd name="connsiteY26" fmla="*/ 328681 h 1102588"/>
              <a:gd name="connsiteX27" fmla="*/ 164418 w 2559956"/>
              <a:gd name="connsiteY27" fmla="*/ 331063 h 1102588"/>
              <a:gd name="connsiteX28" fmla="*/ 164418 w 2559956"/>
              <a:gd name="connsiteY28" fmla="*/ 369163 h 1102588"/>
              <a:gd name="connsiteX29" fmla="*/ 176325 w 2559956"/>
              <a:gd name="connsiteY29" fmla="*/ 369163 h 1102588"/>
              <a:gd name="connsiteX30" fmla="*/ 176325 w 2559956"/>
              <a:gd name="connsiteY30" fmla="*/ 385831 h 1102588"/>
              <a:gd name="connsiteX31" fmla="*/ 183468 w 2559956"/>
              <a:gd name="connsiteY31" fmla="*/ 385831 h 1102588"/>
              <a:gd name="connsiteX32" fmla="*/ 183468 w 2559956"/>
              <a:gd name="connsiteY32" fmla="*/ 395356 h 1102588"/>
              <a:gd name="connsiteX33" fmla="*/ 212043 w 2559956"/>
              <a:gd name="connsiteY33" fmla="*/ 395356 h 1102588"/>
              <a:gd name="connsiteX34" fmla="*/ 214425 w 2559956"/>
              <a:gd name="connsiteY34" fmla="*/ 397738 h 1102588"/>
              <a:gd name="connsiteX35" fmla="*/ 226331 w 2559956"/>
              <a:gd name="connsiteY35" fmla="*/ 397738 h 1102588"/>
              <a:gd name="connsiteX36" fmla="*/ 226331 w 2559956"/>
              <a:gd name="connsiteY36" fmla="*/ 435838 h 1102588"/>
              <a:gd name="connsiteX37" fmla="*/ 283481 w 2559956"/>
              <a:gd name="connsiteY37" fmla="*/ 435838 h 1102588"/>
              <a:gd name="connsiteX38" fmla="*/ 283481 w 2559956"/>
              <a:gd name="connsiteY38" fmla="*/ 459650 h 1102588"/>
              <a:gd name="connsiteX39" fmla="*/ 290625 w 2559956"/>
              <a:gd name="connsiteY39" fmla="*/ 459650 h 1102588"/>
              <a:gd name="connsiteX40" fmla="*/ 290625 w 2559956"/>
              <a:gd name="connsiteY40" fmla="*/ 473938 h 1102588"/>
              <a:gd name="connsiteX41" fmla="*/ 304912 w 2559956"/>
              <a:gd name="connsiteY41" fmla="*/ 473938 h 1102588"/>
              <a:gd name="connsiteX42" fmla="*/ 304912 w 2559956"/>
              <a:gd name="connsiteY42" fmla="*/ 483463 h 1102588"/>
              <a:gd name="connsiteX43" fmla="*/ 331106 w 2559956"/>
              <a:gd name="connsiteY43" fmla="*/ 483463 h 1102588"/>
              <a:gd name="connsiteX44" fmla="*/ 335868 w 2559956"/>
              <a:gd name="connsiteY44" fmla="*/ 488225 h 1102588"/>
              <a:gd name="connsiteX45" fmla="*/ 369206 w 2559956"/>
              <a:gd name="connsiteY45" fmla="*/ 488225 h 1102588"/>
              <a:gd name="connsiteX46" fmla="*/ 369206 w 2559956"/>
              <a:gd name="connsiteY46" fmla="*/ 500131 h 1102588"/>
              <a:gd name="connsiteX47" fmla="*/ 383493 w 2559956"/>
              <a:gd name="connsiteY47" fmla="*/ 500131 h 1102588"/>
              <a:gd name="connsiteX48" fmla="*/ 383493 w 2559956"/>
              <a:gd name="connsiteY48" fmla="*/ 566806 h 1102588"/>
              <a:gd name="connsiteX49" fmla="*/ 393018 w 2559956"/>
              <a:gd name="connsiteY49" fmla="*/ 566806 h 1102588"/>
              <a:gd name="connsiteX50" fmla="*/ 393018 w 2559956"/>
              <a:gd name="connsiteY50" fmla="*/ 581094 h 1102588"/>
              <a:gd name="connsiteX51" fmla="*/ 402543 w 2559956"/>
              <a:gd name="connsiteY51" fmla="*/ 581094 h 1102588"/>
              <a:gd name="connsiteX52" fmla="*/ 402543 w 2559956"/>
              <a:gd name="connsiteY52" fmla="*/ 628719 h 1102588"/>
              <a:gd name="connsiteX53" fmla="*/ 402543 w 2559956"/>
              <a:gd name="connsiteY53" fmla="*/ 628719 h 1102588"/>
              <a:gd name="connsiteX54" fmla="*/ 414449 w 2559956"/>
              <a:gd name="connsiteY54" fmla="*/ 640625 h 1102588"/>
              <a:gd name="connsiteX55" fmla="*/ 426356 w 2559956"/>
              <a:gd name="connsiteY55" fmla="*/ 640625 h 1102588"/>
              <a:gd name="connsiteX56" fmla="*/ 426356 w 2559956"/>
              <a:gd name="connsiteY56" fmla="*/ 662056 h 1102588"/>
              <a:gd name="connsiteX57" fmla="*/ 440643 w 2559956"/>
              <a:gd name="connsiteY57" fmla="*/ 662056 h 1102588"/>
              <a:gd name="connsiteX58" fmla="*/ 440643 w 2559956"/>
              <a:gd name="connsiteY58" fmla="*/ 673963 h 1102588"/>
              <a:gd name="connsiteX59" fmla="*/ 454931 w 2559956"/>
              <a:gd name="connsiteY59" fmla="*/ 673963 h 1102588"/>
              <a:gd name="connsiteX60" fmla="*/ 454931 w 2559956"/>
              <a:gd name="connsiteY60" fmla="*/ 681106 h 1102588"/>
              <a:gd name="connsiteX61" fmla="*/ 509700 w 2559956"/>
              <a:gd name="connsiteY61" fmla="*/ 681106 h 1102588"/>
              <a:gd name="connsiteX62" fmla="*/ 516843 w 2559956"/>
              <a:gd name="connsiteY62" fmla="*/ 688249 h 1102588"/>
              <a:gd name="connsiteX63" fmla="*/ 545418 w 2559956"/>
              <a:gd name="connsiteY63" fmla="*/ 688249 h 1102588"/>
              <a:gd name="connsiteX64" fmla="*/ 545418 w 2559956"/>
              <a:gd name="connsiteY64" fmla="*/ 702538 h 1102588"/>
              <a:gd name="connsiteX65" fmla="*/ 562087 w 2559956"/>
              <a:gd name="connsiteY65" fmla="*/ 702538 h 1102588"/>
              <a:gd name="connsiteX66" fmla="*/ 562087 w 2559956"/>
              <a:gd name="connsiteY66" fmla="*/ 716825 h 1102588"/>
              <a:gd name="connsiteX67" fmla="*/ 585900 w 2559956"/>
              <a:gd name="connsiteY67" fmla="*/ 716825 h 1102588"/>
              <a:gd name="connsiteX68" fmla="*/ 585900 w 2559956"/>
              <a:gd name="connsiteY68" fmla="*/ 721588 h 1102588"/>
              <a:gd name="connsiteX69" fmla="*/ 612093 w 2559956"/>
              <a:gd name="connsiteY69" fmla="*/ 721588 h 1102588"/>
              <a:gd name="connsiteX70" fmla="*/ 612093 w 2559956"/>
              <a:gd name="connsiteY70" fmla="*/ 731113 h 1102588"/>
              <a:gd name="connsiteX71" fmla="*/ 626381 w 2559956"/>
              <a:gd name="connsiteY71" fmla="*/ 731113 h 1102588"/>
              <a:gd name="connsiteX72" fmla="*/ 626381 w 2559956"/>
              <a:gd name="connsiteY72" fmla="*/ 743019 h 1102588"/>
              <a:gd name="connsiteX73" fmla="*/ 647812 w 2559956"/>
              <a:gd name="connsiteY73" fmla="*/ 743019 h 1102588"/>
              <a:gd name="connsiteX74" fmla="*/ 647812 w 2559956"/>
              <a:gd name="connsiteY74" fmla="*/ 754925 h 1102588"/>
              <a:gd name="connsiteX75" fmla="*/ 666862 w 2559956"/>
              <a:gd name="connsiteY75" fmla="*/ 754925 h 1102588"/>
              <a:gd name="connsiteX76" fmla="*/ 666862 w 2559956"/>
              <a:gd name="connsiteY76" fmla="*/ 769213 h 1102588"/>
              <a:gd name="connsiteX77" fmla="*/ 671625 w 2559956"/>
              <a:gd name="connsiteY77" fmla="*/ 769213 h 1102588"/>
              <a:gd name="connsiteX78" fmla="*/ 671625 w 2559956"/>
              <a:gd name="connsiteY78" fmla="*/ 773975 h 1102588"/>
              <a:gd name="connsiteX79" fmla="*/ 783543 w 2559956"/>
              <a:gd name="connsiteY79" fmla="*/ 773975 h 1102588"/>
              <a:gd name="connsiteX80" fmla="*/ 783543 w 2559956"/>
              <a:gd name="connsiteY80" fmla="*/ 783500 h 1102588"/>
              <a:gd name="connsiteX81" fmla="*/ 831168 w 2559956"/>
              <a:gd name="connsiteY81" fmla="*/ 783500 h 1102588"/>
              <a:gd name="connsiteX82" fmla="*/ 831168 w 2559956"/>
              <a:gd name="connsiteY82" fmla="*/ 802550 h 1102588"/>
              <a:gd name="connsiteX83" fmla="*/ 881175 w 2559956"/>
              <a:gd name="connsiteY83" fmla="*/ 802550 h 1102588"/>
              <a:gd name="connsiteX84" fmla="*/ 881175 w 2559956"/>
              <a:gd name="connsiteY84" fmla="*/ 802550 h 1102588"/>
              <a:gd name="connsiteX85" fmla="*/ 895463 w 2559956"/>
              <a:gd name="connsiteY85" fmla="*/ 816838 h 1102588"/>
              <a:gd name="connsiteX86" fmla="*/ 902606 w 2559956"/>
              <a:gd name="connsiteY86" fmla="*/ 823981 h 1102588"/>
              <a:gd name="connsiteX87" fmla="*/ 945468 w 2559956"/>
              <a:gd name="connsiteY87" fmla="*/ 823981 h 1102588"/>
              <a:gd name="connsiteX88" fmla="*/ 945468 w 2559956"/>
              <a:gd name="connsiteY88" fmla="*/ 852556 h 1102588"/>
              <a:gd name="connsiteX89" fmla="*/ 1181212 w 2559956"/>
              <a:gd name="connsiteY89" fmla="*/ 852556 h 1102588"/>
              <a:gd name="connsiteX90" fmla="*/ 1181212 w 2559956"/>
              <a:gd name="connsiteY90" fmla="*/ 873988 h 1102588"/>
              <a:gd name="connsiteX91" fmla="*/ 1364568 w 2559956"/>
              <a:gd name="connsiteY91" fmla="*/ 873988 h 1102588"/>
              <a:gd name="connsiteX92" fmla="*/ 1364568 w 2559956"/>
              <a:gd name="connsiteY92" fmla="*/ 890656 h 1102588"/>
              <a:gd name="connsiteX93" fmla="*/ 1455056 w 2559956"/>
              <a:gd name="connsiteY93" fmla="*/ 890656 h 1102588"/>
              <a:gd name="connsiteX94" fmla="*/ 1455056 w 2559956"/>
              <a:gd name="connsiteY94" fmla="*/ 912088 h 1102588"/>
              <a:gd name="connsiteX95" fmla="*/ 1728900 w 2559956"/>
              <a:gd name="connsiteY95" fmla="*/ 912088 h 1102588"/>
              <a:gd name="connsiteX96" fmla="*/ 1728900 w 2559956"/>
              <a:gd name="connsiteY96" fmla="*/ 935900 h 1102588"/>
              <a:gd name="connsiteX97" fmla="*/ 1817006 w 2559956"/>
              <a:gd name="connsiteY97" fmla="*/ 935900 h 1102588"/>
              <a:gd name="connsiteX98" fmla="*/ 1817006 w 2559956"/>
              <a:gd name="connsiteY98" fmla="*/ 969238 h 1102588"/>
              <a:gd name="connsiteX99" fmla="*/ 2057512 w 2559956"/>
              <a:gd name="connsiteY99" fmla="*/ 969238 h 1102588"/>
              <a:gd name="connsiteX100" fmla="*/ 2057512 w 2559956"/>
              <a:gd name="connsiteY100" fmla="*/ 1004956 h 1102588"/>
              <a:gd name="connsiteX101" fmla="*/ 2102756 w 2559956"/>
              <a:gd name="connsiteY101" fmla="*/ 1004956 h 1102588"/>
              <a:gd name="connsiteX102" fmla="*/ 2102756 w 2559956"/>
              <a:gd name="connsiteY102" fmla="*/ 1035913 h 1102588"/>
              <a:gd name="connsiteX103" fmla="*/ 2288493 w 2559956"/>
              <a:gd name="connsiteY103" fmla="*/ 1035913 h 1102588"/>
              <a:gd name="connsiteX104" fmla="*/ 2288493 w 2559956"/>
              <a:gd name="connsiteY104" fmla="*/ 1102588 h 1102588"/>
              <a:gd name="connsiteX105" fmla="*/ 2559956 w 2559956"/>
              <a:gd name="connsiteY105" fmla="*/ 1102588 h 1102588"/>
              <a:gd name="connsiteX0" fmla="*/ 57 w 2559899"/>
              <a:gd name="connsiteY0" fmla="*/ 16728 h 1104960"/>
              <a:gd name="connsiteX1" fmla="*/ 26249 w 2559899"/>
              <a:gd name="connsiteY1" fmla="*/ 59 h 1104960"/>
              <a:gd name="connsiteX2" fmla="*/ 57206 w 2559899"/>
              <a:gd name="connsiteY2" fmla="*/ 23873 h 1104960"/>
              <a:gd name="connsiteX3" fmla="*/ 54824 w 2559899"/>
              <a:gd name="connsiteY3" fmla="*/ 61972 h 1104960"/>
              <a:gd name="connsiteX4" fmla="*/ 73874 w 2559899"/>
              <a:gd name="connsiteY4" fmla="*/ 61972 h 1104960"/>
              <a:gd name="connsiteX5" fmla="*/ 73874 w 2559899"/>
              <a:gd name="connsiteY5" fmla="*/ 69116 h 1104960"/>
              <a:gd name="connsiteX6" fmla="*/ 78636 w 2559899"/>
              <a:gd name="connsiteY6" fmla="*/ 69116 h 1104960"/>
              <a:gd name="connsiteX7" fmla="*/ 78636 w 2559899"/>
              <a:gd name="connsiteY7" fmla="*/ 83403 h 1104960"/>
              <a:gd name="connsiteX8" fmla="*/ 85780 w 2559899"/>
              <a:gd name="connsiteY8" fmla="*/ 83403 h 1104960"/>
              <a:gd name="connsiteX9" fmla="*/ 85780 w 2559899"/>
              <a:gd name="connsiteY9" fmla="*/ 97691 h 1104960"/>
              <a:gd name="connsiteX10" fmla="*/ 100068 w 2559899"/>
              <a:gd name="connsiteY10" fmla="*/ 97691 h 1104960"/>
              <a:gd name="connsiteX11" fmla="*/ 100068 w 2559899"/>
              <a:gd name="connsiteY11" fmla="*/ 109597 h 1104960"/>
              <a:gd name="connsiteX12" fmla="*/ 111974 w 2559899"/>
              <a:gd name="connsiteY12" fmla="*/ 109597 h 1104960"/>
              <a:gd name="connsiteX13" fmla="*/ 111974 w 2559899"/>
              <a:gd name="connsiteY13" fmla="*/ 126266 h 1104960"/>
              <a:gd name="connsiteX14" fmla="*/ 126261 w 2559899"/>
              <a:gd name="connsiteY14" fmla="*/ 126266 h 1104960"/>
              <a:gd name="connsiteX15" fmla="*/ 126261 w 2559899"/>
              <a:gd name="connsiteY15" fmla="*/ 135791 h 1104960"/>
              <a:gd name="connsiteX16" fmla="*/ 135786 w 2559899"/>
              <a:gd name="connsiteY16" fmla="*/ 135791 h 1104960"/>
              <a:gd name="connsiteX17" fmla="*/ 135786 w 2559899"/>
              <a:gd name="connsiteY17" fmla="*/ 159603 h 1104960"/>
              <a:gd name="connsiteX18" fmla="*/ 145311 w 2559899"/>
              <a:gd name="connsiteY18" fmla="*/ 159603 h 1104960"/>
              <a:gd name="connsiteX19" fmla="*/ 145311 w 2559899"/>
              <a:gd name="connsiteY19" fmla="*/ 195322 h 1104960"/>
              <a:gd name="connsiteX20" fmla="*/ 145311 w 2559899"/>
              <a:gd name="connsiteY20" fmla="*/ 238185 h 1104960"/>
              <a:gd name="connsiteX21" fmla="*/ 152455 w 2559899"/>
              <a:gd name="connsiteY21" fmla="*/ 238185 h 1104960"/>
              <a:gd name="connsiteX22" fmla="*/ 152455 w 2559899"/>
              <a:gd name="connsiteY22" fmla="*/ 285810 h 1104960"/>
              <a:gd name="connsiteX23" fmla="*/ 157218 w 2559899"/>
              <a:gd name="connsiteY23" fmla="*/ 285810 h 1104960"/>
              <a:gd name="connsiteX24" fmla="*/ 157218 w 2559899"/>
              <a:gd name="connsiteY24" fmla="*/ 304860 h 1104960"/>
              <a:gd name="connsiteX25" fmla="*/ 164361 w 2559899"/>
              <a:gd name="connsiteY25" fmla="*/ 304860 h 1104960"/>
              <a:gd name="connsiteX26" fmla="*/ 164361 w 2559899"/>
              <a:gd name="connsiteY26" fmla="*/ 331053 h 1104960"/>
              <a:gd name="connsiteX27" fmla="*/ 164361 w 2559899"/>
              <a:gd name="connsiteY27" fmla="*/ 333435 h 1104960"/>
              <a:gd name="connsiteX28" fmla="*/ 164361 w 2559899"/>
              <a:gd name="connsiteY28" fmla="*/ 371535 h 1104960"/>
              <a:gd name="connsiteX29" fmla="*/ 176268 w 2559899"/>
              <a:gd name="connsiteY29" fmla="*/ 371535 h 1104960"/>
              <a:gd name="connsiteX30" fmla="*/ 176268 w 2559899"/>
              <a:gd name="connsiteY30" fmla="*/ 388203 h 1104960"/>
              <a:gd name="connsiteX31" fmla="*/ 183411 w 2559899"/>
              <a:gd name="connsiteY31" fmla="*/ 388203 h 1104960"/>
              <a:gd name="connsiteX32" fmla="*/ 183411 w 2559899"/>
              <a:gd name="connsiteY32" fmla="*/ 397728 h 1104960"/>
              <a:gd name="connsiteX33" fmla="*/ 211986 w 2559899"/>
              <a:gd name="connsiteY33" fmla="*/ 397728 h 1104960"/>
              <a:gd name="connsiteX34" fmla="*/ 214368 w 2559899"/>
              <a:gd name="connsiteY34" fmla="*/ 400110 h 1104960"/>
              <a:gd name="connsiteX35" fmla="*/ 226274 w 2559899"/>
              <a:gd name="connsiteY35" fmla="*/ 400110 h 1104960"/>
              <a:gd name="connsiteX36" fmla="*/ 226274 w 2559899"/>
              <a:gd name="connsiteY36" fmla="*/ 438210 h 1104960"/>
              <a:gd name="connsiteX37" fmla="*/ 283424 w 2559899"/>
              <a:gd name="connsiteY37" fmla="*/ 438210 h 1104960"/>
              <a:gd name="connsiteX38" fmla="*/ 283424 w 2559899"/>
              <a:gd name="connsiteY38" fmla="*/ 462022 h 1104960"/>
              <a:gd name="connsiteX39" fmla="*/ 290568 w 2559899"/>
              <a:gd name="connsiteY39" fmla="*/ 462022 h 1104960"/>
              <a:gd name="connsiteX40" fmla="*/ 290568 w 2559899"/>
              <a:gd name="connsiteY40" fmla="*/ 476310 h 1104960"/>
              <a:gd name="connsiteX41" fmla="*/ 304855 w 2559899"/>
              <a:gd name="connsiteY41" fmla="*/ 476310 h 1104960"/>
              <a:gd name="connsiteX42" fmla="*/ 304855 w 2559899"/>
              <a:gd name="connsiteY42" fmla="*/ 485835 h 1104960"/>
              <a:gd name="connsiteX43" fmla="*/ 331049 w 2559899"/>
              <a:gd name="connsiteY43" fmla="*/ 485835 h 1104960"/>
              <a:gd name="connsiteX44" fmla="*/ 335811 w 2559899"/>
              <a:gd name="connsiteY44" fmla="*/ 490597 h 1104960"/>
              <a:gd name="connsiteX45" fmla="*/ 369149 w 2559899"/>
              <a:gd name="connsiteY45" fmla="*/ 490597 h 1104960"/>
              <a:gd name="connsiteX46" fmla="*/ 369149 w 2559899"/>
              <a:gd name="connsiteY46" fmla="*/ 502503 h 1104960"/>
              <a:gd name="connsiteX47" fmla="*/ 383436 w 2559899"/>
              <a:gd name="connsiteY47" fmla="*/ 502503 h 1104960"/>
              <a:gd name="connsiteX48" fmla="*/ 383436 w 2559899"/>
              <a:gd name="connsiteY48" fmla="*/ 569178 h 1104960"/>
              <a:gd name="connsiteX49" fmla="*/ 392961 w 2559899"/>
              <a:gd name="connsiteY49" fmla="*/ 569178 h 1104960"/>
              <a:gd name="connsiteX50" fmla="*/ 392961 w 2559899"/>
              <a:gd name="connsiteY50" fmla="*/ 583466 h 1104960"/>
              <a:gd name="connsiteX51" fmla="*/ 402486 w 2559899"/>
              <a:gd name="connsiteY51" fmla="*/ 583466 h 1104960"/>
              <a:gd name="connsiteX52" fmla="*/ 402486 w 2559899"/>
              <a:gd name="connsiteY52" fmla="*/ 631091 h 1104960"/>
              <a:gd name="connsiteX53" fmla="*/ 402486 w 2559899"/>
              <a:gd name="connsiteY53" fmla="*/ 631091 h 1104960"/>
              <a:gd name="connsiteX54" fmla="*/ 414392 w 2559899"/>
              <a:gd name="connsiteY54" fmla="*/ 642997 h 1104960"/>
              <a:gd name="connsiteX55" fmla="*/ 426299 w 2559899"/>
              <a:gd name="connsiteY55" fmla="*/ 642997 h 1104960"/>
              <a:gd name="connsiteX56" fmla="*/ 426299 w 2559899"/>
              <a:gd name="connsiteY56" fmla="*/ 664428 h 1104960"/>
              <a:gd name="connsiteX57" fmla="*/ 440586 w 2559899"/>
              <a:gd name="connsiteY57" fmla="*/ 664428 h 1104960"/>
              <a:gd name="connsiteX58" fmla="*/ 440586 w 2559899"/>
              <a:gd name="connsiteY58" fmla="*/ 676335 h 1104960"/>
              <a:gd name="connsiteX59" fmla="*/ 454874 w 2559899"/>
              <a:gd name="connsiteY59" fmla="*/ 676335 h 1104960"/>
              <a:gd name="connsiteX60" fmla="*/ 454874 w 2559899"/>
              <a:gd name="connsiteY60" fmla="*/ 683478 h 1104960"/>
              <a:gd name="connsiteX61" fmla="*/ 509643 w 2559899"/>
              <a:gd name="connsiteY61" fmla="*/ 683478 h 1104960"/>
              <a:gd name="connsiteX62" fmla="*/ 516786 w 2559899"/>
              <a:gd name="connsiteY62" fmla="*/ 690621 h 1104960"/>
              <a:gd name="connsiteX63" fmla="*/ 545361 w 2559899"/>
              <a:gd name="connsiteY63" fmla="*/ 690621 h 1104960"/>
              <a:gd name="connsiteX64" fmla="*/ 545361 w 2559899"/>
              <a:gd name="connsiteY64" fmla="*/ 704910 h 1104960"/>
              <a:gd name="connsiteX65" fmla="*/ 562030 w 2559899"/>
              <a:gd name="connsiteY65" fmla="*/ 704910 h 1104960"/>
              <a:gd name="connsiteX66" fmla="*/ 562030 w 2559899"/>
              <a:gd name="connsiteY66" fmla="*/ 719197 h 1104960"/>
              <a:gd name="connsiteX67" fmla="*/ 585843 w 2559899"/>
              <a:gd name="connsiteY67" fmla="*/ 719197 h 1104960"/>
              <a:gd name="connsiteX68" fmla="*/ 585843 w 2559899"/>
              <a:gd name="connsiteY68" fmla="*/ 723960 h 1104960"/>
              <a:gd name="connsiteX69" fmla="*/ 612036 w 2559899"/>
              <a:gd name="connsiteY69" fmla="*/ 723960 h 1104960"/>
              <a:gd name="connsiteX70" fmla="*/ 612036 w 2559899"/>
              <a:gd name="connsiteY70" fmla="*/ 733485 h 1104960"/>
              <a:gd name="connsiteX71" fmla="*/ 626324 w 2559899"/>
              <a:gd name="connsiteY71" fmla="*/ 733485 h 1104960"/>
              <a:gd name="connsiteX72" fmla="*/ 626324 w 2559899"/>
              <a:gd name="connsiteY72" fmla="*/ 745391 h 1104960"/>
              <a:gd name="connsiteX73" fmla="*/ 647755 w 2559899"/>
              <a:gd name="connsiteY73" fmla="*/ 745391 h 1104960"/>
              <a:gd name="connsiteX74" fmla="*/ 647755 w 2559899"/>
              <a:gd name="connsiteY74" fmla="*/ 757297 h 1104960"/>
              <a:gd name="connsiteX75" fmla="*/ 666805 w 2559899"/>
              <a:gd name="connsiteY75" fmla="*/ 757297 h 1104960"/>
              <a:gd name="connsiteX76" fmla="*/ 666805 w 2559899"/>
              <a:gd name="connsiteY76" fmla="*/ 771585 h 1104960"/>
              <a:gd name="connsiteX77" fmla="*/ 671568 w 2559899"/>
              <a:gd name="connsiteY77" fmla="*/ 771585 h 1104960"/>
              <a:gd name="connsiteX78" fmla="*/ 671568 w 2559899"/>
              <a:gd name="connsiteY78" fmla="*/ 776347 h 1104960"/>
              <a:gd name="connsiteX79" fmla="*/ 783486 w 2559899"/>
              <a:gd name="connsiteY79" fmla="*/ 776347 h 1104960"/>
              <a:gd name="connsiteX80" fmla="*/ 783486 w 2559899"/>
              <a:gd name="connsiteY80" fmla="*/ 785872 h 1104960"/>
              <a:gd name="connsiteX81" fmla="*/ 831111 w 2559899"/>
              <a:gd name="connsiteY81" fmla="*/ 785872 h 1104960"/>
              <a:gd name="connsiteX82" fmla="*/ 831111 w 2559899"/>
              <a:gd name="connsiteY82" fmla="*/ 804922 h 1104960"/>
              <a:gd name="connsiteX83" fmla="*/ 881118 w 2559899"/>
              <a:gd name="connsiteY83" fmla="*/ 804922 h 1104960"/>
              <a:gd name="connsiteX84" fmla="*/ 881118 w 2559899"/>
              <a:gd name="connsiteY84" fmla="*/ 804922 h 1104960"/>
              <a:gd name="connsiteX85" fmla="*/ 895406 w 2559899"/>
              <a:gd name="connsiteY85" fmla="*/ 819210 h 1104960"/>
              <a:gd name="connsiteX86" fmla="*/ 902549 w 2559899"/>
              <a:gd name="connsiteY86" fmla="*/ 826353 h 1104960"/>
              <a:gd name="connsiteX87" fmla="*/ 945411 w 2559899"/>
              <a:gd name="connsiteY87" fmla="*/ 826353 h 1104960"/>
              <a:gd name="connsiteX88" fmla="*/ 945411 w 2559899"/>
              <a:gd name="connsiteY88" fmla="*/ 854928 h 1104960"/>
              <a:gd name="connsiteX89" fmla="*/ 1181155 w 2559899"/>
              <a:gd name="connsiteY89" fmla="*/ 854928 h 1104960"/>
              <a:gd name="connsiteX90" fmla="*/ 1181155 w 2559899"/>
              <a:gd name="connsiteY90" fmla="*/ 876360 h 1104960"/>
              <a:gd name="connsiteX91" fmla="*/ 1364511 w 2559899"/>
              <a:gd name="connsiteY91" fmla="*/ 876360 h 1104960"/>
              <a:gd name="connsiteX92" fmla="*/ 1364511 w 2559899"/>
              <a:gd name="connsiteY92" fmla="*/ 893028 h 1104960"/>
              <a:gd name="connsiteX93" fmla="*/ 1454999 w 2559899"/>
              <a:gd name="connsiteY93" fmla="*/ 893028 h 1104960"/>
              <a:gd name="connsiteX94" fmla="*/ 1454999 w 2559899"/>
              <a:gd name="connsiteY94" fmla="*/ 914460 h 1104960"/>
              <a:gd name="connsiteX95" fmla="*/ 1728843 w 2559899"/>
              <a:gd name="connsiteY95" fmla="*/ 914460 h 1104960"/>
              <a:gd name="connsiteX96" fmla="*/ 1728843 w 2559899"/>
              <a:gd name="connsiteY96" fmla="*/ 938272 h 1104960"/>
              <a:gd name="connsiteX97" fmla="*/ 1816949 w 2559899"/>
              <a:gd name="connsiteY97" fmla="*/ 938272 h 1104960"/>
              <a:gd name="connsiteX98" fmla="*/ 1816949 w 2559899"/>
              <a:gd name="connsiteY98" fmla="*/ 971610 h 1104960"/>
              <a:gd name="connsiteX99" fmla="*/ 2057455 w 2559899"/>
              <a:gd name="connsiteY99" fmla="*/ 971610 h 1104960"/>
              <a:gd name="connsiteX100" fmla="*/ 2057455 w 2559899"/>
              <a:gd name="connsiteY100" fmla="*/ 1007328 h 1104960"/>
              <a:gd name="connsiteX101" fmla="*/ 2102699 w 2559899"/>
              <a:gd name="connsiteY101" fmla="*/ 1007328 h 1104960"/>
              <a:gd name="connsiteX102" fmla="*/ 2102699 w 2559899"/>
              <a:gd name="connsiteY102" fmla="*/ 1038285 h 1104960"/>
              <a:gd name="connsiteX103" fmla="*/ 2288436 w 2559899"/>
              <a:gd name="connsiteY103" fmla="*/ 1038285 h 1104960"/>
              <a:gd name="connsiteX104" fmla="*/ 2288436 w 2559899"/>
              <a:gd name="connsiteY104" fmla="*/ 1104960 h 1104960"/>
              <a:gd name="connsiteX105" fmla="*/ 2559899 w 2559899"/>
              <a:gd name="connsiteY105" fmla="*/ 1104960 h 1104960"/>
              <a:gd name="connsiteX0" fmla="*/ 57 w 2559899"/>
              <a:gd name="connsiteY0" fmla="*/ 16728 h 1104960"/>
              <a:gd name="connsiteX1" fmla="*/ 26249 w 2559899"/>
              <a:gd name="connsiteY1" fmla="*/ 59 h 1104960"/>
              <a:gd name="connsiteX2" fmla="*/ 57206 w 2559899"/>
              <a:gd name="connsiteY2" fmla="*/ 23873 h 1104960"/>
              <a:gd name="connsiteX3" fmla="*/ 54824 w 2559899"/>
              <a:gd name="connsiteY3" fmla="*/ 61972 h 1104960"/>
              <a:gd name="connsiteX4" fmla="*/ 73874 w 2559899"/>
              <a:gd name="connsiteY4" fmla="*/ 61972 h 1104960"/>
              <a:gd name="connsiteX5" fmla="*/ 73874 w 2559899"/>
              <a:gd name="connsiteY5" fmla="*/ 69116 h 1104960"/>
              <a:gd name="connsiteX6" fmla="*/ 78636 w 2559899"/>
              <a:gd name="connsiteY6" fmla="*/ 69116 h 1104960"/>
              <a:gd name="connsiteX7" fmla="*/ 78636 w 2559899"/>
              <a:gd name="connsiteY7" fmla="*/ 83403 h 1104960"/>
              <a:gd name="connsiteX8" fmla="*/ 85780 w 2559899"/>
              <a:gd name="connsiteY8" fmla="*/ 83403 h 1104960"/>
              <a:gd name="connsiteX9" fmla="*/ 85780 w 2559899"/>
              <a:gd name="connsiteY9" fmla="*/ 97691 h 1104960"/>
              <a:gd name="connsiteX10" fmla="*/ 100068 w 2559899"/>
              <a:gd name="connsiteY10" fmla="*/ 97691 h 1104960"/>
              <a:gd name="connsiteX11" fmla="*/ 100068 w 2559899"/>
              <a:gd name="connsiteY11" fmla="*/ 109597 h 1104960"/>
              <a:gd name="connsiteX12" fmla="*/ 111974 w 2559899"/>
              <a:gd name="connsiteY12" fmla="*/ 109597 h 1104960"/>
              <a:gd name="connsiteX13" fmla="*/ 111974 w 2559899"/>
              <a:gd name="connsiteY13" fmla="*/ 126266 h 1104960"/>
              <a:gd name="connsiteX14" fmla="*/ 126261 w 2559899"/>
              <a:gd name="connsiteY14" fmla="*/ 126266 h 1104960"/>
              <a:gd name="connsiteX15" fmla="*/ 126261 w 2559899"/>
              <a:gd name="connsiteY15" fmla="*/ 135791 h 1104960"/>
              <a:gd name="connsiteX16" fmla="*/ 135786 w 2559899"/>
              <a:gd name="connsiteY16" fmla="*/ 135791 h 1104960"/>
              <a:gd name="connsiteX17" fmla="*/ 135786 w 2559899"/>
              <a:gd name="connsiteY17" fmla="*/ 159603 h 1104960"/>
              <a:gd name="connsiteX18" fmla="*/ 145311 w 2559899"/>
              <a:gd name="connsiteY18" fmla="*/ 159603 h 1104960"/>
              <a:gd name="connsiteX19" fmla="*/ 145311 w 2559899"/>
              <a:gd name="connsiteY19" fmla="*/ 195322 h 1104960"/>
              <a:gd name="connsiteX20" fmla="*/ 145311 w 2559899"/>
              <a:gd name="connsiteY20" fmla="*/ 238185 h 1104960"/>
              <a:gd name="connsiteX21" fmla="*/ 152455 w 2559899"/>
              <a:gd name="connsiteY21" fmla="*/ 238185 h 1104960"/>
              <a:gd name="connsiteX22" fmla="*/ 152455 w 2559899"/>
              <a:gd name="connsiteY22" fmla="*/ 285810 h 1104960"/>
              <a:gd name="connsiteX23" fmla="*/ 157218 w 2559899"/>
              <a:gd name="connsiteY23" fmla="*/ 285810 h 1104960"/>
              <a:gd name="connsiteX24" fmla="*/ 157218 w 2559899"/>
              <a:gd name="connsiteY24" fmla="*/ 304860 h 1104960"/>
              <a:gd name="connsiteX25" fmla="*/ 164361 w 2559899"/>
              <a:gd name="connsiteY25" fmla="*/ 304860 h 1104960"/>
              <a:gd name="connsiteX26" fmla="*/ 164361 w 2559899"/>
              <a:gd name="connsiteY26" fmla="*/ 331053 h 1104960"/>
              <a:gd name="connsiteX27" fmla="*/ 164361 w 2559899"/>
              <a:gd name="connsiteY27" fmla="*/ 333435 h 1104960"/>
              <a:gd name="connsiteX28" fmla="*/ 164361 w 2559899"/>
              <a:gd name="connsiteY28" fmla="*/ 371535 h 1104960"/>
              <a:gd name="connsiteX29" fmla="*/ 176268 w 2559899"/>
              <a:gd name="connsiteY29" fmla="*/ 371535 h 1104960"/>
              <a:gd name="connsiteX30" fmla="*/ 176268 w 2559899"/>
              <a:gd name="connsiteY30" fmla="*/ 388203 h 1104960"/>
              <a:gd name="connsiteX31" fmla="*/ 183411 w 2559899"/>
              <a:gd name="connsiteY31" fmla="*/ 388203 h 1104960"/>
              <a:gd name="connsiteX32" fmla="*/ 183411 w 2559899"/>
              <a:gd name="connsiteY32" fmla="*/ 397728 h 1104960"/>
              <a:gd name="connsiteX33" fmla="*/ 211986 w 2559899"/>
              <a:gd name="connsiteY33" fmla="*/ 397728 h 1104960"/>
              <a:gd name="connsiteX34" fmla="*/ 214368 w 2559899"/>
              <a:gd name="connsiteY34" fmla="*/ 400110 h 1104960"/>
              <a:gd name="connsiteX35" fmla="*/ 226274 w 2559899"/>
              <a:gd name="connsiteY35" fmla="*/ 400110 h 1104960"/>
              <a:gd name="connsiteX36" fmla="*/ 226274 w 2559899"/>
              <a:gd name="connsiteY36" fmla="*/ 438210 h 1104960"/>
              <a:gd name="connsiteX37" fmla="*/ 283424 w 2559899"/>
              <a:gd name="connsiteY37" fmla="*/ 438210 h 1104960"/>
              <a:gd name="connsiteX38" fmla="*/ 283424 w 2559899"/>
              <a:gd name="connsiteY38" fmla="*/ 462022 h 1104960"/>
              <a:gd name="connsiteX39" fmla="*/ 290568 w 2559899"/>
              <a:gd name="connsiteY39" fmla="*/ 462022 h 1104960"/>
              <a:gd name="connsiteX40" fmla="*/ 290568 w 2559899"/>
              <a:gd name="connsiteY40" fmla="*/ 476310 h 1104960"/>
              <a:gd name="connsiteX41" fmla="*/ 304855 w 2559899"/>
              <a:gd name="connsiteY41" fmla="*/ 476310 h 1104960"/>
              <a:gd name="connsiteX42" fmla="*/ 304855 w 2559899"/>
              <a:gd name="connsiteY42" fmla="*/ 485835 h 1104960"/>
              <a:gd name="connsiteX43" fmla="*/ 331049 w 2559899"/>
              <a:gd name="connsiteY43" fmla="*/ 485835 h 1104960"/>
              <a:gd name="connsiteX44" fmla="*/ 335811 w 2559899"/>
              <a:gd name="connsiteY44" fmla="*/ 490597 h 1104960"/>
              <a:gd name="connsiteX45" fmla="*/ 369149 w 2559899"/>
              <a:gd name="connsiteY45" fmla="*/ 490597 h 1104960"/>
              <a:gd name="connsiteX46" fmla="*/ 369149 w 2559899"/>
              <a:gd name="connsiteY46" fmla="*/ 502503 h 1104960"/>
              <a:gd name="connsiteX47" fmla="*/ 383436 w 2559899"/>
              <a:gd name="connsiteY47" fmla="*/ 502503 h 1104960"/>
              <a:gd name="connsiteX48" fmla="*/ 383436 w 2559899"/>
              <a:gd name="connsiteY48" fmla="*/ 569178 h 1104960"/>
              <a:gd name="connsiteX49" fmla="*/ 392961 w 2559899"/>
              <a:gd name="connsiteY49" fmla="*/ 569178 h 1104960"/>
              <a:gd name="connsiteX50" fmla="*/ 392961 w 2559899"/>
              <a:gd name="connsiteY50" fmla="*/ 583466 h 1104960"/>
              <a:gd name="connsiteX51" fmla="*/ 402486 w 2559899"/>
              <a:gd name="connsiteY51" fmla="*/ 583466 h 1104960"/>
              <a:gd name="connsiteX52" fmla="*/ 402486 w 2559899"/>
              <a:gd name="connsiteY52" fmla="*/ 631091 h 1104960"/>
              <a:gd name="connsiteX53" fmla="*/ 402486 w 2559899"/>
              <a:gd name="connsiteY53" fmla="*/ 631091 h 1104960"/>
              <a:gd name="connsiteX54" fmla="*/ 414392 w 2559899"/>
              <a:gd name="connsiteY54" fmla="*/ 642997 h 1104960"/>
              <a:gd name="connsiteX55" fmla="*/ 426299 w 2559899"/>
              <a:gd name="connsiteY55" fmla="*/ 642997 h 1104960"/>
              <a:gd name="connsiteX56" fmla="*/ 426299 w 2559899"/>
              <a:gd name="connsiteY56" fmla="*/ 664428 h 1104960"/>
              <a:gd name="connsiteX57" fmla="*/ 440586 w 2559899"/>
              <a:gd name="connsiteY57" fmla="*/ 664428 h 1104960"/>
              <a:gd name="connsiteX58" fmla="*/ 440586 w 2559899"/>
              <a:gd name="connsiteY58" fmla="*/ 676335 h 1104960"/>
              <a:gd name="connsiteX59" fmla="*/ 454874 w 2559899"/>
              <a:gd name="connsiteY59" fmla="*/ 676335 h 1104960"/>
              <a:gd name="connsiteX60" fmla="*/ 454874 w 2559899"/>
              <a:gd name="connsiteY60" fmla="*/ 683478 h 1104960"/>
              <a:gd name="connsiteX61" fmla="*/ 509643 w 2559899"/>
              <a:gd name="connsiteY61" fmla="*/ 683478 h 1104960"/>
              <a:gd name="connsiteX62" fmla="*/ 516786 w 2559899"/>
              <a:gd name="connsiteY62" fmla="*/ 690621 h 1104960"/>
              <a:gd name="connsiteX63" fmla="*/ 545361 w 2559899"/>
              <a:gd name="connsiteY63" fmla="*/ 690621 h 1104960"/>
              <a:gd name="connsiteX64" fmla="*/ 545361 w 2559899"/>
              <a:gd name="connsiteY64" fmla="*/ 704910 h 1104960"/>
              <a:gd name="connsiteX65" fmla="*/ 562030 w 2559899"/>
              <a:gd name="connsiteY65" fmla="*/ 704910 h 1104960"/>
              <a:gd name="connsiteX66" fmla="*/ 562030 w 2559899"/>
              <a:gd name="connsiteY66" fmla="*/ 719197 h 1104960"/>
              <a:gd name="connsiteX67" fmla="*/ 585843 w 2559899"/>
              <a:gd name="connsiteY67" fmla="*/ 719197 h 1104960"/>
              <a:gd name="connsiteX68" fmla="*/ 585843 w 2559899"/>
              <a:gd name="connsiteY68" fmla="*/ 723960 h 1104960"/>
              <a:gd name="connsiteX69" fmla="*/ 612036 w 2559899"/>
              <a:gd name="connsiteY69" fmla="*/ 723960 h 1104960"/>
              <a:gd name="connsiteX70" fmla="*/ 612036 w 2559899"/>
              <a:gd name="connsiteY70" fmla="*/ 733485 h 1104960"/>
              <a:gd name="connsiteX71" fmla="*/ 626324 w 2559899"/>
              <a:gd name="connsiteY71" fmla="*/ 733485 h 1104960"/>
              <a:gd name="connsiteX72" fmla="*/ 626324 w 2559899"/>
              <a:gd name="connsiteY72" fmla="*/ 745391 h 1104960"/>
              <a:gd name="connsiteX73" fmla="*/ 647755 w 2559899"/>
              <a:gd name="connsiteY73" fmla="*/ 745391 h 1104960"/>
              <a:gd name="connsiteX74" fmla="*/ 647755 w 2559899"/>
              <a:gd name="connsiteY74" fmla="*/ 757297 h 1104960"/>
              <a:gd name="connsiteX75" fmla="*/ 666805 w 2559899"/>
              <a:gd name="connsiteY75" fmla="*/ 757297 h 1104960"/>
              <a:gd name="connsiteX76" fmla="*/ 666805 w 2559899"/>
              <a:gd name="connsiteY76" fmla="*/ 771585 h 1104960"/>
              <a:gd name="connsiteX77" fmla="*/ 671568 w 2559899"/>
              <a:gd name="connsiteY77" fmla="*/ 771585 h 1104960"/>
              <a:gd name="connsiteX78" fmla="*/ 671568 w 2559899"/>
              <a:gd name="connsiteY78" fmla="*/ 776347 h 1104960"/>
              <a:gd name="connsiteX79" fmla="*/ 783486 w 2559899"/>
              <a:gd name="connsiteY79" fmla="*/ 776347 h 1104960"/>
              <a:gd name="connsiteX80" fmla="*/ 783486 w 2559899"/>
              <a:gd name="connsiteY80" fmla="*/ 785872 h 1104960"/>
              <a:gd name="connsiteX81" fmla="*/ 831111 w 2559899"/>
              <a:gd name="connsiteY81" fmla="*/ 785872 h 1104960"/>
              <a:gd name="connsiteX82" fmla="*/ 831111 w 2559899"/>
              <a:gd name="connsiteY82" fmla="*/ 804922 h 1104960"/>
              <a:gd name="connsiteX83" fmla="*/ 881118 w 2559899"/>
              <a:gd name="connsiteY83" fmla="*/ 804922 h 1104960"/>
              <a:gd name="connsiteX84" fmla="*/ 881118 w 2559899"/>
              <a:gd name="connsiteY84" fmla="*/ 804922 h 1104960"/>
              <a:gd name="connsiteX85" fmla="*/ 895406 w 2559899"/>
              <a:gd name="connsiteY85" fmla="*/ 819210 h 1104960"/>
              <a:gd name="connsiteX86" fmla="*/ 902549 w 2559899"/>
              <a:gd name="connsiteY86" fmla="*/ 826353 h 1104960"/>
              <a:gd name="connsiteX87" fmla="*/ 945411 w 2559899"/>
              <a:gd name="connsiteY87" fmla="*/ 826353 h 1104960"/>
              <a:gd name="connsiteX88" fmla="*/ 945411 w 2559899"/>
              <a:gd name="connsiteY88" fmla="*/ 854928 h 1104960"/>
              <a:gd name="connsiteX89" fmla="*/ 1181155 w 2559899"/>
              <a:gd name="connsiteY89" fmla="*/ 854928 h 1104960"/>
              <a:gd name="connsiteX90" fmla="*/ 1181155 w 2559899"/>
              <a:gd name="connsiteY90" fmla="*/ 876360 h 1104960"/>
              <a:gd name="connsiteX91" fmla="*/ 1364511 w 2559899"/>
              <a:gd name="connsiteY91" fmla="*/ 876360 h 1104960"/>
              <a:gd name="connsiteX92" fmla="*/ 1364511 w 2559899"/>
              <a:gd name="connsiteY92" fmla="*/ 893028 h 1104960"/>
              <a:gd name="connsiteX93" fmla="*/ 1454999 w 2559899"/>
              <a:gd name="connsiteY93" fmla="*/ 893028 h 1104960"/>
              <a:gd name="connsiteX94" fmla="*/ 1454999 w 2559899"/>
              <a:gd name="connsiteY94" fmla="*/ 914460 h 1104960"/>
              <a:gd name="connsiteX95" fmla="*/ 1728843 w 2559899"/>
              <a:gd name="connsiteY95" fmla="*/ 914460 h 1104960"/>
              <a:gd name="connsiteX96" fmla="*/ 1728843 w 2559899"/>
              <a:gd name="connsiteY96" fmla="*/ 938272 h 1104960"/>
              <a:gd name="connsiteX97" fmla="*/ 1816949 w 2559899"/>
              <a:gd name="connsiteY97" fmla="*/ 938272 h 1104960"/>
              <a:gd name="connsiteX98" fmla="*/ 1816949 w 2559899"/>
              <a:gd name="connsiteY98" fmla="*/ 971610 h 1104960"/>
              <a:gd name="connsiteX99" fmla="*/ 2057455 w 2559899"/>
              <a:gd name="connsiteY99" fmla="*/ 971610 h 1104960"/>
              <a:gd name="connsiteX100" fmla="*/ 2057455 w 2559899"/>
              <a:gd name="connsiteY100" fmla="*/ 1007328 h 1104960"/>
              <a:gd name="connsiteX101" fmla="*/ 2102699 w 2559899"/>
              <a:gd name="connsiteY101" fmla="*/ 1007328 h 1104960"/>
              <a:gd name="connsiteX102" fmla="*/ 2102699 w 2559899"/>
              <a:gd name="connsiteY102" fmla="*/ 1038285 h 1104960"/>
              <a:gd name="connsiteX103" fmla="*/ 2288436 w 2559899"/>
              <a:gd name="connsiteY103" fmla="*/ 1038285 h 1104960"/>
              <a:gd name="connsiteX104" fmla="*/ 2288436 w 2559899"/>
              <a:gd name="connsiteY104" fmla="*/ 1104960 h 1104960"/>
              <a:gd name="connsiteX105" fmla="*/ 2559899 w 2559899"/>
              <a:gd name="connsiteY105" fmla="*/ 1104960 h 1104960"/>
              <a:gd name="connsiteX0" fmla="*/ 0 w 2559842"/>
              <a:gd name="connsiteY0" fmla="*/ 0 h 1088232"/>
              <a:gd name="connsiteX1" fmla="*/ 57149 w 2559842"/>
              <a:gd name="connsiteY1" fmla="*/ 7145 h 1088232"/>
              <a:gd name="connsiteX2" fmla="*/ 54767 w 2559842"/>
              <a:gd name="connsiteY2" fmla="*/ 45244 h 1088232"/>
              <a:gd name="connsiteX3" fmla="*/ 73817 w 2559842"/>
              <a:gd name="connsiteY3" fmla="*/ 45244 h 1088232"/>
              <a:gd name="connsiteX4" fmla="*/ 73817 w 2559842"/>
              <a:gd name="connsiteY4" fmla="*/ 52388 h 1088232"/>
              <a:gd name="connsiteX5" fmla="*/ 78579 w 2559842"/>
              <a:gd name="connsiteY5" fmla="*/ 52388 h 1088232"/>
              <a:gd name="connsiteX6" fmla="*/ 78579 w 2559842"/>
              <a:gd name="connsiteY6" fmla="*/ 66675 h 1088232"/>
              <a:gd name="connsiteX7" fmla="*/ 85723 w 2559842"/>
              <a:gd name="connsiteY7" fmla="*/ 66675 h 1088232"/>
              <a:gd name="connsiteX8" fmla="*/ 85723 w 2559842"/>
              <a:gd name="connsiteY8" fmla="*/ 80963 h 1088232"/>
              <a:gd name="connsiteX9" fmla="*/ 100011 w 2559842"/>
              <a:gd name="connsiteY9" fmla="*/ 80963 h 1088232"/>
              <a:gd name="connsiteX10" fmla="*/ 100011 w 2559842"/>
              <a:gd name="connsiteY10" fmla="*/ 92869 h 1088232"/>
              <a:gd name="connsiteX11" fmla="*/ 111917 w 2559842"/>
              <a:gd name="connsiteY11" fmla="*/ 92869 h 1088232"/>
              <a:gd name="connsiteX12" fmla="*/ 111917 w 2559842"/>
              <a:gd name="connsiteY12" fmla="*/ 109538 h 1088232"/>
              <a:gd name="connsiteX13" fmla="*/ 126204 w 2559842"/>
              <a:gd name="connsiteY13" fmla="*/ 109538 h 1088232"/>
              <a:gd name="connsiteX14" fmla="*/ 126204 w 2559842"/>
              <a:gd name="connsiteY14" fmla="*/ 119063 h 1088232"/>
              <a:gd name="connsiteX15" fmla="*/ 135729 w 2559842"/>
              <a:gd name="connsiteY15" fmla="*/ 119063 h 1088232"/>
              <a:gd name="connsiteX16" fmla="*/ 135729 w 2559842"/>
              <a:gd name="connsiteY16" fmla="*/ 142875 h 1088232"/>
              <a:gd name="connsiteX17" fmla="*/ 145254 w 2559842"/>
              <a:gd name="connsiteY17" fmla="*/ 142875 h 1088232"/>
              <a:gd name="connsiteX18" fmla="*/ 145254 w 2559842"/>
              <a:gd name="connsiteY18" fmla="*/ 178594 h 1088232"/>
              <a:gd name="connsiteX19" fmla="*/ 145254 w 2559842"/>
              <a:gd name="connsiteY19" fmla="*/ 221457 h 1088232"/>
              <a:gd name="connsiteX20" fmla="*/ 152398 w 2559842"/>
              <a:gd name="connsiteY20" fmla="*/ 221457 h 1088232"/>
              <a:gd name="connsiteX21" fmla="*/ 152398 w 2559842"/>
              <a:gd name="connsiteY21" fmla="*/ 269082 h 1088232"/>
              <a:gd name="connsiteX22" fmla="*/ 157161 w 2559842"/>
              <a:gd name="connsiteY22" fmla="*/ 269082 h 1088232"/>
              <a:gd name="connsiteX23" fmla="*/ 157161 w 2559842"/>
              <a:gd name="connsiteY23" fmla="*/ 288132 h 1088232"/>
              <a:gd name="connsiteX24" fmla="*/ 164304 w 2559842"/>
              <a:gd name="connsiteY24" fmla="*/ 288132 h 1088232"/>
              <a:gd name="connsiteX25" fmla="*/ 164304 w 2559842"/>
              <a:gd name="connsiteY25" fmla="*/ 314325 h 1088232"/>
              <a:gd name="connsiteX26" fmla="*/ 164304 w 2559842"/>
              <a:gd name="connsiteY26" fmla="*/ 316707 h 1088232"/>
              <a:gd name="connsiteX27" fmla="*/ 164304 w 2559842"/>
              <a:gd name="connsiteY27" fmla="*/ 354807 h 1088232"/>
              <a:gd name="connsiteX28" fmla="*/ 176211 w 2559842"/>
              <a:gd name="connsiteY28" fmla="*/ 354807 h 1088232"/>
              <a:gd name="connsiteX29" fmla="*/ 176211 w 2559842"/>
              <a:gd name="connsiteY29" fmla="*/ 371475 h 1088232"/>
              <a:gd name="connsiteX30" fmla="*/ 183354 w 2559842"/>
              <a:gd name="connsiteY30" fmla="*/ 371475 h 1088232"/>
              <a:gd name="connsiteX31" fmla="*/ 183354 w 2559842"/>
              <a:gd name="connsiteY31" fmla="*/ 381000 h 1088232"/>
              <a:gd name="connsiteX32" fmla="*/ 211929 w 2559842"/>
              <a:gd name="connsiteY32" fmla="*/ 381000 h 1088232"/>
              <a:gd name="connsiteX33" fmla="*/ 214311 w 2559842"/>
              <a:gd name="connsiteY33" fmla="*/ 383382 h 1088232"/>
              <a:gd name="connsiteX34" fmla="*/ 226217 w 2559842"/>
              <a:gd name="connsiteY34" fmla="*/ 383382 h 1088232"/>
              <a:gd name="connsiteX35" fmla="*/ 226217 w 2559842"/>
              <a:gd name="connsiteY35" fmla="*/ 421482 h 1088232"/>
              <a:gd name="connsiteX36" fmla="*/ 283367 w 2559842"/>
              <a:gd name="connsiteY36" fmla="*/ 421482 h 1088232"/>
              <a:gd name="connsiteX37" fmla="*/ 283367 w 2559842"/>
              <a:gd name="connsiteY37" fmla="*/ 445294 h 1088232"/>
              <a:gd name="connsiteX38" fmla="*/ 290511 w 2559842"/>
              <a:gd name="connsiteY38" fmla="*/ 445294 h 1088232"/>
              <a:gd name="connsiteX39" fmla="*/ 290511 w 2559842"/>
              <a:gd name="connsiteY39" fmla="*/ 459582 h 1088232"/>
              <a:gd name="connsiteX40" fmla="*/ 304798 w 2559842"/>
              <a:gd name="connsiteY40" fmla="*/ 459582 h 1088232"/>
              <a:gd name="connsiteX41" fmla="*/ 304798 w 2559842"/>
              <a:gd name="connsiteY41" fmla="*/ 469107 h 1088232"/>
              <a:gd name="connsiteX42" fmla="*/ 330992 w 2559842"/>
              <a:gd name="connsiteY42" fmla="*/ 469107 h 1088232"/>
              <a:gd name="connsiteX43" fmla="*/ 335754 w 2559842"/>
              <a:gd name="connsiteY43" fmla="*/ 473869 h 1088232"/>
              <a:gd name="connsiteX44" fmla="*/ 369092 w 2559842"/>
              <a:gd name="connsiteY44" fmla="*/ 473869 h 1088232"/>
              <a:gd name="connsiteX45" fmla="*/ 369092 w 2559842"/>
              <a:gd name="connsiteY45" fmla="*/ 485775 h 1088232"/>
              <a:gd name="connsiteX46" fmla="*/ 383379 w 2559842"/>
              <a:gd name="connsiteY46" fmla="*/ 485775 h 1088232"/>
              <a:gd name="connsiteX47" fmla="*/ 383379 w 2559842"/>
              <a:gd name="connsiteY47" fmla="*/ 552450 h 1088232"/>
              <a:gd name="connsiteX48" fmla="*/ 392904 w 2559842"/>
              <a:gd name="connsiteY48" fmla="*/ 552450 h 1088232"/>
              <a:gd name="connsiteX49" fmla="*/ 392904 w 2559842"/>
              <a:gd name="connsiteY49" fmla="*/ 566738 h 1088232"/>
              <a:gd name="connsiteX50" fmla="*/ 402429 w 2559842"/>
              <a:gd name="connsiteY50" fmla="*/ 566738 h 1088232"/>
              <a:gd name="connsiteX51" fmla="*/ 402429 w 2559842"/>
              <a:gd name="connsiteY51" fmla="*/ 614363 h 1088232"/>
              <a:gd name="connsiteX52" fmla="*/ 402429 w 2559842"/>
              <a:gd name="connsiteY52" fmla="*/ 614363 h 1088232"/>
              <a:gd name="connsiteX53" fmla="*/ 414335 w 2559842"/>
              <a:gd name="connsiteY53" fmla="*/ 626269 h 1088232"/>
              <a:gd name="connsiteX54" fmla="*/ 426242 w 2559842"/>
              <a:gd name="connsiteY54" fmla="*/ 626269 h 1088232"/>
              <a:gd name="connsiteX55" fmla="*/ 426242 w 2559842"/>
              <a:gd name="connsiteY55" fmla="*/ 647700 h 1088232"/>
              <a:gd name="connsiteX56" fmla="*/ 440529 w 2559842"/>
              <a:gd name="connsiteY56" fmla="*/ 647700 h 1088232"/>
              <a:gd name="connsiteX57" fmla="*/ 440529 w 2559842"/>
              <a:gd name="connsiteY57" fmla="*/ 659607 h 1088232"/>
              <a:gd name="connsiteX58" fmla="*/ 454817 w 2559842"/>
              <a:gd name="connsiteY58" fmla="*/ 659607 h 1088232"/>
              <a:gd name="connsiteX59" fmla="*/ 454817 w 2559842"/>
              <a:gd name="connsiteY59" fmla="*/ 666750 h 1088232"/>
              <a:gd name="connsiteX60" fmla="*/ 509586 w 2559842"/>
              <a:gd name="connsiteY60" fmla="*/ 666750 h 1088232"/>
              <a:gd name="connsiteX61" fmla="*/ 516729 w 2559842"/>
              <a:gd name="connsiteY61" fmla="*/ 673893 h 1088232"/>
              <a:gd name="connsiteX62" fmla="*/ 545304 w 2559842"/>
              <a:gd name="connsiteY62" fmla="*/ 673893 h 1088232"/>
              <a:gd name="connsiteX63" fmla="*/ 545304 w 2559842"/>
              <a:gd name="connsiteY63" fmla="*/ 688182 h 1088232"/>
              <a:gd name="connsiteX64" fmla="*/ 561973 w 2559842"/>
              <a:gd name="connsiteY64" fmla="*/ 688182 h 1088232"/>
              <a:gd name="connsiteX65" fmla="*/ 561973 w 2559842"/>
              <a:gd name="connsiteY65" fmla="*/ 702469 h 1088232"/>
              <a:gd name="connsiteX66" fmla="*/ 585786 w 2559842"/>
              <a:gd name="connsiteY66" fmla="*/ 702469 h 1088232"/>
              <a:gd name="connsiteX67" fmla="*/ 585786 w 2559842"/>
              <a:gd name="connsiteY67" fmla="*/ 707232 h 1088232"/>
              <a:gd name="connsiteX68" fmla="*/ 611979 w 2559842"/>
              <a:gd name="connsiteY68" fmla="*/ 707232 h 1088232"/>
              <a:gd name="connsiteX69" fmla="*/ 611979 w 2559842"/>
              <a:gd name="connsiteY69" fmla="*/ 716757 h 1088232"/>
              <a:gd name="connsiteX70" fmla="*/ 626267 w 2559842"/>
              <a:gd name="connsiteY70" fmla="*/ 716757 h 1088232"/>
              <a:gd name="connsiteX71" fmla="*/ 626267 w 2559842"/>
              <a:gd name="connsiteY71" fmla="*/ 728663 h 1088232"/>
              <a:gd name="connsiteX72" fmla="*/ 647698 w 2559842"/>
              <a:gd name="connsiteY72" fmla="*/ 728663 h 1088232"/>
              <a:gd name="connsiteX73" fmla="*/ 647698 w 2559842"/>
              <a:gd name="connsiteY73" fmla="*/ 740569 h 1088232"/>
              <a:gd name="connsiteX74" fmla="*/ 666748 w 2559842"/>
              <a:gd name="connsiteY74" fmla="*/ 740569 h 1088232"/>
              <a:gd name="connsiteX75" fmla="*/ 666748 w 2559842"/>
              <a:gd name="connsiteY75" fmla="*/ 754857 h 1088232"/>
              <a:gd name="connsiteX76" fmla="*/ 671511 w 2559842"/>
              <a:gd name="connsiteY76" fmla="*/ 754857 h 1088232"/>
              <a:gd name="connsiteX77" fmla="*/ 671511 w 2559842"/>
              <a:gd name="connsiteY77" fmla="*/ 759619 h 1088232"/>
              <a:gd name="connsiteX78" fmla="*/ 783429 w 2559842"/>
              <a:gd name="connsiteY78" fmla="*/ 759619 h 1088232"/>
              <a:gd name="connsiteX79" fmla="*/ 783429 w 2559842"/>
              <a:gd name="connsiteY79" fmla="*/ 769144 h 1088232"/>
              <a:gd name="connsiteX80" fmla="*/ 831054 w 2559842"/>
              <a:gd name="connsiteY80" fmla="*/ 769144 h 1088232"/>
              <a:gd name="connsiteX81" fmla="*/ 831054 w 2559842"/>
              <a:gd name="connsiteY81" fmla="*/ 788194 h 1088232"/>
              <a:gd name="connsiteX82" fmla="*/ 881061 w 2559842"/>
              <a:gd name="connsiteY82" fmla="*/ 788194 h 1088232"/>
              <a:gd name="connsiteX83" fmla="*/ 881061 w 2559842"/>
              <a:gd name="connsiteY83" fmla="*/ 788194 h 1088232"/>
              <a:gd name="connsiteX84" fmla="*/ 895349 w 2559842"/>
              <a:gd name="connsiteY84" fmla="*/ 802482 h 1088232"/>
              <a:gd name="connsiteX85" fmla="*/ 902492 w 2559842"/>
              <a:gd name="connsiteY85" fmla="*/ 809625 h 1088232"/>
              <a:gd name="connsiteX86" fmla="*/ 945354 w 2559842"/>
              <a:gd name="connsiteY86" fmla="*/ 809625 h 1088232"/>
              <a:gd name="connsiteX87" fmla="*/ 945354 w 2559842"/>
              <a:gd name="connsiteY87" fmla="*/ 838200 h 1088232"/>
              <a:gd name="connsiteX88" fmla="*/ 1181098 w 2559842"/>
              <a:gd name="connsiteY88" fmla="*/ 838200 h 1088232"/>
              <a:gd name="connsiteX89" fmla="*/ 1181098 w 2559842"/>
              <a:gd name="connsiteY89" fmla="*/ 859632 h 1088232"/>
              <a:gd name="connsiteX90" fmla="*/ 1364454 w 2559842"/>
              <a:gd name="connsiteY90" fmla="*/ 859632 h 1088232"/>
              <a:gd name="connsiteX91" fmla="*/ 1364454 w 2559842"/>
              <a:gd name="connsiteY91" fmla="*/ 876300 h 1088232"/>
              <a:gd name="connsiteX92" fmla="*/ 1454942 w 2559842"/>
              <a:gd name="connsiteY92" fmla="*/ 876300 h 1088232"/>
              <a:gd name="connsiteX93" fmla="*/ 1454942 w 2559842"/>
              <a:gd name="connsiteY93" fmla="*/ 897732 h 1088232"/>
              <a:gd name="connsiteX94" fmla="*/ 1728786 w 2559842"/>
              <a:gd name="connsiteY94" fmla="*/ 897732 h 1088232"/>
              <a:gd name="connsiteX95" fmla="*/ 1728786 w 2559842"/>
              <a:gd name="connsiteY95" fmla="*/ 921544 h 1088232"/>
              <a:gd name="connsiteX96" fmla="*/ 1816892 w 2559842"/>
              <a:gd name="connsiteY96" fmla="*/ 921544 h 1088232"/>
              <a:gd name="connsiteX97" fmla="*/ 1816892 w 2559842"/>
              <a:gd name="connsiteY97" fmla="*/ 954882 h 1088232"/>
              <a:gd name="connsiteX98" fmla="*/ 2057398 w 2559842"/>
              <a:gd name="connsiteY98" fmla="*/ 954882 h 1088232"/>
              <a:gd name="connsiteX99" fmla="*/ 2057398 w 2559842"/>
              <a:gd name="connsiteY99" fmla="*/ 990600 h 1088232"/>
              <a:gd name="connsiteX100" fmla="*/ 2102642 w 2559842"/>
              <a:gd name="connsiteY100" fmla="*/ 990600 h 1088232"/>
              <a:gd name="connsiteX101" fmla="*/ 2102642 w 2559842"/>
              <a:gd name="connsiteY101" fmla="*/ 1021557 h 1088232"/>
              <a:gd name="connsiteX102" fmla="*/ 2288379 w 2559842"/>
              <a:gd name="connsiteY102" fmla="*/ 1021557 h 1088232"/>
              <a:gd name="connsiteX103" fmla="*/ 2288379 w 2559842"/>
              <a:gd name="connsiteY103" fmla="*/ 1088232 h 1088232"/>
              <a:gd name="connsiteX104" fmla="*/ 2559842 w 2559842"/>
              <a:gd name="connsiteY104" fmla="*/ 1088232 h 1088232"/>
              <a:gd name="connsiteX0" fmla="*/ 0 w 2559842"/>
              <a:gd name="connsiteY0" fmla="*/ 0 h 1088232"/>
              <a:gd name="connsiteX1" fmla="*/ 57149 w 2559842"/>
              <a:gd name="connsiteY1" fmla="*/ 7145 h 1088232"/>
              <a:gd name="connsiteX2" fmla="*/ 54767 w 2559842"/>
              <a:gd name="connsiteY2" fmla="*/ 45244 h 1088232"/>
              <a:gd name="connsiteX3" fmla="*/ 73817 w 2559842"/>
              <a:gd name="connsiteY3" fmla="*/ 45244 h 1088232"/>
              <a:gd name="connsiteX4" fmla="*/ 73817 w 2559842"/>
              <a:gd name="connsiteY4" fmla="*/ 52388 h 1088232"/>
              <a:gd name="connsiteX5" fmla="*/ 78579 w 2559842"/>
              <a:gd name="connsiteY5" fmla="*/ 52388 h 1088232"/>
              <a:gd name="connsiteX6" fmla="*/ 78579 w 2559842"/>
              <a:gd name="connsiteY6" fmla="*/ 66675 h 1088232"/>
              <a:gd name="connsiteX7" fmla="*/ 85723 w 2559842"/>
              <a:gd name="connsiteY7" fmla="*/ 66675 h 1088232"/>
              <a:gd name="connsiteX8" fmla="*/ 85723 w 2559842"/>
              <a:gd name="connsiteY8" fmla="*/ 80963 h 1088232"/>
              <a:gd name="connsiteX9" fmla="*/ 100011 w 2559842"/>
              <a:gd name="connsiteY9" fmla="*/ 80963 h 1088232"/>
              <a:gd name="connsiteX10" fmla="*/ 100011 w 2559842"/>
              <a:gd name="connsiteY10" fmla="*/ 92869 h 1088232"/>
              <a:gd name="connsiteX11" fmla="*/ 111917 w 2559842"/>
              <a:gd name="connsiteY11" fmla="*/ 92869 h 1088232"/>
              <a:gd name="connsiteX12" fmla="*/ 111917 w 2559842"/>
              <a:gd name="connsiteY12" fmla="*/ 109538 h 1088232"/>
              <a:gd name="connsiteX13" fmla="*/ 126204 w 2559842"/>
              <a:gd name="connsiteY13" fmla="*/ 109538 h 1088232"/>
              <a:gd name="connsiteX14" fmla="*/ 126204 w 2559842"/>
              <a:gd name="connsiteY14" fmla="*/ 119063 h 1088232"/>
              <a:gd name="connsiteX15" fmla="*/ 135729 w 2559842"/>
              <a:gd name="connsiteY15" fmla="*/ 119063 h 1088232"/>
              <a:gd name="connsiteX16" fmla="*/ 135729 w 2559842"/>
              <a:gd name="connsiteY16" fmla="*/ 142875 h 1088232"/>
              <a:gd name="connsiteX17" fmla="*/ 145254 w 2559842"/>
              <a:gd name="connsiteY17" fmla="*/ 142875 h 1088232"/>
              <a:gd name="connsiteX18" fmla="*/ 145254 w 2559842"/>
              <a:gd name="connsiteY18" fmla="*/ 178594 h 1088232"/>
              <a:gd name="connsiteX19" fmla="*/ 145254 w 2559842"/>
              <a:gd name="connsiteY19" fmla="*/ 221457 h 1088232"/>
              <a:gd name="connsiteX20" fmla="*/ 152398 w 2559842"/>
              <a:gd name="connsiteY20" fmla="*/ 221457 h 1088232"/>
              <a:gd name="connsiteX21" fmla="*/ 152398 w 2559842"/>
              <a:gd name="connsiteY21" fmla="*/ 269082 h 1088232"/>
              <a:gd name="connsiteX22" fmla="*/ 157161 w 2559842"/>
              <a:gd name="connsiteY22" fmla="*/ 269082 h 1088232"/>
              <a:gd name="connsiteX23" fmla="*/ 157161 w 2559842"/>
              <a:gd name="connsiteY23" fmla="*/ 288132 h 1088232"/>
              <a:gd name="connsiteX24" fmla="*/ 164304 w 2559842"/>
              <a:gd name="connsiteY24" fmla="*/ 288132 h 1088232"/>
              <a:gd name="connsiteX25" fmla="*/ 164304 w 2559842"/>
              <a:gd name="connsiteY25" fmla="*/ 314325 h 1088232"/>
              <a:gd name="connsiteX26" fmla="*/ 164304 w 2559842"/>
              <a:gd name="connsiteY26" fmla="*/ 316707 h 1088232"/>
              <a:gd name="connsiteX27" fmla="*/ 164304 w 2559842"/>
              <a:gd name="connsiteY27" fmla="*/ 354807 h 1088232"/>
              <a:gd name="connsiteX28" fmla="*/ 176211 w 2559842"/>
              <a:gd name="connsiteY28" fmla="*/ 354807 h 1088232"/>
              <a:gd name="connsiteX29" fmla="*/ 176211 w 2559842"/>
              <a:gd name="connsiteY29" fmla="*/ 371475 h 1088232"/>
              <a:gd name="connsiteX30" fmla="*/ 183354 w 2559842"/>
              <a:gd name="connsiteY30" fmla="*/ 371475 h 1088232"/>
              <a:gd name="connsiteX31" fmla="*/ 183354 w 2559842"/>
              <a:gd name="connsiteY31" fmla="*/ 381000 h 1088232"/>
              <a:gd name="connsiteX32" fmla="*/ 211929 w 2559842"/>
              <a:gd name="connsiteY32" fmla="*/ 381000 h 1088232"/>
              <a:gd name="connsiteX33" fmla="*/ 214311 w 2559842"/>
              <a:gd name="connsiteY33" fmla="*/ 383382 h 1088232"/>
              <a:gd name="connsiteX34" fmla="*/ 226217 w 2559842"/>
              <a:gd name="connsiteY34" fmla="*/ 383382 h 1088232"/>
              <a:gd name="connsiteX35" fmla="*/ 226217 w 2559842"/>
              <a:gd name="connsiteY35" fmla="*/ 421482 h 1088232"/>
              <a:gd name="connsiteX36" fmla="*/ 283367 w 2559842"/>
              <a:gd name="connsiteY36" fmla="*/ 421482 h 1088232"/>
              <a:gd name="connsiteX37" fmla="*/ 283367 w 2559842"/>
              <a:gd name="connsiteY37" fmla="*/ 445294 h 1088232"/>
              <a:gd name="connsiteX38" fmla="*/ 290511 w 2559842"/>
              <a:gd name="connsiteY38" fmla="*/ 445294 h 1088232"/>
              <a:gd name="connsiteX39" fmla="*/ 290511 w 2559842"/>
              <a:gd name="connsiteY39" fmla="*/ 459582 h 1088232"/>
              <a:gd name="connsiteX40" fmla="*/ 304798 w 2559842"/>
              <a:gd name="connsiteY40" fmla="*/ 459582 h 1088232"/>
              <a:gd name="connsiteX41" fmla="*/ 304798 w 2559842"/>
              <a:gd name="connsiteY41" fmla="*/ 469107 h 1088232"/>
              <a:gd name="connsiteX42" fmla="*/ 330992 w 2559842"/>
              <a:gd name="connsiteY42" fmla="*/ 469107 h 1088232"/>
              <a:gd name="connsiteX43" fmla="*/ 335754 w 2559842"/>
              <a:gd name="connsiteY43" fmla="*/ 473869 h 1088232"/>
              <a:gd name="connsiteX44" fmla="*/ 369092 w 2559842"/>
              <a:gd name="connsiteY44" fmla="*/ 473869 h 1088232"/>
              <a:gd name="connsiteX45" fmla="*/ 369092 w 2559842"/>
              <a:gd name="connsiteY45" fmla="*/ 485775 h 1088232"/>
              <a:gd name="connsiteX46" fmla="*/ 383379 w 2559842"/>
              <a:gd name="connsiteY46" fmla="*/ 485775 h 1088232"/>
              <a:gd name="connsiteX47" fmla="*/ 383379 w 2559842"/>
              <a:gd name="connsiteY47" fmla="*/ 552450 h 1088232"/>
              <a:gd name="connsiteX48" fmla="*/ 392904 w 2559842"/>
              <a:gd name="connsiteY48" fmla="*/ 552450 h 1088232"/>
              <a:gd name="connsiteX49" fmla="*/ 392904 w 2559842"/>
              <a:gd name="connsiteY49" fmla="*/ 566738 h 1088232"/>
              <a:gd name="connsiteX50" fmla="*/ 402429 w 2559842"/>
              <a:gd name="connsiteY50" fmla="*/ 566738 h 1088232"/>
              <a:gd name="connsiteX51" fmla="*/ 402429 w 2559842"/>
              <a:gd name="connsiteY51" fmla="*/ 614363 h 1088232"/>
              <a:gd name="connsiteX52" fmla="*/ 402429 w 2559842"/>
              <a:gd name="connsiteY52" fmla="*/ 614363 h 1088232"/>
              <a:gd name="connsiteX53" fmla="*/ 414335 w 2559842"/>
              <a:gd name="connsiteY53" fmla="*/ 626269 h 1088232"/>
              <a:gd name="connsiteX54" fmla="*/ 426242 w 2559842"/>
              <a:gd name="connsiteY54" fmla="*/ 626269 h 1088232"/>
              <a:gd name="connsiteX55" fmla="*/ 426242 w 2559842"/>
              <a:gd name="connsiteY55" fmla="*/ 647700 h 1088232"/>
              <a:gd name="connsiteX56" fmla="*/ 440529 w 2559842"/>
              <a:gd name="connsiteY56" fmla="*/ 647700 h 1088232"/>
              <a:gd name="connsiteX57" fmla="*/ 440529 w 2559842"/>
              <a:gd name="connsiteY57" fmla="*/ 659607 h 1088232"/>
              <a:gd name="connsiteX58" fmla="*/ 454817 w 2559842"/>
              <a:gd name="connsiteY58" fmla="*/ 659607 h 1088232"/>
              <a:gd name="connsiteX59" fmla="*/ 454817 w 2559842"/>
              <a:gd name="connsiteY59" fmla="*/ 666750 h 1088232"/>
              <a:gd name="connsiteX60" fmla="*/ 509586 w 2559842"/>
              <a:gd name="connsiteY60" fmla="*/ 666750 h 1088232"/>
              <a:gd name="connsiteX61" fmla="*/ 516729 w 2559842"/>
              <a:gd name="connsiteY61" fmla="*/ 673893 h 1088232"/>
              <a:gd name="connsiteX62" fmla="*/ 545304 w 2559842"/>
              <a:gd name="connsiteY62" fmla="*/ 673893 h 1088232"/>
              <a:gd name="connsiteX63" fmla="*/ 545304 w 2559842"/>
              <a:gd name="connsiteY63" fmla="*/ 688182 h 1088232"/>
              <a:gd name="connsiteX64" fmla="*/ 561973 w 2559842"/>
              <a:gd name="connsiteY64" fmla="*/ 688182 h 1088232"/>
              <a:gd name="connsiteX65" fmla="*/ 561973 w 2559842"/>
              <a:gd name="connsiteY65" fmla="*/ 702469 h 1088232"/>
              <a:gd name="connsiteX66" fmla="*/ 585786 w 2559842"/>
              <a:gd name="connsiteY66" fmla="*/ 702469 h 1088232"/>
              <a:gd name="connsiteX67" fmla="*/ 585786 w 2559842"/>
              <a:gd name="connsiteY67" fmla="*/ 707232 h 1088232"/>
              <a:gd name="connsiteX68" fmla="*/ 611979 w 2559842"/>
              <a:gd name="connsiteY68" fmla="*/ 707232 h 1088232"/>
              <a:gd name="connsiteX69" fmla="*/ 611979 w 2559842"/>
              <a:gd name="connsiteY69" fmla="*/ 716757 h 1088232"/>
              <a:gd name="connsiteX70" fmla="*/ 626267 w 2559842"/>
              <a:gd name="connsiteY70" fmla="*/ 716757 h 1088232"/>
              <a:gd name="connsiteX71" fmla="*/ 626267 w 2559842"/>
              <a:gd name="connsiteY71" fmla="*/ 728663 h 1088232"/>
              <a:gd name="connsiteX72" fmla="*/ 647698 w 2559842"/>
              <a:gd name="connsiteY72" fmla="*/ 728663 h 1088232"/>
              <a:gd name="connsiteX73" fmla="*/ 647698 w 2559842"/>
              <a:gd name="connsiteY73" fmla="*/ 740569 h 1088232"/>
              <a:gd name="connsiteX74" fmla="*/ 666748 w 2559842"/>
              <a:gd name="connsiteY74" fmla="*/ 740569 h 1088232"/>
              <a:gd name="connsiteX75" fmla="*/ 666748 w 2559842"/>
              <a:gd name="connsiteY75" fmla="*/ 754857 h 1088232"/>
              <a:gd name="connsiteX76" fmla="*/ 671511 w 2559842"/>
              <a:gd name="connsiteY76" fmla="*/ 754857 h 1088232"/>
              <a:gd name="connsiteX77" fmla="*/ 671511 w 2559842"/>
              <a:gd name="connsiteY77" fmla="*/ 759619 h 1088232"/>
              <a:gd name="connsiteX78" fmla="*/ 783429 w 2559842"/>
              <a:gd name="connsiteY78" fmla="*/ 759619 h 1088232"/>
              <a:gd name="connsiteX79" fmla="*/ 783429 w 2559842"/>
              <a:gd name="connsiteY79" fmla="*/ 769144 h 1088232"/>
              <a:gd name="connsiteX80" fmla="*/ 831054 w 2559842"/>
              <a:gd name="connsiteY80" fmla="*/ 769144 h 1088232"/>
              <a:gd name="connsiteX81" fmla="*/ 831054 w 2559842"/>
              <a:gd name="connsiteY81" fmla="*/ 788194 h 1088232"/>
              <a:gd name="connsiteX82" fmla="*/ 881061 w 2559842"/>
              <a:gd name="connsiteY82" fmla="*/ 788194 h 1088232"/>
              <a:gd name="connsiteX83" fmla="*/ 881061 w 2559842"/>
              <a:gd name="connsiteY83" fmla="*/ 788194 h 1088232"/>
              <a:gd name="connsiteX84" fmla="*/ 895349 w 2559842"/>
              <a:gd name="connsiteY84" fmla="*/ 802482 h 1088232"/>
              <a:gd name="connsiteX85" fmla="*/ 902492 w 2559842"/>
              <a:gd name="connsiteY85" fmla="*/ 809625 h 1088232"/>
              <a:gd name="connsiteX86" fmla="*/ 945354 w 2559842"/>
              <a:gd name="connsiteY86" fmla="*/ 809625 h 1088232"/>
              <a:gd name="connsiteX87" fmla="*/ 945354 w 2559842"/>
              <a:gd name="connsiteY87" fmla="*/ 838200 h 1088232"/>
              <a:gd name="connsiteX88" fmla="*/ 1181098 w 2559842"/>
              <a:gd name="connsiteY88" fmla="*/ 838200 h 1088232"/>
              <a:gd name="connsiteX89" fmla="*/ 1181098 w 2559842"/>
              <a:gd name="connsiteY89" fmla="*/ 859632 h 1088232"/>
              <a:gd name="connsiteX90" fmla="*/ 1364454 w 2559842"/>
              <a:gd name="connsiteY90" fmla="*/ 859632 h 1088232"/>
              <a:gd name="connsiteX91" fmla="*/ 1364454 w 2559842"/>
              <a:gd name="connsiteY91" fmla="*/ 876300 h 1088232"/>
              <a:gd name="connsiteX92" fmla="*/ 1454942 w 2559842"/>
              <a:gd name="connsiteY92" fmla="*/ 876300 h 1088232"/>
              <a:gd name="connsiteX93" fmla="*/ 1454942 w 2559842"/>
              <a:gd name="connsiteY93" fmla="*/ 897732 h 1088232"/>
              <a:gd name="connsiteX94" fmla="*/ 1728786 w 2559842"/>
              <a:gd name="connsiteY94" fmla="*/ 897732 h 1088232"/>
              <a:gd name="connsiteX95" fmla="*/ 1728786 w 2559842"/>
              <a:gd name="connsiteY95" fmla="*/ 921544 h 1088232"/>
              <a:gd name="connsiteX96" fmla="*/ 1816892 w 2559842"/>
              <a:gd name="connsiteY96" fmla="*/ 921544 h 1088232"/>
              <a:gd name="connsiteX97" fmla="*/ 1816892 w 2559842"/>
              <a:gd name="connsiteY97" fmla="*/ 954882 h 1088232"/>
              <a:gd name="connsiteX98" fmla="*/ 2057398 w 2559842"/>
              <a:gd name="connsiteY98" fmla="*/ 954882 h 1088232"/>
              <a:gd name="connsiteX99" fmla="*/ 2057398 w 2559842"/>
              <a:gd name="connsiteY99" fmla="*/ 990600 h 1088232"/>
              <a:gd name="connsiteX100" fmla="*/ 2102642 w 2559842"/>
              <a:gd name="connsiteY100" fmla="*/ 990600 h 1088232"/>
              <a:gd name="connsiteX101" fmla="*/ 2102642 w 2559842"/>
              <a:gd name="connsiteY101" fmla="*/ 1021557 h 1088232"/>
              <a:gd name="connsiteX102" fmla="*/ 2288379 w 2559842"/>
              <a:gd name="connsiteY102" fmla="*/ 1021557 h 1088232"/>
              <a:gd name="connsiteX103" fmla="*/ 2288379 w 2559842"/>
              <a:gd name="connsiteY103" fmla="*/ 1088232 h 1088232"/>
              <a:gd name="connsiteX104" fmla="*/ 2559842 w 2559842"/>
              <a:gd name="connsiteY104" fmla="*/ 1088232 h 1088232"/>
              <a:gd name="connsiteX0" fmla="*/ 0 w 2559842"/>
              <a:gd name="connsiteY0" fmla="*/ 242 h 1088474"/>
              <a:gd name="connsiteX1" fmla="*/ 9101 w 2559842"/>
              <a:gd name="connsiteY1" fmla="*/ 634 h 1088474"/>
              <a:gd name="connsiteX2" fmla="*/ 57149 w 2559842"/>
              <a:gd name="connsiteY2" fmla="*/ 7387 h 1088474"/>
              <a:gd name="connsiteX3" fmla="*/ 54767 w 2559842"/>
              <a:gd name="connsiteY3" fmla="*/ 45486 h 1088474"/>
              <a:gd name="connsiteX4" fmla="*/ 73817 w 2559842"/>
              <a:gd name="connsiteY4" fmla="*/ 45486 h 1088474"/>
              <a:gd name="connsiteX5" fmla="*/ 73817 w 2559842"/>
              <a:gd name="connsiteY5" fmla="*/ 52630 h 1088474"/>
              <a:gd name="connsiteX6" fmla="*/ 78579 w 2559842"/>
              <a:gd name="connsiteY6" fmla="*/ 52630 h 1088474"/>
              <a:gd name="connsiteX7" fmla="*/ 78579 w 2559842"/>
              <a:gd name="connsiteY7" fmla="*/ 66917 h 1088474"/>
              <a:gd name="connsiteX8" fmla="*/ 85723 w 2559842"/>
              <a:gd name="connsiteY8" fmla="*/ 66917 h 1088474"/>
              <a:gd name="connsiteX9" fmla="*/ 85723 w 2559842"/>
              <a:gd name="connsiteY9" fmla="*/ 81205 h 1088474"/>
              <a:gd name="connsiteX10" fmla="*/ 100011 w 2559842"/>
              <a:gd name="connsiteY10" fmla="*/ 81205 h 1088474"/>
              <a:gd name="connsiteX11" fmla="*/ 100011 w 2559842"/>
              <a:gd name="connsiteY11" fmla="*/ 93111 h 1088474"/>
              <a:gd name="connsiteX12" fmla="*/ 111917 w 2559842"/>
              <a:gd name="connsiteY12" fmla="*/ 93111 h 1088474"/>
              <a:gd name="connsiteX13" fmla="*/ 111917 w 2559842"/>
              <a:gd name="connsiteY13" fmla="*/ 109780 h 1088474"/>
              <a:gd name="connsiteX14" fmla="*/ 126204 w 2559842"/>
              <a:gd name="connsiteY14" fmla="*/ 109780 h 1088474"/>
              <a:gd name="connsiteX15" fmla="*/ 126204 w 2559842"/>
              <a:gd name="connsiteY15" fmla="*/ 119305 h 1088474"/>
              <a:gd name="connsiteX16" fmla="*/ 135729 w 2559842"/>
              <a:gd name="connsiteY16" fmla="*/ 119305 h 1088474"/>
              <a:gd name="connsiteX17" fmla="*/ 135729 w 2559842"/>
              <a:gd name="connsiteY17" fmla="*/ 143117 h 1088474"/>
              <a:gd name="connsiteX18" fmla="*/ 145254 w 2559842"/>
              <a:gd name="connsiteY18" fmla="*/ 143117 h 1088474"/>
              <a:gd name="connsiteX19" fmla="*/ 145254 w 2559842"/>
              <a:gd name="connsiteY19" fmla="*/ 178836 h 1088474"/>
              <a:gd name="connsiteX20" fmla="*/ 145254 w 2559842"/>
              <a:gd name="connsiteY20" fmla="*/ 221699 h 1088474"/>
              <a:gd name="connsiteX21" fmla="*/ 152398 w 2559842"/>
              <a:gd name="connsiteY21" fmla="*/ 221699 h 1088474"/>
              <a:gd name="connsiteX22" fmla="*/ 152398 w 2559842"/>
              <a:gd name="connsiteY22" fmla="*/ 269324 h 1088474"/>
              <a:gd name="connsiteX23" fmla="*/ 157161 w 2559842"/>
              <a:gd name="connsiteY23" fmla="*/ 269324 h 1088474"/>
              <a:gd name="connsiteX24" fmla="*/ 157161 w 2559842"/>
              <a:gd name="connsiteY24" fmla="*/ 288374 h 1088474"/>
              <a:gd name="connsiteX25" fmla="*/ 164304 w 2559842"/>
              <a:gd name="connsiteY25" fmla="*/ 288374 h 1088474"/>
              <a:gd name="connsiteX26" fmla="*/ 164304 w 2559842"/>
              <a:gd name="connsiteY26" fmla="*/ 314567 h 1088474"/>
              <a:gd name="connsiteX27" fmla="*/ 164304 w 2559842"/>
              <a:gd name="connsiteY27" fmla="*/ 316949 h 1088474"/>
              <a:gd name="connsiteX28" fmla="*/ 164304 w 2559842"/>
              <a:gd name="connsiteY28" fmla="*/ 355049 h 1088474"/>
              <a:gd name="connsiteX29" fmla="*/ 176211 w 2559842"/>
              <a:gd name="connsiteY29" fmla="*/ 355049 h 1088474"/>
              <a:gd name="connsiteX30" fmla="*/ 176211 w 2559842"/>
              <a:gd name="connsiteY30" fmla="*/ 371717 h 1088474"/>
              <a:gd name="connsiteX31" fmla="*/ 183354 w 2559842"/>
              <a:gd name="connsiteY31" fmla="*/ 371717 h 1088474"/>
              <a:gd name="connsiteX32" fmla="*/ 183354 w 2559842"/>
              <a:gd name="connsiteY32" fmla="*/ 381242 h 1088474"/>
              <a:gd name="connsiteX33" fmla="*/ 211929 w 2559842"/>
              <a:gd name="connsiteY33" fmla="*/ 381242 h 1088474"/>
              <a:gd name="connsiteX34" fmla="*/ 214311 w 2559842"/>
              <a:gd name="connsiteY34" fmla="*/ 383624 h 1088474"/>
              <a:gd name="connsiteX35" fmla="*/ 226217 w 2559842"/>
              <a:gd name="connsiteY35" fmla="*/ 383624 h 1088474"/>
              <a:gd name="connsiteX36" fmla="*/ 226217 w 2559842"/>
              <a:gd name="connsiteY36" fmla="*/ 421724 h 1088474"/>
              <a:gd name="connsiteX37" fmla="*/ 283367 w 2559842"/>
              <a:gd name="connsiteY37" fmla="*/ 421724 h 1088474"/>
              <a:gd name="connsiteX38" fmla="*/ 283367 w 2559842"/>
              <a:gd name="connsiteY38" fmla="*/ 445536 h 1088474"/>
              <a:gd name="connsiteX39" fmla="*/ 290511 w 2559842"/>
              <a:gd name="connsiteY39" fmla="*/ 445536 h 1088474"/>
              <a:gd name="connsiteX40" fmla="*/ 290511 w 2559842"/>
              <a:gd name="connsiteY40" fmla="*/ 459824 h 1088474"/>
              <a:gd name="connsiteX41" fmla="*/ 304798 w 2559842"/>
              <a:gd name="connsiteY41" fmla="*/ 459824 h 1088474"/>
              <a:gd name="connsiteX42" fmla="*/ 304798 w 2559842"/>
              <a:gd name="connsiteY42" fmla="*/ 469349 h 1088474"/>
              <a:gd name="connsiteX43" fmla="*/ 330992 w 2559842"/>
              <a:gd name="connsiteY43" fmla="*/ 469349 h 1088474"/>
              <a:gd name="connsiteX44" fmla="*/ 335754 w 2559842"/>
              <a:gd name="connsiteY44" fmla="*/ 474111 h 1088474"/>
              <a:gd name="connsiteX45" fmla="*/ 369092 w 2559842"/>
              <a:gd name="connsiteY45" fmla="*/ 474111 h 1088474"/>
              <a:gd name="connsiteX46" fmla="*/ 369092 w 2559842"/>
              <a:gd name="connsiteY46" fmla="*/ 486017 h 1088474"/>
              <a:gd name="connsiteX47" fmla="*/ 383379 w 2559842"/>
              <a:gd name="connsiteY47" fmla="*/ 486017 h 1088474"/>
              <a:gd name="connsiteX48" fmla="*/ 383379 w 2559842"/>
              <a:gd name="connsiteY48" fmla="*/ 552692 h 1088474"/>
              <a:gd name="connsiteX49" fmla="*/ 392904 w 2559842"/>
              <a:gd name="connsiteY49" fmla="*/ 552692 h 1088474"/>
              <a:gd name="connsiteX50" fmla="*/ 392904 w 2559842"/>
              <a:gd name="connsiteY50" fmla="*/ 566980 h 1088474"/>
              <a:gd name="connsiteX51" fmla="*/ 402429 w 2559842"/>
              <a:gd name="connsiteY51" fmla="*/ 566980 h 1088474"/>
              <a:gd name="connsiteX52" fmla="*/ 402429 w 2559842"/>
              <a:gd name="connsiteY52" fmla="*/ 614605 h 1088474"/>
              <a:gd name="connsiteX53" fmla="*/ 402429 w 2559842"/>
              <a:gd name="connsiteY53" fmla="*/ 614605 h 1088474"/>
              <a:gd name="connsiteX54" fmla="*/ 414335 w 2559842"/>
              <a:gd name="connsiteY54" fmla="*/ 626511 h 1088474"/>
              <a:gd name="connsiteX55" fmla="*/ 426242 w 2559842"/>
              <a:gd name="connsiteY55" fmla="*/ 626511 h 1088474"/>
              <a:gd name="connsiteX56" fmla="*/ 426242 w 2559842"/>
              <a:gd name="connsiteY56" fmla="*/ 647942 h 1088474"/>
              <a:gd name="connsiteX57" fmla="*/ 440529 w 2559842"/>
              <a:gd name="connsiteY57" fmla="*/ 647942 h 1088474"/>
              <a:gd name="connsiteX58" fmla="*/ 440529 w 2559842"/>
              <a:gd name="connsiteY58" fmla="*/ 659849 h 1088474"/>
              <a:gd name="connsiteX59" fmla="*/ 454817 w 2559842"/>
              <a:gd name="connsiteY59" fmla="*/ 659849 h 1088474"/>
              <a:gd name="connsiteX60" fmla="*/ 454817 w 2559842"/>
              <a:gd name="connsiteY60" fmla="*/ 666992 h 1088474"/>
              <a:gd name="connsiteX61" fmla="*/ 509586 w 2559842"/>
              <a:gd name="connsiteY61" fmla="*/ 666992 h 1088474"/>
              <a:gd name="connsiteX62" fmla="*/ 516729 w 2559842"/>
              <a:gd name="connsiteY62" fmla="*/ 674135 h 1088474"/>
              <a:gd name="connsiteX63" fmla="*/ 545304 w 2559842"/>
              <a:gd name="connsiteY63" fmla="*/ 674135 h 1088474"/>
              <a:gd name="connsiteX64" fmla="*/ 545304 w 2559842"/>
              <a:gd name="connsiteY64" fmla="*/ 688424 h 1088474"/>
              <a:gd name="connsiteX65" fmla="*/ 561973 w 2559842"/>
              <a:gd name="connsiteY65" fmla="*/ 688424 h 1088474"/>
              <a:gd name="connsiteX66" fmla="*/ 561973 w 2559842"/>
              <a:gd name="connsiteY66" fmla="*/ 702711 h 1088474"/>
              <a:gd name="connsiteX67" fmla="*/ 585786 w 2559842"/>
              <a:gd name="connsiteY67" fmla="*/ 702711 h 1088474"/>
              <a:gd name="connsiteX68" fmla="*/ 585786 w 2559842"/>
              <a:gd name="connsiteY68" fmla="*/ 707474 h 1088474"/>
              <a:gd name="connsiteX69" fmla="*/ 611979 w 2559842"/>
              <a:gd name="connsiteY69" fmla="*/ 707474 h 1088474"/>
              <a:gd name="connsiteX70" fmla="*/ 611979 w 2559842"/>
              <a:gd name="connsiteY70" fmla="*/ 716999 h 1088474"/>
              <a:gd name="connsiteX71" fmla="*/ 626267 w 2559842"/>
              <a:gd name="connsiteY71" fmla="*/ 716999 h 1088474"/>
              <a:gd name="connsiteX72" fmla="*/ 626267 w 2559842"/>
              <a:gd name="connsiteY72" fmla="*/ 728905 h 1088474"/>
              <a:gd name="connsiteX73" fmla="*/ 647698 w 2559842"/>
              <a:gd name="connsiteY73" fmla="*/ 728905 h 1088474"/>
              <a:gd name="connsiteX74" fmla="*/ 647698 w 2559842"/>
              <a:gd name="connsiteY74" fmla="*/ 740811 h 1088474"/>
              <a:gd name="connsiteX75" fmla="*/ 666748 w 2559842"/>
              <a:gd name="connsiteY75" fmla="*/ 740811 h 1088474"/>
              <a:gd name="connsiteX76" fmla="*/ 666748 w 2559842"/>
              <a:gd name="connsiteY76" fmla="*/ 755099 h 1088474"/>
              <a:gd name="connsiteX77" fmla="*/ 671511 w 2559842"/>
              <a:gd name="connsiteY77" fmla="*/ 755099 h 1088474"/>
              <a:gd name="connsiteX78" fmla="*/ 671511 w 2559842"/>
              <a:gd name="connsiteY78" fmla="*/ 759861 h 1088474"/>
              <a:gd name="connsiteX79" fmla="*/ 783429 w 2559842"/>
              <a:gd name="connsiteY79" fmla="*/ 759861 h 1088474"/>
              <a:gd name="connsiteX80" fmla="*/ 783429 w 2559842"/>
              <a:gd name="connsiteY80" fmla="*/ 769386 h 1088474"/>
              <a:gd name="connsiteX81" fmla="*/ 831054 w 2559842"/>
              <a:gd name="connsiteY81" fmla="*/ 769386 h 1088474"/>
              <a:gd name="connsiteX82" fmla="*/ 831054 w 2559842"/>
              <a:gd name="connsiteY82" fmla="*/ 788436 h 1088474"/>
              <a:gd name="connsiteX83" fmla="*/ 881061 w 2559842"/>
              <a:gd name="connsiteY83" fmla="*/ 788436 h 1088474"/>
              <a:gd name="connsiteX84" fmla="*/ 881061 w 2559842"/>
              <a:gd name="connsiteY84" fmla="*/ 788436 h 1088474"/>
              <a:gd name="connsiteX85" fmla="*/ 895349 w 2559842"/>
              <a:gd name="connsiteY85" fmla="*/ 802724 h 1088474"/>
              <a:gd name="connsiteX86" fmla="*/ 902492 w 2559842"/>
              <a:gd name="connsiteY86" fmla="*/ 809867 h 1088474"/>
              <a:gd name="connsiteX87" fmla="*/ 945354 w 2559842"/>
              <a:gd name="connsiteY87" fmla="*/ 809867 h 1088474"/>
              <a:gd name="connsiteX88" fmla="*/ 945354 w 2559842"/>
              <a:gd name="connsiteY88" fmla="*/ 838442 h 1088474"/>
              <a:gd name="connsiteX89" fmla="*/ 1181098 w 2559842"/>
              <a:gd name="connsiteY89" fmla="*/ 838442 h 1088474"/>
              <a:gd name="connsiteX90" fmla="*/ 1181098 w 2559842"/>
              <a:gd name="connsiteY90" fmla="*/ 859874 h 1088474"/>
              <a:gd name="connsiteX91" fmla="*/ 1364454 w 2559842"/>
              <a:gd name="connsiteY91" fmla="*/ 859874 h 1088474"/>
              <a:gd name="connsiteX92" fmla="*/ 1364454 w 2559842"/>
              <a:gd name="connsiteY92" fmla="*/ 876542 h 1088474"/>
              <a:gd name="connsiteX93" fmla="*/ 1454942 w 2559842"/>
              <a:gd name="connsiteY93" fmla="*/ 876542 h 1088474"/>
              <a:gd name="connsiteX94" fmla="*/ 1454942 w 2559842"/>
              <a:gd name="connsiteY94" fmla="*/ 897974 h 1088474"/>
              <a:gd name="connsiteX95" fmla="*/ 1728786 w 2559842"/>
              <a:gd name="connsiteY95" fmla="*/ 897974 h 1088474"/>
              <a:gd name="connsiteX96" fmla="*/ 1728786 w 2559842"/>
              <a:gd name="connsiteY96" fmla="*/ 921786 h 1088474"/>
              <a:gd name="connsiteX97" fmla="*/ 1816892 w 2559842"/>
              <a:gd name="connsiteY97" fmla="*/ 921786 h 1088474"/>
              <a:gd name="connsiteX98" fmla="*/ 1816892 w 2559842"/>
              <a:gd name="connsiteY98" fmla="*/ 955124 h 1088474"/>
              <a:gd name="connsiteX99" fmla="*/ 2057398 w 2559842"/>
              <a:gd name="connsiteY99" fmla="*/ 955124 h 1088474"/>
              <a:gd name="connsiteX100" fmla="*/ 2057398 w 2559842"/>
              <a:gd name="connsiteY100" fmla="*/ 990842 h 1088474"/>
              <a:gd name="connsiteX101" fmla="*/ 2102642 w 2559842"/>
              <a:gd name="connsiteY101" fmla="*/ 990842 h 1088474"/>
              <a:gd name="connsiteX102" fmla="*/ 2102642 w 2559842"/>
              <a:gd name="connsiteY102" fmla="*/ 1021799 h 1088474"/>
              <a:gd name="connsiteX103" fmla="*/ 2288379 w 2559842"/>
              <a:gd name="connsiteY103" fmla="*/ 1021799 h 1088474"/>
              <a:gd name="connsiteX104" fmla="*/ 2288379 w 2559842"/>
              <a:gd name="connsiteY104" fmla="*/ 1088474 h 1088474"/>
              <a:gd name="connsiteX105" fmla="*/ 2559842 w 2559842"/>
              <a:gd name="connsiteY105" fmla="*/ 1088474 h 1088474"/>
              <a:gd name="connsiteX0" fmla="*/ 6175 w 2566017"/>
              <a:gd name="connsiteY0" fmla="*/ 0 h 1088232"/>
              <a:gd name="connsiteX1" fmla="*/ 3370 w 2566017"/>
              <a:gd name="connsiteY1" fmla="*/ 2773 h 1088232"/>
              <a:gd name="connsiteX2" fmla="*/ 63324 w 2566017"/>
              <a:gd name="connsiteY2" fmla="*/ 7145 h 1088232"/>
              <a:gd name="connsiteX3" fmla="*/ 60942 w 2566017"/>
              <a:gd name="connsiteY3" fmla="*/ 45244 h 1088232"/>
              <a:gd name="connsiteX4" fmla="*/ 79992 w 2566017"/>
              <a:gd name="connsiteY4" fmla="*/ 45244 h 1088232"/>
              <a:gd name="connsiteX5" fmla="*/ 79992 w 2566017"/>
              <a:gd name="connsiteY5" fmla="*/ 52388 h 1088232"/>
              <a:gd name="connsiteX6" fmla="*/ 84754 w 2566017"/>
              <a:gd name="connsiteY6" fmla="*/ 52388 h 1088232"/>
              <a:gd name="connsiteX7" fmla="*/ 84754 w 2566017"/>
              <a:gd name="connsiteY7" fmla="*/ 66675 h 1088232"/>
              <a:gd name="connsiteX8" fmla="*/ 91898 w 2566017"/>
              <a:gd name="connsiteY8" fmla="*/ 66675 h 1088232"/>
              <a:gd name="connsiteX9" fmla="*/ 91898 w 2566017"/>
              <a:gd name="connsiteY9" fmla="*/ 80963 h 1088232"/>
              <a:gd name="connsiteX10" fmla="*/ 106186 w 2566017"/>
              <a:gd name="connsiteY10" fmla="*/ 80963 h 1088232"/>
              <a:gd name="connsiteX11" fmla="*/ 106186 w 2566017"/>
              <a:gd name="connsiteY11" fmla="*/ 92869 h 1088232"/>
              <a:gd name="connsiteX12" fmla="*/ 118092 w 2566017"/>
              <a:gd name="connsiteY12" fmla="*/ 92869 h 1088232"/>
              <a:gd name="connsiteX13" fmla="*/ 118092 w 2566017"/>
              <a:gd name="connsiteY13" fmla="*/ 109538 h 1088232"/>
              <a:gd name="connsiteX14" fmla="*/ 132379 w 2566017"/>
              <a:gd name="connsiteY14" fmla="*/ 109538 h 1088232"/>
              <a:gd name="connsiteX15" fmla="*/ 132379 w 2566017"/>
              <a:gd name="connsiteY15" fmla="*/ 119063 h 1088232"/>
              <a:gd name="connsiteX16" fmla="*/ 141904 w 2566017"/>
              <a:gd name="connsiteY16" fmla="*/ 119063 h 1088232"/>
              <a:gd name="connsiteX17" fmla="*/ 141904 w 2566017"/>
              <a:gd name="connsiteY17" fmla="*/ 142875 h 1088232"/>
              <a:gd name="connsiteX18" fmla="*/ 151429 w 2566017"/>
              <a:gd name="connsiteY18" fmla="*/ 142875 h 1088232"/>
              <a:gd name="connsiteX19" fmla="*/ 151429 w 2566017"/>
              <a:gd name="connsiteY19" fmla="*/ 178594 h 1088232"/>
              <a:gd name="connsiteX20" fmla="*/ 151429 w 2566017"/>
              <a:gd name="connsiteY20" fmla="*/ 221457 h 1088232"/>
              <a:gd name="connsiteX21" fmla="*/ 158573 w 2566017"/>
              <a:gd name="connsiteY21" fmla="*/ 221457 h 1088232"/>
              <a:gd name="connsiteX22" fmla="*/ 158573 w 2566017"/>
              <a:gd name="connsiteY22" fmla="*/ 269082 h 1088232"/>
              <a:gd name="connsiteX23" fmla="*/ 163336 w 2566017"/>
              <a:gd name="connsiteY23" fmla="*/ 269082 h 1088232"/>
              <a:gd name="connsiteX24" fmla="*/ 163336 w 2566017"/>
              <a:gd name="connsiteY24" fmla="*/ 288132 h 1088232"/>
              <a:gd name="connsiteX25" fmla="*/ 170479 w 2566017"/>
              <a:gd name="connsiteY25" fmla="*/ 288132 h 1088232"/>
              <a:gd name="connsiteX26" fmla="*/ 170479 w 2566017"/>
              <a:gd name="connsiteY26" fmla="*/ 314325 h 1088232"/>
              <a:gd name="connsiteX27" fmla="*/ 170479 w 2566017"/>
              <a:gd name="connsiteY27" fmla="*/ 316707 h 1088232"/>
              <a:gd name="connsiteX28" fmla="*/ 170479 w 2566017"/>
              <a:gd name="connsiteY28" fmla="*/ 354807 h 1088232"/>
              <a:gd name="connsiteX29" fmla="*/ 182386 w 2566017"/>
              <a:gd name="connsiteY29" fmla="*/ 354807 h 1088232"/>
              <a:gd name="connsiteX30" fmla="*/ 182386 w 2566017"/>
              <a:gd name="connsiteY30" fmla="*/ 371475 h 1088232"/>
              <a:gd name="connsiteX31" fmla="*/ 189529 w 2566017"/>
              <a:gd name="connsiteY31" fmla="*/ 371475 h 1088232"/>
              <a:gd name="connsiteX32" fmla="*/ 189529 w 2566017"/>
              <a:gd name="connsiteY32" fmla="*/ 381000 h 1088232"/>
              <a:gd name="connsiteX33" fmla="*/ 218104 w 2566017"/>
              <a:gd name="connsiteY33" fmla="*/ 381000 h 1088232"/>
              <a:gd name="connsiteX34" fmla="*/ 220486 w 2566017"/>
              <a:gd name="connsiteY34" fmla="*/ 383382 h 1088232"/>
              <a:gd name="connsiteX35" fmla="*/ 232392 w 2566017"/>
              <a:gd name="connsiteY35" fmla="*/ 383382 h 1088232"/>
              <a:gd name="connsiteX36" fmla="*/ 232392 w 2566017"/>
              <a:gd name="connsiteY36" fmla="*/ 421482 h 1088232"/>
              <a:gd name="connsiteX37" fmla="*/ 289542 w 2566017"/>
              <a:gd name="connsiteY37" fmla="*/ 421482 h 1088232"/>
              <a:gd name="connsiteX38" fmla="*/ 289542 w 2566017"/>
              <a:gd name="connsiteY38" fmla="*/ 445294 h 1088232"/>
              <a:gd name="connsiteX39" fmla="*/ 296686 w 2566017"/>
              <a:gd name="connsiteY39" fmla="*/ 445294 h 1088232"/>
              <a:gd name="connsiteX40" fmla="*/ 296686 w 2566017"/>
              <a:gd name="connsiteY40" fmla="*/ 459582 h 1088232"/>
              <a:gd name="connsiteX41" fmla="*/ 310973 w 2566017"/>
              <a:gd name="connsiteY41" fmla="*/ 459582 h 1088232"/>
              <a:gd name="connsiteX42" fmla="*/ 310973 w 2566017"/>
              <a:gd name="connsiteY42" fmla="*/ 469107 h 1088232"/>
              <a:gd name="connsiteX43" fmla="*/ 337167 w 2566017"/>
              <a:gd name="connsiteY43" fmla="*/ 469107 h 1088232"/>
              <a:gd name="connsiteX44" fmla="*/ 341929 w 2566017"/>
              <a:gd name="connsiteY44" fmla="*/ 473869 h 1088232"/>
              <a:gd name="connsiteX45" fmla="*/ 375267 w 2566017"/>
              <a:gd name="connsiteY45" fmla="*/ 473869 h 1088232"/>
              <a:gd name="connsiteX46" fmla="*/ 375267 w 2566017"/>
              <a:gd name="connsiteY46" fmla="*/ 485775 h 1088232"/>
              <a:gd name="connsiteX47" fmla="*/ 389554 w 2566017"/>
              <a:gd name="connsiteY47" fmla="*/ 485775 h 1088232"/>
              <a:gd name="connsiteX48" fmla="*/ 389554 w 2566017"/>
              <a:gd name="connsiteY48" fmla="*/ 552450 h 1088232"/>
              <a:gd name="connsiteX49" fmla="*/ 399079 w 2566017"/>
              <a:gd name="connsiteY49" fmla="*/ 552450 h 1088232"/>
              <a:gd name="connsiteX50" fmla="*/ 399079 w 2566017"/>
              <a:gd name="connsiteY50" fmla="*/ 566738 h 1088232"/>
              <a:gd name="connsiteX51" fmla="*/ 408604 w 2566017"/>
              <a:gd name="connsiteY51" fmla="*/ 566738 h 1088232"/>
              <a:gd name="connsiteX52" fmla="*/ 408604 w 2566017"/>
              <a:gd name="connsiteY52" fmla="*/ 614363 h 1088232"/>
              <a:gd name="connsiteX53" fmla="*/ 408604 w 2566017"/>
              <a:gd name="connsiteY53" fmla="*/ 614363 h 1088232"/>
              <a:gd name="connsiteX54" fmla="*/ 420510 w 2566017"/>
              <a:gd name="connsiteY54" fmla="*/ 626269 h 1088232"/>
              <a:gd name="connsiteX55" fmla="*/ 432417 w 2566017"/>
              <a:gd name="connsiteY55" fmla="*/ 626269 h 1088232"/>
              <a:gd name="connsiteX56" fmla="*/ 432417 w 2566017"/>
              <a:gd name="connsiteY56" fmla="*/ 647700 h 1088232"/>
              <a:gd name="connsiteX57" fmla="*/ 446704 w 2566017"/>
              <a:gd name="connsiteY57" fmla="*/ 647700 h 1088232"/>
              <a:gd name="connsiteX58" fmla="*/ 446704 w 2566017"/>
              <a:gd name="connsiteY58" fmla="*/ 659607 h 1088232"/>
              <a:gd name="connsiteX59" fmla="*/ 460992 w 2566017"/>
              <a:gd name="connsiteY59" fmla="*/ 659607 h 1088232"/>
              <a:gd name="connsiteX60" fmla="*/ 460992 w 2566017"/>
              <a:gd name="connsiteY60" fmla="*/ 666750 h 1088232"/>
              <a:gd name="connsiteX61" fmla="*/ 515761 w 2566017"/>
              <a:gd name="connsiteY61" fmla="*/ 666750 h 1088232"/>
              <a:gd name="connsiteX62" fmla="*/ 522904 w 2566017"/>
              <a:gd name="connsiteY62" fmla="*/ 673893 h 1088232"/>
              <a:gd name="connsiteX63" fmla="*/ 551479 w 2566017"/>
              <a:gd name="connsiteY63" fmla="*/ 673893 h 1088232"/>
              <a:gd name="connsiteX64" fmla="*/ 551479 w 2566017"/>
              <a:gd name="connsiteY64" fmla="*/ 688182 h 1088232"/>
              <a:gd name="connsiteX65" fmla="*/ 568148 w 2566017"/>
              <a:gd name="connsiteY65" fmla="*/ 688182 h 1088232"/>
              <a:gd name="connsiteX66" fmla="*/ 568148 w 2566017"/>
              <a:gd name="connsiteY66" fmla="*/ 702469 h 1088232"/>
              <a:gd name="connsiteX67" fmla="*/ 591961 w 2566017"/>
              <a:gd name="connsiteY67" fmla="*/ 702469 h 1088232"/>
              <a:gd name="connsiteX68" fmla="*/ 591961 w 2566017"/>
              <a:gd name="connsiteY68" fmla="*/ 707232 h 1088232"/>
              <a:gd name="connsiteX69" fmla="*/ 618154 w 2566017"/>
              <a:gd name="connsiteY69" fmla="*/ 707232 h 1088232"/>
              <a:gd name="connsiteX70" fmla="*/ 618154 w 2566017"/>
              <a:gd name="connsiteY70" fmla="*/ 716757 h 1088232"/>
              <a:gd name="connsiteX71" fmla="*/ 632442 w 2566017"/>
              <a:gd name="connsiteY71" fmla="*/ 716757 h 1088232"/>
              <a:gd name="connsiteX72" fmla="*/ 632442 w 2566017"/>
              <a:gd name="connsiteY72" fmla="*/ 728663 h 1088232"/>
              <a:gd name="connsiteX73" fmla="*/ 653873 w 2566017"/>
              <a:gd name="connsiteY73" fmla="*/ 728663 h 1088232"/>
              <a:gd name="connsiteX74" fmla="*/ 653873 w 2566017"/>
              <a:gd name="connsiteY74" fmla="*/ 740569 h 1088232"/>
              <a:gd name="connsiteX75" fmla="*/ 672923 w 2566017"/>
              <a:gd name="connsiteY75" fmla="*/ 740569 h 1088232"/>
              <a:gd name="connsiteX76" fmla="*/ 672923 w 2566017"/>
              <a:gd name="connsiteY76" fmla="*/ 754857 h 1088232"/>
              <a:gd name="connsiteX77" fmla="*/ 677686 w 2566017"/>
              <a:gd name="connsiteY77" fmla="*/ 754857 h 1088232"/>
              <a:gd name="connsiteX78" fmla="*/ 677686 w 2566017"/>
              <a:gd name="connsiteY78" fmla="*/ 759619 h 1088232"/>
              <a:gd name="connsiteX79" fmla="*/ 789604 w 2566017"/>
              <a:gd name="connsiteY79" fmla="*/ 759619 h 1088232"/>
              <a:gd name="connsiteX80" fmla="*/ 789604 w 2566017"/>
              <a:gd name="connsiteY80" fmla="*/ 769144 h 1088232"/>
              <a:gd name="connsiteX81" fmla="*/ 837229 w 2566017"/>
              <a:gd name="connsiteY81" fmla="*/ 769144 h 1088232"/>
              <a:gd name="connsiteX82" fmla="*/ 837229 w 2566017"/>
              <a:gd name="connsiteY82" fmla="*/ 788194 h 1088232"/>
              <a:gd name="connsiteX83" fmla="*/ 887236 w 2566017"/>
              <a:gd name="connsiteY83" fmla="*/ 788194 h 1088232"/>
              <a:gd name="connsiteX84" fmla="*/ 887236 w 2566017"/>
              <a:gd name="connsiteY84" fmla="*/ 788194 h 1088232"/>
              <a:gd name="connsiteX85" fmla="*/ 901524 w 2566017"/>
              <a:gd name="connsiteY85" fmla="*/ 802482 h 1088232"/>
              <a:gd name="connsiteX86" fmla="*/ 908667 w 2566017"/>
              <a:gd name="connsiteY86" fmla="*/ 809625 h 1088232"/>
              <a:gd name="connsiteX87" fmla="*/ 951529 w 2566017"/>
              <a:gd name="connsiteY87" fmla="*/ 809625 h 1088232"/>
              <a:gd name="connsiteX88" fmla="*/ 951529 w 2566017"/>
              <a:gd name="connsiteY88" fmla="*/ 838200 h 1088232"/>
              <a:gd name="connsiteX89" fmla="*/ 1187273 w 2566017"/>
              <a:gd name="connsiteY89" fmla="*/ 838200 h 1088232"/>
              <a:gd name="connsiteX90" fmla="*/ 1187273 w 2566017"/>
              <a:gd name="connsiteY90" fmla="*/ 859632 h 1088232"/>
              <a:gd name="connsiteX91" fmla="*/ 1370629 w 2566017"/>
              <a:gd name="connsiteY91" fmla="*/ 859632 h 1088232"/>
              <a:gd name="connsiteX92" fmla="*/ 1370629 w 2566017"/>
              <a:gd name="connsiteY92" fmla="*/ 876300 h 1088232"/>
              <a:gd name="connsiteX93" fmla="*/ 1461117 w 2566017"/>
              <a:gd name="connsiteY93" fmla="*/ 876300 h 1088232"/>
              <a:gd name="connsiteX94" fmla="*/ 1461117 w 2566017"/>
              <a:gd name="connsiteY94" fmla="*/ 897732 h 1088232"/>
              <a:gd name="connsiteX95" fmla="*/ 1734961 w 2566017"/>
              <a:gd name="connsiteY95" fmla="*/ 897732 h 1088232"/>
              <a:gd name="connsiteX96" fmla="*/ 1734961 w 2566017"/>
              <a:gd name="connsiteY96" fmla="*/ 921544 h 1088232"/>
              <a:gd name="connsiteX97" fmla="*/ 1823067 w 2566017"/>
              <a:gd name="connsiteY97" fmla="*/ 921544 h 1088232"/>
              <a:gd name="connsiteX98" fmla="*/ 1823067 w 2566017"/>
              <a:gd name="connsiteY98" fmla="*/ 954882 h 1088232"/>
              <a:gd name="connsiteX99" fmla="*/ 2063573 w 2566017"/>
              <a:gd name="connsiteY99" fmla="*/ 954882 h 1088232"/>
              <a:gd name="connsiteX100" fmla="*/ 2063573 w 2566017"/>
              <a:gd name="connsiteY100" fmla="*/ 990600 h 1088232"/>
              <a:gd name="connsiteX101" fmla="*/ 2108817 w 2566017"/>
              <a:gd name="connsiteY101" fmla="*/ 990600 h 1088232"/>
              <a:gd name="connsiteX102" fmla="*/ 2108817 w 2566017"/>
              <a:gd name="connsiteY102" fmla="*/ 1021557 h 1088232"/>
              <a:gd name="connsiteX103" fmla="*/ 2294554 w 2566017"/>
              <a:gd name="connsiteY103" fmla="*/ 1021557 h 1088232"/>
              <a:gd name="connsiteX104" fmla="*/ 2294554 w 2566017"/>
              <a:gd name="connsiteY104" fmla="*/ 1088232 h 1088232"/>
              <a:gd name="connsiteX105" fmla="*/ 2566017 w 2566017"/>
              <a:gd name="connsiteY105" fmla="*/ 1088232 h 1088232"/>
              <a:gd name="connsiteX0" fmla="*/ 2805 w 2562647"/>
              <a:gd name="connsiteY0" fmla="*/ 9090 h 1097322"/>
              <a:gd name="connsiteX1" fmla="*/ 0 w 2562647"/>
              <a:gd name="connsiteY1" fmla="*/ 11863 h 1097322"/>
              <a:gd name="connsiteX2" fmla="*/ 59954 w 2562647"/>
              <a:gd name="connsiteY2" fmla="*/ 16235 h 1097322"/>
              <a:gd name="connsiteX3" fmla="*/ 57572 w 2562647"/>
              <a:gd name="connsiteY3" fmla="*/ 54334 h 1097322"/>
              <a:gd name="connsiteX4" fmla="*/ 76622 w 2562647"/>
              <a:gd name="connsiteY4" fmla="*/ 54334 h 1097322"/>
              <a:gd name="connsiteX5" fmla="*/ 76622 w 2562647"/>
              <a:gd name="connsiteY5" fmla="*/ 61478 h 1097322"/>
              <a:gd name="connsiteX6" fmla="*/ 81384 w 2562647"/>
              <a:gd name="connsiteY6" fmla="*/ 61478 h 1097322"/>
              <a:gd name="connsiteX7" fmla="*/ 81384 w 2562647"/>
              <a:gd name="connsiteY7" fmla="*/ 75765 h 1097322"/>
              <a:gd name="connsiteX8" fmla="*/ 88528 w 2562647"/>
              <a:gd name="connsiteY8" fmla="*/ 75765 h 1097322"/>
              <a:gd name="connsiteX9" fmla="*/ 88528 w 2562647"/>
              <a:gd name="connsiteY9" fmla="*/ 90053 h 1097322"/>
              <a:gd name="connsiteX10" fmla="*/ 102816 w 2562647"/>
              <a:gd name="connsiteY10" fmla="*/ 90053 h 1097322"/>
              <a:gd name="connsiteX11" fmla="*/ 102816 w 2562647"/>
              <a:gd name="connsiteY11" fmla="*/ 101959 h 1097322"/>
              <a:gd name="connsiteX12" fmla="*/ 114722 w 2562647"/>
              <a:gd name="connsiteY12" fmla="*/ 101959 h 1097322"/>
              <a:gd name="connsiteX13" fmla="*/ 114722 w 2562647"/>
              <a:gd name="connsiteY13" fmla="*/ 118628 h 1097322"/>
              <a:gd name="connsiteX14" fmla="*/ 129009 w 2562647"/>
              <a:gd name="connsiteY14" fmla="*/ 118628 h 1097322"/>
              <a:gd name="connsiteX15" fmla="*/ 129009 w 2562647"/>
              <a:gd name="connsiteY15" fmla="*/ 128153 h 1097322"/>
              <a:gd name="connsiteX16" fmla="*/ 138534 w 2562647"/>
              <a:gd name="connsiteY16" fmla="*/ 128153 h 1097322"/>
              <a:gd name="connsiteX17" fmla="*/ 138534 w 2562647"/>
              <a:gd name="connsiteY17" fmla="*/ 151965 h 1097322"/>
              <a:gd name="connsiteX18" fmla="*/ 148059 w 2562647"/>
              <a:gd name="connsiteY18" fmla="*/ 151965 h 1097322"/>
              <a:gd name="connsiteX19" fmla="*/ 148059 w 2562647"/>
              <a:gd name="connsiteY19" fmla="*/ 187684 h 1097322"/>
              <a:gd name="connsiteX20" fmla="*/ 148059 w 2562647"/>
              <a:gd name="connsiteY20" fmla="*/ 230547 h 1097322"/>
              <a:gd name="connsiteX21" fmla="*/ 155203 w 2562647"/>
              <a:gd name="connsiteY21" fmla="*/ 230547 h 1097322"/>
              <a:gd name="connsiteX22" fmla="*/ 155203 w 2562647"/>
              <a:gd name="connsiteY22" fmla="*/ 278172 h 1097322"/>
              <a:gd name="connsiteX23" fmla="*/ 159966 w 2562647"/>
              <a:gd name="connsiteY23" fmla="*/ 278172 h 1097322"/>
              <a:gd name="connsiteX24" fmla="*/ 159966 w 2562647"/>
              <a:gd name="connsiteY24" fmla="*/ 297222 h 1097322"/>
              <a:gd name="connsiteX25" fmla="*/ 167109 w 2562647"/>
              <a:gd name="connsiteY25" fmla="*/ 297222 h 1097322"/>
              <a:gd name="connsiteX26" fmla="*/ 167109 w 2562647"/>
              <a:gd name="connsiteY26" fmla="*/ 323415 h 1097322"/>
              <a:gd name="connsiteX27" fmla="*/ 167109 w 2562647"/>
              <a:gd name="connsiteY27" fmla="*/ 325797 h 1097322"/>
              <a:gd name="connsiteX28" fmla="*/ 167109 w 2562647"/>
              <a:gd name="connsiteY28" fmla="*/ 363897 h 1097322"/>
              <a:gd name="connsiteX29" fmla="*/ 179016 w 2562647"/>
              <a:gd name="connsiteY29" fmla="*/ 363897 h 1097322"/>
              <a:gd name="connsiteX30" fmla="*/ 179016 w 2562647"/>
              <a:gd name="connsiteY30" fmla="*/ 380565 h 1097322"/>
              <a:gd name="connsiteX31" fmla="*/ 186159 w 2562647"/>
              <a:gd name="connsiteY31" fmla="*/ 380565 h 1097322"/>
              <a:gd name="connsiteX32" fmla="*/ 186159 w 2562647"/>
              <a:gd name="connsiteY32" fmla="*/ 390090 h 1097322"/>
              <a:gd name="connsiteX33" fmla="*/ 214734 w 2562647"/>
              <a:gd name="connsiteY33" fmla="*/ 390090 h 1097322"/>
              <a:gd name="connsiteX34" fmla="*/ 217116 w 2562647"/>
              <a:gd name="connsiteY34" fmla="*/ 392472 h 1097322"/>
              <a:gd name="connsiteX35" fmla="*/ 229022 w 2562647"/>
              <a:gd name="connsiteY35" fmla="*/ 392472 h 1097322"/>
              <a:gd name="connsiteX36" fmla="*/ 229022 w 2562647"/>
              <a:gd name="connsiteY36" fmla="*/ 430572 h 1097322"/>
              <a:gd name="connsiteX37" fmla="*/ 286172 w 2562647"/>
              <a:gd name="connsiteY37" fmla="*/ 430572 h 1097322"/>
              <a:gd name="connsiteX38" fmla="*/ 286172 w 2562647"/>
              <a:gd name="connsiteY38" fmla="*/ 454384 h 1097322"/>
              <a:gd name="connsiteX39" fmla="*/ 293316 w 2562647"/>
              <a:gd name="connsiteY39" fmla="*/ 454384 h 1097322"/>
              <a:gd name="connsiteX40" fmla="*/ 293316 w 2562647"/>
              <a:gd name="connsiteY40" fmla="*/ 468672 h 1097322"/>
              <a:gd name="connsiteX41" fmla="*/ 307603 w 2562647"/>
              <a:gd name="connsiteY41" fmla="*/ 468672 h 1097322"/>
              <a:gd name="connsiteX42" fmla="*/ 307603 w 2562647"/>
              <a:gd name="connsiteY42" fmla="*/ 478197 h 1097322"/>
              <a:gd name="connsiteX43" fmla="*/ 333797 w 2562647"/>
              <a:gd name="connsiteY43" fmla="*/ 478197 h 1097322"/>
              <a:gd name="connsiteX44" fmla="*/ 338559 w 2562647"/>
              <a:gd name="connsiteY44" fmla="*/ 482959 h 1097322"/>
              <a:gd name="connsiteX45" fmla="*/ 371897 w 2562647"/>
              <a:gd name="connsiteY45" fmla="*/ 482959 h 1097322"/>
              <a:gd name="connsiteX46" fmla="*/ 371897 w 2562647"/>
              <a:gd name="connsiteY46" fmla="*/ 494865 h 1097322"/>
              <a:gd name="connsiteX47" fmla="*/ 386184 w 2562647"/>
              <a:gd name="connsiteY47" fmla="*/ 494865 h 1097322"/>
              <a:gd name="connsiteX48" fmla="*/ 386184 w 2562647"/>
              <a:gd name="connsiteY48" fmla="*/ 561540 h 1097322"/>
              <a:gd name="connsiteX49" fmla="*/ 395709 w 2562647"/>
              <a:gd name="connsiteY49" fmla="*/ 561540 h 1097322"/>
              <a:gd name="connsiteX50" fmla="*/ 395709 w 2562647"/>
              <a:gd name="connsiteY50" fmla="*/ 575828 h 1097322"/>
              <a:gd name="connsiteX51" fmla="*/ 405234 w 2562647"/>
              <a:gd name="connsiteY51" fmla="*/ 575828 h 1097322"/>
              <a:gd name="connsiteX52" fmla="*/ 405234 w 2562647"/>
              <a:gd name="connsiteY52" fmla="*/ 623453 h 1097322"/>
              <a:gd name="connsiteX53" fmla="*/ 405234 w 2562647"/>
              <a:gd name="connsiteY53" fmla="*/ 623453 h 1097322"/>
              <a:gd name="connsiteX54" fmla="*/ 417140 w 2562647"/>
              <a:gd name="connsiteY54" fmla="*/ 635359 h 1097322"/>
              <a:gd name="connsiteX55" fmla="*/ 429047 w 2562647"/>
              <a:gd name="connsiteY55" fmla="*/ 635359 h 1097322"/>
              <a:gd name="connsiteX56" fmla="*/ 429047 w 2562647"/>
              <a:gd name="connsiteY56" fmla="*/ 656790 h 1097322"/>
              <a:gd name="connsiteX57" fmla="*/ 443334 w 2562647"/>
              <a:gd name="connsiteY57" fmla="*/ 656790 h 1097322"/>
              <a:gd name="connsiteX58" fmla="*/ 443334 w 2562647"/>
              <a:gd name="connsiteY58" fmla="*/ 668697 h 1097322"/>
              <a:gd name="connsiteX59" fmla="*/ 457622 w 2562647"/>
              <a:gd name="connsiteY59" fmla="*/ 668697 h 1097322"/>
              <a:gd name="connsiteX60" fmla="*/ 457622 w 2562647"/>
              <a:gd name="connsiteY60" fmla="*/ 675840 h 1097322"/>
              <a:gd name="connsiteX61" fmla="*/ 512391 w 2562647"/>
              <a:gd name="connsiteY61" fmla="*/ 675840 h 1097322"/>
              <a:gd name="connsiteX62" fmla="*/ 519534 w 2562647"/>
              <a:gd name="connsiteY62" fmla="*/ 682983 h 1097322"/>
              <a:gd name="connsiteX63" fmla="*/ 548109 w 2562647"/>
              <a:gd name="connsiteY63" fmla="*/ 682983 h 1097322"/>
              <a:gd name="connsiteX64" fmla="*/ 548109 w 2562647"/>
              <a:gd name="connsiteY64" fmla="*/ 697272 h 1097322"/>
              <a:gd name="connsiteX65" fmla="*/ 564778 w 2562647"/>
              <a:gd name="connsiteY65" fmla="*/ 697272 h 1097322"/>
              <a:gd name="connsiteX66" fmla="*/ 564778 w 2562647"/>
              <a:gd name="connsiteY66" fmla="*/ 711559 h 1097322"/>
              <a:gd name="connsiteX67" fmla="*/ 588591 w 2562647"/>
              <a:gd name="connsiteY67" fmla="*/ 711559 h 1097322"/>
              <a:gd name="connsiteX68" fmla="*/ 588591 w 2562647"/>
              <a:gd name="connsiteY68" fmla="*/ 716322 h 1097322"/>
              <a:gd name="connsiteX69" fmla="*/ 614784 w 2562647"/>
              <a:gd name="connsiteY69" fmla="*/ 716322 h 1097322"/>
              <a:gd name="connsiteX70" fmla="*/ 614784 w 2562647"/>
              <a:gd name="connsiteY70" fmla="*/ 725847 h 1097322"/>
              <a:gd name="connsiteX71" fmla="*/ 629072 w 2562647"/>
              <a:gd name="connsiteY71" fmla="*/ 725847 h 1097322"/>
              <a:gd name="connsiteX72" fmla="*/ 629072 w 2562647"/>
              <a:gd name="connsiteY72" fmla="*/ 737753 h 1097322"/>
              <a:gd name="connsiteX73" fmla="*/ 650503 w 2562647"/>
              <a:gd name="connsiteY73" fmla="*/ 737753 h 1097322"/>
              <a:gd name="connsiteX74" fmla="*/ 650503 w 2562647"/>
              <a:gd name="connsiteY74" fmla="*/ 749659 h 1097322"/>
              <a:gd name="connsiteX75" fmla="*/ 669553 w 2562647"/>
              <a:gd name="connsiteY75" fmla="*/ 749659 h 1097322"/>
              <a:gd name="connsiteX76" fmla="*/ 669553 w 2562647"/>
              <a:gd name="connsiteY76" fmla="*/ 763947 h 1097322"/>
              <a:gd name="connsiteX77" fmla="*/ 674316 w 2562647"/>
              <a:gd name="connsiteY77" fmla="*/ 763947 h 1097322"/>
              <a:gd name="connsiteX78" fmla="*/ 674316 w 2562647"/>
              <a:gd name="connsiteY78" fmla="*/ 768709 h 1097322"/>
              <a:gd name="connsiteX79" fmla="*/ 786234 w 2562647"/>
              <a:gd name="connsiteY79" fmla="*/ 768709 h 1097322"/>
              <a:gd name="connsiteX80" fmla="*/ 786234 w 2562647"/>
              <a:gd name="connsiteY80" fmla="*/ 778234 h 1097322"/>
              <a:gd name="connsiteX81" fmla="*/ 833859 w 2562647"/>
              <a:gd name="connsiteY81" fmla="*/ 778234 h 1097322"/>
              <a:gd name="connsiteX82" fmla="*/ 833859 w 2562647"/>
              <a:gd name="connsiteY82" fmla="*/ 797284 h 1097322"/>
              <a:gd name="connsiteX83" fmla="*/ 883866 w 2562647"/>
              <a:gd name="connsiteY83" fmla="*/ 797284 h 1097322"/>
              <a:gd name="connsiteX84" fmla="*/ 883866 w 2562647"/>
              <a:gd name="connsiteY84" fmla="*/ 797284 h 1097322"/>
              <a:gd name="connsiteX85" fmla="*/ 898154 w 2562647"/>
              <a:gd name="connsiteY85" fmla="*/ 811572 h 1097322"/>
              <a:gd name="connsiteX86" fmla="*/ 905297 w 2562647"/>
              <a:gd name="connsiteY86" fmla="*/ 818715 h 1097322"/>
              <a:gd name="connsiteX87" fmla="*/ 948159 w 2562647"/>
              <a:gd name="connsiteY87" fmla="*/ 818715 h 1097322"/>
              <a:gd name="connsiteX88" fmla="*/ 948159 w 2562647"/>
              <a:gd name="connsiteY88" fmla="*/ 847290 h 1097322"/>
              <a:gd name="connsiteX89" fmla="*/ 1183903 w 2562647"/>
              <a:gd name="connsiteY89" fmla="*/ 847290 h 1097322"/>
              <a:gd name="connsiteX90" fmla="*/ 1183903 w 2562647"/>
              <a:gd name="connsiteY90" fmla="*/ 868722 h 1097322"/>
              <a:gd name="connsiteX91" fmla="*/ 1367259 w 2562647"/>
              <a:gd name="connsiteY91" fmla="*/ 868722 h 1097322"/>
              <a:gd name="connsiteX92" fmla="*/ 1367259 w 2562647"/>
              <a:gd name="connsiteY92" fmla="*/ 885390 h 1097322"/>
              <a:gd name="connsiteX93" fmla="*/ 1457747 w 2562647"/>
              <a:gd name="connsiteY93" fmla="*/ 885390 h 1097322"/>
              <a:gd name="connsiteX94" fmla="*/ 1457747 w 2562647"/>
              <a:gd name="connsiteY94" fmla="*/ 906822 h 1097322"/>
              <a:gd name="connsiteX95" fmla="*/ 1731591 w 2562647"/>
              <a:gd name="connsiteY95" fmla="*/ 906822 h 1097322"/>
              <a:gd name="connsiteX96" fmla="*/ 1731591 w 2562647"/>
              <a:gd name="connsiteY96" fmla="*/ 930634 h 1097322"/>
              <a:gd name="connsiteX97" fmla="*/ 1819697 w 2562647"/>
              <a:gd name="connsiteY97" fmla="*/ 930634 h 1097322"/>
              <a:gd name="connsiteX98" fmla="*/ 1819697 w 2562647"/>
              <a:gd name="connsiteY98" fmla="*/ 963972 h 1097322"/>
              <a:gd name="connsiteX99" fmla="*/ 2060203 w 2562647"/>
              <a:gd name="connsiteY99" fmla="*/ 963972 h 1097322"/>
              <a:gd name="connsiteX100" fmla="*/ 2060203 w 2562647"/>
              <a:gd name="connsiteY100" fmla="*/ 999690 h 1097322"/>
              <a:gd name="connsiteX101" fmla="*/ 2105447 w 2562647"/>
              <a:gd name="connsiteY101" fmla="*/ 999690 h 1097322"/>
              <a:gd name="connsiteX102" fmla="*/ 2105447 w 2562647"/>
              <a:gd name="connsiteY102" fmla="*/ 1030647 h 1097322"/>
              <a:gd name="connsiteX103" fmla="*/ 2291184 w 2562647"/>
              <a:gd name="connsiteY103" fmla="*/ 1030647 h 1097322"/>
              <a:gd name="connsiteX104" fmla="*/ 2291184 w 2562647"/>
              <a:gd name="connsiteY104" fmla="*/ 1097322 h 1097322"/>
              <a:gd name="connsiteX105" fmla="*/ 2562647 w 2562647"/>
              <a:gd name="connsiteY105" fmla="*/ 1097322 h 1097322"/>
              <a:gd name="connsiteX0" fmla="*/ 0 w 2559842"/>
              <a:gd name="connsiteY0" fmla="*/ 10808 h 1099040"/>
              <a:gd name="connsiteX1" fmla="*/ 9101 w 2559842"/>
              <a:gd name="connsiteY1" fmla="*/ 11200 h 1099040"/>
              <a:gd name="connsiteX2" fmla="*/ 57149 w 2559842"/>
              <a:gd name="connsiteY2" fmla="*/ 17953 h 1099040"/>
              <a:gd name="connsiteX3" fmla="*/ 54767 w 2559842"/>
              <a:gd name="connsiteY3" fmla="*/ 56052 h 1099040"/>
              <a:gd name="connsiteX4" fmla="*/ 73817 w 2559842"/>
              <a:gd name="connsiteY4" fmla="*/ 56052 h 1099040"/>
              <a:gd name="connsiteX5" fmla="*/ 73817 w 2559842"/>
              <a:gd name="connsiteY5" fmla="*/ 63196 h 1099040"/>
              <a:gd name="connsiteX6" fmla="*/ 78579 w 2559842"/>
              <a:gd name="connsiteY6" fmla="*/ 63196 h 1099040"/>
              <a:gd name="connsiteX7" fmla="*/ 78579 w 2559842"/>
              <a:gd name="connsiteY7" fmla="*/ 77483 h 1099040"/>
              <a:gd name="connsiteX8" fmla="*/ 85723 w 2559842"/>
              <a:gd name="connsiteY8" fmla="*/ 77483 h 1099040"/>
              <a:gd name="connsiteX9" fmla="*/ 85723 w 2559842"/>
              <a:gd name="connsiteY9" fmla="*/ 91771 h 1099040"/>
              <a:gd name="connsiteX10" fmla="*/ 100011 w 2559842"/>
              <a:gd name="connsiteY10" fmla="*/ 91771 h 1099040"/>
              <a:gd name="connsiteX11" fmla="*/ 100011 w 2559842"/>
              <a:gd name="connsiteY11" fmla="*/ 103677 h 1099040"/>
              <a:gd name="connsiteX12" fmla="*/ 111917 w 2559842"/>
              <a:gd name="connsiteY12" fmla="*/ 103677 h 1099040"/>
              <a:gd name="connsiteX13" fmla="*/ 111917 w 2559842"/>
              <a:gd name="connsiteY13" fmla="*/ 120346 h 1099040"/>
              <a:gd name="connsiteX14" fmla="*/ 126204 w 2559842"/>
              <a:gd name="connsiteY14" fmla="*/ 120346 h 1099040"/>
              <a:gd name="connsiteX15" fmla="*/ 126204 w 2559842"/>
              <a:gd name="connsiteY15" fmla="*/ 129871 h 1099040"/>
              <a:gd name="connsiteX16" fmla="*/ 135729 w 2559842"/>
              <a:gd name="connsiteY16" fmla="*/ 129871 h 1099040"/>
              <a:gd name="connsiteX17" fmla="*/ 135729 w 2559842"/>
              <a:gd name="connsiteY17" fmla="*/ 153683 h 1099040"/>
              <a:gd name="connsiteX18" fmla="*/ 145254 w 2559842"/>
              <a:gd name="connsiteY18" fmla="*/ 153683 h 1099040"/>
              <a:gd name="connsiteX19" fmla="*/ 145254 w 2559842"/>
              <a:gd name="connsiteY19" fmla="*/ 189402 h 1099040"/>
              <a:gd name="connsiteX20" fmla="*/ 145254 w 2559842"/>
              <a:gd name="connsiteY20" fmla="*/ 232265 h 1099040"/>
              <a:gd name="connsiteX21" fmla="*/ 152398 w 2559842"/>
              <a:gd name="connsiteY21" fmla="*/ 232265 h 1099040"/>
              <a:gd name="connsiteX22" fmla="*/ 152398 w 2559842"/>
              <a:gd name="connsiteY22" fmla="*/ 279890 h 1099040"/>
              <a:gd name="connsiteX23" fmla="*/ 157161 w 2559842"/>
              <a:gd name="connsiteY23" fmla="*/ 279890 h 1099040"/>
              <a:gd name="connsiteX24" fmla="*/ 157161 w 2559842"/>
              <a:gd name="connsiteY24" fmla="*/ 298940 h 1099040"/>
              <a:gd name="connsiteX25" fmla="*/ 164304 w 2559842"/>
              <a:gd name="connsiteY25" fmla="*/ 298940 h 1099040"/>
              <a:gd name="connsiteX26" fmla="*/ 164304 w 2559842"/>
              <a:gd name="connsiteY26" fmla="*/ 325133 h 1099040"/>
              <a:gd name="connsiteX27" fmla="*/ 164304 w 2559842"/>
              <a:gd name="connsiteY27" fmla="*/ 327515 h 1099040"/>
              <a:gd name="connsiteX28" fmla="*/ 164304 w 2559842"/>
              <a:gd name="connsiteY28" fmla="*/ 365615 h 1099040"/>
              <a:gd name="connsiteX29" fmla="*/ 176211 w 2559842"/>
              <a:gd name="connsiteY29" fmla="*/ 365615 h 1099040"/>
              <a:gd name="connsiteX30" fmla="*/ 176211 w 2559842"/>
              <a:gd name="connsiteY30" fmla="*/ 382283 h 1099040"/>
              <a:gd name="connsiteX31" fmla="*/ 183354 w 2559842"/>
              <a:gd name="connsiteY31" fmla="*/ 382283 h 1099040"/>
              <a:gd name="connsiteX32" fmla="*/ 183354 w 2559842"/>
              <a:gd name="connsiteY32" fmla="*/ 391808 h 1099040"/>
              <a:gd name="connsiteX33" fmla="*/ 211929 w 2559842"/>
              <a:gd name="connsiteY33" fmla="*/ 391808 h 1099040"/>
              <a:gd name="connsiteX34" fmla="*/ 214311 w 2559842"/>
              <a:gd name="connsiteY34" fmla="*/ 394190 h 1099040"/>
              <a:gd name="connsiteX35" fmla="*/ 226217 w 2559842"/>
              <a:gd name="connsiteY35" fmla="*/ 394190 h 1099040"/>
              <a:gd name="connsiteX36" fmla="*/ 226217 w 2559842"/>
              <a:gd name="connsiteY36" fmla="*/ 432290 h 1099040"/>
              <a:gd name="connsiteX37" fmla="*/ 283367 w 2559842"/>
              <a:gd name="connsiteY37" fmla="*/ 432290 h 1099040"/>
              <a:gd name="connsiteX38" fmla="*/ 283367 w 2559842"/>
              <a:gd name="connsiteY38" fmla="*/ 456102 h 1099040"/>
              <a:gd name="connsiteX39" fmla="*/ 290511 w 2559842"/>
              <a:gd name="connsiteY39" fmla="*/ 456102 h 1099040"/>
              <a:gd name="connsiteX40" fmla="*/ 290511 w 2559842"/>
              <a:gd name="connsiteY40" fmla="*/ 470390 h 1099040"/>
              <a:gd name="connsiteX41" fmla="*/ 304798 w 2559842"/>
              <a:gd name="connsiteY41" fmla="*/ 470390 h 1099040"/>
              <a:gd name="connsiteX42" fmla="*/ 304798 w 2559842"/>
              <a:gd name="connsiteY42" fmla="*/ 479915 h 1099040"/>
              <a:gd name="connsiteX43" fmla="*/ 330992 w 2559842"/>
              <a:gd name="connsiteY43" fmla="*/ 479915 h 1099040"/>
              <a:gd name="connsiteX44" fmla="*/ 335754 w 2559842"/>
              <a:gd name="connsiteY44" fmla="*/ 484677 h 1099040"/>
              <a:gd name="connsiteX45" fmla="*/ 369092 w 2559842"/>
              <a:gd name="connsiteY45" fmla="*/ 484677 h 1099040"/>
              <a:gd name="connsiteX46" fmla="*/ 369092 w 2559842"/>
              <a:gd name="connsiteY46" fmla="*/ 496583 h 1099040"/>
              <a:gd name="connsiteX47" fmla="*/ 383379 w 2559842"/>
              <a:gd name="connsiteY47" fmla="*/ 496583 h 1099040"/>
              <a:gd name="connsiteX48" fmla="*/ 383379 w 2559842"/>
              <a:gd name="connsiteY48" fmla="*/ 563258 h 1099040"/>
              <a:gd name="connsiteX49" fmla="*/ 392904 w 2559842"/>
              <a:gd name="connsiteY49" fmla="*/ 563258 h 1099040"/>
              <a:gd name="connsiteX50" fmla="*/ 392904 w 2559842"/>
              <a:gd name="connsiteY50" fmla="*/ 577546 h 1099040"/>
              <a:gd name="connsiteX51" fmla="*/ 402429 w 2559842"/>
              <a:gd name="connsiteY51" fmla="*/ 577546 h 1099040"/>
              <a:gd name="connsiteX52" fmla="*/ 402429 w 2559842"/>
              <a:gd name="connsiteY52" fmla="*/ 625171 h 1099040"/>
              <a:gd name="connsiteX53" fmla="*/ 402429 w 2559842"/>
              <a:gd name="connsiteY53" fmla="*/ 625171 h 1099040"/>
              <a:gd name="connsiteX54" fmla="*/ 414335 w 2559842"/>
              <a:gd name="connsiteY54" fmla="*/ 637077 h 1099040"/>
              <a:gd name="connsiteX55" fmla="*/ 426242 w 2559842"/>
              <a:gd name="connsiteY55" fmla="*/ 637077 h 1099040"/>
              <a:gd name="connsiteX56" fmla="*/ 426242 w 2559842"/>
              <a:gd name="connsiteY56" fmla="*/ 658508 h 1099040"/>
              <a:gd name="connsiteX57" fmla="*/ 440529 w 2559842"/>
              <a:gd name="connsiteY57" fmla="*/ 658508 h 1099040"/>
              <a:gd name="connsiteX58" fmla="*/ 440529 w 2559842"/>
              <a:gd name="connsiteY58" fmla="*/ 670415 h 1099040"/>
              <a:gd name="connsiteX59" fmla="*/ 454817 w 2559842"/>
              <a:gd name="connsiteY59" fmla="*/ 670415 h 1099040"/>
              <a:gd name="connsiteX60" fmla="*/ 454817 w 2559842"/>
              <a:gd name="connsiteY60" fmla="*/ 677558 h 1099040"/>
              <a:gd name="connsiteX61" fmla="*/ 509586 w 2559842"/>
              <a:gd name="connsiteY61" fmla="*/ 677558 h 1099040"/>
              <a:gd name="connsiteX62" fmla="*/ 516729 w 2559842"/>
              <a:gd name="connsiteY62" fmla="*/ 684701 h 1099040"/>
              <a:gd name="connsiteX63" fmla="*/ 545304 w 2559842"/>
              <a:gd name="connsiteY63" fmla="*/ 684701 h 1099040"/>
              <a:gd name="connsiteX64" fmla="*/ 545304 w 2559842"/>
              <a:gd name="connsiteY64" fmla="*/ 698990 h 1099040"/>
              <a:gd name="connsiteX65" fmla="*/ 561973 w 2559842"/>
              <a:gd name="connsiteY65" fmla="*/ 698990 h 1099040"/>
              <a:gd name="connsiteX66" fmla="*/ 561973 w 2559842"/>
              <a:gd name="connsiteY66" fmla="*/ 713277 h 1099040"/>
              <a:gd name="connsiteX67" fmla="*/ 585786 w 2559842"/>
              <a:gd name="connsiteY67" fmla="*/ 713277 h 1099040"/>
              <a:gd name="connsiteX68" fmla="*/ 585786 w 2559842"/>
              <a:gd name="connsiteY68" fmla="*/ 718040 h 1099040"/>
              <a:gd name="connsiteX69" fmla="*/ 611979 w 2559842"/>
              <a:gd name="connsiteY69" fmla="*/ 718040 h 1099040"/>
              <a:gd name="connsiteX70" fmla="*/ 611979 w 2559842"/>
              <a:gd name="connsiteY70" fmla="*/ 727565 h 1099040"/>
              <a:gd name="connsiteX71" fmla="*/ 626267 w 2559842"/>
              <a:gd name="connsiteY71" fmla="*/ 727565 h 1099040"/>
              <a:gd name="connsiteX72" fmla="*/ 626267 w 2559842"/>
              <a:gd name="connsiteY72" fmla="*/ 739471 h 1099040"/>
              <a:gd name="connsiteX73" fmla="*/ 647698 w 2559842"/>
              <a:gd name="connsiteY73" fmla="*/ 739471 h 1099040"/>
              <a:gd name="connsiteX74" fmla="*/ 647698 w 2559842"/>
              <a:gd name="connsiteY74" fmla="*/ 751377 h 1099040"/>
              <a:gd name="connsiteX75" fmla="*/ 666748 w 2559842"/>
              <a:gd name="connsiteY75" fmla="*/ 751377 h 1099040"/>
              <a:gd name="connsiteX76" fmla="*/ 666748 w 2559842"/>
              <a:gd name="connsiteY76" fmla="*/ 765665 h 1099040"/>
              <a:gd name="connsiteX77" fmla="*/ 671511 w 2559842"/>
              <a:gd name="connsiteY77" fmla="*/ 765665 h 1099040"/>
              <a:gd name="connsiteX78" fmla="*/ 671511 w 2559842"/>
              <a:gd name="connsiteY78" fmla="*/ 770427 h 1099040"/>
              <a:gd name="connsiteX79" fmla="*/ 783429 w 2559842"/>
              <a:gd name="connsiteY79" fmla="*/ 770427 h 1099040"/>
              <a:gd name="connsiteX80" fmla="*/ 783429 w 2559842"/>
              <a:gd name="connsiteY80" fmla="*/ 779952 h 1099040"/>
              <a:gd name="connsiteX81" fmla="*/ 831054 w 2559842"/>
              <a:gd name="connsiteY81" fmla="*/ 779952 h 1099040"/>
              <a:gd name="connsiteX82" fmla="*/ 831054 w 2559842"/>
              <a:gd name="connsiteY82" fmla="*/ 799002 h 1099040"/>
              <a:gd name="connsiteX83" fmla="*/ 881061 w 2559842"/>
              <a:gd name="connsiteY83" fmla="*/ 799002 h 1099040"/>
              <a:gd name="connsiteX84" fmla="*/ 881061 w 2559842"/>
              <a:gd name="connsiteY84" fmla="*/ 799002 h 1099040"/>
              <a:gd name="connsiteX85" fmla="*/ 895349 w 2559842"/>
              <a:gd name="connsiteY85" fmla="*/ 813290 h 1099040"/>
              <a:gd name="connsiteX86" fmla="*/ 902492 w 2559842"/>
              <a:gd name="connsiteY86" fmla="*/ 820433 h 1099040"/>
              <a:gd name="connsiteX87" fmla="*/ 945354 w 2559842"/>
              <a:gd name="connsiteY87" fmla="*/ 820433 h 1099040"/>
              <a:gd name="connsiteX88" fmla="*/ 945354 w 2559842"/>
              <a:gd name="connsiteY88" fmla="*/ 849008 h 1099040"/>
              <a:gd name="connsiteX89" fmla="*/ 1181098 w 2559842"/>
              <a:gd name="connsiteY89" fmla="*/ 849008 h 1099040"/>
              <a:gd name="connsiteX90" fmla="*/ 1181098 w 2559842"/>
              <a:gd name="connsiteY90" fmla="*/ 870440 h 1099040"/>
              <a:gd name="connsiteX91" fmla="*/ 1364454 w 2559842"/>
              <a:gd name="connsiteY91" fmla="*/ 870440 h 1099040"/>
              <a:gd name="connsiteX92" fmla="*/ 1364454 w 2559842"/>
              <a:gd name="connsiteY92" fmla="*/ 887108 h 1099040"/>
              <a:gd name="connsiteX93" fmla="*/ 1454942 w 2559842"/>
              <a:gd name="connsiteY93" fmla="*/ 887108 h 1099040"/>
              <a:gd name="connsiteX94" fmla="*/ 1454942 w 2559842"/>
              <a:gd name="connsiteY94" fmla="*/ 908540 h 1099040"/>
              <a:gd name="connsiteX95" fmla="*/ 1728786 w 2559842"/>
              <a:gd name="connsiteY95" fmla="*/ 908540 h 1099040"/>
              <a:gd name="connsiteX96" fmla="*/ 1728786 w 2559842"/>
              <a:gd name="connsiteY96" fmla="*/ 932352 h 1099040"/>
              <a:gd name="connsiteX97" fmla="*/ 1816892 w 2559842"/>
              <a:gd name="connsiteY97" fmla="*/ 932352 h 1099040"/>
              <a:gd name="connsiteX98" fmla="*/ 1816892 w 2559842"/>
              <a:gd name="connsiteY98" fmla="*/ 965690 h 1099040"/>
              <a:gd name="connsiteX99" fmla="*/ 2057398 w 2559842"/>
              <a:gd name="connsiteY99" fmla="*/ 965690 h 1099040"/>
              <a:gd name="connsiteX100" fmla="*/ 2057398 w 2559842"/>
              <a:gd name="connsiteY100" fmla="*/ 1001408 h 1099040"/>
              <a:gd name="connsiteX101" fmla="*/ 2102642 w 2559842"/>
              <a:gd name="connsiteY101" fmla="*/ 1001408 h 1099040"/>
              <a:gd name="connsiteX102" fmla="*/ 2102642 w 2559842"/>
              <a:gd name="connsiteY102" fmla="*/ 1032365 h 1099040"/>
              <a:gd name="connsiteX103" fmla="*/ 2288379 w 2559842"/>
              <a:gd name="connsiteY103" fmla="*/ 1032365 h 1099040"/>
              <a:gd name="connsiteX104" fmla="*/ 2288379 w 2559842"/>
              <a:gd name="connsiteY104" fmla="*/ 1099040 h 1099040"/>
              <a:gd name="connsiteX105" fmla="*/ 2559842 w 2559842"/>
              <a:gd name="connsiteY105" fmla="*/ 1099040 h 1099040"/>
              <a:gd name="connsiteX0" fmla="*/ 0 w 2559842"/>
              <a:gd name="connsiteY0" fmla="*/ 10808 h 1099040"/>
              <a:gd name="connsiteX1" fmla="*/ 9101 w 2559842"/>
              <a:gd name="connsiteY1" fmla="*/ 11200 h 1099040"/>
              <a:gd name="connsiteX2" fmla="*/ 57149 w 2559842"/>
              <a:gd name="connsiteY2" fmla="*/ 17953 h 1099040"/>
              <a:gd name="connsiteX3" fmla="*/ 54767 w 2559842"/>
              <a:gd name="connsiteY3" fmla="*/ 56052 h 1099040"/>
              <a:gd name="connsiteX4" fmla="*/ 73817 w 2559842"/>
              <a:gd name="connsiteY4" fmla="*/ 56052 h 1099040"/>
              <a:gd name="connsiteX5" fmla="*/ 73817 w 2559842"/>
              <a:gd name="connsiteY5" fmla="*/ 63196 h 1099040"/>
              <a:gd name="connsiteX6" fmla="*/ 78579 w 2559842"/>
              <a:gd name="connsiteY6" fmla="*/ 63196 h 1099040"/>
              <a:gd name="connsiteX7" fmla="*/ 78579 w 2559842"/>
              <a:gd name="connsiteY7" fmla="*/ 77483 h 1099040"/>
              <a:gd name="connsiteX8" fmla="*/ 85723 w 2559842"/>
              <a:gd name="connsiteY8" fmla="*/ 77483 h 1099040"/>
              <a:gd name="connsiteX9" fmla="*/ 85723 w 2559842"/>
              <a:gd name="connsiteY9" fmla="*/ 91771 h 1099040"/>
              <a:gd name="connsiteX10" fmla="*/ 100011 w 2559842"/>
              <a:gd name="connsiteY10" fmla="*/ 91771 h 1099040"/>
              <a:gd name="connsiteX11" fmla="*/ 100011 w 2559842"/>
              <a:gd name="connsiteY11" fmla="*/ 103677 h 1099040"/>
              <a:gd name="connsiteX12" fmla="*/ 111917 w 2559842"/>
              <a:gd name="connsiteY12" fmla="*/ 103677 h 1099040"/>
              <a:gd name="connsiteX13" fmla="*/ 111917 w 2559842"/>
              <a:gd name="connsiteY13" fmla="*/ 120346 h 1099040"/>
              <a:gd name="connsiteX14" fmla="*/ 126204 w 2559842"/>
              <a:gd name="connsiteY14" fmla="*/ 120346 h 1099040"/>
              <a:gd name="connsiteX15" fmla="*/ 126204 w 2559842"/>
              <a:gd name="connsiteY15" fmla="*/ 129871 h 1099040"/>
              <a:gd name="connsiteX16" fmla="*/ 135729 w 2559842"/>
              <a:gd name="connsiteY16" fmla="*/ 129871 h 1099040"/>
              <a:gd name="connsiteX17" fmla="*/ 135729 w 2559842"/>
              <a:gd name="connsiteY17" fmla="*/ 153683 h 1099040"/>
              <a:gd name="connsiteX18" fmla="*/ 145254 w 2559842"/>
              <a:gd name="connsiteY18" fmla="*/ 153683 h 1099040"/>
              <a:gd name="connsiteX19" fmla="*/ 145254 w 2559842"/>
              <a:gd name="connsiteY19" fmla="*/ 189402 h 1099040"/>
              <a:gd name="connsiteX20" fmla="*/ 145254 w 2559842"/>
              <a:gd name="connsiteY20" fmla="*/ 232265 h 1099040"/>
              <a:gd name="connsiteX21" fmla="*/ 152398 w 2559842"/>
              <a:gd name="connsiteY21" fmla="*/ 232265 h 1099040"/>
              <a:gd name="connsiteX22" fmla="*/ 152398 w 2559842"/>
              <a:gd name="connsiteY22" fmla="*/ 279890 h 1099040"/>
              <a:gd name="connsiteX23" fmla="*/ 157161 w 2559842"/>
              <a:gd name="connsiteY23" fmla="*/ 279890 h 1099040"/>
              <a:gd name="connsiteX24" fmla="*/ 157161 w 2559842"/>
              <a:gd name="connsiteY24" fmla="*/ 298940 h 1099040"/>
              <a:gd name="connsiteX25" fmla="*/ 164304 w 2559842"/>
              <a:gd name="connsiteY25" fmla="*/ 298940 h 1099040"/>
              <a:gd name="connsiteX26" fmla="*/ 164304 w 2559842"/>
              <a:gd name="connsiteY26" fmla="*/ 325133 h 1099040"/>
              <a:gd name="connsiteX27" fmla="*/ 164304 w 2559842"/>
              <a:gd name="connsiteY27" fmla="*/ 327515 h 1099040"/>
              <a:gd name="connsiteX28" fmla="*/ 164304 w 2559842"/>
              <a:gd name="connsiteY28" fmla="*/ 365615 h 1099040"/>
              <a:gd name="connsiteX29" fmla="*/ 176211 w 2559842"/>
              <a:gd name="connsiteY29" fmla="*/ 365615 h 1099040"/>
              <a:gd name="connsiteX30" fmla="*/ 176211 w 2559842"/>
              <a:gd name="connsiteY30" fmla="*/ 382283 h 1099040"/>
              <a:gd name="connsiteX31" fmla="*/ 183354 w 2559842"/>
              <a:gd name="connsiteY31" fmla="*/ 382283 h 1099040"/>
              <a:gd name="connsiteX32" fmla="*/ 183354 w 2559842"/>
              <a:gd name="connsiteY32" fmla="*/ 391808 h 1099040"/>
              <a:gd name="connsiteX33" fmla="*/ 211929 w 2559842"/>
              <a:gd name="connsiteY33" fmla="*/ 391808 h 1099040"/>
              <a:gd name="connsiteX34" fmla="*/ 214311 w 2559842"/>
              <a:gd name="connsiteY34" fmla="*/ 394190 h 1099040"/>
              <a:gd name="connsiteX35" fmla="*/ 226217 w 2559842"/>
              <a:gd name="connsiteY35" fmla="*/ 394190 h 1099040"/>
              <a:gd name="connsiteX36" fmla="*/ 226217 w 2559842"/>
              <a:gd name="connsiteY36" fmla="*/ 432290 h 1099040"/>
              <a:gd name="connsiteX37" fmla="*/ 283367 w 2559842"/>
              <a:gd name="connsiteY37" fmla="*/ 432290 h 1099040"/>
              <a:gd name="connsiteX38" fmla="*/ 283367 w 2559842"/>
              <a:gd name="connsiteY38" fmla="*/ 456102 h 1099040"/>
              <a:gd name="connsiteX39" fmla="*/ 290511 w 2559842"/>
              <a:gd name="connsiteY39" fmla="*/ 456102 h 1099040"/>
              <a:gd name="connsiteX40" fmla="*/ 290511 w 2559842"/>
              <a:gd name="connsiteY40" fmla="*/ 470390 h 1099040"/>
              <a:gd name="connsiteX41" fmla="*/ 304798 w 2559842"/>
              <a:gd name="connsiteY41" fmla="*/ 470390 h 1099040"/>
              <a:gd name="connsiteX42" fmla="*/ 304798 w 2559842"/>
              <a:gd name="connsiteY42" fmla="*/ 479915 h 1099040"/>
              <a:gd name="connsiteX43" fmla="*/ 330992 w 2559842"/>
              <a:gd name="connsiteY43" fmla="*/ 479915 h 1099040"/>
              <a:gd name="connsiteX44" fmla="*/ 335754 w 2559842"/>
              <a:gd name="connsiteY44" fmla="*/ 484677 h 1099040"/>
              <a:gd name="connsiteX45" fmla="*/ 369092 w 2559842"/>
              <a:gd name="connsiteY45" fmla="*/ 484677 h 1099040"/>
              <a:gd name="connsiteX46" fmla="*/ 369092 w 2559842"/>
              <a:gd name="connsiteY46" fmla="*/ 496583 h 1099040"/>
              <a:gd name="connsiteX47" fmla="*/ 383379 w 2559842"/>
              <a:gd name="connsiteY47" fmla="*/ 496583 h 1099040"/>
              <a:gd name="connsiteX48" fmla="*/ 383379 w 2559842"/>
              <a:gd name="connsiteY48" fmla="*/ 563258 h 1099040"/>
              <a:gd name="connsiteX49" fmla="*/ 392904 w 2559842"/>
              <a:gd name="connsiteY49" fmla="*/ 563258 h 1099040"/>
              <a:gd name="connsiteX50" fmla="*/ 392904 w 2559842"/>
              <a:gd name="connsiteY50" fmla="*/ 577546 h 1099040"/>
              <a:gd name="connsiteX51" fmla="*/ 402429 w 2559842"/>
              <a:gd name="connsiteY51" fmla="*/ 577546 h 1099040"/>
              <a:gd name="connsiteX52" fmla="*/ 402429 w 2559842"/>
              <a:gd name="connsiteY52" fmla="*/ 625171 h 1099040"/>
              <a:gd name="connsiteX53" fmla="*/ 402429 w 2559842"/>
              <a:gd name="connsiteY53" fmla="*/ 625171 h 1099040"/>
              <a:gd name="connsiteX54" fmla="*/ 414335 w 2559842"/>
              <a:gd name="connsiteY54" fmla="*/ 637077 h 1099040"/>
              <a:gd name="connsiteX55" fmla="*/ 426242 w 2559842"/>
              <a:gd name="connsiteY55" fmla="*/ 637077 h 1099040"/>
              <a:gd name="connsiteX56" fmla="*/ 426242 w 2559842"/>
              <a:gd name="connsiteY56" fmla="*/ 658508 h 1099040"/>
              <a:gd name="connsiteX57" fmla="*/ 440529 w 2559842"/>
              <a:gd name="connsiteY57" fmla="*/ 658508 h 1099040"/>
              <a:gd name="connsiteX58" fmla="*/ 440529 w 2559842"/>
              <a:gd name="connsiteY58" fmla="*/ 670415 h 1099040"/>
              <a:gd name="connsiteX59" fmla="*/ 454817 w 2559842"/>
              <a:gd name="connsiteY59" fmla="*/ 670415 h 1099040"/>
              <a:gd name="connsiteX60" fmla="*/ 454817 w 2559842"/>
              <a:gd name="connsiteY60" fmla="*/ 677558 h 1099040"/>
              <a:gd name="connsiteX61" fmla="*/ 509586 w 2559842"/>
              <a:gd name="connsiteY61" fmla="*/ 677558 h 1099040"/>
              <a:gd name="connsiteX62" fmla="*/ 516729 w 2559842"/>
              <a:gd name="connsiteY62" fmla="*/ 684701 h 1099040"/>
              <a:gd name="connsiteX63" fmla="*/ 545304 w 2559842"/>
              <a:gd name="connsiteY63" fmla="*/ 684701 h 1099040"/>
              <a:gd name="connsiteX64" fmla="*/ 545304 w 2559842"/>
              <a:gd name="connsiteY64" fmla="*/ 698990 h 1099040"/>
              <a:gd name="connsiteX65" fmla="*/ 561973 w 2559842"/>
              <a:gd name="connsiteY65" fmla="*/ 698990 h 1099040"/>
              <a:gd name="connsiteX66" fmla="*/ 561973 w 2559842"/>
              <a:gd name="connsiteY66" fmla="*/ 713277 h 1099040"/>
              <a:gd name="connsiteX67" fmla="*/ 585786 w 2559842"/>
              <a:gd name="connsiteY67" fmla="*/ 713277 h 1099040"/>
              <a:gd name="connsiteX68" fmla="*/ 585786 w 2559842"/>
              <a:gd name="connsiteY68" fmla="*/ 718040 h 1099040"/>
              <a:gd name="connsiteX69" fmla="*/ 611979 w 2559842"/>
              <a:gd name="connsiteY69" fmla="*/ 718040 h 1099040"/>
              <a:gd name="connsiteX70" fmla="*/ 611979 w 2559842"/>
              <a:gd name="connsiteY70" fmla="*/ 727565 h 1099040"/>
              <a:gd name="connsiteX71" fmla="*/ 626267 w 2559842"/>
              <a:gd name="connsiteY71" fmla="*/ 727565 h 1099040"/>
              <a:gd name="connsiteX72" fmla="*/ 626267 w 2559842"/>
              <a:gd name="connsiteY72" fmla="*/ 739471 h 1099040"/>
              <a:gd name="connsiteX73" fmla="*/ 647698 w 2559842"/>
              <a:gd name="connsiteY73" fmla="*/ 739471 h 1099040"/>
              <a:gd name="connsiteX74" fmla="*/ 647698 w 2559842"/>
              <a:gd name="connsiteY74" fmla="*/ 751377 h 1099040"/>
              <a:gd name="connsiteX75" fmla="*/ 666748 w 2559842"/>
              <a:gd name="connsiteY75" fmla="*/ 751377 h 1099040"/>
              <a:gd name="connsiteX76" fmla="*/ 666748 w 2559842"/>
              <a:gd name="connsiteY76" fmla="*/ 765665 h 1099040"/>
              <a:gd name="connsiteX77" fmla="*/ 671511 w 2559842"/>
              <a:gd name="connsiteY77" fmla="*/ 765665 h 1099040"/>
              <a:gd name="connsiteX78" fmla="*/ 671511 w 2559842"/>
              <a:gd name="connsiteY78" fmla="*/ 770427 h 1099040"/>
              <a:gd name="connsiteX79" fmla="*/ 783429 w 2559842"/>
              <a:gd name="connsiteY79" fmla="*/ 770427 h 1099040"/>
              <a:gd name="connsiteX80" fmla="*/ 783429 w 2559842"/>
              <a:gd name="connsiteY80" fmla="*/ 779952 h 1099040"/>
              <a:gd name="connsiteX81" fmla="*/ 831054 w 2559842"/>
              <a:gd name="connsiteY81" fmla="*/ 779952 h 1099040"/>
              <a:gd name="connsiteX82" fmla="*/ 831054 w 2559842"/>
              <a:gd name="connsiteY82" fmla="*/ 799002 h 1099040"/>
              <a:gd name="connsiteX83" fmla="*/ 881061 w 2559842"/>
              <a:gd name="connsiteY83" fmla="*/ 799002 h 1099040"/>
              <a:gd name="connsiteX84" fmla="*/ 881061 w 2559842"/>
              <a:gd name="connsiteY84" fmla="*/ 799002 h 1099040"/>
              <a:gd name="connsiteX85" fmla="*/ 895349 w 2559842"/>
              <a:gd name="connsiteY85" fmla="*/ 813290 h 1099040"/>
              <a:gd name="connsiteX86" fmla="*/ 902492 w 2559842"/>
              <a:gd name="connsiteY86" fmla="*/ 820433 h 1099040"/>
              <a:gd name="connsiteX87" fmla="*/ 945354 w 2559842"/>
              <a:gd name="connsiteY87" fmla="*/ 820433 h 1099040"/>
              <a:gd name="connsiteX88" fmla="*/ 945354 w 2559842"/>
              <a:gd name="connsiteY88" fmla="*/ 849008 h 1099040"/>
              <a:gd name="connsiteX89" fmla="*/ 1181098 w 2559842"/>
              <a:gd name="connsiteY89" fmla="*/ 849008 h 1099040"/>
              <a:gd name="connsiteX90" fmla="*/ 1181098 w 2559842"/>
              <a:gd name="connsiteY90" fmla="*/ 870440 h 1099040"/>
              <a:gd name="connsiteX91" fmla="*/ 1364454 w 2559842"/>
              <a:gd name="connsiteY91" fmla="*/ 870440 h 1099040"/>
              <a:gd name="connsiteX92" fmla="*/ 1364454 w 2559842"/>
              <a:gd name="connsiteY92" fmla="*/ 887108 h 1099040"/>
              <a:gd name="connsiteX93" fmla="*/ 1454942 w 2559842"/>
              <a:gd name="connsiteY93" fmla="*/ 887108 h 1099040"/>
              <a:gd name="connsiteX94" fmla="*/ 1454942 w 2559842"/>
              <a:gd name="connsiteY94" fmla="*/ 908540 h 1099040"/>
              <a:gd name="connsiteX95" fmla="*/ 1728786 w 2559842"/>
              <a:gd name="connsiteY95" fmla="*/ 908540 h 1099040"/>
              <a:gd name="connsiteX96" fmla="*/ 1728786 w 2559842"/>
              <a:gd name="connsiteY96" fmla="*/ 932352 h 1099040"/>
              <a:gd name="connsiteX97" fmla="*/ 1816892 w 2559842"/>
              <a:gd name="connsiteY97" fmla="*/ 932352 h 1099040"/>
              <a:gd name="connsiteX98" fmla="*/ 1816892 w 2559842"/>
              <a:gd name="connsiteY98" fmla="*/ 965690 h 1099040"/>
              <a:gd name="connsiteX99" fmla="*/ 2057398 w 2559842"/>
              <a:gd name="connsiteY99" fmla="*/ 965690 h 1099040"/>
              <a:gd name="connsiteX100" fmla="*/ 2057398 w 2559842"/>
              <a:gd name="connsiteY100" fmla="*/ 1001408 h 1099040"/>
              <a:gd name="connsiteX101" fmla="*/ 2102642 w 2559842"/>
              <a:gd name="connsiteY101" fmla="*/ 1001408 h 1099040"/>
              <a:gd name="connsiteX102" fmla="*/ 2102642 w 2559842"/>
              <a:gd name="connsiteY102" fmla="*/ 1032365 h 1099040"/>
              <a:gd name="connsiteX103" fmla="*/ 2288379 w 2559842"/>
              <a:gd name="connsiteY103" fmla="*/ 1032365 h 1099040"/>
              <a:gd name="connsiteX104" fmla="*/ 2288379 w 2559842"/>
              <a:gd name="connsiteY104" fmla="*/ 1099040 h 1099040"/>
              <a:gd name="connsiteX105" fmla="*/ 2559842 w 2559842"/>
              <a:gd name="connsiteY105" fmla="*/ 1099040 h 1099040"/>
              <a:gd name="connsiteX0" fmla="*/ 0 w 2559842"/>
              <a:gd name="connsiteY0" fmla="*/ 10808 h 1099040"/>
              <a:gd name="connsiteX1" fmla="*/ 9101 w 2559842"/>
              <a:gd name="connsiteY1" fmla="*/ 11200 h 1099040"/>
              <a:gd name="connsiteX2" fmla="*/ 57149 w 2559842"/>
              <a:gd name="connsiteY2" fmla="*/ 17953 h 1099040"/>
              <a:gd name="connsiteX3" fmla="*/ 54767 w 2559842"/>
              <a:gd name="connsiteY3" fmla="*/ 56052 h 1099040"/>
              <a:gd name="connsiteX4" fmla="*/ 73817 w 2559842"/>
              <a:gd name="connsiteY4" fmla="*/ 56052 h 1099040"/>
              <a:gd name="connsiteX5" fmla="*/ 73817 w 2559842"/>
              <a:gd name="connsiteY5" fmla="*/ 63196 h 1099040"/>
              <a:gd name="connsiteX6" fmla="*/ 78579 w 2559842"/>
              <a:gd name="connsiteY6" fmla="*/ 63196 h 1099040"/>
              <a:gd name="connsiteX7" fmla="*/ 78579 w 2559842"/>
              <a:gd name="connsiteY7" fmla="*/ 77483 h 1099040"/>
              <a:gd name="connsiteX8" fmla="*/ 85723 w 2559842"/>
              <a:gd name="connsiteY8" fmla="*/ 77483 h 1099040"/>
              <a:gd name="connsiteX9" fmla="*/ 85723 w 2559842"/>
              <a:gd name="connsiteY9" fmla="*/ 91771 h 1099040"/>
              <a:gd name="connsiteX10" fmla="*/ 100011 w 2559842"/>
              <a:gd name="connsiteY10" fmla="*/ 91771 h 1099040"/>
              <a:gd name="connsiteX11" fmla="*/ 100011 w 2559842"/>
              <a:gd name="connsiteY11" fmla="*/ 103677 h 1099040"/>
              <a:gd name="connsiteX12" fmla="*/ 111917 w 2559842"/>
              <a:gd name="connsiteY12" fmla="*/ 103677 h 1099040"/>
              <a:gd name="connsiteX13" fmla="*/ 111917 w 2559842"/>
              <a:gd name="connsiteY13" fmla="*/ 120346 h 1099040"/>
              <a:gd name="connsiteX14" fmla="*/ 126204 w 2559842"/>
              <a:gd name="connsiteY14" fmla="*/ 120346 h 1099040"/>
              <a:gd name="connsiteX15" fmla="*/ 126204 w 2559842"/>
              <a:gd name="connsiteY15" fmla="*/ 129871 h 1099040"/>
              <a:gd name="connsiteX16" fmla="*/ 135729 w 2559842"/>
              <a:gd name="connsiteY16" fmla="*/ 129871 h 1099040"/>
              <a:gd name="connsiteX17" fmla="*/ 135729 w 2559842"/>
              <a:gd name="connsiteY17" fmla="*/ 153683 h 1099040"/>
              <a:gd name="connsiteX18" fmla="*/ 145254 w 2559842"/>
              <a:gd name="connsiteY18" fmla="*/ 153683 h 1099040"/>
              <a:gd name="connsiteX19" fmla="*/ 145254 w 2559842"/>
              <a:gd name="connsiteY19" fmla="*/ 189402 h 1099040"/>
              <a:gd name="connsiteX20" fmla="*/ 145254 w 2559842"/>
              <a:gd name="connsiteY20" fmla="*/ 232265 h 1099040"/>
              <a:gd name="connsiteX21" fmla="*/ 152398 w 2559842"/>
              <a:gd name="connsiteY21" fmla="*/ 232265 h 1099040"/>
              <a:gd name="connsiteX22" fmla="*/ 152398 w 2559842"/>
              <a:gd name="connsiteY22" fmla="*/ 279890 h 1099040"/>
              <a:gd name="connsiteX23" fmla="*/ 157161 w 2559842"/>
              <a:gd name="connsiteY23" fmla="*/ 279890 h 1099040"/>
              <a:gd name="connsiteX24" fmla="*/ 157161 w 2559842"/>
              <a:gd name="connsiteY24" fmla="*/ 298940 h 1099040"/>
              <a:gd name="connsiteX25" fmla="*/ 164304 w 2559842"/>
              <a:gd name="connsiteY25" fmla="*/ 298940 h 1099040"/>
              <a:gd name="connsiteX26" fmla="*/ 164304 w 2559842"/>
              <a:gd name="connsiteY26" fmla="*/ 325133 h 1099040"/>
              <a:gd name="connsiteX27" fmla="*/ 164304 w 2559842"/>
              <a:gd name="connsiteY27" fmla="*/ 327515 h 1099040"/>
              <a:gd name="connsiteX28" fmla="*/ 164304 w 2559842"/>
              <a:gd name="connsiteY28" fmla="*/ 365615 h 1099040"/>
              <a:gd name="connsiteX29" fmla="*/ 176211 w 2559842"/>
              <a:gd name="connsiteY29" fmla="*/ 365615 h 1099040"/>
              <a:gd name="connsiteX30" fmla="*/ 176211 w 2559842"/>
              <a:gd name="connsiteY30" fmla="*/ 382283 h 1099040"/>
              <a:gd name="connsiteX31" fmla="*/ 183354 w 2559842"/>
              <a:gd name="connsiteY31" fmla="*/ 382283 h 1099040"/>
              <a:gd name="connsiteX32" fmla="*/ 183354 w 2559842"/>
              <a:gd name="connsiteY32" fmla="*/ 391808 h 1099040"/>
              <a:gd name="connsiteX33" fmla="*/ 211929 w 2559842"/>
              <a:gd name="connsiteY33" fmla="*/ 391808 h 1099040"/>
              <a:gd name="connsiteX34" fmla="*/ 214311 w 2559842"/>
              <a:gd name="connsiteY34" fmla="*/ 394190 h 1099040"/>
              <a:gd name="connsiteX35" fmla="*/ 226217 w 2559842"/>
              <a:gd name="connsiteY35" fmla="*/ 394190 h 1099040"/>
              <a:gd name="connsiteX36" fmla="*/ 226217 w 2559842"/>
              <a:gd name="connsiteY36" fmla="*/ 432290 h 1099040"/>
              <a:gd name="connsiteX37" fmla="*/ 283367 w 2559842"/>
              <a:gd name="connsiteY37" fmla="*/ 432290 h 1099040"/>
              <a:gd name="connsiteX38" fmla="*/ 283367 w 2559842"/>
              <a:gd name="connsiteY38" fmla="*/ 456102 h 1099040"/>
              <a:gd name="connsiteX39" fmla="*/ 290511 w 2559842"/>
              <a:gd name="connsiteY39" fmla="*/ 456102 h 1099040"/>
              <a:gd name="connsiteX40" fmla="*/ 290511 w 2559842"/>
              <a:gd name="connsiteY40" fmla="*/ 470390 h 1099040"/>
              <a:gd name="connsiteX41" fmla="*/ 304798 w 2559842"/>
              <a:gd name="connsiteY41" fmla="*/ 470390 h 1099040"/>
              <a:gd name="connsiteX42" fmla="*/ 304798 w 2559842"/>
              <a:gd name="connsiteY42" fmla="*/ 479915 h 1099040"/>
              <a:gd name="connsiteX43" fmla="*/ 330992 w 2559842"/>
              <a:gd name="connsiteY43" fmla="*/ 479915 h 1099040"/>
              <a:gd name="connsiteX44" fmla="*/ 335754 w 2559842"/>
              <a:gd name="connsiteY44" fmla="*/ 484677 h 1099040"/>
              <a:gd name="connsiteX45" fmla="*/ 369092 w 2559842"/>
              <a:gd name="connsiteY45" fmla="*/ 484677 h 1099040"/>
              <a:gd name="connsiteX46" fmla="*/ 369092 w 2559842"/>
              <a:gd name="connsiteY46" fmla="*/ 496583 h 1099040"/>
              <a:gd name="connsiteX47" fmla="*/ 383379 w 2559842"/>
              <a:gd name="connsiteY47" fmla="*/ 496583 h 1099040"/>
              <a:gd name="connsiteX48" fmla="*/ 383379 w 2559842"/>
              <a:gd name="connsiteY48" fmla="*/ 563258 h 1099040"/>
              <a:gd name="connsiteX49" fmla="*/ 392904 w 2559842"/>
              <a:gd name="connsiteY49" fmla="*/ 563258 h 1099040"/>
              <a:gd name="connsiteX50" fmla="*/ 392904 w 2559842"/>
              <a:gd name="connsiteY50" fmla="*/ 577546 h 1099040"/>
              <a:gd name="connsiteX51" fmla="*/ 402429 w 2559842"/>
              <a:gd name="connsiteY51" fmla="*/ 577546 h 1099040"/>
              <a:gd name="connsiteX52" fmla="*/ 402429 w 2559842"/>
              <a:gd name="connsiteY52" fmla="*/ 625171 h 1099040"/>
              <a:gd name="connsiteX53" fmla="*/ 402429 w 2559842"/>
              <a:gd name="connsiteY53" fmla="*/ 625171 h 1099040"/>
              <a:gd name="connsiteX54" fmla="*/ 414335 w 2559842"/>
              <a:gd name="connsiteY54" fmla="*/ 637077 h 1099040"/>
              <a:gd name="connsiteX55" fmla="*/ 426242 w 2559842"/>
              <a:gd name="connsiteY55" fmla="*/ 637077 h 1099040"/>
              <a:gd name="connsiteX56" fmla="*/ 426242 w 2559842"/>
              <a:gd name="connsiteY56" fmla="*/ 658508 h 1099040"/>
              <a:gd name="connsiteX57" fmla="*/ 440529 w 2559842"/>
              <a:gd name="connsiteY57" fmla="*/ 658508 h 1099040"/>
              <a:gd name="connsiteX58" fmla="*/ 440529 w 2559842"/>
              <a:gd name="connsiteY58" fmla="*/ 670415 h 1099040"/>
              <a:gd name="connsiteX59" fmla="*/ 454817 w 2559842"/>
              <a:gd name="connsiteY59" fmla="*/ 670415 h 1099040"/>
              <a:gd name="connsiteX60" fmla="*/ 454817 w 2559842"/>
              <a:gd name="connsiteY60" fmla="*/ 677558 h 1099040"/>
              <a:gd name="connsiteX61" fmla="*/ 509586 w 2559842"/>
              <a:gd name="connsiteY61" fmla="*/ 677558 h 1099040"/>
              <a:gd name="connsiteX62" fmla="*/ 516729 w 2559842"/>
              <a:gd name="connsiteY62" fmla="*/ 684701 h 1099040"/>
              <a:gd name="connsiteX63" fmla="*/ 545304 w 2559842"/>
              <a:gd name="connsiteY63" fmla="*/ 684701 h 1099040"/>
              <a:gd name="connsiteX64" fmla="*/ 545304 w 2559842"/>
              <a:gd name="connsiteY64" fmla="*/ 698990 h 1099040"/>
              <a:gd name="connsiteX65" fmla="*/ 561973 w 2559842"/>
              <a:gd name="connsiteY65" fmla="*/ 698990 h 1099040"/>
              <a:gd name="connsiteX66" fmla="*/ 561973 w 2559842"/>
              <a:gd name="connsiteY66" fmla="*/ 713277 h 1099040"/>
              <a:gd name="connsiteX67" fmla="*/ 585786 w 2559842"/>
              <a:gd name="connsiteY67" fmla="*/ 713277 h 1099040"/>
              <a:gd name="connsiteX68" fmla="*/ 585786 w 2559842"/>
              <a:gd name="connsiteY68" fmla="*/ 718040 h 1099040"/>
              <a:gd name="connsiteX69" fmla="*/ 611979 w 2559842"/>
              <a:gd name="connsiteY69" fmla="*/ 718040 h 1099040"/>
              <a:gd name="connsiteX70" fmla="*/ 611979 w 2559842"/>
              <a:gd name="connsiteY70" fmla="*/ 727565 h 1099040"/>
              <a:gd name="connsiteX71" fmla="*/ 626267 w 2559842"/>
              <a:gd name="connsiteY71" fmla="*/ 727565 h 1099040"/>
              <a:gd name="connsiteX72" fmla="*/ 626267 w 2559842"/>
              <a:gd name="connsiteY72" fmla="*/ 739471 h 1099040"/>
              <a:gd name="connsiteX73" fmla="*/ 647698 w 2559842"/>
              <a:gd name="connsiteY73" fmla="*/ 739471 h 1099040"/>
              <a:gd name="connsiteX74" fmla="*/ 647698 w 2559842"/>
              <a:gd name="connsiteY74" fmla="*/ 751377 h 1099040"/>
              <a:gd name="connsiteX75" fmla="*/ 666748 w 2559842"/>
              <a:gd name="connsiteY75" fmla="*/ 751377 h 1099040"/>
              <a:gd name="connsiteX76" fmla="*/ 666748 w 2559842"/>
              <a:gd name="connsiteY76" fmla="*/ 765665 h 1099040"/>
              <a:gd name="connsiteX77" fmla="*/ 671511 w 2559842"/>
              <a:gd name="connsiteY77" fmla="*/ 765665 h 1099040"/>
              <a:gd name="connsiteX78" fmla="*/ 671511 w 2559842"/>
              <a:gd name="connsiteY78" fmla="*/ 770427 h 1099040"/>
              <a:gd name="connsiteX79" fmla="*/ 783429 w 2559842"/>
              <a:gd name="connsiteY79" fmla="*/ 770427 h 1099040"/>
              <a:gd name="connsiteX80" fmla="*/ 783429 w 2559842"/>
              <a:gd name="connsiteY80" fmla="*/ 779952 h 1099040"/>
              <a:gd name="connsiteX81" fmla="*/ 831054 w 2559842"/>
              <a:gd name="connsiteY81" fmla="*/ 779952 h 1099040"/>
              <a:gd name="connsiteX82" fmla="*/ 831054 w 2559842"/>
              <a:gd name="connsiteY82" fmla="*/ 799002 h 1099040"/>
              <a:gd name="connsiteX83" fmla="*/ 881061 w 2559842"/>
              <a:gd name="connsiteY83" fmla="*/ 799002 h 1099040"/>
              <a:gd name="connsiteX84" fmla="*/ 881061 w 2559842"/>
              <a:gd name="connsiteY84" fmla="*/ 799002 h 1099040"/>
              <a:gd name="connsiteX85" fmla="*/ 895349 w 2559842"/>
              <a:gd name="connsiteY85" fmla="*/ 813290 h 1099040"/>
              <a:gd name="connsiteX86" fmla="*/ 888205 w 2559842"/>
              <a:gd name="connsiteY86" fmla="*/ 825196 h 1099040"/>
              <a:gd name="connsiteX87" fmla="*/ 945354 w 2559842"/>
              <a:gd name="connsiteY87" fmla="*/ 820433 h 1099040"/>
              <a:gd name="connsiteX88" fmla="*/ 945354 w 2559842"/>
              <a:gd name="connsiteY88" fmla="*/ 849008 h 1099040"/>
              <a:gd name="connsiteX89" fmla="*/ 1181098 w 2559842"/>
              <a:gd name="connsiteY89" fmla="*/ 849008 h 1099040"/>
              <a:gd name="connsiteX90" fmla="*/ 1181098 w 2559842"/>
              <a:gd name="connsiteY90" fmla="*/ 870440 h 1099040"/>
              <a:gd name="connsiteX91" fmla="*/ 1364454 w 2559842"/>
              <a:gd name="connsiteY91" fmla="*/ 870440 h 1099040"/>
              <a:gd name="connsiteX92" fmla="*/ 1364454 w 2559842"/>
              <a:gd name="connsiteY92" fmla="*/ 887108 h 1099040"/>
              <a:gd name="connsiteX93" fmla="*/ 1454942 w 2559842"/>
              <a:gd name="connsiteY93" fmla="*/ 887108 h 1099040"/>
              <a:gd name="connsiteX94" fmla="*/ 1454942 w 2559842"/>
              <a:gd name="connsiteY94" fmla="*/ 908540 h 1099040"/>
              <a:gd name="connsiteX95" fmla="*/ 1728786 w 2559842"/>
              <a:gd name="connsiteY95" fmla="*/ 908540 h 1099040"/>
              <a:gd name="connsiteX96" fmla="*/ 1728786 w 2559842"/>
              <a:gd name="connsiteY96" fmla="*/ 932352 h 1099040"/>
              <a:gd name="connsiteX97" fmla="*/ 1816892 w 2559842"/>
              <a:gd name="connsiteY97" fmla="*/ 932352 h 1099040"/>
              <a:gd name="connsiteX98" fmla="*/ 1816892 w 2559842"/>
              <a:gd name="connsiteY98" fmla="*/ 965690 h 1099040"/>
              <a:gd name="connsiteX99" fmla="*/ 2057398 w 2559842"/>
              <a:gd name="connsiteY99" fmla="*/ 965690 h 1099040"/>
              <a:gd name="connsiteX100" fmla="*/ 2057398 w 2559842"/>
              <a:gd name="connsiteY100" fmla="*/ 1001408 h 1099040"/>
              <a:gd name="connsiteX101" fmla="*/ 2102642 w 2559842"/>
              <a:gd name="connsiteY101" fmla="*/ 1001408 h 1099040"/>
              <a:gd name="connsiteX102" fmla="*/ 2102642 w 2559842"/>
              <a:gd name="connsiteY102" fmla="*/ 1032365 h 1099040"/>
              <a:gd name="connsiteX103" fmla="*/ 2288379 w 2559842"/>
              <a:gd name="connsiteY103" fmla="*/ 1032365 h 1099040"/>
              <a:gd name="connsiteX104" fmla="*/ 2288379 w 2559842"/>
              <a:gd name="connsiteY104" fmla="*/ 1099040 h 1099040"/>
              <a:gd name="connsiteX105" fmla="*/ 2559842 w 2559842"/>
              <a:gd name="connsiteY105" fmla="*/ 1099040 h 1099040"/>
              <a:gd name="connsiteX0" fmla="*/ 0 w 2559842"/>
              <a:gd name="connsiteY0" fmla="*/ 10808 h 1099040"/>
              <a:gd name="connsiteX1" fmla="*/ 9101 w 2559842"/>
              <a:gd name="connsiteY1" fmla="*/ 11200 h 1099040"/>
              <a:gd name="connsiteX2" fmla="*/ 57149 w 2559842"/>
              <a:gd name="connsiteY2" fmla="*/ 17953 h 1099040"/>
              <a:gd name="connsiteX3" fmla="*/ 54767 w 2559842"/>
              <a:gd name="connsiteY3" fmla="*/ 56052 h 1099040"/>
              <a:gd name="connsiteX4" fmla="*/ 73817 w 2559842"/>
              <a:gd name="connsiteY4" fmla="*/ 56052 h 1099040"/>
              <a:gd name="connsiteX5" fmla="*/ 73817 w 2559842"/>
              <a:gd name="connsiteY5" fmla="*/ 63196 h 1099040"/>
              <a:gd name="connsiteX6" fmla="*/ 78579 w 2559842"/>
              <a:gd name="connsiteY6" fmla="*/ 63196 h 1099040"/>
              <a:gd name="connsiteX7" fmla="*/ 78579 w 2559842"/>
              <a:gd name="connsiteY7" fmla="*/ 77483 h 1099040"/>
              <a:gd name="connsiteX8" fmla="*/ 85723 w 2559842"/>
              <a:gd name="connsiteY8" fmla="*/ 77483 h 1099040"/>
              <a:gd name="connsiteX9" fmla="*/ 85723 w 2559842"/>
              <a:gd name="connsiteY9" fmla="*/ 91771 h 1099040"/>
              <a:gd name="connsiteX10" fmla="*/ 100011 w 2559842"/>
              <a:gd name="connsiteY10" fmla="*/ 91771 h 1099040"/>
              <a:gd name="connsiteX11" fmla="*/ 100011 w 2559842"/>
              <a:gd name="connsiteY11" fmla="*/ 103677 h 1099040"/>
              <a:gd name="connsiteX12" fmla="*/ 111917 w 2559842"/>
              <a:gd name="connsiteY12" fmla="*/ 103677 h 1099040"/>
              <a:gd name="connsiteX13" fmla="*/ 111917 w 2559842"/>
              <a:gd name="connsiteY13" fmla="*/ 120346 h 1099040"/>
              <a:gd name="connsiteX14" fmla="*/ 126204 w 2559842"/>
              <a:gd name="connsiteY14" fmla="*/ 120346 h 1099040"/>
              <a:gd name="connsiteX15" fmla="*/ 126204 w 2559842"/>
              <a:gd name="connsiteY15" fmla="*/ 129871 h 1099040"/>
              <a:gd name="connsiteX16" fmla="*/ 135729 w 2559842"/>
              <a:gd name="connsiteY16" fmla="*/ 129871 h 1099040"/>
              <a:gd name="connsiteX17" fmla="*/ 135729 w 2559842"/>
              <a:gd name="connsiteY17" fmla="*/ 153683 h 1099040"/>
              <a:gd name="connsiteX18" fmla="*/ 145254 w 2559842"/>
              <a:gd name="connsiteY18" fmla="*/ 153683 h 1099040"/>
              <a:gd name="connsiteX19" fmla="*/ 145254 w 2559842"/>
              <a:gd name="connsiteY19" fmla="*/ 189402 h 1099040"/>
              <a:gd name="connsiteX20" fmla="*/ 145254 w 2559842"/>
              <a:gd name="connsiteY20" fmla="*/ 232265 h 1099040"/>
              <a:gd name="connsiteX21" fmla="*/ 152398 w 2559842"/>
              <a:gd name="connsiteY21" fmla="*/ 232265 h 1099040"/>
              <a:gd name="connsiteX22" fmla="*/ 152398 w 2559842"/>
              <a:gd name="connsiteY22" fmla="*/ 279890 h 1099040"/>
              <a:gd name="connsiteX23" fmla="*/ 157161 w 2559842"/>
              <a:gd name="connsiteY23" fmla="*/ 279890 h 1099040"/>
              <a:gd name="connsiteX24" fmla="*/ 157161 w 2559842"/>
              <a:gd name="connsiteY24" fmla="*/ 298940 h 1099040"/>
              <a:gd name="connsiteX25" fmla="*/ 164304 w 2559842"/>
              <a:gd name="connsiteY25" fmla="*/ 298940 h 1099040"/>
              <a:gd name="connsiteX26" fmla="*/ 164304 w 2559842"/>
              <a:gd name="connsiteY26" fmla="*/ 325133 h 1099040"/>
              <a:gd name="connsiteX27" fmla="*/ 164304 w 2559842"/>
              <a:gd name="connsiteY27" fmla="*/ 327515 h 1099040"/>
              <a:gd name="connsiteX28" fmla="*/ 164304 w 2559842"/>
              <a:gd name="connsiteY28" fmla="*/ 365615 h 1099040"/>
              <a:gd name="connsiteX29" fmla="*/ 176211 w 2559842"/>
              <a:gd name="connsiteY29" fmla="*/ 365615 h 1099040"/>
              <a:gd name="connsiteX30" fmla="*/ 176211 w 2559842"/>
              <a:gd name="connsiteY30" fmla="*/ 382283 h 1099040"/>
              <a:gd name="connsiteX31" fmla="*/ 183354 w 2559842"/>
              <a:gd name="connsiteY31" fmla="*/ 382283 h 1099040"/>
              <a:gd name="connsiteX32" fmla="*/ 183354 w 2559842"/>
              <a:gd name="connsiteY32" fmla="*/ 391808 h 1099040"/>
              <a:gd name="connsiteX33" fmla="*/ 211929 w 2559842"/>
              <a:gd name="connsiteY33" fmla="*/ 391808 h 1099040"/>
              <a:gd name="connsiteX34" fmla="*/ 214311 w 2559842"/>
              <a:gd name="connsiteY34" fmla="*/ 394190 h 1099040"/>
              <a:gd name="connsiteX35" fmla="*/ 226217 w 2559842"/>
              <a:gd name="connsiteY35" fmla="*/ 394190 h 1099040"/>
              <a:gd name="connsiteX36" fmla="*/ 226217 w 2559842"/>
              <a:gd name="connsiteY36" fmla="*/ 432290 h 1099040"/>
              <a:gd name="connsiteX37" fmla="*/ 283367 w 2559842"/>
              <a:gd name="connsiteY37" fmla="*/ 432290 h 1099040"/>
              <a:gd name="connsiteX38" fmla="*/ 283367 w 2559842"/>
              <a:gd name="connsiteY38" fmla="*/ 456102 h 1099040"/>
              <a:gd name="connsiteX39" fmla="*/ 290511 w 2559842"/>
              <a:gd name="connsiteY39" fmla="*/ 456102 h 1099040"/>
              <a:gd name="connsiteX40" fmla="*/ 290511 w 2559842"/>
              <a:gd name="connsiteY40" fmla="*/ 470390 h 1099040"/>
              <a:gd name="connsiteX41" fmla="*/ 304798 w 2559842"/>
              <a:gd name="connsiteY41" fmla="*/ 470390 h 1099040"/>
              <a:gd name="connsiteX42" fmla="*/ 304798 w 2559842"/>
              <a:gd name="connsiteY42" fmla="*/ 479915 h 1099040"/>
              <a:gd name="connsiteX43" fmla="*/ 330992 w 2559842"/>
              <a:gd name="connsiteY43" fmla="*/ 479915 h 1099040"/>
              <a:gd name="connsiteX44" fmla="*/ 335754 w 2559842"/>
              <a:gd name="connsiteY44" fmla="*/ 484677 h 1099040"/>
              <a:gd name="connsiteX45" fmla="*/ 369092 w 2559842"/>
              <a:gd name="connsiteY45" fmla="*/ 484677 h 1099040"/>
              <a:gd name="connsiteX46" fmla="*/ 369092 w 2559842"/>
              <a:gd name="connsiteY46" fmla="*/ 496583 h 1099040"/>
              <a:gd name="connsiteX47" fmla="*/ 383379 w 2559842"/>
              <a:gd name="connsiteY47" fmla="*/ 496583 h 1099040"/>
              <a:gd name="connsiteX48" fmla="*/ 383379 w 2559842"/>
              <a:gd name="connsiteY48" fmla="*/ 563258 h 1099040"/>
              <a:gd name="connsiteX49" fmla="*/ 392904 w 2559842"/>
              <a:gd name="connsiteY49" fmla="*/ 563258 h 1099040"/>
              <a:gd name="connsiteX50" fmla="*/ 392904 w 2559842"/>
              <a:gd name="connsiteY50" fmla="*/ 577546 h 1099040"/>
              <a:gd name="connsiteX51" fmla="*/ 402429 w 2559842"/>
              <a:gd name="connsiteY51" fmla="*/ 577546 h 1099040"/>
              <a:gd name="connsiteX52" fmla="*/ 402429 w 2559842"/>
              <a:gd name="connsiteY52" fmla="*/ 625171 h 1099040"/>
              <a:gd name="connsiteX53" fmla="*/ 402429 w 2559842"/>
              <a:gd name="connsiteY53" fmla="*/ 625171 h 1099040"/>
              <a:gd name="connsiteX54" fmla="*/ 414335 w 2559842"/>
              <a:gd name="connsiteY54" fmla="*/ 637077 h 1099040"/>
              <a:gd name="connsiteX55" fmla="*/ 426242 w 2559842"/>
              <a:gd name="connsiteY55" fmla="*/ 637077 h 1099040"/>
              <a:gd name="connsiteX56" fmla="*/ 426242 w 2559842"/>
              <a:gd name="connsiteY56" fmla="*/ 658508 h 1099040"/>
              <a:gd name="connsiteX57" fmla="*/ 440529 w 2559842"/>
              <a:gd name="connsiteY57" fmla="*/ 658508 h 1099040"/>
              <a:gd name="connsiteX58" fmla="*/ 440529 w 2559842"/>
              <a:gd name="connsiteY58" fmla="*/ 670415 h 1099040"/>
              <a:gd name="connsiteX59" fmla="*/ 454817 w 2559842"/>
              <a:gd name="connsiteY59" fmla="*/ 670415 h 1099040"/>
              <a:gd name="connsiteX60" fmla="*/ 454817 w 2559842"/>
              <a:gd name="connsiteY60" fmla="*/ 677558 h 1099040"/>
              <a:gd name="connsiteX61" fmla="*/ 509586 w 2559842"/>
              <a:gd name="connsiteY61" fmla="*/ 677558 h 1099040"/>
              <a:gd name="connsiteX62" fmla="*/ 516729 w 2559842"/>
              <a:gd name="connsiteY62" fmla="*/ 684701 h 1099040"/>
              <a:gd name="connsiteX63" fmla="*/ 545304 w 2559842"/>
              <a:gd name="connsiteY63" fmla="*/ 684701 h 1099040"/>
              <a:gd name="connsiteX64" fmla="*/ 545304 w 2559842"/>
              <a:gd name="connsiteY64" fmla="*/ 698990 h 1099040"/>
              <a:gd name="connsiteX65" fmla="*/ 561973 w 2559842"/>
              <a:gd name="connsiteY65" fmla="*/ 698990 h 1099040"/>
              <a:gd name="connsiteX66" fmla="*/ 561973 w 2559842"/>
              <a:gd name="connsiteY66" fmla="*/ 713277 h 1099040"/>
              <a:gd name="connsiteX67" fmla="*/ 585786 w 2559842"/>
              <a:gd name="connsiteY67" fmla="*/ 713277 h 1099040"/>
              <a:gd name="connsiteX68" fmla="*/ 585786 w 2559842"/>
              <a:gd name="connsiteY68" fmla="*/ 718040 h 1099040"/>
              <a:gd name="connsiteX69" fmla="*/ 611979 w 2559842"/>
              <a:gd name="connsiteY69" fmla="*/ 718040 h 1099040"/>
              <a:gd name="connsiteX70" fmla="*/ 611979 w 2559842"/>
              <a:gd name="connsiteY70" fmla="*/ 727565 h 1099040"/>
              <a:gd name="connsiteX71" fmla="*/ 626267 w 2559842"/>
              <a:gd name="connsiteY71" fmla="*/ 727565 h 1099040"/>
              <a:gd name="connsiteX72" fmla="*/ 626267 w 2559842"/>
              <a:gd name="connsiteY72" fmla="*/ 739471 h 1099040"/>
              <a:gd name="connsiteX73" fmla="*/ 647698 w 2559842"/>
              <a:gd name="connsiteY73" fmla="*/ 739471 h 1099040"/>
              <a:gd name="connsiteX74" fmla="*/ 647698 w 2559842"/>
              <a:gd name="connsiteY74" fmla="*/ 751377 h 1099040"/>
              <a:gd name="connsiteX75" fmla="*/ 666748 w 2559842"/>
              <a:gd name="connsiteY75" fmla="*/ 751377 h 1099040"/>
              <a:gd name="connsiteX76" fmla="*/ 666748 w 2559842"/>
              <a:gd name="connsiteY76" fmla="*/ 765665 h 1099040"/>
              <a:gd name="connsiteX77" fmla="*/ 671511 w 2559842"/>
              <a:gd name="connsiteY77" fmla="*/ 765665 h 1099040"/>
              <a:gd name="connsiteX78" fmla="*/ 671511 w 2559842"/>
              <a:gd name="connsiteY78" fmla="*/ 770427 h 1099040"/>
              <a:gd name="connsiteX79" fmla="*/ 783429 w 2559842"/>
              <a:gd name="connsiteY79" fmla="*/ 770427 h 1099040"/>
              <a:gd name="connsiteX80" fmla="*/ 783429 w 2559842"/>
              <a:gd name="connsiteY80" fmla="*/ 779952 h 1099040"/>
              <a:gd name="connsiteX81" fmla="*/ 831054 w 2559842"/>
              <a:gd name="connsiteY81" fmla="*/ 779952 h 1099040"/>
              <a:gd name="connsiteX82" fmla="*/ 831054 w 2559842"/>
              <a:gd name="connsiteY82" fmla="*/ 799002 h 1099040"/>
              <a:gd name="connsiteX83" fmla="*/ 881061 w 2559842"/>
              <a:gd name="connsiteY83" fmla="*/ 799002 h 1099040"/>
              <a:gd name="connsiteX84" fmla="*/ 881061 w 2559842"/>
              <a:gd name="connsiteY84" fmla="*/ 799002 h 1099040"/>
              <a:gd name="connsiteX85" fmla="*/ 885824 w 2559842"/>
              <a:gd name="connsiteY85" fmla="*/ 810909 h 1099040"/>
              <a:gd name="connsiteX86" fmla="*/ 888205 w 2559842"/>
              <a:gd name="connsiteY86" fmla="*/ 825196 h 1099040"/>
              <a:gd name="connsiteX87" fmla="*/ 945354 w 2559842"/>
              <a:gd name="connsiteY87" fmla="*/ 820433 h 1099040"/>
              <a:gd name="connsiteX88" fmla="*/ 945354 w 2559842"/>
              <a:gd name="connsiteY88" fmla="*/ 849008 h 1099040"/>
              <a:gd name="connsiteX89" fmla="*/ 1181098 w 2559842"/>
              <a:gd name="connsiteY89" fmla="*/ 849008 h 1099040"/>
              <a:gd name="connsiteX90" fmla="*/ 1181098 w 2559842"/>
              <a:gd name="connsiteY90" fmla="*/ 870440 h 1099040"/>
              <a:gd name="connsiteX91" fmla="*/ 1364454 w 2559842"/>
              <a:gd name="connsiteY91" fmla="*/ 870440 h 1099040"/>
              <a:gd name="connsiteX92" fmla="*/ 1364454 w 2559842"/>
              <a:gd name="connsiteY92" fmla="*/ 887108 h 1099040"/>
              <a:gd name="connsiteX93" fmla="*/ 1454942 w 2559842"/>
              <a:gd name="connsiteY93" fmla="*/ 887108 h 1099040"/>
              <a:gd name="connsiteX94" fmla="*/ 1454942 w 2559842"/>
              <a:gd name="connsiteY94" fmla="*/ 908540 h 1099040"/>
              <a:gd name="connsiteX95" fmla="*/ 1728786 w 2559842"/>
              <a:gd name="connsiteY95" fmla="*/ 908540 h 1099040"/>
              <a:gd name="connsiteX96" fmla="*/ 1728786 w 2559842"/>
              <a:gd name="connsiteY96" fmla="*/ 932352 h 1099040"/>
              <a:gd name="connsiteX97" fmla="*/ 1816892 w 2559842"/>
              <a:gd name="connsiteY97" fmla="*/ 932352 h 1099040"/>
              <a:gd name="connsiteX98" fmla="*/ 1816892 w 2559842"/>
              <a:gd name="connsiteY98" fmla="*/ 965690 h 1099040"/>
              <a:gd name="connsiteX99" fmla="*/ 2057398 w 2559842"/>
              <a:gd name="connsiteY99" fmla="*/ 965690 h 1099040"/>
              <a:gd name="connsiteX100" fmla="*/ 2057398 w 2559842"/>
              <a:gd name="connsiteY100" fmla="*/ 1001408 h 1099040"/>
              <a:gd name="connsiteX101" fmla="*/ 2102642 w 2559842"/>
              <a:gd name="connsiteY101" fmla="*/ 1001408 h 1099040"/>
              <a:gd name="connsiteX102" fmla="*/ 2102642 w 2559842"/>
              <a:gd name="connsiteY102" fmla="*/ 1032365 h 1099040"/>
              <a:gd name="connsiteX103" fmla="*/ 2288379 w 2559842"/>
              <a:gd name="connsiteY103" fmla="*/ 1032365 h 1099040"/>
              <a:gd name="connsiteX104" fmla="*/ 2288379 w 2559842"/>
              <a:gd name="connsiteY104" fmla="*/ 1099040 h 1099040"/>
              <a:gd name="connsiteX105" fmla="*/ 2559842 w 2559842"/>
              <a:gd name="connsiteY105" fmla="*/ 1099040 h 1099040"/>
              <a:gd name="connsiteX0" fmla="*/ 0 w 2559842"/>
              <a:gd name="connsiteY0" fmla="*/ 10808 h 1099040"/>
              <a:gd name="connsiteX1" fmla="*/ 9101 w 2559842"/>
              <a:gd name="connsiteY1" fmla="*/ 11200 h 1099040"/>
              <a:gd name="connsiteX2" fmla="*/ 57149 w 2559842"/>
              <a:gd name="connsiteY2" fmla="*/ 17953 h 1099040"/>
              <a:gd name="connsiteX3" fmla="*/ 54767 w 2559842"/>
              <a:gd name="connsiteY3" fmla="*/ 56052 h 1099040"/>
              <a:gd name="connsiteX4" fmla="*/ 73817 w 2559842"/>
              <a:gd name="connsiteY4" fmla="*/ 56052 h 1099040"/>
              <a:gd name="connsiteX5" fmla="*/ 73817 w 2559842"/>
              <a:gd name="connsiteY5" fmla="*/ 63196 h 1099040"/>
              <a:gd name="connsiteX6" fmla="*/ 78579 w 2559842"/>
              <a:gd name="connsiteY6" fmla="*/ 63196 h 1099040"/>
              <a:gd name="connsiteX7" fmla="*/ 78579 w 2559842"/>
              <a:gd name="connsiteY7" fmla="*/ 77483 h 1099040"/>
              <a:gd name="connsiteX8" fmla="*/ 85723 w 2559842"/>
              <a:gd name="connsiteY8" fmla="*/ 77483 h 1099040"/>
              <a:gd name="connsiteX9" fmla="*/ 85723 w 2559842"/>
              <a:gd name="connsiteY9" fmla="*/ 91771 h 1099040"/>
              <a:gd name="connsiteX10" fmla="*/ 100011 w 2559842"/>
              <a:gd name="connsiteY10" fmla="*/ 91771 h 1099040"/>
              <a:gd name="connsiteX11" fmla="*/ 100011 w 2559842"/>
              <a:gd name="connsiteY11" fmla="*/ 103677 h 1099040"/>
              <a:gd name="connsiteX12" fmla="*/ 111917 w 2559842"/>
              <a:gd name="connsiteY12" fmla="*/ 103677 h 1099040"/>
              <a:gd name="connsiteX13" fmla="*/ 111917 w 2559842"/>
              <a:gd name="connsiteY13" fmla="*/ 120346 h 1099040"/>
              <a:gd name="connsiteX14" fmla="*/ 126204 w 2559842"/>
              <a:gd name="connsiteY14" fmla="*/ 120346 h 1099040"/>
              <a:gd name="connsiteX15" fmla="*/ 126204 w 2559842"/>
              <a:gd name="connsiteY15" fmla="*/ 129871 h 1099040"/>
              <a:gd name="connsiteX16" fmla="*/ 135729 w 2559842"/>
              <a:gd name="connsiteY16" fmla="*/ 129871 h 1099040"/>
              <a:gd name="connsiteX17" fmla="*/ 135729 w 2559842"/>
              <a:gd name="connsiteY17" fmla="*/ 153683 h 1099040"/>
              <a:gd name="connsiteX18" fmla="*/ 145254 w 2559842"/>
              <a:gd name="connsiteY18" fmla="*/ 153683 h 1099040"/>
              <a:gd name="connsiteX19" fmla="*/ 145254 w 2559842"/>
              <a:gd name="connsiteY19" fmla="*/ 189402 h 1099040"/>
              <a:gd name="connsiteX20" fmla="*/ 145254 w 2559842"/>
              <a:gd name="connsiteY20" fmla="*/ 232265 h 1099040"/>
              <a:gd name="connsiteX21" fmla="*/ 152398 w 2559842"/>
              <a:gd name="connsiteY21" fmla="*/ 232265 h 1099040"/>
              <a:gd name="connsiteX22" fmla="*/ 152398 w 2559842"/>
              <a:gd name="connsiteY22" fmla="*/ 279890 h 1099040"/>
              <a:gd name="connsiteX23" fmla="*/ 157161 w 2559842"/>
              <a:gd name="connsiteY23" fmla="*/ 279890 h 1099040"/>
              <a:gd name="connsiteX24" fmla="*/ 157161 w 2559842"/>
              <a:gd name="connsiteY24" fmla="*/ 298940 h 1099040"/>
              <a:gd name="connsiteX25" fmla="*/ 164304 w 2559842"/>
              <a:gd name="connsiteY25" fmla="*/ 298940 h 1099040"/>
              <a:gd name="connsiteX26" fmla="*/ 164304 w 2559842"/>
              <a:gd name="connsiteY26" fmla="*/ 325133 h 1099040"/>
              <a:gd name="connsiteX27" fmla="*/ 164304 w 2559842"/>
              <a:gd name="connsiteY27" fmla="*/ 327515 h 1099040"/>
              <a:gd name="connsiteX28" fmla="*/ 164304 w 2559842"/>
              <a:gd name="connsiteY28" fmla="*/ 365615 h 1099040"/>
              <a:gd name="connsiteX29" fmla="*/ 176211 w 2559842"/>
              <a:gd name="connsiteY29" fmla="*/ 365615 h 1099040"/>
              <a:gd name="connsiteX30" fmla="*/ 176211 w 2559842"/>
              <a:gd name="connsiteY30" fmla="*/ 382283 h 1099040"/>
              <a:gd name="connsiteX31" fmla="*/ 183354 w 2559842"/>
              <a:gd name="connsiteY31" fmla="*/ 382283 h 1099040"/>
              <a:gd name="connsiteX32" fmla="*/ 183354 w 2559842"/>
              <a:gd name="connsiteY32" fmla="*/ 391808 h 1099040"/>
              <a:gd name="connsiteX33" fmla="*/ 211929 w 2559842"/>
              <a:gd name="connsiteY33" fmla="*/ 391808 h 1099040"/>
              <a:gd name="connsiteX34" fmla="*/ 214311 w 2559842"/>
              <a:gd name="connsiteY34" fmla="*/ 394190 h 1099040"/>
              <a:gd name="connsiteX35" fmla="*/ 226217 w 2559842"/>
              <a:gd name="connsiteY35" fmla="*/ 394190 h 1099040"/>
              <a:gd name="connsiteX36" fmla="*/ 226217 w 2559842"/>
              <a:gd name="connsiteY36" fmla="*/ 432290 h 1099040"/>
              <a:gd name="connsiteX37" fmla="*/ 283367 w 2559842"/>
              <a:gd name="connsiteY37" fmla="*/ 432290 h 1099040"/>
              <a:gd name="connsiteX38" fmla="*/ 283367 w 2559842"/>
              <a:gd name="connsiteY38" fmla="*/ 456102 h 1099040"/>
              <a:gd name="connsiteX39" fmla="*/ 290511 w 2559842"/>
              <a:gd name="connsiteY39" fmla="*/ 456102 h 1099040"/>
              <a:gd name="connsiteX40" fmla="*/ 290511 w 2559842"/>
              <a:gd name="connsiteY40" fmla="*/ 470390 h 1099040"/>
              <a:gd name="connsiteX41" fmla="*/ 304798 w 2559842"/>
              <a:gd name="connsiteY41" fmla="*/ 470390 h 1099040"/>
              <a:gd name="connsiteX42" fmla="*/ 304798 w 2559842"/>
              <a:gd name="connsiteY42" fmla="*/ 479915 h 1099040"/>
              <a:gd name="connsiteX43" fmla="*/ 330992 w 2559842"/>
              <a:gd name="connsiteY43" fmla="*/ 479915 h 1099040"/>
              <a:gd name="connsiteX44" fmla="*/ 335754 w 2559842"/>
              <a:gd name="connsiteY44" fmla="*/ 484677 h 1099040"/>
              <a:gd name="connsiteX45" fmla="*/ 369092 w 2559842"/>
              <a:gd name="connsiteY45" fmla="*/ 484677 h 1099040"/>
              <a:gd name="connsiteX46" fmla="*/ 369092 w 2559842"/>
              <a:gd name="connsiteY46" fmla="*/ 496583 h 1099040"/>
              <a:gd name="connsiteX47" fmla="*/ 383379 w 2559842"/>
              <a:gd name="connsiteY47" fmla="*/ 496583 h 1099040"/>
              <a:gd name="connsiteX48" fmla="*/ 383379 w 2559842"/>
              <a:gd name="connsiteY48" fmla="*/ 563258 h 1099040"/>
              <a:gd name="connsiteX49" fmla="*/ 392904 w 2559842"/>
              <a:gd name="connsiteY49" fmla="*/ 563258 h 1099040"/>
              <a:gd name="connsiteX50" fmla="*/ 392904 w 2559842"/>
              <a:gd name="connsiteY50" fmla="*/ 577546 h 1099040"/>
              <a:gd name="connsiteX51" fmla="*/ 402429 w 2559842"/>
              <a:gd name="connsiteY51" fmla="*/ 577546 h 1099040"/>
              <a:gd name="connsiteX52" fmla="*/ 402429 w 2559842"/>
              <a:gd name="connsiteY52" fmla="*/ 625171 h 1099040"/>
              <a:gd name="connsiteX53" fmla="*/ 402429 w 2559842"/>
              <a:gd name="connsiteY53" fmla="*/ 625171 h 1099040"/>
              <a:gd name="connsiteX54" fmla="*/ 414335 w 2559842"/>
              <a:gd name="connsiteY54" fmla="*/ 637077 h 1099040"/>
              <a:gd name="connsiteX55" fmla="*/ 426242 w 2559842"/>
              <a:gd name="connsiteY55" fmla="*/ 637077 h 1099040"/>
              <a:gd name="connsiteX56" fmla="*/ 426242 w 2559842"/>
              <a:gd name="connsiteY56" fmla="*/ 658508 h 1099040"/>
              <a:gd name="connsiteX57" fmla="*/ 440529 w 2559842"/>
              <a:gd name="connsiteY57" fmla="*/ 658508 h 1099040"/>
              <a:gd name="connsiteX58" fmla="*/ 440529 w 2559842"/>
              <a:gd name="connsiteY58" fmla="*/ 670415 h 1099040"/>
              <a:gd name="connsiteX59" fmla="*/ 454817 w 2559842"/>
              <a:gd name="connsiteY59" fmla="*/ 670415 h 1099040"/>
              <a:gd name="connsiteX60" fmla="*/ 454817 w 2559842"/>
              <a:gd name="connsiteY60" fmla="*/ 677558 h 1099040"/>
              <a:gd name="connsiteX61" fmla="*/ 509586 w 2559842"/>
              <a:gd name="connsiteY61" fmla="*/ 677558 h 1099040"/>
              <a:gd name="connsiteX62" fmla="*/ 516729 w 2559842"/>
              <a:gd name="connsiteY62" fmla="*/ 684701 h 1099040"/>
              <a:gd name="connsiteX63" fmla="*/ 545304 w 2559842"/>
              <a:gd name="connsiteY63" fmla="*/ 684701 h 1099040"/>
              <a:gd name="connsiteX64" fmla="*/ 545304 w 2559842"/>
              <a:gd name="connsiteY64" fmla="*/ 698990 h 1099040"/>
              <a:gd name="connsiteX65" fmla="*/ 561973 w 2559842"/>
              <a:gd name="connsiteY65" fmla="*/ 698990 h 1099040"/>
              <a:gd name="connsiteX66" fmla="*/ 561973 w 2559842"/>
              <a:gd name="connsiteY66" fmla="*/ 713277 h 1099040"/>
              <a:gd name="connsiteX67" fmla="*/ 585786 w 2559842"/>
              <a:gd name="connsiteY67" fmla="*/ 713277 h 1099040"/>
              <a:gd name="connsiteX68" fmla="*/ 585786 w 2559842"/>
              <a:gd name="connsiteY68" fmla="*/ 718040 h 1099040"/>
              <a:gd name="connsiteX69" fmla="*/ 611979 w 2559842"/>
              <a:gd name="connsiteY69" fmla="*/ 718040 h 1099040"/>
              <a:gd name="connsiteX70" fmla="*/ 611979 w 2559842"/>
              <a:gd name="connsiteY70" fmla="*/ 727565 h 1099040"/>
              <a:gd name="connsiteX71" fmla="*/ 626267 w 2559842"/>
              <a:gd name="connsiteY71" fmla="*/ 727565 h 1099040"/>
              <a:gd name="connsiteX72" fmla="*/ 626267 w 2559842"/>
              <a:gd name="connsiteY72" fmla="*/ 739471 h 1099040"/>
              <a:gd name="connsiteX73" fmla="*/ 647698 w 2559842"/>
              <a:gd name="connsiteY73" fmla="*/ 739471 h 1099040"/>
              <a:gd name="connsiteX74" fmla="*/ 647698 w 2559842"/>
              <a:gd name="connsiteY74" fmla="*/ 751377 h 1099040"/>
              <a:gd name="connsiteX75" fmla="*/ 666748 w 2559842"/>
              <a:gd name="connsiteY75" fmla="*/ 751377 h 1099040"/>
              <a:gd name="connsiteX76" fmla="*/ 666748 w 2559842"/>
              <a:gd name="connsiteY76" fmla="*/ 765665 h 1099040"/>
              <a:gd name="connsiteX77" fmla="*/ 671511 w 2559842"/>
              <a:gd name="connsiteY77" fmla="*/ 765665 h 1099040"/>
              <a:gd name="connsiteX78" fmla="*/ 671511 w 2559842"/>
              <a:gd name="connsiteY78" fmla="*/ 770427 h 1099040"/>
              <a:gd name="connsiteX79" fmla="*/ 783429 w 2559842"/>
              <a:gd name="connsiteY79" fmla="*/ 770427 h 1099040"/>
              <a:gd name="connsiteX80" fmla="*/ 783429 w 2559842"/>
              <a:gd name="connsiteY80" fmla="*/ 779952 h 1099040"/>
              <a:gd name="connsiteX81" fmla="*/ 831054 w 2559842"/>
              <a:gd name="connsiteY81" fmla="*/ 779952 h 1099040"/>
              <a:gd name="connsiteX82" fmla="*/ 831054 w 2559842"/>
              <a:gd name="connsiteY82" fmla="*/ 799002 h 1099040"/>
              <a:gd name="connsiteX83" fmla="*/ 881061 w 2559842"/>
              <a:gd name="connsiteY83" fmla="*/ 799002 h 1099040"/>
              <a:gd name="connsiteX84" fmla="*/ 881061 w 2559842"/>
              <a:gd name="connsiteY84" fmla="*/ 799002 h 1099040"/>
              <a:gd name="connsiteX85" fmla="*/ 885824 w 2559842"/>
              <a:gd name="connsiteY85" fmla="*/ 810909 h 1099040"/>
              <a:gd name="connsiteX86" fmla="*/ 884483 w 2559842"/>
              <a:gd name="connsiteY86" fmla="*/ 822179 h 1099040"/>
              <a:gd name="connsiteX87" fmla="*/ 945354 w 2559842"/>
              <a:gd name="connsiteY87" fmla="*/ 820433 h 1099040"/>
              <a:gd name="connsiteX88" fmla="*/ 945354 w 2559842"/>
              <a:gd name="connsiteY88" fmla="*/ 849008 h 1099040"/>
              <a:gd name="connsiteX89" fmla="*/ 1181098 w 2559842"/>
              <a:gd name="connsiteY89" fmla="*/ 849008 h 1099040"/>
              <a:gd name="connsiteX90" fmla="*/ 1181098 w 2559842"/>
              <a:gd name="connsiteY90" fmla="*/ 870440 h 1099040"/>
              <a:gd name="connsiteX91" fmla="*/ 1364454 w 2559842"/>
              <a:gd name="connsiteY91" fmla="*/ 870440 h 1099040"/>
              <a:gd name="connsiteX92" fmla="*/ 1364454 w 2559842"/>
              <a:gd name="connsiteY92" fmla="*/ 887108 h 1099040"/>
              <a:gd name="connsiteX93" fmla="*/ 1454942 w 2559842"/>
              <a:gd name="connsiteY93" fmla="*/ 887108 h 1099040"/>
              <a:gd name="connsiteX94" fmla="*/ 1454942 w 2559842"/>
              <a:gd name="connsiteY94" fmla="*/ 908540 h 1099040"/>
              <a:gd name="connsiteX95" fmla="*/ 1728786 w 2559842"/>
              <a:gd name="connsiteY95" fmla="*/ 908540 h 1099040"/>
              <a:gd name="connsiteX96" fmla="*/ 1728786 w 2559842"/>
              <a:gd name="connsiteY96" fmla="*/ 932352 h 1099040"/>
              <a:gd name="connsiteX97" fmla="*/ 1816892 w 2559842"/>
              <a:gd name="connsiteY97" fmla="*/ 932352 h 1099040"/>
              <a:gd name="connsiteX98" fmla="*/ 1816892 w 2559842"/>
              <a:gd name="connsiteY98" fmla="*/ 965690 h 1099040"/>
              <a:gd name="connsiteX99" fmla="*/ 2057398 w 2559842"/>
              <a:gd name="connsiteY99" fmla="*/ 965690 h 1099040"/>
              <a:gd name="connsiteX100" fmla="*/ 2057398 w 2559842"/>
              <a:gd name="connsiteY100" fmla="*/ 1001408 h 1099040"/>
              <a:gd name="connsiteX101" fmla="*/ 2102642 w 2559842"/>
              <a:gd name="connsiteY101" fmla="*/ 1001408 h 1099040"/>
              <a:gd name="connsiteX102" fmla="*/ 2102642 w 2559842"/>
              <a:gd name="connsiteY102" fmla="*/ 1032365 h 1099040"/>
              <a:gd name="connsiteX103" fmla="*/ 2288379 w 2559842"/>
              <a:gd name="connsiteY103" fmla="*/ 1032365 h 1099040"/>
              <a:gd name="connsiteX104" fmla="*/ 2288379 w 2559842"/>
              <a:gd name="connsiteY104" fmla="*/ 1099040 h 1099040"/>
              <a:gd name="connsiteX105" fmla="*/ 2559842 w 2559842"/>
              <a:gd name="connsiteY105" fmla="*/ 1099040 h 1099040"/>
              <a:gd name="connsiteX0" fmla="*/ 0 w 2559842"/>
              <a:gd name="connsiteY0" fmla="*/ 10808 h 1099040"/>
              <a:gd name="connsiteX1" fmla="*/ 9101 w 2559842"/>
              <a:gd name="connsiteY1" fmla="*/ 11200 h 1099040"/>
              <a:gd name="connsiteX2" fmla="*/ 57149 w 2559842"/>
              <a:gd name="connsiteY2" fmla="*/ 17953 h 1099040"/>
              <a:gd name="connsiteX3" fmla="*/ 54767 w 2559842"/>
              <a:gd name="connsiteY3" fmla="*/ 56052 h 1099040"/>
              <a:gd name="connsiteX4" fmla="*/ 73817 w 2559842"/>
              <a:gd name="connsiteY4" fmla="*/ 56052 h 1099040"/>
              <a:gd name="connsiteX5" fmla="*/ 73817 w 2559842"/>
              <a:gd name="connsiteY5" fmla="*/ 63196 h 1099040"/>
              <a:gd name="connsiteX6" fmla="*/ 78579 w 2559842"/>
              <a:gd name="connsiteY6" fmla="*/ 63196 h 1099040"/>
              <a:gd name="connsiteX7" fmla="*/ 78579 w 2559842"/>
              <a:gd name="connsiteY7" fmla="*/ 77483 h 1099040"/>
              <a:gd name="connsiteX8" fmla="*/ 85723 w 2559842"/>
              <a:gd name="connsiteY8" fmla="*/ 77483 h 1099040"/>
              <a:gd name="connsiteX9" fmla="*/ 85723 w 2559842"/>
              <a:gd name="connsiteY9" fmla="*/ 91771 h 1099040"/>
              <a:gd name="connsiteX10" fmla="*/ 100011 w 2559842"/>
              <a:gd name="connsiteY10" fmla="*/ 91771 h 1099040"/>
              <a:gd name="connsiteX11" fmla="*/ 100011 w 2559842"/>
              <a:gd name="connsiteY11" fmla="*/ 103677 h 1099040"/>
              <a:gd name="connsiteX12" fmla="*/ 111917 w 2559842"/>
              <a:gd name="connsiteY12" fmla="*/ 103677 h 1099040"/>
              <a:gd name="connsiteX13" fmla="*/ 111917 w 2559842"/>
              <a:gd name="connsiteY13" fmla="*/ 120346 h 1099040"/>
              <a:gd name="connsiteX14" fmla="*/ 126204 w 2559842"/>
              <a:gd name="connsiteY14" fmla="*/ 120346 h 1099040"/>
              <a:gd name="connsiteX15" fmla="*/ 126204 w 2559842"/>
              <a:gd name="connsiteY15" fmla="*/ 129871 h 1099040"/>
              <a:gd name="connsiteX16" fmla="*/ 135729 w 2559842"/>
              <a:gd name="connsiteY16" fmla="*/ 129871 h 1099040"/>
              <a:gd name="connsiteX17" fmla="*/ 135729 w 2559842"/>
              <a:gd name="connsiteY17" fmla="*/ 153683 h 1099040"/>
              <a:gd name="connsiteX18" fmla="*/ 145254 w 2559842"/>
              <a:gd name="connsiteY18" fmla="*/ 153683 h 1099040"/>
              <a:gd name="connsiteX19" fmla="*/ 145254 w 2559842"/>
              <a:gd name="connsiteY19" fmla="*/ 189402 h 1099040"/>
              <a:gd name="connsiteX20" fmla="*/ 145254 w 2559842"/>
              <a:gd name="connsiteY20" fmla="*/ 232265 h 1099040"/>
              <a:gd name="connsiteX21" fmla="*/ 152398 w 2559842"/>
              <a:gd name="connsiteY21" fmla="*/ 232265 h 1099040"/>
              <a:gd name="connsiteX22" fmla="*/ 152398 w 2559842"/>
              <a:gd name="connsiteY22" fmla="*/ 279890 h 1099040"/>
              <a:gd name="connsiteX23" fmla="*/ 157161 w 2559842"/>
              <a:gd name="connsiteY23" fmla="*/ 279890 h 1099040"/>
              <a:gd name="connsiteX24" fmla="*/ 157161 w 2559842"/>
              <a:gd name="connsiteY24" fmla="*/ 298940 h 1099040"/>
              <a:gd name="connsiteX25" fmla="*/ 164304 w 2559842"/>
              <a:gd name="connsiteY25" fmla="*/ 298940 h 1099040"/>
              <a:gd name="connsiteX26" fmla="*/ 164304 w 2559842"/>
              <a:gd name="connsiteY26" fmla="*/ 325133 h 1099040"/>
              <a:gd name="connsiteX27" fmla="*/ 164304 w 2559842"/>
              <a:gd name="connsiteY27" fmla="*/ 327515 h 1099040"/>
              <a:gd name="connsiteX28" fmla="*/ 164304 w 2559842"/>
              <a:gd name="connsiteY28" fmla="*/ 365615 h 1099040"/>
              <a:gd name="connsiteX29" fmla="*/ 176211 w 2559842"/>
              <a:gd name="connsiteY29" fmla="*/ 365615 h 1099040"/>
              <a:gd name="connsiteX30" fmla="*/ 176211 w 2559842"/>
              <a:gd name="connsiteY30" fmla="*/ 382283 h 1099040"/>
              <a:gd name="connsiteX31" fmla="*/ 183354 w 2559842"/>
              <a:gd name="connsiteY31" fmla="*/ 382283 h 1099040"/>
              <a:gd name="connsiteX32" fmla="*/ 183354 w 2559842"/>
              <a:gd name="connsiteY32" fmla="*/ 391808 h 1099040"/>
              <a:gd name="connsiteX33" fmla="*/ 211929 w 2559842"/>
              <a:gd name="connsiteY33" fmla="*/ 391808 h 1099040"/>
              <a:gd name="connsiteX34" fmla="*/ 214311 w 2559842"/>
              <a:gd name="connsiteY34" fmla="*/ 394190 h 1099040"/>
              <a:gd name="connsiteX35" fmla="*/ 226217 w 2559842"/>
              <a:gd name="connsiteY35" fmla="*/ 394190 h 1099040"/>
              <a:gd name="connsiteX36" fmla="*/ 226217 w 2559842"/>
              <a:gd name="connsiteY36" fmla="*/ 432290 h 1099040"/>
              <a:gd name="connsiteX37" fmla="*/ 283367 w 2559842"/>
              <a:gd name="connsiteY37" fmla="*/ 432290 h 1099040"/>
              <a:gd name="connsiteX38" fmla="*/ 283367 w 2559842"/>
              <a:gd name="connsiteY38" fmla="*/ 456102 h 1099040"/>
              <a:gd name="connsiteX39" fmla="*/ 290511 w 2559842"/>
              <a:gd name="connsiteY39" fmla="*/ 456102 h 1099040"/>
              <a:gd name="connsiteX40" fmla="*/ 290511 w 2559842"/>
              <a:gd name="connsiteY40" fmla="*/ 470390 h 1099040"/>
              <a:gd name="connsiteX41" fmla="*/ 304798 w 2559842"/>
              <a:gd name="connsiteY41" fmla="*/ 470390 h 1099040"/>
              <a:gd name="connsiteX42" fmla="*/ 304798 w 2559842"/>
              <a:gd name="connsiteY42" fmla="*/ 479915 h 1099040"/>
              <a:gd name="connsiteX43" fmla="*/ 330992 w 2559842"/>
              <a:gd name="connsiteY43" fmla="*/ 479915 h 1099040"/>
              <a:gd name="connsiteX44" fmla="*/ 335754 w 2559842"/>
              <a:gd name="connsiteY44" fmla="*/ 484677 h 1099040"/>
              <a:gd name="connsiteX45" fmla="*/ 369092 w 2559842"/>
              <a:gd name="connsiteY45" fmla="*/ 484677 h 1099040"/>
              <a:gd name="connsiteX46" fmla="*/ 369092 w 2559842"/>
              <a:gd name="connsiteY46" fmla="*/ 496583 h 1099040"/>
              <a:gd name="connsiteX47" fmla="*/ 383379 w 2559842"/>
              <a:gd name="connsiteY47" fmla="*/ 496583 h 1099040"/>
              <a:gd name="connsiteX48" fmla="*/ 383379 w 2559842"/>
              <a:gd name="connsiteY48" fmla="*/ 563258 h 1099040"/>
              <a:gd name="connsiteX49" fmla="*/ 392904 w 2559842"/>
              <a:gd name="connsiteY49" fmla="*/ 563258 h 1099040"/>
              <a:gd name="connsiteX50" fmla="*/ 392904 w 2559842"/>
              <a:gd name="connsiteY50" fmla="*/ 577546 h 1099040"/>
              <a:gd name="connsiteX51" fmla="*/ 402429 w 2559842"/>
              <a:gd name="connsiteY51" fmla="*/ 577546 h 1099040"/>
              <a:gd name="connsiteX52" fmla="*/ 402429 w 2559842"/>
              <a:gd name="connsiteY52" fmla="*/ 625171 h 1099040"/>
              <a:gd name="connsiteX53" fmla="*/ 402429 w 2559842"/>
              <a:gd name="connsiteY53" fmla="*/ 625171 h 1099040"/>
              <a:gd name="connsiteX54" fmla="*/ 414335 w 2559842"/>
              <a:gd name="connsiteY54" fmla="*/ 637077 h 1099040"/>
              <a:gd name="connsiteX55" fmla="*/ 426242 w 2559842"/>
              <a:gd name="connsiteY55" fmla="*/ 637077 h 1099040"/>
              <a:gd name="connsiteX56" fmla="*/ 426242 w 2559842"/>
              <a:gd name="connsiteY56" fmla="*/ 658508 h 1099040"/>
              <a:gd name="connsiteX57" fmla="*/ 440529 w 2559842"/>
              <a:gd name="connsiteY57" fmla="*/ 658508 h 1099040"/>
              <a:gd name="connsiteX58" fmla="*/ 440529 w 2559842"/>
              <a:gd name="connsiteY58" fmla="*/ 670415 h 1099040"/>
              <a:gd name="connsiteX59" fmla="*/ 454817 w 2559842"/>
              <a:gd name="connsiteY59" fmla="*/ 670415 h 1099040"/>
              <a:gd name="connsiteX60" fmla="*/ 454817 w 2559842"/>
              <a:gd name="connsiteY60" fmla="*/ 677558 h 1099040"/>
              <a:gd name="connsiteX61" fmla="*/ 509586 w 2559842"/>
              <a:gd name="connsiteY61" fmla="*/ 677558 h 1099040"/>
              <a:gd name="connsiteX62" fmla="*/ 516729 w 2559842"/>
              <a:gd name="connsiteY62" fmla="*/ 684701 h 1099040"/>
              <a:gd name="connsiteX63" fmla="*/ 545304 w 2559842"/>
              <a:gd name="connsiteY63" fmla="*/ 684701 h 1099040"/>
              <a:gd name="connsiteX64" fmla="*/ 545304 w 2559842"/>
              <a:gd name="connsiteY64" fmla="*/ 698990 h 1099040"/>
              <a:gd name="connsiteX65" fmla="*/ 561973 w 2559842"/>
              <a:gd name="connsiteY65" fmla="*/ 698990 h 1099040"/>
              <a:gd name="connsiteX66" fmla="*/ 561973 w 2559842"/>
              <a:gd name="connsiteY66" fmla="*/ 713277 h 1099040"/>
              <a:gd name="connsiteX67" fmla="*/ 585786 w 2559842"/>
              <a:gd name="connsiteY67" fmla="*/ 713277 h 1099040"/>
              <a:gd name="connsiteX68" fmla="*/ 585786 w 2559842"/>
              <a:gd name="connsiteY68" fmla="*/ 718040 h 1099040"/>
              <a:gd name="connsiteX69" fmla="*/ 611979 w 2559842"/>
              <a:gd name="connsiteY69" fmla="*/ 718040 h 1099040"/>
              <a:gd name="connsiteX70" fmla="*/ 611979 w 2559842"/>
              <a:gd name="connsiteY70" fmla="*/ 727565 h 1099040"/>
              <a:gd name="connsiteX71" fmla="*/ 626267 w 2559842"/>
              <a:gd name="connsiteY71" fmla="*/ 727565 h 1099040"/>
              <a:gd name="connsiteX72" fmla="*/ 626267 w 2559842"/>
              <a:gd name="connsiteY72" fmla="*/ 739471 h 1099040"/>
              <a:gd name="connsiteX73" fmla="*/ 647698 w 2559842"/>
              <a:gd name="connsiteY73" fmla="*/ 739471 h 1099040"/>
              <a:gd name="connsiteX74" fmla="*/ 647698 w 2559842"/>
              <a:gd name="connsiteY74" fmla="*/ 751377 h 1099040"/>
              <a:gd name="connsiteX75" fmla="*/ 666748 w 2559842"/>
              <a:gd name="connsiteY75" fmla="*/ 751377 h 1099040"/>
              <a:gd name="connsiteX76" fmla="*/ 666748 w 2559842"/>
              <a:gd name="connsiteY76" fmla="*/ 765665 h 1099040"/>
              <a:gd name="connsiteX77" fmla="*/ 671511 w 2559842"/>
              <a:gd name="connsiteY77" fmla="*/ 765665 h 1099040"/>
              <a:gd name="connsiteX78" fmla="*/ 671511 w 2559842"/>
              <a:gd name="connsiteY78" fmla="*/ 770427 h 1099040"/>
              <a:gd name="connsiteX79" fmla="*/ 783429 w 2559842"/>
              <a:gd name="connsiteY79" fmla="*/ 770427 h 1099040"/>
              <a:gd name="connsiteX80" fmla="*/ 783429 w 2559842"/>
              <a:gd name="connsiteY80" fmla="*/ 779952 h 1099040"/>
              <a:gd name="connsiteX81" fmla="*/ 831054 w 2559842"/>
              <a:gd name="connsiteY81" fmla="*/ 779952 h 1099040"/>
              <a:gd name="connsiteX82" fmla="*/ 831054 w 2559842"/>
              <a:gd name="connsiteY82" fmla="*/ 799002 h 1099040"/>
              <a:gd name="connsiteX83" fmla="*/ 881061 w 2559842"/>
              <a:gd name="connsiteY83" fmla="*/ 799002 h 1099040"/>
              <a:gd name="connsiteX84" fmla="*/ 881061 w 2559842"/>
              <a:gd name="connsiteY84" fmla="*/ 799002 h 1099040"/>
              <a:gd name="connsiteX85" fmla="*/ 882722 w 2559842"/>
              <a:gd name="connsiteY85" fmla="*/ 810306 h 1099040"/>
              <a:gd name="connsiteX86" fmla="*/ 884483 w 2559842"/>
              <a:gd name="connsiteY86" fmla="*/ 822179 h 1099040"/>
              <a:gd name="connsiteX87" fmla="*/ 945354 w 2559842"/>
              <a:gd name="connsiteY87" fmla="*/ 820433 h 1099040"/>
              <a:gd name="connsiteX88" fmla="*/ 945354 w 2559842"/>
              <a:gd name="connsiteY88" fmla="*/ 849008 h 1099040"/>
              <a:gd name="connsiteX89" fmla="*/ 1181098 w 2559842"/>
              <a:gd name="connsiteY89" fmla="*/ 849008 h 1099040"/>
              <a:gd name="connsiteX90" fmla="*/ 1181098 w 2559842"/>
              <a:gd name="connsiteY90" fmla="*/ 870440 h 1099040"/>
              <a:gd name="connsiteX91" fmla="*/ 1364454 w 2559842"/>
              <a:gd name="connsiteY91" fmla="*/ 870440 h 1099040"/>
              <a:gd name="connsiteX92" fmla="*/ 1364454 w 2559842"/>
              <a:gd name="connsiteY92" fmla="*/ 887108 h 1099040"/>
              <a:gd name="connsiteX93" fmla="*/ 1454942 w 2559842"/>
              <a:gd name="connsiteY93" fmla="*/ 887108 h 1099040"/>
              <a:gd name="connsiteX94" fmla="*/ 1454942 w 2559842"/>
              <a:gd name="connsiteY94" fmla="*/ 908540 h 1099040"/>
              <a:gd name="connsiteX95" fmla="*/ 1728786 w 2559842"/>
              <a:gd name="connsiteY95" fmla="*/ 908540 h 1099040"/>
              <a:gd name="connsiteX96" fmla="*/ 1728786 w 2559842"/>
              <a:gd name="connsiteY96" fmla="*/ 932352 h 1099040"/>
              <a:gd name="connsiteX97" fmla="*/ 1816892 w 2559842"/>
              <a:gd name="connsiteY97" fmla="*/ 932352 h 1099040"/>
              <a:gd name="connsiteX98" fmla="*/ 1816892 w 2559842"/>
              <a:gd name="connsiteY98" fmla="*/ 965690 h 1099040"/>
              <a:gd name="connsiteX99" fmla="*/ 2057398 w 2559842"/>
              <a:gd name="connsiteY99" fmla="*/ 965690 h 1099040"/>
              <a:gd name="connsiteX100" fmla="*/ 2057398 w 2559842"/>
              <a:gd name="connsiteY100" fmla="*/ 1001408 h 1099040"/>
              <a:gd name="connsiteX101" fmla="*/ 2102642 w 2559842"/>
              <a:gd name="connsiteY101" fmla="*/ 1001408 h 1099040"/>
              <a:gd name="connsiteX102" fmla="*/ 2102642 w 2559842"/>
              <a:gd name="connsiteY102" fmla="*/ 1032365 h 1099040"/>
              <a:gd name="connsiteX103" fmla="*/ 2288379 w 2559842"/>
              <a:gd name="connsiteY103" fmla="*/ 1032365 h 1099040"/>
              <a:gd name="connsiteX104" fmla="*/ 2288379 w 2559842"/>
              <a:gd name="connsiteY104" fmla="*/ 1099040 h 1099040"/>
              <a:gd name="connsiteX105" fmla="*/ 2559842 w 2559842"/>
              <a:gd name="connsiteY105" fmla="*/ 1099040 h 1099040"/>
              <a:gd name="connsiteX0" fmla="*/ 0 w 2559842"/>
              <a:gd name="connsiteY0" fmla="*/ 10808 h 1099040"/>
              <a:gd name="connsiteX1" fmla="*/ 9101 w 2559842"/>
              <a:gd name="connsiteY1" fmla="*/ 11200 h 1099040"/>
              <a:gd name="connsiteX2" fmla="*/ 57149 w 2559842"/>
              <a:gd name="connsiteY2" fmla="*/ 17953 h 1099040"/>
              <a:gd name="connsiteX3" fmla="*/ 54767 w 2559842"/>
              <a:gd name="connsiteY3" fmla="*/ 56052 h 1099040"/>
              <a:gd name="connsiteX4" fmla="*/ 73817 w 2559842"/>
              <a:gd name="connsiteY4" fmla="*/ 56052 h 1099040"/>
              <a:gd name="connsiteX5" fmla="*/ 73817 w 2559842"/>
              <a:gd name="connsiteY5" fmla="*/ 63196 h 1099040"/>
              <a:gd name="connsiteX6" fmla="*/ 78579 w 2559842"/>
              <a:gd name="connsiteY6" fmla="*/ 63196 h 1099040"/>
              <a:gd name="connsiteX7" fmla="*/ 78579 w 2559842"/>
              <a:gd name="connsiteY7" fmla="*/ 77483 h 1099040"/>
              <a:gd name="connsiteX8" fmla="*/ 85723 w 2559842"/>
              <a:gd name="connsiteY8" fmla="*/ 77483 h 1099040"/>
              <a:gd name="connsiteX9" fmla="*/ 85723 w 2559842"/>
              <a:gd name="connsiteY9" fmla="*/ 91771 h 1099040"/>
              <a:gd name="connsiteX10" fmla="*/ 100011 w 2559842"/>
              <a:gd name="connsiteY10" fmla="*/ 91771 h 1099040"/>
              <a:gd name="connsiteX11" fmla="*/ 100011 w 2559842"/>
              <a:gd name="connsiteY11" fmla="*/ 103677 h 1099040"/>
              <a:gd name="connsiteX12" fmla="*/ 111917 w 2559842"/>
              <a:gd name="connsiteY12" fmla="*/ 103677 h 1099040"/>
              <a:gd name="connsiteX13" fmla="*/ 111917 w 2559842"/>
              <a:gd name="connsiteY13" fmla="*/ 120346 h 1099040"/>
              <a:gd name="connsiteX14" fmla="*/ 126204 w 2559842"/>
              <a:gd name="connsiteY14" fmla="*/ 120346 h 1099040"/>
              <a:gd name="connsiteX15" fmla="*/ 126204 w 2559842"/>
              <a:gd name="connsiteY15" fmla="*/ 129871 h 1099040"/>
              <a:gd name="connsiteX16" fmla="*/ 135729 w 2559842"/>
              <a:gd name="connsiteY16" fmla="*/ 129871 h 1099040"/>
              <a:gd name="connsiteX17" fmla="*/ 135729 w 2559842"/>
              <a:gd name="connsiteY17" fmla="*/ 153683 h 1099040"/>
              <a:gd name="connsiteX18" fmla="*/ 145254 w 2559842"/>
              <a:gd name="connsiteY18" fmla="*/ 153683 h 1099040"/>
              <a:gd name="connsiteX19" fmla="*/ 145254 w 2559842"/>
              <a:gd name="connsiteY19" fmla="*/ 189402 h 1099040"/>
              <a:gd name="connsiteX20" fmla="*/ 145254 w 2559842"/>
              <a:gd name="connsiteY20" fmla="*/ 232265 h 1099040"/>
              <a:gd name="connsiteX21" fmla="*/ 152398 w 2559842"/>
              <a:gd name="connsiteY21" fmla="*/ 232265 h 1099040"/>
              <a:gd name="connsiteX22" fmla="*/ 152398 w 2559842"/>
              <a:gd name="connsiteY22" fmla="*/ 279890 h 1099040"/>
              <a:gd name="connsiteX23" fmla="*/ 157161 w 2559842"/>
              <a:gd name="connsiteY23" fmla="*/ 279890 h 1099040"/>
              <a:gd name="connsiteX24" fmla="*/ 157161 w 2559842"/>
              <a:gd name="connsiteY24" fmla="*/ 298940 h 1099040"/>
              <a:gd name="connsiteX25" fmla="*/ 164304 w 2559842"/>
              <a:gd name="connsiteY25" fmla="*/ 298940 h 1099040"/>
              <a:gd name="connsiteX26" fmla="*/ 164304 w 2559842"/>
              <a:gd name="connsiteY26" fmla="*/ 325133 h 1099040"/>
              <a:gd name="connsiteX27" fmla="*/ 164304 w 2559842"/>
              <a:gd name="connsiteY27" fmla="*/ 327515 h 1099040"/>
              <a:gd name="connsiteX28" fmla="*/ 164304 w 2559842"/>
              <a:gd name="connsiteY28" fmla="*/ 365615 h 1099040"/>
              <a:gd name="connsiteX29" fmla="*/ 176211 w 2559842"/>
              <a:gd name="connsiteY29" fmla="*/ 365615 h 1099040"/>
              <a:gd name="connsiteX30" fmla="*/ 176211 w 2559842"/>
              <a:gd name="connsiteY30" fmla="*/ 382283 h 1099040"/>
              <a:gd name="connsiteX31" fmla="*/ 183354 w 2559842"/>
              <a:gd name="connsiteY31" fmla="*/ 382283 h 1099040"/>
              <a:gd name="connsiteX32" fmla="*/ 183354 w 2559842"/>
              <a:gd name="connsiteY32" fmla="*/ 391808 h 1099040"/>
              <a:gd name="connsiteX33" fmla="*/ 211929 w 2559842"/>
              <a:gd name="connsiteY33" fmla="*/ 391808 h 1099040"/>
              <a:gd name="connsiteX34" fmla="*/ 214311 w 2559842"/>
              <a:gd name="connsiteY34" fmla="*/ 394190 h 1099040"/>
              <a:gd name="connsiteX35" fmla="*/ 226217 w 2559842"/>
              <a:gd name="connsiteY35" fmla="*/ 394190 h 1099040"/>
              <a:gd name="connsiteX36" fmla="*/ 226217 w 2559842"/>
              <a:gd name="connsiteY36" fmla="*/ 432290 h 1099040"/>
              <a:gd name="connsiteX37" fmla="*/ 283367 w 2559842"/>
              <a:gd name="connsiteY37" fmla="*/ 432290 h 1099040"/>
              <a:gd name="connsiteX38" fmla="*/ 283367 w 2559842"/>
              <a:gd name="connsiteY38" fmla="*/ 456102 h 1099040"/>
              <a:gd name="connsiteX39" fmla="*/ 290511 w 2559842"/>
              <a:gd name="connsiteY39" fmla="*/ 456102 h 1099040"/>
              <a:gd name="connsiteX40" fmla="*/ 290511 w 2559842"/>
              <a:gd name="connsiteY40" fmla="*/ 470390 h 1099040"/>
              <a:gd name="connsiteX41" fmla="*/ 304798 w 2559842"/>
              <a:gd name="connsiteY41" fmla="*/ 470390 h 1099040"/>
              <a:gd name="connsiteX42" fmla="*/ 304798 w 2559842"/>
              <a:gd name="connsiteY42" fmla="*/ 479915 h 1099040"/>
              <a:gd name="connsiteX43" fmla="*/ 330992 w 2559842"/>
              <a:gd name="connsiteY43" fmla="*/ 479915 h 1099040"/>
              <a:gd name="connsiteX44" fmla="*/ 335754 w 2559842"/>
              <a:gd name="connsiteY44" fmla="*/ 484677 h 1099040"/>
              <a:gd name="connsiteX45" fmla="*/ 369092 w 2559842"/>
              <a:gd name="connsiteY45" fmla="*/ 484677 h 1099040"/>
              <a:gd name="connsiteX46" fmla="*/ 369092 w 2559842"/>
              <a:gd name="connsiteY46" fmla="*/ 496583 h 1099040"/>
              <a:gd name="connsiteX47" fmla="*/ 383379 w 2559842"/>
              <a:gd name="connsiteY47" fmla="*/ 496583 h 1099040"/>
              <a:gd name="connsiteX48" fmla="*/ 383379 w 2559842"/>
              <a:gd name="connsiteY48" fmla="*/ 563258 h 1099040"/>
              <a:gd name="connsiteX49" fmla="*/ 392904 w 2559842"/>
              <a:gd name="connsiteY49" fmla="*/ 563258 h 1099040"/>
              <a:gd name="connsiteX50" fmla="*/ 392904 w 2559842"/>
              <a:gd name="connsiteY50" fmla="*/ 577546 h 1099040"/>
              <a:gd name="connsiteX51" fmla="*/ 402429 w 2559842"/>
              <a:gd name="connsiteY51" fmla="*/ 577546 h 1099040"/>
              <a:gd name="connsiteX52" fmla="*/ 402429 w 2559842"/>
              <a:gd name="connsiteY52" fmla="*/ 625171 h 1099040"/>
              <a:gd name="connsiteX53" fmla="*/ 402429 w 2559842"/>
              <a:gd name="connsiteY53" fmla="*/ 625171 h 1099040"/>
              <a:gd name="connsiteX54" fmla="*/ 407598 w 2559842"/>
              <a:gd name="connsiteY54" fmla="*/ 632608 h 1099040"/>
              <a:gd name="connsiteX55" fmla="*/ 414335 w 2559842"/>
              <a:gd name="connsiteY55" fmla="*/ 637077 h 1099040"/>
              <a:gd name="connsiteX56" fmla="*/ 426242 w 2559842"/>
              <a:gd name="connsiteY56" fmla="*/ 637077 h 1099040"/>
              <a:gd name="connsiteX57" fmla="*/ 426242 w 2559842"/>
              <a:gd name="connsiteY57" fmla="*/ 658508 h 1099040"/>
              <a:gd name="connsiteX58" fmla="*/ 440529 w 2559842"/>
              <a:gd name="connsiteY58" fmla="*/ 658508 h 1099040"/>
              <a:gd name="connsiteX59" fmla="*/ 440529 w 2559842"/>
              <a:gd name="connsiteY59" fmla="*/ 670415 h 1099040"/>
              <a:gd name="connsiteX60" fmla="*/ 454817 w 2559842"/>
              <a:gd name="connsiteY60" fmla="*/ 670415 h 1099040"/>
              <a:gd name="connsiteX61" fmla="*/ 454817 w 2559842"/>
              <a:gd name="connsiteY61" fmla="*/ 677558 h 1099040"/>
              <a:gd name="connsiteX62" fmla="*/ 509586 w 2559842"/>
              <a:gd name="connsiteY62" fmla="*/ 677558 h 1099040"/>
              <a:gd name="connsiteX63" fmla="*/ 516729 w 2559842"/>
              <a:gd name="connsiteY63" fmla="*/ 684701 h 1099040"/>
              <a:gd name="connsiteX64" fmla="*/ 545304 w 2559842"/>
              <a:gd name="connsiteY64" fmla="*/ 684701 h 1099040"/>
              <a:gd name="connsiteX65" fmla="*/ 545304 w 2559842"/>
              <a:gd name="connsiteY65" fmla="*/ 698990 h 1099040"/>
              <a:gd name="connsiteX66" fmla="*/ 561973 w 2559842"/>
              <a:gd name="connsiteY66" fmla="*/ 698990 h 1099040"/>
              <a:gd name="connsiteX67" fmla="*/ 561973 w 2559842"/>
              <a:gd name="connsiteY67" fmla="*/ 713277 h 1099040"/>
              <a:gd name="connsiteX68" fmla="*/ 585786 w 2559842"/>
              <a:gd name="connsiteY68" fmla="*/ 713277 h 1099040"/>
              <a:gd name="connsiteX69" fmla="*/ 585786 w 2559842"/>
              <a:gd name="connsiteY69" fmla="*/ 718040 h 1099040"/>
              <a:gd name="connsiteX70" fmla="*/ 611979 w 2559842"/>
              <a:gd name="connsiteY70" fmla="*/ 718040 h 1099040"/>
              <a:gd name="connsiteX71" fmla="*/ 611979 w 2559842"/>
              <a:gd name="connsiteY71" fmla="*/ 727565 h 1099040"/>
              <a:gd name="connsiteX72" fmla="*/ 626267 w 2559842"/>
              <a:gd name="connsiteY72" fmla="*/ 727565 h 1099040"/>
              <a:gd name="connsiteX73" fmla="*/ 626267 w 2559842"/>
              <a:gd name="connsiteY73" fmla="*/ 739471 h 1099040"/>
              <a:gd name="connsiteX74" fmla="*/ 647698 w 2559842"/>
              <a:gd name="connsiteY74" fmla="*/ 739471 h 1099040"/>
              <a:gd name="connsiteX75" fmla="*/ 647698 w 2559842"/>
              <a:gd name="connsiteY75" fmla="*/ 751377 h 1099040"/>
              <a:gd name="connsiteX76" fmla="*/ 666748 w 2559842"/>
              <a:gd name="connsiteY76" fmla="*/ 751377 h 1099040"/>
              <a:gd name="connsiteX77" fmla="*/ 666748 w 2559842"/>
              <a:gd name="connsiteY77" fmla="*/ 765665 h 1099040"/>
              <a:gd name="connsiteX78" fmla="*/ 671511 w 2559842"/>
              <a:gd name="connsiteY78" fmla="*/ 765665 h 1099040"/>
              <a:gd name="connsiteX79" fmla="*/ 671511 w 2559842"/>
              <a:gd name="connsiteY79" fmla="*/ 770427 h 1099040"/>
              <a:gd name="connsiteX80" fmla="*/ 783429 w 2559842"/>
              <a:gd name="connsiteY80" fmla="*/ 770427 h 1099040"/>
              <a:gd name="connsiteX81" fmla="*/ 783429 w 2559842"/>
              <a:gd name="connsiteY81" fmla="*/ 779952 h 1099040"/>
              <a:gd name="connsiteX82" fmla="*/ 831054 w 2559842"/>
              <a:gd name="connsiteY82" fmla="*/ 779952 h 1099040"/>
              <a:gd name="connsiteX83" fmla="*/ 831054 w 2559842"/>
              <a:gd name="connsiteY83" fmla="*/ 799002 h 1099040"/>
              <a:gd name="connsiteX84" fmla="*/ 881061 w 2559842"/>
              <a:gd name="connsiteY84" fmla="*/ 799002 h 1099040"/>
              <a:gd name="connsiteX85" fmla="*/ 881061 w 2559842"/>
              <a:gd name="connsiteY85" fmla="*/ 799002 h 1099040"/>
              <a:gd name="connsiteX86" fmla="*/ 882722 w 2559842"/>
              <a:gd name="connsiteY86" fmla="*/ 810306 h 1099040"/>
              <a:gd name="connsiteX87" fmla="*/ 884483 w 2559842"/>
              <a:gd name="connsiteY87" fmla="*/ 822179 h 1099040"/>
              <a:gd name="connsiteX88" fmla="*/ 945354 w 2559842"/>
              <a:gd name="connsiteY88" fmla="*/ 820433 h 1099040"/>
              <a:gd name="connsiteX89" fmla="*/ 945354 w 2559842"/>
              <a:gd name="connsiteY89" fmla="*/ 849008 h 1099040"/>
              <a:gd name="connsiteX90" fmla="*/ 1181098 w 2559842"/>
              <a:gd name="connsiteY90" fmla="*/ 849008 h 1099040"/>
              <a:gd name="connsiteX91" fmla="*/ 1181098 w 2559842"/>
              <a:gd name="connsiteY91" fmla="*/ 870440 h 1099040"/>
              <a:gd name="connsiteX92" fmla="*/ 1364454 w 2559842"/>
              <a:gd name="connsiteY92" fmla="*/ 870440 h 1099040"/>
              <a:gd name="connsiteX93" fmla="*/ 1364454 w 2559842"/>
              <a:gd name="connsiteY93" fmla="*/ 887108 h 1099040"/>
              <a:gd name="connsiteX94" fmla="*/ 1454942 w 2559842"/>
              <a:gd name="connsiteY94" fmla="*/ 887108 h 1099040"/>
              <a:gd name="connsiteX95" fmla="*/ 1454942 w 2559842"/>
              <a:gd name="connsiteY95" fmla="*/ 908540 h 1099040"/>
              <a:gd name="connsiteX96" fmla="*/ 1728786 w 2559842"/>
              <a:gd name="connsiteY96" fmla="*/ 908540 h 1099040"/>
              <a:gd name="connsiteX97" fmla="*/ 1728786 w 2559842"/>
              <a:gd name="connsiteY97" fmla="*/ 932352 h 1099040"/>
              <a:gd name="connsiteX98" fmla="*/ 1816892 w 2559842"/>
              <a:gd name="connsiteY98" fmla="*/ 932352 h 1099040"/>
              <a:gd name="connsiteX99" fmla="*/ 1816892 w 2559842"/>
              <a:gd name="connsiteY99" fmla="*/ 965690 h 1099040"/>
              <a:gd name="connsiteX100" fmla="*/ 2057398 w 2559842"/>
              <a:gd name="connsiteY100" fmla="*/ 965690 h 1099040"/>
              <a:gd name="connsiteX101" fmla="*/ 2057398 w 2559842"/>
              <a:gd name="connsiteY101" fmla="*/ 1001408 h 1099040"/>
              <a:gd name="connsiteX102" fmla="*/ 2102642 w 2559842"/>
              <a:gd name="connsiteY102" fmla="*/ 1001408 h 1099040"/>
              <a:gd name="connsiteX103" fmla="*/ 2102642 w 2559842"/>
              <a:gd name="connsiteY103" fmla="*/ 1032365 h 1099040"/>
              <a:gd name="connsiteX104" fmla="*/ 2288379 w 2559842"/>
              <a:gd name="connsiteY104" fmla="*/ 1032365 h 1099040"/>
              <a:gd name="connsiteX105" fmla="*/ 2288379 w 2559842"/>
              <a:gd name="connsiteY105" fmla="*/ 1099040 h 1099040"/>
              <a:gd name="connsiteX106" fmla="*/ 2559842 w 2559842"/>
              <a:gd name="connsiteY106" fmla="*/ 1099040 h 1099040"/>
              <a:gd name="connsiteX0" fmla="*/ 0 w 2559842"/>
              <a:gd name="connsiteY0" fmla="*/ 10808 h 1099040"/>
              <a:gd name="connsiteX1" fmla="*/ 9101 w 2559842"/>
              <a:gd name="connsiteY1" fmla="*/ 11200 h 1099040"/>
              <a:gd name="connsiteX2" fmla="*/ 57149 w 2559842"/>
              <a:gd name="connsiteY2" fmla="*/ 17953 h 1099040"/>
              <a:gd name="connsiteX3" fmla="*/ 54767 w 2559842"/>
              <a:gd name="connsiteY3" fmla="*/ 56052 h 1099040"/>
              <a:gd name="connsiteX4" fmla="*/ 73817 w 2559842"/>
              <a:gd name="connsiteY4" fmla="*/ 56052 h 1099040"/>
              <a:gd name="connsiteX5" fmla="*/ 73817 w 2559842"/>
              <a:gd name="connsiteY5" fmla="*/ 63196 h 1099040"/>
              <a:gd name="connsiteX6" fmla="*/ 78579 w 2559842"/>
              <a:gd name="connsiteY6" fmla="*/ 63196 h 1099040"/>
              <a:gd name="connsiteX7" fmla="*/ 78579 w 2559842"/>
              <a:gd name="connsiteY7" fmla="*/ 77483 h 1099040"/>
              <a:gd name="connsiteX8" fmla="*/ 85723 w 2559842"/>
              <a:gd name="connsiteY8" fmla="*/ 77483 h 1099040"/>
              <a:gd name="connsiteX9" fmla="*/ 85723 w 2559842"/>
              <a:gd name="connsiteY9" fmla="*/ 91771 h 1099040"/>
              <a:gd name="connsiteX10" fmla="*/ 100011 w 2559842"/>
              <a:gd name="connsiteY10" fmla="*/ 91771 h 1099040"/>
              <a:gd name="connsiteX11" fmla="*/ 100011 w 2559842"/>
              <a:gd name="connsiteY11" fmla="*/ 103677 h 1099040"/>
              <a:gd name="connsiteX12" fmla="*/ 111917 w 2559842"/>
              <a:gd name="connsiteY12" fmla="*/ 103677 h 1099040"/>
              <a:gd name="connsiteX13" fmla="*/ 111917 w 2559842"/>
              <a:gd name="connsiteY13" fmla="*/ 120346 h 1099040"/>
              <a:gd name="connsiteX14" fmla="*/ 126204 w 2559842"/>
              <a:gd name="connsiteY14" fmla="*/ 120346 h 1099040"/>
              <a:gd name="connsiteX15" fmla="*/ 126204 w 2559842"/>
              <a:gd name="connsiteY15" fmla="*/ 129871 h 1099040"/>
              <a:gd name="connsiteX16" fmla="*/ 135729 w 2559842"/>
              <a:gd name="connsiteY16" fmla="*/ 129871 h 1099040"/>
              <a:gd name="connsiteX17" fmla="*/ 135729 w 2559842"/>
              <a:gd name="connsiteY17" fmla="*/ 153683 h 1099040"/>
              <a:gd name="connsiteX18" fmla="*/ 145254 w 2559842"/>
              <a:gd name="connsiteY18" fmla="*/ 153683 h 1099040"/>
              <a:gd name="connsiteX19" fmla="*/ 145254 w 2559842"/>
              <a:gd name="connsiteY19" fmla="*/ 189402 h 1099040"/>
              <a:gd name="connsiteX20" fmla="*/ 145254 w 2559842"/>
              <a:gd name="connsiteY20" fmla="*/ 232265 h 1099040"/>
              <a:gd name="connsiteX21" fmla="*/ 152398 w 2559842"/>
              <a:gd name="connsiteY21" fmla="*/ 232265 h 1099040"/>
              <a:gd name="connsiteX22" fmla="*/ 152398 w 2559842"/>
              <a:gd name="connsiteY22" fmla="*/ 279890 h 1099040"/>
              <a:gd name="connsiteX23" fmla="*/ 157161 w 2559842"/>
              <a:gd name="connsiteY23" fmla="*/ 279890 h 1099040"/>
              <a:gd name="connsiteX24" fmla="*/ 157161 w 2559842"/>
              <a:gd name="connsiteY24" fmla="*/ 298940 h 1099040"/>
              <a:gd name="connsiteX25" fmla="*/ 164304 w 2559842"/>
              <a:gd name="connsiteY25" fmla="*/ 298940 h 1099040"/>
              <a:gd name="connsiteX26" fmla="*/ 164304 w 2559842"/>
              <a:gd name="connsiteY26" fmla="*/ 325133 h 1099040"/>
              <a:gd name="connsiteX27" fmla="*/ 164304 w 2559842"/>
              <a:gd name="connsiteY27" fmla="*/ 327515 h 1099040"/>
              <a:gd name="connsiteX28" fmla="*/ 164304 w 2559842"/>
              <a:gd name="connsiteY28" fmla="*/ 365615 h 1099040"/>
              <a:gd name="connsiteX29" fmla="*/ 176211 w 2559842"/>
              <a:gd name="connsiteY29" fmla="*/ 365615 h 1099040"/>
              <a:gd name="connsiteX30" fmla="*/ 176211 w 2559842"/>
              <a:gd name="connsiteY30" fmla="*/ 382283 h 1099040"/>
              <a:gd name="connsiteX31" fmla="*/ 183354 w 2559842"/>
              <a:gd name="connsiteY31" fmla="*/ 382283 h 1099040"/>
              <a:gd name="connsiteX32" fmla="*/ 183354 w 2559842"/>
              <a:gd name="connsiteY32" fmla="*/ 391808 h 1099040"/>
              <a:gd name="connsiteX33" fmla="*/ 211929 w 2559842"/>
              <a:gd name="connsiteY33" fmla="*/ 391808 h 1099040"/>
              <a:gd name="connsiteX34" fmla="*/ 214311 w 2559842"/>
              <a:gd name="connsiteY34" fmla="*/ 394190 h 1099040"/>
              <a:gd name="connsiteX35" fmla="*/ 226217 w 2559842"/>
              <a:gd name="connsiteY35" fmla="*/ 394190 h 1099040"/>
              <a:gd name="connsiteX36" fmla="*/ 226217 w 2559842"/>
              <a:gd name="connsiteY36" fmla="*/ 432290 h 1099040"/>
              <a:gd name="connsiteX37" fmla="*/ 283367 w 2559842"/>
              <a:gd name="connsiteY37" fmla="*/ 432290 h 1099040"/>
              <a:gd name="connsiteX38" fmla="*/ 283367 w 2559842"/>
              <a:gd name="connsiteY38" fmla="*/ 456102 h 1099040"/>
              <a:gd name="connsiteX39" fmla="*/ 290511 w 2559842"/>
              <a:gd name="connsiteY39" fmla="*/ 456102 h 1099040"/>
              <a:gd name="connsiteX40" fmla="*/ 290511 w 2559842"/>
              <a:gd name="connsiteY40" fmla="*/ 470390 h 1099040"/>
              <a:gd name="connsiteX41" fmla="*/ 304798 w 2559842"/>
              <a:gd name="connsiteY41" fmla="*/ 470390 h 1099040"/>
              <a:gd name="connsiteX42" fmla="*/ 304798 w 2559842"/>
              <a:gd name="connsiteY42" fmla="*/ 479915 h 1099040"/>
              <a:gd name="connsiteX43" fmla="*/ 330992 w 2559842"/>
              <a:gd name="connsiteY43" fmla="*/ 479915 h 1099040"/>
              <a:gd name="connsiteX44" fmla="*/ 335754 w 2559842"/>
              <a:gd name="connsiteY44" fmla="*/ 484677 h 1099040"/>
              <a:gd name="connsiteX45" fmla="*/ 369092 w 2559842"/>
              <a:gd name="connsiteY45" fmla="*/ 484677 h 1099040"/>
              <a:gd name="connsiteX46" fmla="*/ 369092 w 2559842"/>
              <a:gd name="connsiteY46" fmla="*/ 496583 h 1099040"/>
              <a:gd name="connsiteX47" fmla="*/ 383379 w 2559842"/>
              <a:gd name="connsiteY47" fmla="*/ 496583 h 1099040"/>
              <a:gd name="connsiteX48" fmla="*/ 383379 w 2559842"/>
              <a:gd name="connsiteY48" fmla="*/ 563258 h 1099040"/>
              <a:gd name="connsiteX49" fmla="*/ 392904 w 2559842"/>
              <a:gd name="connsiteY49" fmla="*/ 563258 h 1099040"/>
              <a:gd name="connsiteX50" fmla="*/ 392904 w 2559842"/>
              <a:gd name="connsiteY50" fmla="*/ 577546 h 1099040"/>
              <a:gd name="connsiteX51" fmla="*/ 402429 w 2559842"/>
              <a:gd name="connsiteY51" fmla="*/ 577546 h 1099040"/>
              <a:gd name="connsiteX52" fmla="*/ 402429 w 2559842"/>
              <a:gd name="connsiteY52" fmla="*/ 625171 h 1099040"/>
              <a:gd name="connsiteX53" fmla="*/ 402429 w 2559842"/>
              <a:gd name="connsiteY53" fmla="*/ 625171 h 1099040"/>
              <a:gd name="connsiteX54" fmla="*/ 412561 w 2559842"/>
              <a:gd name="connsiteY54" fmla="*/ 626574 h 1099040"/>
              <a:gd name="connsiteX55" fmla="*/ 414335 w 2559842"/>
              <a:gd name="connsiteY55" fmla="*/ 637077 h 1099040"/>
              <a:gd name="connsiteX56" fmla="*/ 426242 w 2559842"/>
              <a:gd name="connsiteY56" fmla="*/ 637077 h 1099040"/>
              <a:gd name="connsiteX57" fmla="*/ 426242 w 2559842"/>
              <a:gd name="connsiteY57" fmla="*/ 658508 h 1099040"/>
              <a:gd name="connsiteX58" fmla="*/ 440529 w 2559842"/>
              <a:gd name="connsiteY58" fmla="*/ 658508 h 1099040"/>
              <a:gd name="connsiteX59" fmla="*/ 440529 w 2559842"/>
              <a:gd name="connsiteY59" fmla="*/ 670415 h 1099040"/>
              <a:gd name="connsiteX60" fmla="*/ 454817 w 2559842"/>
              <a:gd name="connsiteY60" fmla="*/ 670415 h 1099040"/>
              <a:gd name="connsiteX61" fmla="*/ 454817 w 2559842"/>
              <a:gd name="connsiteY61" fmla="*/ 677558 h 1099040"/>
              <a:gd name="connsiteX62" fmla="*/ 509586 w 2559842"/>
              <a:gd name="connsiteY62" fmla="*/ 677558 h 1099040"/>
              <a:gd name="connsiteX63" fmla="*/ 516729 w 2559842"/>
              <a:gd name="connsiteY63" fmla="*/ 684701 h 1099040"/>
              <a:gd name="connsiteX64" fmla="*/ 545304 w 2559842"/>
              <a:gd name="connsiteY64" fmla="*/ 684701 h 1099040"/>
              <a:gd name="connsiteX65" fmla="*/ 545304 w 2559842"/>
              <a:gd name="connsiteY65" fmla="*/ 698990 h 1099040"/>
              <a:gd name="connsiteX66" fmla="*/ 561973 w 2559842"/>
              <a:gd name="connsiteY66" fmla="*/ 698990 h 1099040"/>
              <a:gd name="connsiteX67" fmla="*/ 561973 w 2559842"/>
              <a:gd name="connsiteY67" fmla="*/ 713277 h 1099040"/>
              <a:gd name="connsiteX68" fmla="*/ 585786 w 2559842"/>
              <a:gd name="connsiteY68" fmla="*/ 713277 h 1099040"/>
              <a:gd name="connsiteX69" fmla="*/ 585786 w 2559842"/>
              <a:gd name="connsiteY69" fmla="*/ 718040 h 1099040"/>
              <a:gd name="connsiteX70" fmla="*/ 611979 w 2559842"/>
              <a:gd name="connsiteY70" fmla="*/ 718040 h 1099040"/>
              <a:gd name="connsiteX71" fmla="*/ 611979 w 2559842"/>
              <a:gd name="connsiteY71" fmla="*/ 727565 h 1099040"/>
              <a:gd name="connsiteX72" fmla="*/ 626267 w 2559842"/>
              <a:gd name="connsiteY72" fmla="*/ 727565 h 1099040"/>
              <a:gd name="connsiteX73" fmla="*/ 626267 w 2559842"/>
              <a:gd name="connsiteY73" fmla="*/ 739471 h 1099040"/>
              <a:gd name="connsiteX74" fmla="*/ 647698 w 2559842"/>
              <a:gd name="connsiteY74" fmla="*/ 739471 h 1099040"/>
              <a:gd name="connsiteX75" fmla="*/ 647698 w 2559842"/>
              <a:gd name="connsiteY75" fmla="*/ 751377 h 1099040"/>
              <a:gd name="connsiteX76" fmla="*/ 666748 w 2559842"/>
              <a:gd name="connsiteY76" fmla="*/ 751377 h 1099040"/>
              <a:gd name="connsiteX77" fmla="*/ 666748 w 2559842"/>
              <a:gd name="connsiteY77" fmla="*/ 765665 h 1099040"/>
              <a:gd name="connsiteX78" fmla="*/ 671511 w 2559842"/>
              <a:gd name="connsiteY78" fmla="*/ 765665 h 1099040"/>
              <a:gd name="connsiteX79" fmla="*/ 671511 w 2559842"/>
              <a:gd name="connsiteY79" fmla="*/ 770427 h 1099040"/>
              <a:gd name="connsiteX80" fmla="*/ 783429 w 2559842"/>
              <a:gd name="connsiteY80" fmla="*/ 770427 h 1099040"/>
              <a:gd name="connsiteX81" fmla="*/ 783429 w 2559842"/>
              <a:gd name="connsiteY81" fmla="*/ 779952 h 1099040"/>
              <a:gd name="connsiteX82" fmla="*/ 831054 w 2559842"/>
              <a:gd name="connsiteY82" fmla="*/ 779952 h 1099040"/>
              <a:gd name="connsiteX83" fmla="*/ 831054 w 2559842"/>
              <a:gd name="connsiteY83" fmla="*/ 799002 h 1099040"/>
              <a:gd name="connsiteX84" fmla="*/ 881061 w 2559842"/>
              <a:gd name="connsiteY84" fmla="*/ 799002 h 1099040"/>
              <a:gd name="connsiteX85" fmla="*/ 881061 w 2559842"/>
              <a:gd name="connsiteY85" fmla="*/ 799002 h 1099040"/>
              <a:gd name="connsiteX86" fmla="*/ 882722 w 2559842"/>
              <a:gd name="connsiteY86" fmla="*/ 810306 h 1099040"/>
              <a:gd name="connsiteX87" fmla="*/ 884483 w 2559842"/>
              <a:gd name="connsiteY87" fmla="*/ 822179 h 1099040"/>
              <a:gd name="connsiteX88" fmla="*/ 945354 w 2559842"/>
              <a:gd name="connsiteY88" fmla="*/ 820433 h 1099040"/>
              <a:gd name="connsiteX89" fmla="*/ 945354 w 2559842"/>
              <a:gd name="connsiteY89" fmla="*/ 849008 h 1099040"/>
              <a:gd name="connsiteX90" fmla="*/ 1181098 w 2559842"/>
              <a:gd name="connsiteY90" fmla="*/ 849008 h 1099040"/>
              <a:gd name="connsiteX91" fmla="*/ 1181098 w 2559842"/>
              <a:gd name="connsiteY91" fmla="*/ 870440 h 1099040"/>
              <a:gd name="connsiteX92" fmla="*/ 1364454 w 2559842"/>
              <a:gd name="connsiteY92" fmla="*/ 870440 h 1099040"/>
              <a:gd name="connsiteX93" fmla="*/ 1364454 w 2559842"/>
              <a:gd name="connsiteY93" fmla="*/ 887108 h 1099040"/>
              <a:gd name="connsiteX94" fmla="*/ 1454942 w 2559842"/>
              <a:gd name="connsiteY94" fmla="*/ 887108 h 1099040"/>
              <a:gd name="connsiteX95" fmla="*/ 1454942 w 2559842"/>
              <a:gd name="connsiteY95" fmla="*/ 908540 h 1099040"/>
              <a:gd name="connsiteX96" fmla="*/ 1728786 w 2559842"/>
              <a:gd name="connsiteY96" fmla="*/ 908540 h 1099040"/>
              <a:gd name="connsiteX97" fmla="*/ 1728786 w 2559842"/>
              <a:gd name="connsiteY97" fmla="*/ 932352 h 1099040"/>
              <a:gd name="connsiteX98" fmla="*/ 1816892 w 2559842"/>
              <a:gd name="connsiteY98" fmla="*/ 932352 h 1099040"/>
              <a:gd name="connsiteX99" fmla="*/ 1816892 w 2559842"/>
              <a:gd name="connsiteY99" fmla="*/ 965690 h 1099040"/>
              <a:gd name="connsiteX100" fmla="*/ 2057398 w 2559842"/>
              <a:gd name="connsiteY100" fmla="*/ 965690 h 1099040"/>
              <a:gd name="connsiteX101" fmla="*/ 2057398 w 2559842"/>
              <a:gd name="connsiteY101" fmla="*/ 1001408 h 1099040"/>
              <a:gd name="connsiteX102" fmla="*/ 2102642 w 2559842"/>
              <a:gd name="connsiteY102" fmla="*/ 1001408 h 1099040"/>
              <a:gd name="connsiteX103" fmla="*/ 2102642 w 2559842"/>
              <a:gd name="connsiteY103" fmla="*/ 1032365 h 1099040"/>
              <a:gd name="connsiteX104" fmla="*/ 2288379 w 2559842"/>
              <a:gd name="connsiteY104" fmla="*/ 1032365 h 1099040"/>
              <a:gd name="connsiteX105" fmla="*/ 2288379 w 2559842"/>
              <a:gd name="connsiteY105" fmla="*/ 1099040 h 1099040"/>
              <a:gd name="connsiteX106" fmla="*/ 2559842 w 2559842"/>
              <a:gd name="connsiteY106" fmla="*/ 1099040 h 1099040"/>
              <a:gd name="connsiteX0" fmla="*/ 0 w 2559842"/>
              <a:gd name="connsiteY0" fmla="*/ 10808 h 1099040"/>
              <a:gd name="connsiteX1" fmla="*/ 9101 w 2559842"/>
              <a:gd name="connsiteY1" fmla="*/ 11200 h 1099040"/>
              <a:gd name="connsiteX2" fmla="*/ 57149 w 2559842"/>
              <a:gd name="connsiteY2" fmla="*/ 17953 h 1099040"/>
              <a:gd name="connsiteX3" fmla="*/ 54767 w 2559842"/>
              <a:gd name="connsiteY3" fmla="*/ 56052 h 1099040"/>
              <a:gd name="connsiteX4" fmla="*/ 73817 w 2559842"/>
              <a:gd name="connsiteY4" fmla="*/ 56052 h 1099040"/>
              <a:gd name="connsiteX5" fmla="*/ 73817 w 2559842"/>
              <a:gd name="connsiteY5" fmla="*/ 63196 h 1099040"/>
              <a:gd name="connsiteX6" fmla="*/ 78579 w 2559842"/>
              <a:gd name="connsiteY6" fmla="*/ 63196 h 1099040"/>
              <a:gd name="connsiteX7" fmla="*/ 78579 w 2559842"/>
              <a:gd name="connsiteY7" fmla="*/ 77483 h 1099040"/>
              <a:gd name="connsiteX8" fmla="*/ 85723 w 2559842"/>
              <a:gd name="connsiteY8" fmla="*/ 77483 h 1099040"/>
              <a:gd name="connsiteX9" fmla="*/ 85723 w 2559842"/>
              <a:gd name="connsiteY9" fmla="*/ 91771 h 1099040"/>
              <a:gd name="connsiteX10" fmla="*/ 100011 w 2559842"/>
              <a:gd name="connsiteY10" fmla="*/ 91771 h 1099040"/>
              <a:gd name="connsiteX11" fmla="*/ 100011 w 2559842"/>
              <a:gd name="connsiteY11" fmla="*/ 103677 h 1099040"/>
              <a:gd name="connsiteX12" fmla="*/ 111917 w 2559842"/>
              <a:gd name="connsiteY12" fmla="*/ 103677 h 1099040"/>
              <a:gd name="connsiteX13" fmla="*/ 111917 w 2559842"/>
              <a:gd name="connsiteY13" fmla="*/ 120346 h 1099040"/>
              <a:gd name="connsiteX14" fmla="*/ 126204 w 2559842"/>
              <a:gd name="connsiteY14" fmla="*/ 120346 h 1099040"/>
              <a:gd name="connsiteX15" fmla="*/ 126204 w 2559842"/>
              <a:gd name="connsiteY15" fmla="*/ 129871 h 1099040"/>
              <a:gd name="connsiteX16" fmla="*/ 135729 w 2559842"/>
              <a:gd name="connsiteY16" fmla="*/ 129871 h 1099040"/>
              <a:gd name="connsiteX17" fmla="*/ 135729 w 2559842"/>
              <a:gd name="connsiteY17" fmla="*/ 153683 h 1099040"/>
              <a:gd name="connsiteX18" fmla="*/ 145254 w 2559842"/>
              <a:gd name="connsiteY18" fmla="*/ 153683 h 1099040"/>
              <a:gd name="connsiteX19" fmla="*/ 145254 w 2559842"/>
              <a:gd name="connsiteY19" fmla="*/ 189402 h 1099040"/>
              <a:gd name="connsiteX20" fmla="*/ 145254 w 2559842"/>
              <a:gd name="connsiteY20" fmla="*/ 232265 h 1099040"/>
              <a:gd name="connsiteX21" fmla="*/ 152398 w 2559842"/>
              <a:gd name="connsiteY21" fmla="*/ 232265 h 1099040"/>
              <a:gd name="connsiteX22" fmla="*/ 152398 w 2559842"/>
              <a:gd name="connsiteY22" fmla="*/ 279890 h 1099040"/>
              <a:gd name="connsiteX23" fmla="*/ 157161 w 2559842"/>
              <a:gd name="connsiteY23" fmla="*/ 279890 h 1099040"/>
              <a:gd name="connsiteX24" fmla="*/ 157161 w 2559842"/>
              <a:gd name="connsiteY24" fmla="*/ 298940 h 1099040"/>
              <a:gd name="connsiteX25" fmla="*/ 164304 w 2559842"/>
              <a:gd name="connsiteY25" fmla="*/ 298940 h 1099040"/>
              <a:gd name="connsiteX26" fmla="*/ 164304 w 2559842"/>
              <a:gd name="connsiteY26" fmla="*/ 325133 h 1099040"/>
              <a:gd name="connsiteX27" fmla="*/ 164304 w 2559842"/>
              <a:gd name="connsiteY27" fmla="*/ 327515 h 1099040"/>
              <a:gd name="connsiteX28" fmla="*/ 164304 w 2559842"/>
              <a:gd name="connsiteY28" fmla="*/ 365615 h 1099040"/>
              <a:gd name="connsiteX29" fmla="*/ 176211 w 2559842"/>
              <a:gd name="connsiteY29" fmla="*/ 365615 h 1099040"/>
              <a:gd name="connsiteX30" fmla="*/ 176211 w 2559842"/>
              <a:gd name="connsiteY30" fmla="*/ 382283 h 1099040"/>
              <a:gd name="connsiteX31" fmla="*/ 183354 w 2559842"/>
              <a:gd name="connsiteY31" fmla="*/ 382283 h 1099040"/>
              <a:gd name="connsiteX32" fmla="*/ 183354 w 2559842"/>
              <a:gd name="connsiteY32" fmla="*/ 391808 h 1099040"/>
              <a:gd name="connsiteX33" fmla="*/ 211929 w 2559842"/>
              <a:gd name="connsiteY33" fmla="*/ 391808 h 1099040"/>
              <a:gd name="connsiteX34" fmla="*/ 214311 w 2559842"/>
              <a:gd name="connsiteY34" fmla="*/ 394190 h 1099040"/>
              <a:gd name="connsiteX35" fmla="*/ 226217 w 2559842"/>
              <a:gd name="connsiteY35" fmla="*/ 394190 h 1099040"/>
              <a:gd name="connsiteX36" fmla="*/ 226217 w 2559842"/>
              <a:gd name="connsiteY36" fmla="*/ 432290 h 1099040"/>
              <a:gd name="connsiteX37" fmla="*/ 283367 w 2559842"/>
              <a:gd name="connsiteY37" fmla="*/ 432290 h 1099040"/>
              <a:gd name="connsiteX38" fmla="*/ 283367 w 2559842"/>
              <a:gd name="connsiteY38" fmla="*/ 456102 h 1099040"/>
              <a:gd name="connsiteX39" fmla="*/ 290511 w 2559842"/>
              <a:gd name="connsiteY39" fmla="*/ 456102 h 1099040"/>
              <a:gd name="connsiteX40" fmla="*/ 290511 w 2559842"/>
              <a:gd name="connsiteY40" fmla="*/ 470390 h 1099040"/>
              <a:gd name="connsiteX41" fmla="*/ 304798 w 2559842"/>
              <a:gd name="connsiteY41" fmla="*/ 470390 h 1099040"/>
              <a:gd name="connsiteX42" fmla="*/ 304798 w 2559842"/>
              <a:gd name="connsiteY42" fmla="*/ 479915 h 1099040"/>
              <a:gd name="connsiteX43" fmla="*/ 330992 w 2559842"/>
              <a:gd name="connsiteY43" fmla="*/ 479915 h 1099040"/>
              <a:gd name="connsiteX44" fmla="*/ 335754 w 2559842"/>
              <a:gd name="connsiteY44" fmla="*/ 484677 h 1099040"/>
              <a:gd name="connsiteX45" fmla="*/ 369092 w 2559842"/>
              <a:gd name="connsiteY45" fmla="*/ 484677 h 1099040"/>
              <a:gd name="connsiteX46" fmla="*/ 369092 w 2559842"/>
              <a:gd name="connsiteY46" fmla="*/ 496583 h 1099040"/>
              <a:gd name="connsiteX47" fmla="*/ 383379 w 2559842"/>
              <a:gd name="connsiteY47" fmla="*/ 496583 h 1099040"/>
              <a:gd name="connsiteX48" fmla="*/ 383379 w 2559842"/>
              <a:gd name="connsiteY48" fmla="*/ 563258 h 1099040"/>
              <a:gd name="connsiteX49" fmla="*/ 392904 w 2559842"/>
              <a:gd name="connsiteY49" fmla="*/ 563258 h 1099040"/>
              <a:gd name="connsiteX50" fmla="*/ 392904 w 2559842"/>
              <a:gd name="connsiteY50" fmla="*/ 577546 h 1099040"/>
              <a:gd name="connsiteX51" fmla="*/ 402429 w 2559842"/>
              <a:gd name="connsiteY51" fmla="*/ 577546 h 1099040"/>
              <a:gd name="connsiteX52" fmla="*/ 402429 w 2559842"/>
              <a:gd name="connsiteY52" fmla="*/ 625171 h 1099040"/>
              <a:gd name="connsiteX53" fmla="*/ 402429 w 2559842"/>
              <a:gd name="connsiteY53" fmla="*/ 625171 h 1099040"/>
              <a:gd name="connsiteX54" fmla="*/ 413182 w 2559842"/>
              <a:gd name="connsiteY54" fmla="*/ 625368 h 1099040"/>
              <a:gd name="connsiteX55" fmla="*/ 414335 w 2559842"/>
              <a:gd name="connsiteY55" fmla="*/ 637077 h 1099040"/>
              <a:gd name="connsiteX56" fmla="*/ 426242 w 2559842"/>
              <a:gd name="connsiteY56" fmla="*/ 637077 h 1099040"/>
              <a:gd name="connsiteX57" fmla="*/ 426242 w 2559842"/>
              <a:gd name="connsiteY57" fmla="*/ 658508 h 1099040"/>
              <a:gd name="connsiteX58" fmla="*/ 440529 w 2559842"/>
              <a:gd name="connsiteY58" fmla="*/ 658508 h 1099040"/>
              <a:gd name="connsiteX59" fmla="*/ 440529 w 2559842"/>
              <a:gd name="connsiteY59" fmla="*/ 670415 h 1099040"/>
              <a:gd name="connsiteX60" fmla="*/ 454817 w 2559842"/>
              <a:gd name="connsiteY60" fmla="*/ 670415 h 1099040"/>
              <a:gd name="connsiteX61" fmla="*/ 454817 w 2559842"/>
              <a:gd name="connsiteY61" fmla="*/ 677558 h 1099040"/>
              <a:gd name="connsiteX62" fmla="*/ 509586 w 2559842"/>
              <a:gd name="connsiteY62" fmla="*/ 677558 h 1099040"/>
              <a:gd name="connsiteX63" fmla="*/ 516729 w 2559842"/>
              <a:gd name="connsiteY63" fmla="*/ 684701 h 1099040"/>
              <a:gd name="connsiteX64" fmla="*/ 545304 w 2559842"/>
              <a:gd name="connsiteY64" fmla="*/ 684701 h 1099040"/>
              <a:gd name="connsiteX65" fmla="*/ 545304 w 2559842"/>
              <a:gd name="connsiteY65" fmla="*/ 698990 h 1099040"/>
              <a:gd name="connsiteX66" fmla="*/ 561973 w 2559842"/>
              <a:gd name="connsiteY66" fmla="*/ 698990 h 1099040"/>
              <a:gd name="connsiteX67" fmla="*/ 561973 w 2559842"/>
              <a:gd name="connsiteY67" fmla="*/ 713277 h 1099040"/>
              <a:gd name="connsiteX68" fmla="*/ 585786 w 2559842"/>
              <a:gd name="connsiteY68" fmla="*/ 713277 h 1099040"/>
              <a:gd name="connsiteX69" fmla="*/ 585786 w 2559842"/>
              <a:gd name="connsiteY69" fmla="*/ 718040 h 1099040"/>
              <a:gd name="connsiteX70" fmla="*/ 611979 w 2559842"/>
              <a:gd name="connsiteY70" fmla="*/ 718040 h 1099040"/>
              <a:gd name="connsiteX71" fmla="*/ 611979 w 2559842"/>
              <a:gd name="connsiteY71" fmla="*/ 727565 h 1099040"/>
              <a:gd name="connsiteX72" fmla="*/ 626267 w 2559842"/>
              <a:gd name="connsiteY72" fmla="*/ 727565 h 1099040"/>
              <a:gd name="connsiteX73" fmla="*/ 626267 w 2559842"/>
              <a:gd name="connsiteY73" fmla="*/ 739471 h 1099040"/>
              <a:gd name="connsiteX74" fmla="*/ 647698 w 2559842"/>
              <a:gd name="connsiteY74" fmla="*/ 739471 h 1099040"/>
              <a:gd name="connsiteX75" fmla="*/ 647698 w 2559842"/>
              <a:gd name="connsiteY75" fmla="*/ 751377 h 1099040"/>
              <a:gd name="connsiteX76" fmla="*/ 666748 w 2559842"/>
              <a:gd name="connsiteY76" fmla="*/ 751377 h 1099040"/>
              <a:gd name="connsiteX77" fmla="*/ 666748 w 2559842"/>
              <a:gd name="connsiteY77" fmla="*/ 765665 h 1099040"/>
              <a:gd name="connsiteX78" fmla="*/ 671511 w 2559842"/>
              <a:gd name="connsiteY78" fmla="*/ 765665 h 1099040"/>
              <a:gd name="connsiteX79" fmla="*/ 671511 w 2559842"/>
              <a:gd name="connsiteY79" fmla="*/ 770427 h 1099040"/>
              <a:gd name="connsiteX80" fmla="*/ 783429 w 2559842"/>
              <a:gd name="connsiteY80" fmla="*/ 770427 h 1099040"/>
              <a:gd name="connsiteX81" fmla="*/ 783429 w 2559842"/>
              <a:gd name="connsiteY81" fmla="*/ 779952 h 1099040"/>
              <a:gd name="connsiteX82" fmla="*/ 831054 w 2559842"/>
              <a:gd name="connsiteY82" fmla="*/ 779952 h 1099040"/>
              <a:gd name="connsiteX83" fmla="*/ 831054 w 2559842"/>
              <a:gd name="connsiteY83" fmla="*/ 799002 h 1099040"/>
              <a:gd name="connsiteX84" fmla="*/ 881061 w 2559842"/>
              <a:gd name="connsiteY84" fmla="*/ 799002 h 1099040"/>
              <a:gd name="connsiteX85" fmla="*/ 881061 w 2559842"/>
              <a:gd name="connsiteY85" fmla="*/ 799002 h 1099040"/>
              <a:gd name="connsiteX86" fmla="*/ 882722 w 2559842"/>
              <a:gd name="connsiteY86" fmla="*/ 810306 h 1099040"/>
              <a:gd name="connsiteX87" fmla="*/ 884483 w 2559842"/>
              <a:gd name="connsiteY87" fmla="*/ 822179 h 1099040"/>
              <a:gd name="connsiteX88" fmla="*/ 945354 w 2559842"/>
              <a:gd name="connsiteY88" fmla="*/ 820433 h 1099040"/>
              <a:gd name="connsiteX89" fmla="*/ 945354 w 2559842"/>
              <a:gd name="connsiteY89" fmla="*/ 849008 h 1099040"/>
              <a:gd name="connsiteX90" fmla="*/ 1181098 w 2559842"/>
              <a:gd name="connsiteY90" fmla="*/ 849008 h 1099040"/>
              <a:gd name="connsiteX91" fmla="*/ 1181098 w 2559842"/>
              <a:gd name="connsiteY91" fmla="*/ 870440 h 1099040"/>
              <a:gd name="connsiteX92" fmla="*/ 1364454 w 2559842"/>
              <a:gd name="connsiteY92" fmla="*/ 870440 h 1099040"/>
              <a:gd name="connsiteX93" fmla="*/ 1364454 w 2559842"/>
              <a:gd name="connsiteY93" fmla="*/ 887108 h 1099040"/>
              <a:gd name="connsiteX94" fmla="*/ 1454942 w 2559842"/>
              <a:gd name="connsiteY94" fmla="*/ 887108 h 1099040"/>
              <a:gd name="connsiteX95" fmla="*/ 1454942 w 2559842"/>
              <a:gd name="connsiteY95" fmla="*/ 908540 h 1099040"/>
              <a:gd name="connsiteX96" fmla="*/ 1728786 w 2559842"/>
              <a:gd name="connsiteY96" fmla="*/ 908540 h 1099040"/>
              <a:gd name="connsiteX97" fmla="*/ 1728786 w 2559842"/>
              <a:gd name="connsiteY97" fmla="*/ 932352 h 1099040"/>
              <a:gd name="connsiteX98" fmla="*/ 1816892 w 2559842"/>
              <a:gd name="connsiteY98" fmla="*/ 932352 h 1099040"/>
              <a:gd name="connsiteX99" fmla="*/ 1816892 w 2559842"/>
              <a:gd name="connsiteY99" fmla="*/ 965690 h 1099040"/>
              <a:gd name="connsiteX100" fmla="*/ 2057398 w 2559842"/>
              <a:gd name="connsiteY100" fmla="*/ 965690 h 1099040"/>
              <a:gd name="connsiteX101" fmla="*/ 2057398 w 2559842"/>
              <a:gd name="connsiteY101" fmla="*/ 1001408 h 1099040"/>
              <a:gd name="connsiteX102" fmla="*/ 2102642 w 2559842"/>
              <a:gd name="connsiteY102" fmla="*/ 1001408 h 1099040"/>
              <a:gd name="connsiteX103" fmla="*/ 2102642 w 2559842"/>
              <a:gd name="connsiteY103" fmla="*/ 1032365 h 1099040"/>
              <a:gd name="connsiteX104" fmla="*/ 2288379 w 2559842"/>
              <a:gd name="connsiteY104" fmla="*/ 1032365 h 1099040"/>
              <a:gd name="connsiteX105" fmla="*/ 2288379 w 2559842"/>
              <a:gd name="connsiteY105" fmla="*/ 1099040 h 1099040"/>
              <a:gd name="connsiteX106" fmla="*/ 2559842 w 2559842"/>
              <a:gd name="connsiteY106" fmla="*/ 1099040 h 1099040"/>
              <a:gd name="connsiteX0" fmla="*/ 0 w 2559842"/>
              <a:gd name="connsiteY0" fmla="*/ 10808 h 1099040"/>
              <a:gd name="connsiteX1" fmla="*/ 9101 w 2559842"/>
              <a:gd name="connsiteY1" fmla="*/ 11200 h 1099040"/>
              <a:gd name="connsiteX2" fmla="*/ 57149 w 2559842"/>
              <a:gd name="connsiteY2" fmla="*/ 17953 h 1099040"/>
              <a:gd name="connsiteX3" fmla="*/ 54767 w 2559842"/>
              <a:gd name="connsiteY3" fmla="*/ 56052 h 1099040"/>
              <a:gd name="connsiteX4" fmla="*/ 73817 w 2559842"/>
              <a:gd name="connsiteY4" fmla="*/ 56052 h 1099040"/>
              <a:gd name="connsiteX5" fmla="*/ 73817 w 2559842"/>
              <a:gd name="connsiteY5" fmla="*/ 63196 h 1099040"/>
              <a:gd name="connsiteX6" fmla="*/ 78579 w 2559842"/>
              <a:gd name="connsiteY6" fmla="*/ 63196 h 1099040"/>
              <a:gd name="connsiteX7" fmla="*/ 78579 w 2559842"/>
              <a:gd name="connsiteY7" fmla="*/ 77483 h 1099040"/>
              <a:gd name="connsiteX8" fmla="*/ 85723 w 2559842"/>
              <a:gd name="connsiteY8" fmla="*/ 77483 h 1099040"/>
              <a:gd name="connsiteX9" fmla="*/ 85723 w 2559842"/>
              <a:gd name="connsiteY9" fmla="*/ 91771 h 1099040"/>
              <a:gd name="connsiteX10" fmla="*/ 100011 w 2559842"/>
              <a:gd name="connsiteY10" fmla="*/ 91771 h 1099040"/>
              <a:gd name="connsiteX11" fmla="*/ 100011 w 2559842"/>
              <a:gd name="connsiteY11" fmla="*/ 103677 h 1099040"/>
              <a:gd name="connsiteX12" fmla="*/ 111917 w 2559842"/>
              <a:gd name="connsiteY12" fmla="*/ 103677 h 1099040"/>
              <a:gd name="connsiteX13" fmla="*/ 111917 w 2559842"/>
              <a:gd name="connsiteY13" fmla="*/ 120346 h 1099040"/>
              <a:gd name="connsiteX14" fmla="*/ 126204 w 2559842"/>
              <a:gd name="connsiteY14" fmla="*/ 120346 h 1099040"/>
              <a:gd name="connsiteX15" fmla="*/ 126204 w 2559842"/>
              <a:gd name="connsiteY15" fmla="*/ 129871 h 1099040"/>
              <a:gd name="connsiteX16" fmla="*/ 135729 w 2559842"/>
              <a:gd name="connsiteY16" fmla="*/ 129871 h 1099040"/>
              <a:gd name="connsiteX17" fmla="*/ 135729 w 2559842"/>
              <a:gd name="connsiteY17" fmla="*/ 153683 h 1099040"/>
              <a:gd name="connsiteX18" fmla="*/ 145254 w 2559842"/>
              <a:gd name="connsiteY18" fmla="*/ 153683 h 1099040"/>
              <a:gd name="connsiteX19" fmla="*/ 145254 w 2559842"/>
              <a:gd name="connsiteY19" fmla="*/ 189402 h 1099040"/>
              <a:gd name="connsiteX20" fmla="*/ 145254 w 2559842"/>
              <a:gd name="connsiteY20" fmla="*/ 232265 h 1099040"/>
              <a:gd name="connsiteX21" fmla="*/ 152398 w 2559842"/>
              <a:gd name="connsiteY21" fmla="*/ 232265 h 1099040"/>
              <a:gd name="connsiteX22" fmla="*/ 152398 w 2559842"/>
              <a:gd name="connsiteY22" fmla="*/ 279890 h 1099040"/>
              <a:gd name="connsiteX23" fmla="*/ 157161 w 2559842"/>
              <a:gd name="connsiteY23" fmla="*/ 279890 h 1099040"/>
              <a:gd name="connsiteX24" fmla="*/ 157161 w 2559842"/>
              <a:gd name="connsiteY24" fmla="*/ 298940 h 1099040"/>
              <a:gd name="connsiteX25" fmla="*/ 164304 w 2559842"/>
              <a:gd name="connsiteY25" fmla="*/ 298940 h 1099040"/>
              <a:gd name="connsiteX26" fmla="*/ 164304 w 2559842"/>
              <a:gd name="connsiteY26" fmla="*/ 325133 h 1099040"/>
              <a:gd name="connsiteX27" fmla="*/ 164304 w 2559842"/>
              <a:gd name="connsiteY27" fmla="*/ 327515 h 1099040"/>
              <a:gd name="connsiteX28" fmla="*/ 164304 w 2559842"/>
              <a:gd name="connsiteY28" fmla="*/ 365615 h 1099040"/>
              <a:gd name="connsiteX29" fmla="*/ 176211 w 2559842"/>
              <a:gd name="connsiteY29" fmla="*/ 365615 h 1099040"/>
              <a:gd name="connsiteX30" fmla="*/ 176211 w 2559842"/>
              <a:gd name="connsiteY30" fmla="*/ 382283 h 1099040"/>
              <a:gd name="connsiteX31" fmla="*/ 183354 w 2559842"/>
              <a:gd name="connsiteY31" fmla="*/ 382283 h 1099040"/>
              <a:gd name="connsiteX32" fmla="*/ 183354 w 2559842"/>
              <a:gd name="connsiteY32" fmla="*/ 391808 h 1099040"/>
              <a:gd name="connsiteX33" fmla="*/ 211929 w 2559842"/>
              <a:gd name="connsiteY33" fmla="*/ 391808 h 1099040"/>
              <a:gd name="connsiteX34" fmla="*/ 214311 w 2559842"/>
              <a:gd name="connsiteY34" fmla="*/ 394190 h 1099040"/>
              <a:gd name="connsiteX35" fmla="*/ 226217 w 2559842"/>
              <a:gd name="connsiteY35" fmla="*/ 394190 h 1099040"/>
              <a:gd name="connsiteX36" fmla="*/ 226217 w 2559842"/>
              <a:gd name="connsiteY36" fmla="*/ 432290 h 1099040"/>
              <a:gd name="connsiteX37" fmla="*/ 283367 w 2559842"/>
              <a:gd name="connsiteY37" fmla="*/ 432290 h 1099040"/>
              <a:gd name="connsiteX38" fmla="*/ 283367 w 2559842"/>
              <a:gd name="connsiteY38" fmla="*/ 456102 h 1099040"/>
              <a:gd name="connsiteX39" fmla="*/ 290511 w 2559842"/>
              <a:gd name="connsiteY39" fmla="*/ 456102 h 1099040"/>
              <a:gd name="connsiteX40" fmla="*/ 290511 w 2559842"/>
              <a:gd name="connsiteY40" fmla="*/ 470390 h 1099040"/>
              <a:gd name="connsiteX41" fmla="*/ 304798 w 2559842"/>
              <a:gd name="connsiteY41" fmla="*/ 470390 h 1099040"/>
              <a:gd name="connsiteX42" fmla="*/ 304798 w 2559842"/>
              <a:gd name="connsiteY42" fmla="*/ 479915 h 1099040"/>
              <a:gd name="connsiteX43" fmla="*/ 330992 w 2559842"/>
              <a:gd name="connsiteY43" fmla="*/ 479915 h 1099040"/>
              <a:gd name="connsiteX44" fmla="*/ 335754 w 2559842"/>
              <a:gd name="connsiteY44" fmla="*/ 484677 h 1099040"/>
              <a:gd name="connsiteX45" fmla="*/ 369092 w 2559842"/>
              <a:gd name="connsiteY45" fmla="*/ 484677 h 1099040"/>
              <a:gd name="connsiteX46" fmla="*/ 369092 w 2559842"/>
              <a:gd name="connsiteY46" fmla="*/ 496583 h 1099040"/>
              <a:gd name="connsiteX47" fmla="*/ 383379 w 2559842"/>
              <a:gd name="connsiteY47" fmla="*/ 496583 h 1099040"/>
              <a:gd name="connsiteX48" fmla="*/ 383379 w 2559842"/>
              <a:gd name="connsiteY48" fmla="*/ 563258 h 1099040"/>
              <a:gd name="connsiteX49" fmla="*/ 392904 w 2559842"/>
              <a:gd name="connsiteY49" fmla="*/ 563258 h 1099040"/>
              <a:gd name="connsiteX50" fmla="*/ 392904 w 2559842"/>
              <a:gd name="connsiteY50" fmla="*/ 577546 h 1099040"/>
              <a:gd name="connsiteX51" fmla="*/ 402429 w 2559842"/>
              <a:gd name="connsiteY51" fmla="*/ 577546 h 1099040"/>
              <a:gd name="connsiteX52" fmla="*/ 402429 w 2559842"/>
              <a:gd name="connsiteY52" fmla="*/ 625171 h 1099040"/>
              <a:gd name="connsiteX53" fmla="*/ 402429 w 2559842"/>
              <a:gd name="connsiteY53" fmla="*/ 625171 h 1099040"/>
              <a:gd name="connsiteX54" fmla="*/ 413182 w 2559842"/>
              <a:gd name="connsiteY54" fmla="*/ 625368 h 1099040"/>
              <a:gd name="connsiteX55" fmla="*/ 414335 w 2559842"/>
              <a:gd name="connsiteY55" fmla="*/ 637077 h 1099040"/>
              <a:gd name="connsiteX56" fmla="*/ 426242 w 2559842"/>
              <a:gd name="connsiteY56" fmla="*/ 637077 h 1099040"/>
              <a:gd name="connsiteX57" fmla="*/ 426242 w 2559842"/>
              <a:gd name="connsiteY57" fmla="*/ 658508 h 1099040"/>
              <a:gd name="connsiteX58" fmla="*/ 440529 w 2559842"/>
              <a:gd name="connsiteY58" fmla="*/ 658508 h 1099040"/>
              <a:gd name="connsiteX59" fmla="*/ 440529 w 2559842"/>
              <a:gd name="connsiteY59" fmla="*/ 670415 h 1099040"/>
              <a:gd name="connsiteX60" fmla="*/ 454817 w 2559842"/>
              <a:gd name="connsiteY60" fmla="*/ 670415 h 1099040"/>
              <a:gd name="connsiteX61" fmla="*/ 454817 w 2559842"/>
              <a:gd name="connsiteY61" fmla="*/ 677558 h 1099040"/>
              <a:gd name="connsiteX62" fmla="*/ 509586 w 2559842"/>
              <a:gd name="connsiteY62" fmla="*/ 677558 h 1099040"/>
              <a:gd name="connsiteX63" fmla="*/ 512386 w 2559842"/>
              <a:gd name="connsiteY63" fmla="*/ 684701 h 1099040"/>
              <a:gd name="connsiteX64" fmla="*/ 545304 w 2559842"/>
              <a:gd name="connsiteY64" fmla="*/ 684701 h 1099040"/>
              <a:gd name="connsiteX65" fmla="*/ 545304 w 2559842"/>
              <a:gd name="connsiteY65" fmla="*/ 698990 h 1099040"/>
              <a:gd name="connsiteX66" fmla="*/ 561973 w 2559842"/>
              <a:gd name="connsiteY66" fmla="*/ 698990 h 1099040"/>
              <a:gd name="connsiteX67" fmla="*/ 561973 w 2559842"/>
              <a:gd name="connsiteY67" fmla="*/ 713277 h 1099040"/>
              <a:gd name="connsiteX68" fmla="*/ 585786 w 2559842"/>
              <a:gd name="connsiteY68" fmla="*/ 713277 h 1099040"/>
              <a:gd name="connsiteX69" fmla="*/ 585786 w 2559842"/>
              <a:gd name="connsiteY69" fmla="*/ 718040 h 1099040"/>
              <a:gd name="connsiteX70" fmla="*/ 611979 w 2559842"/>
              <a:gd name="connsiteY70" fmla="*/ 718040 h 1099040"/>
              <a:gd name="connsiteX71" fmla="*/ 611979 w 2559842"/>
              <a:gd name="connsiteY71" fmla="*/ 727565 h 1099040"/>
              <a:gd name="connsiteX72" fmla="*/ 626267 w 2559842"/>
              <a:gd name="connsiteY72" fmla="*/ 727565 h 1099040"/>
              <a:gd name="connsiteX73" fmla="*/ 626267 w 2559842"/>
              <a:gd name="connsiteY73" fmla="*/ 739471 h 1099040"/>
              <a:gd name="connsiteX74" fmla="*/ 647698 w 2559842"/>
              <a:gd name="connsiteY74" fmla="*/ 739471 h 1099040"/>
              <a:gd name="connsiteX75" fmla="*/ 647698 w 2559842"/>
              <a:gd name="connsiteY75" fmla="*/ 751377 h 1099040"/>
              <a:gd name="connsiteX76" fmla="*/ 666748 w 2559842"/>
              <a:gd name="connsiteY76" fmla="*/ 751377 h 1099040"/>
              <a:gd name="connsiteX77" fmla="*/ 666748 w 2559842"/>
              <a:gd name="connsiteY77" fmla="*/ 765665 h 1099040"/>
              <a:gd name="connsiteX78" fmla="*/ 671511 w 2559842"/>
              <a:gd name="connsiteY78" fmla="*/ 765665 h 1099040"/>
              <a:gd name="connsiteX79" fmla="*/ 671511 w 2559842"/>
              <a:gd name="connsiteY79" fmla="*/ 770427 h 1099040"/>
              <a:gd name="connsiteX80" fmla="*/ 783429 w 2559842"/>
              <a:gd name="connsiteY80" fmla="*/ 770427 h 1099040"/>
              <a:gd name="connsiteX81" fmla="*/ 783429 w 2559842"/>
              <a:gd name="connsiteY81" fmla="*/ 779952 h 1099040"/>
              <a:gd name="connsiteX82" fmla="*/ 831054 w 2559842"/>
              <a:gd name="connsiteY82" fmla="*/ 779952 h 1099040"/>
              <a:gd name="connsiteX83" fmla="*/ 831054 w 2559842"/>
              <a:gd name="connsiteY83" fmla="*/ 799002 h 1099040"/>
              <a:gd name="connsiteX84" fmla="*/ 881061 w 2559842"/>
              <a:gd name="connsiteY84" fmla="*/ 799002 h 1099040"/>
              <a:gd name="connsiteX85" fmla="*/ 881061 w 2559842"/>
              <a:gd name="connsiteY85" fmla="*/ 799002 h 1099040"/>
              <a:gd name="connsiteX86" fmla="*/ 882722 w 2559842"/>
              <a:gd name="connsiteY86" fmla="*/ 810306 h 1099040"/>
              <a:gd name="connsiteX87" fmla="*/ 884483 w 2559842"/>
              <a:gd name="connsiteY87" fmla="*/ 822179 h 1099040"/>
              <a:gd name="connsiteX88" fmla="*/ 945354 w 2559842"/>
              <a:gd name="connsiteY88" fmla="*/ 820433 h 1099040"/>
              <a:gd name="connsiteX89" fmla="*/ 945354 w 2559842"/>
              <a:gd name="connsiteY89" fmla="*/ 849008 h 1099040"/>
              <a:gd name="connsiteX90" fmla="*/ 1181098 w 2559842"/>
              <a:gd name="connsiteY90" fmla="*/ 849008 h 1099040"/>
              <a:gd name="connsiteX91" fmla="*/ 1181098 w 2559842"/>
              <a:gd name="connsiteY91" fmla="*/ 870440 h 1099040"/>
              <a:gd name="connsiteX92" fmla="*/ 1364454 w 2559842"/>
              <a:gd name="connsiteY92" fmla="*/ 870440 h 1099040"/>
              <a:gd name="connsiteX93" fmla="*/ 1364454 w 2559842"/>
              <a:gd name="connsiteY93" fmla="*/ 887108 h 1099040"/>
              <a:gd name="connsiteX94" fmla="*/ 1454942 w 2559842"/>
              <a:gd name="connsiteY94" fmla="*/ 887108 h 1099040"/>
              <a:gd name="connsiteX95" fmla="*/ 1454942 w 2559842"/>
              <a:gd name="connsiteY95" fmla="*/ 908540 h 1099040"/>
              <a:gd name="connsiteX96" fmla="*/ 1728786 w 2559842"/>
              <a:gd name="connsiteY96" fmla="*/ 908540 h 1099040"/>
              <a:gd name="connsiteX97" fmla="*/ 1728786 w 2559842"/>
              <a:gd name="connsiteY97" fmla="*/ 932352 h 1099040"/>
              <a:gd name="connsiteX98" fmla="*/ 1816892 w 2559842"/>
              <a:gd name="connsiteY98" fmla="*/ 932352 h 1099040"/>
              <a:gd name="connsiteX99" fmla="*/ 1816892 w 2559842"/>
              <a:gd name="connsiteY99" fmla="*/ 965690 h 1099040"/>
              <a:gd name="connsiteX100" fmla="*/ 2057398 w 2559842"/>
              <a:gd name="connsiteY100" fmla="*/ 965690 h 1099040"/>
              <a:gd name="connsiteX101" fmla="*/ 2057398 w 2559842"/>
              <a:gd name="connsiteY101" fmla="*/ 1001408 h 1099040"/>
              <a:gd name="connsiteX102" fmla="*/ 2102642 w 2559842"/>
              <a:gd name="connsiteY102" fmla="*/ 1001408 h 1099040"/>
              <a:gd name="connsiteX103" fmla="*/ 2102642 w 2559842"/>
              <a:gd name="connsiteY103" fmla="*/ 1032365 h 1099040"/>
              <a:gd name="connsiteX104" fmla="*/ 2288379 w 2559842"/>
              <a:gd name="connsiteY104" fmla="*/ 1032365 h 1099040"/>
              <a:gd name="connsiteX105" fmla="*/ 2288379 w 2559842"/>
              <a:gd name="connsiteY105" fmla="*/ 1099040 h 1099040"/>
              <a:gd name="connsiteX106" fmla="*/ 2559842 w 2559842"/>
              <a:gd name="connsiteY106" fmla="*/ 1099040 h 1099040"/>
              <a:gd name="connsiteX0" fmla="*/ 0 w 2559842"/>
              <a:gd name="connsiteY0" fmla="*/ 10808 h 1099040"/>
              <a:gd name="connsiteX1" fmla="*/ 9101 w 2559842"/>
              <a:gd name="connsiteY1" fmla="*/ 11200 h 1099040"/>
              <a:gd name="connsiteX2" fmla="*/ 57149 w 2559842"/>
              <a:gd name="connsiteY2" fmla="*/ 17953 h 1099040"/>
              <a:gd name="connsiteX3" fmla="*/ 54767 w 2559842"/>
              <a:gd name="connsiteY3" fmla="*/ 56052 h 1099040"/>
              <a:gd name="connsiteX4" fmla="*/ 73817 w 2559842"/>
              <a:gd name="connsiteY4" fmla="*/ 56052 h 1099040"/>
              <a:gd name="connsiteX5" fmla="*/ 73817 w 2559842"/>
              <a:gd name="connsiteY5" fmla="*/ 63196 h 1099040"/>
              <a:gd name="connsiteX6" fmla="*/ 78579 w 2559842"/>
              <a:gd name="connsiteY6" fmla="*/ 63196 h 1099040"/>
              <a:gd name="connsiteX7" fmla="*/ 78579 w 2559842"/>
              <a:gd name="connsiteY7" fmla="*/ 77483 h 1099040"/>
              <a:gd name="connsiteX8" fmla="*/ 85723 w 2559842"/>
              <a:gd name="connsiteY8" fmla="*/ 77483 h 1099040"/>
              <a:gd name="connsiteX9" fmla="*/ 85723 w 2559842"/>
              <a:gd name="connsiteY9" fmla="*/ 91771 h 1099040"/>
              <a:gd name="connsiteX10" fmla="*/ 100011 w 2559842"/>
              <a:gd name="connsiteY10" fmla="*/ 91771 h 1099040"/>
              <a:gd name="connsiteX11" fmla="*/ 100011 w 2559842"/>
              <a:gd name="connsiteY11" fmla="*/ 103677 h 1099040"/>
              <a:gd name="connsiteX12" fmla="*/ 111917 w 2559842"/>
              <a:gd name="connsiteY12" fmla="*/ 103677 h 1099040"/>
              <a:gd name="connsiteX13" fmla="*/ 111917 w 2559842"/>
              <a:gd name="connsiteY13" fmla="*/ 120346 h 1099040"/>
              <a:gd name="connsiteX14" fmla="*/ 126204 w 2559842"/>
              <a:gd name="connsiteY14" fmla="*/ 120346 h 1099040"/>
              <a:gd name="connsiteX15" fmla="*/ 126204 w 2559842"/>
              <a:gd name="connsiteY15" fmla="*/ 129871 h 1099040"/>
              <a:gd name="connsiteX16" fmla="*/ 135729 w 2559842"/>
              <a:gd name="connsiteY16" fmla="*/ 129871 h 1099040"/>
              <a:gd name="connsiteX17" fmla="*/ 135729 w 2559842"/>
              <a:gd name="connsiteY17" fmla="*/ 153683 h 1099040"/>
              <a:gd name="connsiteX18" fmla="*/ 145254 w 2559842"/>
              <a:gd name="connsiteY18" fmla="*/ 153683 h 1099040"/>
              <a:gd name="connsiteX19" fmla="*/ 145254 w 2559842"/>
              <a:gd name="connsiteY19" fmla="*/ 189402 h 1099040"/>
              <a:gd name="connsiteX20" fmla="*/ 145254 w 2559842"/>
              <a:gd name="connsiteY20" fmla="*/ 232265 h 1099040"/>
              <a:gd name="connsiteX21" fmla="*/ 152398 w 2559842"/>
              <a:gd name="connsiteY21" fmla="*/ 232265 h 1099040"/>
              <a:gd name="connsiteX22" fmla="*/ 152398 w 2559842"/>
              <a:gd name="connsiteY22" fmla="*/ 279890 h 1099040"/>
              <a:gd name="connsiteX23" fmla="*/ 157161 w 2559842"/>
              <a:gd name="connsiteY23" fmla="*/ 279890 h 1099040"/>
              <a:gd name="connsiteX24" fmla="*/ 157161 w 2559842"/>
              <a:gd name="connsiteY24" fmla="*/ 298940 h 1099040"/>
              <a:gd name="connsiteX25" fmla="*/ 164304 w 2559842"/>
              <a:gd name="connsiteY25" fmla="*/ 298940 h 1099040"/>
              <a:gd name="connsiteX26" fmla="*/ 164304 w 2559842"/>
              <a:gd name="connsiteY26" fmla="*/ 325133 h 1099040"/>
              <a:gd name="connsiteX27" fmla="*/ 164304 w 2559842"/>
              <a:gd name="connsiteY27" fmla="*/ 327515 h 1099040"/>
              <a:gd name="connsiteX28" fmla="*/ 164304 w 2559842"/>
              <a:gd name="connsiteY28" fmla="*/ 365615 h 1099040"/>
              <a:gd name="connsiteX29" fmla="*/ 176211 w 2559842"/>
              <a:gd name="connsiteY29" fmla="*/ 365615 h 1099040"/>
              <a:gd name="connsiteX30" fmla="*/ 176211 w 2559842"/>
              <a:gd name="connsiteY30" fmla="*/ 382283 h 1099040"/>
              <a:gd name="connsiteX31" fmla="*/ 183354 w 2559842"/>
              <a:gd name="connsiteY31" fmla="*/ 382283 h 1099040"/>
              <a:gd name="connsiteX32" fmla="*/ 183354 w 2559842"/>
              <a:gd name="connsiteY32" fmla="*/ 391808 h 1099040"/>
              <a:gd name="connsiteX33" fmla="*/ 211929 w 2559842"/>
              <a:gd name="connsiteY33" fmla="*/ 391808 h 1099040"/>
              <a:gd name="connsiteX34" fmla="*/ 214311 w 2559842"/>
              <a:gd name="connsiteY34" fmla="*/ 394190 h 1099040"/>
              <a:gd name="connsiteX35" fmla="*/ 226217 w 2559842"/>
              <a:gd name="connsiteY35" fmla="*/ 394190 h 1099040"/>
              <a:gd name="connsiteX36" fmla="*/ 226217 w 2559842"/>
              <a:gd name="connsiteY36" fmla="*/ 432290 h 1099040"/>
              <a:gd name="connsiteX37" fmla="*/ 283367 w 2559842"/>
              <a:gd name="connsiteY37" fmla="*/ 432290 h 1099040"/>
              <a:gd name="connsiteX38" fmla="*/ 283367 w 2559842"/>
              <a:gd name="connsiteY38" fmla="*/ 456102 h 1099040"/>
              <a:gd name="connsiteX39" fmla="*/ 290511 w 2559842"/>
              <a:gd name="connsiteY39" fmla="*/ 456102 h 1099040"/>
              <a:gd name="connsiteX40" fmla="*/ 290511 w 2559842"/>
              <a:gd name="connsiteY40" fmla="*/ 470390 h 1099040"/>
              <a:gd name="connsiteX41" fmla="*/ 304798 w 2559842"/>
              <a:gd name="connsiteY41" fmla="*/ 470390 h 1099040"/>
              <a:gd name="connsiteX42" fmla="*/ 304798 w 2559842"/>
              <a:gd name="connsiteY42" fmla="*/ 479915 h 1099040"/>
              <a:gd name="connsiteX43" fmla="*/ 330992 w 2559842"/>
              <a:gd name="connsiteY43" fmla="*/ 479915 h 1099040"/>
              <a:gd name="connsiteX44" fmla="*/ 335754 w 2559842"/>
              <a:gd name="connsiteY44" fmla="*/ 484677 h 1099040"/>
              <a:gd name="connsiteX45" fmla="*/ 369092 w 2559842"/>
              <a:gd name="connsiteY45" fmla="*/ 484677 h 1099040"/>
              <a:gd name="connsiteX46" fmla="*/ 369092 w 2559842"/>
              <a:gd name="connsiteY46" fmla="*/ 496583 h 1099040"/>
              <a:gd name="connsiteX47" fmla="*/ 383379 w 2559842"/>
              <a:gd name="connsiteY47" fmla="*/ 496583 h 1099040"/>
              <a:gd name="connsiteX48" fmla="*/ 383379 w 2559842"/>
              <a:gd name="connsiteY48" fmla="*/ 563258 h 1099040"/>
              <a:gd name="connsiteX49" fmla="*/ 392904 w 2559842"/>
              <a:gd name="connsiteY49" fmla="*/ 563258 h 1099040"/>
              <a:gd name="connsiteX50" fmla="*/ 392904 w 2559842"/>
              <a:gd name="connsiteY50" fmla="*/ 577546 h 1099040"/>
              <a:gd name="connsiteX51" fmla="*/ 402429 w 2559842"/>
              <a:gd name="connsiteY51" fmla="*/ 577546 h 1099040"/>
              <a:gd name="connsiteX52" fmla="*/ 402429 w 2559842"/>
              <a:gd name="connsiteY52" fmla="*/ 625171 h 1099040"/>
              <a:gd name="connsiteX53" fmla="*/ 402429 w 2559842"/>
              <a:gd name="connsiteY53" fmla="*/ 625171 h 1099040"/>
              <a:gd name="connsiteX54" fmla="*/ 413182 w 2559842"/>
              <a:gd name="connsiteY54" fmla="*/ 625368 h 1099040"/>
              <a:gd name="connsiteX55" fmla="*/ 414335 w 2559842"/>
              <a:gd name="connsiteY55" fmla="*/ 637077 h 1099040"/>
              <a:gd name="connsiteX56" fmla="*/ 426242 w 2559842"/>
              <a:gd name="connsiteY56" fmla="*/ 637077 h 1099040"/>
              <a:gd name="connsiteX57" fmla="*/ 426242 w 2559842"/>
              <a:gd name="connsiteY57" fmla="*/ 658508 h 1099040"/>
              <a:gd name="connsiteX58" fmla="*/ 440529 w 2559842"/>
              <a:gd name="connsiteY58" fmla="*/ 658508 h 1099040"/>
              <a:gd name="connsiteX59" fmla="*/ 440529 w 2559842"/>
              <a:gd name="connsiteY59" fmla="*/ 670415 h 1099040"/>
              <a:gd name="connsiteX60" fmla="*/ 454817 w 2559842"/>
              <a:gd name="connsiteY60" fmla="*/ 670415 h 1099040"/>
              <a:gd name="connsiteX61" fmla="*/ 454817 w 2559842"/>
              <a:gd name="connsiteY61" fmla="*/ 677558 h 1099040"/>
              <a:gd name="connsiteX62" fmla="*/ 511447 w 2559842"/>
              <a:gd name="connsiteY62" fmla="*/ 676955 h 1099040"/>
              <a:gd name="connsiteX63" fmla="*/ 512386 w 2559842"/>
              <a:gd name="connsiteY63" fmla="*/ 684701 h 1099040"/>
              <a:gd name="connsiteX64" fmla="*/ 545304 w 2559842"/>
              <a:gd name="connsiteY64" fmla="*/ 684701 h 1099040"/>
              <a:gd name="connsiteX65" fmla="*/ 545304 w 2559842"/>
              <a:gd name="connsiteY65" fmla="*/ 698990 h 1099040"/>
              <a:gd name="connsiteX66" fmla="*/ 561973 w 2559842"/>
              <a:gd name="connsiteY66" fmla="*/ 698990 h 1099040"/>
              <a:gd name="connsiteX67" fmla="*/ 561973 w 2559842"/>
              <a:gd name="connsiteY67" fmla="*/ 713277 h 1099040"/>
              <a:gd name="connsiteX68" fmla="*/ 585786 w 2559842"/>
              <a:gd name="connsiteY68" fmla="*/ 713277 h 1099040"/>
              <a:gd name="connsiteX69" fmla="*/ 585786 w 2559842"/>
              <a:gd name="connsiteY69" fmla="*/ 718040 h 1099040"/>
              <a:gd name="connsiteX70" fmla="*/ 611979 w 2559842"/>
              <a:gd name="connsiteY70" fmla="*/ 718040 h 1099040"/>
              <a:gd name="connsiteX71" fmla="*/ 611979 w 2559842"/>
              <a:gd name="connsiteY71" fmla="*/ 727565 h 1099040"/>
              <a:gd name="connsiteX72" fmla="*/ 626267 w 2559842"/>
              <a:gd name="connsiteY72" fmla="*/ 727565 h 1099040"/>
              <a:gd name="connsiteX73" fmla="*/ 626267 w 2559842"/>
              <a:gd name="connsiteY73" fmla="*/ 739471 h 1099040"/>
              <a:gd name="connsiteX74" fmla="*/ 647698 w 2559842"/>
              <a:gd name="connsiteY74" fmla="*/ 739471 h 1099040"/>
              <a:gd name="connsiteX75" fmla="*/ 647698 w 2559842"/>
              <a:gd name="connsiteY75" fmla="*/ 751377 h 1099040"/>
              <a:gd name="connsiteX76" fmla="*/ 666748 w 2559842"/>
              <a:gd name="connsiteY76" fmla="*/ 751377 h 1099040"/>
              <a:gd name="connsiteX77" fmla="*/ 666748 w 2559842"/>
              <a:gd name="connsiteY77" fmla="*/ 765665 h 1099040"/>
              <a:gd name="connsiteX78" fmla="*/ 671511 w 2559842"/>
              <a:gd name="connsiteY78" fmla="*/ 765665 h 1099040"/>
              <a:gd name="connsiteX79" fmla="*/ 671511 w 2559842"/>
              <a:gd name="connsiteY79" fmla="*/ 770427 h 1099040"/>
              <a:gd name="connsiteX80" fmla="*/ 783429 w 2559842"/>
              <a:gd name="connsiteY80" fmla="*/ 770427 h 1099040"/>
              <a:gd name="connsiteX81" fmla="*/ 783429 w 2559842"/>
              <a:gd name="connsiteY81" fmla="*/ 779952 h 1099040"/>
              <a:gd name="connsiteX82" fmla="*/ 831054 w 2559842"/>
              <a:gd name="connsiteY82" fmla="*/ 779952 h 1099040"/>
              <a:gd name="connsiteX83" fmla="*/ 831054 w 2559842"/>
              <a:gd name="connsiteY83" fmla="*/ 799002 h 1099040"/>
              <a:gd name="connsiteX84" fmla="*/ 881061 w 2559842"/>
              <a:gd name="connsiteY84" fmla="*/ 799002 h 1099040"/>
              <a:gd name="connsiteX85" fmla="*/ 881061 w 2559842"/>
              <a:gd name="connsiteY85" fmla="*/ 799002 h 1099040"/>
              <a:gd name="connsiteX86" fmla="*/ 882722 w 2559842"/>
              <a:gd name="connsiteY86" fmla="*/ 810306 h 1099040"/>
              <a:gd name="connsiteX87" fmla="*/ 884483 w 2559842"/>
              <a:gd name="connsiteY87" fmla="*/ 822179 h 1099040"/>
              <a:gd name="connsiteX88" fmla="*/ 945354 w 2559842"/>
              <a:gd name="connsiteY88" fmla="*/ 820433 h 1099040"/>
              <a:gd name="connsiteX89" fmla="*/ 945354 w 2559842"/>
              <a:gd name="connsiteY89" fmla="*/ 849008 h 1099040"/>
              <a:gd name="connsiteX90" fmla="*/ 1181098 w 2559842"/>
              <a:gd name="connsiteY90" fmla="*/ 849008 h 1099040"/>
              <a:gd name="connsiteX91" fmla="*/ 1181098 w 2559842"/>
              <a:gd name="connsiteY91" fmla="*/ 870440 h 1099040"/>
              <a:gd name="connsiteX92" fmla="*/ 1364454 w 2559842"/>
              <a:gd name="connsiteY92" fmla="*/ 870440 h 1099040"/>
              <a:gd name="connsiteX93" fmla="*/ 1364454 w 2559842"/>
              <a:gd name="connsiteY93" fmla="*/ 887108 h 1099040"/>
              <a:gd name="connsiteX94" fmla="*/ 1454942 w 2559842"/>
              <a:gd name="connsiteY94" fmla="*/ 887108 h 1099040"/>
              <a:gd name="connsiteX95" fmla="*/ 1454942 w 2559842"/>
              <a:gd name="connsiteY95" fmla="*/ 908540 h 1099040"/>
              <a:gd name="connsiteX96" fmla="*/ 1728786 w 2559842"/>
              <a:gd name="connsiteY96" fmla="*/ 908540 h 1099040"/>
              <a:gd name="connsiteX97" fmla="*/ 1728786 w 2559842"/>
              <a:gd name="connsiteY97" fmla="*/ 932352 h 1099040"/>
              <a:gd name="connsiteX98" fmla="*/ 1816892 w 2559842"/>
              <a:gd name="connsiteY98" fmla="*/ 932352 h 1099040"/>
              <a:gd name="connsiteX99" fmla="*/ 1816892 w 2559842"/>
              <a:gd name="connsiteY99" fmla="*/ 965690 h 1099040"/>
              <a:gd name="connsiteX100" fmla="*/ 2057398 w 2559842"/>
              <a:gd name="connsiteY100" fmla="*/ 965690 h 1099040"/>
              <a:gd name="connsiteX101" fmla="*/ 2057398 w 2559842"/>
              <a:gd name="connsiteY101" fmla="*/ 1001408 h 1099040"/>
              <a:gd name="connsiteX102" fmla="*/ 2102642 w 2559842"/>
              <a:gd name="connsiteY102" fmla="*/ 1001408 h 1099040"/>
              <a:gd name="connsiteX103" fmla="*/ 2102642 w 2559842"/>
              <a:gd name="connsiteY103" fmla="*/ 1032365 h 1099040"/>
              <a:gd name="connsiteX104" fmla="*/ 2288379 w 2559842"/>
              <a:gd name="connsiteY104" fmla="*/ 1032365 h 1099040"/>
              <a:gd name="connsiteX105" fmla="*/ 2288379 w 2559842"/>
              <a:gd name="connsiteY105" fmla="*/ 1099040 h 1099040"/>
              <a:gd name="connsiteX106" fmla="*/ 2559842 w 2559842"/>
              <a:gd name="connsiteY106" fmla="*/ 1099040 h 1099040"/>
              <a:gd name="connsiteX0" fmla="*/ 0 w 2559842"/>
              <a:gd name="connsiteY0" fmla="*/ 10808 h 1099040"/>
              <a:gd name="connsiteX1" fmla="*/ 9101 w 2559842"/>
              <a:gd name="connsiteY1" fmla="*/ 11200 h 1099040"/>
              <a:gd name="connsiteX2" fmla="*/ 57149 w 2559842"/>
              <a:gd name="connsiteY2" fmla="*/ 17953 h 1099040"/>
              <a:gd name="connsiteX3" fmla="*/ 54767 w 2559842"/>
              <a:gd name="connsiteY3" fmla="*/ 56052 h 1099040"/>
              <a:gd name="connsiteX4" fmla="*/ 73817 w 2559842"/>
              <a:gd name="connsiteY4" fmla="*/ 56052 h 1099040"/>
              <a:gd name="connsiteX5" fmla="*/ 73817 w 2559842"/>
              <a:gd name="connsiteY5" fmla="*/ 63196 h 1099040"/>
              <a:gd name="connsiteX6" fmla="*/ 78579 w 2559842"/>
              <a:gd name="connsiteY6" fmla="*/ 63196 h 1099040"/>
              <a:gd name="connsiteX7" fmla="*/ 78579 w 2559842"/>
              <a:gd name="connsiteY7" fmla="*/ 77483 h 1099040"/>
              <a:gd name="connsiteX8" fmla="*/ 85723 w 2559842"/>
              <a:gd name="connsiteY8" fmla="*/ 77483 h 1099040"/>
              <a:gd name="connsiteX9" fmla="*/ 85723 w 2559842"/>
              <a:gd name="connsiteY9" fmla="*/ 91771 h 1099040"/>
              <a:gd name="connsiteX10" fmla="*/ 100011 w 2559842"/>
              <a:gd name="connsiteY10" fmla="*/ 91771 h 1099040"/>
              <a:gd name="connsiteX11" fmla="*/ 100011 w 2559842"/>
              <a:gd name="connsiteY11" fmla="*/ 103677 h 1099040"/>
              <a:gd name="connsiteX12" fmla="*/ 111917 w 2559842"/>
              <a:gd name="connsiteY12" fmla="*/ 103677 h 1099040"/>
              <a:gd name="connsiteX13" fmla="*/ 111917 w 2559842"/>
              <a:gd name="connsiteY13" fmla="*/ 120346 h 1099040"/>
              <a:gd name="connsiteX14" fmla="*/ 126204 w 2559842"/>
              <a:gd name="connsiteY14" fmla="*/ 120346 h 1099040"/>
              <a:gd name="connsiteX15" fmla="*/ 126204 w 2559842"/>
              <a:gd name="connsiteY15" fmla="*/ 129871 h 1099040"/>
              <a:gd name="connsiteX16" fmla="*/ 135729 w 2559842"/>
              <a:gd name="connsiteY16" fmla="*/ 129871 h 1099040"/>
              <a:gd name="connsiteX17" fmla="*/ 135729 w 2559842"/>
              <a:gd name="connsiteY17" fmla="*/ 153683 h 1099040"/>
              <a:gd name="connsiteX18" fmla="*/ 145254 w 2559842"/>
              <a:gd name="connsiteY18" fmla="*/ 153683 h 1099040"/>
              <a:gd name="connsiteX19" fmla="*/ 145254 w 2559842"/>
              <a:gd name="connsiteY19" fmla="*/ 189402 h 1099040"/>
              <a:gd name="connsiteX20" fmla="*/ 145254 w 2559842"/>
              <a:gd name="connsiteY20" fmla="*/ 232265 h 1099040"/>
              <a:gd name="connsiteX21" fmla="*/ 152398 w 2559842"/>
              <a:gd name="connsiteY21" fmla="*/ 232265 h 1099040"/>
              <a:gd name="connsiteX22" fmla="*/ 152398 w 2559842"/>
              <a:gd name="connsiteY22" fmla="*/ 279890 h 1099040"/>
              <a:gd name="connsiteX23" fmla="*/ 157161 w 2559842"/>
              <a:gd name="connsiteY23" fmla="*/ 279890 h 1099040"/>
              <a:gd name="connsiteX24" fmla="*/ 157161 w 2559842"/>
              <a:gd name="connsiteY24" fmla="*/ 298940 h 1099040"/>
              <a:gd name="connsiteX25" fmla="*/ 164304 w 2559842"/>
              <a:gd name="connsiteY25" fmla="*/ 298940 h 1099040"/>
              <a:gd name="connsiteX26" fmla="*/ 164304 w 2559842"/>
              <a:gd name="connsiteY26" fmla="*/ 325133 h 1099040"/>
              <a:gd name="connsiteX27" fmla="*/ 164304 w 2559842"/>
              <a:gd name="connsiteY27" fmla="*/ 327515 h 1099040"/>
              <a:gd name="connsiteX28" fmla="*/ 164304 w 2559842"/>
              <a:gd name="connsiteY28" fmla="*/ 365615 h 1099040"/>
              <a:gd name="connsiteX29" fmla="*/ 176211 w 2559842"/>
              <a:gd name="connsiteY29" fmla="*/ 365615 h 1099040"/>
              <a:gd name="connsiteX30" fmla="*/ 176211 w 2559842"/>
              <a:gd name="connsiteY30" fmla="*/ 382283 h 1099040"/>
              <a:gd name="connsiteX31" fmla="*/ 183354 w 2559842"/>
              <a:gd name="connsiteY31" fmla="*/ 382283 h 1099040"/>
              <a:gd name="connsiteX32" fmla="*/ 183354 w 2559842"/>
              <a:gd name="connsiteY32" fmla="*/ 391808 h 1099040"/>
              <a:gd name="connsiteX33" fmla="*/ 211929 w 2559842"/>
              <a:gd name="connsiteY33" fmla="*/ 391808 h 1099040"/>
              <a:gd name="connsiteX34" fmla="*/ 214311 w 2559842"/>
              <a:gd name="connsiteY34" fmla="*/ 394190 h 1099040"/>
              <a:gd name="connsiteX35" fmla="*/ 226217 w 2559842"/>
              <a:gd name="connsiteY35" fmla="*/ 394190 h 1099040"/>
              <a:gd name="connsiteX36" fmla="*/ 226217 w 2559842"/>
              <a:gd name="connsiteY36" fmla="*/ 432290 h 1099040"/>
              <a:gd name="connsiteX37" fmla="*/ 283367 w 2559842"/>
              <a:gd name="connsiteY37" fmla="*/ 432290 h 1099040"/>
              <a:gd name="connsiteX38" fmla="*/ 283367 w 2559842"/>
              <a:gd name="connsiteY38" fmla="*/ 456102 h 1099040"/>
              <a:gd name="connsiteX39" fmla="*/ 290511 w 2559842"/>
              <a:gd name="connsiteY39" fmla="*/ 456102 h 1099040"/>
              <a:gd name="connsiteX40" fmla="*/ 290511 w 2559842"/>
              <a:gd name="connsiteY40" fmla="*/ 470390 h 1099040"/>
              <a:gd name="connsiteX41" fmla="*/ 304798 w 2559842"/>
              <a:gd name="connsiteY41" fmla="*/ 470390 h 1099040"/>
              <a:gd name="connsiteX42" fmla="*/ 304798 w 2559842"/>
              <a:gd name="connsiteY42" fmla="*/ 479915 h 1099040"/>
              <a:gd name="connsiteX43" fmla="*/ 330992 w 2559842"/>
              <a:gd name="connsiteY43" fmla="*/ 479915 h 1099040"/>
              <a:gd name="connsiteX44" fmla="*/ 335754 w 2559842"/>
              <a:gd name="connsiteY44" fmla="*/ 484677 h 1099040"/>
              <a:gd name="connsiteX45" fmla="*/ 369092 w 2559842"/>
              <a:gd name="connsiteY45" fmla="*/ 484677 h 1099040"/>
              <a:gd name="connsiteX46" fmla="*/ 369092 w 2559842"/>
              <a:gd name="connsiteY46" fmla="*/ 496583 h 1099040"/>
              <a:gd name="connsiteX47" fmla="*/ 383379 w 2559842"/>
              <a:gd name="connsiteY47" fmla="*/ 496583 h 1099040"/>
              <a:gd name="connsiteX48" fmla="*/ 383379 w 2559842"/>
              <a:gd name="connsiteY48" fmla="*/ 563258 h 1099040"/>
              <a:gd name="connsiteX49" fmla="*/ 392904 w 2559842"/>
              <a:gd name="connsiteY49" fmla="*/ 563258 h 1099040"/>
              <a:gd name="connsiteX50" fmla="*/ 392904 w 2559842"/>
              <a:gd name="connsiteY50" fmla="*/ 577546 h 1099040"/>
              <a:gd name="connsiteX51" fmla="*/ 402429 w 2559842"/>
              <a:gd name="connsiteY51" fmla="*/ 577546 h 1099040"/>
              <a:gd name="connsiteX52" fmla="*/ 402429 w 2559842"/>
              <a:gd name="connsiteY52" fmla="*/ 625171 h 1099040"/>
              <a:gd name="connsiteX53" fmla="*/ 402429 w 2559842"/>
              <a:gd name="connsiteY53" fmla="*/ 625171 h 1099040"/>
              <a:gd name="connsiteX54" fmla="*/ 413182 w 2559842"/>
              <a:gd name="connsiteY54" fmla="*/ 625368 h 1099040"/>
              <a:gd name="connsiteX55" fmla="*/ 414335 w 2559842"/>
              <a:gd name="connsiteY55" fmla="*/ 637077 h 1099040"/>
              <a:gd name="connsiteX56" fmla="*/ 426242 w 2559842"/>
              <a:gd name="connsiteY56" fmla="*/ 637077 h 1099040"/>
              <a:gd name="connsiteX57" fmla="*/ 426242 w 2559842"/>
              <a:gd name="connsiteY57" fmla="*/ 658508 h 1099040"/>
              <a:gd name="connsiteX58" fmla="*/ 440529 w 2559842"/>
              <a:gd name="connsiteY58" fmla="*/ 658508 h 1099040"/>
              <a:gd name="connsiteX59" fmla="*/ 440529 w 2559842"/>
              <a:gd name="connsiteY59" fmla="*/ 670415 h 1099040"/>
              <a:gd name="connsiteX60" fmla="*/ 454817 w 2559842"/>
              <a:gd name="connsiteY60" fmla="*/ 670415 h 1099040"/>
              <a:gd name="connsiteX61" fmla="*/ 454817 w 2559842"/>
              <a:gd name="connsiteY61" fmla="*/ 677558 h 1099040"/>
              <a:gd name="connsiteX62" fmla="*/ 511447 w 2559842"/>
              <a:gd name="connsiteY62" fmla="*/ 676955 h 1099040"/>
              <a:gd name="connsiteX63" fmla="*/ 512386 w 2559842"/>
              <a:gd name="connsiteY63" fmla="*/ 684701 h 1099040"/>
              <a:gd name="connsiteX64" fmla="*/ 545304 w 2559842"/>
              <a:gd name="connsiteY64" fmla="*/ 684701 h 1099040"/>
              <a:gd name="connsiteX65" fmla="*/ 545304 w 2559842"/>
              <a:gd name="connsiteY65" fmla="*/ 698990 h 1099040"/>
              <a:gd name="connsiteX66" fmla="*/ 561973 w 2559842"/>
              <a:gd name="connsiteY66" fmla="*/ 698990 h 1099040"/>
              <a:gd name="connsiteX67" fmla="*/ 561973 w 2559842"/>
              <a:gd name="connsiteY67" fmla="*/ 713277 h 1099040"/>
              <a:gd name="connsiteX68" fmla="*/ 585786 w 2559842"/>
              <a:gd name="connsiteY68" fmla="*/ 713277 h 1099040"/>
              <a:gd name="connsiteX69" fmla="*/ 585786 w 2559842"/>
              <a:gd name="connsiteY69" fmla="*/ 718040 h 1099040"/>
              <a:gd name="connsiteX70" fmla="*/ 611979 w 2559842"/>
              <a:gd name="connsiteY70" fmla="*/ 718040 h 1099040"/>
              <a:gd name="connsiteX71" fmla="*/ 611979 w 2559842"/>
              <a:gd name="connsiteY71" fmla="*/ 727565 h 1099040"/>
              <a:gd name="connsiteX72" fmla="*/ 626267 w 2559842"/>
              <a:gd name="connsiteY72" fmla="*/ 727565 h 1099040"/>
              <a:gd name="connsiteX73" fmla="*/ 626267 w 2559842"/>
              <a:gd name="connsiteY73" fmla="*/ 739471 h 1099040"/>
              <a:gd name="connsiteX74" fmla="*/ 647698 w 2559842"/>
              <a:gd name="connsiteY74" fmla="*/ 739471 h 1099040"/>
              <a:gd name="connsiteX75" fmla="*/ 647698 w 2559842"/>
              <a:gd name="connsiteY75" fmla="*/ 751377 h 1099040"/>
              <a:gd name="connsiteX76" fmla="*/ 666748 w 2559842"/>
              <a:gd name="connsiteY76" fmla="*/ 751377 h 1099040"/>
              <a:gd name="connsiteX77" fmla="*/ 666748 w 2559842"/>
              <a:gd name="connsiteY77" fmla="*/ 765665 h 1099040"/>
              <a:gd name="connsiteX78" fmla="*/ 671511 w 2559842"/>
              <a:gd name="connsiteY78" fmla="*/ 765665 h 1099040"/>
              <a:gd name="connsiteX79" fmla="*/ 671511 w 2559842"/>
              <a:gd name="connsiteY79" fmla="*/ 770427 h 1099040"/>
              <a:gd name="connsiteX80" fmla="*/ 783429 w 2559842"/>
              <a:gd name="connsiteY80" fmla="*/ 770427 h 1099040"/>
              <a:gd name="connsiteX81" fmla="*/ 783429 w 2559842"/>
              <a:gd name="connsiteY81" fmla="*/ 779952 h 1099040"/>
              <a:gd name="connsiteX82" fmla="*/ 831054 w 2559842"/>
              <a:gd name="connsiteY82" fmla="*/ 779952 h 1099040"/>
              <a:gd name="connsiteX83" fmla="*/ 831054 w 2559842"/>
              <a:gd name="connsiteY83" fmla="*/ 799002 h 1099040"/>
              <a:gd name="connsiteX84" fmla="*/ 881061 w 2559842"/>
              <a:gd name="connsiteY84" fmla="*/ 799002 h 1099040"/>
              <a:gd name="connsiteX85" fmla="*/ 881061 w 2559842"/>
              <a:gd name="connsiteY85" fmla="*/ 799002 h 1099040"/>
              <a:gd name="connsiteX86" fmla="*/ 884483 w 2559842"/>
              <a:gd name="connsiteY86" fmla="*/ 822179 h 1099040"/>
              <a:gd name="connsiteX87" fmla="*/ 945354 w 2559842"/>
              <a:gd name="connsiteY87" fmla="*/ 820433 h 1099040"/>
              <a:gd name="connsiteX88" fmla="*/ 945354 w 2559842"/>
              <a:gd name="connsiteY88" fmla="*/ 849008 h 1099040"/>
              <a:gd name="connsiteX89" fmla="*/ 1181098 w 2559842"/>
              <a:gd name="connsiteY89" fmla="*/ 849008 h 1099040"/>
              <a:gd name="connsiteX90" fmla="*/ 1181098 w 2559842"/>
              <a:gd name="connsiteY90" fmla="*/ 870440 h 1099040"/>
              <a:gd name="connsiteX91" fmla="*/ 1364454 w 2559842"/>
              <a:gd name="connsiteY91" fmla="*/ 870440 h 1099040"/>
              <a:gd name="connsiteX92" fmla="*/ 1364454 w 2559842"/>
              <a:gd name="connsiteY92" fmla="*/ 887108 h 1099040"/>
              <a:gd name="connsiteX93" fmla="*/ 1454942 w 2559842"/>
              <a:gd name="connsiteY93" fmla="*/ 887108 h 1099040"/>
              <a:gd name="connsiteX94" fmla="*/ 1454942 w 2559842"/>
              <a:gd name="connsiteY94" fmla="*/ 908540 h 1099040"/>
              <a:gd name="connsiteX95" fmla="*/ 1728786 w 2559842"/>
              <a:gd name="connsiteY95" fmla="*/ 908540 h 1099040"/>
              <a:gd name="connsiteX96" fmla="*/ 1728786 w 2559842"/>
              <a:gd name="connsiteY96" fmla="*/ 932352 h 1099040"/>
              <a:gd name="connsiteX97" fmla="*/ 1816892 w 2559842"/>
              <a:gd name="connsiteY97" fmla="*/ 932352 h 1099040"/>
              <a:gd name="connsiteX98" fmla="*/ 1816892 w 2559842"/>
              <a:gd name="connsiteY98" fmla="*/ 965690 h 1099040"/>
              <a:gd name="connsiteX99" fmla="*/ 2057398 w 2559842"/>
              <a:gd name="connsiteY99" fmla="*/ 965690 h 1099040"/>
              <a:gd name="connsiteX100" fmla="*/ 2057398 w 2559842"/>
              <a:gd name="connsiteY100" fmla="*/ 1001408 h 1099040"/>
              <a:gd name="connsiteX101" fmla="*/ 2102642 w 2559842"/>
              <a:gd name="connsiteY101" fmla="*/ 1001408 h 1099040"/>
              <a:gd name="connsiteX102" fmla="*/ 2102642 w 2559842"/>
              <a:gd name="connsiteY102" fmla="*/ 1032365 h 1099040"/>
              <a:gd name="connsiteX103" fmla="*/ 2288379 w 2559842"/>
              <a:gd name="connsiteY103" fmla="*/ 1032365 h 1099040"/>
              <a:gd name="connsiteX104" fmla="*/ 2288379 w 2559842"/>
              <a:gd name="connsiteY104" fmla="*/ 1099040 h 1099040"/>
              <a:gd name="connsiteX105" fmla="*/ 2559842 w 2559842"/>
              <a:gd name="connsiteY105" fmla="*/ 1099040 h 1099040"/>
              <a:gd name="connsiteX0" fmla="*/ 0 w 2559842"/>
              <a:gd name="connsiteY0" fmla="*/ 10808 h 1099040"/>
              <a:gd name="connsiteX1" fmla="*/ 9101 w 2559842"/>
              <a:gd name="connsiteY1" fmla="*/ 11200 h 1099040"/>
              <a:gd name="connsiteX2" fmla="*/ 57149 w 2559842"/>
              <a:gd name="connsiteY2" fmla="*/ 17953 h 1099040"/>
              <a:gd name="connsiteX3" fmla="*/ 54767 w 2559842"/>
              <a:gd name="connsiteY3" fmla="*/ 56052 h 1099040"/>
              <a:gd name="connsiteX4" fmla="*/ 73817 w 2559842"/>
              <a:gd name="connsiteY4" fmla="*/ 56052 h 1099040"/>
              <a:gd name="connsiteX5" fmla="*/ 73817 w 2559842"/>
              <a:gd name="connsiteY5" fmla="*/ 63196 h 1099040"/>
              <a:gd name="connsiteX6" fmla="*/ 78579 w 2559842"/>
              <a:gd name="connsiteY6" fmla="*/ 63196 h 1099040"/>
              <a:gd name="connsiteX7" fmla="*/ 78579 w 2559842"/>
              <a:gd name="connsiteY7" fmla="*/ 77483 h 1099040"/>
              <a:gd name="connsiteX8" fmla="*/ 85723 w 2559842"/>
              <a:gd name="connsiteY8" fmla="*/ 77483 h 1099040"/>
              <a:gd name="connsiteX9" fmla="*/ 85723 w 2559842"/>
              <a:gd name="connsiteY9" fmla="*/ 91771 h 1099040"/>
              <a:gd name="connsiteX10" fmla="*/ 100011 w 2559842"/>
              <a:gd name="connsiteY10" fmla="*/ 91771 h 1099040"/>
              <a:gd name="connsiteX11" fmla="*/ 100011 w 2559842"/>
              <a:gd name="connsiteY11" fmla="*/ 103677 h 1099040"/>
              <a:gd name="connsiteX12" fmla="*/ 111917 w 2559842"/>
              <a:gd name="connsiteY12" fmla="*/ 103677 h 1099040"/>
              <a:gd name="connsiteX13" fmla="*/ 111917 w 2559842"/>
              <a:gd name="connsiteY13" fmla="*/ 120346 h 1099040"/>
              <a:gd name="connsiteX14" fmla="*/ 126204 w 2559842"/>
              <a:gd name="connsiteY14" fmla="*/ 120346 h 1099040"/>
              <a:gd name="connsiteX15" fmla="*/ 126204 w 2559842"/>
              <a:gd name="connsiteY15" fmla="*/ 129871 h 1099040"/>
              <a:gd name="connsiteX16" fmla="*/ 135729 w 2559842"/>
              <a:gd name="connsiteY16" fmla="*/ 129871 h 1099040"/>
              <a:gd name="connsiteX17" fmla="*/ 135729 w 2559842"/>
              <a:gd name="connsiteY17" fmla="*/ 153683 h 1099040"/>
              <a:gd name="connsiteX18" fmla="*/ 145254 w 2559842"/>
              <a:gd name="connsiteY18" fmla="*/ 153683 h 1099040"/>
              <a:gd name="connsiteX19" fmla="*/ 145254 w 2559842"/>
              <a:gd name="connsiteY19" fmla="*/ 189402 h 1099040"/>
              <a:gd name="connsiteX20" fmla="*/ 145254 w 2559842"/>
              <a:gd name="connsiteY20" fmla="*/ 232265 h 1099040"/>
              <a:gd name="connsiteX21" fmla="*/ 152398 w 2559842"/>
              <a:gd name="connsiteY21" fmla="*/ 232265 h 1099040"/>
              <a:gd name="connsiteX22" fmla="*/ 152398 w 2559842"/>
              <a:gd name="connsiteY22" fmla="*/ 279890 h 1099040"/>
              <a:gd name="connsiteX23" fmla="*/ 157161 w 2559842"/>
              <a:gd name="connsiteY23" fmla="*/ 279890 h 1099040"/>
              <a:gd name="connsiteX24" fmla="*/ 157161 w 2559842"/>
              <a:gd name="connsiteY24" fmla="*/ 298940 h 1099040"/>
              <a:gd name="connsiteX25" fmla="*/ 164304 w 2559842"/>
              <a:gd name="connsiteY25" fmla="*/ 298940 h 1099040"/>
              <a:gd name="connsiteX26" fmla="*/ 164304 w 2559842"/>
              <a:gd name="connsiteY26" fmla="*/ 325133 h 1099040"/>
              <a:gd name="connsiteX27" fmla="*/ 164304 w 2559842"/>
              <a:gd name="connsiteY27" fmla="*/ 327515 h 1099040"/>
              <a:gd name="connsiteX28" fmla="*/ 164304 w 2559842"/>
              <a:gd name="connsiteY28" fmla="*/ 365615 h 1099040"/>
              <a:gd name="connsiteX29" fmla="*/ 176211 w 2559842"/>
              <a:gd name="connsiteY29" fmla="*/ 365615 h 1099040"/>
              <a:gd name="connsiteX30" fmla="*/ 176211 w 2559842"/>
              <a:gd name="connsiteY30" fmla="*/ 382283 h 1099040"/>
              <a:gd name="connsiteX31" fmla="*/ 183354 w 2559842"/>
              <a:gd name="connsiteY31" fmla="*/ 382283 h 1099040"/>
              <a:gd name="connsiteX32" fmla="*/ 183354 w 2559842"/>
              <a:gd name="connsiteY32" fmla="*/ 391808 h 1099040"/>
              <a:gd name="connsiteX33" fmla="*/ 211929 w 2559842"/>
              <a:gd name="connsiteY33" fmla="*/ 391808 h 1099040"/>
              <a:gd name="connsiteX34" fmla="*/ 214311 w 2559842"/>
              <a:gd name="connsiteY34" fmla="*/ 394190 h 1099040"/>
              <a:gd name="connsiteX35" fmla="*/ 226217 w 2559842"/>
              <a:gd name="connsiteY35" fmla="*/ 394190 h 1099040"/>
              <a:gd name="connsiteX36" fmla="*/ 226217 w 2559842"/>
              <a:gd name="connsiteY36" fmla="*/ 432290 h 1099040"/>
              <a:gd name="connsiteX37" fmla="*/ 283367 w 2559842"/>
              <a:gd name="connsiteY37" fmla="*/ 432290 h 1099040"/>
              <a:gd name="connsiteX38" fmla="*/ 283367 w 2559842"/>
              <a:gd name="connsiteY38" fmla="*/ 456102 h 1099040"/>
              <a:gd name="connsiteX39" fmla="*/ 290511 w 2559842"/>
              <a:gd name="connsiteY39" fmla="*/ 456102 h 1099040"/>
              <a:gd name="connsiteX40" fmla="*/ 290511 w 2559842"/>
              <a:gd name="connsiteY40" fmla="*/ 470390 h 1099040"/>
              <a:gd name="connsiteX41" fmla="*/ 304798 w 2559842"/>
              <a:gd name="connsiteY41" fmla="*/ 470390 h 1099040"/>
              <a:gd name="connsiteX42" fmla="*/ 304798 w 2559842"/>
              <a:gd name="connsiteY42" fmla="*/ 479915 h 1099040"/>
              <a:gd name="connsiteX43" fmla="*/ 330992 w 2559842"/>
              <a:gd name="connsiteY43" fmla="*/ 479915 h 1099040"/>
              <a:gd name="connsiteX44" fmla="*/ 335754 w 2559842"/>
              <a:gd name="connsiteY44" fmla="*/ 484677 h 1099040"/>
              <a:gd name="connsiteX45" fmla="*/ 369092 w 2559842"/>
              <a:gd name="connsiteY45" fmla="*/ 484677 h 1099040"/>
              <a:gd name="connsiteX46" fmla="*/ 369092 w 2559842"/>
              <a:gd name="connsiteY46" fmla="*/ 496583 h 1099040"/>
              <a:gd name="connsiteX47" fmla="*/ 383379 w 2559842"/>
              <a:gd name="connsiteY47" fmla="*/ 496583 h 1099040"/>
              <a:gd name="connsiteX48" fmla="*/ 383379 w 2559842"/>
              <a:gd name="connsiteY48" fmla="*/ 563258 h 1099040"/>
              <a:gd name="connsiteX49" fmla="*/ 392904 w 2559842"/>
              <a:gd name="connsiteY49" fmla="*/ 563258 h 1099040"/>
              <a:gd name="connsiteX50" fmla="*/ 392904 w 2559842"/>
              <a:gd name="connsiteY50" fmla="*/ 577546 h 1099040"/>
              <a:gd name="connsiteX51" fmla="*/ 402429 w 2559842"/>
              <a:gd name="connsiteY51" fmla="*/ 577546 h 1099040"/>
              <a:gd name="connsiteX52" fmla="*/ 402429 w 2559842"/>
              <a:gd name="connsiteY52" fmla="*/ 625171 h 1099040"/>
              <a:gd name="connsiteX53" fmla="*/ 402429 w 2559842"/>
              <a:gd name="connsiteY53" fmla="*/ 625171 h 1099040"/>
              <a:gd name="connsiteX54" fmla="*/ 413182 w 2559842"/>
              <a:gd name="connsiteY54" fmla="*/ 625368 h 1099040"/>
              <a:gd name="connsiteX55" fmla="*/ 414335 w 2559842"/>
              <a:gd name="connsiteY55" fmla="*/ 637077 h 1099040"/>
              <a:gd name="connsiteX56" fmla="*/ 426242 w 2559842"/>
              <a:gd name="connsiteY56" fmla="*/ 637077 h 1099040"/>
              <a:gd name="connsiteX57" fmla="*/ 426242 w 2559842"/>
              <a:gd name="connsiteY57" fmla="*/ 658508 h 1099040"/>
              <a:gd name="connsiteX58" fmla="*/ 440529 w 2559842"/>
              <a:gd name="connsiteY58" fmla="*/ 658508 h 1099040"/>
              <a:gd name="connsiteX59" fmla="*/ 440529 w 2559842"/>
              <a:gd name="connsiteY59" fmla="*/ 670415 h 1099040"/>
              <a:gd name="connsiteX60" fmla="*/ 454817 w 2559842"/>
              <a:gd name="connsiteY60" fmla="*/ 670415 h 1099040"/>
              <a:gd name="connsiteX61" fmla="*/ 454817 w 2559842"/>
              <a:gd name="connsiteY61" fmla="*/ 677558 h 1099040"/>
              <a:gd name="connsiteX62" fmla="*/ 511447 w 2559842"/>
              <a:gd name="connsiteY62" fmla="*/ 676955 h 1099040"/>
              <a:gd name="connsiteX63" fmla="*/ 512386 w 2559842"/>
              <a:gd name="connsiteY63" fmla="*/ 684701 h 1099040"/>
              <a:gd name="connsiteX64" fmla="*/ 545304 w 2559842"/>
              <a:gd name="connsiteY64" fmla="*/ 684701 h 1099040"/>
              <a:gd name="connsiteX65" fmla="*/ 545304 w 2559842"/>
              <a:gd name="connsiteY65" fmla="*/ 698990 h 1099040"/>
              <a:gd name="connsiteX66" fmla="*/ 561973 w 2559842"/>
              <a:gd name="connsiteY66" fmla="*/ 698990 h 1099040"/>
              <a:gd name="connsiteX67" fmla="*/ 561973 w 2559842"/>
              <a:gd name="connsiteY67" fmla="*/ 713277 h 1099040"/>
              <a:gd name="connsiteX68" fmla="*/ 585786 w 2559842"/>
              <a:gd name="connsiteY68" fmla="*/ 713277 h 1099040"/>
              <a:gd name="connsiteX69" fmla="*/ 585786 w 2559842"/>
              <a:gd name="connsiteY69" fmla="*/ 718040 h 1099040"/>
              <a:gd name="connsiteX70" fmla="*/ 611979 w 2559842"/>
              <a:gd name="connsiteY70" fmla="*/ 718040 h 1099040"/>
              <a:gd name="connsiteX71" fmla="*/ 611979 w 2559842"/>
              <a:gd name="connsiteY71" fmla="*/ 727565 h 1099040"/>
              <a:gd name="connsiteX72" fmla="*/ 626267 w 2559842"/>
              <a:gd name="connsiteY72" fmla="*/ 727565 h 1099040"/>
              <a:gd name="connsiteX73" fmla="*/ 626267 w 2559842"/>
              <a:gd name="connsiteY73" fmla="*/ 739471 h 1099040"/>
              <a:gd name="connsiteX74" fmla="*/ 647698 w 2559842"/>
              <a:gd name="connsiteY74" fmla="*/ 739471 h 1099040"/>
              <a:gd name="connsiteX75" fmla="*/ 647698 w 2559842"/>
              <a:gd name="connsiteY75" fmla="*/ 751377 h 1099040"/>
              <a:gd name="connsiteX76" fmla="*/ 666748 w 2559842"/>
              <a:gd name="connsiteY76" fmla="*/ 751377 h 1099040"/>
              <a:gd name="connsiteX77" fmla="*/ 666748 w 2559842"/>
              <a:gd name="connsiteY77" fmla="*/ 765665 h 1099040"/>
              <a:gd name="connsiteX78" fmla="*/ 671511 w 2559842"/>
              <a:gd name="connsiteY78" fmla="*/ 765665 h 1099040"/>
              <a:gd name="connsiteX79" fmla="*/ 671511 w 2559842"/>
              <a:gd name="connsiteY79" fmla="*/ 770427 h 1099040"/>
              <a:gd name="connsiteX80" fmla="*/ 783429 w 2559842"/>
              <a:gd name="connsiteY80" fmla="*/ 770427 h 1099040"/>
              <a:gd name="connsiteX81" fmla="*/ 783429 w 2559842"/>
              <a:gd name="connsiteY81" fmla="*/ 779952 h 1099040"/>
              <a:gd name="connsiteX82" fmla="*/ 831054 w 2559842"/>
              <a:gd name="connsiteY82" fmla="*/ 779952 h 1099040"/>
              <a:gd name="connsiteX83" fmla="*/ 831054 w 2559842"/>
              <a:gd name="connsiteY83" fmla="*/ 799002 h 1099040"/>
              <a:gd name="connsiteX84" fmla="*/ 881061 w 2559842"/>
              <a:gd name="connsiteY84" fmla="*/ 799002 h 1099040"/>
              <a:gd name="connsiteX85" fmla="*/ 881061 w 2559842"/>
              <a:gd name="connsiteY85" fmla="*/ 799002 h 1099040"/>
              <a:gd name="connsiteX86" fmla="*/ 884483 w 2559842"/>
              <a:gd name="connsiteY86" fmla="*/ 822179 h 1099040"/>
              <a:gd name="connsiteX87" fmla="*/ 945354 w 2559842"/>
              <a:gd name="connsiteY87" fmla="*/ 820433 h 1099040"/>
              <a:gd name="connsiteX88" fmla="*/ 945354 w 2559842"/>
              <a:gd name="connsiteY88" fmla="*/ 849008 h 1099040"/>
              <a:gd name="connsiteX89" fmla="*/ 1181098 w 2559842"/>
              <a:gd name="connsiteY89" fmla="*/ 849008 h 1099040"/>
              <a:gd name="connsiteX90" fmla="*/ 1181098 w 2559842"/>
              <a:gd name="connsiteY90" fmla="*/ 870440 h 1099040"/>
              <a:gd name="connsiteX91" fmla="*/ 1364454 w 2559842"/>
              <a:gd name="connsiteY91" fmla="*/ 870440 h 1099040"/>
              <a:gd name="connsiteX92" fmla="*/ 1364454 w 2559842"/>
              <a:gd name="connsiteY92" fmla="*/ 887108 h 1099040"/>
              <a:gd name="connsiteX93" fmla="*/ 1454942 w 2559842"/>
              <a:gd name="connsiteY93" fmla="*/ 887108 h 1099040"/>
              <a:gd name="connsiteX94" fmla="*/ 1454942 w 2559842"/>
              <a:gd name="connsiteY94" fmla="*/ 908540 h 1099040"/>
              <a:gd name="connsiteX95" fmla="*/ 1728786 w 2559842"/>
              <a:gd name="connsiteY95" fmla="*/ 908540 h 1099040"/>
              <a:gd name="connsiteX96" fmla="*/ 1728786 w 2559842"/>
              <a:gd name="connsiteY96" fmla="*/ 932352 h 1099040"/>
              <a:gd name="connsiteX97" fmla="*/ 1816892 w 2559842"/>
              <a:gd name="connsiteY97" fmla="*/ 932352 h 1099040"/>
              <a:gd name="connsiteX98" fmla="*/ 1816892 w 2559842"/>
              <a:gd name="connsiteY98" fmla="*/ 965690 h 1099040"/>
              <a:gd name="connsiteX99" fmla="*/ 2057398 w 2559842"/>
              <a:gd name="connsiteY99" fmla="*/ 965690 h 1099040"/>
              <a:gd name="connsiteX100" fmla="*/ 2057398 w 2559842"/>
              <a:gd name="connsiteY100" fmla="*/ 1001408 h 1099040"/>
              <a:gd name="connsiteX101" fmla="*/ 2102642 w 2559842"/>
              <a:gd name="connsiteY101" fmla="*/ 1001408 h 1099040"/>
              <a:gd name="connsiteX102" fmla="*/ 2102642 w 2559842"/>
              <a:gd name="connsiteY102" fmla="*/ 1032365 h 1099040"/>
              <a:gd name="connsiteX103" fmla="*/ 2288379 w 2559842"/>
              <a:gd name="connsiteY103" fmla="*/ 1032365 h 1099040"/>
              <a:gd name="connsiteX104" fmla="*/ 2288379 w 2559842"/>
              <a:gd name="connsiteY104" fmla="*/ 1099040 h 1099040"/>
              <a:gd name="connsiteX105" fmla="*/ 2559842 w 2559842"/>
              <a:gd name="connsiteY105" fmla="*/ 1099040 h 1099040"/>
              <a:gd name="connsiteX0" fmla="*/ 0 w 2559842"/>
              <a:gd name="connsiteY0" fmla="*/ 10808 h 1099040"/>
              <a:gd name="connsiteX1" fmla="*/ 9101 w 2559842"/>
              <a:gd name="connsiteY1" fmla="*/ 11200 h 1099040"/>
              <a:gd name="connsiteX2" fmla="*/ 57149 w 2559842"/>
              <a:gd name="connsiteY2" fmla="*/ 17953 h 1099040"/>
              <a:gd name="connsiteX3" fmla="*/ 54767 w 2559842"/>
              <a:gd name="connsiteY3" fmla="*/ 56052 h 1099040"/>
              <a:gd name="connsiteX4" fmla="*/ 73817 w 2559842"/>
              <a:gd name="connsiteY4" fmla="*/ 56052 h 1099040"/>
              <a:gd name="connsiteX5" fmla="*/ 73817 w 2559842"/>
              <a:gd name="connsiteY5" fmla="*/ 63196 h 1099040"/>
              <a:gd name="connsiteX6" fmla="*/ 78579 w 2559842"/>
              <a:gd name="connsiteY6" fmla="*/ 63196 h 1099040"/>
              <a:gd name="connsiteX7" fmla="*/ 78579 w 2559842"/>
              <a:gd name="connsiteY7" fmla="*/ 77483 h 1099040"/>
              <a:gd name="connsiteX8" fmla="*/ 85723 w 2559842"/>
              <a:gd name="connsiteY8" fmla="*/ 77483 h 1099040"/>
              <a:gd name="connsiteX9" fmla="*/ 85723 w 2559842"/>
              <a:gd name="connsiteY9" fmla="*/ 91771 h 1099040"/>
              <a:gd name="connsiteX10" fmla="*/ 100011 w 2559842"/>
              <a:gd name="connsiteY10" fmla="*/ 91771 h 1099040"/>
              <a:gd name="connsiteX11" fmla="*/ 100011 w 2559842"/>
              <a:gd name="connsiteY11" fmla="*/ 103677 h 1099040"/>
              <a:gd name="connsiteX12" fmla="*/ 111917 w 2559842"/>
              <a:gd name="connsiteY12" fmla="*/ 103677 h 1099040"/>
              <a:gd name="connsiteX13" fmla="*/ 111917 w 2559842"/>
              <a:gd name="connsiteY13" fmla="*/ 120346 h 1099040"/>
              <a:gd name="connsiteX14" fmla="*/ 126204 w 2559842"/>
              <a:gd name="connsiteY14" fmla="*/ 120346 h 1099040"/>
              <a:gd name="connsiteX15" fmla="*/ 126204 w 2559842"/>
              <a:gd name="connsiteY15" fmla="*/ 129871 h 1099040"/>
              <a:gd name="connsiteX16" fmla="*/ 135729 w 2559842"/>
              <a:gd name="connsiteY16" fmla="*/ 129871 h 1099040"/>
              <a:gd name="connsiteX17" fmla="*/ 135729 w 2559842"/>
              <a:gd name="connsiteY17" fmla="*/ 153683 h 1099040"/>
              <a:gd name="connsiteX18" fmla="*/ 145254 w 2559842"/>
              <a:gd name="connsiteY18" fmla="*/ 153683 h 1099040"/>
              <a:gd name="connsiteX19" fmla="*/ 145254 w 2559842"/>
              <a:gd name="connsiteY19" fmla="*/ 189402 h 1099040"/>
              <a:gd name="connsiteX20" fmla="*/ 145254 w 2559842"/>
              <a:gd name="connsiteY20" fmla="*/ 232265 h 1099040"/>
              <a:gd name="connsiteX21" fmla="*/ 152398 w 2559842"/>
              <a:gd name="connsiteY21" fmla="*/ 232265 h 1099040"/>
              <a:gd name="connsiteX22" fmla="*/ 152398 w 2559842"/>
              <a:gd name="connsiteY22" fmla="*/ 279890 h 1099040"/>
              <a:gd name="connsiteX23" fmla="*/ 157161 w 2559842"/>
              <a:gd name="connsiteY23" fmla="*/ 279890 h 1099040"/>
              <a:gd name="connsiteX24" fmla="*/ 157161 w 2559842"/>
              <a:gd name="connsiteY24" fmla="*/ 298940 h 1099040"/>
              <a:gd name="connsiteX25" fmla="*/ 164304 w 2559842"/>
              <a:gd name="connsiteY25" fmla="*/ 298940 h 1099040"/>
              <a:gd name="connsiteX26" fmla="*/ 164304 w 2559842"/>
              <a:gd name="connsiteY26" fmla="*/ 325133 h 1099040"/>
              <a:gd name="connsiteX27" fmla="*/ 164304 w 2559842"/>
              <a:gd name="connsiteY27" fmla="*/ 327515 h 1099040"/>
              <a:gd name="connsiteX28" fmla="*/ 164304 w 2559842"/>
              <a:gd name="connsiteY28" fmla="*/ 365615 h 1099040"/>
              <a:gd name="connsiteX29" fmla="*/ 176211 w 2559842"/>
              <a:gd name="connsiteY29" fmla="*/ 365615 h 1099040"/>
              <a:gd name="connsiteX30" fmla="*/ 176211 w 2559842"/>
              <a:gd name="connsiteY30" fmla="*/ 382283 h 1099040"/>
              <a:gd name="connsiteX31" fmla="*/ 183354 w 2559842"/>
              <a:gd name="connsiteY31" fmla="*/ 382283 h 1099040"/>
              <a:gd name="connsiteX32" fmla="*/ 183354 w 2559842"/>
              <a:gd name="connsiteY32" fmla="*/ 391808 h 1099040"/>
              <a:gd name="connsiteX33" fmla="*/ 211929 w 2559842"/>
              <a:gd name="connsiteY33" fmla="*/ 391808 h 1099040"/>
              <a:gd name="connsiteX34" fmla="*/ 214311 w 2559842"/>
              <a:gd name="connsiteY34" fmla="*/ 394190 h 1099040"/>
              <a:gd name="connsiteX35" fmla="*/ 226217 w 2559842"/>
              <a:gd name="connsiteY35" fmla="*/ 394190 h 1099040"/>
              <a:gd name="connsiteX36" fmla="*/ 226217 w 2559842"/>
              <a:gd name="connsiteY36" fmla="*/ 432290 h 1099040"/>
              <a:gd name="connsiteX37" fmla="*/ 283367 w 2559842"/>
              <a:gd name="connsiteY37" fmla="*/ 432290 h 1099040"/>
              <a:gd name="connsiteX38" fmla="*/ 283367 w 2559842"/>
              <a:gd name="connsiteY38" fmla="*/ 456102 h 1099040"/>
              <a:gd name="connsiteX39" fmla="*/ 290511 w 2559842"/>
              <a:gd name="connsiteY39" fmla="*/ 456102 h 1099040"/>
              <a:gd name="connsiteX40" fmla="*/ 290511 w 2559842"/>
              <a:gd name="connsiteY40" fmla="*/ 470390 h 1099040"/>
              <a:gd name="connsiteX41" fmla="*/ 304798 w 2559842"/>
              <a:gd name="connsiteY41" fmla="*/ 470390 h 1099040"/>
              <a:gd name="connsiteX42" fmla="*/ 304798 w 2559842"/>
              <a:gd name="connsiteY42" fmla="*/ 479915 h 1099040"/>
              <a:gd name="connsiteX43" fmla="*/ 330992 w 2559842"/>
              <a:gd name="connsiteY43" fmla="*/ 479915 h 1099040"/>
              <a:gd name="connsiteX44" fmla="*/ 335754 w 2559842"/>
              <a:gd name="connsiteY44" fmla="*/ 484677 h 1099040"/>
              <a:gd name="connsiteX45" fmla="*/ 369092 w 2559842"/>
              <a:gd name="connsiteY45" fmla="*/ 484677 h 1099040"/>
              <a:gd name="connsiteX46" fmla="*/ 369092 w 2559842"/>
              <a:gd name="connsiteY46" fmla="*/ 496583 h 1099040"/>
              <a:gd name="connsiteX47" fmla="*/ 383379 w 2559842"/>
              <a:gd name="connsiteY47" fmla="*/ 496583 h 1099040"/>
              <a:gd name="connsiteX48" fmla="*/ 383379 w 2559842"/>
              <a:gd name="connsiteY48" fmla="*/ 563258 h 1099040"/>
              <a:gd name="connsiteX49" fmla="*/ 392904 w 2559842"/>
              <a:gd name="connsiteY49" fmla="*/ 563258 h 1099040"/>
              <a:gd name="connsiteX50" fmla="*/ 392904 w 2559842"/>
              <a:gd name="connsiteY50" fmla="*/ 577546 h 1099040"/>
              <a:gd name="connsiteX51" fmla="*/ 402429 w 2559842"/>
              <a:gd name="connsiteY51" fmla="*/ 577546 h 1099040"/>
              <a:gd name="connsiteX52" fmla="*/ 402429 w 2559842"/>
              <a:gd name="connsiteY52" fmla="*/ 625171 h 1099040"/>
              <a:gd name="connsiteX53" fmla="*/ 402429 w 2559842"/>
              <a:gd name="connsiteY53" fmla="*/ 625171 h 1099040"/>
              <a:gd name="connsiteX54" fmla="*/ 413182 w 2559842"/>
              <a:gd name="connsiteY54" fmla="*/ 625368 h 1099040"/>
              <a:gd name="connsiteX55" fmla="*/ 414335 w 2559842"/>
              <a:gd name="connsiteY55" fmla="*/ 637077 h 1099040"/>
              <a:gd name="connsiteX56" fmla="*/ 426242 w 2559842"/>
              <a:gd name="connsiteY56" fmla="*/ 637077 h 1099040"/>
              <a:gd name="connsiteX57" fmla="*/ 426242 w 2559842"/>
              <a:gd name="connsiteY57" fmla="*/ 658508 h 1099040"/>
              <a:gd name="connsiteX58" fmla="*/ 440529 w 2559842"/>
              <a:gd name="connsiteY58" fmla="*/ 658508 h 1099040"/>
              <a:gd name="connsiteX59" fmla="*/ 440529 w 2559842"/>
              <a:gd name="connsiteY59" fmla="*/ 670415 h 1099040"/>
              <a:gd name="connsiteX60" fmla="*/ 454817 w 2559842"/>
              <a:gd name="connsiteY60" fmla="*/ 670415 h 1099040"/>
              <a:gd name="connsiteX61" fmla="*/ 454817 w 2559842"/>
              <a:gd name="connsiteY61" fmla="*/ 677558 h 1099040"/>
              <a:gd name="connsiteX62" fmla="*/ 511447 w 2559842"/>
              <a:gd name="connsiteY62" fmla="*/ 676955 h 1099040"/>
              <a:gd name="connsiteX63" fmla="*/ 512386 w 2559842"/>
              <a:gd name="connsiteY63" fmla="*/ 684701 h 1099040"/>
              <a:gd name="connsiteX64" fmla="*/ 545304 w 2559842"/>
              <a:gd name="connsiteY64" fmla="*/ 684701 h 1099040"/>
              <a:gd name="connsiteX65" fmla="*/ 545304 w 2559842"/>
              <a:gd name="connsiteY65" fmla="*/ 698990 h 1099040"/>
              <a:gd name="connsiteX66" fmla="*/ 561973 w 2559842"/>
              <a:gd name="connsiteY66" fmla="*/ 698990 h 1099040"/>
              <a:gd name="connsiteX67" fmla="*/ 561973 w 2559842"/>
              <a:gd name="connsiteY67" fmla="*/ 713277 h 1099040"/>
              <a:gd name="connsiteX68" fmla="*/ 585786 w 2559842"/>
              <a:gd name="connsiteY68" fmla="*/ 713277 h 1099040"/>
              <a:gd name="connsiteX69" fmla="*/ 585786 w 2559842"/>
              <a:gd name="connsiteY69" fmla="*/ 718040 h 1099040"/>
              <a:gd name="connsiteX70" fmla="*/ 611979 w 2559842"/>
              <a:gd name="connsiteY70" fmla="*/ 718040 h 1099040"/>
              <a:gd name="connsiteX71" fmla="*/ 611979 w 2559842"/>
              <a:gd name="connsiteY71" fmla="*/ 727565 h 1099040"/>
              <a:gd name="connsiteX72" fmla="*/ 626267 w 2559842"/>
              <a:gd name="connsiteY72" fmla="*/ 727565 h 1099040"/>
              <a:gd name="connsiteX73" fmla="*/ 626267 w 2559842"/>
              <a:gd name="connsiteY73" fmla="*/ 739471 h 1099040"/>
              <a:gd name="connsiteX74" fmla="*/ 647698 w 2559842"/>
              <a:gd name="connsiteY74" fmla="*/ 739471 h 1099040"/>
              <a:gd name="connsiteX75" fmla="*/ 647698 w 2559842"/>
              <a:gd name="connsiteY75" fmla="*/ 751377 h 1099040"/>
              <a:gd name="connsiteX76" fmla="*/ 666748 w 2559842"/>
              <a:gd name="connsiteY76" fmla="*/ 751377 h 1099040"/>
              <a:gd name="connsiteX77" fmla="*/ 666748 w 2559842"/>
              <a:gd name="connsiteY77" fmla="*/ 765665 h 1099040"/>
              <a:gd name="connsiteX78" fmla="*/ 671511 w 2559842"/>
              <a:gd name="connsiteY78" fmla="*/ 765665 h 1099040"/>
              <a:gd name="connsiteX79" fmla="*/ 671511 w 2559842"/>
              <a:gd name="connsiteY79" fmla="*/ 770427 h 1099040"/>
              <a:gd name="connsiteX80" fmla="*/ 783429 w 2559842"/>
              <a:gd name="connsiteY80" fmla="*/ 770427 h 1099040"/>
              <a:gd name="connsiteX81" fmla="*/ 783429 w 2559842"/>
              <a:gd name="connsiteY81" fmla="*/ 779952 h 1099040"/>
              <a:gd name="connsiteX82" fmla="*/ 831054 w 2559842"/>
              <a:gd name="connsiteY82" fmla="*/ 779952 h 1099040"/>
              <a:gd name="connsiteX83" fmla="*/ 831054 w 2559842"/>
              <a:gd name="connsiteY83" fmla="*/ 799002 h 1099040"/>
              <a:gd name="connsiteX84" fmla="*/ 881061 w 2559842"/>
              <a:gd name="connsiteY84" fmla="*/ 799002 h 1099040"/>
              <a:gd name="connsiteX85" fmla="*/ 881061 w 2559842"/>
              <a:gd name="connsiteY85" fmla="*/ 799002 h 1099040"/>
              <a:gd name="connsiteX86" fmla="*/ 884483 w 2559842"/>
              <a:gd name="connsiteY86" fmla="*/ 822179 h 1099040"/>
              <a:gd name="connsiteX87" fmla="*/ 945354 w 2559842"/>
              <a:gd name="connsiteY87" fmla="*/ 820433 h 1099040"/>
              <a:gd name="connsiteX88" fmla="*/ 945354 w 2559842"/>
              <a:gd name="connsiteY88" fmla="*/ 849008 h 1099040"/>
              <a:gd name="connsiteX89" fmla="*/ 1181098 w 2559842"/>
              <a:gd name="connsiteY89" fmla="*/ 849008 h 1099040"/>
              <a:gd name="connsiteX90" fmla="*/ 1181098 w 2559842"/>
              <a:gd name="connsiteY90" fmla="*/ 870440 h 1099040"/>
              <a:gd name="connsiteX91" fmla="*/ 1364454 w 2559842"/>
              <a:gd name="connsiteY91" fmla="*/ 870440 h 1099040"/>
              <a:gd name="connsiteX92" fmla="*/ 1364454 w 2559842"/>
              <a:gd name="connsiteY92" fmla="*/ 887108 h 1099040"/>
              <a:gd name="connsiteX93" fmla="*/ 1454942 w 2559842"/>
              <a:gd name="connsiteY93" fmla="*/ 887108 h 1099040"/>
              <a:gd name="connsiteX94" fmla="*/ 1454942 w 2559842"/>
              <a:gd name="connsiteY94" fmla="*/ 908540 h 1099040"/>
              <a:gd name="connsiteX95" fmla="*/ 1728786 w 2559842"/>
              <a:gd name="connsiteY95" fmla="*/ 908540 h 1099040"/>
              <a:gd name="connsiteX96" fmla="*/ 1728786 w 2559842"/>
              <a:gd name="connsiteY96" fmla="*/ 932352 h 1099040"/>
              <a:gd name="connsiteX97" fmla="*/ 1816892 w 2559842"/>
              <a:gd name="connsiteY97" fmla="*/ 932352 h 1099040"/>
              <a:gd name="connsiteX98" fmla="*/ 1816892 w 2559842"/>
              <a:gd name="connsiteY98" fmla="*/ 965690 h 1099040"/>
              <a:gd name="connsiteX99" fmla="*/ 2057398 w 2559842"/>
              <a:gd name="connsiteY99" fmla="*/ 965690 h 1099040"/>
              <a:gd name="connsiteX100" fmla="*/ 2057398 w 2559842"/>
              <a:gd name="connsiteY100" fmla="*/ 1001408 h 1099040"/>
              <a:gd name="connsiteX101" fmla="*/ 2102642 w 2559842"/>
              <a:gd name="connsiteY101" fmla="*/ 1001408 h 1099040"/>
              <a:gd name="connsiteX102" fmla="*/ 2102642 w 2559842"/>
              <a:gd name="connsiteY102" fmla="*/ 1032365 h 1099040"/>
              <a:gd name="connsiteX103" fmla="*/ 2288379 w 2559842"/>
              <a:gd name="connsiteY103" fmla="*/ 1032365 h 1099040"/>
              <a:gd name="connsiteX104" fmla="*/ 2288379 w 2559842"/>
              <a:gd name="connsiteY104" fmla="*/ 1099040 h 1099040"/>
              <a:gd name="connsiteX105" fmla="*/ 2559842 w 2559842"/>
              <a:gd name="connsiteY105" fmla="*/ 1099040 h 1099040"/>
              <a:gd name="connsiteX0" fmla="*/ 0 w 2559842"/>
              <a:gd name="connsiteY0" fmla="*/ 10808 h 1099040"/>
              <a:gd name="connsiteX1" fmla="*/ 9101 w 2559842"/>
              <a:gd name="connsiteY1" fmla="*/ 11200 h 1099040"/>
              <a:gd name="connsiteX2" fmla="*/ 57149 w 2559842"/>
              <a:gd name="connsiteY2" fmla="*/ 17953 h 1099040"/>
              <a:gd name="connsiteX3" fmla="*/ 54767 w 2559842"/>
              <a:gd name="connsiteY3" fmla="*/ 56052 h 1099040"/>
              <a:gd name="connsiteX4" fmla="*/ 73817 w 2559842"/>
              <a:gd name="connsiteY4" fmla="*/ 56052 h 1099040"/>
              <a:gd name="connsiteX5" fmla="*/ 73817 w 2559842"/>
              <a:gd name="connsiteY5" fmla="*/ 63196 h 1099040"/>
              <a:gd name="connsiteX6" fmla="*/ 78579 w 2559842"/>
              <a:gd name="connsiteY6" fmla="*/ 63196 h 1099040"/>
              <a:gd name="connsiteX7" fmla="*/ 78579 w 2559842"/>
              <a:gd name="connsiteY7" fmla="*/ 77483 h 1099040"/>
              <a:gd name="connsiteX8" fmla="*/ 85723 w 2559842"/>
              <a:gd name="connsiteY8" fmla="*/ 77483 h 1099040"/>
              <a:gd name="connsiteX9" fmla="*/ 85723 w 2559842"/>
              <a:gd name="connsiteY9" fmla="*/ 91771 h 1099040"/>
              <a:gd name="connsiteX10" fmla="*/ 100011 w 2559842"/>
              <a:gd name="connsiteY10" fmla="*/ 91771 h 1099040"/>
              <a:gd name="connsiteX11" fmla="*/ 100011 w 2559842"/>
              <a:gd name="connsiteY11" fmla="*/ 103677 h 1099040"/>
              <a:gd name="connsiteX12" fmla="*/ 111917 w 2559842"/>
              <a:gd name="connsiteY12" fmla="*/ 103677 h 1099040"/>
              <a:gd name="connsiteX13" fmla="*/ 111917 w 2559842"/>
              <a:gd name="connsiteY13" fmla="*/ 120346 h 1099040"/>
              <a:gd name="connsiteX14" fmla="*/ 126204 w 2559842"/>
              <a:gd name="connsiteY14" fmla="*/ 120346 h 1099040"/>
              <a:gd name="connsiteX15" fmla="*/ 126204 w 2559842"/>
              <a:gd name="connsiteY15" fmla="*/ 129871 h 1099040"/>
              <a:gd name="connsiteX16" fmla="*/ 135729 w 2559842"/>
              <a:gd name="connsiteY16" fmla="*/ 129871 h 1099040"/>
              <a:gd name="connsiteX17" fmla="*/ 135729 w 2559842"/>
              <a:gd name="connsiteY17" fmla="*/ 153683 h 1099040"/>
              <a:gd name="connsiteX18" fmla="*/ 145254 w 2559842"/>
              <a:gd name="connsiteY18" fmla="*/ 153683 h 1099040"/>
              <a:gd name="connsiteX19" fmla="*/ 145254 w 2559842"/>
              <a:gd name="connsiteY19" fmla="*/ 189402 h 1099040"/>
              <a:gd name="connsiteX20" fmla="*/ 145254 w 2559842"/>
              <a:gd name="connsiteY20" fmla="*/ 232265 h 1099040"/>
              <a:gd name="connsiteX21" fmla="*/ 152398 w 2559842"/>
              <a:gd name="connsiteY21" fmla="*/ 232265 h 1099040"/>
              <a:gd name="connsiteX22" fmla="*/ 152398 w 2559842"/>
              <a:gd name="connsiteY22" fmla="*/ 279890 h 1099040"/>
              <a:gd name="connsiteX23" fmla="*/ 157161 w 2559842"/>
              <a:gd name="connsiteY23" fmla="*/ 279890 h 1099040"/>
              <a:gd name="connsiteX24" fmla="*/ 157161 w 2559842"/>
              <a:gd name="connsiteY24" fmla="*/ 298940 h 1099040"/>
              <a:gd name="connsiteX25" fmla="*/ 164304 w 2559842"/>
              <a:gd name="connsiteY25" fmla="*/ 298940 h 1099040"/>
              <a:gd name="connsiteX26" fmla="*/ 164304 w 2559842"/>
              <a:gd name="connsiteY26" fmla="*/ 325133 h 1099040"/>
              <a:gd name="connsiteX27" fmla="*/ 164304 w 2559842"/>
              <a:gd name="connsiteY27" fmla="*/ 327515 h 1099040"/>
              <a:gd name="connsiteX28" fmla="*/ 164304 w 2559842"/>
              <a:gd name="connsiteY28" fmla="*/ 365615 h 1099040"/>
              <a:gd name="connsiteX29" fmla="*/ 176211 w 2559842"/>
              <a:gd name="connsiteY29" fmla="*/ 365615 h 1099040"/>
              <a:gd name="connsiteX30" fmla="*/ 176211 w 2559842"/>
              <a:gd name="connsiteY30" fmla="*/ 382283 h 1099040"/>
              <a:gd name="connsiteX31" fmla="*/ 183354 w 2559842"/>
              <a:gd name="connsiteY31" fmla="*/ 382283 h 1099040"/>
              <a:gd name="connsiteX32" fmla="*/ 183354 w 2559842"/>
              <a:gd name="connsiteY32" fmla="*/ 391808 h 1099040"/>
              <a:gd name="connsiteX33" fmla="*/ 211929 w 2559842"/>
              <a:gd name="connsiteY33" fmla="*/ 391808 h 1099040"/>
              <a:gd name="connsiteX34" fmla="*/ 214311 w 2559842"/>
              <a:gd name="connsiteY34" fmla="*/ 394190 h 1099040"/>
              <a:gd name="connsiteX35" fmla="*/ 226217 w 2559842"/>
              <a:gd name="connsiteY35" fmla="*/ 394190 h 1099040"/>
              <a:gd name="connsiteX36" fmla="*/ 226217 w 2559842"/>
              <a:gd name="connsiteY36" fmla="*/ 432290 h 1099040"/>
              <a:gd name="connsiteX37" fmla="*/ 283367 w 2559842"/>
              <a:gd name="connsiteY37" fmla="*/ 432290 h 1099040"/>
              <a:gd name="connsiteX38" fmla="*/ 283367 w 2559842"/>
              <a:gd name="connsiteY38" fmla="*/ 456102 h 1099040"/>
              <a:gd name="connsiteX39" fmla="*/ 290511 w 2559842"/>
              <a:gd name="connsiteY39" fmla="*/ 456102 h 1099040"/>
              <a:gd name="connsiteX40" fmla="*/ 290511 w 2559842"/>
              <a:gd name="connsiteY40" fmla="*/ 470390 h 1099040"/>
              <a:gd name="connsiteX41" fmla="*/ 304798 w 2559842"/>
              <a:gd name="connsiteY41" fmla="*/ 470390 h 1099040"/>
              <a:gd name="connsiteX42" fmla="*/ 304798 w 2559842"/>
              <a:gd name="connsiteY42" fmla="*/ 479915 h 1099040"/>
              <a:gd name="connsiteX43" fmla="*/ 330992 w 2559842"/>
              <a:gd name="connsiteY43" fmla="*/ 479915 h 1099040"/>
              <a:gd name="connsiteX44" fmla="*/ 335754 w 2559842"/>
              <a:gd name="connsiteY44" fmla="*/ 484677 h 1099040"/>
              <a:gd name="connsiteX45" fmla="*/ 369092 w 2559842"/>
              <a:gd name="connsiteY45" fmla="*/ 484677 h 1099040"/>
              <a:gd name="connsiteX46" fmla="*/ 369092 w 2559842"/>
              <a:gd name="connsiteY46" fmla="*/ 496583 h 1099040"/>
              <a:gd name="connsiteX47" fmla="*/ 383379 w 2559842"/>
              <a:gd name="connsiteY47" fmla="*/ 496583 h 1099040"/>
              <a:gd name="connsiteX48" fmla="*/ 383379 w 2559842"/>
              <a:gd name="connsiteY48" fmla="*/ 563258 h 1099040"/>
              <a:gd name="connsiteX49" fmla="*/ 392904 w 2559842"/>
              <a:gd name="connsiteY49" fmla="*/ 563258 h 1099040"/>
              <a:gd name="connsiteX50" fmla="*/ 392904 w 2559842"/>
              <a:gd name="connsiteY50" fmla="*/ 577546 h 1099040"/>
              <a:gd name="connsiteX51" fmla="*/ 402429 w 2559842"/>
              <a:gd name="connsiteY51" fmla="*/ 577546 h 1099040"/>
              <a:gd name="connsiteX52" fmla="*/ 402429 w 2559842"/>
              <a:gd name="connsiteY52" fmla="*/ 625171 h 1099040"/>
              <a:gd name="connsiteX53" fmla="*/ 402429 w 2559842"/>
              <a:gd name="connsiteY53" fmla="*/ 625171 h 1099040"/>
              <a:gd name="connsiteX54" fmla="*/ 413182 w 2559842"/>
              <a:gd name="connsiteY54" fmla="*/ 625368 h 1099040"/>
              <a:gd name="connsiteX55" fmla="*/ 414335 w 2559842"/>
              <a:gd name="connsiteY55" fmla="*/ 637077 h 1099040"/>
              <a:gd name="connsiteX56" fmla="*/ 426242 w 2559842"/>
              <a:gd name="connsiteY56" fmla="*/ 637077 h 1099040"/>
              <a:gd name="connsiteX57" fmla="*/ 426242 w 2559842"/>
              <a:gd name="connsiteY57" fmla="*/ 658508 h 1099040"/>
              <a:gd name="connsiteX58" fmla="*/ 440529 w 2559842"/>
              <a:gd name="connsiteY58" fmla="*/ 658508 h 1099040"/>
              <a:gd name="connsiteX59" fmla="*/ 440529 w 2559842"/>
              <a:gd name="connsiteY59" fmla="*/ 670415 h 1099040"/>
              <a:gd name="connsiteX60" fmla="*/ 454817 w 2559842"/>
              <a:gd name="connsiteY60" fmla="*/ 670415 h 1099040"/>
              <a:gd name="connsiteX61" fmla="*/ 454817 w 2559842"/>
              <a:gd name="connsiteY61" fmla="*/ 677558 h 1099040"/>
              <a:gd name="connsiteX62" fmla="*/ 511447 w 2559842"/>
              <a:gd name="connsiteY62" fmla="*/ 676955 h 1099040"/>
              <a:gd name="connsiteX63" fmla="*/ 512386 w 2559842"/>
              <a:gd name="connsiteY63" fmla="*/ 684701 h 1099040"/>
              <a:gd name="connsiteX64" fmla="*/ 545304 w 2559842"/>
              <a:gd name="connsiteY64" fmla="*/ 684701 h 1099040"/>
              <a:gd name="connsiteX65" fmla="*/ 545304 w 2559842"/>
              <a:gd name="connsiteY65" fmla="*/ 698990 h 1099040"/>
              <a:gd name="connsiteX66" fmla="*/ 561973 w 2559842"/>
              <a:gd name="connsiteY66" fmla="*/ 698990 h 1099040"/>
              <a:gd name="connsiteX67" fmla="*/ 561973 w 2559842"/>
              <a:gd name="connsiteY67" fmla="*/ 713277 h 1099040"/>
              <a:gd name="connsiteX68" fmla="*/ 585786 w 2559842"/>
              <a:gd name="connsiteY68" fmla="*/ 713277 h 1099040"/>
              <a:gd name="connsiteX69" fmla="*/ 585786 w 2559842"/>
              <a:gd name="connsiteY69" fmla="*/ 718040 h 1099040"/>
              <a:gd name="connsiteX70" fmla="*/ 611979 w 2559842"/>
              <a:gd name="connsiteY70" fmla="*/ 718040 h 1099040"/>
              <a:gd name="connsiteX71" fmla="*/ 611979 w 2559842"/>
              <a:gd name="connsiteY71" fmla="*/ 727565 h 1099040"/>
              <a:gd name="connsiteX72" fmla="*/ 626267 w 2559842"/>
              <a:gd name="connsiteY72" fmla="*/ 727565 h 1099040"/>
              <a:gd name="connsiteX73" fmla="*/ 626267 w 2559842"/>
              <a:gd name="connsiteY73" fmla="*/ 739471 h 1099040"/>
              <a:gd name="connsiteX74" fmla="*/ 647698 w 2559842"/>
              <a:gd name="connsiteY74" fmla="*/ 739471 h 1099040"/>
              <a:gd name="connsiteX75" fmla="*/ 647698 w 2559842"/>
              <a:gd name="connsiteY75" fmla="*/ 751377 h 1099040"/>
              <a:gd name="connsiteX76" fmla="*/ 666748 w 2559842"/>
              <a:gd name="connsiteY76" fmla="*/ 751377 h 1099040"/>
              <a:gd name="connsiteX77" fmla="*/ 666748 w 2559842"/>
              <a:gd name="connsiteY77" fmla="*/ 765665 h 1099040"/>
              <a:gd name="connsiteX78" fmla="*/ 671511 w 2559842"/>
              <a:gd name="connsiteY78" fmla="*/ 765665 h 1099040"/>
              <a:gd name="connsiteX79" fmla="*/ 671511 w 2559842"/>
              <a:gd name="connsiteY79" fmla="*/ 770427 h 1099040"/>
              <a:gd name="connsiteX80" fmla="*/ 783429 w 2559842"/>
              <a:gd name="connsiteY80" fmla="*/ 770427 h 1099040"/>
              <a:gd name="connsiteX81" fmla="*/ 783429 w 2559842"/>
              <a:gd name="connsiteY81" fmla="*/ 779952 h 1099040"/>
              <a:gd name="connsiteX82" fmla="*/ 831054 w 2559842"/>
              <a:gd name="connsiteY82" fmla="*/ 779952 h 1099040"/>
              <a:gd name="connsiteX83" fmla="*/ 831054 w 2559842"/>
              <a:gd name="connsiteY83" fmla="*/ 799002 h 1099040"/>
              <a:gd name="connsiteX84" fmla="*/ 881061 w 2559842"/>
              <a:gd name="connsiteY84" fmla="*/ 799002 h 1099040"/>
              <a:gd name="connsiteX85" fmla="*/ 884163 w 2559842"/>
              <a:gd name="connsiteY85" fmla="*/ 799002 h 1099040"/>
              <a:gd name="connsiteX86" fmla="*/ 884483 w 2559842"/>
              <a:gd name="connsiteY86" fmla="*/ 822179 h 1099040"/>
              <a:gd name="connsiteX87" fmla="*/ 945354 w 2559842"/>
              <a:gd name="connsiteY87" fmla="*/ 820433 h 1099040"/>
              <a:gd name="connsiteX88" fmla="*/ 945354 w 2559842"/>
              <a:gd name="connsiteY88" fmla="*/ 849008 h 1099040"/>
              <a:gd name="connsiteX89" fmla="*/ 1181098 w 2559842"/>
              <a:gd name="connsiteY89" fmla="*/ 849008 h 1099040"/>
              <a:gd name="connsiteX90" fmla="*/ 1181098 w 2559842"/>
              <a:gd name="connsiteY90" fmla="*/ 870440 h 1099040"/>
              <a:gd name="connsiteX91" fmla="*/ 1364454 w 2559842"/>
              <a:gd name="connsiteY91" fmla="*/ 870440 h 1099040"/>
              <a:gd name="connsiteX92" fmla="*/ 1364454 w 2559842"/>
              <a:gd name="connsiteY92" fmla="*/ 887108 h 1099040"/>
              <a:gd name="connsiteX93" fmla="*/ 1454942 w 2559842"/>
              <a:gd name="connsiteY93" fmla="*/ 887108 h 1099040"/>
              <a:gd name="connsiteX94" fmla="*/ 1454942 w 2559842"/>
              <a:gd name="connsiteY94" fmla="*/ 908540 h 1099040"/>
              <a:gd name="connsiteX95" fmla="*/ 1728786 w 2559842"/>
              <a:gd name="connsiteY95" fmla="*/ 908540 h 1099040"/>
              <a:gd name="connsiteX96" fmla="*/ 1728786 w 2559842"/>
              <a:gd name="connsiteY96" fmla="*/ 932352 h 1099040"/>
              <a:gd name="connsiteX97" fmla="*/ 1816892 w 2559842"/>
              <a:gd name="connsiteY97" fmla="*/ 932352 h 1099040"/>
              <a:gd name="connsiteX98" fmla="*/ 1816892 w 2559842"/>
              <a:gd name="connsiteY98" fmla="*/ 965690 h 1099040"/>
              <a:gd name="connsiteX99" fmla="*/ 2057398 w 2559842"/>
              <a:gd name="connsiteY99" fmla="*/ 965690 h 1099040"/>
              <a:gd name="connsiteX100" fmla="*/ 2057398 w 2559842"/>
              <a:gd name="connsiteY100" fmla="*/ 1001408 h 1099040"/>
              <a:gd name="connsiteX101" fmla="*/ 2102642 w 2559842"/>
              <a:gd name="connsiteY101" fmla="*/ 1001408 h 1099040"/>
              <a:gd name="connsiteX102" fmla="*/ 2102642 w 2559842"/>
              <a:gd name="connsiteY102" fmla="*/ 1032365 h 1099040"/>
              <a:gd name="connsiteX103" fmla="*/ 2288379 w 2559842"/>
              <a:gd name="connsiteY103" fmla="*/ 1032365 h 1099040"/>
              <a:gd name="connsiteX104" fmla="*/ 2288379 w 2559842"/>
              <a:gd name="connsiteY104" fmla="*/ 1099040 h 1099040"/>
              <a:gd name="connsiteX105" fmla="*/ 2559842 w 2559842"/>
              <a:gd name="connsiteY105" fmla="*/ 1099040 h 1099040"/>
              <a:gd name="connsiteX0" fmla="*/ 0 w 2559842"/>
              <a:gd name="connsiteY0" fmla="*/ 10808 h 1099040"/>
              <a:gd name="connsiteX1" fmla="*/ 9101 w 2559842"/>
              <a:gd name="connsiteY1" fmla="*/ 11200 h 1099040"/>
              <a:gd name="connsiteX2" fmla="*/ 57149 w 2559842"/>
              <a:gd name="connsiteY2" fmla="*/ 17953 h 1099040"/>
              <a:gd name="connsiteX3" fmla="*/ 54767 w 2559842"/>
              <a:gd name="connsiteY3" fmla="*/ 56052 h 1099040"/>
              <a:gd name="connsiteX4" fmla="*/ 73817 w 2559842"/>
              <a:gd name="connsiteY4" fmla="*/ 56052 h 1099040"/>
              <a:gd name="connsiteX5" fmla="*/ 73817 w 2559842"/>
              <a:gd name="connsiteY5" fmla="*/ 63196 h 1099040"/>
              <a:gd name="connsiteX6" fmla="*/ 78579 w 2559842"/>
              <a:gd name="connsiteY6" fmla="*/ 63196 h 1099040"/>
              <a:gd name="connsiteX7" fmla="*/ 78579 w 2559842"/>
              <a:gd name="connsiteY7" fmla="*/ 77483 h 1099040"/>
              <a:gd name="connsiteX8" fmla="*/ 85723 w 2559842"/>
              <a:gd name="connsiteY8" fmla="*/ 77483 h 1099040"/>
              <a:gd name="connsiteX9" fmla="*/ 85723 w 2559842"/>
              <a:gd name="connsiteY9" fmla="*/ 91771 h 1099040"/>
              <a:gd name="connsiteX10" fmla="*/ 100011 w 2559842"/>
              <a:gd name="connsiteY10" fmla="*/ 91771 h 1099040"/>
              <a:gd name="connsiteX11" fmla="*/ 100011 w 2559842"/>
              <a:gd name="connsiteY11" fmla="*/ 103677 h 1099040"/>
              <a:gd name="connsiteX12" fmla="*/ 111917 w 2559842"/>
              <a:gd name="connsiteY12" fmla="*/ 103677 h 1099040"/>
              <a:gd name="connsiteX13" fmla="*/ 111917 w 2559842"/>
              <a:gd name="connsiteY13" fmla="*/ 120346 h 1099040"/>
              <a:gd name="connsiteX14" fmla="*/ 126204 w 2559842"/>
              <a:gd name="connsiteY14" fmla="*/ 120346 h 1099040"/>
              <a:gd name="connsiteX15" fmla="*/ 126204 w 2559842"/>
              <a:gd name="connsiteY15" fmla="*/ 129871 h 1099040"/>
              <a:gd name="connsiteX16" fmla="*/ 135729 w 2559842"/>
              <a:gd name="connsiteY16" fmla="*/ 129871 h 1099040"/>
              <a:gd name="connsiteX17" fmla="*/ 135729 w 2559842"/>
              <a:gd name="connsiteY17" fmla="*/ 153683 h 1099040"/>
              <a:gd name="connsiteX18" fmla="*/ 145254 w 2559842"/>
              <a:gd name="connsiteY18" fmla="*/ 153683 h 1099040"/>
              <a:gd name="connsiteX19" fmla="*/ 145254 w 2559842"/>
              <a:gd name="connsiteY19" fmla="*/ 189402 h 1099040"/>
              <a:gd name="connsiteX20" fmla="*/ 145254 w 2559842"/>
              <a:gd name="connsiteY20" fmla="*/ 232265 h 1099040"/>
              <a:gd name="connsiteX21" fmla="*/ 152398 w 2559842"/>
              <a:gd name="connsiteY21" fmla="*/ 232265 h 1099040"/>
              <a:gd name="connsiteX22" fmla="*/ 152398 w 2559842"/>
              <a:gd name="connsiteY22" fmla="*/ 279890 h 1099040"/>
              <a:gd name="connsiteX23" fmla="*/ 157161 w 2559842"/>
              <a:gd name="connsiteY23" fmla="*/ 279890 h 1099040"/>
              <a:gd name="connsiteX24" fmla="*/ 157161 w 2559842"/>
              <a:gd name="connsiteY24" fmla="*/ 298940 h 1099040"/>
              <a:gd name="connsiteX25" fmla="*/ 164304 w 2559842"/>
              <a:gd name="connsiteY25" fmla="*/ 298940 h 1099040"/>
              <a:gd name="connsiteX26" fmla="*/ 164304 w 2559842"/>
              <a:gd name="connsiteY26" fmla="*/ 325133 h 1099040"/>
              <a:gd name="connsiteX27" fmla="*/ 164304 w 2559842"/>
              <a:gd name="connsiteY27" fmla="*/ 327515 h 1099040"/>
              <a:gd name="connsiteX28" fmla="*/ 164304 w 2559842"/>
              <a:gd name="connsiteY28" fmla="*/ 365615 h 1099040"/>
              <a:gd name="connsiteX29" fmla="*/ 176211 w 2559842"/>
              <a:gd name="connsiteY29" fmla="*/ 365615 h 1099040"/>
              <a:gd name="connsiteX30" fmla="*/ 176211 w 2559842"/>
              <a:gd name="connsiteY30" fmla="*/ 382283 h 1099040"/>
              <a:gd name="connsiteX31" fmla="*/ 183354 w 2559842"/>
              <a:gd name="connsiteY31" fmla="*/ 382283 h 1099040"/>
              <a:gd name="connsiteX32" fmla="*/ 183354 w 2559842"/>
              <a:gd name="connsiteY32" fmla="*/ 391808 h 1099040"/>
              <a:gd name="connsiteX33" fmla="*/ 211929 w 2559842"/>
              <a:gd name="connsiteY33" fmla="*/ 391808 h 1099040"/>
              <a:gd name="connsiteX34" fmla="*/ 214311 w 2559842"/>
              <a:gd name="connsiteY34" fmla="*/ 394190 h 1099040"/>
              <a:gd name="connsiteX35" fmla="*/ 226217 w 2559842"/>
              <a:gd name="connsiteY35" fmla="*/ 394190 h 1099040"/>
              <a:gd name="connsiteX36" fmla="*/ 226217 w 2559842"/>
              <a:gd name="connsiteY36" fmla="*/ 432290 h 1099040"/>
              <a:gd name="connsiteX37" fmla="*/ 283367 w 2559842"/>
              <a:gd name="connsiteY37" fmla="*/ 432290 h 1099040"/>
              <a:gd name="connsiteX38" fmla="*/ 283367 w 2559842"/>
              <a:gd name="connsiteY38" fmla="*/ 456102 h 1099040"/>
              <a:gd name="connsiteX39" fmla="*/ 290511 w 2559842"/>
              <a:gd name="connsiteY39" fmla="*/ 456102 h 1099040"/>
              <a:gd name="connsiteX40" fmla="*/ 290511 w 2559842"/>
              <a:gd name="connsiteY40" fmla="*/ 470390 h 1099040"/>
              <a:gd name="connsiteX41" fmla="*/ 304798 w 2559842"/>
              <a:gd name="connsiteY41" fmla="*/ 470390 h 1099040"/>
              <a:gd name="connsiteX42" fmla="*/ 304798 w 2559842"/>
              <a:gd name="connsiteY42" fmla="*/ 479915 h 1099040"/>
              <a:gd name="connsiteX43" fmla="*/ 330992 w 2559842"/>
              <a:gd name="connsiteY43" fmla="*/ 479915 h 1099040"/>
              <a:gd name="connsiteX44" fmla="*/ 335754 w 2559842"/>
              <a:gd name="connsiteY44" fmla="*/ 484677 h 1099040"/>
              <a:gd name="connsiteX45" fmla="*/ 369092 w 2559842"/>
              <a:gd name="connsiteY45" fmla="*/ 484677 h 1099040"/>
              <a:gd name="connsiteX46" fmla="*/ 369092 w 2559842"/>
              <a:gd name="connsiteY46" fmla="*/ 496583 h 1099040"/>
              <a:gd name="connsiteX47" fmla="*/ 383379 w 2559842"/>
              <a:gd name="connsiteY47" fmla="*/ 496583 h 1099040"/>
              <a:gd name="connsiteX48" fmla="*/ 383379 w 2559842"/>
              <a:gd name="connsiteY48" fmla="*/ 563258 h 1099040"/>
              <a:gd name="connsiteX49" fmla="*/ 392904 w 2559842"/>
              <a:gd name="connsiteY49" fmla="*/ 563258 h 1099040"/>
              <a:gd name="connsiteX50" fmla="*/ 392904 w 2559842"/>
              <a:gd name="connsiteY50" fmla="*/ 577546 h 1099040"/>
              <a:gd name="connsiteX51" fmla="*/ 402429 w 2559842"/>
              <a:gd name="connsiteY51" fmla="*/ 577546 h 1099040"/>
              <a:gd name="connsiteX52" fmla="*/ 402429 w 2559842"/>
              <a:gd name="connsiteY52" fmla="*/ 625171 h 1099040"/>
              <a:gd name="connsiteX53" fmla="*/ 402429 w 2559842"/>
              <a:gd name="connsiteY53" fmla="*/ 625171 h 1099040"/>
              <a:gd name="connsiteX54" fmla="*/ 413182 w 2559842"/>
              <a:gd name="connsiteY54" fmla="*/ 625368 h 1099040"/>
              <a:gd name="connsiteX55" fmla="*/ 412474 w 2559842"/>
              <a:gd name="connsiteY55" fmla="*/ 637077 h 1099040"/>
              <a:gd name="connsiteX56" fmla="*/ 426242 w 2559842"/>
              <a:gd name="connsiteY56" fmla="*/ 637077 h 1099040"/>
              <a:gd name="connsiteX57" fmla="*/ 426242 w 2559842"/>
              <a:gd name="connsiteY57" fmla="*/ 658508 h 1099040"/>
              <a:gd name="connsiteX58" fmla="*/ 440529 w 2559842"/>
              <a:gd name="connsiteY58" fmla="*/ 658508 h 1099040"/>
              <a:gd name="connsiteX59" fmla="*/ 440529 w 2559842"/>
              <a:gd name="connsiteY59" fmla="*/ 670415 h 1099040"/>
              <a:gd name="connsiteX60" fmla="*/ 454817 w 2559842"/>
              <a:gd name="connsiteY60" fmla="*/ 670415 h 1099040"/>
              <a:gd name="connsiteX61" fmla="*/ 454817 w 2559842"/>
              <a:gd name="connsiteY61" fmla="*/ 677558 h 1099040"/>
              <a:gd name="connsiteX62" fmla="*/ 511447 w 2559842"/>
              <a:gd name="connsiteY62" fmla="*/ 676955 h 1099040"/>
              <a:gd name="connsiteX63" fmla="*/ 512386 w 2559842"/>
              <a:gd name="connsiteY63" fmla="*/ 684701 h 1099040"/>
              <a:gd name="connsiteX64" fmla="*/ 545304 w 2559842"/>
              <a:gd name="connsiteY64" fmla="*/ 684701 h 1099040"/>
              <a:gd name="connsiteX65" fmla="*/ 545304 w 2559842"/>
              <a:gd name="connsiteY65" fmla="*/ 698990 h 1099040"/>
              <a:gd name="connsiteX66" fmla="*/ 561973 w 2559842"/>
              <a:gd name="connsiteY66" fmla="*/ 698990 h 1099040"/>
              <a:gd name="connsiteX67" fmla="*/ 561973 w 2559842"/>
              <a:gd name="connsiteY67" fmla="*/ 713277 h 1099040"/>
              <a:gd name="connsiteX68" fmla="*/ 585786 w 2559842"/>
              <a:gd name="connsiteY68" fmla="*/ 713277 h 1099040"/>
              <a:gd name="connsiteX69" fmla="*/ 585786 w 2559842"/>
              <a:gd name="connsiteY69" fmla="*/ 718040 h 1099040"/>
              <a:gd name="connsiteX70" fmla="*/ 611979 w 2559842"/>
              <a:gd name="connsiteY70" fmla="*/ 718040 h 1099040"/>
              <a:gd name="connsiteX71" fmla="*/ 611979 w 2559842"/>
              <a:gd name="connsiteY71" fmla="*/ 727565 h 1099040"/>
              <a:gd name="connsiteX72" fmla="*/ 626267 w 2559842"/>
              <a:gd name="connsiteY72" fmla="*/ 727565 h 1099040"/>
              <a:gd name="connsiteX73" fmla="*/ 626267 w 2559842"/>
              <a:gd name="connsiteY73" fmla="*/ 739471 h 1099040"/>
              <a:gd name="connsiteX74" fmla="*/ 647698 w 2559842"/>
              <a:gd name="connsiteY74" fmla="*/ 739471 h 1099040"/>
              <a:gd name="connsiteX75" fmla="*/ 647698 w 2559842"/>
              <a:gd name="connsiteY75" fmla="*/ 751377 h 1099040"/>
              <a:gd name="connsiteX76" fmla="*/ 666748 w 2559842"/>
              <a:gd name="connsiteY76" fmla="*/ 751377 h 1099040"/>
              <a:gd name="connsiteX77" fmla="*/ 666748 w 2559842"/>
              <a:gd name="connsiteY77" fmla="*/ 765665 h 1099040"/>
              <a:gd name="connsiteX78" fmla="*/ 671511 w 2559842"/>
              <a:gd name="connsiteY78" fmla="*/ 765665 h 1099040"/>
              <a:gd name="connsiteX79" fmla="*/ 671511 w 2559842"/>
              <a:gd name="connsiteY79" fmla="*/ 770427 h 1099040"/>
              <a:gd name="connsiteX80" fmla="*/ 783429 w 2559842"/>
              <a:gd name="connsiteY80" fmla="*/ 770427 h 1099040"/>
              <a:gd name="connsiteX81" fmla="*/ 783429 w 2559842"/>
              <a:gd name="connsiteY81" fmla="*/ 779952 h 1099040"/>
              <a:gd name="connsiteX82" fmla="*/ 831054 w 2559842"/>
              <a:gd name="connsiteY82" fmla="*/ 779952 h 1099040"/>
              <a:gd name="connsiteX83" fmla="*/ 831054 w 2559842"/>
              <a:gd name="connsiteY83" fmla="*/ 799002 h 1099040"/>
              <a:gd name="connsiteX84" fmla="*/ 881061 w 2559842"/>
              <a:gd name="connsiteY84" fmla="*/ 799002 h 1099040"/>
              <a:gd name="connsiteX85" fmla="*/ 884163 w 2559842"/>
              <a:gd name="connsiteY85" fmla="*/ 799002 h 1099040"/>
              <a:gd name="connsiteX86" fmla="*/ 884483 w 2559842"/>
              <a:gd name="connsiteY86" fmla="*/ 822179 h 1099040"/>
              <a:gd name="connsiteX87" fmla="*/ 945354 w 2559842"/>
              <a:gd name="connsiteY87" fmla="*/ 820433 h 1099040"/>
              <a:gd name="connsiteX88" fmla="*/ 945354 w 2559842"/>
              <a:gd name="connsiteY88" fmla="*/ 849008 h 1099040"/>
              <a:gd name="connsiteX89" fmla="*/ 1181098 w 2559842"/>
              <a:gd name="connsiteY89" fmla="*/ 849008 h 1099040"/>
              <a:gd name="connsiteX90" fmla="*/ 1181098 w 2559842"/>
              <a:gd name="connsiteY90" fmla="*/ 870440 h 1099040"/>
              <a:gd name="connsiteX91" fmla="*/ 1364454 w 2559842"/>
              <a:gd name="connsiteY91" fmla="*/ 870440 h 1099040"/>
              <a:gd name="connsiteX92" fmla="*/ 1364454 w 2559842"/>
              <a:gd name="connsiteY92" fmla="*/ 887108 h 1099040"/>
              <a:gd name="connsiteX93" fmla="*/ 1454942 w 2559842"/>
              <a:gd name="connsiteY93" fmla="*/ 887108 h 1099040"/>
              <a:gd name="connsiteX94" fmla="*/ 1454942 w 2559842"/>
              <a:gd name="connsiteY94" fmla="*/ 908540 h 1099040"/>
              <a:gd name="connsiteX95" fmla="*/ 1728786 w 2559842"/>
              <a:gd name="connsiteY95" fmla="*/ 908540 h 1099040"/>
              <a:gd name="connsiteX96" fmla="*/ 1728786 w 2559842"/>
              <a:gd name="connsiteY96" fmla="*/ 932352 h 1099040"/>
              <a:gd name="connsiteX97" fmla="*/ 1816892 w 2559842"/>
              <a:gd name="connsiteY97" fmla="*/ 932352 h 1099040"/>
              <a:gd name="connsiteX98" fmla="*/ 1816892 w 2559842"/>
              <a:gd name="connsiteY98" fmla="*/ 965690 h 1099040"/>
              <a:gd name="connsiteX99" fmla="*/ 2057398 w 2559842"/>
              <a:gd name="connsiteY99" fmla="*/ 965690 h 1099040"/>
              <a:gd name="connsiteX100" fmla="*/ 2057398 w 2559842"/>
              <a:gd name="connsiteY100" fmla="*/ 1001408 h 1099040"/>
              <a:gd name="connsiteX101" fmla="*/ 2102642 w 2559842"/>
              <a:gd name="connsiteY101" fmla="*/ 1001408 h 1099040"/>
              <a:gd name="connsiteX102" fmla="*/ 2102642 w 2559842"/>
              <a:gd name="connsiteY102" fmla="*/ 1032365 h 1099040"/>
              <a:gd name="connsiteX103" fmla="*/ 2288379 w 2559842"/>
              <a:gd name="connsiteY103" fmla="*/ 1032365 h 1099040"/>
              <a:gd name="connsiteX104" fmla="*/ 2288379 w 2559842"/>
              <a:gd name="connsiteY104" fmla="*/ 1099040 h 1099040"/>
              <a:gd name="connsiteX105" fmla="*/ 2559842 w 2559842"/>
              <a:gd name="connsiteY105" fmla="*/ 1099040 h 1099040"/>
              <a:gd name="connsiteX0" fmla="*/ 0 w 2559842"/>
              <a:gd name="connsiteY0" fmla="*/ 10808 h 1099040"/>
              <a:gd name="connsiteX1" fmla="*/ 9101 w 2559842"/>
              <a:gd name="connsiteY1" fmla="*/ 11200 h 1099040"/>
              <a:gd name="connsiteX2" fmla="*/ 57149 w 2559842"/>
              <a:gd name="connsiteY2" fmla="*/ 17953 h 1099040"/>
              <a:gd name="connsiteX3" fmla="*/ 54767 w 2559842"/>
              <a:gd name="connsiteY3" fmla="*/ 56052 h 1099040"/>
              <a:gd name="connsiteX4" fmla="*/ 73817 w 2559842"/>
              <a:gd name="connsiteY4" fmla="*/ 56052 h 1099040"/>
              <a:gd name="connsiteX5" fmla="*/ 73817 w 2559842"/>
              <a:gd name="connsiteY5" fmla="*/ 63196 h 1099040"/>
              <a:gd name="connsiteX6" fmla="*/ 78579 w 2559842"/>
              <a:gd name="connsiteY6" fmla="*/ 63196 h 1099040"/>
              <a:gd name="connsiteX7" fmla="*/ 78579 w 2559842"/>
              <a:gd name="connsiteY7" fmla="*/ 77483 h 1099040"/>
              <a:gd name="connsiteX8" fmla="*/ 85723 w 2559842"/>
              <a:gd name="connsiteY8" fmla="*/ 77483 h 1099040"/>
              <a:gd name="connsiteX9" fmla="*/ 85723 w 2559842"/>
              <a:gd name="connsiteY9" fmla="*/ 91771 h 1099040"/>
              <a:gd name="connsiteX10" fmla="*/ 100011 w 2559842"/>
              <a:gd name="connsiteY10" fmla="*/ 91771 h 1099040"/>
              <a:gd name="connsiteX11" fmla="*/ 100011 w 2559842"/>
              <a:gd name="connsiteY11" fmla="*/ 103677 h 1099040"/>
              <a:gd name="connsiteX12" fmla="*/ 111917 w 2559842"/>
              <a:gd name="connsiteY12" fmla="*/ 103677 h 1099040"/>
              <a:gd name="connsiteX13" fmla="*/ 111917 w 2559842"/>
              <a:gd name="connsiteY13" fmla="*/ 120346 h 1099040"/>
              <a:gd name="connsiteX14" fmla="*/ 126204 w 2559842"/>
              <a:gd name="connsiteY14" fmla="*/ 120346 h 1099040"/>
              <a:gd name="connsiteX15" fmla="*/ 126204 w 2559842"/>
              <a:gd name="connsiteY15" fmla="*/ 129871 h 1099040"/>
              <a:gd name="connsiteX16" fmla="*/ 135729 w 2559842"/>
              <a:gd name="connsiteY16" fmla="*/ 129871 h 1099040"/>
              <a:gd name="connsiteX17" fmla="*/ 135729 w 2559842"/>
              <a:gd name="connsiteY17" fmla="*/ 153683 h 1099040"/>
              <a:gd name="connsiteX18" fmla="*/ 145254 w 2559842"/>
              <a:gd name="connsiteY18" fmla="*/ 153683 h 1099040"/>
              <a:gd name="connsiteX19" fmla="*/ 145254 w 2559842"/>
              <a:gd name="connsiteY19" fmla="*/ 189402 h 1099040"/>
              <a:gd name="connsiteX20" fmla="*/ 145254 w 2559842"/>
              <a:gd name="connsiteY20" fmla="*/ 232265 h 1099040"/>
              <a:gd name="connsiteX21" fmla="*/ 152398 w 2559842"/>
              <a:gd name="connsiteY21" fmla="*/ 232265 h 1099040"/>
              <a:gd name="connsiteX22" fmla="*/ 152398 w 2559842"/>
              <a:gd name="connsiteY22" fmla="*/ 279890 h 1099040"/>
              <a:gd name="connsiteX23" fmla="*/ 157161 w 2559842"/>
              <a:gd name="connsiteY23" fmla="*/ 279890 h 1099040"/>
              <a:gd name="connsiteX24" fmla="*/ 157161 w 2559842"/>
              <a:gd name="connsiteY24" fmla="*/ 298940 h 1099040"/>
              <a:gd name="connsiteX25" fmla="*/ 164304 w 2559842"/>
              <a:gd name="connsiteY25" fmla="*/ 298940 h 1099040"/>
              <a:gd name="connsiteX26" fmla="*/ 164304 w 2559842"/>
              <a:gd name="connsiteY26" fmla="*/ 325133 h 1099040"/>
              <a:gd name="connsiteX27" fmla="*/ 164304 w 2559842"/>
              <a:gd name="connsiteY27" fmla="*/ 327515 h 1099040"/>
              <a:gd name="connsiteX28" fmla="*/ 164304 w 2559842"/>
              <a:gd name="connsiteY28" fmla="*/ 365615 h 1099040"/>
              <a:gd name="connsiteX29" fmla="*/ 176211 w 2559842"/>
              <a:gd name="connsiteY29" fmla="*/ 365615 h 1099040"/>
              <a:gd name="connsiteX30" fmla="*/ 176211 w 2559842"/>
              <a:gd name="connsiteY30" fmla="*/ 382283 h 1099040"/>
              <a:gd name="connsiteX31" fmla="*/ 183354 w 2559842"/>
              <a:gd name="connsiteY31" fmla="*/ 382283 h 1099040"/>
              <a:gd name="connsiteX32" fmla="*/ 183354 w 2559842"/>
              <a:gd name="connsiteY32" fmla="*/ 391808 h 1099040"/>
              <a:gd name="connsiteX33" fmla="*/ 211929 w 2559842"/>
              <a:gd name="connsiteY33" fmla="*/ 391808 h 1099040"/>
              <a:gd name="connsiteX34" fmla="*/ 214311 w 2559842"/>
              <a:gd name="connsiteY34" fmla="*/ 394190 h 1099040"/>
              <a:gd name="connsiteX35" fmla="*/ 226217 w 2559842"/>
              <a:gd name="connsiteY35" fmla="*/ 394190 h 1099040"/>
              <a:gd name="connsiteX36" fmla="*/ 226217 w 2559842"/>
              <a:gd name="connsiteY36" fmla="*/ 432290 h 1099040"/>
              <a:gd name="connsiteX37" fmla="*/ 283367 w 2559842"/>
              <a:gd name="connsiteY37" fmla="*/ 432290 h 1099040"/>
              <a:gd name="connsiteX38" fmla="*/ 283367 w 2559842"/>
              <a:gd name="connsiteY38" fmla="*/ 456102 h 1099040"/>
              <a:gd name="connsiteX39" fmla="*/ 290511 w 2559842"/>
              <a:gd name="connsiteY39" fmla="*/ 456102 h 1099040"/>
              <a:gd name="connsiteX40" fmla="*/ 290511 w 2559842"/>
              <a:gd name="connsiteY40" fmla="*/ 470390 h 1099040"/>
              <a:gd name="connsiteX41" fmla="*/ 304798 w 2559842"/>
              <a:gd name="connsiteY41" fmla="*/ 470390 h 1099040"/>
              <a:gd name="connsiteX42" fmla="*/ 304798 w 2559842"/>
              <a:gd name="connsiteY42" fmla="*/ 479915 h 1099040"/>
              <a:gd name="connsiteX43" fmla="*/ 334094 w 2559842"/>
              <a:gd name="connsiteY43" fmla="*/ 479915 h 1099040"/>
              <a:gd name="connsiteX44" fmla="*/ 335754 w 2559842"/>
              <a:gd name="connsiteY44" fmla="*/ 484677 h 1099040"/>
              <a:gd name="connsiteX45" fmla="*/ 369092 w 2559842"/>
              <a:gd name="connsiteY45" fmla="*/ 484677 h 1099040"/>
              <a:gd name="connsiteX46" fmla="*/ 369092 w 2559842"/>
              <a:gd name="connsiteY46" fmla="*/ 496583 h 1099040"/>
              <a:gd name="connsiteX47" fmla="*/ 383379 w 2559842"/>
              <a:gd name="connsiteY47" fmla="*/ 496583 h 1099040"/>
              <a:gd name="connsiteX48" fmla="*/ 383379 w 2559842"/>
              <a:gd name="connsiteY48" fmla="*/ 563258 h 1099040"/>
              <a:gd name="connsiteX49" fmla="*/ 392904 w 2559842"/>
              <a:gd name="connsiteY49" fmla="*/ 563258 h 1099040"/>
              <a:gd name="connsiteX50" fmla="*/ 392904 w 2559842"/>
              <a:gd name="connsiteY50" fmla="*/ 577546 h 1099040"/>
              <a:gd name="connsiteX51" fmla="*/ 402429 w 2559842"/>
              <a:gd name="connsiteY51" fmla="*/ 577546 h 1099040"/>
              <a:gd name="connsiteX52" fmla="*/ 402429 w 2559842"/>
              <a:gd name="connsiteY52" fmla="*/ 625171 h 1099040"/>
              <a:gd name="connsiteX53" fmla="*/ 402429 w 2559842"/>
              <a:gd name="connsiteY53" fmla="*/ 625171 h 1099040"/>
              <a:gd name="connsiteX54" fmla="*/ 413182 w 2559842"/>
              <a:gd name="connsiteY54" fmla="*/ 625368 h 1099040"/>
              <a:gd name="connsiteX55" fmla="*/ 412474 w 2559842"/>
              <a:gd name="connsiteY55" fmla="*/ 637077 h 1099040"/>
              <a:gd name="connsiteX56" fmla="*/ 426242 w 2559842"/>
              <a:gd name="connsiteY56" fmla="*/ 637077 h 1099040"/>
              <a:gd name="connsiteX57" fmla="*/ 426242 w 2559842"/>
              <a:gd name="connsiteY57" fmla="*/ 658508 h 1099040"/>
              <a:gd name="connsiteX58" fmla="*/ 440529 w 2559842"/>
              <a:gd name="connsiteY58" fmla="*/ 658508 h 1099040"/>
              <a:gd name="connsiteX59" fmla="*/ 440529 w 2559842"/>
              <a:gd name="connsiteY59" fmla="*/ 670415 h 1099040"/>
              <a:gd name="connsiteX60" fmla="*/ 454817 w 2559842"/>
              <a:gd name="connsiteY60" fmla="*/ 670415 h 1099040"/>
              <a:gd name="connsiteX61" fmla="*/ 454817 w 2559842"/>
              <a:gd name="connsiteY61" fmla="*/ 677558 h 1099040"/>
              <a:gd name="connsiteX62" fmla="*/ 511447 w 2559842"/>
              <a:gd name="connsiteY62" fmla="*/ 676955 h 1099040"/>
              <a:gd name="connsiteX63" fmla="*/ 512386 w 2559842"/>
              <a:gd name="connsiteY63" fmla="*/ 684701 h 1099040"/>
              <a:gd name="connsiteX64" fmla="*/ 545304 w 2559842"/>
              <a:gd name="connsiteY64" fmla="*/ 684701 h 1099040"/>
              <a:gd name="connsiteX65" fmla="*/ 545304 w 2559842"/>
              <a:gd name="connsiteY65" fmla="*/ 698990 h 1099040"/>
              <a:gd name="connsiteX66" fmla="*/ 561973 w 2559842"/>
              <a:gd name="connsiteY66" fmla="*/ 698990 h 1099040"/>
              <a:gd name="connsiteX67" fmla="*/ 561973 w 2559842"/>
              <a:gd name="connsiteY67" fmla="*/ 713277 h 1099040"/>
              <a:gd name="connsiteX68" fmla="*/ 585786 w 2559842"/>
              <a:gd name="connsiteY68" fmla="*/ 713277 h 1099040"/>
              <a:gd name="connsiteX69" fmla="*/ 585786 w 2559842"/>
              <a:gd name="connsiteY69" fmla="*/ 718040 h 1099040"/>
              <a:gd name="connsiteX70" fmla="*/ 611979 w 2559842"/>
              <a:gd name="connsiteY70" fmla="*/ 718040 h 1099040"/>
              <a:gd name="connsiteX71" fmla="*/ 611979 w 2559842"/>
              <a:gd name="connsiteY71" fmla="*/ 727565 h 1099040"/>
              <a:gd name="connsiteX72" fmla="*/ 626267 w 2559842"/>
              <a:gd name="connsiteY72" fmla="*/ 727565 h 1099040"/>
              <a:gd name="connsiteX73" fmla="*/ 626267 w 2559842"/>
              <a:gd name="connsiteY73" fmla="*/ 739471 h 1099040"/>
              <a:gd name="connsiteX74" fmla="*/ 647698 w 2559842"/>
              <a:gd name="connsiteY74" fmla="*/ 739471 h 1099040"/>
              <a:gd name="connsiteX75" fmla="*/ 647698 w 2559842"/>
              <a:gd name="connsiteY75" fmla="*/ 751377 h 1099040"/>
              <a:gd name="connsiteX76" fmla="*/ 666748 w 2559842"/>
              <a:gd name="connsiteY76" fmla="*/ 751377 h 1099040"/>
              <a:gd name="connsiteX77" fmla="*/ 666748 w 2559842"/>
              <a:gd name="connsiteY77" fmla="*/ 765665 h 1099040"/>
              <a:gd name="connsiteX78" fmla="*/ 671511 w 2559842"/>
              <a:gd name="connsiteY78" fmla="*/ 765665 h 1099040"/>
              <a:gd name="connsiteX79" fmla="*/ 671511 w 2559842"/>
              <a:gd name="connsiteY79" fmla="*/ 770427 h 1099040"/>
              <a:gd name="connsiteX80" fmla="*/ 783429 w 2559842"/>
              <a:gd name="connsiteY80" fmla="*/ 770427 h 1099040"/>
              <a:gd name="connsiteX81" fmla="*/ 783429 w 2559842"/>
              <a:gd name="connsiteY81" fmla="*/ 779952 h 1099040"/>
              <a:gd name="connsiteX82" fmla="*/ 831054 w 2559842"/>
              <a:gd name="connsiteY82" fmla="*/ 779952 h 1099040"/>
              <a:gd name="connsiteX83" fmla="*/ 831054 w 2559842"/>
              <a:gd name="connsiteY83" fmla="*/ 799002 h 1099040"/>
              <a:gd name="connsiteX84" fmla="*/ 881061 w 2559842"/>
              <a:gd name="connsiteY84" fmla="*/ 799002 h 1099040"/>
              <a:gd name="connsiteX85" fmla="*/ 884163 w 2559842"/>
              <a:gd name="connsiteY85" fmla="*/ 799002 h 1099040"/>
              <a:gd name="connsiteX86" fmla="*/ 884483 w 2559842"/>
              <a:gd name="connsiteY86" fmla="*/ 822179 h 1099040"/>
              <a:gd name="connsiteX87" fmla="*/ 945354 w 2559842"/>
              <a:gd name="connsiteY87" fmla="*/ 820433 h 1099040"/>
              <a:gd name="connsiteX88" fmla="*/ 945354 w 2559842"/>
              <a:gd name="connsiteY88" fmla="*/ 849008 h 1099040"/>
              <a:gd name="connsiteX89" fmla="*/ 1181098 w 2559842"/>
              <a:gd name="connsiteY89" fmla="*/ 849008 h 1099040"/>
              <a:gd name="connsiteX90" fmla="*/ 1181098 w 2559842"/>
              <a:gd name="connsiteY90" fmla="*/ 870440 h 1099040"/>
              <a:gd name="connsiteX91" fmla="*/ 1364454 w 2559842"/>
              <a:gd name="connsiteY91" fmla="*/ 870440 h 1099040"/>
              <a:gd name="connsiteX92" fmla="*/ 1364454 w 2559842"/>
              <a:gd name="connsiteY92" fmla="*/ 887108 h 1099040"/>
              <a:gd name="connsiteX93" fmla="*/ 1454942 w 2559842"/>
              <a:gd name="connsiteY93" fmla="*/ 887108 h 1099040"/>
              <a:gd name="connsiteX94" fmla="*/ 1454942 w 2559842"/>
              <a:gd name="connsiteY94" fmla="*/ 908540 h 1099040"/>
              <a:gd name="connsiteX95" fmla="*/ 1728786 w 2559842"/>
              <a:gd name="connsiteY95" fmla="*/ 908540 h 1099040"/>
              <a:gd name="connsiteX96" fmla="*/ 1728786 w 2559842"/>
              <a:gd name="connsiteY96" fmla="*/ 932352 h 1099040"/>
              <a:gd name="connsiteX97" fmla="*/ 1816892 w 2559842"/>
              <a:gd name="connsiteY97" fmla="*/ 932352 h 1099040"/>
              <a:gd name="connsiteX98" fmla="*/ 1816892 w 2559842"/>
              <a:gd name="connsiteY98" fmla="*/ 965690 h 1099040"/>
              <a:gd name="connsiteX99" fmla="*/ 2057398 w 2559842"/>
              <a:gd name="connsiteY99" fmla="*/ 965690 h 1099040"/>
              <a:gd name="connsiteX100" fmla="*/ 2057398 w 2559842"/>
              <a:gd name="connsiteY100" fmla="*/ 1001408 h 1099040"/>
              <a:gd name="connsiteX101" fmla="*/ 2102642 w 2559842"/>
              <a:gd name="connsiteY101" fmla="*/ 1001408 h 1099040"/>
              <a:gd name="connsiteX102" fmla="*/ 2102642 w 2559842"/>
              <a:gd name="connsiteY102" fmla="*/ 1032365 h 1099040"/>
              <a:gd name="connsiteX103" fmla="*/ 2288379 w 2559842"/>
              <a:gd name="connsiteY103" fmla="*/ 1032365 h 1099040"/>
              <a:gd name="connsiteX104" fmla="*/ 2288379 w 2559842"/>
              <a:gd name="connsiteY104" fmla="*/ 1099040 h 1099040"/>
              <a:gd name="connsiteX105" fmla="*/ 2559842 w 2559842"/>
              <a:gd name="connsiteY105" fmla="*/ 1099040 h 1099040"/>
              <a:gd name="connsiteX0" fmla="*/ 0 w 2559842"/>
              <a:gd name="connsiteY0" fmla="*/ 10808 h 1099040"/>
              <a:gd name="connsiteX1" fmla="*/ 9101 w 2559842"/>
              <a:gd name="connsiteY1" fmla="*/ 11200 h 1099040"/>
              <a:gd name="connsiteX2" fmla="*/ 57149 w 2559842"/>
              <a:gd name="connsiteY2" fmla="*/ 17953 h 1099040"/>
              <a:gd name="connsiteX3" fmla="*/ 54767 w 2559842"/>
              <a:gd name="connsiteY3" fmla="*/ 56052 h 1099040"/>
              <a:gd name="connsiteX4" fmla="*/ 73817 w 2559842"/>
              <a:gd name="connsiteY4" fmla="*/ 56052 h 1099040"/>
              <a:gd name="connsiteX5" fmla="*/ 73817 w 2559842"/>
              <a:gd name="connsiteY5" fmla="*/ 63196 h 1099040"/>
              <a:gd name="connsiteX6" fmla="*/ 78579 w 2559842"/>
              <a:gd name="connsiteY6" fmla="*/ 63196 h 1099040"/>
              <a:gd name="connsiteX7" fmla="*/ 78579 w 2559842"/>
              <a:gd name="connsiteY7" fmla="*/ 77483 h 1099040"/>
              <a:gd name="connsiteX8" fmla="*/ 85723 w 2559842"/>
              <a:gd name="connsiteY8" fmla="*/ 77483 h 1099040"/>
              <a:gd name="connsiteX9" fmla="*/ 85723 w 2559842"/>
              <a:gd name="connsiteY9" fmla="*/ 91771 h 1099040"/>
              <a:gd name="connsiteX10" fmla="*/ 100011 w 2559842"/>
              <a:gd name="connsiteY10" fmla="*/ 91771 h 1099040"/>
              <a:gd name="connsiteX11" fmla="*/ 100011 w 2559842"/>
              <a:gd name="connsiteY11" fmla="*/ 103677 h 1099040"/>
              <a:gd name="connsiteX12" fmla="*/ 111917 w 2559842"/>
              <a:gd name="connsiteY12" fmla="*/ 103677 h 1099040"/>
              <a:gd name="connsiteX13" fmla="*/ 111917 w 2559842"/>
              <a:gd name="connsiteY13" fmla="*/ 120346 h 1099040"/>
              <a:gd name="connsiteX14" fmla="*/ 126204 w 2559842"/>
              <a:gd name="connsiteY14" fmla="*/ 120346 h 1099040"/>
              <a:gd name="connsiteX15" fmla="*/ 126204 w 2559842"/>
              <a:gd name="connsiteY15" fmla="*/ 129871 h 1099040"/>
              <a:gd name="connsiteX16" fmla="*/ 135729 w 2559842"/>
              <a:gd name="connsiteY16" fmla="*/ 129871 h 1099040"/>
              <a:gd name="connsiteX17" fmla="*/ 135729 w 2559842"/>
              <a:gd name="connsiteY17" fmla="*/ 153683 h 1099040"/>
              <a:gd name="connsiteX18" fmla="*/ 145254 w 2559842"/>
              <a:gd name="connsiteY18" fmla="*/ 153683 h 1099040"/>
              <a:gd name="connsiteX19" fmla="*/ 145254 w 2559842"/>
              <a:gd name="connsiteY19" fmla="*/ 189402 h 1099040"/>
              <a:gd name="connsiteX20" fmla="*/ 145254 w 2559842"/>
              <a:gd name="connsiteY20" fmla="*/ 232265 h 1099040"/>
              <a:gd name="connsiteX21" fmla="*/ 152398 w 2559842"/>
              <a:gd name="connsiteY21" fmla="*/ 232265 h 1099040"/>
              <a:gd name="connsiteX22" fmla="*/ 152398 w 2559842"/>
              <a:gd name="connsiteY22" fmla="*/ 279890 h 1099040"/>
              <a:gd name="connsiteX23" fmla="*/ 157161 w 2559842"/>
              <a:gd name="connsiteY23" fmla="*/ 279890 h 1099040"/>
              <a:gd name="connsiteX24" fmla="*/ 157161 w 2559842"/>
              <a:gd name="connsiteY24" fmla="*/ 298940 h 1099040"/>
              <a:gd name="connsiteX25" fmla="*/ 164304 w 2559842"/>
              <a:gd name="connsiteY25" fmla="*/ 298940 h 1099040"/>
              <a:gd name="connsiteX26" fmla="*/ 164304 w 2559842"/>
              <a:gd name="connsiteY26" fmla="*/ 325133 h 1099040"/>
              <a:gd name="connsiteX27" fmla="*/ 164304 w 2559842"/>
              <a:gd name="connsiteY27" fmla="*/ 327515 h 1099040"/>
              <a:gd name="connsiteX28" fmla="*/ 164304 w 2559842"/>
              <a:gd name="connsiteY28" fmla="*/ 365615 h 1099040"/>
              <a:gd name="connsiteX29" fmla="*/ 176211 w 2559842"/>
              <a:gd name="connsiteY29" fmla="*/ 365615 h 1099040"/>
              <a:gd name="connsiteX30" fmla="*/ 176211 w 2559842"/>
              <a:gd name="connsiteY30" fmla="*/ 382283 h 1099040"/>
              <a:gd name="connsiteX31" fmla="*/ 183354 w 2559842"/>
              <a:gd name="connsiteY31" fmla="*/ 382283 h 1099040"/>
              <a:gd name="connsiteX32" fmla="*/ 183354 w 2559842"/>
              <a:gd name="connsiteY32" fmla="*/ 391808 h 1099040"/>
              <a:gd name="connsiteX33" fmla="*/ 211929 w 2559842"/>
              <a:gd name="connsiteY33" fmla="*/ 391808 h 1099040"/>
              <a:gd name="connsiteX34" fmla="*/ 214311 w 2559842"/>
              <a:gd name="connsiteY34" fmla="*/ 394190 h 1099040"/>
              <a:gd name="connsiteX35" fmla="*/ 226217 w 2559842"/>
              <a:gd name="connsiteY35" fmla="*/ 394190 h 1099040"/>
              <a:gd name="connsiteX36" fmla="*/ 226217 w 2559842"/>
              <a:gd name="connsiteY36" fmla="*/ 432290 h 1099040"/>
              <a:gd name="connsiteX37" fmla="*/ 283367 w 2559842"/>
              <a:gd name="connsiteY37" fmla="*/ 432290 h 1099040"/>
              <a:gd name="connsiteX38" fmla="*/ 283367 w 2559842"/>
              <a:gd name="connsiteY38" fmla="*/ 456102 h 1099040"/>
              <a:gd name="connsiteX39" fmla="*/ 290511 w 2559842"/>
              <a:gd name="connsiteY39" fmla="*/ 456102 h 1099040"/>
              <a:gd name="connsiteX40" fmla="*/ 290511 w 2559842"/>
              <a:gd name="connsiteY40" fmla="*/ 470390 h 1099040"/>
              <a:gd name="connsiteX41" fmla="*/ 304798 w 2559842"/>
              <a:gd name="connsiteY41" fmla="*/ 470390 h 1099040"/>
              <a:gd name="connsiteX42" fmla="*/ 304798 w 2559842"/>
              <a:gd name="connsiteY42" fmla="*/ 479915 h 1099040"/>
              <a:gd name="connsiteX43" fmla="*/ 335335 w 2559842"/>
              <a:gd name="connsiteY43" fmla="*/ 479915 h 1099040"/>
              <a:gd name="connsiteX44" fmla="*/ 335754 w 2559842"/>
              <a:gd name="connsiteY44" fmla="*/ 484677 h 1099040"/>
              <a:gd name="connsiteX45" fmla="*/ 369092 w 2559842"/>
              <a:gd name="connsiteY45" fmla="*/ 484677 h 1099040"/>
              <a:gd name="connsiteX46" fmla="*/ 369092 w 2559842"/>
              <a:gd name="connsiteY46" fmla="*/ 496583 h 1099040"/>
              <a:gd name="connsiteX47" fmla="*/ 383379 w 2559842"/>
              <a:gd name="connsiteY47" fmla="*/ 496583 h 1099040"/>
              <a:gd name="connsiteX48" fmla="*/ 383379 w 2559842"/>
              <a:gd name="connsiteY48" fmla="*/ 563258 h 1099040"/>
              <a:gd name="connsiteX49" fmla="*/ 392904 w 2559842"/>
              <a:gd name="connsiteY49" fmla="*/ 563258 h 1099040"/>
              <a:gd name="connsiteX50" fmla="*/ 392904 w 2559842"/>
              <a:gd name="connsiteY50" fmla="*/ 577546 h 1099040"/>
              <a:gd name="connsiteX51" fmla="*/ 402429 w 2559842"/>
              <a:gd name="connsiteY51" fmla="*/ 577546 h 1099040"/>
              <a:gd name="connsiteX52" fmla="*/ 402429 w 2559842"/>
              <a:gd name="connsiteY52" fmla="*/ 625171 h 1099040"/>
              <a:gd name="connsiteX53" fmla="*/ 402429 w 2559842"/>
              <a:gd name="connsiteY53" fmla="*/ 625171 h 1099040"/>
              <a:gd name="connsiteX54" fmla="*/ 413182 w 2559842"/>
              <a:gd name="connsiteY54" fmla="*/ 625368 h 1099040"/>
              <a:gd name="connsiteX55" fmla="*/ 412474 w 2559842"/>
              <a:gd name="connsiteY55" fmla="*/ 637077 h 1099040"/>
              <a:gd name="connsiteX56" fmla="*/ 426242 w 2559842"/>
              <a:gd name="connsiteY56" fmla="*/ 637077 h 1099040"/>
              <a:gd name="connsiteX57" fmla="*/ 426242 w 2559842"/>
              <a:gd name="connsiteY57" fmla="*/ 658508 h 1099040"/>
              <a:gd name="connsiteX58" fmla="*/ 440529 w 2559842"/>
              <a:gd name="connsiteY58" fmla="*/ 658508 h 1099040"/>
              <a:gd name="connsiteX59" fmla="*/ 440529 w 2559842"/>
              <a:gd name="connsiteY59" fmla="*/ 670415 h 1099040"/>
              <a:gd name="connsiteX60" fmla="*/ 454817 w 2559842"/>
              <a:gd name="connsiteY60" fmla="*/ 670415 h 1099040"/>
              <a:gd name="connsiteX61" fmla="*/ 454817 w 2559842"/>
              <a:gd name="connsiteY61" fmla="*/ 677558 h 1099040"/>
              <a:gd name="connsiteX62" fmla="*/ 511447 w 2559842"/>
              <a:gd name="connsiteY62" fmla="*/ 676955 h 1099040"/>
              <a:gd name="connsiteX63" fmla="*/ 512386 w 2559842"/>
              <a:gd name="connsiteY63" fmla="*/ 684701 h 1099040"/>
              <a:gd name="connsiteX64" fmla="*/ 545304 w 2559842"/>
              <a:gd name="connsiteY64" fmla="*/ 684701 h 1099040"/>
              <a:gd name="connsiteX65" fmla="*/ 545304 w 2559842"/>
              <a:gd name="connsiteY65" fmla="*/ 698990 h 1099040"/>
              <a:gd name="connsiteX66" fmla="*/ 561973 w 2559842"/>
              <a:gd name="connsiteY66" fmla="*/ 698990 h 1099040"/>
              <a:gd name="connsiteX67" fmla="*/ 561973 w 2559842"/>
              <a:gd name="connsiteY67" fmla="*/ 713277 h 1099040"/>
              <a:gd name="connsiteX68" fmla="*/ 585786 w 2559842"/>
              <a:gd name="connsiteY68" fmla="*/ 713277 h 1099040"/>
              <a:gd name="connsiteX69" fmla="*/ 585786 w 2559842"/>
              <a:gd name="connsiteY69" fmla="*/ 718040 h 1099040"/>
              <a:gd name="connsiteX70" fmla="*/ 611979 w 2559842"/>
              <a:gd name="connsiteY70" fmla="*/ 718040 h 1099040"/>
              <a:gd name="connsiteX71" fmla="*/ 611979 w 2559842"/>
              <a:gd name="connsiteY71" fmla="*/ 727565 h 1099040"/>
              <a:gd name="connsiteX72" fmla="*/ 626267 w 2559842"/>
              <a:gd name="connsiteY72" fmla="*/ 727565 h 1099040"/>
              <a:gd name="connsiteX73" fmla="*/ 626267 w 2559842"/>
              <a:gd name="connsiteY73" fmla="*/ 739471 h 1099040"/>
              <a:gd name="connsiteX74" fmla="*/ 647698 w 2559842"/>
              <a:gd name="connsiteY74" fmla="*/ 739471 h 1099040"/>
              <a:gd name="connsiteX75" fmla="*/ 647698 w 2559842"/>
              <a:gd name="connsiteY75" fmla="*/ 751377 h 1099040"/>
              <a:gd name="connsiteX76" fmla="*/ 666748 w 2559842"/>
              <a:gd name="connsiteY76" fmla="*/ 751377 h 1099040"/>
              <a:gd name="connsiteX77" fmla="*/ 666748 w 2559842"/>
              <a:gd name="connsiteY77" fmla="*/ 765665 h 1099040"/>
              <a:gd name="connsiteX78" fmla="*/ 671511 w 2559842"/>
              <a:gd name="connsiteY78" fmla="*/ 765665 h 1099040"/>
              <a:gd name="connsiteX79" fmla="*/ 671511 w 2559842"/>
              <a:gd name="connsiteY79" fmla="*/ 770427 h 1099040"/>
              <a:gd name="connsiteX80" fmla="*/ 783429 w 2559842"/>
              <a:gd name="connsiteY80" fmla="*/ 770427 h 1099040"/>
              <a:gd name="connsiteX81" fmla="*/ 783429 w 2559842"/>
              <a:gd name="connsiteY81" fmla="*/ 779952 h 1099040"/>
              <a:gd name="connsiteX82" fmla="*/ 831054 w 2559842"/>
              <a:gd name="connsiteY82" fmla="*/ 779952 h 1099040"/>
              <a:gd name="connsiteX83" fmla="*/ 831054 w 2559842"/>
              <a:gd name="connsiteY83" fmla="*/ 799002 h 1099040"/>
              <a:gd name="connsiteX84" fmla="*/ 881061 w 2559842"/>
              <a:gd name="connsiteY84" fmla="*/ 799002 h 1099040"/>
              <a:gd name="connsiteX85" fmla="*/ 884163 w 2559842"/>
              <a:gd name="connsiteY85" fmla="*/ 799002 h 1099040"/>
              <a:gd name="connsiteX86" fmla="*/ 884483 w 2559842"/>
              <a:gd name="connsiteY86" fmla="*/ 822179 h 1099040"/>
              <a:gd name="connsiteX87" fmla="*/ 945354 w 2559842"/>
              <a:gd name="connsiteY87" fmla="*/ 820433 h 1099040"/>
              <a:gd name="connsiteX88" fmla="*/ 945354 w 2559842"/>
              <a:gd name="connsiteY88" fmla="*/ 849008 h 1099040"/>
              <a:gd name="connsiteX89" fmla="*/ 1181098 w 2559842"/>
              <a:gd name="connsiteY89" fmla="*/ 849008 h 1099040"/>
              <a:gd name="connsiteX90" fmla="*/ 1181098 w 2559842"/>
              <a:gd name="connsiteY90" fmla="*/ 870440 h 1099040"/>
              <a:gd name="connsiteX91" fmla="*/ 1364454 w 2559842"/>
              <a:gd name="connsiteY91" fmla="*/ 870440 h 1099040"/>
              <a:gd name="connsiteX92" fmla="*/ 1364454 w 2559842"/>
              <a:gd name="connsiteY92" fmla="*/ 887108 h 1099040"/>
              <a:gd name="connsiteX93" fmla="*/ 1454942 w 2559842"/>
              <a:gd name="connsiteY93" fmla="*/ 887108 h 1099040"/>
              <a:gd name="connsiteX94" fmla="*/ 1454942 w 2559842"/>
              <a:gd name="connsiteY94" fmla="*/ 908540 h 1099040"/>
              <a:gd name="connsiteX95" fmla="*/ 1728786 w 2559842"/>
              <a:gd name="connsiteY95" fmla="*/ 908540 h 1099040"/>
              <a:gd name="connsiteX96" fmla="*/ 1728786 w 2559842"/>
              <a:gd name="connsiteY96" fmla="*/ 932352 h 1099040"/>
              <a:gd name="connsiteX97" fmla="*/ 1816892 w 2559842"/>
              <a:gd name="connsiteY97" fmla="*/ 932352 h 1099040"/>
              <a:gd name="connsiteX98" fmla="*/ 1816892 w 2559842"/>
              <a:gd name="connsiteY98" fmla="*/ 965690 h 1099040"/>
              <a:gd name="connsiteX99" fmla="*/ 2057398 w 2559842"/>
              <a:gd name="connsiteY99" fmla="*/ 965690 h 1099040"/>
              <a:gd name="connsiteX100" fmla="*/ 2057398 w 2559842"/>
              <a:gd name="connsiteY100" fmla="*/ 1001408 h 1099040"/>
              <a:gd name="connsiteX101" fmla="*/ 2102642 w 2559842"/>
              <a:gd name="connsiteY101" fmla="*/ 1001408 h 1099040"/>
              <a:gd name="connsiteX102" fmla="*/ 2102642 w 2559842"/>
              <a:gd name="connsiteY102" fmla="*/ 1032365 h 1099040"/>
              <a:gd name="connsiteX103" fmla="*/ 2288379 w 2559842"/>
              <a:gd name="connsiteY103" fmla="*/ 1032365 h 1099040"/>
              <a:gd name="connsiteX104" fmla="*/ 2288379 w 2559842"/>
              <a:gd name="connsiteY104" fmla="*/ 1099040 h 1099040"/>
              <a:gd name="connsiteX105" fmla="*/ 2559842 w 2559842"/>
              <a:gd name="connsiteY105" fmla="*/ 1099040 h 1099040"/>
              <a:gd name="connsiteX0" fmla="*/ 0 w 2559842"/>
              <a:gd name="connsiteY0" fmla="*/ 10808 h 1099040"/>
              <a:gd name="connsiteX1" fmla="*/ 9101 w 2559842"/>
              <a:gd name="connsiteY1" fmla="*/ 11200 h 1099040"/>
              <a:gd name="connsiteX2" fmla="*/ 57149 w 2559842"/>
              <a:gd name="connsiteY2" fmla="*/ 17953 h 1099040"/>
              <a:gd name="connsiteX3" fmla="*/ 54767 w 2559842"/>
              <a:gd name="connsiteY3" fmla="*/ 56052 h 1099040"/>
              <a:gd name="connsiteX4" fmla="*/ 73817 w 2559842"/>
              <a:gd name="connsiteY4" fmla="*/ 56052 h 1099040"/>
              <a:gd name="connsiteX5" fmla="*/ 73817 w 2559842"/>
              <a:gd name="connsiteY5" fmla="*/ 63196 h 1099040"/>
              <a:gd name="connsiteX6" fmla="*/ 78579 w 2559842"/>
              <a:gd name="connsiteY6" fmla="*/ 63196 h 1099040"/>
              <a:gd name="connsiteX7" fmla="*/ 78579 w 2559842"/>
              <a:gd name="connsiteY7" fmla="*/ 77483 h 1099040"/>
              <a:gd name="connsiteX8" fmla="*/ 85723 w 2559842"/>
              <a:gd name="connsiteY8" fmla="*/ 77483 h 1099040"/>
              <a:gd name="connsiteX9" fmla="*/ 85723 w 2559842"/>
              <a:gd name="connsiteY9" fmla="*/ 91771 h 1099040"/>
              <a:gd name="connsiteX10" fmla="*/ 100011 w 2559842"/>
              <a:gd name="connsiteY10" fmla="*/ 91771 h 1099040"/>
              <a:gd name="connsiteX11" fmla="*/ 100011 w 2559842"/>
              <a:gd name="connsiteY11" fmla="*/ 103677 h 1099040"/>
              <a:gd name="connsiteX12" fmla="*/ 111917 w 2559842"/>
              <a:gd name="connsiteY12" fmla="*/ 103677 h 1099040"/>
              <a:gd name="connsiteX13" fmla="*/ 111917 w 2559842"/>
              <a:gd name="connsiteY13" fmla="*/ 120346 h 1099040"/>
              <a:gd name="connsiteX14" fmla="*/ 126204 w 2559842"/>
              <a:gd name="connsiteY14" fmla="*/ 120346 h 1099040"/>
              <a:gd name="connsiteX15" fmla="*/ 126204 w 2559842"/>
              <a:gd name="connsiteY15" fmla="*/ 129871 h 1099040"/>
              <a:gd name="connsiteX16" fmla="*/ 135729 w 2559842"/>
              <a:gd name="connsiteY16" fmla="*/ 129871 h 1099040"/>
              <a:gd name="connsiteX17" fmla="*/ 135729 w 2559842"/>
              <a:gd name="connsiteY17" fmla="*/ 153683 h 1099040"/>
              <a:gd name="connsiteX18" fmla="*/ 145254 w 2559842"/>
              <a:gd name="connsiteY18" fmla="*/ 153683 h 1099040"/>
              <a:gd name="connsiteX19" fmla="*/ 145254 w 2559842"/>
              <a:gd name="connsiteY19" fmla="*/ 189402 h 1099040"/>
              <a:gd name="connsiteX20" fmla="*/ 145254 w 2559842"/>
              <a:gd name="connsiteY20" fmla="*/ 232265 h 1099040"/>
              <a:gd name="connsiteX21" fmla="*/ 152398 w 2559842"/>
              <a:gd name="connsiteY21" fmla="*/ 232265 h 1099040"/>
              <a:gd name="connsiteX22" fmla="*/ 152398 w 2559842"/>
              <a:gd name="connsiteY22" fmla="*/ 279890 h 1099040"/>
              <a:gd name="connsiteX23" fmla="*/ 157161 w 2559842"/>
              <a:gd name="connsiteY23" fmla="*/ 279890 h 1099040"/>
              <a:gd name="connsiteX24" fmla="*/ 157161 w 2559842"/>
              <a:gd name="connsiteY24" fmla="*/ 298940 h 1099040"/>
              <a:gd name="connsiteX25" fmla="*/ 164304 w 2559842"/>
              <a:gd name="connsiteY25" fmla="*/ 298940 h 1099040"/>
              <a:gd name="connsiteX26" fmla="*/ 164304 w 2559842"/>
              <a:gd name="connsiteY26" fmla="*/ 325133 h 1099040"/>
              <a:gd name="connsiteX27" fmla="*/ 164304 w 2559842"/>
              <a:gd name="connsiteY27" fmla="*/ 327515 h 1099040"/>
              <a:gd name="connsiteX28" fmla="*/ 164304 w 2559842"/>
              <a:gd name="connsiteY28" fmla="*/ 365615 h 1099040"/>
              <a:gd name="connsiteX29" fmla="*/ 176211 w 2559842"/>
              <a:gd name="connsiteY29" fmla="*/ 365615 h 1099040"/>
              <a:gd name="connsiteX30" fmla="*/ 176211 w 2559842"/>
              <a:gd name="connsiteY30" fmla="*/ 382283 h 1099040"/>
              <a:gd name="connsiteX31" fmla="*/ 183354 w 2559842"/>
              <a:gd name="connsiteY31" fmla="*/ 382283 h 1099040"/>
              <a:gd name="connsiteX32" fmla="*/ 183354 w 2559842"/>
              <a:gd name="connsiteY32" fmla="*/ 391808 h 1099040"/>
              <a:gd name="connsiteX33" fmla="*/ 211929 w 2559842"/>
              <a:gd name="connsiteY33" fmla="*/ 391808 h 1099040"/>
              <a:gd name="connsiteX34" fmla="*/ 212450 w 2559842"/>
              <a:gd name="connsiteY34" fmla="*/ 394190 h 1099040"/>
              <a:gd name="connsiteX35" fmla="*/ 226217 w 2559842"/>
              <a:gd name="connsiteY35" fmla="*/ 394190 h 1099040"/>
              <a:gd name="connsiteX36" fmla="*/ 226217 w 2559842"/>
              <a:gd name="connsiteY36" fmla="*/ 432290 h 1099040"/>
              <a:gd name="connsiteX37" fmla="*/ 283367 w 2559842"/>
              <a:gd name="connsiteY37" fmla="*/ 432290 h 1099040"/>
              <a:gd name="connsiteX38" fmla="*/ 283367 w 2559842"/>
              <a:gd name="connsiteY38" fmla="*/ 456102 h 1099040"/>
              <a:gd name="connsiteX39" fmla="*/ 290511 w 2559842"/>
              <a:gd name="connsiteY39" fmla="*/ 456102 h 1099040"/>
              <a:gd name="connsiteX40" fmla="*/ 290511 w 2559842"/>
              <a:gd name="connsiteY40" fmla="*/ 470390 h 1099040"/>
              <a:gd name="connsiteX41" fmla="*/ 304798 w 2559842"/>
              <a:gd name="connsiteY41" fmla="*/ 470390 h 1099040"/>
              <a:gd name="connsiteX42" fmla="*/ 304798 w 2559842"/>
              <a:gd name="connsiteY42" fmla="*/ 479915 h 1099040"/>
              <a:gd name="connsiteX43" fmla="*/ 335335 w 2559842"/>
              <a:gd name="connsiteY43" fmla="*/ 479915 h 1099040"/>
              <a:gd name="connsiteX44" fmla="*/ 335754 w 2559842"/>
              <a:gd name="connsiteY44" fmla="*/ 484677 h 1099040"/>
              <a:gd name="connsiteX45" fmla="*/ 369092 w 2559842"/>
              <a:gd name="connsiteY45" fmla="*/ 484677 h 1099040"/>
              <a:gd name="connsiteX46" fmla="*/ 369092 w 2559842"/>
              <a:gd name="connsiteY46" fmla="*/ 496583 h 1099040"/>
              <a:gd name="connsiteX47" fmla="*/ 383379 w 2559842"/>
              <a:gd name="connsiteY47" fmla="*/ 496583 h 1099040"/>
              <a:gd name="connsiteX48" fmla="*/ 383379 w 2559842"/>
              <a:gd name="connsiteY48" fmla="*/ 563258 h 1099040"/>
              <a:gd name="connsiteX49" fmla="*/ 392904 w 2559842"/>
              <a:gd name="connsiteY49" fmla="*/ 563258 h 1099040"/>
              <a:gd name="connsiteX50" fmla="*/ 392904 w 2559842"/>
              <a:gd name="connsiteY50" fmla="*/ 577546 h 1099040"/>
              <a:gd name="connsiteX51" fmla="*/ 402429 w 2559842"/>
              <a:gd name="connsiteY51" fmla="*/ 577546 h 1099040"/>
              <a:gd name="connsiteX52" fmla="*/ 402429 w 2559842"/>
              <a:gd name="connsiteY52" fmla="*/ 625171 h 1099040"/>
              <a:gd name="connsiteX53" fmla="*/ 402429 w 2559842"/>
              <a:gd name="connsiteY53" fmla="*/ 625171 h 1099040"/>
              <a:gd name="connsiteX54" fmla="*/ 413182 w 2559842"/>
              <a:gd name="connsiteY54" fmla="*/ 625368 h 1099040"/>
              <a:gd name="connsiteX55" fmla="*/ 412474 w 2559842"/>
              <a:gd name="connsiteY55" fmla="*/ 637077 h 1099040"/>
              <a:gd name="connsiteX56" fmla="*/ 426242 w 2559842"/>
              <a:gd name="connsiteY56" fmla="*/ 637077 h 1099040"/>
              <a:gd name="connsiteX57" fmla="*/ 426242 w 2559842"/>
              <a:gd name="connsiteY57" fmla="*/ 658508 h 1099040"/>
              <a:gd name="connsiteX58" fmla="*/ 440529 w 2559842"/>
              <a:gd name="connsiteY58" fmla="*/ 658508 h 1099040"/>
              <a:gd name="connsiteX59" fmla="*/ 440529 w 2559842"/>
              <a:gd name="connsiteY59" fmla="*/ 670415 h 1099040"/>
              <a:gd name="connsiteX60" fmla="*/ 454817 w 2559842"/>
              <a:gd name="connsiteY60" fmla="*/ 670415 h 1099040"/>
              <a:gd name="connsiteX61" fmla="*/ 454817 w 2559842"/>
              <a:gd name="connsiteY61" fmla="*/ 677558 h 1099040"/>
              <a:gd name="connsiteX62" fmla="*/ 511447 w 2559842"/>
              <a:gd name="connsiteY62" fmla="*/ 676955 h 1099040"/>
              <a:gd name="connsiteX63" fmla="*/ 512386 w 2559842"/>
              <a:gd name="connsiteY63" fmla="*/ 684701 h 1099040"/>
              <a:gd name="connsiteX64" fmla="*/ 545304 w 2559842"/>
              <a:gd name="connsiteY64" fmla="*/ 684701 h 1099040"/>
              <a:gd name="connsiteX65" fmla="*/ 545304 w 2559842"/>
              <a:gd name="connsiteY65" fmla="*/ 698990 h 1099040"/>
              <a:gd name="connsiteX66" fmla="*/ 561973 w 2559842"/>
              <a:gd name="connsiteY66" fmla="*/ 698990 h 1099040"/>
              <a:gd name="connsiteX67" fmla="*/ 561973 w 2559842"/>
              <a:gd name="connsiteY67" fmla="*/ 713277 h 1099040"/>
              <a:gd name="connsiteX68" fmla="*/ 585786 w 2559842"/>
              <a:gd name="connsiteY68" fmla="*/ 713277 h 1099040"/>
              <a:gd name="connsiteX69" fmla="*/ 585786 w 2559842"/>
              <a:gd name="connsiteY69" fmla="*/ 718040 h 1099040"/>
              <a:gd name="connsiteX70" fmla="*/ 611979 w 2559842"/>
              <a:gd name="connsiteY70" fmla="*/ 718040 h 1099040"/>
              <a:gd name="connsiteX71" fmla="*/ 611979 w 2559842"/>
              <a:gd name="connsiteY71" fmla="*/ 727565 h 1099040"/>
              <a:gd name="connsiteX72" fmla="*/ 626267 w 2559842"/>
              <a:gd name="connsiteY72" fmla="*/ 727565 h 1099040"/>
              <a:gd name="connsiteX73" fmla="*/ 626267 w 2559842"/>
              <a:gd name="connsiteY73" fmla="*/ 739471 h 1099040"/>
              <a:gd name="connsiteX74" fmla="*/ 647698 w 2559842"/>
              <a:gd name="connsiteY74" fmla="*/ 739471 h 1099040"/>
              <a:gd name="connsiteX75" fmla="*/ 647698 w 2559842"/>
              <a:gd name="connsiteY75" fmla="*/ 751377 h 1099040"/>
              <a:gd name="connsiteX76" fmla="*/ 666748 w 2559842"/>
              <a:gd name="connsiteY76" fmla="*/ 751377 h 1099040"/>
              <a:gd name="connsiteX77" fmla="*/ 666748 w 2559842"/>
              <a:gd name="connsiteY77" fmla="*/ 765665 h 1099040"/>
              <a:gd name="connsiteX78" fmla="*/ 671511 w 2559842"/>
              <a:gd name="connsiteY78" fmla="*/ 765665 h 1099040"/>
              <a:gd name="connsiteX79" fmla="*/ 671511 w 2559842"/>
              <a:gd name="connsiteY79" fmla="*/ 770427 h 1099040"/>
              <a:gd name="connsiteX80" fmla="*/ 783429 w 2559842"/>
              <a:gd name="connsiteY80" fmla="*/ 770427 h 1099040"/>
              <a:gd name="connsiteX81" fmla="*/ 783429 w 2559842"/>
              <a:gd name="connsiteY81" fmla="*/ 779952 h 1099040"/>
              <a:gd name="connsiteX82" fmla="*/ 831054 w 2559842"/>
              <a:gd name="connsiteY82" fmla="*/ 779952 h 1099040"/>
              <a:gd name="connsiteX83" fmla="*/ 831054 w 2559842"/>
              <a:gd name="connsiteY83" fmla="*/ 799002 h 1099040"/>
              <a:gd name="connsiteX84" fmla="*/ 881061 w 2559842"/>
              <a:gd name="connsiteY84" fmla="*/ 799002 h 1099040"/>
              <a:gd name="connsiteX85" fmla="*/ 884163 w 2559842"/>
              <a:gd name="connsiteY85" fmla="*/ 799002 h 1099040"/>
              <a:gd name="connsiteX86" fmla="*/ 884483 w 2559842"/>
              <a:gd name="connsiteY86" fmla="*/ 822179 h 1099040"/>
              <a:gd name="connsiteX87" fmla="*/ 945354 w 2559842"/>
              <a:gd name="connsiteY87" fmla="*/ 820433 h 1099040"/>
              <a:gd name="connsiteX88" fmla="*/ 945354 w 2559842"/>
              <a:gd name="connsiteY88" fmla="*/ 849008 h 1099040"/>
              <a:gd name="connsiteX89" fmla="*/ 1181098 w 2559842"/>
              <a:gd name="connsiteY89" fmla="*/ 849008 h 1099040"/>
              <a:gd name="connsiteX90" fmla="*/ 1181098 w 2559842"/>
              <a:gd name="connsiteY90" fmla="*/ 870440 h 1099040"/>
              <a:gd name="connsiteX91" fmla="*/ 1364454 w 2559842"/>
              <a:gd name="connsiteY91" fmla="*/ 870440 h 1099040"/>
              <a:gd name="connsiteX92" fmla="*/ 1364454 w 2559842"/>
              <a:gd name="connsiteY92" fmla="*/ 887108 h 1099040"/>
              <a:gd name="connsiteX93" fmla="*/ 1454942 w 2559842"/>
              <a:gd name="connsiteY93" fmla="*/ 887108 h 1099040"/>
              <a:gd name="connsiteX94" fmla="*/ 1454942 w 2559842"/>
              <a:gd name="connsiteY94" fmla="*/ 908540 h 1099040"/>
              <a:gd name="connsiteX95" fmla="*/ 1728786 w 2559842"/>
              <a:gd name="connsiteY95" fmla="*/ 908540 h 1099040"/>
              <a:gd name="connsiteX96" fmla="*/ 1728786 w 2559842"/>
              <a:gd name="connsiteY96" fmla="*/ 932352 h 1099040"/>
              <a:gd name="connsiteX97" fmla="*/ 1816892 w 2559842"/>
              <a:gd name="connsiteY97" fmla="*/ 932352 h 1099040"/>
              <a:gd name="connsiteX98" fmla="*/ 1816892 w 2559842"/>
              <a:gd name="connsiteY98" fmla="*/ 965690 h 1099040"/>
              <a:gd name="connsiteX99" fmla="*/ 2057398 w 2559842"/>
              <a:gd name="connsiteY99" fmla="*/ 965690 h 1099040"/>
              <a:gd name="connsiteX100" fmla="*/ 2057398 w 2559842"/>
              <a:gd name="connsiteY100" fmla="*/ 1001408 h 1099040"/>
              <a:gd name="connsiteX101" fmla="*/ 2102642 w 2559842"/>
              <a:gd name="connsiteY101" fmla="*/ 1001408 h 1099040"/>
              <a:gd name="connsiteX102" fmla="*/ 2102642 w 2559842"/>
              <a:gd name="connsiteY102" fmla="*/ 1032365 h 1099040"/>
              <a:gd name="connsiteX103" fmla="*/ 2288379 w 2559842"/>
              <a:gd name="connsiteY103" fmla="*/ 1032365 h 1099040"/>
              <a:gd name="connsiteX104" fmla="*/ 2288379 w 2559842"/>
              <a:gd name="connsiteY104" fmla="*/ 1099040 h 1099040"/>
              <a:gd name="connsiteX105" fmla="*/ 2559842 w 2559842"/>
              <a:gd name="connsiteY105" fmla="*/ 1099040 h 1099040"/>
              <a:gd name="connsiteX0" fmla="*/ 0 w 2559842"/>
              <a:gd name="connsiteY0" fmla="*/ 10808 h 1099040"/>
              <a:gd name="connsiteX1" fmla="*/ 9101 w 2559842"/>
              <a:gd name="connsiteY1" fmla="*/ 11200 h 1099040"/>
              <a:gd name="connsiteX2" fmla="*/ 54667 w 2559842"/>
              <a:gd name="connsiteY2" fmla="*/ 18556 h 1099040"/>
              <a:gd name="connsiteX3" fmla="*/ 54767 w 2559842"/>
              <a:gd name="connsiteY3" fmla="*/ 56052 h 1099040"/>
              <a:gd name="connsiteX4" fmla="*/ 73817 w 2559842"/>
              <a:gd name="connsiteY4" fmla="*/ 56052 h 1099040"/>
              <a:gd name="connsiteX5" fmla="*/ 73817 w 2559842"/>
              <a:gd name="connsiteY5" fmla="*/ 63196 h 1099040"/>
              <a:gd name="connsiteX6" fmla="*/ 78579 w 2559842"/>
              <a:gd name="connsiteY6" fmla="*/ 63196 h 1099040"/>
              <a:gd name="connsiteX7" fmla="*/ 78579 w 2559842"/>
              <a:gd name="connsiteY7" fmla="*/ 77483 h 1099040"/>
              <a:gd name="connsiteX8" fmla="*/ 85723 w 2559842"/>
              <a:gd name="connsiteY8" fmla="*/ 77483 h 1099040"/>
              <a:gd name="connsiteX9" fmla="*/ 85723 w 2559842"/>
              <a:gd name="connsiteY9" fmla="*/ 91771 h 1099040"/>
              <a:gd name="connsiteX10" fmla="*/ 100011 w 2559842"/>
              <a:gd name="connsiteY10" fmla="*/ 91771 h 1099040"/>
              <a:gd name="connsiteX11" fmla="*/ 100011 w 2559842"/>
              <a:gd name="connsiteY11" fmla="*/ 103677 h 1099040"/>
              <a:gd name="connsiteX12" fmla="*/ 111917 w 2559842"/>
              <a:gd name="connsiteY12" fmla="*/ 103677 h 1099040"/>
              <a:gd name="connsiteX13" fmla="*/ 111917 w 2559842"/>
              <a:gd name="connsiteY13" fmla="*/ 120346 h 1099040"/>
              <a:gd name="connsiteX14" fmla="*/ 126204 w 2559842"/>
              <a:gd name="connsiteY14" fmla="*/ 120346 h 1099040"/>
              <a:gd name="connsiteX15" fmla="*/ 126204 w 2559842"/>
              <a:gd name="connsiteY15" fmla="*/ 129871 h 1099040"/>
              <a:gd name="connsiteX16" fmla="*/ 135729 w 2559842"/>
              <a:gd name="connsiteY16" fmla="*/ 129871 h 1099040"/>
              <a:gd name="connsiteX17" fmla="*/ 135729 w 2559842"/>
              <a:gd name="connsiteY17" fmla="*/ 153683 h 1099040"/>
              <a:gd name="connsiteX18" fmla="*/ 145254 w 2559842"/>
              <a:gd name="connsiteY18" fmla="*/ 153683 h 1099040"/>
              <a:gd name="connsiteX19" fmla="*/ 145254 w 2559842"/>
              <a:gd name="connsiteY19" fmla="*/ 189402 h 1099040"/>
              <a:gd name="connsiteX20" fmla="*/ 145254 w 2559842"/>
              <a:gd name="connsiteY20" fmla="*/ 232265 h 1099040"/>
              <a:gd name="connsiteX21" fmla="*/ 152398 w 2559842"/>
              <a:gd name="connsiteY21" fmla="*/ 232265 h 1099040"/>
              <a:gd name="connsiteX22" fmla="*/ 152398 w 2559842"/>
              <a:gd name="connsiteY22" fmla="*/ 279890 h 1099040"/>
              <a:gd name="connsiteX23" fmla="*/ 157161 w 2559842"/>
              <a:gd name="connsiteY23" fmla="*/ 279890 h 1099040"/>
              <a:gd name="connsiteX24" fmla="*/ 157161 w 2559842"/>
              <a:gd name="connsiteY24" fmla="*/ 298940 h 1099040"/>
              <a:gd name="connsiteX25" fmla="*/ 164304 w 2559842"/>
              <a:gd name="connsiteY25" fmla="*/ 298940 h 1099040"/>
              <a:gd name="connsiteX26" fmla="*/ 164304 w 2559842"/>
              <a:gd name="connsiteY26" fmla="*/ 325133 h 1099040"/>
              <a:gd name="connsiteX27" fmla="*/ 164304 w 2559842"/>
              <a:gd name="connsiteY27" fmla="*/ 327515 h 1099040"/>
              <a:gd name="connsiteX28" fmla="*/ 164304 w 2559842"/>
              <a:gd name="connsiteY28" fmla="*/ 365615 h 1099040"/>
              <a:gd name="connsiteX29" fmla="*/ 176211 w 2559842"/>
              <a:gd name="connsiteY29" fmla="*/ 365615 h 1099040"/>
              <a:gd name="connsiteX30" fmla="*/ 176211 w 2559842"/>
              <a:gd name="connsiteY30" fmla="*/ 382283 h 1099040"/>
              <a:gd name="connsiteX31" fmla="*/ 183354 w 2559842"/>
              <a:gd name="connsiteY31" fmla="*/ 382283 h 1099040"/>
              <a:gd name="connsiteX32" fmla="*/ 183354 w 2559842"/>
              <a:gd name="connsiteY32" fmla="*/ 391808 h 1099040"/>
              <a:gd name="connsiteX33" fmla="*/ 211929 w 2559842"/>
              <a:gd name="connsiteY33" fmla="*/ 391808 h 1099040"/>
              <a:gd name="connsiteX34" fmla="*/ 212450 w 2559842"/>
              <a:gd name="connsiteY34" fmla="*/ 394190 h 1099040"/>
              <a:gd name="connsiteX35" fmla="*/ 226217 w 2559842"/>
              <a:gd name="connsiteY35" fmla="*/ 394190 h 1099040"/>
              <a:gd name="connsiteX36" fmla="*/ 226217 w 2559842"/>
              <a:gd name="connsiteY36" fmla="*/ 432290 h 1099040"/>
              <a:gd name="connsiteX37" fmla="*/ 283367 w 2559842"/>
              <a:gd name="connsiteY37" fmla="*/ 432290 h 1099040"/>
              <a:gd name="connsiteX38" fmla="*/ 283367 w 2559842"/>
              <a:gd name="connsiteY38" fmla="*/ 456102 h 1099040"/>
              <a:gd name="connsiteX39" fmla="*/ 290511 w 2559842"/>
              <a:gd name="connsiteY39" fmla="*/ 456102 h 1099040"/>
              <a:gd name="connsiteX40" fmla="*/ 290511 w 2559842"/>
              <a:gd name="connsiteY40" fmla="*/ 470390 h 1099040"/>
              <a:gd name="connsiteX41" fmla="*/ 304798 w 2559842"/>
              <a:gd name="connsiteY41" fmla="*/ 470390 h 1099040"/>
              <a:gd name="connsiteX42" fmla="*/ 304798 w 2559842"/>
              <a:gd name="connsiteY42" fmla="*/ 479915 h 1099040"/>
              <a:gd name="connsiteX43" fmla="*/ 335335 w 2559842"/>
              <a:gd name="connsiteY43" fmla="*/ 479915 h 1099040"/>
              <a:gd name="connsiteX44" fmla="*/ 335754 w 2559842"/>
              <a:gd name="connsiteY44" fmla="*/ 484677 h 1099040"/>
              <a:gd name="connsiteX45" fmla="*/ 369092 w 2559842"/>
              <a:gd name="connsiteY45" fmla="*/ 484677 h 1099040"/>
              <a:gd name="connsiteX46" fmla="*/ 369092 w 2559842"/>
              <a:gd name="connsiteY46" fmla="*/ 496583 h 1099040"/>
              <a:gd name="connsiteX47" fmla="*/ 383379 w 2559842"/>
              <a:gd name="connsiteY47" fmla="*/ 496583 h 1099040"/>
              <a:gd name="connsiteX48" fmla="*/ 383379 w 2559842"/>
              <a:gd name="connsiteY48" fmla="*/ 563258 h 1099040"/>
              <a:gd name="connsiteX49" fmla="*/ 392904 w 2559842"/>
              <a:gd name="connsiteY49" fmla="*/ 563258 h 1099040"/>
              <a:gd name="connsiteX50" fmla="*/ 392904 w 2559842"/>
              <a:gd name="connsiteY50" fmla="*/ 577546 h 1099040"/>
              <a:gd name="connsiteX51" fmla="*/ 402429 w 2559842"/>
              <a:gd name="connsiteY51" fmla="*/ 577546 h 1099040"/>
              <a:gd name="connsiteX52" fmla="*/ 402429 w 2559842"/>
              <a:gd name="connsiteY52" fmla="*/ 625171 h 1099040"/>
              <a:gd name="connsiteX53" fmla="*/ 402429 w 2559842"/>
              <a:gd name="connsiteY53" fmla="*/ 625171 h 1099040"/>
              <a:gd name="connsiteX54" fmla="*/ 413182 w 2559842"/>
              <a:gd name="connsiteY54" fmla="*/ 625368 h 1099040"/>
              <a:gd name="connsiteX55" fmla="*/ 412474 w 2559842"/>
              <a:gd name="connsiteY55" fmla="*/ 637077 h 1099040"/>
              <a:gd name="connsiteX56" fmla="*/ 426242 w 2559842"/>
              <a:gd name="connsiteY56" fmla="*/ 637077 h 1099040"/>
              <a:gd name="connsiteX57" fmla="*/ 426242 w 2559842"/>
              <a:gd name="connsiteY57" fmla="*/ 658508 h 1099040"/>
              <a:gd name="connsiteX58" fmla="*/ 440529 w 2559842"/>
              <a:gd name="connsiteY58" fmla="*/ 658508 h 1099040"/>
              <a:gd name="connsiteX59" fmla="*/ 440529 w 2559842"/>
              <a:gd name="connsiteY59" fmla="*/ 670415 h 1099040"/>
              <a:gd name="connsiteX60" fmla="*/ 454817 w 2559842"/>
              <a:gd name="connsiteY60" fmla="*/ 670415 h 1099040"/>
              <a:gd name="connsiteX61" fmla="*/ 454817 w 2559842"/>
              <a:gd name="connsiteY61" fmla="*/ 677558 h 1099040"/>
              <a:gd name="connsiteX62" fmla="*/ 511447 w 2559842"/>
              <a:gd name="connsiteY62" fmla="*/ 676955 h 1099040"/>
              <a:gd name="connsiteX63" fmla="*/ 512386 w 2559842"/>
              <a:gd name="connsiteY63" fmla="*/ 684701 h 1099040"/>
              <a:gd name="connsiteX64" fmla="*/ 545304 w 2559842"/>
              <a:gd name="connsiteY64" fmla="*/ 684701 h 1099040"/>
              <a:gd name="connsiteX65" fmla="*/ 545304 w 2559842"/>
              <a:gd name="connsiteY65" fmla="*/ 698990 h 1099040"/>
              <a:gd name="connsiteX66" fmla="*/ 561973 w 2559842"/>
              <a:gd name="connsiteY66" fmla="*/ 698990 h 1099040"/>
              <a:gd name="connsiteX67" fmla="*/ 561973 w 2559842"/>
              <a:gd name="connsiteY67" fmla="*/ 713277 h 1099040"/>
              <a:gd name="connsiteX68" fmla="*/ 585786 w 2559842"/>
              <a:gd name="connsiteY68" fmla="*/ 713277 h 1099040"/>
              <a:gd name="connsiteX69" fmla="*/ 585786 w 2559842"/>
              <a:gd name="connsiteY69" fmla="*/ 718040 h 1099040"/>
              <a:gd name="connsiteX70" fmla="*/ 611979 w 2559842"/>
              <a:gd name="connsiteY70" fmla="*/ 718040 h 1099040"/>
              <a:gd name="connsiteX71" fmla="*/ 611979 w 2559842"/>
              <a:gd name="connsiteY71" fmla="*/ 727565 h 1099040"/>
              <a:gd name="connsiteX72" fmla="*/ 626267 w 2559842"/>
              <a:gd name="connsiteY72" fmla="*/ 727565 h 1099040"/>
              <a:gd name="connsiteX73" fmla="*/ 626267 w 2559842"/>
              <a:gd name="connsiteY73" fmla="*/ 739471 h 1099040"/>
              <a:gd name="connsiteX74" fmla="*/ 647698 w 2559842"/>
              <a:gd name="connsiteY74" fmla="*/ 739471 h 1099040"/>
              <a:gd name="connsiteX75" fmla="*/ 647698 w 2559842"/>
              <a:gd name="connsiteY75" fmla="*/ 751377 h 1099040"/>
              <a:gd name="connsiteX76" fmla="*/ 666748 w 2559842"/>
              <a:gd name="connsiteY76" fmla="*/ 751377 h 1099040"/>
              <a:gd name="connsiteX77" fmla="*/ 666748 w 2559842"/>
              <a:gd name="connsiteY77" fmla="*/ 765665 h 1099040"/>
              <a:gd name="connsiteX78" fmla="*/ 671511 w 2559842"/>
              <a:gd name="connsiteY78" fmla="*/ 765665 h 1099040"/>
              <a:gd name="connsiteX79" fmla="*/ 671511 w 2559842"/>
              <a:gd name="connsiteY79" fmla="*/ 770427 h 1099040"/>
              <a:gd name="connsiteX80" fmla="*/ 783429 w 2559842"/>
              <a:gd name="connsiteY80" fmla="*/ 770427 h 1099040"/>
              <a:gd name="connsiteX81" fmla="*/ 783429 w 2559842"/>
              <a:gd name="connsiteY81" fmla="*/ 779952 h 1099040"/>
              <a:gd name="connsiteX82" fmla="*/ 831054 w 2559842"/>
              <a:gd name="connsiteY82" fmla="*/ 779952 h 1099040"/>
              <a:gd name="connsiteX83" fmla="*/ 831054 w 2559842"/>
              <a:gd name="connsiteY83" fmla="*/ 799002 h 1099040"/>
              <a:gd name="connsiteX84" fmla="*/ 881061 w 2559842"/>
              <a:gd name="connsiteY84" fmla="*/ 799002 h 1099040"/>
              <a:gd name="connsiteX85" fmla="*/ 884163 w 2559842"/>
              <a:gd name="connsiteY85" fmla="*/ 799002 h 1099040"/>
              <a:gd name="connsiteX86" fmla="*/ 884483 w 2559842"/>
              <a:gd name="connsiteY86" fmla="*/ 822179 h 1099040"/>
              <a:gd name="connsiteX87" fmla="*/ 945354 w 2559842"/>
              <a:gd name="connsiteY87" fmla="*/ 820433 h 1099040"/>
              <a:gd name="connsiteX88" fmla="*/ 945354 w 2559842"/>
              <a:gd name="connsiteY88" fmla="*/ 849008 h 1099040"/>
              <a:gd name="connsiteX89" fmla="*/ 1181098 w 2559842"/>
              <a:gd name="connsiteY89" fmla="*/ 849008 h 1099040"/>
              <a:gd name="connsiteX90" fmla="*/ 1181098 w 2559842"/>
              <a:gd name="connsiteY90" fmla="*/ 870440 h 1099040"/>
              <a:gd name="connsiteX91" fmla="*/ 1364454 w 2559842"/>
              <a:gd name="connsiteY91" fmla="*/ 870440 h 1099040"/>
              <a:gd name="connsiteX92" fmla="*/ 1364454 w 2559842"/>
              <a:gd name="connsiteY92" fmla="*/ 887108 h 1099040"/>
              <a:gd name="connsiteX93" fmla="*/ 1454942 w 2559842"/>
              <a:gd name="connsiteY93" fmla="*/ 887108 h 1099040"/>
              <a:gd name="connsiteX94" fmla="*/ 1454942 w 2559842"/>
              <a:gd name="connsiteY94" fmla="*/ 908540 h 1099040"/>
              <a:gd name="connsiteX95" fmla="*/ 1728786 w 2559842"/>
              <a:gd name="connsiteY95" fmla="*/ 908540 h 1099040"/>
              <a:gd name="connsiteX96" fmla="*/ 1728786 w 2559842"/>
              <a:gd name="connsiteY96" fmla="*/ 932352 h 1099040"/>
              <a:gd name="connsiteX97" fmla="*/ 1816892 w 2559842"/>
              <a:gd name="connsiteY97" fmla="*/ 932352 h 1099040"/>
              <a:gd name="connsiteX98" fmla="*/ 1816892 w 2559842"/>
              <a:gd name="connsiteY98" fmla="*/ 965690 h 1099040"/>
              <a:gd name="connsiteX99" fmla="*/ 2057398 w 2559842"/>
              <a:gd name="connsiteY99" fmla="*/ 965690 h 1099040"/>
              <a:gd name="connsiteX100" fmla="*/ 2057398 w 2559842"/>
              <a:gd name="connsiteY100" fmla="*/ 1001408 h 1099040"/>
              <a:gd name="connsiteX101" fmla="*/ 2102642 w 2559842"/>
              <a:gd name="connsiteY101" fmla="*/ 1001408 h 1099040"/>
              <a:gd name="connsiteX102" fmla="*/ 2102642 w 2559842"/>
              <a:gd name="connsiteY102" fmla="*/ 1032365 h 1099040"/>
              <a:gd name="connsiteX103" fmla="*/ 2288379 w 2559842"/>
              <a:gd name="connsiteY103" fmla="*/ 1032365 h 1099040"/>
              <a:gd name="connsiteX104" fmla="*/ 2288379 w 2559842"/>
              <a:gd name="connsiteY104" fmla="*/ 1099040 h 1099040"/>
              <a:gd name="connsiteX105" fmla="*/ 2559842 w 2559842"/>
              <a:gd name="connsiteY105" fmla="*/ 1099040 h 1099040"/>
              <a:gd name="connsiteX0" fmla="*/ 0 w 2559842"/>
              <a:gd name="connsiteY0" fmla="*/ 10808 h 1099040"/>
              <a:gd name="connsiteX1" fmla="*/ 9101 w 2559842"/>
              <a:gd name="connsiteY1" fmla="*/ 11200 h 1099040"/>
              <a:gd name="connsiteX2" fmla="*/ 54667 w 2559842"/>
              <a:gd name="connsiteY2" fmla="*/ 18556 h 1099040"/>
              <a:gd name="connsiteX3" fmla="*/ 54767 w 2559842"/>
              <a:gd name="connsiteY3" fmla="*/ 56052 h 1099040"/>
              <a:gd name="connsiteX4" fmla="*/ 73817 w 2559842"/>
              <a:gd name="connsiteY4" fmla="*/ 56052 h 1099040"/>
              <a:gd name="connsiteX5" fmla="*/ 73817 w 2559842"/>
              <a:gd name="connsiteY5" fmla="*/ 63196 h 1099040"/>
              <a:gd name="connsiteX6" fmla="*/ 78579 w 2559842"/>
              <a:gd name="connsiteY6" fmla="*/ 63196 h 1099040"/>
              <a:gd name="connsiteX7" fmla="*/ 78579 w 2559842"/>
              <a:gd name="connsiteY7" fmla="*/ 77483 h 1099040"/>
              <a:gd name="connsiteX8" fmla="*/ 85723 w 2559842"/>
              <a:gd name="connsiteY8" fmla="*/ 77483 h 1099040"/>
              <a:gd name="connsiteX9" fmla="*/ 85723 w 2559842"/>
              <a:gd name="connsiteY9" fmla="*/ 91771 h 1099040"/>
              <a:gd name="connsiteX10" fmla="*/ 100011 w 2559842"/>
              <a:gd name="connsiteY10" fmla="*/ 91771 h 1099040"/>
              <a:gd name="connsiteX11" fmla="*/ 100011 w 2559842"/>
              <a:gd name="connsiteY11" fmla="*/ 103677 h 1099040"/>
              <a:gd name="connsiteX12" fmla="*/ 111917 w 2559842"/>
              <a:gd name="connsiteY12" fmla="*/ 103677 h 1099040"/>
              <a:gd name="connsiteX13" fmla="*/ 111917 w 2559842"/>
              <a:gd name="connsiteY13" fmla="*/ 120346 h 1099040"/>
              <a:gd name="connsiteX14" fmla="*/ 126204 w 2559842"/>
              <a:gd name="connsiteY14" fmla="*/ 120346 h 1099040"/>
              <a:gd name="connsiteX15" fmla="*/ 126204 w 2559842"/>
              <a:gd name="connsiteY15" fmla="*/ 129871 h 1099040"/>
              <a:gd name="connsiteX16" fmla="*/ 135729 w 2559842"/>
              <a:gd name="connsiteY16" fmla="*/ 129871 h 1099040"/>
              <a:gd name="connsiteX17" fmla="*/ 135729 w 2559842"/>
              <a:gd name="connsiteY17" fmla="*/ 153683 h 1099040"/>
              <a:gd name="connsiteX18" fmla="*/ 145254 w 2559842"/>
              <a:gd name="connsiteY18" fmla="*/ 153683 h 1099040"/>
              <a:gd name="connsiteX19" fmla="*/ 145254 w 2559842"/>
              <a:gd name="connsiteY19" fmla="*/ 189402 h 1099040"/>
              <a:gd name="connsiteX20" fmla="*/ 145254 w 2559842"/>
              <a:gd name="connsiteY20" fmla="*/ 232265 h 1099040"/>
              <a:gd name="connsiteX21" fmla="*/ 152398 w 2559842"/>
              <a:gd name="connsiteY21" fmla="*/ 232265 h 1099040"/>
              <a:gd name="connsiteX22" fmla="*/ 152398 w 2559842"/>
              <a:gd name="connsiteY22" fmla="*/ 279890 h 1099040"/>
              <a:gd name="connsiteX23" fmla="*/ 157161 w 2559842"/>
              <a:gd name="connsiteY23" fmla="*/ 279890 h 1099040"/>
              <a:gd name="connsiteX24" fmla="*/ 157161 w 2559842"/>
              <a:gd name="connsiteY24" fmla="*/ 298940 h 1099040"/>
              <a:gd name="connsiteX25" fmla="*/ 164304 w 2559842"/>
              <a:gd name="connsiteY25" fmla="*/ 298940 h 1099040"/>
              <a:gd name="connsiteX26" fmla="*/ 164304 w 2559842"/>
              <a:gd name="connsiteY26" fmla="*/ 325133 h 1099040"/>
              <a:gd name="connsiteX27" fmla="*/ 164304 w 2559842"/>
              <a:gd name="connsiteY27" fmla="*/ 327515 h 1099040"/>
              <a:gd name="connsiteX28" fmla="*/ 164304 w 2559842"/>
              <a:gd name="connsiteY28" fmla="*/ 365615 h 1099040"/>
              <a:gd name="connsiteX29" fmla="*/ 176211 w 2559842"/>
              <a:gd name="connsiteY29" fmla="*/ 365615 h 1099040"/>
              <a:gd name="connsiteX30" fmla="*/ 176211 w 2559842"/>
              <a:gd name="connsiteY30" fmla="*/ 382283 h 1099040"/>
              <a:gd name="connsiteX31" fmla="*/ 183354 w 2559842"/>
              <a:gd name="connsiteY31" fmla="*/ 382283 h 1099040"/>
              <a:gd name="connsiteX32" fmla="*/ 183354 w 2559842"/>
              <a:gd name="connsiteY32" fmla="*/ 391808 h 1099040"/>
              <a:gd name="connsiteX33" fmla="*/ 211929 w 2559842"/>
              <a:gd name="connsiteY33" fmla="*/ 391808 h 1099040"/>
              <a:gd name="connsiteX34" fmla="*/ 212450 w 2559842"/>
              <a:gd name="connsiteY34" fmla="*/ 394190 h 1099040"/>
              <a:gd name="connsiteX35" fmla="*/ 226217 w 2559842"/>
              <a:gd name="connsiteY35" fmla="*/ 394190 h 1099040"/>
              <a:gd name="connsiteX36" fmla="*/ 226217 w 2559842"/>
              <a:gd name="connsiteY36" fmla="*/ 432290 h 1099040"/>
              <a:gd name="connsiteX37" fmla="*/ 283367 w 2559842"/>
              <a:gd name="connsiteY37" fmla="*/ 432290 h 1099040"/>
              <a:gd name="connsiteX38" fmla="*/ 283367 w 2559842"/>
              <a:gd name="connsiteY38" fmla="*/ 456102 h 1099040"/>
              <a:gd name="connsiteX39" fmla="*/ 290511 w 2559842"/>
              <a:gd name="connsiteY39" fmla="*/ 456102 h 1099040"/>
              <a:gd name="connsiteX40" fmla="*/ 290511 w 2559842"/>
              <a:gd name="connsiteY40" fmla="*/ 470390 h 1099040"/>
              <a:gd name="connsiteX41" fmla="*/ 304798 w 2559842"/>
              <a:gd name="connsiteY41" fmla="*/ 470390 h 1099040"/>
              <a:gd name="connsiteX42" fmla="*/ 304798 w 2559842"/>
              <a:gd name="connsiteY42" fmla="*/ 479915 h 1099040"/>
              <a:gd name="connsiteX43" fmla="*/ 335335 w 2559842"/>
              <a:gd name="connsiteY43" fmla="*/ 479915 h 1099040"/>
              <a:gd name="connsiteX44" fmla="*/ 335754 w 2559842"/>
              <a:gd name="connsiteY44" fmla="*/ 484677 h 1099040"/>
              <a:gd name="connsiteX45" fmla="*/ 369092 w 2559842"/>
              <a:gd name="connsiteY45" fmla="*/ 484677 h 1099040"/>
              <a:gd name="connsiteX46" fmla="*/ 369092 w 2559842"/>
              <a:gd name="connsiteY46" fmla="*/ 496583 h 1099040"/>
              <a:gd name="connsiteX47" fmla="*/ 383379 w 2559842"/>
              <a:gd name="connsiteY47" fmla="*/ 496583 h 1099040"/>
              <a:gd name="connsiteX48" fmla="*/ 383379 w 2559842"/>
              <a:gd name="connsiteY48" fmla="*/ 563258 h 1099040"/>
              <a:gd name="connsiteX49" fmla="*/ 392904 w 2559842"/>
              <a:gd name="connsiteY49" fmla="*/ 563258 h 1099040"/>
              <a:gd name="connsiteX50" fmla="*/ 392904 w 2559842"/>
              <a:gd name="connsiteY50" fmla="*/ 577546 h 1099040"/>
              <a:gd name="connsiteX51" fmla="*/ 402429 w 2559842"/>
              <a:gd name="connsiteY51" fmla="*/ 577546 h 1099040"/>
              <a:gd name="connsiteX52" fmla="*/ 402429 w 2559842"/>
              <a:gd name="connsiteY52" fmla="*/ 625171 h 1099040"/>
              <a:gd name="connsiteX53" fmla="*/ 402429 w 2559842"/>
              <a:gd name="connsiteY53" fmla="*/ 625171 h 1099040"/>
              <a:gd name="connsiteX54" fmla="*/ 413182 w 2559842"/>
              <a:gd name="connsiteY54" fmla="*/ 625368 h 1099040"/>
              <a:gd name="connsiteX55" fmla="*/ 412474 w 2559842"/>
              <a:gd name="connsiteY55" fmla="*/ 637077 h 1099040"/>
              <a:gd name="connsiteX56" fmla="*/ 426242 w 2559842"/>
              <a:gd name="connsiteY56" fmla="*/ 637077 h 1099040"/>
              <a:gd name="connsiteX57" fmla="*/ 426242 w 2559842"/>
              <a:gd name="connsiteY57" fmla="*/ 658508 h 1099040"/>
              <a:gd name="connsiteX58" fmla="*/ 440529 w 2559842"/>
              <a:gd name="connsiteY58" fmla="*/ 658508 h 1099040"/>
              <a:gd name="connsiteX59" fmla="*/ 440529 w 2559842"/>
              <a:gd name="connsiteY59" fmla="*/ 670415 h 1099040"/>
              <a:gd name="connsiteX60" fmla="*/ 454817 w 2559842"/>
              <a:gd name="connsiteY60" fmla="*/ 670415 h 1099040"/>
              <a:gd name="connsiteX61" fmla="*/ 454817 w 2559842"/>
              <a:gd name="connsiteY61" fmla="*/ 677558 h 1099040"/>
              <a:gd name="connsiteX62" fmla="*/ 511447 w 2559842"/>
              <a:gd name="connsiteY62" fmla="*/ 676955 h 1099040"/>
              <a:gd name="connsiteX63" fmla="*/ 512386 w 2559842"/>
              <a:gd name="connsiteY63" fmla="*/ 684701 h 1099040"/>
              <a:gd name="connsiteX64" fmla="*/ 545304 w 2559842"/>
              <a:gd name="connsiteY64" fmla="*/ 684701 h 1099040"/>
              <a:gd name="connsiteX65" fmla="*/ 545304 w 2559842"/>
              <a:gd name="connsiteY65" fmla="*/ 698990 h 1099040"/>
              <a:gd name="connsiteX66" fmla="*/ 561973 w 2559842"/>
              <a:gd name="connsiteY66" fmla="*/ 698990 h 1099040"/>
              <a:gd name="connsiteX67" fmla="*/ 561973 w 2559842"/>
              <a:gd name="connsiteY67" fmla="*/ 713277 h 1099040"/>
              <a:gd name="connsiteX68" fmla="*/ 585786 w 2559842"/>
              <a:gd name="connsiteY68" fmla="*/ 713277 h 1099040"/>
              <a:gd name="connsiteX69" fmla="*/ 585786 w 2559842"/>
              <a:gd name="connsiteY69" fmla="*/ 718040 h 1099040"/>
              <a:gd name="connsiteX70" fmla="*/ 611979 w 2559842"/>
              <a:gd name="connsiteY70" fmla="*/ 718040 h 1099040"/>
              <a:gd name="connsiteX71" fmla="*/ 611979 w 2559842"/>
              <a:gd name="connsiteY71" fmla="*/ 727565 h 1099040"/>
              <a:gd name="connsiteX72" fmla="*/ 626267 w 2559842"/>
              <a:gd name="connsiteY72" fmla="*/ 727565 h 1099040"/>
              <a:gd name="connsiteX73" fmla="*/ 626267 w 2559842"/>
              <a:gd name="connsiteY73" fmla="*/ 739471 h 1099040"/>
              <a:gd name="connsiteX74" fmla="*/ 647698 w 2559842"/>
              <a:gd name="connsiteY74" fmla="*/ 739471 h 1099040"/>
              <a:gd name="connsiteX75" fmla="*/ 647698 w 2559842"/>
              <a:gd name="connsiteY75" fmla="*/ 751377 h 1099040"/>
              <a:gd name="connsiteX76" fmla="*/ 666748 w 2559842"/>
              <a:gd name="connsiteY76" fmla="*/ 751377 h 1099040"/>
              <a:gd name="connsiteX77" fmla="*/ 666748 w 2559842"/>
              <a:gd name="connsiteY77" fmla="*/ 765665 h 1099040"/>
              <a:gd name="connsiteX78" fmla="*/ 671511 w 2559842"/>
              <a:gd name="connsiteY78" fmla="*/ 765665 h 1099040"/>
              <a:gd name="connsiteX79" fmla="*/ 671511 w 2559842"/>
              <a:gd name="connsiteY79" fmla="*/ 770427 h 1099040"/>
              <a:gd name="connsiteX80" fmla="*/ 783429 w 2559842"/>
              <a:gd name="connsiteY80" fmla="*/ 770427 h 1099040"/>
              <a:gd name="connsiteX81" fmla="*/ 783429 w 2559842"/>
              <a:gd name="connsiteY81" fmla="*/ 779952 h 1099040"/>
              <a:gd name="connsiteX82" fmla="*/ 831054 w 2559842"/>
              <a:gd name="connsiteY82" fmla="*/ 779952 h 1099040"/>
              <a:gd name="connsiteX83" fmla="*/ 831054 w 2559842"/>
              <a:gd name="connsiteY83" fmla="*/ 799002 h 1099040"/>
              <a:gd name="connsiteX84" fmla="*/ 881061 w 2559842"/>
              <a:gd name="connsiteY84" fmla="*/ 799002 h 1099040"/>
              <a:gd name="connsiteX85" fmla="*/ 884163 w 2559842"/>
              <a:gd name="connsiteY85" fmla="*/ 799002 h 1099040"/>
              <a:gd name="connsiteX86" fmla="*/ 884483 w 2559842"/>
              <a:gd name="connsiteY86" fmla="*/ 822179 h 1099040"/>
              <a:gd name="connsiteX87" fmla="*/ 945354 w 2559842"/>
              <a:gd name="connsiteY87" fmla="*/ 820433 h 1099040"/>
              <a:gd name="connsiteX88" fmla="*/ 945354 w 2559842"/>
              <a:gd name="connsiteY88" fmla="*/ 849008 h 1099040"/>
              <a:gd name="connsiteX89" fmla="*/ 1181098 w 2559842"/>
              <a:gd name="connsiteY89" fmla="*/ 849008 h 1099040"/>
              <a:gd name="connsiteX90" fmla="*/ 1181098 w 2559842"/>
              <a:gd name="connsiteY90" fmla="*/ 870440 h 1099040"/>
              <a:gd name="connsiteX91" fmla="*/ 1364454 w 2559842"/>
              <a:gd name="connsiteY91" fmla="*/ 870440 h 1099040"/>
              <a:gd name="connsiteX92" fmla="*/ 1364454 w 2559842"/>
              <a:gd name="connsiteY92" fmla="*/ 887108 h 1099040"/>
              <a:gd name="connsiteX93" fmla="*/ 1454942 w 2559842"/>
              <a:gd name="connsiteY93" fmla="*/ 887108 h 1099040"/>
              <a:gd name="connsiteX94" fmla="*/ 1454942 w 2559842"/>
              <a:gd name="connsiteY94" fmla="*/ 908540 h 1099040"/>
              <a:gd name="connsiteX95" fmla="*/ 1728786 w 2559842"/>
              <a:gd name="connsiteY95" fmla="*/ 908540 h 1099040"/>
              <a:gd name="connsiteX96" fmla="*/ 1728786 w 2559842"/>
              <a:gd name="connsiteY96" fmla="*/ 932352 h 1099040"/>
              <a:gd name="connsiteX97" fmla="*/ 1816892 w 2559842"/>
              <a:gd name="connsiteY97" fmla="*/ 932352 h 1099040"/>
              <a:gd name="connsiteX98" fmla="*/ 1816892 w 2559842"/>
              <a:gd name="connsiteY98" fmla="*/ 965690 h 1099040"/>
              <a:gd name="connsiteX99" fmla="*/ 2057398 w 2559842"/>
              <a:gd name="connsiteY99" fmla="*/ 965690 h 1099040"/>
              <a:gd name="connsiteX100" fmla="*/ 2057398 w 2559842"/>
              <a:gd name="connsiteY100" fmla="*/ 1001408 h 1099040"/>
              <a:gd name="connsiteX101" fmla="*/ 2102642 w 2559842"/>
              <a:gd name="connsiteY101" fmla="*/ 1001408 h 1099040"/>
              <a:gd name="connsiteX102" fmla="*/ 2102642 w 2559842"/>
              <a:gd name="connsiteY102" fmla="*/ 1032365 h 1099040"/>
              <a:gd name="connsiteX103" fmla="*/ 2288379 w 2559842"/>
              <a:gd name="connsiteY103" fmla="*/ 1032365 h 1099040"/>
              <a:gd name="connsiteX104" fmla="*/ 2288379 w 2559842"/>
              <a:gd name="connsiteY104" fmla="*/ 1099040 h 1099040"/>
              <a:gd name="connsiteX105" fmla="*/ 2559842 w 2559842"/>
              <a:gd name="connsiteY105" fmla="*/ 1099040 h 1099040"/>
              <a:gd name="connsiteX0" fmla="*/ 0 w 2559842"/>
              <a:gd name="connsiteY0" fmla="*/ 10808 h 1099040"/>
              <a:gd name="connsiteX1" fmla="*/ 9101 w 2559842"/>
              <a:gd name="connsiteY1" fmla="*/ 11200 h 1099040"/>
              <a:gd name="connsiteX2" fmla="*/ 54667 w 2559842"/>
              <a:gd name="connsiteY2" fmla="*/ 18556 h 1099040"/>
              <a:gd name="connsiteX3" fmla="*/ 54767 w 2559842"/>
              <a:gd name="connsiteY3" fmla="*/ 56052 h 1099040"/>
              <a:gd name="connsiteX4" fmla="*/ 73817 w 2559842"/>
              <a:gd name="connsiteY4" fmla="*/ 56052 h 1099040"/>
              <a:gd name="connsiteX5" fmla="*/ 73817 w 2559842"/>
              <a:gd name="connsiteY5" fmla="*/ 63196 h 1099040"/>
              <a:gd name="connsiteX6" fmla="*/ 78579 w 2559842"/>
              <a:gd name="connsiteY6" fmla="*/ 63196 h 1099040"/>
              <a:gd name="connsiteX7" fmla="*/ 78579 w 2559842"/>
              <a:gd name="connsiteY7" fmla="*/ 77483 h 1099040"/>
              <a:gd name="connsiteX8" fmla="*/ 85723 w 2559842"/>
              <a:gd name="connsiteY8" fmla="*/ 77483 h 1099040"/>
              <a:gd name="connsiteX9" fmla="*/ 85723 w 2559842"/>
              <a:gd name="connsiteY9" fmla="*/ 91771 h 1099040"/>
              <a:gd name="connsiteX10" fmla="*/ 100011 w 2559842"/>
              <a:gd name="connsiteY10" fmla="*/ 91771 h 1099040"/>
              <a:gd name="connsiteX11" fmla="*/ 100011 w 2559842"/>
              <a:gd name="connsiteY11" fmla="*/ 103677 h 1099040"/>
              <a:gd name="connsiteX12" fmla="*/ 111917 w 2559842"/>
              <a:gd name="connsiteY12" fmla="*/ 103677 h 1099040"/>
              <a:gd name="connsiteX13" fmla="*/ 111917 w 2559842"/>
              <a:gd name="connsiteY13" fmla="*/ 120346 h 1099040"/>
              <a:gd name="connsiteX14" fmla="*/ 126204 w 2559842"/>
              <a:gd name="connsiteY14" fmla="*/ 120346 h 1099040"/>
              <a:gd name="connsiteX15" fmla="*/ 126204 w 2559842"/>
              <a:gd name="connsiteY15" fmla="*/ 129871 h 1099040"/>
              <a:gd name="connsiteX16" fmla="*/ 135729 w 2559842"/>
              <a:gd name="connsiteY16" fmla="*/ 129871 h 1099040"/>
              <a:gd name="connsiteX17" fmla="*/ 135729 w 2559842"/>
              <a:gd name="connsiteY17" fmla="*/ 153683 h 1099040"/>
              <a:gd name="connsiteX18" fmla="*/ 145254 w 2559842"/>
              <a:gd name="connsiteY18" fmla="*/ 153683 h 1099040"/>
              <a:gd name="connsiteX19" fmla="*/ 145254 w 2559842"/>
              <a:gd name="connsiteY19" fmla="*/ 189402 h 1099040"/>
              <a:gd name="connsiteX20" fmla="*/ 145254 w 2559842"/>
              <a:gd name="connsiteY20" fmla="*/ 232265 h 1099040"/>
              <a:gd name="connsiteX21" fmla="*/ 152398 w 2559842"/>
              <a:gd name="connsiteY21" fmla="*/ 232265 h 1099040"/>
              <a:gd name="connsiteX22" fmla="*/ 152398 w 2559842"/>
              <a:gd name="connsiteY22" fmla="*/ 279890 h 1099040"/>
              <a:gd name="connsiteX23" fmla="*/ 157161 w 2559842"/>
              <a:gd name="connsiteY23" fmla="*/ 279890 h 1099040"/>
              <a:gd name="connsiteX24" fmla="*/ 157161 w 2559842"/>
              <a:gd name="connsiteY24" fmla="*/ 298940 h 1099040"/>
              <a:gd name="connsiteX25" fmla="*/ 164304 w 2559842"/>
              <a:gd name="connsiteY25" fmla="*/ 298940 h 1099040"/>
              <a:gd name="connsiteX26" fmla="*/ 164304 w 2559842"/>
              <a:gd name="connsiteY26" fmla="*/ 325133 h 1099040"/>
              <a:gd name="connsiteX27" fmla="*/ 164304 w 2559842"/>
              <a:gd name="connsiteY27" fmla="*/ 327515 h 1099040"/>
              <a:gd name="connsiteX28" fmla="*/ 164304 w 2559842"/>
              <a:gd name="connsiteY28" fmla="*/ 365615 h 1099040"/>
              <a:gd name="connsiteX29" fmla="*/ 176211 w 2559842"/>
              <a:gd name="connsiteY29" fmla="*/ 365615 h 1099040"/>
              <a:gd name="connsiteX30" fmla="*/ 176211 w 2559842"/>
              <a:gd name="connsiteY30" fmla="*/ 382283 h 1099040"/>
              <a:gd name="connsiteX31" fmla="*/ 183354 w 2559842"/>
              <a:gd name="connsiteY31" fmla="*/ 382283 h 1099040"/>
              <a:gd name="connsiteX32" fmla="*/ 183354 w 2559842"/>
              <a:gd name="connsiteY32" fmla="*/ 391808 h 1099040"/>
              <a:gd name="connsiteX33" fmla="*/ 211929 w 2559842"/>
              <a:gd name="connsiteY33" fmla="*/ 391808 h 1099040"/>
              <a:gd name="connsiteX34" fmla="*/ 212450 w 2559842"/>
              <a:gd name="connsiteY34" fmla="*/ 394190 h 1099040"/>
              <a:gd name="connsiteX35" fmla="*/ 226217 w 2559842"/>
              <a:gd name="connsiteY35" fmla="*/ 394190 h 1099040"/>
              <a:gd name="connsiteX36" fmla="*/ 226217 w 2559842"/>
              <a:gd name="connsiteY36" fmla="*/ 432290 h 1099040"/>
              <a:gd name="connsiteX37" fmla="*/ 283367 w 2559842"/>
              <a:gd name="connsiteY37" fmla="*/ 432290 h 1099040"/>
              <a:gd name="connsiteX38" fmla="*/ 283367 w 2559842"/>
              <a:gd name="connsiteY38" fmla="*/ 456102 h 1099040"/>
              <a:gd name="connsiteX39" fmla="*/ 290511 w 2559842"/>
              <a:gd name="connsiteY39" fmla="*/ 456102 h 1099040"/>
              <a:gd name="connsiteX40" fmla="*/ 290511 w 2559842"/>
              <a:gd name="connsiteY40" fmla="*/ 470390 h 1099040"/>
              <a:gd name="connsiteX41" fmla="*/ 304798 w 2559842"/>
              <a:gd name="connsiteY41" fmla="*/ 470390 h 1099040"/>
              <a:gd name="connsiteX42" fmla="*/ 304798 w 2559842"/>
              <a:gd name="connsiteY42" fmla="*/ 479915 h 1099040"/>
              <a:gd name="connsiteX43" fmla="*/ 335335 w 2559842"/>
              <a:gd name="connsiteY43" fmla="*/ 479915 h 1099040"/>
              <a:gd name="connsiteX44" fmla="*/ 335754 w 2559842"/>
              <a:gd name="connsiteY44" fmla="*/ 484677 h 1099040"/>
              <a:gd name="connsiteX45" fmla="*/ 369092 w 2559842"/>
              <a:gd name="connsiteY45" fmla="*/ 484677 h 1099040"/>
              <a:gd name="connsiteX46" fmla="*/ 369092 w 2559842"/>
              <a:gd name="connsiteY46" fmla="*/ 496583 h 1099040"/>
              <a:gd name="connsiteX47" fmla="*/ 383379 w 2559842"/>
              <a:gd name="connsiteY47" fmla="*/ 496583 h 1099040"/>
              <a:gd name="connsiteX48" fmla="*/ 383379 w 2559842"/>
              <a:gd name="connsiteY48" fmla="*/ 563258 h 1099040"/>
              <a:gd name="connsiteX49" fmla="*/ 392904 w 2559842"/>
              <a:gd name="connsiteY49" fmla="*/ 563258 h 1099040"/>
              <a:gd name="connsiteX50" fmla="*/ 392904 w 2559842"/>
              <a:gd name="connsiteY50" fmla="*/ 577546 h 1099040"/>
              <a:gd name="connsiteX51" fmla="*/ 402429 w 2559842"/>
              <a:gd name="connsiteY51" fmla="*/ 577546 h 1099040"/>
              <a:gd name="connsiteX52" fmla="*/ 402429 w 2559842"/>
              <a:gd name="connsiteY52" fmla="*/ 625171 h 1099040"/>
              <a:gd name="connsiteX53" fmla="*/ 402429 w 2559842"/>
              <a:gd name="connsiteY53" fmla="*/ 625171 h 1099040"/>
              <a:gd name="connsiteX54" fmla="*/ 413182 w 2559842"/>
              <a:gd name="connsiteY54" fmla="*/ 625368 h 1099040"/>
              <a:gd name="connsiteX55" fmla="*/ 412474 w 2559842"/>
              <a:gd name="connsiteY55" fmla="*/ 637077 h 1099040"/>
              <a:gd name="connsiteX56" fmla="*/ 426242 w 2559842"/>
              <a:gd name="connsiteY56" fmla="*/ 637077 h 1099040"/>
              <a:gd name="connsiteX57" fmla="*/ 426242 w 2559842"/>
              <a:gd name="connsiteY57" fmla="*/ 658508 h 1099040"/>
              <a:gd name="connsiteX58" fmla="*/ 440529 w 2559842"/>
              <a:gd name="connsiteY58" fmla="*/ 658508 h 1099040"/>
              <a:gd name="connsiteX59" fmla="*/ 440529 w 2559842"/>
              <a:gd name="connsiteY59" fmla="*/ 670415 h 1099040"/>
              <a:gd name="connsiteX60" fmla="*/ 454817 w 2559842"/>
              <a:gd name="connsiteY60" fmla="*/ 670415 h 1099040"/>
              <a:gd name="connsiteX61" fmla="*/ 454817 w 2559842"/>
              <a:gd name="connsiteY61" fmla="*/ 677558 h 1099040"/>
              <a:gd name="connsiteX62" fmla="*/ 511447 w 2559842"/>
              <a:gd name="connsiteY62" fmla="*/ 676955 h 1099040"/>
              <a:gd name="connsiteX63" fmla="*/ 512386 w 2559842"/>
              <a:gd name="connsiteY63" fmla="*/ 684701 h 1099040"/>
              <a:gd name="connsiteX64" fmla="*/ 545304 w 2559842"/>
              <a:gd name="connsiteY64" fmla="*/ 684701 h 1099040"/>
              <a:gd name="connsiteX65" fmla="*/ 545304 w 2559842"/>
              <a:gd name="connsiteY65" fmla="*/ 698990 h 1099040"/>
              <a:gd name="connsiteX66" fmla="*/ 561973 w 2559842"/>
              <a:gd name="connsiteY66" fmla="*/ 698990 h 1099040"/>
              <a:gd name="connsiteX67" fmla="*/ 561973 w 2559842"/>
              <a:gd name="connsiteY67" fmla="*/ 713277 h 1099040"/>
              <a:gd name="connsiteX68" fmla="*/ 585786 w 2559842"/>
              <a:gd name="connsiteY68" fmla="*/ 713277 h 1099040"/>
              <a:gd name="connsiteX69" fmla="*/ 585786 w 2559842"/>
              <a:gd name="connsiteY69" fmla="*/ 718040 h 1099040"/>
              <a:gd name="connsiteX70" fmla="*/ 611979 w 2559842"/>
              <a:gd name="connsiteY70" fmla="*/ 718040 h 1099040"/>
              <a:gd name="connsiteX71" fmla="*/ 611979 w 2559842"/>
              <a:gd name="connsiteY71" fmla="*/ 727565 h 1099040"/>
              <a:gd name="connsiteX72" fmla="*/ 626267 w 2559842"/>
              <a:gd name="connsiteY72" fmla="*/ 727565 h 1099040"/>
              <a:gd name="connsiteX73" fmla="*/ 626267 w 2559842"/>
              <a:gd name="connsiteY73" fmla="*/ 739471 h 1099040"/>
              <a:gd name="connsiteX74" fmla="*/ 647698 w 2559842"/>
              <a:gd name="connsiteY74" fmla="*/ 739471 h 1099040"/>
              <a:gd name="connsiteX75" fmla="*/ 647698 w 2559842"/>
              <a:gd name="connsiteY75" fmla="*/ 751377 h 1099040"/>
              <a:gd name="connsiteX76" fmla="*/ 666748 w 2559842"/>
              <a:gd name="connsiteY76" fmla="*/ 751377 h 1099040"/>
              <a:gd name="connsiteX77" fmla="*/ 666748 w 2559842"/>
              <a:gd name="connsiteY77" fmla="*/ 765665 h 1099040"/>
              <a:gd name="connsiteX78" fmla="*/ 671511 w 2559842"/>
              <a:gd name="connsiteY78" fmla="*/ 765665 h 1099040"/>
              <a:gd name="connsiteX79" fmla="*/ 671511 w 2559842"/>
              <a:gd name="connsiteY79" fmla="*/ 770427 h 1099040"/>
              <a:gd name="connsiteX80" fmla="*/ 783429 w 2559842"/>
              <a:gd name="connsiteY80" fmla="*/ 770427 h 1099040"/>
              <a:gd name="connsiteX81" fmla="*/ 783429 w 2559842"/>
              <a:gd name="connsiteY81" fmla="*/ 779952 h 1099040"/>
              <a:gd name="connsiteX82" fmla="*/ 831054 w 2559842"/>
              <a:gd name="connsiteY82" fmla="*/ 779952 h 1099040"/>
              <a:gd name="connsiteX83" fmla="*/ 831054 w 2559842"/>
              <a:gd name="connsiteY83" fmla="*/ 799002 h 1099040"/>
              <a:gd name="connsiteX84" fmla="*/ 881061 w 2559842"/>
              <a:gd name="connsiteY84" fmla="*/ 799002 h 1099040"/>
              <a:gd name="connsiteX85" fmla="*/ 884163 w 2559842"/>
              <a:gd name="connsiteY85" fmla="*/ 799002 h 1099040"/>
              <a:gd name="connsiteX86" fmla="*/ 884483 w 2559842"/>
              <a:gd name="connsiteY86" fmla="*/ 822179 h 1099040"/>
              <a:gd name="connsiteX87" fmla="*/ 945354 w 2559842"/>
              <a:gd name="connsiteY87" fmla="*/ 820433 h 1099040"/>
              <a:gd name="connsiteX88" fmla="*/ 945354 w 2559842"/>
              <a:gd name="connsiteY88" fmla="*/ 849008 h 1099040"/>
              <a:gd name="connsiteX89" fmla="*/ 1181098 w 2559842"/>
              <a:gd name="connsiteY89" fmla="*/ 849008 h 1099040"/>
              <a:gd name="connsiteX90" fmla="*/ 1181098 w 2559842"/>
              <a:gd name="connsiteY90" fmla="*/ 870440 h 1099040"/>
              <a:gd name="connsiteX91" fmla="*/ 1364454 w 2559842"/>
              <a:gd name="connsiteY91" fmla="*/ 870440 h 1099040"/>
              <a:gd name="connsiteX92" fmla="*/ 1364454 w 2559842"/>
              <a:gd name="connsiteY92" fmla="*/ 887108 h 1099040"/>
              <a:gd name="connsiteX93" fmla="*/ 1454942 w 2559842"/>
              <a:gd name="connsiteY93" fmla="*/ 887108 h 1099040"/>
              <a:gd name="connsiteX94" fmla="*/ 1454942 w 2559842"/>
              <a:gd name="connsiteY94" fmla="*/ 908540 h 1099040"/>
              <a:gd name="connsiteX95" fmla="*/ 1728786 w 2559842"/>
              <a:gd name="connsiteY95" fmla="*/ 908540 h 1099040"/>
              <a:gd name="connsiteX96" fmla="*/ 1728786 w 2559842"/>
              <a:gd name="connsiteY96" fmla="*/ 932352 h 1099040"/>
              <a:gd name="connsiteX97" fmla="*/ 1816892 w 2559842"/>
              <a:gd name="connsiteY97" fmla="*/ 932352 h 1099040"/>
              <a:gd name="connsiteX98" fmla="*/ 1816892 w 2559842"/>
              <a:gd name="connsiteY98" fmla="*/ 965690 h 1099040"/>
              <a:gd name="connsiteX99" fmla="*/ 2057398 w 2559842"/>
              <a:gd name="connsiteY99" fmla="*/ 965690 h 1099040"/>
              <a:gd name="connsiteX100" fmla="*/ 2057398 w 2559842"/>
              <a:gd name="connsiteY100" fmla="*/ 1001408 h 1099040"/>
              <a:gd name="connsiteX101" fmla="*/ 2102642 w 2559842"/>
              <a:gd name="connsiteY101" fmla="*/ 1001408 h 1099040"/>
              <a:gd name="connsiteX102" fmla="*/ 2102642 w 2559842"/>
              <a:gd name="connsiteY102" fmla="*/ 1032365 h 1099040"/>
              <a:gd name="connsiteX103" fmla="*/ 2288379 w 2559842"/>
              <a:gd name="connsiteY103" fmla="*/ 1032365 h 1099040"/>
              <a:gd name="connsiteX104" fmla="*/ 2288379 w 2559842"/>
              <a:gd name="connsiteY104" fmla="*/ 1099040 h 1099040"/>
              <a:gd name="connsiteX105" fmla="*/ 2559842 w 2559842"/>
              <a:gd name="connsiteY105" fmla="*/ 1099040 h 1099040"/>
              <a:gd name="connsiteX0" fmla="*/ 0 w 2559842"/>
              <a:gd name="connsiteY0" fmla="*/ 5855 h 1094087"/>
              <a:gd name="connsiteX1" fmla="*/ 10342 w 2559842"/>
              <a:gd name="connsiteY1" fmla="*/ 13487 h 1094087"/>
              <a:gd name="connsiteX2" fmla="*/ 54667 w 2559842"/>
              <a:gd name="connsiteY2" fmla="*/ 13603 h 1094087"/>
              <a:gd name="connsiteX3" fmla="*/ 54767 w 2559842"/>
              <a:gd name="connsiteY3" fmla="*/ 51099 h 1094087"/>
              <a:gd name="connsiteX4" fmla="*/ 73817 w 2559842"/>
              <a:gd name="connsiteY4" fmla="*/ 51099 h 1094087"/>
              <a:gd name="connsiteX5" fmla="*/ 73817 w 2559842"/>
              <a:gd name="connsiteY5" fmla="*/ 58243 h 1094087"/>
              <a:gd name="connsiteX6" fmla="*/ 78579 w 2559842"/>
              <a:gd name="connsiteY6" fmla="*/ 58243 h 1094087"/>
              <a:gd name="connsiteX7" fmla="*/ 78579 w 2559842"/>
              <a:gd name="connsiteY7" fmla="*/ 72530 h 1094087"/>
              <a:gd name="connsiteX8" fmla="*/ 85723 w 2559842"/>
              <a:gd name="connsiteY8" fmla="*/ 72530 h 1094087"/>
              <a:gd name="connsiteX9" fmla="*/ 85723 w 2559842"/>
              <a:gd name="connsiteY9" fmla="*/ 86818 h 1094087"/>
              <a:gd name="connsiteX10" fmla="*/ 100011 w 2559842"/>
              <a:gd name="connsiteY10" fmla="*/ 86818 h 1094087"/>
              <a:gd name="connsiteX11" fmla="*/ 100011 w 2559842"/>
              <a:gd name="connsiteY11" fmla="*/ 98724 h 1094087"/>
              <a:gd name="connsiteX12" fmla="*/ 111917 w 2559842"/>
              <a:gd name="connsiteY12" fmla="*/ 98724 h 1094087"/>
              <a:gd name="connsiteX13" fmla="*/ 111917 w 2559842"/>
              <a:gd name="connsiteY13" fmla="*/ 115393 h 1094087"/>
              <a:gd name="connsiteX14" fmla="*/ 126204 w 2559842"/>
              <a:gd name="connsiteY14" fmla="*/ 115393 h 1094087"/>
              <a:gd name="connsiteX15" fmla="*/ 126204 w 2559842"/>
              <a:gd name="connsiteY15" fmla="*/ 124918 h 1094087"/>
              <a:gd name="connsiteX16" fmla="*/ 135729 w 2559842"/>
              <a:gd name="connsiteY16" fmla="*/ 124918 h 1094087"/>
              <a:gd name="connsiteX17" fmla="*/ 135729 w 2559842"/>
              <a:gd name="connsiteY17" fmla="*/ 148730 h 1094087"/>
              <a:gd name="connsiteX18" fmla="*/ 145254 w 2559842"/>
              <a:gd name="connsiteY18" fmla="*/ 148730 h 1094087"/>
              <a:gd name="connsiteX19" fmla="*/ 145254 w 2559842"/>
              <a:gd name="connsiteY19" fmla="*/ 184449 h 1094087"/>
              <a:gd name="connsiteX20" fmla="*/ 145254 w 2559842"/>
              <a:gd name="connsiteY20" fmla="*/ 227312 h 1094087"/>
              <a:gd name="connsiteX21" fmla="*/ 152398 w 2559842"/>
              <a:gd name="connsiteY21" fmla="*/ 227312 h 1094087"/>
              <a:gd name="connsiteX22" fmla="*/ 152398 w 2559842"/>
              <a:gd name="connsiteY22" fmla="*/ 274937 h 1094087"/>
              <a:gd name="connsiteX23" fmla="*/ 157161 w 2559842"/>
              <a:gd name="connsiteY23" fmla="*/ 274937 h 1094087"/>
              <a:gd name="connsiteX24" fmla="*/ 157161 w 2559842"/>
              <a:gd name="connsiteY24" fmla="*/ 293987 h 1094087"/>
              <a:gd name="connsiteX25" fmla="*/ 164304 w 2559842"/>
              <a:gd name="connsiteY25" fmla="*/ 293987 h 1094087"/>
              <a:gd name="connsiteX26" fmla="*/ 164304 w 2559842"/>
              <a:gd name="connsiteY26" fmla="*/ 320180 h 1094087"/>
              <a:gd name="connsiteX27" fmla="*/ 164304 w 2559842"/>
              <a:gd name="connsiteY27" fmla="*/ 322562 h 1094087"/>
              <a:gd name="connsiteX28" fmla="*/ 164304 w 2559842"/>
              <a:gd name="connsiteY28" fmla="*/ 360662 h 1094087"/>
              <a:gd name="connsiteX29" fmla="*/ 176211 w 2559842"/>
              <a:gd name="connsiteY29" fmla="*/ 360662 h 1094087"/>
              <a:gd name="connsiteX30" fmla="*/ 176211 w 2559842"/>
              <a:gd name="connsiteY30" fmla="*/ 377330 h 1094087"/>
              <a:gd name="connsiteX31" fmla="*/ 183354 w 2559842"/>
              <a:gd name="connsiteY31" fmla="*/ 377330 h 1094087"/>
              <a:gd name="connsiteX32" fmla="*/ 183354 w 2559842"/>
              <a:gd name="connsiteY32" fmla="*/ 386855 h 1094087"/>
              <a:gd name="connsiteX33" fmla="*/ 211929 w 2559842"/>
              <a:gd name="connsiteY33" fmla="*/ 386855 h 1094087"/>
              <a:gd name="connsiteX34" fmla="*/ 212450 w 2559842"/>
              <a:gd name="connsiteY34" fmla="*/ 389237 h 1094087"/>
              <a:gd name="connsiteX35" fmla="*/ 226217 w 2559842"/>
              <a:gd name="connsiteY35" fmla="*/ 389237 h 1094087"/>
              <a:gd name="connsiteX36" fmla="*/ 226217 w 2559842"/>
              <a:gd name="connsiteY36" fmla="*/ 427337 h 1094087"/>
              <a:gd name="connsiteX37" fmla="*/ 283367 w 2559842"/>
              <a:gd name="connsiteY37" fmla="*/ 427337 h 1094087"/>
              <a:gd name="connsiteX38" fmla="*/ 283367 w 2559842"/>
              <a:gd name="connsiteY38" fmla="*/ 451149 h 1094087"/>
              <a:gd name="connsiteX39" fmla="*/ 290511 w 2559842"/>
              <a:gd name="connsiteY39" fmla="*/ 451149 h 1094087"/>
              <a:gd name="connsiteX40" fmla="*/ 290511 w 2559842"/>
              <a:gd name="connsiteY40" fmla="*/ 465437 h 1094087"/>
              <a:gd name="connsiteX41" fmla="*/ 304798 w 2559842"/>
              <a:gd name="connsiteY41" fmla="*/ 465437 h 1094087"/>
              <a:gd name="connsiteX42" fmla="*/ 304798 w 2559842"/>
              <a:gd name="connsiteY42" fmla="*/ 474962 h 1094087"/>
              <a:gd name="connsiteX43" fmla="*/ 335335 w 2559842"/>
              <a:gd name="connsiteY43" fmla="*/ 474962 h 1094087"/>
              <a:gd name="connsiteX44" fmla="*/ 335754 w 2559842"/>
              <a:gd name="connsiteY44" fmla="*/ 479724 h 1094087"/>
              <a:gd name="connsiteX45" fmla="*/ 369092 w 2559842"/>
              <a:gd name="connsiteY45" fmla="*/ 479724 h 1094087"/>
              <a:gd name="connsiteX46" fmla="*/ 369092 w 2559842"/>
              <a:gd name="connsiteY46" fmla="*/ 491630 h 1094087"/>
              <a:gd name="connsiteX47" fmla="*/ 383379 w 2559842"/>
              <a:gd name="connsiteY47" fmla="*/ 491630 h 1094087"/>
              <a:gd name="connsiteX48" fmla="*/ 383379 w 2559842"/>
              <a:gd name="connsiteY48" fmla="*/ 558305 h 1094087"/>
              <a:gd name="connsiteX49" fmla="*/ 392904 w 2559842"/>
              <a:gd name="connsiteY49" fmla="*/ 558305 h 1094087"/>
              <a:gd name="connsiteX50" fmla="*/ 392904 w 2559842"/>
              <a:gd name="connsiteY50" fmla="*/ 572593 h 1094087"/>
              <a:gd name="connsiteX51" fmla="*/ 402429 w 2559842"/>
              <a:gd name="connsiteY51" fmla="*/ 572593 h 1094087"/>
              <a:gd name="connsiteX52" fmla="*/ 402429 w 2559842"/>
              <a:gd name="connsiteY52" fmla="*/ 620218 h 1094087"/>
              <a:gd name="connsiteX53" fmla="*/ 402429 w 2559842"/>
              <a:gd name="connsiteY53" fmla="*/ 620218 h 1094087"/>
              <a:gd name="connsiteX54" fmla="*/ 413182 w 2559842"/>
              <a:gd name="connsiteY54" fmla="*/ 620415 h 1094087"/>
              <a:gd name="connsiteX55" fmla="*/ 412474 w 2559842"/>
              <a:gd name="connsiteY55" fmla="*/ 632124 h 1094087"/>
              <a:gd name="connsiteX56" fmla="*/ 426242 w 2559842"/>
              <a:gd name="connsiteY56" fmla="*/ 632124 h 1094087"/>
              <a:gd name="connsiteX57" fmla="*/ 426242 w 2559842"/>
              <a:gd name="connsiteY57" fmla="*/ 653555 h 1094087"/>
              <a:gd name="connsiteX58" fmla="*/ 440529 w 2559842"/>
              <a:gd name="connsiteY58" fmla="*/ 653555 h 1094087"/>
              <a:gd name="connsiteX59" fmla="*/ 440529 w 2559842"/>
              <a:gd name="connsiteY59" fmla="*/ 665462 h 1094087"/>
              <a:gd name="connsiteX60" fmla="*/ 454817 w 2559842"/>
              <a:gd name="connsiteY60" fmla="*/ 665462 h 1094087"/>
              <a:gd name="connsiteX61" fmla="*/ 454817 w 2559842"/>
              <a:gd name="connsiteY61" fmla="*/ 672605 h 1094087"/>
              <a:gd name="connsiteX62" fmla="*/ 511447 w 2559842"/>
              <a:gd name="connsiteY62" fmla="*/ 672002 h 1094087"/>
              <a:gd name="connsiteX63" fmla="*/ 512386 w 2559842"/>
              <a:gd name="connsiteY63" fmla="*/ 679748 h 1094087"/>
              <a:gd name="connsiteX64" fmla="*/ 545304 w 2559842"/>
              <a:gd name="connsiteY64" fmla="*/ 679748 h 1094087"/>
              <a:gd name="connsiteX65" fmla="*/ 545304 w 2559842"/>
              <a:gd name="connsiteY65" fmla="*/ 694037 h 1094087"/>
              <a:gd name="connsiteX66" fmla="*/ 561973 w 2559842"/>
              <a:gd name="connsiteY66" fmla="*/ 694037 h 1094087"/>
              <a:gd name="connsiteX67" fmla="*/ 561973 w 2559842"/>
              <a:gd name="connsiteY67" fmla="*/ 708324 h 1094087"/>
              <a:gd name="connsiteX68" fmla="*/ 585786 w 2559842"/>
              <a:gd name="connsiteY68" fmla="*/ 708324 h 1094087"/>
              <a:gd name="connsiteX69" fmla="*/ 585786 w 2559842"/>
              <a:gd name="connsiteY69" fmla="*/ 713087 h 1094087"/>
              <a:gd name="connsiteX70" fmla="*/ 611979 w 2559842"/>
              <a:gd name="connsiteY70" fmla="*/ 713087 h 1094087"/>
              <a:gd name="connsiteX71" fmla="*/ 611979 w 2559842"/>
              <a:gd name="connsiteY71" fmla="*/ 722612 h 1094087"/>
              <a:gd name="connsiteX72" fmla="*/ 626267 w 2559842"/>
              <a:gd name="connsiteY72" fmla="*/ 722612 h 1094087"/>
              <a:gd name="connsiteX73" fmla="*/ 626267 w 2559842"/>
              <a:gd name="connsiteY73" fmla="*/ 734518 h 1094087"/>
              <a:gd name="connsiteX74" fmla="*/ 647698 w 2559842"/>
              <a:gd name="connsiteY74" fmla="*/ 734518 h 1094087"/>
              <a:gd name="connsiteX75" fmla="*/ 647698 w 2559842"/>
              <a:gd name="connsiteY75" fmla="*/ 746424 h 1094087"/>
              <a:gd name="connsiteX76" fmla="*/ 666748 w 2559842"/>
              <a:gd name="connsiteY76" fmla="*/ 746424 h 1094087"/>
              <a:gd name="connsiteX77" fmla="*/ 666748 w 2559842"/>
              <a:gd name="connsiteY77" fmla="*/ 760712 h 1094087"/>
              <a:gd name="connsiteX78" fmla="*/ 671511 w 2559842"/>
              <a:gd name="connsiteY78" fmla="*/ 760712 h 1094087"/>
              <a:gd name="connsiteX79" fmla="*/ 671511 w 2559842"/>
              <a:gd name="connsiteY79" fmla="*/ 765474 h 1094087"/>
              <a:gd name="connsiteX80" fmla="*/ 783429 w 2559842"/>
              <a:gd name="connsiteY80" fmla="*/ 765474 h 1094087"/>
              <a:gd name="connsiteX81" fmla="*/ 783429 w 2559842"/>
              <a:gd name="connsiteY81" fmla="*/ 774999 h 1094087"/>
              <a:gd name="connsiteX82" fmla="*/ 831054 w 2559842"/>
              <a:gd name="connsiteY82" fmla="*/ 774999 h 1094087"/>
              <a:gd name="connsiteX83" fmla="*/ 831054 w 2559842"/>
              <a:gd name="connsiteY83" fmla="*/ 794049 h 1094087"/>
              <a:gd name="connsiteX84" fmla="*/ 881061 w 2559842"/>
              <a:gd name="connsiteY84" fmla="*/ 794049 h 1094087"/>
              <a:gd name="connsiteX85" fmla="*/ 884163 w 2559842"/>
              <a:gd name="connsiteY85" fmla="*/ 794049 h 1094087"/>
              <a:gd name="connsiteX86" fmla="*/ 884483 w 2559842"/>
              <a:gd name="connsiteY86" fmla="*/ 817226 h 1094087"/>
              <a:gd name="connsiteX87" fmla="*/ 945354 w 2559842"/>
              <a:gd name="connsiteY87" fmla="*/ 815480 h 1094087"/>
              <a:gd name="connsiteX88" fmla="*/ 945354 w 2559842"/>
              <a:gd name="connsiteY88" fmla="*/ 844055 h 1094087"/>
              <a:gd name="connsiteX89" fmla="*/ 1181098 w 2559842"/>
              <a:gd name="connsiteY89" fmla="*/ 844055 h 1094087"/>
              <a:gd name="connsiteX90" fmla="*/ 1181098 w 2559842"/>
              <a:gd name="connsiteY90" fmla="*/ 865487 h 1094087"/>
              <a:gd name="connsiteX91" fmla="*/ 1364454 w 2559842"/>
              <a:gd name="connsiteY91" fmla="*/ 865487 h 1094087"/>
              <a:gd name="connsiteX92" fmla="*/ 1364454 w 2559842"/>
              <a:gd name="connsiteY92" fmla="*/ 882155 h 1094087"/>
              <a:gd name="connsiteX93" fmla="*/ 1454942 w 2559842"/>
              <a:gd name="connsiteY93" fmla="*/ 882155 h 1094087"/>
              <a:gd name="connsiteX94" fmla="*/ 1454942 w 2559842"/>
              <a:gd name="connsiteY94" fmla="*/ 903587 h 1094087"/>
              <a:gd name="connsiteX95" fmla="*/ 1728786 w 2559842"/>
              <a:gd name="connsiteY95" fmla="*/ 903587 h 1094087"/>
              <a:gd name="connsiteX96" fmla="*/ 1728786 w 2559842"/>
              <a:gd name="connsiteY96" fmla="*/ 927399 h 1094087"/>
              <a:gd name="connsiteX97" fmla="*/ 1816892 w 2559842"/>
              <a:gd name="connsiteY97" fmla="*/ 927399 h 1094087"/>
              <a:gd name="connsiteX98" fmla="*/ 1816892 w 2559842"/>
              <a:gd name="connsiteY98" fmla="*/ 960737 h 1094087"/>
              <a:gd name="connsiteX99" fmla="*/ 2057398 w 2559842"/>
              <a:gd name="connsiteY99" fmla="*/ 960737 h 1094087"/>
              <a:gd name="connsiteX100" fmla="*/ 2057398 w 2559842"/>
              <a:gd name="connsiteY100" fmla="*/ 996455 h 1094087"/>
              <a:gd name="connsiteX101" fmla="*/ 2102642 w 2559842"/>
              <a:gd name="connsiteY101" fmla="*/ 996455 h 1094087"/>
              <a:gd name="connsiteX102" fmla="*/ 2102642 w 2559842"/>
              <a:gd name="connsiteY102" fmla="*/ 1027412 h 1094087"/>
              <a:gd name="connsiteX103" fmla="*/ 2288379 w 2559842"/>
              <a:gd name="connsiteY103" fmla="*/ 1027412 h 1094087"/>
              <a:gd name="connsiteX104" fmla="*/ 2288379 w 2559842"/>
              <a:gd name="connsiteY104" fmla="*/ 1094087 h 1094087"/>
              <a:gd name="connsiteX105" fmla="*/ 2559842 w 2559842"/>
              <a:gd name="connsiteY105" fmla="*/ 1094087 h 1094087"/>
              <a:gd name="connsiteX0" fmla="*/ 0 w 2559842"/>
              <a:gd name="connsiteY0" fmla="*/ 0 h 1088232"/>
              <a:gd name="connsiteX1" fmla="*/ 10342 w 2559842"/>
              <a:gd name="connsiteY1" fmla="*/ 7632 h 1088232"/>
              <a:gd name="connsiteX2" fmla="*/ 54667 w 2559842"/>
              <a:gd name="connsiteY2" fmla="*/ 7748 h 1088232"/>
              <a:gd name="connsiteX3" fmla="*/ 54767 w 2559842"/>
              <a:gd name="connsiteY3" fmla="*/ 45244 h 1088232"/>
              <a:gd name="connsiteX4" fmla="*/ 73817 w 2559842"/>
              <a:gd name="connsiteY4" fmla="*/ 45244 h 1088232"/>
              <a:gd name="connsiteX5" fmla="*/ 73817 w 2559842"/>
              <a:gd name="connsiteY5" fmla="*/ 52388 h 1088232"/>
              <a:gd name="connsiteX6" fmla="*/ 78579 w 2559842"/>
              <a:gd name="connsiteY6" fmla="*/ 52388 h 1088232"/>
              <a:gd name="connsiteX7" fmla="*/ 78579 w 2559842"/>
              <a:gd name="connsiteY7" fmla="*/ 66675 h 1088232"/>
              <a:gd name="connsiteX8" fmla="*/ 85723 w 2559842"/>
              <a:gd name="connsiteY8" fmla="*/ 66675 h 1088232"/>
              <a:gd name="connsiteX9" fmla="*/ 85723 w 2559842"/>
              <a:gd name="connsiteY9" fmla="*/ 80963 h 1088232"/>
              <a:gd name="connsiteX10" fmla="*/ 100011 w 2559842"/>
              <a:gd name="connsiteY10" fmla="*/ 80963 h 1088232"/>
              <a:gd name="connsiteX11" fmla="*/ 100011 w 2559842"/>
              <a:gd name="connsiteY11" fmla="*/ 92869 h 1088232"/>
              <a:gd name="connsiteX12" fmla="*/ 111917 w 2559842"/>
              <a:gd name="connsiteY12" fmla="*/ 92869 h 1088232"/>
              <a:gd name="connsiteX13" fmla="*/ 111917 w 2559842"/>
              <a:gd name="connsiteY13" fmla="*/ 109538 h 1088232"/>
              <a:gd name="connsiteX14" fmla="*/ 126204 w 2559842"/>
              <a:gd name="connsiteY14" fmla="*/ 109538 h 1088232"/>
              <a:gd name="connsiteX15" fmla="*/ 126204 w 2559842"/>
              <a:gd name="connsiteY15" fmla="*/ 119063 h 1088232"/>
              <a:gd name="connsiteX16" fmla="*/ 135729 w 2559842"/>
              <a:gd name="connsiteY16" fmla="*/ 119063 h 1088232"/>
              <a:gd name="connsiteX17" fmla="*/ 135729 w 2559842"/>
              <a:gd name="connsiteY17" fmla="*/ 142875 h 1088232"/>
              <a:gd name="connsiteX18" fmla="*/ 145254 w 2559842"/>
              <a:gd name="connsiteY18" fmla="*/ 142875 h 1088232"/>
              <a:gd name="connsiteX19" fmla="*/ 145254 w 2559842"/>
              <a:gd name="connsiteY19" fmla="*/ 178594 h 1088232"/>
              <a:gd name="connsiteX20" fmla="*/ 145254 w 2559842"/>
              <a:gd name="connsiteY20" fmla="*/ 221457 h 1088232"/>
              <a:gd name="connsiteX21" fmla="*/ 152398 w 2559842"/>
              <a:gd name="connsiteY21" fmla="*/ 221457 h 1088232"/>
              <a:gd name="connsiteX22" fmla="*/ 152398 w 2559842"/>
              <a:gd name="connsiteY22" fmla="*/ 269082 h 1088232"/>
              <a:gd name="connsiteX23" fmla="*/ 157161 w 2559842"/>
              <a:gd name="connsiteY23" fmla="*/ 269082 h 1088232"/>
              <a:gd name="connsiteX24" fmla="*/ 157161 w 2559842"/>
              <a:gd name="connsiteY24" fmla="*/ 288132 h 1088232"/>
              <a:gd name="connsiteX25" fmla="*/ 164304 w 2559842"/>
              <a:gd name="connsiteY25" fmla="*/ 288132 h 1088232"/>
              <a:gd name="connsiteX26" fmla="*/ 164304 w 2559842"/>
              <a:gd name="connsiteY26" fmla="*/ 314325 h 1088232"/>
              <a:gd name="connsiteX27" fmla="*/ 164304 w 2559842"/>
              <a:gd name="connsiteY27" fmla="*/ 316707 h 1088232"/>
              <a:gd name="connsiteX28" fmla="*/ 164304 w 2559842"/>
              <a:gd name="connsiteY28" fmla="*/ 354807 h 1088232"/>
              <a:gd name="connsiteX29" fmla="*/ 176211 w 2559842"/>
              <a:gd name="connsiteY29" fmla="*/ 354807 h 1088232"/>
              <a:gd name="connsiteX30" fmla="*/ 176211 w 2559842"/>
              <a:gd name="connsiteY30" fmla="*/ 371475 h 1088232"/>
              <a:gd name="connsiteX31" fmla="*/ 183354 w 2559842"/>
              <a:gd name="connsiteY31" fmla="*/ 371475 h 1088232"/>
              <a:gd name="connsiteX32" fmla="*/ 183354 w 2559842"/>
              <a:gd name="connsiteY32" fmla="*/ 381000 h 1088232"/>
              <a:gd name="connsiteX33" fmla="*/ 211929 w 2559842"/>
              <a:gd name="connsiteY33" fmla="*/ 381000 h 1088232"/>
              <a:gd name="connsiteX34" fmla="*/ 212450 w 2559842"/>
              <a:gd name="connsiteY34" fmla="*/ 383382 h 1088232"/>
              <a:gd name="connsiteX35" fmla="*/ 226217 w 2559842"/>
              <a:gd name="connsiteY35" fmla="*/ 383382 h 1088232"/>
              <a:gd name="connsiteX36" fmla="*/ 226217 w 2559842"/>
              <a:gd name="connsiteY36" fmla="*/ 421482 h 1088232"/>
              <a:gd name="connsiteX37" fmla="*/ 283367 w 2559842"/>
              <a:gd name="connsiteY37" fmla="*/ 421482 h 1088232"/>
              <a:gd name="connsiteX38" fmla="*/ 283367 w 2559842"/>
              <a:gd name="connsiteY38" fmla="*/ 445294 h 1088232"/>
              <a:gd name="connsiteX39" fmla="*/ 290511 w 2559842"/>
              <a:gd name="connsiteY39" fmla="*/ 445294 h 1088232"/>
              <a:gd name="connsiteX40" fmla="*/ 290511 w 2559842"/>
              <a:gd name="connsiteY40" fmla="*/ 459582 h 1088232"/>
              <a:gd name="connsiteX41" fmla="*/ 304798 w 2559842"/>
              <a:gd name="connsiteY41" fmla="*/ 459582 h 1088232"/>
              <a:gd name="connsiteX42" fmla="*/ 304798 w 2559842"/>
              <a:gd name="connsiteY42" fmla="*/ 469107 h 1088232"/>
              <a:gd name="connsiteX43" fmla="*/ 335335 w 2559842"/>
              <a:gd name="connsiteY43" fmla="*/ 469107 h 1088232"/>
              <a:gd name="connsiteX44" fmla="*/ 335754 w 2559842"/>
              <a:gd name="connsiteY44" fmla="*/ 473869 h 1088232"/>
              <a:gd name="connsiteX45" fmla="*/ 369092 w 2559842"/>
              <a:gd name="connsiteY45" fmla="*/ 473869 h 1088232"/>
              <a:gd name="connsiteX46" fmla="*/ 369092 w 2559842"/>
              <a:gd name="connsiteY46" fmla="*/ 485775 h 1088232"/>
              <a:gd name="connsiteX47" fmla="*/ 383379 w 2559842"/>
              <a:gd name="connsiteY47" fmla="*/ 485775 h 1088232"/>
              <a:gd name="connsiteX48" fmla="*/ 383379 w 2559842"/>
              <a:gd name="connsiteY48" fmla="*/ 552450 h 1088232"/>
              <a:gd name="connsiteX49" fmla="*/ 392904 w 2559842"/>
              <a:gd name="connsiteY49" fmla="*/ 552450 h 1088232"/>
              <a:gd name="connsiteX50" fmla="*/ 392904 w 2559842"/>
              <a:gd name="connsiteY50" fmla="*/ 566738 h 1088232"/>
              <a:gd name="connsiteX51" fmla="*/ 402429 w 2559842"/>
              <a:gd name="connsiteY51" fmla="*/ 566738 h 1088232"/>
              <a:gd name="connsiteX52" fmla="*/ 402429 w 2559842"/>
              <a:gd name="connsiteY52" fmla="*/ 614363 h 1088232"/>
              <a:gd name="connsiteX53" fmla="*/ 402429 w 2559842"/>
              <a:gd name="connsiteY53" fmla="*/ 614363 h 1088232"/>
              <a:gd name="connsiteX54" fmla="*/ 413182 w 2559842"/>
              <a:gd name="connsiteY54" fmla="*/ 614560 h 1088232"/>
              <a:gd name="connsiteX55" fmla="*/ 412474 w 2559842"/>
              <a:gd name="connsiteY55" fmla="*/ 626269 h 1088232"/>
              <a:gd name="connsiteX56" fmla="*/ 426242 w 2559842"/>
              <a:gd name="connsiteY56" fmla="*/ 626269 h 1088232"/>
              <a:gd name="connsiteX57" fmla="*/ 426242 w 2559842"/>
              <a:gd name="connsiteY57" fmla="*/ 647700 h 1088232"/>
              <a:gd name="connsiteX58" fmla="*/ 440529 w 2559842"/>
              <a:gd name="connsiteY58" fmla="*/ 647700 h 1088232"/>
              <a:gd name="connsiteX59" fmla="*/ 440529 w 2559842"/>
              <a:gd name="connsiteY59" fmla="*/ 659607 h 1088232"/>
              <a:gd name="connsiteX60" fmla="*/ 454817 w 2559842"/>
              <a:gd name="connsiteY60" fmla="*/ 659607 h 1088232"/>
              <a:gd name="connsiteX61" fmla="*/ 454817 w 2559842"/>
              <a:gd name="connsiteY61" fmla="*/ 666750 h 1088232"/>
              <a:gd name="connsiteX62" fmla="*/ 511447 w 2559842"/>
              <a:gd name="connsiteY62" fmla="*/ 666147 h 1088232"/>
              <a:gd name="connsiteX63" fmla="*/ 512386 w 2559842"/>
              <a:gd name="connsiteY63" fmla="*/ 673893 h 1088232"/>
              <a:gd name="connsiteX64" fmla="*/ 545304 w 2559842"/>
              <a:gd name="connsiteY64" fmla="*/ 673893 h 1088232"/>
              <a:gd name="connsiteX65" fmla="*/ 545304 w 2559842"/>
              <a:gd name="connsiteY65" fmla="*/ 688182 h 1088232"/>
              <a:gd name="connsiteX66" fmla="*/ 561973 w 2559842"/>
              <a:gd name="connsiteY66" fmla="*/ 688182 h 1088232"/>
              <a:gd name="connsiteX67" fmla="*/ 561973 w 2559842"/>
              <a:gd name="connsiteY67" fmla="*/ 702469 h 1088232"/>
              <a:gd name="connsiteX68" fmla="*/ 585786 w 2559842"/>
              <a:gd name="connsiteY68" fmla="*/ 702469 h 1088232"/>
              <a:gd name="connsiteX69" fmla="*/ 585786 w 2559842"/>
              <a:gd name="connsiteY69" fmla="*/ 707232 h 1088232"/>
              <a:gd name="connsiteX70" fmla="*/ 611979 w 2559842"/>
              <a:gd name="connsiteY70" fmla="*/ 707232 h 1088232"/>
              <a:gd name="connsiteX71" fmla="*/ 611979 w 2559842"/>
              <a:gd name="connsiteY71" fmla="*/ 716757 h 1088232"/>
              <a:gd name="connsiteX72" fmla="*/ 626267 w 2559842"/>
              <a:gd name="connsiteY72" fmla="*/ 716757 h 1088232"/>
              <a:gd name="connsiteX73" fmla="*/ 626267 w 2559842"/>
              <a:gd name="connsiteY73" fmla="*/ 728663 h 1088232"/>
              <a:gd name="connsiteX74" fmla="*/ 647698 w 2559842"/>
              <a:gd name="connsiteY74" fmla="*/ 728663 h 1088232"/>
              <a:gd name="connsiteX75" fmla="*/ 647698 w 2559842"/>
              <a:gd name="connsiteY75" fmla="*/ 740569 h 1088232"/>
              <a:gd name="connsiteX76" fmla="*/ 666748 w 2559842"/>
              <a:gd name="connsiteY76" fmla="*/ 740569 h 1088232"/>
              <a:gd name="connsiteX77" fmla="*/ 666748 w 2559842"/>
              <a:gd name="connsiteY77" fmla="*/ 754857 h 1088232"/>
              <a:gd name="connsiteX78" fmla="*/ 671511 w 2559842"/>
              <a:gd name="connsiteY78" fmla="*/ 754857 h 1088232"/>
              <a:gd name="connsiteX79" fmla="*/ 671511 w 2559842"/>
              <a:gd name="connsiteY79" fmla="*/ 759619 h 1088232"/>
              <a:gd name="connsiteX80" fmla="*/ 783429 w 2559842"/>
              <a:gd name="connsiteY80" fmla="*/ 759619 h 1088232"/>
              <a:gd name="connsiteX81" fmla="*/ 783429 w 2559842"/>
              <a:gd name="connsiteY81" fmla="*/ 769144 h 1088232"/>
              <a:gd name="connsiteX82" fmla="*/ 831054 w 2559842"/>
              <a:gd name="connsiteY82" fmla="*/ 769144 h 1088232"/>
              <a:gd name="connsiteX83" fmla="*/ 831054 w 2559842"/>
              <a:gd name="connsiteY83" fmla="*/ 788194 h 1088232"/>
              <a:gd name="connsiteX84" fmla="*/ 881061 w 2559842"/>
              <a:gd name="connsiteY84" fmla="*/ 788194 h 1088232"/>
              <a:gd name="connsiteX85" fmla="*/ 884163 w 2559842"/>
              <a:gd name="connsiteY85" fmla="*/ 788194 h 1088232"/>
              <a:gd name="connsiteX86" fmla="*/ 884483 w 2559842"/>
              <a:gd name="connsiteY86" fmla="*/ 811371 h 1088232"/>
              <a:gd name="connsiteX87" fmla="*/ 945354 w 2559842"/>
              <a:gd name="connsiteY87" fmla="*/ 809625 h 1088232"/>
              <a:gd name="connsiteX88" fmla="*/ 945354 w 2559842"/>
              <a:gd name="connsiteY88" fmla="*/ 838200 h 1088232"/>
              <a:gd name="connsiteX89" fmla="*/ 1181098 w 2559842"/>
              <a:gd name="connsiteY89" fmla="*/ 838200 h 1088232"/>
              <a:gd name="connsiteX90" fmla="*/ 1181098 w 2559842"/>
              <a:gd name="connsiteY90" fmla="*/ 859632 h 1088232"/>
              <a:gd name="connsiteX91" fmla="*/ 1364454 w 2559842"/>
              <a:gd name="connsiteY91" fmla="*/ 859632 h 1088232"/>
              <a:gd name="connsiteX92" fmla="*/ 1364454 w 2559842"/>
              <a:gd name="connsiteY92" fmla="*/ 876300 h 1088232"/>
              <a:gd name="connsiteX93" fmla="*/ 1454942 w 2559842"/>
              <a:gd name="connsiteY93" fmla="*/ 876300 h 1088232"/>
              <a:gd name="connsiteX94" fmla="*/ 1454942 w 2559842"/>
              <a:gd name="connsiteY94" fmla="*/ 897732 h 1088232"/>
              <a:gd name="connsiteX95" fmla="*/ 1728786 w 2559842"/>
              <a:gd name="connsiteY95" fmla="*/ 897732 h 1088232"/>
              <a:gd name="connsiteX96" fmla="*/ 1728786 w 2559842"/>
              <a:gd name="connsiteY96" fmla="*/ 921544 h 1088232"/>
              <a:gd name="connsiteX97" fmla="*/ 1816892 w 2559842"/>
              <a:gd name="connsiteY97" fmla="*/ 921544 h 1088232"/>
              <a:gd name="connsiteX98" fmla="*/ 1816892 w 2559842"/>
              <a:gd name="connsiteY98" fmla="*/ 954882 h 1088232"/>
              <a:gd name="connsiteX99" fmla="*/ 2057398 w 2559842"/>
              <a:gd name="connsiteY99" fmla="*/ 954882 h 1088232"/>
              <a:gd name="connsiteX100" fmla="*/ 2057398 w 2559842"/>
              <a:gd name="connsiteY100" fmla="*/ 990600 h 1088232"/>
              <a:gd name="connsiteX101" fmla="*/ 2102642 w 2559842"/>
              <a:gd name="connsiteY101" fmla="*/ 990600 h 1088232"/>
              <a:gd name="connsiteX102" fmla="*/ 2102642 w 2559842"/>
              <a:gd name="connsiteY102" fmla="*/ 1021557 h 1088232"/>
              <a:gd name="connsiteX103" fmla="*/ 2288379 w 2559842"/>
              <a:gd name="connsiteY103" fmla="*/ 1021557 h 1088232"/>
              <a:gd name="connsiteX104" fmla="*/ 2288379 w 2559842"/>
              <a:gd name="connsiteY104" fmla="*/ 1088232 h 1088232"/>
              <a:gd name="connsiteX105" fmla="*/ 2559842 w 2559842"/>
              <a:gd name="connsiteY105" fmla="*/ 1088232 h 1088232"/>
              <a:gd name="connsiteX0" fmla="*/ 0 w 2559842"/>
              <a:gd name="connsiteY0" fmla="*/ 0 h 1088232"/>
              <a:gd name="connsiteX1" fmla="*/ 4335 w 2559842"/>
              <a:gd name="connsiteY1" fmla="*/ 3963 h 1088232"/>
              <a:gd name="connsiteX2" fmla="*/ 10342 w 2559842"/>
              <a:gd name="connsiteY2" fmla="*/ 7632 h 1088232"/>
              <a:gd name="connsiteX3" fmla="*/ 54667 w 2559842"/>
              <a:gd name="connsiteY3" fmla="*/ 7748 h 1088232"/>
              <a:gd name="connsiteX4" fmla="*/ 54767 w 2559842"/>
              <a:gd name="connsiteY4" fmla="*/ 45244 h 1088232"/>
              <a:gd name="connsiteX5" fmla="*/ 73817 w 2559842"/>
              <a:gd name="connsiteY5" fmla="*/ 45244 h 1088232"/>
              <a:gd name="connsiteX6" fmla="*/ 73817 w 2559842"/>
              <a:gd name="connsiteY6" fmla="*/ 52388 h 1088232"/>
              <a:gd name="connsiteX7" fmla="*/ 78579 w 2559842"/>
              <a:gd name="connsiteY7" fmla="*/ 52388 h 1088232"/>
              <a:gd name="connsiteX8" fmla="*/ 78579 w 2559842"/>
              <a:gd name="connsiteY8" fmla="*/ 66675 h 1088232"/>
              <a:gd name="connsiteX9" fmla="*/ 85723 w 2559842"/>
              <a:gd name="connsiteY9" fmla="*/ 66675 h 1088232"/>
              <a:gd name="connsiteX10" fmla="*/ 85723 w 2559842"/>
              <a:gd name="connsiteY10" fmla="*/ 80963 h 1088232"/>
              <a:gd name="connsiteX11" fmla="*/ 100011 w 2559842"/>
              <a:gd name="connsiteY11" fmla="*/ 80963 h 1088232"/>
              <a:gd name="connsiteX12" fmla="*/ 100011 w 2559842"/>
              <a:gd name="connsiteY12" fmla="*/ 92869 h 1088232"/>
              <a:gd name="connsiteX13" fmla="*/ 111917 w 2559842"/>
              <a:gd name="connsiteY13" fmla="*/ 92869 h 1088232"/>
              <a:gd name="connsiteX14" fmla="*/ 111917 w 2559842"/>
              <a:gd name="connsiteY14" fmla="*/ 109538 h 1088232"/>
              <a:gd name="connsiteX15" fmla="*/ 126204 w 2559842"/>
              <a:gd name="connsiteY15" fmla="*/ 109538 h 1088232"/>
              <a:gd name="connsiteX16" fmla="*/ 126204 w 2559842"/>
              <a:gd name="connsiteY16" fmla="*/ 119063 h 1088232"/>
              <a:gd name="connsiteX17" fmla="*/ 135729 w 2559842"/>
              <a:gd name="connsiteY17" fmla="*/ 119063 h 1088232"/>
              <a:gd name="connsiteX18" fmla="*/ 135729 w 2559842"/>
              <a:gd name="connsiteY18" fmla="*/ 142875 h 1088232"/>
              <a:gd name="connsiteX19" fmla="*/ 145254 w 2559842"/>
              <a:gd name="connsiteY19" fmla="*/ 142875 h 1088232"/>
              <a:gd name="connsiteX20" fmla="*/ 145254 w 2559842"/>
              <a:gd name="connsiteY20" fmla="*/ 178594 h 1088232"/>
              <a:gd name="connsiteX21" fmla="*/ 145254 w 2559842"/>
              <a:gd name="connsiteY21" fmla="*/ 221457 h 1088232"/>
              <a:gd name="connsiteX22" fmla="*/ 152398 w 2559842"/>
              <a:gd name="connsiteY22" fmla="*/ 221457 h 1088232"/>
              <a:gd name="connsiteX23" fmla="*/ 152398 w 2559842"/>
              <a:gd name="connsiteY23" fmla="*/ 269082 h 1088232"/>
              <a:gd name="connsiteX24" fmla="*/ 157161 w 2559842"/>
              <a:gd name="connsiteY24" fmla="*/ 269082 h 1088232"/>
              <a:gd name="connsiteX25" fmla="*/ 157161 w 2559842"/>
              <a:gd name="connsiteY25" fmla="*/ 288132 h 1088232"/>
              <a:gd name="connsiteX26" fmla="*/ 164304 w 2559842"/>
              <a:gd name="connsiteY26" fmla="*/ 288132 h 1088232"/>
              <a:gd name="connsiteX27" fmla="*/ 164304 w 2559842"/>
              <a:gd name="connsiteY27" fmla="*/ 314325 h 1088232"/>
              <a:gd name="connsiteX28" fmla="*/ 164304 w 2559842"/>
              <a:gd name="connsiteY28" fmla="*/ 316707 h 1088232"/>
              <a:gd name="connsiteX29" fmla="*/ 164304 w 2559842"/>
              <a:gd name="connsiteY29" fmla="*/ 354807 h 1088232"/>
              <a:gd name="connsiteX30" fmla="*/ 176211 w 2559842"/>
              <a:gd name="connsiteY30" fmla="*/ 354807 h 1088232"/>
              <a:gd name="connsiteX31" fmla="*/ 176211 w 2559842"/>
              <a:gd name="connsiteY31" fmla="*/ 371475 h 1088232"/>
              <a:gd name="connsiteX32" fmla="*/ 183354 w 2559842"/>
              <a:gd name="connsiteY32" fmla="*/ 371475 h 1088232"/>
              <a:gd name="connsiteX33" fmla="*/ 183354 w 2559842"/>
              <a:gd name="connsiteY33" fmla="*/ 381000 h 1088232"/>
              <a:gd name="connsiteX34" fmla="*/ 211929 w 2559842"/>
              <a:gd name="connsiteY34" fmla="*/ 381000 h 1088232"/>
              <a:gd name="connsiteX35" fmla="*/ 212450 w 2559842"/>
              <a:gd name="connsiteY35" fmla="*/ 383382 h 1088232"/>
              <a:gd name="connsiteX36" fmla="*/ 226217 w 2559842"/>
              <a:gd name="connsiteY36" fmla="*/ 383382 h 1088232"/>
              <a:gd name="connsiteX37" fmla="*/ 226217 w 2559842"/>
              <a:gd name="connsiteY37" fmla="*/ 421482 h 1088232"/>
              <a:gd name="connsiteX38" fmla="*/ 283367 w 2559842"/>
              <a:gd name="connsiteY38" fmla="*/ 421482 h 1088232"/>
              <a:gd name="connsiteX39" fmla="*/ 283367 w 2559842"/>
              <a:gd name="connsiteY39" fmla="*/ 445294 h 1088232"/>
              <a:gd name="connsiteX40" fmla="*/ 290511 w 2559842"/>
              <a:gd name="connsiteY40" fmla="*/ 445294 h 1088232"/>
              <a:gd name="connsiteX41" fmla="*/ 290511 w 2559842"/>
              <a:gd name="connsiteY41" fmla="*/ 459582 h 1088232"/>
              <a:gd name="connsiteX42" fmla="*/ 304798 w 2559842"/>
              <a:gd name="connsiteY42" fmla="*/ 459582 h 1088232"/>
              <a:gd name="connsiteX43" fmla="*/ 304798 w 2559842"/>
              <a:gd name="connsiteY43" fmla="*/ 469107 h 1088232"/>
              <a:gd name="connsiteX44" fmla="*/ 335335 w 2559842"/>
              <a:gd name="connsiteY44" fmla="*/ 469107 h 1088232"/>
              <a:gd name="connsiteX45" fmla="*/ 335754 w 2559842"/>
              <a:gd name="connsiteY45" fmla="*/ 473869 h 1088232"/>
              <a:gd name="connsiteX46" fmla="*/ 369092 w 2559842"/>
              <a:gd name="connsiteY46" fmla="*/ 473869 h 1088232"/>
              <a:gd name="connsiteX47" fmla="*/ 369092 w 2559842"/>
              <a:gd name="connsiteY47" fmla="*/ 485775 h 1088232"/>
              <a:gd name="connsiteX48" fmla="*/ 383379 w 2559842"/>
              <a:gd name="connsiteY48" fmla="*/ 485775 h 1088232"/>
              <a:gd name="connsiteX49" fmla="*/ 383379 w 2559842"/>
              <a:gd name="connsiteY49" fmla="*/ 552450 h 1088232"/>
              <a:gd name="connsiteX50" fmla="*/ 392904 w 2559842"/>
              <a:gd name="connsiteY50" fmla="*/ 552450 h 1088232"/>
              <a:gd name="connsiteX51" fmla="*/ 392904 w 2559842"/>
              <a:gd name="connsiteY51" fmla="*/ 566738 h 1088232"/>
              <a:gd name="connsiteX52" fmla="*/ 402429 w 2559842"/>
              <a:gd name="connsiteY52" fmla="*/ 566738 h 1088232"/>
              <a:gd name="connsiteX53" fmla="*/ 402429 w 2559842"/>
              <a:gd name="connsiteY53" fmla="*/ 614363 h 1088232"/>
              <a:gd name="connsiteX54" fmla="*/ 402429 w 2559842"/>
              <a:gd name="connsiteY54" fmla="*/ 614363 h 1088232"/>
              <a:gd name="connsiteX55" fmla="*/ 413182 w 2559842"/>
              <a:gd name="connsiteY55" fmla="*/ 614560 h 1088232"/>
              <a:gd name="connsiteX56" fmla="*/ 412474 w 2559842"/>
              <a:gd name="connsiteY56" fmla="*/ 626269 h 1088232"/>
              <a:gd name="connsiteX57" fmla="*/ 426242 w 2559842"/>
              <a:gd name="connsiteY57" fmla="*/ 626269 h 1088232"/>
              <a:gd name="connsiteX58" fmla="*/ 426242 w 2559842"/>
              <a:gd name="connsiteY58" fmla="*/ 647700 h 1088232"/>
              <a:gd name="connsiteX59" fmla="*/ 440529 w 2559842"/>
              <a:gd name="connsiteY59" fmla="*/ 647700 h 1088232"/>
              <a:gd name="connsiteX60" fmla="*/ 440529 w 2559842"/>
              <a:gd name="connsiteY60" fmla="*/ 659607 h 1088232"/>
              <a:gd name="connsiteX61" fmla="*/ 454817 w 2559842"/>
              <a:gd name="connsiteY61" fmla="*/ 659607 h 1088232"/>
              <a:gd name="connsiteX62" fmla="*/ 454817 w 2559842"/>
              <a:gd name="connsiteY62" fmla="*/ 666750 h 1088232"/>
              <a:gd name="connsiteX63" fmla="*/ 511447 w 2559842"/>
              <a:gd name="connsiteY63" fmla="*/ 666147 h 1088232"/>
              <a:gd name="connsiteX64" fmla="*/ 512386 w 2559842"/>
              <a:gd name="connsiteY64" fmla="*/ 673893 h 1088232"/>
              <a:gd name="connsiteX65" fmla="*/ 545304 w 2559842"/>
              <a:gd name="connsiteY65" fmla="*/ 673893 h 1088232"/>
              <a:gd name="connsiteX66" fmla="*/ 545304 w 2559842"/>
              <a:gd name="connsiteY66" fmla="*/ 688182 h 1088232"/>
              <a:gd name="connsiteX67" fmla="*/ 561973 w 2559842"/>
              <a:gd name="connsiteY67" fmla="*/ 688182 h 1088232"/>
              <a:gd name="connsiteX68" fmla="*/ 561973 w 2559842"/>
              <a:gd name="connsiteY68" fmla="*/ 702469 h 1088232"/>
              <a:gd name="connsiteX69" fmla="*/ 585786 w 2559842"/>
              <a:gd name="connsiteY69" fmla="*/ 702469 h 1088232"/>
              <a:gd name="connsiteX70" fmla="*/ 585786 w 2559842"/>
              <a:gd name="connsiteY70" fmla="*/ 707232 h 1088232"/>
              <a:gd name="connsiteX71" fmla="*/ 611979 w 2559842"/>
              <a:gd name="connsiteY71" fmla="*/ 707232 h 1088232"/>
              <a:gd name="connsiteX72" fmla="*/ 611979 w 2559842"/>
              <a:gd name="connsiteY72" fmla="*/ 716757 h 1088232"/>
              <a:gd name="connsiteX73" fmla="*/ 626267 w 2559842"/>
              <a:gd name="connsiteY73" fmla="*/ 716757 h 1088232"/>
              <a:gd name="connsiteX74" fmla="*/ 626267 w 2559842"/>
              <a:gd name="connsiteY74" fmla="*/ 728663 h 1088232"/>
              <a:gd name="connsiteX75" fmla="*/ 647698 w 2559842"/>
              <a:gd name="connsiteY75" fmla="*/ 728663 h 1088232"/>
              <a:gd name="connsiteX76" fmla="*/ 647698 w 2559842"/>
              <a:gd name="connsiteY76" fmla="*/ 740569 h 1088232"/>
              <a:gd name="connsiteX77" fmla="*/ 666748 w 2559842"/>
              <a:gd name="connsiteY77" fmla="*/ 740569 h 1088232"/>
              <a:gd name="connsiteX78" fmla="*/ 666748 w 2559842"/>
              <a:gd name="connsiteY78" fmla="*/ 754857 h 1088232"/>
              <a:gd name="connsiteX79" fmla="*/ 671511 w 2559842"/>
              <a:gd name="connsiteY79" fmla="*/ 754857 h 1088232"/>
              <a:gd name="connsiteX80" fmla="*/ 671511 w 2559842"/>
              <a:gd name="connsiteY80" fmla="*/ 759619 h 1088232"/>
              <a:gd name="connsiteX81" fmla="*/ 783429 w 2559842"/>
              <a:gd name="connsiteY81" fmla="*/ 759619 h 1088232"/>
              <a:gd name="connsiteX82" fmla="*/ 783429 w 2559842"/>
              <a:gd name="connsiteY82" fmla="*/ 769144 h 1088232"/>
              <a:gd name="connsiteX83" fmla="*/ 831054 w 2559842"/>
              <a:gd name="connsiteY83" fmla="*/ 769144 h 1088232"/>
              <a:gd name="connsiteX84" fmla="*/ 831054 w 2559842"/>
              <a:gd name="connsiteY84" fmla="*/ 788194 h 1088232"/>
              <a:gd name="connsiteX85" fmla="*/ 881061 w 2559842"/>
              <a:gd name="connsiteY85" fmla="*/ 788194 h 1088232"/>
              <a:gd name="connsiteX86" fmla="*/ 884163 w 2559842"/>
              <a:gd name="connsiteY86" fmla="*/ 788194 h 1088232"/>
              <a:gd name="connsiteX87" fmla="*/ 884483 w 2559842"/>
              <a:gd name="connsiteY87" fmla="*/ 811371 h 1088232"/>
              <a:gd name="connsiteX88" fmla="*/ 945354 w 2559842"/>
              <a:gd name="connsiteY88" fmla="*/ 809625 h 1088232"/>
              <a:gd name="connsiteX89" fmla="*/ 945354 w 2559842"/>
              <a:gd name="connsiteY89" fmla="*/ 838200 h 1088232"/>
              <a:gd name="connsiteX90" fmla="*/ 1181098 w 2559842"/>
              <a:gd name="connsiteY90" fmla="*/ 838200 h 1088232"/>
              <a:gd name="connsiteX91" fmla="*/ 1181098 w 2559842"/>
              <a:gd name="connsiteY91" fmla="*/ 859632 h 1088232"/>
              <a:gd name="connsiteX92" fmla="*/ 1364454 w 2559842"/>
              <a:gd name="connsiteY92" fmla="*/ 859632 h 1088232"/>
              <a:gd name="connsiteX93" fmla="*/ 1364454 w 2559842"/>
              <a:gd name="connsiteY93" fmla="*/ 876300 h 1088232"/>
              <a:gd name="connsiteX94" fmla="*/ 1454942 w 2559842"/>
              <a:gd name="connsiteY94" fmla="*/ 876300 h 1088232"/>
              <a:gd name="connsiteX95" fmla="*/ 1454942 w 2559842"/>
              <a:gd name="connsiteY95" fmla="*/ 897732 h 1088232"/>
              <a:gd name="connsiteX96" fmla="*/ 1728786 w 2559842"/>
              <a:gd name="connsiteY96" fmla="*/ 897732 h 1088232"/>
              <a:gd name="connsiteX97" fmla="*/ 1728786 w 2559842"/>
              <a:gd name="connsiteY97" fmla="*/ 921544 h 1088232"/>
              <a:gd name="connsiteX98" fmla="*/ 1816892 w 2559842"/>
              <a:gd name="connsiteY98" fmla="*/ 921544 h 1088232"/>
              <a:gd name="connsiteX99" fmla="*/ 1816892 w 2559842"/>
              <a:gd name="connsiteY99" fmla="*/ 954882 h 1088232"/>
              <a:gd name="connsiteX100" fmla="*/ 2057398 w 2559842"/>
              <a:gd name="connsiteY100" fmla="*/ 954882 h 1088232"/>
              <a:gd name="connsiteX101" fmla="*/ 2057398 w 2559842"/>
              <a:gd name="connsiteY101" fmla="*/ 990600 h 1088232"/>
              <a:gd name="connsiteX102" fmla="*/ 2102642 w 2559842"/>
              <a:gd name="connsiteY102" fmla="*/ 990600 h 1088232"/>
              <a:gd name="connsiteX103" fmla="*/ 2102642 w 2559842"/>
              <a:gd name="connsiteY103" fmla="*/ 1021557 h 1088232"/>
              <a:gd name="connsiteX104" fmla="*/ 2288379 w 2559842"/>
              <a:gd name="connsiteY104" fmla="*/ 1021557 h 1088232"/>
              <a:gd name="connsiteX105" fmla="*/ 2288379 w 2559842"/>
              <a:gd name="connsiteY105" fmla="*/ 1088232 h 1088232"/>
              <a:gd name="connsiteX106" fmla="*/ 2559842 w 2559842"/>
              <a:gd name="connsiteY106" fmla="*/ 1088232 h 1088232"/>
              <a:gd name="connsiteX0" fmla="*/ 0 w 2559842"/>
              <a:gd name="connsiteY0" fmla="*/ 0 h 1088232"/>
              <a:gd name="connsiteX1" fmla="*/ 10539 w 2559842"/>
              <a:gd name="connsiteY1" fmla="*/ 343 h 1088232"/>
              <a:gd name="connsiteX2" fmla="*/ 10342 w 2559842"/>
              <a:gd name="connsiteY2" fmla="*/ 7632 h 1088232"/>
              <a:gd name="connsiteX3" fmla="*/ 54667 w 2559842"/>
              <a:gd name="connsiteY3" fmla="*/ 7748 h 1088232"/>
              <a:gd name="connsiteX4" fmla="*/ 54767 w 2559842"/>
              <a:gd name="connsiteY4" fmla="*/ 45244 h 1088232"/>
              <a:gd name="connsiteX5" fmla="*/ 73817 w 2559842"/>
              <a:gd name="connsiteY5" fmla="*/ 45244 h 1088232"/>
              <a:gd name="connsiteX6" fmla="*/ 73817 w 2559842"/>
              <a:gd name="connsiteY6" fmla="*/ 52388 h 1088232"/>
              <a:gd name="connsiteX7" fmla="*/ 78579 w 2559842"/>
              <a:gd name="connsiteY7" fmla="*/ 52388 h 1088232"/>
              <a:gd name="connsiteX8" fmla="*/ 78579 w 2559842"/>
              <a:gd name="connsiteY8" fmla="*/ 66675 h 1088232"/>
              <a:gd name="connsiteX9" fmla="*/ 85723 w 2559842"/>
              <a:gd name="connsiteY9" fmla="*/ 66675 h 1088232"/>
              <a:gd name="connsiteX10" fmla="*/ 85723 w 2559842"/>
              <a:gd name="connsiteY10" fmla="*/ 80963 h 1088232"/>
              <a:gd name="connsiteX11" fmla="*/ 100011 w 2559842"/>
              <a:gd name="connsiteY11" fmla="*/ 80963 h 1088232"/>
              <a:gd name="connsiteX12" fmla="*/ 100011 w 2559842"/>
              <a:gd name="connsiteY12" fmla="*/ 92869 h 1088232"/>
              <a:gd name="connsiteX13" fmla="*/ 111917 w 2559842"/>
              <a:gd name="connsiteY13" fmla="*/ 92869 h 1088232"/>
              <a:gd name="connsiteX14" fmla="*/ 111917 w 2559842"/>
              <a:gd name="connsiteY14" fmla="*/ 109538 h 1088232"/>
              <a:gd name="connsiteX15" fmla="*/ 126204 w 2559842"/>
              <a:gd name="connsiteY15" fmla="*/ 109538 h 1088232"/>
              <a:gd name="connsiteX16" fmla="*/ 126204 w 2559842"/>
              <a:gd name="connsiteY16" fmla="*/ 119063 h 1088232"/>
              <a:gd name="connsiteX17" fmla="*/ 135729 w 2559842"/>
              <a:gd name="connsiteY17" fmla="*/ 119063 h 1088232"/>
              <a:gd name="connsiteX18" fmla="*/ 135729 w 2559842"/>
              <a:gd name="connsiteY18" fmla="*/ 142875 h 1088232"/>
              <a:gd name="connsiteX19" fmla="*/ 145254 w 2559842"/>
              <a:gd name="connsiteY19" fmla="*/ 142875 h 1088232"/>
              <a:gd name="connsiteX20" fmla="*/ 145254 w 2559842"/>
              <a:gd name="connsiteY20" fmla="*/ 178594 h 1088232"/>
              <a:gd name="connsiteX21" fmla="*/ 145254 w 2559842"/>
              <a:gd name="connsiteY21" fmla="*/ 221457 h 1088232"/>
              <a:gd name="connsiteX22" fmla="*/ 152398 w 2559842"/>
              <a:gd name="connsiteY22" fmla="*/ 221457 h 1088232"/>
              <a:gd name="connsiteX23" fmla="*/ 152398 w 2559842"/>
              <a:gd name="connsiteY23" fmla="*/ 269082 h 1088232"/>
              <a:gd name="connsiteX24" fmla="*/ 157161 w 2559842"/>
              <a:gd name="connsiteY24" fmla="*/ 269082 h 1088232"/>
              <a:gd name="connsiteX25" fmla="*/ 157161 w 2559842"/>
              <a:gd name="connsiteY25" fmla="*/ 288132 h 1088232"/>
              <a:gd name="connsiteX26" fmla="*/ 164304 w 2559842"/>
              <a:gd name="connsiteY26" fmla="*/ 288132 h 1088232"/>
              <a:gd name="connsiteX27" fmla="*/ 164304 w 2559842"/>
              <a:gd name="connsiteY27" fmla="*/ 314325 h 1088232"/>
              <a:gd name="connsiteX28" fmla="*/ 164304 w 2559842"/>
              <a:gd name="connsiteY28" fmla="*/ 316707 h 1088232"/>
              <a:gd name="connsiteX29" fmla="*/ 164304 w 2559842"/>
              <a:gd name="connsiteY29" fmla="*/ 354807 h 1088232"/>
              <a:gd name="connsiteX30" fmla="*/ 176211 w 2559842"/>
              <a:gd name="connsiteY30" fmla="*/ 354807 h 1088232"/>
              <a:gd name="connsiteX31" fmla="*/ 176211 w 2559842"/>
              <a:gd name="connsiteY31" fmla="*/ 371475 h 1088232"/>
              <a:gd name="connsiteX32" fmla="*/ 183354 w 2559842"/>
              <a:gd name="connsiteY32" fmla="*/ 371475 h 1088232"/>
              <a:gd name="connsiteX33" fmla="*/ 183354 w 2559842"/>
              <a:gd name="connsiteY33" fmla="*/ 381000 h 1088232"/>
              <a:gd name="connsiteX34" fmla="*/ 211929 w 2559842"/>
              <a:gd name="connsiteY34" fmla="*/ 381000 h 1088232"/>
              <a:gd name="connsiteX35" fmla="*/ 212450 w 2559842"/>
              <a:gd name="connsiteY35" fmla="*/ 383382 h 1088232"/>
              <a:gd name="connsiteX36" fmla="*/ 226217 w 2559842"/>
              <a:gd name="connsiteY36" fmla="*/ 383382 h 1088232"/>
              <a:gd name="connsiteX37" fmla="*/ 226217 w 2559842"/>
              <a:gd name="connsiteY37" fmla="*/ 421482 h 1088232"/>
              <a:gd name="connsiteX38" fmla="*/ 283367 w 2559842"/>
              <a:gd name="connsiteY38" fmla="*/ 421482 h 1088232"/>
              <a:gd name="connsiteX39" fmla="*/ 283367 w 2559842"/>
              <a:gd name="connsiteY39" fmla="*/ 445294 h 1088232"/>
              <a:gd name="connsiteX40" fmla="*/ 290511 w 2559842"/>
              <a:gd name="connsiteY40" fmla="*/ 445294 h 1088232"/>
              <a:gd name="connsiteX41" fmla="*/ 290511 w 2559842"/>
              <a:gd name="connsiteY41" fmla="*/ 459582 h 1088232"/>
              <a:gd name="connsiteX42" fmla="*/ 304798 w 2559842"/>
              <a:gd name="connsiteY42" fmla="*/ 459582 h 1088232"/>
              <a:gd name="connsiteX43" fmla="*/ 304798 w 2559842"/>
              <a:gd name="connsiteY43" fmla="*/ 469107 h 1088232"/>
              <a:gd name="connsiteX44" fmla="*/ 335335 w 2559842"/>
              <a:gd name="connsiteY44" fmla="*/ 469107 h 1088232"/>
              <a:gd name="connsiteX45" fmla="*/ 335754 w 2559842"/>
              <a:gd name="connsiteY45" fmla="*/ 473869 h 1088232"/>
              <a:gd name="connsiteX46" fmla="*/ 369092 w 2559842"/>
              <a:gd name="connsiteY46" fmla="*/ 473869 h 1088232"/>
              <a:gd name="connsiteX47" fmla="*/ 369092 w 2559842"/>
              <a:gd name="connsiteY47" fmla="*/ 485775 h 1088232"/>
              <a:gd name="connsiteX48" fmla="*/ 383379 w 2559842"/>
              <a:gd name="connsiteY48" fmla="*/ 485775 h 1088232"/>
              <a:gd name="connsiteX49" fmla="*/ 383379 w 2559842"/>
              <a:gd name="connsiteY49" fmla="*/ 552450 h 1088232"/>
              <a:gd name="connsiteX50" fmla="*/ 392904 w 2559842"/>
              <a:gd name="connsiteY50" fmla="*/ 552450 h 1088232"/>
              <a:gd name="connsiteX51" fmla="*/ 392904 w 2559842"/>
              <a:gd name="connsiteY51" fmla="*/ 566738 h 1088232"/>
              <a:gd name="connsiteX52" fmla="*/ 402429 w 2559842"/>
              <a:gd name="connsiteY52" fmla="*/ 566738 h 1088232"/>
              <a:gd name="connsiteX53" fmla="*/ 402429 w 2559842"/>
              <a:gd name="connsiteY53" fmla="*/ 614363 h 1088232"/>
              <a:gd name="connsiteX54" fmla="*/ 402429 w 2559842"/>
              <a:gd name="connsiteY54" fmla="*/ 614363 h 1088232"/>
              <a:gd name="connsiteX55" fmla="*/ 413182 w 2559842"/>
              <a:gd name="connsiteY55" fmla="*/ 614560 h 1088232"/>
              <a:gd name="connsiteX56" fmla="*/ 412474 w 2559842"/>
              <a:gd name="connsiteY56" fmla="*/ 626269 h 1088232"/>
              <a:gd name="connsiteX57" fmla="*/ 426242 w 2559842"/>
              <a:gd name="connsiteY57" fmla="*/ 626269 h 1088232"/>
              <a:gd name="connsiteX58" fmla="*/ 426242 w 2559842"/>
              <a:gd name="connsiteY58" fmla="*/ 647700 h 1088232"/>
              <a:gd name="connsiteX59" fmla="*/ 440529 w 2559842"/>
              <a:gd name="connsiteY59" fmla="*/ 647700 h 1088232"/>
              <a:gd name="connsiteX60" fmla="*/ 440529 w 2559842"/>
              <a:gd name="connsiteY60" fmla="*/ 659607 h 1088232"/>
              <a:gd name="connsiteX61" fmla="*/ 454817 w 2559842"/>
              <a:gd name="connsiteY61" fmla="*/ 659607 h 1088232"/>
              <a:gd name="connsiteX62" fmla="*/ 454817 w 2559842"/>
              <a:gd name="connsiteY62" fmla="*/ 666750 h 1088232"/>
              <a:gd name="connsiteX63" fmla="*/ 511447 w 2559842"/>
              <a:gd name="connsiteY63" fmla="*/ 666147 h 1088232"/>
              <a:gd name="connsiteX64" fmla="*/ 512386 w 2559842"/>
              <a:gd name="connsiteY64" fmla="*/ 673893 h 1088232"/>
              <a:gd name="connsiteX65" fmla="*/ 545304 w 2559842"/>
              <a:gd name="connsiteY65" fmla="*/ 673893 h 1088232"/>
              <a:gd name="connsiteX66" fmla="*/ 545304 w 2559842"/>
              <a:gd name="connsiteY66" fmla="*/ 688182 h 1088232"/>
              <a:gd name="connsiteX67" fmla="*/ 561973 w 2559842"/>
              <a:gd name="connsiteY67" fmla="*/ 688182 h 1088232"/>
              <a:gd name="connsiteX68" fmla="*/ 561973 w 2559842"/>
              <a:gd name="connsiteY68" fmla="*/ 702469 h 1088232"/>
              <a:gd name="connsiteX69" fmla="*/ 585786 w 2559842"/>
              <a:gd name="connsiteY69" fmla="*/ 702469 h 1088232"/>
              <a:gd name="connsiteX70" fmla="*/ 585786 w 2559842"/>
              <a:gd name="connsiteY70" fmla="*/ 707232 h 1088232"/>
              <a:gd name="connsiteX71" fmla="*/ 611979 w 2559842"/>
              <a:gd name="connsiteY71" fmla="*/ 707232 h 1088232"/>
              <a:gd name="connsiteX72" fmla="*/ 611979 w 2559842"/>
              <a:gd name="connsiteY72" fmla="*/ 716757 h 1088232"/>
              <a:gd name="connsiteX73" fmla="*/ 626267 w 2559842"/>
              <a:gd name="connsiteY73" fmla="*/ 716757 h 1088232"/>
              <a:gd name="connsiteX74" fmla="*/ 626267 w 2559842"/>
              <a:gd name="connsiteY74" fmla="*/ 728663 h 1088232"/>
              <a:gd name="connsiteX75" fmla="*/ 647698 w 2559842"/>
              <a:gd name="connsiteY75" fmla="*/ 728663 h 1088232"/>
              <a:gd name="connsiteX76" fmla="*/ 647698 w 2559842"/>
              <a:gd name="connsiteY76" fmla="*/ 740569 h 1088232"/>
              <a:gd name="connsiteX77" fmla="*/ 666748 w 2559842"/>
              <a:gd name="connsiteY77" fmla="*/ 740569 h 1088232"/>
              <a:gd name="connsiteX78" fmla="*/ 666748 w 2559842"/>
              <a:gd name="connsiteY78" fmla="*/ 754857 h 1088232"/>
              <a:gd name="connsiteX79" fmla="*/ 671511 w 2559842"/>
              <a:gd name="connsiteY79" fmla="*/ 754857 h 1088232"/>
              <a:gd name="connsiteX80" fmla="*/ 671511 w 2559842"/>
              <a:gd name="connsiteY80" fmla="*/ 759619 h 1088232"/>
              <a:gd name="connsiteX81" fmla="*/ 783429 w 2559842"/>
              <a:gd name="connsiteY81" fmla="*/ 759619 h 1088232"/>
              <a:gd name="connsiteX82" fmla="*/ 783429 w 2559842"/>
              <a:gd name="connsiteY82" fmla="*/ 769144 h 1088232"/>
              <a:gd name="connsiteX83" fmla="*/ 831054 w 2559842"/>
              <a:gd name="connsiteY83" fmla="*/ 769144 h 1088232"/>
              <a:gd name="connsiteX84" fmla="*/ 831054 w 2559842"/>
              <a:gd name="connsiteY84" fmla="*/ 788194 h 1088232"/>
              <a:gd name="connsiteX85" fmla="*/ 881061 w 2559842"/>
              <a:gd name="connsiteY85" fmla="*/ 788194 h 1088232"/>
              <a:gd name="connsiteX86" fmla="*/ 884163 w 2559842"/>
              <a:gd name="connsiteY86" fmla="*/ 788194 h 1088232"/>
              <a:gd name="connsiteX87" fmla="*/ 884483 w 2559842"/>
              <a:gd name="connsiteY87" fmla="*/ 811371 h 1088232"/>
              <a:gd name="connsiteX88" fmla="*/ 945354 w 2559842"/>
              <a:gd name="connsiteY88" fmla="*/ 809625 h 1088232"/>
              <a:gd name="connsiteX89" fmla="*/ 945354 w 2559842"/>
              <a:gd name="connsiteY89" fmla="*/ 838200 h 1088232"/>
              <a:gd name="connsiteX90" fmla="*/ 1181098 w 2559842"/>
              <a:gd name="connsiteY90" fmla="*/ 838200 h 1088232"/>
              <a:gd name="connsiteX91" fmla="*/ 1181098 w 2559842"/>
              <a:gd name="connsiteY91" fmla="*/ 859632 h 1088232"/>
              <a:gd name="connsiteX92" fmla="*/ 1364454 w 2559842"/>
              <a:gd name="connsiteY92" fmla="*/ 859632 h 1088232"/>
              <a:gd name="connsiteX93" fmla="*/ 1364454 w 2559842"/>
              <a:gd name="connsiteY93" fmla="*/ 876300 h 1088232"/>
              <a:gd name="connsiteX94" fmla="*/ 1454942 w 2559842"/>
              <a:gd name="connsiteY94" fmla="*/ 876300 h 1088232"/>
              <a:gd name="connsiteX95" fmla="*/ 1454942 w 2559842"/>
              <a:gd name="connsiteY95" fmla="*/ 897732 h 1088232"/>
              <a:gd name="connsiteX96" fmla="*/ 1728786 w 2559842"/>
              <a:gd name="connsiteY96" fmla="*/ 897732 h 1088232"/>
              <a:gd name="connsiteX97" fmla="*/ 1728786 w 2559842"/>
              <a:gd name="connsiteY97" fmla="*/ 921544 h 1088232"/>
              <a:gd name="connsiteX98" fmla="*/ 1816892 w 2559842"/>
              <a:gd name="connsiteY98" fmla="*/ 921544 h 1088232"/>
              <a:gd name="connsiteX99" fmla="*/ 1816892 w 2559842"/>
              <a:gd name="connsiteY99" fmla="*/ 954882 h 1088232"/>
              <a:gd name="connsiteX100" fmla="*/ 2057398 w 2559842"/>
              <a:gd name="connsiteY100" fmla="*/ 954882 h 1088232"/>
              <a:gd name="connsiteX101" fmla="*/ 2057398 w 2559842"/>
              <a:gd name="connsiteY101" fmla="*/ 990600 h 1088232"/>
              <a:gd name="connsiteX102" fmla="*/ 2102642 w 2559842"/>
              <a:gd name="connsiteY102" fmla="*/ 990600 h 1088232"/>
              <a:gd name="connsiteX103" fmla="*/ 2102642 w 2559842"/>
              <a:gd name="connsiteY103" fmla="*/ 1021557 h 1088232"/>
              <a:gd name="connsiteX104" fmla="*/ 2288379 w 2559842"/>
              <a:gd name="connsiteY104" fmla="*/ 1021557 h 1088232"/>
              <a:gd name="connsiteX105" fmla="*/ 2288379 w 2559842"/>
              <a:gd name="connsiteY105" fmla="*/ 1088232 h 1088232"/>
              <a:gd name="connsiteX106" fmla="*/ 2559842 w 2559842"/>
              <a:gd name="connsiteY106" fmla="*/ 1088232 h 1088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</a:cxnLst>
            <a:rect l="l" t="t" r="r" b="b"/>
            <a:pathLst>
              <a:path w="2559842" h="1088232">
                <a:moveTo>
                  <a:pt x="0" y="0"/>
                </a:moveTo>
                <a:lnTo>
                  <a:pt x="10539" y="343"/>
                </a:lnTo>
                <a:cubicBezTo>
                  <a:pt x="10473" y="2773"/>
                  <a:pt x="10408" y="5202"/>
                  <a:pt x="10342" y="7632"/>
                </a:cubicBezTo>
                <a:lnTo>
                  <a:pt x="54667" y="7748"/>
                </a:lnTo>
                <a:cubicBezTo>
                  <a:pt x="54700" y="20247"/>
                  <a:pt x="54734" y="32745"/>
                  <a:pt x="54767" y="45244"/>
                </a:cubicBezTo>
                <a:lnTo>
                  <a:pt x="73817" y="45244"/>
                </a:lnTo>
                <a:lnTo>
                  <a:pt x="73817" y="52388"/>
                </a:lnTo>
                <a:lnTo>
                  <a:pt x="78579" y="52388"/>
                </a:lnTo>
                <a:lnTo>
                  <a:pt x="78579" y="66675"/>
                </a:lnTo>
                <a:lnTo>
                  <a:pt x="85723" y="66675"/>
                </a:lnTo>
                <a:lnTo>
                  <a:pt x="85723" y="80963"/>
                </a:lnTo>
                <a:lnTo>
                  <a:pt x="100011" y="80963"/>
                </a:lnTo>
                <a:lnTo>
                  <a:pt x="100011" y="92869"/>
                </a:lnTo>
                <a:lnTo>
                  <a:pt x="111917" y="92869"/>
                </a:lnTo>
                <a:lnTo>
                  <a:pt x="111917" y="109538"/>
                </a:lnTo>
                <a:lnTo>
                  <a:pt x="126204" y="109538"/>
                </a:lnTo>
                <a:lnTo>
                  <a:pt x="126204" y="119063"/>
                </a:lnTo>
                <a:lnTo>
                  <a:pt x="135729" y="119063"/>
                </a:lnTo>
                <a:lnTo>
                  <a:pt x="135729" y="142875"/>
                </a:lnTo>
                <a:lnTo>
                  <a:pt x="145254" y="142875"/>
                </a:lnTo>
                <a:lnTo>
                  <a:pt x="145254" y="178594"/>
                </a:lnTo>
                <a:lnTo>
                  <a:pt x="145254" y="221457"/>
                </a:lnTo>
                <a:lnTo>
                  <a:pt x="152398" y="221457"/>
                </a:lnTo>
                <a:lnTo>
                  <a:pt x="152398" y="269082"/>
                </a:lnTo>
                <a:lnTo>
                  <a:pt x="157161" y="269082"/>
                </a:lnTo>
                <a:lnTo>
                  <a:pt x="157161" y="288132"/>
                </a:lnTo>
                <a:lnTo>
                  <a:pt x="164304" y="288132"/>
                </a:lnTo>
                <a:lnTo>
                  <a:pt x="164304" y="314325"/>
                </a:lnTo>
                <a:lnTo>
                  <a:pt x="164304" y="316707"/>
                </a:lnTo>
                <a:lnTo>
                  <a:pt x="164304" y="354807"/>
                </a:lnTo>
                <a:lnTo>
                  <a:pt x="176211" y="354807"/>
                </a:lnTo>
                <a:lnTo>
                  <a:pt x="176211" y="371475"/>
                </a:lnTo>
                <a:lnTo>
                  <a:pt x="183354" y="371475"/>
                </a:lnTo>
                <a:lnTo>
                  <a:pt x="183354" y="381000"/>
                </a:lnTo>
                <a:lnTo>
                  <a:pt x="211929" y="381000"/>
                </a:lnTo>
                <a:lnTo>
                  <a:pt x="212450" y="383382"/>
                </a:lnTo>
                <a:lnTo>
                  <a:pt x="226217" y="383382"/>
                </a:lnTo>
                <a:lnTo>
                  <a:pt x="226217" y="421482"/>
                </a:lnTo>
                <a:lnTo>
                  <a:pt x="283367" y="421482"/>
                </a:lnTo>
                <a:lnTo>
                  <a:pt x="283367" y="445294"/>
                </a:lnTo>
                <a:lnTo>
                  <a:pt x="290511" y="445294"/>
                </a:lnTo>
                <a:lnTo>
                  <a:pt x="290511" y="459582"/>
                </a:lnTo>
                <a:lnTo>
                  <a:pt x="304798" y="459582"/>
                </a:lnTo>
                <a:lnTo>
                  <a:pt x="304798" y="469107"/>
                </a:lnTo>
                <a:lnTo>
                  <a:pt x="335335" y="469107"/>
                </a:lnTo>
                <a:cubicBezTo>
                  <a:pt x="335475" y="470694"/>
                  <a:pt x="335614" y="472282"/>
                  <a:pt x="335754" y="473869"/>
                </a:cubicBezTo>
                <a:lnTo>
                  <a:pt x="369092" y="473869"/>
                </a:lnTo>
                <a:lnTo>
                  <a:pt x="369092" y="485775"/>
                </a:lnTo>
                <a:lnTo>
                  <a:pt x="383379" y="485775"/>
                </a:lnTo>
                <a:lnTo>
                  <a:pt x="383379" y="552450"/>
                </a:lnTo>
                <a:lnTo>
                  <a:pt x="392904" y="552450"/>
                </a:lnTo>
                <a:lnTo>
                  <a:pt x="392904" y="566738"/>
                </a:lnTo>
                <a:lnTo>
                  <a:pt x="402429" y="566738"/>
                </a:lnTo>
                <a:lnTo>
                  <a:pt x="402429" y="614363"/>
                </a:lnTo>
                <a:lnTo>
                  <a:pt x="402429" y="614363"/>
                </a:lnTo>
                <a:lnTo>
                  <a:pt x="413182" y="614560"/>
                </a:lnTo>
                <a:lnTo>
                  <a:pt x="412474" y="626269"/>
                </a:lnTo>
                <a:lnTo>
                  <a:pt x="426242" y="626269"/>
                </a:lnTo>
                <a:lnTo>
                  <a:pt x="426242" y="647700"/>
                </a:lnTo>
                <a:lnTo>
                  <a:pt x="440529" y="647700"/>
                </a:lnTo>
                <a:lnTo>
                  <a:pt x="440529" y="659607"/>
                </a:lnTo>
                <a:lnTo>
                  <a:pt x="454817" y="659607"/>
                </a:lnTo>
                <a:lnTo>
                  <a:pt x="454817" y="666750"/>
                </a:lnTo>
                <a:lnTo>
                  <a:pt x="511447" y="666147"/>
                </a:lnTo>
                <a:lnTo>
                  <a:pt x="512386" y="673893"/>
                </a:lnTo>
                <a:lnTo>
                  <a:pt x="545304" y="673893"/>
                </a:lnTo>
                <a:lnTo>
                  <a:pt x="545304" y="688182"/>
                </a:lnTo>
                <a:lnTo>
                  <a:pt x="561973" y="688182"/>
                </a:lnTo>
                <a:lnTo>
                  <a:pt x="561973" y="702469"/>
                </a:lnTo>
                <a:lnTo>
                  <a:pt x="585786" y="702469"/>
                </a:lnTo>
                <a:lnTo>
                  <a:pt x="585786" y="707232"/>
                </a:lnTo>
                <a:lnTo>
                  <a:pt x="611979" y="707232"/>
                </a:lnTo>
                <a:lnTo>
                  <a:pt x="611979" y="716757"/>
                </a:lnTo>
                <a:lnTo>
                  <a:pt x="626267" y="716757"/>
                </a:lnTo>
                <a:lnTo>
                  <a:pt x="626267" y="728663"/>
                </a:lnTo>
                <a:lnTo>
                  <a:pt x="647698" y="728663"/>
                </a:lnTo>
                <a:lnTo>
                  <a:pt x="647698" y="740569"/>
                </a:lnTo>
                <a:lnTo>
                  <a:pt x="666748" y="740569"/>
                </a:lnTo>
                <a:lnTo>
                  <a:pt x="666748" y="754857"/>
                </a:lnTo>
                <a:lnTo>
                  <a:pt x="671511" y="754857"/>
                </a:lnTo>
                <a:lnTo>
                  <a:pt x="671511" y="759619"/>
                </a:lnTo>
                <a:lnTo>
                  <a:pt x="783429" y="759619"/>
                </a:lnTo>
                <a:lnTo>
                  <a:pt x="783429" y="769144"/>
                </a:lnTo>
                <a:lnTo>
                  <a:pt x="831054" y="769144"/>
                </a:lnTo>
                <a:lnTo>
                  <a:pt x="831054" y="788194"/>
                </a:lnTo>
                <a:lnTo>
                  <a:pt x="881061" y="788194"/>
                </a:lnTo>
                <a:lnTo>
                  <a:pt x="884163" y="788194"/>
                </a:lnTo>
                <a:cubicBezTo>
                  <a:pt x="884270" y="795920"/>
                  <a:pt x="884376" y="803645"/>
                  <a:pt x="884483" y="811371"/>
                </a:cubicBezTo>
                <a:lnTo>
                  <a:pt x="945354" y="809625"/>
                </a:lnTo>
                <a:lnTo>
                  <a:pt x="945354" y="838200"/>
                </a:lnTo>
                <a:lnTo>
                  <a:pt x="1181098" y="838200"/>
                </a:lnTo>
                <a:lnTo>
                  <a:pt x="1181098" y="859632"/>
                </a:lnTo>
                <a:lnTo>
                  <a:pt x="1364454" y="859632"/>
                </a:lnTo>
                <a:lnTo>
                  <a:pt x="1364454" y="876300"/>
                </a:lnTo>
                <a:lnTo>
                  <a:pt x="1454942" y="876300"/>
                </a:lnTo>
                <a:lnTo>
                  <a:pt x="1454942" y="897732"/>
                </a:lnTo>
                <a:lnTo>
                  <a:pt x="1728786" y="897732"/>
                </a:lnTo>
                <a:lnTo>
                  <a:pt x="1728786" y="921544"/>
                </a:lnTo>
                <a:lnTo>
                  <a:pt x="1816892" y="921544"/>
                </a:lnTo>
                <a:lnTo>
                  <a:pt x="1816892" y="954882"/>
                </a:lnTo>
                <a:lnTo>
                  <a:pt x="2057398" y="954882"/>
                </a:lnTo>
                <a:lnTo>
                  <a:pt x="2057398" y="990600"/>
                </a:lnTo>
                <a:lnTo>
                  <a:pt x="2102642" y="990600"/>
                </a:lnTo>
                <a:lnTo>
                  <a:pt x="2102642" y="1021557"/>
                </a:lnTo>
                <a:lnTo>
                  <a:pt x="2288379" y="1021557"/>
                </a:lnTo>
                <a:lnTo>
                  <a:pt x="2288379" y="1088232"/>
                </a:lnTo>
                <a:lnTo>
                  <a:pt x="2559842" y="1088232"/>
                </a:lnTo>
              </a:path>
            </a:pathLst>
          </a:cu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AF4A8EE6-72D2-68F4-70A8-15D2147F7D94}"/>
              </a:ext>
            </a:extLst>
          </p:cNvPr>
          <p:cNvCxnSpPr>
            <a:cxnSpLocks/>
          </p:cNvCxnSpPr>
          <p:nvPr/>
        </p:nvCxnSpPr>
        <p:spPr>
          <a:xfrm rot="16200000">
            <a:off x="3023410" y="3866391"/>
            <a:ext cx="49661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D9C5C771-13B1-0577-9EAA-9822E2D1E1A4}"/>
              </a:ext>
            </a:extLst>
          </p:cNvPr>
          <p:cNvCxnSpPr>
            <a:cxnSpLocks/>
          </p:cNvCxnSpPr>
          <p:nvPr/>
        </p:nvCxnSpPr>
        <p:spPr>
          <a:xfrm rot="16200000">
            <a:off x="3327154" y="3894223"/>
            <a:ext cx="49661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0F1FC234-0576-AAF3-FD61-CBB15217CB23}"/>
              </a:ext>
            </a:extLst>
          </p:cNvPr>
          <p:cNvCxnSpPr>
            <a:cxnSpLocks/>
          </p:cNvCxnSpPr>
          <p:nvPr/>
        </p:nvCxnSpPr>
        <p:spPr>
          <a:xfrm rot="16200000">
            <a:off x="3372828" y="3904169"/>
            <a:ext cx="49661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BFB1B875-7BA8-E293-67BA-1DBF5861F236}"/>
              </a:ext>
            </a:extLst>
          </p:cNvPr>
          <p:cNvCxnSpPr>
            <a:cxnSpLocks/>
          </p:cNvCxnSpPr>
          <p:nvPr/>
        </p:nvCxnSpPr>
        <p:spPr>
          <a:xfrm rot="16200000">
            <a:off x="3652774" y="3938807"/>
            <a:ext cx="49661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6F05C032-23B0-6E0F-2ACE-73D21549D157}"/>
              </a:ext>
            </a:extLst>
          </p:cNvPr>
          <p:cNvCxnSpPr>
            <a:cxnSpLocks/>
          </p:cNvCxnSpPr>
          <p:nvPr/>
        </p:nvCxnSpPr>
        <p:spPr>
          <a:xfrm rot="16200000">
            <a:off x="3723120" y="3938807"/>
            <a:ext cx="49661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>
            <a:extLst>
              <a:ext uri="{FF2B5EF4-FFF2-40B4-BE49-F238E27FC236}">
                <a16:creationId xmlns:a16="http://schemas.microsoft.com/office/drawing/2014/main" id="{EDC4B95A-9F4C-9E36-A13F-9650047687D0}"/>
              </a:ext>
            </a:extLst>
          </p:cNvPr>
          <p:cNvCxnSpPr>
            <a:cxnSpLocks/>
          </p:cNvCxnSpPr>
          <p:nvPr/>
        </p:nvCxnSpPr>
        <p:spPr>
          <a:xfrm rot="16200000">
            <a:off x="3759420" y="3938807"/>
            <a:ext cx="49661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E58AB441-5013-9FEF-3399-C1E970FF82B4}"/>
              </a:ext>
            </a:extLst>
          </p:cNvPr>
          <p:cNvCxnSpPr>
            <a:cxnSpLocks/>
          </p:cNvCxnSpPr>
          <p:nvPr/>
        </p:nvCxnSpPr>
        <p:spPr>
          <a:xfrm rot="16200000">
            <a:off x="3798883" y="3935806"/>
            <a:ext cx="49661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207D9ED5-8464-C16A-FDA1-A9CEF53B5175}"/>
              </a:ext>
            </a:extLst>
          </p:cNvPr>
          <p:cNvCxnSpPr>
            <a:cxnSpLocks/>
          </p:cNvCxnSpPr>
          <p:nvPr/>
        </p:nvCxnSpPr>
        <p:spPr>
          <a:xfrm rot="16200000">
            <a:off x="3849231" y="3941808"/>
            <a:ext cx="49661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BD2DA010-503F-11B3-22A9-13093B4B8969}"/>
              </a:ext>
            </a:extLst>
          </p:cNvPr>
          <p:cNvCxnSpPr>
            <a:cxnSpLocks/>
          </p:cNvCxnSpPr>
          <p:nvPr/>
        </p:nvCxnSpPr>
        <p:spPr>
          <a:xfrm rot="16200000">
            <a:off x="4084895" y="4016842"/>
            <a:ext cx="49661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E89386CD-B54C-E0D5-6663-A98FC52BB905}"/>
              </a:ext>
            </a:extLst>
          </p:cNvPr>
          <p:cNvCxnSpPr>
            <a:cxnSpLocks/>
          </p:cNvCxnSpPr>
          <p:nvPr/>
        </p:nvCxnSpPr>
        <p:spPr>
          <a:xfrm rot="16200000">
            <a:off x="3930124" y="3968820"/>
            <a:ext cx="49661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F001D084-454D-AAF9-DD70-4BC40279F469}"/>
              </a:ext>
            </a:extLst>
          </p:cNvPr>
          <p:cNvCxnSpPr>
            <a:cxnSpLocks/>
          </p:cNvCxnSpPr>
          <p:nvPr/>
        </p:nvCxnSpPr>
        <p:spPr>
          <a:xfrm rot="16200000">
            <a:off x="3961787" y="3974821"/>
            <a:ext cx="49661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id="{0390D270-1D98-B56A-811D-0857CDE725DD}"/>
              </a:ext>
            </a:extLst>
          </p:cNvPr>
          <p:cNvCxnSpPr>
            <a:cxnSpLocks/>
          </p:cNvCxnSpPr>
          <p:nvPr/>
        </p:nvCxnSpPr>
        <p:spPr>
          <a:xfrm rot="16200000">
            <a:off x="4644167" y="4091877"/>
            <a:ext cx="49661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651FF9D3-BED3-62B4-2100-995FFAD4C97A}"/>
              </a:ext>
            </a:extLst>
          </p:cNvPr>
          <p:cNvCxnSpPr>
            <a:cxnSpLocks/>
          </p:cNvCxnSpPr>
          <p:nvPr/>
        </p:nvCxnSpPr>
        <p:spPr>
          <a:xfrm rot="16200000">
            <a:off x="4773084" y="4172133"/>
            <a:ext cx="49661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Straight Connector 92">
            <a:extLst>
              <a:ext uri="{FF2B5EF4-FFF2-40B4-BE49-F238E27FC236}">
                <a16:creationId xmlns:a16="http://schemas.microsoft.com/office/drawing/2014/main" id="{092BD53F-8EC0-B4DA-5C60-D6329DB866CC}"/>
              </a:ext>
            </a:extLst>
          </p:cNvPr>
          <p:cNvCxnSpPr>
            <a:cxnSpLocks/>
          </p:cNvCxnSpPr>
          <p:nvPr/>
        </p:nvCxnSpPr>
        <p:spPr>
          <a:xfrm rot="16200000">
            <a:off x="4855208" y="4177124"/>
            <a:ext cx="49661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76803174-941C-0E73-1EB2-9255577FD961}"/>
              </a:ext>
            </a:extLst>
          </p:cNvPr>
          <p:cNvCxnSpPr>
            <a:cxnSpLocks/>
          </p:cNvCxnSpPr>
          <p:nvPr/>
        </p:nvCxnSpPr>
        <p:spPr>
          <a:xfrm rot="16200000">
            <a:off x="4879832" y="4180126"/>
            <a:ext cx="49661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Straight Connector 96">
            <a:extLst>
              <a:ext uri="{FF2B5EF4-FFF2-40B4-BE49-F238E27FC236}">
                <a16:creationId xmlns:a16="http://schemas.microsoft.com/office/drawing/2014/main" id="{3ADA40A3-49B1-A4E0-E819-D62D198B001C}"/>
              </a:ext>
            </a:extLst>
          </p:cNvPr>
          <p:cNvCxnSpPr>
            <a:cxnSpLocks/>
          </p:cNvCxnSpPr>
          <p:nvPr/>
        </p:nvCxnSpPr>
        <p:spPr>
          <a:xfrm rot="16200000">
            <a:off x="5134593" y="4172133"/>
            <a:ext cx="49661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Connector 99">
            <a:extLst>
              <a:ext uri="{FF2B5EF4-FFF2-40B4-BE49-F238E27FC236}">
                <a16:creationId xmlns:a16="http://schemas.microsoft.com/office/drawing/2014/main" id="{26CC71AC-DF6D-49C4-DECF-89CE686FE2EF}"/>
              </a:ext>
            </a:extLst>
          </p:cNvPr>
          <p:cNvCxnSpPr>
            <a:cxnSpLocks/>
          </p:cNvCxnSpPr>
          <p:nvPr/>
        </p:nvCxnSpPr>
        <p:spPr>
          <a:xfrm rot="16200000">
            <a:off x="1589309" y="3230462"/>
            <a:ext cx="49661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Straight Connector 121">
            <a:extLst>
              <a:ext uri="{FF2B5EF4-FFF2-40B4-BE49-F238E27FC236}">
                <a16:creationId xmlns:a16="http://schemas.microsoft.com/office/drawing/2014/main" id="{684A9D67-3095-D5AF-B52E-1A26DD4FFF21}"/>
              </a:ext>
            </a:extLst>
          </p:cNvPr>
          <p:cNvCxnSpPr>
            <a:cxnSpLocks/>
          </p:cNvCxnSpPr>
          <p:nvPr/>
        </p:nvCxnSpPr>
        <p:spPr>
          <a:xfrm rot="16200000">
            <a:off x="1385608" y="2800472"/>
            <a:ext cx="49661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Straight Connector 122">
            <a:extLst>
              <a:ext uri="{FF2B5EF4-FFF2-40B4-BE49-F238E27FC236}">
                <a16:creationId xmlns:a16="http://schemas.microsoft.com/office/drawing/2014/main" id="{59F26189-A1BF-8956-D229-F62F0152C99A}"/>
              </a:ext>
            </a:extLst>
          </p:cNvPr>
          <p:cNvCxnSpPr>
            <a:cxnSpLocks/>
          </p:cNvCxnSpPr>
          <p:nvPr/>
        </p:nvCxnSpPr>
        <p:spPr>
          <a:xfrm rot="16200000">
            <a:off x="1583391" y="3179075"/>
            <a:ext cx="49661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Straight Connector 123">
            <a:extLst>
              <a:ext uri="{FF2B5EF4-FFF2-40B4-BE49-F238E27FC236}">
                <a16:creationId xmlns:a16="http://schemas.microsoft.com/office/drawing/2014/main" id="{5FF44947-1716-9055-BAF0-D09DCD14F79A}"/>
              </a:ext>
            </a:extLst>
          </p:cNvPr>
          <p:cNvCxnSpPr>
            <a:cxnSpLocks/>
          </p:cNvCxnSpPr>
          <p:nvPr/>
        </p:nvCxnSpPr>
        <p:spPr>
          <a:xfrm rot="16200000">
            <a:off x="2814438" y="3866441"/>
            <a:ext cx="49661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Straight Connector 124">
            <a:extLst>
              <a:ext uri="{FF2B5EF4-FFF2-40B4-BE49-F238E27FC236}">
                <a16:creationId xmlns:a16="http://schemas.microsoft.com/office/drawing/2014/main" id="{801A5BD0-77BD-2872-A713-7957FE5C9DFC}"/>
              </a:ext>
            </a:extLst>
          </p:cNvPr>
          <p:cNvCxnSpPr>
            <a:cxnSpLocks/>
          </p:cNvCxnSpPr>
          <p:nvPr/>
        </p:nvCxnSpPr>
        <p:spPr>
          <a:xfrm rot="16200000">
            <a:off x="2886953" y="3865131"/>
            <a:ext cx="49661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Straight Connector 125">
            <a:extLst>
              <a:ext uri="{FF2B5EF4-FFF2-40B4-BE49-F238E27FC236}">
                <a16:creationId xmlns:a16="http://schemas.microsoft.com/office/drawing/2014/main" id="{75323D64-0BAE-ADAC-3F8B-AD7A87503A9D}"/>
              </a:ext>
            </a:extLst>
          </p:cNvPr>
          <p:cNvCxnSpPr>
            <a:cxnSpLocks/>
          </p:cNvCxnSpPr>
          <p:nvPr/>
        </p:nvCxnSpPr>
        <p:spPr>
          <a:xfrm rot="16200000">
            <a:off x="2923478" y="3866441"/>
            <a:ext cx="49661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Straight Connector 126">
            <a:extLst>
              <a:ext uri="{FF2B5EF4-FFF2-40B4-BE49-F238E27FC236}">
                <a16:creationId xmlns:a16="http://schemas.microsoft.com/office/drawing/2014/main" id="{7077C27F-48DE-24C8-6B36-6D6E0F0EE6B1}"/>
              </a:ext>
            </a:extLst>
          </p:cNvPr>
          <p:cNvCxnSpPr>
            <a:cxnSpLocks/>
          </p:cNvCxnSpPr>
          <p:nvPr/>
        </p:nvCxnSpPr>
        <p:spPr>
          <a:xfrm rot="16200000">
            <a:off x="2581623" y="3777189"/>
            <a:ext cx="49661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Straight Connector 127">
            <a:extLst>
              <a:ext uri="{FF2B5EF4-FFF2-40B4-BE49-F238E27FC236}">
                <a16:creationId xmlns:a16="http://schemas.microsoft.com/office/drawing/2014/main" id="{DC57A8CF-5522-F421-E1BD-B56D146502FC}"/>
              </a:ext>
            </a:extLst>
          </p:cNvPr>
          <p:cNvCxnSpPr>
            <a:cxnSpLocks/>
          </p:cNvCxnSpPr>
          <p:nvPr/>
        </p:nvCxnSpPr>
        <p:spPr>
          <a:xfrm rot="16200000">
            <a:off x="2833523" y="3863275"/>
            <a:ext cx="49661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Straight Connector 128">
            <a:extLst>
              <a:ext uri="{FF2B5EF4-FFF2-40B4-BE49-F238E27FC236}">
                <a16:creationId xmlns:a16="http://schemas.microsoft.com/office/drawing/2014/main" id="{18973636-FB65-7BCF-FC64-F552600BDC8E}"/>
              </a:ext>
            </a:extLst>
          </p:cNvPr>
          <p:cNvCxnSpPr>
            <a:cxnSpLocks/>
          </p:cNvCxnSpPr>
          <p:nvPr/>
        </p:nvCxnSpPr>
        <p:spPr>
          <a:xfrm rot="16200000">
            <a:off x="2855979" y="3861584"/>
            <a:ext cx="49661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Straight Connector 129">
            <a:extLst>
              <a:ext uri="{FF2B5EF4-FFF2-40B4-BE49-F238E27FC236}">
                <a16:creationId xmlns:a16="http://schemas.microsoft.com/office/drawing/2014/main" id="{75F077CC-5DB8-B7DC-8CB0-1E6B5C13651B}"/>
              </a:ext>
            </a:extLst>
          </p:cNvPr>
          <p:cNvCxnSpPr>
            <a:cxnSpLocks/>
          </p:cNvCxnSpPr>
          <p:nvPr/>
        </p:nvCxnSpPr>
        <p:spPr>
          <a:xfrm rot="16200000">
            <a:off x="1999074" y="3628221"/>
            <a:ext cx="49661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Straight Connector 130">
            <a:extLst>
              <a:ext uri="{FF2B5EF4-FFF2-40B4-BE49-F238E27FC236}">
                <a16:creationId xmlns:a16="http://schemas.microsoft.com/office/drawing/2014/main" id="{F1AA5B28-E918-07F9-F078-6D502F1A5B60}"/>
              </a:ext>
            </a:extLst>
          </p:cNvPr>
          <p:cNvCxnSpPr>
            <a:cxnSpLocks/>
          </p:cNvCxnSpPr>
          <p:nvPr/>
        </p:nvCxnSpPr>
        <p:spPr>
          <a:xfrm rot="16200000">
            <a:off x="1976615" y="3592823"/>
            <a:ext cx="49661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Straight Connector 131">
            <a:extLst>
              <a:ext uri="{FF2B5EF4-FFF2-40B4-BE49-F238E27FC236}">
                <a16:creationId xmlns:a16="http://schemas.microsoft.com/office/drawing/2014/main" id="{BE350282-D003-18FB-5F07-AA500184662F}"/>
              </a:ext>
            </a:extLst>
          </p:cNvPr>
          <p:cNvCxnSpPr>
            <a:cxnSpLocks/>
          </p:cNvCxnSpPr>
          <p:nvPr/>
        </p:nvCxnSpPr>
        <p:spPr>
          <a:xfrm rot="16200000">
            <a:off x="2367848" y="3767781"/>
            <a:ext cx="49661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Straight Connector 132">
            <a:extLst>
              <a:ext uri="{FF2B5EF4-FFF2-40B4-BE49-F238E27FC236}">
                <a16:creationId xmlns:a16="http://schemas.microsoft.com/office/drawing/2014/main" id="{C62C0011-39CE-B0E2-95F1-9EA35057D43A}"/>
              </a:ext>
            </a:extLst>
          </p:cNvPr>
          <p:cNvCxnSpPr>
            <a:cxnSpLocks/>
          </p:cNvCxnSpPr>
          <p:nvPr/>
        </p:nvCxnSpPr>
        <p:spPr>
          <a:xfrm rot="16200000">
            <a:off x="2026663" y="3647726"/>
            <a:ext cx="49661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Straight Connector 133">
            <a:extLst>
              <a:ext uri="{FF2B5EF4-FFF2-40B4-BE49-F238E27FC236}">
                <a16:creationId xmlns:a16="http://schemas.microsoft.com/office/drawing/2014/main" id="{79FFFACA-2D1B-54AB-6017-48BEFBA7C76F}"/>
              </a:ext>
            </a:extLst>
          </p:cNvPr>
          <p:cNvCxnSpPr>
            <a:cxnSpLocks/>
          </p:cNvCxnSpPr>
          <p:nvPr/>
        </p:nvCxnSpPr>
        <p:spPr>
          <a:xfrm rot="16200000">
            <a:off x="2327813" y="3743771"/>
            <a:ext cx="49661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5" name="Straight Connector 134">
            <a:extLst>
              <a:ext uri="{FF2B5EF4-FFF2-40B4-BE49-F238E27FC236}">
                <a16:creationId xmlns:a16="http://schemas.microsoft.com/office/drawing/2014/main" id="{EB258EE5-AFC4-D616-7B39-C35233E8E1A1}"/>
              </a:ext>
            </a:extLst>
          </p:cNvPr>
          <p:cNvCxnSpPr>
            <a:cxnSpLocks/>
          </p:cNvCxnSpPr>
          <p:nvPr/>
        </p:nvCxnSpPr>
        <p:spPr>
          <a:xfrm rot="16200000">
            <a:off x="2248257" y="3692747"/>
            <a:ext cx="49661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6" name="Straight Connector 135">
            <a:extLst>
              <a:ext uri="{FF2B5EF4-FFF2-40B4-BE49-F238E27FC236}">
                <a16:creationId xmlns:a16="http://schemas.microsoft.com/office/drawing/2014/main" id="{60B188B0-A0F3-99D9-17A5-EEAF52E27D7E}"/>
              </a:ext>
            </a:extLst>
          </p:cNvPr>
          <p:cNvCxnSpPr>
            <a:cxnSpLocks/>
          </p:cNvCxnSpPr>
          <p:nvPr/>
        </p:nvCxnSpPr>
        <p:spPr>
          <a:xfrm rot="16200000">
            <a:off x="2276947" y="3698750"/>
            <a:ext cx="49661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7" name="Straight Connector 136">
            <a:extLst>
              <a:ext uri="{FF2B5EF4-FFF2-40B4-BE49-F238E27FC236}">
                <a16:creationId xmlns:a16="http://schemas.microsoft.com/office/drawing/2014/main" id="{DCD14CBB-7EE6-1749-3A65-33FB4795D84C}"/>
              </a:ext>
            </a:extLst>
          </p:cNvPr>
          <p:cNvCxnSpPr>
            <a:cxnSpLocks/>
          </p:cNvCxnSpPr>
          <p:nvPr/>
        </p:nvCxnSpPr>
        <p:spPr>
          <a:xfrm rot="16200000">
            <a:off x="2343235" y="3743769"/>
            <a:ext cx="49661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Straight Connector 137">
            <a:extLst>
              <a:ext uri="{FF2B5EF4-FFF2-40B4-BE49-F238E27FC236}">
                <a16:creationId xmlns:a16="http://schemas.microsoft.com/office/drawing/2014/main" id="{C28AACFE-0925-1AA6-7BD5-1CFE6A260D6D}"/>
              </a:ext>
            </a:extLst>
          </p:cNvPr>
          <p:cNvCxnSpPr>
            <a:cxnSpLocks/>
          </p:cNvCxnSpPr>
          <p:nvPr/>
        </p:nvCxnSpPr>
        <p:spPr>
          <a:xfrm rot="16200000">
            <a:off x="2215254" y="3692746"/>
            <a:ext cx="49661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9" name="Straight Connector 138">
            <a:extLst>
              <a:ext uri="{FF2B5EF4-FFF2-40B4-BE49-F238E27FC236}">
                <a16:creationId xmlns:a16="http://schemas.microsoft.com/office/drawing/2014/main" id="{7B90BBDE-87B9-55D4-0401-A3E9B2FAE33F}"/>
              </a:ext>
            </a:extLst>
          </p:cNvPr>
          <p:cNvCxnSpPr>
            <a:cxnSpLocks/>
          </p:cNvCxnSpPr>
          <p:nvPr/>
        </p:nvCxnSpPr>
        <p:spPr>
          <a:xfrm rot="16200000">
            <a:off x="2301019" y="3719760"/>
            <a:ext cx="49661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Straight Connector 139">
            <a:extLst>
              <a:ext uri="{FF2B5EF4-FFF2-40B4-BE49-F238E27FC236}">
                <a16:creationId xmlns:a16="http://schemas.microsoft.com/office/drawing/2014/main" id="{EA54938D-06DA-6C16-008E-DB749C8FA3ED}"/>
              </a:ext>
            </a:extLst>
          </p:cNvPr>
          <p:cNvCxnSpPr>
            <a:cxnSpLocks/>
          </p:cNvCxnSpPr>
          <p:nvPr/>
        </p:nvCxnSpPr>
        <p:spPr>
          <a:xfrm flipV="1">
            <a:off x="1667256" y="3260923"/>
            <a:ext cx="0" cy="49661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Straight Connector 140">
            <a:extLst>
              <a:ext uri="{FF2B5EF4-FFF2-40B4-BE49-F238E27FC236}">
                <a16:creationId xmlns:a16="http://schemas.microsoft.com/office/drawing/2014/main" id="{16A76165-99F4-C824-1FE7-7A89C3064C28}"/>
              </a:ext>
            </a:extLst>
          </p:cNvPr>
          <p:cNvCxnSpPr>
            <a:cxnSpLocks/>
          </p:cNvCxnSpPr>
          <p:nvPr/>
        </p:nvCxnSpPr>
        <p:spPr>
          <a:xfrm flipV="1">
            <a:off x="1826884" y="3360388"/>
            <a:ext cx="0" cy="49661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Straight Connector 141">
            <a:extLst>
              <a:ext uri="{FF2B5EF4-FFF2-40B4-BE49-F238E27FC236}">
                <a16:creationId xmlns:a16="http://schemas.microsoft.com/office/drawing/2014/main" id="{BEC4F415-8063-EBB9-504B-FFD54E5A7D7D}"/>
              </a:ext>
            </a:extLst>
          </p:cNvPr>
          <p:cNvCxnSpPr>
            <a:cxnSpLocks/>
          </p:cNvCxnSpPr>
          <p:nvPr/>
        </p:nvCxnSpPr>
        <p:spPr>
          <a:xfrm flipV="1">
            <a:off x="1684841" y="3255293"/>
            <a:ext cx="0" cy="49661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Straight Connector 142">
            <a:extLst>
              <a:ext uri="{FF2B5EF4-FFF2-40B4-BE49-F238E27FC236}">
                <a16:creationId xmlns:a16="http://schemas.microsoft.com/office/drawing/2014/main" id="{04A30AD7-14A9-ED43-F23D-EE9F3F1C1B2C}"/>
              </a:ext>
            </a:extLst>
          </p:cNvPr>
          <p:cNvCxnSpPr>
            <a:cxnSpLocks/>
          </p:cNvCxnSpPr>
          <p:nvPr/>
        </p:nvCxnSpPr>
        <p:spPr>
          <a:xfrm flipV="1">
            <a:off x="1653944" y="3262607"/>
            <a:ext cx="0" cy="49661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Straight Connector 143">
            <a:extLst>
              <a:ext uri="{FF2B5EF4-FFF2-40B4-BE49-F238E27FC236}">
                <a16:creationId xmlns:a16="http://schemas.microsoft.com/office/drawing/2014/main" id="{2D53A1B8-CFE6-14D8-9057-4C6C342C652E}"/>
              </a:ext>
            </a:extLst>
          </p:cNvPr>
          <p:cNvCxnSpPr>
            <a:cxnSpLocks/>
          </p:cNvCxnSpPr>
          <p:nvPr/>
        </p:nvCxnSpPr>
        <p:spPr>
          <a:xfrm flipV="1">
            <a:off x="1978213" y="3495547"/>
            <a:ext cx="0" cy="49661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5" name="Straight Connector 144">
            <a:extLst>
              <a:ext uri="{FF2B5EF4-FFF2-40B4-BE49-F238E27FC236}">
                <a16:creationId xmlns:a16="http://schemas.microsoft.com/office/drawing/2014/main" id="{5ED7C669-41C7-E40D-0F94-91A97E5A20B6}"/>
              </a:ext>
            </a:extLst>
          </p:cNvPr>
          <p:cNvCxnSpPr>
            <a:cxnSpLocks/>
          </p:cNvCxnSpPr>
          <p:nvPr/>
        </p:nvCxnSpPr>
        <p:spPr>
          <a:xfrm flipV="1">
            <a:off x="1856116" y="3364707"/>
            <a:ext cx="0" cy="49661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Straight Connector 145">
            <a:extLst>
              <a:ext uri="{FF2B5EF4-FFF2-40B4-BE49-F238E27FC236}">
                <a16:creationId xmlns:a16="http://schemas.microsoft.com/office/drawing/2014/main" id="{510E7467-FBC6-4C45-4998-1AB0506C7C51}"/>
              </a:ext>
            </a:extLst>
          </p:cNvPr>
          <p:cNvCxnSpPr>
            <a:cxnSpLocks/>
          </p:cNvCxnSpPr>
          <p:nvPr/>
        </p:nvCxnSpPr>
        <p:spPr>
          <a:xfrm rot="16200000">
            <a:off x="4697288" y="4091877"/>
            <a:ext cx="49661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Straight Connector 146">
            <a:extLst>
              <a:ext uri="{FF2B5EF4-FFF2-40B4-BE49-F238E27FC236}">
                <a16:creationId xmlns:a16="http://schemas.microsoft.com/office/drawing/2014/main" id="{1090C9AD-3405-F0BD-7EE8-3F8350BCF43B}"/>
              </a:ext>
            </a:extLst>
          </p:cNvPr>
          <p:cNvCxnSpPr>
            <a:cxnSpLocks/>
          </p:cNvCxnSpPr>
          <p:nvPr/>
        </p:nvCxnSpPr>
        <p:spPr>
          <a:xfrm rot="16200000">
            <a:off x="4714874" y="4091877"/>
            <a:ext cx="49661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Straight Connector 147">
            <a:extLst>
              <a:ext uri="{FF2B5EF4-FFF2-40B4-BE49-F238E27FC236}">
                <a16:creationId xmlns:a16="http://schemas.microsoft.com/office/drawing/2014/main" id="{EB543B15-D1E2-9D43-E28E-8A4EE4AE415D}"/>
              </a:ext>
            </a:extLst>
          </p:cNvPr>
          <p:cNvCxnSpPr>
            <a:cxnSpLocks/>
          </p:cNvCxnSpPr>
          <p:nvPr/>
        </p:nvCxnSpPr>
        <p:spPr>
          <a:xfrm rot="16200000">
            <a:off x="4728277" y="4094878"/>
            <a:ext cx="49661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Straight Connector 148">
            <a:extLst>
              <a:ext uri="{FF2B5EF4-FFF2-40B4-BE49-F238E27FC236}">
                <a16:creationId xmlns:a16="http://schemas.microsoft.com/office/drawing/2014/main" id="{8FE96E0E-632A-8965-B9C3-D228D12C911C}"/>
              </a:ext>
            </a:extLst>
          </p:cNvPr>
          <p:cNvCxnSpPr>
            <a:cxnSpLocks/>
          </p:cNvCxnSpPr>
          <p:nvPr/>
        </p:nvCxnSpPr>
        <p:spPr>
          <a:xfrm rot="16200000">
            <a:off x="4869281" y="4176733"/>
            <a:ext cx="49661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2" name="TextBox 151">
            <a:extLst>
              <a:ext uri="{FF2B5EF4-FFF2-40B4-BE49-F238E27FC236}">
                <a16:creationId xmlns:a16="http://schemas.microsoft.com/office/drawing/2014/main" id="{EF930B2D-C86C-9F1C-ECD3-96A9ED11D0CC}"/>
              </a:ext>
            </a:extLst>
          </p:cNvPr>
          <p:cNvSpPr txBox="1"/>
          <p:nvPr/>
        </p:nvSpPr>
        <p:spPr>
          <a:xfrm>
            <a:off x="5869209" y="5081701"/>
            <a:ext cx="864066" cy="11519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No. at risk</a:t>
            </a:r>
          </a:p>
        </p:txBody>
      </p:sp>
      <p:sp>
        <p:nvSpPr>
          <p:cNvPr id="153" name="TextBox 152">
            <a:extLst>
              <a:ext uri="{FF2B5EF4-FFF2-40B4-BE49-F238E27FC236}">
                <a16:creationId xmlns:a16="http://schemas.microsoft.com/office/drawing/2014/main" id="{26701679-F904-11B0-1364-65FD2B8CDE2C}"/>
              </a:ext>
            </a:extLst>
          </p:cNvPr>
          <p:cNvSpPr txBox="1"/>
          <p:nvPr/>
        </p:nvSpPr>
        <p:spPr>
          <a:xfrm>
            <a:off x="7053405" y="5133790"/>
            <a:ext cx="89895" cy="115198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</a:t>
            </a:r>
            <a:r>
              <a:rPr kumimoji="0" lang="en-CH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57</a:t>
            </a: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61" name="TextBox 160">
            <a:extLst>
              <a:ext uri="{FF2B5EF4-FFF2-40B4-BE49-F238E27FC236}">
                <a16:creationId xmlns:a16="http://schemas.microsoft.com/office/drawing/2014/main" id="{B8D9ABD9-0125-8600-B2D7-E27B3C3254BE}"/>
              </a:ext>
            </a:extLst>
          </p:cNvPr>
          <p:cNvSpPr txBox="1"/>
          <p:nvPr/>
        </p:nvSpPr>
        <p:spPr>
          <a:xfrm>
            <a:off x="11116957" y="5133790"/>
            <a:ext cx="177942" cy="115198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8</a:t>
            </a: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62" name="TextBox 161">
            <a:extLst>
              <a:ext uri="{FF2B5EF4-FFF2-40B4-BE49-F238E27FC236}">
                <a16:creationId xmlns:a16="http://schemas.microsoft.com/office/drawing/2014/main" id="{21652B2D-AC98-382F-A5A8-C92BC8486D17}"/>
              </a:ext>
            </a:extLst>
          </p:cNvPr>
          <p:cNvSpPr txBox="1"/>
          <p:nvPr/>
        </p:nvSpPr>
        <p:spPr>
          <a:xfrm>
            <a:off x="6765650" y="2722240"/>
            <a:ext cx="228337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00</a:t>
            </a:r>
          </a:p>
        </p:txBody>
      </p:sp>
      <p:sp>
        <p:nvSpPr>
          <p:cNvPr id="163" name="TextBox 162">
            <a:extLst>
              <a:ext uri="{FF2B5EF4-FFF2-40B4-BE49-F238E27FC236}">
                <a16:creationId xmlns:a16="http://schemas.microsoft.com/office/drawing/2014/main" id="{1B35054F-D580-9E13-DBA3-11D34D4D38C9}"/>
              </a:ext>
            </a:extLst>
          </p:cNvPr>
          <p:cNvSpPr txBox="1"/>
          <p:nvPr/>
        </p:nvSpPr>
        <p:spPr>
          <a:xfrm>
            <a:off x="6765650" y="3072944"/>
            <a:ext cx="228337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80</a:t>
            </a:r>
          </a:p>
        </p:txBody>
      </p:sp>
      <p:sp>
        <p:nvSpPr>
          <p:cNvPr id="164" name="TextBox 163">
            <a:extLst>
              <a:ext uri="{FF2B5EF4-FFF2-40B4-BE49-F238E27FC236}">
                <a16:creationId xmlns:a16="http://schemas.microsoft.com/office/drawing/2014/main" id="{9C170C32-8A33-F6B6-7953-BE9F2BC52C1B}"/>
              </a:ext>
            </a:extLst>
          </p:cNvPr>
          <p:cNvSpPr txBox="1"/>
          <p:nvPr/>
        </p:nvSpPr>
        <p:spPr>
          <a:xfrm>
            <a:off x="6765650" y="3423648"/>
            <a:ext cx="228337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60</a:t>
            </a:r>
          </a:p>
        </p:txBody>
      </p:sp>
      <p:sp>
        <p:nvSpPr>
          <p:cNvPr id="165" name="TextBox 164">
            <a:extLst>
              <a:ext uri="{FF2B5EF4-FFF2-40B4-BE49-F238E27FC236}">
                <a16:creationId xmlns:a16="http://schemas.microsoft.com/office/drawing/2014/main" id="{589600FB-0CF9-1044-8A32-EB6333C36DD7}"/>
              </a:ext>
            </a:extLst>
          </p:cNvPr>
          <p:cNvSpPr txBox="1"/>
          <p:nvPr/>
        </p:nvSpPr>
        <p:spPr>
          <a:xfrm>
            <a:off x="6765650" y="3774352"/>
            <a:ext cx="228337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40</a:t>
            </a:r>
          </a:p>
        </p:txBody>
      </p:sp>
      <p:sp>
        <p:nvSpPr>
          <p:cNvPr id="166" name="TextBox 165">
            <a:extLst>
              <a:ext uri="{FF2B5EF4-FFF2-40B4-BE49-F238E27FC236}">
                <a16:creationId xmlns:a16="http://schemas.microsoft.com/office/drawing/2014/main" id="{C8C82FDF-BA3B-4673-72B0-F3E84388D0F0}"/>
              </a:ext>
            </a:extLst>
          </p:cNvPr>
          <p:cNvSpPr txBox="1"/>
          <p:nvPr/>
        </p:nvSpPr>
        <p:spPr>
          <a:xfrm>
            <a:off x="6765650" y="4125056"/>
            <a:ext cx="228337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20</a:t>
            </a:r>
          </a:p>
        </p:txBody>
      </p:sp>
      <p:sp>
        <p:nvSpPr>
          <p:cNvPr id="167" name="TextBox 166">
            <a:extLst>
              <a:ext uri="{FF2B5EF4-FFF2-40B4-BE49-F238E27FC236}">
                <a16:creationId xmlns:a16="http://schemas.microsoft.com/office/drawing/2014/main" id="{E1B656AC-E0FA-3FD1-AE4B-5784E7EAF4F4}"/>
              </a:ext>
            </a:extLst>
          </p:cNvPr>
          <p:cNvSpPr txBox="1"/>
          <p:nvPr/>
        </p:nvSpPr>
        <p:spPr>
          <a:xfrm>
            <a:off x="6904123" y="4475758"/>
            <a:ext cx="89864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0</a:t>
            </a:r>
          </a:p>
        </p:txBody>
      </p:sp>
      <p:sp>
        <p:nvSpPr>
          <p:cNvPr id="168" name="TextBox 167">
            <a:extLst>
              <a:ext uri="{FF2B5EF4-FFF2-40B4-BE49-F238E27FC236}">
                <a16:creationId xmlns:a16="http://schemas.microsoft.com/office/drawing/2014/main" id="{2A2E1AC3-8B4B-68E9-6ED0-2A269FD9043B}"/>
              </a:ext>
            </a:extLst>
          </p:cNvPr>
          <p:cNvSpPr txBox="1"/>
          <p:nvPr/>
        </p:nvSpPr>
        <p:spPr>
          <a:xfrm rot="16200000">
            <a:off x="5575214" y="3607304"/>
            <a:ext cx="1924304" cy="169007"/>
          </a:xfrm>
          <a:prstGeom prst="rect">
            <a:avLst/>
          </a:prstGeom>
          <a:noFill/>
        </p:spPr>
        <p:txBody>
          <a:bodyPr wrap="non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Cumulative Incidence, %</a:t>
            </a:r>
          </a:p>
        </p:txBody>
      </p:sp>
      <p:cxnSp>
        <p:nvCxnSpPr>
          <p:cNvPr id="169" name="Straight Connector 168">
            <a:extLst>
              <a:ext uri="{FF2B5EF4-FFF2-40B4-BE49-F238E27FC236}">
                <a16:creationId xmlns:a16="http://schemas.microsoft.com/office/drawing/2014/main" id="{0CB743B3-679B-7DFB-3760-97B66F51B70F}"/>
              </a:ext>
            </a:extLst>
          </p:cNvPr>
          <p:cNvCxnSpPr>
            <a:cxnSpLocks/>
          </p:cNvCxnSpPr>
          <p:nvPr/>
        </p:nvCxnSpPr>
        <p:spPr>
          <a:xfrm>
            <a:off x="7098352" y="2776951"/>
            <a:ext cx="0" cy="182880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0" name="Straight Connector 169">
            <a:extLst>
              <a:ext uri="{FF2B5EF4-FFF2-40B4-BE49-F238E27FC236}">
                <a16:creationId xmlns:a16="http://schemas.microsoft.com/office/drawing/2014/main" id="{09D0821A-7627-4036-90FE-488E4888C5DF}"/>
              </a:ext>
            </a:extLst>
          </p:cNvPr>
          <p:cNvCxnSpPr>
            <a:cxnSpLocks/>
          </p:cNvCxnSpPr>
          <p:nvPr/>
        </p:nvCxnSpPr>
        <p:spPr>
          <a:xfrm>
            <a:off x="7025426" y="2781673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Straight Connector 170">
            <a:extLst>
              <a:ext uri="{FF2B5EF4-FFF2-40B4-BE49-F238E27FC236}">
                <a16:creationId xmlns:a16="http://schemas.microsoft.com/office/drawing/2014/main" id="{C1E55A97-BC75-59B4-DC6A-E02C69A48828}"/>
              </a:ext>
            </a:extLst>
          </p:cNvPr>
          <p:cNvCxnSpPr>
            <a:cxnSpLocks/>
          </p:cNvCxnSpPr>
          <p:nvPr/>
        </p:nvCxnSpPr>
        <p:spPr>
          <a:xfrm>
            <a:off x="7025426" y="3132089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2" name="Straight Connector 171">
            <a:extLst>
              <a:ext uri="{FF2B5EF4-FFF2-40B4-BE49-F238E27FC236}">
                <a16:creationId xmlns:a16="http://schemas.microsoft.com/office/drawing/2014/main" id="{A8DFC312-576F-B9AB-3AC8-6869EF3B9567}"/>
              </a:ext>
            </a:extLst>
          </p:cNvPr>
          <p:cNvCxnSpPr>
            <a:cxnSpLocks/>
          </p:cNvCxnSpPr>
          <p:nvPr/>
        </p:nvCxnSpPr>
        <p:spPr>
          <a:xfrm>
            <a:off x="7025426" y="3482505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3" name="Straight Connector 172">
            <a:extLst>
              <a:ext uri="{FF2B5EF4-FFF2-40B4-BE49-F238E27FC236}">
                <a16:creationId xmlns:a16="http://schemas.microsoft.com/office/drawing/2014/main" id="{B2646B72-CA8C-E370-5FAE-CDC778F83A8D}"/>
              </a:ext>
            </a:extLst>
          </p:cNvPr>
          <p:cNvCxnSpPr>
            <a:cxnSpLocks/>
          </p:cNvCxnSpPr>
          <p:nvPr/>
        </p:nvCxnSpPr>
        <p:spPr>
          <a:xfrm>
            <a:off x="7025426" y="4183337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4" name="Straight Connector 173">
            <a:extLst>
              <a:ext uri="{FF2B5EF4-FFF2-40B4-BE49-F238E27FC236}">
                <a16:creationId xmlns:a16="http://schemas.microsoft.com/office/drawing/2014/main" id="{CCA3A64D-1242-1765-17F2-DECD9FB76DBA}"/>
              </a:ext>
            </a:extLst>
          </p:cNvPr>
          <p:cNvCxnSpPr>
            <a:cxnSpLocks/>
          </p:cNvCxnSpPr>
          <p:nvPr/>
        </p:nvCxnSpPr>
        <p:spPr>
          <a:xfrm>
            <a:off x="7025426" y="3832921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5" name="Straight Connector 174">
            <a:extLst>
              <a:ext uri="{FF2B5EF4-FFF2-40B4-BE49-F238E27FC236}">
                <a16:creationId xmlns:a16="http://schemas.microsoft.com/office/drawing/2014/main" id="{49D88842-629B-4CA1-D4A4-05F6CA7C5278}"/>
              </a:ext>
            </a:extLst>
          </p:cNvPr>
          <p:cNvCxnSpPr>
            <a:cxnSpLocks/>
          </p:cNvCxnSpPr>
          <p:nvPr/>
        </p:nvCxnSpPr>
        <p:spPr>
          <a:xfrm>
            <a:off x="7025426" y="4533750"/>
            <a:ext cx="4309565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6" name="Straight Connector 175">
            <a:extLst>
              <a:ext uri="{FF2B5EF4-FFF2-40B4-BE49-F238E27FC236}">
                <a16:creationId xmlns:a16="http://schemas.microsoft.com/office/drawing/2014/main" id="{7CA289F8-DAF2-9A3D-70C8-2F46ACFD8D50}"/>
              </a:ext>
            </a:extLst>
          </p:cNvPr>
          <p:cNvCxnSpPr>
            <a:cxnSpLocks/>
          </p:cNvCxnSpPr>
          <p:nvPr/>
        </p:nvCxnSpPr>
        <p:spPr>
          <a:xfrm rot="16200000">
            <a:off x="9343497" y="4569750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Straight Connector 176">
            <a:extLst>
              <a:ext uri="{FF2B5EF4-FFF2-40B4-BE49-F238E27FC236}">
                <a16:creationId xmlns:a16="http://schemas.microsoft.com/office/drawing/2014/main" id="{26228B70-7287-4BDF-928F-828B7A3682F6}"/>
              </a:ext>
            </a:extLst>
          </p:cNvPr>
          <p:cNvCxnSpPr>
            <a:cxnSpLocks/>
          </p:cNvCxnSpPr>
          <p:nvPr/>
        </p:nvCxnSpPr>
        <p:spPr>
          <a:xfrm rot="16200000">
            <a:off x="9799726" y="4569750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Straight Connector 177">
            <a:extLst>
              <a:ext uri="{FF2B5EF4-FFF2-40B4-BE49-F238E27FC236}">
                <a16:creationId xmlns:a16="http://schemas.microsoft.com/office/drawing/2014/main" id="{FB35ED3E-9812-F05B-422E-6123CEAE98A5}"/>
              </a:ext>
            </a:extLst>
          </p:cNvPr>
          <p:cNvCxnSpPr>
            <a:cxnSpLocks/>
          </p:cNvCxnSpPr>
          <p:nvPr/>
        </p:nvCxnSpPr>
        <p:spPr>
          <a:xfrm rot="16200000">
            <a:off x="8887268" y="4569750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9" name="Straight Connector 178">
            <a:extLst>
              <a:ext uri="{FF2B5EF4-FFF2-40B4-BE49-F238E27FC236}">
                <a16:creationId xmlns:a16="http://schemas.microsoft.com/office/drawing/2014/main" id="{76D50CB5-103B-3C90-FC60-71D421D65AD2}"/>
              </a:ext>
            </a:extLst>
          </p:cNvPr>
          <p:cNvCxnSpPr>
            <a:cxnSpLocks/>
          </p:cNvCxnSpPr>
          <p:nvPr/>
        </p:nvCxnSpPr>
        <p:spPr>
          <a:xfrm rot="16200000">
            <a:off x="7974810" y="4569750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0" name="Straight Connector 179">
            <a:extLst>
              <a:ext uri="{FF2B5EF4-FFF2-40B4-BE49-F238E27FC236}">
                <a16:creationId xmlns:a16="http://schemas.microsoft.com/office/drawing/2014/main" id="{EB15FD0E-4CDE-7DBC-3468-8113CC688595}"/>
              </a:ext>
            </a:extLst>
          </p:cNvPr>
          <p:cNvCxnSpPr>
            <a:cxnSpLocks/>
          </p:cNvCxnSpPr>
          <p:nvPr/>
        </p:nvCxnSpPr>
        <p:spPr>
          <a:xfrm rot="16200000">
            <a:off x="7518581" y="4569751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1" name="Straight Connector 180">
            <a:extLst>
              <a:ext uri="{FF2B5EF4-FFF2-40B4-BE49-F238E27FC236}">
                <a16:creationId xmlns:a16="http://schemas.microsoft.com/office/drawing/2014/main" id="{CECA21B2-7FC2-7EE9-08A3-D383DB795565}"/>
              </a:ext>
            </a:extLst>
          </p:cNvPr>
          <p:cNvCxnSpPr>
            <a:cxnSpLocks/>
          </p:cNvCxnSpPr>
          <p:nvPr/>
        </p:nvCxnSpPr>
        <p:spPr>
          <a:xfrm rot="16200000">
            <a:off x="8431039" y="4569750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2" name="Straight Connector 181">
            <a:extLst>
              <a:ext uri="{FF2B5EF4-FFF2-40B4-BE49-F238E27FC236}">
                <a16:creationId xmlns:a16="http://schemas.microsoft.com/office/drawing/2014/main" id="{74053E6E-D522-7FA5-9559-93BEBF6A4FF7}"/>
              </a:ext>
            </a:extLst>
          </p:cNvPr>
          <p:cNvCxnSpPr>
            <a:cxnSpLocks/>
          </p:cNvCxnSpPr>
          <p:nvPr/>
        </p:nvCxnSpPr>
        <p:spPr>
          <a:xfrm rot="16200000">
            <a:off x="10255955" y="4569750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3" name="Straight Connector 182">
            <a:extLst>
              <a:ext uri="{FF2B5EF4-FFF2-40B4-BE49-F238E27FC236}">
                <a16:creationId xmlns:a16="http://schemas.microsoft.com/office/drawing/2014/main" id="{422ED892-EED1-667F-0133-3D8448CBB590}"/>
              </a:ext>
            </a:extLst>
          </p:cNvPr>
          <p:cNvCxnSpPr>
            <a:cxnSpLocks/>
          </p:cNvCxnSpPr>
          <p:nvPr/>
        </p:nvCxnSpPr>
        <p:spPr>
          <a:xfrm rot="16200000">
            <a:off x="11168409" y="4569750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" name="TextBox 183">
            <a:extLst>
              <a:ext uri="{FF2B5EF4-FFF2-40B4-BE49-F238E27FC236}">
                <a16:creationId xmlns:a16="http://schemas.microsoft.com/office/drawing/2014/main" id="{29764CDE-33F2-0EC0-2467-93FA5E6E392C}"/>
              </a:ext>
            </a:extLst>
          </p:cNvPr>
          <p:cNvSpPr txBox="1"/>
          <p:nvPr/>
        </p:nvSpPr>
        <p:spPr>
          <a:xfrm>
            <a:off x="7053420" y="4692504"/>
            <a:ext cx="89864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0</a:t>
            </a:r>
          </a:p>
        </p:txBody>
      </p:sp>
      <p:sp>
        <p:nvSpPr>
          <p:cNvPr id="154" name="TextBox 153">
            <a:extLst>
              <a:ext uri="{FF2B5EF4-FFF2-40B4-BE49-F238E27FC236}">
                <a16:creationId xmlns:a16="http://schemas.microsoft.com/office/drawing/2014/main" id="{FD92035D-0B05-F1C6-A790-7DB7B5A839CC}"/>
              </a:ext>
            </a:extLst>
          </p:cNvPr>
          <p:cNvSpPr txBox="1"/>
          <p:nvPr/>
        </p:nvSpPr>
        <p:spPr>
          <a:xfrm>
            <a:off x="7512691" y="5133790"/>
            <a:ext cx="89895" cy="115198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8</a:t>
            </a:r>
            <a:r>
              <a:rPr kumimoji="0" lang="en-CH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6</a:t>
            </a: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85" name="TextBox 184">
            <a:extLst>
              <a:ext uri="{FF2B5EF4-FFF2-40B4-BE49-F238E27FC236}">
                <a16:creationId xmlns:a16="http://schemas.microsoft.com/office/drawing/2014/main" id="{ED458354-9E13-D7B1-3458-99D87ADFB6CB}"/>
              </a:ext>
            </a:extLst>
          </p:cNvPr>
          <p:cNvSpPr txBox="1"/>
          <p:nvPr/>
        </p:nvSpPr>
        <p:spPr>
          <a:xfrm>
            <a:off x="7512722" y="4692504"/>
            <a:ext cx="89864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3</a:t>
            </a: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55" name="TextBox 154">
            <a:extLst>
              <a:ext uri="{FF2B5EF4-FFF2-40B4-BE49-F238E27FC236}">
                <a16:creationId xmlns:a16="http://schemas.microsoft.com/office/drawing/2014/main" id="{1D95AED9-03BB-9940-E6AF-94398504E373}"/>
              </a:ext>
            </a:extLst>
          </p:cNvPr>
          <p:cNvSpPr txBox="1"/>
          <p:nvPr/>
        </p:nvSpPr>
        <p:spPr>
          <a:xfrm>
            <a:off x="7967336" y="5133790"/>
            <a:ext cx="89895" cy="115198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5</a:t>
            </a:r>
            <a:r>
              <a:rPr kumimoji="0" lang="en-CH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8</a:t>
            </a: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86" name="TextBox 185">
            <a:extLst>
              <a:ext uri="{FF2B5EF4-FFF2-40B4-BE49-F238E27FC236}">
                <a16:creationId xmlns:a16="http://schemas.microsoft.com/office/drawing/2014/main" id="{EBCE4CB0-8064-2C2B-AA49-1B752A6A2E5F}"/>
              </a:ext>
            </a:extLst>
          </p:cNvPr>
          <p:cNvSpPr txBox="1"/>
          <p:nvPr/>
        </p:nvSpPr>
        <p:spPr>
          <a:xfrm>
            <a:off x="7967367" y="4692504"/>
            <a:ext cx="89864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6</a:t>
            </a: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56" name="TextBox 155">
            <a:extLst>
              <a:ext uri="{FF2B5EF4-FFF2-40B4-BE49-F238E27FC236}">
                <a16:creationId xmlns:a16="http://schemas.microsoft.com/office/drawing/2014/main" id="{35680B5D-E2BC-0477-C328-FCEA7673B233}"/>
              </a:ext>
            </a:extLst>
          </p:cNvPr>
          <p:cNvSpPr txBox="1"/>
          <p:nvPr/>
        </p:nvSpPr>
        <p:spPr>
          <a:xfrm>
            <a:off x="8424314" y="5133790"/>
            <a:ext cx="89895" cy="115198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5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2</a:t>
            </a:r>
          </a:p>
        </p:txBody>
      </p:sp>
      <p:sp>
        <p:nvSpPr>
          <p:cNvPr id="187" name="TextBox 186">
            <a:extLst>
              <a:ext uri="{FF2B5EF4-FFF2-40B4-BE49-F238E27FC236}">
                <a16:creationId xmlns:a16="http://schemas.microsoft.com/office/drawing/2014/main" id="{19848FF6-6C3F-F7E6-10EF-C4CAB98397BB}"/>
              </a:ext>
            </a:extLst>
          </p:cNvPr>
          <p:cNvSpPr txBox="1"/>
          <p:nvPr/>
        </p:nvSpPr>
        <p:spPr>
          <a:xfrm>
            <a:off x="8424345" y="4692504"/>
            <a:ext cx="89864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9</a:t>
            </a: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57" name="TextBox 156">
            <a:extLst>
              <a:ext uri="{FF2B5EF4-FFF2-40B4-BE49-F238E27FC236}">
                <a16:creationId xmlns:a16="http://schemas.microsoft.com/office/drawing/2014/main" id="{A8665F41-4DE6-23A3-4F19-B50E21C7F0DD}"/>
              </a:ext>
            </a:extLst>
          </p:cNvPr>
          <p:cNvSpPr txBox="1"/>
          <p:nvPr/>
        </p:nvSpPr>
        <p:spPr>
          <a:xfrm>
            <a:off x="8881285" y="5133790"/>
            <a:ext cx="89895" cy="115198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5</a:t>
            </a:r>
            <a:r>
              <a:rPr kumimoji="0" lang="en-CH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0</a:t>
            </a: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88" name="TextBox 187">
            <a:extLst>
              <a:ext uri="{FF2B5EF4-FFF2-40B4-BE49-F238E27FC236}">
                <a16:creationId xmlns:a16="http://schemas.microsoft.com/office/drawing/2014/main" id="{D6FC725A-48AE-E392-2EFA-B0EC771927CC}"/>
              </a:ext>
            </a:extLst>
          </p:cNvPr>
          <p:cNvSpPr txBox="1"/>
          <p:nvPr/>
        </p:nvSpPr>
        <p:spPr>
          <a:xfrm>
            <a:off x="8881316" y="4692504"/>
            <a:ext cx="89864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2</a:t>
            </a: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58" name="TextBox 157">
            <a:extLst>
              <a:ext uri="{FF2B5EF4-FFF2-40B4-BE49-F238E27FC236}">
                <a16:creationId xmlns:a16="http://schemas.microsoft.com/office/drawing/2014/main" id="{71FC1A6D-8842-C5F6-A686-1C1EBA1BCA3B}"/>
              </a:ext>
            </a:extLst>
          </p:cNvPr>
          <p:cNvSpPr txBox="1"/>
          <p:nvPr/>
        </p:nvSpPr>
        <p:spPr>
          <a:xfrm>
            <a:off x="9333494" y="5133790"/>
            <a:ext cx="89895" cy="115198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4</a:t>
            </a:r>
            <a:r>
              <a:rPr kumimoji="0" lang="en-CH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7</a:t>
            </a: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89" name="TextBox 188">
            <a:extLst>
              <a:ext uri="{FF2B5EF4-FFF2-40B4-BE49-F238E27FC236}">
                <a16:creationId xmlns:a16="http://schemas.microsoft.com/office/drawing/2014/main" id="{A7AD1946-97DA-0438-4530-E7734EB34344}"/>
              </a:ext>
            </a:extLst>
          </p:cNvPr>
          <p:cNvSpPr txBox="1"/>
          <p:nvPr/>
        </p:nvSpPr>
        <p:spPr>
          <a:xfrm>
            <a:off x="9333525" y="4692504"/>
            <a:ext cx="89864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5</a:t>
            </a: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59" name="TextBox 158">
            <a:extLst>
              <a:ext uri="{FF2B5EF4-FFF2-40B4-BE49-F238E27FC236}">
                <a16:creationId xmlns:a16="http://schemas.microsoft.com/office/drawing/2014/main" id="{7907AEFB-B6D2-A680-A5B2-CD6198FE311B}"/>
              </a:ext>
            </a:extLst>
          </p:cNvPr>
          <p:cNvSpPr txBox="1"/>
          <p:nvPr/>
        </p:nvSpPr>
        <p:spPr>
          <a:xfrm>
            <a:off x="9790472" y="5133790"/>
            <a:ext cx="89895" cy="115198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39</a:t>
            </a:r>
          </a:p>
        </p:txBody>
      </p:sp>
      <p:sp>
        <p:nvSpPr>
          <p:cNvPr id="190" name="TextBox 189">
            <a:extLst>
              <a:ext uri="{FF2B5EF4-FFF2-40B4-BE49-F238E27FC236}">
                <a16:creationId xmlns:a16="http://schemas.microsoft.com/office/drawing/2014/main" id="{E21675C2-3409-C91F-CD2C-103422328C3B}"/>
              </a:ext>
            </a:extLst>
          </p:cNvPr>
          <p:cNvSpPr txBox="1"/>
          <p:nvPr/>
        </p:nvSpPr>
        <p:spPr>
          <a:xfrm>
            <a:off x="9790503" y="4692504"/>
            <a:ext cx="89864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8</a:t>
            </a: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60" name="TextBox 159">
            <a:extLst>
              <a:ext uri="{FF2B5EF4-FFF2-40B4-BE49-F238E27FC236}">
                <a16:creationId xmlns:a16="http://schemas.microsoft.com/office/drawing/2014/main" id="{1B421BD7-09D5-F1EC-BB76-BB8D9BEF8288}"/>
              </a:ext>
            </a:extLst>
          </p:cNvPr>
          <p:cNvSpPr txBox="1"/>
          <p:nvPr/>
        </p:nvSpPr>
        <p:spPr>
          <a:xfrm>
            <a:off x="10247439" y="5133790"/>
            <a:ext cx="89895" cy="115198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3</a:t>
            </a:r>
            <a:r>
              <a:rPr kumimoji="0" lang="en-CH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6</a:t>
            </a: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91" name="TextBox 190">
            <a:extLst>
              <a:ext uri="{FF2B5EF4-FFF2-40B4-BE49-F238E27FC236}">
                <a16:creationId xmlns:a16="http://schemas.microsoft.com/office/drawing/2014/main" id="{6E33B1EE-A883-083F-C0E3-9BBA2F08D728}"/>
              </a:ext>
            </a:extLst>
          </p:cNvPr>
          <p:cNvSpPr txBox="1"/>
          <p:nvPr/>
        </p:nvSpPr>
        <p:spPr>
          <a:xfrm>
            <a:off x="10247470" y="4692504"/>
            <a:ext cx="89864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21</a:t>
            </a: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92" name="TextBox 191">
            <a:extLst>
              <a:ext uri="{FF2B5EF4-FFF2-40B4-BE49-F238E27FC236}">
                <a16:creationId xmlns:a16="http://schemas.microsoft.com/office/drawing/2014/main" id="{ED7BD646-D450-AD12-619E-943C34323718}"/>
              </a:ext>
            </a:extLst>
          </p:cNvPr>
          <p:cNvSpPr txBox="1"/>
          <p:nvPr/>
        </p:nvSpPr>
        <p:spPr>
          <a:xfrm>
            <a:off x="11116988" y="4692504"/>
            <a:ext cx="177880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27</a:t>
            </a: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93" name="TextBox 192">
            <a:extLst>
              <a:ext uri="{FF2B5EF4-FFF2-40B4-BE49-F238E27FC236}">
                <a16:creationId xmlns:a16="http://schemas.microsoft.com/office/drawing/2014/main" id="{761B765A-1E33-D691-DEC0-3BCC6E04CCF0}"/>
              </a:ext>
            </a:extLst>
          </p:cNvPr>
          <p:cNvSpPr txBox="1"/>
          <p:nvPr/>
        </p:nvSpPr>
        <p:spPr>
          <a:xfrm>
            <a:off x="8757141" y="4863119"/>
            <a:ext cx="863766" cy="11530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Months</a:t>
            </a:r>
          </a:p>
        </p:txBody>
      </p:sp>
      <p:cxnSp>
        <p:nvCxnSpPr>
          <p:cNvPr id="244" name="Straight Connector 243">
            <a:extLst>
              <a:ext uri="{FF2B5EF4-FFF2-40B4-BE49-F238E27FC236}">
                <a16:creationId xmlns:a16="http://schemas.microsoft.com/office/drawing/2014/main" id="{7301716E-4864-9821-4D71-D16CB7BB17EE}"/>
              </a:ext>
            </a:extLst>
          </p:cNvPr>
          <p:cNvCxnSpPr>
            <a:cxnSpLocks/>
          </p:cNvCxnSpPr>
          <p:nvPr/>
        </p:nvCxnSpPr>
        <p:spPr>
          <a:xfrm rot="16200000">
            <a:off x="10712184" y="4569750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0" name="TextBox 239">
            <a:extLst>
              <a:ext uri="{FF2B5EF4-FFF2-40B4-BE49-F238E27FC236}">
                <a16:creationId xmlns:a16="http://schemas.microsoft.com/office/drawing/2014/main" id="{BBEB0994-838F-1A42-1E55-B04125BD7A30}"/>
              </a:ext>
            </a:extLst>
          </p:cNvPr>
          <p:cNvSpPr txBox="1"/>
          <p:nvPr/>
        </p:nvSpPr>
        <p:spPr>
          <a:xfrm>
            <a:off x="10704444" y="4692504"/>
            <a:ext cx="89864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24</a:t>
            </a: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248" name="TextBox 247">
            <a:extLst>
              <a:ext uri="{FF2B5EF4-FFF2-40B4-BE49-F238E27FC236}">
                <a16:creationId xmlns:a16="http://schemas.microsoft.com/office/drawing/2014/main" id="{FA9B9C8D-A2D7-74B2-53EC-E501DFC17490}"/>
              </a:ext>
            </a:extLst>
          </p:cNvPr>
          <p:cNvSpPr txBox="1"/>
          <p:nvPr/>
        </p:nvSpPr>
        <p:spPr>
          <a:xfrm>
            <a:off x="10704413" y="5133790"/>
            <a:ext cx="89895" cy="115198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9</a:t>
            </a:r>
          </a:p>
        </p:txBody>
      </p:sp>
      <p:sp>
        <p:nvSpPr>
          <p:cNvPr id="253" name="Content Placeholder 1">
            <a:extLst>
              <a:ext uri="{FF2B5EF4-FFF2-40B4-BE49-F238E27FC236}">
                <a16:creationId xmlns:a16="http://schemas.microsoft.com/office/drawing/2014/main" id="{56C94127-E0F4-988A-C59B-75DB3CEE12DE}"/>
              </a:ext>
            </a:extLst>
          </p:cNvPr>
          <p:cNvSpPr txBox="1">
            <a:spLocks/>
          </p:cNvSpPr>
          <p:nvPr/>
        </p:nvSpPr>
        <p:spPr>
          <a:xfrm>
            <a:off x="9237323" y="2734415"/>
            <a:ext cx="1772296" cy="6242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500" b="1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75000"/>
                    <a:lumOff val="2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Median PFS</a:t>
            </a:r>
            <a:b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75000"/>
                    <a:lumOff val="2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CH" sz="1900" b="1" i="0" u="none" strike="noStrike" kern="1200" cap="none" spc="0" normalizeH="0" baseline="0" noProof="0">
                <a:ln>
                  <a:noFill/>
                </a:ln>
                <a:solidFill>
                  <a:srgbClr val="4CA1A6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4</a:t>
            </a:r>
            <a:r>
              <a:rPr kumimoji="0" lang="en-GB" sz="1900" b="1" i="0" u="none" strike="noStrike" kern="1200" cap="none" spc="0" normalizeH="0" baseline="0" noProof="0">
                <a:ln>
                  <a:noFill/>
                </a:ln>
                <a:solidFill>
                  <a:srgbClr val="4CA1A6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.</a:t>
            </a:r>
            <a:r>
              <a:rPr kumimoji="0" lang="en-CH" sz="1900" b="1" i="0" u="none" strike="noStrike" kern="1200" cap="none" spc="0" normalizeH="0" baseline="0" noProof="0">
                <a:ln>
                  <a:noFill/>
                </a:ln>
                <a:solidFill>
                  <a:srgbClr val="4CA1A6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4</a:t>
            </a:r>
            <a:r>
              <a:rPr kumimoji="0" lang="en-GB" sz="1900" b="1" i="0" u="none" strike="noStrike" kern="1200" cap="none" spc="0" normalizeH="0" baseline="0" noProof="0">
                <a:ln>
                  <a:noFill/>
                </a:ln>
                <a:solidFill>
                  <a:srgbClr val="4CA1A6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months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75000"/>
                    <a:lumOff val="2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(95% CI: </a:t>
            </a:r>
            <a:r>
              <a:rPr kumimoji="0" lang="en-CH" sz="1100" b="0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75000"/>
                    <a:lumOff val="2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3</a:t>
            </a: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75000"/>
                    <a:lumOff val="2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.0–</a:t>
            </a:r>
            <a:r>
              <a:rPr kumimoji="0" lang="en-CH" sz="1100" b="0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75000"/>
                    <a:lumOff val="2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8.8</a:t>
            </a: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75000"/>
                    <a:lumOff val="2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)</a:t>
            </a:r>
            <a:endParaRPr kumimoji="0" lang="en-GB" sz="11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21F79B1-464E-AEC4-F736-E01AD22AB4B8}"/>
              </a:ext>
            </a:extLst>
          </p:cNvPr>
          <p:cNvSpPr txBox="1"/>
          <p:nvPr/>
        </p:nvSpPr>
        <p:spPr>
          <a:xfrm>
            <a:off x="1336184" y="1816688"/>
            <a:ext cx="4241463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Glofitamab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: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Arial" charset="0"/>
                <a:cs typeface="Arial" charset="0"/>
              </a:rPr>
              <a:t> 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ivotal study PFS</a:t>
            </a:r>
            <a:r>
              <a:rPr kumimoji="0" lang="en-GB" sz="1600" b="0" i="0" u="none" strike="noStrike" kern="1200" cap="none" spc="0" normalizeH="0" baseline="3000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,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*</a:t>
            </a:r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9D8D991-B114-2B4D-EC3D-12805BC21578}"/>
              </a:ext>
            </a:extLst>
          </p:cNvPr>
          <p:cNvSpPr txBox="1"/>
          <p:nvPr/>
        </p:nvSpPr>
        <p:spPr>
          <a:xfrm>
            <a:off x="7100865" y="1816688"/>
            <a:ext cx="4233846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err="1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Epcoritamab</a:t>
            </a: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:</a:t>
            </a: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Arial" charset="0"/>
                <a:cs typeface="Arial" charset="0"/>
              </a:rPr>
              <a:t> </a:t>
            </a: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ivotal study PFS</a:t>
            </a:r>
            <a:r>
              <a:rPr kumimoji="0" lang="en-GB" sz="1600" b="0" i="0" u="none" strike="noStrike" kern="1200" cap="none" spc="0" normalizeH="0" baseline="3000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,†</a:t>
            </a:r>
            <a:endParaRPr kumimoji="0" lang="en-GB" sz="1400" b="1" i="0" u="none" strike="noStrike" kern="1200" cap="none" spc="0" normalizeH="0" baseline="3000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5" name="Free-form: Shape 114">
            <a:extLst>
              <a:ext uri="{FF2B5EF4-FFF2-40B4-BE49-F238E27FC236}">
                <a16:creationId xmlns:a16="http://schemas.microsoft.com/office/drawing/2014/main" id="{511DAE8F-D037-2339-E516-95502387ADDD}"/>
              </a:ext>
            </a:extLst>
          </p:cNvPr>
          <p:cNvSpPr/>
          <p:nvPr/>
        </p:nvSpPr>
        <p:spPr>
          <a:xfrm>
            <a:off x="7091957" y="2791651"/>
            <a:ext cx="1260992" cy="1005025"/>
          </a:xfrm>
          <a:custGeom>
            <a:avLst/>
            <a:gdLst>
              <a:gd name="csX0" fmla="*/ 0 w 3824287"/>
              <a:gd name="csY0" fmla="*/ 0 h 3048000"/>
              <a:gd name="csX1" fmla="*/ 104775 w 3824287"/>
              <a:gd name="csY1" fmla="*/ 0 h 3048000"/>
              <a:gd name="csX2" fmla="*/ 104775 w 3824287"/>
              <a:gd name="csY2" fmla="*/ 66675 h 3048000"/>
              <a:gd name="csX3" fmla="*/ 152400 w 3824287"/>
              <a:gd name="csY3" fmla="*/ 66675 h 3048000"/>
              <a:gd name="csX4" fmla="*/ 152400 w 3824287"/>
              <a:gd name="csY4" fmla="*/ 104775 h 3048000"/>
              <a:gd name="csX5" fmla="*/ 195262 w 3824287"/>
              <a:gd name="csY5" fmla="*/ 104775 h 3048000"/>
              <a:gd name="csX6" fmla="*/ 195262 w 3824287"/>
              <a:gd name="csY6" fmla="*/ 128587 h 3048000"/>
              <a:gd name="csX7" fmla="*/ 219075 w 3824287"/>
              <a:gd name="csY7" fmla="*/ 128587 h 3048000"/>
              <a:gd name="csX8" fmla="*/ 219075 w 3824287"/>
              <a:gd name="csY8" fmla="*/ 185737 h 3048000"/>
              <a:gd name="csX9" fmla="*/ 238125 w 3824287"/>
              <a:gd name="csY9" fmla="*/ 185737 h 3048000"/>
              <a:gd name="csX10" fmla="*/ 238125 w 3824287"/>
              <a:gd name="csY10" fmla="*/ 228600 h 3048000"/>
              <a:gd name="csX11" fmla="*/ 261937 w 3824287"/>
              <a:gd name="csY11" fmla="*/ 228600 h 3048000"/>
              <a:gd name="csX12" fmla="*/ 261937 w 3824287"/>
              <a:gd name="csY12" fmla="*/ 271462 h 3048000"/>
              <a:gd name="csX13" fmla="*/ 280987 w 3824287"/>
              <a:gd name="csY13" fmla="*/ 271462 h 3048000"/>
              <a:gd name="csX14" fmla="*/ 280987 w 3824287"/>
              <a:gd name="csY14" fmla="*/ 314325 h 3048000"/>
              <a:gd name="csX15" fmla="*/ 323850 w 3824287"/>
              <a:gd name="csY15" fmla="*/ 314325 h 3048000"/>
              <a:gd name="csX16" fmla="*/ 323850 w 3824287"/>
              <a:gd name="csY16" fmla="*/ 338137 h 3048000"/>
              <a:gd name="csX17" fmla="*/ 376237 w 3824287"/>
              <a:gd name="csY17" fmla="*/ 338137 h 3048000"/>
              <a:gd name="csX18" fmla="*/ 376237 w 3824287"/>
              <a:gd name="csY18" fmla="*/ 390525 h 3048000"/>
              <a:gd name="csX19" fmla="*/ 381000 w 3824287"/>
              <a:gd name="csY19" fmla="*/ 395288 h 3048000"/>
              <a:gd name="csX20" fmla="*/ 428625 w 3824287"/>
              <a:gd name="csY20" fmla="*/ 395288 h 3048000"/>
              <a:gd name="csX21" fmla="*/ 428625 w 3824287"/>
              <a:gd name="csY21" fmla="*/ 438150 h 3048000"/>
              <a:gd name="csX22" fmla="*/ 457200 w 3824287"/>
              <a:gd name="csY22" fmla="*/ 438150 h 3048000"/>
              <a:gd name="csX23" fmla="*/ 457200 w 3824287"/>
              <a:gd name="csY23" fmla="*/ 471487 h 3048000"/>
              <a:gd name="csX24" fmla="*/ 476250 w 3824287"/>
              <a:gd name="csY24" fmla="*/ 471487 h 3048000"/>
              <a:gd name="csX25" fmla="*/ 476250 w 3824287"/>
              <a:gd name="csY25" fmla="*/ 581025 h 3048000"/>
              <a:gd name="csX26" fmla="*/ 504825 w 3824287"/>
              <a:gd name="csY26" fmla="*/ 581025 h 3048000"/>
              <a:gd name="csX27" fmla="*/ 504825 w 3824287"/>
              <a:gd name="csY27" fmla="*/ 661987 h 3048000"/>
              <a:gd name="csX28" fmla="*/ 523875 w 3824287"/>
              <a:gd name="csY28" fmla="*/ 661987 h 3048000"/>
              <a:gd name="csX29" fmla="*/ 523875 w 3824287"/>
              <a:gd name="csY29" fmla="*/ 752475 h 3048000"/>
              <a:gd name="csX30" fmla="*/ 547687 w 3824287"/>
              <a:gd name="csY30" fmla="*/ 752475 h 3048000"/>
              <a:gd name="csX31" fmla="*/ 547687 w 3824287"/>
              <a:gd name="csY31" fmla="*/ 990600 h 3048000"/>
              <a:gd name="csX32" fmla="*/ 581025 w 3824287"/>
              <a:gd name="csY32" fmla="*/ 990600 h 3048000"/>
              <a:gd name="csX33" fmla="*/ 581025 w 3824287"/>
              <a:gd name="csY33" fmla="*/ 1057275 h 3048000"/>
              <a:gd name="csX34" fmla="*/ 604837 w 3824287"/>
              <a:gd name="csY34" fmla="*/ 1057275 h 3048000"/>
              <a:gd name="csX35" fmla="*/ 604837 w 3824287"/>
              <a:gd name="csY35" fmla="*/ 1095375 h 3048000"/>
              <a:gd name="csX36" fmla="*/ 633412 w 3824287"/>
              <a:gd name="csY36" fmla="*/ 1095375 h 3048000"/>
              <a:gd name="csX37" fmla="*/ 633412 w 3824287"/>
              <a:gd name="csY37" fmla="*/ 1223962 h 3048000"/>
              <a:gd name="csX38" fmla="*/ 652462 w 3824287"/>
              <a:gd name="csY38" fmla="*/ 1223962 h 3048000"/>
              <a:gd name="csX39" fmla="*/ 652462 w 3824287"/>
              <a:gd name="csY39" fmla="*/ 1371600 h 3048000"/>
              <a:gd name="csX40" fmla="*/ 666750 w 3824287"/>
              <a:gd name="csY40" fmla="*/ 1371600 h 3048000"/>
              <a:gd name="csX41" fmla="*/ 666750 w 3824287"/>
              <a:gd name="csY41" fmla="*/ 1528762 h 3048000"/>
              <a:gd name="csX42" fmla="*/ 690562 w 3824287"/>
              <a:gd name="csY42" fmla="*/ 1528762 h 3048000"/>
              <a:gd name="csX43" fmla="*/ 690562 w 3824287"/>
              <a:gd name="csY43" fmla="*/ 1576387 h 3048000"/>
              <a:gd name="csX44" fmla="*/ 762000 w 3824287"/>
              <a:gd name="csY44" fmla="*/ 1576387 h 3048000"/>
              <a:gd name="csX45" fmla="*/ 762000 w 3824287"/>
              <a:gd name="csY45" fmla="*/ 1619250 h 3048000"/>
              <a:gd name="csX46" fmla="*/ 852487 w 3824287"/>
              <a:gd name="csY46" fmla="*/ 1619250 h 3048000"/>
              <a:gd name="csX47" fmla="*/ 852487 w 3824287"/>
              <a:gd name="csY47" fmla="*/ 1647825 h 3048000"/>
              <a:gd name="csX48" fmla="*/ 1128712 w 3824287"/>
              <a:gd name="csY48" fmla="*/ 1647825 h 3048000"/>
              <a:gd name="csX49" fmla="*/ 1128712 w 3824287"/>
              <a:gd name="csY49" fmla="*/ 1685925 h 3048000"/>
              <a:gd name="csX50" fmla="*/ 1195387 w 3824287"/>
              <a:gd name="csY50" fmla="*/ 1685925 h 3048000"/>
              <a:gd name="csX51" fmla="*/ 1195387 w 3824287"/>
              <a:gd name="csY51" fmla="*/ 1776412 h 3048000"/>
              <a:gd name="csX52" fmla="*/ 1219200 w 3824287"/>
              <a:gd name="csY52" fmla="*/ 1776412 h 3048000"/>
              <a:gd name="csX53" fmla="*/ 1219200 w 3824287"/>
              <a:gd name="csY53" fmla="*/ 1828800 h 3048000"/>
              <a:gd name="csX54" fmla="*/ 1247775 w 3824287"/>
              <a:gd name="csY54" fmla="*/ 1828800 h 3048000"/>
              <a:gd name="csX55" fmla="*/ 1247775 w 3824287"/>
              <a:gd name="csY55" fmla="*/ 1928812 h 3048000"/>
              <a:gd name="csX56" fmla="*/ 1271587 w 3824287"/>
              <a:gd name="csY56" fmla="*/ 1928812 h 3048000"/>
              <a:gd name="csX57" fmla="*/ 1271587 w 3824287"/>
              <a:gd name="csY57" fmla="*/ 2024062 h 3048000"/>
              <a:gd name="csX58" fmla="*/ 1295400 w 3824287"/>
              <a:gd name="csY58" fmla="*/ 2024062 h 3048000"/>
              <a:gd name="csX59" fmla="*/ 1295400 w 3824287"/>
              <a:gd name="csY59" fmla="*/ 2100262 h 3048000"/>
              <a:gd name="csX60" fmla="*/ 1376362 w 3824287"/>
              <a:gd name="csY60" fmla="*/ 2100262 h 3048000"/>
              <a:gd name="csX61" fmla="*/ 1376362 w 3824287"/>
              <a:gd name="csY61" fmla="*/ 2166937 h 3048000"/>
              <a:gd name="csX62" fmla="*/ 1400175 w 3824287"/>
              <a:gd name="csY62" fmla="*/ 2166937 h 3048000"/>
              <a:gd name="csX63" fmla="*/ 1400175 w 3824287"/>
              <a:gd name="csY63" fmla="*/ 2257425 h 3048000"/>
              <a:gd name="csX64" fmla="*/ 1519237 w 3824287"/>
              <a:gd name="csY64" fmla="*/ 2257425 h 3048000"/>
              <a:gd name="csX65" fmla="*/ 1519237 w 3824287"/>
              <a:gd name="csY65" fmla="*/ 2295525 h 3048000"/>
              <a:gd name="csX66" fmla="*/ 1595437 w 3824287"/>
              <a:gd name="csY66" fmla="*/ 2295525 h 3048000"/>
              <a:gd name="csX67" fmla="*/ 1595437 w 3824287"/>
              <a:gd name="csY67" fmla="*/ 2333625 h 3048000"/>
              <a:gd name="csX68" fmla="*/ 1719262 w 3824287"/>
              <a:gd name="csY68" fmla="*/ 2333625 h 3048000"/>
              <a:gd name="csX69" fmla="*/ 1719262 w 3824287"/>
              <a:gd name="csY69" fmla="*/ 2405062 h 3048000"/>
              <a:gd name="csX70" fmla="*/ 1866900 w 3824287"/>
              <a:gd name="csY70" fmla="*/ 2405062 h 3048000"/>
              <a:gd name="csX71" fmla="*/ 1866900 w 3824287"/>
              <a:gd name="csY71" fmla="*/ 2495550 h 3048000"/>
              <a:gd name="csX72" fmla="*/ 1952625 w 3824287"/>
              <a:gd name="csY72" fmla="*/ 2495550 h 3048000"/>
              <a:gd name="csX73" fmla="*/ 1952625 w 3824287"/>
              <a:gd name="csY73" fmla="*/ 2538412 h 3048000"/>
              <a:gd name="csX74" fmla="*/ 1985962 w 3824287"/>
              <a:gd name="csY74" fmla="*/ 2538412 h 3048000"/>
              <a:gd name="csX75" fmla="*/ 1985962 w 3824287"/>
              <a:gd name="csY75" fmla="*/ 2600325 h 3048000"/>
              <a:gd name="csX76" fmla="*/ 2033587 w 3824287"/>
              <a:gd name="csY76" fmla="*/ 2600325 h 3048000"/>
              <a:gd name="csX77" fmla="*/ 2033587 w 3824287"/>
              <a:gd name="csY77" fmla="*/ 2686050 h 3048000"/>
              <a:gd name="csX78" fmla="*/ 2085975 w 3824287"/>
              <a:gd name="csY78" fmla="*/ 2686050 h 3048000"/>
              <a:gd name="csX79" fmla="*/ 2085975 w 3824287"/>
              <a:gd name="csY79" fmla="*/ 2724150 h 3048000"/>
              <a:gd name="csX80" fmla="*/ 2114550 w 3824287"/>
              <a:gd name="csY80" fmla="*/ 2724150 h 3048000"/>
              <a:gd name="csX81" fmla="*/ 2114550 w 3824287"/>
              <a:gd name="csY81" fmla="*/ 2771775 h 3048000"/>
              <a:gd name="csX82" fmla="*/ 2162175 w 3824287"/>
              <a:gd name="csY82" fmla="*/ 2771775 h 3048000"/>
              <a:gd name="csX83" fmla="*/ 2162175 w 3824287"/>
              <a:gd name="csY83" fmla="*/ 2809875 h 3048000"/>
              <a:gd name="csX84" fmla="*/ 2466975 w 3824287"/>
              <a:gd name="csY84" fmla="*/ 2809875 h 3048000"/>
              <a:gd name="csX85" fmla="*/ 2466975 w 3824287"/>
              <a:gd name="csY85" fmla="*/ 2852737 h 3048000"/>
              <a:gd name="csX86" fmla="*/ 2552700 w 3824287"/>
              <a:gd name="csY86" fmla="*/ 2852737 h 3048000"/>
              <a:gd name="csX87" fmla="*/ 2552700 w 3824287"/>
              <a:gd name="csY87" fmla="*/ 2881312 h 3048000"/>
              <a:gd name="csX88" fmla="*/ 3143250 w 3824287"/>
              <a:gd name="csY88" fmla="*/ 2881312 h 3048000"/>
              <a:gd name="csX89" fmla="*/ 3143250 w 3824287"/>
              <a:gd name="csY89" fmla="*/ 2924175 h 3048000"/>
              <a:gd name="csX90" fmla="*/ 3629025 w 3824287"/>
              <a:gd name="csY90" fmla="*/ 2924175 h 3048000"/>
              <a:gd name="csX91" fmla="*/ 3629025 w 3824287"/>
              <a:gd name="csY91" fmla="*/ 2976562 h 3048000"/>
              <a:gd name="csX92" fmla="*/ 3824287 w 3824287"/>
              <a:gd name="csY92" fmla="*/ 2976562 h 3048000"/>
              <a:gd name="csX93" fmla="*/ 3824287 w 3824287"/>
              <a:gd name="csY93" fmla="*/ 3048000 h 304800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</a:cxnLst>
            <a:rect l="l" t="t" r="r" b="b"/>
            <a:pathLst>
              <a:path w="3824287" h="3048000">
                <a:moveTo>
                  <a:pt x="0" y="0"/>
                </a:moveTo>
                <a:lnTo>
                  <a:pt x="104775" y="0"/>
                </a:lnTo>
                <a:lnTo>
                  <a:pt x="104775" y="66675"/>
                </a:lnTo>
                <a:lnTo>
                  <a:pt x="152400" y="66675"/>
                </a:lnTo>
                <a:lnTo>
                  <a:pt x="152400" y="104775"/>
                </a:lnTo>
                <a:lnTo>
                  <a:pt x="195262" y="104775"/>
                </a:lnTo>
                <a:lnTo>
                  <a:pt x="195262" y="128587"/>
                </a:lnTo>
                <a:lnTo>
                  <a:pt x="219075" y="128587"/>
                </a:lnTo>
                <a:lnTo>
                  <a:pt x="219075" y="185737"/>
                </a:lnTo>
                <a:lnTo>
                  <a:pt x="238125" y="185737"/>
                </a:lnTo>
                <a:lnTo>
                  <a:pt x="238125" y="228600"/>
                </a:lnTo>
                <a:lnTo>
                  <a:pt x="261937" y="228600"/>
                </a:lnTo>
                <a:lnTo>
                  <a:pt x="261937" y="271462"/>
                </a:lnTo>
                <a:lnTo>
                  <a:pt x="280987" y="271462"/>
                </a:lnTo>
                <a:lnTo>
                  <a:pt x="280987" y="314325"/>
                </a:lnTo>
                <a:lnTo>
                  <a:pt x="323850" y="314325"/>
                </a:lnTo>
                <a:lnTo>
                  <a:pt x="323850" y="338137"/>
                </a:lnTo>
                <a:lnTo>
                  <a:pt x="376237" y="338137"/>
                </a:lnTo>
                <a:lnTo>
                  <a:pt x="376237" y="390525"/>
                </a:lnTo>
                <a:lnTo>
                  <a:pt x="381000" y="395288"/>
                </a:lnTo>
                <a:lnTo>
                  <a:pt x="428625" y="395288"/>
                </a:lnTo>
                <a:lnTo>
                  <a:pt x="428625" y="438150"/>
                </a:lnTo>
                <a:lnTo>
                  <a:pt x="457200" y="438150"/>
                </a:lnTo>
                <a:lnTo>
                  <a:pt x="457200" y="471487"/>
                </a:lnTo>
                <a:lnTo>
                  <a:pt x="476250" y="471487"/>
                </a:lnTo>
                <a:lnTo>
                  <a:pt x="476250" y="581025"/>
                </a:lnTo>
                <a:lnTo>
                  <a:pt x="504825" y="581025"/>
                </a:lnTo>
                <a:lnTo>
                  <a:pt x="504825" y="661987"/>
                </a:lnTo>
                <a:lnTo>
                  <a:pt x="523875" y="661987"/>
                </a:lnTo>
                <a:lnTo>
                  <a:pt x="523875" y="752475"/>
                </a:lnTo>
                <a:lnTo>
                  <a:pt x="547687" y="752475"/>
                </a:lnTo>
                <a:lnTo>
                  <a:pt x="547687" y="990600"/>
                </a:lnTo>
                <a:lnTo>
                  <a:pt x="581025" y="990600"/>
                </a:lnTo>
                <a:lnTo>
                  <a:pt x="581025" y="1057275"/>
                </a:lnTo>
                <a:lnTo>
                  <a:pt x="604837" y="1057275"/>
                </a:lnTo>
                <a:lnTo>
                  <a:pt x="604837" y="1095375"/>
                </a:lnTo>
                <a:lnTo>
                  <a:pt x="633412" y="1095375"/>
                </a:lnTo>
                <a:lnTo>
                  <a:pt x="633412" y="1223962"/>
                </a:lnTo>
                <a:lnTo>
                  <a:pt x="652462" y="1223962"/>
                </a:lnTo>
                <a:lnTo>
                  <a:pt x="652462" y="1371600"/>
                </a:lnTo>
                <a:lnTo>
                  <a:pt x="666750" y="1371600"/>
                </a:lnTo>
                <a:lnTo>
                  <a:pt x="666750" y="1528762"/>
                </a:lnTo>
                <a:lnTo>
                  <a:pt x="690562" y="1528762"/>
                </a:lnTo>
                <a:lnTo>
                  <a:pt x="690562" y="1576387"/>
                </a:lnTo>
                <a:lnTo>
                  <a:pt x="762000" y="1576387"/>
                </a:lnTo>
                <a:lnTo>
                  <a:pt x="762000" y="1619250"/>
                </a:lnTo>
                <a:lnTo>
                  <a:pt x="852487" y="1619250"/>
                </a:lnTo>
                <a:lnTo>
                  <a:pt x="852487" y="1647825"/>
                </a:lnTo>
                <a:lnTo>
                  <a:pt x="1128712" y="1647825"/>
                </a:lnTo>
                <a:lnTo>
                  <a:pt x="1128712" y="1685925"/>
                </a:lnTo>
                <a:lnTo>
                  <a:pt x="1195387" y="1685925"/>
                </a:lnTo>
                <a:lnTo>
                  <a:pt x="1195387" y="1776412"/>
                </a:lnTo>
                <a:lnTo>
                  <a:pt x="1219200" y="1776412"/>
                </a:lnTo>
                <a:lnTo>
                  <a:pt x="1219200" y="1828800"/>
                </a:lnTo>
                <a:lnTo>
                  <a:pt x="1247775" y="1828800"/>
                </a:lnTo>
                <a:lnTo>
                  <a:pt x="1247775" y="1928812"/>
                </a:lnTo>
                <a:lnTo>
                  <a:pt x="1271587" y="1928812"/>
                </a:lnTo>
                <a:lnTo>
                  <a:pt x="1271587" y="2024062"/>
                </a:lnTo>
                <a:lnTo>
                  <a:pt x="1295400" y="2024062"/>
                </a:lnTo>
                <a:lnTo>
                  <a:pt x="1295400" y="2100262"/>
                </a:lnTo>
                <a:lnTo>
                  <a:pt x="1376362" y="2100262"/>
                </a:lnTo>
                <a:lnTo>
                  <a:pt x="1376362" y="2166937"/>
                </a:lnTo>
                <a:lnTo>
                  <a:pt x="1400175" y="2166937"/>
                </a:lnTo>
                <a:lnTo>
                  <a:pt x="1400175" y="2257425"/>
                </a:lnTo>
                <a:lnTo>
                  <a:pt x="1519237" y="2257425"/>
                </a:lnTo>
                <a:lnTo>
                  <a:pt x="1519237" y="2295525"/>
                </a:lnTo>
                <a:lnTo>
                  <a:pt x="1595437" y="2295525"/>
                </a:lnTo>
                <a:lnTo>
                  <a:pt x="1595437" y="2333625"/>
                </a:lnTo>
                <a:lnTo>
                  <a:pt x="1719262" y="2333625"/>
                </a:lnTo>
                <a:lnTo>
                  <a:pt x="1719262" y="2405062"/>
                </a:lnTo>
                <a:lnTo>
                  <a:pt x="1866900" y="2405062"/>
                </a:lnTo>
                <a:lnTo>
                  <a:pt x="1866900" y="2495550"/>
                </a:lnTo>
                <a:lnTo>
                  <a:pt x="1952625" y="2495550"/>
                </a:lnTo>
                <a:lnTo>
                  <a:pt x="1952625" y="2538412"/>
                </a:lnTo>
                <a:lnTo>
                  <a:pt x="1985962" y="2538412"/>
                </a:lnTo>
                <a:lnTo>
                  <a:pt x="1985962" y="2600325"/>
                </a:lnTo>
                <a:lnTo>
                  <a:pt x="2033587" y="2600325"/>
                </a:lnTo>
                <a:lnTo>
                  <a:pt x="2033587" y="2686050"/>
                </a:lnTo>
                <a:lnTo>
                  <a:pt x="2085975" y="2686050"/>
                </a:lnTo>
                <a:lnTo>
                  <a:pt x="2085975" y="2724150"/>
                </a:lnTo>
                <a:lnTo>
                  <a:pt x="2114550" y="2724150"/>
                </a:lnTo>
                <a:lnTo>
                  <a:pt x="2114550" y="2771775"/>
                </a:lnTo>
                <a:lnTo>
                  <a:pt x="2162175" y="2771775"/>
                </a:lnTo>
                <a:lnTo>
                  <a:pt x="2162175" y="2809875"/>
                </a:lnTo>
                <a:lnTo>
                  <a:pt x="2466975" y="2809875"/>
                </a:lnTo>
                <a:lnTo>
                  <a:pt x="2466975" y="2852737"/>
                </a:lnTo>
                <a:lnTo>
                  <a:pt x="2552700" y="2852737"/>
                </a:lnTo>
                <a:lnTo>
                  <a:pt x="2552700" y="2881312"/>
                </a:lnTo>
                <a:lnTo>
                  <a:pt x="3143250" y="2881312"/>
                </a:lnTo>
                <a:lnTo>
                  <a:pt x="3143250" y="2924175"/>
                </a:lnTo>
                <a:lnTo>
                  <a:pt x="3629025" y="2924175"/>
                </a:lnTo>
                <a:lnTo>
                  <a:pt x="3629025" y="2976562"/>
                </a:lnTo>
                <a:lnTo>
                  <a:pt x="3824287" y="2976562"/>
                </a:lnTo>
                <a:lnTo>
                  <a:pt x="3824287" y="3048000"/>
                </a:lnTo>
              </a:path>
            </a:pathLst>
          </a:cu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6" name="Free-form: Shape 115">
            <a:extLst>
              <a:ext uri="{FF2B5EF4-FFF2-40B4-BE49-F238E27FC236}">
                <a16:creationId xmlns:a16="http://schemas.microsoft.com/office/drawing/2014/main" id="{E182E4EB-6D69-E037-D713-75798EEC3746}"/>
              </a:ext>
            </a:extLst>
          </p:cNvPr>
          <p:cNvSpPr/>
          <p:nvPr/>
        </p:nvSpPr>
        <p:spPr>
          <a:xfrm>
            <a:off x="8352641" y="3794920"/>
            <a:ext cx="2851512" cy="256183"/>
          </a:xfrm>
          <a:custGeom>
            <a:avLst/>
            <a:gdLst>
              <a:gd name="csX0" fmla="*/ 0 w 8647953"/>
              <a:gd name="csY0" fmla="*/ 0 h 776941"/>
              <a:gd name="csX1" fmla="*/ 262965 w 8647953"/>
              <a:gd name="csY1" fmla="*/ 0 h 776941"/>
              <a:gd name="csX2" fmla="*/ 262965 w 8647953"/>
              <a:gd name="csY2" fmla="*/ 47811 h 776941"/>
              <a:gd name="csX3" fmla="*/ 1213224 w 8647953"/>
              <a:gd name="csY3" fmla="*/ 47811 h 776941"/>
              <a:gd name="csX4" fmla="*/ 1213224 w 8647953"/>
              <a:gd name="csY4" fmla="*/ 89647 h 776941"/>
              <a:gd name="csX5" fmla="*/ 1267012 w 8647953"/>
              <a:gd name="csY5" fmla="*/ 89647 h 776941"/>
              <a:gd name="csX6" fmla="*/ 1267012 w 8647953"/>
              <a:gd name="csY6" fmla="*/ 137459 h 776941"/>
              <a:gd name="csX7" fmla="*/ 2814918 w 8647953"/>
              <a:gd name="csY7" fmla="*/ 137459 h 776941"/>
              <a:gd name="csX8" fmla="*/ 2814918 w 8647953"/>
              <a:gd name="csY8" fmla="*/ 191247 h 776941"/>
              <a:gd name="csX9" fmla="*/ 2892612 w 8647953"/>
              <a:gd name="csY9" fmla="*/ 191247 h 776941"/>
              <a:gd name="csX10" fmla="*/ 2892612 w 8647953"/>
              <a:gd name="csY10" fmla="*/ 221129 h 776941"/>
              <a:gd name="csX11" fmla="*/ 3077883 w 8647953"/>
              <a:gd name="csY11" fmla="*/ 221129 h 776941"/>
              <a:gd name="csX12" fmla="*/ 3077883 w 8647953"/>
              <a:gd name="csY12" fmla="*/ 268941 h 776941"/>
              <a:gd name="csX13" fmla="*/ 3304988 w 8647953"/>
              <a:gd name="csY13" fmla="*/ 268941 h 776941"/>
              <a:gd name="csX14" fmla="*/ 3304988 w 8647953"/>
              <a:gd name="csY14" fmla="*/ 304800 h 776941"/>
              <a:gd name="csX15" fmla="*/ 3795059 w 8647953"/>
              <a:gd name="csY15" fmla="*/ 304800 h 776941"/>
              <a:gd name="csX16" fmla="*/ 3795059 w 8647953"/>
              <a:gd name="csY16" fmla="*/ 358588 h 776941"/>
              <a:gd name="csX17" fmla="*/ 3878730 w 8647953"/>
              <a:gd name="csY17" fmla="*/ 358588 h 776941"/>
              <a:gd name="csX18" fmla="*/ 3878730 w 8647953"/>
              <a:gd name="csY18" fmla="*/ 388470 h 776941"/>
              <a:gd name="csX19" fmla="*/ 3908612 w 8647953"/>
              <a:gd name="csY19" fmla="*/ 388470 h 776941"/>
              <a:gd name="csX20" fmla="*/ 3908612 w 8647953"/>
              <a:gd name="csY20" fmla="*/ 472141 h 776941"/>
              <a:gd name="csX21" fmla="*/ 4703483 w 8647953"/>
              <a:gd name="csY21" fmla="*/ 472141 h 776941"/>
              <a:gd name="csX22" fmla="*/ 4703483 w 8647953"/>
              <a:gd name="csY22" fmla="*/ 513976 h 776941"/>
              <a:gd name="csX23" fmla="*/ 5163671 w 8647953"/>
              <a:gd name="csY23" fmla="*/ 513976 h 776941"/>
              <a:gd name="csX24" fmla="*/ 5163671 w 8647953"/>
              <a:gd name="csY24" fmla="*/ 561788 h 776941"/>
              <a:gd name="csX25" fmla="*/ 5647765 w 8647953"/>
              <a:gd name="csY25" fmla="*/ 561788 h 776941"/>
              <a:gd name="csX26" fmla="*/ 5647765 w 8647953"/>
              <a:gd name="csY26" fmla="*/ 615576 h 776941"/>
              <a:gd name="csX27" fmla="*/ 6370918 w 8647953"/>
              <a:gd name="csY27" fmla="*/ 615576 h 776941"/>
              <a:gd name="csX28" fmla="*/ 6370918 w 8647953"/>
              <a:gd name="csY28" fmla="*/ 669364 h 776941"/>
              <a:gd name="csX29" fmla="*/ 6837083 w 8647953"/>
              <a:gd name="csY29" fmla="*/ 669364 h 776941"/>
              <a:gd name="csX30" fmla="*/ 6837083 w 8647953"/>
              <a:gd name="csY30" fmla="*/ 776941 h 776941"/>
              <a:gd name="csX31" fmla="*/ 8647953 w 8647953"/>
              <a:gd name="csY31" fmla="*/ 776941 h 77694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</a:cxnLst>
            <a:rect l="l" t="t" r="r" b="b"/>
            <a:pathLst>
              <a:path w="8647953" h="776941">
                <a:moveTo>
                  <a:pt x="0" y="0"/>
                </a:moveTo>
                <a:lnTo>
                  <a:pt x="262965" y="0"/>
                </a:lnTo>
                <a:lnTo>
                  <a:pt x="262965" y="47811"/>
                </a:lnTo>
                <a:lnTo>
                  <a:pt x="1213224" y="47811"/>
                </a:lnTo>
                <a:lnTo>
                  <a:pt x="1213224" y="89647"/>
                </a:lnTo>
                <a:lnTo>
                  <a:pt x="1267012" y="89647"/>
                </a:lnTo>
                <a:lnTo>
                  <a:pt x="1267012" y="137459"/>
                </a:lnTo>
                <a:lnTo>
                  <a:pt x="2814918" y="137459"/>
                </a:lnTo>
                <a:lnTo>
                  <a:pt x="2814918" y="191247"/>
                </a:lnTo>
                <a:lnTo>
                  <a:pt x="2892612" y="191247"/>
                </a:lnTo>
                <a:lnTo>
                  <a:pt x="2892612" y="221129"/>
                </a:lnTo>
                <a:lnTo>
                  <a:pt x="3077883" y="221129"/>
                </a:lnTo>
                <a:lnTo>
                  <a:pt x="3077883" y="268941"/>
                </a:lnTo>
                <a:lnTo>
                  <a:pt x="3304988" y="268941"/>
                </a:lnTo>
                <a:lnTo>
                  <a:pt x="3304988" y="304800"/>
                </a:lnTo>
                <a:lnTo>
                  <a:pt x="3795059" y="304800"/>
                </a:lnTo>
                <a:lnTo>
                  <a:pt x="3795059" y="358588"/>
                </a:lnTo>
                <a:lnTo>
                  <a:pt x="3878730" y="358588"/>
                </a:lnTo>
                <a:lnTo>
                  <a:pt x="3878730" y="388470"/>
                </a:lnTo>
                <a:lnTo>
                  <a:pt x="3908612" y="388470"/>
                </a:lnTo>
                <a:lnTo>
                  <a:pt x="3908612" y="472141"/>
                </a:lnTo>
                <a:lnTo>
                  <a:pt x="4703483" y="472141"/>
                </a:lnTo>
                <a:lnTo>
                  <a:pt x="4703483" y="513976"/>
                </a:lnTo>
                <a:lnTo>
                  <a:pt x="5163671" y="513976"/>
                </a:lnTo>
                <a:lnTo>
                  <a:pt x="5163671" y="561788"/>
                </a:lnTo>
                <a:lnTo>
                  <a:pt x="5647765" y="561788"/>
                </a:lnTo>
                <a:lnTo>
                  <a:pt x="5647765" y="615576"/>
                </a:lnTo>
                <a:lnTo>
                  <a:pt x="6370918" y="615576"/>
                </a:lnTo>
                <a:lnTo>
                  <a:pt x="6370918" y="669364"/>
                </a:lnTo>
                <a:lnTo>
                  <a:pt x="6837083" y="669364"/>
                </a:lnTo>
                <a:lnTo>
                  <a:pt x="6837083" y="776941"/>
                </a:lnTo>
                <a:lnTo>
                  <a:pt x="8647953" y="776941"/>
                </a:lnTo>
              </a:path>
            </a:pathLst>
          </a:cu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650CD26-8E3C-F7CD-E5B4-CA8045D3047A}"/>
              </a:ext>
            </a:extLst>
          </p:cNvPr>
          <p:cNvCxnSpPr/>
          <p:nvPr/>
        </p:nvCxnSpPr>
        <p:spPr>
          <a:xfrm>
            <a:off x="7457849" y="3299365"/>
            <a:ext cx="0" cy="50189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E620BF1A-0C36-82D0-2E03-DF20A968F4CF}"/>
              </a:ext>
            </a:extLst>
          </p:cNvPr>
          <p:cNvCxnSpPr/>
          <p:nvPr/>
        </p:nvCxnSpPr>
        <p:spPr>
          <a:xfrm>
            <a:off x="7698636" y="3554123"/>
            <a:ext cx="0" cy="50189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235FE936-9302-E217-765F-614161C327FC}"/>
              </a:ext>
            </a:extLst>
          </p:cNvPr>
          <p:cNvCxnSpPr/>
          <p:nvPr/>
        </p:nvCxnSpPr>
        <p:spPr>
          <a:xfrm>
            <a:off x="7843108" y="3669361"/>
            <a:ext cx="0" cy="50189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A90D571-4CB1-0B3E-7F19-B76F150B4E4A}"/>
              </a:ext>
            </a:extLst>
          </p:cNvPr>
          <p:cNvCxnSpPr/>
          <p:nvPr/>
        </p:nvCxnSpPr>
        <p:spPr>
          <a:xfrm>
            <a:off x="7908016" y="3694073"/>
            <a:ext cx="0" cy="50189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27853AA4-373B-8EB1-EA4D-40CC208ED456}"/>
              </a:ext>
            </a:extLst>
          </p:cNvPr>
          <p:cNvCxnSpPr/>
          <p:nvPr/>
        </p:nvCxnSpPr>
        <p:spPr>
          <a:xfrm>
            <a:off x="7916391" y="3694073"/>
            <a:ext cx="0" cy="50189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D7BF618D-DD15-4001-D556-4A47EA986511}"/>
              </a:ext>
            </a:extLst>
          </p:cNvPr>
          <p:cNvCxnSpPr/>
          <p:nvPr/>
        </p:nvCxnSpPr>
        <p:spPr>
          <a:xfrm>
            <a:off x="7926860" y="3694073"/>
            <a:ext cx="0" cy="50189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4DA47FA-6791-0503-22D0-BB59D6DFE668}"/>
              </a:ext>
            </a:extLst>
          </p:cNvPr>
          <p:cNvCxnSpPr/>
          <p:nvPr/>
        </p:nvCxnSpPr>
        <p:spPr>
          <a:xfrm>
            <a:off x="7937329" y="3709598"/>
            <a:ext cx="0" cy="50189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378A21E2-8603-4FD2-D2AD-47A360D855DB}"/>
              </a:ext>
            </a:extLst>
          </p:cNvPr>
          <p:cNvCxnSpPr/>
          <p:nvPr/>
        </p:nvCxnSpPr>
        <p:spPr>
          <a:xfrm>
            <a:off x="7972924" y="3710179"/>
            <a:ext cx="0" cy="50189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2CC6F2B5-C804-9022-84DF-E3214C60596F}"/>
              </a:ext>
            </a:extLst>
          </p:cNvPr>
          <p:cNvCxnSpPr/>
          <p:nvPr/>
        </p:nvCxnSpPr>
        <p:spPr>
          <a:xfrm>
            <a:off x="8224180" y="3725656"/>
            <a:ext cx="0" cy="50189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31BEAE33-7CE7-A54C-B5AC-C717FF594673}"/>
              </a:ext>
            </a:extLst>
          </p:cNvPr>
          <p:cNvCxnSpPr/>
          <p:nvPr/>
        </p:nvCxnSpPr>
        <p:spPr>
          <a:xfrm>
            <a:off x="9689842" y="3907570"/>
            <a:ext cx="0" cy="50189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01813E35-F146-32D9-C7B0-81A92CB1F052}"/>
              </a:ext>
            </a:extLst>
          </p:cNvPr>
          <p:cNvCxnSpPr/>
          <p:nvPr/>
        </p:nvCxnSpPr>
        <p:spPr>
          <a:xfrm>
            <a:off x="9725436" y="3907570"/>
            <a:ext cx="0" cy="50189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B6AB6AFE-1E83-5454-2473-AAEEBCCB5464}"/>
              </a:ext>
            </a:extLst>
          </p:cNvPr>
          <p:cNvCxnSpPr/>
          <p:nvPr/>
        </p:nvCxnSpPr>
        <p:spPr>
          <a:xfrm>
            <a:off x="10330545" y="3949236"/>
            <a:ext cx="0" cy="50189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912280E7-30AD-78A8-D6EE-75B6EC654D55}"/>
              </a:ext>
            </a:extLst>
          </p:cNvPr>
          <p:cNvCxnSpPr/>
          <p:nvPr/>
        </p:nvCxnSpPr>
        <p:spPr>
          <a:xfrm>
            <a:off x="10336826" y="3949236"/>
            <a:ext cx="0" cy="50189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F97E1511-7B75-83BB-834A-88FE7A42DD02}"/>
              </a:ext>
            </a:extLst>
          </p:cNvPr>
          <p:cNvCxnSpPr/>
          <p:nvPr/>
        </p:nvCxnSpPr>
        <p:spPr>
          <a:xfrm>
            <a:off x="10403828" y="3949236"/>
            <a:ext cx="0" cy="50189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84DABDF9-7128-E378-329B-E26DB8129057}"/>
              </a:ext>
            </a:extLst>
          </p:cNvPr>
          <p:cNvCxnSpPr/>
          <p:nvPr/>
        </p:nvCxnSpPr>
        <p:spPr>
          <a:xfrm>
            <a:off x="10424766" y="3949236"/>
            <a:ext cx="0" cy="50189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4876211E-71F6-D311-E07F-00459ACBA58A}"/>
              </a:ext>
            </a:extLst>
          </p:cNvPr>
          <p:cNvCxnSpPr/>
          <p:nvPr/>
        </p:nvCxnSpPr>
        <p:spPr>
          <a:xfrm>
            <a:off x="10435235" y="3949236"/>
            <a:ext cx="0" cy="50189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1443F1F6-0C01-E0E5-7069-CFACDE2C62D3}"/>
              </a:ext>
            </a:extLst>
          </p:cNvPr>
          <p:cNvCxnSpPr/>
          <p:nvPr/>
        </p:nvCxnSpPr>
        <p:spPr>
          <a:xfrm>
            <a:off x="10445704" y="3949236"/>
            <a:ext cx="0" cy="50189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E66749A7-A5C4-456E-5CDE-8EB75A89CD20}"/>
              </a:ext>
            </a:extLst>
          </p:cNvPr>
          <p:cNvCxnSpPr/>
          <p:nvPr/>
        </p:nvCxnSpPr>
        <p:spPr>
          <a:xfrm>
            <a:off x="10454079" y="3949236"/>
            <a:ext cx="0" cy="50189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E330D00B-6C64-25D9-FDAC-AE7D65800F94}"/>
              </a:ext>
            </a:extLst>
          </p:cNvPr>
          <p:cNvCxnSpPr/>
          <p:nvPr/>
        </p:nvCxnSpPr>
        <p:spPr>
          <a:xfrm>
            <a:off x="10456173" y="3968228"/>
            <a:ext cx="0" cy="50189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720F1017-FD41-DCF0-A836-4950020B3763}"/>
              </a:ext>
            </a:extLst>
          </p:cNvPr>
          <p:cNvCxnSpPr/>
          <p:nvPr/>
        </p:nvCxnSpPr>
        <p:spPr>
          <a:xfrm>
            <a:off x="10462454" y="3968228"/>
            <a:ext cx="0" cy="50189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CF466C73-CE33-EDCD-45A2-FD65D4DD11B4}"/>
              </a:ext>
            </a:extLst>
          </p:cNvPr>
          <p:cNvCxnSpPr/>
          <p:nvPr/>
        </p:nvCxnSpPr>
        <p:spPr>
          <a:xfrm>
            <a:off x="10470830" y="3968228"/>
            <a:ext cx="0" cy="50189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8A1243E0-97F8-8F75-2D09-445AD070215B}"/>
              </a:ext>
            </a:extLst>
          </p:cNvPr>
          <p:cNvCxnSpPr/>
          <p:nvPr/>
        </p:nvCxnSpPr>
        <p:spPr>
          <a:xfrm>
            <a:off x="10477111" y="3968228"/>
            <a:ext cx="0" cy="50189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D7FBE407-8CF1-0075-FCE4-2C15180D3B97}"/>
              </a:ext>
            </a:extLst>
          </p:cNvPr>
          <p:cNvCxnSpPr/>
          <p:nvPr/>
        </p:nvCxnSpPr>
        <p:spPr>
          <a:xfrm>
            <a:off x="10493862" y="3968228"/>
            <a:ext cx="0" cy="50189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758886A6-B275-4A04-53C0-D8DBBDB0D76A}"/>
              </a:ext>
            </a:extLst>
          </p:cNvPr>
          <p:cNvCxnSpPr/>
          <p:nvPr/>
        </p:nvCxnSpPr>
        <p:spPr>
          <a:xfrm>
            <a:off x="10500143" y="3968228"/>
            <a:ext cx="0" cy="50189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E61C7641-9291-0298-8CD8-6395595693F5}"/>
              </a:ext>
            </a:extLst>
          </p:cNvPr>
          <p:cNvCxnSpPr/>
          <p:nvPr/>
        </p:nvCxnSpPr>
        <p:spPr>
          <a:xfrm>
            <a:off x="10506424" y="3968228"/>
            <a:ext cx="0" cy="50189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6239A3A9-0F65-50FD-1B05-E1AC2BFEA2CA}"/>
              </a:ext>
            </a:extLst>
          </p:cNvPr>
          <p:cNvCxnSpPr/>
          <p:nvPr/>
        </p:nvCxnSpPr>
        <p:spPr>
          <a:xfrm>
            <a:off x="10516893" y="3968228"/>
            <a:ext cx="0" cy="50189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6" name="Straight Connector 95">
            <a:extLst>
              <a:ext uri="{FF2B5EF4-FFF2-40B4-BE49-F238E27FC236}">
                <a16:creationId xmlns:a16="http://schemas.microsoft.com/office/drawing/2014/main" id="{8C05127F-22A5-9D6A-E4D8-873B97E8BC71}"/>
              </a:ext>
            </a:extLst>
          </p:cNvPr>
          <p:cNvCxnSpPr/>
          <p:nvPr/>
        </p:nvCxnSpPr>
        <p:spPr>
          <a:xfrm>
            <a:off x="10510612" y="3968228"/>
            <a:ext cx="0" cy="50189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8" name="Straight Connector 97">
            <a:extLst>
              <a:ext uri="{FF2B5EF4-FFF2-40B4-BE49-F238E27FC236}">
                <a16:creationId xmlns:a16="http://schemas.microsoft.com/office/drawing/2014/main" id="{0E47217A-10CD-62A8-B6A3-23FBFA4D64CB}"/>
              </a:ext>
            </a:extLst>
          </p:cNvPr>
          <p:cNvCxnSpPr/>
          <p:nvPr/>
        </p:nvCxnSpPr>
        <p:spPr>
          <a:xfrm>
            <a:off x="10552488" y="3968228"/>
            <a:ext cx="0" cy="50189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9" name="Straight Connector 98">
            <a:extLst>
              <a:ext uri="{FF2B5EF4-FFF2-40B4-BE49-F238E27FC236}">
                <a16:creationId xmlns:a16="http://schemas.microsoft.com/office/drawing/2014/main" id="{7830F3AC-767A-59B7-85FF-B89E75E539DD}"/>
              </a:ext>
            </a:extLst>
          </p:cNvPr>
          <p:cNvCxnSpPr/>
          <p:nvPr/>
        </p:nvCxnSpPr>
        <p:spPr>
          <a:xfrm>
            <a:off x="10558769" y="3968228"/>
            <a:ext cx="0" cy="50189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id="{A299C0D7-C64A-6E60-3718-6A9024D5512C}"/>
              </a:ext>
            </a:extLst>
          </p:cNvPr>
          <p:cNvCxnSpPr/>
          <p:nvPr/>
        </p:nvCxnSpPr>
        <p:spPr>
          <a:xfrm>
            <a:off x="10585989" y="3968228"/>
            <a:ext cx="0" cy="50189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3" name="Straight Connector 102">
            <a:extLst>
              <a:ext uri="{FF2B5EF4-FFF2-40B4-BE49-F238E27FC236}">
                <a16:creationId xmlns:a16="http://schemas.microsoft.com/office/drawing/2014/main" id="{B6B04945-FE72-9E7E-08FF-7C6B398E1797}"/>
              </a:ext>
            </a:extLst>
          </p:cNvPr>
          <p:cNvCxnSpPr/>
          <p:nvPr/>
        </p:nvCxnSpPr>
        <p:spPr>
          <a:xfrm>
            <a:off x="10592270" y="3968228"/>
            <a:ext cx="0" cy="50189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Connector 103">
            <a:extLst>
              <a:ext uri="{FF2B5EF4-FFF2-40B4-BE49-F238E27FC236}">
                <a16:creationId xmlns:a16="http://schemas.microsoft.com/office/drawing/2014/main" id="{C32DC76C-E391-8419-E033-48132BDF848C}"/>
              </a:ext>
            </a:extLst>
          </p:cNvPr>
          <p:cNvCxnSpPr/>
          <p:nvPr/>
        </p:nvCxnSpPr>
        <p:spPr>
          <a:xfrm>
            <a:off x="10602739" y="3968228"/>
            <a:ext cx="0" cy="50189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5" name="Straight Connector 104">
            <a:extLst>
              <a:ext uri="{FF2B5EF4-FFF2-40B4-BE49-F238E27FC236}">
                <a16:creationId xmlns:a16="http://schemas.microsoft.com/office/drawing/2014/main" id="{F17E107C-E9E1-9DCE-DBC9-968295FE66A0}"/>
              </a:ext>
            </a:extLst>
          </p:cNvPr>
          <p:cNvCxnSpPr/>
          <p:nvPr/>
        </p:nvCxnSpPr>
        <p:spPr>
          <a:xfrm>
            <a:off x="10594364" y="3968228"/>
            <a:ext cx="0" cy="50189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6" name="Straight Connector 105">
            <a:extLst>
              <a:ext uri="{FF2B5EF4-FFF2-40B4-BE49-F238E27FC236}">
                <a16:creationId xmlns:a16="http://schemas.microsoft.com/office/drawing/2014/main" id="{362D80AE-75A4-17B9-A180-2AD2DCABC790}"/>
              </a:ext>
            </a:extLst>
          </p:cNvPr>
          <p:cNvCxnSpPr/>
          <p:nvPr/>
        </p:nvCxnSpPr>
        <p:spPr>
          <a:xfrm>
            <a:off x="10611114" y="4003823"/>
            <a:ext cx="0" cy="50189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2B10721D-3A2E-493D-B95E-7490965AFDA7}"/>
              </a:ext>
            </a:extLst>
          </p:cNvPr>
          <p:cNvCxnSpPr/>
          <p:nvPr/>
        </p:nvCxnSpPr>
        <p:spPr>
          <a:xfrm>
            <a:off x="10617396" y="4003823"/>
            <a:ext cx="0" cy="50189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8" name="Straight Connector 107">
            <a:extLst>
              <a:ext uri="{FF2B5EF4-FFF2-40B4-BE49-F238E27FC236}">
                <a16:creationId xmlns:a16="http://schemas.microsoft.com/office/drawing/2014/main" id="{5A4189BB-3600-F16A-AB1A-8481B9446E42}"/>
              </a:ext>
            </a:extLst>
          </p:cNvPr>
          <p:cNvCxnSpPr/>
          <p:nvPr/>
        </p:nvCxnSpPr>
        <p:spPr>
          <a:xfrm>
            <a:off x="10644615" y="4005917"/>
            <a:ext cx="0" cy="50189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Connector 108">
            <a:extLst>
              <a:ext uri="{FF2B5EF4-FFF2-40B4-BE49-F238E27FC236}">
                <a16:creationId xmlns:a16="http://schemas.microsoft.com/office/drawing/2014/main" id="{77E69A8E-BAEB-C134-83F9-14243B118F81}"/>
              </a:ext>
            </a:extLst>
          </p:cNvPr>
          <p:cNvCxnSpPr/>
          <p:nvPr/>
        </p:nvCxnSpPr>
        <p:spPr>
          <a:xfrm>
            <a:off x="10650897" y="4005917"/>
            <a:ext cx="0" cy="50189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3A9C8DCD-F80D-E471-FE70-77CA47E26CAA}"/>
              </a:ext>
            </a:extLst>
          </p:cNvPr>
          <p:cNvCxnSpPr/>
          <p:nvPr/>
        </p:nvCxnSpPr>
        <p:spPr>
          <a:xfrm>
            <a:off x="10676022" y="4005917"/>
            <a:ext cx="0" cy="50189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2970C945-7C7E-B075-6814-09785744EFC3}"/>
              </a:ext>
            </a:extLst>
          </p:cNvPr>
          <p:cNvCxnSpPr/>
          <p:nvPr/>
        </p:nvCxnSpPr>
        <p:spPr>
          <a:xfrm>
            <a:off x="10682304" y="4005917"/>
            <a:ext cx="0" cy="50189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Connector 111">
            <a:extLst>
              <a:ext uri="{FF2B5EF4-FFF2-40B4-BE49-F238E27FC236}">
                <a16:creationId xmlns:a16="http://schemas.microsoft.com/office/drawing/2014/main" id="{CC677B56-A726-EC88-65D3-8DADC775C969}"/>
              </a:ext>
            </a:extLst>
          </p:cNvPr>
          <p:cNvCxnSpPr/>
          <p:nvPr/>
        </p:nvCxnSpPr>
        <p:spPr>
          <a:xfrm>
            <a:off x="10688585" y="4005917"/>
            <a:ext cx="0" cy="50189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6CFE0013-53A0-BD25-3BFF-EA322064F889}"/>
              </a:ext>
            </a:extLst>
          </p:cNvPr>
          <p:cNvCxnSpPr/>
          <p:nvPr/>
        </p:nvCxnSpPr>
        <p:spPr>
          <a:xfrm>
            <a:off x="10701148" y="4005917"/>
            <a:ext cx="0" cy="50189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4" name="Straight Connector 113">
            <a:extLst>
              <a:ext uri="{FF2B5EF4-FFF2-40B4-BE49-F238E27FC236}">
                <a16:creationId xmlns:a16="http://schemas.microsoft.com/office/drawing/2014/main" id="{5BDC4BA8-F0C6-BF68-D7B6-1EF2B0AB5EEE}"/>
              </a:ext>
            </a:extLst>
          </p:cNvPr>
          <p:cNvCxnSpPr/>
          <p:nvPr/>
        </p:nvCxnSpPr>
        <p:spPr>
          <a:xfrm>
            <a:off x="10891684" y="3999635"/>
            <a:ext cx="0" cy="50189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24383808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8BDF1DC-1BA5-67ED-40D9-89AA8DABBE6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2C7B54-6064-3BDE-D71F-A7956D54E7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latin typeface="+mn-lt"/>
              </a:rPr>
              <a:t>The safety profile of bispecific monotherapy in 3L use in LBCL has been established</a:t>
            </a:r>
            <a:endParaRPr lang="en-GB" baseline="30000" dirty="0">
              <a:latin typeface="+mn-lt"/>
            </a:endParaRP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DC941C28-1F0B-F57C-4003-99A13CEC90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01CC8E-1CEF-6746-999E-CF29FF00B1D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82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3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8999A52-19FD-813E-B1E9-3D014275423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70645" y="6217031"/>
            <a:ext cx="10440000" cy="502920"/>
          </a:xfrm>
        </p:spPr>
        <p:txBody>
          <a:bodyPr/>
          <a:lstStyle/>
          <a:p>
            <a:r>
              <a:rPr lang="en-GB" b="1" dirty="0"/>
              <a:t>Direct comparisons between study results cannot be made due to differences in study design, patient populations, and endpoints; the information is presented for contextual purposes only. </a:t>
            </a:r>
            <a:br>
              <a:rPr lang="en-GB" b="1" dirty="0"/>
            </a:br>
            <a:r>
              <a:rPr lang="en-GB" dirty="0"/>
              <a:t>*</a:t>
            </a:r>
            <a:r>
              <a:rPr lang="en-CH" dirty="0"/>
              <a:t>M</a:t>
            </a:r>
            <a:r>
              <a:rPr lang="en-GB" dirty="0" err="1"/>
              <a:t>edian</a:t>
            </a:r>
            <a:r>
              <a:rPr lang="en-GB" dirty="0"/>
              <a:t> follow-up of 12.6 months. †</a:t>
            </a:r>
            <a:r>
              <a:rPr lang="en-CH" dirty="0"/>
              <a:t>M</a:t>
            </a:r>
            <a:r>
              <a:rPr lang="en-GB" dirty="0" err="1"/>
              <a:t>edian</a:t>
            </a:r>
            <a:r>
              <a:rPr lang="en-GB" dirty="0"/>
              <a:t> follow-up of 37.1 months.</a:t>
            </a:r>
          </a:p>
          <a:p>
            <a:r>
              <a:rPr lang="en-GB" dirty="0"/>
              <a:t>3L, third line; AE, adverse event; CRS, cytokine release syndrome; LBCL, large B-cell lymphoma.</a:t>
            </a:r>
          </a:p>
          <a:p>
            <a:r>
              <a:rPr lang="en-GB" b="1" dirty="0"/>
              <a:t>1.</a:t>
            </a:r>
            <a:r>
              <a:rPr lang="en-GB" dirty="0"/>
              <a:t> Dickinson et al. </a:t>
            </a:r>
            <a:r>
              <a:rPr lang="fr-FR" dirty="0"/>
              <a:t>ASH 2024; </a:t>
            </a:r>
            <a:r>
              <a:rPr lang="fr-FR" dirty="0" err="1"/>
              <a:t>Presentation</a:t>
            </a:r>
            <a:r>
              <a:rPr lang="fr-FR" dirty="0"/>
              <a:t> #865</a:t>
            </a:r>
            <a:r>
              <a:rPr lang="en-GB" dirty="0"/>
              <a:t> </a:t>
            </a:r>
            <a:r>
              <a:rPr lang="en-GB" b="1" dirty="0"/>
              <a:t>2.</a:t>
            </a:r>
            <a:r>
              <a:rPr lang="en-GB" dirty="0"/>
              <a:t> Dickinson et al. </a:t>
            </a:r>
            <a:r>
              <a:rPr lang="en-GB" i="1" dirty="0"/>
              <a:t>N Engl J Med </a:t>
            </a:r>
            <a:r>
              <a:rPr lang="en-GB" dirty="0"/>
              <a:t>2022</a:t>
            </a:r>
            <a:r>
              <a:rPr lang="en-GB" b="1" dirty="0"/>
              <a:t> 3. </a:t>
            </a:r>
            <a:r>
              <a:rPr lang="en-GB" dirty="0"/>
              <a:t>Karimi et al. </a:t>
            </a:r>
            <a:r>
              <a:rPr lang="fr-FR" dirty="0"/>
              <a:t>ASH 2025; Poster #5513 </a:t>
            </a:r>
            <a:r>
              <a:rPr lang="fr-FR" b="1" dirty="0"/>
              <a:t>4.</a:t>
            </a:r>
            <a:r>
              <a:rPr lang="en-GB" dirty="0"/>
              <a:t>Vose  et al. </a:t>
            </a:r>
            <a:r>
              <a:rPr lang="fr-FR" dirty="0"/>
              <a:t>ASH 2024; Poster #4480.</a:t>
            </a:r>
            <a:endParaRPr lang="en-GB" dirty="0"/>
          </a:p>
        </p:txBody>
      </p:sp>
      <p:graphicFrame>
        <p:nvGraphicFramePr>
          <p:cNvPr id="26" name="Table 0">
            <a:extLst>
              <a:ext uri="{FF2B5EF4-FFF2-40B4-BE49-F238E27FC236}">
                <a16:creationId xmlns:a16="http://schemas.microsoft.com/office/drawing/2014/main" id="{410E69C1-A750-E073-5716-675929E1F6A6}"/>
              </a:ext>
            </a:extLst>
          </p:cNvPr>
          <p:cNvGraphicFramePr>
            <a:graphicFrameLocks noGrp="1"/>
          </p:cNvGraphicFramePr>
          <p:nvPr/>
        </p:nvGraphicFramePr>
        <p:xfrm>
          <a:off x="585910" y="2146400"/>
          <a:ext cx="5252169" cy="2868490"/>
        </p:xfrm>
        <a:graphic>
          <a:graphicData uri="http://schemas.openxmlformats.org/drawingml/2006/table">
            <a:tbl>
              <a:tblPr/>
              <a:tblGrid>
                <a:gridCol w="317272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7944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65702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1" i="0" kern="1200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P30179</a:t>
                      </a:r>
                      <a:r>
                        <a:rPr lang="en-GB" sz="1600" b="1" baseline="30000" dirty="0">
                          <a:solidFill>
                            <a:schemeClr val="tx2"/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1</a:t>
                      </a:r>
                    </a:p>
                  </a:txBody>
                  <a:tcPr marL="84667" marR="84667" marT="33867" marB="3386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GB" sz="1600" b="1">
                          <a:solidFill>
                            <a:schemeClr val="bg1"/>
                          </a:solidFill>
                          <a:latin typeface="+mn-lt"/>
                          <a:ea typeface="Arial" pitchFamily="34" charset="-122"/>
                          <a:cs typeface="Arial" pitchFamily="34" charset="-120"/>
                        </a:rPr>
                        <a:t>Glofitamab</a:t>
                      </a:r>
                    </a:p>
                    <a:p>
                      <a:pPr marL="0" indent="0" algn="ctr">
                        <a:buNone/>
                      </a:pPr>
                      <a:r>
                        <a:rPr lang="en-GB" sz="1600" b="1">
                          <a:solidFill>
                            <a:schemeClr val="bg1"/>
                          </a:solidFill>
                          <a:latin typeface="+mn-lt"/>
                          <a:ea typeface="Arial" charset="0"/>
                          <a:cs typeface="Arial" pitchFamily="34" charset="-120"/>
                        </a:rPr>
                        <a:t>(N=154)</a:t>
                      </a:r>
                      <a:endParaRPr lang="en-GB" sz="1600">
                        <a:solidFill>
                          <a:schemeClr val="bg1"/>
                        </a:solidFill>
                        <a:latin typeface="+mn-lt"/>
                        <a:ea typeface="Arial" charset="0"/>
                        <a:cs typeface="Arial" charset="0"/>
                      </a:endParaRPr>
                    </a:p>
                  </a:txBody>
                  <a:tcPr marL="84667" marR="84667" marT="33867" marB="3386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8577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r>
                        <a:rPr lang="en-GB" sz="1600">
                          <a:solidFill>
                            <a:schemeClr val="tx2"/>
                          </a:solidFill>
                          <a:latin typeface="+mn-lt"/>
                          <a:ea typeface="Arial" pitchFamily="34" charset="-122"/>
                          <a:cs typeface="Arial" pitchFamily="34" charset="-120"/>
                        </a:rPr>
                        <a:t>Grade ≥3 AEs</a:t>
                      </a:r>
                      <a:endParaRPr lang="en-GB" sz="1600">
                        <a:solidFill>
                          <a:schemeClr val="tx2"/>
                        </a:solidFill>
                        <a:latin typeface="+mn-lt"/>
                        <a:ea typeface="Arial" charset="0"/>
                        <a:cs typeface="Arial" charset="0"/>
                      </a:endParaRPr>
                    </a:p>
                  </a:txBody>
                  <a:tcPr marL="84667" marR="84667" marT="33867" marB="3386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FF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GB" sz="1600" b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66%</a:t>
                      </a:r>
                    </a:p>
                  </a:txBody>
                  <a:tcPr marL="84667" marR="84667" marT="33867" marB="3386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F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8577">
                <a:tc>
                  <a:txBody>
                    <a:bodyPr/>
                    <a:lstStyle/>
                    <a:p>
                      <a:r>
                        <a:rPr lang="en-GB" sz="1600" kern="1200">
                          <a:solidFill>
                            <a:schemeClr val="tx2"/>
                          </a:solidFill>
                          <a:latin typeface="+mn-lt"/>
                          <a:ea typeface="Arial" charset="0"/>
                          <a:cs typeface="Arial" pitchFamily="34" charset="-120"/>
                        </a:rPr>
                        <a:t>    Grade 5 AEs</a:t>
                      </a:r>
                    </a:p>
                  </a:txBody>
                  <a:tcPr marL="84667" marR="84667" marT="33867" marB="3386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GB" sz="1600" b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7%</a:t>
                      </a:r>
                    </a:p>
                  </a:txBody>
                  <a:tcPr marL="84667" marR="84667" marT="33867" marB="3386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68577">
                <a:tc>
                  <a:txBody>
                    <a:bodyPr/>
                    <a:lstStyle/>
                    <a:p>
                      <a:r>
                        <a:rPr lang="en-GB" sz="1600" kern="1200">
                          <a:solidFill>
                            <a:schemeClr val="tx2"/>
                          </a:solidFill>
                          <a:latin typeface="+mn-lt"/>
                          <a:ea typeface="Arial" charset="0"/>
                          <a:cs typeface="Arial" pitchFamily="34" charset="-120"/>
                        </a:rPr>
                        <a:t>Serious AEs</a:t>
                      </a:r>
                      <a:endParaRPr lang="en-GB" sz="1600" kern="1200" baseline="30000">
                        <a:solidFill>
                          <a:schemeClr val="tx2"/>
                        </a:solidFill>
                        <a:latin typeface="+mn-lt"/>
                        <a:ea typeface="Arial" charset="0"/>
                        <a:cs typeface="Arial" pitchFamily="34" charset="-120"/>
                      </a:endParaRPr>
                    </a:p>
                  </a:txBody>
                  <a:tcPr marL="84667" marR="84667" marT="33867" marB="3386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FF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GB" sz="1600" b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49%</a:t>
                      </a:r>
                    </a:p>
                  </a:txBody>
                  <a:tcPr marL="84667" marR="84667" marT="33867" marB="3386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F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74056424"/>
                  </a:ext>
                </a:extLst>
              </a:tr>
              <a:tr h="368577">
                <a:tc>
                  <a:txBody>
                    <a:bodyPr/>
                    <a:lstStyle/>
                    <a:p>
                      <a:r>
                        <a:rPr lang="en-GB" sz="1600" kern="120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Arial" pitchFamily="34" charset="-120"/>
                        </a:rPr>
                        <a:t>CRS, any Grade</a:t>
                      </a:r>
                      <a:endParaRPr lang="en-GB" sz="1600" kern="1200">
                        <a:solidFill>
                          <a:schemeClr val="tx2"/>
                        </a:solidFill>
                        <a:latin typeface="+mn-lt"/>
                        <a:cs typeface="Arial" pitchFamily="34" charset="-120"/>
                      </a:endParaRPr>
                    </a:p>
                  </a:txBody>
                  <a:tcPr marL="84667" marR="84667" marT="33867" marB="3386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GB" sz="1600" b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64%</a:t>
                      </a:r>
                    </a:p>
                  </a:txBody>
                  <a:tcPr marL="84667" marR="84667" marT="33867" marB="3386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68577">
                <a:tc>
                  <a:txBody>
                    <a:bodyPr/>
                    <a:lstStyle/>
                    <a:p>
                      <a:r>
                        <a:rPr lang="en-GB" sz="1600" kern="1200">
                          <a:solidFill>
                            <a:schemeClr val="tx2"/>
                          </a:solidFill>
                          <a:latin typeface="+mn-lt"/>
                          <a:ea typeface="Arial" charset="0"/>
                          <a:cs typeface="Arial" pitchFamily="34" charset="-120"/>
                        </a:rPr>
                        <a:t>    Grade ≥3 CRS</a:t>
                      </a:r>
                    </a:p>
                  </a:txBody>
                  <a:tcPr marL="84667" marR="84667" marT="33867" marB="3386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FF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GB" sz="1600" b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4%</a:t>
                      </a:r>
                    </a:p>
                  </a:txBody>
                  <a:tcPr marL="84667" marR="84667" marT="33867" marB="3386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F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340919"/>
                  </a:ext>
                </a:extLst>
              </a:tr>
              <a:tr h="368577">
                <a:tc>
                  <a:txBody>
                    <a:bodyPr/>
                    <a:lstStyle/>
                    <a:p>
                      <a:r>
                        <a:rPr lang="en-GB" sz="1600" kern="1200">
                          <a:solidFill>
                            <a:schemeClr val="tx2"/>
                          </a:solidFill>
                          <a:latin typeface="+mn-lt"/>
                          <a:ea typeface="Arial" charset="0"/>
                          <a:cs typeface="Arial" pitchFamily="34" charset="-120"/>
                        </a:rPr>
                        <a:t>Infections</a:t>
                      </a:r>
                      <a:r>
                        <a:rPr lang="en-GB" sz="1600" kern="1200" baseline="30000">
                          <a:solidFill>
                            <a:schemeClr val="tx2"/>
                          </a:solidFill>
                          <a:latin typeface="+mn-lt"/>
                          <a:ea typeface="Arial" charset="0"/>
                          <a:cs typeface="Arial" pitchFamily="34" charset="-120"/>
                        </a:rPr>
                        <a:t>2</a:t>
                      </a:r>
                    </a:p>
                  </a:txBody>
                  <a:tcPr marL="84667" marR="84667" marT="33867" marB="3386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GB" sz="1600" b="0" dirty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38%*</a:t>
                      </a:r>
                    </a:p>
                  </a:txBody>
                  <a:tcPr marL="84667" marR="84667" marT="33867" marB="3386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61923524"/>
                  </a:ext>
                </a:extLst>
              </a:tr>
            </a:tbl>
          </a:graphicData>
        </a:graphic>
      </p:graphicFrame>
      <p:graphicFrame>
        <p:nvGraphicFramePr>
          <p:cNvPr id="28" name="Table 0">
            <a:extLst>
              <a:ext uri="{FF2B5EF4-FFF2-40B4-BE49-F238E27FC236}">
                <a16:creationId xmlns:a16="http://schemas.microsoft.com/office/drawing/2014/main" id="{08FE81A3-1BB7-F74E-0DBB-D90559E8C103}"/>
              </a:ext>
            </a:extLst>
          </p:cNvPr>
          <p:cNvGraphicFramePr>
            <a:graphicFrameLocks noGrp="1"/>
          </p:cNvGraphicFramePr>
          <p:nvPr/>
        </p:nvGraphicFramePr>
        <p:xfrm>
          <a:off x="6248192" y="2146400"/>
          <a:ext cx="5252169" cy="2868490"/>
        </p:xfrm>
        <a:graphic>
          <a:graphicData uri="http://schemas.openxmlformats.org/drawingml/2006/table">
            <a:tbl>
              <a:tblPr/>
              <a:tblGrid>
                <a:gridCol w="317272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7944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65702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 i="0" u="none" strike="noStrike" kern="1200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PCORE NHL-1</a:t>
                      </a:r>
                      <a:r>
                        <a:rPr lang="en-GB" sz="1600" b="1" i="0" u="none" strike="noStrike" kern="1200" baseline="30000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  <a:endParaRPr lang="en-GB" sz="1600" b="1" baseline="30000" dirty="0">
                        <a:solidFill>
                          <a:schemeClr val="tx2"/>
                        </a:solidFill>
                        <a:latin typeface="+mn-lt"/>
                        <a:ea typeface="Arial" charset="0"/>
                        <a:cs typeface="Arial" charset="0"/>
                      </a:endParaRPr>
                    </a:p>
                  </a:txBody>
                  <a:tcPr marL="84667" marR="84667" marT="33867" marB="3386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GB" sz="1600" b="1">
                          <a:solidFill>
                            <a:schemeClr val="bg1"/>
                          </a:solidFill>
                          <a:latin typeface="+mn-lt"/>
                          <a:ea typeface="Arial" pitchFamily="34" charset="-122"/>
                          <a:cs typeface="Arial" pitchFamily="34" charset="-120"/>
                        </a:rPr>
                        <a:t>Epcoritamab</a:t>
                      </a:r>
                    </a:p>
                    <a:p>
                      <a:pPr marL="0" indent="0" algn="ctr">
                        <a:buNone/>
                      </a:pPr>
                      <a:r>
                        <a:rPr lang="en-GB" sz="1600" b="1">
                          <a:solidFill>
                            <a:schemeClr val="bg1"/>
                          </a:solidFill>
                          <a:latin typeface="+mn-lt"/>
                          <a:ea typeface="Arial" charset="0"/>
                          <a:cs typeface="Arial" pitchFamily="34" charset="-120"/>
                        </a:rPr>
                        <a:t>(N=157)</a:t>
                      </a:r>
                      <a:endParaRPr lang="en-GB" sz="1600">
                        <a:solidFill>
                          <a:schemeClr val="bg1"/>
                        </a:solidFill>
                        <a:latin typeface="+mn-lt"/>
                        <a:ea typeface="Arial" charset="0"/>
                        <a:cs typeface="Arial" charset="0"/>
                      </a:endParaRPr>
                    </a:p>
                  </a:txBody>
                  <a:tcPr marL="84667" marR="84667" marT="33867" marB="3386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8577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r>
                        <a:rPr lang="en-GB" sz="1600">
                          <a:solidFill>
                            <a:schemeClr val="tx2"/>
                          </a:solidFill>
                          <a:latin typeface="+mn-lt"/>
                          <a:ea typeface="Arial" pitchFamily="34" charset="-122"/>
                          <a:cs typeface="Arial" pitchFamily="34" charset="-120"/>
                        </a:rPr>
                        <a:t>Grade ≥3 AEs</a:t>
                      </a:r>
                      <a:endParaRPr lang="en-GB" sz="1600">
                        <a:solidFill>
                          <a:schemeClr val="tx2"/>
                        </a:solidFill>
                        <a:latin typeface="+mn-lt"/>
                        <a:ea typeface="Arial" charset="0"/>
                        <a:cs typeface="Arial" charset="0"/>
                      </a:endParaRPr>
                    </a:p>
                  </a:txBody>
                  <a:tcPr marL="84667" marR="84667" marT="33867" marB="3386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FF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GB" sz="1600" b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71%</a:t>
                      </a:r>
                    </a:p>
                  </a:txBody>
                  <a:tcPr marL="84667" marR="84667" marT="33867" marB="3386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F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8577">
                <a:tc>
                  <a:txBody>
                    <a:bodyPr/>
                    <a:lstStyle/>
                    <a:p>
                      <a:r>
                        <a:rPr lang="en-GB" sz="1600" kern="1200">
                          <a:solidFill>
                            <a:schemeClr val="tx2"/>
                          </a:solidFill>
                          <a:latin typeface="+mn-lt"/>
                          <a:ea typeface="Arial" charset="0"/>
                          <a:cs typeface="Arial" pitchFamily="34" charset="-120"/>
                        </a:rPr>
                        <a:t>    Grade 5 AEs</a:t>
                      </a:r>
                    </a:p>
                  </a:txBody>
                  <a:tcPr marL="84667" marR="84667" marT="33867" marB="3386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GB" sz="1600" b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14%</a:t>
                      </a:r>
                    </a:p>
                  </a:txBody>
                  <a:tcPr marL="84667" marR="84667" marT="33867" marB="3386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68577">
                <a:tc>
                  <a:txBody>
                    <a:bodyPr/>
                    <a:lstStyle/>
                    <a:p>
                      <a:r>
                        <a:rPr lang="en-GB" sz="1600" kern="1200">
                          <a:solidFill>
                            <a:schemeClr val="tx2"/>
                          </a:solidFill>
                          <a:latin typeface="+mn-lt"/>
                          <a:ea typeface="Arial" charset="0"/>
                          <a:cs typeface="Arial" pitchFamily="34" charset="-120"/>
                        </a:rPr>
                        <a:t>Serious AEs</a:t>
                      </a:r>
                      <a:endParaRPr lang="en-GB" sz="1600" kern="1200" baseline="30000">
                        <a:solidFill>
                          <a:schemeClr val="tx2"/>
                        </a:solidFill>
                        <a:latin typeface="+mn-lt"/>
                        <a:ea typeface="Arial" charset="0"/>
                        <a:cs typeface="Arial" pitchFamily="34" charset="-120"/>
                      </a:endParaRPr>
                    </a:p>
                  </a:txBody>
                  <a:tcPr marL="84667" marR="84667" marT="33867" marB="3386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FF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GB" sz="1600" b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70%</a:t>
                      </a:r>
                    </a:p>
                  </a:txBody>
                  <a:tcPr marL="84667" marR="84667" marT="33867" marB="3386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F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74056424"/>
                  </a:ext>
                </a:extLst>
              </a:tr>
              <a:tr h="368577">
                <a:tc>
                  <a:txBody>
                    <a:bodyPr/>
                    <a:lstStyle/>
                    <a:p>
                      <a:r>
                        <a:rPr lang="en-GB" sz="1600" kern="120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Arial" pitchFamily="34" charset="-120"/>
                        </a:rPr>
                        <a:t>CRS, any Grade</a:t>
                      </a:r>
                      <a:r>
                        <a:rPr lang="en-GB" sz="1600" kern="1200" baseline="3000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Arial" pitchFamily="34" charset="-120"/>
                        </a:rPr>
                        <a:t>4</a:t>
                      </a:r>
                      <a:endParaRPr lang="en-GB" sz="1600" kern="1200" baseline="30000">
                        <a:solidFill>
                          <a:schemeClr val="tx2"/>
                        </a:solidFill>
                        <a:latin typeface="+mn-lt"/>
                        <a:cs typeface="Arial" pitchFamily="34" charset="-120"/>
                      </a:endParaRPr>
                    </a:p>
                  </a:txBody>
                  <a:tcPr marL="84667" marR="84667" marT="33867" marB="3386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GB" sz="1600" b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51%</a:t>
                      </a:r>
                      <a:r>
                        <a:rPr lang="en-GB" sz="1600" b="0" baseline="3000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†</a:t>
                      </a:r>
                      <a:endParaRPr lang="en-GB" sz="1600" b="0">
                        <a:solidFill>
                          <a:schemeClr val="accent4">
                            <a:lumMod val="75000"/>
                          </a:schemeClr>
                        </a:solidFill>
                        <a:latin typeface="+mn-lt"/>
                        <a:ea typeface="Arial" charset="0"/>
                        <a:cs typeface="Arial" charset="0"/>
                      </a:endParaRPr>
                    </a:p>
                  </a:txBody>
                  <a:tcPr marL="84667" marR="84667" marT="33867" marB="3386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68577">
                <a:tc>
                  <a:txBody>
                    <a:bodyPr/>
                    <a:lstStyle/>
                    <a:p>
                      <a:r>
                        <a:rPr lang="en-GB" sz="1600" kern="1200">
                          <a:solidFill>
                            <a:schemeClr val="tx2"/>
                          </a:solidFill>
                          <a:latin typeface="+mn-lt"/>
                          <a:ea typeface="Arial" charset="0"/>
                          <a:cs typeface="Arial" pitchFamily="34" charset="-120"/>
                        </a:rPr>
                        <a:t>    Grade ≥3 CRS</a:t>
                      </a:r>
                      <a:r>
                        <a:rPr lang="en-GB" sz="1600" kern="1200" baseline="3000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Arial" pitchFamily="34" charset="-120"/>
                        </a:rPr>
                        <a:t>4</a:t>
                      </a:r>
                      <a:endParaRPr lang="en-GB" sz="1600" kern="1200">
                        <a:solidFill>
                          <a:schemeClr val="tx2"/>
                        </a:solidFill>
                        <a:latin typeface="+mn-lt"/>
                        <a:ea typeface="Arial" charset="0"/>
                        <a:cs typeface="Arial" pitchFamily="34" charset="-120"/>
                      </a:endParaRPr>
                    </a:p>
                  </a:txBody>
                  <a:tcPr marL="84667" marR="84667" marT="33867" marB="3386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FF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GB" sz="1600" b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3%</a:t>
                      </a:r>
                      <a:r>
                        <a:rPr lang="en-GB" sz="1600" b="0" baseline="3000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†</a:t>
                      </a:r>
                      <a:endParaRPr lang="en-GB" sz="1600" b="0">
                        <a:solidFill>
                          <a:schemeClr val="accent4">
                            <a:lumMod val="75000"/>
                          </a:schemeClr>
                        </a:solidFill>
                        <a:latin typeface="+mn-lt"/>
                        <a:ea typeface="Arial" charset="0"/>
                        <a:cs typeface="Arial" charset="0"/>
                      </a:endParaRPr>
                    </a:p>
                  </a:txBody>
                  <a:tcPr marL="84667" marR="84667" marT="33867" marB="3386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F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340919"/>
                  </a:ext>
                </a:extLst>
              </a:tr>
              <a:tr h="368577">
                <a:tc>
                  <a:txBody>
                    <a:bodyPr/>
                    <a:lstStyle/>
                    <a:p>
                      <a:r>
                        <a:rPr lang="en-GB" sz="1600" kern="1200">
                          <a:solidFill>
                            <a:schemeClr val="tx2"/>
                          </a:solidFill>
                          <a:latin typeface="+mn-lt"/>
                          <a:ea typeface="Arial" charset="0"/>
                          <a:cs typeface="Arial" pitchFamily="34" charset="-120"/>
                        </a:rPr>
                        <a:t>Infections</a:t>
                      </a:r>
                      <a:r>
                        <a:rPr lang="en-GB" sz="1600" kern="1200" baseline="3000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Arial" pitchFamily="34" charset="-120"/>
                        </a:rPr>
                        <a:t>4</a:t>
                      </a:r>
                      <a:endParaRPr lang="en-GB" sz="1600" kern="1200" baseline="30000">
                        <a:solidFill>
                          <a:schemeClr val="tx2"/>
                        </a:solidFill>
                        <a:latin typeface="+mn-lt"/>
                        <a:ea typeface="Arial" charset="0"/>
                        <a:cs typeface="Arial" pitchFamily="34" charset="-120"/>
                      </a:endParaRPr>
                    </a:p>
                  </a:txBody>
                  <a:tcPr marL="84667" marR="84667" marT="33867" marB="3386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GB" sz="1600" b="0" dirty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31%</a:t>
                      </a:r>
                      <a:r>
                        <a:rPr lang="en-GB" sz="1600" b="0" baseline="30000" dirty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†</a:t>
                      </a:r>
                    </a:p>
                  </a:txBody>
                  <a:tcPr marL="84667" marR="84667" marT="33867" marB="3386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6192352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90078820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ED584D-AA5F-B0A0-E0B3-C5B3ECBD17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latin typeface="+mn-lt"/>
              </a:rPr>
              <a:t>Real-world experience with bispecific antibodies</a:t>
            </a:r>
            <a:endParaRPr lang="en-US" dirty="0">
              <a:latin typeface="+mn-lt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0370A0B-0B54-8D87-F1A3-B30EA4C3C7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01CC8E-1CEF-6746-999E-CF29FF00B1D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82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4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DF051E0-6F43-79A8-D77E-A23E25AE60F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70645" y="6008452"/>
            <a:ext cx="10440000" cy="711499"/>
          </a:xfrm>
        </p:spPr>
        <p:txBody>
          <a:bodyPr/>
          <a:lstStyle/>
          <a:p>
            <a:r>
              <a:rPr lang="en-GB" b="1" dirty="0"/>
              <a:t>Direct comparisons between study results cannot be made due to differences in study design, patient populations, and endpoints; the information is presented for contextual purposes only. </a:t>
            </a:r>
          </a:p>
          <a:p>
            <a:r>
              <a:rPr lang="en-US" dirty="0">
                <a:solidFill>
                  <a:srgbClr val="585854"/>
                </a:solidFill>
              </a:rPr>
              <a:t>*Investigator-assessed. </a:t>
            </a:r>
            <a:r>
              <a:rPr lang="en-CH" dirty="0">
                <a:solidFill>
                  <a:srgbClr val="585854"/>
                </a:solidFill>
              </a:rPr>
              <a:t>CR, complete response; </a:t>
            </a:r>
            <a:r>
              <a:rPr lang="en-US" dirty="0">
                <a:solidFill>
                  <a:srgbClr val="585854"/>
                </a:solidFill>
              </a:rPr>
              <a:t>DACH, Germany, Austria and Switzerland; ECOG PS, Eastern Cooperative Oncology Group performance status; IQR, interquartile range; </a:t>
            </a:r>
            <a:r>
              <a:rPr lang="en-US" dirty="0" err="1">
                <a:solidFill>
                  <a:srgbClr val="585854"/>
                </a:solidFill>
              </a:rPr>
              <a:t>LoT</a:t>
            </a:r>
            <a:r>
              <a:rPr lang="en-US" dirty="0">
                <a:solidFill>
                  <a:srgbClr val="585854"/>
                </a:solidFill>
              </a:rPr>
              <a:t>, line of therapy; </a:t>
            </a:r>
            <a:r>
              <a:rPr lang="en-US" dirty="0" err="1">
                <a:solidFill>
                  <a:srgbClr val="585854"/>
                </a:solidFill>
              </a:rPr>
              <a:t>mOS</a:t>
            </a:r>
            <a:r>
              <a:rPr lang="en-US" dirty="0">
                <a:solidFill>
                  <a:srgbClr val="585854"/>
                </a:solidFill>
              </a:rPr>
              <a:t>, median overall survival; </a:t>
            </a:r>
            <a:r>
              <a:rPr lang="en-US" dirty="0" err="1">
                <a:solidFill>
                  <a:srgbClr val="585854"/>
                </a:solidFill>
              </a:rPr>
              <a:t>mPFS</a:t>
            </a:r>
            <a:r>
              <a:rPr lang="en-US" dirty="0">
                <a:solidFill>
                  <a:srgbClr val="585854"/>
                </a:solidFill>
              </a:rPr>
              <a:t>, median progression-free survival; NA, not available; NR, not reached</a:t>
            </a:r>
            <a:r>
              <a:rPr lang="en-GB" dirty="0">
                <a:solidFill>
                  <a:srgbClr val="585854"/>
                </a:solidFill>
              </a:rPr>
              <a:t>. </a:t>
            </a:r>
            <a:r>
              <a:rPr lang="en-GB" b="1" dirty="0"/>
              <a:t>1.</a:t>
            </a:r>
            <a:r>
              <a:rPr lang="en-GB" dirty="0"/>
              <a:t> </a:t>
            </a:r>
            <a:r>
              <a:rPr lang="it-IT" dirty="0"/>
              <a:t>Dickinson et al. </a:t>
            </a:r>
            <a:r>
              <a:rPr lang="it-IT" i="1" dirty="0"/>
              <a:t>N </a:t>
            </a:r>
            <a:r>
              <a:rPr lang="it-IT" i="1" dirty="0" err="1"/>
              <a:t>Engl</a:t>
            </a:r>
            <a:r>
              <a:rPr lang="it-IT" i="1" dirty="0"/>
              <a:t> J </a:t>
            </a:r>
            <a:r>
              <a:rPr lang="it-IT" i="1" dirty="0" err="1"/>
              <a:t>Med</a:t>
            </a:r>
            <a:r>
              <a:rPr lang="it-IT" dirty="0"/>
              <a:t> 2022</a:t>
            </a:r>
            <a:r>
              <a:rPr lang="en-GB" dirty="0"/>
              <a:t> </a:t>
            </a:r>
            <a:r>
              <a:rPr lang="en-GB" b="1" dirty="0"/>
              <a:t>2.</a:t>
            </a:r>
            <a:r>
              <a:rPr lang="en-GB" dirty="0"/>
              <a:t> </a:t>
            </a:r>
            <a:r>
              <a:rPr lang="en-GB" dirty="0" err="1"/>
              <a:t>Shumilov</a:t>
            </a:r>
            <a:r>
              <a:rPr lang="en-GB" dirty="0"/>
              <a:t> et al. </a:t>
            </a:r>
            <a:r>
              <a:rPr lang="en-GB" i="1" dirty="0"/>
              <a:t>Blood Adv</a:t>
            </a:r>
            <a:r>
              <a:rPr lang="en-GB" dirty="0"/>
              <a:t> 2025 </a:t>
            </a:r>
            <a:endParaRPr lang="en-CH" dirty="0"/>
          </a:p>
          <a:p>
            <a:r>
              <a:rPr lang="en-GB" b="1" dirty="0"/>
              <a:t>3.</a:t>
            </a:r>
            <a:r>
              <a:rPr lang="en-GB" dirty="0"/>
              <a:t> </a:t>
            </a:r>
            <a:r>
              <a:rPr lang="en-GB" dirty="0" err="1"/>
              <a:t>Atesoglu</a:t>
            </a:r>
            <a:r>
              <a:rPr lang="en-GB" dirty="0"/>
              <a:t> et al. </a:t>
            </a:r>
            <a:r>
              <a:rPr lang="en-GB" i="1" dirty="0" err="1"/>
              <a:t>Hematol</a:t>
            </a:r>
            <a:r>
              <a:rPr lang="en-GB" i="1" dirty="0"/>
              <a:t> Oncol </a:t>
            </a:r>
            <a:r>
              <a:rPr lang="en-GB" dirty="0"/>
              <a:t>2023 </a:t>
            </a:r>
            <a:r>
              <a:rPr lang="en-GB" b="1" dirty="0"/>
              <a:t>4. </a:t>
            </a:r>
            <a:r>
              <a:rPr lang="en-GB" dirty="0" err="1"/>
              <a:t>Ediriwickrema</a:t>
            </a:r>
            <a:r>
              <a:rPr lang="en-GB" dirty="0"/>
              <a:t> et al. EHA 2024; Poster #P2094 </a:t>
            </a:r>
            <a:r>
              <a:rPr lang="en-GB" b="1" dirty="0"/>
              <a:t>5.</a:t>
            </a:r>
            <a:r>
              <a:rPr lang="en-GB" dirty="0"/>
              <a:t> Haynes et al. ASH 2024; Poster #3100 </a:t>
            </a:r>
            <a:r>
              <a:rPr lang="fr-FR" b="1" dirty="0"/>
              <a:t>6. </a:t>
            </a:r>
            <a:r>
              <a:rPr lang="en-GB" dirty="0"/>
              <a:t>Brooks et al. ASH 2025; Oral #111 </a:t>
            </a:r>
            <a:r>
              <a:rPr lang="en-GB" b="1" dirty="0"/>
              <a:t>7. </a:t>
            </a:r>
            <a:r>
              <a:rPr lang="da-DK" dirty="0"/>
              <a:t>Thieblemont et al. </a:t>
            </a:r>
            <a:r>
              <a:rPr lang="da-DK" i="1" dirty="0"/>
              <a:t>J Clin Oncol </a:t>
            </a:r>
            <a:r>
              <a:rPr lang="da-DK" dirty="0"/>
              <a:t>2022 </a:t>
            </a:r>
            <a:endParaRPr lang="en-CH" dirty="0"/>
          </a:p>
          <a:p>
            <a:r>
              <a:rPr lang="en-GB" b="1" dirty="0"/>
              <a:t>8. </a:t>
            </a:r>
            <a:r>
              <a:rPr lang="en-GB" dirty="0"/>
              <a:t>Gurion et al  </a:t>
            </a:r>
            <a:r>
              <a:rPr lang="en-GB" i="1" dirty="0"/>
              <a:t>Ann </a:t>
            </a:r>
            <a:r>
              <a:rPr lang="en-GB" i="1" dirty="0" err="1"/>
              <a:t>Hematol</a:t>
            </a:r>
            <a:r>
              <a:rPr lang="en-GB" dirty="0"/>
              <a:t> 2025 </a:t>
            </a:r>
            <a:r>
              <a:rPr lang="en-GB" b="1" dirty="0"/>
              <a:t>9.</a:t>
            </a:r>
            <a:r>
              <a:rPr lang="en-GB" dirty="0"/>
              <a:t> Fedorova et al. </a:t>
            </a:r>
            <a:r>
              <a:rPr lang="en-CH" i="1" dirty="0"/>
              <a:t>Clin</a:t>
            </a:r>
            <a:r>
              <a:rPr lang="en-GB" i="1" dirty="0"/>
              <a:t> </a:t>
            </a:r>
            <a:r>
              <a:rPr lang="en-CH" i="1" dirty="0" err="1"/>
              <a:t>Oncohematol</a:t>
            </a:r>
            <a:r>
              <a:rPr lang="en-GB" i="1" dirty="0"/>
              <a:t> </a:t>
            </a:r>
            <a:r>
              <a:rPr lang="en-GB" dirty="0"/>
              <a:t>2026 </a:t>
            </a:r>
            <a:r>
              <a:rPr lang="en-GB" b="1" dirty="0"/>
              <a:t>10.</a:t>
            </a:r>
            <a:r>
              <a:rPr lang="en-GB" dirty="0"/>
              <a:t> </a:t>
            </a:r>
            <a:r>
              <a:rPr lang="en-CH" dirty="0"/>
              <a:t>M</a:t>
            </a:r>
            <a:r>
              <a:rPr lang="en-GB" dirty="0" err="1"/>
              <a:t>uth</a:t>
            </a:r>
            <a:r>
              <a:rPr lang="en-GB" dirty="0"/>
              <a:t> et al. </a:t>
            </a:r>
            <a:r>
              <a:rPr lang="en-GB" i="1" dirty="0"/>
              <a:t>Med</a:t>
            </a:r>
            <a:r>
              <a:rPr lang="en-GB" dirty="0"/>
              <a:t> 2026.</a:t>
            </a:r>
          </a:p>
        </p:txBody>
      </p:sp>
      <p:sp>
        <p:nvSpPr>
          <p:cNvPr id="10" name="Shape 3">
            <a:extLst>
              <a:ext uri="{FF2B5EF4-FFF2-40B4-BE49-F238E27FC236}">
                <a16:creationId xmlns:a16="http://schemas.microsoft.com/office/drawing/2014/main" id="{744E6F68-2A3C-9EC2-4F11-DCE140E3B272}"/>
              </a:ext>
            </a:extLst>
          </p:cNvPr>
          <p:cNvSpPr/>
          <p:nvPr/>
        </p:nvSpPr>
        <p:spPr>
          <a:xfrm>
            <a:off x="855669" y="5073694"/>
            <a:ext cx="10835146" cy="711499"/>
          </a:xfrm>
          <a:prstGeom prst="rect">
            <a:avLst/>
          </a:prstGeom>
          <a:solidFill>
            <a:schemeClr val="accent4">
              <a:lumMod val="20000"/>
              <a:lumOff val="80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180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30000" noProof="0">
              <a:ln>
                <a:noFill/>
              </a:ln>
              <a:solidFill>
                <a:srgbClr val="F15922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" name="Text 13">
            <a:extLst>
              <a:ext uri="{FF2B5EF4-FFF2-40B4-BE49-F238E27FC236}">
                <a16:creationId xmlns:a16="http://schemas.microsoft.com/office/drawing/2014/main" id="{22113875-8283-73CD-6C24-F4980C7F4F0B}"/>
              </a:ext>
            </a:extLst>
          </p:cNvPr>
          <p:cNvSpPr/>
          <p:nvPr/>
        </p:nvSpPr>
        <p:spPr>
          <a:xfrm>
            <a:off x="1376745" y="5164018"/>
            <a:ext cx="4011192" cy="530851"/>
          </a:xfrm>
          <a:prstGeom prst="rect">
            <a:avLst/>
          </a:prstGeom>
          <a:noFill/>
          <a:ln/>
        </p:spPr>
        <p:txBody>
          <a:bodyPr wrap="square" lIns="108000" tIns="0" rIns="7200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-cell exhaustion may have a role in defining response to bispecific antibodies</a:t>
            </a:r>
            <a:r>
              <a:rPr kumimoji="0" lang="en-GB" sz="1600" b="0" i="0" u="none" strike="noStrike" kern="1200" cap="none" spc="0" normalizeH="0" baseline="3000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0</a:t>
            </a:r>
            <a:endParaRPr kumimoji="0" lang="en-GB" sz="1400" b="0" i="0" u="none" strike="noStrike" kern="1200" cap="none" spc="0" normalizeH="0" baseline="3000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Arial" pitchFamily="34" charset="-122"/>
              <a:cs typeface="Arial" pitchFamily="34" charset="-120"/>
            </a:endParaRPr>
          </a:p>
        </p:txBody>
      </p:sp>
      <p:sp>
        <p:nvSpPr>
          <p:cNvPr id="12" name="Text 13">
            <a:extLst>
              <a:ext uri="{FF2B5EF4-FFF2-40B4-BE49-F238E27FC236}">
                <a16:creationId xmlns:a16="http://schemas.microsoft.com/office/drawing/2014/main" id="{C14B8098-C6C0-578D-BCC2-3953A3049EBC}"/>
              </a:ext>
            </a:extLst>
          </p:cNvPr>
          <p:cNvSpPr/>
          <p:nvPr/>
        </p:nvSpPr>
        <p:spPr>
          <a:xfrm>
            <a:off x="6047605" y="5164018"/>
            <a:ext cx="5549358" cy="530851"/>
          </a:xfrm>
          <a:prstGeom prst="rect">
            <a:avLst/>
          </a:prstGeom>
          <a:noFill/>
          <a:ln/>
        </p:spPr>
        <p:txBody>
          <a:bodyPr wrap="square" lIns="108000" tIns="0" rIns="7200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Arial" pitchFamily="34" charset="-122"/>
                <a:cs typeface="Arial" pitchFamily="34" charset="-120"/>
              </a:rPr>
              <a:t>Emerging data suggest loss of CD20 after treatment with bispecific antibodies, with poor outcomes for those patients</a:t>
            </a:r>
            <a:r>
              <a:rPr kumimoji="0" lang="en-GB" sz="1600" b="0" i="0" u="none" strike="noStrike" kern="1200" cap="none" spc="0" normalizeH="0" baseline="3000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Arial" pitchFamily="34" charset="-122"/>
                <a:cs typeface="Arial" pitchFamily="34" charset="-120"/>
              </a:rPr>
              <a:t>6</a:t>
            </a:r>
            <a:endParaRPr kumimoji="0" lang="en-GB" sz="1600" b="1" i="0" u="none" strike="noStrike" kern="1200" cap="none" spc="0" normalizeH="0" baseline="3000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Arial" pitchFamily="34" charset="-122"/>
              <a:cs typeface="Arial" pitchFamily="34" charset="-120"/>
            </a:endParaRPr>
          </a:p>
        </p:txBody>
      </p:sp>
      <p:sp>
        <p:nvSpPr>
          <p:cNvPr id="14" name="Shape 14">
            <a:extLst>
              <a:ext uri="{FF2B5EF4-FFF2-40B4-BE49-F238E27FC236}">
                <a16:creationId xmlns:a16="http://schemas.microsoft.com/office/drawing/2014/main" id="{A45D10FD-EB4B-D6F0-80C7-19ADE1F190BF}"/>
              </a:ext>
            </a:extLst>
          </p:cNvPr>
          <p:cNvSpPr/>
          <p:nvPr/>
        </p:nvSpPr>
        <p:spPr>
          <a:xfrm>
            <a:off x="5537199" y="5222911"/>
            <a:ext cx="413065" cy="413065"/>
          </a:xfrm>
          <a:prstGeom prst="ellipse">
            <a:avLst/>
          </a:prstGeom>
          <a:solidFill>
            <a:schemeClr val="accent4"/>
          </a:solidFill>
          <a:ln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4" name="Shape 12">
            <a:extLst>
              <a:ext uri="{FF2B5EF4-FFF2-40B4-BE49-F238E27FC236}">
                <a16:creationId xmlns:a16="http://schemas.microsoft.com/office/drawing/2014/main" id="{13E8840D-6F7A-D426-154E-42933D003AA9}"/>
              </a:ext>
            </a:extLst>
          </p:cNvPr>
          <p:cNvSpPr/>
          <p:nvPr/>
        </p:nvSpPr>
        <p:spPr>
          <a:xfrm>
            <a:off x="978339" y="5222911"/>
            <a:ext cx="413065" cy="413065"/>
          </a:xfrm>
          <a:prstGeom prst="ellipse">
            <a:avLst/>
          </a:prstGeom>
          <a:solidFill>
            <a:schemeClr val="accent4"/>
          </a:solidFill>
          <a:ln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25" name="Image 0" descr="World with solid fill">
            <a:extLst>
              <a:ext uri="{FF2B5EF4-FFF2-40B4-BE49-F238E27FC236}">
                <a16:creationId xmlns:a16="http://schemas.microsoft.com/office/drawing/2014/main" id="{C60C333F-44E4-5467-DDE3-CC8213AE6F99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 rot="10800000">
            <a:off x="1026684" y="5271256"/>
            <a:ext cx="316374" cy="316374"/>
          </a:xfrm>
          <a:prstGeom prst="rect">
            <a:avLst/>
          </a:prstGeom>
        </p:spPr>
      </p:pic>
      <p:grpSp>
        <p:nvGrpSpPr>
          <p:cNvPr id="26" name="Group 25">
            <a:extLst>
              <a:ext uri="{FF2B5EF4-FFF2-40B4-BE49-F238E27FC236}">
                <a16:creationId xmlns:a16="http://schemas.microsoft.com/office/drawing/2014/main" id="{26FABE90-E0DE-0351-AAD8-1FAFBA554D09}"/>
              </a:ext>
            </a:extLst>
          </p:cNvPr>
          <p:cNvGrpSpPr/>
          <p:nvPr/>
        </p:nvGrpSpPr>
        <p:grpSpPr>
          <a:xfrm>
            <a:off x="5646052" y="5299822"/>
            <a:ext cx="195360" cy="259242"/>
            <a:chOff x="7877602" y="742404"/>
            <a:chExt cx="540000" cy="716575"/>
          </a:xfrm>
        </p:grpSpPr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61342CE4-88BE-9316-F944-C0DF1A59A4DD}"/>
                </a:ext>
              </a:extLst>
            </p:cNvPr>
            <p:cNvSpPr/>
            <p:nvPr/>
          </p:nvSpPr>
          <p:spPr>
            <a:xfrm>
              <a:off x="8035058" y="926271"/>
              <a:ext cx="216000" cy="216000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6B28C408-AB26-F727-482E-1CEB3A8D84C8}"/>
                </a:ext>
              </a:extLst>
            </p:cNvPr>
            <p:cNvCxnSpPr/>
            <p:nvPr/>
          </p:nvCxnSpPr>
          <p:spPr>
            <a:xfrm>
              <a:off x="8139583" y="777659"/>
              <a:ext cx="0" cy="18000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14CF920C-5135-66D1-3578-5F30D1CA862A}"/>
                </a:ext>
              </a:extLst>
            </p:cNvPr>
            <p:cNvCxnSpPr/>
            <p:nvPr/>
          </p:nvCxnSpPr>
          <p:spPr>
            <a:xfrm>
              <a:off x="8147601" y="1278979"/>
              <a:ext cx="0" cy="18000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Arc 29">
              <a:extLst>
                <a:ext uri="{FF2B5EF4-FFF2-40B4-BE49-F238E27FC236}">
                  <a16:creationId xmlns:a16="http://schemas.microsoft.com/office/drawing/2014/main" id="{A74DB7A2-AC7A-95C8-4EDB-8FAE7E871A44}"/>
                </a:ext>
              </a:extLst>
            </p:cNvPr>
            <p:cNvSpPr/>
            <p:nvPr/>
          </p:nvSpPr>
          <p:spPr>
            <a:xfrm rot="8220000">
              <a:off x="7877602" y="742404"/>
              <a:ext cx="540000" cy="540000"/>
            </a:xfrm>
            <a:prstGeom prst="arc">
              <a:avLst>
                <a:gd name="adj1" fmla="val 15380786"/>
                <a:gd name="adj2" fmla="val 708500"/>
              </a:avLst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</p:grpSp>
      <p:graphicFrame>
        <p:nvGraphicFramePr>
          <p:cNvPr id="8" name="Table 6">
            <a:extLst>
              <a:ext uri="{FF2B5EF4-FFF2-40B4-BE49-F238E27FC236}">
                <a16:creationId xmlns:a16="http://schemas.microsoft.com/office/drawing/2014/main" id="{E7917499-DFB8-1F04-74D2-82A54B4EC229}"/>
              </a:ext>
            </a:extLst>
          </p:cNvPr>
          <p:cNvGraphicFramePr>
            <a:graphicFrameLocks/>
          </p:cNvGraphicFramePr>
          <p:nvPr/>
        </p:nvGraphicFramePr>
        <p:xfrm>
          <a:off x="839788" y="1196099"/>
          <a:ext cx="10851029" cy="3722514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1646971">
                  <a:extLst>
                    <a:ext uri="{9D8B030D-6E8A-4147-A177-3AD203B41FA5}">
                      <a16:colId xmlns:a16="http://schemas.microsoft.com/office/drawing/2014/main" val="869480336"/>
                    </a:ext>
                  </a:extLst>
                </a:gridCol>
                <a:gridCol w="965101">
                  <a:extLst>
                    <a:ext uri="{9D8B030D-6E8A-4147-A177-3AD203B41FA5}">
                      <a16:colId xmlns:a16="http://schemas.microsoft.com/office/drawing/2014/main" val="2727456033"/>
                    </a:ext>
                  </a:extLst>
                </a:gridCol>
                <a:gridCol w="845820">
                  <a:extLst>
                    <a:ext uri="{9D8B030D-6E8A-4147-A177-3AD203B41FA5}">
                      <a16:colId xmlns:a16="http://schemas.microsoft.com/office/drawing/2014/main" val="2982722857"/>
                    </a:ext>
                  </a:extLst>
                </a:gridCol>
                <a:gridCol w="822960">
                  <a:extLst>
                    <a:ext uri="{9D8B030D-6E8A-4147-A177-3AD203B41FA5}">
                      <a16:colId xmlns:a16="http://schemas.microsoft.com/office/drawing/2014/main" val="2952250291"/>
                    </a:ext>
                  </a:extLst>
                </a:gridCol>
                <a:gridCol w="998220">
                  <a:extLst>
                    <a:ext uri="{9D8B030D-6E8A-4147-A177-3AD203B41FA5}">
                      <a16:colId xmlns:a16="http://schemas.microsoft.com/office/drawing/2014/main" val="2446632181"/>
                    </a:ext>
                  </a:extLst>
                </a:gridCol>
                <a:gridCol w="969928">
                  <a:extLst>
                    <a:ext uri="{9D8B030D-6E8A-4147-A177-3AD203B41FA5}">
                      <a16:colId xmlns:a16="http://schemas.microsoft.com/office/drawing/2014/main" val="764797172"/>
                    </a:ext>
                  </a:extLst>
                </a:gridCol>
                <a:gridCol w="957932">
                  <a:extLst>
                    <a:ext uri="{9D8B030D-6E8A-4147-A177-3AD203B41FA5}">
                      <a16:colId xmlns:a16="http://schemas.microsoft.com/office/drawing/2014/main" val="854229230"/>
                    </a:ext>
                  </a:extLst>
                </a:gridCol>
                <a:gridCol w="982980">
                  <a:extLst>
                    <a:ext uri="{9D8B030D-6E8A-4147-A177-3AD203B41FA5}">
                      <a16:colId xmlns:a16="http://schemas.microsoft.com/office/drawing/2014/main" val="3529841271"/>
                    </a:ext>
                  </a:extLst>
                </a:gridCol>
                <a:gridCol w="960120">
                  <a:extLst>
                    <a:ext uri="{9D8B030D-6E8A-4147-A177-3AD203B41FA5}">
                      <a16:colId xmlns:a16="http://schemas.microsoft.com/office/drawing/2014/main" val="761752679"/>
                    </a:ext>
                  </a:extLst>
                </a:gridCol>
                <a:gridCol w="701040">
                  <a:extLst>
                    <a:ext uri="{9D8B030D-6E8A-4147-A177-3AD203B41FA5}">
                      <a16:colId xmlns:a16="http://schemas.microsoft.com/office/drawing/2014/main" val="1741786083"/>
                    </a:ext>
                  </a:extLst>
                </a:gridCol>
                <a:gridCol w="999957">
                  <a:extLst>
                    <a:ext uri="{9D8B030D-6E8A-4147-A177-3AD203B41FA5}">
                      <a16:colId xmlns:a16="http://schemas.microsoft.com/office/drawing/2014/main" val="3636949290"/>
                    </a:ext>
                  </a:extLst>
                </a:gridCol>
              </a:tblGrid>
              <a:tr h="976608">
                <a:tc>
                  <a:txBody>
                    <a:bodyPr/>
                    <a:lstStyle/>
                    <a:p>
                      <a:endParaRPr lang="it-IT" sz="1200">
                        <a:solidFill>
                          <a:schemeClr val="bg1"/>
                        </a:solidFill>
                        <a:highlight>
                          <a:srgbClr val="00FFFF"/>
                        </a:highlight>
                      </a:endParaRP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bg1"/>
                          </a:solidFill>
                        </a:rPr>
                        <a:t>Glofitamab Pivotal Study</a:t>
                      </a:r>
                    </a:p>
                    <a:p>
                      <a:pPr algn="ctr"/>
                      <a:r>
                        <a:rPr lang="it-IT" sz="1200">
                          <a:solidFill>
                            <a:schemeClr val="bg1"/>
                          </a:solidFill>
                        </a:rPr>
                        <a:t>NP30179</a:t>
                      </a:r>
                      <a:r>
                        <a:rPr lang="it-IT" sz="1200" baseline="30000">
                          <a:solidFill>
                            <a:schemeClr val="bg1"/>
                          </a:solidFill>
                        </a:rPr>
                        <a:t>1</a:t>
                      </a:r>
                    </a:p>
                    <a:p>
                      <a:pPr algn="ctr"/>
                      <a:r>
                        <a:rPr lang="it-IT" sz="1200">
                          <a:solidFill>
                            <a:schemeClr val="bg1"/>
                          </a:solidFill>
                        </a:rPr>
                        <a:t>N=154</a:t>
                      </a: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Shumilov </a:t>
                      </a:r>
                      <a:r>
                        <a:rPr lang="it-IT" sz="1100">
                          <a:solidFill>
                            <a:schemeClr val="tx2"/>
                          </a:solidFill>
                        </a:rPr>
                        <a:t>2025 </a:t>
                      </a:r>
                    </a:p>
                    <a:p>
                      <a:pPr algn="ctr"/>
                      <a:r>
                        <a:rPr lang="it-IT" sz="1100">
                          <a:solidFill>
                            <a:schemeClr val="tx2"/>
                          </a:solidFill>
                        </a:rPr>
                        <a:t>(DACH)</a:t>
                      </a:r>
                      <a:r>
                        <a:rPr lang="it-IT" sz="1100" baseline="30000">
                          <a:solidFill>
                            <a:schemeClr val="tx2"/>
                          </a:solidFill>
                        </a:rPr>
                        <a:t>2</a:t>
                      </a:r>
                    </a:p>
                    <a:p>
                      <a:pPr algn="ctr"/>
                      <a:r>
                        <a:rPr lang="it-IT" sz="1100">
                          <a:solidFill>
                            <a:schemeClr val="tx2"/>
                          </a:solidFill>
                        </a:rPr>
                        <a:t>N=70</a:t>
                      </a: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Atesoglu </a:t>
                      </a:r>
                      <a:r>
                        <a:rPr lang="it-IT" sz="1100">
                          <a:solidFill>
                            <a:schemeClr val="tx2"/>
                          </a:solidFill>
                        </a:rPr>
                        <a:t>2023</a:t>
                      </a:r>
                    </a:p>
                    <a:p>
                      <a:pPr algn="ctr"/>
                      <a:r>
                        <a:rPr lang="it-IT" sz="1100">
                          <a:solidFill>
                            <a:schemeClr val="tx2"/>
                          </a:solidFill>
                        </a:rPr>
                        <a:t>(Turkey)</a:t>
                      </a:r>
                      <a:r>
                        <a:rPr lang="it-IT" sz="1100" baseline="30000">
                          <a:solidFill>
                            <a:schemeClr val="tx2"/>
                          </a:solidFill>
                        </a:rPr>
                        <a:t>3</a:t>
                      </a:r>
                    </a:p>
                    <a:p>
                      <a:pPr algn="ctr"/>
                      <a:r>
                        <a:rPr lang="it-IT" sz="1100">
                          <a:solidFill>
                            <a:schemeClr val="tx2"/>
                          </a:solidFill>
                        </a:rPr>
                        <a:t>N=43</a:t>
                      </a: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Ediriwickrema </a:t>
                      </a:r>
                      <a:r>
                        <a:rPr lang="it-IT" sz="1100">
                          <a:solidFill>
                            <a:schemeClr val="tx2"/>
                          </a:solidFill>
                        </a:rPr>
                        <a:t>2024</a:t>
                      </a:r>
                    </a:p>
                    <a:p>
                      <a:pPr algn="ctr"/>
                      <a:r>
                        <a:rPr lang="it-IT" sz="1100">
                          <a:solidFill>
                            <a:schemeClr val="tx2"/>
                          </a:solidFill>
                        </a:rPr>
                        <a:t>(UK)</a:t>
                      </a:r>
                      <a:r>
                        <a:rPr lang="it-IT" sz="1100" baseline="30000">
                          <a:solidFill>
                            <a:schemeClr val="tx2"/>
                          </a:solidFill>
                        </a:rPr>
                        <a:t>4</a:t>
                      </a:r>
                    </a:p>
                    <a:p>
                      <a:pPr algn="ctr"/>
                      <a:r>
                        <a:rPr lang="it-IT" sz="1100">
                          <a:solidFill>
                            <a:schemeClr val="tx2"/>
                          </a:solidFill>
                        </a:rPr>
                        <a:t>N=93</a:t>
                      </a:r>
                    </a:p>
                  </a:txBody>
                  <a:tcPr marL="0" marR="0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Haynes </a:t>
                      </a:r>
                      <a:r>
                        <a:rPr lang="it-IT" sz="1100">
                          <a:solidFill>
                            <a:schemeClr val="tx2"/>
                          </a:solidFill>
                        </a:rPr>
                        <a:t>2024 </a:t>
                      </a:r>
                    </a:p>
                    <a:p>
                      <a:pPr algn="ctr"/>
                      <a:r>
                        <a:rPr lang="it-IT" sz="1100">
                          <a:solidFill>
                            <a:schemeClr val="tx2"/>
                          </a:solidFill>
                        </a:rPr>
                        <a:t>(UK)</a:t>
                      </a:r>
                      <a:r>
                        <a:rPr lang="it-IT" sz="1100" baseline="30000">
                          <a:solidFill>
                            <a:schemeClr val="tx2"/>
                          </a:solidFill>
                        </a:rPr>
                        <a:t>5</a:t>
                      </a:r>
                    </a:p>
                    <a:p>
                      <a:pPr algn="ctr"/>
                      <a:r>
                        <a:rPr lang="it-IT" sz="1100">
                          <a:solidFill>
                            <a:schemeClr val="tx2"/>
                          </a:solidFill>
                        </a:rPr>
                        <a:t>N=142</a:t>
                      </a: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  <a:latin typeface="+mn-lt"/>
                        </a:rPr>
                        <a:t>Brooks </a:t>
                      </a:r>
                      <a:br>
                        <a:rPr lang="it-IT" sz="1200">
                          <a:solidFill>
                            <a:schemeClr val="tx2"/>
                          </a:solidFill>
                          <a:latin typeface="+mn-lt"/>
                        </a:rPr>
                      </a:br>
                      <a:r>
                        <a:rPr lang="it-IT" sz="1100">
                          <a:solidFill>
                            <a:schemeClr val="tx2"/>
                          </a:solidFill>
                          <a:latin typeface="+mn-lt"/>
                        </a:rPr>
                        <a:t>2024</a:t>
                      </a:r>
                    </a:p>
                    <a:p>
                      <a:pPr algn="ctr"/>
                      <a:r>
                        <a:rPr lang="it-IT" sz="1100">
                          <a:solidFill>
                            <a:schemeClr val="tx2"/>
                          </a:solidFill>
                          <a:latin typeface="+mn-lt"/>
                        </a:rPr>
                        <a:t>(US)</a:t>
                      </a:r>
                      <a:r>
                        <a:rPr lang="it-IT" sz="1100" baseline="30000">
                          <a:solidFill>
                            <a:schemeClr val="tx2"/>
                          </a:solidFill>
                          <a:latin typeface="+mn-lt"/>
                        </a:rPr>
                        <a:t>6</a:t>
                      </a:r>
                    </a:p>
                    <a:p>
                      <a:pPr algn="ctr"/>
                      <a:r>
                        <a:rPr lang="it-IT" sz="1100">
                          <a:solidFill>
                            <a:schemeClr val="tx2"/>
                          </a:solidFill>
                          <a:latin typeface="+mn-lt"/>
                        </a:rPr>
                        <a:t>N=68</a:t>
                      </a: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bg1"/>
                          </a:solidFill>
                        </a:rPr>
                        <a:t>Epcoritamab Pivotal Study</a:t>
                      </a:r>
                    </a:p>
                    <a:p>
                      <a:pPr algn="ctr"/>
                      <a:r>
                        <a:rPr lang="it-IT" sz="1200">
                          <a:solidFill>
                            <a:schemeClr val="bg1"/>
                          </a:solidFill>
                        </a:rPr>
                        <a:t>EPCORE </a:t>
                      </a:r>
                    </a:p>
                    <a:p>
                      <a:pPr algn="ctr"/>
                      <a:r>
                        <a:rPr lang="it-IT" sz="1200">
                          <a:solidFill>
                            <a:schemeClr val="bg1"/>
                          </a:solidFill>
                        </a:rPr>
                        <a:t>NHL-1</a:t>
                      </a:r>
                      <a:r>
                        <a:rPr lang="it-IT" sz="1200" baseline="30000">
                          <a:solidFill>
                            <a:schemeClr val="bg1"/>
                          </a:solidFill>
                        </a:rPr>
                        <a:t>7</a:t>
                      </a:r>
                    </a:p>
                    <a:p>
                      <a:pPr algn="ctr"/>
                      <a:r>
                        <a:rPr lang="it-IT" sz="1200">
                          <a:solidFill>
                            <a:schemeClr val="bg1"/>
                          </a:solidFill>
                        </a:rPr>
                        <a:t>N=157</a:t>
                      </a:r>
                    </a:p>
                  </a:txBody>
                  <a:tcPr marL="0" marR="0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  <a:latin typeface="+mn-lt"/>
                        </a:rPr>
                        <a:t>Brooks</a:t>
                      </a:r>
                    </a:p>
                    <a:p>
                      <a:pPr algn="ctr"/>
                      <a:r>
                        <a:rPr lang="it-IT" sz="1100">
                          <a:solidFill>
                            <a:schemeClr val="tx2"/>
                          </a:solidFill>
                          <a:latin typeface="+mn-lt"/>
                        </a:rPr>
                        <a:t>2024</a:t>
                      </a:r>
                    </a:p>
                    <a:p>
                      <a:pPr algn="ctr"/>
                      <a:r>
                        <a:rPr lang="it-IT" sz="1100">
                          <a:solidFill>
                            <a:schemeClr val="tx2"/>
                          </a:solidFill>
                          <a:latin typeface="+mn-lt"/>
                        </a:rPr>
                        <a:t>(US)</a:t>
                      </a:r>
                      <a:r>
                        <a:rPr lang="it-IT" sz="1100" baseline="30000">
                          <a:solidFill>
                            <a:schemeClr val="tx2"/>
                          </a:solidFill>
                          <a:latin typeface="+mn-lt"/>
                        </a:rPr>
                        <a:t>6</a:t>
                      </a:r>
                    </a:p>
                    <a:p>
                      <a:pPr algn="ctr"/>
                      <a:r>
                        <a:rPr lang="it-IT" sz="1100">
                          <a:solidFill>
                            <a:schemeClr val="tx2"/>
                          </a:solidFill>
                          <a:latin typeface="+mn-lt"/>
                        </a:rPr>
                        <a:t>N=140</a:t>
                      </a:r>
                      <a:endParaRPr lang="it-IT" sz="1100" baseline="3000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GB" sz="1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85854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Gurion </a:t>
                      </a:r>
                      <a:br>
                        <a:rPr kumimoji="0" lang="en-GB" sz="1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85854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 panose="020F0502020204030204" pitchFamily="34" charset="0"/>
                        </a:rPr>
                      </a:br>
                      <a:r>
                        <a:rPr kumimoji="0" lang="en-GB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85854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2025</a:t>
                      </a:r>
                    </a:p>
                    <a:p>
                      <a:pPr algn="ctr"/>
                      <a:r>
                        <a:rPr kumimoji="0" lang="en-GB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85854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(Israel)</a:t>
                      </a:r>
                      <a:r>
                        <a:rPr kumimoji="0" lang="en-GB" sz="1100" b="1" i="0" u="none" strike="noStrike" kern="1200" cap="none" spc="0" normalizeH="0" baseline="30000" noProof="0">
                          <a:ln>
                            <a:noFill/>
                          </a:ln>
                          <a:solidFill>
                            <a:srgbClr val="585854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8</a:t>
                      </a:r>
                    </a:p>
                    <a:p>
                      <a:pPr algn="ctr"/>
                      <a:r>
                        <a:rPr kumimoji="0" lang="en-GB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85854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N=35</a:t>
                      </a:r>
                      <a:endParaRPr lang="it-IT" sz="1100" i="0" baseline="3000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i="0" baseline="0">
                          <a:solidFill>
                            <a:schemeClr val="tx2"/>
                          </a:solidFill>
                          <a:latin typeface="+mn-lt"/>
                        </a:rPr>
                        <a:t>Fedorova 2026</a:t>
                      </a:r>
                    </a:p>
                    <a:p>
                      <a:pPr algn="ctr"/>
                      <a:r>
                        <a:rPr lang="it-IT" sz="1100" i="0" baseline="0">
                          <a:solidFill>
                            <a:schemeClr val="tx2"/>
                          </a:solidFill>
                          <a:latin typeface="+mn-lt"/>
                        </a:rPr>
                        <a:t>(Russian Federation)</a:t>
                      </a:r>
                      <a:r>
                        <a:rPr lang="it-IT" sz="1100" i="0" baseline="30000">
                          <a:solidFill>
                            <a:schemeClr val="tx2"/>
                          </a:solidFill>
                          <a:latin typeface="+mn-lt"/>
                        </a:rPr>
                        <a:t>9</a:t>
                      </a:r>
                    </a:p>
                    <a:p>
                      <a:pPr algn="ctr"/>
                      <a:r>
                        <a:rPr lang="it-IT" sz="1100" i="0" baseline="0">
                          <a:solidFill>
                            <a:schemeClr val="tx2"/>
                          </a:solidFill>
                          <a:latin typeface="+mn-lt"/>
                        </a:rPr>
                        <a:t>N=88</a:t>
                      </a: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0849535"/>
                  </a:ext>
                </a:extLst>
              </a:tr>
              <a:tr h="621478">
                <a:tc>
                  <a:txBody>
                    <a:bodyPr/>
                    <a:lstStyle/>
                    <a:p>
                      <a:r>
                        <a:rPr lang="it-IT" sz="1200" b="1">
                          <a:solidFill>
                            <a:schemeClr val="tx2"/>
                          </a:solidFill>
                        </a:rPr>
                        <a:t>Age, median (range), years </a:t>
                      </a:r>
                    </a:p>
                  </a:txBody>
                  <a:tcP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66 </a:t>
                      </a:r>
                      <a:br>
                        <a:rPr lang="it-IT" sz="1200">
                          <a:solidFill>
                            <a:schemeClr val="tx2"/>
                          </a:solidFill>
                        </a:rPr>
                      </a:br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(21–90)</a:t>
                      </a:r>
                    </a:p>
                  </a:txBody>
                  <a:tcP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62 </a:t>
                      </a:r>
                      <a:br>
                        <a:rPr lang="it-IT" sz="1200">
                          <a:solidFill>
                            <a:schemeClr val="tx2"/>
                          </a:solidFill>
                        </a:rPr>
                      </a:br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(23–94)</a:t>
                      </a:r>
                    </a:p>
                  </a:txBody>
                  <a:tcP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54 </a:t>
                      </a:r>
                      <a:br>
                        <a:rPr lang="it-IT" sz="1200">
                          <a:solidFill>
                            <a:schemeClr val="tx2"/>
                          </a:solidFill>
                        </a:rPr>
                      </a:br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(20–81)</a:t>
                      </a:r>
                    </a:p>
                  </a:txBody>
                  <a:tcP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66 </a:t>
                      </a:r>
                      <a:br>
                        <a:rPr lang="it-IT" sz="1200">
                          <a:solidFill>
                            <a:schemeClr val="tx2"/>
                          </a:solidFill>
                        </a:rPr>
                      </a:br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(IQR 53–75)</a:t>
                      </a:r>
                    </a:p>
                  </a:txBody>
                  <a:tcP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68 </a:t>
                      </a:r>
                      <a:br>
                        <a:rPr lang="it-IT" sz="1200">
                          <a:solidFill>
                            <a:schemeClr val="tx2"/>
                          </a:solidFill>
                        </a:rPr>
                      </a:br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(IQR 55–76)</a:t>
                      </a:r>
                    </a:p>
                  </a:txBody>
                  <a:tcP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  <a:latin typeface="+mn-lt"/>
                        </a:rPr>
                        <a:t>65 </a:t>
                      </a:r>
                      <a:br>
                        <a:rPr lang="it-IT" sz="1200">
                          <a:solidFill>
                            <a:schemeClr val="tx2"/>
                          </a:solidFill>
                          <a:latin typeface="+mn-lt"/>
                        </a:rPr>
                      </a:br>
                      <a:r>
                        <a:rPr lang="it-IT" sz="1200">
                          <a:solidFill>
                            <a:schemeClr val="tx2"/>
                          </a:solidFill>
                          <a:latin typeface="+mn-lt"/>
                        </a:rPr>
                        <a:t>(IQR 55–73)</a:t>
                      </a:r>
                    </a:p>
                  </a:txBody>
                  <a:tcP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  <a:latin typeface="+mn-lt"/>
                        </a:rPr>
                        <a:t>64 </a:t>
                      </a:r>
                      <a:br>
                        <a:rPr lang="it-IT" sz="1200">
                          <a:solidFill>
                            <a:schemeClr val="tx2"/>
                          </a:solidFill>
                          <a:latin typeface="+mn-lt"/>
                        </a:rPr>
                      </a:br>
                      <a:r>
                        <a:rPr lang="it-IT" sz="1200">
                          <a:solidFill>
                            <a:schemeClr val="tx2"/>
                          </a:solidFill>
                          <a:latin typeface="+mn-lt"/>
                        </a:rPr>
                        <a:t>(20–83)</a:t>
                      </a:r>
                    </a:p>
                  </a:txBody>
                  <a:tcP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  <a:latin typeface="+mn-lt"/>
                        </a:rPr>
                        <a:t>70 </a:t>
                      </a:r>
                      <a:br>
                        <a:rPr lang="it-IT" sz="1200">
                          <a:solidFill>
                            <a:schemeClr val="tx2"/>
                          </a:solidFill>
                          <a:latin typeface="+mn-lt"/>
                        </a:rPr>
                      </a:br>
                      <a:r>
                        <a:rPr lang="it-IT" sz="1200">
                          <a:solidFill>
                            <a:schemeClr val="tx2"/>
                          </a:solidFill>
                          <a:latin typeface="+mn-lt"/>
                        </a:rPr>
                        <a:t>(IQR 61–78)</a:t>
                      </a:r>
                    </a:p>
                  </a:txBody>
                  <a:tcP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67</a:t>
                      </a:r>
                      <a:br>
                        <a:rPr lang="it-IT" sz="1200">
                          <a:solidFill>
                            <a:schemeClr val="tx2"/>
                          </a:solidFill>
                        </a:rPr>
                      </a:br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(59–74)</a:t>
                      </a:r>
                    </a:p>
                  </a:txBody>
                  <a:tcP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54 </a:t>
                      </a:r>
                      <a:br>
                        <a:rPr lang="it-IT" sz="1200">
                          <a:solidFill>
                            <a:schemeClr val="tx2"/>
                          </a:solidFill>
                        </a:rPr>
                      </a:br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(21–83)</a:t>
                      </a:r>
                    </a:p>
                  </a:txBody>
                  <a:tcP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76859340"/>
                  </a:ext>
                </a:extLst>
              </a:tr>
              <a:tr h="266348">
                <a:tc>
                  <a:txBody>
                    <a:bodyPr/>
                    <a:lstStyle/>
                    <a:p>
                      <a:r>
                        <a:rPr lang="it-IT" sz="1200" b="1">
                          <a:solidFill>
                            <a:schemeClr val="tx2"/>
                          </a:solidFill>
                        </a:rPr>
                        <a:t>ECOG PS ≥2, 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0</a:t>
                      </a: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N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1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  <a:latin typeface="+mn-lt"/>
                        </a:rPr>
                        <a:t>2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  <a:latin typeface="+mn-lt"/>
                        </a:rPr>
                        <a:t>3</a:t>
                      </a: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  <a:latin typeface="+mn-lt"/>
                        </a:rPr>
                        <a:t>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  <a:latin typeface="+mn-lt"/>
                        </a:rPr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  <a:latin typeface="+mn-lt"/>
                        </a:rPr>
                        <a:t>N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77207714"/>
                  </a:ext>
                </a:extLst>
              </a:tr>
              <a:tr h="407518">
                <a:tc>
                  <a:txBody>
                    <a:bodyPr/>
                    <a:lstStyle/>
                    <a:p>
                      <a:r>
                        <a:rPr lang="it-IT" sz="1200" b="1">
                          <a:solidFill>
                            <a:schemeClr val="tx2"/>
                          </a:solidFill>
                        </a:rPr>
                        <a:t>Median n of prior LoT</a:t>
                      </a:r>
                    </a:p>
                  </a:txBody>
                  <a:tcPr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3 (2–7)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4 (2–14)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4 (3–6)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3 (1–12)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3 (0–7)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  <a:latin typeface="+mn-lt"/>
                        </a:rPr>
                        <a:t>3 (2–4)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  <a:latin typeface="+mn-lt"/>
                        </a:rPr>
                        <a:t>3 (2–11)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  <a:latin typeface="+mn-lt"/>
                        </a:rPr>
                        <a:t>3 (2–4)</a:t>
                      </a:r>
                    </a:p>
                  </a:txBody>
                  <a:tcPr>
                    <a:lnL>
                      <a:noFill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  <a:latin typeface="+mn-lt"/>
                        </a:rPr>
                        <a:t>5 (3–6)</a:t>
                      </a:r>
                    </a:p>
                  </a:txBody>
                  <a:tcPr>
                    <a:lnL>
                      <a:noFill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  <a:latin typeface="+mn-lt"/>
                        </a:rPr>
                        <a:t>3 </a:t>
                      </a:r>
                      <a:r>
                        <a:rPr lang="it-IT" sz="1200" baseline="0">
                          <a:solidFill>
                            <a:schemeClr val="tx2"/>
                          </a:solidFill>
                          <a:latin typeface="+mn-lt"/>
                        </a:rPr>
                        <a:t>(3–8)</a:t>
                      </a:r>
                      <a:endParaRPr lang="it-IT" sz="120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>
                    <a:lnL>
                      <a:noFill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1511822"/>
                  </a:ext>
                </a:extLst>
              </a:tr>
              <a:tr h="443913">
                <a:tc>
                  <a:txBody>
                    <a:bodyPr/>
                    <a:lstStyle/>
                    <a:p>
                      <a:r>
                        <a:rPr lang="it-IT" sz="1200" b="1">
                          <a:solidFill>
                            <a:schemeClr val="tx2"/>
                          </a:solidFill>
                        </a:rPr>
                        <a:t>Refractory to last therapy, %</a:t>
                      </a:r>
                    </a:p>
                  </a:txBody>
                  <a:tcP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86</a:t>
                      </a:r>
                    </a:p>
                  </a:txBody>
                  <a:tcP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71</a:t>
                      </a:r>
                    </a:p>
                  </a:txBody>
                  <a:tcP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NA</a:t>
                      </a:r>
                    </a:p>
                  </a:txBody>
                  <a:tcP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80</a:t>
                      </a:r>
                    </a:p>
                  </a:txBody>
                  <a:tcP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84</a:t>
                      </a:r>
                    </a:p>
                  </a:txBody>
                  <a:tcP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  <a:latin typeface="+mn-lt"/>
                        </a:rPr>
                        <a:t>NA</a:t>
                      </a:r>
                    </a:p>
                  </a:txBody>
                  <a:tcP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  <a:latin typeface="+mn-lt"/>
                        </a:rPr>
                        <a:t>83</a:t>
                      </a:r>
                    </a:p>
                  </a:txBody>
                  <a:tcP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  <a:latin typeface="+mn-lt"/>
                        </a:rPr>
                        <a:t>NA</a:t>
                      </a:r>
                    </a:p>
                  </a:txBody>
                  <a:tcP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GB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85854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A</a:t>
                      </a:r>
                      <a:endParaRPr lang="it-IT" sz="120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  <a:latin typeface="+mn-lt"/>
                        </a:rPr>
                        <a:t>NA</a:t>
                      </a:r>
                    </a:p>
                  </a:txBody>
                  <a:tcP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533358148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r>
                        <a:rPr lang="en-CH" sz="1200" b="1" dirty="0">
                          <a:solidFill>
                            <a:schemeClr val="tx2"/>
                          </a:solidFill>
                        </a:rPr>
                        <a:t>CR, %</a:t>
                      </a:r>
                      <a:endParaRPr lang="it-IT" sz="1200" b="1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H" sz="1200">
                          <a:solidFill>
                            <a:schemeClr val="tx2"/>
                          </a:solidFill>
                        </a:rPr>
                        <a:t>40</a:t>
                      </a:r>
                      <a:endParaRPr lang="it-IT" sz="120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H" sz="1200" dirty="0">
                          <a:solidFill>
                            <a:schemeClr val="tx2"/>
                          </a:solidFill>
                        </a:rPr>
                        <a:t>27</a:t>
                      </a:r>
                      <a:endParaRPr lang="it-IT" sz="1200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H" sz="1200">
                          <a:solidFill>
                            <a:schemeClr val="tx2"/>
                          </a:solidFill>
                        </a:rPr>
                        <a:t>21</a:t>
                      </a:r>
                      <a:endParaRPr lang="it-IT" sz="120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H" sz="1200" dirty="0">
                          <a:solidFill>
                            <a:schemeClr val="tx2"/>
                          </a:solidFill>
                        </a:rPr>
                        <a:t>22</a:t>
                      </a:r>
                      <a:endParaRPr lang="it-IT" sz="1200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H" sz="1200">
                          <a:solidFill>
                            <a:schemeClr val="tx2"/>
                          </a:solidFill>
                        </a:rPr>
                        <a:t>27</a:t>
                      </a:r>
                      <a:endParaRPr lang="it-IT" sz="120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H" sz="1200">
                          <a:solidFill>
                            <a:schemeClr val="tx2"/>
                          </a:solidFill>
                          <a:latin typeface="+mn-lt"/>
                        </a:rPr>
                        <a:t>25</a:t>
                      </a:r>
                      <a:endParaRPr lang="it-IT" sz="120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H" sz="1200" dirty="0">
                          <a:solidFill>
                            <a:schemeClr val="tx2"/>
                          </a:solidFill>
                          <a:latin typeface="+mn-lt"/>
                        </a:rPr>
                        <a:t>39</a:t>
                      </a:r>
                      <a:endParaRPr lang="it-IT" sz="12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H" sz="1200" dirty="0">
                          <a:solidFill>
                            <a:schemeClr val="tx2"/>
                          </a:solidFill>
                          <a:latin typeface="+mn-lt"/>
                        </a:rPr>
                        <a:t>23</a:t>
                      </a:r>
                      <a:endParaRPr lang="it-IT" sz="12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>
                    <a:lnL>
                      <a:noFill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H" sz="1200" dirty="0">
                          <a:solidFill>
                            <a:schemeClr val="tx2"/>
                          </a:solidFill>
                          <a:latin typeface="+mn-lt"/>
                        </a:rPr>
                        <a:t>14</a:t>
                      </a:r>
                      <a:endParaRPr lang="it-IT" sz="12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>
                    <a:lnL>
                      <a:noFill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H" sz="1200" dirty="0">
                          <a:solidFill>
                            <a:schemeClr val="tx2"/>
                          </a:solidFill>
                          <a:latin typeface="+mn-lt"/>
                        </a:rPr>
                        <a:t>42</a:t>
                      </a:r>
                      <a:endParaRPr lang="it-IT" sz="12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>
                    <a:lnL>
                      <a:noFill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89348215"/>
                  </a:ext>
                </a:extLst>
              </a:tr>
              <a:tr h="407518">
                <a:tc>
                  <a:txBody>
                    <a:bodyPr/>
                    <a:lstStyle/>
                    <a:p>
                      <a:r>
                        <a:rPr lang="it-IT" sz="1200" b="1" dirty="0" err="1">
                          <a:solidFill>
                            <a:schemeClr val="tx2"/>
                          </a:solidFill>
                        </a:rPr>
                        <a:t>mPFS</a:t>
                      </a:r>
                      <a:r>
                        <a:rPr lang="it-IT" sz="1200" b="1" dirty="0">
                          <a:solidFill>
                            <a:schemeClr val="tx2"/>
                          </a:solidFill>
                        </a:rPr>
                        <a:t>, </a:t>
                      </a:r>
                      <a:r>
                        <a:rPr lang="it-IT" sz="1200" b="1" dirty="0" err="1">
                          <a:solidFill>
                            <a:schemeClr val="tx2"/>
                          </a:solidFill>
                        </a:rPr>
                        <a:t>mo</a:t>
                      </a:r>
                      <a:r>
                        <a:rPr lang="en-CH" sz="1200" b="1" dirty="0" err="1">
                          <a:solidFill>
                            <a:schemeClr val="tx2"/>
                          </a:solidFill>
                        </a:rPr>
                        <a:t>nths</a:t>
                      </a:r>
                      <a:endParaRPr lang="it-IT" sz="1200" b="1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4.9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3.6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3.3 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3.6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3.7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  <a:latin typeface="+mn-lt"/>
                        </a:rPr>
                        <a:t>5.4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  <a:latin typeface="+mn-lt"/>
                        </a:rPr>
                        <a:t>4.4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  <a:latin typeface="+mn-lt"/>
                        </a:rPr>
                        <a:t>2.3</a:t>
                      </a:r>
                    </a:p>
                  </a:txBody>
                  <a:tcPr>
                    <a:lnL>
                      <a:noFill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GB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85854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endParaRPr lang="it-IT" sz="120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>
                    <a:lnL>
                      <a:noFill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  <a:latin typeface="+mn-lt"/>
                        </a:rPr>
                        <a:t>4.2</a:t>
                      </a:r>
                    </a:p>
                  </a:txBody>
                  <a:tcPr>
                    <a:lnL>
                      <a:noFill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95033715"/>
                  </a:ext>
                </a:extLst>
              </a:tr>
              <a:tr h="266348">
                <a:tc>
                  <a:txBody>
                    <a:bodyPr/>
                    <a:lstStyle/>
                    <a:p>
                      <a:r>
                        <a:rPr lang="it-IT" sz="1200" b="1" dirty="0" err="1">
                          <a:solidFill>
                            <a:schemeClr val="tx2"/>
                          </a:solidFill>
                        </a:rPr>
                        <a:t>mOS</a:t>
                      </a:r>
                      <a:r>
                        <a:rPr lang="it-IT" sz="1200" b="1" dirty="0">
                          <a:solidFill>
                            <a:schemeClr val="tx2"/>
                          </a:solidFill>
                        </a:rPr>
                        <a:t>, </a:t>
                      </a:r>
                      <a:r>
                        <a:rPr lang="it-IT" sz="1200" b="1" dirty="0" err="1">
                          <a:solidFill>
                            <a:schemeClr val="tx2"/>
                          </a:solidFill>
                        </a:rPr>
                        <a:t>mo</a:t>
                      </a:r>
                      <a:r>
                        <a:rPr lang="en-CH" sz="1200" b="1" dirty="0" err="1">
                          <a:solidFill>
                            <a:schemeClr val="tx2"/>
                          </a:solidFill>
                        </a:rPr>
                        <a:t>nths</a:t>
                      </a:r>
                      <a:endParaRPr lang="it-IT" sz="1200" b="1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11.5*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5.7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8.8 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7.0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4.2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  <a:latin typeface="+mn-lt"/>
                        </a:rPr>
                        <a:t>11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  <a:latin typeface="+mn-lt"/>
                        </a:rPr>
                        <a:t>NR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  <a:latin typeface="+mn-lt"/>
                        </a:rPr>
                        <a:t>7.7</a:t>
                      </a:r>
                    </a:p>
                  </a:txBody>
                  <a:tcPr>
                    <a:lnL>
                      <a:noFill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  <a:latin typeface="+mn-lt"/>
                        </a:rPr>
                        <a:t>4</a:t>
                      </a:r>
                    </a:p>
                  </a:txBody>
                  <a:tcPr>
                    <a:lnL>
                      <a:noFill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 dirty="0">
                          <a:solidFill>
                            <a:schemeClr val="tx2"/>
                          </a:solidFill>
                          <a:latin typeface="+mn-lt"/>
                        </a:rPr>
                        <a:t>13.1</a:t>
                      </a:r>
                    </a:p>
                  </a:txBody>
                  <a:tcPr>
                    <a:lnL>
                      <a:noFill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7822318"/>
                  </a:ext>
                </a:extLst>
              </a:tr>
            </a:tbl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F7E0BDEA-0676-183C-49F2-6FEA56963BF2}"/>
              </a:ext>
            </a:extLst>
          </p:cNvPr>
          <p:cNvSpPr/>
          <p:nvPr/>
        </p:nvSpPr>
        <p:spPr>
          <a:xfrm>
            <a:off x="839789" y="3980328"/>
            <a:ext cx="10851026" cy="938285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1386579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DFF847F-0415-6EE9-581B-DB9EB6A3D59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7519F2DB-3E66-0717-CB3E-95257C8D58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contrast="20000"/>
                    </a14:imgEffect>
                  </a14:imgLayer>
                </a14:imgProps>
              </a:ext>
            </a:extLst>
          </a:blip>
          <a:srcRect l="144" r="144"/>
          <a:stretch/>
        </p:blipFill>
        <p:spPr bwMode="auto">
          <a:xfrm>
            <a:off x="1815222" y="1293393"/>
            <a:ext cx="8530181" cy="4940546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076416E-77FC-7AC8-FD32-78227CFCCF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latin typeface="+mn-lt"/>
              </a:rPr>
              <a:t>Can the immune system be appropriately targeted? Emerging data on T cell-engaging agents</a:t>
            </a:r>
            <a:r>
              <a:rPr lang="en-GB" baseline="30000" dirty="0">
                <a:latin typeface="+mn-lt"/>
              </a:rPr>
              <a:t>1</a:t>
            </a:r>
            <a:br>
              <a:rPr lang="en-GB" dirty="0">
                <a:latin typeface="+mn-lt"/>
              </a:rPr>
            </a:br>
            <a:endParaRPr lang="en-US" dirty="0">
              <a:latin typeface="+mn-lt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B014C23-F135-928C-EF82-578C793FC3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01CC8E-1CEF-6746-999E-CF29FF00B1D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82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5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FA07BE4-1A0D-D6B7-C2D8-5A0C1D6DF3D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70645" y="6229351"/>
            <a:ext cx="10440000" cy="490600"/>
          </a:xfrm>
        </p:spPr>
        <p:txBody>
          <a:bodyPr/>
          <a:lstStyle/>
          <a:p>
            <a:r>
              <a:rPr lang="en-GB" dirty="0"/>
              <a:t>Figure reproduced from </a:t>
            </a:r>
            <a:r>
              <a:rPr lang="en-GB" dirty="0" err="1"/>
              <a:t>Tumuluru</a:t>
            </a:r>
            <a:r>
              <a:rPr lang="en-GB" dirty="0"/>
              <a:t> et al. 2025</a:t>
            </a:r>
            <a:r>
              <a:rPr lang="en-GB" baseline="30000" dirty="0"/>
              <a:t>1</a:t>
            </a:r>
            <a:r>
              <a:rPr lang="en-GB" dirty="0"/>
              <a:t>  under the Creative Commons Attribution-Non-Commercial-No Derivatives (CC BY-NC-ND) License.</a:t>
            </a:r>
          </a:p>
          <a:p>
            <a:r>
              <a:rPr lang="en-US" dirty="0"/>
              <a:t>ABC, activated B-cell</a:t>
            </a:r>
            <a:r>
              <a:rPr lang="en-CH" dirty="0"/>
              <a:t>–</a:t>
            </a:r>
            <a:r>
              <a:rPr lang="en-US" dirty="0"/>
              <a:t>like; CAR-T, chimeric antigen receptor T-cell therapy; DLBCL, diffuse large B-cell lymphoma; EFS, event-free survival; GCB, germinal </a:t>
            </a:r>
            <a:r>
              <a:rPr lang="en-US" dirty="0" err="1"/>
              <a:t>centre</a:t>
            </a:r>
            <a:r>
              <a:rPr lang="en-US" dirty="0"/>
              <a:t> B</a:t>
            </a:r>
            <a:r>
              <a:rPr lang="en-CH" dirty="0"/>
              <a:t>-</a:t>
            </a:r>
            <a:r>
              <a:rPr lang="en-US" dirty="0"/>
              <a:t>cell</a:t>
            </a:r>
            <a:r>
              <a:rPr lang="en-CH" dirty="0"/>
              <a:t>–</a:t>
            </a:r>
            <a:r>
              <a:rPr lang="en-US" dirty="0"/>
              <a:t>like; IQ, immune quadrant; </a:t>
            </a:r>
            <a:endParaRPr lang="en-CH" dirty="0"/>
          </a:p>
          <a:p>
            <a:r>
              <a:rPr lang="en-US" dirty="0"/>
              <a:t>OR, odds ratio; </a:t>
            </a:r>
            <a:r>
              <a:rPr lang="en-CH" dirty="0"/>
              <a:t>PC, primary component; </a:t>
            </a:r>
            <a:r>
              <a:rPr lang="en-US" dirty="0"/>
              <a:t>PFS, progression-free survival. </a:t>
            </a:r>
            <a:r>
              <a:rPr lang="en-US" b="1" dirty="0"/>
              <a:t>1. </a:t>
            </a:r>
            <a:r>
              <a:rPr lang="en-US" dirty="0" err="1"/>
              <a:t>Tumuluru</a:t>
            </a:r>
            <a:r>
              <a:rPr lang="en-US" dirty="0"/>
              <a:t> et al. </a:t>
            </a:r>
            <a:r>
              <a:rPr lang="en-US" i="1" dirty="0"/>
              <a:t>Blood</a:t>
            </a:r>
            <a:r>
              <a:rPr lang="en-US" dirty="0"/>
              <a:t> 2025. </a:t>
            </a:r>
          </a:p>
        </p:txBody>
      </p:sp>
    </p:spTree>
    <p:extLst>
      <p:ext uri="{BB962C8B-B14F-4D97-AF65-F5344CB8AC3E}">
        <p14:creationId xmlns:p14="http://schemas.microsoft.com/office/powerpoint/2010/main" val="280555719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F7428D-3D6A-CDFC-D1BD-9C027DC28F5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ED2C43-2C94-2644-5B68-B7CB66EA57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0647" y="311858"/>
            <a:ext cx="9789459" cy="1030490"/>
          </a:xfrm>
        </p:spPr>
        <p:txBody>
          <a:bodyPr/>
          <a:lstStyle/>
          <a:p>
            <a:r>
              <a:rPr lang="en-GB" dirty="0" err="1">
                <a:solidFill>
                  <a:srgbClr val="585854"/>
                </a:solidFill>
                <a:latin typeface="+mn-lt"/>
              </a:rPr>
              <a:t>Loncastuximab</a:t>
            </a:r>
            <a:r>
              <a:rPr lang="en-CH" dirty="0">
                <a:solidFill>
                  <a:srgbClr val="585854"/>
                </a:solidFill>
                <a:latin typeface="+mn-lt"/>
              </a:rPr>
              <a:t> </a:t>
            </a:r>
            <a:r>
              <a:rPr lang="en-CH" dirty="0" err="1">
                <a:solidFill>
                  <a:srgbClr val="585854"/>
                </a:solidFill>
                <a:latin typeface="+mn-lt"/>
              </a:rPr>
              <a:t>tesirine</a:t>
            </a:r>
            <a:r>
              <a:rPr lang="en-GB" dirty="0">
                <a:solidFill>
                  <a:srgbClr val="585854"/>
                </a:solidFill>
                <a:latin typeface="+mn-lt"/>
              </a:rPr>
              <a:t> monotherapy </a:t>
            </a:r>
            <a:r>
              <a:rPr kumimoji="0" lang="en-GB" b="0" i="0" u="none" strike="noStrike" kern="1200" cap="none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+mn-lt"/>
              </a:rPr>
              <a:t>in </a:t>
            </a:r>
            <a:r>
              <a:rPr lang="en-GB" dirty="0">
                <a:solidFill>
                  <a:srgbClr val="585854"/>
                </a:solidFill>
                <a:latin typeface="+mn-lt"/>
              </a:rPr>
              <a:t>heavily pretreated 3L+ R/R DLBCL</a:t>
            </a:r>
            <a:r>
              <a:rPr lang="en-GB" baseline="30000" dirty="0">
                <a:solidFill>
                  <a:srgbClr val="585854"/>
                </a:solidFill>
                <a:latin typeface="+mn-lt"/>
              </a:rPr>
              <a:t>1</a:t>
            </a:r>
            <a:endParaRPr lang="en-GB" baseline="3000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07328843-B4C7-BB31-8AA0-777E9414CE4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70645" y="6159503"/>
            <a:ext cx="10440000" cy="560448"/>
          </a:xfrm>
        </p:spPr>
        <p:txBody>
          <a:bodyPr/>
          <a:lstStyle/>
          <a:p>
            <a:r>
              <a:rPr lang="en-GB" dirty="0"/>
              <a:t>*</a:t>
            </a:r>
            <a:r>
              <a:rPr lang="en-GB" dirty="0">
                <a:solidFill>
                  <a:srgbClr val="585854"/>
                </a:solidFill>
                <a:ea typeface="Arial" pitchFamily="34" charset="-122"/>
                <a:cs typeface="Arial" pitchFamily="34" charset="-120"/>
              </a:rPr>
              <a:t>Median follow-up</a:t>
            </a:r>
            <a:r>
              <a:rPr lang="en-CH" dirty="0">
                <a:solidFill>
                  <a:srgbClr val="585854"/>
                </a:solidFill>
                <a:ea typeface="Arial" pitchFamily="34" charset="-122"/>
                <a:cs typeface="Arial" pitchFamily="34" charset="-120"/>
              </a:rPr>
              <a:t> of</a:t>
            </a:r>
            <a:r>
              <a:rPr lang="en-GB" dirty="0">
                <a:solidFill>
                  <a:srgbClr val="585854"/>
                </a:solidFill>
                <a:ea typeface="Arial" pitchFamily="34" charset="-122"/>
                <a:cs typeface="Arial" pitchFamily="34" charset="-120"/>
              </a:rPr>
              <a:t> 7.8 months. †Median follow-up</a:t>
            </a:r>
            <a:r>
              <a:rPr lang="en-CH" dirty="0">
                <a:solidFill>
                  <a:srgbClr val="585854"/>
                </a:solidFill>
                <a:ea typeface="Arial" pitchFamily="34" charset="-122"/>
                <a:cs typeface="Arial" pitchFamily="34" charset="-120"/>
              </a:rPr>
              <a:t> of</a:t>
            </a:r>
            <a:r>
              <a:rPr lang="en-GB" dirty="0">
                <a:solidFill>
                  <a:srgbClr val="585854"/>
                </a:solidFill>
                <a:ea typeface="Arial" pitchFamily="34" charset="-122"/>
                <a:cs typeface="Arial" pitchFamily="34" charset="-120"/>
              </a:rPr>
              <a:t> 7.3 months.</a:t>
            </a:r>
            <a:br>
              <a:rPr lang="en-GB" dirty="0"/>
            </a:br>
            <a:r>
              <a:rPr lang="en-GB" dirty="0"/>
              <a:t>3L+, third line or later; AE, adverse event; CR, complete response; DLBCL, diffuse large B‐cell lymphoma; GGT, gamma-</a:t>
            </a:r>
            <a:r>
              <a:rPr lang="en-GB" dirty="0" err="1"/>
              <a:t>glutamyltransferase</a:t>
            </a:r>
            <a:r>
              <a:rPr lang="en-GB" dirty="0"/>
              <a:t>; </a:t>
            </a:r>
            <a:r>
              <a:rPr lang="en-CH" dirty="0"/>
              <a:t>Gr, grade; </a:t>
            </a:r>
            <a:r>
              <a:rPr lang="en-GB" dirty="0"/>
              <a:t>PFS, progression-free survival; R/R, relapsed/refractory.</a:t>
            </a:r>
            <a:br>
              <a:rPr lang="en-GB" dirty="0"/>
            </a:br>
            <a:r>
              <a:rPr lang="en-GB" b="1" dirty="0"/>
              <a:t>1. </a:t>
            </a:r>
            <a:r>
              <a:rPr lang="en-GB" dirty="0"/>
              <a:t>Caimi et al. </a:t>
            </a:r>
            <a:r>
              <a:rPr lang="en-GB" i="1" dirty="0" err="1"/>
              <a:t>Haematologica</a:t>
            </a:r>
            <a:r>
              <a:rPr lang="en-GB" dirty="0"/>
              <a:t> 2024 </a:t>
            </a:r>
            <a:r>
              <a:rPr lang="en-GB" b="1" i="1" dirty="0"/>
              <a:t>2.</a:t>
            </a:r>
            <a:r>
              <a:rPr lang="en-GB" i="1" dirty="0"/>
              <a:t> </a:t>
            </a:r>
            <a:r>
              <a:rPr lang="fr-FR" i="1" dirty="0" err="1"/>
              <a:t>Caimi</a:t>
            </a:r>
            <a:r>
              <a:rPr lang="fr-FR" i="1" dirty="0"/>
              <a:t> et al. Lancet </a:t>
            </a:r>
            <a:r>
              <a:rPr lang="fr-FR" i="1" dirty="0" err="1"/>
              <a:t>Oncol</a:t>
            </a:r>
            <a:r>
              <a:rPr lang="fr-FR" dirty="0"/>
              <a:t> 2021.</a:t>
            </a:r>
            <a:endParaRPr lang="en-GB" dirty="0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CCE27746-D7A2-974E-B259-848C77761097}"/>
              </a:ext>
            </a:extLst>
          </p:cNvPr>
          <p:cNvCxnSpPr>
            <a:cxnSpLocks/>
          </p:cNvCxnSpPr>
          <p:nvPr/>
        </p:nvCxnSpPr>
        <p:spPr>
          <a:xfrm rot="5400000">
            <a:off x="1309759" y="2640760"/>
            <a:ext cx="0" cy="50761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Freeform: Shape 14">
            <a:extLst>
              <a:ext uri="{FF2B5EF4-FFF2-40B4-BE49-F238E27FC236}">
                <a16:creationId xmlns:a16="http://schemas.microsoft.com/office/drawing/2014/main" id="{B6E6312C-C8D5-C843-F2C1-823841A2B948}"/>
              </a:ext>
            </a:extLst>
          </p:cNvPr>
          <p:cNvSpPr/>
          <p:nvPr/>
        </p:nvSpPr>
        <p:spPr>
          <a:xfrm>
            <a:off x="1296765" y="2659005"/>
            <a:ext cx="4144096" cy="1262890"/>
          </a:xfrm>
          <a:custGeom>
            <a:avLst/>
            <a:gdLst>
              <a:gd name="connsiteX0" fmla="*/ 0 w 6035040"/>
              <a:gd name="connsiteY0" fmla="*/ 0 h 1745312"/>
              <a:gd name="connsiteX1" fmla="*/ 51683 w 6035040"/>
              <a:gd name="connsiteY1" fmla="*/ 0 h 1745312"/>
              <a:gd name="connsiteX2" fmla="*/ 51683 w 6035040"/>
              <a:gd name="connsiteY2" fmla="*/ 39757 h 1745312"/>
              <a:gd name="connsiteX3" fmla="*/ 103367 w 6035040"/>
              <a:gd name="connsiteY3" fmla="*/ 39757 h 1745312"/>
              <a:gd name="connsiteX4" fmla="*/ 103367 w 6035040"/>
              <a:gd name="connsiteY4" fmla="*/ 63611 h 1745312"/>
              <a:gd name="connsiteX5" fmla="*/ 119269 w 6035040"/>
              <a:gd name="connsiteY5" fmla="*/ 63611 h 1745312"/>
              <a:gd name="connsiteX6" fmla="*/ 119269 w 6035040"/>
              <a:gd name="connsiteY6" fmla="*/ 99392 h 1745312"/>
              <a:gd name="connsiteX7" fmla="*/ 143123 w 6035040"/>
              <a:gd name="connsiteY7" fmla="*/ 99392 h 1745312"/>
              <a:gd name="connsiteX8" fmla="*/ 143123 w 6035040"/>
              <a:gd name="connsiteY8" fmla="*/ 127221 h 1745312"/>
              <a:gd name="connsiteX9" fmla="*/ 163001 w 6035040"/>
              <a:gd name="connsiteY9" fmla="*/ 127221 h 1745312"/>
              <a:gd name="connsiteX10" fmla="*/ 163001 w 6035040"/>
              <a:gd name="connsiteY10" fmla="*/ 159026 h 1745312"/>
              <a:gd name="connsiteX11" fmla="*/ 178904 w 6035040"/>
              <a:gd name="connsiteY11" fmla="*/ 159026 h 1745312"/>
              <a:gd name="connsiteX12" fmla="*/ 178904 w 6035040"/>
              <a:gd name="connsiteY12" fmla="*/ 174929 h 1745312"/>
              <a:gd name="connsiteX13" fmla="*/ 194807 w 6035040"/>
              <a:gd name="connsiteY13" fmla="*/ 174929 h 1745312"/>
              <a:gd name="connsiteX14" fmla="*/ 194807 w 6035040"/>
              <a:gd name="connsiteY14" fmla="*/ 202759 h 1745312"/>
              <a:gd name="connsiteX15" fmla="*/ 194807 w 6035040"/>
              <a:gd name="connsiteY15" fmla="*/ 421419 h 1745312"/>
              <a:gd name="connsiteX16" fmla="*/ 210709 w 6035040"/>
              <a:gd name="connsiteY16" fmla="*/ 421419 h 1745312"/>
              <a:gd name="connsiteX17" fmla="*/ 210709 w 6035040"/>
              <a:gd name="connsiteY17" fmla="*/ 592373 h 1745312"/>
              <a:gd name="connsiteX18" fmla="*/ 234563 w 6035040"/>
              <a:gd name="connsiteY18" fmla="*/ 592373 h 1745312"/>
              <a:gd name="connsiteX19" fmla="*/ 234563 w 6035040"/>
              <a:gd name="connsiteY19" fmla="*/ 612251 h 1745312"/>
              <a:gd name="connsiteX20" fmla="*/ 246490 w 6035040"/>
              <a:gd name="connsiteY20" fmla="*/ 612251 h 1745312"/>
              <a:gd name="connsiteX21" fmla="*/ 246490 w 6035040"/>
              <a:gd name="connsiteY21" fmla="*/ 632129 h 1745312"/>
              <a:gd name="connsiteX22" fmla="*/ 258417 w 6035040"/>
              <a:gd name="connsiteY22" fmla="*/ 632129 h 1745312"/>
              <a:gd name="connsiteX23" fmla="*/ 258417 w 6035040"/>
              <a:gd name="connsiteY23" fmla="*/ 671886 h 1745312"/>
              <a:gd name="connsiteX24" fmla="*/ 266368 w 6035040"/>
              <a:gd name="connsiteY24" fmla="*/ 671886 h 1745312"/>
              <a:gd name="connsiteX25" fmla="*/ 266368 w 6035040"/>
              <a:gd name="connsiteY25" fmla="*/ 699715 h 1745312"/>
              <a:gd name="connsiteX26" fmla="*/ 290222 w 6035040"/>
              <a:gd name="connsiteY26" fmla="*/ 699715 h 1745312"/>
              <a:gd name="connsiteX27" fmla="*/ 290222 w 6035040"/>
              <a:gd name="connsiteY27" fmla="*/ 727545 h 1745312"/>
              <a:gd name="connsiteX28" fmla="*/ 377687 w 6035040"/>
              <a:gd name="connsiteY28" fmla="*/ 727545 h 1745312"/>
              <a:gd name="connsiteX29" fmla="*/ 377687 w 6035040"/>
              <a:gd name="connsiteY29" fmla="*/ 755374 h 1745312"/>
              <a:gd name="connsiteX30" fmla="*/ 405516 w 6035040"/>
              <a:gd name="connsiteY30" fmla="*/ 755374 h 1745312"/>
              <a:gd name="connsiteX31" fmla="*/ 405516 w 6035040"/>
              <a:gd name="connsiteY31" fmla="*/ 799106 h 1745312"/>
              <a:gd name="connsiteX32" fmla="*/ 409492 w 6035040"/>
              <a:gd name="connsiteY32" fmla="*/ 803082 h 1745312"/>
              <a:gd name="connsiteX33" fmla="*/ 409492 w 6035040"/>
              <a:gd name="connsiteY33" fmla="*/ 854766 h 1745312"/>
              <a:gd name="connsiteX34" fmla="*/ 421419 w 6035040"/>
              <a:gd name="connsiteY34" fmla="*/ 854766 h 1745312"/>
              <a:gd name="connsiteX35" fmla="*/ 421419 w 6035040"/>
              <a:gd name="connsiteY35" fmla="*/ 886571 h 1745312"/>
              <a:gd name="connsiteX36" fmla="*/ 425394 w 6035040"/>
              <a:gd name="connsiteY36" fmla="*/ 886571 h 1745312"/>
              <a:gd name="connsiteX37" fmla="*/ 425394 w 6035040"/>
              <a:gd name="connsiteY37" fmla="*/ 942230 h 1745312"/>
              <a:gd name="connsiteX38" fmla="*/ 437321 w 6035040"/>
              <a:gd name="connsiteY38" fmla="*/ 942230 h 1745312"/>
              <a:gd name="connsiteX39" fmla="*/ 437321 w 6035040"/>
              <a:gd name="connsiteY39" fmla="*/ 985962 h 1745312"/>
              <a:gd name="connsiteX40" fmla="*/ 449248 w 6035040"/>
              <a:gd name="connsiteY40" fmla="*/ 985962 h 1745312"/>
              <a:gd name="connsiteX41" fmla="*/ 449248 w 6035040"/>
              <a:gd name="connsiteY41" fmla="*/ 1049573 h 1745312"/>
              <a:gd name="connsiteX42" fmla="*/ 548640 w 6035040"/>
              <a:gd name="connsiteY42" fmla="*/ 1049573 h 1745312"/>
              <a:gd name="connsiteX43" fmla="*/ 548640 w 6035040"/>
              <a:gd name="connsiteY43" fmla="*/ 1077402 h 1745312"/>
              <a:gd name="connsiteX44" fmla="*/ 560567 w 6035040"/>
              <a:gd name="connsiteY44" fmla="*/ 1077402 h 1745312"/>
              <a:gd name="connsiteX45" fmla="*/ 560567 w 6035040"/>
              <a:gd name="connsiteY45" fmla="*/ 1105232 h 1745312"/>
              <a:gd name="connsiteX46" fmla="*/ 580445 w 6035040"/>
              <a:gd name="connsiteY46" fmla="*/ 1105232 h 1745312"/>
              <a:gd name="connsiteX47" fmla="*/ 580445 w 6035040"/>
              <a:gd name="connsiteY47" fmla="*/ 1125110 h 1745312"/>
              <a:gd name="connsiteX48" fmla="*/ 671885 w 6035040"/>
              <a:gd name="connsiteY48" fmla="*/ 1125110 h 1745312"/>
              <a:gd name="connsiteX49" fmla="*/ 671885 w 6035040"/>
              <a:gd name="connsiteY49" fmla="*/ 1152939 h 1745312"/>
              <a:gd name="connsiteX50" fmla="*/ 751398 w 6035040"/>
              <a:gd name="connsiteY50" fmla="*/ 1152939 h 1745312"/>
              <a:gd name="connsiteX51" fmla="*/ 751398 w 6035040"/>
              <a:gd name="connsiteY51" fmla="*/ 1180769 h 1745312"/>
              <a:gd name="connsiteX52" fmla="*/ 771276 w 6035040"/>
              <a:gd name="connsiteY52" fmla="*/ 1180769 h 1745312"/>
              <a:gd name="connsiteX53" fmla="*/ 771276 w 6035040"/>
              <a:gd name="connsiteY53" fmla="*/ 1220526 h 1745312"/>
              <a:gd name="connsiteX54" fmla="*/ 910424 w 6035040"/>
              <a:gd name="connsiteY54" fmla="*/ 1220526 h 1745312"/>
              <a:gd name="connsiteX55" fmla="*/ 910424 w 6035040"/>
              <a:gd name="connsiteY55" fmla="*/ 1248355 h 1745312"/>
              <a:gd name="connsiteX56" fmla="*/ 1053547 w 6035040"/>
              <a:gd name="connsiteY56" fmla="*/ 1248355 h 1745312"/>
              <a:gd name="connsiteX57" fmla="*/ 1053547 w 6035040"/>
              <a:gd name="connsiteY57" fmla="*/ 1288112 h 1745312"/>
              <a:gd name="connsiteX58" fmla="*/ 1073426 w 6035040"/>
              <a:gd name="connsiteY58" fmla="*/ 1288112 h 1745312"/>
              <a:gd name="connsiteX59" fmla="*/ 1073426 w 6035040"/>
              <a:gd name="connsiteY59" fmla="*/ 1331844 h 1745312"/>
              <a:gd name="connsiteX60" fmla="*/ 1105231 w 6035040"/>
              <a:gd name="connsiteY60" fmla="*/ 1331844 h 1745312"/>
              <a:gd name="connsiteX61" fmla="*/ 1105231 w 6035040"/>
              <a:gd name="connsiteY61" fmla="*/ 1331844 h 1745312"/>
              <a:gd name="connsiteX62" fmla="*/ 1105231 w 6035040"/>
              <a:gd name="connsiteY62" fmla="*/ 1367625 h 1745312"/>
              <a:gd name="connsiteX63" fmla="*/ 1224500 w 6035040"/>
              <a:gd name="connsiteY63" fmla="*/ 1367625 h 1745312"/>
              <a:gd name="connsiteX64" fmla="*/ 1224500 w 6035040"/>
              <a:gd name="connsiteY64" fmla="*/ 1403406 h 1745312"/>
              <a:gd name="connsiteX65" fmla="*/ 1256306 w 6035040"/>
              <a:gd name="connsiteY65" fmla="*/ 1403406 h 1745312"/>
              <a:gd name="connsiteX66" fmla="*/ 1256306 w 6035040"/>
              <a:gd name="connsiteY66" fmla="*/ 1431235 h 1745312"/>
              <a:gd name="connsiteX67" fmla="*/ 1602187 w 6035040"/>
              <a:gd name="connsiteY67" fmla="*/ 1431235 h 1745312"/>
              <a:gd name="connsiteX68" fmla="*/ 1602187 w 6035040"/>
              <a:gd name="connsiteY68" fmla="*/ 1478943 h 1745312"/>
              <a:gd name="connsiteX69" fmla="*/ 1697603 w 6035040"/>
              <a:gd name="connsiteY69" fmla="*/ 1478943 h 1745312"/>
              <a:gd name="connsiteX70" fmla="*/ 1697603 w 6035040"/>
              <a:gd name="connsiteY70" fmla="*/ 1530626 h 1745312"/>
              <a:gd name="connsiteX71" fmla="*/ 1733384 w 6035040"/>
              <a:gd name="connsiteY71" fmla="*/ 1530626 h 1745312"/>
              <a:gd name="connsiteX72" fmla="*/ 1733384 w 6035040"/>
              <a:gd name="connsiteY72" fmla="*/ 1570383 h 1745312"/>
              <a:gd name="connsiteX73" fmla="*/ 2150827 w 6035040"/>
              <a:gd name="connsiteY73" fmla="*/ 1570383 h 1745312"/>
              <a:gd name="connsiteX74" fmla="*/ 2150827 w 6035040"/>
              <a:gd name="connsiteY74" fmla="*/ 1614115 h 1745312"/>
              <a:gd name="connsiteX75" fmla="*/ 2202511 w 6035040"/>
              <a:gd name="connsiteY75" fmla="*/ 1614115 h 1745312"/>
              <a:gd name="connsiteX76" fmla="*/ 2202511 w 6035040"/>
              <a:gd name="connsiteY76" fmla="*/ 1657847 h 1745312"/>
              <a:gd name="connsiteX77" fmla="*/ 2401293 w 6035040"/>
              <a:gd name="connsiteY77" fmla="*/ 1657847 h 1745312"/>
              <a:gd name="connsiteX78" fmla="*/ 2401293 w 6035040"/>
              <a:gd name="connsiteY78" fmla="*/ 1697604 h 1745312"/>
              <a:gd name="connsiteX79" fmla="*/ 2910177 w 6035040"/>
              <a:gd name="connsiteY79" fmla="*/ 1697604 h 1745312"/>
              <a:gd name="connsiteX80" fmla="*/ 2910177 w 6035040"/>
              <a:gd name="connsiteY80" fmla="*/ 1745312 h 1745312"/>
              <a:gd name="connsiteX81" fmla="*/ 6035040 w 6035040"/>
              <a:gd name="connsiteY81" fmla="*/ 1745312 h 17453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</a:cxnLst>
            <a:rect l="l" t="t" r="r" b="b"/>
            <a:pathLst>
              <a:path w="6035040" h="1745312">
                <a:moveTo>
                  <a:pt x="0" y="0"/>
                </a:moveTo>
                <a:lnTo>
                  <a:pt x="51683" y="0"/>
                </a:lnTo>
                <a:lnTo>
                  <a:pt x="51683" y="39757"/>
                </a:lnTo>
                <a:lnTo>
                  <a:pt x="103367" y="39757"/>
                </a:lnTo>
                <a:lnTo>
                  <a:pt x="103367" y="63611"/>
                </a:lnTo>
                <a:lnTo>
                  <a:pt x="119269" y="63611"/>
                </a:lnTo>
                <a:lnTo>
                  <a:pt x="119269" y="99392"/>
                </a:lnTo>
                <a:lnTo>
                  <a:pt x="143123" y="99392"/>
                </a:lnTo>
                <a:lnTo>
                  <a:pt x="143123" y="127221"/>
                </a:lnTo>
                <a:lnTo>
                  <a:pt x="163001" y="127221"/>
                </a:lnTo>
                <a:lnTo>
                  <a:pt x="163001" y="159026"/>
                </a:lnTo>
                <a:lnTo>
                  <a:pt x="178904" y="159026"/>
                </a:lnTo>
                <a:lnTo>
                  <a:pt x="178904" y="174929"/>
                </a:lnTo>
                <a:lnTo>
                  <a:pt x="194807" y="174929"/>
                </a:lnTo>
                <a:lnTo>
                  <a:pt x="194807" y="202759"/>
                </a:lnTo>
                <a:lnTo>
                  <a:pt x="194807" y="421419"/>
                </a:lnTo>
                <a:lnTo>
                  <a:pt x="210709" y="421419"/>
                </a:lnTo>
                <a:lnTo>
                  <a:pt x="210709" y="592373"/>
                </a:lnTo>
                <a:lnTo>
                  <a:pt x="234563" y="592373"/>
                </a:lnTo>
                <a:lnTo>
                  <a:pt x="234563" y="612251"/>
                </a:lnTo>
                <a:lnTo>
                  <a:pt x="246490" y="612251"/>
                </a:lnTo>
                <a:lnTo>
                  <a:pt x="246490" y="632129"/>
                </a:lnTo>
                <a:lnTo>
                  <a:pt x="258417" y="632129"/>
                </a:lnTo>
                <a:lnTo>
                  <a:pt x="258417" y="671886"/>
                </a:lnTo>
                <a:lnTo>
                  <a:pt x="266368" y="671886"/>
                </a:lnTo>
                <a:lnTo>
                  <a:pt x="266368" y="699715"/>
                </a:lnTo>
                <a:lnTo>
                  <a:pt x="290222" y="699715"/>
                </a:lnTo>
                <a:lnTo>
                  <a:pt x="290222" y="727545"/>
                </a:lnTo>
                <a:lnTo>
                  <a:pt x="377687" y="727545"/>
                </a:lnTo>
                <a:lnTo>
                  <a:pt x="377687" y="755374"/>
                </a:lnTo>
                <a:lnTo>
                  <a:pt x="405516" y="755374"/>
                </a:lnTo>
                <a:lnTo>
                  <a:pt x="405516" y="799106"/>
                </a:lnTo>
                <a:lnTo>
                  <a:pt x="409492" y="803082"/>
                </a:lnTo>
                <a:lnTo>
                  <a:pt x="409492" y="854766"/>
                </a:lnTo>
                <a:lnTo>
                  <a:pt x="421419" y="854766"/>
                </a:lnTo>
                <a:lnTo>
                  <a:pt x="421419" y="886571"/>
                </a:lnTo>
                <a:lnTo>
                  <a:pt x="425394" y="886571"/>
                </a:lnTo>
                <a:lnTo>
                  <a:pt x="425394" y="942230"/>
                </a:lnTo>
                <a:lnTo>
                  <a:pt x="437321" y="942230"/>
                </a:lnTo>
                <a:lnTo>
                  <a:pt x="437321" y="985962"/>
                </a:lnTo>
                <a:lnTo>
                  <a:pt x="449248" y="985962"/>
                </a:lnTo>
                <a:lnTo>
                  <a:pt x="449248" y="1049573"/>
                </a:lnTo>
                <a:lnTo>
                  <a:pt x="548640" y="1049573"/>
                </a:lnTo>
                <a:lnTo>
                  <a:pt x="548640" y="1077402"/>
                </a:lnTo>
                <a:lnTo>
                  <a:pt x="560567" y="1077402"/>
                </a:lnTo>
                <a:lnTo>
                  <a:pt x="560567" y="1105232"/>
                </a:lnTo>
                <a:lnTo>
                  <a:pt x="580445" y="1105232"/>
                </a:lnTo>
                <a:lnTo>
                  <a:pt x="580445" y="1125110"/>
                </a:lnTo>
                <a:lnTo>
                  <a:pt x="671885" y="1125110"/>
                </a:lnTo>
                <a:lnTo>
                  <a:pt x="671885" y="1152939"/>
                </a:lnTo>
                <a:lnTo>
                  <a:pt x="751398" y="1152939"/>
                </a:lnTo>
                <a:lnTo>
                  <a:pt x="751398" y="1180769"/>
                </a:lnTo>
                <a:lnTo>
                  <a:pt x="771276" y="1180769"/>
                </a:lnTo>
                <a:lnTo>
                  <a:pt x="771276" y="1220526"/>
                </a:lnTo>
                <a:lnTo>
                  <a:pt x="910424" y="1220526"/>
                </a:lnTo>
                <a:lnTo>
                  <a:pt x="910424" y="1248355"/>
                </a:lnTo>
                <a:lnTo>
                  <a:pt x="1053547" y="1248355"/>
                </a:lnTo>
                <a:lnTo>
                  <a:pt x="1053547" y="1288112"/>
                </a:lnTo>
                <a:lnTo>
                  <a:pt x="1073426" y="1288112"/>
                </a:lnTo>
                <a:lnTo>
                  <a:pt x="1073426" y="1331844"/>
                </a:lnTo>
                <a:lnTo>
                  <a:pt x="1105231" y="1331844"/>
                </a:lnTo>
                <a:lnTo>
                  <a:pt x="1105231" y="1331844"/>
                </a:lnTo>
                <a:lnTo>
                  <a:pt x="1105231" y="1367625"/>
                </a:lnTo>
                <a:lnTo>
                  <a:pt x="1224500" y="1367625"/>
                </a:lnTo>
                <a:lnTo>
                  <a:pt x="1224500" y="1403406"/>
                </a:lnTo>
                <a:lnTo>
                  <a:pt x="1256306" y="1403406"/>
                </a:lnTo>
                <a:lnTo>
                  <a:pt x="1256306" y="1431235"/>
                </a:lnTo>
                <a:lnTo>
                  <a:pt x="1602187" y="1431235"/>
                </a:lnTo>
                <a:lnTo>
                  <a:pt x="1602187" y="1478943"/>
                </a:lnTo>
                <a:lnTo>
                  <a:pt x="1697603" y="1478943"/>
                </a:lnTo>
                <a:lnTo>
                  <a:pt x="1697603" y="1530626"/>
                </a:lnTo>
                <a:lnTo>
                  <a:pt x="1733384" y="1530626"/>
                </a:lnTo>
                <a:lnTo>
                  <a:pt x="1733384" y="1570383"/>
                </a:lnTo>
                <a:lnTo>
                  <a:pt x="2150827" y="1570383"/>
                </a:lnTo>
                <a:lnTo>
                  <a:pt x="2150827" y="1614115"/>
                </a:lnTo>
                <a:lnTo>
                  <a:pt x="2202511" y="1614115"/>
                </a:lnTo>
                <a:lnTo>
                  <a:pt x="2202511" y="1657847"/>
                </a:lnTo>
                <a:lnTo>
                  <a:pt x="2401293" y="1657847"/>
                </a:lnTo>
                <a:lnTo>
                  <a:pt x="2401293" y="1697604"/>
                </a:lnTo>
                <a:lnTo>
                  <a:pt x="2910177" y="1697604"/>
                </a:lnTo>
                <a:lnTo>
                  <a:pt x="2910177" y="1745312"/>
                </a:lnTo>
                <a:lnTo>
                  <a:pt x="6035040" y="1745312"/>
                </a:lnTo>
              </a:path>
            </a:pathLst>
          </a:cu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EB92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71448D24-4282-307A-1489-36CC67D28E4F}"/>
              </a:ext>
            </a:extLst>
          </p:cNvPr>
          <p:cNvCxnSpPr>
            <a:cxnSpLocks/>
          </p:cNvCxnSpPr>
          <p:nvPr/>
        </p:nvCxnSpPr>
        <p:spPr>
          <a:xfrm>
            <a:off x="5425342" y="3895150"/>
            <a:ext cx="0" cy="5349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321D0C11-E3B6-2443-858D-8B7C27711D12}"/>
              </a:ext>
            </a:extLst>
          </p:cNvPr>
          <p:cNvCxnSpPr>
            <a:cxnSpLocks/>
          </p:cNvCxnSpPr>
          <p:nvPr/>
        </p:nvCxnSpPr>
        <p:spPr>
          <a:xfrm>
            <a:off x="5183350" y="3895150"/>
            <a:ext cx="0" cy="5349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92A23279-09AF-8A63-E84F-2B15DB353973}"/>
              </a:ext>
            </a:extLst>
          </p:cNvPr>
          <p:cNvCxnSpPr>
            <a:cxnSpLocks/>
          </p:cNvCxnSpPr>
          <p:nvPr/>
        </p:nvCxnSpPr>
        <p:spPr>
          <a:xfrm>
            <a:off x="5163148" y="3895150"/>
            <a:ext cx="0" cy="5349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B1F04B4-081C-AEA6-96A3-9538A9AFBD7B}"/>
              </a:ext>
            </a:extLst>
          </p:cNvPr>
          <p:cNvCxnSpPr>
            <a:cxnSpLocks/>
          </p:cNvCxnSpPr>
          <p:nvPr/>
        </p:nvCxnSpPr>
        <p:spPr>
          <a:xfrm>
            <a:off x="4727762" y="3895150"/>
            <a:ext cx="0" cy="5349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6C5B876E-38FC-D077-9130-3DA5E17B19D1}"/>
              </a:ext>
            </a:extLst>
          </p:cNvPr>
          <p:cNvCxnSpPr>
            <a:cxnSpLocks/>
          </p:cNvCxnSpPr>
          <p:nvPr/>
        </p:nvCxnSpPr>
        <p:spPr>
          <a:xfrm>
            <a:off x="4607887" y="3895150"/>
            <a:ext cx="0" cy="5349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A2C11D08-CA3A-BA34-A085-9629B3B19460}"/>
              </a:ext>
            </a:extLst>
          </p:cNvPr>
          <p:cNvCxnSpPr>
            <a:cxnSpLocks/>
          </p:cNvCxnSpPr>
          <p:nvPr/>
        </p:nvCxnSpPr>
        <p:spPr>
          <a:xfrm>
            <a:off x="4559065" y="3895150"/>
            <a:ext cx="0" cy="5349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E303F89F-2855-32C3-D1E1-E7816EAECEE2}"/>
              </a:ext>
            </a:extLst>
          </p:cNvPr>
          <p:cNvCxnSpPr>
            <a:cxnSpLocks/>
          </p:cNvCxnSpPr>
          <p:nvPr/>
        </p:nvCxnSpPr>
        <p:spPr>
          <a:xfrm>
            <a:off x="4395059" y="3895150"/>
            <a:ext cx="0" cy="5349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17B246B2-4319-0B6D-C4B6-DC689C37C288}"/>
              </a:ext>
            </a:extLst>
          </p:cNvPr>
          <p:cNvCxnSpPr>
            <a:cxnSpLocks/>
          </p:cNvCxnSpPr>
          <p:nvPr/>
        </p:nvCxnSpPr>
        <p:spPr>
          <a:xfrm>
            <a:off x="4370858" y="3895150"/>
            <a:ext cx="0" cy="5349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268F5C9C-EA65-403B-A79B-2F4EC4F08522}"/>
              </a:ext>
            </a:extLst>
          </p:cNvPr>
          <p:cNvCxnSpPr>
            <a:cxnSpLocks/>
          </p:cNvCxnSpPr>
          <p:nvPr/>
        </p:nvCxnSpPr>
        <p:spPr>
          <a:xfrm>
            <a:off x="4302964" y="3895150"/>
            <a:ext cx="0" cy="5349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EA1B5BA5-10D1-BFFA-4CCB-6321AD8EB28B}"/>
              </a:ext>
            </a:extLst>
          </p:cNvPr>
          <p:cNvCxnSpPr>
            <a:cxnSpLocks/>
          </p:cNvCxnSpPr>
          <p:nvPr/>
        </p:nvCxnSpPr>
        <p:spPr>
          <a:xfrm>
            <a:off x="4256151" y="3895150"/>
            <a:ext cx="0" cy="5349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56C99B46-D228-C60A-BC60-5B77F526F46D}"/>
              </a:ext>
            </a:extLst>
          </p:cNvPr>
          <p:cNvCxnSpPr>
            <a:cxnSpLocks/>
          </p:cNvCxnSpPr>
          <p:nvPr/>
        </p:nvCxnSpPr>
        <p:spPr>
          <a:xfrm>
            <a:off x="3295061" y="3895150"/>
            <a:ext cx="0" cy="5349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77D5C9A1-61D4-8000-89B9-8DEDA2AAB7BE}"/>
              </a:ext>
            </a:extLst>
          </p:cNvPr>
          <p:cNvCxnSpPr>
            <a:cxnSpLocks/>
          </p:cNvCxnSpPr>
          <p:nvPr/>
        </p:nvCxnSpPr>
        <p:spPr>
          <a:xfrm>
            <a:off x="3347333" y="3895150"/>
            <a:ext cx="0" cy="5349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9500B220-AB5B-EC3B-9834-D26BF49DCD36}"/>
              </a:ext>
            </a:extLst>
          </p:cNvPr>
          <p:cNvCxnSpPr>
            <a:cxnSpLocks/>
          </p:cNvCxnSpPr>
          <p:nvPr/>
        </p:nvCxnSpPr>
        <p:spPr>
          <a:xfrm>
            <a:off x="3282917" y="3860012"/>
            <a:ext cx="0" cy="5349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63F077EB-DA2C-43E7-E5CC-68EFFAC55C07}"/>
              </a:ext>
            </a:extLst>
          </p:cNvPr>
          <p:cNvCxnSpPr>
            <a:cxnSpLocks/>
          </p:cNvCxnSpPr>
          <p:nvPr/>
        </p:nvCxnSpPr>
        <p:spPr>
          <a:xfrm rot="5400000">
            <a:off x="3297118" y="3894877"/>
            <a:ext cx="0" cy="50761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251E130A-A1AA-C65D-1ABD-AF352C1C9A7A}"/>
              </a:ext>
            </a:extLst>
          </p:cNvPr>
          <p:cNvCxnSpPr>
            <a:cxnSpLocks/>
          </p:cNvCxnSpPr>
          <p:nvPr/>
        </p:nvCxnSpPr>
        <p:spPr>
          <a:xfrm>
            <a:off x="2300341" y="3668355"/>
            <a:ext cx="0" cy="5349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8D2F596D-BDB9-ABF8-2C50-05E94512E9AE}"/>
              </a:ext>
            </a:extLst>
          </p:cNvPr>
          <p:cNvCxnSpPr>
            <a:cxnSpLocks/>
          </p:cNvCxnSpPr>
          <p:nvPr/>
        </p:nvCxnSpPr>
        <p:spPr>
          <a:xfrm>
            <a:off x="2250196" y="3668355"/>
            <a:ext cx="0" cy="5349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91F2479A-B092-A138-3BBB-BDAB910C56AA}"/>
              </a:ext>
            </a:extLst>
          </p:cNvPr>
          <p:cNvCxnSpPr>
            <a:cxnSpLocks/>
          </p:cNvCxnSpPr>
          <p:nvPr/>
        </p:nvCxnSpPr>
        <p:spPr>
          <a:xfrm>
            <a:off x="2233835" y="3668355"/>
            <a:ext cx="0" cy="5349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55EC90D4-FFEA-3785-30BD-10F94BD730E0}"/>
              </a:ext>
            </a:extLst>
          </p:cNvPr>
          <p:cNvCxnSpPr>
            <a:cxnSpLocks/>
          </p:cNvCxnSpPr>
          <p:nvPr/>
        </p:nvCxnSpPr>
        <p:spPr>
          <a:xfrm>
            <a:off x="2135248" y="3622347"/>
            <a:ext cx="0" cy="5349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F4A696D3-B720-BEFE-B230-8E51A80CB7CE}"/>
              </a:ext>
            </a:extLst>
          </p:cNvPr>
          <p:cNvCxnSpPr>
            <a:cxnSpLocks/>
          </p:cNvCxnSpPr>
          <p:nvPr/>
        </p:nvCxnSpPr>
        <p:spPr>
          <a:xfrm rot="5400000">
            <a:off x="2130907" y="3619369"/>
            <a:ext cx="0" cy="50761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7604AC16-FB8D-C926-94D2-DA90C9514ADC}"/>
              </a:ext>
            </a:extLst>
          </p:cNvPr>
          <p:cNvCxnSpPr>
            <a:cxnSpLocks/>
          </p:cNvCxnSpPr>
          <p:nvPr/>
        </p:nvCxnSpPr>
        <p:spPr>
          <a:xfrm rot="5400000">
            <a:off x="1428379" y="2822076"/>
            <a:ext cx="0" cy="50761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D23C9DAD-9038-D982-B513-23C8125DEA26}"/>
              </a:ext>
            </a:extLst>
          </p:cNvPr>
          <p:cNvCxnSpPr>
            <a:cxnSpLocks/>
          </p:cNvCxnSpPr>
          <p:nvPr/>
        </p:nvCxnSpPr>
        <p:spPr>
          <a:xfrm rot="5400000">
            <a:off x="1431123" y="2885969"/>
            <a:ext cx="0" cy="50761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14B84CC5-8F38-25C4-BD2D-A930F4715DDA}"/>
              </a:ext>
            </a:extLst>
          </p:cNvPr>
          <p:cNvCxnSpPr>
            <a:cxnSpLocks/>
          </p:cNvCxnSpPr>
          <p:nvPr/>
        </p:nvCxnSpPr>
        <p:spPr>
          <a:xfrm rot="5400000">
            <a:off x="1438283" y="3046331"/>
            <a:ext cx="0" cy="50761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F40629D8-EAD8-B36F-C800-318CC246AE9B}"/>
              </a:ext>
            </a:extLst>
          </p:cNvPr>
          <p:cNvCxnSpPr>
            <a:cxnSpLocks/>
          </p:cNvCxnSpPr>
          <p:nvPr/>
        </p:nvCxnSpPr>
        <p:spPr>
          <a:xfrm rot="5400000">
            <a:off x="1438283" y="3034277"/>
            <a:ext cx="0" cy="50761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CB18457D-71B1-30F0-C053-19561FC6931A}"/>
              </a:ext>
            </a:extLst>
          </p:cNvPr>
          <p:cNvCxnSpPr>
            <a:cxnSpLocks/>
          </p:cNvCxnSpPr>
          <p:nvPr/>
        </p:nvCxnSpPr>
        <p:spPr>
          <a:xfrm rot="5400000">
            <a:off x="1393661" y="2715530"/>
            <a:ext cx="0" cy="50761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9C8C0939-25C0-2AD1-FC7A-8A52A1ED2122}"/>
              </a:ext>
            </a:extLst>
          </p:cNvPr>
          <p:cNvCxnSpPr>
            <a:cxnSpLocks/>
          </p:cNvCxnSpPr>
          <p:nvPr/>
        </p:nvCxnSpPr>
        <p:spPr>
          <a:xfrm rot="5400000">
            <a:off x="1569558" y="3185725"/>
            <a:ext cx="0" cy="50761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EFB9C8BB-E9B0-440A-311F-6C4BF0C4E4DB}"/>
              </a:ext>
            </a:extLst>
          </p:cNvPr>
          <p:cNvCxnSpPr>
            <a:cxnSpLocks/>
          </p:cNvCxnSpPr>
          <p:nvPr/>
        </p:nvCxnSpPr>
        <p:spPr>
          <a:xfrm rot="5400000">
            <a:off x="1571139" y="3221078"/>
            <a:ext cx="0" cy="50761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B0F3AA52-B4D5-9B33-8190-4D50F65A9579}"/>
              </a:ext>
            </a:extLst>
          </p:cNvPr>
          <p:cNvCxnSpPr>
            <a:cxnSpLocks/>
          </p:cNvCxnSpPr>
          <p:nvPr/>
        </p:nvCxnSpPr>
        <p:spPr>
          <a:xfrm rot="5400000">
            <a:off x="1577739" y="3246925"/>
            <a:ext cx="0" cy="50761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21EDD685-747B-6776-1E85-23268CF26E84}"/>
              </a:ext>
            </a:extLst>
          </p:cNvPr>
          <p:cNvCxnSpPr>
            <a:cxnSpLocks/>
          </p:cNvCxnSpPr>
          <p:nvPr/>
        </p:nvCxnSpPr>
        <p:spPr>
          <a:xfrm rot="5400000">
            <a:off x="1579786" y="3259122"/>
            <a:ext cx="0" cy="50761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352F043D-8E65-8B76-7B4F-6CAA53A65DAE}"/>
              </a:ext>
            </a:extLst>
          </p:cNvPr>
          <p:cNvCxnSpPr>
            <a:cxnSpLocks/>
          </p:cNvCxnSpPr>
          <p:nvPr/>
        </p:nvCxnSpPr>
        <p:spPr>
          <a:xfrm rot="5400000">
            <a:off x="1588531" y="3308692"/>
            <a:ext cx="0" cy="50761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50FF7621-6211-61D3-1495-B9EBBC9CEB53}"/>
              </a:ext>
            </a:extLst>
          </p:cNvPr>
          <p:cNvCxnSpPr>
            <a:cxnSpLocks/>
          </p:cNvCxnSpPr>
          <p:nvPr/>
        </p:nvCxnSpPr>
        <p:spPr>
          <a:xfrm rot="5400000">
            <a:off x="1601709" y="3354311"/>
            <a:ext cx="0" cy="50761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8D53BE7B-2BB1-2772-251A-28A53171616C}"/>
              </a:ext>
            </a:extLst>
          </p:cNvPr>
          <p:cNvCxnSpPr>
            <a:cxnSpLocks/>
          </p:cNvCxnSpPr>
          <p:nvPr/>
        </p:nvCxnSpPr>
        <p:spPr>
          <a:xfrm rot="10800000">
            <a:off x="1307644" y="2637989"/>
            <a:ext cx="0" cy="5349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649074C6-8CD8-197C-CA1D-2D84AABBB40D}"/>
              </a:ext>
            </a:extLst>
          </p:cNvPr>
          <p:cNvCxnSpPr>
            <a:cxnSpLocks/>
          </p:cNvCxnSpPr>
          <p:nvPr/>
        </p:nvCxnSpPr>
        <p:spPr>
          <a:xfrm rot="10800000">
            <a:off x="1355660" y="2667861"/>
            <a:ext cx="0" cy="5349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D928FBEA-1197-07F9-1863-686D14654EB7}"/>
              </a:ext>
            </a:extLst>
          </p:cNvPr>
          <p:cNvCxnSpPr>
            <a:cxnSpLocks/>
          </p:cNvCxnSpPr>
          <p:nvPr/>
        </p:nvCxnSpPr>
        <p:spPr>
          <a:xfrm>
            <a:off x="2004825" y="3536545"/>
            <a:ext cx="0" cy="5349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73B545E7-2113-35E1-7019-2AA38C8B8538}"/>
              </a:ext>
            </a:extLst>
          </p:cNvPr>
          <p:cNvCxnSpPr>
            <a:cxnSpLocks/>
          </p:cNvCxnSpPr>
          <p:nvPr/>
        </p:nvCxnSpPr>
        <p:spPr>
          <a:xfrm>
            <a:off x="1985600" y="3536545"/>
            <a:ext cx="0" cy="5349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CEEA1880-67F0-E82F-68AF-EA7A8A5B8EF1}"/>
              </a:ext>
            </a:extLst>
          </p:cNvPr>
          <p:cNvCxnSpPr>
            <a:cxnSpLocks/>
          </p:cNvCxnSpPr>
          <p:nvPr/>
        </p:nvCxnSpPr>
        <p:spPr>
          <a:xfrm>
            <a:off x="1935223" y="3536545"/>
            <a:ext cx="0" cy="5349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79C41DC8-8987-408A-A77E-4E3042564D60}"/>
              </a:ext>
            </a:extLst>
          </p:cNvPr>
          <p:cNvCxnSpPr>
            <a:cxnSpLocks/>
          </p:cNvCxnSpPr>
          <p:nvPr/>
        </p:nvCxnSpPr>
        <p:spPr>
          <a:xfrm>
            <a:off x="1899523" y="3516740"/>
            <a:ext cx="0" cy="5349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1D928805-83C2-2A8D-EA10-F54DDFF02EF7}"/>
              </a:ext>
            </a:extLst>
          </p:cNvPr>
          <p:cNvCxnSpPr>
            <a:cxnSpLocks/>
          </p:cNvCxnSpPr>
          <p:nvPr/>
        </p:nvCxnSpPr>
        <p:spPr>
          <a:xfrm>
            <a:off x="1850901" y="3516740"/>
            <a:ext cx="0" cy="5349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6EEC2F2A-03AD-CE77-20B4-1957FC9D75B7}"/>
              </a:ext>
            </a:extLst>
          </p:cNvPr>
          <p:cNvCxnSpPr>
            <a:cxnSpLocks/>
          </p:cNvCxnSpPr>
          <p:nvPr/>
        </p:nvCxnSpPr>
        <p:spPr>
          <a:xfrm>
            <a:off x="1801100" y="3463250"/>
            <a:ext cx="0" cy="5349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E4F555DA-BF5C-DF37-CE49-AF9491C538FA}"/>
              </a:ext>
            </a:extLst>
          </p:cNvPr>
          <p:cNvCxnSpPr>
            <a:cxnSpLocks/>
          </p:cNvCxnSpPr>
          <p:nvPr/>
        </p:nvCxnSpPr>
        <p:spPr>
          <a:xfrm>
            <a:off x="1782143" y="3463250"/>
            <a:ext cx="0" cy="5349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CD06417E-8C4E-D73A-F7DD-880263CA9840}"/>
              </a:ext>
            </a:extLst>
          </p:cNvPr>
          <p:cNvCxnSpPr>
            <a:cxnSpLocks/>
          </p:cNvCxnSpPr>
          <p:nvPr/>
        </p:nvCxnSpPr>
        <p:spPr>
          <a:xfrm>
            <a:off x="1709883" y="3445352"/>
            <a:ext cx="0" cy="5349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F91F6A28-CEE5-0AB6-A454-7265486CABBF}"/>
              </a:ext>
            </a:extLst>
          </p:cNvPr>
          <p:cNvCxnSpPr>
            <a:cxnSpLocks/>
          </p:cNvCxnSpPr>
          <p:nvPr/>
        </p:nvCxnSpPr>
        <p:spPr>
          <a:xfrm>
            <a:off x="1667274" y="3391864"/>
            <a:ext cx="0" cy="5349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96C09834-AB24-ED0E-2557-250BBBCF53AA}"/>
              </a:ext>
            </a:extLst>
          </p:cNvPr>
          <p:cNvCxnSpPr>
            <a:cxnSpLocks/>
          </p:cNvCxnSpPr>
          <p:nvPr/>
        </p:nvCxnSpPr>
        <p:spPr>
          <a:xfrm>
            <a:off x="1651916" y="3391864"/>
            <a:ext cx="0" cy="5349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570A1F0E-C1A4-2820-25AD-39255ED6B369}"/>
              </a:ext>
            </a:extLst>
          </p:cNvPr>
          <p:cNvCxnSpPr>
            <a:cxnSpLocks/>
          </p:cNvCxnSpPr>
          <p:nvPr/>
        </p:nvCxnSpPr>
        <p:spPr>
          <a:xfrm>
            <a:off x="1637686" y="3391864"/>
            <a:ext cx="0" cy="5349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9400532C-BFE3-7070-96E9-46BEAC0C13A4}"/>
              </a:ext>
            </a:extLst>
          </p:cNvPr>
          <p:cNvCxnSpPr>
            <a:cxnSpLocks/>
          </p:cNvCxnSpPr>
          <p:nvPr/>
        </p:nvCxnSpPr>
        <p:spPr>
          <a:xfrm>
            <a:off x="1621479" y="3391864"/>
            <a:ext cx="0" cy="5349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57984F23-48BD-9FD7-79F7-5CC36BC82432}"/>
              </a:ext>
            </a:extLst>
          </p:cNvPr>
          <p:cNvCxnSpPr>
            <a:cxnSpLocks/>
          </p:cNvCxnSpPr>
          <p:nvPr/>
        </p:nvCxnSpPr>
        <p:spPr>
          <a:xfrm>
            <a:off x="1621700" y="3391864"/>
            <a:ext cx="0" cy="5349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Straight Connector 127">
            <a:extLst>
              <a:ext uri="{FF2B5EF4-FFF2-40B4-BE49-F238E27FC236}">
                <a16:creationId xmlns:a16="http://schemas.microsoft.com/office/drawing/2014/main" id="{B7A51A2E-8DB7-30FB-295C-0A9F8E158922}"/>
              </a:ext>
            </a:extLst>
          </p:cNvPr>
          <p:cNvCxnSpPr>
            <a:cxnSpLocks/>
          </p:cNvCxnSpPr>
          <p:nvPr/>
        </p:nvCxnSpPr>
        <p:spPr>
          <a:xfrm rot="5400000">
            <a:off x="1664387" y="3388487"/>
            <a:ext cx="0" cy="50761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9" name="Freeform: Shape 208">
            <a:extLst>
              <a:ext uri="{FF2B5EF4-FFF2-40B4-BE49-F238E27FC236}">
                <a16:creationId xmlns:a16="http://schemas.microsoft.com/office/drawing/2014/main" id="{23C3E03F-E6AB-79E2-507B-4060B2F674AD}"/>
              </a:ext>
            </a:extLst>
          </p:cNvPr>
          <p:cNvSpPr/>
          <p:nvPr/>
        </p:nvSpPr>
        <p:spPr>
          <a:xfrm>
            <a:off x="1307480" y="2663486"/>
            <a:ext cx="4138637" cy="468909"/>
          </a:xfrm>
          <a:custGeom>
            <a:avLst/>
            <a:gdLst>
              <a:gd name="connsiteX0" fmla="*/ 0 w 6027089"/>
              <a:gd name="connsiteY0" fmla="*/ 0 h 648032"/>
              <a:gd name="connsiteX1" fmla="*/ 652007 w 6027089"/>
              <a:gd name="connsiteY1" fmla="*/ 0 h 648032"/>
              <a:gd name="connsiteX2" fmla="*/ 652007 w 6027089"/>
              <a:gd name="connsiteY2" fmla="*/ 87465 h 648032"/>
              <a:gd name="connsiteX3" fmla="*/ 894522 w 6027089"/>
              <a:gd name="connsiteY3" fmla="*/ 87465 h 648032"/>
              <a:gd name="connsiteX4" fmla="*/ 894522 w 6027089"/>
              <a:gd name="connsiteY4" fmla="*/ 178905 h 648032"/>
              <a:gd name="connsiteX5" fmla="*/ 1037645 w 6027089"/>
              <a:gd name="connsiteY5" fmla="*/ 178905 h 648032"/>
              <a:gd name="connsiteX6" fmla="*/ 1037645 w 6027089"/>
              <a:gd name="connsiteY6" fmla="*/ 278296 h 648032"/>
              <a:gd name="connsiteX7" fmla="*/ 1717482 w 6027089"/>
              <a:gd name="connsiteY7" fmla="*/ 278296 h 648032"/>
              <a:gd name="connsiteX8" fmla="*/ 1717482 w 6027089"/>
              <a:gd name="connsiteY8" fmla="*/ 405517 h 648032"/>
              <a:gd name="connsiteX9" fmla="*/ 2134925 w 6027089"/>
              <a:gd name="connsiteY9" fmla="*/ 405517 h 648032"/>
              <a:gd name="connsiteX10" fmla="*/ 2134925 w 6027089"/>
              <a:gd name="connsiteY10" fmla="*/ 524786 h 648032"/>
              <a:gd name="connsiteX11" fmla="*/ 2186609 w 6027089"/>
              <a:gd name="connsiteY11" fmla="*/ 524786 h 648032"/>
              <a:gd name="connsiteX12" fmla="*/ 2186609 w 6027089"/>
              <a:gd name="connsiteY12" fmla="*/ 648032 h 648032"/>
              <a:gd name="connsiteX13" fmla="*/ 6027089 w 6027089"/>
              <a:gd name="connsiteY13" fmla="*/ 648032 h 6480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6027089" h="648032">
                <a:moveTo>
                  <a:pt x="0" y="0"/>
                </a:moveTo>
                <a:lnTo>
                  <a:pt x="652007" y="0"/>
                </a:lnTo>
                <a:lnTo>
                  <a:pt x="652007" y="87465"/>
                </a:lnTo>
                <a:lnTo>
                  <a:pt x="894522" y="87465"/>
                </a:lnTo>
                <a:lnTo>
                  <a:pt x="894522" y="178905"/>
                </a:lnTo>
                <a:lnTo>
                  <a:pt x="1037645" y="178905"/>
                </a:lnTo>
                <a:lnTo>
                  <a:pt x="1037645" y="278296"/>
                </a:lnTo>
                <a:lnTo>
                  <a:pt x="1717482" y="278296"/>
                </a:lnTo>
                <a:lnTo>
                  <a:pt x="1717482" y="405517"/>
                </a:lnTo>
                <a:lnTo>
                  <a:pt x="2134925" y="405517"/>
                </a:lnTo>
                <a:lnTo>
                  <a:pt x="2134925" y="524786"/>
                </a:lnTo>
                <a:lnTo>
                  <a:pt x="2186609" y="524786"/>
                </a:lnTo>
                <a:lnTo>
                  <a:pt x="2186609" y="648032"/>
                </a:lnTo>
                <a:lnTo>
                  <a:pt x="6027089" y="648032"/>
                </a:lnTo>
              </a:path>
            </a:pathLst>
          </a:custGeom>
          <a:noFill/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30" name="Straight Connector 129">
            <a:extLst>
              <a:ext uri="{FF2B5EF4-FFF2-40B4-BE49-F238E27FC236}">
                <a16:creationId xmlns:a16="http://schemas.microsoft.com/office/drawing/2014/main" id="{AC2DCEF5-8D4C-35DC-A9F1-410478E5D254}"/>
              </a:ext>
            </a:extLst>
          </p:cNvPr>
          <p:cNvCxnSpPr>
            <a:cxnSpLocks/>
          </p:cNvCxnSpPr>
          <p:nvPr/>
        </p:nvCxnSpPr>
        <p:spPr>
          <a:xfrm>
            <a:off x="1438906" y="2637571"/>
            <a:ext cx="0" cy="5349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Straight Connector 130">
            <a:extLst>
              <a:ext uri="{FF2B5EF4-FFF2-40B4-BE49-F238E27FC236}">
                <a16:creationId xmlns:a16="http://schemas.microsoft.com/office/drawing/2014/main" id="{5CE07BCD-05AC-6253-4217-B655DFEE750E}"/>
              </a:ext>
            </a:extLst>
          </p:cNvPr>
          <p:cNvCxnSpPr>
            <a:cxnSpLocks/>
          </p:cNvCxnSpPr>
          <p:nvPr/>
        </p:nvCxnSpPr>
        <p:spPr>
          <a:xfrm>
            <a:off x="1567537" y="2637571"/>
            <a:ext cx="0" cy="5349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Straight Connector 131">
            <a:extLst>
              <a:ext uri="{FF2B5EF4-FFF2-40B4-BE49-F238E27FC236}">
                <a16:creationId xmlns:a16="http://schemas.microsoft.com/office/drawing/2014/main" id="{5F6D3D4A-9072-75B3-B6A3-833F7A39542F}"/>
              </a:ext>
            </a:extLst>
          </p:cNvPr>
          <p:cNvCxnSpPr>
            <a:cxnSpLocks/>
          </p:cNvCxnSpPr>
          <p:nvPr/>
        </p:nvCxnSpPr>
        <p:spPr>
          <a:xfrm>
            <a:off x="1569718" y="2637571"/>
            <a:ext cx="0" cy="5349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Straight Connector 132">
            <a:extLst>
              <a:ext uri="{FF2B5EF4-FFF2-40B4-BE49-F238E27FC236}">
                <a16:creationId xmlns:a16="http://schemas.microsoft.com/office/drawing/2014/main" id="{AABBB7C6-445C-6516-FA76-6654C7469FD4}"/>
              </a:ext>
            </a:extLst>
          </p:cNvPr>
          <p:cNvCxnSpPr>
            <a:cxnSpLocks/>
          </p:cNvCxnSpPr>
          <p:nvPr/>
        </p:nvCxnSpPr>
        <p:spPr>
          <a:xfrm>
            <a:off x="1626403" y="2637571"/>
            <a:ext cx="0" cy="5349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Straight Connector 133">
            <a:extLst>
              <a:ext uri="{FF2B5EF4-FFF2-40B4-BE49-F238E27FC236}">
                <a16:creationId xmlns:a16="http://schemas.microsoft.com/office/drawing/2014/main" id="{3F672B88-8322-6BDB-FDED-69AD738BD4C2}"/>
              </a:ext>
            </a:extLst>
          </p:cNvPr>
          <p:cNvCxnSpPr>
            <a:cxnSpLocks/>
          </p:cNvCxnSpPr>
          <p:nvPr/>
        </p:nvCxnSpPr>
        <p:spPr>
          <a:xfrm>
            <a:off x="1589891" y="2637571"/>
            <a:ext cx="0" cy="5349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5" name="Straight Connector 134">
            <a:extLst>
              <a:ext uri="{FF2B5EF4-FFF2-40B4-BE49-F238E27FC236}">
                <a16:creationId xmlns:a16="http://schemas.microsoft.com/office/drawing/2014/main" id="{B9D50200-0D56-DB73-829E-8D75AA258FFA}"/>
              </a:ext>
            </a:extLst>
          </p:cNvPr>
          <p:cNvCxnSpPr>
            <a:cxnSpLocks/>
          </p:cNvCxnSpPr>
          <p:nvPr/>
        </p:nvCxnSpPr>
        <p:spPr>
          <a:xfrm>
            <a:off x="1770652" y="2700706"/>
            <a:ext cx="0" cy="5349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6" name="Straight Connector 135">
            <a:extLst>
              <a:ext uri="{FF2B5EF4-FFF2-40B4-BE49-F238E27FC236}">
                <a16:creationId xmlns:a16="http://schemas.microsoft.com/office/drawing/2014/main" id="{32E95D07-0E36-118A-2D7A-ACD8606B153F}"/>
              </a:ext>
            </a:extLst>
          </p:cNvPr>
          <p:cNvCxnSpPr>
            <a:cxnSpLocks/>
          </p:cNvCxnSpPr>
          <p:nvPr/>
        </p:nvCxnSpPr>
        <p:spPr>
          <a:xfrm>
            <a:off x="1710158" y="2637571"/>
            <a:ext cx="0" cy="5349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7" name="Straight Connector 136">
            <a:extLst>
              <a:ext uri="{FF2B5EF4-FFF2-40B4-BE49-F238E27FC236}">
                <a16:creationId xmlns:a16="http://schemas.microsoft.com/office/drawing/2014/main" id="{3EE08CA2-CAD0-327B-4FFC-54DDF54252DE}"/>
              </a:ext>
            </a:extLst>
          </p:cNvPr>
          <p:cNvCxnSpPr>
            <a:cxnSpLocks/>
          </p:cNvCxnSpPr>
          <p:nvPr/>
        </p:nvCxnSpPr>
        <p:spPr>
          <a:xfrm>
            <a:off x="1796054" y="2700706"/>
            <a:ext cx="0" cy="5349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Straight Connector 137">
            <a:extLst>
              <a:ext uri="{FF2B5EF4-FFF2-40B4-BE49-F238E27FC236}">
                <a16:creationId xmlns:a16="http://schemas.microsoft.com/office/drawing/2014/main" id="{1DF3A765-02DA-CDA5-F258-E687248D8E85}"/>
              </a:ext>
            </a:extLst>
          </p:cNvPr>
          <p:cNvCxnSpPr>
            <a:cxnSpLocks/>
          </p:cNvCxnSpPr>
          <p:nvPr/>
        </p:nvCxnSpPr>
        <p:spPr>
          <a:xfrm>
            <a:off x="1855233" y="2700706"/>
            <a:ext cx="0" cy="5349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9" name="Straight Connector 138">
            <a:extLst>
              <a:ext uri="{FF2B5EF4-FFF2-40B4-BE49-F238E27FC236}">
                <a16:creationId xmlns:a16="http://schemas.microsoft.com/office/drawing/2014/main" id="{FBD3C226-15E5-0513-2C30-8320941E87DB}"/>
              </a:ext>
            </a:extLst>
          </p:cNvPr>
          <p:cNvCxnSpPr>
            <a:cxnSpLocks/>
          </p:cNvCxnSpPr>
          <p:nvPr/>
        </p:nvCxnSpPr>
        <p:spPr>
          <a:xfrm>
            <a:off x="1898836" y="2700706"/>
            <a:ext cx="0" cy="5349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Straight Connector 139">
            <a:extLst>
              <a:ext uri="{FF2B5EF4-FFF2-40B4-BE49-F238E27FC236}">
                <a16:creationId xmlns:a16="http://schemas.microsoft.com/office/drawing/2014/main" id="{ED43F59E-9232-986A-60CC-B3C337A02C29}"/>
              </a:ext>
            </a:extLst>
          </p:cNvPr>
          <p:cNvCxnSpPr>
            <a:cxnSpLocks/>
          </p:cNvCxnSpPr>
          <p:nvPr/>
        </p:nvCxnSpPr>
        <p:spPr>
          <a:xfrm>
            <a:off x="2006577" y="2766995"/>
            <a:ext cx="0" cy="5349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Straight Connector 140">
            <a:extLst>
              <a:ext uri="{FF2B5EF4-FFF2-40B4-BE49-F238E27FC236}">
                <a16:creationId xmlns:a16="http://schemas.microsoft.com/office/drawing/2014/main" id="{EF93007A-C586-4CFD-9413-43026E21D3B6}"/>
              </a:ext>
            </a:extLst>
          </p:cNvPr>
          <p:cNvCxnSpPr>
            <a:cxnSpLocks/>
          </p:cNvCxnSpPr>
          <p:nvPr/>
        </p:nvCxnSpPr>
        <p:spPr>
          <a:xfrm>
            <a:off x="2131742" y="2840266"/>
            <a:ext cx="0" cy="5349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Straight Connector 141">
            <a:extLst>
              <a:ext uri="{FF2B5EF4-FFF2-40B4-BE49-F238E27FC236}">
                <a16:creationId xmlns:a16="http://schemas.microsoft.com/office/drawing/2014/main" id="{82134BC9-DA95-370C-BD21-404B8BF873D7}"/>
              </a:ext>
            </a:extLst>
          </p:cNvPr>
          <p:cNvCxnSpPr>
            <a:cxnSpLocks/>
          </p:cNvCxnSpPr>
          <p:nvPr/>
        </p:nvCxnSpPr>
        <p:spPr>
          <a:xfrm>
            <a:off x="2249510" y="2840266"/>
            <a:ext cx="0" cy="5349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Straight Connector 142">
            <a:extLst>
              <a:ext uri="{FF2B5EF4-FFF2-40B4-BE49-F238E27FC236}">
                <a16:creationId xmlns:a16="http://schemas.microsoft.com/office/drawing/2014/main" id="{59D5628C-878D-9DF6-2635-C90DA7D26506}"/>
              </a:ext>
            </a:extLst>
          </p:cNvPr>
          <p:cNvCxnSpPr>
            <a:cxnSpLocks/>
          </p:cNvCxnSpPr>
          <p:nvPr/>
        </p:nvCxnSpPr>
        <p:spPr>
          <a:xfrm>
            <a:off x="2299654" y="2840266"/>
            <a:ext cx="0" cy="5349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Straight Connector 143">
            <a:extLst>
              <a:ext uri="{FF2B5EF4-FFF2-40B4-BE49-F238E27FC236}">
                <a16:creationId xmlns:a16="http://schemas.microsoft.com/office/drawing/2014/main" id="{B1FAD5D9-2E8E-0352-9157-9388EA604E85}"/>
              </a:ext>
            </a:extLst>
          </p:cNvPr>
          <p:cNvCxnSpPr>
            <a:cxnSpLocks/>
          </p:cNvCxnSpPr>
          <p:nvPr/>
        </p:nvCxnSpPr>
        <p:spPr>
          <a:xfrm>
            <a:off x="3276377" y="3107257"/>
            <a:ext cx="0" cy="5349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5" name="Straight Connector 144">
            <a:extLst>
              <a:ext uri="{FF2B5EF4-FFF2-40B4-BE49-F238E27FC236}">
                <a16:creationId xmlns:a16="http://schemas.microsoft.com/office/drawing/2014/main" id="{412C4E11-C342-ED95-5B1D-05E1C92D428B}"/>
              </a:ext>
            </a:extLst>
          </p:cNvPr>
          <p:cNvCxnSpPr>
            <a:cxnSpLocks/>
          </p:cNvCxnSpPr>
          <p:nvPr/>
        </p:nvCxnSpPr>
        <p:spPr>
          <a:xfrm>
            <a:off x="3294375" y="3107257"/>
            <a:ext cx="0" cy="5349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Straight Connector 145">
            <a:extLst>
              <a:ext uri="{FF2B5EF4-FFF2-40B4-BE49-F238E27FC236}">
                <a16:creationId xmlns:a16="http://schemas.microsoft.com/office/drawing/2014/main" id="{F5DC4472-0693-7FF4-E178-B8F80B4D0C64}"/>
              </a:ext>
            </a:extLst>
          </p:cNvPr>
          <p:cNvCxnSpPr>
            <a:cxnSpLocks/>
          </p:cNvCxnSpPr>
          <p:nvPr/>
        </p:nvCxnSpPr>
        <p:spPr>
          <a:xfrm>
            <a:off x="3349435" y="3107257"/>
            <a:ext cx="0" cy="5349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Straight Connector 146">
            <a:extLst>
              <a:ext uri="{FF2B5EF4-FFF2-40B4-BE49-F238E27FC236}">
                <a16:creationId xmlns:a16="http://schemas.microsoft.com/office/drawing/2014/main" id="{D8EA6AF5-72D9-719E-20FE-A2991459DD79}"/>
              </a:ext>
            </a:extLst>
          </p:cNvPr>
          <p:cNvCxnSpPr>
            <a:cxnSpLocks/>
          </p:cNvCxnSpPr>
          <p:nvPr/>
        </p:nvCxnSpPr>
        <p:spPr>
          <a:xfrm>
            <a:off x="4252008" y="3107257"/>
            <a:ext cx="0" cy="5349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Straight Connector 147">
            <a:extLst>
              <a:ext uri="{FF2B5EF4-FFF2-40B4-BE49-F238E27FC236}">
                <a16:creationId xmlns:a16="http://schemas.microsoft.com/office/drawing/2014/main" id="{2C043FA4-F7C4-95D6-DA88-0F154630850C}"/>
              </a:ext>
            </a:extLst>
          </p:cNvPr>
          <p:cNvCxnSpPr>
            <a:cxnSpLocks/>
          </p:cNvCxnSpPr>
          <p:nvPr/>
        </p:nvCxnSpPr>
        <p:spPr>
          <a:xfrm>
            <a:off x="4297680" y="3107257"/>
            <a:ext cx="0" cy="5349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Straight Connector 148">
            <a:extLst>
              <a:ext uri="{FF2B5EF4-FFF2-40B4-BE49-F238E27FC236}">
                <a16:creationId xmlns:a16="http://schemas.microsoft.com/office/drawing/2014/main" id="{9070EFD3-0A2F-1B3E-62F6-E4068F9CCB5F}"/>
              </a:ext>
            </a:extLst>
          </p:cNvPr>
          <p:cNvCxnSpPr>
            <a:cxnSpLocks/>
          </p:cNvCxnSpPr>
          <p:nvPr/>
        </p:nvCxnSpPr>
        <p:spPr>
          <a:xfrm>
            <a:off x="4370738" y="3107257"/>
            <a:ext cx="0" cy="5349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0" name="Straight Connector 149">
            <a:extLst>
              <a:ext uri="{FF2B5EF4-FFF2-40B4-BE49-F238E27FC236}">
                <a16:creationId xmlns:a16="http://schemas.microsoft.com/office/drawing/2014/main" id="{BD145B0F-4FF0-6E71-5C8F-ADA2994419F6}"/>
              </a:ext>
            </a:extLst>
          </p:cNvPr>
          <p:cNvCxnSpPr>
            <a:cxnSpLocks/>
          </p:cNvCxnSpPr>
          <p:nvPr/>
        </p:nvCxnSpPr>
        <p:spPr>
          <a:xfrm>
            <a:off x="4394371" y="3107257"/>
            <a:ext cx="0" cy="5349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1" name="Straight Connector 150">
            <a:extLst>
              <a:ext uri="{FF2B5EF4-FFF2-40B4-BE49-F238E27FC236}">
                <a16:creationId xmlns:a16="http://schemas.microsoft.com/office/drawing/2014/main" id="{61AE83D8-41FA-96A8-567F-F2816834F2D4}"/>
              </a:ext>
            </a:extLst>
          </p:cNvPr>
          <p:cNvCxnSpPr>
            <a:cxnSpLocks/>
          </p:cNvCxnSpPr>
          <p:nvPr/>
        </p:nvCxnSpPr>
        <p:spPr>
          <a:xfrm>
            <a:off x="4557681" y="3107257"/>
            <a:ext cx="0" cy="5349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Straight Connector 151">
            <a:extLst>
              <a:ext uri="{FF2B5EF4-FFF2-40B4-BE49-F238E27FC236}">
                <a16:creationId xmlns:a16="http://schemas.microsoft.com/office/drawing/2014/main" id="{E57626BE-5936-3C07-8122-F05B2EC21AE6}"/>
              </a:ext>
            </a:extLst>
          </p:cNvPr>
          <p:cNvCxnSpPr>
            <a:cxnSpLocks/>
          </p:cNvCxnSpPr>
          <p:nvPr/>
        </p:nvCxnSpPr>
        <p:spPr>
          <a:xfrm>
            <a:off x="4607200" y="3107257"/>
            <a:ext cx="0" cy="5349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3" name="Straight Connector 152">
            <a:extLst>
              <a:ext uri="{FF2B5EF4-FFF2-40B4-BE49-F238E27FC236}">
                <a16:creationId xmlns:a16="http://schemas.microsoft.com/office/drawing/2014/main" id="{DB84E278-C8A4-4365-7CB7-B11111E57D8C}"/>
              </a:ext>
            </a:extLst>
          </p:cNvPr>
          <p:cNvCxnSpPr>
            <a:cxnSpLocks/>
          </p:cNvCxnSpPr>
          <p:nvPr/>
        </p:nvCxnSpPr>
        <p:spPr>
          <a:xfrm>
            <a:off x="4735365" y="3107257"/>
            <a:ext cx="0" cy="5349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" name="Straight Connector 153">
            <a:extLst>
              <a:ext uri="{FF2B5EF4-FFF2-40B4-BE49-F238E27FC236}">
                <a16:creationId xmlns:a16="http://schemas.microsoft.com/office/drawing/2014/main" id="{3C0AA404-D54B-7121-7B6E-7F1D17338901}"/>
              </a:ext>
            </a:extLst>
          </p:cNvPr>
          <p:cNvCxnSpPr>
            <a:cxnSpLocks/>
          </p:cNvCxnSpPr>
          <p:nvPr/>
        </p:nvCxnSpPr>
        <p:spPr>
          <a:xfrm>
            <a:off x="5187416" y="3107257"/>
            <a:ext cx="0" cy="5349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5" name="Straight Connector 154">
            <a:extLst>
              <a:ext uri="{FF2B5EF4-FFF2-40B4-BE49-F238E27FC236}">
                <a16:creationId xmlns:a16="http://schemas.microsoft.com/office/drawing/2014/main" id="{1A707524-BCE3-C790-A8FB-3E5CEFE05D1F}"/>
              </a:ext>
            </a:extLst>
          </p:cNvPr>
          <p:cNvCxnSpPr>
            <a:cxnSpLocks/>
          </p:cNvCxnSpPr>
          <p:nvPr/>
        </p:nvCxnSpPr>
        <p:spPr>
          <a:xfrm>
            <a:off x="5429834" y="3107257"/>
            <a:ext cx="0" cy="5349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Straight Connector 155">
            <a:extLst>
              <a:ext uri="{FF2B5EF4-FFF2-40B4-BE49-F238E27FC236}">
                <a16:creationId xmlns:a16="http://schemas.microsoft.com/office/drawing/2014/main" id="{E5D44A37-4E7A-011F-388E-B589E79B527E}"/>
              </a:ext>
            </a:extLst>
          </p:cNvPr>
          <p:cNvCxnSpPr>
            <a:cxnSpLocks/>
          </p:cNvCxnSpPr>
          <p:nvPr/>
        </p:nvCxnSpPr>
        <p:spPr>
          <a:xfrm>
            <a:off x="5161431" y="3107257"/>
            <a:ext cx="0" cy="5349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7" name="TextBox 39">
            <a:extLst>
              <a:ext uri="{FF2B5EF4-FFF2-40B4-BE49-F238E27FC236}">
                <a16:creationId xmlns:a16="http://schemas.microsoft.com/office/drawing/2014/main" id="{05FB243E-7A5A-783A-5A3F-9BD80A71DD2F}"/>
              </a:ext>
            </a:extLst>
          </p:cNvPr>
          <p:cNvSpPr txBox="1"/>
          <p:nvPr/>
        </p:nvSpPr>
        <p:spPr>
          <a:xfrm>
            <a:off x="1255306" y="4823143"/>
            <a:ext cx="108564" cy="769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00" b="0" i="0" u="none" strike="noStrike" kern="1200" cap="none" spc="-50" normalizeH="0" baseline="0" noProof="0">
                <a:ln>
                  <a:noFill/>
                </a:ln>
                <a:solidFill>
                  <a:srgbClr val="EB9200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45</a:t>
            </a:r>
          </a:p>
        </p:txBody>
      </p:sp>
      <p:sp>
        <p:nvSpPr>
          <p:cNvPr id="158" name="TextBox 39">
            <a:extLst>
              <a:ext uri="{FF2B5EF4-FFF2-40B4-BE49-F238E27FC236}">
                <a16:creationId xmlns:a16="http://schemas.microsoft.com/office/drawing/2014/main" id="{58A0E924-EB8A-486F-CFA0-2DC2F67FC1FF}"/>
              </a:ext>
            </a:extLst>
          </p:cNvPr>
          <p:cNvSpPr txBox="1"/>
          <p:nvPr/>
        </p:nvSpPr>
        <p:spPr>
          <a:xfrm>
            <a:off x="1358624" y="4823143"/>
            <a:ext cx="108564" cy="769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00" b="0" i="0" u="none" strike="noStrike" kern="1200" cap="none" spc="-50" normalizeH="0" baseline="0" noProof="0">
                <a:ln>
                  <a:noFill/>
                </a:ln>
                <a:solidFill>
                  <a:srgbClr val="EB9200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24</a:t>
            </a:r>
          </a:p>
        </p:txBody>
      </p:sp>
      <p:sp>
        <p:nvSpPr>
          <p:cNvPr id="159" name="TextBox 39">
            <a:extLst>
              <a:ext uri="{FF2B5EF4-FFF2-40B4-BE49-F238E27FC236}">
                <a16:creationId xmlns:a16="http://schemas.microsoft.com/office/drawing/2014/main" id="{536F8EF7-C126-4D54-9B78-410A3DC251F9}"/>
              </a:ext>
            </a:extLst>
          </p:cNvPr>
          <p:cNvSpPr txBox="1"/>
          <p:nvPr/>
        </p:nvSpPr>
        <p:spPr>
          <a:xfrm>
            <a:off x="1461941" y="4823143"/>
            <a:ext cx="108564" cy="769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00" b="0" i="0" u="none" strike="noStrike" kern="1200" cap="none" spc="-50" normalizeH="0" baseline="0" noProof="0">
                <a:ln>
                  <a:noFill/>
                </a:ln>
                <a:solidFill>
                  <a:srgbClr val="EB9200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85</a:t>
            </a:r>
          </a:p>
        </p:txBody>
      </p:sp>
      <p:sp>
        <p:nvSpPr>
          <p:cNvPr id="160" name="TextBox 39">
            <a:extLst>
              <a:ext uri="{FF2B5EF4-FFF2-40B4-BE49-F238E27FC236}">
                <a16:creationId xmlns:a16="http://schemas.microsoft.com/office/drawing/2014/main" id="{CDCB1775-0204-6DF4-828C-402A7750B738}"/>
              </a:ext>
            </a:extLst>
          </p:cNvPr>
          <p:cNvSpPr txBox="1"/>
          <p:nvPr/>
        </p:nvSpPr>
        <p:spPr>
          <a:xfrm>
            <a:off x="1565260" y="4823143"/>
            <a:ext cx="108564" cy="769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00" b="0" i="0" u="none" strike="noStrike" kern="1200" cap="none" spc="-50" normalizeH="0" baseline="0" noProof="0">
                <a:ln>
                  <a:noFill/>
                </a:ln>
                <a:solidFill>
                  <a:srgbClr val="EB9200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56</a:t>
            </a:r>
          </a:p>
        </p:txBody>
      </p:sp>
      <p:sp>
        <p:nvSpPr>
          <p:cNvPr id="161" name="TextBox 39">
            <a:extLst>
              <a:ext uri="{FF2B5EF4-FFF2-40B4-BE49-F238E27FC236}">
                <a16:creationId xmlns:a16="http://schemas.microsoft.com/office/drawing/2014/main" id="{1EB4AB2C-7C6D-267C-E448-8A1D7A74C571}"/>
              </a:ext>
            </a:extLst>
          </p:cNvPr>
          <p:cNvSpPr txBox="1"/>
          <p:nvPr/>
        </p:nvSpPr>
        <p:spPr>
          <a:xfrm>
            <a:off x="1668578" y="4823143"/>
            <a:ext cx="108564" cy="769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00" b="0" i="0" u="none" strike="noStrike" kern="1200" cap="none" spc="-50" normalizeH="0" baseline="0" noProof="0">
                <a:ln>
                  <a:noFill/>
                </a:ln>
                <a:solidFill>
                  <a:srgbClr val="EB9200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46</a:t>
            </a:r>
          </a:p>
        </p:txBody>
      </p:sp>
      <p:sp>
        <p:nvSpPr>
          <p:cNvPr id="162" name="TextBox 39">
            <a:extLst>
              <a:ext uri="{FF2B5EF4-FFF2-40B4-BE49-F238E27FC236}">
                <a16:creationId xmlns:a16="http://schemas.microsoft.com/office/drawing/2014/main" id="{8C79BE89-761B-B595-9955-7F451B774291}"/>
              </a:ext>
            </a:extLst>
          </p:cNvPr>
          <p:cNvSpPr txBox="1"/>
          <p:nvPr/>
        </p:nvSpPr>
        <p:spPr>
          <a:xfrm>
            <a:off x="1771897" y="4823143"/>
            <a:ext cx="108564" cy="769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00" b="0" i="0" u="none" strike="noStrike" kern="1200" cap="none" spc="-50" normalizeH="0" baseline="0" noProof="0">
                <a:ln>
                  <a:noFill/>
                </a:ln>
                <a:solidFill>
                  <a:srgbClr val="EB9200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37</a:t>
            </a:r>
          </a:p>
        </p:txBody>
      </p:sp>
      <p:sp>
        <p:nvSpPr>
          <p:cNvPr id="163" name="TextBox 39">
            <a:extLst>
              <a:ext uri="{FF2B5EF4-FFF2-40B4-BE49-F238E27FC236}">
                <a16:creationId xmlns:a16="http://schemas.microsoft.com/office/drawing/2014/main" id="{ECB3C3FC-558E-2FCD-E766-030CAF607B56}"/>
              </a:ext>
            </a:extLst>
          </p:cNvPr>
          <p:cNvSpPr txBox="1"/>
          <p:nvPr/>
        </p:nvSpPr>
        <p:spPr>
          <a:xfrm>
            <a:off x="1875215" y="4823143"/>
            <a:ext cx="108564" cy="769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00" b="0" i="0" u="none" strike="noStrike" kern="1200" cap="none" spc="-50" normalizeH="0" baseline="0" noProof="0">
                <a:ln>
                  <a:noFill/>
                </a:ln>
                <a:solidFill>
                  <a:srgbClr val="EB9200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34</a:t>
            </a:r>
          </a:p>
        </p:txBody>
      </p:sp>
      <p:sp>
        <p:nvSpPr>
          <p:cNvPr id="640" name="TextBox 39">
            <a:extLst>
              <a:ext uri="{FF2B5EF4-FFF2-40B4-BE49-F238E27FC236}">
                <a16:creationId xmlns:a16="http://schemas.microsoft.com/office/drawing/2014/main" id="{2CA5689E-936E-AD05-5276-32C4979C1B40}"/>
              </a:ext>
            </a:extLst>
          </p:cNvPr>
          <p:cNvSpPr txBox="1"/>
          <p:nvPr/>
        </p:nvSpPr>
        <p:spPr>
          <a:xfrm>
            <a:off x="1978534" y="4823143"/>
            <a:ext cx="108564" cy="769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00" b="0" i="0" u="none" strike="noStrike" kern="1200" cap="none" spc="-50" normalizeH="0" baseline="0" noProof="0">
                <a:ln>
                  <a:noFill/>
                </a:ln>
                <a:solidFill>
                  <a:srgbClr val="EB9200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29</a:t>
            </a:r>
          </a:p>
        </p:txBody>
      </p:sp>
      <p:sp>
        <p:nvSpPr>
          <p:cNvPr id="641" name="TextBox 39">
            <a:extLst>
              <a:ext uri="{FF2B5EF4-FFF2-40B4-BE49-F238E27FC236}">
                <a16:creationId xmlns:a16="http://schemas.microsoft.com/office/drawing/2014/main" id="{5A8AE053-B0C3-189E-C1AD-44AA1E16E971}"/>
              </a:ext>
            </a:extLst>
          </p:cNvPr>
          <p:cNvSpPr txBox="1"/>
          <p:nvPr/>
        </p:nvSpPr>
        <p:spPr>
          <a:xfrm>
            <a:off x="2081852" y="4823143"/>
            <a:ext cx="108564" cy="769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00" b="0" i="0" u="none" strike="noStrike" kern="1200" cap="none" spc="-50" normalizeH="0" baseline="0" noProof="0">
                <a:ln>
                  <a:noFill/>
                </a:ln>
                <a:solidFill>
                  <a:srgbClr val="EB9200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27</a:t>
            </a:r>
          </a:p>
        </p:txBody>
      </p:sp>
      <p:sp>
        <p:nvSpPr>
          <p:cNvPr id="642" name="TextBox 39">
            <a:extLst>
              <a:ext uri="{FF2B5EF4-FFF2-40B4-BE49-F238E27FC236}">
                <a16:creationId xmlns:a16="http://schemas.microsoft.com/office/drawing/2014/main" id="{C95319F2-A680-CC73-37FB-FE7F7B984868}"/>
              </a:ext>
            </a:extLst>
          </p:cNvPr>
          <p:cNvSpPr txBox="1"/>
          <p:nvPr/>
        </p:nvSpPr>
        <p:spPr>
          <a:xfrm>
            <a:off x="2185171" y="4823143"/>
            <a:ext cx="108564" cy="769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00" b="0" i="0" u="none" strike="noStrike" kern="1200" cap="none" spc="-50" normalizeH="0" baseline="0" noProof="0">
                <a:ln>
                  <a:noFill/>
                </a:ln>
                <a:solidFill>
                  <a:srgbClr val="EB9200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24</a:t>
            </a:r>
          </a:p>
        </p:txBody>
      </p:sp>
      <p:sp>
        <p:nvSpPr>
          <p:cNvPr id="643" name="TextBox 39">
            <a:extLst>
              <a:ext uri="{FF2B5EF4-FFF2-40B4-BE49-F238E27FC236}">
                <a16:creationId xmlns:a16="http://schemas.microsoft.com/office/drawing/2014/main" id="{766D4402-8A40-855F-CF87-0520D3DC83A2}"/>
              </a:ext>
            </a:extLst>
          </p:cNvPr>
          <p:cNvSpPr txBox="1"/>
          <p:nvPr/>
        </p:nvSpPr>
        <p:spPr>
          <a:xfrm>
            <a:off x="2288489" y="4823143"/>
            <a:ext cx="108564" cy="769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00" b="0" i="0" u="none" strike="noStrike" kern="1200" cap="none" spc="-50" normalizeH="0" baseline="0" noProof="0">
                <a:ln>
                  <a:noFill/>
                </a:ln>
                <a:solidFill>
                  <a:srgbClr val="EB9200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21</a:t>
            </a:r>
          </a:p>
        </p:txBody>
      </p:sp>
      <p:sp>
        <p:nvSpPr>
          <p:cNvPr id="644" name="TextBox 39">
            <a:extLst>
              <a:ext uri="{FF2B5EF4-FFF2-40B4-BE49-F238E27FC236}">
                <a16:creationId xmlns:a16="http://schemas.microsoft.com/office/drawing/2014/main" id="{A3F56833-0E35-2DD6-E6B4-D8085D7D6ED1}"/>
              </a:ext>
            </a:extLst>
          </p:cNvPr>
          <p:cNvSpPr txBox="1"/>
          <p:nvPr/>
        </p:nvSpPr>
        <p:spPr>
          <a:xfrm>
            <a:off x="2391808" y="4823143"/>
            <a:ext cx="108564" cy="769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00" b="0" i="0" u="none" strike="noStrike" kern="1200" cap="none" spc="-50" normalizeH="0" baseline="0" noProof="0">
                <a:ln>
                  <a:noFill/>
                </a:ln>
                <a:solidFill>
                  <a:srgbClr val="EB9200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20</a:t>
            </a:r>
          </a:p>
        </p:txBody>
      </p:sp>
      <p:sp>
        <p:nvSpPr>
          <p:cNvPr id="645" name="TextBox 39">
            <a:extLst>
              <a:ext uri="{FF2B5EF4-FFF2-40B4-BE49-F238E27FC236}">
                <a16:creationId xmlns:a16="http://schemas.microsoft.com/office/drawing/2014/main" id="{83ED5F03-6076-987E-5B5A-536747A4AB60}"/>
              </a:ext>
            </a:extLst>
          </p:cNvPr>
          <p:cNvSpPr txBox="1"/>
          <p:nvPr/>
        </p:nvSpPr>
        <p:spPr>
          <a:xfrm>
            <a:off x="2495127" y="4823143"/>
            <a:ext cx="108564" cy="769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00" b="0" i="0" u="none" strike="noStrike" kern="1200" cap="none" spc="-50" normalizeH="0" baseline="0" noProof="0">
                <a:ln>
                  <a:noFill/>
                </a:ln>
                <a:solidFill>
                  <a:srgbClr val="EB9200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8</a:t>
            </a:r>
          </a:p>
        </p:txBody>
      </p:sp>
      <p:sp>
        <p:nvSpPr>
          <p:cNvPr id="646" name="TextBox 39">
            <a:extLst>
              <a:ext uri="{FF2B5EF4-FFF2-40B4-BE49-F238E27FC236}">
                <a16:creationId xmlns:a16="http://schemas.microsoft.com/office/drawing/2014/main" id="{D8D0E61A-F87C-AF94-2F94-5B7BAE79EBFF}"/>
              </a:ext>
            </a:extLst>
          </p:cNvPr>
          <p:cNvSpPr txBox="1"/>
          <p:nvPr/>
        </p:nvSpPr>
        <p:spPr>
          <a:xfrm>
            <a:off x="2598444" y="4823143"/>
            <a:ext cx="108564" cy="769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00" b="0" i="0" u="none" strike="noStrike" kern="1200" cap="none" spc="-50" normalizeH="0" baseline="0" noProof="0">
                <a:ln>
                  <a:noFill/>
                </a:ln>
                <a:solidFill>
                  <a:srgbClr val="EB9200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8</a:t>
            </a:r>
          </a:p>
        </p:txBody>
      </p:sp>
      <p:sp>
        <p:nvSpPr>
          <p:cNvPr id="319" name="TextBox 39">
            <a:extLst>
              <a:ext uri="{FF2B5EF4-FFF2-40B4-BE49-F238E27FC236}">
                <a16:creationId xmlns:a16="http://schemas.microsoft.com/office/drawing/2014/main" id="{0FC48D67-67C0-34CA-26DC-6A5E7CFBAF74}"/>
              </a:ext>
            </a:extLst>
          </p:cNvPr>
          <p:cNvSpPr txBox="1"/>
          <p:nvPr/>
        </p:nvSpPr>
        <p:spPr>
          <a:xfrm>
            <a:off x="2701762" y="4823143"/>
            <a:ext cx="108564" cy="769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00" b="0" i="0" u="none" strike="noStrike" kern="1200" cap="none" spc="-50" normalizeH="0" baseline="0" noProof="0">
                <a:ln>
                  <a:noFill/>
                </a:ln>
                <a:solidFill>
                  <a:srgbClr val="EB9200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8</a:t>
            </a:r>
          </a:p>
        </p:txBody>
      </p:sp>
      <p:sp>
        <p:nvSpPr>
          <p:cNvPr id="399" name="TextBox 39">
            <a:extLst>
              <a:ext uri="{FF2B5EF4-FFF2-40B4-BE49-F238E27FC236}">
                <a16:creationId xmlns:a16="http://schemas.microsoft.com/office/drawing/2014/main" id="{B6250E80-BE44-1BF2-9DE0-5C5AA1AF2547}"/>
              </a:ext>
            </a:extLst>
          </p:cNvPr>
          <p:cNvSpPr txBox="1"/>
          <p:nvPr/>
        </p:nvSpPr>
        <p:spPr>
          <a:xfrm>
            <a:off x="2805081" y="4823143"/>
            <a:ext cx="108564" cy="769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00" b="0" i="0" u="none" strike="noStrike" kern="1200" cap="none" spc="-50" normalizeH="0" baseline="0" noProof="0">
                <a:ln>
                  <a:noFill/>
                </a:ln>
                <a:solidFill>
                  <a:srgbClr val="EB9200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6</a:t>
            </a:r>
          </a:p>
        </p:txBody>
      </p:sp>
      <p:sp>
        <p:nvSpPr>
          <p:cNvPr id="400" name="TextBox 39">
            <a:extLst>
              <a:ext uri="{FF2B5EF4-FFF2-40B4-BE49-F238E27FC236}">
                <a16:creationId xmlns:a16="http://schemas.microsoft.com/office/drawing/2014/main" id="{4D108AF5-F0D9-0A31-BE09-878F8E44D5CC}"/>
              </a:ext>
            </a:extLst>
          </p:cNvPr>
          <p:cNvSpPr txBox="1"/>
          <p:nvPr/>
        </p:nvSpPr>
        <p:spPr>
          <a:xfrm>
            <a:off x="2908399" y="4823143"/>
            <a:ext cx="108564" cy="769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00" b="0" i="0" u="none" strike="noStrike" kern="1200" cap="none" spc="-50" normalizeH="0" baseline="0" noProof="0">
                <a:ln>
                  <a:noFill/>
                </a:ln>
                <a:solidFill>
                  <a:srgbClr val="EB9200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5</a:t>
            </a:r>
          </a:p>
        </p:txBody>
      </p:sp>
      <p:sp>
        <p:nvSpPr>
          <p:cNvPr id="401" name="TextBox 39">
            <a:extLst>
              <a:ext uri="{FF2B5EF4-FFF2-40B4-BE49-F238E27FC236}">
                <a16:creationId xmlns:a16="http://schemas.microsoft.com/office/drawing/2014/main" id="{B1E3ADFD-2013-A197-5683-EAC3B58526FE}"/>
              </a:ext>
            </a:extLst>
          </p:cNvPr>
          <p:cNvSpPr txBox="1"/>
          <p:nvPr/>
        </p:nvSpPr>
        <p:spPr>
          <a:xfrm>
            <a:off x="3011718" y="4823143"/>
            <a:ext cx="108564" cy="769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00" b="0" i="0" u="none" strike="noStrike" kern="1200" cap="none" spc="-50" normalizeH="0" baseline="0" noProof="0">
                <a:ln>
                  <a:noFill/>
                </a:ln>
                <a:solidFill>
                  <a:srgbClr val="EB9200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5</a:t>
            </a:r>
          </a:p>
        </p:txBody>
      </p:sp>
      <p:sp>
        <p:nvSpPr>
          <p:cNvPr id="402" name="TextBox 39">
            <a:extLst>
              <a:ext uri="{FF2B5EF4-FFF2-40B4-BE49-F238E27FC236}">
                <a16:creationId xmlns:a16="http://schemas.microsoft.com/office/drawing/2014/main" id="{9B18A92E-E870-8298-481C-84F33302EC70}"/>
              </a:ext>
            </a:extLst>
          </p:cNvPr>
          <p:cNvSpPr txBox="1"/>
          <p:nvPr/>
        </p:nvSpPr>
        <p:spPr>
          <a:xfrm>
            <a:off x="3115036" y="4823143"/>
            <a:ext cx="108564" cy="769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00" b="0" i="0" u="none" strike="noStrike" kern="1200" cap="none" spc="-50" normalizeH="0" baseline="0" noProof="0">
                <a:ln>
                  <a:noFill/>
                </a:ln>
                <a:solidFill>
                  <a:srgbClr val="EB9200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5</a:t>
            </a:r>
          </a:p>
        </p:txBody>
      </p:sp>
      <p:sp>
        <p:nvSpPr>
          <p:cNvPr id="403" name="TextBox 39">
            <a:extLst>
              <a:ext uri="{FF2B5EF4-FFF2-40B4-BE49-F238E27FC236}">
                <a16:creationId xmlns:a16="http://schemas.microsoft.com/office/drawing/2014/main" id="{A00095BB-DAEE-B693-02FB-2265A4A0A26F}"/>
              </a:ext>
            </a:extLst>
          </p:cNvPr>
          <p:cNvSpPr txBox="1"/>
          <p:nvPr/>
        </p:nvSpPr>
        <p:spPr>
          <a:xfrm>
            <a:off x="3218355" y="4823143"/>
            <a:ext cx="108564" cy="769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00" b="0" i="0" u="none" strike="noStrike" kern="1200" cap="none" spc="-50" normalizeH="0" baseline="0" noProof="0">
                <a:ln>
                  <a:noFill/>
                </a:ln>
                <a:solidFill>
                  <a:srgbClr val="EB9200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5</a:t>
            </a:r>
          </a:p>
        </p:txBody>
      </p:sp>
      <p:sp>
        <p:nvSpPr>
          <p:cNvPr id="404" name="TextBox 39">
            <a:extLst>
              <a:ext uri="{FF2B5EF4-FFF2-40B4-BE49-F238E27FC236}">
                <a16:creationId xmlns:a16="http://schemas.microsoft.com/office/drawing/2014/main" id="{4BAA340C-D534-2960-5EFA-719EAE652358}"/>
              </a:ext>
            </a:extLst>
          </p:cNvPr>
          <p:cNvSpPr txBox="1"/>
          <p:nvPr/>
        </p:nvSpPr>
        <p:spPr>
          <a:xfrm>
            <a:off x="3321673" y="4823143"/>
            <a:ext cx="108564" cy="769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00" b="0" i="0" u="none" strike="noStrike" kern="1200" cap="none" spc="-50" normalizeH="0" baseline="0" noProof="0">
                <a:ln>
                  <a:noFill/>
                </a:ln>
                <a:solidFill>
                  <a:srgbClr val="EB9200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1</a:t>
            </a:r>
          </a:p>
        </p:txBody>
      </p:sp>
      <p:sp>
        <p:nvSpPr>
          <p:cNvPr id="405" name="TextBox 39">
            <a:extLst>
              <a:ext uri="{FF2B5EF4-FFF2-40B4-BE49-F238E27FC236}">
                <a16:creationId xmlns:a16="http://schemas.microsoft.com/office/drawing/2014/main" id="{B27EBF5B-8292-59F0-B25C-C874E2582B73}"/>
              </a:ext>
            </a:extLst>
          </p:cNvPr>
          <p:cNvSpPr txBox="1"/>
          <p:nvPr/>
        </p:nvSpPr>
        <p:spPr>
          <a:xfrm>
            <a:off x="3424992" y="4823143"/>
            <a:ext cx="108564" cy="769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00" b="0" i="0" u="none" strike="noStrike" kern="1200" cap="none" spc="-50" normalizeH="0" baseline="0" noProof="0">
                <a:ln>
                  <a:noFill/>
                </a:ln>
                <a:solidFill>
                  <a:srgbClr val="EB9200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1</a:t>
            </a:r>
          </a:p>
        </p:txBody>
      </p:sp>
      <p:sp>
        <p:nvSpPr>
          <p:cNvPr id="406" name="TextBox 39">
            <a:extLst>
              <a:ext uri="{FF2B5EF4-FFF2-40B4-BE49-F238E27FC236}">
                <a16:creationId xmlns:a16="http://schemas.microsoft.com/office/drawing/2014/main" id="{178B35D0-48D2-ADE5-7CB1-F9625E719C68}"/>
              </a:ext>
            </a:extLst>
          </p:cNvPr>
          <p:cNvSpPr txBox="1"/>
          <p:nvPr/>
        </p:nvSpPr>
        <p:spPr>
          <a:xfrm>
            <a:off x="3528311" y="4823143"/>
            <a:ext cx="108564" cy="769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00" b="0" i="0" u="none" strike="noStrike" kern="1200" cap="none" spc="-50" normalizeH="0" baseline="0" noProof="0">
                <a:ln>
                  <a:noFill/>
                </a:ln>
                <a:solidFill>
                  <a:srgbClr val="EB9200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1</a:t>
            </a:r>
          </a:p>
        </p:txBody>
      </p:sp>
      <p:sp>
        <p:nvSpPr>
          <p:cNvPr id="407" name="TextBox 39">
            <a:extLst>
              <a:ext uri="{FF2B5EF4-FFF2-40B4-BE49-F238E27FC236}">
                <a16:creationId xmlns:a16="http://schemas.microsoft.com/office/drawing/2014/main" id="{0224C58F-68EE-1B9C-BBC8-6D91433829C2}"/>
              </a:ext>
            </a:extLst>
          </p:cNvPr>
          <p:cNvSpPr txBox="1"/>
          <p:nvPr/>
        </p:nvSpPr>
        <p:spPr>
          <a:xfrm>
            <a:off x="3631629" y="4823143"/>
            <a:ext cx="108564" cy="769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00" b="0" i="0" u="none" strike="noStrike" kern="1200" cap="none" spc="-50" normalizeH="0" baseline="0" noProof="0">
                <a:ln>
                  <a:noFill/>
                </a:ln>
                <a:solidFill>
                  <a:srgbClr val="EB9200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1</a:t>
            </a:r>
          </a:p>
        </p:txBody>
      </p:sp>
      <p:sp>
        <p:nvSpPr>
          <p:cNvPr id="408" name="TextBox 39">
            <a:extLst>
              <a:ext uri="{FF2B5EF4-FFF2-40B4-BE49-F238E27FC236}">
                <a16:creationId xmlns:a16="http://schemas.microsoft.com/office/drawing/2014/main" id="{84C7A33D-65FE-1EB6-A03E-A26C803138E6}"/>
              </a:ext>
            </a:extLst>
          </p:cNvPr>
          <p:cNvSpPr txBox="1"/>
          <p:nvPr/>
        </p:nvSpPr>
        <p:spPr>
          <a:xfrm>
            <a:off x="3734946" y="4823143"/>
            <a:ext cx="108564" cy="769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00" b="0" i="0" u="none" strike="noStrike" kern="1200" cap="none" spc="-50" normalizeH="0" baseline="0" noProof="0">
                <a:ln>
                  <a:noFill/>
                </a:ln>
                <a:solidFill>
                  <a:srgbClr val="EB9200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1</a:t>
            </a:r>
          </a:p>
        </p:txBody>
      </p:sp>
      <p:sp>
        <p:nvSpPr>
          <p:cNvPr id="409" name="TextBox 39">
            <a:extLst>
              <a:ext uri="{FF2B5EF4-FFF2-40B4-BE49-F238E27FC236}">
                <a16:creationId xmlns:a16="http://schemas.microsoft.com/office/drawing/2014/main" id="{BD98BE7F-0B0B-7EDB-176F-874F5A8BA5E5}"/>
              </a:ext>
            </a:extLst>
          </p:cNvPr>
          <p:cNvSpPr txBox="1"/>
          <p:nvPr/>
        </p:nvSpPr>
        <p:spPr>
          <a:xfrm>
            <a:off x="3838265" y="4823143"/>
            <a:ext cx="108564" cy="769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00" b="0" i="0" u="none" strike="noStrike" kern="1200" cap="none" spc="-50" normalizeH="0" baseline="0" noProof="0">
                <a:ln>
                  <a:noFill/>
                </a:ln>
                <a:solidFill>
                  <a:srgbClr val="EB9200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1</a:t>
            </a:r>
          </a:p>
        </p:txBody>
      </p:sp>
      <p:sp>
        <p:nvSpPr>
          <p:cNvPr id="410" name="TextBox 39">
            <a:extLst>
              <a:ext uri="{FF2B5EF4-FFF2-40B4-BE49-F238E27FC236}">
                <a16:creationId xmlns:a16="http://schemas.microsoft.com/office/drawing/2014/main" id="{74CF040A-1987-4143-AF24-4F1EBD9352FF}"/>
              </a:ext>
            </a:extLst>
          </p:cNvPr>
          <p:cNvSpPr txBox="1"/>
          <p:nvPr/>
        </p:nvSpPr>
        <p:spPr>
          <a:xfrm>
            <a:off x="3941583" y="4823143"/>
            <a:ext cx="108564" cy="769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00" b="0" i="0" u="none" strike="noStrike" kern="1200" cap="none" spc="-50" normalizeH="0" baseline="0" noProof="0">
                <a:ln>
                  <a:noFill/>
                </a:ln>
                <a:solidFill>
                  <a:srgbClr val="EB9200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1</a:t>
            </a:r>
          </a:p>
        </p:txBody>
      </p:sp>
      <p:sp>
        <p:nvSpPr>
          <p:cNvPr id="411" name="TextBox 39">
            <a:extLst>
              <a:ext uri="{FF2B5EF4-FFF2-40B4-BE49-F238E27FC236}">
                <a16:creationId xmlns:a16="http://schemas.microsoft.com/office/drawing/2014/main" id="{7F8625AA-20ED-EC91-0457-BADF28D37066}"/>
              </a:ext>
            </a:extLst>
          </p:cNvPr>
          <p:cNvSpPr txBox="1"/>
          <p:nvPr/>
        </p:nvSpPr>
        <p:spPr>
          <a:xfrm>
            <a:off x="4044902" y="4823143"/>
            <a:ext cx="108564" cy="769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00" b="0" i="0" u="none" strike="noStrike" kern="1200" cap="none" spc="-50" normalizeH="0" baseline="0" noProof="0">
                <a:ln>
                  <a:noFill/>
                </a:ln>
                <a:solidFill>
                  <a:srgbClr val="EB9200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1</a:t>
            </a:r>
          </a:p>
        </p:txBody>
      </p:sp>
      <p:sp>
        <p:nvSpPr>
          <p:cNvPr id="412" name="TextBox 411">
            <a:extLst>
              <a:ext uri="{FF2B5EF4-FFF2-40B4-BE49-F238E27FC236}">
                <a16:creationId xmlns:a16="http://schemas.microsoft.com/office/drawing/2014/main" id="{E9020DE4-8BE7-F5F1-9DEF-BE08BD43647C}"/>
              </a:ext>
            </a:extLst>
          </p:cNvPr>
          <p:cNvSpPr txBox="1"/>
          <p:nvPr/>
        </p:nvSpPr>
        <p:spPr>
          <a:xfrm>
            <a:off x="4148220" y="4823143"/>
            <a:ext cx="108564" cy="769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00" b="0" i="0" u="none" strike="noStrike" kern="1200" cap="none" spc="-50" normalizeH="0" baseline="0" noProof="0">
                <a:ln>
                  <a:noFill/>
                </a:ln>
                <a:solidFill>
                  <a:srgbClr val="EB9200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1</a:t>
            </a:r>
          </a:p>
        </p:txBody>
      </p:sp>
      <p:sp>
        <p:nvSpPr>
          <p:cNvPr id="413" name="TextBox 39">
            <a:extLst>
              <a:ext uri="{FF2B5EF4-FFF2-40B4-BE49-F238E27FC236}">
                <a16:creationId xmlns:a16="http://schemas.microsoft.com/office/drawing/2014/main" id="{1E0D790E-771F-E256-6C1D-2B4FF77FF9F2}"/>
              </a:ext>
            </a:extLst>
          </p:cNvPr>
          <p:cNvSpPr txBox="1"/>
          <p:nvPr/>
        </p:nvSpPr>
        <p:spPr>
          <a:xfrm>
            <a:off x="4251539" y="4823143"/>
            <a:ext cx="108564" cy="769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00" b="0" i="0" u="none" strike="noStrike" kern="1200" cap="none" spc="-50" normalizeH="0" baseline="0" noProof="0">
                <a:ln>
                  <a:noFill/>
                </a:ln>
                <a:solidFill>
                  <a:srgbClr val="EB9200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0</a:t>
            </a:r>
          </a:p>
        </p:txBody>
      </p:sp>
      <p:sp>
        <p:nvSpPr>
          <p:cNvPr id="414" name="TextBox 39">
            <a:extLst>
              <a:ext uri="{FF2B5EF4-FFF2-40B4-BE49-F238E27FC236}">
                <a16:creationId xmlns:a16="http://schemas.microsoft.com/office/drawing/2014/main" id="{77B2A726-4FB3-8488-B21E-CE01473F8E20}"/>
              </a:ext>
            </a:extLst>
          </p:cNvPr>
          <p:cNvSpPr txBox="1"/>
          <p:nvPr/>
        </p:nvSpPr>
        <p:spPr>
          <a:xfrm>
            <a:off x="4354857" y="4823143"/>
            <a:ext cx="108564" cy="769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00" b="0" i="0" u="none" strike="noStrike" kern="1200" cap="none" spc="-50" normalizeH="0" baseline="0" noProof="0">
                <a:ln>
                  <a:noFill/>
                </a:ln>
                <a:solidFill>
                  <a:srgbClr val="EB9200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7</a:t>
            </a:r>
          </a:p>
        </p:txBody>
      </p:sp>
      <p:sp>
        <p:nvSpPr>
          <p:cNvPr id="415" name="TextBox 39">
            <a:extLst>
              <a:ext uri="{FF2B5EF4-FFF2-40B4-BE49-F238E27FC236}">
                <a16:creationId xmlns:a16="http://schemas.microsoft.com/office/drawing/2014/main" id="{D3707F68-29DE-D1C7-96A2-B13462F07675}"/>
              </a:ext>
            </a:extLst>
          </p:cNvPr>
          <p:cNvSpPr txBox="1"/>
          <p:nvPr/>
        </p:nvSpPr>
        <p:spPr>
          <a:xfrm>
            <a:off x="4458176" y="4823143"/>
            <a:ext cx="108564" cy="769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00" b="0" i="0" u="none" strike="noStrike" kern="1200" cap="none" spc="-50" normalizeH="0" baseline="0" noProof="0">
                <a:ln>
                  <a:noFill/>
                </a:ln>
                <a:solidFill>
                  <a:srgbClr val="EB9200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7</a:t>
            </a:r>
          </a:p>
        </p:txBody>
      </p:sp>
      <p:sp>
        <p:nvSpPr>
          <p:cNvPr id="416" name="TextBox 39">
            <a:extLst>
              <a:ext uri="{FF2B5EF4-FFF2-40B4-BE49-F238E27FC236}">
                <a16:creationId xmlns:a16="http://schemas.microsoft.com/office/drawing/2014/main" id="{7A8BD48E-7313-E769-B006-3013F24E6E91}"/>
              </a:ext>
            </a:extLst>
          </p:cNvPr>
          <p:cNvSpPr txBox="1"/>
          <p:nvPr/>
        </p:nvSpPr>
        <p:spPr>
          <a:xfrm>
            <a:off x="4561494" y="4823143"/>
            <a:ext cx="108564" cy="769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00" b="0" i="0" u="none" strike="noStrike" kern="1200" cap="none" spc="-50" normalizeH="0" baseline="0" noProof="0">
                <a:ln>
                  <a:noFill/>
                </a:ln>
                <a:solidFill>
                  <a:srgbClr val="EB9200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4</a:t>
            </a:r>
          </a:p>
        </p:txBody>
      </p:sp>
      <p:sp>
        <p:nvSpPr>
          <p:cNvPr id="417" name="TextBox 39">
            <a:extLst>
              <a:ext uri="{FF2B5EF4-FFF2-40B4-BE49-F238E27FC236}">
                <a16:creationId xmlns:a16="http://schemas.microsoft.com/office/drawing/2014/main" id="{1575DC22-A58D-199D-82C8-18BD8447DB06}"/>
              </a:ext>
            </a:extLst>
          </p:cNvPr>
          <p:cNvSpPr txBox="1"/>
          <p:nvPr/>
        </p:nvSpPr>
        <p:spPr>
          <a:xfrm>
            <a:off x="4664813" y="4823143"/>
            <a:ext cx="108564" cy="769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00" b="0" i="0" u="none" strike="noStrike" kern="1200" cap="none" spc="-50" normalizeH="0" baseline="0" noProof="0">
                <a:ln>
                  <a:noFill/>
                </a:ln>
                <a:solidFill>
                  <a:srgbClr val="EB9200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4</a:t>
            </a:r>
          </a:p>
        </p:txBody>
      </p:sp>
      <p:sp>
        <p:nvSpPr>
          <p:cNvPr id="418" name="TextBox 39">
            <a:extLst>
              <a:ext uri="{FF2B5EF4-FFF2-40B4-BE49-F238E27FC236}">
                <a16:creationId xmlns:a16="http://schemas.microsoft.com/office/drawing/2014/main" id="{2B40734B-3E78-2A85-F78B-7C4017A4F2B0}"/>
              </a:ext>
            </a:extLst>
          </p:cNvPr>
          <p:cNvSpPr txBox="1"/>
          <p:nvPr/>
        </p:nvSpPr>
        <p:spPr>
          <a:xfrm>
            <a:off x="4768132" y="4823143"/>
            <a:ext cx="108564" cy="769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00" b="0" i="0" u="none" strike="noStrike" kern="1200" cap="none" spc="-50" normalizeH="0" baseline="0" noProof="0">
                <a:ln>
                  <a:noFill/>
                </a:ln>
                <a:solidFill>
                  <a:srgbClr val="EB9200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3</a:t>
            </a:r>
          </a:p>
        </p:txBody>
      </p:sp>
      <p:sp>
        <p:nvSpPr>
          <p:cNvPr id="419" name="TextBox 39">
            <a:extLst>
              <a:ext uri="{FF2B5EF4-FFF2-40B4-BE49-F238E27FC236}">
                <a16:creationId xmlns:a16="http://schemas.microsoft.com/office/drawing/2014/main" id="{57914442-7BB0-6BD3-BA9C-2CF378CA6A5C}"/>
              </a:ext>
            </a:extLst>
          </p:cNvPr>
          <p:cNvSpPr txBox="1"/>
          <p:nvPr/>
        </p:nvSpPr>
        <p:spPr>
          <a:xfrm>
            <a:off x="4871449" y="4823143"/>
            <a:ext cx="108564" cy="769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00" b="0" i="0" u="none" strike="noStrike" kern="1200" cap="none" spc="-50" normalizeH="0" baseline="0" noProof="0">
                <a:ln>
                  <a:noFill/>
                </a:ln>
                <a:solidFill>
                  <a:srgbClr val="EB9200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3</a:t>
            </a:r>
          </a:p>
        </p:txBody>
      </p:sp>
      <p:sp>
        <p:nvSpPr>
          <p:cNvPr id="420" name="TextBox 39">
            <a:extLst>
              <a:ext uri="{FF2B5EF4-FFF2-40B4-BE49-F238E27FC236}">
                <a16:creationId xmlns:a16="http://schemas.microsoft.com/office/drawing/2014/main" id="{16EC4D5B-3C18-5921-CAB4-995F4094B4A1}"/>
              </a:ext>
            </a:extLst>
          </p:cNvPr>
          <p:cNvSpPr txBox="1"/>
          <p:nvPr/>
        </p:nvSpPr>
        <p:spPr>
          <a:xfrm>
            <a:off x="4974767" y="4823143"/>
            <a:ext cx="108564" cy="769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00" b="0" i="0" u="none" strike="noStrike" kern="1200" cap="none" spc="-50" normalizeH="0" baseline="0" noProof="0">
                <a:ln>
                  <a:noFill/>
                </a:ln>
                <a:solidFill>
                  <a:srgbClr val="EB9200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3</a:t>
            </a:r>
          </a:p>
        </p:txBody>
      </p:sp>
      <p:sp>
        <p:nvSpPr>
          <p:cNvPr id="421" name="TextBox 39">
            <a:extLst>
              <a:ext uri="{FF2B5EF4-FFF2-40B4-BE49-F238E27FC236}">
                <a16:creationId xmlns:a16="http://schemas.microsoft.com/office/drawing/2014/main" id="{8471C87E-1AD9-3BD8-DF51-EC5CA8F9BE1F}"/>
              </a:ext>
            </a:extLst>
          </p:cNvPr>
          <p:cNvSpPr txBox="1"/>
          <p:nvPr/>
        </p:nvSpPr>
        <p:spPr>
          <a:xfrm>
            <a:off x="5078086" y="4823143"/>
            <a:ext cx="108564" cy="769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00" b="0" i="0" u="none" strike="noStrike" kern="1200" cap="none" spc="-50" normalizeH="0" baseline="0" noProof="0">
                <a:ln>
                  <a:noFill/>
                </a:ln>
                <a:solidFill>
                  <a:srgbClr val="EB9200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3</a:t>
            </a:r>
          </a:p>
        </p:txBody>
      </p:sp>
      <p:sp>
        <p:nvSpPr>
          <p:cNvPr id="422" name="TextBox 39">
            <a:extLst>
              <a:ext uri="{FF2B5EF4-FFF2-40B4-BE49-F238E27FC236}">
                <a16:creationId xmlns:a16="http://schemas.microsoft.com/office/drawing/2014/main" id="{E57A7600-8C16-A26F-7781-2FF522CD9FF4}"/>
              </a:ext>
            </a:extLst>
          </p:cNvPr>
          <p:cNvSpPr txBox="1"/>
          <p:nvPr/>
        </p:nvSpPr>
        <p:spPr>
          <a:xfrm>
            <a:off x="5181404" y="4823143"/>
            <a:ext cx="108564" cy="769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00" b="0" i="0" u="none" strike="noStrike" kern="1200" cap="none" spc="-50" normalizeH="0" baseline="0" noProof="0">
                <a:ln>
                  <a:noFill/>
                </a:ln>
                <a:solidFill>
                  <a:srgbClr val="EB9200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</a:t>
            </a:r>
          </a:p>
        </p:txBody>
      </p:sp>
      <p:sp>
        <p:nvSpPr>
          <p:cNvPr id="423" name="TextBox 39">
            <a:extLst>
              <a:ext uri="{FF2B5EF4-FFF2-40B4-BE49-F238E27FC236}">
                <a16:creationId xmlns:a16="http://schemas.microsoft.com/office/drawing/2014/main" id="{8781CE96-FF89-243B-51AF-0BF6D14104DC}"/>
              </a:ext>
            </a:extLst>
          </p:cNvPr>
          <p:cNvSpPr txBox="1"/>
          <p:nvPr/>
        </p:nvSpPr>
        <p:spPr>
          <a:xfrm>
            <a:off x="5284723" y="4823143"/>
            <a:ext cx="108564" cy="769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00" b="0" i="0" u="none" strike="noStrike" kern="1200" cap="none" spc="-50" normalizeH="0" baseline="0" noProof="0">
                <a:ln>
                  <a:noFill/>
                </a:ln>
                <a:solidFill>
                  <a:srgbClr val="EB9200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</a:t>
            </a:r>
          </a:p>
        </p:txBody>
      </p:sp>
      <p:sp>
        <p:nvSpPr>
          <p:cNvPr id="424" name="TextBox 39">
            <a:extLst>
              <a:ext uri="{FF2B5EF4-FFF2-40B4-BE49-F238E27FC236}">
                <a16:creationId xmlns:a16="http://schemas.microsoft.com/office/drawing/2014/main" id="{C98EF752-DB61-25F6-9962-9DDB67AA0587}"/>
              </a:ext>
            </a:extLst>
          </p:cNvPr>
          <p:cNvSpPr txBox="1"/>
          <p:nvPr/>
        </p:nvSpPr>
        <p:spPr>
          <a:xfrm>
            <a:off x="4458176" y="4921216"/>
            <a:ext cx="108564" cy="769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00" b="0" i="0" u="none" strike="noStrike" kern="1200" cap="none" spc="-50" normalizeH="0" baseline="0" noProof="0">
                <a:ln>
                  <a:noFill/>
                </a:ln>
                <a:solidFill>
                  <a:srgbClr val="2D5E77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7</a:t>
            </a:r>
          </a:p>
        </p:txBody>
      </p:sp>
      <p:sp>
        <p:nvSpPr>
          <p:cNvPr id="425" name="TextBox 39">
            <a:extLst>
              <a:ext uri="{FF2B5EF4-FFF2-40B4-BE49-F238E27FC236}">
                <a16:creationId xmlns:a16="http://schemas.microsoft.com/office/drawing/2014/main" id="{1963BE75-E772-90F0-4D5E-7E5AE5A74801}"/>
              </a:ext>
            </a:extLst>
          </p:cNvPr>
          <p:cNvSpPr txBox="1"/>
          <p:nvPr/>
        </p:nvSpPr>
        <p:spPr>
          <a:xfrm>
            <a:off x="4561494" y="4921216"/>
            <a:ext cx="108564" cy="769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00" b="0" i="0" u="none" strike="noStrike" kern="1200" cap="none" spc="-50" normalizeH="0" baseline="0" noProof="0">
                <a:ln>
                  <a:noFill/>
                </a:ln>
                <a:solidFill>
                  <a:srgbClr val="2D5E77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4</a:t>
            </a:r>
          </a:p>
        </p:txBody>
      </p:sp>
      <p:sp>
        <p:nvSpPr>
          <p:cNvPr id="426" name="TextBox 39">
            <a:extLst>
              <a:ext uri="{FF2B5EF4-FFF2-40B4-BE49-F238E27FC236}">
                <a16:creationId xmlns:a16="http://schemas.microsoft.com/office/drawing/2014/main" id="{C9A43060-4C3B-F025-759C-CEFB9BA99628}"/>
              </a:ext>
            </a:extLst>
          </p:cNvPr>
          <p:cNvSpPr txBox="1"/>
          <p:nvPr/>
        </p:nvSpPr>
        <p:spPr>
          <a:xfrm>
            <a:off x="4664813" y="4921216"/>
            <a:ext cx="108564" cy="769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00" b="0" i="0" u="none" strike="noStrike" kern="1200" cap="none" spc="-50" normalizeH="0" baseline="0" noProof="0">
                <a:ln>
                  <a:noFill/>
                </a:ln>
                <a:solidFill>
                  <a:srgbClr val="2D5E77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4</a:t>
            </a:r>
          </a:p>
        </p:txBody>
      </p:sp>
      <p:sp>
        <p:nvSpPr>
          <p:cNvPr id="427" name="TextBox 39">
            <a:extLst>
              <a:ext uri="{FF2B5EF4-FFF2-40B4-BE49-F238E27FC236}">
                <a16:creationId xmlns:a16="http://schemas.microsoft.com/office/drawing/2014/main" id="{300B758E-C4DC-D692-3329-7E198559CE39}"/>
              </a:ext>
            </a:extLst>
          </p:cNvPr>
          <p:cNvSpPr txBox="1"/>
          <p:nvPr/>
        </p:nvSpPr>
        <p:spPr>
          <a:xfrm>
            <a:off x="4768132" y="4921216"/>
            <a:ext cx="108564" cy="769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00" b="0" i="0" u="none" strike="noStrike" kern="1200" cap="none" spc="-50" normalizeH="0" baseline="0" noProof="0">
                <a:ln>
                  <a:noFill/>
                </a:ln>
                <a:solidFill>
                  <a:srgbClr val="2D5E77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3</a:t>
            </a:r>
          </a:p>
        </p:txBody>
      </p:sp>
      <p:sp>
        <p:nvSpPr>
          <p:cNvPr id="428" name="TextBox 39">
            <a:extLst>
              <a:ext uri="{FF2B5EF4-FFF2-40B4-BE49-F238E27FC236}">
                <a16:creationId xmlns:a16="http://schemas.microsoft.com/office/drawing/2014/main" id="{BDA8ED06-2CA2-4749-2BF2-3A9D49A69DB3}"/>
              </a:ext>
            </a:extLst>
          </p:cNvPr>
          <p:cNvSpPr txBox="1"/>
          <p:nvPr/>
        </p:nvSpPr>
        <p:spPr>
          <a:xfrm>
            <a:off x="4871449" y="4921216"/>
            <a:ext cx="108564" cy="769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00" b="0" i="0" u="none" strike="noStrike" kern="1200" cap="none" spc="-50" normalizeH="0" baseline="0" noProof="0">
                <a:ln>
                  <a:noFill/>
                </a:ln>
                <a:solidFill>
                  <a:srgbClr val="2D5E77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3</a:t>
            </a:r>
          </a:p>
        </p:txBody>
      </p:sp>
      <p:sp>
        <p:nvSpPr>
          <p:cNvPr id="429" name="TextBox 39">
            <a:extLst>
              <a:ext uri="{FF2B5EF4-FFF2-40B4-BE49-F238E27FC236}">
                <a16:creationId xmlns:a16="http://schemas.microsoft.com/office/drawing/2014/main" id="{D990B87A-7077-8804-5D74-C88679AB254E}"/>
              </a:ext>
            </a:extLst>
          </p:cNvPr>
          <p:cNvSpPr txBox="1"/>
          <p:nvPr/>
        </p:nvSpPr>
        <p:spPr>
          <a:xfrm>
            <a:off x="4974767" y="4921216"/>
            <a:ext cx="108564" cy="769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00" b="0" i="0" u="none" strike="noStrike" kern="1200" cap="none" spc="-50" normalizeH="0" baseline="0" noProof="0">
                <a:ln>
                  <a:noFill/>
                </a:ln>
                <a:solidFill>
                  <a:srgbClr val="2D5E77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3</a:t>
            </a:r>
          </a:p>
        </p:txBody>
      </p:sp>
      <p:sp>
        <p:nvSpPr>
          <p:cNvPr id="430" name="TextBox 39">
            <a:extLst>
              <a:ext uri="{FF2B5EF4-FFF2-40B4-BE49-F238E27FC236}">
                <a16:creationId xmlns:a16="http://schemas.microsoft.com/office/drawing/2014/main" id="{D9487640-DAF6-F811-7120-B79EE760EF60}"/>
              </a:ext>
            </a:extLst>
          </p:cNvPr>
          <p:cNvSpPr txBox="1"/>
          <p:nvPr/>
        </p:nvSpPr>
        <p:spPr>
          <a:xfrm>
            <a:off x="5078086" y="4921216"/>
            <a:ext cx="108564" cy="769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00" b="0" i="0" u="none" strike="noStrike" kern="1200" cap="none" spc="-50" normalizeH="0" baseline="0" noProof="0">
                <a:ln>
                  <a:noFill/>
                </a:ln>
                <a:solidFill>
                  <a:srgbClr val="2D5E77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3</a:t>
            </a:r>
          </a:p>
        </p:txBody>
      </p:sp>
      <p:sp>
        <p:nvSpPr>
          <p:cNvPr id="431" name="TextBox 39">
            <a:extLst>
              <a:ext uri="{FF2B5EF4-FFF2-40B4-BE49-F238E27FC236}">
                <a16:creationId xmlns:a16="http://schemas.microsoft.com/office/drawing/2014/main" id="{688943C9-4F8D-BE8B-3CB1-DE0EC0520F73}"/>
              </a:ext>
            </a:extLst>
          </p:cNvPr>
          <p:cNvSpPr txBox="1"/>
          <p:nvPr/>
        </p:nvSpPr>
        <p:spPr>
          <a:xfrm>
            <a:off x="5181404" y="4921216"/>
            <a:ext cx="108564" cy="769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00" b="0" i="0" u="none" strike="noStrike" kern="1200" cap="none" spc="-50" normalizeH="0" baseline="0" noProof="0">
                <a:ln>
                  <a:noFill/>
                </a:ln>
                <a:solidFill>
                  <a:srgbClr val="2D5E77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</a:t>
            </a:r>
          </a:p>
        </p:txBody>
      </p:sp>
      <p:sp>
        <p:nvSpPr>
          <p:cNvPr id="432" name="TextBox 39">
            <a:extLst>
              <a:ext uri="{FF2B5EF4-FFF2-40B4-BE49-F238E27FC236}">
                <a16:creationId xmlns:a16="http://schemas.microsoft.com/office/drawing/2014/main" id="{ED330D60-E63A-7866-9502-9A573C78AFBB}"/>
              </a:ext>
            </a:extLst>
          </p:cNvPr>
          <p:cNvSpPr txBox="1"/>
          <p:nvPr/>
        </p:nvSpPr>
        <p:spPr>
          <a:xfrm>
            <a:off x="5388054" y="4921216"/>
            <a:ext cx="108564" cy="769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00" b="0" i="0" u="none" strike="noStrike" kern="1200" cap="none" spc="-50" normalizeH="0" baseline="0" noProof="0">
                <a:ln>
                  <a:noFill/>
                </a:ln>
                <a:solidFill>
                  <a:srgbClr val="2D5E77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0</a:t>
            </a:r>
          </a:p>
        </p:txBody>
      </p:sp>
      <p:sp>
        <p:nvSpPr>
          <p:cNvPr id="433" name="TextBox 39">
            <a:extLst>
              <a:ext uri="{FF2B5EF4-FFF2-40B4-BE49-F238E27FC236}">
                <a16:creationId xmlns:a16="http://schemas.microsoft.com/office/drawing/2014/main" id="{07E7918F-BC4E-2BBF-76B3-C48BC6CC7B22}"/>
              </a:ext>
            </a:extLst>
          </p:cNvPr>
          <p:cNvSpPr txBox="1"/>
          <p:nvPr/>
        </p:nvSpPr>
        <p:spPr>
          <a:xfrm>
            <a:off x="3218355" y="4921216"/>
            <a:ext cx="108564" cy="769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00" b="0" i="0" u="none" strike="noStrike" kern="1200" cap="none" spc="-50" normalizeH="0" baseline="0" noProof="0">
                <a:ln>
                  <a:noFill/>
                </a:ln>
                <a:solidFill>
                  <a:srgbClr val="2D5E77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4</a:t>
            </a:r>
          </a:p>
        </p:txBody>
      </p:sp>
      <p:sp>
        <p:nvSpPr>
          <p:cNvPr id="434" name="TextBox 39">
            <a:extLst>
              <a:ext uri="{FF2B5EF4-FFF2-40B4-BE49-F238E27FC236}">
                <a16:creationId xmlns:a16="http://schemas.microsoft.com/office/drawing/2014/main" id="{C76C75C9-26A2-3203-6697-CE771FCC2F1C}"/>
              </a:ext>
            </a:extLst>
          </p:cNvPr>
          <p:cNvSpPr txBox="1"/>
          <p:nvPr/>
        </p:nvSpPr>
        <p:spPr>
          <a:xfrm>
            <a:off x="3321673" y="4921216"/>
            <a:ext cx="108564" cy="769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00" b="0" i="0" u="none" strike="noStrike" kern="1200" cap="none" spc="-50" normalizeH="0" baseline="0" noProof="0">
                <a:ln>
                  <a:noFill/>
                </a:ln>
                <a:solidFill>
                  <a:srgbClr val="2D5E77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1</a:t>
            </a:r>
          </a:p>
        </p:txBody>
      </p:sp>
      <p:sp>
        <p:nvSpPr>
          <p:cNvPr id="435" name="TextBox 39">
            <a:extLst>
              <a:ext uri="{FF2B5EF4-FFF2-40B4-BE49-F238E27FC236}">
                <a16:creationId xmlns:a16="http://schemas.microsoft.com/office/drawing/2014/main" id="{AF0C2A1D-2B68-74C7-F049-26E17975E8A6}"/>
              </a:ext>
            </a:extLst>
          </p:cNvPr>
          <p:cNvSpPr txBox="1"/>
          <p:nvPr/>
        </p:nvSpPr>
        <p:spPr>
          <a:xfrm>
            <a:off x="3424992" y="4921216"/>
            <a:ext cx="108564" cy="769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00" b="0" i="0" u="none" strike="noStrike" kern="1200" cap="none" spc="-50" normalizeH="0" baseline="0" noProof="0">
                <a:ln>
                  <a:noFill/>
                </a:ln>
                <a:solidFill>
                  <a:srgbClr val="2D5E77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1</a:t>
            </a:r>
          </a:p>
        </p:txBody>
      </p:sp>
      <p:sp>
        <p:nvSpPr>
          <p:cNvPr id="436" name="TextBox 39">
            <a:extLst>
              <a:ext uri="{FF2B5EF4-FFF2-40B4-BE49-F238E27FC236}">
                <a16:creationId xmlns:a16="http://schemas.microsoft.com/office/drawing/2014/main" id="{163CDB42-FA00-E725-80F5-CFDC559AA2D1}"/>
              </a:ext>
            </a:extLst>
          </p:cNvPr>
          <p:cNvSpPr txBox="1"/>
          <p:nvPr/>
        </p:nvSpPr>
        <p:spPr>
          <a:xfrm>
            <a:off x="3528311" y="4921216"/>
            <a:ext cx="108564" cy="769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00" b="0" i="0" u="none" strike="noStrike" kern="1200" cap="none" spc="-50" normalizeH="0" baseline="0" noProof="0">
                <a:ln>
                  <a:noFill/>
                </a:ln>
                <a:solidFill>
                  <a:srgbClr val="2D5E77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1</a:t>
            </a:r>
          </a:p>
        </p:txBody>
      </p:sp>
      <p:sp>
        <p:nvSpPr>
          <p:cNvPr id="437" name="TextBox 39">
            <a:extLst>
              <a:ext uri="{FF2B5EF4-FFF2-40B4-BE49-F238E27FC236}">
                <a16:creationId xmlns:a16="http://schemas.microsoft.com/office/drawing/2014/main" id="{4D11DF4F-231B-A926-DC97-4A71F175C110}"/>
              </a:ext>
            </a:extLst>
          </p:cNvPr>
          <p:cNvSpPr txBox="1"/>
          <p:nvPr/>
        </p:nvSpPr>
        <p:spPr>
          <a:xfrm>
            <a:off x="3631629" y="4921216"/>
            <a:ext cx="108564" cy="769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00" b="0" i="0" u="none" strike="noStrike" kern="1200" cap="none" spc="-50" normalizeH="0" baseline="0" noProof="0">
                <a:ln>
                  <a:noFill/>
                </a:ln>
                <a:solidFill>
                  <a:srgbClr val="2D5E77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1</a:t>
            </a:r>
          </a:p>
        </p:txBody>
      </p:sp>
      <p:sp>
        <p:nvSpPr>
          <p:cNvPr id="438" name="TextBox 39">
            <a:extLst>
              <a:ext uri="{FF2B5EF4-FFF2-40B4-BE49-F238E27FC236}">
                <a16:creationId xmlns:a16="http://schemas.microsoft.com/office/drawing/2014/main" id="{5B0CC233-DB66-2D27-E8EC-2BBC94D82D37}"/>
              </a:ext>
            </a:extLst>
          </p:cNvPr>
          <p:cNvSpPr txBox="1"/>
          <p:nvPr/>
        </p:nvSpPr>
        <p:spPr>
          <a:xfrm>
            <a:off x="3734946" y="4921216"/>
            <a:ext cx="108564" cy="769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00" b="0" i="0" u="none" strike="noStrike" kern="1200" cap="none" spc="-50" normalizeH="0" baseline="0" noProof="0">
                <a:ln>
                  <a:noFill/>
                </a:ln>
                <a:solidFill>
                  <a:srgbClr val="2D5E77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1</a:t>
            </a:r>
          </a:p>
        </p:txBody>
      </p:sp>
      <p:sp>
        <p:nvSpPr>
          <p:cNvPr id="439" name="TextBox 39">
            <a:extLst>
              <a:ext uri="{FF2B5EF4-FFF2-40B4-BE49-F238E27FC236}">
                <a16:creationId xmlns:a16="http://schemas.microsoft.com/office/drawing/2014/main" id="{6B185E5C-395B-FBED-F292-24131A1DEB6C}"/>
              </a:ext>
            </a:extLst>
          </p:cNvPr>
          <p:cNvSpPr txBox="1"/>
          <p:nvPr/>
        </p:nvSpPr>
        <p:spPr>
          <a:xfrm>
            <a:off x="3838265" y="4921216"/>
            <a:ext cx="108564" cy="769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00" b="0" i="0" u="none" strike="noStrike" kern="1200" cap="none" spc="-50" normalizeH="0" baseline="0" noProof="0">
                <a:ln>
                  <a:noFill/>
                </a:ln>
                <a:solidFill>
                  <a:srgbClr val="2D5E77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1</a:t>
            </a:r>
          </a:p>
        </p:txBody>
      </p:sp>
      <p:sp>
        <p:nvSpPr>
          <p:cNvPr id="440" name="TextBox 39">
            <a:extLst>
              <a:ext uri="{FF2B5EF4-FFF2-40B4-BE49-F238E27FC236}">
                <a16:creationId xmlns:a16="http://schemas.microsoft.com/office/drawing/2014/main" id="{504BAF0B-6605-B28C-A278-16B1183BD052}"/>
              </a:ext>
            </a:extLst>
          </p:cNvPr>
          <p:cNvSpPr txBox="1"/>
          <p:nvPr/>
        </p:nvSpPr>
        <p:spPr>
          <a:xfrm>
            <a:off x="3941583" y="4921216"/>
            <a:ext cx="108564" cy="769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00" b="0" i="0" u="none" strike="noStrike" kern="1200" cap="none" spc="-50" normalizeH="0" baseline="0" noProof="0">
                <a:ln>
                  <a:noFill/>
                </a:ln>
                <a:solidFill>
                  <a:srgbClr val="2D5E77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1</a:t>
            </a:r>
          </a:p>
        </p:txBody>
      </p:sp>
      <p:sp>
        <p:nvSpPr>
          <p:cNvPr id="441" name="TextBox 39">
            <a:extLst>
              <a:ext uri="{FF2B5EF4-FFF2-40B4-BE49-F238E27FC236}">
                <a16:creationId xmlns:a16="http://schemas.microsoft.com/office/drawing/2014/main" id="{7105D889-9351-0BB6-CC84-940B029293FA}"/>
              </a:ext>
            </a:extLst>
          </p:cNvPr>
          <p:cNvSpPr txBox="1"/>
          <p:nvPr/>
        </p:nvSpPr>
        <p:spPr>
          <a:xfrm>
            <a:off x="4044902" y="4921216"/>
            <a:ext cx="108564" cy="769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00" b="0" i="0" u="none" strike="noStrike" kern="1200" cap="none" spc="-50" normalizeH="0" baseline="0" noProof="0">
                <a:ln>
                  <a:noFill/>
                </a:ln>
                <a:solidFill>
                  <a:srgbClr val="2D5E77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1</a:t>
            </a:r>
          </a:p>
        </p:txBody>
      </p:sp>
      <p:sp>
        <p:nvSpPr>
          <p:cNvPr id="442" name="TextBox 39">
            <a:extLst>
              <a:ext uri="{FF2B5EF4-FFF2-40B4-BE49-F238E27FC236}">
                <a16:creationId xmlns:a16="http://schemas.microsoft.com/office/drawing/2014/main" id="{D3F9D3A9-44A7-CD66-F334-BDBAD569A4FB}"/>
              </a:ext>
            </a:extLst>
          </p:cNvPr>
          <p:cNvSpPr txBox="1"/>
          <p:nvPr/>
        </p:nvSpPr>
        <p:spPr>
          <a:xfrm>
            <a:off x="4148220" y="4921216"/>
            <a:ext cx="108564" cy="769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00" b="0" i="0" u="none" strike="noStrike" kern="1200" cap="none" spc="-50" normalizeH="0" baseline="0" noProof="0">
                <a:ln>
                  <a:noFill/>
                </a:ln>
                <a:solidFill>
                  <a:srgbClr val="2D5E77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1</a:t>
            </a:r>
          </a:p>
        </p:txBody>
      </p:sp>
      <p:sp>
        <p:nvSpPr>
          <p:cNvPr id="443" name="TextBox 39">
            <a:extLst>
              <a:ext uri="{FF2B5EF4-FFF2-40B4-BE49-F238E27FC236}">
                <a16:creationId xmlns:a16="http://schemas.microsoft.com/office/drawing/2014/main" id="{6BF6473C-E940-5419-FB92-4F5933E871EC}"/>
              </a:ext>
            </a:extLst>
          </p:cNvPr>
          <p:cNvSpPr txBox="1"/>
          <p:nvPr/>
        </p:nvSpPr>
        <p:spPr>
          <a:xfrm>
            <a:off x="4251539" y="4921216"/>
            <a:ext cx="108564" cy="769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00" b="0" i="0" u="none" strike="noStrike" kern="1200" cap="none" spc="-50" normalizeH="0" baseline="0" noProof="0">
                <a:ln>
                  <a:noFill/>
                </a:ln>
                <a:solidFill>
                  <a:srgbClr val="2D5E77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0</a:t>
            </a:r>
          </a:p>
        </p:txBody>
      </p:sp>
      <p:sp>
        <p:nvSpPr>
          <p:cNvPr id="444" name="TextBox 39">
            <a:extLst>
              <a:ext uri="{FF2B5EF4-FFF2-40B4-BE49-F238E27FC236}">
                <a16:creationId xmlns:a16="http://schemas.microsoft.com/office/drawing/2014/main" id="{561E77C5-2E54-FF0C-10CE-34CC8692F5E8}"/>
              </a:ext>
            </a:extLst>
          </p:cNvPr>
          <p:cNvSpPr txBox="1"/>
          <p:nvPr/>
        </p:nvSpPr>
        <p:spPr>
          <a:xfrm>
            <a:off x="4354857" y="4921216"/>
            <a:ext cx="108564" cy="769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00" b="0" i="0" u="none" strike="noStrike" kern="1200" cap="none" spc="-50" normalizeH="0" baseline="0" noProof="0">
                <a:ln>
                  <a:noFill/>
                </a:ln>
                <a:solidFill>
                  <a:srgbClr val="2D5E77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7</a:t>
            </a:r>
          </a:p>
        </p:txBody>
      </p:sp>
      <p:sp>
        <p:nvSpPr>
          <p:cNvPr id="445" name="TextBox 39">
            <a:extLst>
              <a:ext uri="{FF2B5EF4-FFF2-40B4-BE49-F238E27FC236}">
                <a16:creationId xmlns:a16="http://schemas.microsoft.com/office/drawing/2014/main" id="{8C40615F-A823-F7F7-0E8A-E9626D330317}"/>
              </a:ext>
            </a:extLst>
          </p:cNvPr>
          <p:cNvSpPr txBox="1"/>
          <p:nvPr/>
        </p:nvSpPr>
        <p:spPr>
          <a:xfrm>
            <a:off x="1255306" y="4921216"/>
            <a:ext cx="108564" cy="769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00" b="0" i="0" u="none" strike="noStrike" kern="1200" cap="none" spc="-50" normalizeH="0" baseline="0" noProof="0">
                <a:ln>
                  <a:noFill/>
                </a:ln>
                <a:solidFill>
                  <a:srgbClr val="2D5E77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36</a:t>
            </a:r>
          </a:p>
        </p:txBody>
      </p:sp>
      <p:sp>
        <p:nvSpPr>
          <p:cNvPr id="446" name="TextBox 39">
            <a:extLst>
              <a:ext uri="{FF2B5EF4-FFF2-40B4-BE49-F238E27FC236}">
                <a16:creationId xmlns:a16="http://schemas.microsoft.com/office/drawing/2014/main" id="{D1AE4E2A-C298-D2B3-4A67-A89E63E7F2F2}"/>
              </a:ext>
            </a:extLst>
          </p:cNvPr>
          <p:cNvSpPr txBox="1"/>
          <p:nvPr/>
        </p:nvSpPr>
        <p:spPr>
          <a:xfrm>
            <a:off x="1358624" y="4921216"/>
            <a:ext cx="108564" cy="769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00" b="0" i="0" u="none" strike="noStrike" kern="1200" cap="none" spc="-50" normalizeH="0" baseline="0" noProof="0">
                <a:ln>
                  <a:noFill/>
                </a:ln>
                <a:solidFill>
                  <a:srgbClr val="2D5E77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36</a:t>
            </a:r>
          </a:p>
        </p:txBody>
      </p:sp>
      <p:sp>
        <p:nvSpPr>
          <p:cNvPr id="447" name="TextBox 39">
            <a:extLst>
              <a:ext uri="{FF2B5EF4-FFF2-40B4-BE49-F238E27FC236}">
                <a16:creationId xmlns:a16="http://schemas.microsoft.com/office/drawing/2014/main" id="{A5B05D9F-F86E-2B66-CB4A-D7B44D9DC9F5}"/>
              </a:ext>
            </a:extLst>
          </p:cNvPr>
          <p:cNvSpPr txBox="1"/>
          <p:nvPr/>
        </p:nvSpPr>
        <p:spPr>
          <a:xfrm>
            <a:off x="1461941" y="4921216"/>
            <a:ext cx="108564" cy="769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00" b="0" i="0" u="none" strike="noStrike" kern="1200" cap="none" spc="-50" normalizeH="0" baseline="0" noProof="0">
                <a:ln>
                  <a:noFill/>
                </a:ln>
                <a:solidFill>
                  <a:srgbClr val="2D5E77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35</a:t>
            </a:r>
          </a:p>
        </p:txBody>
      </p:sp>
      <p:sp>
        <p:nvSpPr>
          <p:cNvPr id="884" name="TextBox 39">
            <a:extLst>
              <a:ext uri="{FF2B5EF4-FFF2-40B4-BE49-F238E27FC236}">
                <a16:creationId xmlns:a16="http://schemas.microsoft.com/office/drawing/2014/main" id="{E467378D-16A1-EC50-11C3-73619DAD159C}"/>
              </a:ext>
            </a:extLst>
          </p:cNvPr>
          <p:cNvSpPr txBox="1"/>
          <p:nvPr/>
        </p:nvSpPr>
        <p:spPr>
          <a:xfrm>
            <a:off x="1565260" y="4921216"/>
            <a:ext cx="108564" cy="769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00" b="0" i="0" u="none" strike="noStrike" kern="1200" cap="none" spc="-50" normalizeH="0" baseline="0" noProof="0">
                <a:ln>
                  <a:noFill/>
                </a:ln>
                <a:solidFill>
                  <a:srgbClr val="2D5E77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32</a:t>
            </a:r>
          </a:p>
        </p:txBody>
      </p:sp>
      <p:sp>
        <p:nvSpPr>
          <p:cNvPr id="885" name="TextBox 39">
            <a:extLst>
              <a:ext uri="{FF2B5EF4-FFF2-40B4-BE49-F238E27FC236}">
                <a16:creationId xmlns:a16="http://schemas.microsoft.com/office/drawing/2014/main" id="{50C24314-2D5D-4DA4-2F66-BE7290BCAC7A}"/>
              </a:ext>
            </a:extLst>
          </p:cNvPr>
          <p:cNvSpPr txBox="1"/>
          <p:nvPr/>
        </p:nvSpPr>
        <p:spPr>
          <a:xfrm>
            <a:off x="1668578" y="4921216"/>
            <a:ext cx="108564" cy="769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00" b="0" i="0" u="none" strike="noStrike" kern="1200" cap="none" spc="-50" normalizeH="0" baseline="0" noProof="0">
                <a:ln>
                  <a:noFill/>
                </a:ln>
                <a:solidFill>
                  <a:srgbClr val="2D5E77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31</a:t>
            </a:r>
          </a:p>
        </p:txBody>
      </p:sp>
      <p:sp>
        <p:nvSpPr>
          <p:cNvPr id="890" name="TextBox 39">
            <a:extLst>
              <a:ext uri="{FF2B5EF4-FFF2-40B4-BE49-F238E27FC236}">
                <a16:creationId xmlns:a16="http://schemas.microsoft.com/office/drawing/2014/main" id="{7DB8BFD6-7803-AF09-EC11-927F83A6E403}"/>
              </a:ext>
            </a:extLst>
          </p:cNvPr>
          <p:cNvSpPr txBox="1"/>
          <p:nvPr/>
        </p:nvSpPr>
        <p:spPr>
          <a:xfrm>
            <a:off x="1771897" y="4921216"/>
            <a:ext cx="108564" cy="769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00" b="0" i="0" u="none" strike="noStrike" kern="1200" cap="none" spc="-50" normalizeH="0" baseline="0" noProof="0">
                <a:ln>
                  <a:noFill/>
                </a:ln>
                <a:solidFill>
                  <a:srgbClr val="2D5E77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25</a:t>
            </a:r>
          </a:p>
        </p:txBody>
      </p:sp>
      <p:sp>
        <p:nvSpPr>
          <p:cNvPr id="891" name="TextBox 39">
            <a:extLst>
              <a:ext uri="{FF2B5EF4-FFF2-40B4-BE49-F238E27FC236}">
                <a16:creationId xmlns:a16="http://schemas.microsoft.com/office/drawing/2014/main" id="{7C3406B7-C077-CE33-6DB5-0A7396E3C423}"/>
              </a:ext>
            </a:extLst>
          </p:cNvPr>
          <p:cNvSpPr txBox="1"/>
          <p:nvPr/>
        </p:nvSpPr>
        <p:spPr>
          <a:xfrm>
            <a:off x="1875215" y="4921216"/>
            <a:ext cx="108564" cy="769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00" b="0" i="0" u="none" strike="noStrike" kern="1200" cap="none" spc="-50" normalizeH="0" baseline="0" noProof="0">
                <a:ln>
                  <a:noFill/>
                </a:ln>
                <a:solidFill>
                  <a:srgbClr val="2D5E77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23</a:t>
            </a:r>
          </a:p>
        </p:txBody>
      </p:sp>
      <p:sp>
        <p:nvSpPr>
          <p:cNvPr id="892" name="TextBox 39">
            <a:extLst>
              <a:ext uri="{FF2B5EF4-FFF2-40B4-BE49-F238E27FC236}">
                <a16:creationId xmlns:a16="http://schemas.microsoft.com/office/drawing/2014/main" id="{880CD7D3-E718-E048-2ECA-7EBA7DBBC0C4}"/>
              </a:ext>
            </a:extLst>
          </p:cNvPr>
          <p:cNvSpPr txBox="1"/>
          <p:nvPr/>
        </p:nvSpPr>
        <p:spPr>
          <a:xfrm>
            <a:off x="1978534" y="4921216"/>
            <a:ext cx="108564" cy="769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00" b="0" i="0" u="none" strike="noStrike" kern="1200" cap="none" spc="-50" normalizeH="0" baseline="0" noProof="0">
                <a:ln>
                  <a:noFill/>
                </a:ln>
                <a:solidFill>
                  <a:srgbClr val="2D5E77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20</a:t>
            </a:r>
          </a:p>
        </p:txBody>
      </p:sp>
      <p:sp>
        <p:nvSpPr>
          <p:cNvPr id="893" name="TextBox 39">
            <a:extLst>
              <a:ext uri="{FF2B5EF4-FFF2-40B4-BE49-F238E27FC236}">
                <a16:creationId xmlns:a16="http://schemas.microsoft.com/office/drawing/2014/main" id="{18C7B12E-B92D-E1AE-91C5-53DB46818C6C}"/>
              </a:ext>
            </a:extLst>
          </p:cNvPr>
          <p:cNvSpPr txBox="1"/>
          <p:nvPr/>
        </p:nvSpPr>
        <p:spPr>
          <a:xfrm>
            <a:off x="2081852" y="4921216"/>
            <a:ext cx="108564" cy="769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00" b="0" i="0" u="none" strike="noStrike" kern="1200" cap="none" spc="-50" normalizeH="0" baseline="0" noProof="0">
                <a:ln>
                  <a:noFill/>
                </a:ln>
                <a:solidFill>
                  <a:srgbClr val="2D5E77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20</a:t>
            </a:r>
          </a:p>
        </p:txBody>
      </p:sp>
      <p:sp>
        <p:nvSpPr>
          <p:cNvPr id="894" name="TextBox 39">
            <a:extLst>
              <a:ext uri="{FF2B5EF4-FFF2-40B4-BE49-F238E27FC236}">
                <a16:creationId xmlns:a16="http://schemas.microsoft.com/office/drawing/2014/main" id="{65185610-5DBA-A978-0A61-86FBB145AFDD}"/>
              </a:ext>
            </a:extLst>
          </p:cNvPr>
          <p:cNvSpPr txBox="1"/>
          <p:nvPr/>
        </p:nvSpPr>
        <p:spPr>
          <a:xfrm>
            <a:off x="2185171" y="4921216"/>
            <a:ext cx="108564" cy="769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00" b="0" i="0" u="none" strike="noStrike" kern="1200" cap="none" spc="-50" normalizeH="0" baseline="0" noProof="0">
                <a:ln>
                  <a:noFill/>
                </a:ln>
                <a:solidFill>
                  <a:srgbClr val="2D5E77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9</a:t>
            </a:r>
          </a:p>
        </p:txBody>
      </p:sp>
      <p:sp>
        <p:nvSpPr>
          <p:cNvPr id="895" name="TextBox 39">
            <a:extLst>
              <a:ext uri="{FF2B5EF4-FFF2-40B4-BE49-F238E27FC236}">
                <a16:creationId xmlns:a16="http://schemas.microsoft.com/office/drawing/2014/main" id="{059C64C1-81BF-86D4-240D-2FD62C32171F}"/>
              </a:ext>
            </a:extLst>
          </p:cNvPr>
          <p:cNvSpPr txBox="1"/>
          <p:nvPr/>
        </p:nvSpPr>
        <p:spPr>
          <a:xfrm>
            <a:off x="2288489" y="4921216"/>
            <a:ext cx="108564" cy="769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00" b="0" i="0" u="none" strike="noStrike" kern="1200" cap="none" spc="-50" normalizeH="0" baseline="0" noProof="0">
                <a:ln>
                  <a:noFill/>
                </a:ln>
                <a:solidFill>
                  <a:srgbClr val="2D5E77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7</a:t>
            </a:r>
          </a:p>
        </p:txBody>
      </p:sp>
      <p:sp>
        <p:nvSpPr>
          <p:cNvPr id="896" name="TextBox 39">
            <a:extLst>
              <a:ext uri="{FF2B5EF4-FFF2-40B4-BE49-F238E27FC236}">
                <a16:creationId xmlns:a16="http://schemas.microsoft.com/office/drawing/2014/main" id="{D89DF53D-1A91-503E-9D58-B1AC156BF05E}"/>
              </a:ext>
            </a:extLst>
          </p:cNvPr>
          <p:cNvSpPr txBox="1"/>
          <p:nvPr/>
        </p:nvSpPr>
        <p:spPr>
          <a:xfrm>
            <a:off x="2391808" y="4921216"/>
            <a:ext cx="108564" cy="769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00" b="0" i="0" u="none" strike="noStrike" kern="1200" cap="none" spc="-50" normalizeH="0" baseline="0" noProof="0">
                <a:ln>
                  <a:noFill/>
                </a:ln>
                <a:solidFill>
                  <a:srgbClr val="2D5E77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7</a:t>
            </a:r>
          </a:p>
        </p:txBody>
      </p:sp>
      <p:sp>
        <p:nvSpPr>
          <p:cNvPr id="897" name="TextBox 39">
            <a:extLst>
              <a:ext uri="{FF2B5EF4-FFF2-40B4-BE49-F238E27FC236}">
                <a16:creationId xmlns:a16="http://schemas.microsoft.com/office/drawing/2014/main" id="{4B9E84EF-F0AC-152D-4510-C96C5BB0F74F}"/>
              </a:ext>
            </a:extLst>
          </p:cNvPr>
          <p:cNvSpPr txBox="1"/>
          <p:nvPr/>
        </p:nvSpPr>
        <p:spPr>
          <a:xfrm>
            <a:off x="2495127" y="4921216"/>
            <a:ext cx="108564" cy="769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00" b="0" i="0" u="none" strike="noStrike" kern="1200" cap="none" spc="-50" normalizeH="0" baseline="0" noProof="0">
                <a:ln>
                  <a:noFill/>
                </a:ln>
                <a:solidFill>
                  <a:srgbClr val="2D5E77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6</a:t>
            </a:r>
          </a:p>
        </p:txBody>
      </p:sp>
      <p:sp>
        <p:nvSpPr>
          <p:cNvPr id="898" name="TextBox 39">
            <a:extLst>
              <a:ext uri="{FF2B5EF4-FFF2-40B4-BE49-F238E27FC236}">
                <a16:creationId xmlns:a16="http://schemas.microsoft.com/office/drawing/2014/main" id="{3DCF5B9B-E8D0-0B82-D938-A385D1E617A3}"/>
              </a:ext>
            </a:extLst>
          </p:cNvPr>
          <p:cNvSpPr txBox="1"/>
          <p:nvPr/>
        </p:nvSpPr>
        <p:spPr>
          <a:xfrm>
            <a:off x="2598444" y="4921216"/>
            <a:ext cx="108564" cy="769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00" b="0" i="0" u="none" strike="noStrike" kern="1200" cap="none" spc="-50" normalizeH="0" baseline="0" noProof="0">
                <a:ln>
                  <a:noFill/>
                </a:ln>
                <a:solidFill>
                  <a:srgbClr val="2D5E77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6</a:t>
            </a:r>
          </a:p>
        </p:txBody>
      </p:sp>
      <p:sp>
        <p:nvSpPr>
          <p:cNvPr id="899" name="TextBox 39">
            <a:extLst>
              <a:ext uri="{FF2B5EF4-FFF2-40B4-BE49-F238E27FC236}">
                <a16:creationId xmlns:a16="http://schemas.microsoft.com/office/drawing/2014/main" id="{57B225E0-57B0-D9A6-79AA-A499D89C6802}"/>
              </a:ext>
            </a:extLst>
          </p:cNvPr>
          <p:cNvSpPr txBox="1"/>
          <p:nvPr/>
        </p:nvSpPr>
        <p:spPr>
          <a:xfrm>
            <a:off x="2701762" y="4921216"/>
            <a:ext cx="108564" cy="769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00" b="0" i="0" u="none" strike="noStrike" kern="1200" cap="none" spc="-50" normalizeH="0" baseline="0" noProof="0">
                <a:ln>
                  <a:noFill/>
                </a:ln>
                <a:solidFill>
                  <a:srgbClr val="2D5E77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6</a:t>
            </a:r>
          </a:p>
        </p:txBody>
      </p:sp>
      <p:sp>
        <p:nvSpPr>
          <p:cNvPr id="900" name="TextBox 39">
            <a:extLst>
              <a:ext uri="{FF2B5EF4-FFF2-40B4-BE49-F238E27FC236}">
                <a16:creationId xmlns:a16="http://schemas.microsoft.com/office/drawing/2014/main" id="{F407A886-46F0-8462-F08C-BE447FF3FF5F}"/>
              </a:ext>
            </a:extLst>
          </p:cNvPr>
          <p:cNvSpPr txBox="1"/>
          <p:nvPr/>
        </p:nvSpPr>
        <p:spPr>
          <a:xfrm>
            <a:off x="2805081" y="4921216"/>
            <a:ext cx="108564" cy="769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00" b="0" i="0" u="none" strike="noStrike" kern="1200" cap="none" spc="-50" normalizeH="0" baseline="0" noProof="0">
                <a:ln>
                  <a:noFill/>
                </a:ln>
                <a:solidFill>
                  <a:srgbClr val="2D5E77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4</a:t>
            </a:r>
          </a:p>
        </p:txBody>
      </p:sp>
      <p:sp>
        <p:nvSpPr>
          <p:cNvPr id="901" name="TextBox 39">
            <a:extLst>
              <a:ext uri="{FF2B5EF4-FFF2-40B4-BE49-F238E27FC236}">
                <a16:creationId xmlns:a16="http://schemas.microsoft.com/office/drawing/2014/main" id="{46A54FB1-89B5-7EE8-49EB-6F29F502F2F9}"/>
              </a:ext>
            </a:extLst>
          </p:cNvPr>
          <p:cNvSpPr txBox="1"/>
          <p:nvPr/>
        </p:nvSpPr>
        <p:spPr>
          <a:xfrm>
            <a:off x="2908399" y="4921216"/>
            <a:ext cx="108564" cy="769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00" b="0" i="0" u="none" strike="noStrike" kern="1200" cap="none" spc="-50" normalizeH="0" baseline="0" noProof="0">
                <a:ln>
                  <a:noFill/>
                </a:ln>
                <a:solidFill>
                  <a:srgbClr val="2D5E77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4</a:t>
            </a:r>
          </a:p>
        </p:txBody>
      </p:sp>
      <p:sp>
        <p:nvSpPr>
          <p:cNvPr id="902" name="TextBox 39">
            <a:extLst>
              <a:ext uri="{FF2B5EF4-FFF2-40B4-BE49-F238E27FC236}">
                <a16:creationId xmlns:a16="http://schemas.microsoft.com/office/drawing/2014/main" id="{272AB7C9-596B-B819-551E-F88011C3AF5C}"/>
              </a:ext>
            </a:extLst>
          </p:cNvPr>
          <p:cNvSpPr txBox="1"/>
          <p:nvPr/>
        </p:nvSpPr>
        <p:spPr>
          <a:xfrm>
            <a:off x="3011718" y="4921216"/>
            <a:ext cx="108564" cy="769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00" b="0" i="0" u="none" strike="noStrike" kern="1200" cap="none" spc="-50" normalizeH="0" baseline="0" noProof="0">
                <a:ln>
                  <a:noFill/>
                </a:ln>
                <a:solidFill>
                  <a:srgbClr val="2D5E77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4</a:t>
            </a:r>
          </a:p>
        </p:txBody>
      </p:sp>
      <p:sp>
        <p:nvSpPr>
          <p:cNvPr id="903" name="TextBox 39">
            <a:extLst>
              <a:ext uri="{FF2B5EF4-FFF2-40B4-BE49-F238E27FC236}">
                <a16:creationId xmlns:a16="http://schemas.microsoft.com/office/drawing/2014/main" id="{7CF49BC0-ED52-CC1B-BEA8-E2769DC6F1F0}"/>
              </a:ext>
            </a:extLst>
          </p:cNvPr>
          <p:cNvSpPr txBox="1"/>
          <p:nvPr/>
        </p:nvSpPr>
        <p:spPr>
          <a:xfrm>
            <a:off x="3115036" y="4921216"/>
            <a:ext cx="108564" cy="769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00" b="0" i="0" u="none" strike="noStrike" kern="1200" cap="none" spc="-50" normalizeH="0" baseline="0" noProof="0">
                <a:ln>
                  <a:noFill/>
                </a:ln>
                <a:solidFill>
                  <a:srgbClr val="2D5E77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4</a:t>
            </a:r>
          </a:p>
        </p:txBody>
      </p:sp>
      <p:sp>
        <p:nvSpPr>
          <p:cNvPr id="904" name="TextBox 40">
            <a:extLst>
              <a:ext uri="{FF2B5EF4-FFF2-40B4-BE49-F238E27FC236}">
                <a16:creationId xmlns:a16="http://schemas.microsoft.com/office/drawing/2014/main" id="{9A86F35C-9581-6843-D026-3940CE4475D2}"/>
              </a:ext>
            </a:extLst>
          </p:cNvPr>
          <p:cNvSpPr txBox="1"/>
          <p:nvPr/>
        </p:nvSpPr>
        <p:spPr>
          <a:xfrm>
            <a:off x="497377" y="4674738"/>
            <a:ext cx="616337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Patients at risk</a:t>
            </a:r>
          </a:p>
        </p:txBody>
      </p:sp>
      <p:sp>
        <p:nvSpPr>
          <p:cNvPr id="905" name="TextBox 40">
            <a:extLst>
              <a:ext uri="{FF2B5EF4-FFF2-40B4-BE49-F238E27FC236}">
                <a16:creationId xmlns:a16="http://schemas.microsoft.com/office/drawing/2014/main" id="{49F121E8-36D1-F441-C092-87B3EE17BA85}"/>
              </a:ext>
            </a:extLst>
          </p:cNvPr>
          <p:cNvSpPr txBox="1"/>
          <p:nvPr/>
        </p:nvSpPr>
        <p:spPr>
          <a:xfrm>
            <a:off x="285750" y="4820680"/>
            <a:ext cx="831051" cy="769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All-treated</a:t>
            </a:r>
          </a:p>
        </p:txBody>
      </p:sp>
      <p:sp>
        <p:nvSpPr>
          <p:cNvPr id="906" name="TextBox 27">
            <a:extLst>
              <a:ext uri="{FF2B5EF4-FFF2-40B4-BE49-F238E27FC236}">
                <a16:creationId xmlns:a16="http://schemas.microsoft.com/office/drawing/2014/main" id="{7944124B-0ECF-19B7-BC0D-1D3751856784}"/>
              </a:ext>
            </a:extLst>
          </p:cNvPr>
          <p:cNvSpPr txBox="1"/>
          <p:nvPr/>
        </p:nvSpPr>
        <p:spPr>
          <a:xfrm>
            <a:off x="817665" y="4266532"/>
            <a:ext cx="388302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0.0</a:t>
            </a:r>
          </a:p>
        </p:txBody>
      </p:sp>
      <p:cxnSp>
        <p:nvCxnSpPr>
          <p:cNvPr id="907" name="Straight Connector 906">
            <a:extLst>
              <a:ext uri="{FF2B5EF4-FFF2-40B4-BE49-F238E27FC236}">
                <a16:creationId xmlns:a16="http://schemas.microsoft.com/office/drawing/2014/main" id="{A95F8A51-4B63-AA4E-428B-2305C09B503C}"/>
              </a:ext>
            </a:extLst>
          </p:cNvPr>
          <p:cNvCxnSpPr>
            <a:cxnSpLocks/>
          </p:cNvCxnSpPr>
          <p:nvPr/>
        </p:nvCxnSpPr>
        <p:spPr>
          <a:xfrm>
            <a:off x="1216687" y="4364278"/>
            <a:ext cx="4229429" cy="0"/>
          </a:xfrm>
          <a:prstGeom prst="line">
            <a:avLst/>
          </a:prstGeom>
          <a:noFill/>
          <a:ln w="12700" cap="flat" cmpd="sng" algn="ctr">
            <a:solidFill>
              <a:sysClr val="windowText" lastClr="000000">
                <a:lumMod val="75000"/>
                <a:lumOff val="25000"/>
              </a:sysClr>
            </a:solidFill>
            <a:prstDash val="solid"/>
            <a:miter lim="800000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8" name="Straight Connector 907">
            <a:extLst>
              <a:ext uri="{FF2B5EF4-FFF2-40B4-BE49-F238E27FC236}">
                <a16:creationId xmlns:a16="http://schemas.microsoft.com/office/drawing/2014/main" id="{8DF6471D-EDA5-8A1D-23B0-1F1C4670740D}"/>
              </a:ext>
            </a:extLst>
          </p:cNvPr>
          <p:cNvCxnSpPr>
            <a:cxnSpLocks/>
          </p:cNvCxnSpPr>
          <p:nvPr/>
        </p:nvCxnSpPr>
        <p:spPr>
          <a:xfrm>
            <a:off x="3989022" y="4362836"/>
            <a:ext cx="0" cy="41009"/>
          </a:xfrm>
          <a:prstGeom prst="line">
            <a:avLst/>
          </a:prstGeom>
          <a:noFill/>
          <a:ln w="12700" cap="flat" cmpd="sng" algn="ctr">
            <a:solidFill>
              <a:sysClr val="windowText" lastClr="000000">
                <a:lumMod val="75000"/>
                <a:lumOff val="25000"/>
              </a:sysClr>
            </a:solidFill>
            <a:prstDash val="solid"/>
            <a:miter lim="800000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9" name="Straight Connector 908">
            <a:extLst>
              <a:ext uri="{FF2B5EF4-FFF2-40B4-BE49-F238E27FC236}">
                <a16:creationId xmlns:a16="http://schemas.microsoft.com/office/drawing/2014/main" id="{491E0AB2-207B-0CD3-BB7E-5036D97D98DA}"/>
              </a:ext>
            </a:extLst>
          </p:cNvPr>
          <p:cNvCxnSpPr>
            <a:cxnSpLocks/>
          </p:cNvCxnSpPr>
          <p:nvPr/>
        </p:nvCxnSpPr>
        <p:spPr>
          <a:xfrm>
            <a:off x="3576447" y="4362836"/>
            <a:ext cx="0" cy="41009"/>
          </a:xfrm>
          <a:prstGeom prst="line">
            <a:avLst/>
          </a:prstGeom>
          <a:noFill/>
          <a:ln w="12700" cap="flat" cmpd="sng" algn="ctr">
            <a:solidFill>
              <a:sysClr val="windowText" lastClr="000000">
                <a:lumMod val="75000"/>
                <a:lumOff val="25000"/>
              </a:sysClr>
            </a:solidFill>
            <a:prstDash val="solid"/>
            <a:miter lim="800000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0" name="Straight Connector 909">
            <a:extLst>
              <a:ext uri="{FF2B5EF4-FFF2-40B4-BE49-F238E27FC236}">
                <a16:creationId xmlns:a16="http://schemas.microsoft.com/office/drawing/2014/main" id="{306ACF09-2186-D021-9D7D-BA6C6D18DC91}"/>
              </a:ext>
            </a:extLst>
          </p:cNvPr>
          <p:cNvCxnSpPr>
            <a:cxnSpLocks/>
          </p:cNvCxnSpPr>
          <p:nvPr/>
        </p:nvCxnSpPr>
        <p:spPr>
          <a:xfrm>
            <a:off x="3370158" y="4362836"/>
            <a:ext cx="0" cy="41009"/>
          </a:xfrm>
          <a:prstGeom prst="line">
            <a:avLst/>
          </a:prstGeom>
          <a:noFill/>
          <a:ln w="12700" cap="flat" cmpd="sng" algn="ctr">
            <a:solidFill>
              <a:sysClr val="windowText" lastClr="000000">
                <a:lumMod val="75000"/>
                <a:lumOff val="25000"/>
              </a:sysClr>
            </a:solidFill>
            <a:prstDash val="solid"/>
            <a:miter lim="800000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1" name="Straight Connector 910">
            <a:extLst>
              <a:ext uri="{FF2B5EF4-FFF2-40B4-BE49-F238E27FC236}">
                <a16:creationId xmlns:a16="http://schemas.microsoft.com/office/drawing/2014/main" id="{93A31AF6-5E89-0E71-D490-76355B144648}"/>
              </a:ext>
            </a:extLst>
          </p:cNvPr>
          <p:cNvCxnSpPr>
            <a:cxnSpLocks/>
          </p:cNvCxnSpPr>
          <p:nvPr/>
        </p:nvCxnSpPr>
        <p:spPr>
          <a:xfrm>
            <a:off x="3163870" y="4362836"/>
            <a:ext cx="0" cy="41009"/>
          </a:xfrm>
          <a:prstGeom prst="line">
            <a:avLst/>
          </a:prstGeom>
          <a:noFill/>
          <a:ln w="12700" cap="flat" cmpd="sng" algn="ctr">
            <a:solidFill>
              <a:sysClr val="windowText" lastClr="000000">
                <a:lumMod val="75000"/>
                <a:lumOff val="25000"/>
              </a:sysClr>
            </a:solidFill>
            <a:prstDash val="solid"/>
            <a:miter lim="800000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2" name="Straight Connector 911">
            <a:extLst>
              <a:ext uri="{FF2B5EF4-FFF2-40B4-BE49-F238E27FC236}">
                <a16:creationId xmlns:a16="http://schemas.microsoft.com/office/drawing/2014/main" id="{CEF0F3D6-A1A1-A580-EF45-44B83E41C173}"/>
              </a:ext>
            </a:extLst>
          </p:cNvPr>
          <p:cNvCxnSpPr>
            <a:cxnSpLocks/>
          </p:cNvCxnSpPr>
          <p:nvPr/>
        </p:nvCxnSpPr>
        <p:spPr>
          <a:xfrm>
            <a:off x="2957582" y="4362836"/>
            <a:ext cx="0" cy="41009"/>
          </a:xfrm>
          <a:prstGeom prst="line">
            <a:avLst/>
          </a:prstGeom>
          <a:noFill/>
          <a:ln w="12700" cap="flat" cmpd="sng" algn="ctr">
            <a:solidFill>
              <a:sysClr val="windowText" lastClr="000000">
                <a:lumMod val="75000"/>
                <a:lumOff val="25000"/>
              </a:sysClr>
            </a:solidFill>
            <a:prstDash val="solid"/>
            <a:miter lim="800000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3" name="Straight Connector 912">
            <a:extLst>
              <a:ext uri="{FF2B5EF4-FFF2-40B4-BE49-F238E27FC236}">
                <a16:creationId xmlns:a16="http://schemas.microsoft.com/office/drawing/2014/main" id="{7513EC78-420D-0994-C2BD-691B870469CF}"/>
              </a:ext>
            </a:extLst>
          </p:cNvPr>
          <p:cNvCxnSpPr>
            <a:cxnSpLocks/>
          </p:cNvCxnSpPr>
          <p:nvPr/>
        </p:nvCxnSpPr>
        <p:spPr>
          <a:xfrm>
            <a:off x="2751294" y="4362836"/>
            <a:ext cx="0" cy="41009"/>
          </a:xfrm>
          <a:prstGeom prst="line">
            <a:avLst/>
          </a:prstGeom>
          <a:noFill/>
          <a:ln w="12700" cap="flat" cmpd="sng" algn="ctr">
            <a:solidFill>
              <a:sysClr val="windowText" lastClr="000000">
                <a:lumMod val="75000"/>
                <a:lumOff val="25000"/>
              </a:sysClr>
            </a:solidFill>
            <a:prstDash val="solid"/>
            <a:miter lim="800000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4" name="Straight Connector 913">
            <a:extLst>
              <a:ext uri="{FF2B5EF4-FFF2-40B4-BE49-F238E27FC236}">
                <a16:creationId xmlns:a16="http://schemas.microsoft.com/office/drawing/2014/main" id="{00D90E78-68A7-7AF3-C406-C75E14399359}"/>
              </a:ext>
            </a:extLst>
          </p:cNvPr>
          <p:cNvCxnSpPr>
            <a:cxnSpLocks/>
          </p:cNvCxnSpPr>
          <p:nvPr/>
        </p:nvCxnSpPr>
        <p:spPr>
          <a:xfrm>
            <a:off x="2545006" y="4362836"/>
            <a:ext cx="0" cy="41009"/>
          </a:xfrm>
          <a:prstGeom prst="line">
            <a:avLst/>
          </a:prstGeom>
          <a:noFill/>
          <a:ln w="12700" cap="flat" cmpd="sng" algn="ctr">
            <a:solidFill>
              <a:sysClr val="windowText" lastClr="000000">
                <a:lumMod val="75000"/>
                <a:lumOff val="25000"/>
              </a:sysClr>
            </a:solidFill>
            <a:prstDash val="solid"/>
            <a:miter lim="800000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5" name="Straight Connector 914">
            <a:extLst>
              <a:ext uri="{FF2B5EF4-FFF2-40B4-BE49-F238E27FC236}">
                <a16:creationId xmlns:a16="http://schemas.microsoft.com/office/drawing/2014/main" id="{339F1EC9-6940-61B9-222B-A2F1C425BA74}"/>
              </a:ext>
            </a:extLst>
          </p:cNvPr>
          <p:cNvCxnSpPr>
            <a:cxnSpLocks/>
          </p:cNvCxnSpPr>
          <p:nvPr/>
        </p:nvCxnSpPr>
        <p:spPr>
          <a:xfrm>
            <a:off x="2132429" y="4362836"/>
            <a:ext cx="0" cy="41009"/>
          </a:xfrm>
          <a:prstGeom prst="line">
            <a:avLst/>
          </a:prstGeom>
          <a:noFill/>
          <a:ln w="12700" cap="flat" cmpd="sng" algn="ctr">
            <a:solidFill>
              <a:sysClr val="windowText" lastClr="000000">
                <a:lumMod val="75000"/>
                <a:lumOff val="25000"/>
              </a:sysClr>
            </a:solidFill>
            <a:prstDash val="solid"/>
            <a:miter lim="800000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6" name="Straight Connector 915">
            <a:extLst>
              <a:ext uri="{FF2B5EF4-FFF2-40B4-BE49-F238E27FC236}">
                <a16:creationId xmlns:a16="http://schemas.microsoft.com/office/drawing/2014/main" id="{B9FD6434-8CD0-9F1A-E91B-BE8057B184DB}"/>
              </a:ext>
            </a:extLst>
          </p:cNvPr>
          <p:cNvCxnSpPr>
            <a:cxnSpLocks/>
          </p:cNvCxnSpPr>
          <p:nvPr/>
        </p:nvCxnSpPr>
        <p:spPr>
          <a:xfrm>
            <a:off x="1513565" y="4362836"/>
            <a:ext cx="0" cy="41009"/>
          </a:xfrm>
          <a:prstGeom prst="line">
            <a:avLst/>
          </a:prstGeom>
          <a:noFill/>
          <a:ln w="12700" cap="flat" cmpd="sng" algn="ctr">
            <a:solidFill>
              <a:sysClr val="windowText" lastClr="000000">
                <a:lumMod val="75000"/>
                <a:lumOff val="25000"/>
              </a:sysClr>
            </a:solidFill>
            <a:prstDash val="solid"/>
            <a:miter lim="800000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7" name="Straight Connector 916">
            <a:extLst>
              <a:ext uri="{FF2B5EF4-FFF2-40B4-BE49-F238E27FC236}">
                <a16:creationId xmlns:a16="http://schemas.microsoft.com/office/drawing/2014/main" id="{0B63C827-BED8-59F9-227D-B901166F635E}"/>
              </a:ext>
            </a:extLst>
          </p:cNvPr>
          <p:cNvCxnSpPr>
            <a:cxnSpLocks/>
          </p:cNvCxnSpPr>
          <p:nvPr/>
        </p:nvCxnSpPr>
        <p:spPr>
          <a:xfrm>
            <a:off x="1307277" y="4362836"/>
            <a:ext cx="0" cy="41009"/>
          </a:xfrm>
          <a:prstGeom prst="line">
            <a:avLst/>
          </a:prstGeom>
          <a:noFill/>
          <a:ln w="12700" cap="flat" cmpd="sng" algn="ctr">
            <a:solidFill>
              <a:sysClr val="windowText" lastClr="000000">
                <a:lumMod val="75000"/>
                <a:lumOff val="25000"/>
              </a:sysClr>
            </a:solidFill>
            <a:prstDash val="solid"/>
            <a:miter lim="800000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8" name="TextBox 28">
            <a:extLst>
              <a:ext uri="{FF2B5EF4-FFF2-40B4-BE49-F238E27FC236}">
                <a16:creationId xmlns:a16="http://schemas.microsoft.com/office/drawing/2014/main" id="{69A9A863-5026-1202-FF9B-AEC6F42D42C4}"/>
              </a:ext>
            </a:extLst>
          </p:cNvPr>
          <p:cNvSpPr txBox="1"/>
          <p:nvPr/>
        </p:nvSpPr>
        <p:spPr>
          <a:xfrm>
            <a:off x="3193804" y="4410678"/>
            <a:ext cx="35482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20</a:t>
            </a:r>
          </a:p>
        </p:txBody>
      </p:sp>
      <p:sp>
        <p:nvSpPr>
          <p:cNvPr id="919" name="TextBox 29">
            <a:extLst>
              <a:ext uri="{FF2B5EF4-FFF2-40B4-BE49-F238E27FC236}">
                <a16:creationId xmlns:a16="http://schemas.microsoft.com/office/drawing/2014/main" id="{9662B1BE-FAD9-4445-CC74-2741CCAFCB9C}"/>
              </a:ext>
            </a:extLst>
          </p:cNvPr>
          <p:cNvSpPr txBox="1"/>
          <p:nvPr/>
        </p:nvSpPr>
        <p:spPr>
          <a:xfrm>
            <a:off x="2987642" y="4410678"/>
            <a:ext cx="35482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8</a:t>
            </a:r>
          </a:p>
        </p:txBody>
      </p:sp>
      <p:sp>
        <p:nvSpPr>
          <p:cNvPr id="920" name="TextBox 31">
            <a:extLst>
              <a:ext uri="{FF2B5EF4-FFF2-40B4-BE49-F238E27FC236}">
                <a16:creationId xmlns:a16="http://schemas.microsoft.com/office/drawing/2014/main" id="{2F85AB18-2997-EC93-E932-3CC43F82203C}"/>
              </a:ext>
            </a:extLst>
          </p:cNvPr>
          <p:cNvSpPr txBox="1"/>
          <p:nvPr/>
        </p:nvSpPr>
        <p:spPr>
          <a:xfrm>
            <a:off x="2781478" y="4410678"/>
            <a:ext cx="35482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6</a:t>
            </a:r>
          </a:p>
        </p:txBody>
      </p:sp>
      <p:sp>
        <p:nvSpPr>
          <p:cNvPr id="921" name="TextBox 32">
            <a:extLst>
              <a:ext uri="{FF2B5EF4-FFF2-40B4-BE49-F238E27FC236}">
                <a16:creationId xmlns:a16="http://schemas.microsoft.com/office/drawing/2014/main" id="{5071EFEA-09CA-4679-28E8-C1CB86143567}"/>
              </a:ext>
            </a:extLst>
          </p:cNvPr>
          <p:cNvSpPr txBox="1"/>
          <p:nvPr/>
        </p:nvSpPr>
        <p:spPr>
          <a:xfrm>
            <a:off x="2575316" y="4410678"/>
            <a:ext cx="35482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4</a:t>
            </a:r>
          </a:p>
        </p:txBody>
      </p:sp>
      <p:sp>
        <p:nvSpPr>
          <p:cNvPr id="922" name="TextBox 33">
            <a:extLst>
              <a:ext uri="{FF2B5EF4-FFF2-40B4-BE49-F238E27FC236}">
                <a16:creationId xmlns:a16="http://schemas.microsoft.com/office/drawing/2014/main" id="{DAFB6ED1-B4E1-4C01-DA67-82A8C00DB8F1}"/>
              </a:ext>
            </a:extLst>
          </p:cNvPr>
          <p:cNvSpPr txBox="1"/>
          <p:nvPr/>
        </p:nvSpPr>
        <p:spPr>
          <a:xfrm>
            <a:off x="2369152" y="4410678"/>
            <a:ext cx="35482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2</a:t>
            </a:r>
          </a:p>
        </p:txBody>
      </p:sp>
      <p:sp>
        <p:nvSpPr>
          <p:cNvPr id="923" name="TextBox 34">
            <a:extLst>
              <a:ext uri="{FF2B5EF4-FFF2-40B4-BE49-F238E27FC236}">
                <a16:creationId xmlns:a16="http://schemas.microsoft.com/office/drawing/2014/main" id="{921BC0C7-57B3-A866-3B17-7BC2B9B116FA}"/>
              </a:ext>
            </a:extLst>
          </p:cNvPr>
          <p:cNvSpPr txBox="1"/>
          <p:nvPr/>
        </p:nvSpPr>
        <p:spPr>
          <a:xfrm>
            <a:off x="2162989" y="4410678"/>
            <a:ext cx="35482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0</a:t>
            </a:r>
          </a:p>
        </p:txBody>
      </p:sp>
      <p:sp>
        <p:nvSpPr>
          <p:cNvPr id="924" name="TextBox 35">
            <a:extLst>
              <a:ext uri="{FF2B5EF4-FFF2-40B4-BE49-F238E27FC236}">
                <a16:creationId xmlns:a16="http://schemas.microsoft.com/office/drawing/2014/main" id="{35B6DABD-A90E-A2F1-5126-584E9237229E}"/>
              </a:ext>
            </a:extLst>
          </p:cNvPr>
          <p:cNvSpPr txBox="1"/>
          <p:nvPr/>
        </p:nvSpPr>
        <p:spPr>
          <a:xfrm>
            <a:off x="1956826" y="4410678"/>
            <a:ext cx="35482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8</a:t>
            </a:r>
          </a:p>
        </p:txBody>
      </p:sp>
      <p:sp>
        <p:nvSpPr>
          <p:cNvPr id="925" name="TextBox 36">
            <a:extLst>
              <a:ext uri="{FF2B5EF4-FFF2-40B4-BE49-F238E27FC236}">
                <a16:creationId xmlns:a16="http://schemas.microsoft.com/office/drawing/2014/main" id="{E7A9D4CE-0087-9819-5642-9799B0E630D0}"/>
              </a:ext>
            </a:extLst>
          </p:cNvPr>
          <p:cNvSpPr txBox="1"/>
          <p:nvPr/>
        </p:nvSpPr>
        <p:spPr>
          <a:xfrm>
            <a:off x="1750663" y="4410678"/>
            <a:ext cx="35482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6</a:t>
            </a:r>
          </a:p>
        </p:txBody>
      </p:sp>
      <p:sp>
        <p:nvSpPr>
          <p:cNvPr id="926" name="TextBox 37">
            <a:extLst>
              <a:ext uri="{FF2B5EF4-FFF2-40B4-BE49-F238E27FC236}">
                <a16:creationId xmlns:a16="http://schemas.microsoft.com/office/drawing/2014/main" id="{0E88D29B-7042-2C14-577A-DC38BCDBCF6E}"/>
              </a:ext>
            </a:extLst>
          </p:cNvPr>
          <p:cNvSpPr txBox="1"/>
          <p:nvPr/>
        </p:nvSpPr>
        <p:spPr>
          <a:xfrm>
            <a:off x="1544499" y="4410678"/>
            <a:ext cx="35482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4</a:t>
            </a:r>
          </a:p>
        </p:txBody>
      </p:sp>
      <p:sp>
        <p:nvSpPr>
          <p:cNvPr id="927" name="TextBox 38">
            <a:extLst>
              <a:ext uri="{FF2B5EF4-FFF2-40B4-BE49-F238E27FC236}">
                <a16:creationId xmlns:a16="http://schemas.microsoft.com/office/drawing/2014/main" id="{FDE21278-BCB5-FF0D-CD0C-CC66943D5FD8}"/>
              </a:ext>
            </a:extLst>
          </p:cNvPr>
          <p:cNvSpPr txBox="1"/>
          <p:nvPr/>
        </p:nvSpPr>
        <p:spPr>
          <a:xfrm>
            <a:off x="1338337" y="4410678"/>
            <a:ext cx="35482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2</a:t>
            </a:r>
          </a:p>
        </p:txBody>
      </p:sp>
      <p:sp>
        <p:nvSpPr>
          <p:cNvPr id="928" name="TextBox 40">
            <a:extLst>
              <a:ext uri="{FF2B5EF4-FFF2-40B4-BE49-F238E27FC236}">
                <a16:creationId xmlns:a16="http://schemas.microsoft.com/office/drawing/2014/main" id="{0D55C55D-3235-DBA4-C89F-22E406EECC4C}"/>
              </a:ext>
            </a:extLst>
          </p:cNvPr>
          <p:cNvSpPr txBox="1"/>
          <p:nvPr/>
        </p:nvSpPr>
        <p:spPr>
          <a:xfrm>
            <a:off x="2628327" y="4557920"/>
            <a:ext cx="1556307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Time (months)</a:t>
            </a:r>
          </a:p>
        </p:txBody>
      </p:sp>
      <p:cxnSp>
        <p:nvCxnSpPr>
          <p:cNvPr id="929" name="Straight Connector 928">
            <a:extLst>
              <a:ext uri="{FF2B5EF4-FFF2-40B4-BE49-F238E27FC236}">
                <a16:creationId xmlns:a16="http://schemas.microsoft.com/office/drawing/2014/main" id="{957B87F5-3821-DE30-FA94-564CA1476ED7}"/>
              </a:ext>
            </a:extLst>
          </p:cNvPr>
          <p:cNvCxnSpPr>
            <a:cxnSpLocks/>
          </p:cNvCxnSpPr>
          <p:nvPr/>
        </p:nvCxnSpPr>
        <p:spPr>
          <a:xfrm>
            <a:off x="1216687" y="2665993"/>
            <a:ext cx="0" cy="1732880"/>
          </a:xfrm>
          <a:prstGeom prst="line">
            <a:avLst/>
          </a:prstGeom>
          <a:noFill/>
          <a:ln w="12700" cap="flat" cmpd="sng" algn="ctr">
            <a:solidFill>
              <a:sysClr val="windowText" lastClr="000000">
                <a:lumMod val="75000"/>
                <a:lumOff val="25000"/>
              </a:sysClr>
            </a:solidFill>
            <a:prstDash val="solid"/>
            <a:miter lim="800000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0" name="Straight Connector 929">
            <a:extLst>
              <a:ext uri="{FF2B5EF4-FFF2-40B4-BE49-F238E27FC236}">
                <a16:creationId xmlns:a16="http://schemas.microsoft.com/office/drawing/2014/main" id="{E93B8886-B87C-749D-C10B-56E6C2118F73}"/>
              </a:ext>
            </a:extLst>
          </p:cNvPr>
          <p:cNvCxnSpPr>
            <a:cxnSpLocks/>
          </p:cNvCxnSpPr>
          <p:nvPr/>
        </p:nvCxnSpPr>
        <p:spPr>
          <a:xfrm>
            <a:off x="1166260" y="2670773"/>
            <a:ext cx="50428" cy="0"/>
          </a:xfrm>
          <a:prstGeom prst="line">
            <a:avLst/>
          </a:prstGeom>
          <a:noFill/>
          <a:ln w="12700" cap="flat" cmpd="sng" algn="ctr">
            <a:solidFill>
              <a:sysClr val="windowText" lastClr="000000">
                <a:lumMod val="75000"/>
                <a:lumOff val="25000"/>
              </a:sysClr>
            </a:solidFill>
            <a:prstDash val="solid"/>
            <a:miter lim="800000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1" name="Straight Connector 930">
            <a:extLst>
              <a:ext uri="{FF2B5EF4-FFF2-40B4-BE49-F238E27FC236}">
                <a16:creationId xmlns:a16="http://schemas.microsoft.com/office/drawing/2014/main" id="{646E88F9-F0B2-95B9-CC88-C827C84B4441}"/>
              </a:ext>
            </a:extLst>
          </p:cNvPr>
          <p:cNvCxnSpPr>
            <a:cxnSpLocks/>
          </p:cNvCxnSpPr>
          <p:nvPr/>
        </p:nvCxnSpPr>
        <p:spPr>
          <a:xfrm>
            <a:off x="1166260" y="3007037"/>
            <a:ext cx="50428" cy="0"/>
          </a:xfrm>
          <a:prstGeom prst="line">
            <a:avLst/>
          </a:prstGeom>
          <a:noFill/>
          <a:ln w="12700" cap="flat" cmpd="sng" algn="ctr">
            <a:solidFill>
              <a:sysClr val="windowText" lastClr="000000">
                <a:lumMod val="75000"/>
                <a:lumOff val="25000"/>
              </a:sysClr>
            </a:solidFill>
            <a:prstDash val="solid"/>
            <a:miter lim="800000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2" name="Straight Connector 931">
            <a:extLst>
              <a:ext uri="{FF2B5EF4-FFF2-40B4-BE49-F238E27FC236}">
                <a16:creationId xmlns:a16="http://schemas.microsoft.com/office/drawing/2014/main" id="{9F9F19F9-15F6-B92B-3BDB-FB450393E6D4}"/>
              </a:ext>
            </a:extLst>
          </p:cNvPr>
          <p:cNvCxnSpPr>
            <a:cxnSpLocks/>
          </p:cNvCxnSpPr>
          <p:nvPr/>
        </p:nvCxnSpPr>
        <p:spPr>
          <a:xfrm>
            <a:off x="1166260" y="3350618"/>
            <a:ext cx="50428" cy="0"/>
          </a:xfrm>
          <a:prstGeom prst="line">
            <a:avLst/>
          </a:prstGeom>
          <a:noFill/>
          <a:ln w="12700" cap="flat" cmpd="sng" algn="ctr">
            <a:solidFill>
              <a:sysClr val="windowText" lastClr="000000">
                <a:lumMod val="75000"/>
                <a:lumOff val="25000"/>
              </a:sysClr>
            </a:solidFill>
            <a:prstDash val="solid"/>
            <a:miter lim="800000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3" name="Straight Connector 932">
            <a:extLst>
              <a:ext uri="{FF2B5EF4-FFF2-40B4-BE49-F238E27FC236}">
                <a16:creationId xmlns:a16="http://schemas.microsoft.com/office/drawing/2014/main" id="{B6FD0A81-8184-AED6-D9F7-855AC8868078}"/>
              </a:ext>
            </a:extLst>
          </p:cNvPr>
          <p:cNvCxnSpPr>
            <a:cxnSpLocks/>
          </p:cNvCxnSpPr>
          <p:nvPr/>
        </p:nvCxnSpPr>
        <p:spPr>
          <a:xfrm>
            <a:off x="1166260" y="3686658"/>
            <a:ext cx="50428" cy="0"/>
          </a:xfrm>
          <a:prstGeom prst="line">
            <a:avLst/>
          </a:prstGeom>
          <a:noFill/>
          <a:ln w="12700" cap="flat" cmpd="sng" algn="ctr">
            <a:solidFill>
              <a:sysClr val="windowText" lastClr="000000">
                <a:lumMod val="75000"/>
                <a:lumOff val="25000"/>
              </a:sysClr>
            </a:solidFill>
            <a:prstDash val="solid"/>
            <a:miter lim="800000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4" name="Straight Connector 933">
            <a:extLst>
              <a:ext uri="{FF2B5EF4-FFF2-40B4-BE49-F238E27FC236}">
                <a16:creationId xmlns:a16="http://schemas.microsoft.com/office/drawing/2014/main" id="{07227369-4CD2-447A-320A-D7051770B91E}"/>
              </a:ext>
            </a:extLst>
          </p:cNvPr>
          <p:cNvCxnSpPr>
            <a:cxnSpLocks/>
          </p:cNvCxnSpPr>
          <p:nvPr/>
        </p:nvCxnSpPr>
        <p:spPr>
          <a:xfrm>
            <a:off x="1166260" y="3861273"/>
            <a:ext cx="50428" cy="0"/>
          </a:xfrm>
          <a:prstGeom prst="line">
            <a:avLst/>
          </a:prstGeom>
          <a:noFill/>
          <a:ln w="12700" cap="flat" cmpd="sng" algn="ctr">
            <a:solidFill>
              <a:sysClr val="windowText" lastClr="000000">
                <a:lumMod val="75000"/>
                <a:lumOff val="25000"/>
              </a:sysClr>
            </a:solidFill>
            <a:prstDash val="solid"/>
            <a:miter lim="800000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5" name="Straight Connector 934">
            <a:extLst>
              <a:ext uri="{FF2B5EF4-FFF2-40B4-BE49-F238E27FC236}">
                <a16:creationId xmlns:a16="http://schemas.microsoft.com/office/drawing/2014/main" id="{86659482-B8CE-5134-FC38-5CE0B2BFAB24}"/>
              </a:ext>
            </a:extLst>
          </p:cNvPr>
          <p:cNvCxnSpPr>
            <a:cxnSpLocks/>
          </p:cNvCxnSpPr>
          <p:nvPr/>
        </p:nvCxnSpPr>
        <p:spPr>
          <a:xfrm>
            <a:off x="1166260" y="4364278"/>
            <a:ext cx="50428" cy="0"/>
          </a:xfrm>
          <a:prstGeom prst="line">
            <a:avLst/>
          </a:prstGeom>
          <a:noFill/>
          <a:ln w="12700" cap="flat" cmpd="sng" algn="ctr">
            <a:solidFill>
              <a:sysClr val="windowText" lastClr="000000">
                <a:lumMod val="75000"/>
                <a:lumOff val="25000"/>
              </a:sysClr>
            </a:solidFill>
            <a:prstDash val="solid"/>
            <a:miter lim="800000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6" name="TextBox 22">
            <a:extLst>
              <a:ext uri="{FF2B5EF4-FFF2-40B4-BE49-F238E27FC236}">
                <a16:creationId xmlns:a16="http://schemas.microsoft.com/office/drawing/2014/main" id="{72E92BBA-A253-46E8-C84E-9F22E927CFF7}"/>
              </a:ext>
            </a:extLst>
          </p:cNvPr>
          <p:cNvSpPr txBox="1"/>
          <p:nvPr/>
        </p:nvSpPr>
        <p:spPr>
          <a:xfrm>
            <a:off x="741203" y="2573108"/>
            <a:ext cx="464765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.0</a:t>
            </a:r>
          </a:p>
        </p:txBody>
      </p:sp>
      <p:sp>
        <p:nvSpPr>
          <p:cNvPr id="937" name="TextBox 23">
            <a:extLst>
              <a:ext uri="{FF2B5EF4-FFF2-40B4-BE49-F238E27FC236}">
                <a16:creationId xmlns:a16="http://schemas.microsoft.com/office/drawing/2014/main" id="{891CEB8D-2F7D-AF40-E04F-6B932CE3E7E7}"/>
              </a:ext>
            </a:extLst>
          </p:cNvPr>
          <p:cNvSpPr txBox="1"/>
          <p:nvPr/>
        </p:nvSpPr>
        <p:spPr>
          <a:xfrm>
            <a:off x="741203" y="2742450"/>
            <a:ext cx="464765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0.9</a:t>
            </a:r>
          </a:p>
        </p:txBody>
      </p:sp>
      <p:sp>
        <p:nvSpPr>
          <p:cNvPr id="938" name="TextBox 41">
            <a:extLst>
              <a:ext uri="{FF2B5EF4-FFF2-40B4-BE49-F238E27FC236}">
                <a16:creationId xmlns:a16="http://schemas.microsoft.com/office/drawing/2014/main" id="{3F6258F3-7095-3360-BEC0-41D22DD7326B}"/>
              </a:ext>
            </a:extLst>
          </p:cNvPr>
          <p:cNvSpPr txBox="1"/>
          <p:nvPr/>
        </p:nvSpPr>
        <p:spPr>
          <a:xfrm rot="16200000">
            <a:off x="97340" y="3405475"/>
            <a:ext cx="149983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Probability</a:t>
            </a:r>
          </a:p>
        </p:txBody>
      </p:sp>
      <p:sp>
        <p:nvSpPr>
          <p:cNvPr id="939" name="TextBox 22">
            <a:extLst>
              <a:ext uri="{FF2B5EF4-FFF2-40B4-BE49-F238E27FC236}">
                <a16:creationId xmlns:a16="http://schemas.microsoft.com/office/drawing/2014/main" id="{0A9CE892-EC06-5F98-BD59-C2DCC1798954}"/>
              </a:ext>
            </a:extLst>
          </p:cNvPr>
          <p:cNvSpPr txBox="1"/>
          <p:nvPr/>
        </p:nvSpPr>
        <p:spPr>
          <a:xfrm>
            <a:off x="741203" y="2911792"/>
            <a:ext cx="464765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0.8</a:t>
            </a:r>
          </a:p>
        </p:txBody>
      </p:sp>
      <p:cxnSp>
        <p:nvCxnSpPr>
          <p:cNvPr id="940" name="Straight Connector 939">
            <a:extLst>
              <a:ext uri="{FF2B5EF4-FFF2-40B4-BE49-F238E27FC236}">
                <a16:creationId xmlns:a16="http://schemas.microsoft.com/office/drawing/2014/main" id="{D7B877F9-5428-8738-9A47-AA818DE11F21}"/>
              </a:ext>
            </a:extLst>
          </p:cNvPr>
          <p:cNvCxnSpPr>
            <a:cxnSpLocks/>
          </p:cNvCxnSpPr>
          <p:nvPr/>
        </p:nvCxnSpPr>
        <p:spPr>
          <a:xfrm>
            <a:off x="1166260" y="2841486"/>
            <a:ext cx="50428" cy="0"/>
          </a:xfrm>
          <a:prstGeom prst="line">
            <a:avLst/>
          </a:prstGeom>
          <a:noFill/>
          <a:ln w="12700" cap="flat" cmpd="sng" algn="ctr">
            <a:solidFill>
              <a:sysClr val="windowText" lastClr="000000">
                <a:lumMod val="75000"/>
                <a:lumOff val="25000"/>
              </a:sysClr>
            </a:solidFill>
            <a:prstDash val="solid"/>
            <a:miter lim="800000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1" name="Straight Connector 940">
            <a:extLst>
              <a:ext uri="{FF2B5EF4-FFF2-40B4-BE49-F238E27FC236}">
                <a16:creationId xmlns:a16="http://schemas.microsoft.com/office/drawing/2014/main" id="{179D20EE-105F-E5C2-9FEA-5A73EC4465FC}"/>
              </a:ext>
            </a:extLst>
          </p:cNvPr>
          <p:cNvCxnSpPr>
            <a:cxnSpLocks/>
          </p:cNvCxnSpPr>
          <p:nvPr/>
        </p:nvCxnSpPr>
        <p:spPr>
          <a:xfrm>
            <a:off x="1166260" y="3181333"/>
            <a:ext cx="50428" cy="0"/>
          </a:xfrm>
          <a:prstGeom prst="line">
            <a:avLst/>
          </a:prstGeom>
          <a:noFill/>
          <a:ln w="12700" cap="flat" cmpd="sng" algn="ctr">
            <a:solidFill>
              <a:sysClr val="windowText" lastClr="000000">
                <a:lumMod val="75000"/>
                <a:lumOff val="25000"/>
              </a:sysClr>
            </a:solidFill>
            <a:prstDash val="solid"/>
            <a:miter lim="800000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2" name="Straight Connector 941">
            <a:extLst>
              <a:ext uri="{FF2B5EF4-FFF2-40B4-BE49-F238E27FC236}">
                <a16:creationId xmlns:a16="http://schemas.microsoft.com/office/drawing/2014/main" id="{93905711-D596-0984-5849-71E59E9F72AA}"/>
              </a:ext>
            </a:extLst>
          </p:cNvPr>
          <p:cNvCxnSpPr>
            <a:cxnSpLocks/>
          </p:cNvCxnSpPr>
          <p:nvPr/>
        </p:nvCxnSpPr>
        <p:spPr>
          <a:xfrm>
            <a:off x="1166260" y="3522310"/>
            <a:ext cx="50428" cy="0"/>
          </a:xfrm>
          <a:prstGeom prst="line">
            <a:avLst/>
          </a:prstGeom>
          <a:noFill/>
          <a:ln w="12700" cap="flat" cmpd="sng" algn="ctr">
            <a:solidFill>
              <a:sysClr val="windowText" lastClr="000000">
                <a:lumMod val="75000"/>
                <a:lumOff val="25000"/>
              </a:sysClr>
            </a:solidFill>
            <a:prstDash val="solid"/>
            <a:miter lim="800000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3" name="Straight Connector 942">
            <a:extLst>
              <a:ext uri="{FF2B5EF4-FFF2-40B4-BE49-F238E27FC236}">
                <a16:creationId xmlns:a16="http://schemas.microsoft.com/office/drawing/2014/main" id="{A6275DFB-A693-2578-8FB7-EF560B29E1B1}"/>
              </a:ext>
            </a:extLst>
          </p:cNvPr>
          <p:cNvCxnSpPr>
            <a:cxnSpLocks/>
          </p:cNvCxnSpPr>
          <p:nvPr/>
        </p:nvCxnSpPr>
        <p:spPr>
          <a:xfrm>
            <a:off x="1166260" y="4024404"/>
            <a:ext cx="50428" cy="0"/>
          </a:xfrm>
          <a:prstGeom prst="line">
            <a:avLst/>
          </a:prstGeom>
          <a:noFill/>
          <a:ln w="12700" cap="flat" cmpd="sng" algn="ctr">
            <a:solidFill>
              <a:sysClr val="windowText" lastClr="000000">
                <a:lumMod val="75000"/>
                <a:lumOff val="25000"/>
              </a:sysClr>
            </a:solidFill>
            <a:prstDash val="solid"/>
            <a:miter lim="800000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4" name="Straight Connector 943">
            <a:extLst>
              <a:ext uri="{FF2B5EF4-FFF2-40B4-BE49-F238E27FC236}">
                <a16:creationId xmlns:a16="http://schemas.microsoft.com/office/drawing/2014/main" id="{2996141B-FB44-1DFE-59AE-F628FB04ED41}"/>
              </a:ext>
            </a:extLst>
          </p:cNvPr>
          <p:cNvCxnSpPr>
            <a:cxnSpLocks/>
          </p:cNvCxnSpPr>
          <p:nvPr/>
        </p:nvCxnSpPr>
        <p:spPr>
          <a:xfrm>
            <a:off x="1166260" y="4195258"/>
            <a:ext cx="50428" cy="0"/>
          </a:xfrm>
          <a:prstGeom prst="line">
            <a:avLst/>
          </a:prstGeom>
          <a:noFill/>
          <a:ln w="12700" cap="flat" cmpd="sng" algn="ctr">
            <a:solidFill>
              <a:sysClr val="windowText" lastClr="000000">
                <a:lumMod val="75000"/>
                <a:lumOff val="25000"/>
              </a:sysClr>
            </a:solidFill>
            <a:prstDash val="solid"/>
            <a:miter lim="800000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5" name="TextBox 22">
            <a:extLst>
              <a:ext uri="{FF2B5EF4-FFF2-40B4-BE49-F238E27FC236}">
                <a16:creationId xmlns:a16="http://schemas.microsoft.com/office/drawing/2014/main" id="{9492AA8B-13A9-1F9B-54A3-5EBEC293D58C}"/>
              </a:ext>
            </a:extLst>
          </p:cNvPr>
          <p:cNvSpPr txBox="1"/>
          <p:nvPr/>
        </p:nvSpPr>
        <p:spPr>
          <a:xfrm>
            <a:off x="741203" y="3081134"/>
            <a:ext cx="464765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0.7</a:t>
            </a:r>
          </a:p>
        </p:txBody>
      </p:sp>
      <p:sp>
        <p:nvSpPr>
          <p:cNvPr id="946" name="TextBox 22">
            <a:extLst>
              <a:ext uri="{FF2B5EF4-FFF2-40B4-BE49-F238E27FC236}">
                <a16:creationId xmlns:a16="http://schemas.microsoft.com/office/drawing/2014/main" id="{8747FDBE-C0DE-F64A-8191-40BB8F45CA3A}"/>
              </a:ext>
            </a:extLst>
          </p:cNvPr>
          <p:cNvSpPr txBox="1"/>
          <p:nvPr/>
        </p:nvSpPr>
        <p:spPr>
          <a:xfrm>
            <a:off x="741203" y="3250476"/>
            <a:ext cx="464765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0.6</a:t>
            </a:r>
          </a:p>
        </p:txBody>
      </p:sp>
      <p:sp>
        <p:nvSpPr>
          <p:cNvPr id="947" name="TextBox 22">
            <a:extLst>
              <a:ext uri="{FF2B5EF4-FFF2-40B4-BE49-F238E27FC236}">
                <a16:creationId xmlns:a16="http://schemas.microsoft.com/office/drawing/2014/main" id="{3F8D6858-3453-D456-9A71-1FEDECBEA737}"/>
              </a:ext>
            </a:extLst>
          </p:cNvPr>
          <p:cNvSpPr txBox="1"/>
          <p:nvPr/>
        </p:nvSpPr>
        <p:spPr>
          <a:xfrm>
            <a:off x="741203" y="3419818"/>
            <a:ext cx="464765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0.5</a:t>
            </a:r>
          </a:p>
        </p:txBody>
      </p:sp>
      <p:sp>
        <p:nvSpPr>
          <p:cNvPr id="948" name="TextBox 22">
            <a:extLst>
              <a:ext uri="{FF2B5EF4-FFF2-40B4-BE49-F238E27FC236}">
                <a16:creationId xmlns:a16="http://schemas.microsoft.com/office/drawing/2014/main" id="{46BBEBFB-8E80-D82A-6167-89C8E812C543}"/>
              </a:ext>
            </a:extLst>
          </p:cNvPr>
          <p:cNvSpPr txBox="1"/>
          <p:nvPr/>
        </p:nvSpPr>
        <p:spPr>
          <a:xfrm>
            <a:off x="741203" y="3589160"/>
            <a:ext cx="464765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0.4</a:t>
            </a:r>
          </a:p>
        </p:txBody>
      </p:sp>
      <p:sp>
        <p:nvSpPr>
          <p:cNvPr id="949" name="TextBox 22">
            <a:extLst>
              <a:ext uri="{FF2B5EF4-FFF2-40B4-BE49-F238E27FC236}">
                <a16:creationId xmlns:a16="http://schemas.microsoft.com/office/drawing/2014/main" id="{06DB2712-445A-1F26-5FD8-690324FC74A8}"/>
              </a:ext>
            </a:extLst>
          </p:cNvPr>
          <p:cNvSpPr txBox="1"/>
          <p:nvPr/>
        </p:nvSpPr>
        <p:spPr>
          <a:xfrm>
            <a:off x="741203" y="3758502"/>
            <a:ext cx="464765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0.3</a:t>
            </a:r>
          </a:p>
        </p:txBody>
      </p:sp>
      <p:sp>
        <p:nvSpPr>
          <p:cNvPr id="950" name="TextBox 27">
            <a:extLst>
              <a:ext uri="{FF2B5EF4-FFF2-40B4-BE49-F238E27FC236}">
                <a16:creationId xmlns:a16="http://schemas.microsoft.com/office/drawing/2014/main" id="{611A6745-C228-BD88-19F6-9EA5D101C611}"/>
              </a:ext>
            </a:extLst>
          </p:cNvPr>
          <p:cNvSpPr txBox="1"/>
          <p:nvPr/>
        </p:nvSpPr>
        <p:spPr>
          <a:xfrm>
            <a:off x="817665" y="4097186"/>
            <a:ext cx="388302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0.1</a:t>
            </a:r>
          </a:p>
        </p:txBody>
      </p:sp>
      <p:sp>
        <p:nvSpPr>
          <p:cNvPr id="951" name="TextBox 27">
            <a:extLst>
              <a:ext uri="{FF2B5EF4-FFF2-40B4-BE49-F238E27FC236}">
                <a16:creationId xmlns:a16="http://schemas.microsoft.com/office/drawing/2014/main" id="{B5543EDF-D9F9-82F8-491E-17BAE4EEB46A}"/>
              </a:ext>
            </a:extLst>
          </p:cNvPr>
          <p:cNvSpPr txBox="1"/>
          <p:nvPr/>
        </p:nvSpPr>
        <p:spPr>
          <a:xfrm>
            <a:off x="817665" y="3927844"/>
            <a:ext cx="388302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0.2</a:t>
            </a:r>
          </a:p>
        </p:txBody>
      </p:sp>
      <p:cxnSp>
        <p:nvCxnSpPr>
          <p:cNvPr id="952" name="Straight Connector 951">
            <a:extLst>
              <a:ext uri="{FF2B5EF4-FFF2-40B4-BE49-F238E27FC236}">
                <a16:creationId xmlns:a16="http://schemas.microsoft.com/office/drawing/2014/main" id="{ACE1A1C9-0C6A-CE0E-A205-394BA95ACB63}"/>
              </a:ext>
            </a:extLst>
          </p:cNvPr>
          <p:cNvCxnSpPr>
            <a:cxnSpLocks/>
          </p:cNvCxnSpPr>
          <p:nvPr/>
        </p:nvCxnSpPr>
        <p:spPr>
          <a:xfrm>
            <a:off x="1719853" y="4362836"/>
            <a:ext cx="0" cy="41009"/>
          </a:xfrm>
          <a:prstGeom prst="line">
            <a:avLst/>
          </a:prstGeom>
          <a:noFill/>
          <a:ln w="12700" cap="flat" cmpd="sng" algn="ctr">
            <a:solidFill>
              <a:sysClr val="windowText" lastClr="000000">
                <a:lumMod val="75000"/>
                <a:lumOff val="25000"/>
              </a:sysClr>
            </a:solidFill>
            <a:prstDash val="solid"/>
            <a:miter lim="800000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3" name="Straight Connector 952">
            <a:extLst>
              <a:ext uri="{FF2B5EF4-FFF2-40B4-BE49-F238E27FC236}">
                <a16:creationId xmlns:a16="http://schemas.microsoft.com/office/drawing/2014/main" id="{D38CA004-9704-8ECA-4AFB-5A951DE81550}"/>
              </a:ext>
            </a:extLst>
          </p:cNvPr>
          <p:cNvCxnSpPr>
            <a:cxnSpLocks/>
          </p:cNvCxnSpPr>
          <p:nvPr/>
        </p:nvCxnSpPr>
        <p:spPr>
          <a:xfrm>
            <a:off x="1926141" y="4362836"/>
            <a:ext cx="0" cy="41009"/>
          </a:xfrm>
          <a:prstGeom prst="line">
            <a:avLst/>
          </a:prstGeom>
          <a:noFill/>
          <a:ln w="12700" cap="flat" cmpd="sng" algn="ctr">
            <a:solidFill>
              <a:sysClr val="windowText" lastClr="000000">
                <a:lumMod val="75000"/>
                <a:lumOff val="25000"/>
              </a:sysClr>
            </a:solidFill>
            <a:prstDash val="solid"/>
            <a:miter lim="800000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4" name="TextBox 34">
            <a:extLst>
              <a:ext uri="{FF2B5EF4-FFF2-40B4-BE49-F238E27FC236}">
                <a16:creationId xmlns:a16="http://schemas.microsoft.com/office/drawing/2014/main" id="{B7EAB20E-BEA8-87F0-26F0-9FF1ED0CA594}"/>
              </a:ext>
            </a:extLst>
          </p:cNvPr>
          <p:cNvSpPr txBox="1"/>
          <p:nvPr/>
        </p:nvSpPr>
        <p:spPr>
          <a:xfrm>
            <a:off x="1132173" y="4410678"/>
            <a:ext cx="35482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0</a:t>
            </a:r>
          </a:p>
        </p:txBody>
      </p:sp>
      <p:cxnSp>
        <p:nvCxnSpPr>
          <p:cNvPr id="955" name="Straight Connector 954">
            <a:extLst>
              <a:ext uri="{FF2B5EF4-FFF2-40B4-BE49-F238E27FC236}">
                <a16:creationId xmlns:a16="http://schemas.microsoft.com/office/drawing/2014/main" id="{89004B7A-6B98-0FB4-124A-76FB496A25DB}"/>
              </a:ext>
            </a:extLst>
          </p:cNvPr>
          <p:cNvCxnSpPr>
            <a:cxnSpLocks/>
          </p:cNvCxnSpPr>
          <p:nvPr/>
        </p:nvCxnSpPr>
        <p:spPr>
          <a:xfrm>
            <a:off x="2338718" y="4362836"/>
            <a:ext cx="0" cy="41009"/>
          </a:xfrm>
          <a:prstGeom prst="line">
            <a:avLst/>
          </a:prstGeom>
          <a:noFill/>
          <a:ln w="12700" cap="flat" cmpd="sng" algn="ctr">
            <a:solidFill>
              <a:sysClr val="windowText" lastClr="000000">
                <a:lumMod val="75000"/>
                <a:lumOff val="25000"/>
              </a:sysClr>
            </a:solidFill>
            <a:prstDash val="solid"/>
            <a:miter lim="800000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6" name="Straight Connector 955">
            <a:extLst>
              <a:ext uri="{FF2B5EF4-FFF2-40B4-BE49-F238E27FC236}">
                <a16:creationId xmlns:a16="http://schemas.microsoft.com/office/drawing/2014/main" id="{DCDF3841-F516-15A6-F7FD-4609685B39C2}"/>
              </a:ext>
            </a:extLst>
          </p:cNvPr>
          <p:cNvCxnSpPr>
            <a:cxnSpLocks/>
          </p:cNvCxnSpPr>
          <p:nvPr/>
        </p:nvCxnSpPr>
        <p:spPr>
          <a:xfrm>
            <a:off x="3782735" y="4362836"/>
            <a:ext cx="0" cy="41009"/>
          </a:xfrm>
          <a:prstGeom prst="line">
            <a:avLst/>
          </a:prstGeom>
          <a:noFill/>
          <a:ln w="12700" cap="flat" cmpd="sng" algn="ctr">
            <a:solidFill>
              <a:sysClr val="windowText" lastClr="000000">
                <a:lumMod val="75000"/>
                <a:lumOff val="25000"/>
              </a:sysClr>
            </a:solidFill>
            <a:prstDash val="solid"/>
            <a:miter lim="800000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7" name="Straight Connector 956">
            <a:extLst>
              <a:ext uri="{FF2B5EF4-FFF2-40B4-BE49-F238E27FC236}">
                <a16:creationId xmlns:a16="http://schemas.microsoft.com/office/drawing/2014/main" id="{DFF52FF2-90B5-1ED3-DF9C-17F345F74C87}"/>
              </a:ext>
            </a:extLst>
          </p:cNvPr>
          <p:cNvCxnSpPr>
            <a:cxnSpLocks/>
          </p:cNvCxnSpPr>
          <p:nvPr/>
        </p:nvCxnSpPr>
        <p:spPr>
          <a:xfrm>
            <a:off x="4401599" y="4362836"/>
            <a:ext cx="0" cy="41009"/>
          </a:xfrm>
          <a:prstGeom prst="line">
            <a:avLst/>
          </a:prstGeom>
          <a:noFill/>
          <a:ln w="12700" cap="flat" cmpd="sng" algn="ctr">
            <a:solidFill>
              <a:sysClr val="windowText" lastClr="000000">
                <a:lumMod val="75000"/>
                <a:lumOff val="25000"/>
              </a:sysClr>
            </a:solidFill>
            <a:prstDash val="solid"/>
            <a:miter lim="800000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8" name="Straight Connector 957">
            <a:extLst>
              <a:ext uri="{FF2B5EF4-FFF2-40B4-BE49-F238E27FC236}">
                <a16:creationId xmlns:a16="http://schemas.microsoft.com/office/drawing/2014/main" id="{2E961459-0222-184B-62EA-59DD9E8A58D7}"/>
              </a:ext>
            </a:extLst>
          </p:cNvPr>
          <p:cNvCxnSpPr>
            <a:cxnSpLocks/>
          </p:cNvCxnSpPr>
          <p:nvPr/>
        </p:nvCxnSpPr>
        <p:spPr>
          <a:xfrm>
            <a:off x="4195310" y="4362836"/>
            <a:ext cx="0" cy="41009"/>
          </a:xfrm>
          <a:prstGeom prst="line">
            <a:avLst/>
          </a:prstGeom>
          <a:noFill/>
          <a:ln w="12700" cap="flat" cmpd="sng" algn="ctr">
            <a:solidFill>
              <a:sysClr val="windowText" lastClr="000000">
                <a:lumMod val="75000"/>
                <a:lumOff val="25000"/>
              </a:sysClr>
            </a:solidFill>
            <a:prstDash val="solid"/>
            <a:miter lim="800000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9" name="Straight Connector 958">
            <a:extLst>
              <a:ext uri="{FF2B5EF4-FFF2-40B4-BE49-F238E27FC236}">
                <a16:creationId xmlns:a16="http://schemas.microsoft.com/office/drawing/2014/main" id="{19B2D962-6A1C-3486-8084-FE6BB94C9EE9}"/>
              </a:ext>
            </a:extLst>
          </p:cNvPr>
          <p:cNvCxnSpPr>
            <a:cxnSpLocks/>
          </p:cNvCxnSpPr>
          <p:nvPr/>
        </p:nvCxnSpPr>
        <p:spPr>
          <a:xfrm>
            <a:off x="4607887" y="4362836"/>
            <a:ext cx="0" cy="41009"/>
          </a:xfrm>
          <a:prstGeom prst="line">
            <a:avLst/>
          </a:prstGeom>
          <a:noFill/>
          <a:ln w="12700" cap="flat" cmpd="sng" algn="ctr">
            <a:solidFill>
              <a:sysClr val="windowText" lastClr="000000">
                <a:lumMod val="75000"/>
                <a:lumOff val="25000"/>
              </a:sysClr>
            </a:solidFill>
            <a:prstDash val="solid"/>
            <a:miter lim="800000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0" name="Straight Connector 959">
            <a:extLst>
              <a:ext uri="{FF2B5EF4-FFF2-40B4-BE49-F238E27FC236}">
                <a16:creationId xmlns:a16="http://schemas.microsoft.com/office/drawing/2014/main" id="{2ADD0844-E364-FB9A-FBE3-FC9F7B21D81D}"/>
              </a:ext>
            </a:extLst>
          </p:cNvPr>
          <p:cNvCxnSpPr>
            <a:cxnSpLocks/>
          </p:cNvCxnSpPr>
          <p:nvPr/>
        </p:nvCxnSpPr>
        <p:spPr>
          <a:xfrm>
            <a:off x="4814176" y="4362836"/>
            <a:ext cx="0" cy="41009"/>
          </a:xfrm>
          <a:prstGeom prst="line">
            <a:avLst/>
          </a:prstGeom>
          <a:noFill/>
          <a:ln w="12700" cap="flat" cmpd="sng" algn="ctr">
            <a:solidFill>
              <a:sysClr val="windowText" lastClr="000000">
                <a:lumMod val="75000"/>
                <a:lumOff val="25000"/>
              </a:sysClr>
            </a:solidFill>
            <a:prstDash val="solid"/>
            <a:miter lim="800000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1" name="Straight Connector 960">
            <a:extLst>
              <a:ext uri="{FF2B5EF4-FFF2-40B4-BE49-F238E27FC236}">
                <a16:creationId xmlns:a16="http://schemas.microsoft.com/office/drawing/2014/main" id="{7A309100-F80F-94D7-5EC9-1E50F983DA1D}"/>
              </a:ext>
            </a:extLst>
          </p:cNvPr>
          <p:cNvCxnSpPr>
            <a:cxnSpLocks/>
          </p:cNvCxnSpPr>
          <p:nvPr/>
        </p:nvCxnSpPr>
        <p:spPr>
          <a:xfrm>
            <a:off x="5020462" y="4362836"/>
            <a:ext cx="0" cy="41009"/>
          </a:xfrm>
          <a:prstGeom prst="line">
            <a:avLst/>
          </a:prstGeom>
          <a:noFill/>
          <a:ln w="12700" cap="flat" cmpd="sng" algn="ctr">
            <a:solidFill>
              <a:sysClr val="windowText" lastClr="000000">
                <a:lumMod val="75000"/>
                <a:lumOff val="25000"/>
              </a:sysClr>
            </a:solidFill>
            <a:prstDash val="solid"/>
            <a:miter lim="800000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2" name="Straight Connector 961">
            <a:extLst>
              <a:ext uri="{FF2B5EF4-FFF2-40B4-BE49-F238E27FC236}">
                <a16:creationId xmlns:a16="http://schemas.microsoft.com/office/drawing/2014/main" id="{61F93BAA-9F66-A56D-EA40-F1C5A0D8A05A}"/>
              </a:ext>
            </a:extLst>
          </p:cNvPr>
          <p:cNvCxnSpPr>
            <a:cxnSpLocks/>
          </p:cNvCxnSpPr>
          <p:nvPr/>
        </p:nvCxnSpPr>
        <p:spPr>
          <a:xfrm>
            <a:off x="5226747" y="4362836"/>
            <a:ext cx="0" cy="41009"/>
          </a:xfrm>
          <a:prstGeom prst="line">
            <a:avLst/>
          </a:prstGeom>
          <a:noFill/>
          <a:ln w="12700" cap="flat" cmpd="sng" algn="ctr">
            <a:solidFill>
              <a:sysClr val="windowText" lastClr="000000">
                <a:lumMod val="75000"/>
                <a:lumOff val="25000"/>
              </a:sysClr>
            </a:solidFill>
            <a:prstDash val="solid"/>
            <a:miter lim="800000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3" name="TextBox 28">
            <a:extLst>
              <a:ext uri="{FF2B5EF4-FFF2-40B4-BE49-F238E27FC236}">
                <a16:creationId xmlns:a16="http://schemas.microsoft.com/office/drawing/2014/main" id="{BDF83FF8-F5C2-3AC5-8B31-DB479BEB9731}"/>
              </a:ext>
            </a:extLst>
          </p:cNvPr>
          <p:cNvSpPr txBox="1"/>
          <p:nvPr/>
        </p:nvSpPr>
        <p:spPr>
          <a:xfrm>
            <a:off x="3399968" y="4410678"/>
            <a:ext cx="35482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22</a:t>
            </a:r>
          </a:p>
        </p:txBody>
      </p:sp>
      <p:sp>
        <p:nvSpPr>
          <p:cNvPr id="964" name="TextBox 28">
            <a:extLst>
              <a:ext uri="{FF2B5EF4-FFF2-40B4-BE49-F238E27FC236}">
                <a16:creationId xmlns:a16="http://schemas.microsoft.com/office/drawing/2014/main" id="{3D9C58DB-A992-4AA4-D989-58F6B797D77A}"/>
              </a:ext>
            </a:extLst>
          </p:cNvPr>
          <p:cNvSpPr txBox="1"/>
          <p:nvPr/>
        </p:nvSpPr>
        <p:spPr>
          <a:xfrm>
            <a:off x="3606132" y="4410678"/>
            <a:ext cx="35482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24</a:t>
            </a:r>
          </a:p>
        </p:txBody>
      </p:sp>
      <p:sp>
        <p:nvSpPr>
          <p:cNvPr id="965" name="TextBox 28">
            <a:extLst>
              <a:ext uri="{FF2B5EF4-FFF2-40B4-BE49-F238E27FC236}">
                <a16:creationId xmlns:a16="http://schemas.microsoft.com/office/drawing/2014/main" id="{8EC48D00-C4E9-48F5-5408-48B5984EDB5E}"/>
              </a:ext>
            </a:extLst>
          </p:cNvPr>
          <p:cNvSpPr txBox="1"/>
          <p:nvPr/>
        </p:nvSpPr>
        <p:spPr>
          <a:xfrm>
            <a:off x="3812294" y="4410678"/>
            <a:ext cx="35482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26</a:t>
            </a:r>
          </a:p>
        </p:txBody>
      </p:sp>
      <p:sp>
        <p:nvSpPr>
          <p:cNvPr id="966" name="TextBox 28">
            <a:extLst>
              <a:ext uri="{FF2B5EF4-FFF2-40B4-BE49-F238E27FC236}">
                <a16:creationId xmlns:a16="http://schemas.microsoft.com/office/drawing/2014/main" id="{AC4D1643-1540-9F82-169B-698AF9F45CF9}"/>
              </a:ext>
            </a:extLst>
          </p:cNvPr>
          <p:cNvSpPr txBox="1"/>
          <p:nvPr/>
        </p:nvSpPr>
        <p:spPr>
          <a:xfrm>
            <a:off x="4018458" y="4410678"/>
            <a:ext cx="35482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28</a:t>
            </a:r>
          </a:p>
        </p:txBody>
      </p:sp>
      <p:sp>
        <p:nvSpPr>
          <p:cNvPr id="967" name="TextBox 28">
            <a:extLst>
              <a:ext uri="{FF2B5EF4-FFF2-40B4-BE49-F238E27FC236}">
                <a16:creationId xmlns:a16="http://schemas.microsoft.com/office/drawing/2014/main" id="{A0DD2512-5F55-3592-9679-E73D5035DD80}"/>
              </a:ext>
            </a:extLst>
          </p:cNvPr>
          <p:cNvSpPr txBox="1"/>
          <p:nvPr/>
        </p:nvSpPr>
        <p:spPr>
          <a:xfrm>
            <a:off x="4224620" y="4410678"/>
            <a:ext cx="35482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30</a:t>
            </a:r>
          </a:p>
        </p:txBody>
      </p:sp>
      <p:sp>
        <p:nvSpPr>
          <p:cNvPr id="968" name="TextBox 28">
            <a:extLst>
              <a:ext uri="{FF2B5EF4-FFF2-40B4-BE49-F238E27FC236}">
                <a16:creationId xmlns:a16="http://schemas.microsoft.com/office/drawing/2014/main" id="{EE4B73E6-3050-3911-392A-23281B2720B0}"/>
              </a:ext>
            </a:extLst>
          </p:cNvPr>
          <p:cNvSpPr txBox="1"/>
          <p:nvPr/>
        </p:nvSpPr>
        <p:spPr>
          <a:xfrm>
            <a:off x="4430784" y="4410678"/>
            <a:ext cx="35482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32</a:t>
            </a:r>
          </a:p>
        </p:txBody>
      </p:sp>
      <p:sp>
        <p:nvSpPr>
          <p:cNvPr id="969" name="TextBox 28">
            <a:extLst>
              <a:ext uri="{FF2B5EF4-FFF2-40B4-BE49-F238E27FC236}">
                <a16:creationId xmlns:a16="http://schemas.microsoft.com/office/drawing/2014/main" id="{1955327C-F418-8783-90E3-6C8FE48B981D}"/>
              </a:ext>
            </a:extLst>
          </p:cNvPr>
          <p:cNvSpPr txBox="1"/>
          <p:nvPr/>
        </p:nvSpPr>
        <p:spPr>
          <a:xfrm>
            <a:off x="4636947" y="4410678"/>
            <a:ext cx="35482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34</a:t>
            </a:r>
          </a:p>
        </p:txBody>
      </p:sp>
      <p:sp>
        <p:nvSpPr>
          <p:cNvPr id="970" name="TextBox 28">
            <a:extLst>
              <a:ext uri="{FF2B5EF4-FFF2-40B4-BE49-F238E27FC236}">
                <a16:creationId xmlns:a16="http://schemas.microsoft.com/office/drawing/2014/main" id="{EF16FA0C-AD2E-48FF-A3CD-A2749C129808}"/>
              </a:ext>
            </a:extLst>
          </p:cNvPr>
          <p:cNvSpPr txBox="1"/>
          <p:nvPr/>
        </p:nvSpPr>
        <p:spPr>
          <a:xfrm>
            <a:off x="4843110" y="4410678"/>
            <a:ext cx="35482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36</a:t>
            </a:r>
          </a:p>
        </p:txBody>
      </p:sp>
      <p:sp>
        <p:nvSpPr>
          <p:cNvPr id="971" name="TextBox 28">
            <a:extLst>
              <a:ext uri="{FF2B5EF4-FFF2-40B4-BE49-F238E27FC236}">
                <a16:creationId xmlns:a16="http://schemas.microsoft.com/office/drawing/2014/main" id="{648F6D77-4E82-49B8-570B-D46467411273}"/>
              </a:ext>
            </a:extLst>
          </p:cNvPr>
          <p:cNvSpPr txBox="1"/>
          <p:nvPr/>
        </p:nvSpPr>
        <p:spPr>
          <a:xfrm>
            <a:off x="5049268" y="4410678"/>
            <a:ext cx="35482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38</a:t>
            </a:r>
          </a:p>
        </p:txBody>
      </p:sp>
      <p:sp>
        <p:nvSpPr>
          <p:cNvPr id="972" name="TextBox 40">
            <a:extLst>
              <a:ext uri="{FF2B5EF4-FFF2-40B4-BE49-F238E27FC236}">
                <a16:creationId xmlns:a16="http://schemas.microsoft.com/office/drawing/2014/main" id="{470537F0-66D3-C303-8CFF-0FAE865010FA}"/>
              </a:ext>
            </a:extLst>
          </p:cNvPr>
          <p:cNvSpPr txBox="1"/>
          <p:nvPr/>
        </p:nvSpPr>
        <p:spPr>
          <a:xfrm>
            <a:off x="2922670" y="2771788"/>
            <a:ext cx="231031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2D5E77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Median PFS: Not reached</a:t>
            </a:r>
          </a:p>
        </p:txBody>
      </p:sp>
      <p:sp>
        <p:nvSpPr>
          <p:cNvPr id="973" name="TextBox 40">
            <a:extLst>
              <a:ext uri="{FF2B5EF4-FFF2-40B4-BE49-F238E27FC236}">
                <a16:creationId xmlns:a16="http://schemas.microsoft.com/office/drawing/2014/main" id="{8C499557-9008-8BC1-AE33-AB275B2376D6}"/>
              </a:ext>
            </a:extLst>
          </p:cNvPr>
          <p:cNvSpPr txBox="1"/>
          <p:nvPr/>
        </p:nvSpPr>
        <p:spPr>
          <a:xfrm>
            <a:off x="2922670" y="3555268"/>
            <a:ext cx="250507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EB9200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Median PFS: 4.9 months</a:t>
            </a:r>
          </a:p>
        </p:txBody>
      </p:sp>
      <p:sp>
        <p:nvSpPr>
          <p:cNvPr id="974" name="TextBox 40">
            <a:extLst>
              <a:ext uri="{FF2B5EF4-FFF2-40B4-BE49-F238E27FC236}">
                <a16:creationId xmlns:a16="http://schemas.microsoft.com/office/drawing/2014/main" id="{AFFB697E-4FE0-C455-D1B4-AC76DAC724AF}"/>
              </a:ext>
            </a:extLst>
          </p:cNvPr>
          <p:cNvSpPr txBox="1"/>
          <p:nvPr/>
        </p:nvSpPr>
        <p:spPr>
          <a:xfrm>
            <a:off x="1418234" y="3899123"/>
            <a:ext cx="115359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All-treated</a:t>
            </a:r>
          </a:p>
        </p:txBody>
      </p:sp>
      <p:sp>
        <p:nvSpPr>
          <p:cNvPr id="975" name="TextBox 40">
            <a:extLst>
              <a:ext uri="{FF2B5EF4-FFF2-40B4-BE49-F238E27FC236}">
                <a16:creationId xmlns:a16="http://schemas.microsoft.com/office/drawing/2014/main" id="{E0957A5E-29A5-5712-9C54-5763FEF81CAA}"/>
              </a:ext>
            </a:extLst>
          </p:cNvPr>
          <p:cNvSpPr txBox="1"/>
          <p:nvPr/>
        </p:nvSpPr>
        <p:spPr>
          <a:xfrm>
            <a:off x="1418234" y="4029376"/>
            <a:ext cx="134697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Patients with CR </a:t>
            </a:r>
          </a:p>
        </p:txBody>
      </p:sp>
      <p:cxnSp>
        <p:nvCxnSpPr>
          <p:cNvPr id="976" name="Straight Connector 975">
            <a:extLst>
              <a:ext uri="{FF2B5EF4-FFF2-40B4-BE49-F238E27FC236}">
                <a16:creationId xmlns:a16="http://schemas.microsoft.com/office/drawing/2014/main" id="{C211DB9E-430B-8DB1-B424-11F1B297D017}"/>
              </a:ext>
            </a:extLst>
          </p:cNvPr>
          <p:cNvCxnSpPr>
            <a:cxnSpLocks/>
          </p:cNvCxnSpPr>
          <p:nvPr/>
        </p:nvCxnSpPr>
        <p:spPr>
          <a:xfrm>
            <a:off x="1359893" y="4006845"/>
            <a:ext cx="81711" cy="1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7" name="Straight Connector 976">
            <a:extLst>
              <a:ext uri="{FF2B5EF4-FFF2-40B4-BE49-F238E27FC236}">
                <a16:creationId xmlns:a16="http://schemas.microsoft.com/office/drawing/2014/main" id="{8CA2746B-90AE-7E1E-0412-9FBB0475B2FF}"/>
              </a:ext>
            </a:extLst>
          </p:cNvPr>
          <p:cNvCxnSpPr>
            <a:cxnSpLocks/>
          </p:cNvCxnSpPr>
          <p:nvPr/>
        </p:nvCxnSpPr>
        <p:spPr>
          <a:xfrm>
            <a:off x="1359893" y="4137098"/>
            <a:ext cx="81711" cy="1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8" name="Straight Connector 977">
            <a:extLst>
              <a:ext uri="{FF2B5EF4-FFF2-40B4-BE49-F238E27FC236}">
                <a16:creationId xmlns:a16="http://schemas.microsoft.com/office/drawing/2014/main" id="{65B9CC6D-B0EF-2613-5D9F-175C311DF89C}"/>
              </a:ext>
            </a:extLst>
          </p:cNvPr>
          <p:cNvCxnSpPr>
            <a:cxnSpLocks/>
          </p:cNvCxnSpPr>
          <p:nvPr/>
        </p:nvCxnSpPr>
        <p:spPr>
          <a:xfrm>
            <a:off x="5442400" y="4362836"/>
            <a:ext cx="0" cy="41009"/>
          </a:xfrm>
          <a:prstGeom prst="line">
            <a:avLst/>
          </a:prstGeom>
          <a:noFill/>
          <a:ln w="12700" cap="flat" cmpd="sng" algn="ctr">
            <a:solidFill>
              <a:sysClr val="windowText" lastClr="000000">
                <a:lumMod val="75000"/>
                <a:lumOff val="25000"/>
              </a:sysClr>
            </a:solidFill>
            <a:prstDash val="solid"/>
            <a:miter lim="800000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9" name="TextBox 28">
            <a:extLst>
              <a:ext uri="{FF2B5EF4-FFF2-40B4-BE49-F238E27FC236}">
                <a16:creationId xmlns:a16="http://schemas.microsoft.com/office/drawing/2014/main" id="{12B28AF2-D533-CEEF-8314-2E8A6F908890}"/>
              </a:ext>
            </a:extLst>
          </p:cNvPr>
          <p:cNvSpPr txBox="1"/>
          <p:nvPr/>
        </p:nvSpPr>
        <p:spPr>
          <a:xfrm>
            <a:off x="5264922" y="4410678"/>
            <a:ext cx="35482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40</a:t>
            </a:r>
          </a:p>
        </p:txBody>
      </p:sp>
      <p:sp>
        <p:nvSpPr>
          <p:cNvPr id="980" name="TextBox 39">
            <a:extLst>
              <a:ext uri="{FF2B5EF4-FFF2-40B4-BE49-F238E27FC236}">
                <a16:creationId xmlns:a16="http://schemas.microsoft.com/office/drawing/2014/main" id="{7CAAAAE1-137C-9220-290B-FA5D12027843}"/>
              </a:ext>
            </a:extLst>
          </p:cNvPr>
          <p:cNvSpPr txBox="1"/>
          <p:nvPr/>
        </p:nvSpPr>
        <p:spPr>
          <a:xfrm>
            <a:off x="5388054" y="4823143"/>
            <a:ext cx="108564" cy="769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00" b="0" i="0" u="none" strike="noStrike" kern="1200" cap="none" spc="-50" normalizeH="0" baseline="0" noProof="0">
                <a:ln>
                  <a:noFill/>
                </a:ln>
                <a:solidFill>
                  <a:srgbClr val="EB9200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0</a:t>
            </a:r>
          </a:p>
        </p:txBody>
      </p:sp>
      <p:sp>
        <p:nvSpPr>
          <p:cNvPr id="981" name="TextBox 39">
            <a:extLst>
              <a:ext uri="{FF2B5EF4-FFF2-40B4-BE49-F238E27FC236}">
                <a16:creationId xmlns:a16="http://schemas.microsoft.com/office/drawing/2014/main" id="{A1F5D9D3-2964-073E-A1C4-DB602D0F7503}"/>
              </a:ext>
            </a:extLst>
          </p:cNvPr>
          <p:cNvSpPr txBox="1"/>
          <p:nvPr/>
        </p:nvSpPr>
        <p:spPr>
          <a:xfrm>
            <a:off x="5284723" y="4921216"/>
            <a:ext cx="108564" cy="769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00" b="0" i="0" u="none" strike="noStrike" kern="1200" cap="none" spc="-50" normalizeH="0" baseline="0" noProof="0">
                <a:ln>
                  <a:noFill/>
                </a:ln>
                <a:solidFill>
                  <a:srgbClr val="2D5E77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</a:t>
            </a:r>
          </a:p>
        </p:txBody>
      </p:sp>
      <p:sp>
        <p:nvSpPr>
          <p:cNvPr id="982" name="TextBox 40">
            <a:extLst>
              <a:ext uri="{FF2B5EF4-FFF2-40B4-BE49-F238E27FC236}">
                <a16:creationId xmlns:a16="http://schemas.microsoft.com/office/drawing/2014/main" id="{AD802193-9B3D-F06D-AE76-6313EF0DAE85}"/>
              </a:ext>
            </a:extLst>
          </p:cNvPr>
          <p:cNvSpPr txBox="1"/>
          <p:nvPr/>
        </p:nvSpPr>
        <p:spPr>
          <a:xfrm>
            <a:off x="1418234" y="3779588"/>
            <a:ext cx="115359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Censored</a:t>
            </a:r>
          </a:p>
        </p:txBody>
      </p:sp>
      <p:cxnSp>
        <p:nvCxnSpPr>
          <p:cNvPr id="983" name="Straight Connector 982">
            <a:extLst>
              <a:ext uri="{FF2B5EF4-FFF2-40B4-BE49-F238E27FC236}">
                <a16:creationId xmlns:a16="http://schemas.microsoft.com/office/drawing/2014/main" id="{4D0CC48A-C22B-4829-94CA-6CC83FFD2763}"/>
              </a:ext>
            </a:extLst>
          </p:cNvPr>
          <p:cNvCxnSpPr>
            <a:cxnSpLocks/>
          </p:cNvCxnSpPr>
          <p:nvPr/>
        </p:nvCxnSpPr>
        <p:spPr>
          <a:xfrm>
            <a:off x="1366361" y="3887310"/>
            <a:ext cx="81711" cy="1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4" name="Straight Connector 983">
            <a:extLst>
              <a:ext uri="{FF2B5EF4-FFF2-40B4-BE49-F238E27FC236}">
                <a16:creationId xmlns:a16="http://schemas.microsoft.com/office/drawing/2014/main" id="{7CACC7D8-17CA-E1DF-290B-5670EF48A03A}"/>
              </a:ext>
            </a:extLst>
          </p:cNvPr>
          <p:cNvCxnSpPr>
            <a:cxnSpLocks/>
          </p:cNvCxnSpPr>
          <p:nvPr/>
        </p:nvCxnSpPr>
        <p:spPr>
          <a:xfrm rot="5400000">
            <a:off x="1364164" y="3887310"/>
            <a:ext cx="86103" cy="1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5" name="TextBox 40">
            <a:extLst>
              <a:ext uri="{FF2B5EF4-FFF2-40B4-BE49-F238E27FC236}">
                <a16:creationId xmlns:a16="http://schemas.microsoft.com/office/drawing/2014/main" id="{4E02F0B9-5BAC-6204-672C-B1E2111604A6}"/>
              </a:ext>
            </a:extLst>
          </p:cNvPr>
          <p:cNvSpPr txBox="1"/>
          <p:nvPr/>
        </p:nvSpPr>
        <p:spPr>
          <a:xfrm>
            <a:off x="291926" y="4921215"/>
            <a:ext cx="824875" cy="769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Patients with CR</a:t>
            </a:r>
          </a:p>
        </p:txBody>
      </p:sp>
      <p:graphicFrame>
        <p:nvGraphicFramePr>
          <p:cNvPr id="986" name="Table 0">
            <a:extLst>
              <a:ext uri="{FF2B5EF4-FFF2-40B4-BE49-F238E27FC236}">
                <a16:creationId xmlns:a16="http://schemas.microsoft.com/office/drawing/2014/main" id="{81DBC1D5-8B83-F1D0-9826-34FDCF193399}"/>
              </a:ext>
            </a:extLst>
          </p:cNvPr>
          <p:cNvGraphicFramePr>
            <a:graphicFrameLocks noGrp="1"/>
          </p:cNvGraphicFramePr>
          <p:nvPr/>
        </p:nvGraphicFramePr>
        <p:xfrm>
          <a:off x="6248193" y="1569337"/>
          <a:ext cx="5252169" cy="3877576"/>
        </p:xfrm>
        <a:graphic>
          <a:graphicData uri="http://schemas.openxmlformats.org/drawingml/2006/table">
            <a:tbl>
              <a:tblPr/>
              <a:tblGrid>
                <a:gridCol w="333014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2202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641050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r>
                        <a:rPr lang="en-GB" sz="1600" b="1" i="0" u="none" strike="noStrike" kern="120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OTIS-2</a:t>
                      </a:r>
                      <a:endParaRPr lang="en-GB" sz="1600" b="1">
                        <a:solidFill>
                          <a:schemeClr val="tx2"/>
                        </a:solidFill>
                        <a:latin typeface="+mn-lt"/>
                        <a:ea typeface="Arial" charset="0"/>
                        <a:cs typeface="Arial" charset="0"/>
                      </a:endParaRPr>
                    </a:p>
                  </a:txBody>
                  <a:tcPr marL="84667" marR="84667" marT="33867" marB="3386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GB" sz="1600" b="1" dirty="0" err="1">
                          <a:solidFill>
                            <a:schemeClr val="bg1"/>
                          </a:solidFill>
                          <a:latin typeface="+mn-lt"/>
                          <a:ea typeface="Arial" pitchFamily="34" charset="-122"/>
                          <a:cs typeface="Arial" pitchFamily="34" charset="-120"/>
                        </a:rPr>
                        <a:t>Loncastuximab</a:t>
                      </a:r>
                      <a:r>
                        <a:rPr lang="en-CH" sz="1600" b="1" dirty="0">
                          <a:solidFill>
                            <a:schemeClr val="bg1"/>
                          </a:solidFill>
                          <a:latin typeface="+mn-lt"/>
                          <a:ea typeface="Arial" pitchFamily="34" charset="-122"/>
                          <a:cs typeface="Arial" pitchFamily="34" charset="-120"/>
                        </a:rPr>
                        <a:t> </a:t>
                      </a:r>
                      <a:r>
                        <a:rPr lang="en-CH" sz="1600" b="1" dirty="0" err="1">
                          <a:solidFill>
                            <a:schemeClr val="bg1"/>
                          </a:solidFill>
                          <a:latin typeface="+mn-lt"/>
                          <a:ea typeface="Arial" pitchFamily="34" charset="-122"/>
                          <a:cs typeface="Arial" pitchFamily="34" charset="-120"/>
                        </a:rPr>
                        <a:t>tesirine</a:t>
                      </a:r>
                      <a:r>
                        <a:rPr lang="en-CH" sz="1600" b="1" dirty="0">
                          <a:solidFill>
                            <a:schemeClr val="bg1"/>
                          </a:solidFill>
                          <a:latin typeface="+mn-lt"/>
                          <a:ea typeface="Arial" pitchFamily="34" charset="-122"/>
                          <a:cs typeface="Arial" pitchFamily="34" charset="-120"/>
                        </a:rPr>
                        <a:t> </a:t>
                      </a:r>
                      <a:r>
                        <a:rPr lang="en-GB" sz="1600" b="1" dirty="0">
                          <a:solidFill>
                            <a:schemeClr val="bg1"/>
                          </a:solidFill>
                          <a:latin typeface="+mn-lt"/>
                          <a:ea typeface="Arial" charset="0"/>
                          <a:cs typeface="Arial" pitchFamily="34" charset="-120"/>
                        </a:rPr>
                        <a:t>(N=145)</a:t>
                      </a:r>
                      <a:endParaRPr lang="en-GB" sz="1600" dirty="0">
                        <a:solidFill>
                          <a:schemeClr val="bg1"/>
                        </a:solidFill>
                        <a:latin typeface="+mn-lt"/>
                        <a:ea typeface="Arial" charset="0"/>
                        <a:cs typeface="Arial" charset="0"/>
                      </a:endParaRPr>
                    </a:p>
                  </a:txBody>
                  <a:tcPr marL="84667" marR="84667" marT="33867" marB="3386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59614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r>
                        <a:rPr lang="en-GB" sz="1600">
                          <a:solidFill>
                            <a:schemeClr val="tx2"/>
                          </a:solidFill>
                          <a:latin typeface="+mn-lt"/>
                          <a:ea typeface="Arial" pitchFamily="34" charset="-122"/>
                          <a:cs typeface="Arial" pitchFamily="34" charset="-120"/>
                        </a:rPr>
                        <a:t>Grade ≥3 AEs</a:t>
                      </a:r>
                      <a:endParaRPr lang="en-GB" sz="1600">
                        <a:solidFill>
                          <a:schemeClr val="tx2"/>
                        </a:solidFill>
                        <a:latin typeface="+mn-lt"/>
                        <a:ea typeface="Arial" charset="0"/>
                        <a:cs typeface="Arial" charset="0"/>
                      </a:endParaRPr>
                    </a:p>
                  </a:txBody>
                  <a:tcPr marL="84667" marR="84667" marT="33867" marB="3386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GB" sz="1600" b="0">
                          <a:solidFill>
                            <a:schemeClr val="tx2"/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74%</a:t>
                      </a:r>
                    </a:p>
                  </a:txBody>
                  <a:tcPr marL="84667" marR="84667" marT="33867" marB="3386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59614">
                <a:tc>
                  <a:txBody>
                    <a:bodyPr/>
                    <a:lstStyle/>
                    <a:p>
                      <a:r>
                        <a:rPr lang="en-GB" sz="1600" kern="1200" dirty="0">
                          <a:solidFill>
                            <a:schemeClr val="tx2"/>
                          </a:solidFill>
                          <a:latin typeface="+mn-lt"/>
                          <a:ea typeface="Arial" charset="0"/>
                          <a:cs typeface="Arial" pitchFamily="34" charset="-120"/>
                        </a:rPr>
                        <a:t>Serious AEs</a:t>
                      </a:r>
                      <a:r>
                        <a:rPr lang="en-GB" sz="1600" kern="1200" baseline="30000" dirty="0">
                          <a:solidFill>
                            <a:schemeClr val="tx2"/>
                          </a:solidFill>
                          <a:latin typeface="+mn-lt"/>
                          <a:ea typeface="Arial" charset="0"/>
                          <a:cs typeface="Arial" pitchFamily="34" charset="-120"/>
                        </a:rPr>
                        <a:t>2</a:t>
                      </a:r>
                    </a:p>
                  </a:txBody>
                  <a:tcPr marL="84667" marR="84667" marT="33867" marB="3386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GB" sz="1600" b="0" dirty="0">
                          <a:solidFill>
                            <a:schemeClr val="tx2"/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39%</a:t>
                      </a:r>
                      <a:r>
                        <a:rPr lang="en-GB" sz="1600" b="0" baseline="30000" dirty="0">
                          <a:solidFill>
                            <a:schemeClr val="tx2"/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†</a:t>
                      </a:r>
                    </a:p>
                  </a:txBody>
                  <a:tcPr marL="84667" marR="84667" marT="33867" marB="3386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59614">
                <a:tc>
                  <a:txBody>
                    <a:bodyPr/>
                    <a:lstStyle/>
                    <a:p>
                      <a:r>
                        <a:rPr lang="en-GB" sz="1600" kern="1200">
                          <a:solidFill>
                            <a:schemeClr val="tx2"/>
                          </a:solidFill>
                          <a:latin typeface="+mn-lt"/>
                          <a:ea typeface="Arial" charset="0"/>
                          <a:cs typeface="Arial" pitchFamily="34" charset="-120"/>
                        </a:rPr>
                        <a:t>GGT elevation, any Gr / Gr ≥3</a:t>
                      </a:r>
                    </a:p>
                  </a:txBody>
                  <a:tcPr marL="84667" marR="84667" marT="33867" marB="3386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GB" sz="1600" b="0">
                          <a:solidFill>
                            <a:schemeClr val="tx2"/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42% / 17%</a:t>
                      </a:r>
                    </a:p>
                  </a:txBody>
                  <a:tcPr marL="84667" marR="84667" marT="33867" marB="3386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74056424"/>
                  </a:ext>
                </a:extLst>
              </a:tr>
              <a:tr h="359614">
                <a:tc>
                  <a:txBody>
                    <a:bodyPr/>
                    <a:lstStyle/>
                    <a:p>
                      <a:r>
                        <a:rPr lang="en-GB" sz="1600" kern="1200">
                          <a:solidFill>
                            <a:schemeClr val="tx2"/>
                          </a:solidFill>
                          <a:latin typeface="+mn-lt"/>
                          <a:ea typeface="Arial" charset="0"/>
                          <a:cs typeface="Arial" pitchFamily="34" charset="-120"/>
                        </a:rPr>
                        <a:t>Neutropenia, any Gr / Gr ≥3</a:t>
                      </a:r>
                    </a:p>
                  </a:txBody>
                  <a:tcPr marL="84667" marR="84667" marT="33867" marB="3386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GB" sz="1600" b="0">
                          <a:solidFill>
                            <a:schemeClr val="tx2"/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40% / 26%</a:t>
                      </a:r>
                    </a:p>
                  </a:txBody>
                  <a:tcPr marL="84667" marR="84667" marT="33867" marB="3386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59614">
                <a:tc>
                  <a:txBody>
                    <a:bodyPr/>
                    <a:lstStyle/>
                    <a:p>
                      <a:r>
                        <a:rPr lang="en-GB" sz="1600" kern="1200">
                          <a:solidFill>
                            <a:schemeClr val="tx2"/>
                          </a:solidFill>
                          <a:latin typeface="+mn-lt"/>
                          <a:ea typeface="Arial" charset="0"/>
                          <a:cs typeface="Arial" pitchFamily="34" charset="-120"/>
                        </a:rPr>
                        <a:t>Thrombocytopenia, any Gr / Gr ≥3</a:t>
                      </a:r>
                    </a:p>
                  </a:txBody>
                  <a:tcPr marL="84667" marR="84667" marT="33867" marB="3386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GB" sz="1600" b="0">
                          <a:solidFill>
                            <a:schemeClr val="tx2"/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33% / 18%</a:t>
                      </a:r>
                    </a:p>
                  </a:txBody>
                  <a:tcPr marL="84667" marR="84667" marT="33867" marB="3386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340919"/>
                  </a:ext>
                </a:extLst>
              </a:tr>
              <a:tr h="359614">
                <a:tc>
                  <a:txBody>
                    <a:bodyPr/>
                    <a:lstStyle/>
                    <a:p>
                      <a:r>
                        <a:rPr lang="en-GB" sz="1600" kern="1200">
                          <a:solidFill>
                            <a:schemeClr val="tx2"/>
                          </a:solidFill>
                          <a:latin typeface="+mn-lt"/>
                          <a:ea typeface="Arial" charset="0"/>
                          <a:cs typeface="Arial" pitchFamily="34" charset="-120"/>
                        </a:rPr>
                        <a:t>Peripheral oedema, any Gr / Gr ≥3</a:t>
                      </a:r>
                      <a:endParaRPr lang="en-GB" sz="1600" kern="1200" baseline="30000">
                        <a:solidFill>
                          <a:schemeClr val="tx2"/>
                        </a:solidFill>
                        <a:latin typeface="+mn-lt"/>
                        <a:ea typeface="Arial" charset="0"/>
                        <a:cs typeface="Arial" pitchFamily="34" charset="-120"/>
                      </a:endParaRPr>
                    </a:p>
                  </a:txBody>
                  <a:tcPr marL="84667" marR="84667" marT="33867" marB="3386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GB" sz="1600" b="0">
                          <a:solidFill>
                            <a:schemeClr val="tx2"/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20% / 1%</a:t>
                      </a:r>
                    </a:p>
                  </a:txBody>
                  <a:tcPr marL="84667" marR="84667" marT="33867" marB="3386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61923524"/>
                  </a:ext>
                </a:extLst>
              </a:tr>
              <a:tr h="359614">
                <a:tc>
                  <a:txBody>
                    <a:bodyPr/>
                    <a:lstStyle/>
                    <a:p>
                      <a:r>
                        <a:rPr lang="en-GB" sz="1600" kern="1200" baseline="0">
                          <a:solidFill>
                            <a:schemeClr val="tx2"/>
                          </a:solidFill>
                          <a:latin typeface="+mn-lt"/>
                          <a:ea typeface="Arial" charset="0"/>
                          <a:cs typeface="Arial" pitchFamily="34" charset="-120"/>
                        </a:rPr>
                        <a:t>Rash, any Gr / Gr ≥3</a:t>
                      </a:r>
                    </a:p>
                  </a:txBody>
                  <a:tcPr marL="84667" marR="84667" marT="33867" marB="3386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0">
                          <a:solidFill>
                            <a:schemeClr val="tx2"/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13% / &lt;1%</a:t>
                      </a:r>
                    </a:p>
                  </a:txBody>
                  <a:tcPr marL="84667" marR="84667" marT="33867" marB="3386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81572201"/>
                  </a:ext>
                </a:extLst>
              </a:tr>
              <a:tr h="359614">
                <a:tc>
                  <a:txBody>
                    <a:bodyPr/>
                    <a:lstStyle/>
                    <a:p>
                      <a:r>
                        <a:rPr lang="en-GB" sz="1600" kern="1200" baseline="0">
                          <a:solidFill>
                            <a:schemeClr val="tx2"/>
                          </a:solidFill>
                          <a:latin typeface="+mn-lt"/>
                          <a:ea typeface="Arial" charset="0"/>
                          <a:cs typeface="Arial" pitchFamily="34" charset="-120"/>
                        </a:rPr>
                        <a:t>Pleural effusion, </a:t>
                      </a:r>
                      <a:r>
                        <a:rPr lang="en-GB" sz="1600" kern="1200">
                          <a:solidFill>
                            <a:schemeClr val="tx2"/>
                          </a:solidFill>
                          <a:latin typeface="+mn-lt"/>
                          <a:ea typeface="Arial" charset="0"/>
                          <a:cs typeface="Arial" pitchFamily="34" charset="-120"/>
                        </a:rPr>
                        <a:t>any Gr / Gr ≥3</a:t>
                      </a:r>
                      <a:endParaRPr lang="en-GB" sz="1600" kern="1200" baseline="0">
                        <a:solidFill>
                          <a:schemeClr val="tx2"/>
                        </a:solidFill>
                        <a:latin typeface="+mn-lt"/>
                        <a:ea typeface="Arial" charset="0"/>
                        <a:cs typeface="Arial" pitchFamily="34" charset="-120"/>
                      </a:endParaRPr>
                    </a:p>
                  </a:txBody>
                  <a:tcPr marL="84667" marR="84667" marT="33867" marB="3386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GB" sz="1600" b="0">
                          <a:solidFill>
                            <a:schemeClr val="tx2"/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11% / 2%</a:t>
                      </a:r>
                    </a:p>
                  </a:txBody>
                  <a:tcPr marL="84667" marR="84667" marT="33867" marB="3386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5491294"/>
                  </a:ext>
                </a:extLst>
              </a:tr>
              <a:tr h="359614">
                <a:tc>
                  <a:txBody>
                    <a:bodyPr/>
                    <a:lstStyle/>
                    <a:p>
                      <a:r>
                        <a:rPr lang="en-GB" sz="1600" kern="1200" baseline="0">
                          <a:solidFill>
                            <a:schemeClr val="tx2"/>
                          </a:solidFill>
                          <a:latin typeface="+mn-lt"/>
                          <a:ea typeface="Arial" charset="0"/>
                          <a:cs typeface="Arial" pitchFamily="34" charset="-120"/>
                        </a:rPr>
                        <a:t>Photosensitivity, </a:t>
                      </a:r>
                      <a:r>
                        <a:rPr lang="en-GB" sz="1600" kern="1200">
                          <a:solidFill>
                            <a:schemeClr val="tx2"/>
                          </a:solidFill>
                          <a:latin typeface="+mn-lt"/>
                          <a:ea typeface="Arial" charset="0"/>
                          <a:cs typeface="Arial" pitchFamily="34" charset="-120"/>
                        </a:rPr>
                        <a:t>any Gr / Gr ≥3</a:t>
                      </a:r>
                      <a:endParaRPr lang="en-GB" sz="1600" kern="1200" baseline="0">
                        <a:solidFill>
                          <a:schemeClr val="tx2"/>
                        </a:solidFill>
                        <a:latin typeface="+mn-lt"/>
                        <a:ea typeface="Arial" charset="0"/>
                        <a:cs typeface="Arial" pitchFamily="34" charset="-120"/>
                      </a:endParaRPr>
                    </a:p>
                  </a:txBody>
                  <a:tcPr marL="84667" marR="84667" marT="33867" marB="3386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GB" sz="1600" b="0" dirty="0">
                          <a:solidFill>
                            <a:schemeClr val="tx2"/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10% / 2%</a:t>
                      </a:r>
                    </a:p>
                  </a:txBody>
                  <a:tcPr marL="84667" marR="84667" marT="33867" marB="3386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17186105"/>
                  </a:ext>
                </a:extLst>
              </a:tr>
            </a:tbl>
          </a:graphicData>
        </a:graphic>
      </p:graphicFrame>
      <p:sp>
        <p:nvSpPr>
          <p:cNvPr id="987" name="TextBox 986">
            <a:extLst>
              <a:ext uri="{FF2B5EF4-FFF2-40B4-BE49-F238E27FC236}">
                <a16:creationId xmlns:a16="http://schemas.microsoft.com/office/drawing/2014/main" id="{0355F044-1B79-4AA6-E56B-C39A8F152AFB}"/>
              </a:ext>
            </a:extLst>
          </p:cNvPr>
          <p:cNvSpPr txBox="1"/>
          <p:nvPr/>
        </p:nvSpPr>
        <p:spPr>
          <a:xfrm>
            <a:off x="1005494" y="1816688"/>
            <a:ext cx="4488221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Arial" charset="0"/>
                <a:cs typeface="Arial" charset="0"/>
              </a:rPr>
              <a:t>P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ivotal study PFS</a:t>
            </a:r>
            <a:r>
              <a:rPr kumimoji="0" lang="en-CH" sz="16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*</a:t>
            </a:r>
            <a:endParaRPr kumimoji="0" lang="en-GB" sz="1400" b="0" i="0" u="none" strike="noStrike" kern="1200" cap="none" spc="0" normalizeH="0" baseline="30000" noProof="0" dirty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1F60BE5-13DF-6533-07A1-D0DB11A088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651" y="6356350"/>
            <a:ext cx="383694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948FB62-8746-4D0D-BA71-8EB1BEE683ED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82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6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89962698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4EA3D7-80E1-8D3E-10E3-5F21A4F07C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al-world experience with </a:t>
            </a:r>
            <a:r>
              <a:rPr lang="en-GB" dirty="0" err="1"/>
              <a:t>loncastuximab</a:t>
            </a:r>
            <a:r>
              <a:rPr lang="en-CH" dirty="0"/>
              <a:t> </a:t>
            </a:r>
            <a:r>
              <a:rPr lang="en-CH" dirty="0" err="1"/>
              <a:t>tesirine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E5FD45D-E328-487A-1228-9636FAC2CF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01CC8E-1CEF-6746-999E-CF29FF00B1D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82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7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3BCBC5C-97DE-F412-958B-37B4456BE51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70645" y="5906221"/>
            <a:ext cx="10440000" cy="813730"/>
          </a:xfrm>
        </p:spPr>
        <p:txBody>
          <a:bodyPr/>
          <a:lstStyle/>
          <a:p>
            <a:r>
              <a:rPr lang="en-GB" b="1" dirty="0"/>
              <a:t>Direct comparisons between study results cannot be made due to differences in study design, patient populations, and endpoints; the information is presented for contextual purposes only. </a:t>
            </a:r>
          </a:p>
          <a:p>
            <a:r>
              <a:rPr lang="en-GB" dirty="0"/>
              <a:t>*Based on the full population (N=132, of which 45 received </a:t>
            </a:r>
            <a:r>
              <a:rPr lang="en-GB" dirty="0" err="1"/>
              <a:t>Loncastuximab</a:t>
            </a:r>
            <a:r>
              <a:rPr lang="en-GB" dirty="0"/>
              <a:t>). 3L, third line; 4L+, fourth line or later; CAR-T, chimeric antigen receptor T-cell therapy; DLBCL, diffuse large B-cell lymphoma; </a:t>
            </a:r>
            <a:r>
              <a:rPr lang="en-CH" dirty="0"/>
              <a:t>DH/TH, double-hit/triple-hit; </a:t>
            </a:r>
            <a:r>
              <a:rPr lang="en-GB" dirty="0"/>
              <a:t>ECOG PS, Eastern Cooperative Oncology Group performance status; EFS, event-free survival; </a:t>
            </a:r>
            <a:r>
              <a:rPr lang="en-CH" dirty="0"/>
              <a:t>HGBL, high-grade B-cell lymphoma; </a:t>
            </a:r>
            <a:r>
              <a:rPr lang="en-GB" dirty="0"/>
              <a:t>IQR, interquartile range; </a:t>
            </a:r>
            <a:r>
              <a:rPr lang="en-CH" dirty="0" err="1"/>
              <a:t>Lonca</a:t>
            </a:r>
            <a:r>
              <a:rPr lang="en-CH" dirty="0"/>
              <a:t>, </a:t>
            </a:r>
            <a:r>
              <a:rPr lang="en-CH" dirty="0" err="1"/>
              <a:t>loncastuximab</a:t>
            </a:r>
            <a:r>
              <a:rPr lang="en-CH" dirty="0"/>
              <a:t> </a:t>
            </a:r>
            <a:r>
              <a:rPr lang="en-CH" dirty="0" err="1"/>
              <a:t>tesirine</a:t>
            </a:r>
            <a:r>
              <a:rPr lang="en-CH" dirty="0"/>
              <a:t>; </a:t>
            </a:r>
            <a:r>
              <a:rPr lang="en-GB" dirty="0" err="1"/>
              <a:t>LoT</a:t>
            </a:r>
            <a:r>
              <a:rPr lang="en-GB" dirty="0"/>
              <a:t>, line of therapy; </a:t>
            </a:r>
            <a:r>
              <a:rPr lang="en-CH" dirty="0" err="1"/>
              <a:t>mEFS</a:t>
            </a:r>
            <a:r>
              <a:rPr lang="en-CH" dirty="0"/>
              <a:t>, median event-free survival; </a:t>
            </a:r>
            <a:r>
              <a:rPr lang="en-GB" dirty="0" err="1"/>
              <a:t>mOS</a:t>
            </a:r>
            <a:r>
              <a:rPr lang="en-GB" dirty="0"/>
              <a:t>, median overall survival; </a:t>
            </a:r>
            <a:r>
              <a:rPr lang="en-GB" dirty="0" err="1"/>
              <a:t>mPFS</a:t>
            </a:r>
            <a:r>
              <a:rPr lang="en-GB" dirty="0"/>
              <a:t>, median progression-free survival; NA, not available; NR, not reached; R/R, relapsed/refractory; </a:t>
            </a:r>
            <a:endParaRPr lang="en-CH" dirty="0"/>
          </a:p>
          <a:p>
            <a:r>
              <a:rPr lang="en-GB" dirty="0"/>
              <a:t>SD, standard deviation. </a:t>
            </a:r>
            <a:r>
              <a:rPr lang="en-GB" b="1" dirty="0"/>
              <a:t>1.</a:t>
            </a:r>
            <a:r>
              <a:rPr lang="en-GB" dirty="0"/>
              <a:t> Caimi et al. </a:t>
            </a:r>
            <a:r>
              <a:rPr lang="en-GB" i="1" dirty="0"/>
              <a:t>Lancet Oncol</a:t>
            </a:r>
            <a:r>
              <a:rPr lang="en-GB" dirty="0"/>
              <a:t> 2021 </a:t>
            </a:r>
            <a:r>
              <a:rPr lang="en-GB" b="1" dirty="0"/>
              <a:t>2.</a:t>
            </a:r>
            <a:r>
              <a:rPr lang="en-GB" dirty="0"/>
              <a:t> Caimi et al. </a:t>
            </a:r>
            <a:r>
              <a:rPr lang="en-GB" i="1" dirty="0" err="1"/>
              <a:t>Haematologica</a:t>
            </a:r>
            <a:r>
              <a:rPr lang="en-GB" dirty="0"/>
              <a:t> 2024 </a:t>
            </a:r>
            <a:r>
              <a:rPr lang="en-GB" b="1" dirty="0"/>
              <a:t>3. </a:t>
            </a:r>
            <a:r>
              <a:rPr lang="en-GB" dirty="0"/>
              <a:t>Lin et al. </a:t>
            </a:r>
            <a:r>
              <a:rPr lang="en-GB" i="1" dirty="0" err="1"/>
              <a:t>Haematologica</a:t>
            </a:r>
            <a:r>
              <a:rPr lang="en-GB" dirty="0"/>
              <a:t> 2025</a:t>
            </a:r>
            <a:r>
              <a:rPr lang="en-GB" b="1" dirty="0"/>
              <a:t> 4. </a:t>
            </a:r>
            <a:r>
              <a:rPr lang="en-GB" dirty="0" err="1"/>
              <a:t>Nastoupil</a:t>
            </a:r>
            <a:r>
              <a:rPr lang="en-GB" dirty="0"/>
              <a:t> et al. </a:t>
            </a:r>
            <a:r>
              <a:rPr lang="en-GB" i="1" dirty="0"/>
              <a:t>Clin Lymphoma Myeloma Leuk</a:t>
            </a:r>
            <a:r>
              <a:rPr lang="en-GB" dirty="0"/>
              <a:t> 2024 </a:t>
            </a:r>
            <a:endParaRPr lang="en-CH" dirty="0"/>
          </a:p>
          <a:p>
            <a:r>
              <a:rPr lang="en-GB" b="1" dirty="0"/>
              <a:t>5. </a:t>
            </a:r>
            <a:r>
              <a:rPr lang="en-GB" dirty="0" err="1"/>
              <a:t>Epperla</a:t>
            </a:r>
            <a:r>
              <a:rPr lang="en-GB" dirty="0"/>
              <a:t> et al. </a:t>
            </a:r>
            <a:r>
              <a:rPr lang="en-GB" i="1" dirty="0"/>
              <a:t>Blood Cancer J</a:t>
            </a:r>
            <a:r>
              <a:rPr lang="en-GB" dirty="0"/>
              <a:t> 2024 </a:t>
            </a:r>
            <a:r>
              <a:rPr lang="en-GB" b="1" dirty="0"/>
              <a:t>6. </a:t>
            </a:r>
            <a:r>
              <a:rPr lang="en-GB" dirty="0"/>
              <a:t>Godbole et al. ASH 2024; Poster #4460 </a:t>
            </a:r>
            <a:r>
              <a:rPr lang="en-GB" b="1" dirty="0"/>
              <a:t>7. </a:t>
            </a:r>
            <a:r>
              <a:rPr lang="en-GB" dirty="0" err="1"/>
              <a:t>Zelikson</a:t>
            </a:r>
            <a:r>
              <a:rPr lang="en-GB" dirty="0"/>
              <a:t> et al. </a:t>
            </a:r>
            <a:r>
              <a:rPr lang="en-GB" i="1" dirty="0" err="1"/>
              <a:t>Haematologica</a:t>
            </a:r>
            <a:r>
              <a:rPr lang="en-GB" i="1" dirty="0"/>
              <a:t> </a:t>
            </a:r>
            <a:r>
              <a:rPr lang="en-GB" dirty="0"/>
              <a:t>2025 </a:t>
            </a:r>
            <a:r>
              <a:rPr lang="en-GB" b="1" dirty="0"/>
              <a:t>8. </a:t>
            </a:r>
            <a:r>
              <a:rPr lang="en-GB" dirty="0" err="1"/>
              <a:t>Shumilov</a:t>
            </a:r>
            <a:r>
              <a:rPr lang="en-GB" dirty="0"/>
              <a:t> et al. ASH 2025; Poster #5473 </a:t>
            </a:r>
            <a:r>
              <a:rPr lang="en-GB" b="1" dirty="0"/>
              <a:t>9. </a:t>
            </a:r>
            <a:r>
              <a:rPr lang="en-CH" dirty="0"/>
              <a:t>Broccoli et al. EHA 2026; Abstract #PF1024</a:t>
            </a:r>
            <a:r>
              <a:rPr lang="en-GB" dirty="0"/>
              <a:t>.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69C47105-B210-BD55-921B-A18CC56B856F}"/>
              </a:ext>
            </a:extLst>
          </p:cNvPr>
          <p:cNvGraphicFramePr>
            <a:graphicFrameLocks/>
          </p:cNvGraphicFramePr>
          <p:nvPr/>
        </p:nvGraphicFramePr>
        <p:xfrm>
          <a:off x="839787" y="1195177"/>
          <a:ext cx="10851027" cy="3747843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2125086">
                  <a:extLst>
                    <a:ext uri="{9D8B030D-6E8A-4147-A177-3AD203B41FA5}">
                      <a16:colId xmlns:a16="http://schemas.microsoft.com/office/drawing/2014/main" val="869480336"/>
                    </a:ext>
                  </a:extLst>
                </a:gridCol>
                <a:gridCol w="1005403">
                  <a:extLst>
                    <a:ext uri="{9D8B030D-6E8A-4147-A177-3AD203B41FA5}">
                      <a16:colId xmlns:a16="http://schemas.microsoft.com/office/drawing/2014/main" val="2727456033"/>
                    </a:ext>
                  </a:extLst>
                </a:gridCol>
                <a:gridCol w="986846">
                  <a:extLst>
                    <a:ext uri="{9D8B030D-6E8A-4147-A177-3AD203B41FA5}">
                      <a16:colId xmlns:a16="http://schemas.microsoft.com/office/drawing/2014/main" val="2982722857"/>
                    </a:ext>
                  </a:extLst>
                </a:gridCol>
                <a:gridCol w="1122282">
                  <a:extLst>
                    <a:ext uri="{9D8B030D-6E8A-4147-A177-3AD203B41FA5}">
                      <a16:colId xmlns:a16="http://schemas.microsoft.com/office/drawing/2014/main" val="2446632181"/>
                    </a:ext>
                  </a:extLst>
                </a:gridCol>
                <a:gridCol w="1122282">
                  <a:extLst>
                    <a:ext uri="{9D8B030D-6E8A-4147-A177-3AD203B41FA5}">
                      <a16:colId xmlns:a16="http://schemas.microsoft.com/office/drawing/2014/main" val="764797172"/>
                    </a:ext>
                  </a:extLst>
                </a:gridCol>
                <a:gridCol w="1122282">
                  <a:extLst>
                    <a:ext uri="{9D8B030D-6E8A-4147-A177-3AD203B41FA5}">
                      <a16:colId xmlns:a16="http://schemas.microsoft.com/office/drawing/2014/main" val="854229230"/>
                    </a:ext>
                  </a:extLst>
                </a:gridCol>
                <a:gridCol w="1122282">
                  <a:extLst>
                    <a:ext uri="{9D8B030D-6E8A-4147-A177-3AD203B41FA5}">
                      <a16:colId xmlns:a16="http://schemas.microsoft.com/office/drawing/2014/main" val="3529841271"/>
                    </a:ext>
                  </a:extLst>
                </a:gridCol>
                <a:gridCol w="1122282">
                  <a:extLst>
                    <a:ext uri="{9D8B030D-6E8A-4147-A177-3AD203B41FA5}">
                      <a16:colId xmlns:a16="http://schemas.microsoft.com/office/drawing/2014/main" val="761752679"/>
                    </a:ext>
                  </a:extLst>
                </a:gridCol>
                <a:gridCol w="1122282">
                  <a:extLst>
                    <a:ext uri="{9D8B030D-6E8A-4147-A177-3AD203B41FA5}">
                      <a16:colId xmlns:a16="http://schemas.microsoft.com/office/drawing/2014/main" val="1741786083"/>
                    </a:ext>
                  </a:extLst>
                </a:gridCol>
              </a:tblGrid>
              <a:tr h="1029951">
                <a:tc>
                  <a:txBody>
                    <a:bodyPr/>
                    <a:lstStyle/>
                    <a:p>
                      <a:endParaRPr lang="it-IT" sz="1200">
                        <a:solidFill>
                          <a:schemeClr val="bg1"/>
                        </a:solidFill>
                        <a:highlight>
                          <a:srgbClr val="00FFFF"/>
                        </a:highlight>
                      </a:endParaRP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bg1"/>
                          </a:solidFill>
                        </a:rPr>
                        <a:t>Lonca pivotal study</a:t>
                      </a:r>
                    </a:p>
                    <a:p>
                      <a:pPr algn="ctr"/>
                      <a:r>
                        <a:rPr lang="it-IT" sz="1200">
                          <a:solidFill>
                            <a:schemeClr val="bg1"/>
                          </a:solidFill>
                        </a:rPr>
                        <a:t>LOTIS-2</a:t>
                      </a:r>
                      <a:r>
                        <a:rPr lang="it-IT" sz="1200" baseline="30000">
                          <a:solidFill>
                            <a:schemeClr val="bg1"/>
                          </a:solidFill>
                        </a:rPr>
                        <a:t>1</a:t>
                      </a:r>
                    </a:p>
                    <a:p>
                      <a:pPr algn="ctr"/>
                      <a:r>
                        <a:rPr lang="it-IT" sz="1200">
                          <a:solidFill>
                            <a:schemeClr val="bg1"/>
                          </a:solidFill>
                        </a:rPr>
                        <a:t>N=145</a:t>
                      </a: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bg1"/>
                          </a:solidFill>
                        </a:rPr>
                        <a:t>Lonca Phase 2 study</a:t>
                      </a:r>
                    </a:p>
                    <a:p>
                      <a:pPr algn="ctr"/>
                      <a:r>
                        <a:rPr lang="it-IT" sz="1200">
                          <a:solidFill>
                            <a:schemeClr val="bg1"/>
                          </a:solidFill>
                        </a:rPr>
                        <a:t>China</a:t>
                      </a:r>
                      <a:r>
                        <a:rPr lang="it-IT" sz="1200" baseline="30000">
                          <a:solidFill>
                            <a:schemeClr val="bg1"/>
                          </a:solidFill>
                        </a:rPr>
                        <a:t>3</a:t>
                      </a:r>
                    </a:p>
                    <a:p>
                      <a:pPr algn="ctr"/>
                      <a:r>
                        <a:rPr lang="it-IT" sz="1200">
                          <a:solidFill>
                            <a:schemeClr val="bg1"/>
                          </a:solidFill>
                        </a:rPr>
                        <a:t>N=64</a:t>
                      </a: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Nastoupil </a:t>
                      </a:r>
                      <a:r>
                        <a:rPr lang="it-IT" sz="1100">
                          <a:solidFill>
                            <a:schemeClr val="tx2"/>
                          </a:solidFill>
                        </a:rPr>
                        <a:t>2024</a:t>
                      </a:r>
                    </a:p>
                    <a:p>
                      <a:pPr algn="ctr"/>
                      <a:r>
                        <a:rPr lang="it-IT" sz="1100">
                          <a:solidFill>
                            <a:schemeClr val="tx2"/>
                          </a:solidFill>
                        </a:rPr>
                        <a:t>(US)</a:t>
                      </a:r>
                      <a:r>
                        <a:rPr lang="it-IT" sz="1100" baseline="30000">
                          <a:solidFill>
                            <a:schemeClr val="tx2"/>
                          </a:solidFill>
                        </a:rPr>
                        <a:t>4</a:t>
                      </a:r>
                    </a:p>
                    <a:p>
                      <a:pPr algn="ctr"/>
                      <a:r>
                        <a:rPr lang="it-IT" sz="1100">
                          <a:solidFill>
                            <a:schemeClr val="tx2"/>
                          </a:solidFill>
                        </a:rPr>
                        <a:t>N=42</a:t>
                      </a: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Epperla </a:t>
                      </a:r>
                      <a:r>
                        <a:rPr lang="it-IT" sz="1100">
                          <a:solidFill>
                            <a:schemeClr val="tx2"/>
                          </a:solidFill>
                        </a:rPr>
                        <a:t>2024 </a:t>
                      </a:r>
                    </a:p>
                    <a:p>
                      <a:pPr algn="ctr"/>
                      <a:r>
                        <a:rPr lang="it-IT" sz="1100">
                          <a:solidFill>
                            <a:schemeClr val="tx2"/>
                          </a:solidFill>
                        </a:rPr>
                        <a:t>(US)</a:t>
                      </a:r>
                      <a:r>
                        <a:rPr lang="it-IT" sz="1100" baseline="30000">
                          <a:solidFill>
                            <a:schemeClr val="tx2"/>
                          </a:solidFill>
                        </a:rPr>
                        <a:t>5</a:t>
                      </a:r>
                    </a:p>
                    <a:p>
                      <a:pPr algn="ctr"/>
                      <a:r>
                        <a:rPr lang="it-IT" sz="1100">
                          <a:solidFill>
                            <a:schemeClr val="tx2"/>
                          </a:solidFill>
                        </a:rPr>
                        <a:t>3L, N=95</a:t>
                      </a: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  <a:latin typeface="+mn-lt"/>
                        </a:rPr>
                        <a:t>Godbole </a:t>
                      </a:r>
                      <a:br>
                        <a:rPr lang="it-IT" sz="1200">
                          <a:solidFill>
                            <a:schemeClr val="tx2"/>
                          </a:solidFill>
                          <a:latin typeface="+mn-lt"/>
                        </a:rPr>
                      </a:br>
                      <a:r>
                        <a:rPr lang="it-IT" sz="1100">
                          <a:solidFill>
                            <a:schemeClr val="tx2"/>
                          </a:solidFill>
                          <a:latin typeface="+mn-lt"/>
                        </a:rPr>
                        <a:t>2024</a:t>
                      </a:r>
                    </a:p>
                    <a:p>
                      <a:pPr algn="ctr"/>
                      <a:r>
                        <a:rPr lang="it-IT" sz="1100">
                          <a:solidFill>
                            <a:schemeClr val="tx2"/>
                          </a:solidFill>
                          <a:latin typeface="+mn-lt"/>
                        </a:rPr>
                        <a:t>(US)</a:t>
                      </a:r>
                      <a:r>
                        <a:rPr lang="it-IT" sz="1100" baseline="30000">
                          <a:solidFill>
                            <a:schemeClr val="tx2"/>
                          </a:solidFill>
                          <a:latin typeface="+mn-lt"/>
                        </a:rPr>
                        <a:t>6</a:t>
                      </a:r>
                    </a:p>
                    <a:p>
                      <a:pPr algn="ctr"/>
                      <a:r>
                        <a:rPr lang="it-IT" sz="1100">
                          <a:solidFill>
                            <a:schemeClr val="tx2"/>
                          </a:solidFill>
                          <a:latin typeface="+mn-lt"/>
                        </a:rPr>
                        <a:t>N=45</a:t>
                      </a: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1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85854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Zelikson </a:t>
                      </a:r>
                      <a:br>
                        <a:rPr kumimoji="0" lang="it-IT" sz="1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85854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it-IT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85854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025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85854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US)</a:t>
                      </a:r>
                      <a:r>
                        <a:rPr kumimoji="0" lang="it-IT" sz="1100" b="1" i="0" u="none" strike="noStrike" kern="1200" cap="none" spc="0" normalizeH="0" baseline="30000" noProof="0">
                          <a:ln>
                            <a:noFill/>
                          </a:ln>
                          <a:solidFill>
                            <a:srgbClr val="585854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85854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=187</a:t>
                      </a:r>
                      <a:endParaRPr lang="it-IT" sz="1200">
                        <a:solidFill>
                          <a:schemeClr val="tx2"/>
                        </a:solidFill>
                      </a:endParaRPr>
                    </a:p>
                  </a:txBody>
                  <a:tcPr marL="0" marR="0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  <a:latin typeface="+mn-lt"/>
                        </a:rPr>
                        <a:t>Shumilov</a:t>
                      </a:r>
                    </a:p>
                    <a:p>
                      <a:pPr algn="ctr"/>
                      <a:r>
                        <a:rPr lang="it-IT" sz="1100">
                          <a:solidFill>
                            <a:schemeClr val="tx2"/>
                          </a:solidFill>
                          <a:latin typeface="+mn-lt"/>
                        </a:rPr>
                        <a:t>2025</a:t>
                      </a:r>
                    </a:p>
                    <a:p>
                      <a:pPr algn="ctr"/>
                      <a:r>
                        <a:rPr lang="it-IT" sz="1100">
                          <a:solidFill>
                            <a:schemeClr val="tx2"/>
                          </a:solidFill>
                          <a:latin typeface="+mn-lt"/>
                        </a:rPr>
                        <a:t>(Germany)</a:t>
                      </a:r>
                      <a:r>
                        <a:rPr lang="it-IT" sz="1100" baseline="30000">
                          <a:solidFill>
                            <a:schemeClr val="tx2"/>
                          </a:solidFill>
                          <a:latin typeface="+mn-lt"/>
                        </a:rPr>
                        <a:t>8</a:t>
                      </a:r>
                    </a:p>
                    <a:p>
                      <a:pPr algn="ctr"/>
                      <a:r>
                        <a:rPr lang="it-IT" sz="1100">
                          <a:solidFill>
                            <a:schemeClr val="tx2"/>
                          </a:solidFill>
                          <a:latin typeface="+mn-lt"/>
                        </a:rPr>
                        <a:t>N=93</a:t>
                      </a:r>
                      <a:endParaRPr lang="it-IT" sz="1100" baseline="3000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CH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85854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Broccoli</a:t>
                      </a:r>
                      <a:r>
                        <a:rPr kumimoji="0" lang="en-GB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85854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br>
                        <a:rPr kumimoji="0" lang="en-GB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85854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 panose="020F0502020204030204" pitchFamily="34" charset="0"/>
                        </a:rPr>
                      </a:br>
                      <a:r>
                        <a:rPr kumimoji="0" lang="en-GB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85854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2026</a:t>
                      </a:r>
                    </a:p>
                    <a:p>
                      <a:pPr algn="ctr"/>
                      <a:r>
                        <a:rPr kumimoji="0" lang="en-GB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85854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(Italy)</a:t>
                      </a:r>
                      <a:r>
                        <a:rPr kumimoji="0" lang="en-GB" sz="1100" b="1" i="0" u="none" strike="noStrike" kern="1200" cap="none" spc="0" normalizeH="0" baseline="30000" noProof="0" dirty="0">
                          <a:ln>
                            <a:noFill/>
                          </a:ln>
                          <a:solidFill>
                            <a:srgbClr val="585854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9</a:t>
                      </a:r>
                    </a:p>
                    <a:p>
                      <a:pPr algn="ctr"/>
                      <a:r>
                        <a:rPr kumimoji="0" lang="en-GB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85854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N=</a:t>
                      </a:r>
                      <a:r>
                        <a:rPr kumimoji="0" lang="en-CH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85854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37</a:t>
                      </a:r>
                      <a:endParaRPr lang="it-IT" sz="1100" i="0" baseline="300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0849535"/>
                  </a:ext>
                </a:extLst>
              </a:tr>
              <a:tr h="468159">
                <a:tc>
                  <a:txBody>
                    <a:bodyPr/>
                    <a:lstStyle/>
                    <a:p>
                      <a:r>
                        <a:rPr lang="it-IT" sz="1200" b="1">
                          <a:solidFill>
                            <a:schemeClr val="tx2"/>
                          </a:solidFill>
                        </a:rPr>
                        <a:t>Age, median (range), years </a:t>
                      </a:r>
                    </a:p>
                  </a:txBody>
                  <a:tcP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66 </a:t>
                      </a:r>
                      <a:br>
                        <a:rPr lang="it-IT" sz="1200">
                          <a:solidFill>
                            <a:schemeClr val="tx2"/>
                          </a:solidFill>
                        </a:rPr>
                      </a:br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(IQR 56–71)</a:t>
                      </a:r>
                    </a:p>
                  </a:txBody>
                  <a:tcP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60 </a:t>
                      </a:r>
                      <a:br>
                        <a:rPr lang="it-IT" sz="1200">
                          <a:solidFill>
                            <a:schemeClr val="tx2"/>
                          </a:solidFill>
                        </a:rPr>
                      </a:br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(26–81)</a:t>
                      </a:r>
                    </a:p>
                  </a:txBody>
                  <a:tcP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68 </a:t>
                      </a:r>
                      <a:br>
                        <a:rPr lang="it-IT" sz="1200">
                          <a:solidFill>
                            <a:schemeClr val="tx2"/>
                          </a:solidFill>
                        </a:rPr>
                      </a:br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(SD 12.4)</a:t>
                      </a:r>
                    </a:p>
                  </a:txBody>
                  <a:tcP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66 </a:t>
                      </a:r>
                      <a:br>
                        <a:rPr lang="it-IT" sz="1200">
                          <a:solidFill>
                            <a:schemeClr val="tx2"/>
                          </a:solidFill>
                        </a:rPr>
                      </a:br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(IQR 61–72)</a:t>
                      </a:r>
                    </a:p>
                  </a:txBody>
                  <a:tcP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  <a:latin typeface="+mn-lt"/>
                        </a:rPr>
                        <a:t>66 </a:t>
                      </a:r>
                      <a:br>
                        <a:rPr lang="it-IT" sz="1200">
                          <a:solidFill>
                            <a:schemeClr val="tx2"/>
                          </a:solidFill>
                          <a:latin typeface="+mn-lt"/>
                        </a:rPr>
                      </a:br>
                      <a:r>
                        <a:rPr lang="it-IT" sz="1200">
                          <a:solidFill>
                            <a:schemeClr val="tx2"/>
                          </a:solidFill>
                          <a:latin typeface="+mn-lt"/>
                        </a:rPr>
                        <a:t>(24–86)*</a:t>
                      </a:r>
                    </a:p>
                  </a:txBody>
                  <a:tcP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  <a:latin typeface="+mn-lt"/>
                        </a:rPr>
                        <a:t>65–75: 33%</a:t>
                      </a:r>
                    </a:p>
                  </a:txBody>
                  <a:tcP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  <a:latin typeface="+mn-lt"/>
                        </a:rPr>
                        <a:t>67 </a:t>
                      </a:r>
                      <a:br>
                        <a:rPr lang="it-IT" sz="1200">
                          <a:solidFill>
                            <a:schemeClr val="tx2"/>
                          </a:solidFill>
                          <a:latin typeface="+mn-lt"/>
                        </a:rPr>
                      </a:br>
                      <a:r>
                        <a:rPr lang="it-IT" sz="1200">
                          <a:solidFill>
                            <a:schemeClr val="tx2"/>
                          </a:solidFill>
                          <a:latin typeface="+mn-lt"/>
                        </a:rPr>
                        <a:t>(25–88)</a:t>
                      </a:r>
                    </a:p>
                  </a:txBody>
                  <a:tcP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H" sz="1200" dirty="0">
                          <a:solidFill>
                            <a:schemeClr val="tx2"/>
                          </a:solidFill>
                        </a:rPr>
                        <a:t>69</a:t>
                      </a:r>
                      <a:r>
                        <a:rPr lang="it-IT" sz="1200" dirty="0">
                          <a:solidFill>
                            <a:schemeClr val="tx2"/>
                          </a:solidFill>
                        </a:rPr>
                        <a:t> </a:t>
                      </a:r>
                      <a:br>
                        <a:rPr lang="it-IT" sz="1200" dirty="0">
                          <a:solidFill>
                            <a:schemeClr val="tx2"/>
                          </a:solidFill>
                        </a:rPr>
                      </a:br>
                      <a:r>
                        <a:rPr lang="it-IT" sz="1200" dirty="0">
                          <a:solidFill>
                            <a:schemeClr val="tx2"/>
                          </a:solidFill>
                        </a:rPr>
                        <a:t>(</a:t>
                      </a:r>
                      <a:r>
                        <a:rPr lang="en-CH" sz="1200" dirty="0">
                          <a:solidFill>
                            <a:schemeClr val="tx2"/>
                          </a:solidFill>
                        </a:rPr>
                        <a:t>26</a:t>
                      </a:r>
                      <a:r>
                        <a:rPr lang="it-IT" sz="1200" dirty="0">
                          <a:solidFill>
                            <a:schemeClr val="tx2"/>
                          </a:solidFill>
                        </a:rPr>
                        <a:t>–</a:t>
                      </a:r>
                      <a:r>
                        <a:rPr lang="en-CH" sz="1200" dirty="0">
                          <a:solidFill>
                            <a:schemeClr val="tx2"/>
                          </a:solidFill>
                        </a:rPr>
                        <a:t>90</a:t>
                      </a:r>
                      <a:r>
                        <a:rPr lang="it-IT" sz="1200" dirty="0">
                          <a:solidFill>
                            <a:schemeClr val="tx2"/>
                          </a:solidFill>
                        </a:rPr>
                        <a:t>)</a:t>
                      </a:r>
                    </a:p>
                  </a:txBody>
                  <a:tcP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76859340"/>
                  </a:ext>
                </a:extLst>
              </a:tr>
              <a:tr h="280896">
                <a:tc>
                  <a:txBody>
                    <a:bodyPr/>
                    <a:lstStyle/>
                    <a:p>
                      <a:r>
                        <a:rPr lang="it-IT" sz="1200" b="1">
                          <a:solidFill>
                            <a:schemeClr val="tx2"/>
                          </a:solidFill>
                        </a:rPr>
                        <a:t>ECOG PS ≥2, 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NA</a:t>
                      </a: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8</a:t>
                      </a: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2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N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  <a:latin typeface="+mn-lt"/>
                        </a:rPr>
                        <a:t>N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  <a:latin typeface="+mn-lt"/>
                        </a:rPr>
                        <a:t>≥3: 26%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  <a:latin typeface="+mn-lt"/>
                        </a:rPr>
                        <a:t>4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H" sz="1200" dirty="0">
                          <a:solidFill>
                            <a:schemeClr val="tx2"/>
                          </a:solidFill>
                          <a:latin typeface="+mn-lt"/>
                        </a:rPr>
                        <a:t>43</a:t>
                      </a:r>
                      <a:endParaRPr lang="it-IT" sz="12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77207714"/>
                  </a:ext>
                </a:extLst>
              </a:tr>
              <a:tr h="468159">
                <a:tc>
                  <a:txBody>
                    <a:bodyPr/>
                    <a:lstStyle/>
                    <a:p>
                      <a:r>
                        <a:rPr lang="it-IT" sz="1200" b="1">
                          <a:solidFill>
                            <a:schemeClr val="tx2"/>
                          </a:solidFill>
                        </a:rPr>
                        <a:t>Median n of prior LoT</a:t>
                      </a:r>
                    </a:p>
                  </a:txBody>
                  <a:tcPr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3 (2–4)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3 (2–12)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NA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2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  <a:latin typeface="+mn-lt"/>
                        </a:rPr>
                        <a:t>5 (2–7)*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  <a:latin typeface="+mn-lt"/>
                        </a:rPr>
                        <a:t>4L+: 81%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  <a:latin typeface="+mn-lt"/>
                        </a:rPr>
                        <a:t>4L+: 41%</a:t>
                      </a:r>
                    </a:p>
                  </a:txBody>
                  <a:tcPr>
                    <a:lnL>
                      <a:noFill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H" sz="1200" dirty="0">
                          <a:solidFill>
                            <a:schemeClr val="tx2"/>
                          </a:solidFill>
                          <a:latin typeface="+mn-lt"/>
                        </a:rPr>
                        <a:t>3</a:t>
                      </a:r>
                      <a:r>
                        <a:rPr lang="it-IT" sz="1200" dirty="0">
                          <a:solidFill>
                            <a:schemeClr val="tx2"/>
                          </a:solidFill>
                          <a:latin typeface="+mn-lt"/>
                        </a:rPr>
                        <a:t> (</a:t>
                      </a:r>
                      <a:r>
                        <a:rPr lang="en-CH" sz="1200" dirty="0">
                          <a:solidFill>
                            <a:schemeClr val="tx2"/>
                          </a:solidFill>
                          <a:latin typeface="+mn-lt"/>
                        </a:rPr>
                        <a:t>2</a:t>
                      </a:r>
                      <a:r>
                        <a:rPr lang="it-IT" sz="1200" dirty="0">
                          <a:solidFill>
                            <a:schemeClr val="tx2"/>
                          </a:solidFill>
                          <a:latin typeface="+mn-lt"/>
                        </a:rPr>
                        <a:t>–</a:t>
                      </a:r>
                      <a:r>
                        <a:rPr lang="en-CH" sz="1200" dirty="0">
                          <a:solidFill>
                            <a:schemeClr val="tx2"/>
                          </a:solidFill>
                          <a:latin typeface="+mn-lt"/>
                        </a:rPr>
                        <a:t>12</a:t>
                      </a:r>
                      <a:r>
                        <a:rPr lang="it-IT" sz="1200" dirty="0">
                          <a:solidFill>
                            <a:schemeClr val="tx2"/>
                          </a:solidFill>
                          <a:latin typeface="+mn-lt"/>
                        </a:rPr>
                        <a:t>)</a:t>
                      </a:r>
                    </a:p>
                  </a:txBody>
                  <a:tcPr>
                    <a:lnL>
                      <a:noFill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1511822"/>
                  </a:ext>
                </a:extLst>
              </a:tr>
              <a:tr h="468159">
                <a:tc>
                  <a:txBody>
                    <a:bodyPr/>
                    <a:lstStyle/>
                    <a:p>
                      <a:r>
                        <a:rPr lang="it-IT" sz="1200" b="1">
                          <a:solidFill>
                            <a:schemeClr val="tx2"/>
                          </a:solidFill>
                        </a:rPr>
                        <a:t>Refractory to last therapy, %</a:t>
                      </a:r>
                    </a:p>
                  </a:txBody>
                  <a:tcP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58</a:t>
                      </a:r>
                    </a:p>
                  </a:txBody>
                  <a:tcP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88</a:t>
                      </a:r>
                    </a:p>
                  </a:txBody>
                  <a:tcP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NA</a:t>
                      </a:r>
                    </a:p>
                  </a:txBody>
                  <a:tcP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NA</a:t>
                      </a:r>
                    </a:p>
                  </a:txBody>
                  <a:tcP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  <a:latin typeface="+mn-lt"/>
                        </a:rPr>
                        <a:t>NA</a:t>
                      </a:r>
                    </a:p>
                  </a:txBody>
                  <a:tcP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  <a:latin typeface="+mn-lt"/>
                        </a:rPr>
                        <a:t>NA</a:t>
                      </a:r>
                    </a:p>
                  </a:txBody>
                  <a:tcP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  <a:latin typeface="+mn-lt"/>
                        </a:rPr>
                        <a:t>NA</a:t>
                      </a:r>
                    </a:p>
                  </a:txBody>
                  <a:tcP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CH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85854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49</a:t>
                      </a:r>
                      <a:endParaRPr lang="it-IT" sz="12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533358148"/>
                  </a:ext>
                </a:extLst>
              </a:tr>
              <a:tr h="283464">
                <a:tc>
                  <a:txBody>
                    <a:bodyPr/>
                    <a:lstStyle/>
                    <a:p>
                      <a:r>
                        <a:rPr lang="en-CH" sz="1200" b="1" dirty="0">
                          <a:solidFill>
                            <a:schemeClr val="tx2"/>
                          </a:solidFill>
                        </a:rPr>
                        <a:t>CR, %</a:t>
                      </a:r>
                      <a:endParaRPr lang="it-IT" sz="1200" b="1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H" sz="1200" baseline="0" dirty="0">
                          <a:solidFill>
                            <a:schemeClr val="tx2"/>
                          </a:solidFill>
                        </a:rPr>
                        <a:t>24</a:t>
                      </a:r>
                      <a:endParaRPr lang="it-IT" sz="1200" baseline="0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H" sz="1200" baseline="0">
                          <a:solidFill>
                            <a:schemeClr val="tx2"/>
                          </a:solidFill>
                        </a:rPr>
                        <a:t>23</a:t>
                      </a:r>
                      <a:endParaRPr lang="it-IT" sz="1200" baseline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H" sz="1200" baseline="0" dirty="0">
                          <a:solidFill>
                            <a:schemeClr val="tx2"/>
                          </a:solidFill>
                        </a:rPr>
                        <a:t>2</a:t>
                      </a:r>
                      <a:r>
                        <a:rPr lang="en-GB" sz="1200" baseline="0" dirty="0">
                          <a:solidFill>
                            <a:schemeClr val="tx2"/>
                          </a:solidFill>
                        </a:rPr>
                        <a:t>1</a:t>
                      </a:r>
                      <a:endParaRPr lang="it-IT" sz="1200" baseline="0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H" sz="1200" baseline="0" dirty="0">
                          <a:solidFill>
                            <a:schemeClr val="tx2"/>
                          </a:solidFill>
                        </a:rPr>
                        <a:t>34</a:t>
                      </a:r>
                      <a:endParaRPr lang="it-IT" sz="1200" baseline="0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H" sz="1200" baseline="0" dirty="0">
                          <a:solidFill>
                            <a:schemeClr val="tx2"/>
                          </a:solidFill>
                          <a:latin typeface="+mn-lt"/>
                        </a:rPr>
                        <a:t>22</a:t>
                      </a:r>
                      <a:endParaRPr lang="it-IT" sz="1200" baseline="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H" sz="1200" baseline="0" dirty="0">
                          <a:solidFill>
                            <a:schemeClr val="tx2"/>
                          </a:solidFill>
                          <a:latin typeface="+mn-lt"/>
                        </a:rPr>
                        <a:t>14</a:t>
                      </a:r>
                      <a:endParaRPr lang="it-IT" sz="1200" baseline="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H" sz="1200" baseline="0" dirty="0">
                          <a:solidFill>
                            <a:schemeClr val="tx2"/>
                          </a:solidFill>
                          <a:latin typeface="+mn-lt"/>
                        </a:rPr>
                        <a:t>10</a:t>
                      </a:r>
                      <a:endParaRPr lang="it-IT" sz="1200" baseline="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>
                    <a:lnL>
                      <a:noFill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H" sz="1200" dirty="0">
                          <a:solidFill>
                            <a:schemeClr val="tx2"/>
                          </a:solidFill>
                          <a:latin typeface="+mn-lt"/>
                        </a:rPr>
                        <a:t>32</a:t>
                      </a:r>
                      <a:endParaRPr lang="it-IT" sz="12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>
                    <a:lnL>
                      <a:noFill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4591037"/>
                  </a:ext>
                </a:extLst>
              </a:tr>
              <a:tr h="468159">
                <a:tc>
                  <a:txBody>
                    <a:bodyPr/>
                    <a:lstStyle/>
                    <a:p>
                      <a:r>
                        <a:rPr lang="it-IT" sz="1200" b="1" dirty="0" err="1">
                          <a:solidFill>
                            <a:schemeClr val="tx2"/>
                          </a:solidFill>
                        </a:rPr>
                        <a:t>mPFS</a:t>
                      </a:r>
                      <a:r>
                        <a:rPr lang="it-IT" sz="1200" b="1" dirty="0">
                          <a:solidFill>
                            <a:schemeClr val="tx2"/>
                          </a:solidFill>
                        </a:rPr>
                        <a:t>, </a:t>
                      </a:r>
                      <a:r>
                        <a:rPr lang="it-IT" sz="1200" b="1" dirty="0" err="1">
                          <a:solidFill>
                            <a:schemeClr val="tx2"/>
                          </a:solidFill>
                        </a:rPr>
                        <a:t>mo</a:t>
                      </a:r>
                      <a:r>
                        <a:rPr lang="en-CH" sz="1200" b="1" dirty="0" err="1">
                          <a:solidFill>
                            <a:schemeClr val="tx2"/>
                          </a:solidFill>
                        </a:rPr>
                        <a:t>nths</a:t>
                      </a:r>
                      <a:endParaRPr lang="it-IT" sz="1200" b="1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4.9</a:t>
                      </a:r>
                      <a:r>
                        <a:rPr lang="it-IT" sz="1200" baseline="30000">
                          <a:solidFill>
                            <a:schemeClr val="tx2"/>
                          </a:solidFill>
                        </a:rPr>
                        <a:t>2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5.0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3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NR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  <a:latin typeface="+mn-lt"/>
                        </a:rPr>
                        <a:t>mEFS: 2.7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  <a:latin typeface="+mn-lt"/>
                        </a:rPr>
                        <a:t>mEFS: 2.1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 dirty="0">
                          <a:solidFill>
                            <a:schemeClr val="tx2"/>
                          </a:solidFill>
                          <a:latin typeface="+mn-lt"/>
                        </a:rPr>
                        <a:t>2.2</a:t>
                      </a:r>
                    </a:p>
                  </a:txBody>
                  <a:tcPr>
                    <a:lnL>
                      <a:noFill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CH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85854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.7</a:t>
                      </a:r>
                      <a:endParaRPr lang="it-IT" sz="12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>
                    <a:lnL>
                      <a:noFill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95033715"/>
                  </a:ext>
                </a:extLst>
              </a:tr>
              <a:tr h="280896">
                <a:tc>
                  <a:txBody>
                    <a:bodyPr/>
                    <a:lstStyle/>
                    <a:p>
                      <a:r>
                        <a:rPr lang="it-IT" sz="1200" b="1" dirty="0" err="1">
                          <a:solidFill>
                            <a:schemeClr val="tx2"/>
                          </a:solidFill>
                        </a:rPr>
                        <a:t>mOS</a:t>
                      </a:r>
                      <a:r>
                        <a:rPr lang="it-IT" sz="1200" b="1" dirty="0">
                          <a:solidFill>
                            <a:schemeClr val="tx2"/>
                          </a:solidFill>
                        </a:rPr>
                        <a:t>, </a:t>
                      </a:r>
                      <a:r>
                        <a:rPr lang="it-IT" sz="1200" b="1" dirty="0" err="1">
                          <a:solidFill>
                            <a:schemeClr val="tx2"/>
                          </a:solidFill>
                        </a:rPr>
                        <a:t>mo</a:t>
                      </a:r>
                      <a:r>
                        <a:rPr lang="en-CH" sz="1200" b="1" dirty="0" err="1">
                          <a:solidFill>
                            <a:schemeClr val="tx2"/>
                          </a:solidFill>
                        </a:rPr>
                        <a:t>nths</a:t>
                      </a:r>
                      <a:endParaRPr lang="it-IT" sz="1200" b="1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9.5</a:t>
                      </a:r>
                      <a:r>
                        <a:rPr lang="it-IT" sz="1200" baseline="30000">
                          <a:solidFill>
                            <a:schemeClr val="tx2"/>
                          </a:solidFill>
                        </a:rPr>
                        <a:t>2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9.3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4.7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</a:rPr>
                        <a:t>NR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  <a:latin typeface="+mn-lt"/>
                        </a:rPr>
                        <a:t>NA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  <a:latin typeface="+mn-lt"/>
                        </a:rPr>
                        <a:t>4.6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>
                          <a:solidFill>
                            <a:schemeClr val="tx2"/>
                          </a:solidFill>
                          <a:latin typeface="+mn-lt"/>
                        </a:rPr>
                        <a:t>4.4</a:t>
                      </a:r>
                    </a:p>
                  </a:txBody>
                  <a:tcPr>
                    <a:lnL>
                      <a:noFill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H" sz="1200" dirty="0">
                          <a:solidFill>
                            <a:schemeClr val="tx2"/>
                          </a:solidFill>
                          <a:latin typeface="+mn-lt"/>
                        </a:rPr>
                        <a:t>5.5</a:t>
                      </a:r>
                      <a:endParaRPr lang="it-IT" sz="12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>
                    <a:lnL>
                      <a:noFill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7822318"/>
                  </a:ext>
                </a:extLst>
              </a:tr>
            </a:tbl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04CED602-94F3-0DEC-AB18-4CA89FAC53BB}"/>
              </a:ext>
            </a:extLst>
          </p:cNvPr>
          <p:cNvSpPr/>
          <p:nvPr/>
        </p:nvSpPr>
        <p:spPr>
          <a:xfrm>
            <a:off x="839787" y="3899647"/>
            <a:ext cx="10851027" cy="1043373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Shape 3">
            <a:extLst>
              <a:ext uri="{FF2B5EF4-FFF2-40B4-BE49-F238E27FC236}">
                <a16:creationId xmlns:a16="http://schemas.microsoft.com/office/drawing/2014/main" id="{A7F21F51-F2F0-0956-2FC5-8CB7B82A97F0}"/>
              </a:ext>
            </a:extLst>
          </p:cNvPr>
          <p:cNvSpPr/>
          <p:nvPr/>
        </p:nvSpPr>
        <p:spPr>
          <a:xfrm>
            <a:off x="855669" y="5022429"/>
            <a:ext cx="10835146" cy="760748"/>
          </a:xfrm>
          <a:prstGeom prst="rect">
            <a:avLst/>
          </a:prstGeom>
          <a:solidFill>
            <a:schemeClr val="accent1">
              <a:lumMod val="20000"/>
              <a:lumOff val="80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180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30000" noProof="0">
              <a:ln>
                <a:noFill/>
              </a:ln>
              <a:solidFill>
                <a:srgbClr val="F15922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" name="Text 13">
            <a:extLst>
              <a:ext uri="{FF2B5EF4-FFF2-40B4-BE49-F238E27FC236}">
                <a16:creationId xmlns:a16="http://schemas.microsoft.com/office/drawing/2014/main" id="{44360D6A-B952-631E-6112-F0CB0681B6EB}"/>
              </a:ext>
            </a:extLst>
          </p:cNvPr>
          <p:cNvSpPr/>
          <p:nvPr/>
        </p:nvSpPr>
        <p:spPr>
          <a:xfrm>
            <a:off x="1376744" y="5128770"/>
            <a:ext cx="8757855" cy="530851"/>
          </a:xfrm>
          <a:prstGeom prst="rect">
            <a:avLst/>
          </a:prstGeom>
          <a:noFill/>
          <a:ln/>
        </p:spPr>
        <p:txBody>
          <a:bodyPr wrap="square" lIns="108000" tIns="0" rIns="7200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Arial" pitchFamily="34" charset="-122"/>
                <a:cs typeface="Arial" pitchFamily="34" charset="-120"/>
              </a:rPr>
              <a:t>Compared to the LOTIS-2 study, real-world cohorts were enriched with higher risk (DH/TH, HGBL), more heavily pretreated patients and later lines of therapy</a:t>
            </a:r>
          </a:p>
        </p:txBody>
      </p:sp>
      <p:sp>
        <p:nvSpPr>
          <p:cNvPr id="12" name="Shape 12">
            <a:extLst>
              <a:ext uri="{FF2B5EF4-FFF2-40B4-BE49-F238E27FC236}">
                <a16:creationId xmlns:a16="http://schemas.microsoft.com/office/drawing/2014/main" id="{8F71E963-DD56-D9AB-F6E9-C4266FF230E8}"/>
              </a:ext>
            </a:extLst>
          </p:cNvPr>
          <p:cNvSpPr/>
          <p:nvPr/>
        </p:nvSpPr>
        <p:spPr>
          <a:xfrm>
            <a:off x="978339" y="5187663"/>
            <a:ext cx="413065" cy="413065"/>
          </a:xfrm>
          <a:prstGeom prst="ellipse">
            <a:avLst/>
          </a:prstGeom>
          <a:solidFill>
            <a:schemeClr val="accent1"/>
          </a:solidFill>
          <a:ln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13" name="Image 0" descr="World with solid fill">
            <a:extLst>
              <a:ext uri="{FF2B5EF4-FFF2-40B4-BE49-F238E27FC236}">
                <a16:creationId xmlns:a16="http://schemas.microsoft.com/office/drawing/2014/main" id="{4ADC2AD5-C08C-BD2E-5A97-CC2DC2F090A9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 rot="10800000">
            <a:off x="1026684" y="5236008"/>
            <a:ext cx="316374" cy="3163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2659032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AFDB7BE7-DF28-EA56-980B-9AED546413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pc="-40" dirty="0" err="1"/>
              <a:t>Loncastuximab</a:t>
            </a:r>
            <a:r>
              <a:rPr lang="en-GB" spc="-40" dirty="0"/>
              <a:t> </a:t>
            </a:r>
            <a:r>
              <a:rPr lang="en-CH" spc="-40" dirty="0" err="1"/>
              <a:t>tesirine</a:t>
            </a:r>
            <a:r>
              <a:rPr lang="en-CH" spc="-40" dirty="0"/>
              <a:t> </a:t>
            </a:r>
            <a:r>
              <a:rPr lang="en-GB" spc="-40" dirty="0"/>
              <a:t>use in the peri-CAR-T setting</a:t>
            </a:r>
            <a:endParaRPr lang="en-GB" spc="-40" baseline="30000" dirty="0"/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3E604750-FFF4-8AF8-985F-AA468BDFE14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 anchor="b"/>
          <a:lstStyle/>
          <a:p>
            <a:r>
              <a:rPr lang="en-GB" dirty="0"/>
              <a:t>*</a:t>
            </a: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</a:rPr>
              <a:t>In 59 patients with any prior systemic therapies, 10 patients received CD19-directed CAR-T as their last therapy. </a:t>
            </a:r>
            <a:r>
              <a:rPr lang="en-GB" dirty="0"/>
              <a:t>Patients who had received previous CD19-directed therapy must have had a biopsy confirming CD19 protein expression after completion of the CD19-directed therapy. </a:t>
            </a:r>
            <a:r>
              <a:rPr lang="en-GB" dirty="0">
                <a:cs typeface="Arial" panose="020B0604020202020204" pitchFamily="34" charset="0"/>
              </a:rPr>
              <a:t>†</a:t>
            </a:r>
            <a:r>
              <a:rPr lang="en-GB" dirty="0"/>
              <a:t>Independent assessment. ‡</a:t>
            </a:r>
            <a:r>
              <a:rPr lang="en-GB" sz="900" spc="-7" dirty="0">
                <a:cs typeface="Calibri"/>
              </a:rPr>
              <a:t>CD19 expression was required per protocol, but no prior CAR-T patients failed screening due to a lack of CD19.</a:t>
            </a:r>
            <a:r>
              <a:rPr lang="en-CH" sz="900" spc="-7" dirty="0">
                <a:cs typeface="Calibri"/>
              </a:rPr>
              <a:t> 2L, second line; 3L, third line; 4L, fourth line;</a:t>
            </a:r>
            <a:r>
              <a:rPr lang="en-GB" sz="900" spc="-7" dirty="0">
                <a:cs typeface="Calibri"/>
              </a:rPr>
              <a:t> </a:t>
            </a:r>
            <a:r>
              <a:rPr lang="en-GB" dirty="0"/>
              <a:t>CAR-T, chimeric antigen receptor T-cell therapy; </a:t>
            </a:r>
            <a:endParaRPr lang="en-CH" dirty="0"/>
          </a:p>
          <a:p>
            <a:r>
              <a:rPr lang="en-GB" dirty="0"/>
              <a:t>CR, complete response; 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Calibri" panose="020F0502020204030204" pitchFamily="34" charset="0"/>
              </a:rPr>
              <a:t>H-score, </a:t>
            </a:r>
            <a:r>
              <a:rPr kumimoji="0" lang="en-GB" sz="9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cs typeface="Calibri" panose="020F0502020204030204" pitchFamily="34" charset="0"/>
              </a:rPr>
              <a:t>HistoScore</a:t>
            </a:r>
            <a:r>
              <a:rPr lang="en-GB" dirty="0"/>
              <a:t>; </a:t>
            </a:r>
            <a:r>
              <a:rPr lang="en-GB" dirty="0" err="1"/>
              <a:t>Lonca</a:t>
            </a:r>
            <a:r>
              <a:rPr lang="en-GB" dirty="0"/>
              <a:t>, </a:t>
            </a:r>
            <a:r>
              <a:rPr lang="en-GB" dirty="0" err="1"/>
              <a:t>loncastuximab</a:t>
            </a:r>
            <a:r>
              <a:rPr lang="en-GB" dirty="0"/>
              <a:t> </a:t>
            </a:r>
            <a:r>
              <a:rPr lang="en-GB" dirty="0" err="1"/>
              <a:t>tesirine</a:t>
            </a:r>
            <a:r>
              <a:rPr lang="en-GB" dirty="0"/>
              <a:t>; ORR, overall response rate.</a:t>
            </a:r>
            <a:r>
              <a:rPr lang="en-CH" dirty="0"/>
              <a:t> </a:t>
            </a:r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Calibri" panose="020F0502020204030204" pitchFamily="34" charset="0"/>
              </a:rPr>
              <a:t>1. 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Calibri" panose="020F0502020204030204" pitchFamily="34" charset="0"/>
              </a:rPr>
              <a:t>Caimi et al. </a:t>
            </a:r>
            <a:r>
              <a:rPr kumimoji="0" lang="en-GB" sz="900" b="0" i="1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cs typeface="Calibri" panose="020F0502020204030204" pitchFamily="34" charset="0"/>
              </a:rPr>
              <a:t>eJHaem</a:t>
            </a:r>
            <a:r>
              <a:rPr kumimoji="0" lang="en-GB" sz="900" b="0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Calibri" panose="020F0502020204030204" pitchFamily="34" charset="0"/>
              </a:rPr>
              <a:t> </a:t>
            </a:r>
            <a:r>
              <a:rPr kumimoji="0" lang="en-GB" sz="900" b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Calibri" panose="020F0502020204030204" pitchFamily="34" charset="0"/>
              </a:rPr>
              <a:t>2023</a:t>
            </a:r>
            <a:r>
              <a:rPr kumimoji="0" lang="en-GB" sz="900" b="0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Calibri" panose="020F0502020204030204" pitchFamily="34" charset="0"/>
              </a:rPr>
              <a:t> </a:t>
            </a:r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Calibri" panose="020F0502020204030204" pitchFamily="34" charset="0"/>
              </a:rPr>
              <a:t>2. </a:t>
            </a:r>
            <a:r>
              <a:rPr lang="en-GB" dirty="0" err="1"/>
              <a:t>Epperla</a:t>
            </a:r>
            <a:r>
              <a:rPr lang="en-GB" dirty="0"/>
              <a:t> et al. </a:t>
            </a:r>
            <a:r>
              <a:rPr lang="en-GB" i="1" dirty="0">
                <a:solidFill>
                  <a:srgbClr val="585854"/>
                </a:solidFill>
              </a:rPr>
              <a:t>Blood Cancer J</a:t>
            </a:r>
            <a:r>
              <a:rPr lang="en-GB" dirty="0">
                <a:solidFill>
                  <a:srgbClr val="585854"/>
                </a:solidFill>
              </a:rPr>
              <a:t> 2024</a:t>
            </a:r>
            <a:r>
              <a:rPr kumimoji="0" lang="it-IT" sz="9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Calibri" panose="020F0502020204030204" pitchFamily="34" charset="0"/>
              </a:rPr>
              <a:t>.</a:t>
            </a:r>
            <a:endParaRPr lang="en-GB" dirty="0"/>
          </a:p>
        </p:txBody>
      </p:sp>
      <p:sp>
        <p:nvSpPr>
          <p:cNvPr id="41" name="Content Placeholder 2">
            <a:extLst>
              <a:ext uri="{FF2B5EF4-FFF2-40B4-BE49-F238E27FC236}">
                <a16:creationId xmlns:a16="http://schemas.microsoft.com/office/drawing/2014/main" id="{CC53FCC3-4616-716E-5457-BAD543C9958B}"/>
              </a:ext>
            </a:extLst>
          </p:cNvPr>
          <p:cNvSpPr txBox="1">
            <a:spLocks/>
          </p:cNvSpPr>
          <p:nvPr/>
        </p:nvSpPr>
        <p:spPr>
          <a:xfrm>
            <a:off x="1995995" y="1141587"/>
            <a:ext cx="3168649" cy="52387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marL="182563" indent="-182563" algn="l" defTabSz="914400" rtl="0" eaLnBrk="1" latinLnBrk="0" hangingPunct="1">
              <a:lnSpc>
                <a:spcPct val="90000"/>
              </a:lnSpc>
              <a:spcBef>
                <a:spcPts val="800"/>
              </a:spcBef>
              <a:spcAft>
                <a:spcPts val="8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355600" indent="-17303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539750" indent="-18415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722313" indent="-18256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895350" indent="-17303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Calibri" panose="020F0502020204030204" pitchFamily="34" charset="0"/>
              </a:rPr>
              <a:t> Baseline tumour CD19 H-score by response to Lonca* (N=59)</a:t>
            </a:r>
            <a:r>
              <a:rPr kumimoji="0" lang="en-GB" sz="1600" b="0" i="0" u="none" strike="noStrike" kern="1200" cap="none" spc="0" normalizeH="0" baseline="3000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Calibri" panose="020F0502020204030204" pitchFamily="34" charset="0"/>
              </a:rPr>
              <a:t>†,1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A1827D90-22A8-F244-DECB-9D814E80BDC0}"/>
              </a:ext>
            </a:extLst>
          </p:cNvPr>
          <p:cNvSpPr txBox="1"/>
          <p:nvPr/>
        </p:nvSpPr>
        <p:spPr>
          <a:xfrm>
            <a:off x="2209143" y="4450350"/>
            <a:ext cx="133685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err="1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Nonresponder</a:t>
            </a: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(n=28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 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EB073DE8-84CD-C59C-BB2A-5F3AC0A08ECE}"/>
              </a:ext>
            </a:extLst>
          </p:cNvPr>
          <p:cNvSpPr txBox="1"/>
          <p:nvPr/>
        </p:nvSpPr>
        <p:spPr>
          <a:xfrm>
            <a:off x="3758711" y="4450350"/>
            <a:ext cx="133685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Responde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(n=31) 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96E56B3C-0EB5-0ADA-3F98-1A11F05FB2EA}"/>
              </a:ext>
            </a:extLst>
          </p:cNvPr>
          <p:cNvSpPr txBox="1"/>
          <p:nvPr/>
        </p:nvSpPr>
        <p:spPr>
          <a:xfrm>
            <a:off x="1392050" y="4147536"/>
            <a:ext cx="552745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0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C06698F9-D8FA-A370-F20E-4181123B35E5}"/>
              </a:ext>
            </a:extLst>
          </p:cNvPr>
          <p:cNvSpPr txBox="1"/>
          <p:nvPr/>
        </p:nvSpPr>
        <p:spPr>
          <a:xfrm>
            <a:off x="1392050" y="3386152"/>
            <a:ext cx="552745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00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8C997D21-A898-E157-E013-6A1CE9D001A4}"/>
              </a:ext>
            </a:extLst>
          </p:cNvPr>
          <p:cNvSpPr txBox="1"/>
          <p:nvPr/>
        </p:nvSpPr>
        <p:spPr>
          <a:xfrm>
            <a:off x="1392050" y="1864590"/>
            <a:ext cx="552745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300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C06F5C6A-6C9E-FBE5-6CAE-6B9058527563}"/>
              </a:ext>
            </a:extLst>
          </p:cNvPr>
          <p:cNvSpPr txBox="1"/>
          <p:nvPr/>
        </p:nvSpPr>
        <p:spPr>
          <a:xfrm>
            <a:off x="1392050" y="2624707"/>
            <a:ext cx="552745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200</a:t>
            </a:r>
          </a:p>
        </p:txBody>
      </p: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4DB9F502-9D42-043B-596E-93F90AC206BF}"/>
              </a:ext>
            </a:extLst>
          </p:cNvPr>
          <p:cNvCxnSpPr>
            <a:cxnSpLocks/>
          </p:cNvCxnSpPr>
          <p:nvPr/>
        </p:nvCxnSpPr>
        <p:spPr>
          <a:xfrm>
            <a:off x="1948636" y="4404558"/>
            <a:ext cx="3432283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8D933497-E66B-AC20-D416-9BBDF13A6702}"/>
              </a:ext>
            </a:extLst>
          </p:cNvPr>
          <p:cNvCxnSpPr>
            <a:cxnSpLocks/>
          </p:cNvCxnSpPr>
          <p:nvPr/>
        </p:nvCxnSpPr>
        <p:spPr>
          <a:xfrm>
            <a:off x="2877570" y="4412242"/>
            <a:ext cx="0" cy="8712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C431F2FE-5962-8EE3-1FC5-4BC79DC8D56C}"/>
              </a:ext>
            </a:extLst>
          </p:cNvPr>
          <p:cNvCxnSpPr>
            <a:cxnSpLocks/>
          </p:cNvCxnSpPr>
          <p:nvPr/>
        </p:nvCxnSpPr>
        <p:spPr>
          <a:xfrm>
            <a:off x="1948636" y="1905827"/>
            <a:ext cx="0" cy="2498732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D354C95A-5ACA-126D-110C-5F22F7F8982E}"/>
              </a:ext>
            </a:extLst>
          </p:cNvPr>
          <p:cNvCxnSpPr>
            <a:cxnSpLocks/>
          </p:cNvCxnSpPr>
          <p:nvPr/>
        </p:nvCxnSpPr>
        <p:spPr>
          <a:xfrm>
            <a:off x="1863115" y="2003089"/>
            <a:ext cx="8712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Box 51">
            <a:extLst>
              <a:ext uri="{FF2B5EF4-FFF2-40B4-BE49-F238E27FC236}">
                <a16:creationId xmlns:a16="http://schemas.microsoft.com/office/drawing/2014/main" id="{FD999ADB-DB13-B637-A8C6-98BEF8A5861E}"/>
              </a:ext>
            </a:extLst>
          </p:cNvPr>
          <p:cNvSpPr txBox="1"/>
          <p:nvPr/>
        </p:nvSpPr>
        <p:spPr>
          <a:xfrm rot="16200000">
            <a:off x="435187" y="3009024"/>
            <a:ext cx="18861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000">
                <a:solidFill>
                  <a:schemeClr val="tx2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H-score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281C02D0-339A-685F-D936-558D18FB9DDA}"/>
              </a:ext>
            </a:extLst>
          </p:cNvPr>
          <p:cNvSpPr txBox="1"/>
          <p:nvPr/>
        </p:nvSpPr>
        <p:spPr>
          <a:xfrm>
            <a:off x="1661652" y="4847947"/>
            <a:ext cx="386358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Best overall response</a:t>
            </a:r>
          </a:p>
        </p:txBody>
      </p: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7675BB39-081E-3D4B-B60D-555403347529}"/>
              </a:ext>
            </a:extLst>
          </p:cNvPr>
          <p:cNvCxnSpPr>
            <a:cxnSpLocks/>
          </p:cNvCxnSpPr>
          <p:nvPr/>
        </p:nvCxnSpPr>
        <p:spPr>
          <a:xfrm>
            <a:off x="4427138" y="4412242"/>
            <a:ext cx="0" cy="8712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A4855796-5D9B-9FAE-8EE3-306D9279315B}"/>
              </a:ext>
            </a:extLst>
          </p:cNvPr>
          <p:cNvCxnSpPr>
            <a:cxnSpLocks/>
          </p:cNvCxnSpPr>
          <p:nvPr/>
        </p:nvCxnSpPr>
        <p:spPr>
          <a:xfrm>
            <a:off x="1863115" y="2771849"/>
            <a:ext cx="8712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C7C9E40C-F095-CDBE-7577-9BCF3BF14F37}"/>
              </a:ext>
            </a:extLst>
          </p:cNvPr>
          <p:cNvCxnSpPr>
            <a:cxnSpLocks/>
          </p:cNvCxnSpPr>
          <p:nvPr/>
        </p:nvCxnSpPr>
        <p:spPr>
          <a:xfrm>
            <a:off x="1863115" y="3529634"/>
            <a:ext cx="8712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340AA08E-9D55-050B-9236-951FF3619EF0}"/>
              </a:ext>
            </a:extLst>
          </p:cNvPr>
          <p:cNvCxnSpPr>
            <a:cxnSpLocks/>
          </p:cNvCxnSpPr>
          <p:nvPr/>
        </p:nvCxnSpPr>
        <p:spPr>
          <a:xfrm>
            <a:off x="1863115" y="4296063"/>
            <a:ext cx="8712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tangle 57">
            <a:extLst>
              <a:ext uri="{FF2B5EF4-FFF2-40B4-BE49-F238E27FC236}">
                <a16:creationId xmlns:a16="http://schemas.microsoft.com/office/drawing/2014/main" id="{BDBF2A16-6C95-9E4A-0C1A-57A72B60E664}"/>
              </a:ext>
            </a:extLst>
          </p:cNvPr>
          <p:cNvSpPr/>
          <p:nvPr/>
        </p:nvSpPr>
        <p:spPr>
          <a:xfrm>
            <a:off x="3888400" y="2713716"/>
            <a:ext cx="1077608" cy="115828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937BB735-FF92-73AD-1D99-45AE75336E28}"/>
              </a:ext>
            </a:extLst>
          </p:cNvPr>
          <p:cNvCxnSpPr>
            <a:cxnSpLocks/>
          </p:cNvCxnSpPr>
          <p:nvPr/>
        </p:nvCxnSpPr>
        <p:spPr>
          <a:xfrm>
            <a:off x="3888400" y="3416754"/>
            <a:ext cx="10776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Rectangle 59">
            <a:extLst>
              <a:ext uri="{FF2B5EF4-FFF2-40B4-BE49-F238E27FC236}">
                <a16:creationId xmlns:a16="http://schemas.microsoft.com/office/drawing/2014/main" id="{096B2D6F-56D0-9D52-523B-CC6C2D3ED170}"/>
              </a:ext>
            </a:extLst>
          </p:cNvPr>
          <p:cNvSpPr/>
          <p:nvPr/>
        </p:nvSpPr>
        <p:spPr>
          <a:xfrm>
            <a:off x="2334212" y="2474568"/>
            <a:ext cx="1077608" cy="143777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C7E1E9B3-D2CB-3590-078C-D27A82D76355}"/>
              </a:ext>
            </a:extLst>
          </p:cNvPr>
          <p:cNvCxnSpPr>
            <a:cxnSpLocks/>
          </p:cNvCxnSpPr>
          <p:nvPr/>
        </p:nvCxnSpPr>
        <p:spPr>
          <a:xfrm>
            <a:off x="2338766" y="3226586"/>
            <a:ext cx="10776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Oval 61">
            <a:extLst>
              <a:ext uri="{FF2B5EF4-FFF2-40B4-BE49-F238E27FC236}">
                <a16:creationId xmlns:a16="http://schemas.microsoft.com/office/drawing/2014/main" id="{84BAD8FE-A638-DBC0-E315-C31B3667659C}"/>
              </a:ext>
            </a:extLst>
          </p:cNvPr>
          <p:cNvSpPr/>
          <p:nvPr/>
        </p:nvSpPr>
        <p:spPr>
          <a:xfrm>
            <a:off x="3098877" y="2833153"/>
            <a:ext cx="34848" cy="3484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3" name="Oval 62">
            <a:extLst>
              <a:ext uri="{FF2B5EF4-FFF2-40B4-BE49-F238E27FC236}">
                <a16:creationId xmlns:a16="http://schemas.microsoft.com/office/drawing/2014/main" id="{4297E7DB-30C9-DD30-A688-8D2468804C5F}"/>
              </a:ext>
            </a:extLst>
          </p:cNvPr>
          <p:cNvSpPr/>
          <p:nvPr/>
        </p:nvSpPr>
        <p:spPr>
          <a:xfrm>
            <a:off x="3136699" y="2377326"/>
            <a:ext cx="34848" cy="3484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8" name="Oval 127">
            <a:extLst>
              <a:ext uri="{FF2B5EF4-FFF2-40B4-BE49-F238E27FC236}">
                <a16:creationId xmlns:a16="http://schemas.microsoft.com/office/drawing/2014/main" id="{5F3199F9-3A9D-AA4C-EEB3-F47AB3F9BE3E}"/>
              </a:ext>
            </a:extLst>
          </p:cNvPr>
          <p:cNvSpPr/>
          <p:nvPr/>
        </p:nvSpPr>
        <p:spPr>
          <a:xfrm>
            <a:off x="3164067" y="2457074"/>
            <a:ext cx="34848" cy="3484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9" name="Oval 128">
            <a:extLst>
              <a:ext uri="{FF2B5EF4-FFF2-40B4-BE49-F238E27FC236}">
                <a16:creationId xmlns:a16="http://schemas.microsoft.com/office/drawing/2014/main" id="{CA203C80-B431-7EAD-AC3E-E66CF34F01AD}"/>
              </a:ext>
            </a:extLst>
          </p:cNvPr>
          <p:cNvSpPr/>
          <p:nvPr/>
        </p:nvSpPr>
        <p:spPr>
          <a:xfrm>
            <a:off x="2975345" y="2413549"/>
            <a:ext cx="34848" cy="3484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30" name="Oval 129">
            <a:extLst>
              <a:ext uri="{FF2B5EF4-FFF2-40B4-BE49-F238E27FC236}">
                <a16:creationId xmlns:a16="http://schemas.microsoft.com/office/drawing/2014/main" id="{549714A6-A441-1927-985E-D2B653C529F9}"/>
              </a:ext>
            </a:extLst>
          </p:cNvPr>
          <p:cNvSpPr/>
          <p:nvPr/>
        </p:nvSpPr>
        <p:spPr>
          <a:xfrm>
            <a:off x="2755306" y="2445325"/>
            <a:ext cx="34848" cy="3484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31" name="Oval 130">
            <a:extLst>
              <a:ext uri="{FF2B5EF4-FFF2-40B4-BE49-F238E27FC236}">
                <a16:creationId xmlns:a16="http://schemas.microsoft.com/office/drawing/2014/main" id="{C363F978-3597-A6D8-278C-36679832FB29}"/>
              </a:ext>
            </a:extLst>
          </p:cNvPr>
          <p:cNvSpPr/>
          <p:nvPr/>
        </p:nvSpPr>
        <p:spPr>
          <a:xfrm>
            <a:off x="2657875" y="2836034"/>
            <a:ext cx="34848" cy="3484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32" name="Oval 131">
            <a:extLst>
              <a:ext uri="{FF2B5EF4-FFF2-40B4-BE49-F238E27FC236}">
                <a16:creationId xmlns:a16="http://schemas.microsoft.com/office/drawing/2014/main" id="{13873FEC-F1DB-7034-0D63-103D58AFAF6F}"/>
              </a:ext>
            </a:extLst>
          </p:cNvPr>
          <p:cNvSpPr/>
          <p:nvPr/>
        </p:nvSpPr>
        <p:spPr>
          <a:xfrm>
            <a:off x="2823129" y="2002242"/>
            <a:ext cx="34848" cy="3484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33" name="Oval 132">
            <a:extLst>
              <a:ext uri="{FF2B5EF4-FFF2-40B4-BE49-F238E27FC236}">
                <a16:creationId xmlns:a16="http://schemas.microsoft.com/office/drawing/2014/main" id="{D3DDB3EF-4A82-EA50-DDDA-AC2D2149CD4C}"/>
              </a:ext>
            </a:extLst>
          </p:cNvPr>
          <p:cNvSpPr/>
          <p:nvPr/>
        </p:nvSpPr>
        <p:spPr>
          <a:xfrm>
            <a:off x="2797886" y="2231185"/>
            <a:ext cx="34848" cy="3484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34" name="Oval 133">
            <a:extLst>
              <a:ext uri="{FF2B5EF4-FFF2-40B4-BE49-F238E27FC236}">
                <a16:creationId xmlns:a16="http://schemas.microsoft.com/office/drawing/2014/main" id="{0C3FA948-8EE3-B408-8963-8A77F93B554E}"/>
              </a:ext>
            </a:extLst>
          </p:cNvPr>
          <p:cNvSpPr/>
          <p:nvPr/>
        </p:nvSpPr>
        <p:spPr>
          <a:xfrm>
            <a:off x="2831770" y="2219366"/>
            <a:ext cx="34848" cy="3484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35" name="Oval 134">
            <a:extLst>
              <a:ext uri="{FF2B5EF4-FFF2-40B4-BE49-F238E27FC236}">
                <a16:creationId xmlns:a16="http://schemas.microsoft.com/office/drawing/2014/main" id="{F33CA4CB-4182-0D8D-6F40-987464F3D864}"/>
              </a:ext>
            </a:extLst>
          </p:cNvPr>
          <p:cNvSpPr/>
          <p:nvPr/>
        </p:nvSpPr>
        <p:spPr>
          <a:xfrm>
            <a:off x="2840553" y="2308662"/>
            <a:ext cx="34848" cy="3484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36" name="Oval 135">
            <a:extLst>
              <a:ext uri="{FF2B5EF4-FFF2-40B4-BE49-F238E27FC236}">
                <a16:creationId xmlns:a16="http://schemas.microsoft.com/office/drawing/2014/main" id="{B42ED29C-68F4-29E7-AFC9-420BC8070DBA}"/>
              </a:ext>
            </a:extLst>
          </p:cNvPr>
          <p:cNvSpPr/>
          <p:nvPr/>
        </p:nvSpPr>
        <p:spPr>
          <a:xfrm>
            <a:off x="2639817" y="2914177"/>
            <a:ext cx="34848" cy="3484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37" name="Oval 136">
            <a:extLst>
              <a:ext uri="{FF2B5EF4-FFF2-40B4-BE49-F238E27FC236}">
                <a16:creationId xmlns:a16="http://schemas.microsoft.com/office/drawing/2014/main" id="{20B3BDF6-274A-2670-33C2-76D827E838A6}"/>
              </a:ext>
            </a:extLst>
          </p:cNvPr>
          <p:cNvSpPr/>
          <p:nvPr/>
        </p:nvSpPr>
        <p:spPr>
          <a:xfrm>
            <a:off x="2622393" y="3137422"/>
            <a:ext cx="34848" cy="3484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38" name="Oval 137">
            <a:extLst>
              <a:ext uri="{FF2B5EF4-FFF2-40B4-BE49-F238E27FC236}">
                <a16:creationId xmlns:a16="http://schemas.microsoft.com/office/drawing/2014/main" id="{67A26B59-A59E-5B3E-5385-C4900622DF0F}"/>
              </a:ext>
            </a:extLst>
          </p:cNvPr>
          <p:cNvSpPr/>
          <p:nvPr/>
        </p:nvSpPr>
        <p:spPr>
          <a:xfrm>
            <a:off x="2814346" y="3129137"/>
            <a:ext cx="34848" cy="3484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39" name="Oval 138">
            <a:extLst>
              <a:ext uri="{FF2B5EF4-FFF2-40B4-BE49-F238E27FC236}">
                <a16:creationId xmlns:a16="http://schemas.microsoft.com/office/drawing/2014/main" id="{42F16A73-AE6D-7666-60AC-0A4083BCA04D}"/>
              </a:ext>
            </a:extLst>
          </p:cNvPr>
          <p:cNvSpPr/>
          <p:nvPr/>
        </p:nvSpPr>
        <p:spPr>
          <a:xfrm>
            <a:off x="2816731" y="3145488"/>
            <a:ext cx="34848" cy="3484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40" name="Oval 139">
            <a:extLst>
              <a:ext uri="{FF2B5EF4-FFF2-40B4-BE49-F238E27FC236}">
                <a16:creationId xmlns:a16="http://schemas.microsoft.com/office/drawing/2014/main" id="{35002950-F9C6-616B-6DD5-87748FDD0E22}"/>
              </a:ext>
            </a:extLst>
          </p:cNvPr>
          <p:cNvSpPr/>
          <p:nvPr/>
        </p:nvSpPr>
        <p:spPr>
          <a:xfrm>
            <a:off x="3098877" y="3363406"/>
            <a:ext cx="34848" cy="3484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41" name="Oval 140">
            <a:extLst>
              <a:ext uri="{FF2B5EF4-FFF2-40B4-BE49-F238E27FC236}">
                <a16:creationId xmlns:a16="http://schemas.microsoft.com/office/drawing/2014/main" id="{1B828049-FD38-60D5-AAFD-86AD5E0AC86D}"/>
              </a:ext>
            </a:extLst>
          </p:cNvPr>
          <p:cNvSpPr/>
          <p:nvPr/>
        </p:nvSpPr>
        <p:spPr>
          <a:xfrm>
            <a:off x="3087215" y="3672031"/>
            <a:ext cx="34848" cy="3484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42" name="Oval 141">
            <a:extLst>
              <a:ext uri="{FF2B5EF4-FFF2-40B4-BE49-F238E27FC236}">
                <a16:creationId xmlns:a16="http://schemas.microsoft.com/office/drawing/2014/main" id="{E0CF7B00-C700-79A2-6AA2-66AA381100AB}"/>
              </a:ext>
            </a:extLst>
          </p:cNvPr>
          <p:cNvSpPr/>
          <p:nvPr/>
        </p:nvSpPr>
        <p:spPr>
          <a:xfrm>
            <a:off x="2952159" y="3594401"/>
            <a:ext cx="34848" cy="3484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43" name="Oval 142">
            <a:extLst>
              <a:ext uri="{FF2B5EF4-FFF2-40B4-BE49-F238E27FC236}">
                <a16:creationId xmlns:a16="http://schemas.microsoft.com/office/drawing/2014/main" id="{9D4316F1-5579-8E62-1850-D98AEBC7E9BE}"/>
              </a:ext>
            </a:extLst>
          </p:cNvPr>
          <p:cNvSpPr/>
          <p:nvPr/>
        </p:nvSpPr>
        <p:spPr>
          <a:xfrm>
            <a:off x="2738339" y="3443611"/>
            <a:ext cx="34848" cy="3484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44" name="Oval 143">
            <a:extLst>
              <a:ext uri="{FF2B5EF4-FFF2-40B4-BE49-F238E27FC236}">
                <a16:creationId xmlns:a16="http://schemas.microsoft.com/office/drawing/2014/main" id="{C4D31B0B-C8E8-5A22-E6DD-7598B023A3B8}"/>
              </a:ext>
            </a:extLst>
          </p:cNvPr>
          <p:cNvSpPr/>
          <p:nvPr/>
        </p:nvSpPr>
        <p:spPr>
          <a:xfrm>
            <a:off x="2823129" y="3287525"/>
            <a:ext cx="34848" cy="3484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45" name="Oval 144">
            <a:extLst>
              <a:ext uri="{FF2B5EF4-FFF2-40B4-BE49-F238E27FC236}">
                <a16:creationId xmlns:a16="http://schemas.microsoft.com/office/drawing/2014/main" id="{3BA92358-50B3-5009-4A43-D360A85864A7}"/>
              </a:ext>
            </a:extLst>
          </p:cNvPr>
          <p:cNvSpPr/>
          <p:nvPr/>
        </p:nvSpPr>
        <p:spPr>
          <a:xfrm>
            <a:off x="2865673" y="3293287"/>
            <a:ext cx="34848" cy="3484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46" name="Oval 145">
            <a:extLst>
              <a:ext uri="{FF2B5EF4-FFF2-40B4-BE49-F238E27FC236}">
                <a16:creationId xmlns:a16="http://schemas.microsoft.com/office/drawing/2014/main" id="{79482D8E-E99A-F666-BC0F-CC8E16712F74}"/>
              </a:ext>
            </a:extLst>
          </p:cNvPr>
          <p:cNvSpPr/>
          <p:nvPr/>
        </p:nvSpPr>
        <p:spPr>
          <a:xfrm>
            <a:off x="2823129" y="3293287"/>
            <a:ext cx="34848" cy="3484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47" name="Oval 146">
            <a:extLst>
              <a:ext uri="{FF2B5EF4-FFF2-40B4-BE49-F238E27FC236}">
                <a16:creationId xmlns:a16="http://schemas.microsoft.com/office/drawing/2014/main" id="{4BC4BFFB-183E-1F21-E07C-E3AA7C804F9A}"/>
              </a:ext>
            </a:extLst>
          </p:cNvPr>
          <p:cNvSpPr/>
          <p:nvPr/>
        </p:nvSpPr>
        <p:spPr>
          <a:xfrm>
            <a:off x="2791105" y="3967217"/>
            <a:ext cx="34848" cy="3484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48" name="Oval 147">
            <a:extLst>
              <a:ext uri="{FF2B5EF4-FFF2-40B4-BE49-F238E27FC236}">
                <a16:creationId xmlns:a16="http://schemas.microsoft.com/office/drawing/2014/main" id="{E03B9691-1455-2AA6-BA5C-C3FF75B19215}"/>
              </a:ext>
            </a:extLst>
          </p:cNvPr>
          <p:cNvSpPr/>
          <p:nvPr/>
        </p:nvSpPr>
        <p:spPr>
          <a:xfrm>
            <a:off x="2814346" y="3894949"/>
            <a:ext cx="34848" cy="3484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49" name="Oval 148">
            <a:extLst>
              <a:ext uri="{FF2B5EF4-FFF2-40B4-BE49-F238E27FC236}">
                <a16:creationId xmlns:a16="http://schemas.microsoft.com/office/drawing/2014/main" id="{F0C955B4-7D10-EDEF-15DE-FEFEEF8AF1D1}"/>
              </a:ext>
            </a:extLst>
          </p:cNvPr>
          <p:cNvSpPr/>
          <p:nvPr/>
        </p:nvSpPr>
        <p:spPr>
          <a:xfrm>
            <a:off x="2976294" y="4260964"/>
            <a:ext cx="34848" cy="3484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50" name="Oval 149">
            <a:extLst>
              <a:ext uri="{FF2B5EF4-FFF2-40B4-BE49-F238E27FC236}">
                <a16:creationId xmlns:a16="http://schemas.microsoft.com/office/drawing/2014/main" id="{0E770ED9-BC59-314A-7216-E3063FAF9A05}"/>
              </a:ext>
            </a:extLst>
          </p:cNvPr>
          <p:cNvSpPr/>
          <p:nvPr/>
        </p:nvSpPr>
        <p:spPr>
          <a:xfrm>
            <a:off x="3026525" y="4275477"/>
            <a:ext cx="34848" cy="3484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51" name="Oval 150">
            <a:extLst>
              <a:ext uri="{FF2B5EF4-FFF2-40B4-BE49-F238E27FC236}">
                <a16:creationId xmlns:a16="http://schemas.microsoft.com/office/drawing/2014/main" id="{821CA74F-71F0-0B0B-B755-BB4E310CB3DA}"/>
              </a:ext>
            </a:extLst>
          </p:cNvPr>
          <p:cNvSpPr/>
          <p:nvPr/>
        </p:nvSpPr>
        <p:spPr>
          <a:xfrm>
            <a:off x="2830784" y="4232150"/>
            <a:ext cx="34848" cy="3484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52" name="Oval 151">
            <a:extLst>
              <a:ext uri="{FF2B5EF4-FFF2-40B4-BE49-F238E27FC236}">
                <a16:creationId xmlns:a16="http://schemas.microsoft.com/office/drawing/2014/main" id="{0DC425EC-4E8D-1C6E-A198-E69AC8B507EB}"/>
              </a:ext>
            </a:extLst>
          </p:cNvPr>
          <p:cNvSpPr/>
          <p:nvPr/>
        </p:nvSpPr>
        <p:spPr>
          <a:xfrm>
            <a:off x="2604969" y="4203161"/>
            <a:ext cx="34848" cy="3484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53" name="Oval 152">
            <a:extLst>
              <a:ext uri="{FF2B5EF4-FFF2-40B4-BE49-F238E27FC236}">
                <a16:creationId xmlns:a16="http://schemas.microsoft.com/office/drawing/2014/main" id="{9731FCB5-E1E1-9FA2-21F5-5F867D9DC256}"/>
              </a:ext>
            </a:extLst>
          </p:cNvPr>
          <p:cNvSpPr/>
          <p:nvPr/>
        </p:nvSpPr>
        <p:spPr>
          <a:xfrm>
            <a:off x="2612625" y="4275477"/>
            <a:ext cx="34848" cy="3484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54" name="Straight Connector 153">
            <a:extLst>
              <a:ext uri="{FF2B5EF4-FFF2-40B4-BE49-F238E27FC236}">
                <a16:creationId xmlns:a16="http://schemas.microsoft.com/office/drawing/2014/main" id="{97CB520A-6E5E-C850-5CF4-422AB6C0FC43}"/>
              </a:ext>
            </a:extLst>
          </p:cNvPr>
          <p:cNvCxnSpPr>
            <a:cxnSpLocks/>
          </p:cNvCxnSpPr>
          <p:nvPr/>
        </p:nvCxnSpPr>
        <p:spPr>
          <a:xfrm>
            <a:off x="2880216" y="3915972"/>
            <a:ext cx="0" cy="36850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5" name="Oval 154">
            <a:extLst>
              <a:ext uri="{FF2B5EF4-FFF2-40B4-BE49-F238E27FC236}">
                <a16:creationId xmlns:a16="http://schemas.microsoft.com/office/drawing/2014/main" id="{8C5F37E0-BCAC-08A9-9263-5C409C6F5A01}"/>
              </a:ext>
            </a:extLst>
          </p:cNvPr>
          <p:cNvSpPr/>
          <p:nvPr/>
        </p:nvSpPr>
        <p:spPr>
          <a:xfrm>
            <a:off x="2883097" y="3894984"/>
            <a:ext cx="34848" cy="3484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56" name="Straight Connector 155">
            <a:extLst>
              <a:ext uri="{FF2B5EF4-FFF2-40B4-BE49-F238E27FC236}">
                <a16:creationId xmlns:a16="http://schemas.microsoft.com/office/drawing/2014/main" id="{86718999-93F4-3A87-907E-84FA08793DE1}"/>
              </a:ext>
            </a:extLst>
          </p:cNvPr>
          <p:cNvCxnSpPr>
            <a:cxnSpLocks/>
          </p:cNvCxnSpPr>
          <p:nvPr/>
        </p:nvCxnSpPr>
        <p:spPr>
          <a:xfrm>
            <a:off x="2880216" y="2019804"/>
            <a:ext cx="0" cy="45302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7" name="TextBox 156">
            <a:extLst>
              <a:ext uri="{FF2B5EF4-FFF2-40B4-BE49-F238E27FC236}">
                <a16:creationId xmlns:a16="http://schemas.microsoft.com/office/drawing/2014/main" id="{016758C0-1D04-6D3E-9E62-7097B50CD5F3}"/>
              </a:ext>
            </a:extLst>
          </p:cNvPr>
          <p:cNvSpPr txBox="1"/>
          <p:nvPr/>
        </p:nvSpPr>
        <p:spPr>
          <a:xfrm>
            <a:off x="3010193" y="1755394"/>
            <a:ext cx="1286768" cy="25391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Wilcoxon, </a:t>
            </a:r>
            <a:r>
              <a:rPr kumimoji="0" lang="en-GB" sz="1050" b="0" i="1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P=</a:t>
            </a: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0.73</a:t>
            </a:r>
          </a:p>
        </p:txBody>
      </p:sp>
      <p:cxnSp>
        <p:nvCxnSpPr>
          <p:cNvPr id="159" name="Straight Connector 158">
            <a:extLst>
              <a:ext uri="{FF2B5EF4-FFF2-40B4-BE49-F238E27FC236}">
                <a16:creationId xmlns:a16="http://schemas.microsoft.com/office/drawing/2014/main" id="{65ED3B00-02AE-7B31-DD09-D80846202914}"/>
              </a:ext>
            </a:extLst>
          </p:cNvPr>
          <p:cNvCxnSpPr>
            <a:cxnSpLocks/>
          </p:cNvCxnSpPr>
          <p:nvPr/>
        </p:nvCxnSpPr>
        <p:spPr>
          <a:xfrm>
            <a:off x="4424532" y="3872001"/>
            <a:ext cx="0" cy="41382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Straight Connector 159">
            <a:extLst>
              <a:ext uri="{FF2B5EF4-FFF2-40B4-BE49-F238E27FC236}">
                <a16:creationId xmlns:a16="http://schemas.microsoft.com/office/drawing/2014/main" id="{AD8A3AA2-07E8-2788-6D48-BCAAE4C23D86}"/>
              </a:ext>
            </a:extLst>
          </p:cNvPr>
          <p:cNvCxnSpPr>
            <a:cxnSpLocks/>
          </p:cNvCxnSpPr>
          <p:nvPr/>
        </p:nvCxnSpPr>
        <p:spPr>
          <a:xfrm>
            <a:off x="4424532" y="2242394"/>
            <a:ext cx="0" cy="47916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1" name="Oval 160">
            <a:extLst>
              <a:ext uri="{FF2B5EF4-FFF2-40B4-BE49-F238E27FC236}">
                <a16:creationId xmlns:a16="http://schemas.microsoft.com/office/drawing/2014/main" id="{D90E1D6E-7DDD-B873-75CF-E3D30672CE08}"/>
              </a:ext>
            </a:extLst>
          </p:cNvPr>
          <p:cNvSpPr/>
          <p:nvPr/>
        </p:nvSpPr>
        <p:spPr>
          <a:xfrm>
            <a:off x="4585999" y="2231185"/>
            <a:ext cx="34848" cy="3484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2" name="Oval 161">
            <a:extLst>
              <a:ext uri="{FF2B5EF4-FFF2-40B4-BE49-F238E27FC236}">
                <a16:creationId xmlns:a16="http://schemas.microsoft.com/office/drawing/2014/main" id="{0BC703F8-B6C1-75DA-F3DB-D1C035C0A22E}"/>
              </a:ext>
            </a:extLst>
          </p:cNvPr>
          <p:cNvSpPr/>
          <p:nvPr/>
        </p:nvSpPr>
        <p:spPr>
          <a:xfrm>
            <a:off x="4197022" y="2301205"/>
            <a:ext cx="34848" cy="3484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3" name="Oval 162">
            <a:extLst>
              <a:ext uri="{FF2B5EF4-FFF2-40B4-BE49-F238E27FC236}">
                <a16:creationId xmlns:a16="http://schemas.microsoft.com/office/drawing/2014/main" id="{B5205C89-CEE7-2E96-7D27-76998F5EBBD6}"/>
              </a:ext>
            </a:extLst>
          </p:cNvPr>
          <p:cNvSpPr/>
          <p:nvPr/>
        </p:nvSpPr>
        <p:spPr>
          <a:xfrm>
            <a:off x="4667182" y="2453622"/>
            <a:ext cx="34848" cy="3484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4" name="Oval 163">
            <a:extLst>
              <a:ext uri="{FF2B5EF4-FFF2-40B4-BE49-F238E27FC236}">
                <a16:creationId xmlns:a16="http://schemas.microsoft.com/office/drawing/2014/main" id="{1B8DE690-51F8-AE6F-057B-26687E94FAD7}"/>
              </a:ext>
            </a:extLst>
          </p:cNvPr>
          <p:cNvSpPr/>
          <p:nvPr/>
        </p:nvSpPr>
        <p:spPr>
          <a:xfrm>
            <a:off x="4415855" y="2453622"/>
            <a:ext cx="34848" cy="3484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5" name="Oval 164">
            <a:extLst>
              <a:ext uri="{FF2B5EF4-FFF2-40B4-BE49-F238E27FC236}">
                <a16:creationId xmlns:a16="http://schemas.microsoft.com/office/drawing/2014/main" id="{10320030-1487-89B9-9F3C-B37ADE1645B5}"/>
              </a:ext>
            </a:extLst>
          </p:cNvPr>
          <p:cNvSpPr/>
          <p:nvPr/>
        </p:nvSpPr>
        <p:spPr>
          <a:xfrm>
            <a:off x="4588109" y="2675389"/>
            <a:ext cx="34848" cy="3484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6" name="Oval 165">
            <a:extLst>
              <a:ext uri="{FF2B5EF4-FFF2-40B4-BE49-F238E27FC236}">
                <a16:creationId xmlns:a16="http://schemas.microsoft.com/office/drawing/2014/main" id="{18D25B8D-5ABF-82E5-A256-61C2F7B82F53}"/>
              </a:ext>
            </a:extLst>
          </p:cNvPr>
          <p:cNvSpPr/>
          <p:nvPr/>
        </p:nvSpPr>
        <p:spPr>
          <a:xfrm>
            <a:off x="4484941" y="2300019"/>
            <a:ext cx="34848" cy="3484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7" name="Oval 166">
            <a:extLst>
              <a:ext uri="{FF2B5EF4-FFF2-40B4-BE49-F238E27FC236}">
                <a16:creationId xmlns:a16="http://schemas.microsoft.com/office/drawing/2014/main" id="{D9AC82E7-D597-7A57-1B24-66E3D1DAA8AA}"/>
              </a:ext>
            </a:extLst>
          </p:cNvPr>
          <p:cNvSpPr/>
          <p:nvPr/>
        </p:nvSpPr>
        <p:spPr>
          <a:xfrm>
            <a:off x="4485188" y="2381555"/>
            <a:ext cx="34848" cy="3484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8" name="Oval 167">
            <a:extLst>
              <a:ext uri="{FF2B5EF4-FFF2-40B4-BE49-F238E27FC236}">
                <a16:creationId xmlns:a16="http://schemas.microsoft.com/office/drawing/2014/main" id="{C1E04DA8-7401-1F96-C646-B58BA3A5753B}"/>
              </a:ext>
            </a:extLst>
          </p:cNvPr>
          <p:cNvSpPr/>
          <p:nvPr/>
        </p:nvSpPr>
        <p:spPr>
          <a:xfrm>
            <a:off x="4410339" y="2677178"/>
            <a:ext cx="34848" cy="3484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9" name="Oval 168">
            <a:extLst>
              <a:ext uri="{FF2B5EF4-FFF2-40B4-BE49-F238E27FC236}">
                <a16:creationId xmlns:a16="http://schemas.microsoft.com/office/drawing/2014/main" id="{CBD3F64C-BA74-B49B-4CE8-DA8C0BE10749}"/>
              </a:ext>
            </a:extLst>
          </p:cNvPr>
          <p:cNvSpPr/>
          <p:nvPr/>
        </p:nvSpPr>
        <p:spPr>
          <a:xfrm>
            <a:off x="4367305" y="2792920"/>
            <a:ext cx="34848" cy="3484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70" name="Oval 169">
            <a:extLst>
              <a:ext uri="{FF2B5EF4-FFF2-40B4-BE49-F238E27FC236}">
                <a16:creationId xmlns:a16="http://schemas.microsoft.com/office/drawing/2014/main" id="{A0E93D75-E293-19D9-9EFC-AFD21007A805}"/>
              </a:ext>
            </a:extLst>
          </p:cNvPr>
          <p:cNvSpPr/>
          <p:nvPr/>
        </p:nvSpPr>
        <p:spPr>
          <a:xfrm>
            <a:off x="4273048" y="2717390"/>
            <a:ext cx="34848" cy="3484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71" name="Oval 170">
            <a:extLst>
              <a:ext uri="{FF2B5EF4-FFF2-40B4-BE49-F238E27FC236}">
                <a16:creationId xmlns:a16="http://schemas.microsoft.com/office/drawing/2014/main" id="{0BBD04DA-8383-373C-C461-119A2259F25C}"/>
              </a:ext>
            </a:extLst>
          </p:cNvPr>
          <p:cNvSpPr/>
          <p:nvPr/>
        </p:nvSpPr>
        <p:spPr>
          <a:xfrm>
            <a:off x="4211565" y="2836034"/>
            <a:ext cx="34848" cy="3484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72" name="Oval 171">
            <a:extLst>
              <a:ext uri="{FF2B5EF4-FFF2-40B4-BE49-F238E27FC236}">
                <a16:creationId xmlns:a16="http://schemas.microsoft.com/office/drawing/2014/main" id="{9D34A79F-00EB-F4DE-25EE-85A4ABE41366}"/>
              </a:ext>
            </a:extLst>
          </p:cNvPr>
          <p:cNvSpPr/>
          <p:nvPr/>
        </p:nvSpPr>
        <p:spPr>
          <a:xfrm>
            <a:off x="4713762" y="3207983"/>
            <a:ext cx="34848" cy="3484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73" name="Oval 172">
            <a:extLst>
              <a:ext uri="{FF2B5EF4-FFF2-40B4-BE49-F238E27FC236}">
                <a16:creationId xmlns:a16="http://schemas.microsoft.com/office/drawing/2014/main" id="{27BF6433-1AA5-28E5-48E3-C780C3DC115C}"/>
              </a:ext>
            </a:extLst>
          </p:cNvPr>
          <p:cNvSpPr/>
          <p:nvPr/>
        </p:nvSpPr>
        <p:spPr>
          <a:xfrm>
            <a:off x="4584562" y="3280285"/>
            <a:ext cx="34848" cy="3484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74" name="Oval 173">
            <a:extLst>
              <a:ext uri="{FF2B5EF4-FFF2-40B4-BE49-F238E27FC236}">
                <a16:creationId xmlns:a16="http://schemas.microsoft.com/office/drawing/2014/main" id="{CB23A78D-B96E-279A-5F4E-941F5135C36B}"/>
              </a:ext>
            </a:extLst>
          </p:cNvPr>
          <p:cNvSpPr/>
          <p:nvPr/>
        </p:nvSpPr>
        <p:spPr>
          <a:xfrm>
            <a:off x="4667182" y="3409959"/>
            <a:ext cx="34848" cy="3484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75" name="Oval 174">
            <a:extLst>
              <a:ext uri="{FF2B5EF4-FFF2-40B4-BE49-F238E27FC236}">
                <a16:creationId xmlns:a16="http://schemas.microsoft.com/office/drawing/2014/main" id="{A8792235-CEB1-3BD0-095F-A3223BF5644A}"/>
              </a:ext>
            </a:extLst>
          </p:cNvPr>
          <p:cNvSpPr/>
          <p:nvPr/>
        </p:nvSpPr>
        <p:spPr>
          <a:xfrm>
            <a:off x="4225520" y="3442121"/>
            <a:ext cx="34848" cy="3484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76" name="Oval 175">
            <a:extLst>
              <a:ext uri="{FF2B5EF4-FFF2-40B4-BE49-F238E27FC236}">
                <a16:creationId xmlns:a16="http://schemas.microsoft.com/office/drawing/2014/main" id="{E84D9EDA-D671-D2BA-FDDD-CA351C624B1B}"/>
              </a:ext>
            </a:extLst>
          </p:cNvPr>
          <p:cNvSpPr/>
          <p:nvPr/>
        </p:nvSpPr>
        <p:spPr>
          <a:xfrm>
            <a:off x="4255624" y="3144526"/>
            <a:ext cx="34848" cy="3484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77" name="Oval 176">
            <a:extLst>
              <a:ext uri="{FF2B5EF4-FFF2-40B4-BE49-F238E27FC236}">
                <a16:creationId xmlns:a16="http://schemas.microsoft.com/office/drawing/2014/main" id="{5C6A8FB5-63EB-B612-09D7-5AAA6A2C0439}"/>
              </a:ext>
            </a:extLst>
          </p:cNvPr>
          <p:cNvSpPr/>
          <p:nvPr/>
        </p:nvSpPr>
        <p:spPr>
          <a:xfrm>
            <a:off x="4283125" y="3127240"/>
            <a:ext cx="34848" cy="3484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78" name="Oval 177">
            <a:extLst>
              <a:ext uri="{FF2B5EF4-FFF2-40B4-BE49-F238E27FC236}">
                <a16:creationId xmlns:a16="http://schemas.microsoft.com/office/drawing/2014/main" id="{047AE7EE-21A9-B5C3-8DAE-2716E02C4A7C}"/>
              </a:ext>
            </a:extLst>
          </p:cNvPr>
          <p:cNvSpPr/>
          <p:nvPr/>
        </p:nvSpPr>
        <p:spPr>
          <a:xfrm>
            <a:off x="4410339" y="3519467"/>
            <a:ext cx="34848" cy="3484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67" name="Oval 266">
            <a:extLst>
              <a:ext uri="{FF2B5EF4-FFF2-40B4-BE49-F238E27FC236}">
                <a16:creationId xmlns:a16="http://schemas.microsoft.com/office/drawing/2014/main" id="{2E4CF5C8-1866-0EA4-8FE3-1815AE1F28E0}"/>
              </a:ext>
            </a:extLst>
          </p:cNvPr>
          <p:cNvSpPr/>
          <p:nvPr/>
        </p:nvSpPr>
        <p:spPr>
          <a:xfrm>
            <a:off x="4667182" y="3594847"/>
            <a:ext cx="34848" cy="3484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68" name="Oval 267">
            <a:extLst>
              <a:ext uri="{FF2B5EF4-FFF2-40B4-BE49-F238E27FC236}">
                <a16:creationId xmlns:a16="http://schemas.microsoft.com/office/drawing/2014/main" id="{620EB4E0-9C46-4F77-8176-51836A21F193}"/>
              </a:ext>
            </a:extLst>
          </p:cNvPr>
          <p:cNvSpPr/>
          <p:nvPr/>
        </p:nvSpPr>
        <p:spPr>
          <a:xfrm>
            <a:off x="4561583" y="3626954"/>
            <a:ext cx="34848" cy="3484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72" name="Oval 271">
            <a:extLst>
              <a:ext uri="{FF2B5EF4-FFF2-40B4-BE49-F238E27FC236}">
                <a16:creationId xmlns:a16="http://schemas.microsoft.com/office/drawing/2014/main" id="{C749B0D2-91FB-C61B-4D04-F43B43711DC4}"/>
              </a:ext>
            </a:extLst>
          </p:cNvPr>
          <p:cNvSpPr/>
          <p:nvPr/>
        </p:nvSpPr>
        <p:spPr>
          <a:xfrm>
            <a:off x="4354478" y="3587728"/>
            <a:ext cx="34848" cy="3484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73" name="Oval 272">
            <a:extLst>
              <a:ext uri="{FF2B5EF4-FFF2-40B4-BE49-F238E27FC236}">
                <a16:creationId xmlns:a16="http://schemas.microsoft.com/office/drawing/2014/main" id="{F9953A81-08C8-4037-92E8-59C1ADD4C88E}"/>
              </a:ext>
            </a:extLst>
          </p:cNvPr>
          <p:cNvSpPr/>
          <p:nvPr/>
        </p:nvSpPr>
        <p:spPr>
          <a:xfrm>
            <a:off x="4372024" y="3827518"/>
            <a:ext cx="34848" cy="3484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75" name="Oval 274">
            <a:extLst>
              <a:ext uri="{FF2B5EF4-FFF2-40B4-BE49-F238E27FC236}">
                <a16:creationId xmlns:a16="http://schemas.microsoft.com/office/drawing/2014/main" id="{3E16D916-8FD1-861E-E247-695C55751F34}"/>
              </a:ext>
            </a:extLst>
          </p:cNvPr>
          <p:cNvSpPr/>
          <p:nvPr/>
        </p:nvSpPr>
        <p:spPr>
          <a:xfrm>
            <a:off x="4496938" y="3856267"/>
            <a:ext cx="34848" cy="3484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7" name="Oval 286">
            <a:extLst>
              <a:ext uri="{FF2B5EF4-FFF2-40B4-BE49-F238E27FC236}">
                <a16:creationId xmlns:a16="http://schemas.microsoft.com/office/drawing/2014/main" id="{4191A718-0042-918F-5FC6-5D766629A78E}"/>
              </a:ext>
            </a:extLst>
          </p:cNvPr>
          <p:cNvSpPr/>
          <p:nvPr/>
        </p:nvSpPr>
        <p:spPr>
          <a:xfrm>
            <a:off x="4584124" y="3860258"/>
            <a:ext cx="34848" cy="3484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8" name="Oval 287">
            <a:extLst>
              <a:ext uri="{FF2B5EF4-FFF2-40B4-BE49-F238E27FC236}">
                <a16:creationId xmlns:a16="http://schemas.microsoft.com/office/drawing/2014/main" id="{55E0B83F-383A-C527-7E69-756CDB78104F}"/>
              </a:ext>
            </a:extLst>
          </p:cNvPr>
          <p:cNvSpPr/>
          <p:nvPr/>
        </p:nvSpPr>
        <p:spPr>
          <a:xfrm>
            <a:off x="4520124" y="3970059"/>
            <a:ext cx="34848" cy="3484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9" name="Oval 288">
            <a:extLst>
              <a:ext uri="{FF2B5EF4-FFF2-40B4-BE49-F238E27FC236}">
                <a16:creationId xmlns:a16="http://schemas.microsoft.com/office/drawing/2014/main" id="{8EDB2942-61CE-BDE8-E390-CBD6E62D4322}"/>
              </a:ext>
            </a:extLst>
          </p:cNvPr>
          <p:cNvSpPr/>
          <p:nvPr/>
        </p:nvSpPr>
        <p:spPr>
          <a:xfrm>
            <a:off x="4324484" y="4050654"/>
            <a:ext cx="34848" cy="3484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90" name="Oval 289">
            <a:extLst>
              <a:ext uri="{FF2B5EF4-FFF2-40B4-BE49-F238E27FC236}">
                <a16:creationId xmlns:a16="http://schemas.microsoft.com/office/drawing/2014/main" id="{F944A366-6BBD-93C5-BCAD-B805C00F1652}"/>
              </a:ext>
            </a:extLst>
          </p:cNvPr>
          <p:cNvSpPr/>
          <p:nvPr/>
        </p:nvSpPr>
        <p:spPr>
          <a:xfrm>
            <a:off x="4378110" y="4050654"/>
            <a:ext cx="34848" cy="3484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91" name="Oval 290">
            <a:extLst>
              <a:ext uri="{FF2B5EF4-FFF2-40B4-BE49-F238E27FC236}">
                <a16:creationId xmlns:a16="http://schemas.microsoft.com/office/drawing/2014/main" id="{C64F4A3A-5403-E86F-0F01-1DB3FD9CB098}"/>
              </a:ext>
            </a:extLst>
          </p:cNvPr>
          <p:cNvSpPr/>
          <p:nvPr/>
        </p:nvSpPr>
        <p:spPr>
          <a:xfrm>
            <a:off x="4571540" y="4203161"/>
            <a:ext cx="34848" cy="3484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92" name="Oval 291">
            <a:extLst>
              <a:ext uri="{FF2B5EF4-FFF2-40B4-BE49-F238E27FC236}">
                <a16:creationId xmlns:a16="http://schemas.microsoft.com/office/drawing/2014/main" id="{2D2B2D95-88DF-20F1-838D-2C49A4FFDA9A}"/>
              </a:ext>
            </a:extLst>
          </p:cNvPr>
          <p:cNvSpPr/>
          <p:nvPr/>
        </p:nvSpPr>
        <p:spPr>
          <a:xfrm>
            <a:off x="4405047" y="4271652"/>
            <a:ext cx="34848" cy="3484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93" name="Oval 292">
            <a:extLst>
              <a:ext uri="{FF2B5EF4-FFF2-40B4-BE49-F238E27FC236}">
                <a16:creationId xmlns:a16="http://schemas.microsoft.com/office/drawing/2014/main" id="{ADC1728B-0F89-960A-499B-A105500D79D1}"/>
              </a:ext>
            </a:extLst>
          </p:cNvPr>
          <p:cNvSpPr/>
          <p:nvPr/>
        </p:nvSpPr>
        <p:spPr>
          <a:xfrm>
            <a:off x="4138729" y="4195912"/>
            <a:ext cx="34848" cy="3484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94" name="Oval 293">
            <a:extLst>
              <a:ext uri="{FF2B5EF4-FFF2-40B4-BE49-F238E27FC236}">
                <a16:creationId xmlns:a16="http://schemas.microsoft.com/office/drawing/2014/main" id="{324C9086-6B23-1F25-27A1-79119A7691F8}"/>
              </a:ext>
            </a:extLst>
          </p:cNvPr>
          <p:cNvSpPr/>
          <p:nvPr/>
        </p:nvSpPr>
        <p:spPr>
          <a:xfrm>
            <a:off x="4118424" y="4204555"/>
            <a:ext cx="34848" cy="3484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graphicFrame>
        <p:nvGraphicFramePr>
          <p:cNvPr id="71" name="Chart 70">
            <a:extLst>
              <a:ext uri="{FF2B5EF4-FFF2-40B4-BE49-F238E27FC236}">
                <a16:creationId xmlns:a16="http://schemas.microsoft.com/office/drawing/2014/main" id="{7381C354-BD0D-8AD7-8105-4C05707EED71}"/>
              </a:ext>
            </a:extLst>
          </p:cNvPr>
          <p:cNvGraphicFramePr/>
          <p:nvPr/>
        </p:nvGraphicFramePr>
        <p:xfrm>
          <a:off x="6557615" y="1847356"/>
          <a:ext cx="4353029" cy="31108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2" name="TextBox 71">
            <a:extLst>
              <a:ext uri="{FF2B5EF4-FFF2-40B4-BE49-F238E27FC236}">
                <a16:creationId xmlns:a16="http://schemas.microsoft.com/office/drawing/2014/main" id="{0A02581D-4FD1-1C4C-7192-371D836C01D6}"/>
              </a:ext>
            </a:extLst>
          </p:cNvPr>
          <p:cNvSpPr txBox="1"/>
          <p:nvPr/>
        </p:nvSpPr>
        <p:spPr>
          <a:xfrm>
            <a:off x="7982655" y="3735606"/>
            <a:ext cx="555300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34%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6EA750A6-8787-C1F0-A612-13CC050BF57C}"/>
              </a:ext>
            </a:extLst>
          </p:cNvPr>
          <p:cNvSpPr txBox="1"/>
          <p:nvPr/>
        </p:nvSpPr>
        <p:spPr>
          <a:xfrm>
            <a:off x="9664194" y="3931282"/>
            <a:ext cx="555300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7%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F793C158-4BF0-0A93-371A-02048FEEC511}"/>
              </a:ext>
            </a:extLst>
          </p:cNvPr>
          <p:cNvSpPr txBox="1"/>
          <p:nvPr/>
        </p:nvSpPr>
        <p:spPr>
          <a:xfrm>
            <a:off x="7974496" y="2113799"/>
            <a:ext cx="5553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ORR</a:t>
            </a:r>
            <a:b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73%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8BE12A6B-7208-1213-0427-AB8EE3444273}"/>
              </a:ext>
            </a:extLst>
          </p:cNvPr>
          <p:cNvSpPr txBox="1"/>
          <p:nvPr/>
        </p:nvSpPr>
        <p:spPr>
          <a:xfrm>
            <a:off x="9663706" y="2000333"/>
            <a:ext cx="5553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ORR</a:t>
            </a:r>
            <a:b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78%</a:t>
            </a:r>
          </a:p>
        </p:txBody>
      </p:sp>
      <p:sp>
        <p:nvSpPr>
          <p:cNvPr id="7" name="Shape 3">
            <a:extLst>
              <a:ext uri="{FF2B5EF4-FFF2-40B4-BE49-F238E27FC236}">
                <a16:creationId xmlns:a16="http://schemas.microsoft.com/office/drawing/2014/main" id="{F4E521DA-C66F-73BC-E80D-A246B9172C29}"/>
              </a:ext>
            </a:extLst>
          </p:cNvPr>
          <p:cNvSpPr/>
          <p:nvPr/>
        </p:nvSpPr>
        <p:spPr>
          <a:xfrm>
            <a:off x="855669" y="5293070"/>
            <a:ext cx="10835146" cy="760748"/>
          </a:xfrm>
          <a:prstGeom prst="rect">
            <a:avLst/>
          </a:prstGeom>
          <a:solidFill>
            <a:schemeClr val="accent1">
              <a:lumMod val="20000"/>
              <a:lumOff val="80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180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30000" noProof="0">
              <a:ln>
                <a:noFill/>
              </a:ln>
              <a:solidFill>
                <a:srgbClr val="F15922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" name="Text 13">
            <a:extLst>
              <a:ext uri="{FF2B5EF4-FFF2-40B4-BE49-F238E27FC236}">
                <a16:creationId xmlns:a16="http://schemas.microsoft.com/office/drawing/2014/main" id="{45FE33E6-AFB1-D55F-46B0-956826C42493}"/>
              </a:ext>
            </a:extLst>
          </p:cNvPr>
          <p:cNvSpPr/>
          <p:nvPr/>
        </p:nvSpPr>
        <p:spPr>
          <a:xfrm>
            <a:off x="1376744" y="5534832"/>
            <a:ext cx="10122907" cy="260008"/>
          </a:xfrm>
          <a:prstGeom prst="rect">
            <a:avLst/>
          </a:prstGeom>
          <a:noFill/>
          <a:ln/>
        </p:spPr>
        <p:txBody>
          <a:bodyPr wrap="square" lIns="108000" tIns="0" rIns="7200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Arial" pitchFamily="34" charset="-122"/>
                <a:cs typeface="Arial" pitchFamily="34" charset="-120"/>
              </a:rPr>
              <a:t>Responses to Lonca were seen in patients with low CD19 expression</a:t>
            </a:r>
            <a:r>
              <a:rPr kumimoji="0" lang="en-GB" sz="1600" b="0" i="0" u="none" strike="noStrike" kern="1200" cap="none" spc="0" normalizeH="0" baseline="3000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Arial" pitchFamily="34" charset="-122"/>
                <a:cs typeface="Arial" pitchFamily="34" charset="-120"/>
              </a:rPr>
              <a:t>1</a:t>
            </a: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Arial" pitchFamily="34" charset="-122"/>
                <a:cs typeface="Arial" pitchFamily="34" charset="-120"/>
              </a:rPr>
              <a:t> and after CD19 targeted CAR-T cell therapy</a:t>
            </a:r>
            <a:r>
              <a:rPr kumimoji="0" lang="en-GB" sz="1600" b="0" i="0" u="none" strike="noStrike" kern="1200" cap="none" spc="0" normalizeH="0" baseline="3000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Arial" pitchFamily="34" charset="-122"/>
                <a:cs typeface="Arial" pitchFamily="34" charset="-120"/>
              </a:rPr>
              <a:t>2</a:t>
            </a: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Arial" pitchFamily="34" charset="-122"/>
                <a:cs typeface="Arial" pitchFamily="34" charset="-120"/>
              </a:rPr>
              <a:t> </a:t>
            </a:r>
          </a:p>
        </p:txBody>
      </p:sp>
      <p:sp>
        <p:nvSpPr>
          <p:cNvPr id="9" name="Shape 12">
            <a:extLst>
              <a:ext uri="{FF2B5EF4-FFF2-40B4-BE49-F238E27FC236}">
                <a16:creationId xmlns:a16="http://schemas.microsoft.com/office/drawing/2014/main" id="{1C602953-6CF4-4446-F6D1-9569CC507C75}"/>
              </a:ext>
            </a:extLst>
          </p:cNvPr>
          <p:cNvSpPr/>
          <p:nvPr/>
        </p:nvSpPr>
        <p:spPr>
          <a:xfrm>
            <a:off x="978339" y="5458304"/>
            <a:ext cx="413065" cy="413065"/>
          </a:xfrm>
          <a:prstGeom prst="ellipse">
            <a:avLst/>
          </a:prstGeom>
          <a:solidFill>
            <a:schemeClr val="accent1"/>
          </a:solidFill>
          <a:ln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5EEA85F6-1BCD-7B13-12DF-124F4CB2E715}"/>
              </a:ext>
            </a:extLst>
          </p:cNvPr>
          <p:cNvSpPr txBox="1">
            <a:spLocks/>
          </p:cNvSpPr>
          <p:nvPr/>
        </p:nvSpPr>
        <p:spPr>
          <a:xfrm>
            <a:off x="7443206" y="1141587"/>
            <a:ext cx="3168649" cy="52387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marL="182563" indent="-182563" algn="l" defTabSz="914400" rtl="0" eaLnBrk="1" latinLnBrk="0" hangingPunct="1">
              <a:lnSpc>
                <a:spcPct val="90000"/>
              </a:lnSpc>
              <a:spcBef>
                <a:spcPts val="800"/>
              </a:spcBef>
              <a:spcAft>
                <a:spcPts val="8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355600" indent="-17303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539750" indent="-18415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722313" indent="-18256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895350" indent="-17303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Calibri" panose="020F0502020204030204" pitchFamily="34" charset="0"/>
              </a:rPr>
              <a:t>Best response to </a:t>
            </a:r>
            <a:r>
              <a:rPr kumimoji="0" lang="en-CH" sz="16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Calibri" panose="020F0502020204030204" pitchFamily="34" charset="0"/>
              </a:rPr>
              <a:t>L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Calibri" panose="020F0502020204030204" pitchFamily="34" charset="0"/>
              </a:rPr>
              <a:t>onca as a single agent in 3L and 4L post CAR-T</a:t>
            </a:r>
            <a:r>
              <a:rPr kumimoji="0" lang="en-GB" sz="1600" b="0" i="0" u="none" strike="noStrike" kern="1200" cap="none" spc="0" normalizeH="0" baseline="3000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Calibri" panose="020F0502020204030204" pitchFamily="34" charset="0"/>
              </a:rPr>
              <a:t>2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47BF515-FC33-E621-75A0-7EBB85809960}"/>
              </a:ext>
            </a:extLst>
          </p:cNvPr>
          <p:cNvGrpSpPr/>
          <p:nvPr/>
        </p:nvGrpSpPr>
        <p:grpSpPr>
          <a:xfrm>
            <a:off x="1063224" y="5580553"/>
            <a:ext cx="250031" cy="171450"/>
            <a:chOff x="2019300" y="3529012"/>
            <a:chExt cx="250031" cy="171450"/>
          </a:xfrm>
        </p:grpSpPr>
        <p:sp>
          <p:nvSpPr>
            <p:cNvPr id="17" name="Freeform: Shape 24">
              <a:extLst>
                <a:ext uri="{FF2B5EF4-FFF2-40B4-BE49-F238E27FC236}">
                  <a16:creationId xmlns:a16="http://schemas.microsoft.com/office/drawing/2014/main" id="{DAFDA9CE-CCE0-732D-CB97-0EEC0938119B}"/>
                </a:ext>
              </a:extLst>
            </p:cNvPr>
            <p:cNvSpPr/>
            <p:nvPr/>
          </p:nvSpPr>
          <p:spPr>
            <a:xfrm>
              <a:off x="2019301" y="3529012"/>
              <a:ext cx="245268" cy="171450"/>
            </a:xfrm>
            <a:custGeom>
              <a:avLst/>
              <a:gdLst>
                <a:gd name="connsiteX0" fmla="*/ 0 w 321468"/>
                <a:gd name="connsiteY0" fmla="*/ 0 h 171450"/>
                <a:gd name="connsiteX1" fmla="*/ 76200 w 321468"/>
                <a:gd name="connsiteY1" fmla="*/ 0 h 171450"/>
                <a:gd name="connsiteX2" fmla="*/ 102393 w 321468"/>
                <a:gd name="connsiteY2" fmla="*/ 0 h 171450"/>
                <a:gd name="connsiteX3" fmla="*/ 102393 w 321468"/>
                <a:gd name="connsiteY3" fmla="*/ 83344 h 171450"/>
                <a:gd name="connsiteX4" fmla="*/ 171450 w 321468"/>
                <a:gd name="connsiteY4" fmla="*/ 83344 h 171450"/>
                <a:gd name="connsiteX5" fmla="*/ 171450 w 321468"/>
                <a:gd name="connsiteY5" fmla="*/ 171450 h 171450"/>
                <a:gd name="connsiteX6" fmla="*/ 321468 w 321468"/>
                <a:gd name="connsiteY6" fmla="*/ 171450 h 171450"/>
                <a:gd name="connsiteX0" fmla="*/ 0 w 245268"/>
                <a:gd name="connsiteY0" fmla="*/ 0 h 171450"/>
                <a:gd name="connsiteX1" fmla="*/ 26193 w 245268"/>
                <a:gd name="connsiteY1" fmla="*/ 0 h 171450"/>
                <a:gd name="connsiteX2" fmla="*/ 26193 w 245268"/>
                <a:gd name="connsiteY2" fmla="*/ 83344 h 171450"/>
                <a:gd name="connsiteX3" fmla="*/ 95250 w 245268"/>
                <a:gd name="connsiteY3" fmla="*/ 83344 h 171450"/>
                <a:gd name="connsiteX4" fmla="*/ 95250 w 245268"/>
                <a:gd name="connsiteY4" fmla="*/ 171450 h 171450"/>
                <a:gd name="connsiteX5" fmla="*/ 245268 w 245268"/>
                <a:gd name="connsiteY5" fmla="*/ 17145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5268" h="171450">
                  <a:moveTo>
                    <a:pt x="0" y="0"/>
                  </a:moveTo>
                  <a:lnTo>
                    <a:pt x="26193" y="0"/>
                  </a:lnTo>
                  <a:lnTo>
                    <a:pt x="26193" y="83344"/>
                  </a:lnTo>
                  <a:lnTo>
                    <a:pt x="95250" y="83344"/>
                  </a:lnTo>
                  <a:lnTo>
                    <a:pt x="95250" y="171450"/>
                  </a:lnTo>
                  <a:lnTo>
                    <a:pt x="245268" y="171450"/>
                  </a:lnTo>
                </a:path>
              </a:pathLst>
            </a:custGeom>
            <a:noFill/>
            <a:ln w="15875" cap="rnd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tx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none" lIns="0" tIns="0" rIns="0" bIns="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mago" pitchFamily="2" charset="0"/>
                <a:ea typeface="+mn-ea"/>
                <a:cs typeface="+mn-cs"/>
              </a:endParaRPr>
            </a:p>
          </p:txBody>
        </p:sp>
        <p:sp>
          <p:nvSpPr>
            <p:cNvPr id="18" name="Freeform: Shape 22">
              <a:extLst>
                <a:ext uri="{FF2B5EF4-FFF2-40B4-BE49-F238E27FC236}">
                  <a16:creationId xmlns:a16="http://schemas.microsoft.com/office/drawing/2014/main" id="{DA4821BC-9BEC-91AB-58B6-B80C7FE60B54}"/>
                </a:ext>
              </a:extLst>
            </p:cNvPr>
            <p:cNvSpPr/>
            <p:nvPr/>
          </p:nvSpPr>
          <p:spPr>
            <a:xfrm>
              <a:off x="2019300" y="3529013"/>
              <a:ext cx="250031" cy="85725"/>
            </a:xfrm>
            <a:custGeom>
              <a:avLst/>
              <a:gdLst>
                <a:gd name="connsiteX0" fmla="*/ 0 w 250031"/>
                <a:gd name="connsiteY0" fmla="*/ 0 h 85725"/>
                <a:gd name="connsiteX1" fmla="*/ 52388 w 250031"/>
                <a:gd name="connsiteY1" fmla="*/ 0 h 85725"/>
                <a:gd name="connsiteX2" fmla="*/ 52388 w 250031"/>
                <a:gd name="connsiteY2" fmla="*/ 38100 h 85725"/>
                <a:gd name="connsiteX3" fmla="*/ 142875 w 250031"/>
                <a:gd name="connsiteY3" fmla="*/ 38100 h 85725"/>
                <a:gd name="connsiteX4" fmla="*/ 142875 w 250031"/>
                <a:gd name="connsiteY4" fmla="*/ 57150 h 85725"/>
                <a:gd name="connsiteX5" fmla="*/ 216694 w 250031"/>
                <a:gd name="connsiteY5" fmla="*/ 57150 h 85725"/>
                <a:gd name="connsiteX6" fmla="*/ 216694 w 250031"/>
                <a:gd name="connsiteY6" fmla="*/ 85725 h 85725"/>
                <a:gd name="connsiteX7" fmla="*/ 250031 w 250031"/>
                <a:gd name="connsiteY7" fmla="*/ 85725 h 85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0031" h="85725">
                  <a:moveTo>
                    <a:pt x="0" y="0"/>
                  </a:moveTo>
                  <a:lnTo>
                    <a:pt x="52388" y="0"/>
                  </a:lnTo>
                  <a:lnTo>
                    <a:pt x="52388" y="38100"/>
                  </a:lnTo>
                  <a:lnTo>
                    <a:pt x="142875" y="38100"/>
                  </a:lnTo>
                  <a:lnTo>
                    <a:pt x="142875" y="57150"/>
                  </a:lnTo>
                  <a:lnTo>
                    <a:pt x="216694" y="57150"/>
                  </a:lnTo>
                  <a:lnTo>
                    <a:pt x="216694" y="85725"/>
                  </a:lnTo>
                  <a:lnTo>
                    <a:pt x="250031" y="85725"/>
                  </a:lnTo>
                </a:path>
              </a:pathLst>
            </a:custGeom>
            <a:noFill/>
            <a:ln w="15875" cap="rnd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tx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none" lIns="0" tIns="0" rIns="0" bIns="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mago" pitchFamily="2" charset="0"/>
                <a:ea typeface="+mn-ea"/>
                <a:cs typeface="+mn-cs"/>
              </a:endParaRPr>
            </a:p>
          </p:txBody>
        </p:sp>
      </p:grpSp>
      <p:sp>
        <p:nvSpPr>
          <p:cNvPr id="2" name="Slide Number Placeholder 2">
            <a:extLst>
              <a:ext uri="{FF2B5EF4-FFF2-40B4-BE49-F238E27FC236}">
                <a16:creationId xmlns:a16="http://schemas.microsoft.com/office/drawing/2014/main" id="{C1F2D919-8BFE-8ED3-3FEF-BA5DD349FC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651" y="6356350"/>
            <a:ext cx="383694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948FB62-8746-4D0D-BA71-8EB1BEE683ED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82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8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4737169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CD6375B-AD68-504E-5A32-E98E34CA861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F0B593-9944-5E8B-DED4-A5121B0319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0647" y="311857"/>
            <a:ext cx="9789459" cy="909723"/>
          </a:xfrm>
        </p:spPr>
        <p:txBody>
          <a:bodyPr/>
          <a:lstStyle/>
          <a:p>
            <a:r>
              <a:rPr lang="en-US">
                <a:latin typeface="Aptos"/>
              </a:rPr>
              <a:t>DLBCL challenges: </a:t>
            </a:r>
            <a:r>
              <a:rPr lang="en-CH">
                <a:latin typeface="Aptos"/>
              </a:rPr>
              <a:t>Many more n</a:t>
            </a:r>
            <a:r>
              <a:rPr lang="en-US" err="1">
                <a:latin typeface="Aptos"/>
              </a:rPr>
              <a:t>ew</a:t>
            </a:r>
            <a:r>
              <a:rPr lang="en-US">
                <a:latin typeface="Aptos"/>
              </a:rPr>
              <a:t> questions</a:t>
            </a:r>
            <a:r>
              <a:rPr lang="en-CH">
                <a:latin typeface="Aptos"/>
              </a:rPr>
              <a:t>. More data needed</a:t>
            </a:r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4503273-DF36-0BFE-EC20-A6246159EC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01CC8E-1CEF-6746-999E-CF29FF00B1D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82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9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2E70C1B-87F8-D2AB-A5D7-F5082B7CFFE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US" dirty="0"/>
              <a:t>*TCE </a:t>
            </a:r>
            <a:r>
              <a:rPr lang="en-CH" dirty="0"/>
              <a:t>therapies </a:t>
            </a:r>
            <a:r>
              <a:rPr lang="en-US" dirty="0"/>
              <a:t>and non-TCE</a:t>
            </a:r>
            <a:r>
              <a:rPr lang="en-CH" dirty="0"/>
              <a:t> therapies</a:t>
            </a:r>
            <a:r>
              <a:rPr lang="en-US" dirty="0"/>
              <a:t>?</a:t>
            </a:r>
          </a:p>
          <a:p>
            <a:r>
              <a:rPr lang="en-US" dirty="0" err="1"/>
              <a:t>BsAb</a:t>
            </a:r>
            <a:r>
              <a:rPr lang="en-US" dirty="0"/>
              <a:t>, bispecific antibody; CAR-T, chimeric antigen receptor T-cell therapy; DLBCL, diffuse large B-cell lymphoma; R/R, relapsed/refractory</a:t>
            </a:r>
            <a:r>
              <a:rPr lang="en-CH" dirty="0"/>
              <a:t>; TCE, T-cell engaging</a:t>
            </a:r>
            <a:r>
              <a:rPr lang="en-US" dirty="0"/>
              <a:t>.</a:t>
            </a:r>
          </a:p>
        </p:txBody>
      </p:sp>
      <p:sp>
        <p:nvSpPr>
          <p:cNvPr id="16" name="Free-form: Shape 15">
            <a:extLst>
              <a:ext uri="{FF2B5EF4-FFF2-40B4-BE49-F238E27FC236}">
                <a16:creationId xmlns:a16="http://schemas.microsoft.com/office/drawing/2014/main" id="{46C79BDC-150B-517A-F2F3-BD5033A72C85}"/>
              </a:ext>
            </a:extLst>
          </p:cNvPr>
          <p:cNvSpPr/>
          <p:nvPr/>
        </p:nvSpPr>
        <p:spPr>
          <a:xfrm>
            <a:off x="4455517" y="3048427"/>
            <a:ext cx="880396" cy="841622"/>
          </a:xfrm>
          <a:custGeom>
            <a:avLst/>
            <a:gdLst>
              <a:gd name="csX0" fmla="*/ 401579 w 1609516"/>
              <a:gd name="csY0" fmla="*/ 1495809 h 1538630"/>
              <a:gd name="csX1" fmla="*/ 400190 w 1609516"/>
              <a:gd name="csY1" fmla="*/ 1496004 h 1538630"/>
              <a:gd name="csX2" fmla="*/ 401224 w 1609516"/>
              <a:gd name="csY2" fmla="*/ 1496470 h 1538630"/>
              <a:gd name="csX3" fmla="*/ 401224 w 1609516"/>
              <a:gd name="csY3" fmla="*/ 1498590 h 1538630"/>
              <a:gd name="csX4" fmla="*/ 401579 w 1609516"/>
              <a:gd name="csY4" fmla="*/ 1498628 h 1538630"/>
              <a:gd name="csX5" fmla="*/ 401579 w 1609516"/>
              <a:gd name="csY5" fmla="*/ 1495809 h 1538630"/>
              <a:gd name="csX6" fmla="*/ 368755 w 1609516"/>
              <a:gd name="csY6" fmla="*/ 1486512 h 1538630"/>
              <a:gd name="csX7" fmla="*/ 364089 w 1609516"/>
              <a:gd name="csY7" fmla="*/ 1487354 h 1538630"/>
              <a:gd name="csX8" fmla="*/ 364089 w 1609516"/>
              <a:gd name="csY8" fmla="*/ 1487908 h 1538630"/>
              <a:gd name="csX9" fmla="*/ 1049801 w 1609516"/>
              <a:gd name="csY9" fmla="*/ 1484562 h 1538630"/>
              <a:gd name="csX10" fmla="*/ 1046735 w 1609516"/>
              <a:gd name="csY10" fmla="*/ 1485945 h 1538630"/>
              <a:gd name="csX11" fmla="*/ 1046955 w 1609516"/>
              <a:gd name="csY11" fmla="*/ 1486045 h 1538630"/>
              <a:gd name="csX12" fmla="*/ 1049801 w 1609516"/>
              <a:gd name="csY12" fmla="*/ 1485188 h 1538630"/>
              <a:gd name="csX13" fmla="*/ 351234 w 1609516"/>
              <a:gd name="csY13" fmla="*/ 1444508 h 1538630"/>
              <a:gd name="csX14" fmla="*/ 351234 w 1609516"/>
              <a:gd name="csY14" fmla="*/ 1444997 h 1538630"/>
              <a:gd name="csX15" fmla="*/ 351592 w 1609516"/>
              <a:gd name="csY15" fmla="*/ 1445078 h 1538630"/>
              <a:gd name="csX16" fmla="*/ 351908 w 1609516"/>
              <a:gd name="csY16" fmla="*/ 1431206 h 1538630"/>
              <a:gd name="csX17" fmla="*/ 351234 w 1609516"/>
              <a:gd name="csY17" fmla="*/ 1431611 h 1538630"/>
              <a:gd name="csX18" fmla="*/ 351234 w 1609516"/>
              <a:gd name="csY18" fmla="*/ 1432274 h 1538630"/>
              <a:gd name="csX19" fmla="*/ 358162 w 1609516"/>
              <a:gd name="csY19" fmla="*/ 1421494 h 1538630"/>
              <a:gd name="csX20" fmla="*/ 355921 w 1609516"/>
              <a:gd name="csY20" fmla="*/ 1423156 h 1538630"/>
              <a:gd name="csX21" fmla="*/ 355921 w 1609516"/>
              <a:gd name="csY21" fmla="*/ 1423548 h 1538630"/>
              <a:gd name="csX22" fmla="*/ 376098 w 1609516"/>
              <a:gd name="csY22" fmla="*/ 1408347 h 1538630"/>
              <a:gd name="csX23" fmla="*/ 370750 w 1609516"/>
              <a:gd name="csY23" fmla="*/ 1412245 h 1538630"/>
              <a:gd name="csX24" fmla="*/ 375023 w 1609516"/>
              <a:gd name="csY24" fmla="*/ 1411256 h 1538630"/>
              <a:gd name="csX25" fmla="*/ 421956 w 1609516"/>
              <a:gd name="csY25" fmla="*/ 1365623 h 1538630"/>
              <a:gd name="csX26" fmla="*/ 421765 w 1609516"/>
              <a:gd name="csY26" fmla="*/ 1366161 h 1538630"/>
              <a:gd name="csX27" fmla="*/ 421887 w 1609516"/>
              <a:gd name="csY27" fmla="*/ 1366161 h 1538630"/>
              <a:gd name="csX28" fmla="*/ 754553 w 1609516"/>
              <a:gd name="csY28" fmla="*/ 1360575 h 1538630"/>
              <a:gd name="csX29" fmla="*/ 754089 w 1609516"/>
              <a:gd name="csY29" fmla="*/ 1361433 h 1538630"/>
              <a:gd name="csX30" fmla="*/ 754431 w 1609516"/>
              <a:gd name="csY30" fmla="*/ 1361125 h 1538630"/>
              <a:gd name="csX31" fmla="*/ 1277973 w 1609516"/>
              <a:gd name="csY31" fmla="*/ 1332923 h 1538630"/>
              <a:gd name="csX32" fmla="*/ 1277944 w 1609516"/>
              <a:gd name="csY32" fmla="*/ 1332936 h 1538630"/>
              <a:gd name="csX33" fmla="*/ 1277949 w 1609516"/>
              <a:gd name="csY33" fmla="*/ 1333139 h 1538630"/>
              <a:gd name="csX34" fmla="*/ 1268556 w 1609516"/>
              <a:gd name="csY34" fmla="*/ 1321066 h 1538630"/>
              <a:gd name="csX35" fmla="*/ 1268556 w 1609516"/>
              <a:gd name="csY35" fmla="*/ 1325294 h 1538630"/>
              <a:gd name="csX36" fmla="*/ 1265432 w 1609516"/>
              <a:gd name="csY36" fmla="*/ 1325294 h 1538630"/>
              <a:gd name="csX37" fmla="*/ 1265432 w 1609516"/>
              <a:gd name="csY37" fmla="*/ 1340795 h 1538630"/>
              <a:gd name="csX38" fmla="*/ 1265476 w 1609516"/>
              <a:gd name="csY38" fmla="*/ 1340714 h 1538630"/>
              <a:gd name="csX39" fmla="*/ 1265476 w 1609516"/>
              <a:gd name="csY39" fmla="*/ 1325877 h 1538630"/>
              <a:gd name="csX40" fmla="*/ 1268600 w 1609516"/>
              <a:gd name="csY40" fmla="*/ 1325877 h 1538630"/>
              <a:gd name="csX41" fmla="*/ 1268600 w 1609516"/>
              <a:gd name="csY41" fmla="*/ 1321649 h 1538630"/>
              <a:gd name="csX42" fmla="*/ 1273286 w 1609516"/>
              <a:gd name="csY42" fmla="*/ 1321649 h 1538630"/>
              <a:gd name="csX43" fmla="*/ 1273227 w 1609516"/>
              <a:gd name="csY43" fmla="*/ 1321066 h 1538630"/>
              <a:gd name="csX44" fmla="*/ 827891 w 1609516"/>
              <a:gd name="csY44" fmla="*/ 1291474 h 1538630"/>
              <a:gd name="csX45" fmla="*/ 822601 w 1609516"/>
              <a:gd name="csY45" fmla="*/ 1291544 h 1538630"/>
              <a:gd name="csX46" fmla="*/ 818272 w 1609516"/>
              <a:gd name="csY46" fmla="*/ 1292220 h 1538630"/>
              <a:gd name="csX47" fmla="*/ 827891 w 1609516"/>
              <a:gd name="csY47" fmla="*/ 1292047 h 1538630"/>
              <a:gd name="csX48" fmla="*/ 856397 w 1609516"/>
              <a:gd name="csY48" fmla="*/ 1288691 h 1538630"/>
              <a:gd name="csX49" fmla="*/ 865903 w 1609516"/>
              <a:gd name="csY49" fmla="*/ 1290590 h 1538630"/>
              <a:gd name="csX50" fmla="*/ 859999 w 1609516"/>
              <a:gd name="csY50" fmla="*/ 1288752 h 1538630"/>
              <a:gd name="csX51" fmla="*/ 834694 w 1609516"/>
              <a:gd name="csY51" fmla="*/ 1288572 h 1538630"/>
              <a:gd name="csX52" fmla="*/ 828038 w 1609516"/>
              <a:gd name="csY52" fmla="*/ 1288654 h 1538630"/>
              <a:gd name="csX53" fmla="*/ 828038 w 1609516"/>
              <a:gd name="csY53" fmla="*/ 1289214 h 1538630"/>
              <a:gd name="csX54" fmla="*/ 229746 w 1609516"/>
              <a:gd name="csY54" fmla="*/ 1191418 h 1538630"/>
              <a:gd name="csX55" fmla="*/ 227402 w 1609516"/>
              <a:gd name="csY55" fmla="*/ 1191947 h 1538630"/>
              <a:gd name="csX56" fmla="*/ 229315 w 1609516"/>
              <a:gd name="csY56" fmla="*/ 1191947 h 1538630"/>
              <a:gd name="csX57" fmla="*/ 229315 w 1609516"/>
              <a:gd name="csY57" fmla="*/ 1194765 h 1538630"/>
              <a:gd name="csX58" fmla="*/ 231321 w 1609516"/>
              <a:gd name="csY58" fmla="*/ 1194765 h 1538630"/>
              <a:gd name="csX59" fmla="*/ 229746 w 1609516"/>
              <a:gd name="csY59" fmla="*/ 1194236 h 1538630"/>
              <a:gd name="csX60" fmla="*/ 229746 w 1609516"/>
              <a:gd name="csY60" fmla="*/ 1191418 h 1538630"/>
              <a:gd name="csX61" fmla="*/ 215687 w 1609516"/>
              <a:gd name="csY61" fmla="*/ 1187190 h 1538630"/>
              <a:gd name="csX62" fmla="*/ 215198 w 1609516"/>
              <a:gd name="csY62" fmla="*/ 1187720 h 1538630"/>
              <a:gd name="csX63" fmla="*/ 215256 w 1609516"/>
              <a:gd name="csY63" fmla="*/ 1187720 h 1538630"/>
              <a:gd name="csX64" fmla="*/ 215256 w 1609516"/>
              <a:gd name="csY64" fmla="*/ 1191947 h 1538630"/>
              <a:gd name="csX65" fmla="*/ 222721 w 1609516"/>
              <a:gd name="csY65" fmla="*/ 1191947 h 1538630"/>
              <a:gd name="csX66" fmla="*/ 215687 w 1609516"/>
              <a:gd name="csY66" fmla="*/ 1191418 h 1538630"/>
              <a:gd name="csX67" fmla="*/ 215687 w 1609516"/>
              <a:gd name="csY67" fmla="*/ 1187190 h 1538630"/>
              <a:gd name="csX68" fmla="*/ 1279678 w 1609516"/>
              <a:gd name="csY68" fmla="*/ 1082356 h 1538630"/>
              <a:gd name="csX69" fmla="*/ 1271680 w 1609516"/>
              <a:gd name="csY69" fmla="*/ 1084589 h 1538630"/>
              <a:gd name="csX70" fmla="*/ 1282181 w 1609516"/>
              <a:gd name="csY70" fmla="*/ 1082544 h 1538630"/>
              <a:gd name="csX71" fmla="*/ 117703 w 1609516"/>
              <a:gd name="csY71" fmla="*/ 941507 h 1538630"/>
              <a:gd name="csX72" fmla="*/ 112587 w 1609516"/>
              <a:gd name="csY72" fmla="*/ 941985 h 1538630"/>
              <a:gd name="csX73" fmla="*/ 112565 w 1609516"/>
              <a:gd name="csY73" fmla="*/ 942333 h 1538630"/>
              <a:gd name="csX74" fmla="*/ 115665 w 1609516"/>
              <a:gd name="csY74" fmla="*/ 941837 h 1538630"/>
              <a:gd name="csX75" fmla="*/ 144268 w 1609516"/>
              <a:gd name="csY75" fmla="*/ 939395 h 1538630"/>
              <a:gd name="csX76" fmla="*/ 143354 w 1609516"/>
              <a:gd name="csY76" fmla="*/ 939580 h 1538630"/>
              <a:gd name="csX77" fmla="*/ 144077 w 1609516"/>
              <a:gd name="csY77" fmla="*/ 939739 h 1538630"/>
              <a:gd name="csX78" fmla="*/ 162575 w 1609516"/>
              <a:gd name="csY78" fmla="*/ 933530 h 1538630"/>
              <a:gd name="csX79" fmla="*/ 161704 w 1609516"/>
              <a:gd name="csY79" fmla="*/ 935101 h 1538630"/>
              <a:gd name="csX80" fmla="*/ 170045 w 1609516"/>
              <a:gd name="csY80" fmla="*/ 933585 h 1538630"/>
              <a:gd name="csX81" fmla="*/ 1321645 w 1609516"/>
              <a:gd name="csY81" fmla="*/ 918415 h 1538630"/>
              <a:gd name="csX82" fmla="*/ 1321534 w 1609516"/>
              <a:gd name="csY82" fmla="*/ 920177 h 1538630"/>
              <a:gd name="csX83" fmla="*/ 1321740 w 1609516"/>
              <a:gd name="csY83" fmla="*/ 918415 h 1538630"/>
              <a:gd name="csX84" fmla="*/ 1319333 w 1609516"/>
              <a:gd name="csY84" fmla="*/ 915183 h 1538630"/>
              <a:gd name="csX85" fmla="*/ 1318544 w 1609516"/>
              <a:gd name="csY85" fmla="*/ 918029 h 1538630"/>
              <a:gd name="csX86" fmla="*/ 1318702 w 1609516"/>
              <a:gd name="csY86" fmla="*/ 918029 h 1538630"/>
              <a:gd name="csX87" fmla="*/ 1326355 w 1609516"/>
              <a:gd name="csY87" fmla="*/ 907109 h 1538630"/>
              <a:gd name="csX88" fmla="*/ 1326355 w 1609516"/>
              <a:gd name="csY88" fmla="*/ 910983 h 1538630"/>
              <a:gd name="csX89" fmla="*/ 1325831 w 1609516"/>
              <a:gd name="csY89" fmla="*/ 911101 h 1538630"/>
              <a:gd name="csX90" fmla="*/ 1326426 w 1609516"/>
              <a:gd name="csY90" fmla="*/ 911369 h 1538630"/>
              <a:gd name="csX91" fmla="*/ 1326426 w 1609516"/>
              <a:gd name="csY91" fmla="*/ 907141 h 1538630"/>
              <a:gd name="csX92" fmla="*/ 1328144 w 1609516"/>
              <a:gd name="csY92" fmla="*/ 892192 h 1538630"/>
              <a:gd name="csX93" fmla="*/ 1327667 w 1609516"/>
              <a:gd name="csY93" fmla="*/ 893446 h 1538630"/>
              <a:gd name="csX94" fmla="*/ 1327989 w 1609516"/>
              <a:gd name="csY94" fmla="*/ 893049 h 1538630"/>
              <a:gd name="csX95" fmla="*/ 49605 w 1609516"/>
              <a:gd name="csY95" fmla="*/ 887420 h 1538630"/>
              <a:gd name="csX96" fmla="*/ 48549 w 1609516"/>
              <a:gd name="csY96" fmla="*/ 891229 h 1538630"/>
              <a:gd name="csX97" fmla="*/ 49956 w 1609516"/>
              <a:gd name="csY97" fmla="*/ 887420 h 1538630"/>
              <a:gd name="csX98" fmla="*/ 1332266 w 1609516"/>
              <a:gd name="csY98" fmla="*/ 883369 h 1538630"/>
              <a:gd name="csX99" fmla="*/ 1329479 w 1609516"/>
              <a:gd name="csY99" fmla="*/ 884207 h 1538630"/>
              <a:gd name="csX100" fmla="*/ 1329509 w 1609516"/>
              <a:gd name="csY100" fmla="*/ 884816 h 1538630"/>
              <a:gd name="csX101" fmla="*/ 1329551 w 1609516"/>
              <a:gd name="csY101" fmla="*/ 884594 h 1538630"/>
              <a:gd name="csX102" fmla="*/ 1555987 w 1609516"/>
              <a:gd name="csY102" fmla="*/ 821766 h 1538630"/>
              <a:gd name="csX103" fmla="*/ 1555987 w 1609516"/>
              <a:gd name="csY103" fmla="*/ 822201 h 1538630"/>
              <a:gd name="csX104" fmla="*/ 1556081 w 1609516"/>
              <a:gd name="csY104" fmla="*/ 822189 h 1538630"/>
              <a:gd name="csX105" fmla="*/ 1565360 w 1609516"/>
              <a:gd name="csY105" fmla="*/ 810928 h 1538630"/>
              <a:gd name="csX106" fmla="*/ 1564871 w 1609516"/>
              <a:gd name="csY106" fmla="*/ 811809 h 1538630"/>
              <a:gd name="csX107" fmla="*/ 1567314 w 1609516"/>
              <a:gd name="csY107" fmla="*/ 810928 h 1538630"/>
              <a:gd name="csX108" fmla="*/ 1563797 w 1609516"/>
              <a:gd name="csY108" fmla="*/ 810928 h 1538630"/>
              <a:gd name="csX109" fmla="*/ 1556762 w 1609516"/>
              <a:gd name="csY109" fmla="*/ 814736 h 1538630"/>
              <a:gd name="csX110" fmla="*/ 1563797 w 1609516"/>
              <a:gd name="csY110" fmla="*/ 812197 h 1538630"/>
              <a:gd name="csX111" fmla="*/ 265833 w 1609516"/>
              <a:gd name="csY111" fmla="*/ 806020 h 1538630"/>
              <a:gd name="csX112" fmla="*/ 263704 w 1609516"/>
              <a:gd name="csY112" fmla="*/ 809861 h 1538630"/>
              <a:gd name="csX113" fmla="*/ 263704 w 1609516"/>
              <a:gd name="csY113" fmla="*/ 816750 h 1538630"/>
              <a:gd name="csX114" fmla="*/ 264113 w 1609516"/>
              <a:gd name="csY114" fmla="*/ 816565 h 1538630"/>
              <a:gd name="csX115" fmla="*/ 263918 w 1609516"/>
              <a:gd name="csY115" fmla="*/ 812777 h 1538630"/>
              <a:gd name="csX116" fmla="*/ 263774 w 1609516"/>
              <a:gd name="csY116" fmla="*/ 779374 h 1538630"/>
              <a:gd name="csX117" fmla="*/ 263704 w 1609516"/>
              <a:gd name="csY117" fmla="*/ 783086 h 1538630"/>
              <a:gd name="csX118" fmla="*/ 264484 w 1609516"/>
              <a:gd name="csY118" fmla="*/ 785816 h 1538630"/>
              <a:gd name="csX119" fmla="*/ 265265 w 1609516"/>
              <a:gd name="csY119" fmla="*/ 794448 h 1538630"/>
              <a:gd name="csX120" fmla="*/ 265217 w 1609516"/>
              <a:gd name="csY120" fmla="*/ 799730 h 1538630"/>
              <a:gd name="csX121" fmla="*/ 266556 w 1609516"/>
              <a:gd name="csY121" fmla="*/ 803466 h 1538630"/>
              <a:gd name="csX122" fmla="*/ 267237 w 1609516"/>
              <a:gd name="csY122" fmla="*/ 801063 h 1538630"/>
              <a:gd name="csX123" fmla="*/ 265675 w 1609516"/>
              <a:gd name="csY123" fmla="*/ 799654 h 1538630"/>
              <a:gd name="csX124" fmla="*/ 265675 w 1609516"/>
              <a:gd name="csY124" fmla="*/ 793841 h 1538630"/>
              <a:gd name="csX125" fmla="*/ 260988 w 1609516"/>
              <a:gd name="csY125" fmla="*/ 770061 h 1538630"/>
              <a:gd name="csX126" fmla="*/ 260988 w 1609516"/>
              <a:gd name="csY126" fmla="*/ 771364 h 1538630"/>
              <a:gd name="csX127" fmla="*/ 263497 w 1609516"/>
              <a:gd name="csY127" fmla="*/ 777263 h 1538630"/>
              <a:gd name="csX128" fmla="*/ 262551 w 1609516"/>
              <a:gd name="csY128" fmla="*/ 770061 h 1538630"/>
              <a:gd name="csX129" fmla="*/ 260988 w 1609516"/>
              <a:gd name="csY129" fmla="*/ 770061 h 1538630"/>
              <a:gd name="csX130" fmla="*/ 157888 w 1609516"/>
              <a:gd name="csY130" fmla="*/ 651686 h 1538630"/>
              <a:gd name="csX131" fmla="*/ 157415 w 1609516"/>
              <a:gd name="csY131" fmla="*/ 651764 h 1538630"/>
              <a:gd name="csX132" fmla="*/ 160373 w 1609516"/>
              <a:gd name="csY132" fmla="*/ 652274 h 1538630"/>
              <a:gd name="csX133" fmla="*/ 267237 w 1609516"/>
              <a:gd name="csY133" fmla="*/ 426537 h 1538630"/>
              <a:gd name="csX134" fmla="*/ 267237 w 1609516"/>
              <a:gd name="csY134" fmla="*/ 427619 h 1538630"/>
              <a:gd name="csX135" fmla="*/ 270380 w 1609516"/>
              <a:gd name="csY135" fmla="*/ 428137 h 1538630"/>
              <a:gd name="csX136" fmla="*/ 273548 w 1609516"/>
              <a:gd name="csY136" fmla="*/ 428680 h 1538630"/>
              <a:gd name="csX137" fmla="*/ 37605 w 1609516"/>
              <a:gd name="csY137" fmla="*/ 359270 h 1538630"/>
              <a:gd name="csX138" fmla="*/ 37103 w 1609516"/>
              <a:gd name="csY138" fmla="*/ 361533 h 1538630"/>
              <a:gd name="csX139" fmla="*/ 37605 w 1609516"/>
              <a:gd name="csY139" fmla="*/ 361382 h 1538630"/>
              <a:gd name="csX140" fmla="*/ 52477 w 1609516"/>
              <a:gd name="csY140" fmla="*/ 337570 h 1538630"/>
              <a:gd name="csX141" fmla="*/ 47288 w 1609516"/>
              <a:gd name="csY141" fmla="*/ 342340 h 1538630"/>
              <a:gd name="csX142" fmla="*/ 45805 w 1609516"/>
              <a:gd name="csY142" fmla="*/ 345093 h 1538630"/>
              <a:gd name="csX143" fmla="*/ 104291 w 1609516"/>
              <a:gd name="csY143" fmla="*/ 336166 h 1538630"/>
              <a:gd name="csX144" fmla="*/ 103776 w 1609516"/>
              <a:gd name="csY144" fmla="*/ 337559 h 1538630"/>
              <a:gd name="csX145" fmla="*/ 108925 w 1609516"/>
              <a:gd name="csY145" fmla="*/ 336166 h 1538630"/>
              <a:gd name="csX146" fmla="*/ 1309237 w 1609516"/>
              <a:gd name="csY146" fmla="*/ 322954 h 1538630"/>
              <a:gd name="csX147" fmla="*/ 1309180 w 1609516"/>
              <a:gd name="csY147" fmla="*/ 330559 h 1538630"/>
              <a:gd name="csX148" fmla="*/ 1309237 w 1609516"/>
              <a:gd name="csY148" fmla="*/ 330520 h 1538630"/>
              <a:gd name="csX149" fmla="*/ 1308964 w 1609516"/>
              <a:gd name="csY149" fmla="*/ 317715 h 1538630"/>
              <a:gd name="csX150" fmla="*/ 1309237 w 1609516"/>
              <a:gd name="csY150" fmla="*/ 318569 h 1538630"/>
              <a:gd name="csX151" fmla="*/ 1309237 w 1609516"/>
              <a:gd name="csY151" fmla="*/ 317838 h 1538630"/>
              <a:gd name="csX152" fmla="*/ 1310087 w 1609516"/>
              <a:gd name="csY152" fmla="*/ 313153 h 1538630"/>
              <a:gd name="csX153" fmla="*/ 1307609 w 1609516"/>
              <a:gd name="csY153" fmla="*/ 313473 h 1538630"/>
              <a:gd name="csX154" fmla="*/ 1308045 w 1609516"/>
              <a:gd name="csY154" fmla="*/ 314836 h 1538630"/>
              <a:gd name="csX155" fmla="*/ 1318544 w 1609516"/>
              <a:gd name="csY155" fmla="*/ 312064 h 1538630"/>
              <a:gd name="csX156" fmla="*/ 1316298 w 1609516"/>
              <a:gd name="csY156" fmla="*/ 312353 h 1538630"/>
              <a:gd name="csX157" fmla="*/ 1318544 w 1609516"/>
              <a:gd name="csY157" fmla="*/ 312205 h 1538630"/>
              <a:gd name="csX158" fmla="*/ 1084622 w 1609516"/>
              <a:gd name="csY158" fmla="*/ 267674 h 1538630"/>
              <a:gd name="csX159" fmla="*/ 1084227 w 1609516"/>
              <a:gd name="csY159" fmla="*/ 268378 h 1538630"/>
              <a:gd name="csX160" fmla="*/ 1079540 w 1609516"/>
              <a:gd name="csY160" fmla="*/ 268378 h 1538630"/>
              <a:gd name="csX161" fmla="*/ 1079603 w 1609516"/>
              <a:gd name="csY161" fmla="*/ 268477 h 1538630"/>
              <a:gd name="csX162" fmla="*/ 1084192 w 1609516"/>
              <a:gd name="csY162" fmla="*/ 268477 h 1538630"/>
              <a:gd name="csX163" fmla="*/ 956410 w 1609516"/>
              <a:gd name="csY163" fmla="*/ 266968 h 1538630"/>
              <a:gd name="csX164" fmla="*/ 957576 w 1609516"/>
              <a:gd name="csY164" fmla="*/ 267083 h 1538630"/>
              <a:gd name="csX165" fmla="*/ 957576 w 1609516"/>
              <a:gd name="csY165" fmla="*/ 269776 h 1538630"/>
              <a:gd name="csX166" fmla="*/ 957694 w 1609516"/>
              <a:gd name="csY166" fmla="*/ 269787 h 1538630"/>
              <a:gd name="csX167" fmla="*/ 957694 w 1609516"/>
              <a:gd name="csY167" fmla="*/ 266968 h 1538630"/>
              <a:gd name="csX168" fmla="*/ 1089372 w 1609516"/>
              <a:gd name="csY168" fmla="*/ 259220 h 1538630"/>
              <a:gd name="csX169" fmla="*/ 1085856 w 1609516"/>
              <a:gd name="csY169" fmla="*/ 265479 h 1538630"/>
              <a:gd name="csX170" fmla="*/ 1088878 w 1609516"/>
              <a:gd name="csY170" fmla="*/ 261431 h 1538630"/>
              <a:gd name="csX171" fmla="*/ 1018517 w 1609516"/>
              <a:gd name="csY171" fmla="*/ 223356 h 1538630"/>
              <a:gd name="csX172" fmla="*/ 1013866 w 1609516"/>
              <a:gd name="csY172" fmla="*/ 226190 h 1538630"/>
              <a:gd name="csX173" fmla="*/ 1013024 w 1609516"/>
              <a:gd name="csY173" fmla="*/ 227709 h 1538630"/>
              <a:gd name="csX174" fmla="*/ 1017055 w 1609516"/>
              <a:gd name="csY174" fmla="*/ 224692 h 1538630"/>
              <a:gd name="csX175" fmla="*/ 850645 w 1609516"/>
              <a:gd name="csY175" fmla="*/ 220099 h 1538630"/>
              <a:gd name="csX176" fmla="*/ 850897 w 1609516"/>
              <a:gd name="csY176" fmla="*/ 221488 h 1538630"/>
              <a:gd name="csX177" fmla="*/ 851470 w 1609516"/>
              <a:gd name="csY177" fmla="*/ 224692 h 1538630"/>
              <a:gd name="csX178" fmla="*/ 852860 w 1609516"/>
              <a:gd name="csY178" fmla="*/ 224692 h 1538630"/>
              <a:gd name="csX179" fmla="*/ 1155019 w 1609516"/>
              <a:gd name="csY179" fmla="*/ 35 h 1538630"/>
              <a:gd name="csX180" fmla="*/ 1174829 w 1609516"/>
              <a:gd name="csY180" fmla="*/ 4853 h 1538630"/>
              <a:gd name="csX181" fmla="*/ 1179418 w 1609516"/>
              <a:gd name="csY181" fmla="*/ 5998 h 1538630"/>
              <a:gd name="csX182" fmla="*/ 1201385 w 1609516"/>
              <a:gd name="csY182" fmla="*/ 22997 h 1538630"/>
              <a:gd name="csX183" fmla="*/ 1201678 w 1609516"/>
              <a:gd name="csY183" fmla="*/ 62191 h 1538630"/>
              <a:gd name="csX184" fmla="*/ 1198261 w 1609516"/>
              <a:gd name="csY184" fmla="*/ 68268 h 1538630"/>
              <a:gd name="csX185" fmla="*/ 1195723 w 1609516"/>
              <a:gd name="csY185" fmla="*/ 72672 h 1538630"/>
              <a:gd name="csX186" fmla="*/ 1193575 w 1609516"/>
              <a:gd name="csY186" fmla="*/ 75314 h 1538630"/>
              <a:gd name="csX187" fmla="*/ 1190450 w 1609516"/>
              <a:gd name="csY187" fmla="*/ 75314 h 1538630"/>
              <a:gd name="csX188" fmla="*/ 1189474 w 1609516"/>
              <a:gd name="csY188" fmla="*/ 79366 h 1538630"/>
              <a:gd name="csX189" fmla="*/ 1182445 w 1609516"/>
              <a:gd name="csY189" fmla="*/ 85707 h 1538630"/>
              <a:gd name="csX190" fmla="*/ 1177953 w 1609516"/>
              <a:gd name="csY190" fmla="*/ 86588 h 1538630"/>
              <a:gd name="csX191" fmla="*/ 1177953 w 1609516"/>
              <a:gd name="csY191" fmla="*/ 89406 h 1538630"/>
              <a:gd name="csX192" fmla="*/ 1170045 w 1609516"/>
              <a:gd name="csY192" fmla="*/ 94251 h 1538630"/>
              <a:gd name="csX193" fmla="*/ 1143806 w 1609516"/>
              <a:gd name="csY193" fmla="*/ 132828 h 1538630"/>
              <a:gd name="csX194" fmla="*/ 1137338 w 1609516"/>
              <a:gd name="csY194" fmla="*/ 141548 h 1538630"/>
              <a:gd name="csX195" fmla="*/ 1133970 w 1609516"/>
              <a:gd name="csY195" fmla="*/ 149403 h 1538630"/>
              <a:gd name="csX196" fmla="*/ 1127965 w 1609516"/>
              <a:gd name="csY196" fmla="*/ 164095 h 1538630"/>
              <a:gd name="csX197" fmla="*/ 1124762 w 1609516"/>
              <a:gd name="csY197" fmla="*/ 171802 h 1538630"/>
              <a:gd name="csX198" fmla="*/ 1119359 w 1609516"/>
              <a:gd name="csY198" fmla="*/ 184798 h 1538630"/>
              <a:gd name="csX199" fmla="*/ 1111014 w 1609516"/>
              <a:gd name="csY199" fmla="*/ 204941 h 1538630"/>
              <a:gd name="csX200" fmla="*/ 1109729 w 1609516"/>
              <a:gd name="csY200" fmla="*/ 208059 h 1538630"/>
              <a:gd name="csX201" fmla="*/ 1106395 w 1609516"/>
              <a:gd name="csY201" fmla="*/ 216170 h 1538630"/>
              <a:gd name="csX202" fmla="*/ 1102147 w 1609516"/>
              <a:gd name="csY202" fmla="*/ 224810 h 1538630"/>
              <a:gd name="csX203" fmla="*/ 1098261 w 1609516"/>
              <a:gd name="csY203" fmla="*/ 227262 h 1538630"/>
              <a:gd name="csX204" fmla="*/ 1098367 w 1609516"/>
              <a:gd name="csY204" fmla="*/ 238475 h 1538630"/>
              <a:gd name="csX205" fmla="*/ 1097331 w 1609516"/>
              <a:gd name="csY205" fmla="*/ 242358 h 1538630"/>
              <a:gd name="csX206" fmla="*/ 1096201 w 1609516"/>
              <a:gd name="csY206" fmla="*/ 246458 h 1538630"/>
              <a:gd name="csX207" fmla="*/ 1089440 w 1609516"/>
              <a:gd name="csY207" fmla="*/ 279206 h 1538630"/>
              <a:gd name="csX208" fmla="*/ 1087316 w 1609516"/>
              <a:gd name="csY208" fmla="*/ 283978 h 1538630"/>
              <a:gd name="csX209" fmla="*/ 1086822 w 1609516"/>
              <a:gd name="csY209" fmla="*/ 291822 h 1538630"/>
              <a:gd name="csX210" fmla="*/ 1086623 w 1609516"/>
              <a:gd name="csY210" fmla="*/ 296625 h 1538630"/>
              <a:gd name="csX211" fmla="*/ 1086437 w 1609516"/>
              <a:gd name="csY211" fmla="*/ 301681 h 1538630"/>
              <a:gd name="csX212" fmla="*/ 1086233 w 1609516"/>
              <a:gd name="csY212" fmla="*/ 306754 h 1538630"/>
              <a:gd name="csX213" fmla="*/ 1086007 w 1609516"/>
              <a:gd name="csY213" fmla="*/ 312619 h 1538630"/>
              <a:gd name="csX214" fmla="*/ 1087470 w 1609516"/>
              <a:gd name="csY214" fmla="*/ 320554 h 1538630"/>
              <a:gd name="csX215" fmla="*/ 1098285 w 1609516"/>
              <a:gd name="csY215" fmla="*/ 334611 h 1538630"/>
              <a:gd name="csX216" fmla="*/ 1102607 w 1609516"/>
              <a:gd name="csY216" fmla="*/ 337679 h 1538630"/>
              <a:gd name="csX217" fmla="*/ 1106095 w 1609516"/>
              <a:gd name="csY217" fmla="*/ 340248 h 1538630"/>
              <a:gd name="csX218" fmla="*/ 1106095 w 1609516"/>
              <a:gd name="csY218" fmla="*/ 343066 h 1538630"/>
              <a:gd name="csX219" fmla="*/ 1109220 w 1609516"/>
              <a:gd name="csY219" fmla="*/ 343419 h 1538630"/>
              <a:gd name="csX220" fmla="*/ 1126403 w 1609516"/>
              <a:gd name="csY220" fmla="*/ 350112 h 1538630"/>
              <a:gd name="csX221" fmla="*/ 1131871 w 1609516"/>
              <a:gd name="csY221" fmla="*/ 352579 h 1538630"/>
              <a:gd name="csX222" fmla="*/ 1135776 w 1609516"/>
              <a:gd name="csY222" fmla="*/ 354340 h 1538630"/>
              <a:gd name="csX223" fmla="*/ 1135776 w 1609516"/>
              <a:gd name="csY223" fmla="*/ 357158 h 1538630"/>
              <a:gd name="csX224" fmla="*/ 1170143 w 1609516"/>
              <a:gd name="csY224" fmla="*/ 354340 h 1538630"/>
              <a:gd name="csX225" fmla="*/ 1174634 w 1609516"/>
              <a:gd name="csY225" fmla="*/ 352579 h 1538630"/>
              <a:gd name="csX226" fmla="*/ 1190890 w 1609516"/>
              <a:gd name="csY226" fmla="*/ 342907 h 1538630"/>
              <a:gd name="csX227" fmla="*/ 1204021 w 1609516"/>
              <a:gd name="csY227" fmla="*/ 335404 h 1538630"/>
              <a:gd name="csX228" fmla="*/ 1223255 w 1609516"/>
              <a:gd name="csY228" fmla="*/ 319110 h 1538630"/>
              <a:gd name="csX229" fmla="*/ 1226868 w 1609516"/>
              <a:gd name="csY229" fmla="*/ 315587 h 1538630"/>
              <a:gd name="csX230" fmla="*/ 1231859 w 1609516"/>
              <a:gd name="csY230" fmla="*/ 303559 h 1538630"/>
              <a:gd name="csX231" fmla="*/ 1234178 w 1609516"/>
              <a:gd name="csY231" fmla="*/ 298059 h 1538630"/>
              <a:gd name="csX232" fmla="*/ 1237314 w 1609516"/>
              <a:gd name="csY232" fmla="*/ 288195 h 1538630"/>
              <a:gd name="csX233" fmla="*/ 1249811 w 1609516"/>
              <a:gd name="csY233" fmla="*/ 265559 h 1538630"/>
              <a:gd name="csX234" fmla="*/ 1252935 w 1609516"/>
              <a:gd name="csY234" fmla="*/ 265559 h 1538630"/>
              <a:gd name="csX235" fmla="*/ 1252935 w 1609516"/>
              <a:gd name="csY235" fmla="*/ 262741 h 1538630"/>
              <a:gd name="csX236" fmla="*/ 1296675 w 1609516"/>
              <a:gd name="csY236" fmla="*/ 252876 h 1538630"/>
              <a:gd name="csX237" fmla="*/ 1307609 w 1609516"/>
              <a:gd name="csY237" fmla="*/ 255695 h 1538630"/>
              <a:gd name="csX238" fmla="*/ 1307609 w 1609516"/>
              <a:gd name="csY238" fmla="*/ 258513 h 1538630"/>
              <a:gd name="csX239" fmla="*/ 1311887 w 1609516"/>
              <a:gd name="csY239" fmla="*/ 258832 h 1538630"/>
              <a:gd name="csX240" fmla="*/ 1326715 w 1609516"/>
              <a:gd name="csY240" fmla="*/ 269969 h 1538630"/>
              <a:gd name="csX241" fmla="*/ 1334165 w 1609516"/>
              <a:gd name="csY241" fmla="*/ 307836 h 1538630"/>
              <a:gd name="csX242" fmla="*/ 1329479 w 1609516"/>
              <a:gd name="csY242" fmla="*/ 314882 h 1538630"/>
              <a:gd name="csX243" fmla="*/ 1323231 w 1609516"/>
              <a:gd name="csY243" fmla="*/ 314882 h 1538630"/>
              <a:gd name="csX244" fmla="*/ 1323231 w 1609516"/>
              <a:gd name="csY244" fmla="*/ 317700 h 1538630"/>
              <a:gd name="csX245" fmla="*/ 1322774 w 1609516"/>
              <a:gd name="csY245" fmla="*/ 317838 h 1538630"/>
              <a:gd name="csX246" fmla="*/ 1323295 w 1609516"/>
              <a:gd name="csY246" fmla="*/ 317838 h 1538630"/>
              <a:gd name="csX247" fmla="*/ 1323295 w 1609516"/>
              <a:gd name="csY247" fmla="*/ 315019 h 1538630"/>
              <a:gd name="csX248" fmla="*/ 1327982 w 1609516"/>
              <a:gd name="csY248" fmla="*/ 315019 h 1538630"/>
              <a:gd name="csX249" fmla="*/ 1317047 w 1609516"/>
              <a:gd name="csY249" fmla="*/ 327702 h 1538630"/>
              <a:gd name="csX250" fmla="*/ 1315484 w 1609516"/>
              <a:gd name="csY250" fmla="*/ 331930 h 1538630"/>
              <a:gd name="csX251" fmla="*/ 1309139 w 1609516"/>
              <a:gd name="csY251" fmla="*/ 333603 h 1538630"/>
              <a:gd name="csX252" fmla="*/ 1305666 w 1609516"/>
              <a:gd name="csY252" fmla="*/ 334280 h 1538630"/>
              <a:gd name="csX253" fmla="*/ 1302988 w 1609516"/>
              <a:gd name="csY253" fmla="*/ 334748 h 1538630"/>
              <a:gd name="csX254" fmla="*/ 1305905 w 1609516"/>
              <a:gd name="csY254" fmla="*/ 332775 h 1538630"/>
              <a:gd name="csX255" fmla="*/ 1304485 w 1609516"/>
              <a:gd name="csY255" fmla="*/ 333202 h 1538630"/>
              <a:gd name="csX256" fmla="*/ 1301459 w 1609516"/>
              <a:gd name="csY256" fmla="*/ 336108 h 1538630"/>
              <a:gd name="csX257" fmla="*/ 1291989 w 1609516"/>
              <a:gd name="csY257" fmla="*/ 338839 h 1538630"/>
              <a:gd name="csX258" fmla="*/ 1290426 w 1609516"/>
              <a:gd name="csY258" fmla="*/ 343066 h 1538630"/>
              <a:gd name="csX259" fmla="*/ 1285740 w 1609516"/>
              <a:gd name="csY259" fmla="*/ 344123 h 1538630"/>
              <a:gd name="csX260" fmla="*/ 1237314 w 1609516"/>
              <a:gd name="csY260" fmla="*/ 382525 h 1538630"/>
              <a:gd name="csX261" fmla="*/ 1232628 w 1609516"/>
              <a:gd name="csY261" fmla="*/ 392389 h 1538630"/>
              <a:gd name="csX262" fmla="*/ 1228625 w 1609516"/>
              <a:gd name="csY262" fmla="*/ 398731 h 1538630"/>
              <a:gd name="csX263" fmla="*/ 1222822 w 1609516"/>
              <a:gd name="csY263" fmla="*/ 434798 h 1538630"/>
              <a:gd name="csX264" fmla="*/ 1260746 w 1609516"/>
              <a:gd name="csY264" fmla="*/ 485398 h 1538630"/>
              <a:gd name="csX265" fmla="*/ 1268556 w 1609516"/>
              <a:gd name="csY265" fmla="*/ 488216 h 1538630"/>
              <a:gd name="csX266" fmla="*/ 1268556 w 1609516"/>
              <a:gd name="csY266" fmla="*/ 491034 h 1538630"/>
              <a:gd name="csX267" fmla="*/ 1338852 w 1609516"/>
              <a:gd name="csY267" fmla="*/ 489625 h 1538630"/>
              <a:gd name="csX268" fmla="*/ 1347444 w 1609516"/>
              <a:gd name="csY268" fmla="*/ 488480 h 1538630"/>
              <a:gd name="csX269" fmla="*/ 1369362 w 1609516"/>
              <a:gd name="csY269" fmla="*/ 482513 h 1538630"/>
              <a:gd name="csX270" fmla="*/ 1388840 w 1609516"/>
              <a:gd name="csY270" fmla="*/ 478351 h 1538630"/>
              <a:gd name="csX271" fmla="*/ 1388840 w 1609516"/>
              <a:gd name="csY271" fmla="*/ 475533 h 1538630"/>
              <a:gd name="csX272" fmla="*/ 1395576 w 1609516"/>
              <a:gd name="csY272" fmla="*/ 473419 h 1538630"/>
              <a:gd name="csX273" fmla="*/ 1399365 w 1609516"/>
              <a:gd name="csY273" fmla="*/ 472230 h 1538630"/>
              <a:gd name="csX274" fmla="*/ 1407585 w 1609516"/>
              <a:gd name="csY274" fmla="*/ 471305 h 1538630"/>
              <a:gd name="csX275" fmla="*/ 1409147 w 1609516"/>
              <a:gd name="csY275" fmla="*/ 467078 h 1538630"/>
              <a:gd name="csX276" fmla="*/ 1416470 w 1609516"/>
              <a:gd name="csY276" fmla="*/ 464259 h 1538630"/>
              <a:gd name="csX277" fmla="*/ 1437949 w 1609516"/>
              <a:gd name="csY277" fmla="*/ 455011 h 1538630"/>
              <a:gd name="csX278" fmla="*/ 1452887 w 1609516"/>
              <a:gd name="csY278" fmla="*/ 450167 h 1538630"/>
              <a:gd name="csX279" fmla="*/ 1452887 w 1609516"/>
              <a:gd name="csY279" fmla="*/ 447349 h 1538630"/>
              <a:gd name="csX280" fmla="*/ 1455394 w 1609516"/>
              <a:gd name="csY280" fmla="*/ 446122 h 1538630"/>
              <a:gd name="csX281" fmla="*/ 1466653 w 1609516"/>
              <a:gd name="csY281" fmla="*/ 440567 h 1538630"/>
              <a:gd name="csX282" fmla="*/ 1470598 w 1609516"/>
              <a:gd name="csY282" fmla="*/ 438637 h 1538630"/>
              <a:gd name="csX283" fmla="*/ 1474397 w 1609516"/>
              <a:gd name="csY283" fmla="*/ 436752 h 1538630"/>
              <a:gd name="csX284" fmla="*/ 1477892 w 1609516"/>
              <a:gd name="csY284" fmla="*/ 435030 h 1538630"/>
              <a:gd name="csX285" fmla="*/ 1485691 w 1609516"/>
              <a:gd name="csY285" fmla="*/ 429029 h 1538630"/>
              <a:gd name="csX286" fmla="*/ 1488858 w 1609516"/>
              <a:gd name="csY286" fmla="*/ 427653 h 1538630"/>
              <a:gd name="csX287" fmla="*/ 1495943 w 1609516"/>
              <a:gd name="csY287" fmla="*/ 421454 h 1538630"/>
              <a:gd name="csX288" fmla="*/ 1538608 w 1609516"/>
              <a:gd name="csY288" fmla="*/ 388338 h 1538630"/>
              <a:gd name="csX289" fmla="*/ 1543490 w 1609516"/>
              <a:gd name="csY289" fmla="*/ 388161 h 1538630"/>
              <a:gd name="csX290" fmla="*/ 1547621 w 1609516"/>
              <a:gd name="csY290" fmla="*/ 387804 h 1538630"/>
              <a:gd name="csX291" fmla="*/ 1579418 w 1609516"/>
              <a:gd name="csY291" fmla="*/ 396617 h 1538630"/>
              <a:gd name="csX292" fmla="*/ 1583342 w 1609516"/>
              <a:gd name="csY292" fmla="*/ 398780 h 1538630"/>
              <a:gd name="csX293" fmla="*/ 1601288 w 1609516"/>
              <a:gd name="csY293" fmla="*/ 423392 h 1538630"/>
              <a:gd name="csX294" fmla="*/ 1594484 w 1609516"/>
              <a:gd name="csY294" fmla="*/ 460159 h 1538630"/>
              <a:gd name="csX295" fmla="*/ 1574732 w 1609516"/>
              <a:gd name="csY295" fmla="*/ 475533 h 1538630"/>
              <a:gd name="csX296" fmla="*/ 1572097 w 1609516"/>
              <a:gd name="csY296" fmla="*/ 477078 h 1538630"/>
              <a:gd name="csX297" fmla="*/ 1556066 w 1609516"/>
              <a:gd name="csY297" fmla="*/ 478737 h 1538630"/>
              <a:gd name="csX298" fmla="*/ 1548631 w 1609516"/>
              <a:gd name="csY298" fmla="*/ 478825 h 1538630"/>
              <a:gd name="csX299" fmla="*/ 1536991 w 1609516"/>
              <a:gd name="csY299" fmla="*/ 478889 h 1538630"/>
              <a:gd name="csX300" fmla="*/ 1498188 w 1609516"/>
              <a:gd name="csY300" fmla="*/ 485398 h 1538630"/>
              <a:gd name="csX301" fmla="*/ 1493892 w 1609516"/>
              <a:gd name="csY301" fmla="*/ 487600 h 1538630"/>
              <a:gd name="csX302" fmla="*/ 1490377 w 1609516"/>
              <a:gd name="csY302" fmla="*/ 489625 h 1538630"/>
              <a:gd name="csX303" fmla="*/ 1471650 w 1609516"/>
              <a:gd name="csY303" fmla="*/ 498185 h 1538630"/>
              <a:gd name="csX304" fmla="*/ 1459135 w 1609516"/>
              <a:gd name="csY304" fmla="*/ 505127 h 1538630"/>
              <a:gd name="csX305" fmla="*/ 1452594 w 1609516"/>
              <a:gd name="csY305" fmla="*/ 508033 h 1538630"/>
              <a:gd name="csX306" fmla="*/ 1427795 w 1609516"/>
              <a:gd name="csY306" fmla="*/ 520100 h 1538630"/>
              <a:gd name="csX307" fmla="*/ 1423733 w 1609516"/>
              <a:gd name="csY307" fmla="*/ 522148 h 1538630"/>
              <a:gd name="csX308" fmla="*/ 1419929 w 1609516"/>
              <a:gd name="csY308" fmla="*/ 524118 h 1538630"/>
              <a:gd name="csX309" fmla="*/ 1416487 w 1609516"/>
              <a:gd name="csY309" fmla="*/ 525883 h 1538630"/>
              <a:gd name="csX310" fmla="*/ 1412271 w 1609516"/>
              <a:gd name="csY310" fmla="*/ 531902 h 1538630"/>
              <a:gd name="csX311" fmla="*/ 1396650 w 1609516"/>
              <a:gd name="csY311" fmla="*/ 537539 h 1538630"/>
              <a:gd name="csX312" fmla="*/ 1396650 w 1609516"/>
              <a:gd name="csY312" fmla="*/ 540357 h 1538630"/>
              <a:gd name="csX313" fmla="*/ 1393495 w 1609516"/>
              <a:gd name="csY313" fmla="*/ 541502 h 1538630"/>
              <a:gd name="csX314" fmla="*/ 1362284 w 1609516"/>
              <a:gd name="csY314" fmla="*/ 558678 h 1538630"/>
              <a:gd name="csX315" fmla="*/ 1355937 w 1609516"/>
              <a:gd name="csY315" fmla="*/ 562905 h 1538630"/>
              <a:gd name="csX316" fmla="*/ 1334165 w 1609516"/>
              <a:gd name="csY316" fmla="*/ 578406 h 1538630"/>
              <a:gd name="csX317" fmla="*/ 1331200 w 1609516"/>
              <a:gd name="csY317" fmla="*/ 580559 h 1538630"/>
              <a:gd name="csX318" fmla="*/ 1322175 w 1609516"/>
              <a:gd name="csY318" fmla="*/ 596793 h 1538630"/>
              <a:gd name="csX319" fmla="*/ 1320106 w 1609516"/>
              <a:gd name="csY319" fmla="*/ 602363 h 1538630"/>
              <a:gd name="csX320" fmla="*/ 1328015 w 1609516"/>
              <a:gd name="csY320" fmla="*/ 647640 h 1538630"/>
              <a:gd name="csX321" fmla="*/ 1332604 w 1609516"/>
              <a:gd name="csY321" fmla="*/ 675643 h 1538630"/>
              <a:gd name="csX322" fmla="*/ 1335727 w 1609516"/>
              <a:gd name="csY322" fmla="*/ 675643 h 1538630"/>
              <a:gd name="csX323" fmla="*/ 1337741 w 1609516"/>
              <a:gd name="csY323" fmla="*/ 690059 h 1538630"/>
              <a:gd name="csX324" fmla="*/ 1338003 w 1609516"/>
              <a:gd name="csY324" fmla="*/ 696222 h 1538630"/>
              <a:gd name="csX325" fmla="*/ 1338340 w 1609516"/>
              <a:gd name="csY325" fmla="*/ 705887 h 1538630"/>
              <a:gd name="csX326" fmla="*/ 1345277 w 1609516"/>
              <a:gd name="csY326" fmla="*/ 733245 h 1538630"/>
              <a:gd name="csX327" fmla="*/ 1363162 w 1609516"/>
              <a:gd name="csY327" fmla="*/ 741612 h 1538630"/>
              <a:gd name="csX328" fmla="*/ 1384154 w 1609516"/>
              <a:gd name="csY328" fmla="*/ 748922 h 1538630"/>
              <a:gd name="csX329" fmla="*/ 1391476 w 1609516"/>
              <a:gd name="csY329" fmla="*/ 750419 h 1538630"/>
              <a:gd name="csX330" fmla="*/ 1395564 w 1609516"/>
              <a:gd name="csY330" fmla="*/ 751080 h 1538630"/>
              <a:gd name="csX331" fmla="*/ 1399775 w 1609516"/>
              <a:gd name="csY331" fmla="*/ 751740 h 1538630"/>
              <a:gd name="csX332" fmla="*/ 1403887 w 1609516"/>
              <a:gd name="csY332" fmla="*/ 752489 h 1538630"/>
              <a:gd name="csX333" fmla="*/ 1465383 w 1609516"/>
              <a:gd name="csY333" fmla="*/ 755969 h 1538630"/>
              <a:gd name="csX334" fmla="*/ 1470339 w 1609516"/>
              <a:gd name="csY334" fmla="*/ 755897 h 1538630"/>
              <a:gd name="csX335" fmla="*/ 1496809 w 1609516"/>
              <a:gd name="csY335" fmla="*/ 749313 h 1538630"/>
              <a:gd name="csX336" fmla="*/ 1515371 w 1609516"/>
              <a:gd name="csY336" fmla="*/ 743285 h 1538630"/>
              <a:gd name="csX337" fmla="*/ 1515371 w 1609516"/>
              <a:gd name="csY337" fmla="*/ 740467 h 1538630"/>
              <a:gd name="csX338" fmla="*/ 1537632 w 1609516"/>
              <a:gd name="csY338" fmla="*/ 737120 h 1538630"/>
              <a:gd name="csX339" fmla="*/ 1541657 w 1609516"/>
              <a:gd name="csY339" fmla="*/ 737127 h 1538630"/>
              <a:gd name="csX340" fmla="*/ 1574732 w 1609516"/>
              <a:gd name="csY340" fmla="*/ 748922 h 1538630"/>
              <a:gd name="csX341" fmla="*/ 1588791 w 1609516"/>
              <a:gd name="csY341" fmla="*/ 792608 h 1538630"/>
              <a:gd name="csX342" fmla="*/ 1584105 w 1609516"/>
              <a:gd name="csY342" fmla="*/ 805291 h 1538630"/>
              <a:gd name="csX343" fmla="*/ 1580981 w 1609516"/>
              <a:gd name="csY343" fmla="*/ 806700 h 1538630"/>
              <a:gd name="csX344" fmla="*/ 1578735 w 1609516"/>
              <a:gd name="csY344" fmla="*/ 810311 h 1538630"/>
              <a:gd name="csX345" fmla="*/ 1576295 w 1609516"/>
              <a:gd name="csY345" fmla="*/ 813746 h 1538630"/>
              <a:gd name="csX346" fmla="*/ 1571652 w 1609516"/>
              <a:gd name="csY346" fmla="*/ 813746 h 1538630"/>
              <a:gd name="csX347" fmla="*/ 1571785 w 1609516"/>
              <a:gd name="csY347" fmla="*/ 814106 h 1538630"/>
              <a:gd name="csX348" fmla="*/ 1574909 w 1609516"/>
              <a:gd name="csY348" fmla="*/ 815515 h 1538630"/>
              <a:gd name="csX349" fmla="*/ 1565463 w 1609516"/>
              <a:gd name="csY349" fmla="*/ 821839 h 1538630"/>
              <a:gd name="csX350" fmla="*/ 1562085 w 1609516"/>
              <a:gd name="csY350" fmla="*/ 822101 h 1538630"/>
              <a:gd name="csX351" fmla="*/ 1551301 w 1609516"/>
              <a:gd name="csY351" fmla="*/ 825020 h 1538630"/>
              <a:gd name="csX352" fmla="*/ 1551301 w 1609516"/>
              <a:gd name="csY352" fmla="*/ 827838 h 1538630"/>
              <a:gd name="csX353" fmla="*/ 1485380 w 1609516"/>
              <a:gd name="csY353" fmla="*/ 815007 h 1538630"/>
              <a:gd name="csX354" fmla="*/ 1431603 w 1609516"/>
              <a:gd name="csY354" fmla="*/ 808726 h 1538630"/>
              <a:gd name="csX355" fmla="*/ 1424140 w 1609516"/>
              <a:gd name="csY355" fmla="*/ 808542 h 1538630"/>
              <a:gd name="csX356" fmla="*/ 1406023 w 1609516"/>
              <a:gd name="csY356" fmla="*/ 808109 h 1538630"/>
              <a:gd name="csX357" fmla="*/ 1406023 w 1609516"/>
              <a:gd name="csY357" fmla="*/ 810928 h 1538630"/>
              <a:gd name="csX358" fmla="*/ 1403383 w 1609516"/>
              <a:gd name="csY358" fmla="*/ 811311 h 1538630"/>
              <a:gd name="csX359" fmla="*/ 1345442 w 1609516"/>
              <a:gd name="csY359" fmla="*/ 828907 h 1538630"/>
              <a:gd name="csX360" fmla="*/ 1337875 w 1609516"/>
              <a:gd name="csY360" fmla="*/ 856639 h 1538630"/>
              <a:gd name="csX361" fmla="*/ 1337692 w 1609516"/>
              <a:gd name="csY361" fmla="*/ 860171 h 1538630"/>
              <a:gd name="csX362" fmla="*/ 1337290 w 1609516"/>
              <a:gd name="csY362" fmla="*/ 868706 h 1538630"/>
              <a:gd name="csX363" fmla="*/ 1334165 w 1609516"/>
              <a:gd name="csY363" fmla="*/ 868706 h 1538630"/>
              <a:gd name="csX364" fmla="*/ 1334165 w 1609516"/>
              <a:gd name="csY364" fmla="*/ 870034 h 1538630"/>
              <a:gd name="csX365" fmla="*/ 1334237 w 1609516"/>
              <a:gd name="csY365" fmla="*/ 869093 h 1538630"/>
              <a:gd name="csX366" fmla="*/ 1335800 w 1609516"/>
              <a:gd name="csY366" fmla="*/ 869093 h 1538630"/>
              <a:gd name="csX367" fmla="*/ 1335995 w 1609516"/>
              <a:gd name="csY367" fmla="*/ 876491 h 1538630"/>
              <a:gd name="csX368" fmla="*/ 1336105 w 1609516"/>
              <a:gd name="csY368" fmla="*/ 880653 h 1538630"/>
              <a:gd name="csX369" fmla="*/ 1334294 w 1609516"/>
              <a:gd name="csY369" fmla="*/ 887271 h 1538630"/>
              <a:gd name="csX370" fmla="*/ 1331455 w 1609516"/>
              <a:gd name="csY370" fmla="*/ 896440 h 1538630"/>
              <a:gd name="csX371" fmla="*/ 1330887 w 1609516"/>
              <a:gd name="csY371" fmla="*/ 899969 h 1538630"/>
              <a:gd name="csX372" fmla="*/ 1330332 w 1609516"/>
              <a:gd name="csY372" fmla="*/ 903618 h 1538630"/>
              <a:gd name="csX373" fmla="*/ 1329209 w 1609516"/>
              <a:gd name="csY373" fmla="*/ 910797 h 1538630"/>
              <a:gd name="csX374" fmla="*/ 1328724 w 1609516"/>
              <a:gd name="csY374" fmla="*/ 913998 h 1538630"/>
              <a:gd name="csX375" fmla="*/ 1324865 w 1609516"/>
              <a:gd name="csY375" fmla="*/ 922643 h 1538630"/>
              <a:gd name="csX376" fmla="*/ 1322619 w 1609516"/>
              <a:gd name="csY376" fmla="*/ 937979 h 1538630"/>
              <a:gd name="csX377" fmla="*/ 1318744 w 1609516"/>
              <a:gd name="csY377" fmla="*/ 944961 h 1538630"/>
              <a:gd name="csX378" fmla="*/ 1318544 w 1609516"/>
              <a:gd name="csY378" fmla="*/ 946213 h 1538630"/>
              <a:gd name="csX379" fmla="*/ 1318251 w 1609516"/>
              <a:gd name="csY379" fmla="*/ 955285 h 1538630"/>
              <a:gd name="csX380" fmla="*/ 1318184 w 1609516"/>
              <a:gd name="csY380" fmla="*/ 960036 h 1538630"/>
              <a:gd name="csX381" fmla="*/ 1324024 w 1609516"/>
              <a:gd name="csY381" fmla="*/ 973660 h 1538630"/>
              <a:gd name="csX382" fmla="*/ 1329284 w 1609516"/>
              <a:gd name="csY382" fmla="*/ 983382 h 1538630"/>
              <a:gd name="csX383" fmla="*/ 1340414 w 1609516"/>
              <a:gd name="csY383" fmla="*/ 998354 h 1538630"/>
              <a:gd name="csX384" fmla="*/ 1346272 w 1609516"/>
              <a:gd name="csY384" fmla="*/ 1005048 h 1538630"/>
              <a:gd name="csX385" fmla="*/ 1394716 w 1609516"/>
              <a:gd name="csY385" fmla="*/ 1042740 h 1538630"/>
              <a:gd name="csX386" fmla="*/ 1401953 w 1609516"/>
              <a:gd name="csY386" fmla="*/ 1047374 h 1538630"/>
              <a:gd name="csX387" fmla="*/ 1427197 w 1609516"/>
              <a:gd name="csY387" fmla="*/ 1059061 h 1538630"/>
              <a:gd name="csX388" fmla="*/ 1437265 w 1609516"/>
              <a:gd name="csY388" fmla="*/ 1064588 h 1538630"/>
              <a:gd name="csX389" fmla="*/ 1437265 w 1609516"/>
              <a:gd name="csY389" fmla="*/ 1067406 h 1538630"/>
              <a:gd name="csX390" fmla="*/ 1440878 w 1609516"/>
              <a:gd name="csY390" fmla="*/ 1067847 h 1538630"/>
              <a:gd name="csX391" fmla="*/ 1447175 w 1609516"/>
              <a:gd name="csY391" fmla="*/ 1070753 h 1538630"/>
              <a:gd name="csX392" fmla="*/ 1457866 w 1609516"/>
              <a:gd name="csY392" fmla="*/ 1076830 h 1538630"/>
              <a:gd name="csX393" fmla="*/ 1462132 w 1609516"/>
              <a:gd name="csY393" fmla="*/ 1078696 h 1538630"/>
              <a:gd name="csX394" fmla="*/ 1465383 w 1609516"/>
              <a:gd name="csY394" fmla="*/ 1080089 h 1538630"/>
              <a:gd name="csX395" fmla="*/ 1465383 w 1609516"/>
              <a:gd name="csY395" fmla="*/ 1082908 h 1538630"/>
              <a:gd name="csX396" fmla="*/ 1468758 w 1609516"/>
              <a:gd name="csY396" fmla="*/ 1083975 h 1538630"/>
              <a:gd name="csX397" fmla="*/ 1481688 w 1609516"/>
              <a:gd name="csY397" fmla="*/ 1091187 h 1538630"/>
              <a:gd name="csX398" fmla="*/ 1486283 w 1609516"/>
              <a:gd name="csY398" fmla="*/ 1094236 h 1538630"/>
              <a:gd name="csX399" fmla="*/ 1494869 w 1609516"/>
              <a:gd name="csY399" fmla="*/ 1100171 h 1538630"/>
              <a:gd name="csX400" fmla="*/ 1544335 w 1609516"/>
              <a:gd name="csY400" fmla="*/ 1109518 h 1538630"/>
              <a:gd name="csX401" fmla="*/ 1593477 w 1609516"/>
              <a:gd name="csY401" fmla="*/ 1119900 h 1538630"/>
              <a:gd name="csX402" fmla="*/ 1605975 w 1609516"/>
              <a:gd name="csY402" fmla="*/ 1144913 h 1538630"/>
              <a:gd name="csX403" fmla="*/ 1609099 w 1609516"/>
              <a:gd name="csY403" fmla="*/ 1144913 h 1538630"/>
              <a:gd name="csX404" fmla="*/ 1609392 w 1609516"/>
              <a:gd name="csY404" fmla="*/ 1156892 h 1538630"/>
              <a:gd name="csX405" fmla="*/ 1609511 w 1609516"/>
              <a:gd name="csY405" fmla="*/ 1160272 h 1538630"/>
              <a:gd name="csX406" fmla="*/ 1604412 w 1609516"/>
              <a:gd name="csY406" fmla="*/ 1181553 h 1538630"/>
              <a:gd name="csX407" fmla="*/ 1601288 w 1609516"/>
              <a:gd name="csY407" fmla="*/ 1190009 h 1538630"/>
              <a:gd name="csX408" fmla="*/ 1598164 w 1609516"/>
              <a:gd name="csY408" fmla="*/ 1190009 h 1538630"/>
              <a:gd name="csX409" fmla="*/ 1597187 w 1609516"/>
              <a:gd name="csY409" fmla="*/ 1192739 h 1538630"/>
              <a:gd name="csX410" fmla="*/ 1595040 w 1609516"/>
              <a:gd name="csY410" fmla="*/ 1195645 h 1538630"/>
              <a:gd name="csX411" fmla="*/ 1585667 w 1609516"/>
              <a:gd name="csY411" fmla="*/ 1197055 h 1538630"/>
              <a:gd name="csX412" fmla="*/ 1582543 w 1609516"/>
              <a:gd name="csY412" fmla="*/ 1202691 h 1538630"/>
              <a:gd name="csX413" fmla="*/ 1562431 w 1609516"/>
              <a:gd name="csY413" fmla="*/ 1204365 h 1538630"/>
              <a:gd name="csX414" fmla="*/ 1558690 w 1609516"/>
              <a:gd name="csY414" fmla="*/ 1204417 h 1538630"/>
              <a:gd name="csX415" fmla="*/ 1521102 w 1609516"/>
              <a:gd name="csY415" fmla="*/ 1189585 h 1538630"/>
              <a:gd name="csX416" fmla="*/ 1505022 w 1609516"/>
              <a:gd name="csY416" fmla="*/ 1172041 h 1538630"/>
              <a:gd name="csX417" fmla="*/ 1457573 w 1609516"/>
              <a:gd name="csY417" fmla="*/ 1140686 h 1538630"/>
              <a:gd name="csX418" fmla="*/ 1457573 w 1609516"/>
              <a:gd name="csY418" fmla="*/ 1137867 h 1538630"/>
              <a:gd name="csX419" fmla="*/ 1452985 w 1609516"/>
              <a:gd name="csY419" fmla="*/ 1137339 h 1538630"/>
              <a:gd name="csX420" fmla="*/ 1448200 w 1609516"/>
              <a:gd name="csY420" fmla="*/ 1136458 h 1538630"/>
              <a:gd name="csX421" fmla="*/ 1446638 w 1609516"/>
              <a:gd name="csY421" fmla="*/ 1133640 h 1538630"/>
              <a:gd name="csX422" fmla="*/ 1438937 w 1609516"/>
              <a:gd name="csY422" fmla="*/ 1130601 h 1538630"/>
              <a:gd name="csX423" fmla="*/ 1429260 w 1609516"/>
              <a:gd name="csY423" fmla="*/ 1126770 h 1538630"/>
              <a:gd name="csX424" fmla="*/ 1411393 w 1609516"/>
              <a:gd name="csY424" fmla="*/ 1120340 h 1538630"/>
              <a:gd name="csX425" fmla="*/ 1391427 w 1609516"/>
              <a:gd name="csY425" fmla="*/ 1111191 h 1538630"/>
              <a:gd name="csX426" fmla="*/ 1381029 w 1609516"/>
              <a:gd name="csY426" fmla="*/ 1106865 h 1538630"/>
              <a:gd name="csX427" fmla="*/ 1381029 w 1609516"/>
              <a:gd name="csY427" fmla="*/ 1104046 h 1538630"/>
              <a:gd name="csX428" fmla="*/ 1377221 w 1609516"/>
              <a:gd name="csY428" fmla="*/ 1103605 h 1538630"/>
              <a:gd name="csX429" fmla="*/ 1357597 w 1609516"/>
              <a:gd name="csY429" fmla="*/ 1098409 h 1538630"/>
              <a:gd name="csX430" fmla="*/ 1352032 w 1609516"/>
              <a:gd name="csY430" fmla="*/ 1096736 h 1538630"/>
              <a:gd name="csX431" fmla="*/ 1348225 w 1609516"/>
              <a:gd name="csY431" fmla="*/ 1095590 h 1538630"/>
              <a:gd name="csX432" fmla="*/ 1348225 w 1609516"/>
              <a:gd name="csY432" fmla="*/ 1092772 h 1538630"/>
              <a:gd name="csX433" fmla="*/ 1337290 w 1609516"/>
              <a:gd name="csY433" fmla="*/ 1091363 h 1538630"/>
              <a:gd name="csX434" fmla="*/ 1337290 w 1609516"/>
              <a:gd name="csY434" fmla="*/ 1088544 h 1538630"/>
              <a:gd name="csX435" fmla="*/ 1331529 w 1609516"/>
              <a:gd name="csY435" fmla="*/ 1088104 h 1538630"/>
              <a:gd name="csX436" fmla="*/ 1323297 w 1609516"/>
              <a:gd name="csY436" fmla="*/ 1086611 h 1538630"/>
              <a:gd name="csX437" fmla="*/ 1323297 w 1609516"/>
              <a:gd name="csY437" fmla="*/ 1087618 h 1538630"/>
              <a:gd name="csX438" fmla="*/ 1319789 w 1609516"/>
              <a:gd name="csY438" fmla="*/ 1087310 h 1538630"/>
              <a:gd name="csX439" fmla="*/ 1262375 w 1609516"/>
              <a:gd name="csY439" fmla="*/ 1089028 h 1538630"/>
              <a:gd name="csX440" fmla="*/ 1258728 w 1609516"/>
              <a:gd name="csY440" fmla="*/ 1088205 h 1538630"/>
              <a:gd name="csX441" fmla="*/ 1246964 w 1609516"/>
              <a:gd name="csY441" fmla="*/ 1091489 h 1538630"/>
              <a:gd name="csX442" fmla="*/ 1223224 w 1609516"/>
              <a:gd name="csY442" fmla="*/ 1112865 h 1538630"/>
              <a:gd name="csX443" fmla="*/ 1213883 w 1609516"/>
              <a:gd name="csY443" fmla="*/ 1122366 h 1538630"/>
              <a:gd name="csX444" fmla="*/ 1212505 w 1609516"/>
              <a:gd name="csY444" fmla="*/ 1125708 h 1538630"/>
              <a:gd name="csX445" fmla="*/ 1204180 w 1609516"/>
              <a:gd name="csY445" fmla="*/ 1135561 h 1538630"/>
              <a:gd name="csX446" fmla="*/ 1200238 w 1609516"/>
              <a:gd name="csY446" fmla="*/ 1138999 h 1538630"/>
              <a:gd name="csX447" fmla="*/ 1192025 w 1609516"/>
              <a:gd name="csY447" fmla="*/ 1146022 h 1538630"/>
              <a:gd name="csX448" fmla="*/ 1173945 w 1609516"/>
              <a:gd name="csY448" fmla="*/ 1174749 h 1538630"/>
              <a:gd name="csX449" fmla="*/ 1173950 w 1609516"/>
              <a:gd name="csY449" fmla="*/ 1182610 h 1538630"/>
              <a:gd name="csX450" fmla="*/ 1173989 w 1609516"/>
              <a:gd name="csY450" fmla="*/ 1186765 h 1538630"/>
              <a:gd name="csX451" fmla="*/ 1182640 w 1609516"/>
              <a:gd name="csY451" fmla="*/ 1215374 h 1538630"/>
              <a:gd name="csX452" fmla="*/ 1185764 w 1609516"/>
              <a:gd name="csY452" fmla="*/ 1221804 h 1538630"/>
              <a:gd name="csX453" fmla="*/ 1187301 w 1609516"/>
              <a:gd name="csY453" fmla="*/ 1224859 h 1538630"/>
              <a:gd name="csX454" fmla="*/ 1190573 w 1609516"/>
              <a:gd name="csY454" fmla="*/ 1231740 h 1538630"/>
              <a:gd name="csX455" fmla="*/ 1205925 w 1609516"/>
              <a:gd name="csY455" fmla="*/ 1255163 h 1538630"/>
              <a:gd name="csX456" fmla="*/ 1212174 w 1609516"/>
              <a:gd name="csY456" fmla="*/ 1263134 h 1538630"/>
              <a:gd name="csX457" fmla="*/ 1235556 w 1609516"/>
              <a:gd name="csY457" fmla="*/ 1282538 h 1538630"/>
              <a:gd name="csX458" fmla="*/ 1238876 w 1609516"/>
              <a:gd name="csY458" fmla="*/ 1284426 h 1538630"/>
              <a:gd name="csX459" fmla="*/ 1238876 w 1609516"/>
              <a:gd name="csY459" fmla="*/ 1287245 h 1538630"/>
              <a:gd name="csX460" fmla="*/ 1242245 w 1609516"/>
              <a:gd name="csY460" fmla="*/ 1287663 h 1538630"/>
              <a:gd name="csX461" fmla="*/ 1271681 w 1609516"/>
              <a:gd name="csY461" fmla="*/ 1305565 h 1538630"/>
              <a:gd name="csX462" fmla="*/ 1271742 w 1609516"/>
              <a:gd name="csY462" fmla="*/ 1306172 h 1538630"/>
              <a:gd name="csX463" fmla="*/ 1278525 w 1609516"/>
              <a:gd name="csY463" fmla="*/ 1315767 h 1538630"/>
              <a:gd name="csX464" fmla="*/ 1281097 w 1609516"/>
              <a:gd name="csY464" fmla="*/ 1327286 h 1538630"/>
              <a:gd name="csX465" fmla="*/ 1277973 w 1609516"/>
              <a:gd name="csY465" fmla="*/ 1355470 h 1538630"/>
              <a:gd name="csX466" fmla="*/ 1277460 w 1609516"/>
              <a:gd name="csY466" fmla="*/ 1347025 h 1538630"/>
              <a:gd name="csX467" fmla="*/ 1273531 w 1609516"/>
              <a:gd name="csY467" fmla="*/ 1357991 h 1538630"/>
              <a:gd name="csX468" fmla="*/ 1263870 w 1609516"/>
              <a:gd name="csY468" fmla="*/ 1368980 h 1538630"/>
              <a:gd name="csX469" fmla="*/ 1246686 w 1609516"/>
              <a:gd name="csY469" fmla="*/ 1376026 h 1538630"/>
              <a:gd name="csX470" fmla="*/ 1246686 w 1609516"/>
              <a:gd name="csY470" fmla="*/ 1378844 h 1538630"/>
              <a:gd name="csX471" fmla="*/ 1231651 w 1609516"/>
              <a:gd name="csY471" fmla="*/ 1379196 h 1538630"/>
              <a:gd name="csX472" fmla="*/ 1227373 w 1609516"/>
              <a:gd name="csY472" fmla="*/ 1379340 h 1538630"/>
              <a:gd name="csX473" fmla="*/ 1206071 w 1609516"/>
              <a:gd name="csY473" fmla="*/ 1373207 h 1538630"/>
              <a:gd name="csX474" fmla="*/ 1202069 w 1609516"/>
              <a:gd name="csY474" fmla="*/ 1371798 h 1538630"/>
              <a:gd name="csX475" fmla="*/ 1184104 w 1609516"/>
              <a:gd name="csY475" fmla="*/ 1356176 h 1538630"/>
              <a:gd name="csX476" fmla="*/ 1177270 w 1609516"/>
              <a:gd name="csY476" fmla="*/ 1335247 h 1538630"/>
              <a:gd name="csX477" fmla="*/ 1169002 w 1609516"/>
              <a:gd name="csY477" fmla="*/ 1313464 h 1538630"/>
              <a:gd name="csX478" fmla="*/ 1163504 w 1609516"/>
              <a:gd name="csY478" fmla="*/ 1302130 h 1538630"/>
              <a:gd name="csX479" fmla="*/ 1162015 w 1609516"/>
              <a:gd name="csY479" fmla="*/ 1298788 h 1538630"/>
              <a:gd name="csX480" fmla="*/ 1160111 w 1609516"/>
              <a:gd name="csY480" fmla="*/ 1292656 h 1538630"/>
              <a:gd name="csX481" fmla="*/ 1154522 w 1609516"/>
              <a:gd name="csY481" fmla="*/ 1287245 h 1538630"/>
              <a:gd name="csX482" fmla="*/ 1151398 w 1609516"/>
              <a:gd name="csY482" fmla="*/ 1280199 h 1538630"/>
              <a:gd name="csX483" fmla="*/ 1144173 w 1609516"/>
              <a:gd name="csY483" fmla="*/ 1270774 h 1538630"/>
              <a:gd name="csX484" fmla="*/ 1142065 w 1609516"/>
              <a:gd name="csY484" fmla="*/ 1268160 h 1538630"/>
              <a:gd name="csX485" fmla="*/ 1135776 w 1609516"/>
              <a:gd name="csY485" fmla="*/ 1260470 h 1538630"/>
              <a:gd name="csX486" fmla="*/ 1132353 w 1609516"/>
              <a:gd name="csY486" fmla="*/ 1256247 h 1538630"/>
              <a:gd name="csX487" fmla="*/ 1112344 w 1609516"/>
              <a:gd name="csY487" fmla="*/ 1240741 h 1538630"/>
              <a:gd name="csX488" fmla="*/ 1106193 w 1609516"/>
              <a:gd name="csY488" fmla="*/ 1237570 h 1538630"/>
              <a:gd name="csX489" fmla="*/ 1101409 w 1609516"/>
              <a:gd name="csY489" fmla="*/ 1235104 h 1538630"/>
              <a:gd name="csX490" fmla="*/ 1101409 w 1609516"/>
              <a:gd name="csY490" fmla="*/ 1230876 h 1538630"/>
              <a:gd name="csX491" fmla="*/ 1065480 w 1609516"/>
              <a:gd name="csY491" fmla="*/ 1230876 h 1538630"/>
              <a:gd name="csX492" fmla="*/ 1063919 w 1609516"/>
              <a:gd name="csY492" fmla="*/ 1235104 h 1538630"/>
              <a:gd name="csX493" fmla="*/ 1059232 w 1609516"/>
              <a:gd name="csY493" fmla="*/ 1235104 h 1538630"/>
              <a:gd name="csX494" fmla="*/ 1059232 w 1609516"/>
              <a:gd name="csY494" fmla="*/ 1237922 h 1538630"/>
              <a:gd name="csX495" fmla="*/ 1040194 w 1609516"/>
              <a:gd name="csY495" fmla="*/ 1245761 h 1538630"/>
              <a:gd name="csX496" fmla="*/ 1030333 w 1609516"/>
              <a:gd name="csY496" fmla="*/ 1249901 h 1538630"/>
              <a:gd name="csX497" fmla="*/ 1013931 w 1609516"/>
              <a:gd name="csY497" fmla="*/ 1256242 h 1538630"/>
              <a:gd name="csX498" fmla="*/ 1005925 w 1609516"/>
              <a:gd name="csY498" fmla="*/ 1261615 h 1538630"/>
              <a:gd name="csX499" fmla="*/ 1004558 w 1609516"/>
              <a:gd name="csY499" fmla="*/ 1264697 h 1538630"/>
              <a:gd name="csX500" fmla="*/ 1002959 w 1609516"/>
              <a:gd name="csY500" fmla="*/ 1267961 h 1538630"/>
              <a:gd name="csX501" fmla="*/ 1000653 w 1609516"/>
              <a:gd name="csY501" fmla="*/ 1278965 h 1538630"/>
              <a:gd name="csX502" fmla="*/ 998297 w 1609516"/>
              <a:gd name="csY502" fmla="*/ 1294137 h 1538630"/>
              <a:gd name="csX503" fmla="*/ 996162 w 1609516"/>
              <a:gd name="csY503" fmla="*/ 1324765 h 1538630"/>
              <a:gd name="csX504" fmla="*/ 996164 w 1609516"/>
              <a:gd name="csY504" fmla="*/ 1327846 h 1538630"/>
              <a:gd name="csX505" fmla="*/ 1007780 w 1609516"/>
              <a:gd name="csY505" fmla="*/ 1403329 h 1538630"/>
              <a:gd name="csX506" fmla="*/ 1008940 w 1609516"/>
              <a:gd name="csY506" fmla="*/ 1407701 h 1538630"/>
              <a:gd name="csX507" fmla="*/ 1010080 w 1609516"/>
              <a:gd name="csY507" fmla="*/ 1411730 h 1538630"/>
              <a:gd name="csX508" fmla="*/ 1011075 w 1609516"/>
              <a:gd name="csY508" fmla="*/ 1415277 h 1538630"/>
              <a:gd name="csX509" fmla="*/ 1017055 w 1609516"/>
              <a:gd name="csY509" fmla="*/ 1422530 h 1538630"/>
              <a:gd name="csX510" fmla="*/ 1020277 w 1609516"/>
              <a:gd name="csY510" fmla="*/ 1427991 h 1538630"/>
              <a:gd name="csX511" fmla="*/ 1021796 w 1609516"/>
              <a:gd name="csY511" fmla="*/ 1430798 h 1538630"/>
              <a:gd name="csX512" fmla="*/ 1024579 w 1609516"/>
              <a:gd name="csY512" fmla="*/ 1437239 h 1538630"/>
              <a:gd name="csX513" fmla="*/ 1034043 w 1609516"/>
              <a:gd name="csY513" fmla="*/ 1448072 h 1538630"/>
              <a:gd name="csX514" fmla="*/ 1043782 w 1609516"/>
              <a:gd name="csY514" fmla="*/ 1464320 h 1538630"/>
              <a:gd name="csX515" fmla="*/ 1050458 w 1609516"/>
              <a:gd name="csY515" fmla="*/ 1472189 h 1538630"/>
              <a:gd name="csX516" fmla="*/ 1052926 w 1609516"/>
              <a:gd name="csY516" fmla="*/ 1482370 h 1538630"/>
              <a:gd name="csX517" fmla="*/ 1053316 w 1609516"/>
              <a:gd name="csY517" fmla="*/ 1496903 h 1538630"/>
              <a:gd name="csX518" fmla="*/ 1053352 w 1609516"/>
              <a:gd name="csY518" fmla="*/ 1500660 h 1538630"/>
              <a:gd name="csX519" fmla="*/ 1053341 w 1609516"/>
              <a:gd name="csY519" fmla="*/ 1504285 h 1538630"/>
              <a:gd name="csX520" fmla="*/ 1053329 w 1609516"/>
              <a:gd name="csY520" fmla="*/ 1507529 h 1538630"/>
              <a:gd name="csX521" fmla="*/ 1049801 w 1609516"/>
              <a:gd name="csY521" fmla="*/ 1516192 h 1538630"/>
              <a:gd name="csX522" fmla="*/ 1047312 w 1609516"/>
              <a:gd name="csY522" fmla="*/ 1516192 h 1538630"/>
              <a:gd name="csX523" fmla="*/ 1043611 w 1609516"/>
              <a:gd name="csY523" fmla="*/ 1522585 h 1538630"/>
              <a:gd name="csX524" fmla="*/ 1029552 w 1609516"/>
              <a:gd name="csY524" fmla="*/ 1529631 h 1538630"/>
              <a:gd name="csX525" fmla="*/ 1028771 w 1609516"/>
              <a:gd name="csY525" fmla="*/ 1532273 h 1538630"/>
              <a:gd name="csX526" fmla="*/ 1018013 w 1609516"/>
              <a:gd name="csY526" fmla="*/ 1537640 h 1538630"/>
              <a:gd name="csX527" fmla="*/ 981126 w 1609516"/>
              <a:gd name="csY527" fmla="*/ 1533859 h 1538630"/>
              <a:gd name="csX528" fmla="*/ 977227 w 1609516"/>
              <a:gd name="csY528" fmla="*/ 1531943 h 1538630"/>
              <a:gd name="csX529" fmla="*/ 955376 w 1609516"/>
              <a:gd name="csY529" fmla="*/ 1508751 h 1538630"/>
              <a:gd name="csX530" fmla="*/ 954571 w 1609516"/>
              <a:gd name="csY530" fmla="*/ 1500037 h 1538630"/>
              <a:gd name="csX531" fmla="*/ 951446 w 1609516"/>
              <a:gd name="csY531" fmla="*/ 1500037 h 1538630"/>
              <a:gd name="csX532" fmla="*/ 951251 w 1609516"/>
              <a:gd name="csY532" fmla="*/ 1487883 h 1538630"/>
              <a:gd name="csX533" fmla="*/ 951171 w 1609516"/>
              <a:gd name="csY533" fmla="*/ 1484431 h 1538630"/>
              <a:gd name="csX534" fmla="*/ 954571 w 1609516"/>
              <a:gd name="csY534" fmla="*/ 1466216 h 1538630"/>
              <a:gd name="csX535" fmla="*/ 954961 w 1609516"/>
              <a:gd name="csY535" fmla="*/ 1455118 h 1538630"/>
              <a:gd name="csX536" fmla="*/ 954932 w 1609516"/>
              <a:gd name="csY536" fmla="*/ 1451972 h 1538630"/>
              <a:gd name="csX537" fmla="*/ 945099 w 1609516"/>
              <a:gd name="csY537" fmla="*/ 1403594 h 1538630"/>
              <a:gd name="csX538" fmla="*/ 942366 w 1609516"/>
              <a:gd name="csY538" fmla="*/ 1393553 h 1538630"/>
              <a:gd name="csX539" fmla="*/ 934451 w 1609516"/>
              <a:gd name="csY539" fmla="*/ 1372734 h 1538630"/>
              <a:gd name="csX540" fmla="*/ 931974 w 1609516"/>
              <a:gd name="csY540" fmla="*/ 1365754 h 1538630"/>
              <a:gd name="csX541" fmla="*/ 931138 w 1609516"/>
              <a:gd name="csY541" fmla="*/ 1363343 h 1538630"/>
              <a:gd name="csX542" fmla="*/ 926452 w 1609516"/>
              <a:gd name="csY542" fmla="*/ 1361933 h 1538630"/>
              <a:gd name="csX543" fmla="*/ 918641 w 1609516"/>
              <a:gd name="csY543" fmla="*/ 1340795 h 1538630"/>
              <a:gd name="csX544" fmla="*/ 917079 w 1609516"/>
              <a:gd name="csY544" fmla="*/ 1335158 h 1538630"/>
              <a:gd name="csX545" fmla="*/ 913955 w 1609516"/>
              <a:gd name="csY545" fmla="*/ 1335158 h 1538630"/>
              <a:gd name="csX546" fmla="*/ 912057 w 1609516"/>
              <a:gd name="csY546" fmla="*/ 1330793 h 1538630"/>
              <a:gd name="csX547" fmla="*/ 902142 w 1609516"/>
              <a:gd name="csY547" fmla="*/ 1316222 h 1538630"/>
              <a:gd name="csX548" fmla="*/ 900091 w 1609516"/>
              <a:gd name="csY548" fmla="*/ 1313828 h 1538630"/>
              <a:gd name="csX549" fmla="*/ 878026 w 1609516"/>
              <a:gd name="csY549" fmla="*/ 1295700 h 1538630"/>
              <a:gd name="csX550" fmla="*/ 875134 w 1609516"/>
              <a:gd name="csY550" fmla="*/ 1293465 h 1538630"/>
              <a:gd name="csX551" fmla="*/ 869869 w 1609516"/>
              <a:gd name="csY551" fmla="*/ 1291826 h 1538630"/>
              <a:gd name="csX552" fmla="*/ 862384 w 1609516"/>
              <a:gd name="csY552" fmla="*/ 1291327 h 1538630"/>
              <a:gd name="csX553" fmla="*/ 844390 w 1609516"/>
              <a:gd name="csY553" fmla="*/ 1290461 h 1538630"/>
              <a:gd name="csX554" fmla="*/ 840476 w 1609516"/>
              <a:gd name="csY554" fmla="*/ 1290500 h 1538630"/>
              <a:gd name="csX555" fmla="*/ 831015 w 1609516"/>
              <a:gd name="csY555" fmla="*/ 1290637 h 1538630"/>
              <a:gd name="csX556" fmla="*/ 831015 w 1609516"/>
              <a:gd name="csY556" fmla="*/ 1293456 h 1538630"/>
              <a:gd name="csX557" fmla="*/ 818225 w 1609516"/>
              <a:gd name="csY557" fmla="*/ 1295570 h 1538630"/>
              <a:gd name="csX558" fmla="*/ 796774 w 1609516"/>
              <a:gd name="csY558" fmla="*/ 1297671 h 1538630"/>
              <a:gd name="csX559" fmla="*/ 783646 w 1609516"/>
              <a:gd name="csY559" fmla="*/ 1305736 h 1538630"/>
              <a:gd name="csX560" fmla="*/ 769263 w 1609516"/>
              <a:gd name="csY560" fmla="*/ 1327143 h 1538630"/>
              <a:gd name="csX561" fmla="*/ 764797 w 1609516"/>
              <a:gd name="csY561" fmla="*/ 1334360 h 1538630"/>
              <a:gd name="csX562" fmla="*/ 757875 w 1609516"/>
              <a:gd name="csY562" fmla="*/ 1353503 h 1538630"/>
              <a:gd name="csX563" fmla="*/ 755676 w 1609516"/>
              <a:gd name="csY563" fmla="*/ 1367455 h 1538630"/>
              <a:gd name="csX564" fmla="*/ 750558 w 1609516"/>
              <a:gd name="csY564" fmla="*/ 1399690 h 1538630"/>
              <a:gd name="csX565" fmla="*/ 753057 w 1609516"/>
              <a:gd name="csY565" fmla="*/ 1411256 h 1538630"/>
              <a:gd name="csX566" fmla="*/ 753057 w 1609516"/>
              <a:gd name="csY566" fmla="*/ 1416893 h 1538630"/>
              <a:gd name="csX567" fmla="*/ 756181 w 1609516"/>
              <a:gd name="csY567" fmla="*/ 1416893 h 1538630"/>
              <a:gd name="csX568" fmla="*/ 758133 w 1609516"/>
              <a:gd name="csY568" fmla="*/ 1436182 h 1538630"/>
              <a:gd name="csX569" fmla="*/ 758231 w 1609516"/>
              <a:gd name="csY569" fmla="*/ 1440781 h 1538630"/>
              <a:gd name="csX570" fmla="*/ 750713 w 1609516"/>
              <a:gd name="csY570" fmla="*/ 1465704 h 1538630"/>
              <a:gd name="csX571" fmla="*/ 748370 w 1609516"/>
              <a:gd name="csY571" fmla="*/ 1467185 h 1538630"/>
              <a:gd name="csX572" fmla="*/ 741633 w 1609516"/>
              <a:gd name="csY572" fmla="*/ 1473526 h 1538630"/>
              <a:gd name="csX573" fmla="*/ 728154 w 1609516"/>
              <a:gd name="csY573" fmla="*/ 1478343 h 1538630"/>
              <a:gd name="csX574" fmla="*/ 721814 w 1609516"/>
              <a:gd name="csY574" fmla="*/ 1480308 h 1538630"/>
              <a:gd name="csX575" fmla="*/ 708341 w 1609516"/>
              <a:gd name="csY575" fmla="*/ 1480661 h 1538630"/>
              <a:gd name="csX576" fmla="*/ 704637 w 1609516"/>
              <a:gd name="csY576" fmla="*/ 1480748 h 1538630"/>
              <a:gd name="csX577" fmla="*/ 668507 w 1609516"/>
              <a:gd name="csY577" fmla="*/ 1468418 h 1538630"/>
              <a:gd name="csX578" fmla="*/ 660178 w 1609516"/>
              <a:gd name="csY578" fmla="*/ 1450027 h 1538630"/>
              <a:gd name="csX579" fmla="*/ 657767 w 1609516"/>
              <a:gd name="csY579" fmla="*/ 1445078 h 1538630"/>
              <a:gd name="csX580" fmla="*/ 663369 w 1609516"/>
              <a:gd name="csY580" fmla="*/ 1409390 h 1538630"/>
              <a:gd name="csX581" fmla="*/ 671826 w 1609516"/>
              <a:gd name="csY581" fmla="*/ 1401392 h 1538630"/>
              <a:gd name="csX582" fmla="*/ 678075 w 1609516"/>
              <a:gd name="csY582" fmla="*/ 1390118 h 1538630"/>
              <a:gd name="csX583" fmla="*/ 684323 w 1609516"/>
              <a:gd name="csY583" fmla="*/ 1388709 h 1538630"/>
              <a:gd name="csX584" fmla="*/ 685293 w 1609516"/>
              <a:gd name="csY584" fmla="*/ 1384233 h 1538630"/>
              <a:gd name="csX585" fmla="*/ 686569 w 1609516"/>
              <a:gd name="csY585" fmla="*/ 1378404 h 1538630"/>
              <a:gd name="csX586" fmla="*/ 687207 w 1609516"/>
              <a:gd name="csY586" fmla="*/ 1375456 h 1538630"/>
              <a:gd name="csX587" fmla="*/ 690572 w 1609516"/>
              <a:gd name="csY587" fmla="*/ 1363343 h 1538630"/>
              <a:gd name="csX588" fmla="*/ 692495 w 1609516"/>
              <a:gd name="csY588" fmla="*/ 1323376 h 1538630"/>
              <a:gd name="csX589" fmla="*/ 692625 w 1609516"/>
              <a:gd name="csY589" fmla="*/ 1315006 h 1538630"/>
              <a:gd name="csX590" fmla="*/ 687447 w 1609516"/>
              <a:gd name="csY590" fmla="*/ 1287245 h 1538630"/>
              <a:gd name="csX591" fmla="*/ 682761 w 1609516"/>
              <a:gd name="csY591" fmla="*/ 1285835 h 1538630"/>
              <a:gd name="csX592" fmla="*/ 678954 w 1609516"/>
              <a:gd name="csY592" fmla="*/ 1281608 h 1538630"/>
              <a:gd name="csX593" fmla="*/ 668702 w 1609516"/>
              <a:gd name="csY593" fmla="*/ 1275971 h 1538630"/>
              <a:gd name="csX594" fmla="*/ 662454 w 1609516"/>
              <a:gd name="csY594" fmla="*/ 1270334 h 1538630"/>
              <a:gd name="csX595" fmla="*/ 654643 w 1609516"/>
              <a:gd name="csY595" fmla="*/ 1267516 h 1538630"/>
              <a:gd name="csX596" fmla="*/ 654643 w 1609516"/>
              <a:gd name="csY596" fmla="*/ 1264697 h 1538630"/>
              <a:gd name="csX597" fmla="*/ 650152 w 1609516"/>
              <a:gd name="csY597" fmla="*/ 1264345 h 1538630"/>
              <a:gd name="csX598" fmla="*/ 628087 w 1609516"/>
              <a:gd name="csY598" fmla="*/ 1257651 h 1538630"/>
              <a:gd name="csX599" fmla="*/ 628087 w 1609516"/>
              <a:gd name="csY599" fmla="*/ 1254833 h 1538630"/>
              <a:gd name="csX600" fmla="*/ 625121 w 1609516"/>
              <a:gd name="csY600" fmla="*/ 1254315 h 1538630"/>
              <a:gd name="csX601" fmla="*/ 621252 w 1609516"/>
              <a:gd name="csY601" fmla="*/ 1253600 h 1538630"/>
              <a:gd name="csX602" fmla="*/ 617409 w 1609516"/>
              <a:gd name="csY602" fmla="*/ 1252906 h 1538630"/>
              <a:gd name="csX603" fmla="*/ 610904 w 1609516"/>
              <a:gd name="csY603" fmla="*/ 1249196 h 1538630"/>
              <a:gd name="csX604" fmla="*/ 565739 w 1609516"/>
              <a:gd name="csY604" fmla="*/ 1271742 h 1538630"/>
              <a:gd name="csX605" fmla="*/ 546924 w 1609516"/>
              <a:gd name="csY605" fmla="*/ 1290829 h 1538630"/>
              <a:gd name="csX606" fmla="*/ 543635 w 1609516"/>
              <a:gd name="csY606" fmla="*/ 1294643 h 1538630"/>
              <a:gd name="csX607" fmla="*/ 540651 w 1609516"/>
              <a:gd name="csY607" fmla="*/ 1298188 h 1538630"/>
              <a:gd name="csX608" fmla="*/ 529673 w 1609516"/>
              <a:gd name="csY608" fmla="*/ 1305565 h 1538630"/>
              <a:gd name="csX609" fmla="*/ 526549 w 1609516"/>
              <a:gd name="csY609" fmla="*/ 1311202 h 1538630"/>
              <a:gd name="csX610" fmla="*/ 523425 w 1609516"/>
              <a:gd name="csY610" fmla="*/ 1311202 h 1538630"/>
              <a:gd name="csX611" fmla="*/ 523230 w 1609516"/>
              <a:gd name="csY611" fmla="*/ 1313580 h 1538630"/>
              <a:gd name="csX612" fmla="*/ 517732 w 1609516"/>
              <a:gd name="csY612" fmla="*/ 1319739 h 1538630"/>
              <a:gd name="csX613" fmla="*/ 502239 w 1609516"/>
              <a:gd name="csY613" fmla="*/ 1337096 h 1538630"/>
              <a:gd name="csX614" fmla="*/ 497058 w 1609516"/>
              <a:gd name="csY614" fmla="*/ 1344087 h 1538630"/>
              <a:gd name="csX615" fmla="*/ 494572 w 1609516"/>
              <a:gd name="csY615" fmla="*/ 1347465 h 1538630"/>
              <a:gd name="csX616" fmla="*/ 487776 w 1609516"/>
              <a:gd name="csY616" fmla="*/ 1356181 h 1538630"/>
              <a:gd name="csX617" fmla="*/ 481248 w 1609516"/>
              <a:gd name="csY617" fmla="*/ 1367571 h 1538630"/>
              <a:gd name="csX618" fmla="*/ 478123 w 1609516"/>
              <a:gd name="csY618" fmla="*/ 1367571 h 1538630"/>
              <a:gd name="csX619" fmla="*/ 477635 w 1609516"/>
              <a:gd name="csY619" fmla="*/ 1370565 h 1538630"/>
              <a:gd name="csX620" fmla="*/ 465626 w 1609516"/>
              <a:gd name="csY620" fmla="*/ 1388709 h 1538630"/>
              <a:gd name="csX621" fmla="*/ 461233 w 1609516"/>
              <a:gd name="csY621" fmla="*/ 1397340 h 1538630"/>
              <a:gd name="csX622" fmla="*/ 455765 w 1609516"/>
              <a:gd name="csY622" fmla="*/ 1408086 h 1538630"/>
              <a:gd name="csX623" fmla="*/ 439070 w 1609516"/>
              <a:gd name="csY623" fmla="*/ 1477490 h 1538630"/>
              <a:gd name="csX624" fmla="*/ 434384 w 1609516"/>
              <a:gd name="csY624" fmla="*/ 1478899 h 1538630"/>
              <a:gd name="csX625" fmla="*/ 432431 w 1609516"/>
              <a:gd name="csY625" fmla="*/ 1481982 h 1538630"/>
              <a:gd name="csX626" fmla="*/ 418763 w 1609516"/>
              <a:gd name="csY626" fmla="*/ 1494401 h 1538630"/>
              <a:gd name="csX627" fmla="*/ 415639 w 1609516"/>
              <a:gd name="csY627" fmla="*/ 1494401 h 1538630"/>
              <a:gd name="csX628" fmla="*/ 415639 w 1609516"/>
              <a:gd name="csY628" fmla="*/ 1497219 h 1538630"/>
              <a:gd name="csX629" fmla="*/ 406265 w 1609516"/>
              <a:gd name="csY629" fmla="*/ 1498628 h 1538630"/>
              <a:gd name="csX630" fmla="*/ 406265 w 1609516"/>
              <a:gd name="csY630" fmla="*/ 1501447 h 1538630"/>
              <a:gd name="csX631" fmla="*/ 375023 w 1609516"/>
              <a:gd name="csY631" fmla="*/ 1501447 h 1538630"/>
              <a:gd name="csX632" fmla="*/ 375023 w 1609516"/>
              <a:gd name="csY632" fmla="*/ 1499438 h 1538630"/>
              <a:gd name="csX633" fmla="*/ 374964 w 1609516"/>
              <a:gd name="csY633" fmla="*/ 1499436 h 1538630"/>
              <a:gd name="csX634" fmla="*/ 373179 w 1609516"/>
              <a:gd name="csY634" fmla="*/ 1498628 h 1538630"/>
              <a:gd name="csX635" fmla="*/ 365650 w 1609516"/>
              <a:gd name="csY635" fmla="*/ 1498628 h 1538630"/>
              <a:gd name="csX636" fmla="*/ 363134 w 1609516"/>
              <a:gd name="csY636" fmla="*/ 1494087 h 1538630"/>
              <a:gd name="csX637" fmla="*/ 362171 w 1609516"/>
              <a:gd name="csY637" fmla="*/ 1493651 h 1538630"/>
              <a:gd name="csX638" fmla="*/ 360609 w 1609516"/>
              <a:gd name="csY638" fmla="*/ 1490833 h 1538630"/>
              <a:gd name="csX639" fmla="*/ 363733 w 1609516"/>
              <a:gd name="csY639" fmla="*/ 1490833 h 1538630"/>
              <a:gd name="csX640" fmla="*/ 363733 w 1609516"/>
              <a:gd name="csY640" fmla="*/ 1489980 h 1538630"/>
              <a:gd name="csX641" fmla="*/ 348467 w 1609516"/>
              <a:gd name="csY641" fmla="*/ 1481717 h 1538630"/>
              <a:gd name="csX642" fmla="*/ 343872 w 1609516"/>
              <a:gd name="csY642" fmla="*/ 1461078 h 1538630"/>
              <a:gd name="csX643" fmla="*/ 343656 w 1609516"/>
              <a:gd name="csY643" fmla="*/ 1463649 h 1538630"/>
              <a:gd name="csX644" fmla="*/ 343424 w 1609516"/>
              <a:gd name="csY644" fmla="*/ 1466842 h 1538630"/>
              <a:gd name="csX645" fmla="*/ 341861 w 1609516"/>
              <a:gd name="csY645" fmla="*/ 1466842 h 1538630"/>
              <a:gd name="csX646" fmla="*/ 354143 w 1609516"/>
              <a:gd name="csY646" fmla="*/ 1420549 h 1538630"/>
              <a:gd name="csX647" fmla="*/ 376229 w 1609516"/>
              <a:gd name="csY647" fmla="*/ 1403427 h 1538630"/>
              <a:gd name="csX648" fmla="*/ 379491 w 1609516"/>
              <a:gd name="csY648" fmla="*/ 1404408 h 1538630"/>
              <a:gd name="csX649" fmla="*/ 379710 w 1609516"/>
              <a:gd name="csY649" fmla="*/ 1404210 h 1538630"/>
              <a:gd name="csX650" fmla="*/ 380882 w 1609516"/>
              <a:gd name="csY650" fmla="*/ 1401568 h 1538630"/>
              <a:gd name="csX651" fmla="*/ 392207 w 1609516"/>
              <a:gd name="csY651" fmla="*/ 1392936 h 1538630"/>
              <a:gd name="csX652" fmla="*/ 399542 w 1609516"/>
              <a:gd name="csY652" fmla="*/ 1386774 h 1538630"/>
              <a:gd name="csX653" fmla="*/ 405485 w 1609516"/>
              <a:gd name="csY653" fmla="*/ 1378917 h 1538630"/>
              <a:gd name="csX654" fmla="*/ 412008 w 1609516"/>
              <a:gd name="csY654" fmla="*/ 1369481 h 1538630"/>
              <a:gd name="csX655" fmla="*/ 421130 w 1609516"/>
              <a:gd name="csY655" fmla="*/ 1357057 h 1538630"/>
              <a:gd name="csX656" fmla="*/ 424676 w 1609516"/>
              <a:gd name="csY656" fmla="*/ 1348443 h 1538630"/>
              <a:gd name="csX657" fmla="*/ 427275 w 1609516"/>
              <a:gd name="csY657" fmla="*/ 1348443 h 1538630"/>
              <a:gd name="csX658" fmla="*/ 428135 w 1609516"/>
              <a:gd name="csY658" fmla="*/ 1345727 h 1538630"/>
              <a:gd name="csX659" fmla="*/ 432822 w 1609516"/>
              <a:gd name="csY659" fmla="*/ 1335158 h 1538630"/>
              <a:gd name="csX660" fmla="*/ 435946 w 1609516"/>
              <a:gd name="csY660" fmla="*/ 1335158 h 1538630"/>
              <a:gd name="csX661" fmla="*/ 437704 w 1609516"/>
              <a:gd name="csY661" fmla="*/ 1329786 h 1538630"/>
              <a:gd name="csX662" fmla="*/ 447394 w 1609516"/>
              <a:gd name="csY662" fmla="*/ 1311196 h 1538630"/>
              <a:gd name="csX663" fmla="*/ 469287 w 1609516"/>
              <a:gd name="csY663" fmla="*/ 1265964 h 1538630"/>
              <a:gd name="csX664" fmla="*/ 478178 w 1609516"/>
              <a:gd name="csY664" fmla="*/ 1246787 h 1538630"/>
              <a:gd name="csX665" fmla="*/ 480179 w 1609516"/>
              <a:gd name="csY665" fmla="*/ 1225768 h 1538630"/>
              <a:gd name="csX666" fmla="*/ 480250 w 1609516"/>
              <a:gd name="csY666" fmla="*/ 1217149 h 1538630"/>
              <a:gd name="csX667" fmla="*/ 462972 w 1609516"/>
              <a:gd name="csY667" fmla="*/ 1174827 h 1538630"/>
              <a:gd name="csX668" fmla="*/ 457468 w 1609516"/>
              <a:gd name="csY668" fmla="*/ 1169949 h 1538630"/>
              <a:gd name="csX669" fmla="*/ 440657 w 1609516"/>
              <a:gd name="csY669" fmla="*/ 1152570 h 1538630"/>
              <a:gd name="csX670" fmla="*/ 403142 w 1609516"/>
              <a:gd name="csY670" fmla="*/ 1122366 h 1538630"/>
              <a:gd name="csX671" fmla="*/ 401579 w 1609516"/>
              <a:gd name="csY671" fmla="*/ 1119547 h 1538630"/>
              <a:gd name="csX672" fmla="*/ 364564 w 1609516"/>
              <a:gd name="csY672" fmla="*/ 1118209 h 1538630"/>
              <a:gd name="csX673" fmla="*/ 357822 w 1609516"/>
              <a:gd name="csY673" fmla="*/ 1122041 h 1538630"/>
              <a:gd name="csX674" fmla="*/ 348077 w 1609516"/>
              <a:gd name="csY674" fmla="*/ 1125273 h 1538630"/>
              <a:gd name="csX675" fmla="*/ 334408 w 1609516"/>
              <a:gd name="csY675" fmla="*/ 1132230 h 1538630"/>
              <a:gd name="csX676" fmla="*/ 327964 w 1609516"/>
              <a:gd name="csY676" fmla="*/ 1134080 h 1538630"/>
              <a:gd name="csX677" fmla="*/ 279734 w 1609516"/>
              <a:gd name="csY677" fmla="*/ 1166051 h 1538630"/>
              <a:gd name="csX678" fmla="*/ 276609 w 1609516"/>
              <a:gd name="csY678" fmla="*/ 1173098 h 1538630"/>
              <a:gd name="csX679" fmla="*/ 260988 w 1609516"/>
              <a:gd name="csY679" fmla="*/ 1188599 h 1538630"/>
              <a:gd name="csX680" fmla="*/ 257956 w 1609516"/>
              <a:gd name="csY680" fmla="*/ 1191132 h 1538630"/>
              <a:gd name="csX681" fmla="*/ 243805 w 1609516"/>
              <a:gd name="csY681" fmla="*/ 1196629 h 1538630"/>
              <a:gd name="csX682" fmla="*/ 243805 w 1609516"/>
              <a:gd name="csY682" fmla="*/ 1194236 h 1538630"/>
              <a:gd name="csX683" fmla="*/ 240288 w 1609516"/>
              <a:gd name="csY683" fmla="*/ 1194765 h 1538630"/>
              <a:gd name="csX684" fmla="*/ 243374 w 1609516"/>
              <a:gd name="csY684" fmla="*/ 1194765 h 1538630"/>
              <a:gd name="csX685" fmla="*/ 243374 w 1609516"/>
              <a:gd name="csY685" fmla="*/ 1196797 h 1538630"/>
              <a:gd name="csX686" fmla="*/ 243805 w 1609516"/>
              <a:gd name="csY686" fmla="*/ 1196629 h 1538630"/>
              <a:gd name="csX687" fmla="*/ 243805 w 1609516"/>
              <a:gd name="csY687" fmla="*/ 1197055 h 1538630"/>
              <a:gd name="csX688" fmla="*/ 243374 w 1609516"/>
              <a:gd name="csY688" fmla="*/ 1197055 h 1538630"/>
              <a:gd name="csX689" fmla="*/ 243374 w 1609516"/>
              <a:gd name="csY689" fmla="*/ 1197584 h 1538630"/>
              <a:gd name="csX690" fmla="*/ 241319 w 1609516"/>
              <a:gd name="csY690" fmla="*/ 1197595 h 1538630"/>
              <a:gd name="csX691" fmla="*/ 238009 w 1609516"/>
              <a:gd name="csY691" fmla="*/ 1198881 h 1538630"/>
              <a:gd name="csX692" fmla="*/ 215687 w 1609516"/>
              <a:gd name="csY692" fmla="*/ 1198464 h 1538630"/>
              <a:gd name="csX693" fmla="*/ 215687 w 1609516"/>
              <a:gd name="csY693" fmla="*/ 1197734 h 1538630"/>
              <a:gd name="csX694" fmla="*/ 213936 w 1609516"/>
              <a:gd name="csY694" fmla="*/ 1197744 h 1538630"/>
              <a:gd name="csX695" fmla="*/ 207446 w 1609516"/>
              <a:gd name="csY695" fmla="*/ 1196175 h 1538630"/>
              <a:gd name="csX696" fmla="*/ 207822 w 1609516"/>
              <a:gd name="csY696" fmla="*/ 1195610 h 1538630"/>
              <a:gd name="csX697" fmla="*/ 184737 w 1609516"/>
              <a:gd name="csY697" fmla="*/ 1180936 h 1538630"/>
              <a:gd name="csX698" fmla="*/ 179270 w 1609516"/>
              <a:gd name="csY698" fmla="*/ 1154866 h 1538630"/>
              <a:gd name="csX699" fmla="*/ 179194 w 1609516"/>
              <a:gd name="csY699" fmla="*/ 1151621 h 1538630"/>
              <a:gd name="csX700" fmla="*/ 193195 w 1609516"/>
              <a:gd name="csY700" fmla="*/ 1120065 h 1538630"/>
              <a:gd name="csX701" fmla="*/ 229551 w 1609516"/>
              <a:gd name="csY701" fmla="*/ 1110299 h 1538630"/>
              <a:gd name="csX702" fmla="*/ 260988 w 1609516"/>
              <a:gd name="csY702" fmla="*/ 1108274 h 1538630"/>
              <a:gd name="csX703" fmla="*/ 260988 w 1609516"/>
              <a:gd name="csY703" fmla="*/ 1105455 h 1538630"/>
              <a:gd name="csX704" fmla="*/ 263911 w 1609516"/>
              <a:gd name="csY704" fmla="*/ 1104310 h 1538630"/>
              <a:gd name="csX705" fmla="*/ 286995 w 1609516"/>
              <a:gd name="csY705" fmla="*/ 1090185 h 1538630"/>
              <a:gd name="csX706" fmla="*/ 299358 w 1609516"/>
              <a:gd name="csY706" fmla="*/ 1080970 h 1538630"/>
              <a:gd name="csX707" fmla="*/ 317762 w 1609516"/>
              <a:gd name="csY707" fmla="*/ 1063272 h 1538630"/>
              <a:gd name="csX708" fmla="*/ 325035 w 1609516"/>
              <a:gd name="csY708" fmla="*/ 1057542 h 1538630"/>
              <a:gd name="csX709" fmla="*/ 325328 w 1609516"/>
              <a:gd name="csY709" fmla="*/ 1023104 h 1538630"/>
              <a:gd name="csX710" fmla="*/ 324544 w 1609516"/>
              <a:gd name="csY710" fmla="*/ 1019247 h 1538630"/>
              <a:gd name="csX711" fmla="*/ 317225 w 1609516"/>
              <a:gd name="csY711" fmla="*/ 996945 h 1538630"/>
              <a:gd name="csX712" fmla="*/ 315388 w 1609516"/>
              <a:gd name="csY712" fmla="*/ 992690 h 1538630"/>
              <a:gd name="csX713" fmla="*/ 276232 w 1609516"/>
              <a:gd name="csY713" fmla="*/ 950666 h 1538630"/>
              <a:gd name="csX714" fmla="*/ 271923 w 1609516"/>
              <a:gd name="csY714" fmla="*/ 949031 h 1538630"/>
              <a:gd name="csX715" fmla="*/ 268299 w 1609516"/>
              <a:gd name="csY715" fmla="*/ 947441 h 1538630"/>
              <a:gd name="csX716" fmla="*/ 199187 w 1609516"/>
              <a:gd name="csY716" fmla="*/ 938991 h 1538630"/>
              <a:gd name="csX717" fmla="*/ 193719 w 1609516"/>
              <a:gd name="csY717" fmla="*/ 938971 h 1538630"/>
              <a:gd name="csX718" fmla="*/ 188539 w 1609516"/>
              <a:gd name="csY718" fmla="*/ 938980 h 1538630"/>
              <a:gd name="csX719" fmla="*/ 183874 w 1609516"/>
              <a:gd name="csY719" fmla="*/ 938985 h 1538630"/>
              <a:gd name="csX720" fmla="*/ 173509 w 1609516"/>
              <a:gd name="csY720" fmla="*/ 940576 h 1538630"/>
              <a:gd name="csX721" fmla="*/ 161403 w 1609516"/>
              <a:gd name="csY721" fmla="*/ 940664 h 1538630"/>
              <a:gd name="csX722" fmla="*/ 158102 w 1609516"/>
              <a:gd name="csY722" fmla="*/ 940645 h 1538630"/>
              <a:gd name="csX723" fmla="*/ 150875 w 1609516"/>
              <a:gd name="csY723" fmla="*/ 940583 h 1538630"/>
              <a:gd name="csX724" fmla="*/ 148425 w 1609516"/>
              <a:gd name="csY724" fmla="*/ 940717 h 1538630"/>
              <a:gd name="csX725" fmla="*/ 149617 w 1609516"/>
              <a:gd name="csY725" fmla="*/ 940995 h 1538630"/>
              <a:gd name="csX726" fmla="*/ 149617 w 1609516"/>
              <a:gd name="csY726" fmla="*/ 942404 h 1538630"/>
              <a:gd name="csX727" fmla="*/ 146627 w 1609516"/>
              <a:gd name="csY727" fmla="*/ 942871 h 1538630"/>
              <a:gd name="csX728" fmla="*/ 110564 w 1609516"/>
              <a:gd name="csY728" fmla="*/ 949449 h 1538630"/>
              <a:gd name="csX729" fmla="*/ 111283 w 1609516"/>
              <a:gd name="csY729" fmla="*/ 946205 h 1538630"/>
              <a:gd name="csX730" fmla="*/ 101652 w 1609516"/>
              <a:gd name="csY730" fmla="*/ 956078 h 1538630"/>
              <a:gd name="csX731" fmla="*/ 98052 w 1609516"/>
              <a:gd name="csY731" fmla="*/ 958467 h 1538630"/>
              <a:gd name="csX732" fmla="*/ 67286 w 1609516"/>
              <a:gd name="csY732" fmla="*/ 972989 h 1538630"/>
              <a:gd name="csX733" fmla="*/ 67286 w 1609516"/>
              <a:gd name="csY733" fmla="*/ 975807 h 1538630"/>
              <a:gd name="csX734" fmla="*/ 31942 w 1609516"/>
              <a:gd name="csY734" fmla="*/ 976423 h 1538630"/>
              <a:gd name="csX735" fmla="*/ 5673 w 1609516"/>
              <a:gd name="csY735" fmla="*/ 953419 h 1538630"/>
              <a:gd name="csX736" fmla="*/ 4801 w 1609516"/>
              <a:gd name="csY736" fmla="*/ 944804 h 1538630"/>
              <a:gd name="csX737" fmla="*/ 1676 w 1609516"/>
              <a:gd name="csY737" fmla="*/ 944804 h 1538630"/>
              <a:gd name="csX738" fmla="*/ 17 w 1609516"/>
              <a:gd name="csY738" fmla="*/ 931857 h 1538630"/>
              <a:gd name="csX739" fmla="*/ 59 w 1609516"/>
              <a:gd name="csY739" fmla="*/ 927216 h 1538630"/>
              <a:gd name="csX740" fmla="*/ 115 w 1609516"/>
              <a:gd name="csY740" fmla="*/ 923666 h 1538630"/>
              <a:gd name="csX741" fmla="*/ 3238 w 1609516"/>
              <a:gd name="csY741" fmla="*/ 923666 h 1538630"/>
              <a:gd name="csX742" fmla="*/ 3238 w 1609516"/>
              <a:gd name="csY742" fmla="*/ 918029 h 1538630"/>
              <a:gd name="csX743" fmla="*/ 6363 w 1609516"/>
              <a:gd name="csY743" fmla="*/ 918029 h 1538630"/>
              <a:gd name="csX744" fmla="*/ 6656 w 1609516"/>
              <a:gd name="csY744" fmla="*/ 912832 h 1538630"/>
              <a:gd name="csX745" fmla="*/ 15736 w 1609516"/>
              <a:gd name="csY745" fmla="*/ 899709 h 1538630"/>
              <a:gd name="csX746" fmla="*/ 17243 w 1609516"/>
              <a:gd name="csY746" fmla="*/ 898894 h 1538630"/>
              <a:gd name="csX747" fmla="*/ 16800 w 1609516"/>
              <a:gd name="csY747" fmla="*/ 898694 h 1538630"/>
              <a:gd name="csX748" fmla="*/ 24988 w 1609516"/>
              <a:gd name="csY748" fmla="*/ 894101 h 1538630"/>
              <a:gd name="csX749" fmla="*/ 26768 w 1609516"/>
              <a:gd name="csY749" fmla="*/ 892399 h 1538630"/>
              <a:gd name="csX750" fmla="*/ 30198 w 1609516"/>
              <a:gd name="csY750" fmla="*/ 890164 h 1538630"/>
              <a:gd name="csX751" fmla="*/ 32204 w 1609516"/>
              <a:gd name="csY751" fmla="*/ 890054 h 1538630"/>
              <a:gd name="csX752" fmla="*/ 38914 w 1609516"/>
              <a:gd name="csY752" fmla="*/ 886291 h 1538630"/>
              <a:gd name="csX753" fmla="*/ 63664 w 1609516"/>
              <a:gd name="csY753" fmla="*/ 886011 h 1538630"/>
              <a:gd name="csX754" fmla="*/ 63664 w 1609516"/>
              <a:gd name="csY754" fmla="*/ 886531 h 1538630"/>
              <a:gd name="csX755" fmla="*/ 70784 w 1609516"/>
              <a:gd name="csY755" fmla="*/ 886647 h 1538630"/>
              <a:gd name="csX756" fmla="*/ 82126 w 1609516"/>
              <a:gd name="csY756" fmla="*/ 889845 h 1538630"/>
              <a:gd name="csX757" fmla="*/ 114149 w 1609516"/>
              <a:gd name="csY757" fmla="*/ 892663 h 1538630"/>
              <a:gd name="csX758" fmla="*/ 118836 w 1609516"/>
              <a:gd name="csY758" fmla="*/ 889845 h 1538630"/>
              <a:gd name="csX759" fmla="*/ 131626 w 1609516"/>
              <a:gd name="csY759" fmla="*/ 887114 h 1538630"/>
              <a:gd name="csX760" fmla="*/ 155116 w 1609516"/>
              <a:gd name="csY760" fmla="*/ 880913 h 1538630"/>
              <a:gd name="csX761" fmla="*/ 165406 w 1609516"/>
              <a:gd name="csY761" fmla="*/ 878483 h 1538630"/>
              <a:gd name="csX762" fmla="*/ 176634 w 1609516"/>
              <a:gd name="csY762" fmla="*/ 874343 h 1538630"/>
              <a:gd name="csX763" fmla="*/ 186397 w 1609516"/>
              <a:gd name="csY763" fmla="*/ 871524 h 1538630"/>
              <a:gd name="csX764" fmla="*/ 191871 w 1609516"/>
              <a:gd name="csY764" fmla="*/ 870033 h 1538630"/>
              <a:gd name="csX765" fmla="*/ 203483 w 1609516"/>
              <a:gd name="csY765" fmla="*/ 867208 h 1538630"/>
              <a:gd name="csX766" fmla="*/ 211001 w 1609516"/>
              <a:gd name="csY766" fmla="*/ 861660 h 1538630"/>
              <a:gd name="csX767" fmla="*/ 218031 w 1609516"/>
              <a:gd name="csY767" fmla="*/ 858577 h 1538630"/>
              <a:gd name="csX768" fmla="*/ 254740 w 1609516"/>
              <a:gd name="csY768" fmla="*/ 825020 h 1538630"/>
              <a:gd name="csX769" fmla="*/ 257864 w 1609516"/>
              <a:gd name="csY769" fmla="*/ 820792 h 1538630"/>
              <a:gd name="csX770" fmla="*/ 258318 w 1609516"/>
              <a:gd name="csY770" fmla="*/ 813810 h 1538630"/>
              <a:gd name="csX771" fmla="*/ 258378 w 1609516"/>
              <a:gd name="csY771" fmla="*/ 809502 h 1538630"/>
              <a:gd name="csX772" fmla="*/ 258389 w 1609516"/>
              <a:gd name="csY772" fmla="*/ 804845 h 1538630"/>
              <a:gd name="csX773" fmla="*/ 258420 w 1609516"/>
              <a:gd name="csY773" fmla="*/ 800036 h 1538630"/>
              <a:gd name="csX774" fmla="*/ 258443 w 1609516"/>
              <a:gd name="csY774" fmla="*/ 789939 h 1538630"/>
              <a:gd name="csX775" fmla="*/ 258566 w 1609516"/>
              <a:gd name="csY775" fmla="*/ 774594 h 1538630"/>
              <a:gd name="csX776" fmla="*/ 258584 w 1609516"/>
              <a:gd name="csY776" fmla="*/ 764771 h 1538630"/>
              <a:gd name="csX777" fmla="*/ 258652 w 1609516"/>
              <a:gd name="csY777" fmla="*/ 760174 h 1538630"/>
              <a:gd name="csX778" fmla="*/ 251616 w 1609516"/>
              <a:gd name="csY778" fmla="*/ 733421 h 1538630"/>
              <a:gd name="csX779" fmla="*/ 247613 w 1609516"/>
              <a:gd name="csY779" fmla="*/ 721883 h 1538630"/>
              <a:gd name="csX780" fmla="*/ 241291 w 1609516"/>
              <a:gd name="csY780" fmla="*/ 705644 h 1538630"/>
              <a:gd name="csX781" fmla="*/ 237557 w 1609516"/>
              <a:gd name="csY781" fmla="*/ 689735 h 1538630"/>
              <a:gd name="csX782" fmla="*/ 248492 w 1609516"/>
              <a:gd name="csY782" fmla="*/ 685507 h 1538630"/>
              <a:gd name="csX783" fmla="*/ 248492 w 1609516"/>
              <a:gd name="csY783" fmla="*/ 681279 h 1538630"/>
              <a:gd name="csX784" fmla="*/ 240681 w 1609516"/>
              <a:gd name="csY784" fmla="*/ 679870 h 1538630"/>
              <a:gd name="csX785" fmla="*/ 240681 w 1609516"/>
              <a:gd name="csY785" fmla="*/ 677052 h 1538630"/>
              <a:gd name="csX786" fmla="*/ 238094 w 1609516"/>
              <a:gd name="csY786" fmla="*/ 676645 h 1538630"/>
              <a:gd name="csX787" fmla="*/ 225841 w 1609516"/>
              <a:gd name="csY787" fmla="*/ 670886 h 1538630"/>
              <a:gd name="csX788" fmla="*/ 201531 w 1609516"/>
              <a:gd name="csY788" fmla="*/ 662508 h 1538630"/>
              <a:gd name="csX789" fmla="*/ 188252 w 1609516"/>
              <a:gd name="csY789" fmla="*/ 658644 h 1538630"/>
              <a:gd name="csX790" fmla="*/ 182431 w 1609516"/>
              <a:gd name="csY790" fmla="*/ 657327 h 1538630"/>
              <a:gd name="csX791" fmla="*/ 182431 w 1609516"/>
              <a:gd name="csY791" fmla="*/ 657613 h 1538630"/>
              <a:gd name="csX792" fmla="*/ 146503 w 1609516"/>
              <a:gd name="csY792" fmla="*/ 656204 h 1538630"/>
              <a:gd name="csX793" fmla="*/ 146503 w 1609516"/>
              <a:gd name="csY793" fmla="*/ 659022 h 1538630"/>
              <a:gd name="csX794" fmla="*/ 110378 w 1609516"/>
              <a:gd name="csY794" fmla="*/ 663778 h 1538630"/>
              <a:gd name="csX795" fmla="*/ 106453 w 1609516"/>
              <a:gd name="csY795" fmla="*/ 663836 h 1538630"/>
              <a:gd name="csX796" fmla="*/ 102751 w 1609516"/>
              <a:gd name="csY796" fmla="*/ 663811 h 1538630"/>
              <a:gd name="csX797" fmla="*/ 99449 w 1609516"/>
              <a:gd name="csY797" fmla="*/ 663797 h 1538630"/>
              <a:gd name="csX798" fmla="*/ 91828 w 1609516"/>
              <a:gd name="csY798" fmla="*/ 659022 h 1538630"/>
              <a:gd name="csX799" fmla="*/ 98077 w 1609516"/>
              <a:gd name="csY799" fmla="*/ 659022 h 1538630"/>
              <a:gd name="csX800" fmla="*/ 98077 w 1609516"/>
              <a:gd name="csY800" fmla="*/ 661841 h 1538630"/>
              <a:gd name="csX801" fmla="*/ 119023 w 1609516"/>
              <a:gd name="csY801" fmla="*/ 661357 h 1538630"/>
              <a:gd name="csX802" fmla="*/ 119536 w 1609516"/>
              <a:gd name="csY802" fmla="*/ 661197 h 1538630"/>
              <a:gd name="csX803" fmla="*/ 109853 w 1609516"/>
              <a:gd name="csY803" fmla="*/ 661639 h 1538630"/>
              <a:gd name="csX804" fmla="*/ 106552 w 1609516"/>
              <a:gd name="csY804" fmla="*/ 661619 h 1538630"/>
              <a:gd name="csX805" fmla="*/ 98528 w 1609516"/>
              <a:gd name="csY805" fmla="*/ 661550 h 1538630"/>
              <a:gd name="csX806" fmla="*/ 98528 w 1609516"/>
              <a:gd name="csY806" fmla="*/ 658732 h 1538630"/>
              <a:gd name="csX807" fmla="*/ 89155 w 1609516"/>
              <a:gd name="csY807" fmla="*/ 657323 h 1538630"/>
              <a:gd name="csX808" fmla="*/ 89155 w 1609516"/>
              <a:gd name="csY808" fmla="*/ 654504 h 1538630"/>
              <a:gd name="csX809" fmla="*/ 86397 w 1609516"/>
              <a:gd name="csY809" fmla="*/ 653442 h 1538630"/>
              <a:gd name="csX810" fmla="*/ 77049 w 1609516"/>
              <a:gd name="csY810" fmla="*/ 646137 h 1538630"/>
              <a:gd name="csX811" fmla="*/ 74145 w 1609516"/>
              <a:gd name="csY811" fmla="*/ 643192 h 1538630"/>
              <a:gd name="csX812" fmla="*/ 71972 w 1609516"/>
              <a:gd name="csY812" fmla="*/ 636185 h 1538630"/>
              <a:gd name="csX813" fmla="*/ 68848 w 1609516"/>
              <a:gd name="csY813" fmla="*/ 636185 h 1538630"/>
              <a:gd name="csX814" fmla="*/ 70410 w 1609516"/>
              <a:gd name="csY814" fmla="*/ 595317 h 1538630"/>
              <a:gd name="csX815" fmla="*/ 79782 w 1609516"/>
              <a:gd name="csY815" fmla="*/ 584043 h 1538630"/>
              <a:gd name="csX816" fmla="*/ 82656 w 1609516"/>
              <a:gd name="csY816" fmla="*/ 581115 h 1538630"/>
              <a:gd name="csX817" fmla="*/ 116694 w 1609516"/>
              <a:gd name="csY817" fmla="*/ 572323 h 1538630"/>
              <a:gd name="csX818" fmla="*/ 152031 w 1609516"/>
              <a:gd name="csY818" fmla="*/ 590385 h 1538630"/>
              <a:gd name="csX819" fmla="*/ 191474 w 1609516"/>
              <a:gd name="csY819" fmla="*/ 605886 h 1538630"/>
              <a:gd name="csX820" fmla="*/ 206314 w 1609516"/>
              <a:gd name="csY820" fmla="*/ 608000 h 1538630"/>
              <a:gd name="csX821" fmla="*/ 206314 w 1609516"/>
              <a:gd name="csY821" fmla="*/ 610818 h 1538630"/>
              <a:gd name="csX822" fmla="*/ 234433 w 1609516"/>
              <a:gd name="csY822" fmla="*/ 610818 h 1538630"/>
              <a:gd name="csX823" fmla="*/ 239522 w 1609516"/>
              <a:gd name="csY823" fmla="*/ 610802 h 1538630"/>
              <a:gd name="csX824" fmla="*/ 268799 w 1609516"/>
              <a:gd name="csY824" fmla="*/ 600954 h 1538630"/>
              <a:gd name="csX825" fmla="*/ 271740 w 1609516"/>
              <a:gd name="csY825" fmla="*/ 599325 h 1538630"/>
              <a:gd name="csX826" fmla="*/ 284420 w 1609516"/>
              <a:gd name="csY826" fmla="*/ 579816 h 1538630"/>
              <a:gd name="csX827" fmla="*/ 289399 w 1609516"/>
              <a:gd name="csY827" fmla="*/ 568630 h 1538630"/>
              <a:gd name="csX828" fmla="*/ 293958 w 1609516"/>
              <a:gd name="csY828" fmla="*/ 535838 h 1538630"/>
              <a:gd name="csX829" fmla="*/ 289107 w 1609516"/>
              <a:gd name="csY829" fmla="*/ 529084 h 1538630"/>
              <a:gd name="csX830" fmla="*/ 289107 w 1609516"/>
              <a:gd name="csY830" fmla="*/ 526265 h 1538630"/>
              <a:gd name="csX831" fmla="*/ 284420 w 1609516"/>
              <a:gd name="csY831" fmla="*/ 524856 h 1538630"/>
              <a:gd name="csX832" fmla="*/ 282858 w 1609516"/>
              <a:gd name="csY832" fmla="*/ 520628 h 1538630"/>
              <a:gd name="csX833" fmla="*/ 277977 w 1609516"/>
              <a:gd name="csY833" fmla="*/ 516577 h 1538630"/>
              <a:gd name="csX834" fmla="*/ 264925 w 1609516"/>
              <a:gd name="csY834" fmla="*/ 506443 h 1538630"/>
              <a:gd name="csX835" fmla="*/ 229746 w 1609516"/>
              <a:gd name="csY835" fmla="*/ 481170 h 1538630"/>
              <a:gd name="csX836" fmla="*/ 221057 w 1609516"/>
              <a:gd name="csY836" fmla="*/ 475445 h 1538630"/>
              <a:gd name="csX837" fmla="*/ 212563 w 1609516"/>
              <a:gd name="csY837" fmla="*/ 469896 h 1538630"/>
              <a:gd name="csX838" fmla="*/ 208889 w 1609516"/>
              <a:gd name="csY838" fmla="*/ 467491 h 1538630"/>
              <a:gd name="csX839" fmla="*/ 190406 w 1609516"/>
              <a:gd name="csY839" fmla="*/ 456382 h 1538630"/>
              <a:gd name="csX840" fmla="*/ 186942 w 1609516"/>
              <a:gd name="csY840" fmla="*/ 454460 h 1538630"/>
              <a:gd name="csX841" fmla="*/ 180041 w 1609516"/>
              <a:gd name="csY841" fmla="*/ 450696 h 1538630"/>
              <a:gd name="csX842" fmla="*/ 171948 w 1609516"/>
              <a:gd name="csY842" fmla="*/ 445940 h 1538630"/>
              <a:gd name="csX843" fmla="*/ 171948 w 1609516"/>
              <a:gd name="csY843" fmla="*/ 443121 h 1538630"/>
              <a:gd name="csX844" fmla="*/ 168482 w 1609516"/>
              <a:gd name="csY844" fmla="*/ 442708 h 1538630"/>
              <a:gd name="csX845" fmla="*/ 157107 w 1609516"/>
              <a:gd name="csY845" fmla="*/ 437044 h 1538630"/>
              <a:gd name="csX846" fmla="*/ 132559 w 1609516"/>
              <a:gd name="csY846" fmla="*/ 427510 h 1538630"/>
              <a:gd name="csX847" fmla="*/ 123522 w 1609516"/>
              <a:gd name="csY847" fmla="*/ 421983 h 1538630"/>
              <a:gd name="csX848" fmla="*/ 107986 w 1609516"/>
              <a:gd name="csY848" fmla="*/ 418730 h 1538630"/>
              <a:gd name="csX849" fmla="*/ 102494 w 1609516"/>
              <a:gd name="csY849" fmla="*/ 418622 h 1538630"/>
              <a:gd name="csX850" fmla="*/ 91157 w 1609516"/>
              <a:gd name="csY850" fmla="*/ 418490 h 1538630"/>
              <a:gd name="csX851" fmla="*/ 55277 w 1609516"/>
              <a:gd name="csY851" fmla="*/ 410445 h 1538630"/>
              <a:gd name="csX852" fmla="*/ 51665 w 1609516"/>
              <a:gd name="csY852" fmla="*/ 406481 h 1538630"/>
              <a:gd name="csX853" fmla="*/ 45904 w 1609516"/>
              <a:gd name="csY853" fmla="*/ 400492 h 1538630"/>
              <a:gd name="csX854" fmla="*/ 43152 w 1609516"/>
              <a:gd name="csY854" fmla="*/ 397564 h 1538630"/>
              <a:gd name="csX855" fmla="*/ 37605 w 1609516"/>
              <a:gd name="csY855" fmla="*/ 393798 h 1538630"/>
              <a:gd name="csX856" fmla="*/ 38995 w 1609516"/>
              <a:gd name="csY856" fmla="*/ 368712 h 1538630"/>
              <a:gd name="csX857" fmla="*/ 38666 w 1609516"/>
              <a:gd name="csY857" fmla="*/ 369724 h 1538630"/>
              <a:gd name="csX858" fmla="*/ 35542 w 1609516"/>
              <a:gd name="csY858" fmla="*/ 384081 h 1538630"/>
              <a:gd name="csX859" fmla="*/ 33326 w 1609516"/>
              <a:gd name="csY859" fmla="*/ 357791 h 1538630"/>
              <a:gd name="csX860" fmla="*/ 52725 w 1609516"/>
              <a:gd name="csY860" fmla="*/ 333349 h 1538630"/>
              <a:gd name="csX861" fmla="*/ 55222 w 1609516"/>
              <a:gd name="csY861" fmla="*/ 334475 h 1538630"/>
              <a:gd name="csX862" fmla="*/ 56222 w 1609516"/>
              <a:gd name="csY862" fmla="*/ 333347 h 1538630"/>
              <a:gd name="csX863" fmla="*/ 55871 w 1609516"/>
              <a:gd name="csY863" fmla="*/ 333347 h 1538630"/>
              <a:gd name="csX864" fmla="*/ 56346 w 1609516"/>
              <a:gd name="csY864" fmla="*/ 333207 h 1538630"/>
              <a:gd name="csX865" fmla="*/ 56351 w 1609516"/>
              <a:gd name="csY865" fmla="*/ 333202 h 1538630"/>
              <a:gd name="csX866" fmla="*/ 56365 w 1609516"/>
              <a:gd name="csY866" fmla="*/ 333202 h 1538630"/>
              <a:gd name="csX867" fmla="*/ 79571 w 1609516"/>
              <a:gd name="csY867" fmla="*/ 326360 h 1538630"/>
              <a:gd name="csX868" fmla="*/ 104297 w 1609516"/>
              <a:gd name="csY868" fmla="*/ 330529 h 1538630"/>
              <a:gd name="csX869" fmla="*/ 107170 w 1609516"/>
              <a:gd name="csY869" fmla="*/ 334417 h 1538630"/>
              <a:gd name="csX870" fmla="*/ 109366 w 1609516"/>
              <a:gd name="csY870" fmla="*/ 336046 h 1538630"/>
              <a:gd name="csX871" fmla="*/ 109463 w 1609516"/>
              <a:gd name="csY871" fmla="*/ 336020 h 1538630"/>
              <a:gd name="csX872" fmla="*/ 109463 w 1609516"/>
              <a:gd name="csY872" fmla="*/ 336118 h 1538630"/>
              <a:gd name="csX873" fmla="*/ 115226 w 1609516"/>
              <a:gd name="csY873" fmla="*/ 340394 h 1538630"/>
              <a:gd name="csX874" fmla="*/ 114010 w 1609516"/>
              <a:gd name="csY874" fmla="*/ 340120 h 1538630"/>
              <a:gd name="csX875" fmla="*/ 133285 w 1609516"/>
              <a:gd name="csY875" fmla="*/ 357423 h 1538630"/>
              <a:gd name="csX876" fmla="*/ 173509 w 1609516"/>
              <a:gd name="csY876" fmla="*/ 389571 h 1538630"/>
              <a:gd name="csX877" fmla="*/ 181711 w 1609516"/>
              <a:gd name="csY877" fmla="*/ 393270 h 1538630"/>
              <a:gd name="csX878" fmla="*/ 185507 w 1609516"/>
              <a:gd name="csY878" fmla="*/ 394976 h 1538630"/>
              <a:gd name="csX879" fmla="*/ 192658 w 1609516"/>
              <a:gd name="csY879" fmla="*/ 398257 h 1538630"/>
              <a:gd name="csX880" fmla="*/ 195966 w 1609516"/>
              <a:gd name="csY880" fmla="*/ 399788 h 1538630"/>
              <a:gd name="csX881" fmla="*/ 198833 w 1609516"/>
              <a:gd name="csY881" fmla="*/ 401131 h 1538630"/>
              <a:gd name="csX882" fmla="*/ 207877 w 1609516"/>
              <a:gd name="csY882" fmla="*/ 403663 h 1538630"/>
              <a:gd name="csX883" fmla="*/ 207877 w 1609516"/>
              <a:gd name="csY883" fmla="*/ 406481 h 1538630"/>
              <a:gd name="csX884" fmla="*/ 248492 w 1609516"/>
              <a:gd name="csY884" fmla="*/ 419428 h 1538630"/>
              <a:gd name="csX885" fmla="*/ 253965 w 1609516"/>
              <a:gd name="csY885" fmla="*/ 421000 h 1538630"/>
              <a:gd name="csX886" fmla="*/ 267237 w 1609516"/>
              <a:gd name="csY886" fmla="*/ 424801 h 1538630"/>
              <a:gd name="csX887" fmla="*/ 267237 w 1609516"/>
              <a:gd name="csY887" fmla="*/ 426451 h 1538630"/>
              <a:gd name="csX888" fmla="*/ 288701 w 1609516"/>
              <a:gd name="csY888" fmla="*/ 429217 h 1538630"/>
              <a:gd name="csX889" fmla="*/ 288701 w 1609516"/>
              <a:gd name="csY889" fmla="*/ 432036 h 1538630"/>
              <a:gd name="csX890" fmla="*/ 327010 w 1609516"/>
              <a:gd name="csY890" fmla="*/ 433628 h 1538630"/>
              <a:gd name="csX891" fmla="*/ 337486 w 1609516"/>
              <a:gd name="csY891" fmla="*/ 433637 h 1538630"/>
              <a:gd name="csX892" fmla="*/ 344229 w 1609516"/>
              <a:gd name="csY892" fmla="*/ 433632 h 1538630"/>
              <a:gd name="csX893" fmla="*/ 350323 w 1609516"/>
              <a:gd name="csY893" fmla="*/ 433627 h 1538630"/>
              <a:gd name="csX894" fmla="*/ 365245 w 1609516"/>
              <a:gd name="csY894" fmla="*/ 432036 h 1538630"/>
              <a:gd name="csX895" fmla="*/ 360797 w 1609516"/>
              <a:gd name="csY895" fmla="*/ 433759 h 1538630"/>
              <a:gd name="csX896" fmla="*/ 365650 w 1609516"/>
              <a:gd name="csY896" fmla="*/ 433257 h 1538630"/>
              <a:gd name="csX897" fmla="*/ 367213 w 1609516"/>
              <a:gd name="csY897" fmla="*/ 429029 h 1538630"/>
              <a:gd name="csX898" fmla="*/ 375188 w 1609516"/>
              <a:gd name="csY898" fmla="*/ 424906 h 1538630"/>
              <a:gd name="csX899" fmla="*/ 404704 w 1609516"/>
              <a:gd name="csY899" fmla="*/ 389571 h 1538630"/>
              <a:gd name="csX900" fmla="*/ 406265 w 1609516"/>
              <a:gd name="csY900" fmla="*/ 388161 h 1538630"/>
              <a:gd name="csX901" fmla="*/ 406559 w 1609516"/>
              <a:gd name="csY901" fmla="*/ 370106 h 1538630"/>
              <a:gd name="csX902" fmla="*/ 406617 w 1609516"/>
              <a:gd name="csY902" fmla="*/ 364973 h 1538630"/>
              <a:gd name="csX903" fmla="*/ 406626 w 1609516"/>
              <a:gd name="csY903" fmla="*/ 360038 h 1538630"/>
              <a:gd name="csX904" fmla="*/ 406645 w 1609516"/>
              <a:gd name="csY904" fmla="*/ 355503 h 1538630"/>
              <a:gd name="csX905" fmla="*/ 403142 w 1609516"/>
              <a:gd name="csY905" fmla="*/ 345885 h 1538630"/>
              <a:gd name="csX906" fmla="*/ 401579 w 1609516"/>
              <a:gd name="csY906" fmla="*/ 338663 h 1538630"/>
              <a:gd name="csX907" fmla="*/ 390938 w 1609516"/>
              <a:gd name="csY907" fmla="*/ 315939 h 1538630"/>
              <a:gd name="csX908" fmla="*/ 388976 w 1609516"/>
              <a:gd name="csY908" fmla="*/ 312762 h 1538630"/>
              <a:gd name="csX909" fmla="*/ 377934 w 1609516"/>
              <a:gd name="csY909" fmla="*/ 297817 h 1538630"/>
              <a:gd name="csX910" fmla="*/ 368775 w 1609516"/>
              <a:gd name="csY910" fmla="*/ 282470 h 1538630"/>
              <a:gd name="csX911" fmla="*/ 359890 w 1609516"/>
              <a:gd name="csY911" fmla="*/ 271284 h 1538630"/>
              <a:gd name="csX912" fmla="*/ 357374 w 1609516"/>
              <a:gd name="csY912" fmla="*/ 268288 h 1538630"/>
              <a:gd name="csX913" fmla="*/ 337533 w 1609516"/>
              <a:gd name="csY913" fmla="*/ 248649 h 1538630"/>
              <a:gd name="csX914" fmla="*/ 335214 w 1609516"/>
              <a:gd name="csY914" fmla="*/ 246369 h 1538630"/>
              <a:gd name="csX915" fmla="*/ 327085 w 1609516"/>
              <a:gd name="csY915" fmla="*/ 242571 h 1538630"/>
              <a:gd name="csX916" fmla="*/ 288785 w 1609516"/>
              <a:gd name="csY916" fmla="*/ 207968 h 1538630"/>
              <a:gd name="csX917" fmla="*/ 286373 w 1609516"/>
              <a:gd name="csY917" fmla="*/ 192544 h 1538630"/>
              <a:gd name="csX918" fmla="*/ 286385 w 1609516"/>
              <a:gd name="csY918" fmla="*/ 189190 h 1538630"/>
              <a:gd name="csX919" fmla="*/ 300042 w 1609516"/>
              <a:gd name="csY919" fmla="*/ 164095 h 1538630"/>
              <a:gd name="csX920" fmla="*/ 302757 w 1609516"/>
              <a:gd name="csY920" fmla="*/ 161381 h 1538630"/>
              <a:gd name="csX921" fmla="*/ 338411 w 1609516"/>
              <a:gd name="csY921" fmla="*/ 152293 h 1538630"/>
              <a:gd name="csX922" fmla="*/ 368482 w 1609516"/>
              <a:gd name="csY922" fmla="*/ 161893 h 1538630"/>
              <a:gd name="csX923" fmla="*/ 371899 w 1609516"/>
              <a:gd name="csY923" fmla="*/ 165505 h 1538630"/>
              <a:gd name="csX924" fmla="*/ 375121 w 1609516"/>
              <a:gd name="csY924" fmla="*/ 168587 h 1538630"/>
              <a:gd name="csX925" fmla="*/ 384982 w 1609516"/>
              <a:gd name="csY925" fmla="*/ 193777 h 1538630"/>
              <a:gd name="csX926" fmla="*/ 390352 w 1609516"/>
              <a:gd name="csY926" fmla="*/ 214563 h 1538630"/>
              <a:gd name="csX927" fmla="*/ 391529 w 1609516"/>
              <a:gd name="csY927" fmla="*/ 217626 h 1538630"/>
              <a:gd name="csX928" fmla="*/ 401579 w 1609516"/>
              <a:gd name="csY928" fmla="*/ 234556 h 1538630"/>
              <a:gd name="csX929" fmla="*/ 401579 w 1609516"/>
              <a:gd name="csY929" fmla="*/ 238784 h 1538630"/>
              <a:gd name="csX930" fmla="*/ 404215 w 1609516"/>
              <a:gd name="csY930" fmla="*/ 239753 h 1538630"/>
              <a:gd name="csX931" fmla="*/ 417811 w 1609516"/>
              <a:gd name="csY931" fmla="*/ 251996 h 1538630"/>
              <a:gd name="csX932" fmla="*/ 426866 w 1609516"/>
              <a:gd name="csY932" fmla="*/ 262300 h 1538630"/>
              <a:gd name="csX933" fmla="*/ 450097 w 1609516"/>
              <a:gd name="csY933" fmla="*/ 287628 h 1538630"/>
              <a:gd name="csX934" fmla="*/ 457425 w 1609516"/>
              <a:gd name="csY934" fmla="*/ 293920 h 1538630"/>
              <a:gd name="csX935" fmla="*/ 460940 w 1609516"/>
              <a:gd name="csY935" fmla="*/ 296562 h 1538630"/>
              <a:gd name="csX936" fmla="*/ 460940 w 1609516"/>
              <a:gd name="csY936" fmla="*/ 300790 h 1538630"/>
              <a:gd name="csX937" fmla="*/ 473437 w 1609516"/>
              <a:gd name="csY937" fmla="*/ 305018 h 1538630"/>
              <a:gd name="csX938" fmla="*/ 473437 w 1609516"/>
              <a:gd name="csY938" fmla="*/ 307836 h 1538630"/>
              <a:gd name="csX939" fmla="*/ 479881 w 1609516"/>
              <a:gd name="csY939" fmla="*/ 309862 h 1538630"/>
              <a:gd name="csX940" fmla="*/ 483505 w 1609516"/>
              <a:gd name="csY940" fmla="*/ 311001 h 1538630"/>
              <a:gd name="csX941" fmla="*/ 548419 w 1609516"/>
              <a:gd name="csY941" fmla="*/ 306427 h 1538630"/>
              <a:gd name="csX942" fmla="*/ 551842 w 1609516"/>
              <a:gd name="csY942" fmla="*/ 305127 h 1538630"/>
              <a:gd name="csX943" fmla="*/ 560232 w 1609516"/>
              <a:gd name="csY943" fmla="*/ 298148 h 1538630"/>
              <a:gd name="csX944" fmla="*/ 562972 w 1609516"/>
              <a:gd name="csY944" fmla="*/ 295252 h 1538630"/>
              <a:gd name="csX945" fmla="*/ 568086 w 1609516"/>
              <a:gd name="csY945" fmla="*/ 289152 h 1538630"/>
              <a:gd name="csX946" fmla="*/ 570289 w 1609516"/>
              <a:gd name="csY946" fmla="*/ 286697 h 1538630"/>
              <a:gd name="csX947" fmla="*/ 573413 w 1609516"/>
              <a:gd name="csY947" fmla="*/ 286697 h 1538630"/>
              <a:gd name="csX948" fmla="*/ 577220 w 1609516"/>
              <a:gd name="csY948" fmla="*/ 257016 h 1538630"/>
              <a:gd name="csX949" fmla="*/ 577235 w 1609516"/>
              <a:gd name="csY949" fmla="*/ 254206 h 1538630"/>
              <a:gd name="csX950" fmla="*/ 569443 w 1609516"/>
              <a:gd name="csY950" fmla="*/ 206049 h 1538630"/>
              <a:gd name="csX951" fmla="*/ 568726 w 1609516"/>
              <a:gd name="csY951" fmla="*/ 200735 h 1538630"/>
              <a:gd name="csX952" fmla="*/ 565602 w 1609516"/>
              <a:gd name="csY952" fmla="*/ 200735 h 1538630"/>
              <a:gd name="csX953" fmla="*/ 559549 w 1609516"/>
              <a:gd name="csY953" fmla="*/ 184441 h 1538630"/>
              <a:gd name="csX954" fmla="*/ 537484 w 1609516"/>
              <a:gd name="csY954" fmla="*/ 159867 h 1538630"/>
              <a:gd name="csX955" fmla="*/ 531235 w 1609516"/>
              <a:gd name="csY955" fmla="*/ 154230 h 1538630"/>
              <a:gd name="csX956" fmla="*/ 531235 w 1609516"/>
              <a:gd name="csY956" fmla="*/ 151412 h 1538630"/>
              <a:gd name="csX957" fmla="*/ 526549 w 1609516"/>
              <a:gd name="csY957" fmla="*/ 150003 h 1538630"/>
              <a:gd name="csX958" fmla="*/ 524304 w 1609516"/>
              <a:gd name="csY958" fmla="*/ 107198 h 1538630"/>
              <a:gd name="csX959" fmla="*/ 547052 w 1609516"/>
              <a:gd name="csY959" fmla="*/ 85972 h 1538630"/>
              <a:gd name="csX960" fmla="*/ 588460 w 1609516"/>
              <a:gd name="csY960" fmla="*/ 83538 h 1538630"/>
              <a:gd name="csX961" fmla="*/ 617152 w 1609516"/>
              <a:gd name="csY961" fmla="*/ 111954 h 1538630"/>
              <a:gd name="csX962" fmla="*/ 617884 w 1609516"/>
              <a:gd name="csY962" fmla="*/ 124175 h 1538630"/>
              <a:gd name="csX963" fmla="*/ 617917 w 1609516"/>
              <a:gd name="csY963" fmla="*/ 127607 h 1538630"/>
              <a:gd name="csX964" fmla="*/ 617919 w 1609516"/>
              <a:gd name="csY964" fmla="*/ 141969 h 1538630"/>
              <a:gd name="csX965" fmla="*/ 630625 w 1609516"/>
              <a:gd name="csY965" fmla="*/ 191311 h 1538630"/>
              <a:gd name="csX966" fmla="*/ 637850 w 1609516"/>
              <a:gd name="csY966" fmla="*/ 205139 h 1538630"/>
              <a:gd name="csX967" fmla="*/ 643708 w 1609516"/>
              <a:gd name="csY967" fmla="*/ 212009 h 1538630"/>
              <a:gd name="csX968" fmla="*/ 647027 w 1609516"/>
              <a:gd name="csY968" fmla="*/ 217645 h 1538630"/>
              <a:gd name="csX969" fmla="*/ 670264 w 1609516"/>
              <a:gd name="csY969" fmla="*/ 241603 h 1538630"/>
              <a:gd name="csX970" fmla="*/ 670264 w 1609516"/>
              <a:gd name="csY970" fmla="*/ 244421 h 1538630"/>
              <a:gd name="csX971" fmla="*/ 675634 w 1609516"/>
              <a:gd name="csY971" fmla="*/ 245742 h 1538630"/>
              <a:gd name="csX972" fmla="*/ 682761 w 1609516"/>
              <a:gd name="csY972" fmla="*/ 248649 h 1538630"/>
              <a:gd name="csX973" fmla="*/ 752092 w 1609516"/>
              <a:gd name="csY973" fmla="*/ 245076 h 1538630"/>
              <a:gd name="csX974" fmla="*/ 758433 w 1609516"/>
              <a:gd name="csY974" fmla="*/ 240485 h 1538630"/>
              <a:gd name="csX975" fmla="*/ 763991 w 1609516"/>
              <a:gd name="csY975" fmla="*/ 238784 h 1538630"/>
              <a:gd name="csX976" fmla="*/ 765315 w 1609516"/>
              <a:gd name="csY976" fmla="*/ 235778 h 1538630"/>
              <a:gd name="csX977" fmla="*/ 770923 w 1609516"/>
              <a:gd name="csY977" fmla="*/ 223459 h 1538630"/>
              <a:gd name="csX978" fmla="*/ 772998 w 1609516"/>
              <a:gd name="csY978" fmla="*/ 218934 h 1538630"/>
              <a:gd name="csX979" fmla="*/ 777562 w 1609516"/>
              <a:gd name="csY979" fmla="*/ 209895 h 1538630"/>
              <a:gd name="csX980" fmla="*/ 781175 w 1609516"/>
              <a:gd name="csY980" fmla="*/ 124637 h 1538630"/>
              <a:gd name="csX981" fmla="*/ 778051 w 1609516"/>
              <a:gd name="csY981" fmla="*/ 124637 h 1538630"/>
              <a:gd name="csX982" fmla="*/ 767116 w 1609516"/>
              <a:gd name="csY982" fmla="*/ 79542 h 1538630"/>
              <a:gd name="csX983" fmla="*/ 793379 w 1609516"/>
              <a:gd name="csY983" fmla="*/ 54000 h 1538630"/>
              <a:gd name="csX984" fmla="*/ 840688 w 1609516"/>
              <a:gd name="csY984" fmla="*/ 55503 h 1538630"/>
              <a:gd name="csX985" fmla="*/ 851470 w 1609516"/>
              <a:gd name="csY985" fmla="*/ 64040 h 1538630"/>
              <a:gd name="csX986" fmla="*/ 853997 w 1609516"/>
              <a:gd name="csY986" fmla="*/ 66529 h 1538630"/>
              <a:gd name="csX987" fmla="*/ 861488 w 1609516"/>
              <a:gd name="csY987" fmla="*/ 82057 h 1538630"/>
              <a:gd name="csX988" fmla="*/ 861937 w 1609516"/>
              <a:gd name="csY988" fmla="*/ 90492 h 1538630"/>
              <a:gd name="csX989" fmla="*/ 863826 w 1609516"/>
              <a:gd name="csY989" fmla="*/ 100715 h 1538630"/>
              <a:gd name="csX990" fmla="*/ 857577 w 1609516"/>
              <a:gd name="csY990" fmla="*/ 121853 h 1538630"/>
              <a:gd name="csX991" fmla="*/ 856015 w 1609516"/>
              <a:gd name="csY991" fmla="*/ 121853 h 1538630"/>
              <a:gd name="csX992" fmla="*/ 855442 w 1609516"/>
              <a:gd name="csY992" fmla="*/ 118919 h 1538630"/>
              <a:gd name="csX993" fmla="*/ 855417 w 1609516"/>
              <a:gd name="csY993" fmla="*/ 118798 h 1538630"/>
              <a:gd name="csX994" fmla="*/ 856157 w 1609516"/>
              <a:gd name="csY994" fmla="*/ 124637 h 1538630"/>
              <a:gd name="csX995" fmla="*/ 850623 w 1609516"/>
              <a:gd name="csY995" fmla="*/ 134701 h 1538630"/>
              <a:gd name="csX996" fmla="*/ 851325 w 1609516"/>
              <a:gd name="csY996" fmla="*/ 135968 h 1538630"/>
              <a:gd name="csX997" fmla="*/ 849886 w 1609516"/>
              <a:gd name="csY997" fmla="*/ 139843 h 1538630"/>
              <a:gd name="csX998" fmla="*/ 847786 w 1609516"/>
              <a:gd name="csY998" fmla="*/ 152889 h 1538630"/>
              <a:gd name="csX999" fmla="*/ 847767 w 1609516"/>
              <a:gd name="csY999" fmla="*/ 157768 h 1538630"/>
              <a:gd name="csX1000" fmla="*/ 847810 w 1609516"/>
              <a:gd name="csY1000" fmla="*/ 162919 h 1538630"/>
              <a:gd name="csX1001" fmla="*/ 847832 w 1609516"/>
              <a:gd name="csY1001" fmla="*/ 168227 h 1538630"/>
              <a:gd name="csX1002" fmla="*/ 850903 w 1609516"/>
              <a:gd name="csY1002" fmla="*/ 209013 h 1538630"/>
              <a:gd name="csX1003" fmla="*/ 852880 w 1609516"/>
              <a:gd name="csY1003" fmla="*/ 224692 h 1538630"/>
              <a:gd name="csX1004" fmla="*/ 854595 w 1609516"/>
              <a:gd name="csY1004" fmla="*/ 224692 h 1538630"/>
              <a:gd name="csX1005" fmla="*/ 856083 w 1609516"/>
              <a:gd name="csY1005" fmla="*/ 227268 h 1538630"/>
              <a:gd name="csX1006" fmla="*/ 879588 w 1609516"/>
              <a:gd name="csY1006" fmla="*/ 247239 h 1538630"/>
              <a:gd name="csX1007" fmla="*/ 885739 w 1609516"/>
              <a:gd name="csY1007" fmla="*/ 249618 h 1538630"/>
              <a:gd name="csX1008" fmla="*/ 890523 w 1609516"/>
              <a:gd name="csY1008" fmla="*/ 251467 h 1538630"/>
              <a:gd name="csX1009" fmla="*/ 890523 w 1609516"/>
              <a:gd name="csY1009" fmla="*/ 254285 h 1538630"/>
              <a:gd name="csX1010" fmla="*/ 920203 w 1609516"/>
              <a:gd name="csY1010" fmla="*/ 261332 h 1538630"/>
              <a:gd name="csX1011" fmla="*/ 920203 w 1609516"/>
              <a:gd name="csY1011" fmla="*/ 262741 h 1538630"/>
              <a:gd name="csX1012" fmla="*/ 910831 w 1609516"/>
              <a:gd name="csY1012" fmla="*/ 262741 h 1538630"/>
              <a:gd name="csX1013" fmla="*/ 910831 w 1609516"/>
              <a:gd name="csY1013" fmla="*/ 262864 h 1538630"/>
              <a:gd name="csX1014" fmla="*/ 927993 w 1609516"/>
              <a:gd name="csY1014" fmla="*/ 264177 h 1538630"/>
              <a:gd name="csX1015" fmla="*/ 939273 w 1609516"/>
              <a:gd name="csY1015" fmla="*/ 265285 h 1538630"/>
              <a:gd name="csX1016" fmla="*/ 940456 w 1609516"/>
              <a:gd name="csY1016" fmla="*/ 265191 h 1538630"/>
              <a:gd name="csX1017" fmla="*/ 991622 w 1609516"/>
              <a:gd name="csY1017" fmla="*/ 242329 h 1538630"/>
              <a:gd name="csX1018" fmla="*/ 1000803 w 1609516"/>
              <a:gd name="csY1018" fmla="*/ 236505 h 1538630"/>
              <a:gd name="csX1019" fmla="*/ 999806 w 1609516"/>
              <a:gd name="csY1019" fmla="*/ 236055 h 1538630"/>
              <a:gd name="csX1020" fmla="*/ 1003126 w 1609516"/>
              <a:gd name="csY1020" fmla="*/ 232851 h 1538630"/>
              <a:gd name="csX1021" fmla="*/ 1029487 w 1609516"/>
              <a:gd name="csY1021" fmla="*/ 205052 h 1538630"/>
              <a:gd name="csX1022" fmla="*/ 1029872 w 1609516"/>
              <a:gd name="csY1022" fmla="*/ 206442 h 1538630"/>
              <a:gd name="csX1023" fmla="*/ 1031614 w 1609516"/>
              <a:gd name="csY1023" fmla="*/ 203719 h 1538630"/>
              <a:gd name="csX1024" fmla="*/ 1038924 w 1609516"/>
              <a:gd name="csY1024" fmla="*/ 192280 h 1538630"/>
              <a:gd name="csX1025" fmla="*/ 1042049 w 1609516"/>
              <a:gd name="csY1025" fmla="*/ 190870 h 1538630"/>
              <a:gd name="csX1026" fmla="*/ 1044294 w 1609516"/>
              <a:gd name="csY1026" fmla="*/ 186026 h 1538630"/>
              <a:gd name="csX1027" fmla="*/ 1051422 w 1609516"/>
              <a:gd name="csY1027" fmla="*/ 178188 h 1538630"/>
              <a:gd name="csX1028" fmla="*/ 1052984 w 1609516"/>
              <a:gd name="csY1028" fmla="*/ 172551 h 1538630"/>
              <a:gd name="csX1029" fmla="*/ 1056108 w 1609516"/>
              <a:gd name="csY1029" fmla="*/ 172551 h 1538630"/>
              <a:gd name="csX1030" fmla="*/ 1059232 w 1609516"/>
              <a:gd name="csY1030" fmla="*/ 162686 h 1538630"/>
              <a:gd name="csX1031" fmla="*/ 1062357 w 1609516"/>
              <a:gd name="csY1031" fmla="*/ 162686 h 1538630"/>
              <a:gd name="csX1032" fmla="*/ 1063162 w 1609516"/>
              <a:gd name="csY1032" fmla="*/ 160258 h 1538630"/>
              <a:gd name="csX1033" fmla="*/ 1073292 w 1609516"/>
              <a:gd name="csY1033" fmla="*/ 140138 h 1538630"/>
              <a:gd name="csX1034" fmla="*/ 1076415 w 1609516"/>
              <a:gd name="csY1034" fmla="*/ 140138 h 1538630"/>
              <a:gd name="csX1035" fmla="*/ 1085294 w 1609516"/>
              <a:gd name="csY1035" fmla="*/ 117569 h 1538630"/>
              <a:gd name="csX1036" fmla="*/ 1087350 w 1609516"/>
              <a:gd name="csY1036" fmla="*/ 113363 h 1538630"/>
              <a:gd name="csX1037" fmla="*/ 1092037 w 1609516"/>
              <a:gd name="csY1037" fmla="*/ 111954 h 1538630"/>
              <a:gd name="csX1038" fmla="*/ 1092623 w 1609516"/>
              <a:gd name="csY1038" fmla="*/ 108695 h 1538630"/>
              <a:gd name="csX1039" fmla="*/ 1096723 w 1609516"/>
              <a:gd name="csY1039" fmla="*/ 100680 h 1538630"/>
              <a:gd name="csX1040" fmla="*/ 1098188 w 1609516"/>
              <a:gd name="csY1040" fmla="*/ 96013 h 1538630"/>
              <a:gd name="csX1041" fmla="*/ 1102288 w 1609516"/>
              <a:gd name="csY1041" fmla="*/ 87029 h 1538630"/>
              <a:gd name="csX1042" fmla="*/ 1104534 w 1609516"/>
              <a:gd name="csY1042" fmla="*/ 61222 h 1538630"/>
              <a:gd name="csX1043" fmla="*/ 1104381 w 1609516"/>
              <a:gd name="csY1043" fmla="*/ 55569 h 1538630"/>
              <a:gd name="csX1044" fmla="*/ 1104397 w 1609516"/>
              <a:gd name="csY1044" fmla="*/ 52335 h 1538630"/>
              <a:gd name="csX1045" fmla="*/ 1104436 w 1609516"/>
              <a:gd name="csY1045" fmla="*/ 48979 h 1538630"/>
              <a:gd name="csX1046" fmla="*/ 1104457 w 1609516"/>
              <a:gd name="csY1046" fmla="*/ 45575 h 1538630"/>
              <a:gd name="csX1047" fmla="*/ 1104534 w 1609516"/>
              <a:gd name="csY1047" fmla="*/ 37265 h 1538630"/>
              <a:gd name="csX1048" fmla="*/ 1107658 w 1609516"/>
              <a:gd name="csY1048" fmla="*/ 37265 h 1538630"/>
              <a:gd name="csX1049" fmla="*/ 1107463 w 1609516"/>
              <a:gd name="csY1049" fmla="*/ 31805 h 1538630"/>
              <a:gd name="csX1050" fmla="*/ 1107658 w 1609516"/>
              <a:gd name="csY1050" fmla="*/ 25991 h 1538630"/>
              <a:gd name="csX1051" fmla="*/ 1110782 w 1609516"/>
              <a:gd name="csY1051" fmla="*/ 23173 h 1538630"/>
              <a:gd name="csX1052" fmla="*/ 1111759 w 1609516"/>
              <a:gd name="csY1052" fmla="*/ 20091 h 1538630"/>
              <a:gd name="csX1053" fmla="*/ 1134507 w 1609516"/>
              <a:gd name="csY1053" fmla="*/ 2828 h 1538630"/>
              <a:gd name="csX1054" fmla="*/ 1155019 w 1609516"/>
              <a:gd name="csY1054" fmla="*/ 35 h 153863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  <a:cxn ang="0">
                <a:pos x="csX170" y="csY170"/>
              </a:cxn>
              <a:cxn ang="0">
                <a:pos x="csX171" y="csY171"/>
              </a:cxn>
              <a:cxn ang="0">
                <a:pos x="csX172" y="csY172"/>
              </a:cxn>
              <a:cxn ang="0">
                <a:pos x="csX173" y="csY173"/>
              </a:cxn>
              <a:cxn ang="0">
                <a:pos x="csX174" y="csY174"/>
              </a:cxn>
              <a:cxn ang="0">
                <a:pos x="csX175" y="csY175"/>
              </a:cxn>
              <a:cxn ang="0">
                <a:pos x="csX176" y="csY176"/>
              </a:cxn>
              <a:cxn ang="0">
                <a:pos x="csX177" y="csY177"/>
              </a:cxn>
              <a:cxn ang="0">
                <a:pos x="csX178" y="csY178"/>
              </a:cxn>
              <a:cxn ang="0">
                <a:pos x="csX179" y="csY179"/>
              </a:cxn>
              <a:cxn ang="0">
                <a:pos x="csX180" y="csY180"/>
              </a:cxn>
              <a:cxn ang="0">
                <a:pos x="csX181" y="csY181"/>
              </a:cxn>
              <a:cxn ang="0">
                <a:pos x="csX182" y="csY182"/>
              </a:cxn>
              <a:cxn ang="0">
                <a:pos x="csX183" y="csY183"/>
              </a:cxn>
              <a:cxn ang="0">
                <a:pos x="csX184" y="csY184"/>
              </a:cxn>
              <a:cxn ang="0">
                <a:pos x="csX185" y="csY185"/>
              </a:cxn>
              <a:cxn ang="0">
                <a:pos x="csX186" y="csY186"/>
              </a:cxn>
              <a:cxn ang="0">
                <a:pos x="csX187" y="csY187"/>
              </a:cxn>
              <a:cxn ang="0">
                <a:pos x="csX188" y="csY188"/>
              </a:cxn>
              <a:cxn ang="0">
                <a:pos x="csX189" y="csY189"/>
              </a:cxn>
              <a:cxn ang="0">
                <a:pos x="csX190" y="csY190"/>
              </a:cxn>
              <a:cxn ang="0">
                <a:pos x="csX191" y="csY191"/>
              </a:cxn>
              <a:cxn ang="0">
                <a:pos x="csX192" y="csY192"/>
              </a:cxn>
              <a:cxn ang="0">
                <a:pos x="csX193" y="csY193"/>
              </a:cxn>
              <a:cxn ang="0">
                <a:pos x="csX194" y="csY194"/>
              </a:cxn>
              <a:cxn ang="0">
                <a:pos x="csX195" y="csY195"/>
              </a:cxn>
              <a:cxn ang="0">
                <a:pos x="csX196" y="csY196"/>
              </a:cxn>
              <a:cxn ang="0">
                <a:pos x="csX197" y="csY197"/>
              </a:cxn>
              <a:cxn ang="0">
                <a:pos x="csX198" y="csY198"/>
              </a:cxn>
              <a:cxn ang="0">
                <a:pos x="csX199" y="csY199"/>
              </a:cxn>
              <a:cxn ang="0">
                <a:pos x="csX200" y="csY200"/>
              </a:cxn>
              <a:cxn ang="0">
                <a:pos x="csX201" y="csY201"/>
              </a:cxn>
              <a:cxn ang="0">
                <a:pos x="csX202" y="csY202"/>
              </a:cxn>
              <a:cxn ang="0">
                <a:pos x="csX203" y="csY203"/>
              </a:cxn>
              <a:cxn ang="0">
                <a:pos x="csX204" y="csY204"/>
              </a:cxn>
              <a:cxn ang="0">
                <a:pos x="csX205" y="csY205"/>
              </a:cxn>
              <a:cxn ang="0">
                <a:pos x="csX206" y="csY206"/>
              </a:cxn>
              <a:cxn ang="0">
                <a:pos x="csX207" y="csY207"/>
              </a:cxn>
              <a:cxn ang="0">
                <a:pos x="csX208" y="csY208"/>
              </a:cxn>
              <a:cxn ang="0">
                <a:pos x="csX209" y="csY209"/>
              </a:cxn>
              <a:cxn ang="0">
                <a:pos x="csX210" y="csY210"/>
              </a:cxn>
              <a:cxn ang="0">
                <a:pos x="csX211" y="csY211"/>
              </a:cxn>
              <a:cxn ang="0">
                <a:pos x="csX212" y="csY212"/>
              </a:cxn>
              <a:cxn ang="0">
                <a:pos x="csX213" y="csY213"/>
              </a:cxn>
              <a:cxn ang="0">
                <a:pos x="csX214" y="csY214"/>
              </a:cxn>
              <a:cxn ang="0">
                <a:pos x="csX215" y="csY215"/>
              </a:cxn>
              <a:cxn ang="0">
                <a:pos x="csX216" y="csY216"/>
              </a:cxn>
              <a:cxn ang="0">
                <a:pos x="csX217" y="csY217"/>
              </a:cxn>
              <a:cxn ang="0">
                <a:pos x="csX218" y="csY218"/>
              </a:cxn>
              <a:cxn ang="0">
                <a:pos x="csX219" y="csY219"/>
              </a:cxn>
              <a:cxn ang="0">
                <a:pos x="csX220" y="csY220"/>
              </a:cxn>
              <a:cxn ang="0">
                <a:pos x="csX221" y="csY221"/>
              </a:cxn>
              <a:cxn ang="0">
                <a:pos x="csX222" y="csY222"/>
              </a:cxn>
              <a:cxn ang="0">
                <a:pos x="csX223" y="csY223"/>
              </a:cxn>
              <a:cxn ang="0">
                <a:pos x="csX224" y="csY224"/>
              </a:cxn>
              <a:cxn ang="0">
                <a:pos x="csX225" y="csY225"/>
              </a:cxn>
              <a:cxn ang="0">
                <a:pos x="csX226" y="csY226"/>
              </a:cxn>
              <a:cxn ang="0">
                <a:pos x="csX227" y="csY227"/>
              </a:cxn>
              <a:cxn ang="0">
                <a:pos x="csX228" y="csY228"/>
              </a:cxn>
              <a:cxn ang="0">
                <a:pos x="csX229" y="csY229"/>
              </a:cxn>
              <a:cxn ang="0">
                <a:pos x="csX230" y="csY230"/>
              </a:cxn>
              <a:cxn ang="0">
                <a:pos x="csX231" y="csY231"/>
              </a:cxn>
              <a:cxn ang="0">
                <a:pos x="csX232" y="csY232"/>
              </a:cxn>
              <a:cxn ang="0">
                <a:pos x="csX233" y="csY233"/>
              </a:cxn>
              <a:cxn ang="0">
                <a:pos x="csX234" y="csY234"/>
              </a:cxn>
              <a:cxn ang="0">
                <a:pos x="csX235" y="csY235"/>
              </a:cxn>
              <a:cxn ang="0">
                <a:pos x="csX236" y="csY236"/>
              </a:cxn>
              <a:cxn ang="0">
                <a:pos x="csX237" y="csY237"/>
              </a:cxn>
              <a:cxn ang="0">
                <a:pos x="csX238" y="csY238"/>
              </a:cxn>
              <a:cxn ang="0">
                <a:pos x="csX239" y="csY239"/>
              </a:cxn>
              <a:cxn ang="0">
                <a:pos x="csX240" y="csY240"/>
              </a:cxn>
              <a:cxn ang="0">
                <a:pos x="csX241" y="csY241"/>
              </a:cxn>
              <a:cxn ang="0">
                <a:pos x="csX242" y="csY242"/>
              </a:cxn>
              <a:cxn ang="0">
                <a:pos x="csX243" y="csY243"/>
              </a:cxn>
              <a:cxn ang="0">
                <a:pos x="csX244" y="csY244"/>
              </a:cxn>
              <a:cxn ang="0">
                <a:pos x="csX245" y="csY245"/>
              </a:cxn>
              <a:cxn ang="0">
                <a:pos x="csX246" y="csY246"/>
              </a:cxn>
              <a:cxn ang="0">
                <a:pos x="csX247" y="csY247"/>
              </a:cxn>
              <a:cxn ang="0">
                <a:pos x="csX248" y="csY248"/>
              </a:cxn>
              <a:cxn ang="0">
                <a:pos x="csX249" y="csY249"/>
              </a:cxn>
              <a:cxn ang="0">
                <a:pos x="csX250" y="csY250"/>
              </a:cxn>
              <a:cxn ang="0">
                <a:pos x="csX251" y="csY251"/>
              </a:cxn>
              <a:cxn ang="0">
                <a:pos x="csX252" y="csY252"/>
              </a:cxn>
              <a:cxn ang="0">
                <a:pos x="csX253" y="csY253"/>
              </a:cxn>
              <a:cxn ang="0">
                <a:pos x="csX254" y="csY254"/>
              </a:cxn>
              <a:cxn ang="0">
                <a:pos x="csX255" y="csY255"/>
              </a:cxn>
              <a:cxn ang="0">
                <a:pos x="csX256" y="csY256"/>
              </a:cxn>
              <a:cxn ang="0">
                <a:pos x="csX257" y="csY257"/>
              </a:cxn>
              <a:cxn ang="0">
                <a:pos x="csX258" y="csY258"/>
              </a:cxn>
              <a:cxn ang="0">
                <a:pos x="csX259" y="csY259"/>
              </a:cxn>
              <a:cxn ang="0">
                <a:pos x="csX260" y="csY260"/>
              </a:cxn>
              <a:cxn ang="0">
                <a:pos x="csX261" y="csY261"/>
              </a:cxn>
              <a:cxn ang="0">
                <a:pos x="csX262" y="csY262"/>
              </a:cxn>
              <a:cxn ang="0">
                <a:pos x="csX263" y="csY263"/>
              </a:cxn>
              <a:cxn ang="0">
                <a:pos x="csX264" y="csY264"/>
              </a:cxn>
              <a:cxn ang="0">
                <a:pos x="csX265" y="csY265"/>
              </a:cxn>
              <a:cxn ang="0">
                <a:pos x="csX266" y="csY266"/>
              </a:cxn>
              <a:cxn ang="0">
                <a:pos x="csX267" y="csY267"/>
              </a:cxn>
              <a:cxn ang="0">
                <a:pos x="csX268" y="csY268"/>
              </a:cxn>
              <a:cxn ang="0">
                <a:pos x="csX269" y="csY269"/>
              </a:cxn>
              <a:cxn ang="0">
                <a:pos x="csX270" y="csY270"/>
              </a:cxn>
              <a:cxn ang="0">
                <a:pos x="csX271" y="csY271"/>
              </a:cxn>
              <a:cxn ang="0">
                <a:pos x="csX272" y="csY272"/>
              </a:cxn>
              <a:cxn ang="0">
                <a:pos x="csX273" y="csY273"/>
              </a:cxn>
              <a:cxn ang="0">
                <a:pos x="csX274" y="csY274"/>
              </a:cxn>
              <a:cxn ang="0">
                <a:pos x="csX275" y="csY275"/>
              </a:cxn>
              <a:cxn ang="0">
                <a:pos x="csX276" y="csY276"/>
              </a:cxn>
              <a:cxn ang="0">
                <a:pos x="csX277" y="csY277"/>
              </a:cxn>
              <a:cxn ang="0">
                <a:pos x="csX278" y="csY278"/>
              </a:cxn>
              <a:cxn ang="0">
                <a:pos x="csX279" y="csY279"/>
              </a:cxn>
              <a:cxn ang="0">
                <a:pos x="csX280" y="csY280"/>
              </a:cxn>
              <a:cxn ang="0">
                <a:pos x="csX281" y="csY281"/>
              </a:cxn>
              <a:cxn ang="0">
                <a:pos x="csX282" y="csY282"/>
              </a:cxn>
              <a:cxn ang="0">
                <a:pos x="csX283" y="csY283"/>
              </a:cxn>
              <a:cxn ang="0">
                <a:pos x="csX284" y="csY284"/>
              </a:cxn>
              <a:cxn ang="0">
                <a:pos x="csX285" y="csY285"/>
              </a:cxn>
              <a:cxn ang="0">
                <a:pos x="csX286" y="csY286"/>
              </a:cxn>
              <a:cxn ang="0">
                <a:pos x="csX287" y="csY287"/>
              </a:cxn>
              <a:cxn ang="0">
                <a:pos x="csX288" y="csY288"/>
              </a:cxn>
              <a:cxn ang="0">
                <a:pos x="csX289" y="csY289"/>
              </a:cxn>
              <a:cxn ang="0">
                <a:pos x="csX290" y="csY290"/>
              </a:cxn>
              <a:cxn ang="0">
                <a:pos x="csX291" y="csY291"/>
              </a:cxn>
              <a:cxn ang="0">
                <a:pos x="csX292" y="csY292"/>
              </a:cxn>
              <a:cxn ang="0">
                <a:pos x="csX293" y="csY293"/>
              </a:cxn>
              <a:cxn ang="0">
                <a:pos x="csX294" y="csY294"/>
              </a:cxn>
              <a:cxn ang="0">
                <a:pos x="csX295" y="csY295"/>
              </a:cxn>
              <a:cxn ang="0">
                <a:pos x="csX296" y="csY296"/>
              </a:cxn>
              <a:cxn ang="0">
                <a:pos x="csX297" y="csY297"/>
              </a:cxn>
              <a:cxn ang="0">
                <a:pos x="csX298" y="csY298"/>
              </a:cxn>
              <a:cxn ang="0">
                <a:pos x="csX299" y="csY299"/>
              </a:cxn>
              <a:cxn ang="0">
                <a:pos x="csX300" y="csY300"/>
              </a:cxn>
              <a:cxn ang="0">
                <a:pos x="csX301" y="csY301"/>
              </a:cxn>
              <a:cxn ang="0">
                <a:pos x="csX302" y="csY302"/>
              </a:cxn>
              <a:cxn ang="0">
                <a:pos x="csX303" y="csY303"/>
              </a:cxn>
              <a:cxn ang="0">
                <a:pos x="csX304" y="csY304"/>
              </a:cxn>
              <a:cxn ang="0">
                <a:pos x="csX305" y="csY305"/>
              </a:cxn>
              <a:cxn ang="0">
                <a:pos x="csX306" y="csY306"/>
              </a:cxn>
              <a:cxn ang="0">
                <a:pos x="csX307" y="csY307"/>
              </a:cxn>
              <a:cxn ang="0">
                <a:pos x="csX308" y="csY308"/>
              </a:cxn>
              <a:cxn ang="0">
                <a:pos x="csX309" y="csY309"/>
              </a:cxn>
              <a:cxn ang="0">
                <a:pos x="csX310" y="csY310"/>
              </a:cxn>
              <a:cxn ang="0">
                <a:pos x="csX311" y="csY311"/>
              </a:cxn>
              <a:cxn ang="0">
                <a:pos x="csX312" y="csY312"/>
              </a:cxn>
              <a:cxn ang="0">
                <a:pos x="csX313" y="csY313"/>
              </a:cxn>
              <a:cxn ang="0">
                <a:pos x="csX314" y="csY314"/>
              </a:cxn>
              <a:cxn ang="0">
                <a:pos x="csX315" y="csY315"/>
              </a:cxn>
              <a:cxn ang="0">
                <a:pos x="csX316" y="csY316"/>
              </a:cxn>
              <a:cxn ang="0">
                <a:pos x="csX317" y="csY317"/>
              </a:cxn>
              <a:cxn ang="0">
                <a:pos x="csX318" y="csY318"/>
              </a:cxn>
              <a:cxn ang="0">
                <a:pos x="csX319" y="csY319"/>
              </a:cxn>
              <a:cxn ang="0">
                <a:pos x="csX320" y="csY320"/>
              </a:cxn>
              <a:cxn ang="0">
                <a:pos x="csX321" y="csY321"/>
              </a:cxn>
              <a:cxn ang="0">
                <a:pos x="csX322" y="csY322"/>
              </a:cxn>
              <a:cxn ang="0">
                <a:pos x="csX323" y="csY323"/>
              </a:cxn>
              <a:cxn ang="0">
                <a:pos x="csX324" y="csY324"/>
              </a:cxn>
              <a:cxn ang="0">
                <a:pos x="csX325" y="csY325"/>
              </a:cxn>
              <a:cxn ang="0">
                <a:pos x="csX326" y="csY326"/>
              </a:cxn>
              <a:cxn ang="0">
                <a:pos x="csX327" y="csY327"/>
              </a:cxn>
              <a:cxn ang="0">
                <a:pos x="csX328" y="csY328"/>
              </a:cxn>
              <a:cxn ang="0">
                <a:pos x="csX329" y="csY329"/>
              </a:cxn>
              <a:cxn ang="0">
                <a:pos x="csX330" y="csY330"/>
              </a:cxn>
              <a:cxn ang="0">
                <a:pos x="csX331" y="csY331"/>
              </a:cxn>
              <a:cxn ang="0">
                <a:pos x="csX332" y="csY332"/>
              </a:cxn>
              <a:cxn ang="0">
                <a:pos x="csX333" y="csY333"/>
              </a:cxn>
              <a:cxn ang="0">
                <a:pos x="csX334" y="csY334"/>
              </a:cxn>
              <a:cxn ang="0">
                <a:pos x="csX335" y="csY335"/>
              </a:cxn>
              <a:cxn ang="0">
                <a:pos x="csX336" y="csY336"/>
              </a:cxn>
              <a:cxn ang="0">
                <a:pos x="csX337" y="csY337"/>
              </a:cxn>
              <a:cxn ang="0">
                <a:pos x="csX338" y="csY338"/>
              </a:cxn>
              <a:cxn ang="0">
                <a:pos x="csX339" y="csY339"/>
              </a:cxn>
              <a:cxn ang="0">
                <a:pos x="csX340" y="csY340"/>
              </a:cxn>
              <a:cxn ang="0">
                <a:pos x="csX341" y="csY341"/>
              </a:cxn>
              <a:cxn ang="0">
                <a:pos x="csX342" y="csY342"/>
              </a:cxn>
              <a:cxn ang="0">
                <a:pos x="csX343" y="csY343"/>
              </a:cxn>
              <a:cxn ang="0">
                <a:pos x="csX344" y="csY344"/>
              </a:cxn>
              <a:cxn ang="0">
                <a:pos x="csX345" y="csY345"/>
              </a:cxn>
              <a:cxn ang="0">
                <a:pos x="csX346" y="csY346"/>
              </a:cxn>
              <a:cxn ang="0">
                <a:pos x="csX347" y="csY347"/>
              </a:cxn>
              <a:cxn ang="0">
                <a:pos x="csX348" y="csY348"/>
              </a:cxn>
              <a:cxn ang="0">
                <a:pos x="csX349" y="csY349"/>
              </a:cxn>
              <a:cxn ang="0">
                <a:pos x="csX350" y="csY350"/>
              </a:cxn>
              <a:cxn ang="0">
                <a:pos x="csX351" y="csY351"/>
              </a:cxn>
              <a:cxn ang="0">
                <a:pos x="csX352" y="csY352"/>
              </a:cxn>
              <a:cxn ang="0">
                <a:pos x="csX353" y="csY353"/>
              </a:cxn>
              <a:cxn ang="0">
                <a:pos x="csX354" y="csY354"/>
              </a:cxn>
              <a:cxn ang="0">
                <a:pos x="csX355" y="csY355"/>
              </a:cxn>
              <a:cxn ang="0">
                <a:pos x="csX356" y="csY356"/>
              </a:cxn>
              <a:cxn ang="0">
                <a:pos x="csX357" y="csY357"/>
              </a:cxn>
              <a:cxn ang="0">
                <a:pos x="csX358" y="csY358"/>
              </a:cxn>
              <a:cxn ang="0">
                <a:pos x="csX359" y="csY359"/>
              </a:cxn>
              <a:cxn ang="0">
                <a:pos x="csX360" y="csY360"/>
              </a:cxn>
              <a:cxn ang="0">
                <a:pos x="csX361" y="csY361"/>
              </a:cxn>
              <a:cxn ang="0">
                <a:pos x="csX362" y="csY362"/>
              </a:cxn>
              <a:cxn ang="0">
                <a:pos x="csX363" y="csY363"/>
              </a:cxn>
              <a:cxn ang="0">
                <a:pos x="csX364" y="csY364"/>
              </a:cxn>
              <a:cxn ang="0">
                <a:pos x="csX365" y="csY365"/>
              </a:cxn>
              <a:cxn ang="0">
                <a:pos x="csX366" y="csY366"/>
              </a:cxn>
              <a:cxn ang="0">
                <a:pos x="csX367" y="csY367"/>
              </a:cxn>
              <a:cxn ang="0">
                <a:pos x="csX368" y="csY368"/>
              </a:cxn>
              <a:cxn ang="0">
                <a:pos x="csX369" y="csY369"/>
              </a:cxn>
              <a:cxn ang="0">
                <a:pos x="csX370" y="csY370"/>
              </a:cxn>
              <a:cxn ang="0">
                <a:pos x="csX371" y="csY371"/>
              </a:cxn>
              <a:cxn ang="0">
                <a:pos x="csX372" y="csY372"/>
              </a:cxn>
              <a:cxn ang="0">
                <a:pos x="csX373" y="csY373"/>
              </a:cxn>
              <a:cxn ang="0">
                <a:pos x="csX374" y="csY374"/>
              </a:cxn>
              <a:cxn ang="0">
                <a:pos x="csX375" y="csY375"/>
              </a:cxn>
              <a:cxn ang="0">
                <a:pos x="csX376" y="csY376"/>
              </a:cxn>
              <a:cxn ang="0">
                <a:pos x="csX377" y="csY377"/>
              </a:cxn>
              <a:cxn ang="0">
                <a:pos x="csX378" y="csY378"/>
              </a:cxn>
              <a:cxn ang="0">
                <a:pos x="csX379" y="csY379"/>
              </a:cxn>
              <a:cxn ang="0">
                <a:pos x="csX380" y="csY380"/>
              </a:cxn>
              <a:cxn ang="0">
                <a:pos x="csX381" y="csY381"/>
              </a:cxn>
              <a:cxn ang="0">
                <a:pos x="csX382" y="csY382"/>
              </a:cxn>
              <a:cxn ang="0">
                <a:pos x="csX383" y="csY383"/>
              </a:cxn>
              <a:cxn ang="0">
                <a:pos x="csX384" y="csY384"/>
              </a:cxn>
              <a:cxn ang="0">
                <a:pos x="csX385" y="csY385"/>
              </a:cxn>
              <a:cxn ang="0">
                <a:pos x="csX386" y="csY386"/>
              </a:cxn>
              <a:cxn ang="0">
                <a:pos x="csX387" y="csY387"/>
              </a:cxn>
              <a:cxn ang="0">
                <a:pos x="csX388" y="csY388"/>
              </a:cxn>
              <a:cxn ang="0">
                <a:pos x="csX389" y="csY389"/>
              </a:cxn>
              <a:cxn ang="0">
                <a:pos x="csX390" y="csY390"/>
              </a:cxn>
              <a:cxn ang="0">
                <a:pos x="csX391" y="csY391"/>
              </a:cxn>
              <a:cxn ang="0">
                <a:pos x="csX392" y="csY392"/>
              </a:cxn>
              <a:cxn ang="0">
                <a:pos x="csX393" y="csY393"/>
              </a:cxn>
              <a:cxn ang="0">
                <a:pos x="csX394" y="csY394"/>
              </a:cxn>
              <a:cxn ang="0">
                <a:pos x="csX395" y="csY395"/>
              </a:cxn>
              <a:cxn ang="0">
                <a:pos x="csX396" y="csY396"/>
              </a:cxn>
              <a:cxn ang="0">
                <a:pos x="csX397" y="csY397"/>
              </a:cxn>
              <a:cxn ang="0">
                <a:pos x="csX398" y="csY398"/>
              </a:cxn>
              <a:cxn ang="0">
                <a:pos x="csX399" y="csY399"/>
              </a:cxn>
              <a:cxn ang="0">
                <a:pos x="csX400" y="csY400"/>
              </a:cxn>
              <a:cxn ang="0">
                <a:pos x="csX401" y="csY401"/>
              </a:cxn>
              <a:cxn ang="0">
                <a:pos x="csX402" y="csY402"/>
              </a:cxn>
              <a:cxn ang="0">
                <a:pos x="csX403" y="csY403"/>
              </a:cxn>
              <a:cxn ang="0">
                <a:pos x="csX404" y="csY404"/>
              </a:cxn>
              <a:cxn ang="0">
                <a:pos x="csX405" y="csY405"/>
              </a:cxn>
              <a:cxn ang="0">
                <a:pos x="csX406" y="csY406"/>
              </a:cxn>
              <a:cxn ang="0">
                <a:pos x="csX407" y="csY407"/>
              </a:cxn>
              <a:cxn ang="0">
                <a:pos x="csX408" y="csY408"/>
              </a:cxn>
              <a:cxn ang="0">
                <a:pos x="csX409" y="csY409"/>
              </a:cxn>
              <a:cxn ang="0">
                <a:pos x="csX410" y="csY410"/>
              </a:cxn>
              <a:cxn ang="0">
                <a:pos x="csX411" y="csY411"/>
              </a:cxn>
              <a:cxn ang="0">
                <a:pos x="csX412" y="csY412"/>
              </a:cxn>
              <a:cxn ang="0">
                <a:pos x="csX413" y="csY413"/>
              </a:cxn>
              <a:cxn ang="0">
                <a:pos x="csX414" y="csY414"/>
              </a:cxn>
              <a:cxn ang="0">
                <a:pos x="csX415" y="csY415"/>
              </a:cxn>
              <a:cxn ang="0">
                <a:pos x="csX416" y="csY416"/>
              </a:cxn>
              <a:cxn ang="0">
                <a:pos x="csX417" y="csY417"/>
              </a:cxn>
              <a:cxn ang="0">
                <a:pos x="csX418" y="csY418"/>
              </a:cxn>
              <a:cxn ang="0">
                <a:pos x="csX419" y="csY419"/>
              </a:cxn>
              <a:cxn ang="0">
                <a:pos x="csX420" y="csY420"/>
              </a:cxn>
              <a:cxn ang="0">
                <a:pos x="csX421" y="csY421"/>
              </a:cxn>
              <a:cxn ang="0">
                <a:pos x="csX422" y="csY422"/>
              </a:cxn>
              <a:cxn ang="0">
                <a:pos x="csX423" y="csY423"/>
              </a:cxn>
              <a:cxn ang="0">
                <a:pos x="csX424" y="csY424"/>
              </a:cxn>
              <a:cxn ang="0">
                <a:pos x="csX425" y="csY425"/>
              </a:cxn>
              <a:cxn ang="0">
                <a:pos x="csX426" y="csY426"/>
              </a:cxn>
              <a:cxn ang="0">
                <a:pos x="csX427" y="csY427"/>
              </a:cxn>
              <a:cxn ang="0">
                <a:pos x="csX428" y="csY428"/>
              </a:cxn>
              <a:cxn ang="0">
                <a:pos x="csX429" y="csY429"/>
              </a:cxn>
              <a:cxn ang="0">
                <a:pos x="csX430" y="csY430"/>
              </a:cxn>
              <a:cxn ang="0">
                <a:pos x="csX431" y="csY431"/>
              </a:cxn>
              <a:cxn ang="0">
                <a:pos x="csX432" y="csY432"/>
              </a:cxn>
              <a:cxn ang="0">
                <a:pos x="csX433" y="csY433"/>
              </a:cxn>
              <a:cxn ang="0">
                <a:pos x="csX434" y="csY434"/>
              </a:cxn>
              <a:cxn ang="0">
                <a:pos x="csX435" y="csY435"/>
              </a:cxn>
              <a:cxn ang="0">
                <a:pos x="csX436" y="csY436"/>
              </a:cxn>
              <a:cxn ang="0">
                <a:pos x="csX437" y="csY437"/>
              </a:cxn>
              <a:cxn ang="0">
                <a:pos x="csX438" y="csY438"/>
              </a:cxn>
              <a:cxn ang="0">
                <a:pos x="csX439" y="csY439"/>
              </a:cxn>
              <a:cxn ang="0">
                <a:pos x="csX440" y="csY440"/>
              </a:cxn>
              <a:cxn ang="0">
                <a:pos x="csX441" y="csY441"/>
              </a:cxn>
              <a:cxn ang="0">
                <a:pos x="csX442" y="csY442"/>
              </a:cxn>
              <a:cxn ang="0">
                <a:pos x="csX443" y="csY443"/>
              </a:cxn>
              <a:cxn ang="0">
                <a:pos x="csX444" y="csY444"/>
              </a:cxn>
              <a:cxn ang="0">
                <a:pos x="csX445" y="csY445"/>
              </a:cxn>
              <a:cxn ang="0">
                <a:pos x="csX446" y="csY446"/>
              </a:cxn>
              <a:cxn ang="0">
                <a:pos x="csX447" y="csY447"/>
              </a:cxn>
              <a:cxn ang="0">
                <a:pos x="csX448" y="csY448"/>
              </a:cxn>
              <a:cxn ang="0">
                <a:pos x="csX449" y="csY449"/>
              </a:cxn>
              <a:cxn ang="0">
                <a:pos x="csX450" y="csY450"/>
              </a:cxn>
              <a:cxn ang="0">
                <a:pos x="csX451" y="csY451"/>
              </a:cxn>
              <a:cxn ang="0">
                <a:pos x="csX452" y="csY452"/>
              </a:cxn>
              <a:cxn ang="0">
                <a:pos x="csX453" y="csY453"/>
              </a:cxn>
              <a:cxn ang="0">
                <a:pos x="csX454" y="csY454"/>
              </a:cxn>
              <a:cxn ang="0">
                <a:pos x="csX455" y="csY455"/>
              </a:cxn>
              <a:cxn ang="0">
                <a:pos x="csX456" y="csY456"/>
              </a:cxn>
              <a:cxn ang="0">
                <a:pos x="csX457" y="csY457"/>
              </a:cxn>
              <a:cxn ang="0">
                <a:pos x="csX458" y="csY458"/>
              </a:cxn>
              <a:cxn ang="0">
                <a:pos x="csX459" y="csY459"/>
              </a:cxn>
              <a:cxn ang="0">
                <a:pos x="csX460" y="csY460"/>
              </a:cxn>
              <a:cxn ang="0">
                <a:pos x="csX461" y="csY461"/>
              </a:cxn>
              <a:cxn ang="0">
                <a:pos x="csX462" y="csY462"/>
              </a:cxn>
              <a:cxn ang="0">
                <a:pos x="csX463" y="csY463"/>
              </a:cxn>
              <a:cxn ang="0">
                <a:pos x="csX464" y="csY464"/>
              </a:cxn>
              <a:cxn ang="0">
                <a:pos x="csX465" y="csY465"/>
              </a:cxn>
              <a:cxn ang="0">
                <a:pos x="csX466" y="csY466"/>
              </a:cxn>
              <a:cxn ang="0">
                <a:pos x="csX467" y="csY467"/>
              </a:cxn>
              <a:cxn ang="0">
                <a:pos x="csX468" y="csY468"/>
              </a:cxn>
              <a:cxn ang="0">
                <a:pos x="csX469" y="csY469"/>
              </a:cxn>
              <a:cxn ang="0">
                <a:pos x="csX470" y="csY470"/>
              </a:cxn>
              <a:cxn ang="0">
                <a:pos x="csX471" y="csY471"/>
              </a:cxn>
              <a:cxn ang="0">
                <a:pos x="csX472" y="csY472"/>
              </a:cxn>
              <a:cxn ang="0">
                <a:pos x="csX473" y="csY473"/>
              </a:cxn>
              <a:cxn ang="0">
                <a:pos x="csX474" y="csY474"/>
              </a:cxn>
              <a:cxn ang="0">
                <a:pos x="csX475" y="csY475"/>
              </a:cxn>
              <a:cxn ang="0">
                <a:pos x="csX476" y="csY476"/>
              </a:cxn>
              <a:cxn ang="0">
                <a:pos x="csX477" y="csY477"/>
              </a:cxn>
              <a:cxn ang="0">
                <a:pos x="csX478" y="csY478"/>
              </a:cxn>
              <a:cxn ang="0">
                <a:pos x="csX479" y="csY479"/>
              </a:cxn>
              <a:cxn ang="0">
                <a:pos x="csX480" y="csY480"/>
              </a:cxn>
              <a:cxn ang="0">
                <a:pos x="csX481" y="csY481"/>
              </a:cxn>
              <a:cxn ang="0">
                <a:pos x="csX482" y="csY482"/>
              </a:cxn>
              <a:cxn ang="0">
                <a:pos x="csX483" y="csY483"/>
              </a:cxn>
              <a:cxn ang="0">
                <a:pos x="csX484" y="csY484"/>
              </a:cxn>
              <a:cxn ang="0">
                <a:pos x="csX485" y="csY485"/>
              </a:cxn>
              <a:cxn ang="0">
                <a:pos x="csX486" y="csY486"/>
              </a:cxn>
              <a:cxn ang="0">
                <a:pos x="csX487" y="csY487"/>
              </a:cxn>
              <a:cxn ang="0">
                <a:pos x="csX488" y="csY488"/>
              </a:cxn>
              <a:cxn ang="0">
                <a:pos x="csX489" y="csY489"/>
              </a:cxn>
              <a:cxn ang="0">
                <a:pos x="csX490" y="csY490"/>
              </a:cxn>
              <a:cxn ang="0">
                <a:pos x="csX491" y="csY491"/>
              </a:cxn>
              <a:cxn ang="0">
                <a:pos x="csX492" y="csY492"/>
              </a:cxn>
              <a:cxn ang="0">
                <a:pos x="csX493" y="csY493"/>
              </a:cxn>
              <a:cxn ang="0">
                <a:pos x="csX494" y="csY494"/>
              </a:cxn>
              <a:cxn ang="0">
                <a:pos x="csX495" y="csY495"/>
              </a:cxn>
              <a:cxn ang="0">
                <a:pos x="csX496" y="csY496"/>
              </a:cxn>
              <a:cxn ang="0">
                <a:pos x="csX497" y="csY497"/>
              </a:cxn>
              <a:cxn ang="0">
                <a:pos x="csX498" y="csY498"/>
              </a:cxn>
              <a:cxn ang="0">
                <a:pos x="csX499" y="csY499"/>
              </a:cxn>
              <a:cxn ang="0">
                <a:pos x="csX500" y="csY500"/>
              </a:cxn>
              <a:cxn ang="0">
                <a:pos x="csX501" y="csY501"/>
              </a:cxn>
              <a:cxn ang="0">
                <a:pos x="csX502" y="csY502"/>
              </a:cxn>
              <a:cxn ang="0">
                <a:pos x="csX503" y="csY503"/>
              </a:cxn>
              <a:cxn ang="0">
                <a:pos x="csX504" y="csY504"/>
              </a:cxn>
              <a:cxn ang="0">
                <a:pos x="csX505" y="csY505"/>
              </a:cxn>
              <a:cxn ang="0">
                <a:pos x="csX506" y="csY506"/>
              </a:cxn>
              <a:cxn ang="0">
                <a:pos x="csX507" y="csY507"/>
              </a:cxn>
              <a:cxn ang="0">
                <a:pos x="csX508" y="csY508"/>
              </a:cxn>
              <a:cxn ang="0">
                <a:pos x="csX509" y="csY509"/>
              </a:cxn>
              <a:cxn ang="0">
                <a:pos x="csX510" y="csY510"/>
              </a:cxn>
              <a:cxn ang="0">
                <a:pos x="csX511" y="csY511"/>
              </a:cxn>
              <a:cxn ang="0">
                <a:pos x="csX512" y="csY512"/>
              </a:cxn>
              <a:cxn ang="0">
                <a:pos x="csX513" y="csY513"/>
              </a:cxn>
              <a:cxn ang="0">
                <a:pos x="csX514" y="csY514"/>
              </a:cxn>
              <a:cxn ang="0">
                <a:pos x="csX515" y="csY515"/>
              </a:cxn>
              <a:cxn ang="0">
                <a:pos x="csX516" y="csY516"/>
              </a:cxn>
              <a:cxn ang="0">
                <a:pos x="csX517" y="csY517"/>
              </a:cxn>
              <a:cxn ang="0">
                <a:pos x="csX518" y="csY518"/>
              </a:cxn>
              <a:cxn ang="0">
                <a:pos x="csX519" y="csY519"/>
              </a:cxn>
              <a:cxn ang="0">
                <a:pos x="csX520" y="csY520"/>
              </a:cxn>
              <a:cxn ang="0">
                <a:pos x="csX521" y="csY521"/>
              </a:cxn>
              <a:cxn ang="0">
                <a:pos x="csX522" y="csY522"/>
              </a:cxn>
              <a:cxn ang="0">
                <a:pos x="csX523" y="csY523"/>
              </a:cxn>
              <a:cxn ang="0">
                <a:pos x="csX524" y="csY524"/>
              </a:cxn>
              <a:cxn ang="0">
                <a:pos x="csX525" y="csY525"/>
              </a:cxn>
              <a:cxn ang="0">
                <a:pos x="csX526" y="csY526"/>
              </a:cxn>
              <a:cxn ang="0">
                <a:pos x="csX527" y="csY527"/>
              </a:cxn>
              <a:cxn ang="0">
                <a:pos x="csX528" y="csY528"/>
              </a:cxn>
              <a:cxn ang="0">
                <a:pos x="csX529" y="csY529"/>
              </a:cxn>
              <a:cxn ang="0">
                <a:pos x="csX530" y="csY530"/>
              </a:cxn>
              <a:cxn ang="0">
                <a:pos x="csX531" y="csY531"/>
              </a:cxn>
              <a:cxn ang="0">
                <a:pos x="csX532" y="csY532"/>
              </a:cxn>
              <a:cxn ang="0">
                <a:pos x="csX533" y="csY533"/>
              </a:cxn>
              <a:cxn ang="0">
                <a:pos x="csX534" y="csY534"/>
              </a:cxn>
              <a:cxn ang="0">
                <a:pos x="csX535" y="csY535"/>
              </a:cxn>
              <a:cxn ang="0">
                <a:pos x="csX536" y="csY536"/>
              </a:cxn>
              <a:cxn ang="0">
                <a:pos x="csX537" y="csY537"/>
              </a:cxn>
              <a:cxn ang="0">
                <a:pos x="csX538" y="csY538"/>
              </a:cxn>
              <a:cxn ang="0">
                <a:pos x="csX539" y="csY539"/>
              </a:cxn>
              <a:cxn ang="0">
                <a:pos x="csX540" y="csY540"/>
              </a:cxn>
              <a:cxn ang="0">
                <a:pos x="csX541" y="csY541"/>
              </a:cxn>
              <a:cxn ang="0">
                <a:pos x="csX542" y="csY542"/>
              </a:cxn>
              <a:cxn ang="0">
                <a:pos x="csX543" y="csY543"/>
              </a:cxn>
              <a:cxn ang="0">
                <a:pos x="csX544" y="csY544"/>
              </a:cxn>
              <a:cxn ang="0">
                <a:pos x="csX545" y="csY545"/>
              </a:cxn>
              <a:cxn ang="0">
                <a:pos x="csX546" y="csY546"/>
              </a:cxn>
              <a:cxn ang="0">
                <a:pos x="csX547" y="csY547"/>
              </a:cxn>
              <a:cxn ang="0">
                <a:pos x="csX548" y="csY548"/>
              </a:cxn>
              <a:cxn ang="0">
                <a:pos x="csX549" y="csY549"/>
              </a:cxn>
              <a:cxn ang="0">
                <a:pos x="csX550" y="csY550"/>
              </a:cxn>
              <a:cxn ang="0">
                <a:pos x="csX551" y="csY551"/>
              </a:cxn>
              <a:cxn ang="0">
                <a:pos x="csX552" y="csY552"/>
              </a:cxn>
              <a:cxn ang="0">
                <a:pos x="csX553" y="csY553"/>
              </a:cxn>
              <a:cxn ang="0">
                <a:pos x="csX554" y="csY554"/>
              </a:cxn>
              <a:cxn ang="0">
                <a:pos x="csX555" y="csY555"/>
              </a:cxn>
              <a:cxn ang="0">
                <a:pos x="csX556" y="csY556"/>
              </a:cxn>
              <a:cxn ang="0">
                <a:pos x="csX557" y="csY557"/>
              </a:cxn>
              <a:cxn ang="0">
                <a:pos x="csX558" y="csY558"/>
              </a:cxn>
              <a:cxn ang="0">
                <a:pos x="csX559" y="csY559"/>
              </a:cxn>
              <a:cxn ang="0">
                <a:pos x="csX560" y="csY560"/>
              </a:cxn>
              <a:cxn ang="0">
                <a:pos x="csX561" y="csY561"/>
              </a:cxn>
              <a:cxn ang="0">
                <a:pos x="csX562" y="csY562"/>
              </a:cxn>
              <a:cxn ang="0">
                <a:pos x="csX563" y="csY563"/>
              </a:cxn>
              <a:cxn ang="0">
                <a:pos x="csX564" y="csY564"/>
              </a:cxn>
              <a:cxn ang="0">
                <a:pos x="csX565" y="csY565"/>
              </a:cxn>
              <a:cxn ang="0">
                <a:pos x="csX566" y="csY566"/>
              </a:cxn>
              <a:cxn ang="0">
                <a:pos x="csX567" y="csY567"/>
              </a:cxn>
              <a:cxn ang="0">
                <a:pos x="csX568" y="csY568"/>
              </a:cxn>
              <a:cxn ang="0">
                <a:pos x="csX569" y="csY569"/>
              </a:cxn>
              <a:cxn ang="0">
                <a:pos x="csX570" y="csY570"/>
              </a:cxn>
              <a:cxn ang="0">
                <a:pos x="csX571" y="csY571"/>
              </a:cxn>
              <a:cxn ang="0">
                <a:pos x="csX572" y="csY572"/>
              </a:cxn>
              <a:cxn ang="0">
                <a:pos x="csX573" y="csY573"/>
              </a:cxn>
              <a:cxn ang="0">
                <a:pos x="csX574" y="csY574"/>
              </a:cxn>
              <a:cxn ang="0">
                <a:pos x="csX575" y="csY575"/>
              </a:cxn>
              <a:cxn ang="0">
                <a:pos x="csX576" y="csY576"/>
              </a:cxn>
              <a:cxn ang="0">
                <a:pos x="csX577" y="csY577"/>
              </a:cxn>
              <a:cxn ang="0">
                <a:pos x="csX578" y="csY578"/>
              </a:cxn>
              <a:cxn ang="0">
                <a:pos x="csX579" y="csY579"/>
              </a:cxn>
              <a:cxn ang="0">
                <a:pos x="csX580" y="csY580"/>
              </a:cxn>
              <a:cxn ang="0">
                <a:pos x="csX581" y="csY581"/>
              </a:cxn>
              <a:cxn ang="0">
                <a:pos x="csX582" y="csY582"/>
              </a:cxn>
              <a:cxn ang="0">
                <a:pos x="csX583" y="csY583"/>
              </a:cxn>
              <a:cxn ang="0">
                <a:pos x="csX584" y="csY584"/>
              </a:cxn>
              <a:cxn ang="0">
                <a:pos x="csX585" y="csY585"/>
              </a:cxn>
              <a:cxn ang="0">
                <a:pos x="csX586" y="csY586"/>
              </a:cxn>
              <a:cxn ang="0">
                <a:pos x="csX587" y="csY587"/>
              </a:cxn>
              <a:cxn ang="0">
                <a:pos x="csX588" y="csY588"/>
              </a:cxn>
              <a:cxn ang="0">
                <a:pos x="csX589" y="csY589"/>
              </a:cxn>
              <a:cxn ang="0">
                <a:pos x="csX590" y="csY590"/>
              </a:cxn>
              <a:cxn ang="0">
                <a:pos x="csX591" y="csY591"/>
              </a:cxn>
              <a:cxn ang="0">
                <a:pos x="csX592" y="csY592"/>
              </a:cxn>
              <a:cxn ang="0">
                <a:pos x="csX593" y="csY593"/>
              </a:cxn>
              <a:cxn ang="0">
                <a:pos x="csX594" y="csY594"/>
              </a:cxn>
              <a:cxn ang="0">
                <a:pos x="csX595" y="csY595"/>
              </a:cxn>
              <a:cxn ang="0">
                <a:pos x="csX596" y="csY596"/>
              </a:cxn>
              <a:cxn ang="0">
                <a:pos x="csX597" y="csY597"/>
              </a:cxn>
              <a:cxn ang="0">
                <a:pos x="csX598" y="csY598"/>
              </a:cxn>
              <a:cxn ang="0">
                <a:pos x="csX599" y="csY599"/>
              </a:cxn>
              <a:cxn ang="0">
                <a:pos x="csX600" y="csY600"/>
              </a:cxn>
              <a:cxn ang="0">
                <a:pos x="csX601" y="csY601"/>
              </a:cxn>
              <a:cxn ang="0">
                <a:pos x="csX602" y="csY602"/>
              </a:cxn>
              <a:cxn ang="0">
                <a:pos x="csX603" y="csY603"/>
              </a:cxn>
              <a:cxn ang="0">
                <a:pos x="csX604" y="csY604"/>
              </a:cxn>
              <a:cxn ang="0">
                <a:pos x="csX605" y="csY605"/>
              </a:cxn>
              <a:cxn ang="0">
                <a:pos x="csX606" y="csY606"/>
              </a:cxn>
              <a:cxn ang="0">
                <a:pos x="csX607" y="csY607"/>
              </a:cxn>
              <a:cxn ang="0">
                <a:pos x="csX608" y="csY608"/>
              </a:cxn>
              <a:cxn ang="0">
                <a:pos x="csX609" y="csY609"/>
              </a:cxn>
              <a:cxn ang="0">
                <a:pos x="csX610" y="csY610"/>
              </a:cxn>
              <a:cxn ang="0">
                <a:pos x="csX611" y="csY611"/>
              </a:cxn>
              <a:cxn ang="0">
                <a:pos x="csX612" y="csY612"/>
              </a:cxn>
              <a:cxn ang="0">
                <a:pos x="csX613" y="csY613"/>
              </a:cxn>
              <a:cxn ang="0">
                <a:pos x="csX614" y="csY614"/>
              </a:cxn>
              <a:cxn ang="0">
                <a:pos x="csX615" y="csY615"/>
              </a:cxn>
              <a:cxn ang="0">
                <a:pos x="csX616" y="csY616"/>
              </a:cxn>
              <a:cxn ang="0">
                <a:pos x="csX617" y="csY617"/>
              </a:cxn>
              <a:cxn ang="0">
                <a:pos x="csX618" y="csY618"/>
              </a:cxn>
              <a:cxn ang="0">
                <a:pos x="csX619" y="csY619"/>
              </a:cxn>
              <a:cxn ang="0">
                <a:pos x="csX620" y="csY620"/>
              </a:cxn>
              <a:cxn ang="0">
                <a:pos x="csX621" y="csY621"/>
              </a:cxn>
              <a:cxn ang="0">
                <a:pos x="csX622" y="csY622"/>
              </a:cxn>
              <a:cxn ang="0">
                <a:pos x="csX623" y="csY623"/>
              </a:cxn>
              <a:cxn ang="0">
                <a:pos x="csX624" y="csY624"/>
              </a:cxn>
              <a:cxn ang="0">
                <a:pos x="csX625" y="csY625"/>
              </a:cxn>
              <a:cxn ang="0">
                <a:pos x="csX626" y="csY626"/>
              </a:cxn>
              <a:cxn ang="0">
                <a:pos x="csX627" y="csY627"/>
              </a:cxn>
              <a:cxn ang="0">
                <a:pos x="csX628" y="csY628"/>
              </a:cxn>
              <a:cxn ang="0">
                <a:pos x="csX629" y="csY629"/>
              </a:cxn>
              <a:cxn ang="0">
                <a:pos x="csX630" y="csY630"/>
              </a:cxn>
              <a:cxn ang="0">
                <a:pos x="csX631" y="csY631"/>
              </a:cxn>
              <a:cxn ang="0">
                <a:pos x="csX632" y="csY632"/>
              </a:cxn>
              <a:cxn ang="0">
                <a:pos x="csX633" y="csY633"/>
              </a:cxn>
              <a:cxn ang="0">
                <a:pos x="csX634" y="csY634"/>
              </a:cxn>
              <a:cxn ang="0">
                <a:pos x="csX635" y="csY635"/>
              </a:cxn>
              <a:cxn ang="0">
                <a:pos x="csX636" y="csY636"/>
              </a:cxn>
              <a:cxn ang="0">
                <a:pos x="csX637" y="csY637"/>
              </a:cxn>
              <a:cxn ang="0">
                <a:pos x="csX638" y="csY638"/>
              </a:cxn>
              <a:cxn ang="0">
                <a:pos x="csX639" y="csY639"/>
              </a:cxn>
              <a:cxn ang="0">
                <a:pos x="csX640" y="csY640"/>
              </a:cxn>
              <a:cxn ang="0">
                <a:pos x="csX641" y="csY641"/>
              </a:cxn>
              <a:cxn ang="0">
                <a:pos x="csX642" y="csY642"/>
              </a:cxn>
              <a:cxn ang="0">
                <a:pos x="csX643" y="csY643"/>
              </a:cxn>
              <a:cxn ang="0">
                <a:pos x="csX644" y="csY644"/>
              </a:cxn>
              <a:cxn ang="0">
                <a:pos x="csX645" y="csY645"/>
              </a:cxn>
              <a:cxn ang="0">
                <a:pos x="csX646" y="csY646"/>
              </a:cxn>
              <a:cxn ang="0">
                <a:pos x="csX647" y="csY647"/>
              </a:cxn>
              <a:cxn ang="0">
                <a:pos x="csX648" y="csY648"/>
              </a:cxn>
              <a:cxn ang="0">
                <a:pos x="csX649" y="csY649"/>
              </a:cxn>
              <a:cxn ang="0">
                <a:pos x="csX650" y="csY650"/>
              </a:cxn>
              <a:cxn ang="0">
                <a:pos x="csX651" y="csY651"/>
              </a:cxn>
              <a:cxn ang="0">
                <a:pos x="csX652" y="csY652"/>
              </a:cxn>
              <a:cxn ang="0">
                <a:pos x="csX653" y="csY653"/>
              </a:cxn>
              <a:cxn ang="0">
                <a:pos x="csX654" y="csY654"/>
              </a:cxn>
              <a:cxn ang="0">
                <a:pos x="csX655" y="csY655"/>
              </a:cxn>
              <a:cxn ang="0">
                <a:pos x="csX656" y="csY656"/>
              </a:cxn>
              <a:cxn ang="0">
                <a:pos x="csX657" y="csY657"/>
              </a:cxn>
              <a:cxn ang="0">
                <a:pos x="csX658" y="csY658"/>
              </a:cxn>
              <a:cxn ang="0">
                <a:pos x="csX659" y="csY659"/>
              </a:cxn>
              <a:cxn ang="0">
                <a:pos x="csX660" y="csY660"/>
              </a:cxn>
              <a:cxn ang="0">
                <a:pos x="csX661" y="csY661"/>
              </a:cxn>
              <a:cxn ang="0">
                <a:pos x="csX662" y="csY662"/>
              </a:cxn>
              <a:cxn ang="0">
                <a:pos x="csX663" y="csY663"/>
              </a:cxn>
              <a:cxn ang="0">
                <a:pos x="csX664" y="csY664"/>
              </a:cxn>
              <a:cxn ang="0">
                <a:pos x="csX665" y="csY665"/>
              </a:cxn>
              <a:cxn ang="0">
                <a:pos x="csX666" y="csY666"/>
              </a:cxn>
              <a:cxn ang="0">
                <a:pos x="csX667" y="csY667"/>
              </a:cxn>
              <a:cxn ang="0">
                <a:pos x="csX668" y="csY668"/>
              </a:cxn>
              <a:cxn ang="0">
                <a:pos x="csX669" y="csY669"/>
              </a:cxn>
              <a:cxn ang="0">
                <a:pos x="csX670" y="csY670"/>
              </a:cxn>
              <a:cxn ang="0">
                <a:pos x="csX671" y="csY671"/>
              </a:cxn>
              <a:cxn ang="0">
                <a:pos x="csX672" y="csY672"/>
              </a:cxn>
              <a:cxn ang="0">
                <a:pos x="csX673" y="csY673"/>
              </a:cxn>
              <a:cxn ang="0">
                <a:pos x="csX674" y="csY674"/>
              </a:cxn>
              <a:cxn ang="0">
                <a:pos x="csX675" y="csY675"/>
              </a:cxn>
              <a:cxn ang="0">
                <a:pos x="csX676" y="csY676"/>
              </a:cxn>
              <a:cxn ang="0">
                <a:pos x="csX677" y="csY677"/>
              </a:cxn>
              <a:cxn ang="0">
                <a:pos x="csX678" y="csY678"/>
              </a:cxn>
              <a:cxn ang="0">
                <a:pos x="csX679" y="csY679"/>
              </a:cxn>
              <a:cxn ang="0">
                <a:pos x="csX680" y="csY680"/>
              </a:cxn>
              <a:cxn ang="0">
                <a:pos x="csX681" y="csY681"/>
              </a:cxn>
              <a:cxn ang="0">
                <a:pos x="csX682" y="csY682"/>
              </a:cxn>
              <a:cxn ang="0">
                <a:pos x="csX683" y="csY683"/>
              </a:cxn>
              <a:cxn ang="0">
                <a:pos x="csX684" y="csY684"/>
              </a:cxn>
              <a:cxn ang="0">
                <a:pos x="csX685" y="csY685"/>
              </a:cxn>
              <a:cxn ang="0">
                <a:pos x="csX686" y="csY686"/>
              </a:cxn>
              <a:cxn ang="0">
                <a:pos x="csX687" y="csY687"/>
              </a:cxn>
              <a:cxn ang="0">
                <a:pos x="csX688" y="csY688"/>
              </a:cxn>
              <a:cxn ang="0">
                <a:pos x="csX689" y="csY689"/>
              </a:cxn>
              <a:cxn ang="0">
                <a:pos x="csX690" y="csY690"/>
              </a:cxn>
              <a:cxn ang="0">
                <a:pos x="csX691" y="csY691"/>
              </a:cxn>
              <a:cxn ang="0">
                <a:pos x="csX692" y="csY692"/>
              </a:cxn>
              <a:cxn ang="0">
                <a:pos x="csX693" y="csY693"/>
              </a:cxn>
              <a:cxn ang="0">
                <a:pos x="csX694" y="csY694"/>
              </a:cxn>
              <a:cxn ang="0">
                <a:pos x="csX695" y="csY695"/>
              </a:cxn>
              <a:cxn ang="0">
                <a:pos x="csX696" y="csY696"/>
              </a:cxn>
              <a:cxn ang="0">
                <a:pos x="csX697" y="csY697"/>
              </a:cxn>
              <a:cxn ang="0">
                <a:pos x="csX698" y="csY698"/>
              </a:cxn>
              <a:cxn ang="0">
                <a:pos x="csX699" y="csY699"/>
              </a:cxn>
              <a:cxn ang="0">
                <a:pos x="csX700" y="csY700"/>
              </a:cxn>
              <a:cxn ang="0">
                <a:pos x="csX701" y="csY701"/>
              </a:cxn>
              <a:cxn ang="0">
                <a:pos x="csX702" y="csY702"/>
              </a:cxn>
              <a:cxn ang="0">
                <a:pos x="csX703" y="csY703"/>
              </a:cxn>
              <a:cxn ang="0">
                <a:pos x="csX704" y="csY704"/>
              </a:cxn>
              <a:cxn ang="0">
                <a:pos x="csX705" y="csY705"/>
              </a:cxn>
              <a:cxn ang="0">
                <a:pos x="csX706" y="csY706"/>
              </a:cxn>
              <a:cxn ang="0">
                <a:pos x="csX707" y="csY707"/>
              </a:cxn>
              <a:cxn ang="0">
                <a:pos x="csX708" y="csY708"/>
              </a:cxn>
              <a:cxn ang="0">
                <a:pos x="csX709" y="csY709"/>
              </a:cxn>
              <a:cxn ang="0">
                <a:pos x="csX710" y="csY710"/>
              </a:cxn>
              <a:cxn ang="0">
                <a:pos x="csX711" y="csY711"/>
              </a:cxn>
              <a:cxn ang="0">
                <a:pos x="csX712" y="csY712"/>
              </a:cxn>
              <a:cxn ang="0">
                <a:pos x="csX713" y="csY713"/>
              </a:cxn>
              <a:cxn ang="0">
                <a:pos x="csX714" y="csY714"/>
              </a:cxn>
              <a:cxn ang="0">
                <a:pos x="csX715" y="csY715"/>
              </a:cxn>
              <a:cxn ang="0">
                <a:pos x="csX716" y="csY716"/>
              </a:cxn>
              <a:cxn ang="0">
                <a:pos x="csX717" y="csY717"/>
              </a:cxn>
              <a:cxn ang="0">
                <a:pos x="csX718" y="csY718"/>
              </a:cxn>
              <a:cxn ang="0">
                <a:pos x="csX719" y="csY719"/>
              </a:cxn>
              <a:cxn ang="0">
                <a:pos x="csX720" y="csY720"/>
              </a:cxn>
              <a:cxn ang="0">
                <a:pos x="csX721" y="csY721"/>
              </a:cxn>
              <a:cxn ang="0">
                <a:pos x="csX722" y="csY722"/>
              </a:cxn>
              <a:cxn ang="0">
                <a:pos x="csX723" y="csY723"/>
              </a:cxn>
              <a:cxn ang="0">
                <a:pos x="csX724" y="csY724"/>
              </a:cxn>
              <a:cxn ang="0">
                <a:pos x="csX725" y="csY725"/>
              </a:cxn>
              <a:cxn ang="0">
                <a:pos x="csX726" y="csY726"/>
              </a:cxn>
              <a:cxn ang="0">
                <a:pos x="csX727" y="csY727"/>
              </a:cxn>
              <a:cxn ang="0">
                <a:pos x="csX728" y="csY728"/>
              </a:cxn>
              <a:cxn ang="0">
                <a:pos x="csX729" y="csY729"/>
              </a:cxn>
              <a:cxn ang="0">
                <a:pos x="csX730" y="csY730"/>
              </a:cxn>
              <a:cxn ang="0">
                <a:pos x="csX731" y="csY731"/>
              </a:cxn>
              <a:cxn ang="0">
                <a:pos x="csX732" y="csY732"/>
              </a:cxn>
              <a:cxn ang="0">
                <a:pos x="csX733" y="csY733"/>
              </a:cxn>
              <a:cxn ang="0">
                <a:pos x="csX734" y="csY734"/>
              </a:cxn>
              <a:cxn ang="0">
                <a:pos x="csX735" y="csY735"/>
              </a:cxn>
              <a:cxn ang="0">
                <a:pos x="csX736" y="csY736"/>
              </a:cxn>
              <a:cxn ang="0">
                <a:pos x="csX737" y="csY737"/>
              </a:cxn>
              <a:cxn ang="0">
                <a:pos x="csX738" y="csY738"/>
              </a:cxn>
              <a:cxn ang="0">
                <a:pos x="csX739" y="csY739"/>
              </a:cxn>
              <a:cxn ang="0">
                <a:pos x="csX740" y="csY740"/>
              </a:cxn>
              <a:cxn ang="0">
                <a:pos x="csX741" y="csY741"/>
              </a:cxn>
              <a:cxn ang="0">
                <a:pos x="csX742" y="csY742"/>
              </a:cxn>
              <a:cxn ang="0">
                <a:pos x="csX743" y="csY743"/>
              </a:cxn>
              <a:cxn ang="0">
                <a:pos x="csX744" y="csY744"/>
              </a:cxn>
              <a:cxn ang="0">
                <a:pos x="csX745" y="csY745"/>
              </a:cxn>
              <a:cxn ang="0">
                <a:pos x="csX746" y="csY746"/>
              </a:cxn>
              <a:cxn ang="0">
                <a:pos x="csX747" y="csY747"/>
              </a:cxn>
              <a:cxn ang="0">
                <a:pos x="csX748" y="csY748"/>
              </a:cxn>
              <a:cxn ang="0">
                <a:pos x="csX749" y="csY749"/>
              </a:cxn>
              <a:cxn ang="0">
                <a:pos x="csX750" y="csY750"/>
              </a:cxn>
              <a:cxn ang="0">
                <a:pos x="csX751" y="csY751"/>
              </a:cxn>
              <a:cxn ang="0">
                <a:pos x="csX752" y="csY752"/>
              </a:cxn>
              <a:cxn ang="0">
                <a:pos x="csX753" y="csY753"/>
              </a:cxn>
              <a:cxn ang="0">
                <a:pos x="csX754" y="csY754"/>
              </a:cxn>
              <a:cxn ang="0">
                <a:pos x="csX755" y="csY755"/>
              </a:cxn>
              <a:cxn ang="0">
                <a:pos x="csX756" y="csY756"/>
              </a:cxn>
              <a:cxn ang="0">
                <a:pos x="csX757" y="csY757"/>
              </a:cxn>
              <a:cxn ang="0">
                <a:pos x="csX758" y="csY758"/>
              </a:cxn>
              <a:cxn ang="0">
                <a:pos x="csX759" y="csY759"/>
              </a:cxn>
              <a:cxn ang="0">
                <a:pos x="csX760" y="csY760"/>
              </a:cxn>
              <a:cxn ang="0">
                <a:pos x="csX761" y="csY761"/>
              </a:cxn>
              <a:cxn ang="0">
                <a:pos x="csX762" y="csY762"/>
              </a:cxn>
              <a:cxn ang="0">
                <a:pos x="csX763" y="csY763"/>
              </a:cxn>
              <a:cxn ang="0">
                <a:pos x="csX764" y="csY764"/>
              </a:cxn>
              <a:cxn ang="0">
                <a:pos x="csX765" y="csY765"/>
              </a:cxn>
              <a:cxn ang="0">
                <a:pos x="csX766" y="csY766"/>
              </a:cxn>
              <a:cxn ang="0">
                <a:pos x="csX767" y="csY767"/>
              </a:cxn>
              <a:cxn ang="0">
                <a:pos x="csX768" y="csY768"/>
              </a:cxn>
              <a:cxn ang="0">
                <a:pos x="csX769" y="csY769"/>
              </a:cxn>
              <a:cxn ang="0">
                <a:pos x="csX770" y="csY770"/>
              </a:cxn>
              <a:cxn ang="0">
                <a:pos x="csX771" y="csY771"/>
              </a:cxn>
              <a:cxn ang="0">
                <a:pos x="csX772" y="csY772"/>
              </a:cxn>
              <a:cxn ang="0">
                <a:pos x="csX773" y="csY773"/>
              </a:cxn>
              <a:cxn ang="0">
                <a:pos x="csX774" y="csY774"/>
              </a:cxn>
              <a:cxn ang="0">
                <a:pos x="csX775" y="csY775"/>
              </a:cxn>
              <a:cxn ang="0">
                <a:pos x="csX776" y="csY776"/>
              </a:cxn>
              <a:cxn ang="0">
                <a:pos x="csX777" y="csY777"/>
              </a:cxn>
              <a:cxn ang="0">
                <a:pos x="csX778" y="csY778"/>
              </a:cxn>
              <a:cxn ang="0">
                <a:pos x="csX779" y="csY779"/>
              </a:cxn>
              <a:cxn ang="0">
                <a:pos x="csX780" y="csY780"/>
              </a:cxn>
              <a:cxn ang="0">
                <a:pos x="csX781" y="csY781"/>
              </a:cxn>
              <a:cxn ang="0">
                <a:pos x="csX782" y="csY782"/>
              </a:cxn>
              <a:cxn ang="0">
                <a:pos x="csX783" y="csY783"/>
              </a:cxn>
              <a:cxn ang="0">
                <a:pos x="csX784" y="csY784"/>
              </a:cxn>
              <a:cxn ang="0">
                <a:pos x="csX785" y="csY785"/>
              </a:cxn>
              <a:cxn ang="0">
                <a:pos x="csX786" y="csY786"/>
              </a:cxn>
              <a:cxn ang="0">
                <a:pos x="csX787" y="csY787"/>
              </a:cxn>
              <a:cxn ang="0">
                <a:pos x="csX788" y="csY788"/>
              </a:cxn>
              <a:cxn ang="0">
                <a:pos x="csX789" y="csY789"/>
              </a:cxn>
              <a:cxn ang="0">
                <a:pos x="csX790" y="csY790"/>
              </a:cxn>
              <a:cxn ang="0">
                <a:pos x="csX791" y="csY791"/>
              </a:cxn>
              <a:cxn ang="0">
                <a:pos x="csX792" y="csY792"/>
              </a:cxn>
              <a:cxn ang="0">
                <a:pos x="csX793" y="csY793"/>
              </a:cxn>
              <a:cxn ang="0">
                <a:pos x="csX794" y="csY794"/>
              </a:cxn>
              <a:cxn ang="0">
                <a:pos x="csX795" y="csY795"/>
              </a:cxn>
              <a:cxn ang="0">
                <a:pos x="csX796" y="csY796"/>
              </a:cxn>
              <a:cxn ang="0">
                <a:pos x="csX797" y="csY797"/>
              </a:cxn>
              <a:cxn ang="0">
                <a:pos x="csX798" y="csY798"/>
              </a:cxn>
              <a:cxn ang="0">
                <a:pos x="csX799" y="csY799"/>
              </a:cxn>
              <a:cxn ang="0">
                <a:pos x="csX800" y="csY800"/>
              </a:cxn>
              <a:cxn ang="0">
                <a:pos x="csX801" y="csY801"/>
              </a:cxn>
              <a:cxn ang="0">
                <a:pos x="csX802" y="csY802"/>
              </a:cxn>
              <a:cxn ang="0">
                <a:pos x="csX803" y="csY803"/>
              </a:cxn>
              <a:cxn ang="0">
                <a:pos x="csX804" y="csY804"/>
              </a:cxn>
              <a:cxn ang="0">
                <a:pos x="csX805" y="csY805"/>
              </a:cxn>
              <a:cxn ang="0">
                <a:pos x="csX806" y="csY806"/>
              </a:cxn>
              <a:cxn ang="0">
                <a:pos x="csX807" y="csY807"/>
              </a:cxn>
              <a:cxn ang="0">
                <a:pos x="csX808" y="csY808"/>
              </a:cxn>
              <a:cxn ang="0">
                <a:pos x="csX809" y="csY809"/>
              </a:cxn>
              <a:cxn ang="0">
                <a:pos x="csX810" y="csY810"/>
              </a:cxn>
              <a:cxn ang="0">
                <a:pos x="csX811" y="csY811"/>
              </a:cxn>
              <a:cxn ang="0">
                <a:pos x="csX812" y="csY812"/>
              </a:cxn>
              <a:cxn ang="0">
                <a:pos x="csX813" y="csY813"/>
              </a:cxn>
              <a:cxn ang="0">
                <a:pos x="csX814" y="csY814"/>
              </a:cxn>
              <a:cxn ang="0">
                <a:pos x="csX815" y="csY815"/>
              </a:cxn>
              <a:cxn ang="0">
                <a:pos x="csX816" y="csY816"/>
              </a:cxn>
              <a:cxn ang="0">
                <a:pos x="csX817" y="csY817"/>
              </a:cxn>
              <a:cxn ang="0">
                <a:pos x="csX818" y="csY818"/>
              </a:cxn>
              <a:cxn ang="0">
                <a:pos x="csX819" y="csY819"/>
              </a:cxn>
              <a:cxn ang="0">
                <a:pos x="csX820" y="csY820"/>
              </a:cxn>
              <a:cxn ang="0">
                <a:pos x="csX821" y="csY821"/>
              </a:cxn>
              <a:cxn ang="0">
                <a:pos x="csX822" y="csY822"/>
              </a:cxn>
              <a:cxn ang="0">
                <a:pos x="csX823" y="csY823"/>
              </a:cxn>
              <a:cxn ang="0">
                <a:pos x="csX824" y="csY824"/>
              </a:cxn>
              <a:cxn ang="0">
                <a:pos x="csX825" y="csY825"/>
              </a:cxn>
              <a:cxn ang="0">
                <a:pos x="csX826" y="csY826"/>
              </a:cxn>
              <a:cxn ang="0">
                <a:pos x="csX827" y="csY827"/>
              </a:cxn>
              <a:cxn ang="0">
                <a:pos x="csX828" y="csY828"/>
              </a:cxn>
              <a:cxn ang="0">
                <a:pos x="csX829" y="csY829"/>
              </a:cxn>
              <a:cxn ang="0">
                <a:pos x="csX830" y="csY830"/>
              </a:cxn>
              <a:cxn ang="0">
                <a:pos x="csX831" y="csY831"/>
              </a:cxn>
              <a:cxn ang="0">
                <a:pos x="csX832" y="csY832"/>
              </a:cxn>
              <a:cxn ang="0">
                <a:pos x="csX833" y="csY833"/>
              </a:cxn>
              <a:cxn ang="0">
                <a:pos x="csX834" y="csY834"/>
              </a:cxn>
              <a:cxn ang="0">
                <a:pos x="csX835" y="csY835"/>
              </a:cxn>
              <a:cxn ang="0">
                <a:pos x="csX836" y="csY836"/>
              </a:cxn>
              <a:cxn ang="0">
                <a:pos x="csX837" y="csY837"/>
              </a:cxn>
              <a:cxn ang="0">
                <a:pos x="csX838" y="csY838"/>
              </a:cxn>
              <a:cxn ang="0">
                <a:pos x="csX839" y="csY839"/>
              </a:cxn>
              <a:cxn ang="0">
                <a:pos x="csX840" y="csY840"/>
              </a:cxn>
              <a:cxn ang="0">
                <a:pos x="csX841" y="csY841"/>
              </a:cxn>
              <a:cxn ang="0">
                <a:pos x="csX842" y="csY842"/>
              </a:cxn>
              <a:cxn ang="0">
                <a:pos x="csX843" y="csY843"/>
              </a:cxn>
              <a:cxn ang="0">
                <a:pos x="csX844" y="csY844"/>
              </a:cxn>
              <a:cxn ang="0">
                <a:pos x="csX845" y="csY845"/>
              </a:cxn>
              <a:cxn ang="0">
                <a:pos x="csX846" y="csY846"/>
              </a:cxn>
              <a:cxn ang="0">
                <a:pos x="csX847" y="csY847"/>
              </a:cxn>
              <a:cxn ang="0">
                <a:pos x="csX848" y="csY848"/>
              </a:cxn>
              <a:cxn ang="0">
                <a:pos x="csX849" y="csY849"/>
              </a:cxn>
              <a:cxn ang="0">
                <a:pos x="csX850" y="csY850"/>
              </a:cxn>
              <a:cxn ang="0">
                <a:pos x="csX851" y="csY851"/>
              </a:cxn>
              <a:cxn ang="0">
                <a:pos x="csX852" y="csY852"/>
              </a:cxn>
              <a:cxn ang="0">
                <a:pos x="csX853" y="csY853"/>
              </a:cxn>
              <a:cxn ang="0">
                <a:pos x="csX854" y="csY854"/>
              </a:cxn>
              <a:cxn ang="0">
                <a:pos x="csX855" y="csY855"/>
              </a:cxn>
              <a:cxn ang="0">
                <a:pos x="csX856" y="csY856"/>
              </a:cxn>
              <a:cxn ang="0">
                <a:pos x="csX857" y="csY857"/>
              </a:cxn>
              <a:cxn ang="0">
                <a:pos x="csX858" y="csY858"/>
              </a:cxn>
              <a:cxn ang="0">
                <a:pos x="csX859" y="csY859"/>
              </a:cxn>
              <a:cxn ang="0">
                <a:pos x="csX860" y="csY860"/>
              </a:cxn>
              <a:cxn ang="0">
                <a:pos x="csX861" y="csY861"/>
              </a:cxn>
              <a:cxn ang="0">
                <a:pos x="csX862" y="csY862"/>
              </a:cxn>
              <a:cxn ang="0">
                <a:pos x="csX863" y="csY863"/>
              </a:cxn>
              <a:cxn ang="0">
                <a:pos x="csX864" y="csY864"/>
              </a:cxn>
              <a:cxn ang="0">
                <a:pos x="csX865" y="csY865"/>
              </a:cxn>
              <a:cxn ang="0">
                <a:pos x="csX866" y="csY866"/>
              </a:cxn>
              <a:cxn ang="0">
                <a:pos x="csX867" y="csY867"/>
              </a:cxn>
              <a:cxn ang="0">
                <a:pos x="csX868" y="csY868"/>
              </a:cxn>
              <a:cxn ang="0">
                <a:pos x="csX869" y="csY869"/>
              </a:cxn>
              <a:cxn ang="0">
                <a:pos x="csX870" y="csY870"/>
              </a:cxn>
              <a:cxn ang="0">
                <a:pos x="csX871" y="csY871"/>
              </a:cxn>
              <a:cxn ang="0">
                <a:pos x="csX872" y="csY872"/>
              </a:cxn>
              <a:cxn ang="0">
                <a:pos x="csX873" y="csY873"/>
              </a:cxn>
              <a:cxn ang="0">
                <a:pos x="csX874" y="csY874"/>
              </a:cxn>
              <a:cxn ang="0">
                <a:pos x="csX875" y="csY875"/>
              </a:cxn>
              <a:cxn ang="0">
                <a:pos x="csX876" y="csY876"/>
              </a:cxn>
              <a:cxn ang="0">
                <a:pos x="csX877" y="csY877"/>
              </a:cxn>
              <a:cxn ang="0">
                <a:pos x="csX878" y="csY878"/>
              </a:cxn>
              <a:cxn ang="0">
                <a:pos x="csX879" y="csY879"/>
              </a:cxn>
              <a:cxn ang="0">
                <a:pos x="csX880" y="csY880"/>
              </a:cxn>
              <a:cxn ang="0">
                <a:pos x="csX881" y="csY881"/>
              </a:cxn>
              <a:cxn ang="0">
                <a:pos x="csX882" y="csY882"/>
              </a:cxn>
              <a:cxn ang="0">
                <a:pos x="csX883" y="csY883"/>
              </a:cxn>
              <a:cxn ang="0">
                <a:pos x="csX884" y="csY884"/>
              </a:cxn>
              <a:cxn ang="0">
                <a:pos x="csX885" y="csY885"/>
              </a:cxn>
              <a:cxn ang="0">
                <a:pos x="csX886" y="csY886"/>
              </a:cxn>
              <a:cxn ang="0">
                <a:pos x="csX887" y="csY887"/>
              </a:cxn>
              <a:cxn ang="0">
                <a:pos x="csX888" y="csY888"/>
              </a:cxn>
              <a:cxn ang="0">
                <a:pos x="csX889" y="csY889"/>
              </a:cxn>
              <a:cxn ang="0">
                <a:pos x="csX890" y="csY890"/>
              </a:cxn>
              <a:cxn ang="0">
                <a:pos x="csX891" y="csY891"/>
              </a:cxn>
              <a:cxn ang="0">
                <a:pos x="csX892" y="csY892"/>
              </a:cxn>
              <a:cxn ang="0">
                <a:pos x="csX893" y="csY893"/>
              </a:cxn>
              <a:cxn ang="0">
                <a:pos x="csX894" y="csY894"/>
              </a:cxn>
              <a:cxn ang="0">
                <a:pos x="csX895" y="csY895"/>
              </a:cxn>
              <a:cxn ang="0">
                <a:pos x="csX896" y="csY896"/>
              </a:cxn>
              <a:cxn ang="0">
                <a:pos x="csX897" y="csY897"/>
              </a:cxn>
              <a:cxn ang="0">
                <a:pos x="csX898" y="csY898"/>
              </a:cxn>
              <a:cxn ang="0">
                <a:pos x="csX899" y="csY899"/>
              </a:cxn>
              <a:cxn ang="0">
                <a:pos x="csX900" y="csY900"/>
              </a:cxn>
              <a:cxn ang="0">
                <a:pos x="csX901" y="csY901"/>
              </a:cxn>
              <a:cxn ang="0">
                <a:pos x="csX902" y="csY902"/>
              </a:cxn>
              <a:cxn ang="0">
                <a:pos x="csX903" y="csY903"/>
              </a:cxn>
              <a:cxn ang="0">
                <a:pos x="csX904" y="csY904"/>
              </a:cxn>
              <a:cxn ang="0">
                <a:pos x="csX905" y="csY905"/>
              </a:cxn>
              <a:cxn ang="0">
                <a:pos x="csX906" y="csY906"/>
              </a:cxn>
              <a:cxn ang="0">
                <a:pos x="csX907" y="csY907"/>
              </a:cxn>
              <a:cxn ang="0">
                <a:pos x="csX908" y="csY908"/>
              </a:cxn>
              <a:cxn ang="0">
                <a:pos x="csX909" y="csY909"/>
              </a:cxn>
              <a:cxn ang="0">
                <a:pos x="csX910" y="csY910"/>
              </a:cxn>
              <a:cxn ang="0">
                <a:pos x="csX911" y="csY911"/>
              </a:cxn>
              <a:cxn ang="0">
                <a:pos x="csX912" y="csY912"/>
              </a:cxn>
              <a:cxn ang="0">
                <a:pos x="csX913" y="csY913"/>
              </a:cxn>
              <a:cxn ang="0">
                <a:pos x="csX914" y="csY914"/>
              </a:cxn>
              <a:cxn ang="0">
                <a:pos x="csX915" y="csY915"/>
              </a:cxn>
              <a:cxn ang="0">
                <a:pos x="csX916" y="csY916"/>
              </a:cxn>
              <a:cxn ang="0">
                <a:pos x="csX917" y="csY917"/>
              </a:cxn>
              <a:cxn ang="0">
                <a:pos x="csX918" y="csY918"/>
              </a:cxn>
              <a:cxn ang="0">
                <a:pos x="csX919" y="csY919"/>
              </a:cxn>
              <a:cxn ang="0">
                <a:pos x="csX920" y="csY920"/>
              </a:cxn>
              <a:cxn ang="0">
                <a:pos x="csX921" y="csY921"/>
              </a:cxn>
              <a:cxn ang="0">
                <a:pos x="csX922" y="csY922"/>
              </a:cxn>
              <a:cxn ang="0">
                <a:pos x="csX923" y="csY923"/>
              </a:cxn>
              <a:cxn ang="0">
                <a:pos x="csX924" y="csY924"/>
              </a:cxn>
              <a:cxn ang="0">
                <a:pos x="csX925" y="csY925"/>
              </a:cxn>
              <a:cxn ang="0">
                <a:pos x="csX926" y="csY926"/>
              </a:cxn>
              <a:cxn ang="0">
                <a:pos x="csX927" y="csY927"/>
              </a:cxn>
              <a:cxn ang="0">
                <a:pos x="csX928" y="csY928"/>
              </a:cxn>
              <a:cxn ang="0">
                <a:pos x="csX929" y="csY929"/>
              </a:cxn>
              <a:cxn ang="0">
                <a:pos x="csX930" y="csY930"/>
              </a:cxn>
              <a:cxn ang="0">
                <a:pos x="csX931" y="csY931"/>
              </a:cxn>
              <a:cxn ang="0">
                <a:pos x="csX932" y="csY932"/>
              </a:cxn>
              <a:cxn ang="0">
                <a:pos x="csX933" y="csY933"/>
              </a:cxn>
              <a:cxn ang="0">
                <a:pos x="csX934" y="csY934"/>
              </a:cxn>
              <a:cxn ang="0">
                <a:pos x="csX935" y="csY935"/>
              </a:cxn>
              <a:cxn ang="0">
                <a:pos x="csX936" y="csY936"/>
              </a:cxn>
              <a:cxn ang="0">
                <a:pos x="csX937" y="csY937"/>
              </a:cxn>
              <a:cxn ang="0">
                <a:pos x="csX938" y="csY938"/>
              </a:cxn>
              <a:cxn ang="0">
                <a:pos x="csX939" y="csY939"/>
              </a:cxn>
              <a:cxn ang="0">
                <a:pos x="csX940" y="csY940"/>
              </a:cxn>
              <a:cxn ang="0">
                <a:pos x="csX941" y="csY941"/>
              </a:cxn>
              <a:cxn ang="0">
                <a:pos x="csX942" y="csY942"/>
              </a:cxn>
              <a:cxn ang="0">
                <a:pos x="csX943" y="csY943"/>
              </a:cxn>
              <a:cxn ang="0">
                <a:pos x="csX944" y="csY944"/>
              </a:cxn>
              <a:cxn ang="0">
                <a:pos x="csX945" y="csY945"/>
              </a:cxn>
              <a:cxn ang="0">
                <a:pos x="csX946" y="csY946"/>
              </a:cxn>
              <a:cxn ang="0">
                <a:pos x="csX947" y="csY947"/>
              </a:cxn>
              <a:cxn ang="0">
                <a:pos x="csX948" y="csY948"/>
              </a:cxn>
              <a:cxn ang="0">
                <a:pos x="csX949" y="csY949"/>
              </a:cxn>
              <a:cxn ang="0">
                <a:pos x="csX950" y="csY950"/>
              </a:cxn>
              <a:cxn ang="0">
                <a:pos x="csX951" y="csY951"/>
              </a:cxn>
              <a:cxn ang="0">
                <a:pos x="csX952" y="csY952"/>
              </a:cxn>
              <a:cxn ang="0">
                <a:pos x="csX953" y="csY953"/>
              </a:cxn>
              <a:cxn ang="0">
                <a:pos x="csX954" y="csY954"/>
              </a:cxn>
              <a:cxn ang="0">
                <a:pos x="csX955" y="csY955"/>
              </a:cxn>
              <a:cxn ang="0">
                <a:pos x="csX956" y="csY956"/>
              </a:cxn>
              <a:cxn ang="0">
                <a:pos x="csX957" y="csY957"/>
              </a:cxn>
              <a:cxn ang="0">
                <a:pos x="csX958" y="csY958"/>
              </a:cxn>
              <a:cxn ang="0">
                <a:pos x="csX959" y="csY959"/>
              </a:cxn>
              <a:cxn ang="0">
                <a:pos x="csX960" y="csY960"/>
              </a:cxn>
              <a:cxn ang="0">
                <a:pos x="csX961" y="csY961"/>
              </a:cxn>
              <a:cxn ang="0">
                <a:pos x="csX962" y="csY962"/>
              </a:cxn>
              <a:cxn ang="0">
                <a:pos x="csX963" y="csY963"/>
              </a:cxn>
              <a:cxn ang="0">
                <a:pos x="csX964" y="csY964"/>
              </a:cxn>
              <a:cxn ang="0">
                <a:pos x="csX965" y="csY965"/>
              </a:cxn>
              <a:cxn ang="0">
                <a:pos x="csX966" y="csY966"/>
              </a:cxn>
              <a:cxn ang="0">
                <a:pos x="csX967" y="csY967"/>
              </a:cxn>
              <a:cxn ang="0">
                <a:pos x="csX968" y="csY968"/>
              </a:cxn>
              <a:cxn ang="0">
                <a:pos x="csX969" y="csY969"/>
              </a:cxn>
              <a:cxn ang="0">
                <a:pos x="csX970" y="csY970"/>
              </a:cxn>
              <a:cxn ang="0">
                <a:pos x="csX971" y="csY971"/>
              </a:cxn>
              <a:cxn ang="0">
                <a:pos x="csX972" y="csY972"/>
              </a:cxn>
              <a:cxn ang="0">
                <a:pos x="csX973" y="csY973"/>
              </a:cxn>
              <a:cxn ang="0">
                <a:pos x="csX974" y="csY974"/>
              </a:cxn>
              <a:cxn ang="0">
                <a:pos x="csX975" y="csY975"/>
              </a:cxn>
              <a:cxn ang="0">
                <a:pos x="csX976" y="csY976"/>
              </a:cxn>
              <a:cxn ang="0">
                <a:pos x="csX977" y="csY977"/>
              </a:cxn>
              <a:cxn ang="0">
                <a:pos x="csX978" y="csY978"/>
              </a:cxn>
              <a:cxn ang="0">
                <a:pos x="csX979" y="csY979"/>
              </a:cxn>
              <a:cxn ang="0">
                <a:pos x="csX980" y="csY980"/>
              </a:cxn>
              <a:cxn ang="0">
                <a:pos x="csX981" y="csY981"/>
              </a:cxn>
              <a:cxn ang="0">
                <a:pos x="csX982" y="csY982"/>
              </a:cxn>
              <a:cxn ang="0">
                <a:pos x="csX983" y="csY983"/>
              </a:cxn>
              <a:cxn ang="0">
                <a:pos x="csX984" y="csY984"/>
              </a:cxn>
              <a:cxn ang="0">
                <a:pos x="csX985" y="csY985"/>
              </a:cxn>
              <a:cxn ang="0">
                <a:pos x="csX986" y="csY986"/>
              </a:cxn>
              <a:cxn ang="0">
                <a:pos x="csX987" y="csY987"/>
              </a:cxn>
              <a:cxn ang="0">
                <a:pos x="csX988" y="csY988"/>
              </a:cxn>
              <a:cxn ang="0">
                <a:pos x="csX989" y="csY989"/>
              </a:cxn>
              <a:cxn ang="0">
                <a:pos x="csX990" y="csY990"/>
              </a:cxn>
              <a:cxn ang="0">
                <a:pos x="csX991" y="csY991"/>
              </a:cxn>
              <a:cxn ang="0">
                <a:pos x="csX992" y="csY992"/>
              </a:cxn>
              <a:cxn ang="0">
                <a:pos x="csX993" y="csY993"/>
              </a:cxn>
              <a:cxn ang="0">
                <a:pos x="csX994" y="csY994"/>
              </a:cxn>
              <a:cxn ang="0">
                <a:pos x="csX995" y="csY995"/>
              </a:cxn>
              <a:cxn ang="0">
                <a:pos x="csX996" y="csY996"/>
              </a:cxn>
              <a:cxn ang="0">
                <a:pos x="csX997" y="csY997"/>
              </a:cxn>
              <a:cxn ang="0">
                <a:pos x="csX998" y="csY998"/>
              </a:cxn>
              <a:cxn ang="0">
                <a:pos x="csX999" y="csY999"/>
              </a:cxn>
              <a:cxn ang="0">
                <a:pos x="csX1000" y="csY1000"/>
              </a:cxn>
              <a:cxn ang="0">
                <a:pos x="csX1001" y="csY1001"/>
              </a:cxn>
              <a:cxn ang="0">
                <a:pos x="csX1002" y="csY1002"/>
              </a:cxn>
              <a:cxn ang="0">
                <a:pos x="csX1003" y="csY1003"/>
              </a:cxn>
              <a:cxn ang="0">
                <a:pos x="csX1004" y="csY1004"/>
              </a:cxn>
              <a:cxn ang="0">
                <a:pos x="csX1005" y="csY1005"/>
              </a:cxn>
              <a:cxn ang="0">
                <a:pos x="csX1006" y="csY1006"/>
              </a:cxn>
              <a:cxn ang="0">
                <a:pos x="csX1007" y="csY1007"/>
              </a:cxn>
              <a:cxn ang="0">
                <a:pos x="csX1008" y="csY1008"/>
              </a:cxn>
              <a:cxn ang="0">
                <a:pos x="csX1009" y="csY1009"/>
              </a:cxn>
              <a:cxn ang="0">
                <a:pos x="csX1010" y="csY1010"/>
              </a:cxn>
              <a:cxn ang="0">
                <a:pos x="csX1011" y="csY1011"/>
              </a:cxn>
              <a:cxn ang="0">
                <a:pos x="csX1012" y="csY1012"/>
              </a:cxn>
              <a:cxn ang="0">
                <a:pos x="csX1013" y="csY1013"/>
              </a:cxn>
              <a:cxn ang="0">
                <a:pos x="csX1014" y="csY1014"/>
              </a:cxn>
              <a:cxn ang="0">
                <a:pos x="csX1015" y="csY1015"/>
              </a:cxn>
              <a:cxn ang="0">
                <a:pos x="csX1016" y="csY1016"/>
              </a:cxn>
              <a:cxn ang="0">
                <a:pos x="csX1017" y="csY1017"/>
              </a:cxn>
              <a:cxn ang="0">
                <a:pos x="csX1018" y="csY1018"/>
              </a:cxn>
              <a:cxn ang="0">
                <a:pos x="csX1019" y="csY1019"/>
              </a:cxn>
              <a:cxn ang="0">
                <a:pos x="csX1020" y="csY1020"/>
              </a:cxn>
              <a:cxn ang="0">
                <a:pos x="csX1021" y="csY1021"/>
              </a:cxn>
              <a:cxn ang="0">
                <a:pos x="csX1022" y="csY1022"/>
              </a:cxn>
              <a:cxn ang="0">
                <a:pos x="csX1023" y="csY1023"/>
              </a:cxn>
              <a:cxn ang="0">
                <a:pos x="csX1024" y="csY1024"/>
              </a:cxn>
              <a:cxn ang="0">
                <a:pos x="csX1025" y="csY1025"/>
              </a:cxn>
              <a:cxn ang="0">
                <a:pos x="csX1026" y="csY1026"/>
              </a:cxn>
              <a:cxn ang="0">
                <a:pos x="csX1027" y="csY1027"/>
              </a:cxn>
              <a:cxn ang="0">
                <a:pos x="csX1028" y="csY1028"/>
              </a:cxn>
              <a:cxn ang="0">
                <a:pos x="csX1029" y="csY1029"/>
              </a:cxn>
              <a:cxn ang="0">
                <a:pos x="csX1030" y="csY1030"/>
              </a:cxn>
              <a:cxn ang="0">
                <a:pos x="csX1031" y="csY1031"/>
              </a:cxn>
              <a:cxn ang="0">
                <a:pos x="csX1032" y="csY1032"/>
              </a:cxn>
              <a:cxn ang="0">
                <a:pos x="csX1033" y="csY1033"/>
              </a:cxn>
              <a:cxn ang="0">
                <a:pos x="csX1034" y="csY1034"/>
              </a:cxn>
              <a:cxn ang="0">
                <a:pos x="csX1035" y="csY1035"/>
              </a:cxn>
              <a:cxn ang="0">
                <a:pos x="csX1036" y="csY1036"/>
              </a:cxn>
              <a:cxn ang="0">
                <a:pos x="csX1037" y="csY1037"/>
              </a:cxn>
              <a:cxn ang="0">
                <a:pos x="csX1038" y="csY1038"/>
              </a:cxn>
              <a:cxn ang="0">
                <a:pos x="csX1039" y="csY1039"/>
              </a:cxn>
              <a:cxn ang="0">
                <a:pos x="csX1040" y="csY1040"/>
              </a:cxn>
              <a:cxn ang="0">
                <a:pos x="csX1041" y="csY1041"/>
              </a:cxn>
              <a:cxn ang="0">
                <a:pos x="csX1042" y="csY1042"/>
              </a:cxn>
              <a:cxn ang="0">
                <a:pos x="csX1043" y="csY1043"/>
              </a:cxn>
              <a:cxn ang="0">
                <a:pos x="csX1044" y="csY1044"/>
              </a:cxn>
              <a:cxn ang="0">
                <a:pos x="csX1045" y="csY1045"/>
              </a:cxn>
              <a:cxn ang="0">
                <a:pos x="csX1046" y="csY1046"/>
              </a:cxn>
              <a:cxn ang="0">
                <a:pos x="csX1047" y="csY1047"/>
              </a:cxn>
              <a:cxn ang="0">
                <a:pos x="csX1048" y="csY1048"/>
              </a:cxn>
              <a:cxn ang="0">
                <a:pos x="csX1049" y="csY1049"/>
              </a:cxn>
              <a:cxn ang="0">
                <a:pos x="csX1050" y="csY1050"/>
              </a:cxn>
              <a:cxn ang="0">
                <a:pos x="csX1051" y="csY1051"/>
              </a:cxn>
              <a:cxn ang="0">
                <a:pos x="csX1052" y="csY1052"/>
              </a:cxn>
              <a:cxn ang="0">
                <a:pos x="csX1053" y="csY1053"/>
              </a:cxn>
              <a:cxn ang="0">
                <a:pos x="csX1054" y="csY1054"/>
              </a:cxn>
            </a:cxnLst>
            <a:rect l="l" t="t" r="r" b="b"/>
            <a:pathLst>
              <a:path w="1609516" h="1538630">
                <a:moveTo>
                  <a:pt x="401579" y="1495809"/>
                </a:moveTo>
                <a:lnTo>
                  <a:pt x="400190" y="1496004"/>
                </a:lnTo>
                <a:lnTo>
                  <a:pt x="401224" y="1496470"/>
                </a:lnTo>
                <a:lnTo>
                  <a:pt x="401224" y="1498590"/>
                </a:lnTo>
                <a:lnTo>
                  <a:pt x="401579" y="1498628"/>
                </a:lnTo>
                <a:cubicBezTo>
                  <a:pt x="401579" y="1497698"/>
                  <a:pt x="401579" y="1496768"/>
                  <a:pt x="401579" y="1495809"/>
                </a:cubicBezTo>
                <a:close/>
                <a:moveTo>
                  <a:pt x="368755" y="1486512"/>
                </a:moveTo>
                <a:lnTo>
                  <a:pt x="364089" y="1487354"/>
                </a:lnTo>
                <a:lnTo>
                  <a:pt x="364089" y="1487908"/>
                </a:lnTo>
                <a:close/>
                <a:moveTo>
                  <a:pt x="1049801" y="1484562"/>
                </a:moveTo>
                <a:lnTo>
                  <a:pt x="1046735" y="1485945"/>
                </a:lnTo>
                <a:lnTo>
                  <a:pt x="1046955" y="1486045"/>
                </a:lnTo>
                <a:lnTo>
                  <a:pt x="1049801" y="1485188"/>
                </a:lnTo>
                <a:close/>
                <a:moveTo>
                  <a:pt x="351234" y="1444508"/>
                </a:moveTo>
                <a:lnTo>
                  <a:pt x="351234" y="1444997"/>
                </a:lnTo>
                <a:lnTo>
                  <a:pt x="351592" y="1445078"/>
                </a:lnTo>
                <a:close/>
                <a:moveTo>
                  <a:pt x="351908" y="1431206"/>
                </a:moveTo>
                <a:lnTo>
                  <a:pt x="351234" y="1431611"/>
                </a:lnTo>
                <a:lnTo>
                  <a:pt x="351234" y="1432274"/>
                </a:lnTo>
                <a:close/>
                <a:moveTo>
                  <a:pt x="358162" y="1421494"/>
                </a:moveTo>
                <a:lnTo>
                  <a:pt x="355921" y="1423156"/>
                </a:lnTo>
                <a:lnTo>
                  <a:pt x="355921" y="1423548"/>
                </a:lnTo>
                <a:close/>
                <a:moveTo>
                  <a:pt x="376098" y="1408347"/>
                </a:moveTo>
                <a:lnTo>
                  <a:pt x="370750" y="1412245"/>
                </a:lnTo>
                <a:lnTo>
                  <a:pt x="375023" y="1411256"/>
                </a:lnTo>
                <a:close/>
                <a:moveTo>
                  <a:pt x="421956" y="1365623"/>
                </a:moveTo>
                <a:lnTo>
                  <a:pt x="421765" y="1366161"/>
                </a:lnTo>
                <a:lnTo>
                  <a:pt x="421887" y="1366161"/>
                </a:lnTo>
                <a:close/>
                <a:moveTo>
                  <a:pt x="754553" y="1360575"/>
                </a:moveTo>
                <a:lnTo>
                  <a:pt x="754089" y="1361433"/>
                </a:lnTo>
                <a:lnTo>
                  <a:pt x="754431" y="1361125"/>
                </a:lnTo>
                <a:close/>
                <a:moveTo>
                  <a:pt x="1277973" y="1332923"/>
                </a:moveTo>
                <a:lnTo>
                  <a:pt x="1277944" y="1332936"/>
                </a:lnTo>
                <a:lnTo>
                  <a:pt x="1277949" y="1333139"/>
                </a:lnTo>
                <a:close/>
                <a:moveTo>
                  <a:pt x="1268556" y="1321066"/>
                </a:moveTo>
                <a:cubicBezTo>
                  <a:pt x="1268556" y="1322461"/>
                  <a:pt x="1268556" y="1323856"/>
                  <a:pt x="1268556" y="1325294"/>
                </a:cubicBezTo>
                <a:cubicBezTo>
                  <a:pt x="1267525" y="1325294"/>
                  <a:pt x="1266495" y="1325294"/>
                  <a:pt x="1265432" y="1325294"/>
                </a:cubicBezTo>
                <a:cubicBezTo>
                  <a:pt x="1265432" y="1330409"/>
                  <a:pt x="1265432" y="1335525"/>
                  <a:pt x="1265432" y="1340795"/>
                </a:cubicBezTo>
                <a:lnTo>
                  <a:pt x="1265476" y="1340714"/>
                </a:lnTo>
                <a:lnTo>
                  <a:pt x="1265476" y="1325877"/>
                </a:lnTo>
                <a:cubicBezTo>
                  <a:pt x="1266507" y="1325877"/>
                  <a:pt x="1267538" y="1325877"/>
                  <a:pt x="1268600" y="1325877"/>
                </a:cubicBezTo>
                <a:cubicBezTo>
                  <a:pt x="1268600" y="1324482"/>
                  <a:pt x="1268600" y="1323086"/>
                  <a:pt x="1268600" y="1321649"/>
                </a:cubicBezTo>
                <a:cubicBezTo>
                  <a:pt x="1270147" y="1321649"/>
                  <a:pt x="1271693" y="1321649"/>
                  <a:pt x="1273286" y="1321649"/>
                </a:cubicBezTo>
                <a:lnTo>
                  <a:pt x="1273227" y="1321066"/>
                </a:lnTo>
                <a:close/>
                <a:moveTo>
                  <a:pt x="827891" y="1291474"/>
                </a:moveTo>
                <a:lnTo>
                  <a:pt x="822601" y="1291544"/>
                </a:lnTo>
                <a:lnTo>
                  <a:pt x="818272" y="1292220"/>
                </a:lnTo>
                <a:lnTo>
                  <a:pt x="827891" y="1292047"/>
                </a:lnTo>
                <a:close/>
                <a:moveTo>
                  <a:pt x="856397" y="1288691"/>
                </a:moveTo>
                <a:lnTo>
                  <a:pt x="865903" y="1290590"/>
                </a:lnTo>
                <a:lnTo>
                  <a:pt x="859999" y="1288752"/>
                </a:lnTo>
                <a:close/>
                <a:moveTo>
                  <a:pt x="834694" y="1288572"/>
                </a:moveTo>
                <a:lnTo>
                  <a:pt x="828038" y="1288654"/>
                </a:lnTo>
                <a:lnTo>
                  <a:pt x="828038" y="1289214"/>
                </a:lnTo>
                <a:close/>
                <a:moveTo>
                  <a:pt x="229746" y="1191418"/>
                </a:moveTo>
                <a:lnTo>
                  <a:pt x="227402" y="1191947"/>
                </a:lnTo>
                <a:lnTo>
                  <a:pt x="229315" y="1191947"/>
                </a:lnTo>
                <a:cubicBezTo>
                  <a:pt x="229315" y="1192877"/>
                  <a:pt x="229315" y="1193807"/>
                  <a:pt x="229315" y="1194765"/>
                </a:cubicBezTo>
                <a:lnTo>
                  <a:pt x="231321" y="1194765"/>
                </a:lnTo>
                <a:lnTo>
                  <a:pt x="229746" y="1194236"/>
                </a:lnTo>
                <a:cubicBezTo>
                  <a:pt x="229746" y="1193306"/>
                  <a:pt x="229746" y="1192376"/>
                  <a:pt x="229746" y="1191418"/>
                </a:cubicBezTo>
                <a:close/>
                <a:moveTo>
                  <a:pt x="215687" y="1187190"/>
                </a:moveTo>
                <a:lnTo>
                  <a:pt x="215198" y="1187720"/>
                </a:lnTo>
                <a:lnTo>
                  <a:pt x="215256" y="1187720"/>
                </a:lnTo>
                <a:cubicBezTo>
                  <a:pt x="215256" y="1189115"/>
                  <a:pt x="215256" y="1190510"/>
                  <a:pt x="215256" y="1191947"/>
                </a:cubicBezTo>
                <a:lnTo>
                  <a:pt x="222721" y="1191947"/>
                </a:lnTo>
                <a:lnTo>
                  <a:pt x="215687" y="1191418"/>
                </a:lnTo>
                <a:cubicBezTo>
                  <a:pt x="215687" y="1190023"/>
                  <a:pt x="215687" y="1188628"/>
                  <a:pt x="215687" y="1187190"/>
                </a:cubicBezTo>
                <a:close/>
                <a:moveTo>
                  <a:pt x="1279678" y="1082356"/>
                </a:moveTo>
                <a:lnTo>
                  <a:pt x="1271680" y="1084589"/>
                </a:lnTo>
                <a:lnTo>
                  <a:pt x="1282181" y="1082544"/>
                </a:lnTo>
                <a:close/>
                <a:moveTo>
                  <a:pt x="117703" y="941507"/>
                </a:moveTo>
                <a:lnTo>
                  <a:pt x="112587" y="941985"/>
                </a:lnTo>
                <a:lnTo>
                  <a:pt x="112565" y="942333"/>
                </a:lnTo>
                <a:lnTo>
                  <a:pt x="115665" y="941837"/>
                </a:lnTo>
                <a:close/>
                <a:moveTo>
                  <a:pt x="144268" y="939395"/>
                </a:moveTo>
                <a:lnTo>
                  <a:pt x="143354" y="939580"/>
                </a:lnTo>
                <a:lnTo>
                  <a:pt x="144077" y="939739"/>
                </a:lnTo>
                <a:close/>
                <a:moveTo>
                  <a:pt x="162575" y="933530"/>
                </a:moveTo>
                <a:lnTo>
                  <a:pt x="161704" y="935101"/>
                </a:lnTo>
                <a:lnTo>
                  <a:pt x="170045" y="933585"/>
                </a:lnTo>
                <a:close/>
                <a:moveTo>
                  <a:pt x="1321645" y="918415"/>
                </a:moveTo>
                <a:lnTo>
                  <a:pt x="1321534" y="920177"/>
                </a:lnTo>
                <a:lnTo>
                  <a:pt x="1321740" y="918415"/>
                </a:lnTo>
                <a:close/>
                <a:moveTo>
                  <a:pt x="1319333" y="915183"/>
                </a:moveTo>
                <a:lnTo>
                  <a:pt x="1318544" y="918029"/>
                </a:lnTo>
                <a:lnTo>
                  <a:pt x="1318702" y="918029"/>
                </a:lnTo>
                <a:close/>
                <a:moveTo>
                  <a:pt x="1326355" y="907109"/>
                </a:moveTo>
                <a:lnTo>
                  <a:pt x="1326355" y="910983"/>
                </a:lnTo>
                <a:lnTo>
                  <a:pt x="1325831" y="911101"/>
                </a:lnTo>
                <a:lnTo>
                  <a:pt x="1326426" y="911369"/>
                </a:lnTo>
                <a:cubicBezTo>
                  <a:pt x="1326426" y="909974"/>
                  <a:pt x="1326426" y="908579"/>
                  <a:pt x="1326426" y="907141"/>
                </a:cubicBezTo>
                <a:close/>
                <a:moveTo>
                  <a:pt x="1328144" y="892192"/>
                </a:moveTo>
                <a:lnTo>
                  <a:pt x="1327667" y="893446"/>
                </a:lnTo>
                <a:lnTo>
                  <a:pt x="1327989" y="893049"/>
                </a:lnTo>
                <a:close/>
                <a:moveTo>
                  <a:pt x="49605" y="887420"/>
                </a:moveTo>
                <a:lnTo>
                  <a:pt x="48549" y="891229"/>
                </a:lnTo>
                <a:lnTo>
                  <a:pt x="49956" y="887420"/>
                </a:lnTo>
                <a:close/>
                <a:moveTo>
                  <a:pt x="1332266" y="883369"/>
                </a:moveTo>
                <a:lnTo>
                  <a:pt x="1329479" y="884207"/>
                </a:lnTo>
                <a:lnTo>
                  <a:pt x="1329509" y="884816"/>
                </a:lnTo>
                <a:lnTo>
                  <a:pt x="1329551" y="884594"/>
                </a:lnTo>
                <a:close/>
                <a:moveTo>
                  <a:pt x="1555987" y="821766"/>
                </a:moveTo>
                <a:lnTo>
                  <a:pt x="1555987" y="822201"/>
                </a:lnTo>
                <a:lnTo>
                  <a:pt x="1556081" y="822189"/>
                </a:lnTo>
                <a:close/>
                <a:moveTo>
                  <a:pt x="1565360" y="810928"/>
                </a:moveTo>
                <a:lnTo>
                  <a:pt x="1564871" y="811809"/>
                </a:lnTo>
                <a:lnTo>
                  <a:pt x="1567314" y="810928"/>
                </a:lnTo>
                <a:close/>
                <a:moveTo>
                  <a:pt x="1563797" y="810928"/>
                </a:moveTo>
                <a:lnTo>
                  <a:pt x="1556762" y="814736"/>
                </a:lnTo>
                <a:lnTo>
                  <a:pt x="1563797" y="812197"/>
                </a:lnTo>
                <a:close/>
                <a:moveTo>
                  <a:pt x="265833" y="806020"/>
                </a:moveTo>
                <a:lnTo>
                  <a:pt x="263704" y="809861"/>
                </a:lnTo>
                <a:lnTo>
                  <a:pt x="263704" y="816750"/>
                </a:lnTo>
                <a:lnTo>
                  <a:pt x="264113" y="816565"/>
                </a:lnTo>
                <a:cubicBezTo>
                  <a:pt x="264048" y="815315"/>
                  <a:pt x="263984" y="814065"/>
                  <a:pt x="263918" y="812777"/>
                </a:cubicBezTo>
                <a:close/>
                <a:moveTo>
                  <a:pt x="263774" y="779374"/>
                </a:moveTo>
                <a:lnTo>
                  <a:pt x="263704" y="783086"/>
                </a:lnTo>
                <a:cubicBezTo>
                  <a:pt x="263961" y="783987"/>
                  <a:pt x="264219" y="784888"/>
                  <a:pt x="264484" y="785816"/>
                </a:cubicBezTo>
                <a:cubicBezTo>
                  <a:pt x="265299" y="788846"/>
                  <a:pt x="265316" y="791337"/>
                  <a:pt x="265265" y="794448"/>
                </a:cubicBezTo>
                <a:cubicBezTo>
                  <a:pt x="265103" y="797155"/>
                  <a:pt x="265022" y="798508"/>
                  <a:pt x="265217" y="799730"/>
                </a:cubicBezTo>
                <a:lnTo>
                  <a:pt x="266556" y="803466"/>
                </a:lnTo>
                <a:lnTo>
                  <a:pt x="267237" y="801063"/>
                </a:lnTo>
                <a:cubicBezTo>
                  <a:pt x="266721" y="800598"/>
                  <a:pt x="266206" y="800133"/>
                  <a:pt x="265675" y="799654"/>
                </a:cubicBezTo>
                <a:cubicBezTo>
                  <a:pt x="265601" y="797718"/>
                  <a:pt x="265617" y="795778"/>
                  <a:pt x="265675" y="793841"/>
                </a:cubicBezTo>
                <a:close/>
                <a:moveTo>
                  <a:pt x="260988" y="770061"/>
                </a:moveTo>
                <a:lnTo>
                  <a:pt x="260988" y="771364"/>
                </a:lnTo>
                <a:lnTo>
                  <a:pt x="263497" y="777263"/>
                </a:lnTo>
                <a:lnTo>
                  <a:pt x="262551" y="770061"/>
                </a:lnTo>
                <a:cubicBezTo>
                  <a:pt x="262035" y="770061"/>
                  <a:pt x="261520" y="770061"/>
                  <a:pt x="260988" y="770061"/>
                </a:cubicBezTo>
                <a:close/>
                <a:moveTo>
                  <a:pt x="157888" y="651686"/>
                </a:moveTo>
                <a:lnTo>
                  <a:pt x="157415" y="651764"/>
                </a:lnTo>
                <a:lnTo>
                  <a:pt x="160373" y="652274"/>
                </a:lnTo>
                <a:close/>
                <a:moveTo>
                  <a:pt x="267237" y="426537"/>
                </a:moveTo>
                <a:lnTo>
                  <a:pt x="267237" y="427619"/>
                </a:lnTo>
                <a:cubicBezTo>
                  <a:pt x="268274" y="427791"/>
                  <a:pt x="269311" y="427961"/>
                  <a:pt x="270380" y="428137"/>
                </a:cubicBezTo>
                <a:lnTo>
                  <a:pt x="273548" y="428680"/>
                </a:lnTo>
                <a:close/>
                <a:moveTo>
                  <a:pt x="37605" y="359270"/>
                </a:moveTo>
                <a:lnTo>
                  <a:pt x="37103" y="361533"/>
                </a:lnTo>
                <a:lnTo>
                  <a:pt x="37605" y="361382"/>
                </a:lnTo>
                <a:close/>
                <a:moveTo>
                  <a:pt x="52477" y="337570"/>
                </a:moveTo>
                <a:lnTo>
                  <a:pt x="47288" y="342340"/>
                </a:lnTo>
                <a:lnTo>
                  <a:pt x="45805" y="345093"/>
                </a:lnTo>
                <a:close/>
                <a:moveTo>
                  <a:pt x="104291" y="336166"/>
                </a:moveTo>
                <a:lnTo>
                  <a:pt x="103776" y="337559"/>
                </a:lnTo>
                <a:lnTo>
                  <a:pt x="108925" y="336166"/>
                </a:lnTo>
                <a:close/>
                <a:moveTo>
                  <a:pt x="1309237" y="322954"/>
                </a:moveTo>
                <a:lnTo>
                  <a:pt x="1309180" y="330559"/>
                </a:lnTo>
                <a:lnTo>
                  <a:pt x="1309237" y="330520"/>
                </a:lnTo>
                <a:close/>
                <a:moveTo>
                  <a:pt x="1308964" y="317715"/>
                </a:moveTo>
                <a:lnTo>
                  <a:pt x="1309237" y="318569"/>
                </a:lnTo>
                <a:lnTo>
                  <a:pt x="1309237" y="317838"/>
                </a:lnTo>
                <a:close/>
                <a:moveTo>
                  <a:pt x="1310087" y="313153"/>
                </a:moveTo>
                <a:lnTo>
                  <a:pt x="1307609" y="313473"/>
                </a:lnTo>
                <a:lnTo>
                  <a:pt x="1308045" y="314836"/>
                </a:lnTo>
                <a:close/>
                <a:moveTo>
                  <a:pt x="1318544" y="312064"/>
                </a:moveTo>
                <a:lnTo>
                  <a:pt x="1316298" y="312353"/>
                </a:lnTo>
                <a:lnTo>
                  <a:pt x="1318544" y="312205"/>
                </a:lnTo>
                <a:close/>
                <a:moveTo>
                  <a:pt x="1084622" y="267674"/>
                </a:moveTo>
                <a:lnTo>
                  <a:pt x="1084227" y="268378"/>
                </a:lnTo>
                <a:cubicBezTo>
                  <a:pt x="1082679" y="268378"/>
                  <a:pt x="1081133" y="268378"/>
                  <a:pt x="1079540" y="268378"/>
                </a:cubicBezTo>
                <a:lnTo>
                  <a:pt x="1079603" y="268477"/>
                </a:lnTo>
                <a:lnTo>
                  <a:pt x="1084192" y="268477"/>
                </a:lnTo>
                <a:close/>
                <a:moveTo>
                  <a:pt x="956410" y="266968"/>
                </a:moveTo>
                <a:lnTo>
                  <a:pt x="957576" y="267083"/>
                </a:lnTo>
                <a:lnTo>
                  <a:pt x="957576" y="269776"/>
                </a:lnTo>
                <a:lnTo>
                  <a:pt x="957694" y="269787"/>
                </a:lnTo>
                <a:cubicBezTo>
                  <a:pt x="957694" y="268857"/>
                  <a:pt x="957694" y="267927"/>
                  <a:pt x="957694" y="266968"/>
                </a:cubicBezTo>
                <a:close/>
                <a:moveTo>
                  <a:pt x="1089372" y="259220"/>
                </a:moveTo>
                <a:lnTo>
                  <a:pt x="1085856" y="265479"/>
                </a:lnTo>
                <a:lnTo>
                  <a:pt x="1088878" y="261431"/>
                </a:lnTo>
                <a:close/>
                <a:moveTo>
                  <a:pt x="1018517" y="223356"/>
                </a:moveTo>
                <a:lnTo>
                  <a:pt x="1013866" y="226190"/>
                </a:lnTo>
                <a:lnTo>
                  <a:pt x="1013024" y="227709"/>
                </a:lnTo>
                <a:lnTo>
                  <a:pt x="1017055" y="224692"/>
                </a:lnTo>
                <a:close/>
                <a:moveTo>
                  <a:pt x="850645" y="220099"/>
                </a:moveTo>
                <a:lnTo>
                  <a:pt x="850897" y="221488"/>
                </a:lnTo>
                <a:cubicBezTo>
                  <a:pt x="851086" y="222545"/>
                  <a:pt x="851275" y="223602"/>
                  <a:pt x="851470" y="224692"/>
                </a:cubicBezTo>
                <a:lnTo>
                  <a:pt x="852860" y="224692"/>
                </a:lnTo>
                <a:close/>
                <a:moveTo>
                  <a:pt x="1155019" y="35"/>
                </a:moveTo>
                <a:cubicBezTo>
                  <a:pt x="1161775" y="275"/>
                  <a:pt x="1168415" y="1783"/>
                  <a:pt x="1174829" y="4853"/>
                </a:cubicBezTo>
                <a:cubicBezTo>
                  <a:pt x="1176343" y="5231"/>
                  <a:pt x="1177858" y="5609"/>
                  <a:pt x="1179418" y="5998"/>
                </a:cubicBezTo>
                <a:cubicBezTo>
                  <a:pt x="1189392" y="9487"/>
                  <a:pt x="1196322" y="14392"/>
                  <a:pt x="1201385" y="22997"/>
                </a:cubicBezTo>
                <a:cubicBezTo>
                  <a:pt x="1206849" y="35244"/>
                  <a:pt x="1206940" y="49865"/>
                  <a:pt x="1201678" y="62191"/>
                </a:cubicBezTo>
                <a:cubicBezTo>
                  <a:pt x="1200594" y="64241"/>
                  <a:pt x="1199461" y="66271"/>
                  <a:pt x="1198261" y="68268"/>
                </a:cubicBezTo>
                <a:cubicBezTo>
                  <a:pt x="1197423" y="69721"/>
                  <a:pt x="1196586" y="71175"/>
                  <a:pt x="1195723" y="72672"/>
                </a:cubicBezTo>
                <a:cubicBezTo>
                  <a:pt x="1194659" y="73980"/>
                  <a:pt x="1194659" y="73980"/>
                  <a:pt x="1193575" y="75314"/>
                </a:cubicBezTo>
                <a:cubicBezTo>
                  <a:pt x="1192544" y="75314"/>
                  <a:pt x="1191512" y="75314"/>
                  <a:pt x="1190450" y="75314"/>
                </a:cubicBezTo>
                <a:cubicBezTo>
                  <a:pt x="1190128" y="76651"/>
                  <a:pt x="1189806" y="77988"/>
                  <a:pt x="1189474" y="79366"/>
                </a:cubicBezTo>
                <a:cubicBezTo>
                  <a:pt x="1187326" y="83769"/>
                  <a:pt x="1187326" y="83769"/>
                  <a:pt x="1182445" y="85707"/>
                </a:cubicBezTo>
                <a:cubicBezTo>
                  <a:pt x="1180962" y="85998"/>
                  <a:pt x="1179480" y="86289"/>
                  <a:pt x="1177953" y="86588"/>
                </a:cubicBezTo>
                <a:cubicBezTo>
                  <a:pt x="1177953" y="87518"/>
                  <a:pt x="1177953" y="88448"/>
                  <a:pt x="1177953" y="89406"/>
                </a:cubicBezTo>
                <a:cubicBezTo>
                  <a:pt x="1175369" y="91088"/>
                  <a:pt x="1172720" y="92688"/>
                  <a:pt x="1170045" y="94251"/>
                </a:cubicBezTo>
                <a:cubicBezTo>
                  <a:pt x="1154651" y="104199"/>
                  <a:pt x="1148918" y="116979"/>
                  <a:pt x="1143806" y="132828"/>
                </a:cubicBezTo>
                <a:cubicBezTo>
                  <a:pt x="1142095" y="137144"/>
                  <a:pt x="1140989" y="138617"/>
                  <a:pt x="1137338" y="141548"/>
                </a:cubicBezTo>
                <a:cubicBezTo>
                  <a:pt x="1136166" y="144148"/>
                  <a:pt x="1134992" y="146751"/>
                  <a:pt x="1133970" y="149403"/>
                </a:cubicBezTo>
                <a:cubicBezTo>
                  <a:pt x="1132069" y="154334"/>
                  <a:pt x="1130006" y="159210"/>
                  <a:pt x="1127965" y="164095"/>
                </a:cubicBezTo>
                <a:cubicBezTo>
                  <a:pt x="1126897" y="166664"/>
                  <a:pt x="1125830" y="169233"/>
                  <a:pt x="1124762" y="171802"/>
                </a:cubicBezTo>
                <a:cubicBezTo>
                  <a:pt x="1122961" y="176134"/>
                  <a:pt x="1121160" y="180466"/>
                  <a:pt x="1119359" y="184798"/>
                </a:cubicBezTo>
                <a:cubicBezTo>
                  <a:pt x="1116567" y="191508"/>
                  <a:pt x="1113778" y="198220"/>
                  <a:pt x="1111014" y="204941"/>
                </a:cubicBezTo>
                <a:cubicBezTo>
                  <a:pt x="1110590" y="205970"/>
                  <a:pt x="1110165" y="206999"/>
                  <a:pt x="1109729" y="208059"/>
                </a:cubicBezTo>
                <a:cubicBezTo>
                  <a:pt x="1108615" y="210762"/>
                  <a:pt x="1107505" y="213466"/>
                  <a:pt x="1106395" y="216170"/>
                </a:cubicBezTo>
                <a:cubicBezTo>
                  <a:pt x="1104320" y="220956"/>
                  <a:pt x="1103283" y="223349"/>
                  <a:pt x="1102147" y="224810"/>
                </a:cubicBezTo>
                <a:lnTo>
                  <a:pt x="1098261" y="227262"/>
                </a:lnTo>
                <a:lnTo>
                  <a:pt x="1098367" y="238475"/>
                </a:lnTo>
                <a:cubicBezTo>
                  <a:pt x="1098025" y="239757"/>
                  <a:pt x="1097684" y="241038"/>
                  <a:pt x="1097331" y="242358"/>
                </a:cubicBezTo>
                <a:cubicBezTo>
                  <a:pt x="1096958" y="243711"/>
                  <a:pt x="1096585" y="245064"/>
                  <a:pt x="1096201" y="246458"/>
                </a:cubicBezTo>
                <a:cubicBezTo>
                  <a:pt x="1093302" y="257363"/>
                  <a:pt x="1090901" y="268062"/>
                  <a:pt x="1089440" y="279206"/>
                </a:cubicBezTo>
                <a:cubicBezTo>
                  <a:pt x="1088878" y="282569"/>
                  <a:pt x="1088878" y="282569"/>
                  <a:pt x="1087316" y="283978"/>
                </a:cubicBezTo>
                <a:cubicBezTo>
                  <a:pt x="1087070" y="286587"/>
                  <a:pt x="1086924" y="289205"/>
                  <a:pt x="1086822" y="291822"/>
                </a:cubicBezTo>
                <a:cubicBezTo>
                  <a:pt x="1086756" y="293408"/>
                  <a:pt x="1086691" y="294993"/>
                  <a:pt x="1086623" y="296625"/>
                </a:cubicBezTo>
                <a:cubicBezTo>
                  <a:pt x="1086562" y="298294"/>
                  <a:pt x="1086501" y="299962"/>
                  <a:pt x="1086437" y="301681"/>
                </a:cubicBezTo>
                <a:cubicBezTo>
                  <a:pt x="1086336" y="304192"/>
                  <a:pt x="1086336" y="304192"/>
                  <a:pt x="1086233" y="306754"/>
                </a:cubicBezTo>
                <a:lnTo>
                  <a:pt x="1086007" y="312619"/>
                </a:lnTo>
                <a:lnTo>
                  <a:pt x="1087470" y="320554"/>
                </a:lnTo>
                <a:cubicBezTo>
                  <a:pt x="1089648" y="325409"/>
                  <a:pt x="1093111" y="329799"/>
                  <a:pt x="1098285" y="334611"/>
                </a:cubicBezTo>
                <a:cubicBezTo>
                  <a:pt x="1100424" y="336130"/>
                  <a:pt x="1100424" y="336130"/>
                  <a:pt x="1102607" y="337679"/>
                </a:cubicBezTo>
                <a:cubicBezTo>
                  <a:pt x="1104334" y="338951"/>
                  <a:pt x="1104334" y="338951"/>
                  <a:pt x="1106095" y="340248"/>
                </a:cubicBezTo>
                <a:cubicBezTo>
                  <a:pt x="1106095" y="341178"/>
                  <a:pt x="1106095" y="342108"/>
                  <a:pt x="1106095" y="343066"/>
                </a:cubicBezTo>
                <a:cubicBezTo>
                  <a:pt x="1107127" y="343183"/>
                  <a:pt x="1108158" y="343299"/>
                  <a:pt x="1109220" y="343419"/>
                </a:cubicBezTo>
                <a:cubicBezTo>
                  <a:pt x="1115473" y="344829"/>
                  <a:pt x="1120724" y="347416"/>
                  <a:pt x="1126403" y="350112"/>
                </a:cubicBezTo>
                <a:cubicBezTo>
                  <a:pt x="1128207" y="350926"/>
                  <a:pt x="1130012" y="351740"/>
                  <a:pt x="1131871" y="352579"/>
                </a:cubicBezTo>
                <a:cubicBezTo>
                  <a:pt x="1133159" y="353160"/>
                  <a:pt x="1134448" y="353741"/>
                  <a:pt x="1135776" y="354340"/>
                </a:cubicBezTo>
                <a:cubicBezTo>
                  <a:pt x="1135776" y="355270"/>
                  <a:pt x="1135776" y="356200"/>
                  <a:pt x="1135776" y="357158"/>
                </a:cubicBezTo>
                <a:cubicBezTo>
                  <a:pt x="1148107" y="360029"/>
                  <a:pt x="1158679" y="359101"/>
                  <a:pt x="1170143" y="354340"/>
                </a:cubicBezTo>
                <a:cubicBezTo>
                  <a:pt x="1172366" y="353468"/>
                  <a:pt x="1172366" y="353468"/>
                  <a:pt x="1174634" y="352579"/>
                </a:cubicBezTo>
                <a:cubicBezTo>
                  <a:pt x="1180354" y="349689"/>
                  <a:pt x="1185568" y="346355"/>
                  <a:pt x="1190890" y="342907"/>
                </a:cubicBezTo>
                <a:cubicBezTo>
                  <a:pt x="1195169" y="340228"/>
                  <a:pt x="1199557" y="337821"/>
                  <a:pt x="1204021" y="335404"/>
                </a:cubicBezTo>
                <a:cubicBezTo>
                  <a:pt x="1211989" y="330886"/>
                  <a:pt x="1217509" y="325766"/>
                  <a:pt x="1223255" y="319110"/>
                </a:cubicBezTo>
                <a:cubicBezTo>
                  <a:pt x="1224447" y="317947"/>
                  <a:pt x="1225639" y="316784"/>
                  <a:pt x="1226868" y="315587"/>
                </a:cubicBezTo>
                <a:cubicBezTo>
                  <a:pt x="1229855" y="311593"/>
                  <a:pt x="1230852" y="308240"/>
                  <a:pt x="1231859" y="303559"/>
                </a:cubicBezTo>
                <a:cubicBezTo>
                  <a:pt x="1232628" y="300790"/>
                  <a:pt x="1232628" y="300790"/>
                  <a:pt x="1234178" y="298059"/>
                </a:cubicBezTo>
                <a:cubicBezTo>
                  <a:pt x="1235964" y="294761"/>
                  <a:pt x="1236623" y="291807"/>
                  <a:pt x="1237314" y="288195"/>
                </a:cubicBezTo>
                <a:cubicBezTo>
                  <a:pt x="1239360" y="278571"/>
                  <a:pt x="1242414" y="272733"/>
                  <a:pt x="1249811" y="265559"/>
                </a:cubicBezTo>
                <a:cubicBezTo>
                  <a:pt x="1250842" y="265559"/>
                  <a:pt x="1251873" y="265559"/>
                  <a:pt x="1252935" y="265559"/>
                </a:cubicBezTo>
                <a:cubicBezTo>
                  <a:pt x="1252935" y="264629"/>
                  <a:pt x="1252935" y="263699"/>
                  <a:pt x="1252935" y="262741"/>
                </a:cubicBezTo>
                <a:cubicBezTo>
                  <a:pt x="1265591" y="253427"/>
                  <a:pt x="1280762" y="251648"/>
                  <a:pt x="1296675" y="252876"/>
                </a:cubicBezTo>
                <a:cubicBezTo>
                  <a:pt x="1300535" y="253563"/>
                  <a:pt x="1303901" y="254478"/>
                  <a:pt x="1307609" y="255695"/>
                </a:cubicBezTo>
                <a:cubicBezTo>
                  <a:pt x="1307609" y="256625"/>
                  <a:pt x="1307609" y="257555"/>
                  <a:pt x="1307609" y="258513"/>
                </a:cubicBezTo>
                <a:cubicBezTo>
                  <a:pt x="1309021" y="258619"/>
                  <a:pt x="1310432" y="258723"/>
                  <a:pt x="1311887" y="258832"/>
                </a:cubicBezTo>
                <a:cubicBezTo>
                  <a:pt x="1319573" y="260476"/>
                  <a:pt x="1322149" y="264416"/>
                  <a:pt x="1326715" y="269969"/>
                </a:cubicBezTo>
                <a:cubicBezTo>
                  <a:pt x="1334402" y="281220"/>
                  <a:pt x="1336114" y="294839"/>
                  <a:pt x="1334165" y="307836"/>
                </a:cubicBezTo>
                <a:cubicBezTo>
                  <a:pt x="1332176" y="311898"/>
                  <a:pt x="1332176" y="311898"/>
                  <a:pt x="1329479" y="314882"/>
                </a:cubicBezTo>
                <a:cubicBezTo>
                  <a:pt x="1327417" y="314882"/>
                  <a:pt x="1325355" y="314882"/>
                  <a:pt x="1323231" y="314882"/>
                </a:cubicBezTo>
                <a:cubicBezTo>
                  <a:pt x="1323231" y="315812"/>
                  <a:pt x="1323231" y="316742"/>
                  <a:pt x="1323231" y="317700"/>
                </a:cubicBezTo>
                <a:lnTo>
                  <a:pt x="1322774" y="317838"/>
                </a:lnTo>
                <a:lnTo>
                  <a:pt x="1323295" y="317838"/>
                </a:lnTo>
                <a:cubicBezTo>
                  <a:pt x="1323295" y="316907"/>
                  <a:pt x="1323295" y="315977"/>
                  <a:pt x="1323295" y="315019"/>
                </a:cubicBezTo>
                <a:cubicBezTo>
                  <a:pt x="1324842" y="315019"/>
                  <a:pt x="1326388" y="315019"/>
                  <a:pt x="1327982" y="315019"/>
                </a:cubicBezTo>
                <a:cubicBezTo>
                  <a:pt x="1325845" y="321328"/>
                  <a:pt x="1322753" y="323742"/>
                  <a:pt x="1317047" y="327702"/>
                </a:cubicBezTo>
                <a:cubicBezTo>
                  <a:pt x="1316531" y="329097"/>
                  <a:pt x="1316016" y="330492"/>
                  <a:pt x="1315484" y="331930"/>
                </a:cubicBezTo>
                <a:cubicBezTo>
                  <a:pt x="1312599" y="332959"/>
                  <a:pt x="1312599" y="332959"/>
                  <a:pt x="1309139" y="333603"/>
                </a:cubicBezTo>
                <a:cubicBezTo>
                  <a:pt x="1307993" y="333827"/>
                  <a:pt x="1306847" y="334050"/>
                  <a:pt x="1305666" y="334280"/>
                </a:cubicBezTo>
                <a:cubicBezTo>
                  <a:pt x="1304783" y="334434"/>
                  <a:pt x="1303899" y="334589"/>
                  <a:pt x="1302988" y="334748"/>
                </a:cubicBezTo>
                <a:lnTo>
                  <a:pt x="1305905" y="332775"/>
                </a:lnTo>
                <a:lnTo>
                  <a:pt x="1304485" y="333202"/>
                </a:lnTo>
                <a:cubicBezTo>
                  <a:pt x="1302987" y="334640"/>
                  <a:pt x="1302987" y="334640"/>
                  <a:pt x="1301459" y="336108"/>
                </a:cubicBezTo>
                <a:cubicBezTo>
                  <a:pt x="1298237" y="338839"/>
                  <a:pt x="1298237" y="338839"/>
                  <a:pt x="1291989" y="338839"/>
                </a:cubicBezTo>
                <a:cubicBezTo>
                  <a:pt x="1291473" y="340234"/>
                  <a:pt x="1290957" y="341629"/>
                  <a:pt x="1290426" y="343066"/>
                </a:cubicBezTo>
                <a:cubicBezTo>
                  <a:pt x="1288879" y="343415"/>
                  <a:pt x="1287333" y="343764"/>
                  <a:pt x="1285740" y="344123"/>
                </a:cubicBezTo>
                <a:cubicBezTo>
                  <a:pt x="1266905" y="348491"/>
                  <a:pt x="1249005" y="369098"/>
                  <a:pt x="1237314" y="382525"/>
                </a:cubicBezTo>
                <a:cubicBezTo>
                  <a:pt x="1235678" y="385783"/>
                  <a:pt x="1234122" y="389075"/>
                  <a:pt x="1232628" y="392389"/>
                </a:cubicBezTo>
                <a:cubicBezTo>
                  <a:pt x="1231317" y="394515"/>
                  <a:pt x="1229981" y="396629"/>
                  <a:pt x="1228625" y="398731"/>
                </a:cubicBezTo>
                <a:cubicBezTo>
                  <a:pt x="1221457" y="410300"/>
                  <a:pt x="1219465" y="421836"/>
                  <a:pt x="1222822" y="434798"/>
                </a:cubicBezTo>
                <a:cubicBezTo>
                  <a:pt x="1229360" y="453710"/>
                  <a:pt x="1244088" y="472467"/>
                  <a:pt x="1260746" y="485398"/>
                </a:cubicBezTo>
                <a:cubicBezTo>
                  <a:pt x="1264961" y="487349"/>
                  <a:pt x="1264961" y="487349"/>
                  <a:pt x="1268556" y="488216"/>
                </a:cubicBezTo>
                <a:cubicBezTo>
                  <a:pt x="1268556" y="489146"/>
                  <a:pt x="1268556" y="490076"/>
                  <a:pt x="1268556" y="491034"/>
                </a:cubicBezTo>
                <a:cubicBezTo>
                  <a:pt x="1288790" y="497071"/>
                  <a:pt x="1319055" y="498555"/>
                  <a:pt x="1338852" y="489625"/>
                </a:cubicBezTo>
                <a:cubicBezTo>
                  <a:pt x="1341711" y="489213"/>
                  <a:pt x="1344575" y="488837"/>
                  <a:pt x="1347444" y="488480"/>
                </a:cubicBezTo>
                <a:cubicBezTo>
                  <a:pt x="1355372" y="487345"/>
                  <a:pt x="1362033" y="485390"/>
                  <a:pt x="1369362" y="482513"/>
                </a:cubicBezTo>
                <a:cubicBezTo>
                  <a:pt x="1375665" y="480318"/>
                  <a:pt x="1382189" y="479322"/>
                  <a:pt x="1388840" y="478351"/>
                </a:cubicBezTo>
                <a:cubicBezTo>
                  <a:pt x="1388840" y="477421"/>
                  <a:pt x="1388840" y="476492"/>
                  <a:pt x="1388840" y="475533"/>
                </a:cubicBezTo>
                <a:cubicBezTo>
                  <a:pt x="1391083" y="474821"/>
                  <a:pt x="1393329" y="474118"/>
                  <a:pt x="1395576" y="473419"/>
                </a:cubicBezTo>
                <a:cubicBezTo>
                  <a:pt x="1396827" y="473027"/>
                  <a:pt x="1398077" y="472635"/>
                  <a:pt x="1399365" y="472230"/>
                </a:cubicBezTo>
                <a:cubicBezTo>
                  <a:pt x="1402899" y="471305"/>
                  <a:pt x="1402899" y="471305"/>
                  <a:pt x="1407585" y="471305"/>
                </a:cubicBezTo>
                <a:cubicBezTo>
                  <a:pt x="1408101" y="469910"/>
                  <a:pt x="1408616" y="468515"/>
                  <a:pt x="1409147" y="467078"/>
                </a:cubicBezTo>
                <a:cubicBezTo>
                  <a:pt x="1412388" y="465580"/>
                  <a:pt x="1412388" y="465580"/>
                  <a:pt x="1416470" y="464259"/>
                </a:cubicBezTo>
                <a:cubicBezTo>
                  <a:pt x="1424029" y="461705"/>
                  <a:pt x="1431130" y="458955"/>
                  <a:pt x="1437949" y="455011"/>
                </a:cubicBezTo>
                <a:cubicBezTo>
                  <a:pt x="1442765" y="452574"/>
                  <a:pt x="1447553" y="451394"/>
                  <a:pt x="1452887" y="450167"/>
                </a:cubicBezTo>
                <a:cubicBezTo>
                  <a:pt x="1452887" y="449237"/>
                  <a:pt x="1452887" y="448307"/>
                  <a:pt x="1452887" y="447349"/>
                </a:cubicBezTo>
                <a:cubicBezTo>
                  <a:pt x="1453714" y="446944"/>
                  <a:pt x="1454541" y="446539"/>
                  <a:pt x="1455394" y="446122"/>
                </a:cubicBezTo>
                <a:cubicBezTo>
                  <a:pt x="1459151" y="444278"/>
                  <a:pt x="1462902" y="442422"/>
                  <a:pt x="1466653" y="440567"/>
                </a:cubicBezTo>
                <a:cubicBezTo>
                  <a:pt x="1467955" y="439930"/>
                  <a:pt x="1469256" y="439293"/>
                  <a:pt x="1470598" y="438637"/>
                </a:cubicBezTo>
                <a:cubicBezTo>
                  <a:pt x="1471852" y="438016"/>
                  <a:pt x="1473105" y="437393"/>
                  <a:pt x="1474397" y="436752"/>
                </a:cubicBezTo>
                <a:cubicBezTo>
                  <a:pt x="1475550" y="436184"/>
                  <a:pt x="1476703" y="435616"/>
                  <a:pt x="1477892" y="435030"/>
                </a:cubicBezTo>
                <a:cubicBezTo>
                  <a:pt x="1480966" y="433279"/>
                  <a:pt x="1483173" y="431373"/>
                  <a:pt x="1485691" y="429029"/>
                </a:cubicBezTo>
                <a:cubicBezTo>
                  <a:pt x="1486737" y="428575"/>
                  <a:pt x="1487781" y="428121"/>
                  <a:pt x="1488858" y="427653"/>
                </a:cubicBezTo>
                <a:cubicBezTo>
                  <a:pt x="1492438" y="425977"/>
                  <a:pt x="1493705" y="424453"/>
                  <a:pt x="1495943" y="421454"/>
                </a:cubicBezTo>
                <a:cubicBezTo>
                  <a:pt x="1507114" y="407544"/>
                  <a:pt x="1519758" y="393513"/>
                  <a:pt x="1538608" y="388338"/>
                </a:cubicBezTo>
                <a:cubicBezTo>
                  <a:pt x="1541025" y="388250"/>
                  <a:pt x="1541025" y="388250"/>
                  <a:pt x="1543490" y="388161"/>
                </a:cubicBezTo>
                <a:cubicBezTo>
                  <a:pt x="1545535" y="387984"/>
                  <a:pt x="1545535" y="387984"/>
                  <a:pt x="1547621" y="387804"/>
                </a:cubicBezTo>
                <a:cubicBezTo>
                  <a:pt x="1560659" y="387094"/>
                  <a:pt x="1568716" y="390117"/>
                  <a:pt x="1579418" y="396617"/>
                </a:cubicBezTo>
                <a:cubicBezTo>
                  <a:pt x="1581361" y="397687"/>
                  <a:pt x="1581361" y="397687"/>
                  <a:pt x="1583342" y="398780"/>
                </a:cubicBezTo>
                <a:cubicBezTo>
                  <a:pt x="1593703" y="405068"/>
                  <a:pt x="1598513" y="412459"/>
                  <a:pt x="1601288" y="423392"/>
                </a:cubicBezTo>
                <a:cubicBezTo>
                  <a:pt x="1603295" y="436596"/>
                  <a:pt x="1603517" y="449033"/>
                  <a:pt x="1594484" y="460159"/>
                </a:cubicBezTo>
                <a:cubicBezTo>
                  <a:pt x="1588468" y="466462"/>
                  <a:pt x="1582607" y="471150"/>
                  <a:pt x="1574732" y="475533"/>
                </a:cubicBezTo>
                <a:cubicBezTo>
                  <a:pt x="1573862" y="476043"/>
                  <a:pt x="1572993" y="476553"/>
                  <a:pt x="1572097" y="477078"/>
                </a:cubicBezTo>
                <a:cubicBezTo>
                  <a:pt x="1566828" y="478935"/>
                  <a:pt x="1561641" y="478744"/>
                  <a:pt x="1556066" y="478737"/>
                </a:cubicBezTo>
                <a:cubicBezTo>
                  <a:pt x="1553587" y="478765"/>
                  <a:pt x="1551109" y="478795"/>
                  <a:pt x="1548631" y="478825"/>
                </a:cubicBezTo>
                <a:cubicBezTo>
                  <a:pt x="1544751" y="478857"/>
                  <a:pt x="1540871" y="478880"/>
                  <a:pt x="1536991" y="478889"/>
                </a:cubicBezTo>
                <a:cubicBezTo>
                  <a:pt x="1516714" y="478693"/>
                  <a:pt x="1516714" y="478693"/>
                  <a:pt x="1498188" y="485398"/>
                </a:cubicBezTo>
                <a:cubicBezTo>
                  <a:pt x="1496062" y="486488"/>
                  <a:pt x="1496062" y="486488"/>
                  <a:pt x="1493892" y="487600"/>
                </a:cubicBezTo>
                <a:cubicBezTo>
                  <a:pt x="1492733" y="488268"/>
                  <a:pt x="1491573" y="488937"/>
                  <a:pt x="1490377" y="489625"/>
                </a:cubicBezTo>
                <a:cubicBezTo>
                  <a:pt x="1484304" y="493012"/>
                  <a:pt x="1478212" y="495675"/>
                  <a:pt x="1471650" y="498185"/>
                </a:cubicBezTo>
                <a:cubicBezTo>
                  <a:pt x="1467148" y="500054"/>
                  <a:pt x="1463242" y="502632"/>
                  <a:pt x="1459135" y="505127"/>
                </a:cubicBezTo>
                <a:cubicBezTo>
                  <a:pt x="1456968" y="506120"/>
                  <a:pt x="1454786" y="507086"/>
                  <a:pt x="1452594" y="508033"/>
                </a:cubicBezTo>
                <a:cubicBezTo>
                  <a:pt x="1444148" y="511772"/>
                  <a:pt x="1435969" y="515903"/>
                  <a:pt x="1427795" y="520100"/>
                </a:cubicBezTo>
                <a:cubicBezTo>
                  <a:pt x="1425784" y="521114"/>
                  <a:pt x="1425784" y="521114"/>
                  <a:pt x="1423733" y="522148"/>
                </a:cubicBezTo>
                <a:cubicBezTo>
                  <a:pt x="1422478" y="522798"/>
                  <a:pt x="1421223" y="523449"/>
                  <a:pt x="1419929" y="524118"/>
                </a:cubicBezTo>
                <a:cubicBezTo>
                  <a:pt x="1418794" y="524701"/>
                  <a:pt x="1417658" y="525283"/>
                  <a:pt x="1416487" y="525883"/>
                </a:cubicBezTo>
                <a:cubicBezTo>
                  <a:pt x="1413349" y="527646"/>
                  <a:pt x="1413349" y="527646"/>
                  <a:pt x="1412271" y="531902"/>
                </a:cubicBezTo>
                <a:cubicBezTo>
                  <a:pt x="1407205" y="535203"/>
                  <a:pt x="1402819" y="536744"/>
                  <a:pt x="1396650" y="537539"/>
                </a:cubicBezTo>
                <a:cubicBezTo>
                  <a:pt x="1396650" y="538469"/>
                  <a:pt x="1396650" y="539399"/>
                  <a:pt x="1396650" y="540357"/>
                </a:cubicBezTo>
                <a:cubicBezTo>
                  <a:pt x="1395609" y="540735"/>
                  <a:pt x="1394568" y="541113"/>
                  <a:pt x="1393495" y="541502"/>
                </a:cubicBezTo>
                <a:cubicBezTo>
                  <a:pt x="1381840" y="545973"/>
                  <a:pt x="1372279" y="551715"/>
                  <a:pt x="1362284" y="558678"/>
                </a:cubicBezTo>
                <a:cubicBezTo>
                  <a:pt x="1360170" y="560088"/>
                  <a:pt x="1358055" y="561497"/>
                  <a:pt x="1355937" y="562905"/>
                </a:cubicBezTo>
                <a:cubicBezTo>
                  <a:pt x="1348556" y="567937"/>
                  <a:pt x="1341292" y="573085"/>
                  <a:pt x="1334165" y="578406"/>
                </a:cubicBezTo>
                <a:cubicBezTo>
                  <a:pt x="1332697" y="579472"/>
                  <a:pt x="1332697" y="579472"/>
                  <a:pt x="1331200" y="580559"/>
                </a:cubicBezTo>
                <a:cubicBezTo>
                  <a:pt x="1325067" y="585430"/>
                  <a:pt x="1323406" y="589771"/>
                  <a:pt x="1322175" y="596793"/>
                </a:cubicBezTo>
                <a:cubicBezTo>
                  <a:pt x="1321669" y="599545"/>
                  <a:pt x="1321669" y="599545"/>
                  <a:pt x="1320106" y="602363"/>
                </a:cubicBezTo>
                <a:cubicBezTo>
                  <a:pt x="1318419" y="618189"/>
                  <a:pt x="1322416" y="632767"/>
                  <a:pt x="1328015" y="647640"/>
                </a:cubicBezTo>
                <a:cubicBezTo>
                  <a:pt x="1331267" y="656625"/>
                  <a:pt x="1333170" y="666179"/>
                  <a:pt x="1332604" y="675643"/>
                </a:cubicBezTo>
                <a:cubicBezTo>
                  <a:pt x="1333634" y="675643"/>
                  <a:pt x="1334665" y="675643"/>
                  <a:pt x="1335727" y="675643"/>
                </a:cubicBezTo>
                <a:cubicBezTo>
                  <a:pt x="1337571" y="680632"/>
                  <a:pt x="1337591" y="684795"/>
                  <a:pt x="1337741" y="690059"/>
                </a:cubicBezTo>
                <a:cubicBezTo>
                  <a:pt x="1337826" y="692114"/>
                  <a:pt x="1337913" y="694168"/>
                  <a:pt x="1338003" y="696222"/>
                </a:cubicBezTo>
                <a:cubicBezTo>
                  <a:pt x="1338142" y="699444"/>
                  <a:pt x="1338266" y="702664"/>
                  <a:pt x="1338340" y="705887"/>
                </a:cubicBezTo>
                <a:cubicBezTo>
                  <a:pt x="1338372" y="720474"/>
                  <a:pt x="1338372" y="720474"/>
                  <a:pt x="1345277" y="733245"/>
                </a:cubicBezTo>
                <a:cubicBezTo>
                  <a:pt x="1350822" y="737861"/>
                  <a:pt x="1355921" y="739823"/>
                  <a:pt x="1363162" y="741612"/>
                </a:cubicBezTo>
                <a:cubicBezTo>
                  <a:pt x="1370672" y="743533"/>
                  <a:pt x="1377197" y="745750"/>
                  <a:pt x="1384154" y="748922"/>
                </a:cubicBezTo>
                <a:cubicBezTo>
                  <a:pt x="1387833" y="749898"/>
                  <a:pt x="1387833" y="749898"/>
                  <a:pt x="1391476" y="750419"/>
                </a:cubicBezTo>
                <a:cubicBezTo>
                  <a:pt x="1393499" y="750747"/>
                  <a:pt x="1393499" y="750747"/>
                  <a:pt x="1395564" y="751080"/>
                </a:cubicBezTo>
                <a:cubicBezTo>
                  <a:pt x="1397648" y="751407"/>
                  <a:pt x="1397648" y="751407"/>
                  <a:pt x="1399775" y="751740"/>
                </a:cubicBezTo>
                <a:cubicBezTo>
                  <a:pt x="1401810" y="752111"/>
                  <a:pt x="1401810" y="752111"/>
                  <a:pt x="1403887" y="752489"/>
                </a:cubicBezTo>
                <a:cubicBezTo>
                  <a:pt x="1424247" y="756131"/>
                  <a:pt x="1444708" y="756350"/>
                  <a:pt x="1465383" y="755969"/>
                </a:cubicBezTo>
                <a:cubicBezTo>
                  <a:pt x="1467019" y="755945"/>
                  <a:pt x="1468654" y="755921"/>
                  <a:pt x="1470339" y="755897"/>
                </a:cubicBezTo>
                <a:cubicBezTo>
                  <a:pt x="1480128" y="755450"/>
                  <a:pt x="1487899" y="752933"/>
                  <a:pt x="1496809" y="749313"/>
                </a:cubicBezTo>
                <a:cubicBezTo>
                  <a:pt x="1502876" y="746888"/>
                  <a:pt x="1509049" y="745091"/>
                  <a:pt x="1515371" y="743285"/>
                </a:cubicBezTo>
                <a:cubicBezTo>
                  <a:pt x="1515371" y="742356"/>
                  <a:pt x="1515371" y="741425"/>
                  <a:pt x="1515371" y="740467"/>
                </a:cubicBezTo>
                <a:cubicBezTo>
                  <a:pt x="1522710" y="737103"/>
                  <a:pt x="1529583" y="737106"/>
                  <a:pt x="1537632" y="737120"/>
                </a:cubicBezTo>
                <a:cubicBezTo>
                  <a:pt x="1538960" y="737122"/>
                  <a:pt x="1540289" y="737124"/>
                  <a:pt x="1541657" y="737127"/>
                </a:cubicBezTo>
                <a:cubicBezTo>
                  <a:pt x="1555502" y="737372"/>
                  <a:pt x="1564314" y="740697"/>
                  <a:pt x="1574732" y="748922"/>
                </a:cubicBezTo>
                <a:cubicBezTo>
                  <a:pt x="1586507" y="762822"/>
                  <a:pt x="1590347" y="775219"/>
                  <a:pt x="1588791" y="792608"/>
                </a:cubicBezTo>
                <a:cubicBezTo>
                  <a:pt x="1587728" y="797050"/>
                  <a:pt x="1586468" y="801261"/>
                  <a:pt x="1584105" y="805291"/>
                </a:cubicBezTo>
                <a:cubicBezTo>
                  <a:pt x="1583074" y="805756"/>
                  <a:pt x="1582043" y="806221"/>
                  <a:pt x="1580981" y="806700"/>
                </a:cubicBezTo>
                <a:cubicBezTo>
                  <a:pt x="1580240" y="807892"/>
                  <a:pt x="1579499" y="809083"/>
                  <a:pt x="1578735" y="810311"/>
                </a:cubicBezTo>
                <a:cubicBezTo>
                  <a:pt x="1577930" y="811445"/>
                  <a:pt x="1577124" y="812579"/>
                  <a:pt x="1576295" y="813746"/>
                </a:cubicBezTo>
                <a:lnTo>
                  <a:pt x="1571652" y="813746"/>
                </a:lnTo>
                <a:lnTo>
                  <a:pt x="1571785" y="814106"/>
                </a:lnTo>
                <a:cubicBezTo>
                  <a:pt x="1572816" y="814571"/>
                  <a:pt x="1573846" y="815036"/>
                  <a:pt x="1574909" y="815515"/>
                </a:cubicBezTo>
                <a:cubicBezTo>
                  <a:pt x="1572126" y="818758"/>
                  <a:pt x="1569968" y="820871"/>
                  <a:pt x="1565463" y="821839"/>
                </a:cubicBezTo>
                <a:lnTo>
                  <a:pt x="1562085" y="822101"/>
                </a:lnTo>
                <a:lnTo>
                  <a:pt x="1551301" y="825020"/>
                </a:lnTo>
                <a:cubicBezTo>
                  <a:pt x="1551301" y="825950"/>
                  <a:pt x="1551301" y="826880"/>
                  <a:pt x="1551301" y="827838"/>
                </a:cubicBezTo>
                <a:cubicBezTo>
                  <a:pt x="1526697" y="828735"/>
                  <a:pt x="1507496" y="825036"/>
                  <a:pt x="1485380" y="815007"/>
                </a:cubicBezTo>
                <a:cubicBezTo>
                  <a:pt x="1468723" y="807743"/>
                  <a:pt x="1449749" y="809144"/>
                  <a:pt x="1431603" y="808726"/>
                </a:cubicBezTo>
                <a:cubicBezTo>
                  <a:pt x="1429115" y="808665"/>
                  <a:pt x="1426627" y="808604"/>
                  <a:pt x="1424140" y="808542"/>
                </a:cubicBezTo>
                <a:cubicBezTo>
                  <a:pt x="1418101" y="808392"/>
                  <a:pt x="1412062" y="808249"/>
                  <a:pt x="1406023" y="808109"/>
                </a:cubicBezTo>
                <a:cubicBezTo>
                  <a:pt x="1406023" y="809040"/>
                  <a:pt x="1406023" y="809970"/>
                  <a:pt x="1406023" y="810928"/>
                </a:cubicBezTo>
                <a:cubicBezTo>
                  <a:pt x="1404716" y="811118"/>
                  <a:pt x="1404716" y="811118"/>
                  <a:pt x="1403383" y="811311"/>
                </a:cubicBezTo>
                <a:cubicBezTo>
                  <a:pt x="1372054" y="815110"/>
                  <a:pt x="1372054" y="815110"/>
                  <a:pt x="1345442" y="828907"/>
                </a:cubicBezTo>
                <a:cubicBezTo>
                  <a:pt x="1338843" y="837605"/>
                  <a:pt x="1338313" y="846434"/>
                  <a:pt x="1337875" y="856639"/>
                </a:cubicBezTo>
                <a:cubicBezTo>
                  <a:pt x="1337815" y="857805"/>
                  <a:pt x="1337754" y="858970"/>
                  <a:pt x="1337692" y="860171"/>
                </a:cubicBezTo>
                <a:cubicBezTo>
                  <a:pt x="1337547" y="863016"/>
                  <a:pt x="1337417" y="865861"/>
                  <a:pt x="1337290" y="868706"/>
                </a:cubicBezTo>
                <a:cubicBezTo>
                  <a:pt x="1336258" y="868706"/>
                  <a:pt x="1335228" y="868706"/>
                  <a:pt x="1334165" y="868706"/>
                </a:cubicBezTo>
                <a:lnTo>
                  <a:pt x="1334165" y="870034"/>
                </a:lnTo>
                <a:lnTo>
                  <a:pt x="1334237" y="869093"/>
                </a:lnTo>
                <a:cubicBezTo>
                  <a:pt x="1334753" y="869093"/>
                  <a:pt x="1335268" y="869093"/>
                  <a:pt x="1335800" y="869093"/>
                </a:cubicBezTo>
                <a:cubicBezTo>
                  <a:pt x="1335884" y="871559"/>
                  <a:pt x="1335944" y="874025"/>
                  <a:pt x="1335995" y="876491"/>
                </a:cubicBezTo>
                <a:cubicBezTo>
                  <a:pt x="1336030" y="877865"/>
                  <a:pt x="1336067" y="879238"/>
                  <a:pt x="1336105" y="880653"/>
                </a:cubicBezTo>
                <a:cubicBezTo>
                  <a:pt x="1335800" y="884594"/>
                  <a:pt x="1335800" y="884594"/>
                  <a:pt x="1334294" y="887271"/>
                </a:cubicBezTo>
                <a:cubicBezTo>
                  <a:pt x="1332567" y="890428"/>
                  <a:pt x="1331982" y="892964"/>
                  <a:pt x="1331455" y="896440"/>
                </a:cubicBezTo>
                <a:cubicBezTo>
                  <a:pt x="1331267" y="897605"/>
                  <a:pt x="1331080" y="898769"/>
                  <a:pt x="1330887" y="899969"/>
                </a:cubicBezTo>
                <a:cubicBezTo>
                  <a:pt x="1330704" y="901174"/>
                  <a:pt x="1330521" y="902378"/>
                  <a:pt x="1330332" y="903618"/>
                </a:cubicBezTo>
                <a:cubicBezTo>
                  <a:pt x="1329968" y="906013"/>
                  <a:pt x="1329594" y="908405"/>
                  <a:pt x="1329209" y="910797"/>
                </a:cubicBezTo>
                <a:cubicBezTo>
                  <a:pt x="1329049" y="911853"/>
                  <a:pt x="1328889" y="912910"/>
                  <a:pt x="1328724" y="913998"/>
                </a:cubicBezTo>
                <a:cubicBezTo>
                  <a:pt x="1327933" y="917233"/>
                  <a:pt x="1326525" y="919703"/>
                  <a:pt x="1324865" y="922643"/>
                </a:cubicBezTo>
                <a:cubicBezTo>
                  <a:pt x="1323924" y="927743"/>
                  <a:pt x="1323282" y="932845"/>
                  <a:pt x="1322619" y="937979"/>
                </a:cubicBezTo>
                <a:lnTo>
                  <a:pt x="1318744" y="944961"/>
                </a:lnTo>
                <a:lnTo>
                  <a:pt x="1318544" y="946213"/>
                </a:lnTo>
                <a:cubicBezTo>
                  <a:pt x="1318360" y="949234"/>
                  <a:pt x="1318271" y="952260"/>
                  <a:pt x="1318251" y="955285"/>
                </a:cubicBezTo>
                <a:cubicBezTo>
                  <a:pt x="1318218" y="957637"/>
                  <a:pt x="1318218" y="957637"/>
                  <a:pt x="1318184" y="960036"/>
                </a:cubicBezTo>
                <a:cubicBezTo>
                  <a:pt x="1318624" y="965530"/>
                  <a:pt x="1319569" y="969724"/>
                  <a:pt x="1324024" y="973660"/>
                </a:cubicBezTo>
                <a:cubicBezTo>
                  <a:pt x="1327197" y="976583"/>
                  <a:pt x="1327950" y="979494"/>
                  <a:pt x="1329284" y="983382"/>
                </a:cubicBezTo>
                <a:cubicBezTo>
                  <a:pt x="1331875" y="990106"/>
                  <a:pt x="1334445" y="993582"/>
                  <a:pt x="1340414" y="998354"/>
                </a:cubicBezTo>
                <a:cubicBezTo>
                  <a:pt x="1342397" y="1000564"/>
                  <a:pt x="1344347" y="1002798"/>
                  <a:pt x="1346272" y="1005048"/>
                </a:cubicBezTo>
                <a:cubicBezTo>
                  <a:pt x="1360055" y="1020713"/>
                  <a:pt x="1376247" y="1031879"/>
                  <a:pt x="1394716" y="1042740"/>
                </a:cubicBezTo>
                <a:cubicBezTo>
                  <a:pt x="1397172" y="1044228"/>
                  <a:pt x="1399581" y="1045779"/>
                  <a:pt x="1401953" y="1047374"/>
                </a:cubicBezTo>
                <a:cubicBezTo>
                  <a:pt x="1410065" y="1052802"/>
                  <a:pt x="1417529" y="1056366"/>
                  <a:pt x="1427197" y="1059061"/>
                </a:cubicBezTo>
                <a:cubicBezTo>
                  <a:pt x="1431243" y="1060437"/>
                  <a:pt x="1434061" y="1061979"/>
                  <a:pt x="1437265" y="1064588"/>
                </a:cubicBezTo>
                <a:cubicBezTo>
                  <a:pt x="1437265" y="1065518"/>
                  <a:pt x="1437265" y="1066448"/>
                  <a:pt x="1437265" y="1067406"/>
                </a:cubicBezTo>
                <a:cubicBezTo>
                  <a:pt x="1439053" y="1067624"/>
                  <a:pt x="1439053" y="1067624"/>
                  <a:pt x="1440878" y="1067847"/>
                </a:cubicBezTo>
                <a:cubicBezTo>
                  <a:pt x="1445076" y="1068815"/>
                  <a:pt x="1445076" y="1068815"/>
                  <a:pt x="1447175" y="1070753"/>
                </a:cubicBezTo>
                <a:cubicBezTo>
                  <a:pt x="1450417" y="1073622"/>
                  <a:pt x="1453781" y="1075060"/>
                  <a:pt x="1457866" y="1076830"/>
                </a:cubicBezTo>
                <a:cubicBezTo>
                  <a:pt x="1459274" y="1077446"/>
                  <a:pt x="1460681" y="1078062"/>
                  <a:pt x="1462132" y="1078696"/>
                </a:cubicBezTo>
                <a:cubicBezTo>
                  <a:pt x="1463204" y="1079156"/>
                  <a:pt x="1464278" y="1079616"/>
                  <a:pt x="1465383" y="1080089"/>
                </a:cubicBezTo>
                <a:cubicBezTo>
                  <a:pt x="1465383" y="1081019"/>
                  <a:pt x="1465383" y="1081949"/>
                  <a:pt x="1465383" y="1082908"/>
                </a:cubicBezTo>
                <a:cubicBezTo>
                  <a:pt x="1466497" y="1083260"/>
                  <a:pt x="1467611" y="1083612"/>
                  <a:pt x="1468758" y="1083975"/>
                </a:cubicBezTo>
                <a:cubicBezTo>
                  <a:pt x="1473648" y="1085905"/>
                  <a:pt x="1477426" y="1088296"/>
                  <a:pt x="1481688" y="1091187"/>
                </a:cubicBezTo>
                <a:cubicBezTo>
                  <a:pt x="1483204" y="1092193"/>
                  <a:pt x="1484721" y="1093200"/>
                  <a:pt x="1486283" y="1094236"/>
                </a:cubicBezTo>
                <a:cubicBezTo>
                  <a:pt x="1489170" y="1096185"/>
                  <a:pt x="1492029" y="1098166"/>
                  <a:pt x="1494869" y="1100171"/>
                </a:cubicBezTo>
                <a:cubicBezTo>
                  <a:pt x="1510181" y="1107906"/>
                  <a:pt x="1527080" y="1109898"/>
                  <a:pt x="1544335" y="1109518"/>
                </a:cubicBezTo>
                <a:cubicBezTo>
                  <a:pt x="1579932" y="1108798"/>
                  <a:pt x="1579932" y="1108798"/>
                  <a:pt x="1593477" y="1119900"/>
                </a:cubicBezTo>
                <a:cubicBezTo>
                  <a:pt x="1600636" y="1127255"/>
                  <a:pt x="1604889" y="1135120"/>
                  <a:pt x="1605975" y="1144913"/>
                </a:cubicBezTo>
                <a:cubicBezTo>
                  <a:pt x="1607006" y="1144913"/>
                  <a:pt x="1608036" y="1144913"/>
                  <a:pt x="1609099" y="1144913"/>
                </a:cubicBezTo>
                <a:cubicBezTo>
                  <a:pt x="1609227" y="1148907"/>
                  <a:pt x="1609319" y="1152897"/>
                  <a:pt x="1609392" y="1156892"/>
                </a:cubicBezTo>
                <a:cubicBezTo>
                  <a:pt x="1609451" y="1158565"/>
                  <a:pt x="1609451" y="1158565"/>
                  <a:pt x="1609511" y="1160272"/>
                </a:cubicBezTo>
                <a:cubicBezTo>
                  <a:pt x="1609621" y="1168378"/>
                  <a:pt x="1607970" y="1174108"/>
                  <a:pt x="1604412" y="1181553"/>
                </a:cubicBezTo>
                <a:cubicBezTo>
                  <a:pt x="1603354" y="1184367"/>
                  <a:pt x="1602306" y="1187183"/>
                  <a:pt x="1601288" y="1190009"/>
                </a:cubicBezTo>
                <a:cubicBezTo>
                  <a:pt x="1600257" y="1190009"/>
                  <a:pt x="1599226" y="1190009"/>
                  <a:pt x="1598164" y="1190009"/>
                </a:cubicBezTo>
                <a:cubicBezTo>
                  <a:pt x="1597842" y="1190910"/>
                  <a:pt x="1597520" y="1191810"/>
                  <a:pt x="1597187" y="1192739"/>
                </a:cubicBezTo>
                <a:cubicBezTo>
                  <a:pt x="1596479" y="1193698"/>
                  <a:pt x="1595770" y="1194657"/>
                  <a:pt x="1595040" y="1195645"/>
                </a:cubicBezTo>
                <a:cubicBezTo>
                  <a:pt x="1591916" y="1196115"/>
                  <a:pt x="1588791" y="1196585"/>
                  <a:pt x="1585667" y="1197055"/>
                </a:cubicBezTo>
                <a:cubicBezTo>
                  <a:pt x="1583871" y="1199826"/>
                  <a:pt x="1583871" y="1199826"/>
                  <a:pt x="1582543" y="1202691"/>
                </a:cubicBezTo>
                <a:cubicBezTo>
                  <a:pt x="1575997" y="1204710"/>
                  <a:pt x="1569266" y="1204360"/>
                  <a:pt x="1562431" y="1204365"/>
                </a:cubicBezTo>
                <a:cubicBezTo>
                  <a:pt x="1561196" y="1204382"/>
                  <a:pt x="1559962" y="1204399"/>
                  <a:pt x="1558690" y="1204417"/>
                </a:cubicBezTo>
                <a:cubicBezTo>
                  <a:pt x="1543339" y="1204452"/>
                  <a:pt x="1531981" y="1199267"/>
                  <a:pt x="1521102" y="1189585"/>
                </a:cubicBezTo>
                <a:cubicBezTo>
                  <a:pt x="1515403" y="1183953"/>
                  <a:pt x="1510116" y="1178123"/>
                  <a:pt x="1505022" y="1172041"/>
                </a:cubicBezTo>
                <a:cubicBezTo>
                  <a:pt x="1493200" y="1158177"/>
                  <a:pt x="1475492" y="1147115"/>
                  <a:pt x="1457573" y="1140686"/>
                </a:cubicBezTo>
                <a:cubicBezTo>
                  <a:pt x="1457573" y="1139755"/>
                  <a:pt x="1457573" y="1138826"/>
                  <a:pt x="1457573" y="1137867"/>
                </a:cubicBezTo>
                <a:cubicBezTo>
                  <a:pt x="1456059" y="1137693"/>
                  <a:pt x="1454544" y="1137518"/>
                  <a:pt x="1452985" y="1137339"/>
                </a:cubicBezTo>
                <a:cubicBezTo>
                  <a:pt x="1451406" y="1137048"/>
                  <a:pt x="1449827" y="1136758"/>
                  <a:pt x="1448200" y="1136458"/>
                </a:cubicBezTo>
                <a:cubicBezTo>
                  <a:pt x="1447685" y="1135528"/>
                  <a:pt x="1447169" y="1134598"/>
                  <a:pt x="1446638" y="1133640"/>
                </a:cubicBezTo>
                <a:cubicBezTo>
                  <a:pt x="1444091" y="1132586"/>
                  <a:pt x="1441535" y="1131550"/>
                  <a:pt x="1438937" y="1130601"/>
                </a:cubicBezTo>
                <a:cubicBezTo>
                  <a:pt x="1435668" y="1129399"/>
                  <a:pt x="1432469" y="1128095"/>
                  <a:pt x="1429260" y="1126770"/>
                </a:cubicBezTo>
                <a:cubicBezTo>
                  <a:pt x="1423389" y="1124389"/>
                  <a:pt x="1417431" y="1122349"/>
                  <a:pt x="1411393" y="1120340"/>
                </a:cubicBezTo>
                <a:cubicBezTo>
                  <a:pt x="1404143" y="1117867"/>
                  <a:pt x="1397842" y="1115090"/>
                  <a:pt x="1391427" y="1111191"/>
                </a:cubicBezTo>
                <a:cubicBezTo>
                  <a:pt x="1388139" y="1109274"/>
                  <a:pt x="1384723" y="1108010"/>
                  <a:pt x="1381029" y="1106865"/>
                </a:cubicBezTo>
                <a:cubicBezTo>
                  <a:pt x="1381029" y="1105934"/>
                  <a:pt x="1381029" y="1105004"/>
                  <a:pt x="1381029" y="1104046"/>
                </a:cubicBezTo>
                <a:cubicBezTo>
                  <a:pt x="1379773" y="1103901"/>
                  <a:pt x="1378516" y="1103755"/>
                  <a:pt x="1377221" y="1103605"/>
                </a:cubicBezTo>
                <a:cubicBezTo>
                  <a:pt x="1370425" y="1102422"/>
                  <a:pt x="1364120" y="1100465"/>
                  <a:pt x="1357597" y="1098409"/>
                </a:cubicBezTo>
                <a:cubicBezTo>
                  <a:pt x="1355761" y="1097857"/>
                  <a:pt x="1353924" y="1097304"/>
                  <a:pt x="1352032" y="1096736"/>
                </a:cubicBezTo>
                <a:cubicBezTo>
                  <a:pt x="1350776" y="1096358"/>
                  <a:pt x="1349519" y="1095980"/>
                  <a:pt x="1348225" y="1095590"/>
                </a:cubicBezTo>
                <a:cubicBezTo>
                  <a:pt x="1348225" y="1094661"/>
                  <a:pt x="1348225" y="1093730"/>
                  <a:pt x="1348225" y="1092772"/>
                </a:cubicBezTo>
                <a:cubicBezTo>
                  <a:pt x="1344616" y="1092307"/>
                  <a:pt x="1341007" y="1091842"/>
                  <a:pt x="1337290" y="1091363"/>
                </a:cubicBezTo>
                <a:cubicBezTo>
                  <a:pt x="1337290" y="1090433"/>
                  <a:pt x="1337290" y="1089503"/>
                  <a:pt x="1337290" y="1088544"/>
                </a:cubicBezTo>
                <a:cubicBezTo>
                  <a:pt x="1334438" y="1088327"/>
                  <a:pt x="1334438" y="1088327"/>
                  <a:pt x="1331529" y="1088104"/>
                </a:cubicBezTo>
                <a:lnTo>
                  <a:pt x="1323297" y="1086611"/>
                </a:lnTo>
                <a:lnTo>
                  <a:pt x="1323297" y="1087618"/>
                </a:lnTo>
                <a:cubicBezTo>
                  <a:pt x="1322139" y="1087517"/>
                  <a:pt x="1320982" y="1087415"/>
                  <a:pt x="1319789" y="1087310"/>
                </a:cubicBezTo>
                <a:cubicBezTo>
                  <a:pt x="1300429" y="1085771"/>
                  <a:pt x="1281330" y="1084680"/>
                  <a:pt x="1262375" y="1089028"/>
                </a:cubicBezTo>
                <a:lnTo>
                  <a:pt x="1258728" y="1088205"/>
                </a:lnTo>
                <a:lnTo>
                  <a:pt x="1246964" y="1091489"/>
                </a:lnTo>
                <a:cubicBezTo>
                  <a:pt x="1237239" y="1097222"/>
                  <a:pt x="1228703" y="1103434"/>
                  <a:pt x="1223224" y="1112865"/>
                </a:cubicBezTo>
                <a:cubicBezTo>
                  <a:pt x="1220867" y="1116643"/>
                  <a:pt x="1217262" y="1119317"/>
                  <a:pt x="1213883" y="1122366"/>
                </a:cubicBezTo>
                <a:cubicBezTo>
                  <a:pt x="1213428" y="1123469"/>
                  <a:pt x="1212973" y="1124572"/>
                  <a:pt x="1212505" y="1125708"/>
                </a:cubicBezTo>
                <a:cubicBezTo>
                  <a:pt x="1210449" y="1130067"/>
                  <a:pt x="1207984" y="1132315"/>
                  <a:pt x="1204180" y="1135561"/>
                </a:cubicBezTo>
                <a:cubicBezTo>
                  <a:pt x="1202879" y="1136695"/>
                  <a:pt x="1201578" y="1137829"/>
                  <a:pt x="1200238" y="1138999"/>
                </a:cubicBezTo>
                <a:cubicBezTo>
                  <a:pt x="1197504" y="1141343"/>
                  <a:pt x="1194765" y="1143684"/>
                  <a:pt x="1192025" y="1146022"/>
                </a:cubicBezTo>
                <a:cubicBezTo>
                  <a:pt x="1181899" y="1154869"/>
                  <a:pt x="1174983" y="1161763"/>
                  <a:pt x="1173945" y="1174749"/>
                </a:cubicBezTo>
                <a:cubicBezTo>
                  <a:pt x="1173902" y="1177369"/>
                  <a:pt x="1173905" y="1179990"/>
                  <a:pt x="1173950" y="1182610"/>
                </a:cubicBezTo>
                <a:cubicBezTo>
                  <a:pt x="1173963" y="1183981"/>
                  <a:pt x="1173975" y="1185352"/>
                  <a:pt x="1173989" y="1186765"/>
                </a:cubicBezTo>
                <a:cubicBezTo>
                  <a:pt x="1174321" y="1197573"/>
                  <a:pt x="1176809" y="1205883"/>
                  <a:pt x="1182640" y="1215374"/>
                </a:cubicBezTo>
                <a:cubicBezTo>
                  <a:pt x="1183703" y="1217509"/>
                  <a:pt x="1184746" y="1219652"/>
                  <a:pt x="1185764" y="1221804"/>
                </a:cubicBezTo>
                <a:cubicBezTo>
                  <a:pt x="1186271" y="1222812"/>
                  <a:pt x="1186779" y="1223821"/>
                  <a:pt x="1187301" y="1224859"/>
                </a:cubicBezTo>
                <a:cubicBezTo>
                  <a:pt x="1188431" y="1227137"/>
                  <a:pt x="1189517" y="1229433"/>
                  <a:pt x="1190573" y="1231740"/>
                </a:cubicBezTo>
                <a:cubicBezTo>
                  <a:pt x="1194650" y="1240409"/>
                  <a:pt x="1199581" y="1247688"/>
                  <a:pt x="1205925" y="1255163"/>
                </a:cubicBezTo>
                <a:cubicBezTo>
                  <a:pt x="1208103" y="1257757"/>
                  <a:pt x="1210188" y="1260417"/>
                  <a:pt x="1212174" y="1263134"/>
                </a:cubicBezTo>
                <a:cubicBezTo>
                  <a:pt x="1218757" y="1272043"/>
                  <a:pt x="1225157" y="1277324"/>
                  <a:pt x="1235556" y="1282538"/>
                </a:cubicBezTo>
                <a:cubicBezTo>
                  <a:pt x="1236652" y="1283161"/>
                  <a:pt x="1237747" y="1283784"/>
                  <a:pt x="1238876" y="1284426"/>
                </a:cubicBezTo>
                <a:cubicBezTo>
                  <a:pt x="1238876" y="1285356"/>
                  <a:pt x="1238876" y="1286287"/>
                  <a:pt x="1238876" y="1287245"/>
                </a:cubicBezTo>
                <a:cubicBezTo>
                  <a:pt x="1239988" y="1287383"/>
                  <a:pt x="1241099" y="1287521"/>
                  <a:pt x="1242245" y="1287663"/>
                </a:cubicBezTo>
                <a:cubicBezTo>
                  <a:pt x="1253043" y="1290072"/>
                  <a:pt x="1264916" y="1297690"/>
                  <a:pt x="1271681" y="1305565"/>
                </a:cubicBezTo>
                <a:lnTo>
                  <a:pt x="1271742" y="1306172"/>
                </a:lnTo>
                <a:lnTo>
                  <a:pt x="1278525" y="1315767"/>
                </a:lnTo>
                <a:cubicBezTo>
                  <a:pt x="1279797" y="1319398"/>
                  <a:pt x="1280365" y="1323346"/>
                  <a:pt x="1281097" y="1327286"/>
                </a:cubicBezTo>
                <a:cubicBezTo>
                  <a:pt x="1281916" y="1337121"/>
                  <a:pt x="1281807" y="1346176"/>
                  <a:pt x="1277973" y="1355470"/>
                </a:cubicBezTo>
                <a:lnTo>
                  <a:pt x="1277460" y="1347025"/>
                </a:lnTo>
                <a:lnTo>
                  <a:pt x="1273531" y="1357991"/>
                </a:lnTo>
                <a:cubicBezTo>
                  <a:pt x="1270940" y="1361892"/>
                  <a:pt x="1267521" y="1365435"/>
                  <a:pt x="1263870" y="1368980"/>
                </a:cubicBezTo>
                <a:cubicBezTo>
                  <a:pt x="1258351" y="1372929"/>
                  <a:pt x="1253850" y="1376026"/>
                  <a:pt x="1246686" y="1376026"/>
                </a:cubicBezTo>
                <a:cubicBezTo>
                  <a:pt x="1246686" y="1376956"/>
                  <a:pt x="1246686" y="1377886"/>
                  <a:pt x="1246686" y="1378844"/>
                </a:cubicBezTo>
                <a:cubicBezTo>
                  <a:pt x="1241676" y="1379009"/>
                  <a:pt x="1236665" y="1379109"/>
                  <a:pt x="1231651" y="1379196"/>
                </a:cubicBezTo>
                <a:cubicBezTo>
                  <a:pt x="1230240" y="1379244"/>
                  <a:pt x="1228828" y="1379291"/>
                  <a:pt x="1227373" y="1379340"/>
                </a:cubicBezTo>
                <a:cubicBezTo>
                  <a:pt x="1218287" y="1379460"/>
                  <a:pt x="1213363" y="1378568"/>
                  <a:pt x="1206071" y="1373207"/>
                </a:cubicBezTo>
                <a:cubicBezTo>
                  <a:pt x="1204751" y="1372742"/>
                  <a:pt x="1203430" y="1372277"/>
                  <a:pt x="1202069" y="1371798"/>
                </a:cubicBezTo>
                <a:cubicBezTo>
                  <a:pt x="1193777" y="1368730"/>
                  <a:pt x="1188124" y="1363294"/>
                  <a:pt x="1184104" y="1356176"/>
                </a:cubicBezTo>
                <a:cubicBezTo>
                  <a:pt x="1180965" y="1349259"/>
                  <a:pt x="1178852" y="1342590"/>
                  <a:pt x="1177270" y="1335247"/>
                </a:cubicBezTo>
                <a:cubicBezTo>
                  <a:pt x="1175525" y="1327352"/>
                  <a:pt x="1172911" y="1320677"/>
                  <a:pt x="1169002" y="1313464"/>
                </a:cubicBezTo>
                <a:cubicBezTo>
                  <a:pt x="1166989" y="1309737"/>
                  <a:pt x="1165215" y="1305976"/>
                  <a:pt x="1163504" y="1302130"/>
                </a:cubicBezTo>
                <a:cubicBezTo>
                  <a:pt x="1163013" y="1301027"/>
                  <a:pt x="1162521" y="1299924"/>
                  <a:pt x="1162015" y="1298788"/>
                </a:cubicBezTo>
                <a:cubicBezTo>
                  <a:pt x="1160770" y="1295700"/>
                  <a:pt x="1160770" y="1295700"/>
                  <a:pt x="1160111" y="1292656"/>
                </a:cubicBezTo>
                <a:cubicBezTo>
                  <a:pt x="1159345" y="1289507"/>
                  <a:pt x="1159345" y="1289507"/>
                  <a:pt x="1154522" y="1287245"/>
                </a:cubicBezTo>
                <a:cubicBezTo>
                  <a:pt x="1153465" y="1284902"/>
                  <a:pt x="1152426" y="1282552"/>
                  <a:pt x="1151398" y="1280199"/>
                </a:cubicBezTo>
                <a:cubicBezTo>
                  <a:pt x="1149056" y="1276983"/>
                  <a:pt x="1146686" y="1273874"/>
                  <a:pt x="1144173" y="1270774"/>
                </a:cubicBezTo>
                <a:cubicBezTo>
                  <a:pt x="1143477" y="1269912"/>
                  <a:pt x="1142782" y="1269049"/>
                  <a:pt x="1142065" y="1268160"/>
                </a:cubicBezTo>
                <a:cubicBezTo>
                  <a:pt x="1139981" y="1265589"/>
                  <a:pt x="1137880" y="1263029"/>
                  <a:pt x="1135776" y="1260470"/>
                </a:cubicBezTo>
                <a:cubicBezTo>
                  <a:pt x="1134647" y="1259076"/>
                  <a:pt x="1133517" y="1257683"/>
                  <a:pt x="1132353" y="1256247"/>
                </a:cubicBezTo>
                <a:cubicBezTo>
                  <a:pt x="1126291" y="1249045"/>
                  <a:pt x="1121408" y="1244606"/>
                  <a:pt x="1112344" y="1240741"/>
                </a:cubicBezTo>
                <a:cubicBezTo>
                  <a:pt x="1110285" y="1239698"/>
                  <a:pt x="1108234" y="1238642"/>
                  <a:pt x="1106193" y="1237570"/>
                </a:cubicBezTo>
                <a:cubicBezTo>
                  <a:pt x="1104615" y="1236756"/>
                  <a:pt x="1103036" y="1235942"/>
                  <a:pt x="1101409" y="1235104"/>
                </a:cubicBezTo>
                <a:cubicBezTo>
                  <a:pt x="1101409" y="1233708"/>
                  <a:pt x="1101409" y="1232313"/>
                  <a:pt x="1101409" y="1230876"/>
                </a:cubicBezTo>
                <a:cubicBezTo>
                  <a:pt x="1089553" y="1230876"/>
                  <a:pt x="1077697" y="1230876"/>
                  <a:pt x="1065480" y="1230876"/>
                </a:cubicBezTo>
                <a:cubicBezTo>
                  <a:pt x="1064965" y="1232271"/>
                  <a:pt x="1064450" y="1233666"/>
                  <a:pt x="1063919" y="1235104"/>
                </a:cubicBezTo>
                <a:cubicBezTo>
                  <a:pt x="1062372" y="1235104"/>
                  <a:pt x="1060826" y="1235104"/>
                  <a:pt x="1059232" y="1235104"/>
                </a:cubicBezTo>
                <a:cubicBezTo>
                  <a:pt x="1059232" y="1236033"/>
                  <a:pt x="1059232" y="1236964"/>
                  <a:pt x="1059232" y="1237922"/>
                </a:cubicBezTo>
                <a:cubicBezTo>
                  <a:pt x="1052964" y="1240850"/>
                  <a:pt x="1046842" y="1243613"/>
                  <a:pt x="1040194" y="1245761"/>
                </a:cubicBezTo>
                <a:cubicBezTo>
                  <a:pt x="1036552" y="1246941"/>
                  <a:pt x="1033682" y="1248088"/>
                  <a:pt x="1030333" y="1249901"/>
                </a:cubicBezTo>
                <a:cubicBezTo>
                  <a:pt x="1025129" y="1252717"/>
                  <a:pt x="1019615" y="1254371"/>
                  <a:pt x="1013931" y="1256242"/>
                </a:cubicBezTo>
                <a:cubicBezTo>
                  <a:pt x="1009870" y="1257688"/>
                  <a:pt x="1008221" y="1258277"/>
                  <a:pt x="1005925" y="1261615"/>
                </a:cubicBezTo>
                <a:cubicBezTo>
                  <a:pt x="1005474" y="1262632"/>
                  <a:pt x="1005023" y="1263649"/>
                  <a:pt x="1004558" y="1264697"/>
                </a:cubicBezTo>
                <a:cubicBezTo>
                  <a:pt x="1004030" y="1265774"/>
                  <a:pt x="1003503" y="1266852"/>
                  <a:pt x="1002959" y="1267961"/>
                </a:cubicBezTo>
                <a:cubicBezTo>
                  <a:pt x="1001408" y="1271808"/>
                  <a:pt x="1000922" y="1274896"/>
                  <a:pt x="1000653" y="1278965"/>
                </a:cubicBezTo>
                <a:cubicBezTo>
                  <a:pt x="1000303" y="1284158"/>
                  <a:pt x="999467" y="1289055"/>
                  <a:pt x="998297" y="1294137"/>
                </a:cubicBezTo>
                <a:cubicBezTo>
                  <a:pt x="996204" y="1304306"/>
                  <a:pt x="996129" y="1314460"/>
                  <a:pt x="996162" y="1324765"/>
                </a:cubicBezTo>
                <a:cubicBezTo>
                  <a:pt x="996163" y="1325782"/>
                  <a:pt x="996163" y="1326799"/>
                  <a:pt x="996164" y="1327846"/>
                </a:cubicBezTo>
                <a:cubicBezTo>
                  <a:pt x="996263" y="1353742"/>
                  <a:pt x="1001081" y="1378188"/>
                  <a:pt x="1007780" y="1403329"/>
                </a:cubicBezTo>
                <a:cubicBezTo>
                  <a:pt x="1008163" y="1404772"/>
                  <a:pt x="1008546" y="1406215"/>
                  <a:pt x="1008940" y="1407701"/>
                </a:cubicBezTo>
                <a:cubicBezTo>
                  <a:pt x="1009316" y="1409030"/>
                  <a:pt x="1009693" y="1410360"/>
                  <a:pt x="1010080" y="1411730"/>
                </a:cubicBezTo>
                <a:cubicBezTo>
                  <a:pt x="1010409" y="1412900"/>
                  <a:pt x="1010737" y="1414071"/>
                  <a:pt x="1011075" y="1415277"/>
                </a:cubicBezTo>
                <a:cubicBezTo>
                  <a:pt x="1012501" y="1418612"/>
                  <a:pt x="1014136" y="1420168"/>
                  <a:pt x="1017055" y="1422530"/>
                </a:cubicBezTo>
                <a:cubicBezTo>
                  <a:pt x="1018770" y="1425162"/>
                  <a:pt x="1018770" y="1425162"/>
                  <a:pt x="1020277" y="1427991"/>
                </a:cubicBezTo>
                <a:cubicBezTo>
                  <a:pt x="1020778" y="1428917"/>
                  <a:pt x="1021280" y="1429844"/>
                  <a:pt x="1021796" y="1430798"/>
                </a:cubicBezTo>
                <a:cubicBezTo>
                  <a:pt x="1023303" y="1433804"/>
                  <a:pt x="1023303" y="1433804"/>
                  <a:pt x="1024579" y="1437239"/>
                </a:cubicBezTo>
                <a:cubicBezTo>
                  <a:pt x="1026915" y="1441803"/>
                  <a:pt x="1030098" y="1444534"/>
                  <a:pt x="1034043" y="1448072"/>
                </a:cubicBezTo>
                <a:lnTo>
                  <a:pt x="1043782" y="1464320"/>
                </a:lnTo>
                <a:lnTo>
                  <a:pt x="1050458" y="1472189"/>
                </a:lnTo>
                <a:cubicBezTo>
                  <a:pt x="1051737" y="1475181"/>
                  <a:pt x="1052277" y="1478513"/>
                  <a:pt x="1052926" y="1482370"/>
                </a:cubicBezTo>
                <a:cubicBezTo>
                  <a:pt x="1053325" y="1487224"/>
                  <a:pt x="1053364" y="1492038"/>
                  <a:pt x="1053316" y="1496903"/>
                </a:cubicBezTo>
                <a:cubicBezTo>
                  <a:pt x="1053328" y="1498142"/>
                  <a:pt x="1053340" y="1499382"/>
                  <a:pt x="1053352" y="1500660"/>
                </a:cubicBezTo>
                <a:cubicBezTo>
                  <a:pt x="1053348" y="1501856"/>
                  <a:pt x="1053344" y="1503052"/>
                  <a:pt x="1053341" y="1504285"/>
                </a:cubicBezTo>
                <a:cubicBezTo>
                  <a:pt x="1053336" y="1505355"/>
                  <a:pt x="1053333" y="1506426"/>
                  <a:pt x="1053329" y="1507529"/>
                </a:cubicBezTo>
                <a:cubicBezTo>
                  <a:pt x="1052876" y="1510927"/>
                  <a:pt x="1051672" y="1513237"/>
                  <a:pt x="1049801" y="1516192"/>
                </a:cubicBezTo>
                <a:lnTo>
                  <a:pt x="1047312" y="1516192"/>
                </a:lnTo>
                <a:lnTo>
                  <a:pt x="1043611" y="1522585"/>
                </a:lnTo>
                <a:cubicBezTo>
                  <a:pt x="1035301" y="1529631"/>
                  <a:pt x="1035301" y="1529631"/>
                  <a:pt x="1029552" y="1529631"/>
                </a:cubicBezTo>
                <a:cubicBezTo>
                  <a:pt x="1029294" y="1530503"/>
                  <a:pt x="1029036" y="1531375"/>
                  <a:pt x="1028771" y="1532273"/>
                </a:cubicBezTo>
                <a:cubicBezTo>
                  <a:pt x="1025795" y="1536076"/>
                  <a:pt x="1022970" y="1536733"/>
                  <a:pt x="1018013" y="1537640"/>
                </a:cubicBezTo>
                <a:cubicBezTo>
                  <a:pt x="1005216" y="1539038"/>
                  <a:pt x="992573" y="1539816"/>
                  <a:pt x="981126" y="1533859"/>
                </a:cubicBezTo>
                <a:cubicBezTo>
                  <a:pt x="979840" y="1533226"/>
                  <a:pt x="978553" y="1532594"/>
                  <a:pt x="977227" y="1531943"/>
                </a:cubicBezTo>
                <a:cubicBezTo>
                  <a:pt x="965286" y="1525877"/>
                  <a:pt x="959626" y="1520520"/>
                  <a:pt x="955376" y="1508751"/>
                </a:cubicBezTo>
                <a:cubicBezTo>
                  <a:pt x="954571" y="1505674"/>
                  <a:pt x="954571" y="1505674"/>
                  <a:pt x="954571" y="1500037"/>
                </a:cubicBezTo>
                <a:cubicBezTo>
                  <a:pt x="953539" y="1500037"/>
                  <a:pt x="952508" y="1500037"/>
                  <a:pt x="951446" y="1500037"/>
                </a:cubicBezTo>
                <a:cubicBezTo>
                  <a:pt x="951361" y="1495986"/>
                  <a:pt x="951299" y="1491935"/>
                  <a:pt x="951251" y="1487883"/>
                </a:cubicBezTo>
                <a:cubicBezTo>
                  <a:pt x="951224" y="1486744"/>
                  <a:pt x="951198" y="1485605"/>
                  <a:pt x="951171" y="1484431"/>
                </a:cubicBezTo>
                <a:cubicBezTo>
                  <a:pt x="951110" y="1477657"/>
                  <a:pt x="952093" y="1472660"/>
                  <a:pt x="954571" y="1466216"/>
                </a:cubicBezTo>
                <a:cubicBezTo>
                  <a:pt x="954867" y="1462451"/>
                  <a:pt x="955016" y="1458876"/>
                  <a:pt x="954961" y="1455118"/>
                </a:cubicBezTo>
                <a:cubicBezTo>
                  <a:pt x="954951" y="1454080"/>
                  <a:pt x="954942" y="1453042"/>
                  <a:pt x="954932" y="1451972"/>
                </a:cubicBezTo>
                <a:cubicBezTo>
                  <a:pt x="954606" y="1435235"/>
                  <a:pt x="952568" y="1419050"/>
                  <a:pt x="945099" y="1403594"/>
                </a:cubicBezTo>
                <a:cubicBezTo>
                  <a:pt x="943714" y="1400177"/>
                  <a:pt x="943046" y="1397128"/>
                  <a:pt x="942366" y="1393553"/>
                </a:cubicBezTo>
                <a:cubicBezTo>
                  <a:pt x="940837" y="1386134"/>
                  <a:pt x="937840" y="1379609"/>
                  <a:pt x="934451" y="1372734"/>
                </a:cubicBezTo>
                <a:cubicBezTo>
                  <a:pt x="932701" y="1368980"/>
                  <a:pt x="932701" y="1368980"/>
                  <a:pt x="931974" y="1365754"/>
                </a:cubicBezTo>
                <a:cubicBezTo>
                  <a:pt x="931699" y="1364958"/>
                  <a:pt x="931422" y="1364162"/>
                  <a:pt x="931138" y="1363343"/>
                </a:cubicBezTo>
                <a:cubicBezTo>
                  <a:pt x="929592" y="1362878"/>
                  <a:pt x="928045" y="1362413"/>
                  <a:pt x="926452" y="1361933"/>
                </a:cubicBezTo>
                <a:cubicBezTo>
                  <a:pt x="921830" y="1355261"/>
                  <a:pt x="920323" y="1348382"/>
                  <a:pt x="918641" y="1340795"/>
                </a:cubicBezTo>
                <a:cubicBezTo>
                  <a:pt x="918133" y="1338914"/>
                  <a:pt x="917616" y="1337034"/>
                  <a:pt x="917079" y="1335158"/>
                </a:cubicBezTo>
                <a:cubicBezTo>
                  <a:pt x="916048" y="1335158"/>
                  <a:pt x="915018" y="1335158"/>
                  <a:pt x="913955" y="1335158"/>
                </a:cubicBezTo>
                <a:cubicBezTo>
                  <a:pt x="913329" y="1333718"/>
                  <a:pt x="912703" y="1332277"/>
                  <a:pt x="912057" y="1330793"/>
                </a:cubicBezTo>
                <a:cubicBezTo>
                  <a:pt x="909497" y="1325424"/>
                  <a:pt x="906114" y="1320822"/>
                  <a:pt x="902142" y="1316222"/>
                </a:cubicBezTo>
                <a:cubicBezTo>
                  <a:pt x="901465" y="1315432"/>
                  <a:pt x="900788" y="1314642"/>
                  <a:pt x="900091" y="1313828"/>
                </a:cubicBezTo>
                <a:cubicBezTo>
                  <a:pt x="893705" y="1306618"/>
                  <a:pt x="886350" y="1301049"/>
                  <a:pt x="878026" y="1295700"/>
                </a:cubicBezTo>
                <a:cubicBezTo>
                  <a:pt x="876595" y="1294594"/>
                  <a:pt x="876595" y="1294594"/>
                  <a:pt x="875134" y="1293465"/>
                </a:cubicBezTo>
                <a:lnTo>
                  <a:pt x="869869" y="1291826"/>
                </a:lnTo>
                <a:lnTo>
                  <a:pt x="862384" y="1291327"/>
                </a:lnTo>
                <a:cubicBezTo>
                  <a:pt x="856441" y="1290067"/>
                  <a:pt x="850461" y="1290346"/>
                  <a:pt x="844390" y="1290461"/>
                </a:cubicBezTo>
                <a:cubicBezTo>
                  <a:pt x="842453" y="1290480"/>
                  <a:pt x="842453" y="1290480"/>
                  <a:pt x="840476" y="1290500"/>
                </a:cubicBezTo>
                <a:cubicBezTo>
                  <a:pt x="837322" y="1290532"/>
                  <a:pt x="834169" y="1290583"/>
                  <a:pt x="831015" y="1290637"/>
                </a:cubicBezTo>
                <a:cubicBezTo>
                  <a:pt x="831015" y="1291568"/>
                  <a:pt x="831015" y="1292498"/>
                  <a:pt x="831015" y="1293456"/>
                </a:cubicBezTo>
                <a:cubicBezTo>
                  <a:pt x="826519" y="1294808"/>
                  <a:pt x="822922" y="1295235"/>
                  <a:pt x="818225" y="1295570"/>
                </a:cubicBezTo>
                <a:lnTo>
                  <a:pt x="796774" y="1297671"/>
                </a:lnTo>
                <a:lnTo>
                  <a:pt x="783646" y="1305736"/>
                </a:lnTo>
                <a:cubicBezTo>
                  <a:pt x="776915" y="1312506"/>
                  <a:pt x="772692" y="1318638"/>
                  <a:pt x="769263" y="1327143"/>
                </a:cubicBezTo>
                <a:cubicBezTo>
                  <a:pt x="767116" y="1332340"/>
                  <a:pt x="767116" y="1332340"/>
                  <a:pt x="764797" y="1334360"/>
                </a:cubicBezTo>
                <a:lnTo>
                  <a:pt x="757875" y="1353503"/>
                </a:lnTo>
                <a:lnTo>
                  <a:pt x="755676" y="1367455"/>
                </a:lnTo>
                <a:lnTo>
                  <a:pt x="750558" y="1399690"/>
                </a:lnTo>
                <a:lnTo>
                  <a:pt x="753057" y="1411256"/>
                </a:lnTo>
                <a:cubicBezTo>
                  <a:pt x="753057" y="1413117"/>
                  <a:pt x="753057" y="1414976"/>
                  <a:pt x="753057" y="1416893"/>
                </a:cubicBezTo>
                <a:cubicBezTo>
                  <a:pt x="754087" y="1416893"/>
                  <a:pt x="755119" y="1416893"/>
                  <a:pt x="756181" y="1416893"/>
                </a:cubicBezTo>
                <a:cubicBezTo>
                  <a:pt x="759348" y="1422607"/>
                  <a:pt x="758101" y="1429902"/>
                  <a:pt x="758133" y="1436182"/>
                </a:cubicBezTo>
                <a:cubicBezTo>
                  <a:pt x="758182" y="1438458"/>
                  <a:pt x="758182" y="1438458"/>
                  <a:pt x="758231" y="1440781"/>
                </a:cubicBezTo>
                <a:cubicBezTo>
                  <a:pt x="758283" y="1450271"/>
                  <a:pt x="758174" y="1458360"/>
                  <a:pt x="750713" y="1465704"/>
                </a:cubicBezTo>
                <a:cubicBezTo>
                  <a:pt x="749940" y="1466193"/>
                  <a:pt x="749167" y="1466681"/>
                  <a:pt x="748370" y="1467185"/>
                </a:cubicBezTo>
                <a:cubicBezTo>
                  <a:pt x="743665" y="1470047"/>
                  <a:pt x="743665" y="1470047"/>
                  <a:pt x="741633" y="1473526"/>
                </a:cubicBezTo>
                <a:cubicBezTo>
                  <a:pt x="737793" y="1477248"/>
                  <a:pt x="733582" y="1477483"/>
                  <a:pt x="728154" y="1478343"/>
                </a:cubicBezTo>
                <a:cubicBezTo>
                  <a:pt x="724855" y="1478778"/>
                  <a:pt x="724855" y="1478778"/>
                  <a:pt x="721814" y="1480308"/>
                </a:cubicBezTo>
                <a:cubicBezTo>
                  <a:pt x="717303" y="1480523"/>
                  <a:pt x="712854" y="1480634"/>
                  <a:pt x="708341" y="1480661"/>
                </a:cubicBezTo>
                <a:cubicBezTo>
                  <a:pt x="707118" y="1480690"/>
                  <a:pt x="705896" y="1480719"/>
                  <a:pt x="704637" y="1480748"/>
                </a:cubicBezTo>
                <a:cubicBezTo>
                  <a:pt x="690446" y="1480834"/>
                  <a:pt x="679632" y="1476246"/>
                  <a:pt x="668507" y="1468418"/>
                </a:cubicBezTo>
                <a:cubicBezTo>
                  <a:pt x="662823" y="1463224"/>
                  <a:pt x="661745" y="1456995"/>
                  <a:pt x="660178" y="1450027"/>
                </a:cubicBezTo>
                <a:cubicBezTo>
                  <a:pt x="659725" y="1446589"/>
                  <a:pt x="659725" y="1446589"/>
                  <a:pt x="657767" y="1445078"/>
                </a:cubicBezTo>
                <a:cubicBezTo>
                  <a:pt x="656859" y="1433686"/>
                  <a:pt x="655965" y="1419178"/>
                  <a:pt x="663369" y="1409390"/>
                </a:cubicBezTo>
                <a:cubicBezTo>
                  <a:pt x="666078" y="1406601"/>
                  <a:pt x="668921" y="1404013"/>
                  <a:pt x="671826" y="1401392"/>
                </a:cubicBezTo>
                <a:cubicBezTo>
                  <a:pt x="675197" y="1397623"/>
                  <a:pt x="677125" y="1394916"/>
                  <a:pt x="678075" y="1390118"/>
                </a:cubicBezTo>
                <a:cubicBezTo>
                  <a:pt x="680137" y="1389653"/>
                  <a:pt x="682199" y="1389188"/>
                  <a:pt x="684323" y="1388709"/>
                </a:cubicBezTo>
                <a:cubicBezTo>
                  <a:pt x="684643" y="1387232"/>
                  <a:pt x="684964" y="1385755"/>
                  <a:pt x="685293" y="1384233"/>
                </a:cubicBezTo>
                <a:cubicBezTo>
                  <a:pt x="685718" y="1382290"/>
                  <a:pt x="686144" y="1380347"/>
                  <a:pt x="686569" y="1378404"/>
                </a:cubicBezTo>
                <a:cubicBezTo>
                  <a:pt x="686885" y="1376945"/>
                  <a:pt x="686885" y="1376945"/>
                  <a:pt x="687207" y="1375456"/>
                </a:cubicBezTo>
                <a:cubicBezTo>
                  <a:pt x="688115" y="1371315"/>
                  <a:pt x="689090" y="1367353"/>
                  <a:pt x="690572" y="1363343"/>
                </a:cubicBezTo>
                <a:cubicBezTo>
                  <a:pt x="692411" y="1350128"/>
                  <a:pt x="692374" y="1336672"/>
                  <a:pt x="692495" y="1323376"/>
                </a:cubicBezTo>
                <a:cubicBezTo>
                  <a:pt x="692524" y="1320586"/>
                  <a:pt x="692574" y="1317796"/>
                  <a:pt x="692625" y="1315006"/>
                </a:cubicBezTo>
                <a:cubicBezTo>
                  <a:pt x="692853" y="1300589"/>
                  <a:pt x="692853" y="1300589"/>
                  <a:pt x="687447" y="1287245"/>
                </a:cubicBezTo>
                <a:cubicBezTo>
                  <a:pt x="685901" y="1286780"/>
                  <a:pt x="684354" y="1286315"/>
                  <a:pt x="682761" y="1285835"/>
                </a:cubicBezTo>
                <a:cubicBezTo>
                  <a:pt x="680876" y="1283743"/>
                  <a:pt x="680876" y="1283743"/>
                  <a:pt x="678954" y="1281608"/>
                </a:cubicBezTo>
                <a:cubicBezTo>
                  <a:pt x="674854" y="1277278"/>
                  <a:pt x="674356" y="1276958"/>
                  <a:pt x="668702" y="1275971"/>
                </a:cubicBezTo>
                <a:cubicBezTo>
                  <a:pt x="666619" y="1274092"/>
                  <a:pt x="664536" y="1272213"/>
                  <a:pt x="662454" y="1270334"/>
                </a:cubicBezTo>
                <a:cubicBezTo>
                  <a:pt x="658341" y="1268566"/>
                  <a:pt x="658341" y="1268566"/>
                  <a:pt x="654643" y="1267516"/>
                </a:cubicBezTo>
                <a:cubicBezTo>
                  <a:pt x="654643" y="1266585"/>
                  <a:pt x="654643" y="1265656"/>
                  <a:pt x="654643" y="1264697"/>
                </a:cubicBezTo>
                <a:cubicBezTo>
                  <a:pt x="653161" y="1264581"/>
                  <a:pt x="651679" y="1264465"/>
                  <a:pt x="650152" y="1264345"/>
                </a:cubicBezTo>
                <a:cubicBezTo>
                  <a:pt x="642318" y="1263373"/>
                  <a:pt x="635297" y="1260465"/>
                  <a:pt x="628087" y="1257651"/>
                </a:cubicBezTo>
                <a:cubicBezTo>
                  <a:pt x="628087" y="1256721"/>
                  <a:pt x="628087" y="1255791"/>
                  <a:pt x="628087" y="1254833"/>
                </a:cubicBezTo>
                <a:cubicBezTo>
                  <a:pt x="627108" y="1254662"/>
                  <a:pt x="626129" y="1254491"/>
                  <a:pt x="625121" y="1254315"/>
                </a:cubicBezTo>
                <a:cubicBezTo>
                  <a:pt x="623845" y="1254079"/>
                  <a:pt x="622568" y="1253843"/>
                  <a:pt x="621252" y="1253600"/>
                </a:cubicBezTo>
                <a:cubicBezTo>
                  <a:pt x="619984" y="1253371"/>
                  <a:pt x="618716" y="1253142"/>
                  <a:pt x="617409" y="1252906"/>
                </a:cubicBezTo>
                <a:cubicBezTo>
                  <a:pt x="614027" y="1252014"/>
                  <a:pt x="614027" y="1252014"/>
                  <a:pt x="610904" y="1249196"/>
                </a:cubicBezTo>
                <a:cubicBezTo>
                  <a:pt x="592259" y="1248653"/>
                  <a:pt x="578635" y="1260869"/>
                  <a:pt x="565739" y="1271742"/>
                </a:cubicBezTo>
                <a:cubicBezTo>
                  <a:pt x="558808" y="1277725"/>
                  <a:pt x="552763" y="1283983"/>
                  <a:pt x="546924" y="1290829"/>
                </a:cubicBezTo>
                <a:cubicBezTo>
                  <a:pt x="545838" y="1292087"/>
                  <a:pt x="544753" y="1293346"/>
                  <a:pt x="543635" y="1294643"/>
                </a:cubicBezTo>
                <a:cubicBezTo>
                  <a:pt x="542650" y="1295813"/>
                  <a:pt x="541666" y="1296983"/>
                  <a:pt x="540651" y="1298188"/>
                </a:cubicBezTo>
                <a:cubicBezTo>
                  <a:pt x="537294" y="1301526"/>
                  <a:pt x="533978" y="1303337"/>
                  <a:pt x="529673" y="1305565"/>
                </a:cubicBezTo>
                <a:cubicBezTo>
                  <a:pt x="527599" y="1308478"/>
                  <a:pt x="527599" y="1308478"/>
                  <a:pt x="526549" y="1311202"/>
                </a:cubicBezTo>
                <a:cubicBezTo>
                  <a:pt x="525518" y="1311202"/>
                  <a:pt x="524487" y="1311202"/>
                  <a:pt x="523425" y="1311202"/>
                </a:cubicBezTo>
                <a:cubicBezTo>
                  <a:pt x="523360" y="1311986"/>
                  <a:pt x="523296" y="1312771"/>
                  <a:pt x="523230" y="1313580"/>
                </a:cubicBezTo>
                <a:cubicBezTo>
                  <a:pt x="521863" y="1316839"/>
                  <a:pt x="521863" y="1316839"/>
                  <a:pt x="517732" y="1319739"/>
                </a:cubicBezTo>
                <a:cubicBezTo>
                  <a:pt x="511111" y="1324565"/>
                  <a:pt x="506875" y="1330731"/>
                  <a:pt x="502239" y="1337096"/>
                </a:cubicBezTo>
                <a:cubicBezTo>
                  <a:pt x="500512" y="1339427"/>
                  <a:pt x="498785" y="1341757"/>
                  <a:pt x="497058" y="1344087"/>
                </a:cubicBezTo>
                <a:cubicBezTo>
                  <a:pt x="495827" y="1345760"/>
                  <a:pt x="495827" y="1345760"/>
                  <a:pt x="494572" y="1347465"/>
                </a:cubicBezTo>
                <a:cubicBezTo>
                  <a:pt x="492366" y="1350414"/>
                  <a:pt x="490094" y="1353304"/>
                  <a:pt x="487776" y="1356181"/>
                </a:cubicBezTo>
                <a:cubicBezTo>
                  <a:pt x="484805" y="1359972"/>
                  <a:pt x="482865" y="1363193"/>
                  <a:pt x="481248" y="1367571"/>
                </a:cubicBezTo>
                <a:cubicBezTo>
                  <a:pt x="480216" y="1367571"/>
                  <a:pt x="479186" y="1367571"/>
                  <a:pt x="478123" y="1367571"/>
                </a:cubicBezTo>
                <a:cubicBezTo>
                  <a:pt x="477963" y="1368558"/>
                  <a:pt x="477801" y="1369547"/>
                  <a:pt x="477635" y="1370565"/>
                </a:cubicBezTo>
                <a:cubicBezTo>
                  <a:pt x="475602" y="1378236"/>
                  <a:pt x="471952" y="1383371"/>
                  <a:pt x="465626" y="1388709"/>
                </a:cubicBezTo>
                <a:cubicBezTo>
                  <a:pt x="462272" y="1392748"/>
                  <a:pt x="462272" y="1392748"/>
                  <a:pt x="461233" y="1397340"/>
                </a:cubicBezTo>
                <a:cubicBezTo>
                  <a:pt x="460030" y="1401461"/>
                  <a:pt x="458298" y="1404501"/>
                  <a:pt x="455765" y="1408086"/>
                </a:cubicBezTo>
                <a:cubicBezTo>
                  <a:pt x="442829" y="1428603"/>
                  <a:pt x="441572" y="1454548"/>
                  <a:pt x="439070" y="1477490"/>
                </a:cubicBezTo>
                <a:cubicBezTo>
                  <a:pt x="437524" y="1477955"/>
                  <a:pt x="435977" y="1478420"/>
                  <a:pt x="434384" y="1478899"/>
                </a:cubicBezTo>
                <a:cubicBezTo>
                  <a:pt x="433739" y="1479916"/>
                  <a:pt x="433095" y="1480933"/>
                  <a:pt x="432431" y="1481982"/>
                </a:cubicBezTo>
                <a:cubicBezTo>
                  <a:pt x="428860" y="1487159"/>
                  <a:pt x="424291" y="1490903"/>
                  <a:pt x="418763" y="1494401"/>
                </a:cubicBezTo>
                <a:cubicBezTo>
                  <a:pt x="417731" y="1494401"/>
                  <a:pt x="416701" y="1494401"/>
                  <a:pt x="415639" y="1494401"/>
                </a:cubicBezTo>
                <a:cubicBezTo>
                  <a:pt x="415639" y="1495330"/>
                  <a:pt x="415639" y="1496260"/>
                  <a:pt x="415639" y="1497219"/>
                </a:cubicBezTo>
                <a:cubicBezTo>
                  <a:pt x="412546" y="1497684"/>
                  <a:pt x="409453" y="1498149"/>
                  <a:pt x="406265" y="1498628"/>
                </a:cubicBezTo>
                <a:cubicBezTo>
                  <a:pt x="406265" y="1499559"/>
                  <a:pt x="406265" y="1500488"/>
                  <a:pt x="406265" y="1501447"/>
                </a:cubicBezTo>
                <a:cubicBezTo>
                  <a:pt x="395955" y="1501447"/>
                  <a:pt x="385645" y="1501447"/>
                  <a:pt x="375023" y="1501447"/>
                </a:cubicBezTo>
                <a:lnTo>
                  <a:pt x="375023" y="1499438"/>
                </a:lnTo>
                <a:lnTo>
                  <a:pt x="374964" y="1499436"/>
                </a:lnTo>
                <a:lnTo>
                  <a:pt x="373179" y="1498628"/>
                </a:lnTo>
                <a:lnTo>
                  <a:pt x="365650" y="1498628"/>
                </a:lnTo>
                <a:lnTo>
                  <a:pt x="363134" y="1494087"/>
                </a:lnTo>
                <a:lnTo>
                  <a:pt x="362171" y="1493651"/>
                </a:lnTo>
                <a:cubicBezTo>
                  <a:pt x="361656" y="1492722"/>
                  <a:pt x="361140" y="1491791"/>
                  <a:pt x="360609" y="1490833"/>
                </a:cubicBezTo>
                <a:cubicBezTo>
                  <a:pt x="361640" y="1490833"/>
                  <a:pt x="362671" y="1490833"/>
                  <a:pt x="363733" y="1490833"/>
                </a:cubicBezTo>
                <a:lnTo>
                  <a:pt x="363733" y="1489980"/>
                </a:lnTo>
                <a:lnTo>
                  <a:pt x="348467" y="1481717"/>
                </a:lnTo>
                <a:lnTo>
                  <a:pt x="343872" y="1461078"/>
                </a:lnTo>
                <a:lnTo>
                  <a:pt x="343656" y="1463649"/>
                </a:lnTo>
                <a:cubicBezTo>
                  <a:pt x="343541" y="1465230"/>
                  <a:pt x="343541" y="1465230"/>
                  <a:pt x="343424" y="1466842"/>
                </a:cubicBezTo>
                <a:cubicBezTo>
                  <a:pt x="342908" y="1466842"/>
                  <a:pt x="342393" y="1466842"/>
                  <a:pt x="341861" y="1466842"/>
                </a:cubicBezTo>
                <a:cubicBezTo>
                  <a:pt x="340987" y="1449564"/>
                  <a:pt x="340999" y="1434331"/>
                  <a:pt x="354143" y="1420549"/>
                </a:cubicBezTo>
                <a:cubicBezTo>
                  <a:pt x="360765" y="1414011"/>
                  <a:pt x="367631" y="1407790"/>
                  <a:pt x="376229" y="1403427"/>
                </a:cubicBezTo>
                <a:lnTo>
                  <a:pt x="379491" y="1404408"/>
                </a:lnTo>
                <a:lnTo>
                  <a:pt x="379710" y="1404210"/>
                </a:lnTo>
                <a:cubicBezTo>
                  <a:pt x="380290" y="1402902"/>
                  <a:pt x="380290" y="1402902"/>
                  <a:pt x="380882" y="1401568"/>
                </a:cubicBezTo>
                <a:cubicBezTo>
                  <a:pt x="383675" y="1397284"/>
                  <a:pt x="387587" y="1395610"/>
                  <a:pt x="392207" y="1392936"/>
                </a:cubicBezTo>
                <a:lnTo>
                  <a:pt x="399542" y="1386774"/>
                </a:lnTo>
                <a:lnTo>
                  <a:pt x="405485" y="1378917"/>
                </a:lnTo>
                <a:cubicBezTo>
                  <a:pt x="408065" y="1375974"/>
                  <a:pt x="410029" y="1372774"/>
                  <a:pt x="412008" y="1369481"/>
                </a:cubicBezTo>
                <a:cubicBezTo>
                  <a:pt x="414759" y="1365166"/>
                  <a:pt x="417963" y="1361131"/>
                  <a:pt x="421130" y="1357057"/>
                </a:cubicBezTo>
                <a:cubicBezTo>
                  <a:pt x="423073" y="1354140"/>
                  <a:pt x="423985" y="1351767"/>
                  <a:pt x="424676" y="1348443"/>
                </a:cubicBezTo>
                <a:lnTo>
                  <a:pt x="427275" y="1348443"/>
                </a:lnTo>
                <a:lnTo>
                  <a:pt x="428135" y="1345727"/>
                </a:lnTo>
                <a:cubicBezTo>
                  <a:pt x="429370" y="1341828"/>
                  <a:pt x="430645" y="1338666"/>
                  <a:pt x="432822" y="1335158"/>
                </a:cubicBezTo>
                <a:cubicBezTo>
                  <a:pt x="433853" y="1335158"/>
                  <a:pt x="434884" y="1335158"/>
                  <a:pt x="435946" y="1335158"/>
                </a:cubicBezTo>
                <a:cubicBezTo>
                  <a:pt x="436526" y="1333385"/>
                  <a:pt x="437106" y="1331613"/>
                  <a:pt x="437704" y="1329786"/>
                </a:cubicBezTo>
                <a:cubicBezTo>
                  <a:pt x="440162" y="1323132"/>
                  <a:pt x="443602" y="1317301"/>
                  <a:pt x="447394" y="1311196"/>
                </a:cubicBezTo>
                <a:cubicBezTo>
                  <a:pt x="456493" y="1296485"/>
                  <a:pt x="463325" y="1281864"/>
                  <a:pt x="469287" y="1265964"/>
                </a:cubicBezTo>
                <a:cubicBezTo>
                  <a:pt x="474589" y="1252134"/>
                  <a:pt x="474589" y="1252134"/>
                  <a:pt x="478178" y="1246787"/>
                </a:cubicBezTo>
                <a:cubicBezTo>
                  <a:pt x="481232" y="1240246"/>
                  <a:pt x="480204" y="1232766"/>
                  <a:pt x="480179" y="1225768"/>
                </a:cubicBezTo>
                <a:cubicBezTo>
                  <a:pt x="480174" y="1222894"/>
                  <a:pt x="480210" y="1220023"/>
                  <a:pt x="480250" y="1217149"/>
                </a:cubicBezTo>
                <a:cubicBezTo>
                  <a:pt x="480260" y="1199291"/>
                  <a:pt x="476718" y="1187768"/>
                  <a:pt x="462972" y="1174827"/>
                </a:cubicBezTo>
                <a:cubicBezTo>
                  <a:pt x="461148" y="1173192"/>
                  <a:pt x="459312" y="1171566"/>
                  <a:pt x="457468" y="1169949"/>
                </a:cubicBezTo>
                <a:cubicBezTo>
                  <a:pt x="451412" y="1164522"/>
                  <a:pt x="445876" y="1158660"/>
                  <a:pt x="440657" y="1152570"/>
                </a:cubicBezTo>
                <a:cubicBezTo>
                  <a:pt x="430474" y="1140786"/>
                  <a:pt x="418230" y="1128998"/>
                  <a:pt x="403142" y="1122366"/>
                </a:cubicBezTo>
                <a:cubicBezTo>
                  <a:pt x="402626" y="1121436"/>
                  <a:pt x="402110" y="1120506"/>
                  <a:pt x="401579" y="1119547"/>
                </a:cubicBezTo>
                <a:cubicBezTo>
                  <a:pt x="390472" y="1115326"/>
                  <a:pt x="375918" y="1114217"/>
                  <a:pt x="364564" y="1118209"/>
                </a:cubicBezTo>
                <a:cubicBezTo>
                  <a:pt x="362278" y="1119428"/>
                  <a:pt x="360026" y="1120704"/>
                  <a:pt x="357822" y="1122041"/>
                </a:cubicBezTo>
                <a:cubicBezTo>
                  <a:pt x="354521" y="1123884"/>
                  <a:pt x="351862" y="1124582"/>
                  <a:pt x="348077" y="1125273"/>
                </a:cubicBezTo>
                <a:cubicBezTo>
                  <a:pt x="341765" y="1126696"/>
                  <a:pt x="339382" y="1128619"/>
                  <a:pt x="334408" y="1132230"/>
                </a:cubicBezTo>
                <a:cubicBezTo>
                  <a:pt x="332284" y="1132909"/>
                  <a:pt x="330131" y="1133519"/>
                  <a:pt x="327964" y="1134080"/>
                </a:cubicBezTo>
                <a:cubicBezTo>
                  <a:pt x="309975" y="1139067"/>
                  <a:pt x="290592" y="1152117"/>
                  <a:pt x="279734" y="1166051"/>
                </a:cubicBezTo>
                <a:cubicBezTo>
                  <a:pt x="277929" y="1169534"/>
                  <a:pt x="277929" y="1169534"/>
                  <a:pt x="276609" y="1173098"/>
                </a:cubicBezTo>
                <a:cubicBezTo>
                  <a:pt x="272413" y="1180804"/>
                  <a:pt x="269322" y="1184144"/>
                  <a:pt x="260988" y="1188599"/>
                </a:cubicBezTo>
                <a:cubicBezTo>
                  <a:pt x="259988" y="1189435"/>
                  <a:pt x="258987" y="1190271"/>
                  <a:pt x="257956" y="1191132"/>
                </a:cubicBezTo>
                <a:lnTo>
                  <a:pt x="243805" y="1196629"/>
                </a:lnTo>
                <a:lnTo>
                  <a:pt x="243805" y="1194236"/>
                </a:lnTo>
                <a:lnTo>
                  <a:pt x="240288" y="1194765"/>
                </a:lnTo>
                <a:lnTo>
                  <a:pt x="243374" y="1194765"/>
                </a:lnTo>
                <a:lnTo>
                  <a:pt x="243374" y="1196797"/>
                </a:lnTo>
                <a:lnTo>
                  <a:pt x="243805" y="1196629"/>
                </a:lnTo>
                <a:lnTo>
                  <a:pt x="243805" y="1197055"/>
                </a:lnTo>
                <a:lnTo>
                  <a:pt x="243374" y="1197055"/>
                </a:lnTo>
                <a:lnTo>
                  <a:pt x="243374" y="1197584"/>
                </a:lnTo>
                <a:lnTo>
                  <a:pt x="241319" y="1197595"/>
                </a:lnTo>
                <a:lnTo>
                  <a:pt x="238009" y="1198881"/>
                </a:lnTo>
                <a:cubicBezTo>
                  <a:pt x="231012" y="1199584"/>
                  <a:pt x="223620" y="1198927"/>
                  <a:pt x="215687" y="1198464"/>
                </a:cubicBezTo>
                <a:lnTo>
                  <a:pt x="215687" y="1197734"/>
                </a:lnTo>
                <a:lnTo>
                  <a:pt x="213936" y="1197744"/>
                </a:lnTo>
                <a:cubicBezTo>
                  <a:pt x="210570" y="1197584"/>
                  <a:pt x="210570" y="1197584"/>
                  <a:pt x="207446" y="1196175"/>
                </a:cubicBezTo>
                <a:lnTo>
                  <a:pt x="207822" y="1195610"/>
                </a:lnTo>
                <a:lnTo>
                  <a:pt x="184737" y="1180936"/>
                </a:lnTo>
                <a:cubicBezTo>
                  <a:pt x="180258" y="1172216"/>
                  <a:pt x="179226" y="1164355"/>
                  <a:pt x="179270" y="1154866"/>
                </a:cubicBezTo>
                <a:cubicBezTo>
                  <a:pt x="179233" y="1153260"/>
                  <a:pt x="179233" y="1153260"/>
                  <a:pt x="179194" y="1151621"/>
                </a:cubicBezTo>
                <a:cubicBezTo>
                  <a:pt x="179182" y="1139523"/>
                  <a:pt x="183658" y="1128837"/>
                  <a:pt x="193195" y="1120065"/>
                </a:cubicBezTo>
                <a:cubicBezTo>
                  <a:pt x="204265" y="1110959"/>
                  <a:pt x="215062" y="1110626"/>
                  <a:pt x="229551" y="1110299"/>
                </a:cubicBezTo>
                <a:cubicBezTo>
                  <a:pt x="240132" y="1110024"/>
                  <a:pt x="250506" y="1109652"/>
                  <a:pt x="260988" y="1108274"/>
                </a:cubicBezTo>
                <a:cubicBezTo>
                  <a:pt x="260988" y="1107344"/>
                  <a:pt x="260988" y="1106413"/>
                  <a:pt x="260988" y="1105455"/>
                </a:cubicBezTo>
                <a:cubicBezTo>
                  <a:pt x="261953" y="1105078"/>
                  <a:pt x="262918" y="1104699"/>
                  <a:pt x="263911" y="1104310"/>
                </a:cubicBezTo>
                <a:cubicBezTo>
                  <a:pt x="272903" y="1100557"/>
                  <a:pt x="279802" y="1096307"/>
                  <a:pt x="286995" y="1090185"/>
                </a:cubicBezTo>
                <a:cubicBezTo>
                  <a:pt x="290956" y="1086897"/>
                  <a:pt x="295114" y="1083955"/>
                  <a:pt x="299358" y="1080970"/>
                </a:cubicBezTo>
                <a:cubicBezTo>
                  <a:pt x="306613" y="1075692"/>
                  <a:pt x="312234" y="1070023"/>
                  <a:pt x="317762" y="1063272"/>
                </a:cubicBezTo>
                <a:cubicBezTo>
                  <a:pt x="320349" y="1060360"/>
                  <a:pt x="320349" y="1060360"/>
                  <a:pt x="325035" y="1057542"/>
                </a:cubicBezTo>
                <a:cubicBezTo>
                  <a:pt x="329912" y="1045734"/>
                  <a:pt x="327928" y="1035103"/>
                  <a:pt x="325328" y="1023104"/>
                </a:cubicBezTo>
                <a:cubicBezTo>
                  <a:pt x="325069" y="1021831"/>
                  <a:pt x="324811" y="1020559"/>
                  <a:pt x="324544" y="1019247"/>
                </a:cubicBezTo>
                <a:cubicBezTo>
                  <a:pt x="322876" y="1011407"/>
                  <a:pt x="320562" y="1004340"/>
                  <a:pt x="317225" y="996945"/>
                </a:cubicBezTo>
                <a:cubicBezTo>
                  <a:pt x="316619" y="995541"/>
                  <a:pt x="316013" y="994137"/>
                  <a:pt x="315388" y="992690"/>
                </a:cubicBezTo>
                <a:cubicBezTo>
                  <a:pt x="306307" y="972561"/>
                  <a:pt x="298931" y="959343"/>
                  <a:pt x="276232" y="950666"/>
                </a:cubicBezTo>
                <a:cubicBezTo>
                  <a:pt x="274810" y="950127"/>
                  <a:pt x="273388" y="949587"/>
                  <a:pt x="271923" y="949031"/>
                </a:cubicBezTo>
                <a:cubicBezTo>
                  <a:pt x="270129" y="948244"/>
                  <a:pt x="270129" y="948244"/>
                  <a:pt x="268299" y="947441"/>
                </a:cubicBezTo>
                <a:cubicBezTo>
                  <a:pt x="247071" y="938140"/>
                  <a:pt x="222259" y="939051"/>
                  <a:pt x="199187" y="938991"/>
                </a:cubicBezTo>
                <a:cubicBezTo>
                  <a:pt x="197383" y="938984"/>
                  <a:pt x="195579" y="938978"/>
                  <a:pt x="193719" y="938971"/>
                </a:cubicBezTo>
                <a:cubicBezTo>
                  <a:pt x="192010" y="938974"/>
                  <a:pt x="190300" y="938977"/>
                  <a:pt x="188539" y="938980"/>
                </a:cubicBezTo>
                <a:cubicBezTo>
                  <a:pt x="187000" y="938981"/>
                  <a:pt x="185460" y="938983"/>
                  <a:pt x="183874" y="938985"/>
                </a:cubicBezTo>
                <a:cubicBezTo>
                  <a:pt x="180148" y="939150"/>
                  <a:pt x="177092" y="939720"/>
                  <a:pt x="173509" y="940576"/>
                </a:cubicBezTo>
                <a:cubicBezTo>
                  <a:pt x="169458" y="940674"/>
                  <a:pt x="165452" y="940710"/>
                  <a:pt x="161403" y="940664"/>
                </a:cubicBezTo>
                <a:cubicBezTo>
                  <a:pt x="160314" y="940658"/>
                  <a:pt x="159224" y="940651"/>
                  <a:pt x="158102" y="940645"/>
                </a:cubicBezTo>
                <a:lnTo>
                  <a:pt x="150875" y="940583"/>
                </a:lnTo>
                <a:lnTo>
                  <a:pt x="148425" y="940717"/>
                </a:lnTo>
                <a:lnTo>
                  <a:pt x="149617" y="940995"/>
                </a:lnTo>
                <a:cubicBezTo>
                  <a:pt x="149617" y="941459"/>
                  <a:pt x="149617" y="941924"/>
                  <a:pt x="149617" y="942404"/>
                </a:cubicBezTo>
                <a:cubicBezTo>
                  <a:pt x="148630" y="942558"/>
                  <a:pt x="147643" y="942712"/>
                  <a:pt x="146627" y="942871"/>
                </a:cubicBezTo>
                <a:cubicBezTo>
                  <a:pt x="134541" y="944804"/>
                  <a:pt x="122553" y="947081"/>
                  <a:pt x="110564" y="949449"/>
                </a:cubicBezTo>
                <a:lnTo>
                  <a:pt x="111283" y="946205"/>
                </a:lnTo>
                <a:lnTo>
                  <a:pt x="101652" y="956078"/>
                </a:lnTo>
                <a:cubicBezTo>
                  <a:pt x="99870" y="957260"/>
                  <a:pt x="99870" y="957260"/>
                  <a:pt x="98052" y="958467"/>
                </a:cubicBezTo>
                <a:cubicBezTo>
                  <a:pt x="75683" y="972989"/>
                  <a:pt x="75683" y="972989"/>
                  <a:pt x="67286" y="972989"/>
                </a:cubicBezTo>
                <a:cubicBezTo>
                  <a:pt x="67286" y="973918"/>
                  <a:pt x="67286" y="974848"/>
                  <a:pt x="67286" y="975807"/>
                </a:cubicBezTo>
                <a:cubicBezTo>
                  <a:pt x="55713" y="979519"/>
                  <a:pt x="43549" y="980689"/>
                  <a:pt x="31942" y="976423"/>
                </a:cubicBezTo>
                <a:cubicBezTo>
                  <a:pt x="19953" y="970870"/>
                  <a:pt x="10774" y="964932"/>
                  <a:pt x="5673" y="953419"/>
                </a:cubicBezTo>
                <a:cubicBezTo>
                  <a:pt x="4801" y="950441"/>
                  <a:pt x="4801" y="950441"/>
                  <a:pt x="4801" y="944804"/>
                </a:cubicBezTo>
                <a:cubicBezTo>
                  <a:pt x="3770" y="944804"/>
                  <a:pt x="2739" y="944804"/>
                  <a:pt x="1676" y="944804"/>
                </a:cubicBezTo>
                <a:cubicBezTo>
                  <a:pt x="-34" y="940174"/>
                  <a:pt x="-41" y="936720"/>
                  <a:pt x="17" y="931857"/>
                </a:cubicBezTo>
                <a:cubicBezTo>
                  <a:pt x="31" y="930325"/>
                  <a:pt x="45" y="928794"/>
                  <a:pt x="59" y="927216"/>
                </a:cubicBezTo>
                <a:cubicBezTo>
                  <a:pt x="78" y="926044"/>
                  <a:pt x="96" y="924873"/>
                  <a:pt x="115" y="923666"/>
                </a:cubicBezTo>
                <a:cubicBezTo>
                  <a:pt x="1145" y="923666"/>
                  <a:pt x="2176" y="923666"/>
                  <a:pt x="3238" y="923666"/>
                </a:cubicBezTo>
                <a:cubicBezTo>
                  <a:pt x="3238" y="921805"/>
                  <a:pt x="3238" y="919945"/>
                  <a:pt x="3238" y="918029"/>
                </a:cubicBezTo>
                <a:cubicBezTo>
                  <a:pt x="4270" y="918029"/>
                  <a:pt x="5300" y="918029"/>
                  <a:pt x="6363" y="918029"/>
                </a:cubicBezTo>
                <a:cubicBezTo>
                  <a:pt x="6459" y="916314"/>
                  <a:pt x="6556" y="914599"/>
                  <a:pt x="6656" y="912832"/>
                </a:cubicBezTo>
                <a:cubicBezTo>
                  <a:pt x="7542" y="906455"/>
                  <a:pt x="10104" y="903750"/>
                  <a:pt x="15736" y="899709"/>
                </a:cubicBezTo>
                <a:lnTo>
                  <a:pt x="17243" y="898894"/>
                </a:lnTo>
                <a:lnTo>
                  <a:pt x="16800" y="898694"/>
                </a:lnTo>
                <a:lnTo>
                  <a:pt x="24988" y="894101"/>
                </a:lnTo>
                <a:lnTo>
                  <a:pt x="26768" y="892399"/>
                </a:lnTo>
                <a:cubicBezTo>
                  <a:pt x="28282" y="891122"/>
                  <a:pt x="29038" y="890483"/>
                  <a:pt x="30198" y="890164"/>
                </a:cubicBezTo>
                <a:lnTo>
                  <a:pt x="32204" y="890054"/>
                </a:lnTo>
                <a:lnTo>
                  <a:pt x="38914" y="886291"/>
                </a:lnTo>
                <a:cubicBezTo>
                  <a:pt x="47169" y="885770"/>
                  <a:pt x="55396" y="885800"/>
                  <a:pt x="63664" y="886011"/>
                </a:cubicBezTo>
                <a:lnTo>
                  <a:pt x="63664" y="886531"/>
                </a:lnTo>
                <a:lnTo>
                  <a:pt x="70784" y="886647"/>
                </a:lnTo>
                <a:cubicBezTo>
                  <a:pt x="74787" y="887000"/>
                  <a:pt x="77233" y="887948"/>
                  <a:pt x="82126" y="889845"/>
                </a:cubicBezTo>
                <a:cubicBezTo>
                  <a:pt x="92427" y="893791"/>
                  <a:pt x="103139" y="893710"/>
                  <a:pt x="114149" y="892663"/>
                </a:cubicBezTo>
                <a:cubicBezTo>
                  <a:pt x="115696" y="891733"/>
                  <a:pt x="117242" y="890803"/>
                  <a:pt x="118836" y="889845"/>
                </a:cubicBezTo>
                <a:cubicBezTo>
                  <a:pt x="123097" y="888850"/>
                  <a:pt x="127325" y="887944"/>
                  <a:pt x="131626" y="887114"/>
                </a:cubicBezTo>
                <a:cubicBezTo>
                  <a:pt x="139750" y="885542"/>
                  <a:pt x="147376" y="883653"/>
                  <a:pt x="155116" y="880913"/>
                </a:cubicBezTo>
                <a:cubicBezTo>
                  <a:pt x="158498" y="879775"/>
                  <a:pt x="161861" y="879076"/>
                  <a:pt x="165406" y="878483"/>
                </a:cubicBezTo>
                <a:cubicBezTo>
                  <a:pt x="170342" y="877655"/>
                  <a:pt x="172265" y="876971"/>
                  <a:pt x="176634" y="874343"/>
                </a:cubicBezTo>
                <a:cubicBezTo>
                  <a:pt x="179863" y="873335"/>
                  <a:pt x="183123" y="872404"/>
                  <a:pt x="186397" y="871524"/>
                </a:cubicBezTo>
                <a:cubicBezTo>
                  <a:pt x="189107" y="870786"/>
                  <a:pt x="189107" y="870786"/>
                  <a:pt x="191871" y="870033"/>
                </a:cubicBezTo>
                <a:cubicBezTo>
                  <a:pt x="195731" y="869023"/>
                  <a:pt x="199587" y="868093"/>
                  <a:pt x="203483" y="867208"/>
                </a:cubicBezTo>
                <a:cubicBezTo>
                  <a:pt x="208339" y="866199"/>
                  <a:pt x="208339" y="866199"/>
                  <a:pt x="211001" y="861660"/>
                </a:cubicBezTo>
                <a:cubicBezTo>
                  <a:pt x="214174" y="860102"/>
                  <a:pt x="214174" y="860102"/>
                  <a:pt x="218031" y="858577"/>
                </a:cubicBezTo>
                <a:cubicBezTo>
                  <a:pt x="236068" y="850629"/>
                  <a:pt x="245199" y="840442"/>
                  <a:pt x="254740" y="825020"/>
                </a:cubicBezTo>
                <a:cubicBezTo>
                  <a:pt x="255771" y="823625"/>
                  <a:pt x="256802" y="822230"/>
                  <a:pt x="257864" y="820792"/>
                </a:cubicBezTo>
                <a:cubicBezTo>
                  <a:pt x="258359" y="817506"/>
                  <a:pt x="258359" y="817506"/>
                  <a:pt x="258318" y="813810"/>
                </a:cubicBezTo>
                <a:cubicBezTo>
                  <a:pt x="258338" y="812388"/>
                  <a:pt x="258358" y="810967"/>
                  <a:pt x="258378" y="809502"/>
                </a:cubicBezTo>
                <a:cubicBezTo>
                  <a:pt x="258382" y="807965"/>
                  <a:pt x="258385" y="806429"/>
                  <a:pt x="258389" y="804845"/>
                </a:cubicBezTo>
                <a:cubicBezTo>
                  <a:pt x="258399" y="803258"/>
                  <a:pt x="258410" y="801671"/>
                  <a:pt x="258420" y="800036"/>
                </a:cubicBezTo>
                <a:cubicBezTo>
                  <a:pt x="258436" y="796670"/>
                  <a:pt x="258443" y="793305"/>
                  <a:pt x="258443" y="789939"/>
                </a:cubicBezTo>
                <a:cubicBezTo>
                  <a:pt x="258450" y="784823"/>
                  <a:pt x="258506" y="779709"/>
                  <a:pt x="258566" y="774594"/>
                </a:cubicBezTo>
                <a:cubicBezTo>
                  <a:pt x="258575" y="771319"/>
                  <a:pt x="258581" y="768045"/>
                  <a:pt x="258584" y="764771"/>
                </a:cubicBezTo>
                <a:cubicBezTo>
                  <a:pt x="258618" y="762495"/>
                  <a:pt x="258618" y="762495"/>
                  <a:pt x="258652" y="760174"/>
                </a:cubicBezTo>
                <a:cubicBezTo>
                  <a:pt x="258586" y="750030"/>
                  <a:pt x="256266" y="742584"/>
                  <a:pt x="251616" y="733421"/>
                </a:cubicBezTo>
                <a:cubicBezTo>
                  <a:pt x="250163" y="729605"/>
                  <a:pt x="248880" y="725752"/>
                  <a:pt x="247613" y="721883"/>
                </a:cubicBezTo>
                <a:cubicBezTo>
                  <a:pt x="245789" y="716328"/>
                  <a:pt x="243913" y="710939"/>
                  <a:pt x="241291" y="705644"/>
                </a:cubicBezTo>
                <a:cubicBezTo>
                  <a:pt x="238691" y="700096"/>
                  <a:pt x="238136" y="695685"/>
                  <a:pt x="237557" y="689735"/>
                </a:cubicBezTo>
                <a:cubicBezTo>
                  <a:pt x="244977" y="685507"/>
                  <a:pt x="244977" y="685507"/>
                  <a:pt x="248492" y="685507"/>
                </a:cubicBezTo>
                <a:cubicBezTo>
                  <a:pt x="248492" y="684112"/>
                  <a:pt x="248492" y="682717"/>
                  <a:pt x="248492" y="681279"/>
                </a:cubicBezTo>
                <a:cubicBezTo>
                  <a:pt x="245914" y="680815"/>
                  <a:pt x="243337" y="680350"/>
                  <a:pt x="240681" y="679870"/>
                </a:cubicBezTo>
                <a:cubicBezTo>
                  <a:pt x="240681" y="678940"/>
                  <a:pt x="240681" y="678010"/>
                  <a:pt x="240681" y="677052"/>
                </a:cubicBezTo>
                <a:cubicBezTo>
                  <a:pt x="239827" y="676917"/>
                  <a:pt x="238973" y="676783"/>
                  <a:pt x="238094" y="676645"/>
                </a:cubicBezTo>
                <a:cubicBezTo>
                  <a:pt x="233442" y="675371"/>
                  <a:pt x="229939" y="673242"/>
                  <a:pt x="225841" y="670886"/>
                </a:cubicBezTo>
                <a:cubicBezTo>
                  <a:pt x="217808" y="666564"/>
                  <a:pt x="210635" y="664241"/>
                  <a:pt x="201531" y="662508"/>
                </a:cubicBezTo>
                <a:cubicBezTo>
                  <a:pt x="196896" y="661541"/>
                  <a:pt x="192682" y="660199"/>
                  <a:pt x="188252" y="658644"/>
                </a:cubicBezTo>
                <a:lnTo>
                  <a:pt x="182431" y="657327"/>
                </a:lnTo>
                <a:lnTo>
                  <a:pt x="182431" y="657613"/>
                </a:lnTo>
                <a:cubicBezTo>
                  <a:pt x="170575" y="657148"/>
                  <a:pt x="158718" y="656683"/>
                  <a:pt x="146503" y="656204"/>
                </a:cubicBezTo>
                <a:cubicBezTo>
                  <a:pt x="146503" y="657133"/>
                  <a:pt x="146503" y="658064"/>
                  <a:pt x="146503" y="659022"/>
                </a:cubicBezTo>
                <a:cubicBezTo>
                  <a:pt x="134359" y="662326"/>
                  <a:pt x="123013" y="663700"/>
                  <a:pt x="110378" y="663778"/>
                </a:cubicBezTo>
                <a:cubicBezTo>
                  <a:pt x="108435" y="663806"/>
                  <a:pt x="108435" y="663806"/>
                  <a:pt x="106453" y="663836"/>
                </a:cubicBezTo>
                <a:cubicBezTo>
                  <a:pt x="105231" y="663828"/>
                  <a:pt x="104009" y="663820"/>
                  <a:pt x="102751" y="663811"/>
                </a:cubicBezTo>
                <a:cubicBezTo>
                  <a:pt x="101117" y="663804"/>
                  <a:pt x="101117" y="663804"/>
                  <a:pt x="99449" y="663797"/>
                </a:cubicBezTo>
                <a:cubicBezTo>
                  <a:pt x="95696" y="663097"/>
                  <a:pt x="94265" y="661615"/>
                  <a:pt x="91828" y="659022"/>
                </a:cubicBezTo>
                <a:cubicBezTo>
                  <a:pt x="93890" y="659022"/>
                  <a:pt x="95953" y="659022"/>
                  <a:pt x="98077" y="659022"/>
                </a:cubicBezTo>
                <a:cubicBezTo>
                  <a:pt x="98077" y="659952"/>
                  <a:pt x="98077" y="660882"/>
                  <a:pt x="98077" y="661841"/>
                </a:cubicBezTo>
                <a:cubicBezTo>
                  <a:pt x="108735" y="662045"/>
                  <a:pt x="114063" y="662148"/>
                  <a:pt x="119023" y="661357"/>
                </a:cubicBezTo>
                <a:lnTo>
                  <a:pt x="119536" y="661197"/>
                </a:lnTo>
                <a:lnTo>
                  <a:pt x="109853" y="661639"/>
                </a:lnTo>
                <a:cubicBezTo>
                  <a:pt x="108764" y="661632"/>
                  <a:pt x="107675" y="661626"/>
                  <a:pt x="106552" y="661619"/>
                </a:cubicBezTo>
                <a:cubicBezTo>
                  <a:pt x="103877" y="661603"/>
                  <a:pt x="101203" y="661577"/>
                  <a:pt x="98528" y="661550"/>
                </a:cubicBezTo>
                <a:cubicBezTo>
                  <a:pt x="98528" y="660620"/>
                  <a:pt x="98528" y="659691"/>
                  <a:pt x="98528" y="658732"/>
                </a:cubicBezTo>
                <a:cubicBezTo>
                  <a:pt x="95435" y="658267"/>
                  <a:pt x="92342" y="657802"/>
                  <a:pt x="89155" y="657323"/>
                </a:cubicBezTo>
                <a:cubicBezTo>
                  <a:pt x="89155" y="656393"/>
                  <a:pt x="89155" y="655462"/>
                  <a:pt x="89155" y="654504"/>
                </a:cubicBezTo>
                <a:cubicBezTo>
                  <a:pt x="87790" y="653978"/>
                  <a:pt x="87790" y="653978"/>
                  <a:pt x="86397" y="653442"/>
                </a:cubicBezTo>
                <a:cubicBezTo>
                  <a:pt x="82415" y="651438"/>
                  <a:pt x="80039" y="649232"/>
                  <a:pt x="77049" y="646137"/>
                </a:cubicBezTo>
                <a:cubicBezTo>
                  <a:pt x="75611" y="644679"/>
                  <a:pt x="75611" y="644679"/>
                  <a:pt x="74145" y="643192"/>
                </a:cubicBezTo>
                <a:cubicBezTo>
                  <a:pt x="71972" y="640412"/>
                  <a:pt x="71972" y="640412"/>
                  <a:pt x="71972" y="636185"/>
                </a:cubicBezTo>
                <a:cubicBezTo>
                  <a:pt x="70941" y="636185"/>
                  <a:pt x="69910" y="636185"/>
                  <a:pt x="68848" y="636185"/>
                </a:cubicBezTo>
                <a:cubicBezTo>
                  <a:pt x="64250" y="621928"/>
                  <a:pt x="64695" y="609404"/>
                  <a:pt x="70410" y="595317"/>
                </a:cubicBezTo>
                <a:cubicBezTo>
                  <a:pt x="73096" y="591142"/>
                  <a:pt x="76144" y="587574"/>
                  <a:pt x="79782" y="584043"/>
                </a:cubicBezTo>
                <a:cubicBezTo>
                  <a:pt x="81205" y="582594"/>
                  <a:pt x="81205" y="582594"/>
                  <a:pt x="82656" y="581115"/>
                </a:cubicBezTo>
                <a:cubicBezTo>
                  <a:pt x="91488" y="574027"/>
                  <a:pt x="105133" y="571806"/>
                  <a:pt x="116694" y="572323"/>
                </a:cubicBezTo>
                <a:cubicBezTo>
                  <a:pt x="131556" y="574113"/>
                  <a:pt x="142046" y="580551"/>
                  <a:pt x="152031" y="590385"/>
                </a:cubicBezTo>
                <a:cubicBezTo>
                  <a:pt x="162272" y="600009"/>
                  <a:pt x="176992" y="605062"/>
                  <a:pt x="191474" y="605886"/>
                </a:cubicBezTo>
                <a:cubicBezTo>
                  <a:pt x="196845" y="606192"/>
                  <a:pt x="201203" y="606463"/>
                  <a:pt x="206314" y="608000"/>
                </a:cubicBezTo>
                <a:cubicBezTo>
                  <a:pt x="206314" y="608930"/>
                  <a:pt x="206314" y="609860"/>
                  <a:pt x="206314" y="610818"/>
                </a:cubicBezTo>
                <a:cubicBezTo>
                  <a:pt x="215689" y="610902"/>
                  <a:pt x="225058" y="610898"/>
                  <a:pt x="234433" y="610818"/>
                </a:cubicBezTo>
                <a:cubicBezTo>
                  <a:pt x="236112" y="610813"/>
                  <a:pt x="237791" y="610808"/>
                  <a:pt x="239522" y="610802"/>
                </a:cubicBezTo>
                <a:cubicBezTo>
                  <a:pt x="251005" y="610364"/>
                  <a:pt x="259257" y="606564"/>
                  <a:pt x="268799" y="600954"/>
                </a:cubicBezTo>
                <a:cubicBezTo>
                  <a:pt x="269770" y="600416"/>
                  <a:pt x="270740" y="599879"/>
                  <a:pt x="271740" y="599325"/>
                </a:cubicBezTo>
                <a:cubicBezTo>
                  <a:pt x="279452" y="594430"/>
                  <a:pt x="281420" y="587464"/>
                  <a:pt x="284420" y="579816"/>
                </a:cubicBezTo>
                <a:cubicBezTo>
                  <a:pt x="286047" y="576075"/>
                  <a:pt x="287725" y="572353"/>
                  <a:pt x="289399" y="568630"/>
                </a:cubicBezTo>
                <a:cubicBezTo>
                  <a:pt x="294095" y="558121"/>
                  <a:pt x="299004" y="547070"/>
                  <a:pt x="293958" y="535838"/>
                </a:cubicBezTo>
                <a:cubicBezTo>
                  <a:pt x="292436" y="533533"/>
                  <a:pt x="290781" y="531301"/>
                  <a:pt x="289107" y="529084"/>
                </a:cubicBezTo>
                <a:cubicBezTo>
                  <a:pt x="289107" y="528153"/>
                  <a:pt x="289107" y="527223"/>
                  <a:pt x="289107" y="526265"/>
                </a:cubicBezTo>
                <a:cubicBezTo>
                  <a:pt x="287560" y="525800"/>
                  <a:pt x="286014" y="525335"/>
                  <a:pt x="284420" y="524856"/>
                </a:cubicBezTo>
                <a:cubicBezTo>
                  <a:pt x="283905" y="523461"/>
                  <a:pt x="283389" y="522066"/>
                  <a:pt x="282858" y="520628"/>
                </a:cubicBezTo>
                <a:cubicBezTo>
                  <a:pt x="280750" y="518590"/>
                  <a:pt x="280750" y="518590"/>
                  <a:pt x="277977" y="516577"/>
                </a:cubicBezTo>
                <a:cubicBezTo>
                  <a:pt x="273591" y="513232"/>
                  <a:pt x="269227" y="509874"/>
                  <a:pt x="264925" y="506443"/>
                </a:cubicBezTo>
                <a:cubicBezTo>
                  <a:pt x="253596" y="497433"/>
                  <a:pt x="242132" y="488987"/>
                  <a:pt x="229746" y="481170"/>
                </a:cubicBezTo>
                <a:cubicBezTo>
                  <a:pt x="226846" y="479266"/>
                  <a:pt x="223950" y="477358"/>
                  <a:pt x="221057" y="475445"/>
                </a:cubicBezTo>
                <a:cubicBezTo>
                  <a:pt x="218227" y="473594"/>
                  <a:pt x="215396" y="471744"/>
                  <a:pt x="212563" y="469896"/>
                </a:cubicBezTo>
                <a:cubicBezTo>
                  <a:pt x="211351" y="469102"/>
                  <a:pt x="210138" y="468309"/>
                  <a:pt x="208889" y="467491"/>
                </a:cubicBezTo>
                <a:cubicBezTo>
                  <a:pt x="202848" y="463599"/>
                  <a:pt x="196732" y="459888"/>
                  <a:pt x="190406" y="456382"/>
                </a:cubicBezTo>
                <a:cubicBezTo>
                  <a:pt x="189263" y="455748"/>
                  <a:pt x="188119" y="455114"/>
                  <a:pt x="186942" y="454460"/>
                </a:cubicBezTo>
                <a:cubicBezTo>
                  <a:pt x="184648" y="453196"/>
                  <a:pt x="182348" y="451941"/>
                  <a:pt x="180041" y="450696"/>
                </a:cubicBezTo>
                <a:cubicBezTo>
                  <a:pt x="177292" y="449185"/>
                  <a:pt x="174612" y="447571"/>
                  <a:pt x="171948" y="445940"/>
                </a:cubicBezTo>
                <a:cubicBezTo>
                  <a:pt x="171948" y="445009"/>
                  <a:pt x="171948" y="444079"/>
                  <a:pt x="171948" y="443121"/>
                </a:cubicBezTo>
                <a:cubicBezTo>
                  <a:pt x="170804" y="442985"/>
                  <a:pt x="169660" y="442848"/>
                  <a:pt x="168482" y="442708"/>
                </a:cubicBezTo>
                <a:cubicBezTo>
                  <a:pt x="163547" y="441576"/>
                  <a:pt x="161063" y="439897"/>
                  <a:pt x="157107" y="437044"/>
                </a:cubicBezTo>
                <a:cubicBezTo>
                  <a:pt x="149345" y="431895"/>
                  <a:pt x="141843" y="429626"/>
                  <a:pt x="132559" y="427510"/>
                </a:cubicBezTo>
                <a:cubicBezTo>
                  <a:pt x="128067" y="426168"/>
                  <a:pt x="126607" y="425060"/>
                  <a:pt x="123522" y="421983"/>
                </a:cubicBezTo>
                <a:cubicBezTo>
                  <a:pt x="118310" y="419033"/>
                  <a:pt x="114076" y="418794"/>
                  <a:pt x="107986" y="418730"/>
                </a:cubicBezTo>
                <a:cubicBezTo>
                  <a:pt x="106174" y="418694"/>
                  <a:pt x="104362" y="418659"/>
                  <a:pt x="102494" y="418622"/>
                </a:cubicBezTo>
                <a:cubicBezTo>
                  <a:pt x="98715" y="418573"/>
                  <a:pt x="94936" y="418529"/>
                  <a:pt x="91157" y="418490"/>
                </a:cubicBezTo>
                <a:cubicBezTo>
                  <a:pt x="78470" y="418231"/>
                  <a:pt x="65485" y="417940"/>
                  <a:pt x="55277" y="410445"/>
                </a:cubicBezTo>
                <a:cubicBezTo>
                  <a:pt x="54084" y="409137"/>
                  <a:pt x="52893" y="407829"/>
                  <a:pt x="51665" y="406481"/>
                </a:cubicBezTo>
                <a:cubicBezTo>
                  <a:pt x="49752" y="404480"/>
                  <a:pt x="47831" y="402483"/>
                  <a:pt x="45904" y="400492"/>
                </a:cubicBezTo>
                <a:cubicBezTo>
                  <a:pt x="44996" y="399526"/>
                  <a:pt x="44088" y="398559"/>
                  <a:pt x="43152" y="397564"/>
                </a:cubicBezTo>
                <a:cubicBezTo>
                  <a:pt x="40865" y="395062"/>
                  <a:pt x="40865" y="395062"/>
                  <a:pt x="37605" y="393798"/>
                </a:cubicBezTo>
                <a:lnTo>
                  <a:pt x="38995" y="368712"/>
                </a:lnTo>
                <a:lnTo>
                  <a:pt x="38666" y="369724"/>
                </a:lnTo>
                <a:cubicBezTo>
                  <a:pt x="37003" y="374506"/>
                  <a:pt x="36202" y="379113"/>
                  <a:pt x="35542" y="384081"/>
                </a:cubicBezTo>
                <a:cubicBezTo>
                  <a:pt x="30313" y="376119"/>
                  <a:pt x="31188" y="366593"/>
                  <a:pt x="33326" y="357791"/>
                </a:cubicBezTo>
                <a:cubicBezTo>
                  <a:pt x="37176" y="347767"/>
                  <a:pt x="44536" y="340769"/>
                  <a:pt x="52725" y="333349"/>
                </a:cubicBezTo>
                <a:lnTo>
                  <a:pt x="55222" y="334475"/>
                </a:lnTo>
                <a:lnTo>
                  <a:pt x="56222" y="333347"/>
                </a:lnTo>
                <a:lnTo>
                  <a:pt x="55871" y="333347"/>
                </a:lnTo>
                <a:lnTo>
                  <a:pt x="56346" y="333207"/>
                </a:lnTo>
                <a:lnTo>
                  <a:pt x="56351" y="333202"/>
                </a:lnTo>
                <a:lnTo>
                  <a:pt x="56365" y="333202"/>
                </a:lnTo>
                <a:lnTo>
                  <a:pt x="79571" y="326360"/>
                </a:lnTo>
                <a:cubicBezTo>
                  <a:pt x="87782" y="326037"/>
                  <a:pt x="96164" y="327572"/>
                  <a:pt x="104297" y="330529"/>
                </a:cubicBezTo>
                <a:lnTo>
                  <a:pt x="107170" y="334417"/>
                </a:lnTo>
                <a:lnTo>
                  <a:pt x="109366" y="336046"/>
                </a:lnTo>
                <a:lnTo>
                  <a:pt x="109463" y="336020"/>
                </a:lnTo>
                <a:lnTo>
                  <a:pt x="109463" y="336118"/>
                </a:lnTo>
                <a:lnTo>
                  <a:pt x="115226" y="340394"/>
                </a:lnTo>
                <a:lnTo>
                  <a:pt x="114010" y="340120"/>
                </a:lnTo>
                <a:lnTo>
                  <a:pt x="133285" y="357423"/>
                </a:lnTo>
                <a:cubicBezTo>
                  <a:pt x="142471" y="373187"/>
                  <a:pt x="155564" y="382744"/>
                  <a:pt x="173509" y="389571"/>
                </a:cubicBezTo>
                <a:cubicBezTo>
                  <a:pt x="176254" y="390785"/>
                  <a:pt x="178988" y="392017"/>
                  <a:pt x="181711" y="393270"/>
                </a:cubicBezTo>
                <a:cubicBezTo>
                  <a:pt x="182964" y="393833"/>
                  <a:pt x="184216" y="394396"/>
                  <a:pt x="185507" y="394976"/>
                </a:cubicBezTo>
                <a:cubicBezTo>
                  <a:pt x="187897" y="396058"/>
                  <a:pt x="190281" y="397151"/>
                  <a:pt x="192658" y="398257"/>
                </a:cubicBezTo>
                <a:cubicBezTo>
                  <a:pt x="193749" y="398762"/>
                  <a:pt x="194841" y="399267"/>
                  <a:pt x="195966" y="399788"/>
                </a:cubicBezTo>
                <a:cubicBezTo>
                  <a:pt x="196912" y="400231"/>
                  <a:pt x="197858" y="400674"/>
                  <a:pt x="198833" y="401131"/>
                </a:cubicBezTo>
                <a:cubicBezTo>
                  <a:pt x="201808" y="402326"/>
                  <a:pt x="204701" y="403032"/>
                  <a:pt x="207877" y="403663"/>
                </a:cubicBezTo>
                <a:cubicBezTo>
                  <a:pt x="207877" y="404593"/>
                  <a:pt x="207877" y="405523"/>
                  <a:pt x="207877" y="406481"/>
                </a:cubicBezTo>
                <a:cubicBezTo>
                  <a:pt x="221233" y="411377"/>
                  <a:pt x="234752" y="415503"/>
                  <a:pt x="248492" y="419428"/>
                </a:cubicBezTo>
                <a:cubicBezTo>
                  <a:pt x="250298" y="419947"/>
                  <a:pt x="252104" y="420466"/>
                  <a:pt x="253965" y="421000"/>
                </a:cubicBezTo>
                <a:cubicBezTo>
                  <a:pt x="258388" y="422270"/>
                  <a:pt x="262812" y="423537"/>
                  <a:pt x="267237" y="424801"/>
                </a:cubicBezTo>
                <a:lnTo>
                  <a:pt x="267237" y="426451"/>
                </a:lnTo>
                <a:lnTo>
                  <a:pt x="288701" y="429217"/>
                </a:lnTo>
                <a:cubicBezTo>
                  <a:pt x="288701" y="430147"/>
                  <a:pt x="288701" y="431078"/>
                  <a:pt x="288701" y="432036"/>
                </a:cubicBezTo>
                <a:cubicBezTo>
                  <a:pt x="301487" y="433472"/>
                  <a:pt x="314148" y="433662"/>
                  <a:pt x="327010" y="433628"/>
                </a:cubicBezTo>
                <a:cubicBezTo>
                  <a:pt x="330502" y="433621"/>
                  <a:pt x="333994" y="433628"/>
                  <a:pt x="337486" y="433637"/>
                </a:cubicBezTo>
                <a:cubicBezTo>
                  <a:pt x="339734" y="433637"/>
                  <a:pt x="341982" y="433635"/>
                  <a:pt x="344229" y="433632"/>
                </a:cubicBezTo>
                <a:cubicBezTo>
                  <a:pt x="347246" y="433630"/>
                  <a:pt x="347246" y="433630"/>
                  <a:pt x="350323" y="433627"/>
                </a:cubicBezTo>
                <a:cubicBezTo>
                  <a:pt x="355445" y="433459"/>
                  <a:pt x="360220" y="432915"/>
                  <a:pt x="365245" y="432036"/>
                </a:cubicBezTo>
                <a:lnTo>
                  <a:pt x="360797" y="433759"/>
                </a:lnTo>
                <a:lnTo>
                  <a:pt x="365650" y="433257"/>
                </a:lnTo>
                <a:cubicBezTo>
                  <a:pt x="366166" y="431861"/>
                  <a:pt x="366682" y="430466"/>
                  <a:pt x="367213" y="429029"/>
                </a:cubicBezTo>
                <a:cubicBezTo>
                  <a:pt x="369854" y="427628"/>
                  <a:pt x="372501" y="426234"/>
                  <a:pt x="375188" y="424906"/>
                </a:cubicBezTo>
                <a:cubicBezTo>
                  <a:pt x="390245" y="417204"/>
                  <a:pt x="397438" y="403183"/>
                  <a:pt x="404704" y="389571"/>
                </a:cubicBezTo>
                <a:cubicBezTo>
                  <a:pt x="405219" y="389105"/>
                  <a:pt x="405734" y="388641"/>
                  <a:pt x="406265" y="388161"/>
                </a:cubicBezTo>
                <a:cubicBezTo>
                  <a:pt x="406663" y="382152"/>
                  <a:pt x="406555" y="376125"/>
                  <a:pt x="406559" y="370106"/>
                </a:cubicBezTo>
                <a:cubicBezTo>
                  <a:pt x="406578" y="368412"/>
                  <a:pt x="406597" y="366718"/>
                  <a:pt x="406617" y="364973"/>
                </a:cubicBezTo>
                <a:cubicBezTo>
                  <a:pt x="406620" y="363344"/>
                  <a:pt x="406622" y="361715"/>
                  <a:pt x="406626" y="360038"/>
                </a:cubicBezTo>
                <a:cubicBezTo>
                  <a:pt x="406632" y="358541"/>
                  <a:pt x="406638" y="357045"/>
                  <a:pt x="406645" y="355503"/>
                </a:cubicBezTo>
                <a:cubicBezTo>
                  <a:pt x="406264" y="351503"/>
                  <a:pt x="405326" y="349318"/>
                  <a:pt x="403142" y="345885"/>
                </a:cubicBezTo>
                <a:cubicBezTo>
                  <a:pt x="402583" y="343484"/>
                  <a:pt x="402067" y="341075"/>
                  <a:pt x="401579" y="338663"/>
                </a:cubicBezTo>
                <a:cubicBezTo>
                  <a:pt x="399365" y="330323"/>
                  <a:pt x="395538" y="323370"/>
                  <a:pt x="390938" y="315939"/>
                </a:cubicBezTo>
                <a:cubicBezTo>
                  <a:pt x="390290" y="314890"/>
                  <a:pt x="389642" y="313842"/>
                  <a:pt x="388976" y="312762"/>
                </a:cubicBezTo>
                <a:cubicBezTo>
                  <a:pt x="385623" y="307500"/>
                  <a:pt x="382070" y="302607"/>
                  <a:pt x="377934" y="297817"/>
                </a:cubicBezTo>
                <a:cubicBezTo>
                  <a:pt x="373788" y="292978"/>
                  <a:pt x="371423" y="288111"/>
                  <a:pt x="368775" y="282470"/>
                </a:cubicBezTo>
                <a:cubicBezTo>
                  <a:pt x="366035" y="278585"/>
                  <a:pt x="362994" y="274937"/>
                  <a:pt x="359890" y="271284"/>
                </a:cubicBezTo>
                <a:cubicBezTo>
                  <a:pt x="359059" y="270296"/>
                  <a:pt x="358230" y="269307"/>
                  <a:pt x="357374" y="268288"/>
                </a:cubicBezTo>
                <a:cubicBezTo>
                  <a:pt x="351312" y="261177"/>
                  <a:pt x="344882" y="254704"/>
                  <a:pt x="337533" y="248649"/>
                </a:cubicBezTo>
                <a:cubicBezTo>
                  <a:pt x="336767" y="247896"/>
                  <a:pt x="336002" y="247144"/>
                  <a:pt x="335214" y="246369"/>
                </a:cubicBezTo>
                <a:cubicBezTo>
                  <a:pt x="332597" y="243963"/>
                  <a:pt x="332597" y="243963"/>
                  <a:pt x="327085" y="242571"/>
                </a:cubicBezTo>
                <a:cubicBezTo>
                  <a:pt x="309670" y="236923"/>
                  <a:pt x="296614" y="222751"/>
                  <a:pt x="288785" y="207968"/>
                </a:cubicBezTo>
                <a:cubicBezTo>
                  <a:pt x="286673" y="202851"/>
                  <a:pt x="286348" y="197968"/>
                  <a:pt x="286373" y="192544"/>
                </a:cubicBezTo>
                <a:cubicBezTo>
                  <a:pt x="286377" y="191437"/>
                  <a:pt x="286381" y="190330"/>
                  <a:pt x="286385" y="189190"/>
                </a:cubicBezTo>
                <a:cubicBezTo>
                  <a:pt x="286881" y="178340"/>
                  <a:pt x="291581" y="171728"/>
                  <a:pt x="300042" y="164095"/>
                </a:cubicBezTo>
                <a:cubicBezTo>
                  <a:pt x="301386" y="162752"/>
                  <a:pt x="301386" y="162752"/>
                  <a:pt x="302757" y="161381"/>
                </a:cubicBezTo>
                <a:cubicBezTo>
                  <a:pt x="312597" y="152504"/>
                  <a:pt x="325185" y="152675"/>
                  <a:pt x="338411" y="152293"/>
                </a:cubicBezTo>
                <a:cubicBezTo>
                  <a:pt x="350839" y="152463"/>
                  <a:pt x="359094" y="154554"/>
                  <a:pt x="368482" y="161893"/>
                </a:cubicBezTo>
                <a:cubicBezTo>
                  <a:pt x="369609" y="163085"/>
                  <a:pt x="370737" y="164277"/>
                  <a:pt x="371899" y="165505"/>
                </a:cubicBezTo>
                <a:cubicBezTo>
                  <a:pt x="372962" y="166522"/>
                  <a:pt x="374026" y="167539"/>
                  <a:pt x="375121" y="168587"/>
                </a:cubicBezTo>
                <a:cubicBezTo>
                  <a:pt x="381050" y="176351"/>
                  <a:pt x="384520" y="184328"/>
                  <a:pt x="384982" y="193777"/>
                </a:cubicBezTo>
                <a:cubicBezTo>
                  <a:pt x="385464" y="201192"/>
                  <a:pt x="387638" y="207607"/>
                  <a:pt x="390352" y="214563"/>
                </a:cubicBezTo>
                <a:cubicBezTo>
                  <a:pt x="390934" y="216079"/>
                  <a:pt x="390934" y="216079"/>
                  <a:pt x="391529" y="217626"/>
                </a:cubicBezTo>
                <a:cubicBezTo>
                  <a:pt x="394082" y="223926"/>
                  <a:pt x="397412" y="228969"/>
                  <a:pt x="401579" y="234556"/>
                </a:cubicBezTo>
                <a:cubicBezTo>
                  <a:pt x="401579" y="235952"/>
                  <a:pt x="401579" y="237347"/>
                  <a:pt x="401579" y="238784"/>
                </a:cubicBezTo>
                <a:cubicBezTo>
                  <a:pt x="402884" y="239263"/>
                  <a:pt x="402884" y="239263"/>
                  <a:pt x="404215" y="239753"/>
                </a:cubicBezTo>
                <a:cubicBezTo>
                  <a:pt x="410099" y="242765"/>
                  <a:pt x="414395" y="246733"/>
                  <a:pt x="417811" y="251996"/>
                </a:cubicBezTo>
                <a:cubicBezTo>
                  <a:pt x="420462" y="255897"/>
                  <a:pt x="423407" y="258959"/>
                  <a:pt x="426866" y="262300"/>
                </a:cubicBezTo>
                <a:cubicBezTo>
                  <a:pt x="435101" y="270407"/>
                  <a:pt x="442641" y="278936"/>
                  <a:pt x="450097" y="287628"/>
                </a:cubicBezTo>
                <a:cubicBezTo>
                  <a:pt x="453081" y="291117"/>
                  <a:pt x="453081" y="291117"/>
                  <a:pt x="457425" y="293920"/>
                </a:cubicBezTo>
                <a:cubicBezTo>
                  <a:pt x="458585" y="294792"/>
                  <a:pt x="459745" y="295664"/>
                  <a:pt x="460940" y="296562"/>
                </a:cubicBezTo>
                <a:cubicBezTo>
                  <a:pt x="460940" y="297957"/>
                  <a:pt x="460940" y="299352"/>
                  <a:pt x="460940" y="300790"/>
                </a:cubicBezTo>
                <a:cubicBezTo>
                  <a:pt x="465063" y="302782"/>
                  <a:pt x="468862" y="304133"/>
                  <a:pt x="473437" y="305018"/>
                </a:cubicBezTo>
                <a:cubicBezTo>
                  <a:pt x="473437" y="305947"/>
                  <a:pt x="473437" y="306877"/>
                  <a:pt x="473437" y="307836"/>
                </a:cubicBezTo>
                <a:cubicBezTo>
                  <a:pt x="475581" y="308519"/>
                  <a:pt x="477730" y="309193"/>
                  <a:pt x="479881" y="309862"/>
                </a:cubicBezTo>
                <a:cubicBezTo>
                  <a:pt x="481077" y="310237"/>
                  <a:pt x="482273" y="310614"/>
                  <a:pt x="483505" y="311001"/>
                </a:cubicBezTo>
                <a:cubicBezTo>
                  <a:pt x="505448" y="316843"/>
                  <a:pt x="527690" y="314359"/>
                  <a:pt x="548419" y="306427"/>
                </a:cubicBezTo>
                <a:cubicBezTo>
                  <a:pt x="549548" y="305998"/>
                  <a:pt x="550678" y="305569"/>
                  <a:pt x="551842" y="305127"/>
                </a:cubicBezTo>
                <a:cubicBezTo>
                  <a:pt x="555376" y="303227"/>
                  <a:pt x="557584" y="300980"/>
                  <a:pt x="560232" y="298148"/>
                </a:cubicBezTo>
                <a:cubicBezTo>
                  <a:pt x="561137" y="297192"/>
                  <a:pt x="562041" y="296236"/>
                  <a:pt x="562972" y="295252"/>
                </a:cubicBezTo>
                <a:cubicBezTo>
                  <a:pt x="564755" y="293274"/>
                  <a:pt x="566459" y="291237"/>
                  <a:pt x="568086" y="289152"/>
                </a:cubicBezTo>
                <a:cubicBezTo>
                  <a:pt x="568813" y="288342"/>
                  <a:pt x="569539" y="287532"/>
                  <a:pt x="570289" y="286697"/>
                </a:cubicBezTo>
                <a:cubicBezTo>
                  <a:pt x="571319" y="286697"/>
                  <a:pt x="572350" y="286697"/>
                  <a:pt x="573413" y="286697"/>
                </a:cubicBezTo>
                <a:cubicBezTo>
                  <a:pt x="577408" y="276984"/>
                  <a:pt x="577197" y="267284"/>
                  <a:pt x="577220" y="257016"/>
                </a:cubicBezTo>
                <a:cubicBezTo>
                  <a:pt x="577227" y="255625"/>
                  <a:pt x="577227" y="255625"/>
                  <a:pt x="577235" y="254206"/>
                </a:cubicBezTo>
                <a:cubicBezTo>
                  <a:pt x="577257" y="237553"/>
                  <a:pt x="574604" y="222055"/>
                  <a:pt x="569443" y="206049"/>
                </a:cubicBezTo>
                <a:cubicBezTo>
                  <a:pt x="568726" y="203553"/>
                  <a:pt x="568726" y="203553"/>
                  <a:pt x="568726" y="200735"/>
                </a:cubicBezTo>
                <a:cubicBezTo>
                  <a:pt x="567695" y="200735"/>
                  <a:pt x="566664" y="200735"/>
                  <a:pt x="565602" y="200735"/>
                </a:cubicBezTo>
                <a:cubicBezTo>
                  <a:pt x="563274" y="195295"/>
                  <a:pt x="561092" y="190108"/>
                  <a:pt x="559549" y="184441"/>
                </a:cubicBezTo>
                <a:cubicBezTo>
                  <a:pt x="555572" y="173477"/>
                  <a:pt x="547043" y="167105"/>
                  <a:pt x="537484" y="159867"/>
                </a:cubicBezTo>
                <a:cubicBezTo>
                  <a:pt x="533579" y="156609"/>
                  <a:pt x="533579" y="156609"/>
                  <a:pt x="531235" y="154230"/>
                </a:cubicBezTo>
                <a:cubicBezTo>
                  <a:pt x="531235" y="153301"/>
                  <a:pt x="531235" y="152371"/>
                  <a:pt x="531235" y="151412"/>
                </a:cubicBezTo>
                <a:cubicBezTo>
                  <a:pt x="529689" y="150947"/>
                  <a:pt x="528143" y="150482"/>
                  <a:pt x="526549" y="150003"/>
                </a:cubicBezTo>
                <a:cubicBezTo>
                  <a:pt x="519904" y="137298"/>
                  <a:pt x="519105" y="120357"/>
                  <a:pt x="524304" y="107198"/>
                </a:cubicBezTo>
                <a:cubicBezTo>
                  <a:pt x="529443" y="97376"/>
                  <a:pt x="535781" y="90193"/>
                  <a:pt x="547052" y="85972"/>
                </a:cubicBezTo>
                <a:cubicBezTo>
                  <a:pt x="559924" y="81835"/>
                  <a:pt x="575221" y="79746"/>
                  <a:pt x="588460" y="83538"/>
                </a:cubicBezTo>
                <a:cubicBezTo>
                  <a:pt x="601643" y="89713"/>
                  <a:pt x="611835" y="99450"/>
                  <a:pt x="617152" y="111954"/>
                </a:cubicBezTo>
                <a:cubicBezTo>
                  <a:pt x="617935" y="116052"/>
                  <a:pt x="617954" y="120024"/>
                  <a:pt x="617884" y="124175"/>
                </a:cubicBezTo>
                <a:cubicBezTo>
                  <a:pt x="617896" y="125307"/>
                  <a:pt x="617906" y="126440"/>
                  <a:pt x="617917" y="127607"/>
                </a:cubicBezTo>
                <a:cubicBezTo>
                  <a:pt x="617963" y="132394"/>
                  <a:pt x="617938" y="137181"/>
                  <a:pt x="617919" y="141969"/>
                </a:cubicBezTo>
                <a:cubicBezTo>
                  <a:pt x="617899" y="160184"/>
                  <a:pt x="619422" y="175572"/>
                  <a:pt x="630625" y="191311"/>
                </a:cubicBezTo>
                <a:cubicBezTo>
                  <a:pt x="633753" y="195891"/>
                  <a:pt x="636431" y="199900"/>
                  <a:pt x="637850" y="205139"/>
                </a:cubicBezTo>
                <a:cubicBezTo>
                  <a:pt x="638615" y="209623"/>
                  <a:pt x="638615" y="209623"/>
                  <a:pt x="643708" y="212009"/>
                </a:cubicBezTo>
                <a:cubicBezTo>
                  <a:pt x="645380" y="214563"/>
                  <a:pt x="645380" y="214563"/>
                  <a:pt x="647027" y="217645"/>
                </a:cubicBezTo>
                <a:cubicBezTo>
                  <a:pt x="652549" y="227016"/>
                  <a:pt x="660443" y="235696"/>
                  <a:pt x="670264" y="241603"/>
                </a:cubicBezTo>
                <a:cubicBezTo>
                  <a:pt x="670264" y="242532"/>
                  <a:pt x="670264" y="243462"/>
                  <a:pt x="670264" y="244421"/>
                </a:cubicBezTo>
                <a:cubicBezTo>
                  <a:pt x="672036" y="244857"/>
                  <a:pt x="673808" y="245293"/>
                  <a:pt x="675634" y="245742"/>
                </a:cubicBezTo>
                <a:cubicBezTo>
                  <a:pt x="681199" y="247239"/>
                  <a:pt x="681199" y="247239"/>
                  <a:pt x="682761" y="248649"/>
                </a:cubicBezTo>
                <a:cubicBezTo>
                  <a:pt x="704487" y="252065"/>
                  <a:pt x="732606" y="256402"/>
                  <a:pt x="752092" y="245076"/>
                </a:cubicBezTo>
                <a:cubicBezTo>
                  <a:pt x="754252" y="243599"/>
                  <a:pt x="756372" y="242073"/>
                  <a:pt x="758433" y="240485"/>
                </a:cubicBezTo>
                <a:cubicBezTo>
                  <a:pt x="760867" y="238784"/>
                  <a:pt x="760867" y="238784"/>
                  <a:pt x="763991" y="238784"/>
                </a:cubicBezTo>
                <a:cubicBezTo>
                  <a:pt x="764647" y="237296"/>
                  <a:pt x="764647" y="237296"/>
                  <a:pt x="765315" y="235778"/>
                </a:cubicBezTo>
                <a:cubicBezTo>
                  <a:pt x="767151" y="231659"/>
                  <a:pt x="769030" y="227557"/>
                  <a:pt x="770923" y="223459"/>
                </a:cubicBezTo>
                <a:cubicBezTo>
                  <a:pt x="771608" y="221966"/>
                  <a:pt x="772292" y="220472"/>
                  <a:pt x="772998" y="218934"/>
                </a:cubicBezTo>
                <a:cubicBezTo>
                  <a:pt x="774429" y="215885"/>
                  <a:pt x="775968" y="212878"/>
                  <a:pt x="777562" y="209895"/>
                </a:cubicBezTo>
                <a:cubicBezTo>
                  <a:pt x="787607" y="185732"/>
                  <a:pt x="788559" y="149501"/>
                  <a:pt x="781175" y="124637"/>
                </a:cubicBezTo>
                <a:cubicBezTo>
                  <a:pt x="780144" y="124637"/>
                  <a:pt x="779113" y="124637"/>
                  <a:pt x="778051" y="124637"/>
                </a:cubicBezTo>
                <a:cubicBezTo>
                  <a:pt x="768501" y="110080"/>
                  <a:pt x="762898" y="96653"/>
                  <a:pt x="767116" y="79542"/>
                </a:cubicBezTo>
                <a:cubicBezTo>
                  <a:pt x="772286" y="69057"/>
                  <a:pt x="781456" y="58252"/>
                  <a:pt x="793379" y="54000"/>
                </a:cubicBezTo>
                <a:cubicBezTo>
                  <a:pt x="808369" y="49250"/>
                  <a:pt x="826058" y="49579"/>
                  <a:pt x="840688" y="55503"/>
                </a:cubicBezTo>
                <a:cubicBezTo>
                  <a:pt x="845183" y="57759"/>
                  <a:pt x="848037" y="60575"/>
                  <a:pt x="851470" y="64040"/>
                </a:cubicBezTo>
                <a:cubicBezTo>
                  <a:pt x="852721" y="65272"/>
                  <a:pt x="852721" y="65272"/>
                  <a:pt x="853997" y="66529"/>
                </a:cubicBezTo>
                <a:cubicBezTo>
                  <a:pt x="858396" y="71505"/>
                  <a:pt x="860490" y="76640"/>
                  <a:pt x="861488" y="82057"/>
                </a:cubicBezTo>
                <a:lnTo>
                  <a:pt x="861937" y="90492"/>
                </a:lnTo>
                <a:lnTo>
                  <a:pt x="863826" y="100715"/>
                </a:lnTo>
                <a:cubicBezTo>
                  <a:pt x="862141" y="107853"/>
                  <a:pt x="859866" y="114857"/>
                  <a:pt x="857577" y="121853"/>
                </a:cubicBezTo>
                <a:cubicBezTo>
                  <a:pt x="857062" y="121853"/>
                  <a:pt x="856547" y="121853"/>
                  <a:pt x="856015" y="121853"/>
                </a:cubicBezTo>
                <a:cubicBezTo>
                  <a:pt x="855731" y="120401"/>
                  <a:pt x="855731" y="120401"/>
                  <a:pt x="855442" y="118919"/>
                </a:cubicBezTo>
                <a:lnTo>
                  <a:pt x="855417" y="118798"/>
                </a:lnTo>
                <a:lnTo>
                  <a:pt x="856157" y="124637"/>
                </a:lnTo>
                <a:lnTo>
                  <a:pt x="850623" y="134701"/>
                </a:lnTo>
                <a:lnTo>
                  <a:pt x="851325" y="135968"/>
                </a:lnTo>
                <a:cubicBezTo>
                  <a:pt x="850851" y="137246"/>
                  <a:pt x="850376" y="138525"/>
                  <a:pt x="849886" y="139843"/>
                </a:cubicBezTo>
                <a:cubicBezTo>
                  <a:pt x="848171" y="144505"/>
                  <a:pt x="847798" y="148002"/>
                  <a:pt x="847786" y="152889"/>
                </a:cubicBezTo>
                <a:cubicBezTo>
                  <a:pt x="847779" y="154500"/>
                  <a:pt x="847773" y="156109"/>
                  <a:pt x="847767" y="157768"/>
                </a:cubicBezTo>
                <a:cubicBezTo>
                  <a:pt x="847782" y="159468"/>
                  <a:pt x="847796" y="161167"/>
                  <a:pt x="847810" y="162919"/>
                </a:cubicBezTo>
                <a:cubicBezTo>
                  <a:pt x="847821" y="165546"/>
                  <a:pt x="847821" y="165546"/>
                  <a:pt x="847832" y="168227"/>
                </a:cubicBezTo>
                <a:cubicBezTo>
                  <a:pt x="847980" y="181934"/>
                  <a:pt x="849003" y="195419"/>
                  <a:pt x="850903" y="209013"/>
                </a:cubicBezTo>
                <a:lnTo>
                  <a:pt x="852880" y="224692"/>
                </a:lnTo>
                <a:lnTo>
                  <a:pt x="854595" y="224692"/>
                </a:lnTo>
                <a:cubicBezTo>
                  <a:pt x="855086" y="225542"/>
                  <a:pt x="855577" y="226392"/>
                  <a:pt x="856083" y="227268"/>
                </a:cubicBezTo>
                <a:cubicBezTo>
                  <a:pt x="862358" y="237839"/>
                  <a:pt x="866924" y="242785"/>
                  <a:pt x="879588" y="247239"/>
                </a:cubicBezTo>
                <a:cubicBezTo>
                  <a:pt x="881642" y="248025"/>
                  <a:pt x="883692" y="248817"/>
                  <a:pt x="885739" y="249618"/>
                </a:cubicBezTo>
                <a:cubicBezTo>
                  <a:pt x="887318" y="250227"/>
                  <a:pt x="888897" y="250838"/>
                  <a:pt x="890523" y="251467"/>
                </a:cubicBezTo>
                <a:cubicBezTo>
                  <a:pt x="890523" y="252397"/>
                  <a:pt x="890523" y="253327"/>
                  <a:pt x="890523" y="254285"/>
                </a:cubicBezTo>
                <a:cubicBezTo>
                  <a:pt x="900347" y="257061"/>
                  <a:pt x="910127" y="259425"/>
                  <a:pt x="920203" y="261332"/>
                </a:cubicBezTo>
                <a:cubicBezTo>
                  <a:pt x="920203" y="261796"/>
                  <a:pt x="920203" y="262262"/>
                  <a:pt x="920203" y="262741"/>
                </a:cubicBezTo>
                <a:cubicBezTo>
                  <a:pt x="917111" y="262741"/>
                  <a:pt x="914018" y="262741"/>
                  <a:pt x="910831" y="262741"/>
                </a:cubicBezTo>
                <a:lnTo>
                  <a:pt x="910831" y="262864"/>
                </a:lnTo>
                <a:lnTo>
                  <a:pt x="927993" y="264177"/>
                </a:lnTo>
                <a:lnTo>
                  <a:pt x="939273" y="265285"/>
                </a:lnTo>
                <a:lnTo>
                  <a:pt x="940456" y="265191"/>
                </a:lnTo>
                <a:cubicBezTo>
                  <a:pt x="962552" y="263054"/>
                  <a:pt x="974979" y="255295"/>
                  <a:pt x="991622" y="242329"/>
                </a:cubicBezTo>
                <a:lnTo>
                  <a:pt x="1000803" y="236505"/>
                </a:lnTo>
                <a:lnTo>
                  <a:pt x="999806" y="236055"/>
                </a:lnTo>
                <a:cubicBezTo>
                  <a:pt x="1000902" y="234997"/>
                  <a:pt x="1001997" y="233941"/>
                  <a:pt x="1003126" y="232851"/>
                </a:cubicBezTo>
                <a:cubicBezTo>
                  <a:pt x="1012364" y="223880"/>
                  <a:pt x="1021184" y="214752"/>
                  <a:pt x="1029487" y="205052"/>
                </a:cubicBezTo>
                <a:lnTo>
                  <a:pt x="1029872" y="206442"/>
                </a:lnTo>
                <a:lnTo>
                  <a:pt x="1031614" y="203719"/>
                </a:lnTo>
                <a:cubicBezTo>
                  <a:pt x="1033221" y="199204"/>
                  <a:pt x="1035713" y="196017"/>
                  <a:pt x="1038924" y="192280"/>
                </a:cubicBezTo>
                <a:cubicBezTo>
                  <a:pt x="1039956" y="191815"/>
                  <a:pt x="1040987" y="191349"/>
                  <a:pt x="1042049" y="190870"/>
                </a:cubicBezTo>
                <a:cubicBezTo>
                  <a:pt x="1043161" y="188473"/>
                  <a:pt x="1043161" y="188473"/>
                  <a:pt x="1044294" y="186026"/>
                </a:cubicBezTo>
                <a:cubicBezTo>
                  <a:pt x="1046735" y="181006"/>
                  <a:pt x="1046735" y="181006"/>
                  <a:pt x="1051422" y="178188"/>
                </a:cubicBezTo>
                <a:cubicBezTo>
                  <a:pt x="1052553" y="175286"/>
                  <a:pt x="1052553" y="175286"/>
                  <a:pt x="1052984" y="172551"/>
                </a:cubicBezTo>
                <a:cubicBezTo>
                  <a:pt x="1054014" y="172551"/>
                  <a:pt x="1055046" y="172551"/>
                  <a:pt x="1056108" y="172551"/>
                </a:cubicBezTo>
                <a:cubicBezTo>
                  <a:pt x="1057139" y="169295"/>
                  <a:pt x="1058170" y="166040"/>
                  <a:pt x="1059232" y="162686"/>
                </a:cubicBezTo>
                <a:cubicBezTo>
                  <a:pt x="1060263" y="162686"/>
                  <a:pt x="1061295" y="162686"/>
                  <a:pt x="1062357" y="162686"/>
                </a:cubicBezTo>
                <a:cubicBezTo>
                  <a:pt x="1062755" y="161484"/>
                  <a:pt x="1062755" y="161484"/>
                  <a:pt x="1063162" y="160258"/>
                </a:cubicBezTo>
                <a:cubicBezTo>
                  <a:pt x="1065716" y="152917"/>
                  <a:pt x="1068813" y="146686"/>
                  <a:pt x="1073292" y="140138"/>
                </a:cubicBezTo>
                <a:cubicBezTo>
                  <a:pt x="1074322" y="140138"/>
                  <a:pt x="1075353" y="140138"/>
                  <a:pt x="1076415" y="140138"/>
                </a:cubicBezTo>
                <a:cubicBezTo>
                  <a:pt x="1079808" y="132748"/>
                  <a:pt x="1082509" y="125160"/>
                  <a:pt x="1085294" y="117569"/>
                </a:cubicBezTo>
                <a:cubicBezTo>
                  <a:pt x="1085972" y="116181"/>
                  <a:pt x="1086651" y="114793"/>
                  <a:pt x="1087350" y="113363"/>
                </a:cubicBezTo>
                <a:cubicBezTo>
                  <a:pt x="1089671" y="112666"/>
                  <a:pt x="1089671" y="112666"/>
                  <a:pt x="1092037" y="111954"/>
                </a:cubicBezTo>
                <a:cubicBezTo>
                  <a:pt x="1092230" y="110879"/>
                  <a:pt x="1092423" y="109803"/>
                  <a:pt x="1092623" y="108695"/>
                </a:cubicBezTo>
                <a:cubicBezTo>
                  <a:pt x="1093599" y="104908"/>
                  <a:pt x="1093599" y="104908"/>
                  <a:pt x="1096723" y="100680"/>
                </a:cubicBezTo>
                <a:cubicBezTo>
                  <a:pt x="1097207" y="99140"/>
                  <a:pt x="1097689" y="97599"/>
                  <a:pt x="1098188" y="96013"/>
                </a:cubicBezTo>
                <a:cubicBezTo>
                  <a:pt x="1099847" y="90815"/>
                  <a:pt x="1099847" y="90815"/>
                  <a:pt x="1102288" y="87029"/>
                </a:cubicBezTo>
                <a:cubicBezTo>
                  <a:pt x="1106061" y="79186"/>
                  <a:pt x="1107564" y="69424"/>
                  <a:pt x="1104534" y="61222"/>
                </a:cubicBezTo>
                <a:cubicBezTo>
                  <a:pt x="1104409" y="59341"/>
                  <a:pt x="1104366" y="57454"/>
                  <a:pt x="1104381" y="55569"/>
                </a:cubicBezTo>
                <a:cubicBezTo>
                  <a:pt x="1104386" y="54501"/>
                  <a:pt x="1104391" y="53434"/>
                  <a:pt x="1104397" y="52335"/>
                </a:cubicBezTo>
                <a:cubicBezTo>
                  <a:pt x="1104410" y="51228"/>
                  <a:pt x="1104423" y="50120"/>
                  <a:pt x="1104436" y="48979"/>
                </a:cubicBezTo>
                <a:cubicBezTo>
                  <a:pt x="1104443" y="47856"/>
                  <a:pt x="1104451" y="46733"/>
                  <a:pt x="1104457" y="45575"/>
                </a:cubicBezTo>
                <a:cubicBezTo>
                  <a:pt x="1104476" y="42805"/>
                  <a:pt x="1104504" y="40035"/>
                  <a:pt x="1104534" y="37265"/>
                </a:cubicBezTo>
                <a:cubicBezTo>
                  <a:pt x="1105565" y="37265"/>
                  <a:pt x="1106596" y="37265"/>
                  <a:pt x="1107658" y="37265"/>
                </a:cubicBezTo>
                <a:cubicBezTo>
                  <a:pt x="1107561" y="34562"/>
                  <a:pt x="1107561" y="34562"/>
                  <a:pt x="1107463" y="31805"/>
                </a:cubicBezTo>
                <a:cubicBezTo>
                  <a:pt x="1107353" y="28733"/>
                  <a:pt x="1107353" y="28733"/>
                  <a:pt x="1107658" y="25991"/>
                </a:cubicBezTo>
                <a:cubicBezTo>
                  <a:pt x="1108689" y="25062"/>
                  <a:pt x="1109720" y="24131"/>
                  <a:pt x="1110782" y="23173"/>
                </a:cubicBezTo>
                <a:cubicBezTo>
                  <a:pt x="1111104" y="22156"/>
                  <a:pt x="1111427" y="21138"/>
                  <a:pt x="1111759" y="20091"/>
                </a:cubicBezTo>
                <a:cubicBezTo>
                  <a:pt x="1116393" y="11539"/>
                  <a:pt x="1124927" y="6390"/>
                  <a:pt x="1134507" y="2828"/>
                </a:cubicBezTo>
                <a:cubicBezTo>
                  <a:pt x="1141389" y="825"/>
                  <a:pt x="1148262" y="-204"/>
                  <a:pt x="1155019" y="35"/>
                </a:cubicBezTo>
                <a:close/>
              </a:path>
            </a:pathLst>
          </a:custGeom>
          <a:solidFill>
            <a:schemeClr val="accent3"/>
          </a:solidFill>
          <a:ln w="2232" cap="flat">
            <a:noFill/>
            <a:prstDash val="solid"/>
            <a:miter/>
          </a:ln>
          <a:effectLst>
            <a:innerShdw blurRad="63500" dist="190500" dir="8100000">
              <a:schemeClr val="accent3">
                <a:lumMod val="75000"/>
                <a:alpha val="50000"/>
              </a:schemeClr>
            </a:innerShdw>
          </a:effectLst>
        </p:spPr>
        <p:txBody>
          <a:bodyPr wrap="squar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AF80FCD4-4F32-DCAA-EA12-5A50729EF721}"/>
              </a:ext>
            </a:extLst>
          </p:cNvPr>
          <p:cNvSpPr/>
          <p:nvPr/>
        </p:nvSpPr>
        <p:spPr>
          <a:xfrm>
            <a:off x="4774764" y="3281506"/>
            <a:ext cx="96793" cy="96793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0426E108-439D-DB19-6012-BBAF5E9699A6}"/>
              </a:ext>
            </a:extLst>
          </p:cNvPr>
          <p:cNvSpPr/>
          <p:nvPr/>
        </p:nvSpPr>
        <p:spPr>
          <a:xfrm>
            <a:off x="4903976" y="3366258"/>
            <a:ext cx="96793" cy="96793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F8CB59E1-0BC2-1D3B-DBC5-40766ABA1503}"/>
              </a:ext>
            </a:extLst>
          </p:cNvPr>
          <p:cNvSpPr/>
          <p:nvPr/>
        </p:nvSpPr>
        <p:spPr>
          <a:xfrm>
            <a:off x="4810193" y="3523950"/>
            <a:ext cx="75769" cy="75769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BD069127-3905-5129-3D0B-ECA7DA8B4243}"/>
              </a:ext>
            </a:extLst>
          </p:cNvPr>
          <p:cNvSpPr/>
          <p:nvPr/>
        </p:nvSpPr>
        <p:spPr>
          <a:xfrm>
            <a:off x="5012346" y="3506583"/>
            <a:ext cx="96793" cy="96793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60636F8A-A95A-6412-A12C-43FD8B42AFA8}"/>
              </a:ext>
            </a:extLst>
          </p:cNvPr>
          <p:cNvSpPr/>
          <p:nvPr/>
        </p:nvSpPr>
        <p:spPr>
          <a:xfrm>
            <a:off x="5043607" y="3305125"/>
            <a:ext cx="65532" cy="65532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2" name="Free-form: Shape 21">
            <a:extLst>
              <a:ext uri="{FF2B5EF4-FFF2-40B4-BE49-F238E27FC236}">
                <a16:creationId xmlns:a16="http://schemas.microsoft.com/office/drawing/2014/main" id="{FAEA05E0-F518-1F84-7158-B8B04B26AECF}"/>
              </a:ext>
            </a:extLst>
          </p:cNvPr>
          <p:cNvSpPr/>
          <p:nvPr/>
        </p:nvSpPr>
        <p:spPr>
          <a:xfrm>
            <a:off x="5187612" y="3818791"/>
            <a:ext cx="697225" cy="142291"/>
          </a:xfrm>
          <a:custGeom>
            <a:avLst/>
            <a:gdLst>
              <a:gd name="csX0" fmla="*/ 47178 w 843642"/>
              <a:gd name="csY0" fmla="*/ 0 h 172172"/>
              <a:gd name="csX1" fmla="*/ 843642 w 843642"/>
              <a:gd name="csY1" fmla="*/ 0 h 172172"/>
              <a:gd name="csX2" fmla="*/ 842652 w 843642"/>
              <a:gd name="csY2" fmla="*/ 172172 h 172172"/>
              <a:gd name="csX3" fmla="*/ 0 w 843642"/>
              <a:gd name="csY3" fmla="*/ 172172 h 172172"/>
              <a:gd name="csX4" fmla="*/ 47178 w 843642"/>
              <a:gd name="csY4" fmla="*/ 0 h 17217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843642" h="172172">
                <a:moveTo>
                  <a:pt x="47178" y="0"/>
                </a:moveTo>
                <a:lnTo>
                  <a:pt x="843642" y="0"/>
                </a:lnTo>
                <a:lnTo>
                  <a:pt x="842652" y="172172"/>
                </a:lnTo>
                <a:lnTo>
                  <a:pt x="0" y="172172"/>
                </a:lnTo>
                <a:lnTo>
                  <a:pt x="47178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3" name="Free-form: Shape 22">
            <a:extLst>
              <a:ext uri="{FF2B5EF4-FFF2-40B4-BE49-F238E27FC236}">
                <a16:creationId xmlns:a16="http://schemas.microsoft.com/office/drawing/2014/main" id="{E329DAC2-C5DA-F90A-9985-A363DF13FED0}"/>
              </a:ext>
            </a:extLst>
          </p:cNvPr>
          <p:cNvSpPr/>
          <p:nvPr/>
        </p:nvSpPr>
        <p:spPr>
          <a:xfrm>
            <a:off x="4394334" y="3963111"/>
            <a:ext cx="792722" cy="173778"/>
          </a:xfrm>
          <a:custGeom>
            <a:avLst/>
            <a:gdLst>
              <a:gd name="csX0" fmla="*/ 116817 w 959194"/>
              <a:gd name="csY0" fmla="*/ 0 h 210271"/>
              <a:gd name="csX1" fmla="*/ 959194 w 959194"/>
              <a:gd name="csY1" fmla="*/ 0 h 210271"/>
              <a:gd name="csX2" fmla="*/ 901577 w 959194"/>
              <a:gd name="csY2" fmla="*/ 210271 h 210271"/>
              <a:gd name="csX3" fmla="*/ 0 w 959194"/>
              <a:gd name="csY3" fmla="*/ 210271 h 210271"/>
              <a:gd name="csX4" fmla="*/ 116817 w 959194"/>
              <a:gd name="csY4" fmla="*/ 0 h 21027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959194" h="210271">
                <a:moveTo>
                  <a:pt x="116817" y="0"/>
                </a:moveTo>
                <a:lnTo>
                  <a:pt x="959194" y="0"/>
                </a:lnTo>
                <a:lnTo>
                  <a:pt x="901577" y="210271"/>
                </a:lnTo>
                <a:lnTo>
                  <a:pt x="0" y="210271"/>
                </a:lnTo>
                <a:lnTo>
                  <a:pt x="116817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4" name="Free-form: Shape 23">
            <a:extLst>
              <a:ext uri="{FF2B5EF4-FFF2-40B4-BE49-F238E27FC236}">
                <a16:creationId xmlns:a16="http://schemas.microsoft.com/office/drawing/2014/main" id="{F6758944-2135-108A-6642-D31258255627}"/>
              </a:ext>
            </a:extLst>
          </p:cNvPr>
          <p:cNvSpPr/>
          <p:nvPr/>
        </p:nvSpPr>
        <p:spPr>
          <a:xfrm>
            <a:off x="5883008" y="3963111"/>
            <a:ext cx="718291" cy="173778"/>
          </a:xfrm>
          <a:custGeom>
            <a:avLst/>
            <a:gdLst>
              <a:gd name="csX0" fmla="*/ 1208 w 869132"/>
              <a:gd name="csY0" fmla="*/ 0 h 210271"/>
              <a:gd name="csX1" fmla="*/ 809226 w 869132"/>
              <a:gd name="csY1" fmla="*/ 0 h 210271"/>
              <a:gd name="csX2" fmla="*/ 869132 w 869132"/>
              <a:gd name="csY2" fmla="*/ 210271 h 210271"/>
              <a:gd name="csX3" fmla="*/ 0 w 869132"/>
              <a:gd name="csY3" fmla="*/ 210271 h 210271"/>
              <a:gd name="csX4" fmla="*/ 1208 w 869132"/>
              <a:gd name="csY4" fmla="*/ 0 h 21027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869132" h="210271">
                <a:moveTo>
                  <a:pt x="1208" y="0"/>
                </a:moveTo>
                <a:lnTo>
                  <a:pt x="809226" y="0"/>
                </a:lnTo>
                <a:lnTo>
                  <a:pt x="869132" y="210271"/>
                </a:lnTo>
                <a:lnTo>
                  <a:pt x="0" y="210271"/>
                </a:lnTo>
                <a:lnTo>
                  <a:pt x="1208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5" name="Free-form: Shape 24">
            <a:extLst>
              <a:ext uri="{FF2B5EF4-FFF2-40B4-BE49-F238E27FC236}">
                <a16:creationId xmlns:a16="http://schemas.microsoft.com/office/drawing/2014/main" id="{3969727F-FF86-6456-38B6-0151CAD7A3F9}"/>
              </a:ext>
            </a:extLst>
          </p:cNvPr>
          <p:cNvSpPr/>
          <p:nvPr/>
        </p:nvSpPr>
        <p:spPr>
          <a:xfrm>
            <a:off x="5087671" y="4136888"/>
            <a:ext cx="795337" cy="188926"/>
          </a:xfrm>
          <a:custGeom>
            <a:avLst/>
            <a:gdLst>
              <a:gd name="csX0" fmla="*/ 62639 w 962358"/>
              <a:gd name="csY0" fmla="*/ 0 h 228600"/>
              <a:gd name="csX1" fmla="*/ 962358 w 962358"/>
              <a:gd name="csY1" fmla="*/ 0 h 228600"/>
              <a:gd name="csX2" fmla="*/ 961044 w 962358"/>
              <a:gd name="csY2" fmla="*/ 228600 h 228600"/>
              <a:gd name="csX3" fmla="*/ 0 w 962358"/>
              <a:gd name="csY3" fmla="*/ 228600 h 228600"/>
              <a:gd name="csX4" fmla="*/ 62639 w 962358"/>
              <a:gd name="csY4" fmla="*/ 0 h 22860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962358" h="228600">
                <a:moveTo>
                  <a:pt x="62639" y="0"/>
                </a:moveTo>
                <a:lnTo>
                  <a:pt x="962358" y="0"/>
                </a:lnTo>
                <a:lnTo>
                  <a:pt x="961044" y="228600"/>
                </a:lnTo>
                <a:lnTo>
                  <a:pt x="0" y="228600"/>
                </a:lnTo>
                <a:lnTo>
                  <a:pt x="62639" y="0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6" name="Free-form: Shape 25">
            <a:extLst>
              <a:ext uri="{FF2B5EF4-FFF2-40B4-BE49-F238E27FC236}">
                <a16:creationId xmlns:a16="http://schemas.microsoft.com/office/drawing/2014/main" id="{C3D9C1A5-C873-F67E-E8C4-B05B0F4382C6}"/>
              </a:ext>
            </a:extLst>
          </p:cNvPr>
          <p:cNvSpPr/>
          <p:nvPr/>
        </p:nvSpPr>
        <p:spPr>
          <a:xfrm>
            <a:off x="6720161" y="4554098"/>
            <a:ext cx="989864" cy="248679"/>
          </a:xfrm>
          <a:custGeom>
            <a:avLst/>
            <a:gdLst>
              <a:gd name="csX0" fmla="*/ 0 w 1197736"/>
              <a:gd name="csY0" fmla="*/ 0 h 300901"/>
              <a:gd name="csX1" fmla="*/ 1030091 w 1197736"/>
              <a:gd name="csY1" fmla="*/ 0 h 300901"/>
              <a:gd name="csX2" fmla="*/ 1197736 w 1197736"/>
              <a:gd name="csY2" fmla="*/ 300901 h 300901"/>
              <a:gd name="csX3" fmla="*/ 85727 w 1197736"/>
              <a:gd name="csY3" fmla="*/ 300901 h 300901"/>
              <a:gd name="csX4" fmla="*/ 0 w 1197736"/>
              <a:gd name="csY4" fmla="*/ 0 h 30090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197736" h="300901">
                <a:moveTo>
                  <a:pt x="0" y="0"/>
                </a:moveTo>
                <a:lnTo>
                  <a:pt x="1030091" y="0"/>
                </a:lnTo>
                <a:lnTo>
                  <a:pt x="1197736" y="300901"/>
                </a:lnTo>
                <a:lnTo>
                  <a:pt x="85727" y="30090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7" name="Free-form: Shape 26">
            <a:extLst>
              <a:ext uri="{FF2B5EF4-FFF2-40B4-BE49-F238E27FC236}">
                <a16:creationId xmlns:a16="http://schemas.microsoft.com/office/drawing/2014/main" id="{721BD1F8-3E26-0CF9-57E8-9CE2DF93790E}"/>
              </a:ext>
            </a:extLst>
          </p:cNvPr>
          <p:cNvSpPr/>
          <p:nvPr/>
        </p:nvSpPr>
        <p:spPr>
          <a:xfrm>
            <a:off x="2974015" y="3963109"/>
            <a:ext cx="859446" cy="173779"/>
          </a:xfrm>
          <a:custGeom>
            <a:avLst/>
            <a:gdLst>
              <a:gd name="csX0" fmla="*/ 239169 w 1039930"/>
              <a:gd name="csY0" fmla="*/ 0 h 210272"/>
              <a:gd name="csX1" fmla="*/ 239170 w 1039930"/>
              <a:gd name="csY1" fmla="*/ 0 h 210272"/>
              <a:gd name="csX2" fmla="*/ 239169 w 1039930"/>
              <a:gd name="csY2" fmla="*/ 1 h 210272"/>
              <a:gd name="csX3" fmla="*/ 1039930 w 1039930"/>
              <a:gd name="csY3" fmla="*/ 1 h 210272"/>
              <a:gd name="csX4" fmla="*/ 864208 w 1039930"/>
              <a:gd name="csY4" fmla="*/ 210272 h 210272"/>
              <a:gd name="csX5" fmla="*/ 0 w 1039930"/>
              <a:gd name="csY5" fmla="*/ 210272 h 210272"/>
              <a:gd name="csX6" fmla="*/ 239169 w 1039930"/>
              <a:gd name="csY6" fmla="*/ 0 h 21027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</a:cxnLst>
            <a:rect l="l" t="t" r="r" b="b"/>
            <a:pathLst>
              <a:path w="1039930" h="210272">
                <a:moveTo>
                  <a:pt x="239169" y="0"/>
                </a:moveTo>
                <a:lnTo>
                  <a:pt x="239170" y="0"/>
                </a:lnTo>
                <a:lnTo>
                  <a:pt x="239169" y="1"/>
                </a:lnTo>
                <a:lnTo>
                  <a:pt x="1039930" y="1"/>
                </a:lnTo>
                <a:lnTo>
                  <a:pt x="864208" y="210272"/>
                </a:lnTo>
                <a:lnTo>
                  <a:pt x="0" y="210272"/>
                </a:lnTo>
                <a:lnTo>
                  <a:pt x="239169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" name="Free-form: Shape 27">
            <a:extLst>
              <a:ext uri="{FF2B5EF4-FFF2-40B4-BE49-F238E27FC236}">
                <a16:creationId xmlns:a16="http://schemas.microsoft.com/office/drawing/2014/main" id="{1CB96567-2569-70DB-7B34-AF6DFAD740BF}"/>
              </a:ext>
            </a:extLst>
          </p:cNvPr>
          <p:cNvSpPr/>
          <p:nvPr/>
        </p:nvSpPr>
        <p:spPr>
          <a:xfrm>
            <a:off x="2499470" y="4325814"/>
            <a:ext cx="1030881" cy="228284"/>
          </a:xfrm>
          <a:custGeom>
            <a:avLst/>
            <a:gdLst>
              <a:gd name="csX0" fmla="*/ 314185 w 1247366"/>
              <a:gd name="csY0" fmla="*/ 0 h 276224"/>
              <a:gd name="csX1" fmla="*/ 1247366 w 1247366"/>
              <a:gd name="csY1" fmla="*/ 0 h 276224"/>
              <a:gd name="csX2" fmla="*/ 1016527 w 1247366"/>
              <a:gd name="csY2" fmla="*/ 276224 h 276224"/>
              <a:gd name="csX3" fmla="*/ 0 w 1247366"/>
              <a:gd name="csY3" fmla="*/ 276224 h 276224"/>
              <a:gd name="csX4" fmla="*/ 314185 w 1247366"/>
              <a:gd name="csY4" fmla="*/ 0 h 27622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247366" h="276224">
                <a:moveTo>
                  <a:pt x="314185" y="0"/>
                </a:moveTo>
                <a:lnTo>
                  <a:pt x="1247366" y="0"/>
                </a:lnTo>
                <a:lnTo>
                  <a:pt x="1016527" y="276224"/>
                </a:lnTo>
                <a:lnTo>
                  <a:pt x="0" y="276224"/>
                </a:lnTo>
                <a:lnTo>
                  <a:pt x="314185" y="0"/>
                </a:lnTo>
                <a:close/>
              </a:path>
            </a:pathLst>
          </a:custGeom>
          <a:solidFill>
            <a:srgbClr val="DDE5E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9" name="Free-form: Shape 28">
            <a:extLst>
              <a:ext uri="{FF2B5EF4-FFF2-40B4-BE49-F238E27FC236}">
                <a16:creationId xmlns:a16="http://schemas.microsoft.com/office/drawing/2014/main" id="{6A424138-4ED4-36BA-7DB2-FF41C5ACB673}"/>
              </a:ext>
            </a:extLst>
          </p:cNvPr>
          <p:cNvSpPr/>
          <p:nvPr/>
        </p:nvSpPr>
        <p:spPr>
          <a:xfrm>
            <a:off x="3131756" y="4554098"/>
            <a:ext cx="1030793" cy="248679"/>
          </a:xfrm>
          <a:custGeom>
            <a:avLst/>
            <a:gdLst>
              <a:gd name="csX0" fmla="*/ 251461 w 1247260"/>
              <a:gd name="csY0" fmla="*/ 0 h 300901"/>
              <a:gd name="csX1" fmla="*/ 1247260 w 1247260"/>
              <a:gd name="csY1" fmla="*/ 0 h 300901"/>
              <a:gd name="csX2" fmla="*/ 1080093 w 1247260"/>
              <a:gd name="csY2" fmla="*/ 300901 h 300901"/>
              <a:gd name="csX3" fmla="*/ 0 w 1247260"/>
              <a:gd name="csY3" fmla="*/ 300901 h 300901"/>
              <a:gd name="csX4" fmla="*/ 251461 w 1247260"/>
              <a:gd name="csY4" fmla="*/ 0 h 30090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247260" h="300901">
                <a:moveTo>
                  <a:pt x="251461" y="0"/>
                </a:moveTo>
                <a:lnTo>
                  <a:pt x="1247260" y="0"/>
                </a:lnTo>
                <a:lnTo>
                  <a:pt x="1080093" y="300901"/>
                </a:lnTo>
                <a:lnTo>
                  <a:pt x="0" y="300901"/>
                </a:lnTo>
                <a:lnTo>
                  <a:pt x="251461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0" name="Free-form: Shape 29">
            <a:extLst>
              <a:ext uri="{FF2B5EF4-FFF2-40B4-BE49-F238E27FC236}">
                <a16:creationId xmlns:a16="http://schemas.microsoft.com/office/drawing/2014/main" id="{6E4E000F-A5F7-0691-6FA2-2E07718775AE}"/>
              </a:ext>
            </a:extLst>
          </p:cNvPr>
          <p:cNvSpPr/>
          <p:nvPr/>
        </p:nvSpPr>
        <p:spPr>
          <a:xfrm>
            <a:off x="4956978" y="4554098"/>
            <a:ext cx="923632" cy="248679"/>
          </a:xfrm>
          <a:custGeom>
            <a:avLst/>
            <a:gdLst>
              <a:gd name="csX0" fmla="*/ 82451 w 1117595"/>
              <a:gd name="csY0" fmla="*/ 0 h 300902"/>
              <a:gd name="csX1" fmla="*/ 1117595 w 1117595"/>
              <a:gd name="csY1" fmla="*/ 0 h 300902"/>
              <a:gd name="csX2" fmla="*/ 1115866 w 1117595"/>
              <a:gd name="csY2" fmla="*/ 300902 h 300902"/>
              <a:gd name="csX3" fmla="*/ 0 w 1117595"/>
              <a:gd name="csY3" fmla="*/ 300902 h 300902"/>
              <a:gd name="csX4" fmla="*/ 82451 w 1117595"/>
              <a:gd name="csY4" fmla="*/ 0 h 30090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117595" h="300902">
                <a:moveTo>
                  <a:pt x="82451" y="0"/>
                </a:moveTo>
                <a:lnTo>
                  <a:pt x="1117595" y="0"/>
                </a:lnTo>
                <a:lnTo>
                  <a:pt x="1115866" y="300902"/>
                </a:lnTo>
                <a:lnTo>
                  <a:pt x="0" y="300902"/>
                </a:lnTo>
                <a:lnTo>
                  <a:pt x="82451" y="0"/>
                </a:lnTo>
                <a:close/>
              </a:path>
            </a:pathLst>
          </a:custGeom>
          <a:solidFill>
            <a:srgbClr val="DDE5E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" name="Free-form: Shape 31">
            <a:extLst>
              <a:ext uri="{FF2B5EF4-FFF2-40B4-BE49-F238E27FC236}">
                <a16:creationId xmlns:a16="http://schemas.microsoft.com/office/drawing/2014/main" id="{98C03687-3329-458F-87A7-E7B759C21FAA}"/>
              </a:ext>
            </a:extLst>
          </p:cNvPr>
          <p:cNvSpPr/>
          <p:nvPr/>
        </p:nvSpPr>
        <p:spPr>
          <a:xfrm>
            <a:off x="6880727" y="5117685"/>
            <a:ext cx="1225011" cy="395346"/>
          </a:xfrm>
          <a:custGeom>
            <a:avLst/>
            <a:gdLst>
              <a:gd name="csX0" fmla="*/ 0 w 1482263"/>
              <a:gd name="csY0" fmla="*/ 0 h 478368"/>
              <a:gd name="csX1" fmla="*/ 1215744 w 1482263"/>
              <a:gd name="csY1" fmla="*/ 0 h 478368"/>
              <a:gd name="csX2" fmla="*/ 1482263 w 1482263"/>
              <a:gd name="csY2" fmla="*/ 478368 h 478368"/>
              <a:gd name="csX3" fmla="*/ 136287 w 1482263"/>
              <a:gd name="csY3" fmla="*/ 478368 h 478368"/>
              <a:gd name="csX4" fmla="*/ 0 w 1482263"/>
              <a:gd name="csY4" fmla="*/ 0 h 47836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482263" h="478368">
                <a:moveTo>
                  <a:pt x="0" y="0"/>
                </a:moveTo>
                <a:lnTo>
                  <a:pt x="1215744" y="0"/>
                </a:lnTo>
                <a:lnTo>
                  <a:pt x="1482263" y="478368"/>
                </a:lnTo>
                <a:lnTo>
                  <a:pt x="136287" y="478368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86ACAD83-5014-BF60-DD67-B26498928BD9}"/>
              </a:ext>
            </a:extLst>
          </p:cNvPr>
          <p:cNvGrpSpPr/>
          <p:nvPr/>
        </p:nvGrpSpPr>
        <p:grpSpPr>
          <a:xfrm>
            <a:off x="7088991" y="4506269"/>
            <a:ext cx="593138" cy="863264"/>
            <a:chOff x="7637095" y="3932161"/>
            <a:chExt cx="717697" cy="949590"/>
          </a:xfrm>
        </p:grpSpPr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EFF720B8-C773-E566-3A52-AC0DF554FB90}"/>
                </a:ext>
              </a:extLst>
            </p:cNvPr>
            <p:cNvSpPr/>
            <p:nvPr/>
          </p:nvSpPr>
          <p:spPr>
            <a:xfrm>
              <a:off x="7637095" y="4755748"/>
              <a:ext cx="717697" cy="126003"/>
            </a:xfrm>
            <a:prstGeom prst="ellipse">
              <a:avLst/>
            </a:prstGeom>
            <a:solidFill>
              <a:schemeClr val="tx1">
                <a:alpha val="61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35" name="Free-form: Shape 34">
              <a:extLst>
                <a:ext uri="{FF2B5EF4-FFF2-40B4-BE49-F238E27FC236}">
                  <a16:creationId xmlns:a16="http://schemas.microsoft.com/office/drawing/2014/main" id="{D6E3CEB6-CD06-FB35-5C4B-6F21134A58AE}"/>
                </a:ext>
              </a:extLst>
            </p:cNvPr>
            <p:cNvSpPr/>
            <p:nvPr/>
          </p:nvSpPr>
          <p:spPr>
            <a:xfrm>
              <a:off x="7756481" y="3932161"/>
              <a:ext cx="524096" cy="931726"/>
            </a:xfrm>
            <a:custGeom>
              <a:avLst/>
              <a:gdLst>
                <a:gd name="csX0" fmla="*/ 581793 w 697572"/>
                <a:gd name="csY0" fmla="*/ 1234401 h 1240128"/>
                <a:gd name="csX1" fmla="*/ 577427 w 697572"/>
                <a:gd name="csY1" fmla="*/ 1234156 h 1240128"/>
                <a:gd name="csX2" fmla="*/ 559133 w 697572"/>
                <a:gd name="csY2" fmla="*/ 1230909 h 1240128"/>
                <a:gd name="csX3" fmla="*/ 516706 w 697572"/>
                <a:gd name="csY3" fmla="*/ 1235117 h 1240128"/>
                <a:gd name="csX4" fmla="*/ 475244 w 697572"/>
                <a:gd name="csY4" fmla="*/ 1237506 h 1240128"/>
                <a:gd name="csX5" fmla="*/ 371154 w 697572"/>
                <a:gd name="csY5" fmla="*/ 1239428 h 1240128"/>
                <a:gd name="csX6" fmla="*/ 276813 w 697572"/>
                <a:gd name="csY6" fmla="*/ 1237654 h 1240128"/>
                <a:gd name="csX7" fmla="*/ 268212 w 697572"/>
                <a:gd name="csY7" fmla="*/ 1237635 h 1240128"/>
                <a:gd name="csX8" fmla="*/ 262072 w 697572"/>
                <a:gd name="csY8" fmla="*/ 1237523 h 1240128"/>
                <a:gd name="csX9" fmla="*/ 195111 w 697572"/>
                <a:gd name="csY9" fmla="*/ 1232775 h 1240128"/>
                <a:gd name="csX10" fmla="*/ 145060 w 697572"/>
                <a:gd name="csY10" fmla="*/ 1230076 h 1240128"/>
                <a:gd name="csX11" fmla="*/ 114933 w 697572"/>
                <a:gd name="csY11" fmla="*/ 1225832 h 1240128"/>
                <a:gd name="csX12" fmla="*/ 72642 w 697572"/>
                <a:gd name="csY12" fmla="*/ 1220237 h 1240128"/>
                <a:gd name="csX13" fmla="*/ 10894 w 697572"/>
                <a:gd name="csY13" fmla="*/ 1205737 h 1240128"/>
                <a:gd name="csX14" fmla="*/ 5856 w 697572"/>
                <a:gd name="csY14" fmla="*/ 1202799 h 1240128"/>
                <a:gd name="csX15" fmla="*/ 40 w 697572"/>
                <a:gd name="csY15" fmla="*/ 1174450 h 1240128"/>
                <a:gd name="csX16" fmla="*/ 19831 w 697572"/>
                <a:gd name="csY16" fmla="*/ 1118410 h 1240128"/>
                <a:gd name="csX17" fmla="*/ 22004 w 697572"/>
                <a:gd name="csY17" fmla="*/ 1107240 h 1240128"/>
                <a:gd name="csX18" fmla="*/ 25947 w 697572"/>
                <a:gd name="csY18" fmla="*/ 1038650 h 1240128"/>
                <a:gd name="csX19" fmla="*/ 58234 w 697572"/>
                <a:gd name="csY19" fmla="*/ 988567 h 1240128"/>
                <a:gd name="csX20" fmla="*/ 118645 w 697572"/>
                <a:gd name="csY20" fmla="*/ 928298 h 1240128"/>
                <a:gd name="csX21" fmla="*/ 126320 w 697572"/>
                <a:gd name="csY21" fmla="*/ 892015 h 1240128"/>
                <a:gd name="csX22" fmla="*/ 120345 w 697572"/>
                <a:gd name="csY22" fmla="*/ 872258 h 1240128"/>
                <a:gd name="csX23" fmla="*/ 125668 w 697572"/>
                <a:gd name="csY23" fmla="*/ 861640 h 1240128"/>
                <a:gd name="csX24" fmla="*/ 154237 w 697572"/>
                <a:gd name="csY24" fmla="*/ 850716 h 1240128"/>
                <a:gd name="csX25" fmla="*/ 170248 w 697572"/>
                <a:gd name="csY25" fmla="*/ 836767 h 1240128"/>
                <a:gd name="csX26" fmla="*/ 187840 w 697572"/>
                <a:gd name="csY26" fmla="*/ 796341 h 1240128"/>
                <a:gd name="csX27" fmla="*/ 209346 w 697572"/>
                <a:gd name="csY27" fmla="*/ 743126 h 1240128"/>
                <a:gd name="csX28" fmla="*/ 210630 w 697572"/>
                <a:gd name="csY28" fmla="*/ 737219 h 1240128"/>
                <a:gd name="csX29" fmla="*/ 213836 w 697572"/>
                <a:gd name="csY29" fmla="*/ 720505 h 1240128"/>
                <a:gd name="csX30" fmla="*/ 227791 w 697572"/>
                <a:gd name="csY30" fmla="*/ 667353 h 1240128"/>
                <a:gd name="csX31" fmla="*/ 241013 w 697572"/>
                <a:gd name="csY31" fmla="*/ 599151 h 1240128"/>
                <a:gd name="csX32" fmla="*/ 247322 w 697572"/>
                <a:gd name="csY32" fmla="*/ 542242 h 1240128"/>
                <a:gd name="csX33" fmla="*/ 247948 w 697572"/>
                <a:gd name="csY33" fmla="*/ 499296 h 1240128"/>
                <a:gd name="csX34" fmla="*/ 247577 w 697572"/>
                <a:gd name="csY34" fmla="*/ 470384 h 1240128"/>
                <a:gd name="csX35" fmla="*/ 238877 w 697572"/>
                <a:gd name="csY35" fmla="*/ 460987 h 1240128"/>
                <a:gd name="csX36" fmla="*/ 222040 w 697572"/>
                <a:gd name="csY36" fmla="*/ 458353 h 1240128"/>
                <a:gd name="csX37" fmla="*/ 172193 w 697572"/>
                <a:gd name="csY37" fmla="*/ 433714 h 1240128"/>
                <a:gd name="csX38" fmla="*/ 168410 w 697572"/>
                <a:gd name="csY38" fmla="*/ 396591 h 1240128"/>
                <a:gd name="csX39" fmla="*/ 209826 w 697572"/>
                <a:gd name="csY39" fmla="*/ 367773 h 1240128"/>
                <a:gd name="csX40" fmla="*/ 250732 w 697572"/>
                <a:gd name="csY40" fmla="*/ 355208 h 1240128"/>
                <a:gd name="csX41" fmla="*/ 258289 w 697572"/>
                <a:gd name="csY41" fmla="*/ 350426 h 1240128"/>
                <a:gd name="csX42" fmla="*/ 233274 w 697572"/>
                <a:gd name="csY42" fmla="*/ 333513 h 1240128"/>
                <a:gd name="csX43" fmla="*/ 229677 w 697572"/>
                <a:gd name="csY43" fmla="*/ 333922 h 1240128"/>
                <a:gd name="csX44" fmla="*/ 230149 w 697572"/>
                <a:gd name="csY44" fmla="*/ 332979 h 1240128"/>
                <a:gd name="csX45" fmla="*/ 227053 w 697572"/>
                <a:gd name="csY45" fmla="*/ 327076 h 1240128"/>
                <a:gd name="csX46" fmla="*/ 196769 w 697572"/>
                <a:gd name="csY46" fmla="*/ 291380 h 1240128"/>
                <a:gd name="csX47" fmla="*/ 184389 w 697572"/>
                <a:gd name="csY47" fmla="*/ 264042 h 1240128"/>
                <a:gd name="csX48" fmla="*/ 180630 w 697572"/>
                <a:gd name="csY48" fmla="*/ 257839 h 1240128"/>
                <a:gd name="csX49" fmla="*/ 176231 w 697572"/>
                <a:gd name="csY49" fmla="*/ 250643 h 1240128"/>
                <a:gd name="csX50" fmla="*/ 170073 w 697572"/>
                <a:gd name="csY50" fmla="*/ 146723 h 1240128"/>
                <a:gd name="csX51" fmla="*/ 180929 w 697572"/>
                <a:gd name="csY51" fmla="*/ 114280 h 1240128"/>
                <a:gd name="csX52" fmla="*/ 180839 w 697572"/>
                <a:gd name="csY52" fmla="*/ 101501 h 1240128"/>
                <a:gd name="csX53" fmla="*/ 233536 w 697572"/>
                <a:gd name="csY53" fmla="*/ 39653 h 1240128"/>
                <a:gd name="csX54" fmla="*/ 347618 w 697572"/>
                <a:gd name="csY54" fmla="*/ 35 h 1240128"/>
                <a:gd name="csX55" fmla="*/ 437139 w 697572"/>
                <a:gd name="csY55" fmla="*/ 22396 h 1240128"/>
                <a:gd name="csX56" fmla="*/ 529052 w 697572"/>
                <a:gd name="csY56" fmla="*/ 131093 h 1240128"/>
                <a:gd name="csX57" fmla="*/ 518497 w 697572"/>
                <a:gd name="csY57" fmla="*/ 271517 h 1240128"/>
                <a:gd name="csX58" fmla="*/ 500808 w 697572"/>
                <a:gd name="csY58" fmla="*/ 287385 h 1240128"/>
                <a:gd name="csX59" fmla="*/ 472948 w 697572"/>
                <a:gd name="csY59" fmla="*/ 323290 h 1240128"/>
                <a:gd name="csX60" fmla="*/ 469385 w 697572"/>
                <a:gd name="csY60" fmla="*/ 331565 h 1240128"/>
                <a:gd name="csX61" fmla="*/ 468293 w 697572"/>
                <a:gd name="csY61" fmla="*/ 331320 h 1240128"/>
                <a:gd name="csX62" fmla="*/ 459542 w 697572"/>
                <a:gd name="csY62" fmla="*/ 338942 h 1240128"/>
                <a:gd name="csX63" fmla="*/ 458492 w 697572"/>
                <a:gd name="csY63" fmla="*/ 338671 h 1240128"/>
                <a:gd name="csX64" fmla="*/ 436978 w 697572"/>
                <a:gd name="csY64" fmla="*/ 352226 h 1240128"/>
                <a:gd name="csX65" fmla="*/ 472329 w 697572"/>
                <a:gd name="csY65" fmla="*/ 362890 h 1240128"/>
                <a:gd name="csX66" fmla="*/ 523779 w 697572"/>
                <a:gd name="csY66" fmla="*/ 391962 h 1240128"/>
                <a:gd name="csX67" fmla="*/ 527344 w 697572"/>
                <a:gd name="csY67" fmla="*/ 430096 h 1240128"/>
                <a:gd name="csX68" fmla="*/ 504112 w 697572"/>
                <a:gd name="csY68" fmla="*/ 449628 h 1240128"/>
                <a:gd name="csX69" fmla="*/ 459430 w 697572"/>
                <a:gd name="csY69" fmla="*/ 461116 h 1240128"/>
                <a:gd name="csX70" fmla="*/ 446666 w 697572"/>
                <a:gd name="csY70" fmla="*/ 474229 h 1240128"/>
                <a:gd name="csX71" fmla="*/ 449133 w 697572"/>
                <a:gd name="csY71" fmla="*/ 531639 h 1240128"/>
                <a:gd name="csX72" fmla="*/ 454546 w 697572"/>
                <a:gd name="csY72" fmla="*/ 588688 h 1240128"/>
                <a:gd name="csX73" fmla="*/ 466126 w 697572"/>
                <a:gd name="csY73" fmla="*/ 649736 h 1240128"/>
                <a:gd name="csX74" fmla="*/ 512154 w 697572"/>
                <a:gd name="csY74" fmla="*/ 794006 h 1240128"/>
                <a:gd name="csX75" fmla="*/ 525763 w 697572"/>
                <a:gd name="csY75" fmla="*/ 834323 h 1240128"/>
                <a:gd name="csX76" fmla="*/ 530555 w 697572"/>
                <a:gd name="csY76" fmla="*/ 845114 h 1240128"/>
                <a:gd name="csX77" fmla="*/ 554424 w 697572"/>
                <a:gd name="csY77" fmla="*/ 856618 h 1240128"/>
                <a:gd name="csX78" fmla="*/ 572880 w 697572"/>
                <a:gd name="csY78" fmla="*/ 862546 h 1240128"/>
                <a:gd name="csX79" fmla="*/ 578643 w 697572"/>
                <a:gd name="csY79" fmla="*/ 880396 h 1240128"/>
                <a:gd name="csX80" fmla="*/ 572188 w 697572"/>
                <a:gd name="csY80" fmla="*/ 899820 h 1240128"/>
                <a:gd name="csX81" fmla="*/ 582698 w 697572"/>
                <a:gd name="csY81" fmla="*/ 930382 h 1240128"/>
                <a:gd name="csX82" fmla="*/ 604747 w 697572"/>
                <a:gd name="csY82" fmla="*/ 960852 h 1240128"/>
                <a:gd name="csX83" fmla="*/ 613863 w 697572"/>
                <a:gd name="csY83" fmla="*/ 968311 h 1240128"/>
                <a:gd name="csX84" fmla="*/ 629435 w 697572"/>
                <a:gd name="csY84" fmla="*/ 981186 h 1240128"/>
                <a:gd name="csX85" fmla="*/ 633611 w 697572"/>
                <a:gd name="csY85" fmla="*/ 985609 h 1240128"/>
                <a:gd name="csX86" fmla="*/ 673790 w 697572"/>
                <a:gd name="csY86" fmla="*/ 1049348 h 1240128"/>
                <a:gd name="csX87" fmla="*/ 675873 w 697572"/>
                <a:gd name="csY87" fmla="*/ 1092839 h 1240128"/>
                <a:gd name="csX88" fmla="*/ 681668 w 697572"/>
                <a:gd name="csY88" fmla="*/ 1129292 h 1240128"/>
                <a:gd name="csX89" fmla="*/ 697338 w 697572"/>
                <a:gd name="csY89" fmla="*/ 1196079 h 1240128"/>
                <a:gd name="csX90" fmla="*/ 690637 w 697572"/>
                <a:gd name="csY90" fmla="*/ 1205035 h 1240128"/>
                <a:gd name="csX91" fmla="*/ 639777 w 697572"/>
                <a:gd name="csY91" fmla="*/ 1217994 h 1240128"/>
                <a:gd name="csX92" fmla="*/ 587072 w 697572"/>
                <a:gd name="csY92" fmla="*/ 1227761 h 1240128"/>
                <a:gd name="csX93" fmla="*/ 581793 w 697572"/>
                <a:gd name="csY93" fmla="*/ 1234401 h 1240128"/>
                <a:gd name="csX94" fmla="*/ 357446 w 697572"/>
                <a:gd name="csY94" fmla="*/ 903795 h 1240128"/>
                <a:gd name="csX95" fmla="*/ 344445 w 697572"/>
                <a:gd name="csY95" fmla="*/ 903795 h 1240128"/>
                <a:gd name="csX96" fmla="*/ 349212 w 697572"/>
                <a:gd name="csY96" fmla="*/ 950515 h 1240128"/>
                <a:gd name="csX97" fmla="*/ 349538 w 697572"/>
                <a:gd name="csY97" fmla="*/ 1069392 h 1240128"/>
                <a:gd name="csX98" fmla="*/ 349415 w 697572"/>
                <a:gd name="csY98" fmla="*/ 1108925 h 1240128"/>
                <a:gd name="csX99" fmla="*/ 647726 w 697572"/>
                <a:gd name="csY99" fmla="*/ 1089872 h 1240128"/>
                <a:gd name="csX100" fmla="*/ 647654 w 697572"/>
                <a:gd name="csY100" fmla="*/ 1076267 h 1240128"/>
                <a:gd name="csX101" fmla="*/ 610267 w 697572"/>
                <a:gd name="csY101" fmla="*/ 994126 h 1240128"/>
                <a:gd name="csX102" fmla="*/ 571459 w 697572"/>
                <a:gd name="csY102" fmla="*/ 956568 h 1240128"/>
                <a:gd name="csX103" fmla="*/ 541653 w 697572"/>
                <a:gd name="csY103" fmla="*/ 901544 h 1240128"/>
                <a:gd name="csX104" fmla="*/ 539477 w 697572"/>
                <a:gd name="csY104" fmla="*/ 895908 h 1240128"/>
                <a:gd name="csX105" fmla="*/ 357446 w 697572"/>
                <a:gd name="csY105" fmla="*/ 903795 h 1240128"/>
                <a:gd name="csX106" fmla="*/ 300108 w 697572"/>
                <a:gd name="csY106" fmla="*/ 85260 h 1240128"/>
                <a:gd name="csX107" fmla="*/ 290213 w 697572"/>
                <a:gd name="csY107" fmla="*/ 127888 h 1240128"/>
                <a:gd name="csX108" fmla="*/ 331056 w 697572"/>
                <a:gd name="csY108" fmla="*/ 214168 h 1240128"/>
                <a:gd name="csX109" fmla="*/ 424717 w 697572"/>
                <a:gd name="csY109" fmla="*/ 245160 h 1240128"/>
                <a:gd name="csX110" fmla="*/ 496752 w 697572"/>
                <a:gd name="csY110" fmla="*/ 141256 h 1240128"/>
                <a:gd name="csX111" fmla="*/ 390320 w 697572"/>
                <a:gd name="csY111" fmla="*/ 43995 h 1240128"/>
                <a:gd name="csX112" fmla="*/ 300108 w 697572"/>
                <a:gd name="csY112" fmla="*/ 85260 h 1240128"/>
                <a:gd name="csX113" fmla="*/ 343360 w 697572"/>
                <a:gd name="csY113" fmla="*/ 634332 h 1240128"/>
                <a:gd name="csX114" fmla="*/ 340877 w 697572"/>
                <a:gd name="csY114" fmla="*/ 732259 h 1240128"/>
                <a:gd name="csX115" fmla="*/ 338360 w 697572"/>
                <a:gd name="csY115" fmla="*/ 810538 h 1240128"/>
                <a:gd name="csX116" fmla="*/ 337115 w 697572"/>
                <a:gd name="csY116" fmla="*/ 817736 h 1240128"/>
                <a:gd name="csX117" fmla="*/ 336516 w 697572"/>
                <a:gd name="csY117" fmla="*/ 863022 h 1240128"/>
                <a:gd name="csX118" fmla="*/ 343436 w 697572"/>
                <a:gd name="csY118" fmla="*/ 864027 h 1240128"/>
                <a:gd name="csX119" fmla="*/ 406718 w 697572"/>
                <a:gd name="csY119" fmla="*/ 862982 h 1240128"/>
                <a:gd name="csX120" fmla="*/ 456888 w 697572"/>
                <a:gd name="csY120" fmla="*/ 861794 h 1240128"/>
                <a:gd name="csX121" fmla="*/ 495873 w 697572"/>
                <a:gd name="csY121" fmla="*/ 863963 h 1240128"/>
                <a:gd name="csX122" fmla="*/ 509286 w 697572"/>
                <a:gd name="csY122" fmla="*/ 863595 h 1240128"/>
                <a:gd name="csX123" fmla="*/ 516956 w 697572"/>
                <a:gd name="csY123" fmla="*/ 856791 h 1240128"/>
                <a:gd name="csX124" fmla="*/ 513920 w 697572"/>
                <a:gd name="csY124" fmla="*/ 848709 h 1240128"/>
                <a:gd name="csX125" fmla="*/ 506683 w 697572"/>
                <a:gd name="csY125" fmla="*/ 839054 h 1240128"/>
                <a:gd name="csX126" fmla="*/ 488629 w 697572"/>
                <a:gd name="csY126" fmla="*/ 799037 h 1240128"/>
                <a:gd name="csX127" fmla="*/ 456922 w 697572"/>
                <a:gd name="csY127" fmla="*/ 696297 h 1240128"/>
                <a:gd name="csX128" fmla="*/ 441346 w 697572"/>
                <a:gd name="csY128" fmla="*/ 619885 h 1240128"/>
                <a:gd name="csX129" fmla="*/ 435963 w 697572"/>
                <a:gd name="csY129" fmla="*/ 582529 h 1240128"/>
                <a:gd name="csX130" fmla="*/ 429497 w 697572"/>
                <a:gd name="csY130" fmla="*/ 521990 h 1240128"/>
                <a:gd name="csX131" fmla="*/ 426887 w 697572"/>
                <a:gd name="csY131" fmla="*/ 471989 h 1240128"/>
                <a:gd name="csX132" fmla="*/ 413744 w 697572"/>
                <a:gd name="csY132" fmla="*/ 461077 h 1240128"/>
                <a:gd name="csX133" fmla="*/ 353573 w 697572"/>
                <a:gd name="csY133" fmla="*/ 461120 h 1240128"/>
                <a:gd name="csX134" fmla="*/ 344160 w 697572"/>
                <a:gd name="csY134" fmla="*/ 462286 h 1240128"/>
                <a:gd name="csX135" fmla="*/ 343404 w 697572"/>
                <a:gd name="csY135" fmla="*/ 469192 h 1240128"/>
                <a:gd name="csX136" fmla="*/ 343469 w 697572"/>
                <a:gd name="csY136" fmla="*/ 574797 h 1240128"/>
                <a:gd name="csX137" fmla="*/ 345522 w 697572"/>
                <a:gd name="csY137" fmla="*/ 591669 h 1240128"/>
                <a:gd name="csX138" fmla="*/ 343360 w 697572"/>
                <a:gd name="csY138" fmla="*/ 634332 h 1240128"/>
                <a:gd name="csX139" fmla="*/ 416946 w 697572"/>
                <a:gd name="csY139" fmla="*/ 385943 h 1240128"/>
                <a:gd name="csX140" fmla="*/ 401091 w 697572"/>
                <a:gd name="csY140" fmla="*/ 387162 h 1240128"/>
                <a:gd name="csX141" fmla="*/ 369218 w 697572"/>
                <a:gd name="csY141" fmla="*/ 387708 h 1240128"/>
                <a:gd name="csX142" fmla="*/ 351833 w 697572"/>
                <a:gd name="csY142" fmla="*/ 398991 h 1240128"/>
                <a:gd name="csX143" fmla="*/ 349778 w 697572"/>
                <a:gd name="csY143" fmla="*/ 426021 h 1240128"/>
                <a:gd name="csX144" fmla="*/ 361839 w 697572"/>
                <a:gd name="csY144" fmla="*/ 426538 h 1240128"/>
                <a:gd name="csX145" fmla="*/ 455022 w 697572"/>
                <a:gd name="csY145" fmla="*/ 426922 h 1240128"/>
                <a:gd name="csX146" fmla="*/ 481958 w 697572"/>
                <a:gd name="csY146" fmla="*/ 426527 h 1240128"/>
                <a:gd name="csX147" fmla="*/ 499817 w 697572"/>
                <a:gd name="csY147" fmla="*/ 419888 h 1240128"/>
                <a:gd name="csX148" fmla="*/ 499439 w 697572"/>
                <a:gd name="csY148" fmla="*/ 400719 h 1240128"/>
                <a:gd name="csX149" fmla="*/ 468062 w 697572"/>
                <a:gd name="csY149" fmla="*/ 387775 h 1240128"/>
                <a:gd name="csX150" fmla="*/ 416946 w 697572"/>
                <a:gd name="csY150" fmla="*/ 385943 h 1240128"/>
                <a:gd name="csX151" fmla="*/ 636802 w 697572"/>
                <a:gd name="csY151" fmla="*/ 1190940 h 1240128"/>
                <a:gd name="csX152" fmla="*/ 666492 w 697572"/>
                <a:gd name="csY152" fmla="*/ 1184186 h 1240128"/>
                <a:gd name="csX153" fmla="*/ 674465 w 697572"/>
                <a:gd name="csY153" fmla="*/ 1170880 h 1240128"/>
                <a:gd name="csX154" fmla="*/ 662462 w 697572"/>
                <a:gd name="csY154" fmla="*/ 1141464 h 1240128"/>
                <a:gd name="csX155" fmla="*/ 645564 w 697572"/>
                <a:gd name="csY155" fmla="*/ 1131937 h 1240128"/>
                <a:gd name="csX156" fmla="*/ 627387 w 697572"/>
                <a:gd name="csY156" fmla="*/ 1133618 h 1240128"/>
                <a:gd name="csX157" fmla="*/ 583917 w 697572"/>
                <a:gd name="csY157" fmla="*/ 1139222 h 1240128"/>
                <a:gd name="csX158" fmla="*/ 543741 w 697572"/>
                <a:gd name="csY158" fmla="*/ 1141869 h 1240128"/>
                <a:gd name="csX159" fmla="*/ 512146 w 697572"/>
                <a:gd name="csY159" fmla="*/ 1144418 h 1240128"/>
                <a:gd name="csX160" fmla="*/ 447711 w 697572"/>
                <a:gd name="csY160" fmla="*/ 1148973 h 1240128"/>
                <a:gd name="csX161" fmla="*/ 351979 w 697572"/>
                <a:gd name="csY161" fmla="*/ 1149200 h 1240128"/>
                <a:gd name="csX162" fmla="*/ 338443 w 697572"/>
                <a:gd name="csY162" fmla="*/ 1150040 h 1240128"/>
                <a:gd name="csX163" fmla="*/ 338451 w 697572"/>
                <a:gd name="csY163" fmla="*/ 1190780 h 1240128"/>
                <a:gd name="csX164" fmla="*/ 351082 w 697572"/>
                <a:gd name="csY164" fmla="*/ 1207015 h 1240128"/>
                <a:gd name="csX165" fmla="*/ 358298 w 697572"/>
                <a:gd name="csY165" fmla="*/ 1208094 h 1240128"/>
                <a:gd name="csX166" fmla="*/ 521229 w 697572"/>
                <a:gd name="csY166" fmla="*/ 1205646 h 1240128"/>
                <a:gd name="csX167" fmla="*/ 523675 w 697572"/>
                <a:gd name="csY167" fmla="*/ 1205490 h 1240128"/>
                <a:gd name="csX168" fmla="*/ 580423 w 697572"/>
                <a:gd name="csY168" fmla="*/ 1198350 h 1240128"/>
                <a:gd name="csX169" fmla="*/ 636802 w 697572"/>
                <a:gd name="csY169" fmla="*/ 1190940 h 1240128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  <a:cxn ang="0">
                  <a:pos x="csX16" y="csY16"/>
                </a:cxn>
                <a:cxn ang="0">
                  <a:pos x="csX17" y="csY17"/>
                </a:cxn>
                <a:cxn ang="0">
                  <a:pos x="csX18" y="csY18"/>
                </a:cxn>
                <a:cxn ang="0">
                  <a:pos x="csX19" y="csY19"/>
                </a:cxn>
                <a:cxn ang="0">
                  <a:pos x="csX20" y="csY20"/>
                </a:cxn>
                <a:cxn ang="0">
                  <a:pos x="csX21" y="csY21"/>
                </a:cxn>
                <a:cxn ang="0">
                  <a:pos x="csX22" y="csY22"/>
                </a:cxn>
                <a:cxn ang="0">
                  <a:pos x="csX23" y="csY23"/>
                </a:cxn>
                <a:cxn ang="0">
                  <a:pos x="csX24" y="csY24"/>
                </a:cxn>
                <a:cxn ang="0">
                  <a:pos x="csX25" y="csY25"/>
                </a:cxn>
                <a:cxn ang="0">
                  <a:pos x="csX26" y="csY26"/>
                </a:cxn>
                <a:cxn ang="0">
                  <a:pos x="csX27" y="csY27"/>
                </a:cxn>
                <a:cxn ang="0">
                  <a:pos x="csX28" y="csY28"/>
                </a:cxn>
                <a:cxn ang="0">
                  <a:pos x="csX29" y="csY29"/>
                </a:cxn>
                <a:cxn ang="0">
                  <a:pos x="csX30" y="csY30"/>
                </a:cxn>
                <a:cxn ang="0">
                  <a:pos x="csX31" y="csY31"/>
                </a:cxn>
                <a:cxn ang="0">
                  <a:pos x="csX32" y="csY32"/>
                </a:cxn>
                <a:cxn ang="0">
                  <a:pos x="csX33" y="csY33"/>
                </a:cxn>
                <a:cxn ang="0">
                  <a:pos x="csX34" y="csY34"/>
                </a:cxn>
                <a:cxn ang="0">
                  <a:pos x="csX35" y="csY35"/>
                </a:cxn>
                <a:cxn ang="0">
                  <a:pos x="csX36" y="csY36"/>
                </a:cxn>
                <a:cxn ang="0">
                  <a:pos x="csX37" y="csY37"/>
                </a:cxn>
                <a:cxn ang="0">
                  <a:pos x="csX38" y="csY38"/>
                </a:cxn>
                <a:cxn ang="0">
                  <a:pos x="csX39" y="csY39"/>
                </a:cxn>
                <a:cxn ang="0">
                  <a:pos x="csX40" y="csY40"/>
                </a:cxn>
                <a:cxn ang="0">
                  <a:pos x="csX41" y="csY41"/>
                </a:cxn>
                <a:cxn ang="0">
                  <a:pos x="csX42" y="csY42"/>
                </a:cxn>
                <a:cxn ang="0">
                  <a:pos x="csX43" y="csY43"/>
                </a:cxn>
                <a:cxn ang="0">
                  <a:pos x="csX44" y="csY44"/>
                </a:cxn>
                <a:cxn ang="0">
                  <a:pos x="csX45" y="csY45"/>
                </a:cxn>
                <a:cxn ang="0">
                  <a:pos x="csX46" y="csY46"/>
                </a:cxn>
                <a:cxn ang="0">
                  <a:pos x="csX47" y="csY47"/>
                </a:cxn>
                <a:cxn ang="0">
                  <a:pos x="csX48" y="csY48"/>
                </a:cxn>
                <a:cxn ang="0">
                  <a:pos x="csX49" y="csY49"/>
                </a:cxn>
                <a:cxn ang="0">
                  <a:pos x="csX50" y="csY50"/>
                </a:cxn>
                <a:cxn ang="0">
                  <a:pos x="csX51" y="csY51"/>
                </a:cxn>
                <a:cxn ang="0">
                  <a:pos x="csX52" y="csY52"/>
                </a:cxn>
                <a:cxn ang="0">
                  <a:pos x="csX53" y="csY53"/>
                </a:cxn>
                <a:cxn ang="0">
                  <a:pos x="csX54" y="csY54"/>
                </a:cxn>
                <a:cxn ang="0">
                  <a:pos x="csX55" y="csY55"/>
                </a:cxn>
                <a:cxn ang="0">
                  <a:pos x="csX56" y="csY56"/>
                </a:cxn>
                <a:cxn ang="0">
                  <a:pos x="csX57" y="csY57"/>
                </a:cxn>
                <a:cxn ang="0">
                  <a:pos x="csX58" y="csY58"/>
                </a:cxn>
                <a:cxn ang="0">
                  <a:pos x="csX59" y="csY59"/>
                </a:cxn>
                <a:cxn ang="0">
                  <a:pos x="csX60" y="csY60"/>
                </a:cxn>
                <a:cxn ang="0">
                  <a:pos x="csX61" y="csY61"/>
                </a:cxn>
                <a:cxn ang="0">
                  <a:pos x="csX62" y="csY62"/>
                </a:cxn>
                <a:cxn ang="0">
                  <a:pos x="csX63" y="csY63"/>
                </a:cxn>
                <a:cxn ang="0">
                  <a:pos x="csX64" y="csY64"/>
                </a:cxn>
                <a:cxn ang="0">
                  <a:pos x="csX65" y="csY65"/>
                </a:cxn>
                <a:cxn ang="0">
                  <a:pos x="csX66" y="csY66"/>
                </a:cxn>
                <a:cxn ang="0">
                  <a:pos x="csX67" y="csY67"/>
                </a:cxn>
                <a:cxn ang="0">
                  <a:pos x="csX68" y="csY68"/>
                </a:cxn>
                <a:cxn ang="0">
                  <a:pos x="csX69" y="csY69"/>
                </a:cxn>
                <a:cxn ang="0">
                  <a:pos x="csX70" y="csY70"/>
                </a:cxn>
                <a:cxn ang="0">
                  <a:pos x="csX71" y="csY71"/>
                </a:cxn>
                <a:cxn ang="0">
                  <a:pos x="csX72" y="csY72"/>
                </a:cxn>
                <a:cxn ang="0">
                  <a:pos x="csX73" y="csY73"/>
                </a:cxn>
                <a:cxn ang="0">
                  <a:pos x="csX74" y="csY74"/>
                </a:cxn>
                <a:cxn ang="0">
                  <a:pos x="csX75" y="csY75"/>
                </a:cxn>
                <a:cxn ang="0">
                  <a:pos x="csX76" y="csY76"/>
                </a:cxn>
                <a:cxn ang="0">
                  <a:pos x="csX77" y="csY77"/>
                </a:cxn>
                <a:cxn ang="0">
                  <a:pos x="csX78" y="csY78"/>
                </a:cxn>
                <a:cxn ang="0">
                  <a:pos x="csX79" y="csY79"/>
                </a:cxn>
                <a:cxn ang="0">
                  <a:pos x="csX80" y="csY80"/>
                </a:cxn>
                <a:cxn ang="0">
                  <a:pos x="csX81" y="csY81"/>
                </a:cxn>
                <a:cxn ang="0">
                  <a:pos x="csX82" y="csY82"/>
                </a:cxn>
                <a:cxn ang="0">
                  <a:pos x="csX83" y="csY83"/>
                </a:cxn>
                <a:cxn ang="0">
                  <a:pos x="csX84" y="csY84"/>
                </a:cxn>
                <a:cxn ang="0">
                  <a:pos x="csX85" y="csY85"/>
                </a:cxn>
                <a:cxn ang="0">
                  <a:pos x="csX86" y="csY86"/>
                </a:cxn>
                <a:cxn ang="0">
                  <a:pos x="csX87" y="csY87"/>
                </a:cxn>
                <a:cxn ang="0">
                  <a:pos x="csX88" y="csY88"/>
                </a:cxn>
                <a:cxn ang="0">
                  <a:pos x="csX89" y="csY89"/>
                </a:cxn>
                <a:cxn ang="0">
                  <a:pos x="csX90" y="csY90"/>
                </a:cxn>
                <a:cxn ang="0">
                  <a:pos x="csX91" y="csY91"/>
                </a:cxn>
                <a:cxn ang="0">
                  <a:pos x="csX92" y="csY92"/>
                </a:cxn>
                <a:cxn ang="0">
                  <a:pos x="csX93" y="csY93"/>
                </a:cxn>
                <a:cxn ang="0">
                  <a:pos x="csX94" y="csY94"/>
                </a:cxn>
                <a:cxn ang="0">
                  <a:pos x="csX95" y="csY95"/>
                </a:cxn>
                <a:cxn ang="0">
                  <a:pos x="csX96" y="csY96"/>
                </a:cxn>
                <a:cxn ang="0">
                  <a:pos x="csX97" y="csY97"/>
                </a:cxn>
                <a:cxn ang="0">
                  <a:pos x="csX98" y="csY98"/>
                </a:cxn>
                <a:cxn ang="0">
                  <a:pos x="csX99" y="csY99"/>
                </a:cxn>
                <a:cxn ang="0">
                  <a:pos x="csX100" y="csY100"/>
                </a:cxn>
                <a:cxn ang="0">
                  <a:pos x="csX101" y="csY101"/>
                </a:cxn>
                <a:cxn ang="0">
                  <a:pos x="csX102" y="csY102"/>
                </a:cxn>
                <a:cxn ang="0">
                  <a:pos x="csX103" y="csY103"/>
                </a:cxn>
                <a:cxn ang="0">
                  <a:pos x="csX104" y="csY104"/>
                </a:cxn>
                <a:cxn ang="0">
                  <a:pos x="csX105" y="csY105"/>
                </a:cxn>
                <a:cxn ang="0">
                  <a:pos x="csX106" y="csY106"/>
                </a:cxn>
                <a:cxn ang="0">
                  <a:pos x="csX107" y="csY107"/>
                </a:cxn>
                <a:cxn ang="0">
                  <a:pos x="csX108" y="csY108"/>
                </a:cxn>
                <a:cxn ang="0">
                  <a:pos x="csX109" y="csY109"/>
                </a:cxn>
                <a:cxn ang="0">
                  <a:pos x="csX110" y="csY110"/>
                </a:cxn>
                <a:cxn ang="0">
                  <a:pos x="csX111" y="csY111"/>
                </a:cxn>
                <a:cxn ang="0">
                  <a:pos x="csX112" y="csY112"/>
                </a:cxn>
                <a:cxn ang="0">
                  <a:pos x="csX113" y="csY113"/>
                </a:cxn>
                <a:cxn ang="0">
                  <a:pos x="csX114" y="csY114"/>
                </a:cxn>
                <a:cxn ang="0">
                  <a:pos x="csX115" y="csY115"/>
                </a:cxn>
                <a:cxn ang="0">
                  <a:pos x="csX116" y="csY116"/>
                </a:cxn>
                <a:cxn ang="0">
                  <a:pos x="csX117" y="csY117"/>
                </a:cxn>
                <a:cxn ang="0">
                  <a:pos x="csX118" y="csY118"/>
                </a:cxn>
                <a:cxn ang="0">
                  <a:pos x="csX119" y="csY119"/>
                </a:cxn>
                <a:cxn ang="0">
                  <a:pos x="csX120" y="csY120"/>
                </a:cxn>
                <a:cxn ang="0">
                  <a:pos x="csX121" y="csY121"/>
                </a:cxn>
                <a:cxn ang="0">
                  <a:pos x="csX122" y="csY122"/>
                </a:cxn>
                <a:cxn ang="0">
                  <a:pos x="csX123" y="csY123"/>
                </a:cxn>
                <a:cxn ang="0">
                  <a:pos x="csX124" y="csY124"/>
                </a:cxn>
                <a:cxn ang="0">
                  <a:pos x="csX125" y="csY125"/>
                </a:cxn>
                <a:cxn ang="0">
                  <a:pos x="csX126" y="csY126"/>
                </a:cxn>
                <a:cxn ang="0">
                  <a:pos x="csX127" y="csY127"/>
                </a:cxn>
                <a:cxn ang="0">
                  <a:pos x="csX128" y="csY128"/>
                </a:cxn>
                <a:cxn ang="0">
                  <a:pos x="csX129" y="csY129"/>
                </a:cxn>
                <a:cxn ang="0">
                  <a:pos x="csX130" y="csY130"/>
                </a:cxn>
                <a:cxn ang="0">
                  <a:pos x="csX131" y="csY131"/>
                </a:cxn>
                <a:cxn ang="0">
                  <a:pos x="csX132" y="csY132"/>
                </a:cxn>
                <a:cxn ang="0">
                  <a:pos x="csX133" y="csY133"/>
                </a:cxn>
                <a:cxn ang="0">
                  <a:pos x="csX134" y="csY134"/>
                </a:cxn>
                <a:cxn ang="0">
                  <a:pos x="csX135" y="csY135"/>
                </a:cxn>
                <a:cxn ang="0">
                  <a:pos x="csX136" y="csY136"/>
                </a:cxn>
                <a:cxn ang="0">
                  <a:pos x="csX137" y="csY137"/>
                </a:cxn>
                <a:cxn ang="0">
                  <a:pos x="csX138" y="csY138"/>
                </a:cxn>
                <a:cxn ang="0">
                  <a:pos x="csX139" y="csY139"/>
                </a:cxn>
                <a:cxn ang="0">
                  <a:pos x="csX140" y="csY140"/>
                </a:cxn>
                <a:cxn ang="0">
                  <a:pos x="csX141" y="csY141"/>
                </a:cxn>
                <a:cxn ang="0">
                  <a:pos x="csX142" y="csY142"/>
                </a:cxn>
                <a:cxn ang="0">
                  <a:pos x="csX143" y="csY143"/>
                </a:cxn>
                <a:cxn ang="0">
                  <a:pos x="csX144" y="csY144"/>
                </a:cxn>
                <a:cxn ang="0">
                  <a:pos x="csX145" y="csY145"/>
                </a:cxn>
                <a:cxn ang="0">
                  <a:pos x="csX146" y="csY146"/>
                </a:cxn>
                <a:cxn ang="0">
                  <a:pos x="csX147" y="csY147"/>
                </a:cxn>
                <a:cxn ang="0">
                  <a:pos x="csX148" y="csY148"/>
                </a:cxn>
                <a:cxn ang="0">
                  <a:pos x="csX149" y="csY149"/>
                </a:cxn>
                <a:cxn ang="0">
                  <a:pos x="csX150" y="csY150"/>
                </a:cxn>
                <a:cxn ang="0">
                  <a:pos x="csX151" y="csY151"/>
                </a:cxn>
                <a:cxn ang="0">
                  <a:pos x="csX152" y="csY152"/>
                </a:cxn>
                <a:cxn ang="0">
                  <a:pos x="csX153" y="csY153"/>
                </a:cxn>
                <a:cxn ang="0">
                  <a:pos x="csX154" y="csY154"/>
                </a:cxn>
                <a:cxn ang="0">
                  <a:pos x="csX155" y="csY155"/>
                </a:cxn>
                <a:cxn ang="0">
                  <a:pos x="csX156" y="csY156"/>
                </a:cxn>
                <a:cxn ang="0">
                  <a:pos x="csX157" y="csY157"/>
                </a:cxn>
                <a:cxn ang="0">
                  <a:pos x="csX158" y="csY158"/>
                </a:cxn>
                <a:cxn ang="0">
                  <a:pos x="csX159" y="csY159"/>
                </a:cxn>
                <a:cxn ang="0">
                  <a:pos x="csX160" y="csY160"/>
                </a:cxn>
                <a:cxn ang="0">
                  <a:pos x="csX161" y="csY161"/>
                </a:cxn>
                <a:cxn ang="0">
                  <a:pos x="csX162" y="csY162"/>
                </a:cxn>
                <a:cxn ang="0">
                  <a:pos x="csX163" y="csY163"/>
                </a:cxn>
                <a:cxn ang="0">
                  <a:pos x="csX164" y="csY164"/>
                </a:cxn>
                <a:cxn ang="0">
                  <a:pos x="csX165" y="csY165"/>
                </a:cxn>
                <a:cxn ang="0">
                  <a:pos x="csX166" y="csY166"/>
                </a:cxn>
                <a:cxn ang="0">
                  <a:pos x="csX167" y="csY167"/>
                </a:cxn>
                <a:cxn ang="0">
                  <a:pos x="csX168" y="csY168"/>
                </a:cxn>
                <a:cxn ang="0">
                  <a:pos x="csX169" y="csY169"/>
                </a:cxn>
              </a:cxnLst>
              <a:rect l="l" t="t" r="r" b="b"/>
              <a:pathLst>
                <a:path w="697572" h="1240128">
                  <a:moveTo>
                    <a:pt x="581793" y="1234401"/>
                  </a:moveTo>
                  <a:cubicBezTo>
                    <a:pt x="580693" y="1234661"/>
                    <a:pt x="579594" y="1234922"/>
                    <a:pt x="577427" y="1234156"/>
                  </a:cubicBezTo>
                  <a:cubicBezTo>
                    <a:pt x="571216" y="1227899"/>
                    <a:pt x="564912" y="1230441"/>
                    <a:pt x="559133" y="1230909"/>
                  </a:cubicBezTo>
                  <a:cubicBezTo>
                    <a:pt x="544971" y="1232056"/>
                    <a:pt x="530869" y="1233971"/>
                    <a:pt x="516706" y="1235117"/>
                  </a:cubicBezTo>
                  <a:cubicBezTo>
                    <a:pt x="502910" y="1236232"/>
                    <a:pt x="489077" y="1237097"/>
                    <a:pt x="475244" y="1237506"/>
                  </a:cubicBezTo>
                  <a:cubicBezTo>
                    <a:pt x="440539" y="1238535"/>
                    <a:pt x="405696" y="1241458"/>
                    <a:pt x="371154" y="1239428"/>
                  </a:cubicBezTo>
                  <a:cubicBezTo>
                    <a:pt x="339645" y="1237575"/>
                    <a:pt x="308239" y="1238753"/>
                    <a:pt x="276813" y="1237654"/>
                  </a:cubicBezTo>
                  <a:cubicBezTo>
                    <a:pt x="273949" y="1237553"/>
                    <a:pt x="271079" y="1237652"/>
                    <a:pt x="268212" y="1237635"/>
                  </a:cubicBezTo>
                  <a:cubicBezTo>
                    <a:pt x="266165" y="1237623"/>
                    <a:pt x="264111" y="1237668"/>
                    <a:pt x="262072" y="1237523"/>
                  </a:cubicBezTo>
                  <a:cubicBezTo>
                    <a:pt x="239751" y="1235944"/>
                    <a:pt x="217441" y="1234201"/>
                    <a:pt x="195111" y="1232775"/>
                  </a:cubicBezTo>
                  <a:cubicBezTo>
                    <a:pt x="178437" y="1231710"/>
                    <a:pt x="161712" y="1231378"/>
                    <a:pt x="145060" y="1230076"/>
                  </a:cubicBezTo>
                  <a:cubicBezTo>
                    <a:pt x="134969" y="1229287"/>
                    <a:pt x="124987" y="1227177"/>
                    <a:pt x="114933" y="1225832"/>
                  </a:cubicBezTo>
                  <a:cubicBezTo>
                    <a:pt x="100834" y="1223946"/>
                    <a:pt x="86554" y="1223022"/>
                    <a:pt x="72642" y="1220237"/>
                  </a:cubicBezTo>
                  <a:cubicBezTo>
                    <a:pt x="51920" y="1216091"/>
                    <a:pt x="31443" y="1210723"/>
                    <a:pt x="10894" y="1205737"/>
                  </a:cubicBezTo>
                  <a:cubicBezTo>
                    <a:pt x="9027" y="1205284"/>
                    <a:pt x="6196" y="1204140"/>
                    <a:pt x="5856" y="1202799"/>
                  </a:cubicBezTo>
                  <a:cubicBezTo>
                    <a:pt x="3474" y="1193418"/>
                    <a:pt x="-438" y="1183796"/>
                    <a:pt x="40" y="1174450"/>
                  </a:cubicBezTo>
                  <a:cubicBezTo>
                    <a:pt x="1079" y="1154149"/>
                    <a:pt x="9757" y="1135843"/>
                    <a:pt x="19831" y="1118410"/>
                  </a:cubicBezTo>
                  <a:cubicBezTo>
                    <a:pt x="21968" y="1114713"/>
                    <a:pt x="22970" y="1111858"/>
                    <a:pt x="22004" y="1107240"/>
                  </a:cubicBezTo>
                  <a:cubicBezTo>
                    <a:pt x="17168" y="1084118"/>
                    <a:pt x="17717" y="1061168"/>
                    <a:pt x="25947" y="1038650"/>
                  </a:cubicBezTo>
                  <a:cubicBezTo>
                    <a:pt x="32954" y="1019481"/>
                    <a:pt x="44478" y="1003118"/>
                    <a:pt x="58234" y="988567"/>
                  </a:cubicBezTo>
                  <a:cubicBezTo>
                    <a:pt x="77769" y="967902"/>
                    <a:pt x="97978" y="947832"/>
                    <a:pt x="118645" y="928298"/>
                  </a:cubicBezTo>
                  <a:cubicBezTo>
                    <a:pt x="130104" y="917467"/>
                    <a:pt x="131835" y="905961"/>
                    <a:pt x="126320" y="892015"/>
                  </a:cubicBezTo>
                  <a:cubicBezTo>
                    <a:pt x="123798" y="885637"/>
                    <a:pt x="122123" y="878904"/>
                    <a:pt x="120345" y="872258"/>
                  </a:cubicBezTo>
                  <a:cubicBezTo>
                    <a:pt x="119029" y="867341"/>
                    <a:pt x="120162" y="863613"/>
                    <a:pt x="125668" y="861640"/>
                  </a:cubicBezTo>
                  <a:cubicBezTo>
                    <a:pt x="135266" y="858201"/>
                    <a:pt x="144535" y="853788"/>
                    <a:pt x="154237" y="850716"/>
                  </a:cubicBezTo>
                  <a:cubicBezTo>
                    <a:pt x="161882" y="848296"/>
                    <a:pt x="167110" y="843897"/>
                    <a:pt x="170248" y="836767"/>
                  </a:cubicBezTo>
                  <a:cubicBezTo>
                    <a:pt x="176168" y="823316"/>
                    <a:pt x="182193" y="809907"/>
                    <a:pt x="187840" y="796341"/>
                  </a:cubicBezTo>
                  <a:cubicBezTo>
                    <a:pt x="195194" y="778679"/>
                    <a:pt x="202250" y="760894"/>
                    <a:pt x="209346" y="743126"/>
                  </a:cubicBezTo>
                  <a:cubicBezTo>
                    <a:pt x="210083" y="741280"/>
                    <a:pt x="210252" y="739200"/>
                    <a:pt x="210630" y="737219"/>
                  </a:cubicBezTo>
                  <a:cubicBezTo>
                    <a:pt x="211694" y="731645"/>
                    <a:pt x="212425" y="725987"/>
                    <a:pt x="213836" y="720505"/>
                  </a:cubicBezTo>
                  <a:cubicBezTo>
                    <a:pt x="218406" y="702764"/>
                    <a:pt x="223811" y="685219"/>
                    <a:pt x="227791" y="667353"/>
                  </a:cubicBezTo>
                  <a:cubicBezTo>
                    <a:pt x="232826" y="644755"/>
                    <a:pt x="237367" y="622009"/>
                    <a:pt x="241013" y="599151"/>
                  </a:cubicBezTo>
                  <a:cubicBezTo>
                    <a:pt x="244018" y="580319"/>
                    <a:pt x="246001" y="561272"/>
                    <a:pt x="247322" y="542242"/>
                  </a:cubicBezTo>
                  <a:cubicBezTo>
                    <a:pt x="248312" y="527975"/>
                    <a:pt x="246344" y="513451"/>
                    <a:pt x="247948" y="499296"/>
                  </a:cubicBezTo>
                  <a:cubicBezTo>
                    <a:pt x="249066" y="489432"/>
                    <a:pt x="247923" y="480014"/>
                    <a:pt x="247577" y="470384"/>
                  </a:cubicBezTo>
                  <a:cubicBezTo>
                    <a:pt x="247364" y="464453"/>
                    <a:pt x="245121" y="461397"/>
                    <a:pt x="238877" y="460987"/>
                  </a:cubicBezTo>
                  <a:cubicBezTo>
                    <a:pt x="233224" y="460615"/>
                    <a:pt x="227461" y="459920"/>
                    <a:pt x="222040" y="458353"/>
                  </a:cubicBezTo>
                  <a:cubicBezTo>
                    <a:pt x="203991" y="453134"/>
                    <a:pt x="185737" y="448229"/>
                    <a:pt x="172193" y="433714"/>
                  </a:cubicBezTo>
                  <a:cubicBezTo>
                    <a:pt x="162702" y="423544"/>
                    <a:pt x="160887" y="408134"/>
                    <a:pt x="168410" y="396591"/>
                  </a:cubicBezTo>
                  <a:cubicBezTo>
                    <a:pt x="178294" y="381428"/>
                    <a:pt x="193736" y="373793"/>
                    <a:pt x="209826" y="367773"/>
                  </a:cubicBezTo>
                  <a:cubicBezTo>
                    <a:pt x="223159" y="362784"/>
                    <a:pt x="237124" y="359493"/>
                    <a:pt x="250732" y="355208"/>
                  </a:cubicBezTo>
                  <a:cubicBezTo>
                    <a:pt x="253085" y="354467"/>
                    <a:pt x="255058" y="352518"/>
                    <a:pt x="258289" y="350426"/>
                  </a:cubicBezTo>
                  <a:cubicBezTo>
                    <a:pt x="250173" y="342610"/>
                    <a:pt x="241833" y="337880"/>
                    <a:pt x="233274" y="333513"/>
                  </a:cubicBezTo>
                  <a:cubicBezTo>
                    <a:pt x="232377" y="333055"/>
                    <a:pt x="230890" y="333758"/>
                    <a:pt x="229677" y="333922"/>
                  </a:cubicBezTo>
                  <a:cubicBezTo>
                    <a:pt x="229677" y="333922"/>
                    <a:pt x="230323" y="333834"/>
                    <a:pt x="230149" y="332979"/>
                  </a:cubicBezTo>
                  <a:cubicBezTo>
                    <a:pt x="229023" y="330409"/>
                    <a:pt x="228502" y="328059"/>
                    <a:pt x="227053" y="327076"/>
                  </a:cubicBezTo>
                  <a:cubicBezTo>
                    <a:pt x="213615" y="317962"/>
                    <a:pt x="204643" y="305332"/>
                    <a:pt x="196769" y="291380"/>
                  </a:cubicBezTo>
                  <a:cubicBezTo>
                    <a:pt x="191792" y="282564"/>
                    <a:pt x="185421" y="274665"/>
                    <a:pt x="184389" y="264042"/>
                  </a:cubicBezTo>
                  <a:cubicBezTo>
                    <a:pt x="184179" y="261874"/>
                    <a:pt x="181925" y="259908"/>
                    <a:pt x="180630" y="257839"/>
                  </a:cubicBezTo>
                  <a:cubicBezTo>
                    <a:pt x="179137" y="255454"/>
                    <a:pt x="177317" y="253204"/>
                    <a:pt x="176231" y="250643"/>
                  </a:cubicBezTo>
                  <a:cubicBezTo>
                    <a:pt x="161865" y="216749"/>
                    <a:pt x="159606" y="182060"/>
                    <a:pt x="170073" y="146723"/>
                  </a:cubicBezTo>
                  <a:cubicBezTo>
                    <a:pt x="173311" y="135795"/>
                    <a:pt x="177248" y="125074"/>
                    <a:pt x="180929" y="114280"/>
                  </a:cubicBezTo>
                  <a:cubicBezTo>
                    <a:pt x="182396" y="109981"/>
                    <a:pt x="183922" y="105742"/>
                    <a:pt x="180839" y="101501"/>
                  </a:cubicBezTo>
                  <a:cubicBezTo>
                    <a:pt x="192473" y="75833"/>
                    <a:pt x="211344" y="56271"/>
                    <a:pt x="233536" y="39653"/>
                  </a:cubicBezTo>
                  <a:cubicBezTo>
                    <a:pt x="267321" y="14353"/>
                    <a:pt x="305621" y="873"/>
                    <a:pt x="347618" y="35"/>
                  </a:cubicBezTo>
                  <a:cubicBezTo>
                    <a:pt x="379125" y="-593"/>
                    <a:pt x="409214" y="7172"/>
                    <a:pt x="437139" y="22396"/>
                  </a:cubicBezTo>
                  <a:cubicBezTo>
                    <a:pt x="481844" y="46766"/>
                    <a:pt x="514077" y="82116"/>
                    <a:pt x="529052" y="131093"/>
                  </a:cubicBezTo>
                  <a:cubicBezTo>
                    <a:pt x="543544" y="178495"/>
                    <a:pt x="541630" y="225548"/>
                    <a:pt x="518497" y="271517"/>
                  </a:cubicBezTo>
                  <a:cubicBezTo>
                    <a:pt x="511428" y="277096"/>
                    <a:pt x="503848" y="281136"/>
                    <a:pt x="500808" y="287385"/>
                  </a:cubicBezTo>
                  <a:cubicBezTo>
                    <a:pt x="493932" y="301522"/>
                    <a:pt x="483805" y="312513"/>
                    <a:pt x="472948" y="323290"/>
                  </a:cubicBezTo>
                  <a:cubicBezTo>
                    <a:pt x="470972" y="325253"/>
                    <a:pt x="470533" y="328767"/>
                    <a:pt x="469385" y="331565"/>
                  </a:cubicBezTo>
                  <a:cubicBezTo>
                    <a:pt x="469385" y="331565"/>
                    <a:pt x="469172" y="331584"/>
                    <a:pt x="468293" y="331320"/>
                  </a:cubicBezTo>
                  <a:cubicBezTo>
                    <a:pt x="461937" y="330836"/>
                    <a:pt x="458618" y="332772"/>
                    <a:pt x="459542" y="338942"/>
                  </a:cubicBezTo>
                  <a:cubicBezTo>
                    <a:pt x="459542" y="338942"/>
                    <a:pt x="459473" y="338913"/>
                    <a:pt x="458492" y="338671"/>
                  </a:cubicBezTo>
                  <a:cubicBezTo>
                    <a:pt x="450936" y="342653"/>
                    <a:pt x="440712" y="341355"/>
                    <a:pt x="436978" y="352226"/>
                  </a:cubicBezTo>
                  <a:cubicBezTo>
                    <a:pt x="449178" y="355911"/>
                    <a:pt x="460733" y="359469"/>
                    <a:pt x="472329" y="362890"/>
                  </a:cubicBezTo>
                  <a:cubicBezTo>
                    <a:pt x="491728" y="368613"/>
                    <a:pt x="510182" y="375784"/>
                    <a:pt x="523779" y="391962"/>
                  </a:cubicBezTo>
                  <a:cubicBezTo>
                    <a:pt x="535849" y="406326"/>
                    <a:pt x="534845" y="420076"/>
                    <a:pt x="527344" y="430096"/>
                  </a:cubicBezTo>
                  <a:cubicBezTo>
                    <a:pt x="521323" y="438139"/>
                    <a:pt x="513928" y="445333"/>
                    <a:pt x="504112" y="449628"/>
                  </a:cubicBezTo>
                  <a:cubicBezTo>
                    <a:pt x="489776" y="455901"/>
                    <a:pt x="475173" y="460486"/>
                    <a:pt x="459430" y="461116"/>
                  </a:cubicBezTo>
                  <a:cubicBezTo>
                    <a:pt x="448415" y="461557"/>
                    <a:pt x="446384" y="463369"/>
                    <a:pt x="446666" y="474229"/>
                  </a:cubicBezTo>
                  <a:cubicBezTo>
                    <a:pt x="447164" y="493376"/>
                    <a:pt x="447839" y="512533"/>
                    <a:pt x="449133" y="531639"/>
                  </a:cubicBezTo>
                  <a:cubicBezTo>
                    <a:pt x="450424" y="550696"/>
                    <a:pt x="451783" y="569809"/>
                    <a:pt x="454546" y="588688"/>
                  </a:cubicBezTo>
                  <a:cubicBezTo>
                    <a:pt x="457543" y="609164"/>
                    <a:pt x="462165" y="629403"/>
                    <a:pt x="466126" y="649736"/>
                  </a:cubicBezTo>
                  <a:cubicBezTo>
                    <a:pt x="475845" y="699621"/>
                    <a:pt x="493414" y="746980"/>
                    <a:pt x="512154" y="794006"/>
                  </a:cubicBezTo>
                  <a:cubicBezTo>
                    <a:pt x="517387" y="807138"/>
                    <a:pt x="525145" y="819463"/>
                    <a:pt x="525763" y="834323"/>
                  </a:cubicBezTo>
                  <a:cubicBezTo>
                    <a:pt x="525919" y="838081"/>
                    <a:pt x="527739" y="843335"/>
                    <a:pt x="530555" y="845114"/>
                  </a:cubicBezTo>
                  <a:cubicBezTo>
                    <a:pt x="537981" y="849801"/>
                    <a:pt x="546243" y="853278"/>
                    <a:pt x="554424" y="856618"/>
                  </a:cubicBezTo>
                  <a:cubicBezTo>
                    <a:pt x="560391" y="859054"/>
                    <a:pt x="567041" y="859887"/>
                    <a:pt x="572880" y="862546"/>
                  </a:cubicBezTo>
                  <a:cubicBezTo>
                    <a:pt x="581470" y="866458"/>
                    <a:pt x="582467" y="871415"/>
                    <a:pt x="578643" y="880396"/>
                  </a:cubicBezTo>
                  <a:cubicBezTo>
                    <a:pt x="575969" y="886677"/>
                    <a:pt x="572900" y="893182"/>
                    <a:pt x="572188" y="899820"/>
                  </a:cubicBezTo>
                  <a:cubicBezTo>
                    <a:pt x="570960" y="911271"/>
                    <a:pt x="576506" y="920944"/>
                    <a:pt x="582698" y="930382"/>
                  </a:cubicBezTo>
                  <a:cubicBezTo>
                    <a:pt x="589569" y="940856"/>
                    <a:pt x="600933" y="947930"/>
                    <a:pt x="604747" y="960852"/>
                  </a:cubicBezTo>
                  <a:cubicBezTo>
                    <a:pt x="605684" y="964030"/>
                    <a:pt x="610294" y="967128"/>
                    <a:pt x="613863" y="968311"/>
                  </a:cubicBezTo>
                  <a:cubicBezTo>
                    <a:pt x="620963" y="970665"/>
                    <a:pt x="625924" y="974774"/>
                    <a:pt x="629435" y="981186"/>
                  </a:cubicBezTo>
                  <a:cubicBezTo>
                    <a:pt x="630381" y="982913"/>
                    <a:pt x="631977" y="984459"/>
                    <a:pt x="633611" y="985609"/>
                  </a:cubicBezTo>
                  <a:cubicBezTo>
                    <a:pt x="655878" y="1001272"/>
                    <a:pt x="668032" y="1023762"/>
                    <a:pt x="673790" y="1049348"/>
                  </a:cubicBezTo>
                  <a:cubicBezTo>
                    <a:pt x="676936" y="1063327"/>
                    <a:pt x="679769" y="1077802"/>
                    <a:pt x="675873" y="1092839"/>
                  </a:cubicBezTo>
                  <a:cubicBezTo>
                    <a:pt x="672677" y="1105174"/>
                    <a:pt x="673042" y="1116963"/>
                    <a:pt x="681668" y="1129292"/>
                  </a:cubicBezTo>
                  <a:cubicBezTo>
                    <a:pt x="695321" y="1148802"/>
                    <a:pt x="698550" y="1172235"/>
                    <a:pt x="697338" y="1196079"/>
                  </a:cubicBezTo>
                  <a:cubicBezTo>
                    <a:pt x="697087" y="1201014"/>
                    <a:pt x="694979" y="1203886"/>
                    <a:pt x="690637" y="1205035"/>
                  </a:cubicBezTo>
                  <a:cubicBezTo>
                    <a:pt x="673723" y="1209511"/>
                    <a:pt x="656856" y="1214241"/>
                    <a:pt x="639777" y="1217994"/>
                  </a:cubicBezTo>
                  <a:cubicBezTo>
                    <a:pt x="622334" y="1221827"/>
                    <a:pt x="604691" y="1224790"/>
                    <a:pt x="587072" y="1227761"/>
                  </a:cubicBezTo>
                  <a:cubicBezTo>
                    <a:pt x="582708" y="1228497"/>
                    <a:pt x="581724" y="1230736"/>
                    <a:pt x="581793" y="1234401"/>
                  </a:cubicBezTo>
                  <a:moveTo>
                    <a:pt x="357446" y="903795"/>
                  </a:moveTo>
                  <a:cubicBezTo>
                    <a:pt x="353141" y="903795"/>
                    <a:pt x="348835" y="903795"/>
                    <a:pt x="344445" y="903795"/>
                  </a:cubicBezTo>
                  <a:cubicBezTo>
                    <a:pt x="346169" y="920562"/>
                    <a:pt x="347908" y="935520"/>
                    <a:pt x="349212" y="950515"/>
                  </a:cubicBezTo>
                  <a:cubicBezTo>
                    <a:pt x="352656" y="990125"/>
                    <a:pt x="351941" y="1029743"/>
                    <a:pt x="349538" y="1069392"/>
                  </a:cubicBezTo>
                  <a:cubicBezTo>
                    <a:pt x="348759" y="1082241"/>
                    <a:pt x="349415" y="1095176"/>
                    <a:pt x="349415" y="1108925"/>
                  </a:cubicBezTo>
                  <a:cubicBezTo>
                    <a:pt x="449467" y="1111953"/>
                    <a:pt x="548509" y="1104712"/>
                    <a:pt x="647726" y="1089872"/>
                  </a:cubicBezTo>
                  <a:cubicBezTo>
                    <a:pt x="647726" y="1084313"/>
                    <a:pt x="648180" y="1080225"/>
                    <a:pt x="647654" y="1076267"/>
                  </a:cubicBezTo>
                  <a:cubicBezTo>
                    <a:pt x="643515" y="1045124"/>
                    <a:pt x="633172" y="1016714"/>
                    <a:pt x="610267" y="994126"/>
                  </a:cubicBezTo>
                  <a:cubicBezTo>
                    <a:pt x="597451" y="981485"/>
                    <a:pt x="584392" y="969090"/>
                    <a:pt x="571459" y="956568"/>
                  </a:cubicBezTo>
                  <a:cubicBezTo>
                    <a:pt x="555751" y="941359"/>
                    <a:pt x="544836" y="923558"/>
                    <a:pt x="541653" y="901544"/>
                  </a:cubicBezTo>
                  <a:cubicBezTo>
                    <a:pt x="541430" y="900007"/>
                    <a:pt x="540528" y="898570"/>
                    <a:pt x="539477" y="895908"/>
                  </a:cubicBezTo>
                  <a:cubicBezTo>
                    <a:pt x="479736" y="901652"/>
                    <a:pt x="419815" y="904536"/>
                    <a:pt x="357446" y="903795"/>
                  </a:cubicBezTo>
                  <a:moveTo>
                    <a:pt x="300108" y="85260"/>
                  </a:moveTo>
                  <a:cubicBezTo>
                    <a:pt x="293656" y="98745"/>
                    <a:pt x="289202" y="113094"/>
                    <a:pt x="290213" y="127888"/>
                  </a:cubicBezTo>
                  <a:cubicBezTo>
                    <a:pt x="292527" y="161736"/>
                    <a:pt x="304185" y="191723"/>
                    <a:pt x="331056" y="214168"/>
                  </a:cubicBezTo>
                  <a:cubicBezTo>
                    <a:pt x="358172" y="236816"/>
                    <a:pt x="388435" y="249934"/>
                    <a:pt x="424717" y="245160"/>
                  </a:cubicBezTo>
                  <a:cubicBezTo>
                    <a:pt x="468593" y="239387"/>
                    <a:pt x="509574" y="203365"/>
                    <a:pt x="496752" y="141256"/>
                  </a:cubicBezTo>
                  <a:cubicBezTo>
                    <a:pt x="487021" y="94124"/>
                    <a:pt x="447261" y="51874"/>
                    <a:pt x="390320" y="43995"/>
                  </a:cubicBezTo>
                  <a:cubicBezTo>
                    <a:pt x="353241" y="38865"/>
                    <a:pt x="321136" y="48750"/>
                    <a:pt x="300108" y="85260"/>
                  </a:cubicBezTo>
                  <a:moveTo>
                    <a:pt x="343360" y="634332"/>
                  </a:moveTo>
                  <a:cubicBezTo>
                    <a:pt x="342539" y="666975"/>
                    <a:pt x="341785" y="699619"/>
                    <a:pt x="340877" y="732259"/>
                  </a:cubicBezTo>
                  <a:cubicBezTo>
                    <a:pt x="340151" y="758355"/>
                    <a:pt x="339265" y="784447"/>
                    <a:pt x="338360" y="810538"/>
                  </a:cubicBezTo>
                  <a:cubicBezTo>
                    <a:pt x="338277" y="812948"/>
                    <a:pt x="337465" y="815325"/>
                    <a:pt x="337115" y="817736"/>
                  </a:cubicBezTo>
                  <a:cubicBezTo>
                    <a:pt x="334935" y="832710"/>
                    <a:pt x="336026" y="847647"/>
                    <a:pt x="336516" y="863022"/>
                  </a:cubicBezTo>
                  <a:cubicBezTo>
                    <a:pt x="339537" y="863479"/>
                    <a:pt x="341490" y="864053"/>
                    <a:pt x="343436" y="864027"/>
                  </a:cubicBezTo>
                  <a:cubicBezTo>
                    <a:pt x="364531" y="863739"/>
                    <a:pt x="385626" y="863422"/>
                    <a:pt x="406718" y="862982"/>
                  </a:cubicBezTo>
                  <a:cubicBezTo>
                    <a:pt x="423444" y="862634"/>
                    <a:pt x="440168" y="861675"/>
                    <a:pt x="456888" y="861794"/>
                  </a:cubicBezTo>
                  <a:cubicBezTo>
                    <a:pt x="469887" y="861886"/>
                    <a:pt x="482872" y="863302"/>
                    <a:pt x="495873" y="863963"/>
                  </a:cubicBezTo>
                  <a:cubicBezTo>
                    <a:pt x="500358" y="864191"/>
                    <a:pt x="505108" y="864773"/>
                    <a:pt x="509286" y="863595"/>
                  </a:cubicBezTo>
                  <a:cubicBezTo>
                    <a:pt x="512346" y="862732"/>
                    <a:pt x="515714" y="859703"/>
                    <a:pt x="516956" y="856791"/>
                  </a:cubicBezTo>
                  <a:cubicBezTo>
                    <a:pt x="517783" y="854851"/>
                    <a:pt x="515475" y="851192"/>
                    <a:pt x="513920" y="848709"/>
                  </a:cubicBezTo>
                  <a:cubicBezTo>
                    <a:pt x="511791" y="845308"/>
                    <a:pt x="508393" y="842606"/>
                    <a:pt x="506683" y="839054"/>
                  </a:cubicBezTo>
                  <a:cubicBezTo>
                    <a:pt x="500331" y="825864"/>
                    <a:pt x="493224" y="812855"/>
                    <a:pt x="488629" y="799037"/>
                  </a:cubicBezTo>
                  <a:cubicBezTo>
                    <a:pt x="477322" y="765031"/>
                    <a:pt x="466537" y="730814"/>
                    <a:pt x="456922" y="696297"/>
                  </a:cubicBezTo>
                  <a:cubicBezTo>
                    <a:pt x="449953" y="671276"/>
                    <a:pt x="443477" y="646020"/>
                    <a:pt x="441346" y="619885"/>
                  </a:cubicBezTo>
                  <a:cubicBezTo>
                    <a:pt x="440327" y="607371"/>
                    <a:pt x="437466" y="595018"/>
                    <a:pt x="435963" y="582529"/>
                  </a:cubicBezTo>
                  <a:cubicBezTo>
                    <a:pt x="433539" y="562380"/>
                    <a:pt x="431154" y="542212"/>
                    <a:pt x="429497" y="521990"/>
                  </a:cubicBezTo>
                  <a:cubicBezTo>
                    <a:pt x="428135" y="505363"/>
                    <a:pt x="428437" y="488593"/>
                    <a:pt x="426887" y="471989"/>
                  </a:cubicBezTo>
                  <a:cubicBezTo>
                    <a:pt x="425874" y="461140"/>
                    <a:pt x="424983" y="461120"/>
                    <a:pt x="413744" y="461077"/>
                  </a:cubicBezTo>
                  <a:cubicBezTo>
                    <a:pt x="393687" y="461000"/>
                    <a:pt x="373630" y="461011"/>
                    <a:pt x="353573" y="461120"/>
                  </a:cubicBezTo>
                  <a:cubicBezTo>
                    <a:pt x="350472" y="461137"/>
                    <a:pt x="347374" y="461869"/>
                    <a:pt x="344160" y="462286"/>
                  </a:cubicBezTo>
                  <a:cubicBezTo>
                    <a:pt x="343828" y="465198"/>
                    <a:pt x="343406" y="467195"/>
                    <a:pt x="343404" y="469192"/>
                  </a:cubicBezTo>
                  <a:cubicBezTo>
                    <a:pt x="343360" y="504394"/>
                    <a:pt x="343267" y="539596"/>
                    <a:pt x="343469" y="574797"/>
                  </a:cubicBezTo>
                  <a:cubicBezTo>
                    <a:pt x="343501" y="580426"/>
                    <a:pt x="345652" y="586065"/>
                    <a:pt x="345522" y="591669"/>
                  </a:cubicBezTo>
                  <a:cubicBezTo>
                    <a:pt x="345214" y="605082"/>
                    <a:pt x="344131" y="618478"/>
                    <a:pt x="343360" y="634332"/>
                  </a:cubicBezTo>
                  <a:moveTo>
                    <a:pt x="416946" y="385943"/>
                  </a:moveTo>
                  <a:cubicBezTo>
                    <a:pt x="411661" y="386365"/>
                    <a:pt x="406384" y="387006"/>
                    <a:pt x="401091" y="387162"/>
                  </a:cubicBezTo>
                  <a:cubicBezTo>
                    <a:pt x="390470" y="387477"/>
                    <a:pt x="379841" y="387447"/>
                    <a:pt x="369218" y="387708"/>
                  </a:cubicBezTo>
                  <a:cubicBezTo>
                    <a:pt x="361167" y="387906"/>
                    <a:pt x="354429" y="391368"/>
                    <a:pt x="351833" y="398991"/>
                  </a:cubicBezTo>
                  <a:cubicBezTo>
                    <a:pt x="348989" y="407342"/>
                    <a:pt x="347050" y="416214"/>
                    <a:pt x="349778" y="426021"/>
                  </a:cubicBezTo>
                  <a:cubicBezTo>
                    <a:pt x="353876" y="426204"/>
                    <a:pt x="357857" y="426517"/>
                    <a:pt x="361839" y="426538"/>
                  </a:cubicBezTo>
                  <a:cubicBezTo>
                    <a:pt x="392900" y="426701"/>
                    <a:pt x="423961" y="426826"/>
                    <a:pt x="455022" y="426922"/>
                  </a:cubicBezTo>
                  <a:cubicBezTo>
                    <a:pt x="464013" y="426950"/>
                    <a:pt x="473106" y="427654"/>
                    <a:pt x="481958" y="426527"/>
                  </a:cubicBezTo>
                  <a:cubicBezTo>
                    <a:pt x="488144" y="425740"/>
                    <a:pt x="494821" y="423501"/>
                    <a:pt x="499817" y="419888"/>
                  </a:cubicBezTo>
                  <a:cubicBezTo>
                    <a:pt x="507869" y="414066"/>
                    <a:pt x="507286" y="406755"/>
                    <a:pt x="499439" y="400719"/>
                  </a:cubicBezTo>
                  <a:cubicBezTo>
                    <a:pt x="490179" y="393597"/>
                    <a:pt x="479486" y="388885"/>
                    <a:pt x="468062" y="387775"/>
                  </a:cubicBezTo>
                  <a:cubicBezTo>
                    <a:pt x="451873" y="386202"/>
                    <a:pt x="435520" y="386321"/>
                    <a:pt x="416946" y="385943"/>
                  </a:cubicBezTo>
                  <a:moveTo>
                    <a:pt x="636802" y="1190940"/>
                  </a:moveTo>
                  <a:cubicBezTo>
                    <a:pt x="646709" y="1188723"/>
                    <a:pt x="656705" y="1186841"/>
                    <a:pt x="666492" y="1184186"/>
                  </a:cubicBezTo>
                  <a:cubicBezTo>
                    <a:pt x="674710" y="1181958"/>
                    <a:pt x="676989" y="1178509"/>
                    <a:pt x="674465" y="1170880"/>
                  </a:cubicBezTo>
                  <a:cubicBezTo>
                    <a:pt x="671144" y="1160843"/>
                    <a:pt x="667026" y="1151009"/>
                    <a:pt x="662462" y="1141464"/>
                  </a:cubicBezTo>
                  <a:cubicBezTo>
                    <a:pt x="659273" y="1134795"/>
                    <a:pt x="653671" y="1130908"/>
                    <a:pt x="645564" y="1131937"/>
                  </a:cubicBezTo>
                  <a:cubicBezTo>
                    <a:pt x="639532" y="1132703"/>
                    <a:pt x="633423" y="1132867"/>
                    <a:pt x="627387" y="1133618"/>
                  </a:cubicBezTo>
                  <a:cubicBezTo>
                    <a:pt x="612888" y="1135421"/>
                    <a:pt x="598449" y="1137770"/>
                    <a:pt x="583917" y="1139222"/>
                  </a:cubicBezTo>
                  <a:cubicBezTo>
                    <a:pt x="570571" y="1140557"/>
                    <a:pt x="557130" y="1140930"/>
                    <a:pt x="543741" y="1141869"/>
                  </a:cubicBezTo>
                  <a:cubicBezTo>
                    <a:pt x="533202" y="1142610"/>
                    <a:pt x="522682" y="1143623"/>
                    <a:pt x="512146" y="1144418"/>
                  </a:cubicBezTo>
                  <a:cubicBezTo>
                    <a:pt x="490671" y="1146038"/>
                    <a:pt x="469214" y="1148450"/>
                    <a:pt x="447711" y="1148973"/>
                  </a:cubicBezTo>
                  <a:cubicBezTo>
                    <a:pt x="415817" y="1149749"/>
                    <a:pt x="383891" y="1149136"/>
                    <a:pt x="351979" y="1149200"/>
                  </a:cubicBezTo>
                  <a:cubicBezTo>
                    <a:pt x="347698" y="1149209"/>
                    <a:pt x="343419" y="1149717"/>
                    <a:pt x="338443" y="1150040"/>
                  </a:cubicBezTo>
                  <a:cubicBezTo>
                    <a:pt x="338443" y="1164651"/>
                    <a:pt x="338413" y="1177715"/>
                    <a:pt x="338451" y="1190780"/>
                  </a:cubicBezTo>
                  <a:cubicBezTo>
                    <a:pt x="338490" y="1204031"/>
                    <a:pt x="338512" y="1204062"/>
                    <a:pt x="351082" y="1207015"/>
                  </a:cubicBezTo>
                  <a:cubicBezTo>
                    <a:pt x="353445" y="1207570"/>
                    <a:pt x="355895" y="1208128"/>
                    <a:pt x="358298" y="1208094"/>
                  </a:cubicBezTo>
                  <a:cubicBezTo>
                    <a:pt x="412608" y="1207329"/>
                    <a:pt x="466919" y="1206484"/>
                    <a:pt x="521229" y="1205646"/>
                  </a:cubicBezTo>
                  <a:cubicBezTo>
                    <a:pt x="522045" y="1205634"/>
                    <a:pt x="522865" y="1205591"/>
                    <a:pt x="523675" y="1205490"/>
                  </a:cubicBezTo>
                  <a:cubicBezTo>
                    <a:pt x="542593" y="1203123"/>
                    <a:pt x="561519" y="1200820"/>
                    <a:pt x="580423" y="1198350"/>
                  </a:cubicBezTo>
                  <a:cubicBezTo>
                    <a:pt x="598523" y="1195985"/>
                    <a:pt x="616599" y="1193446"/>
                    <a:pt x="636802" y="1190940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1227" cap="flat">
              <a:noFill/>
              <a:prstDash val="solid"/>
              <a:miter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36" name="Free-form: Shape 35">
              <a:extLst>
                <a:ext uri="{FF2B5EF4-FFF2-40B4-BE49-F238E27FC236}">
                  <a16:creationId xmlns:a16="http://schemas.microsoft.com/office/drawing/2014/main" id="{DDF106DB-1A88-FFE1-E828-E9C5C503459F}"/>
                </a:ext>
              </a:extLst>
            </p:cNvPr>
            <p:cNvSpPr/>
            <p:nvPr/>
          </p:nvSpPr>
          <p:spPr>
            <a:xfrm>
              <a:off x="8061290" y="4865600"/>
              <a:ext cx="20792" cy="2198"/>
            </a:xfrm>
            <a:custGeom>
              <a:avLst/>
              <a:gdLst>
                <a:gd name="csX0" fmla="*/ 0 w 27674"/>
                <a:gd name="csY0" fmla="*/ 2915 h 2925"/>
                <a:gd name="csX1" fmla="*/ 27675 w 27674"/>
                <a:gd name="csY1" fmla="*/ 1550 h 2925"/>
                <a:gd name="csX2" fmla="*/ 0 w 27674"/>
                <a:gd name="csY2" fmla="*/ 2915 h 2925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</a:cxnLst>
              <a:rect l="l" t="t" r="r" b="b"/>
              <a:pathLst>
                <a:path w="27674" h="2925">
                  <a:moveTo>
                    <a:pt x="0" y="2915"/>
                  </a:moveTo>
                  <a:cubicBezTo>
                    <a:pt x="8211" y="-1939"/>
                    <a:pt x="17625" y="498"/>
                    <a:pt x="27675" y="1550"/>
                  </a:cubicBezTo>
                  <a:cubicBezTo>
                    <a:pt x="19225" y="2593"/>
                    <a:pt x="10029" y="2999"/>
                    <a:pt x="0" y="2915"/>
                  </a:cubicBezTo>
                  <a:close/>
                </a:path>
              </a:pathLst>
            </a:custGeom>
            <a:solidFill>
              <a:schemeClr val="bg1"/>
            </a:solidFill>
            <a:ln w="1227" cap="flat">
              <a:noFill/>
              <a:prstDash val="solid"/>
              <a:miter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37" name="Free-form: Shape 36">
              <a:extLst>
                <a:ext uri="{FF2B5EF4-FFF2-40B4-BE49-F238E27FC236}">
                  <a16:creationId xmlns:a16="http://schemas.microsoft.com/office/drawing/2014/main" id="{64F284DF-C383-2266-7D1D-A86B01F8CE20}"/>
                </a:ext>
              </a:extLst>
            </p:cNvPr>
            <p:cNvSpPr/>
            <p:nvPr/>
          </p:nvSpPr>
          <p:spPr>
            <a:xfrm>
              <a:off x="8004052" y="4866839"/>
              <a:ext cx="13526" cy="847"/>
            </a:xfrm>
            <a:custGeom>
              <a:avLst/>
              <a:gdLst>
                <a:gd name="csX0" fmla="*/ 0 w 18003"/>
                <a:gd name="csY0" fmla="*/ 1050 h 1128"/>
                <a:gd name="csX1" fmla="*/ 18004 w 18003"/>
                <a:gd name="csY1" fmla="*/ 93 h 1128"/>
                <a:gd name="csX2" fmla="*/ 0 w 18003"/>
                <a:gd name="csY2" fmla="*/ 1050 h 1128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</a:cxnLst>
              <a:rect l="l" t="t" r="r" b="b"/>
              <a:pathLst>
                <a:path w="18003" h="1128">
                  <a:moveTo>
                    <a:pt x="0" y="1050"/>
                  </a:moveTo>
                  <a:cubicBezTo>
                    <a:pt x="5276" y="182"/>
                    <a:pt x="11306" y="-189"/>
                    <a:pt x="18004" y="93"/>
                  </a:cubicBezTo>
                  <a:cubicBezTo>
                    <a:pt x="12699" y="1013"/>
                    <a:pt x="6726" y="1280"/>
                    <a:pt x="0" y="1050"/>
                  </a:cubicBezTo>
                  <a:close/>
                </a:path>
              </a:pathLst>
            </a:custGeom>
            <a:solidFill>
              <a:schemeClr val="bg1"/>
            </a:solidFill>
            <a:ln w="1227" cap="flat">
              <a:noFill/>
              <a:prstDash val="solid"/>
              <a:miter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38" name="Free-form: Shape 37">
              <a:extLst>
                <a:ext uri="{FF2B5EF4-FFF2-40B4-BE49-F238E27FC236}">
                  <a16:creationId xmlns:a16="http://schemas.microsoft.com/office/drawing/2014/main" id="{3EF334EA-D1DB-701D-1EB1-1D5259C3705E}"/>
                </a:ext>
              </a:extLst>
            </p:cNvPr>
            <p:cNvSpPr/>
            <p:nvPr/>
          </p:nvSpPr>
          <p:spPr>
            <a:xfrm>
              <a:off x="8102022" y="4181012"/>
              <a:ext cx="6361" cy="5889"/>
            </a:xfrm>
            <a:custGeom>
              <a:avLst/>
              <a:gdLst>
                <a:gd name="csX0" fmla="*/ 473 w 8466"/>
                <a:gd name="csY0" fmla="*/ 7839 h 7838"/>
                <a:gd name="csX1" fmla="*/ 8466 w 8466"/>
                <a:gd name="csY1" fmla="*/ 61 h 7838"/>
                <a:gd name="csX2" fmla="*/ 473 w 8466"/>
                <a:gd name="csY2" fmla="*/ 7839 h 7838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</a:cxnLst>
              <a:rect l="l" t="t" r="r" b="b"/>
              <a:pathLst>
                <a:path w="8466" h="7838">
                  <a:moveTo>
                    <a:pt x="473" y="7839"/>
                  </a:moveTo>
                  <a:cubicBezTo>
                    <a:pt x="-1298" y="1550"/>
                    <a:pt x="2020" y="-386"/>
                    <a:pt x="8466" y="61"/>
                  </a:cubicBezTo>
                  <a:cubicBezTo>
                    <a:pt x="6730" y="2845"/>
                    <a:pt x="4026" y="5401"/>
                    <a:pt x="473" y="7839"/>
                  </a:cubicBezTo>
                  <a:close/>
                </a:path>
              </a:pathLst>
            </a:custGeom>
            <a:solidFill>
              <a:srgbClr val="CDD9DF"/>
            </a:solidFill>
            <a:ln w="1227" cap="flat">
              <a:noFill/>
              <a:prstDash val="solid"/>
              <a:miter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39" name="Free-form: Shape 38">
              <a:extLst>
                <a:ext uri="{FF2B5EF4-FFF2-40B4-BE49-F238E27FC236}">
                  <a16:creationId xmlns:a16="http://schemas.microsoft.com/office/drawing/2014/main" id="{50DB5A14-D2AA-858B-88E0-08CFC47D5373}"/>
                </a:ext>
              </a:extLst>
            </p:cNvPr>
            <p:cNvSpPr/>
            <p:nvPr/>
          </p:nvSpPr>
          <p:spPr>
            <a:xfrm>
              <a:off x="7937467" y="4865007"/>
              <a:ext cx="6371" cy="748"/>
            </a:xfrm>
            <a:custGeom>
              <a:avLst/>
              <a:gdLst>
                <a:gd name="csX0" fmla="*/ 0 w 8480"/>
                <a:gd name="csY0" fmla="*/ 896 h 996"/>
                <a:gd name="csX1" fmla="*/ 8480 w 8480"/>
                <a:gd name="csY1" fmla="*/ 110 h 996"/>
                <a:gd name="csX2" fmla="*/ 0 w 8480"/>
                <a:gd name="csY2" fmla="*/ 896 h 996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</a:cxnLst>
              <a:rect l="l" t="t" r="r" b="b"/>
              <a:pathLst>
                <a:path w="8480" h="996">
                  <a:moveTo>
                    <a:pt x="0" y="896"/>
                  </a:moveTo>
                  <a:cubicBezTo>
                    <a:pt x="2285" y="115"/>
                    <a:pt x="5130" y="-182"/>
                    <a:pt x="8480" y="110"/>
                  </a:cubicBezTo>
                  <a:cubicBezTo>
                    <a:pt x="6177" y="927"/>
                    <a:pt x="3368" y="1153"/>
                    <a:pt x="0" y="896"/>
                  </a:cubicBezTo>
                  <a:close/>
                </a:path>
              </a:pathLst>
            </a:custGeom>
            <a:solidFill>
              <a:schemeClr val="bg1"/>
            </a:solidFill>
            <a:ln w="1227" cap="flat">
              <a:noFill/>
              <a:prstDash val="solid"/>
              <a:miter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40" name="Free-form: Shape 39">
              <a:extLst>
                <a:ext uri="{FF2B5EF4-FFF2-40B4-BE49-F238E27FC236}">
                  <a16:creationId xmlns:a16="http://schemas.microsoft.com/office/drawing/2014/main" id="{4933F487-FE7D-9C64-6624-8D08FAA85CFC}"/>
                </a:ext>
              </a:extLst>
            </p:cNvPr>
            <p:cNvSpPr/>
            <p:nvPr/>
          </p:nvSpPr>
          <p:spPr>
            <a:xfrm>
              <a:off x="8284448" y="4832908"/>
              <a:ext cx="923" cy="5002"/>
            </a:xfrm>
            <a:custGeom>
              <a:avLst/>
              <a:gdLst>
                <a:gd name="csX0" fmla="*/ 132 w 1229"/>
                <a:gd name="csY0" fmla="*/ 6659 h 6658"/>
                <a:gd name="csX1" fmla="*/ 1107 w 1229"/>
                <a:gd name="csY1" fmla="*/ 0 h 6658"/>
                <a:gd name="csX2" fmla="*/ 132 w 1229"/>
                <a:gd name="csY2" fmla="*/ 6659 h 6658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</a:cxnLst>
              <a:rect l="l" t="t" r="r" b="b"/>
              <a:pathLst>
                <a:path w="1229" h="6658">
                  <a:moveTo>
                    <a:pt x="132" y="6659"/>
                  </a:moveTo>
                  <a:cubicBezTo>
                    <a:pt x="-219" y="4616"/>
                    <a:pt x="139" y="2560"/>
                    <a:pt x="1107" y="0"/>
                  </a:cubicBezTo>
                  <a:cubicBezTo>
                    <a:pt x="1425" y="1879"/>
                    <a:pt x="1133" y="4263"/>
                    <a:pt x="132" y="6659"/>
                  </a:cubicBezTo>
                  <a:close/>
                </a:path>
              </a:pathLst>
            </a:custGeom>
            <a:solidFill>
              <a:schemeClr val="bg1"/>
            </a:solidFill>
            <a:ln w="1227" cap="flat">
              <a:noFill/>
              <a:prstDash val="solid"/>
              <a:miter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41" name="Free-form: Shape 40">
              <a:extLst>
                <a:ext uri="{FF2B5EF4-FFF2-40B4-BE49-F238E27FC236}">
                  <a16:creationId xmlns:a16="http://schemas.microsoft.com/office/drawing/2014/main" id="{645246EA-E4A0-E562-7225-AAAFC23E6CDC}"/>
                </a:ext>
              </a:extLst>
            </p:cNvPr>
            <p:cNvSpPr/>
            <p:nvPr/>
          </p:nvSpPr>
          <p:spPr>
            <a:xfrm>
              <a:off x="8203140" y="4857443"/>
              <a:ext cx="2846" cy="1025"/>
            </a:xfrm>
            <a:custGeom>
              <a:avLst/>
              <a:gdLst>
                <a:gd name="csX0" fmla="*/ 0 w 3788"/>
                <a:gd name="csY0" fmla="*/ 1364 h 1364"/>
                <a:gd name="csX1" fmla="*/ 3788 w 3788"/>
                <a:gd name="csY1" fmla="*/ 0 h 1364"/>
                <a:gd name="csX2" fmla="*/ 0 w 3788"/>
                <a:gd name="csY2" fmla="*/ 1364 h 1364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</a:cxnLst>
              <a:rect l="l" t="t" r="r" b="b"/>
              <a:pathLst>
                <a:path w="3788" h="1364">
                  <a:moveTo>
                    <a:pt x="0" y="1364"/>
                  </a:moveTo>
                  <a:cubicBezTo>
                    <a:pt x="856" y="517"/>
                    <a:pt x="2126" y="39"/>
                    <a:pt x="3788" y="0"/>
                  </a:cubicBezTo>
                  <a:cubicBezTo>
                    <a:pt x="2925" y="870"/>
                    <a:pt x="1670" y="1303"/>
                    <a:pt x="0" y="1364"/>
                  </a:cubicBezTo>
                  <a:close/>
                </a:path>
              </a:pathLst>
            </a:custGeom>
            <a:solidFill>
              <a:schemeClr val="bg1"/>
            </a:solidFill>
            <a:ln w="1227" cap="flat">
              <a:noFill/>
              <a:prstDash val="solid"/>
              <a:miter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42" name="Free-form: Shape 41">
              <a:extLst>
                <a:ext uri="{FF2B5EF4-FFF2-40B4-BE49-F238E27FC236}">
                  <a16:creationId xmlns:a16="http://schemas.microsoft.com/office/drawing/2014/main" id="{5C6F0131-F85C-62AF-9339-6D394912AAD8}"/>
                </a:ext>
              </a:extLst>
            </p:cNvPr>
            <p:cNvSpPr/>
            <p:nvPr/>
          </p:nvSpPr>
          <p:spPr>
            <a:xfrm>
              <a:off x="7874525" y="4861404"/>
              <a:ext cx="2998" cy="623"/>
            </a:xfrm>
            <a:custGeom>
              <a:avLst/>
              <a:gdLst>
                <a:gd name="csX0" fmla="*/ 0 w 3990"/>
                <a:gd name="csY0" fmla="*/ 719 h 829"/>
                <a:gd name="csX1" fmla="*/ 3990 w 3990"/>
                <a:gd name="csY1" fmla="*/ 119 h 829"/>
                <a:gd name="csX2" fmla="*/ 0 w 3990"/>
                <a:gd name="csY2" fmla="*/ 719 h 829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</a:cxnLst>
              <a:rect l="l" t="t" r="r" b="b"/>
              <a:pathLst>
                <a:path w="3990" h="829">
                  <a:moveTo>
                    <a:pt x="0" y="719"/>
                  </a:moveTo>
                  <a:cubicBezTo>
                    <a:pt x="982" y="66"/>
                    <a:pt x="2323" y="-163"/>
                    <a:pt x="3990" y="119"/>
                  </a:cubicBezTo>
                  <a:cubicBezTo>
                    <a:pt x="2998" y="800"/>
                    <a:pt x="1678" y="972"/>
                    <a:pt x="0" y="719"/>
                  </a:cubicBezTo>
                  <a:close/>
                </a:path>
              </a:pathLst>
            </a:custGeom>
            <a:solidFill>
              <a:srgbClr val="959DA0"/>
            </a:solidFill>
            <a:ln w="1227" cap="flat">
              <a:noFill/>
              <a:prstDash val="solid"/>
              <a:miter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43" name="Free-form: Shape 42">
              <a:extLst>
                <a:ext uri="{FF2B5EF4-FFF2-40B4-BE49-F238E27FC236}">
                  <a16:creationId xmlns:a16="http://schemas.microsoft.com/office/drawing/2014/main" id="{49CA9744-5DF7-CFD5-07C5-9C54BFB97170}"/>
                </a:ext>
              </a:extLst>
            </p:cNvPr>
            <p:cNvSpPr/>
            <p:nvPr/>
          </p:nvSpPr>
          <p:spPr>
            <a:xfrm>
              <a:off x="8129288" y="4864981"/>
              <a:ext cx="2925" cy="853"/>
            </a:xfrm>
            <a:custGeom>
              <a:avLst/>
              <a:gdLst>
                <a:gd name="csX0" fmla="*/ 0 w 3893"/>
                <a:gd name="csY0" fmla="*/ 1133 h 1135"/>
                <a:gd name="csX1" fmla="*/ 3893 w 3893"/>
                <a:gd name="csY1" fmla="*/ 7 h 1135"/>
                <a:gd name="csX2" fmla="*/ 0 w 3893"/>
                <a:gd name="csY2" fmla="*/ 1133 h 1135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</a:cxnLst>
              <a:rect l="l" t="t" r="r" b="b"/>
              <a:pathLst>
                <a:path w="3893" h="1135">
                  <a:moveTo>
                    <a:pt x="0" y="1133"/>
                  </a:moveTo>
                  <a:cubicBezTo>
                    <a:pt x="902" y="349"/>
                    <a:pt x="2213" y="-60"/>
                    <a:pt x="3893" y="7"/>
                  </a:cubicBezTo>
                  <a:cubicBezTo>
                    <a:pt x="2978" y="825"/>
                    <a:pt x="1693" y="1167"/>
                    <a:pt x="0" y="1133"/>
                  </a:cubicBezTo>
                  <a:close/>
                </a:path>
              </a:pathLst>
            </a:custGeom>
            <a:solidFill>
              <a:schemeClr val="bg1"/>
            </a:solidFill>
            <a:ln w="1227" cap="flat">
              <a:noFill/>
              <a:prstDash val="solid"/>
              <a:miter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44" name="Free-form: Shape 43">
              <a:extLst>
                <a:ext uri="{FF2B5EF4-FFF2-40B4-BE49-F238E27FC236}">
                  <a16:creationId xmlns:a16="http://schemas.microsoft.com/office/drawing/2014/main" id="{491D4FEB-454B-A451-B726-3D6C9E8F5C6F}"/>
                </a:ext>
              </a:extLst>
            </p:cNvPr>
            <p:cNvSpPr/>
            <p:nvPr/>
          </p:nvSpPr>
          <p:spPr>
            <a:xfrm>
              <a:off x="8008777" y="4278537"/>
              <a:ext cx="136231" cy="302992"/>
            </a:xfrm>
            <a:custGeom>
              <a:avLst/>
              <a:gdLst>
                <a:gd name="csX0" fmla="*/ 7554 w 181323"/>
                <a:gd name="csY0" fmla="*/ 172079 h 403282"/>
                <a:gd name="csX1" fmla="*/ 9716 w 181323"/>
                <a:gd name="csY1" fmla="*/ 130641 h 403282"/>
                <a:gd name="csX2" fmla="*/ 7663 w 181323"/>
                <a:gd name="csY2" fmla="*/ 113770 h 403282"/>
                <a:gd name="csX3" fmla="*/ 7598 w 181323"/>
                <a:gd name="csY3" fmla="*/ 8165 h 403282"/>
                <a:gd name="csX4" fmla="*/ 8353 w 181323"/>
                <a:gd name="csY4" fmla="*/ 1259 h 403282"/>
                <a:gd name="csX5" fmla="*/ 17767 w 181323"/>
                <a:gd name="csY5" fmla="*/ 93 h 403282"/>
                <a:gd name="csX6" fmla="*/ 77938 w 181323"/>
                <a:gd name="csY6" fmla="*/ 50 h 403282"/>
                <a:gd name="csX7" fmla="*/ 91081 w 181323"/>
                <a:gd name="csY7" fmla="*/ 10962 h 403282"/>
                <a:gd name="csX8" fmla="*/ 93691 w 181323"/>
                <a:gd name="csY8" fmla="*/ 60963 h 403282"/>
                <a:gd name="csX9" fmla="*/ 100157 w 181323"/>
                <a:gd name="csY9" fmla="*/ 121501 h 403282"/>
                <a:gd name="csX10" fmla="*/ 105540 w 181323"/>
                <a:gd name="csY10" fmla="*/ 158857 h 403282"/>
                <a:gd name="csX11" fmla="*/ 121116 w 181323"/>
                <a:gd name="csY11" fmla="*/ 235269 h 403282"/>
                <a:gd name="csX12" fmla="*/ 152823 w 181323"/>
                <a:gd name="csY12" fmla="*/ 338010 h 403282"/>
                <a:gd name="csX13" fmla="*/ 170877 w 181323"/>
                <a:gd name="csY13" fmla="*/ 378027 h 403282"/>
                <a:gd name="csX14" fmla="*/ 178114 w 181323"/>
                <a:gd name="csY14" fmla="*/ 387682 h 403282"/>
                <a:gd name="csX15" fmla="*/ 181150 w 181323"/>
                <a:gd name="csY15" fmla="*/ 395764 h 403282"/>
                <a:gd name="csX16" fmla="*/ 173480 w 181323"/>
                <a:gd name="csY16" fmla="*/ 402568 h 403282"/>
                <a:gd name="csX17" fmla="*/ 160067 w 181323"/>
                <a:gd name="csY17" fmla="*/ 402936 h 403282"/>
                <a:gd name="csX18" fmla="*/ 121081 w 181323"/>
                <a:gd name="csY18" fmla="*/ 400766 h 403282"/>
                <a:gd name="csX19" fmla="*/ 70912 w 181323"/>
                <a:gd name="csY19" fmla="*/ 401955 h 403282"/>
                <a:gd name="csX20" fmla="*/ 7630 w 181323"/>
                <a:gd name="csY20" fmla="*/ 402999 h 403282"/>
                <a:gd name="csX21" fmla="*/ 710 w 181323"/>
                <a:gd name="csY21" fmla="*/ 401995 h 403282"/>
                <a:gd name="csX22" fmla="*/ 1308 w 181323"/>
                <a:gd name="csY22" fmla="*/ 356708 h 403282"/>
                <a:gd name="csX23" fmla="*/ 2554 w 181323"/>
                <a:gd name="csY23" fmla="*/ 349510 h 403282"/>
                <a:gd name="csX24" fmla="*/ 5071 w 181323"/>
                <a:gd name="csY24" fmla="*/ 271231 h 403282"/>
                <a:gd name="csX25" fmla="*/ 7554 w 181323"/>
                <a:gd name="csY25" fmla="*/ 172079 h 403282"/>
                <a:gd name="csX26" fmla="*/ 98286 w 181323"/>
                <a:gd name="csY26" fmla="*/ 163566 h 403282"/>
                <a:gd name="csX27" fmla="*/ 83497 w 181323"/>
                <a:gd name="csY27" fmla="*/ 8289 h 403282"/>
                <a:gd name="csX28" fmla="*/ 15161 w 181323"/>
                <a:gd name="csY28" fmla="*/ 9148 h 403282"/>
                <a:gd name="csX29" fmla="*/ 15058 w 181323"/>
                <a:gd name="csY29" fmla="*/ 137939 h 403282"/>
                <a:gd name="csX30" fmla="*/ 12252 w 181323"/>
                <a:gd name="csY30" fmla="*/ 266862 h 403282"/>
                <a:gd name="csX31" fmla="*/ 7068 w 181323"/>
                <a:gd name="csY31" fmla="*/ 395996 h 403282"/>
                <a:gd name="csX32" fmla="*/ 171647 w 181323"/>
                <a:gd name="csY32" fmla="*/ 395996 h 403282"/>
                <a:gd name="csX33" fmla="*/ 119950 w 181323"/>
                <a:gd name="csY33" fmla="*/ 259496 h 403282"/>
                <a:gd name="csX34" fmla="*/ 98286 w 181323"/>
                <a:gd name="csY34" fmla="*/ 163566 h 403282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  <a:cxn ang="0">
                  <a:pos x="csX16" y="csY16"/>
                </a:cxn>
                <a:cxn ang="0">
                  <a:pos x="csX17" y="csY17"/>
                </a:cxn>
                <a:cxn ang="0">
                  <a:pos x="csX18" y="csY18"/>
                </a:cxn>
                <a:cxn ang="0">
                  <a:pos x="csX19" y="csY19"/>
                </a:cxn>
                <a:cxn ang="0">
                  <a:pos x="csX20" y="csY20"/>
                </a:cxn>
                <a:cxn ang="0">
                  <a:pos x="csX21" y="csY21"/>
                </a:cxn>
                <a:cxn ang="0">
                  <a:pos x="csX22" y="csY22"/>
                </a:cxn>
                <a:cxn ang="0">
                  <a:pos x="csX23" y="csY23"/>
                </a:cxn>
                <a:cxn ang="0">
                  <a:pos x="csX24" y="csY24"/>
                </a:cxn>
                <a:cxn ang="0">
                  <a:pos x="csX25" y="csY25"/>
                </a:cxn>
                <a:cxn ang="0">
                  <a:pos x="csX26" y="csY26"/>
                </a:cxn>
                <a:cxn ang="0">
                  <a:pos x="csX27" y="csY27"/>
                </a:cxn>
                <a:cxn ang="0">
                  <a:pos x="csX28" y="csY28"/>
                </a:cxn>
                <a:cxn ang="0">
                  <a:pos x="csX29" y="csY29"/>
                </a:cxn>
                <a:cxn ang="0">
                  <a:pos x="csX30" y="csY30"/>
                </a:cxn>
                <a:cxn ang="0">
                  <a:pos x="csX31" y="csY31"/>
                </a:cxn>
                <a:cxn ang="0">
                  <a:pos x="csX32" y="csY32"/>
                </a:cxn>
                <a:cxn ang="0">
                  <a:pos x="csX33" y="csY33"/>
                </a:cxn>
                <a:cxn ang="0">
                  <a:pos x="csX34" y="csY34"/>
                </a:cxn>
              </a:cxnLst>
              <a:rect l="l" t="t" r="r" b="b"/>
              <a:pathLst>
                <a:path w="181323" h="403282">
                  <a:moveTo>
                    <a:pt x="7554" y="172079"/>
                  </a:moveTo>
                  <a:cubicBezTo>
                    <a:pt x="8325" y="157451"/>
                    <a:pt x="9408" y="144055"/>
                    <a:pt x="9716" y="130641"/>
                  </a:cubicBezTo>
                  <a:cubicBezTo>
                    <a:pt x="9846" y="125037"/>
                    <a:pt x="7695" y="119399"/>
                    <a:pt x="7663" y="113770"/>
                  </a:cubicBezTo>
                  <a:cubicBezTo>
                    <a:pt x="7461" y="78569"/>
                    <a:pt x="7554" y="43367"/>
                    <a:pt x="7598" y="8165"/>
                  </a:cubicBezTo>
                  <a:cubicBezTo>
                    <a:pt x="7600" y="6167"/>
                    <a:pt x="8022" y="4170"/>
                    <a:pt x="8353" y="1259"/>
                  </a:cubicBezTo>
                  <a:cubicBezTo>
                    <a:pt x="11568" y="842"/>
                    <a:pt x="14666" y="109"/>
                    <a:pt x="17767" y="93"/>
                  </a:cubicBezTo>
                  <a:cubicBezTo>
                    <a:pt x="37824" y="-17"/>
                    <a:pt x="57881" y="-27"/>
                    <a:pt x="77938" y="50"/>
                  </a:cubicBezTo>
                  <a:cubicBezTo>
                    <a:pt x="89177" y="93"/>
                    <a:pt x="90068" y="113"/>
                    <a:pt x="91081" y="10962"/>
                  </a:cubicBezTo>
                  <a:cubicBezTo>
                    <a:pt x="92631" y="27565"/>
                    <a:pt x="92329" y="44335"/>
                    <a:pt x="93691" y="60963"/>
                  </a:cubicBezTo>
                  <a:cubicBezTo>
                    <a:pt x="95348" y="81184"/>
                    <a:pt x="97732" y="101353"/>
                    <a:pt x="100157" y="121501"/>
                  </a:cubicBezTo>
                  <a:cubicBezTo>
                    <a:pt x="101660" y="133990"/>
                    <a:pt x="104521" y="146343"/>
                    <a:pt x="105540" y="158857"/>
                  </a:cubicBezTo>
                  <a:cubicBezTo>
                    <a:pt x="107671" y="184993"/>
                    <a:pt x="114147" y="210249"/>
                    <a:pt x="121116" y="235269"/>
                  </a:cubicBezTo>
                  <a:cubicBezTo>
                    <a:pt x="130731" y="269786"/>
                    <a:pt x="141516" y="304004"/>
                    <a:pt x="152823" y="338010"/>
                  </a:cubicBezTo>
                  <a:cubicBezTo>
                    <a:pt x="157418" y="351828"/>
                    <a:pt x="164524" y="364837"/>
                    <a:pt x="170877" y="378027"/>
                  </a:cubicBezTo>
                  <a:cubicBezTo>
                    <a:pt x="172587" y="381579"/>
                    <a:pt x="175985" y="384280"/>
                    <a:pt x="178114" y="387682"/>
                  </a:cubicBezTo>
                  <a:cubicBezTo>
                    <a:pt x="179669" y="390165"/>
                    <a:pt x="181977" y="393824"/>
                    <a:pt x="181150" y="395764"/>
                  </a:cubicBezTo>
                  <a:cubicBezTo>
                    <a:pt x="179907" y="398676"/>
                    <a:pt x="176540" y="401705"/>
                    <a:pt x="173480" y="402568"/>
                  </a:cubicBezTo>
                  <a:cubicBezTo>
                    <a:pt x="169302" y="403746"/>
                    <a:pt x="164551" y="403164"/>
                    <a:pt x="160067" y="402936"/>
                  </a:cubicBezTo>
                  <a:cubicBezTo>
                    <a:pt x="147066" y="402274"/>
                    <a:pt x="134081" y="400859"/>
                    <a:pt x="121081" y="400766"/>
                  </a:cubicBezTo>
                  <a:cubicBezTo>
                    <a:pt x="104362" y="400647"/>
                    <a:pt x="87638" y="401607"/>
                    <a:pt x="70912" y="401955"/>
                  </a:cubicBezTo>
                  <a:cubicBezTo>
                    <a:pt x="49820" y="402394"/>
                    <a:pt x="28725" y="402712"/>
                    <a:pt x="7630" y="402999"/>
                  </a:cubicBezTo>
                  <a:cubicBezTo>
                    <a:pt x="5684" y="403026"/>
                    <a:pt x="3731" y="402452"/>
                    <a:pt x="710" y="401995"/>
                  </a:cubicBezTo>
                  <a:cubicBezTo>
                    <a:pt x="219" y="386620"/>
                    <a:pt x="-871" y="371682"/>
                    <a:pt x="1308" y="356708"/>
                  </a:cubicBezTo>
                  <a:cubicBezTo>
                    <a:pt x="1659" y="354298"/>
                    <a:pt x="2471" y="351920"/>
                    <a:pt x="2554" y="349510"/>
                  </a:cubicBezTo>
                  <a:cubicBezTo>
                    <a:pt x="3459" y="323419"/>
                    <a:pt x="4345" y="297328"/>
                    <a:pt x="5071" y="271231"/>
                  </a:cubicBezTo>
                  <a:cubicBezTo>
                    <a:pt x="5979" y="238591"/>
                    <a:pt x="6733" y="205947"/>
                    <a:pt x="7554" y="172079"/>
                  </a:cubicBezTo>
                  <a:moveTo>
                    <a:pt x="98286" y="163566"/>
                  </a:moveTo>
                  <a:cubicBezTo>
                    <a:pt x="89288" y="112116"/>
                    <a:pt x="86355" y="60033"/>
                    <a:pt x="83497" y="8289"/>
                  </a:cubicBezTo>
                  <a:cubicBezTo>
                    <a:pt x="65606" y="5845"/>
                    <a:pt x="24110" y="6470"/>
                    <a:pt x="15161" y="9148"/>
                  </a:cubicBezTo>
                  <a:cubicBezTo>
                    <a:pt x="15161" y="52045"/>
                    <a:pt x="15527" y="94996"/>
                    <a:pt x="15058" y="137939"/>
                  </a:cubicBezTo>
                  <a:cubicBezTo>
                    <a:pt x="14587" y="180919"/>
                    <a:pt x="13597" y="223900"/>
                    <a:pt x="12252" y="266862"/>
                  </a:cubicBezTo>
                  <a:cubicBezTo>
                    <a:pt x="10912" y="309638"/>
                    <a:pt x="8849" y="352391"/>
                    <a:pt x="7068" y="395996"/>
                  </a:cubicBezTo>
                  <a:cubicBezTo>
                    <a:pt x="62774" y="395996"/>
                    <a:pt x="116821" y="395996"/>
                    <a:pt x="171647" y="395996"/>
                  </a:cubicBezTo>
                  <a:cubicBezTo>
                    <a:pt x="148550" y="352016"/>
                    <a:pt x="132566" y="306307"/>
                    <a:pt x="119950" y="259496"/>
                  </a:cubicBezTo>
                  <a:cubicBezTo>
                    <a:pt x="111608" y="228543"/>
                    <a:pt x="105493" y="196989"/>
                    <a:pt x="98286" y="163566"/>
                  </a:cubicBezTo>
                  <a:close/>
                </a:path>
              </a:pathLst>
            </a:custGeom>
            <a:solidFill>
              <a:srgbClr val="CDD9DF"/>
            </a:solidFill>
            <a:ln w="1227" cap="flat">
              <a:noFill/>
              <a:prstDash val="solid"/>
              <a:miter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45" name="Free-form: Shape 44">
              <a:extLst>
                <a:ext uri="{FF2B5EF4-FFF2-40B4-BE49-F238E27FC236}">
                  <a16:creationId xmlns:a16="http://schemas.microsoft.com/office/drawing/2014/main" id="{EC919ECD-1AEC-FEF8-FF60-E01EE141F8E7}"/>
                </a:ext>
              </a:extLst>
            </p:cNvPr>
            <p:cNvSpPr/>
            <p:nvPr/>
          </p:nvSpPr>
          <p:spPr>
            <a:xfrm>
              <a:off x="8010750" y="4782479"/>
              <a:ext cx="253199" cy="57341"/>
            </a:xfrm>
            <a:custGeom>
              <a:avLst/>
              <a:gdLst>
                <a:gd name="csX0" fmla="*/ 297312 w 337008"/>
                <a:gd name="csY0" fmla="*/ 59188 h 76321"/>
                <a:gd name="csX1" fmla="*/ 241991 w 337008"/>
                <a:gd name="csY1" fmla="*/ 66577 h 76321"/>
                <a:gd name="csX2" fmla="*/ 185243 w 337008"/>
                <a:gd name="csY2" fmla="*/ 73717 h 76321"/>
                <a:gd name="csX3" fmla="*/ 182797 w 337008"/>
                <a:gd name="csY3" fmla="*/ 73873 h 76321"/>
                <a:gd name="csX4" fmla="*/ 19866 w 337008"/>
                <a:gd name="csY4" fmla="*/ 76320 h 76321"/>
                <a:gd name="csX5" fmla="*/ 12650 w 337008"/>
                <a:gd name="csY5" fmla="*/ 75242 h 76321"/>
                <a:gd name="csX6" fmla="*/ 19 w 337008"/>
                <a:gd name="csY6" fmla="*/ 59006 h 76321"/>
                <a:gd name="csX7" fmla="*/ 11 w 337008"/>
                <a:gd name="csY7" fmla="*/ 18266 h 76321"/>
                <a:gd name="csX8" fmla="*/ 13547 w 337008"/>
                <a:gd name="csY8" fmla="*/ 17427 h 76321"/>
                <a:gd name="csX9" fmla="*/ 109279 w 337008"/>
                <a:gd name="csY9" fmla="*/ 17200 h 76321"/>
                <a:gd name="csX10" fmla="*/ 173714 w 337008"/>
                <a:gd name="csY10" fmla="*/ 12645 h 76321"/>
                <a:gd name="csX11" fmla="*/ 205309 w 337008"/>
                <a:gd name="csY11" fmla="*/ 10096 h 76321"/>
                <a:gd name="csX12" fmla="*/ 245485 w 337008"/>
                <a:gd name="csY12" fmla="*/ 7449 h 76321"/>
                <a:gd name="csX13" fmla="*/ 288955 w 337008"/>
                <a:gd name="csY13" fmla="*/ 1844 h 76321"/>
                <a:gd name="csX14" fmla="*/ 307132 w 337008"/>
                <a:gd name="csY14" fmla="*/ 164 h 76321"/>
                <a:gd name="csX15" fmla="*/ 324030 w 337008"/>
                <a:gd name="csY15" fmla="*/ 9691 h 76321"/>
                <a:gd name="csX16" fmla="*/ 336033 w 337008"/>
                <a:gd name="csY16" fmla="*/ 39107 h 76321"/>
                <a:gd name="csX17" fmla="*/ 328060 w 337008"/>
                <a:gd name="csY17" fmla="*/ 52413 h 76321"/>
                <a:gd name="csX18" fmla="*/ 297312 w 337008"/>
                <a:gd name="csY18" fmla="*/ 59188 h 76321"/>
                <a:gd name="csX19" fmla="*/ 207688 w 337008"/>
                <a:gd name="csY19" fmla="*/ 64284 h 76321"/>
                <a:gd name="csX20" fmla="*/ 330050 w 337008"/>
                <a:gd name="csY20" fmla="*/ 45606 h 76321"/>
                <a:gd name="csX21" fmla="*/ 317356 w 337008"/>
                <a:gd name="csY21" fmla="*/ 11297 h 76321"/>
                <a:gd name="csX22" fmla="*/ 304170 w 337008"/>
                <a:gd name="csY22" fmla="*/ 5545 h 76321"/>
                <a:gd name="csX23" fmla="*/ 273851 w 337008"/>
                <a:gd name="csY23" fmla="*/ 10014 h 76321"/>
                <a:gd name="csX24" fmla="*/ 163935 w 337008"/>
                <a:gd name="csY24" fmla="*/ 20274 h 76321"/>
                <a:gd name="csX25" fmla="*/ 17973 w 337008"/>
                <a:gd name="csY25" fmla="*/ 22950 h 76321"/>
                <a:gd name="csX26" fmla="*/ 7372 w 337008"/>
                <a:gd name="csY26" fmla="*/ 23601 h 76321"/>
                <a:gd name="csX27" fmla="*/ 7372 w 337008"/>
                <a:gd name="csY27" fmla="*/ 67898 h 76321"/>
                <a:gd name="csX28" fmla="*/ 207688 w 337008"/>
                <a:gd name="csY28" fmla="*/ 64284 h 76321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  <a:cxn ang="0">
                  <a:pos x="csX16" y="csY16"/>
                </a:cxn>
                <a:cxn ang="0">
                  <a:pos x="csX17" y="csY17"/>
                </a:cxn>
                <a:cxn ang="0">
                  <a:pos x="csX18" y="csY18"/>
                </a:cxn>
                <a:cxn ang="0">
                  <a:pos x="csX19" y="csY19"/>
                </a:cxn>
                <a:cxn ang="0">
                  <a:pos x="csX20" y="csY20"/>
                </a:cxn>
                <a:cxn ang="0">
                  <a:pos x="csX21" y="csY21"/>
                </a:cxn>
                <a:cxn ang="0">
                  <a:pos x="csX22" y="csY22"/>
                </a:cxn>
                <a:cxn ang="0">
                  <a:pos x="csX23" y="csY23"/>
                </a:cxn>
                <a:cxn ang="0">
                  <a:pos x="csX24" y="csY24"/>
                </a:cxn>
                <a:cxn ang="0">
                  <a:pos x="csX25" y="csY25"/>
                </a:cxn>
                <a:cxn ang="0">
                  <a:pos x="csX26" y="csY26"/>
                </a:cxn>
                <a:cxn ang="0">
                  <a:pos x="csX27" y="csY27"/>
                </a:cxn>
                <a:cxn ang="0">
                  <a:pos x="csX28" y="csY28"/>
                </a:cxn>
              </a:cxnLst>
              <a:rect l="l" t="t" r="r" b="b"/>
              <a:pathLst>
                <a:path w="337008" h="76321">
                  <a:moveTo>
                    <a:pt x="297312" y="59188"/>
                  </a:moveTo>
                  <a:cubicBezTo>
                    <a:pt x="278167" y="61672"/>
                    <a:pt x="260091" y="64212"/>
                    <a:pt x="241991" y="66577"/>
                  </a:cubicBezTo>
                  <a:cubicBezTo>
                    <a:pt x="223087" y="69047"/>
                    <a:pt x="204161" y="71350"/>
                    <a:pt x="185243" y="73717"/>
                  </a:cubicBezTo>
                  <a:cubicBezTo>
                    <a:pt x="184433" y="73818"/>
                    <a:pt x="183613" y="73861"/>
                    <a:pt x="182797" y="73873"/>
                  </a:cubicBezTo>
                  <a:cubicBezTo>
                    <a:pt x="128487" y="74710"/>
                    <a:pt x="74176" y="75556"/>
                    <a:pt x="19866" y="76320"/>
                  </a:cubicBezTo>
                  <a:cubicBezTo>
                    <a:pt x="17463" y="76354"/>
                    <a:pt x="15013" y="75797"/>
                    <a:pt x="12650" y="75242"/>
                  </a:cubicBezTo>
                  <a:cubicBezTo>
                    <a:pt x="80" y="72288"/>
                    <a:pt x="58" y="72258"/>
                    <a:pt x="19" y="59006"/>
                  </a:cubicBezTo>
                  <a:cubicBezTo>
                    <a:pt x="-19" y="45942"/>
                    <a:pt x="11" y="32877"/>
                    <a:pt x="11" y="18266"/>
                  </a:cubicBezTo>
                  <a:cubicBezTo>
                    <a:pt x="4987" y="17944"/>
                    <a:pt x="9266" y="17435"/>
                    <a:pt x="13547" y="17427"/>
                  </a:cubicBezTo>
                  <a:cubicBezTo>
                    <a:pt x="45459" y="17362"/>
                    <a:pt x="77385" y="17975"/>
                    <a:pt x="109279" y="17200"/>
                  </a:cubicBezTo>
                  <a:cubicBezTo>
                    <a:pt x="130782" y="16677"/>
                    <a:pt x="152239" y="14265"/>
                    <a:pt x="173714" y="12645"/>
                  </a:cubicBezTo>
                  <a:cubicBezTo>
                    <a:pt x="184250" y="11850"/>
                    <a:pt x="194770" y="10836"/>
                    <a:pt x="205309" y="10096"/>
                  </a:cubicBezTo>
                  <a:cubicBezTo>
                    <a:pt x="218698" y="9156"/>
                    <a:pt x="232139" y="8783"/>
                    <a:pt x="245485" y="7449"/>
                  </a:cubicBezTo>
                  <a:cubicBezTo>
                    <a:pt x="260017" y="5997"/>
                    <a:pt x="274456" y="3648"/>
                    <a:pt x="288955" y="1844"/>
                  </a:cubicBezTo>
                  <a:cubicBezTo>
                    <a:pt x="294991" y="1094"/>
                    <a:pt x="301100" y="930"/>
                    <a:pt x="307132" y="164"/>
                  </a:cubicBezTo>
                  <a:cubicBezTo>
                    <a:pt x="315239" y="-865"/>
                    <a:pt x="320841" y="3022"/>
                    <a:pt x="324030" y="9691"/>
                  </a:cubicBezTo>
                  <a:cubicBezTo>
                    <a:pt x="328594" y="19236"/>
                    <a:pt x="332712" y="29070"/>
                    <a:pt x="336033" y="39107"/>
                  </a:cubicBezTo>
                  <a:cubicBezTo>
                    <a:pt x="338557" y="46735"/>
                    <a:pt x="336278" y="50185"/>
                    <a:pt x="328060" y="52413"/>
                  </a:cubicBezTo>
                  <a:cubicBezTo>
                    <a:pt x="318273" y="55068"/>
                    <a:pt x="308277" y="56950"/>
                    <a:pt x="297312" y="59188"/>
                  </a:cubicBezTo>
                  <a:moveTo>
                    <a:pt x="207688" y="64284"/>
                  </a:moveTo>
                  <a:cubicBezTo>
                    <a:pt x="248681" y="60632"/>
                    <a:pt x="289317" y="54812"/>
                    <a:pt x="330050" y="45606"/>
                  </a:cubicBezTo>
                  <a:cubicBezTo>
                    <a:pt x="327603" y="32443"/>
                    <a:pt x="323777" y="21532"/>
                    <a:pt x="317356" y="11297"/>
                  </a:cubicBezTo>
                  <a:cubicBezTo>
                    <a:pt x="313908" y="5803"/>
                    <a:pt x="310145" y="4465"/>
                    <a:pt x="304170" y="5545"/>
                  </a:cubicBezTo>
                  <a:cubicBezTo>
                    <a:pt x="294121" y="7361"/>
                    <a:pt x="284007" y="9006"/>
                    <a:pt x="273851" y="10014"/>
                  </a:cubicBezTo>
                  <a:cubicBezTo>
                    <a:pt x="237233" y="13650"/>
                    <a:pt x="200632" y="17661"/>
                    <a:pt x="163935" y="20274"/>
                  </a:cubicBezTo>
                  <a:cubicBezTo>
                    <a:pt x="115360" y="23734"/>
                    <a:pt x="66701" y="25937"/>
                    <a:pt x="17973" y="22950"/>
                  </a:cubicBezTo>
                  <a:cubicBezTo>
                    <a:pt x="14492" y="22737"/>
                    <a:pt x="10959" y="23361"/>
                    <a:pt x="7372" y="23601"/>
                  </a:cubicBezTo>
                  <a:cubicBezTo>
                    <a:pt x="7372" y="38609"/>
                    <a:pt x="7372" y="52361"/>
                    <a:pt x="7372" y="67898"/>
                  </a:cubicBezTo>
                  <a:cubicBezTo>
                    <a:pt x="74001" y="69806"/>
                    <a:pt x="139746" y="71025"/>
                    <a:pt x="207688" y="64284"/>
                  </a:cubicBezTo>
                  <a:close/>
                </a:path>
              </a:pathLst>
            </a:custGeom>
            <a:solidFill>
              <a:srgbClr val="CDD9DF"/>
            </a:solidFill>
            <a:ln w="1227" cap="flat">
              <a:noFill/>
              <a:prstDash val="solid"/>
              <a:miter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46" name="Free-form: Shape 45">
              <a:extLst>
                <a:ext uri="{FF2B5EF4-FFF2-40B4-BE49-F238E27FC236}">
                  <a16:creationId xmlns:a16="http://schemas.microsoft.com/office/drawing/2014/main" id="{01346A24-4FC7-5205-6FBF-BC76085405DF}"/>
                </a:ext>
              </a:extLst>
            </p:cNvPr>
            <p:cNvSpPr/>
            <p:nvPr/>
          </p:nvSpPr>
          <p:spPr>
            <a:xfrm>
              <a:off x="8015267" y="4605270"/>
              <a:ext cx="227996" cy="160552"/>
            </a:xfrm>
            <a:custGeom>
              <a:avLst/>
              <a:gdLst>
                <a:gd name="csX0" fmla="*/ 14160 w 303463"/>
                <a:gd name="csY0" fmla="*/ 7889 h 213695"/>
                <a:gd name="csX1" fmla="*/ 195033 w 303463"/>
                <a:gd name="csY1" fmla="*/ 0 h 213695"/>
                <a:gd name="csX2" fmla="*/ 197208 w 303463"/>
                <a:gd name="csY2" fmla="*/ 5635 h 213695"/>
                <a:gd name="csX3" fmla="*/ 227014 w 303463"/>
                <a:gd name="csY3" fmla="*/ 60660 h 213695"/>
                <a:gd name="csX4" fmla="*/ 265823 w 303463"/>
                <a:gd name="csY4" fmla="*/ 98217 h 213695"/>
                <a:gd name="csX5" fmla="*/ 303210 w 303463"/>
                <a:gd name="csY5" fmla="*/ 180358 h 213695"/>
                <a:gd name="csX6" fmla="*/ 303282 w 303463"/>
                <a:gd name="csY6" fmla="*/ 193964 h 213695"/>
                <a:gd name="csX7" fmla="*/ 4971 w 303463"/>
                <a:gd name="csY7" fmla="*/ 213017 h 213695"/>
                <a:gd name="csX8" fmla="*/ 5093 w 303463"/>
                <a:gd name="csY8" fmla="*/ 173484 h 213695"/>
                <a:gd name="csX9" fmla="*/ 4767 w 303463"/>
                <a:gd name="csY9" fmla="*/ 54607 h 213695"/>
                <a:gd name="csX10" fmla="*/ 0 w 303463"/>
                <a:gd name="csY10" fmla="*/ 7887 h 213695"/>
                <a:gd name="csX11" fmla="*/ 14160 w 303463"/>
                <a:gd name="csY11" fmla="*/ 7889 h 213695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</a:cxnLst>
              <a:rect l="l" t="t" r="r" b="b"/>
              <a:pathLst>
                <a:path w="303463" h="213695">
                  <a:moveTo>
                    <a:pt x="14160" y="7889"/>
                  </a:moveTo>
                  <a:cubicBezTo>
                    <a:pt x="75371" y="8627"/>
                    <a:pt x="135292" y="5744"/>
                    <a:pt x="195033" y="0"/>
                  </a:cubicBezTo>
                  <a:cubicBezTo>
                    <a:pt x="196084" y="2662"/>
                    <a:pt x="196986" y="4099"/>
                    <a:pt x="197208" y="5635"/>
                  </a:cubicBezTo>
                  <a:cubicBezTo>
                    <a:pt x="200391" y="27650"/>
                    <a:pt x="211307" y="45450"/>
                    <a:pt x="227014" y="60660"/>
                  </a:cubicBezTo>
                  <a:cubicBezTo>
                    <a:pt x="239947" y="73182"/>
                    <a:pt x="253006" y="85577"/>
                    <a:pt x="265823" y="98217"/>
                  </a:cubicBezTo>
                  <a:cubicBezTo>
                    <a:pt x="288727" y="120806"/>
                    <a:pt x="299071" y="149215"/>
                    <a:pt x="303210" y="180358"/>
                  </a:cubicBezTo>
                  <a:cubicBezTo>
                    <a:pt x="303735" y="184317"/>
                    <a:pt x="303282" y="188405"/>
                    <a:pt x="303282" y="193964"/>
                  </a:cubicBezTo>
                  <a:cubicBezTo>
                    <a:pt x="204065" y="208804"/>
                    <a:pt x="105022" y="216044"/>
                    <a:pt x="4971" y="213017"/>
                  </a:cubicBezTo>
                  <a:cubicBezTo>
                    <a:pt x="4971" y="199268"/>
                    <a:pt x="4314" y="186332"/>
                    <a:pt x="5093" y="173484"/>
                  </a:cubicBezTo>
                  <a:cubicBezTo>
                    <a:pt x="7497" y="133835"/>
                    <a:pt x="8211" y="94216"/>
                    <a:pt x="4767" y="54607"/>
                  </a:cubicBezTo>
                  <a:cubicBezTo>
                    <a:pt x="3464" y="39611"/>
                    <a:pt x="1725" y="24653"/>
                    <a:pt x="0" y="7887"/>
                  </a:cubicBezTo>
                  <a:cubicBezTo>
                    <a:pt x="4390" y="7887"/>
                    <a:pt x="8696" y="7887"/>
                    <a:pt x="14160" y="7889"/>
                  </a:cubicBezTo>
                  <a:close/>
                </a:path>
              </a:pathLst>
            </a:custGeom>
            <a:solidFill>
              <a:schemeClr val="bg1"/>
            </a:solidFill>
            <a:ln w="12700" cap="flat">
              <a:solidFill>
                <a:schemeClr val="bg1"/>
              </a:solidFill>
              <a:prstDash val="solid"/>
              <a:miter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47" name="Free-form: Shape 46">
              <a:extLst>
                <a:ext uri="{FF2B5EF4-FFF2-40B4-BE49-F238E27FC236}">
                  <a16:creationId xmlns:a16="http://schemas.microsoft.com/office/drawing/2014/main" id="{005D15CA-602F-722E-313D-8B7C52058274}"/>
                </a:ext>
              </a:extLst>
            </p:cNvPr>
            <p:cNvSpPr/>
            <p:nvPr/>
          </p:nvSpPr>
          <p:spPr>
            <a:xfrm>
              <a:off x="7974415" y="3964265"/>
              <a:ext cx="157075" cy="152822"/>
            </a:xfrm>
            <a:custGeom>
              <a:avLst/>
              <a:gdLst>
                <a:gd name="csX0" fmla="*/ 10475 w 209067"/>
                <a:gd name="csY0" fmla="*/ 41718 h 203406"/>
                <a:gd name="csX1" fmla="*/ 100250 w 209067"/>
                <a:gd name="csY1" fmla="*/ 1265 h 203406"/>
                <a:gd name="csX2" fmla="*/ 206681 w 209067"/>
                <a:gd name="csY2" fmla="*/ 98526 h 203406"/>
                <a:gd name="csX3" fmla="*/ 134647 w 209067"/>
                <a:gd name="csY3" fmla="*/ 202431 h 203406"/>
                <a:gd name="csX4" fmla="*/ 40986 w 209067"/>
                <a:gd name="csY4" fmla="*/ 171438 h 203406"/>
                <a:gd name="csX5" fmla="*/ 143 w 209067"/>
                <a:gd name="csY5" fmla="*/ 85158 h 203406"/>
                <a:gd name="csX6" fmla="*/ 10475 w 209067"/>
                <a:gd name="csY6" fmla="*/ 41718 h 203406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</a:cxnLst>
              <a:rect l="l" t="t" r="r" b="b"/>
              <a:pathLst>
                <a:path w="209067" h="203406">
                  <a:moveTo>
                    <a:pt x="10475" y="41718"/>
                  </a:moveTo>
                  <a:cubicBezTo>
                    <a:pt x="31065" y="6021"/>
                    <a:pt x="63171" y="-3865"/>
                    <a:pt x="100250" y="1265"/>
                  </a:cubicBezTo>
                  <a:cubicBezTo>
                    <a:pt x="157191" y="9144"/>
                    <a:pt x="196951" y="51394"/>
                    <a:pt x="206681" y="98526"/>
                  </a:cubicBezTo>
                  <a:cubicBezTo>
                    <a:pt x="219504" y="160635"/>
                    <a:pt x="178523" y="196657"/>
                    <a:pt x="134647" y="202431"/>
                  </a:cubicBezTo>
                  <a:cubicBezTo>
                    <a:pt x="98365" y="207204"/>
                    <a:pt x="68101" y="194086"/>
                    <a:pt x="40986" y="171438"/>
                  </a:cubicBezTo>
                  <a:cubicBezTo>
                    <a:pt x="14115" y="148994"/>
                    <a:pt x="2457" y="119007"/>
                    <a:pt x="143" y="85158"/>
                  </a:cubicBezTo>
                  <a:cubicBezTo>
                    <a:pt x="-869" y="70364"/>
                    <a:pt x="3586" y="56015"/>
                    <a:pt x="10475" y="41718"/>
                  </a:cubicBezTo>
                  <a:close/>
                </a:path>
              </a:pathLst>
            </a:custGeom>
            <a:solidFill>
              <a:schemeClr val="bg1"/>
            </a:solidFill>
            <a:ln w="12700" cap="flat">
              <a:solidFill>
                <a:schemeClr val="bg1"/>
              </a:solidFill>
              <a:prstDash val="solid"/>
              <a:miter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48" name="Free-form: Shape 47">
              <a:extLst>
                <a:ext uri="{FF2B5EF4-FFF2-40B4-BE49-F238E27FC236}">
                  <a16:creationId xmlns:a16="http://schemas.microsoft.com/office/drawing/2014/main" id="{A286FDA9-9F00-4534-AC87-58348FA4D65A}"/>
                </a:ext>
              </a:extLst>
            </p:cNvPr>
            <p:cNvSpPr/>
            <p:nvPr/>
          </p:nvSpPr>
          <p:spPr>
            <a:xfrm>
              <a:off x="8018289" y="4222041"/>
              <a:ext cx="118053" cy="31055"/>
            </a:xfrm>
            <a:custGeom>
              <a:avLst/>
              <a:gdLst>
                <a:gd name="csX0" fmla="*/ 69625 w 157129"/>
                <a:gd name="csY0" fmla="*/ 0 h 41334"/>
                <a:gd name="csX1" fmla="*/ 119596 w 157129"/>
                <a:gd name="csY1" fmla="*/ 1945 h 41334"/>
                <a:gd name="csX2" fmla="*/ 150973 w 157129"/>
                <a:gd name="csY2" fmla="*/ 14889 h 41334"/>
                <a:gd name="csX3" fmla="*/ 151351 w 157129"/>
                <a:gd name="csY3" fmla="*/ 34058 h 41334"/>
                <a:gd name="csX4" fmla="*/ 133492 w 157129"/>
                <a:gd name="csY4" fmla="*/ 40697 h 41334"/>
                <a:gd name="csX5" fmla="*/ 106556 w 157129"/>
                <a:gd name="csY5" fmla="*/ 41092 h 41334"/>
                <a:gd name="csX6" fmla="*/ 13373 w 157129"/>
                <a:gd name="csY6" fmla="*/ 40708 h 41334"/>
                <a:gd name="csX7" fmla="*/ 1312 w 157129"/>
                <a:gd name="csY7" fmla="*/ 40191 h 41334"/>
                <a:gd name="csX8" fmla="*/ 3367 w 157129"/>
                <a:gd name="csY8" fmla="*/ 13162 h 41334"/>
                <a:gd name="csX9" fmla="*/ 20752 w 157129"/>
                <a:gd name="csY9" fmla="*/ 1879 h 41334"/>
                <a:gd name="csX10" fmla="*/ 52625 w 157129"/>
                <a:gd name="csY10" fmla="*/ 1332 h 41334"/>
                <a:gd name="csX11" fmla="*/ 69625 w 157129"/>
                <a:gd name="csY11" fmla="*/ 0 h 41334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</a:cxnLst>
              <a:rect l="l" t="t" r="r" b="b"/>
              <a:pathLst>
                <a:path w="157129" h="41334">
                  <a:moveTo>
                    <a:pt x="69625" y="0"/>
                  </a:moveTo>
                  <a:cubicBezTo>
                    <a:pt x="87054" y="491"/>
                    <a:pt x="103407" y="373"/>
                    <a:pt x="119596" y="1945"/>
                  </a:cubicBezTo>
                  <a:cubicBezTo>
                    <a:pt x="131020" y="3055"/>
                    <a:pt x="141713" y="7767"/>
                    <a:pt x="150973" y="14889"/>
                  </a:cubicBezTo>
                  <a:cubicBezTo>
                    <a:pt x="158820" y="20925"/>
                    <a:pt x="159403" y="28236"/>
                    <a:pt x="151351" y="34058"/>
                  </a:cubicBezTo>
                  <a:cubicBezTo>
                    <a:pt x="146355" y="37671"/>
                    <a:pt x="139678" y="39910"/>
                    <a:pt x="133492" y="40697"/>
                  </a:cubicBezTo>
                  <a:cubicBezTo>
                    <a:pt x="124640" y="41824"/>
                    <a:pt x="115547" y="41120"/>
                    <a:pt x="106556" y="41092"/>
                  </a:cubicBezTo>
                  <a:cubicBezTo>
                    <a:pt x="75495" y="40996"/>
                    <a:pt x="44434" y="40872"/>
                    <a:pt x="13373" y="40708"/>
                  </a:cubicBezTo>
                  <a:cubicBezTo>
                    <a:pt x="9391" y="40687"/>
                    <a:pt x="5410" y="40374"/>
                    <a:pt x="1312" y="40191"/>
                  </a:cubicBezTo>
                  <a:cubicBezTo>
                    <a:pt x="-1416" y="30384"/>
                    <a:pt x="523" y="21512"/>
                    <a:pt x="3367" y="13162"/>
                  </a:cubicBezTo>
                  <a:cubicBezTo>
                    <a:pt x="5963" y="5538"/>
                    <a:pt x="12701" y="2077"/>
                    <a:pt x="20752" y="1879"/>
                  </a:cubicBezTo>
                  <a:cubicBezTo>
                    <a:pt x="31375" y="1617"/>
                    <a:pt x="42004" y="1647"/>
                    <a:pt x="52625" y="1332"/>
                  </a:cubicBezTo>
                  <a:cubicBezTo>
                    <a:pt x="57918" y="1176"/>
                    <a:pt x="63195" y="535"/>
                    <a:pt x="69625" y="0"/>
                  </a:cubicBezTo>
                  <a:close/>
                </a:path>
              </a:pathLst>
            </a:custGeom>
            <a:solidFill>
              <a:schemeClr val="bg1"/>
            </a:solidFill>
            <a:ln w="12700" cap="flat">
              <a:solidFill>
                <a:schemeClr val="bg1"/>
              </a:solidFill>
              <a:prstDash val="solid"/>
              <a:miter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49" name="Free-form: Shape 48">
              <a:extLst>
                <a:ext uri="{FF2B5EF4-FFF2-40B4-BE49-F238E27FC236}">
                  <a16:creationId xmlns:a16="http://schemas.microsoft.com/office/drawing/2014/main" id="{FC62D759-AB6C-CCEB-B94B-0A109F8C116D}"/>
                </a:ext>
              </a:extLst>
            </p:cNvPr>
            <p:cNvSpPr/>
            <p:nvPr/>
          </p:nvSpPr>
          <p:spPr>
            <a:xfrm>
              <a:off x="8014087" y="4283615"/>
              <a:ext cx="123651" cy="292440"/>
            </a:xfrm>
            <a:custGeom>
              <a:avLst/>
              <a:gdLst>
                <a:gd name="csX0" fmla="*/ 91265 w 164579"/>
                <a:gd name="csY0" fmla="*/ 157878 h 389238"/>
                <a:gd name="csX1" fmla="*/ 112882 w 164579"/>
                <a:gd name="csY1" fmla="*/ 252738 h 389238"/>
                <a:gd name="csX2" fmla="*/ 164579 w 164579"/>
                <a:gd name="csY2" fmla="*/ 389238 h 389238"/>
                <a:gd name="csX3" fmla="*/ 0 w 164579"/>
                <a:gd name="csY3" fmla="*/ 389238 h 389238"/>
                <a:gd name="csX4" fmla="*/ 5184 w 164579"/>
                <a:gd name="csY4" fmla="*/ 260105 h 389238"/>
                <a:gd name="csX5" fmla="*/ 7989 w 164579"/>
                <a:gd name="csY5" fmla="*/ 131182 h 389238"/>
                <a:gd name="csX6" fmla="*/ 8093 w 164579"/>
                <a:gd name="csY6" fmla="*/ 2390 h 389238"/>
                <a:gd name="csX7" fmla="*/ 76429 w 164579"/>
                <a:gd name="csY7" fmla="*/ 1531 h 389238"/>
                <a:gd name="csX8" fmla="*/ 91265 w 164579"/>
                <a:gd name="csY8" fmla="*/ 157878 h 389238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</a:cxnLst>
              <a:rect l="l" t="t" r="r" b="b"/>
              <a:pathLst>
                <a:path w="164579" h="389238">
                  <a:moveTo>
                    <a:pt x="91265" y="157878"/>
                  </a:moveTo>
                  <a:cubicBezTo>
                    <a:pt x="98425" y="190232"/>
                    <a:pt x="104539" y="221785"/>
                    <a:pt x="112882" y="252738"/>
                  </a:cubicBezTo>
                  <a:cubicBezTo>
                    <a:pt x="125498" y="299549"/>
                    <a:pt x="141482" y="345258"/>
                    <a:pt x="164579" y="389238"/>
                  </a:cubicBezTo>
                  <a:cubicBezTo>
                    <a:pt x="109753" y="389238"/>
                    <a:pt x="55706" y="389238"/>
                    <a:pt x="0" y="389238"/>
                  </a:cubicBezTo>
                  <a:cubicBezTo>
                    <a:pt x="1781" y="345633"/>
                    <a:pt x="3844" y="302880"/>
                    <a:pt x="5184" y="260105"/>
                  </a:cubicBezTo>
                  <a:cubicBezTo>
                    <a:pt x="6529" y="217143"/>
                    <a:pt x="7519" y="174162"/>
                    <a:pt x="7989" y="131182"/>
                  </a:cubicBezTo>
                  <a:cubicBezTo>
                    <a:pt x="8459" y="88239"/>
                    <a:pt x="8093" y="45287"/>
                    <a:pt x="8093" y="2390"/>
                  </a:cubicBezTo>
                  <a:cubicBezTo>
                    <a:pt x="17041" y="-288"/>
                    <a:pt x="58537" y="-913"/>
                    <a:pt x="76429" y="1531"/>
                  </a:cubicBezTo>
                  <a:cubicBezTo>
                    <a:pt x="79287" y="53276"/>
                    <a:pt x="82219" y="105359"/>
                    <a:pt x="91265" y="157878"/>
                  </a:cubicBezTo>
                  <a:close/>
                </a:path>
              </a:pathLst>
            </a:custGeom>
            <a:solidFill>
              <a:schemeClr val="bg1"/>
            </a:solidFill>
            <a:ln w="12700" cap="flat">
              <a:solidFill>
                <a:schemeClr val="bg1"/>
              </a:solidFill>
              <a:prstDash val="solid"/>
              <a:miter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50" name="Free-form: Shape 49">
              <a:extLst>
                <a:ext uri="{FF2B5EF4-FFF2-40B4-BE49-F238E27FC236}">
                  <a16:creationId xmlns:a16="http://schemas.microsoft.com/office/drawing/2014/main" id="{7880E813-4606-FCEA-14A6-2B1CAAB2DA9D}"/>
                </a:ext>
              </a:extLst>
            </p:cNvPr>
            <p:cNvSpPr/>
            <p:nvPr/>
          </p:nvSpPr>
          <p:spPr>
            <a:xfrm>
              <a:off x="8016288" y="4786385"/>
              <a:ext cx="242432" cy="48237"/>
            </a:xfrm>
            <a:custGeom>
              <a:avLst/>
              <a:gdLst>
                <a:gd name="csX0" fmla="*/ 199184 w 322677"/>
                <a:gd name="csY0" fmla="*/ 59136 h 64202"/>
                <a:gd name="csX1" fmla="*/ 0 w 322677"/>
                <a:gd name="csY1" fmla="*/ 62697 h 64202"/>
                <a:gd name="csX2" fmla="*/ 0 w 322677"/>
                <a:gd name="csY2" fmla="*/ 18400 h 64202"/>
                <a:gd name="csX3" fmla="*/ 10601 w 322677"/>
                <a:gd name="csY3" fmla="*/ 17750 h 64202"/>
                <a:gd name="csX4" fmla="*/ 156563 w 322677"/>
                <a:gd name="csY4" fmla="*/ 15074 h 64202"/>
                <a:gd name="csX5" fmla="*/ 266479 w 322677"/>
                <a:gd name="csY5" fmla="*/ 4814 h 64202"/>
                <a:gd name="csX6" fmla="*/ 296798 w 322677"/>
                <a:gd name="csY6" fmla="*/ 344 h 64202"/>
                <a:gd name="csX7" fmla="*/ 309983 w 322677"/>
                <a:gd name="csY7" fmla="*/ 6097 h 64202"/>
                <a:gd name="csX8" fmla="*/ 322678 w 322677"/>
                <a:gd name="csY8" fmla="*/ 40406 h 64202"/>
                <a:gd name="csX9" fmla="*/ 199184 w 322677"/>
                <a:gd name="csY9" fmla="*/ 59136 h 64202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</a:cxnLst>
              <a:rect l="l" t="t" r="r" b="b"/>
              <a:pathLst>
                <a:path w="322677" h="64202">
                  <a:moveTo>
                    <a:pt x="199184" y="59136"/>
                  </a:moveTo>
                  <a:cubicBezTo>
                    <a:pt x="132374" y="65824"/>
                    <a:pt x="66629" y="64605"/>
                    <a:pt x="0" y="62697"/>
                  </a:cubicBezTo>
                  <a:cubicBezTo>
                    <a:pt x="0" y="47160"/>
                    <a:pt x="0" y="33409"/>
                    <a:pt x="0" y="18400"/>
                  </a:cubicBezTo>
                  <a:cubicBezTo>
                    <a:pt x="3587" y="18160"/>
                    <a:pt x="7120" y="17536"/>
                    <a:pt x="10601" y="17750"/>
                  </a:cubicBezTo>
                  <a:cubicBezTo>
                    <a:pt x="59329" y="20736"/>
                    <a:pt x="107987" y="18533"/>
                    <a:pt x="156563" y="15074"/>
                  </a:cubicBezTo>
                  <a:cubicBezTo>
                    <a:pt x="193260" y="12461"/>
                    <a:pt x="229860" y="8449"/>
                    <a:pt x="266479" y="4814"/>
                  </a:cubicBezTo>
                  <a:cubicBezTo>
                    <a:pt x="276635" y="3806"/>
                    <a:pt x="286748" y="2160"/>
                    <a:pt x="296798" y="344"/>
                  </a:cubicBezTo>
                  <a:cubicBezTo>
                    <a:pt x="302773" y="-735"/>
                    <a:pt x="306536" y="602"/>
                    <a:pt x="309983" y="6097"/>
                  </a:cubicBezTo>
                  <a:cubicBezTo>
                    <a:pt x="316405" y="16331"/>
                    <a:pt x="320231" y="27243"/>
                    <a:pt x="322678" y="40406"/>
                  </a:cubicBezTo>
                  <a:cubicBezTo>
                    <a:pt x="281944" y="49611"/>
                    <a:pt x="241309" y="55431"/>
                    <a:pt x="199184" y="59136"/>
                  </a:cubicBezTo>
                  <a:close/>
                </a:path>
              </a:pathLst>
            </a:custGeom>
            <a:solidFill>
              <a:schemeClr val="bg1"/>
            </a:solidFill>
            <a:ln w="19050" cap="flat">
              <a:solidFill>
                <a:schemeClr val="bg1"/>
              </a:solidFill>
              <a:prstDash val="solid"/>
              <a:miter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51" name="Free-form: Shape 50">
              <a:extLst>
                <a:ext uri="{FF2B5EF4-FFF2-40B4-BE49-F238E27FC236}">
                  <a16:creationId xmlns:a16="http://schemas.microsoft.com/office/drawing/2014/main" id="{1F762D5F-906F-2632-58E3-181A54BDBA24}"/>
                </a:ext>
              </a:extLst>
            </p:cNvPr>
            <p:cNvSpPr/>
            <p:nvPr/>
          </p:nvSpPr>
          <p:spPr>
            <a:xfrm>
              <a:off x="8275335" y="4783801"/>
              <a:ext cx="3201" cy="6806"/>
            </a:xfrm>
            <a:custGeom>
              <a:avLst/>
              <a:gdLst>
                <a:gd name="csX0" fmla="*/ 815 w 2910"/>
                <a:gd name="csY0" fmla="*/ 0 h 6187"/>
                <a:gd name="csX1" fmla="*/ 113 w 2910"/>
                <a:gd name="csY1" fmla="*/ 6187 h 6187"/>
                <a:gd name="csX2" fmla="*/ 815 w 2910"/>
                <a:gd name="csY2" fmla="*/ 0 h 6187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</a:cxnLst>
              <a:rect l="l" t="t" r="r" b="b"/>
              <a:pathLst>
                <a:path w="2910" h="6187">
                  <a:moveTo>
                    <a:pt x="815" y="0"/>
                  </a:moveTo>
                  <a:cubicBezTo>
                    <a:pt x="4660" y="1891"/>
                    <a:pt x="2480" y="3840"/>
                    <a:pt x="113" y="6187"/>
                  </a:cubicBezTo>
                  <a:cubicBezTo>
                    <a:pt x="-172" y="4565"/>
                    <a:pt x="89" y="2579"/>
                    <a:pt x="815" y="0"/>
                  </a:cubicBezTo>
                  <a:close/>
                </a:path>
              </a:pathLst>
            </a:custGeom>
            <a:solidFill>
              <a:srgbClr val="CDD9DF"/>
            </a:solidFill>
            <a:ln w="1227" cap="flat">
              <a:noFill/>
              <a:prstDash val="solid"/>
              <a:miter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</p:grpSp>
      <p:sp>
        <p:nvSpPr>
          <p:cNvPr id="52" name="Free-form: Shape 51">
            <a:extLst>
              <a:ext uri="{FF2B5EF4-FFF2-40B4-BE49-F238E27FC236}">
                <a16:creationId xmlns:a16="http://schemas.microsoft.com/office/drawing/2014/main" id="{A629FDF3-D70E-4C45-7D61-7539C5B44EBE}"/>
              </a:ext>
            </a:extLst>
          </p:cNvPr>
          <p:cNvSpPr/>
          <p:nvPr/>
        </p:nvSpPr>
        <p:spPr>
          <a:xfrm>
            <a:off x="3811117" y="3815677"/>
            <a:ext cx="777434" cy="153278"/>
          </a:xfrm>
          <a:custGeom>
            <a:avLst/>
            <a:gdLst>
              <a:gd name="csX0" fmla="*/ 191041 w 1045419"/>
              <a:gd name="csY0" fmla="*/ 0 h 228601"/>
              <a:gd name="csX1" fmla="*/ 1045419 w 1045419"/>
              <a:gd name="csY1" fmla="*/ 0 h 228601"/>
              <a:gd name="csX2" fmla="*/ 918418 w 1045419"/>
              <a:gd name="csY2" fmla="*/ 228601 h 228601"/>
              <a:gd name="csX3" fmla="*/ 0 w 1045419"/>
              <a:gd name="csY3" fmla="*/ 228601 h 228601"/>
              <a:gd name="csX4" fmla="*/ 191041 w 1045419"/>
              <a:gd name="csY4" fmla="*/ 0 h 22860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045419" h="228601">
                <a:moveTo>
                  <a:pt x="191041" y="0"/>
                </a:moveTo>
                <a:lnTo>
                  <a:pt x="1045419" y="0"/>
                </a:lnTo>
                <a:lnTo>
                  <a:pt x="918418" y="228601"/>
                </a:lnTo>
                <a:lnTo>
                  <a:pt x="0" y="228601"/>
                </a:lnTo>
                <a:lnTo>
                  <a:pt x="191041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3" name="Free-form: Shape 52">
            <a:extLst>
              <a:ext uri="{FF2B5EF4-FFF2-40B4-BE49-F238E27FC236}">
                <a16:creationId xmlns:a16="http://schemas.microsoft.com/office/drawing/2014/main" id="{5DA95DEE-E025-15D5-2C49-1F61799AB920}"/>
              </a:ext>
            </a:extLst>
          </p:cNvPr>
          <p:cNvSpPr/>
          <p:nvPr/>
        </p:nvSpPr>
        <p:spPr>
          <a:xfrm>
            <a:off x="891381" y="5513031"/>
            <a:ext cx="1646821" cy="454861"/>
          </a:xfrm>
          <a:custGeom>
            <a:avLst/>
            <a:gdLst>
              <a:gd name="csX0" fmla="*/ 626019 w 1992654"/>
              <a:gd name="csY0" fmla="*/ 0 h 550382"/>
              <a:gd name="csX1" fmla="*/ 1992654 w 1992654"/>
              <a:gd name="csY1" fmla="*/ 0 h 550382"/>
              <a:gd name="csX2" fmla="*/ 1532703 w 1992654"/>
              <a:gd name="csY2" fmla="*/ 550382 h 550382"/>
              <a:gd name="csX3" fmla="*/ 0 w 1992654"/>
              <a:gd name="csY3" fmla="*/ 550382 h 550382"/>
              <a:gd name="csX4" fmla="*/ 626019 w 1992654"/>
              <a:gd name="csY4" fmla="*/ 0 h 55038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992654" h="550382">
                <a:moveTo>
                  <a:pt x="626019" y="0"/>
                </a:moveTo>
                <a:lnTo>
                  <a:pt x="1992654" y="0"/>
                </a:lnTo>
                <a:lnTo>
                  <a:pt x="1532703" y="550382"/>
                </a:lnTo>
                <a:lnTo>
                  <a:pt x="0" y="550382"/>
                </a:lnTo>
                <a:lnTo>
                  <a:pt x="626019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4" name="Free-form: Shape 53">
            <a:extLst>
              <a:ext uri="{FF2B5EF4-FFF2-40B4-BE49-F238E27FC236}">
                <a16:creationId xmlns:a16="http://schemas.microsoft.com/office/drawing/2014/main" id="{41E073B7-4EE7-1266-D037-11A41E3604D1}"/>
              </a:ext>
            </a:extLst>
          </p:cNvPr>
          <p:cNvSpPr/>
          <p:nvPr/>
        </p:nvSpPr>
        <p:spPr>
          <a:xfrm>
            <a:off x="3193834" y="5513031"/>
            <a:ext cx="1568526" cy="454861"/>
          </a:xfrm>
          <a:custGeom>
            <a:avLst/>
            <a:gdLst>
              <a:gd name="csX0" fmla="*/ 527533 w 1897917"/>
              <a:gd name="csY0" fmla="*/ 0 h 550382"/>
              <a:gd name="csX1" fmla="*/ 1897917 w 1897917"/>
              <a:gd name="csY1" fmla="*/ 0 h 550382"/>
              <a:gd name="csX2" fmla="*/ 1747106 w 1897917"/>
              <a:gd name="csY2" fmla="*/ 550382 h 550382"/>
              <a:gd name="csX3" fmla="*/ 0 w 1897917"/>
              <a:gd name="csY3" fmla="*/ 550382 h 550382"/>
              <a:gd name="csX4" fmla="*/ 223004 w 1897917"/>
              <a:gd name="csY4" fmla="*/ 548152 h 550382"/>
              <a:gd name="csX5" fmla="*/ 527533 w 1897917"/>
              <a:gd name="csY5" fmla="*/ 0 h 55038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</a:cxnLst>
            <a:rect l="l" t="t" r="r" b="b"/>
            <a:pathLst>
              <a:path w="1897917" h="550382">
                <a:moveTo>
                  <a:pt x="527533" y="0"/>
                </a:moveTo>
                <a:lnTo>
                  <a:pt x="1897917" y="0"/>
                </a:lnTo>
                <a:lnTo>
                  <a:pt x="1747106" y="550382"/>
                </a:lnTo>
                <a:lnTo>
                  <a:pt x="0" y="550382"/>
                </a:lnTo>
                <a:lnTo>
                  <a:pt x="223004" y="548152"/>
                </a:lnTo>
                <a:lnTo>
                  <a:pt x="527533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5" name="Free-form: Shape 54">
            <a:extLst>
              <a:ext uri="{FF2B5EF4-FFF2-40B4-BE49-F238E27FC236}">
                <a16:creationId xmlns:a16="http://schemas.microsoft.com/office/drawing/2014/main" id="{8EC7DEE8-9225-165E-D2EC-0178ACBD7FFA}"/>
              </a:ext>
            </a:extLst>
          </p:cNvPr>
          <p:cNvSpPr/>
          <p:nvPr/>
        </p:nvSpPr>
        <p:spPr>
          <a:xfrm>
            <a:off x="5872566" y="5513031"/>
            <a:ext cx="1247364" cy="444260"/>
          </a:xfrm>
          <a:custGeom>
            <a:avLst/>
            <a:gdLst>
              <a:gd name="csX0" fmla="*/ 3065 w 1509311"/>
              <a:gd name="csY0" fmla="*/ 0 h 537554"/>
              <a:gd name="csX1" fmla="*/ 1356162 w 1509311"/>
              <a:gd name="csY1" fmla="*/ 0 h 537554"/>
              <a:gd name="csX2" fmla="*/ 1509311 w 1509311"/>
              <a:gd name="csY2" fmla="*/ 537554 h 537554"/>
              <a:gd name="csX3" fmla="*/ 0 w 1509311"/>
              <a:gd name="csY3" fmla="*/ 533283 h 537554"/>
              <a:gd name="csX4" fmla="*/ 3065 w 1509311"/>
              <a:gd name="csY4" fmla="*/ 0 h 53755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509311" h="537554">
                <a:moveTo>
                  <a:pt x="3065" y="0"/>
                </a:moveTo>
                <a:lnTo>
                  <a:pt x="1356162" y="0"/>
                </a:lnTo>
                <a:lnTo>
                  <a:pt x="1509311" y="537554"/>
                </a:lnTo>
                <a:lnTo>
                  <a:pt x="0" y="533283"/>
                </a:lnTo>
                <a:cubicBezTo>
                  <a:pt x="1022" y="355522"/>
                  <a:pt x="2043" y="177761"/>
                  <a:pt x="3065" y="0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6" name="Free-form: Shape 55">
            <a:extLst>
              <a:ext uri="{FF2B5EF4-FFF2-40B4-BE49-F238E27FC236}">
                <a16:creationId xmlns:a16="http://schemas.microsoft.com/office/drawing/2014/main" id="{DCAD6595-A4B3-6BB9-C52F-2421CFDE656F}"/>
              </a:ext>
            </a:extLst>
          </p:cNvPr>
          <p:cNvSpPr/>
          <p:nvPr/>
        </p:nvSpPr>
        <p:spPr>
          <a:xfrm>
            <a:off x="8105738" y="5513032"/>
            <a:ext cx="1478271" cy="451232"/>
          </a:xfrm>
          <a:custGeom>
            <a:avLst/>
            <a:gdLst>
              <a:gd name="csX0" fmla="*/ 0 w 1788708"/>
              <a:gd name="csY0" fmla="*/ 0 h 545991"/>
              <a:gd name="csX1" fmla="*/ 1331921 w 1788708"/>
              <a:gd name="csY1" fmla="*/ 0 h 545991"/>
              <a:gd name="csX2" fmla="*/ 1788708 w 1788708"/>
              <a:gd name="csY2" fmla="*/ 545991 h 545991"/>
              <a:gd name="csX3" fmla="*/ 241609 w 1788708"/>
              <a:gd name="csY3" fmla="*/ 541613 h 545991"/>
              <a:gd name="csX4" fmla="*/ 301257 w 1788708"/>
              <a:gd name="csY4" fmla="*/ 540718 h 545991"/>
              <a:gd name="csX5" fmla="*/ 0 w 1788708"/>
              <a:gd name="csY5" fmla="*/ 0 h 54599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</a:cxnLst>
            <a:rect l="l" t="t" r="r" b="b"/>
            <a:pathLst>
              <a:path w="1788708" h="545991">
                <a:moveTo>
                  <a:pt x="0" y="0"/>
                </a:moveTo>
                <a:lnTo>
                  <a:pt x="1331921" y="0"/>
                </a:lnTo>
                <a:lnTo>
                  <a:pt x="1788708" y="545991"/>
                </a:lnTo>
                <a:lnTo>
                  <a:pt x="241609" y="541613"/>
                </a:lnTo>
                <a:lnTo>
                  <a:pt x="301257" y="540718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7" name="Free-form: Shape 56">
            <a:extLst>
              <a:ext uri="{FF2B5EF4-FFF2-40B4-BE49-F238E27FC236}">
                <a16:creationId xmlns:a16="http://schemas.microsoft.com/office/drawing/2014/main" id="{CA7C7C2E-AFD1-5A31-CE81-6420B6FF2384}"/>
              </a:ext>
            </a:extLst>
          </p:cNvPr>
          <p:cNvSpPr/>
          <p:nvPr/>
        </p:nvSpPr>
        <p:spPr>
          <a:xfrm>
            <a:off x="2538202" y="5117685"/>
            <a:ext cx="1311245" cy="395346"/>
          </a:xfrm>
          <a:custGeom>
            <a:avLst/>
            <a:gdLst>
              <a:gd name="csX0" fmla="*/ 399769 w 1586606"/>
              <a:gd name="csY0" fmla="*/ 0 h 478368"/>
              <a:gd name="csX1" fmla="*/ 1586606 w 1586606"/>
              <a:gd name="csY1" fmla="*/ 0 h 478368"/>
              <a:gd name="csX2" fmla="*/ 1320846 w 1586606"/>
              <a:gd name="csY2" fmla="*/ 478368 h 478368"/>
              <a:gd name="csX3" fmla="*/ 0 w 1586606"/>
              <a:gd name="csY3" fmla="*/ 478368 h 478368"/>
              <a:gd name="csX4" fmla="*/ 399769 w 1586606"/>
              <a:gd name="csY4" fmla="*/ 0 h 47836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586606" h="478368">
                <a:moveTo>
                  <a:pt x="399769" y="0"/>
                </a:moveTo>
                <a:lnTo>
                  <a:pt x="1586606" y="0"/>
                </a:lnTo>
                <a:lnTo>
                  <a:pt x="1320846" y="478368"/>
                </a:lnTo>
                <a:lnTo>
                  <a:pt x="0" y="478368"/>
                </a:lnTo>
                <a:lnTo>
                  <a:pt x="399769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8" name="Free-form: Shape 57">
            <a:extLst>
              <a:ext uri="{FF2B5EF4-FFF2-40B4-BE49-F238E27FC236}">
                <a16:creationId xmlns:a16="http://schemas.microsoft.com/office/drawing/2014/main" id="{15617CBC-0111-DAE4-F4E5-DEBDF756D2A9}"/>
              </a:ext>
            </a:extLst>
          </p:cNvPr>
          <p:cNvSpPr/>
          <p:nvPr/>
        </p:nvSpPr>
        <p:spPr>
          <a:xfrm>
            <a:off x="4762360" y="5117685"/>
            <a:ext cx="1115011" cy="395346"/>
          </a:xfrm>
          <a:custGeom>
            <a:avLst/>
            <a:gdLst>
              <a:gd name="csX0" fmla="*/ 131078 w 1349163"/>
              <a:gd name="csY0" fmla="*/ 0 h 478368"/>
              <a:gd name="csX1" fmla="*/ 1349163 w 1349163"/>
              <a:gd name="csY1" fmla="*/ 0 h 478368"/>
              <a:gd name="csX2" fmla="*/ 1346414 w 1349163"/>
              <a:gd name="csY2" fmla="*/ 478368 h 478368"/>
              <a:gd name="csX3" fmla="*/ 0 w 1349163"/>
              <a:gd name="csY3" fmla="*/ 478368 h 478368"/>
              <a:gd name="csX4" fmla="*/ 131078 w 1349163"/>
              <a:gd name="csY4" fmla="*/ 0 h 47836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349163" h="478368">
                <a:moveTo>
                  <a:pt x="131078" y="0"/>
                </a:moveTo>
                <a:lnTo>
                  <a:pt x="1349163" y="0"/>
                </a:lnTo>
                <a:lnTo>
                  <a:pt x="1346414" y="478368"/>
                </a:lnTo>
                <a:lnTo>
                  <a:pt x="0" y="478368"/>
                </a:lnTo>
                <a:lnTo>
                  <a:pt x="131078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9" name="Free-form: Shape 58">
            <a:extLst>
              <a:ext uri="{FF2B5EF4-FFF2-40B4-BE49-F238E27FC236}">
                <a16:creationId xmlns:a16="http://schemas.microsoft.com/office/drawing/2014/main" id="{6D35BED7-9376-78B5-0E84-1ADDB377D3FC}"/>
              </a:ext>
            </a:extLst>
          </p:cNvPr>
          <p:cNvSpPr/>
          <p:nvPr/>
        </p:nvSpPr>
        <p:spPr>
          <a:xfrm>
            <a:off x="8875746" y="5117685"/>
            <a:ext cx="1462821" cy="395346"/>
          </a:xfrm>
          <a:custGeom>
            <a:avLst/>
            <a:gdLst>
              <a:gd name="csX0" fmla="*/ 0 w 1770014"/>
              <a:gd name="csY0" fmla="*/ 0 h 478368"/>
              <a:gd name="csX1" fmla="*/ 1231679 w 1770014"/>
              <a:gd name="csY1" fmla="*/ 0 h 478368"/>
              <a:gd name="csX2" fmla="*/ 1770014 w 1770014"/>
              <a:gd name="csY2" fmla="*/ 478368 h 478368"/>
              <a:gd name="csX3" fmla="*/ 400212 w 1770014"/>
              <a:gd name="csY3" fmla="*/ 478368 h 478368"/>
              <a:gd name="csX4" fmla="*/ 0 w 1770014"/>
              <a:gd name="csY4" fmla="*/ 0 h 47836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770014" h="478368">
                <a:moveTo>
                  <a:pt x="0" y="0"/>
                </a:moveTo>
                <a:lnTo>
                  <a:pt x="1231679" y="0"/>
                </a:lnTo>
                <a:lnTo>
                  <a:pt x="1770014" y="478368"/>
                </a:lnTo>
                <a:lnTo>
                  <a:pt x="400212" y="478368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0" name="Free-form: Shape 59">
            <a:extLst>
              <a:ext uri="{FF2B5EF4-FFF2-40B4-BE49-F238E27FC236}">
                <a16:creationId xmlns:a16="http://schemas.microsoft.com/office/drawing/2014/main" id="{4FC5E16F-4E41-FE17-019A-83A9DFC0CC87}"/>
              </a:ext>
            </a:extLst>
          </p:cNvPr>
          <p:cNvSpPr/>
          <p:nvPr/>
        </p:nvSpPr>
        <p:spPr>
          <a:xfrm>
            <a:off x="7820622" y="3815678"/>
            <a:ext cx="1718658" cy="987102"/>
          </a:xfrm>
          <a:custGeom>
            <a:avLst/>
            <a:gdLst>
              <a:gd name="csX0" fmla="*/ 1734208 w 2079576"/>
              <a:gd name="csY0" fmla="*/ 893490 h 1194393"/>
              <a:gd name="csX1" fmla="*/ 1740954 w 2079576"/>
              <a:gd name="csY1" fmla="*/ 893490 h 1194393"/>
              <a:gd name="csX2" fmla="*/ 2079576 w 2079576"/>
              <a:gd name="csY2" fmla="*/ 1194392 h 1194393"/>
              <a:gd name="csX3" fmla="*/ 1492572 w 2079576"/>
              <a:gd name="csY3" fmla="*/ 1194392 h 1194393"/>
              <a:gd name="csX4" fmla="*/ 1492573 w 2079576"/>
              <a:gd name="csY4" fmla="*/ 1194393 h 1194393"/>
              <a:gd name="csX5" fmla="*/ 957918 w 2079576"/>
              <a:gd name="csY5" fmla="*/ 1194393 h 1194393"/>
              <a:gd name="csX6" fmla="*/ 706177 w 2079576"/>
              <a:gd name="csY6" fmla="*/ 893491 h 1194393"/>
              <a:gd name="csX7" fmla="*/ 1734209 w 2079576"/>
              <a:gd name="csY7" fmla="*/ 893491 h 1194393"/>
              <a:gd name="csX8" fmla="*/ 1428628 w 2079576"/>
              <a:gd name="csY8" fmla="*/ 612504 h 1194393"/>
              <a:gd name="csX9" fmla="*/ 1433390 w 2079576"/>
              <a:gd name="csY9" fmla="*/ 617266 h 1194393"/>
              <a:gd name="csX10" fmla="*/ 1430104 w 2079576"/>
              <a:gd name="csY10" fmla="*/ 617266 h 1194393"/>
              <a:gd name="csX11" fmla="*/ 1424767 w 2079576"/>
              <a:gd name="csY11" fmla="*/ 612523 h 1194393"/>
              <a:gd name="csX12" fmla="*/ 283831 w 2079576"/>
              <a:gd name="csY12" fmla="*/ 388666 h 1194393"/>
              <a:gd name="csX13" fmla="*/ 631714 w 2079576"/>
              <a:gd name="csY13" fmla="*/ 388666 h 1194393"/>
              <a:gd name="csX14" fmla="*/ 1158324 w 2079576"/>
              <a:gd name="csY14" fmla="*/ 388666 h 1194393"/>
              <a:gd name="csX15" fmla="*/ 1172848 w 2079576"/>
              <a:gd name="csY15" fmla="*/ 388666 h 1194393"/>
              <a:gd name="csX16" fmla="*/ 1424767 w 2079576"/>
              <a:gd name="csY16" fmla="*/ 612523 h 1194393"/>
              <a:gd name="csX17" fmla="*/ 475083 w 2079576"/>
              <a:gd name="csY17" fmla="*/ 617267 h 1194393"/>
              <a:gd name="csX18" fmla="*/ 735460 w 2079576"/>
              <a:gd name="csY18" fmla="*/ 0 h 1194393"/>
              <a:gd name="csX19" fmla="*/ 936218 w 2079576"/>
              <a:gd name="csY19" fmla="*/ 178395 h 1194393"/>
              <a:gd name="csX20" fmla="*/ 918454 w 2079576"/>
              <a:gd name="csY20" fmla="*/ 178395 h 1194393"/>
              <a:gd name="csX21" fmla="*/ 918453 w 2079576"/>
              <a:gd name="csY21" fmla="*/ 178394 h 1194393"/>
              <a:gd name="csX22" fmla="*/ 918452 w 2079576"/>
              <a:gd name="csY22" fmla="*/ 178394 h 1194393"/>
              <a:gd name="csX23" fmla="*/ 105862 w 2079576"/>
              <a:gd name="csY23" fmla="*/ 175942 h 1194393"/>
              <a:gd name="csX24" fmla="*/ 0 w 2079576"/>
              <a:gd name="csY24" fmla="*/ 7665 h 119439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</a:cxnLst>
            <a:rect l="l" t="t" r="r" b="b"/>
            <a:pathLst>
              <a:path w="2079576" h="1194393">
                <a:moveTo>
                  <a:pt x="1734208" y="893490"/>
                </a:moveTo>
                <a:lnTo>
                  <a:pt x="1740954" y="893490"/>
                </a:lnTo>
                <a:lnTo>
                  <a:pt x="2079576" y="1194392"/>
                </a:lnTo>
                <a:lnTo>
                  <a:pt x="1492572" y="1194392"/>
                </a:lnTo>
                <a:lnTo>
                  <a:pt x="1492573" y="1194393"/>
                </a:lnTo>
                <a:lnTo>
                  <a:pt x="957918" y="1194393"/>
                </a:lnTo>
                <a:lnTo>
                  <a:pt x="706177" y="893491"/>
                </a:lnTo>
                <a:lnTo>
                  <a:pt x="1734209" y="893491"/>
                </a:lnTo>
                <a:close/>
                <a:moveTo>
                  <a:pt x="1428628" y="612504"/>
                </a:moveTo>
                <a:lnTo>
                  <a:pt x="1433390" y="617266"/>
                </a:lnTo>
                <a:lnTo>
                  <a:pt x="1430104" y="617266"/>
                </a:lnTo>
                <a:lnTo>
                  <a:pt x="1424767" y="612523"/>
                </a:lnTo>
                <a:close/>
                <a:moveTo>
                  <a:pt x="283831" y="388666"/>
                </a:moveTo>
                <a:lnTo>
                  <a:pt x="631714" y="388666"/>
                </a:lnTo>
                <a:lnTo>
                  <a:pt x="1158324" y="388666"/>
                </a:lnTo>
                <a:lnTo>
                  <a:pt x="1172848" y="388666"/>
                </a:lnTo>
                <a:lnTo>
                  <a:pt x="1424767" y="612523"/>
                </a:lnTo>
                <a:lnTo>
                  <a:pt x="475083" y="617267"/>
                </a:lnTo>
                <a:close/>
                <a:moveTo>
                  <a:pt x="735460" y="0"/>
                </a:moveTo>
                <a:lnTo>
                  <a:pt x="936218" y="178395"/>
                </a:lnTo>
                <a:lnTo>
                  <a:pt x="918454" y="178395"/>
                </a:lnTo>
                <a:lnTo>
                  <a:pt x="918453" y="178394"/>
                </a:lnTo>
                <a:lnTo>
                  <a:pt x="918452" y="178394"/>
                </a:lnTo>
                <a:lnTo>
                  <a:pt x="105862" y="175942"/>
                </a:lnTo>
                <a:lnTo>
                  <a:pt x="0" y="7665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1" name="Free-form: Shape 60">
            <a:extLst>
              <a:ext uri="{FF2B5EF4-FFF2-40B4-BE49-F238E27FC236}">
                <a16:creationId xmlns:a16="http://schemas.microsoft.com/office/drawing/2014/main" id="{908F6D0F-A335-F8F6-380B-8597CBD6B2CB}"/>
              </a:ext>
            </a:extLst>
          </p:cNvPr>
          <p:cNvSpPr/>
          <p:nvPr/>
        </p:nvSpPr>
        <p:spPr>
          <a:xfrm>
            <a:off x="7242213" y="3963111"/>
            <a:ext cx="812979" cy="173778"/>
          </a:xfrm>
          <a:custGeom>
            <a:avLst/>
            <a:gdLst>
              <a:gd name="csX0" fmla="*/ 0 w 983705"/>
              <a:gd name="csY0" fmla="*/ 0 h 210271"/>
              <a:gd name="csX1" fmla="*/ 807788 w 983705"/>
              <a:gd name="csY1" fmla="*/ 0 h 210271"/>
              <a:gd name="csX2" fmla="*/ 983705 w 983705"/>
              <a:gd name="csY2" fmla="*/ 210271 h 210271"/>
              <a:gd name="csX3" fmla="*/ 117151 w 983705"/>
              <a:gd name="csY3" fmla="*/ 210271 h 210271"/>
              <a:gd name="csX4" fmla="*/ 0 w 983705"/>
              <a:gd name="csY4" fmla="*/ 0 h 21027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983705" h="210271">
                <a:moveTo>
                  <a:pt x="0" y="0"/>
                </a:moveTo>
                <a:lnTo>
                  <a:pt x="807788" y="0"/>
                </a:lnTo>
                <a:lnTo>
                  <a:pt x="983705" y="210271"/>
                </a:lnTo>
                <a:lnTo>
                  <a:pt x="117151" y="21027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2" name="Free-form: Shape 61">
            <a:extLst>
              <a:ext uri="{FF2B5EF4-FFF2-40B4-BE49-F238E27FC236}">
                <a16:creationId xmlns:a16="http://schemas.microsoft.com/office/drawing/2014/main" id="{7E90BCC2-9C88-3BFF-8A40-F86A738C07C4}"/>
              </a:ext>
            </a:extLst>
          </p:cNvPr>
          <p:cNvSpPr/>
          <p:nvPr/>
        </p:nvSpPr>
        <p:spPr>
          <a:xfrm>
            <a:off x="3530352" y="4136888"/>
            <a:ext cx="863983" cy="188926"/>
          </a:xfrm>
          <a:custGeom>
            <a:avLst/>
            <a:gdLst>
              <a:gd name="csX0" fmla="*/ 191041 w 1045419"/>
              <a:gd name="csY0" fmla="*/ 0 h 228601"/>
              <a:gd name="csX1" fmla="*/ 1045419 w 1045419"/>
              <a:gd name="csY1" fmla="*/ 0 h 228601"/>
              <a:gd name="csX2" fmla="*/ 918418 w 1045419"/>
              <a:gd name="csY2" fmla="*/ 228601 h 228601"/>
              <a:gd name="csX3" fmla="*/ 0 w 1045419"/>
              <a:gd name="csY3" fmla="*/ 228601 h 228601"/>
              <a:gd name="csX4" fmla="*/ 191041 w 1045419"/>
              <a:gd name="csY4" fmla="*/ 0 h 22860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045419" h="228601">
                <a:moveTo>
                  <a:pt x="191041" y="0"/>
                </a:moveTo>
                <a:lnTo>
                  <a:pt x="1045419" y="0"/>
                </a:lnTo>
                <a:lnTo>
                  <a:pt x="918418" y="228601"/>
                </a:lnTo>
                <a:lnTo>
                  <a:pt x="0" y="228601"/>
                </a:lnTo>
                <a:lnTo>
                  <a:pt x="191041" y="0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3" name="Free-form: Shape 62">
            <a:extLst>
              <a:ext uri="{FF2B5EF4-FFF2-40B4-BE49-F238E27FC236}">
                <a16:creationId xmlns:a16="http://schemas.microsoft.com/office/drawing/2014/main" id="{128E79F6-70CD-5A99-7E69-763ADB154D32}"/>
              </a:ext>
            </a:extLst>
          </p:cNvPr>
          <p:cNvSpPr/>
          <p:nvPr/>
        </p:nvSpPr>
        <p:spPr>
          <a:xfrm>
            <a:off x="4162550" y="4325814"/>
            <a:ext cx="925121" cy="228284"/>
          </a:xfrm>
          <a:custGeom>
            <a:avLst/>
            <a:gdLst>
              <a:gd name="csX0" fmla="*/ 153458 w 1119397"/>
              <a:gd name="csY0" fmla="*/ 0 h 276224"/>
              <a:gd name="csX1" fmla="*/ 1119397 w 1119397"/>
              <a:gd name="csY1" fmla="*/ 0 h 276224"/>
              <a:gd name="csX2" fmla="*/ 1043709 w 1119397"/>
              <a:gd name="csY2" fmla="*/ 276224 h 276224"/>
              <a:gd name="csX3" fmla="*/ 0 w 1119397"/>
              <a:gd name="csY3" fmla="*/ 276224 h 276224"/>
              <a:gd name="csX4" fmla="*/ 153458 w 1119397"/>
              <a:gd name="csY4" fmla="*/ 0 h 27622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119397" h="276224">
                <a:moveTo>
                  <a:pt x="153458" y="0"/>
                </a:moveTo>
                <a:lnTo>
                  <a:pt x="1119397" y="0"/>
                </a:lnTo>
                <a:lnTo>
                  <a:pt x="1043709" y="276224"/>
                </a:lnTo>
                <a:lnTo>
                  <a:pt x="0" y="276224"/>
                </a:lnTo>
                <a:lnTo>
                  <a:pt x="153458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4" name="Free-form: Shape 63">
            <a:extLst>
              <a:ext uri="{FF2B5EF4-FFF2-40B4-BE49-F238E27FC236}">
                <a16:creationId xmlns:a16="http://schemas.microsoft.com/office/drawing/2014/main" id="{C2260F0F-03C9-48BE-7B5C-7B66FB164CEA}"/>
              </a:ext>
            </a:extLst>
          </p:cNvPr>
          <p:cNvSpPr/>
          <p:nvPr/>
        </p:nvSpPr>
        <p:spPr>
          <a:xfrm>
            <a:off x="5880610" y="4325814"/>
            <a:ext cx="839552" cy="228284"/>
          </a:xfrm>
          <a:custGeom>
            <a:avLst/>
            <a:gdLst>
              <a:gd name="csX0" fmla="*/ 1588 w 1015858"/>
              <a:gd name="csY0" fmla="*/ 0 h 276224"/>
              <a:gd name="csX1" fmla="*/ 937162 w 1015858"/>
              <a:gd name="csY1" fmla="*/ 0 h 276224"/>
              <a:gd name="csX2" fmla="*/ 1015858 w 1015858"/>
              <a:gd name="csY2" fmla="*/ 276224 h 276224"/>
              <a:gd name="csX3" fmla="*/ 0 w 1015858"/>
              <a:gd name="csY3" fmla="*/ 276224 h 276224"/>
              <a:gd name="csX4" fmla="*/ 1588 w 1015858"/>
              <a:gd name="csY4" fmla="*/ 0 h 27622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015858" h="276224">
                <a:moveTo>
                  <a:pt x="1588" y="0"/>
                </a:moveTo>
                <a:lnTo>
                  <a:pt x="937162" y="0"/>
                </a:lnTo>
                <a:lnTo>
                  <a:pt x="1015858" y="276224"/>
                </a:lnTo>
                <a:lnTo>
                  <a:pt x="0" y="276224"/>
                </a:lnTo>
                <a:lnTo>
                  <a:pt x="1588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5" name="Free-form: Shape 64">
            <a:extLst>
              <a:ext uri="{FF2B5EF4-FFF2-40B4-BE49-F238E27FC236}">
                <a16:creationId xmlns:a16="http://schemas.microsoft.com/office/drawing/2014/main" id="{11BFEE62-B647-109A-A7A6-5F76FF363309}"/>
              </a:ext>
            </a:extLst>
          </p:cNvPr>
          <p:cNvSpPr/>
          <p:nvPr/>
        </p:nvSpPr>
        <p:spPr>
          <a:xfrm>
            <a:off x="7444289" y="4325814"/>
            <a:ext cx="959949" cy="228284"/>
          </a:xfrm>
          <a:custGeom>
            <a:avLst/>
            <a:gdLst>
              <a:gd name="csX0" fmla="*/ 0 w 1161538"/>
              <a:gd name="csY0" fmla="*/ 0 h 276224"/>
              <a:gd name="csX1" fmla="*/ 930444 w 1161538"/>
              <a:gd name="csY1" fmla="*/ 0 h 276224"/>
              <a:gd name="csX2" fmla="*/ 1161538 w 1161538"/>
              <a:gd name="csY2" fmla="*/ 276224 h 276224"/>
              <a:gd name="csX3" fmla="*/ 153896 w 1161538"/>
              <a:gd name="csY3" fmla="*/ 276224 h 276224"/>
              <a:gd name="csX4" fmla="*/ 0 w 1161538"/>
              <a:gd name="csY4" fmla="*/ 0 h 27622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161538" h="276224">
                <a:moveTo>
                  <a:pt x="0" y="0"/>
                </a:moveTo>
                <a:lnTo>
                  <a:pt x="930444" y="0"/>
                </a:lnTo>
                <a:lnTo>
                  <a:pt x="1161538" y="276224"/>
                </a:lnTo>
                <a:lnTo>
                  <a:pt x="153896" y="276224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6" name="Free-form: Shape 65">
            <a:extLst>
              <a:ext uri="{FF2B5EF4-FFF2-40B4-BE49-F238E27FC236}">
                <a16:creationId xmlns:a16="http://schemas.microsoft.com/office/drawing/2014/main" id="{64282D57-DB27-6417-BD75-B644FB38E113}"/>
              </a:ext>
            </a:extLst>
          </p:cNvPr>
          <p:cNvSpPr/>
          <p:nvPr/>
        </p:nvSpPr>
        <p:spPr>
          <a:xfrm>
            <a:off x="1858430" y="4802778"/>
            <a:ext cx="1273326" cy="314908"/>
          </a:xfrm>
          <a:custGeom>
            <a:avLst/>
            <a:gdLst>
              <a:gd name="csX0" fmla="*/ 433404 w 1540725"/>
              <a:gd name="csY0" fmla="*/ 0 h 381039"/>
              <a:gd name="csX1" fmla="*/ 1540725 w 1540725"/>
              <a:gd name="csY1" fmla="*/ 0 h 381039"/>
              <a:gd name="csX2" fmla="*/ 1222293 w 1540725"/>
              <a:gd name="csY2" fmla="*/ 381039 h 381039"/>
              <a:gd name="csX3" fmla="*/ 0 w 1540725"/>
              <a:gd name="csY3" fmla="*/ 381039 h 381039"/>
              <a:gd name="csX4" fmla="*/ 433404 w 1540725"/>
              <a:gd name="csY4" fmla="*/ 0 h 38103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540725" h="381039">
                <a:moveTo>
                  <a:pt x="433404" y="0"/>
                </a:moveTo>
                <a:lnTo>
                  <a:pt x="1540725" y="0"/>
                </a:lnTo>
                <a:lnTo>
                  <a:pt x="1222293" y="381039"/>
                </a:lnTo>
                <a:lnTo>
                  <a:pt x="0" y="381039"/>
                </a:lnTo>
                <a:lnTo>
                  <a:pt x="433404" y="0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7" name="Free-form: Shape 66">
            <a:extLst>
              <a:ext uri="{FF2B5EF4-FFF2-40B4-BE49-F238E27FC236}">
                <a16:creationId xmlns:a16="http://schemas.microsoft.com/office/drawing/2014/main" id="{97BACCFF-1B4B-6F2C-77A5-2F31EA59A2C6}"/>
              </a:ext>
            </a:extLst>
          </p:cNvPr>
          <p:cNvSpPr/>
          <p:nvPr/>
        </p:nvSpPr>
        <p:spPr>
          <a:xfrm>
            <a:off x="3849446" y="4802778"/>
            <a:ext cx="1107531" cy="314908"/>
          </a:xfrm>
          <a:custGeom>
            <a:avLst/>
            <a:gdLst>
              <a:gd name="csX0" fmla="*/ 211688 w 1340113"/>
              <a:gd name="csY0" fmla="*/ 0 h 381039"/>
              <a:gd name="csX1" fmla="*/ 1340113 w 1340113"/>
              <a:gd name="csY1" fmla="*/ 0 h 381039"/>
              <a:gd name="csX2" fmla="*/ 1235704 w 1340113"/>
              <a:gd name="csY2" fmla="*/ 381039 h 381039"/>
              <a:gd name="csX3" fmla="*/ 0 w 1340113"/>
              <a:gd name="csY3" fmla="*/ 381039 h 381039"/>
              <a:gd name="csX4" fmla="*/ 211688 w 1340113"/>
              <a:gd name="csY4" fmla="*/ 0 h 38103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340113" h="381039">
                <a:moveTo>
                  <a:pt x="211688" y="0"/>
                </a:moveTo>
                <a:lnTo>
                  <a:pt x="1340113" y="0"/>
                </a:lnTo>
                <a:lnTo>
                  <a:pt x="1235704" y="381039"/>
                </a:lnTo>
                <a:lnTo>
                  <a:pt x="0" y="381039"/>
                </a:lnTo>
                <a:lnTo>
                  <a:pt x="211688" y="0"/>
                </a:lnTo>
                <a:close/>
              </a:path>
            </a:pathLst>
          </a:custGeom>
          <a:solidFill>
            <a:srgbClr val="DDE5E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8" name="Free-form: Shape 67">
            <a:extLst>
              <a:ext uri="{FF2B5EF4-FFF2-40B4-BE49-F238E27FC236}">
                <a16:creationId xmlns:a16="http://schemas.microsoft.com/office/drawing/2014/main" id="{5CB51B97-80AB-543A-FC41-1B5668F720DB}"/>
              </a:ext>
            </a:extLst>
          </p:cNvPr>
          <p:cNvSpPr/>
          <p:nvPr/>
        </p:nvSpPr>
        <p:spPr>
          <a:xfrm>
            <a:off x="5877372" y="4802778"/>
            <a:ext cx="1003356" cy="314908"/>
          </a:xfrm>
          <a:custGeom>
            <a:avLst/>
            <a:gdLst>
              <a:gd name="csX0" fmla="*/ 2190 w 1214061"/>
              <a:gd name="csY0" fmla="*/ 0 h 381039"/>
              <a:gd name="csX1" fmla="*/ 1105503 w 1214061"/>
              <a:gd name="csY1" fmla="*/ 0 h 381039"/>
              <a:gd name="csX2" fmla="*/ 1214061 w 1214061"/>
              <a:gd name="csY2" fmla="*/ 381039 h 381039"/>
              <a:gd name="csX3" fmla="*/ 0 w 1214061"/>
              <a:gd name="csY3" fmla="*/ 381039 h 381039"/>
              <a:gd name="csX4" fmla="*/ 2190 w 1214061"/>
              <a:gd name="csY4" fmla="*/ 0 h 38103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214061" h="381039">
                <a:moveTo>
                  <a:pt x="2190" y="0"/>
                </a:moveTo>
                <a:lnTo>
                  <a:pt x="1105503" y="0"/>
                </a:lnTo>
                <a:lnTo>
                  <a:pt x="1214061" y="381039"/>
                </a:lnTo>
                <a:lnTo>
                  <a:pt x="0" y="381039"/>
                </a:lnTo>
                <a:lnTo>
                  <a:pt x="2190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9" name="Free-form: Shape 68">
            <a:extLst>
              <a:ext uri="{FF2B5EF4-FFF2-40B4-BE49-F238E27FC236}">
                <a16:creationId xmlns:a16="http://schemas.microsoft.com/office/drawing/2014/main" id="{9C3E0C35-6D70-0B2B-6523-B3E5D210CD90}"/>
              </a:ext>
            </a:extLst>
          </p:cNvPr>
          <p:cNvSpPr/>
          <p:nvPr/>
        </p:nvSpPr>
        <p:spPr>
          <a:xfrm>
            <a:off x="7710026" y="4802778"/>
            <a:ext cx="1165721" cy="314908"/>
          </a:xfrm>
          <a:custGeom>
            <a:avLst/>
            <a:gdLst>
              <a:gd name="csX0" fmla="*/ 0 w 1410522"/>
              <a:gd name="csY0" fmla="*/ 0 h 381039"/>
              <a:gd name="csX1" fmla="*/ 1091737 w 1410522"/>
              <a:gd name="csY1" fmla="*/ 0 h 381039"/>
              <a:gd name="csX2" fmla="*/ 1410522 w 1410522"/>
              <a:gd name="csY2" fmla="*/ 381039 h 381039"/>
              <a:gd name="csX3" fmla="*/ 212293 w 1410522"/>
              <a:gd name="csY3" fmla="*/ 381039 h 381039"/>
              <a:gd name="csX4" fmla="*/ 0 w 1410522"/>
              <a:gd name="csY4" fmla="*/ 0 h 38103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410522" h="381039">
                <a:moveTo>
                  <a:pt x="0" y="0"/>
                </a:moveTo>
                <a:lnTo>
                  <a:pt x="1091737" y="0"/>
                </a:lnTo>
                <a:lnTo>
                  <a:pt x="1410522" y="381039"/>
                </a:lnTo>
                <a:lnTo>
                  <a:pt x="212293" y="381039"/>
                </a:lnTo>
                <a:lnTo>
                  <a:pt x="0" y="0"/>
                </a:lnTo>
                <a:close/>
              </a:path>
            </a:pathLst>
          </a:custGeom>
          <a:solidFill>
            <a:srgbClr val="DDE5E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0" name="Oval 69">
            <a:extLst>
              <a:ext uri="{FF2B5EF4-FFF2-40B4-BE49-F238E27FC236}">
                <a16:creationId xmlns:a16="http://schemas.microsoft.com/office/drawing/2014/main" id="{0129CA54-6C2F-7E9B-491F-BC8AB646B356}"/>
              </a:ext>
            </a:extLst>
          </p:cNvPr>
          <p:cNvSpPr/>
          <p:nvPr/>
        </p:nvSpPr>
        <p:spPr>
          <a:xfrm>
            <a:off x="3224920" y="3795707"/>
            <a:ext cx="656485" cy="147620"/>
          </a:xfrm>
          <a:prstGeom prst="ellipse">
            <a:avLst/>
          </a:prstGeom>
          <a:solidFill>
            <a:schemeClr val="tx1">
              <a:alpha val="5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1" name="Free-form: Shape 70">
            <a:extLst>
              <a:ext uri="{FF2B5EF4-FFF2-40B4-BE49-F238E27FC236}">
                <a16:creationId xmlns:a16="http://schemas.microsoft.com/office/drawing/2014/main" id="{8E71C5AC-889F-B0D9-BC35-979BB2537AC1}"/>
              </a:ext>
            </a:extLst>
          </p:cNvPr>
          <p:cNvSpPr/>
          <p:nvPr/>
        </p:nvSpPr>
        <p:spPr>
          <a:xfrm>
            <a:off x="3138941" y="3048427"/>
            <a:ext cx="880396" cy="841622"/>
          </a:xfrm>
          <a:custGeom>
            <a:avLst/>
            <a:gdLst>
              <a:gd name="csX0" fmla="*/ 401579 w 1609516"/>
              <a:gd name="csY0" fmla="*/ 1495809 h 1538630"/>
              <a:gd name="csX1" fmla="*/ 400190 w 1609516"/>
              <a:gd name="csY1" fmla="*/ 1496004 h 1538630"/>
              <a:gd name="csX2" fmla="*/ 401224 w 1609516"/>
              <a:gd name="csY2" fmla="*/ 1496470 h 1538630"/>
              <a:gd name="csX3" fmla="*/ 401224 w 1609516"/>
              <a:gd name="csY3" fmla="*/ 1498590 h 1538630"/>
              <a:gd name="csX4" fmla="*/ 401579 w 1609516"/>
              <a:gd name="csY4" fmla="*/ 1498628 h 1538630"/>
              <a:gd name="csX5" fmla="*/ 401579 w 1609516"/>
              <a:gd name="csY5" fmla="*/ 1495809 h 1538630"/>
              <a:gd name="csX6" fmla="*/ 368755 w 1609516"/>
              <a:gd name="csY6" fmla="*/ 1486512 h 1538630"/>
              <a:gd name="csX7" fmla="*/ 364089 w 1609516"/>
              <a:gd name="csY7" fmla="*/ 1487354 h 1538630"/>
              <a:gd name="csX8" fmla="*/ 364089 w 1609516"/>
              <a:gd name="csY8" fmla="*/ 1487908 h 1538630"/>
              <a:gd name="csX9" fmla="*/ 1049801 w 1609516"/>
              <a:gd name="csY9" fmla="*/ 1484562 h 1538630"/>
              <a:gd name="csX10" fmla="*/ 1046735 w 1609516"/>
              <a:gd name="csY10" fmla="*/ 1485945 h 1538630"/>
              <a:gd name="csX11" fmla="*/ 1046955 w 1609516"/>
              <a:gd name="csY11" fmla="*/ 1486045 h 1538630"/>
              <a:gd name="csX12" fmla="*/ 1049801 w 1609516"/>
              <a:gd name="csY12" fmla="*/ 1485188 h 1538630"/>
              <a:gd name="csX13" fmla="*/ 351234 w 1609516"/>
              <a:gd name="csY13" fmla="*/ 1444508 h 1538630"/>
              <a:gd name="csX14" fmla="*/ 351234 w 1609516"/>
              <a:gd name="csY14" fmla="*/ 1444997 h 1538630"/>
              <a:gd name="csX15" fmla="*/ 351592 w 1609516"/>
              <a:gd name="csY15" fmla="*/ 1445078 h 1538630"/>
              <a:gd name="csX16" fmla="*/ 351908 w 1609516"/>
              <a:gd name="csY16" fmla="*/ 1431206 h 1538630"/>
              <a:gd name="csX17" fmla="*/ 351234 w 1609516"/>
              <a:gd name="csY17" fmla="*/ 1431611 h 1538630"/>
              <a:gd name="csX18" fmla="*/ 351234 w 1609516"/>
              <a:gd name="csY18" fmla="*/ 1432274 h 1538630"/>
              <a:gd name="csX19" fmla="*/ 358162 w 1609516"/>
              <a:gd name="csY19" fmla="*/ 1421494 h 1538630"/>
              <a:gd name="csX20" fmla="*/ 355921 w 1609516"/>
              <a:gd name="csY20" fmla="*/ 1423156 h 1538630"/>
              <a:gd name="csX21" fmla="*/ 355921 w 1609516"/>
              <a:gd name="csY21" fmla="*/ 1423548 h 1538630"/>
              <a:gd name="csX22" fmla="*/ 376098 w 1609516"/>
              <a:gd name="csY22" fmla="*/ 1408347 h 1538630"/>
              <a:gd name="csX23" fmla="*/ 370750 w 1609516"/>
              <a:gd name="csY23" fmla="*/ 1412245 h 1538630"/>
              <a:gd name="csX24" fmla="*/ 375023 w 1609516"/>
              <a:gd name="csY24" fmla="*/ 1411256 h 1538630"/>
              <a:gd name="csX25" fmla="*/ 421956 w 1609516"/>
              <a:gd name="csY25" fmla="*/ 1365623 h 1538630"/>
              <a:gd name="csX26" fmla="*/ 421765 w 1609516"/>
              <a:gd name="csY26" fmla="*/ 1366161 h 1538630"/>
              <a:gd name="csX27" fmla="*/ 421887 w 1609516"/>
              <a:gd name="csY27" fmla="*/ 1366161 h 1538630"/>
              <a:gd name="csX28" fmla="*/ 754553 w 1609516"/>
              <a:gd name="csY28" fmla="*/ 1360575 h 1538630"/>
              <a:gd name="csX29" fmla="*/ 754089 w 1609516"/>
              <a:gd name="csY29" fmla="*/ 1361433 h 1538630"/>
              <a:gd name="csX30" fmla="*/ 754431 w 1609516"/>
              <a:gd name="csY30" fmla="*/ 1361125 h 1538630"/>
              <a:gd name="csX31" fmla="*/ 1277973 w 1609516"/>
              <a:gd name="csY31" fmla="*/ 1332923 h 1538630"/>
              <a:gd name="csX32" fmla="*/ 1277944 w 1609516"/>
              <a:gd name="csY32" fmla="*/ 1332936 h 1538630"/>
              <a:gd name="csX33" fmla="*/ 1277949 w 1609516"/>
              <a:gd name="csY33" fmla="*/ 1333139 h 1538630"/>
              <a:gd name="csX34" fmla="*/ 1268556 w 1609516"/>
              <a:gd name="csY34" fmla="*/ 1321066 h 1538630"/>
              <a:gd name="csX35" fmla="*/ 1268556 w 1609516"/>
              <a:gd name="csY35" fmla="*/ 1325294 h 1538630"/>
              <a:gd name="csX36" fmla="*/ 1265432 w 1609516"/>
              <a:gd name="csY36" fmla="*/ 1325294 h 1538630"/>
              <a:gd name="csX37" fmla="*/ 1265432 w 1609516"/>
              <a:gd name="csY37" fmla="*/ 1340795 h 1538630"/>
              <a:gd name="csX38" fmla="*/ 1265476 w 1609516"/>
              <a:gd name="csY38" fmla="*/ 1340714 h 1538630"/>
              <a:gd name="csX39" fmla="*/ 1265476 w 1609516"/>
              <a:gd name="csY39" fmla="*/ 1325877 h 1538630"/>
              <a:gd name="csX40" fmla="*/ 1268600 w 1609516"/>
              <a:gd name="csY40" fmla="*/ 1325877 h 1538630"/>
              <a:gd name="csX41" fmla="*/ 1268600 w 1609516"/>
              <a:gd name="csY41" fmla="*/ 1321649 h 1538630"/>
              <a:gd name="csX42" fmla="*/ 1273286 w 1609516"/>
              <a:gd name="csY42" fmla="*/ 1321649 h 1538630"/>
              <a:gd name="csX43" fmla="*/ 1273227 w 1609516"/>
              <a:gd name="csY43" fmla="*/ 1321066 h 1538630"/>
              <a:gd name="csX44" fmla="*/ 827891 w 1609516"/>
              <a:gd name="csY44" fmla="*/ 1291474 h 1538630"/>
              <a:gd name="csX45" fmla="*/ 822601 w 1609516"/>
              <a:gd name="csY45" fmla="*/ 1291544 h 1538630"/>
              <a:gd name="csX46" fmla="*/ 818272 w 1609516"/>
              <a:gd name="csY46" fmla="*/ 1292220 h 1538630"/>
              <a:gd name="csX47" fmla="*/ 827891 w 1609516"/>
              <a:gd name="csY47" fmla="*/ 1292047 h 1538630"/>
              <a:gd name="csX48" fmla="*/ 856397 w 1609516"/>
              <a:gd name="csY48" fmla="*/ 1288691 h 1538630"/>
              <a:gd name="csX49" fmla="*/ 865903 w 1609516"/>
              <a:gd name="csY49" fmla="*/ 1290590 h 1538630"/>
              <a:gd name="csX50" fmla="*/ 859999 w 1609516"/>
              <a:gd name="csY50" fmla="*/ 1288752 h 1538630"/>
              <a:gd name="csX51" fmla="*/ 834694 w 1609516"/>
              <a:gd name="csY51" fmla="*/ 1288572 h 1538630"/>
              <a:gd name="csX52" fmla="*/ 828038 w 1609516"/>
              <a:gd name="csY52" fmla="*/ 1288654 h 1538630"/>
              <a:gd name="csX53" fmla="*/ 828038 w 1609516"/>
              <a:gd name="csY53" fmla="*/ 1289214 h 1538630"/>
              <a:gd name="csX54" fmla="*/ 229746 w 1609516"/>
              <a:gd name="csY54" fmla="*/ 1191418 h 1538630"/>
              <a:gd name="csX55" fmla="*/ 227402 w 1609516"/>
              <a:gd name="csY55" fmla="*/ 1191947 h 1538630"/>
              <a:gd name="csX56" fmla="*/ 229315 w 1609516"/>
              <a:gd name="csY56" fmla="*/ 1191947 h 1538630"/>
              <a:gd name="csX57" fmla="*/ 229315 w 1609516"/>
              <a:gd name="csY57" fmla="*/ 1194765 h 1538630"/>
              <a:gd name="csX58" fmla="*/ 231321 w 1609516"/>
              <a:gd name="csY58" fmla="*/ 1194765 h 1538630"/>
              <a:gd name="csX59" fmla="*/ 229746 w 1609516"/>
              <a:gd name="csY59" fmla="*/ 1194236 h 1538630"/>
              <a:gd name="csX60" fmla="*/ 229746 w 1609516"/>
              <a:gd name="csY60" fmla="*/ 1191418 h 1538630"/>
              <a:gd name="csX61" fmla="*/ 215687 w 1609516"/>
              <a:gd name="csY61" fmla="*/ 1187190 h 1538630"/>
              <a:gd name="csX62" fmla="*/ 215198 w 1609516"/>
              <a:gd name="csY62" fmla="*/ 1187720 h 1538630"/>
              <a:gd name="csX63" fmla="*/ 215256 w 1609516"/>
              <a:gd name="csY63" fmla="*/ 1187720 h 1538630"/>
              <a:gd name="csX64" fmla="*/ 215256 w 1609516"/>
              <a:gd name="csY64" fmla="*/ 1191947 h 1538630"/>
              <a:gd name="csX65" fmla="*/ 222721 w 1609516"/>
              <a:gd name="csY65" fmla="*/ 1191947 h 1538630"/>
              <a:gd name="csX66" fmla="*/ 215687 w 1609516"/>
              <a:gd name="csY66" fmla="*/ 1191418 h 1538630"/>
              <a:gd name="csX67" fmla="*/ 215687 w 1609516"/>
              <a:gd name="csY67" fmla="*/ 1187190 h 1538630"/>
              <a:gd name="csX68" fmla="*/ 1279678 w 1609516"/>
              <a:gd name="csY68" fmla="*/ 1082356 h 1538630"/>
              <a:gd name="csX69" fmla="*/ 1271680 w 1609516"/>
              <a:gd name="csY69" fmla="*/ 1084589 h 1538630"/>
              <a:gd name="csX70" fmla="*/ 1282181 w 1609516"/>
              <a:gd name="csY70" fmla="*/ 1082544 h 1538630"/>
              <a:gd name="csX71" fmla="*/ 117703 w 1609516"/>
              <a:gd name="csY71" fmla="*/ 941507 h 1538630"/>
              <a:gd name="csX72" fmla="*/ 112587 w 1609516"/>
              <a:gd name="csY72" fmla="*/ 941985 h 1538630"/>
              <a:gd name="csX73" fmla="*/ 112565 w 1609516"/>
              <a:gd name="csY73" fmla="*/ 942333 h 1538630"/>
              <a:gd name="csX74" fmla="*/ 115665 w 1609516"/>
              <a:gd name="csY74" fmla="*/ 941837 h 1538630"/>
              <a:gd name="csX75" fmla="*/ 144268 w 1609516"/>
              <a:gd name="csY75" fmla="*/ 939395 h 1538630"/>
              <a:gd name="csX76" fmla="*/ 143354 w 1609516"/>
              <a:gd name="csY76" fmla="*/ 939580 h 1538630"/>
              <a:gd name="csX77" fmla="*/ 144077 w 1609516"/>
              <a:gd name="csY77" fmla="*/ 939739 h 1538630"/>
              <a:gd name="csX78" fmla="*/ 162575 w 1609516"/>
              <a:gd name="csY78" fmla="*/ 933530 h 1538630"/>
              <a:gd name="csX79" fmla="*/ 161704 w 1609516"/>
              <a:gd name="csY79" fmla="*/ 935101 h 1538630"/>
              <a:gd name="csX80" fmla="*/ 170045 w 1609516"/>
              <a:gd name="csY80" fmla="*/ 933585 h 1538630"/>
              <a:gd name="csX81" fmla="*/ 1321645 w 1609516"/>
              <a:gd name="csY81" fmla="*/ 918415 h 1538630"/>
              <a:gd name="csX82" fmla="*/ 1321534 w 1609516"/>
              <a:gd name="csY82" fmla="*/ 920177 h 1538630"/>
              <a:gd name="csX83" fmla="*/ 1321740 w 1609516"/>
              <a:gd name="csY83" fmla="*/ 918415 h 1538630"/>
              <a:gd name="csX84" fmla="*/ 1319333 w 1609516"/>
              <a:gd name="csY84" fmla="*/ 915183 h 1538630"/>
              <a:gd name="csX85" fmla="*/ 1318544 w 1609516"/>
              <a:gd name="csY85" fmla="*/ 918029 h 1538630"/>
              <a:gd name="csX86" fmla="*/ 1318702 w 1609516"/>
              <a:gd name="csY86" fmla="*/ 918029 h 1538630"/>
              <a:gd name="csX87" fmla="*/ 1326355 w 1609516"/>
              <a:gd name="csY87" fmla="*/ 907109 h 1538630"/>
              <a:gd name="csX88" fmla="*/ 1326355 w 1609516"/>
              <a:gd name="csY88" fmla="*/ 910983 h 1538630"/>
              <a:gd name="csX89" fmla="*/ 1325831 w 1609516"/>
              <a:gd name="csY89" fmla="*/ 911101 h 1538630"/>
              <a:gd name="csX90" fmla="*/ 1326426 w 1609516"/>
              <a:gd name="csY90" fmla="*/ 911369 h 1538630"/>
              <a:gd name="csX91" fmla="*/ 1326426 w 1609516"/>
              <a:gd name="csY91" fmla="*/ 907141 h 1538630"/>
              <a:gd name="csX92" fmla="*/ 1328144 w 1609516"/>
              <a:gd name="csY92" fmla="*/ 892192 h 1538630"/>
              <a:gd name="csX93" fmla="*/ 1327667 w 1609516"/>
              <a:gd name="csY93" fmla="*/ 893446 h 1538630"/>
              <a:gd name="csX94" fmla="*/ 1327989 w 1609516"/>
              <a:gd name="csY94" fmla="*/ 893049 h 1538630"/>
              <a:gd name="csX95" fmla="*/ 49605 w 1609516"/>
              <a:gd name="csY95" fmla="*/ 887420 h 1538630"/>
              <a:gd name="csX96" fmla="*/ 48549 w 1609516"/>
              <a:gd name="csY96" fmla="*/ 891229 h 1538630"/>
              <a:gd name="csX97" fmla="*/ 49956 w 1609516"/>
              <a:gd name="csY97" fmla="*/ 887420 h 1538630"/>
              <a:gd name="csX98" fmla="*/ 1332266 w 1609516"/>
              <a:gd name="csY98" fmla="*/ 883369 h 1538630"/>
              <a:gd name="csX99" fmla="*/ 1329479 w 1609516"/>
              <a:gd name="csY99" fmla="*/ 884207 h 1538630"/>
              <a:gd name="csX100" fmla="*/ 1329509 w 1609516"/>
              <a:gd name="csY100" fmla="*/ 884816 h 1538630"/>
              <a:gd name="csX101" fmla="*/ 1329551 w 1609516"/>
              <a:gd name="csY101" fmla="*/ 884594 h 1538630"/>
              <a:gd name="csX102" fmla="*/ 1555987 w 1609516"/>
              <a:gd name="csY102" fmla="*/ 821766 h 1538630"/>
              <a:gd name="csX103" fmla="*/ 1555987 w 1609516"/>
              <a:gd name="csY103" fmla="*/ 822201 h 1538630"/>
              <a:gd name="csX104" fmla="*/ 1556081 w 1609516"/>
              <a:gd name="csY104" fmla="*/ 822189 h 1538630"/>
              <a:gd name="csX105" fmla="*/ 1565360 w 1609516"/>
              <a:gd name="csY105" fmla="*/ 810928 h 1538630"/>
              <a:gd name="csX106" fmla="*/ 1564871 w 1609516"/>
              <a:gd name="csY106" fmla="*/ 811809 h 1538630"/>
              <a:gd name="csX107" fmla="*/ 1567314 w 1609516"/>
              <a:gd name="csY107" fmla="*/ 810928 h 1538630"/>
              <a:gd name="csX108" fmla="*/ 1563797 w 1609516"/>
              <a:gd name="csY108" fmla="*/ 810928 h 1538630"/>
              <a:gd name="csX109" fmla="*/ 1556762 w 1609516"/>
              <a:gd name="csY109" fmla="*/ 814736 h 1538630"/>
              <a:gd name="csX110" fmla="*/ 1563797 w 1609516"/>
              <a:gd name="csY110" fmla="*/ 812197 h 1538630"/>
              <a:gd name="csX111" fmla="*/ 265833 w 1609516"/>
              <a:gd name="csY111" fmla="*/ 806020 h 1538630"/>
              <a:gd name="csX112" fmla="*/ 263704 w 1609516"/>
              <a:gd name="csY112" fmla="*/ 809861 h 1538630"/>
              <a:gd name="csX113" fmla="*/ 263704 w 1609516"/>
              <a:gd name="csY113" fmla="*/ 816750 h 1538630"/>
              <a:gd name="csX114" fmla="*/ 264113 w 1609516"/>
              <a:gd name="csY114" fmla="*/ 816565 h 1538630"/>
              <a:gd name="csX115" fmla="*/ 263918 w 1609516"/>
              <a:gd name="csY115" fmla="*/ 812777 h 1538630"/>
              <a:gd name="csX116" fmla="*/ 263774 w 1609516"/>
              <a:gd name="csY116" fmla="*/ 779374 h 1538630"/>
              <a:gd name="csX117" fmla="*/ 263704 w 1609516"/>
              <a:gd name="csY117" fmla="*/ 783086 h 1538630"/>
              <a:gd name="csX118" fmla="*/ 264484 w 1609516"/>
              <a:gd name="csY118" fmla="*/ 785816 h 1538630"/>
              <a:gd name="csX119" fmla="*/ 265265 w 1609516"/>
              <a:gd name="csY119" fmla="*/ 794448 h 1538630"/>
              <a:gd name="csX120" fmla="*/ 265217 w 1609516"/>
              <a:gd name="csY120" fmla="*/ 799730 h 1538630"/>
              <a:gd name="csX121" fmla="*/ 266556 w 1609516"/>
              <a:gd name="csY121" fmla="*/ 803466 h 1538630"/>
              <a:gd name="csX122" fmla="*/ 267237 w 1609516"/>
              <a:gd name="csY122" fmla="*/ 801063 h 1538630"/>
              <a:gd name="csX123" fmla="*/ 265675 w 1609516"/>
              <a:gd name="csY123" fmla="*/ 799654 h 1538630"/>
              <a:gd name="csX124" fmla="*/ 265675 w 1609516"/>
              <a:gd name="csY124" fmla="*/ 793841 h 1538630"/>
              <a:gd name="csX125" fmla="*/ 260988 w 1609516"/>
              <a:gd name="csY125" fmla="*/ 770061 h 1538630"/>
              <a:gd name="csX126" fmla="*/ 260988 w 1609516"/>
              <a:gd name="csY126" fmla="*/ 771364 h 1538630"/>
              <a:gd name="csX127" fmla="*/ 263497 w 1609516"/>
              <a:gd name="csY127" fmla="*/ 777263 h 1538630"/>
              <a:gd name="csX128" fmla="*/ 262551 w 1609516"/>
              <a:gd name="csY128" fmla="*/ 770061 h 1538630"/>
              <a:gd name="csX129" fmla="*/ 260988 w 1609516"/>
              <a:gd name="csY129" fmla="*/ 770061 h 1538630"/>
              <a:gd name="csX130" fmla="*/ 157888 w 1609516"/>
              <a:gd name="csY130" fmla="*/ 651686 h 1538630"/>
              <a:gd name="csX131" fmla="*/ 157415 w 1609516"/>
              <a:gd name="csY131" fmla="*/ 651764 h 1538630"/>
              <a:gd name="csX132" fmla="*/ 160373 w 1609516"/>
              <a:gd name="csY132" fmla="*/ 652274 h 1538630"/>
              <a:gd name="csX133" fmla="*/ 267237 w 1609516"/>
              <a:gd name="csY133" fmla="*/ 426537 h 1538630"/>
              <a:gd name="csX134" fmla="*/ 267237 w 1609516"/>
              <a:gd name="csY134" fmla="*/ 427619 h 1538630"/>
              <a:gd name="csX135" fmla="*/ 270380 w 1609516"/>
              <a:gd name="csY135" fmla="*/ 428137 h 1538630"/>
              <a:gd name="csX136" fmla="*/ 273548 w 1609516"/>
              <a:gd name="csY136" fmla="*/ 428680 h 1538630"/>
              <a:gd name="csX137" fmla="*/ 37605 w 1609516"/>
              <a:gd name="csY137" fmla="*/ 359270 h 1538630"/>
              <a:gd name="csX138" fmla="*/ 37103 w 1609516"/>
              <a:gd name="csY138" fmla="*/ 361533 h 1538630"/>
              <a:gd name="csX139" fmla="*/ 37605 w 1609516"/>
              <a:gd name="csY139" fmla="*/ 361382 h 1538630"/>
              <a:gd name="csX140" fmla="*/ 52477 w 1609516"/>
              <a:gd name="csY140" fmla="*/ 337570 h 1538630"/>
              <a:gd name="csX141" fmla="*/ 47288 w 1609516"/>
              <a:gd name="csY141" fmla="*/ 342340 h 1538630"/>
              <a:gd name="csX142" fmla="*/ 45805 w 1609516"/>
              <a:gd name="csY142" fmla="*/ 345093 h 1538630"/>
              <a:gd name="csX143" fmla="*/ 104291 w 1609516"/>
              <a:gd name="csY143" fmla="*/ 336166 h 1538630"/>
              <a:gd name="csX144" fmla="*/ 103776 w 1609516"/>
              <a:gd name="csY144" fmla="*/ 337559 h 1538630"/>
              <a:gd name="csX145" fmla="*/ 108925 w 1609516"/>
              <a:gd name="csY145" fmla="*/ 336166 h 1538630"/>
              <a:gd name="csX146" fmla="*/ 1309237 w 1609516"/>
              <a:gd name="csY146" fmla="*/ 322954 h 1538630"/>
              <a:gd name="csX147" fmla="*/ 1309180 w 1609516"/>
              <a:gd name="csY147" fmla="*/ 330559 h 1538630"/>
              <a:gd name="csX148" fmla="*/ 1309237 w 1609516"/>
              <a:gd name="csY148" fmla="*/ 330520 h 1538630"/>
              <a:gd name="csX149" fmla="*/ 1308964 w 1609516"/>
              <a:gd name="csY149" fmla="*/ 317715 h 1538630"/>
              <a:gd name="csX150" fmla="*/ 1309237 w 1609516"/>
              <a:gd name="csY150" fmla="*/ 318569 h 1538630"/>
              <a:gd name="csX151" fmla="*/ 1309237 w 1609516"/>
              <a:gd name="csY151" fmla="*/ 317838 h 1538630"/>
              <a:gd name="csX152" fmla="*/ 1310087 w 1609516"/>
              <a:gd name="csY152" fmla="*/ 313153 h 1538630"/>
              <a:gd name="csX153" fmla="*/ 1307609 w 1609516"/>
              <a:gd name="csY153" fmla="*/ 313473 h 1538630"/>
              <a:gd name="csX154" fmla="*/ 1308045 w 1609516"/>
              <a:gd name="csY154" fmla="*/ 314836 h 1538630"/>
              <a:gd name="csX155" fmla="*/ 1318544 w 1609516"/>
              <a:gd name="csY155" fmla="*/ 312064 h 1538630"/>
              <a:gd name="csX156" fmla="*/ 1316298 w 1609516"/>
              <a:gd name="csY156" fmla="*/ 312353 h 1538630"/>
              <a:gd name="csX157" fmla="*/ 1318544 w 1609516"/>
              <a:gd name="csY157" fmla="*/ 312205 h 1538630"/>
              <a:gd name="csX158" fmla="*/ 1084622 w 1609516"/>
              <a:gd name="csY158" fmla="*/ 267674 h 1538630"/>
              <a:gd name="csX159" fmla="*/ 1084227 w 1609516"/>
              <a:gd name="csY159" fmla="*/ 268378 h 1538630"/>
              <a:gd name="csX160" fmla="*/ 1079540 w 1609516"/>
              <a:gd name="csY160" fmla="*/ 268378 h 1538630"/>
              <a:gd name="csX161" fmla="*/ 1079603 w 1609516"/>
              <a:gd name="csY161" fmla="*/ 268477 h 1538630"/>
              <a:gd name="csX162" fmla="*/ 1084192 w 1609516"/>
              <a:gd name="csY162" fmla="*/ 268477 h 1538630"/>
              <a:gd name="csX163" fmla="*/ 956410 w 1609516"/>
              <a:gd name="csY163" fmla="*/ 266968 h 1538630"/>
              <a:gd name="csX164" fmla="*/ 957576 w 1609516"/>
              <a:gd name="csY164" fmla="*/ 267083 h 1538630"/>
              <a:gd name="csX165" fmla="*/ 957576 w 1609516"/>
              <a:gd name="csY165" fmla="*/ 269776 h 1538630"/>
              <a:gd name="csX166" fmla="*/ 957694 w 1609516"/>
              <a:gd name="csY166" fmla="*/ 269787 h 1538630"/>
              <a:gd name="csX167" fmla="*/ 957694 w 1609516"/>
              <a:gd name="csY167" fmla="*/ 266968 h 1538630"/>
              <a:gd name="csX168" fmla="*/ 1089372 w 1609516"/>
              <a:gd name="csY168" fmla="*/ 259220 h 1538630"/>
              <a:gd name="csX169" fmla="*/ 1085856 w 1609516"/>
              <a:gd name="csY169" fmla="*/ 265479 h 1538630"/>
              <a:gd name="csX170" fmla="*/ 1088878 w 1609516"/>
              <a:gd name="csY170" fmla="*/ 261431 h 1538630"/>
              <a:gd name="csX171" fmla="*/ 1018517 w 1609516"/>
              <a:gd name="csY171" fmla="*/ 223356 h 1538630"/>
              <a:gd name="csX172" fmla="*/ 1013866 w 1609516"/>
              <a:gd name="csY172" fmla="*/ 226190 h 1538630"/>
              <a:gd name="csX173" fmla="*/ 1013024 w 1609516"/>
              <a:gd name="csY173" fmla="*/ 227709 h 1538630"/>
              <a:gd name="csX174" fmla="*/ 1017055 w 1609516"/>
              <a:gd name="csY174" fmla="*/ 224692 h 1538630"/>
              <a:gd name="csX175" fmla="*/ 850645 w 1609516"/>
              <a:gd name="csY175" fmla="*/ 220099 h 1538630"/>
              <a:gd name="csX176" fmla="*/ 850897 w 1609516"/>
              <a:gd name="csY176" fmla="*/ 221488 h 1538630"/>
              <a:gd name="csX177" fmla="*/ 851470 w 1609516"/>
              <a:gd name="csY177" fmla="*/ 224692 h 1538630"/>
              <a:gd name="csX178" fmla="*/ 852860 w 1609516"/>
              <a:gd name="csY178" fmla="*/ 224692 h 1538630"/>
              <a:gd name="csX179" fmla="*/ 1155019 w 1609516"/>
              <a:gd name="csY179" fmla="*/ 35 h 1538630"/>
              <a:gd name="csX180" fmla="*/ 1174829 w 1609516"/>
              <a:gd name="csY180" fmla="*/ 4853 h 1538630"/>
              <a:gd name="csX181" fmla="*/ 1179418 w 1609516"/>
              <a:gd name="csY181" fmla="*/ 5998 h 1538630"/>
              <a:gd name="csX182" fmla="*/ 1201385 w 1609516"/>
              <a:gd name="csY182" fmla="*/ 22997 h 1538630"/>
              <a:gd name="csX183" fmla="*/ 1201678 w 1609516"/>
              <a:gd name="csY183" fmla="*/ 62191 h 1538630"/>
              <a:gd name="csX184" fmla="*/ 1198261 w 1609516"/>
              <a:gd name="csY184" fmla="*/ 68268 h 1538630"/>
              <a:gd name="csX185" fmla="*/ 1195723 w 1609516"/>
              <a:gd name="csY185" fmla="*/ 72672 h 1538630"/>
              <a:gd name="csX186" fmla="*/ 1193575 w 1609516"/>
              <a:gd name="csY186" fmla="*/ 75314 h 1538630"/>
              <a:gd name="csX187" fmla="*/ 1190450 w 1609516"/>
              <a:gd name="csY187" fmla="*/ 75314 h 1538630"/>
              <a:gd name="csX188" fmla="*/ 1189474 w 1609516"/>
              <a:gd name="csY188" fmla="*/ 79366 h 1538630"/>
              <a:gd name="csX189" fmla="*/ 1182445 w 1609516"/>
              <a:gd name="csY189" fmla="*/ 85707 h 1538630"/>
              <a:gd name="csX190" fmla="*/ 1177953 w 1609516"/>
              <a:gd name="csY190" fmla="*/ 86588 h 1538630"/>
              <a:gd name="csX191" fmla="*/ 1177953 w 1609516"/>
              <a:gd name="csY191" fmla="*/ 89406 h 1538630"/>
              <a:gd name="csX192" fmla="*/ 1170045 w 1609516"/>
              <a:gd name="csY192" fmla="*/ 94251 h 1538630"/>
              <a:gd name="csX193" fmla="*/ 1143806 w 1609516"/>
              <a:gd name="csY193" fmla="*/ 132828 h 1538630"/>
              <a:gd name="csX194" fmla="*/ 1137338 w 1609516"/>
              <a:gd name="csY194" fmla="*/ 141548 h 1538630"/>
              <a:gd name="csX195" fmla="*/ 1133970 w 1609516"/>
              <a:gd name="csY195" fmla="*/ 149403 h 1538630"/>
              <a:gd name="csX196" fmla="*/ 1127965 w 1609516"/>
              <a:gd name="csY196" fmla="*/ 164095 h 1538630"/>
              <a:gd name="csX197" fmla="*/ 1124762 w 1609516"/>
              <a:gd name="csY197" fmla="*/ 171802 h 1538630"/>
              <a:gd name="csX198" fmla="*/ 1119359 w 1609516"/>
              <a:gd name="csY198" fmla="*/ 184798 h 1538630"/>
              <a:gd name="csX199" fmla="*/ 1111014 w 1609516"/>
              <a:gd name="csY199" fmla="*/ 204941 h 1538630"/>
              <a:gd name="csX200" fmla="*/ 1109729 w 1609516"/>
              <a:gd name="csY200" fmla="*/ 208059 h 1538630"/>
              <a:gd name="csX201" fmla="*/ 1106395 w 1609516"/>
              <a:gd name="csY201" fmla="*/ 216170 h 1538630"/>
              <a:gd name="csX202" fmla="*/ 1102147 w 1609516"/>
              <a:gd name="csY202" fmla="*/ 224810 h 1538630"/>
              <a:gd name="csX203" fmla="*/ 1098261 w 1609516"/>
              <a:gd name="csY203" fmla="*/ 227262 h 1538630"/>
              <a:gd name="csX204" fmla="*/ 1098367 w 1609516"/>
              <a:gd name="csY204" fmla="*/ 238475 h 1538630"/>
              <a:gd name="csX205" fmla="*/ 1097331 w 1609516"/>
              <a:gd name="csY205" fmla="*/ 242358 h 1538630"/>
              <a:gd name="csX206" fmla="*/ 1096201 w 1609516"/>
              <a:gd name="csY206" fmla="*/ 246458 h 1538630"/>
              <a:gd name="csX207" fmla="*/ 1089440 w 1609516"/>
              <a:gd name="csY207" fmla="*/ 279206 h 1538630"/>
              <a:gd name="csX208" fmla="*/ 1087316 w 1609516"/>
              <a:gd name="csY208" fmla="*/ 283978 h 1538630"/>
              <a:gd name="csX209" fmla="*/ 1086822 w 1609516"/>
              <a:gd name="csY209" fmla="*/ 291822 h 1538630"/>
              <a:gd name="csX210" fmla="*/ 1086623 w 1609516"/>
              <a:gd name="csY210" fmla="*/ 296625 h 1538630"/>
              <a:gd name="csX211" fmla="*/ 1086437 w 1609516"/>
              <a:gd name="csY211" fmla="*/ 301681 h 1538630"/>
              <a:gd name="csX212" fmla="*/ 1086233 w 1609516"/>
              <a:gd name="csY212" fmla="*/ 306754 h 1538630"/>
              <a:gd name="csX213" fmla="*/ 1086007 w 1609516"/>
              <a:gd name="csY213" fmla="*/ 312619 h 1538630"/>
              <a:gd name="csX214" fmla="*/ 1087470 w 1609516"/>
              <a:gd name="csY214" fmla="*/ 320554 h 1538630"/>
              <a:gd name="csX215" fmla="*/ 1098285 w 1609516"/>
              <a:gd name="csY215" fmla="*/ 334611 h 1538630"/>
              <a:gd name="csX216" fmla="*/ 1102607 w 1609516"/>
              <a:gd name="csY216" fmla="*/ 337679 h 1538630"/>
              <a:gd name="csX217" fmla="*/ 1106095 w 1609516"/>
              <a:gd name="csY217" fmla="*/ 340248 h 1538630"/>
              <a:gd name="csX218" fmla="*/ 1106095 w 1609516"/>
              <a:gd name="csY218" fmla="*/ 343066 h 1538630"/>
              <a:gd name="csX219" fmla="*/ 1109220 w 1609516"/>
              <a:gd name="csY219" fmla="*/ 343419 h 1538630"/>
              <a:gd name="csX220" fmla="*/ 1126403 w 1609516"/>
              <a:gd name="csY220" fmla="*/ 350112 h 1538630"/>
              <a:gd name="csX221" fmla="*/ 1131871 w 1609516"/>
              <a:gd name="csY221" fmla="*/ 352579 h 1538630"/>
              <a:gd name="csX222" fmla="*/ 1135776 w 1609516"/>
              <a:gd name="csY222" fmla="*/ 354340 h 1538630"/>
              <a:gd name="csX223" fmla="*/ 1135776 w 1609516"/>
              <a:gd name="csY223" fmla="*/ 357158 h 1538630"/>
              <a:gd name="csX224" fmla="*/ 1170143 w 1609516"/>
              <a:gd name="csY224" fmla="*/ 354340 h 1538630"/>
              <a:gd name="csX225" fmla="*/ 1174634 w 1609516"/>
              <a:gd name="csY225" fmla="*/ 352579 h 1538630"/>
              <a:gd name="csX226" fmla="*/ 1190890 w 1609516"/>
              <a:gd name="csY226" fmla="*/ 342907 h 1538630"/>
              <a:gd name="csX227" fmla="*/ 1204021 w 1609516"/>
              <a:gd name="csY227" fmla="*/ 335404 h 1538630"/>
              <a:gd name="csX228" fmla="*/ 1223255 w 1609516"/>
              <a:gd name="csY228" fmla="*/ 319110 h 1538630"/>
              <a:gd name="csX229" fmla="*/ 1226868 w 1609516"/>
              <a:gd name="csY229" fmla="*/ 315587 h 1538630"/>
              <a:gd name="csX230" fmla="*/ 1231859 w 1609516"/>
              <a:gd name="csY230" fmla="*/ 303559 h 1538630"/>
              <a:gd name="csX231" fmla="*/ 1234178 w 1609516"/>
              <a:gd name="csY231" fmla="*/ 298059 h 1538630"/>
              <a:gd name="csX232" fmla="*/ 1237314 w 1609516"/>
              <a:gd name="csY232" fmla="*/ 288195 h 1538630"/>
              <a:gd name="csX233" fmla="*/ 1249811 w 1609516"/>
              <a:gd name="csY233" fmla="*/ 265559 h 1538630"/>
              <a:gd name="csX234" fmla="*/ 1252935 w 1609516"/>
              <a:gd name="csY234" fmla="*/ 265559 h 1538630"/>
              <a:gd name="csX235" fmla="*/ 1252935 w 1609516"/>
              <a:gd name="csY235" fmla="*/ 262741 h 1538630"/>
              <a:gd name="csX236" fmla="*/ 1296675 w 1609516"/>
              <a:gd name="csY236" fmla="*/ 252876 h 1538630"/>
              <a:gd name="csX237" fmla="*/ 1307609 w 1609516"/>
              <a:gd name="csY237" fmla="*/ 255695 h 1538630"/>
              <a:gd name="csX238" fmla="*/ 1307609 w 1609516"/>
              <a:gd name="csY238" fmla="*/ 258513 h 1538630"/>
              <a:gd name="csX239" fmla="*/ 1311887 w 1609516"/>
              <a:gd name="csY239" fmla="*/ 258832 h 1538630"/>
              <a:gd name="csX240" fmla="*/ 1326715 w 1609516"/>
              <a:gd name="csY240" fmla="*/ 269969 h 1538630"/>
              <a:gd name="csX241" fmla="*/ 1334165 w 1609516"/>
              <a:gd name="csY241" fmla="*/ 307836 h 1538630"/>
              <a:gd name="csX242" fmla="*/ 1329479 w 1609516"/>
              <a:gd name="csY242" fmla="*/ 314882 h 1538630"/>
              <a:gd name="csX243" fmla="*/ 1323231 w 1609516"/>
              <a:gd name="csY243" fmla="*/ 314882 h 1538630"/>
              <a:gd name="csX244" fmla="*/ 1323231 w 1609516"/>
              <a:gd name="csY244" fmla="*/ 317700 h 1538630"/>
              <a:gd name="csX245" fmla="*/ 1322774 w 1609516"/>
              <a:gd name="csY245" fmla="*/ 317838 h 1538630"/>
              <a:gd name="csX246" fmla="*/ 1323295 w 1609516"/>
              <a:gd name="csY246" fmla="*/ 317838 h 1538630"/>
              <a:gd name="csX247" fmla="*/ 1323295 w 1609516"/>
              <a:gd name="csY247" fmla="*/ 315019 h 1538630"/>
              <a:gd name="csX248" fmla="*/ 1327982 w 1609516"/>
              <a:gd name="csY248" fmla="*/ 315019 h 1538630"/>
              <a:gd name="csX249" fmla="*/ 1317047 w 1609516"/>
              <a:gd name="csY249" fmla="*/ 327702 h 1538630"/>
              <a:gd name="csX250" fmla="*/ 1315484 w 1609516"/>
              <a:gd name="csY250" fmla="*/ 331930 h 1538630"/>
              <a:gd name="csX251" fmla="*/ 1309139 w 1609516"/>
              <a:gd name="csY251" fmla="*/ 333603 h 1538630"/>
              <a:gd name="csX252" fmla="*/ 1305666 w 1609516"/>
              <a:gd name="csY252" fmla="*/ 334280 h 1538630"/>
              <a:gd name="csX253" fmla="*/ 1302988 w 1609516"/>
              <a:gd name="csY253" fmla="*/ 334748 h 1538630"/>
              <a:gd name="csX254" fmla="*/ 1305905 w 1609516"/>
              <a:gd name="csY254" fmla="*/ 332775 h 1538630"/>
              <a:gd name="csX255" fmla="*/ 1304485 w 1609516"/>
              <a:gd name="csY255" fmla="*/ 333202 h 1538630"/>
              <a:gd name="csX256" fmla="*/ 1301459 w 1609516"/>
              <a:gd name="csY256" fmla="*/ 336108 h 1538630"/>
              <a:gd name="csX257" fmla="*/ 1291989 w 1609516"/>
              <a:gd name="csY257" fmla="*/ 338839 h 1538630"/>
              <a:gd name="csX258" fmla="*/ 1290426 w 1609516"/>
              <a:gd name="csY258" fmla="*/ 343066 h 1538630"/>
              <a:gd name="csX259" fmla="*/ 1285740 w 1609516"/>
              <a:gd name="csY259" fmla="*/ 344123 h 1538630"/>
              <a:gd name="csX260" fmla="*/ 1237314 w 1609516"/>
              <a:gd name="csY260" fmla="*/ 382525 h 1538630"/>
              <a:gd name="csX261" fmla="*/ 1232628 w 1609516"/>
              <a:gd name="csY261" fmla="*/ 392389 h 1538630"/>
              <a:gd name="csX262" fmla="*/ 1228625 w 1609516"/>
              <a:gd name="csY262" fmla="*/ 398731 h 1538630"/>
              <a:gd name="csX263" fmla="*/ 1222822 w 1609516"/>
              <a:gd name="csY263" fmla="*/ 434798 h 1538630"/>
              <a:gd name="csX264" fmla="*/ 1260746 w 1609516"/>
              <a:gd name="csY264" fmla="*/ 485398 h 1538630"/>
              <a:gd name="csX265" fmla="*/ 1268556 w 1609516"/>
              <a:gd name="csY265" fmla="*/ 488216 h 1538630"/>
              <a:gd name="csX266" fmla="*/ 1268556 w 1609516"/>
              <a:gd name="csY266" fmla="*/ 491034 h 1538630"/>
              <a:gd name="csX267" fmla="*/ 1338852 w 1609516"/>
              <a:gd name="csY267" fmla="*/ 489625 h 1538630"/>
              <a:gd name="csX268" fmla="*/ 1347444 w 1609516"/>
              <a:gd name="csY268" fmla="*/ 488480 h 1538630"/>
              <a:gd name="csX269" fmla="*/ 1369362 w 1609516"/>
              <a:gd name="csY269" fmla="*/ 482513 h 1538630"/>
              <a:gd name="csX270" fmla="*/ 1388840 w 1609516"/>
              <a:gd name="csY270" fmla="*/ 478351 h 1538630"/>
              <a:gd name="csX271" fmla="*/ 1388840 w 1609516"/>
              <a:gd name="csY271" fmla="*/ 475533 h 1538630"/>
              <a:gd name="csX272" fmla="*/ 1395576 w 1609516"/>
              <a:gd name="csY272" fmla="*/ 473419 h 1538630"/>
              <a:gd name="csX273" fmla="*/ 1399365 w 1609516"/>
              <a:gd name="csY273" fmla="*/ 472230 h 1538630"/>
              <a:gd name="csX274" fmla="*/ 1407585 w 1609516"/>
              <a:gd name="csY274" fmla="*/ 471305 h 1538630"/>
              <a:gd name="csX275" fmla="*/ 1409147 w 1609516"/>
              <a:gd name="csY275" fmla="*/ 467078 h 1538630"/>
              <a:gd name="csX276" fmla="*/ 1416470 w 1609516"/>
              <a:gd name="csY276" fmla="*/ 464259 h 1538630"/>
              <a:gd name="csX277" fmla="*/ 1437949 w 1609516"/>
              <a:gd name="csY277" fmla="*/ 455011 h 1538630"/>
              <a:gd name="csX278" fmla="*/ 1452887 w 1609516"/>
              <a:gd name="csY278" fmla="*/ 450167 h 1538630"/>
              <a:gd name="csX279" fmla="*/ 1452887 w 1609516"/>
              <a:gd name="csY279" fmla="*/ 447349 h 1538630"/>
              <a:gd name="csX280" fmla="*/ 1455394 w 1609516"/>
              <a:gd name="csY280" fmla="*/ 446122 h 1538630"/>
              <a:gd name="csX281" fmla="*/ 1466653 w 1609516"/>
              <a:gd name="csY281" fmla="*/ 440567 h 1538630"/>
              <a:gd name="csX282" fmla="*/ 1470598 w 1609516"/>
              <a:gd name="csY282" fmla="*/ 438637 h 1538630"/>
              <a:gd name="csX283" fmla="*/ 1474397 w 1609516"/>
              <a:gd name="csY283" fmla="*/ 436752 h 1538630"/>
              <a:gd name="csX284" fmla="*/ 1477892 w 1609516"/>
              <a:gd name="csY284" fmla="*/ 435030 h 1538630"/>
              <a:gd name="csX285" fmla="*/ 1485691 w 1609516"/>
              <a:gd name="csY285" fmla="*/ 429029 h 1538630"/>
              <a:gd name="csX286" fmla="*/ 1488858 w 1609516"/>
              <a:gd name="csY286" fmla="*/ 427653 h 1538630"/>
              <a:gd name="csX287" fmla="*/ 1495943 w 1609516"/>
              <a:gd name="csY287" fmla="*/ 421454 h 1538630"/>
              <a:gd name="csX288" fmla="*/ 1538608 w 1609516"/>
              <a:gd name="csY288" fmla="*/ 388338 h 1538630"/>
              <a:gd name="csX289" fmla="*/ 1543490 w 1609516"/>
              <a:gd name="csY289" fmla="*/ 388161 h 1538630"/>
              <a:gd name="csX290" fmla="*/ 1547621 w 1609516"/>
              <a:gd name="csY290" fmla="*/ 387804 h 1538630"/>
              <a:gd name="csX291" fmla="*/ 1579418 w 1609516"/>
              <a:gd name="csY291" fmla="*/ 396617 h 1538630"/>
              <a:gd name="csX292" fmla="*/ 1583342 w 1609516"/>
              <a:gd name="csY292" fmla="*/ 398780 h 1538630"/>
              <a:gd name="csX293" fmla="*/ 1601288 w 1609516"/>
              <a:gd name="csY293" fmla="*/ 423392 h 1538630"/>
              <a:gd name="csX294" fmla="*/ 1594484 w 1609516"/>
              <a:gd name="csY294" fmla="*/ 460159 h 1538630"/>
              <a:gd name="csX295" fmla="*/ 1574732 w 1609516"/>
              <a:gd name="csY295" fmla="*/ 475533 h 1538630"/>
              <a:gd name="csX296" fmla="*/ 1572097 w 1609516"/>
              <a:gd name="csY296" fmla="*/ 477078 h 1538630"/>
              <a:gd name="csX297" fmla="*/ 1556066 w 1609516"/>
              <a:gd name="csY297" fmla="*/ 478737 h 1538630"/>
              <a:gd name="csX298" fmla="*/ 1548631 w 1609516"/>
              <a:gd name="csY298" fmla="*/ 478825 h 1538630"/>
              <a:gd name="csX299" fmla="*/ 1536991 w 1609516"/>
              <a:gd name="csY299" fmla="*/ 478889 h 1538630"/>
              <a:gd name="csX300" fmla="*/ 1498188 w 1609516"/>
              <a:gd name="csY300" fmla="*/ 485398 h 1538630"/>
              <a:gd name="csX301" fmla="*/ 1493892 w 1609516"/>
              <a:gd name="csY301" fmla="*/ 487600 h 1538630"/>
              <a:gd name="csX302" fmla="*/ 1490377 w 1609516"/>
              <a:gd name="csY302" fmla="*/ 489625 h 1538630"/>
              <a:gd name="csX303" fmla="*/ 1471650 w 1609516"/>
              <a:gd name="csY303" fmla="*/ 498185 h 1538630"/>
              <a:gd name="csX304" fmla="*/ 1459135 w 1609516"/>
              <a:gd name="csY304" fmla="*/ 505127 h 1538630"/>
              <a:gd name="csX305" fmla="*/ 1452594 w 1609516"/>
              <a:gd name="csY305" fmla="*/ 508033 h 1538630"/>
              <a:gd name="csX306" fmla="*/ 1427795 w 1609516"/>
              <a:gd name="csY306" fmla="*/ 520100 h 1538630"/>
              <a:gd name="csX307" fmla="*/ 1423733 w 1609516"/>
              <a:gd name="csY307" fmla="*/ 522148 h 1538630"/>
              <a:gd name="csX308" fmla="*/ 1419929 w 1609516"/>
              <a:gd name="csY308" fmla="*/ 524118 h 1538630"/>
              <a:gd name="csX309" fmla="*/ 1416487 w 1609516"/>
              <a:gd name="csY309" fmla="*/ 525883 h 1538630"/>
              <a:gd name="csX310" fmla="*/ 1412271 w 1609516"/>
              <a:gd name="csY310" fmla="*/ 531902 h 1538630"/>
              <a:gd name="csX311" fmla="*/ 1396650 w 1609516"/>
              <a:gd name="csY311" fmla="*/ 537539 h 1538630"/>
              <a:gd name="csX312" fmla="*/ 1396650 w 1609516"/>
              <a:gd name="csY312" fmla="*/ 540357 h 1538630"/>
              <a:gd name="csX313" fmla="*/ 1393495 w 1609516"/>
              <a:gd name="csY313" fmla="*/ 541502 h 1538630"/>
              <a:gd name="csX314" fmla="*/ 1362284 w 1609516"/>
              <a:gd name="csY314" fmla="*/ 558678 h 1538630"/>
              <a:gd name="csX315" fmla="*/ 1355937 w 1609516"/>
              <a:gd name="csY315" fmla="*/ 562905 h 1538630"/>
              <a:gd name="csX316" fmla="*/ 1334165 w 1609516"/>
              <a:gd name="csY316" fmla="*/ 578406 h 1538630"/>
              <a:gd name="csX317" fmla="*/ 1331200 w 1609516"/>
              <a:gd name="csY317" fmla="*/ 580559 h 1538630"/>
              <a:gd name="csX318" fmla="*/ 1322175 w 1609516"/>
              <a:gd name="csY318" fmla="*/ 596793 h 1538630"/>
              <a:gd name="csX319" fmla="*/ 1320106 w 1609516"/>
              <a:gd name="csY319" fmla="*/ 602363 h 1538630"/>
              <a:gd name="csX320" fmla="*/ 1328015 w 1609516"/>
              <a:gd name="csY320" fmla="*/ 647640 h 1538630"/>
              <a:gd name="csX321" fmla="*/ 1332604 w 1609516"/>
              <a:gd name="csY321" fmla="*/ 675643 h 1538630"/>
              <a:gd name="csX322" fmla="*/ 1335727 w 1609516"/>
              <a:gd name="csY322" fmla="*/ 675643 h 1538630"/>
              <a:gd name="csX323" fmla="*/ 1337741 w 1609516"/>
              <a:gd name="csY323" fmla="*/ 690059 h 1538630"/>
              <a:gd name="csX324" fmla="*/ 1338003 w 1609516"/>
              <a:gd name="csY324" fmla="*/ 696222 h 1538630"/>
              <a:gd name="csX325" fmla="*/ 1338340 w 1609516"/>
              <a:gd name="csY325" fmla="*/ 705887 h 1538630"/>
              <a:gd name="csX326" fmla="*/ 1345277 w 1609516"/>
              <a:gd name="csY326" fmla="*/ 733245 h 1538630"/>
              <a:gd name="csX327" fmla="*/ 1363162 w 1609516"/>
              <a:gd name="csY327" fmla="*/ 741612 h 1538630"/>
              <a:gd name="csX328" fmla="*/ 1384154 w 1609516"/>
              <a:gd name="csY328" fmla="*/ 748922 h 1538630"/>
              <a:gd name="csX329" fmla="*/ 1391476 w 1609516"/>
              <a:gd name="csY329" fmla="*/ 750419 h 1538630"/>
              <a:gd name="csX330" fmla="*/ 1395564 w 1609516"/>
              <a:gd name="csY330" fmla="*/ 751080 h 1538630"/>
              <a:gd name="csX331" fmla="*/ 1399775 w 1609516"/>
              <a:gd name="csY331" fmla="*/ 751740 h 1538630"/>
              <a:gd name="csX332" fmla="*/ 1403887 w 1609516"/>
              <a:gd name="csY332" fmla="*/ 752489 h 1538630"/>
              <a:gd name="csX333" fmla="*/ 1465383 w 1609516"/>
              <a:gd name="csY333" fmla="*/ 755969 h 1538630"/>
              <a:gd name="csX334" fmla="*/ 1470339 w 1609516"/>
              <a:gd name="csY334" fmla="*/ 755897 h 1538630"/>
              <a:gd name="csX335" fmla="*/ 1496809 w 1609516"/>
              <a:gd name="csY335" fmla="*/ 749313 h 1538630"/>
              <a:gd name="csX336" fmla="*/ 1515371 w 1609516"/>
              <a:gd name="csY336" fmla="*/ 743285 h 1538630"/>
              <a:gd name="csX337" fmla="*/ 1515371 w 1609516"/>
              <a:gd name="csY337" fmla="*/ 740467 h 1538630"/>
              <a:gd name="csX338" fmla="*/ 1537632 w 1609516"/>
              <a:gd name="csY338" fmla="*/ 737120 h 1538630"/>
              <a:gd name="csX339" fmla="*/ 1541657 w 1609516"/>
              <a:gd name="csY339" fmla="*/ 737127 h 1538630"/>
              <a:gd name="csX340" fmla="*/ 1574732 w 1609516"/>
              <a:gd name="csY340" fmla="*/ 748922 h 1538630"/>
              <a:gd name="csX341" fmla="*/ 1588791 w 1609516"/>
              <a:gd name="csY341" fmla="*/ 792608 h 1538630"/>
              <a:gd name="csX342" fmla="*/ 1584105 w 1609516"/>
              <a:gd name="csY342" fmla="*/ 805291 h 1538630"/>
              <a:gd name="csX343" fmla="*/ 1580981 w 1609516"/>
              <a:gd name="csY343" fmla="*/ 806700 h 1538630"/>
              <a:gd name="csX344" fmla="*/ 1578735 w 1609516"/>
              <a:gd name="csY344" fmla="*/ 810311 h 1538630"/>
              <a:gd name="csX345" fmla="*/ 1576295 w 1609516"/>
              <a:gd name="csY345" fmla="*/ 813746 h 1538630"/>
              <a:gd name="csX346" fmla="*/ 1571652 w 1609516"/>
              <a:gd name="csY346" fmla="*/ 813746 h 1538630"/>
              <a:gd name="csX347" fmla="*/ 1571785 w 1609516"/>
              <a:gd name="csY347" fmla="*/ 814106 h 1538630"/>
              <a:gd name="csX348" fmla="*/ 1574909 w 1609516"/>
              <a:gd name="csY348" fmla="*/ 815515 h 1538630"/>
              <a:gd name="csX349" fmla="*/ 1565463 w 1609516"/>
              <a:gd name="csY349" fmla="*/ 821839 h 1538630"/>
              <a:gd name="csX350" fmla="*/ 1562085 w 1609516"/>
              <a:gd name="csY350" fmla="*/ 822101 h 1538630"/>
              <a:gd name="csX351" fmla="*/ 1551301 w 1609516"/>
              <a:gd name="csY351" fmla="*/ 825020 h 1538630"/>
              <a:gd name="csX352" fmla="*/ 1551301 w 1609516"/>
              <a:gd name="csY352" fmla="*/ 827838 h 1538630"/>
              <a:gd name="csX353" fmla="*/ 1485380 w 1609516"/>
              <a:gd name="csY353" fmla="*/ 815007 h 1538630"/>
              <a:gd name="csX354" fmla="*/ 1431603 w 1609516"/>
              <a:gd name="csY354" fmla="*/ 808726 h 1538630"/>
              <a:gd name="csX355" fmla="*/ 1424140 w 1609516"/>
              <a:gd name="csY355" fmla="*/ 808542 h 1538630"/>
              <a:gd name="csX356" fmla="*/ 1406023 w 1609516"/>
              <a:gd name="csY356" fmla="*/ 808109 h 1538630"/>
              <a:gd name="csX357" fmla="*/ 1406023 w 1609516"/>
              <a:gd name="csY357" fmla="*/ 810928 h 1538630"/>
              <a:gd name="csX358" fmla="*/ 1403383 w 1609516"/>
              <a:gd name="csY358" fmla="*/ 811311 h 1538630"/>
              <a:gd name="csX359" fmla="*/ 1345442 w 1609516"/>
              <a:gd name="csY359" fmla="*/ 828907 h 1538630"/>
              <a:gd name="csX360" fmla="*/ 1337875 w 1609516"/>
              <a:gd name="csY360" fmla="*/ 856639 h 1538630"/>
              <a:gd name="csX361" fmla="*/ 1337692 w 1609516"/>
              <a:gd name="csY361" fmla="*/ 860171 h 1538630"/>
              <a:gd name="csX362" fmla="*/ 1337290 w 1609516"/>
              <a:gd name="csY362" fmla="*/ 868706 h 1538630"/>
              <a:gd name="csX363" fmla="*/ 1334165 w 1609516"/>
              <a:gd name="csY363" fmla="*/ 868706 h 1538630"/>
              <a:gd name="csX364" fmla="*/ 1334165 w 1609516"/>
              <a:gd name="csY364" fmla="*/ 870034 h 1538630"/>
              <a:gd name="csX365" fmla="*/ 1334237 w 1609516"/>
              <a:gd name="csY365" fmla="*/ 869093 h 1538630"/>
              <a:gd name="csX366" fmla="*/ 1335800 w 1609516"/>
              <a:gd name="csY366" fmla="*/ 869093 h 1538630"/>
              <a:gd name="csX367" fmla="*/ 1335995 w 1609516"/>
              <a:gd name="csY367" fmla="*/ 876491 h 1538630"/>
              <a:gd name="csX368" fmla="*/ 1336105 w 1609516"/>
              <a:gd name="csY368" fmla="*/ 880653 h 1538630"/>
              <a:gd name="csX369" fmla="*/ 1334294 w 1609516"/>
              <a:gd name="csY369" fmla="*/ 887271 h 1538630"/>
              <a:gd name="csX370" fmla="*/ 1331455 w 1609516"/>
              <a:gd name="csY370" fmla="*/ 896440 h 1538630"/>
              <a:gd name="csX371" fmla="*/ 1330887 w 1609516"/>
              <a:gd name="csY371" fmla="*/ 899969 h 1538630"/>
              <a:gd name="csX372" fmla="*/ 1330332 w 1609516"/>
              <a:gd name="csY372" fmla="*/ 903618 h 1538630"/>
              <a:gd name="csX373" fmla="*/ 1329209 w 1609516"/>
              <a:gd name="csY373" fmla="*/ 910797 h 1538630"/>
              <a:gd name="csX374" fmla="*/ 1328724 w 1609516"/>
              <a:gd name="csY374" fmla="*/ 913998 h 1538630"/>
              <a:gd name="csX375" fmla="*/ 1324865 w 1609516"/>
              <a:gd name="csY375" fmla="*/ 922643 h 1538630"/>
              <a:gd name="csX376" fmla="*/ 1322619 w 1609516"/>
              <a:gd name="csY376" fmla="*/ 937979 h 1538630"/>
              <a:gd name="csX377" fmla="*/ 1318744 w 1609516"/>
              <a:gd name="csY377" fmla="*/ 944961 h 1538630"/>
              <a:gd name="csX378" fmla="*/ 1318544 w 1609516"/>
              <a:gd name="csY378" fmla="*/ 946213 h 1538630"/>
              <a:gd name="csX379" fmla="*/ 1318251 w 1609516"/>
              <a:gd name="csY379" fmla="*/ 955285 h 1538630"/>
              <a:gd name="csX380" fmla="*/ 1318184 w 1609516"/>
              <a:gd name="csY380" fmla="*/ 960036 h 1538630"/>
              <a:gd name="csX381" fmla="*/ 1324024 w 1609516"/>
              <a:gd name="csY381" fmla="*/ 973660 h 1538630"/>
              <a:gd name="csX382" fmla="*/ 1329284 w 1609516"/>
              <a:gd name="csY382" fmla="*/ 983382 h 1538630"/>
              <a:gd name="csX383" fmla="*/ 1340414 w 1609516"/>
              <a:gd name="csY383" fmla="*/ 998354 h 1538630"/>
              <a:gd name="csX384" fmla="*/ 1346272 w 1609516"/>
              <a:gd name="csY384" fmla="*/ 1005048 h 1538630"/>
              <a:gd name="csX385" fmla="*/ 1394716 w 1609516"/>
              <a:gd name="csY385" fmla="*/ 1042740 h 1538630"/>
              <a:gd name="csX386" fmla="*/ 1401953 w 1609516"/>
              <a:gd name="csY386" fmla="*/ 1047374 h 1538630"/>
              <a:gd name="csX387" fmla="*/ 1427197 w 1609516"/>
              <a:gd name="csY387" fmla="*/ 1059061 h 1538630"/>
              <a:gd name="csX388" fmla="*/ 1437265 w 1609516"/>
              <a:gd name="csY388" fmla="*/ 1064588 h 1538630"/>
              <a:gd name="csX389" fmla="*/ 1437265 w 1609516"/>
              <a:gd name="csY389" fmla="*/ 1067406 h 1538630"/>
              <a:gd name="csX390" fmla="*/ 1440878 w 1609516"/>
              <a:gd name="csY390" fmla="*/ 1067847 h 1538630"/>
              <a:gd name="csX391" fmla="*/ 1447175 w 1609516"/>
              <a:gd name="csY391" fmla="*/ 1070753 h 1538630"/>
              <a:gd name="csX392" fmla="*/ 1457866 w 1609516"/>
              <a:gd name="csY392" fmla="*/ 1076830 h 1538630"/>
              <a:gd name="csX393" fmla="*/ 1462132 w 1609516"/>
              <a:gd name="csY393" fmla="*/ 1078696 h 1538630"/>
              <a:gd name="csX394" fmla="*/ 1465383 w 1609516"/>
              <a:gd name="csY394" fmla="*/ 1080089 h 1538630"/>
              <a:gd name="csX395" fmla="*/ 1465383 w 1609516"/>
              <a:gd name="csY395" fmla="*/ 1082908 h 1538630"/>
              <a:gd name="csX396" fmla="*/ 1468758 w 1609516"/>
              <a:gd name="csY396" fmla="*/ 1083975 h 1538630"/>
              <a:gd name="csX397" fmla="*/ 1481688 w 1609516"/>
              <a:gd name="csY397" fmla="*/ 1091187 h 1538630"/>
              <a:gd name="csX398" fmla="*/ 1486283 w 1609516"/>
              <a:gd name="csY398" fmla="*/ 1094236 h 1538630"/>
              <a:gd name="csX399" fmla="*/ 1494869 w 1609516"/>
              <a:gd name="csY399" fmla="*/ 1100171 h 1538630"/>
              <a:gd name="csX400" fmla="*/ 1544335 w 1609516"/>
              <a:gd name="csY400" fmla="*/ 1109518 h 1538630"/>
              <a:gd name="csX401" fmla="*/ 1593477 w 1609516"/>
              <a:gd name="csY401" fmla="*/ 1119900 h 1538630"/>
              <a:gd name="csX402" fmla="*/ 1605975 w 1609516"/>
              <a:gd name="csY402" fmla="*/ 1144913 h 1538630"/>
              <a:gd name="csX403" fmla="*/ 1609099 w 1609516"/>
              <a:gd name="csY403" fmla="*/ 1144913 h 1538630"/>
              <a:gd name="csX404" fmla="*/ 1609392 w 1609516"/>
              <a:gd name="csY404" fmla="*/ 1156892 h 1538630"/>
              <a:gd name="csX405" fmla="*/ 1609511 w 1609516"/>
              <a:gd name="csY405" fmla="*/ 1160272 h 1538630"/>
              <a:gd name="csX406" fmla="*/ 1604412 w 1609516"/>
              <a:gd name="csY406" fmla="*/ 1181553 h 1538630"/>
              <a:gd name="csX407" fmla="*/ 1601288 w 1609516"/>
              <a:gd name="csY407" fmla="*/ 1190009 h 1538630"/>
              <a:gd name="csX408" fmla="*/ 1598164 w 1609516"/>
              <a:gd name="csY408" fmla="*/ 1190009 h 1538630"/>
              <a:gd name="csX409" fmla="*/ 1597187 w 1609516"/>
              <a:gd name="csY409" fmla="*/ 1192739 h 1538630"/>
              <a:gd name="csX410" fmla="*/ 1595040 w 1609516"/>
              <a:gd name="csY410" fmla="*/ 1195645 h 1538630"/>
              <a:gd name="csX411" fmla="*/ 1585667 w 1609516"/>
              <a:gd name="csY411" fmla="*/ 1197055 h 1538630"/>
              <a:gd name="csX412" fmla="*/ 1582543 w 1609516"/>
              <a:gd name="csY412" fmla="*/ 1202691 h 1538630"/>
              <a:gd name="csX413" fmla="*/ 1562431 w 1609516"/>
              <a:gd name="csY413" fmla="*/ 1204365 h 1538630"/>
              <a:gd name="csX414" fmla="*/ 1558690 w 1609516"/>
              <a:gd name="csY414" fmla="*/ 1204417 h 1538630"/>
              <a:gd name="csX415" fmla="*/ 1521102 w 1609516"/>
              <a:gd name="csY415" fmla="*/ 1189585 h 1538630"/>
              <a:gd name="csX416" fmla="*/ 1505022 w 1609516"/>
              <a:gd name="csY416" fmla="*/ 1172041 h 1538630"/>
              <a:gd name="csX417" fmla="*/ 1457573 w 1609516"/>
              <a:gd name="csY417" fmla="*/ 1140686 h 1538630"/>
              <a:gd name="csX418" fmla="*/ 1457573 w 1609516"/>
              <a:gd name="csY418" fmla="*/ 1137867 h 1538630"/>
              <a:gd name="csX419" fmla="*/ 1452985 w 1609516"/>
              <a:gd name="csY419" fmla="*/ 1137339 h 1538630"/>
              <a:gd name="csX420" fmla="*/ 1448200 w 1609516"/>
              <a:gd name="csY420" fmla="*/ 1136458 h 1538630"/>
              <a:gd name="csX421" fmla="*/ 1446638 w 1609516"/>
              <a:gd name="csY421" fmla="*/ 1133640 h 1538630"/>
              <a:gd name="csX422" fmla="*/ 1438937 w 1609516"/>
              <a:gd name="csY422" fmla="*/ 1130601 h 1538630"/>
              <a:gd name="csX423" fmla="*/ 1429260 w 1609516"/>
              <a:gd name="csY423" fmla="*/ 1126770 h 1538630"/>
              <a:gd name="csX424" fmla="*/ 1411393 w 1609516"/>
              <a:gd name="csY424" fmla="*/ 1120340 h 1538630"/>
              <a:gd name="csX425" fmla="*/ 1391427 w 1609516"/>
              <a:gd name="csY425" fmla="*/ 1111191 h 1538630"/>
              <a:gd name="csX426" fmla="*/ 1381029 w 1609516"/>
              <a:gd name="csY426" fmla="*/ 1106865 h 1538630"/>
              <a:gd name="csX427" fmla="*/ 1381029 w 1609516"/>
              <a:gd name="csY427" fmla="*/ 1104046 h 1538630"/>
              <a:gd name="csX428" fmla="*/ 1377221 w 1609516"/>
              <a:gd name="csY428" fmla="*/ 1103605 h 1538630"/>
              <a:gd name="csX429" fmla="*/ 1357597 w 1609516"/>
              <a:gd name="csY429" fmla="*/ 1098409 h 1538630"/>
              <a:gd name="csX430" fmla="*/ 1352032 w 1609516"/>
              <a:gd name="csY430" fmla="*/ 1096736 h 1538630"/>
              <a:gd name="csX431" fmla="*/ 1348225 w 1609516"/>
              <a:gd name="csY431" fmla="*/ 1095590 h 1538630"/>
              <a:gd name="csX432" fmla="*/ 1348225 w 1609516"/>
              <a:gd name="csY432" fmla="*/ 1092772 h 1538630"/>
              <a:gd name="csX433" fmla="*/ 1337290 w 1609516"/>
              <a:gd name="csY433" fmla="*/ 1091363 h 1538630"/>
              <a:gd name="csX434" fmla="*/ 1337290 w 1609516"/>
              <a:gd name="csY434" fmla="*/ 1088544 h 1538630"/>
              <a:gd name="csX435" fmla="*/ 1331529 w 1609516"/>
              <a:gd name="csY435" fmla="*/ 1088104 h 1538630"/>
              <a:gd name="csX436" fmla="*/ 1323297 w 1609516"/>
              <a:gd name="csY436" fmla="*/ 1086611 h 1538630"/>
              <a:gd name="csX437" fmla="*/ 1323297 w 1609516"/>
              <a:gd name="csY437" fmla="*/ 1087618 h 1538630"/>
              <a:gd name="csX438" fmla="*/ 1319789 w 1609516"/>
              <a:gd name="csY438" fmla="*/ 1087310 h 1538630"/>
              <a:gd name="csX439" fmla="*/ 1262375 w 1609516"/>
              <a:gd name="csY439" fmla="*/ 1089028 h 1538630"/>
              <a:gd name="csX440" fmla="*/ 1258728 w 1609516"/>
              <a:gd name="csY440" fmla="*/ 1088205 h 1538630"/>
              <a:gd name="csX441" fmla="*/ 1246964 w 1609516"/>
              <a:gd name="csY441" fmla="*/ 1091489 h 1538630"/>
              <a:gd name="csX442" fmla="*/ 1223224 w 1609516"/>
              <a:gd name="csY442" fmla="*/ 1112865 h 1538630"/>
              <a:gd name="csX443" fmla="*/ 1213883 w 1609516"/>
              <a:gd name="csY443" fmla="*/ 1122366 h 1538630"/>
              <a:gd name="csX444" fmla="*/ 1212505 w 1609516"/>
              <a:gd name="csY444" fmla="*/ 1125708 h 1538630"/>
              <a:gd name="csX445" fmla="*/ 1204180 w 1609516"/>
              <a:gd name="csY445" fmla="*/ 1135561 h 1538630"/>
              <a:gd name="csX446" fmla="*/ 1200238 w 1609516"/>
              <a:gd name="csY446" fmla="*/ 1138999 h 1538630"/>
              <a:gd name="csX447" fmla="*/ 1192025 w 1609516"/>
              <a:gd name="csY447" fmla="*/ 1146022 h 1538630"/>
              <a:gd name="csX448" fmla="*/ 1173945 w 1609516"/>
              <a:gd name="csY448" fmla="*/ 1174749 h 1538630"/>
              <a:gd name="csX449" fmla="*/ 1173950 w 1609516"/>
              <a:gd name="csY449" fmla="*/ 1182610 h 1538630"/>
              <a:gd name="csX450" fmla="*/ 1173989 w 1609516"/>
              <a:gd name="csY450" fmla="*/ 1186765 h 1538630"/>
              <a:gd name="csX451" fmla="*/ 1182640 w 1609516"/>
              <a:gd name="csY451" fmla="*/ 1215374 h 1538630"/>
              <a:gd name="csX452" fmla="*/ 1185764 w 1609516"/>
              <a:gd name="csY452" fmla="*/ 1221804 h 1538630"/>
              <a:gd name="csX453" fmla="*/ 1187301 w 1609516"/>
              <a:gd name="csY453" fmla="*/ 1224859 h 1538630"/>
              <a:gd name="csX454" fmla="*/ 1190573 w 1609516"/>
              <a:gd name="csY454" fmla="*/ 1231740 h 1538630"/>
              <a:gd name="csX455" fmla="*/ 1205925 w 1609516"/>
              <a:gd name="csY455" fmla="*/ 1255163 h 1538630"/>
              <a:gd name="csX456" fmla="*/ 1212174 w 1609516"/>
              <a:gd name="csY456" fmla="*/ 1263134 h 1538630"/>
              <a:gd name="csX457" fmla="*/ 1235556 w 1609516"/>
              <a:gd name="csY457" fmla="*/ 1282538 h 1538630"/>
              <a:gd name="csX458" fmla="*/ 1238876 w 1609516"/>
              <a:gd name="csY458" fmla="*/ 1284426 h 1538630"/>
              <a:gd name="csX459" fmla="*/ 1238876 w 1609516"/>
              <a:gd name="csY459" fmla="*/ 1287245 h 1538630"/>
              <a:gd name="csX460" fmla="*/ 1242245 w 1609516"/>
              <a:gd name="csY460" fmla="*/ 1287663 h 1538630"/>
              <a:gd name="csX461" fmla="*/ 1271681 w 1609516"/>
              <a:gd name="csY461" fmla="*/ 1305565 h 1538630"/>
              <a:gd name="csX462" fmla="*/ 1271742 w 1609516"/>
              <a:gd name="csY462" fmla="*/ 1306172 h 1538630"/>
              <a:gd name="csX463" fmla="*/ 1278525 w 1609516"/>
              <a:gd name="csY463" fmla="*/ 1315767 h 1538630"/>
              <a:gd name="csX464" fmla="*/ 1281097 w 1609516"/>
              <a:gd name="csY464" fmla="*/ 1327286 h 1538630"/>
              <a:gd name="csX465" fmla="*/ 1277973 w 1609516"/>
              <a:gd name="csY465" fmla="*/ 1355470 h 1538630"/>
              <a:gd name="csX466" fmla="*/ 1277460 w 1609516"/>
              <a:gd name="csY466" fmla="*/ 1347025 h 1538630"/>
              <a:gd name="csX467" fmla="*/ 1273531 w 1609516"/>
              <a:gd name="csY467" fmla="*/ 1357991 h 1538630"/>
              <a:gd name="csX468" fmla="*/ 1263870 w 1609516"/>
              <a:gd name="csY468" fmla="*/ 1368980 h 1538630"/>
              <a:gd name="csX469" fmla="*/ 1246686 w 1609516"/>
              <a:gd name="csY469" fmla="*/ 1376026 h 1538630"/>
              <a:gd name="csX470" fmla="*/ 1246686 w 1609516"/>
              <a:gd name="csY470" fmla="*/ 1378844 h 1538630"/>
              <a:gd name="csX471" fmla="*/ 1231651 w 1609516"/>
              <a:gd name="csY471" fmla="*/ 1379196 h 1538630"/>
              <a:gd name="csX472" fmla="*/ 1227373 w 1609516"/>
              <a:gd name="csY472" fmla="*/ 1379340 h 1538630"/>
              <a:gd name="csX473" fmla="*/ 1206071 w 1609516"/>
              <a:gd name="csY473" fmla="*/ 1373207 h 1538630"/>
              <a:gd name="csX474" fmla="*/ 1202069 w 1609516"/>
              <a:gd name="csY474" fmla="*/ 1371798 h 1538630"/>
              <a:gd name="csX475" fmla="*/ 1184104 w 1609516"/>
              <a:gd name="csY475" fmla="*/ 1356176 h 1538630"/>
              <a:gd name="csX476" fmla="*/ 1177270 w 1609516"/>
              <a:gd name="csY476" fmla="*/ 1335247 h 1538630"/>
              <a:gd name="csX477" fmla="*/ 1169002 w 1609516"/>
              <a:gd name="csY477" fmla="*/ 1313464 h 1538630"/>
              <a:gd name="csX478" fmla="*/ 1163504 w 1609516"/>
              <a:gd name="csY478" fmla="*/ 1302130 h 1538630"/>
              <a:gd name="csX479" fmla="*/ 1162015 w 1609516"/>
              <a:gd name="csY479" fmla="*/ 1298788 h 1538630"/>
              <a:gd name="csX480" fmla="*/ 1160111 w 1609516"/>
              <a:gd name="csY480" fmla="*/ 1292656 h 1538630"/>
              <a:gd name="csX481" fmla="*/ 1154522 w 1609516"/>
              <a:gd name="csY481" fmla="*/ 1287245 h 1538630"/>
              <a:gd name="csX482" fmla="*/ 1151398 w 1609516"/>
              <a:gd name="csY482" fmla="*/ 1280199 h 1538630"/>
              <a:gd name="csX483" fmla="*/ 1144173 w 1609516"/>
              <a:gd name="csY483" fmla="*/ 1270774 h 1538630"/>
              <a:gd name="csX484" fmla="*/ 1142065 w 1609516"/>
              <a:gd name="csY484" fmla="*/ 1268160 h 1538630"/>
              <a:gd name="csX485" fmla="*/ 1135776 w 1609516"/>
              <a:gd name="csY485" fmla="*/ 1260470 h 1538630"/>
              <a:gd name="csX486" fmla="*/ 1132353 w 1609516"/>
              <a:gd name="csY486" fmla="*/ 1256247 h 1538630"/>
              <a:gd name="csX487" fmla="*/ 1112344 w 1609516"/>
              <a:gd name="csY487" fmla="*/ 1240741 h 1538630"/>
              <a:gd name="csX488" fmla="*/ 1106193 w 1609516"/>
              <a:gd name="csY488" fmla="*/ 1237570 h 1538630"/>
              <a:gd name="csX489" fmla="*/ 1101409 w 1609516"/>
              <a:gd name="csY489" fmla="*/ 1235104 h 1538630"/>
              <a:gd name="csX490" fmla="*/ 1101409 w 1609516"/>
              <a:gd name="csY490" fmla="*/ 1230876 h 1538630"/>
              <a:gd name="csX491" fmla="*/ 1065480 w 1609516"/>
              <a:gd name="csY491" fmla="*/ 1230876 h 1538630"/>
              <a:gd name="csX492" fmla="*/ 1063919 w 1609516"/>
              <a:gd name="csY492" fmla="*/ 1235104 h 1538630"/>
              <a:gd name="csX493" fmla="*/ 1059232 w 1609516"/>
              <a:gd name="csY493" fmla="*/ 1235104 h 1538630"/>
              <a:gd name="csX494" fmla="*/ 1059232 w 1609516"/>
              <a:gd name="csY494" fmla="*/ 1237922 h 1538630"/>
              <a:gd name="csX495" fmla="*/ 1040194 w 1609516"/>
              <a:gd name="csY495" fmla="*/ 1245761 h 1538630"/>
              <a:gd name="csX496" fmla="*/ 1030333 w 1609516"/>
              <a:gd name="csY496" fmla="*/ 1249901 h 1538630"/>
              <a:gd name="csX497" fmla="*/ 1013931 w 1609516"/>
              <a:gd name="csY497" fmla="*/ 1256242 h 1538630"/>
              <a:gd name="csX498" fmla="*/ 1005925 w 1609516"/>
              <a:gd name="csY498" fmla="*/ 1261615 h 1538630"/>
              <a:gd name="csX499" fmla="*/ 1004558 w 1609516"/>
              <a:gd name="csY499" fmla="*/ 1264697 h 1538630"/>
              <a:gd name="csX500" fmla="*/ 1002959 w 1609516"/>
              <a:gd name="csY500" fmla="*/ 1267961 h 1538630"/>
              <a:gd name="csX501" fmla="*/ 1000653 w 1609516"/>
              <a:gd name="csY501" fmla="*/ 1278965 h 1538630"/>
              <a:gd name="csX502" fmla="*/ 998297 w 1609516"/>
              <a:gd name="csY502" fmla="*/ 1294137 h 1538630"/>
              <a:gd name="csX503" fmla="*/ 996162 w 1609516"/>
              <a:gd name="csY503" fmla="*/ 1324765 h 1538630"/>
              <a:gd name="csX504" fmla="*/ 996164 w 1609516"/>
              <a:gd name="csY504" fmla="*/ 1327846 h 1538630"/>
              <a:gd name="csX505" fmla="*/ 1007780 w 1609516"/>
              <a:gd name="csY505" fmla="*/ 1403329 h 1538630"/>
              <a:gd name="csX506" fmla="*/ 1008940 w 1609516"/>
              <a:gd name="csY506" fmla="*/ 1407701 h 1538630"/>
              <a:gd name="csX507" fmla="*/ 1010080 w 1609516"/>
              <a:gd name="csY507" fmla="*/ 1411730 h 1538630"/>
              <a:gd name="csX508" fmla="*/ 1011075 w 1609516"/>
              <a:gd name="csY508" fmla="*/ 1415277 h 1538630"/>
              <a:gd name="csX509" fmla="*/ 1017055 w 1609516"/>
              <a:gd name="csY509" fmla="*/ 1422530 h 1538630"/>
              <a:gd name="csX510" fmla="*/ 1020277 w 1609516"/>
              <a:gd name="csY510" fmla="*/ 1427991 h 1538630"/>
              <a:gd name="csX511" fmla="*/ 1021796 w 1609516"/>
              <a:gd name="csY511" fmla="*/ 1430798 h 1538630"/>
              <a:gd name="csX512" fmla="*/ 1024579 w 1609516"/>
              <a:gd name="csY512" fmla="*/ 1437239 h 1538630"/>
              <a:gd name="csX513" fmla="*/ 1034043 w 1609516"/>
              <a:gd name="csY513" fmla="*/ 1448072 h 1538630"/>
              <a:gd name="csX514" fmla="*/ 1043782 w 1609516"/>
              <a:gd name="csY514" fmla="*/ 1464320 h 1538630"/>
              <a:gd name="csX515" fmla="*/ 1050458 w 1609516"/>
              <a:gd name="csY515" fmla="*/ 1472189 h 1538630"/>
              <a:gd name="csX516" fmla="*/ 1052926 w 1609516"/>
              <a:gd name="csY516" fmla="*/ 1482370 h 1538630"/>
              <a:gd name="csX517" fmla="*/ 1053316 w 1609516"/>
              <a:gd name="csY517" fmla="*/ 1496903 h 1538630"/>
              <a:gd name="csX518" fmla="*/ 1053352 w 1609516"/>
              <a:gd name="csY518" fmla="*/ 1500660 h 1538630"/>
              <a:gd name="csX519" fmla="*/ 1053341 w 1609516"/>
              <a:gd name="csY519" fmla="*/ 1504285 h 1538630"/>
              <a:gd name="csX520" fmla="*/ 1053329 w 1609516"/>
              <a:gd name="csY520" fmla="*/ 1507529 h 1538630"/>
              <a:gd name="csX521" fmla="*/ 1049801 w 1609516"/>
              <a:gd name="csY521" fmla="*/ 1516192 h 1538630"/>
              <a:gd name="csX522" fmla="*/ 1047312 w 1609516"/>
              <a:gd name="csY522" fmla="*/ 1516192 h 1538630"/>
              <a:gd name="csX523" fmla="*/ 1043611 w 1609516"/>
              <a:gd name="csY523" fmla="*/ 1522585 h 1538630"/>
              <a:gd name="csX524" fmla="*/ 1029552 w 1609516"/>
              <a:gd name="csY524" fmla="*/ 1529631 h 1538630"/>
              <a:gd name="csX525" fmla="*/ 1028771 w 1609516"/>
              <a:gd name="csY525" fmla="*/ 1532273 h 1538630"/>
              <a:gd name="csX526" fmla="*/ 1018013 w 1609516"/>
              <a:gd name="csY526" fmla="*/ 1537640 h 1538630"/>
              <a:gd name="csX527" fmla="*/ 981126 w 1609516"/>
              <a:gd name="csY527" fmla="*/ 1533859 h 1538630"/>
              <a:gd name="csX528" fmla="*/ 977227 w 1609516"/>
              <a:gd name="csY528" fmla="*/ 1531943 h 1538630"/>
              <a:gd name="csX529" fmla="*/ 955376 w 1609516"/>
              <a:gd name="csY529" fmla="*/ 1508751 h 1538630"/>
              <a:gd name="csX530" fmla="*/ 954571 w 1609516"/>
              <a:gd name="csY530" fmla="*/ 1500037 h 1538630"/>
              <a:gd name="csX531" fmla="*/ 951446 w 1609516"/>
              <a:gd name="csY531" fmla="*/ 1500037 h 1538630"/>
              <a:gd name="csX532" fmla="*/ 951251 w 1609516"/>
              <a:gd name="csY532" fmla="*/ 1487883 h 1538630"/>
              <a:gd name="csX533" fmla="*/ 951171 w 1609516"/>
              <a:gd name="csY533" fmla="*/ 1484431 h 1538630"/>
              <a:gd name="csX534" fmla="*/ 954571 w 1609516"/>
              <a:gd name="csY534" fmla="*/ 1466216 h 1538630"/>
              <a:gd name="csX535" fmla="*/ 954961 w 1609516"/>
              <a:gd name="csY535" fmla="*/ 1455118 h 1538630"/>
              <a:gd name="csX536" fmla="*/ 954932 w 1609516"/>
              <a:gd name="csY536" fmla="*/ 1451972 h 1538630"/>
              <a:gd name="csX537" fmla="*/ 945099 w 1609516"/>
              <a:gd name="csY537" fmla="*/ 1403594 h 1538630"/>
              <a:gd name="csX538" fmla="*/ 942366 w 1609516"/>
              <a:gd name="csY538" fmla="*/ 1393553 h 1538630"/>
              <a:gd name="csX539" fmla="*/ 934451 w 1609516"/>
              <a:gd name="csY539" fmla="*/ 1372734 h 1538630"/>
              <a:gd name="csX540" fmla="*/ 931974 w 1609516"/>
              <a:gd name="csY540" fmla="*/ 1365754 h 1538630"/>
              <a:gd name="csX541" fmla="*/ 931138 w 1609516"/>
              <a:gd name="csY541" fmla="*/ 1363343 h 1538630"/>
              <a:gd name="csX542" fmla="*/ 926452 w 1609516"/>
              <a:gd name="csY542" fmla="*/ 1361933 h 1538630"/>
              <a:gd name="csX543" fmla="*/ 918641 w 1609516"/>
              <a:gd name="csY543" fmla="*/ 1340795 h 1538630"/>
              <a:gd name="csX544" fmla="*/ 917079 w 1609516"/>
              <a:gd name="csY544" fmla="*/ 1335158 h 1538630"/>
              <a:gd name="csX545" fmla="*/ 913955 w 1609516"/>
              <a:gd name="csY545" fmla="*/ 1335158 h 1538630"/>
              <a:gd name="csX546" fmla="*/ 912057 w 1609516"/>
              <a:gd name="csY546" fmla="*/ 1330793 h 1538630"/>
              <a:gd name="csX547" fmla="*/ 902142 w 1609516"/>
              <a:gd name="csY547" fmla="*/ 1316222 h 1538630"/>
              <a:gd name="csX548" fmla="*/ 900091 w 1609516"/>
              <a:gd name="csY548" fmla="*/ 1313828 h 1538630"/>
              <a:gd name="csX549" fmla="*/ 878026 w 1609516"/>
              <a:gd name="csY549" fmla="*/ 1295700 h 1538630"/>
              <a:gd name="csX550" fmla="*/ 875134 w 1609516"/>
              <a:gd name="csY550" fmla="*/ 1293465 h 1538630"/>
              <a:gd name="csX551" fmla="*/ 869869 w 1609516"/>
              <a:gd name="csY551" fmla="*/ 1291826 h 1538630"/>
              <a:gd name="csX552" fmla="*/ 862384 w 1609516"/>
              <a:gd name="csY552" fmla="*/ 1291327 h 1538630"/>
              <a:gd name="csX553" fmla="*/ 844390 w 1609516"/>
              <a:gd name="csY553" fmla="*/ 1290461 h 1538630"/>
              <a:gd name="csX554" fmla="*/ 840476 w 1609516"/>
              <a:gd name="csY554" fmla="*/ 1290500 h 1538630"/>
              <a:gd name="csX555" fmla="*/ 831015 w 1609516"/>
              <a:gd name="csY555" fmla="*/ 1290637 h 1538630"/>
              <a:gd name="csX556" fmla="*/ 831015 w 1609516"/>
              <a:gd name="csY556" fmla="*/ 1293456 h 1538630"/>
              <a:gd name="csX557" fmla="*/ 818225 w 1609516"/>
              <a:gd name="csY557" fmla="*/ 1295570 h 1538630"/>
              <a:gd name="csX558" fmla="*/ 796774 w 1609516"/>
              <a:gd name="csY558" fmla="*/ 1297671 h 1538630"/>
              <a:gd name="csX559" fmla="*/ 783646 w 1609516"/>
              <a:gd name="csY559" fmla="*/ 1305736 h 1538630"/>
              <a:gd name="csX560" fmla="*/ 769263 w 1609516"/>
              <a:gd name="csY560" fmla="*/ 1327143 h 1538630"/>
              <a:gd name="csX561" fmla="*/ 764797 w 1609516"/>
              <a:gd name="csY561" fmla="*/ 1334360 h 1538630"/>
              <a:gd name="csX562" fmla="*/ 757875 w 1609516"/>
              <a:gd name="csY562" fmla="*/ 1353503 h 1538630"/>
              <a:gd name="csX563" fmla="*/ 755676 w 1609516"/>
              <a:gd name="csY563" fmla="*/ 1367455 h 1538630"/>
              <a:gd name="csX564" fmla="*/ 750558 w 1609516"/>
              <a:gd name="csY564" fmla="*/ 1399690 h 1538630"/>
              <a:gd name="csX565" fmla="*/ 753057 w 1609516"/>
              <a:gd name="csY565" fmla="*/ 1411256 h 1538630"/>
              <a:gd name="csX566" fmla="*/ 753057 w 1609516"/>
              <a:gd name="csY566" fmla="*/ 1416893 h 1538630"/>
              <a:gd name="csX567" fmla="*/ 756181 w 1609516"/>
              <a:gd name="csY567" fmla="*/ 1416893 h 1538630"/>
              <a:gd name="csX568" fmla="*/ 758133 w 1609516"/>
              <a:gd name="csY568" fmla="*/ 1436182 h 1538630"/>
              <a:gd name="csX569" fmla="*/ 758231 w 1609516"/>
              <a:gd name="csY569" fmla="*/ 1440781 h 1538630"/>
              <a:gd name="csX570" fmla="*/ 750713 w 1609516"/>
              <a:gd name="csY570" fmla="*/ 1465704 h 1538630"/>
              <a:gd name="csX571" fmla="*/ 748370 w 1609516"/>
              <a:gd name="csY571" fmla="*/ 1467185 h 1538630"/>
              <a:gd name="csX572" fmla="*/ 741633 w 1609516"/>
              <a:gd name="csY572" fmla="*/ 1473526 h 1538630"/>
              <a:gd name="csX573" fmla="*/ 728154 w 1609516"/>
              <a:gd name="csY573" fmla="*/ 1478343 h 1538630"/>
              <a:gd name="csX574" fmla="*/ 721814 w 1609516"/>
              <a:gd name="csY574" fmla="*/ 1480308 h 1538630"/>
              <a:gd name="csX575" fmla="*/ 708341 w 1609516"/>
              <a:gd name="csY575" fmla="*/ 1480661 h 1538630"/>
              <a:gd name="csX576" fmla="*/ 704637 w 1609516"/>
              <a:gd name="csY576" fmla="*/ 1480748 h 1538630"/>
              <a:gd name="csX577" fmla="*/ 668507 w 1609516"/>
              <a:gd name="csY577" fmla="*/ 1468418 h 1538630"/>
              <a:gd name="csX578" fmla="*/ 660178 w 1609516"/>
              <a:gd name="csY578" fmla="*/ 1450027 h 1538630"/>
              <a:gd name="csX579" fmla="*/ 657767 w 1609516"/>
              <a:gd name="csY579" fmla="*/ 1445078 h 1538630"/>
              <a:gd name="csX580" fmla="*/ 663369 w 1609516"/>
              <a:gd name="csY580" fmla="*/ 1409390 h 1538630"/>
              <a:gd name="csX581" fmla="*/ 671826 w 1609516"/>
              <a:gd name="csY581" fmla="*/ 1401392 h 1538630"/>
              <a:gd name="csX582" fmla="*/ 678075 w 1609516"/>
              <a:gd name="csY582" fmla="*/ 1390118 h 1538630"/>
              <a:gd name="csX583" fmla="*/ 684323 w 1609516"/>
              <a:gd name="csY583" fmla="*/ 1388709 h 1538630"/>
              <a:gd name="csX584" fmla="*/ 685293 w 1609516"/>
              <a:gd name="csY584" fmla="*/ 1384233 h 1538630"/>
              <a:gd name="csX585" fmla="*/ 686569 w 1609516"/>
              <a:gd name="csY585" fmla="*/ 1378404 h 1538630"/>
              <a:gd name="csX586" fmla="*/ 687207 w 1609516"/>
              <a:gd name="csY586" fmla="*/ 1375456 h 1538630"/>
              <a:gd name="csX587" fmla="*/ 690572 w 1609516"/>
              <a:gd name="csY587" fmla="*/ 1363343 h 1538630"/>
              <a:gd name="csX588" fmla="*/ 692495 w 1609516"/>
              <a:gd name="csY588" fmla="*/ 1323376 h 1538630"/>
              <a:gd name="csX589" fmla="*/ 692625 w 1609516"/>
              <a:gd name="csY589" fmla="*/ 1315006 h 1538630"/>
              <a:gd name="csX590" fmla="*/ 687447 w 1609516"/>
              <a:gd name="csY590" fmla="*/ 1287245 h 1538630"/>
              <a:gd name="csX591" fmla="*/ 682761 w 1609516"/>
              <a:gd name="csY591" fmla="*/ 1285835 h 1538630"/>
              <a:gd name="csX592" fmla="*/ 678954 w 1609516"/>
              <a:gd name="csY592" fmla="*/ 1281608 h 1538630"/>
              <a:gd name="csX593" fmla="*/ 668702 w 1609516"/>
              <a:gd name="csY593" fmla="*/ 1275971 h 1538630"/>
              <a:gd name="csX594" fmla="*/ 662454 w 1609516"/>
              <a:gd name="csY594" fmla="*/ 1270334 h 1538630"/>
              <a:gd name="csX595" fmla="*/ 654643 w 1609516"/>
              <a:gd name="csY595" fmla="*/ 1267516 h 1538630"/>
              <a:gd name="csX596" fmla="*/ 654643 w 1609516"/>
              <a:gd name="csY596" fmla="*/ 1264697 h 1538630"/>
              <a:gd name="csX597" fmla="*/ 650152 w 1609516"/>
              <a:gd name="csY597" fmla="*/ 1264345 h 1538630"/>
              <a:gd name="csX598" fmla="*/ 628087 w 1609516"/>
              <a:gd name="csY598" fmla="*/ 1257651 h 1538630"/>
              <a:gd name="csX599" fmla="*/ 628087 w 1609516"/>
              <a:gd name="csY599" fmla="*/ 1254833 h 1538630"/>
              <a:gd name="csX600" fmla="*/ 625121 w 1609516"/>
              <a:gd name="csY600" fmla="*/ 1254315 h 1538630"/>
              <a:gd name="csX601" fmla="*/ 621252 w 1609516"/>
              <a:gd name="csY601" fmla="*/ 1253600 h 1538630"/>
              <a:gd name="csX602" fmla="*/ 617409 w 1609516"/>
              <a:gd name="csY602" fmla="*/ 1252906 h 1538630"/>
              <a:gd name="csX603" fmla="*/ 610904 w 1609516"/>
              <a:gd name="csY603" fmla="*/ 1249196 h 1538630"/>
              <a:gd name="csX604" fmla="*/ 565739 w 1609516"/>
              <a:gd name="csY604" fmla="*/ 1271742 h 1538630"/>
              <a:gd name="csX605" fmla="*/ 546924 w 1609516"/>
              <a:gd name="csY605" fmla="*/ 1290829 h 1538630"/>
              <a:gd name="csX606" fmla="*/ 543635 w 1609516"/>
              <a:gd name="csY606" fmla="*/ 1294643 h 1538630"/>
              <a:gd name="csX607" fmla="*/ 540651 w 1609516"/>
              <a:gd name="csY607" fmla="*/ 1298188 h 1538630"/>
              <a:gd name="csX608" fmla="*/ 529673 w 1609516"/>
              <a:gd name="csY608" fmla="*/ 1305565 h 1538630"/>
              <a:gd name="csX609" fmla="*/ 526549 w 1609516"/>
              <a:gd name="csY609" fmla="*/ 1311202 h 1538630"/>
              <a:gd name="csX610" fmla="*/ 523425 w 1609516"/>
              <a:gd name="csY610" fmla="*/ 1311202 h 1538630"/>
              <a:gd name="csX611" fmla="*/ 523230 w 1609516"/>
              <a:gd name="csY611" fmla="*/ 1313580 h 1538630"/>
              <a:gd name="csX612" fmla="*/ 517732 w 1609516"/>
              <a:gd name="csY612" fmla="*/ 1319739 h 1538630"/>
              <a:gd name="csX613" fmla="*/ 502239 w 1609516"/>
              <a:gd name="csY613" fmla="*/ 1337096 h 1538630"/>
              <a:gd name="csX614" fmla="*/ 497058 w 1609516"/>
              <a:gd name="csY614" fmla="*/ 1344087 h 1538630"/>
              <a:gd name="csX615" fmla="*/ 494572 w 1609516"/>
              <a:gd name="csY615" fmla="*/ 1347465 h 1538630"/>
              <a:gd name="csX616" fmla="*/ 487776 w 1609516"/>
              <a:gd name="csY616" fmla="*/ 1356181 h 1538630"/>
              <a:gd name="csX617" fmla="*/ 481248 w 1609516"/>
              <a:gd name="csY617" fmla="*/ 1367571 h 1538630"/>
              <a:gd name="csX618" fmla="*/ 478123 w 1609516"/>
              <a:gd name="csY618" fmla="*/ 1367571 h 1538630"/>
              <a:gd name="csX619" fmla="*/ 477635 w 1609516"/>
              <a:gd name="csY619" fmla="*/ 1370565 h 1538630"/>
              <a:gd name="csX620" fmla="*/ 465626 w 1609516"/>
              <a:gd name="csY620" fmla="*/ 1388709 h 1538630"/>
              <a:gd name="csX621" fmla="*/ 461233 w 1609516"/>
              <a:gd name="csY621" fmla="*/ 1397340 h 1538630"/>
              <a:gd name="csX622" fmla="*/ 455765 w 1609516"/>
              <a:gd name="csY622" fmla="*/ 1408086 h 1538630"/>
              <a:gd name="csX623" fmla="*/ 439070 w 1609516"/>
              <a:gd name="csY623" fmla="*/ 1477490 h 1538630"/>
              <a:gd name="csX624" fmla="*/ 434384 w 1609516"/>
              <a:gd name="csY624" fmla="*/ 1478899 h 1538630"/>
              <a:gd name="csX625" fmla="*/ 432431 w 1609516"/>
              <a:gd name="csY625" fmla="*/ 1481982 h 1538630"/>
              <a:gd name="csX626" fmla="*/ 418763 w 1609516"/>
              <a:gd name="csY626" fmla="*/ 1494401 h 1538630"/>
              <a:gd name="csX627" fmla="*/ 415639 w 1609516"/>
              <a:gd name="csY627" fmla="*/ 1494401 h 1538630"/>
              <a:gd name="csX628" fmla="*/ 415639 w 1609516"/>
              <a:gd name="csY628" fmla="*/ 1497219 h 1538630"/>
              <a:gd name="csX629" fmla="*/ 406265 w 1609516"/>
              <a:gd name="csY629" fmla="*/ 1498628 h 1538630"/>
              <a:gd name="csX630" fmla="*/ 406265 w 1609516"/>
              <a:gd name="csY630" fmla="*/ 1501447 h 1538630"/>
              <a:gd name="csX631" fmla="*/ 375023 w 1609516"/>
              <a:gd name="csY631" fmla="*/ 1501447 h 1538630"/>
              <a:gd name="csX632" fmla="*/ 375023 w 1609516"/>
              <a:gd name="csY632" fmla="*/ 1499438 h 1538630"/>
              <a:gd name="csX633" fmla="*/ 374964 w 1609516"/>
              <a:gd name="csY633" fmla="*/ 1499436 h 1538630"/>
              <a:gd name="csX634" fmla="*/ 373179 w 1609516"/>
              <a:gd name="csY634" fmla="*/ 1498628 h 1538630"/>
              <a:gd name="csX635" fmla="*/ 365650 w 1609516"/>
              <a:gd name="csY635" fmla="*/ 1498628 h 1538630"/>
              <a:gd name="csX636" fmla="*/ 363134 w 1609516"/>
              <a:gd name="csY636" fmla="*/ 1494087 h 1538630"/>
              <a:gd name="csX637" fmla="*/ 362171 w 1609516"/>
              <a:gd name="csY637" fmla="*/ 1493651 h 1538630"/>
              <a:gd name="csX638" fmla="*/ 360609 w 1609516"/>
              <a:gd name="csY638" fmla="*/ 1490833 h 1538630"/>
              <a:gd name="csX639" fmla="*/ 363733 w 1609516"/>
              <a:gd name="csY639" fmla="*/ 1490833 h 1538630"/>
              <a:gd name="csX640" fmla="*/ 363733 w 1609516"/>
              <a:gd name="csY640" fmla="*/ 1489980 h 1538630"/>
              <a:gd name="csX641" fmla="*/ 348467 w 1609516"/>
              <a:gd name="csY641" fmla="*/ 1481717 h 1538630"/>
              <a:gd name="csX642" fmla="*/ 343872 w 1609516"/>
              <a:gd name="csY642" fmla="*/ 1461078 h 1538630"/>
              <a:gd name="csX643" fmla="*/ 343656 w 1609516"/>
              <a:gd name="csY643" fmla="*/ 1463649 h 1538630"/>
              <a:gd name="csX644" fmla="*/ 343424 w 1609516"/>
              <a:gd name="csY644" fmla="*/ 1466842 h 1538630"/>
              <a:gd name="csX645" fmla="*/ 341861 w 1609516"/>
              <a:gd name="csY645" fmla="*/ 1466842 h 1538630"/>
              <a:gd name="csX646" fmla="*/ 354143 w 1609516"/>
              <a:gd name="csY646" fmla="*/ 1420549 h 1538630"/>
              <a:gd name="csX647" fmla="*/ 376229 w 1609516"/>
              <a:gd name="csY647" fmla="*/ 1403427 h 1538630"/>
              <a:gd name="csX648" fmla="*/ 379491 w 1609516"/>
              <a:gd name="csY648" fmla="*/ 1404408 h 1538630"/>
              <a:gd name="csX649" fmla="*/ 379710 w 1609516"/>
              <a:gd name="csY649" fmla="*/ 1404210 h 1538630"/>
              <a:gd name="csX650" fmla="*/ 380882 w 1609516"/>
              <a:gd name="csY650" fmla="*/ 1401568 h 1538630"/>
              <a:gd name="csX651" fmla="*/ 392207 w 1609516"/>
              <a:gd name="csY651" fmla="*/ 1392936 h 1538630"/>
              <a:gd name="csX652" fmla="*/ 399542 w 1609516"/>
              <a:gd name="csY652" fmla="*/ 1386774 h 1538630"/>
              <a:gd name="csX653" fmla="*/ 405485 w 1609516"/>
              <a:gd name="csY653" fmla="*/ 1378917 h 1538630"/>
              <a:gd name="csX654" fmla="*/ 412008 w 1609516"/>
              <a:gd name="csY654" fmla="*/ 1369481 h 1538630"/>
              <a:gd name="csX655" fmla="*/ 421130 w 1609516"/>
              <a:gd name="csY655" fmla="*/ 1357057 h 1538630"/>
              <a:gd name="csX656" fmla="*/ 424676 w 1609516"/>
              <a:gd name="csY656" fmla="*/ 1348443 h 1538630"/>
              <a:gd name="csX657" fmla="*/ 427275 w 1609516"/>
              <a:gd name="csY657" fmla="*/ 1348443 h 1538630"/>
              <a:gd name="csX658" fmla="*/ 428135 w 1609516"/>
              <a:gd name="csY658" fmla="*/ 1345727 h 1538630"/>
              <a:gd name="csX659" fmla="*/ 432822 w 1609516"/>
              <a:gd name="csY659" fmla="*/ 1335158 h 1538630"/>
              <a:gd name="csX660" fmla="*/ 435946 w 1609516"/>
              <a:gd name="csY660" fmla="*/ 1335158 h 1538630"/>
              <a:gd name="csX661" fmla="*/ 437704 w 1609516"/>
              <a:gd name="csY661" fmla="*/ 1329786 h 1538630"/>
              <a:gd name="csX662" fmla="*/ 447394 w 1609516"/>
              <a:gd name="csY662" fmla="*/ 1311196 h 1538630"/>
              <a:gd name="csX663" fmla="*/ 469287 w 1609516"/>
              <a:gd name="csY663" fmla="*/ 1265964 h 1538630"/>
              <a:gd name="csX664" fmla="*/ 478178 w 1609516"/>
              <a:gd name="csY664" fmla="*/ 1246787 h 1538630"/>
              <a:gd name="csX665" fmla="*/ 480179 w 1609516"/>
              <a:gd name="csY665" fmla="*/ 1225768 h 1538630"/>
              <a:gd name="csX666" fmla="*/ 480250 w 1609516"/>
              <a:gd name="csY666" fmla="*/ 1217149 h 1538630"/>
              <a:gd name="csX667" fmla="*/ 462972 w 1609516"/>
              <a:gd name="csY667" fmla="*/ 1174827 h 1538630"/>
              <a:gd name="csX668" fmla="*/ 457468 w 1609516"/>
              <a:gd name="csY668" fmla="*/ 1169949 h 1538630"/>
              <a:gd name="csX669" fmla="*/ 440657 w 1609516"/>
              <a:gd name="csY669" fmla="*/ 1152570 h 1538630"/>
              <a:gd name="csX670" fmla="*/ 403142 w 1609516"/>
              <a:gd name="csY670" fmla="*/ 1122366 h 1538630"/>
              <a:gd name="csX671" fmla="*/ 401579 w 1609516"/>
              <a:gd name="csY671" fmla="*/ 1119547 h 1538630"/>
              <a:gd name="csX672" fmla="*/ 364564 w 1609516"/>
              <a:gd name="csY672" fmla="*/ 1118209 h 1538630"/>
              <a:gd name="csX673" fmla="*/ 357822 w 1609516"/>
              <a:gd name="csY673" fmla="*/ 1122041 h 1538630"/>
              <a:gd name="csX674" fmla="*/ 348077 w 1609516"/>
              <a:gd name="csY674" fmla="*/ 1125273 h 1538630"/>
              <a:gd name="csX675" fmla="*/ 334408 w 1609516"/>
              <a:gd name="csY675" fmla="*/ 1132230 h 1538630"/>
              <a:gd name="csX676" fmla="*/ 327964 w 1609516"/>
              <a:gd name="csY676" fmla="*/ 1134080 h 1538630"/>
              <a:gd name="csX677" fmla="*/ 279734 w 1609516"/>
              <a:gd name="csY677" fmla="*/ 1166051 h 1538630"/>
              <a:gd name="csX678" fmla="*/ 276609 w 1609516"/>
              <a:gd name="csY678" fmla="*/ 1173098 h 1538630"/>
              <a:gd name="csX679" fmla="*/ 260988 w 1609516"/>
              <a:gd name="csY679" fmla="*/ 1188599 h 1538630"/>
              <a:gd name="csX680" fmla="*/ 257956 w 1609516"/>
              <a:gd name="csY680" fmla="*/ 1191132 h 1538630"/>
              <a:gd name="csX681" fmla="*/ 243805 w 1609516"/>
              <a:gd name="csY681" fmla="*/ 1196629 h 1538630"/>
              <a:gd name="csX682" fmla="*/ 243805 w 1609516"/>
              <a:gd name="csY682" fmla="*/ 1194236 h 1538630"/>
              <a:gd name="csX683" fmla="*/ 240288 w 1609516"/>
              <a:gd name="csY683" fmla="*/ 1194765 h 1538630"/>
              <a:gd name="csX684" fmla="*/ 243374 w 1609516"/>
              <a:gd name="csY684" fmla="*/ 1194765 h 1538630"/>
              <a:gd name="csX685" fmla="*/ 243374 w 1609516"/>
              <a:gd name="csY685" fmla="*/ 1196797 h 1538630"/>
              <a:gd name="csX686" fmla="*/ 243805 w 1609516"/>
              <a:gd name="csY686" fmla="*/ 1196629 h 1538630"/>
              <a:gd name="csX687" fmla="*/ 243805 w 1609516"/>
              <a:gd name="csY687" fmla="*/ 1197055 h 1538630"/>
              <a:gd name="csX688" fmla="*/ 243374 w 1609516"/>
              <a:gd name="csY688" fmla="*/ 1197055 h 1538630"/>
              <a:gd name="csX689" fmla="*/ 243374 w 1609516"/>
              <a:gd name="csY689" fmla="*/ 1197584 h 1538630"/>
              <a:gd name="csX690" fmla="*/ 241319 w 1609516"/>
              <a:gd name="csY690" fmla="*/ 1197595 h 1538630"/>
              <a:gd name="csX691" fmla="*/ 238009 w 1609516"/>
              <a:gd name="csY691" fmla="*/ 1198881 h 1538630"/>
              <a:gd name="csX692" fmla="*/ 215687 w 1609516"/>
              <a:gd name="csY692" fmla="*/ 1198464 h 1538630"/>
              <a:gd name="csX693" fmla="*/ 215687 w 1609516"/>
              <a:gd name="csY693" fmla="*/ 1197734 h 1538630"/>
              <a:gd name="csX694" fmla="*/ 213936 w 1609516"/>
              <a:gd name="csY694" fmla="*/ 1197744 h 1538630"/>
              <a:gd name="csX695" fmla="*/ 207446 w 1609516"/>
              <a:gd name="csY695" fmla="*/ 1196175 h 1538630"/>
              <a:gd name="csX696" fmla="*/ 207822 w 1609516"/>
              <a:gd name="csY696" fmla="*/ 1195610 h 1538630"/>
              <a:gd name="csX697" fmla="*/ 184737 w 1609516"/>
              <a:gd name="csY697" fmla="*/ 1180936 h 1538630"/>
              <a:gd name="csX698" fmla="*/ 179270 w 1609516"/>
              <a:gd name="csY698" fmla="*/ 1154866 h 1538630"/>
              <a:gd name="csX699" fmla="*/ 179194 w 1609516"/>
              <a:gd name="csY699" fmla="*/ 1151621 h 1538630"/>
              <a:gd name="csX700" fmla="*/ 193195 w 1609516"/>
              <a:gd name="csY700" fmla="*/ 1120065 h 1538630"/>
              <a:gd name="csX701" fmla="*/ 229551 w 1609516"/>
              <a:gd name="csY701" fmla="*/ 1110299 h 1538630"/>
              <a:gd name="csX702" fmla="*/ 260988 w 1609516"/>
              <a:gd name="csY702" fmla="*/ 1108274 h 1538630"/>
              <a:gd name="csX703" fmla="*/ 260988 w 1609516"/>
              <a:gd name="csY703" fmla="*/ 1105455 h 1538630"/>
              <a:gd name="csX704" fmla="*/ 263911 w 1609516"/>
              <a:gd name="csY704" fmla="*/ 1104310 h 1538630"/>
              <a:gd name="csX705" fmla="*/ 286995 w 1609516"/>
              <a:gd name="csY705" fmla="*/ 1090185 h 1538630"/>
              <a:gd name="csX706" fmla="*/ 299358 w 1609516"/>
              <a:gd name="csY706" fmla="*/ 1080970 h 1538630"/>
              <a:gd name="csX707" fmla="*/ 317762 w 1609516"/>
              <a:gd name="csY707" fmla="*/ 1063272 h 1538630"/>
              <a:gd name="csX708" fmla="*/ 325035 w 1609516"/>
              <a:gd name="csY708" fmla="*/ 1057542 h 1538630"/>
              <a:gd name="csX709" fmla="*/ 325328 w 1609516"/>
              <a:gd name="csY709" fmla="*/ 1023104 h 1538630"/>
              <a:gd name="csX710" fmla="*/ 324544 w 1609516"/>
              <a:gd name="csY710" fmla="*/ 1019247 h 1538630"/>
              <a:gd name="csX711" fmla="*/ 317225 w 1609516"/>
              <a:gd name="csY711" fmla="*/ 996945 h 1538630"/>
              <a:gd name="csX712" fmla="*/ 315388 w 1609516"/>
              <a:gd name="csY712" fmla="*/ 992690 h 1538630"/>
              <a:gd name="csX713" fmla="*/ 276232 w 1609516"/>
              <a:gd name="csY713" fmla="*/ 950666 h 1538630"/>
              <a:gd name="csX714" fmla="*/ 271923 w 1609516"/>
              <a:gd name="csY714" fmla="*/ 949031 h 1538630"/>
              <a:gd name="csX715" fmla="*/ 268299 w 1609516"/>
              <a:gd name="csY715" fmla="*/ 947441 h 1538630"/>
              <a:gd name="csX716" fmla="*/ 199187 w 1609516"/>
              <a:gd name="csY716" fmla="*/ 938991 h 1538630"/>
              <a:gd name="csX717" fmla="*/ 193719 w 1609516"/>
              <a:gd name="csY717" fmla="*/ 938971 h 1538630"/>
              <a:gd name="csX718" fmla="*/ 188539 w 1609516"/>
              <a:gd name="csY718" fmla="*/ 938980 h 1538630"/>
              <a:gd name="csX719" fmla="*/ 183874 w 1609516"/>
              <a:gd name="csY719" fmla="*/ 938985 h 1538630"/>
              <a:gd name="csX720" fmla="*/ 173509 w 1609516"/>
              <a:gd name="csY720" fmla="*/ 940576 h 1538630"/>
              <a:gd name="csX721" fmla="*/ 161403 w 1609516"/>
              <a:gd name="csY721" fmla="*/ 940664 h 1538630"/>
              <a:gd name="csX722" fmla="*/ 158102 w 1609516"/>
              <a:gd name="csY722" fmla="*/ 940645 h 1538630"/>
              <a:gd name="csX723" fmla="*/ 150875 w 1609516"/>
              <a:gd name="csY723" fmla="*/ 940583 h 1538630"/>
              <a:gd name="csX724" fmla="*/ 148425 w 1609516"/>
              <a:gd name="csY724" fmla="*/ 940717 h 1538630"/>
              <a:gd name="csX725" fmla="*/ 149617 w 1609516"/>
              <a:gd name="csY725" fmla="*/ 940995 h 1538630"/>
              <a:gd name="csX726" fmla="*/ 149617 w 1609516"/>
              <a:gd name="csY726" fmla="*/ 942404 h 1538630"/>
              <a:gd name="csX727" fmla="*/ 146627 w 1609516"/>
              <a:gd name="csY727" fmla="*/ 942871 h 1538630"/>
              <a:gd name="csX728" fmla="*/ 110564 w 1609516"/>
              <a:gd name="csY728" fmla="*/ 949449 h 1538630"/>
              <a:gd name="csX729" fmla="*/ 111283 w 1609516"/>
              <a:gd name="csY729" fmla="*/ 946205 h 1538630"/>
              <a:gd name="csX730" fmla="*/ 101652 w 1609516"/>
              <a:gd name="csY730" fmla="*/ 956078 h 1538630"/>
              <a:gd name="csX731" fmla="*/ 98052 w 1609516"/>
              <a:gd name="csY731" fmla="*/ 958467 h 1538630"/>
              <a:gd name="csX732" fmla="*/ 67286 w 1609516"/>
              <a:gd name="csY732" fmla="*/ 972989 h 1538630"/>
              <a:gd name="csX733" fmla="*/ 67286 w 1609516"/>
              <a:gd name="csY733" fmla="*/ 975807 h 1538630"/>
              <a:gd name="csX734" fmla="*/ 31942 w 1609516"/>
              <a:gd name="csY734" fmla="*/ 976423 h 1538630"/>
              <a:gd name="csX735" fmla="*/ 5673 w 1609516"/>
              <a:gd name="csY735" fmla="*/ 953419 h 1538630"/>
              <a:gd name="csX736" fmla="*/ 4801 w 1609516"/>
              <a:gd name="csY736" fmla="*/ 944804 h 1538630"/>
              <a:gd name="csX737" fmla="*/ 1676 w 1609516"/>
              <a:gd name="csY737" fmla="*/ 944804 h 1538630"/>
              <a:gd name="csX738" fmla="*/ 17 w 1609516"/>
              <a:gd name="csY738" fmla="*/ 931857 h 1538630"/>
              <a:gd name="csX739" fmla="*/ 59 w 1609516"/>
              <a:gd name="csY739" fmla="*/ 927216 h 1538630"/>
              <a:gd name="csX740" fmla="*/ 115 w 1609516"/>
              <a:gd name="csY740" fmla="*/ 923666 h 1538630"/>
              <a:gd name="csX741" fmla="*/ 3238 w 1609516"/>
              <a:gd name="csY741" fmla="*/ 923666 h 1538630"/>
              <a:gd name="csX742" fmla="*/ 3238 w 1609516"/>
              <a:gd name="csY742" fmla="*/ 918029 h 1538630"/>
              <a:gd name="csX743" fmla="*/ 6363 w 1609516"/>
              <a:gd name="csY743" fmla="*/ 918029 h 1538630"/>
              <a:gd name="csX744" fmla="*/ 6656 w 1609516"/>
              <a:gd name="csY744" fmla="*/ 912832 h 1538630"/>
              <a:gd name="csX745" fmla="*/ 15736 w 1609516"/>
              <a:gd name="csY745" fmla="*/ 899709 h 1538630"/>
              <a:gd name="csX746" fmla="*/ 17243 w 1609516"/>
              <a:gd name="csY746" fmla="*/ 898894 h 1538630"/>
              <a:gd name="csX747" fmla="*/ 16800 w 1609516"/>
              <a:gd name="csY747" fmla="*/ 898694 h 1538630"/>
              <a:gd name="csX748" fmla="*/ 24988 w 1609516"/>
              <a:gd name="csY748" fmla="*/ 894101 h 1538630"/>
              <a:gd name="csX749" fmla="*/ 26768 w 1609516"/>
              <a:gd name="csY749" fmla="*/ 892399 h 1538630"/>
              <a:gd name="csX750" fmla="*/ 30198 w 1609516"/>
              <a:gd name="csY750" fmla="*/ 890164 h 1538630"/>
              <a:gd name="csX751" fmla="*/ 32204 w 1609516"/>
              <a:gd name="csY751" fmla="*/ 890054 h 1538630"/>
              <a:gd name="csX752" fmla="*/ 38914 w 1609516"/>
              <a:gd name="csY752" fmla="*/ 886291 h 1538630"/>
              <a:gd name="csX753" fmla="*/ 63664 w 1609516"/>
              <a:gd name="csY753" fmla="*/ 886011 h 1538630"/>
              <a:gd name="csX754" fmla="*/ 63664 w 1609516"/>
              <a:gd name="csY754" fmla="*/ 886531 h 1538630"/>
              <a:gd name="csX755" fmla="*/ 70784 w 1609516"/>
              <a:gd name="csY755" fmla="*/ 886647 h 1538630"/>
              <a:gd name="csX756" fmla="*/ 82126 w 1609516"/>
              <a:gd name="csY756" fmla="*/ 889845 h 1538630"/>
              <a:gd name="csX757" fmla="*/ 114149 w 1609516"/>
              <a:gd name="csY757" fmla="*/ 892663 h 1538630"/>
              <a:gd name="csX758" fmla="*/ 118836 w 1609516"/>
              <a:gd name="csY758" fmla="*/ 889845 h 1538630"/>
              <a:gd name="csX759" fmla="*/ 131626 w 1609516"/>
              <a:gd name="csY759" fmla="*/ 887114 h 1538630"/>
              <a:gd name="csX760" fmla="*/ 155116 w 1609516"/>
              <a:gd name="csY760" fmla="*/ 880913 h 1538630"/>
              <a:gd name="csX761" fmla="*/ 165406 w 1609516"/>
              <a:gd name="csY761" fmla="*/ 878483 h 1538630"/>
              <a:gd name="csX762" fmla="*/ 176634 w 1609516"/>
              <a:gd name="csY762" fmla="*/ 874343 h 1538630"/>
              <a:gd name="csX763" fmla="*/ 186397 w 1609516"/>
              <a:gd name="csY763" fmla="*/ 871524 h 1538630"/>
              <a:gd name="csX764" fmla="*/ 191871 w 1609516"/>
              <a:gd name="csY764" fmla="*/ 870033 h 1538630"/>
              <a:gd name="csX765" fmla="*/ 203483 w 1609516"/>
              <a:gd name="csY765" fmla="*/ 867208 h 1538630"/>
              <a:gd name="csX766" fmla="*/ 211001 w 1609516"/>
              <a:gd name="csY766" fmla="*/ 861660 h 1538630"/>
              <a:gd name="csX767" fmla="*/ 218031 w 1609516"/>
              <a:gd name="csY767" fmla="*/ 858577 h 1538630"/>
              <a:gd name="csX768" fmla="*/ 254740 w 1609516"/>
              <a:gd name="csY768" fmla="*/ 825020 h 1538630"/>
              <a:gd name="csX769" fmla="*/ 257864 w 1609516"/>
              <a:gd name="csY769" fmla="*/ 820792 h 1538630"/>
              <a:gd name="csX770" fmla="*/ 258318 w 1609516"/>
              <a:gd name="csY770" fmla="*/ 813810 h 1538630"/>
              <a:gd name="csX771" fmla="*/ 258378 w 1609516"/>
              <a:gd name="csY771" fmla="*/ 809502 h 1538630"/>
              <a:gd name="csX772" fmla="*/ 258389 w 1609516"/>
              <a:gd name="csY772" fmla="*/ 804845 h 1538630"/>
              <a:gd name="csX773" fmla="*/ 258420 w 1609516"/>
              <a:gd name="csY773" fmla="*/ 800036 h 1538630"/>
              <a:gd name="csX774" fmla="*/ 258443 w 1609516"/>
              <a:gd name="csY774" fmla="*/ 789939 h 1538630"/>
              <a:gd name="csX775" fmla="*/ 258566 w 1609516"/>
              <a:gd name="csY775" fmla="*/ 774594 h 1538630"/>
              <a:gd name="csX776" fmla="*/ 258584 w 1609516"/>
              <a:gd name="csY776" fmla="*/ 764771 h 1538630"/>
              <a:gd name="csX777" fmla="*/ 258652 w 1609516"/>
              <a:gd name="csY777" fmla="*/ 760174 h 1538630"/>
              <a:gd name="csX778" fmla="*/ 251616 w 1609516"/>
              <a:gd name="csY778" fmla="*/ 733421 h 1538630"/>
              <a:gd name="csX779" fmla="*/ 247613 w 1609516"/>
              <a:gd name="csY779" fmla="*/ 721883 h 1538630"/>
              <a:gd name="csX780" fmla="*/ 241291 w 1609516"/>
              <a:gd name="csY780" fmla="*/ 705644 h 1538630"/>
              <a:gd name="csX781" fmla="*/ 237557 w 1609516"/>
              <a:gd name="csY781" fmla="*/ 689735 h 1538630"/>
              <a:gd name="csX782" fmla="*/ 248492 w 1609516"/>
              <a:gd name="csY782" fmla="*/ 685507 h 1538630"/>
              <a:gd name="csX783" fmla="*/ 248492 w 1609516"/>
              <a:gd name="csY783" fmla="*/ 681279 h 1538630"/>
              <a:gd name="csX784" fmla="*/ 240681 w 1609516"/>
              <a:gd name="csY784" fmla="*/ 679870 h 1538630"/>
              <a:gd name="csX785" fmla="*/ 240681 w 1609516"/>
              <a:gd name="csY785" fmla="*/ 677052 h 1538630"/>
              <a:gd name="csX786" fmla="*/ 238094 w 1609516"/>
              <a:gd name="csY786" fmla="*/ 676645 h 1538630"/>
              <a:gd name="csX787" fmla="*/ 225841 w 1609516"/>
              <a:gd name="csY787" fmla="*/ 670886 h 1538630"/>
              <a:gd name="csX788" fmla="*/ 201531 w 1609516"/>
              <a:gd name="csY788" fmla="*/ 662508 h 1538630"/>
              <a:gd name="csX789" fmla="*/ 188252 w 1609516"/>
              <a:gd name="csY789" fmla="*/ 658644 h 1538630"/>
              <a:gd name="csX790" fmla="*/ 182431 w 1609516"/>
              <a:gd name="csY790" fmla="*/ 657327 h 1538630"/>
              <a:gd name="csX791" fmla="*/ 182431 w 1609516"/>
              <a:gd name="csY791" fmla="*/ 657613 h 1538630"/>
              <a:gd name="csX792" fmla="*/ 146503 w 1609516"/>
              <a:gd name="csY792" fmla="*/ 656204 h 1538630"/>
              <a:gd name="csX793" fmla="*/ 146503 w 1609516"/>
              <a:gd name="csY793" fmla="*/ 659022 h 1538630"/>
              <a:gd name="csX794" fmla="*/ 110378 w 1609516"/>
              <a:gd name="csY794" fmla="*/ 663778 h 1538630"/>
              <a:gd name="csX795" fmla="*/ 106453 w 1609516"/>
              <a:gd name="csY795" fmla="*/ 663836 h 1538630"/>
              <a:gd name="csX796" fmla="*/ 102751 w 1609516"/>
              <a:gd name="csY796" fmla="*/ 663811 h 1538630"/>
              <a:gd name="csX797" fmla="*/ 99449 w 1609516"/>
              <a:gd name="csY797" fmla="*/ 663797 h 1538630"/>
              <a:gd name="csX798" fmla="*/ 91828 w 1609516"/>
              <a:gd name="csY798" fmla="*/ 659022 h 1538630"/>
              <a:gd name="csX799" fmla="*/ 98077 w 1609516"/>
              <a:gd name="csY799" fmla="*/ 659022 h 1538630"/>
              <a:gd name="csX800" fmla="*/ 98077 w 1609516"/>
              <a:gd name="csY800" fmla="*/ 661841 h 1538630"/>
              <a:gd name="csX801" fmla="*/ 119023 w 1609516"/>
              <a:gd name="csY801" fmla="*/ 661357 h 1538630"/>
              <a:gd name="csX802" fmla="*/ 119536 w 1609516"/>
              <a:gd name="csY802" fmla="*/ 661197 h 1538630"/>
              <a:gd name="csX803" fmla="*/ 109853 w 1609516"/>
              <a:gd name="csY803" fmla="*/ 661639 h 1538630"/>
              <a:gd name="csX804" fmla="*/ 106552 w 1609516"/>
              <a:gd name="csY804" fmla="*/ 661619 h 1538630"/>
              <a:gd name="csX805" fmla="*/ 98528 w 1609516"/>
              <a:gd name="csY805" fmla="*/ 661550 h 1538630"/>
              <a:gd name="csX806" fmla="*/ 98528 w 1609516"/>
              <a:gd name="csY806" fmla="*/ 658732 h 1538630"/>
              <a:gd name="csX807" fmla="*/ 89155 w 1609516"/>
              <a:gd name="csY807" fmla="*/ 657323 h 1538630"/>
              <a:gd name="csX808" fmla="*/ 89155 w 1609516"/>
              <a:gd name="csY808" fmla="*/ 654504 h 1538630"/>
              <a:gd name="csX809" fmla="*/ 86397 w 1609516"/>
              <a:gd name="csY809" fmla="*/ 653442 h 1538630"/>
              <a:gd name="csX810" fmla="*/ 77049 w 1609516"/>
              <a:gd name="csY810" fmla="*/ 646137 h 1538630"/>
              <a:gd name="csX811" fmla="*/ 74145 w 1609516"/>
              <a:gd name="csY811" fmla="*/ 643192 h 1538630"/>
              <a:gd name="csX812" fmla="*/ 71972 w 1609516"/>
              <a:gd name="csY812" fmla="*/ 636185 h 1538630"/>
              <a:gd name="csX813" fmla="*/ 68848 w 1609516"/>
              <a:gd name="csY813" fmla="*/ 636185 h 1538630"/>
              <a:gd name="csX814" fmla="*/ 70410 w 1609516"/>
              <a:gd name="csY814" fmla="*/ 595317 h 1538630"/>
              <a:gd name="csX815" fmla="*/ 79782 w 1609516"/>
              <a:gd name="csY815" fmla="*/ 584043 h 1538630"/>
              <a:gd name="csX816" fmla="*/ 82656 w 1609516"/>
              <a:gd name="csY816" fmla="*/ 581115 h 1538630"/>
              <a:gd name="csX817" fmla="*/ 116694 w 1609516"/>
              <a:gd name="csY817" fmla="*/ 572323 h 1538630"/>
              <a:gd name="csX818" fmla="*/ 152031 w 1609516"/>
              <a:gd name="csY818" fmla="*/ 590385 h 1538630"/>
              <a:gd name="csX819" fmla="*/ 191474 w 1609516"/>
              <a:gd name="csY819" fmla="*/ 605886 h 1538630"/>
              <a:gd name="csX820" fmla="*/ 206314 w 1609516"/>
              <a:gd name="csY820" fmla="*/ 608000 h 1538630"/>
              <a:gd name="csX821" fmla="*/ 206314 w 1609516"/>
              <a:gd name="csY821" fmla="*/ 610818 h 1538630"/>
              <a:gd name="csX822" fmla="*/ 234433 w 1609516"/>
              <a:gd name="csY822" fmla="*/ 610818 h 1538630"/>
              <a:gd name="csX823" fmla="*/ 239522 w 1609516"/>
              <a:gd name="csY823" fmla="*/ 610802 h 1538630"/>
              <a:gd name="csX824" fmla="*/ 268799 w 1609516"/>
              <a:gd name="csY824" fmla="*/ 600954 h 1538630"/>
              <a:gd name="csX825" fmla="*/ 271740 w 1609516"/>
              <a:gd name="csY825" fmla="*/ 599325 h 1538630"/>
              <a:gd name="csX826" fmla="*/ 284420 w 1609516"/>
              <a:gd name="csY826" fmla="*/ 579816 h 1538630"/>
              <a:gd name="csX827" fmla="*/ 289399 w 1609516"/>
              <a:gd name="csY827" fmla="*/ 568630 h 1538630"/>
              <a:gd name="csX828" fmla="*/ 293958 w 1609516"/>
              <a:gd name="csY828" fmla="*/ 535838 h 1538630"/>
              <a:gd name="csX829" fmla="*/ 289107 w 1609516"/>
              <a:gd name="csY829" fmla="*/ 529084 h 1538630"/>
              <a:gd name="csX830" fmla="*/ 289107 w 1609516"/>
              <a:gd name="csY830" fmla="*/ 526265 h 1538630"/>
              <a:gd name="csX831" fmla="*/ 284420 w 1609516"/>
              <a:gd name="csY831" fmla="*/ 524856 h 1538630"/>
              <a:gd name="csX832" fmla="*/ 282858 w 1609516"/>
              <a:gd name="csY832" fmla="*/ 520628 h 1538630"/>
              <a:gd name="csX833" fmla="*/ 277977 w 1609516"/>
              <a:gd name="csY833" fmla="*/ 516577 h 1538630"/>
              <a:gd name="csX834" fmla="*/ 264925 w 1609516"/>
              <a:gd name="csY834" fmla="*/ 506443 h 1538630"/>
              <a:gd name="csX835" fmla="*/ 229746 w 1609516"/>
              <a:gd name="csY835" fmla="*/ 481170 h 1538630"/>
              <a:gd name="csX836" fmla="*/ 221057 w 1609516"/>
              <a:gd name="csY836" fmla="*/ 475445 h 1538630"/>
              <a:gd name="csX837" fmla="*/ 212563 w 1609516"/>
              <a:gd name="csY837" fmla="*/ 469896 h 1538630"/>
              <a:gd name="csX838" fmla="*/ 208889 w 1609516"/>
              <a:gd name="csY838" fmla="*/ 467491 h 1538630"/>
              <a:gd name="csX839" fmla="*/ 190406 w 1609516"/>
              <a:gd name="csY839" fmla="*/ 456382 h 1538630"/>
              <a:gd name="csX840" fmla="*/ 186942 w 1609516"/>
              <a:gd name="csY840" fmla="*/ 454460 h 1538630"/>
              <a:gd name="csX841" fmla="*/ 180041 w 1609516"/>
              <a:gd name="csY841" fmla="*/ 450696 h 1538630"/>
              <a:gd name="csX842" fmla="*/ 171948 w 1609516"/>
              <a:gd name="csY842" fmla="*/ 445940 h 1538630"/>
              <a:gd name="csX843" fmla="*/ 171948 w 1609516"/>
              <a:gd name="csY843" fmla="*/ 443121 h 1538630"/>
              <a:gd name="csX844" fmla="*/ 168482 w 1609516"/>
              <a:gd name="csY844" fmla="*/ 442708 h 1538630"/>
              <a:gd name="csX845" fmla="*/ 157107 w 1609516"/>
              <a:gd name="csY845" fmla="*/ 437044 h 1538630"/>
              <a:gd name="csX846" fmla="*/ 132559 w 1609516"/>
              <a:gd name="csY846" fmla="*/ 427510 h 1538630"/>
              <a:gd name="csX847" fmla="*/ 123522 w 1609516"/>
              <a:gd name="csY847" fmla="*/ 421983 h 1538630"/>
              <a:gd name="csX848" fmla="*/ 107986 w 1609516"/>
              <a:gd name="csY848" fmla="*/ 418730 h 1538630"/>
              <a:gd name="csX849" fmla="*/ 102494 w 1609516"/>
              <a:gd name="csY849" fmla="*/ 418622 h 1538630"/>
              <a:gd name="csX850" fmla="*/ 91157 w 1609516"/>
              <a:gd name="csY850" fmla="*/ 418490 h 1538630"/>
              <a:gd name="csX851" fmla="*/ 55277 w 1609516"/>
              <a:gd name="csY851" fmla="*/ 410445 h 1538630"/>
              <a:gd name="csX852" fmla="*/ 51665 w 1609516"/>
              <a:gd name="csY852" fmla="*/ 406481 h 1538630"/>
              <a:gd name="csX853" fmla="*/ 45904 w 1609516"/>
              <a:gd name="csY853" fmla="*/ 400492 h 1538630"/>
              <a:gd name="csX854" fmla="*/ 43152 w 1609516"/>
              <a:gd name="csY854" fmla="*/ 397564 h 1538630"/>
              <a:gd name="csX855" fmla="*/ 37605 w 1609516"/>
              <a:gd name="csY855" fmla="*/ 393798 h 1538630"/>
              <a:gd name="csX856" fmla="*/ 38995 w 1609516"/>
              <a:gd name="csY856" fmla="*/ 368712 h 1538630"/>
              <a:gd name="csX857" fmla="*/ 38666 w 1609516"/>
              <a:gd name="csY857" fmla="*/ 369724 h 1538630"/>
              <a:gd name="csX858" fmla="*/ 35542 w 1609516"/>
              <a:gd name="csY858" fmla="*/ 384081 h 1538630"/>
              <a:gd name="csX859" fmla="*/ 33326 w 1609516"/>
              <a:gd name="csY859" fmla="*/ 357791 h 1538630"/>
              <a:gd name="csX860" fmla="*/ 52725 w 1609516"/>
              <a:gd name="csY860" fmla="*/ 333349 h 1538630"/>
              <a:gd name="csX861" fmla="*/ 55222 w 1609516"/>
              <a:gd name="csY861" fmla="*/ 334475 h 1538630"/>
              <a:gd name="csX862" fmla="*/ 56222 w 1609516"/>
              <a:gd name="csY862" fmla="*/ 333347 h 1538630"/>
              <a:gd name="csX863" fmla="*/ 55871 w 1609516"/>
              <a:gd name="csY863" fmla="*/ 333347 h 1538630"/>
              <a:gd name="csX864" fmla="*/ 56346 w 1609516"/>
              <a:gd name="csY864" fmla="*/ 333207 h 1538630"/>
              <a:gd name="csX865" fmla="*/ 56351 w 1609516"/>
              <a:gd name="csY865" fmla="*/ 333202 h 1538630"/>
              <a:gd name="csX866" fmla="*/ 56365 w 1609516"/>
              <a:gd name="csY866" fmla="*/ 333202 h 1538630"/>
              <a:gd name="csX867" fmla="*/ 79571 w 1609516"/>
              <a:gd name="csY867" fmla="*/ 326360 h 1538630"/>
              <a:gd name="csX868" fmla="*/ 104297 w 1609516"/>
              <a:gd name="csY868" fmla="*/ 330529 h 1538630"/>
              <a:gd name="csX869" fmla="*/ 107170 w 1609516"/>
              <a:gd name="csY869" fmla="*/ 334417 h 1538630"/>
              <a:gd name="csX870" fmla="*/ 109366 w 1609516"/>
              <a:gd name="csY870" fmla="*/ 336046 h 1538630"/>
              <a:gd name="csX871" fmla="*/ 109463 w 1609516"/>
              <a:gd name="csY871" fmla="*/ 336020 h 1538630"/>
              <a:gd name="csX872" fmla="*/ 109463 w 1609516"/>
              <a:gd name="csY872" fmla="*/ 336118 h 1538630"/>
              <a:gd name="csX873" fmla="*/ 115226 w 1609516"/>
              <a:gd name="csY873" fmla="*/ 340394 h 1538630"/>
              <a:gd name="csX874" fmla="*/ 114010 w 1609516"/>
              <a:gd name="csY874" fmla="*/ 340120 h 1538630"/>
              <a:gd name="csX875" fmla="*/ 133285 w 1609516"/>
              <a:gd name="csY875" fmla="*/ 357423 h 1538630"/>
              <a:gd name="csX876" fmla="*/ 173509 w 1609516"/>
              <a:gd name="csY876" fmla="*/ 389571 h 1538630"/>
              <a:gd name="csX877" fmla="*/ 181711 w 1609516"/>
              <a:gd name="csY877" fmla="*/ 393270 h 1538630"/>
              <a:gd name="csX878" fmla="*/ 185507 w 1609516"/>
              <a:gd name="csY878" fmla="*/ 394976 h 1538630"/>
              <a:gd name="csX879" fmla="*/ 192658 w 1609516"/>
              <a:gd name="csY879" fmla="*/ 398257 h 1538630"/>
              <a:gd name="csX880" fmla="*/ 195966 w 1609516"/>
              <a:gd name="csY880" fmla="*/ 399788 h 1538630"/>
              <a:gd name="csX881" fmla="*/ 198833 w 1609516"/>
              <a:gd name="csY881" fmla="*/ 401131 h 1538630"/>
              <a:gd name="csX882" fmla="*/ 207877 w 1609516"/>
              <a:gd name="csY882" fmla="*/ 403663 h 1538630"/>
              <a:gd name="csX883" fmla="*/ 207877 w 1609516"/>
              <a:gd name="csY883" fmla="*/ 406481 h 1538630"/>
              <a:gd name="csX884" fmla="*/ 248492 w 1609516"/>
              <a:gd name="csY884" fmla="*/ 419428 h 1538630"/>
              <a:gd name="csX885" fmla="*/ 253965 w 1609516"/>
              <a:gd name="csY885" fmla="*/ 421000 h 1538630"/>
              <a:gd name="csX886" fmla="*/ 267237 w 1609516"/>
              <a:gd name="csY886" fmla="*/ 424801 h 1538630"/>
              <a:gd name="csX887" fmla="*/ 267237 w 1609516"/>
              <a:gd name="csY887" fmla="*/ 426451 h 1538630"/>
              <a:gd name="csX888" fmla="*/ 288701 w 1609516"/>
              <a:gd name="csY888" fmla="*/ 429217 h 1538630"/>
              <a:gd name="csX889" fmla="*/ 288701 w 1609516"/>
              <a:gd name="csY889" fmla="*/ 432036 h 1538630"/>
              <a:gd name="csX890" fmla="*/ 327010 w 1609516"/>
              <a:gd name="csY890" fmla="*/ 433628 h 1538630"/>
              <a:gd name="csX891" fmla="*/ 337486 w 1609516"/>
              <a:gd name="csY891" fmla="*/ 433637 h 1538630"/>
              <a:gd name="csX892" fmla="*/ 344229 w 1609516"/>
              <a:gd name="csY892" fmla="*/ 433632 h 1538630"/>
              <a:gd name="csX893" fmla="*/ 350323 w 1609516"/>
              <a:gd name="csY893" fmla="*/ 433627 h 1538630"/>
              <a:gd name="csX894" fmla="*/ 365245 w 1609516"/>
              <a:gd name="csY894" fmla="*/ 432036 h 1538630"/>
              <a:gd name="csX895" fmla="*/ 360797 w 1609516"/>
              <a:gd name="csY895" fmla="*/ 433759 h 1538630"/>
              <a:gd name="csX896" fmla="*/ 365650 w 1609516"/>
              <a:gd name="csY896" fmla="*/ 433257 h 1538630"/>
              <a:gd name="csX897" fmla="*/ 367213 w 1609516"/>
              <a:gd name="csY897" fmla="*/ 429029 h 1538630"/>
              <a:gd name="csX898" fmla="*/ 375188 w 1609516"/>
              <a:gd name="csY898" fmla="*/ 424906 h 1538630"/>
              <a:gd name="csX899" fmla="*/ 404704 w 1609516"/>
              <a:gd name="csY899" fmla="*/ 389571 h 1538630"/>
              <a:gd name="csX900" fmla="*/ 406265 w 1609516"/>
              <a:gd name="csY900" fmla="*/ 388161 h 1538630"/>
              <a:gd name="csX901" fmla="*/ 406559 w 1609516"/>
              <a:gd name="csY901" fmla="*/ 370106 h 1538630"/>
              <a:gd name="csX902" fmla="*/ 406617 w 1609516"/>
              <a:gd name="csY902" fmla="*/ 364973 h 1538630"/>
              <a:gd name="csX903" fmla="*/ 406626 w 1609516"/>
              <a:gd name="csY903" fmla="*/ 360038 h 1538630"/>
              <a:gd name="csX904" fmla="*/ 406645 w 1609516"/>
              <a:gd name="csY904" fmla="*/ 355503 h 1538630"/>
              <a:gd name="csX905" fmla="*/ 403142 w 1609516"/>
              <a:gd name="csY905" fmla="*/ 345885 h 1538630"/>
              <a:gd name="csX906" fmla="*/ 401579 w 1609516"/>
              <a:gd name="csY906" fmla="*/ 338663 h 1538630"/>
              <a:gd name="csX907" fmla="*/ 390938 w 1609516"/>
              <a:gd name="csY907" fmla="*/ 315939 h 1538630"/>
              <a:gd name="csX908" fmla="*/ 388976 w 1609516"/>
              <a:gd name="csY908" fmla="*/ 312762 h 1538630"/>
              <a:gd name="csX909" fmla="*/ 377934 w 1609516"/>
              <a:gd name="csY909" fmla="*/ 297817 h 1538630"/>
              <a:gd name="csX910" fmla="*/ 368775 w 1609516"/>
              <a:gd name="csY910" fmla="*/ 282470 h 1538630"/>
              <a:gd name="csX911" fmla="*/ 359890 w 1609516"/>
              <a:gd name="csY911" fmla="*/ 271284 h 1538630"/>
              <a:gd name="csX912" fmla="*/ 357374 w 1609516"/>
              <a:gd name="csY912" fmla="*/ 268288 h 1538630"/>
              <a:gd name="csX913" fmla="*/ 337533 w 1609516"/>
              <a:gd name="csY913" fmla="*/ 248649 h 1538630"/>
              <a:gd name="csX914" fmla="*/ 335214 w 1609516"/>
              <a:gd name="csY914" fmla="*/ 246369 h 1538630"/>
              <a:gd name="csX915" fmla="*/ 327085 w 1609516"/>
              <a:gd name="csY915" fmla="*/ 242571 h 1538630"/>
              <a:gd name="csX916" fmla="*/ 288785 w 1609516"/>
              <a:gd name="csY916" fmla="*/ 207968 h 1538630"/>
              <a:gd name="csX917" fmla="*/ 286373 w 1609516"/>
              <a:gd name="csY917" fmla="*/ 192544 h 1538630"/>
              <a:gd name="csX918" fmla="*/ 286385 w 1609516"/>
              <a:gd name="csY918" fmla="*/ 189190 h 1538630"/>
              <a:gd name="csX919" fmla="*/ 300042 w 1609516"/>
              <a:gd name="csY919" fmla="*/ 164095 h 1538630"/>
              <a:gd name="csX920" fmla="*/ 302757 w 1609516"/>
              <a:gd name="csY920" fmla="*/ 161381 h 1538630"/>
              <a:gd name="csX921" fmla="*/ 338411 w 1609516"/>
              <a:gd name="csY921" fmla="*/ 152293 h 1538630"/>
              <a:gd name="csX922" fmla="*/ 368482 w 1609516"/>
              <a:gd name="csY922" fmla="*/ 161893 h 1538630"/>
              <a:gd name="csX923" fmla="*/ 371899 w 1609516"/>
              <a:gd name="csY923" fmla="*/ 165505 h 1538630"/>
              <a:gd name="csX924" fmla="*/ 375121 w 1609516"/>
              <a:gd name="csY924" fmla="*/ 168587 h 1538630"/>
              <a:gd name="csX925" fmla="*/ 384982 w 1609516"/>
              <a:gd name="csY925" fmla="*/ 193777 h 1538630"/>
              <a:gd name="csX926" fmla="*/ 390352 w 1609516"/>
              <a:gd name="csY926" fmla="*/ 214563 h 1538630"/>
              <a:gd name="csX927" fmla="*/ 391529 w 1609516"/>
              <a:gd name="csY927" fmla="*/ 217626 h 1538630"/>
              <a:gd name="csX928" fmla="*/ 401579 w 1609516"/>
              <a:gd name="csY928" fmla="*/ 234556 h 1538630"/>
              <a:gd name="csX929" fmla="*/ 401579 w 1609516"/>
              <a:gd name="csY929" fmla="*/ 238784 h 1538630"/>
              <a:gd name="csX930" fmla="*/ 404215 w 1609516"/>
              <a:gd name="csY930" fmla="*/ 239753 h 1538630"/>
              <a:gd name="csX931" fmla="*/ 417811 w 1609516"/>
              <a:gd name="csY931" fmla="*/ 251996 h 1538630"/>
              <a:gd name="csX932" fmla="*/ 426866 w 1609516"/>
              <a:gd name="csY932" fmla="*/ 262300 h 1538630"/>
              <a:gd name="csX933" fmla="*/ 450097 w 1609516"/>
              <a:gd name="csY933" fmla="*/ 287628 h 1538630"/>
              <a:gd name="csX934" fmla="*/ 457425 w 1609516"/>
              <a:gd name="csY934" fmla="*/ 293920 h 1538630"/>
              <a:gd name="csX935" fmla="*/ 460940 w 1609516"/>
              <a:gd name="csY935" fmla="*/ 296562 h 1538630"/>
              <a:gd name="csX936" fmla="*/ 460940 w 1609516"/>
              <a:gd name="csY936" fmla="*/ 300790 h 1538630"/>
              <a:gd name="csX937" fmla="*/ 473437 w 1609516"/>
              <a:gd name="csY937" fmla="*/ 305018 h 1538630"/>
              <a:gd name="csX938" fmla="*/ 473437 w 1609516"/>
              <a:gd name="csY938" fmla="*/ 307836 h 1538630"/>
              <a:gd name="csX939" fmla="*/ 479881 w 1609516"/>
              <a:gd name="csY939" fmla="*/ 309862 h 1538630"/>
              <a:gd name="csX940" fmla="*/ 483505 w 1609516"/>
              <a:gd name="csY940" fmla="*/ 311001 h 1538630"/>
              <a:gd name="csX941" fmla="*/ 548419 w 1609516"/>
              <a:gd name="csY941" fmla="*/ 306427 h 1538630"/>
              <a:gd name="csX942" fmla="*/ 551842 w 1609516"/>
              <a:gd name="csY942" fmla="*/ 305127 h 1538630"/>
              <a:gd name="csX943" fmla="*/ 560232 w 1609516"/>
              <a:gd name="csY943" fmla="*/ 298148 h 1538630"/>
              <a:gd name="csX944" fmla="*/ 562972 w 1609516"/>
              <a:gd name="csY944" fmla="*/ 295252 h 1538630"/>
              <a:gd name="csX945" fmla="*/ 568086 w 1609516"/>
              <a:gd name="csY945" fmla="*/ 289152 h 1538630"/>
              <a:gd name="csX946" fmla="*/ 570289 w 1609516"/>
              <a:gd name="csY946" fmla="*/ 286697 h 1538630"/>
              <a:gd name="csX947" fmla="*/ 573413 w 1609516"/>
              <a:gd name="csY947" fmla="*/ 286697 h 1538630"/>
              <a:gd name="csX948" fmla="*/ 577220 w 1609516"/>
              <a:gd name="csY948" fmla="*/ 257016 h 1538630"/>
              <a:gd name="csX949" fmla="*/ 577235 w 1609516"/>
              <a:gd name="csY949" fmla="*/ 254206 h 1538630"/>
              <a:gd name="csX950" fmla="*/ 569443 w 1609516"/>
              <a:gd name="csY950" fmla="*/ 206049 h 1538630"/>
              <a:gd name="csX951" fmla="*/ 568726 w 1609516"/>
              <a:gd name="csY951" fmla="*/ 200735 h 1538630"/>
              <a:gd name="csX952" fmla="*/ 565602 w 1609516"/>
              <a:gd name="csY952" fmla="*/ 200735 h 1538630"/>
              <a:gd name="csX953" fmla="*/ 559549 w 1609516"/>
              <a:gd name="csY953" fmla="*/ 184441 h 1538630"/>
              <a:gd name="csX954" fmla="*/ 537484 w 1609516"/>
              <a:gd name="csY954" fmla="*/ 159867 h 1538630"/>
              <a:gd name="csX955" fmla="*/ 531235 w 1609516"/>
              <a:gd name="csY955" fmla="*/ 154230 h 1538630"/>
              <a:gd name="csX956" fmla="*/ 531235 w 1609516"/>
              <a:gd name="csY956" fmla="*/ 151412 h 1538630"/>
              <a:gd name="csX957" fmla="*/ 526549 w 1609516"/>
              <a:gd name="csY957" fmla="*/ 150003 h 1538630"/>
              <a:gd name="csX958" fmla="*/ 524304 w 1609516"/>
              <a:gd name="csY958" fmla="*/ 107198 h 1538630"/>
              <a:gd name="csX959" fmla="*/ 547052 w 1609516"/>
              <a:gd name="csY959" fmla="*/ 85972 h 1538630"/>
              <a:gd name="csX960" fmla="*/ 588460 w 1609516"/>
              <a:gd name="csY960" fmla="*/ 83538 h 1538630"/>
              <a:gd name="csX961" fmla="*/ 617152 w 1609516"/>
              <a:gd name="csY961" fmla="*/ 111954 h 1538630"/>
              <a:gd name="csX962" fmla="*/ 617884 w 1609516"/>
              <a:gd name="csY962" fmla="*/ 124175 h 1538630"/>
              <a:gd name="csX963" fmla="*/ 617917 w 1609516"/>
              <a:gd name="csY963" fmla="*/ 127607 h 1538630"/>
              <a:gd name="csX964" fmla="*/ 617919 w 1609516"/>
              <a:gd name="csY964" fmla="*/ 141969 h 1538630"/>
              <a:gd name="csX965" fmla="*/ 630625 w 1609516"/>
              <a:gd name="csY965" fmla="*/ 191311 h 1538630"/>
              <a:gd name="csX966" fmla="*/ 637850 w 1609516"/>
              <a:gd name="csY966" fmla="*/ 205139 h 1538630"/>
              <a:gd name="csX967" fmla="*/ 643708 w 1609516"/>
              <a:gd name="csY967" fmla="*/ 212009 h 1538630"/>
              <a:gd name="csX968" fmla="*/ 647027 w 1609516"/>
              <a:gd name="csY968" fmla="*/ 217645 h 1538630"/>
              <a:gd name="csX969" fmla="*/ 670264 w 1609516"/>
              <a:gd name="csY969" fmla="*/ 241603 h 1538630"/>
              <a:gd name="csX970" fmla="*/ 670264 w 1609516"/>
              <a:gd name="csY970" fmla="*/ 244421 h 1538630"/>
              <a:gd name="csX971" fmla="*/ 675634 w 1609516"/>
              <a:gd name="csY971" fmla="*/ 245742 h 1538630"/>
              <a:gd name="csX972" fmla="*/ 682761 w 1609516"/>
              <a:gd name="csY972" fmla="*/ 248649 h 1538630"/>
              <a:gd name="csX973" fmla="*/ 752092 w 1609516"/>
              <a:gd name="csY973" fmla="*/ 245076 h 1538630"/>
              <a:gd name="csX974" fmla="*/ 758433 w 1609516"/>
              <a:gd name="csY974" fmla="*/ 240485 h 1538630"/>
              <a:gd name="csX975" fmla="*/ 763991 w 1609516"/>
              <a:gd name="csY975" fmla="*/ 238784 h 1538630"/>
              <a:gd name="csX976" fmla="*/ 765315 w 1609516"/>
              <a:gd name="csY976" fmla="*/ 235778 h 1538630"/>
              <a:gd name="csX977" fmla="*/ 770923 w 1609516"/>
              <a:gd name="csY977" fmla="*/ 223459 h 1538630"/>
              <a:gd name="csX978" fmla="*/ 772998 w 1609516"/>
              <a:gd name="csY978" fmla="*/ 218934 h 1538630"/>
              <a:gd name="csX979" fmla="*/ 777562 w 1609516"/>
              <a:gd name="csY979" fmla="*/ 209895 h 1538630"/>
              <a:gd name="csX980" fmla="*/ 781175 w 1609516"/>
              <a:gd name="csY980" fmla="*/ 124637 h 1538630"/>
              <a:gd name="csX981" fmla="*/ 778051 w 1609516"/>
              <a:gd name="csY981" fmla="*/ 124637 h 1538630"/>
              <a:gd name="csX982" fmla="*/ 767116 w 1609516"/>
              <a:gd name="csY982" fmla="*/ 79542 h 1538630"/>
              <a:gd name="csX983" fmla="*/ 793379 w 1609516"/>
              <a:gd name="csY983" fmla="*/ 54000 h 1538630"/>
              <a:gd name="csX984" fmla="*/ 840688 w 1609516"/>
              <a:gd name="csY984" fmla="*/ 55503 h 1538630"/>
              <a:gd name="csX985" fmla="*/ 851470 w 1609516"/>
              <a:gd name="csY985" fmla="*/ 64040 h 1538630"/>
              <a:gd name="csX986" fmla="*/ 853997 w 1609516"/>
              <a:gd name="csY986" fmla="*/ 66529 h 1538630"/>
              <a:gd name="csX987" fmla="*/ 861488 w 1609516"/>
              <a:gd name="csY987" fmla="*/ 82057 h 1538630"/>
              <a:gd name="csX988" fmla="*/ 861937 w 1609516"/>
              <a:gd name="csY988" fmla="*/ 90492 h 1538630"/>
              <a:gd name="csX989" fmla="*/ 863826 w 1609516"/>
              <a:gd name="csY989" fmla="*/ 100715 h 1538630"/>
              <a:gd name="csX990" fmla="*/ 857577 w 1609516"/>
              <a:gd name="csY990" fmla="*/ 121853 h 1538630"/>
              <a:gd name="csX991" fmla="*/ 856015 w 1609516"/>
              <a:gd name="csY991" fmla="*/ 121853 h 1538630"/>
              <a:gd name="csX992" fmla="*/ 855442 w 1609516"/>
              <a:gd name="csY992" fmla="*/ 118919 h 1538630"/>
              <a:gd name="csX993" fmla="*/ 855417 w 1609516"/>
              <a:gd name="csY993" fmla="*/ 118798 h 1538630"/>
              <a:gd name="csX994" fmla="*/ 856157 w 1609516"/>
              <a:gd name="csY994" fmla="*/ 124637 h 1538630"/>
              <a:gd name="csX995" fmla="*/ 850623 w 1609516"/>
              <a:gd name="csY995" fmla="*/ 134701 h 1538630"/>
              <a:gd name="csX996" fmla="*/ 851325 w 1609516"/>
              <a:gd name="csY996" fmla="*/ 135968 h 1538630"/>
              <a:gd name="csX997" fmla="*/ 849886 w 1609516"/>
              <a:gd name="csY997" fmla="*/ 139843 h 1538630"/>
              <a:gd name="csX998" fmla="*/ 847786 w 1609516"/>
              <a:gd name="csY998" fmla="*/ 152889 h 1538630"/>
              <a:gd name="csX999" fmla="*/ 847767 w 1609516"/>
              <a:gd name="csY999" fmla="*/ 157768 h 1538630"/>
              <a:gd name="csX1000" fmla="*/ 847810 w 1609516"/>
              <a:gd name="csY1000" fmla="*/ 162919 h 1538630"/>
              <a:gd name="csX1001" fmla="*/ 847832 w 1609516"/>
              <a:gd name="csY1001" fmla="*/ 168227 h 1538630"/>
              <a:gd name="csX1002" fmla="*/ 850903 w 1609516"/>
              <a:gd name="csY1002" fmla="*/ 209013 h 1538630"/>
              <a:gd name="csX1003" fmla="*/ 852880 w 1609516"/>
              <a:gd name="csY1003" fmla="*/ 224692 h 1538630"/>
              <a:gd name="csX1004" fmla="*/ 854595 w 1609516"/>
              <a:gd name="csY1004" fmla="*/ 224692 h 1538630"/>
              <a:gd name="csX1005" fmla="*/ 856083 w 1609516"/>
              <a:gd name="csY1005" fmla="*/ 227268 h 1538630"/>
              <a:gd name="csX1006" fmla="*/ 879588 w 1609516"/>
              <a:gd name="csY1006" fmla="*/ 247239 h 1538630"/>
              <a:gd name="csX1007" fmla="*/ 885739 w 1609516"/>
              <a:gd name="csY1007" fmla="*/ 249618 h 1538630"/>
              <a:gd name="csX1008" fmla="*/ 890523 w 1609516"/>
              <a:gd name="csY1008" fmla="*/ 251467 h 1538630"/>
              <a:gd name="csX1009" fmla="*/ 890523 w 1609516"/>
              <a:gd name="csY1009" fmla="*/ 254285 h 1538630"/>
              <a:gd name="csX1010" fmla="*/ 920203 w 1609516"/>
              <a:gd name="csY1010" fmla="*/ 261332 h 1538630"/>
              <a:gd name="csX1011" fmla="*/ 920203 w 1609516"/>
              <a:gd name="csY1011" fmla="*/ 262741 h 1538630"/>
              <a:gd name="csX1012" fmla="*/ 910831 w 1609516"/>
              <a:gd name="csY1012" fmla="*/ 262741 h 1538630"/>
              <a:gd name="csX1013" fmla="*/ 910831 w 1609516"/>
              <a:gd name="csY1013" fmla="*/ 262864 h 1538630"/>
              <a:gd name="csX1014" fmla="*/ 927993 w 1609516"/>
              <a:gd name="csY1014" fmla="*/ 264177 h 1538630"/>
              <a:gd name="csX1015" fmla="*/ 939273 w 1609516"/>
              <a:gd name="csY1015" fmla="*/ 265285 h 1538630"/>
              <a:gd name="csX1016" fmla="*/ 940456 w 1609516"/>
              <a:gd name="csY1016" fmla="*/ 265191 h 1538630"/>
              <a:gd name="csX1017" fmla="*/ 991622 w 1609516"/>
              <a:gd name="csY1017" fmla="*/ 242329 h 1538630"/>
              <a:gd name="csX1018" fmla="*/ 1000803 w 1609516"/>
              <a:gd name="csY1018" fmla="*/ 236505 h 1538630"/>
              <a:gd name="csX1019" fmla="*/ 999806 w 1609516"/>
              <a:gd name="csY1019" fmla="*/ 236055 h 1538630"/>
              <a:gd name="csX1020" fmla="*/ 1003126 w 1609516"/>
              <a:gd name="csY1020" fmla="*/ 232851 h 1538630"/>
              <a:gd name="csX1021" fmla="*/ 1029487 w 1609516"/>
              <a:gd name="csY1021" fmla="*/ 205052 h 1538630"/>
              <a:gd name="csX1022" fmla="*/ 1029872 w 1609516"/>
              <a:gd name="csY1022" fmla="*/ 206442 h 1538630"/>
              <a:gd name="csX1023" fmla="*/ 1031614 w 1609516"/>
              <a:gd name="csY1023" fmla="*/ 203719 h 1538630"/>
              <a:gd name="csX1024" fmla="*/ 1038924 w 1609516"/>
              <a:gd name="csY1024" fmla="*/ 192280 h 1538630"/>
              <a:gd name="csX1025" fmla="*/ 1042049 w 1609516"/>
              <a:gd name="csY1025" fmla="*/ 190870 h 1538630"/>
              <a:gd name="csX1026" fmla="*/ 1044294 w 1609516"/>
              <a:gd name="csY1026" fmla="*/ 186026 h 1538630"/>
              <a:gd name="csX1027" fmla="*/ 1051422 w 1609516"/>
              <a:gd name="csY1027" fmla="*/ 178188 h 1538630"/>
              <a:gd name="csX1028" fmla="*/ 1052984 w 1609516"/>
              <a:gd name="csY1028" fmla="*/ 172551 h 1538630"/>
              <a:gd name="csX1029" fmla="*/ 1056108 w 1609516"/>
              <a:gd name="csY1029" fmla="*/ 172551 h 1538630"/>
              <a:gd name="csX1030" fmla="*/ 1059232 w 1609516"/>
              <a:gd name="csY1030" fmla="*/ 162686 h 1538630"/>
              <a:gd name="csX1031" fmla="*/ 1062357 w 1609516"/>
              <a:gd name="csY1031" fmla="*/ 162686 h 1538630"/>
              <a:gd name="csX1032" fmla="*/ 1063162 w 1609516"/>
              <a:gd name="csY1032" fmla="*/ 160258 h 1538630"/>
              <a:gd name="csX1033" fmla="*/ 1073292 w 1609516"/>
              <a:gd name="csY1033" fmla="*/ 140138 h 1538630"/>
              <a:gd name="csX1034" fmla="*/ 1076415 w 1609516"/>
              <a:gd name="csY1034" fmla="*/ 140138 h 1538630"/>
              <a:gd name="csX1035" fmla="*/ 1085294 w 1609516"/>
              <a:gd name="csY1035" fmla="*/ 117569 h 1538630"/>
              <a:gd name="csX1036" fmla="*/ 1087350 w 1609516"/>
              <a:gd name="csY1036" fmla="*/ 113363 h 1538630"/>
              <a:gd name="csX1037" fmla="*/ 1092037 w 1609516"/>
              <a:gd name="csY1037" fmla="*/ 111954 h 1538630"/>
              <a:gd name="csX1038" fmla="*/ 1092623 w 1609516"/>
              <a:gd name="csY1038" fmla="*/ 108695 h 1538630"/>
              <a:gd name="csX1039" fmla="*/ 1096723 w 1609516"/>
              <a:gd name="csY1039" fmla="*/ 100680 h 1538630"/>
              <a:gd name="csX1040" fmla="*/ 1098188 w 1609516"/>
              <a:gd name="csY1040" fmla="*/ 96013 h 1538630"/>
              <a:gd name="csX1041" fmla="*/ 1102288 w 1609516"/>
              <a:gd name="csY1041" fmla="*/ 87029 h 1538630"/>
              <a:gd name="csX1042" fmla="*/ 1104534 w 1609516"/>
              <a:gd name="csY1042" fmla="*/ 61222 h 1538630"/>
              <a:gd name="csX1043" fmla="*/ 1104381 w 1609516"/>
              <a:gd name="csY1043" fmla="*/ 55569 h 1538630"/>
              <a:gd name="csX1044" fmla="*/ 1104397 w 1609516"/>
              <a:gd name="csY1044" fmla="*/ 52335 h 1538630"/>
              <a:gd name="csX1045" fmla="*/ 1104436 w 1609516"/>
              <a:gd name="csY1045" fmla="*/ 48979 h 1538630"/>
              <a:gd name="csX1046" fmla="*/ 1104457 w 1609516"/>
              <a:gd name="csY1046" fmla="*/ 45575 h 1538630"/>
              <a:gd name="csX1047" fmla="*/ 1104534 w 1609516"/>
              <a:gd name="csY1047" fmla="*/ 37265 h 1538630"/>
              <a:gd name="csX1048" fmla="*/ 1107658 w 1609516"/>
              <a:gd name="csY1048" fmla="*/ 37265 h 1538630"/>
              <a:gd name="csX1049" fmla="*/ 1107463 w 1609516"/>
              <a:gd name="csY1049" fmla="*/ 31805 h 1538630"/>
              <a:gd name="csX1050" fmla="*/ 1107658 w 1609516"/>
              <a:gd name="csY1050" fmla="*/ 25991 h 1538630"/>
              <a:gd name="csX1051" fmla="*/ 1110782 w 1609516"/>
              <a:gd name="csY1051" fmla="*/ 23173 h 1538630"/>
              <a:gd name="csX1052" fmla="*/ 1111759 w 1609516"/>
              <a:gd name="csY1052" fmla="*/ 20091 h 1538630"/>
              <a:gd name="csX1053" fmla="*/ 1134507 w 1609516"/>
              <a:gd name="csY1053" fmla="*/ 2828 h 1538630"/>
              <a:gd name="csX1054" fmla="*/ 1155019 w 1609516"/>
              <a:gd name="csY1054" fmla="*/ 35 h 153863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  <a:cxn ang="0">
                <a:pos x="csX170" y="csY170"/>
              </a:cxn>
              <a:cxn ang="0">
                <a:pos x="csX171" y="csY171"/>
              </a:cxn>
              <a:cxn ang="0">
                <a:pos x="csX172" y="csY172"/>
              </a:cxn>
              <a:cxn ang="0">
                <a:pos x="csX173" y="csY173"/>
              </a:cxn>
              <a:cxn ang="0">
                <a:pos x="csX174" y="csY174"/>
              </a:cxn>
              <a:cxn ang="0">
                <a:pos x="csX175" y="csY175"/>
              </a:cxn>
              <a:cxn ang="0">
                <a:pos x="csX176" y="csY176"/>
              </a:cxn>
              <a:cxn ang="0">
                <a:pos x="csX177" y="csY177"/>
              </a:cxn>
              <a:cxn ang="0">
                <a:pos x="csX178" y="csY178"/>
              </a:cxn>
              <a:cxn ang="0">
                <a:pos x="csX179" y="csY179"/>
              </a:cxn>
              <a:cxn ang="0">
                <a:pos x="csX180" y="csY180"/>
              </a:cxn>
              <a:cxn ang="0">
                <a:pos x="csX181" y="csY181"/>
              </a:cxn>
              <a:cxn ang="0">
                <a:pos x="csX182" y="csY182"/>
              </a:cxn>
              <a:cxn ang="0">
                <a:pos x="csX183" y="csY183"/>
              </a:cxn>
              <a:cxn ang="0">
                <a:pos x="csX184" y="csY184"/>
              </a:cxn>
              <a:cxn ang="0">
                <a:pos x="csX185" y="csY185"/>
              </a:cxn>
              <a:cxn ang="0">
                <a:pos x="csX186" y="csY186"/>
              </a:cxn>
              <a:cxn ang="0">
                <a:pos x="csX187" y="csY187"/>
              </a:cxn>
              <a:cxn ang="0">
                <a:pos x="csX188" y="csY188"/>
              </a:cxn>
              <a:cxn ang="0">
                <a:pos x="csX189" y="csY189"/>
              </a:cxn>
              <a:cxn ang="0">
                <a:pos x="csX190" y="csY190"/>
              </a:cxn>
              <a:cxn ang="0">
                <a:pos x="csX191" y="csY191"/>
              </a:cxn>
              <a:cxn ang="0">
                <a:pos x="csX192" y="csY192"/>
              </a:cxn>
              <a:cxn ang="0">
                <a:pos x="csX193" y="csY193"/>
              </a:cxn>
              <a:cxn ang="0">
                <a:pos x="csX194" y="csY194"/>
              </a:cxn>
              <a:cxn ang="0">
                <a:pos x="csX195" y="csY195"/>
              </a:cxn>
              <a:cxn ang="0">
                <a:pos x="csX196" y="csY196"/>
              </a:cxn>
              <a:cxn ang="0">
                <a:pos x="csX197" y="csY197"/>
              </a:cxn>
              <a:cxn ang="0">
                <a:pos x="csX198" y="csY198"/>
              </a:cxn>
              <a:cxn ang="0">
                <a:pos x="csX199" y="csY199"/>
              </a:cxn>
              <a:cxn ang="0">
                <a:pos x="csX200" y="csY200"/>
              </a:cxn>
              <a:cxn ang="0">
                <a:pos x="csX201" y="csY201"/>
              </a:cxn>
              <a:cxn ang="0">
                <a:pos x="csX202" y="csY202"/>
              </a:cxn>
              <a:cxn ang="0">
                <a:pos x="csX203" y="csY203"/>
              </a:cxn>
              <a:cxn ang="0">
                <a:pos x="csX204" y="csY204"/>
              </a:cxn>
              <a:cxn ang="0">
                <a:pos x="csX205" y="csY205"/>
              </a:cxn>
              <a:cxn ang="0">
                <a:pos x="csX206" y="csY206"/>
              </a:cxn>
              <a:cxn ang="0">
                <a:pos x="csX207" y="csY207"/>
              </a:cxn>
              <a:cxn ang="0">
                <a:pos x="csX208" y="csY208"/>
              </a:cxn>
              <a:cxn ang="0">
                <a:pos x="csX209" y="csY209"/>
              </a:cxn>
              <a:cxn ang="0">
                <a:pos x="csX210" y="csY210"/>
              </a:cxn>
              <a:cxn ang="0">
                <a:pos x="csX211" y="csY211"/>
              </a:cxn>
              <a:cxn ang="0">
                <a:pos x="csX212" y="csY212"/>
              </a:cxn>
              <a:cxn ang="0">
                <a:pos x="csX213" y="csY213"/>
              </a:cxn>
              <a:cxn ang="0">
                <a:pos x="csX214" y="csY214"/>
              </a:cxn>
              <a:cxn ang="0">
                <a:pos x="csX215" y="csY215"/>
              </a:cxn>
              <a:cxn ang="0">
                <a:pos x="csX216" y="csY216"/>
              </a:cxn>
              <a:cxn ang="0">
                <a:pos x="csX217" y="csY217"/>
              </a:cxn>
              <a:cxn ang="0">
                <a:pos x="csX218" y="csY218"/>
              </a:cxn>
              <a:cxn ang="0">
                <a:pos x="csX219" y="csY219"/>
              </a:cxn>
              <a:cxn ang="0">
                <a:pos x="csX220" y="csY220"/>
              </a:cxn>
              <a:cxn ang="0">
                <a:pos x="csX221" y="csY221"/>
              </a:cxn>
              <a:cxn ang="0">
                <a:pos x="csX222" y="csY222"/>
              </a:cxn>
              <a:cxn ang="0">
                <a:pos x="csX223" y="csY223"/>
              </a:cxn>
              <a:cxn ang="0">
                <a:pos x="csX224" y="csY224"/>
              </a:cxn>
              <a:cxn ang="0">
                <a:pos x="csX225" y="csY225"/>
              </a:cxn>
              <a:cxn ang="0">
                <a:pos x="csX226" y="csY226"/>
              </a:cxn>
              <a:cxn ang="0">
                <a:pos x="csX227" y="csY227"/>
              </a:cxn>
              <a:cxn ang="0">
                <a:pos x="csX228" y="csY228"/>
              </a:cxn>
              <a:cxn ang="0">
                <a:pos x="csX229" y="csY229"/>
              </a:cxn>
              <a:cxn ang="0">
                <a:pos x="csX230" y="csY230"/>
              </a:cxn>
              <a:cxn ang="0">
                <a:pos x="csX231" y="csY231"/>
              </a:cxn>
              <a:cxn ang="0">
                <a:pos x="csX232" y="csY232"/>
              </a:cxn>
              <a:cxn ang="0">
                <a:pos x="csX233" y="csY233"/>
              </a:cxn>
              <a:cxn ang="0">
                <a:pos x="csX234" y="csY234"/>
              </a:cxn>
              <a:cxn ang="0">
                <a:pos x="csX235" y="csY235"/>
              </a:cxn>
              <a:cxn ang="0">
                <a:pos x="csX236" y="csY236"/>
              </a:cxn>
              <a:cxn ang="0">
                <a:pos x="csX237" y="csY237"/>
              </a:cxn>
              <a:cxn ang="0">
                <a:pos x="csX238" y="csY238"/>
              </a:cxn>
              <a:cxn ang="0">
                <a:pos x="csX239" y="csY239"/>
              </a:cxn>
              <a:cxn ang="0">
                <a:pos x="csX240" y="csY240"/>
              </a:cxn>
              <a:cxn ang="0">
                <a:pos x="csX241" y="csY241"/>
              </a:cxn>
              <a:cxn ang="0">
                <a:pos x="csX242" y="csY242"/>
              </a:cxn>
              <a:cxn ang="0">
                <a:pos x="csX243" y="csY243"/>
              </a:cxn>
              <a:cxn ang="0">
                <a:pos x="csX244" y="csY244"/>
              </a:cxn>
              <a:cxn ang="0">
                <a:pos x="csX245" y="csY245"/>
              </a:cxn>
              <a:cxn ang="0">
                <a:pos x="csX246" y="csY246"/>
              </a:cxn>
              <a:cxn ang="0">
                <a:pos x="csX247" y="csY247"/>
              </a:cxn>
              <a:cxn ang="0">
                <a:pos x="csX248" y="csY248"/>
              </a:cxn>
              <a:cxn ang="0">
                <a:pos x="csX249" y="csY249"/>
              </a:cxn>
              <a:cxn ang="0">
                <a:pos x="csX250" y="csY250"/>
              </a:cxn>
              <a:cxn ang="0">
                <a:pos x="csX251" y="csY251"/>
              </a:cxn>
              <a:cxn ang="0">
                <a:pos x="csX252" y="csY252"/>
              </a:cxn>
              <a:cxn ang="0">
                <a:pos x="csX253" y="csY253"/>
              </a:cxn>
              <a:cxn ang="0">
                <a:pos x="csX254" y="csY254"/>
              </a:cxn>
              <a:cxn ang="0">
                <a:pos x="csX255" y="csY255"/>
              </a:cxn>
              <a:cxn ang="0">
                <a:pos x="csX256" y="csY256"/>
              </a:cxn>
              <a:cxn ang="0">
                <a:pos x="csX257" y="csY257"/>
              </a:cxn>
              <a:cxn ang="0">
                <a:pos x="csX258" y="csY258"/>
              </a:cxn>
              <a:cxn ang="0">
                <a:pos x="csX259" y="csY259"/>
              </a:cxn>
              <a:cxn ang="0">
                <a:pos x="csX260" y="csY260"/>
              </a:cxn>
              <a:cxn ang="0">
                <a:pos x="csX261" y="csY261"/>
              </a:cxn>
              <a:cxn ang="0">
                <a:pos x="csX262" y="csY262"/>
              </a:cxn>
              <a:cxn ang="0">
                <a:pos x="csX263" y="csY263"/>
              </a:cxn>
              <a:cxn ang="0">
                <a:pos x="csX264" y="csY264"/>
              </a:cxn>
              <a:cxn ang="0">
                <a:pos x="csX265" y="csY265"/>
              </a:cxn>
              <a:cxn ang="0">
                <a:pos x="csX266" y="csY266"/>
              </a:cxn>
              <a:cxn ang="0">
                <a:pos x="csX267" y="csY267"/>
              </a:cxn>
              <a:cxn ang="0">
                <a:pos x="csX268" y="csY268"/>
              </a:cxn>
              <a:cxn ang="0">
                <a:pos x="csX269" y="csY269"/>
              </a:cxn>
              <a:cxn ang="0">
                <a:pos x="csX270" y="csY270"/>
              </a:cxn>
              <a:cxn ang="0">
                <a:pos x="csX271" y="csY271"/>
              </a:cxn>
              <a:cxn ang="0">
                <a:pos x="csX272" y="csY272"/>
              </a:cxn>
              <a:cxn ang="0">
                <a:pos x="csX273" y="csY273"/>
              </a:cxn>
              <a:cxn ang="0">
                <a:pos x="csX274" y="csY274"/>
              </a:cxn>
              <a:cxn ang="0">
                <a:pos x="csX275" y="csY275"/>
              </a:cxn>
              <a:cxn ang="0">
                <a:pos x="csX276" y="csY276"/>
              </a:cxn>
              <a:cxn ang="0">
                <a:pos x="csX277" y="csY277"/>
              </a:cxn>
              <a:cxn ang="0">
                <a:pos x="csX278" y="csY278"/>
              </a:cxn>
              <a:cxn ang="0">
                <a:pos x="csX279" y="csY279"/>
              </a:cxn>
              <a:cxn ang="0">
                <a:pos x="csX280" y="csY280"/>
              </a:cxn>
              <a:cxn ang="0">
                <a:pos x="csX281" y="csY281"/>
              </a:cxn>
              <a:cxn ang="0">
                <a:pos x="csX282" y="csY282"/>
              </a:cxn>
              <a:cxn ang="0">
                <a:pos x="csX283" y="csY283"/>
              </a:cxn>
              <a:cxn ang="0">
                <a:pos x="csX284" y="csY284"/>
              </a:cxn>
              <a:cxn ang="0">
                <a:pos x="csX285" y="csY285"/>
              </a:cxn>
              <a:cxn ang="0">
                <a:pos x="csX286" y="csY286"/>
              </a:cxn>
              <a:cxn ang="0">
                <a:pos x="csX287" y="csY287"/>
              </a:cxn>
              <a:cxn ang="0">
                <a:pos x="csX288" y="csY288"/>
              </a:cxn>
              <a:cxn ang="0">
                <a:pos x="csX289" y="csY289"/>
              </a:cxn>
              <a:cxn ang="0">
                <a:pos x="csX290" y="csY290"/>
              </a:cxn>
              <a:cxn ang="0">
                <a:pos x="csX291" y="csY291"/>
              </a:cxn>
              <a:cxn ang="0">
                <a:pos x="csX292" y="csY292"/>
              </a:cxn>
              <a:cxn ang="0">
                <a:pos x="csX293" y="csY293"/>
              </a:cxn>
              <a:cxn ang="0">
                <a:pos x="csX294" y="csY294"/>
              </a:cxn>
              <a:cxn ang="0">
                <a:pos x="csX295" y="csY295"/>
              </a:cxn>
              <a:cxn ang="0">
                <a:pos x="csX296" y="csY296"/>
              </a:cxn>
              <a:cxn ang="0">
                <a:pos x="csX297" y="csY297"/>
              </a:cxn>
              <a:cxn ang="0">
                <a:pos x="csX298" y="csY298"/>
              </a:cxn>
              <a:cxn ang="0">
                <a:pos x="csX299" y="csY299"/>
              </a:cxn>
              <a:cxn ang="0">
                <a:pos x="csX300" y="csY300"/>
              </a:cxn>
              <a:cxn ang="0">
                <a:pos x="csX301" y="csY301"/>
              </a:cxn>
              <a:cxn ang="0">
                <a:pos x="csX302" y="csY302"/>
              </a:cxn>
              <a:cxn ang="0">
                <a:pos x="csX303" y="csY303"/>
              </a:cxn>
              <a:cxn ang="0">
                <a:pos x="csX304" y="csY304"/>
              </a:cxn>
              <a:cxn ang="0">
                <a:pos x="csX305" y="csY305"/>
              </a:cxn>
              <a:cxn ang="0">
                <a:pos x="csX306" y="csY306"/>
              </a:cxn>
              <a:cxn ang="0">
                <a:pos x="csX307" y="csY307"/>
              </a:cxn>
              <a:cxn ang="0">
                <a:pos x="csX308" y="csY308"/>
              </a:cxn>
              <a:cxn ang="0">
                <a:pos x="csX309" y="csY309"/>
              </a:cxn>
              <a:cxn ang="0">
                <a:pos x="csX310" y="csY310"/>
              </a:cxn>
              <a:cxn ang="0">
                <a:pos x="csX311" y="csY311"/>
              </a:cxn>
              <a:cxn ang="0">
                <a:pos x="csX312" y="csY312"/>
              </a:cxn>
              <a:cxn ang="0">
                <a:pos x="csX313" y="csY313"/>
              </a:cxn>
              <a:cxn ang="0">
                <a:pos x="csX314" y="csY314"/>
              </a:cxn>
              <a:cxn ang="0">
                <a:pos x="csX315" y="csY315"/>
              </a:cxn>
              <a:cxn ang="0">
                <a:pos x="csX316" y="csY316"/>
              </a:cxn>
              <a:cxn ang="0">
                <a:pos x="csX317" y="csY317"/>
              </a:cxn>
              <a:cxn ang="0">
                <a:pos x="csX318" y="csY318"/>
              </a:cxn>
              <a:cxn ang="0">
                <a:pos x="csX319" y="csY319"/>
              </a:cxn>
              <a:cxn ang="0">
                <a:pos x="csX320" y="csY320"/>
              </a:cxn>
              <a:cxn ang="0">
                <a:pos x="csX321" y="csY321"/>
              </a:cxn>
              <a:cxn ang="0">
                <a:pos x="csX322" y="csY322"/>
              </a:cxn>
              <a:cxn ang="0">
                <a:pos x="csX323" y="csY323"/>
              </a:cxn>
              <a:cxn ang="0">
                <a:pos x="csX324" y="csY324"/>
              </a:cxn>
              <a:cxn ang="0">
                <a:pos x="csX325" y="csY325"/>
              </a:cxn>
              <a:cxn ang="0">
                <a:pos x="csX326" y="csY326"/>
              </a:cxn>
              <a:cxn ang="0">
                <a:pos x="csX327" y="csY327"/>
              </a:cxn>
              <a:cxn ang="0">
                <a:pos x="csX328" y="csY328"/>
              </a:cxn>
              <a:cxn ang="0">
                <a:pos x="csX329" y="csY329"/>
              </a:cxn>
              <a:cxn ang="0">
                <a:pos x="csX330" y="csY330"/>
              </a:cxn>
              <a:cxn ang="0">
                <a:pos x="csX331" y="csY331"/>
              </a:cxn>
              <a:cxn ang="0">
                <a:pos x="csX332" y="csY332"/>
              </a:cxn>
              <a:cxn ang="0">
                <a:pos x="csX333" y="csY333"/>
              </a:cxn>
              <a:cxn ang="0">
                <a:pos x="csX334" y="csY334"/>
              </a:cxn>
              <a:cxn ang="0">
                <a:pos x="csX335" y="csY335"/>
              </a:cxn>
              <a:cxn ang="0">
                <a:pos x="csX336" y="csY336"/>
              </a:cxn>
              <a:cxn ang="0">
                <a:pos x="csX337" y="csY337"/>
              </a:cxn>
              <a:cxn ang="0">
                <a:pos x="csX338" y="csY338"/>
              </a:cxn>
              <a:cxn ang="0">
                <a:pos x="csX339" y="csY339"/>
              </a:cxn>
              <a:cxn ang="0">
                <a:pos x="csX340" y="csY340"/>
              </a:cxn>
              <a:cxn ang="0">
                <a:pos x="csX341" y="csY341"/>
              </a:cxn>
              <a:cxn ang="0">
                <a:pos x="csX342" y="csY342"/>
              </a:cxn>
              <a:cxn ang="0">
                <a:pos x="csX343" y="csY343"/>
              </a:cxn>
              <a:cxn ang="0">
                <a:pos x="csX344" y="csY344"/>
              </a:cxn>
              <a:cxn ang="0">
                <a:pos x="csX345" y="csY345"/>
              </a:cxn>
              <a:cxn ang="0">
                <a:pos x="csX346" y="csY346"/>
              </a:cxn>
              <a:cxn ang="0">
                <a:pos x="csX347" y="csY347"/>
              </a:cxn>
              <a:cxn ang="0">
                <a:pos x="csX348" y="csY348"/>
              </a:cxn>
              <a:cxn ang="0">
                <a:pos x="csX349" y="csY349"/>
              </a:cxn>
              <a:cxn ang="0">
                <a:pos x="csX350" y="csY350"/>
              </a:cxn>
              <a:cxn ang="0">
                <a:pos x="csX351" y="csY351"/>
              </a:cxn>
              <a:cxn ang="0">
                <a:pos x="csX352" y="csY352"/>
              </a:cxn>
              <a:cxn ang="0">
                <a:pos x="csX353" y="csY353"/>
              </a:cxn>
              <a:cxn ang="0">
                <a:pos x="csX354" y="csY354"/>
              </a:cxn>
              <a:cxn ang="0">
                <a:pos x="csX355" y="csY355"/>
              </a:cxn>
              <a:cxn ang="0">
                <a:pos x="csX356" y="csY356"/>
              </a:cxn>
              <a:cxn ang="0">
                <a:pos x="csX357" y="csY357"/>
              </a:cxn>
              <a:cxn ang="0">
                <a:pos x="csX358" y="csY358"/>
              </a:cxn>
              <a:cxn ang="0">
                <a:pos x="csX359" y="csY359"/>
              </a:cxn>
              <a:cxn ang="0">
                <a:pos x="csX360" y="csY360"/>
              </a:cxn>
              <a:cxn ang="0">
                <a:pos x="csX361" y="csY361"/>
              </a:cxn>
              <a:cxn ang="0">
                <a:pos x="csX362" y="csY362"/>
              </a:cxn>
              <a:cxn ang="0">
                <a:pos x="csX363" y="csY363"/>
              </a:cxn>
              <a:cxn ang="0">
                <a:pos x="csX364" y="csY364"/>
              </a:cxn>
              <a:cxn ang="0">
                <a:pos x="csX365" y="csY365"/>
              </a:cxn>
              <a:cxn ang="0">
                <a:pos x="csX366" y="csY366"/>
              </a:cxn>
              <a:cxn ang="0">
                <a:pos x="csX367" y="csY367"/>
              </a:cxn>
              <a:cxn ang="0">
                <a:pos x="csX368" y="csY368"/>
              </a:cxn>
              <a:cxn ang="0">
                <a:pos x="csX369" y="csY369"/>
              </a:cxn>
              <a:cxn ang="0">
                <a:pos x="csX370" y="csY370"/>
              </a:cxn>
              <a:cxn ang="0">
                <a:pos x="csX371" y="csY371"/>
              </a:cxn>
              <a:cxn ang="0">
                <a:pos x="csX372" y="csY372"/>
              </a:cxn>
              <a:cxn ang="0">
                <a:pos x="csX373" y="csY373"/>
              </a:cxn>
              <a:cxn ang="0">
                <a:pos x="csX374" y="csY374"/>
              </a:cxn>
              <a:cxn ang="0">
                <a:pos x="csX375" y="csY375"/>
              </a:cxn>
              <a:cxn ang="0">
                <a:pos x="csX376" y="csY376"/>
              </a:cxn>
              <a:cxn ang="0">
                <a:pos x="csX377" y="csY377"/>
              </a:cxn>
              <a:cxn ang="0">
                <a:pos x="csX378" y="csY378"/>
              </a:cxn>
              <a:cxn ang="0">
                <a:pos x="csX379" y="csY379"/>
              </a:cxn>
              <a:cxn ang="0">
                <a:pos x="csX380" y="csY380"/>
              </a:cxn>
              <a:cxn ang="0">
                <a:pos x="csX381" y="csY381"/>
              </a:cxn>
              <a:cxn ang="0">
                <a:pos x="csX382" y="csY382"/>
              </a:cxn>
              <a:cxn ang="0">
                <a:pos x="csX383" y="csY383"/>
              </a:cxn>
              <a:cxn ang="0">
                <a:pos x="csX384" y="csY384"/>
              </a:cxn>
              <a:cxn ang="0">
                <a:pos x="csX385" y="csY385"/>
              </a:cxn>
              <a:cxn ang="0">
                <a:pos x="csX386" y="csY386"/>
              </a:cxn>
              <a:cxn ang="0">
                <a:pos x="csX387" y="csY387"/>
              </a:cxn>
              <a:cxn ang="0">
                <a:pos x="csX388" y="csY388"/>
              </a:cxn>
              <a:cxn ang="0">
                <a:pos x="csX389" y="csY389"/>
              </a:cxn>
              <a:cxn ang="0">
                <a:pos x="csX390" y="csY390"/>
              </a:cxn>
              <a:cxn ang="0">
                <a:pos x="csX391" y="csY391"/>
              </a:cxn>
              <a:cxn ang="0">
                <a:pos x="csX392" y="csY392"/>
              </a:cxn>
              <a:cxn ang="0">
                <a:pos x="csX393" y="csY393"/>
              </a:cxn>
              <a:cxn ang="0">
                <a:pos x="csX394" y="csY394"/>
              </a:cxn>
              <a:cxn ang="0">
                <a:pos x="csX395" y="csY395"/>
              </a:cxn>
              <a:cxn ang="0">
                <a:pos x="csX396" y="csY396"/>
              </a:cxn>
              <a:cxn ang="0">
                <a:pos x="csX397" y="csY397"/>
              </a:cxn>
              <a:cxn ang="0">
                <a:pos x="csX398" y="csY398"/>
              </a:cxn>
              <a:cxn ang="0">
                <a:pos x="csX399" y="csY399"/>
              </a:cxn>
              <a:cxn ang="0">
                <a:pos x="csX400" y="csY400"/>
              </a:cxn>
              <a:cxn ang="0">
                <a:pos x="csX401" y="csY401"/>
              </a:cxn>
              <a:cxn ang="0">
                <a:pos x="csX402" y="csY402"/>
              </a:cxn>
              <a:cxn ang="0">
                <a:pos x="csX403" y="csY403"/>
              </a:cxn>
              <a:cxn ang="0">
                <a:pos x="csX404" y="csY404"/>
              </a:cxn>
              <a:cxn ang="0">
                <a:pos x="csX405" y="csY405"/>
              </a:cxn>
              <a:cxn ang="0">
                <a:pos x="csX406" y="csY406"/>
              </a:cxn>
              <a:cxn ang="0">
                <a:pos x="csX407" y="csY407"/>
              </a:cxn>
              <a:cxn ang="0">
                <a:pos x="csX408" y="csY408"/>
              </a:cxn>
              <a:cxn ang="0">
                <a:pos x="csX409" y="csY409"/>
              </a:cxn>
              <a:cxn ang="0">
                <a:pos x="csX410" y="csY410"/>
              </a:cxn>
              <a:cxn ang="0">
                <a:pos x="csX411" y="csY411"/>
              </a:cxn>
              <a:cxn ang="0">
                <a:pos x="csX412" y="csY412"/>
              </a:cxn>
              <a:cxn ang="0">
                <a:pos x="csX413" y="csY413"/>
              </a:cxn>
              <a:cxn ang="0">
                <a:pos x="csX414" y="csY414"/>
              </a:cxn>
              <a:cxn ang="0">
                <a:pos x="csX415" y="csY415"/>
              </a:cxn>
              <a:cxn ang="0">
                <a:pos x="csX416" y="csY416"/>
              </a:cxn>
              <a:cxn ang="0">
                <a:pos x="csX417" y="csY417"/>
              </a:cxn>
              <a:cxn ang="0">
                <a:pos x="csX418" y="csY418"/>
              </a:cxn>
              <a:cxn ang="0">
                <a:pos x="csX419" y="csY419"/>
              </a:cxn>
              <a:cxn ang="0">
                <a:pos x="csX420" y="csY420"/>
              </a:cxn>
              <a:cxn ang="0">
                <a:pos x="csX421" y="csY421"/>
              </a:cxn>
              <a:cxn ang="0">
                <a:pos x="csX422" y="csY422"/>
              </a:cxn>
              <a:cxn ang="0">
                <a:pos x="csX423" y="csY423"/>
              </a:cxn>
              <a:cxn ang="0">
                <a:pos x="csX424" y="csY424"/>
              </a:cxn>
              <a:cxn ang="0">
                <a:pos x="csX425" y="csY425"/>
              </a:cxn>
              <a:cxn ang="0">
                <a:pos x="csX426" y="csY426"/>
              </a:cxn>
              <a:cxn ang="0">
                <a:pos x="csX427" y="csY427"/>
              </a:cxn>
              <a:cxn ang="0">
                <a:pos x="csX428" y="csY428"/>
              </a:cxn>
              <a:cxn ang="0">
                <a:pos x="csX429" y="csY429"/>
              </a:cxn>
              <a:cxn ang="0">
                <a:pos x="csX430" y="csY430"/>
              </a:cxn>
              <a:cxn ang="0">
                <a:pos x="csX431" y="csY431"/>
              </a:cxn>
              <a:cxn ang="0">
                <a:pos x="csX432" y="csY432"/>
              </a:cxn>
              <a:cxn ang="0">
                <a:pos x="csX433" y="csY433"/>
              </a:cxn>
              <a:cxn ang="0">
                <a:pos x="csX434" y="csY434"/>
              </a:cxn>
              <a:cxn ang="0">
                <a:pos x="csX435" y="csY435"/>
              </a:cxn>
              <a:cxn ang="0">
                <a:pos x="csX436" y="csY436"/>
              </a:cxn>
              <a:cxn ang="0">
                <a:pos x="csX437" y="csY437"/>
              </a:cxn>
              <a:cxn ang="0">
                <a:pos x="csX438" y="csY438"/>
              </a:cxn>
              <a:cxn ang="0">
                <a:pos x="csX439" y="csY439"/>
              </a:cxn>
              <a:cxn ang="0">
                <a:pos x="csX440" y="csY440"/>
              </a:cxn>
              <a:cxn ang="0">
                <a:pos x="csX441" y="csY441"/>
              </a:cxn>
              <a:cxn ang="0">
                <a:pos x="csX442" y="csY442"/>
              </a:cxn>
              <a:cxn ang="0">
                <a:pos x="csX443" y="csY443"/>
              </a:cxn>
              <a:cxn ang="0">
                <a:pos x="csX444" y="csY444"/>
              </a:cxn>
              <a:cxn ang="0">
                <a:pos x="csX445" y="csY445"/>
              </a:cxn>
              <a:cxn ang="0">
                <a:pos x="csX446" y="csY446"/>
              </a:cxn>
              <a:cxn ang="0">
                <a:pos x="csX447" y="csY447"/>
              </a:cxn>
              <a:cxn ang="0">
                <a:pos x="csX448" y="csY448"/>
              </a:cxn>
              <a:cxn ang="0">
                <a:pos x="csX449" y="csY449"/>
              </a:cxn>
              <a:cxn ang="0">
                <a:pos x="csX450" y="csY450"/>
              </a:cxn>
              <a:cxn ang="0">
                <a:pos x="csX451" y="csY451"/>
              </a:cxn>
              <a:cxn ang="0">
                <a:pos x="csX452" y="csY452"/>
              </a:cxn>
              <a:cxn ang="0">
                <a:pos x="csX453" y="csY453"/>
              </a:cxn>
              <a:cxn ang="0">
                <a:pos x="csX454" y="csY454"/>
              </a:cxn>
              <a:cxn ang="0">
                <a:pos x="csX455" y="csY455"/>
              </a:cxn>
              <a:cxn ang="0">
                <a:pos x="csX456" y="csY456"/>
              </a:cxn>
              <a:cxn ang="0">
                <a:pos x="csX457" y="csY457"/>
              </a:cxn>
              <a:cxn ang="0">
                <a:pos x="csX458" y="csY458"/>
              </a:cxn>
              <a:cxn ang="0">
                <a:pos x="csX459" y="csY459"/>
              </a:cxn>
              <a:cxn ang="0">
                <a:pos x="csX460" y="csY460"/>
              </a:cxn>
              <a:cxn ang="0">
                <a:pos x="csX461" y="csY461"/>
              </a:cxn>
              <a:cxn ang="0">
                <a:pos x="csX462" y="csY462"/>
              </a:cxn>
              <a:cxn ang="0">
                <a:pos x="csX463" y="csY463"/>
              </a:cxn>
              <a:cxn ang="0">
                <a:pos x="csX464" y="csY464"/>
              </a:cxn>
              <a:cxn ang="0">
                <a:pos x="csX465" y="csY465"/>
              </a:cxn>
              <a:cxn ang="0">
                <a:pos x="csX466" y="csY466"/>
              </a:cxn>
              <a:cxn ang="0">
                <a:pos x="csX467" y="csY467"/>
              </a:cxn>
              <a:cxn ang="0">
                <a:pos x="csX468" y="csY468"/>
              </a:cxn>
              <a:cxn ang="0">
                <a:pos x="csX469" y="csY469"/>
              </a:cxn>
              <a:cxn ang="0">
                <a:pos x="csX470" y="csY470"/>
              </a:cxn>
              <a:cxn ang="0">
                <a:pos x="csX471" y="csY471"/>
              </a:cxn>
              <a:cxn ang="0">
                <a:pos x="csX472" y="csY472"/>
              </a:cxn>
              <a:cxn ang="0">
                <a:pos x="csX473" y="csY473"/>
              </a:cxn>
              <a:cxn ang="0">
                <a:pos x="csX474" y="csY474"/>
              </a:cxn>
              <a:cxn ang="0">
                <a:pos x="csX475" y="csY475"/>
              </a:cxn>
              <a:cxn ang="0">
                <a:pos x="csX476" y="csY476"/>
              </a:cxn>
              <a:cxn ang="0">
                <a:pos x="csX477" y="csY477"/>
              </a:cxn>
              <a:cxn ang="0">
                <a:pos x="csX478" y="csY478"/>
              </a:cxn>
              <a:cxn ang="0">
                <a:pos x="csX479" y="csY479"/>
              </a:cxn>
              <a:cxn ang="0">
                <a:pos x="csX480" y="csY480"/>
              </a:cxn>
              <a:cxn ang="0">
                <a:pos x="csX481" y="csY481"/>
              </a:cxn>
              <a:cxn ang="0">
                <a:pos x="csX482" y="csY482"/>
              </a:cxn>
              <a:cxn ang="0">
                <a:pos x="csX483" y="csY483"/>
              </a:cxn>
              <a:cxn ang="0">
                <a:pos x="csX484" y="csY484"/>
              </a:cxn>
              <a:cxn ang="0">
                <a:pos x="csX485" y="csY485"/>
              </a:cxn>
              <a:cxn ang="0">
                <a:pos x="csX486" y="csY486"/>
              </a:cxn>
              <a:cxn ang="0">
                <a:pos x="csX487" y="csY487"/>
              </a:cxn>
              <a:cxn ang="0">
                <a:pos x="csX488" y="csY488"/>
              </a:cxn>
              <a:cxn ang="0">
                <a:pos x="csX489" y="csY489"/>
              </a:cxn>
              <a:cxn ang="0">
                <a:pos x="csX490" y="csY490"/>
              </a:cxn>
              <a:cxn ang="0">
                <a:pos x="csX491" y="csY491"/>
              </a:cxn>
              <a:cxn ang="0">
                <a:pos x="csX492" y="csY492"/>
              </a:cxn>
              <a:cxn ang="0">
                <a:pos x="csX493" y="csY493"/>
              </a:cxn>
              <a:cxn ang="0">
                <a:pos x="csX494" y="csY494"/>
              </a:cxn>
              <a:cxn ang="0">
                <a:pos x="csX495" y="csY495"/>
              </a:cxn>
              <a:cxn ang="0">
                <a:pos x="csX496" y="csY496"/>
              </a:cxn>
              <a:cxn ang="0">
                <a:pos x="csX497" y="csY497"/>
              </a:cxn>
              <a:cxn ang="0">
                <a:pos x="csX498" y="csY498"/>
              </a:cxn>
              <a:cxn ang="0">
                <a:pos x="csX499" y="csY499"/>
              </a:cxn>
              <a:cxn ang="0">
                <a:pos x="csX500" y="csY500"/>
              </a:cxn>
              <a:cxn ang="0">
                <a:pos x="csX501" y="csY501"/>
              </a:cxn>
              <a:cxn ang="0">
                <a:pos x="csX502" y="csY502"/>
              </a:cxn>
              <a:cxn ang="0">
                <a:pos x="csX503" y="csY503"/>
              </a:cxn>
              <a:cxn ang="0">
                <a:pos x="csX504" y="csY504"/>
              </a:cxn>
              <a:cxn ang="0">
                <a:pos x="csX505" y="csY505"/>
              </a:cxn>
              <a:cxn ang="0">
                <a:pos x="csX506" y="csY506"/>
              </a:cxn>
              <a:cxn ang="0">
                <a:pos x="csX507" y="csY507"/>
              </a:cxn>
              <a:cxn ang="0">
                <a:pos x="csX508" y="csY508"/>
              </a:cxn>
              <a:cxn ang="0">
                <a:pos x="csX509" y="csY509"/>
              </a:cxn>
              <a:cxn ang="0">
                <a:pos x="csX510" y="csY510"/>
              </a:cxn>
              <a:cxn ang="0">
                <a:pos x="csX511" y="csY511"/>
              </a:cxn>
              <a:cxn ang="0">
                <a:pos x="csX512" y="csY512"/>
              </a:cxn>
              <a:cxn ang="0">
                <a:pos x="csX513" y="csY513"/>
              </a:cxn>
              <a:cxn ang="0">
                <a:pos x="csX514" y="csY514"/>
              </a:cxn>
              <a:cxn ang="0">
                <a:pos x="csX515" y="csY515"/>
              </a:cxn>
              <a:cxn ang="0">
                <a:pos x="csX516" y="csY516"/>
              </a:cxn>
              <a:cxn ang="0">
                <a:pos x="csX517" y="csY517"/>
              </a:cxn>
              <a:cxn ang="0">
                <a:pos x="csX518" y="csY518"/>
              </a:cxn>
              <a:cxn ang="0">
                <a:pos x="csX519" y="csY519"/>
              </a:cxn>
              <a:cxn ang="0">
                <a:pos x="csX520" y="csY520"/>
              </a:cxn>
              <a:cxn ang="0">
                <a:pos x="csX521" y="csY521"/>
              </a:cxn>
              <a:cxn ang="0">
                <a:pos x="csX522" y="csY522"/>
              </a:cxn>
              <a:cxn ang="0">
                <a:pos x="csX523" y="csY523"/>
              </a:cxn>
              <a:cxn ang="0">
                <a:pos x="csX524" y="csY524"/>
              </a:cxn>
              <a:cxn ang="0">
                <a:pos x="csX525" y="csY525"/>
              </a:cxn>
              <a:cxn ang="0">
                <a:pos x="csX526" y="csY526"/>
              </a:cxn>
              <a:cxn ang="0">
                <a:pos x="csX527" y="csY527"/>
              </a:cxn>
              <a:cxn ang="0">
                <a:pos x="csX528" y="csY528"/>
              </a:cxn>
              <a:cxn ang="0">
                <a:pos x="csX529" y="csY529"/>
              </a:cxn>
              <a:cxn ang="0">
                <a:pos x="csX530" y="csY530"/>
              </a:cxn>
              <a:cxn ang="0">
                <a:pos x="csX531" y="csY531"/>
              </a:cxn>
              <a:cxn ang="0">
                <a:pos x="csX532" y="csY532"/>
              </a:cxn>
              <a:cxn ang="0">
                <a:pos x="csX533" y="csY533"/>
              </a:cxn>
              <a:cxn ang="0">
                <a:pos x="csX534" y="csY534"/>
              </a:cxn>
              <a:cxn ang="0">
                <a:pos x="csX535" y="csY535"/>
              </a:cxn>
              <a:cxn ang="0">
                <a:pos x="csX536" y="csY536"/>
              </a:cxn>
              <a:cxn ang="0">
                <a:pos x="csX537" y="csY537"/>
              </a:cxn>
              <a:cxn ang="0">
                <a:pos x="csX538" y="csY538"/>
              </a:cxn>
              <a:cxn ang="0">
                <a:pos x="csX539" y="csY539"/>
              </a:cxn>
              <a:cxn ang="0">
                <a:pos x="csX540" y="csY540"/>
              </a:cxn>
              <a:cxn ang="0">
                <a:pos x="csX541" y="csY541"/>
              </a:cxn>
              <a:cxn ang="0">
                <a:pos x="csX542" y="csY542"/>
              </a:cxn>
              <a:cxn ang="0">
                <a:pos x="csX543" y="csY543"/>
              </a:cxn>
              <a:cxn ang="0">
                <a:pos x="csX544" y="csY544"/>
              </a:cxn>
              <a:cxn ang="0">
                <a:pos x="csX545" y="csY545"/>
              </a:cxn>
              <a:cxn ang="0">
                <a:pos x="csX546" y="csY546"/>
              </a:cxn>
              <a:cxn ang="0">
                <a:pos x="csX547" y="csY547"/>
              </a:cxn>
              <a:cxn ang="0">
                <a:pos x="csX548" y="csY548"/>
              </a:cxn>
              <a:cxn ang="0">
                <a:pos x="csX549" y="csY549"/>
              </a:cxn>
              <a:cxn ang="0">
                <a:pos x="csX550" y="csY550"/>
              </a:cxn>
              <a:cxn ang="0">
                <a:pos x="csX551" y="csY551"/>
              </a:cxn>
              <a:cxn ang="0">
                <a:pos x="csX552" y="csY552"/>
              </a:cxn>
              <a:cxn ang="0">
                <a:pos x="csX553" y="csY553"/>
              </a:cxn>
              <a:cxn ang="0">
                <a:pos x="csX554" y="csY554"/>
              </a:cxn>
              <a:cxn ang="0">
                <a:pos x="csX555" y="csY555"/>
              </a:cxn>
              <a:cxn ang="0">
                <a:pos x="csX556" y="csY556"/>
              </a:cxn>
              <a:cxn ang="0">
                <a:pos x="csX557" y="csY557"/>
              </a:cxn>
              <a:cxn ang="0">
                <a:pos x="csX558" y="csY558"/>
              </a:cxn>
              <a:cxn ang="0">
                <a:pos x="csX559" y="csY559"/>
              </a:cxn>
              <a:cxn ang="0">
                <a:pos x="csX560" y="csY560"/>
              </a:cxn>
              <a:cxn ang="0">
                <a:pos x="csX561" y="csY561"/>
              </a:cxn>
              <a:cxn ang="0">
                <a:pos x="csX562" y="csY562"/>
              </a:cxn>
              <a:cxn ang="0">
                <a:pos x="csX563" y="csY563"/>
              </a:cxn>
              <a:cxn ang="0">
                <a:pos x="csX564" y="csY564"/>
              </a:cxn>
              <a:cxn ang="0">
                <a:pos x="csX565" y="csY565"/>
              </a:cxn>
              <a:cxn ang="0">
                <a:pos x="csX566" y="csY566"/>
              </a:cxn>
              <a:cxn ang="0">
                <a:pos x="csX567" y="csY567"/>
              </a:cxn>
              <a:cxn ang="0">
                <a:pos x="csX568" y="csY568"/>
              </a:cxn>
              <a:cxn ang="0">
                <a:pos x="csX569" y="csY569"/>
              </a:cxn>
              <a:cxn ang="0">
                <a:pos x="csX570" y="csY570"/>
              </a:cxn>
              <a:cxn ang="0">
                <a:pos x="csX571" y="csY571"/>
              </a:cxn>
              <a:cxn ang="0">
                <a:pos x="csX572" y="csY572"/>
              </a:cxn>
              <a:cxn ang="0">
                <a:pos x="csX573" y="csY573"/>
              </a:cxn>
              <a:cxn ang="0">
                <a:pos x="csX574" y="csY574"/>
              </a:cxn>
              <a:cxn ang="0">
                <a:pos x="csX575" y="csY575"/>
              </a:cxn>
              <a:cxn ang="0">
                <a:pos x="csX576" y="csY576"/>
              </a:cxn>
              <a:cxn ang="0">
                <a:pos x="csX577" y="csY577"/>
              </a:cxn>
              <a:cxn ang="0">
                <a:pos x="csX578" y="csY578"/>
              </a:cxn>
              <a:cxn ang="0">
                <a:pos x="csX579" y="csY579"/>
              </a:cxn>
              <a:cxn ang="0">
                <a:pos x="csX580" y="csY580"/>
              </a:cxn>
              <a:cxn ang="0">
                <a:pos x="csX581" y="csY581"/>
              </a:cxn>
              <a:cxn ang="0">
                <a:pos x="csX582" y="csY582"/>
              </a:cxn>
              <a:cxn ang="0">
                <a:pos x="csX583" y="csY583"/>
              </a:cxn>
              <a:cxn ang="0">
                <a:pos x="csX584" y="csY584"/>
              </a:cxn>
              <a:cxn ang="0">
                <a:pos x="csX585" y="csY585"/>
              </a:cxn>
              <a:cxn ang="0">
                <a:pos x="csX586" y="csY586"/>
              </a:cxn>
              <a:cxn ang="0">
                <a:pos x="csX587" y="csY587"/>
              </a:cxn>
              <a:cxn ang="0">
                <a:pos x="csX588" y="csY588"/>
              </a:cxn>
              <a:cxn ang="0">
                <a:pos x="csX589" y="csY589"/>
              </a:cxn>
              <a:cxn ang="0">
                <a:pos x="csX590" y="csY590"/>
              </a:cxn>
              <a:cxn ang="0">
                <a:pos x="csX591" y="csY591"/>
              </a:cxn>
              <a:cxn ang="0">
                <a:pos x="csX592" y="csY592"/>
              </a:cxn>
              <a:cxn ang="0">
                <a:pos x="csX593" y="csY593"/>
              </a:cxn>
              <a:cxn ang="0">
                <a:pos x="csX594" y="csY594"/>
              </a:cxn>
              <a:cxn ang="0">
                <a:pos x="csX595" y="csY595"/>
              </a:cxn>
              <a:cxn ang="0">
                <a:pos x="csX596" y="csY596"/>
              </a:cxn>
              <a:cxn ang="0">
                <a:pos x="csX597" y="csY597"/>
              </a:cxn>
              <a:cxn ang="0">
                <a:pos x="csX598" y="csY598"/>
              </a:cxn>
              <a:cxn ang="0">
                <a:pos x="csX599" y="csY599"/>
              </a:cxn>
              <a:cxn ang="0">
                <a:pos x="csX600" y="csY600"/>
              </a:cxn>
              <a:cxn ang="0">
                <a:pos x="csX601" y="csY601"/>
              </a:cxn>
              <a:cxn ang="0">
                <a:pos x="csX602" y="csY602"/>
              </a:cxn>
              <a:cxn ang="0">
                <a:pos x="csX603" y="csY603"/>
              </a:cxn>
              <a:cxn ang="0">
                <a:pos x="csX604" y="csY604"/>
              </a:cxn>
              <a:cxn ang="0">
                <a:pos x="csX605" y="csY605"/>
              </a:cxn>
              <a:cxn ang="0">
                <a:pos x="csX606" y="csY606"/>
              </a:cxn>
              <a:cxn ang="0">
                <a:pos x="csX607" y="csY607"/>
              </a:cxn>
              <a:cxn ang="0">
                <a:pos x="csX608" y="csY608"/>
              </a:cxn>
              <a:cxn ang="0">
                <a:pos x="csX609" y="csY609"/>
              </a:cxn>
              <a:cxn ang="0">
                <a:pos x="csX610" y="csY610"/>
              </a:cxn>
              <a:cxn ang="0">
                <a:pos x="csX611" y="csY611"/>
              </a:cxn>
              <a:cxn ang="0">
                <a:pos x="csX612" y="csY612"/>
              </a:cxn>
              <a:cxn ang="0">
                <a:pos x="csX613" y="csY613"/>
              </a:cxn>
              <a:cxn ang="0">
                <a:pos x="csX614" y="csY614"/>
              </a:cxn>
              <a:cxn ang="0">
                <a:pos x="csX615" y="csY615"/>
              </a:cxn>
              <a:cxn ang="0">
                <a:pos x="csX616" y="csY616"/>
              </a:cxn>
              <a:cxn ang="0">
                <a:pos x="csX617" y="csY617"/>
              </a:cxn>
              <a:cxn ang="0">
                <a:pos x="csX618" y="csY618"/>
              </a:cxn>
              <a:cxn ang="0">
                <a:pos x="csX619" y="csY619"/>
              </a:cxn>
              <a:cxn ang="0">
                <a:pos x="csX620" y="csY620"/>
              </a:cxn>
              <a:cxn ang="0">
                <a:pos x="csX621" y="csY621"/>
              </a:cxn>
              <a:cxn ang="0">
                <a:pos x="csX622" y="csY622"/>
              </a:cxn>
              <a:cxn ang="0">
                <a:pos x="csX623" y="csY623"/>
              </a:cxn>
              <a:cxn ang="0">
                <a:pos x="csX624" y="csY624"/>
              </a:cxn>
              <a:cxn ang="0">
                <a:pos x="csX625" y="csY625"/>
              </a:cxn>
              <a:cxn ang="0">
                <a:pos x="csX626" y="csY626"/>
              </a:cxn>
              <a:cxn ang="0">
                <a:pos x="csX627" y="csY627"/>
              </a:cxn>
              <a:cxn ang="0">
                <a:pos x="csX628" y="csY628"/>
              </a:cxn>
              <a:cxn ang="0">
                <a:pos x="csX629" y="csY629"/>
              </a:cxn>
              <a:cxn ang="0">
                <a:pos x="csX630" y="csY630"/>
              </a:cxn>
              <a:cxn ang="0">
                <a:pos x="csX631" y="csY631"/>
              </a:cxn>
              <a:cxn ang="0">
                <a:pos x="csX632" y="csY632"/>
              </a:cxn>
              <a:cxn ang="0">
                <a:pos x="csX633" y="csY633"/>
              </a:cxn>
              <a:cxn ang="0">
                <a:pos x="csX634" y="csY634"/>
              </a:cxn>
              <a:cxn ang="0">
                <a:pos x="csX635" y="csY635"/>
              </a:cxn>
              <a:cxn ang="0">
                <a:pos x="csX636" y="csY636"/>
              </a:cxn>
              <a:cxn ang="0">
                <a:pos x="csX637" y="csY637"/>
              </a:cxn>
              <a:cxn ang="0">
                <a:pos x="csX638" y="csY638"/>
              </a:cxn>
              <a:cxn ang="0">
                <a:pos x="csX639" y="csY639"/>
              </a:cxn>
              <a:cxn ang="0">
                <a:pos x="csX640" y="csY640"/>
              </a:cxn>
              <a:cxn ang="0">
                <a:pos x="csX641" y="csY641"/>
              </a:cxn>
              <a:cxn ang="0">
                <a:pos x="csX642" y="csY642"/>
              </a:cxn>
              <a:cxn ang="0">
                <a:pos x="csX643" y="csY643"/>
              </a:cxn>
              <a:cxn ang="0">
                <a:pos x="csX644" y="csY644"/>
              </a:cxn>
              <a:cxn ang="0">
                <a:pos x="csX645" y="csY645"/>
              </a:cxn>
              <a:cxn ang="0">
                <a:pos x="csX646" y="csY646"/>
              </a:cxn>
              <a:cxn ang="0">
                <a:pos x="csX647" y="csY647"/>
              </a:cxn>
              <a:cxn ang="0">
                <a:pos x="csX648" y="csY648"/>
              </a:cxn>
              <a:cxn ang="0">
                <a:pos x="csX649" y="csY649"/>
              </a:cxn>
              <a:cxn ang="0">
                <a:pos x="csX650" y="csY650"/>
              </a:cxn>
              <a:cxn ang="0">
                <a:pos x="csX651" y="csY651"/>
              </a:cxn>
              <a:cxn ang="0">
                <a:pos x="csX652" y="csY652"/>
              </a:cxn>
              <a:cxn ang="0">
                <a:pos x="csX653" y="csY653"/>
              </a:cxn>
              <a:cxn ang="0">
                <a:pos x="csX654" y="csY654"/>
              </a:cxn>
              <a:cxn ang="0">
                <a:pos x="csX655" y="csY655"/>
              </a:cxn>
              <a:cxn ang="0">
                <a:pos x="csX656" y="csY656"/>
              </a:cxn>
              <a:cxn ang="0">
                <a:pos x="csX657" y="csY657"/>
              </a:cxn>
              <a:cxn ang="0">
                <a:pos x="csX658" y="csY658"/>
              </a:cxn>
              <a:cxn ang="0">
                <a:pos x="csX659" y="csY659"/>
              </a:cxn>
              <a:cxn ang="0">
                <a:pos x="csX660" y="csY660"/>
              </a:cxn>
              <a:cxn ang="0">
                <a:pos x="csX661" y="csY661"/>
              </a:cxn>
              <a:cxn ang="0">
                <a:pos x="csX662" y="csY662"/>
              </a:cxn>
              <a:cxn ang="0">
                <a:pos x="csX663" y="csY663"/>
              </a:cxn>
              <a:cxn ang="0">
                <a:pos x="csX664" y="csY664"/>
              </a:cxn>
              <a:cxn ang="0">
                <a:pos x="csX665" y="csY665"/>
              </a:cxn>
              <a:cxn ang="0">
                <a:pos x="csX666" y="csY666"/>
              </a:cxn>
              <a:cxn ang="0">
                <a:pos x="csX667" y="csY667"/>
              </a:cxn>
              <a:cxn ang="0">
                <a:pos x="csX668" y="csY668"/>
              </a:cxn>
              <a:cxn ang="0">
                <a:pos x="csX669" y="csY669"/>
              </a:cxn>
              <a:cxn ang="0">
                <a:pos x="csX670" y="csY670"/>
              </a:cxn>
              <a:cxn ang="0">
                <a:pos x="csX671" y="csY671"/>
              </a:cxn>
              <a:cxn ang="0">
                <a:pos x="csX672" y="csY672"/>
              </a:cxn>
              <a:cxn ang="0">
                <a:pos x="csX673" y="csY673"/>
              </a:cxn>
              <a:cxn ang="0">
                <a:pos x="csX674" y="csY674"/>
              </a:cxn>
              <a:cxn ang="0">
                <a:pos x="csX675" y="csY675"/>
              </a:cxn>
              <a:cxn ang="0">
                <a:pos x="csX676" y="csY676"/>
              </a:cxn>
              <a:cxn ang="0">
                <a:pos x="csX677" y="csY677"/>
              </a:cxn>
              <a:cxn ang="0">
                <a:pos x="csX678" y="csY678"/>
              </a:cxn>
              <a:cxn ang="0">
                <a:pos x="csX679" y="csY679"/>
              </a:cxn>
              <a:cxn ang="0">
                <a:pos x="csX680" y="csY680"/>
              </a:cxn>
              <a:cxn ang="0">
                <a:pos x="csX681" y="csY681"/>
              </a:cxn>
              <a:cxn ang="0">
                <a:pos x="csX682" y="csY682"/>
              </a:cxn>
              <a:cxn ang="0">
                <a:pos x="csX683" y="csY683"/>
              </a:cxn>
              <a:cxn ang="0">
                <a:pos x="csX684" y="csY684"/>
              </a:cxn>
              <a:cxn ang="0">
                <a:pos x="csX685" y="csY685"/>
              </a:cxn>
              <a:cxn ang="0">
                <a:pos x="csX686" y="csY686"/>
              </a:cxn>
              <a:cxn ang="0">
                <a:pos x="csX687" y="csY687"/>
              </a:cxn>
              <a:cxn ang="0">
                <a:pos x="csX688" y="csY688"/>
              </a:cxn>
              <a:cxn ang="0">
                <a:pos x="csX689" y="csY689"/>
              </a:cxn>
              <a:cxn ang="0">
                <a:pos x="csX690" y="csY690"/>
              </a:cxn>
              <a:cxn ang="0">
                <a:pos x="csX691" y="csY691"/>
              </a:cxn>
              <a:cxn ang="0">
                <a:pos x="csX692" y="csY692"/>
              </a:cxn>
              <a:cxn ang="0">
                <a:pos x="csX693" y="csY693"/>
              </a:cxn>
              <a:cxn ang="0">
                <a:pos x="csX694" y="csY694"/>
              </a:cxn>
              <a:cxn ang="0">
                <a:pos x="csX695" y="csY695"/>
              </a:cxn>
              <a:cxn ang="0">
                <a:pos x="csX696" y="csY696"/>
              </a:cxn>
              <a:cxn ang="0">
                <a:pos x="csX697" y="csY697"/>
              </a:cxn>
              <a:cxn ang="0">
                <a:pos x="csX698" y="csY698"/>
              </a:cxn>
              <a:cxn ang="0">
                <a:pos x="csX699" y="csY699"/>
              </a:cxn>
              <a:cxn ang="0">
                <a:pos x="csX700" y="csY700"/>
              </a:cxn>
              <a:cxn ang="0">
                <a:pos x="csX701" y="csY701"/>
              </a:cxn>
              <a:cxn ang="0">
                <a:pos x="csX702" y="csY702"/>
              </a:cxn>
              <a:cxn ang="0">
                <a:pos x="csX703" y="csY703"/>
              </a:cxn>
              <a:cxn ang="0">
                <a:pos x="csX704" y="csY704"/>
              </a:cxn>
              <a:cxn ang="0">
                <a:pos x="csX705" y="csY705"/>
              </a:cxn>
              <a:cxn ang="0">
                <a:pos x="csX706" y="csY706"/>
              </a:cxn>
              <a:cxn ang="0">
                <a:pos x="csX707" y="csY707"/>
              </a:cxn>
              <a:cxn ang="0">
                <a:pos x="csX708" y="csY708"/>
              </a:cxn>
              <a:cxn ang="0">
                <a:pos x="csX709" y="csY709"/>
              </a:cxn>
              <a:cxn ang="0">
                <a:pos x="csX710" y="csY710"/>
              </a:cxn>
              <a:cxn ang="0">
                <a:pos x="csX711" y="csY711"/>
              </a:cxn>
              <a:cxn ang="0">
                <a:pos x="csX712" y="csY712"/>
              </a:cxn>
              <a:cxn ang="0">
                <a:pos x="csX713" y="csY713"/>
              </a:cxn>
              <a:cxn ang="0">
                <a:pos x="csX714" y="csY714"/>
              </a:cxn>
              <a:cxn ang="0">
                <a:pos x="csX715" y="csY715"/>
              </a:cxn>
              <a:cxn ang="0">
                <a:pos x="csX716" y="csY716"/>
              </a:cxn>
              <a:cxn ang="0">
                <a:pos x="csX717" y="csY717"/>
              </a:cxn>
              <a:cxn ang="0">
                <a:pos x="csX718" y="csY718"/>
              </a:cxn>
              <a:cxn ang="0">
                <a:pos x="csX719" y="csY719"/>
              </a:cxn>
              <a:cxn ang="0">
                <a:pos x="csX720" y="csY720"/>
              </a:cxn>
              <a:cxn ang="0">
                <a:pos x="csX721" y="csY721"/>
              </a:cxn>
              <a:cxn ang="0">
                <a:pos x="csX722" y="csY722"/>
              </a:cxn>
              <a:cxn ang="0">
                <a:pos x="csX723" y="csY723"/>
              </a:cxn>
              <a:cxn ang="0">
                <a:pos x="csX724" y="csY724"/>
              </a:cxn>
              <a:cxn ang="0">
                <a:pos x="csX725" y="csY725"/>
              </a:cxn>
              <a:cxn ang="0">
                <a:pos x="csX726" y="csY726"/>
              </a:cxn>
              <a:cxn ang="0">
                <a:pos x="csX727" y="csY727"/>
              </a:cxn>
              <a:cxn ang="0">
                <a:pos x="csX728" y="csY728"/>
              </a:cxn>
              <a:cxn ang="0">
                <a:pos x="csX729" y="csY729"/>
              </a:cxn>
              <a:cxn ang="0">
                <a:pos x="csX730" y="csY730"/>
              </a:cxn>
              <a:cxn ang="0">
                <a:pos x="csX731" y="csY731"/>
              </a:cxn>
              <a:cxn ang="0">
                <a:pos x="csX732" y="csY732"/>
              </a:cxn>
              <a:cxn ang="0">
                <a:pos x="csX733" y="csY733"/>
              </a:cxn>
              <a:cxn ang="0">
                <a:pos x="csX734" y="csY734"/>
              </a:cxn>
              <a:cxn ang="0">
                <a:pos x="csX735" y="csY735"/>
              </a:cxn>
              <a:cxn ang="0">
                <a:pos x="csX736" y="csY736"/>
              </a:cxn>
              <a:cxn ang="0">
                <a:pos x="csX737" y="csY737"/>
              </a:cxn>
              <a:cxn ang="0">
                <a:pos x="csX738" y="csY738"/>
              </a:cxn>
              <a:cxn ang="0">
                <a:pos x="csX739" y="csY739"/>
              </a:cxn>
              <a:cxn ang="0">
                <a:pos x="csX740" y="csY740"/>
              </a:cxn>
              <a:cxn ang="0">
                <a:pos x="csX741" y="csY741"/>
              </a:cxn>
              <a:cxn ang="0">
                <a:pos x="csX742" y="csY742"/>
              </a:cxn>
              <a:cxn ang="0">
                <a:pos x="csX743" y="csY743"/>
              </a:cxn>
              <a:cxn ang="0">
                <a:pos x="csX744" y="csY744"/>
              </a:cxn>
              <a:cxn ang="0">
                <a:pos x="csX745" y="csY745"/>
              </a:cxn>
              <a:cxn ang="0">
                <a:pos x="csX746" y="csY746"/>
              </a:cxn>
              <a:cxn ang="0">
                <a:pos x="csX747" y="csY747"/>
              </a:cxn>
              <a:cxn ang="0">
                <a:pos x="csX748" y="csY748"/>
              </a:cxn>
              <a:cxn ang="0">
                <a:pos x="csX749" y="csY749"/>
              </a:cxn>
              <a:cxn ang="0">
                <a:pos x="csX750" y="csY750"/>
              </a:cxn>
              <a:cxn ang="0">
                <a:pos x="csX751" y="csY751"/>
              </a:cxn>
              <a:cxn ang="0">
                <a:pos x="csX752" y="csY752"/>
              </a:cxn>
              <a:cxn ang="0">
                <a:pos x="csX753" y="csY753"/>
              </a:cxn>
              <a:cxn ang="0">
                <a:pos x="csX754" y="csY754"/>
              </a:cxn>
              <a:cxn ang="0">
                <a:pos x="csX755" y="csY755"/>
              </a:cxn>
              <a:cxn ang="0">
                <a:pos x="csX756" y="csY756"/>
              </a:cxn>
              <a:cxn ang="0">
                <a:pos x="csX757" y="csY757"/>
              </a:cxn>
              <a:cxn ang="0">
                <a:pos x="csX758" y="csY758"/>
              </a:cxn>
              <a:cxn ang="0">
                <a:pos x="csX759" y="csY759"/>
              </a:cxn>
              <a:cxn ang="0">
                <a:pos x="csX760" y="csY760"/>
              </a:cxn>
              <a:cxn ang="0">
                <a:pos x="csX761" y="csY761"/>
              </a:cxn>
              <a:cxn ang="0">
                <a:pos x="csX762" y="csY762"/>
              </a:cxn>
              <a:cxn ang="0">
                <a:pos x="csX763" y="csY763"/>
              </a:cxn>
              <a:cxn ang="0">
                <a:pos x="csX764" y="csY764"/>
              </a:cxn>
              <a:cxn ang="0">
                <a:pos x="csX765" y="csY765"/>
              </a:cxn>
              <a:cxn ang="0">
                <a:pos x="csX766" y="csY766"/>
              </a:cxn>
              <a:cxn ang="0">
                <a:pos x="csX767" y="csY767"/>
              </a:cxn>
              <a:cxn ang="0">
                <a:pos x="csX768" y="csY768"/>
              </a:cxn>
              <a:cxn ang="0">
                <a:pos x="csX769" y="csY769"/>
              </a:cxn>
              <a:cxn ang="0">
                <a:pos x="csX770" y="csY770"/>
              </a:cxn>
              <a:cxn ang="0">
                <a:pos x="csX771" y="csY771"/>
              </a:cxn>
              <a:cxn ang="0">
                <a:pos x="csX772" y="csY772"/>
              </a:cxn>
              <a:cxn ang="0">
                <a:pos x="csX773" y="csY773"/>
              </a:cxn>
              <a:cxn ang="0">
                <a:pos x="csX774" y="csY774"/>
              </a:cxn>
              <a:cxn ang="0">
                <a:pos x="csX775" y="csY775"/>
              </a:cxn>
              <a:cxn ang="0">
                <a:pos x="csX776" y="csY776"/>
              </a:cxn>
              <a:cxn ang="0">
                <a:pos x="csX777" y="csY777"/>
              </a:cxn>
              <a:cxn ang="0">
                <a:pos x="csX778" y="csY778"/>
              </a:cxn>
              <a:cxn ang="0">
                <a:pos x="csX779" y="csY779"/>
              </a:cxn>
              <a:cxn ang="0">
                <a:pos x="csX780" y="csY780"/>
              </a:cxn>
              <a:cxn ang="0">
                <a:pos x="csX781" y="csY781"/>
              </a:cxn>
              <a:cxn ang="0">
                <a:pos x="csX782" y="csY782"/>
              </a:cxn>
              <a:cxn ang="0">
                <a:pos x="csX783" y="csY783"/>
              </a:cxn>
              <a:cxn ang="0">
                <a:pos x="csX784" y="csY784"/>
              </a:cxn>
              <a:cxn ang="0">
                <a:pos x="csX785" y="csY785"/>
              </a:cxn>
              <a:cxn ang="0">
                <a:pos x="csX786" y="csY786"/>
              </a:cxn>
              <a:cxn ang="0">
                <a:pos x="csX787" y="csY787"/>
              </a:cxn>
              <a:cxn ang="0">
                <a:pos x="csX788" y="csY788"/>
              </a:cxn>
              <a:cxn ang="0">
                <a:pos x="csX789" y="csY789"/>
              </a:cxn>
              <a:cxn ang="0">
                <a:pos x="csX790" y="csY790"/>
              </a:cxn>
              <a:cxn ang="0">
                <a:pos x="csX791" y="csY791"/>
              </a:cxn>
              <a:cxn ang="0">
                <a:pos x="csX792" y="csY792"/>
              </a:cxn>
              <a:cxn ang="0">
                <a:pos x="csX793" y="csY793"/>
              </a:cxn>
              <a:cxn ang="0">
                <a:pos x="csX794" y="csY794"/>
              </a:cxn>
              <a:cxn ang="0">
                <a:pos x="csX795" y="csY795"/>
              </a:cxn>
              <a:cxn ang="0">
                <a:pos x="csX796" y="csY796"/>
              </a:cxn>
              <a:cxn ang="0">
                <a:pos x="csX797" y="csY797"/>
              </a:cxn>
              <a:cxn ang="0">
                <a:pos x="csX798" y="csY798"/>
              </a:cxn>
              <a:cxn ang="0">
                <a:pos x="csX799" y="csY799"/>
              </a:cxn>
              <a:cxn ang="0">
                <a:pos x="csX800" y="csY800"/>
              </a:cxn>
              <a:cxn ang="0">
                <a:pos x="csX801" y="csY801"/>
              </a:cxn>
              <a:cxn ang="0">
                <a:pos x="csX802" y="csY802"/>
              </a:cxn>
              <a:cxn ang="0">
                <a:pos x="csX803" y="csY803"/>
              </a:cxn>
              <a:cxn ang="0">
                <a:pos x="csX804" y="csY804"/>
              </a:cxn>
              <a:cxn ang="0">
                <a:pos x="csX805" y="csY805"/>
              </a:cxn>
              <a:cxn ang="0">
                <a:pos x="csX806" y="csY806"/>
              </a:cxn>
              <a:cxn ang="0">
                <a:pos x="csX807" y="csY807"/>
              </a:cxn>
              <a:cxn ang="0">
                <a:pos x="csX808" y="csY808"/>
              </a:cxn>
              <a:cxn ang="0">
                <a:pos x="csX809" y="csY809"/>
              </a:cxn>
              <a:cxn ang="0">
                <a:pos x="csX810" y="csY810"/>
              </a:cxn>
              <a:cxn ang="0">
                <a:pos x="csX811" y="csY811"/>
              </a:cxn>
              <a:cxn ang="0">
                <a:pos x="csX812" y="csY812"/>
              </a:cxn>
              <a:cxn ang="0">
                <a:pos x="csX813" y="csY813"/>
              </a:cxn>
              <a:cxn ang="0">
                <a:pos x="csX814" y="csY814"/>
              </a:cxn>
              <a:cxn ang="0">
                <a:pos x="csX815" y="csY815"/>
              </a:cxn>
              <a:cxn ang="0">
                <a:pos x="csX816" y="csY816"/>
              </a:cxn>
              <a:cxn ang="0">
                <a:pos x="csX817" y="csY817"/>
              </a:cxn>
              <a:cxn ang="0">
                <a:pos x="csX818" y="csY818"/>
              </a:cxn>
              <a:cxn ang="0">
                <a:pos x="csX819" y="csY819"/>
              </a:cxn>
              <a:cxn ang="0">
                <a:pos x="csX820" y="csY820"/>
              </a:cxn>
              <a:cxn ang="0">
                <a:pos x="csX821" y="csY821"/>
              </a:cxn>
              <a:cxn ang="0">
                <a:pos x="csX822" y="csY822"/>
              </a:cxn>
              <a:cxn ang="0">
                <a:pos x="csX823" y="csY823"/>
              </a:cxn>
              <a:cxn ang="0">
                <a:pos x="csX824" y="csY824"/>
              </a:cxn>
              <a:cxn ang="0">
                <a:pos x="csX825" y="csY825"/>
              </a:cxn>
              <a:cxn ang="0">
                <a:pos x="csX826" y="csY826"/>
              </a:cxn>
              <a:cxn ang="0">
                <a:pos x="csX827" y="csY827"/>
              </a:cxn>
              <a:cxn ang="0">
                <a:pos x="csX828" y="csY828"/>
              </a:cxn>
              <a:cxn ang="0">
                <a:pos x="csX829" y="csY829"/>
              </a:cxn>
              <a:cxn ang="0">
                <a:pos x="csX830" y="csY830"/>
              </a:cxn>
              <a:cxn ang="0">
                <a:pos x="csX831" y="csY831"/>
              </a:cxn>
              <a:cxn ang="0">
                <a:pos x="csX832" y="csY832"/>
              </a:cxn>
              <a:cxn ang="0">
                <a:pos x="csX833" y="csY833"/>
              </a:cxn>
              <a:cxn ang="0">
                <a:pos x="csX834" y="csY834"/>
              </a:cxn>
              <a:cxn ang="0">
                <a:pos x="csX835" y="csY835"/>
              </a:cxn>
              <a:cxn ang="0">
                <a:pos x="csX836" y="csY836"/>
              </a:cxn>
              <a:cxn ang="0">
                <a:pos x="csX837" y="csY837"/>
              </a:cxn>
              <a:cxn ang="0">
                <a:pos x="csX838" y="csY838"/>
              </a:cxn>
              <a:cxn ang="0">
                <a:pos x="csX839" y="csY839"/>
              </a:cxn>
              <a:cxn ang="0">
                <a:pos x="csX840" y="csY840"/>
              </a:cxn>
              <a:cxn ang="0">
                <a:pos x="csX841" y="csY841"/>
              </a:cxn>
              <a:cxn ang="0">
                <a:pos x="csX842" y="csY842"/>
              </a:cxn>
              <a:cxn ang="0">
                <a:pos x="csX843" y="csY843"/>
              </a:cxn>
              <a:cxn ang="0">
                <a:pos x="csX844" y="csY844"/>
              </a:cxn>
              <a:cxn ang="0">
                <a:pos x="csX845" y="csY845"/>
              </a:cxn>
              <a:cxn ang="0">
                <a:pos x="csX846" y="csY846"/>
              </a:cxn>
              <a:cxn ang="0">
                <a:pos x="csX847" y="csY847"/>
              </a:cxn>
              <a:cxn ang="0">
                <a:pos x="csX848" y="csY848"/>
              </a:cxn>
              <a:cxn ang="0">
                <a:pos x="csX849" y="csY849"/>
              </a:cxn>
              <a:cxn ang="0">
                <a:pos x="csX850" y="csY850"/>
              </a:cxn>
              <a:cxn ang="0">
                <a:pos x="csX851" y="csY851"/>
              </a:cxn>
              <a:cxn ang="0">
                <a:pos x="csX852" y="csY852"/>
              </a:cxn>
              <a:cxn ang="0">
                <a:pos x="csX853" y="csY853"/>
              </a:cxn>
              <a:cxn ang="0">
                <a:pos x="csX854" y="csY854"/>
              </a:cxn>
              <a:cxn ang="0">
                <a:pos x="csX855" y="csY855"/>
              </a:cxn>
              <a:cxn ang="0">
                <a:pos x="csX856" y="csY856"/>
              </a:cxn>
              <a:cxn ang="0">
                <a:pos x="csX857" y="csY857"/>
              </a:cxn>
              <a:cxn ang="0">
                <a:pos x="csX858" y="csY858"/>
              </a:cxn>
              <a:cxn ang="0">
                <a:pos x="csX859" y="csY859"/>
              </a:cxn>
              <a:cxn ang="0">
                <a:pos x="csX860" y="csY860"/>
              </a:cxn>
              <a:cxn ang="0">
                <a:pos x="csX861" y="csY861"/>
              </a:cxn>
              <a:cxn ang="0">
                <a:pos x="csX862" y="csY862"/>
              </a:cxn>
              <a:cxn ang="0">
                <a:pos x="csX863" y="csY863"/>
              </a:cxn>
              <a:cxn ang="0">
                <a:pos x="csX864" y="csY864"/>
              </a:cxn>
              <a:cxn ang="0">
                <a:pos x="csX865" y="csY865"/>
              </a:cxn>
              <a:cxn ang="0">
                <a:pos x="csX866" y="csY866"/>
              </a:cxn>
              <a:cxn ang="0">
                <a:pos x="csX867" y="csY867"/>
              </a:cxn>
              <a:cxn ang="0">
                <a:pos x="csX868" y="csY868"/>
              </a:cxn>
              <a:cxn ang="0">
                <a:pos x="csX869" y="csY869"/>
              </a:cxn>
              <a:cxn ang="0">
                <a:pos x="csX870" y="csY870"/>
              </a:cxn>
              <a:cxn ang="0">
                <a:pos x="csX871" y="csY871"/>
              </a:cxn>
              <a:cxn ang="0">
                <a:pos x="csX872" y="csY872"/>
              </a:cxn>
              <a:cxn ang="0">
                <a:pos x="csX873" y="csY873"/>
              </a:cxn>
              <a:cxn ang="0">
                <a:pos x="csX874" y="csY874"/>
              </a:cxn>
              <a:cxn ang="0">
                <a:pos x="csX875" y="csY875"/>
              </a:cxn>
              <a:cxn ang="0">
                <a:pos x="csX876" y="csY876"/>
              </a:cxn>
              <a:cxn ang="0">
                <a:pos x="csX877" y="csY877"/>
              </a:cxn>
              <a:cxn ang="0">
                <a:pos x="csX878" y="csY878"/>
              </a:cxn>
              <a:cxn ang="0">
                <a:pos x="csX879" y="csY879"/>
              </a:cxn>
              <a:cxn ang="0">
                <a:pos x="csX880" y="csY880"/>
              </a:cxn>
              <a:cxn ang="0">
                <a:pos x="csX881" y="csY881"/>
              </a:cxn>
              <a:cxn ang="0">
                <a:pos x="csX882" y="csY882"/>
              </a:cxn>
              <a:cxn ang="0">
                <a:pos x="csX883" y="csY883"/>
              </a:cxn>
              <a:cxn ang="0">
                <a:pos x="csX884" y="csY884"/>
              </a:cxn>
              <a:cxn ang="0">
                <a:pos x="csX885" y="csY885"/>
              </a:cxn>
              <a:cxn ang="0">
                <a:pos x="csX886" y="csY886"/>
              </a:cxn>
              <a:cxn ang="0">
                <a:pos x="csX887" y="csY887"/>
              </a:cxn>
              <a:cxn ang="0">
                <a:pos x="csX888" y="csY888"/>
              </a:cxn>
              <a:cxn ang="0">
                <a:pos x="csX889" y="csY889"/>
              </a:cxn>
              <a:cxn ang="0">
                <a:pos x="csX890" y="csY890"/>
              </a:cxn>
              <a:cxn ang="0">
                <a:pos x="csX891" y="csY891"/>
              </a:cxn>
              <a:cxn ang="0">
                <a:pos x="csX892" y="csY892"/>
              </a:cxn>
              <a:cxn ang="0">
                <a:pos x="csX893" y="csY893"/>
              </a:cxn>
              <a:cxn ang="0">
                <a:pos x="csX894" y="csY894"/>
              </a:cxn>
              <a:cxn ang="0">
                <a:pos x="csX895" y="csY895"/>
              </a:cxn>
              <a:cxn ang="0">
                <a:pos x="csX896" y="csY896"/>
              </a:cxn>
              <a:cxn ang="0">
                <a:pos x="csX897" y="csY897"/>
              </a:cxn>
              <a:cxn ang="0">
                <a:pos x="csX898" y="csY898"/>
              </a:cxn>
              <a:cxn ang="0">
                <a:pos x="csX899" y="csY899"/>
              </a:cxn>
              <a:cxn ang="0">
                <a:pos x="csX900" y="csY900"/>
              </a:cxn>
              <a:cxn ang="0">
                <a:pos x="csX901" y="csY901"/>
              </a:cxn>
              <a:cxn ang="0">
                <a:pos x="csX902" y="csY902"/>
              </a:cxn>
              <a:cxn ang="0">
                <a:pos x="csX903" y="csY903"/>
              </a:cxn>
              <a:cxn ang="0">
                <a:pos x="csX904" y="csY904"/>
              </a:cxn>
              <a:cxn ang="0">
                <a:pos x="csX905" y="csY905"/>
              </a:cxn>
              <a:cxn ang="0">
                <a:pos x="csX906" y="csY906"/>
              </a:cxn>
              <a:cxn ang="0">
                <a:pos x="csX907" y="csY907"/>
              </a:cxn>
              <a:cxn ang="0">
                <a:pos x="csX908" y="csY908"/>
              </a:cxn>
              <a:cxn ang="0">
                <a:pos x="csX909" y="csY909"/>
              </a:cxn>
              <a:cxn ang="0">
                <a:pos x="csX910" y="csY910"/>
              </a:cxn>
              <a:cxn ang="0">
                <a:pos x="csX911" y="csY911"/>
              </a:cxn>
              <a:cxn ang="0">
                <a:pos x="csX912" y="csY912"/>
              </a:cxn>
              <a:cxn ang="0">
                <a:pos x="csX913" y="csY913"/>
              </a:cxn>
              <a:cxn ang="0">
                <a:pos x="csX914" y="csY914"/>
              </a:cxn>
              <a:cxn ang="0">
                <a:pos x="csX915" y="csY915"/>
              </a:cxn>
              <a:cxn ang="0">
                <a:pos x="csX916" y="csY916"/>
              </a:cxn>
              <a:cxn ang="0">
                <a:pos x="csX917" y="csY917"/>
              </a:cxn>
              <a:cxn ang="0">
                <a:pos x="csX918" y="csY918"/>
              </a:cxn>
              <a:cxn ang="0">
                <a:pos x="csX919" y="csY919"/>
              </a:cxn>
              <a:cxn ang="0">
                <a:pos x="csX920" y="csY920"/>
              </a:cxn>
              <a:cxn ang="0">
                <a:pos x="csX921" y="csY921"/>
              </a:cxn>
              <a:cxn ang="0">
                <a:pos x="csX922" y="csY922"/>
              </a:cxn>
              <a:cxn ang="0">
                <a:pos x="csX923" y="csY923"/>
              </a:cxn>
              <a:cxn ang="0">
                <a:pos x="csX924" y="csY924"/>
              </a:cxn>
              <a:cxn ang="0">
                <a:pos x="csX925" y="csY925"/>
              </a:cxn>
              <a:cxn ang="0">
                <a:pos x="csX926" y="csY926"/>
              </a:cxn>
              <a:cxn ang="0">
                <a:pos x="csX927" y="csY927"/>
              </a:cxn>
              <a:cxn ang="0">
                <a:pos x="csX928" y="csY928"/>
              </a:cxn>
              <a:cxn ang="0">
                <a:pos x="csX929" y="csY929"/>
              </a:cxn>
              <a:cxn ang="0">
                <a:pos x="csX930" y="csY930"/>
              </a:cxn>
              <a:cxn ang="0">
                <a:pos x="csX931" y="csY931"/>
              </a:cxn>
              <a:cxn ang="0">
                <a:pos x="csX932" y="csY932"/>
              </a:cxn>
              <a:cxn ang="0">
                <a:pos x="csX933" y="csY933"/>
              </a:cxn>
              <a:cxn ang="0">
                <a:pos x="csX934" y="csY934"/>
              </a:cxn>
              <a:cxn ang="0">
                <a:pos x="csX935" y="csY935"/>
              </a:cxn>
              <a:cxn ang="0">
                <a:pos x="csX936" y="csY936"/>
              </a:cxn>
              <a:cxn ang="0">
                <a:pos x="csX937" y="csY937"/>
              </a:cxn>
              <a:cxn ang="0">
                <a:pos x="csX938" y="csY938"/>
              </a:cxn>
              <a:cxn ang="0">
                <a:pos x="csX939" y="csY939"/>
              </a:cxn>
              <a:cxn ang="0">
                <a:pos x="csX940" y="csY940"/>
              </a:cxn>
              <a:cxn ang="0">
                <a:pos x="csX941" y="csY941"/>
              </a:cxn>
              <a:cxn ang="0">
                <a:pos x="csX942" y="csY942"/>
              </a:cxn>
              <a:cxn ang="0">
                <a:pos x="csX943" y="csY943"/>
              </a:cxn>
              <a:cxn ang="0">
                <a:pos x="csX944" y="csY944"/>
              </a:cxn>
              <a:cxn ang="0">
                <a:pos x="csX945" y="csY945"/>
              </a:cxn>
              <a:cxn ang="0">
                <a:pos x="csX946" y="csY946"/>
              </a:cxn>
              <a:cxn ang="0">
                <a:pos x="csX947" y="csY947"/>
              </a:cxn>
              <a:cxn ang="0">
                <a:pos x="csX948" y="csY948"/>
              </a:cxn>
              <a:cxn ang="0">
                <a:pos x="csX949" y="csY949"/>
              </a:cxn>
              <a:cxn ang="0">
                <a:pos x="csX950" y="csY950"/>
              </a:cxn>
              <a:cxn ang="0">
                <a:pos x="csX951" y="csY951"/>
              </a:cxn>
              <a:cxn ang="0">
                <a:pos x="csX952" y="csY952"/>
              </a:cxn>
              <a:cxn ang="0">
                <a:pos x="csX953" y="csY953"/>
              </a:cxn>
              <a:cxn ang="0">
                <a:pos x="csX954" y="csY954"/>
              </a:cxn>
              <a:cxn ang="0">
                <a:pos x="csX955" y="csY955"/>
              </a:cxn>
              <a:cxn ang="0">
                <a:pos x="csX956" y="csY956"/>
              </a:cxn>
              <a:cxn ang="0">
                <a:pos x="csX957" y="csY957"/>
              </a:cxn>
              <a:cxn ang="0">
                <a:pos x="csX958" y="csY958"/>
              </a:cxn>
              <a:cxn ang="0">
                <a:pos x="csX959" y="csY959"/>
              </a:cxn>
              <a:cxn ang="0">
                <a:pos x="csX960" y="csY960"/>
              </a:cxn>
              <a:cxn ang="0">
                <a:pos x="csX961" y="csY961"/>
              </a:cxn>
              <a:cxn ang="0">
                <a:pos x="csX962" y="csY962"/>
              </a:cxn>
              <a:cxn ang="0">
                <a:pos x="csX963" y="csY963"/>
              </a:cxn>
              <a:cxn ang="0">
                <a:pos x="csX964" y="csY964"/>
              </a:cxn>
              <a:cxn ang="0">
                <a:pos x="csX965" y="csY965"/>
              </a:cxn>
              <a:cxn ang="0">
                <a:pos x="csX966" y="csY966"/>
              </a:cxn>
              <a:cxn ang="0">
                <a:pos x="csX967" y="csY967"/>
              </a:cxn>
              <a:cxn ang="0">
                <a:pos x="csX968" y="csY968"/>
              </a:cxn>
              <a:cxn ang="0">
                <a:pos x="csX969" y="csY969"/>
              </a:cxn>
              <a:cxn ang="0">
                <a:pos x="csX970" y="csY970"/>
              </a:cxn>
              <a:cxn ang="0">
                <a:pos x="csX971" y="csY971"/>
              </a:cxn>
              <a:cxn ang="0">
                <a:pos x="csX972" y="csY972"/>
              </a:cxn>
              <a:cxn ang="0">
                <a:pos x="csX973" y="csY973"/>
              </a:cxn>
              <a:cxn ang="0">
                <a:pos x="csX974" y="csY974"/>
              </a:cxn>
              <a:cxn ang="0">
                <a:pos x="csX975" y="csY975"/>
              </a:cxn>
              <a:cxn ang="0">
                <a:pos x="csX976" y="csY976"/>
              </a:cxn>
              <a:cxn ang="0">
                <a:pos x="csX977" y="csY977"/>
              </a:cxn>
              <a:cxn ang="0">
                <a:pos x="csX978" y="csY978"/>
              </a:cxn>
              <a:cxn ang="0">
                <a:pos x="csX979" y="csY979"/>
              </a:cxn>
              <a:cxn ang="0">
                <a:pos x="csX980" y="csY980"/>
              </a:cxn>
              <a:cxn ang="0">
                <a:pos x="csX981" y="csY981"/>
              </a:cxn>
              <a:cxn ang="0">
                <a:pos x="csX982" y="csY982"/>
              </a:cxn>
              <a:cxn ang="0">
                <a:pos x="csX983" y="csY983"/>
              </a:cxn>
              <a:cxn ang="0">
                <a:pos x="csX984" y="csY984"/>
              </a:cxn>
              <a:cxn ang="0">
                <a:pos x="csX985" y="csY985"/>
              </a:cxn>
              <a:cxn ang="0">
                <a:pos x="csX986" y="csY986"/>
              </a:cxn>
              <a:cxn ang="0">
                <a:pos x="csX987" y="csY987"/>
              </a:cxn>
              <a:cxn ang="0">
                <a:pos x="csX988" y="csY988"/>
              </a:cxn>
              <a:cxn ang="0">
                <a:pos x="csX989" y="csY989"/>
              </a:cxn>
              <a:cxn ang="0">
                <a:pos x="csX990" y="csY990"/>
              </a:cxn>
              <a:cxn ang="0">
                <a:pos x="csX991" y="csY991"/>
              </a:cxn>
              <a:cxn ang="0">
                <a:pos x="csX992" y="csY992"/>
              </a:cxn>
              <a:cxn ang="0">
                <a:pos x="csX993" y="csY993"/>
              </a:cxn>
              <a:cxn ang="0">
                <a:pos x="csX994" y="csY994"/>
              </a:cxn>
              <a:cxn ang="0">
                <a:pos x="csX995" y="csY995"/>
              </a:cxn>
              <a:cxn ang="0">
                <a:pos x="csX996" y="csY996"/>
              </a:cxn>
              <a:cxn ang="0">
                <a:pos x="csX997" y="csY997"/>
              </a:cxn>
              <a:cxn ang="0">
                <a:pos x="csX998" y="csY998"/>
              </a:cxn>
              <a:cxn ang="0">
                <a:pos x="csX999" y="csY999"/>
              </a:cxn>
              <a:cxn ang="0">
                <a:pos x="csX1000" y="csY1000"/>
              </a:cxn>
              <a:cxn ang="0">
                <a:pos x="csX1001" y="csY1001"/>
              </a:cxn>
              <a:cxn ang="0">
                <a:pos x="csX1002" y="csY1002"/>
              </a:cxn>
              <a:cxn ang="0">
                <a:pos x="csX1003" y="csY1003"/>
              </a:cxn>
              <a:cxn ang="0">
                <a:pos x="csX1004" y="csY1004"/>
              </a:cxn>
              <a:cxn ang="0">
                <a:pos x="csX1005" y="csY1005"/>
              </a:cxn>
              <a:cxn ang="0">
                <a:pos x="csX1006" y="csY1006"/>
              </a:cxn>
              <a:cxn ang="0">
                <a:pos x="csX1007" y="csY1007"/>
              </a:cxn>
              <a:cxn ang="0">
                <a:pos x="csX1008" y="csY1008"/>
              </a:cxn>
              <a:cxn ang="0">
                <a:pos x="csX1009" y="csY1009"/>
              </a:cxn>
              <a:cxn ang="0">
                <a:pos x="csX1010" y="csY1010"/>
              </a:cxn>
              <a:cxn ang="0">
                <a:pos x="csX1011" y="csY1011"/>
              </a:cxn>
              <a:cxn ang="0">
                <a:pos x="csX1012" y="csY1012"/>
              </a:cxn>
              <a:cxn ang="0">
                <a:pos x="csX1013" y="csY1013"/>
              </a:cxn>
              <a:cxn ang="0">
                <a:pos x="csX1014" y="csY1014"/>
              </a:cxn>
              <a:cxn ang="0">
                <a:pos x="csX1015" y="csY1015"/>
              </a:cxn>
              <a:cxn ang="0">
                <a:pos x="csX1016" y="csY1016"/>
              </a:cxn>
              <a:cxn ang="0">
                <a:pos x="csX1017" y="csY1017"/>
              </a:cxn>
              <a:cxn ang="0">
                <a:pos x="csX1018" y="csY1018"/>
              </a:cxn>
              <a:cxn ang="0">
                <a:pos x="csX1019" y="csY1019"/>
              </a:cxn>
              <a:cxn ang="0">
                <a:pos x="csX1020" y="csY1020"/>
              </a:cxn>
              <a:cxn ang="0">
                <a:pos x="csX1021" y="csY1021"/>
              </a:cxn>
              <a:cxn ang="0">
                <a:pos x="csX1022" y="csY1022"/>
              </a:cxn>
              <a:cxn ang="0">
                <a:pos x="csX1023" y="csY1023"/>
              </a:cxn>
              <a:cxn ang="0">
                <a:pos x="csX1024" y="csY1024"/>
              </a:cxn>
              <a:cxn ang="0">
                <a:pos x="csX1025" y="csY1025"/>
              </a:cxn>
              <a:cxn ang="0">
                <a:pos x="csX1026" y="csY1026"/>
              </a:cxn>
              <a:cxn ang="0">
                <a:pos x="csX1027" y="csY1027"/>
              </a:cxn>
              <a:cxn ang="0">
                <a:pos x="csX1028" y="csY1028"/>
              </a:cxn>
              <a:cxn ang="0">
                <a:pos x="csX1029" y="csY1029"/>
              </a:cxn>
              <a:cxn ang="0">
                <a:pos x="csX1030" y="csY1030"/>
              </a:cxn>
              <a:cxn ang="0">
                <a:pos x="csX1031" y="csY1031"/>
              </a:cxn>
              <a:cxn ang="0">
                <a:pos x="csX1032" y="csY1032"/>
              </a:cxn>
              <a:cxn ang="0">
                <a:pos x="csX1033" y="csY1033"/>
              </a:cxn>
              <a:cxn ang="0">
                <a:pos x="csX1034" y="csY1034"/>
              </a:cxn>
              <a:cxn ang="0">
                <a:pos x="csX1035" y="csY1035"/>
              </a:cxn>
              <a:cxn ang="0">
                <a:pos x="csX1036" y="csY1036"/>
              </a:cxn>
              <a:cxn ang="0">
                <a:pos x="csX1037" y="csY1037"/>
              </a:cxn>
              <a:cxn ang="0">
                <a:pos x="csX1038" y="csY1038"/>
              </a:cxn>
              <a:cxn ang="0">
                <a:pos x="csX1039" y="csY1039"/>
              </a:cxn>
              <a:cxn ang="0">
                <a:pos x="csX1040" y="csY1040"/>
              </a:cxn>
              <a:cxn ang="0">
                <a:pos x="csX1041" y="csY1041"/>
              </a:cxn>
              <a:cxn ang="0">
                <a:pos x="csX1042" y="csY1042"/>
              </a:cxn>
              <a:cxn ang="0">
                <a:pos x="csX1043" y="csY1043"/>
              </a:cxn>
              <a:cxn ang="0">
                <a:pos x="csX1044" y="csY1044"/>
              </a:cxn>
              <a:cxn ang="0">
                <a:pos x="csX1045" y="csY1045"/>
              </a:cxn>
              <a:cxn ang="0">
                <a:pos x="csX1046" y="csY1046"/>
              </a:cxn>
              <a:cxn ang="0">
                <a:pos x="csX1047" y="csY1047"/>
              </a:cxn>
              <a:cxn ang="0">
                <a:pos x="csX1048" y="csY1048"/>
              </a:cxn>
              <a:cxn ang="0">
                <a:pos x="csX1049" y="csY1049"/>
              </a:cxn>
              <a:cxn ang="0">
                <a:pos x="csX1050" y="csY1050"/>
              </a:cxn>
              <a:cxn ang="0">
                <a:pos x="csX1051" y="csY1051"/>
              </a:cxn>
              <a:cxn ang="0">
                <a:pos x="csX1052" y="csY1052"/>
              </a:cxn>
              <a:cxn ang="0">
                <a:pos x="csX1053" y="csY1053"/>
              </a:cxn>
              <a:cxn ang="0">
                <a:pos x="csX1054" y="csY1054"/>
              </a:cxn>
            </a:cxnLst>
            <a:rect l="l" t="t" r="r" b="b"/>
            <a:pathLst>
              <a:path w="1609516" h="1538630">
                <a:moveTo>
                  <a:pt x="401579" y="1495809"/>
                </a:moveTo>
                <a:lnTo>
                  <a:pt x="400190" y="1496004"/>
                </a:lnTo>
                <a:lnTo>
                  <a:pt x="401224" y="1496470"/>
                </a:lnTo>
                <a:lnTo>
                  <a:pt x="401224" y="1498590"/>
                </a:lnTo>
                <a:lnTo>
                  <a:pt x="401579" y="1498628"/>
                </a:lnTo>
                <a:cubicBezTo>
                  <a:pt x="401579" y="1497698"/>
                  <a:pt x="401579" y="1496768"/>
                  <a:pt x="401579" y="1495809"/>
                </a:cubicBezTo>
                <a:close/>
                <a:moveTo>
                  <a:pt x="368755" y="1486512"/>
                </a:moveTo>
                <a:lnTo>
                  <a:pt x="364089" y="1487354"/>
                </a:lnTo>
                <a:lnTo>
                  <a:pt x="364089" y="1487908"/>
                </a:lnTo>
                <a:close/>
                <a:moveTo>
                  <a:pt x="1049801" y="1484562"/>
                </a:moveTo>
                <a:lnTo>
                  <a:pt x="1046735" y="1485945"/>
                </a:lnTo>
                <a:lnTo>
                  <a:pt x="1046955" y="1486045"/>
                </a:lnTo>
                <a:lnTo>
                  <a:pt x="1049801" y="1485188"/>
                </a:lnTo>
                <a:close/>
                <a:moveTo>
                  <a:pt x="351234" y="1444508"/>
                </a:moveTo>
                <a:lnTo>
                  <a:pt x="351234" y="1444997"/>
                </a:lnTo>
                <a:lnTo>
                  <a:pt x="351592" y="1445078"/>
                </a:lnTo>
                <a:close/>
                <a:moveTo>
                  <a:pt x="351908" y="1431206"/>
                </a:moveTo>
                <a:lnTo>
                  <a:pt x="351234" y="1431611"/>
                </a:lnTo>
                <a:lnTo>
                  <a:pt x="351234" y="1432274"/>
                </a:lnTo>
                <a:close/>
                <a:moveTo>
                  <a:pt x="358162" y="1421494"/>
                </a:moveTo>
                <a:lnTo>
                  <a:pt x="355921" y="1423156"/>
                </a:lnTo>
                <a:lnTo>
                  <a:pt x="355921" y="1423548"/>
                </a:lnTo>
                <a:close/>
                <a:moveTo>
                  <a:pt x="376098" y="1408347"/>
                </a:moveTo>
                <a:lnTo>
                  <a:pt x="370750" y="1412245"/>
                </a:lnTo>
                <a:lnTo>
                  <a:pt x="375023" y="1411256"/>
                </a:lnTo>
                <a:close/>
                <a:moveTo>
                  <a:pt x="421956" y="1365623"/>
                </a:moveTo>
                <a:lnTo>
                  <a:pt x="421765" y="1366161"/>
                </a:lnTo>
                <a:lnTo>
                  <a:pt x="421887" y="1366161"/>
                </a:lnTo>
                <a:close/>
                <a:moveTo>
                  <a:pt x="754553" y="1360575"/>
                </a:moveTo>
                <a:lnTo>
                  <a:pt x="754089" y="1361433"/>
                </a:lnTo>
                <a:lnTo>
                  <a:pt x="754431" y="1361125"/>
                </a:lnTo>
                <a:close/>
                <a:moveTo>
                  <a:pt x="1277973" y="1332923"/>
                </a:moveTo>
                <a:lnTo>
                  <a:pt x="1277944" y="1332936"/>
                </a:lnTo>
                <a:lnTo>
                  <a:pt x="1277949" y="1333139"/>
                </a:lnTo>
                <a:close/>
                <a:moveTo>
                  <a:pt x="1268556" y="1321066"/>
                </a:moveTo>
                <a:cubicBezTo>
                  <a:pt x="1268556" y="1322461"/>
                  <a:pt x="1268556" y="1323856"/>
                  <a:pt x="1268556" y="1325294"/>
                </a:cubicBezTo>
                <a:cubicBezTo>
                  <a:pt x="1267525" y="1325294"/>
                  <a:pt x="1266495" y="1325294"/>
                  <a:pt x="1265432" y="1325294"/>
                </a:cubicBezTo>
                <a:cubicBezTo>
                  <a:pt x="1265432" y="1330409"/>
                  <a:pt x="1265432" y="1335525"/>
                  <a:pt x="1265432" y="1340795"/>
                </a:cubicBezTo>
                <a:lnTo>
                  <a:pt x="1265476" y="1340714"/>
                </a:lnTo>
                <a:lnTo>
                  <a:pt x="1265476" y="1325877"/>
                </a:lnTo>
                <a:cubicBezTo>
                  <a:pt x="1266507" y="1325877"/>
                  <a:pt x="1267538" y="1325877"/>
                  <a:pt x="1268600" y="1325877"/>
                </a:cubicBezTo>
                <a:cubicBezTo>
                  <a:pt x="1268600" y="1324482"/>
                  <a:pt x="1268600" y="1323086"/>
                  <a:pt x="1268600" y="1321649"/>
                </a:cubicBezTo>
                <a:cubicBezTo>
                  <a:pt x="1270147" y="1321649"/>
                  <a:pt x="1271693" y="1321649"/>
                  <a:pt x="1273286" y="1321649"/>
                </a:cubicBezTo>
                <a:lnTo>
                  <a:pt x="1273227" y="1321066"/>
                </a:lnTo>
                <a:close/>
                <a:moveTo>
                  <a:pt x="827891" y="1291474"/>
                </a:moveTo>
                <a:lnTo>
                  <a:pt x="822601" y="1291544"/>
                </a:lnTo>
                <a:lnTo>
                  <a:pt x="818272" y="1292220"/>
                </a:lnTo>
                <a:lnTo>
                  <a:pt x="827891" y="1292047"/>
                </a:lnTo>
                <a:close/>
                <a:moveTo>
                  <a:pt x="856397" y="1288691"/>
                </a:moveTo>
                <a:lnTo>
                  <a:pt x="865903" y="1290590"/>
                </a:lnTo>
                <a:lnTo>
                  <a:pt x="859999" y="1288752"/>
                </a:lnTo>
                <a:close/>
                <a:moveTo>
                  <a:pt x="834694" y="1288572"/>
                </a:moveTo>
                <a:lnTo>
                  <a:pt x="828038" y="1288654"/>
                </a:lnTo>
                <a:lnTo>
                  <a:pt x="828038" y="1289214"/>
                </a:lnTo>
                <a:close/>
                <a:moveTo>
                  <a:pt x="229746" y="1191418"/>
                </a:moveTo>
                <a:lnTo>
                  <a:pt x="227402" y="1191947"/>
                </a:lnTo>
                <a:lnTo>
                  <a:pt x="229315" y="1191947"/>
                </a:lnTo>
                <a:cubicBezTo>
                  <a:pt x="229315" y="1192877"/>
                  <a:pt x="229315" y="1193807"/>
                  <a:pt x="229315" y="1194765"/>
                </a:cubicBezTo>
                <a:lnTo>
                  <a:pt x="231321" y="1194765"/>
                </a:lnTo>
                <a:lnTo>
                  <a:pt x="229746" y="1194236"/>
                </a:lnTo>
                <a:cubicBezTo>
                  <a:pt x="229746" y="1193306"/>
                  <a:pt x="229746" y="1192376"/>
                  <a:pt x="229746" y="1191418"/>
                </a:cubicBezTo>
                <a:close/>
                <a:moveTo>
                  <a:pt x="215687" y="1187190"/>
                </a:moveTo>
                <a:lnTo>
                  <a:pt x="215198" y="1187720"/>
                </a:lnTo>
                <a:lnTo>
                  <a:pt x="215256" y="1187720"/>
                </a:lnTo>
                <a:cubicBezTo>
                  <a:pt x="215256" y="1189115"/>
                  <a:pt x="215256" y="1190510"/>
                  <a:pt x="215256" y="1191947"/>
                </a:cubicBezTo>
                <a:lnTo>
                  <a:pt x="222721" y="1191947"/>
                </a:lnTo>
                <a:lnTo>
                  <a:pt x="215687" y="1191418"/>
                </a:lnTo>
                <a:cubicBezTo>
                  <a:pt x="215687" y="1190023"/>
                  <a:pt x="215687" y="1188628"/>
                  <a:pt x="215687" y="1187190"/>
                </a:cubicBezTo>
                <a:close/>
                <a:moveTo>
                  <a:pt x="1279678" y="1082356"/>
                </a:moveTo>
                <a:lnTo>
                  <a:pt x="1271680" y="1084589"/>
                </a:lnTo>
                <a:lnTo>
                  <a:pt x="1282181" y="1082544"/>
                </a:lnTo>
                <a:close/>
                <a:moveTo>
                  <a:pt x="117703" y="941507"/>
                </a:moveTo>
                <a:lnTo>
                  <a:pt x="112587" y="941985"/>
                </a:lnTo>
                <a:lnTo>
                  <a:pt x="112565" y="942333"/>
                </a:lnTo>
                <a:lnTo>
                  <a:pt x="115665" y="941837"/>
                </a:lnTo>
                <a:close/>
                <a:moveTo>
                  <a:pt x="144268" y="939395"/>
                </a:moveTo>
                <a:lnTo>
                  <a:pt x="143354" y="939580"/>
                </a:lnTo>
                <a:lnTo>
                  <a:pt x="144077" y="939739"/>
                </a:lnTo>
                <a:close/>
                <a:moveTo>
                  <a:pt x="162575" y="933530"/>
                </a:moveTo>
                <a:lnTo>
                  <a:pt x="161704" y="935101"/>
                </a:lnTo>
                <a:lnTo>
                  <a:pt x="170045" y="933585"/>
                </a:lnTo>
                <a:close/>
                <a:moveTo>
                  <a:pt x="1321645" y="918415"/>
                </a:moveTo>
                <a:lnTo>
                  <a:pt x="1321534" y="920177"/>
                </a:lnTo>
                <a:lnTo>
                  <a:pt x="1321740" y="918415"/>
                </a:lnTo>
                <a:close/>
                <a:moveTo>
                  <a:pt x="1319333" y="915183"/>
                </a:moveTo>
                <a:lnTo>
                  <a:pt x="1318544" y="918029"/>
                </a:lnTo>
                <a:lnTo>
                  <a:pt x="1318702" y="918029"/>
                </a:lnTo>
                <a:close/>
                <a:moveTo>
                  <a:pt x="1326355" y="907109"/>
                </a:moveTo>
                <a:lnTo>
                  <a:pt x="1326355" y="910983"/>
                </a:lnTo>
                <a:lnTo>
                  <a:pt x="1325831" y="911101"/>
                </a:lnTo>
                <a:lnTo>
                  <a:pt x="1326426" y="911369"/>
                </a:lnTo>
                <a:cubicBezTo>
                  <a:pt x="1326426" y="909974"/>
                  <a:pt x="1326426" y="908579"/>
                  <a:pt x="1326426" y="907141"/>
                </a:cubicBezTo>
                <a:close/>
                <a:moveTo>
                  <a:pt x="1328144" y="892192"/>
                </a:moveTo>
                <a:lnTo>
                  <a:pt x="1327667" y="893446"/>
                </a:lnTo>
                <a:lnTo>
                  <a:pt x="1327989" y="893049"/>
                </a:lnTo>
                <a:close/>
                <a:moveTo>
                  <a:pt x="49605" y="887420"/>
                </a:moveTo>
                <a:lnTo>
                  <a:pt x="48549" y="891229"/>
                </a:lnTo>
                <a:lnTo>
                  <a:pt x="49956" y="887420"/>
                </a:lnTo>
                <a:close/>
                <a:moveTo>
                  <a:pt x="1332266" y="883369"/>
                </a:moveTo>
                <a:lnTo>
                  <a:pt x="1329479" y="884207"/>
                </a:lnTo>
                <a:lnTo>
                  <a:pt x="1329509" y="884816"/>
                </a:lnTo>
                <a:lnTo>
                  <a:pt x="1329551" y="884594"/>
                </a:lnTo>
                <a:close/>
                <a:moveTo>
                  <a:pt x="1555987" y="821766"/>
                </a:moveTo>
                <a:lnTo>
                  <a:pt x="1555987" y="822201"/>
                </a:lnTo>
                <a:lnTo>
                  <a:pt x="1556081" y="822189"/>
                </a:lnTo>
                <a:close/>
                <a:moveTo>
                  <a:pt x="1565360" y="810928"/>
                </a:moveTo>
                <a:lnTo>
                  <a:pt x="1564871" y="811809"/>
                </a:lnTo>
                <a:lnTo>
                  <a:pt x="1567314" y="810928"/>
                </a:lnTo>
                <a:close/>
                <a:moveTo>
                  <a:pt x="1563797" y="810928"/>
                </a:moveTo>
                <a:lnTo>
                  <a:pt x="1556762" y="814736"/>
                </a:lnTo>
                <a:lnTo>
                  <a:pt x="1563797" y="812197"/>
                </a:lnTo>
                <a:close/>
                <a:moveTo>
                  <a:pt x="265833" y="806020"/>
                </a:moveTo>
                <a:lnTo>
                  <a:pt x="263704" y="809861"/>
                </a:lnTo>
                <a:lnTo>
                  <a:pt x="263704" y="816750"/>
                </a:lnTo>
                <a:lnTo>
                  <a:pt x="264113" y="816565"/>
                </a:lnTo>
                <a:cubicBezTo>
                  <a:pt x="264048" y="815315"/>
                  <a:pt x="263984" y="814065"/>
                  <a:pt x="263918" y="812777"/>
                </a:cubicBezTo>
                <a:close/>
                <a:moveTo>
                  <a:pt x="263774" y="779374"/>
                </a:moveTo>
                <a:lnTo>
                  <a:pt x="263704" y="783086"/>
                </a:lnTo>
                <a:cubicBezTo>
                  <a:pt x="263961" y="783987"/>
                  <a:pt x="264219" y="784888"/>
                  <a:pt x="264484" y="785816"/>
                </a:cubicBezTo>
                <a:cubicBezTo>
                  <a:pt x="265299" y="788846"/>
                  <a:pt x="265316" y="791337"/>
                  <a:pt x="265265" y="794448"/>
                </a:cubicBezTo>
                <a:cubicBezTo>
                  <a:pt x="265103" y="797155"/>
                  <a:pt x="265022" y="798508"/>
                  <a:pt x="265217" y="799730"/>
                </a:cubicBezTo>
                <a:lnTo>
                  <a:pt x="266556" y="803466"/>
                </a:lnTo>
                <a:lnTo>
                  <a:pt x="267237" y="801063"/>
                </a:lnTo>
                <a:cubicBezTo>
                  <a:pt x="266721" y="800598"/>
                  <a:pt x="266206" y="800133"/>
                  <a:pt x="265675" y="799654"/>
                </a:cubicBezTo>
                <a:cubicBezTo>
                  <a:pt x="265601" y="797718"/>
                  <a:pt x="265617" y="795778"/>
                  <a:pt x="265675" y="793841"/>
                </a:cubicBezTo>
                <a:close/>
                <a:moveTo>
                  <a:pt x="260988" y="770061"/>
                </a:moveTo>
                <a:lnTo>
                  <a:pt x="260988" y="771364"/>
                </a:lnTo>
                <a:lnTo>
                  <a:pt x="263497" y="777263"/>
                </a:lnTo>
                <a:lnTo>
                  <a:pt x="262551" y="770061"/>
                </a:lnTo>
                <a:cubicBezTo>
                  <a:pt x="262035" y="770061"/>
                  <a:pt x="261520" y="770061"/>
                  <a:pt x="260988" y="770061"/>
                </a:cubicBezTo>
                <a:close/>
                <a:moveTo>
                  <a:pt x="157888" y="651686"/>
                </a:moveTo>
                <a:lnTo>
                  <a:pt x="157415" y="651764"/>
                </a:lnTo>
                <a:lnTo>
                  <a:pt x="160373" y="652274"/>
                </a:lnTo>
                <a:close/>
                <a:moveTo>
                  <a:pt x="267237" y="426537"/>
                </a:moveTo>
                <a:lnTo>
                  <a:pt x="267237" y="427619"/>
                </a:lnTo>
                <a:cubicBezTo>
                  <a:pt x="268274" y="427791"/>
                  <a:pt x="269311" y="427961"/>
                  <a:pt x="270380" y="428137"/>
                </a:cubicBezTo>
                <a:lnTo>
                  <a:pt x="273548" y="428680"/>
                </a:lnTo>
                <a:close/>
                <a:moveTo>
                  <a:pt x="37605" y="359270"/>
                </a:moveTo>
                <a:lnTo>
                  <a:pt x="37103" y="361533"/>
                </a:lnTo>
                <a:lnTo>
                  <a:pt x="37605" y="361382"/>
                </a:lnTo>
                <a:close/>
                <a:moveTo>
                  <a:pt x="52477" y="337570"/>
                </a:moveTo>
                <a:lnTo>
                  <a:pt x="47288" y="342340"/>
                </a:lnTo>
                <a:lnTo>
                  <a:pt x="45805" y="345093"/>
                </a:lnTo>
                <a:close/>
                <a:moveTo>
                  <a:pt x="104291" y="336166"/>
                </a:moveTo>
                <a:lnTo>
                  <a:pt x="103776" y="337559"/>
                </a:lnTo>
                <a:lnTo>
                  <a:pt x="108925" y="336166"/>
                </a:lnTo>
                <a:close/>
                <a:moveTo>
                  <a:pt x="1309237" y="322954"/>
                </a:moveTo>
                <a:lnTo>
                  <a:pt x="1309180" y="330559"/>
                </a:lnTo>
                <a:lnTo>
                  <a:pt x="1309237" y="330520"/>
                </a:lnTo>
                <a:close/>
                <a:moveTo>
                  <a:pt x="1308964" y="317715"/>
                </a:moveTo>
                <a:lnTo>
                  <a:pt x="1309237" y="318569"/>
                </a:lnTo>
                <a:lnTo>
                  <a:pt x="1309237" y="317838"/>
                </a:lnTo>
                <a:close/>
                <a:moveTo>
                  <a:pt x="1310087" y="313153"/>
                </a:moveTo>
                <a:lnTo>
                  <a:pt x="1307609" y="313473"/>
                </a:lnTo>
                <a:lnTo>
                  <a:pt x="1308045" y="314836"/>
                </a:lnTo>
                <a:close/>
                <a:moveTo>
                  <a:pt x="1318544" y="312064"/>
                </a:moveTo>
                <a:lnTo>
                  <a:pt x="1316298" y="312353"/>
                </a:lnTo>
                <a:lnTo>
                  <a:pt x="1318544" y="312205"/>
                </a:lnTo>
                <a:close/>
                <a:moveTo>
                  <a:pt x="1084622" y="267674"/>
                </a:moveTo>
                <a:lnTo>
                  <a:pt x="1084227" y="268378"/>
                </a:lnTo>
                <a:cubicBezTo>
                  <a:pt x="1082679" y="268378"/>
                  <a:pt x="1081133" y="268378"/>
                  <a:pt x="1079540" y="268378"/>
                </a:cubicBezTo>
                <a:lnTo>
                  <a:pt x="1079603" y="268477"/>
                </a:lnTo>
                <a:lnTo>
                  <a:pt x="1084192" y="268477"/>
                </a:lnTo>
                <a:close/>
                <a:moveTo>
                  <a:pt x="956410" y="266968"/>
                </a:moveTo>
                <a:lnTo>
                  <a:pt x="957576" y="267083"/>
                </a:lnTo>
                <a:lnTo>
                  <a:pt x="957576" y="269776"/>
                </a:lnTo>
                <a:lnTo>
                  <a:pt x="957694" y="269787"/>
                </a:lnTo>
                <a:cubicBezTo>
                  <a:pt x="957694" y="268857"/>
                  <a:pt x="957694" y="267927"/>
                  <a:pt x="957694" y="266968"/>
                </a:cubicBezTo>
                <a:close/>
                <a:moveTo>
                  <a:pt x="1089372" y="259220"/>
                </a:moveTo>
                <a:lnTo>
                  <a:pt x="1085856" y="265479"/>
                </a:lnTo>
                <a:lnTo>
                  <a:pt x="1088878" y="261431"/>
                </a:lnTo>
                <a:close/>
                <a:moveTo>
                  <a:pt x="1018517" y="223356"/>
                </a:moveTo>
                <a:lnTo>
                  <a:pt x="1013866" y="226190"/>
                </a:lnTo>
                <a:lnTo>
                  <a:pt x="1013024" y="227709"/>
                </a:lnTo>
                <a:lnTo>
                  <a:pt x="1017055" y="224692"/>
                </a:lnTo>
                <a:close/>
                <a:moveTo>
                  <a:pt x="850645" y="220099"/>
                </a:moveTo>
                <a:lnTo>
                  <a:pt x="850897" y="221488"/>
                </a:lnTo>
                <a:cubicBezTo>
                  <a:pt x="851086" y="222545"/>
                  <a:pt x="851275" y="223602"/>
                  <a:pt x="851470" y="224692"/>
                </a:cubicBezTo>
                <a:lnTo>
                  <a:pt x="852860" y="224692"/>
                </a:lnTo>
                <a:close/>
                <a:moveTo>
                  <a:pt x="1155019" y="35"/>
                </a:moveTo>
                <a:cubicBezTo>
                  <a:pt x="1161775" y="275"/>
                  <a:pt x="1168415" y="1783"/>
                  <a:pt x="1174829" y="4853"/>
                </a:cubicBezTo>
                <a:cubicBezTo>
                  <a:pt x="1176343" y="5231"/>
                  <a:pt x="1177858" y="5609"/>
                  <a:pt x="1179418" y="5998"/>
                </a:cubicBezTo>
                <a:cubicBezTo>
                  <a:pt x="1189392" y="9487"/>
                  <a:pt x="1196322" y="14392"/>
                  <a:pt x="1201385" y="22997"/>
                </a:cubicBezTo>
                <a:cubicBezTo>
                  <a:pt x="1206849" y="35244"/>
                  <a:pt x="1206940" y="49865"/>
                  <a:pt x="1201678" y="62191"/>
                </a:cubicBezTo>
                <a:cubicBezTo>
                  <a:pt x="1200594" y="64241"/>
                  <a:pt x="1199461" y="66271"/>
                  <a:pt x="1198261" y="68268"/>
                </a:cubicBezTo>
                <a:cubicBezTo>
                  <a:pt x="1197423" y="69721"/>
                  <a:pt x="1196586" y="71175"/>
                  <a:pt x="1195723" y="72672"/>
                </a:cubicBezTo>
                <a:cubicBezTo>
                  <a:pt x="1194659" y="73980"/>
                  <a:pt x="1194659" y="73980"/>
                  <a:pt x="1193575" y="75314"/>
                </a:cubicBezTo>
                <a:cubicBezTo>
                  <a:pt x="1192544" y="75314"/>
                  <a:pt x="1191512" y="75314"/>
                  <a:pt x="1190450" y="75314"/>
                </a:cubicBezTo>
                <a:cubicBezTo>
                  <a:pt x="1190128" y="76651"/>
                  <a:pt x="1189806" y="77988"/>
                  <a:pt x="1189474" y="79366"/>
                </a:cubicBezTo>
                <a:cubicBezTo>
                  <a:pt x="1187326" y="83769"/>
                  <a:pt x="1187326" y="83769"/>
                  <a:pt x="1182445" y="85707"/>
                </a:cubicBezTo>
                <a:cubicBezTo>
                  <a:pt x="1180962" y="85998"/>
                  <a:pt x="1179480" y="86289"/>
                  <a:pt x="1177953" y="86588"/>
                </a:cubicBezTo>
                <a:cubicBezTo>
                  <a:pt x="1177953" y="87518"/>
                  <a:pt x="1177953" y="88448"/>
                  <a:pt x="1177953" y="89406"/>
                </a:cubicBezTo>
                <a:cubicBezTo>
                  <a:pt x="1175369" y="91088"/>
                  <a:pt x="1172720" y="92688"/>
                  <a:pt x="1170045" y="94251"/>
                </a:cubicBezTo>
                <a:cubicBezTo>
                  <a:pt x="1154651" y="104199"/>
                  <a:pt x="1148918" y="116979"/>
                  <a:pt x="1143806" y="132828"/>
                </a:cubicBezTo>
                <a:cubicBezTo>
                  <a:pt x="1142095" y="137144"/>
                  <a:pt x="1140989" y="138617"/>
                  <a:pt x="1137338" y="141548"/>
                </a:cubicBezTo>
                <a:cubicBezTo>
                  <a:pt x="1136166" y="144148"/>
                  <a:pt x="1134992" y="146751"/>
                  <a:pt x="1133970" y="149403"/>
                </a:cubicBezTo>
                <a:cubicBezTo>
                  <a:pt x="1132069" y="154334"/>
                  <a:pt x="1130006" y="159210"/>
                  <a:pt x="1127965" y="164095"/>
                </a:cubicBezTo>
                <a:cubicBezTo>
                  <a:pt x="1126897" y="166664"/>
                  <a:pt x="1125830" y="169233"/>
                  <a:pt x="1124762" y="171802"/>
                </a:cubicBezTo>
                <a:cubicBezTo>
                  <a:pt x="1122961" y="176134"/>
                  <a:pt x="1121160" y="180466"/>
                  <a:pt x="1119359" y="184798"/>
                </a:cubicBezTo>
                <a:cubicBezTo>
                  <a:pt x="1116567" y="191508"/>
                  <a:pt x="1113778" y="198220"/>
                  <a:pt x="1111014" y="204941"/>
                </a:cubicBezTo>
                <a:cubicBezTo>
                  <a:pt x="1110590" y="205970"/>
                  <a:pt x="1110165" y="206999"/>
                  <a:pt x="1109729" y="208059"/>
                </a:cubicBezTo>
                <a:cubicBezTo>
                  <a:pt x="1108615" y="210762"/>
                  <a:pt x="1107505" y="213466"/>
                  <a:pt x="1106395" y="216170"/>
                </a:cubicBezTo>
                <a:cubicBezTo>
                  <a:pt x="1104320" y="220956"/>
                  <a:pt x="1103283" y="223349"/>
                  <a:pt x="1102147" y="224810"/>
                </a:cubicBezTo>
                <a:lnTo>
                  <a:pt x="1098261" y="227262"/>
                </a:lnTo>
                <a:lnTo>
                  <a:pt x="1098367" y="238475"/>
                </a:lnTo>
                <a:cubicBezTo>
                  <a:pt x="1098025" y="239757"/>
                  <a:pt x="1097684" y="241038"/>
                  <a:pt x="1097331" y="242358"/>
                </a:cubicBezTo>
                <a:cubicBezTo>
                  <a:pt x="1096958" y="243711"/>
                  <a:pt x="1096585" y="245064"/>
                  <a:pt x="1096201" y="246458"/>
                </a:cubicBezTo>
                <a:cubicBezTo>
                  <a:pt x="1093302" y="257363"/>
                  <a:pt x="1090901" y="268062"/>
                  <a:pt x="1089440" y="279206"/>
                </a:cubicBezTo>
                <a:cubicBezTo>
                  <a:pt x="1088878" y="282569"/>
                  <a:pt x="1088878" y="282569"/>
                  <a:pt x="1087316" y="283978"/>
                </a:cubicBezTo>
                <a:cubicBezTo>
                  <a:pt x="1087070" y="286587"/>
                  <a:pt x="1086924" y="289205"/>
                  <a:pt x="1086822" y="291822"/>
                </a:cubicBezTo>
                <a:cubicBezTo>
                  <a:pt x="1086756" y="293408"/>
                  <a:pt x="1086691" y="294993"/>
                  <a:pt x="1086623" y="296625"/>
                </a:cubicBezTo>
                <a:cubicBezTo>
                  <a:pt x="1086562" y="298294"/>
                  <a:pt x="1086501" y="299962"/>
                  <a:pt x="1086437" y="301681"/>
                </a:cubicBezTo>
                <a:cubicBezTo>
                  <a:pt x="1086336" y="304192"/>
                  <a:pt x="1086336" y="304192"/>
                  <a:pt x="1086233" y="306754"/>
                </a:cubicBezTo>
                <a:lnTo>
                  <a:pt x="1086007" y="312619"/>
                </a:lnTo>
                <a:lnTo>
                  <a:pt x="1087470" y="320554"/>
                </a:lnTo>
                <a:cubicBezTo>
                  <a:pt x="1089648" y="325409"/>
                  <a:pt x="1093111" y="329799"/>
                  <a:pt x="1098285" y="334611"/>
                </a:cubicBezTo>
                <a:cubicBezTo>
                  <a:pt x="1100424" y="336130"/>
                  <a:pt x="1100424" y="336130"/>
                  <a:pt x="1102607" y="337679"/>
                </a:cubicBezTo>
                <a:cubicBezTo>
                  <a:pt x="1104334" y="338951"/>
                  <a:pt x="1104334" y="338951"/>
                  <a:pt x="1106095" y="340248"/>
                </a:cubicBezTo>
                <a:cubicBezTo>
                  <a:pt x="1106095" y="341178"/>
                  <a:pt x="1106095" y="342108"/>
                  <a:pt x="1106095" y="343066"/>
                </a:cubicBezTo>
                <a:cubicBezTo>
                  <a:pt x="1107127" y="343183"/>
                  <a:pt x="1108158" y="343299"/>
                  <a:pt x="1109220" y="343419"/>
                </a:cubicBezTo>
                <a:cubicBezTo>
                  <a:pt x="1115473" y="344829"/>
                  <a:pt x="1120724" y="347416"/>
                  <a:pt x="1126403" y="350112"/>
                </a:cubicBezTo>
                <a:cubicBezTo>
                  <a:pt x="1128207" y="350926"/>
                  <a:pt x="1130012" y="351740"/>
                  <a:pt x="1131871" y="352579"/>
                </a:cubicBezTo>
                <a:cubicBezTo>
                  <a:pt x="1133159" y="353160"/>
                  <a:pt x="1134448" y="353741"/>
                  <a:pt x="1135776" y="354340"/>
                </a:cubicBezTo>
                <a:cubicBezTo>
                  <a:pt x="1135776" y="355270"/>
                  <a:pt x="1135776" y="356200"/>
                  <a:pt x="1135776" y="357158"/>
                </a:cubicBezTo>
                <a:cubicBezTo>
                  <a:pt x="1148107" y="360029"/>
                  <a:pt x="1158679" y="359101"/>
                  <a:pt x="1170143" y="354340"/>
                </a:cubicBezTo>
                <a:cubicBezTo>
                  <a:pt x="1172366" y="353468"/>
                  <a:pt x="1172366" y="353468"/>
                  <a:pt x="1174634" y="352579"/>
                </a:cubicBezTo>
                <a:cubicBezTo>
                  <a:pt x="1180354" y="349689"/>
                  <a:pt x="1185568" y="346355"/>
                  <a:pt x="1190890" y="342907"/>
                </a:cubicBezTo>
                <a:cubicBezTo>
                  <a:pt x="1195169" y="340228"/>
                  <a:pt x="1199557" y="337821"/>
                  <a:pt x="1204021" y="335404"/>
                </a:cubicBezTo>
                <a:cubicBezTo>
                  <a:pt x="1211989" y="330886"/>
                  <a:pt x="1217509" y="325766"/>
                  <a:pt x="1223255" y="319110"/>
                </a:cubicBezTo>
                <a:cubicBezTo>
                  <a:pt x="1224447" y="317947"/>
                  <a:pt x="1225639" y="316784"/>
                  <a:pt x="1226868" y="315587"/>
                </a:cubicBezTo>
                <a:cubicBezTo>
                  <a:pt x="1229855" y="311593"/>
                  <a:pt x="1230852" y="308240"/>
                  <a:pt x="1231859" y="303559"/>
                </a:cubicBezTo>
                <a:cubicBezTo>
                  <a:pt x="1232628" y="300790"/>
                  <a:pt x="1232628" y="300790"/>
                  <a:pt x="1234178" y="298059"/>
                </a:cubicBezTo>
                <a:cubicBezTo>
                  <a:pt x="1235964" y="294761"/>
                  <a:pt x="1236623" y="291807"/>
                  <a:pt x="1237314" y="288195"/>
                </a:cubicBezTo>
                <a:cubicBezTo>
                  <a:pt x="1239360" y="278571"/>
                  <a:pt x="1242414" y="272733"/>
                  <a:pt x="1249811" y="265559"/>
                </a:cubicBezTo>
                <a:cubicBezTo>
                  <a:pt x="1250842" y="265559"/>
                  <a:pt x="1251873" y="265559"/>
                  <a:pt x="1252935" y="265559"/>
                </a:cubicBezTo>
                <a:cubicBezTo>
                  <a:pt x="1252935" y="264629"/>
                  <a:pt x="1252935" y="263699"/>
                  <a:pt x="1252935" y="262741"/>
                </a:cubicBezTo>
                <a:cubicBezTo>
                  <a:pt x="1265591" y="253427"/>
                  <a:pt x="1280762" y="251648"/>
                  <a:pt x="1296675" y="252876"/>
                </a:cubicBezTo>
                <a:cubicBezTo>
                  <a:pt x="1300535" y="253563"/>
                  <a:pt x="1303901" y="254478"/>
                  <a:pt x="1307609" y="255695"/>
                </a:cubicBezTo>
                <a:cubicBezTo>
                  <a:pt x="1307609" y="256625"/>
                  <a:pt x="1307609" y="257555"/>
                  <a:pt x="1307609" y="258513"/>
                </a:cubicBezTo>
                <a:cubicBezTo>
                  <a:pt x="1309021" y="258619"/>
                  <a:pt x="1310432" y="258723"/>
                  <a:pt x="1311887" y="258832"/>
                </a:cubicBezTo>
                <a:cubicBezTo>
                  <a:pt x="1319573" y="260476"/>
                  <a:pt x="1322149" y="264416"/>
                  <a:pt x="1326715" y="269969"/>
                </a:cubicBezTo>
                <a:cubicBezTo>
                  <a:pt x="1334402" y="281220"/>
                  <a:pt x="1336114" y="294839"/>
                  <a:pt x="1334165" y="307836"/>
                </a:cubicBezTo>
                <a:cubicBezTo>
                  <a:pt x="1332176" y="311898"/>
                  <a:pt x="1332176" y="311898"/>
                  <a:pt x="1329479" y="314882"/>
                </a:cubicBezTo>
                <a:cubicBezTo>
                  <a:pt x="1327417" y="314882"/>
                  <a:pt x="1325355" y="314882"/>
                  <a:pt x="1323231" y="314882"/>
                </a:cubicBezTo>
                <a:cubicBezTo>
                  <a:pt x="1323231" y="315812"/>
                  <a:pt x="1323231" y="316742"/>
                  <a:pt x="1323231" y="317700"/>
                </a:cubicBezTo>
                <a:lnTo>
                  <a:pt x="1322774" y="317838"/>
                </a:lnTo>
                <a:lnTo>
                  <a:pt x="1323295" y="317838"/>
                </a:lnTo>
                <a:cubicBezTo>
                  <a:pt x="1323295" y="316907"/>
                  <a:pt x="1323295" y="315977"/>
                  <a:pt x="1323295" y="315019"/>
                </a:cubicBezTo>
                <a:cubicBezTo>
                  <a:pt x="1324842" y="315019"/>
                  <a:pt x="1326388" y="315019"/>
                  <a:pt x="1327982" y="315019"/>
                </a:cubicBezTo>
                <a:cubicBezTo>
                  <a:pt x="1325845" y="321328"/>
                  <a:pt x="1322753" y="323742"/>
                  <a:pt x="1317047" y="327702"/>
                </a:cubicBezTo>
                <a:cubicBezTo>
                  <a:pt x="1316531" y="329097"/>
                  <a:pt x="1316016" y="330492"/>
                  <a:pt x="1315484" y="331930"/>
                </a:cubicBezTo>
                <a:cubicBezTo>
                  <a:pt x="1312599" y="332959"/>
                  <a:pt x="1312599" y="332959"/>
                  <a:pt x="1309139" y="333603"/>
                </a:cubicBezTo>
                <a:cubicBezTo>
                  <a:pt x="1307993" y="333827"/>
                  <a:pt x="1306847" y="334050"/>
                  <a:pt x="1305666" y="334280"/>
                </a:cubicBezTo>
                <a:cubicBezTo>
                  <a:pt x="1304783" y="334434"/>
                  <a:pt x="1303899" y="334589"/>
                  <a:pt x="1302988" y="334748"/>
                </a:cubicBezTo>
                <a:lnTo>
                  <a:pt x="1305905" y="332775"/>
                </a:lnTo>
                <a:lnTo>
                  <a:pt x="1304485" y="333202"/>
                </a:lnTo>
                <a:cubicBezTo>
                  <a:pt x="1302987" y="334640"/>
                  <a:pt x="1302987" y="334640"/>
                  <a:pt x="1301459" y="336108"/>
                </a:cubicBezTo>
                <a:cubicBezTo>
                  <a:pt x="1298237" y="338839"/>
                  <a:pt x="1298237" y="338839"/>
                  <a:pt x="1291989" y="338839"/>
                </a:cubicBezTo>
                <a:cubicBezTo>
                  <a:pt x="1291473" y="340234"/>
                  <a:pt x="1290957" y="341629"/>
                  <a:pt x="1290426" y="343066"/>
                </a:cubicBezTo>
                <a:cubicBezTo>
                  <a:pt x="1288879" y="343415"/>
                  <a:pt x="1287333" y="343764"/>
                  <a:pt x="1285740" y="344123"/>
                </a:cubicBezTo>
                <a:cubicBezTo>
                  <a:pt x="1266905" y="348491"/>
                  <a:pt x="1249005" y="369098"/>
                  <a:pt x="1237314" y="382525"/>
                </a:cubicBezTo>
                <a:cubicBezTo>
                  <a:pt x="1235678" y="385783"/>
                  <a:pt x="1234122" y="389075"/>
                  <a:pt x="1232628" y="392389"/>
                </a:cubicBezTo>
                <a:cubicBezTo>
                  <a:pt x="1231317" y="394515"/>
                  <a:pt x="1229981" y="396629"/>
                  <a:pt x="1228625" y="398731"/>
                </a:cubicBezTo>
                <a:cubicBezTo>
                  <a:pt x="1221457" y="410300"/>
                  <a:pt x="1219465" y="421836"/>
                  <a:pt x="1222822" y="434798"/>
                </a:cubicBezTo>
                <a:cubicBezTo>
                  <a:pt x="1229360" y="453710"/>
                  <a:pt x="1244088" y="472467"/>
                  <a:pt x="1260746" y="485398"/>
                </a:cubicBezTo>
                <a:cubicBezTo>
                  <a:pt x="1264961" y="487349"/>
                  <a:pt x="1264961" y="487349"/>
                  <a:pt x="1268556" y="488216"/>
                </a:cubicBezTo>
                <a:cubicBezTo>
                  <a:pt x="1268556" y="489146"/>
                  <a:pt x="1268556" y="490076"/>
                  <a:pt x="1268556" y="491034"/>
                </a:cubicBezTo>
                <a:cubicBezTo>
                  <a:pt x="1288790" y="497071"/>
                  <a:pt x="1319055" y="498555"/>
                  <a:pt x="1338852" y="489625"/>
                </a:cubicBezTo>
                <a:cubicBezTo>
                  <a:pt x="1341711" y="489213"/>
                  <a:pt x="1344575" y="488837"/>
                  <a:pt x="1347444" y="488480"/>
                </a:cubicBezTo>
                <a:cubicBezTo>
                  <a:pt x="1355372" y="487345"/>
                  <a:pt x="1362033" y="485390"/>
                  <a:pt x="1369362" y="482513"/>
                </a:cubicBezTo>
                <a:cubicBezTo>
                  <a:pt x="1375665" y="480318"/>
                  <a:pt x="1382189" y="479322"/>
                  <a:pt x="1388840" y="478351"/>
                </a:cubicBezTo>
                <a:cubicBezTo>
                  <a:pt x="1388840" y="477421"/>
                  <a:pt x="1388840" y="476492"/>
                  <a:pt x="1388840" y="475533"/>
                </a:cubicBezTo>
                <a:cubicBezTo>
                  <a:pt x="1391083" y="474821"/>
                  <a:pt x="1393329" y="474118"/>
                  <a:pt x="1395576" y="473419"/>
                </a:cubicBezTo>
                <a:cubicBezTo>
                  <a:pt x="1396827" y="473027"/>
                  <a:pt x="1398077" y="472635"/>
                  <a:pt x="1399365" y="472230"/>
                </a:cubicBezTo>
                <a:cubicBezTo>
                  <a:pt x="1402899" y="471305"/>
                  <a:pt x="1402899" y="471305"/>
                  <a:pt x="1407585" y="471305"/>
                </a:cubicBezTo>
                <a:cubicBezTo>
                  <a:pt x="1408101" y="469910"/>
                  <a:pt x="1408616" y="468515"/>
                  <a:pt x="1409147" y="467078"/>
                </a:cubicBezTo>
                <a:cubicBezTo>
                  <a:pt x="1412388" y="465580"/>
                  <a:pt x="1412388" y="465580"/>
                  <a:pt x="1416470" y="464259"/>
                </a:cubicBezTo>
                <a:cubicBezTo>
                  <a:pt x="1424029" y="461705"/>
                  <a:pt x="1431130" y="458955"/>
                  <a:pt x="1437949" y="455011"/>
                </a:cubicBezTo>
                <a:cubicBezTo>
                  <a:pt x="1442765" y="452574"/>
                  <a:pt x="1447553" y="451394"/>
                  <a:pt x="1452887" y="450167"/>
                </a:cubicBezTo>
                <a:cubicBezTo>
                  <a:pt x="1452887" y="449237"/>
                  <a:pt x="1452887" y="448307"/>
                  <a:pt x="1452887" y="447349"/>
                </a:cubicBezTo>
                <a:cubicBezTo>
                  <a:pt x="1453714" y="446944"/>
                  <a:pt x="1454541" y="446539"/>
                  <a:pt x="1455394" y="446122"/>
                </a:cubicBezTo>
                <a:cubicBezTo>
                  <a:pt x="1459151" y="444278"/>
                  <a:pt x="1462902" y="442422"/>
                  <a:pt x="1466653" y="440567"/>
                </a:cubicBezTo>
                <a:cubicBezTo>
                  <a:pt x="1467955" y="439930"/>
                  <a:pt x="1469256" y="439293"/>
                  <a:pt x="1470598" y="438637"/>
                </a:cubicBezTo>
                <a:cubicBezTo>
                  <a:pt x="1471852" y="438016"/>
                  <a:pt x="1473105" y="437393"/>
                  <a:pt x="1474397" y="436752"/>
                </a:cubicBezTo>
                <a:cubicBezTo>
                  <a:pt x="1475550" y="436184"/>
                  <a:pt x="1476703" y="435616"/>
                  <a:pt x="1477892" y="435030"/>
                </a:cubicBezTo>
                <a:cubicBezTo>
                  <a:pt x="1480966" y="433279"/>
                  <a:pt x="1483173" y="431373"/>
                  <a:pt x="1485691" y="429029"/>
                </a:cubicBezTo>
                <a:cubicBezTo>
                  <a:pt x="1486737" y="428575"/>
                  <a:pt x="1487781" y="428121"/>
                  <a:pt x="1488858" y="427653"/>
                </a:cubicBezTo>
                <a:cubicBezTo>
                  <a:pt x="1492438" y="425977"/>
                  <a:pt x="1493705" y="424453"/>
                  <a:pt x="1495943" y="421454"/>
                </a:cubicBezTo>
                <a:cubicBezTo>
                  <a:pt x="1507114" y="407544"/>
                  <a:pt x="1519758" y="393513"/>
                  <a:pt x="1538608" y="388338"/>
                </a:cubicBezTo>
                <a:cubicBezTo>
                  <a:pt x="1541025" y="388250"/>
                  <a:pt x="1541025" y="388250"/>
                  <a:pt x="1543490" y="388161"/>
                </a:cubicBezTo>
                <a:cubicBezTo>
                  <a:pt x="1545535" y="387984"/>
                  <a:pt x="1545535" y="387984"/>
                  <a:pt x="1547621" y="387804"/>
                </a:cubicBezTo>
                <a:cubicBezTo>
                  <a:pt x="1560659" y="387094"/>
                  <a:pt x="1568716" y="390117"/>
                  <a:pt x="1579418" y="396617"/>
                </a:cubicBezTo>
                <a:cubicBezTo>
                  <a:pt x="1581361" y="397687"/>
                  <a:pt x="1581361" y="397687"/>
                  <a:pt x="1583342" y="398780"/>
                </a:cubicBezTo>
                <a:cubicBezTo>
                  <a:pt x="1593703" y="405068"/>
                  <a:pt x="1598513" y="412459"/>
                  <a:pt x="1601288" y="423392"/>
                </a:cubicBezTo>
                <a:cubicBezTo>
                  <a:pt x="1603295" y="436596"/>
                  <a:pt x="1603517" y="449033"/>
                  <a:pt x="1594484" y="460159"/>
                </a:cubicBezTo>
                <a:cubicBezTo>
                  <a:pt x="1588468" y="466462"/>
                  <a:pt x="1582607" y="471150"/>
                  <a:pt x="1574732" y="475533"/>
                </a:cubicBezTo>
                <a:cubicBezTo>
                  <a:pt x="1573862" y="476043"/>
                  <a:pt x="1572993" y="476553"/>
                  <a:pt x="1572097" y="477078"/>
                </a:cubicBezTo>
                <a:cubicBezTo>
                  <a:pt x="1566828" y="478935"/>
                  <a:pt x="1561641" y="478744"/>
                  <a:pt x="1556066" y="478737"/>
                </a:cubicBezTo>
                <a:cubicBezTo>
                  <a:pt x="1553587" y="478765"/>
                  <a:pt x="1551109" y="478795"/>
                  <a:pt x="1548631" y="478825"/>
                </a:cubicBezTo>
                <a:cubicBezTo>
                  <a:pt x="1544751" y="478857"/>
                  <a:pt x="1540871" y="478880"/>
                  <a:pt x="1536991" y="478889"/>
                </a:cubicBezTo>
                <a:cubicBezTo>
                  <a:pt x="1516714" y="478693"/>
                  <a:pt x="1516714" y="478693"/>
                  <a:pt x="1498188" y="485398"/>
                </a:cubicBezTo>
                <a:cubicBezTo>
                  <a:pt x="1496062" y="486488"/>
                  <a:pt x="1496062" y="486488"/>
                  <a:pt x="1493892" y="487600"/>
                </a:cubicBezTo>
                <a:cubicBezTo>
                  <a:pt x="1492733" y="488268"/>
                  <a:pt x="1491573" y="488937"/>
                  <a:pt x="1490377" y="489625"/>
                </a:cubicBezTo>
                <a:cubicBezTo>
                  <a:pt x="1484304" y="493012"/>
                  <a:pt x="1478212" y="495675"/>
                  <a:pt x="1471650" y="498185"/>
                </a:cubicBezTo>
                <a:cubicBezTo>
                  <a:pt x="1467148" y="500054"/>
                  <a:pt x="1463242" y="502632"/>
                  <a:pt x="1459135" y="505127"/>
                </a:cubicBezTo>
                <a:cubicBezTo>
                  <a:pt x="1456968" y="506120"/>
                  <a:pt x="1454786" y="507086"/>
                  <a:pt x="1452594" y="508033"/>
                </a:cubicBezTo>
                <a:cubicBezTo>
                  <a:pt x="1444148" y="511772"/>
                  <a:pt x="1435969" y="515903"/>
                  <a:pt x="1427795" y="520100"/>
                </a:cubicBezTo>
                <a:cubicBezTo>
                  <a:pt x="1425784" y="521114"/>
                  <a:pt x="1425784" y="521114"/>
                  <a:pt x="1423733" y="522148"/>
                </a:cubicBezTo>
                <a:cubicBezTo>
                  <a:pt x="1422478" y="522798"/>
                  <a:pt x="1421223" y="523449"/>
                  <a:pt x="1419929" y="524118"/>
                </a:cubicBezTo>
                <a:cubicBezTo>
                  <a:pt x="1418794" y="524701"/>
                  <a:pt x="1417658" y="525283"/>
                  <a:pt x="1416487" y="525883"/>
                </a:cubicBezTo>
                <a:cubicBezTo>
                  <a:pt x="1413349" y="527646"/>
                  <a:pt x="1413349" y="527646"/>
                  <a:pt x="1412271" y="531902"/>
                </a:cubicBezTo>
                <a:cubicBezTo>
                  <a:pt x="1407205" y="535203"/>
                  <a:pt x="1402819" y="536744"/>
                  <a:pt x="1396650" y="537539"/>
                </a:cubicBezTo>
                <a:cubicBezTo>
                  <a:pt x="1396650" y="538469"/>
                  <a:pt x="1396650" y="539399"/>
                  <a:pt x="1396650" y="540357"/>
                </a:cubicBezTo>
                <a:cubicBezTo>
                  <a:pt x="1395609" y="540735"/>
                  <a:pt x="1394568" y="541113"/>
                  <a:pt x="1393495" y="541502"/>
                </a:cubicBezTo>
                <a:cubicBezTo>
                  <a:pt x="1381840" y="545973"/>
                  <a:pt x="1372279" y="551715"/>
                  <a:pt x="1362284" y="558678"/>
                </a:cubicBezTo>
                <a:cubicBezTo>
                  <a:pt x="1360170" y="560088"/>
                  <a:pt x="1358055" y="561497"/>
                  <a:pt x="1355937" y="562905"/>
                </a:cubicBezTo>
                <a:cubicBezTo>
                  <a:pt x="1348556" y="567937"/>
                  <a:pt x="1341292" y="573085"/>
                  <a:pt x="1334165" y="578406"/>
                </a:cubicBezTo>
                <a:cubicBezTo>
                  <a:pt x="1332697" y="579472"/>
                  <a:pt x="1332697" y="579472"/>
                  <a:pt x="1331200" y="580559"/>
                </a:cubicBezTo>
                <a:cubicBezTo>
                  <a:pt x="1325067" y="585430"/>
                  <a:pt x="1323406" y="589771"/>
                  <a:pt x="1322175" y="596793"/>
                </a:cubicBezTo>
                <a:cubicBezTo>
                  <a:pt x="1321669" y="599545"/>
                  <a:pt x="1321669" y="599545"/>
                  <a:pt x="1320106" y="602363"/>
                </a:cubicBezTo>
                <a:cubicBezTo>
                  <a:pt x="1318419" y="618189"/>
                  <a:pt x="1322416" y="632767"/>
                  <a:pt x="1328015" y="647640"/>
                </a:cubicBezTo>
                <a:cubicBezTo>
                  <a:pt x="1331267" y="656625"/>
                  <a:pt x="1333170" y="666179"/>
                  <a:pt x="1332604" y="675643"/>
                </a:cubicBezTo>
                <a:cubicBezTo>
                  <a:pt x="1333634" y="675643"/>
                  <a:pt x="1334665" y="675643"/>
                  <a:pt x="1335727" y="675643"/>
                </a:cubicBezTo>
                <a:cubicBezTo>
                  <a:pt x="1337571" y="680632"/>
                  <a:pt x="1337591" y="684795"/>
                  <a:pt x="1337741" y="690059"/>
                </a:cubicBezTo>
                <a:cubicBezTo>
                  <a:pt x="1337826" y="692114"/>
                  <a:pt x="1337913" y="694168"/>
                  <a:pt x="1338003" y="696222"/>
                </a:cubicBezTo>
                <a:cubicBezTo>
                  <a:pt x="1338142" y="699444"/>
                  <a:pt x="1338266" y="702664"/>
                  <a:pt x="1338340" y="705887"/>
                </a:cubicBezTo>
                <a:cubicBezTo>
                  <a:pt x="1338372" y="720474"/>
                  <a:pt x="1338372" y="720474"/>
                  <a:pt x="1345277" y="733245"/>
                </a:cubicBezTo>
                <a:cubicBezTo>
                  <a:pt x="1350822" y="737861"/>
                  <a:pt x="1355921" y="739823"/>
                  <a:pt x="1363162" y="741612"/>
                </a:cubicBezTo>
                <a:cubicBezTo>
                  <a:pt x="1370672" y="743533"/>
                  <a:pt x="1377197" y="745750"/>
                  <a:pt x="1384154" y="748922"/>
                </a:cubicBezTo>
                <a:cubicBezTo>
                  <a:pt x="1387833" y="749898"/>
                  <a:pt x="1387833" y="749898"/>
                  <a:pt x="1391476" y="750419"/>
                </a:cubicBezTo>
                <a:cubicBezTo>
                  <a:pt x="1393499" y="750747"/>
                  <a:pt x="1393499" y="750747"/>
                  <a:pt x="1395564" y="751080"/>
                </a:cubicBezTo>
                <a:cubicBezTo>
                  <a:pt x="1397648" y="751407"/>
                  <a:pt x="1397648" y="751407"/>
                  <a:pt x="1399775" y="751740"/>
                </a:cubicBezTo>
                <a:cubicBezTo>
                  <a:pt x="1401810" y="752111"/>
                  <a:pt x="1401810" y="752111"/>
                  <a:pt x="1403887" y="752489"/>
                </a:cubicBezTo>
                <a:cubicBezTo>
                  <a:pt x="1424247" y="756131"/>
                  <a:pt x="1444708" y="756350"/>
                  <a:pt x="1465383" y="755969"/>
                </a:cubicBezTo>
                <a:cubicBezTo>
                  <a:pt x="1467019" y="755945"/>
                  <a:pt x="1468654" y="755921"/>
                  <a:pt x="1470339" y="755897"/>
                </a:cubicBezTo>
                <a:cubicBezTo>
                  <a:pt x="1480128" y="755450"/>
                  <a:pt x="1487899" y="752933"/>
                  <a:pt x="1496809" y="749313"/>
                </a:cubicBezTo>
                <a:cubicBezTo>
                  <a:pt x="1502876" y="746888"/>
                  <a:pt x="1509049" y="745091"/>
                  <a:pt x="1515371" y="743285"/>
                </a:cubicBezTo>
                <a:cubicBezTo>
                  <a:pt x="1515371" y="742356"/>
                  <a:pt x="1515371" y="741425"/>
                  <a:pt x="1515371" y="740467"/>
                </a:cubicBezTo>
                <a:cubicBezTo>
                  <a:pt x="1522710" y="737103"/>
                  <a:pt x="1529583" y="737106"/>
                  <a:pt x="1537632" y="737120"/>
                </a:cubicBezTo>
                <a:cubicBezTo>
                  <a:pt x="1538960" y="737122"/>
                  <a:pt x="1540289" y="737124"/>
                  <a:pt x="1541657" y="737127"/>
                </a:cubicBezTo>
                <a:cubicBezTo>
                  <a:pt x="1555502" y="737372"/>
                  <a:pt x="1564314" y="740697"/>
                  <a:pt x="1574732" y="748922"/>
                </a:cubicBezTo>
                <a:cubicBezTo>
                  <a:pt x="1586507" y="762822"/>
                  <a:pt x="1590347" y="775219"/>
                  <a:pt x="1588791" y="792608"/>
                </a:cubicBezTo>
                <a:cubicBezTo>
                  <a:pt x="1587728" y="797050"/>
                  <a:pt x="1586468" y="801261"/>
                  <a:pt x="1584105" y="805291"/>
                </a:cubicBezTo>
                <a:cubicBezTo>
                  <a:pt x="1583074" y="805756"/>
                  <a:pt x="1582043" y="806221"/>
                  <a:pt x="1580981" y="806700"/>
                </a:cubicBezTo>
                <a:cubicBezTo>
                  <a:pt x="1580240" y="807892"/>
                  <a:pt x="1579499" y="809083"/>
                  <a:pt x="1578735" y="810311"/>
                </a:cubicBezTo>
                <a:cubicBezTo>
                  <a:pt x="1577930" y="811445"/>
                  <a:pt x="1577124" y="812579"/>
                  <a:pt x="1576295" y="813746"/>
                </a:cubicBezTo>
                <a:lnTo>
                  <a:pt x="1571652" y="813746"/>
                </a:lnTo>
                <a:lnTo>
                  <a:pt x="1571785" y="814106"/>
                </a:lnTo>
                <a:cubicBezTo>
                  <a:pt x="1572816" y="814571"/>
                  <a:pt x="1573846" y="815036"/>
                  <a:pt x="1574909" y="815515"/>
                </a:cubicBezTo>
                <a:cubicBezTo>
                  <a:pt x="1572126" y="818758"/>
                  <a:pt x="1569968" y="820871"/>
                  <a:pt x="1565463" y="821839"/>
                </a:cubicBezTo>
                <a:lnTo>
                  <a:pt x="1562085" y="822101"/>
                </a:lnTo>
                <a:lnTo>
                  <a:pt x="1551301" y="825020"/>
                </a:lnTo>
                <a:cubicBezTo>
                  <a:pt x="1551301" y="825950"/>
                  <a:pt x="1551301" y="826880"/>
                  <a:pt x="1551301" y="827838"/>
                </a:cubicBezTo>
                <a:cubicBezTo>
                  <a:pt x="1526697" y="828735"/>
                  <a:pt x="1507496" y="825036"/>
                  <a:pt x="1485380" y="815007"/>
                </a:cubicBezTo>
                <a:cubicBezTo>
                  <a:pt x="1468723" y="807743"/>
                  <a:pt x="1449749" y="809144"/>
                  <a:pt x="1431603" y="808726"/>
                </a:cubicBezTo>
                <a:cubicBezTo>
                  <a:pt x="1429115" y="808665"/>
                  <a:pt x="1426627" y="808604"/>
                  <a:pt x="1424140" y="808542"/>
                </a:cubicBezTo>
                <a:cubicBezTo>
                  <a:pt x="1418101" y="808392"/>
                  <a:pt x="1412062" y="808249"/>
                  <a:pt x="1406023" y="808109"/>
                </a:cubicBezTo>
                <a:cubicBezTo>
                  <a:pt x="1406023" y="809040"/>
                  <a:pt x="1406023" y="809970"/>
                  <a:pt x="1406023" y="810928"/>
                </a:cubicBezTo>
                <a:cubicBezTo>
                  <a:pt x="1404716" y="811118"/>
                  <a:pt x="1404716" y="811118"/>
                  <a:pt x="1403383" y="811311"/>
                </a:cubicBezTo>
                <a:cubicBezTo>
                  <a:pt x="1372054" y="815110"/>
                  <a:pt x="1372054" y="815110"/>
                  <a:pt x="1345442" y="828907"/>
                </a:cubicBezTo>
                <a:cubicBezTo>
                  <a:pt x="1338843" y="837605"/>
                  <a:pt x="1338313" y="846434"/>
                  <a:pt x="1337875" y="856639"/>
                </a:cubicBezTo>
                <a:cubicBezTo>
                  <a:pt x="1337815" y="857805"/>
                  <a:pt x="1337754" y="858970"/>
                  <a:pt x="1337692" y="860171"/>
                </a:cubicBezTo>
                <a:cubicBezTo>
                  <a:pt x="1337547" y="863016"/>
                  <a:pt x="1337417" y="865861"/>
                  <a:pt x="1337290" y="868706"/>
                </a:cubicBezTo>
                <a:cubicBezTo>
                  <a:pt x="1336258" y="868706"/>
                  <a:pt x="1335228" y="868706"/>
                  <a:pt x="1334165" y="868706"/>
                </a:cubicBezTo>
                <a:lnTo>
                  <a:pt x="1334165" y="870034"/>
                </a:lnTo>
                <a:lnTo>
                  <a:pt x="1334237" y="869093"/>
                </a:lnTo>
                <a:cubicBezTo>
                  <a:pt x="1334753" y="869093"/>
                  <a:pt x="1335268" y="869093"/>
                  <a:pt x="1335800" y="869093"/>
                </a:cubicBezTo>
                <a:cubicBezTo>
                  <a:pt x="1335884" y="871559"/>
                  <a:pt x="1335944" y="874025"/>
                  <a:pt x="1335995" y="876491"/>
                </a:cubicBezTo>
                <a:cubicBezTo>
                  <a:pt x="1336030" y="877865"/>
                  <a:pt x="1336067" y="879238"/>
                  <a:pt x="1336105" y="880653"/>
                </a:cubicBezTo>
                <a:cubicBezTo>
                  <a:pt x="1335800" y="884594"/>
                  <a:pt x="1335800" y="884594"/>
                  <a:pt x="1334294" y="887271"/>
                </a:cubicBezTo>
                <a:cubicBezTo>
                  <a:pt x="1332567" y="890428"/>
                  <a:pt x="1331982" y="892964"/>
                  <a:pt x="1331455" y="896440"/>
                </a:cubicBezTo>
                <a:cubicBezTo>
                  <a:pt x="1331267" y="897605"/>
                  <a:pt x="1331080" y="898769"/>
                  <a:pt x="1330887" y="899969"/>
                </a:cubicBezTo>
                <a:cubicBezTo>
                  <a:pt x="1330704" y="901174"/>
                  <a:pt x="1330521" y="902378"/>
                  <a:pt x="1330332" y="903618"/>
                </a:cubicBezTo>
                <a:cubicBezTo>
                  <a:pt x="1329968" y="906013"/>
                  <a:pt x="1329594" y="908405"/>
                  <a:pt x="1329209" y="910797"/>
                </a:cubicBezTo>
                <a:cubicBezTo>
                  <a:pt x="1329049" y="911853"/>
                  <a:pt x="1328889" y="912910"/>
                  <a:pt x="1328724" y="913998"/>
                </a:cubicBezTo>
                <a:cubicBezTo>
                  <a:pt x="1327933" y="917233"/>
                  <a:pt x="1326525" y="919703"/>
                  <a:pt x="1324865" y="922643"/>
                </a:cubicBezTo>
                <a:cubicBezTo>
                  <a:pt x="1323924" y="927743"/>
                  <a:pt x="1323282" y="932845"/>
                  <a:pt x="1322619" y="937979"/>
                </a:cubicBezTo>
                <a:lnTo>
                  <a:pt x="1318744" y="944961"/>
                </a:lnTo>
                <a:lnTo>
                  <a:pt x="1318544" y="946213"/>
                </a:lnTo>
                <a:cubicBezTo>
                  <a:pt x="1318360" y="949234"/>
                  <a:pt x="1318271" y="952260"/>
                  <a:pt x="1318251" y="955285"/>
                </a:cubicBezTo>
                <a:cubicBezTo>
                  <a:pt x="1318218" y="957637"/>
                  <a:pt x="1318218" y="957637"/>
                  <a:pt x="1318184" y="960036"/>
                </a:cubicBezTo>
                <a:cubicBezTo>
                  <a:pt x="1318624" y="965530"/>
                  <a:pt x="1319569" y="969724"/>
                  <a:pt x="1324024" y="973660"/>
                </a:cubicBezTo>
                <a:cubicBezTo>
                  <a:pt x="1327197" y="976583"/>
                  <a:pt x="1327950" y="979494"/>
                  <a:pt x="1329284" y="983382"/>
                </a:cubicBezTo>
                <a:cubicBezTo>
                  <a:pt x="1331875" y="990106"/>
                  <a:pt x="1334445" y="993582"/>
                  <a:pt x="1340414" y="998354"/>
                </a:cubicBezTo>
                <a:cubicBezTo>
                  <a:pt x="1342397" y="1000564"/>
                  <a:pt x="1344347" y="1002798"/>
                  <a:pt x="1346272" y="1005048"/>
                </a:cubicBezTo>
                <a:cubicBezTo>
                  <a:pt x="1360055" y="1020713"/>
                  <a:pt x="1376247" y="1031879"/>
                  <a:pt x="1394716" y="1042740"/>
                </a:cubicBezTo>
                <a:cubicBezTo>
                  <a:pt x="1397172" y="1044228"/>
                  <a:pt x="1399581" y="1045779"/>
                  <a:pt x="1401953" y="1047374"/>
                </a:cubicBezTo>
                <a:cubicBezTo>
                  <a:pt x="1410065" y="1052802"/>
                  <a:pt x="1417529" y="1056366"/>
                  <a:pt x="1427197" y="1059061"/>
                </a:cubicBezTo>
                <a:cubicBezTo>
                  <a:pt x="1431243" y="1060437"/>
                  <a:pt x="1434061" y="1061979"/>
                  <a:pt x="1437265" y="1064588"/>
                </a:cubicBezTo>
                <a:cubicBezTo>
                  <a:pt x="1437265" y="1065518"/>
                  <a:pt x="1437265" y="1066448"/>
                  <a:pt x="1437265" y="1067406"/>
                </a:cubicBezTo>
                <a:cubicBezTo>
                  <a:pt x="1439053" y="1067624"/>
                  <a:pt x="1439053" y="1067624"/>
                  <a:pt x="1440878" y="1067847"/>
                </a:cubicBezTo>
                <a:cubicBezTo>
                  <a:pt x="1445076" y="1068815"/>
                  <a:pt x="1445076" y="1068815"/>
                  <a:pt x="1447175" y="1070753"/>
                </a:cubicBezTo>
                <a:cubicBezTo>
                  <a:pt x="1450417" y="1073622"/>
                  <a:pt x="1453781" y="1075060"/>
                  <a:pt x="1457866" y="1076830"/>
                </a:cubicBezTo>
                <a:cubicBezTo>
                  <a:pt x="1459274" y="1077446"/>
                  <a:pt x="1460681" y="1078062"/>
                  <a:pt x="1462132" y="1078696"/>
                </a:cubicBezTo>
                <a:cubicBezTo>
                  <a:pt x="1463204" y="1079156"/>
                  <a:pt x="1464278" y="1079616"/>
                  <a:pt x="1465383" y="1080089"/>
                </a:cubicBezTo>
                <a:cubicBezTo>
                  <a:pt x="1465383" y="1081019"/>
                  <a:pt x="1465383" y="1081949"/>
                  <a:pt x="1465383" y="1082908"/>
                </a:cubicBezTo>
                <a:cubicBezTo>
                  <a:pt x="1466497" y="1083260"/>
                  <a:pt x="1467611" y="1083612"/>
                  <a:pt x="1468758" y="1083975"/>
                </a:cubicBezTo>
                <a:cubicBezTo>
                  <a:pt x="1473648" y="1085905"/>
                  <a:pt x="1477426" y="1088296"/>
                  <a:pt x="1481688" y="1091187"/>
                </a:cubicBezTo>
                <a:cubicBezTo>
                  <a:pt x="1483204" y="1092193"/>
                  <a:pt x="1484721" y="1093200"/>
                  <a:pt x="1486283" y="1094236"/>
                </a:cubicBezTo>
                <a:cubicBezTo>
                  <a:pt x="1489170" y="1096185"/>
                  <a:pt x="1492029" y="1098166"/>
                  <a:pt x="1494869" y="1100171"/>
                </a:cubicBezTo>
                <a:cubicBezTo>
                  <a:pt x="1510181" y="1107906"/>
                  <a:pt x="1527080" y="1109898"/>
                  <a:pt x="1544335" y="1109518"/>
                </a:cubicBezTo>
                <a:cubicBezTo>
                  <a:pt x="1579932" y="1108798"/>
                  <a:pt x="1579932" y="1108798"/>
                  <a:pt x="1593477" y="1119900"/>
                </a:cubicBezTo>
                <a:cubicBezTo>
                  <a:pt x="1600636" y="1127255"/>
                  <a:pt x="1604889" y="1135120"/>
                  <a:pt x="1605975" y="1144913"/>
                </a:cubicBezTo>
                <a:cubicBezTo>
                  <a:pt x="1607006" y="1144913"/>
                  <a:pt x="1608036" y="1144913"/>
                  <a:pt x="1609099" y="1144913"/>
                </a:cubicBezTo>
                <a:cubicBezTo>
                  <a:pt x="1609227" y="1148907"/>
                  <a:pt x="1609319" y="1152897"/>
                  <a:pt x="1609392" y="1156892"/>
                </a:cubicBezTo>
                <a:cubicBezTo>
                  <a:pt x="1609451" y="1158565"/>
                  <a:pt x="1609451" y="1158565"/>
                  <a:pt x="1609511" y="1160272"/>
                </a:cubicBezTo>
                <a:cubicBezTo>
                  <a:pt x="1609621" y="1168378"/>
                  <a:pt x="1607970" y="1174108"/>
                  <a:pt x="1604412" y="1181553"/>
                </a:cubicBezTo>
                <a:cubicBezTo>
                  <a:pt x="1603354" y="1184367"/>
                  <a:pt x="1602306" y="1187183"/>
                  <a:pt x="1601288" y="1190009"/>
                </a:cubicBezTo>
                <a:cubicBezTo>
                  <a:pt x="1600257" y="1190009"/>
                  <a:pt x="1599226" y="1190009"/>
                  <a:pt x="1598164" y="1190009"/>
                </a:cubicBezTo>
                <a:cubicBezTo>
                  <a:pt x="1597842" y="1190910"/>
                  <a:pt x="1597520" y="1191810"/>
                  <a:pt x="1597187" y="1192739"/>
                </a:cubicBezTo>
                <a:cubicBezTo>
                  <a:pt x="1596479" y="1193698"/>
                  <a:pt x="1595770" y="1194657"/>
                  <a:pt x="1595040" y="1195645"/>
                </a:cubicBezTo>
                <a:cubicBezTo>
                  <a:pt x="1591916" y="1196115"/>
                  <a:pt x="1588791" y="1196585"/>
                  <a:pt x="1585667" y="1197055"/>
                </a:cubicBezTo>
                <a:cubicBezTo>
                  <a:pt x="1583871" y="1199826"/>
                  <a:pt x="1583871" y="1199826"/>
                  <a:pt x="1582543" y="1202691"/>
                </a:cubicBezTo>
                <a:cubicBezTo>
                  <a:pt x="1575997" y="1204710"/>
                  <a:pt x="1569266" y="1204360"/>
                  <a:pt x="1562431" y="1204365"/>
                </a:cubicBezTo>
                <a:cubicBezTo>
                  <a:pt x="1561196" y="1204382"/>
                  <a:pt x="1559962" y="1204399"/>
                  <a:pt x="1558690" y="1204417"/>
                </a:cubicBezTo>
                <a:cubicBezTo>
                  <a:pt x="1543339" y="1204452"/>
                  <a:pt x="1531981" y="1199267"/>
                  <a:pt x="1521102" y="1189585"/>
                </a:cubicBezTo>
                <a:cubicBezTo>
                  <a:pt x="1515403" y="1183953"/>
                  <a:pt x="1510116" y="1178123"/>
                  <a:pt x="1505022" y="1172041"/>
                </a:cubicBezTo>
                <a:cubicBezTo>
                  <a:pt x="1493200" y="1158177"/>
                  <a:pt x="1475492" y="1147115"/>
                  <a:pt x="1457573" y="1140686"/>
                </a:cubicBezTo>
                <a:cubicBezTo>
                  <a:pt x="1457573" y="1139755"/>
                  <a:pt x="1457573" y="1138826"/>
                  <a:pt x="1457573" y="1137867"/>
                </a:cubicBezTo>
                <a:cubicBezTo>
                  <a:pt x="1456059" y="1137693"/>
                  <a:pt x="1454544" y="1137518"/>
                  <a:pt x="1452985" y="1137339"/>
                </a:cubicBezTo>
                <a:cubicBezTo>
                  <a:pt x="1451406" y="1137048"/>
                  <a:pt x="1449827" y="1136758"/>
                  <a:pt x="1448200" y="1136458"/>
                </a:cubicBezTo>
                <a:cubicBezTo>
                  <a:pt x="1447685" y="1135528"/>
                  <a:pt x="1447169" y="1134598"/>
                  <a:pt x="1446638" y="1133640"/>
                </a:cubicBezTo>
                <a:cubicBezTo>
                  <a:pt x="1444091" y="1132586"/>
                  <a:pt x="1441535" y="1131550"/>
                  <a:pt x="1438937" y="1130601"/>
                </a:cubicBezTo>
                <a:cubicBezTo>
                  <a:pt x="1435668" y="1129399"/>
                  <a:pt x="1432469" y="1128095"/>
                  <a:pt x="1429260" y="1126770"/>
                </a:cubicBezTo>
                <a:cubicBezTo>
                  <a:pt x="1423389" y="1124389"/>
                  <a:pt x="1417431" y="1122349"/>
                  <a:pt x="1411393" y="1120340"/>
                </a:cubicBezTo>
                <a:cubicBezTo>
                  <a:pt x="1404143" y="1117867"/>
                  <a:pt x="1397842" y="1115090"/>
                  <a:pt x="1391427" y="1111191"/>
                </a:cubicBezTo>
                <a:cubicBezTo>
                  <a:pt x="1388139" y="1109274"/>
                  <a:pt x="1384723" y="1108010"/>
                  <a:pt x="1381029" y="1106865"/>
                </a:cubicBezTo>
                <a:cubicBezTo>
                  <a:pt x="1381029" y="1105934"/>
                  <a:pt x="1381029" y="1105004"/>
                  <a:pt x="1381029" y="1104046"/>
                </a:cubicBezTo>
                <a:cubicBezTo>
                  <a:pt x="1379773" y="1103901"/>
                  <a:pt x="1378516" y="1103755"/>
                  <a:pt x="1377221" y="1103605"/>
                </a:cubicBezTo>
                <a:cubicBezTo>
                  <a:pt x="1370425" y="1102422"/>
                  <a:pt x="1364120" y="1100465"/>
                  <a:pt x="1357597" y="1098409"/>
                </a:cubicBezTo>
                <a:cubicBezTo>
                  <a:pt x="1355761" y="1097857"/>
                  <a:pt x="1353924" y="1097304"/>
                  <a:pt x="1352032" y="1096736"/>
                </a:cubicBezTo>
                <a:cubicBezTo>
                  <a:pt x="1350776" y="1096358"/>
                  <a:pt x="1349519" y="1095980"/>
                  <a:pt x="1348225" y="1095590"/>
                </a:cubicBezTo>
                <a:cubicBezTo>
                  <a:pt x="1348225" y="1094661"/>
                  <a:pt x="1348225" y="1093730"/>
                  <a:pt x="1348225" y="1092772"/>
                </a:cubicBezTo>
                <a:cubicBezTo>
                  <a:pt x="1344616" y="1092307"/>
                  <a:pt x="1341007" y="1091842"/>
                  <a:pt x="1337290" y="1091363"/>
                </a:cubicBezTo>
                <a:cubicBezTo>
                  <a:pt x="1337290" y="1090433"/>
                  <a:pt x="1337290" y="1089503"/>
                  <a:pt x="1337290" y="1088544"/>
                </a:cubicBezTo>
                <a:cubicBezTo>
                  <a:pt x="1334438" y="1088327"/>
                  <a:pt x="1334438" y="1088327"/>
                  <a:pt x="1331529" y="1088104"/>
                </a:cubicBezTo>
                <a:lnTo>
                  <a:pt x="1323297" y="1086611"/>
                </a:lnTo>
                <a:lnTo>
                  <a:pt x="1323297" y="1087618"/>
                </a:lnTo>
                <a:cubicBezTo>
                  <a:pt x="1322139" y="1087517"/>
                  <a:pt x="1320982" y="1087415"/>
                  <a:pt x="1319789" y="1087310"/>
                </a:cubicBezTo>
                <a:cubicBezTo>
                  <a:pt x="1300429" y="1085771"/>
                  <a:pt x="1281330" y="1084680"/>
                  <a:pt x="1262375" y="1089028"/>
                </a:cubicBezTo>
                <a:lnTo>
                  <a:pt x="1258728" y="1088205"/>
                </a:lnTo>
                <a:lnTo>
                  <a:pt x="1246964" y="1091489"/>
                </a:lnTo>
                <a:cubicBezTo>
                  <a:pt x="1237239" y="1097222"/>
                  <a:pt x="1228703" y="1103434"/>
                  <a:pt x="1223224" y="1112865"/>
                </a:cubicBezTo>
                <a:cubicBezTo>
                  <a:pt x="1220867" y="1116643"/>
                  <a:pt x="1217262" y="1119317"/>
                  <a:pt x="1213883" y="1122366"/>
                </a:cubicBezTo>
                <a:cubicBezTo>
                  <a:pt x="1213428" y="1123469"/>
                  <a:pt x="1212973" y="1124572"/>
                  <a:pt x="1212505" y="1125708"/>
                </a:cubicBezTo>
                <a:cubicBezTo>
                  <a:pt x="1210449" y="1130067"/>
                  <a:pt x="1207984" y="1132315"/>
                  <a:pt x="1204180" y="1135561"/>
                </a:cubicBezTo>
                <a:cubicBezTo>
                  <a:pt x="1202879" y="1136695"/>
                  <a:pt x="1201578" y="1137829"/>
                  <a:pt x="1200238" y="1138999"/>
                </a:cubicBezTo>
                <a:cubicBezTo>
                  <a:pt x="1197504" y="1141343"/>
                  <a:pt x="1194765" y="1143684"/>
                  <a:pt x="1192025" y="1146022"/>
                </a:cubicBezTo>
                <a:cubicBezTo>
                  <a:pt x="1181899" y="1154869"/>
                  <a:pt x="1174983" y="1161763"/>
                  <a:pt x="1173945" y="1174749"/>
                </a:cubicBezTo>
                <a:cubicBezTo>
                  <a:pt x="1173902" y="1177369"/>
                  <a:pt x="1173905" y="1179990"/>
                  <a:pt x="1173950" y="1182610"/>
                </a:cubicBezTo>
                <a:cubicBezTo>
                  <a:pt x="1173963" y="1183981"/>
                  <a:pt x="1173975" y="1185352"/>
                  <a:pt x="1173989" y="1186765"/>
                </a:cubicBezTo>
                <a:cubicBezTo>
                  <a:pt x="1174321" y="1197573"/>
                  <a:pt x="1176809" y="1205883"/>
                  <a:pt x="1182640" y="1215374"/>
                </a:cubicBezTo>
                <a:cubicBezTo>
                  <a:pt x="1183703" y="1217509"/>
                  <a:pt x="1184746" y="1219652"/>
                  <a:pt x="1185764" y="1221804"/>
                </a:cubicBezTo>
                <a:cubicBezTo>
                  <a:pt x="1186271" y="1222812"/>
                  <a:pt x="1186779" y="1223821"/>
                  <a:pt x="1187301" y="1224859"/>
                </a:cubicBezTo>
                <a:cubicBezTo>
                  <a:pt x="1188431" y="1227137"/>
                  <a:pt x="1189517" y="1229433"/>
                  <a:pt x="1190573" y="1231740"/>
                </a:cubicBezTo>
                <a:cubicBezTo>
                  <a:pt x="1194650" y="1240409"/>
                  <a:pt x="1199581" y="1247688"/>
                  <a:pt x="1205925" y="1255163"/>
                </a:cubicBezTo>
                <a:cubicBezTo>
                  <a:pt x="1208103" y="1257757"/>
                  <a:pt x="1210188" y="1260417"/>
                  <a:pt x="1212174" y="1263134"/>
                </a:cubicBezTo>
                <a:cubicBezTo>
                  <a:pt x="1218757" y="1272043"/>
                  <a:pt x="1225157" y="1277324"/>
                  <a:pt x="1235556" y="1282538"/>
                </a:cubicBezTo>
                <a:cubicBezTo>
                  <a:pt x="1236652" y="1283161"/>
                  <a:pt x="1237747" y="1283784"/>
                  <a:pt x="1238876" y="1284426"/>
                </a:cubicBezTo>
                <a:cubicBezTo>
                  <a:pt x="1238876" y="1285356"/>
                  <a:pt x="1238876" y="1286287"/>
                  <a:pt x="1238876" y="1287245"/>
                </a:cubicBezTo>
                <a:cubicBezTo>
                  <a:pt x="1239988" y="1287383"/>
                  <a:pt x="1241099" y="1287521"/>
                  <a:pt x="1242245" y="1287663"/>
                </a:cubicBezTo>
                <a:cubicBezTo>
                  <a:pt x="1253043" y="1290072"/>
                  <a:pt x="1264916" y="1297690"/>
                  <a:pt x="1271681" y="1305565"/>
                </a:cubicBezTo>
                <a:lnTo>
                  <a:pt x="1271742" y="1306172"/>
                </a:lnTo>
                <a:lnTo>
                  <a:pt x="1278525" y="1315767"/>
                </a:lnTo>
                <a:cubicBezTo>
                  <a:pt x="1279797" y="1319398"/>
                  <a:pt x="1280365" y="1323346"/>
                  <a:pt x="1281097" y="1327286"/>
                </a:cubicBezTo>
                <a:cubicBezTo>
                  <a:pt x="1281916" y="1337121"/>
                  <a:pt x="1281807" y="1346176"/>
                  <a:pt x="1277973" y="1355470"/>
                </a:cubicBezTo>
                <a:lnTo>
                  <a:pt x="1277460" y="1347025"/>
                </a:lnTo>
                <a:lnTo>
                  <a:pt x="1273531" y="1357991"/>
                </a:lnTo>
                <a:cubicBezTo>
                  <a:pt x="1270940" y="1361892"/>
                  <a:pt x="1267521" y="1365435"/>
                  <a:pt x="1263870" y="1368980"/>
                </a:cubicBezTo>
                <a:cubicBezTo>
                  <a:pt x="1258351" y="1372929"/>
                  <a:pt x="1253850" y="1376026"/>
                  <a:pt x="1246686" y="1376026"/>
                </a:cubicBezTo>
                <a:cubicBezTo>
                  <a:pt x="1246686" y="1376956"/>
                  <a:pt x="1246686" y="1377886"/>
                  <a:pt x="1246686" y="1378844"/>
                </a:cubicBezTo>
                <a:cubicBezTo>
                  <a:pt x="1241676" y="1379009"/>
                  <a:pt x="1236665" y="1379109"/>
                  <a:pt x="1231651" y="1379196"/>
                </a:cubicBezTo>
                <a:cubicBezTo>
                  <a:pt x="1230240" y="1379244"/>
                  <a:pt x="1228828" y="1379291"/>
                  <a:pt x="1227373" y="1379340"/>
                </a:cubicBezTo>
                <a:cubicBezTo>
                  <a:pt x="1218287" y="1379460"/>
                  <a:pt x="1213363" y="1378568"/>
                  <a:pt x="1206071" y="1373207"/>
                </a:cubicBezTo>
                <a:cubicBezTo>
                  <a:pt x="1204751" y="1372742"/>
                  <a:pt x="1203430" y="1372277"/>
                  <a:pt x="1202069" y="1371798"/>
                </a:cubicBezTo>
                <a:cubicBezTo>
                  <a:pt x="1193777" y="1368730"/>
                  <a:pt x="1188124" y="1363294"/>
                  <a:pt x="1184104" y="1356176"/>
                </a:cubicBezTo>
                <a:cubicBezTo>
                  <a:pt x="1180965" y="1349259"/>
                  <a:pt x="1178852" y="1342590"/>
                  <a:pt x="1177270" y="1335247"/>
                </a:cubicBezTo>
                <a:cubicBezTo>
                  <a:pt x="1175525" y="1327352"/>
                  <a:pt x="1172911" y="1320677"/>
                  <a:pt x="1169002" y="1313464"/>
                </a:cubicBezTo>
                <a:cubicBezTo>
                  <a:pt x="1166989" y="1309737"/>
                  <a:pt x="1165215" y="1305976"/>
                  <a:pt x="1163504" y="1302130"/>
                </a:cubicBezTo>
                <a:cubicBezTo>
                  <a:pt x="1163013" y="1301027"/>
                  <a:pt x="1162521" y="1299924"/>
                  <a:pt x="1162015" y="1298788"/>
                </a:cubicBezTo>
                <a:cubicBezTo>
                  <a:pt x="1160770" y="1295700"/>
                  <a:pt x="1160770" y="1295700"/>
                  <a:pt x="1160111" y="1292656"/>
                </a:cubicBezTo>
                <a:cubicBezTo>
                  <a:pt x="1159345" y="1289507"/>
                  <a:pt x="1159345" y="1289507"/>
                  <a:pt x="1154522" y="1287245"/>
                </a:cubicBezTo>
                <a:cubicBezTo>
                  <a:pt x="1153465" y="1284902"/>
                  <a:pt x="1152426" y="1282552"/>
                  <a:pt x="1151398" y="1280199"/>
                </a:cubicBezTo>
                <a:cubicBezTo>
                  <a:pt x="1149056" y="1276983"/>
                  <a:pt x="1146686" y="1273874"/>
                  <a:pt x="1144173" y="1270774"/>
                </a:cubicBezTo>
                <a:cubicBezTo>
                  <a:pt x="1143477" y="1269912"/>
                  <a:pt x="1142782" y="1269049"/>
                  <a:pt x="1142065" y="1268160"/>
                </a:cubicBezTo>
                <a:cubicBezTo>
                  <a:pt x="1139981" y="1265589"/>
                  <a:pt x="1137880" y="1263029"/>
                  <a:pt x="1135776" y="1260470"/>
                </a:cubicBezTo>
                <a:cubicBezTo>
                  <a:pt x="1134647" y="1259076"/>
                  <a:pt x="1133517" y="1257683"/>
                  <a:pt x="1132353" y="1256247"/>
                </a:cubicBezTo>
                <a:cubicBezTo>
                  <a:pt x="1126291" y="1249045"/>
                  <a:pt x="1121408" y="1244606"/>
                  <a:pt x="1112344" y="1240741"/>
                </a:cubicBezTo>
                <a:cubicBezTo>
                  <a:pt x="1110285" y="1239698"/>
                  <a:pt x="1108234" y="1238642"/>
                  <a:pt x="1106193" y="1237570"/>
                </a:cubicBezTo>
                <a:cubicBezTo>
                  <a:pt x="1104615" y="1236756"/>
                  <a:pt x="1103036" y="1235942"/>
                  <a:pt x="1101409" y="1235104"/>
                </a:cubicBezTo>
                <a:cubicBezTo>
                  <a:pt x="1101409" y="1233708"/>
                  <a:pt x="1101409" y="1232313"/>
                  <a:pt x="1101409" y="1230876"/>
                </a:cubicBezTo>
                <a:cubicBezTo>
                  <a:pt x="1089553" y="1230876"/>
                  <a:pt x="1077697" y="1230876"/>
                  <a:pt x="1065480" y="1230876"/>
                </a:cubicBezTo>
                <a:cubicBezTo>
                  <a:pt x="1064965" y="1232271"/>
                  <a:pt x="1064450" y="1233666"/>
                  <a:pt x="1063919" y="1235104"/>
                </a:cubicBezTo>
                <a:cubicBezTo>
                  <a:pt x="1062372" y="1235104"/>
                  <a:pt x="1060826" y="1235104"/>
                  <a:pt x="1059232" y="1235104"/>
                </a:cubicBezTo>
                <a:cubicBezTo>
                  <a:pt x="1059232" y="1236033"/>
                  <a:pt x="1059232" y="1236964"/>
                  <a:pt x="1059232" y="1237922"/>
                </a:cubicBezTo>
                <a:cubicBezTo>
                  <a:pt x="1052964" y="1240850"/>
                  <a:pt x="1046842" y="1243613"/>
                  <a:pt x="1040194" y="1245761"/>
                </a:cubicBezTo>
                <a:cubicBezTo>
                  <a:pt x="1036552" y="1246941"/>
                  <a:pt x="1033682" y="1248088"/>
                  <a:pt x="1030333" y="1249901"/>
                </a:cubicBezTo>
                <a:cubicBezTo>
                  <a:pt x="1025129" y="1252717"/>
                  <a:pt x="1019615" y="1254371"/>
                  <a:pt x="1013931" y="1256242"/>
                </a:cubicBezTo>
                <a:cubicBezTo>
                  <a:pt x="1009870" y="1257688"/>
                  <a:pt x="1008221" y="1258277"/>
                  <a:pt x="1005925" y="1261615"/>
                </a:cubicBezTo>
                <a:cubicBezTo>
                  <a:pt x="1005474" y="1262632"/>
                  <a:pt x="1005023" y="1263649"/>
                  <a:pt x="1004558" y="1264697"/>
                </a:cubicBezTo>
                <a:cubicBezTo>
                  <a:pt x="1004030" y="1265774"/>
                  <a:pt x="1003503" y="1266852"/>
                  <a:pt x="1002959" y="1267961"/>
                </a:cubicBezTo>
                <a:cubicBezTo>
                  <a:pt x="1001408" y="1271808"/>
                  <a:pt x="1000922" y="1274896"/>
                  <a:pt x="1000653" y="1278965"/>
                </a:cubicBezTo>
                <a:cubicBezTo>
                  <a:pt x="1000303" y="1284158"/>
                  <a:pt x="999467" y="1289055"/>
                  <a:pt x="998297" y="1294137"/>
                </a:cubicBezTo>
                <a:cubicBezTo>
                  <a:pt x="996204" y="1304306"/>
                  <a:pt x="996129" y="1314460"/>
                  <a:pt x="996162" y="1324765"/>
                </a:cubicBezTo>
                <a:cubicBezTo>
                  <a:pt x="996163" y="1325782"/>
                  <a:pt x="996163" y="1326799"/>
                  <a:pt x="996164" y="1327846"/>
                </a:cubicBezTo>
                <a:cubicBezTo>
                  <a:pt x="996263" y="1353742"/>
                  <a:pt x="1001081" y="1378188"/>
                  <a:pt x="1007780" y="1403329"/>
                </a:cubicBezTo>
                <a:cubicBezTo>
                  <a:pt x="1008163" y="1404772"/>
                  <a:pt x="1008546" y="1406215"/>
                  <a:pt x="1008940" y="1407701"/>
                </a:cubicBezTo>
                <a:cubicBezTo>
                  <a:pt x="1009316" y="1409030"/>
                  <a:pt x="1009693" y="1410360"/>
                  <a:pt x="1010080" y="1411730"/>
                </a:cubicBezTo>
                <a:cubicBezTo>
                  <a:pt x="1010409" y="1412900"/>
                  <a:pt x="1010737" y="1414071"/>
                  <a:pt x="1011075" y="1415277"/>
                </a:cubicBezTo>
                <a:cubicBezTo>
                  <a:pt x="1012501" y="1418612"/>
                  <a:pt x="1014136" y="1420168"/>
                  <a:pt x="1017055" y="1422530"/>
                </a:cubicBezTo>
                <a:cubicBezTo>
                  <a:pt x="1018770" y="1425162"/>
                  <a:pt x="1018770" y="1425162"/>
                  <a:pt x="1020277" y="1427991"/>
                </a:cubicBezTo>
                <a:cubicBezTo>
                  <a:pt x="1020778" y="1428917"/>
                  <a:pt x="1021280" y="1429844"/>
                  <a:pt x="1021796" y="1430798"/>
                </a:cubicBezTo>
                <a:cubicBezTo>
                  <a:pt x="1023303" y="1433804"/>
                  <a:pt x="1023303" y="1433804"/>
                  <a:pt x="1024579" y="1437239"/>
                </a:cubicBezTo>
                <a:cubicBezTo>
                  <a:pt x="1026915" y="1441803"/>
                  <a:pt x="1030098" y="1444534"/>
                  <a:pt x="1034043" y="1448072"/>
                </a:cubicBezTo>
                <a:lnTo>
                  <a:pt x="1043782" y="1464320"/>
                </a:lnTo>
                <a:lnTo>
                  <a:pt x="1050458" y="1472189"/>
                </a:lnTo>
                <a:cubicBezTo>
                  <a:pt x="1051737" y="1475181"/>
                  <a:pt x="1052277" y="1478513"/>
                  <a:pt x="1052926" y="1482370"/>
                </a:cubicBezTo>
                <a:cubicBezTo>
                  <a:pt x="1053325" y="1487224"/>
                  <a:pt x="1053364" y="1492038"/>
                  <a:pt x="1053316" y="1496903"/>
                </a:cubicBezTo>
                <a:cubicBezTo>
                  <a:pt x="1053328" y="1498142"/>
                  <a:pt x="1053340" y="1499382"/>
                  <a:pt x="1053352" y="1500660"/>
                </a:cubicBezTo>
                <a:cubicBezTo>
                  <a:pt x="1053348" y="1501856"/>
                  <a:pt x="1053344" y="1503052"/>
                  <a:pt x="1053341" y="1504285"/>
                </a:cubicBezTo>
                <a:cubicBezTo>
                  <a:pt x="1053336" y="1505355"/>
                  <a:pt x="1053333" y="1506426"/>
                  <a:pt x="1053329" y="1507529"/>
                </a:cubicBezTo>
                <a:cubicBezTo>
                  <a:pt x="1052876" y="1510927"/>
                  <a:pt x="1051672" y="1513237"/>
                  <a:pt x="1049801" y="1516192"/>
                </a:cubicBezTo>
                <a:lnTo>
                  <a:pt x="1047312" y="1516192"/>
                </a:lnTo>
                <a:lnTo>
                  <a:pt x="1043611" y="1522585"/>
                </a:lnTo>
                <a:cubicBezTo>
                  <a:pt x="1035301" y="1529631"/>
                  <a:pt x="1035301" y="1529631"/>
                  <a:pt x="1029552" y="1529631"/>
                </a:cubicBezTo>
                <a:cubicBezTo>
                  <a:pt x="1029294" y="1530503"/>
                  <a:pt x="1029036" y="1531375"/>
                  <a:pt x="1028771" y="1532273"/>
                </a:cubicBezTo>
                <a:cubicBezTo>
                  <a:pt x="1025795" y="1536076"/>
                  <a:pt x="1022970" y="1536733"/>
                  <a:pt x="1018013" y="1537640"/>
                </a:cubicBezTo>
                <a:cubicBezTo>
                  <a:pt x="1005216" y="1539038"/>
                  <a:pt x="992573" y="1539816"/>
                  <a:pt x="981126" y="1533859"/>
                </a:cubicBezTo>
                <a:cubicBezTo>
                  <a:pt x="979840" y="1533226"/>
                  <a:pt x="978553" y="1532594"/>
                  <a:pt x="977227" y="1531943"/>
                </a:cubicBezTo>
                <a:cubicBezTo>
                  <a:pt x="965286" y="1525877"/>
                  <a:pt x="959626" y="1520520"/>
                  <a:pt x="955376" y="1508751"/>
                </a:cubicBezTo>
                <a:cubicBezTo>
                  <a:pt x="954571" y="1505674"/>
                  <a:pt x="954571" y="1505674"/>
                  <a:pt x="954571" y="1500037"/>
                </a:cubicBezTo>
                <a:cubicBezTo>
                  <a:pt x="953539" y="1500037"/>
                  <a:pt x="952508" y="1500037"/>
                  <a:pt x="951446" y="1500037"/>
                </a:cubicBezTo>
                <a:cubicBezTo>
                  <a:pt x="951361" y="1495986"/>
                  <a:pt x="951299" y="1491935"/>
                  <a:pt x="951251" y="1487883"/>
                </a:cubicBezTo>
                <a:cubicBezTo>
                  <a:pt x="951224" y="1486744"/>
                  <a:pt x="951198" y="1485605"/>
                  <a:pt x="951171" y="1484431"/>
                </a:cubicBezTo>
                <a:cubicBezTo>
                  <a:pt x="951110" y="1477657"/>
                  <a:pt x="952093" y="1472660"/>
                  <a:pt x="954571" y="1466216"/>
                </a:cubicBezTo>
                <a:cubicBezTo>
                  <a:pt x="954867" y="1462451"/>
                  <a:pt x="955016" y="1458876"/>
                  <a:pt x="954961" y="1455118"/>
                </a:cubicBezTo>
                <a:cubicBezTo>
                  <a:pt x="954951" y="1454080"/>
                  <a:pt x="954942" y="1453042"/>
                  <a:pt x="954932" y="1451972"/>
                </a:cubicBezTo>
                <a:cubicBezTo>
                  <a:pt x="954606" y="1435235"/>
                  <a:pt x="952568" y="1419050"/>
                  <a:pt x="945099" y="1403594"/>
                </a:cubicBezTo>
                <a:cubicBezTo>
                  <a:pt x="943714" y="1400177"/>
                  <a:pt x="943046" y="1397128"/>
                  <a:pt x="942366" y="1393553"/>
                </a:cubicBezTo>
                <a:cubicBezTo>
                  <a:pt x="940837" y="1386134"/>
                  <a:pt x="937840" y="1379609"/>
                  <a:pt x="934451" y="1372734"/>
                </a:cubicBezTo>
                <a:cubicBezTo>
                  <a:pt x="932701" y="1368980"/>
                  <a:pt x="932701" y="1368980"/>
                  <a:pt x="931974" y="1365754"/>
                </a:cubicBezTo>
                <a:cubicBezTo>
                  <a:pt x="931699" y="1364958"/>
                  <a:pt x="931422" y="1364162"/>
                  <a:pt x="931138" y="1363343"/>
                </a:cubicBezTo>
                <a:cubicBezTo>
                  <a:pt x="929592" y="1362878"/>
                  <a:pt x="928045" y="1362413"/>
                  <a:pt x="926452" y="1361933"/>
                </a:cubicBezTo>
                <a:cubicBezTo>
                  <a:pt x="921830" y="1355261"/>
                  <a:pt x="920323" y="1348382"/>
                  <a:pt x="918641" y="1340795"/>
                </a:cubicBezTo>
                <a:cubicBezTo>
                  <a:pt x="918133" y="1338914"/>
                  <a:pt x="917616" y="1337034"/>
                  <a:pt x="917079" y="1335158"/>
                </a:cubicBezTo>
                <a:cubicBezTo>
                  <a:pt x="916048" y="1335158"/>
                  <a:pt x="915018" y="1335158"/>
                  <a:pt x="913955" y="1335158"/>
                </a:cubicBezTo>
                <a:cubicBezTo>
                  <a:pt x="913329" y="1333718"/>
                  <a:pt x="912703" y="1332277"/>
                  <a:pt x="912057" y="1330793"/>
                </a:cubicBezTo>
                <a:cubicBezTo>
                  <a:pt x="909497" y="1325424"/>
                  <a:pt x="906114" y="1320822"/>
                  <a:pt x="902142" y="1316222"/>
                </a:cubicBezTo>
                <a:cubicBezTo>
                  <a:pt x="901465" y="1315432"/>
                  <a:pt x="900788" y="1314642"/>
                  <a:pt x="900091" y="1313828"/>
                </a:cubicBezTo>
                <a:cubicBezTo>
                  <a:pt x="893705" y="1306618"/>
                  <a:pt x="886350" y="1301049"/>
                  <a:pt x="878026" y="1295700"/>
                </a:cubicBezTo>
                <a:cubicBezTo>
                  <a:pt x="876595" y="1294594"/>
                  <a:pt x="876595" y="1294594"/>
                  <a:pt x="875134" y="1293465"/>
                </a:cubicBezTo>
                <a:lnTo>
                  <a:pt x="869869" y="1291826"/>
                </a:lnTo>
                <a:lnTo>
                  <a:pt x="862384" y="1291327"/>
                </a:lnTo>
                <a:cubicBezTo>
                  <a:pt x="856441" y="1290067"/>
                  <a:pt x="850461" y="1290346"/>
                  <a:pt x="844390" y="1290461"/>
                </a:cubicBezTo>
                <a:cubicBezTo>
                  <a:pt x="842453" y="1290480"/>
                  <a:pt x="842453" y="1290480"/>
                  <a:pt x="840476" y="1290500"/>
                </a:cubicBezTo>
                <a:cubicBezTo>
                  <a:pt x="837322" y="1290532"/>
                  <a:pt x="834169" y="1290583"/>
                  <a:pt x="831015" y="1290637"/>
                </a:cubicBezTo>
                <a:cubicBezTo>
                  <a:pt x="831015" y="1291568"/>
                  <a:pt x="831015" y="1292498"/>
                  <a:pt x="831015" y="1293456"/>
                </a:cubicBezTo>
                <a:cubicBezTo>
                  <a:pt x="826519" y="1294808"/>
                  <a:pt x="822922" y="1295235"/>
                  <a:pt x="818225" y="1295570"/>
                </a:cubicBezTo>
                <a:lnTo>
                  <a:pt x="796774" y="1297671"/>
                </a:lnTo>
                <a:lnTo>
                  <a:pt x="783646" y="1305736"/>
                </a:lnTo>
                <a:cubicBezTo>
                  <a:pt x="776915" y="1312506"/>
                  <a:pt x="772692" y="1318638"/>
                  <a:pt x="769263" y="1327143"/>
                </a:cubicBezTo>
                <a:cubicBezTo>
                  <a:pt x="767116" y="1332340"/>
                  <a:pt x="767116" y="1332340"/>
                  <a:pt x="764797" y="1334360"/>
                </a:cubicBezTo>
                <a:lnTo>
                  <a:pt x="757875" y="1353503"/>
                </a:lnTo>
                <a:lnTo>
                  <a:pt x="755676" y="1367455"/>
                </a:lnTo>
                <a:lnTo>
                  <a:pt x="750558" y="1399690"/>
                </a:lnTo>
                <a:lnTo>
                  <a:pt x="753057" y="1411256"/>
                </a:lnTo>
                <a:cubicBezTo>
                  <a:pt x="753057" y="1413117"/>
                  <a:pt x="753057" y="1414976"/>
                  <a:pt x="753057" y="1416893"/>
                </a:cubicBezTo>
                <a:cubicBezTo>
                  <a:pt x="754087" y="1416893"/>
                  <a:pt x="755119" y="1416893"/>
                  <a:pt x="756181" y="1416893"/>
                </a:cubicBezTo>
                <a:cubicBezTo>
                  <a:pt x="759348" y="1422607"/>
                  <a:pt x="758101" y="1429902"/>
                  <a:pt x="758133" y="1436182"/>
                </a:cubicBezTo>
                <a:cubicBezTo>
                  <a:pt x="758182" y="1438458"/>
                  <a:pt x="758182" y="1438458"/>
                  <a:pt x="758231" y="1440781"/>
                </a:cubicBezTo>
                <a:cubicBezTo>
                  <a:pt x="758283" y="1450271"/>
                  <a:pt x="758174" y="1458360"/>
                  <a:pt x="750713" y="1465704"/>
                </a:cubicBezTo>
                <a:cubicBezTo>
                  <a:pt x="749940" y="1466193"/>
                  <a:pt x="749167" y="1466681"/>
                  <a:pt x="748370" y="1467185"/>
                </a:cubicBezTo>
                <a:cubicBezTo>
                  <a:pt x="743665" y="1470047"/>
                  <a:pt x="743665" y="1470047"/>
                  <a:pt x="741633" y="1473526"/>
                </a:cubicBezTo>
                <a:cubicBezTo>
                  <a:pt x="737793" y="1477248"/>
                  <a:pt x="733582" y="1477483"/>
                  <a:pt x="728154" y="1478343"/>
                </a:cubicBezTo>
                <a:cubicBezTo>
                  <a:pt x="724855" y="1478778"/>
                  <a:pt x="724855" y="1478778"/>
                  <a:pt x="721814" y="1480308"/>
                </a:cubicBezTo>
                <a:cubicBezTo>
                  <a:pt x="717303" y="1480523"/>
                  <a:pt x="712854" y="1480634"/>
                  <a:pt x="708341" y="1480661"/>
                </a:cubicBezTo>
                <a:cubicBezTo>
                  <a:pt x="707118" y="1480690"/>
                  <a:pt x="705896" y="1480719"/>
                  <a:pt x="704637" y="1480748"/>
                </a:cubicBezTo>
                <a:cubicBezTo>
                  <a:pt x="690446" y="1480834"/>
                  <a:pt x="679632" y="1476246"/>
                  <a:pt x="668507" y="1468418"/>
                </a:cubicBezTo>
                <a:cubicBezTo>
                  <a:pt x="662823" y="1463224"/>
                  <a:pt x="661745" y="1456995"/>
                  <a:pt x="660178" y="1450027"/>
                </a:cubicBezTo>
                <a:cubicBezTo>
                  <a:pt x="659725" y="1446589"/>
                  <a:pt x="659725" y="1446589"/>
                  <a:pt x="657767" y="1445078"/>
                </a:cubicBezTo>
                <a:cubicBezTo>
                  <a:pt x="656859" y="1433686"/>
                  <a:pt x="655965" y="1419178"/>
                  <a:pt x="663369" y="1409390"/>
                </a:cubicBezTo>
                <a:cubicBezTo>
                  <a:pt x="666078" y="1406601"/>
                  <a:pt x="668921" y="1404013"/>
                  <a:pt x="671826" y="1401392"/>
                </a:cubicBezTo>
                <a:cubicBezTo>
                  <a:pt x="675197" y="1397623"/>
                  <a:pt x="677125" y="1394916"/>
                  <a:pt x="678075" y="1390118"/>
                </a:cubicBezTo>
                <a:cubicBezTo>
                  <a:pt x="680137" y="1389653"/>
                  <a:pt x="682199" y="1389188"/>
                  <a:pt x="684323" y="1388709"/>
                </a:cubicBezTo>
                <a:cubicBezTo>
                  <a:pt x="684643" y="1387232"/>
                  <a:pt x="684964" y="1385755"/>
                  <a:pt x="685293" y="1384233"/>
                </a:cubicBezTo>
                <a:cubicBezTo>
                  <a:pt x="685718" y="1382290"/>
                  <a:pt x="686144" y="1380347"/>
                  <a:pt x="686569" y="1378404"/>
                </a:cubicBezTo>
                <a:cubicBezTo>
                  <a:pt x="686885" y="1376945"/>
                  <a:pt x="686885" y="1376945"/>
                  <a:pt x="687207" y="1375456"/>
                </a:cubicBezTo>
                <a:cubicBezTo>
                  <a:pt x="688115" y="1371315"/>
                  <a:pt x="689090" y="1367353"/>
                  <a:pt x="690572" y="1363343"/>
                </a:cubicBezTo>
                <a:cubicBezTo>
                  <a:pt x="692411" y="1350128"/>
                  <a:pt x="692374" y="1336672"/>
                  <a:pt x="692495" y="1323376"/>
                </a:cubicBezTo>
                <a:cubicBezTo>
                  <a:pt x="692524" y="1320586"/>
                  <a:pt x="692574" y="1317796"/>
                  <a:pt x="692625" y="1315006"/>
                </a:cubicBezTo>
                <a:cubicBezTo>
                  <a:pt x="692853" y="1300589"/>
                  <a:pt x="692853" y="1300589"/>
                  <a:pt x="687447" y="1287245"/>
                </a:cubicBezTo>
                <a:cubicBezTo>
                  <a:pt x="685901" y="1286780"/>
                  <a:pt x="684354" y="1286315"/>
                  <a:pt x="682761" y="1285835"/>
                </a:cubicBezTo>
                <a:cubicBezTo>
                  <a:pt x="680876" y="1283743"/>
                  <a:pt x="680876" y="1283743"/>
                  <a:pt x="678954" y="1281608"/>
                </a:cubicBezTo>
                <a:cubicBezTo>
                  <a:pt x="674854" y="1277278"/>
                  <a:pt x="674356" y="1276958"/>
                  <a:pt x="668702" y="1275971"/>
                </a:cubicBezTo>
                <a:cubicBezTo>
                  <a:pt x="666619" y="1274092"/>
                  <a:pt x="664536" y="1272213"/>
                  <a:pt x="662454" y="1270334"/>
                </a:cubicBezTo>
                <a:cubicBezTo>
                  <a:pt x="658341" y="1268566"/>
                  <a:pt x="658341" y="1268566"/>
                  <a:pt x="654643" y="1267516"/>
                </a:cubicBezTo>
                <a:cubicBezTo>
                  <a:pt x="654643" y="1266585"/>
                  <a:pt x="654643" y="1265656"/>
                  <a:pt x="654643" y="1264697"/>
                </a:cubicBezTo>
                <a:cubicBezTo>
                  <a:pt x="653161" y="1264581"/>
                  <a:pt x="651679" y="1264465"/>
                  <a:pt x="650152" y="1264345"/>
                </a:cubicBezTo>
                <a:cubicBezTo>
                  <a:pt x="642318" y="1263373"/>
                  <a:pt x="635297" y="1260465"/>
                  <a:pt x="628087" y="1257651"/>
                </a:cubicBezTo>
                <a:cubicBezTo>
                  <a:pt x="628087" y="1256721"/>
                  <a:pt x="628087" y="1255791"/>
                  <a:pt x="628087" y="1254833"/>
                </a:cubicBezTo>
                <a:cubicBezTo>
                  <a:pt x="627108" y="1254662"/>
                  <a:pt x="626129" y="1254491"/>
                  <a:pt x="625121" y="1254315"/>
                </a:cubicBezTo>
                <a:cubicBezTo>
                  <a:pt x="623845" y="1254079"/>
                  <a:pt x="622568" y="1253843"/>
                  <a:pt x="621252" y="1253600"/>
                </a:cubicBezTo>
                <a:cubicBezTo>
                  <a:pt x="619984" y="1253371"/>
                  <a:pt x="618716" y="1253142"/>
                  <a:pt x="617409" y="1252906"/>
                </a:cubicBezTo>
                <a:cubicBezTo>
                  <a:pt x="614027" y="1252014"/>
                  <a:pt x="614027" y="1252014"/>
                  <a:pt x="610904" y="1249196"/>
                </a:cubicBezTo>
                <a:cubicBezTo>
                  <a:pt x="592259" y="1248653"/>
                  <a:pt x="578635" y="1260869"/>
                  <a:pt x="565739" y="1271742"/>
                </a:cubicBezTo>
                <a:cubicBezTo>
                  <a:pt x="558808" y="1277725"/>
                  <a:pt x="552763" y="1283983"/>
                  <a:pt x="546924" y="1290829"/>
                </a:cubicBezTo>
                <a:cubicBezTo>
                  <a:pt x="545838" y="1292087"/>
                  <a:pt x="544753" y="1293346"/>
                  <a:pt x="543635" y="1294643"/>
                </a:cubicBezTo>
                <a:cubicBezTo>
                  <a:pt x="542650" y="1295813"/>
                  <a:pt x="541666" y="1296983"/>
                  <a:pt x="540651" y="1298188"/>
                </a:cubicBezTo>
                <a:cubicBezTo>
                  <a:pt x="537294" y="1301526"/>
                  <a:pt x="533978" y="1303337"/>
                  <a:pt x="529673" y="1305565"/>
                </a:cubicBezTo>
                <a:cubicBezTo>
                  <a:pt x="527599" y="1308478"/>
                  <a:pt x="527599" y="1308478"/>
                  <a:pt x="526549" y="1311202"/>
                </a:cubicBezTo>
                <a:cubicBezTo>
                  <a:pt x="525518" y="1311202"/>
                  <a:pt x="524487" y="1311202"/>
                  <a:pt x="523425" y="1311202"/>
                </a:cubicBezTo>
                <a:cubicBezTo>
                  <a:pt x="523360" y="1311986"/>
                  <a:pt x="523296" y="1312771"/>
                  <a:pt x="523230" y="1313580"/>
                </a:cubicBezTo>
                <a:cubicBezTo>
                  <a:pt x="521863" y="1316839"/>
                  <a:pt x="521863" y="1316839"/>
                  <a:pt x="517732" y="1319739"/>
                </a:cubicBezTo>
                <a:cubicBezTo>
                  <a:pt x="511111" y="1324565"/>
                  <a:pt x="506875" y="1330731"/>
                  <a:pt x="502239" y="1337096"/>
                </a:cubicBezTo>
                <a:cubicBezTo>
                  <a:pt x="500512" y="1339427"/>
                  <a:pt x="498785" y="1341757"/>
                  <a:pt x="497058" y="1344087"/>
                </a:cubicBezTo>
                <a:cubicBezTo>
                  <a:pt x="495827" y="1345760"/>
                  <a:pt x="495827" y="1345760"/>
                  <a:pt x="494572" y="1347465"/>
                </a:cubicBezTo>
                <a:cubicBezTo>
                  <a:pt x="492366" y="1350414"/>
                  <a:pt x="490094" y="1353304"/>
                  <a:pt x="487776" y="1356181"/>
                </a:cubicBezTo>
                <a:cubicBezTo>
                  <a:pt x="484805" y="1359972"/>
                  <a:pt x="482865" y="1363193"/>
                  <a:pt x="481248" y="1367571"/>
                </a:cubicBezTo>
                <a:cubicBezTo>
                  <a:pt x="480216" y="1367571"/>
                  <a:pt x="479186" y="1367571"/>
                  <a:pt x="478123" y="1367571"/>
                </a:cubicBezTo>
                <a:cubicBezTo>
                  <a:pt x="477963" y="1368558"/>
                  <a:pt x="477801" y="1369547"/>
                  <a:pt x="477635" y="1370565"/>
                </a:cubicBezTo>
                <a:cubicBezTo>
                  <a:pt x="475602" y="1378236"/>
                  <a:pt x="471952" y="1383371"/>
                  <a:pt x="465626" y="1388709"/>
                </a:cubicBezTo>
                <a:cubicBezTo>
                  <a:pt x="462272" y="1392748"/>
                  <a:pt x="462272" y="1392748"/>
                  <a:pt x="461233" y="1397340"/>
                </a:cubicBezTo>
                <a:cubicBezTo>
                  <a:pt x="460030" y="1401461"/>
                  <a:pt x="458298" y="1404501"/>
                  <a:pt x="455765" y="1408086"/>
                </a:cubicBezTo>
                <a:cubicBezTo>
                  <a:pt x="442829" y="1428603"/>
                  <a:pt x="441572" y="1454548"/>
                  <a:pt x="439070" y="1477490"/>
                </a:cubicBezTo>
                <a:cubicBezTo>
                  <a:pt x="437524" y="1477955"/>
                  <a:pt x="435977" y="1478420"/>
                  <a:pt x="434384" y="1478899"/>
                </a:cubicBezTo>
                <a:cubicBezTo>
                  <a:pt x="433739" y="1479916"/>
                  <a:pt x="433095" y="1480933"/>
                  <a:pt x="432431" y="1481982"/>
                </a:cubicBezTo>
                <a:cubicBezTo>
                  <a:pt x="428860" y="1487159"/>
                  <a:pt x="424291" y="1490903"/>
                  <a:pt x="418763" y="1494401"/>
                </a:cubicBezTo>
                <a:cubicBezTo>
                  <a:pt x="417731" y="1494401"/>
                  <a:pt x="416701" y="1494401"/>
                  <a:pt x="415639" y="1494401"/>
                </a:cubicBezTo>
                <a:cubicBezTo>
                  <a:pt x="415639" y="1495330"/>
                  <a:pt x="415639" y="1496260"/>
                  <a:pt x="415639" y="1497219"/>
                </a:cubicBezTo>
                <a:cubicBezTo>
                  <a:pt x="412546" y="1497684"/>
                  <a:pt x="409453" y="1498149"/>
                  <a:pt x="406265" y="1498628"/>
                </a:cubicBezTo>
                <a:cubicBezTo>
                  <a:pt x="406265" y="1499559"/>
                  <a:pt x="406265" y="1500488"/>
                  <a:pt x="406265" y="1501447"/>
                </a:cubicBezTo>
                <a:cubicBezTo>
                  <a:pt x="395955" y="1501447"/>
                  <a:pt x="385645" y="1501447"/>
                  <a:pt x="375023" y="1501447"/>
                </a:cubicBezTo>
                <a:lnTo>
                  <a:pt x="375023" y="1499438"/>
                </a:lnTo>
                <a:lnTo>
                  <a:pt x="374964" y="1499436"/>
                </a:lnTo>
                <a:lnTo>
                  <a:pt x="373179" y="1498628"/>
                </a:lnTo>
                <a:lnTo>
                  <a:pt x="365650" y="1498628"/>
                </a:lnTo>
                <a:lnTo>
                  <a:pt x="363134" y="1494087"/>
                </a:lnTo>
                <a:lnTo>
                  <a:pt x="362171" y="1493651"/>
                </a:lnTo>
                <a:cubicBezTo>
                  <a:pt x="361656" y="1492722"/>
                  <a:pt x="361140" y="1491791"/>
                  <a:pt x="360609" y="1490833"/>
                </a:cubicBezTo>
                <a:cubicBezTo>
                  <a:pt x="361640" y="1490833"/>
                  <a:pt x="362671" y="1490833"/>
                  <a:pt x="363733" y="1490833"/>
                </a:cubicBezTo>
                <a:lnTo>
                  <a:pt x="363733" y="1489980"/>
                </a:lnTo>
                <a:lnTo>
                  <a:pt x="348467" y="1481717"/>
                </a:lnTo>
                <a:lnTo>
                  <a:pt x="343872" y="1461078"/>
                </a:lnTo>
                <a:lnTo>
                  <a:pt x="343656" y="1463649"/>
                </a:lnTo>
                <a:cubicBezTo>
                  <a:pt x="343541" y="1465230"/>
                  <a:pt x="343541" y="1465230"/>
                  <a:pt x="343424" y="1466842"/>
                </a:cubicBezTo>
                <a:cubicBezTo>
                  <a:pt x="342908" y="1466842"/>
                  <a:pt x="342393" y="1466842"/>
                  <a:pt x="341861" y="1466842"/>
                </a:cubicBezTo>
                <a:cubicBezTo>
                  <a:pt x="340987" y="1449564"/>
                  <a:pt x="340999" y="1434331"/>
                  <a:pt x="354143" y="1420549"/>
                </a:cubicBezTo>
                <a:cubicBezTo>
                  <a:pt x="360765" y="1414011"/>
                  <a:pt x="367631" y="1407790"/>
                  <a:pt x="376229" y="1403427"/>
                </a:cubicBezTo>
                <a:lnTo>
                  <a:pt x="379491" y="1404408"/>
                </a:lnTo>
                <a:lnTo>
                  <a:pt x="379710" y="1404210"/>
                </a:lnTo>
                <a:cubicBezTo>
                  <a:pt x="380290" y="1402902"/>
                  <a:pt x="380290" y="1402902"/>
                  <a:pt x="380882" y="1401568"/>
                </a:cubicBezTo>
                <a:cubicBezTo>
                  <a:pt x="383675" y="1397284"/>
                  <a:pt x="387587" y="1395610"/>
                  <a:pt x="392207" y="1392936"/>
                </a:cubicBezTo>
                <a:lnTo>
                  <a:pt x="399542" y="1386774"/>
                </a:lnTo>
                <a:lnTo>
                  <a:pt x="405485" y="1378917"/>
                </a:lnTo>
                <a:cubicBezTo>
                  <a:pt x="408065" y="1375974"/>
                  <a:pt x="410029" y="1372774"/>
                  <a:pt x="412008" y="1369481"/>
                </a:cubicBezTo>
                <a:cubicBezTo>
                  <a:pt x="414759" y="1365166"/>
                  <a:pt x="417963" y="1361131"/>
                  <a:pt x="421130" y="1357057"/>
                </a:cubicBezTo>
                <a:cubicBezTo>
                  <a:pt x="423073" y="1354140"/>
                  <a:pt x="423985" y="1351767"/>
                  <a:pt x="424676" y="1348443"/>
                </a:cubicBezTo>
                <a:lnTo>
                  <a:pt x="427275" y="1348443"/>
                </a:lnTo>
                <a:lnTo>
                  <a:pt x="428135" y="1345727"/>
                </a:lnTo>
                <a:cubicBezTo>
                  <a:pt x="429370" y="1341828"/>
                  <a:pt x="430645" y="1338666"/>
                  <a:pt x="432822" y="1335158"/>
                </a:cubicBezTo>
                <a:cubicBezTo>
                  <a:pt x="433853" y="1335158"/>
                  <a:pt x="434884" y="1335158"/>
                  <a:pt x="435946" y="1335158"/>
                </a:cubicBezTo>
                <a:cubicBezTo>
                  <a:pt x="436526" y="1333385"/>
                  <a:pt x="437106" y="1331613"/>
                  <a:pt x="437704" y="1329786"/>
                </a:cubicBezTo>
                <a:cubicBezTo>
                  <a:pt x="440162" y="1323132"/>
                  <a:pt x="443602" y="1317301"/>
                  <a:pt x="447394" y="1311196"/>
                </a:cubicBezTo>
                <a:cubicBezTo>
                  <a:pt x="456493" y="1296485"/>
                  <a:pt x="463325" y="1281864"/>
                  <a:pt x="469287" y="1265964"/>
                </a:cubicBezTo>
                <a:cubicBezTo>
                  <a:pt x="474589" y="1252134"/>
                  <a:pt x="474589" y="1252134"/>
                  <a:pt x="478178" y="1246787"/>
                </a:cubicBezTo>
                <a:cubicBezTo>
                  <a:pt x="481232" y="1240246"/>
                  <a:pt x="480204" y="1232766"/>
                  <a:pt x="480179" y="1225768"/>
                </a:cubicBezTo>
                <a:cubicBezTo>
                  <a:pt x="480174" y="1222894"/>
                  <a:pt x="480210" y="1220023"/>
                  <a:pt x="480250" y="1217149"/>
                </a:cubicBezTo>
                <a:cubicBezTo>
                  <a:pt x="480260" y="1199291"/>
                  <a:pt x="476718" y="1187768"/>
                  <a:pt x="462972" y="1174827"/>
                </a:cubicBezTo>
                <a:cubicBezTo>
                  <a:pt x="461148" y="1173192"/>
                  <a:pt x="459312" y="1171566"/>
                  <a:pt x="457468" y="1169949"/>
                </a:cubicBezTo>
                <a:cubicBezTo>
                  <a:pt x="451412" y="1164522"/>
                  <a:pt x="445876" y="1158660"/>
                  <a:pt x="440657" y="1152570"/>
                </a:cubicBezTo>
                <a:cubicBezTo>
                  <a:pt x="430474" y="1140786"/>
                  <a:pt x="418230" y="1128998"/>
                  <a:pt x="403142" y="1122366"/>
                </a:cubicBezTo>
                <a:cubicBezTo>
                  <a:pt x="402626" y="1121436"/>
                  <a:pt x="402110" y="1120506"/>
                  <a:pt x="401579" y="1119547"/>
                </a:cubicBezTo>
                <a:cubicBezTo>
                  <a:pt x="390472" y="1115326"/>
                  <a:pt x="375918" y="1114217"/>
                  <a:pt x="364564" y="1118209"/>
                </a:cubicBezTo>
                <a:cubicBezTo>
                  <a:pt x="362278" y="1119428"/>
                  <a:pt x="360026" y="1120704"/>
                  <a:pt x="357822" y="1122041"/>
                </a:cubicBezTo>
                <a:cubicBezTo>
                  <a:pt x="354521" y="1123884"/>
                  <a:pt x="351862" y="1124582"/>
                  <a:pt x="348077" y="1125273"/>
                </a:cubicBezTo>
                <a:cubicBezTo>
                  <a:pt x="341765" y="1126696"/>
                  <a:pt x="339382" y="1128619"/>
                  <a:pt x="334408" y="1132230"/>
                </a:cubicBezTo>
                <a:cubicBezTo>
                  <a:pt x="332284" y="1132909"/>
                  <a:pt x="330131" y="1133519"/>
                  <a:pt x="327964" y="1134080"/>
                </a:cubicBezTo>
                <a:cubicBezTo>
                  <a:pt x="309975" y="1139067"/>
                  <a:pt x="290592" y="1152117"/>
                  <a:pt x="279734" y="1166051"/>
                </a:cubicBezTo>
                <a:cubicBezTo>
                  <a:pt x="277929" y="1169534"/>
                  <a:pt x="277929" y="1169534"/>
                  <a:pt x="276609" y="1173098"/>
                </a:cubicBezTo>
                <a:cubicBezTo>
                  <a:pt x="272413" y="1180804"/>
                  <a:pt x="269322" y="1184144"/>
                  <a:pt x="260988" y="1188599"/>
                </a:cubicBezTo>
                <a:cubicBezTo>
                  <a:pt x="259988" y="1189435"/>
                  <a:pt x="258987" y="1190271"/>
                  <a:pt x="257956" y="1191132"/>
                </a:cubicBezTo>
                <a:lnTo>
                  <a:pt x="243805" y="1196629"/>
                </a:lnTo>
                <a:lnTo>
                  <a:pt x="243805" y="1194236"/>
                </a:lnTo>
                <a:lnTo>
                  <a:pt x="240288" y="1194765"/>
                </a:lnTo>
                <a:lnTo>
                  <a:pt x="243374" y="1194765"/>
                </a:lnTo>
                <a:lnTo>
                  <a:pt x="243374" y="1196797"/>
                </a:lnTo>
                <a:lnTo>
                  <a:pt x="243805" y="1196629"/>
                </a:lnTo>
                <a:lnTo>
                  <a:pt x="243805" y="1197055"/>
                </a:lnTo>
                <a:lnTo>
                  <a:pt x="243374" y="1197055"/>
                </a:lnTo>
                <a:lnTo>
                  <a:pt x="243374" y="1197584"/>
                </a:lnTo>
                <a:lnTo>
                  <a:pt x="241319" y="1197595"/>
                </a:lnTo>
                <a:lnTo>
                  <a:pt x="238009" y="1198881"/>
                </a:lnTo>
                <a:cubicBezTo>
                  <a:pt x="231012" y="1199584"/>
                  <a:pt x="223620" y="1198927"/>
                  <a:pt x="215687" y="1198464"/>
                </a:cubicBezTo>
                <a:lnTo>
                  <a:pt x="215687" y="1197734"/>
                </a:lnTo>
                <a:lnTo>
                  <a:pt x="213936" y="1197744"/>
                </a:lnTo>
                <a:cubicBezTo>
                  <a:pt x="210570" y="1197584"/>
                  <a:pt x="210570" y="1197584"/>
                  <a:pt x="207446" y="1196175"/>
                </a:cubicBezTo>
                <a:lnTo>
                  <a:pt x="207822" y="1195610"/>
                </a:lnTo>
                <a:lnTo>
                  <a:pt x="184737" y="1180936"/>
                </a:lnTo>
                <a:cubicBezTo>
                  <a:pt x="180258" y="1172216"/>
                  <a:pt x="179226" y="1164355"/>
                  <a:pt x="179270" y="1154866"/>
                </a:cubicBezTo>
                <a:cubicBezTo>
                  <a:pt x="179233" y="1153260"/>
                  <a:pt x="179233" y="1153260"/>
                  <a:pt x="179194" y="1151621"/>
                </a:cubicBezTo>
                <a:cubicBezTo>
                  <a:pt x="179182" y="1139523"/>
                  <a:pt x="183658" y="1128837"/>
                  <a:pt x="193195" y="1120065"/>
                </a:cubicBezTo>
                <a:cubicBezTo>
                  <a:pt x="204265" y="1110959"/>
                  <a:pt x="215062" y="1110626"/>
                  <a:pt x="229551" y="1110299"/>
                </a:cubicBezTo>
                <a:cubicBezTo>
                  <a:pt x="240132" y="1110024"/>
                  <a:pt x="250506" y="1109652"/>
                  <a:pt x="260988" y="1108274"/>
                </a:cubicBezTo>
                <a:cubicBezTo>
                  <a:pt x="260988" y="1107344"/>
                  <a:pt x="260988" y="1106413"/>
                  <a:pt x="260988" y="1105455"/>
                </a:cubicBezTo>
                <a:cubicBezTo>
                  <a:pt x="261953" y="1105078"/>
                  <a:pt x="262918" y="1104699"/>
                  <a:pt x="263911" y="1104310"/>
                </a:cubicBezTo>
                <a:cubicBezTo>
                  <a:pt x="272903" y="1100557"/>
                  <a:pt x="279802" y="1096307"/>
                  <a:pt x="286995" y="1090185"/>
                </a:cubicBezTo>
                <a:cubicBezTo>
                  <a:pt x="290956" y="1086897"/>
                  <a:pt x="295114" y="1083955"/>
                  <a:pt x="299358" y="1080970"/>
                </a:cubicBezTo>
                <a:cubicBezTo>
                  <a:pt x="306613" y="1075692"/>
                  <a:pt x="312234" y="1070023"/>
                  <a:pt x="317762" y="1063272"/>
                </a:cubicBezTo>
                <a:cubicBezTo>
                  <a:pt x="320349" y="1060360"/>
                  <a:pt x="320349" y="1060360"/>
                  <a:pt x="325035" y="1057542"/>
                </a:cubicBezTo>
                <a:cubicBezTo>
                  <a:pt x="329912" y="1045734"/>
                  <a:pt x="327928" y="1035103"/>
                  <a:pt x="325328" y="1023104"/>
                </a:cubicBezTo>
                <a:cubicBezTo>
                  <a:pt x="325069" y="1021831"/>
                  <a:pt x="324811" y="1020559"/>
                  <a:pt x="324544" y="1019247"/>
                </a:cubicBezTo>
                <a:cubicBezTo>
                  <a:pt x="322876" y="1011407"/>
                  <a:pt x="320562" y="1004340"/>
                  <a:pt x="317225" y="996945"/>
                </a:cubicBezTo>
                <a:cubicBezTo>
                  <a:pt x="316619" y="995541"/>
                  <a:pt x="316013" y="994137"/>
                  <a:pt x="315388" y="992690"/>
                </a:cubicBezTo>
                <a:cubicBezTo>
                  <a:pt x="306307" y="972561"/>
                  <a:pt x="298931" y="959343"/>
                  <a:pt x="276232" y="950666"/>
                </a:cubicBezTo>
                <a:cubicBezTo>
                  <a:pt x="274810" y="950127"/>
                  <a:pt x="273388" y="949587"/>
                  <a:pt x="271923" y="949031"/>
                </a:cubicBezTo>
                <a:cubicBezTo>
                  <a:pt x="270129" y="948244"/>
                  <a:pt x="270129" y="948244"/>
                  <a:pt x="268299" y="947441"/>
                </a:cubicBezTo>
                <a:cubicBezTo>
                  <a:pt x="247071" y="938140"/>
                  <a:pt x="222259" y="939051"/>
                  <a:pt x="199187" y="938991"/>
                </a:cubicBezTo>
                <a:cubicBezTo>
                  <a:pt x="197383" y="938984"/>
                  <a:pt x="195579" y="938978"/>
                  <a:pt x="193719" y="938971"/>
                </a:cubicBezTo>
                <a:cubicBezTo>
                  <a:pt x="192010" y="938974"/>
                  <a:pt x="190300" y="938977"/>
                  <a:pt x="188539" y="938980"/>
                </a:cubicBezTo>
                <a:cubicBezTo>
                  <a:pt x="187000" y="938981"/>
                  <a:pt x="185460" y="938983"/>
                  <a:pt x="183874" y="938985"/>
                </a:cubicBezTo>
                <a:cubicBezTo>
                  <a:pt x="180148" y="939150"/>
                  <a:pt x="177092" y="939720"/>
                  <a:pt x="173509" y="940576"/>
                </a:cubicBezTo>
                <a:cubicBezTo>
                  <a:pt x="169458" y="940674"/>
                  <a:pt x="165452" y="940710"/>
                  <a:pt x="161403" y="940664"/>
                </a:cubicBezTo>
                <a:cubicBezTo>
                  <a:pt x="160314" y="940658"/>
                  <a:pt x="159224" y="940651"/>
                  <a:pt x="158102" y="940645"/>
                </a:cubicBezTo>
                <a:lnTo>
                  <a:pt x="150875" y="940583"/>
                </a:lnTo>
                <a:lnTo>
                  <a:pt x="148425" y="940717"/>
                </a:lnTo>
                <a:lnTo>
                  <a:pt x="149617" y="940995"/>
                </a:lnTo>
                <a:cubicBezTo>
                  <a:pt x="149617" y="941459"/>
                  <a:pt x="149617" y="941924"/>
                  <a:pt x="149617" y="942404"/>
                </a:cubicBezTo>
                <a:cubicBezTo>
                  <a:pt x="148630" y="942558"/>
                  <a:pt x="147643" y="942712"/>
                  <a:pt x="146627" y="942871"/>
                </a:cubicBezTo>
                <a:cubicBezTo>
                  <a:pt x="134541" y="944804"/>
                  <a:pt x="122553" y="947081"/>
                  <a:pt x="110564" y="949449"/>
                </a:cubicBezTo>
                <a:lnTo>
                  <a:pt x="111283" y="946205"/>
                </a:lnTo>
                <a:lnTo>
                  <a:pt x="101652" y="956078"/>
                </a:lnTo>
                <a:cubicBezTo>
                  <a:pt x="99870" y="957260"/>
                  <a:pt x="99870" y="957260"/>
                  <a:pt x="98052" y="958467"/>
                </a:cubicBezTo>
                <a:cubicBezTo>
                  <a:pt x="75683" y="972989"/>
                  <a:pt x="75683" y="972989"/>
                  <a:pt x="67286" y="972989"/>
                </a:cubicBezTo>
                <a:cubicBezTo>
                  <a:pt x="67286" y="973918"/>
                  <a:pt x="67286" y="974848"/>
                  <a:pt x="67286" y="975807"/>
                </a:cubicBezTo>
                <a:cubicBezTo>
                  <a:pt x="55713" y="979519"/>
                  <a:pt x="43549" y="980689"/>
                  <a:pt x="31942" y="976423"/>
                </a:cubicBezTo>
                <a:cubicBezTo>
                  <a:pt x="19953" y="970870"/>
                  <a:pt x="10774" y="964932"/>
                  <a:pt x="5673" y="953419"/>
                </a:cubicBezTo>
                <a:cubicBezTo>
                  <a:pt x="4801" y="950441"/>
                  <a:pt x="4801" y="950441"/>
                  <a:pt x="4801" y="944804"/>
                </a:cubicBezTo>
                <a:cubicBezTo>
                  <a:pt x="3770" y="944804"/>
                  <a:pt x="2739" y="944804"/>
                  <a:pt x="1676" y="944804"/>
                </a:cubicBezTo>
                <a:cubicBezTo>
                  <a:pt x="-34" y="940174"/>
                  <a:pt x="-41" y="936720"/>
                  <a:pt x="17" y="931857"/>
                </a:cubicBezTo>
                <a:cubicBezTo>
                  <a:pt x="31" y="930325"/>
                  <a:pt x="45" y="928794"/>
                  <a:pt x="59" y="927216"/>
                </a:cubicBezTo>
                <a:cubicBezTo>
                  <a:pt x="78" y="926044"/>
                  <a:pt x="96" y="924873"/>
                  <a:pt x="115" y="923666"/>
                </a:cubicBezTo>
                <a:cubicBezTo>
                  <a:pt x="1145" y="923666"/>
                  <a:pt x="2176" y="923666"/>
                  <a:pt x="3238" y="923666"/>
                </a:cubicBezTo>
                <a:cubicBezTo>
                  <a:pt x="3238" y="921805"/>
                  <a:pt x="3238" y="919945"/>
                  <a:pt x="3238" y="918029"/>
                </a:cubicBezTo>
                <a:cubicBezTo>
                  <a:pt x="4270" y="918029"/>
                  <a:pt x="5300" y="918029"/>
                  <a:pt x="6363" y="918029"/>
                </a:cubicBezTo>
                <a:cubicBezTo>
                  <a:pt x="6459" y="916314"/>
                  <a:pt x="6556" y="914599"/>
                  <a:pt x="6656" y="912832"/>
                </a:cubicBezTo>
                <a:cubicBezTo>
                  <a:pt x="7542" y="906455"/>
                  <a:pt x="10104" y="903750"/>
                  <a:pt x="15736" y="899709"/>
                </a:cubicBezTo>
                <a:lnTo>
                  <a:pt x="17243" y="898894"/>
                </a:lnTo>
                <a:lnTo>
                  <a:pt x="16800" y="898694"/>
                </a:lnTo>
                <a:lnTo>
                  <a:pt x="24988" y="894101"/>
                </a:lnTo>
                <a:lnTo>
                  <a:pt x="26768" y="892399"/>
                </a:lnTo>
                <a:cubicBezTo>
                  <a:pt x="28282" y="891122"/>
                  <a:pt x="29038" y="890483"/>
                  <a:pt x="30198" y="890164"/>
                </a:cubicBezTo>
                <a:lnTo>
                  <a:pt x="32204" y="890054"/>
                </a:lnTo>
                <a:lnTo>
                  <a:pt x="38914" y="886291"/>
                </a:lnTo>
                <a:cubicBezTo>
                  <a:pt x="47169" y="885770"/>
                  <a:pt x="55396" y="885800"/>
                  <a:pt x="63664" y="886011"/>
                </a:cubicBezTo>
                <a:lnTo>
                  <a:pt x="63664" y="886531"/>
                </a:lnTo>
                <a:lnTo>
                  <a:pt x="70784" y="886647"/>
                </a:lnTo>
                <a:cubicBezTo>
                  <a:pt x="74787" y="887000"/>
                  <a:pt x="77233" y="887948"/>
                  <a:pt x="82126" y="889845"/>
                </a:cubicBezTo>
                <a:cubicBezTo>
                  <a:pt x="92427" y="893791"/>
                  <a:pt x="103139" y="893710"/>
                  <a:pt x="114149" y="892663"/>
                </a:cubicBezTo>
                <a:cubicBezTo>
                  <a:pt x="115696" y="891733"/>
                  <a:pt x="117242" y="890803"/>
                  <a:pt x="118836" y="889845"/>
                </a:cubicBezTo>
                <a:cubicBezTo>
                  <a:pt x="123097" y="888850"/>
                  <a:pt x="127325" y="887944"/>
                  <a:pt x="131626" y="887114"/>
                </a:cubicBezTo>
                <a:cubicBezTo>
                  <a:pt x="139750" y="885542"/>
                  <a:pt x="147376" y="883653"/>
                  <a:pt x="155116" y="880913"/>
                </a:cubicBezTo>
                <a:cubicBezTo>
                  <a:pt x="158498" y="879775"/>
                  <a:pt x="161861" y="879076"/>
                  <a:pt x="165406" y="878483"/>
                </a:cubicBezTo>
                <a:cubicBezTo>
                  <a:pt x="170342" y="877655"/>
                  <a:pt x="172265" y="876971"/>
                  <a:pt x="176634" y="874343"/>
                </a:cubicBezTo>
                <a:cubicBezTo>
                  <a:pt x="179863" y="873335"/>
                  <a:pt x="183123" y="872404"/>
                  <a:pt x="186397" y="871524"/>
                </a:cubicBezTo>
                <a:cubicBezTo>
                  <a:pt x="189107" y="870786"/>
                  <a:pt x="189107" y="870786"/>
                  <a:pt x="191871" y="870033"/>
                </a:cubicBezTo>
                <a:cubicBezTo>
                  <a:pt x="195731" y="869023"/>
                  <a:pt x="199587" y="868093"/>
                  <a:pt x="203483" y="867208"/>
                </a:cubicBezTo>
                <a:cubicBezTo>
                  <a:pt x="208339" y="866199"/>
                  <a:pt x="208339" y="866199"/>
                  <a:pt x="211001" y="861660"/>
                </a:cubicBezTo>
                <a:cubicBezTo>
                  <a:pt x="214174" y="860102"/>
                  <a:pt x="214174" y="860102"/>
                  <a:pt x="218031" y="858577"/>
                </a:cubicBezTo>
                <a:cubicBezTo>
                  <a:pt x="236068" y="850629"/>
                  <a:pt x="245199" y="840442"/>
                  <a:pt x="254740" y="825020"/>
                </a:cubicBezTo>
                <a:cubicBezTo>
                  <a:pt x="255771" y="823625"/>
                  <a:pt x="256802" y="822230"/>
                  <a:pt x="257864" y="820792"/>
                </a:cubicBezTo>
                <a:cubicBezTo>
                  <a:pt x="258359" y="817506"/>
                  <a:pt x="258359" y="817506"/>
                  <a:pt x="258318" y="813810"/>
                </a:cubicBezTo>
                <a:cubicBezTo>
                  <a:pt x="258338" y="812388"/>
                  <a:pt x="258358" y="810967"/>
                  <a:pt x="258378" y="809502"/>
                </a:cubicBezTo>
                <a:cubicBezTo>
                  <a:pt x="258382" y="807965"/>
                  <a:pt x="258385" y="806429"/>
                  <a:pt x="258389" y="804845"/>
                </a:cubicBezTo>
                <a:cubicBezTo>
                  <a:pt x="258399" y="803258"/>
                  <a:pt x="258410" y="801671"/>
                  <a:pt x="258420" y="800036"/>
                </a:cubicBezTo>
                <a:cubicBezTo>
                  <a:pt x="258436" y="796670"/>
                  <a:pt x="258443" y="793305"/>
                  <a:pt x="258443" y="789939"/>
                </a:cubicBezTo>
                <a:cubicBezTo>
                  <a:pt x="258450" y="784823"/>
                  <a:pt x="258506" y="779709"/>
                  <a:pt x="258566" y="774594"/>
                </a:cubicBezTo>
                <a:cubicBezTo>
                  <a:pt x="258575" y="771319"/>
                  <a:pt x="258581" y="768045"/>
                  <a:pt x="258584" y="764771"/>
                </a:cubicBezTo>
                <a:cubicBezTo>
                  <a:pt x="258618" y="762495"/>
                  <a:pt x="258618" y="762495"/>
                  <a:pt x="258652" y="760174"/>
                </a:cubicBezTo>
                <a:cubicBezTo>
                  <a:pt x="258586" y="750030"/>
                  <a:pt x="256266" y="742584"/>
                  <a:pt x="251616" y="733421"/>
                </a:cubicBezTo>
                <a:cubicBezTo>
                  <a:pt x="250163" y="729605"/>
                  <a:pt x="248880" y="725752"/>
                  <a:pt x="247613" y="721883"/>
                </a:cubicBezTo>
                <a:cubicBezTo>
                  <a:pt x="245789" y="716328"/>
                  <a:pt x="243913" y="710939"/>
                  <a:pt x="241291" y="705644"/>
                </a:cubicBezTo>
                <a:cubicBezTo>
                  <a:pt x="238691" y="700096"/>
                  <a:pt x="238136" y="695685"/>
                  <a:pt x="237557" y="689735"/>
                </a:cubicBezTo>
                <a:cubicBezTo>
                  <a:pt x="244977" y="685507"/>
                  <a:pt x="244977" y="685507"/>
                  <a:pt x="248492" y="685507"/>
                </a:cubicBezTo>
                <a:cubicBezTo>
                  <a:pt x="248492" y="684112"/>
                  <a:pt x="248492" y="682717"/>
                  <a:pt x="248492" y="681279"/>
                </a:cubicBezTo>
                <a:cubicBezTo>
                  <a:pt x="245914" y="680815"/>
                  <a:pt x="243337" y="680350"/>
                  <a:pt x="240681" y="679870"/>
                </a:cubicBezTo>
                <a:cubicBezTo>
                  <a:pt x="240681" y="678940"/>
                  <a:pt x="240681" y="678010"/>
                  <a:pt x="240681" y="677052"/>
                </a:cubicBezTo>
                <a:cubicBezTo>
                  <a:pt x="239827" y="676917"/>
                  <a:pt x="238973" y="676783"/>
                  <a:pt x="238094" y="676645"/>
                </a:cubicBezTo>
                <a:cubicBezTo>
                  <a:pt x="233442" y="675371"/>
                  <a:pt x="229939" y="673242"/>
                  <a:pt x="225841" y="670886"/>
                </a:cubicBezTo>
                <a:cubicBezTo>
                  <a:pt x="217808" y="666564"/>
                  <a:pt x="210635" y="664241"/>
                  <a:pt x="201531" y="662508"/>
                </a:cubicBezTo>
                <a:cubicBezTo>
                  <a:pt x="196896" y="661541"/>
                  <a:pt x="192682" y="660199"/>
                  <a:pt x="188252" y="658644"/>
                </a:cubicBezTo>
                <a:lnTo>
                  <a:pt x="182431" y="657327"/>
                </a:lnTo>
                <a:lnTo>
                  <a:pt x="182431" y="657613"/>
                </a:lnTo>
                <a:cubicBezTo>
                  <a:pt x="170575" y="657148"/>
                  <a:pt x="158718" y="656683"/>
                  <a:pt x="146503" y="656204"/>
                </a:cubicBezTo>
                <a:cubicBezTo>
                  <a:pt x="146503" y="657133"/>
                  <a:pt x="146503" y="658064"/>
                  <a:pt x="146503" y="659022"/>
                </a:cubicBezTo>
                <a:cubicBezTo>
                  <a:pt x="134359" y="662326"/>
                  <a:pt x="123013" y="663700"/>
                  <a:pt x="110378" y="663778"/>
                </a:cubicBezTo>
                <a:cubicBezTo>
                  <a:pt x="108435" y="663806"/>
                  <a:pt x="108435" y="663806"/>
                  <a:pt x="106453" y="663836"/>
                </a:cubicBezTo>
                <a:cubicBezTo>
                  <a:pt x="105231" y="663828"/>
                  <a:pt x="104009" y="663820"/>
                  <a:pt x="102751" y="663811"/>
                </a:cubicBezTo>
                <a:cubicBezTo>
                  <a:pt x="101117" y="663804"/>
                  <a:pt x="101117" y="663804"/>
                  <a:pt x="99449" y="663797"/>
                </a:cubicBezTo>
                <a:cubicBezTo>
                  <a:pt x="95696" y="663097"/>
                  <a:pt x="94265" y="661615"/>
                  <a:pt x="91828" y="659022"/>
                </a:cubicBezTo>
                <a:cubicBezTo>
                  <a:pt x="93890" y="659022"/>
                  <a:pt x="95953" y="659022"/>
                  <a:pt x="98077" y="659022"/>
                </a:cubicBezTo>
                <a:cubicBezTo>
                  <a:pt x="98077" y="659952"/>
                  <a:pt x="98077" y="660882"/>
                  <a:pt x="98077" y="661841"/>
                </a:cubicBezTo>
                <a:cubicBezTo>
                  <a:pt x="108735" y="662045"/>
                  <a:pt x="114063" y="662148"/>
                  <a:pt x="119023" y="661357"/>
                </a:cubicBezTo>
                <a:lnTo>
                  <a:pt x="119536" y="661197"/>
                </a:lnTo>
                <a:lnTo>
                  <a:pt x="109853" y="661639"/>
                </a:lnTo>
                <a:cubicBezTo>
                  <a:pt x="108764" y="661632"/>
                  <a:pt x="107675" y="661626"/>
                  <a:pt x="106552" y="661619"/>
                </a:cubicBezTo>
                <a:cubicBezTo>
                  <a:pt x="103877" y="661603"/>
                  <a:pt x="101203" y="661577"/>
                  <a:pt x="98528" y="661550"/>
                </a:cubicBezTo>
                <a:cubicBezTo>
                  <a:pt x="98528" y="660620"/>
                  <a:pt x="98528" y="659691"/>
                  <a:pt x="98528" y="658732"/>
                </a:cubicBezTo>
                <a:cubicBezTo>
                  <a:pt x="95435" y="658267"/>
                  <a:pt x="92342" y="657802"/>
                  <a:pt x="89155" y="657323"/>
                </a:cubicBezTo>
                <a:cubicBezTo>
                  <a:pt x="89155" y="656393"/>
                  <a:pt x="89155" y="655462"/>
                  <a:pt x="89155" y="654504"/>
                </a:cubicBezTo>
                <a:cubicBezTo>
                  <a:pt x="87790" y="653978"/>
                  <a:pt x="87790" y="653978"/>
                  <a:pt x="86397" y="653442"/>
                </a:cubicBezTo>
                <a:cubicBezTo>
                  <a:pt x="82415" y="651438"/>
                  <a:pt x="80039" y="649232"/>
                  <a:pt x="77049" y="646137"/>
                </a:cubicBezTo>
                <a:cubicBezTo>
                  <a:pt x="75611" y="644679"/>
                  <a:pt x="75611" y="644679"/>
                  <a:pt x="74145" y="643192"/>
                </a:cubicBezTo>
                <a:cubicBezTo>
                  <a:pt x="71972" y="640412"/>
                  <a:pt x="71972" y="640412"/>
                  <a:pt x="71972" y="636185"/>
                </a:cubicBezTo>
                <a:cubicBezTo>
                  <a:pt x="70941" y="636185"/>
                  <a:pt x="69910" y="636185"/>
                  <a:pt x="68848" y="636185"/>
                </a:cubicBezTo>
                <a:cubicBezTo>
                  <a:pt x="64250" y="621928"/>
                  <a:pt x="64695" y="609404"/>
                  <a:pt x="70410" y="595317"/>
                </a:cubicBezTo>
                <a:cubicBezTo>
                  <a:pt x="73096" y="591142"/>
                  <a:pt x="76144" y="587574"/>
                  <a:pt x="79782" y="584043"/>
                </a:cubicBezTo>
                <a:cubicBezTo>
                  <a:pt x="81205" y="582594"/>
                  <a:pt x="81205" y="582594"/>
                  <a:pt x="82656" y="581115"/>
                </a:cubicBezTo>
                <a:cubicBezTo>
                  <a:pt x="91488" y="574027"/>
                  <a:pt x="105133" y="571806"/>
                  <a:pt x="116694" y="572323"/>
                </a:cubicBezTo>
                <a:cubicBezTo>
                  <a:pt x="131556" y="574113"/>
                  <a:pt x="142046" y="580551"/>
                  <a:pt x="152031" y="590385"/>
                </a:cubicBezTo>
                <a:cubicBezTo>
                  <a:pt x="162272" y="600009"/>
                  <a:pt x="176992" y="605062"/>
                  <a:pt x="191474" y="605886"/>
                </a:cubicBezTo>
                <a:cubicBezTo>
                  <a:pt x="196845" y="606192"/>
                  <a:pt x="201203" y="606463"/>
                  <a:pt x="206314" y="608000"/>
                </a:cubicBezTo>
                <a:cubicBezTo>
                  <a:pt x="206314" y="608930"/>
                  <a:pt x="206314" y="609860"/>
                  <a:pt x="206314" y="610818"/>
                </a:cubicBezTo>
                <a:cubicBezTo>
                  <a:pt x="215689" y="610902"/>
                  <a:pt x="225058" y="610898"/>
                  <a:pt x="234433" y="610818"/>
                </a:cubicBezTo>
                <a:cubicBezTo>
                  <a:pt x="236112" y="610813"/>
                  <a:pt x="237791" y="610808"/>
                  <a:pt x="239522" y="610802"/>
                </a:cubicBezTo>
                <a:cubicBezTo>
                  <a:pt x="251005" y="610364"/>
                  <a:pt x="259257" y="606564"/>
                  <a:pt x="268799" y="600954"/>
                </a:cubicBezTo>
                <a:cubicBezTo>
                  <a:pt x="269770" y="600416"/>
                  <a:pt x="270740" y="599879"/>
                  <a:pt x="271740" y="599325"/>
                </a:cubicBezTo>
                <a:cubicBezTo>
                  <a:pt x="279452" y="594430"/>
                  <a:pt x="281420" y="587464"/>
                  <a:pt x="284420" y="579816"/>
                </a:cubicBezTo>
                <a:cubicBezTo>
                  <a:pt x="286047" y="576075"/>
                  <a:pt x="287725" y="572353"/>
                  <a:pt x="289399" y="568630"/>
                </a:cubicBezTo>
                <a:cubicBezTo>
                  <a:pt x="294095" y="558121"/>
                  <a:pt x="299004" y="547070"/>
                  <a:pt x="293958" y="535838"/>
                </a:cubicBezTo>
                <a:cubicBezTo>
                  <a:pt x="292436" y="533533"/>
                  <a:pt x="290781" y="531301"/>
                  <a:pt x="289107" y="529084"/>
                </a:cubicBezTo>
                <a:cubicBezTo>
                  <a:pt x="289107" y="528153"/>
                  <a:pt x="289107" y="527223"/>
                  <a:pt x="289107" y="526265"/>
                </a:cubicBezTo>
                <a:cubicBezTo>
                  <a:pt x="287560" y="525800"/>
                  <a:pt x="286014" y="525335"/>
                  <a:pt x="284420" y="524856"/>
                </a:cubicBezTo>
                <a:cubicBezTo>
                  <a:pt x="283905" y="523461"/>
                  <a:pt x="283389" y="522066"/>
                  <a:pt x="282858" y="520628"/>
                </a:cubicBezTo>
                <a:cubicBezTo>
                  <a:pt x="280750" y="518590"/>
                  <a:pt x="280750" y="518590"/>
                  <a:pt x="277977" y="516577"/>
                </a:cubicBezTo>
                <a:cubicBezTo>
                  <a:pt x="273591" y="513232"/>
                  <a:pt x="269227" y="509874"/>
                  <a:pt x="264925" y="506443"/>
                </a:cubicBezTo>
                <a:cubicBezTo>
                  <a:pt x="253596" y="497433"/>
                  <a:pt x="242132" y="488987"/>
                  <a:pt x="229746" y="481170"/>
                </a:cubicBezTo>
                <a:cubicBezTo>
                  <a:pt x="226846" y="479266"/>
                  <a:pt x="223950" y="477358"/>
                  <a:pt x="221057" y="475445"/>
                </a:cubicBezTo>
                <a:cubicBezTo>
                  <a:pt x="218227" y="473594"/>
                  <a:pt x="215396" y="471744"/>
                  <a:pt x="212563" y="469896"/>
                </a:cubicBezTo>
                <a:cubicBezTo>
                  <a:pt x="211351" y="469102"/>
                  <a:pt x="210138" y="468309"/>
                  <a:pt x="208889" y="467491"/>
                </a:cubicBezTo>
                <a:cubicBezTo>
                  <a:pt x="202848" y="463599"/>
                  <a:pt x="196732" y="459888"/>
                  <a:pt x="190406" y="456382"/>
                </a:cubicBezTo>
                <a:cubicBezTo>
                  <a:pt x="189263" y="455748"/>
                  <a:pt x="188119" y="455114"/>
                  <a:pt x="186942" y="454460"/>
                </a:cubicBezTo>
                <a:cubicBezTo>
                  <a:pt x="184648" y="453196"/>
                  <a:pt x="182348" y="451941"/>
                  <a:pt x="180041" y="450696"/>
                </a:cubicBezTo>
                <a:cubicBezTo>
                  <a:pt x="177292" y="449185"/>
                  <a:pt x="174612" y="447571"/>
                  <a:pt x="171948" y="445940"/>
                </a:cubicBezTo>
                <a:cubicBezTo>
                  <a:pt x="171948" y="445009"/>
                  <a:pt x="171948" y="444079"/>
                  <a:pt x="171948" y="443121"/>
                </a:cubicBezTo>
                <a:cubicBezTo>
                  <a:pt x="170804" y="442985"/>
                  <a:pt x="169660" y="442848"/>
                  <a:pt x="168482" y="442708"/>
                </a:cubicBezTo>
                <a:cubicBezTo>
                  <a:pt x="163547" y="441576"/>
                  <a:pt x="161063" y="439897"/>
                  <a:pt x="157107" y="437044"/>
                </a:cubicBezTo>
                <a:cubicBezTo>
                  <a:pt x="149345" y="431895"/>
                  <a:pt x="141843" y="429626"/>
                  <a:pt x="132559" y="427510"/>
                </a:cubicBezTo>
                <a:cubicBezTo>
                  <a:pt x="128067" y="426168"/>
                  <a:pt x="126607" y="425060"/>
                  <a:pt x="123522" y="421983"/>
                </a:cubicBezTo>
                <a:cubicBezTo>
                  <a:pt x="118310" y="419033"/>
                  <a:pt x="114076" y="418794"/>
                  <a:pt x="107986" y="418730"/>
                </a:cubicBezTo>
                <a:cubicBezTo>
                  <a:pt x="106174" y="418694"/>
                  <a:pt x="104362" y="418659"/>
                  <a:pt x="102494" y="418622"/>
                </a:cubicBezTo>
                <a:cubicBezTo>
                  <a:pt x="98715" y="418573"/>
                  <a:pt x="94936" y="418529"/>
                  <a:pt x="91157" y="418490"/>
                </a:cubicBezTo>
                <a:cubicBezTo>
                  <a:pt x="78470" y="418231"/>
                  <a:pt x="65485" y="417940"/>
                  <a:pt x="55277" y="410445"/>
                </a:cubicBezTo>
                <a:cubicBezTo>
                  <a:pt x="54084" y="409137"/>
                  <a:pt x="52893" y="407829"/>
                  <a:pt x="51665" y="406481"/>
                </a:cubicBezTo>
                <a:cubicBezTo>
                  <a:pt x="49752" y="404480"/>
                  <a:pt x="47831" y="402483"/>
                  <a:pt x="45904" y="400492"/>
                </a:cubicBezTo>
                <a:cubicBezTo>
                  <a:pt x="44996" y="399526"/>
                  <a:pt x="44088" y="398559"/>
                  <a:pt x="43152" y="397564"/>
                </a:cubicBezTo>
                <a:cubicBezTo>
                  <a:pt x="40865" y="395062"/>
                  <a:pt x="40865" y="395062"/>
                  <a:pt x="37605" y="393798"/>
                </a:cubicBezTo>
                <a:lnTo>
                  <a:pt x="38995" y="368712"/>
                </a:lnTo>
                <a:lnTo>
                  <a:pt x="38666" y="369724"/>
                </a:lnTo>
                <a:cubicBezTo>
                  <a:pt x="37003" y="374506"/>
                  <a:pt x="36202" y="379113"/>
                  <a:pt x="35542" y="384081"/>
                </a:cubicBezTo>
                <a:cubicBezTo>
                  <a:pt x="30313" y="376119"/>
                  <a:pt x="31188" y="366593"/>
                  <a:pt x="33326" y="357791"/>
                </a:cubicBezTo>
                <a:cubicBezTo>
                  <a:pt x="37176" y="347767"/>
                  <a:pt x="44536" y="340769"/>
                  <a:pt x="52725" y="333349"/>
                </a:cubicBezTo>
                <a:lnTo>
                  <a:pt x="55222" y="334475"/>
                </a:lnTo>
                <a:lnTo>
                  <a:pt x="56222" y="333347"/>
                </a:lnTo>
                <a:lnTo>
                  <a:pt x="55871" y="333347"/>
                </a:lnTo>
                <a:lnTo>
                  <a:pt x="56346" y="333207"/>
                </a:lnTo>
                <a:lnTo>
                  <a:pt x="56351" y="333202"/>
                </a:lnTo>
                <a:lnTo>
                  <a:pt x="56365" y="333202"/>
                </a:lnTo>
                <a:lnTo>
                  <a:pt x="79571" y="326360"/>
                </a:lnTo>
                <a:cubicBezTo>
                  <a:pt x="87782" y="326037"/>
                  <a:pt x="96164" y="327572"/>
                  <a:pt x="104297" y="330529"/>
                </a:cubicBezTo>
                <a:lnTo>
                  <a:pt x="107170" y="334417"/>
                </a:lnTo>
                <a:lnTo>
                  <a:pt x="109366" y="336046"/>
                </a:lnTo>
                <a:lnTo>
                  <a:pt x="109463" y="336020"/>
                </a:lnTo>
                <a:lnTo>
                  <a:pt x="109463" y="336118"/>
                </a:lnTo>
                <a:lnTo>
                  <a:pt x="115226" y="340394"/>
                </a:lnTo>
                <a:lnTo>
                  <a:pt x="114010" y="340120"/>
                </a:lnTo>
                <a:lnTo>
                  <a:pt x="133285" y="357423"/>
                </a:lnTo>
                <a:cubicBezTo>
                  <a:pt x="142471" y="373187"/>
                  <a:pt x="155564" y="382744"/>
                  <a:pt x="173509" y="389571"/>
                </a:cubicBezTo>
                <a:cubicBezTo>
                  <a:pt x="176254" y="390785"/>
                  <a:pt x="178988" y="392017"/>
                  <a:pt x="181711" y="393270"/>
                </a:cubicBezTo>
                <a:cubicBezTo>
                  <a:pt x="182964" y="393833"/>
                  <a:pt x="184216" y="394396"/>
                  <a:pt x="185507" y="394976"/>
                </a:cubicBezTo>
                <a:cubicBezTo>
                  <a:pt x="187897" y="396058"/>
                  <a:pt x="190281" y="397151"/>
                  <a:pt x="192658" y="398257"/>
                </a:cubicBezTo>
                <a:cubicBezTo>
                  <a:pt x="193749" y="398762"/>
                  <a:pt x="194841" y="399267"/>
                  <a:pt x="195966" y="399788"/>
                </a:cubicBezTo>
                <a:cubicBezTo>
                  <a:pt x="196912" y="400231"/>
                  <a:pt x="197858" y="400674"/>
                  <a:pt x="198833" y="401131"/>
                </a:cubicBezTo>
                <a:cubicBezTo>
                  <a:pt x="201808" y="402326"/>
                  <a:pt x="204701" y="403032"/>
                  <a:pt x="207877" y="403663"/>
                </a:cubicBezTo>
                <a:cubicBezTo>
                  <a:pt x="207877" y="404593"/>
                  <a:pt x="207877" y="405523"/>
                  <a:pt x="207877" y="406481"/>
                </a:cubicBezTo>
                <a:cubicBezTo>
                  <a:pt x="221233" y="411377"/>
                  <a:pt x="234752" y="415503"/>
                  <a:pt x="248492" y="419428"/>
                </a:cubicBezTo>
                <a:cubicBezTo>
                  <a:pt x="250298" y="419947"/>
                  <a:pt x="252104" y="420466"/>
                  <a:pt x="253965" y="421000"/>
                </a:cubicBezTo>
                <a:cubicBezTo>
                  <a:pt x="258388" y="422270"/>
                  <a:pt x="262812" y="423537"/>
                  <a:pt x="267237" y="424801"/>
                </a:cubicBezTo>
                <a:lnTo>
                  <a:pt x="267237" y="426451"/>
                </a:lnTo>
                <a:lnTo>
                  <a:pt x="288701" y="429217"/>
                </a:lnTo>
                <a:cubicBezTo>
                  <a:pt x="288701" y="430147"/>
                  <a:pt x="288701" y="431078"/>
                  <a:pt x="288701" y="432036"/>
                </a:cubicBezTo>
                <a:cubicBezTo>
                  <a:pt x="301487" y="433472"/>
                  <a:pt x="314148" y="433662"/>
                  <a:pt x="327010" y="433628"/>
                </a:cubicBezTo>
                <a:cubicBezTo>
                  <a:pt x="330502" y="433621"/>
                  <a:pt x="333994" y="433628"/>
                  <a:pt x="337486" y="433637"/>
                </a:cubicBezTo>
                <a:cubicBezTo>
                  <a:pt x="339734" y="433637"/>
                  <a:pt x="341982" y="433635"/>
                  <a:pt x="344229" y="433632"/>
                </a:cubicBezTo>
                <a:cubicBezTo>
                  <a:pt x="347246" y="433630"/>
                  <a:pt x="347246" y="433630"/>
                  <a:pt x="350323" y="433627"/>
                </a:cubicBezTo>
                <a:cubicBezTo>
                  <a:pt x="355445" y="433459"/>
                  <a:pt x="360220" y="432915"/>
                  <a:pt x="365245" y="432036"/>
                </a:cubicBezTo>
                <a:lnTo>
                  <a:pt x="360797" y="433759"/>
                </a:lnTo>
                <a:lnTo>
                  <a:pt x="365650" y="433257"/>
                </a:lnTo>
                <a:cubicBezTo>
                  <a:pt x="366166" y="431861"/>
                  <a:pt x="366682" y="430466"/>
                  <a:pt x="367213" y="429029"/>
                </a:cubicBezTo>
                <a:cubicBezTo>
                  <a:pt x="369854" y="427628"/>
                  <a:pt x="372501" y="426234"/>
                  <a:pt x="375188" y="424906"/>
                </a:cubicBezTo>
                <a:cubicBezTo>
                  <a:pt x="390245" y="417204"/>
                  <a:pt x="397438" y="403183"/>
                  <a:pt x="404704" y="389571"/>
                </a:cubicBezTo>
                <a:cubicBezTo>
                  <a:pt x="405219" y="389105"/>
                  <a:pt x="405734" y="388641"/>
                  <a:pt x="406265" y="388161"/>
                </a:cubicBezTo>
                <a:cubicBezTo>
                  <a:pt x="406663" y="382152"/>
                  <a:pt x="406555" y="376125"/>
                  <a:pt x="406559" y="370106"/>
                </a:cubicBezTo>
                <a:cubicBezTo>
                  <a:pt x="406578" y="368412"/>
                  <a:pt x="406597" y="366718"/>
                  <a:pt x="406617" y="364973"/>
                </a:cubicBezTo>
                <a:cubicBezTo>
                  <a:pt x="406620" y="363344"/>
                  <a:pt x="406622" y="361715"/>
                  <a:pt x="406626" y="360038"/>
                </a:cubicBezTo>
                <a:cubicBezTo>
                  <a:pt x="406632" y="358541"/>
                  <a:pt x="406638" y="357045"/>
                  <a:pt x="406645" y="355503"/>
                </a:cubicBezTo>
                <a:cubicBezTo>
                  <a:pt x="406264" y="351503"/>
                  <a:pt x="405326" y="349318"/>
                  <a:pt x="403142" y="345885"/>
                </a:cubicBezTo>
                <a:cubicBezTo>
                  <a:pt x="402583" y="343484"/>
                  <a:pt x="402067" y="341075"/>
                  <a:pt x="401579" y="338663"/>
                </a:cubicBezTo>
                <a:cubicBezTo>
                  <a:pt x="399365" y="330323"/>
                  <a:pt x="395538" y="323370"/>
                  <a:pt x="390938" y="315939"/>
                </a:cubicBezTo>
                <a:cubicBezTo>
                  <a:pt x="390290" y="314890"/>
                  <a:pt x="389642" y="313842"/>
                  <a:pt x="388976" y="312762"/>
                </a:cubicBezTo>
                <a:cubicBezTo>
                  <a:pt x="385623" y="307500"/>
                  <a:pt x="382070" y="302607"/>
                  <a:pt x="377934" y="297817"/>
                </a:cubicBezTo>
                <a:cubicBezTo>
                  <a:pt x="373788" y="292978"/>
                  <a:pt x="371423" y="288111"/>
                  <a:pt x="368775" y="282470"/>
                </a:cubicBezTo>
                <a:cubicBezTo>
                  <a:pt x="366035" y="278585"/>
                  <a:pt x="362994" y="274937"/>
                  <a:pt x="359890" y="271284"/>
                </a:cubicBezTo>
                <a:cubicBezTo>
                  <a:pt x="359059" y="270296"/>
                  <a:pt x="358230" y="269307"/>
                  <a:pt x="357374" y="268288"/>
                </a:cubicBezTo>
                <a:cubicBezTo>
                  <a:pt x="351312" y="261177"/>
                  <a:pt x="344882" y="254704"/>
                  <a:pt x="337533" y="248649"/>
                </a:cubicBezTo>
                <a:cubicBezTo>
                  <a:pt x="336767" y="247896"/>
                  <a:pt x="336002" y="247144"/>
                  <a:pt x="335214" y="246369"/>
                </a:cubicBezTo>
                <a:cubicBezTo>
                  <a:pt x="332597" y="243963"/>
                  <a:pt x="332597" y="243963"/>
                  <a:pt x="327085" y="242571"/>
                </a:cubicBezTo>
                <a:cubicBezTo>
                  <a:pt x="309670" y="236923"/>
                  <a:pt x="296614" y="222751"/>
                  <a:pt x="288785" y="207968"/>
                </a:cubicBezTo>
                <a:cubicBezTo>
                  <a:pt x="286673" y="202851"/>
                  <a:pt x="286348" y="197968"/>
                  <a:pt x="286373" y="192544"/>
                </a:cubicBezTo>
                <a:cubicBezTo>
                  <a:pt x="286377" y="191437"/>
                  <a:pt x="286381" y="190330"/>
                  <a:pt x="286385" y="189190"/>
                </a:cubicBezTo>
                <a:cubicBezTo>
                  <a:pt x="286881" y="178340"/>
                  <a:pt x="291581" y="171728"/>
                  <a:pt x="300042" y="164095"/>
                </a:cubicBezTo>
                <a:cubicBezTo>
                  <a:pt x="301386" y="162752"/>
                  <a:pt x="301386" y="162752"/>
                  <a:pt x="302757" y="161381"/>
                </a:cubicBezTo>
                <a:cubicBezTo>
                  <a:pt x="312597" y="152504"/>
                  <a:pt x="325185" y="152675"/>
                  <a:pt x="338411" y="152293"/>
                </a:cubicBezTo>
                <a:cubicBezTo>
                  <a:pt x="350839" y="152463"/>
                  <a:pt x="359094" y="154554"/>
                  <a:pt x="368482" y="161893"/>
                </a:cubicBezTo>
                <a:cubicBezTo>
                  <a:pt x="369609" y="163085"/>
                  <a:pt x="370737" y="164277"/>
                  <a:pt x="371899" y="165505"/>
                </a:cubicBezTo>
                <a:cubicBezTo>
                  <a:pt x="372962" y="166522"/>
                  <a:pt x="374026" y="167539"/>
                  <a:pt x="375121" y="168587"/>
                </a:cubicBezTo>
                <a:cubicBezTo>
                  <a:pt x="381050" y="176351"/>
                  <a:pt x="384520" y="184328"/>
                  <a:pt x="384982" y="193777"/>
                </a:cubicBezTo>
                <a:cubicBezTo>
                  <a:pt x="385464" y="201192"/>
                  <a:pt x="387638" y="207607"/>
                  <a:pt x="390352" y="214563"/>
                </a:cubicBezTo>
                <a:cubicBezTo>
                  <a:pt x="390934" y="216079"/>
                  <a:pt x="390934" y="216079"/>
                  <a:pt x="391529" y="217626"/>
                </a:cubicBezTo>
                <a:cubicBezTo>
                  <a:pt x="394082" y="223926"/>
                  <a:pt x="397412" y="228969"/>
                  <a:pt x="401579" y="234556"/>
                </a:cubicBezTo>
                <a:cubicBezTo>
                  <a:pt x="401579" y="235952"/>
                  <a:pt x="401579" y="237347"/>
                  <a:pt x="401579" y="238784"/>
                </a:cubicBezTo>
                <a:cubicBezTo>
                  <a:pt x="402884" y="239263"/>
                  <a:pt x="402884" y="239263"/>
                  <a:pt x="404215" y="239753"/>
                </a:cubicBezTo>
                <a:cubicBezTo>
                  <a:pt x="410099" y="242765"/>
                  <a:pt x="414395" y="246733"/>
                  <a:pt x="417811" y="251996"/>
                </a:cubicBezTo>
                <a:cubicBezTo>
                  <a:pt x="420462" y="255897"/>
                  <a:pt x="423407" y="258959"/>
                  <a:pt x="426866" y="262300"/>
                </a:cubicBezTo>
                <a:cubicBezTo>
                  <a:pt x="435101" y="270407"/>
                  <a:pt x="442641" y="278936"/>
                  <a:pt x="450097" y="287628"/>
                </a:cubicBezTo>
                <a:cubicBezTo>
                  <a:pt x="453081" y="291117"/>
                  <a:pt x="453081" y="291117"/>
                  <a:pt x="457425" y="293920"/>
                </a:cubicBezTo>
                <a:cubicBezTo>
                  <a:pt x="458585" y="294792"/>
                  <a:pt x="459745" y="295664"/>
                  <a:pt x="460940" y="296562"/>
                </a:cubicBezTo>
                <a:cubicBezTo>
                  <a:pt x="460940" y="297957"/>
                  <a:pt x="460940" y="299352"/>
                  <a:pt x="460940" y="300790"/>
                </a:cubicBezTo>
                <a:cubicBezTo>
                  <a:pt x="465063" y="302782"/>
                  <a:pt x="468862" y="304133"/>
                  <a:pt x="473437" y="305018"/>
                </a:cubicBezTo>
                <a:cubicBezTo>
                  <a:pt x="473437" y="305947"/>
                  <a:pt x="473437" y="306877"/>
                  <a:pt x="473437" y="307836"/>
                </a:cubicBezTo>
                <a:cubicBezTo>
                  <a:pt x="475581" y="308519"/>
                  <a:pt x="477730" y="309193"/>
                  <a:pt x="479881" y="309862"/>
                </a:cubicBezTo>
                <a:cubicBezTo>
                  <a:pt x="481077" y="310237"/>
                  <a:pt x="482273" y="310614"/>
                  <a:pt x="483505" y="311001"/>
                </a:cubicBezTo>
                <a:cubicBezTo>
                  <a:pt x="505448" y="316843"/>
                  <a:pt x="527690" y="314359"/>
                  <a:pt x="548419" y="306427"/>
                </a:cubicBezTo>
                <a:cubicBezTo>
                  <a:pt x="549548" y="305998"/>
                  <a:pt x="550678" y="305569"/>
                  <a:pt x="551842" y="305127"/>
                </a:cubicBezTo>
                <a:cubicBezTo>
                  <a:pt x="555376" y="303227"/>
                  <a:pt x="557584" y="300980"/>
                  <a:pt x="560232" y="298148"/>
                </a:cubicBezTo>
                <a:cubicBezTo>
                  <a:pt x="561137" y="297192"/>
                  <a:pt x="562041" y="296236"/>
                  <a:pt x="562972" y="295252"/>
                </a:cubicBezTo>
                <a:cubicBezTo>
                  <a:pt x="564755" y="293274"/>
                  <a:pt x="566459" y="291237"/>
                  <a:pt x="568086" y="289152"/>
                </a:cubicBezTo>
                <a:cubicBezTo>
                  <a:pt x="568813" y="288342"/>
                  <a:pt x="569539" y="287532"/>
                  <a:pt x="570289" y="286697"/>
                </a:cubicBezTo>
                <a:cubicBezTo>
                  <a:pt x="571319" y="286697"/>
                  <a:pt x="572350" y="286697"/>
                  <a:pt x="573413" y="286697"/>
                </a:cubicBezTo>
                <a:cubicBezTo>
                  <a:pt x="577408" y="276984"/>
                  <a:pt x="577197" y="267284"/>
                  <a:pt x="577220" y="257016"/>
                </a:cubicBezTo>
                <a:cubicBezTo>
                  <a:pt x="577227" y="255625"/>
                  <a:pt x="577227" y="255625"/>
                  <a:pt x="577235" y="254206"/>
                </a:cubicBezTo>
                <a:cubicBezTo>
                  <a:pt x="577257" y="237553"/>
                  <a:pt x="574604" y="222055"/>
                  <a:pt x="569443" y="206049"/>
                </a:cubicBezTo>
                <a:cubicBezTo>
                  <a:pt x="568726" y="203553"/>
                  <a:pt x="568726" y="203553"/>
                  <a:pt x="568726" y="200735"/>
                </a:cubicBezTo>
                <a:cubicBezTo>
                  <a:pt x="567695" y="200735"/>
                  <a:pt x="566664" y="200735"/>
                  <a:pt x="565602" y="200735"/>
                </a:cubicBezTo>
                <a:cubicBezTo>
                  <a:pt x="563274" y="195295"/>
                  <a:pt x="561092" y="190108"/>
                  <a:pt x="559549" y="184441"/>
                </a:cubicBezTo>
                <a:cubicBezTo>
                  <a:pt x="555572" y="173477"/>
                  <a:pt x="547043" y="167105"/>
                  <a:pt x="537484" y="159867"/>
                </a:cubicBezTo>
                <a:cubicBezTo>
                  <a:pt x="533579" y="156609"/>
                  <a:pt x="533579" y="156609"/>
                  <a:pt x="531235" y="154230"/>
                </a:cubicBezTo>
                <a:cubicBezTo>
                  <a:pt x="531235" y="153301"/>
                  <a:pt x="531235" y="152371"/>
                  <a:pt x="531235" y="151412"/>
                </a:cubicBezTo>
                <a:cubicBezTo>
                  <a:pt x="529689" y="150947"/>
                  <a:pt x="528143" y="150482"/>
                  <a:pt x="526549" y="150003"/>
                </a:cubicBezTo>
                <a:cubicBezTo>
                  <a:pt x="519904" y="137298"/>
                  <a:pt x="519105" y="120357"/>
                  <a:pt x="524304" y="107198"/>
                </a:cubicBezTo>
                <a:cubicBezTo>
                  <a:pt x="529443" y="97376"/>
                  <a:pt x="535781" y="90193"/>
                  <a:pt x="547052" y="85972"/>
                </a:cubicBezTo>
                <a:cubicBezTo>
                  <a:pt x="559924" y="81835"/>
                  <a:pt x="575221" y="79746"/>
                  <a:pt x="588460" y="83538"/>
                </a:cubicBezTo>
                <a:cubicBezTo>
                  <a:pt x="601643" y="89713"/>
                  <a:pt x="611835" y="99450"/>
                  <a:pt x="617152" y="111954"/>
                </a:cubicBezTo>
                <a:cubicBezTo>
                  <a:pt x="617935" y="116052"/>
                  <a:pt x="617954" y="120024"/>
                  <a:pt x="617884" y="124175"/>
                </a:cubicBezTo>
                <a:cubicBezTo>
                  <a:pt x="617896" y="125307"/>
                  <a:pt x="617906" y="126440"/>
                  <a:pt x="617917" y="127607"/>
                </a:cubicBezTo>
                <a:cubicBezTo>
                  <a:pt x="617963" y="132394"/>
                  <a:pt x="617938" y="137181"/>
                  <a:pt x="617919" y="141969"/>
                </a:cubicBezTo>
                <a:cubicBezTo>
                  <a:pt x="617899" y="160184"/>
                  <a:pt x="619422" y="175572"/>
                  <a:pt x="630625" y="191311"/>
                </a:cubicBezTo>
                <a:cubicBezTo>
                  <a:pt x="633753" y="195891"/>
                  <a:pt x="636431" y="199900"/>
                  <a:pt x="637850" y="205139"/>
                </a:cubicBezTo>
                <a:cubicBezTo>
                  <a:pt x="638615" y="209623"/>
                  <a:pt x="638615" y="209623"/>
                  <a:pt x="643708" y="212009"/>
                </a:cubicBezTo>
                <a:cubicBezTo>
                  <a:pt x="645380" y="214563"/>
                  <a:pt x="645380" y="214563"/>
                  <a:pt x="647027" y="217645"/>
                </a:cubicBezTo>
                <a:cubicBezTo>
                  <a:pt x="652549" y="227016"/>
                  <a:pt x="660443" y="235696"/>
                  <a:pt x="670264" y="241603"/>
                </a:cubicBezTo>
                <a:cubicBezTo>
                  <a:pt x="670264" y="242532"/>
                  <a:pt x="670264" y="243462"/>
                  <a:pt x="670264" y="244421"/>
                </a:cubicBezTo>
                <a:cubicBezTo>
                  <a:pt x="672036" y="244857"/>
                  <a:pt x="673808" y="245293"/>
                  <a:pt x="675634" y="245742"/>
                </a:cubicBezTo>
                <a:cubicBezTo>
                  <a:pt x="681199" y="247239"/>
                  <a:pt x="681199" y="247239"/>
                  <a:pt x="682761" y="248649"/>
                </a:cubicBezTo>
                <a:cubicBezTo>
                  <a:pt x="704487" y="252065"/>
                  <a:pt x="732606" y="256402"/>
                  <a:pt x="752092" y="245076"/>
                </a:cubicBezTo>
                <a:cubicBezTo>
                  <a:pt x="754252" y="243599"/>
                  <a:pt x="756372" y="242073"/>
                  <a:pt x="758433" y="240485"/>
                </a:cubicBezTo>
                <a:cubicBezTo>
                  <a:pt x="760867" y="238784"/>
                  <a:pt x="760867" y="238784"/>
                  <a:pt x="763991" y="238784"/>
                </a:cubicBezTo>
                <a:cubicBezTo>
                  <a:pt x="764647" y="237296"/>
                  <a:pt x="764647" y="237296"/>
                  <a:pt x="765315" y="235778"/>
                </a:cubicBezTo>
                <a:cubicBezTo>
                  <a:pt x="767151" y="231659"/>
                  <a:pt x="769030" y="227557"/>
                  <a:pt x="770923" y="223459"/>
                </a:cubicBezTo>
                <a:cubicBezTo>
                  <a:pt x="771608" y="221966"/>
                  <a:pt x="772292" y="220472"/>
                  <a:pt x="772998" y="218934"/>
                </a:cubicBezTo>
                <a:cubicBezTo>
                  <a:pt x="774429" y="215885"/>
                  <a:pt x="775968" y="212878"/>
                  <a:pt x="777562" y="209895"/>
                </a:cubicBezTo>
                <a:cubicBezTo>
                  <a:pt x="787607" y="185732"/>
                  <a:pt x="788559" y="149501"/>
                  <a:pt x="781175" y="124637"/>
                </a:cubicBezTo>
                <a:cubicBezTo>
                  <a:pt x="780144" y="124637"/>
                  <a:pt x="779113" y="124637"/>
                  <a:pt x="778051" y="124637"/>
                </a:cubicBezTo>
                <a:cubicBezTo>
                  <a:pt x="768501" y="110080"/>
                  <a:pt x="762898" y="96653"/>
                  <a:pt x="767116" y="79542"/>
                </a:cubicBezTo>
                <a:cubicBezTo>
                  <a:pt x="772286" y="69057"/>
                  <a:pt x="781456" y="58252"/>
                  <a:pt x="793379" y="54000"/>
                </a:cubicBezTo>
                <a:cubicBezTo>
                  <a:pt x="808369" y="49250"/>
                  <a:pt x="826058" y="49579"/>
                  <a:pt x="840688" y="55503"/>
                </a:cubicBezTo>
                <a:cubicBezTo>
                  <a:pt x="845183" y="57759"/>
                  <a:pt x="848037" y="60575"/>
                  <a:pt x="851470" y="64040"/>
                </a:cubicBezTo>
                <a:cubicBezTo>
                  <a:pt x="852721" y="65272"/>
                  <a:pt x="852721" y="65272"/>
                  <a:pt x="853997" y="66529"/>
                </a:cubicBezTo>
                <a:cubicBezTo>
                  <a:pt x="858396" y="71505"/>
                  <a:pt x="860490" y="76640"/>
                  <a:pt x="861488" y="82057"/>
                </a:cubicBezTo>
                <a:lnTo>
                  <a:pt x="861937" y="90492"/>
                </a:lnTo>
                <a:lnTo>
                  <a:pt x="863826" y="100715"/>
                </a:lnTo>
                <a:cubicBezTo>
                  <a:pt x="862141" y="107853"/>
                  <a:pt x="859866" y="114857"/>
                  <a:pt x="857577" y="121853"/>
                </a:cubicBezTo>
                <a:cubicBezTo>
                  <a:pt x="857062" y="121853"/>
                  <a:pt x="856547" y="121853"/>
                  <a:pt x="856015" y="121853"/>
                </a:cubicBezTo>
                <a:cubicBezTo>
                  <a:pt x="855731" y="120401"/>
                  <a:pt x="855731" y="120401"/>
                  <a:pt x="855442" y="118919"/>
                </a:cubicBezTo>
                <a:lnTo>
                  <a:pt x="855417" y="118798"/>
                </a:lnTo>
                <a:lnTo>
                  <a:pt x="856157" y="124637"/>
                </a:lnTo>
                <a:lnTo>
                  <a:pt x="850623" y="134701"/>
                </a:lnTo>
                <a:lnTo>
                  <a:pt x="851325" y="135968"/>
                </a:lnTo>
                <a:cubicBezTo>
                  <a:pt x="850851" y="137246"/>
                  <a:pt x="850376" y="138525"/>
                  <a:pt x="849886" y="139843"/>
                </a:cubicBezTo>
                <a:cubicBezTo>
                  <a:pt x="848171" y="144505"/>
                  <a:pt x="847798" y="148002"/>
                  <a:pt x="847786" y="152889"/>
                </a:cubicBezTo>
                <a:cubicBezTo>
                  <a:pt x="847779" y="154500"/>
                  <a:pt x="847773" y="156109"/>
                  <a:pt x="847767" y="157768"/>
                </a:cubicBezTo>
                <a:cubicBezTo>
                  <a:pt x="847782" y="159468"/>
                  <a:pt x="847796" y="161167"/>
                  <a:pt x="847810" y="162919"/>
                </a:cubicBezTo>
                <a:cubicBezTo>
                  <a:pt x="847821" y="165546"/>
                  <a:pt x="847821" y="165546"/>
                  <a:pt x="847832" y="168227"/>
                </a:cubicBezTo>
                <a:cubicBezTo>
                  <a:pt x="847980" y="181934"/>
                  <a:pt x="849003" y="195419"/>
                  <a:pt x="850903" y="209013"/>
                </a:cubicBezTo>
                <a:lnTo>
                  <a:pt x="852880" y="224692"/>
                </a:lnTo>
                <a:lnTo>
                  <a:pt x="854595" y="224692"/>
                </a:lnTo>
                <a:cubicBezTo>
                  <a:pt x="855086" y="225542"/>
                  <a:pt x="855577" y="226392"/>
                  <a:pt x="856083" y="227268"/>
                </a:cubicBezTo>
                <a:cubicBezTo>
                  <a:pt x="862358" y="237839"/>
                  <a:pt x="866924" y="242785"/>
                  <a:pt x="879588" y="247239"/>
                </a:cubicBezTo>
                <a:cubicBezTo>
                  <a:pt x="881642" y="248025"/>
                  <a:pt x="883692" y="248817"/>
                  <a:pt x="885739" y="249618"/>
                </a:cubicBezTo>
                <a:cubicBezTo>
                  <a:pt x="887318" y="250227"/>
                  <a:pt x="888897" y="250838"/>
                  <a:pt x="890523" y="251467"/>
                </a:cubicBezTo>
                <a:cubicBezTo>
                  <a:pt x="890523" y="252397"/>
                  <a:pt x="890523" y="253327"/>
                  <a:pt x="890523" y="254285"/>
                </a:cubicBezTo>
                <a:cubicBezTo>
                  <a:pt x="900347" y="257061"/>
                  <a:pt x="910127" y="259425"/>
                  <a:pt x="920203" y="261332"/>
                </a:cubicBezTo>
                <a:cubicBezTo>
                  <a:pt x="920203" y="261796"/>
                  <a:pt x="920203" y="262262"/>
                  <a:pt x="920203" y="262741"/>
                </a:cubicBezTo>
                <a:cubicBezTo>
                  <a:pt x="917111" y="262741"/>
                  <a:pt x="914018" y="262741"/>
                  <a:pt x="910831" y="262741"/>
                </a:cubicBezTo>
                <a:lnTo>
                  <a:pt x="910831" y="262864"/>
                </a:lnTo>
                <a:lnTo>
                  <a:pt x="927993" y="264177"/>
                </a:lnTo>
                <a:lnTo>
                  <a:pt x="939273" y="265285"/>
                </a:lnTo>
                <a:lnTo>
                  <a:pt x="940456" y="265191"/>
                </a:lnTo>
                <a:cubicBezTo>
                  <a:pt x="962552" y="263054"/>
                  <a:pt x="974979" y="255295"/>
                  <a:pt x="991622" y="242329"/>
                </a:cubicBezTo>
                <a:lnTo>
                  <a:pt x="1000803" y="236505"/>
                </a:lnTo>
                <a:lnTo>
                  <a:pt x="999806" y="236055"/>
                </a:lnTo>
                <a:cubicBezTo>
                  <a:pt x="1000902" y="234997"/>
                  <a:pt x="1001997" y="233941"/>
                  <a:pt x="1003126" y="232851"/>
                </a:cubicBezTo>
                <a:cubicBezTo>
                  <a:pt x="1012364" y="223880"/>
                  <a:pt x="1021184" y="214752"/>
                  <a:pt x="1029487" y="205052"/>
                </a:cubicBezTo>
                <a:lnTo>
                  <a:pt x="1029872" y="206442"/>
                </a:lnTo>
                <a:lnTo>
                  <a:pt x="1031614" y="203719"/>
                </a:lnTo>
                <a:cubicBezTo>
                  <a:pt x="1033221" y="199204"/>
                  <a:pt x="1035713" y="196017"/>
                  <a:pt x="1038924" y="192280"/>
                </a:cubicBezTo>
                <a:cubicBezTo>
                  <a:pt x="1039956" y="191815"/>
                  <a:pt x="1040987" y="191349"/>
                  <a:pt x="1042049" y="190870"/>
                </a:cubicBezTo>
                <a:cubicBezTo>
                  <a:pt x="1043161" y="188473"/>
                  <a:pt x="1043161" y="188473"/>
                  <a:pt x="1044294" y="186026"/>
                </a:cubicBezTo>
                <a:cubicBezTo>
                  <a:pt x="1046735" y="181006"/>
                  <a:pt x="1046735" y="181006"/>
                  <a:pt x="1051422" y="178188"/>
                </a:cubicBezTo>
                <a:cubicBezTo>
                  <a:pt x="1052553" y="175286"/>
                  <a:pt x="1052553" y="175286"/>
                  <a:pt x="1052984" y="172551"/>
                </a:cubicBezTo>
                <a:cubicBezTo>
                  <a:pt x="1054014" y="172551"/>
                  <a:pt x="1055046" y="172551"/>
                  <a:pt x="1056108" y="172551"/>
                </a:cubicBezTo>
                <a:cubicBezTo>
                  <a:pt x="1057139" y="169295"/>
                  <a:pt x="1058170" y="166040"/>
                  <a:pt x="1059232" y="162686"/>
                </a:cubicBezTo>
                <a:cubicBezTo>
                  <a:pt x="1060263" y="162686"/>
                  <a:pt x="1061295" y="162686"/>
                  <a:pt x="1062357" y="162686"/>
                </a:cubicBezTo>
                <a:cubicBezTo>
                  <a:pt x="1062755" y="161484"/>
                  <a:pt x="1062755" y="161484"/>
                  <a:pt x="1063162" y="160258"/>
                </a:cubicBezTo>
                <a:cubicBezTo>
                  <a:pt x="1065716" y="152917"/>
                  <a:pt x="1068813" y="146686"/>
                  <a:pt x="1073292" y="140138"/>
                </a:cubicBezTo>
                <a:cubicBezTo>
                  <a:pt x="1074322" y="140138"/>
                  <a:pt x="1075353" y="140138"/>
                  <a:pt x="1076415" y="140138"/>
                </a:cubicBezTo>
                <a:cubicBezTo>
                  <a:pt x="1079808" y="132748"/>
                  <a:pt x="1082509" y="125160"/>
                  <a:pt x="1085294" y="117569"/>
                </a:cubicBezTo>
                <a:cubicBezTo>
                  <a:pt x="1085972" y="116181"/>
                  <a:pt x="1086651" y="114793"/>
                  <a:pt x="1087350" y="113363"/>
                </a:cubicBezTo>
                <a:cubicBezTo>
                  <a:pt x="1089671" y="112666"/>
                  <a:pt x="1089671" y="112666"/>
                  <a:pt x="1092037" y="111954"/>
                </a:cubicBezTo>
                <a:cubicBezTo>
                  <a:pt x="1092230" y="110879"/>
                  <a:pt x="1092423" y="109803"/>
                  <a:pt x="1092623" y="108695"/>
                </a:cubicBezTo>
                <a:cubicBezTo>
                  <a:pt x="1093599" y="104908"/>
                  <a:pt x="1093599" y="104908"/>
                  <a:pt x="1096723" y="100680"/>
                </a:cubicBezTo>
                <a:cubicBezTo>
                  <a:pt x="1097207" y="99140"/>
                  <a:pt x="1097689" y="97599"/>
                  <a:pt x="1098188" y="96013"/>
                </a:cubicBezTo>
                <a:cubicBezTo>
                  <a:pt x="1099847" y="90815"/>
                  <a:pt x="1099847" y="90815"/>
                  <a:pt x="1102288" y="87029"/>
                </a:cubicBezTo>
                <a:cubicBezTo>
                  <a:pt x="1106061" y="79186"/>
                  <a:pt x="1107564" y="69424"/>
                  <a:pt x="1104534" y="61222"/>
                </a:cubicBezTo>
                <a:cubicBezTo>
                  <a:pt x="1104409" y="59341"/>
                  <a:pt x="1104366" y="57454"/>
                  <a:pt x="1104381" y="55569"/>
                </a:cubicBezTo>
                <a:cubicBezTo>
                  <a:pt x="1104386" y="54501"/>
                  <a:pt x="1104391" y="53434"/>
                  <a:pt x="1104397" y="52335"/>
                </a:cubicBezTo>
                <a:cubicBezTo>
                  <a:pt x="1104410" y="51228"/>
                  <a:pt x="1104423" y="50120"/>
                  <a:pt x="1104436" y="48979"/>
                </a:cubicBezTo>
                <a:cubicBezTo>
                  <a:pt x="1104443" y="47856"/>
                  <a:pt x="1104451" y="46733"/>
                  <a:pt x="1104457" y="45575"/>
                </a:cubicBezTo>
                <a:cubicBezTo>
                  <a:pt x="1104476" y="42805"/>
                  <a:pt x="1104504" y="40035"/>
                  <a:pt x="1104534" y="37265"/>
                </a:cubicBezTo>
                <a:cubicBezTo>
                  <a:pt x="1105565" y="37265"/>
                  <a:pt x="1106596" y="37265"/>
                  <a:pt x="1107658" y="37265"/>
                </a:cubicBezTo>
                <a:cubicBezTo>
                  <a:pt x="1107561" y="34562"/>
                  <a:pt x="1107561" y="34562"/>
                  <a:pt x="1107463" y="31805"/>
                </a:cubicBezTo>
                <a:cubicBezTo>
                  <a:pt x="1107353" y="28733"/>
                  <a:pt x="1107353" y="28733"/>
                  <a:pt x="1107658" y="25991"/>
                </a:cubicBezTo>
                <a:cubicBezTo>
                  <a:pt x="1108689" y="25062"/>
                  <a:pt x="1109720" y="24131"/>
                  <a:pt x="1110782" y="23173"/>
                </a:cubicBezTo>
                <a:cubicBezTo>
                  <a:pt x="1111104" y="22156"/>
                  <a:pt x="1111427" y="21138"/>
                  <a:pt x="1111759" y="20091"/>
                </a:cubicBezTo>
                <a:cubicBezTo>
                  <a:pt x="1116393" y="11539"/>
                  <a:pt x="1124927" y="6390"/>
                  <a:pt x="1134507" y="2828"/>
                </a:cubicBezTo>
                <a:cubicBezTo>
                  <a:pt x="1141389" y="825"/>
                  <a:pt x="1148262" y="-204"/>
                  <a:pt x="1155019" y="35"/>
                </a:cubicBezTo>
                <a:close/>
              </a:path>
            </a:pathLst>
          </a:custGeom>
          <a:solidFill>
            <a:schemeClr val="accent3"/>
          </a:solidFill>
          <a:ln w="2232" cap="flat">
            <a:noFill/>
            <a:prstDash val="solid"/>
            <a:miter/>
          </a:ln>
          <a:effectLst>
            <a:innerShdw blurRad="63500" dist="190500" dir="8100000">
              <a:schemeClr val="accent3">
                <a:lumMod val="75000"/>
                <a:alpha val="50000"/>
              </a:schemeClr>
            </a:innerShdw>
          </a:effectLst>
        </p:spPr>
        <p:txBody>
          <a:bodyPr wrap="squar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2" name="Oval 71">
            <a:extLst>
              <a:ext uri="{FF2B5EF4-FFF2-40B4-BE49-F238E27FC236}">
                <a16:creationId xmlns:a16="http://schemas.microsoft.com/office/drawing/2014/main" id="{30AF6F44-BE34-8C5A-1EBF-E7A1F17047A6}"/>
              </a:ext>
            </a:extLst>
          </p:cNvPr>
          <p:cNvSpPr/>
          <p:nvPr/>
        </p:nvSpPr>
        <p:spPr>
          <a:xfrm>
            <a:off x="3458189" y="3281506"/>
            <a:ext cx="96793" cy="96793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3" name="Oval 72">
            <a:extLst>
              <a:ext uri="{FF2B5EF4-FFF2-40B4-BE49-F238E27FC236}">
                <a16:creationId xmlns:a16="http://schemas.microsoft.com/office/drawing/2014/main" id="{19F3F675-60D5-6588-EDBE-15BAB3849D7B}"/>
              </a:ext>
            </a:extLst>
          </p:cNvPr>
          <p:cNvSpPr/>
          <p:nvPr/>
        </p:nvSpPr>
        <p:spPr>
          <a:xfrm>
            <a:off x="3587401" y="3366258"/>
            <a:ext cx="96793" cy="96793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4" name="Oval 73">
            <a:extLst>
              <a:ext uri="{FF2B5EF4-FFF2-40B4-BE49-F238E27FC236}">
                <a16:creationId xmlns:a16="http://schemas.microsoft.com/office/drawing/2014/main" id="{6798438A-49AB-8F9C-84CA-DCB5A3E07B74}"/>
              </a:ext>
            </a:extLst>
          </p:cNvPr>
          <p:cNvSpPr/>
          <p:nvPr/>
        </p:nvSpPr>
        <p:spPr>
          <a:xfrm>
            <a:off x="3493618" y="3523950"/>
            <a:ext cx="75769" cy="75769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5" name="Oval 74">
            <a:extLst>
              <a:ext uri="{FF2B5EF4-FFF2-40B4-BE49-F238E27FC236}">
                <a16:creationId xmlns:a16="http://schemas.microsoft.com/office/drawing/2014/main" id="{53CC535D-1B78-8C89-A87B-56954FB8941D}"/>
              </a:ext>
            </a:extLst>
          </p:cNvPr>
          <p:cNvSpPr/>
          <p:nvPr/>
        </p:nvSpPr>
        <p:spPr>
          <a:xfrm>
            <a:off x="3695771" y="3506583"/>
            <a:ext cx="96793" cy="96793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6" name="Oval 75">
            <a:extLst>
              <a:ext uri="{FF2B5EF4-FFF2-40B4-BE49-F238E27FC236}">
                <a16:creationId xmlns:a16="http://schemas.microsoft.com/office/drawing/2014/main" id="{AA7396D4-F84C-1457-1C85-80FB64C07995}"/>
              </a:ext>
            </a:extLst>
          </p:cNvPr>
          <p:cNvSpPr/>
          <p:nvPr/>
        </p:nvSpPr>
        <p:spPr>
          <a:xfrm>
            <a:off x="3727031" y="3305125"/>
            <a:ext cx="65532" cy="65532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7" name="Free-form: Shape 76">
            <a:extLst>
              <a:ext uri="{FF2B5EF4-FFF2-40B4-BE49-F238E27FC236}">
                <a16:creationId xmlns:a16="http://schemas.microsoft.com/office/drawing/2014/main" id="{5DB8C75A-E038-C1A0-38E7-D7D2D80138F2}"/>
              </a:ext>
            </a:extLst>
          </p:cNvPr>
          <p:cNvSpPr/>
          <p:nvPr/>
        </p:nvSpPr>
        <p:spPr>
          <a:xfrm>
            <a:off x="6504045" y="3815677"/>
            <a:ext cx="744826" cy="151965"/>
          </a:xfrm>
          <a:custGeom>
            <a:avLst/>
            <a:gdLst>
              <a:gd name="csX0" fmla="*/ 0 w 1020019"/>
              <a:gd name="csY0" fmla="*/ 0 h 228600"/>
              <a:gd name="csX1" fmla="*/ 892656 w 1020019"/>
              <a:gd name="csY1" fmla="*/ 0 h 228600"/>
              <a:gd name="csX2" fmla="*/ 1020019 w 1020019"/>
              <a:gd name="csY2" fmla="*/ 228600 h 228600"/>
              <a:gd name="csX3" fmla="*/ 65128 w 1020019"/>
              <a:gd name="csY3" fmla="*/ 228600 h 228600"/>
              <a:gd name="csX4" fmla="*/ 0 w 1020019"/>
              <a:gd name="csY4" fmla="*/ 0 h 22860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020019" h="228600">
                <a:moveTo>
                  <a:pt x="0" y="0"/>
                </a:moveTo>
                <a:lnTo>
                  <a:pt x="892656" y="0"/>
                </a:lnTo>
                <a:lnTo>
                  <a:pt x="1020019" y="228600"/>
                </a:lnTo>
                <a:lnTo>
                  <a:pt x="65128" y="2286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8" name="Free-form: Shape 77">
            <a:extLst>
              <a:ext uri="{FF2B5EF4-FFF2-40B4-BE49-F238E27FC236}">
                <a16:creationId xmlns:a16="http://schemas.microsoft.com/office/drawing/2014/main" id="{32ECA5DF-7B03-A5FF-9553-AFC1B8E300C4}"/>
              </a:ext>
            </a:extLst>
          </p:cNvPr>
          <p:cNvSpPr/>
          <p:nvPr/>
        </p:nvSpPr>
        <p:spPr>
          <a:xfrm>
            <a:off x="6595884" y="4130553"/>
            <a:ext cx="856070" cy="205101"/>
          </a:xfrm>
          <a:custGeom>
            <a:avLst/>
            <a:gdLst>
              <a:gd name="csX0" fmla="*/ 0 w 1020019"/>
              <a:gd name="csY0" fmla="*/ 0 h 228600"/>
              <a:gd name="csX1" fmla="*/ 892656 w 1020019"/>
              <a:gd name="csY1" fmla="*/ 0 h 228600"/>
              <a:gd name="csX2" fmla="*/ 1020019 w 1020019"/>
              <a:gd name="csY2" fmla="*/ 228600 h 228600"/>
              <a:gd name="csX3" fmla="*/ 65128 w 1020019"/>
              <a:gd name="csY3" fmla="*/ 228600 h 228600"/>
              <a:gd name="csX4" fmla="*/ 0 w 1020019"/>
              <a:gd name="csY4" fmla="*/ 0 h 228600"/>
              <a:gd name="csX0" fmla="*/ 0 w 1020019"/>
              <a:gd name="csY0" fmla="*/ 0 h 230815"/>
              <a:gd name="csX1" fmla="*/ 892656 w 1020019"/>
              <a:gd name="csY1" fmla="*/ 0 h 230815"/>
              <a:gd name="csX2" fmla="*/ 1020019 w 1020019"/>
              <a:gd name="csY2" fmla="*/ 228600 h 230815"/>
              <a:gd name="csX3" fmla="*/ 67512 w 1020019"/>
              <a:gd name="csY3" fmla="*/ 230815 h 230815"/>
              <a:gd name="csX4" fmla="*/ 0 w 1020019"/>
              <a:gd name="csY4" fmla="*/ 0 h 230815"/>
              <a:gd name="csX0" fmla="*/ 0 w 1036702"/>
              <a:gd name="csY0" fmla="*/ 0 h 230815"/>
              <a:gd name="csX1" fmla="*/ 892656 w 1036702"/>
              <a:gd name="csY1" fmla="*/ 0 h 230815"/>
              <a:gd name="csX2" fmla="*/ 1036702 w 1036702"/>
              <a:gd name="csY2" fmla="*/ 226385 h 230815"/>
              <a:gd name="csX3" fmla="*/ 67512 w 1036702"/>
              <a:gd name="csY3" fmla="*/ 230815 h 230815"/>
              <a:gd name="csX4" fmla="*/ 0 w 1036702"/>
              <a:gd name="csY4" fmla="*/ 0 h 23081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036702" h="230815">
                <a:moveTo>
                  <a:pt x="0" y="0"/>
                </a:moveTo>
                <a:lnTo>
                  <a:pt x="892656" y="0"/>
                </a:lnTo>
                <a:lnTo>
                  <a:pt x="1036702" y="226385"/>
                </a:lnTo>
                <a:lnTo>
                  <a:pt x="67512" y="23081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9" name="Oval 78">
            <a:extLst>
              <a:ext uri="{FF2B5EF4-FFF2-40B4-BE49-F238E27FC236}">
                <a16:creationId xmlns:a16="http://schemas.microsoft.com/office/drawing/2014/main" id="{59BC5FCF-4094-46D1-3CEB-F75CD182F242}"/>
              </a:ext>
            </a:extLst>
          </p:cNvPr>
          <p:cNvSpPr/>
          <p:nvPr/>
        </p:nvSpPr>
        <p:spPr>
          <a:xfrm>
            <a:off x="6082600" y="5769755"/>
            <a:ext cx="717698" cy="104135"/>
          </a:xfrm>
          <a:prstGeom prst="ellipse">
            <a:avLst/>
          </a:prstGeom>
          <a:solidFill>
            <a:schemeClr val="tx1">
              <a:alpha val="6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0" name="Oval 79">
            <a:extLst>
              <a:ext uri="{FF2B5EF4-FFF2-40B4-BE49-F238E27FC236}">
                <a16:creationId xmlns:a16="http://schemas.microsoft.com/office/drawing/2014/main" id="{EAACE97C-B9A4-2254-44E7-7758866FDE8C}"/>
              </a:ext>
            </a:extLst>
          </p:cNvPr>
          <p:cNvSpPr/>
          <p:nvPr/>
        </p:nvSpPr>
        <p:spPr>
          <a:xfrm>
            <a:off x="1333348" y="5769755"/>
            <a:ext cx="717698" cy="104135"/>
          </a:xfrm>
          <a:prstGeom prst="ellipse">
            <a:avLst/>
          </a:prstGeom>
          <a:solidFill>
            <a:schemeClr val="tx1">
              <a:alpha val="6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1" name="Oval 80">
            <a:extLst>
              <a:ext uri="{FF2B5EF4-FFF2-40B4-BE49-F238E27FC236}">
                <a16:creationId xmlns:a16="http://schemas.microsoft.com/office/drawing/2014/main" id="{AEC73EA6-6259-FA4E-22A4-40715362DF99}"/>
              </a:ext>
            </a:extLst>
          </p:cNvPr>
          <p:cNvSpPr/>
          <p:nvPr/>
        </p:nvSpPr>
        <p:spPr>
          <a:xfrm>
            <a:off x="9596923" y="5769755"/>
            <a:ext cx="717698" cy="104135"/>
          </a:xfrm>
          <a:prstGeom prst="ellipse">
            <a:avLst/>
          </a:prstGeom>
          <a:solidFill>
            <a:schemeClr val="tx1">
              <a:alpha val="6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2" name="Oval 81">
            <a:extLst>
              <a:ext uri="{FF2B5EF4-FFF2-40B4-BE49-F238E27FC236}">
                <a16:creationId xmlns:a16="http://schemas.microsoft.com/office/drawing/2014/main" id="{9A363054-E92F-9B69-B14B-D93C38C6FC95}"/>
              </a:ext>
            </a:extLst>
          </p:cNvPr>
          <p:cNvSpPr/>
          <p:nvPr/>
        </p:nvSpPr>
        <p:spPr>
          <a:xfrm>
            <a:off x="2519125" y="5769755"/>
            <a:ext cx="717698" cy="104135"/>
          </a:xfrm>
          <a:prstGeom prst="ellipse">
            <a:avLst/>
          </a:prstGeom>
          <a:solidFill>
            <a:schemeClr val="tx1">
              <a:alpha val="6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3" name="Oval 82">
            <a:extLst>
              <a:ext uri="{FF2B5EF4-FFF2-40B4-BE49-F238E27FC236}">
                <a16:creationId xmlns:a16="http://schemas.microsoft.com/office/drawing/2014/main" id="{91103D55-1F79-793A-18F8-52F8B21A0AB9}"/>
              </a:ext>
            </a:extLst>
          </p:cNvPr>
          <p:cNvSpPr/>
          <p:nvPr/>
        </p:nvSpPr>
        <p:spPr>
          <a:xfrm>
            <a:off x="8209237" y="5241377"/>
            <a:ext cx="593138" cy="104135"/>
          </a:xfrm>
          <a:prstGeom prst="ellipse">
            <a:avLst/>
          </a:prstGeom>
          <a:solidFill>
            <a:schemeClr val="tx1">
              <a:alpha val="6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4" name="Free-form: Shape 83">
            <a:extLst>
              <a:ext uri="{FF2B5EF4-FFF2-40B4-BE49-F238E27FC236}">
                <a16:creationId xmlns:a16="http://schemas.microsoft.com/office/drawing/2014/main" id="{5F4FD103-83DC-6B44-3951-D9E1CBFF57CB}"/>
              </a:ext>
            </a:extLst>
          </p:cNvPr>
          <p:cNvSpPr/>
          <p:nvPr/>
        </p:nvSpPr>
        <p:spPr>
          <a:xfrm>
            <a:off x="8286049" y="4465386"/>
            <a:ext cx="476450" cy="847024"/>
          </a:xfrm>
          <a:custGeom>
            <a:avLst/>
            <a:gdLst>
              <a:gd name="csX0" fmla="*/ 581793 w 697572"/>
              <a:gd name="csY0" fmla="*/ 1234401 h 1240128"/>
              <a:gd name="csX1" fmla="*/ 577427 w 697572"/>
              <a:gd name="csY1" fmla="*/ 1234156 h 1240128"/>
              <a:gd name="csX2" fmla="*/ 559133 w 697572"/>
              <a:gd name="csY2" fmla="*/ 1230909 h 1240128"/>
              <a:gd name="csX3" fmla="*/ 516706 w 697572"/>
              <a:gd name="csY3" fmla="*/ 1235117 h 1240128"/>
              <a:gd name="csX4" fmla="*/ 475244 w 697572"/>
              <a:gd name="csY4" fmla="*/ 1237506 h 1240128"/>
              <a:gd name="csX5" fmla="*/ 371154 w 697572"/>
              <a:gd name="csY5" fmla="*/ 1239428 h 1240128"/>
              <a:gd name="csX6" fmla="*/ 276813 w 697572"/>
              <a:gd name="csY6" fmla="*/ 1237654 h 1240128"/>
              <a:gd name="csX7" fmla="*/ 268212 w 697572"/>
              <a:gd name="csY7" fmla="*/ 1237635 h 1240128"/>
              <a:gd name="csX8" fmla="*/ 262072 w 697572"/>
              <a:gd name="csY8" fmla="*/ 1237523 h 1240128"/>
              <a:gd name="csX9" fmla="*/ 195111 w 697572"/>
              <a:gd name="csY9" fmla="*/ 1232775 h 1240128"/>
              <a:gd name="csX10" fmla="*/ 145060 w 697572"/>
              <a:gd name="csY10" fmla="*/ 1230076 h 1240128"/>
              <a:gd name="csX11" fmla="*/ 114933 w 697572"/>
              <a:gd name="csY11" fmla="*/ 1225832 h 1240128"/>
              <a:gd name="csX12" fmla="*/ 72642 w 697572"/>
              <a:gd name="csY12" fmla="*/ 1220237 h 1240128"/>
              <a:gd name="csX13" fmla="*/ 10894 w 697572"/>
              <a:gd name="csY13" fmla="*/ 1205737 h 1240128"/>
              <a:gd name="csX14" fmla="*/ 5856 w 697572"/>
              <a:gd name="csY14" fmla="*/ 1202799 h 1240128"/>
              <a:gd name="csX15" fmla="*/ 40 w 697572"/>
              <a:gd name="csY15" fmla="*/ 1174450 h 1240128"/>
              <a:gd name="csX16" fmla="*/ 19831 w 697572"/>
              <a:gd name="csY16" fmla="*/ 1118410 h 1240128"/>
              <a:gd name="csX17" fmla="*/ 22004 w 697572"/>
              <a:gd name="csY17" fmla="*/ 1107240 h 1240128"/>
              <a:gd name="csX18" fmla="*/ 25947 w 697572"/>
              <a:gd name="csY18" fmla="*/ 1038650 h 1240128"/>
              <a:gd name="csX19" fmla="*/ 58234 w 697572"/>
              <a:gd name="csY19" fmla="*/ 988567 h 1240128"/>
              <a:gd name="csX20" fmla="*/ 118645 w 697572"/>
              <a:gd name="csY20" fmla="*/ 928298 h 1240128"/>
              <a:gd name="csX21" fmla="*/ 126320 w 697572"/>
              <a:gd name="csY21" fmla="*/ 892015 h 1240128"/>
              <a:gd name="csX22" fmla="*/ 120345 w 697572"/>
              <a:gd name="csY22" fmla="*/ 872258 h 1240128"/>
              <a:gd name="csX23" fmla="*/ 125668 w 697572"/>
              <a:gd name="csY23" fmla="*/ 861640 h 1240128"/>
              <a:gd name="csX24" fmla="*/ 154237 w 697572"/>
              <a:gd name="csY24" fmla="*/ 850716 h 1240128"/>
              <a:gd name="csX25" fmla="*/ 170248 w 697572"/>
              <a:gd name="csY25" fmla="*/ 836767 h 1240128"/>
              <a:gd name="csX26" fmla="*/ 187840 w 697572"/>
              <a:gd name="csY26" fmla="*/ 796341 h 1240128"/>
              <a:gd name="csX27" fmla="*/ 209346 w 697572"/>
              <a:gd name="csY27" fmla="*/ 743126 h 1240128"/>
              <a:gd name="csX28" fmla="*/ 210630 w 697572"/>
              <a:gd name="csY28" fmla="*/ 737219 h 1240128"/>
              <a:gd name="csX29" fmla="*/ 213836 w 697572"/>
              <a:gd name="csY29" fmla="*/ 720505 h 1240128"/>
              <a:gd name="csX30" fmla="*/ 227791 w 697572"/>
              <a:gd name="csY30" fmla="*/ 667353 h 1240128"/>
              <a:gd name="csX31" fmla="*/ 241013 w 697572"/>
              <a:gd name="csY31" fmla="*/ 599151 h 1240128"/>
              <a:gd name="csX32" fmla="*/ 247322 w 697572"/>
              <a:gd name="csY32" fmla="*/ 542242 h 1240128"/>
              <a:gd name="csX33" fmla="*/ 247948 w 697572"/>
              <a:gd name="csY33" fmla="*/ 499296 h 1240128"/>
              <a:gd name="csX34" fmla="*/ 247577 w 697572"/>
              <a:gd name="csY34" fmla="*/ 470384 h 1240128"/>
              <a:gd name="csX35" fmla="*/ 238877 w 697572"/>
              <a:gd name="csY35" fmla="*/ 460987 h 1240128"/>
              <a:gd name="csX36" fmla="*/ 222040 w 697572"/>
              <a:gd name="csY36" fmla="*/ 458353 h 1240128"/>
              <a:gd name="csX37" fmla="*/ 172193 w 697572"/>
              <a:gd name="csY37" fmla="*/ 433714 h 1240128"/>
              <a:gd name="csX38" fmla="*/ 168410 w 697572"/>
              <a:gd name="csY38" fmla="*/ 396591 h 1240128"/>
              <a:gd name="csX39" fmla="*/ 209826 w 697572"/>
              <a:gd name="csY39" fmla="*/ 367773 h 1240128"/>
              <a:gd name="csX40" fmla="*/ 250732 w 697572"/>
              <a:gd name="csY40" fmla="*/ 355208 h 1240128"/>
              <a:gd name="csX41" fmla="*/ 258289 w 697572"/>
              <a:gd name="csY41" fmla="*/ 350426 h 1240128"/>
              <a:gd name="csX42" fmla="*/ 233274 w 697572"/>
              <a:gd name="csY42" fmla="*/ 333513 h 1240128"/>
              <a:gd name="csX43" fmla="*/ 229677 w 697572"/>
              <a:gd name="csY43" fmla="*/ 333922 h 1240128"/>
              <a:gd name="csX44" fmla="*/ 230149 w 697572"/>
              <a:gd name="csY44" fmla="*/ 332979 h 1240128"/>
              <a:gd name="csX45" fmla="*/ 227053 w 697572"/>
              <a:gd name="csY45" fmla="*/ 327076 h 1240128"/>
              <a:gd name="csX46" fmla="*/ 196769 w 697572"/>
              <a:gd name="csY46" fmla="*/ 291380 h 1240128"/>
              <a:gd name="csX47" fmla="*/ 184389 w 697572"/>
              <a:gd name="csY47" fmla="*/ 264042 h 1240128"/>
              <a:gd name="csX48" fmla="*/ 180630 w 697572"/>
              <a:gd name="csY48" fmla="*/ 257839 h 1240128"/>
              <a:gd name="csX49" fmla="*/ 176231 w 697572"/>
              <a:gd name="csY49" fmla="*/ 250643 h 1240128"/>
              <a:gd name="csX50" fmla="*/ 170073 w 697572"/>
              <a:gd name="csY50" fmla="*/ 146723 h 1240128"/>
              <a:gd name="csX51" fmla="*/ 180929 w 697572"/>
              <a:gd name="csY51" fmla="*/ 114280 h 1240128"/>
              <a:gd name="csX52" fmla="*/ 180839 w 697572"/>
              <a:gd name="csY52" fmla="*/ 101501 h 1240128"/>
              <a:gd name="csX53" fmla="*/ 233536 w 697572"/>
              <a:gd name="csY53" fmla="*/ 39653 h 1240128"/>
              <a:gd name="csX54" fmla="*/ 347618 w 697572"/>
              <a:gd name="csY54" fmla="*/ 35 h 1240128"/>
              <a:gd name="csX55" fmla="*/ 437139 w 697572"/>
              <a:gd name="csY55" fmla="*/ 22396 h 1240128"/>
              <a:gd name="csX56" fmla="*/ 529052 w 697572"/>
              <a:gd name="csY56" fmla="*/ 131093 h 1240128"/>
              <a:gd name="csX57" fmla="*/ 518497 w 697572"/>
              <a:gd name="csY57" fmla="*/ 271517 h 1240128"/>
              <a:gd name="csX58" fmla="*/ 500808 w 697572"/>
              <a:gd name="csY58" fmla="*/ 287385 h 1240128"/>
              <a:gd name="csX59" fmla="*/ 472948 w 697572"/>
              <a:gd name="csY59" fmla="*/ 323290 h 1240128"/>
              <a:gd name="csX60" fmla="*/ 469385 w 697572"/>
              <a:gd name="csY60" fmla="*/ 331565 h 1240128"/>
              <a:gd name="csX61" fmla="*/ 468293 w 697572"/>
              <a:gd name="csY61" fmla="*/ 331320 h 1240128"/>
              <a:gd name="csX62" fmla="*/ 459542 w 697572"/>
              <a:gd name="csY62" fmla="*/ 338942 h 1240128"/>
              <a:gd name="csX63" fmla="*/ 458492 w 697572"/>
              <a:gd name="csY63" fmla="*/ 338671 h 1240128"/>
              <a:gd name="csX64" fmla="*/ 436978 w 697572"/>
              <a:gd name="csY64" fmla="*/ 352226 h 1240128"/>
              <a:gd name="csX65" fmla="*/ 472329 w 697572"/>
              <a:gd name="csY65" fmla="*/ 362890 h 1240128"/>
              <a:gd name="csX66" fmla="*/ 523779 w 697572"/>
              <a:gd name="csY66" fmla="*/ 391962 h 1240128"/>
              <a:gd name="csX67" fmla="*/ 527344 w 697572"/>
              <a:gd name="csY67" fmla="*/ 430096 h 1240128"/>
              <a:gd name="csX68" fmla="*/ 504112 w 697572"/>
              <a:gd name="csY68" fmla="*/ 449628 h 1240128"/>
              <a:gd name="csX69" fmla="*/ 459430 w 697572"/>
              <a:gd name="csY69" fmla="*/ 461116 h 1240128"/>
              <a:gd name="csX70" fmla="*/ 446666 w 697572"/>
              <a:gd name="csY70" fmla="*/ 474229 h 1240128"/>
              <a:gd name="csX71" fmla="*/ 449133 w 697572"/>
              <a:gd name="csY71" fmla="*/ 531639 h 1240128"/>
              <a:gd name="csX72" fmla="*/ 454546 w 697572"/>
              <a:gd name="csY72" fmla="*/ 588688 h 1240128"/>
              <a:gd name="csX73" fmla="*/ 466126 w 697572"/>
              <a:gd name="csY73" fmla="*/ 649736 h 1240128"/>
              <a:gd name="csX74" fmla="*/ 512154 w 697572"/>
              <a:gd name="csY74" fmla="*/ 794006 h 1240128"/>
              <a:gd name="csX75" fmla="*/ 525763 w 697572"/>
              <a:gd name="csY75" fmla="*/ 834323 h 1240128"/>
              <a:gd name="csX76" fmla="*/ 530555 w 697572"/>
              <a:gd name="csY76" fmla="*/ 845114 h 1240128"/>
              <a:gd name="csX77" fmla="*/ 554424 w 697572"/>
              <a:gd name="csY77" fmla="*/ 856618 h 1240128"/>
              <a:gd name="csX78" fmla="*/ 572880 w 697572"/>
              <a:gd name="csY78" fmla="*/ 862546 h 1240128"/>
              <a:gd name="csX79" fmla="*/ 578643 w 697572"/>
              <a:gd name="csY79" fmla="*/ 880396 h 1240128"/>
              <a:gd name="csX80" fmla="*/ 572188 w 697572"/>
              <a:gd name="csY80" fmla="*/ 899820 h 1240128"/>
              <a:gd name="csX81" fmla="*/ 582698 w 697572"/>
              <a:gd name="csY81" fmla="*/ 930382 h 1240128"/>
              <a:gd name="csX82" fmla="*/ 604747 w 697572"/>
              <a:gd name="csY82" fmla="*/ 960852 h 1240128"/>
              <a:gd name="csX83" fmla="*/ 613863 w 697572"/>
              <a:gd name="csY83" fmla="*/ 968311 h 1240128"/>
              <a:gd name="csX84" fmla="*/ 629435 w 697572"/>
              <a:gd name="csY84" fmla="*/ 981186 h 1240128"/>
              <a:gd name="csX85" fmla="*/ 633611 w 697572"/>
              <a:gd name="csY85" fmla="*/ 985609 h 1240128"/>
              <a:gd name="csX86" fmla="*/ 673790 w 697572"/>
              <a:gd name="csY86" fmla="*/ 1049348 h 1240128"/>
              <a:gd name="csX87" fmla="*/ 675873 w 697572"/>
              <a:gd name="csY87" fmla="*/ 1092839 h 1240128"/>
              <a:gd name="csX88" fmla="*/ 681668 w 697572"/>
              <a:gd name="csY88" fmla="*/ 1129292 h 1240128"/>
              <a:gd name="csX89" fmla="*/ 697338 w 697572"/>
              <a:gd name="csY89" fmla="*/ 1196079 h 1240128"/>
              <a:gd name="csX90" fmla="*/ 690637 w 697572"/>
              <a:gd name="csY90" fmla="*/ 1205035 h 1240128"/>
              <a:gd name="csX91" fmla="*/ 639777 w 697572"/>
              <a:gd name="csY91" fmla="*/ 1217994 h 1240128"/>
              <a:gd name="csX92" fmla="*/ 587072 w 697572"/>
              <a:gd name="csY92" fmla="*/ 1227761 h 1240128"/>
              <a:gd name="csX93" fmla="*/ 581793 w 697572"/>
              <a:gd name="csY93" fmla="*/ 1234401 h 1240128"/>
              <a:gd name="csX94" fmla="*/ 357446 w 697572"/>
              <a:gd name="csY94" fmla="*/ 903795 h 1240128"/>
              <a:gd name="csX95" fmla="*/ 344445 w 697572"/>
              <a:gd name="csY95" fmla="*/ 903795 h 1240128"/>
              <a:gd name="csX96" fmla="*/ 349212 w 697572"/>
              <a:gd name="csY96" fmla="*/ 950515 h 1240128"/>
              <a:gd name="csX97" fmla="*/ 349538 w 697572"/>
              <a:gd name="csY97" fmla="*/ 1069392 h 1240128"/>
              <a:gd name="csX98" fmla="*/ 349415 w 697572"/>
              <a:gd name="csY98" fmla="*/ 1108925 h 1240128"/>
              <a:gd name="csX99" fmla="*/ 647726 w 697572"/>
              <a:gd name="csY99" fmla="*/ 1089872 h 1240128"/>
              <a:gd name="csX100" fmla="*/ 647654 w 697572"/>
              <a:gd name="csY100" fmla="*/ 1076267 h 1240128"/>
              <a:gd name="csX101" fmla="*/ 610267 w 697572"/>
              <a:gd name="csY101" fmla="*/ 994126 h 1240128"/>
              <a:gd name="csX102" fmla="*/ 571459 w 697572"/>
              <a:gd name="csY102" fmla="*/ 956568 h 1240128"/>
              <a:gd name="csX103" fmla="*/ 541653 w 697572"/>
              <a:gd name="csY103" fmla="*/ 901544 h 1240128"/>
              <a:gd name="csX104" fmla="*/ 539477 w 697572"/>
              <a:gd name="csY104" fmla="*/ 895908 h 1240128"/>
              <a:gd name="csX105" fmla="*/ 357446 w 697572"/>
              <a:gd name="csY105" fmla="*/ 903795 h 1240128"/>
              <a:gd name="csX106" fmla="*/ 300108 w 697572"/>
              <a:gd name="csY106" fmla="*/ 85260 h 1240128"/>
              <a:gd name="csX107" fmla="*/ 290213 w 697572"/>
              <a:gd name="csY107" fmla="*/ 127888 h 1240128"/>
              <a:gd name="csX108" fmla="*/ 331056 w 697572"/>
              <a:gd name="csY108" fmla="*/ 214168 h 1240128"/>
              <a:gd name="csX109" fmla="*/ 424717 w 697572"/>
              <a:gd name="csY109" fmla="*/ 245160 h 1240128"/>
              <a:gd name="csX110" fmla="*/ 496752 w 697572"/>
              <a:gd name="csY110" fmla="*/ 141256 h 1240128"/>
              <a:gd name="csX111" fmla="*/ 390320 w 697572"/>
              <a:gd name="csY111" fmla="*/ 43995 h 1240128"/>
              <a:gd name="csX112" fmla="*/ 300108 w 697572"/>
              <a:gd name="csY112" fmla="*/ 85260 h 1240128"/>
              <a:gd name="csX113" fmla="*/ 343360 w 697572"/>
              <a:gd name="csY113" fmla="*/ 634332 h 1240128"/>
              <a:gd name="csX114" fmla="*/ 340877 w 697572"/>
              <a:gd name="csY114" fmla="*/ 732259 h 1240128"/>
              <a:gd name="csX115" fmla="*/ 338360 w 697572"/>
              <a:gd name="csY115" fmla="*/ 810538 h 1240128"/>
              <a:gd name="csX116" fmla="*/ 337115 w 697572"/>
              <a:gd name="csY116" fmla="*/ 817736 h 1240128"/>
              <a:gd name="csX117" fmla="*/ 336516 w 697572"/>
              <a:gd name="csY117" fmla="*/ 863022 h 1240128"/>
              <a:gd name="csX118" fmla="*/ 343436 w 697572"/>
              <a:gd name="csY118" fmla="*/ 864027 h 1240128"/>
              <a:gd name="csX119" fmla="*/ 406718 w 697572"/>
              <a:gd name="csY119" fmla="*/ 862982 h 1240128"/>
              <a:gd name="csX120" fmla="*/ 456888 w 697572"/>
              <a:gd name="csY120" fmla="*/ 861794 h 1240128"/>
              <a:gd name="csX121" fmla="*/ 495873 w 697572"/>
              <a:gd name="csY121" fmla="*/ 863963 h 1240128"/>
              <a:gd name="csX122" fmla="*/ 509286 w 697572"/>
              <a:gd name="csY122" fmla="*/ 863595 h 1240128"/>
              <a:gd name="csX123" fmla="*/ 516956 w 697572"/>
              <a:gd name="csY123" fmla="*/ 856791 h 1240128"/>
              <a:gd name="csX124" fmla="*/ 513920 w 697572"/>
              <a:gd name="csY124" fmla="*/ 848709 h 1240128"/>
              <a:gd name="csX125" fmla="*/ 506683 w 697572"/>
              <a:gd name="csY125" fmla="*/ 839054 h 1240128"/>
              <a:gd name="csX126" fmla="*/ 488629 w 697572"/>
              <a:gd name="csY126" fmla="*/ 799037 h 1240128"/>
              <a:gd name="csX127" fmla="*/ 456922 w 697572"/>
              <a:gd name="csY127" fmla="*/ 696297 h 1240128"/>
              <a:gd name="csX128" fmla="*/ 441346 w 697572"/>
              <a:gd name="csY128" fmla="*/ 619885 h 1240128"/>
              <a:gd name="csX129" fmla="*/ 435963 w 697572"/>
              <a:gd name="csY129" fmla="*/ 582529 h 1240128"/>
              <a:gd name="csX130" fmla="*/ 429497 w 697572"/>
              <a:gd name="csY130" fmla="*/ 521990 h 1240128"/>
              <a:gd name="csX131" fmla="*/ 426887 w 697572"/>
              <a:gd name="csY131" fmla="*/ 471989 h 1240128"/>
              <a:gd name="csX132" fmla="*/ 413744 w 697572"/>
              <a:gd name="csY132" fmla="*/ 461077 h 1240128"/>
              <a:gd name="csX133" fmla="*/ 353573 w 697572"/>
              <a:gd name="csY133" fmla="*/ 461120 h 1240128"/>
              <a:gd name="csX134" fmla="*/ 344160 w 697572"/>
              <a:gd name="csY134" fmla="*/ 462286 h 1240128"/>
              <a:gd name="csX135" fmla="*/ 343404 w 697572"/>
              <a:gd name="csY135" fmla="*/ 469192 h 1240128"/>
              <a:gd name="csX136" fmla="*/ 343469 w 697572"/>
              <a:gd name="csY136" fmla="*/ 574797 h 1240128"/>
              <a:gd name="csX137" fmla="*/ 345522 w 697572"/>
              <a:gd name="csY137" fmla="*/ 591669 h 1240128"/>
              <a:gd name="csX138" fmla="*/ 343360 w 697572"/>
              <a:gd name="csY138" fmla="*/ 634332 h 1240128"/>
              <a:gd name="csX139" fmla="*/ 416946 w 697572"/>
              <a:gd name="csY139" fmla="*/ 385943 h 1240128"/>
              <a:gd name="csX140" fmla="*/ 401091 w 697572"/>
              <a:gd name="csY140" fmla="*/ 387162 h 1240128"/>
              <a:gd name="csX141" fmla="*/ 369218 w 697572"/>
              <a:gd name="csY141" fmla="*/ 387708 h 1240128"/>
              <a:gd name="csX142" fmla="*/ 351833 w 697572"/>
              <a:gd name="csY142" fmla="*/ 398991 h 1240128"/>
              <a:gd name="csX143" fmla="*/ 349778 w 697572"/>
              <a:gd name="csY143" fmla="*/ 426021 h 1240128"/>
              <a:gd name="csX144" fmla="*/ 361839 w 697572"/>
              <a:gd name="csY144" fmla="*/ 426538 h 1240128"/>
              <a:gd name="csX145" fmla="*/ 455022 w 697572"/>
              <a:gd name="csY145" fmla="*/ 426922 h 1240128"/>
              <a:gd name="csX146" fmla="*/ 481958 w 697572"/>
              <a:gd name="csY146" fmla="*/ 426527 h 1240128"/>
              <a:gd name="csX147" fmla="*/ 499817 w 697572"/>
              <a:gd name="csY147" fmla="*/ 419888 h 1240128"/>
              <a:gd name="csX148" fmla="*/ 499439 w 697572"/>
              <a:gd name="csY148" fmla="*/ 400719 h 1240128"/>
              <a:gd name="csX149" fmla="*/ 468062 w 697572"/>
              <a:gd name="csY149" fmla="*/ 387775 h 1240128"/>
              <a:gd name="csX150" fmla="*/ 416946 w 697572"/>
              <a:gd name="csY150" fmla="*/ 385943 h 1240128"/>
              <a:gd name="csX151" fmla="*/ 636802 w 697572"/>
              <a:gd name="csY151" fmla="*/ 1190940 h 1240128"/>
              <a:gd name="csX152" fmla="*/ 666492 w 697572"/>
              <a:gd name="csY152" fmla="*/ 1184186 h 1240128"/>
              <a:gd name="csX153" fmla="*/ 674465 w 697572"/>
              <a:gd name="csY153" fmla="*/ 1170880 h 1240128"/>
              <a:gd name="csX154" fmla="*/ 662462 w 697572"/>
              <a:gd name="csY154" fmla="*/ 1141464 h 1240128"/>
              <a:gd name="csX155" fmla="*/ 645564 w 697572"/>
              <a:gd name="csY155" fmla="*/ 1131937 h 1240128"/>
              <a:gd name="csX156" fmla="*/ 627387 w 697572"/>
              <a:gd name="csY156" fmla="*/ 1133618 h 1240128"/>
              <a:gd name="csX157" fmla="*/ 583917 w 697572"/>
              <a:gd name="csY157" fmla="*/ 1139222 h 1240128"/>
              <a:gd name="csX158" fmla="*/ 543741 w 697572"/>
              <a:gd name="csY158" fmla="*/ 1141869 h 1240128"/>
              <a:gd name="csX159" fmla="*/ 512146 w 697572"/>
              <a:gd name="csY159" fmla="*/ 1144418 h 1240128"/>
              <a:gd name="csX160" fmla="*/ 447711 w 697572"/>
              <a:gd name="csY160" fmla="*/ 1148973 h 1240128"/>
              <a:gd name="csX161" fmla="*/ 351979 w 697572"/>
              <a:gd name="csY161" fmla="*/ 1149200 h 1240128"/>
              <a:gd name="csX162" fmla="*/ 338443 w 697572"/>
              <a:gd name="csY162" fmla="*/ 1150040 h 1240128"/>
              <a:gd name="csX163" fmla="*/ 338451 w 697572"/>
              <a:gd name="csY163" fmla="*/ 1190780 h 1240128"/>
              <a:gd name="csX164" fmla="*/ 351082 w 697572"/>
              <a:gd name="csY164" fmla="*/ 1207015 h 1240128"/>
              <a:gd name="csX165" fmla="*/ 358298 w 697572"/>
              <a:gd name="csY165" fmla="*/ 1208094 h 1240128"/>
              <a:gd name="csX166" fmla="*/ 521229 w 697572"/>
              <a:gd name="csY166" fmla="*/ 1205646 h 1240128"/>
              <a:gd name="csX167" fmla="*/ 523675 w 697572"/>
              <a:gd name="csY167" fmla="*/ 1205490 h 1240128"/>
              <a:gd name="csX168" fmla="*/ 580423 w 697572"/>
              <a:gd name="csY168" fmla="*/ 1198350 h 1240128"/>
              <a:gd name="csX169" fmla="*/ 636802 w 697572"/>
              <a:gd name="csY169" fmla="*/ 1190940 h 124012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</a:cxnLst>
            <a:rect l="l" t="t" r="r" b="b"/>
            <a:pathLst>
              <a:path w="697572" h="1240128">
                <a:moveTo>
                  <a:pt x="581793" y="1234401"/>
                </a:moveTo>
                <a:cubicBezTo>
                  <a:pt x="580693" y="1234661"/>
                  <a:pt x="579594" y="1234922"/>
                  <a:pt x="577427" y="1234156"/>
                </a:cubicBezTo>
                <a:cubicBezTo>
                  <a:pt x="571216" y="1227899"/>
                  <a:pt x="564912" y="1230441"/>
                  <a:pt x="559133" y="1230909"/>
                </a:cubicBezTo>
                <a:cubicBezTo>
                  <a:pt x="544971" y="1232056"/>
                  <a:pt x="530869" y="1233971"/>
                  <a:pt x="516706" y="1235117"/>
                </a:cubicBezTo>
                <a:cubicBezTo>
                  <a:pt x="502910" y="1236232"/>
                  <a:pt x="489077" y="1237097"/>
                  <a:pt x="475244" y="1237506"/>
                </a:cubicBezTo>
                <a:cubicBezTo>
                  <a:pt x="440539" y="1238535"/>
                  <a:pt x="405696" y="1241458"/>
                  <a:pt x="371154" y="1239428"/>
                </a:cubicBezTo>
                <a:cubicBezTo>
                  <a:pt x="339645" y="1237575"/>
                  <a:pt x="308239" y="1238753"/>
                  <a:pt x="276813" y="1237654"/>
                </a:cubicBezTo>
                <a:cubicBezTo>
                  <a:pt x="273949" y="1237553"/>
                  <a:pt x="271079" y="1237652"/>
                  <a:pt x="268212" y="1237635"/>
                </a:cubicBezTo>
                <a:cubicBezTo>
                  <a:pt x="266165" y="1237623"/>
                  <a:pt x="264111" y="1237668"/>
                  <a:pt x="262072" y="1237523"/>
                </a:cubicBezTo>
                <a:cubicBezTo>
                  <a:pt x="239751" y="1235944"/>
                  <a:pt x="217441" y="1234201"/>
                  <a:pt x="195111" y="1232775"/>
                </a:cubicBezTo>
                <a:cubicBezTo>
                  <a:pt x="178437" y="1231710"/>
                  <a:pt x="161712" y="1231378"/>
                  <a:pt x="145060" y="1230076"/>
                </a:cubicBezTo>
                <a:cubicBezTo>
                  <a:pt x="134969" y="1229287"/>
                  <a:pt x="124987" y="1227177"/>
                  <a:pt x="114933" y="1225832"/>
                </a:cubicBezTo>
                <a:cubicBezTo>
                  <a:pt x="100834" y="1223946"/>
                  <a:pt x="86554" y="1223022"/>
                  <a:pt x="72642" y="1220237"/>
                </a:cubicBezTo>
                <a:cubicBezTo>
                  <a:pt x="51920" y="1216091"/>
                  <a:pt x="31443" y="1210723"/>
                  <a:pt x="10894" y="1205737"/>
                </a:cubicBezTo>
                <a:cubicBezTo>
                  <a:pt x="9027" y="1205284"/>
                  <a:pt x="6196" y="1204140"/>
                  <a:pt x="5856" y="1202799"/>
                </a:cubicBezTo>
                <a:cubicBezTo>
                  <a:pt x="3474" y="1193418"/>
                  <a:pt x="-438" y="1183796"/>
                  <a:pt x="40" y="1174450"/>
                </a:cubicBezTo>
                <a:cubicBezTo>
                  <a:pt x="1079" y="1154149"/>
                  <a:pt x="9757" y="1135843"/>
                  <a:pt x="19831" y="1118410"/>
                </a:cubicBezTo>
                <a:cubicBezTo>
                  <a:pt x="21968" y="1114713"/>
                  <a:pt x="22970" y="1111858"/>
                  <a:pt x="22004" y="1107240"/>
                </a:cubicBezTo>
                <a:cubicBezTo>
                  <a:pt x="17168" y="1084118"/>
                  <a:pt x="17717" y="1061168"/>
                  <a:pt x="25947" y="1038650"/>
                </a:cubicBezTo>
                <a:cubicBezTo>
                  <a:pt x="32954" y="1019481"/>
                  <a:pt x="44478" y="1003118"/>
                  <a:pt x="58234" y="988567"/>
                </a:cubicBezTo>
                <a:cubicBezTo>
                  <a:pt x="77769" y="967902"/>
                  <a:pt x="97978" y="947832"/>
                  <a:pt x="118645" y="928298"/>
                </a:cubicBezTo>
                <a:cubicBezTo>
                  <a:pt x="130104" y="917467"/>
                  <a:pt x="131835" y="905961"/>
                  <a:pt x="126320" y="892015"/>
                </a:cubicBezTo>
                <a:cubicBezTo>
                  <a:pt x="123798" y="885637"/>
                  <a:pt x="122123" y="878904"/>
                  <a:pt x="120345" y="872258"/>
                </a:cubicBezTo>
                <a:cubicBezTo>
                  <a:pt x="119029" y="867341"/>
                  <a:pt x="120162" y="863613"/>
                  <a:pt x="125668" y="861640"/>
                </a:cubicBezTo>
                <a:cubicBezTo>
                  <a:pt x="135266" y="858201"/>
                  <a:pt x="144535" y="853788"/>
                  <a:pt x="154237" y="850716"/>
                </a:cubicBezTo>
                <a:cubicBezTo>
                  <a:pt x="161882" y="848296"/>
                  <a:pt x="167110" y="843897"/>
                  <a:pt x="170248" y="836767"/>
                </a:cubicBezTo>
                <a:cubicBezTo>
                  <a:pt x="176168" y="823316"/>
                  <a:pt x="182193" y="809907"/>
                  <a:pt x="187840" y="796341"/>
                </a:cubicBezTo>
                <a:cubicBezTo>
                  <a:pt x="195194" y="778679"/>
                  <a:pt x="202250" y="760894"/>
                  <a:pt x="209346" y="743126"/>
                </a:cubicBezTo>
                <a:cubicBezTo>
                  <a:pt x="210083" y="741280"/>
                  <a:pt x="210252" y="739200"/>
                  <a:pt x="210630" y="737219"/>
                </a:cubicBezTo>
                <a:cubicBezTo>
                  <a:pt x="211694" y="731645"/>
                  <a:pt x="212425" y="725987"/>
                  <a:pt x="213836" y="720505"/>
                </a:cubicBezTo>
                <a:cubicBezTo>
                  <a:pt x="218406" y="702764"/>
                  <a:pt x="223811" y="685219"/>
                  <a:pt x="227791" y="667353"/>
                </a:cubicBezTo>
                <a:cubicBezTo>
                  <a:pt x="232826" y="644755"/>
                  <a:pt x="237367" y="622009"/>
                  <a:pt x="241013" y="599151"/>
                </a:cubicBezTo>
                <a:cubicBezTo>
                  <a:pt x="244018" y="580319"/>
                  <a:pt x="246001" y="561272"/>
                  <a:pt x="247322" y="542242"/>
                </a:cubicBezTo>
                <a:cubicBezTo>
                  <a:pt x="248312" y="527975"/>
                  <a:pt x="246344" y="513451"/>
                  <a:pt x="247948" y="499296"/>
                </a:cubicBezTo>
                <a:cubicBezTo>
                  <a:pt x="249066" y="489432"/>
                  <a:pt x="247923" y="480014"/>
                  <a:pt x="247577" y="470384"/>
                </a:cubicBezTo>
                <a:cubicBezTo>
                  <a:pt x="247364" y="464453"/>
                  <a:pt x="245121" y="461397"/>
                  <a:pt x="238877" y="460987"/>
                </a:cubicBezTo>
                <a:cubicBezTo>
                  <a:pt x="233224" y="460615"/>
                  <a:pt x="227461" y="459920"/>
                  <a:pt x="222040" y="458353"/>
                </a:cubicBezTo>
                <a:cubicBezTo>
                  <a:pt x="203991" y="453134"/>
                  <a:pt x="185737" y="448229"/>
                  <a:pt x="172193" y="433714"/>
                </a:cubicBezTo>
                <a:cubicBezTo>
                  <a:pt x="162702" y="423544"/>
                  <a:pt x="160887" y="408134"/>
                  <a:pt x="168410" y="396591"/>
                </a:cubicBezTo>
                <a:cubicBezTo>
                  <a:pt x="178294" y="381428"/>
                  <a:pt x="193736" y="373793"/>
                  <a:pt x="209826" y="367773"/>
                </a:cubicBezTo>
                <a:cubicBezTo>
                  <a:pt x="223159" y="362784"/>
                  <a:pt x="237124" y="359493"/>
                  <a:pt x="250732" y="355208"/>
                </a:cubicBezTo>
                <a:cubicBezTo>
                  <a:pt x="253085" y="354467"/>
                  <a:pt x="255058" y="352518"/>
                  <a:pt x="258289" y="350426"/>
                </a:cubicBezTo>
                <a:cubicBezTo>
                  <a:pt x="250173" y="342610"/>
                  <a:pt x="241833" y="337880"/>
                  <a:pt x="233274" y="333513"/>
                </a:cubicBezTo>
                <a:cubicBezTo>
                  <a:pt x="232377" y="333055"/>
                  <a:pt x="230890" y="333758"/>
                  <a:pt x="229677" y="333922"/>
                </a:cubicBezTo>
                <a:cubicBezTo>
                  <a:pt x="229677" y="333922"/>
                  <a:pt x="230323" y="333834"/>
                  <a:pt x="230149" y="332979"/>
                </a:cubicBezTo>
                <a:cubicBezTo>
                  <a:pt x="229023" y="330409"/>
                  <a:pt x="228502" y="328059"/>
                  <a:pt x="227053" y="327076"/>
                </a:cubicBezTo>
                <a:cubicBezTo>
                  <a:pt x="213615" y="317962"/>
                  <a:pt x="204643" y="305332"/>
                  <a:pt x="196769" y="291380"/>
                </a:cubicBezTo>
                <a:cubicBezTo>
                  <a:pt x="191792" y="282564"/>
                  <a:pt x="185421" y="274665"/>
                  <a:pt x="184389" y="264042"/>
                </a:cubicBezTo>
                <a:cubicBezTo>
                  <a:pt x="184179" y="261874"/>
                  <a:pt x="181925" y="259908"/>
                  <a:pt x="180630" y="257839"/>
                </a:cubicBezTo>
                <a:cubicBezTo>
                  <a:pt x="179137" y="255454"/>
                  <a:pt x="177317" y="253204"/>
                  <a:pt x="176231" y="250643"/>
                </a:cubicBezTo>
                <a:cubicBezTo>
                  <a:pt x="161865" y="216749"/>
                  <a:pt x="159606" y="182060"/>
                  <a:pt x="170073" y="146723"/>
                </a:cubicBezTo>
                <a:cubicBezTo>
                  <a:pt x="173311" y="135795"/>
                  <a:pt x="177248" y="125074"/>
                  <a:pt x="180929" y="114280"/>
                </a:cubicBezTo>
                <a:cubicBezTo>
                  <a:pt x="182396" y="109981"/>
                  <a:pt x="183922" y="105742"/>
                  <a:pt x="180839" y="101501"/>
                </a:cubicBezTo>
                <a:cubicBezTo>
                  <a:pt x="192473" y="75833"/>
                  <a:pt x="211344" y="56271"/>
                  <a:pt x="233536" y="39653"/>
                </a:cubicBezTo>
                <a:cubicBezTo>
                  <a:pt x="267321" y="14353"/>
                  <a:pt x="305621" y="873"/>
                  <a:pt x="347618" y="35"/>
                </a:cubicBezTo>
                <a:cubicBezTo>
                  <a:pt x="379125" y="-593"/>
                  <a:pt x="409214" y="7172"/>
                  <a:pt x="437139" y="22396"/>
                </a:cubicBezTo>
                <a:cubicBezTo>
                  <a:pt x="481844" y="46766"/>
                  <a:pt x="514077" y="82116"/>
                  <a:pt x="529052" y="131093"/>
                </a:cubicBezTo>
                <a:cubicBezTo>
                  <a:pt x="543544" y="178495"/>
                  <a:pt x="541630" y="225548"/>
                  <a:pt x="518497" y="271517"/>
                </a:cubicBezTo>
                <a:cubicBezTo>
                  <a:pt x="511428" y="277096"/>
                  <a:pt x="503848" y="281136"/>
                  <a:pt x="500808" y="287385"/>
                </a:cubicBezTo>
                <a:cubicBezTo>
                  <a:pt x="493932" y="301522"/>
                  <a:pt x="483805" y="312513"/>
                  <a:pt x="472948" y="323290"/>
                </a:cubicBezTo>
                <a:cubicBezTo>
                  <a:pt x="470972" y="325253"/>
                  <a:pt x="470533" y="328767"/>
                  <a:pt x="469385" y="331565"/>
                </a:cubicBezTo>
                <a:cubicBezTo>
                  <a:pt x="469385" y="331565"/>
                  <a:pt x="469172" y="331584"/>
                  <a:pt x="468293" y="331320"/>
                </a:cubicBezTo>
                <a:cubicBezTo>
                  <a:pt x="461937" y="330836"/>
                  <a:pt x="458618" y="332772"/>
                  <a:pt x="459542" y="338942"/>
                </a:cubicBezTo>
                <a:cubicBezTo>
                  <a:pt x="459542" y="338942"/>
                  <a:pt x="459473" y="338913"/>
                  <a:pt x="458492" y="338671"/>
                </a:cubicBezTo>
                <a:cubicBezTo>
                  <a:pt x="450936" y="342653"/>
                  <a:pt x="440712" y="341355"/>
                  <a:pt x="436978" y="352226"/>
                </a:cubicBezTo>
                <a:cubicBezTo>
                  <a:pt x="449178" y="355911"/>
                  <a:pt x="460733" y="359469"/>
                  <a:pt x="472329" y="362890"/>
                </a:cubicBezTo>
                <a:cubicBezTo>
                  <a:pt x="491728" y="368613"/>
                  <a:pt x="510182" y="375784"/>
                  <a:pt x="523779" y="391962"/>
                </a:cubicBezTo>
                <a:cubicBezTo>
                  <a:pt x="535849" y="406326"/>
                  <a:pt x="534845" y="420076"/>
                  <a:pt x="527344" y="430096"/>
                </a:cubicBezTo>
                <a:cubicBezTo>
                  <a:pt x="521323" y="438139"/>
                  <a:pt x="513928" y="445333"/>
                  <a:pt x="504112" y="449628"/>
                </a:cubicBezTo>
                <a:cubicBezTo>
                  <a:pt x="489776" y="455901"/>
                  <a:pt x="475173" y="460486"/>
                  <a:pt x="459430" y="461116"/>
                </a:cubicBezTo>
                <a:cubicBezTo>
                  <a:pt x="448415" y="461557"/>
                  <a:pt x="446384" y="463369"/>
                  <a:pt x="446666" y="474229"/>
                </a:cubicBezTo>
                <a:cubicBezTo>
                  <a:pt x="447164" y="493376"/>
                  <a:pt x="447839" y="512533"/>
                  <a:pt x="449133" y="531639"/>
                </a:cubicBezTo>
                <a:cubicBezTo>
                  <a:pt x="450424" y="550696"/>
                  <a:pt x="451783" y="569809"/>
                  <a:pt x="454546" y="588688"/>
                </a:cubicBezTo>
                <a:cubicBezTo>
                  <a:pt x="457543" y="609164"/>
                  <a:pt x="462165" y="629403"/>
                  <a:pt x="466126" y="649736"/>
                </a:cubicBezTo>
                <a:cubicBezTo>
                  <a:pt x="475845" y="699621"/>
                  <a:pt x="493414" y="746980"/>
                  <a:pt x="512154" y="794006"/>
                </a:cubicBezTo>
                <a:cubicBezTo>
                  <a:pt x="517387" y="807138"/>
                  <a:pt x="525145" y="819463"/>
                  <a:pt x="525763" y="834323"/>
                </a:cubicBezTo>
                <a:cubicBezTo>
                  <a:pt x="525919" y="838081"/>
                  <a:pt x="527739" y="843335"/>
                  <a:pt x="530555" y="845114"/>
                </a:cubicBezTo>
                <a:cubicBezTo>
                  <a:pt x="537981" y="849801"/>
                  <a:pt x="546243" y="853278"/>
                  <a:pt x="554424" y="856618"/>
                </a:cubicBezTo>
                <a:cubicBezTo>
                  <a:pt x="560391" y="859054"/>
                  <a:pt x="567041" y="859887"/>
                  <a:pt x="572880" y="862546"/>
                </a:cubicBezTo>
                <a:cubicBezTo>
                  <a:pt x="581470" y="866458"/>
                  <a:pt x="582467" y="871415"/>
                  <a:pt x="578643" y="880396"/>
                </a:cubicBezTo>
                <a:cubicBezTo>
                  <a:pt x="575969" y="886677"/>
                  <a:pt x="572900" y="893182"/>
                  <a:pt x="572188" y="899820"/>
                </a:cubicBezTo>
                <a:cubicBezTo>
                  <a:pt x="570960" y="911271"/>
                  <a:pt x="576506" y="920944"/>
                  <a:pt x="582698" y="930382"/>
                </a:cubicBezTo>
                <a:cubicBezTo>
                  <a:pt x="589569" y="940856"/>
                  <a:pt x="600933" y="947930"/>
                  <a:pt x="604747" y="960852"/>
                </a:cubicBezTo>
                <a:cubicBezTo>
                  <a:pt x="605684" y="964030"/>
                  <a:pt x="610294" y="967128"/>
                  <a:pt x="613863" y="968311"/>
                </a:cubicBezTo>
                <a:cubicBezTo>
                  <a:pt x="620963" y="970665"/>
                  <a:pt x="625924" y="974774"/>
                  <a:pt x="629435" y="981186"/>
                </a:cubicBezTo>
                <a:cubicBezTo>
                  <a:pt x="630381" y="982913"/>
                  <a:pt x="631977" y="984459"/>
                  <a:pt x="633611" y="985609"/>
                </a:cubicBezTo>
                <a:cubicBezTo>
                  <a:pt x="655878" y="1001272"/>
                  <a:pt x="668032" y="1023762"/>
                  <a:pt x="673790" y="1049348"/>
                </a:cubicBezTo>
                <a:cubicBezTo>
                  <a:pt x="676936" y="1063327"/>
                  <a:pt x="679769" y="1077802"/>
                  <a:pt x="675873" y="1092839"/>
                </a:cubicBezTo>
                <a:cubicBezTo>
                  <a:pt x="672677" y="1105174"/>
                  <a:pt x="673042" y="1116963"/>
                  <a:pt x="681668" y="1129292"/>
                </a:cubicBezTo>
                <a:cubicBezTo>
                  <a:pt x="695321" y="1148802"/>
                  <a:pt x="698550" y="1172235"/>
                  <a:pt x="697338" y="1196079"/>
                </a:cubicBezTo>
                <a:cubicBezTo>
                  <a:pt x="697087" y="1201014"/>
                  <a:pt x="694979" y="1203886"/>
                  <a:pt x="690637" y="1205035"/>
                </a:cubicBezTo>
                <a:cubicBezTo>
                  <a:pt x="673723" y="1209511"/>
                  <a:pt x="656856" y="1214241"/>
                  <a:pt x="639777" y="1217994"/>
                </a:cubicBezTo>
                <a:cubicBezTo>
                  <a:pt x="622334" y="1221827"/>
                  <a:pt x="604691" y="1224790"/>
                  <a:pt x="587072" y="1227761"/>
                </a:cubicBezTo>
                <a:cubicBezTo>
                  <a:pt x="582708" y="1228497"/>
                  <a:pt x="581724" y="1230736"/>
                  <a:pt x="581793" y="1234401"/>
                </a:cubicBezTo>
                <a:moveTo>
                  <a:pt x="357446" y="903795"/>
                </a:moveTo>
                <a:cubicBezTo>
                  <a:pt x="353141" y="903795"/>
                  <a:pt x="348835" y="903795"/>
                  <a:pt x="344445" y="903795"/>
                </a:cubicBezTo>
                <a:cubicBezTo>
                  <a:pt x="346169" y="920562"/>
                  <a:pt x="347908" y="935520"/>
                  <a:pt x="349212" y="950515"/>
                </a:cubicBezTo>
                <a:cubicBezTo>
                  <a:pt x="352656" y="990125"/>
                  <a:pt x="351941" y="1029743"/>
                  <a:pt x="349538" y="1069392"/>
                </a:cubicBezTo>
                <a:cubicBezTo>
                  <a:pt x="348759" y="1082241"/>
                  <a:pt x="349415" y="1095176"/>
                  <a:pt x="349415" y="1108925"/>
                </a:cubicBezTo>
                <a:cubicBezTo>
                  <a:pt x="449467" y="1111953"/>
                  <a:pt x="548509" y="1104712"/>
                  <a:pt x="647726" y="1089872"/>
                </a:cubicBezTo>
                <a:cubicBezTo>
                  <a:pt x="647726" y="1084313"/>
                  <a:pt x="648180" y="1080225"/>
                  <a:pt x="647654" y="1076267"/>
                </a:cubicBezTo>
                <a:cubicBezTo>
                  <a:pt x="643515" y="1045124"/>
                  <a:pt x="633172" y="1016714"/>
                  <a:pt x="610267" y="994126"/>
                </a:cubicBezTo>
                <a:cubicBezTo>
                  <a:pt x="597451" y="981485"/>
                  <a:pt x="584392" y="969090"/>
                  <a:pt x="571459" y="956568"/>
                </a:cubicBezTo>
                <a:cubicBezTo>
                  <a:pt x="555751" y="941359"/>
                  <a:pt x="544836" y="923558"/>
                  <a:pt x="541653" y="901544"/>
                </a:cubicBezTo>
                <a:cubicBezTo>
                  <a:pt x="541430" y="900007"/>
                  <a:pt x="540528" y="898570"/>
                  <a:pt x="539477" y="895908"/>
                </a:cubicBezTo>
                <a:cubicBezTo>
                  <a:pt x="479736" y="901652"/>
                  <a:pt x="419815" y="904536"/>
                  <a:pt x="357446" y="903795"/>
                </a:cubicBezTo>
                <a:moveTo>
                  <a:pt x="300108" y="85260"/>
                </a:moveTo>
                <a:cubicBezTo>
                  <a:pt x="293656" y="98745"/>
                  <a:pt x="289202" y="113094"/>
                  <a:pt x="290213" y="127888"/>
                </a:cubicBezTo>
                <a:cubicBezTo>
                  <a:pt x="292527" y="161736"/>
                  <a:pt x="304185" y="191723"/>
                  <a:pt x="331056" y="214168"/>
                </a:cubicBezTo>
                <a:cubicBezTo>
                  <a:pt x="358172" y="236816"/>
                  <a:pt x="388435" y="249934"/>
                  <a:pt x="424717" y="245160"/>
                </a:cubicBezTo>
                <a:cubicBezTo>
                  <a:pt x="468593" y="239387"/>
                  <a:pt x="509574" y="203365"/>
                  <a:pt x="496752" y="141256"/>
                </a:cubicBezTo>
                <a:cubicBezTo>
                  <a:pt x="487021" y="94124"/>
                  <a:pt x="447261" y="51874"/>
                  <a:pt x="390320" y="43995"/>
                </a:cubicBezTo>
                <a:cubicBezTo>
                  <a:pt x="353241" y="38865"/>
                  <a:pt x="321136" y="48750"/>
                  <a:pt x="300108" y="85260"/>
                </a:cubicBezTo>
                <a:moveTo>
                  <a:pt x="343360" y="634332"/>
                </a:moveTo>
                <a:cubicBezTo>
                  <a:pt x="342539" y="666975"/>
                  <a:pt x="341785" y="699619"/>
                  <a:pt x="340877" y="732259"/>
                </a:cubicBezTo>
                <a:cubicBezTo>
                  <a:pt x="340151" y="758355"/>
                  <a:pt x="339265" y="784447"/>
                  <a:pt x="338360" y="810538"/>
                </a:cubicBezTo>
                <a:cubicBezTo>
                  <a:pt x="338277" y="812948"/>
                  <a:pt x="337465" y="815325"/>
                  <a:pt x="337115" y="817736"/>
                </a:cubicBezTo>
                <a:cubicBezTo>
                  <a:pt x="334935" y="832710"/>
                  <a:pt x="336026" y="847647"/>
                  <a:pt x="336516" y="863022"/>
                </a:cubicBezTo>
                <a:cubicBezTo>
                  <a:pt x="339537" y="863479"/>
                  <a:pt x="341490" y="864053"/>
                  <a:pt x="343436" y="864027"/>
                </a:cubicBezTo>
                <a:cubicBezTo>
                  <a:pt x="364531" y="863739"/>
                  <a:pt x="385626" y="863422"/>
                  <a:pt x="406718" y="862982"/>
                </a:cubicBezTo>
                <a:cubicBezTo>
                  <a:pt x="423444" y="862634"/>
                  <a:pt x="440168" y="861675"/>
                  <a:pt x="456888" y="861794"/>
                </a:cubicBezTo>
                <a:cubicBezTo>
                  <a:pt x="469887" y="861886"/>
                  <a:pt x="482872" y="863302"/>
                  <a:pt x="495873" y="863963"/>
                </a:cubicBezTo>
                <a:cubicBezTo>
                  <a:pt x="500358" y="864191"/>
                  <a:pt x="505108" y="864773"/>
                  <a:pt x="509286" y="863595"/>
                </a:cubicBezTo>
                <a:cubicBezTo>
                  <a:pt x="512346" y="862732"/>
                  <a:pt x="515714" y="859703"/>
                  <a:pt x="516956" y="856791"/>
                </a:cubicBezTo>
                <a:cubicBezTo>
                  <a:pt x="517783" y="854851"/>
                  <a:pt x="515475" y="851192"/>
                  <a:pt x="513920" y="848709"/>
                </a:cubicBezTo>
                <a:cubicBezTo>
                  <a:pt x="511791" y="845308"/>
                  <a:pt x="508393" y="842606"/>
                  <a:pt x="506683" y="839054"/>
                </a:cubicBezTo>
                <a:cubicBezTo>
                  <a:pt x="500331" y="825864"/>
                  <a:pt x="493224" y="812855"/>
                  <a:pt x="488629" y="799037"/>
                </a:cubicBezTo>
                <a:cubicBezTo>
                  <a:pt x="477322" y="765031"/>
                  <a:pt x="466537" y="730814"/>
                  <a:pt x="456922" y="696297"/>
                </a:cubicBezTo>
                <a:cubicBezTo>
                  <a:pt x="449953" y="671276"/>
                  <a:pt x="443477" y="646020"/>
                  <a:pt x="441346" y="619885"/>
                </a:cubicBezTo>
                <a:cubicBezTo>
                  <a:pt x="440327" y="607371"/>
                  <a:pt x="437466" y="595018"/>
                  <a:pt x="435963" y="582529"/>
                </a:cubicBezTo>
                <a:cubicBezTo>
                  <a:pt x="433539" y="562380"/>
                  <a:pt x="431154" y="542212"/>
                  <a:pt x="429497" y="521990"/>
                </a:cubicBezTo>
                <a:cubicBezTo>
                  <a:pt x="428135" y="505363"/>
                  <a:pt x="428437" y="488593"/>
                  <a:pt x="426887" y="471989"/>
                </a:cubicBezTo>
                <a:cubicBezTo>
                  <a:pt x="425874" y="461140"/>
                  <a:pt x="424983" y="461120"/>
                  <a:pt x="413744" y="461077"/>
                </a:cubicBezTo>
                <a:cubicBezTo>
                  <a:pt x="393687" y="461000"/>
                  <a:pt x="373630" y="461011"/>
                  <a:pt x="353573" y="461120"/>
                </a:cubicBezTo>
                <a:cubicBezTo>
                  <a:pt x="350472" y="461137"/>
                  <a:pt x="347374" y="461869"/>
                  <a:pt x="344160" y="462286"/>
                </a:cubicBezTo>
                <a:cubicBezTo>
                  <a:pt x="343828" y="465198"/>
                  <a:pt x="343406" y="467195"/>
                  <a:pt x="343404" y="469192"/>
                </a:cubicBezTo>
                <a:cubicBezTo>
                  <a:pt x="343360" y="504394"/>
                  <a:pt x="343267" y="539596"/>
                  <a:pt x="343469" y="574797"/>
                </a:cubicBezTo>
                <a:cubicBezTo>
                  <a:pt x="343501" y="580426"/>
                  <a:pt x="345652" y="586065"/>
                  <a:pt x="345522" y="591669"/>
                </a:cubicBezTo>
                <a:cubicBezTo>
                  <a:pt x="345214" y="605082"/>
                  <a:pt x="344131" y="618478"/>
                  <a:pt x="343360" y="634332"/>
                </a:cubicBezTo>
                <a:moveTo>
                  <a:pt x="416946" y="385943"/>
                </a:moveTo>
                <a:cubicBezTo>
                  <a:pt x="411661" y="386365"/>
                  <a:pt x="406384" y="387006"/>
                  <a:pt x="401091" y="387162"/>
                </a:cubicBezTo>
                <a:cubicBezTo>
                  <a:pt x="390470" y="387477"/>
                  <a:pt x="379841" y="387447"/>
                  <a:pt x="369218" y="387708"/>
                </a:cubicBezTo>
                <a:cubicBezTo>
                  <a:pt x="361167" y="387906"/>
                  <a:pt x="354429" y="391368"/>
                  <a:pt x="351833" y="398991"/>
                </a:cubicBezTo>
                <a:cubicBezTo>
                  <a:pt x="348989" y="407342"/>
                  <a:pt x="347050" y="416214"/>
                  <a:pt x="349778" y="426021"/>
                </a:cubicBezTo>
                <a:cubicBezTo>
                  <a:pt x="353876" y="426204"/>
                  <a:pt x="357857" y="426517"/>
                  <a:pt x="361839" y="426538"/>
                </a:cubicBezTo>
                <a:cubicBezTo>
                  <a:pt x="392900" y="426701"/>
                  <a:pt x="423961" y="426826"/>
                  <a:pt x="455022" y="426922"/>
                </a:cubicBezTo>
                <a:cubicBezTo>
                  <a:pt x="464013" y="426950"/>
                  <a:pt x="473106" y="427654"/>
                  <a:pt x="481958" y="426527"/>
                </a:cubicBezTo>
                <a:cubicBezTo>
                  <a:pt x="488144" y="425740"/>
                  <a:pt x="494821" y="423501"/>
                  <a:pt x="499817" y="419888"/>
                </a:cubicBezTo>
                <a:cubicBezTo>
                  <a:pt x="507869" y="414066"/>
                  <a:pt x="507286" y="406755"/>
                  <a:pt x="499439" y="400719"/>
                </a:cubicBezTo>
                <a:cubicBezTo>
                  <a:pt x="490179" y="393597"/>
                  <a:pt x="479486" y="388885"/>
                  <a:pt x="468062" y="387775"/>
                </a:cubicBezTo>
                <a:cubicBezTo>
                  <a:pt x="451873" y="386202"/>
                  <a:pt x="435520" y="386321"/>
                  <a:pt x="416946" y="385943"/>
                </a:cubicBezTo>
                <a:moveTo>
                  <a:pt x="636802" y="1190940"/>
                </a:moveTo>
                <a:cubicBezTo>
                  <a:pt x="646709" y="1188723"/>
                  <a:pt x="656705" y="1186841"/>
                  <a:pt x="666492" y="1184186"/>
                </a:cubicBezTo>
                <a:cubicBezTo>
                  <a:pt x="674710" y="1181958"/>
                  <a:pt x="676989" y="1178509"/>
                  <a:pt x="674465" y="1170880"/>
                </a:cubicBezTo>
                <a:cubicBezTo>
                  <a:pt x="671144" y="1160843"/>
                  <a:pt x="667026" y="1151009"/>
                  <a:pt x="662462" y="1141464"/>
                </a:cubicBezTo>
                <a:cubicBezTo>
                  <a:pt x="659273" y="1134795"/>
                  <a:pt x="653671" y="1130908"/>
                  <a:pt x="645564" y="1131937"/>
                </a:cubicBezTo>
                <a:cubicBezTo>
                  <a:pt x="639532" y="1132703"/>
                  <a:pt x="633423" y="1132867"/>
                  <a:pt x="627387" y="1133618"/>
                </a:cubicBezTo>
                <a:cubicBezTo>
                  <a:pt x="612888" y="1135421"/>
                  <a:pt x="598449" y="1137770"/>
                  <a:pt x="583917" y="1139222"/>
                </a:cubicBezTo>
                <a:cubicBezTo>
                  <a:pt x="570571" y="1140557"/>
                  <a:pt x="557130" y="1140930"/>
                  <a:pt x="543741" y="1141869"/>
                </a:cubicBezTo>
                <a:cubicBezTo>
                  <a:pt x="533202" y="1142610"/>
                  <a:pt x="522682" y="1143623"/>
                  <a:pt x="512146" y="1144418"/>
                </a:cubicBezTo>
                <a:cubicBezTo>
                  <a:pt x="490671" y="1146038"/>
                  <a:pt x="469214" y="1148450"/>
                  <a:pt x="447711" y="1148973"/>
                </a:cubicBezTo>
                <a:cubicBezTo>
                  <a:pt x="415817" y="1149749"/>
                  <a:pt x="383891" y="1149136"/>
                  <a:pt x="351979" y="1149200"/>
                </a:cubicBezTo>
                <a:cubicBezTo>
                  <a:pt x="347698" y="1149209"/>
                  <a:pt x="343419" y="1149717"/>
                  <a:pt x="338443" y="1150040"/>
                </a:cubicBezTo>
                <a:cubicBezTo>
                  <a:pt x="338443" y="1164651"/>
                  <a:pt x="338413" y="1177715"/>
                  <a:pt x="338451" y="1190780"/>
                </a:cubicBezTo>
                <a:cubicBezTo>
                  <a:pt x="338490" y="1204031"/>
                  <a:pt x="338512" y="1204062"/>
                  <a:pt x="351082" y="1207015"/>
                </a:cubicBezTo>
                <a:cubicBezTo>
                  <a:pt x="353445" y="1207570"/>
                  <a:pt x="355895" y="1208128"/>
                  <a:pt x="358298" y="1208094"/>
                </a:cubicBezTo>
                <a:cubicBezTo>
                  <a:pt x="412608" y="1207329"/>
                  <a:pt x="466919" y="1206484"/>
                  <a:pt x="521229" y="1205646"/>
                </a:cubicBezTo>
                <a:cubicBezTo>
                  <a:pt x="522045" y="1205634"/>
                  <a:pt x="522865" y="1205591"/>
                  <a:pt x="523675" y="1205490"/>
                </a:cubicBezTo>
                <a:cubicBezTo>
                  <a:pt x="542593" y="1203123"/>
                  <a:pt x="561519" y="1200820"/>
                  <a:pt x="580423" y="1198350"/>
                </a:cubicBezTo>
                <a:cubicBezTo>
                  <a:pt x="598523" y="1195985"/>
                  <a:pt x="616599" y="1193446"/>
                  <a:pt x="636802" y="1190940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1227" cap="flat">
            <a:solidFill>
              <a:srgbClr val="CDD9DF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5" name="Free-form: Shape 84">
            <a:extLst>
              <a:ext uri="{FF2B5EF4-FFF2-40B4-BE49-F238E27FC236}">
                <a16:creationId xmlns:a16="http://schemas.microsoft.com/office/drawing/2014/main" id="{EC6AA427-82AF-4CB0-12E4-AEAA2EE22749}"/>
              </a:ext>
            </a:extLst>
          </p:cNvPr>
          <p:cNvSpPr/>
          <p:nvPr/>
        </p:nvSpPr>
        <p:spPr>
          <a:xfrm>
            <a:off x="8563148" y="5313968"/>
            <a:ext cx="18902" cy="1998"/>
          </a:xfrm>
          <a:custGeom>
            <a:avLst/>
            <a:gdLst>
              <a:gd name="csX0" fmla="*/ 0 w 27674"/>
              <a:gd name="csY0" fmla="*/ 2915 h 2925"/>
              <a:gd name="csX1" fmla="*/ 27675 w 27674"/>
              <a:gd name="csY1" fmla="*/ 1550 h 2925"/>
              <a:gd name="csX2" fmla="*/ 0 w 27674"/>
              <a:gd name="csY2" fmla="*/ 2915 h 292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27674" h="2925">
                <a:moveTo>
                  <a:pt x="0" y="2915"/>
                </a:moveTo>
                <a:cubicBezTo>
                  <a:pt x="8211" y="-1939"/>
                  <a:pt x="17625" y="498"/>
                  <a:pt x="27675" y="1550"/>
                </a:cubicBezTo>
                <a:cubicBezTo>
                  <a:pt x="19225" y="2593"/>
                  <a:pt x="10029" y="2999"/>
                  <a:pt x="0" y="2915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6" name="Free-form: Shape 85">
            <a:extLst>
              <a:ext uri="{FF2B5EF4-FFF2-40B4-BE49-F238E27FC236}">
                <a16:creationId xmlns:a16="http://schemas.microsoft.com/office/drawing/2014/main" id="{22E684DF-B3D5-1019-32B1-FAE2D5278667}"/>
              </a:ext>
            </a:extLst>
          </p:cNvPr>
          <p:cNvSpPr/>
          <p:nvPr/>
        </p:nvSpPr>
        <p:spPr>
          <a:xfrm>
            <a:off x="8511113" y="5315094"/>
            <a:ext cx="12297" cy="770"/>
          </a:xfrm>
          <a:custGeom>
            <a:avLst/>
            <a:gdLst>
              <a:gd name="csX0" fmla="*/ 0 w 18003"/>
              <a:gd name="csY0" fmla="*/ 1050 h 1128"/>
              <a:gd name="csX1" fmla="*/ 18004 w 18003"/>
              <a:gd name="csY1" fmla="*/ 93 h 1128"/>
              <a:gd name="csX2" fmla="*/ 0 w 18003"/>
              <a:gd name="csY2" fmla="*/ 1050 h 112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8003" h="1128">
                <a:moveTo>
                  <a:pt x="0" y="1050"/>
                </a:moveTo>
                <a:cubicBezTo>
                  <a:pt x="5276" y="182"/>
                  <a:pt x="11306" y="-189"/>
                  <a:pt x="18004" y="93"/>
                </a:cubicBezTo>
                <a:cubicBezTo>
                  <a:pt x="12699" y="1013"/>
                  <a:pt x="6726" y="1280"/>
                  <a:pt x="0" y="1050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7" name="Free-form: Shape 86">
            <a:extLst>
              <a:ext uri="{FF2B5EF4-FFF2-40B4-BE49-F238E27FC236}">
                <a16:creationId xmlns:a16="http://schemas.microsoft.com/office/drawing/2014/main" id="{7587A6C9-57FB-5963-8018-20A4BAFFBE35}"/>
              </a:ext>
            </a:extLst>
          </p:cNvPr>
          <p:cNvSpPr/>
          <p:nvPr/>
        </p:nvSpPr>
        <p:spPr>
          <a:xfrm>
            <a:off x="8600178" y="4691614"/>
            <a:ext cx="5783" cy="5354"/>
          </a:xfrm>
          <a:custGeom>
            <a:avLst/>
            <a:gdLst>
              <a:gd name="csX0" fmla="*/ 473 w 8466"/>
              <a:gd name="csY0" fmla="*/ 7839 h 7838"/>
              <a:gd name="csX1" fmla="*/ 8466 w 8466"/>
              <a:gd name="csY1" fmla="*/ 61 h 7838"/>
              <a:gd name="csX2" fmla="*/ 473 w 8466"/>
              <a:gd name="csY2" fmla="*/ 7839 h 783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66" h="7838">
                <a:moveTo>
                  <a:pt x="473" y="7839"/>
                </a:moveTo>
                <a:cubicBezTo>
                  <a:pt x="-1298" y="1550"/>
                  <a:pt x="2020" y="-386"/>
                  <a:pt x="8466" y="61"/>
                </a:cubicBezTo>
                <a:cubicBezTo>
                  <a:pt x="6730" y="2845"/>
                  <a:pt x="4026" y="5401"/>
                  <a:pt x="473" y="7839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8" name="Free-form: Shape 87">
            <a:extLst>
              <a:ext uri="{FF2B5EF4-FFF2-40B4-BE49-F238E27FC236}">
                <a16:creationId xmlns:a16="http://schemas.microsoft.com/office/drawing/2014/main" id="{9D378F82-B9BF-17B7-FDBB-D980C6F8D4D9}"/>
              </a:ext>
            </a:extLst>
          </p:cNvPr>
          <p:cNvSpPr/>
          <p:nvPr/>
        </p:nvSpPr>
        <p:spPr>
          <a:xfrm>
            <a:off x="8450582" y="5313428"/>
            <a:ext cx="5792" cy="680"/>
          </a:xfrm>
          <a:custGeom>
            <a:avLst/>
            <a:gdLst>
              <a:gd name="csX0" fmla="*/ 0 w 8480"/>
              <a:gd name="csY0" fmla="*/ 896 h 996"/>
              <a:gd name="csX1" fmla="*/ 8480 w 8480"/>
              <a:gd name="csY1" fmla="*/ 110 h 996"/>
              <a:gd name="csX2" fmla="*/ 0 w 8480"/>
              <a:gd name="csY2" fmla="*/ 896 h 99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80" h="996">
                <a:moveTo>
                  <a:pt x="0" y="896"/>
                </a:moveTo>
                <a:cubicBezTo>
                  <a:pt x="2285" y="115"/>
                  <a:pt x="5130" y="-182"/>
                  <a:pt x="8480" y="110"/>
                </a:cubicBezTo>
                <a:cubicBezTo>
                  <a:pt x="6177" y="927"/>
                  <a:pt x="3368" y="1153"/>
                  <a:pt x="0" y="896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9" name="Free-form: Shape 88">
            <a:extLst>
              <a:ext uri="{FF2B5EF4-FFF2-40B4-BE49-F238E27FC236}">
                <a16:creationId xmlns:a16="http://schemas.microsoft.com/office/drawing/2014/main" id="{B6FA4412-83AF-7C2F-E3CB-4568F1172D4F}"/>
              </a:ext>
            </a:extLst>
          </p:cNvPr>
          <p:cNvSpPr/>
          <p:nvPr/>
        </p:nvSpPr>
        <p:spPr>
          <a:xfrm>
            <a:off x="8766018" y="5284247"/>
            <a:ext cx="840" cy="4547"/>
          </a:xfrm>
          <a:custGeom>
            <a:avLst/>
            <a:gdLst>
              <a:gd name="csX0" fmla="*/ 132 w 1229"/>
              <a:gd name="csY0" fmla="*/ 6659 h 6658"/>
              <a:gd name="csX1" fmla="*/ 1107 w 1229"/>
              <a:gd name="csY1" fmla="*/ 0 h 6658"/>
              <a:gd name="csX2" fmla="*/ 132 w 1229"/>
              <a:gd name="csY2" fmla="*/ 6659 h 665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229" h="6658">
                <a:moveTo>
                  <a:pt x="132" y="6659"/>
                </a:moveTo>
                <a:cubicBezTo>
                  <a:pt x="-219" y="4616"/>
                  <a:pt x="139" y="2560"/>
                  <a:pt x="1107" y="0"/>
                </a:cubicBezTo>
                <a:cubicBezTo>
                  <a:pt x="1425" y="1879"/>
                  <a:pt x="1133" y="4263"/>
                  <a:pt x="132" y="6659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0" name="Free-form: Shape 89">
            <a:extLst>
              <a:ext uri="{FF2B5EF4-FFF2-40B4-BE49-F238E27FC236}">
                <a16:creationId xmlns:a16="http://schemas.microsoft.com/office/drawing/2014/main" id="{B834B02B-FB43-6112-F28F-13FF4998084A}"/>
              </a:ext>
            </a:extLst>
          </p:cNvPr>
          <p:cNvSpPr/>
          <p:nvPr/>
        </p:nvSpPr>
        <p:spPr>
          <a:xfrm>
            <a:off x="8692103" y="5306552"/>
            <a:ext cx="2588" cy="931"/>
          </a:xfrm>
          <a:custGeom>
            <a:avLst/>
            <a:gdLst>
              <a:gd name="csX0" fmla="*/ 0 w 3788"/>
              <a:gd name="csY0" fmla="*/ 1364 h 1364"/>
              <a:gd name="csX1" fmla="*/ 3788 w 3788"/>
              <a:gd name="csY1" fmla="*/ 0 h 1364"/>
              <a:gd name="csX2" fmla="*/ 0 w 3788"/>
              <a:gd name="csY2" fmla="*/ 1364 h 136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788" h="1364">
                <a:moveTo>
                  <a:pt x="0" y="1364"/>
                </a:moveTo>
                <a:cubicBezTo>
                  <a:pt x="856" y="517"/>
                  <a:pt x="2126" y="39"/>
                  <a:pt x="3788" y="0"/>
                </a:cubicBezTo>
                <a:cubicBezTo>
                  <a:pt x="2925" y="870"/>
                  <a:pt x="1670" y="1303"/>
                  <a:pt x="0" y="1364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1" name="Free-form: Shape 90">
            <a:extLst>
              <a:ext uri="{FF2B5EF4-FFF2-40B4-BE49-F238E27FC236}">
                <a16:creationId xmlns:a16="http://schemas.microsoft.com/office/drawing/2014/main" id="{5E71785A-CC0C-4D7B-D3E8-9DDB5256148E}"/>
              </a:ext>
            </a:extLst>
          </p:cNvPr>
          <p:cNvSpPr/>
          <p:nvPr/>
        </p:nvSpPr>
        <p:spPr>
          <a:xfrm>
            <a:off x="8393362" y="5310152"/>
            <a:ext cx="2726" cy="566"/>
          </a:xfrm>
          <a:custGeom>
            <a:avLst/>
            <a:gdLst>
              <a:gd name="csX0" fmla="*/ 0 w 3990"/>
              <a:gd name="csY0" fmla="*/ 719 h 829"/>
              <a:gd name="csX1" fmla="*/ 3990 w 3990"/>
              <a:gd name="csY1" fmla="*/ 119 h 829"/>
              <a:gd name="csX2" fmla="*/ 0 w 3990"/>
              <a:gd name="csY2" fmla="*/ 719 h 82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990" h="829">
                <a:moveTo>
                  <a:pt x="0" y="719"/>
                </a:moveTo>
                <a:cubicBezTo>
                  <a:pt x="982" y="66"/>
                  <a:pt x="2323" y="-163"/>
                  <a:pt x="3990" y="119"/>
                </a:cubicBezTo>
                <a:cubicBezTo>
                  <a:pt x="2998" y="800"/>
                  <a:pt x="1678" y="972"/>
                  <a:pt x="0" y="719"/>
                </a:cubicBezTo>
                <a:close/>
              </a:path>
            </a:pathLst>
          </a:custGeom>
          <a:solidFill>
            <a:srgbClr val="959DA0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2" name="Free-form: Shape 91">
            <a:extLst>
              <a:ext uri="{FF2B5EF4-FFF2-40B4-BE49-F238E27FC236}">
                <a16:creationId xmlns:a16="http://schemas.microsoft.com/office/drawing/2014/main" id="{43A1FFAB-D1D9-E21B-C216-0A9409542A0B}"/>
              </a:ext>
            </a:extLst>
          </p:cNvPr>
          <p:cNvSpPr/>
          <p:nvPr/>
        </p:nvSpPr>
        <p:spPr>
          <a:xfrm>
            <a:off x="8624965" y="5313405"/>
            <a:ext cx="2659" cy="775"/>
          </a:xfrm>
          <a:custGeom>
            <a:avLst/>
            <a:gdLst>
              <a:gd name="csX0" fmla="*/ 0 w 3893"/>
              <a:gd name="csY0" fmla="*/ 1133 h 1135"/>
              <a:gd name="csX1" fmla="*/ 3893 w 3893"/>
              <a:gd name="csY1" fmla="*/ 7 h 1135"/>
              <a:gd name="csX2" fmla="*/ 0 w 3893"/>
              <a:gd name="csY2" fmla="*/ 1133 h 113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893" h="1135">
                <a:moveTo>
                  <a:pt x="0" y="1133"/>
                </a:moveTo>
                <a:cubicBezTo>
                  <a:pt x="902" y="349"/>
                  <a:pt x="2213" y="-60"/>
                  <a:pt x="3893" y="7"/>
                </a:cubicBezTo>
                <a:cubicBezTo>
                  <a:pt x="2978" y="825"/>
                  <a:pt x="1693" y="1167"/>
                  <a:pt x="0" y="1133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3" name="Free-form: Shape 92">
            <a:extLst>
              <a:ext uri="{FF2B5EF4-FFF2-40B4-BE49-F238E27FC236}">
                <a16:creationId xmlns:a16="http://schemas.microsoft.com/office/drawing/2014/main" id="{E45907EB-0AB9-11E6-4E53-3B648CDB549D}"/>
              </a:ext>
            </a:extLst>
          </p:cNvPr>
          <p:cNvSpPr/>
          <p:nvPr/>
        </p:nvSpPr>
        <p:spPr>
          <a:xfrm>
            <a:off x="8515408" y="4780274"/>
            <a:ext cx="123846" cy="275447"/>
          </a:xfrm>
          <a:custGeom>
            <a:avLst/>
            <a:gdLst>
              <a:gd name="csX0" fmla="*/ 7554 w 181323"/>
              <a:gd name="csY0" fmla="*/ 172079 h 403282"/>
              <a:gd name="csX1" fmla="*/ 9716 w 181323"/>
              <a:gd name="csY1" fmla="*/ 130641 h 403282"/>
              <a:gd name="csX2" fmla="*/ 7663 w 181323"/>
              <a:gd name="csY2" fmla="*/ 113770 h 403282"/>
              <a:gd name="csX3" fmla="*/ 7598 w 181323"/>
              <a:gd name="csY3" fmla="*/ 8165 h 403282"/>
              <a:gd name="csX4" fmla="*/ 8353 w 181323"/>
              <a:gd name="csY4" fmla="*/ 1259 h 403282"/>
              <a:gd name="csX5" fmla="*/ 17767 w 181323"/>
              <a:gd name="csY5" fmla="*/ 93 h 403282"/>
              <a:gd name="csX6" fmla="*/ 77938 w 181323"/>
              <a:gd name="csY6" fmla="*/ 50 h 403282"/>
              <a:gd name="csX7" fmla="*/ 91081 w 181323"/>
              <a:gd name="csY7" fmla="*/ 10962 h 403282"/>
              <a:gd name="csX8" fmla="*/ 93691 w 181323"/>
              <a:gd name="csY8" fmla="*/ 60963 h 403282"/>
              <a:gd name="csX9" fmla="*/ 100157 w 181323"/>
              <a:gd name="csY9" fmla="*/ 121501 h 403282"/>
              <a:gd name="csX10" fmla="*/ 105540 w 181323"/>
              <a:gd name="csY10" fmla="*/ 158857 h 403282"/>
              <a:gd name="csX11" fmla="*/ 121116 w 181323"/>
              <a:gd name="csY11" fmla="*/ 235269 h 403282"/>
              <a:gd name="csX12" fmla="*/ 152823 w 181323"/>
              <a:gd name="csY12" fmla="*/ 338010 h 403282"/>
              <a:gd name="csX13" fmla="*/ 170877 w 181323"/>
              <a:gd name="csY13" fmla="*/ 378027 h 403282"/>
              <a:gd name="csX14" fmla="*/ 178114 w 181323"/>
              <a:gd name="csY14" fmla="*/ 387682 h 403282"/>
              <a:gd name="csX15" fmla="*/ 181150 w 181323"/>
              <a:gd name="csY15" fmla="*/ 395764 h 403282"/>
              <a:gd name="csX16" fmla="*/ 173480 w 181323"/>
              <a:gd name="csY16" fmla="*/ 402568 h 403282"/>
              <a:gd name="csX17" fmla="*/ 160067 w 181323"/>
              <a:gd name="csY17" fmla="*/ 402936 h 403282"/>
              <a:gd name="csX18" fmla="*/ 121081 w 181323"/>
              <a:gd name="csY18" fmla="*/ 400766 h 403282"/>
              <a:gd name="csX19" fmla="*/ 70912 w 181323"/>
              <a:gd name="csY19" fmla="*/ 401955 h 403282"/>
              <a:gd name="csX20" fmla="*/ 7630 w 181323"/>
              <a:gd name="csY20" fmla="*/ 402999 h 403282"/>
              <a:gd name="csX21" fmla="*/ 710 w 181323"/>
              <a:gd name="csY21" fmla="*/ 401995 h 403282"/>
              <a:gd name="csX22" fmla="*/ 1308 w 181323"/>
              <a:gd name="csY22" fmla="*/ 356708 h 403282"/>
              <a:gd name="csX23" fmla="*/ 2554 w 181323"/>
              <a:gd name="csY23" fmla="*/ 349510 h 403282"/>
              <a:gd name="csX24" fmla="*/ 5071 w 181323"/>
              <a:gd name="csY24" fmla="*/ 271231 h 403282"/>
              <a:gd name="csX25" fmla="*/ 7554 w 181323"/>
              <a:gd name="csY25" fmla="*/ 172079 h 403282"/>
              <a:gd name="csX26" fmla="*/ 98286 w 181323"/>
              <a:gd name="csY26" fmla="*/ 163566 h 403282"/>
              <a:gd name="csX27" fmla="*/ 83497 w 181323"/>
              <a:gd name="csY27" fmla="*/ 8289 h 403282"/>
              <a:gd name="csX28" fmla="*/ 15161 w 181323"/>
              <a:gd name="csY28" fmla="*/ 9148 h 403282"/>
              <a:gd name="csX29" fmla="*/ 15058 w 181323"/>
              <a:gd name="csY29" fmla="*/ 137939 h 403282"/>
              <a:gd name="csX30" fmla="*/ 12252 w 181323"/>
              <a:gd name="csY30" fmla="*/ 266862 h 403282"/>
              <a:gd name="csX31" fmla="*/ 7068 w 181323"/>
              <a:gd name="csY31" fmla="*/ 395996 h 403282"/>
              <a:gd name="csX32" fmla="*/ 171647 w 181323"/>
              <a:gd name="csY32" fmla="*/ 395996 h 403282"/>
              <a:gd name="csX33" fmla="*/ 119950 w 181323"/>
              <a:gd name="csY33" fmla="*/ 259496 h 403282"/>
              <a:gd name="csX34" fmla="*/ 98286 w 181323"/>
              <a:gd name="csY34" fmla="*/ 163566 h 40328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</a:cxnLst>
            <a:rect l="l" t="t" r="r" b="b"/>
            <a:pathLst>
              <a:path w="181323" h="403282">
                <a:moveTo>
                  <a:pt x="7554" y="172079"/>
                </a:moveTo>
                <a:cubicBezTo>
                  <a:pt x="8325" y="157451"/>
                  <a:pt x="9408" y="144055"/>
                  <a:pt x="9716" y="130641"/>
                </a:cubicBezTo>
                <a:cubicBezTo>
                  <a:pt x="9846" y="125037"/>
                  <a:pt x="7695" y="119399"/>
                  <a:pt x="7663" y="113770"/>
                </a:cubicBezTo>
                <a:cubicBezTo>
                  <a:pt x="7461" y="78569"/>
                  <a:pt x="7554" y="43367"/>
                  <a:pt x="7598" y="8165"/>
                </a:cubicBezTo>
                <a:cubicBezTo>
                  <a:pt x="7600" y="6167"/>
                  <a:pt x="8022" y="4170"/>
                  <a:pt x="8353" y="1259"/>
                </a:cubicBezTo>
                <a:cubicBezTo>
                  <a:pt x="11568" y="842"/>
                  <a:pt x="14666" y="109"/>
                  <a:pt x="17767" y="93"/>
                </a:cubicBezTo>
                <a:cubicBezTo>
                  <a:pt x="37824" y="-17"/>
                  <a:pt x="57881" y="-27"/>
                  <a:pt x="77938" y="50"/>
                </a:cubicBezTo>
                <a:cubicBezTo>
                  <a:pt x="89177" y="93"/>
                  <a:pt x="90068" y="113"/>
                  <a:pt x="91081" y="10962"/>
                </a:cubicBezTo>
                <a:cubicBezTo>
                  <a:pt x="92631" y="27565"/>
                  <a:pt x="92329" y="44335"/>
                  <a:pt x="93691" y="60963"/>
                </a:cubicBezTo>
                <a:cubicBezTo>
                  <a:pt x="95348" y="81184"/>
                  <a:pt x="97732" y="101353"/>
                  <a:pt x="100157" y="121501"/>
                </a:cubicBezTo>
                <a:cubicBezTo>
                  <a:pt x="101660" y="133990"/>
                  <a:pt x="104521" y="146343"/>
                  <a:pt x="105540" y="158857"/>
                </a:cubicBezTo>
                <a:cubicBezTo>
                  <a:pt x="107671" y="184993"/>
                  <a:pt x="114147" y="210249"/>
                  <a:pt x="121116" y="235269"/>
                </a:cubicBezTo>
                <a:cubicBezTo>
                  <a:pt x="130731" y="269786"/>
                  <a:pt x="141516" y="304004"/>
                  <a:pt x="152823" y="338010"/>
                </a:cubicBezTo>
                <a:cubicBezTo>
                  <a:pt x="157418" y="351828"/>
                  <a:pt x="164524" y="364837"/>
                  <a:pt x="170877" y="378027"/>
                </a:cubicBezTo>
                <a:cubicBezTo>
                  <a:pt x="172587" y="381579"/>
                  <a:pt x="175985" y="384280"/>
                  <a:pt x="178114" y="387682"/>
                </a:cubicBezTo>
                <a:cubicBezTo>
                  <a:pt x="179669" y="390165"/>
                  <a:pt x="181977" y="393824"/>
                  <a:pt x="181150" y="395764"/>
                </a:cubicBezTo>
                <a:cubicBezTo>
                  <a:pt x="179907" y="398676"/>
                  <a:pt x="176540" y="401705"/>
                  <a:pt x="173480" y="402568"/>
                </a:cubicBezTo>
                <a:cubicBezTo>
                  <a:pt x="169302" y="403746"/>
                  <a:pt x="164551" y="403164"/>
                  <a:pt x="160067" y="402936"/>
                </a:cubicBezTo>
                <a:cubicBezTo>
                  <a:pt x="147066" y="402274"/>
                  <a:pt x="134081" y="400859"/>
                  <a:pt x="121081" y="400766"/>
                </a:cubicBezTo>
                <a:cubicBezTo>
                  <a:pt x="104362" y="400647"/>
                  <a:pt x="87638" y="401607"/>
                  <a:pt x="70912" y="401955"/>
                </a:cubicBezTo>
                <a:cubicBezTo>
                  <a:pt x="49820" y="402394"/>
                  <a:pt x="28725" y="402712"/>
                  <a:pt x="7630" y="402999"/>
                </a:cubicBezTo>
                <a:cubicBezTo>
                  <a:pt x="5684" y="403026"/>
                  <a:pt x="3731" y="402452"/>
                  <a:pt x="710" y="401995"/>
                </a:cubicBezTo>
                <a:cubicBezTo>
                  <a:pt x="219" y="386620"/>
                  <a:pt x="-871" y="371682"/>
                  <a:pt x="1308" y="356708"/>
                </a:cubicBezTo>
                <a:cubicBezTo>
                  <a:pt x="1659" y="354298"/>
                  <a:pt x="2471" y="351920"/>
                  <a:pt x="2554" y="349510"/>
                </a:cubicBezTo>
                <a:cubicBezTo>
                  <a:pt x="3459" y="323419"/>
                  <a:pt x="4345" y="297328"/>
                  <a:pt x="5071" y="271231"/>
                </a:cubicBezTo>
                <a:cubicBezTo>
                  <a:pt x="5979" y="238591"/>
                  <a:pt x="6733" y="205947"/>
                  <a:pt x="7554" y="172079"/>
                </a:cubicBezTo>
                <a:moveTo>
                  <a:pt x="98286" y="163566"/>
                </a:moveTo>
                <a:cubicBezTo>
                  <a:pt x="89288" y="112116"/>
                  <a:pt x="86355" y="60033"/>
                  <a:pt x="83497" y="8289"/>
                </a:cubicBezTo>
                <a:cubicBezTo>
                  <a:pt x="65606" y="5845"/>
                  <a:pt x="24110" y="6470"/>
                  <a:pt x="15161" y="9148"/>
                </a:cubicBezTo>
                <a:cubicBezTo>
                  <a:pt x="15161" y="52045"/>
                  <a:pt x="15527" y="94996"/>
                  <a:pt x="15058" y="137939"/>
                </a:cubicBezTo>
                <a:cubicBezTo>
                  <a:pt x="14587" y="180919"/>
                  <a:pt x="13597" y="223900"/>
                  <a:pt x="12252" y="266862"/>
                </a:cubicBezTo>
                <a:cubicBezTo>
                  <a:pt x="10912" y="309638"/>
                  <a:pt x="8849" y="352391"/>
                  <a:pt x="7068" y="395996"/>
                </a:cubicBezTo>
                <a:cubicBezTo>
                  <a:pt x="62774" y="395996"/>
                  <a:pt x="116821" y="395996"/>
                  <a:pt x="171647" y="395996"/>
                </a:cubicBezTo>
                <a:cubicBezTo>
                  <a:pt x="148550" y="352016"/>
                  <a:pt x="132566" y="306307"/>
                  <a:pt x="119950" y="259496"/>
                </a:cubicBezTo>
                <a:cubicBezTo>
                  <a:pt x="111608" y="228543"/>
                  <a:pt x="105493" y="196989"/>
                  <a:pt x="98286" y="163566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4" name="Free-form: Shape 93">
            <a:extLst>
              <a:ext uri="{FF2B5EF4-FFF2-40B4-BE49-F238E27FC236}">
                <a16:creationId xmlns:a16="http://schemas.microsoft.com/office/drawing/2014/main" id="{AA89B380-46C7-F644-7EFC-986EE7F0090C}"/>
              </a:ext>
            </a:extLst>
          </p:cNvPr>
          <p:cNvSpPr/>
          <p:nvPr/>
        </p:nvSpPr>
        <p:spPr>
          <a:xfrm>
            <a:off x="8517203" y="5238403"/>
            <a:ext cx="230181" cy="52128"/>
          </a:xfrm>
          <a:custGeom>
            <a:avLst/>
            <a:gdLst>
              <a:gd name="csX0" fmla="*/ 297312 w 337008"/>
              <a:gd name="csY0" fmla="*/ 59188 h 76321"/>
              <a:gd name="csX1" fmla="*/ 241991 w 337008"/>
              <a:gd name="csY1" fmla="*/ 66577 h 76321"/>
              <a:gd name="csX2" fmla="*/ 185243 w 337008"/>
              <a:gd name="csY2" fmla="*/ 73717 h 76321"/>
              <a:gd name="csX3" fmla="*/ 182797 w 337008"/>
              <a:gd name="csY3" fmla="*/ 73873 h 76321"/>
              <a:gd name="csX4" fmla="*/ 19866 w 337008"/>
              <a:gd name="csY4" fmla="*/ 76320 h 76321"/>
              <a:gd name="csX5" fmla="*/ 12650 w 337008"/>
              <a:gd name="csY5" fmla="*/ 75242 h 76321"/>
              <a:gd name="csX6" fmla="*/ 19 w 337008"/>
              <a:gd name="csY6" fmla="*/ 59006 h 76321"/>
              <a:gd name="csX7" fmla="*/ 11 w 337008"/>
              <a:gd name="csY7" fmla="*/ 18266 h 76321"/>
              <a:gd name="csX8" fmla="*/ 13547 w 337008"/>
              <a:gd name="csY8" fmla="*/ 17427 h 76321"/>
              <a:gd name="csX9" fmla="*/ 109279 w 337008"/>
              <a:gd name="csY9" fmla="*/ 17200 h 76321"/>
              <a:gd name="csX10" fmla="*/ 173714 w 337008"/>
              <a:gd name="csY10" fmla="*/ 12645 h 76321"/>
              <a:gd name="csX11" fmla="*/ 205309 w 337008"/>
              <a:gd name="csY11" fmla="*/ 10096 h 76321"/>
              <a:gd name="csX12" fmla="*/ 245485 w 337008"/>
              <a:gd name="csY12" fmla="*/ 7449 h 76321"/>
              <a:gd name="csX13" fmla="*/ 288955 w 337008"/>
              <a:gd name="csY13" fmla="*/ 1844 h 76321"/>
              <a:gd name="csX14" fmla="*/ 307132 w 337008"/>
              <a:gd name="csY14" fmla="*/ 164 h 76321"/>
              <a:gd name="csX15" fmla="*/ 324030 w 337008"/>
              <a:gd name="csY15" fmla="*/ 9691 h 76321"/>
              <a:gd name="csX16" fmla="*/ 336033 w 337008"/>
              <a:gd name="csY16" fmla="*/ 39107 h 76321"/>
              <a:gd name="csX17" fmla="*/ 328060 w 337008"/>
              <a:gd name="csY17" fmla="*/ 52413 h 76321"/>
              <a:gd name="csX18" fmla="*/ 297312 w 337008"/>
              <a:gd name="csY18" fmla="*/ 59188 h 76321"/>
              <a:gd name="csX19" fmla="*/ 207688 w 337008"/>
              <a:gd name="csY19" fmla="*/ 64284 h 76321"/>
              <a:gd name="csX20" fmla="*/ 330050 w 337008"/>
              <a:gd name="csY20" fmla="*/ 45606 h 76321"/>
              <a:gd name="csX21" fmla="*/ 317356 w 337008"/>
              <a:gd name="csY21" fmla="*/ 11297 h 76321"/>
              <a:gd name="csX22" fmla="*/ 304170 w 337008"/>
              <a:gd name="csY22" fmla="*/ 5545 h 76321"/>
              <a:gd name="csX23" fmla="*/ 273851 w 337008"/>
              <a:gd name="csY23" fmla="*/ 10014 h 76321"/>
              <a:gd name="csX24" fmla="*/ 163935 w 337008"/>
              <a:gd name="csY24" fmla="*/ 20274 h 76321"/>
              <a:gd name="csX25" fmla="*/ 17973 w 337008"/>
              <a:gd name="csY25" fmla="*/ 22950 h 76321"/>
              <a:gd name="csX26" fmla="*/ 7372 w 337008"/>
              <a:gd name="csY26" fmla="*/ 23601 h 76321"/>
              <a:gd name="csX27" fmla="*/ 7372 w 337008"/>
              <a:gd name="csY27" fmla="*/ 67898 h 76321"/>
              <a:gd name="csX28" fmla="*/ 207688 w 337008"/>
              <a:gd name="csY28" fmla="*/ 64284 h 7632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</a:cxnLst>
            <a:rect l="l" t="t" r="r" b="b"/>
            <a:pathLst>
              <a:path w="337008" h="76321">
                <a:moveTo>
                  <a:pt x="297312" y="59188"/>
                </a:moveTo>
                <a:cubicBezTo>
                  <a:pt x="278167" y="61672"/>
                  <a:pt x="260091" y="64212"/>
                  <a:pt x="241991" y="66577"/>
                </a:cubicBezTo>
                <a:cubicBezTo>
                  <a:pt x="223087" y="69047"/>
                  <a:pt x="204161" y="71350"/>
                  <a:pt x="185243" y="73717"/>
                </a:cubicBezTo>
                <a:cubicBezTo>
                  <a:pt x="184433" y="73818"/>
                  <a:pt x="183613" y="73861"/>
                  <a:pt x="182797" y="73873"/>
                </a:cubicBezTo>
                <a:cubicBezTo>
                  <a:pt x="128487" y="74710"/>
                  <a:pt x="74176" y="75556"/>
                  <a:pt x="19866" y="76320"/>
                </a:cubicBezTo>
                <a:cubicBezTo>
                  <a:pt x="17463" y="76354"/>
                  <a:pt x="15013" y="75797"/>
                  <a:pt x="12650" y="75242"/>
                </a:cubicBezTo>
                <a:cubicBezTo>
                  <a:pt x="80" y="72288"/>
                  <a:pt x="58" y="72258"/>
                  <a:pt x="19" y="59006"/>
                </a:cubicBezTo>
                <a:cubicBezTo>
                  <a:pt x="-19" y="45942"/>
                  <a:pt x="11" y="32877"/>
                  <a:pt x="11" y="18266"/>
                </a:cubicBezTo>
                <a:cubicBezTo>
                  <a:pt x="4987" y="17944"/>
                  <a:pt x="9266" y="17435"/>
                  <a:pt x="13547" y="17427"/>
                </a:cubicBezTo>
                <a:cubicBezTo>
                  <a:pt x="45459" y="17362"/>
                  <a:pt x="77385" y="17975"/>
                  <a:pt x="109279" y="17200"/>
                </a:cubicBezTo>
                <a:cubicBezTo>
                  <a:pt x="130782" y="16677"/>
                  <a:pt x="152239" y="14265"/>
                  <a:pt x="173714" y="12645"/>
                </a:cubicBezTo>
                <a:cubicBezTo>
                  <a:pt x="184250" y="11850"/>
                  <a:pt x="194770" y="10836"/>
                  <a:pt x="205309" y="10096"/>
                </a:cubicBezTo>
                <a:cubicBezTo>
                  <a:pt x="218698" y="9156"/>
                  <a:pt x="232139" y="8783"/>
                  <a:pt x="245485" y="7449"/>
                </a:cubicBezTo>
                <a:cubicBezTo>
                  <a:pt x="260017" y="5997"/>
                  <a:pt x="274456" y="3648"/>
                  <a:pt x="288955" y="1844"/>
                </a:cubicBezTo>
                <a:cubicBezTo>
                  <a:pt x="294991" y="1094"/>
                  <a:pt x="301100" y="930"/>
                  <a:pt x="307132" y="164"/>
                </a:cubicBezTo>
                <a:cubicBezTo>
                  <a:pt x="315239" y="-865"/>
                  <a:pt x="320841" y="3022"/>
                  <a:pt x="324030" y="9691"/>
                </a:cubicBezTo>
                <a:cubicBezTo>
                  <a:pt x="328594" y="19236"/>
                  <a:pt x="332712" y="29070"/>
                  <a:pt x="336033" y="39107"/>
                </a:cubicBezTo>
                <a:cubicBezTo>
                  <a:pt x="338557" y="46735"/>
                  <a:pt x="336278" y="50185"/>
                  <a:pt x="328060" y="52413"/>
                </a:cubicBezTo>
                <a:cubicBezTo>
                  <a:pt x="318273" y="55068"/>
                  <a:pt x="308277" y="56950"/>
                  <a:pt x="297312" y="59188"/>
                </a:cubicBezTo>
                <a:moveTo>
                  <a:pt x="207688" y="64284"/>
                </a:moveTo>
                <a:cubicBezTo>
                  <a:pt x="248681" y="60632"/>
                  <a:pt x="289317" y="54812"/>
                  <a:pt x="330050" y="45606"/>
                </a:cubicBezTo>
                <a:cubicBezTo>
                  <a:pt x="327603" y="32443"/>
                  <a:pt x="323777" y="21532"/>
                  <a:pt x="317356" y="11297"/>
                </a:cubicBezTo>
                <a:cubicBezTo>
                  <a:pt x="313908" y="5803"/>
                  <a:pt x="310145" y="4465"/>
                  <a:pt x="304170" y="5545"/>
                </a:cubicBezTo>
                <a:cubicBezTo>
                  <a:pt x="294121" y="7361"/>
                  <a:pt x="284007" y="9006"/>
                  <a:pt x="273851" y="10014"/>
                </a:cubicBezTo>
                <a:cubicBezTo>
                  <a:pt x="237233" y="13650"/>
                  <a:pt x="200632" y="17661"/>
                  <a:pt x="163935" y="20274"/>
                </a:cubicBezTo>
                <a:cubicBezTo>
                  <a:pt x="115360" y="23734"/>
                  <a:pt x="66701" y="25937"/>
                  <a:pt x="17973" y="22950"/>
                </a:cubicBezTo>
                <a:cubicBezTo>
                  <a:pt x="14492" y="22737"/>
                  <a:pt x="10959" y="23361"/>
                  <a:pt x="7372" y="23601"/>
                </a:cubicBezTo>
                <a:cubicBezTo>
                  <a:pt x="7372" y="38609"/>
                  <a:pt x="7372" y="52361"/>
                  <a:pt x="7372" y="67898"/>
                </a:cubicBezTo>
                <a:cubicBezTo>
                  <a:pt x="74001" y="69806"/>
                  <a:pt x="139746" y="71025"/>
                  <a:pt x="207688" y="64284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5" name="Free-form: Shape 94">
            <a:extLst>
              <a:ext uri="{FF2B5EF4-FFF2-40B4-BE49-F238E27FC236}">
                <a16:creationId xmlns:a16="http://schemas.microsoft.com/office/drawing/2014/main" id="{91E79E65-85AF-55CD-0D1C-3A39F5864C2D}"/>
              </a:ext>
            </a:extLst>
          </p:cNvPr>
          <p:cNvSpPr/>
          <p:nvPr/>
        </p:nvSpPr>
        <p:spPr>
          <a:xfrm>
            <a:off x="8521308" y="5077303"/>
            <a:ext cx="207269" cy="145956"/>
          </a:xfrm>
          <a:custGeom>
            <a:avLst/>
            <a:gdLst>
              <a:gd name="csX0" fmla="*/ 14160 w 303463"/>
              <a:gd name="csY0" fmla="*/ 7889 h 213695"/>
              <a:gd name="csX1" fmla="*/ 195033 w 303463"/>
              <a:gd name="csY1" fmla="*/ 0 h 213695"/>
              <a:gd name="csX2" fmla="*/ 197208 w 303463"/>
              <a:gd name="csY2" fmla="*/ 5635 h 213695"/>
              <a:gd name="csX3" fmla="*/ 227014 w 303463"/>
              <a:gd name="csY3" fmla="*/ 60660 h 213695"/>
              <a:gd name="csX4" fmla="*/ 265823 w 303463"/>
              <a:gd name="csY4" fmla="*/ 98217 h 213695"/>
              <a:gd name="csX5" fmla="*/ 303210 w 303463"/>
              <a:gd name="csY5" fmla="*/ 180358 h 213695"/>
              <a:gd name="csX6" fmla="*/ 303282 w 303463"/>
              <a:gd name="csY6" fmla="*/ 193964 h 213695"/>
              <a:gd name="csX7" fmla="*/ 4971 w 303463"/>
              <a:gd name="csY7" fmla="*/ 213017 h 213695"/>
              <a:gd name="csX8" fmla="*/ 5093 w 303463"/>
              <a:gd name="csY8" fmla="*/ 173484 h 213695"/>
              <a:gd name="csX9" fmla="*/ 4767 w 303463"/>
              <a:gd name="csY9" fmla="*/ 54607 h 213695"/>
              <a:gd name="csX10" fmla="*/ 0 w 303463"/>
              <a:gd name="csY10" fmla="*/ 7887 h 213695"/>
              <a:gd name="csX11" fmla="*/ 14160 w 303463"/>
              <a:gd name="csY11" fmla="*/ 7889 h 21369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303463" h="213695">
                <a:moveTo>
                  <a:pt x="14160" y="7889"/>
                </a:moveTo>
                <a:cubicBezTo>
                  <a:pt x="75371" y="8627"/>
                  <a:pt x="135292" y="5744"/>
                  <a:pt x="195033" y="0"/>
                </a:cubicBezTo>
                <a:cubicBezTo>
                  <a:pt x="196084" y="2662"/>
                  <a:pt x="196986" y="4099"/>
                  <a:pt x="197208" y="5635"/>
                </a:cubicBezTo>
                <a:cubicBezTo>
                  <a:pt x="200391" y="27650"/>
                  <a:pt x="211307" y="45450"/>
                  <a:pt x="227014" y="60660"/>
                </a:cubicBezTo>
                <a:cubicBezTo>
                  <a:pt x="239947" y="73182"/>
                  <a:pt x="253006" y="85577"/>
                  <a:pt x="265823" y="98217"/>
                </a:cubicBezTo>
                <a:cubicBezTo>
                  <a:pt x="288727" y="120806"/>
                  <a:pt x="299071" y="149215"/>
                  <a:pt x="303210" y="180358"/>
                </a:cubicBezTo>
                <a:cubicBezTo>
                  <a:pt x="303735" y="184317"/>
                  <a:pt x="303282" y="188405"/>
                  <a:pt x="303282" y="193964"/>
                </a:cubicBezTo>
                <a:cubicBezTo>
                  <a:pt x="204065" y="208804"/>
                  <a:pt x="105022" y="216044"/>
                  <a:pt x="4971" y="213017"/>
                </a:cubicBezTo>
                <a:cubicBezTo>
                  <a:pt x="4971" y="199268"/>
                  <a:pt x="4314" y="186332"/>
                  <a:pt x="5093" y="173484"/>
                </a:cubicBezTo>
                <a:cubicBezTo>
                  <a:pt x="7497" y="133835"/>
                  <a:pt x="8211" y="94216"/>
                  <a:pt x="4767" y="54607"/>
                </a:cubicBezTo>
                <a:cubicBezTo>
                  <a:pt x="3464" y="39611"/>
                  <a:pt x="1725" y="24653"/>
                  <a:pt x="0" y="7887"/>
                </a:cubicBezTo>
                <a:cubicBezTo>
                  <a:pt x="4390" y="7887"/>
                  <a:pt x="8696" y="7887"/>
                  <a:pt x="14160" y="7889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6" name="Free-form: Shape 95">
            <a:extLst>
              <a:ext uri="{FF2B5EF4-FFF2-40B4-BE49-F238E27FC236}">
                <a16:creationId xmlns:a16="http://schemas.microsoft.com/office/drawing/2014/main" id="{4CBCB1C5-928D-1B2A-689F-62A67E8D05F3}"/>
              </a:ext>
            </a:extLst>
          </p:cNvPr>
          <p:cNvSpPr/>
          <p:nvPr/>
        </p:nvSpPr>
        <p:spPr>
          <a:xfrm>
            <a:off x="8484170" y="4494571"/>
            <a:ext cx="142796" cy="138929"/>
          </a:xfrm>
          <a:custGeom>
            <a:avLst/>
            <a:gdLst>
              <a:gd name="csX0" fmla="*/ 10475 w 209067"/>
              <a:gd name="csY0" fmla="*/ 41718 h 203406"/>
              <a:gd name="csX1" fmla="*/ 100250 w 209067"/>
              <a:gd name="csY1" fmla="*/ 1265 h 203406"/>
              <a:gd name="csX2" fmla="*/ 206681 w 209067"/>
              <a:gd name="csY2" fmla="*/ 98526 h 203406"/>
              <a:gd name="csX3" fmla="*/ 134647 w 209067"/>
              <a:gd name="csY3" fmla="*/ 202431 h 203406"/>
              <a:gd name="csX4" fmla="*/ 40986 w 209067"/>
              <a:gd name="csY4" fmla="*/ 171438 h 203406"/>
              <a:gd name="csX5" fmla="*/ 143 w 209067"/>
              <a:gd name="csY5" fmla="*/ 85158 h 203406"/>
              <a:gd name="csX6" fmla="*/ 10475 w 209067"/>
              <a:gd name="csY6" fmla="*/ 41718 h 20340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</a:cxnLst>
            <a:rect l="l" t="t" r="r" b="b"/>
            <a:pathLst>
              <a:path w="209067" h="203406">
                <a:moveTo>
                  <a:pt x="10475" y="41718"/>
                </a:moveTo>
                <a:cubicBezTo>
                  <a:pt x="31065" y="6021"/>
                  <a:pt x="63171" y="-3865"/>
                  <a:pt x="100250" y="1265"/>
                </a:cubicBezTo>
                <a:cubicBezTo>
                  <a:pt x="157191" y="9144"/>
                  <a:pt x="196951" y="51394"/>
                  <a:pt x="206681" y="98526"/>
                </a:cubicBezTo>
                <a:cubicBezTo>
                  <a:pt x="219504" y="160635"/>
                  <a:pt x="178523" y="196657"/>
                  <a:pt x="134647" y="202431"/>
                </a:cubicBezTo>
                <a:cubicBezTo>
                  <a:pt x="98365" y="207204"/>
                  <a:pt x="68101" y="194086"/>
                  <a:pt x="40986" y="171438"/>
                </a:cubicBezTo>
                <a:cubicBezTo>
                  <a:pt x="14115" y="148994"/>
                  <a:pt x="2457" y="119007"/>
                  <a:pt x="143" y="85158"/>
                </a:cubicBezTo>
                <a:cubicBezTo>
                  <a:pt x="-869" y="70364"/>
                  <a:pt x="3586" y="56015"/>
                  <a:pt x="10475" y="41718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7" name="Free-form: Shape 96">
            <a:extLst>
              <a:ext uri="{FF2B5EF4-FFF2-40B4-BE49-F238E27FC236}">
                <a16:creationId xmlns:a16="http://schemas.microsoft.com/office/drawing/2014/main" id="{D0A8053E-606B-2A6E-F378-E22ABD9C5A84}"/>
              </a:ext>
            </a:extLst>
          </p:cNvPr>
          <p:cNvSpPr/>
          <p:nvPr/>
        </p:nvSpPr>
        <p:spPr>
          <a:xfrm>
            <a:off x="8524055" y="4728913"/>
            <a:ext cx="107321" cy="28231"/>
          </a:xfrm>
          <a:custGeom>
            <a:avLst/>
            <a:gdLst>
              <a:gd name="csX0" fmla="*/ 69625 w 157129"/>
              <a:gd name="csY0" fmla="*/ 0 h 41334"/>
              <a:gd name="csX1" fmla="*/ 119596 w 157129"/>
              <a:gd name="csY1" fmla="*/ 1945 h 41334"/>
              <a:gd name="csX2" fmla="*/ 150973 w 157129"/>
              <a:gd name="csY2" fmla="*/ 14889 h 41334"/>
              <a:gd name="csX3" fmla="*/ 151351 w 157129"/>
              <a:gd name="csY3" fmla="*/ 34058 h 41334"/>
              <a:gd name="csX4" fmla="*/ 133492 w 157129"/>
              <a:gd name="csY4" fmla="*/ 40697 h 41334"/>
              <a:gd name="csX5" fmla="*/ 106556 w 157129"/>
              <a:gd name="csY5" fmla="*/ 41092 h 41334"/>
              <a:gd name="csX6" fmla="*/ 13373 w 157129"/>
              <a:gd name="csY6" fmla="*/ 40708 h 41334"/>
              <a:gd name="csX7" fmla="*/ 1312 w 157129"/>
              <a:gd name="csY7" fmla="*/ 40191 h 41334"/>
              <a:gd name="csX8" fmla="*/ 3367 w 157129"/>
              <a:gd name="csY8" fmla="*/ 13162 h 41334"/>
              <a:gd name="csX9" fmla="*/ 20752 w 157129"/>
              <a:gd name="csY9" fmla="*/ 1879 h 41334"/>
              <a:gd name="csX10" fmla="*/ 52625 w 157129"/>
              <a:gd name="csY10" fmla="*/ 1332 h 41334"/>
              <a:gd name="csX11" fmla="*/ 69625 w 157129"/>
              <a:gd name="csY11" fmla="*/ 0 h 4133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157129" h="41334">
                <a:moveTo>
                  <a:pt x="69625" y="0"/>
                </a:moveTo>
                <a:cubicBezTo>
                  <a:pt x="87054" y="491"/>
                  <a:pt x="103407" y="373"/>
                  <a:pt x="119596" y="1945"/>
                </a:cubicBezTo>
                <a:cubicBezTo>
                  <a:pt x="131020" y="3055"/>
                  <a:pt x="141713" y="7767"/>
                  <a:pt x="150973" y="14889"/>
                </a:cubicBezTo>
                <a:cubicBezTo>
                  <a:pt x="158820" y="20925"/>
                  <a:pt x="159403" y="28236"/>
                  <a:pt x="151351" y="34058"/>
                </a:cubicBezTo>
                <a:cubicBezTo>
                  <a:pt x="146355" y="37671"/>
                  <a:pt x="139678" y="39910"/>
                  <a:pt x="133492" y="40697"/>
                </a:cubicBezTo>
                <a:cubicBezTo>
                  <a:pt x="124640" y="41824"/>
                  <a:pt x="115547" y="41120"/>
                  <a:pt x="106556" y="41092"/>
                </a:cubicBezTo>
                <a:cubicBezTo>
                  <a:pt x="75495" y="40996"/>
                  <a:pt x="44434" y="40872"/>
                  <a:pt x="13373" y="40708"/>
                </a:cubicBezTo>
                <a:cubicBezTo>
                  <a:pt x="9391" y="40687"/>
                  <a:pt x="5410" y="40374"/>
                  <a:pt x="1312" y="40191"/>
                </a:cubicBezTo>
                <a:cubicBezTo>
                  <a:pt x="-1416" y="30384"/>
                  <a:pt x="523" y="21512"/>
                  <a:pt x="3367" y="13162"/>
                </a:cubicBezTo>
                <a:cubicBezTo>
                  <a:pt x="5963" y="5538"/>
                  <a:pt x="12701" y="2077"/>
                  <a:pt x="20752" y="1879"/>
                </a:cubicBezTo>
                <a:cubicBezTo>
                  <a:pt x="31375" y="1617"/>
                  <a:pt x="42004" y="1647"/>
                  <a:pt x="52625" y="1332"/>
                </a:cubicBezTo>
                <a:cubicBezTo>
                  <a:pt x="57918" y="1176"/>
                  <a:pt x="63195" y="535"/>
                  <a:pt x="69625" y="0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8" name="Free-form: Shape 97">
            <a:extLst>
              <a:ext uri="{FF2B5EF4-FFF2-40B4-BE49-F238E27FC236}">
                <a16:creationId xmlns:a16="http://schemas.microsoft.com/office/drawing/2014/main" id="{9DAAF639-AEE8-F10A-83A7-BEF6E57D1079}"/>
              </a:ext>
            </a:extLst>
          </p:cNvPr>
          <p:cNvSpPr/>
          <p:nvPr/>
        </p:nvSpPr>
        <p:spPr>
          <a:xfrm>
            <a:off x="8520236" y="4784889"/>
            <a:ext cx="112410" cy="265855"/>
          </a:xfrm>
          <a:custGeom>
            <a:avLst/>
            <a:gdLst>
              <a:gd name="csX0" fmla="*/ 91265 w 164579"/>
              <a:gd name="csY0" fmla="*/ 157878 h 389238"/>
              <a:gd name="csX1" fmla="*/ 112882 w 164579"/>
              <a:gd name="csY1" fmla="*/ 252738 h 389238"/>
              <a:gd name="csX2" fmla="*/ 164579 w 164579"/>
              <a:gd name="csY2" fmla="*/ 389238 h 389238"/>
              <a:gd name="csX3" fmla="*/ 0 w 164579"/>
              <a:gd name="csY3" fmla="*/ 389238 h 389238"/>
              <a:gd name="csX4" fmla="*/ 5184 w 164579"/>
              <a:gd name="csY4" fmla="*/ 260105 h 389238"/>
              <a:gd name="csX5" fmla="*/ 7989 w 164579"/>
              <a:gd name="csY5" fmla="*/ 131182 h 389238"/>
              <a:gd name="csX6" fmla="*/ 8093 w 164579"/>
              <a:gd name="csY6" fmla="*/ 2390 h 389238"/>
              <a:gd name="csX7" fmla="*/ 76429 w 164579"/>
              <a:gd name="csY7" fmla="*/ 1531 h 389238"/>
              <a:gd name="csX8" fmla="*/ 91265 w 164579"/>
              <a:gd name="csY8" fmla="*/ 157878 h 38923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</a:cxnLst>
            <a:rect l="l" t="t" r="r" b="b"/>
            <a:pathLst>
              <a:path w="164579" h="389238">
                <a:moveTo>
                  <a:pt x="91265" y="157878"/>
                </a:moveTo>
                <a:cubicBezTo>
                  <a:pt x="98425" y="190232"/>
                  <a:pt x="104539" y="221785"/>
                  <a:pt x="112882" y="252738"/>
                </a:cubicBezTo>
                <a:cubicBezTo>
                  <a:pt x="125498" y="299549"/>
                  <a:pt x="141482" y="345258"/>
                  <a:pt x="164579" y="389238"/>
                </a:cubicBezTo>
                <a:cubicBezTo>
                  <a:pt x="109753" y="389238"/>
                  <a:pt x="55706" y="389238"/>
                  <a:pt x="0" y="389238"/>
                </a:cubicBezTo>
                <a:cubicBezTo>
                  <a:pt x="1781" y="345633"/>
                  <a:pt x="3844" y="302880"/>
                  <a:pt x="5184" y="260105"/>
                </a:cubicBezTo>
                <a:cubicBezTo>
                  <a:pt x="6529" y="217143"/>
                  <a:pt x="7519" y="174162"/>
                  <a:pt x="7989" y="131182"/>
                </a:cubicBezTo>
                <a:cubicBezTo>
                  <a:pt x="8459" y="88239"/>
                  <a:pt x="8093" y="45287"/>
                  <a:pt x="8093" y="2390"/>
                </a:cubicBezTo>
                <a:cubicBezTo>
                  <a:pt x="17041" y="-288"/>
                  <a:pt x="58537" y="-913"/>
                  <a:pt x="76429" y="1531"/>
                </a:cubicBezTo>
                <a:cubicBezTo>
                  <a:pt x="79287" y="53276"/>
                  <a:pt x="82219" y="105359"/>
                  <a:pt x="91265" y="157878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9" name="Free-form: Shape 98">
            <a:extLst>
              <a:ext uri="{FF2B5EF4-FFF2-40B4-BE49-F238E27FC236}">
                <a16:creationId xmlns:a16="http://schemas.microsoft.com/office/drawing/2014/main" id="{54509607-5905-1CAC-CF8D-11C7BD58D7A9}"/>
              </a:ext>
            </a:extLst>
          </p:cNvPr>
          <p:cNvSpPr/>
          <p:nvPr/>
        </p:nvSpPr>
        <p:spPr>
          <a:xfrm>
            <a:off x="8522236" y="5241953"/>
            <a:ext cx="220393" cy="43851"/>
          </a:xfrm>
          <a:custGeom>
            <a:avLst/>
            <a:gdLst>
              <a:gd name="csX0" fmla="*/ 199184 w 322677"/>
              <a:gd name="csY0" fmla="*/ 59136 h 64202"/>
              <a:gd name="csX1" fmla="*/ 0 w 322677"/>
              <a:gd name="csY1" fmla="*/ 62697 h 64202"/>
              <a:gd name="csX2" fmla="*/ 0 w 322677"/>
              <a:gd name="csY2" fmla="*/ 18400 h 64202"/>
              <a:gd name="csX3" fmla="*/ 10601 w 322677"/>
              <a:gd name="csY3" fmla="*/ 17750 h 64202"/>
              <a:gd name="csX4" fmla="*/ 156563 w 322677"/>
              <a:gd name="csY4" fmla="*/ 15074 h 64202"/>
              <a:gd name="csX5" fmla="*/ 266479 w 322677"/>
              <a:gd name="csY5" fmla="*/ 4814 h 64202"/>
              <a:gd name="csX6" fmla="*/ 296798 w 322677"/>
              <a:gd name="csY6" fmla="*/ 344 h 64202"/>
              <a:gd name="csX7" fmla="*/ 309983 w 322677"/>
              <a:gd name="csY7" fmla="*/ 6097 h 64202"/>
              <a:gd name="csX8" fmla="*/ 322678 w 322677"/>
              <a:gd name="csY8" fmla="*/ 40406 h 64202"/>
              <a:gd name="csX9" fmla="*/ 199184 w 322677"/>
              <a:gd name="csY9" fmla="*/ 59136 h 6420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322677" h="64202">
                <a:moveTo>
                  <a:pt x="199184" y="59136"/>
                </a:moveTo>
                <a:cubicBezTo>
                  <a:pt x="132374" y="65824"/>
                  <a:pt x="66629" y="64605"/>
                  <a:pt x="0" y="62697"/>
                </a:cubicBezTo>
                <a:cubicBezTo>
                  <a:pt x="0" y="47160"/>
                  <a:pt x="0" y="33409"/>
                  <a:pt x="0" y="18400"/>
                </a:cubicBezTo>
                <a:cubicBezTo>
                  <a:pt x="3587" y="18160"/>
                  <a:pt x="7120" y="17536"/>
                  <a:pt x="10601" y="17750"/>
                </a:cubicBezTo>
                <a:cubicBezTo>
                  <a:pt x="59329" y="20736"/>
                  <a:pt x="107987" y="18533"/>
                  <a:pt x="156563" y="15074"/>
                </a:cubicBezTo>
                <a:cubicBezTo>
                  <a:pt x="193260" y="12461"/>
                  <a:pt x="229860" y="8449"/>
                  <a:pt x="266479" y="4814"/>
                </a:cubicBezTo>
                <a:cubicBezTo>
                  <a:pt x="276635" y="3806"/>
                  <a:pt x="286748" y="2160"/>
                  <a:pt x="296798" y="344"/>
                </a:cubicBezTo>
                <a:cubicBezTo>
                  <a:pt x="302773" y="-735"/>
                  <a:pt x="306536" y="602"/>
                  <a:pt x="309983" y="6097"/>
                </a:cubicBezTo>
                <a:cubicBezTo>
                  <a:pt x="316405" y="16331"/>
                  <a:pt x="320231" y="27243"/>
                  <a:pt x="322678" y="40406"/>
                </a:cubicBezTo>
                <a:cubicBezTo>
                  <a:pt x="281944" y="49611"/>
                  <a:pt x="241309" y="55431"/>
                  <a:pt x="199184" y="59136"/>
                </a:cubicBezTo>
                <a:close/>
              </a:path>
            </a:pathLst>
          </a:custGeom>
          <a:solidFill>
            <a:schemeClr val="bg1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0" name="Oval 99">
            <a:extLst>
              <a:ext uri="{FF2B5EF4-FFF2-40B4-BE49-F238E27FC236}">
                <a16:creationId xmlns:a16="http://schemas.microsoft.com/office/drawing/2014/main" id="{BB1FA88B-4AA3-5B93-D790-10C32B8D8554}"/>
              </a:ext>
            </a:extLst>
          </p:cNvPr>
          <p:cNvSpPr/>
          <p:nvPr/>
        </p:nvSpPr>
        <p:spPr>
          <a:xfrm>
            <a:off x="5113468" y="4913906"/>
            <a:ext cx="593138" cy="104135"/>
          </a:xfrm>
          <a:prstGeom prst="ellipse">
            <a:avLst/>
          </a:prstGeom>
          <a:solidFill>
            <a:schemeClr val="tx1">
              <a:alpha val="6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1" name="Free-form: Shape 100">
            <a:extLst>
              <a:ext uri="{FF2B5EF4-FFF2-40B4-BE49-F238E27FC236}">
                <a16:creationId xmlns:a16="http://schemas.microsoft.com/office/drawing/2014/main" id="{A06373E7-D65C-4C1F-B65A-EFFC1BBD4323}"/>
              </a:ext>
            </a:extLst>
          </p:cNvPr>
          <p:cNvSpPr/>
          <p:nvPr/>
        </p:nvSpPr>
        <p:spPr>
          <a:xfrm>
            <a:off x="5212134" y="4233255"/>
            <a:ext cx="433137" cy="770022"/>
          </a:xfrm>
          <a:custGeom>
            <a:avLst/>
            <a:gdLst>
              <a:gd name="csX0" fmla="*/ 581793 w 697572"/>
              <a:gd name="csY0" fmla="*/ 1234401 h 1240128"/>
              <a:gd name="csX1" fmla="*/ 577427 w 697572"/>
              <a:gd name="csY1" fmla="*/ 1234156 h 1240128"/>
              <a:gd name="csX2" fmla="*/ 559133 w 697572"/>
              <a:gd name="csY2" fmla="*/ 1230909 h 1240128"/>
              <a:gd name="csX3" fmla="*/ 516706 w 697572"/>
              <a:gd name="csY3" fmla="*/ 1235117 h 1240128"/>
              <a:gd name="csX4" fmla="*/ 475244 w 697572"/>
              <a:gd name="csY4" fmla="*/ 1237506 h 1240128"/>
              <a:gd name="csX5" fmla="*/ 371154 w 697572"/>
              <a:gd name="csY5" fmla="*/ 1239428 h 1240128"/>
              <a:gd name="csX6" fmla="*/ 276813 w 697572"/>
              <a:gd name="csY6" fmla="*/ 1237654 h 1240128"/>
              <a:gd name="csX7" fmla="*/ 268212 w 697572"/>
              <a:gd name="csY7" fmla="*/ 1237635 h 1240128"/>
              <a:gd name="csX8" fmla="*/ 262072 w 697572"/>
              <a:gd name="csY8" fmla="*/ 1237523 h 1240128"/>
              <a:gd name="csX9" fmla="*/ 195111 w 697572"/>
              <a:gd name="csY9" fmla="*/ 1232775 h 1240128"/>
              <a:gd name="csX10" fmla="*/ 145060 w 697572"/>
              <a:gd name="csY10" fmla="*/ 1230076 h 1240128"/>
              <a:gd name="csX11" fmla="*/ 114933 w 697572"/>
              <a:gd name="csY11" fmla="*/ 1225832 h 1240128"/>
              <a:gd name="csX12" fmla="*/ 72642 w 697572"/>
              <a:gd name="csY12" fmla="*/ 1220237 h 1240128"/>
              <a:gd name="csX13" fmla="*/ 10894 w 697572"/>
              <a:gd name="csY13" fmla="*/ 1205737 h 1240128"/>
              <a:gd name="csX14" fmla="*/ 5856 w 697572"/>
              <a:gd name="csY14" fmla="*/ 1202799 h 1240128"/>
              <a:gd name="csX15" fmla="*/ 40 w 697572"/>
              <a:gd name="csY15" fmla="*/ 1174450 h 1240128"/>
              <a:gd name="csX16" fmla="*/ 19831 w 697572"/>
              <a:gd name="csY16" fmla="*/ 1118410 h 1240128"/>
              <a:gd name="csX17" fmla="*/ 22004 w 697572"/>
              <a:gd name="csY17" fmla="*/ 1107240 h 1240128"/>
              <a:gd name="csX18" fmla="*/ 25947 w 697572"/>
              <a:gd name="csY18" fmla="*/ 1038650 h 1240128"/>
              <a:gd name="csX19" fmla="*/ 58234 w 697572"/>
              <a:gd name="csY19" fmla="*/ 988567 h 1240128"/>
              <a:gd name="csX20" fmla="*/ 118645 w 697572"/>
              <a:gd name="csY20" fmla="*/ 928298 h 1240128"/>
              <a:gd name="csX21" fmla="*/ 126320 w 697572"/>
              <a:gd name="csY21" fmla="*/ 892015 h 1240128"/>
              <a:gd name="csX22" fmla="*/ 120345 w 697572"/>
              <a:gd name="csY22" fmla="*/ 872258 h 1240128"/>
              <a:gd name="csX23" fmla="*/ 125668 w 697572"/>
              <a:gd name="csY23" fmla="*/ 861640 h 1240128"/>
              <a:gd name="csX24" fmla="*/ 154237 w 697572"/>
              <a:gd name="csY24" fmla="*/ 850716 h 1240128"/>
              <a:gd name="csX25" fmla="*/ 170248 w 697572"/>
              <a:gd name="csY25" fmla="*/ 836767 h 1240128"/>
              <a:gd name="csX26" fmla="*/ 187840 w 697572"/>
              <a:gd name="csY26" fmla="*/ 796341 h 1240128"/>
              <a:gd name="csX27" fmla="*/ 209346 w 697572"/>
              <a:gd name="csY27" fmla="*/ 743126 h 1240128"/>
              <a:gd name="csX28" fmla="*/ 210630 w 697572"/>
              <a:gd name="csY28" fmla="*/ 737219 h 1240128"/>
              <a:gd name="csX29" fmla="*/ 213836 w 697572"/>
              <a:gd name="csY29" fmla="*/ 720505 h 1240128"/>
              <a:gd name="csX30" fmla="*/ 227791 w 697572"/>
              <a:gd name="csY30" fmla="*/ 667353 h 1240128"/>
              <a:gd name="csX31" fmla="*/ 241013 w 697572"/>
              <a:gd name="csY31" fmla="*/ 599151 h 1240128"/>
              <a:gd name="csX32" fmla="*/ 247322 w 697572"/>
              <a:gd name="csY32" fmla="*/ 542242 h 1240128"/>
              <a:gd name="csX33" fmla="*/ 247948 w 697572"/>
              <a:gd name="csY33" fmla="*/ 499296 h 1240128"/>
              <a:gd name="csX34" fmla="*/ 247577 w 697572"/>
              <a:gd name="csY34" fmla="*/ 470384 h 1240128"/>
              <a:gd name="csX35" fmla="*/ 238877 w 697572"/>
              <a:gd name="csY35" fmla="*/ 460987 h 1240128"/>
              <a:gd name="csX36" fmla="*/ 222040 w 697572"/>
              <a:gd name="csY36" fmla="*/ 458353 h 1240128"/>
              <a:gd name="csX37" fmla="*/ 172193 w 697572"/>
              <a:gd name="csY37" fmla="*/ 433714 h 1240128"/>
              <a:gd name="csX38" fmla="*/ 168410 w 697572"/>
              <a:gd name="csY38" fmla="*/ 396591 h 1240128"/>
              <a:gd name="csX39" fmla="*/ 209826 w 697572"/>
              <a:gd name="csY39" fmla="*/ 367773 h 1240128"/>
              <a:gd name="csX40" fmla="*/ 250732 w 697572"/>
              <a:gd name="csY40" fmla="*/ 355208 h 1240128"/>
              <a:gd name="csX41" fmla="*/ 258289 w 697572"/>
              <a:gd name="csY41" fmla="*/ 350426 h 1240128"/>
              <a:gd name="csX42" fmla="*/ 233274 w 697572"/>
              <a:gd name="csY42" fmla="*/ 333513 h 1240128"/>
              <a:gd name="csX43" fmla="*/ 229677 w 697572"/>
              <a:gd name="csY43" fmla="*/ 333922 h 1240128"/>
              <a:gd name="csX44" fmla="*/ 230149 w 697572"/>
              <a:gd name="csY44" fmla="*/ 332979 h 1240128"/>
              <a:gd name="csX45" fmla="*/ 227053 w 697572"/>
              <a:gd name="csY45" fmla="*/ 327076 h 1240128"/>
              <a:gd name="csX46" fmla="*/ 196769 w 697572"/>
              <a:gd name="csY46" fmla="*/ 291380 h 1240128"/>
              <a:gd name="csX47" fmla="*/ 184389 w 697572"/>
              <a:gd name="csY47" fmla="*/ 264042 h 1240128"/>
              <a:gd name="csX48" fmla="*/ 180630 w 697572"/>
              <a:gd name="csY48" fmla="*/ 257839 h 1240128"/>
              <a:gd name="csX49" fmla="*/ 176231 w 697572"/>
              <a:gd name="csY49" fmla="*/ 250643 h 1240128"/>
              <a:gd name="csX50" fmla="*/ 170073 w 697572"/>
              <a:gd name="csY50" fmla="*/ 146723 h 1240128"/>
              <a:gd name="csX51" fmla="*/ 180929 w 697572"/>
              <a:gd name="csY51" fmla="*/ 114280 h 1240128"/>
              <a:gd name="csX52" fmla="*/ 180839 w 697572"/>
              <a:gd name="csY52" fmla="*/ 101501 h 1240128"/>
              <a:gd name="csX53" fmla="*/ 233536 w 697572"/>
              <a:gd name="csY53" fmla="*/ 39653 h 1240128"/>
              <a:gd name="csX54" fmla="*/ 347618 w 697572"/>
              <a:gd name="csY54" fmla="*/ 35 h 1240128"/>
              <a:gd name="csX55" fmla="*/ 437139 w 697572"/>
              <a:gd name="csY55" fmla="*/ 22396 h 1240128"/>
              <a:gd name="csX56" fmla="*/ 529052 w 697572"/>
              <a:gd name="csY56" fmla="*/ 131093 h 1240128"/>
              <a:gd name="csX57" fmla="*/ 518497 w 697572"/>
              <a:gd name="csY57" fmla="*/ 271517 h 1240128"/>
              <a:gd name="csX58" fmla="*/ 500808 w 697572"/>
              <a:gd name="csY58" fmla="*/ 287385 h 1240128"/>
              <a:gd name="csX59" fmla="*/ 472948 w 697572"/>
              <a:gd name="csY59" fmla="*/ 323290 h 1240128"/>
              <a:gd name="csX60" fmla="*/ 469385 w 697572"/>
              <a:gd name="csY60" fmla="*/ 331565 h 1240128"/>
              <a:gd name="csX61" fmla="*/ 468293 w 697572"/>
              <a:gd name="csY61" fmla="*/ 331320 h 1240128"/>
              <a:gd name="csX62" fmla="*/ 459542 w 697572"/>
              <a:gd name="csY62" fmla="*/ 338942 h 1240128"/>
              <a:gd name="csX63" fmla="*/ 458492 w 697572"/>
              <a:gd name="csY63" fmla="*/ 338671 h 1240128"/>
              <a:gd name="csX64" fmla="*/ 436978 w 697572"/>
              <a:gd name="csY64" fmla="*/ 352226 h 1240128"/>
              <a:gd name="csX65" fmla="*/ 472329 w 697572"/>
              <a:gd name="csY65" fmla="*/ 362890 h 1240128"/>
              <a:gd name="csX66" fmla="*/ 523779 w 697572"/>
              <a:gd name="csY66" fmla="*/ 391962 h 1240128"/>
              <a:gd name="csX67" fmla="*/ 527344 w 697572"/>
              <a:gd name="csY67" fmla="*/ 430096 h 1240128"/>
              <a:gd name="csX68" fmla="*/ 504112 w 697572"/>
              <a:gd name="csY68" fmla="*/ 449628 h 1240128"/>
              <a:gd name="csX69" fmla="*/ 459430 w 697572"/>
              <a:gd name="csY69" fmla="*/ 461116 h 1240128"/>
              <a:gd name="csX70" fmla="*/ 446666 w 697572"/>
              <a:gd name="csY70" fmla="*/ 474229 h 1240128"/>
              <a:gd name="csX71" fmla="*/ 449133 w 697572"/>
              <a:gd name="csY71" fmla="*/ 531639 h 1240128"/>
              <a:gd name="csX72" fmla="*/ 454546 w 697572"/>
              <a:gd name="csY72" fmla="*/ 588688 h 1240128"/>
              <a:gd name="csX73" fmla="*/ 466126 w 697572"/>
              <a:gd name="csY73" fmla="*/ 649736 h 1240128"/>
              <a:gd name="csX74" fmla="*/ 512154 w 697572"/>
              <a:gd name="csY74" fmla="*/ 794006 h 1240128"/>
              <a:gd name="csX75" fmla="*/ 525763 w 697572"/>
              <a:gd name="csY75" fmla="*/ 834323 h 1240128"/>
              <a:gd name="csX76" fmla="*/ 530555 w 697572"/>
              <a:gd name="csY76" fmla="*/ 845114 h 1240128"/>
              <a:gd name="csX77" fmla="*/ 554424 w 697572"/>
              <a:gd name="csY77" fmla="*/ 856618 h 1240128"/>
              <a:gd name="csX78" fmla="*/ 572880 w 697572"/>
              <a:gd name="csY78" fmla="*/ 862546 h 1240128"/>
              <a:gd name="csX79" fmla="*/ 578643 w 697572"/>
              <a:gd name="csY79" fmla="*/ 880396 h 1240128"/>
              <a:gd name="csX80" fmla="*/ 572188 w 697572"/>
              <a:gd name="csY80" fmla="*/ 899820 h 1240128"/>
              <a:gd name="csX81" fmla="*/ 582698 w 697572"/>
              <a:gd name="csY81" fmla="*/ 930382 h 1240128"/>
              <a:gd name="csX82" fmla="*/ 604747 w 697572"/>
              <a:gd name="csY82" fmla="*/ 960852 h 1240128"/>
              <a:gd name="csX83" fmla="*/ 613863 w 697572"/>
              <a:gd name="csY83" fmla="*/ 968311 h 1240128"/>
              <a:gd name="csX84" fmla="*/ 629435 w 697572"/>
              <a:gd name="csY84" fmla="*/ 981186 h 1240128"/>
              <a:gd name="csX85" fmla="*/ 633611 w 697572"/>
              <a:gd name="csY85" fmla="*/ 985609 h 1240128"/>
              <a:gd name="csX86" fmla="*/ 673790 w 697572"/>
              <a:gd name="csY86" fmla="*/ 1049348 h 1240128"/>
              <a:gd name="csX87" fmla="*/ 675873 w 697572"/>
              <a:gd name="csY87" fmla="*/ 1092839 h 1240128"/>
              <a:gd name="csX88" fmla="*/ 681668 w 697572"/>
              <a:gd name="csY88" fmla="*/ 1129292 h 1240128"/>
              <a:gd name="csX89" fmla="*/ 697338 w 697572"/>
              <a:gd name="csY89" fmla="*/ 1196079 h 1240128"/>
              <a:gd name="csX90" fmla="*/ 690637 w 697572"/>
              <a:gd name="csY90" fmla="*/ 1205035 h 1240128"/>
              <a:gd name="csX91" fmla="*/ 639777 w 697572"/>
              <a:gd name="csY91" fmla="*/ 1217994 h 1240128"/>
              <a:gd name="csX92" fmla="*/ 587072 w 697572"/>
              <a:gd name="csY92" fmla="*/ 1227761 h 1240128"/>
              <a:gd name="csX93" fmla="*/ 581793 w 697572"/>
              <a:gd name="csY93" fmla="*/ 1234401 h 1240128"/>
              <a:gd name="csX94" fmla="*/ 357446 w 697572"/>
              <a:gd name="csY94" fmla="*/ 903795 h 1240128"/>
              <a:gd name="csX95" fmla="*/ 344445 w 697572"/>
              <a:gd name="csY95" fmla="*/ 903795 h 1240128"/>
              <a:gd name="csX96" fmla="*/ 349212 w 697572"/>
              <a:gd name="csY96" fmla="*/ 950515 h 1240128"/>
              <a:gd name="csX97" fmla="*/ 349538 w 697572"/>
              <a:gd name="csY97" fmla="*/ 1069392 h 1240128"/>
              <a:gd name="csX98" fmla="*/ 349415 w 697572"/>
              <a:gd name="csY98" fmla="*/ 1108925 h 1240128"/>
              <a:gd name="csX99" fmla="*/ 647726 w 697572"/>
              <a:gd name="csY99" fmla="*/ 1089872 h 1240128"/>
              <a:gd name="csX100" fmla="*/ 647654 w 697572"/>
              <a:gd name="csY100" fmla="*/ 1076267 h 1240128"/>
              <a:gd name="csX101" fmla="*/ 610267 w 697572"/>
              <a:gd name="csY101" fmla="*/ 994126 h 1240128"/>
              <a:gd name="csX102" fmla="*/ 571459 w 697572"/>
              <a:gd name="csY102" fmla="*/ 956568 h 1240128"/>
              <a:gd name="csX103" fmla="*/ 541653 w 697572"/>
              <a:gd name="csY103" fmla="*/ 901544 h 1240128"/>
              <a:gd name="csX104" fmla="*/ 539477 w 697572"/>
              <a:gd name="csY104" fmla="*/ 895908 h 1240128"/>
              <a:gd name="csX105" fmla="*/ 357446 w 697572"/>
              <a:gd name="csY105" fmla="*/ 903795 h 1240128"/>
              <a:gd name="csX106" fmla="*/ 300108 w 697572"/>
              <a:gd name="csY106" fmla="*/ 85260 h 1240128"/>
              <a:gd name="csX107" fmla="*/ 290213 w 697572"/>
              <a:gd name="csY107" fmla="*/ 127888 h 1240128"/>
              <a:gd name="csX108" fmla="*/ 331056 w 697572"/>
              <a:gd name="csY108" fmla="*/ 214168 h 1240128"/>
              <a:gd name="csX109" fmla="*/ 424717 w 697572"/>
              <a:gd name="csY109" fmla="*/ 245160 h 1240128"/>
              <a:gd name="csX110" fmla="*/ 496752 w 697572"/>
              <a:gd name="csY110" fmla="*/ 141256 h 1240128"/>
              <a:gd name="csX111" fmla="*/ 390320 w 697572"/>
              <a:gd name="csY111" fmla="*/ 43995 h 1240128"/>
              <a:gd name="csX112" fmla="*/ 300108 w 697572"/>
              <a:gd name="csY112" fmla="*/ 85260 h 1240128"/>
              <a:gd name="csX113" fmla="*/ 343360 w 697572"/>
              <a:gd name="csY113" fmla="*/ 634332 h 1240128"/>
              <a:gd name="csX114" fmla="*/ 340877 w 697572"/>
              <a:gd name="csY114" fmla="*/ 732259 h 1240128"/>
              <a:gd name="csX115" fmla="*/ 338360 w 697572"/>
              <a:gd name="csY115" fmla="*/ 810538 h 1240128"/>
              <a:gd name="csX116" fmla="*/ 337115 w 697572"/>
              <a:gd name="csY116" fmla="*/ 817736 h 1240128"/>
              <a:gd name="csX117" fmla="*/ 336516 w 697572"/>
              <a:gd name="csY117" fmla="*/ 863022 h 1240128"/>
              <a:gd name="csX118" fmla="*/ 343436 w 697572"/>
              <a:gd name="csY118" fmla="*/ 864027 h 1240128"/>
              <a:gd name="csX119" fmla="*/ 406718 w 697572"/>
              <a:gd name="csY119" fmla="*/ 862982 h 1240128"/>
              <a:gd name="csX120" fmla="*/ 456888 w 697572"/>
              <a:gd name="csY120" fmla="*/ 861794 h 1240128"/>
              <a:gd name="csX121" fmla="*/ 495873 w 697572"/>
              <a:gd name="csY121" fmla="*/ 863963 h 1240128"/>
              <a:gd name="csX122" fmla="*/ 509286 w 697572"/>
              <a:gd name="csY122" fmla="*/ 863595 h 1240128"/>
              <a:gd name="csX123" fmla="*/ 516956 w 697572"/>
              <a:gd name="csY123" fmla="*/ 856791 h 1240128"/>
              <a:gd name="csX124" fmla="*/ 513920 w 697572"/>
              <a:gd name="csY124" fmla="*/ 848709 h 1240128"/>
              <a:gd name="csX125" fmla="*/ 506683 w 697572"/>
              <a:gd name="csY125" fmla="*/ 839054 h 1240128"/>
              <a:gd name="csX126" fmla="*/ 488629 w 697572"/>
              <a:gd name="csY126" fmla="*/ 799037 h 1240128"/>
              <a:gd name="csX127" fmla="*/ 456922 w 697572"/>
              <a:gd name="csY127" fmla="*/ 696297 h 1240128"/>
              <a:gd name="csX128" fmla="*/ 441346 w 697572"/>
              <a:gd name="csY128" fmla="*/ 619885 h 1240128"/>
              <a:gd name="csX129" fmla="*/ 435963 w 697572"/>
              <a:gd name="csY129" fmla="*/ 582529 h 1240128"/>
              <a:gd name="csX130" fmla="*/ 429497 w 697572"/>
              <a:gd name="csY130" fmla="*/ 521990 h 1240128"/>
              <a:gd name="csX131" fmla="*/ 426887 w 697572"/>
              <a:gd name="csY131" fmla="*/ 471989 h 1240128"/>
              <a:gd name="csX132" fmla="*/ 413744 w 697572"/>
              <a:gd name="csY132" fmla="*/ 461077 h 1240128"/>
              <a:gd name="csX133" fmla="*/ 353573 w 697572"/>
              <a:gd name="csY133" fmla="*/ 461120 h 1240128"/>
              <a:gd name="csX134" fmla="*/ 344160 w 697572"/>
              <a:gd name="csY134" fmla="*/ 462286 h 1240128"/>
              <a:gd name="csX135" fmla="*/ 343404 w 697572"/>
              <a:gd name="csY135" fmla="*/ 469192 h 1240128"/>
              <a:gd name="csX136" fmla="*/ 343469 w 697572"/>
              <a:gd name="csY136" fmla="*/ 574797 h 1240128"/>
              <a:gd name="csX137" fmla="*/ 345522 w 697572"/>
              <a:gd name="csY137" fmla="*/ 591669 h 1240128"/>
              <a:gd name="csX138" fmla="*/ 343360 w 697572"/>
              <a:gd name="csY138" fmla="*/ 634332 h 1240128"/>
              <a:gd name="csX139" fmla="*/ 416946 w 697572"/>
              <a:gd name="csY139" fmla="*/ 385943 h 1240128"/>
              <a:gd name="csX140" fmla="*/ 401091 w 697572"/>
              <a:gd name="csY140" fmla="*/ 387162 h 1240128"/>
              <a:gd name="csX141" fmla="*/ 369218 w 697572"/>
              <a:gd name="csY141" fmla="*/ 387708 h 1240128"/>
              <a:gd name="csX142" fmla="*/ 351833 w 697572"/>
              <a:gd name="csY142" fmla="*/ 398991 h 1240128"/>
              <a:gd name="csX143" fmla="*/ 349778 w 697572"/>
              <a:gd name="csY143" fmla="*/ 426021 h 1240128"/>
              <a:gd name="csX144" fmla="*/ 361839 w 697572"/>
              <a:gd name="csY144" fmla="*/ 426538 h 1240128"/>
              <a:gd name="csX145" fmla="*/ 455022 w 697572"/>
              <a:gd name="csY145" fmla="*/ 426922 h 1240128"/>
              <a:gd name="csX146" fmla="*/ 481958 w 697572"/>
              <a:gd name="csY146" fmla="*/ 426527 h 1240128"/>
              <a:gd name="csX147" fmla="*/ 499817 w 697572"/>
              <a:gd name="csY147" fmla="*/ 419888 h 1240128"/>
              <a:gd name="csX148" fmla="*/ 499439 w 697572"/>
              <a:gd name="csY148" fmla="*/ 400719 h 1240128"/>
              <a:gd name="csX149" fmla="*/ 468062 w 697572"/>
              <a:gd name="csY149" fmla="*/ 387775 h 1240128"/>
              <a:gd name="csX150" fmla="*/ 416946 w 697572"/>
              <a:gd name="csY150" fmla="*/ 385943 h 1240128"/>
              <a:gd name="csX151" fmla="*/ 636802 w 697572"/>
              <a:gd name="csY151" fmla="*/ 1190940 h 1240128"/>
              <a:gd name="csX152" fmla="*/ 666492 w 697572"/>
              <a:gd name="csY152" fmla="*/ 1184186 h 1240128"/>
              <a:gd name="csX153" fmla="*/ 674465 w 697572"/>
              <a:gd name="csY153" fmla="*/ 1170880 h 1240128"/>
              <a:gd name="csX154" fmla="*/ 662462 w 697572"/>
              <a:gd name="csY154" fmla="*/ 1141464 h 1240128"/>
              <a:gd name="csX155" fmla="*/ 645564 w 697572"/>
              <a:gd name="csY155" fmla="*/ 1131937 h 1240128"/>
              <a:gd name="csX156" fmla="*/ 627387 w 697572"/>
              <a:gd name="csY156" fmla="*/ 1133618 h 1240128"/>
              <a:gd name="csX157" fmla="*/ 583917 w 697572"/>
              <a:gd name="csY157" fmla="*/ 1139222 h 1240128"/>
              <a:gd name="csX158" fmla="*/ 543741 w 697572"/>
              <a:gd name="csY158" fmla="*/ 1141869 h 1240128"/>
              <a:gd name="csX159" fmla="*/ 512146 w 697572"/>
              <a:gd name="csY159" fmla="*/ 1144418 h 1240128"/>
              <a:gd name="csX160" fmla="*/ 447711 w 697572"/>
              <a:gd name="csY160" fmla="*/ 1148973 h 1240128"/>
              <a:gd name="csX161" fmla="*/ 351979 w 697572"/>
              <a:gd name="csY161" fmla="*/ 1149200 h 1240128"/>
              <a:gd name="csX162" fmla="*/ 338443 w 697572"/>
              <a:gd name="csY162" fmla="*/ 1150040 h 1240128"/>
              <a:gd name="csX163" fmla="*/ 338451 w 697572"/>
              <a:gd name="csY163" fmla="*/ 1190780 h 1240128"/>
              <a:gd name="csX164" fmla="*/ 351082 w 697572"/>
              <a:gd name="csY164" fmla="*/ 1207015 h 1240128"/>
              <a:gd name="csX165" fmla="*/ 358298 w 697572"/>
              <a:gd name="csY165" fmla="*/ 1208094 h 1240128"/>
              <a:gd name="csX166" fmla="*/ 521229 w 697572"/>
              <a:gd name="csY166" fmla="*/ 1205646 h 1240128"/>
              <a:gd name="csX167" fmla="*/ 523675 w 697572"/>
              <a:gd name="csY167" fmla="*/ 1205490 h 1240128"/>
              <a:gd name="csX168" fmla="*/ 580423 w 697572"/>
              <a:gd name="csY168" fmla="*/ 1198350 h 1240128"/>
              <a:gd name="csX169" fmla="*/ 636802 w 697572"/>
              <a:gd name="csY169" fmla="*/ 1190940 h 124012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</a:cxnLst>
            <a:rect l="l" t="t" r="r" b="b"/>
            <a:pathLst>
              <a:path w="697572" h="1240128">
                <a:moveTo>
                  <a:pt x="581793" y="1234401"/>
                </a:moveTo>
                <a:cubicBezTo>
                  <a:pt x="580693" y="1234661"/>
                  <a:pt x="579594" y="1234922"/>
                  <a:pt x="577427" y="1234156"/>
                </a:cubicBezTo>
                <a:cubicBezTo>
                  <a:pt x="571216" y="1227899"/>
                  <a:pt x="564912" y="1230441"/>
                  <a:pt x="559133" y="1230909"/>
                </a:cubicBezTo>
                <a:cubicBezTo>
                  <a:pt x="544971" y="1232056"/>
                  <a:pt x="530869" y="1233971"/>
                  <a:pt x="516706" y="1235117"/>
                </a:cubicBezTo>
                <a:cubicBezTo>
                  <a:pt x="502910" y="1236232"/>
                  <a:pt x="489077" y="1237097"/>
                  <a:pt x="475244" y="1237506"/>
                </a:cubicBezTo>
                <a:cubicBezTo>
                  <a:pt x="440539" y="1238535"/>
                  <a:pt x="405696" y="1241458"/>
                  <a:pt x="371154" y="1239428"/>
                </a:cubicBezTo>
                <a:cubicBezTo>
                  <a:pt x="339645" y="1237575"/>
                  <a:pt x="308239" y="1238753"/>
                  <a:pt x="276813" y="1237654"/>
                </a:cubicBezTo>
                <a:cubicBezTo>
                  <a:pt x="273949" y="1237553"/>
                  <a:pt x="271079" y="1237652"/>
                  <a:pt x="268212" y="1237635"/>
                </a:cubicBezTo>
                <a:cubicBezTo>
                  <a:pt x="266165" y="1237623"/>
                  <a:pt x="264111" y="1237668"/>
                  <a:pt x="262072" y="1237523"/>
                </a:cubicBezTo>
                <a:cubicBezTo>
                  <a:pt x="239751" y="1235944"/>
                  <a:pt x="217441" y="1234201"/>
                  <a:pt x="195111" y="1232775"/>
                </a:cubicBezTo>
                <a:cubicBezTo>
                  <a:pt x="178437" y="1231710"/>
                  <a:pt x="161712" y="1231378"/>
                  <a:pt x="145060" y="1230076"/>
                </a:cubicBezTo>
                <a:cubicBezTo>
                  <a:pt x="134969" y="1229287"/>
                  <a:pt x="124987" y="1227177"/>
                  <a:pt x="114933" y="1225832"/>
                </a:cubicBezTo>
                <a:cubicBezTo>
                  <a:pt x="100834" y="1223946"/>
                  <a:pt x="86554" y="1223022"/>
                  <a:pt x="72642" y="1220237"/>
                </a:cubicBezTo>
                <a:cubicBezTo>
                  <a:pt x="51920" y="1216091"/>
                  <a:pt x="31443" y="1210723"/>
                  <a:pt x="10894" y="1205737"/>
                </a:cubicBezTo>
                <a:cubicBezTo>
                  <a:pt x="9027" y="1205284"/>
                  <a:pt x="6196" y="1204140"/>
                  <a:pt x="5856" y="1202799"/>
                </a:cubicBezTo>
                <a:cubicBezTo>
                  <a:pt x="3474" y="1193418"/>
                  <a:pt x="-438" y="1183796"/>
                  <a:pt x="40" y="1174450"/>
                </a:cubicBezTo>
                <a:cubicBezTo>
                  <a:pt x="1079" y="1154149"/>
                  <a:pt x="9757" y="1135843"/>
                  <a:pt x="19831" y="1118410"/>
                </a:cubicBezTo>
                <a:cubicBezTo>
                  <a:pt x="21968" y="1114713"/>
                  <a:pt x="22970" y="1111858"/>
                  <a:pt x="22004" y="1107240"/>
                </a:cubicBezTo>
                <a:cubicBezTo>
                  <a:pt x="17168" y="1084118"/>
                  <a:pt x="17717" y="1061168"/>
                  <a:pt x="25947" y="1038650"/>
                </a:cubicBezTo>
                <a:cubicBezTo>
                  <a:pt x="32954" y="1019481"/>
                  <a:pt x="44478" y="1003118"/>
                  <a:pt x="58234" y="988567"/>
                </a:cubicBezTo>
                <a:cubicBezTo>
                  <a:pt x="77769" y="967902"/>
                  <a:pt x="97978" y="947832"/>
                  <a:pt x="118645" y="928298"/>
                </a:cubicBezTo>
                <a:cubicBezTo>
                  <a:pt x="130104" y="917467"/>
                  <a:pt x="131835" y="905961"/>
                  <a:pt x="126320" y="892015"/>
                </a:cubicBezTo>
                <a:cubicBezTo>
                  <a:pt x="123798" y="885637"/>
                  <a:pt x="122123" y="878904"/>
                  <a:pt x="120345" y="872258"/>
                </a:cubicBezTo>
                <a:cubicBezTo>
                  <a:pt x="119029" y="867341"/>
                  <a:pt x="120162" y="863613"/>
                  <a:pt x="125668" y="861640"/>
                </a:cubicBezTo>
                <a:cubicBezTo>
                  <a:pt x="135266" y="858201"/>
                  <a:pt x="144535" y="853788"/>
                  <a:pt x="154237" y="850716"/>
                </a:cubicBezTo>
                <a:cubicBezTo>
                  <a:pt x="161882" y="848296"/>
                  <a:pt x="167110" y="843897"/>
                  <a:pt x="170248" y="836767"/>
                </a:cubicBezTo>
                <a:cubicBezTo>
                  <a:pt x="176168" y="823316"/>
                  <a:pt x="182193" y="809907"/>
                  <a:pt x="187840" y="796341"/>
                </a:cubicBezTo>
                <a:cubicBezTo>
                  <a:pt x="195194" y="778679"/>
                  <a:pt x="202250" y="760894"/>
                  <a:pt x="209346" y="743126"/>
                </a:cubicBezTo>
                <a:cubicBezTo>
                  <a:pt x="210083" y="741280"/>
                  <a:pt x="210252" y="739200"/>
                  <a:pt x="210630" y="737219"/>
                </a:cubicBezTo>
                <a:cubicBezTo>
                  <a:pt x="211694" y="731645"/>
                  <a:pt x="212425" y="725987"/>
                  <a:pt x="213836" y="720505"/>
                </a:cubicBezTo>
                <a:cubicBezTo>
                  <a:pt x="218406" y="702764"/>
                  <a:pt x="223811" y="685219"/>
                  <a:pt x="227791" y="667353"/>
                </a:cubicBezTo>
                <a:cubicBezTo>
                  <a:pt x="232826" y="644755"/>
                  <a:pt x="237367" y="622009"/>
                  <a:pt x="241013" y="599151"/>
                </a:cubicBezTo>
                <a:cubicBezTo>
                  <a:pt x="244018" y="580319"/>
                  <a:pt x="246001" y="561272"/>
                  <a:pt x="247322" y="542242"/>
                </a:cubicBezTo>
                <a:cubicBezTo>
                  <a:pt x="248312" y="527975"/>
                  <a:pt x="246344" y="513451"/>
                  <a:pt x="247948" y="499296"/>
                </a:cubicBezTo>
                <a:cubicBezTo>
                  <a:pt x="249066" y="489432"/>
                  <a:pt x="247923" y="480014"/>
                  <a:pt x="247577" y="470384"/>
                </a:cubicBezTo>
                <a:cubicBezTo>
                  <a:pt x="247364" y="464453"/>
                  <a:pt x="245121" y="461397"/>
                  <a:pt x="238877" y="460987"/>
                </a:cubicBezTo>
                <a:cubicBezTo>
                  <a:pt x="233224" y="460615"/>
                  <a:pt x="227461" y="459920"/>
                  <a:pt x="222040" y="458353"/>
                </a:cubicBezTo>
                <a:cubicBezTo>
                  <a:pt x="203991" y="453134"/>
                  <a:pt x="185737" y="448229"/>
                  <a:pt x="172193" y="433714"/>
                </a:cubicBezTo>
                <a:cubicBezTo>
                  <a:pt x="162702" y="423544"/>
                  <a:pt x="160887" y="408134"/>
                  <a:pt x="168410" y="396591"/>
                </a:cubicBezTo>
                <a:cubicBezTo>
                  <a:pt x="178294" y="381428"/>
                  <a:pt x="193736" y="373793"/>
                  <a:pt x="209826" y="367773"/>
                </a:cubicBezTo>
                <a:cubicBezTo>
                  <a:pt x="223159" y="362784"/>
                  <a:pt x="237124" y="359493"/>
                  <a:pt x="250732" y="355208"/>
                </a:cubicBezTo>
                <a:cubicBezTo>
                  <a:pt x="253085" y="354467"/>
                  <a:pt x="255058" y="352518"/>
                  <a:pt x="258289" y="350426"/>
                </a:cubicBezTo>
                <a:cubicBezTo>
                  <a:pt x="250173" y="342610"/>
                  <a:pt x="241833" y="337880"/>
                  <a:pt x="233274" y="333513"/>
                </a:cubicBezTo>
                <a:cubicBezTo>
                  <a:pt x="232377" y="333055"/>
                  <a:pt x="230890" y="333758"/>
                  <a:pt x="229677" y="333922"/>
                </a:cubicBezTo>
                <a:cubicBezTo>
                  <a:pt x="229677" y="333922"/>
                  <a:pt x="230323" y="333834"/>
                  <a:pt x="230149" y="332979"/>
                </a:cubicBezTo>
                <a:cubicBezTo>
                  <a:pt x="229023" y="330409"/>
                  <a:pt x="228502" y="328059"/>
                  <a:pt x="227053" y="327076"/>
                </a:cubicBezTo>
                <a:cubicBezTo>
                  <a:pt x="213615" y="317962"/>
                  <a:pt x="204643" y="305332"/>
                  <a:pt x="196769" y="291380"/>
                </a:cubicBezTo>
                <a:cubicBezTo>
                  <a:pt x="191792" y="282564"/>
                  <a:pt x="185421" y="274665"/>
                  <a:pt x="184389" y="264042"/>
                </a:cubicBezTo>
                <a:cubicBezTo>
                  <a:pt x="184179" y="261874"/>
                  <a:pt x="181925" y="259908"/>
                  <a:pt x="180630" y="257839"/>
                </a:cubicBezTo>
                <a:cubicBezTo>
                  <a:pt x="179137" y="255454"/>
                  <a:pt x="177317" y="253204"/>
                  <a:pt x="176231" y="250643"/>
                </a:cubicBezTo>
                <a:cubicBezTo>
                  <a:pt x="161865" y="216749"/>
                  <a:pt x="159606" y="182060"/>
                  <a:pt x="170073" y="146723"/>
                </a:cubicBezTo>
                <a:cubicBezTo>
                  <a:pt x="173311" y="135795"/>
                  <a:pt x="177248" y="125074"/>
                  <a:pt x="180929" y="114280"/>
                </a:cubicBezTo>
                <a:cubicBezTo>
                  <a:pt x="182396" y="109981"/>
                  <a:pt x="183922" y="105742"/>
                  <a:pt x="180839" y="101501"/>
                </a:cubicBezTo>
                <a:cubicBezTo>
                  <a:pt x="192473" y="75833"/>
                  <a:pt x="211344" y="56271"/>
                  <a:pt x="233536" y="39653"/>
                </a:cubicBezTo>
                <a:cubicBezTo>
                  <a:pt x="267321" y="14353"/>
                  <a:pt x="305621" y="873"/>
                  <a:pt x="347618" y="35"/>
                </a:cubicBezTo>
                <a:cubicBezTo>
                  <a:pt x="379125" y="-593"/>
                  <a:pt x="409214" y="7172"/>
                  <a:pt x="437139" y="22396"/>
                </a:cubicBezTo>
                <a:cubicBezTo>
                  <a:pt x="481844" y="46766"/>
                  <a:pt x="514077" y="82116"/>
                  <a:pt x="529052" y="131093"/>
                </a:cubicBezTo>
                <a:cubicBezTo>
                  <a:pt x="543544" y="178495"/>
                  <a:pt x="541630" y="225548"/>
                  <a:pt x="518497" y="271517"/>
                </a:cubicBezTo>
                <a:cubicBezTo>
                  <a:pt x="511428" y="277096"/>
                  <a:pt x="503848" y="281136"/>
                  <a:pt x="500808" y="287385"/>
                </a:cubicBezTo>
                <a:cubicBezTo>
                  <a:pt x="493932" y="301522"/>
                  <a:pt x="483805" y="312513"/>
                  <a:pt x="472948" y="323290"/>
                </a:cubicBezTo>
                <a:cubicBezTo>
                  <a:pt x="470972" y="325253"/>
                  <a:pt x="470533" y="328767"/>
                  <a:pt x="469385" y="331565"/>
                </a:cubicBezTo>
                <a:cubicBezTo>
                  <a:pt x="469385" y="331565"/>
                  <a:pt x="469172" y="331584"/>
                  <a:pt x="468293" y="331320"/>
                </a:cubicBezTo>
                <a:cubicBezTo>
                  <a:pt x="461937" y="330836"/>
                  <a:pt x="458618" y="332772"/>
                  <a:pt x="459542" y="338942"/>
                </a:cubicBezTo>
                <a:cubicBezTo>
                  <a:pt x="459542" y="338942"/>
                  <a:pt x="459473" y="338913"/>
                  <a:pt x="458492" y="338671"/>
                </a:cubicBezTo>
                <a:cubicBezTo>
                  <a:pt x="450936" y="342653"/>
                  <a:pt x="440712" y="341355"/>
                  <a:pt x="436978" y="352226"/>
                </a:cubicBezTo>
                <a:cubicBezTo>
                  <a:pt x="449178" y="355911"/>
                  <a:pt x="460733" y="359469"/>
                  <a:pt x="472329" y="362890"/>
                </a:cubicBezTo>
                <a:cubicBezTo>
                  <a:pt x="491728" y="368613"/>
                  <a:pt x="510182" y="375784"/>
                  <a:pt x="523779" y="391962"/>
                </a:cubicBezTo>
                <a:cubicBezTo>
                  <a:pt x="535849" y="406326"/>
                  <a:pt x="534845" y="420076"/>
                  <a:pt x="527344" y="430096"/>
                </a:cubicBezTo>
                <a:cubicBezTo>
                  <a:pt x="521323" y="438139"/>
                  <a:pt x="513928" y="445333"/>
                  <a:pt x="504112" y="449628"/>
                </a:cubicBezTo>
                <a:cubicBezTo>
                  <a:pt x="489776" y="455901"/>
                  <a:pt x="475173" y="460486"/>
                  <a:pt x="459430" y="461116"/>
                </a:cubicBezTo>
                <a:cubicBezTo>
                  <a:pt x="448415" y="461557"/>
                  <a:pt x="446384" y="463369"/>
                  <a:pt x="446666" y="474229"/>
                </a:cubicBezTo>
                <a:cubicBezTo>
                  <a:pt x="447164" y="493376"/>
                  <a:pt x="447839" y="512533"/>
                  <a:pt x="449133" y="531639"/>
                </a:cubicBezTo>
                <a:cubicBezTo>
                  <a:pt x="450424" y="550696"/>
                  <a:pt x="451783" y="569809"/>
                  <a:pt x="454546" y="588688"/>
                </a:cubicBezTo>
                <a:cubicBezTo>
                  <a:pt x="457543" y="609164"/>
                  <a:pt x="462165" y="629403"/>
                  <a:pt x="466126" y="649736"/>
                </a:cubicBezTo>
                <a:cubicBezTo>
                  <a:pt x="475845" y="699621"/>
                  <a:pt x="493414" y="746980"/>
                  <a:pt x="512154" y="794006"/>
                </a:cubicBezTo>
                <a:cubicBezTo>
                  <a:pt x="517387" y="807138"/>
                  <a:pt x="525145" y="819463"/>
                  <a:pt x="525763" y="834323"/>
                </a:cubicBezTo>
                <a:cubicBezTo>
                  <a:pt x="525919" y="838081"/>
                  <a:pt x="527739" y="843335"/>
                  <a:pt x="530555" y="845114"/>
                </a:cubicBezTo>
                <a:cubicBezTo>
                  <a:pt x="537981" y="849801"/>
                  <a:pt x="546243" y="853278"/>
                  <a:pt x="554424" y="856618"/>
                </a:cubicBezTo>
                <a:cubicBezTo>
                  <a:pt x="560391" y="859054"/>
                  <a:pt x="567041" y="859887"/>
                  <a:pt x="572880" y="862546"/>
                </a:cubicBezTo>
                <a:cubicBezTo>
                  <a:pt x="581470" y="866458"/>
                  <a:pt x="582467" y="871415"/>
                  <a:pt x="578643" y="880396"/>
                </a:cubicBezTo>
                <a:cubicBezTo>
                  <a:pt x="575969" y="886677"/>
                  <a:pt x="572900" y="893182"/>
                  <a:pt x="572188" y="899820"/>
                </a:cubicBezTo>
                <a:cubicBezTo>
                  <a:pt x="570960" y="911271"/>
                  <a:pt x="576506" y="920944"/>
                  <a:pt x="582698" y="930382"/>
                </a:cubicBezTo>
                <a:cubicBezTo>
                  <a:pt x="589569" y="940856"/>
                  <a:pt x="600933" y="947930"/>
                  <a:pt x="604747" y="960852"/>
                </a:cubicBezTo>
                <a:cubicBezTo>
                  <a:pt x="605684" y="964030"/>
                  <a:pt x="610294" y="967128"/>
                  <a:pt x="613863" y="968311"/>
                </a:cubicBezTo>
                <a:cubicBezTo>
                  <a:pt x="620963" y="970665"/>
                  <a:pt x="625924" y="974774"/>
                  <a:pt x="629435" y="981186"/>
                </a:cubicBezTo>
                <a:cubicBezTo>
                  <a:pt x="630381" y="982913"/>
                  <a:pt x="631977" y="984459"/>
                  <a:pt x="633611" y="985609"/>
                </a:cubicBezTo>
                <a:cubicBezTo>
                  <a:pt x="655878" y="1001272"/>
                  <a:pt x="668032" y="1023762"/>
                  <a:pt x="673790" y="1049348"/>
                </a:cubicBezTo>
                <a:cubicBezTo>
                  <a:pt x="676936" y="1063327"/>
                  <a:pt x="679769" y="1077802"/>
                  <a:pt x="675873" y="1092839"/>
                </a:cubicBezTo>
                <a:cubicBezTo>
                  <a:pt x="672677" y="1105174"/>
                  <a:pt x="673042" y="1116963"/>
                  <a:pt x="681668" y="1129292"/>
                </a:cubicBezTo>
                <a:cubicBezTo>
                  <a:pt x="695321" y="1148802"/>
                  <a:pt x="698550" y="1172235"/>
                  <a:pt x="697338" y="1196079"/>
                </a:cubicBezTo>
                <a:cubicBezTo>
                  <a:pt x="697087" y="1201014"/>
                  <a:pt x="694979" y="1203886"/>
                  <a:pt x="690637" y="1205035"/>
                </a:cubicBezTo>
                <a:cubicBezTo>
                  <a:pt x="673723" y="1209511"/>
                  <a:pt x="656856" y="1214241"/>
                  <a:pt x="639777" y="1217994"/>
                </a:cubicBezTo>
                <a:cubicBezTo>
                  <a:pt x="622334" y="1221827"/>
                  <a:pt x="604691" y="1224790"/>
                  <a:pt x="587072" y="1227761"/>
                </a:cubicBezTo>
                <a:cubicBezTo>
                  <a:pt x="582708" y="1228497"/>
                  <a:pt x="581724" y="1230736"/>
                  <a:pt x="581793" y="1234401"/>
                </a:cubicBezTo>
                <a:moveTo>
                  <a:pt x="357446" y="903795"/>
                </a:moveTo>
                <a:cubicBezTo>
                  <a:pt x="353141" y="903795"/>
                  <a:pt x="348835" y="903795"/>
                  <a:pt x="344445" y="903795"/>
                </a:cubicBezTo>
                <a:cubicBezTo>
                  <a:pt x="346169" y="920562"/>
                  <a:pt x="347908" y="935520"/>
                  <a:pt x="349212" y="950515"/>
                </a:cubicBezTo>
                <a:cubicBezTo>
                  <a:pt x="352656" y="990125"/>
                  <a:pt x="351941" y="1029743"/>
                  <a:pt x="349538" y="1069392"/>
                </a:cubicBezTo>
                <a:cubicBezTo>
                  <a:pt x="348759" y="1082241"/>
                  <a:pt x="349415" y="1095176"/>
                  <a:pt x="349415" y="1108925"/>
                </a:cubicBezTo>
                <a:cubicBezTo>
                  <a:pt x="449467" y="1111953"/>
                  <a:pt x="548509" y="1104712"/>
                  <a:pt x="647726" y="1089872"/>
                </a:cubicBezTo>
                <a:cubicBezTo>
                  <a:pt x="647726" y="1084313"/>
                  <a:pt x="648180" y="1080225"/>
                  <a:pt x="647654" y="1076267"/>
                </a:cubicBezTo>
                <a:cubicBezTo>
                  <a:pt x="643515" y="1045124"/>
                  <a:pt x="633172" y="1016714"/>
                  <a:pt x="610267" y="994126"/>
                </a:cubicBezTo>
                <a:cubicBezTo>
                  <a:pt x="597451" y="981485"/>
                  <a:pt x="584392" y="969090"/>
                  <a:pt x="571459" y="956568"/>
                </a:cubicBezTo>
                <a:cubicBezTo>
                  <a:pt x="555751" y="941359"/>
                  <a:pt x="544836" y="923558"/>
                  <a:pt x="541653" y="901544"/>
                </a:cubicBezTo>
                <a:cubicBezTo>
                  <a:pt x="541430" y="900007"/>
                  <a:pt x="540528" y="898570"/>
                  <a:pt x="539477" y="895908"/>
                </a:cubicBezTo>
                <a:cubicBezTo>
                  <a:pt x="479736" y="901652"/>
                  <a:pt x="419815" y="904536"/>
                  <a:pt x="357446" y="903795"/>
                </a:cubicBezTo>
                <a:moveTo>
                  <a:pt x="300108" y="85260"/>
                </a:moveTo>
                <a:cubicBezTo>
                  <a:pt x="293656" y="98745"/>
                  <a:pt x="289202" y="113094"/>
                  <a:pt x="290213" y="127888"/>
                </a:cubicBezTo>
                <a:cubicBezTo>
                  <a:pt x="292527" y="161736"/>
                  <a:pt x="304185" y="191723"/>
                  <a:pt x="331056" y="214168"/>
                </a:cubicBezTo>
                <a:cubicBezTo>
                  <a:pt x="358172" y="236816"/>
                  <a:pt x="388435" y="249934"/>
                  <a:pt x="424717" y="245160"/>
                </a:cubicBezTo>
                <a:cubicBezTo>
                  <a:pt x="468593" y="239387"/>
                  <a:pt x="509574" y="203365"/>
                  <a:pt x="496752" y="141256"/>
                </a:cubicBezTo>
                <a:cubicBezTo>
                  <a:pt x="487021" y="94124"/>
                  <a:pt x="447261" y="51874"/>
                  <a:pt x="390320" y="43995"/>
                </a:cubicBezTo>
                <a:cubicBezTo>
                  <a:pt x="353241" y="38865"/>
                  <a:pt x="321136" y="48750"/>
                  <a:pt x="300108" y="85260"/>
                </a:cubicBezTo>
                <a:moveTo>
                  <a:pt x="343360" y="634332"/>
                </a:moveTo>
                <a:cubicBezTo>
                  <a:pt x="342539" y="666975"/>
                  <a:pt x="341785" y="699619"/>
                  <a:pt x="340877" y="732259"/>
                </a:cubicBezTo>
                <a:cubicBezTo>
                  <a:pt x="340151" y="758355"/>
                  <a:pt x="339265" y="784447"/>
                  <a:pt x="338360" y="810538"/>
                </a:cubicBezTo>
                <a:cubicBezTo>
                  <a:pt x="338277" y="812948"/>
                  <a:pt x="337465" y="815325"/>
                  <a:pt x="337115" y="817736"/>
                </a:cubicBezTo>
                <a:cubicBezTo>
                  <a:pt x="334935" y="832710"/>
                  <a:pt x="336026" y="847647"/>
                  <a:pt x="336516" y="863022"/>
                </a:cubicBezTo>
                <a:cubicBezTo>
                  <a:pt x="339537" y="863479"/>
                  <a:pt x="341490" y="864053"/>
                  <a:pt x="343436" y="864027"/>
                </a:cubicBezTo>
                <a:cubicBezTo>
                  <a:pt x="364531" y="863739"/>
                  <a:pt x="385626" y="863422"/>
                  <a:pt x="406718" y="862982"/>
                </a:cubicBezTo>
                <a:cubicBezTo>
                  <a:pt x="423444" y="862634"/>
                  <a:pt x="440168" y="861675"/>
                  <a:pt x="456888" y="861794"/>
                </a:cubicBezTo>
                <a:cubicBezTo>
                  <a:pt x="469887" y="861886"/>
                  <a:pt x="482872" y="863302"/>
                  <a:pt x="495873" y="863963"/>
                </a:cubicBezTo>
                <a:cubicBezTo>
                  <a:pt x="500358" y="864191"/>
                  <a:pt x="505108" y="864773"/>
                  <a:pt x="509286" y="863595"/>
                </a:cubicBezTo>
                <a:cubicBezTo>
                  <a:pt x="512346" y="862732"/>
                  <a:pt x="515714" y="859703"/>
                  <a:pt x="516956" y="856791"/>
                </a:cubicBezTo>
                <a:cubicBezTo>
                  <a:pt x="517783" y="854851"/>
                  <a:pt x="515475" y="851192"/>
                  <a:pt x="513920" y="848709"/>
                </a:cubicBezTo>
                <a:cubicBezTo>
                  <a:pt x="511791" y="845308"/>
                  <a:pt x="508393" y="842606"/>
                  <a:pt x="506683" y="839054"/>
                </a:cubicBezTo>
                <a:cubicBezTo>
                  <a:pt x="500331" y="825864"/>
                  <a:pt x="493224" y="812855"/>
                  <a:pt x="488629" y="799037"/>
                </a:cubicBezTo>
                <a:cubicBezTo>
                  <a:pt x="477322" y="765031"/>
                  <a:pt x="466537" y="730814"/>
                  <a:pt x="456922" y="696297"/>
                </a:cubicBezTo>
                <a:cubicBezTo>
                  <a:pt x="449953" y="671276"/>
                  <a:pt x="443477" y="646020"/>
                  <a:pt x="441346" y="619885"/>
                </a:cubicBezTo>
                <a:cubicBezTo>
                  <a:pt x="440327" y="607371"/>
                  <a:pt x="437466" y="595018"/>
                  <a:pt x="435963" y="582529"/>
                </a:cubicBezTo>
                <a:cubicBezTo>
                  <a:pt x="433539" y="562380"/>
                  <a:pt x="431154" y="542212"/>
                  <a:pt x="429497" y="521990"/>
                </a:cubicBezTo>
                <a:cubicBezTo>
                  <a:pt x="428135" y="505363"/>
                  <a:pt x="428437" y="488593"/>
                  <a:pt x="426887" y="471989"/>
                </a:cubicBezTo>
                <a:cubicBezTo>
                  <a:pt x="425874" y="461140"/>
                  <a:pt x="424983" y="461120"/>
                  <a:pt x="413744" y="461077"/>
                </a:cubicBezTo>
                <a:cubicBezTo>
                  <a:pt x="393687" y="461000"/>
                  <a:pt x="373630" y="461011"/>
                  <a:pt x="353573" y="461120"/>
                </a:cubicBezTo>
                <a:cubicBezTo>
                  <a:pt x="350472" y="461137"/>
                  <a:pt x="347374" y="461869"/>
                  <a:pt x="344160" y="462286"/>
                </a:cubicBezTo>
                <a:cubicBezTo>
                  <a:pt x="343828" y="465198"/>
                  <a:pt x="343406" y="467195"/>
                  <a:pt x="343404" y="469192"/>
                </a:cubicBezTo>
                <a:cubicBezTo>
                  <a:pt x="343360" y="504394"/>
                  <a:pt x="343267" y="539596"/>
                  <a:pt x="343469" y="574797"/>
                </a:cubicBezTo>
                <a:cubicBezTo>
                  <a:pt x="343501" y="580426"/>
                  <a:pt x="345652" y="586065"/>
                  <a:pt x="345522" y="591669"/>
                </a:cubicBezTo>
                <a:cubicBezTo>
                  <a:pt x="345214" y="605082"/>
                  <a:pt x="344131" y="618478"/>
                  <a:pt x="343360" y="634332"/>
                </a:cubicBezTo>
                <a:moveTo>
                  <a:pt x="416946" y="385943"/>
                </a:moveTo>
                <a:cubicBezTo>
                  <a:pt x="411661" y="386365"/>
                  <a:pt x="406384" y="387006"/>
                  <a:pt x="401091" y="387162"/>
                </a:cubicBezTo>
                <a:cubicBezTo>
                  <a:pt x="390470" y="387477"/>
                  <a:pt x="379841" y="387447"/>
                  <a:pt x="369218" y="387708"/>
                </a:cubicBezTo>
                <a:cubicBezTo>
                  <a:pt x="361167" y="387906"/>
                  <a:pt x="354429" y="391368"/>
                  <a:pt x="351833" y="398991"/>
                </a:cubicBezTo>
                <a:cubicBezTo>
                  <a:pt x="348989" y="407342"/>
                  <a:pt x="347050" y="416214"/>
                  <a:pt x="349778" y="426021"/>
                </a:cubicBezTo>
                <a:cubicBezTo>
                  <a:pt x="353876" y="426204"/>
                  <a:pt x="357857" y="426517"/>
                  <a:pt x="361839" y="426538"/>
                </a:cubicBezTo>
                <a:cubicBezTo>
                  <a:pt x="392900" y="426701"/>
                  <a:pt x="423961" y="426826"/>
                  <a:pt x="455022" y="426922"/>
                </a:cubicBezTo>
                <a:cubicBezTo>
                  <a:pt x="464013" y="426950"/>
                  <a:pt x="473106" y="427654"/>
                  <a:pt x="481958" y="426527"/>
                </a:cubicBezTo>
                <a:cubicBezTo>
                  <a:pt x="488144" y="425740"/>
                  <a:pt x="494821" y="423501"/>
                  <a:pt x="499817" y="419888"/>
                </a:cubicBezTo>
                <a:cubicBezTo>
                  <a:pt x="507869" y="414066"/>
                  <a:pt x="507286" y="406755"/>
                  <a:pt x="499439" y="400719"/>
                </a:cubicBezTo>
                <a:cubicBezTo>
                  <a:pt x="490179" y="393597"/>
                  <a:pt x="479486" y="388885"/>
                  <a:pt x="468062" y="387775"/>
                </a:cubicBezTo>
                <a:cubicBezTo>
                  <a:pt x="451873" y="386202"/>
                  <a:pt x="435520" y="386321"/>
                  <a:pt x="416946" y="385943"/>
                </a:cubicBezTo>
                <a:moveTo>
                  <a:pt x="636802" y="1190940"/>
                </a:moveTo>
                <a:cubicBezTo>
                  <a:pt x="646709" y="1188723"/>
                  <a:pt x="656705" y="1186841"/>
                  <a:pt x="666492" y="1184186"/>
                </a:cubicBezTo>
                <a:cubicBezTo>
                  <a:pt x="674710" y="1181958"/>
                  <a:pt x="676989" y="1178509"/>
                  <a:pt x="674465" y="1170880"/>
                </a:cubicBezTo>
                <a:cubicBezTo>
                  <a:pt x="671144" y="1160843"/>
                  <a:pt x="667026" y="1151009"/>
                  <a:pt x="662462" y="1141464"/>
                </a:cubicBezTo>
                <a:cubicBezTo>
                  <a:pt x="659273" y="1134795"/>
                  <a:pt x="653671" y="1130908"/>
                  <a:pt x="645564" y="1131937"/>
                </a:cubicBezTo>
                <a:cubicBezTo>
                  <a:pt x="639532" y="1132703"/>
                  <a:pt x="633423" y="1132867"/>
                  <a:pt x="627387" y="1133618"/>
                </a:cubicBezTo>
                <a:cubicBezTo>
                  <a:pt x="612888" y="1135421"/>
                  <a:pt x="598449" y="1137770"/>
                  <a:pt x="583917" y="1139222"/>
                </a:cubicBezTo>
                <a:cubicBezTo>
                  <a:pt x="570571" y="1140557"/>
                  <a:pt x="557130" y="1140930"/>
                  <a:pt x="543741" y="1141869"/>
                </a:cubicBezTo>
                <a:cubicBezTo>
                  <a:pt x="533202" y="1142610"/>
                  <a:pt x="522682" y="1143623"/>
                  <a:pt x="512146" y="1144418"/>
                </a:cubicBezTo>
                <a:cubicBezTo>
                  <a:pt x="490671" y="1146038"/>
                  <a:pt x="469214" y="1148450"/>
                  <a:pt x="447711" y="1148973"/>
                </a:cubicBezTo>
                <a:cubicBezTo>
                  <a:pt x="415817" y="1149749"/>
                  <a:pt x="383891" y="1149136"/>
                  <a:pt x="351979" y="1149200"/>
                </a:cubicBezTo>
                <a:cubicBezTo>
                  <a:pt x="347698" y="1149209"/>
                  <a:pt x="343419" y="1149717"/>
                  <a:pt x="338443" y="1150040"/>
                </a:cubicBezTo>
                <a:cubicBezTo>
                  <a:pt x="338443" y="1164651"/>
                  <a:pt x="338413" y="1177715"/>
                  <a:pt x="338451" y="1190780"/>
                </a:cubicBezTo>
                <a:cubicBezTo>
                  <a:pt x="338490" y="1204031"/>
                  <a:pt x="338512" y="1204062"/>
                  <a:pt x="351082" y="1207015"/>
                </a:cubicBezTo>
                <a:cubicBezTo>
                  <a:pt x="353445" y="1207570"/>
                  <a:pt x="355895" y="1208128"/>
                  <a:pt x="358298" y="1208094"/>
                </a:cubicBezTo>
                <a:cubicBezTo>
                  <a:pt x="412608" y="1207329"/>
                  <a:pt x="466919" y="1206484"/>
                  <a:pt x="521229" y="1205646"/>
                </a:cubicBezTo>
                <a:cubicBezTo>
                  <a:pt x="522045" y="1205634"/>
                  <a:pt x="522865" y="1205591"/>
                  <a:pt x="523675" y="1205490"/>
                </a:cubicBezTo>
                <a:cubicBezTo>
                  <a:pt x="542593" y="1203123"/>
                  <a:pt x="561519" y="1200820"/>
                  <a:pt x="580423" y="1198350"/>
                </a:cubicBezTo>
                <a:cubicBezTo>
                  <a:pt x="598523" y="1195985"/>
                  <a:pt x="616599" y="1193446"/>
                  <a:pt x="636802" y="1190940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2" name="Free-form: Shape 101">
            <a:extLst>
              <a:ext uri="{FF2B5EF4-FFF2-40B4-BE49-F238E27FC236}">
                <a16:creationId xmlns:a16="http://schemas.microsoft.com/office/drawing/2014/main" id="{B3137D5D-81FA-6180-C46A-DAC0E4947831}"/>
              </a:ext>
            </a:extLst>
          </p:cNvPr>
          <p:cNvSpPr/>
          <p:nvPr/>
        </p:nvSpPr>
        <p:spPr>
          <a:xfrm>
            <a:off x="5464042" y="5004693"/>
            <a:ext cx="17183" cy="1817"/>
          </a:xfrm>
          <a:custGeom>
            <a:avLst/>
            <a:gdLst>
              <a:gd name="csX0" fmla="*/ 0 w 27674"/>
              <a:gd name="csY0" fmla="*/ 2915 h 2925"/>
              <a:gd name="csX1" fmla="*/ 27675 w 27674"/>
              <a:gd name="csY1" fmla="*/ 1550 h 2925"/>
              <a:gd name="csX2" fmla="*/ 0 w 27674"/>
              <a:gd name="csY2" fmla="*/ 2915 h 292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27674" h="2925">
                <a:moveTo>
                  <a:pt x="0" y="2915"/>
                </a:moveTo>
                <a:cubicBezTo>
                  <a:pt x="8211" y="-1939"/>
                  <a:pt x="17625" y="498"/>
                  <a:pt x="27675" y="1550"/>
                </a:cubicBezTo>
                <a:cubicBezTo>
                  <a:pt x="19225" y="2593"/>
                  <a:pt x="10029" y="2999"/>
                  <a:pt x="0" y="2915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3" name="Free-form: Shape 102">
            <a:extLst>
              <a:ext uri="{FF2B5EF4-FFF2-40B4-BE49-F238E27FC236}">
                <a16:creationId xmlns:a16="http://schemas.microsoft.com/office/drawing/2014/main" id="{494F8A42-3996-7315-FF0E-882C23CF13FB}"/>
              </a:ext>
            </a:extLst>
          </p:cNvPr>
          <p:cNvSpPr/>
          <p:nvPr/>
        </p:nvSpPr>
        <p:spPr>
          <a:xfrm>
            <a:off x="5416738" y="5005717"/>
            <a:ext cx="11179" cy="700"/>
          </a:xfrm>
          <a:custGeom>
            <a:avLst/>
            <a:gdLst>
              <a:gd name="csX0" fmla="*/ 0 w 18003"/>
              <a:gd name="csY0" fmla="*/ 1050 h 1128"/>
              <a:gd name="csX1" fmla="*/ 18004 w 18003"/>
              <a:gd name="csY1" fmla="*/ 93 h 1128"/>
              <a:gd name="csX2" fmla="*/ 0 w 18003"/>
              <a:gd name="csY2" fmla="*/ 1050 h 112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8003" h="1128">
                <a:moveTo>
                  <a:pt x="0" y="1050"/>
                </a:moveTo>
                <a:cubicBezTo>
                  <a:pt x="5276" y="182"/>
                  <a:pt x="11306" y="-189"/>
                  <a:pt x="18004" y="93"/>
                </a:cubicBezTo>
                <a:cubicBezTo>
                  <a:pt x="12699" y="1013"/>
                  <a:pt x="6726" y="1280"/>
                  <a:pt x="0" y="1050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4" name="Free-form: Shape 103">
            <a:extLst>
              <a:ext uri="{FF2B5EF4-FFF2-40B4-BE49-F238E27FC236}">
                <a16:creationId xmlns:a16="http://schemas.microsoft.com/office/drawing/2014/main" id="{7E39A91E-4DA9-FEBF-854A-A3C583960B57}"/>
              </a:ext>
            </a:extLst>
          </p:cNvPr>
          <p:cNvSpPr/>
          <p:nvPr/>
        </p:nvSpPr>
        <p:spPr>
          <a:xfrm>
            <a:off x="5497705" y="4438917"/>
            <a:ext cx="5257" cy="4867"/>
          </a:xfrm>
          <a:custGeom>
            <a:avLst/>
            <a:gdLst>
              <a:gd name="csX0" fmla="*/ 473 w 8466"/>
              <a:gd name="csY0" fmla="*/ 7839 h 7838"/>
              <a:gd name="csX1" fmla="*/ 8466 w 8466"/>
              <a:gd name="csY1" fmla="*/ 61 h 7838"/>
              <a:gd name="csX2" fmla="*/ 473 w 8466"/>
              <a:gd name="csY2" fmla="*/ 7839 h 783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66" h="7838">
                <a:moveTo>
                  <a:pt x="473" y="7839"/>
                </a:moveTo>
                <a:cubicBezTo>
                  <a:pt x="-1298" y="1550"/>
                  <a:pt x="2020" y="-386"/>
                  <a:pt x="8466" y="61"/>
                </a:cubicBezTo>
                <a:cubicBezTo>
                  <a:pt x="6730" y="2845"/>
                  <a:pt x="4026" y="5401"/>
                  <a:pt x="473" y="7839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5" name="Free-form: Shape 104">
            <a:extLst>
              <a:ext uri="{FF2B5EF4-FFF2-40B4-BE49-F238E27FC236}">
                <a16:creationId xmlns:a16="http://schemas.microsoft.com/office/drawing/2014/main" id="{7AA4D4A2-A420-577E-0C36-06E6737E2F57}"/>
              </a:ext>
            </a:extLst>
          </p:cNvPr>
          <p:cNvSpPr/>
          <p:nvPr/>
        </p:nvSpPr>
        <p:spPr>
          <a:xfrm>
            <a:off x="5361709" y="5004203"/>
            <a:ext cx="5265" cy="618"/>
          </a:xfrm>
          <a:custGeom>
            <a:avLst/>
            <a:gdLst>
              <a:gd name="csX0" fmla="*/ 0 w 8480"/>
              <a:gd name="csY0" fmla="*/ 896 h 996"/>
              <a:gd name="csX1" fmla="*/ 8480 w 8480"/>
              <a:gd name="csY1" fmla="*/ 110 h 996"/>
              <a:gd name="csX2" fmla="*/ 0 w 8480"/>
              <a:gd name="csY2" fmla="*/ 896 h 99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80" h="996">
                <a:moveTo>
                  <a:pt x="0" y="896"/>
                </a:moveTo>
                <a:cubicBezTo>
                  <a:pt x="2285" y="115"/>
                  <a:pt x="5130" y="-182"/>
                  <a:pt x="8480" y="110"/>
                </a:cubicBezTo>
                <a:cubicBezTo>
                  <a:pt x="6177" y="927"/>
                  <a:pt x="3368" y="1153"/>
                  <a:pt x="0" y="896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6" name="Free-form: Shape 105">
            <a:extLst>
              <a:ext uri="{FF2B5EF4-FFF2-40B4-BE49-F238E27FC236}">
                <a16:creationId xmlns:a16="http://schemas.microsoft.com/office/drawing/2014/main" id="{01CCA468-322F-44A7-23C4-7B744DB38045}"/>
              </a:ext>
            </a:extLst>
          </p:cNvPr>
          <p:cNvSpPr/>
          <p:nvPr/>
        </p:nvSpPr>
        <p:spPr>
          <a:xfrm>
            <a:off x="5648470" y="4977674"/>
            <a:ext cx="763" cy="4134"/>
          </a:xfrm>
          <a:custGeom>
            <a:avLst/>
            <a:gdLst>
              <a:gd name="csX0" fmla="*/ 132 w 1229"/>
              <a:gd name="csY0" fmla="*/ 6659 h 6658"/>
              <a:gd name="csX1" fmla="*/ 1107 w 1229"/>
              <a:gd name="csY1" fmla="*/ 0 h 6658"/>
              <a:gd name="csX2" fmla="*/ 132 w 1229"/>
              <a:gd name="csY2" fmla="*/ 6659 h 665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229" h="6658">
                <a:moveTo>
                  <a:pt x="132" y="6659"/>
                </a:moveTo>
                <a:cubicBezTo>
                  <a:pt x="-219" y="4616"/>
                  <a:pt x="139" y="2560"/>
                  <a:pt x="1107" y="0"/>
                </a:cubicBezTo>
                <a:cubicBezTo>
                  <a:pt x="1425" y="1879"/>
                  <a:pt x="1133" y="4263"/>
                  <a:pt x="132" y="6659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7" name="Free-form: Shape 106">
            <a:extLst>
              <a:ext uri="{FF2B5EF4-FFF2-40B4-BE49-F238E27FC236}">
                <a16:creationId xmlns:a16="http://schemas.microsoft.com/office/drawing/2014/main" id="{5970A68D-407F-E521-A10D-13DD8BBE18F6}"/>
              </a:ext>
            </a:extLst>
          </p:cNvPr>
          <p:cNvSpPr/>
          <p:nvPr/>
        </p:nvSpPr>
        <p:spPr>
          <a:xfrm>
            <a:off x="5581274" y="4997951"/>
            <a:ext cx="2352" cy="847"/>
          </a:xfrm>
          <a:custGeom>
            <a:avLst/>
            <a:gdLst>
              <a:gd name="csX0" fmla="*/ 0 w 3788"/>
              <a:gd name="csY0" fmla="*/ 1364 h 1364"/>
              <a:gd name="csX1" fmla="*/ 3788 w 3788"/>
              <a:gd name="csY1" fmla="*/ 0 h 1364"/>
              <a:gd name="csX2" fmla="*/ 0 w 3788"/>
              <a:gd name="csY2" fmla="*/ 1364 h 136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788" h="1364">
                <a:moveTo>
                  <a:pt x="0" y="1364"/>
                </a:moveTo>
                <a:cubicBezTo>
                  <a:pt x="856" y="517"/>
                  <a:pt x="2126" y="39"/>
                  <a:pt x="3788" y="0"/>
                </a:cubicBezTo>
                <a:cubicBezTo>
                  <a:pt x="2925" y="870"/>
                  <a:pt x="1670" y="1303"/>
                  <a:pt x="0" y="1364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8" name="Free-form: Shape 107">
            <a:extLst>
              <a:ext uri="{FF2B5EF4-FFF2-40B4-BE49-F238E27FC236}">
                <a16:creationId xmlns:a16="http://schemas.microsoft.com/office/drawing/2014/main" id="{E430FCD4-35EF-1EF5-F995-9507BF4B4B1D}"/>
              </a:ext>
            </a:extLst>
          </p:cNvPr>
          <p:cNvSpPr/>
          <p:nvPr/>
        </p:nvSpPr>
        <p:spPr>
          <a:xfrm>
            <a:off x="5309691" y="5001225"/>
            <a:ext cx="2478" cy="515"/>
          </a:xfrm>
          <a:custGeom>
            <a:avLst/>
            <a:gdLst>
              <a:gd name="csX0" fmla="*/ 0 w 3990"/>
              <a:gd name="csY0" fmla="*/ 719 h 829"/>
              <a:gd name="csX1" fmla="*/ 3990 w 3990"/>
              <a:gd name="csY1" fmla="*/ 119 h 829"/>
              <a:gd name="csX2" fmla="*/ 0 w 3990"/>
              <a:gd name="csY2" fmla="*/ 719 h 82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990" h="829">
                <a:moveTo>
                  <a:pt x="0" y="719"/>
                </a:moveTo>
                <a:cubicBezTo>
                  <a:pt x="982" y="66"/>
                  <a:pt x="2323" y="-163"/>
                  <a:pt x="3990" y="119"/>
                </a:cubicBezTo>
                <a:cubicBezTo>
                  <a:pt x="2998" y="800"/>
                  <a:pt x="1678" y="972"/>
                  <a:pt x="0" y="719"/>
                </a:cubicBezTo>
                <a:close/>
              </a:path>
            </a:pathLst>
          </a:custGeom>
          <a:solidFill>
            <a:srgbClr val="959DA0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9" name="Free-form: Shape 108">
            <a:extLst>
              <a:ext uri="{FF2B5EF4-FFF2-40B4-BE49-F238E27FC236}">
                <a16:creationId xmlns:a16="http://schemas.microsoft.com/office/drawing/2014/main" id="{952E813F-060A-691B-7A3F-E47DCBE320F1}"/>
              </a:ext>
            </a:extLst>
          </p:cNvPr>
          <p:cNvSpPr/>
          <p:nvPr/>
        </p:nvSpPr>
        <p:spPr>
          <a:xfrm>
            <a:off x="5520239" y="5004181"/>
            <a:ext cx="2417" cy="705"/>
          </a:xfrm>
          <a:custGeom>
            <a:avLst/>
            <a:gdLst>
              <a:gd name="csX0" fmla="*/ 0 w 3893"/>
              <a:gd name="csY0" fmla="*/ 1133 h 1135"/>
              <a:gd name="csX1" fmla="*/ 3893 w 3893"/>
              <a:gd name="csY1" fmla="*/ 7 h 1135"/>
              <a:gd name="csX2" fmla="*/ 0 w 3893"/>
              <a:gd name="csY2" fmla="*/ 1133 h 113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893" h="1135">
                <a:moveTo>
                  <a:pt x="0" y="1133"/>
                </a:moveTo>
                <a:cubicBezTo>
                  <a:pt x="902" y="349"/>
                  <a:pt x="2213" y="-60"/>
                  <a:pt x="3893" y="7"/>
                </a:cubicBezTo>
                <a:cubicBezTo>
                  <a:pt x="2978" y="825"/>
                  <a:pt x="1693" y="1167"/>
                  <a:pt x="0" y="1133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0" name="Free-form: Shape 109">
            <a:extLst>
              <a:ext uri="{FF2B5EF4-FFF2-40B4-BE49-F238E27FC236}">
                <a16:creationId xmlns:a16="http://schemas.microsoft.com/office/drawing/2014/main" id="{5683D4B5-3898-B856-360E-25780F064151}"/>
              </a:ext>
            </a:extLst>
          </p:cNvPr>
          <p:cNvSpPr/>
          <p:nvPr/>
        </p:nvSpPr>
        <p:spPr>
          <a:xfrm>
            <a:off x="5420643" y="4519517"/>
            <a:ext cx="112588" cy="250407"/>
          </a:xfrm>
          <a:custGeom>
            <a:avLst/>
            <a:gdLst>
              <a:gd name="csX0" fmla="*/ 7554 w 181323"/>
              <a:gd name="csY0" fmla="*/ 172079 h 403282"/>
              <a:gd name="csX1" fmla="*/ 9716 w 181323"/>
              <a:gd name="csY1" fmla="*/ 130641 h 403282"/>
              <a:gd name="csX2" fmla="*/ 7663 w 181323"/>
              <a:gd name="csY2" fmla="*/ 113770 h 403282"/>
              <a:gd name="csX3" fmla="*/ 7598 w 181323"/>
              <a:gd name="csY3" fmla="*/ 8165 h 403282"/>
              <a:gd name="csX4" fmla="*/ 8353 w 181323"/>
              <a:gd name="csY4" fmla="*/ 1259 h 403282"/>
              <a:gd name="csX5" fmla="*/ 17767 w 181323"/>
              <a:gd name="csY5" fmla="*/ 93 h 403282"/>
              <a:gd name="csX6" fmla="*/ 77938 w 181323"/>
              <a:gd name="csY6" fmla="*/ 50 h 403282"/>
              <a:gd name="csX7" fmla="*/ 91081 w 181323"/>
              <a:gd name="csY7" fmla="*/ 10962 h 403282"/>
              <a:gd name="csX8" fmla="*/ 93691 w 181323"/>
              <a:gd name="csY8" fmla="*/ 60963 h 403282"/>
              <a:gd name="csX9" fmla="*/ 100157 w 181323"/>
              <a:gd name="csY9" fmla="*/ 121501 h 403282"/>
              <a:gd name="csX10" fmla="*/ 105540 w 181323"/>
              <a:gd name="csY10" fmla="*/ 158857 h 403282"/>
              <a:gd name="csX11" fmla="*/ 121116 w 181323"/>
              <a:gd name="csY11" fmla="*/ 235269 h 403282"/>
              <a:gd name="csX12" fmla="*/ 152823 w 181323"/>
              <a:gd name="csY12" fmla="*/ 338010 h 403282"/>
              <a:gd name="csX13" fmla="*/ 170877 w 181323"/>
              <a:gd name="csY13" fmla="*/ 378027 h 403282"/>
              <a:gd name="csX14" fmla="*/ 178114 w 181323"/>
              <a:gd name="csY14" fmla="*/ 387682 h 403282"/>
              <a:gd name="csX15" fmla="*/ 181150 w 181323"/>
              <a:gd name="csY15" fmla="*/ 395764 h 403282"/>
              <a:gd name="csX16" fmla="*/ 173480 w 181323"/>
              <a:gd name="csY16" fmla="*/ 402568 h 403282"/>
              <a:gd name="csX17" fmla="*/ 160067 w 181323"/>
              <a:gd name="csY17" fmla="*/ 402936 h 403282"/>
              <a:gd name="csX18" fmla="*/ 121081 w 181323"/>
              <a:gd name="csY18" fmla="*/ 400766 h 403282"/>
              <a:gd name="csX19" fmla="*/ 70912 w 181323"/>
              <a:gd name="csY19" fmla="*/ 401955 h 403282"/>
              <a:gd name="csX20" fmla="*/ 7630 w 181323"/>
              <a:gd name="csY20" fmla="*/ 402999 h 403282"/>
              <a:gd name="csX21" fmla="*/ 710 w 181323"/>
              <a:gd name="csY21" fmla="*/ 401995 h 403282"/>
              <a:gd name="csX22" fmla="*/ 1308 w 181323"/>
              <a:gd name="csY22" fmla="*/ 356708 h 403282"/>
              <a:gd name="csX23" fmla="*/ 2554 w 181323"/>
              <a:gd name="csY23" fmla="*/ 349510 h 403282"/>
              <a:gd name="csX24" fmla="*/ 5071 w 181323"/>
              <a:gd name="csY24" fmla="*/ 271231 h 403282"/>
              <a:gd name="csX25" fmla="*/ 7554 w 181323"/>
              <a:gd name="csY25" fmla="*/ 172079 h 403282"/>
              <a:gd name="csX26" fmla="*/ 98286 w 181323"/>
              <a:gd name="csY26" fmla="*/ 163566 h 403282"/>
              <a:gd name="csX27" fmla="*/ 83497 w 181323"/>
              <a:gd name="csY27" fmla="*/ 8289 h 403282"/>
              <a:gd name="csX28" fmla="*/ 15161 w 181323"/>
              <a:gd name="csY28" fmla="*/ 9148 h 403282"/>
              <a:gd name="csX29" fmla="*/ 15058 w 181323"/>
              <a:gd name="csY29" fmla="*/ 137939 h 403282"/>
              <a:gd name="csX30" fmla="*/ 12252 w 181323"/>
              <a:gd name="csY30" fmla="*/ 266862 h 403282"/>
              <a:gd name="csX31" fmla="*/ 7068 w 181323"/>
              <a:gd name="csY31" fmla="*/ 395996 h 403282"/>
              <a:gd name="csX32" fmla="*/ 171647 w 181323"/>
              <a:gd name="csY32" fmla="*/ 395996 h 403282"/>
              <a:gd name="csX33" fmla="*/ 119950 w 181323"/>
              <a:gd name="csY33" fmla="*/ 259496 h 403282"/>
              <a:gd name="csX34" fmla="*/ 98286 w 181323"/>
              <a:gd name="csY34" fmla="*/ 163566 h 40328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</a:cxnLst>
            <a:rect l="l" t="t" r="r" b="b"/>
            <a:pathLst>
              <a:path w="181323" h="403282">
                <a:moveTo>
                  <a:pt x="7554" y="172079"/>
                </a:moveTo>
                <a:cubicBezTo>
                  <a:pt x="8325" y="157451"/>
                  <a:pt x="9408" y="144055"/>
                  <a:pt x="9716" y="130641"/>
                </a:cubicBezTo>
                <a:cubicBezTo>
                  <a:pt x="9846" y="125037"/>
                  <a:pt x="7695" y="119399"/>
                  <a:pt x="7663" y="113770"/>
                </a:cubicBezTo>
                <a:cubicBezTo>
                  <a:pt x="7461" y="78569"/>
                  <a:pt x="7554" y="43367"/>
                  <a:pt x="7598" y="8165"/>
                </a:cubicBezTo>
                <a:cubicBezTo>
                  <a:pt x="7600" y="6167"/>
                  <a:pt x="8022" y="4170"/>
                  <a:pt x="8353" y="1259"/>
                </a:cubicBezTo>
                <a:cubicBezTo>
                  <a:pt x="11568" y="842"/>
                  <a:pt x="14666" y="109"/>
                  <a:pt x="17767" y="93"/>
                </a:cubicBezTo>
                <a:cubicBezTo>
                  <a:pt x="37824" y="-17"/>
                  <a:pt x="57881" y="-27"/>
                  <a:pt x="77938" y="50"/>
                </a:cubicBezTo>
                <a:cubicBezTo>
                  <a:pt x="89177" y="93"/>
                  <a:pt x="90068" y="113"/>
                  <a:pt x="91081" y="10962"/>
                </a:cubicBezTo>
                <a:cubicBezTo>
                  <a:pt x="92631" y="27565"/>
                  <a:pt x="92329" y="44335"/>
                  <a:pt x="93691" y="60963"/>
                </a:cubicBezTo>
                <a:cubicBezTo>
                  <a:pt x="95348" y="81184"/>
                  <a:pt x="97732" y="101353"/>
                  <a:pt x="100157" y="121501"/>
                </a:cubicBezTo>
                <a:cubicBezTo>
                  <a:pt x="101660" y="133990"/>
                  <a:pt x="104521" y="146343"/>
                  <a:pt x="105540" y="158857"/>
                </a:cubicBezTo>
                <a:cubicBezTo>
                  <a:pt x="107671" y="184993"/>
                  <a:pt x="114147" y="210249"/>
                  <a:pt x="121116" y="235269"/>
                </a:cubicBezTo>
                <a:cubicBezTo>
                  <a:pt x="130731" y="269786"/>
                  <a:pt x="141516" y="304004"/>
                  <a:pt x="152823" y="338010"/>
                </a:cubicBezTo>
                <a:cubicBezTo>
                  <a:pt x="157418" y="351828"/>
                  <a:pt x="164524" y="364837"/>
                  <a:pt x="170877" y="378027"/>
                </a:cubicBezTo>
                <a:cubicBezTo>
                  <a:pt x="172587" y="381579"/>
                  <a:pt x="175985" y="384280"/>
                  <a:pt x="178114" y="387682"/>
                </a:cubicBezTo>
                <a:cubicBezTo>
                  <a:pt x="179669" y="390165"/>
                  <a:pt x="181977" y="393824"/>
                  <a:pt x="181150" y="395764"/>
                </a:cubicBezTo>
                <a:cubicBezTo>
                  <a:pt x="179907" y="398676"/>
                  <a:pt x="176540" y="401705"/>
                  <a:pt x="173480" y="402568"/>
                </a:cubicBezTo>
                <a:cubicBezTo>
                  <a:pt x="169302" y="403746"/>
                  <a:pt x="164551" y="403164"/>
                  <a:pt x="160067" y="402936"/>
                </a:cubicBezTo>
                <a:cubicBezTo>
                  <a:pt x="147066" y="402274"/>
                  <a:pt x="134081" y="400859"/>
                  <a:pt x="121081" y="400766"/>
                </a:cubicBezTo>
                <a:cubicBezTo>
                  <a:pt x="104362" y="400647"/>
                  <a:pt x="87638" y="401607"/>
                  <a:pt x="70912" y="401955"/>
                </a:cubicBezTo>
                <a:cubicBezTo>
                  <a:pt x="49820" y="402394"/>
                  <a:pt x="28725" y="402712"/>
                  <a:pt x="7630" y="402999"/>
                </a:cubicBezTo>
                <a:cubicBezTo>
                  <a:pt x="5684" y="403026"/>
                  <a:pt x="3731" y="402452"/>
                  <a:pt x="710" y="401995"/>
                </a:cubicBezTo>
                <a:cubicBezTo>
                  <a:pt x="219" y="386620"/>
                  <a:pt x="-871" y="371682"/>
                  <a:pt x="1308" y="356708"/>
                </a:cubicBezTo>
                <a:cubicBezTo>
                  <a:pt x="1659" y="354298"/>
                  <a:pt x="2471" y="351920"/>
                  <a:pt x="2554" y="349510"/>
                </a:cubicBezTo>
                <a:cubicBezTo>
                  <a:pt x="3459" y="323419"/>
                  <a:pt x="4345" y="297328"/>
                  <a:pt x="5071" y="271231"/>
                </a:cubicBezTo>
                <a:cubicBezTo>
                  <a:pt x="5979" y="238591"/>
                  <a:pt x="6733" y="205947"/>
                  <a:pt x="7554" y="172079"/>
                </a:cubicBezTo>
                <a:moveTo>
                  <a:pt x="98286" y="163566"/>
                </a:moveTo>
                <a:cubicBezTo>
                  <a:pt x="89288" y="112116"/>
                  <a:pt x="86355" y="60033"/>
                  <a:pt x="83497" y="8289"/>
                </a:cubicBezTo>
                <a:cubicBezTo>
                  <a:pt x="65606" y="5845"/>
                  <a:pt x="24110" y="6470"/>
                  <a:pt x="15161" y="9148"/>
                </a:cubicBezTo>
                <a:cubicBezTo>
                  <a:pt x="15161" y="52045"/>
                  <a:pt x="15527" y="94996"/>
                  <a:pt x="15058" y="137939"/>
                </a:cubicBezTo>
                <a:cubicBezTo>
                  <a:pt x="14587" y="180919"/>
                  <a:pt x="13597" y="223900"/>
                  <a:pt x="12252" y="266862"/>
                </a:cubicBezTo>
                <a:cubicBezTo>
                  <a:pt x="10912" y="309638"/>
                  <a:pt x="8849" y="352391"/>
                  <a:pt x="7068" y="395996"/>
                </a:cubicBezTo>
                <a:cubicBezTo>
                  <a:pt x="62774" y="395996"/>
                  <a:pt x="116821" y="395996"/>
                  <a:pt x="171647" y="395996"/>
                </a:cubicBezTo>
                <a:cubicBezTo>
                  <a:pt x="148550" y="352016"/>
                  <a:pt x="132566" y="306307"/>
                  <a:pt x="119950" y="259496"/>
                </a:cubicBezTo>
                <a:cubicBezTo>
                  <a:pt x="111608" y="228543"/>
                  <a:pt x="105493" y="196989"/>
                  <a:pt x="98286" y="163566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1" name="Free-form: Shape 110">
            <a:extLst>
              <a:ext uri="{FF2B5EF4-FFF2-40B4-BE49-F238E27FC236}">
                <a16:creationId xmlns:a16="http://schemas.microsoft.com/office/drawing/2014/main" id="{7248DEE9-8F0E-5622-D7BF-4934DF97923E}"/>
              </a:ext>
            </a:extLst>
          </p:cNvPr>
          <p:cNvSpPr/>
          <p:nvPr/>
        </p:nvSpPr>
        <p:spPr>
          <a:xfrm>
            <a:off x="5422274" y="4935998"/>
            <a:ext cx="209255" cy="47389"/>
          </a:xfrm>
          <a:custGeom>
            <a:avLst/>
            <a:gdLst>
              <a:gd name="csX0" fmla="*/ 297312 w 337008"/>
              <a:gd name="csY0" fmla="*/ 59188 h 76321"/>
              <a:gd name="csX1" fmla="*/ 241991 w 337008"/>
              <a:gd name="csY1" fmla="*/ 66577 h 76321"/>
              <a:gd name="csX2" fmla="*/ 185243 w 337008"/>
              <a:gd name="csY2" fmla="*/ 73717 h 76321"/>
              <a:gd name="csX3" fmla="*/ 182797 w 337008"/>
              <a:gd name="csY3" fmla="*/ 73873 h 76321"/>
              <a:gd name="csX4" fmla="*/ 19866 w 337008"/>
              <a:gd name="csY4" fmla="*/ 76320 h 76321"/>
              <a:gd name="csX5" fmla="*/ 12650 w 337008"/>
              <a:gd name="csY5" fmla="*/ 75242 h 76321"/>
              <a:gd name="csX6" fmla="*/ 19 w 337008"/>
              <a:gd name="csY6" fmla="*/ 59006 h 76321"/>
              <a:gd name="csX7" fmla="*/ 11 w 337008"/>
              <a:gd name="csY7" fmla="*/ 18266 h 76321"/>
              <a:gd name="csX8" fmla="*/ 13547 w 337008"/>
              <a:gd name="csY8" fmla="*/ 17427 h 76321"/>
              <a:gd name="csX9" fmla="*/ 109279 w 337008"/>
              <a:gd name="csY9" fmla="*/ 17200 h 76321"/>
              <a:gd name="csX10" fmla="*/ 173714 w 337008"/>
              <a:gd name="csY10" fmla="*/ 12645 h 76321"/>
              <a:gd name="csX11" fmla="*/ 205309 w 337008"/>
              <a:gd name="csY11" fmla="*/ 10096 h 76321"/>
              <a:gd name="csX12" fmla="*/ 245485 w 337008"/>
              <a:gd name="csY12" fmla="*/ 7449 h 76321"/>
              <a:gd name="csX13" fmla="*/ 288955 w 337008"/>
              <a:gd name="csY13" fmla="*/ 1844 h 76321"/>
              <a:gd name="csX14" fmla="*/ 307132 w 337008"/>
              <a:gd name="csY14" fmla="*/ 164 h 76321"/>
              <a:gd name="csX15" fmla="*/ 324030 w 337008"/>
              <a:gd name="csY15" fmla="*/ 9691 h 76321"/>
              <a:gd name="csX16" fmla="*/ 336033 w 337008"/>
              <a:gd name="csY16" fmla="*/ 39107 h 76321"/>
              <a:gd name="csX17" fmla="*/ 328060 w 337008"/>
              <a:gd name="csY17" fmla="*/ 52413 h 76321"/>
              <a:gd name="csX18" fmla="*/ 297312 w 337008"/>
              <a:gd name="csY18" fmla="*/ 59188 h 76321"/>
              <a:gd name="csX19" fmla="*/ 207688 w 337008"/>
              <a:gd name="csY19" fmla="*/ 64284 h 76321"/>
              <a:gd name="csX20" fmla="*/ 330050 w 337008"/>
              <a:gd name="csY20" fmla="*/ 45606 h 76321"/>
              <a:gd name="csX21" fmla="*/ 317356 w 337008"/>
              <a:gd name="csY21" fmla="*/ 11297 h 76321"/>
              <a:gd name="csX22" fmla="*/ 304170 w 337008"/>
              <a:gd name="csY22" fmla="*/ 5545 h 76321"/>
              <a:gd name="csX23" fmla="*/ 273851 w 337008"/>
              <a:gd name="csY23" fmla="*/ 10014 h 76321"/>
              <a:gd name="csX24" fmla="*/ 163935 w 337008"/>
              <a:gd name="csY24" fmla="*/ 20274 h 76321"/>
              <a:gd name="csX25" fmla="*/ 17973 w 337008"/>
              <a:gd name="csY25" fmla="*/ 22950 h 76321"/>
              <a:gd name="csX26" fmla="*/ 7372 w 337008"/>
              <a:gd name="csY26" fmla="*/ 23601 h 76321"/>
              <a:gd name="csX27" fmla="*/ 7372 w 337008"/>
              <a:gd name="csY27" fmla="*/ 67898 h 76321"/>
              <a:gd name="csX28" fmla="*/ 207688 w 337008"/>
              <a:gd name="csY28" fmla="*/ 64284 h 7632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</a:cxnLst>
            <a:rect l="l" t="t" r="r" b="b"/>
            <a:pathLst>
              <a:path w="337008" h="76321">
                <a:moveTo>
                  <a:pt x="297312" y="59188"/>
                </a:moveTo>
                <a:cubicBezTo>
                  <a:pt x="278167" y="61672"/>
                  <a:pt x="260091" y="64212"/>
                  <a:pt x="241991" y="66577"/>
                </a:cubicBezTo>
                <a:cubicBezTo>
                  <a:pt x="223087" y="69047"/>
                  <a:pt x="204161" y="71350"/>
                  <a:pt x="185243" y="73717"/>
                </a:cubicBezTo>
                <a:cubicBezTo>
                  <a:pt x="184433" y="73818"/>
                  <a:pt x="183613" y="73861"/>
                  <a:pt x="182797" y="73873"/>
                </a:cubicBezTo>
                <a:cubicBezTo>
                  <a:pt x="128487" y="74710"/>
                  <a:pt x="74176" y="75556"/>
                  <a:pt x="19866" y="76320"/>
                </a:cubicBezTo>
                <a:cubicBezTo>
                  <a:pt x="17463" y="76354"/>
                  <a:pt x="15013" y="75797"/>
                  <a:pt x="12650" y="75242"/>
                </a:cubicBezTo>
                <a:cubicBezTo>
                  <a:pt x="80" y="72288"/>
                  <a:pt x="58" y="72258"/>
                  <a:pt x="19" y="59006"/>
                </a:cubicBezTo>
                <a:cubicBezTo>
                  <a:pt x="-19" y="45942"/>
                  <a:pt x="11" y="32877"/>
                  <a:pt x="11" y="18266"/>
                </a:cubicBezTo>
                <a:cubicBezTo>
                  <a:pt x="4987" y="17944"/>
                  <a:pt x="9266" y="17435"/>
                  <a:pt x="13547" y="17427"/>
                </a:cubicBezTo>
                <a:cubicBezTo>
                  <a:pt x="45459" y="17362"/>
                  <a:pt x="77385" y="17975"/>
                  <a:pt x="109279" y="17200"/>
                </a:cubicBezTo>
                <a:cubicBezTo>
                  <a:pt x="130782" y="16677"/>
                  <a:pt x="152239" y="14265"/>
                  <a:pt x="173714" y="12645"/>
                </a:cubicBezTo>
                <a:cubicBezTo>
                  <a:pt x="184250" y="11850"/>
                  <a:pt x="194770" y="10836"/>
                  <a:pt x="205309" y="10096"/>
                </a:cubicBezTo>
                <a:cubicBezTo>
                  <a:pt x="218698" y="9156"/>
                  <a:pt x="232139" y="8783"/>
                  <a:pt x="245485" y="7449"/>
                </a:cubicBezTo>
                <a:cubicBezTo>
                  <a:pt x="260017" y="5997"/>
                  <a:pt x="274456" y="3648"/>
                  <a:pt x="288955" y="1844"/>
                </a:cubicBezTo>
                <a:cubicBezTo>
                  <a:pt x="294991" y="1094"/>
                  <a:pt x="301100" y="930"/>
                  <a:pt x="307132" y="164"/>
                </a:cubicBezTo>
                <a:cubicBezTo>
                  <a:pt x="315239" y="-865"/>
                  <a:pt x="320841" y="3022"/>
                  <a:pt x="324030" y="9691"/>
                </a:cubicBezTo>
                <a:cubicBezTo>
                  <a:pt x="328594" y="19236"/>
                  <a:pt x="332712" y="29070"/>
                  <a:pt x="336033" y="39107"/>
                </a:cubicBezTo>
                <a:cubicBezTo>
                  <a:pt x="338557" y="46735"/>
                  <a:pt x="336278" y="50185"/>
                  <a:pt x="328060" y="52413"/>
                </a:cubicBezTo>
                <a:cubicBezTo>
                  <a:pt x="318273" y="55068"/>
                  <a:pt x="308277" y="56950"/>
                  <a:pt x="297312" y="59188"/>
                </a:cubicBezTo>
                <a:moveTo>
                  <a:pt x="207688" y="64284"/>
                </a:moveTo>
                <a:cubicBezTo>
                  <a:pt x="248681" y="60632"/>
                  <a:pt x="289317" y="54812"/>
                  <a:pt x="330050" y="45606"/>
                </a:cubicBezTo>
                <a:cubicBezTo>
                  <a:pt x="327603" y="32443"/>
                  <a:pt x="323777" y="21532"/>
                  <a:pt x="317356" y="11297"/>
                </a:cubicBezTo>
                <a:cubicBezTo>
                  <a:pt x="313908" y="5803"/>
                  <a:pt x="310145" y="4465"/>
                  <a:pt x="304170" y="5545"/>
                </a:cubicBezTo>
                <a:cubicBezTo>
                  <a:pt x="294121" y="7361"/>
                  <a:pt x="284007" y="9006"/>
                  <a:pt x="273851" y="10014"/>
                </a:cubicBezTo>
                <a:cubicBezTo>
                  <a:pt x="237233" y="13650"/>
                  <a:pt x="200632" y="17661"/>
                  <a:pt x="163935" y="20274"/>
                </a:cubicBezTo>
                <a:cubicBezTo>
                  <a:pt x="115360" y="23734"/>
                  <a:pt x="66701" y="25937"/>
                  <a:pt x="17973" y="22950"/>
                </a:cubicBezTo>
                <a:cubicBezTo>
                  <a:pt x="14492" y="22737"/>
                  <a:pt x="10959" y="23361"/>
                  <a:pt x="7372" y="23601"/>
                </a:cubicBezTo>
                <a:cubicBezTo>
                  <a:pt x="7372" y="38609"/>
                  <a:pt x="7372" y="52361"/>
                  <a:pt x="7372" y="67898"/>
                </a:cubicBezTo>
                <a:cubicBezTo>
                  <a:pt x="74001" y="69806"/>
                  <a:pt x="139746" y="71025"/>
                  <a:pt x="207688" y="64284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2" name="Free-form: Shape 111">
            <a:extLst>
              <a:ext uri="{FF2B5EF4-FFF2-40B4-BE49-F238E27FC236}">
                <a16:creationId xmlns:a16="http://schemas.microsoft.com/office/drawing/2014/main" id="{994F07B5-0CF0-A579-1FC3-535AE337EA64}"/>
              </a:ext>
            </a:extLst>
          </p:cNvPr>
          <p:cNvSpPr/>
          <p:nvPr/>
        </p:nvSpPr>
        <p:spPr>
          <a:xfrm>
            <a:off x="5426007" y="4789544"/>
            <a:ext cx="188426" cy="132688"/>
          </a:xfrm>
          <a:custGeom>
            <a:avLst/>
            <a:gdLst>
              <a:gd name="csX0" fmla="*/ 14160 w 303463"/>
              <a:gd name="csY0" fmla="*/ 7889 h 213695"/>
              <a:gd name="csX1" fmla="*/ 195033 w 303463"/>
              <a:gd name="csY1" fmla="*/ 0 h 213695"/>
              <a:gd name="csX2" fmla="*/ 197208 w 303463"/>
              <a:gd name="csY2" fmla="*/ 5635 h 213695"/>
              <a:gd name="csX3" fmla="*/ 227014 w 303463"/>
              <a:gd name="csY3" fmla="*/ 60660 h 213695"/>
              <a:gd name="csX4" fmla="*/ 265823 w 303463"/>
              <a:gd name="csY4" fmla="*/ 98217 h 213695"/>
              <a:gd name="csX5" fmla="*/ 303210 w 303463"/>
              <a:gd name="csY5" fmla="*/ 180358 h 213695"/>
              <a:gd name="csX6" fmla="*/ 303282 w 303463"/>
              <a:gd name="csY6" fmla="*/ 193964 h 213695"/>
              <a:gd name="csX7" fmla="*/ 4971 w 303463"/>
              <a:gd name="csY7" fmla="*/ 213017 h 213695"/>
              <a:gd name="csX8" fmla="*/ 5093 w 303463"/>
              <a:gd name="csY8" fmla="*/ 173484 h 213695"/>
              <a:gd name="csX9" fmla="*/ 4767 w 303463"/>
              <a:gd name="csY9" fmla="*/ 54607 h 213695"/>
              <a:gd name="csX10" fmla="*/ 0 w 303463"/>
              <a:gd name="csY10" fmla="*/ 7887 h 213695"/>
              <a:gd name="csX11" fmla="*/ 14160 w 303463"/>
              <a:gd name="csY11" fmla="*/ 7889 h 21369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303463" h="213695">
                <a:moveTo>
                  <a:pt x="14160" y="7889"/>
                </a:moveTo>
                <a:cubicBezTo>
                  <a:pt x="75371" y="8627"/>
                  <a:pt x="135292" y="5744"/>
                  <a:pt x="195033" y="0"/>
                </a:cubicBezTo>
                <a:cubicBezTo>
                  <a:pt x="196084" y="2662"/>
                  <a:pt x="196986" y="4099"/>
                  <a:pt x="197208" y="5635"/>
                </a:cubicBezTo>
                <a:cubicBezTo>
                  <a:pt x="200391" y="27650"/>
                  <a:pt x="211307" y="45450"/>
                  <a:pt x="227014" y="60660"/>
                </a:cubicBezTo>
                <a:cubicBezTo>
                  <a:pt x="239947" y="73182"/>
                  <a:pt x="253006" y="85577"/>
                  <a:pt x="265823" y="98217"/>
                </a:cubicBezTo>
                <a:cubicBezTo>
                  <a:pt x="288727" y="120806"/>
                  <a:pt x="299071" y="149215"/>
                  <a:pt x="303210" y="180358"/>
                </a:cubicBezTo>
                <a:cubicBezTo>
                  <a:pt x="303735" y="184317"/>
                  <a:pt x="303282" y="188405"/>
                  <a:pt x="303282" y="193964"/>
                </a:cubicBezTo>
                <a:cubicBezTo>
                  <a:pt x="204065" y="208804"/>
                  <a:pt x="105022" y="216044"/>
                  <a:pt x="4971" y="213017"/>
                </a:cubicBezTo>
                <a:cubicBezTo>
                  <a:pt x="4971" y="199268"/>
                  <a:pt x="4314" y="186332"/>
                  <a:pt x="5093" y="173484"/>
                </a:cubicBezTo>
                <a:cubicBezTo>
                  <a:pt x="7497" y="133835"/>
                  <a:pt x="8211" y="94216"/>
                  <a:pt x="4767" y="54607"/>
                </a:cubicBezTo>
                <a:cubicBezTo>
                  <a:pt x="3464" y="39611"/>
                  <a:pt x="1725" y="24653"/>
                  <a:pt x="0" y="7887"/>
                </a:cubicBezTo>
                <a:cubicBezTo>
                  <a:pt x="4390" y="7887"/>
                  <a:pt x="8696" y="7887"/>
                  <a:pt x="14160" y="7889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3" name="Free-form: Shape 112">
            <a:extLst>
              <a:ext uri="{FF2B5EF4-FFF2-40B4-BE49-F238E27FC236}">
                <a16:creationId xmlns:a16="http://schemas.microsoft.com/office/drawing/2014/main" id="{4A856204-0630-F7F3-D6DF-C524B1B9F8A0}"/>
              </a:ext>
            </a:extLst>
          </p:cNvPr>
          <p:cNvSpPr/>
          <p:nvPr/>
        </p:nvSpPr>
        <p:spPr>
          <a:xfrm>
            <a:off x="5392245" y="4259788"/>
            <a:ext cx="129814" cy="126299"/>
          </a:xfrm>
          <a:custGeom>
            <a:avLst/>
            <a:gdLst>
              <a:gd name="csX0" fmla="*/ 10475 w 209067"/>
              <a:gd name="csY0" fmla="*/ 41718 h 203406"/>
              <a:gd name="csX1" fmla="*/ 100250 w 209067"/>
              <a:gd name="csY1" fmla="*/ 1265 h 203406"/>
              <a:gd name="csX2" fmla="*/ 206681 w 209067"/>
              <a:gd name="csY2" fmla="*/ 98526 h 203406"/>
              <a:gd name="csX3" fmla="*/ 134647 w 209067"/>
              <a:gd name="csY3" fmla="*/ 202431 h 203406"/>
              <a:gd name="csX4" fmla="*/ 40986 w 209067"/>
              <a:gd name="csY4" fmla="*/ 171438 h 203406"/>
              <a:gd name="csX5" fmla="*/ 143 w 209067"/>
              <a:gd name="csY5" fmla="*/ 85158 h 203406"/>
              <a:gd name="csX6" fmla="*/ 10475 w 209067"/>
              <a:gd name="csY6" fmla="*/ 41718 h 20340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</a:cxnLst>
            <a:rect l="l" t="t" r="r" b="b"/>
            <a:pathLst>
              <a:path w="209067" h="203406">
                <a:moveTo>
                  <a:pt x="10475" y="41718"/>
                </a:moveTo>
                <a:cubicBezTo>
                  <a:pt x="31065" y="6021"/>
                  <a:pt x="63171" y="-3865"/>
                  <a:pt x="100250" y="1265"/>
                </a:cubicBezTo>
                <a:cubicBezTo>
                  <a:pt x="157191" y="9144"/>
                  <a:pt x="196951" y="51394"/>
                  <a:pt x="206681" y="98526"/>
                </a:cubicBezTo>
                <a:cubicBezTo>
                  <a:pt x="219504" y="160635"/>
                  <a:pt x="178523" y="196657"/>
                  <a:pt x="134647" y="202431"/>
                </a:cubicBezTo>
                <a:cubicBezTo>
                  <a:pt x="98365" y="207204"/>
                  <a:pt x="68101" y="194086"/>
                  <a:pt x="40986" y="171438"/>
                </a:cubicBezTo>
                <a:cubicBezTo>
                  <a:pt x="14115" y="148994"/>
                  <a:pt x="2457" y="119007"/>
                  <a:pt x="143" y="85158"/>
                </a:cubicBezTo>
                <a:cubicBezTo>
                  <a:pt x="-869" y="70364"/>
                  <a:pt x="3586" y="56015"/>
                  <a:pt x="10475" y="41718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4" name="Free-form: Shape 113">
            <a:extLst>
              <a:ext uri="{FF2B5EF4-FFF2-40B4-BE49-F238E27FC236}">
                <a16:creationId xmlns:a16="http://schemas.microsoft.com/office/drawing/2014/main" id="{6FA188B3-80A2-D676-A0D2-29B666864C24}"/>
              </a:ext>
            </a:extLst>
          </p:cNvPr>
          <p:cNvSpPr/>
          <p:nvPr/>
        </p:nvSpPr>
        <p:spPr>
          <a:xfrm>
            <a:off x="5428504" y="4472826"/>
            <a:ext cx="97564" cy="25665"/>
          </a:xfrm>
          <a:custGeom>
            <a:avLst/>
            <a:gdLst>
              <a:gd name="csX0" fmla="*/ 69625 w 157129"/>
              <a:gd name="csY0" fmla="*/ 0 h 41334"/>
              <a:gd name="csX1" fmla="*/ 119596 w 157129"/>
              <a:gd name="csY1" fmla="*/ 1945 h 41334"/>
              <a:gd name="csX2" fmla="*/ 150973 w 157129"/>
              <a:gd name="csY2" fmla="*/ 14889 h 41334"/>
              <a:gd name="csX3" fmla="*/ 151351 w 157129"/>
              <a:gd name="csY3" fmla="*/ 34058 h 41334"/>
              <a:gd name="csX4" fmla="*/ 133492 w 157129"/>
              <a:gd name="csY4" fmla="*/ 40697 h 41334"/>
              <a:gd name="csX5" fmla="*/ 106556 w 157129"/>
              <a:gd name="csY5" fmla="*/ 41092 h 41334"/>
              <a:gd name="csX6" fmla="*/ 13373 w 157129"/>
              <a:gd name="csY6" fmla="*/ 40708 h 41334"/>
              <a:gd name="csX7" fmla="*/ 1312 w 157129"/>
              <a:gd name="csY7" fmla="*/ 40191 h 41334"/>
              <a:gd name="csX8" fmla="*/ 3367 w 157129"/>
              <a:gd name="csY8" fmla="*/ 13162 h 41334"/>
              <a:gd name="csX9" fmla="*/ 20752 w 157129"/>
              <a:gd name="csY9" fmla="*/ 1879 h 41334"/>
              <a:gd name="csX10" fmla="*/ 52625 w 157129"/>
              <a:gd name="csY10" fmla="*/ 1332 h 41334"/>
              <a:gd name="csX11" fmla="*/ 69625 w 157129"/>
              <a:gd name="csY11" fmla="*/ 0 h 4133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157129" h="41334">
                <a:moveTo>
                  <a:pt x="69625" y="0"/>
                </a:moveTo>
                <a:cubicBezTo>
                  <a:pt x="87054" y="491"/>
                  <a:pt x="103407" y="373"/>
                  <a:pt x="119596" y="1945"/>
                </a:cubicBezTo>
                <a:cubicBezTo>
                  <a:pt x="131020" y="3055"/>
                  <a:pt x="141713" y="7767"/>
                  <a:pt x="150973" y="14889"/>
                </a:cubicBezTo>
                <a:cubicBezTo>
                  <a:pt x="158820" y="20925"/>
                  <a:pt x="159403" y="28236"/>
                  <a:pt x="151351" y="34058"/>
                </a:cubicBezTo>
                <a:cubicBezTo>
                  <a:pt x="146355" y="37671"/>
                  <a:pt x="139678" y="39910"/>
                  <a:pt x="133492" y="40697"/>
                </a:cubicBezTo>
                <a:cubicBezTo>
                  <a:pt x="124640" y="41824"/>
                  <a:pt x="115547" y="41120"/>
                  <a:pt x="106556" y="41092"/>
                </a:cubicBezTo>
                <a:cubicBezTo>
                  <a:pt x="75495" y="40996"/>
                  <a:pt x="44434" y="40872"/>
                  <a:pt x="13373" y="40708"/>
                </a:cubicBezTo>
                <a:cubicBezTo>
                  <a:pt x="9391" y="40687"/>
                  <a:pt x="5410" y="40374"/>
                  <a:pt x="1312" y="40191"/>
                </a:cubicBezTo>
                <a:cubicBezTo>
                  <a:pt x="-1416" y="30384"/>
                  <a:pt x="523" y="21512"/>
                  <a:pt x="3367" y="13162"/>
                </a:cubicBezTo>
                <a:cubicBezTo>
                  <a:pt x="5963" y="5538"/>
                  <a:pt x="12701" y="2077"/>
                  <a:pt x="20752" y="1879"/>
                </a:cubicBezTo>
                <a:cubicBezTo>
                  <a:pt x="31375" y="1617"/>
                  <a:pt x="42004" y="1647"/>
                  <a:pt x="52625" y="1332"/>
                </a:cubicBezTo>
                <a:cubicBezTo>
                  <a:pt x="57918" y="1176"/>
                  <a:pt x="63195" y="535"/>
                  <a:pt x="69625" y="0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5" name="Free-form: Shape 114">
            <a:extLst>
              <a:ext uri="{FF2B5EF4-FFF2-40B4-BE49-F238E27FC236}">
                <a16:creationId xmlns:a16="http://schemas.microsoft.com/office/drawing/2014/main" id="{AC0B9845-1B9E-266E-1D3F-41EBCE865C47}"/>
              </a:ext>
            </a:extLst>
          </p:cNvPr>
          <p:cNvSpPr/>
          <p:nvPr/>
        </p:nvSpPr>
        <p:spPr>
          <a:xfrm>
            <a:off x="5425031" y="4523713"/>
            <a:ext cx="102191" cy="241686"/>
          </a:xfrm>
          <a:custGeom>
            <a:avLst/>
            <a:gdLst>
              <a:gd name="csX0" fmla="*/ 91265 w 164579"/>
              <a:gd name="csY0" fmla="*/ 157878 h 389238"/>
              <a:gd name="csX1" fmla="*/ 112882 w 164579"/>
              <a:gd name="csY1" fmla="*/ 252738 h 389238"/>
              <a:gd name="csX2" fmla="*/ 164579 w 164579"/>
              <a:gd name="csY2" fmla="*/ 389238 h 389238"/>
              <a:gd name="csX3" fmla="*/ 0 w 164579"/>
              <a:gd name="csY3" fmla="*/ 389238 h 389238"/>
              <a:gd name="csX4" fmla="*/ 5184 w 164579"/>
              <a:gd name="csY4" fmla="*/ 260105 h 389238"/>
              <a:gd name="csX5" fmla="*/ 7989 w 164579"/>
              <a:gd name="csY5" fmla="*/ 131182 h 389238"/>
              <a:gd name="csX6" fmla="*/ 8093 w 164579"/>
              <a:gd name="csY6" fmla="*/ 2390 h 389238"/>
              <a:gd name="csX7" fmla="*/ 76429 w 164579"/>
              <a:gd name="csY7" fmla="*/ 1531 h 389238"/>
              <a:gd name="csX8" fmla="*/ 91265 w 164579"/>
              <a:gd name="csY8" fmla="*/ 157878 h 38923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</a:cxnLst>
            <a:rect l="l" t="t" r="r" b="b"/>
            <a:pathLst>
              <a:path w="164579" h="389238">
                <a:moveTo>
                  <a:pt x="91265" y="157878"/>
                </a:moveTo>
                <a:cubicBezTo>
                  <a:pt x="98425" y="190232"/>
                  <a:pt x="104539" y="221785"/>
                  <a:pt x="112882" y="252738"/>
                </a:cubicBezTo>
                <a:cubicBezTo>
                  <a:pt x="125498" y="299549"/>
                  <a:pt x="141482" y="345258"/>
                  <a:pt x="164579" y="389238"/>
                </a:cubicBezTo>
                <a:cubicBezTo>
                  <a:pt x="109753" y="389238"/>
                  <a:pt x="55706" y="389238"/>
                  <a:pt x="0" y="389238"/>
                </a:cubicBezTo>
                <a:cubicBezTo>
                  <a:pt x="1781" y="345633"/>
                  <a:pt x="3844" y="302880"/>
                  <a:pt x="5184" y="260105"/>
                </a:cubicBezTo>
                <a:cubicBezTo>
                  <a:pt x="6529" y="217143"/>
                  <a:pt x="7519" y="174162"/>
                  <a:pt x="7989" y="131182"/>
                </a:cubicBezTo>
                <a:cubicBezTo>
                  <a:pt x="8459" y="88239"/>
                  <a:pt x="8093" y="45287"/>
                  <a:pt x="8093" y="2390"/>
                </a:cubicBezTo>
                <a:cubicBezTo>
                  <a:pt x="17041" y="-288"/>
                  <a:pt x="58537" y="-913"/>
                  <a:pt x="76429" y="1531"/>
                </a:cubicBezTo>
                <a:cubicBezTo>
                  <a:pt x="79287" y="53276"/>
                  <a:pt x="82219" y="105359"/>
                  <a:pt x="91265" y="157878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6" name="Free-form: Shape 115">
            <a:extLst>
              <a:ext uri="{FF2B5EF4-FFF2-40B4-BE49-F238E27FC236}">
                <a16:creationId xmlns:a16="http://schemas.microsoft.com/office/drawing/2014/main" id="{62D1957D-85C5-8A04-AD00-619C7E71F7A2}"/>
              </a:ext>
            </a:extLst>
          </p:cNvPr>
          <p:cNvSpPr/>
          <p:nvPr/>
        </p:nvSpPr>
        <p:spPr>
          <a:xfrm>
            <a:off x="5426850" y="4939226"/>
            <a:ext cx="200357" cy="39865"/>
          </a:xfrm>
          <a:custGeom>
            <a:avLst/>
            <a:gdLst>
              <a:gd name="csX0" fmla="*/ 199184 w 322677"/>
              <a:gd name="csY0" fmla="*/ 59136 h 64202"/>
              <a:gd name="csX1" fmla="*/ 0 w 322677"/>
              <a:gd name="csY1" fmla="*/ 62697 h 64202"/>
              <a:gd name="csX2" fmla="*/ 0 w 322677"/>
              <a:gd name="csY2" fmla="*/ 18400 h 64202"/>
              <a:gd name="csX3" fmla="*/ 10601 w 322677"/>
              <a:gd name="csY3" fmla="*/ 17750 h 64202"/>
              <a:gd name="csX4" fmla="*/ 156563 w 322677"/>
              <a:gd name="csY4" fmla="*/ 15074 h 64202"/>
              <a:gd name="csX5" fmla="*/ 266479 w 322677"/>
              <a:gd name="csY5" fmla="*/ 4814 h 64202"/>
              <a:gd name="csX6" fmla="*/ 296798 w 322677"/>
              <a:gd name="csY6" fmla="*/ 344 h 64202"/>
              <a:gd name="csX7" fmla="*/ 309983 w 322677"/>
              <a:gd name="csY7" fmla="*/ 6097 h 64202"/>
              <a:gd name="csX8" fmla="*/ 322678 w 322677"/>
              <a:gd name="csY8" fmla="*/ 40406 h 64202"/>
              <a:gd name="csX9" fmla="*/ 199184 w 322677"/>
              <a:gd name="csY9" fmla="*/ 59136 h 6420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322677" h="64202">
                <a:moveTo>
                  <a:pt x="199184" y="59136"/>
                </a:moveTo>
                <a:cubicBezTo>
                  <a:pt x="132374" y="65824"/>
                  <a:pt x="66629" y="64605"/>
                  <a:pt x="0" y="62697"/>
                </a:cubicBezTo>
                <a:cubicBezTo>
                  <a:pt x="0" y="47160"/>
                  <a:pt x="0" y="33409"/>
                  <a:pt x="0" y="18400"/>
                </a:cubicBezTo>
                <a:cubicBezTo>
                  <a:pt x="3587" y="18160"/>
                  <a:pt x="7120" y="17536"/>
                  <a:pt x="10601" y="17750"/>
                </a:cubicBezTo>
                <a:cubicBezTo>
                  <a:pt x="59329" y="20736"/>
                  <a:pt x="107987" y="18533"/>
                  <a:pt x="156563" y="15074"/>
                </a:cubicBezTo>
                <a:cubicBezTo>
                  <a:pt x="193260" y="12461"/>
                  <a:pt x="229860" y="8449"/>
                  <a:pt x="266479" y="4814"/>
                </a:cubicBezTo>
                <a:cubicBezTo>
                  <a:pt x="276635" y="3806"/>
                  <a:pt x="286748" y="2160"/>
                  <a:pt x="296798" y="344"/>
                </a:cubicBezTo>
                <a:cubicBezTo>
                  <a:pt x="302773" y="-735"/>
                  <a:pt x="306536" y="602"/>
                  <a:pt x="309983" y="6097"/>
                </a:cubicBezTo>
                <a:cubicBezTo>
                  <a:pt x="316405" y="16331"/>
                  <a:pt x="320231" y="27243"/>
                  <a:pt x="322678" y="40406"/>
                </a:cubicBezTo>
                <a:cubicBezTo>
                  <a:pt x="281944" y="49611"/>
                  <a:pt x="241309" y="55431"/>
                  <a:pt x="199184" y="59136"/>
                </a:cubicBezTo>
                <a:close/>
              </a:path>
            </a:pathLst>
          </a:custGeom>
          <a:solidFill>
            <a:schemeClr val="bg1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7" name="Oval 116">
            <a:extLst>
              <a:ext uri="{FF2B5EF4-FFF2-40B4-BE49-F238E27FC236}">
                <a16:creationId xmlns:a16="http://schemas.microsoft.com/office/drawing/2014/main" id="{C04EA5AA-1D5A-FAD4-86A7-4AD0145EACBB}"/>
              </a:ext>
            </a:extLst>
          </p:cNvPr>
          <p:cNvSpPr/>
          <p:nvPr/>
        </p:nvSpPr>
        <p:spPr>
          <a:xfrm>
            <a:off x="6100301" y="5277097"/>
            <a:ext cx="593138" cy="104135"/>
          </a:xfrm>
          <a:prstGeom prst="ellipse">
            <a:avLst/>
          </a:prstGeom>
          <a:solidFill>
            <a:schemeClr val="tx1">
              <a:alpha val="6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8" name="Free-form: Shape 117">
            <a:extLst>
              <a:ext uri="{FF2B5EF4-FFF2-40B4-BE49-F238E27FC236}">
                <a16:creationId xmlns:a16="http://schemas.microsoft.com/office/drawing/2014/main" id="{3EC4D445-EF98-A3AB-FCFC-BDA6D1DBC999}"/>
              </a:ext>
            </a:extLst>
          </p:cNvPr>
          <p:cNvSpPr/>
          <p:nvPr/>
        </p:nvSpPr>
        <p:spPr>
          <a:xfrm>
            <a:off x="6177112" y="4501106"/>
            <a:ext cx="476450" cy="847024"/>
          </a:xfrm>
          <a:custGeom>
            <a:avLst/>
            <a:gdLst>
              <a:gd name="csX0" fmla="*/ 581793 w 697572"/>
              <a:gd name="csY0" fmla="*/ 1234401 h 1240128"/>
              <a:gd name="csX1" fmla="*/ 577427 w 697572"/>
              <a:gd name="csY1" fmla="*/ 1234156 h 1240128"/>
              <a:gd name="csX2" fmla="*/ 559133 w 697572"/>
              <a:gd name="csY2" fmla="*/ 1230909 h 1240128"/>
              <a:gd name="csX3" fmla="*/ 516706 w 697572"/>
              <a:gd name="csY3" fmla="*/ 1235117 h 1240128"/>
              <a:gd name="csX4" fmla="*/ 475244 w 697572"/>
              <a:gd name="csY4" fmla="*/ 1237506 h 1240128"/>
              <a:gd name="csX5" fmla="*/ 371154 w 697572"/>
              <a:gd name="csY5" fmla="*/ 1239428 h 1240128"/>
              <a:gd name="csX6" fmla="*/ 276813 w 697572"/>
              <a:gd name="csY6" fmla="*/ 1237654 h 1240128"/>
              <a:gd name="csX7" fmla="*/ 268212 w 697572"/>
              <a:gd name="csY7" fmla="*/ 1237635 h 1240128"/>
              <a:gd name="csX8" fmla="*/ 262072 w 697572"/>
              <a:gd name="csY8" fmla="*/ 1237523 h 1240128"/>
              <a:gd name="csX9" fmla="*/ 195111 w 697572"/>
              <a:gd name="csY9" fmla="*/ 1232775 h 1240128"/>
              <a:gd name="csX10" fmla="*/ 145060 w 697572"/>
              <a:gd name="csY10" fmla="*/ 1230076 h 1240128"/>
              <a:gd name="csX11" fmla="*/ 114933 w 697572"/>
              <a:gd name="csY11" fmla="*/ 1225832 h 1240128"/>
              <a:gd name="csX12" fmla="*/ 72642 w 697572"/>
              <a:gd name="csY12" fmla="*/ 1220237 h 1240128"/>
              <a:gd name="csX13" fmla="*/ 10894 w 697572"/>
              <a:gd name="csY13" fmla="*/ 1205737 h 1240128"/>
              <a:gd name="csX14" fmla="*/ 5856 w 697572"/>
              <a:gd name="csY14" fmla="*/ 1202799 h 1240128"/>
              <a:gd name="csX15" fmla="*/ 40 w 697572"/>
              <a:gd name="csY15" fmla="*/ 1174450 h 1240128"/>
              <a:gd name="csX16" fmla="*/ 19831 w 697572"/>
              <a:gd name="csY16" fmla="*/ 1118410 h 1240128"/>
              <a:gd name="csX17" fmla="*/ 22004 w 697572"/>
              <a:gd name="csY17" fmla="*/ 1107240 h 1240128"/>
              <a:gd name="csX18" fmla="*/ 25947 w 697572"/>
              <a:gd name="csY18" fmla="*/ 1038650 h 1240128"/>
              <a:gd name="csX19" fmla="*/ 58234 w 697572"/>
              <a:gd name="csY19" fmla="*/ 988567 h 1240128"/>
              <a:gd name="csX20" fmla="*/ 118645 w 697572"/>
              <a:gd name="csY20" fmla="*/ 928298 h 1240128"/>
              <a:gd name="csX21" fmla="*/ 126320 w 697572"/>
              <a:gd name="csY21" fmla="*/ 892015 h 1240128"/>
              <a:gd name="csX22" fmla="*/ 120345 w 697572"/>
              <a:gd name="csY22" fmla="*/ 872258 h 1240128"/>
              <a:gd name="csX23" fmla="*/ 125668 w 697572"/>
              <a:gd name="csY23" fmla="*/ 861640 h 1240128"/>
              <a:gd name="csX24" fmla="*/ 154237 w 697572"/>
              <a:gd name="csY24" fmla="*/ 850716 h 1240128"/>
              <a:gd name="csX25" fmla="*/ 170248 w 697572"/>
              <a:gd name="csY25" fmla="*/ 836767 h 1240128"/>
              <a:gd name="csX26" fmla="*/ 187840 w 697572"/>
              <a:gd name="csY26" fmla="*/ 796341 h 1240128"/>
              <a:gd name="csX27" fmla="*/ 209346 w 697572"/>
              <a:gd name="csY27" fmla="*/ 743126 h 1240128"/>
              <a:gd name="csX28" fmla="*/ 210630 w 697572"/>
              <a:gd name="csY28" fmla="*/ 737219 h 1240128"/>
              <a:gd name="csX29" fmla="*/ 213836 w 697572"/>
              <a:gd name="csY29" fmla="*/ 720505 h 1240128"/>
              <a:gd name="csX30" fmla="*/ 227791 w 697572"/>
              <a:gd name="csY30" fmla="*/ 667353 h 1240128"/>
              <a:gd name="csX31" fmla="*/ 241013 w 697572"/>
              <a:gd name="csY31" fmla="*/ 599151 h 1240128"/>
              <a:gd name="csX32" fmla="*/ 247322 w 697572"/>
              <a:gd name="csY32" fmla="*/ 542242 h 1240128"/>
              <a:gd name="csX33" fmla="*/ 247948 w 697572"/>
              <a:gd name="csY33" fmla="*/ 499296 h 1240128"/>
              <a:gd name="csX34" fmla="*/ 247577 w 697572"/>
              <a:gd name="csY34" fmla="*/ 470384 h 1240128"/>
              <a:gd name="csX35" fmla="*/ 238877 w 697572"/>
              <a:gd name="csY35" fmla="*/ 460987 h 1240128"/>
              <a:gd name="csX36" fmla="*/ 222040 w 697572"/>
              <a:gd name="csY36" fmla="*/ 458353 h 1240128"/>
              <a:gd name="csX37" fmla="*/ 172193 w 697572"/>
              <a:gd name="csY37" fmla="*/ 433714 h 1240128"/>
              <a:gd name="csX38" fmla="*/ 168410 w 697572"/>
              <a:gd name="csY38" fmla="*/ 396591 h 1240128"/>
              <a:gd name="csX39" fmla="*/ 209826 w 697572"/>
              <a:gd name="csY39" fmla="*/ 367773 h 1240128"/>
              <a:gd name="csX40" fmla="*/ 250732 w 697572"/>
              <a:gd name="csY40" fmla="*/ 355208 h 1240128"/>
              <a:gd name="csX41" fmla="*/ 258289 w 697572"/>
              <a:gd name="csY41" fmla="*/ 350426 h 1240128"/>
              <a:gd name="csX42" fmla="*/ 233274 w 697572"/>
              <a:gd name="csY42" fmla="*/ 333513 h 1240128"/>
              <a:gd name="csX43" fmla="*/ 229677 w 697572"/>
              <a:gd name="csY43" fmla="*/ 333922 h 1240128"/>
              <a:gd name="csX44" fmla="*/ 230149 w 697572"/>
              <a:gd name="csY44" fmla="*/ 332979 h 1240128"/>
              <a:gd name="csX45" fmla="*/ 227053 w 697572"/>
              <a:gd name="csY45" fmla="*/ 327076 h 1240128"/>
              <a:gd name="csX46" fmla="*/ 196769 w 697572"/>
              <a:gd name="csY46" fmla="*/ 291380 h 1240128"/>
              <a:gd name="csX47" fmla="*/ 184389 w 697572"/>
              <a:gd name="csY47" fmla="*/ 264042 h 1240128"/>
              <a:gd name="csX48" fmla="*/ 180630 w 697572"/>
              <a:gd name="csY48" fmla="*/ 257839 h 1240128"/>
              <a:gd name="csX49" fmla="*/ 176231 w 697572"/>
              <a:gd name="csY49" fmla="*/ 250643 h 1240128"/>
              <a:gd name="csX50" fmla="*/ 170073 w 697572"/>
              <a:gd name="csY50" fmla="*/ 146723 h 1240128"/>
              <a:gd name="csX51" fmla="*/ 180929 w 697572"/>
              <a:gd name="csY51" fmla="*/ 114280 h 1240128"/>
              <a:gd name="csX52" fmla="*/ 180839 w 697572"/>
              <a:gd name="csY52" fmla="*/ 101501 h 1240128"/>
              <a:gd name="csX53" fmla="*/ 233536 w 697572"/>
              <a:gd name="csY53" fmla="*/ 39653 h 1240128"/>
              <a:gd name="csX54" fmla="*/ 347618 w 697572"/>
              <a:gd name="csY54" fmla="*/ 35 h 1240128"/>
              <a:gd name="csX55" fmla="*/ 437139 w 697572"/>
              <a:gd name="csY55" fmla="*/ 22396 h 1240128"/>
              <a:gd name="csX56" fmla="*/ 529052 w 697572"/>
              <a:gd name="csY56" fmla="*/ 131093 h 1240128"/>
              <a:gd name="csX57" fmla="*/ 518497 w 697572"/>
              <a:gd name="csY57" fmla="*/ 271517 h 1240128"/>
              <a:gd name="csX58" fmla="*/ 500808 w 697572"/>
              <a:gd name="csY58" fmla="*/ 287385 h 1240128"/>
              <a:gd name="csX59" fmla="*/ 472948 w 697572"/>
              <a:gd name="csY59" fmla="*/ 323290 h 1240128"/>
              <a:gd name="csX60" fmla="*/ 469385 w 697572"/>
              <a:gd name="csY60" fmla="*/ 331565 h 1240128"/>
              <a:gd name="csX61" fmla="*/ 468293 w 697572"/>
              <a:gd name="csY61" fmla="*/ 331320 h 1240128"/>
              <a:gd name="csX62" fmla="*/ 459542 w 697572"/>
              <a:gd name="csY62" fmla="*/ 338942 h 1240128"/>
              <a:gd name="csX63" fmla="*/ 458492 w 697572"/>
              <a:gd name="csY63" fmla="*/ 338671 h 1240128"/>
              <a:gd name="csX64" fmla="*/ 436978 w 697572"/>
              <a:gd name="csY64" fmla="*/ 352226 h 1240128"/>
              <a:gd name="csX65" fmla="*/ 472329 w 697572"/>
              <a:gd name="csY65" fmla="*/ 362890 h 1240128"/>
              <a:gd name="csX66" fmla="*/ 523779 w 697572"/>
              <a:gd name="csY66" fmla="*/ 391962 h 1240128"/>
              <a:gd name="csX67" fmla="*/ 527344 w 697572"/>
              <a:gd name="csY67" fmla="*/ 430096 h 1240128"/>
              <a:gd name="csX68" fmla="*/ 504112 w 697572"/>
              <a:gd name="csY68" fmla="*/ 449628 h 1240128"/>
              <a:gd name="csX69" fmla="*/ 459430 w 697572"/>
              <a:gd name="csY69" fmla="*/ 461116 h 1240128"/>
              <a:gd name="csX70" fmla="*/ 446666 w 697572"/>
              <a:gd name="csY70" fmla="*/ 474229 h 1240128"/>
              <a:gd name="csX71" fmla="*/ 449133 w 697572"/>
              <a:gd name="csY71" fmla="*/ 531639 h 1240128"/>
              <a:gd name="csX72" fmla="*/ 454546 w 697572"/>
              <a:gd name="csY72" fmla="*/ 588688 h 1240128"/>
              <a:gd name="csX73" fmla="*/ 466126 w 697572"/>
              <a:gd name="csY73" fmla="*/ 649736 h 1240128"/>
              <a:gd name="csX74" fmla="*/ 512154 w 697572"/>
              <a:gd name="csY74" fmla="*/ 794006 h 1240128"/>
              <a:gd name="csX75" fmla="*/ 525763 w 697572"/>
              <a:gd name="csY75" fmla="*/ 834323 h 1240128"/>
              <a:gd name="csX76" fmla="*/ 530555 w 697572"/>
              <a:gd name="csY76" fmla="*/ 845114 h 1240128"/>
              <a:gd name="csX77" fmla="*/ 554424 w 697572"/>
              <a:gd name="csY77" fmla="*/ 856618 h 1240128"/>
              <a:gd name="csX78" fmla="*/ 572880 w 697572"/>
              <a:gd name="csY78" fmla="*/ 862546 h 1240128"/>
              <a:gd name="csX79" fmla="*/ 578643 w 697572"/>
              <a:gd name="csY79" fmla="*/ 880396 h 1240128"/>
              <a:gd name="csX80" fmla="*/ 572188 w 697572"/>
              <a:gd name="csY80" fmla="*/ 899820 h 1240128"/>
              <a:gd name="csX81" fmla="*/ 582698 w 697572"/>
              <a:gd name="csY81" fmla="*/ 930382 h 1240128"/>
              <a:gd name="csX82" fmla="*/ 604747 w 697572"/>
              <a:gd name="csY82" fmla="*/ 960852 h 1240128"/>
              <a:gd name="csX83" fmla="*/ 613863 w 697572"/>
              <a:gd name="csY83" fmla="*/ 968311 h 1240128"/>
              <a:gd name="csX84" fmla="*/ 629435 w 697572"/>
              <a:gd name="csY84" fmla="*/ 981186 h 1240128"/>
              <a:gd name="csX85" fmla="*/ 633611 w 697572"/>
              <a:gd name="csY85" fmla="*/ 985609 h 1240128"/>
              <a:gd name="csX86" fmla="*/ 673790 w 697572"/>
              <a:gd name="csY86" fmla="*/ 1049348 h 1240128"/>
              <a:gd name="csX87" fmla="*/ 675873 w 697572"/>
              <a:gd name="csY87" fmla="*/ 1092839 h 1240128"/>
              <a:gd name="csX88" fmla="*/ 681668 w 697572"/>
              <a:gd name="csY88" fmla="*/ 1129292 h 1240128"/>
              <a:gd name="csX89" fmla="*/ 697338 w 697572"/>
              <a:gd name="csY89" fmla="*/ 1196079 h 1240128"/>
              <a:gd name="csX90" fmla="*/ 690637 w 697572"/>
              <a:gd name="csY90" fmla="*/ 1205035 h 1240128"/>
              <a:gd name="csX91" fmla="*/ 639777 w 697572"/>
              <a:gd name="csY91" fmla="*/ 1217994 h 1240128"/>
              <a:gd name="csX92" fmla="*/ 587072 w 697572"/>
              <a:gd name="csY92" fmla="*/ 1227761 h 1240128"/>
              <a:gd name="csX93" fmla="*/ 581793 w 697572"/>
              <a:gd name="csY93" fmla="*/ 1234401 h 1240128"/>
              <a:gd name="csX94" fmla="*/ 357446 w 697572"/>
              <a:gd name="csY94" fmla="*/ 903795 h 1240128"/>
              <a:gd name="csX95" fmla="*/ 344445 w 697572"/>
              <a:gd name="csY95" fmla="*/ 903795 h 1240128"/>
              <a:gd name="csX96" fmla="*/ 349212 w 697572"/>
              <a:gd name="csY96" fmla="*/ 950515 h 1240128"/>
              <a:gd name="csX97" fmla="*/ 349538 w 697572"/>
              <a:gd name="csY97" fmla="*/ 1069392 h 1240128"/>
              <a:gd name="csX98" fmla="*/ 349415 w 697572"/>
              <a:gd name="csY98" fmla="*/ 1108925 h 1240128"/>
              <a:gd name="csX99" fmla="*/ 647726 w 697572"/>
              <a:gd name="csY99" fmla="*/ 1089872 h 1240128"/>
              <a:gd name="csX100" fmla="*/ 647654 w 697572"/>
              <a:gd name="csY100" fmla="*/ 1076267 h 1240128"/>
              <a:gd name="csX101" fmla="*/ 610267 w 697572"/>
              <a:gd name="csY101" fmla="*/ 994126 h 1240128"/>
              <a:gd name="csX102" fmla="*/ 571459 w 697572"/>
              <a:gd name="csY102" fmla="*/ 956568 h 1240128"/>
              <a:gd name="csX103" fmla="*/ 541653 w 697572"/>
              <a:gd name="csY103" fmla="*/ 901544 h 1240128"/>
              <a:gd name="csX104" fmla="*/ 539477 w 697572"/>
              <a:gd name="csY104" fmla="*/ 895908 h 1240128"/>
              <a:gd name="csX105" fmla="*/ 357446 w 697572"/>
              <a:gd name="csY105" fmla="*/ 903795 h 1240128"/>
              <a:gd name="csX106" fmla="*/ 300108 w 697572"/>
              <a:gd name="csY106" fmla="*/ 85260 h 1240128"/>
              <a:gd name="csX107" fmla="*/ 290213 w 697572"/>
              <a:gd name="csY107" fmla="*/ 127888 h 1240128"/>
              <a:gd name="csX108" fmla="*/ 331056 w 697572"/>
              <a:gd name="csY108" fmla="*/ 214168 h 1240128"/>
              <a:gd name="csX109" fmla="*/ 424717 w 697572"/>
              <a:gd name="csY109" fmla="*/ 245160 h 1240128"/>
              <a:gd name="csX110" fmla="*/ 496752 w 697572"/>
              <a:gd name="csY110" fmla="*/ 141256 h 1240128"/>
              <a:gd name="csX111" fmla="*/ 390320 w 697572"/>
              <a:gd name="csY111" fmla="*/ 43995 h 1240128"/>
              <a:gd name="csX112" fmla="*/ 300108 w 697572"/>
              <a:gd name="csY112" fmla="*/ 85260 h 1240128"/>
              <a:gd name="csX113" fmla="*/ 343360 w 697572"/>
              <a:gd name="csY113" fmla="*/ 634332 h 1240128"/>
              <a:gd name="csX114" fmla="*/ 340877 w 697572"/>
              <a:gd name="csY114" fmla="*/ 732259 h 1240128"/>
              <a:gd name="csX115" fmla="*/ 338360 w 697572"/>
              <a:gd name="csY115" fmla="*/ 810538 h 1240128"/>
              <a:gd name="csX116" fmla="*/ 337115 w 697572"/>
              <a:gd name="csY116" fmla="*/ 817736 h 1240128"/>
              <a:gd name="csX117" fmla="*/ 336516 w 697572"/>
              <a:gd name="csY117" fmla="*/ 863022 h 1240128"/>
              <a:gd name="csX118" fmla="*/ 343436 w 697572"/>
              <a:gd name="csY118" fmla="*/ 864027 h 1240128"/>
              <a:gd name="csX119" fmla="*/ 406718 w 697572"/>
              <a:gd name="csY119" fmla="*/ 862982 h 1240128"/>
              <a:gd name="csX120" fmla="*/ 456888 w 697572"/>
              <a:gd name="csY120" fmla="*/ 861794 h 1240128"/>
              <a:gd name="csX121" fmla="*/ 495873 w 697572"/>
              <a:gd name="csY121" fmla="*/ 863963 h 1240128"/>
              <a:gd name="csX122" fmla="*/ 509286 w 697572"/>
              <a:gd name="csY122" fmla="*/ 863595 h 1240128"/>
              <a:gd name="csX123" fmla="*/ 516956 w 697572"/>
              <a:gd name="csY123" fmla="*/ 856791 h 1240128"/>
              <a:gd name="csX124" fmla="*/ 513920 w 697572"/>
              <a:gd name="csY124" fmla="*/ 848709 h 1240128"/>
              <a:gd name="csX125" fmla="*/ 506683 w 697572"/>
              <a:gd name="csY125" fmla="*/ 839054 h 1240128"/>
              <a:gd name="csX126" fmla="*/ 488629 w 697572"/>
              <a:gd name="csY126" fmla="*/ 799037 h 1240128"/>
              <a:gd name="csX127" fmla="*/ 456922 w 697572"/>
              <a:gd name="csY127" fmla="*/ 696297 h 1240128"/>
              <a:gd name="csX128" fmla="*/ 441346 w 697572"/>
              <a:gd name="csY128" fmla="*/ 619885 h 1240128"/>
              <a:gd name="csX129" fmla="*/ 435963 w 697572"/>
              <a:gd name="csY129" fmla="*/ 582529 h 1240128"/>
              <a:gd name="csX130" fmla="*/ 429497 w 697572"/>
              <a:gd name="csY130" fmla="*/ 521990 h 1240128"/>
              <a:gd name="csX131" fmla="*/ 426887 w 697572"/>
              <a:gd name="csY131" fmla="*/ 471989 h 1240128"/>
              <a:gd name="csX132" fmla="*/ 413744 w 697572"/>
              <a:gd name="csY132" fmla="*/ 461077 h 1240128"/>
              <a:gd name="csX133" fmla="*/ 353573 w 697572"/>
              <a:gd name="csY133" fmla="*/ 461120 h 1240128"/>
              <a:gd name="csX134" fmla="*/ 344160 w 697572"/>
              <a:gd name="csY134" fmla="*/ 462286 h 1240128"/>
              <a:gd name="csX135" fmla="*/ 343404 w 697572"/>
              <a:gd name="csY135" fmla="*/ 469192 h 1240128"/>
              <a:gd name="csX136" fmla="*/ 343469 w 697572"/>
              <a:gd name="csY136" fmla="*/ 574797 h 1240128"/>
              <a:gd name="csX137" fmla="*/ 345522 w 697572"/>
              <a:gd name="csY137" fmla="*/ 591669 h 1240128"/>
              <a:gd name="csX138" fmla="*/ 343360 w 697572"/>
              <a:gd name="csY138" fmla="*/ 634332 h 1240128"/>
              <a:gd name="csX139" fmla="*/ 416946 w 697572"/>
              <a:gd name="csY139" fmla="*/ 385943 h 1240128"/>
              <a:gd name="csX140" fmla="*/ 401091 w 697572"/>
              <a:gd name="csY140" fmla="*/ 387162 h 1240128"/>
              <a:gd name="csX141" fmla="*/ 369218 w 697572"/>
              <a:gd name="csY141" fmla="*/ 387708 h 1240128"/>
              <a:gd name="csX142" fmla="*/ 351833 w 697572"/>
              <a:gd name="csY142" fmla="*/ 398991 h 1240128"/>
              <a:gd name="csX143" fmla="*/ 349778 w 697572"/>
              <a:gd name="csY143" fmla="*/ 426021 h 1240128"/>
              <a:gd name="csX144" fmla="*/ 361839 w 697572"/>
              <a:gd name="csY144" fmla="*/ 426538 h 1240128"/>
              <a:gd name="csX145" fmla="*/ 455022 w 697572"/>
              <a:gd name="csY145" fmla="*/ 426922 h 1240128"/>
              <a:gd name="csX146" fmla="*/ 481958 w 697572"/>
              <a:gd name="csY146" fmla="*/ 426527 h 1240128"/>
              <a:gd name="csX147" fmla="*/ 499817 w 697572"/>
              <a:gd name="csY147" fmla="*/ 419888 h 1240128"/>
              <a:gd name="csX148" fmla="*/ 499439 w 697572"/>
              <a:gd name="csY148" fmla="*/ 400719 h 1240128"/>
              <a:gd name="csX149" fmla="*/ 468062 w 697572"/>
              <a:gd name="csY149" fmla="*/ 387775 h 1240128"/>
              <a:gd name="csX150" fmla="*/ 416946 w 697572"/>
              <a:gd name="csY150" fmla="*/ 385943 h 1240128"/>
              <a:gd name="csX151" fmla="*/ 636802 w 697572"/>
              <a:gd name="csY151" fmla="*/ 1190940 h 1240128"/>
              <a:gd name="csX152" fmla="*/ 666492 w 697572"/>
              <a:gd name="csY152" fmla="*/ 1184186 h 1240128"/>
              <a:gd name="csX153" fmla="*/ 674465 w 697572"/>
              <a:gd name="csY153" fmla="*/ 1170880 h 1240128"/>
              <a:gd name="csX154" fmla="*/ 662462 w 697572"/>
              <a:gd name="csY154" fmla="*/ 1141464 h 1240128"/>
              <a:gd name="csX155" fmla="*/ 645564 w 697572"/>
              <a:gd name="csY155" fmla="*/ 1131937 h 1240128"/>
              <a:gd name="csX156" fmla="*/ 627387 w 697572"/>
              <a:gd name="csY156" fmla="*/ 1133618 h 1240128"/>
              <a:gd name="csX157" fmla="*/ 583917 w 697572"/>
              <a:gd name="csY157" fmla="*/ 1139222 h 1240128"/>
              <a:gd name="csX158" fmla="*/ 543741 w 697572"/>
              <a:gd name="csY158" fmla="*/ 1141869 h 1240128"/>
              <a:gd name="csX159" fmla="*/ 512146 w 697572"/>
              <a:gd name="csY159" fmla="*/ 1144418 h 1240128"/>
              <a:gd name="csX160" fmla="*/ 447711 w 697572"/>
              <a:gd name="csY160" fmla="*/ 1148973 h 1240128"/>
              <a:gd name="csX161" fmla="*/ 351979 w 697572"/>
              <a:gd name="csY161" fmla="*/ 1149200 h 1240128"/>
              <a:gd name="csX162" fmla="*/ 338443 w 697572"/>
              <a:gd name="csY162" fmla="*/ 1150040 h 1240128"/>
              <a:gd name="csX163" fmla="*/ 338451 w 697572"/>
              <a:gd name="csY163" fmla="*/ 1190780 h 1240128"/>
              <a:gd name="csX164" fmla="*/ 351082 w 697572"/>
              <a:gd name="csY164" fmla="*/ 1207015 h 1240128"/>
              <a:gd name="csX165" fmla="*/ 358298 w 697572"/>
              <a:gd name="csY165" fmla="*/ 1208094 h 1240128"/>
              <a:gd name="csX166" fmla="*/ 521229 w 697572"/>
              <a:gd name="csY166" fmla="*/ 1205646 h 1240128"/>
              <a:gd name="csX167" fmla="*/ 523675 w 697572"/>
              <a:gd name="csY167" fmla="*/ 1205490 h 1240128"/>
              <a:gd name="csX168" fmla="*/ 580423 w 697572"/>
              <a:gd name="csY168" fmla="*/ 1198350 h 1240128"/>
              <a:gd name="csX169" fmla="*/ 636802 w 697572"/>
              <a:gd name="csY169" fmla="*/ 1190940 h 124012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</a:cxnLst>
            <a:rect l="l" t="t" r="r" b="b"/>
            <a:pathLst>
              <a:path w="697572" h="1240128">
                <a:moveTo>
                  <a:pt x="581793" y="1234401"/>
                </a:moveTo>
                <a:cubicBezTo>
                  <a:pt x="580693" y="1234661"/>
                  <a:pt x="579594" y="1234922"/>
                  <a:pt x="577427" y="1234156"/>
                </a:cubicBezTo>
                <a:cubicBezTo>
                  <a:pt x="571216" y="1227899"/>
                  <a:pt x="564912" y="1230441"/>
                  <a:pt x="559133" y="1230909"/>
                </a:cubicBezTo>
                <a:cubicBezTo>
                  <a:pt x="544971" y="1232056"/>
                  <a:pt x="530869" y="1233971"/>
                  <a:pt x="516706" y="1235117"/>
                </a:cubicBezTo>
                <a:cubicBezTo>
                  <a:pt x="502910" y="1236232"/>
                  <a:pt x="489077" y="1237097"/>
                  <a:pt x="475244" y="1237506"/>
                </a:cubicBezTo>
                <a:cubicBezTo>
                  <a:pt x="440539" y="1238535"/>
                  <a:pt x="405696" y="1241458"/>
                  <a:pt x="371154" y="1239428"/>
                </a:cubicBezTo>
                <a:cubicBezTo>
                  <a:pt x="339645" y="1237575"/>
                  <a:pt x="308239" y="1238753"/>
                  <a:pt x="276813" y="1237654"/>
                </a:cubicBezTo>
                <a:cubicBezTo>
                  <a:pt x="273949" y="1237553"/>
                  <a:pt x="271079" y="1237652"/>
                  <a:pt x="268212" y="1237635"/>
                </a:cubicBezTo>
                <a:cubicBezTo>
                  <a:pt x="266165" y="1237623"/>
                  <a:pt x="264111" y="1237668"/>
                  <a:pt x="262072" y="1237523"/>
                </a:cubicBezTo>
                <a:cubicBezTo>
                  <a:pt x="239751" y="1235944"/>
                  <a:pt x="217441" y="1234201"/>
                  <a:pt x="195111" y="1232775"/>
                </a:cubicBezTo>
                <a:cubicBezTo>
                  <a:pt x="178437" y="1231710"/>
                  <a:pt x="161712" y="1231378"/>
                  <a:pt x="145060" y="1230076"/>
                </a:cubicBezTo>
                <a:cubicBezTo>
                  <a:pt x="134969" y="1229287"/>
                  <a:pt x="124987" y="1227177"/>
                  <a:pt x="114933" y="1225832"/>
                </a:cubicBezTo>
                <a:cubicBezTo>
                  <a:pt x="100834" y="1223946"/>
                  <a:pt x="86554" y="1223022"/>
                  <a:pt x="72642" y="1220237"/>
                </a:cubicBezTo>
                <a:cubicBezTo>
                  <a:pt x="51920" y="1216091"/>
                  <a:pt x="31443" y="1210723"/>
                  <a:pt x="10894" y="1205737"/>
                </a:cubicBezTo>
                <a:cubicBezTo>
                  <a:pt x="9027" y="1205284"/>
                  <a:pt x="6196" y="1204140"/>
                  <a:pt x="5856" y="1202799"/>
                </a:cubicBezTo>
                <a:cubicBezTo>
                  <a:pt x="3474" y="1193418"/>
                  <a:pt x="-438" y="1183796"/>
                  <a:pt x="40" y="1174450"/>
                </a:cubicBezTo>
                <a:cubicBezTo>
                  <a:pt x="1079" y="1154149"/>
                  <a:pt x="9757" y="1135843"/>
                  <a:pt x="19831" y="1118410"/>
                </a:cubicBezTo>
                <a:cubicBezTo>
                  <a:pt x="21968" y="1114713"/>
                  <a:pt x="22970" y="1111858"/>
                  <a:pt x="22004" y="1107240"/>
                </a:cubicBezTo>
                <a:cubicBezTo>
                  <a:pt x="17168" y="1084118"/>
                  <a:pt x="17717" y="1061168"/>
                  <a:pt x="25947" y="1038650"/>
                </a:cubicBezTo>
                <a:cubicBezTo>
                  <a:pt x="32954" y="1019481"/>
                  <a:pt x="44478" y="1003118"/>
                  <a:pt x="58234" y="988567"/>
                </a:cubicBezTo>
                <a:cubicBezTo>
                  <a:pt x="77769" y="967902"/>
                  <a:pt x="97978" y="947832"/>
                  <a:pt x="118645" y="928298"/>
                </a:cubicBezTo>
                <a:cubicBezTo>
                  <a:pt x="130104" y="917467"/>
                  <a:pt x="131835" y="905961"/>
                  <a:pt x="126320" y="892015"/>
                </a:cubicBezTo>
                <a:cubicBezTo>
                  <a:pt x="123798" y="885637"/>
                  <a:pt x="122123" y="878904"/>
                  <a:pt x="120345" y="872258"/>
                </a:cubicBezTo>
                <a:cubicBezTo>
                  <a:pt x="119029" y="867341"/>
                  <a:pt x="120162" y="863613"/>
                  <a:pt x="125668" y="861640"/>
                </a:cubicBezTo>
                <a:cubicBezTo>
                  <a:pt x="135266" y="858201"/>
                  <a:pt x="144535" y="853788"/>
                  <a:pt x="154237" y="850716"/>
                </a:cubicBezTo>
                <a:cubicBezTo>
                  <a:pt x="161882" y="848296"/>
                  <a:pt x="167110" y="843897"/>
                  <a:pt x="170248" y="836767"/>
                </a:cubicBezTo>
                <a:cubicBezTo>
                  <a:pt x="176168" y="823316"/>
                  <a:pt x="182193" y="809907"/>
                  <a:pt x="187840" y="796341"/>
                </a:cubicBezTo>
                <a:cubicBezTo>
                  <a:pt x="195194" y="778679"/>
                  <a:pt x="202250" y="760894"/>
                  <a:pt x="209346" y="743126"/>
                </a:cubicBezTo>
                <a:cubicBezTo>
                  <a:pt x="210083" y="741280"/>
                  <a:pt x="210252" y="739200"/>
                  <a:pt x="210630" y="737219"/>
                </a:cubicBezTo>
                <a:cubicBezTo>
                  <a:pt x="211694" y="731645"/>
                  <a:pt x="212425" y="725987"/>
                  <a:pt x="213836" y="720505"/>
                </a:cubicBezTo>
                <a:cubicBezTo>
                  <a:pt x="218406" y="702764"/>
                  <a:pt x="223811" y="685219"/>
                  <a:pt x="227791" y="667353"/>
                </a:cubicBezTo>
                <a:cubicBezTo>
                  <a:pt x="232826" y="644755"/>
                  <a:pt x="237367" y="622009"/>
                  <a:pt x="241013" y="599151"/>
                </a:cubicBezTo>
                <a:cubicBezTo>
                  <a:pt x="244018" y="580319"/>
                  <a:pt x="246001" y="561272"/>
                  <a:pt x="247322" y="542242"/>
                </a:cubicBezTo>
                <a:cubicBezTo>
                  <a:pt x="248312" y="527975"/>
                  <a:pt x="246344" y="513451"/>
                  <a:pt x="247948" y="499296"/>
                </a:cubicBezTo>
                <a:cubicBezTo>
                  <a:pt x="249066" y="489432"/>
                  <a:pt x="247923" y="480014"/>
                  <a:pt x="247577" y="470384"/>
                </a:cubicBezTo>
                <a:cubicBezTo>
                  <a:pt x="247364" y="464453"/>
                  <a:pt x="245121" y="461397"/>
                  <a:pt x="238877" y="460987"/>
                </a:cubicBezTo>
                <a:cubicBezTo>
                  <a:pt x="233224" y="460615"/>
                  <a:pt x="227461" y="459920"/>
                  <a:pt x="222040" y="458353"/>
                </a:cubicBezTo>
                <a:cubicBezTo>
                  <a:pt x="203991" y="453134"/>
                  <a:pt x="185737" y="448229"/>
                  <a:pt x="172193" y="433714"/>
                </a:cubicBezTo>
                <a:cubicBezTo>
                  <a:pt x="162702" y="423544"/>
                  <a:pt x="160887" y="408134"/>
                  <a:pt x="168410" y="396591"/>
                </a:cubicBezTo>
                <a:cubicBezTo>
                  <a:pt x="178294" y="381428"/>
                  <a:pt x="193736" y="373793"/>
                  <a:pt x="209826" y="367773"/>
                </a:cubicBezTo>
                <a:cubicBezTo>
                  <a:pt x="223159" y="362784"/>
                  <a:pt x="237124" y="359493"/>
                  <a:pt x="250732" y="355208"/>
                </a:cubicBezTo>
                <a:cubicBezTo>
                  <a:pt x="253085" y="354467"/>
                  <a:pt x="255058" y="352518"/>
                  <a:pt x="258289" y="350426"/>
                </a:cubicBezTo>
                <a:cubicBezTo>
                  <a:pt x="250173" y="342610"/>
                  <a:pt x="241833" y="337880"/>
                  <a:pt x="233274" y="333513"/>
                </a:cubicBezTo>
                <a:cubicBezTo>
                  <a:pt x="232377" y="333055"/>
                  <a:pt x="230890" y="333758"/>
                  <a:pt x="229677" y="333922"/>
                </a:cubicBezTo>
                <a:cubicBezTo>
                  <a:pt x="229677" y="333922"/>
                  <a:pt x="230323" y="333834"/>
                  <a:pt x="230149" y="332979"/>
                </a:cubicBezTo>
                <a:cubicBezTo>
                  <a:pt x="229023" y="330409"/>
                  <a:pt x="228502" y="328059"/>
                  <a:pt x="227053" y="327076"/>
                </a:cubicBezTo>
                <a:cubicBezTo>
                  <a:pt x="213615" y="317962"/>
                  <a:pt x="204643" y="305332"/>
                  <a:pt x="196769" y="291380"/>
                </a:cubicBezTo>
                <a:cubicBezTo>
                  <a:pt x="191792" y="282564"/>
                  <a:pt x="185421" y="274665"/>
                  <a:pt x="184389" y="264042"/>
                </a:cubicBezTo>
                <a:cubicBezTo>
                  <a:pt x="184179" y="261874"/>
                  <a:pt x="181925" y="259908"/>
                  <a:pt x="180630" y="257839"/>
                </a:cubicBezTo>
                <a:cubicBezTo>
                  <a:pt x="179137" y="255454"/>
                  <a:pt x="177317" y="253204"/>
                  <a:pt x="176231" y="250643"/>
                </a:cubicBezTo>
                <a:cubicBezTo>
                  <a:pt x="161865" y="216749"/>
                  <a:pt x="159606" y="182060"/>
                  <a:pt x="170073" y="146723"/>
                </a:cubicBezTo>
                <a:cubicBezTo>
                  <a:pt x="173311" y="135795"/>
                  <a:pt x="177248" y="125074"/>
                  <a:pt x="180929" y="114280"/>
                </a:cubicBezTo>
                <a:cubicBezTo>
                  <a:pt x="182396" y="109981"/>
                  <a:pt x="183922" y="105742"/>
                  <a:pt x="180839" y="101501"/>
                </a:cubicBezTo>
                <a:cubicBezTo>
                  <a:pt x="192473" y="75833"/>
                  <a:pt x="211344" y="56271"/>
                  <a:pt x="233536" y="39653"/>
                </a:cubicBezTo>
                <a:cubicBezTo>
                  <a:pt x="267321" y="14353"/>
                  <a:pt x="305621" y="873"/>
                  <a:pt x="347618" y="35"/>
                </a:cubicBezTo>
                <a:cubicBezTo>
                  <a:pt x="379125" y="-593"/>
                  <a:pt x="409214" y="7172"/>
                  <a:pt x="437139" y="22396"/>
                </a:cubicBezTo>
                <a:cubicBezTo>
                  <a:pt x="481844" y="46766"/>
                  <a:pt x="514077" y="82116"/>
                  <a:pt x="529052" y="131093"/>
                </a:cubicBezTo>
                <a:cubicBezTo>
                  <a:pt x="543544" y="178495"/>
                  <a:pt x="541630" y="225548"/>
                  <a:pt x="518497" y="271517"/>
                </a:cubicBezTo>
                <a:cubicBezTo>
                  <a:pt x="511428" y="277096"/>
                  <a:pt x="503848" y="281136"/>
                  <a:pt x="500808" y="287385"/>
                </a:cubicBezTo>
                <a:cubicBezTo>
                  <a:pt x="493932" y="301522"/>
                  <a:pt x="483805" y="312513"/>
                  <a:pt x="472948" y="323290"/>
                </a:cubicBezTo>
                <a:cubicBezTo>
                  <a:pt x="470972" y="325253"/>
                  <a:pt x="470533" y="328767"/>
                  <a:pt x="469385" y="331565"/>
                </a:cubicBezTo>
                <a:cubicBezTo>
                  <a:pt x="469385" y="331565"/>
                  <a:pt x="469172" y="331584"/>
                  <a:pt x="468293" y="331320"/>
                </a:cubicBezTo>
                <a:cubicBezTo>
                  <a:pt x="461937" y="330836"/>
                  <a:pt x="458618" y="332772"/>
                  <a:pt x="459542" y="338942"/>
                </a:cubicBezTo>
                <a:cubicBezTo>
                  <a:pt x="459542" y="338942"/>
                  <a:pt x="459473" y="338913"/>
                  <a:pt x="458492" y="338671"/>
                </a:cubicBezTo>
                <a:cubicBezTo>
                  <a:pt x="450936" y="342653"/>
                  <a:pt x="440712" y="341355"/>
                  <a:pt x="436978" y="352226"/>
                </a:cubicBezTo>
                <a:cubicBezTo>
                  <a:pt x="449178" y="355911"/>
                  <a:pt x="460733" y="359469"/>
                  <a:pt x="472329" y="362890"/>
                </a:cubicBezTo>
                <a:cubicBezTo>
                  <a:pt x="491728" y="368613"/>
                  <a:pt x="510182" y="375784"/>
                  <a:pt x="523779" y="391962"/>
                </a:cubicBezTo>
                <a:cubicBezTo>
                  <a:pt x="535849" y="406326"/>
                  <a:pt x="534845" y="420076"/>
                  <a:pt x="527344" y="430096"/>
                </a:cubicBezTo>
                <a:cubicBezTo>
                  <a:pt x="521323" y="438139"/>
                  <a:pt x="513928" y="445333"/>
                  <a:pt x="504112" y="449628"/>
                </a:cubicBezTo>
                <a:cubicBezTo>
                  <a:pt x="489776" y="455901"/>
                  <a:pt x="475173" y="460486"/>
                  <a:pt x="459430" y="461116"/>
                </a:cubicBezTo>
                <a:cubicBezTo>
                  <a:pt x="448415" y="461557"/>
                  <a:pt x="446384" y="463369"/>
                  <a:pt x="446666" y="474229"/>
                </a:cubicBezTo>
                <a:cubicBezTo>
                  <a:pt x="447164" y="493376"/>
                  <a:pt x="447839" y="512533"/>
                  <a:pt x="449133" y="531639"/>
                </a:cubicBezTo>
                <a:cubicBezTo>
                  <a:pt x="450424" y="550696"/>
                  <a:pt x="451783" y="569809"/>
                  <a:pt x="454546" y="588688"/>
                </a:cubicBezTo>
                <a:cubicBezTo>
                  <a:pt x="457543" y="609164"/>
                  <a:pt x="462165" y="629403"/>
                  <a:pt x="466126" y="649736"/>
                </a:cubicBezTo>
                <a:cubicBezTo>
                  <a:pt x="475845" y="699621"/>
                  <a:pt x="493414" y="746980"/>
                  <a:pt x="512154" y="794006"/>
                </a:cubicBezTo>
                <a:cubicBezTo>
                  <a:pt x="517387" y="807138"/>
                  <a:pt x="525145" y="819463"/>
                  <a:pt x="525763" y="834323"/>
                </a:cubicBezTo>
                <a:cubicBezTo>
                  <a:pt x="525919" y="838081"/>
                  <a:pt x="527739" y="843335"/>
                  <a:pt x="530555" y="845114"/>
                </a:cubicBezTo>
                <a:cubicBezTo>
                  <a:pt x="537981" y="849801"/>
                  <a:pt x="546243" y="853278"/>
                  <a:pt x="554424" y="856618"/>
                </a:cubicBezTo>
                <a:cubicBezTo>
                  <a:pt x="560391" y="859054"/>
                  <a:pt x="567041" y="859887"/>
                  <a:pt x="572880" y="862546"/>
                </a:cubicBezTo>
                <a:cubicBezTo>
                  <a:pt x="581470" y="866458"/>
                  <a:pt x="582467" y="871415"/>
                  <a:pt x="578643" y="880396"/>
                </a:cubicBezTo>
                <a:cubicBezTo>
                  <a:pt x="575969" y="886677"/>
                  <a:pt x="572900" y="893182"/>
                  <a:pt x="572188" y="899820"/>
                </a:cubicBezTo>
                <a:cubicBezTo>
                  <a:pt x="570960" y="911271"/>
                  <a:pt x="576506" y="920944"/>
                  <a:pt x="582698" y="930382"/>
                </a:cubicBezTo>
                <a:cubicBezTo>
                  <a:pt x="589569" y="940856"/>
                  <a:pt x="600933" y="947930"/>
                  <a:pt x="604747" y="960852"/>
                </a:cubicBezTo>
                <a:cubicBezTo>
                  <a:pt x="605684" y="964030"/>
                  <a:pt x="610294" y="967128"/>
                  <a:pt x="613863" y="968311"/>
                </a:cubicBezTo>
                <a:cubicBezTo>
                  <a:pt x="620963" y="970665"/>
                  <a:pt x="625924" y="974774"/>
                  <a:pt x="629435" y="981186"/>
                </a:cubicBezTo>
                <a:cubicBezTo>
                  <a:pt x="630381" y="982913"/>
                  <a:pt x="631977" y="984459"/>
                  <a:pt x="633611" y="985609"/>
                </a:cubicBezTo>
                <a:cubicBezTo>
                  <a:pt x="655878" y="1001272"/>
                  <a:pt x="668032" y="1023762"/>
                  <a:pt x="673790" y="1049348"/>
                </a:cubicBezTo>
                <a:cubicBezTo>
                  <a:pt x="676936" y="1063327"/>
                  <a:pt x="679769" y="1077802"/>
                  <a:pt x="675873" y="1092839"/>
                </a:cubicBezTo>
                <a:cubicBezTo>
                  <a:pt x="672677" y="1105174"/>
                  <a:pt x="673042" y="1116963"/>
                  <a:pt x="681668" y="1129292"/>
                </a:cubicBezTo>
                <a:cubicBezTo>
                  <a:pt x="695321" y="1148802"/>
                  <a:pt x="698550" y="1172235"/>
                  <a:pt x="697338" y="1196079"/>
                </a:cubicBezTo>
                <a:cubicBezTo>
                  <a:pt x="697087" y="1201014"/>
                  <a:pt x="694979" y="1203886"/>
                  <a:pt x="690637" y="1205035"/>
                </a:cubicBezTo>
                <a:cubicBezTo>
                  <a:pt x="673723" y="1209511"/>
                  <a:pt x="656856" y="1214241"/>
                  <a:pt x="639777" y="1217994"/>
                </a:cubicBezTo>
                <a:cubicBezTo>
                  <a:pt x="622334" y="1221827"/>
                  <a:pt x="604691" y="1224790"/>
                  <a:pt x="587072" y="1227761"/>
                </a:cubicBezTo>
                <a:cubicBezTo>
                  <a:pt x="582708" y="1228497"/>
                  <a:pt x="581724" y="1230736"/>
                  <a:pt x="581793" y="1234401"/>
                </a:cubicBezTo>
                <a:moveTo>
                  <a:pt x="357446" y="903795"/>
                </a:moveTo>
                <a:cubicBezTo>
                  <a:pt x="353141" y="903795"/>
                  <a:pt x="348835" y="903795"/>
                  <a:pt x="344445" y="903795"/>
                </a:cubicBezTo>
                <a:cubicBezTo>
                  <a:pt x="346169" y="920562"/>
                  <a:pt x="347908" y="935520"/>
                  <a:pt x="349212" y="950515"/>
                </a:cubicBezTo>
                <a:cubicBezTo>
                  <a:pt x="352656" y="990125"/>
                  <a:pt x="351941" y="1029743"/>
                  <a:pt x="349538" y="1069392"/>
                </a:cubicBezTo>
                <a:cubicBezTo>
                  <a:pt x="348759" y="1082241"/>
                  <a:pt x="349415" y="1095176"/>
                  <a:pt x="349415" y="1108925"/>
                </a:cubicBezTo>
                <a:cubicBezTo>
                  <a:pt x="449467" y="1111953"/>
                  <a:pt x="548509" y="1104712"/>
                  <a:pt x="647726" y="1089872"/>
                </a:cubicBezTo>
                <a:cubicBezTo>
                  <a:pt x="647726" y="1084313"/>
                  <a:pt x="648180" y="1080225"/>
                  <a:pt x="647654" y="1076267"/>
                </a:cubicBezTo>
                <a:cubicBezTo>
                  <a:pt x="643515" y="1045124"/>
                  <a:pt x="633172" y="1016714"/>
                  <a:pt x="610267" y="994126"/>
                </a:cubicBezTo>
                <a:cubicBezTo>
                  <a:pt x="597451" y="981485"/>
                  <a:pt x="584392" y="969090"/>
                  <a:pt x="571459" y="956568"/>
                </a:cubicBezTo>
                <a:cubicBezTo>
                  <a:pt x="555751" y="941359"/>
                  <a:pt x="544836" y="923558"/>
                  <a:pt x="541653" y="901544"/>
                </a:cubicBezTo>
                <a:cubicBezTo>
                  <a:pt x="541430" y="900007"/>
                  <a:pt x="540528" y="898570"/>
                  <a:pt x="539477" y="895908"/>
                </a:cubicBezTo>
                <a:cubicBezTo>
                  <a:pt x="479736" y="901652"/>
                  <a:pt x="419815" y="904536"/>
                  <a:pt x="357446" y="903795"/>
                </a:cubicBezTo>
                <a:moveTo>
                  <a:pt x="300108" y="85260"/>
                </a:moveTo>
                <a:cubicBezTo>
                  <a:pt x="293656" y="98745"/>
                  <a:pt x="289202" y="113094"/>
                  <a:pt x="290213" y="127888"/>
                </a:cubicBezTo>
                <a:cubicBezTo>
                  <a:pt x="292527" y="161736"/>
                  <a:pt x="304185" y="191723"/>
                  <a:pt x="331056" y="214168"/>
                </a:cubicBezTo>
                <a:cubicBezTo>
                  <a:pt x="358172" y="236816"/>
                  <a:pt x="388435" y="249934"/>
                  <a:pt x="424717" y="245160"/>
                </a:cubicBezTo>
                <a:cubicBezTo>
                  <a:pt x="468593" y="239387"/>
                  <a:pt x="509574" y="203365"/>
                  <a:pt x="496752" y="141256"/>
                </a:cubicBezTo>
                <a:cubicBezTo>
                  <a:pt x="487021" y="94124"/>
                  <a:pt x="447261" y="51874"/>
                  <a:pt x="390320" y="43995"/>
                </a:cubicBezTo>
                <a:cubicBezTo>
                  <a:pt x="353241" y="38865"/>
                  <a:pt x="321136" y="48750"/>
                  <a:pt x="300108" y="85260"/>
                </a:cubicBezTo>
                <a:moveTo>
                  <a:pt x="343360" y="634332"/>
                </a:moveTo>
                <a:cubicBezTo>
                  <a:pt x="342539" y="666975"/>
                  <a:pt x="341785" y="699619"/>
                  <a:pt x="340877" y="732259"/>
                </a:cubicBezTo>
                <a:cubicBezTo>
                  <a:pt x="340151" y="758355"/>
                  <a:pt x="339265" y="784447"/>
                  <a:pt x="338360" y="810538"/>
                </a:cubicBezTo>
                <a:cubicBezTo>
                  <a:pt x="338277" y="812948"/>
                  <a:pt x="337465" y="815325"/>
                  <a:pt x="337115" y="817736"/>
                </a:cubicBezTo>
                <a:cubicBezTo>
                  <a:pt x="334935" y="832710"/>
                  <a:pt x="336026" y="847647"/>
                  <a:pt x="336516" y="863022"/>
                </a:cubicBezTo>
                <a:cubicBezTo>
                  <a:pt x="339537" y="863479"/>
                  <a:pt x="341490" y="864053"/>
                  <a:pt x="343436" y="864027"/>
                </a:cubicBezTo>
                <a:cubicBezTo>
                  <a:pt x="364531" y="863739"/>
                  <a:pt x="385626" y="863422"/>
                  <a:pt x="406718" y="862982"/>
                </a:cubicBezTo>
                <a:cubicBezTo>
                  <a:pt x="423444" y="862634"/>
                  <a:pt x="440168" y="861675"/>
                  <a:pt x="456888" y="861794"/>
                </a:cubicBezTo>
                <a:cubicBezTo>
                  <a:pt x="469887" y="861886"/>
                  <a:pt x="482872" y="863302"/>
                  <a:pt x="495873" y="863963"/>
                </a:cubicBezTo>
                <a:cubicBezTo>
                  <a:pt x="500358" y="864191"/>
                  <a:pt x="505108" y="864773"/>
                  <a:pt x="509286" y="863595"/>
                </a:cubicBezTo>
                <a:cubicBezTo>
                  <a:pt x="512346" y="862732"/>
                  <a:pt x="515714" y="859703"/>
                  <a:pt x="516956" y="856791"/>
                </a:cubicBezTo>
                <a:cubicBezTo>
                  <a:pt x="517783" y="854851"/>
                  <a:pt x="515475" y="851192"/>
                  <a:pt x="513920" y="848709"/>
                </a:cubicBezTo>
                <a:cubicBezTo>
                  <a:pt x="511791" y="845308"/>
                  <a:pt x="508393" y="842606"/>
                  <a:pt x="506683" y="839054"/>
                </a:cubicBezTo>
                <a:cubicBezTo>
                  <a:pt x="500331" y="825864"/>
                  <a:pt x="493224" y="812855"/>
                  <a:pt x="488629" y="799037"/>
                </a:cubicBezTo>
                <a:cubicBezTo>
                  <a:pt x="477322" y="765031"/>
                  <a:pt x="466537" y="730814"/>
                  <a:pt x="456922" y="696297"/>
                </a:cubicBezTo>
                <a:cubicBezTo>
                  <a:pt x="449953" y="671276"/>
                  <a:pt x="443477" y="646020"/>
                  <a:pt x="441346" y="619885"/>
                </a:cubicBezTo>
                <a:cubicBezTo>
                  <a:pt x="440327" y="607371"/>
                  <a:pt x="437466" y="595018"/>
                  <a:pt x="435963" y="582529"/>
                </a:cubicBezTo>
                <a:cubicBezTo>
                  <a:pt x="433539" y="562380"/>
                  <a:pt x="431154" y="542212"/>
                  <a:pt x="429497" y="521990"/>
                </a:cubicBezTo>
                <a:cubicBezTo>
                  <a:pt x="428135" y="505363"/>
                  <a:pt x="428437" y="488593"/>
                  <a:pt x="426887" y="471989"/>
                </a:cubicBezTo>
                <a:cubicBezTo>
                  <a:pt x="425874" y="461140"/>
                  <a:pt x="424983" y="461120"/>
                  <a:pt x="413744" y="461077"/>
                </a:cubicBezTo>
                <a:cubicBezTo>
                  <a:pt x="393687" y="461000"/>
                  <a:pt x="373630" y="461011"/>
                  <a:pt x="353573" y="461120"/>
                </a:cubicBezTo>
                <a:cubicBezTo>
                  <a:pt x="350472" y="461137"/>
                  <a:pt x="347374" y="461869"/>
                  <a:pt x="344160" y="462286"/>
                </a:cubicBezTo>
                <a:cubicBezTo>
                  <a:pt x="343828" y="465198"/>
                  <a:pt x="343406" y="467195"/>
                  <a:pt x="343404" y="469192"/>
                </a:cubicBezTo>
                <a:cubicBezTo>
                  <a:pt x="343360" y="504394"/>
                  <a:pt x="343267" y="539596"/>
                  <a:pt x="343469" y="574797"/>
                </a:cubicBezTo>
                <a:cubicBezTo>
                  <a:pt x="343501" y="580426"/>
                  <a:pt x="345652" y="586065"/>
                  <a:pt x="345522" y="591669"/>
                </a:cubicBezTo>
                <a:cubicBezTo>
                  <a:pt x="345214" y="605082"/>
                  <a:pt x="344131" y="618478"/>
                  <a:pt x="343360" y="634332"/>
                </a:cubicBezTo>
                <a:moveTo>
                  <a:pt x="416946" y="385943"/>
                </a:moveTo>
                <a:cubicBezTo>
                  <a:pt x="411661" y="386365"/>
                  <a:pt x="406384" y="387006"/>
                  <a:pt x="401091" y="387162"/>
                </a:cubicBezTo>
                <a:cubicBezTo>
                  <a:pt x="390470" y="387477"/>
                  <a:pt x="379841" y="387447"/>
                  <a:pt x="369218" y="387708"/>
                </a:cubicBezTo>
                <a:cubicBezTo>
                  <a:pt x="361167" y="387906"/>
                  <a:pt x="354429" y="391368"/>
                  <a:pt x="351833" y="398991"/>
                </a:cubicBezTo>
                <a:cubicBezTo>
                  <a:pt x="348989" y="407342"/>
                  <a:pt x="347050" y="416214"/>
                  <a:pt x="349778" y="426021"/>
                </a:cubicBezTo>
                <a:cubicBezTo>
                  <a:pt x="353876" y="426204"/>
                  <a:pt x="357857" y="426517"/>
                  <a:pt x="361839" y="426538"/>
                </a:cubicBezTo>
                <a:cubicBezTo>
                  <a:pt x="392900" y="426701"/>
                  <a:pt x="423961" y="426826"/>
                  <a:pt x="455022" y="426922"/>
                </a:cubicBezTo>
                <a:cubicBezTo>
                  <a:pt x="464013" y="426950"/>
                  <a:pt x="473106" y="427654"/>
                  <a:pt x="481958" y="426527"/>
                </a:cubicBezTo>
                <a:cubicBezTo>
                  <a:pt x="488144" y="425740"/>
                  <a:pt x="494821" y="423501"/>
                  <a:pt x="499817" y="419888"/>
                </a:cubicBezTo>
                <a:cubicBezTo>
                  <a:pt x="507869" y="414066"/>
                  <a:pt x="507286" y="406755"/>
                  <a:pt x="499439" y="400719"/>
                </a:cubicBezTo>
                <a:cubicBezTo>
                  <a:pt x="490179" y="393597"/>
                  <a:pt x="479486" y="388885"/>
                  <a:pt x="468062" y="387775"/>
                </a:cubicBezTo>
                <a:cubicBezTo>
                  <a:pt x="451873" y="386202"/>
                  <a:pt x="435520" y="386321"/>
                  <a:pt x="416946" y="385943"/>
                </a:cubicBezTo>
                <a:moveTo>
                  <a:pt x="636802" y="1190940"/>
                </a:moveTo>
                <a:cubicBezTo>
                  <a:pt x="646709" y="1188723"/>
                  <a:pt x="656705" y="1186841"/>
                  <a:pt x="666492" y="1184186"/>
                </a:cubicBezTo>
                <a:cubicBezTo>
                  <a:pt x="674710" y="1181958"/>
                  <a:pt x="676989" y="1178509"/>
                  <a:pt x="674465" y="1170880"/>
                </a:cubicBezTo>
                <a:cubicBezTo>
                  <a:pt x="671144" y="1160843"/>
                  <a:pt x="667026" y="1151009"/>
                  <a:pt x="662462" y="1141464"/>
                </a:cubicBezTo>
                <a:cubicBezTo>
                  <a:pt x="659273" y="1134795"/>
                  <a:pt x="653671" y="1130908"/>
                  <a:pt x="645564" y="1131937"/>
                </a:cubicBezTo>
                <a:cubicBezTo>
                  <a:pt x="639532" y="1132703"/>
                  <a:pt x="633423" y="1132867"/>
                  <a:pt x="627387" y="1133618"/>
                </a:cubicBezTo>
                <a:cubicBezTo>
                  <a:pt x="612888" y="1135421"/>
                  <a:pt x="598449" y="1137770"/>
                  <a:pt x="583917" y="1139222"/>
                </a:cubicBezTo>
                <a:cubicBezTo>
                  <a:pt x="570571" y="1140557"/>
                  <a:pt x="557130" y="1140930"/>
                  <a:pt x="543741" y="1141869"/>
                </a:cubicBezTo>
                <a:cubicBezTo>
                  <a:pt x="533202" y="1142610"/>
                  <a:pt x="522682" y="1143623"/>
                  <a:pt x="512146" y="1144418"/>
                </a:cubicBezTo>
                <a:cubicBezTo>
                  <a:pt x="490671" y="1146038"/>
                  <a:pt x="469214" y="1148450"/>
                  <a:pt x="447711" y="1148973"/>
                </a:cubicBezTo>
                <a:cubicBezTo>
                  <a:pt x="415817" y="1149749"/>
                  <a:pt x="383891" y="1149136"/>
                  <a:pt x="351979" y="1149200"/>
                </a:cubicBezTo>
                <a:cubicBezTo>
                  <a:pt x="347698" y="1149209"/>
                  <a:pt x="343419" y="1149717"/>
                  <a:pt x="338443" y="1150040"/>
                </a:cubicBezTo>
                <a:cubicBezTo>
                  <a:pt x="338443" y="1164651"/>
                  <a:pt x="338413" y="1177715"/>
                  <a:pt x="338451" y="1190780"/>
                </a:cubicBezTo>
                <a:cubicBezTo>
                  <a:pt x="338490" y="1204031"/>
                  <a:pt x="338512" y="1204062"/>
                  <a:pt x="351082" y="1207015"/>
                </a:cubicBezTo>
                <a:cubicBezTo>
                  <a:pt x="353445" y="1207570"/>
                  <a:pt x="355895" y="1208128"/>
                  <a:pt x="358298" y="1208094"/>
                </a:cubicBezTo>
                <a:cubicBezTo>
                  <a:pt x="412608" y="1207329"/>
                  <a:pt x="466919" y="1206484"/>
                  <a:pt x="521229" y="1205646"/>
                </a:cubicBezTo>
                <a:cubicBezTo>
                  <a:pt x="522045" y="1205634"/>
                  <a:pt x="522865" y="1205591"/>
                  <a:pt x="523675" y="1205490"/>
                </a:cubicBezTo>
                <a:cubicBezTo>
                  <a:pt x="542593" y="1203123"/>
                  <a:pt x="561519" y="1200820"/>
                  <a:pt x="580423" y="1198350"/>
                </a:cubicBezTo>
                <a:cubicBezTo>
                  <a:pt x="598523" y="1195985"/>
                  <a:pt x="616599" y="1193446"/>
                  <a:pt x="636802" y="1190940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9" name="Free-form: Shape 118">
            <a:extLst>
              <a:ext uri="{FF2B5EF4-FFF2-40B4-BE49-F238E27FC236}">
                <a16:creationId xmlns:a16="http://schemas.microsoft.com/office/drawing/2014/main" id="{A6700F2B-7FAB-6907-1E2F-1454E82A1E17}"/>
              </a:ext>
            </a:extLst>
          </p:cNvPr>
          <p:cNvSpPr/>
          <p:nvPr/>
        </p:nvSpPr>
        <p:spPr>
          <a:xfrm>
            <a:off x="6425636" y="5313968"/>
            <a:ext cx="18902" cy="1998"/>
          </a:xfrm>
          <a:custGeom>
            <a:avLst/>
            <a:gdLst>
              <a:gd name="csX0" fmla="*/ 0 w 27674"/>
              <a:gd name="csY0" fmla="*/ 2915 h 2925"/>
              <a:gd name="csX1" fmla="*/ 27675 w 27674"/>
              <a:gd name="csY1" fmla="*/ 1550 h 2925"/>
              <a:gd name="csX2" fmla="*/ 0 w 27674"/>
              <a:gd name="csY2" fmla="*/ 2915 h 292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27674" h="2925">
                <a:moveTo>
                  <a:pt x="0" y="2915"/>
                </a:moveTo>
                <a:cubicBezTo>
                  <a:pt x="8211" y="-1939"/>
                  <a:pt x="17625" y="498"/>
                  <a:pt x="27675" y="1550"/>
                </a:cubicBezTo>
                <a:cubicBezTo>
                  <a:pt x="19225" y="2593"/>
                  <a:pt x="10029" y="2999"/>
                  <a:pt x="0" y="2915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0" name="Free-form: Shape 119">
            <a:extLst>
              <a:ext uri="{FF2B5EF4-FFF2-40B4-BE49-F238E27FC236}">
                <a16:creationId xmlns:a16="http://schemas.microsoft.com/office/drawing/2014/main" id="{9DB2B13B-B111-29B3-0FF9-60FCE3985F45}"/>
              </a:ext>
            </a:extLst>
          </p:cNvPr>
          <p:cNvSpPr/>
          <p:nvPr/>
        </p:nvSpPr>
        <p:spPr>
          <a:xfrm>
            <a:off x="6373601" y="5315094"/>
            <a:ext cx="12297" cy="770"/>
          </a:xfrm>
          <a:custGeom>
            <a:avLst/>
            <a:gdLst>
              <a:gd name="csX0" fmla="*/ 0 w 18003"/>
              <a:gd name="csY0" fmla="*/ 1050 h 1128"/>
              <a:gd name="csX1" fmla="*/ 18004 w 18003"/>
              <a:gd name="csY1" fmla="*/ 93 h 1128"/>
              <a:gd name="csX2" fmla="*/ 0 w 18003"/>
              <a:gd name="csY2" fmla="*/ 1050 h 112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8003" h="1128">
                <a:moveTo>
                  <a:pt x="0" y="1050"/>
                </a:moveTo>
                <a:cubicBezTo>
                  <a:pt x="5276" y="182"/>
                  <a:pt x="11306" y="-189"/>
                  <a:pt x="18004" y="93"/>
                </a:cubicBezTo>
                <a:cubicBezTo>
                  <a:pt x="12699" y="1013"/>
                  <a:pt x="6726" y="1280"/>
                  <a:pt x="0" y="1050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1" name="Free-form: Shape 120">
            <a:extLst>
              <a:ext uri="{FF2B5EF4-FFF2-40B4-BE49-F238E27FC236}">
                <a16:creationId xmlns:a16="http://schemas.microsoft.com/office/drawing/2014/main" id="{50A09355-3CD0-F6EE-925F-50E9729DB889}"/>
              </a:ext>
            </a:extLst>
          </p:cNvPr>
          <p:cNvSpPr/>
          <p:nvPr/>
        </p:nvSpPr>
        <p:spPr>
          <a:xfrm>
            <a:off x="6462665" y="4691614"/>
            <a:ext cx="5783" cy="5354"/>
          </a:xfrm>
          <a:custGeom>
            <a:avLst/>
            <a:gdLst>
              <a:gd name="csX0" fmla="*/ 473 w 8466"/>
              <a:gd name="csY0" fmla="*/ 7839 h 7838"/>
              <a:gd name="csX1" fmla="*/ 8466 w 8466"/>
              <a:gd name="csY1" fmla="*/ 61 h 7838"/>
              <a:gd name="csX2" fmla="*/ 473 w 8466"/>
              <a:gd name="csY2" fmla="*/ 7839 h 783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66" h="7838">
                <a:moveTo>
                  <a:pt x="473" y="7839"/>
                </a:moveTo>
                <a:cubicBezTo>
                  <a:pt x="-1298" y="1550"/>
                  <a:pt x="2020" y="-386"/>
                  <a:pt x="8466" y="61"/>
                </a:cubicBezTo>
                <a:cubicBezTo>
                  <a:pt x="6730" y="2845"/>
                  <a:pt x="4026" y="5401"/>
                  <a:pt x="473" y="7839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2" name="Free-form: Shape 121">
            <a:extLst>
              <a:ext uri="{FF2B5EF4-FFF2-40B4-BE49-F238E27FC236}">
                <a16:creationId xmlns:a16="http://schemas.microsoft.com/office/drawing/2014/main" id="{D25504B8-5010-ABF6-4F56-D65BAC136B83}"/>
              </a:ext>
            </a:extLst>
          </p:cNvPr>
          <p:cNvSpPr/>
          <p:nvPr/>
        </p:nvSpPr>
        <p:spPr>
          <a:xfrm>
            <a:off x="6313069" y="5313428"/>
            <a:ext cx="5792" cy="680"/>
          </a:xfrm>
          <a:custGeom>
            <a:avLst/>
            <a:gdLst>
              <a:gd name="csX0" fmla="*/ 0 w 8480"/>
              <a:gd name="csY0" fmla="*/ 896 h 996"/>
              <a:gd name="csX1" fmla="*/ 8480 w 8480"/>
              <a:gd name="csY1" fmla="*/ 110 h 996"/>
              <a:gd name="csX2" fmla="*/ 0 w 8480"/>
              <a:gd name="csY2" fmla="*/ 896 h 99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80" h="996">
                <a:moveTo>
                  <a:pt x="0" y="896"/>
                </a:moveTo>
                <a:cubicBezTo>
                  <a:pt x="2285" y="115"/>
                  <a:pt x="5130" y="-182"/>
                  <a:pt x="8480" y="110"/>
                </a:cubicBezTo>
                <a:cubicBezTo>
                  <a:pt x="6177" y="927"/>
                  <a:pt x="3368" y="1153"/>
                  <a:pt x="0" y="896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3" name="Free-form: Shape 122">
            <a:extLst>
              <a:ext uri="{FF2B5EF4-FFF2-40B4-BE49-F238E27FC236}">
                <a16:creationId xmlns:a16="http://schemas.microsoft.com/office/drawing/2014/main" id="{D9711ADF-FC33-3339-3702-A12E67BA61C1}"/>
              </a:ext>
            </a:extLst>
          </p:cNvPr>
          <p:cNvSpPr/>
          <p:nvPr/>
        </p:nvSpPr>
        <p:spPr>
          <a:xfrm>
            <a:off x="6628506" y="5284247"/>
            <a:ext cx="840" cy="4547"/>
          </a:xfrm>
          <a:custGeom>
            <a:avLst/>
            <a:gdLst>
              <a:gd name="csX0" fmla="*/ 132 w 1229"/>
              <a:gd name="csY0" fmla="*/ 6659 h 6658"/>
              <a:gd name="csX1" fmla="*/ 1107 w 1229"/>
              <a:gd name="csY1" fmla="*/ 0 h 6658"/>
              <a:gd name="csX2" fmla="*/ 132 w 1229"/>
              <a:gd name="csY2" fmla="*/ 6659 h 665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229" h="6658">
                <a:moveTo>
                  <a:pt x="132" y="6659"/>
                </a:moveTo>
                <a:cubicBezTo>
                  <a:pt x="-219" y="4616"/>
                  <a:pt x="139" y="2560"/>
                  <a:pt x="1107" y="0"/>
                </a:cubicBezTo>
                <a:cubicBezTo>
                  <a:pt x="1425" y="1879"/>
                  <a:pt x="1133" y="4263"/>
                  <a:pt x="132" y="6659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4" name="Free-form: Shape 123">
            <a:extLst>
              <a:ext uri="{FF2B5EF4-FFF2-40B4-BE49-F238E27FC236}">
                <a16:creationId xmlns:a16="http://schemas.microsoft.com/office/drawing/2014/main" id="{4DE89311-8CE2-D19C-178B-F111D391730F}"/>
              </a:ext>
            </a:extLst>
          </p:cNvPr>
          <p:cNvSpPr/>
          <p:nvPr/>
        </p:nvSpPr>
        <p:spPr>
          <a:xfrm>
            <a:off x="6554590" y="5306552"/>
            <a:ext cx="2588" cy="931"/>
          </a:xfrm>
          <a:custGeom>
            <a:avLst/>
            <a:gdLst>
              <a:gd name="csX0" fmla="*/ 0 w 3788"/>
              <a:gd name="csY0" fmla="*/ 1364 h 1364"/>
              <a:gd name="csX1" fmla="*/ 3788 w 3788"/>
              <a:gd name="csY1" fmla="*/ 0 h 1364"/>
              <a:gd name="csX2" fmla="*/ 0 w 3788"/>
              <a:gd name="csY2" fmla="*/ 1364 h 136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788" h="1364">
                <a:moveTo>
                  <a:pt x="0" y="1364"/>
                </a:moveTo>
                <a:cubicBezTo>
                  <a:pt x="856" y="517"/>
                  <a:pt x="2126" y="39"/>
                  <a:pt x="3788" y="0"/>
                </a:cubicBezTo>
                <a:cubicBezTo>
                  <a:pt x="2925" y="870"/>
                  <a:pt x="1670" y="1303"/>
                  <a:pt x="0" y="1364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5" name="Free-form: Shape 124">
            <a:extLst>
              <a:ext uri="{FF2B5EF4-FFF2-40B4-BE49-F238E27FC236}">
                <a16:creationId xmlns:a16="http://schemas.microsoft.com/office/drawing/2014/main" id="{6A965BDF-BA98-9F2C-958A-9E55E483CADD}"/>
              </a:ext>
            </a:extLst>
          </p:cNvPr>
          <p:cNvSpPr/>
          <p:nvPr/>
        </p:nvSpPr>
        <p:spPr>
          <a:xfrm>
            <a:off x="6255850" y="5310152"/>
            <a:ext cx="2726" cy="566"/>
          </a:xfrm>
          <a:custGeom>
            <a:avLst/>
            <a:gdLst>
              <a:gd name="csX0" fmla="*/ 0 w 3990"/>
              <a:gd name="csY0" fmla="*/ 719 h 829"/>
              <a:gd name="csX1" fmla="*/ 3990 w 3990"/>
              <a:gd name="csY1" fmla="*/ 119 h 829"/>
              <a:gd name="csX2" fmla="*/ 0 w 3990"/>
              <a:gd name="csY2" fmla="*/ 719 h 82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990" h="829">
                <a:moveTo>
                  <a:pt x="0" y="719"/>
                </a:moveTo>
                <a:cubicBezTo>
                  <a:pt x="982" y="66"/>
                  <a:pt x="2323" y="-163"/>
                  <a:pt x="3990" y="119"/>
                </a:cubicBezTo>
                <a:cubicBezTo>
                  <a:pt x="2998" y="800"/>
                  <a:pt x="1678" y="972"/>
                  <a:pt x="0" y="719"/>
                </a:cubicBezTo>
                <a:close/>
              </a:path>
            </a:pathLst>
          </a:custGeom>
          <a:solidFill>
            <a:srgbClr val="959DA0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6" name="Free-form: Shape 125">
            <a:extLst>
              <a:ext uri="{FF2B5EF4-FFF2-40B4-BE49-F238E27FC236}">
                <a16:creationId xmlns:a16="http://schemas.microsoft.com/office/drawing/2014/main" id="{F7B4B9AA-C149-68AA-3737-75A0E80D65E2}"/>
              </a:ext>
            </a:extLst>
          </p:cNvPr>
          <p:cNvSpPr/>
          <p:nvPr/>
        </p:nvSpPr>
        <p:spPr>
          <a:xfrm>
            <a:off x="6487452" y="5313405"/>
            <a:ext cx="2659" cy="775"/>
          </a:xfrm>
          <a:custGeom>
            <a:avLst/>
            <a:gdLst>
              <a:gd name="csX0" fmla="*/ 0 w 3893"/>
              <a:gd name="csY0" fmla="*/ 1133 h 1135"/>
              <a:gd name="csX1" fmla="*/ 3893 w 3893"/>
              <a:gd name="csY1" fmla="*/ 7 h 1135"/>
              <a:gd name="csX2" fmla="*/ 0 w 3893"/>
              <a:gd name="csY2" fmla="*/ 1133 h 113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893" h="1135">
                <a:moveTo>
                  <a:pt x="0" y="1133"/>
                </a:moveTo>
                <a:cubicBezTo>
                  <a:pt x="902" y="349"/>
                  <a:pt x="2213" y="-60"/>
                  <a:pt x="3893" y="7"/>
                </a:cubicBezTo>
                <a:cubicBezTo>
                  <a:pt x="2978" y="825"/>
                  <a:pt x="1693" y="1167"/>
                  <a:pt x="0" y="1133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7" name="Free-form: Shape 126">
            <a:extLst>
              <a:ext uri="{FF2B5EF4-FFF2-40B4-BE49-F238E27FC236}">
                <a16:creationId xmlns:a16="http://schemas.microsoft.com/office/drawing/2014/main" id="{567098E5-7B98-1B46-70E5-9F3D55E235A7}"/>
              </a:ext>
            </a:extLst>
          </p:cNvPr>
          <p:cNvSpPr/>
          <p:nvPr/>
        </p:nvSpPr>
        <p:spPr>
          <a:xfrm>
            <a:off x="6377896" y="4780274"/>
            <a:ext cx="123846" cy="275447"/>
          </a:xfrm>
          <a:custGeom>
            <a:avLst/>
            <a:gdLst>
              <a:gd name="csX0" fmla="*/ 7554 w 181323"/>
              <a:gd name="csY0" fmla="*/ 172079 h 403282"/>
              <a:gd name="csX1" fmla="*/ 9716 w 181323"/>
              <a:gd name="csY1" fmla="*/ 130641 h 403282"/>
              <a:gd name="csX2" fmla="*/ 7663 w 181323"/>
              <a:gd name="csY2" fmla="*/ 113770 h 403282"/>
              <a:gd name="csX3" fmla="*/ 7598 w 181323"/>
              <a:gd name="csY3" fmla="*/ 8165 h 403282"/>
              <a:gd name="csX4" fmla="*/ 8353 w 181323"/>
              <a:gd name="csY4" fmla="*/ 1259 h 403282"/>
              <a:gd name="csX5" fmla="*/ 17767 w 181323"/>
              <a:gd name="csY5" fmla="*/ 93 h 403282"/>
              <a:gd name="csX6" fmla="*/ 77938 w 181323"/>
              <a:gd name="csY6" fmla="*/ 50 h 403282"/>
              <a:gd name="csX7" fmla="*/ 91081 w 181323"/>
              <a:gd name="csY7" fmla="*/ 10962 h 403282"/>
              <a:gd name="csX8" fmla="*/ 93691 w 181323"/>
              <a:gd name="csY8" fmla="*/ 60963 h 403282"/>
              <a:gd name="csX9" fmla="*/ 100157 w 181323"/>
              <a:gd name="csY9" fmla="*/ 121501 h 403282"/>
              <a:gd name="csX10" fmla="*/ 105540 w 181323"/>
              <a:gd name="csY10" fmla="*/ 158857 h 403282"/>
              <a:gd name="csX11" fmla="*/ 121116 w 181323"/>
              <a:gd name="csY11" fmla="*/ 235269 h 403282"/>
              <a:gd name="csX12" fmla="*/ 152823 w 181323"/>
              <a:gd name="csY12" fmla="*/ 338010 h 403282"/>
              <a:gd name="csX13" fmla="*/ 170877 w 181323"/>
              <a:gd name="csY13" fmla="*/ 378027 h 403282"/>
              <a:gd name="csX14" fmla="*/ 178114 w 181323"/>
              <a:gd name="csY14" fmla="*/ 387682 h 403282"/>
              <a:gd name="csX15" fmla="*/ 181150 w 181323"/>
              <a:gd name="csY15" fmla="*/ 395764 h 403282"/>
              <a:gd name="csX16" fmla="*/ 173480 w 181323"/>
              <a:gd name="csY16" fmla="*/ 402568 h 403282"/>
              <a:gd name="csX17" fmla="*/ 160067 w 181323"/>
              <a:gd name="csY17" fmla="*/ 402936 h 403282"/>
              <a:gd name="csX18" fmla="*/ 121081 w 181323"/>
              <a:gd name="csY18" fmla="*/ 400766 h 403282"/>
              <a:gd name="csX19" fmla="*/ 70912 w 181323"/>
              <a:gd name="csY19" fmla="*/ 401955 h 403282"/>
              <a:gd name="csX20" fmla="*/ 7630 w 181323"/>
              <a:gd name="csY20" fmla="*/ 402999 h 403282"/>
              <a:gd name="csX21" fmla="*/ 710 w 181323"/>
              <a:gd name="csY21" fmla="*/ 401995 h 403282"/>
              <a:gd name="csX22" fmla="*/ 1308 w 181323"/>
              <a:gd name="csY22" fmla="*/ 356708 h 403282"/>
              <a:gd name="csX23" fmla="*/ 2554 w 181323"/>
              <a:gd name="csY23" fmla="*/ 349510 h 403282"/>
              <a:gd name="csX24" fmla="*/ 5071 w 181323"/>
              <a:gd name="csY24" fmla="*/ 271231 h 403282"/>
              <a:gd name="csX25" fmla="*/ 7554 w 181323"/>
              <a:gd name="csY25" fmla="*/ 172079 h 403282"/>
              <a:gd name="csX26" fmla="*/ 98286 w 181323"/>
              <a:gd name="csY26" fmla="*/ 163566 h 403282"/>
              <a:gd name="csX27" fmla="*/ 83497 w 181323"/>
              <a:gd name="csY27" fmla="*/ 8289 h 403282"/>
              <a:gd name="csX28" fmla="*/ 15161 w 181323"/>
              <a:gd name="csY28" fmla="*/ 9148 h 403282"/>
              <a:gd name="csX29" fmla="*/ 15058 w 181323"/>
              <a:gd name="csY29" fmla="*/ 137939 h 403282"/>
              <a:gd name="csX30" fmla="*/ 12252 w 181323"/>
              <a:gd name="csY30" fmla="*/ 266862 h 403282"/>
              <a:gd name="csX31" fmla="*/ 7068 w 181323"/>
              <a:gd name="csY31" fmla="*/ 395996 h 403282"/>
              <a:gd name="csX32" fmla="*/ 171647 w 181323"/>
              <a:gd name="csY32" fmla="*/ 395996 h 403282"/>
              <a:gd name="csX33" fmla="*/ 119950 w 181323"/>
              <a:gd name="csY33" fmla="*/ 259496 h 403282"/>
              <a:gd name="csX34" fmla="*/ 98286 w 181323"/>
              <a:gd name="csY34" fmla="*/ 163566 h 40328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</a:cxnLst>
            <a:rect l="l" t="t" r="r" b="b"/>
            <a:pathLst>
              <a:path w="181323" h="403282">
                <a:moveTo>
                  <a:pt x="7554" y="172079"/>
                </a:moveTo>
                <a:cubicBezTo>
                  <a:pt x="8325" y="157451"/>
                  <a:pt x="9408" y="144055"/>
                  <a:pt x="9716" y="130641"/>
                </a:cubicBezTo>
                <a:cubicBezTo>
                  <a:pt x="9846" y="125037"/>
                  <a:pt x="7695" y="119399"/>
                  <a:pt x="7663" y="113770"/>
                </a:cubicBezTo>
                <a:cubicBezTo>
                  <a:pt x="7461" y="78569"/>
                  <a:pt x="7554" y="43367"/>
                  <a:pt x="7598" y="8165"/>
                </a:cubicBezTo>
                <a:cubicBezTo>
                  <a:pt x="7600" y="6167"/>
                  <a:pt x="8022" y="4170"/>
                  <a:pt x="8353" y="1259"/>
                </a:cubicBezTo>
                <a:cubicBezTo>
                  <a:pt x="11568" y="842"/>
                  <a:pt x="14666" y="109"/>
                  <a:pt x="17767" y="93"/>
                </a:cubicBezTo>
                <a:cubicBezTo>
                  <a:pt x="37824" y="-17"/>
                  <a:pt x="57881" y="-27"/>
                  <a:pt x="77938" y="50"/>
                </a:cubicBezTo>
                <a:cubicBezTo>
                  <a:pt x="89177" y="93"/>
                  <a:pt x="90068" y="113"/>
                  <a:pt x="91081" y="10962"/>
                </a:cubicBezTo>
                <a:cubicBezTo>
                  <a:pt x="92631" y="27565"/>
                  <a:pt x="92329" y="44335"/>
                  <a:pt x="93691" y="60963"/>
                </a:cubicBezTo>
                <a:cubicBezTo>
                  <a:pt x="95348" y="81184"/>
                  <a:pt x="97732" y="101353"/>
                  <a:pt x="100157" y="121501"/>
                </a:cubicBezTo>
                <a:cubicBezTo>
                  <a:pt x="101660" y="133990"/>
                  <a:pt x="104521" y="146343"/>
                  <a:pt x="105540" y="158857"/>
                </a:cubicBezTo>
                <a:cubicBezTo>
                  <a:pt x="107671" y="184993"/>
                  <a:pt x="114147" y="210249"/>
                  <a:pt x="121116" y="235269"/>
                </a:cubicBezTo>
                <a:cubicBezTo>
                  <a:pt x="130731" y="269786"/>
                  <a:pt x="141516" y="304004"/>
                  <a:pt x="152823" y="338010"/>
                </a:cubicBezTo>
                <a:cubicBezTo>
                  <a:pt x="157418" y="351828"/>
                  <a:pt x="164524" y="364837"/>
                  <a:pt x="170877" y="378027"/>
                </a:cubicBezTo>
                <a:cubicBezTo>
                  <a:pt x="172587" y="381579"/>
                  <a:pt x="175985" y="384280"/>
                  <a:pt x="178114" y="387682"/>
                </a:cubicBezTo>
                <a:cubicBezTo>
                  <a:pt x="179669" y="390165"/>
                  <a:pt x="181977" y="393824"/>
                  <a:pt x="181150" y="395764"/>
                </a:cubicBezTo>
                <a:cubicBezTo>
                  <a:pt x="179907" y="398676"/>
                  <a:pt x="176540" y="401705"/>
                  <a:pt x="173480" y="402568"/>
                </a:cubicBezTo>
                <a:cubicBezTo>
                  <a:pt x="169302" y="403746"/>
                  <a:pt x="164551" y="403164"/>
                  <a:pt x="160067" y="402936"/>
                </a:cubicBezTo>
                <a:cubicBezTo>
                  <a:pt x="147066" y="402274"/>
                  <a:pt x="134081" y="400859"/>
                  <a:pt x="121081" y="400766"/>
                </a:cubicBezTo>
                <a:cubicBezTo>
                  <a:pt x="104362" y="400647"/>
                  <a:pt x="87638" y="401607"/>
                  <a:pt x="70912" y="401955"/>
                </a:cubicBezTo>
                <a:cubicBezTo>
                  <a:pt x="49820" y="402394"/>
                  <a:pt x="28725" y="402712"/>
                  <a:pt x="7630" y="402999"/>
                </a:cubicBezTo>
                <a:cubicBezTo>
                  <a:pt x="5684" y="403026"/>
                  <a:pt x="3731" y="402452"/>
                  <a:pt x="710" y="401995"/>
                </a:cubicBezTo>
                <a:cubicBezTo>
                  <a:pt x="219" y="386620"/>
                  <a:pt x="-871" y="371682"/>
                  <a:pt x="1308" y="356708"/>
                </a:cubicBezTo>
                <a:cubicBezTo>
                  <a:pt x="1659" y="354298"/>
                  <a:pt x="2471" y="351920"/>
                  <a:pt x="2554" y="349510"/>
                </a:cubicBezTo>
                <a:cubicBezTo>
                  <a:pt x="3459" y="323419"/>
                  <a:pt x="4345" y="297328"/>
                  <a:pt x="5071" y="271231"/>
                </a:cubicBezTo>
                <a:cubicBezTo>
                  <a:pt x="5979" y="238591"/>
                  <a:pt x="6733" y="205947"/>
                  <a:pt x="7554" y="172079"/>
                </a:cubicBezTo>
                <a:moveTo>
                  <a:pt x="98286" y="163566"/>
                </a:moveTo>
                <a:cubicBezTo>
                  <a:pt x="89288" y="112116"/>
                  <a:pt x="86355" y="60033"/>
                  <a:pt x="83497" y="8289"/>
                </a:cubicBezTo>
                <a:cubicBezTo>
                  <a:pt x="65606" y="5845"/>
                  <a:pt x="24110" y="6470"/>
                  <a:pt x="15161" y="9148"/>
                </a:cubicBezTo>
                <a:cubicBezTo>
                  <a:pt x="15161" y="52045"/>
                  <a:pt x="15527" y="94996"/>
                  <a:pt x="15058" y="137939"/>
                </a:cubicBezTo>
                <a:cubicBezTo>
                  <a:pt x="14587" y="180919"/>
                  <a:pt x="13597" y="223900"/>
                  <a:pt x="12252" y="266862"/>
                </a:cubicBezTo>
                <a:cubicBezTo>
                  <a:pt x="10912" y="309638"/>
                  <a:pt x="8849" y="352391"/>
                  <a:pt x="7068" y="395996"/>
                </a:cubicBezTo>
                <a:cubicBezTo>
                  <a:pt x="62774" y="395996"/>
                  <a:pt x="116821" y="395996"/>
                  <a:pt x="171647" y="395996"/>
                </a:cubicBezTo>
                <a:cubicBezTo>
                  <a:pt x="148550" y="352016"/>
                  <a:pt x="132566" y="306307"/>
                  <a:pt x="119950" y="259496"/>
                </a:cubicBezTo>
                <a:cubicBezTo>
                  <a:pt x="111608" y="228543"/>
                  <a:pt x="105493" y="196989"/>
                  <a:pt x="98286" y="163566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8" name="Free-form: Shape 127">
            <a:extLst>
              <a:ext uri="{FF2B5EF4-FFF2-40B4-BE49-F238E27FC236}">
                <a16:creationId xmlns:a16="http://schemas.microsoft.com/office/drawing/2014/main" id="{FFD09857-9F45-B2A9-4E27-C944E1DCDDCA}"/>
              </a:ext>
            </a:extLst>
          </p:cNvPr>
          <p:cNvSpPr/>
          <p:nvPr/>
        </p:nvSpPr>
        <p:spPr>
          <a:xfrm>
            <a:off x="6379690" y="5238403"/>
            <a:ext cx="230181" cy="52128"/>
          </a:xfrm>
          <a:custGeom>
            <a:avLst/>
            <a:gdLst>
              <a:gd name="csX0" fmla="*/ 297312 w 337008"/>
              <a:gd name="csY0" fmla="*/ 59188 h 76321"/>
              <a:gd name="csX1" fmla="*/ 241991 w 337008"/>
              <a:gd name="csY1" fmla="*/ 66577 h 76321"/>
              <a:gd name="csX2" fmla="*/ 185243 w 337008"/>
              <a:gd name="csY2" fmla="*/ 73717 h 76321"/>
              <a:gd name="csX3" fmla="*/ 182797 w 337008"/>
              <a:gd name="csY3" fmla="*/ 73873 h 76321"/>
              <a:gd name="csX4" fmla="*/ 19866 w 337008"/>
              <a:gd name="csY4" fmla="*/ 76320 h 76321"/>
              <a:gd name="csX5" fmla="*/ 12650 w 337008"/>
              <a:gd name="csY5" fmla="*/ 75242 h 76321"/>
              <a:gd name="csX6" fmla="*/ 19 w 337008"/>
              <a:gd name="csY6" fmla="*/ 59006 h 76321"/>
              <a:gd name="csX7" fmla="*/ 11 w 337008"/>
              <a:gd name="csY7" fmla="*/ 18266 h 76321"/>
              <a:gd name="csX8" fmla="*/ 13547 w 337008"/>
              <a:gd name="csY8" fmla="*/ 17427 h 76321"/>
              <a:gd name="csX9" fmla="*/ 109279 w 337008"/>
              <a:gd name="csY9" fmla="*/ 17200 h 76321"/>
              <a:gd name="csX10" fmla="*/ 173714 w 337008"/>
              <a:gd name="csY10" fmla="*/ 12645 h 76321"/>
              <a:gd name="csX11" fmla="*/ 205309 w 337008"/>
              <a:gd name="csY11" fmla="*/ 10096 h 76321"/>
              <a:gd name="csX12" fmla="*/ 245485 w 337008"/>
              <a:gd name="csY12" fmla="*/ 7449 h 76321"/>
              <a:gd name="csX13" fmla="*/ 288955 w 337008"/>
              <a:gd name="csY13" fmla="*/ 1844 h 76321"/>
              <a:gd name="csX14" fmla="*/ 307132 w 337008"/>
              <a:gd name="csY14" fmla="*/ 164 h 76321"/>
              <a:gd name="csX15" fmla="*/ 324030 w 337008"/>
              <a:gd name="csY15" fmla="*/ 9691 h 76321"/>
              <a:gd name="csX16" fmla="*/ 336033 w 337008"/>
              <a:gd name="csY16" fmla="*/ 39107 h 76321"/>
              <a:gd name="csX17" fmla="*/ 328060 w 337008"/>
              <a:gd name="csY17" fmla="*/ 52413 h 76321"/>
              <a:gd name="csX18" fmla="*/ 297312 w 337008"/>
              <a:gd name="csY18" fmla="*/ 59188 h 76321"/>
              <a:gd name="csX19" fmla="*/ 207688 w 337008"/>
              <a:gd name="csY19" fmla="*/ 64284 h 76321"/>
              <a:gd name="csX20" fmla="*/ 330050 w 337008"/>
              <a:gd name="csY20" fmla="*/ 45606 h 76321"/>
              <a:gd name="csX21" fmla="*/ 317356 w 337008"/>
              <a:gd name="csY21" fmla="*/ 11297 h 76321"/>
              <a:gd name="csX22" fmla="*/ 304170 w 337008"/>
              <a:gd name="csY22" fmla="*/ 5545 h 76321"/>
              <a:gd name="csX23" fmla="*/ 273851 w 337008"/>
              <a:gd name="csY23" fmla="*/ 10014 h 76321"/>
              <a:gd name="csX24" fmla="*/ 163935 w 337008"/>
              <a:gd name="csY24" fmla="*/ 20274 h 76321"/>
              <a:gd name="csX25" fmla="*/ 17973 w 337008"/>
              <a:gd name="csY25" fmla="*/ 22950 h 76321"/>
              <a:gd name="csX26" fmla="*/ 7372 w 337008"/>
              <a:gd name="csY26" fmla="*/ 23601 h 76321"/>
              <a:gd name="csX27" fmla="*/ 7372 w 337008"/>
              <a:gd name="csY27" fmla="*/ 67898 h 76321"/>
              <a:gd name="csX28" fmla="*/ 207688 w 337008"/>
              <a:gd name="csY28" fmla="*/ 64284 h 7632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</a:cxnLst>
            <a:rect l="l" t="t" r="r" b="b"/>
            <a:pathLst>
              <a:path w="337008" h="76321">
                <a:moveTo>
                  <a:pt x="297312" y="59188"/>
                </a:moveTo>
                <a:cubicBezTo>
                  <a:pt x="278167" y="61672"/>
                  <a:pt x="260091" y="64212"/>
                  <a:pt x="241991" y="66577"/>
                </a:cubicBezTo>
                <a:cubicBezTo>
                  <a:pt x="223087" y="69047"/>
                  <a:pt x="204161" y="71350"/>
                  <a:pt x="185243" y="73717"/>
                </a:cubicBezTo>
                <a:cubicBezTo>
                  <a:pt x="184433" y="73818"/>
                  <a:pt x="183613" y="73861"/>
                  <a:pt x="182797" y="73873"/>
                </a:cubicBezTo>
                <a:cubicBezTo>
                  <a:pt x="128487" y="74710"/>
                  <a:pt x="74176" y="75556"/>
                  <a:pt x="19866" y="76320"/>
                </a:cubicBezTo>
                <a:cubicBezTo>
                  <a:pt x="17463" y="76354"/>
                  <a:pt x="15013" y="75797"/>
                  <a:pt x="12650" y="75242"/>
                </a:cubicBezTo>
                <a:cubicBezTo>
                  <a:pt x="80" y="72288"/>
                  <a:pt x="58" y="72258"/>
                  <a:pt x="19" y="59006"/>
                </a:cubicBezTo>
                <a:cubicBezTo>
                  <a:pt x="-19" y="45942"/>
                  <a:pt x="11" y="32877"/>
                  <a:pt x="11" y="18266"/>
                </a:cubicBezTo>
                <a:cubicBezTo>
                  <a:pt x="4987" y="17944"/>
                  <a:pt x="9266" y="17435"/>
                  <a:pt x="13547" y="17427"/>
                </a:cubicBezTo>
                <a:cubicBezTo>
                  <a:pt x="45459" y="17362"/>
                  <a:pt x="77385" y="17975"/>
                  <a:pt x="109279" y="17200"/>
                </a:cubicBezTo>
                <a:cubicBezTo>
                  <a:pt x="130782" y="16677"/>
                  <a:pt x="152239" y="14265"/>
                  <a:pt x="173714" y="12645"/>
                </a:cubicBezTo>
                <a:cubicBezTo>
                  <a:pt x="184250" y="11850"/>
                  <a:pt x="194770" y="10836"/>
                  <a:pt x="205309" y="10096"/>
                </a:cubicBezTo>
                <a:cubicBezTo>
                  <a:pt x="218698" y="9156"/>
                  <a:pt x="232139" y="8783"/>
                  <a:pt x="245485" y="7449"/>
                </a:cubicBezTo>
                <a:cubicBezTo>
                  <a:pt x="260017" y="5997"/>
                  <a:pt x="274456" y="3648"/>
                  <a:pt x="288955" y="1844"/>
                </a:cubicBezTo>
                <a:cubicBezTo>
                  <a:pt x="294991" y="1094"/>
                  <a:pt x="301100" y="930"/>
                  <a:pt x="307132" y="164"/>
                </a:cubicBezTo>
                <a:cubicBezTo>
                  <a:pt x="315239" y="-865"/>
                  <a:pt x="320841" y="3022"/>
                  <a:pt x="324030" y="9691"/>
                </a:cubicBezTo>
                <a:cubicBezTo>
                  <a:pt x="328594" y="19236"/>
                  <a:pt x="332712" y="29070"/>
                  <a:pt x="336033" y="39107"/>
                </a:cubicBezTo>
                <a:cubicBezTo>
                  <a:pt x="338557" y="46735"/>
                  <a:pt x="336278" y="50185"/>
                  <a:pt x="328060" y="52413"/>
                </a:cubicBezTo>
                <a:cubicBezTo>
                  <a:pt x="318273" y="55068"/>
                  <a:pt x="308277" y="56950"/>
                  <a:pt x="297312" y="59188"/>
                </a:cubicBezTo>
                <a:moveTo>
                  <a:pt x="207688" y="64284"/>
                </a:moveTo>
                <a:cubicBezTo>
                  <a:pt x="248681" y="60632"/>
                  <a:pt x="289317" y="54812"/>
                  <a:pt x="330050" y="45606"/>
                </a:cubicBezTo>
                <a:cubicBezTo>
                  <a:pt x="327603" y="32443"/>
                  <a:pt x="323777" y="21532"/>
                  <a:pt x="317356" y="11297"/>
                </a:cubicBezTo>
                <a:cubicBezTo>
                  <a:pt x="313908" y="5803"/>
                  <a:pt x="310145" y="4465"/>
                  <a:pt x="304170" y="5545"/>
                </a:cubicBezTo>
                <a:cubicBezTo>
                  <a:pt x="294121" y="7361"/>
                  <a:pt x="284007" y="9006"/>
                  <a:pt x="273851" y="10014"/>
                </a:cubicBezTo>
                <a:cubicBezTo>
                  <a:pt x="237233" y="13650"/>
                  <a:pt x="200632" y="17661"/>
                  <a:pt x="163935" y="20274"/>
                </a:cubicBezTo>
                <a:cubicBezTo>
                  <a:pt x="115360" y="23734"/>
                  <a:pt x="66701" y="25937"/>
                  <a:pt x="17973" y="22950"/>
                </a:cubicBezTo>
                <a:cubicBezTo>
                  <a:pt x="14492" y="22737"/>
                  <a:pt x="10959" y="23361"/>
                  <a:pt x="7372" y="23601"/>
                </a:cubicBezTo>
                <a:cubicBezTo>
                  <a:pt x="7372" y="38609"/>
                  <a:pt x="7372" y="52361"/>
                  <a:pt x="7372" y="67898"/>
                </a:cubicBezTo>
                <a:cubicBezTo>
                  <a:pt x="74001" y="69806"/>
                  <a:pt x="139746" y="71025"/>
                  <a:pt x="207688" y="64284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9" name="Free-form: Shape 128">
            <a:extLst>
              <a:ext uri="{FF2B5EF4-FFF2-40B4-BE49-F238E27FC236}">
                <a16:creationId xmlns:a16="http://schemas.microsoft.com/office/drawing/2014/main" id="{C1C5E9CA-EE97-ED66-398A-6223E2F3ED5E}"/>
              </a:ext>
            </a:extLst>
          </p:cNvPr>
          <p:cNvSpPr/>
          <p:nvPr/>
        </p:nvSpPr>
        <p:spPr>
          <a:xfrm>
            <a:off x="6383796" y="5077303"/>
            <a:ext cx="207269" cy="145956"/>
          </a:xfrm>
          <a:custGeom>
            <a:avLst/>
            <a:gdLst>
              <a:gd name="csX0" fmla="*/ 14160 w 303463"/>
              <a:gd name="csY0" fmla="*/ 7889 h 213695"/>
              <a:gd name="csX1" fmla="*/ 195033 w 303463"/>
              <a:gd name="csY1" fmla="*/ 0 h 213695"/>
              <a:gd name="csX2" fmla="*/ 197208 w 303463"/>
              <a:gd name="csY2" fmla="*/ 5635 h 213695"/>
              <a:gd name="csX3" fmla="*/ 227014 w 303463"/>
              <a:gd name="csY3" fmla="*/ 60660 h 213695"/>
              <a:gd name="csX4" fmla="*/ 265823 w 303463"/>
              <a:gd name="csY4" fmla="*/ 98217 h 213695"/>
              <a:gd name="csX5" fmla="*/ 303210 w 303463"/>
              <a:gd name="csY5" fmla="*/ 180358 h 213695"/>
              <a:gd name="csX6" fmla="*/ 303282 w 303463"/>
              <a:gd name="csY6" fmla="*/ 193964 h 213695"/>
              <a:gd name="csX7" fmla="*/ 4971 w 303463"/>
              <a:gd name="csY7" fmla="*/ 213017 h 213695"/>
              <a:gd name="csX8" fmla="*/ 5093 w 303463"/>
              <a:gd name="csY8" fmla="*/ 173484 h 213695"/>
              <a:gd name="csX9" fmla="*/ 4767 w 303463"/>
              <a:gd name="csY9" fmla="*/ 54607 h 213695"/>
              <a:gd name="csX10" fmla="*/ 0 w 303463"/>
              <a:gd name="csY10" fmla="*/ 7887 h 213695"/>
              <a:gd name="csX11" fmla="*/ 14160 w 303463"/>
              <a:gd name="csY11" fmla="*/ 7889 h 21369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303463" h="213695">
                <a:moveTo>
                  <a:pt x="14160" y="7889"/>
                </a:moveTo>
                <a:cubicBezTo>
                  <a:pt x="75371" y="8627"/>
                  <a:pt x="135292" y="5744"/>
                  <a:pt x="195033" y="0"/>
                </a:cubicBezTo>
                <a:cubicBezTo>
                  <a:pt x="196084" y="2662"/>
                  <a:pt x="196986" y="4099"/>
                  <a:pt x="197208" y="5635"/>
                </a:cubicBezTo>
                <a:cubicBezTo>
                  <a:pt x="200391" y="27650"/>
                  <a:pt x="211307" y="45450"/>
                  <a:pt x="227014" y="60660"/>
                </a:cubicBezTo>
                <a:cubicBezTo>
                  <a:pt x="239947" y="73182"/>
                  <a:pt x="253006" y="85577"/>
                  <a:pt x="265823" y="98217"/>
                </a:cubicBezTo>
                <a:cubicBezTo>
                  <a:pt x="288727" y="120806"/>
                  <a:pt x="299071" y="149215"/>
                  <a:pt x="303210" y="180358"/>
                </a:cubicBezTo>
                <a:cubicBezTo>
                  <a:pt x="303735" y="184317"/>
                  <a:pt x="303282" y="188405"/>
                  <a:pt x="303282" y="193964"/>
                </a:cubicBezTo>
                <a:cubicBezTo>
                  <a:pt x="204065" y="208804"/>
                  <a:pt x="105022" y="216044"/>
                  <a:pt x="4971" y="213017"/>
                </a:cubicBezTo>
                <a:cubicBezTo>
                  <a:pt x="4971" y="199268"/>
                  <a:pt x="4314" y="186332"/>
                  <a:pt x="5093" y="173484"/>
                </a:cubicBezTo>
                <a:cubicBezTo>
                  <a:pt x="7497" y="133835"/>
                  <a:pt x="8211" y="94216"/>
                  <a:pt x="4767" y="54607"/>
                </a:cubicBezTo>
                <a:cubicBezTo>
                  <a:pt x="3464" y="39611"/>
                  <a:pt x="1725" y="24653"/>
                  <a:pt x="0" y="7887"/>
                </a:cubicBezTo>
                <a:cubicBezTo>
                  <a:pt x="4390" y="7887"/>
                  <a:pt x="8696" y="7887"/>
                  <a:pt x="14160" y="7889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30" name="Free-form: Shape 129">
            <a:extLst>
              <a:ext uri="{FF2B5EF4-FFF2-40B4-BE49-F238E27FC236}">
                <a16:creationId xmlns:a16="http://schemas.microsoft.com/office/drawing/2014/main" id="{43976B23-AD89-14CD-D8D1-2EA6DAE5F315}"/>
              </a:ext>
            </a:extLst>
          </p:cNvPr>
          <p:cNvSpPr/>
          <p:nvPr/>
        </p:nvSpPr>
        <p:spPr>
          <a:xfrm>
            <a:off x="6346658" y="4494571"/>
            <a:ext cx="142796" cy="138929"/>
          </a:xfrm>
          <a:custGeom>
            <a:avLst/>
            <a:gdLst>
              <a:gd name="csX0" fmla="*/ 10475 w 209067"/>
              <a:gd name="csY0" fmla="*/ 41718 h 203406"/>
              <a:gd name="csX1" fmla="*/ 100250 w 209067"/>
              <a:gd name="csY1" fmla="*/ 1265 h 203406"/>
              <a:gd name="csX2" fmla="*/ 206681 w 209067"/>
              <a:gd name="csY2" fmla="*/ 98526 h 203406"/>
              <a:gd name="csX3" fmla="*/ 134647 w 209067"/>
              <a:gd name="csY3" fmla="*/ 202431 h 203406"/>
              <a:gd name="csX4" fmla="*/ 40986 w 209067"/>
              <a:gd name="csY4" fmla="*/ 171438 h 203406"/>
              <a:gd name="csX5" fmla="*/ 143 w 209067"/>
              <a:gd name="csY5" fmla="*/ 85158 h 203406"/>
              <a:gd name="csX6" fmla="*/ 10475 w 209067"/>
              <a:gd name="csY6" fmla="*/ 41718 h 20340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</a:cxnLst>
            <a:rect l="l" t="t" r="r" b="b"/>
            <a:pathLst>
              <a:path w="209067" h="203406">
                <a:moveTo>
                  <a:pt x="10475" y="41718"/>
                </a:moveTo>
                <a:cubicBezTo>
                  <a:pt x="31065" y="6021"/>
                  <a:pt x="63171" y="-3865"/>
                  <a:pt x="100250" y="1265"/>
                </a:cubicBezTo>
                <a:cubicBezTo>
                  <a:pt x="157191" y="9144"/>
                  <a:pt x="196951" y="51394"/>
                  <a:pt x="206681" y="98526"/>
                </a:cubicBezTo>
                <a:cubicBezTo>
                  <a:pt x="219504" y="160635"/>
                  <a:pt x="178523" y="196657"/>
                  <a:pt x="134647" y="202431"/>
                </a:cubicBezTo>
                <a:cubicBezTo>
                  <a:pt x="98365" y="207204"/>
                  <a:pt x="68101" y="194086"/>
                  <a:pt x="40986" y="171438"/>
                </a:cubicBezTo>
                <a:cubicBezTo>
                  <a:pt x="14115" y="148994"/>
                  <a:pt x="2457" y="119007"/>
                  <a:pt x="143" y="85158"/>
                </a:cubicBezTo>
                <a:cubicBezTo>
                  <a:pt x="-869" y="70364"/>
                  <a:pt x="3586" y="56015"/>
                  <a:pt x="10475" y="41718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31" name="Free-form: Shape 130">
            <a:extLst>
              <a:ext uri="{FF2B5EF4-FFF2-40B4-BE49-F238E27FC236}">
                <a16:creationId xmlns:a16="http://schemas.microsoft.com/office/drawing/2014/main" id="{F22ACB60-47B1-A185-81CE-A15609750EB7}"/>
              </a:ext>
            </a:extLst>
          </p:cNvPr>
          <p:cNvSpPr/>
          <p:nvPr/>
        </p:nvSpPr>
        <p:spPr>
          <a:xfrm>
            <a:off x="6386543" y="4728913"/>
            <a:ext cx="107321" cy="28231"/>
          </a:xfrm>
          <a:custGeom>
            <a:avLst/>
            <a:gdLst>
              <a:gd name="csX0" fmla="*/ 69625 w 157129"/>
              <a:gd name="csY0" fmla="*/ 0 h 41334"/>
              <a:gd name="csX1" fmla="*/ 119596 w 157129"/>
              <a:gd name="csY1" fmla="*/ 1945 h 41334"/>
              <a:gd name="csX2" fmla="*/ 150973 w 157129"/>
              <a:gd name="csY2" fmla="*/ 14889 h 41334"/>
              <a:gd name="csX3" fmla="*/ 151351 w 157129"/>
              <a:gd name="csY3" fmla="*/ 34058 h 41334"/>
              <a:gd name="csX4" fmla="*/ 133492 w 157129"/>
              <a:gd name="csY4" fmla="*/ 40697 h 41334"/>
              <a:gd name="csX5" fmla="*/ 106556 w 157129"/>
              <a:gd name="csY5" fmla="*/ 41092 h 41334"/>
              <a:gd name="csX6" fmla="*/ 13373 w 157129"/>
              <a:gd name="csY6" fmla="*/ 40708 h 41334"/>
              <a:gd name="csX7" fmla="*/ 1312 w 157129"/>
              <a:gd name="csY7" fmla="*/ 40191 h 41334"/>
              <a:gd name="csX8" fmla="*/ 3367 w 157129"/>
              <a:gd name="csY8" fmla="*/ 13162 h 41334"/>
              <a:gd name="csX9" fmla="*/ 20752 w 157129"/>
              <a:gd name="csY9" fmla="*/ 1879 h 41334"/>
              <a:gd name="csX10" fmla="*/ 52625 w 157129"/>
              <a:gd name="csY10" fmla="*/ 1332 h 41334"/>
              <a:gd name="csX11" fmla="*/ 69625 w 157129"/>
              <a:gd name="csY11" fmla="*/ 0 h 4133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157129" h="41334">
                <a:moveTo>
                  <a:pt x="69625" y="0"/>
                </a:moveTo>
                <a:cubicBezTo>
                  <a:pt x="87054" y="491"/>
                  <a:pt x="103407" y="373"/>
                  <a:pt x="119596" y="1945"/>
                </a:cubicBezTo>
                <a:cubicBezTo>
                  <a:pt x="131020" y="3055"/>
                  <a:pt x="141713" y="7767"/>
                  <a:pt x="150973" y="14889"/>
                </a:cubicBezTo>
                <a:cubicBezTo>
                  <a:pt x="158820" y="20925"/>
                  <a:pt x="159403" y="28236"/>
                  <a:pt x="151351" y="34058"/>
                </a:cubicBezTo>
                <a:cubicBezTo>
                  <a:pt x="146355" y="37671"/>
                  <a:pt x="139678" y="39910"/>
                  <a:pt x="133492" y="40697"/>
                </a:cubicBezTo>
                <a:cubicBezTo>
                  <a:pt x="124640" y="41824"/>
                  <a:pt x="115547" y="41120"/>
                  <a:pt x="106556" y="41092"/>
                </a:cubicBezTo>
                <a:cubicBezTo>
                  <a:pt x="75495" y="40996"/>
                  <a:pt x="44434" y="40872"/>
                  <a:pt x="13373" y="40708"/>
                </a:cubicBezTo>
                <a:cubicBezTo>
                  <a:pt x="9391" y="40687"/>
                  <a:pt x="5410" y="40374"/>
                  <a:pt x="1312" y="40191"/>
                </a:cubicBezTo>
                <a:cubicBezTo>
                  <a:pt x="-1416" y="30384"/>
                  <a:pt x="523" y="21512"/>
                  <a:pt x="3367" y="13162"/>
                </a:cubicBezTo>
                <a:cubicBezTo>
                  <a:pt x="5963" y="5538"/>
                  <a:pt x="12701" y="2077"/>
                  <a:pt x="20752" y="1879"/>
                </a:cubicBezTo>
                <a:cubicBezTo>
                  <a:pt x="31375" y="1617"/>
                  <a:pt x="42004" y="1647"/>
                  <a:pt x="52625" y="1332"/>
                </a:cubicBezTo>
                <a:cubicBezTo>
                  <a:pt x="57918" y="1176"/>
                  <a:pt x="63195" y="535"/>
                  <a:pt x="69625" y="0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32" name="Free-form: Shape 131">
            <a:extLst>
              <a:ext uri="{FF2B5EF4-FFF2-40B4-BE49-F238E27FC236}">
                <a16:creationId xmlns:a16="http://schemas.microsoft.com/office/drawing/2014/main" id="{5705C666-B275-A0B7-28CA-8371A3477FD6}"/>
              </a:ext>
            </a:extLst>
          </p:cNvPr>
          <p:cNvSpPr/>
          <p:nvPr/>
        </p:nvSpPr>
        <p:spPr>
          <a:xfrm>
            <a:off x="6382724" y="4784889"/>
            <a:ext cx="112410" cy="265855"/>
          </a:xfrm>
          <a:custGeom>
            <a:avLst/>
            <a:gdLst>
              <a:gd name="csX0" fmla="*/ 91265 w 164579"/>
              <a:gd name="csY0" fmla="*/ 157878 h 389238"/>
              <a:gd name="csX1" fmla="*/ 112882 w 164579"/>
              <a:gd name="csY1" fmla="*/ 252738 h 389238"/>
              <a:gd name="csX2" fmla="*/ 164579 w 164579"/>
              <a:gd name="csY2" fmla="*/ 389238 h 389238"/>
              <a:gd name="csX3" fmla="*/ 0 w 164579"/>
              <a:gd name="csY3" fmla="*/ 389238 h 389238"/>
              <a:gd name="csX4" fmla="*/ 5184 w 164579"/>
              <a:gd name="csY4" fmla="*/ 260105 h 389238"/>
              <a:gd name="csX5" fmla="*/ 7989 w 164579"/>
              <a:gd name="csY5" fmla="*/ 131182 h 389238"/>
              <a:gd name="csX6" fmla="*/ 8093 w 164579"/>
              <a:gd name="csY6" fmla="*/ 2390 h 389238"/>
              <a:gd name="csX7" fmla="*/ 76429 w 164579"/>
              <a:gd name="csY7" fmla="*/ 1531 h 389238"/>
              <a:gd name="csX8" fmla="*/ 91265 w 164579"/>
              <a:gd name="csY8" fmla="*/ 157878 h 38923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</a:cxnLst>
            <a:rect l="l" t="t" r="r" b="b"/>
            <a:pathLst>
              <a:path w="164579" h="389238">
                <a:moveTo>
                  <a:pt x="91265" y="157878"/>
                </a:moveTo>
                <a:cubicBezTo>
                  <a:pt x="98425" y="190232"/>
                  <a:pt x="104539" y="221785"/>
                  <a:pt x="112882" y="252738"/>
                </a:cubicBezTo>
                <a:cubicBezTo>
                  <a:pt x="125498" y="299549"/>
                  <a:pt x="141482" y="345258"/>
                  <a:pt x="164579" y="389238"/>
                </a:cubicBezTo>
                <a:cubicBezTo>
                  <a:pt x="109753" y="389238"/>
                  <a:pt x="55706" y="389238"/>
                  <a:pt x="0" y="389238"/>
                </a:cubicBezTo>
                <a:cubicBezTo>
                  <a:pt x="1781" y="345633"/>
                  <a:pt x="3844" y="302880"/>
                  <a:pt x="5184" y="260105"/>
                </a:cubicBezTo>
                <a:cubicBezTo>
                  <a:pt x="6529" y="217143"/>
                  <a:pt x="7519" y="174162"/>
                  <a:pt x="7989" y="131182"/>
                </a:cubicBezTo>
                <a:cubicBezTo>
                  <a:pt x="8459" y="88239"/>
                  <a:pt x="8093" y="45287"/>
                  <a:pt x="8093" y="2390"/>
                </a:cubicBezTo>
                <a:cubicBezTo>
                  <a:pt x="17041" y="-288"/>
                  <a:pt x="58537" y="-913"/>
                  <a:pt x="76429" y="1531"/>
                </a:cubicBezTo>
                <a:cubicBezTo>
                  <a:pt x="79287" y="53276"/>
                  <a:pt x="82219" y="105359"/>
                  <a:pt x="91265" y="157878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33" name="Free-form: Shape 132">
            <a:extLst>
              <a:ext uri="{FF2B5EF4-FFF2-40B4-BE49-F238E27FC236}">
                <a16:creationId xmlns:a16="http://schemas.microsoft.com/office/drawing/2014/main" id="{D15C710D-4080-FBAB-8587-BCB5E965A16D}"/>
              </a:ext>
            </a:extLst>
          </p:cNvPr>
          <p:cNvSpPr/>
          <p:nvPr/>
        </p:nvSpPr>
        <p:spPr>
          <a:xfrm>
            <a:off x="6384724" y="5241953"/>
            <a:ext cx="220393" cy="43851"/>
          </a:xfrm>
          <a:custGeom>
            <a:avLst/>
            <a:gdLst>
              <a:gd name="csX0" fmla="*/ 199184 w 322677"/>
              <a:gd name="csY0" fmla="*/ 59136 h 64202"/>
              <a:gd name="csX1" fmla="*/ 0 w 322677"/>
              <a:gd name="csY1" fmla="*/ 62697 h 64202"/>
              <a:gd name="csX2" fmla="*/ 0 w 322677"/>
              <a:gd name="csY2" fmla="*/ 18400 h 64202"/>
              <a:gd name="csX3" fmla="*/ 10601 w 322677"/>
              <a:gd name="csY3" fmla="*/ 17750 h 64202"/>
              <a:gd name="csX4" fmla="*/ 156563 w 322677"/>
              <a:gd name="csY4" fmla="*/ 15074 h 64202"/>
              <a:gd name="csX5" fmla="*/ 266479 w 322677"/>
              <a:gd name="csY5" fmla="*/ 4814 h 64202"/>
              <a:gd name="csX6" fmla="*/ 296798 w 322677"/>
              <a:gd name="csY6" fmla="*/ 344 h 64202"/>
              <a:gd name="csX7" fmla="*/ 309983 w 322677"/>
              <a:gd name="csY7" fmla="*/ 6097 h 64202"/>
              <a:gd name="csX8" fmla="*/ 322678 w 322677"/>
              <a:gd name="csY8" fmla="*/ 40406 h 64202"/>
              <a:gd name="csX9" fmla="*/ 199184 w 322677"/>
              <a:gd name="csY9" fmla="*/ 59136 h 6420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322677" h="64202">
                <a:moveTo>
                  <a:pt x="199184" y="59136"/>
                </a:moveTo>
                <a:cubicBezTo>
                  <a:pt x="132374" y="65824"/>
                  <a:pt x="66629" y="64605"/>
                  <a:pt x="0" y="62697"/>
                </a:cubicBezTo>
                <a:cubicBezTo>
                  <a:pt x="0" y="47160"/>
                  <a:pt x="0" y="33409"/>
                  <a:pt x="0" y="18400"/>
                </a:cubicBezTo>
                <a:cubicBezTo>
                  <a:pt x="3587" y="18160"/>
                  <a:pt x="7120" y="17536"/>
                  <a:pt x="10601" y="17750"/>
                </a:cubicBezTo>
                <a:cubicBezTo>
                  <a:pt x="59329" y="20736"/>
                  <a:pt x="107987" y="18533"/>
                  <a:pt x="156563" y="15074"/>
                </a:cubicBezTo>
                <a:cubicBezTo>
                  <a:pt x="193260" y="12461"/>
                  <a:pt x="229860" y="8449"/>
                  <a:pt x="266479" y="4814"/>
                </a:cubicBezTo>
                <a:cubicBezTo>
                  <a:pt x="276635" y="3806"/>
                  <a:pt x="286748" y="2160"/>
                  <a:pt x="296798" y="344"/>
                </a:cubicBezTo>
                <a:cubicBezTo>
                  <a:pt x="302773" y="-735"/>
                  <a:pt x="306536" y="602"/>
                  <a:pt x="309983" y="6097"/>
                </a:cubicBezTo>
                <a:cubicBezTo>
                  <a:pt x="316405" y="16331"/>
                  <a:pt x="320231" y="27243"/>
                  <a:pt x="322678" y="40406"/>
                </a:cubicBezTo>
                <a:cubicBezTo>
                  <a:pt x="281944" y="49611"/>
                  <a:pt x="241309" y="55431"/>
                  <a:pt x="199184" y="59136"/>
                </a:cubicBezTo>
                <a:close/>
              </a:path>
            </a:pathLst>
          </a:custGeom>
          <a:solidFill>
            <a:schemeClr val="bg1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34" name="Free-form: Shape 133">
            <a:extLst>
              <a:ext uri="{FF2B5EF4-FFF2-40B4-BE49-F238E27FC236}">
                <a16:creationId xmlns:a16="http://schemas.microsoft.com/office/drawing/2014/main" id="{7299E3CD-91C5-3311-F0CB-416585B318BA}"/>
              </a:ext>
            </a:extLst>
          </p:cNvPr>
          <p:cNvSpPr/>
          <p:nvPr/>
        </p:nvSpPr>
        <p:spPr>
          <a:xfrm>
            <a:off x="6187355" y="4344418"/>
            <a:ext cx="557648" cy="1497715"/>
          </a:xfrm>
          <a:custGeom>
            <a:avLst/>
            <a:gdLst>
              <a:gd name="csX0" fmla="*/ 898754 w 1315852"/>
              <a:gd name="csY0" fmla="*/ 1637125 h 3212801"/>
              <a:gd name="csX1" fmla="*/ 900426 w 1315852"/>
              <a:gd name="csY1" fmla="*/ 1643802 h 3212801"/>
              <a:gd name="csX2" fmla="*/ 903549 w 1315852"/>
              <a:gd name="csY2" fmla="*/ 1709345 h 3212801"/>
              <a:gd name="csX3" fmla="*/ 908512 w 1315852"/>
              <a:gd name="csY3" fmla="*/ 1750739 h 3212801"/>
              <a:gd name="csX4" fmla="*/ 911839 w 1315852"/>
              <a:gd name="csY4" fmla="*/ 1783999 h 3212801"/>
              <a:gd name="csX5" fmla="*/ 919775 w 1315852"/>
              <a:gd name="csY5" fmla="*/ 1846044 h 3212801"/>
              <a:gd name="csX6" fmla="*/ 928724 w 1315852"/>
              <a:gd name="csY6" fmla="*/ 1912212 h 3212801"/>
              <a:gd name="csX7" fmla="*/ 943556 w 1315852"/>
              <a:gd name="csY7" fmla="*/ 1998602 h 3212801"/>
              <a:gd name="csX8" fmla="*/ 967918 w 1315852"/>
              <a:gd name="csY8" fmla="*/ 2121455 h 3212801"/>
              <a:gd name="csX9" fmla="*/ 988236 w 1315852"/>
              <a:gd name="csY9" fmla="*/ 2216813 h 3212801"/>
              <a:gd name="csX10" fmla="*/ 1028961 w 1315852"/>
              <a:gd name="csY10" fmla="*/ 2386212 h 3212801"/>
              <a:gd name="csX11" fmla="*/ 1055369 w 1315852"/>
              <a:gd name="csY11" fmla="*/ 2485963 h 3212801"/>
              <a:gd name="csX12" fmla="*/ 1069125 w 1315852"/>
              <a:gd name="csY12" fmla="*/ 2501571 h 3212801"/>
              <a:gd name="csX13" fmla="*/ 1104775 w 1315852"/>
              <a:gd name="csY13" fmla="*/ 2517672 h 3212801"/>
              <a:gd name="csX14" fmla="*/ 1117910 w 1315852"/>
              <a:gd name="csY14" fmla="*/ 2527831 h 3212801"/>
              <a:gd name="csX15" fmla="*/ 1122737 w 1315852"/>
              <a:gd name="csY15" fmla="*/ 2552282 h 3212801"/>
              <a:gd name="csX16" fmla="*/ 1114779 w 1315852"/>
              <a:gd name="csY16" fmla="*/ 2570125 h 3212801"/>
              <a:gd name="csX17" fmla="*/ 1114207 w 1315852"/>
              <a:gd name="csY17" fmla="*/ 2618225 h 3212801"/>
              <a:gd name="csX18" fmla="*/ 1148150 w 1315852"/>
              <a:gd name="csY18" fmla="*/ 2663984 h 3212801"/>
              <a:gd name="csX19" fmla="*/ 1206600 w 1315852"/>
              <a:gd name="csY19" fmla="*/ 2720256 h 3212801"/>
              <a:gd name="csX20" fmla="*/ 1275524 w 1315852"/>
              <a:gd name="csY20" fmla="*/ 2850317 h 3212801"/>
              <a:gd name="csX21" fmla="*/ 1277353 w 1315852"/>
              <a:gd name="csY21" fmla="*/ 2897326 h 3212801"/>
              <a:gd name="csX22" fmla="*/ 1271355 w 1315852"/>
              <a:gd name="csY22" fmla="*/ 2935725 h 3212801"/>
              <a:gd name="csX23" fmla="*/ 1274691 w 1315852"/>
              <a:gd name="csY23" fmla="*/ 2954335 h 3212801"/>
              <a:gd name="csX24" fmla="*/ 1301797 w 1315852"/>
              <a:gd name="csY24" fmla="*/ 3028744 h 3212801"/>
              <a:gd name="csX25" fmla="*/ 1311943 w 1315852"/>
              <a:gd name="csY25" fmla="*/ 3082025 h 3212801"/>
              <a:gd name="csX26" fmla="*/ 1315801 w 1315852"/>
              <a:gd name="csY26" fmla="*/ 3133440 h 3212801"/>
              <a:gd name="csX27" fmla="*/ 1307182 w 1315852"/>
              <a:gd name="csY27" fmla="*/ 3146201 h 3212801"/>
              <a:gd name="csX28" fmla="*/ 1280933 w 1315852"/>
              <a:gd name="csY28" fmla="*/ 3155733 h 3212801"/>
              <a:gd name="csX29" fmla="*/ 1169576 w 1315852"/>
              <a:gd name="csY29" fmla="*/ 3181105 h 3212801"/>
              <a:gd name="csX30" fmla="*/ 1098129 w 1315852"/>
              <a:gd name="csY30" fmla="*/ 3192005 h 3212801"/>
              <a:gd name="csX31" fmla="*/ 1025959 w 1315852"/>
              <a:gd name="csY31" fmla="*/ 3198069 h 3212801"/>
              <a:gd name="csX32" fmla="*/ 969161 w 1315852"/>
              <a:gd name="csY32" fmla="*/ 3203391 h 3212801"/>
              <a:gd name="csX33" fmla="*/ 966367 w 1315852"/>
              <a:gd name="csY33" fmla="*/ 3203587 h 3212801"/>
              <a:gd name="csX34" fmla="*/ 890991 w 1315852"/>
              <a:gd name="csY34" fmla="*/ 3206415 h 3212801"/>
              <a:gd name="csX35" fmla="*/ 786197 w 1315852"/>
              <a:gd name="csY35" fmla="*/ 3209641 h 3212801"/>
              <a:gd name="csX36" fmla="*/ 618254 w 1315852"/>
              <a:gd name="csY36" fmla="*/ 3211234 h 3212801"/>
              <a:gd name="csX37" fmla="*/ 506392 w 1315852"/>
              <a:gd name="csY37" fmla="*/ 3209195 h 3212801"/>
              <a:gd name="csX38" fmla="*/ 443638 w 1315852"/>
              <a:gd name="csY38" fmla="*/ 3206415 h 3212801"/>
              <a:gd name="csX39" fmla="*/ 389301 w 1315852"/>
              <a:gd name="csY39" fmla="*/ 3203597 h 3212801"/>
              <a:gd name="csX40" fmla="*/ 305884 w 1315852"/>
              <a:gd name="csY40" fmla="*/ 3197747 h 3212801"/>
              <a:gd name="csX41" fmla="*/ 216151 w 1315852"/>
              <a:gd name="csY41" fmla="*/ 3186940 h 3212801"/>
              <a:gd name="csX42" fmla="*/ 141593 w 1315852"/>
              <a:gd name="csY42" fmla="*/ 3177824 h 3212801"/>
              <a:gd name="csX43" fmla="*/ 44929 w 1315852"/>
              <a:gd name="csY43" fmla="*/ 3157176 h 3212801"/>
              <a:gd name="csX44" fmla="*/ 10154 w 1315852"/>
              <a:gd name="csY44" fmla="*/ 3146750 h 3212801"/>
              <a:gd name="csX45" fmla="*/ 112 w 1315852"/>
              <a:gd name="csY45" fmla="*/ 3132149 h 3212801"/>
              <a:gd name="csX46" fmla="*/ 5263 w 1315852"/>
              <a:gd name="csY46" fmla="*/ 3080960 h 3212801"/>
              <a:gd name="csX47" fmla="*/ 13758 w 1315852"/>
              <a:gd name="csY47" fmla="*/ 3031612 h 3212801"/>
              <a:gd name="csX48" fmla="*/ 40996 w 1315852"/>
              <a:gd name="csY48" fmla="*/ 2960204 h 3212801"/>
              <a:gd name="csX49" fmla="*/ 43510 w 1315852"/>
              <a:gd name="csY49" fmla="*/ 2944616 h 3212801"/>
              <a:gd name="csX50" fmla="*/ 36916 w 1315852"/>
              <a:gd name="csY50" fmla="*/ 2875457 h 3212801"/>
              <a:gd name="csX51" fmla="*/ 46646 w 1315852"/>
              <a:gd name="csY51" fmla="*/ 2827778 h 3212801"/>
              <a:gd name="csX52" fmla="*/ 108895 w 1315852"/>
              <a:gd name="csY52" fmla="*/ 2723307 h 3212801"/>
              <a:gd name="csX53" fmla="*/ 188375 w 1315852"/>
              <a:gd name="csY53" fmla="*/ 2646399 h 3212801"/>
              <a:gd name="csX54" fmla="*/ 211535 w 1315852"/>
              <a:gd name="csY54" fmla="*/ 2605867 h 3212801"/>
              <a:gd name="csX55" fmla="*/ 205182 w 1315852"/>
              <a:gd name="csY55" fmla="*/ 2571418 h 3212801"/>
              <a:gd name="csX56" fmla="*/ 196651 w 1315852"/>
              <a:gd name="csY56" fmla="*/ 2557085 h 3212801"/>
              <a:gd name="csX57" fmla="*/ 209021 w 1315852"/>
              <a:gd name="csY57" fmla="*/ 2521560 h 3212801"/>
              <a:gd name="csX58" fmla="*/ 245764 w 1315852"/>
              <a:gd name="csY58" fmla="*/ 2504395 h 3212801"/>
              <a:gd name="csX59" fmla="*/ 263769 w 1315852"/>
              <a:gd name="csY59" fmla="*/ 2485128 h 3212801"/>
              <a:gd name="csX60" fmla="*/ 300045 w 1315852"/>
              <a:gd name="csY60" fmla="*/ 2354726 h 3212801"/>
              <a:gd name="csX61" fmla="*/ 326003 w 1315852"/>
              <a:gd name="csY61" fmla="*/ 2249117 h 3212801"/>
              <a:gd name="csX62" fmla="*/ 359250 w 1315852"/>
              <a:gd name="csY62" fmla="*/ 2092493 h 3212801"/>
              <a:gd name="csX63" fmla="*/ 378011 w 1315852"/>
              <a:gd name="csY63" fmla="*/ 1995496 h 3212801"/>
              <a:gd name="csX64" fmla="*/ 390230 w 1315852"/>
              <a:gd name="csY64" fmla="*/ 1915745 h 3212801"/>
              <a:gd name="csX65" fmla="*/ 400702 w 1315852"/>
              <a:gd name="csY65" fmla="*/ 1851249 h 3212801"/>
              <a:gd name="csX66" fmla="*/ 406954 w 1315852"/>
              <a:gd name="csY66" fmla="*/ 1788916 h 3212801"/>
              <a:gd name="csX67" fmla="*/ 412016 w 1315852"/>
              <a:gd name="csY67" fmla="*/ 1747526 h 3212801"/>
              <a:gd name="csX68" fmla="*/ 415185 w 1315852"/>
              <a:gd name="csY68" fmla="*/ 1712850 h 3212801"/>
              <a:gd name="csX69" fmla="*/ 418197 w 1315852"/>
              <a:gd name="csY69" fmla="*/ 1651507 h 3212801"/>
              <a:gd name="csX70" fmla="*/ 423324 w 1315852"/>
              <a:gd name="csY70" fmla="*/ 1583479 h 3212801"/>
              <a:gd name="csX71" fmla="*/ 426059 w 1315852"/>
              <a:gd name="csY71" fmla="*/ 1477299 h 3212801"/>
              <a:gd name="csX72" fmla="*/ 424204 w 1315852"/>
              <a:gd name="csY72" fmla="*/ 1473415 h 3212801"/>
              <a:gd name="csX73" fmla="*/ 390769 w 1315852"/>
              <a:gd name="csY73" fmla="*/ 1470003 h 3212801"/>
              <a:gd name="csX74" fmla="*/ 327487 w 1315852"/>
              <a:gd name="csY74" fmla="*/ 1460760 h 3212801"/>
              <a:gd name="csX75" fmla="*/ 289037 w 1315852"/>
              <a:gd name="csY75" fmla="*/ 1410705 h 3212801"/>
              <a:gd name="csX76" fmla="*/ 292610 w 1315852"/>
              <a:gd name="csY76" fmla="*/ 1374826 h 3212801"/>
              <a:gd name="csX77" fmla="*/ 335365 w 1315852"/>
              <a:gd name="csY77" fmla="*/ 1319956 h 3212801"/>
              <a:gd name="csX78" fmla="*/ 358966 w 1315852"/>
              <a:gd name="csY78" fmla="*/ 1286091 h 3212801"/>
              <a:gd name="csX79" fmla="*/ 390267 w 1315852"/>
              <a:gd name="csY79" fmla="*/ 1239202 h 3212801"/>
              <a:gd name="csX80" fmla="*/ 435898 w 1315852"/>
              <a:gd name="csY80" fmla="*/ 1202610 h 3212801"/>
              <a:gd name="csX81" fmla="*/ 443089 w 1315852"/>
              <a:gd name="csY81" fmla="*/ 1186662 h 3212801"/>
              <a:gd name="csX82" fmla="*/ 443336 w 1315852"/>
              <a:gd name="csY82" fmla="*/ 1174100 h 3212801"/>
              <a:gd name="csX83" fmla="*/ 432713 w 1315852"/>
              <a:gd name="csY83" fmla="*/ 1161284 h 3212801"/>
              <a:gd name="csX84" fmla="*/ 406712 w 1315852"/>
              <a:gd name="csY84" fmla="*/ 1151413 h 3212801"/>
              <a:gd name="csX85" fmla="*/ 399212 w 1315852"/>
              <a:gd name="csY85" fmla="*/ 1135845 h 3212801"/>
              <a:gd name="csX86" fmla="*/ 409719 w 1315852"/>
              <a:gd name="csY86" fmla="*/ 1113213 h 3212801"/>
              <a:gd name="csX87" fmla="*/ 414650 w 1315852"/>
              <a:gd name="csY87" fmla="*/ 1091062 h 3212801"/>
              <a:gd name="csX88" fmla="*/ 402048 w 1315852"/>
              <a:gd name="csY88" fmla="*/ 1042520 h 3212801"/>
              <a:gd name="csX89" fmla="*/ 366526 w 1315852"/>
              <a:gd name="csY89" fmla="*/ 932054 h 3212801"/>
              <a:gd name="csX90" fmla="*/ 304855 w 1315852"/>
              <a:gd name="csY90" fmla="*/ 733506 h 3212801"/>
              <a:gd name="csX91" fmla="*/ 273722 w 1315852"/>
              <a:gd name="csY91" fmla="*/ 639312 h 3212801"/>
              <a:gd name="csX92" fmla="*/ 242525 w 1315852"/>
              <a:gd name="csY92" fmla="*/ 527843 h 3212801"/>
              <a:gd name="csX93" fmla="*/ 245838 w 1315852"/>
              <a:gd name="csY93" fmla="*/ 485521 h 3212801"/>
              <a:gd name="csX94" fmla="*/ 258319 w 1315852"/>
              <a:gd name="csY94" fmla="*/ 473233 h 3212801"/>
              <a:gd name="csX95" fmla="*/ 291527 w 1315852"/>
              <a:gd name="csY95" fmla="*/ 463336 h 3212801"/>
              <a:gd name="csX96" fmla="*/ 373160 w 1315852"/>
              <a:gd name="csY96" fmla="*/ 454842 h 3212801"/>
              <a:gd name="csX97" fmla="*/ 427480 w 1315852"/>
              <a:gd name="csY97" fmla="*/ 451758 h 3212801"/>
              <a:gd name="csX98" fmla="*/ 477998 w 1315852"/>
              <a:gd name="csY98" fmla="*/ 447870 h 3212801"/>
              <a:gd name="csX99" fmla="*/ 479585 w 1315852"/>
              <a:gd name="csY99" fmla="*/ 442932 h 3212801"/>
              <a:gd name="csX100" fmla="*/ 488907 w 1315852"/>
              <a:gd name="csY100" fmla="*/ 421401 h 3212801"/>
              <a:gd name="csX101" fmla="*/ 492315 w 1315852"/>
              <a:gd name="csY101" fmla="*/ 409196 h 3212801"/>
              <a:gd name="csX102" fmla="*/ 498582 w 1315852"/>
              <a:gd name="csY102" fmla="*/ 396231 h 3212801"/>
              <a:gd name="csX103" fmla="*/ 531424 w 1315852"/>
              <a:gd name="csY103" fmla="*/ 365066 h 3212801"/>
              <a:gd name="csX104" fmla="*/ 567201 w 1315852"/>
              <a:gd name="csY104" fmla="*/ 305069 h 3212801"/>
              <a:gd name="csX105" fmla="*/ 580157 w 1315852"/>
              <a:gd name="csY105" fmla="*/ 281885 h 3212801"/>
              <a:gd name="csX106" fmla="*/ 575177 w 1315852"/>
              <a:gd name="csY106" fmla="*/ 258759 h 3212801"/>
              <a:gd name="csX107" fmla="*/ 472048 w 1315852"/>
              <a:gd name="csY107" fmla="*/ 283266 h 3212801"/>
              <a:gd name="csX108" fmla="*/ 473659 w 1315852"/>
              <a:gd name="csY108" fmla="*/ 112243 h 3212801"/>
              <a:gd name="csX109" fmla="*/ 487139 w 1315852"/>
              <a:gd name="csY109" fmla="*/ 114763 h 3212801"/>
              <a:gd name="csX110" fmla="*/ 569608 w 1315852"/>
              <a:gd name="csY110" fmla="*/ 140735 h 3212801"/>
              <a:gd name="csX111" fmla="*/ 585180 w 1315852"/>
              <a:gd name="csY111" fmla="*/ 124742 h 3212801"/>
              <a:gd name="csX112" fmla="*/ 563868 w 1315852"/>
              <a:gd name="csY112" fmla="*/ 70080 h 3212801"/>
              <a:gd name="csX113" fmla="*/ 546041 w 1315852"/>
              <a:gd name="csY113" fmla="*/ 26021 h 3212801"/>
              <a:gd name="csX114" fmla="*/ 568462 w 1315852"/>
              <a:gd name="csY114" fmla="*/ 18986 h 3212801"/>
              <a:gd name="csX115" fmla="*/ 637623 w 1315852"/>
              <a:gd name="csY115" fmla="*/ 2731 h 3212801"/>
              <a:gd name="csX116" fmla="*/ 692817 w 1315852"/>
              <a:gd name="csY116" fmla="*/ 4346 h 3212801"/>
              <a:gd name="csX117" fmla="*/ 759126 w 1315852"/>
              <a:gd name="csY117" fmla="*/ 20739 h 3212801"/>
              <a:gd name="csX118" fmla="*/ 774460 w 1315852"/>
              <a:gd name="csY118" fmla="*/ 24289 h 3212801"/>
              <a:gd name="csX119" fmla="*/ 751608 w 1315852"/>
              <a:gd name="csY119" fmla="*/ 81205 h 3212801"/>
              <a:gd name="csX120" fmla="*/ 731002 w 1315852"/>
              <a:gd name="csY120" fmla="*/ 141135 h 3212801"/>
              <a:gd name="csX121" fmla="*/ 749917 w 1315852"/>
              <a:gd name="csY121" fmla="*/ 137732 h 3212801"/>
              <a:gd name="csX122" fmla="*/ 836197 w 1315852"/>
              <a:gd name="csY122" fmla="*/ 114792 h 3212801"/>
              <a:gd name="csX123" fmla="*/ 843209 w 1315852"/>
              <a:gd name="csY123" fmla="*/ 113433 h 3212801"/>
              <a:gd name="csX124" fmla="*/ 844400 w 1315852"/>
              <a:gd name="csY124" fmla="*/ 119435 h 3212801"/>
              <a:gd name="csX125" fmla="*/ 847390 w 1315852"/>
              <a:gd name="csY125" fmla="*/ 232672 h 3212801"/>
              <a:gd name="csX126" fmla="*/ 850015 w 1315852"/>
              <a:gd name="csY126" fmla="*/ 261773 h 3212801"/>
              <a:gd name="csX127" fmla="*/ 850085 w 1315852"/>
              <a:gd name="csY127" fmla="*/ 280220 h 3212801"/>
              <a:gd name="csX128" fmla="*/ 815285 w 1315852"/>
              <a:gd name="csY128" fmla="*/ 272127 h 3212801"/>
              <a:gd name="csX129" fmla="*/ 757181 w 1315852"/>
              <a:gd name="csY129" fmla="*/ 257455 h 3212801"/>
              <a:gd name="csX130" fmla="*/ 732939 w 1315852"/>
              <a:gd name="csY130" fmla="*/ 263859 h 3212801"/>
              <a:gd name="csX131" fmla="*/ 739871 w 1315852"/>
              <a:gd name="csY131" fmla="*/ 279988 h 3212801"/>
              <a:gd name="csX132" fmla="*/ 725900 w 1315852"/>
              <a:gd name="csY132" fmla="*/ 292074 h 3212801"/>
              <a:gd name="csX133" fmla="*/ 747132 w 1315852"/>
              <a:gd name="csY133" fmla="*/ 298017 h 3212801"/>
              <a:gd name="csX134" fmla="*/ 768268 w 1315852"/>
              <a:gd name="csY134" fmla="*/ 327815 h 3212801"/>
              <a:gd name="csX135" fmla="*/ 785901 w 1315852"/>
              <a:gd name="csY135" fmla="*/ 362862 h 3212801"/>
              <a:gd name="csX136" fmla="*/ 798627 w 1315852"/>
              <a:gd name="csY136" fmla="*/ 374591 h 3212801"/>
              <a:gd name="csX137" fmla="*/ 815580 w 1315852"/>
              <a:gd name="csY137" fmla="*/ 387899 h 3212801"/>
              <a:gd name="csX138" fmla="*/ 813282 w 1315852"/>
              <a:gd name="csY138" fmla="*/ 390947 h 3212801"/>
              <a:gd name="csX139" fmla="*/ 776501 w 1315852"/>
              <a:gd name="csY139" fmla="*/ 393213 h 3212801"/>
              <a:gd name="csX140" fmla="*/ 702336 w 1315852"/>
              <a:gd name="csY140" fmla="*/ 381496 h 3212801"/>
              <a:gd name="csX141" fmla="*/ 662021 w 1315852"/>
              <a:gd name="csY141" fmla="*/ 378921 h 3212801"/>
              <a:gd name="csX142" fmla="*/ 651111 w 1315852"/>
              <a:gd name="csY142" fmla="*/ 386942 h 3212801"/>
              <a:gd name="csX143" fmla="*/ 648295 w 1315852"/>
              <a:gd name="csY143" fmla="*/ 437069 h 3212801"/>
              <a:gd name="csX144" fmla="*/ 659561 w 1315852"/>
              <a:gd name="csY144" fmla="*/ 448907 h 3212801"/>
              <a:gd name="csX145" fmla="*/ 799805 w 1315852"/>
              <a:gd name="csY145" fmla="*/ 449022 h 3212801"/>
              <a:gd name="csX146" fmla="*/ 811083 w 1315852"/>
              <a:gd name="csY146" fmla="*/ 439581 h 3212801"/>
              <a:gd name="csX147" fmla="*/ 817945 w 1315852"/>
              <a:gd name="csY147" fmla="*/ 425008 h 3212801"/>
              <a:gd name="csX148" fmla="*/ 828609 w 1315852"/>
              <a:gd name="csY148" fmla="*/ 403122 h 3212801"/>
              <a:gd name="csX149" fmla="*/ 838374 w 1315852"/>
              <a:gd name="csY149" fmla="*/ 406435 h 3212801"/>
              <a:gd name="csX150" fmla="*/ 844275 w 1315852"/>
              <a:gd name="csY150" fmla="*/ 430561 h 3212801"/>
              <a:gd name="csX151" fmla="*/ 865761 w 1315852"/>
              <a:gd name="csY151" fmla="*/ 447068 h 3212801"/>
              <a:gd name="csX152" fmla="*/ 885673 w 1315852"/>
              <a:gd name="csY152" fmla="*/ 449965 h 3212801"/>
              <a:gd name="csX153" fmla="*/ 904428 w 1315852"/>
              <a:gd name="csY153" fmla="*/ 454230 h 3212801"/>
              <a:gd name="csX154" fmla="*/ 930689 w 1315852"/>
              <a:gd name="csY154" fmla="*/ 457318 h 3212801"/>
              <a:gd name="csX155" fmla="*/ 1036296 w 1315852"/>
              <a:gd name="csY155" fmla="*/ 485877 h 3212801"/>
              <a:gd name="csX156" fmla="*/ 1076027 w 1315852"/>
              <a:gd name="csY156" fmla="*/ 535212 h 3212801"/>
              <a:gd name="csX157" fmla="*/ 1075403 w 1315852"/>
              <a:gd name="csY157" fmla="*/ 578208 h 3212801"/>
              <a:gd name="csX158" fmla="*/ 1028317 w 1315852"/>
              <a:gd name="csY158" fmla="*/ 728867 h 3212801"/>
              <a:gd name="csX159" fmla="*/ 983498 w 1315852"/>
              <a:gd name="csY159" fmla="*/ 858331 h 3212801"/>
              <a:gd name="csX160" fmla="*/ 948940 w 1315852"/>
              <a:gd name="csY160" fmla="*/ 961698 h 3212801"/>
              <a:gd name="csX161" fmla="*/ 911066 w 1315852"/>
              <a:gd name="csY161" fmla="*/ 1087385 h 3212801"/>
              <a:gd name="csX162" fmla="*/ 910828 w 1315852"/>
              <a:gd name="csY162" fmla="*/ 1098086 h 3212801"/>
              <a:gd name="csX163" fmla="*/ 911498 w 1315852"/>
              <a:gd name="csY163" fmla="*/ 1130209 h 3212801"/>
              <a:gd name="csX164" fmla="*/ 905716 w 1315852"/>
              <a:gd name="csY164" fmla="*/ 1140786 h 3212801"/>
              <a:gd name="csX165" fmla="*/ 904041 w 1315852"/>
              <a:gd name="csY165" fmla="*/ 1171694 h 3212801"/>
              <a:gd name="csX166" fmla="*/ 929797 w 1315852"/>
              <a:gd name="csY166" fmla="*/ 1202854 h 3212801"/>
              <a:gd name="csX167" fmla="*/ 956714 w 1315852"/>
              <a:gd name="csY167" fmla="*/ 1270749 h 3212801"/>
              <a:gd name="csX168" fmla="*/ 960074 w 1315852"/>
              <a:gd name="csY168" fmla="*/ 1289888 h 3212801"/>
              <a:gd name="csX169" fmla="*/ 975795 w 1315852"/>
              <a:gd name="csY169" fmla="*/ 1308746 h 3212801"/>
              <a:gd name="csX170" fmla="*/ 1002397 w 1315852"/>
              <a:gd name="csY170" fmla="*/ 1326635 h 3212801"/>
              <a:gd name="csX171" fmla="*/ 1018686 w 1315852"/>
              <a:gd name="csY171" fmla="*/ 1435905 h 3212801"/>
              <a:gd name="csX172" fmla="*/ 996257 w 1315852"/>
              <a:gd name="csY172" fmla="*/ 1454107 h 3212801"/>
              <a:gd name="csX173" fmla="*/ 970849 w 1315852"/>
              <a:gd name="csY173" fmla="*/ 1461303 h 3212801"/>
              <a:gd name="csX174" fmla="*/ 917943 w 1315852"/>
              <a:gd name="csY174" fmla="*/ 1464461 h 3212801"/>
              <a:gd name="csX175" fmla="*/ 905433 w 1315852"/>
              <a:gd name="csY175" fmla="*/ 1465358 h 3212801"/>
              <a:gd name="csX176" fmla="*/ 897863 w 1315852"/>
              <a:gd name="csY176" fmla="*/ 1474014 h 3212801"/>
              <a:gd name="csX177" fmla="*/ 897812 w 1315852"/>
              <a:gd name="csY177" fmla="*/ 1475415 h 3212801"/>
              <a:gd name="csX178" fmla="*/ 895549 w 1315852"/>
              <a:gd name="csY178" fmla="*/ 1519988 h 3212801"/>
              <a:gd name="csX179" fmla="*/ 895093 w 1315852"/>
              <a:gd name="csY179" fmla="*/ 1566174 h 3212801"/>
              <a:gd name="csX180" fmla="*/ 898754 w 1315852"/>
              <a:gd name="csY180" fmla="*/ 1637125 h 3212801"/>
              <a:gd name="csX181" fmla="*/ 654604 w 1315852"/>
              <a:gd name="csY181" fmla="*/ 2329281 h 3212801"/>
              <a:gd name="csX182" fmla="*/ 650429 w 1315852"/>
              <a:gd name="csY182" fmla="*/ 2271391 h 3212801"/>
              <a:gd name="csX183" fmla="*/ 648148 w 1315852"/>
              <a:gd name="csY183" fmla="*/ 2289942 h 3212801"/>
              <a:gd name="csX184" fmla="*/ 648156 w 1315852"/>
              <a:gd name="csY184" fmla="*/ 2367948 h 3212801"/>
              <a:gd name="csX185" fmla="*/ 655577 w 1315852"/>
              <a:gd name="csY185" fmla="*/ 2381454 h 3212801"/>
              <a:gd name="csX186" fmla="*/ 655485 w 1315852"/>
              <a:gd name="csY186" fmla="*/ 2404945 h 3212801"/>
              <a:gd name="csX187" fmla="*/ 651805 w 1315852"/>
              <a:gd name="csY187" fmla="*/ 2455510 h 3212801"/>
              <a:gd name="csX188" fmla="*/ 650902 w 1315852"/>
              <a:gd name="csY188" fmla="*/ 2395333 h 3212801"/>
              <a:gd name="csX189" fmla="*/ 649248 w 1315852"/>
              <a:gd name="csY189" fmla="*/ 2386025 h 3212801"/>
              <a:gd name="csX190" fmla="*/ 645333 w 1315852"/>
              <a:gd name="csY190" fmla="*/ 2386512 h 3212801"/>
              <a:gd name="csX191" fmla="*/ 645333 w 1315852"/>
              <a:gd name="csY191" fmla="*/ 2399858 h 3212801"/>
              <a:gd name="csX192" fmla="*/ 645232 w 1315852"/>
              <a:gd name="csY192" fmla="*/ 2471367 h 3212801"/>
              <a:gd name="csX193" fmla="*/ 643489 w 1315852"/>
              <a:gd name="csY193" fmla="*/ 2486535 h 3212801"/>
              <a:gd name="csX194" fmla="*/ 662548 w 1315852"/>
              <a:gd name="csY194" fmla="*/ 2510760 h 3212801"/>
              <a:gd name="csX195" fmla="*/ 942625 w 1315852"/>
              <a:gd name="csY195" fmla="*/ 2507990 h 3212801"/>
              <a:gd name="csX196" fmla="*/ 997309 w 1315852"/>
              <a:gd name="csY196" fmla="*/ 2507928 h 3212801"/>
              <a:gd name="csX197" fmla="*/ 1012693 w 1315852"/>
              <a:gd name="csY197" fmla="*/ 2507237 h 3212801"/>
              <a:gd name="csX198" fmla="*/ 1010948 w 1315852"/>
              <a:gd name="csY198" fmla="*/ 2493054 h 3212801"/>
              <a:gd name="csX199" fmla="*/ 982017 w 1315852"/>
              <a:gd name="csY199" fmla="*/ 2386719 h 3212801"/>
              <a:gd name="csX200" fmla="*/ 955543 w 1315852"/>
              <a:gd name="csY200" fmla="*/ 2275604 h 3212801"/>
              <a:gd name="csX201" fmla="*/ 922638 w 1315852"/>
              <a:gd name="csY201" fmla="*/ 2125997 h 3212801"/>
              <a:gd name="csX202" fmla="*/ 897474 w 1315852"/>
              <a:gd name="csY202" fmla="*/ 1994858 h 3212801"/>
              <a:gd name="csX203" fmla="*/ 878061 w 1315852"/>
              <a:gd name="csY203" fmla="*/ 1878280 h 3212801"/>
              <a:gd name="csX204" fmla="*/ 866965 w 1315852"/>
              <a:gd name="csY204" fmla="*/ 1791411 h 3212801"/>
              <a:gd name="csX205" fmla="*/ 863902 w 1315852"/>
              <a:gd name="csY205" fmla="*/ 1755335 h 3212801"/>
              <a:gd name="csX206" fmla="*/ 855983 w 1315852"/>
              <a:gd name="csY206" fmla="*/ 1677866 h 3212801"/>
              <a:gd name="csX207" fmla="*/ 852873 w 1315852"/>
              <a:gd name="csY207" fmla="*/ 1578685 h 3212801"/>
              <a:gd name="csX208" fmla="*/ 851635 w 1315852"/>
              <a:gd name="csY208" fmla="*/ 1535546 h 3212801"/>
              <a:gd name="csX209" fmla="*/ 850039 w 1315852"/>
              <a:gd name="csY209" fmla="*/ 1484182 h 3212801"/>
              <a:gd name="csX210" fmla="*/ 848486 w 1315852"/>
              <a:gd name="csY210" fmla="*/ 1472876 h 3212801"/>
              <a:gd name="csX211" fmla="*/ 832070 w 1315852"/>
              <a:gd name="csY211" fmla="*/ 1472888 h 3212801"/>
              <a:gd name="csX212" fmla="*/ 676784 w 1315852"/>
              <a:gd name="csY212" fmla="*/ 1475691 h 3212801"/>
              <a:gd name="csX213" fmla="*/ 662172 w 1315852"/>
              <a:gd name="csY213" fmla="*/ 1490031 h 3212801"/>
              <a:gd name="csX214" fmla="*/ 662153 w 1315852"/>
              <a:gd name="csY214" fmla="*/ 1497041 h 3212801"/>
              <a:gd name="csX215" fmla="*/ 659832 w 1315852"/>
              <a:gd name="csY215" fmla="*/ 1642548 h 3212801"/>
              <a:gd name="csX216" fmla="*/ 656544 w 1315852"/>
              <a:gd name="csY216" fmla="*/ 1761338 h 3212801"/>
              <a:gd name="csX217" fmla="*/ 654344 w 1315852"/>
              <a:gd name="csY217" fmla="*/ 1943296 h 3212801"/>
              <a:gd name="csX218" fmla="*/ 651002 w 1315852"/>
              <a:gd name="csY218" fmla="*/ 2137811 h 3212801"/>
              <a:gd name="csX219" fmla="*/ 650933 w 1315852"/>
              <a:gd name="csY219" fmla="*/ 2240168 h 3212801"/>
              <a:gd name="csX220" fmla="*/ 651273 w 1315852"/>
              <a:gd name="csY220" fmla="*/ 2249880 h 3212801"/>
              <a:gd name="csX221" fmla="*/ 658332 w 1315852"/>
              <a:gd name="csY221" fmla="*/ 2258024 h 3212801"/>
              <a:gd name="csX222" fmla="*/ 654604 w 1315852"/>
              <a:gd name="csY222" fmla="*/ 2329281 h 3212801"/>
              <a:gd name="csX223" fmla="*/ 999154 w 1315852"/>
              <a:gd name="csY223" fmla="*/ 2930680 h 3212801"/>
              <a:gd name="csX224" fmla="*/ 1224400 w 1315852"/>
              <a:gd name="csY224" fmla="*/ 2904672 h 3212801"/>
              <a:gd name="csX225" fmla="*/ 1225778 w 1315852"/>
              <a:gd name="csY225" fmla="*/ 2893948 h 3212801"/>
              <a:gd name="csX226" fmla="*/ 1197990 w 1315852"/>
              <a:gd name="csY226" fmla="*/ 2788499 h 3212801"/>
              <a:gd name="csX227" fmla="*/ 1156721 w 1315852"/>
              <a:gd name="csY227" fmla="*/ 2737429 h 3212801"/>
              <a:gd name="csX228" fmla="*/ 1096512 w 1315852"/>
              <a:gd name="csY228" fmla="*/ 2674794 h 3212801"/>
              <a:gd name="csX229" fmla="*/ 1056842 w 1315852"/>
              <a:gd name="csY229" fmla="*/ 2584575 h 3212801"/>
              <a:gd name="csX230" fmla="*/ 1055233 w 1315852"/>
              <a:gd name="csY230" fmla="*/ 2579758 h 3212801"/>
              <a:gd name="csX231" fmla="*/ 1017950 w 1315852"/>
              <a:gd name="csY231" fmla="*/ 2581956 h 3212801"/>
              <a:gd name="csX232" fmla="*/ 785764 w 1315852"/>
              <a:gd name="csY232" fmla="*/ 2595473 h 3212801"/>
              <a:gd name="csX233" fmla="*/ 665238 w 1315852"/>
              <a:gd name="csY233" fmla="*/ 2597498 h 3212801"/>
              <a:gd name="csX234" fmla="*/ 654332 w 1315852"/>
              <a:gd name="csY234" fmla="*/ 2598673 h 3212801"/>
              <a:gd name="csX235" fmla="*/ 653026 w 1315852"/>
              <a:gd name="csY235" fmla="*/ 2935427 h 3212801"/>
              <a:gd name="csX236" fmla="*/ 999154 w 1315852"/>
              <a:gd name="csY236" fmla="*/ 2930680 h 3212801"/>
              <a:gd name="csX237" fmla="*/ 947894 w 1315852"/>
              <a:gd name="csY237" fmla="*/ 3022480 h 3212801"/>
              <a:gd name="csX238" fmla="*/ 854096 w 1315852"/>
              <a:gd name="csY238" fmla="*/ 3026952 h 3212801"/>
              <a:gd name="csX239" fmla="*/ 676076 w 1315852"/>
              <a:gd name="csY239" fmla="*/ 3027217 h 3212801"/>
              <a:gd name="csX240" fmla="*/ 657155 w 1315852"/>
              <a:gd name="csY240" fmla="*/ 3027217 h 3212801"/>
              <a:gd name="csX241" fmla="*/ 650929 w 1315852"/>
              <a:gd name="csY241" fmla="*/ 3130009 h 3212801"/>
              <a:gd name="csX242" fmla="*/ 662475 w 1315852"/>
              <a:gd name="csY242" fmla="*/ 3131016 h 3212801"/>
              <a:gd name="csX243" fmla="*/ 775955 w 1315852"/>
              <a:gd name="csY243" fmla="*/ 3134982 h 3212801"/>
              <a:gd name="csX244" fmla="*/ 1061598 w 1315852"/>
              <a:gd name="csY244" fmla="*/ 3125377 h 3212801"/>
              <a:gd name="csX245" fmla="*/ 1249397 w 1315852"/>
              <a:gd name="csY245" fmla="*/ 3093967 h 3212801"/>
              <a:gd name="csX246" fmla="*/ 1262842 w 1315852"/>
              <a:gd name="csY246" fmla="*/ 3089764 h 3212801"/>
              <a:gd name="csX247" fmla="*/ 1244253 w 1315852"/>
              <a:gd name="csY247" fmla="*/ 3014005 h 3212801"/>
              <a:gd name="csX248" fmla="*/ 1237768 w 1315852"/>
              <a:gd name="csY248" fmla="*/ 3003206 h 3212801"/>
              <a:gd name="csX249" fmla="*/ 1217957 w 1315852"/>
              <a:gd name="csY249" fmla="*/ 2993424 h 3212801"/>
              <a:gd name="csX250" fmla="*/ 1163725 w 1315852"/>
              <a:gd name="csY250" fmla="*/ 3000119 h 3212801"/>
              <a:gd name="csX251" fmla="*/ 947894 w 1315852"/>
              <a:gd name="csY251" fmla="*/ 3022480 h 3212801"/>
              <a:gd name="csX252" fmla="*/ 784197 w 1315852"/>
              <a:gd name="csY252" fmla="*/ 1352777 h 3212801"/>
              <a:gd name="csX253" fmla="*/ 730991 w 1315852"/>
              <a:gd name="csY253" fmla="*/ 1354793 h 3212801"/>
              <a:gd name="csX254" fmla="*/ 676320 w 1315852"/>
              <a:gd name="csY254" fmla="*/ 1356902 h 3212801"/>
              <a:gd name="csX255" fmla="*/ 671906 w 1315852"/>
              <a:gd name="csY255" fmla="*/ 1418933 h 3212801"/>
              <a:gd name="csX256" fmla="*/ 685797 w 1315852"/>
              <a:gd name="csY256" fmla="*/ 1418917 h 3212801"/>
              <a:gd name="csX257" fmla="*/ 953300 w 1315852"/>
              <a:gd name="csY257" fmla="*/ 1410383 h 3212801"/>
              <a:gd name="csX258" fmla="*/ 968586 w 1315852"/>
              <a:gd name="csY258" fmla="*/ 1408564 h 3212801"/>
              <a:gd name="csX259" fmla="*/ 980375 w 1315852"/>
              <a:gd name="csY259" fmla="*/ 1394590 h 3212801"/>
              <a:gd name="csX260" fmla="*/ 965591 w 1315852"/>
              <a:gd name="csY260" fmla="*/ 1364447 h 3212801"/>
              <a:gd name="csX261" fmla="*/ 910211 w 1315852"/>
              <a:gd name="csY261" fmla="*/ 1348103 h 3212801"/>
              <a:gd name="csX262" fmla="*/ 784197 w 1315852"/>
              <a:gd name="csY262" fmla="*/ 1352777 h 3212801"/>
              <a:gd name="csX263" fmla="*/ 648129 w 1315852"/>
              <a:gd name="csY263" fmla="*/ 615881 h 3212801"/>
              <a:gd name="csX264" fmla="*/ 650869 w 1315852"/>
              <a:gd name="csY264" fmla="*/ 664591 h 3212801"/>
              <a:gd name="csX265" fmla="*/ 653223 w 1315852"/>
              <a:gd name="csY265" fmla="*/ 746994 h 3212801"/>
              <a:gd name="csX266" fmla="*/ 656163 w 1315852"/>
              <a:gd name="csY266" fmla="*/ 830737 h 3212801"/>
              <a:gd name="csX267" fmla="*/ 658740 w 1315852"/>
              <a:gd name="csY267" fmla="*/ 903281 h 3212801"/>
              <a:gd name="csX268" fmla="*/ 662209 w 1315852"/>
              <a:gd name="csY268" fmla="*/ 1019226 h 3212801"/>
              <a:gd name="csX269" fmla="*/ 665088 w 1315852"/>
              <a:gd name="csY269" fmla="*/ 1081942 h 3212801"/>
              <a:gd name="csX270" fmla="*/ 674628 w 1315852"/>
              <a:gd name="csY270" fmla="*/ 1090643 h 3212801"/>
              <a:gd name="csX271" fmla="*/ 762289 w 1315852"/>
              <a:gd name="csY271" fmla="*/ 1085865 h 3212801"/>
              <a:gd name="csX272" fmla="*/ 853046 w 1315852"/>
              <a:gd name="csY272" fmla="*/ 1082948 h 3212801"/>
              <a:gd name="csX273" fmla="*/ 854448 w 1315852"/>
              <a:gd name="csY273" fmla="*/ 1082924 h 3212801"/>
              <a:gd name="csX274" fmla="*/ 866364 w 1315852"/>
              <a:gd name="csY274" fmla="*/ 1074839 h 3212801"/>
              <a:gd name="csX275" fmla="*/ 891726 w 1315852"/>
              <a:gd name="csY275" fmla="*/ 1006797 h 3212801"/>
              <a:gd name="csX276" fmla="*/ 913720 w 1315852"/>
              <a:gd name="csY276" fmla="*/ 939278 h 3212801"/>
              <a:gd name="csX277" fmla="*/ 953952 w 1315852"/>
              <a:gd name="csY277" fmla="*/ 826060 h 3212801"/>
              <a:gd name="csX278" fmla="*/ 988796 w 1315852"/>
              <a:gd name="csY278" fmla="*/ 727233 h 3212801"/>
              <a:gd name="csX279" fmla="*/ 1036110 w 1315852"/>
              <a:gd name="csY279" fmla="*/ 592920 h 3212801"/>
              <a:gd name="csX280" fmla="*/ 1043677 w 1315852"/>
              <a:gd name="csY280" fmla="*/ 542152 h 3212801"/>
              <a:gd name="csX281" fmla="*/ 1030884 w 1315852"/>
              <a:gd name="csY281" fmla="*/ 517222 h 3212801"/>
              <a:gd name="csX282" fmla="*/ 1009162 w 1315852"/>
              <a:gd name="csY282" fmla="*/ 507963 h 3212801"/>
              <a:gd name="csX283" fmla="*/ 931266 w 1315852"/>
              <a:gd name="csY283" fmla="*/ 493552 h 3212801"/>
              <a:gd name="csX284" fmla="*/ 880100 w 1315852"/>
              <a:gd name="csY284" fmla="*/ 488348 h 3212801"/>
              <a:gd name="csX285" fmla="*/ 835610 w 1315852"/>
              <a:gd name="csY285" fmla="*/ 485330 h 3212801"/>
              <a:gd name="csX286" fmla="*/ 755014 w 1315852"/>
              <a:gd name="csY286" fmla="*/ 480162 h 3212801"/>
              <a:gd name="csX287" fmla="*/ 657249 w 1315852"/>
              <a:gd name="csY287" fmla="*/ 482686 h 3212801"/>
              <a:gd name="csX288" fmla="*/ 643184 w 1315852"/>
              <a:gd name="csY288" fmla="*/ 500211 h 3212801"/>
              <a:gd name="csX289" fmla="*/ 645220 w 1315852"/>
              <a:gd name="csY289" fmla="*/ 511112 h 3212801"/>
              <a:gd name="csX290" fmla="*/ 648129 w 1315852"/>
              <a:gd name="csY290" fmla="*/ 615881 h 3212801"/>
              <a:gd name="csX291" fmla="*/ 886495 w 1315852"/>
              <a:gd name="csY291" fmla="*/ 1207714 h 3212801"/>
              <a:gd name="csX292" fmla="*/ 881380 w 1315852"/>
              <a:gd name="csY292" fmla="*/ 1202980 h 3212801"/>
              <a:gd name="csX293" fmla="*/ 866913 w 1315852"/>
              <a:gd name="csY293" fmla="*/ 1175042 h 3212801"/>
              <a:gd name="csX294" fmla="*/ 866482 w 1315852"/>
              <a:gd name="csY294" fmla="*/ 1156869 h 3212801"/>
              <a:gd name="csX295" fmla="*/ 856429 w 1315852"/>
              <a:gd name="csY295" fmla="*/ 1147458 h 3212801"/>
              <a:gd name="csX296" fmla="*/ 790615 w 1315852"/>
              <a:gd name="csY296" fmla="*/ 1147813 h 3212801"/>
              <a:gd name="csX297" fmla="*/ 718484 w 1315852"/>
              <a:gd name="csY297" fmla="*/ 1153058 h 3212801"/>
              <a:gd name="csX298" fmla="*/ 671232 w 1315852"/>
              <a:gd name="csY298" fmla="*/ 1156034 h 3212801"/>
              <a:gd name="csX299" fmla="*/ 664146 w 1315852"/>
              <a:gd name="csY299" fmla="*/ 1168443 h 3212801"/>
              <a:gd name="csX300" fmla="*/ 667611 w 1315852"/>
              <a:gd name="csY300" fmla="*/ 1187354 h 3212801"/>
              <a:gd name="csX301" fmla="*/ 667803 w 1315852"/>
              <a:gd name="csY301" fmla="*/ 1283992 h 3212801"/>
              <a:gd name="csX302" fmla="*/ 683140 w 1315852"/>
              <a:gd name="csY302" fmla="*/ 1298850 h 3212801"/>
              <a:gd name="csX303" fmla="*/ 736011 w 1315852"/>
              <a:gd name="csY303" fmla="*/ 1296220 h 3212801"/>
              <a:gd name="csX304" fmla="*/ 830893 w 1315852"/>
              <a:gd name="csY304" fmla="*/ 1293324 h 3212801"/>
              <a:gd name="csX305" fmla="*/ 833691 w 1315852"/>
              <a:gd name="csY305" fmla="*/ 1293213 h 3212801"/>
              <a:gd name="csX306" fmla="*/ 903014 w 1315852"/>
              <a:gd name="csY306" fmla="*/ 1287831 h 3212801"/>
              <a:gd name="csX307" fmla="*/ 917225 w 1315852"/>
              <a:gd name="csY307" fmla="*/ 1271856 h 3212801"/>
              <a:gd name="csX308" fmla="*/ 886495 w 1315852"/>
              <a:gd name="csY308" fmla="*/ 1207714 h 321280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  <a:cxn ang="0">
                <a:pos x="csX170" y="csY170"/>
              </a:cxn>
              <a:cxn ang="0">
                <a:pos x="csX171" y="csY171"/>
              </a:cxn>
              <a:cxn ang="0">
                <a:pos x="csX172" y="csY172"/>
              </a:cxn>
              <a:cxn ang="0">
                <a:pos x="csX173" y="csY173"/>
              </a:cxn>
              <a:cxn ang="0">
                <a:pos x="csX174" y="csY174"/>
              </a:cxn>
              <a:cxn ang="0">
                <a:pos x="csX175" y="csY175"/>
              </a:cxn>
              <a:cxn ang="0">
                <a:pos x="csX176" y="csY176"/>
              </a:cxn>
              <a:cxn ang="0">
                <a:pos x="csX177" y="csY177"/>
              </a:cxn>
              <a:cxn ang="0">
                <a:pos x="csX178" y="csY178"/>
              </a:cxn>
              <a:cxn ang="0">
                <a:pos x="csX179" y="csY179"/>
              </a:cxn>
              <a:cxn ang="0">
                <a:pos x="csX180" y="csY180"/>
              </a:cxn>
              <a:cxn ang="0">
                <a:pos x="csX181" y="csY181"/>
              </a:cxn>
              <a:cxn ang="0">
                <a:pos x="csX182" y="csY182"/>
              </a:cxn>
              <a:cxn ang="0">
                <a:pos x="csX183" y="csY183"/>
              </a:cxn>
              <a:cxn ang="0">
                <a:pos x="csX184" y="csY184"/>
              </a:cxn>
              <a:cxn ang="0">
                <a:pos x="csX185" y="csY185"/>
              </a:cxn>
              <a:cxn ang="0">
                <a:pos x="csX186" y="csY186"/>
              </a:cxn>
              <a:cxn ang="0">
                <a:pos x="csX187" y="csY187"/>
              </a:cxn>
              <a:cxn ang="0">
                <a:pos x="csX188" y="csY188"/>
              </a:cxn>
              <a:cxn ang="0">
                <a:pos x="csX189" y="csY189"/>
              </a:cxn>
              <a:cxn ang="0">
                <a:pos x="csX190" y="csY190"/>
              </a:cxn>
              <a:cxn ang="0">
                <a:pos x="csX191" y="csY191"/>
              </a:cxn>
              <a:cxn ang="0">
                <a:pos x="csX192" y="csY192"/>
              </a:cxn>
              <a:cxn ang="0">
                <a:pos x="csX193" y="csY193"/>
              </a:cxn>
              <a:cxn ang="0">
                <a:pos x="csX194" y="csY194"/>
              </a:cxn>
              <a:cxn ang="0">
                <a:pos x="csX195" y="csY195"/>
              </a:cxn>
              <a:cxn ang="0">
                <a:pos x="csX196" y="csY196"/>
              </a:cxn>
              <a:cxn ang="0">
                <a:pos x="csX197" y="csY197"/>
              </a:cxn>
              <a:cxn ang="0">
                <a:pos x="csX198" y="csY198"/>
              </a:cxn>
              <a:cxn ang="0">
                <a:pos x="csX199" y="csY199"/>
              </a:cxn>
              <a:cxn ang="0">
                <a:pos x="csX200" y="csY200"/>
              </a:cxn>
              <a:cxn ang="0">
                <a:pos x="csX201" y="csY201"/>
              </a:cxn>
              <a:cxn ang="0">
                <a:pos x="csX202" y="csY202"/>
              </a:cxn>
              <a:cxn ang="0">
                <a:pos x="csX203" y="csY203"/>
              </a:cxn>
              <a:cxn ang="0">
                <a:pos x="csX204" y="csY204"/>
              </a:cxn>
              <a:cxn ang="0">
                <a:pos x="csX205" y="csY205"/>
              </a:cxn>
              <a:cxn ang="0">
                <a:pos x="csX206" y="csY206"/>
              </a:cxn>
              <a:cxn ang="0">
                <a:pos x="csX207" y="csY207"/>
              </a:cxn>
              <a:cxn ang="0">
                <a:pos x="csX208" y="csY208"/>
              </a:cxn>
              <a:cxn ang="0">
                <a:pos x="csX209" y="csY209"/>
              </a:cxn>
              <a:cxn ang="0">
                <a:pos x="csX210" y="csY210"/>
              </a:cxn>
              <a:cxn ang="0">
                <a:pos x="csX211" y="csY211"/>
              </a:cxn>
              <a:cxn ang="0">
                <a:pos x="csX212" y="csY212"/>
              </a:cxn>
              <a:cxn ang="0">
                <a:pos x="csX213" y="csY213"/>
              </a:cxn>
              <a:cxn ang="0">
                <a:pos x="csX214" y="csY214"/>
              </a:cxn>
              <a:cxn ang="0">
                <a:pos x="csX215" y="csY215"/>
              </a:cxn>
              <a:cxn ang="0">
                <a:pos x="csX216" y="csY216"/>
              </a:cxn>
              <a:cxn ang="0">
                <a:pos x="csX217" y="csY217"/>
              </a:cxn>
              <a:cxn ang="0">
                <a:pos x="csX218" y="csY218"/>
              </a:cxn>
              <a:cxn ang="0">
                <a:pos x="csX219" y="csY219"/>
              </a:cxn>
              <a:cxn ang="0">
                <a:pos x="csX220" y="csY220"/>
              </a:cxn>
              <a:cxn ang="0">
                <a:pos x="csX221" y="csY221"/>
              </a:cxn>
              <a:cxn ang="0">
                <a:pos x="csX222" y="csY222"/>
              </a:cxn>
              <a:cxn ang="0">
                <a:pos x="csX223" y="csY223"/>
              </a:cxn>
              <a:cxn ang="0">
                <a:pos x="csX224" y="csY224"/>
              </a:cxn>
              <a:cxn ang="0">
                <a:pos x="csX225" y="csY225"/>
              </a:cxn>
              <a:cxn ang="0">
                <a:pos x="csX226" y="csY226"/>
              </a:cxn>
              <a:cxn ang="0">
                <a:pos x="csX227" y="csY227"/>
              </a:cxn>
              <a:cxn ang="0">
                <a:pos x="csX228" y="csY228"/>
              </a:cxn>
              <a:cxn ang="0">
                <a:pos x="csX229" y="csY229"/>
              </a:cxn>
              <a:cxn ang="0">
                <a:pos x="csX230" y="csY230"/>
              </a:cxn>
              <a:cxn ang="0">
                <a:pos x="csX231" y="csY231"/>
              </a:cxn>
              <a:cxn ang="0">
                <a:pos x="csX232" y="csY232"/>
              </a:cxn>
              <a:cxn ang="0">
                <a:pos x="csX233" y="csY233"/>
              </a:cxn>
              <a:cxn ang="0">
                <a:pos x="csX234" y="csY234"/>
              </a:cxn>
              <a:cxn ang="0">
                <a:pos x="csX235" y="csY235"/>
              </a:cxn>
              <a:cxn ang="0">
                <a:pos x="csX236" y="csY236"/>
              </a:cxn>
              <a:cxn ang="0">
                <a:pos x="csX237" y="csY237"/>
              </a:cxn>
              <a:cxn ang="0">
                <a:pos x="csX238" y="csY238"/>
              </a:cxn>
              <a:cxn ang="0">
                <a:pos x="csX239" y="csY239"/>
              </a:cxn>
              <a:cxn ang="0">
                <a:pos x="csX240" y="csY240"/>
              </a:cxn>
              <a:cxn ang="0">
                <a:pos x="csX241" y="csY241"/>
              </a:cxn>
              <a:cxn ang="0">
                <a:pos x="csX242" y="csY242"/>
              </a:cxn>
              <a:cxn ang="0">
                <a:pos x="csX243" y="csY243"/>
              </a:cxn>
              <a:cxn ang="0">
                <a:pos x="csX244" y="csY244"/>
              </a:cxn>
              <a:cxn ang="0">
                <a:pos x="csX245" y="csY245"/>
              </a:cxn>
              <a:cxn ang="0">
                <a:pos x="csX246" y="csY246"/>
              </a:cxn>
              <a:cxn ang="0">
                <a:pos x="csX247" y="csY247"/>
              </a:cxn>
              <a:cxn ang="0">
                <a:pos x="csX248" y="csY248"/>
              </a:cxn>
              <a:cxn ang="0">
                <a:pos x="csX249" y="csY249"/>
              </a:cxn>
              <a:cxn ang="0">
                <a:pos x="csX250" y="csY250"/>
              </a:cxn>
              <a:cxn ang="0">
                <a:pos x="csX251" y="csY251"/>
              </a:cxn>
              <a:cxn ang="0">
                <a:pos x="csX252" y="csY252"/>
              </a:cxn>
              <a:cxn ang="0">
                <a:pos x="csX253" y="csY253"/>
              </a:cxn>
              <a:cxn ang="0">
                <a:pos x="csX254" y="csY254"/>
              </a:cxn>
              <a:cxn ang="0">
                <a:pos x="csX255" y="csY255"/>
              </a:cxn>
              <a:cxn ang="0">
                <a:pos x="csX256" y="csY256"/>
              </a:cxn>
              <a:cxn ang="0">
                <a:pos x="csX257" y="csY257"/>
              </a:cxn>
              <a:cxn ang="0">
                <a:pos x="csX258" y="csY258"/>
              </a:cxn>
              <a:cxn ang="0">
                <a:pos x="csX259" y="csY259"/>
              </a:cxn>
              <a:cxn ang="0">
                <a:pos x="csX260" y="csY260"/>
              </a:cxn>
              <a:cxn ang="0">
                <a:pos x="csX261" y="csY261"/>
              </a:cxn>
              <a:cxn ang="0">
                <a:pos x="csX262" y="csY262"/>
              </a:cxn>
              <a:cxn ang="0">
                <a:pos x="csX263" y="csY263"/>
              </a:cxn>
              <a:cxn ang="0">
                <a:pos x="csX264" y="csY264"/>
              </a:cxn>
              <a:cxn ang="0">
                <a:pos x="csX265" y="csY265"/>
              </a:cxn>
              <a:cxn ang="0">
                <a:pos x="csX266" y="csY266"/>
              </a:cxn>
              <a:cxn ang="0">
                <a:pos x="csX267" y="csY267"/>
              </a:cxn>
              <a:cxn ang="0">
                <a:pos x="csX268" y="csY268"/>
              </a:cxn>
              <a:cxn ang="0">
                <a:pos x="csX269" y="csY269"/>
              </a:cxn>
              <a:cxn ang="0">
                <a:pos x="csX270" y="csY270"/>
              </a:cxn>
              <a:cxn ang="0">
                <a:pos x="csX271" y="csY271"/>
              </a:cxn>
              <a:cxn ang="0">
                <a:pos x="csX272" y="csY272"/>
              </a:cxn>
              <a:cxn ang="0">
                <a:pos x="csX273" y="csY273"/>
              </a:cxn>
              <a:cxn ang="0">
                <a:pos x="csX274" y="csY274"/>
              </a:cxn>
              <a:cxn ang="0">
                <a:pos x="csX275" y="csY275"/>
              </a:cxn>
              <a:cxn ang="0">
                <a:pos x="csX276" y="csY276"/>
              </a:cxn>
              <a:cxn ang="0">
                <a:pos x="csX277" y="csY277"/>
              </a:cxn>
              <a:cxn ang="0">
                <a:pos x="csX278" y="csY278"/>
              </a:cxn>
              <a:cxn ang="0">
                <a:pos x="csX279" y="csY279"/>
              </a:cxn>
              <a:cxn ang="0">
                <a:pos x="csX280" y="csY280"/>
              </a:cxn>
              <a:cxn ang="0">
                <a:pos x="csX281" y="csY281"/>
              </a:cxn>
              <a:cxn ang="0">
                <a:pos x="csX282" y="csY282"/>
              </a:cxn>
              <a:cxn ang="0">
                <a:pos x="csX283" y="csY283"/>
              </a:cxn>
              <a:cxn ang="0">
                <a:pos x="csX284" y="csY284"/>
              </a:cxn>
              <a:cxn ang="0">
                <a:pos x="csX285" y="csY285"/>
              </a:cxn>
              <a:cxn ang="0">
                <a:pos x="csX286" y="csY286"/>
              </a:cxn>
              <a:cxn ang="0">
                <a:pos x="csX287" y="csY287"/>
              </a:cxn>
              <a:cxn ang="0">
                <a:pos x="csX288" y="csY288"/>
              </a:cxn>
              <a:cxn ang="0">
                <a:pos x="csX289" y="csY289"/>
              </a:cxn>
              <a:cxn ang="0">
                <a:pos x="csX290" y="csY290"/>
              </a:cxn>
              <a:cxn ang="0">
                <a:pos x="csX291" y="csY291"/>
              </a:cxn>
              <a:cxn ang="0">
                <a:pos x="csX292" y="csY292"/>
              </a:cxn>
              <a:cxn ang="0">
                <a:pos x="csX293" y="csY293"/>
              </a:cxn>
              <a:cxn ang="0">
                <a:pos x="csX294" y="csY294"/>
              </a:cxn>
              <a:cxn ang="0">
                <a:pos x="csX295" y="csY295"/>
              </a:cxn>
              <a:cxn ang="0">
                <a:pos x="csX296" y="csY296"/>
              </a:cxn>
              <a:cxn ang="0">
                <a:pos x="csX297" y="csY297"/>
              </a:cxn>
              <a:cxn ang="0">
                <a:pos x="csX298" y="csY298"/>
              </a:cxn>
              <a:cxn ang="0">
                <a:pos x="csX299" y="csY299"/>
              </a:cxn>
              <a:cxn ang="0">
                <a:pos x="csX300" y="csY300"/>
              </a:cxn>
              <a:cxn ang="0">
                <a:pos x="csX301" y="csY301"/>
              </a:cxn>
              <a:cxn ang="0">
                <a:pos x="csX302" y="csY302"/>
              </a:cxn>
              <a:cxn ang="0">
                <a:pos x="csX303" y="csY303"/>
              </a:cxn>
              <a:cxn ang="0">
                <a:pos x="csX304" y="csY304"/>
              </a:cxn>
              <a:cxn ang="0">
                <a:pos x="csX305" y="csY305"/>
              </a:cxn>
              <a:cxn ang="0">
                <a:pos x="csX306" y="csY306"/>
              </a:cxn>
              <a:cxn ang="0">
                <a:pos x="csX307" y="csY307"/>
              </a:cxn>
              <a:cxn ang="0">
                <a:pos x="csX308" y="csY308"/>
              </a:cxn>
            </a:cxnLst>
            <a:rect l="l" t="t" r="r" b="b"/>
            <a:pathLst>
              <a:path w="1315852" h="3212801">
                <a:moveTo>
                  <a:pt x="898754" y="1637125"/>
                </a:moveTo>
                <a:cubicBezTo>
                  <a:pt x="899614" y="1640179"/>
                  <a:pt x="900338" y="1641975"/>
                  <a:pt x="900426" y="1643802"/>
                </a:cubicBezTo>
                <a:cubicBezTo>
                  <a:pt x="901475" y="1665651"/>
                  <a:pt x="902040" y="1687530"/>
                  <a:pt x="903549" y="1709345"/>
                </a:cubicBezTo>
                <a:cubicBezTo>
                  <a:pt x="904508" y="1723191"/>
                  <a:pt x="906945" y="1736929"/>
                  <a:pt x="908512" y="1750739"/>
                </a:cubicBezTo>
                <a:cubicBezTo>
                  <a:pt x="909768" y="1761809"/>
                  <a:pt x="910504" y="1772940"/>
                  <a:pt x="911839" y="1783999"/>
                </a:cubicBezTo>
                <a:cubicBezTo>
                  <a:pt x="914339" y="1804698"/>
                  <a:pt x="917061" y="1825371"/>
                  <a:pt x="919775" y="1846044"/>
                </a:cubicBezTo>
                <a:cubicBezTo>
                  <a:pt x="922673" y="1868112"/>
                  <a:pt x="925267" y="1890230"/>
                  <a:pt x="928724" y="1912212"/>
                </a:cubicBezTo>
                <a:cubicBezTo>
                  <a:pt x="933262" y="1941073"/>
                  <a:pt x="938122" y="1969897"/>
                  <a:pt x="943556" y="1998602"/>
                </a:cubicBezTo>
                <a:cubicBezTo>
                  <a:pt x="951321" y="2039621"/>
                  <a:pt x="959572" y="2080549"/>
                  <a:pt x="967918" y="2121455"/>
                </a:cubicBezTo>
                <a:cubicBezTo>
                  <a:pt x="974414" y="2153298"/>
                  <a:pt x="980861" y="2185166"/>
                  <a:pt x="988236" y="2216813"/>
                </a:cubicBezTo>
                <a:cubicBezTo>
                  <a:pt x="1001417" y="2273372"/>
                  <a:pt x="1015007" y="2329839"/>
                  <a:pt x="1028961" y="2386212"/>
                </a:cubicBezTo>
                <a:cubicBezTo>
                  <a:pt x="1037223" y="2419597"/>
                  <a:pt x="1046464" y="2452740"/>
                  <a:pt x="1055369" y="2485963"/>
                </a:cubicBezTo>
                <a:cubicBezTo>
                  <a:pt x="1057341" y="2493320"/>
                  <a:pt x="1060485" y="2498788"/>
                  <a:pt x="1069125" y="2501571"/>
                </a:cubicBezTo>
                <a:cubicBezTo>
                  <a:pt x="1081467" y="2505544"/>
                  <a:pt x="1093147" y="2511758"/>
                  <a:pt x="1104775" y="2517672"/>
                </a:cubicBezTo>
                <a:cubicBezTo>
                  <a:pt x="1109642" y="2520148"/>
                  <a:pt x="1114279" y="2523752"/>
                  <a:pt x="1117910" y="2527831"/>
                </a:cubicBezTo>
                <a:cubicBezTo>
                  <a:pt x="1124099" y="2534784"/>
                  <a:pt x="1126976" y="2542950"/>
                  <a:pt x="1122737" y="2552282"/>
                </a:cubicBezTo>
                <a:cubicBezTo>
                  <a:pt x="1120041" y="2558217"/>
                  <a:pt x="1118208" y="2564666"/>
                  <a:pt x="1114779" y="2570125"/>
                </a:cubicBezTo>
                <a:cubicBezTo>
                  <a:pt x="1104671" y="2586210"/>
                  <a:pt x="1107442" y="2602158"/>
                  <a:pt x="1114207" y="2618225"/>
                </a:cubicBezTo>
                <a:cubicBezTo>
                  <a:pt x="1121782" y="2636214"/>
                  <a:pt x="1134908" y="2650364"/>
                  <a:pt x="1148150" y="2663984"/>
                </a:cubicBezTo>
                <a:cubicBezTo>
                  <a:pt x="1166992" y="2683364"/>
                  <a:pt x="1187718" y="2700911"/>
                  <a:pt x="1206600" y="2720256"/>
                </a:cubicBezTo>
                <a:cubicBezTo>
                  <a:pt x="1242228" y="2756756"/>
                  <a:pt x="1266941" y="2799706"/>
                  <a:pt x="1275524" y="2850317"/>
                </a:cubicBezTo>
                <a:cubicBezTo>
                  <a:pt x="1278084" y="2865409"/>
                  <a:pt x="1281110" y="2880935"/>
                  <a:pt x="1277353" y="2897326"/>
                </a:cubicBezTo>
                <a:cubicBezTo>
                  <a:pt x="1274514" y="2909711"/>
                  <a:pt x="1274674" y="2923014"/>
                  <a:pt x="1271355" y="2935725"/>
                </a:cubicBezTo>
                <a:cubicBezTo>
                  <a:pt x="1269750" y="2941870"/>
                  <a:pt x="1270927" y="2948063"/>
                  <a:pt x="1274691" y="2954335"/>
                </a:cubicBezTo>
                <a:cubicBezTo>
                  <a:pt x="1288477" y="2977303"/>
                  <a:pt x="1297024" y="3002358"/>
                  <a:pt x="1301797" y="3028744"/>
                </a:cubicBezTo>
                <a:cubicBezTo>
                  <a:pt x="1305016" y="3046537"/>
                  <a:pt x="1309526" y="3064135"/>
                  <a:pt x="1311943" y="3082025"/>
                </a:cubicBezTo>
                <a:cubicBezTo>
                  <a:pt x="1314240" y="3099026"/>
                  <a:pt x="1314491" y="3116299"/>
                  <a:pt x="1315801" y="3133440"/>
                </a:cubicBezTo>
                <a:cubicBezTo>
                  <a:pt x="1316312" y="3140137"/>
                  <a:pt x="1313007" y="3144001"/>
                  <a:pt x="1307182" y="3146201"/>
                </a:cubicBezTo>
                <a:cubicBezTo>
                  <a:pt x="1298468" y="3149492"/>
                  <a:pt x="1289929" y="3153581"/>
                  <a:pt x="1280933" y="3155733"/>
                </a:cubicBezTo>
                <a:cubicBezTo>
                  <a:pt x="1243908" y="3164594"/>
                  <a:pt x="1206866" y="3173472"/>
                  <a:pt x="1169576" y="3181105"/>
                </a:cubicBezTo>
                <a:cubicBezTo>
                  <a:pt x="1145999" y="3185932"/>
                  <a:pt x="1122051" y="3189224"/>
                  <a:pt x="1098129" y="3192005"/>
                </a:cubicBezTo>
                <a:cubicBezTo>
                  <a:pt x="1074162" y="3194791"/>
                  <a:pt x="1050013" y="3195993"/>
                  <a:pt x="1025959" y="3198069"/>
                </a:cubicBezTo>
                <a:cubicBezTo>
                  <a:pt x="1007015" y="3199703"/>
                  <a:pt x="988093" y="3201610"/>
                  <a:pt x="969161" y="3203391"/>
                </a:cubicBezTo>
                <a:cubicBezTo>
                  <a:pt x="968232" y="3203478"/>
                  <a:pt x="967299" y="3203552"/>
                  <a:pt x="966367" y="3203587"/>
                </a:cubicBezTo>
                <a:cubicBezTo>
                  <a:pt x="941242" y="3204545"/>
                  <a:pt x="916121" y="3205640"/>
                  <a:pt x="890991" y="3206415"/>
                </a:cubicBezTo>
                <a:cubicBezTo>
                  <a:pt x="856053" y="3207494"/>
                  <a:pt x="820973" y="3206720"/>
                  <a:pt x="786197" y="3209641"/>
                </a:cubicBezTo>
                <a:cubicBezTo>
                  <a:pt x="730188" y="3214346"/>
                  <a:pt x="674133" y="3212833"/>
                  <a:pt x="618254" y="3211234"/>
                </a:cubicBezTo>
                <a:cubicBezTo>
                  <a:pt x="580962" y="3210166"/>
                  <a:pt x="543663" y="3210429"/>
                  <a:pt x="506392" y="3209195"/>
                </a:cubicBezTo>
                <a:cubicBezTo>
                  <a:pt x="485466" y="3208502"/>
                  <a:pt x="464553" y="3207412"/>
                  <a:pt x="443638" y="3206415"/>
                </a:cubicBezTo>
                <a:cubicBezTo>
                  <a:pt x="425522" y="3205552"/>
                  <a:pt x="407401" y="3204739"/>
                  <a:pt x="389301" y="3203597"/>
                </a:cubicBezTo>
                <a:cubicBezTo>
                  <a:pt x="361481" y="3201842"/>
                  <a:pt x="333617" y="3200446"/>
                  <a:pt x="305884" y="3197747"/>
                </a:cubicBezTo>
                <a:cubicBezTo>
                  <a:pt x="275907" y="3194830"/>
                  <a:pt x="246063" y="3190549"/>
                  <a:pt x="216151" y="3186940"/>
                </a:cubicBezTo>
                <a:cubicBezTo>
                  <a:pt x="191288" y="3183939"/>
                  <a:pt x="166206" y="3182205"/>
                  <a:pt x="141593" y="3177824"/>
                </a:cubicBezTo>
                <a:cubicBezTo>
                  <a:pt x="109171" y="3172054"/>
                  <a:pt x="77055" y="3164497"/>
                  <a:pt x="44929" y="3157176"/>
                </a:cubicBezTo>
                <a:cubicBezTo>
                  <a:pt x="33156" y="3154493"/>
                  <a:pt x="21711" y="3150349"/>
                  <a:pt x="10154" y="3146750"/>
                </a:cubicBezTo>
                <a:cubicBezTo>
                  <a:pt x="3067" y="3144544"/>
                  <a:pt x="-715" y="3140051"/>
                  <a:pt x="112" y="3132149"/>
                </a:cubicBezTo>
                <a:cubicBezTo>
                  <a:pt x="1898" y="3115092"/>
                  <a:pt x="2952" y="3097941"/>
                  <a:pt x="5263" y="3080960"/>
                </a:cubicBezTo>
                <a:cubicBezTo>
                  <a:pt x="7512" y="3064431"/>
                  <a:pt x="11458" y="3048135"/>
                  <a:pt x="13758" y="3031612"/>
                </a:cubicBezTo>
                <a:cubicBezTo>
                  <a:pt x="17373" y="3005647"/>
                  <a:pt x="28643" y="2982695"/>
                  <a:pt x="40996" y="2960204"/>
                </a:cubicBezTo>
                <a:cubicBezTo>
                  <a:pt x="43921" y="2954879"/>
                  <a:pt x="44978" y="2950688"/>
                  <a:pt x="43510" y="2944616"/>
                </a:cubicBezTo>
                <a:cubicBezTo>
                  <a:pt x="38022" y="2921926"/>
                  <a:pt x="34351" y="2898766"/>
                  <a:pt x="36916" y="2875457"/>
                </a:cubicBezTo>
                <a:cubicBezTo>
                  <a:pt x="38685" y="2859391"/>
                  <a:pt x="42237" y="2843358"/>
                  <a:pt x="46646" y="2827778"/>
                </a:cubicBezTo>
                <a:cubicBezTo>
                  <a:pt x="58040" y="2787514"/>
                  <a:pt x="79014" y="2752619"/>
                  <a:pt x="108895" y="2723307"/>
                </a:cubicBezTo>
                <a:cubicBezTo>
                  <a:pt x="135212" y="2697491"/>
                  <a:pt x="162086" y="2672243"/>
                  <a:pt x="188375" y="2646399"/>
                </a:cubicBezTo>
                <a:cubicBezTo>
                  <a:pt x="199778" y="2635188"/>
                  <a:pt x="207849" y="2622209"/>
                  <a:pt x="211535" y="2605867"/>
                </a:cubicBezTo>
                <a:cubicBezTo>
                  <a:pt x="214510" y="2592678"/>
                  <a:pt x="211592" y="2582100"/>
                  <a:pt x="205182" y="2571418"/>
                </a:cubicBezTo>
                <a:cubicBezTo>
                  <a:pt x="202318" y="2566645"/>
                  <a:pt x="198777" y="2562163"/>
                  <a:pt x="196651" y="2557085"/>
                </a:cubicBezTo>
                <a:cubicBezTo>
                  <a:pt x="190347" y="2542031"/>
                  <a:pt x="194717" y="2529077"/>
                  <a:pt x="209021" y="2521560"/>
                </a:cubicBezTo>
                <a:cubicBezTo>
                  <a:pt x="220978" y="2515277"/>
                  <a:pt x="233317" y="2509655"/>
                  <a:pt x="245764" y="2504395"/>
                </a:cubicBezTo>
                <a:cubicBezTo>
                  <a:pt x="254856" y="2500554"/>
                  <a:pt x="261020" y="2495272"/>
                  <a:pt x="263769" y="2485128"/>
                </a:cubicBezTo>
                <a:cubicBezTo>
                  <a:pt x="275569" y="2441581"/>
                  <a:pt x="288425" y="2398319"/>
                  <a:pt x="300045" y="2354726"/>
                </a:cubicBezTo>
                <a:cubicBezTo>
                  <a:pt x="309381" y="2319703"/>
                  <a:pt x="318110" y="2284492"/>
                  <a:pt x="326003" y="2249117"/>
                </a:cubicBezTo>
                <a:cubicBezTo>
                  <a:pt x="337625" y="2197029"/>
                  <a:pt x="348457" y="2144762"/>
                  <a:pt x="359250" y="2092493"/>
                </a:cubicBezTo>
                <a:cubicBezTo>
                  <a:pt x="365909" y="2060243"/>
                  <a:pt x="372293" y="2027924"/>
                  <a:pt x="378011" y="1995496"/>
                </a:cubicBezTo>
                <a:cubicBezTo>
                  <a:pt x="382679" y="1969018"/>
                  <a:pt x="386061" y="1942315"/>
                  <a:pt x="390230" y="1915745"/>
                </a:cubicBezTo>
                <a:cubicBezTo>
                  <a:pt x="393606" y="1894227"/>
                  <a:pt x="397846" y="1872831"/>
                  <a:pt x="400702" y="1851249"/>
                </a:cubicBezTo>
                <a:cubicBezTo>
                  <a:pt x="403440" y="1830558"/>
                  <a:pt x="404754" y="1809683"/>
                  <a:pt x="406954" y="1788916"/>
                </a:cubicBezTo>
                <a:cubicBezTo>
                  <a:pt x="408419" y="1775096"/>
                  <a:pt x="410485" y="1761340"/>
                  <a:pt x="412016" y="1747526"/>
                </a:cubicBezTo>
                <a:cubicBezTo>
                  <a:pt x="413295" y="1735991"/>
                  <a:pt x="414503" y="1724431"/>
                  <a:pt x="415185" y="1712850"/>
                </a:cubicBezTo>
                <a:cubicBezTo>
                  <a:pt x="416387" y="1692414"/>
                  <a:pt x="416884" y="1671935"/>
                  <a:pt x="418197" y="1651507"/>
                </a:cubicBezTo>
                <a:cubicBezTo>
                  <a:pt x="419655" y="1628814"/>
                  <a:pt x="422378" y="1606186"/>
                  <a:pt x="423324" y="1583479"/>
                </a:cubicBezTo>
                <a:cubicBezTo>
                  <a:pt x="424797" y="1548109"/>
                  <a:pt x="425243" y="1512695"/>
                  <a:pt x="426059" y="1477299"/>
                </a:cubicBezTo>
                <a:cubicBezTo>
                  <a:pt x="426077" y="1476493"/>
                  <a:pt x="425310" y="1475668"/>
                  <a:pt x="424204" y="1473415"/>
                </a:cubicBezTo>
                <a:cubicBezTo>
                  <a:pt x="413635" y="1472358"/>
                  <a:pt x="402157" y="1471516"/>
                  <a:pt x="390769" y="1470003"/>
                </a:cubicBezTo>
                <a:cubicBezTo>
                  <a:pt x="369635" y="1467195"/>
                  <a:pt x="348419" y="1464707"/>
                  <a:pt x="327487" y="1460760"/>
                </a:cubicBezTo>
                <a:cubicBezTo>
                  <a:pt x="305605" y="1456634"/>
                  <a:pt x="286603" y="1433026"/>
                  <a:pt x="289037" y="1410705"/>
                </a:cubicBezTo>
                <a:cubicBezTo>
                  <a:pt x="290343" y="1398733"/>
                  <a:pt x="289247" y="1386137"/>
                  <a:pt x="292610" y="1374826"/>
                </a:cubicBezTo>
                <a:cubicBezTo>
                  <a:pt x="299584" y="1351367"/>
                  <a:pt x="313866" y="1331810"/>
                  <a:pt x="335365" y="1319956"/>
                </a:cubicBezTo>
                <a:cubicBezTo>
                  <a:pt x="349736" y="1312032"/>
                  <a:pt x="355513" y="1300196"/>
                  <a:pt x="358966" y="1286091"/>
                </a:cubicBezTo>
                <a:cubicBezTo>
                  <a:pt x="363751" y="1266546"/>
                  <a:pt x="376163" y="1252003"/>
                  <a:pt x="390267" y="1239202"/>
                </a:cubicBezTo>
                <a:cubicBezTo>
                  <a:pt x="404675" y="1226125"/>
                  <a:pt x="421167" y="1215364"/>
                  <a:pt x="435898" y="1202610"/>
                </a:cubicBezTo>
                <a:cubicBezTo>
                  <a:pt x="439929" y="1199120"/>
                  <a:pt x="441515" y="1192282"/>
                  <a:pt x="443089" y="1186662"/>
                </a:cubicBezTo>
                <a:cubicBezTo>
                  <a:pt x="444184" y="1182756"/>
                  <a:pt x="443471" y="1178302"/>
                  <a:pt x="443336" y="1174100"/>
                </a:cubicBezTo>
                <a:cubicBezTo>
                  <a:pt x="443002" y="1163708"/>
                  <a:pt x="442564" y="1164032"/>
                  <a:pt x="432713" y="1161284"/>
                </a:cubicBezTo>
                <a:cubicBezTo>
                  <a:pt x="423812" y="1158801"/>
                  <a:pt x="415102" y="1155322"/>
                  <a:pt x="406712" y="1151413"/>
                </a:cubicBezTo>
                <a:cubicBezTo>
                  <a:pt x="398571" y="1147621"/>
                  <a:pt x="396617" y="1143812"/>
                  <a:pt x="399212" y="1135845"/>
                </a:cubicBezTo>
                <a:cubicBezTo>
                  <a:pt x="401786" y="1127943"/>
                  <a:pt x="404616" y="1119485"/>
                  <a:pt x="409719" y="1113213"/>
                </a:cubicBezTo>
                <a:cubicBezTo>
                  <a:pt x="415540" y="1106060"/>
                  <a:pt x="416443" y="1098866"/>
                  <a:pt x="414650" y="1091062"/>
                </a:cubicBezTo>
                <a:cubicBezTo>
                  <a:pt x="410906" y="1074773"/>
                  <a:pt x="407015" y="1058465"/>
                  <a:pt x="402048" y="1042520"/>
                </a:cubicBezTo>
                <a:cubicBezTo>
                  <a:pt x="390546" y="1005592"/>
                  <a:pt x="378091" y="968962"/>
                  <a:pt x="366526" y="932054"/>
                </a:cubicBezTo>
                <a:cubicBezTo>
                  <a:pt x="345804" y="865923"/>
                  <a:pt x="325665" y="799609"/>
                  <a:pt x="304855" y="733506"/>
                </a:cubicBezTo>
                <a:cubicBezTo>
                  <a:pt x="294926" y="701966"/>
                  <a:pt x="283362" y="670934"/>
                  <a:pt x="273722" y="639312"/>
                </a:cubicBezTo>
                <a:cubicBezTo>
                  <a:pt x="262471" y="602404"/>
                  <a:pt x="251509" y="565342"/>
                  <a:pt x="242525" y="527843"/>
                </a:cubicBezTo>
                <a:cubicBezTo>
                  <a:pt x="239293" y="514353"/>
                  <a:pt x="237774" y="498828"/>
                  <a:pt x="245838" y="485521"/>
                </a:cubicBezTo>
                <a:cubicBezTo>
                  <a:pt x="248810" y="480617"/>
                  <a:pt x="253278" y="475342"/>
                  <a:pt x="258319" y="473233"/>
                </a:cubicBezTo>
                <a:cubicBezTo>
                  <a:pt x="268936" y="468788"/>
                  <a:pt x="280185" y="464871"/>
                  <a:pt x="291527" y="463336"/>
                </a:cubicBezTo>
                <a:cubicBezTo>
                  <a:pt x="318626" y="459667"/>
                  <a:pt x="345903" y="457192"/>
                  <a:pt x="373160" y="454842"/>
                </a:cubicBezTo>
                <a:cubicBezTo>
                  <a:pt x="391221" y="453285"/>
                  <a:pt x="409382" y="452934"/>
                  <a:pt x="427480" y="451758"/>
                </a:cubicBezTo>
                <a:cubicBezTo>
                  <a:pt x="444131" y="450676"/>
                  <a:pt x="460757" y="449212"/>
                  <a:pt x="477998" y="447870"/>
                </a:cubicBezTo>
                <a:cubicBezTo>
                  <a:pt x="478532" y="446298"/>
                  <a:pt x="479654" y="444590"/>
                  <a:pt x="479585" y="442932"/>
                </a:cubicBezTo>
                <a:cubicBezTo>
                  <a:pt x="479223" y="434201"/>
                  <a:pt x="480208" y="426475"/>
                  <a:pt x="488907" y="421401"/>
                </a:cubicBezTo>
                <a:cubicBezTo>
                  <a:pt x="493200" y="418897"/>
                  <a:pt x="494755" y="414446"/>
                  <a:pt x="492315" y="409196"/>
                </a:cubicBezTo>
                <a:cubicBezTo>
                  <a:pt x="489226" y="402552"/>
                  <a:pt x="492501" y="398939"/>
                  <a:pt x="498582" y="396231"/>
                </a:cubicBezTo>
                <a:cubicBezTo>
                  <a:pt x="513139" y="389749"/>
                  <a:pt x="523218" y="378073"/>
                  <a:pt x="531424" y="365066"/>
                </a:cubicBezTo>
                <a:cubicBezTo>
                  <a:pt x="543844" y="345378"/>
                  <a:pt x="555388" y="325136"/>
                  <a:pt x="567201" y="305069"/>
                </a:cubicBezTo>
                <a:cubicBezTo>
                  <a:pt x="571692" y="297440"/>
                  <a:pt x="576215" y="289801"/>
                  <a:pt x="580157" y="281885"/>
                </a:cubicBezTo>
                <a:cubicBezTo>
                  <a:pt x="585924" y="270307"/>
                  <a:pt x="585466" y="269028"/>
                  <a:pt x="575177" y="258759"/>
                </a:cubicBezTo>
                <a:cubicBezTo>
                  <a:pt x="540669" y="263385"/>
                  <a:pt x="508449" y="279582"/>
                  <a:pt x="472048" y="283266"/>
                </a:cubicBezTo>
                <a:cubicBezTo>
                  <a:pt x="468926" y="225961"/>
                  <a:pt x="477230" y="170326"/>
                  <a:pt x="473659" y="112243"/>
                </a:cubicBezTo>
                <a:cubicBezTo>
                  <a:pt x="479647" y="113333"/>
                  <a:pt x="483524" y="113631"/>
                  <a:pt x="487139" y="114763"/>
                </a:cubicBezTo>
                <a:cubicBezTo>
                  <a:pt x="514644" y="123375"/>
                  <a:pt x="541992" y="132503"/>
                  <a:pt x="569608" y="140735"/>
                </a:cubicBezTo>
                <a:cubicBezTo>
                  <a:pt x="584612" y="145208"/>
                  <a:pt x="590199" y="139652"/>
                  <a:pt x="585180" y="124742"/>
                </a:cubicBezTo>
                <a:cubicBezTo>
                  <a:pt x="578949" y="106227"/>
                  <a:pt x="571109" y="88251"/>
                  <a:pt x="563868" y="70080"/>
                </a:cubicBezTo>
                <a:cubicBezTo>
                  <a:pt x="558214" y="55891"/>
                  <a:pt x="552416" y="41758"/>
                  <a:pt x="546041" y="26021"/>
                </a:cubicBezTo>
                <a:cubicBezTo>
                  <a:pt x="554662" y="23284"/>
                  <a:pt x="561452" y="20680"/>
                  <a:pt x="568462" y="18986"/>
                </a:cubicBezTo>
                <a:cubicBezTo>
                  <a:pt x="591481" y="13422"/>
                  <a:pt x="614656" y="8495"/>
                  <a:pt x="637623" y="2731"/>
                </a:cubicBezTo>
                <a:cubicBezTo>
                  <a:pt x="656287" y="-1953"/>
                  <a:pt x="674559" y="-81"/>
                  <a:pt x="692817" y="4346"/>
                </a:cubicBezTo>
                <a:cubicBezTo>
                  <a:pt x="714944" y="9710"/>
                  <a:pt x="737021" y="15284"/>
                  <a:pt x="759126" y="20739"/>
                </a:cubicBezTo>
                <a:cubicBezTo>
                  <a:pt x="763594" y="21842"/>
                  <a:pt x="768092" y="22819"/>
                  <a:pt x="774460" y="24289"/>
                </a:cubicBezTo>
                <a:cubicBezTo>
                  <a:pt x="766727" y="43585"/>
                  <a:pt x="759317" y="62457"/>
                  <a:pt x="751608" y="81205"/>
                </a:cubicBezTo>
                <a:cubicBezTo>
                  <a:pt x="743947" y="99838"/>
                  <a:pt x="734803" y="117984"/>
                  <a:pt x="731002" y="141135"/>
                </a:cubicBezTo>
                <a:cubicBezTo>
                  <a:pt x="739490" y="139636"/>
                  <a:pt x="744805" y="139073"/>
                  <a:pt x="749917" y="137732"/>
                </a:cubicBezTo>
                <a:cubicBezTo>
                  <a:pt x="778702" y="130182"/>
                  <a:pt x="807436" y="122435"/>
                  <a:pt x="836197" y="114792"/>
                </a:cubicBezTo>
                <a:cubicBezTo>
                  <a:pt x="838352" y="114219"/>
                  <a:pt x="840584" y="113934"/>
                  <a:pt x="843209" y="113433"/>
                </a:cubicBezTo>
                <a:cubicBezTo>
                  <a:pt x="843710" y="115876"/>
                  <a:pt x="844352" y="117648"/>
                  <a:pt x="844400" y="119435"/>
                </a:cubicBezTo>
                <a:cubicBezTo>
                  <a:pt x="845405" y="157181"/>
                  <a:pt x="846208" y="194932"/>
                  <a:pt x="847390" y="232672"/>
                </a:cubicBezTo>
                <a:cubicBezTo>
                  <a:pt x="847695" y="242389"/>
                  <a:pt x="849334" y="252058"/>
                  <a:pt x="850015" y="261773"/>
                </a:cubicBezTo>
                <a:cubicBezTo>
                  <a:pt x="850401" y="267273"/>
                  <a:pt x="850085" y="272822"/>
                  <a:pt x="850085" y="280220"/>
                </a:cubicBezTo>
                <a:cubicBezTo>
                  <a:pt x="837463" y="277293"/>
                  <a:pt x="826347" y="274822"/>
                  <a:pt x="815285" y="272127"/>
                </a:cubicBezTo>
                <a:cubicBezTo>
                  <a:pt x="795873" y="267398"/>
                  <a:pt x="776299" y="263181"/>
                  <a:pt x="757181" y="257455"/>
                </a:cubicBezTo>
                <a:cubicBezTo>
                  <a:pt x="747363" y="254515"/>
                  <a:pt x="739983" y="255620"/>
                  <a:pt x="732939" y="263859"/>
                </a:cubicBezTo>
                <a:cubicBezTo>
                  <a:pt x="735150" y="269003"/>
                  <a:pt x="737509" y="274491"/>
                  <a:pt x="739871" y="279988"/>
                </a:cubicBezTo>
                <a:cubicBezTo>
                  <a:pt x="735196" y="284033"/>
                  <a:pt x="730592" y="288016"/>
                  <a:pt x="725900" y="292074"/>
                </a:cubicBezTo>
                <a:cubicBezTo>
                  <a:pt x="731987" y="302329"/>
                  <a:pt x="739718" y="300546"/>
                  <a:pt x="747132" y="298017"/>
                </a:cubicBezTo>
                <a:cubicBezTo>
                  <a:pt x="758463" y="305429"/>
                  <a:pt x="762190" y="317570"/>
                  <a:pt x="768268" y="327815"/>
                </a:cubicBezTo>
                <a:cubicBezTo>
                  <a:pt x="774924" y="339037"/>
                  <a:pt x="780217" y="351080"/>
                  <a:pt x="785901" y="362862"/>
                </a:cubicBezTo>
                <a:cubicBezTo>
                  <a:pt x="788639" y="368539"/>
                  <a:pt x="792017" y="372441"/>
                  <a:pt x="798627" y="374591"/>
                </a:cubicBezTo>
                <a:cubicBezTo>
                  <a:pt x="809488" y="378123"/>
                  <a:pt x="810054" y="379498"/>
                  <a:pt x="815580" y="387899"/>
                </a:cubicBezTo>
                <a:cubicBezTo>
                  <a:pt x="814864" y="388896"/>
                  <a:pt x="814194" y="390825"/>
                  <a:pt x="813282" y="390947"/>
                </a:cubicBezTo>
                <a:cubicBezTo>
                  <a:pt x="801085" y="392587"/>
                  <a:pt x="788983" y="395969"/>
                  <a:pt x="776501" y="393213"/>
                </a:cubicBezTo>
                <a:cubicBezTo>
                  <a:pt x="752021" y="387807"/>
                  <a:pt x="727631" y="382034"/>
                  <a:pt x="702336" y="381496"/>
                </a:cubicBezTo>
                <a:cubicBezTo>
                  <a:pt x="688886" y="381209"/>
                  <a:pt x="675464" y="379722"/>
                  <a:pt x="662021" y="378921"/>
                </a:cubicBezTo>
                <a:cubicBezTo>
                  <a:pt x="656307" y="378581"/>
                  <a:pt x="651557" y="380270"/>
                  <a:pt x="651111" y="386942"/>
                </a:cubicBezTo>
                <a:cubicBezTo>
                  <a:pt x="649994" y="403641"/>
                  <a:pt x="648739" y="420346"/>
                  <a:pt x="648295" y="437069"/>
                </a:cubicBezTo>
                <a:cubicBezTo>
                  <a:pt x="648034" y="446937"/>
                  <a:pt x="650047" y="448870"/>
                  <a:pt x="659561" y="448907"/>
                </a:cubicBezTo>
                <a:cubicBezTo>
                  <a:pt x="706308" y="449089"/>
                  <a:pt x="753056" y="448964"/>
                  <a:pt x="799805" y="449022"/>
                </a:cubicBezTo>
                <a:cubicBezTo>
                  <a:pt x="806377" y="449030"/>
                  <a:pt x="809905" y="446744"/>
                  <a:pt x="811083" y="439581"/>
                </a:cubicBezTo>
                <a:cubicBezTo>
                  <a:pt x="811941" y="434369"/>
                  <a:pt x="814063" y="427618"/>
                  <a:pt x="817945" y="425008"/>
                </a:cubicBezTo>
                <a:cubicBezTo>
                  <a:pt x="826399" y="419324"/>
                  <a:pt x="828426" y="411596"/>
                  <a:pt x="828609" y="403122"/>
                </a:cubicBezTo>
                <a:cubicBezTo>
                  <a:pt x="833858" y="400461"/>
                  <a:pt x="837181" y="402725"/>
                  <a:pt x="838374" y="406435"/>
                </a:cubicBezTo>
                <a:cubicBezTo>
                  <a:pt x="840905" y="414312"/>
                  <a:pt x="843515" y="422394"/>
                  <a:pt x="844275" y="430561"/>
                </a:cubicBezTo>
                <a:cubicBezTo>
                  <a:pt x="845704" y="445903"/>
                  <a:pt x="850511" y="450005"/>
                  <a:pt x="865761" y="447068"/>
                </a:cubicBezTo>
                <a:cubicBezTo>
                  <a:pt x="872626" y="445746"/>
                  <a:pt x="878915" y="445539"/>
                  <a:pt x="885673" y="449965"/>
                </a:cubicBezTo>
                <a:cubicBezTo>
                  <a:pt x="890708" y="453263"/>
                  <a:pt x="898041" y="453271"/>
                  <a:pt x="904428" y="454230"/>
                </a:cubicBezTo>
                <a:cubicBezTo>
                  <a:pt x="913142" y="455538"/>
                  <a:pt x="921904" y="456741"/>
                  <a:pt x="930689" y="457318"/>
                </a:cubicBezTo>
                <a:cubicBezTo>
                  <a:pt x="967829" y="459759"/>
                  <a:pt x="1003019" y="469066"/>
                  <a:pt x="1036296" y="485877"/>
                </a:cubicBezTo>
                <a:cubicBezTo>
                  <a:pt x="1057129" y="496401"/>
                  <a:pt x="1071673" y="512633"/>
                  <a:pt x="1076027" y="535212"/>
                </a:cubicBezTo>
                <a:cubicBezTo>
                  <a:pt x="1078694" y="549043"/>
                  <a:pt x="1078298" y="564366"/>
                  <a:pt x="1075403" y="578208"/>
                </a:cubicBezTo>
                <a:cubicBezTo>
                  <a:pt x="1064597" y="629873"/>
                  <a:pt x="1044688" y="678854"/>
                  <a:pt x="1028317" y="728867"/>
                </a:cubicBezTo>
                <a:cubicBezTo>
                  <a:pt x="1014112" y="772262"/>
                  <a:pt x="998310" y="815132"/>
                  <a:pt x="983498" y="858331"/>
                </a:cubicBezTo>
                <a:cubicBezTo>
                  <a:pt x="971714" y="892697"/>
                  <a:pt x="959865" y="927055"/>
                  <a:pt x="948940" y="961698"/>
                </a:cubicBezTo>
                <a:cubicBezTo>
                  <a:pt x="935780" y="1003426"/>
                  <a:pt x="923502" y="1045433"/>
                  <a:pt x="911066" y="1087385"/>
                </a:cubicBezTo>
                <a:cubicBezTo>
                  <a:pt x="910087" y="1090688"/>
                  <a:pt x="910738" y="1094511"/>
                  <a:pt x="910828" y="1098086"/>
                </a:cubicBezTo>
                <a:cubicBezTo>
                  <a:pt x="911096" y="1108800"/>
                  <a:pt x="911984" y="1119535"/>
                  <a:pt x="911498" y="1130209"/>
                </a:cubicBezTo>
                <a:cubicBezTo>
                  <a:pt x="911333" y="1133841"/>
                  <a:pt x="908325" y="1137771"/>
                  <a:pt x="905716" y="1140786"/>
                </a:cubicBezTo>
                <a:cubicBezTo>
                  <a:pt x="896689" y="1151217"/>
                  <a:pt x="895625" y="1160669"/>
                  <a:pt x="904041" y="1171694"/>
                </a:cubicBezTo>
                <a:cubicBezTo>
                  <a:pt x="912211" y="1182398"/>
                  <a:pt x="921368" y="1192341"/>
                  <a:pt x="929797" y="1202854"/>
                </a:cubicBezTo>
                <a:cubicBezTo>
                  <a:pt x="945705" y="1222696"/>
                  <a:pt x="952969" y="1246039"/>
                  <a:pt x="956714" y="1270749"/>
                </a:cubicBezTo>
                <a:cubicBezTo>
                  <a:pt x="957687" y="1277170"/>
                  <a:pt x="957779" y="1283963"/>
                  <a:pt x="960074" y="1289888"/>
                </a:cubicBezTo>
                <a:cubicBezTo>
                  <a:pt x="963075" y="1297631"/>
                  <a:pt x="967750" y="1304358"/>
                  <a:pt x="975795" y="1308746"/>
                </a:cubicBezTo>
                <a:cubicBezTo>
                  <a:pt x="985143" y="1313846"/>
                  <a:pt x="994116" y="1319926"/>
                  <a:pt x="1002397" y="1326635"/>
                </a:cubicBezTo>
                <a:cubicBezTo>
                  <a:pt x="1030424" y="1349343"/>
                  <a:pt x="1038408" y="1401530"/>
                  <a:pt x="1018686" y="1435905"/>
                </a:cubicBezTo>
                <a:cubicBezTo>
                  <a:pt x="1013500" y="1444943"/>
                  <a:pt x="1005098" y="1450152"/>
                  <a:pt x="996257" y="1454107"/>
                </a:cubicBezTo>
                <a:cubicBezTo>
                  <a:pt x="988281" y="1457674"/>
                  <a:pt x="979503" y="1460398"/>
                  <a:pt x="970849" y="1461303"/>
                </a:cubicBezTo>
                <a:cubicBezTo>
                  <a:pt x="953296" y="1463139"/>
                  <a:pt x="935587" y="1463487"/>
                  <a:pt x="917943" y="1464461"/>
                </a:cubicBezTo>
                <a:cubicBezTo>
                  <a:pt x="913762" y="1464691"/>
                  <a:pt x="909478" y="1464482"/>
                  <a:pt x="905433" y="1465358"/>
                </a:cubicBezTo>
                <a:cubicBezTo>
                  <a:pt x="901150" y="1466287"/>
                  <a:pt x="897709" y="1468792"/>
                  <a:pt x="897863" y="1474014"/>
                </a:cubicBezTo>
                <a:cubicBezTo>
                  <a:pt x="897877" y="1474480"/>
                  <a:pt x="897822" y="1474948"/>
                  <a:pt x="897812" y="1475415"/>
                </a:cubicBezTo>
                <a:cubicBezTo>
                  <a:pt x="897511" y="1490282"/>
                  <a:pt x="898056" y="1504999"/>
                  <a:pt x="895549" y="1519988"/>
                </a:cubicBezTo>
                <a:cubicBezTo>
                  <a:pt x="893039" y="1534995"/>
                  <a:pt x="894597" y="1550763"/>
                  <a:pt x="895093" y="1566174"/>
                </a:cubicBezTo>
                <a:cubicBezTo>
                  <a:pt x="895841" y="1589420"/>
                  <a:pt x="897215" y="1612646"/>
                  <a:pt x="898754" y="1637125"/>
                </a:cubicBezTo>
                <a:moveTo>
                  <a:pt x="654604" y="2329281"/>
                </a:moveTo>
                <a:cubicBezTo>
                  <a:pt x="652015" y="2310116"/>
                  <a:pt x="655822" y="2290495"/>
                  <a:pt x="650429" y="2271391"/>
                </a:cubicBezTo>
                <a:cubicBezTo>
                  <a:pt x="648307" y="2277580"/>
                  <a:pt x="648156" y="2283761"/>
                  <a:pt x="648148" y="2289942"/>
                </a:cubicBezTo>
                <a:cubicBezTo>
                  <a:pt x="648117" y="2315944"/>
                  <a:pt x="648093" y="2341946"/>
                  <a:pt x="648156" y="2367948"/>
                </a:cubicBezTo>
                <a:cubicBezTo>
                  <a:pt x="648168" y="2372820"/>
                  <a:pt x="646633" y="2378876"/>
                  <a:pt x="655577" y="2381454"/>
                </a:cubicBezTo>
                <a:cubicBezTo>
                  <a:pt x="655560" y="2389285"/>
                  <a:pt x="655756" y="2397123"/>
                  <a:pt x="655485" y="2404945"/>
                </a:cubicBezTo>
                <a:cubicBezTo>
                  <a:pt x="654880" y="2422378"/>
                  <a:pt x="654042" y="2439804"/>
                  <a:pt x="651805" y="2455510"/>
                </a:cubicBezTo>
                <a:cubicBezTo>
                  <a:pt x="651527" y="2435450"/>
                  <a:pt x="651319" y="2415390"/>
                  <a:pt x="650902" y="2395333"/>
                </a:cubicBezTo>
                <a:cubicBezTo>
                  <a:pt x="650837" y="2392220"/>
                  <a:pt x="649823" y="2389127"/>
                  <a:pt x="649248" y="2386025"/>
                </a:cubicBezTo>
                <a:cubicBezTo>
                  <a:pt x="647943" y="2386187"/>
                  <a:pt x="646638" y="2386350"/>
                  <a:pt x="645333" y="2386512"/>
                </a:cubicBezTo>
                <a:cubicBezTo>
                  <a:pt x="645333" y="2390961"/>
                  <a:pt x="645334" y="2395409"/>
                  <a:pt x="645333" y="2399858"/>
                </a:cubicBezTo>
                <a:cubicBezTo>
                  <a:pt x="645326" y="2423694"/>
                  <a:pt x="645418" y="2447532"/>
                  <a:pt x="645232" y="2471367"/>
                </a:cubicBezTo>
                <a:cubicBezTo>
                  <a:pt x="645193" y="2476432"/>
                  <a:pt x="644504" y="2481563"/>
                  <a:pt x="643489" y="2486535"/>
                </a:cubicBezTo>
                <a:cubicBezTo>
                  <a:pt x="639304" y="2507036"/>
                  <a:pt x="642157" y="2510950"/>
                  <a:pt x="662548" y="2510760"/>
                </a:cubicBezTo>
                <a:cubicBezTo>
                  <a:pt x="755908" y="2509888"/>
                  <a:pt x="849266" y="2508878"/>
                  <a:pt x="942625" y="2507990"/>
                </a:cubicBezTo>
                <a:cubicBezTo>
                  <a:pt x="960852" y="2507816"/>
                  <a:pt x="979082" y="2508002"/>
                  <a:pt x="997309" y="2507928"/>
                </a:cubicBezTo>
                <a:cubicBezTo>
                  <a:pt x="1001871" y="2507910"/>
                  <a:pt x="1006430" y="2507531"/>
                  <a:pt x="1012693" y="2507237"/>
                </a:cubicBezTo>
                <a:cubicBezTo>
                  <a:pt x="1012056" y="2501789"/>
                  <a:pt x="1012084" y="2497264"/>
                  <a:pt x="1010948" y="2493054"/>
                </a:cubicBezTo>
                <a:cubicBezTo>
                  <a:pt x="1001379" y="2457588"/>
                  <a:pt x="991103" y="2422306"/>
                  <a:pt x="982017" y="2386719"/>
                </a:cubicBezTo>
                <a:cubicBezTo>
                  <a:pt x="972598" y="2349832"/>
                  <a:pt x="963965" y="2312735"/>
                  <a:pt x="955543" y="2275604"/>
                </a:cubicBezTo>
                <a:cubicBezTo>
                  <a:pt x="944249" y="2225808"/>
                  <a:pt x="933022" y="2175988"/>
                  <a:pt x="922638" y="2125997"/>
                </a:cubicBezTo>
                <a:cubicBezTo>
                  <a:pt x="913587" y="2082421"/>
                  <a:pt x="905382" y="2038659"/>
                  <a:pt x="897474" y="1994858"/>
                </a:cubicBezTo>
                <a:cubicBezTo>
                  <a:pt x="890476" y="1956093"/>
                  <a:pt x="883980" y="1917224"/>
                  <a:pt x="878061" y="1878280"/>
                </a:cubicBezTo>
                <a:cubicBezTo>
                  <a:pt x="873675" y="1849428"/>
                  <a:pt x="870415" y="1820399"/>
                  <a:pt x="866965" y="1791411"/>
                </a:cubicBezTo>
                <a:cubicBezTo>
                  <a:pt x="865539" y="1779434"/>
                  <a:pt x="865114" y="1767342"/>
                  <a:pt x="863902" y="1755335"/>
                </a:cubicBezTo>
                <a:cubicBezTo>
                  <a:pt x="861296" y="1729506"/>
                  <a:pt x="857509" y="1703754"/>
                  <a:pt x="855983" y="1677866"/>
                </a:cubicBezTo>
                <a:cubicBezTo>
                  <a:pt x="854037" y="1644859"/>
                  <a:pt x="853904" y="1611748"/>
                  <a:pt x="852873" y="1578685"/>
                </a:cubicBezTo>
                <a:cubicBezTo>
                  <a:pt x="852423" y="1564271"/>
                  <a:pt x="849465" y="1549523"/>
                  <a:pt x="851635" y="1535546"/>
                </a:cubicBezTo>
                <a:cubicBezTo>
                  <a:pt x="854359" y="1517991"/>
                  <a:pt x="850206" y="1501278"/>
                  <a:pt x="850039" y="1484182"/>
                </a:cubicBezTo>
                <a:cubicBezTo>
                  <a:pt x="850005" y="1480667"/>
                  <a:pt x="849101" y="1477161"/>
                  <a:pt x="848486" y="1472876"/>
                </a:cubicBezTo>
                <a:cubicBezTo>
                  <a:pt x="842279" y="1472876"/>
                  <a:pt x="837173" y="1472798"/>
                  <a:pt x="832070" y="1472888"/>
                </a:cubicBezTo>
                <a:cubicBezTo>
                  <a:pt x="780308" y="1473806"/>
                  <a:pt x="728546" y="1474749"/>
                  <a:pt x="676784" y="1475691"/>
                </a:cubicBezTo>
                <a:cubicBezTo>
                  <a:pt x="663422" y="1475935"/>
                  <a:pt x="662442" y="1476899"/>
                  <a:pt x="662172" y="1490031"/>
                </a:cubicBezTo>
                <a:cubicBezTo>
                  <a:pt x="662124" y="1492367"/>
                  <a:pt x="662222" y="1494706"/>
                  <a:pt x="662153" y="1497041"/>
                </a:cubicBezTo>
                <a:cubicBezTo>
                  <a:pt x="660720" y="1545521"/>
                  <a:pt x="663794" y="1593996"/>
                  <a:pt x="659832" y="1642548"/>
                </a:cubicBezTo>
                <a:cubicBezTo>
                  <a:pt x="656616" y="1681972"/>
                  <a:pt x="657530" y="1721730"/>
                  <a:pt x="656544" y="1761338"/>
                </a:cubicBezTo>
                <a:cubicBezTo>
                  <a:pt x="655035" y="1821971"/>
                  <a:pt x="657667" y="1882583"/>
                  <a:pt x="654344" y="1943296"/>
                </a:cubicBezTo>
                <a:cubicBezTo>
                  <a:pt x="650802" y="2008002"/>
                  <a:pt x="651715" y="2072959"/>
                  <a:pt x="651002" y="2137811"/>
                </a:cubicBezTo>
                <a:cubicBezTo>
                  <a:pt x="650627" y="2171926"/>
                  <a:pt x="650929" y="2206049"/>
                  <a:pt x="650933" y="2240168"/>
                </a:cubicBezTo>
                <a:cubicBezTo>
                  <a:pt x="650933" y="2243439"/>
                  <a:pt x="650161" y="2247032"/>
                  <a:pt x="651273" y="2249880"/>
                </a:cubicBezTo>
                <a:cubicBezTo>
                  <a:pt x="652187" y="2252220"/>
                  <a:pt x="655368" y="2253675"/>
                  <a:pt x="658332" y="2258024"/>
                </a:cubicBezTo>
                <a:cubicBezTo>
                  <a:pt x="657587" y="2282352"/>
                  <a:pt x="656842" y="2306679"/>
                  <a:pt x="654604" y="2329281"/>
                </a:cubicBezTo>
                <a:moveTo>
                  <a:pt x="999154" y="2930680"/>
                </a:moveTo>
                <a:cubicBezTo>
                  <a:pt x="1074430" y="2924379"/>
                  <a:pt x="1149252" y="2914341"/>
                  <a:pt x="1224400" y="2904672"/>
                </a:cubicBezTo>
                <a:cubicBezTo>
                  <a:pt x="1224983" y="2900287"/>
                  <a:pt x="1225723" y="2897124"/>
                  <a:pt x="1225778" y="2893948"/>
                </a:cubicBezTo>
                <a:cubicBezTo>
                  <a:pt x="1226437" y="2856188"/>
                  <a:pt x="1218943" y="2820187"/>
                  <a:pt x="1197990" y="2788499"/>
                </a:cubicBezTo>
                <a:cubicBezTo>
                  <a:pt x="1185967" y="2770315"/>
                  <a:pt x="1171427" y="2753616"/>
                  <a:pt x="1156721" y="2737429"/>
                </a:cubicBezTo>
                <a:cubicBezTo>
                  <a:pt x="1137254" y="2716002"/>
                  <a:pt x="1115793" y="2696376"/>
                  <a:pt x="1096512" y="2674794"/>
                </a:cubicBezTo>
                <a:cubicBezTo>
                  <a:pt x="1073694" y="2649251"/>
                  <a:pt x="1056484" y="2620624"/>
                  <a:pt x="1056842" y="2584575"/>
                </a:cubicBezTo>
                <a:cubicBezTo>
                  <a:pt x="1056854" y="2583302"/>
                  <a:pt x="1056015" y="2582020"/>
                  <a:pt x="1055233" y="2579758"/>
                </a:cubicBezTo>
                <a:cubicBezTo>
                  <a:pt x="1042855" y="2580471"/>
                  <a:pt x="1030372" y="2580868"/>
                  <a:pt x="1017950" y="2581956"/>
                </a:cubicBezTo>
                <a:cubicBezTo>
                  <a:pt x="940684" y="2588728"/>
                  <a:pt x="863326" y="2593894"/>
                  <a:pt x="785764" y="2595473"/>
                </a:cubicBezTo>
                <a:cubicBezTo>
                  <a:pt x="745592" y="2596290"/>
                  <a:pt x="705413" y="2596778"/>
                  <a:pt x="665238" y="2597498"/>
                </a:cubicBezTo>
                <a:cubicBezTo>
                  <a:pt x="661698" y="2597562"/>
                  <a:pt x="658168" y="2598244"/>
                  <a:pt x="654332" y="2598673"/>
                </a:cubicBezTo>
                <a:cubicBezTo>
                  <a:pt x="664449" y="2711162"/>
                  <a:pt x="659668" y="2822547"/>
                  <a:pt x="653026" y="2935427"/>
                </a:cubicBezTo>
                <a:cubicBezTo>
                  <a:pt x="768837" y="2937973"/>
                  <a:pt x="882730" y="2939028"/>
                  <a:pt x="999154" y="2930680"/>
                </a:cubicBezTo>
                <a:moveTo>
                  <a:pt x="947894" y="3022480"/>
                </a:moveTo>
                <a:cubicBezTo>
                  <a:pt x="916629" y="3024040"/>
                  <a:pt x="885376" y="3026565"/>
                  <a:pt x="854096" y="3026952"/>
                </a:cubicBezTo>
                <a:cubicBezTo>
                  <a:pt x="794764" y="3027687"/>
                  <a:pt x="735417" y="3027198"/>
                  <a:pt x="676076" y="3027217"/>
                </a:cubicBezTo>
                <a:cubicBezTo>
                  <a:pt x="670121" y="3027219"/>
                  <a:pt x="664166" y="3027217"/>
                  <a:pt x="657155" y="3027217"/>
                </a:cubicBezTo>
                <a:cubicBezTo>
                  <a:pt x="655529" y="3062293"/>
                  <a:pt x="651846" y="3095886"/>
                  <a:pt x="650929" y="3130009"/>
                </a:cubicBezTo>
                <a:cubicBezTo>
                  <a:pt x="656057" y="3130467"/>
                  <a:pt x="659260" y="3130899"/>
                  <a:pt x="662475" y="3131016"/>
                </a:cubicBezTo>
                <a:cubicBezTo>
                  <a:pt x="700300" y="3132391"/>
                  <a:pt x="738118" y="3134111"/>
                  <a:pt x="775955" y="3134982"/>
                </a:cubicBezTo>
                <a:cubicBezTo>
                  <a:pt x="871340" y="3137178"/>
                  <a:pt x="966589" y="3135038"/>
                  <a:pt x="1061598" y="3125377"/>
                </a:cubicBezTo>
                <a:cubicBezTo>
                  <a:pt x="1124889" y="3118941"/>
                  <a:pt x="1187609" y="3109276"/>
                  <a:pt x="1249397" y="3093967"/>
                </a:cubicBezTo>
                <a:cubicBezTo>
                  <a:pt x="1253752" y="3092888"/>
                  <a:pt x="1257981" y="3091298"/>
                  <a:pt x="1262842" y="3089764"/>
                </a:cubicBezTo>
                <a:cubicBezTo>
                  <a:pt x="1259040" y="3062969"/>
                  <a:pt x="1254881" y="3037707"/>
                  <a:pt x="1244253" y="3014005"/>
                </a:cubicBezTo>
                <a:cubicBezTo>
                  <a:pt x="1242547" y="3010201"/>
                  <a:pt x="1239948" y="3006798"/>
                  <a:pt x="1237768" y="3003206"/>
                </a:cubicBezTo>
                <a:cubicBezTo>
                  <a:pt x="1233239" y="2995743"/>
                  <a:pt x="1227131" y="2992138"/>
                  <a:pt x="1217957" y="2993424"/>
                </a:cubicBezTo>
                <a:cubicBezTo>
                  <a:pt x="1199921" y="2995951"/>
                  <a:pt x="1181756" y="2997558"/>
                  <a:pt x="1163725" y="3000119"/>
                </a:cubicBezTo>
                <a:cubicBezTo>
                  <a:pt x="1092925" y="3010176"/>
                  <a:pt x="1021883" y="3017834"/>
                  <a:pt x="947894" y="3022480"/>
                </a:cubicBezTo>
                <a:moveTo>
                  <a:pt x="784197" y="1352777"/>
                </a:moveTo>
                <a:cubicBezTo>
                  <a:pt x="766462" y="1353462"/>
                  <a:pt x="748731" y="1354287"/>
                  <a:pt x="730991" y="1354793"/>
                </a:cubicBezTo>
                <a:cubicBezTo>
                  <a:pt x="712981" y="1355307"/>
                  <a:pt x="694940" y="1355183"/>
                  <a:pt x="676320" y="1356902"/>
                </a:cubicBezTo>
                <a:cubicBezTo>
                  <a:pt x="674799" y="1378289"/>
                  <a:pt x="673393" y="1398039"/>
                  <a:pt x="671906" y="1418933"/>
                </a:cubicBezTo>
                <a:cubicBezTo>
                  <a:pt x="677552" y="1418933"/>
                  <a:pt x="681678" y="1419046"/>
                  <a:pt x="685797" y="1418917"/>
                </a:cubicBezTo>
                <a:cubicBezTo>
                  <a:pt x="774966" y="1416107"/>
                  <a:pt x="864134" y="1413293"/>
                  <a:pt x="953300" y="1410383"/>
                </a:cubicBezTo>
                <a:cubicBezTo>
                  <a:pt x="958412" y="1410216"/>
                  <a:pt x="963542" y="1409471"/>
                  <a:pt x="968586" y="1408564"/>
                </a:cubicBezTo>
                <a:cubicBezTo>
                  <a:pt x="978218" y="1406833"/>
                  <a:pt x="980261" y="1404383"/>
                  <a:pt x="980375" y="1394590"/>
                </a:cubicBezTo>
                <a:cubicBezTo>
                  <a:pt x="980521" y="1382101"/>
                  <a:pt x="976026" y="1371666"/>
                  <a:pt x="965591" y="1364447"/>
                </a:cubicBezTo>
                <a:cubicBezTo>
                  <a:pt x="948967" y="1352947"/>
                  <a:pt x="930599" y="1347277"/>
                  <a:pt x="910211" y="1348103"/>
                </a:cubicBezTo>
                <a:cubicBezTo>
                  <a:pt x="869142" y="1349769"/>
                  <a:pt x="828062" y="1351175"/>
                  <a:pt x="784197" y="1352777"/>
                </a:cubicBezTo>
                <a:moveTo>
                  <a:pt x="648129" y="615881"/>
                </a:moveTo>
                <a:cubicBezTo>
                  <a:pt x="649058" y="632117"/>
                  <a:pt x="650192" y="648345"/>
                  <a:pt x="650869" y="664591"/>
                </a:cubicBezTo>
                <a:cubicBezTo>
                  <a:pt x="652013" y="692034"/>
                  <a:pt x="650274" y="719448"/>
                  <a:pt x="653223" y="746994"/>
                </a:cubicBezTo>
                <a:cubicBezTo>
                  <a:pt x="656187" y="774679"/>
                  <a:pt x="652958" y="802766"/>
                  <a:pt x="656163" y="830737"/>
                </a:cubicBezTo>
                <a:cubicBezTo>
                  <a:pt x="658910" y="854709"/>
                  <a:pt x="656763" y="879007"/>
                  <a:pt x="658740" y="903281"/>
                </a:cubicBezTo>
                <a:cubicBezTo>
                  <a:pt x="661875" y="941767"/>
                  <a:pt x="661060" y="980568"/>
                  <a:pt x="662209" y="1019226"/>
                </a:cubicBezTo>
                <a:cubicBezTo>
                  <a:pt x="662831" y="1040143"/>
                  <a:pt x="663923" y="1061048"/>
                  <a:pt x="665088" y="1081942"/>
                </a:cubicBezTo>
                <a:cubicBezTo>
                  <a:pt x="665498" y="1089302"/>
                  <a:pt x="668166" y="1091025"/>
                  <a:pt x="674628" y="1090643"/>
                </a:cubicBezTo>
                <a:cubicBezTo>
                  <a:pt x="703841" y="1088916"/>
                  <a:pt x="733054" y="1087111"/>
                  <a:pt x="762289" y="1085865"/>
                </a:cubicBezTo>
                <a:cubicBezTo>
                  <a:pt x="792528" y="1084574"/>
                  <a:pt x="822793" y="1083894"/>
                  <a:pt x="853046" y="1082948"/>
                </a:cubicBezTo>
                <a:cubicBezTo>
                  <a:pt x="853513" y="1082934"/>
                  <a:pt x="853981" y="1082919"/>
                  <a:pt x="854448" y="1082924"/>
                </a:cubicBezTo>
                <a:cubicBezTo>
                  <a:pt x="860299" y="1082998"/>
                  <a:pt x="864379" y="1080055"/>
                  <a:pt x="866364" y="1074839"/>
                </a:cubicBezTo>
                <a:cubicBezTo>
                  <a:pt x="874977" y="1052218"/>
                  <a:pt x="883766" y="1029650"/>
                  <a:pt x="891726" y="1006797"/>
                </a:cubicBezTo>
                <a:cubicBezTo>
                  <a:pt x="899510" y="984448"/>
                  <a:pt x="905967" y="961638"/>
                  <a:pt x="913720" y="939278"/>
                </a:cubicBezTo>
                <a:cubicBezTo>
                  <a:pt x="926840" y="901438"/>
                  <a:pt x="940566" y="863808"/>
                  <a:pt x="953952" y="826060"/>
                </a:cubicBezTo>
                <a:cubicBezTo>
                  <a:pt x="965626" y="793139"/>
                  <a:pt x="977165" y="760170"/>
                  <a:pt x="988796" y="727233"/>
                </a:cubicBezTo>
                <a:cubicBezTo>
                  <a:pt x="1004602" y="682474"/>
                  <a:pt x="1020729" y="637825"/>
                  <a:pt x="1036110" y="592920"/>
                </a:cubicBezTo>
                <a:cubicBezTo>
                  <a:pt x="1041693" y="576621"/>
                  <a:pt x="1044731" y="559627"/>
                  <a:pt x="1043677" y="542152"/>
                </a:cubicBezTo>
                <a:cubicBezTo>
                  <a:pt x="1043059" y="531887"/>
                  <a:pt x="1040345" y="522522"/>
                  <a:pt x="1030884" y="517222"/>
                </a:cubicBezTo>
                <a:cubicBezTo>
                  <a:pt x="1024045" y="513391"/>
                  <a:pt x="1016699" y="510004"/>
                  <a:pt x="1009162" y="507963"/>
                </a:cubicBezTo>
                <a:cubicBezTo>
                  <a:pt x="983620" y="501048"/>
                  <a:pt x="957981" y="494740"/>
                  <a:pt x="931266" y="493552"/>
                </a:cubicBezTo>
                <a:cubicBezTo>
                  <a:pt x="914169" y="492791"/>
                  <a:pt x="897177" y="489870"/>
                  <a:pt x="880100" y="488348"/>
                </a:cubicBezTo>
                <a:cubicBezTo>
                  <a:pt x="865298" y="487029"/>
                  <a:pt x="850441" y="486332"/>
                  <a:pt x="835610" y="485330"/>
                </a:cubicBezTo>
                <a:cubicBezTo>
                  <a:pt x="808745" y="483516"/>
                  <a:pt x="781896" y="480471"/>
                  <a:pt x="755014" y="480162"/>
                </a:cubicBezTo>
                <a:cubicBezTo>
                  <a:pt x="722439" y="479789"/>
                  <a:pt x="689836" y="481665"/>
                  <a:pt x="657249" y="482686"/>
                </a:cubicBezTo>
                <a:cubicBezTo>
                  <a:pt x="646583" y="483021"/>
                  <a:pt x="641424" y="489596"/>
                  <a:pt x="643184" y="500211"/>
                </a:cubicBezTo>
                <a:cubicBezTo>
                  <a:pt x="643789" y="503860"/>
                  <a:pt x="645104" y="507461"/>
                  <a:pt x="645220" y="511112"/>
                </a:cubicBezTo>
                <a:cubicBezTo>
                  <a:pt x="646298" y="545100"/>
                  <a:pt x="647185" y="579094"/>
                  <a:pt x="648129" y="615881"/>
                </a:cubicBezTo>
                <a:moveTo>
                  <a:pt x="886495" y="1207714"/>
                </a:moveTo>
                <a:cubicBezTo>
                  <a:pt x="884805" y="1206106"/>
                  <a:pt x="883380" y="1203949"/>
                  <a:pt x="881380" y="1202980"/>
                </a:cubicBezTo>
                <a:cubicBezTo>
                  <a:pt x="869508" y="1197225"/>
                  <a:pt x="866866" y="1186901"/>
                  <a:pt x="866913" y="1175042"/>
                </a:cubicBezTo>
                <a:cubicBezTo>
                  <a:pt x="866937" y="1168979"/>
                  <a:pt x="867225" y="1162853"/>
                  <a:pt x="866482" y="1156869"/>
                </a:cubicBezTo>
                <a:cubicBezTo>
                  <a:pt x="865810" y="1151447"/>
                  <a:pt x="863028" y="1147406"/>
                  <a:pt x="856429" y="1147458"/>
                </a:cubicBezTo>
                <a:cubicBezTo>
                  <a:pt x="834490" y="1147630"/>
                  <a:pt x="812519" y="1146897"/>
                  <a:pt x="790615" y="1147813"/>
                </a:cubicBezTo>
                <a:cubicBezTo>
                  <a:pt x="766540" y="1148819"/>
                  <a:pt x="742532" y="1151353"/>
                  <a:pt x="718484" y="1153058"/>
                </a:cubicBezTo>
                <a:cubicBezTo>
                  <a:pt x="702742" y="1154174"/>
                  <a:pt x="686965" y="1154817"/>
                  <a:pt x="671232" y="1156034"/>
                </a:cubicBezTo>
                <a:cubicBezTo>
                  <a:pt x="662945" y="1156675"/>
                  <a:pt x="661657" y="1159923"/>
                  <a:pt x="664146" y="1168443"/>
                </a:cubicBezTo>
                <a:cubicBezTo>
                  <a:pt x="665938" y="1174575"/>
                  <a:pt x="667544" y="1181027"/>
                  <a:pt x="667611" y="1187354"/>
                </a:cubicBezTo>
                <a:cubicBezTo>
                  <a:pt x="667956" y="1219564"/>
                  <a:pt x="667704" y="1251779"/>
                  <a:pt x="667803" y="1283992"/>
                </a:cubicBezTo>
                <a:cubicBezTo>
                  <a:pt x="667847" y="1297938"/>
                  <a:pt x="668871" y="1299219"/>
                  <a:pt x="683140" y="1298850"/>
                </a:cubicBezTo>
                <a:cubicBezTo>
                  <a:pt x="700774" y="1298393"/>
                  <a:pt x="718378" y="1296854"/>
                  <a:pt x="736011" y="1296220"/>
                </a:cubicBezTo>
                <a:cubicBezTo>
                  <a:pt x="767632" y="1295083"/>
                  <a:pt x="799265" y="1294272"/>
                  <a:pt x="830893" y="1293324"/>
                </a:cubicBezTo>
                <a:cubicBezTo>
                  <a:pt x="831826" y="1293296"/>
                  <a:pt x="832761" y="1293286"/>
                  <a:pt x="833691" y="1293213"/>
                </a:cubicBezTo>
                <a:cubicBezTo>
                  <a:pt x="856797" y="1291390"/>
                  <a:pt x="879886" y="1289299"/>
                  <a:pt x="903014" y="1287831"/>
                </a:cubicBezTo>
                <a:cubicBezTo>
                  <a:pt x="916073" y="1287002"/>
                  <a:pt x="919042" y="1284797"/>
                  <a:pt x="917225" y="1271856"/>
                </a:cubicBezTo>
                <a:cubicBezTo>
                  <a:pt x="913886" y="1248076"/>
                  <a:pt x="908472" y="1225007"/>
                  <a:pt x="886495" y="1207714"/>
                </a:cubicBezTo>
                <a:close/>
              </a:path>
            </a:pathLst>
          </a:custGeom>
          <a:solidFill>
            <a:srgbClr val="CDD9DF"/>
          </a:solidFill>
          <a:ln w="1401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35" name="Free-form: Shape 134">
            <a:extLst>
              <a:ext uri="{FF2B5EF4-FFF2-40B4-BE49-F238E27FC236}">
                <a16:creationId xmlns:a16="http://schemas.microsoft.com/office/drawing/2014/main" id="{673FB394-279B-90A5-5F0C-9C265137EF8F}"/>
              </a:ext>
            </a:extLst>
          </p:cNvPr>
          <p:cNvSpPr/>
          <p:nvPr/>
        </p:nvSpPr>
        <p:spPr>
          <a:xfrm>
            <a:off x="6465700" y="4524772"/>
            <a:ext cx="61317" cy="24570"/>
          </a:xfrm>
          <a:custGeom>
            <a:avLst/>
            <a:gdLst>
              <a:gd name="csX0" fmla="*/ 94424 w 144688"/>
              <a:gd name="csY0" fmla="*/ 9299 h 52707"/>
              <a:gd name="csX1" fmla="*/ 121261 w 144688"/>
              <a:gd name="csY1" fmla="*/ 16460 h 52707"/>
              <a:gd name="csX2" fmla="*/ 143563 w 144688"/>
              <a:gd name="csY2" fmla="*/ 43347 h 52707"/>
              <a:gd name="csX3" fmla="*/ 144689 w 144688"/>
              <a:gd name="csY3" fmla="*/ 52708 h 52707"/>
              <a:gd name="csX4" fmla="*/ 349 w 144688"/>
              <a:gd name="csY4" fmla="*/ 52708 h 52707"/>
              <a:gd name="csX5" fmla="*/ 738 w 144688"/>
              <a:gd name="csY5" fmla="*/ 572 h 52707"/>
              <a:gd name="csX6" fmla="*/ 94424 w 144688"/>
              <a:gd name="csY6" fmla="*/ 9299 h 5270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</a:cxnLst>
            <a:rect l="l" t="t" r="r" b="b"/>
            <a:pathLst>
              <a:path w="144688" h="52707">
                <a:moveTo>
                  <a:pt x="94424" y="9299"/>
                </a:moveTo>
                <a:cubicBezTo>
                  <a:pt x="104138" y="11826"/>
                  <a:pt x="112739" y="14007"/>
                  <a:pt x="121261" y="16460"/>
                </a:cubicBezTo>
                <a:cubicBezTo>
                  <a:pt x="134742" y="20340"/>
                  <a:pt x="143121" y="28544"/>
                  <a:pt x="143563" y="43347"/>
                </a:cubicBezTo>
                <a:cubicBezTo>
                  <a:pt x="143645" y="46090"/>
                  <a:pt x="144206" y="48818"/>
                  <a:pt x="144689" y="52708"/>
                </a:cubicBezTo>
                <a:cubicBezTo>
                  <a:pt x="96675" y="52708"/>
                  <a:pt x="49316" y="52708"/>
                  <a:pt x="349" y="52708"/>
                </a:cubicBezTo>
                <a:cubicBezTo>
                  <a:pt x="-379" y="35695"/>
                  <a:pt x="172" y="18742"/>
                  <a:pt x="738" y="572"/>
                </a:cubicBezTo>
                <a:cubicBezTo>
                  <a:pt x="32910" y="-1712"/>
                  <a:pt x="63133" y="3179"/>
                  <a:pt x="94424" y="9299"/>
                </a:cubicBezTo>
                <a:close/>
              </a:path>
            </a:pathLst>
          </a:custGeom>
          <a:solidFill>
            <a:srgbClr val="FBFCFB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36" name="Free-form: Shape 135">
            <a:extLst>
              <a:ext uri="{FF2B5EF4-FFF2-40B4-BE49-F238E27FC236}">
                <a16:creationId xmlns:a16="http://schemas.microsoft.com/office/drawing/2014/main" id="{8B5FBA0C-82DA-44C4-6A83-5EFABAEA3B8F}"/>
              </a:ext>
            </a:extLst>
          </p:cNvPr>
          <p:cNvSpPr/>
          <p:nvPr/>
        </p:nvSpPr>
        <p:spPr>
          <a:xfrm>
            <a:off x="6464217" y="5035220"/>
            <a:ext cx="149086" cy="475360"/>
          </a:xfrm>
          <a:custGeom>
            <a:avLst/>
            <a:gdLst>
              <a:gd name="csX0" fmla="*/ 0 w 351791"/>
              <a:gd name="csY0" fmla="*/ 975370 h 1019713"/>
              <a:gd name="csX1" fmla="*/ 2187 w 351791"/>
              <a:gd name="csY1" fmla="*/ 923083 h 1019713"/>
              <a:gd name="csX2" fmla="*/ 2287 w 351791"/>
              <a:gd name="csY2" fmla="*/ 897079 h 1019713"/>
              <a:gd name="csX3" fmla="*/ 2799 w 351791"/>
              <a:gd name="csY3" fmla="*/ 849144 h 1019713"/>
              <a:gd name="csX4" fmla="*/ 5052 w 351791"/>
              <a:gd name="csY4" fmla="*/ 773650 h 1019713"/>
              <a:gd name="csX5" fmla="*/ 7113 w 351791"/>
              <a:gd name="csY5" fmla="*/ 630071 h 1019713"/>
              <a:gd name="csX6" fmla="*/ 9133 w 351791"/>
              <a:gd name="csY6" fmla="*/ 528600 h 1019713"/>
              <a:gd name="csX7" fmla="*/ 9163 w 351791"/>
              <a:gd name="csY7" fmla="*/ 497413 h 1019713"/>
              <a:gd name="csX8" fmla="*/ 11812 w 351791"/>
              <a:gd name="csY8" fmla="*/ 379910 h 1019713"/>
              <a:gd name="csX9" fmla="*/ 12024 w 351791"/>
              <a:gd name="csY9" fmla="*/ 348726 h 1019713"/>
              <a:gd name="csX10" fmla="*/ 14645 w 351791"/>
              <a:gd name="csY10" fmla="*/ 239691 h 1019713"/>
              <a:gd name="csX11" fmla="*/ 14784 w 351791"/>
              <a:gd name="csY11" fmla="*/ 214091 h 1019713"/>
              <a:gd name="csX12" fmla="*/ 17570 w 351791"/>
              <a:gd name="csY12" fmla="*/ 88165 h 1019713"/>
              <a:gd name="csX13" fmla="*/ 17615 w 351791"/>
              <a:gd name="csY13" fmla="*/ 37421 h 1019713"/>
              <a:gd name="csX14" fmla="*/ 18182 w 351791"/>
              <a:gd name="csY14" fmla="*/ 15484 h 1019713"/>
              <a:gd name="csX15" fmla="*/ 22091 w 351791"/>
              <a:gd name="csY15" fmla="*/ 2787 h 1019713"/>
              <a:gd name="csX16" fmla="*/ 54703 w 351791"/>
              <a:gd name="csY16" fmla="*/ 2968 h 1019713"/>
              <a:gd name="csX17" fmla="*/ 102677 w 351791"/>
              <a:gd name="csY17" fmla="*/ 2086 h 1019713"/>
              <a:gd name="csX18" fmla="*/ 175262 w 351791"/>
              <a:gd name="csY18" fmla="*/ 0 h 1019713"/>
              <a:gd name="csX19" fmla="*/ 189022 w 351791"/>
              <a:gd name="csY19" fmla="*/ 1595 h 1019713"/>
              <a:gd name="csX20" fmla="*/ 190628 w 351791"/>
              <a:gd name="csY20" fmla="*/ 112461 h 1019713"/>
              <a:gd name="csX21" fmla="*/ 191584 w 351791"/>
              <a:gd name="csY21" fmla="*/ 129605 h 1019713"/>
              <a:gd name="csX22" fmla="*/ 193429 w 351791"/>
              <a:gd name="csY22" fmla="*/ 173943 h 1019713"/>
              <a:gd name="csX23" fmla="*/ 194215 w 351791"/>
              <a:gd name="csY23" fmla="*/ 182908 h 1019713"/>
              <a:gd name="csX24" fmla="*/ 196316 w 351791"/>
              <a:gd name="csY24" fmla="*/ 215902 h 1019713"/>
              <a:gd name="csX25" fmla="*/ 196980 w 351791"/>
              <a:gd name="csY25" fmla="*/ 222182 h 1019713"/>
              <a:gd name="csX26" fmla="*/ 198972 w 351791"/>
              <a:gd name="csY26" fmla="*/ 249680 h 1019713"/>
              <a:gd name="csX27" fmla="*/ 199949 w 351791"/>
              <a:gd name="csY27" fmla="*/ 258553 h 1019713"/>
              <a:gd name="csX28" fmla="*/ 201912 w 351791"/>
              <a:gd name="csY28" fmla="*/ 280418 h 1019713"/>
              <a:gd name="csX29" fmla="*/ 202686 w 351791"/>
              <a:gd name="csY29" fmla="*/ 286632 h 1019713"/>
              <a:gd name="csX30" fmla="*/ 204600 w 351791"/>
              <a:gd name="csY30" fmla="*/ 308453 h 1019713"/>
              <a:gd name="csX31" fmla="*/ 205443 w 351791"/>
              <a:gd name="csY31" fmla="*/ 314650 h 1019713"/>
              <a:gd name="csX32" fmla="*/ 207431 w 351791"/>
              <a:gd name="csY32" fmla="*/ 333707 h 1019713"/>
              <a:gd name="csX33" fmla="*/ 208345 w 351791"/>
              <a:gd name="csY33" fmla="*/ 339842 h 1019713"/>
              <a:gd name="csX34" fmla="*/ 210218 w 351791"/>
              <a:gd name="csY34" fmla="*/ 356144 h 1019713"/>
              <a:gd name="csX35" fmla="*/ 211157 w 351791"/>
              <a:gd name="csY35" fmla="*/ 362375 h 1019713"/>
              <a:gd name="csX36" fmla="*/ 215820 w 351791"/>
              <a:gd name="csY36" fmla="*/ 398224 h 1019713"/>
              <a:gd name="csX37" fmla="*/ 216821 w 351791"/>
              <a:gd name="csY37" fmla="*/ 404425 h 1019713"/>
              <a:gd name="csX38" fmla="*/ 224187 w 351791"/>
              <a:gd name="csY38" fmla="*/ 451440 h 1019713"/>
              <a:gd name="csX39" fmla="*/ 225295 w 351791"/>
              <a:gd name="csY39" fmla="*/ 457691 h 1019713"/>
              <a:gd name="csX40" fmla="*/ 226831 w 351791"/>
              <a:gd name="csY40" fmla="*/ 468268 h 1019713"/>
              <a:gd name="csX41" fmla="*/ 228069 w 351791"/>
              <a:gd name="csY41" fmla="*/ 474360 h 1019713"/>
              <a:gd name="csX42" fmla="*/ 229778 w 351791"/>
              <a:gd name="csY42" fmla="*/ 485181 h 1019713"/>
              <a:gd name="csX43" fmla="*/ 230932 w 351791"/>
              <a:gd name="csY43" fmla="*/ 491348 h 1019713"/>
              <a:gd name="csX44" fmla="*/ 238095 w 351791"/>
              <a:gd name="csY44" fmla="*/ 532855 h 1019713"/>
              <a:gd name="csX45" fmla="*/ 239424 w 351791"/>
              <a:gd name="csY45" fmla="*/ 539021 h 1019713"/>
              <a:gd name="csX46" fmla="*/ 252120 w 351791"/>
              <a:gd name="csY46" fmla="*/ 605725 h 1019713"/>
              <a:gd name="csX47" fmla="*/ 253460 w 351791"/>
              <a:gd name="csY47" fmla="*/ 611945 h 1019713"/>
              <a:gd name="csX48" fmla="*/ 258622 w 351791"/>
              <a:gd name="csY48" fmla="*/ 639154 h 1019713"/>
              <a:gd name="csX49" fmla="*/ 285765 w 351791"/>
              <a:gd name="csY49" fmla="*/ 762817 h 1019713"/>
              <a:gd name="csX50" fmla="*/ 287284 w 351791"/>
              <a:gd name="csY50" fmla="*/ 768970 h 1019713"/>
              <a:gd name="csX51" fmla="*/ 351792 w 351791"/>
              <a:gd name="csY51" fmla="*/ 1017474 h 1019713"/>
              <a:gd name="csX52" fmla="*/ 308062 w 351791"/>
              <a:gd name="csY52" fmla="*/ 1016918 h 1019713"/>
              <a:gd name="csX53" fmla="*/ 241358 w 351791"/>
              <a:gd name="csY53" fmla="*/ 1016276 h 1019713"/>
              <a:gd name="csX54" fmla="*/ 229231 w 351791"/>
              <a:gd name="csY54" fmla="*/ 1017881 h 1019713"/>
              <a:gd name="csX55" fmla="*/ 0 w 351791"/>
              <a:gd name="csY55" fmla="*/ 1019714 h 1019713"/>
              <a:gd name="csX56" fmla="*/ 0 w 351791"/>
              <a:gd name="csY56" fmla="*/ 975370 h 101971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</a:cxnLst>
            <a:rect l="l" t="t" r="r" b="b"/>
            <a:pathLst>
              <a:path w="351791" h="1019713">
                <a:moveTo>
                  <a:pt x="0" y="975370"/>
                </a:moveTo>
                <a:cubicBezTo>
                  <a:pt x="743" y="957941"/>
                  <a:pt x="1582" y="940516"/>
                  <a:pt x="2187" y="923083"/>
                </a:cubicBezTo>
                <a:cubicBezTo>
                  <a:pt x="2458" y="915260"/>
                  <a:pt x="2262" y="907422"/>
                  <a:pt x="2287" y="897079"/>
                </a:cubicBezTo>
                <a:cubicBezTo>
                  <a:pt x="2463" y="879425"/>
                  <a:pt x="2631" y="864284"/>
                  <a:pt x="2799" y="849144"/>
                </a:cubicBezTo>
                <a:cubicBezTo>
                  <a:pt x="3544" y="824817"/>
                  <a:pt x="4289" y="800489"/>
                  <a:pt x="5052" y="773650"/>
                </a:cubicBezTo>
                <a:cubicBezTo>
                  <a:pt x="5751" y="724115"/>
                  <a:pt x="6432" y="677093"/>
                  <a:pt x="7113" y="630071"/>
                </a:cubicBezTo>
                <a:cubicBezTo>
                  <a:pt x="7598" y="596560"/>
                  <a:pt x="8084" y="563050"/>
                  <a:pt x="9133" y="528600"/>
                </a:cubicBezTo>
                <a:cubicBezTo>
                  <a:pt x="9465" y="518010"/>
                  <a:pt x="9234" y="508360"/>
                  <a:pt x="9163" y="497413"/>
                </a:cubicBezTo>
                <a:cubicBezTo>
                  <a:pt x="9957" y="457690"/>
                  <a:pt x="10592" y="419261"/>
                  <a:pt x="11812" y="379910"/>
                </a:cubicBezTo>
                <a:cubicBezTo>
                  <a:pt x="12221" y="369334"/>
                  <a:pt x="12045" y="359680"/>
                  <a:pt x="12024" y="348726"/>
                </a:cubicBezTo>
                <a:cubicBezTo>
                  <a:pt x="12813" y="311813"/>
                  <a:pt x="13446" y="276201"/>
                  <a:pt x="14645" y="239691"/>
                </a:cubicBezTo>
                <a:cubicBezTo>
                  <a:pt x="15021" y="230992"/>
                  <a:pt x="14832" y="223190"/>
                  <a:pt x="14784" y="214091"/>
                </a:cubicBezTo>
                <a:cubicBezTo>
                  <a:pt x="15615" y="171575"/>
                  <a:pt x="16305" y="130355"/>
                  <a:pt x="17570" y="88165"/>
                </a:cubicBezTo>
                <a:cubicBezTo>
                  <a:pt x="17924" y="71015"/>
                  <a:pt x="17703" y="54835"/>
                  <a:pt x="17615" y="37421"/>
                </a:cubicBezTo>
                <a:cubicBezTo>
                  <a:pt x="17715" y="29569"/>
                  <a:pt x="17682" y="22951"/>
                  <a:pt x="18182" y="15484"/>
                </a:cubicBezTo>
                <a:cubicBezTo>
                  <a:pt x="19427" y="10639"/>
                  <a:pt x="20141" y="6642"/>
                  <a:pt x="22091" y="2787"/>
                </a:cubicBezTo>
                <a:cubicBezTo>
                  <a:pt x="33455" y="2760"/>
                  <a:pt x="43581" y="2592"/>
                  <a:pt x="54703" y="2968"/>
                </a:cubicBezTo>
                <a:cubicBezTo>
                  <a:pt x="70921" y="2997"/>
                  <a:pt x="86144" y="2480"/>
                  <a:pt x="102677" y="2086"/>
                </a:cubicBezTo>
                <a:cubicBezTo>
                  <a:pt x="127444" y="1303"/>
                  <a:pt x="150901" y="399"/>
                  <a:pt x="175262" y="0"/>
                </a:cubicBezTo>
                <a:cubicBezTo>
                  <a:pt x="180415" y="388"/>
                  <a:pt x="184664" y="270"/>
                  <a:pt x="189022" y="1595"/>
                </a:cubicBezTo>
                <a:cubicBezTo>
                  <a:pt x="189796" y="39233"/>
                  <a:pt x="190459" y="75430"/>
                  <a:pt x="190628" y="112461"/>
                </a:cubicBezTo>
                <a:cubicBezTo>
                  <a:pt x="190659" y="118310"/>
                  <a:pt x="191185" y="123324"/>
                  <a:pt x="191584" y="129605"/>
                </a:cubicBezTo>
                <a:cubicBezTo>
                  <a:pt x="192268" y="145024"/>
                  <a:pt x="193079" y="159176"/>
                  <a:pt x="193429" y="173943"/>
                </a:cubicBezTo>
                <a:cubicBezTo>
                  <a:pt x="193407" y="176938"/>
                  <a:pt x="193846" y="179318"/>
                  <a:pt x="194215" y="182908"/>
                </a:cubicBezTo>
                <a:cubicBezTo>
                  <a:pt x="195008" y="194551"/>
                  <a:pt x="195871" y="204983"/>
                  <a:pt x="196316" y="215902"/>
                </a:cubicBezTo>
                <a:cubicBezTo>
                  <a:pt x="196287" y="217918"/>
                  <a:pt x="196676" y="219447"/>
                  <a:pt x="196980" y="222182"/>
                </a:cubicBezTo>
                <a:cubicBezTo>
                  <a:pt x="197737" y="231943"/>
                  <a:pt x="198578" y="240498"/>
                  <a:pt x="198972" y="249680"/>
                </a:cubicBezTo>
                <a:cubicBezTo>
                  <a:pt x="199023" y="252674"/>
                  <a:pt x="199521" y="255040"/>
                  <a:pt x="199949" y="258553"/>
                </a:cubicBezTo>
                <a:cubicBezTo>
                  <a:pt x="200695" y="266443"/>
                  <a:pt x="201512" y="273186"/>
                  <a:pt x="201912" y="280418"/>
                </a:cubicBezTo>
                <a:cubicBezTo>
                  <a:pt x="201915" y="282431"/>
                  <a:pt x="202335" y="283954"/>
                  <a:pt x="202686" y="286632"/>
                </a:cubicBezTo>
                <a:cubicBezTo>
                  <a:pt x="203420" y="294511"/>
                  <a:pt x="204221" y="301235"/>
                  <a:pt x="204600" y="308453"/>
                </a:cubicBezTo>
                <a:cubicBezTo>
                  <a:pt x="204617" y="310478"/>
                  <a:pt x="205056" y="312010"/>
                  <a:pt x="205443" y="314650"/>
                </a:cubicBezTo>
                <a:cubicBezTo>
                  <a:pt x="206209" y="321575"/>
                  <a:pt x="207026" y="327392"/>
                  <a:pt x="207431" y="333707"/>
                </a:cubicBezTo>
                <a:cubicBezTo>
                  <a:pt x="207477" y="335726"/>
                  <a:pt x="207935" y="337248"/>
                  <a:pt x="208345" y="339842"/>
                </a:cubicBezTo>
                <a:cubicBezTo>
                  <a:pt x="209075" y="345825"/>
                  <a:pt x="209853" y="350735"/>
                  <a:pt x="210218" y="356144"/>
                </a:cubicBezTo>
                <a:cubicBezTo>
                  <a:pt x="210268" y="358165"/>
                  <a:pt x="210732" y="359689"/>
                  <a:pt x="211157" y="362375"/>
                </a:cubicBezTo>
                <a:cubicBezTo>
                  <a:pt x="212820" y="374932"/>
                  <a:pt x="214522" y="386326"/>
                  <a:pt x="215820" y="398224"/>
                </a:cubicBezTo>
                <a:cubicBezTo>
                  <a:pt x="215896" y="400245"/>
                  <a:pt x="216376" y="401761"/>
                  <a:pt x="216821" y="404425"/>
                </a:cubicBezTo>
                <a:cubicBezTo>
                  <a:pt x="219381" y="420620"/>
                  <a:pt x="221974" y="435667"/>
                  <a:pt x="224187" y="451440"/>
                </a:cubicBezTo>
                <a:cubicBezTo>
                  <a:pt x="224310" y="453633"/>
                  <a:pt x="224814" y="455099"/>
                  <a:pt x="225295" y="457691"/>
                </a:cubicBezTo>
                <a:cubicBezTo>
                  <a:pt x="225916" y="461722"/>
                  <a:pt x="226560" y="464628"/>
                  <a:pt x="226831" y="468268"/>
                </a:cubicBezTo>
                <a:cubicBezTo>
                  <a:pt x="227002" y="470469"/>
                  <a:pt x="227545" y="471935"/>
                  <a:pt x="228069" y="474360"/>
                </a:cubicBezTo>
                <a:cubicBezTo>
                  <a:pt x="228757" y="478435"/>
                  <a:pt x="229465" y="481551"/>
                  <a:pt x="229778" y="485181"/>
                </a:cubicBezTo>
                <a:cubicBezTo>
                  <a:pt x="229895" y="487205"/>
                  <a:pt x="230405" y="488717"/>
                  <a:pt x="230932" y="491348"/>
                </a:cubicBezTo>
                <a:cubicBezTo>
                  <a:pt x="233462" y="505758"/>
                  <a:pt x="235976" y="519047"/>
                  <a:pt x="238095" y="532855"/>
                </a:cubicBezTo>
                <a:cubicBezTo>
                  <a:pt x="238266" y="534884"/>
                  <a:pt x="238832" y="536393"/>
                  <a:pt x="239424" y="539021"/>
                </a:cubicBezTo>
                <a:cubicBezTo>
                  <a:pt x="243794" y="561754"/>
                  <a:pt x="248139" y="583369"/>
                  <a:pt x="252120" y="605725"/>
                </a:cubicBezTo>
                <a:cubicBezTo>
                  <a:pt x="252314" y="607922"/>
                  <a:pt x="252872" y="609379"/>
                  <a:pt x="253460" y="611945"/>
                </a:cubicBezTo>
                <a:cubicBezTo>
                  <a:pt x="255190" y="621757"/>
                  <a:pt x="256700" y="630501"/>
                  <a:pt x="258622" y="639154"/>
                </a:cubicBezTo>
                <a:cubicBezTo>
                  <a:pt x="267724" y="680139"/>
                  <a:pt x="276939" y="721098"/>
                  <a:pt x="285765" y="762817"/>
                </a:cubicBezTo>
                <a:cubicBezTo>
                  <a:pt x="286023" y="765009"/>
                  <a:pt x="286629" y="766448"/>
                  <a:pt x="287284" y="768970"/>
                </a:cubicBezTo>
                <a:cubicBezTo>
                  <a:pt x="306160" y="852474"/>
                  <a:pt x="325237" y="934833"/>
                  <a:pt x="351792" y="1017474"/>
                </a:cubicBezTo>
                <a:cubicBezTo>
                  <a:pt x="335905" y="1017474"/>
                  <a:pt x="322480" y="1017474"/>
                  <a:pt x="308062" y="1016918"/>
                </a:cubicBezTo>
                <a:cubicBezTo>
                  <a:pt x="285165" y="1016306"/>
                  <a:pt x="263261" y="1016166"/>
                  <a:pt x="241358" y="1016276"/>
                </a:cubicBezTo>
                <a:cubicBezTo>
                  <a:pt x="237751" y="1016294"/>
                  <a:pt x="234149" y="1017408"/>
                  <a:pt x="229231" y="1017881"/>
                </a:cubicBezTo>
                <a:cubicBezTo>
                  <a:pt x="152375" y="1018399"/>
                  <a:pt x="76832" y="1019051"/>
                  <a:pt x="0" y="1019714"/>
                </a:cubicBezTo>
                <a:cubicBezTo>
                  <a:pt x="0" y="1004040"/>
                  <a:pt x="0" y="989705"/>
                  <a:pt x="0" y="975370"/>
                </a:cubicBezTo>
                <a:close/>
              </a:path>
            </a:pathLst>
          </a:custGeom>
          <a:solidFill>
            <a:srgbClr val="FEFEFD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37" name="Free-form: Shape 136">
            <a:extLst>
              <a:ext uri="{FF2B5EF4-FFF2-40B4-BE49-F238E27FC236}">
                <a16:creationId xmlns:a16="http://schemas.microsoft.com/office/drawing/2014/main" id="{BC994B12-4ADF-EEE4-FDAF-C6277F23D06F}"/>
              </a:ext>
            </a:extLst>
          </p:cNvPr>
          <p:cNvSpPr/>
          <p:nvPr/>
        </p:nvSpPr>
        <p:spPr>
          <a:xfrm>
            <a:off x="6464102" y="5547027"/>
            <a:ext cx="242745" cy="166660"/>
          </a:xfrm>
          <a:custGeom>
            <a:avLst/>
            <a:gdLst>
              <a:gd name="csX0" fmla="*/ 344821 w 572791"/>
              <a:gd name="csY0" fmla="*/ 351014 h 357509"/>
              <a:gd name="csX1" fmla="*/ 0 w 572791"/>
              <a:gd name="csY1" fmla="*/ 355669 h 357509"/>
              <a:gd name="csX2" fmla="*/ 1306 w 572791"/>
              <a:gd name="csY2" fmla="*/ 18915 h 357509"/>
              <a:gd name="csX3" fmla="*/ 12212 w 572791"/>
              <a:gd name="csY3" fmla="*/ 17740 h 357509"/>
              <a:gd name="csX4" fmla="*/ 132738 w 572791"/>
              <a:gd name="csY4" fmla="*/ 15715 h 357509"/>
              <a:gd name="csX5" fmla="*/ 364924 w 572791"/>
              <a:gd name="csY5" fmla="*/ 2198 h 357509"/>
              <a:gd name="csX6" fmla="*/ 402207 w 572791"/>
              <a:gd name="csY6" fmla="*/ 0 h 357509"/>
              <a:gd name="csX7" fmla="*/ 403816 w 572791"/>
              <a:gd name="csY7" fmla="*/ 4817 h 357509"/>
              <a:gd name="csX8" fmla="*/ 443486 w 572791"/>
              <a:gd name="csY8" fmla="*/ 95035 h 357509"/>
              <a:gd name="csX9" fmla="*/ 503695 w 572791"/>
              <a:gd name="csY9" fmla="*/ 157671 h 357509"/>
              <a:gd name="csX10" fmla="*/ 544964 w 572791"/>
              <a:gd name="csY10" fmla="*/ 208741 h 357509"/>
              <a:gd name="csX11" fmla="*/ 572752 w 572791"/>
              <a:gd name="csY11" fmla="*/ 314190 h 357509"/>
              <a:gd name="csX12" fmla="*/ 571373 w 572791"/>
              <a:gd name="csY12" fmla="*/ 324914 h 357509"/>
              <a:gd name="csX13" fmla="*/ 344821 w 572791"/>
              <a:gd name="csY13" fmla="*/ 351014 h 35750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</a:cxnLst>
            <a:rect l="l" t="t" r="r" b="b"/>
            <a:pathLst>
              <a:path w="572791" h="357509">
                <a:moveTo>
                  <a:pt x="344821" y="351014"/>
                </a:moveTo>
                <a:cubicBezTo>
                  <a:pt x="229704" y="359270"/>
                  <a:pt x="115810" y="358215"/>
                  <a:pt x="0" y="355669"/>
                </a:cubicBezTo>
                <a:cubicBezTo>
                  <a:pt x="6641" y="242789"/>
                  <a:pt x="11423" y="131403"/>
                  <a:pt x="1306" y="18915"/>
                </a:cubicBezTo>
                <a:cubicBezTo>
                  <a:pt x="5142" y="18486"/>
                  <a:pt x="8671" y="17803"/>
                  <a:pt x="12212" y="17740"/>
                </a:cubicBezTo>
                <a:cubicBezTo>
                  <a:pt x="52386" y="17019"/>
                  <a:pt x="92565" y="16532"/>
                  <a:pt x="132738" y="15715"/>
                </a:cubicBezTo>
                <a:cubicBezTo>
                  <a:pt x="210300" y="14136"/>
                  <a:pt x="287658" y="8969"/>
                  <a:pt x="364924" y="2198"/>
                </a:cubicBezTo>
                <a:cubicBezTo>
                  <a:pt x="377346" y="1110"/>
                  <a:pt x="389829" y="713"/>
                  <a:pt x="402207" y="0"/>
                </a:cubicBezTo>
                <a:cubicBezTo>
                  <a:pt x="402989" y="2261"/>
                  <a:pt x="403828" y="3543"/>
                  <a:pt x="403816" y="4817"/>
                </a:cubicBezTo>
                <a:cubicBezTo>
                  <a:pt x="403458" y="40866"/>
                  <a:pt x="420668" y="69493"/>
                  <a:pt x="443486" y="95035"/>
                </a:cubicBezTo>
                <a:cubicBezTo>
                  <a:pt x="462767" y="116618"/>
                  <a:pt x="484228" y="136244"/>
                  <a:pt x="503695" y="157671"/>
                </a:cubicBezTo>
                <a:cubicBezTo>
                  <a:pt x="518401" y="173858"/>
                  <a:pt x="532941" y="190557"/>
                  <a:pt x="544964" y="208741"/>
                </a:cubicBezTo>
                <a:cubicBezTo>
                  <a:pt x="565917" y="240429"/>
                  <a:pt x="573411" y="276430"/>
                  <a:pt x="572752" y="314190"/>
                </a:cubicBezTo>
                <a:cubicBezTo>
                  <a:pt x="572696" y="317365"/>
                  <a:pt x="571957" y="320529"/>
                  <a:pt x="571373" y="324914"/>
                </a:cubicBezTo>
                <a:cubicBezTo>
                  <a:pt x="496226" y="334583"/>
                  <a:pt x="421404" y="344621"/>
                  <a:pt x="344821" y="351014"/>
                </a:cubicBezTo>
                <a:close/>
              </a:path>
            </a:pathLst>
          </a:custGeom>
          <a:solidFill>
            <a:srgbClr val="FEFEFD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38" name="Free-form: Shape 137">
            <a:extLst>
              <a:ext uri="{FF2B5EF4-FFF2-40B4-BE49-F238E27FC236}">
                <a16:creationId xmlns:a16="http://schemas.microsoft.com/office/drawing/2014/main" id="{1D4E1F77-0B22-1355-37E2-D61E50F1CABE}"/>
              </a:ext>
            </a:extLst>
          </p:cNvPr>
          <p:cNvSpPr/>
          <p:nvPr/>
        </p:nvSpPr>
        <p:spPr>
          <a:xfrm>
            <a:off x="6463213" y="5739747"/>
            <a:ext cx="259324" cy="66477"/>
          </a:xfrm>
          <a:custGeom>
            <a:avLst/>
            <a:gdLst>
              <a:gd name="csX0" fmla="*/ 298270 w 611913"/>
              <a:gd name="csY0" fmla="*/ 29215 h 142602"/>
              <a:gd name="csX1" fmla="*/ 512796 w 611913"/>
              <a:gd name="csY1" fmla="*/ 6951 h 142602"/>
              <a:gd name="csX2" fmla="*/ 567029 w 611913"/>
              <a:gd name="csY2" fmla="*/ 256 h 142602"/>
              <a:gd name="csX3" fmla="*/ 586840 w 611913"/>
              <a:gd name="csY3" fmla="*/ 10038 h 142602"/>
              <a:gd name="csX4" fmla="*/ 593324 w 611913"/>
              <a:gd name="csY4" fmla="*/ 20837 h 142602"/>
              <a:gd name="csX5" fmla="*/ 611914 w 611913"/>
              <a:gd name="csY5" fmla="*/ 96596 h 142602"/>
              <a:gd name="csX6" fmla="*/ 598468 w 611913"/>
              <a:gd name="csY6" fmla="*/ 100799 h 142602"/>
              <a:gd name="csX7" fmla="*/ 410669 w 611913"/>
              <a:gd name="csY7" fmla="*/ 132209 h 142602"/>
              <a:gd name="csX8" fmla="*/ 125026 w 611913"/>
              <a:gd name="csY8" fmla="*/ 141814 h 142602"/>
              <a:gd name="csX9" fmla="*/ 11546 w 611913"/>
              <a:gd name="csY9" fmla="*/ 137848 h 142602"/>
              <a:gd name="csX10" fmla="*/ 0 w 611913"/>
              <a:gd name="csY10" fmla="*/ 136841 h 142602"/>
              <a:gd name="csX11" fmla="*/ 6226 w 611913"/>
              <a:gd name="csY11" fmla="*/ 34049 h 142602"/>
              <a:gd name="csX12" fmla="*/ 25148 w 611913"/>
              <a:gd name="csY12" fmla="*/ 34049 h 142602"/>
              <a:gd name="csX13" fmla="*/ 203168 w 611913"/>
              <a:gd name="csY13" fmla="*/ 33784 h 142602"/>
              <a:gd name="csX14" fmla="*/ 298270 w 611913"/>
              <a:gd name="csY14" fmla="*/ 29215 h 14260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</a:cxnLst>
            <a:rect l="l" t="t" r="r" b="b"/>
            <a:pathLst>
              <a:path w="611913" h="142602">
                <a:moveTo>
                  <a:pt x="298270" y="29215"/>
                </a:moveTo>
                <a:cubicBezTo>
                  <a:pt x="370954" y="24666"/>
                  <a:pt x="441996" y="17008"/>
                  <a:pt x="512796" y="6951"/>
                </a:cubicBezTo>
                <a:cubicBezTo>
                  <a:pt x="530827" y="4390"/>
                  <a:pt x="548992" y="2783"/>
                  <a:pt x="567029" y="256"/>
                </a:cubicBezTo>
                <a:cubicBezTo>
                  <a:pt x="576202" y="-1030"/>
                  <a:pt x="582311" y="2575"/>
                  <a:pt x="586840" y="10038"/>
                </a:cubicBezTo>
                <a:cubicBezTo>
                  <a:pt x="589020" y="13630"/>
                  <a:pt x="591618" y="17033"/>
                  <a:pt x="593324" y="20837"/>
                </a:cubicBezTo>
                <a:cubicBezTo>
                  <a:pt x="603952" y="44539"/>
                  <a:pt x="608111" y="69801"/>
                  <a:pt x="611914" y="96596"/>
                </a:cubicBezTo>
                <a:cubicBezTo>
                  <a:pt x="607052" y="98130"/>
                  <a:pt x="602824" y="99720"/>
                  <a:pt x="598468" y="100799"/>
                </a:cubicBezTo>
                <a:cubicBezTo>
                  <a:pt x="536680" y="116108"/>
                  <a:pt x="473961" y="125773"/>
                  <a:pt x="410669" y="132209"/>
                </a:cubicBezTo>
                <a:cubicBezTo>
                  <a:pt x="315660" y="141870"/>
                  <a:pt x="220411" y="144010"/>
                  <a:pt x="125026" y="141814"/>
                </a:cubicBezTo>
                <a:cubicBezTo>
                  <a:pt x="87189" y="140943"/>
                  <a:pt x="49371" y="139223"/>
                  <a:pt x="11546" y="137848"/>
                </a:cubicBezTo>
                <a:cubicBezTo>
                  <a:pt x="8331" y="137731"/>
                  <a:pt x="5128" y="137299"/>
                  <a:pt x="0" y="136841"/>
                </a:cubicBezTo>
                <a:cubicBezTo>
                  <a:pt x="917" y="102718"/>
                  <a:pt x="4600" y="69125"/>
                  <a:pt x="6226" y="34049"/>
                </a:cubicBezTo>
                <a:cubicBezTo>
                  <a:pt x="13237" y="34049"/>
                  <a:pt x="19192" y="34051"/>
                  <a:pt x="25148" y="34049"/>
                </a:cubicBezTo>
                <a:cubicBezTo>
                  <a:pt x="84488" y="34030"/>
                  <a:pt x="143836" y="34519"/>
                  <a:pt x="203168" y="33784"/>
                </a:cubicBezTo>
                <a:cubicBezTo>
                  <a:pt x="234447" y="33397"/>
                  <a:pt x="265701" y="30872"/>
                  <a:pt x="298270" y="29215"/>
                </a:cubicBezTo>
                <a:close/>
              </a:path>
            </a:pathLst>
          </a:custGeom>
          <a:solidFill>
            <a:srgbClr val="FEFDFB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39" name="Free-form: Shape 138">
            <a:extLst>
              <a:ext uri="{FF2B5EF4-FFF2-40B4-BE49-F238E27FC236}">
                <a16:creationId xmlns:a16="http://schemas.microsoft.com/office/drawing/2014/main" id="{01CD4562-3EEE-4BF8-98A0-CD61BFC75301}"/>
              </a:ext>
            </a:extLst>
          </p:cNvPr>
          <p:cNvSpPr/>
          <p:nvPr/>
        </p:nvSpPr>
        <p:spPr>
          <a:xfrm>
            <a:off x="6472103" y="4972828"/>
            <a:ext cx="130728" cy="33077"/>
          </a:xfrm>
          <a:custGeom>
            <a:avLst/>
            <a:gdLst>
              <a:gd name="csX0" fmla="*/ 113686 w 308472"/>
              <a:gd name="csY0" fmla="*/ 4708 h 70954"/>
              <a:gd name="csX1" fmla="*/ 238304 w 308472"/>
              <a:gd name="csY1" fmla="*/ 79 h 70954"/>
              <a:gd name="csX2" fmla="*/ 293684 w 308472"/>
              <a:gd name="csY2" fmla="*/ 16423 h 70954"/>
              <a:gd name="csX3" fmla="*/ 308469 w 308472"/>
              <a:gd name="csY3" fmla="*/ 46566 h 70954"/>
              <a:gd name="csX4" fmla="*/ 296679 w 308472"/>
              <a:gd name="csY4" fmla="*/ 60539 h 70954"/>
              <a:gd name="csX5" fmla="*/ 281393 w 308472"/>
              <a:gd name="csY5" fmla="*/ 62359 h 70954"/>
              <a:gd name="csX6" fmla="*/ 13891 w 308472"/>
              <a:gd name="csY6" fmla="*/ 70892 h 70954"/>
              <a:gd name="csX7" fmla="*/ 0 w 308472"/>
              <a:gd name="csY7" fmla="*/ 70909 h 70954"/>
              <a:gd name="csX8" fmla="*/ 4414 w 308472"/>
              <a:gd name="csY8" fmla="*/ 8877 h 70954"/>
              <a:gd name="csX9" fmla="*/ 59085 w 308472"/>
              <a:gd name="csY9" fmla="*/ 6769 h 70954"/>
              <a:gd name="csX10" fmla="*/ 113686 w 308472"/>
              <a:gd name="csY10" fmla="*/ 4708 h 7095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</a:cxnLst>
            <a:rect l="l" t="t" r="r" b="b"/>
            <a:pathLst>
              <a:path w="308472" h="70954">
                <a:moveTo>
                  <a:pt x="113686" y="4708"/>
                </a:moveTo>
                <a:cubicBezTo>
                  <a:pt x="156156" y="3151"/>
                  <a:pt x="197235" y="1744"/>
                  <a:pt x="238304" y="79"/>
                </a:cubicBezTo>
                <a:cubicBezTo>
                  <a:pt x="258693" y="-748"/>
                  <a:pt x="277061" y="4922"/>
                  <a:pt x="293684" y="16423"/>
                </a:cubicBezTo>
                <a:cubicBezTo>
                  <a:pt x="304119" y="23641"/>
                  <a:pt x="308615" y="34077"/>
                  <a:pt x="308469" y="46566"/>
                </a:cubicBezTo>
                <a:cubicBezTo>
                  <a:pt x="308355" y="56359"/>
                  <a:pt x="306312" y="58808"/>
                  <a:pt x="296679" y="60539"/>
                </a:cubicBezTo>
                <a:cubicBezTo>
                  <a:pt x="291635" y="61446"/>
                  <a:pt x="286506" y="62192"/>
                  <a:pt x="281393" y="62359"/>
                </a:cubicBezTo>
                <a:cubicBezTo>
                  <a:pt x="192228" y="65269"/>
                  <a:pt x="103059" y="68083"/>
                  <a:pt x="13891" y="70892"/>
                </a:cubicBezTo>
                <a:cubicBezTo>
                  <a:pt x="9772" y="71022"/>
                  <a:pt x="5645" y="70909"/>
                  <a:pt x="0" y="70909"/>
                </a:cubicBezTo>
                <a:cubicBezTo>
                  <a:pt x="1487" y="50015"/>
                  <a:pt x="2892" y="30265"/>
                  <a:pt x="4414" y="8877"/>
                </a:cubicBezTo>
                <a:cubicBezTo>
                  <a:pt x="23034" y="7159"/>
                  <a:pt x="41075" y="7283"/>
                  <a:pt x="59085" y="6769"/>
                </a:cubicBezTo>
                <a:cubicBezTo>
                  <a:pt x="76825" y="6262"/>
                  <a:pt x="94556" y="5438"/>
                  <a:pt x="113686" y="4708"/>
                </a:cubicBezTo>
                <a:close/>
              </a:path>
            </a:pathLst>
          </a:custGeom>
          <a:solidFill>
            <a:srgbClr val="FEFDFB"/>
          </a:solidFill>
          <a:ln w="1401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40" name="Free-form: Shape 139">
            <a:extLst>
              <a:ext uri="{FF2B5EF4-FFF2-40B4-BE49-F238E27FC236}">
                <a16:creationId xmlns:a16="http://schemas.microsoft.com/office/drawing/2014/main" id="{A47B522A-58F7-C7B4-0E9F-84D21F4257BC}"/>
              </a:ext>
            </a:extLst>
          </p:cNvPr>
          <p:cNvSpPr/>
          <p:nvPr/>
        </p:nvSpPr>
        <p:spPr>
          <a:xfrm>
            <a:off x="6464260" y="4572461"/>
            <a:ext cx="162064" cy="275701"/>
          </a:xfrm>
          <a:custGeom>
            <a:avLst/>
            <a:gdLst>
              <a:gd name="csX0" fmla="*/ 14188 w 382415"/>
              <a:gd name="csY0" fmla="*/ 447946 h 591415"/>
              <a:gd name="csX1" fmla="*/ 12298 w 382415"/>
              <a:gd name="csY1" fmla="*/ 381038 h 591415"/>
              <a:gd name="csX2" fmla="*/ 11200 w 382415"/>
              <a:gd name="csY2" fmla="*/ 363835 h 591415"/>
              <a:gd name="csX3" fmla="*/ 9378 w 382415"/>
              <a:gd name="csY3" fmla="*/ 305508 h 591415"/>
              <a:gd name="csX4" fmla="*/ 8516 w 382415"/>
              <a:gd name="csY4" fmla="*/ 296482 h 591415"/>
              <a:gd name="csX5" fmla="*/ 6728 w 382415"/>
              <a:gd name="csY5" fmla="*/ 223958 h 591415"/>
              <a:gd name="csX6" fmla="*/ 5645 w 382415"/>
              <a:gd name="csY6" fmla="*/ 206735 h 591415"/>
              <a:gd name="csX7" fmla="*/ 3964 w 382415"/>
              <a:gd name="csY7" fmla="*/ 137053 h 591415"/>
              <a:gd name="csX8" fmla="*/ 2902 w 382415"/>
              <a:gd name="csY8" fmla="*/ 122565 h 591415"/>
              <a:gd name="csX9" fmla="*/ 1011 w 382415"/>
              <a:gd name="csY9" fmla="*/ 47301 h 591415"/>
              <a:gd name="csX10" fmla="*/ 20 w 382415"/>
              <a:gd name="csY10" fmla="*/ 32821 h 591415"/>
              <a:gd name="csX11" fmla="*/ 512 w 382415"/>
              <a:gd name="csY11" fmla="*/ 4394 h 591415"/>
              <a:gd name="csX12" fmla="*/ 2417 w 382415"/>
              <a:gd name="csY12" fmla="*/ 1592 h 591415"/>
              <a:gd name="csX13" fmla="*/ 115794 w 382415"/>
              <a:gd name="csY13" fmla="*/ 4 h 591415"/>
              <a:gd name="csX14" fmla="*/ 162265 w 382415"/>
              <a:gd name="csY14" fmla="*/ 2117 h 591415"/>
              <a:gd name="csX15" fmla="*/ 168630 w 382415"/>
              <a:gd name="csY15" fmla="*/ 1773 h 591415"/>
              <a:gd name="csX16" fmla="*/ 314663 w 382415"/>
              <a:gd name="csY16" fmla="*/ 18731 h 591415"/>
              <a:gd name="csX17" fmla="*/ 367127 w 382415"/>
              <a:gd name="csY17" fmla="*/ 32924 h 591415"/>
              <a:gd name="csX18" fmla="*/ 382384 w 382415"/>
              <a:gd name="csY18" fmla="*/ 56466 h 591415"/>
              <a:gd name="csX19" fmla="*/ 368394 w 382415"/>
              <a:gd name="csY19" fmla="*/ 120544 h 591415"/>
              <a:gd name="csX20" fmla="*/ 314675 w 382415"/>
              <a:gd name="csY20" fmla="*/ 270961 h 591415"/>
              <a:gd name="csX21" fmla="*/ 213644 w 382415"/>
              <a:gd name="csY21" fmla="*/ 563667 h 591415"/>
              <a:gd name="csX22" fmla="*/ 205897 w 382415"/>
              <a:gd name="csY22" fmla="*/ 585758 h 591415"/>
              <a:gd name="csX23" fmla="*/ 138249 w 382415"/>
              <a:gd name="csY23" fmla="*/ 587362 h 591415"/>
              <a:gd name="csX24" fmla="*/ 118197 w 382415"/>
              <a:gd name="csY24" fmla="*/ 588344 h 591415"/>
              <a:gd name="csX25" fmla="*/ 59707 w 382415"/>
              <a:gd name="csY25" fmla="*/ 590000 h 591415"/>
              <a:gd name="csX26" fmla="*/ 42516 w 382415"/>
              <a:gd name="csY26" fmla="*/ 591416 h 591415"/>
              <a:gd name="csX27" fmla="*/ 20811 w 382415"/>
              <a:gd name="csY27" fmla="*/ 591416 h 591415"/>
              <a:gd name="csX28" fmla="*/ 17902 w 382415"/>
              <a:gd name="csY28" fmla="*/ 546518 h 591415"/>
              <a:gd name="csX29" fmla="*/ 16779 w 382415"/>
              <a:gd name="csY29" fmla="*/ 526538 h 591415"/>
              <a:gd name="csX30" fmla="*/ 15163 w 382415"/>
              <a:gd name="csY30" fmla="*/ 459741 h 591415"/>
              <a:gd name="csX31" fmla="*/ 14188 w 382415"/>
              <a:gd name="csY31" fmla="*/ 447946 h 59141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</a:cxnLst>
            <a:rect l="l" t="t" r="r" b="b"/>
            <a:pathLst>
              <a:path w="382415" h="591415">
                <a:moveTo>
                  <a:pt x="14188" y="447946"/>
                </a:moveTo>
                <a:cubicBezTo>
                  <a:pt x="13448" y="426344"/>
                  <a:pt x="12708" y="404741"/>
                  <a:pt x="12298" y="381038"/>
                </a:cubicBezTo>
                <a:cubicBezTo>
                  <a:pt x="12152" y="373904"/>
                  <a:pt x="11676" y="368869"/>
                  <a:pt x="11200" y="363835"/>
                </a:cubicBezTo>
                <a:cubicBezTo>
                  <a:pt x="10498" y="345020"/>
                  <a:pt x="9796" y="326206"/>
                  <a:pt x="9378" y="305508"/>
                </a:cubicBezTo>
                <a:cubicBezTo>
                  <a:pt x="9280" y="301244"/>
                  <a:pt x="8898" y="298863"/>
                  <a:pt x="8516" y="296482"/>
                </a:cubicBezTo>
                <a:cubicBezTo>
                  <a:pt x="7809" y="273008"/>
                  <a:pt x="7102" y="249535"/>
                  <a:pt x="6728" y="223958"/>
                </a:cubicBezTo>
                <a:cubicBezTo>
                  <a:pt x="6589" y="216815"/>
                  <a:pt x="6117" y="211775"/>
                  <a:pt x="5645" y="206735"/>
                </a:cubicBezTo>
                <a:cubicBezTo>
                  <a:pt x="4976" y="184187"/>
                  <a:pt x="4307" y="161639"/>
                  <a:pt x="3964" y="137053"/>
                </a:cubicBezTo>
                <a:cubicBezTo>
                  <a:pt x="3828" y="130865"/>
                  <a:pt x="3365" y="126715"/>
                  <a:pt x="2902" y="122565"/>
                </a:cubicBezTo>
                <a:cubicBezTo>
                  <a:pt x="2158" y="98167"/>
                  <a:pt x="1414" y="73768"/>
                  <a:pt x="1011" y="47301"/>
                </a:cubicBezTo>
                <a:cubicBezTo>
                  <a:pt x="908" y="41095"/>
                  <a:pt x="464" y="36958"/>
                  <a:pt x="20" y="32821"/>
                </a:cubicBezTo>
                <a:cubicBezTo>
                  <a:pt x="-19" y="23766"/>
                  <a:pt x="-59" y="14711"/>
                  <a:pt x="512" y="4394"/>
                </a:cubicBezTo>
                <a:cubicBezTo>
                  <a:pt x="1883" y="2894"/>
                  <a:pt x="2314" y="2381"/>
                  <a:pt x="2417" y="1592"/>
                </a:cubicBezTo>
                <a:cubicBezTo>
                  <a:pt x="40209" y="1024"/>
                  <a:pt x="78000" y="223"/>
                  <a:pt x="115794" y="4"/>
                </a:cubicBezTo>
                <a:cubicBezTo>
                  <a:pt x="130708" y="-82"/>
                  <a:pt x="145630" y="1128"/>
                  <a:pt x="162265" y="2117"/>
                </a:cubicBezTo>
                <a:cubicBezTo>
                  <a:pt x="165531" y="2247"/>
                  <a:pt x="167081" y="2010"/>
                  <a:pt x="168630" y="1773"/>
                </a:cubicBezTo>
                <a:cubicBezTo>
                  <a:pt x="217325" y="7297"/>
                  <a:pt x="266121" y="12088"/>
                  <a:pt x="314663" y="18731"/>
                </a:cubicBezTo>
                <a:cubicBezTo>
                  <a:pt x="332471" y="21168"/>
                  <a:pt x="349777" y="27666"/>
                  <a:pt x="367127" y="32924"/>
                </a:cubicBezTo>
                <a:cubicBezTo>
                  <a:pt x="378391" y="36339"/>
                  <a:pt x="382842" y="44413"/>
                  <a:pt x="382384" y="56466"/>
                </a:cubicBezTo>
                <a:cubicBezTo>
                  <a:pt x="381538" y="78749"/>
                  <a:pt x="375716" y="99822"/>
                  <a:pt x="368394" y="120544"/>
                </a:cubicBezTo>
                <a:cubicBezTo>
                  <a:pt x="350655" y="170742"/>
                  <a:pt x="332173" y="220680"/>
                  <a:pt x="314675" y="270961"/>
                </a:cubicBezTo>
                <a:cubicBezTo>
                  <a:pt x="280751" y="368444"/>
                  <a:pt x="247300" y="466091"/>
                  <a:pt x="213644" y="563667"/>
                </a:cubicBezTo>
                <a:cubicBezTo>
                  <a:pt x="211232" y="570661"/>
                  <a:pt x="208750" y="577629"/>
                  <a:pt x="205897" y="585758"/>
                </a:cubicBezTo>
                <a:cubicBezTo>
                  <a:pt x="184079" y="586417"/>
                  <a:pt x="162247" y="587077"/>
                  <a:pt x="138249" y="587362"/>
                </a:cubicBezTo>
                <a:cubicBezTo>
                  <a:pt x="130120" y="587439"/>
                  <a:pt x="124159" y="587891"/>
                  <a:pt x="118197" y="588344"/>
                </a:cubicBezTo>
                <a:cubicBezTo>
                  <a:pt x="99397" y="589004"/>
                  <a:pt x="80596" y="589663"/>
                  <a:pt x="59707" y="590000"/>
                </a:cubicBezTo>
                <a:cubicBezTo>
                  <a:pt x="52584" y="590258"/>
                  <a:pt x="47550" y="590837"/>
                  <a:pt x="42516" y="591416"/>
                </a:cubicBezTo>
                <a:cubicBezTo>
                  <a:pt x="35565" y="591416"/>
                  <a:pt x="28614" y="591416"/>
                  <a:pt x="20811" y="591416"/>
                </a:cubicBezTo>
                <a:cubicBezTo>
                  <a:pt x="16891" y="577297"/>
                  <a:pt x="18678" y="562841"/>
                  <a:pt x="17902" y="546518"/>
                </a:cubicBezTo>
                <a:cubicBezTo>
                  <a:pt x="17764" y="538425"/>
                  <a:pt x="17271" y="532482"/>
                  <a:pt x="16779" y="526538"/>
                </a:cubicBezTo>
                <a:cubicBezTo>
                  <a:pt x="16131" y="504937"/>
                  <a:pt x="15482" y="483336"/>
                  <a:pt x="15163" y="459741"/>
                </a:cubicBezTo>
                <a:cubicBezTo>
                  <a:pt x="15057" y="454480"/>
                  <a:pt x="14622" y="451213"/>
                  <a:pt x="14188" y="447946"/>
                </a:cubicBezTo>
                <a:close/>
              </a:path>
            </a:pathLst>
          </a:custGeom>
          <a:solidFill>
            <a:srgbClr val="FEFEFD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41" name="Free-form: Shape 140">
            <a:extLst>
              <a:ext uri="{FF2B5EF4-FFF2-40B4-BE49-F238E27FC236}">
                <a16:creationId xmlns:a16="http://schemas.microsoft.com/office/drawing/2014/main" id="{4F63C6CF-0EC7-7AFB-19EB-DC899E0DE1CC}"/>
              </a:ext>
            </a:extLst>
          </p:cNvPr>
          <p:cNvSpPr/>
          <p:nvPr/>
        </p:nvSpPr>
        <p:spPr>
          <a:xfrm>
            <a:off x="6472448" y="4883173"/>
            <a:ext cx="100308" cy="62743"/>
          </a:xfrm>
          <a:custGeom>
            <a:avLst/>
            <a:gdLst>
              <a:gd name="csX0" fmla="*/ 105130 w 236692"/>
              <a:gd name="csY0" fmla="*/ 130054 h 134592"/>
              <a:gd name="csX1" fmla="*/ 4609 w 236692"/>
              <a:gd name="csY1" fmla="*/ 134592 h 134592"/>
              <a:gd name="csX2" fmla="*/ 3775 w 236692"/>
              <a:gd name="csY2" fmla="*/ 121667 h 134592"/>
              <a:gd name="csX3" fmla="*/ 3868 w 236692"/>
              <a:gd name="csY3" fmla="*/ 51573 h 134592"/>
              <a:gd name="csX4" fmla="*/ 0 w 236692"/>
              <a:gd name="csY4" fmla="*/ 9673 h 134592"/>
              <a:gd name="csX5" fmla="*/ 184850 w 236692"/>
              <a:gd name="csY5" fmla="*/ 471 h 134592"/>
              <a:gd name="csX6" fmla="*/ 185564 w 236692"/>
              <a:gd name="csY6" fmla="*/ 15071 h 134592"/>
              <a:gd name="csX7" fmla="*/ 204819 w 236692"/>
              <a:gd name="csY7" fmla="*/ 54944 h 134592"/>
              <a:gd name="csX8" fmla="*/ 236693 w 236692"/>
              <a:gd name="csY8" fmla="*/ 123534 h 134592"/>
              <a:gd name="csX9" fmla="*/ 170865 w 236692"/>
              <a:gd name="csY9" fmla="*/ 126995 h 134592"/>
              <a:gd name="csX10" fmla="*/ 105130 w 236692"/>
              <a:gd name="csY10" fmla="*/ 130054 h 13459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</a:cxnLst>
            <a:rect l="l" t="t" r="r" b="b"/>
            <a:pathLst>
              <a:path w="236692" h="134592">
                <a:moveTo>
                  <a:pt x="105130" y="130054"/>
                </a:moveTo>
                <a:cubicBezTo>
                  <a:pt x="71180" y="131586"/>
                  <a:pt x="38558" y="133059"/>
                  <a:pt x="4609" y="134592"/>
                </a:cubicBezTo>
                <a:cubicBezTo>
                  <a:pt x="4277" y="129680"/>
                  <a:pt x="3770" y="125673"/>
                  <a:pt x="3775" y="121667"/>
                </a:cubicBezTo>
                <a:cubicBezTo>
                  <a:pt x="3800" y="98301"/>
                  <a:pt x="4430" y="74923"/>
                  <a:pt x="3868" y="51573"/>
                </a:cubicBezTo>
                <a:cubicBezTo>
                  <a:pt x="3536" y="37759"/>
                  <a:pt x="1384" y="23989"/>
                  <a:pt x="0" y="9673"/>
                </a:cubicBezTo>
                <a:cubicBezTo>
                  <a:pt x="9728" y="5925"/>
                  <a:pt x="156314" y="-2008"/>
                  <a:pt x="184850" y="471"/>
                </a:cubicBezTo>
                <a:cubicBezTo>
                  <a:pt x="185096" y="5177"/>
                  <a:pt x="185626" y="10128"/>
                  <a:pt x="185564" y="15071"/>
                </a:cubicBezTo>
                <a:cubicBezTo>
                  <a:pt x="185359" y="31609"/>
                  <a:pt x="191283" y="44787"/>
                  <a:pt x="204819" y="54944"/>
                </a:cubicBezTo>
                <a:cubicBezTo>
                  <a:pt x="227073" y="71641"/>
                  <a:pt x="235149" y="95272"/>
                  <a:pt x="236693" y="123534"/>
                </a:cubicBezTo>
                <a:cubicBezTo>
                  <a:pt x="214423" y="127191"/>
                  <a:pt x="192555" y="125928"/>
                  <a:pt x="170865" y="126995"/>
                </a:cubicBezTo>
                <a:cubicBezTo>
                  <a:pt x="149400" y="128051"/>
                  <a:pt x="127929" y="128999"/>
                  <a:pt x="105130" y="130054"/>
                </a:cubicBezTo>
                <a:close/>
              </a:path>
            </a:pathLst>
          </a:custGeom>
          <a:solidFill>
            <a:srgbClr val="FEFDFB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42" name="Free-form: Shape 141">
            <a:extLst>
              <a:ext uri="{FF2B5EF4-FFF2-40B4-BE49-F238E27FC236}">
                <a16:creationId xmlns:a16="http://schemas.microsoft.com/office/drawing/2014/main" id="{8E964294-046C-D8A4-DB32-A21911CC5AA6}"/>
              </a:ext>
            </a:extLst>
          </p:cNvPr>
          <p:cNvSpPr/>
          <p:nvPr/>
        </p:nvSpPr>
        <p:spPr>
          <a:xfrm>
            <a:off x="1469831" y="4560318"/>
            <a:ext cx="593502" cy="1281815"/>
          </a:xfrm>
          <a:custGeom>
            <a:avLst/>
            <a:gdLst>
              <a:gd name="csX0" fmla="*/ 576414 w 768725"/>
              <a:gd name="csY0" fmla="*/ 893042 h 1509319"/>
              <a:gd name="csX1" fmla="*/ 613047 w 768725"/>
              <a:gd name="csY1" fmla="*/ 1059329 h 1509319"/>
              <a:gd name="csX2" fmla="*/ 623337 w 768725"/>
              <a:gd name="csY2" fmla="*/ 1071825 h 1509319"/>
              <a:gd name="csX3" fmla="*/ 639863 w 768725"/>
              <a:gd name="csY3" fmla="*/ 1079946 h 1509319"/>
              <a:gd name="csX4" fmla="*/ 652266 w 768725"/>
              <a:gd name="csY4" fmla="*/ 1109045 h 1509319"/>
              <a:gd name="csX5" fmla="*/ 645501 w 768725"/>
              <a:gd name="csY5" fmla="*/ 1127466 h 1509319"/>
              <a:gd name="csX6" fmla="*/ 645547 w 768725"/>
              <a:gd name="csY6" fmla="*/ 1144138 h 1509319"/>
              <a:gd name="csX7" fmla="*/ 664589 w 768725"/>
              <a:gd name="csY7" fmla="*/ 1175322 h 1509319"/>
              <a:gd name="csX8" fmla="*/ 712015 w 768725"/>
              <a:gd name="csY8" fmla="*/ 1225118 h 1509319"/>
              <a:gd name="csX9" fmla="*/ 744465 w 768725"/>
              <a:gd name="csY9" fmla="*/ 1300385 h 1509319"/>
              <a:gd name="csX10" fmla="*/ 743270 w 768725"/>
              <a:gd name="csY10" fmla="*/ 1350524 h 1509319"/>
              <a:gd name="csX11" fmla="*/ 745429 w 768725"/>
              <a:gd name="csY11" fmla="*/ 1363274 h 1509319"/>
              <a:gd name="csX12" fmla="*/ 768672 w 768725"/>
              <a:gd name="csY12" fmla="*/ 1456512 h 1509319"/>
              <a:gd name="csX13" fmla="*/ 758521 w 768725"/>
              <a:gd name="csY13" fmla="*/ 1472434 h 1509319"/>
              <a:gd name="csX14" fmla="*/ 730455 w 768725"/>
              <a:gd name="csY14" fmla="*/ 1481228 h 1509319"/>
              <a:gd name="csX15" fmla="*/ 594867 w 768725"/>
              <a:gd name="csY15" fmla="*/ 1502210 h 1509319"/>
              <a:gd name="csX16" fmla="*/ 320018 w 768725"/>
              <a:gd name="csY16" fmla="*/ 1508300 h 1509319"/>
              <a:gd name="csX17" fmla="*/ 186464 w 768725"/>
              <a:gd name="csY17" fmla="*/ 1501258 h 1509319"/>
              <a:gd name="csX18" fmla="*/ 26582 w 768725"/>
              <a:gd name="csY18" fmla="*/ 1477021 h 1509319"/>
              <a:gd name="csX19" fmla="*/ 3929 w 768725"/>
              <a:gd name="csY19" fmla="*/ 1465652 h 1509319"/>
              <a:gd name="csX20" fmla="*/ 18 w 768725"/>
              <a:gd name="csY20" fmla="*/ 1456203 h 1509319"/>
              <a:gd name="csX21" fmla="*/ 4393 w 768725"/>
              <a:gd name="csY21" fmla="*/ 1417235 h 1509319"/>
              <a:gd name="csX22" fmla="*/ 19158 w 768725"/>
              <a:gd name="csY22" fmla="*/ 1370678 h 1509319"/>
              <a:gd name="csX23" fmla="*/ 23255 w 768725"/>
              <a:gd name="csY23" fmla="*/ 1342388 h 1509319"/>
              <a:gd name="csX24" fmla="*/ 38705 w 768725"/>
              <a:gd name="csY24" fmla="*/ 1247261 h 1509319"/>
              <a:gd name="csX25" fmla="*/ 58454 w 768725"/>
              <a:gd name="csY25" fmla="*/ 1220807 h 1509319"/>
              <a:gd name="csX26" fmla="*/ 103638 w 768725"/>
              <a:gd name="csY26" fmla="*/ 1175667 h 1509319"/>
              <a:gd name="csX27" fmla="*/ 122996 w 768725"/>
              <a:gd name="csY27" fmla="*/ 1146131 h 1509319"/>
              <a:gd name="csX28" fmla="*/ 122689 w 768725"/>
              <a:gd name="csY28" fmla="*/ 1128316 h 1509319"/>
              <a:gd name="csX29" fmla="*/ 116576 w 768725"/>
              <a:gd name="csY29" fmla="*/ 1113575 h 1509319"/>
              <a:gd name="csX30" fmla="*/ 127479 w 768725"/>
              <a:gd name="csY30" fmla="*/ 1081076 h 1509319"/>
              <a:gd name="csX31" fmla="*/ 137480 w 768725"/>
              <a:gd name="csY31" fmla="*/ 1076482 h 1509319"/>
              <a:gd name="csX32" fmla="*/ 157312 w 768725"/>
              <a:gd name="csY32" fmla="*/ 1053855 h 1509319"/>
              <a:gd name="csX33" fmla="*/ 178876 w 768725"/>
              <a:gd name="csY33" fmla="*/ 958120 h 1509319"/>
              <a:gd name="csX34" fmla="*/ 210165 w 768725"/>
              <a:gd name="csY34" fmla="*/ 781849 h 1509319"/>
              <a:gd name="csX35" fmla="*/ 223295 w 768725"/>
              <a:gd name="csY35" fmla="*/ 674755 h 1509319"/>
              <a:gd name="csX36" fmla="*/ 231121 w 768725"/>
              <a:gd name="csY36" fmla="*/ 564636 h 1509319"/>
              <a:gd name="csX37" fmla="*/ 235173 w 768725"/>
              <a:gd name="csY37" fmla="*/ 453038 h 1509319"/>
              <a:gd name="csX38" fmla="*/ 235001 w 768725"/>
              <a:gd name="csY38" fmla="*/ 443215 h 1509319"/>
              <a:gd name="csX39" fmla="*/ 224321 w 768725"/>
              <a:gd name="csY39" fmla="*/ 428479 h 1509319"/>
              <a:gd name="csX40" fmla="*/ 204712 w 768725"/>
              <a:gd name="csY40" fmla="*/ 418450 h 1509319"/>
              <a:gd name="csX41" fmla="*/ 184069 w 768725"/>
              <a:gd name="csY41" fmla="*/ 366060 h 1509319"/>
              <a:gd name="csX42" fmla="*/ 206519 w 768725"/>
              <a:gd name="csY42" fmla="*/ 338181 h 1509319"/>
              <a:gd name="csX43" fmla="*/ 226643 w 768725"/>
              <a:gd name="csY43" fmla="*/ 329113 h 1509319"/>
              <a:gd name="csX44" fmla="*/ 232085 w 768725"/>
              <a:gd name="csY44" fmla="*/ 311135 h 1509319"/>
              <a:gd name="csX45" fmla="*/ 221280 w 768725"/>
              <a:gd name="csY45" fmla="*/ 299552 h 1509319"/>
              <a:gd name="csX46" fmla="*/ 173478 w 768725"/>
              <a:gd name="csY46" fmla="*/ 230303 h 1509319"/>
              <a:gd name="csX47" fmla="*/ 141864 w 768725"/>
              <a:gd name="csY47" fmla="*/ 95780 h 1509319"/>
              <a:gd name="csX48" fmla="*/ 137158 w 768725"/>
              <a:gd name="csY48" fmla="*/ 37107 h 1509319"/>
              <a:gd name="csX49" fmla="*/ 148750 w 768725"/>
              <a:gd name="csY49" fmla="*/ 22335 h 1509319"/>
              <a:gd name="csX50" fmla="*/ 236982 w 768725"/>
              <a:gd name="csY50" fmla="*/ 7640 h 1509319"/>
              <a:gd name="csX51" fmla="*/ 246862 w 768725"/>
              <a:gd name="csY51" fmla="*/ 7580 h 1509319"/>
              <a:gd name="csX52" fmla="*/ 261473 w 768725"/>
              <a:gd name="csY52" fmla="*/ 86763 h 1509319"/>
              <a:gd name="csX53" fmla="*/ 306246 w 768725"/>
              <a:gd name="csY53" fmla="*/ 83559 h 1509319"/>
              <a:gd name="csX54" fmla="*/ 306960 w 768725"/>
              <a:gd name="csY54" fmla="*/ 71087 h 1509319"/>
              <a:gd name="csX55" fmla="*/ 306724 w 768725"/>
              <a:gd name="csY55" fmla="*/ 19491 h 1509319"/>
              <a:gd name="csX56" fmla="*/ 319581 w 768725"/>
              <a:gd name="csY56" fmla="*/ 4733 h 1509319"/>
              <a:gd name="csX57" fmla="*/ 430956 w 768725"/>
              <a:gd name="csY57" fmla="*/ 2070 h 1509319"/>
              <a:gd name="csX58" fmla="*/ 437066 w 768725"/>
              <a:gd name="csY58" fmla="*/ 2646 h 1509319"/>
              <a:gd name="csX59" fmla="*/ 460335 w 768725"/>
              <a:gd name="csY59" fmla="*/ 24205 h 1509319"/>
              <a:gd name="csX60" fmla="*/ 463579 w 768725"/>
              <a:gd name="csY60" fmla="*/ 62081 h 1509319"/>
              <a:gd name="csX61" fmla="*/ 463652 w 768725"/>
              <a:gd name="csY61" fmla="*/ 82953 h 1509319"/>
              <a:gd name="csX62" fmla="*/ 507205 w 768725"/>
              <a:gd name="csY62" fmla="*/ 85553 h 1509319"/>
              <a:gd name="csX63" fmla="*/ 513271 w 768725"/>
              <a:gd name="csY63" fmla="*/ 61890 h 1509319"/>
              <a:gd name="csX64" fmla="*/ 520203 w 768725"/>
              <a:gd name="csY64" fmla="*/ 18323 h 1509319"/>
              <a:gd name="csX65" fmla="*/ 534008 w 768725"/>
              <a:gd name="csY65" fmla="*/ 7785 h 1509319"/>
              <a:gd name="csX66" fmla="*/ 595925 w 768725"/>
              <a:gd name="csY66" fmla="*/ 16407 h 1509319"/>
              <a:gd name="csX67" fmla="*/ 619972 w 768725"/>
              <a:gd name="csY67" fmla="*/ 21156 h 1509319"/>
              <a:gd name="csX68" fmla="*/ 631161 w 768725"/>
              <a:gd name="csY68" fmla="*/ 36134 h 1509319"/>
              <a:gd name="csX69" fmla="*/ 628140 w 768725"/>
              <a:gd name="csY69" fmla="*/ 85104 h 1509319"/>
              <a:gd name="csX70" fmla="*/ 613954 w 768725"/>
              <a:gd name="csY70" fmla="*/ 179618 h 1509319"/>
              <a:gd name="csX71" fmla="*/ 586196 w 768725"/>
              <a:gd name="csY71" fmla="*/ 256886 h 1509319"/>
              <a:gd name="csX72" fmla="*/ 554619 w 768725"/>
              <a:gd name="csY72" fmla="*/ 295312 h 1509319"/>
              <a:gd name="csX73" fmla="*/ 538601 w 768725"/>
              <a:gd name="csY73" fmla="*/ 315001 h 1509319"/>
              <a:gd name="csX74" fmla="*/ 542630 w 768725"/>
              <a:gd name="csY74" fmla="*/ 326199 h 1509319"/>
              <a:gd name="csX75" fmla="*/ 560240 w 768725"/>
              <a:gd name="csY75" fmla="*/ 334912 h 1509319"/>
              <a:gd name="csX76" fmla="*/ 586933 w 768725"/>
              <a:gd name="csY76" fmla="*/ 371800 h 1509319"/>
              <a:gd name="csX77" fmla="*/ 563039 w 768725"/>
              <a:gd name="csY77" fmla="*/ 418184 h 1509319"/>
              <a:gd name="csX78" fmla="*/ 545522 w 768725"/>
              <a:gd name="csY78" fmla="*/ 427008 h 1509319"/>
              <a:gd name="csX79" fmla="*/ 535507 w 768725"/>
              <a:gd name="csY79" fmla="*/ 440667 h 1509319"/>
              <a:gd name="csX80" fmla="*/ 536723 w 768725"/>
              <a:gd name="csY80" fmla="*/ 537651 h 1509319"/>
              <a:gd name="csX81" fmla="*/ 539820 w 768725"/>
              <a:gd name="csY81" fmla="*/ 595237 h 1509319"/>
              <a:gd name="csX82" fmla="*/ 553105 w 768725"/>
              <a:gd name="csY82" fmla="*/ 746727 h 1509319"/>
              <a:gd name="csX83" fmla="*/ 576414 w 768725"/>
              <a:gd name="csY83" fmla="*/ 893042 h 1509319"/>
              <a:gd name="csX84" fmla="*/ 500356 w 768725"/>
              <a:gd name="csY84" fmla="*/ 473996 h 1509319"/>
              <a:gd name="csX85" fmla="*/ 499749 w 768725"/>
              <a:gd name="csY85" fmla="*/ 463598 h 1509319"/>
              <a:gd name="csX86" fmla="*/ 392525 w 768725"/>
              <a:gd name="csY86" fmla="*/ 471627 h 1509319"/>
              <a:gd name="csX87" fmla="*/ 392518 w 768725"/>
              <a:gd name="csY87" fmla="*/ 482742 h 1509319"/>
              <a:gd name="csX88" fmla="*/ 390814 w 768725"/>
              <a:gd name="csY88" fmla="*/ 596913 h 1509319"/>
              <a:gd name="csX89" fmla="*/ 385953 w 768725"/>
              <a:gd name="csY89" fmla="*/ 788374 h 1509319"/>
              <a:gd name="csX90" fmla="*/ 383485 w 768725"/>
              <a:gd name="csY90" fmla="*/ 884103 h 1509319"/>
              <a:gd name="csX91" fmla="*/ 380173 w 768725"/>
              <a:gd name="csY91" fmla="*/ 1035109 h 1509319"/>
              <a:gd name="csX92" fmla="*/ 378826 w 768725"/>
              <a:gd name="csY92" fmla="*/ 1068199 h 1509319"/>
              <a:gd name="csX93" fmla="*/ 380180 w 768725"/>
              <a:gd name="csY93" fmla="*/ 1074648 h 1509319"/>
              <a:gd name="csX94" fmla="*/ 446854 w 768725"/>
              <a:gd name="csY94" fmla="*/ 1074654 h 1509319"/>
              <a:gd name="csX95" fmla="*/ 513191 w 768725"/>
              <a:gd name="csY95" fmla="*/ 1074731 h 1509319"/>
              <a:gd name="csX96" fmla="*/ 580317 w 768725"/>
              <a:gd name="csY96" fmla="*/ 1075095 h 1509319"/>
              <a:gd name="csX97" fmla="*/ 500356 w 768725"/>
              <a:gd name="csY97" fmla="*/ 473996 h 1509319"/>
              <a:gd name="csX98" fmla="*/ 459731 w 768725"/>
              <a:gd name="csY98" fmla="*/ 1135086 h 1509319"/>
              <a:gd name="csX99" fmla="*/ 383756 w 768725"/>
              <a:gd name="csY99" fmla="*/ 1135086 h 1509319"/>
              <a:gd name="csX100" fmla="*/ 387612 w 768725"/>
              <a:gd name="csY100" fmla="*/ 1242590 h 1509319"/>
              <a:gd name="csX101" fmla="*/ 383907 w 768725"/>
              <a:gd name="csY101" fmla="*/ 1351330 h 1509319"/>
              <a:gd name="csX102" fmla="*/ 707112 w 768725"/>
              <a:gd name="csY102" fmla="*/ 1330559 h 1509319"/>
              <a:gd name="csX103" fmla="*/ 686366 w 768725"/>
              <a:gd name="csY103" fmla="*/ 1251637 h 1509319"/>
              <a:gd name="csX104" fmla="*/ 639403 w 768725"/>
              <a:gd name="csY104" fmla="*/ 1199952 h 1509319"/>
              <a:gd name="csX105" fmla="*/ 606292 w 768725"/>
              <a:gd name="csY105" fmla="*/ 1135508 h 1509319"/>
              <a:gd name="csX106" fmla="*/ 602971 w 768725"/>
              <a:gd name="csY106" fmla="*/ 1123400 h 1509319"/>
              <a:gd name="csX107" fmla="*/ 591474 w 768725"/>
              <a:gd name="csY107" fmla="*/ 1124633 h 1509319"/>
              <a:gd name="csX108" fmla="*/ 530551 w 768725"/>
              <a:gd name="csY108" fmla="*/ 1130880 h 1509319"/>
              <a:gd name="csX109" fmla="*/ 459731 w 768725"/>
              <a:gd name="csY109" fmla="*/ 1135086 h 1509319"/>
              <a:gd name="csX110" fmla="*/ 469505 w 768725"/>
              <a:gd name="csY110" fmla="*/ 116252 h 1509319"/>
              <a:gd name="csX111" fmla="*/ 443782 w 768725"/>
              <a:gd name="csY111" fmla="*/ 114911 h 1509319"/>
              <a:gd name="csX112" fmla="*/ 430007 w 768725"/>
              <a:gd name="csY112" fmla="*/ 99878 h 1509319"/>
              <a:gd name="csX113" fmla="*/ 429331 w 768725"/>
              <a:gd name="csY113" fmla="*/ 69197 h 1509319"/>
              <a:gd name="csX114" fmla="*/ 426333 w 768725"/>
              <a:gd name="csY114" fmla="*/ 34606 h 1509319"/>
              <a:gd name="csX115" fmla="*/ 377548 w 768725"/>
              <a:gd name="csY115" fmla="*/ 34613 h 1509319"/>
              <a:gd name="csX116" fmla="*/ 368004 w 768725"/>
              <a:gd name="csY116" fmla="*/ 44529 h 1509319"/>
              <a:gd name="csX117" fmla="*/ 366185 w 768725"/>
              <a:gd name="csY117" fmla="*/ 76343 h 1509319"/>
              <a:gd name="csX118" fmla="*/ 379384 w 768725"/>
              <a:gd name="csY118" fmla="*/ 206619 h 1509319"/>
              <a:gd name="csX119" fmla="*/ 390997 w 768725"/>
              <a:gd name="csY119" fmla="*/ 277965 h 1509319"/>
              <a:gd name="csX120" fmla="*/ 394040 w 768725"/>
              <a:gd name="csY120" fmla="*/ 305053 h 1509319"/>
              <a:gd name="csX121" fmla="*/ 501758 w 768725"/>
              <a:gd name="csY121" fmla="*/ 304814 h 1509319"/>
              <a:gd name="csX122" fmla="*/ 510340 w 768725"/>
              <a:gd name="csY122" fmla="*/ 299427 h 1509319"/>
              <a:gd name="csX123" fmla="*/ 526940 w 768725"/>
              <a:gd name="csY123" fmla="*/ 279822 h 1509319"/>
              <a:gd name="csX124" fmla="*/ 576920 w 768725"/>
              <a:gd name="csY124" fmla="*/ 192342 h 1509319"/>
              <a:gd name="csX125" fmla="*/ 594042 w 768725"/>
              <a:gd name="csY125" fmla="*/ 74918 h 1509319"/>
              <a:gd name="csX126" fmla="*/ 594159 w 768725"/>
              <a:gd name="csY126" fmla="*/ 49195 h 1509319"/>
              <a:gd name="csX127" fmla="*/ 554791 w 768725"/>
              <a:gd name="csY127" fmla="*/ 42552 h 1509319"/>
              <a:gd name="csX128" fmla="*/ 552461 w 768725"/>
              <a:gd name="csY128" fmla="*/ 55598 h 1509319"/>
              <a:gd name="csX129" fmla="*/ 544678 w 768725"/>
              <a:gd name="csY129" fmla="*/ 102721 h 1509319"/>
              <a:gd name="csX130" fmla="*/ 525701 w 768725"/>
              <a:gd name="csY130" fmla="*/ 118186 h 1509319"/>
              <a:gd name="csX131" fmla="*/ 469505 w 768725"/>
              <a:gd name="csY131" fmla="*/ 116252 h 1509319"/>
              <a:gd name="csX132" fmla="*/ 513928 w 768725"/>
              <a:gd name="csY132" fmla="*/ 1403203 h 1509319"/>
              <a:gd name="csX133" fmla="*/ 379322 w 768725"/>
              <a:gd name="csY133" fmla="*/ 1404000 h 1509319"/>
              <a:gd name="csX134" fmla="*/ 379322 w 768725"/>
              <a:gd name="csY134" fmla="*/ 1460424 h 1509319"/>
              <a:gd name="csX135" fmla="*/ 726554 w 768725"/>
              <a:gd name="csY135" fmla="*/ 1439225 h 1509319"/>
              <a:gd name="csX136" fmla="*/ 721089 w 768725"/>
              <a:gd name="csY136" fmla="*/ 1397750 h 1509319"/>
              <a:gd name="csX137" fmla="*/ 697967 w 768725"/>
              <a:gd name="csY137" fmla="*/ 1385046 h 1509319"/>
              <a:gd name="csX138" fmla="*/ 619039 w 768725"/>
              <a:gd name="csY138" fmla="*/ 1395892 h 1509319"/>
              <a:gd name="csX139" fmla="*/ 513928 w 768725"/>
              <a:gd name="csY139" fmla="*/ 1403203 h 1509319"/>
              <a:gd name="csX140" fmla="*/ 462814 w 768725"/>
              <a:gd name="csY140" fmla="*/ 375981 h 1509319"/>
              <a:gd name="csX141" fmla="*/ 538992 w 768725"/>
              <a:gd name="csY141" fmla="*/ 375736 h 1509319"/>
              <a:gd name="csX142" fmla="*/ 551835 w 768725"/>
              <a:gd name="csY142" fmla="*/ 373923 h 1509319"/>
              <a:gd name="csX143" fmla="*/ 539689 w 768725"/>
              <a:gd name="csY143" fmla="*/ 356085 h 1509319"/>
              <a:gd name="csX144" fmla="*/ 521074 w 768725"/>
              <a:gd name="csY144" fmla="*/ 344186 h 1509319"/>
              <a:gd name="csX145" fmla="*/ 503789 w 768725"/>
              <a:gd name="csY145" fmla="*/ 339280 h 1509319"/>
              <a:gd name="csX146" fmla="*/ 404270 w 768725"/>
              <a:gd name="csY146" fmla="*/ 339994 h 1509319"/>
              <a:gd name="csX147" fmla="*/ 393081 w 768725"/>
              <a:gd name="csY147" fmla="*/ 340868 h 1509319"/>
              <a:gd name="csX148" fmla="*/ 395001 w 768725"/>
              <a:gd name="csY148" fmla="*/ 375976 h 1509319"/>
              <a:gd name="csX149" fmla="*/ 462814 w 768725"/>
              <a:gd name="csY149" fmla="*/ 375981 h 150931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</a:cxnLst>
            <a:rect l="l" t="t" r="r" b="b"/>
            <a:pathLst>
              <a:path w="768725" h="1509319">
                <a:moveTo>
                  <a:pt x="576414" y="893042"/>
                </a:moveTo>
                <a:cubicBezTo>
                  <a:pt x="588806" y="949146"/>
                  <a:pt x="601091" y="1004202"/>
                  <a:pt x="613047" y="1059329"/>
                </a:cubicBezTo>
                <a:cubicBezTo>
                  <a:pt x="614432" y="1065716"/>
                  <a:pt x="617736" y="1069332"/>
                  <a:pt x="623337" y="1071825"/>
                </a:cubicBezTo>
                <a:cubicBezTo>
                  <a:pt x="628942" y="1074320"/>
                  <a:pt x="634521" y="1076938"/>
                  <a:pt x="639863" y="1079946"/>
                </a:cubicBezTo>
                <a:cubicBezTo>
                  <a:pt x="650944" y="1086186"/>
                  <a:pt x="655598" y="1096871"/>
                  <a:pt x="652266" y="1109045"/>
                </a:cubicBezTo>
                <a:cubicBezTo>
                  <a:pt x="650545" y="1115333"/>
                  <a:pt x="647953" y="1121401"/>
                  <a:pt x="645501" y="1127466"/>
                </a:cubicBezTo>
                <a:cubicBezTo>
                  <a:pt x="643225" y="1133097"/>
                  <a:pt x="643438" y="1138435"/>
                  <a:pt x="645547" y="1144138"/>
                </a:cubicBezTo>
                <a:cubicBezTo>
                  <a:pt x="649868" y="1155821"/>
                  <a:pt x="655892" y="1166306"/>
                  <a:pt x="664589" y="1175322"/>
                </a:cubicBezTo>
                <a:cubicBezTo>
                  <a:pt x="680503" y="1191819"/>
                  <a:pt x="696298" y="1208434"/>
                  <a:pt x="712015" y="1225118"/>
                </a:cubicBezTo>
                <a:cubicBezTo>
                  <a:pt x="731931" y="1246258"/>
                  <a:pt x="740856" y="1272032"/>
                  <a:pt x="744465" y="1300385"/>
                </a:cubicBezTo>
                <a:cubicBezTo>
                  <a:pt x="746614" y="1317273"/>
                  <a:pt x="744537" y="1333855"/>
                  <a:pt x="743270" y="1350524"/>
                </a:cubicBezTo>
                <a:cubicBezTo>
                  <a:pt x="742916" y="1355183"/>
                  <a:pt x="743079" y="1358990"/>
                  <a:pt x="745429" y="1363274"/>
                </a:cubicBezTo>
                <a:cubicBezTo>
                  <a:pt x="761335" y="1392276"/>
                  <a:pt x="766719" y="1423956"/>
                  <a:pt x="768672" y="1456512"/>
                </a:cubicBezTo>
                <a:cubicBezTo>
                  <a:pt x="769161" y="1464651"/>
                  <a:pt x="766327" y="1469951"/>
                  <a:pt x="758521" y="1472434"/>
                </a:cubicBezTo>
                <a:cubicBezTo>
                  <a:pt x="749176" y="1475406"/>
                  <a:pt x="739961" y="1478919"/>
                  <a:pt x="730455" y="1481228"/>
                </a:cubicBezTo>
                <a:cubicBezTo>
                  <a:pt x="685866" y="1492058"/>
                  <a:pt x="640613" y="1498445"/>
                  <a:pt x="594867" y="1502210"/>
                </a:cubicBezTo>
                <a:cubicBezTo>
                  <a:pt x="503351" y="1509743"/>
                  <a:pt x="411695" y="1510364"/>
                  <a:pt x="320018" y="1508300"/>
                </a:cubicBezTo>
                <a:cubicBezTo>
                  <a:pt x="275466" y="1507297"/>
                  <a:pt x="230913" y="1504582"/>
                  <a:pt x="186464" y="1501258"/>
                </a:cubicBezTo>
                <a:cubicBezTo>
                  <a:pt x="132610" y="1497231"/>
                  <a:pt x="79072" y="1490389"/>
                  <a:pt x="26582" y="1477021"/>
                </a:cubicBezTo>
                <a:cubicBezTo>
                  <a:pt x="18195" y="1474885"/>
                  <a:pt x="9735" y="1472585"/>
                  <a:pt x="3929" y="1465652"/>
                </a:cubicBezTo>
                <a:cubicBezTo>
                  <a:pt x="1807" y="1463117"/>
                  <a:pt x="-213" y="1459275"/>
                  <a:pt x="18" y="1456203"/>
                </a:cubicBezTo>
                <a:cubicBezTo>
                  <a:pt x="995" y="1443177"/>
                  <a:pt x="2714" y="1430200"/>
                  <a:pt x="4393" y="1417235"/>
                </a:cubicBezTo>
                <a:cubicBezTo>
                  <a:pt x="6515" y="1400846"/>
                  <a:pt x="11310" y="1385118"/>
                  <a:pt x="19158" y="1370678"/>
                </a:cubicBezTo>
                <a:cubicBezTo>
                  <a:pt x="24205" y="1361393"/>
                  <a:pt x="24576" y="1352443"/>
                  <a:pt x="23255" y="1342388"/>
                </a:cubicBezTo>
                <a:cubicBezTo>
                  <a:pt x="18901" y="1309218"/>
                  <a:pt x="21603" y="1276876"/>
                  <a:pt x="38705" y="1247261"/>
                </a:cubicBezTo>
                <a:cubicBezTo>
                  <a:pt x="44179" y="1237783"/>
                  <a:pt x="50956" y="1228786"/>
                  <a:pt x="58454" y="1220807"/>
                </a:cubicBezTo>
                <a:cubicBezTo>
                  <a:pt x="73024" y="1205299"/>
                  <a:pt x="88543" y="1190683"/>
                  <a:pt x="103638" y="1175667"/>
                </a:cubicBezTo>
                <a:cubicBezTo>
                  <a:pt x="112161" y="1167189"/>
                  <a:pt x="118801" y="1157513"/>
                  <a:pt x="122996" y="1146131"/>
                </a:cubicBezTo>
                <a:cubicBezTo>
                  <a:pt x="125249" y="1140016"/>
                  <a:pt x="125488" y="1134282"/>
                  <a:pt x="122689" y="1128316"/>
                </a:cubicBezTo>
                <a:cubicBezTo>
                  <a:pt x="120431" y="1123504"/>
                  <a:pt x="118446" y="1118553"/>
                  <a:pt x="116576" y="1113575"/>
                </a:cubicBezTo>
                <a:cubicBezTo>
                  <a:pt x="111153" y="1099133"/>
                  <a:pt x="114404" y="1089299"/>
                  <a:pt x="127479" y="1081076"/>
                </a:cubicBezTo>
                <a:cubicBezTo>
                  <a:pt x="130563" y="1079137"/>
                  <a:pt x="134000" y="1077564"/>
                  <a:pt x="137480" y="1076482"/>
                </a:cubicBezTo>
                <a:cubicBezTo>
                  <a:pt x="148800" y="1072962"/>
                  <a:pt x="154794" y="1065351"/>
                  <a:pt x="157312" y="1053855"/>
                </a:cubicBezTo>
                <a:cubicBezTo>
                  <a:pt x="164312" y="1021900"/>
                  <a:pt x="172752" y="990234"/>
                  <a:pt x="178876" y="958120"/>
                </a:cubicBezTo>
                <a:cubicBezTo>
                  <a:pt x="190055" y="899504"/>
                  <a:pt x="200649" y="840756"/>
                  <a:pt x="210165" y="781849"/>
                </a:cubicBezTo>
                <a:cubicBezTo>
                  <a:pt x="215898" y="746366"/>
                  <a:pt x="219868" y="710550"/>
                  <a:pt x="223295" y="674755"/>
                </a:cubicBezTo>
                <a:cubicBezTo>
                  <a:pt x="226801" y="638133"/>
                  <a:pt x="229185" y="601381"/>
                  <a:pt x="231121" y="564636"/>
                </a:cubicBezTo>
                <a:cubicBezTo>
                  <a:pt x="233079" y="527469"/>
                  <a:pt x="233899" y="490241"/>
                  <a:pt x="235173" y="453038"/>
                </a:cubicBezTo>
                <a:cubicBezTo>
                  <a:pt x="235285" y="449770"/>
                  <a:pt x="235108" y="446488"/>
                  <a:pt x="235001" y="443215"/>
                </a:cubicBezTo>
                <a:cubicBezTo>
                  <a:pt x="234761" y="435907"/>
                  <a:pt x="231291" y="431283"/>
                  <a:pt x="224321" y="428479"/>
                </a:cubicBezTo>
                <a:cubicBezTo>
                  <a:pt x="217531" y="425747"/>
                  <a:pt x="210873" y="422395"/>
                  <a:pt x="204712" y="418450"/>
                </a:cubicBezTo>
                <a:cubicBezTo>
                  <a:pt x="187562" y="407468"/>
                  <a:pt x="179141" y="385623"/>
                  <a:pt x="184069" y="366060"/>
                </a:cubicBezTo>
                <a:cubicBezTo>
                  <a:pt x="187270" y="353354"/>
                  <a:pt x="195406" y="344379"/>
                  <a:pt x="206519" y="338181"/>
                </a:cubicBezTo>
                <a:cubicBezTo>
                  <a:pt x="212922" y="334611"/>
                  <a:pt x="219930" y="332132"/>
                  <a:pt x="226643" y="329113"/>
                </a:cubicBezTo>
                <a:cubicBezTo>
                  <a:pt x="236636" y="324620"/>
                  <a:pt x="238185" y="320246"/>
                  <a:pt x="232085" y="311135"/>
                </a:cubicBezTo>
                <a:cubicBezTo>
                  <a:pt x="229169" y="306779"/>
                  <a:pt x="225643" y="302195"/>
                  <a:pt x="221280" y="299552"/>
                </a:cubicBezTo>
                <a:cubicBezTo>
                  <a:pt x="194874" y="283553"/>
                  <a:pt x="183766" y="257401"/>
                  <a:pt x="173478" y="230303"/>
                </a:cubicBezTo>
                <a:cubicBezTo>
                  <a:pt x="156973" y="186824"/>
                  <a:pt x="146078" y="142097"/>
                  <a:pt x="141864" y="95780"/>
                </a:cubicBezTo>
                <a:cubicBezTo>
                  <a:pt x="140086" y="76240"/>
                  <a:pt x="138323" y="56689"/>
                  <a:pt x="137158" y="37107"/>
                </a:cubicBezTo>
                <a:cubicBezTo>
                  <a:pt x="136482" y="25735"/>
                  <a:pt x="137408" y="24372"/>
                  <a:pt x="148750" y="22335"/>
                </a:cubicBezTo>
                <a:cubicBezTo>
                  <a:pt x="178094" y="17065"/>
                  <a:pt x="207551" y="12418"/>
                  <a:pt x="236982" y="7640"/>
                </a:cubicBezTo>
                <a:cubicBezTo>
                  <a:pt x="239748" y="7191"/>
                  <a:pt x="242650" y="7580"/>
                  <a:pt x="246862" y="7580"/>
                </a:cubicBezTo>
                <a:cubicBezTo>
                  <a:pt x="255824" y="32568"/>
                  <a:pt x="255201" y="59502"/>
                  <a:pt x="261473" y="86763"/>
                </a:cubicBezTo>
                <a:cubicBezTo>
                  <a:pt x="276122" y="85715"/>
                  <a:pt x="290587" y="84680"/>
                  <a:pt x="306246" y="83559"/>
                </a:cubicBezTo>
                <a:cubicBezTo>
                  <a:pt x="306524" y="78935"/>
                  <a:pt x="306966" y="75011"/>
                  <a:pt x="306960" y="71087"/>
                </a:cubicBezTo>
                <a:cubicBezTo>
                  <a:pt x="306936" y="53888"/>
                  <a:pt x="306633" y="36688"/>
                  <a:pt x="306724" y="19491"/>
                </a:cubicBezTo>
                <a:cubicBezTo>
                  <a:pt x="306789" y="7258"/>
                  <a:pt x="307148" y="6664"/>
                  <a:pt x="319581" y="4733"/>
                </a:cubicBezTo>
                <a:cubicBezTo>
                  <a:pt x="356571" y="-1011"/>
                  <a:pt x="393735" y="-1048"/>
                  <a:pt x="430956" y="2070"/>
                </a:cubicBezTo>
                <a:cubicBezTo>
                  <a:pt x="432994" y="2241"/>
                  <a:pt x="435026" y="2485"/>
                  <a:pt x="437066" y="2646"/>
                </a:cubicBezTo>
                <a:cubicBezTo>
                  <a:pt x="455684" y="4122"/>
                  <a:pt x="457626" y="5472"/>
                  <a:pt x="460335" y="24205"/>
                </a:cubicBezTo>
                <a:cubicBezTo>
                  <a:pt x="462146" y="36727"/>
                  <a:pt x="462770" y="49435"/>
                  <a:pt x="463579" y="62081"/>
                </a:cubicBezTo>
                <a:cubicBezTo>
                  <a:pt x="463995" y="68573"/>
                  <a:pt x="463652" y="75113"/>
                  <a:pt x="463652" y="82953"/>
                </a:cubicBezTo>
                <a:cubicBezTo>
                  <a:pt x="478793" y="83857"/>
                  <a:pt x="492851" y="84696"/>
                  <a:pt x="507205" y="85553"/>
                </a:cubicBezTo>
                <a:cubicBezTo>
                  <a:pt x="512102" y="78145"/>
                  <a:pt x="511920" y="69770"/>
                  <a:pt x="513271" y="61890"/>
                </a:cubicBezTo>
                <a:cubicBezTo>
                  <a:pt x="515756" y="47397"/>
                  <a:pt x="517439" y="32758"/>
                  <a:pt x="520203" y="18323"/>
                </a:cubicBezTo>
                <a:cubicBezTo>
                  <a:pt x="522330" y="7216"/>
                  <a:pt x="522926" y="6539"/>
                  <a:pt x="534008" y="7785"/>
                </a:cubicBezTo>
                <a:cubicBezTo>
                  <a:pt x="554709" y="10113"/>
                  <a:pt x="575316" y="13322"/>
                  <a:pt x="595925" y="16407"/>
                </a:cubicBezTo>
                <a:cubicBezTo>
                  <a:pt x="604001" y="17616"/>
                  <a:pt x="612093" y="19051"/>
                  <a:pt x="619972" y="21156"/>
                </a:cubicBezTo>
                <a:cubicBezTo>
                  <a:pt x="628887" y="23538"/>
                  <a:pt x="631496" y="26848"/>
                  <a:pt x="631161" y="36134"/>
                </a:cubicBezTo>
                <a:cubicBezTo>
                  <a:pt x="630572" y="52475"/>
                  <a:pt x="629765" y="68840"/>
                  <a:pt x="628140" y="85104"/>
                </a:cubicBezTo>
                <a:cubicBezTo>
                  <a:pt x="624968" y="116827"/>
                  <a:pt x="621618" y="148545"/>
                  <a:pt x="613954" y="179618"/>
                </a:cubicBezTo>
                <a:cubicBezTo>
                  <a:pt x="607361" y="206344"/>
                  <a:pt x="597791" y="231950"/>
                  <a:pt x="586196" y="256886"/>
                </a:cubicBezTo>
                <a:cubicBezTo>
                  <a:pt x="578940" y="272491"/>
                  <a:pt x="568647" y="285371"/>
                  <a:pt x="554619" y="295312"/>
                </a:cubicBezTo>
                <a:cubicBezTo>
                  <a:pt x="547467" y="300381"/>
                  <a:pt x="541673" y="306562"/>
                  <a:pt x="538601" y="315001"/>
                </a:cubicBezTo>
                <a:cubicBezTo>
                  <a:pt x="536802" y="319945"/>
                  <a:pt x="537533" y="323761"/>
                  <a:pt x="542630" y="326199"/>
                </a:cubicBezTo>
                <a:cubicBezTo>
                  <a:pt x="548539" y="329025"/>
                  <a:pt x="554513" y="331748"/>
                  <a:pt x="560240" y="334912"/>
                </a:cubicBezTo>
                <a:cubicBezTo>
                  <a:pt x="574874" y="342998"/>
                  <a:pt x="586216" y="353688"/>
                  <a:pt x="586933" y="371800"/>
                </a:cubicBezTo>
                <a:cubicBezTo>
                  <a:pt x="587721" y="391697"/>
                  <a:pt x="581146" y="407998"/>
                  <a:pt x="563039" y="418184"/>
                </a:cubicBezTo>
                <a:cubicBezTo>
                  <a:pt x="557338" y="421391"/>
                  <a:pt x="551634" y="424825"/>
                  <a:pt x="545522" y="427008"/>
                </a:cubicBezTo>
                <a:cubicBezTo>
                  <a:pt x="538690" y="429449"/>
                  <a:pt x="535443" y="433770"/>
                  <a:pt x="535507" y="440667"/>
                </a:cubicBezTo>
                <a:cubicBezTo>
                  <a:pt x="535813" y="472997"/>
                  <a:pt x="535953" y="505332"/>
                  <a:pt x="536723" y="537651"/>
                </a:cubicBezTo>
                <a:cubicBezTo>
                  <a:pt x="537181" y="556862"/>
                  <a:pt x="538274" y="576081"/>
                  <a:pt x="539820" y="595237"/>
                </a:cubicBezTo>
                <a:cubicBezTo>
                  <a:pt x="543897" y="645768"/>
                  <a:pt x="546950" y="696441"/>
                  <a:pt x="553105" y="746727"/>
                </a:cubicBezTo>
                <a:cubicBezTo>
                  <a:pt x="559060" y="795370"/>
                  <a:pt x="568372" y="843602"/>
                  <a:pt x="576414" y="893042"/>
                </a:cubicBezTo>
                <a:moveTo>
                  <a:pt x="500356" y="473996"/>
                </a:moveTo>
                <a:cubicBezTo>
                  <a:pt x="500146" y="470396"/>
                  <a:pt x="499936" y="466797"/>
                  <a:pt x="499749" y="463598"/>
                </a:cubicBezTo>
                <a:cubicBezTo>
                  <a:pt x="463731" y="466295"/>
                  <a:pt x="428548" y="468929"/>
                  <a:pt x="392525" y="471627"/>
                </a:cubicBezTo>
                <a:cubicBezTo>
                  <a:pt x="392525" y="475456"/>
                  <a:pt x="392570" y="479099"/>
                  <a:pt x="392518" y="482742"/>
                </a:cubicBezTo>
                <a:cubicBezTo>
                  <a:pt x="391977" y="520799"/>
                  <a:pt x="391669" y="558862"/>
                  <a:pt x="390814" y="596913"/>
                </a:cubicBezTo>
                <a:cubicBezTo>
                  <a:pt x="389379" y="660737"/>
                  <a:pt x="387596" y="724554"/>
                  <a:pt x="385953" y="788374"/>
                </a:cubicBezTo>
                <a:cubicBezTo>
                  <a:pt x="385132" y="820284"/>
                  <a:pt x="384217" y="852191"/>
                  <a:pt x="383485" y="884103"/>
                </a:cubicBezTo>
                <a:cubicBezTo>
                  <a:pt x="382329" y="934437"/>
                  <a:pt x="381336" y="984775"/>
                  <a:pt x="380173" y="1035109"/>
                </a:cubicBezTo>
                <a:cubicBezTo>
                  <a:pt x="379918" y="1046143"/>
                  <a:pt x="379172" y="1057166"/>
                  <a:pt x="378826" y="1068199"/>
                </a:cubicBezTo>
                <a:cubicBezTo>
                  <a:pt x="378768" y="1070073"/>
                  <a:pt x="379592" y="1071975"/>
                  <a:pt x="380180" y="1074648"/>
                </a:cubicBezTo>
                <a:cubicBezTo>
                  <a:pt x="402724" y="1074648"/>
                  <a:pt x="424789" y="1074626"/>
                  <a:pt x="446854" y="1074654"/>
                </a:cubicBezTo>
                <a:cubicBezTo>
                  <a:pt x="468967" y="1074682"/>
                  <a:pt x="491084" y="1075062"/>
                  <a:pt x="513191" y="1074731"/>
                </a:cubicBezTo>
                <a:cubicBezTo>
                  <a:pt x="535020" y="1074404"/>
                  <a:pt x="556890" y="1078397"/>
                  <a:pt x="580317" y="1075095"/>
                </a:cubicBezTo>
                <a:cubicBezTo>
                  <a:pt x="530688" y="877741"/>
                  <a:pt x="498514" y="679261"/>
                  <a:pt x="500356" y="473996"/>
                </a:cubicBezTo>
                <a:moveTo>
                  <a:pt x="459731" y="1135086"/>
                </a:moveTo>
                <a:cubicBezTo>
                  <a:pt x="434501" y="1135086"/>
                  <a:pt x="409270" y="1135086"/>
                  <a:pt x="383756" y="1135086"/>
                </a:cubicBezTo>
                <a:cubicBezTo>
                  <a:pt x="385145" y="1171037"/>
                  <a:pt x="387590" y="1206813"/>
                  <a:pt x="387612" y="1242590"/>
                </a:cubicBezTo>
                <a:cubicBezTo>
                  <a:pt x="387634" y="1278699"/>
                  <a:pt x="385252" y="1314810"/>
                  <a:pt x="383907" y="1351330"/>
                </a:cubicBezTo>
                <a:cubicBezTo>
                  <a:pt x="493016" y="1355954"/>
                  <a:pt x="600298" y="1349068"/>
                  <a:pt x="707112" y="1330559"/>
                </a:cubicBezTo>
                <a:cubicBezTo>
                  <a:pt x="710922" y="1301049"/>
                  <a:pt x="703971" y="1274394"/>
                  <a:pt x="686366" y="1251637"/>
                </a:cubicBezTo>
                <a:cubicBezTo>
                  <a:pt x="672164" y="1233278"/>
                  <a:pt x="655625" y="1216649"/>
                  <a:pt x="639403" y="1199952"/>
                </a:cubicBezTo>
                <a:cubicBezTo>
                  <a:pt x="621690" y="1181720"/>
                  <a:pt x="611031" y="1160243"/>
                  <a:pt x="606292" y="1135508"/>
                </a:cubicBezTo>
                <a:cubicBezTo>
                  <a:pt x="605546" y="1131614"/>
                  <a:pt x="604205" y="1127833"/>
                  <a:pt x="602971" y="1123400"/>
                </a:cubicBezTo>
                <a:cubicBezTo>
                  <a:pt x="598647" y="1123864"/>
                  <a:pt x="595062" y="1124258"/>
                  <a:pt x="591474" y="1124633"/>
                </a:cubicBezTo>
                <a:cubicBezTo>
                  <a:pt x="571170" y="1126753"/>
                  <a:pt x="550896" y="1129262"/>
                  <a:pt x="530551" y="1130880"/>
                </a:cubicBezTo>
                <a:cubicBezTo>
                  <a:pt x="507752" y="1132694"/>
                  <a:pt x="484887" y="1133699"/>
                  <a:pt x="459731" y="1135086"/>
                </a:cubicBezTo>
                <a:moveTo>
                  <a:pt x="469505" y="116252"/>
                </a:moveTo>
                <a:cubicBezTo>
                  <a:pt x="460926" y="115846"/>
                  <a:pt x="452288" y="115932"/>
                  <a:pt x="443782" y="114911"/>
                </a:cubicBezTo>
                <a:cubicBezTo>
                  <a:pt x="433023" y="113619"/>
                  <a:pt x="430601" y="110848"/>
                  <a:pt x="430007" y="99878"/>
                </a:cubicBezTo>
                <a:cubicBezTo>
                  <a:pt x="429457" y="89668"/>
                  <a:pt x="429903" y="79404"/>
                  <a:pt x="429331" y="69197"/>
                </a:cubicBezTo>
                <a:cubicBezTo>
                  <a:pt x="428702" y="57943"/>
                  <a:pt x="427414" y="46725"/>
                  <a:pt x="426333" y="34606"/>
                </a:cubicBezTo>
                <a:cubicBezTo>
                  <a:pt x="409217" y="34606"/>
                  <a:pt x="393383" y="34593"/>
                  <a:pt x="377548" y="34613"/>
                </a:cubicBezTo>
                <a:cubicBezTo>
                  <a:pt x="370973" y="34621"/>
                  <a:pt x="368175" y="37880"/>
                  <a:pt x="368004" y="44529"/>
                </a:cubicBezTo>
                <a:cubicBezTo>
                  <a:pt x="367731" y="55142"/>
                  <a:pt x="366531" y="65729"/>
                  <a:pt x="366185" y="76343"/>
                </a:cubicBezTo>
                <a:cubicBezTo>
                  <a:pt x="364748" y="120348"/>
                  <a:pt x="372586" y="163440"/>
                  <a:pt x="379384" y="206619"/>
                </a:cubicBezTo>
                <a:cubicBezTo>
                  <a:pt x="383132" y="230420"/>
                  <a:pt x="387281" y="254159"/>
                  <a:pt x="390997" y="277965"/>
                </a:cubicBezTo>
                <a:cubicBezTo>
                  <a:pt x="392356" y="286668"/>
                  <a:pt x="392988" y="295485"/>
                  <a:pt x="394040" y="305053"/>
                </a:cubicBezTo>
                <a:cubicBezTo>
                  <a:pt x="430625" y="305053"/>
                  <a:pt x="466194" y="305182"/>
                  <a:pt x="501758" y="304814"/>
                </a:cubicBezTo>
                <a:cubicBezTo>
                  <a:pt x="504672" y="304784"/>
                  <a:pt x="508099" y="301870"/>
                  <a:pt x="510340" y="299427"/>
                </a:cubicBezTo>
                <a:cubicBezTo>
                  <a:pt x="516125" y="293119"/>
                  <a:pt x="520822" y="285749"/>
                  <a:pt x="526940" y="279822"/>
                </a:cubicBezTo>
                <a:cubicBezTo>
                  <a:pt x="552103" y="255447"/>
                  <a:pt x="566819" y="225104"/>
                  <a:pt x="576920" y="192342"/>
                </a:cubicBezTo>
                <a:cubicBezTo>
                  <a:pt x="588690" y="154165"/>
                  <a:pt x="590063" y="114309"/>
                  <a:pt x="594042" y="74918"/>
                </a:cubicBezTo>
                <a:cubicBezTo>
                  <a:pt x="594852" y="66901"/>
                  <a:pt x="594159" y="58731"/>
                  <a:pt x="594159" y="49195"/>
                </a:cubicBezTo>
                <a:cubicBezTo>
                  <a:pt x="581125" y="46996"/>
                  <a:pt x="568493" y="44864"/>
                  <a:pt x="554791" y="42552"/>
                </a:cubicBezTo>
                <a:cubicBezTo>
                  <a:pt x="553857" y="47762"/>
                  <a:pt x="553099" y="51670"/>
                  <a:pt x="552461" y="55598"/>
                </a:cubicBezTo>
                <a:cubicBezTo>
                  <a:pt x="549905" y="71314"/>
                  <a:pt x="547903" y="87144"/>
                  <a:pt x="544678" y="102721"/>
                </a:cubicBezTo>
                <a:cubicBezTo>
                  <a:pt x="542363" y="113902"/>
                  <a:pt x="537010" y="118223"/>
                  <a:pt x="525701" y="118186"/>
                </a:cubicBezTo>
                <a:cubicBezTo>
                  <a:pt x="507730" y="118128"/>
                  <a:pt x="489762" y="117027"/>
                  <a:pt x="469505" y="116252"/>
                </a:cubicBezTo>
                <a:moveTo>
                  <a:pt x="513928" y="1403203"/>
                </a:moveTo>
                <a:cubicBezTo>
                  <a:pt x="469441" y="1403467"/>
                  <a:pt x="424955" y="1403730"/>
                  <a:pt x="379322" y="1404000"/>
                </a:cubicBezTo>
                <a:cubicBezTo>
                  <a:pt x="379322" y="1423089"/>
                  <a:pt x="379322" y="1440883"/>
                  <a:pt x="379322" y="1460424"/>
                </a:cubicBezTo>
                <a:cubicBezTo>
                  <a:pt x="496078" y="1471584"/>
                  <a:pt x="611510" y="1462301"/>
                  <a:pt x="726554" y="1439225"/>
                </a:cubicBezTo>
                <a:cubicBezTo>
                  <a:pt x="728615" y="1424350"/>
                  <a:pt x="725601" y="1410872"/>
                  <a:pt x="721089" y="1397750"/>
                </a:cubicBezTo>
                <a:cubicBezTo>
                  <a:pt x="717269" y="1386638"/>
                  <a:pt x="709802" y="1383286"/>
                  <a:pt x="697967" y="1385046"/>
                </a:cubicBezTo>
                <a:cubicBezTo>
                  <a:pt x="671697" y="1388954"/>
                  <a:pt x="645454" y="1393360"/>
                  <a:pt x="619039" y="1395892"/>
                </a:cubicBezTo>
                <a:cubicBezTo>
                  <a:pt x="584863" y="1399168"/>
                  <a:pt x="550531" y="1400815"/>
                  <a:pt x="513928" y="1403203"/>
                </a:cubicBezTo>
                <a:moveTo>
                  <a:pt x="462814" y="375981"/>
                </a:moveTo>
                <a:cubicBezTo>
                  <a:pt x="488207" y="375927"/>
                  <a:pt x="513601" y="375954"/>
                  <a:pt x="538992" y="375736"/>
                </a:cubicBezTo>
                <a:cubicBezTo>
                  <a:pt x="543170" y="375700"/>
                  <a:pt x="547338" y="374587"/>
                  <a:pt x="551835" y="373923"/>
                </a:cubicBezTo>
                <a:cubicBezTo>
                  <a:pt x="550780" y="364535"/>
                  <a:pt x="545320" y="360090"/>
                  <a:pt x="539689" y="356085"/>
                </a:cubicBezTo>
                <a:cubicBezTo>
                  <a:pt x="533696" y="351821"/>
                  <a:pt x="527145" y="348349"/>
                  <a:pt x="521074" y="344186"/>
                </a:cubicBezTo>
                <a:cubicBezTo>
                  <a:pt x="515783" y="340559"/>
                  <a:pt x="510232" y="339198"/>
                  <a:pt x="503789" y="339280"/>
                </a:cubicBezTo>
                <a:cubicBezTo>
                  <a:pt x="470618" y="339700"/>
                  <a:pt x="437443" y="339744"/>
                  <a:pt x="404270" y="339994"/>
                </a:cubicBezTo>
                <a:cubicBezTo>
                  <a:pt x="400758" y="340021"/>
                  <a:pt x="397250" y="340529"/>
                  <a:pt x="393081" y="340868"/>
                </a:cubicBezTo>
                <a:cubicBezTo>
                  <a:pt x="393653" y="352908"/>
                  <a:pt x="392145" y="363845"/>
                  <a:pt x="395001" y="375976"/>
                </a:cubicBezTo>
                <a:cubicBezTo>
                  <a:pt x="417133" y="375976"/>
                  <a:pt x="438745" y="375976"/>
                  <a:pt x="462814" y="375981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43" name="Free-form: Shape 142">
            <a:extLst>
              <a:ext uri="{FF2B5EF4-FFF2-40B4-BE49-F238E27FC236}">
                <a16:creationId xmlns:a16="http://schemas.microsoft.com/office/drawing/2014/main" id="{C9310BC0-6CD2-082C-C754-94C786741215}"/>
              </a:ext>
            </a:extLst>
          </p:cNvPr>
          <p:cNvSpPr/>
          <p:nvPr/>
        </p:nvSpPr>
        <p:spPr>
          <a:xfrm>
            <a:off x="1762307" y="4954036"/>
            <a:ext cx="155564" cy="520442"/>
          </a:xfrm>
          <a:custGeom>
            <a:avLst/>
            <a:gdLst>
              <a:gd name="csX0" fmla="*/ 121535 w 201493"/>
              <a:gd name="csY0" fmla="*/ 11562 h 612813"/>
              <a:gd name="csX1" fmla="*/ 201493 w 201493"/>
              <a:gd name="csY1" fmla="*/ 611498 h 612813"/>
              <a:gd name="csX2" fmla="*/ 134368 w 201493"/>
              <a:gd name="csY2" fmla="*/ 611133 h 612813"/>
              <a:gd name="csX3" fmla="*/ 68030 w 201493"/>
              <a:gd name="csY3" fmla="*/ 611056 h 612813"/>
              <a:gd name="csX4" fmla="*/ 1357 w 201493"/>
              <a:gd name="csY4" fmla="*/ 611050 h 612813"/>
              <a:gd name="csX5" fmla="*/ 3 w 201493"/>
              <a:gd name="csY5" fmla="*/ 604601 h 612813"/>
              <a:gd name="csX6" fmla="*/ 1350 w 201493"/>
              <a:gd name="csY6" fmla="*/ 571511 h 612813"/>
              <a:gd name="csX7" fmla="*/ 4661 w 201493"/>
              <a:gd name="csY7" fmla="*/ 420505 h 612813"/>
              <a:gd name="csX8" fmla="*/ 7130 w 201493"/>
              <a:gd name="csY8" fmla="*/ 324777 h 612813"/>
              <a:gd name="csX9" fmla="*/ 11991 w 201493"/>
              <a:gd name="csY9" fmla="*/ 133315 h 612813"/>
              <a:gd name="csX10" fmla="*/ 13695 w 201493"/>
              <a:gd name="csY10" fmla="*/ 19144 h 612813"/>
              <a:gd name="csX11" fmla="*/ 13702 w 201493"/>
              <a:gd name="csY11" fmla="*/ 8029 h 612813"/>
              <a:gd name="csX12" fmla="*/ 120926 w 201493"/>
              <a:gd name="csY12" fmla="*/ 0 h 612813"/>
              <a:gd name="csX13" fmla="*/ 121535 w 201493"/>
              <a:gd name="csY13" fmla="*/ 11562 h 61281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</a:cxnLst>
            <a:rect l="l" t="t" r="r" b="b"/>
            <a:pathLst>
              <a:path w="201493" h="612813">
                <a:moveTo>
                  <a:pt x="121535" y="11562"/>
                </a:moveTo>
                <a:cubicBezTo>
                  <a:pt x="119691" y="215664"/>
                  <a:pt x="151865" y="414144"/>
                  <a:pt x="201493" y="611498"/>
                </a:cubicBezTo>
                <a:cubicBezTo>
                  <a:pt x="178066" y="614799"/>
                  <a:pt x="156197" y="610806"/>
                  <a:pt x="134368" y="611133"/>
                </a:cubicBezTo>
                <a:cubicBezTo>
                  <a:pt x="112261" y="611465"/>
                  <a:pt x="90143" y="611084"/>
                  <a:pt x="68030" y="611056"/>
                </a:cubicBezTo>
                <a:cubicBezTo>
                  <a:pt x="45965" y="611028"/>
                  <a:pt x="23900" y="611050"/>
                  <a:pt x="1357" y="611050"/>
                </a:cubicBezTo>
                <a:cubicBezTo>
                  <a:pt x="769" y="608377"/>
                  <a:pt x="-56" y="606475"/>
                  <a:pt x="3" y="604601"/>
                </a:cubicBezTo>
                <a:cubicBezTo>
                  <a:pt x="349" y="593568"/>
                  <a:pt x="1095" y="582545"/>
                  <a:pt x="1350" y="571511"/>
                </a:cubicBezTo>
                <a:cubicBezTo>
                  <a:pt x="2513" y="521177"/>
                  <a:pt x="3506" y="470839"/>
                  <a:pt x="4661" y="420505"/>
                </a:cubicBezTo>
                <a:cubicBezTo>
                  <a:pt x="5393" y="388594"/>
                  <a:pt x="6308" y="356686"/>
                  <a:pt x="7130" y="324777"/>
                </a:cubicBezTo>
                <a:cubicBezTo>
                  <a:pt x="8772" y="260956"/>
                  <a:pt x="10555" y="197140"/>
                  <a:pt x="11991" y="133315"/>
                </a:cubicBezTo>
                <a:cubicBezTo>
                  <a:pt x="12846" y="95264"/>
                  <a:pt x="13154" y="57201"/>
                  <a:pt x="13695" y="19144"/>
                </a:cubicBezTo>
                <a:cubicBezTo>
                  <a:pt x="13746" y="15501"/>
                  <a:pt x="13702" y="11858"/>
                  <a:pt x="13702" y="8029"/>
                </a:cubicBezTo>
                <a:cubicBezTo>
                  <a:pt x="49725" y="5331"/>
                  <a:pt x="84908" y="2697"/>
                  <a:pt x="120926" y="0"/>
                </a:cubicBezTo>
                <a:cubicBezTo>
                  <a:pt x="121113" y="3199"/>
                  <a:pt x="121323" y="6798"/>
                  <a:pt x="121535" y="11562"/>
                </a:cubicBezTo>
                <a:close/>
              </a:path>
            </a:pathLst>
          </a:custGeom>
          <a:solidFill>
            <a:srgbClr val="FDFDFD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44" name="Free-form: Shape 143">
            <a:extLst>
              <a:ext uri="{FF2B5EF4-FFF2-40B4-BE49-F238E27FC236}">
                <a16:creationId xmlns:a16="http://schemas.microsoft.com/office/drawing/2014/main" id="{851CF1C0-ADCA-2740-3858-27C0CC916161}"/>
              </a:ext>
            </a:extLst>
          </p:cNvPr>
          <p:cNvSpPr/>
          <p:nvPr/>
        </p:nvSpPr>
        <p:spPr>
          <a:xfrm>
            <a:off x="1766115" y="5514385"/>
            <a:ext cx="250431" cy="194755"/>
          </a:xfrm>
          <a:custGeom>
            <a:avLst/>
            <a:gdLst>
              <a:gd name="csX0" fmla="*/ 77135 w 324367"/>
              <a:gd name="csY0" fmla="*/ 11670 h 229322"/>
              <a:gd name="csX1" fmla="*/ 146795 w 324367"/>
              <a:gd name="csY1" fmla="*/ 7480 h 229322"/>
              <a:gd name="csX2" fmla="*/ 207718 w 324367"/>
              <a:gd name="csY2" fmla="*/ 1232 h 229322"/>
              <a:gd name="csX3" fmla="*/ 219215 w 324367"/>
              <a:gd name="csY3" fmla="*/ 0 h 229322"/>
              <a:gd name="csX4" fmla="*/ 222536 w 324367"/>
              <a:gd name="csY4" fmla="*/ 12108 h 229322"/>
              <a:gd name="csX5" fmla="*/ 255647 w 324367"/>
              <a:gd name="csY5" fmla="*/ 76552 h 229322"/>
              <a:gd name="csX6" fmla="*/ 302610 w 324367"/>
              <a:gd name="csY6" fmla="*/ 128236 h 229322"/>
              <a:gd name="csX7" fmla="*/ 323355 w 324367"/>
              <a:gd name="csY7" fmla="*/ 207159 h 229322"/>
              <a:gd name="csX8" fmla="*/ 151 w 324367"/>
              <a:gd name="csY8" fmla="*/ 227930 h 229322"/>
              <a:gd name="csX9" fmla="*/ 3855 w 324367"/>
              <a:gd name="csY9" fmla="*/ 119190 h 229322"/>
              <a:gd name="csX10" fmla="*/ 0 w 324367"/>
              <a:gd name="csY10" fmla="*/ 11685 h 229322"/>
              <a:gd name="csX11" fmla="*/ 77135 w 324367"/>
              <a:gd name="csY11" fmla="*/ 11670 h 22932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324367" h="229322">
                <a:moveTo>
                  <a:pt x="77135" y="11670"/>
                </a:moveTo>
                <a:cubicBezTo>
                  <a:pt x="101131" y="10299"/>
                  <a:pt x="123996" y="9293"/>
                  <a:pt x="146795" y="7480"/>
                </a:cubicBezTo>
                <a:cubicBezTo>
                  <a:pt x="167139" y="5862"/>
                  <a:pt x="187413" y="3352"/>
                  <a:pt x="207718" y="1232"/>
                </a:cubicBezTo>
                <a:cubicBezTo>
                  <a:pt x="211305" y="858"/>
                  <a:pt x="214891" y="464"/>
                  <a:pt x="219215" y="0"/>
                </a:cubicBezTo>
                <a:cubicBezTo>
                  <a:pt x="220448" y="4433"/>
                  <a:pt x="221789" y="8213"/>
                  <a:pt x="222536" y="12108"/>
                </a:cubicBezTo>
                <a:cubicBezTo>
                  <a:pt x="227274" y="36843"/>
                  <a:pt x="237933" y="58320"/>
                  <a:pt x="255647" y="76552"/>
                </a:cubicBezTo>
                <a:cubicBezTo>
                  <a:pt x="271868" y="93249"/>
                  <a:pt x="288407" y="109878"/>
                  <a:pt x="302610" y="128236"/>
                </a:cubicBezTo>
                <a:cubicBezTo>
                  <a:pt x="320215" y="150993"/>
                  <a:pt x="327166" y="177648"/>
                  <a:pt x="323355" y="207159"/>
                </a:cubicBezTo>
                <a:cubicBezTo>
                  <a:pt x="216542" y="225668"/>
                  <a:pt x="109259" y="232554"/>
                  <a:pt x="151" y="227930"/>
                </a:cubicBezTo>
                <a:cubicBezTo>
                  <a:pt x="1495" y="191410"/>
                  <a:pt x="3878" y="155299"/>
                  <a:pt x="3855" y="119190"/>
                </a:cubicBezTo>
                <a:cubicBezTo>
                  <a:pt x="3834" y="83413"/>
                  <a:pt x="1388" y="47637"/>
                  <a:pt x="0" y="11685"/>
                </a:cubicBezTo>
                <a:cubicBezTo>
                  <a:pt x="25514" y="11685"/>
                  <a:pt x="50744" y="11685"/>
                  <a:pt x="77135" y="11670"/>
                </a:cubicBezTo>
                <a:close/>
              </a:path>
            </a:pathLst>
          </a:custGeom>
          <a:solidFill>
            <a:srgbClr val="FDFEFE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45" name="Free-form: Shape 144">
            <a:extLst>
              <a:ext uri="{FF2B5EF4-FFF2-40B4-BE49-F238E27FC236}">
                <a16:creationId xmlns:a16="http://schemas.microsoft.com/office/drawing/2014/main" id="{C538B5EC-EA07-E49B-FDC0-7861C7D6DE43}"/>
              </a:ext>
            </a:extLst>
          </p:cNvPr>
          <p:cNvSpPr/>
          <p:nvPr/>
        </p:nvSpPr>
        <p:spPr>
          <a:xfrm>
            <a:off x="1752416" y="4589704"/>
            <a:ext cx="176355" cy="229704"/>
          </a:xfrm>
          <a:custGeom>
            <a:avLst/>
            <a:gdLst>
              <a:gd name="csX0" fmla="*/ 104636 w 228422"/>
              <a:gd name="csY0" fmla="*/ 81707 h 270473"/>
              <a:gd name="csX1" fmla="*/ 159689 w 228422"/>
              <a:gd name="csY1" fmla="*/ 83584 h 270473"/>
              <a:gd name="csX2" fmla="*/ 178665 w 228422"/>
              <a:gd name="csY2" fmla="*/ 68119 h 270473"/>
              <a:gd name="csX3" fmla="*/ 186448 w 228422"/>
              <a:gd name="csY3" fmla="*/ 20996 h 270473"/>
              <a:gd name="csX4" fmla="*/ 188779 w 228422"/>
              <a:gd name="csY4" fmla="*/ 7950 h 270473"/>
              <a:gd name="csX5" fmla="*/ 228146 w 228422"/>
              <a:gd name="csY5" fmla="*/ 14593 h 270473"/>
              <a:gd name="csX6" fmla="*/ 228030 w 228422"/>
              <a:gd name="csY6" fmla="*/ 40316 h 270473"/>
              <a:gd name="csX7" fmla="*/ 210907 w 228422"/>
              <a:gd name="csY7" fmla="*/ 157740 h 270473"/>
              <a:gd name="csX8" fmla="*/ 160928 w 228422"/>
              <a:gd name="csY8" fmla="*/ 245220 h 270473"/>
              <a:gd name="csX9" fmla="*/ 144327 w 228422"/>
              <a:gd name="csY9" fmla="*/ 264825 h 270473"/>
              <a:gd name="csX10" fmla="*/ 135745 w 228422"/>
              <a:gd name="csY10" fmla="*/ 270212 h 270473"/>
              <a:gd name="csX11" fmla="*/ 28028 w 228422"/>
              <a:gd name="csY11" fmla="*/ 270451 h 270473"/>
              <a:gd name="csX12" fmla="*/ 24984 w 228422"/>
              <a:gd name="csY12" fmla="*/ 243363 h 270473"/>
              <a:gd name="csX13" fmla="*/ 13372 w 228422"/>
              <a:gd name="csY13" fmla="*/ 172017 h 270473"/>
              <a:gd name="csX14" fmla="*/ 172 w 228422"/>
              <a:gd name="csY14" fmla="*/ 41741 h 270473"/>
              <a:gd name="csX15" fmla="*/ 1991 w 228422"/>
              <a:gd name="csY15" fmla="*/ 9927 h 270473"/>
              <a:gd name="csX16" fmla="*/ 11535 w 228422"/>
              <a:gd name="csY16" fmla="*/ 11 h 270473"/>
              <a:gd name="csX17" fmla="*/ 60320 w 228422"/>
              <a:gd name="csY17" fmla="*/ 4 h 270473"/>
              <a:gd name="csX18" fmla="*/ 63319 w 228422"/>
              <a:gd name="csY18" fmla="*/ 34595 h 270473"/>
              <a:gd name="csX19" fmla="*/ 63995 w 228422"/>
              <a:gd name="csY19" fmla="*/ 65276 h 270473"/>
              <a:gd name="csX20" fmla="*/ 77770 w 228422"/>
              <a:gd name="csY20" fmla="*/ 80309 h 270473"/>
              <a:gd name="csX21" fmla="*/ 104636 w 228422"/>
              <a:gd name="csY21" fmla="*/ 81707 h 27047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</a:cxnLst>
            <a:rect l="l" t="t" r="r" b="b"/>
            <a:pathLst>
              <a:path w="228422" h="270473">
                <a:moveTo>
                  <a:pt x="104636" y="81707"/>
                </a:moveTo>
                <a:cubicBezTo>
                  <a:pt x="123750" y="82425"/>
                  <a:pt x="141717" y="83526"/>
                  <a:pt x="159689" y="83584"/>
                </a:cubicBezTo>
                <a:cubicBezTo>
                  <a:pt x="170998" y="83621"/>
                  <a:pt x="176351" y="79300"/>
                  <a:pt x="178665" y="68119"/>
                </a:cubicBezTo>
                <a:cubicBezTo>
                  <a:pt x="181890" y="52542"/>
                  <a:pt x="183892" y="36712"/>
                  <a:pt x="186448" y="20996"/>
                </a:cubicBezTo>
                <a:cubicBezTo>
                  <a:pt x="187087" y="17068"/>
                  <a:pt x="187844" y="13160"/>
                  <a:pt x="188779" y="7950"/>
                </a:cubicBezTo>
                <a:cubicBezTo>
                  <a:pt x="202480" y="10262"/>
                  <a:pt x="215113" y="12394"/>
                  <a:pt x="228146" y="14593"/>
                </a:cubicBezTo>
                <a:cubicBezTo>
                  <a:pt x="228146" y="24129"/>
                  <a:pt x="228839" y="32299"/>
                  <a:pt x="228030" y="40316"/>
                </a:cubicBezTo>
                <a:cubicBezTo>
                  <a:pt x="224051" y="79707"/>
                  <a:pt x="222678" y="119563"/>
                  <a:pt x="210907" y="157740"/>
                </a:cubicBezTo>
                <a:cubicBezTo>
                  <a:pt x="200806" y="190502"/>
                  <a:pt x="186090" y="220845"/>
                  <a:pt x="160928" y="245220"/>
                </a:cubicBezTo>
                <a:cubicBezTo>
                  <a:pt x="154810" y="251147"/>
                  <a:pt x="150112" y="258517"/>
                  <a:pt x="144327" y="264825"/>
                </a:cubicBezTo>
                <a:cubicBezTo>
                  <a:pt x="142086" y="267268"/>
                  <a:pt x="138659" y="270182"/>
                  <a:pt x="135745" y="270212"/>
                </a:cubicBezTo>
                <a:cubicBezTo>
                  <a:pt x="100181" y="270580"/>
                  <a:pt x="64612" y="270451"/>
                  <a:pt x="28028" y="270451"/>
                </a:cubicBezTo>
                <a:cubicBezTo>
                  <a:pt x="26976" y="260883"/>
                  <a:pt x="26343" y="252066"/>
                  <a:pt x="24984" y="243363"/>
                </a:cubicBezTo>
                <a:cubicBezTo>
                  <a:pt x="21268" y="219557"/>
                  <a:pt x="17119" y="195818"/>
                  <a:pt x="13372" y="172017"/>
                </a:cubicBezTo>
                <a:cubicBezTo>
                  <a:pt x="6574" y="128838"/>
                  <a:pt x="-1265" y="85746"/>
                  <a:pt x="172" y="41741"/>
                </a:cubicBezTo>
                <a:cubicBezTo>
                  <a:pt x="518" y="31127"/>
                  <a:pt x="1719" y="20540"/>
                  <a:pt x="1991" y="9927"/>
                </a:cubicBezTo>
                <a:cubicBezTo>
                  <a:pt x="2163" y="3278"/>
                  <a:pt x="4961" y="19"/>
                  <a:pt x="11535" y="11"/>
                </a:cubicBezTo>
                <a:cubicBezTo>
                  <a:pt x="27370" y="-9"/>
                  <a:pt x="43205" y="4"/>
                  <a:pt x="60320" y="4"/>
                </a:cubicBezTo>
                <a:cubicBezTo>
                  <a:pt x="61401" y="12123"/>
                  <a:pt x="62689" y="23341"/>
                  <a:pt x="63319" y="34595"/>
                </a:cubicBezTo>
                <a:cubicBezTo>
                  <a:pt x="63890" y="44802"/>
                  <a:pt x="63444" y="55066"/>
                  <a:pt x="63995" y="65276"/>
                </a:cubicBezTo>
                <a:cubicBezTo>
                  <a:pt x="64588" y="76246"/>
                  <a:pt x="67011" y="79017"/>
                  <a:pt x="77770" y="80309"/>
                </a:cubicBezTo>
                <a:cubicBezTo>
                  <a:pt x="86275" y="81330"/>
                  <a:pt x="94914" y="81244"/>
                  <a:pt x="104636" y="81707"/>
                </a:cubicBezTo>
                <a:close/>
              </a:path>
            </a:pathLst>
          </a:custGeom>
          <a:solidFill>
            <a:srgbClr val="FDFDFD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46" name="Free-form: Shape 145">
            <a:extLst>
              <a:ext uri="{FF2B5EF4-FFF2-40B4-BE49-F238E27FC236}">
                <a16:creationId xmlns:a16="http://schemas.microsoft.com/office/drawing/2014/main" id="{A9D9AF45-A907-2C66-016E-C260D46A3B8B}"/>
              </a:ext>
            </a:extLst>
          </p:cNvPr>
          <p:cNvSpPr/>
          <p:nvPr/>
        </p:nvSpPr>
        <p:spPr>
          <a:xfrm>
            <a:off x="1762691" y="5736217"/>
            <a:ext cx="268594" cy="68395"/>
          </a:xfrm>
          <a:custGeom>
            <a:avLst/>
            <a:gdLst>
              <a:gd name="csX0" fmla="*/ 135775 w 347893"/>
              <a:gd name="csY0" fmla="*/ 18580 h 80534"/>
              <a:gd name="csX1" fmla="*/ 239717 w 347893"/>
              <a:gd name="csY1" fmla="*/ 11288 h 80534"/>
              <a:gd name="csX2" fmla="*/ 318645 w 347893"/>
              <a:gd name="csY2" fmla="*/ 442 h 80534"/>
              <a:gd name="csX3" fmla="*/ 341767 w 347893"/>
              <a:gd name="csY3" fmla="*/ 13145 h 80534"/>
              <a:gd name="csX4" fmla="*/ 347232 w 347893"/>
              <a:gd name="csY4" fmla="*/ 54621 h 80534"/>
              <a:gd name="csX5" fmla="*/ 0 w 347893"/>
              <a:gd name="csY5" fmla="*/ 75820 h 80534"/>
              <a:gd name="csX6" fmla="*/ 0 w 347893"/>
              <a:gd name="csY6" fmla="*/ 19396 h 80534"/>
              <a:gd name="csX7" fmla="*/ 135775 w 347893"/>
              <a:gd name="csY7" fmla="*/ 18580 h 8053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</a:cxnLst>
            <a:rect l="l" t="t" r="r" b="b"/>
            <a:pathLst>
              <a:path w="347893" h="80534">
                <a:moveTo>
                  <a:pt x="135775" y="18580"/>
                </a:moveTo>
                <a:cubicBezTo>
                  <a:pt x="171209" y="16211"/>
                  <a:pt x="205541" y="14564"/>
                  <a:pt x="239717" y="11288"/>
                </a:cubicBezTo>
                <a:cubicBezTo>
                  <a:pt x="266132" y="8756"/>
                  <a:pt x="292375" y="4350"/>
                  <a:pt x="318645" y="442"/>
                </a:cubicBezTo>
                <a:cubicBezTo>
                  <a:pt x="330480" y="-1319"/>
                  <a:pt x="337947" y="2033"/>
                  <a:pt x="341767" y="13145"/>
                </a:cubicBezTo>
                <a:cubicBezTo>
                  <a:pt x="346279" y="26268"/>
                  <a:pt x="349293" y="39746"/>
                  <a:pt x="347232" y="54621"/>
                </a:cubicBezTo>
                <a:cubicBezTo>
                  <a:pt x="232188" y="77697"/>
                  <a:pt x="116756" y="86979"/>
                  <a:pt x="0" y="75820"/>
                </a:cubicBezTo>
                <a:cubicBezTo>
                  <a:pt x="0" y="56279"/>
                  <a:pt x="0" y="38485"/>
                  <a:pt x="0" y="19396"/>
                </a:cubicBezTo>
                <a:cubicBezTo>
                  <a:pt x="45633" y="19126"/>
                  <a:pt x="90119" y="18862"/>
                  <a:pt x="135775" y="18580"/>
                </a:cubicBezTo>
                <a:close/>
              </a:path>
            </a:pathLst>
          </a:custGeom>
          <a:solidFill>
            <a:srgbClr val="FCFDFD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47" name="Free-form: Shape 146">
            <a:extLst>
              <a:ext uri="{FF2B5EF4-FFF2-40B4-BE49-F238E27FC236}">
                <a16:creationId xmlns:a16="http://schemas.microsoft.com/office/drawing/2014/main" id="{75CF08E9-D06D-253C-8FB9-59C12939CC20}"/>
              </a:ext>
            </a:extLst>
          </p:cNvPr>
          <p:cNvSpPr/>
          <p:nvPr/>
        </p:nvSpPr>
        <p:spPr>
          <a:xfrm>
            <a:off x="1773314" y="4848454"/>
            <a:ext cx="122568" cy="31169"/>
          </a:xfrm>
          <a:custGeom>
            <a:avLst/>
            <a:gdLst>
              <a:gd name="csX0" fmla="*/ 68505 w 158754"/>
              <a:gd name="csY0" fmla="*/ 36702 h 36701"/>
              <a:gd name="csX1" fmla="*/ 1920 w 158754"/>
              <a:gd name="csY1" fmla="*/ 36699 h 36701"/>
              <a:gd name="csX2" fmla="*/ 0 w 158754"/>
              <a:gd name="csY2" fmla="*/ 1592 h 36701"/>
              <a:gd name="csX3" fmla="*/ 11189 w 158754"/>
              <a:gd name="csY3" fmla="*/ 718 h 36701"/>
              <a:gd name="csX4" fmla="*/ 110708 w 158754"/>
              <a:gd name="csY4" fmla="*/ 3 h 36701"/>
              <a:gd name="csX5" fmla="*/ 127993 w 158754"/>
              <a:gd name="csY5" fmla="*/ 4910 h 36701"/>
              <a:gd name="csX6" fmla="*/ 146608 w 158754"/>
              <a:gd name="csY6" fmla="*/ 16808 h 36701"/>
              <a:gd name="csX7" fmla="*/ 158755 w 158754"/>
              <a:gd name="csY7" fmla="*/ 34647 h 36701"/>
              <a:gd name="csX8" fmla="*/ 145911 w 158754"/>
              <a:gd name="csY8" fmla="*/ 36459 h 36701"/>
              <a:gd name="csX9" fmla="*/ 68505 w 158754"/>
              <a:gd name="csY9" fmla="*/ 36702 h 3670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158754" h="36701">
                <a:moveTo>
                  <a:pt x="68505" y="36702"/>
                </a:moveTo>
                <a:cubicBezTo>
                  <a:pt x="45664" y="36699"/>
                  <a:pt x="24052" y="36699"/>
                  <a:pt x="1920" y="36699"/>
                </a:cubicBezTo>
                <a:cubicBezTo>
                  <a:pt x="-935" y="24569"/>
                  <a:pt x="572" y="13631"/>
                  <a:pt x="0" y="1592"/>
                </a:cubicBezTo>
                <a:cubicBezTo>
                  <a:pt x="4169" y="1253"/>
                  <a:pt x="7677" y="744"/>
                  <a:pt x="11189" y="718"/>
                </a:cubicBezTo>
                <a:cubicBezTo>
                  <a:pt x="44362" y="468"/>
                  <a:pt x="77538" y="423"/>
                  <a:pt x="110708" y="3"/>
                </a:cubicBezTo>
                <a:cubicBezTo>
                  <a:pt x="117152" y="-78"/>
                  <a:pt x="122702" y="1282"/>
                  <a:pt x="127993" y="4910"/>
                </a:cubicBezTo>
                <a:cubicBezTo>
                  <a:pt x="134065" y="9072"/>
                  <a:pt x="140615" y="12545"/>
                  <a:pt x="146608" y="16808"/>
                </a:cubicBezTo>
                <a:cubicBezTo>
                  <a:pt x="152239" y="20814"/>
                  <a:pt x="157699" y="25259"/>
                  <a:pt x="158755" y="34647"/>
                </a:cubicBezTo>
                <a:cubicBezTo>
                  <a:pt x="154257" y="35310"/>
                  <a:pt x="150089" y="36424"/>
                  <a:pt x="145911" y="36459"/>
                </a:cubicBezTo>
                <a:cubicBezTo>
                  <a:pt x="120520" y="36677"/>
                  <a:pt x="95126" y="36650"/>
                  <a:pt x="68505" y="36702"/>
                </a:cubicBezTo>
                <a:close/>
              </a:path>
            </a:pathLst>
          </a:custGeom>
          <a:solidFill>
            <a:srgbClr val="FBFCFB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48" name="Free-form: Shape 147">
            <a:extLst>
              <a:ext uri="{FF2B5EF4-FFF2-40B4-BE49-F238E27FC236}">
                <a16:creationId xmlns:a16="http://schemas.microsoft.com/office/drawing/2014/main" id="{BCE9F098-6BEF-5717-E292-67017C45329F}"/>
              </a:ext>
            </a:extLst>
          </p:cNvPr>
          <p:cNvSpPr/>
          <p:nvPr/>
        </p:nvSpPr>
        <p:spPr>
          <a:xfrm>
            <a:off x="9733407" y="4560318"/>
            <a:ext cx="593502" cy="1281815"/>
          </a:xfrm>
          <a:custGeom>
            <a:avLst/>
            <a:gdLst>
              <a:gd name="csX0" fmla="*/ 576414 w 768725"/>
              <a:gd name="csY0" fmla="*/ 893042 h 1509319"/>
              <a:gd name="csX1" fmla="*/ 613047 w 768725"/>
              <a:gd name="csY1" fmla="*/ 1059329 h 1509319"/>
              <a:gd name="csX2" fmla="*/ 623337 w 768725"/>
              <a:gd name="csY2" fmla="*/ 1071825 h 1509319"/>
              <a:gd name="csX3" fmla="*/ 639863 w 768725"/>
              <a:gd name="csY3" fmla="*/ 1079946 h 1509319"/>
              <a:gd name="csX4" fmla="*/ 652266 w 768725"/>
              <a:gd name="csY4" fmla="*/ 1109045 h 1509319"/>
              <a:gd name="csX5" fmla="*/ 645501 w 768725"/>
              <a:gd name="csY5" fmla="*/ 1127466 h 1509319"/>
              <a:gd name="csX6" fmla="*/ 645547 w 768725"/>
              <a:gd name="csY6" fmla="*/ 1144138 h 1509319"/>
              <a:gd name="csX7" fmla="*/ 664589 w 768725"/>
              <a:gd name="csY7" fmla="*/ 1175322 h 1509319"/>
              <a:gd name="csX8" fmla="*/ 712015 w 768725"/>
              <a:gd name="csY8" fmla="*/ 1225118 h 1509319"/>
              <a:gd name="csX9" fmla="*/ 744465 w 768725"/>
              <a:gd name="csY9" fmla="*/ 1300385 h 1509319"/>
              <a:gd name="csX10" fmla="*/ 743270 w 768725"/>
              <a:gd name="csY10" fmla="*/ 1350524 h 1509319"/>
              <a:gd name="csX11" fmla="*/ 745429 w 768725"/>
              <a:gd name="csY11" fmla="*/ 1363274 h 1509319"/>
              <a:gd name="csX12" fmla="*/ 768672 w 768725"/>
              <a:gd name="csY12" fmla="*/ 1456512 h 1509319"/>
              <a:gd name="csX13" fmla="*/ 758521 w 768725"/>
              <a:gd name="csY13" fmla="*/ 1472434 h 1509319"/>
              <a:gd name="csX14" fmla="*/ 730455 w 768725"/>
              <a:gd name="csY14" fmla="*/ 1481228 h 1509319"/>
              <a:gd name="csX15" fmla="*/ 594867 w 768725"/>
              <a:gd name="csY15" fmla="*/ 1502210 h 1509319"/>
              <a:gd name="csX16" fmla="*/ 320018 w 768725"/>
              <a:gd name="csY16" fmla="*/ 1508300 h 1509319"/>
              <a:gd name="csX17" fmla="*/ 186464 w 768725"/>
              <a:gd name="csY17" fmla="*/ 1501258 h 1509319"/>
              <a:gd name="csX18" fmla="*/ 26582 w 768725"/>
              <a:gd name="csY18" fmla="*/ 1477021 h 1509319"/>
              <a:gd name="csX19" fmla="*/ 3929 w 768725"/>
              <a:gd name="csY19" fmla="*/ 1465652 h 1509319"/>
              <a:gd name="csX20" fmla="*/ 18 w 768725"/>
              <a:gd name="csY20" fmla="*/ 1456203 h 1509319"/>
              <a:gd name="csX21" fmla="*/ 4393 w 768725"/>
              <a:gd name="csY21" fmla="*/ 1417235 h 1509319"/>
              <a:gd name="csX22" fmla="*/ 19158 w 768725"/>
              <a:gd name="csY22" fmla="*/ 1370678 h 1509319"/>
              <a:gd name="csX23" fmla="*/ 23255 w 768725"/>
              <a:gd name="csY23" fmla="*/ 1342388 h 1509319"/>
              <a:gd name="csX24" fmla="*/ 38705 w 768725"/>
              <a:gd name="csY24" fmla="*/ 1247261 h 1509319"/>
              <a:gd name="csX25" fmla="*/ 58454 w 768725"/>
              <a:gd name="csY25" fmla="*/ 1220807 h 1509319"/>
              <a:gd name="csX26" fmla="*/ 103638 w 768725"/>
              <a:gd name="csY26" fmla="*/ 1175667 h 1509319"/>
              <a:gd name="csX27" fmla="*/ 122996 w 768725"/>
              <a:gd name="csY27" fmla="*/ 1146131 h 1509319"/>
              <a:gd name="csX28" fmla="*/ 122689 w 768725"/>
              <a:gd name="csY28" fmla="*/ 1128316 h 1509319"/>
              <a:gd name="csX29" fmla="*/ 116576 w 768725"/>
              <a:gd name="csY29" fmla="*/ 1113575 h 1509319"/>
              <a:gd name="csX30" fmla="*/ 127479 w 768725"/>
              <a:gd name="csY30" fmla="*/ 1081076 h 1509319"/>
              <a:gd name="csX31" fmla="*/ 137480 w 768725"/>
              <a:gd name="csY31" fmla="*/ 1076482 h 1509319"/>
              <a:gd name="csX32" fmla="*/ 157312 w 768725"/>
              <a:gd name="csY32" fmla="*/ 1053855 h 1509319"/>
              <a:gd name="csX33" fmla="*/ 178876 w 768725"/>
              <a:gd name="csY33" fmla="*/ 958120 h 1509319"/>
              <a:gd name="csX34" fmla="*/ 210165 w 768725"/>
              <a:gd name="csY34" fmla="*/ 781849 h 1509319"/>
              <a:gd name="csX35" fmla="*/ 223295 w 768725"/>
              <a:gd name="csY35" fmla="*/ 674755 h 1509319"/>
              <a:gd name="csX36" fmla="*/ 231121 w 768725"/>
              <a:gd name="csY36" fmla="*/ 564636 h 1509319"/>
              <a:gd name="csX37" fmla="*/ 235173 w 768725"/>
              <a:gd name="csY37" fmla="*/ 453038 h 1509319"/>
              <a:gd name="csX38" fmla="*/ 235001 w 768725"/>
              <a:gd name="csY38" fmla="*/ 443215 h 1509319"/>
              <a:gd name="csX39" fmla="*/ 224321 w 768725"/>
              <a:gd name="csY39" fmla="*/ 428479 h 1509319"/>
              <a:gd name="csX40" fmla="*/ 204712 w 768725"/>
              <a:gd name="csY40" fmla="*/ 418450 h 1509319"/>
              <a:gd name="csX41" fmla="*/ 184069 w 768725"/>
              <a:gd name="csY41" fmla="*/ 366060 h 1509319"/>
              <a:gd name="csX42" fmla="*/ 206519 w 768725"/>
              <a:gd name="csY42" fmla="*/ 338181 h 1509319"/>
              <a:gd name="csX43" fmla="*/ 226643 w 768725"/>
              <a:gd name="csY43" fmla="*/ 329113 h 1509319"/>
              <a:gd name="csX44" fmla="*/ 232085 w 768725"/>
              <a:gd name="csY44" fmla="*/ 311135 h 1509319"/>
              <a:gd name="csX45" fmla="*/ 221280 w 768725"/>
              <a:gd name="csY45" fmla="*/ 299552 h 1509319"/>
              <a:gd name="csX46" fmla="*/ 173478 w 768725"/>
              <a:gd name="csY46" fmla="*/ 230303 h 1509319"/>
              <a:gd name="csX47" fmla="*/ 141864 w 768725"/>
              <a:gd name="csY47" fmla="*/ 95780 h 1509319"/>
              <a:gd name="csX48" fmla="*/ 137158 w 768725"/>
              <a:gd name="csY48" fmla="*/ 37107 h 1509319"/>
              <a:gd name="csX49" fmla="*/ 148750 w 768725"/>
              <a:gd name="csY49" fmla="*/ 22335 h 1509319"/>
              <a:gd name="csX50" fmla="*/ 236982 w 768725"/>
              <a:gd name="csY50" fmla="*/ 7640 h 1509319"/>
              <a:gd name="csX51" fmla="*/ 246862 w 768725"/>
              <a:gd name="csY51" fmla="*/ 7580 h 1509319"/>
              <a:gd name="csX52" fmla="*/ 261473 w 768725"/>
              <a:gd name="csY52" fmla="*/ 86763 h 1509319"/>
              <a:gd name="csX53" fmla="*/ 306246 w 768725"/>
              <a:gd name="csY53" fmla="*/ 83559 h 1509319"/>
              <a:gd name="csX54" fmla="*/ 306960 w 768725"/>
              <a:gd name="csY54" fmla="*/ 71087 h 1509319"/>
              <a:gd name="csX55" fmla="*/ 306724 w 768725"/>
              <a:gd name="csY55" fmla="*/ 19491 h 1509319"/>
              <a:gd name="csX56" fmla="*/ 319581 w 768725"/>
              <a:gd name="csY56" fmla="*/ 4733 h 1509319"/>
              <a:gd name="csX57" fmla="*/ 430956 w 768725"/>
              <a:gd name="csY57" fmla="*/ 2070 h 1509319"/>
              <a:gd name="csX58" fmla="*/ 437066 w 768725"/>
              <a:gd name="csY58" fmla="*/ 2646 h 1509319"/>
              <a:gd name="csX59" fmla="*/ 460335 w 768725"/>
              <a:gd name="csY59" fmla="*/ 24205 h 1509319"/>
              <a:gd name="csX60" fmla="*/ 463579 w 768725"/>
              <a:gd name="csY60" fmla="*/ 62081 h 1509319"/>
              <a:gd name="csX61" fmla="*/ 463652 w 768725"/>
              <a:gd name="csY61" fmla="*/ 82953 h 1509319"/>
              <a:gd name="csX62" fmla="*/ 507205 w 768725"/>
              <a:gd name="csY62" fmla="*/ 85553 h 1509319"/>
              <a:gd name="csX63" fmla="*/ 513271 w 768725"/>
              <a:gd name="csY63" fmla="*/ 61890 h 1509319"/>
              <a:gd name="csX64" fmla="*/ 520203 w 768725"/>
              <a:gd name="csY64" fmla="*/ 18323 h 1509319"/>
              <a:gd name="csX65" fmla="*/ 534008 w 768725"/>
              <a:gd name="csY65" fmla="*/ 7785 h 1509319"/>
              <a:gd name="csX66" fmla="*/ 595925 w 768725"/>
              <a:gd name="csY66" fmla="*/ 16407 h 1509319"/>
              <a:gd name="csX67" fmla="*/ 619972 w 768725"/>
              <a:gd name="csY67" fmla="*/ 21156 h 1509319"/>
              <a:gd name="csX68" fmla="*/ 631161 w 768725"/>
              <a:gd name="csY68" fmla="*/ 36134 h 1509319"/>
              <a:gd name="csX69" fmla="*/ 628140 w 768725"/>
              <a:gd name="csY69" fmla="*/ 85104 h 1509319"/>
              <a:gd name="csX70" fmla="*/ 613954 w 768725"/>
              <a:gd name="csY70" fmla="*/ 179618 h 1509319"/>
              <a:gd name="csX71" fmla="*/ 586196 w 768725"/>
              <a:gd name="csY71" fmla="*/ 256886 h 1509319"/>
              <a:gd name="csX72" fmla="*/ 554619 w 768725"/>
              <a:gd name="csY72" fmla="*/ 295312 h 1509319"/>
              <a:gd name="csX73" fmla="*/ 538601 w 768725"/>
              <a:gd name="csY73" fmla="*/ 315001 h 1509319"/>
              <a:gd name="csX74" fmla="*/ 542630 w 768725"/>
              <a:gd name="csY74" fmla="*/ 326199 h 1509319"/>
              <a:gd name="csX75" fmla="*/ 560240 w 768725"/>
              <a:gd name="csY75" fmla="*/ 334912 h 1509319"/>
              <a:gd name="csX76" fmla="*/ 586933 w 768725"/>
              <a:gd name="csY76" fmla="*/ 371800 h 1509319"/>
              <a:gd name="csX77" fmla="*/ 563039 w 768725"/>
              <a:gd name="csY77" fmla="*/ 418184 h 1509319"/>
              <a:gd name="csX78" fmla="*/ 545522 w 768725"/>
              <a:gd name="csY78" fmla="*/ 427008 h 1509319"/>
              <a:gd name="csX79" fmla="*/ 535507 w 768725"/>
              <a:gd name="csY79" fmla="*/ 440667 h 1509319"/>
              <a:gd name="csX80" fmla="*/ 536723 w 768725"/>
              <a:gd name="csY80" fmla="*/ 537651 h 1509319"/>
              <a:gd name="csX81" fmla="*/ 539820 w 768725"/>
              <a:gd name="csY81" fmla="*/ 595237 h 1509319"/>
              <a:gd name="csX82" fmla="*/ 553105 w 768725"/>
              <a:gd name="csY82" fmla="*/ 746727 h 1509319"/>
              <a:gd name="csX83" fmla="*/ 576414 w 768725"/>
              <a:gd name="csY83" fmla="*/ 893042 h 1509319"/>
              <a:gd name="csX84" fmla="*/ 500356 w 768725"/>
              <a:gd name="csY84" fmla="*/ 473996 h 1509319"/>
              <a:gd name="csX85" fmla="*/ 499749 w 768725"/>
              <a:gd name="csY85" fmla="*/ 463598 h 1509319"/>
              <a:gd name="csX86" fmla="*/ 392525 w 768725"/>
              <a:gd name="csY86" fmla="*/ 471627 h 1509319"/>
              <a:gd name="csX87" fmla="*/ 392518 w 768725"/>
              <a:gd name="csY87" fmla="*/ 482742 h 1509319"/>
              <a:gd name="csX88" fmla="*/ 390814 w 768725"/>
              <a:gd name="csY88" fmla="*/ 596913 h 1509319"/>
              <a:gd name="csX89" fmla="*/ 385953 w 768725"/>
              <a:gd name="csY89" fmla="*/ 788374 h 1509319"/>
              <a:gd name="csX90" fmla="*/ 383485 w 768725"/>
              <a:gd name="csY90" fmla="*/ 884103 h 1509319"/>
              <a:gd name="csX91" fmla="*/ 380173 w 768725"/>
              <a:gd name="csY91" fmla="*/ 1035109 h 1509319"/>
              <a:gd name="csX92" fmla="*/ 378826 w 768725"/>
              <a:gd name="csY92" fmla="*/ 1068199 h 1509319"/>
              <a:gd name="csX93" fmla="*/ 380180 w 768725"/>
              <a:gd name="csY93" fmla="*/ 1074648 h 1509319"/>
              <a:gd name="csX94" fmla="*/ 446854 w 768725"/>
              <a:gd name="csY94" fmla="*/ 1074654 h 1509319"/>
              <a:gd name="csX95" fmla="*/ 513191 w 768725"/>
              <a:gd name="csY95" fmla="*/ 1074731 h 1509319"/>
              <a:gd name="csX96" fmla="*/ 580317 w 768725"/>
              <a:gd name="csY96" fmla="*/ 1075095 h 1509319"/>
              <a:gd name="csX97" fmla="*/ 500356 w 768725"/>
              <a:gd name="csY97" fmla="*/ 473996 h 1509319"/>
              <a:gd name="csX98" fmla="*/ 459731 w 768725"/>
              <a:gd name="csY98" fmla="*/ 1135086 h 1509319"/>
              <a:gd name="csX99" fmla="*/ 383756 w 768725"/>
              <a:gd name="csY99" fmla="*/ 1135086 h 1509319"/>
              <a:gd name="csX100" fmla="*/ 387612 w 768725"/>
              <a:gd name="csY100" fmla="*/ 1242590 h 1509319"/>
              <a:gd name="csX101" fmla="*/ 383907 w 768725"/>
              <a:gd name="csY101" fmla="*/ 1351330 h 1509319"/>
              <a:gd name="csX102" fmla="*/ 707112 w 768725"/>
              <a:gd name="csY102" fmla="*/ 1330559 h 1509319"/>
              <a:gd name="csX103" fmla="*/ 686366 w 768725"/>
              <a:gd name="csY103" fmla="*/ 1251637 h 1509319"/>
              <a:gd name="csX104" fmla="*/ 639403 w 768725"/>
              <a:gd name="csY104" fmla="*/ 1199952 h 1509319"/>
              <a:gd name="csX105" fmla="*/ 606292 w 768725"/>
              <a:gd name="csY105" fmla="*/ 1135508 h 1509319"/>
              <a:gd name="csX106" fmla="*/ 602971 w 768725"/>
              <a:gd name="csY106" fmla="*/ 1123400 h 1509319"/>
              <a:gd name="csX107" fmla="*/ 591474 w 768725"/>
              <a:gd name="csY107" fmla="*/ 1124633 h 1509319"/>
              <a:gd name="csX108" fmla="*/ 530551 w 768725"/>
              <a:gd name="csY108" fmla="*/ 1130880 h 1509319"/>
              <a:gd name="csX109" fmla="*/ 459731 w 768725"/>
              <a:gd name="csY109" fmla="*/ 1135086 h 1509319"/>
              <a:gd name="csX110" fmla="*/ 469505 w 768725"/>
              <a:gd name="csY110" fmla="*/ 116252 h 1509319"/>
              <a:gd name="csX111" fmla="*/ 443782 w 768725"/>
              <a:gd name="csY111" fmla="*/ 114911 h 1509319"/>
              <a:gd name="csX112" fmla="*/ 430007 w 768725"/>
              <a:gd name="csY112" fmla="*/ 99878 h 1509319"/>
              <a:gd name="csX113" fmla="*/ 429331 w 768725"/>
              <a:gd name="csY113" fmla="*/ 69197 h 1509319"/>
              <a:gd name="csX114" fmla="*/ 426333 w 768725"/>
              <a:gd name="csY114" fmla="*/ 34606 h 1509319"/>
              <a:gd name="csX115" fmla="*/ 377548 w 768725"/>
              <a:gd name="csY115" fmla="*/ 34613 h 1509319"/>
              <a:gd name="csX116" fmla="*/ 368004 w 768725"/>
              <a:gd name="csY116" fmla="*/ 44529 h 1509319"/>
              <a:gd name="csX117" fmla="*/ 366185 w 768725"/>
              <a:gd name="csY117" fmla="*/ 76343 h 1509319"/>
              <a:gd name="csX118" fmla="*/ 379384 w 768725"/>
              <a:gd name="csY118" fmla="*/ 206619 h 1509319"/>
              <a:gd name="csX119" fmla="*/ 390997 w 768725"/>
              <a:gd name="csY119" fmla="*/ 277965 h 1509319"/>
              <a:gd name="csX120" fmla="*/ 394040 w 768725"/>
              <a:gd name="csY120" fmla="*/ 305053 h 1509319"/>
              <a:gd name="csX121" fmla="*/ 501758 w 768725"/>
              <a:gd name="csY121" fmla="*/ 304814 h 1509319"/>
              <a:gd name="csX122" fmla="*/ 510340 w 768725"/>
              <a:gd name="csY122" fmla="*/ 299427 h 1509319"/>
              <a:gd name="csX123" fmla="*/ 526940 w 768725"/>
              <a:gd name="csY123" fmla="*/ 279822 h 1509319"/>
              <a:gd name="csX124" fmla="*/ 576920 w 768725"/>
              <a:gd name="csY124" fmla="*/ 192342 h 1509319"/>
              <a:gd name="csX125" fmla="*/ 594042 w 768725"/>
              <a:gd name="csY125" fmla="*/ 74918 h 1509319"/>
              <a:gd name="csX126" fmla="*/ 594159 w 768725"/>
              <a:gd name="csY126" fmla="*/ 49195 h 1509319"/>
              <a:gd name="csX127" fmla="*/ 554791 w 768725"/>
              <a:gd name="csY127" fmla="*/ 42552 h 1509319"/>
              <a:gd name="csX128" fmla="*/ 552461 w 768725"/>
              <a:gd name="csY128" fmla="*/ 55598 h 1509319"/>
              <a:gd name="csX129" fmla="*/ 544678 w 768725"/>
              <a:gd name="csY129" fmla="*/ 102721 h 1509319"/>
              <a:gd name="csX130" fmla="*/ 525701 w 768725"/>
              <a:gd name="csY130" fmla="*/ 118186 h 1509319"/>
              <a:gd name="csX131" fmla="*/ 469505 w 768725"/>
              <a:gd name="csY131" fmla="*/ 116252 h 1509319"/>
              <a:gd name="csX132" fmla="*/ 513928 w 768725"/>
              <a:gd name="csY132" fmla="*/ 1403203 h 1509319"/>
              <a:gd name="csX133" fmla="*/ 379322 w 768725"/>
              <a:gd name="csY133" fmla="*/ 1404000 h 1509319"/>
              <a:gd name="csX134" fmla="*/ 379322 w 768725"/>
              <a:gd name="csY134" fmla="*/ 1460424 h 1509319"/>
              <a:gd name="csX135" fmla="*/ 726554 w 768725"/>
              <a:gd name="csY135" fmla="*/ 1439225 h 1509319"/>
              <a:gd name="csX136" fmla="*/ 721089 w 768725"/>
              <a:gd name="csY136" fmla="*/ 1397750 h 1509319"/>
              <a:gd name="csX137" fmla="*/ 697967 w 768725"/>
              <a:gd name="csY137" fmla="*/ 1385046 h 1509319"/>
              <a:gd name="csX138" fmla="*/ 619039 w 768725"/>
              <a:gd name="csY138" fmla="*/ 1395892 h 1509319"/>
              <a:gd name="csX139" fmla="*/ 513928 w 768725"/>
              <a:gd name="csY139" fmla="*/ 1403203 h 1509319"/>
              <a:gd name="csX140" fmla="*/ 462814 w 768725"/>
              <a:gd name="csY140" fmla="*/ 375981 h 1509319"/>
              <a:gd name="csX141" fmla="*/ 538992 w 768725"/>
              <a:gd name="csY141" fmla="*/ 375736 h 1509319"/>
              <a:gd name="csX142" fmla="*/ 551835 w 768725"/>
              <a:gd name="csY142" fmla="*/ 373923 h 1509319"/>
              <a:gd name="csX143" fmla="*/ 539689 w 768725"/>
              <a:gd name="csY143" fmla="*/ 356085 h 1509319"/>
              <a:gd name="csX144" fmla="*/ 521074 w 768725"/>
              <a:gd name="csY144" fmla="*/ 344186 h 1509319"/>
              <a:gd name="csX145" fmla="*/ 503789 w 768725"/>
              <a:gd name="csY145" fmla="*/ 339280 h 1509319"/>
              <a:gd name="csX146" fmla="*/ 404270 w 768725"/>
              <a:gd name="csY146" fmla="*/ 339994 h 1509319"/>
              <a:gd name="csX147" fmla="*/ 393081 w 768725"/>
              <a:gd name="csY147" fmla="*/ 340868 h 1509319"/>
              <a:gd name="csX148" fmla="*/ 395001 w 768725"/>
              <a:gd name="csY148" fmla="*/ 375976 h 1509319"/>
              <a:gd name="csX149" fmla="*/ 462814 w 768725"/>
              <a:gd name="csY149" fmla="*/ 375981 h 150931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</a:cxnLst>
            <a:rect l="l" t="t" r="r" b="b"/>
            <a:pathLst>
              <a:path w="768725" h="1509319">
                <a:moveTo>
                  <a:pt x="576414" y="893042"/>
                </a:moveTo>
                <a:cubicBezTo>
                  <a:pt x="588806" y="949146"/>
                  <a:pt x="601091" y="1004202"/>
                  <a:pt x="613047" y="1059329"/>
                </a:cubicBezTo>
                <a:cubicBezTo>
                  <a:pt x="614432" y="1065716"/>
                  <a:pt x="617736" y="1069332"/>
                  <a:pt x="623337" y="1071825"/>
                </a:cubicBezTo>
                <a:cubicBezTo>
                  <a:pt x="628942" y="1074320"/>
                  <a:pt x="634521" y="1076938"/>
                  <a:pt x="639863" y="1079946"/>
                </a:cubicBezTo>
                <a:cubicBezTo>
                  <a:pt x="650944" y="1086186"/>
                  <a:pt x="655598" y="1096871"/>
                  <a:pt x="652266" y="1109045"/>
                </a:cubicBezTo>
                <a:cubicBezTo>
                  <a:pt x="650545" y="1115333"/>
                  <a:pt x="647953" y="1121401"/>
                  <a:pt x="645501" y="1127466"/>
                </a:cubicBezTo>
                <a:cubicBezTo>
                  <a:pt x="643225" y="1133097"/>
                  <a:pt x="643438" y="1138435"/>
                  <a:pt x="645547" y="1144138"/>
                </a:cubicBezTo>
                <a:cubicBezTo>
                  <a:pt x="649868" y="1155821"/>
                  <a:pt x="655892" y="1166306"/>
                  <a:pt x="664589" y="1175322"/>
                </a:cubicBezTo>
                <a:cubicBezTo>
                  <a:pt x="680503" y="1191819"/>
                  <a:pt x="696298" y="1208434"/>
                  <a:pt x="712015" y="1225118"/>
                </a:cubicBezTo>
                <a:cubicBezTo>
                  <a:pt x="731931" y="1246258"/>
                  <a:pt x="740856" y="1272032"/>
                  <a:pt x="744465" y="1300385"/>
                </a:cubicBezTo>
                <a:cubicBezTo>
                  <a:pt x="746614" y="1317273"/>
                  <a:pt x="744537" y="1333855"/>
                  <a:pt x="743270" y="1350524"/>
                </a:cubicBezTo>
                <a:cubicBezTo>
                  <a:pt x="742916" y="1355183"/>
                  <a:pt x="743079" y="1358990"/>
                  <a:pt x="745429" y="1363274"/>
                </a:cubicBezTo>
                <a:cubicBezTo>
                  <a:pt x="761335" y="1392276"/>
                  <a:pt x="766719" y="1423956"/>
                  <a:pt x="768672" y="1456512"/>
                </a:cubicBezTo>
                <a:cubicBezTo>
                  <a:pt x="769161" y="1464651"/>
                  <a:pt x="766327" y="1469951"/>
                  <a:pt x="758521" y="1472434"/>
                </a:cubicBezTo>
                <a:cubicBezTo>
                  <a:pt x="749176" y="1475406"/>
                  <a:pt x="739961" y="1478919"/>
                  <a:pt x="730455" y="1481228"/>
                </a:cubicBezTo>
                <a:cubicBezTo>
                  <a:pt x="685866" y="1492058"/>
                  <a:pt x="640613" y="1498445"/>
                  <a:pt x="594867" y="1502210"/>
                </a:cubicBezTo>
                <a:cubicBezTo>
                  <a:pt x="503351" y="1509743"/>
                  <a:pt x="411695" y="1510364"/>
                  <a:pt x="320018" y="1508300"/>
                </a:cubicBezTo>
                <a:cubicBezTo>
                  <a:pt x="275466" y="1507297"/>
                  <a:pt x="230913" y="1504582"/>
                  <a:pt x="186464" y="1501258"/>
                </a:cubicBezTo>
                <a:cubicBezTo>
                  <a:pt x="132610" y="1497231"/>
                  <a:pt x="79072" y="1490389"/>
                  <a:pt x="26582" y="1477021"/>
                </a:cubicBezTo>
                <a:cubicBezTo>
                  <a:pt x="18195" y="1474885"/>
                  <a:pt x="9735" y="1472585"/>
                  <a:pt x="3929" y="1465652"/>
                </a:cubicBezTo>
                <a:cubicBezTo>
                  <a:pt x="1807" y="1463117"/>
                  <a:pt x="-213" y="1459275"/>
                  <a:pt x="18" y="1456203"/>
                </a:cubicBezTo>
                <a:cubicBezTo>
                  <a:pt x="995" y="1443177"/>
                  <a:pt x="2714" y="1430200"/>
                  <a:pt x="4393" y="1417235"/>
                </a:cubicBezTo>
                <a:cubicBezTo>
                  <a:pt x="6515" y="1400846"/>
                  <a:pt x="11310" y="1385118"/>
                  <a:pt x="19158" y="1370678"/>
                </a:cubicBezTo>
                <a:cubicBezTo>
                  <a:pt x="24205" y="1361393"/>
                  <a:pt x="24576" y="1352443"/>
                  <a:pt x="23255" y="1342388"/>
                </a:cubicBezTo>
                <a:cubicBezTo>
                  <a:pt x="18901" y="1309218"/>
                  <a:pt x="21603" y="1276876"/>
                  <a:pt x="38705" y="1247261"/>
                </a:cubicBezTo>
                <a:cubicBezTo>
                  <a:pt x="44179" y="1237783"/>
                  <a:pt x="50956" y="1228786"/>
                  <a:pt x="58454" y="1220807"/>
                </a:cubicBezTo>
                <a:cubicBezTo>
                  <a:pt x="73024" y="1205299"/>
                  <a:pt x="88543" y="1190683"/>
                  <a:pt x="103638" y="1175667"/>
                </a:cubicBezTo>
                <a:cubicBezTo>
                  <a:pt x="112161" y="1167189"/>
                  <a:pt x="118801" y="1157513"/>
                  <a:pt x="122996" y="1146131"/>
                </a:cubicBezTo>
                <a:cubicBezTo>
                  <a:pt x="125249" y="1140016"/>
                  <a:pt x="125488" y="1134282"/>
                  <a:pt x="122689" y="1128316"/>
                </a:cubicBezTo>
                <a:cubicBezTo>
                  <a:pt x="120431" y="1123504"/>
                  <a:pt x="118446" y="1118553"/>
                  <a:pt x="116576" y="1113575"/>
                </a:cubicBezTo>
                <a:cubicBezTo>
                  <a:pt x="111153" y="1099133"/>
                  <a:pt x="114404" y="1089299"/>
                  <a:pt x="127479" y="1081076"/>
                </a:cubicBezTo>
                <a:cubicBezTo>
                  <a:pt x="130563" y="1079137"/>
                  <a:pt x="134000" y="1077564"/>
                  <a:pt x="137480" y="1076482"/>
                </a:cubicBezTo>
                <a:cubicBezTo>
                  <a:pt x="148800" y="1072962"/>
                  <a:pt x="154794" y="1065351"/>
                  <a:pt x="157312" y="1053855"/>
                </a:cubicBezTo>
                <a:cubicBezTo>
                  <a:pt x="164312" y="1021900"/>
                  <a:pt x="172752" y="990234"/>
                  <a:pt x="178876" y="958120"/>
                </a:cubicBezTo>
                <a:cubicBezTo>
                  <a:pt x="190055" y="899504"/>
                  <a:pt x="200649" y="840756"/>
                  <a:pt x="210165" y="781849"/>
                </a:cubicBezTo>
                <a:cubicBezTo>
                  <a:pt x="215898" y="746366"/>
                  <a:pt x="219868" y="710550"/>
                  <a:pt x="223295" y="674755"/>
                </a:cubicBezTo>
                <a:cubicBezTo>
                  <a:pt x="226801" y="638133"/>
                  <a:pt x="229185" y="601381"/>
                  <a:pt x="231121" y="564636"/>
                </a:cubicBezTo>
                <a:cubicBezTo>
                  <a:pt x="233079" y="527469"/>
                  <a:pt x="233899" y="490241"/>
                  <a:pt x="235173" y="453038"/>
                </a:cubicBezTo>
                <a:cubicBezTo>
                  <a:pt x="235285" y="449770"/>
                  <a:pt x="235108" y="446488"/>
                  <a:pt x="235001" y="443215"/>
                </a:cubicBezTo>
                <a:cubicBezTo>
                  <a:pt x="234761" y="435907"/>
                  <a:pt x="231291" y="431283"/>
                  <a:pt x="224321" y="428479"/>
                </a:cubicBezTo>
                <a:cubicBezTo>
                  <a:pt x="217531" y="425747"/>
                  <a:pt x="210873" y="422395"/>
                  <a:pt x="204712" y="418450"/>
                </a:cubicBezTo>
                <a:cubicBezTo>
                  <a:pt x="187562" y="407468"/>
                  <a:pt x="179141" y="385623"/>
                  <a:pt x="184069" y="366060"/>
                </a:cubicBezTo>
                <a:cubicBezTo>
                  <a:pt x="187270" y="353354"/>
                  <a:pt x="195406" y="344379"/>
                  <a:pt x="206519" y="338181"/>
                </a:cubicBezTo>
                <a:cubicBezTo>
                  <a:pt x="212922" y="334611"/>
                  <a:pt x="219930" y="332132"/>
                  <a:pt x="226643" y="329113"/>
                </a:cubicBezTo>
                <a:cubicBezTo>
                  <a:pt x="236636" y="324620"/>
                  <a:pt x="238185" y="320246"/>
                  <a:pt x="232085" y="311135"/>
                </a:cubicBezTo>
                <a:cubicBezTo>
                  <a:pt x="229169" y="306779"/>
                  <a:pt x="225643" y="302195"/>
                  <a:pt x="221280" y="299552"/>
                </a:cubicBezTo>
                <a:cubicBezTo>
                  <a:pt x="194874" y="283553"/>
                  <a:pt x="183766" y="257401"/>
                  <a:pt x="173478" y="230303"/>
                </a:cubicBezTo>
                <a:cubicBezTo>
                  <a:pt x="156973" y="186824"/>
                  <a:pt x="146078" y="142097"/>
                  <a:pt x="141864" y="95780"/>
                </a:cubicBezTo>
                <a:cubicBezTo>
                  <a:pt x="140086" y="76240"/>
                  <a:pt x="138323" y="56689"/>
                  <a:pt x="137158" y="37107"/>
                </a:cubicBezTo>
                <a:cubicBezTo>
                  <a:pt x="136482" y="25735"/>
                  <a:pt x="137408" y="24372"/>
                  <a:pt x="148750" y="22335"/>
                </a:cubicBezTo>
                <a:cubicBezTo>
                  <a:pt x="178094" y="17065"/>
                  <a:pt x="207551" y="12418"/>
                  <a:pt x="236982" y="7640"/>
                </a:cubicBezTo>
                <a:cubicBezTo>
                  <a:pt x="239748" y="7191"/>
                  <a:pt x="242650" y="7580"/>
                  <a:pt x="246862" y="7580"/>
                </a:cubicBezTo>
                <a:cubicBezTo>
                  <a:pt x="255824" y="32568"/>
                  <a:pt x="255201" y="59502"/>
                  <a:pt x="261473" y="86763"/>
                </a:cubicBezTo>
                <a:cubicBezTo>
                  <a:pt x="276122" y="85715"/>
                  <a:pt x="290587" y="84680"/>
                  <a:pt x="306246" y="83559"/>
                </a:cubicBezTo>
                <a:cubicBezTo>
                  <a:pt x="306524" y="78935"/>
                  <a:pt x="306966" y="75011"/>
                  <a:pt x="306960" y="71087"/>
                </a:cubicBezTo>
                <a:cubicBezTo>
                  <a:pt x="306936" y="53888"/>
                  <a:pt x="306633" y="36688"/>
                  <a:pt x="306724" y="19491"/>
                </a:cubicBezTo>
                <a:cubicBezTo>
                  <a:pt x="306789" y="7258"/>
                  <a:pt x="307148" y="6664"/>
                  <a:pt x="319581" y="4733"/>
                </a:cubicBezTo>
                <a:cubicBezTo>
                  <a:pt x="356571" y="-1011"/>
                  <a:pt x="393735" y="-1048"/>
                  <a:pt x="430956" y="2070"/>
                </a:cubicBezTo>
                <a:cubicBezTo>
                  <a:pt x="432994" y="2241"/>
                  <a:pt x="435026" y="2485"/>
                  <a:pt x="437066" y="2646"/>
                </a:cubicBezTo>
                <a:cubicBezTo>
                  <a:pt x="455684" y="4122"/>
                  <a:pt x="457626" y="5472"/>
                  <a:pt x="460335" y="24205"/>
                </a:cubicBezTo>
                <a:cubicBezTo>
                  <a:pt x="462146" y="36727"/>
                  <a:pt x="462770" y="49435"/>
                  <a:pt x="463579" y="62081"/>
                </a:cubicBezTo>
                <a:cubicBezTo>
                  <a:pt x="463995" y="68573"/>
                  <a:pt x="463652" y="75113"/>
                  <a:pt x="463652" y="82953"/>
                </a:cubicBezTo>
                <a:cubicBezTo>
                  <a:pt x="478793" y="83857"/>
                  <a:pt x="492851" y="84696"/>
                  <a:pt x="507205" y="85553"/>
                </a:cubicBezTo>
                <a:cubicBezTo>
                  <a:pt x="512102" y="78145"/>
                  <a:pt x="511920" y="69770"/>
                  <a:pt x="513271" y="61890"/>
                </a:cubicBezTo>
                <a:cubicBezTo>
                  <a:pt x="515756" y="47397"/>
                  <a:pt x="517439" y="32758"/>
                  <a:pt x="520203" y="18323"/>
                </a:cubicBezTo>
                <a:cubicBezTo>
                  <a:pt x="522330" y="7216"/>
                  <a:pt x="522926" y="6539"/>
                  <a:pt x="534008" y="7785"/>
                </a:cubicBezTo>
                <a:cubicBezTo>
                  <a:pt x="554709" y="10113"/>
                  <a:pt x="575316" y="13322"/>
                  <a:pt x="595925" y="16407"/>
                </a:cubicBezTo>
                <a:cubicBezTo>
                  <a:pt x="604001" y="17616"/>
                  <a:pt x="612093" y="19051"/>
                  <a:pt x="619972" y="21156"/>
                </a:cubicBezTo>
                <a:cubicBezTo>
                  <a:pt x="628887" y="23538"/>
                  <a:pt x="631496" y="26848"/>
                  <a:pt x="631161" y="36134"/>
                </a:cubicBezTo>
                <a:cubicBezTo>
                  <a:pt x="630572" y="52475"/>
                  <a:pt x="629765" y="68840"/>
                  <a:pt x="628140" y="85104"/>
                </a:cubicBezTo>
                <a:cubicBezTo>
                  <a:pt x="624968" y="116827"/>
                  <a:pt x="621618" y="148545"/>
                  <a:pt x="613954" y="179618"/>
                </a:cubicBezTo>
                <a:cubicBezTo>
                  <a:pt x="607361" y="206344"/>
                  <a:pt x="597791" y="231950"/>
                  <a:pt x="586196" y="256886"/>
                </a:cubicBezTo>
                <a:cubicBezTo>
                  <a:pt x="578940" y="272491"/>
                  <a:pt x="568647" y="285371"/>
                  <a:pt x="554619" y="295312"/>
                </a:cubicBezTo>
                <a:cubicBezTo>
                  <a:pt x="547467" y="300381"/>
                  <a:pt x="541673" y="306562"/>
                  <a:pt x="538601" y="315001"/>
                </a:cubicBezTo>
                <a:cubicBezTo>
                  <a:pt x="536802" y="319945"/>
                  <a:pt x="537533" y="323761"/>
                  <a:pt x="542630" y="326199"/>
                </a:cubicBezTo>
                <a:cubicBezTo>
                  <a:pt x="548539" y="329025"/>
                  <a:pt x="554513" y="331748"/>
                  <a:pt x="560240" y="334912"/>
                </a:cubicBezTo>
                <a:cubicBezTo>
                  <a:pt x="574874" y="342998"/>
                  <a:pt x="586216" y="353688"/>
                  <a:pt x="586933" y="371800"/>
                </a:cubicBezTo>
                <a:cubicBezTo>
                  <a:pt x="587721" y="391697"/>
                  <a:pt x="581146" y="407998"/>
                  <a:pt x="563039" y="418184"/>
                </a:cubicBezTo>
                <a:cubicBezTo>
                  <a:pt x="557338" y="421391"/>
                  <a:pt x="551634" y="424825"/>
                  <a:pt x="545522" y="427008"/>
                </a:cubicBezTo>
                <a:cubicBezTo>
                  <a:pt x="538690" y="429449"/>
                  <a:pt x="535443" y="433770"/>
                  <a:pt x="535507" y="440667"/>
                </a:cubicBezTo>
                <a:cubicBezTo>
                  <a:pt x="535813" y="472997"/>
                  <a:pt x="535953" y="505332"/>
                  <a:pt x="536723" y="537651"/>
                </a:cubicBezTo>
                <a:cubicBezTo>
                  <a:pt x="537181" y="556862"/>
                  <a:pt x="538274" y="576081"/>
                  <a:pt x="539820" y="595237"/>
                </a:cubicBezTo>
                <a:cubicBezTo>
                  <a:pt x="543897" y="645768"/>
                  <a:pt x="546950" y="696441"/>
                  <a:pt x="553105" y="746727"/>
                </a:cubicBezTo>
                <a:cubicBezTo>
                  <a:pt x="559060" y="795370"/>
                  <a:pt x="568372" y="843602"/>
                  <a:pt x="576414" y="893042"/>
                </a:cubicBezTo>
                <a:moveTo>
                  <a:pt x="500356" y="473996"/>
                </a:moveTo>
                <a:cubicBezTo>
                  <a:pt x="500146" y="470396"/>
                  <a:pt x="499936" y="466797"/>
                  <a:pt x="499749" y="463598"/>
                </a:cubicBezTo>
                <a:cubicBezTo>
                  <a:pt x="463731" y="466295"/>
                  <a:pt x="428548" y="468929"/>
                  <a:pt x="392525" y="471627"/>
                </a:cubicBezTo>
                <a:cubicBezTo>
                  <a:pt x="392525" y="475456"/>
                  <a:pt x="392570" y="479099"/>
                  <a:pt x="392518" y="482742"/>
                </a:cubicBezTo>
                <a:cubicBezTo>
                  <a:pt x="391977" y="520799"/>
                  <a:pt x="391669" y="558862"/>
                  <a:pt x="390814" y="596913"/>
                </a:cubicBezTo>
                <a:cubicBezTo>
                  <a:pt x="389379" y="660737"/>
                  <a:pt x="387596" y="724554"/>
                  <a:pt x="385953" y="788374"/>
                </a:cubicBezTo>
                <a:cubicBezTo>
                  <a:pt x="385132" y="820284"/>
                  <a:pt x="384217" y="852191"/>
                  <a:pt x="383485" y="884103"/>
                </a:cubicBezTo>
                <a:cubicBezTo>
                  <a:pt x="382329" y="934437"/>
                  <a:pt x="381336" y="984775"/>
                  <a:pt x="380173" y="1035109"/>
                </a:cubicBezTo>
                <a:cubicBezTo>
                  <a:pt x="379918" y="1046143"/>
                  <a:pt x="379172" y="1057166"/>
                  <a:pt x="378826" y="1068199"/>
                </a:cubicBezTo>
                <a:cubicBezTo>
                  <a:pt x="378768" y="1070073"/>
                  <a:pt x="379592" y="1071975"/>
                  <a:pt x="380180" y="1074648"/>
                </a:cubicBezTo>
                <a:cubicBezTo>
                  <a:pt x="402724" y="1074648"/>
                  <a:pt x="424789" y="1074626"/>
                  <a:pt x="446854" y="1074654"/>
                </a:cubicBezTo>
                <a:cubicBezTo>
                  <a:pt x="468967" y="1074682"/>
                  <a:pt x="491084" y="1075062"/>
                  <a:pt x="513191" y="1074731"/>
                </a:cubicBezTo>
                <a:cubicBezTo>
                  <a:pt x="535020" y="1074404"/>
                  <a:pt x="556890" y="1078397"/>
                  <a:pt x="580317" y="1075095"/>
                </a:cubicBezTo>
                <a:cubicBezTo>
                  <a:pt x="530688" y="877741"/>
                  <a:pt x="498514" y="679261"/>
                  <a:pt x="500356" y="473996"/>
                </a:cubicBezTo>
                <a:moveTo>
                  <a:pt x="459731" y="1135086"/>
                </a:moveTo>
                <a:cubicBezTo>
                  <a:pt x="434501" y="1135086"/>
                  <a:pt x="409270" y="1135086"/>
                  <a:pt x="383756" y="1135086"/>
                </a:cubicBezTo>
                <a:cubicBezTo>
                  <a:pt x="385145" y="1171037"/>
                  <a:pt x="387590" y="1206813"/>
                  <a:pt x="387612" y="1242590"/>
                </a:cubicBezTo>
                <a:cubicBezTo>
                  <a:pt x="387634" y="1278699"/>
                  <a:pt x="385252" y="1314810"/>
                  <a:pt x="383907" y="1351330"/>
                </a:cubicBezTo>
                <a:cubicBezTo>
                  <a:pt x="493016" y="1355954"/>
                  <a:pt x="600298" y="1349068"/>
                  <a:pt x="707112" y="1330559"/>
                </a:cubicBezTo>
                <a:cubicBezTo>
                  <a:pt x="710922" y="1301049"/>
                  <a:pt x="703971" y="1274394"/>
                  <a:pt x="686366" y="1251637"/>
                </a:cubicBezTo>
                <a:cubicBezTo>
                  <a:pt x="672164" y="1233278"/>
                  <a:pt x="655625" y="1216649"/>
                  <a:pt x="639403" y="1199952"/>
                </a:cubicBezTo>
                <a:cubicBezTo>
                  <a:pt x="621690" y="1181720"/>
                  <a:pt x="611031" y="1160243"/>
                  <a:pt x="606292" y="1135508"/>
                </a:cubicBezTo>
                <a:cubicBezTo>
                  <a:pt x="605546" y="1131614"/>
                  <a:pt x="604205" y="1127833"/>
                  <a:pt x="602971" y="1123400"/>
                </a:cubicBezTo>
                <a:cubicBezTo>
                  <a:pt x="598647" y="1123864"/>
                  <a:pt x="595062" y="1124258"/>
                  <a:pt x="591474" y="1124633"/>
                </a:cubicBezTo>
                <a:cubicBezTo>
                  <a:pt x="571170" y="1126753"/>
                  <a:pt x="550896" y="1129262"/>
                  <a:pt x="530551" y="1130880"/>
                </a:cubicBezTo>
                <a:cubicBezTo>
                  <a:pt x="507752" y="1132694"/>
                  <a:pt x="484887" y="1133699"/>
                  <a:pt x="459731" y="1135086"/>
                </a:cubicBezTo>
                <a:moveTo>
                  <a:pt x="469505" y="116252"/>
                </a:moveTo>
                <a:cubicBezTo>
                  <a:pt x="460926" y="115846"/>
                  <a:pt x="452288" y="115932"/>
                  <a:pt x="443782" y="114911"/>
                </a:cubicBezTo>
                <a:cubicBezTo>
                  <a:pt x="433023" y="113619"/>
                  <a:pt x="430601" y="110848"/>
                  <a:pt x="430007" y="99878"/>
                </a:cubicBezTo>
                <a:cubicBezTo>
                  <a:pt x="429457" y="89668"/>
                  <a:pt x="429903" y="79404"/>
                  <a:pt x="429331" y="69197"/>
                </a:cubicBezTo>
                <a:cubicBezTo>
                  <a:pt x="428702" y="57943"/>
                  <a:pt x="427414" y="46725"/>
                  <a:pt x="426333" y="34606"/>
                </a:cubicBezTo>
                <a:cubicBezTo>
                  <a:pt x="409217" y="34606"/>
                  <a:pt x="393383" y="34593"/>
                  <a:pt x="377548" y="34613"/>
                </a:cubicBezTo>
                <a:cubicBezTo>
                  <a:pt x="370973" y="34621"/>
                  <a:pt x="368175" y="37880"/>
                  <a:pt x="368004" y="44529"/>
                </a:cubicBezTo>
                <a:cubicBezTo>
                  <a:pt x="367731" y="55142"/>
                  <a:pt x="366531" y="65729"/>
                  <a:pt x="366185" y="76343"/>
                </a:cubicBezTo>
                <a:cubicBezTo>
                  <a:pt x="364748" y="120348"/>
                  <a:pt x="372586" y="163440"/>
                  <a:pt x="379384" y="206619"/>
                </a:cubicBezTo>
                <a:cubicBezTo>
                  <a:pt x="383132" y="230420"/>
                  <a:pt x="387281" y="254159"/>
                  <a:pt x="390997" y="277965"/>
                </a:cubicBezTo>
                <a:cubicBezTo>
                  <a:pt x="392356" y="286668"/>
                  <a:pt x="392988" y="295485"/>
                  <a:pt x="394040" y="305053"/>
                </a:cubicBezTo>
                <a:cubicBezTo>
                  <a:pt x="430625" y="305053"/>
                  <a:pt x="466194" y="305182"/>
                  <a:pt x="501758" y="304814"/>
                </a:cubicBezTo>
                <a:cubicBezTo>
                  <a:pt x="504672" y="304784"/>
                  <a:pt x="508099" y="301870"/>
                  <a:pt x="510340" y="299427"/>
                </a:cubicBezTo>
                <a:cubicBezTo>
                  <a:pt x="516125" y="293119"/>
                  <a:pt x="520822" y="285749"/>
                  <a:pt x="526940" y="279822"/>
                </a:cubicBezTo>
                <a:cubicBezTo>
                  <a:pt x="552103" y="255447"/>
                  <a:pt x="566819" y="225104"/>
                  <a:pt x="576920" y="192342"/>
                </a:cubicBezTo>
                <a:cubicBezTo>
                  <a:pt x="588690" y="154165"/>
                  <a:pt x="590063" y="114309"/>
                  <a:pt x="594042" y="74918"/>
                </a:cubicBezTo>
                <a:cubicBezTo>
                  <a:pt x="594852" y="66901"/>
                  <a:pt x="594159" y="58731"/>
                  <a:pt x="594159" y="49195"/>
                </a:cubicBezTo>
                <a:cubicBezTo>
                  <a:pt x="581125" y="46996"/>
                  <a:pt x="568493" y="44864"/>
                  <a:pt x="554791" y="42552"/>
                </a:cubicBezTo>
                <a:cubicBezTo>
                  <a:pt x="553857" y="47762"/>
                  <a:pt x="553099" y="51670"/>
                  <a:pt x="552461" y="55598"/>
                </a:cubicBezTo>
                <a:cubicBezTo>
                  <a:pt x="549905" y="71314"/>
                  <a:pt x="547903" y="87144"/>
                  <a:pt x="544678" y="102721"/>
                </a:cubicBezTo>
                <a:cubicBezTo>
                  <a:pt x="542363" y="113902"/>
                  <a:pt x="537010" y="118223"/>
                  <a:pt x="525701" y="118186"/>
                </a:cubicBezTo>
                <a:cubicBezTo>
                  <a:pt x="507730" y="118128"/>
                  <a:pt x="489762" y="117027"/>
                  <a:pt x="469505" y="116252"/>
                </a:cubicBezTo>
                <a:moveTo>
                  <a:pt x="513928" y="1403203"/>
                </a:moveTo>
                <a:cubicBezTo>
                  <a:pt x="469441" y="1403467"/>
                  <a:pt x="424955" y="1403730"/>
                  <a:pt x="379322" y="1404000"/>
                </a:cubicBezTo>
                <a:cubicBezTo>
                  <a:pt x="379322" y="1423089"/>
                  <a:pt x="379322" y="1440883"/>
                  <a:pt x="379322" y="1460424"/>
                </a:cubicBezTo>
                <a:cubicBezTo>
                  <a:pt x="496078" y="1471584"/>
                  <a:pt x="611510" y="1462301"/>
                  <a:pt x="726554" y="1439225"/>
                </a:cubicBezTo>
                <a:cubicBezTo>
                  <a:pt x="728615" y="1424350"/>
                  <a:pt x="725601" y="1410872"/>
                  <a:pt x="721089" y="1397750"/>
                </a:cubicBezTo>
                <a:cubicBezTo>
                  <a:pt x="717269" y="1386638"/>
                  <a:pt x="709802" y="1383286"/>
                  <a:pt x="697967" y="1385046"/>
                </a:cubicBezTo>
                <a:cubicBezTo>
                  <a:pt x="671697" y="1388954"/>
                  <a:pt x="645454" y="1393360"/>
                  <a:pt x="619039" y="1395892"/>
                </a:cubicBezTo>
                <a:cubicBezTo>
                  <a:pt x="584863" y="1399168"/>
                  <a:pt x="550531" y="1400815"/>
                  <a:pt x="513928" y="1403203"/>
                </a:cubicBezTo>
                <a:moveTo>
                  <a:pt x="462814" y="375981"/>
                </a:moveTo>
                <a:cubicBezTo>
                  <a:pt x="488207" y="375927"/>
                  <a:pt x="513601" y="375954"/>
                  <a:pt x="538992" y="375736"/>
                </a:cubicBezTo>
                <a:cubicBezTo>
                  <a:pt x="543170" y="375700"/>
                  <a:pt x="547338" y="374587"/>
                  <a:pt x="551835" y="373923"/>
                </a:cubicBezTo>
                <a:cubicBezTo>
                  <a:pt x="550780" y="364535"/>
                  <a:pt x="545320" y="360090"/>
                  <a:pt x="539689" y="356085"/>
                </a:cubicBezTo>
                <a:cubicBezTo>
                  <a:pt x="533696" y="351821"/>
                  <a:pt x="527145" y="348349"/>
                  <a:pt x="521074" y="344186"/>
                </a:cubicBezTo>
                <a:cubicBezTo>
                  <a:pt x="515783" y="340559"/>
                  <a:pt x="510232" y="339198"/>
                  <a:pt x="503789" y="339280"/>
                </a:cubicBezTo>
                <a:cubicBezTo>
                  <a:pt x="470618" y="339700"/>
                  <a:pt x="437443" y="339744"/>
                  <a:pt x="404270" y="339994"/>
                </a:cubicBezTo>
                <a:cubicBezTo>
                  <a:pt x="400758" y="340021"/>
                  <a:pt x="397250" y="340529"/>
                  <a:pt x="393081" y="340868"/>
                </a:cubicBezTo>
                <a:cubicBezTo>
                  <a:pt x="393653" y="352908"/>
                  <a:pt x="392145" y="363845"/>
                  <a:pt x="395001" y="375976"/>
                </a:cubicBezTo>
                <a:cubicBezTo>
                  <a:pt x="417133" y="375976"/>
                  <a:pt x="438745" y="375976"/>
                  <a:pt x="462814" y="375981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49" name="Free-form: Shape 148">
            <a:extLst>
              <a:ext uri="{FF2B5EF4-FFF2-40B4-BE49-F238E27FC236}">
                <a16:creationId xmlns:a16="http://schemas.microsoft.com/office/drawing/2014/main" id="{1EDFADEE-B5CF-A01F-1D1A-A9E8C4DB24C1}"/>
              </a:ext>
            </a:extLst>
          </p:cNvPr>
          <p:cNvSpPr/>
          <p:nvPr/>
        </p:nvSpPr>
        <p:spPr>
          <a:xfrm>
            <a:off x="10025882" y="4954036"/>
            <a:ext cx="155564" cy="520442"/>
          </a:xfrm>
          <a:custGeom>
            <a:avLst/>
            <a:gdLst>
              <a:gd name="csX0" fmla="*/ 121535 w 201493"/>
              <a:gd name="csY0" fmla="*/ 11562 h 612813"/>
              <a:gd name="csX1" fmla="*/ 201493 w 201493"/>
              <a:gd name="csY1" fmla="*/ 611498 h 612813"/>
              <a:gd name="csX2" fmla="*/ 134368 w 201493"/>
              <a:gd name="csY2" fmla="*/ 611133 h 612813"/>
              <a:gd name="csX3" fmla="*/ 68030 w 201493"/>
              <a:gd name="csY3" fmla="*/ 611056 h 612813"/>
              <a:gd name="csX4" fmla="*/ 1357 w 201493"/>
              <a:gd name="csY4" fmla="*/ 611050 h 612813"/>
              <a:gd name="csX5" fmla="*/ 3 w 201493"/>
              <a:gd name="csY5" fmla="*/ 604601 h 612813"/>
              <a:gd name="csX6" fmla="*/ 1350 w 201493"/>
              <a:gd name="csY6" fmla="*/ 571511 h 612813"/>
              <a:gd name="csX7" fmla="*/ 4661 w 201493"/>
              <a:gd name="csY7" fmla="*/ 420505 h 612813"/>
              <a:gd name="csX8" fmla="*/ 7130 w 201493"/>
              <a:gd name="csY8" fmla="*/ 324777 h 612813"/>
              <a:gd name="csX9" fmla="*/ 11991 w 201493"/>
              <a:gd name="csY9" fmla="*/ 133315 h 612813"/>
              <a:gd name="csX10" fmla="*/ 13695 w 201493"/>
              <a:gd name="csY10" fmla="*/ 19144 h 612813"/>
              <a:gd name="csX11" fmla="*/ 13702 w 201493"/>
              <a:gd name="csY11" fmla="*/ 8029 h 612813"/>
              <a:gd name="csX12" fmla="*/ 120926 w 201493"/>
              <a:gd name="csY12" fmla="*/ 0 h 612813"/>
              <a:gd name="csX13" fmla="*/ 121535 w 201493"/>
              <a:gd name="csY13" fmla="*/ 11562 h 61281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</a:cxnLst>
            <a:rect l="l" t="t" r="r" b="b"/>
            <a:pathLst>
              <a:path w="201493" h="612813">
                <a:moveTo>
                  <a:pt x="121535" y="11562"/>
                </a:moveTo>
                <a:cubicBezTo>
                  <a:pt x="119691" y="215664"/>
                  <a:pt x="151865" y="414144"/>
                  <a:pt x="201493" y="611498"/>
                </a:cubicBezTo>
                <a:cubicBezTo>
                  <a:pt x="178066" y="614799"/>
                  <a:pt x="156197" y="610806"/>
                  <a:pt x="134368" y="611133"/>
                </a:cubicBezTo>
                <a:cubicBezTo>
                  <a:pt x="112261" y="611465"/>
                  <a:pt x="90143" y="611084"/>
                  <a:pt x="68030" y="611056"/>
                </a:cubicBezTo>
                <a:cubicBezTo>
                  <a:pt x="45965" y="611028"/>
                  <a:pt x="23900" y="611050"/>
                  <a:pt x="1357" y="611050"/>
                </a:cubicBezTo>
                <a:cubicBezTo>
                  <a:pt x="769" y="608377"/>
                  <a:pt x="-56" y="606475"/>
                  <a:pt x="3" y="604601"/>
                </a:cubicBezTo>
                <a:cubicBezTo>
                  <a:pt x="349" y="593568"/>
                  <a:pt x="1095" y="582545"/>
                  <a:pt x="1350" y="571511"/>
                </a:cubicBezTo>
                <a:cubicBezTo>
                  <a:pt x="2513" y="521177"/>
                  <a:pt x="3506" y="470839"/>
                  <a:pt x="4661" y="420505"/>
                </a:cubicBezTo>
                <a:cubicBezTo>
                  <a:pt x="5393" y="388594"/>
                  <a:pt x="6308" y="356686"/>
                  <a:pt x="7130" y="324777"/>
                </a:cubicBezTo>
                <a:cubicBezTo>
                  <a:pt x="8772" y="260956"/>
                  <a:pt x="10555" y="197140"/>
                  <a:pt x="11991" y="133315"/>
                </a:cubicBezTo>
                <a:cubicBezTo>
                  <a:pt x="12846" y="95264"/>
                  <a:pt x="13154" y="57201"/>
                  <a:pt x="13695" y="19144"/>
                </a:cubicBezTo>
                <a:cubicBezTo>
                  <a:pt x="13746" y="15501"/>
                  <a:pt x="13702" y="11858"/>
                  <a:pt x="13702" y="8029"/>
                </a:cubicBezTo>
                <a:cubicBezTo>
                  <a:pt x="49725" y="5331"/>
                  <a:pt x="84908" y="2697"/>
                  <a:pt x="120926" y="0"/>
                </a:cubicBezTo>
                <a:cubicBezTo>
                  <a:pt x="121113" y="3199"/>
                  <a:pt x="121323" y="6798"/>
                  <a:pt x="121535" y="11562"/>
                </a:cubicBezTo>
                <a:close/>
              </a:path>
            </a:pathLst>
          </a:custGeom>
          <a:solidFill>
            <a:srgbClr val="FDFDFD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50" name="Free-form: Shape 149">
            <a:extLst>
              <a:ext uri="{FF2B5EF4-FFF2-40B4-BE49-F238E27FC236}">
                <a16:creationId xmlns:a16="http://schemas.microsoft.com/office/drawing/2014/main" id="{CF0FAEA8-EFF5-E760-22D6-4D1E4CB56032}"/>
              </a:ext>
            </a:extLst>
          </p:cNvPr>
          <p:cNvSpPr/>
          <p:nvPr/>
        </p:nvSpPr>
        <p:spPr>
          <a:xfrm>
            <a:off x="10029690" y="5514385"/>
            <a:ext cx="250431" cy="194755"/>
          </a:xfrm>
          <a:custGeom>
            <a:avLst/>
            <a:gdLst>
              <a:gd name="csX0" fmla="*/ 77135 w 324367"/>
              <a:gd name="csY0" fmla="*/ 11670 h 229322"/>
              <a:gd name="csX1" fmla="*/ 146795 w 324367"/>
              <a:gd name="csY1" fmla="*/ 7480 h 229322"/>
              <a:gd name="csX2" fmla="*/ 207718 w 324367"/>
              <a:gd name="csY2" fmla="*/ 1232 h 229322"/>
              <a:gd name="csX3" fmla="*/ 219215 w 324367"/>
              <a:gd name="csY3" fmla="*/ 0 h 229322"/>
              <a:gd name="csX4" fmla="*/ 222536 w 324367"/>
              <a:gd name="csY4" fmla="*/ 12108 h 229322"/>
              <a:gd name="csX5" fmla="*/ 255647 w 324367"/>
              <a:gd name="csY5" fmla="*/ 76552 h 229322"/>
              <a:gd name="csX6" fmla="*/ 302610 w 324367"/>
              <a:gd name="csY6" fmla="*/ 128236 h 229322"/>
              <a:gd name="csX7" fmla="*/ 323355 w 324367"/>
              <a:gd name="csY7" fmla="*/ 207159 h 229322"/>
              <a:gd name="csX8" fmla="*/ 151 w 324367"/>
              <a:gd name="csY8" fmla="*/ 227930 h 229322"/>
              <a:gd name="csX9" fmla="*/ 3855 w 324367"/>
              <a:gd name="csY9" fmla="*/ 119190 h 229322"/>
              <a:gd name="csX10" fmla="*/ 0 w 324367"/>
              <a:gd name="csY10" fmla="*/ 11685 h 229322"/>
              <a:gd name="csX11" fmla="*/ 77135 w 324367"/>
              <a:gd name="csY11" fmla="*/ 11670 h 22932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324367" h="229322">
                <a:moveTo>
                  <a:pt x="77135" y="11670"/>
                </a:moveTo>
                <a:cubicBezTo>
                  <a:pt x="101131" y="10299"/>
                  <a:pt x="123996" y="9293"/>
                  <a:pt x="146795" y="7480"/>
                </a:cubicBezTo>
                <a:cubicBezTo>
                  <a:pt x="167139" y="5862"/>
                  <a:pt x="187413" y="3352"/>
                  <a:pt x="207718" y="1232"/>
                </a:cubicBezTo>
                <a:cubicBezTo>
                  <a:pt x="211305" y="858"/>
                  <a:pt x="214891" y="464"/>
                  <a:pt x="219215" y="0"/>
                </a:cubicBezTo>
                <a:cubicBezTo>
                  <a:pt x="220448" y="4433"/>
                  <a:pt x="221789" y="8213"/>
                  <a:pt x="222536" y="12108"/>
                </a:cubicBezTo>
                <a:cubicBezTo>
                  <a:pt x="227274" y="36843"/>
                  <a:pt x="237933" y="58320"/>
                  <a:pt x="255647" y="76552"/>
                </a:cubicBezTo>
                <a:cubicBezTo>
                  <a:pt x="271868" y="93249"/>
                  <a:pt x="288407" y="109878"/>
                  <a:pt x="302610" y="128236"/>
                </a:cubicBezTo>
                <a:cubicBezTo>
                  <a:pt x="320215" y="150993"/>
                  <a:pt x="327166" y="177648"/>
                  <a:pt x="323355" y="207159"/>
                </a:cubicBezTo>
                <a:cubicBezTo>
                  <a:pt x="216542" y="225668"/>
                  <a:pt x="109259" y="232554"/>
                  <a:pt x="151" y="227930"/>
                </a:cubicBezTo>
                <a:cubicBezTo>
                  <a:pt x="1495" y="191410"/>
                  <a:pt x="3878" y="155299"/>
                  <a:pt x="3855" y="119190"/>
                </a:cubicBezTo>
                <a:cubicBezTo>
                  <a:pt x="3834" y="83413"/>
                  <a:pt x="1388" y="47637"/>
                  <a:pt x="0" y="11685"/>
                </a:cubicBezTo>
                <a:cubicBezTo>
                  <a:pt x="25514" y="11685"/>
                  <a:pt x="50744" y="11685"/>
                  <a:pt x="77135" y="11670"/>
                </a:cubicBezTo>
                <a:close/>
              </a:path>
            </a:pathLst>
          </a:custGeom>
          <a:solidFill>
            <a:srgbClr val="FDFEFE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51" name="Free-form: Shape 150">
            <a:extLst>
              <a:ext uri="{FF2B5EF4-FFF2-40B4-BE49-F238E27FC236}">
                <a16:creationId xmlns:a16="http://schemas.microsoft.com/office/drawing/2014/main" id="{B4D02B72-F1BE-6B9D-7D1E-92D2D53F06EB}"/>
              </a:ext>
            </a:extLst>
          </p:cNvPr>
          <p:cNvSpPr/>
          <p:nvPr/>
        </p:nvSpPr>
        <p:spPr>
          <a:xfrm>
            <a:off x="10015991" y="4589704"/>
            <a:ext cx="176355" cy="229704"/>
          </a:xfrm>
          <a:custGeom>
            <a:avLst/>
            <a:gdLst>
              <a:gd name="csX0" fmla="*/ 104636 w 228422"/>
              <a:gd name="csY0" fmla="*/ 81707 h 270473"/>
              <a:gd name="csX1" fmla="*/ 159689 w 228422"/>
              <a:gd name="csY1" fmla="*/ 83584 h 270473"/>
              <a:gd name="csX2" fmla="*/ 178665 w 228422"/>
              <a:gd name="csY2" fmla="*/ 68119 h 270473"/>
              <a:gd name="csX3" fmla="*/ 186448 w 228422"/>
              <a:gd name="csY3" fmla="*/ 20996 h 270473"/>
              <a:gd name="csX4" fmla="*/ 188779 w 228422"/>
              <a:gd name="csY4" fmla="*/ 7950 h 270473"/>
              <a:gd name="csX5" fmla="*/ 228146 w 228422"/>
              <a:gd name="csY5" fmla="*/ 14593 h 270473"/>
              <a:gd name="csX6" fmla="*/ 228030 w 228422"/>
              <a:gd name="csY6" fmla="*/ 40316 h 270473"/>
              <a:gd name="csX7" fmla="*/ 210907 w 228422"/>
              <a:gd name="csY7" fmla="*/ 157740 h 270473"/>
              <a:gd name="csX8" fmla="*/ 160928 w 228422"/>
              <a:gd name="csY8" fmla="*/ 245220 h 270473"/>
              <a:gd name="csX9" fmla="*/ 144327 w 228422"/>
              <a:gd name="csY9" fmla="*/ 264825 h 270473"/>
              <a:gd name="csX10" fmla="*/ 135745 w 228422"/>
              <a:gd name="csY10" fmla="*/ 270212 h 270473"/>
              <a:gd name="csX11" fmla="*/ 28028 w 228422"/>
              <a:gd name="csY11" fmla="*/ 270451 h 270473"/>
              <a:gd name="csX12" fmla="*/ 24984 w 228422"/>
              <a:gd name="csY12" fmla="*/ 243363 h 270473"/>
              <a:gd name="csX13" fmla="*/ 13372 w 228422"/>
              <a:gd name="csY13" fmla="*/ 172017 h 270473"/>
              <a:gd name="csX14" fmla="*/ 172 w 228422"/>
              <a:gd name="csY14" fmla="*/ 41741 h 270473"/>
              <a:gd name="csX15" fmla="*/ 1991 w 228422"/>
              <a:gd name="csY15" fmla="*/ 9927 h 270473"/>
              <a:gd name="csX16" fmla="*/ 11535 w 228422"/>
              <a:gd name="csY16" fmla="*/ 11 h 270473"/>
              <a:gd name="csX17" fmla="*/ 60320 w 228422"/>
              <a:gd name="csY17" fmla="*/ 4 h 270473"/>
              <a:gd name="csX18" fmla="*/ 63319 w 228422"/>
              <a:gd name="csY18" fmla="*/ 34595 h 270473"/>
              <a:gd name="csX19" fmla="*/ 63995 w 228422"/>
              <a:gd name="csY19" fmla="*/ 65276 h 270473"/>
              <a:gd name="csX20" fmla="*/ 77770 w 228422"/>
              <a:gd name="csY20" fmla="*/ 80309 h 270473"/>
              <a:gd name="csX21" fmla="*/ 104636 w 228422"/>
              <a:gd name="csY21" fmla="*/ 81707 h 27047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</a:cxnLst>
            <a:rect l="l" t="t" r="r" b="b"/>
            <a:pathLst>
              <a:path w="228422" h="270473">
                <a:moveTo>
                  <a:pt x="104636" y="81707"/>
                </a:moveTo>
                <a:cubicBezTo>
                  <a:pt x="123750" y="82425"/>
                  <a:pt x="141717" y="83526"/>
                  <a:pt x="159689" y="83584"/>
                </a:cubicBezTo>
                <a:cubicBezTo>
                  <a:pt x="170998" y="83621"/>
                  <a:pt x="176351" y="79300"/>
                  <a:pt x="178665" y="68119"/>
                </a:cubicBezTo>
                <a:cubicBezTo>
                  <a:pt x="181890" y="52542"/>
                  <a:pt x="183892" y="36712"/>
                  <a:pt x="186448" y="20996"/>
                </a:cubicBezTo>
                <a:cubicBezTo>
                  <a:pt x="187087" y="17068"/>
                  <a:pt x="187844" y="13160"/>
                  <a:pt x="188779" y="7950"/>
                </a:cubicBezTo>
                <a:cubicBezTo>
                  <a:pt x="202480" y="10262"/>
                  <a:pt x="215113" y="12394"/>
                  <a:pt x="228146" y="14593"/>
                </a:cubicBezTo>
                <a:cubicBezTo>
                  <a:pt x="228146" y="24129"/>
                  <a:pt x="228839" y="32299"/>
                  <a:pt x="228030" y="40316"/>
                </a:cubicBezTo>
                <a:cubicBezTo>
                  <a:pt x="224051" y="79707"/>
                  <a:pt x="222678" y="119563"/>
                  <a:pt x="210907" y="157740"/>
                </a:cubicBezTo>
                <a:cubicBezTo>
                  <a:pt x="200806" y="190502"/>
                  <a:pt x="186090" y="220845"/>
                  <a:pt x="160928" y="245220"/>
                </a:cubicBezTo>
                <a:cubicBezTo>
                  <a:pt x="154810" y="251147"/>
                  <a:pt x="150112" y="258517"/>
                  <a:pt x="144327" y="264825"/>
                </a:cubicBezTo>
                <a:cubicBezTo>
                  <a:pt x="142086" y="267268"/>
                  <a:pt x="138659" y="270182"/>
                  <a:pt x="135745" y="270212"/>
                </a:cubicBezTo>
                <a:cubicBezTo>
                  <a:pt x="100181" y="270580"/>
                  <a:pt x="64612" y="270451"/>
                  <a:pt x="28028" y="270451"/>
                </a:cubicBezTo>
                <a:cubicBezTo>
                  <a:pt x="26976" y="260883"/>
                  <a:pt x="26343" y="252066"/>
                  <a:pt x="24984" y="243363"/>
                </a:cubicBezTo>
                <a:cubicBezTo>
                  <a:pt x="21268" y="219557"/>
                  <a:pt x="17119" y="195818"/>
                  <a:pt x="13372" y="172017"/>
                </a:cubicBezTo>
                <a:cubicBezTo>
                  <a:pt x="6574" y="128838"/>
                  <a:pt x="-1265" y="85746"/>
                  <a:pt x="172" y="41741"/>
                </a:cubicBezTo>
                <a:cubicBezTo>
                  <a:pt x="518" y="31127"/>
                  <a:pt x="1719" y="20540"/>
                  <a:pt x="1991" y="9927"/>
                </a:cubicBezTo>
                <a:cubicBezTo>
                  <a:pt x="2163" y="3278"/>
                  <a:pt x="4961" y="19"/>
                  <a:pt x="11535" y="11"/>
                </a:cubicBezTo>
                <a:cubicBezTo>
                  <a:pt x="27370" y="-9"/>
                  <a:pt x="43205" y="4"/>
                  <a:pt x="60320" y="4"/>
                </a:cubicBezTo>
                <a:cubicBezTo>
                  <a:pt x="61401" y="12123"/>
                  <a:pt x="62689" y="23341"/>
                  <a:pt x="63319" y="34595"/>
                </a:cubicBezTo>
                <a:cubicBezTo>
                  <a:pt x="63890" y="44802"/>
                  <a:pt x="63444" y="55066"/>
                  <a:pt x="63995" y="65276"/>
                </a:cubicBezTo>
                <a:cubicBezTo>
                  <a:pt x="64588" y="76246"/>
                  <a:pt x="67011" y="79017"/>
                  <a:pt x="77770" y="80309"/>
                </a:cubicBezTo>
                <a:cubicBezTo>
                  <a:pt x="86275" y="81330"/>
                  <a:pt x="94914" y="81244"/>
                  <a:pt x="104636" y="81707"/>
                </a:cubicBezTo>
                <a:close/>
              </a:path>
            </a:pathLst>
          </a:custGeom>
          <a:solidFill>
            <a:srgbClr val="FDFDFD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52" name="Free-form: Shape 151">
            <a:extLst>
              <a:ext uri="{FF2B5EF4-FFF2-40B4-BE49-F238E27FC236}">
                <a16:creationId xmlns:a16="http://schemas.microsoft.com/office/drawing/2014/main" id="{A4986FDD-4B0B-3541-68BA-3E9E0A4FCEC5}"/>
              </a:ext>
            </a:extLst>
          </p:cNvPr>
          <p:cNvSpPr/>
          <p:nvPr/>
        </p:nvSpPr>
        <p:spPr>
          <a:xfrm>
            <a:off x="10026266" y="5736217"/>
            <a:ext cx="268594" cy="68395"/>
          </a:xfrm>
          <a:custGeom>
            <a:avLst/>
            <a:gdLst>
              <a:gd name="csX0" fmla="*/ 135775 w 347893"/>
              <a:gd name="csY0" fmla="*/ 18580 h 80534"/>
              <a:gd name="csX1" fmla="*/ 239717 w 347893"/>
              <a:gd name="csY1" fmla="*/ 11288 h 80534"/>
              <a:gd name="csX2" fmla="*/ 318645 w 347893"/>
              <a:gd name="csY2" fmla="*/ 442 h 80534"/>
              <a:gd name="csX3" fmla="*/ 341767 w 347893"/>
              <a:gd name="csY3" fmla="*/ 13145 h 80534"/>
              <a:gd name="csX4" fmla="*/ 347232 w 347893"/>
              <a:gd name="csY4" fmla="*/ 54621 h 80534"/>
              <a:gd name="csX5" fmla="*/ 0 w 347893"/>
              <a:gd name="csY5" fmla="*/ 75820 h 80534"/>
              <a:gd name="csX6" fmla="*/ 0 w 347893"/>
              <a:gd name="csY6" fmla="*/ 19396 h 80534"/>
              <a:gd name="csX7" fmla="*/ 135775 w 347893"/>
              <a:gd name="csY7" fmla="*/ 18580 h 8053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</a:cxnLst>
            <a:rect l="l" t="t" r="r" b="b"/>
            <a:pathLst>
              <a:path w="347893" h="80534">
                <a:moveTo>
                  <a:pt x="135775" y="18580"/>
                </a:moveTo>
                <a:cubicBezTo>
                  <a:pt x="171209" y="16211"/>
                  <a:pt x="205541" y="14564"/>
                  <a:pt x="239717" y="11288"/>
                </a:cubicBezTo>
                <a:cubicBezTo>
                  <a:pt x="266132" y="8756"/>
                  <a:pt x="292375" y="4350"/>
                  <a:pt x="318645" y="442"/>
                </a:cubicBezTo>
                <a:cubicBezTo>
                  <a:pt x="330480" y="-1319"/>
                  <a:pt x="337947" y="2033"/>
                  <a:pt x="341767" y="13145"/>
                </a:cubicBezTo>
                <a:cubicBezTo>
                  <a:pt x="346279" y="26268"/>
                  <a:pt x="349293" y="39746"/>
                  <a:pt x="347232" y="54621"/>
                </a:cubicBezTo>
                <a:cubicBezTo>
                  <a:pt x="232188" y="77697"/>
                  <a:pt x="116756" y="86979"/>
                  <a:pt x="0" y="75820"/>
                </a:cubicBezTo>
                <a:cubicBezTo>
                  <a:pt x="0" y="56279"/>
                  <a:pt x="0" y="38485"/>
                  <a:pt x="0" y="19396"/>
                </a:cubicBezTo>
                <a:cubicBezTo>
                  <a:pt x="45633" y="19126"/>
                  <a:pt x="90119" y="18862"/>
                  <a:pt x="135775" y="18580"/>
                </a:cubicBezTo>
                <a:close/>
              </a:path>
            </a:pathLst>
          </a:custGeom>
          <a:solidFill>
            <a:srgbClr val="FCFDFD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53" name="Free-form: Shape 152">
            <a:extLst>
              <a:ext uri="{FF2B5EF4-FFF2-40B4-BE49-F238E27FC236}">
                <a16:creationId xmlns:a16="http://schemas.microsoft.com/office/drawing/2014/main" id="{288953C0-FDD4-EF1B-DF24-6CCDE7507949}"/>
              </a:ext>
            </a:extLst>
          </p:cNvPr>
          <p:cNvSpPr/>
          <p:nvPr/>
        </p:nvSpPr>
        <p:spPr>
          <a:xfrm>
            <a:off x="10036889" y="4848454"/>
            <a:ext cx="122568" cy="31169"/>
          </a:xfrm>
          <a:custGeom>
            <a:avLst/>
            <a:gdLst>
              <a:gd name="csX0" fmla="*/ 68505 w 158754"/>
              <a:gd name="csY0" fmla="*/ 36702 h 36701"/>
              <a:gd name="csX1" fmla="*/ 1920 w 158754"/>
              <a:gd name="csY1" fmla="*/ 36699 h 36701"/>
              <a:gd name="csX2" fmla="*/ 0 w 158754"/>
              <a:gd name="csY2" fmla="*/ 1592 h 36701"/>
              <a:gd name="csX3" fmla="*/ 11189 w 158754"/>
              <a:gd name="csY3" fmla="*/ 718 h 36701"/>
              <a:gd name="csX4" fmla="*/ 110708 w 158754"/>
              <a:gd name="csY4" fmla="*/ 3 h 36701"/>
              <a:gd name="csX5" fmla="*/ 127993 w 158754"/>
              <a:gd name="csY5" fmla="*/ 4910 h 36701"/>
              <a:gd name="csX6" fmla="*/ 146608 w 158754"/>
              <a:gd name="csY6" fmla="*/ 16808 h 36701"/>
              <a:gd name="csX7" fmla="*/ 158755 w 158754"/>
              <a:gd name="csY7" fmla="*/ 34647 h 36701"/>
              <a:gd name="csX8" fmla="*/ 145911 w 158754"/>
              <a:gd name="csY8" fmla="*/ 36459 h 36701"/>
              <a:gd name="csX9" fmla="*/ 68505 w 158754"/>
              <a:gd name="csY9" fmla="*/ 36702 h 3670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158754" h="36701">
                <a:moveTo>
                  <a:pt x="68505" y="36702"/>
                </a:moveTo>
                <a:cubicBezTo>
                  <a:pt x="45664" y="36699"/>
                  <a:pt x="24052" y="36699"/>
                  <a:pt x="1920" y="36699"/>
                </a:cubicBezTo>
                <a:cubicBezTo>
                  <a:pt x="-935" y="24569"/>
                  <a:pt x="572" y="13631"/>
                  <a:pt x="0" y="1592"/>
                </a:cubicBezTo>
                <a:cubicBezTo>
                  <a:pt x="4169" y="1253"/>
                  <a:pt x="7677" y="744"/>
                  <a:pt x="11189" y="718"/>
                </a:cubicBezTo>
                <a:cubicBezTo>
                  <a:pt x="44362" y="468"/>
                  <a:pt x="77538" y="423"/>
                  <a:pt x="110708" y="3"/>
                </a:cubicBezTo>
                <a:cubicBezTo>
                  <a:pt x="117152" y="-78"/>
                  <a:pt x="122702" y="1282"/>
                  <a:pt x="127993" y="4910"/>
                </a:cubicBezTo>
                <a:cubicBezTo>
                  <a:pt x="134065" y="9072"/>
                  <a:pt x="140615" y="12545"/>
                  <a:pt x="146608" y="16808"/>
                </a:cubicBezTo>
                <a:cubicBezTo>
                  <a:pt x="152239" y="20814"/>
                  <a:pt x="157699" y="25259"/>
                  <a:pt x="158755" y="34647"/>
                </a:cubicBezTo>
                <a:cubicBezTo>
                  <a:pt x="154257" y="35310"/>
                  <a:pt x="150089" y="36424"/>
                  <a:pt x="145911" y="36459"/>
                </a:cubicBezTo>
                <a:cubicBezTo>
                  <a:pt x="120520" y="36677"/>
                  <a:pt x="95126" y="36650"/>
                  <a:pt x="68505" y="36702"/>
                </a:cubicBezTo>
                <a:close/>
              </a:path>
            </a:pathLst>
          </a:custGeom>
          <a:solidFill>
            <a:srgbClr val="FBFCFB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54" name="Free-form: Shape 153">
            <a:extLst>
              <a:ext uri="{FF2B5EF4-FFF2-40B4-BE49-F238E27FC236}">
                <a16:creationId xmlns:a16="http://schemas.microsoft.com/office/drawing/2014/main" id="{64E2F206-C473-61D5-5BC0-C4283A01974C}"/>
              </a:ext>
            </a:extLst>
          </p:cNvPr>
          <p:cNvSpPr/>
          <p:nvPr/>
        </p:nvSpPr>
        <p:spPr>
          <a:xfrm>
            <a:off x="2614169" y="4575871"/>
            <a:ext cx="634942" cy="1266262"/>
          </a:xfrm>
          <a:custGeom>
            <a:avLst/>
            <a:gdLst>
              <a:gd name="csX0" fmla="*/ 703087 w 763849"/>
              <a:gd name="csY0" fmla="*/ 1241174 h 1523340"/>
              <a:gd name="csX1" fmla="*/ 732932 w 763849"/>
              <a:gd name="csY1" fmla="*/ 1359634 h 1523340"/>
              <a:gd name="csX2" fmla="*/ 735544 w 763849"/>
              <a:gd name="csY2" fmla="*/ 1377287 h 1523340"/>
              <a:gd name="csX3" fmla="*/ 756764 w 763849"/>
              <a:gd name="csY3" fmla="*/ 1458577 h 1523340"/>
              <a:gd name="csX4" fmla="*/ 757108 w 763849"/>
              <a:gd name="csY4" fmla="*/ 1465940 h 1523340"/>
              <a:gd name="csX5" fmla="*/ 744215 w 763849"/>
              <a:gd name="csY5" fmla="*/ 1488332 h 1523340"/>
              <a:gd name="csX6" fmla="*/ 712781 w 763849"/>
              <a:gd name="csY6" fmla="*/ 1498472 h 1523340"/>
              <a:gd name="csX7" fmla="*/ 625540 w 763849"/>
              <a:gd name="csY7" fmla="*/ 1511981 h 1523340"/>
              <a:gd name="csX8" fmla="*/ 488540 w 763849"/>
              <a:gd name="csY8" fmla="*/ 1522029 h 1523340"/>
              <a:gd name="csX9" fmla="*/ 306789 w 763849"/>
              <a:gd name="csY9" fmla="*/ 1523231 h 1523340"/>
              <a:gd name="csX10" fmla="*/ 200103 w 763849"/>
              <a:gd name="csY10" fmla="*/ 1518579 h 1523340"/>
              <a:gd name="csX11" fmla="*/ 31607 w 763849"/>
              <a:gd name="csY11" fmla="*/ 1493880 h 1523340"/>
              <a:gd name="csX12" fmla="*/ 5860 w 763849"/>
              <a:gd name="csY12" fmla="*/ 1482933 h 1523340"/>
              <a:gd name="csX13" fmla="*/ 32 w 763849"/>
              <a:gd name="csY13" fmla="*/ 1471774 h 1523340"/>
              <a:gd name="csX14" fmla="*/ 21295 w 763849"/>
              <a:gd name="csY14" fmla="*/ 1378237 h 1523340"/>
              <a:gd name="csX15" fmla="*/ 23169 w 763849"/>
              <a:gd name="csY15" fmla="*/ 1364271 h 1523340"/>
              <a:gd name="csX16" fmla="*/ 23871 w 763849"/>
              <a:gd name="csY16" fmla="*/ 1303132 h 1523340"/>
              <a:gd name="csX17" fmla="*/ 59740 w 763849"/>
              <a:gd name="csY17" fmla="*/ 1234649 h 1523340"/>
              <a:gd name="csX18" fmla="*/ 98899 w 763849"/>
              <a:gd name="csY18" fmla="*/ 1195619 h 1523340"/>
              <a:gd name="csX19" fmla="*/ 131493 w 763849"/>
              <a:gd name="csY19" fmla="*/ 1127593 h 1523340"/>
              <a:gd name="csX20" fmla="*/ 108213 w 763849"/>
              <a:gd name="csY20" fmla="*/ 1058723 h 1523340"/>
              <a:gd name="csX21" fmla="*/ 74370 w 763849"/>
              <a:gd name="csY21" fmla="*/ 1024929 h 1523340"/>
              <a:gd name="csX22" fmla="*/ 68137 w 763849"/>
              <a:gd name="csY22" fmla="*/ 987550 h 1523340"/>
              <a:gd name="csX23" fmla="*/ 86420 w 763849"/>
              <a:gd name="csY23" fmla="*/ 941991 h 1523340"/>
              <a:gd name="csX24" fmla="*/ 97082 w 763849"/>
              <a:gd name="csY24" fmla="*/ 828037 h 1523340"/>
              <a:gd name="csX25" fmla="*/ 61782 w 763849"/>
              <a:gd name="csY25" fmla="*/ 696973 h 1523340"/>
              <a:gd name="csX26" fmla="*/ 26901 w 763849"/>
              <a:gd name="csY26" fmla="*/ 547868 h 1523340"/>
              <a:gd name="csX27" fmla="*/ 20221 w 763849"/>
              <a:gd name="csY27" fmla="*/ 479529 h 1523340"/>
              <a:gd name="csX28" fmla="*/ 40808 w 763849"/>
              <a:gd name="csY28" fmla="*/ 334388 h 1523340"/>
              <a:gd name="csX29" fmla="*/ 65171 w 763849"/>
              <a:gd name="csY29" fmla="*/ 263707 h 1523340"/>
              <a:gd name="csX30" fmla="*/ 142827 w 763849"/>
              <a:gd name="csY30" fmla="*/ 171003 h 1523340"/>
              <a:gd name="csX31" fmla="*/ 172290 w 763849"/>
              <a:gd name="csY31" fmla="*/ 155872 h 1523340"/>
              <a:gd name="csX32" fmla="*/ 189008 w 763849"/>
              <a:gd name="csY32" fmla="*/ 148158 h 1523340"/>
              <a:gd name="csX33" fmla="*/ 212828 w 763849"/>
              <a:gd name="csY33" fmla="*/ 126123 h 1523340"/>
              <a:gd name="csX34" fmla="*/ 217217 w 763849"/>
              <a:gd name="csY34" fmla="*/ 118740 h 1523340"/>
              <a:gd name="csX35" fmla="*/ 253000 w 763849"/>
              <a:gd name="csY35" fmla="*/ 88998 h 1523340"/>
              <a:gd name="csX36" fmla="*/ 322085 w 763849"/>
              <a:gd name="csY36" fmla="*/ 72193 h 1523340"/>
              <a:gd name="csX37" fmla="*/ 330478 w 763849"/>
              <a:gd name="csY37" fmla="*/ 70387 h 1523340"/>
              <a:gd name="csX38" fmla="*/ 388016 w 763849"/>
              <a:gd name="csY38" fmla="*/ 35457 h 1523340"/>
              <a:gd name="csX39" fmla="*/ 421527 w 763849"/>
              <a:gd name="csY39" fmla="*/ 0 h 1523340"/>
              <a:gd name="csX40" fmla="*/ 424538 w 763849"/>
              <a:gd name="csY40" fmla="*/ 10833 h 1523340"/>
              <a:gd name="csX41" fmla="*/ 436339 w 763849"/>
              <a:gd name="csY41" fmla="*/ 121836 h 1523340"/>
              <a:gd name="csX42" fmla="*/ 449983 w 763849"/>
              <a:gd name="csY42" fmla="*/ 141450 h 1523340"/>
              <a:gd name="csX43" fmla="*/ 503299 w 763849"/>
              <a:gd name="csY43" fmla="*/ 169290 h 1523340"/>
              <a:gd name="csX44" fmla="*/ 551461 w 763849"/>
              <a:gd name="csY44" fmla="*/ 203111 h 1523340"/>
              <a:gd name="csX45" fmla="*/ 588803 w 763849"/>
              <a:gd name="csY45" fmla="*/ 252797 h 1523340"/>
              <a:gd name="csX46" fmla="*/ 634209 w 763849"/>
              <a:gd name="csY46" fmla="*/ 327081 h 1523340"/>
              <a:gd name="csX47" fmla="*/ 697923 w 763849"/>
              <a:gd name="csY47" fmla="*/ 384157 h 1523340"/>
              <a:gd name="csX48" fmla="*/ 729658 w 763849"/>
              <a:gd name="csY48" fmla="*/ 407288 h 1523340"/>
              <a:gd name="csX49" fmla="*/ 763354 w 763849"/>
              <a:gd name="csY49" fmla="*/ 471325 h 1523340"/>
              <a:gd name="csX50" fmla="*/ 757092 w 763849"/>
              <a:gd name="csY50" fmla="*/ 527116 h 1523340"/>
              <a:gd name="csX51" fmla="*/ 720673 w 763849"/>
              <a:gd name="csY51" fmla="*/ 570023 h 1523340"/>
              <a:gd name="csX52" fmla="*/ 704918 w 763849"/>
              <a:gd name="csY52" fmla="*/ 581294 h 1523340"/>
              <a:gd name="csX53" fmla="*/ 671960 w 763849"/>
              <a:gd name="csY53" fmla="*/ 595325 h 1523340"/>
              <a:gd name="csX54" fmla="*/ 633021 w 763849"/>
              <a:gd name="csY54" fmla="*/ 591397 h 1523340"/>
              <a:gd name="csX55" fmla="*/ 580696 w 763849"/>
              <a:gd name="csY55" fmla="*/ 556742 h 1523340"/>
              <a:gd name="csX56" fmla="*/ 545415 w 763849"/>
              <a:gd name="csY56" fmla="*/ 524617 h 1523340"/>
              <a:gd name="csX57" fmla="*/ 518889 w 763849"/>
              <a:gd name="csY57" fmla="*/ 516179 h 1523340"/>
              <a:gd name="csX58" fmla="*/ 472309 w 763849"/>
              <a:gd name="csY58" fmla="*/ 517812 h 1523340"/>
              <a:gd name="csX59" fmla="*/ 415953 w 763849"/>
              <a:gd name="csY59" fmla="*/ 517245 h 1523340"/>
              <a:gd name="csX60" fmla="*/ 403392 w 763849"/>
              <a:gd name="csY60" fmla="*/ 516539 h 1523340"/>
              <a:gd name="csX61" fmla="*/ 407957 w 763849"/>
              <a:gd name="csY61" fmla="*/ 542045 h 1523340"/>
              <a:gd name="csX62" fmla="*/ 434134 w 763849"/>
              <a:gd name="csY62" fmla="*/ 583349 h 1523340"/>
              <a:gd name="csX63" fmla="*/ 524267 w 763849"/>
              <a:gd name="csY63" fmla="*/ 683922 h 1523340"/>
              <a:gd name="csX64" fmla="*/ 614317 w 763849"/>
              <a:gd name="csY64" fmla="*/ 786085 h 1523340"/>
              <a:gd name="csX65" fmla="*/ 669590 w 763849"/>
              <a:gd name="csY65" fmla="*/ 921089 h 1523340"/>
              <a:gd name="csX66" fmla="*/ 647360 w 763849"/>
              <a:gd name="csY66" fmla="*/ 1057245 h 1523340"/>
              <a:gd name="csX67" fmla="*/ 627872 w 763849"/>
              <a:gd name="csY67" fmla="*/ 1102111 h 1523340"/>
              <a:gd name="csX68" fmla="*/ 642300 w 763849"/>
              <a:gd name="csY68" fmla="*/ 1175941 h 1523340"/>
              <a:gd name="csX69" fmla="*/ 668829 w 763849"/>
              <a:gd name="csY69" fmla="*/ 1206449 h 1523340"/>
              <a:gd name="csX70" fmla="*/ 703087 w 763849"/>
              <a:gd name="csY70" fmla="*/ 1241174 h 1523340"/>
              <a:gd name="csX71" fmla="*/ 648750 w 763849"/>
              <a:gd name="csY71" fmla="*/ 562343 h 1523340"/>
              <a:gd name="csX72" fmla="*/ 674049 w 763849"/>
              <a:gd name="csY72" fmla="*/ 562834 h 1523340"/>
              <a:gd name="csX73" fmla="*/ 660781 w 763849"/>
              <a:gd name="csY73" fmla="*/ 550178 h 1523340"/>
              <a:gd name="csX74" fmla="*/ 650911 w 763849"/>
              <a:gd name="csY74" fmla="*/ 534051 h 1523340"/>
              <a:gd name="csX75" fmla="*/ 660724 w 763849"/>
              <a:gd name="csY75" fmla="*/ 537605 h 1523340"/>
              <a:gd name="csX76" fmla="*/ 688133 w 763849"/>
              <a:gd name="csY76" fmla="*/ 543363 h 1523340"/>
              <a:gd name="csX77" fmla="*/ 731514 w 763849"/>
              <a:gd name="csY77" fmla="*/ 510767 h 1523340"/>
              <a:gd name="csX78" fmla="*/ 733611 w 763849"/>
              <a:gd name="csY78" fmla="*/ 466905 h 1523340"/>
              <a:gd name="csX79" fmla="*/ 708076 w 763849"/>
              <a:gd name="csY79" fmla="*/ 425975 h 1523340"/>
              <a:gd name="csX80" fmla="*/ 667538 w 763849"/>
              <a:gd name="csY80" fmla="*/ 398254 h 1523340"/>
              <a:gd name="csX81" fmla="*/ 601016 w 763849"/>
              <a:gd name="csY81" fmla="*/ 332127 h 1523340"/>
              <a:gd name="csX82" fmla="*/ 565354 w 763849"/>
              <a:gd name="csY82" fmla="*/ 270526 h 1523340"/>
              <a:gd name="csX83" fmla="*/ 490657 w 763849"/>
              <a:gd name="csY83" fmla="*/ 195121 h 1523340"/>
              <a:gd name="csX84" fmla="*/ 432834 w 763849"/>
              <a:gd name="csY84" fmla="*/ 165243 h 1523340"/>
              <a:gd name="csX85" fmla="*/ 407594 w 763849"/>
              <a:gd name="csY85" fmla="*/ 127852 h 1523340"/>
              <a:gd name="csX86" fmla="*/ 405020 w 763849"/>
              <a:gd name="csY86" fmla="*/ 69029 h 1523340"/>
              <a:gd name="csX87" fmla="*/ 403638 w 763849"/>
              <a:gd name="csY87" fmla="*/ 58130 h 1523340"/>
              <a:gd name="csX88" fmla="*/ 349776 w 763849"/>
              <a:gd name="csY88" fmla="*/ 133259 h 1523340"/>
              <a:gd name="csX89" fmla="*/ 326975 w 763849"/>
              <a:gd name="csY89" fmla="*/ 159669 h 1523340"/>
              <a:gd name="csX90" fmla="*/ 240374 w 763849"/>
              <a:gd name="csY90" fmla="*/ 221714 h 1523340"/>
              <a:gd name="csX91" fmla="*/ 171637 w 763849"/>
              <a:gd name="csY91" fmla="*/ 309087 h 1523340"/>
              <a:gd name="csX92" fmla="*/ 138048 w 763849"/>
              <a:gd name="csY92" fmla="*/ 516954 h 1523340"/>
              <a:gd name="csX93" fmla="*/ 163889 w 763849"/>
              <a:gd name="csY93" fmla="*/ 641780 h 1523340"/>
              <a:gd name="csX94" fmla="*/ 204800 w 763849"/>
              <a:gd name="csY94" fmla="*/ 787055 h 1523340"/>
              <a:gd name="csX95" fmla="*/ 218549 w 763849"/>
              <a:gd name="csY95" fmla="*/ 949545 h 1523340"/>
              <a:gd name="csX96" fmla="*/ 191487 w 763849"/>
              <a:gd name="csY96" fmla="*/ 1033064 h 1523340"/>
              <a:gd name="csX97" fmla="*/ 188729 w 763849"/>
              <a:gd name="csY97" fmla="*/ 1039835 h 1523340"/>
              <a:gd name="csX98" fmla="*/ 221417 w 763849"/>
              <a:gd name="csY98" fmla="*/ 1040799 h 1523340"/>
              <a:gd name="csX99" fmla="*/ 348895 w 763849"/>
              <a:gd name="csY99" fmla="*/ 1046759 h 1523340"/>
              <a:gd name="csX100" fmla="*/ 545369 w 763849"/>
              <a:gd name="csY100" fmla="*/ 1044456 h 1523340"/>
              <a:gd name="csX101" fmla="*/ 612424 w 763849"/>
              <a:gd name="csY101" fmla="*/ 1037365 h 1523340"/>
              <a:gd name="csX102" fmla="*/ 623169 w 763849"/>
              <a:gd name="csY102" fmla="*/ 1028873 h 1523340"/>
              <a:gd name="csX103" fmla="*/ 638508 w 763849"/>
              <a:gd name="csY103" fmla="*/ 959599 h 1523340"/>
              <a:gd name="csX104" fmla="*/ 609213 w 763849"/>
              <a:gd name="csY104" fmla="*/ 842075 h 1523340"/>
              <a:gd name="csX105" fmla="*/ 529367 w 763849"/>
              <a:gd name="csY105" fmla="*/ 735065 h 1523340"/>
              <a:gd name="csX106" fmla="*/ 403792 w 763849"/>
              <a:gd name="csY106" fmla="*/ 596993 h 1523340"/>
              <a:gd name="csX107" fmla="*/ 344708 w 763849"/>
              <a:gd name="csY107" fmla="*/ 511366 h 1523340"/>
              <a:gd name="csX108" fmla="*/ 324464 w 763849"/>
              <a:gd name="csY108" fmla="*/ 380084 h 1523340"/>
              <a:gd name="csX109" fmla="*/ 327688 w 763849"/>
              <a:gd name="csY109" fmla="*/ 373535 h 1523340"/>
              <a:gd name="csX110" fmla="*/ 330334 w 763849"/>
              <a:gd name="csY110" fmla="*/ 373641 h 1523340"/>
              <a:gd name="csX111" fmla="*/ 334272 w 763849"/>
              <a:gd name="csY111" fmla="*/ 384645 h 1523340"/>
              <a:gd name="csX112" fmla="*/ 365260 w 763849"/>
              <a:gd name="csY112" fmla="*/ 453955 h 1523340"/>
              <a:gd name="csX113" fmla="*/ 408246 w 763849"/>
              <a:gd name="csY113" fmla="*/ 483592 h 1523340"/>
              <a:gd name="csX114" fmla="*/ 464529 w 763849"/>
              <a:gd name="csY114" fmla="*/ 486187 h 1523340"/>
              <a:gd name="csX115" fmla="*/ 511119 w 763849"/>
              <a:gd name="csY115" fmla="*/ 484308 h 1523340"/>
              <a:gd name="csX116" fmla="*/ 567913 w 763849"/>
              <a:gd name="csY116" fmla="*/ 503736 h 1523340"/>
              <a:gd name="csX117" fmla="*/ 607611 w 763849"/>
              <a:gd name="csY117" fmla="*/ 540326 h 1523340"/>
              <a:gd name="csX118" fmla="*/ 648750 w 763849"/>
              <a:gd name="csY118" fmla="*/ 562343 h 1523340"/>
              <a:gd name="csX119" fmla="*/ 462594 w 763849"/>
              <a:gd name="csY119" fmla="*/ 1369008 h 1523340"/>
              <a:gd name="csX120" fmla="*/ 510357 w 763849"/>
              <a:gd name="csY120" fmla="*/ 1366345 h 1523340"/>
              <a:gd name="csX121" fmla="*/ 549434 w 763849"/>
              <a:gd name="csY121" fmla="*/ 1362956 h 1523340"/>
              <a:gd name="csX122" fmla="*/ 632369 w 763849"/>
              <a:gd name="csY122" fmla="*/ 1354439 h 1523340"/>
              <a:gd name="csX123" fmla="*/ 697252 w 763849"/>
              <a:gd name="csY123" fmla="*/ 1346424 h 1523340"/>
              <a:gd name="csX124" fmla="*/ 676674 w 763849"/>
              <a:gd name="csY124" fmla="*/ 1266396 h 1523340"/>
              <a:gd name="csX125" fmla="*/ 646594 w 763849"/>
              <a:gd name="csY125" fmla="*/ 1234108 h 1523340"/>
              <a:gd name="csX126" fmla="*/ 612063 w 763849"/>
              <a:gd name="csY126" fmla="*/ 1194382 h 1523340"/>
              <a:gd name="csX127" fmla="*/ 591616 w 763849"/>
              <a:gd name="csY127" fmla="*/ 1111541 h 1523340"/>
              <a:gd name="csX128" fmla="*/ 594320 w 763849"/>
              <a:gd name="csY128" fmla="*/ 1089609 h 1523340"/>
              <a:gd name="csX129" fmla="*/ 578634 w 763849"/>
              <a:gd name="csY129" fmla="*/ 1089642 h 1523340"/>
              <a:gd name="csX130" fmla="*/ 443931 w 763849"/>
              <a:gd name="csY130" fmla="*/ 1096700 h 1523340"/>
              <a:gd name="csX131" fmla="*/ 403417 w 763849"/>
              <a:gd name="csY131" fmla="*/ 1097156 h 1523340"/>
              <a:gd name="csX132" fmla="*/ 388348 w 763849"/>
              <a:gd name="csY132" fmla="*/ 1111502 h 1523340"/>
              <a:gd name="csX133" fmla="*/ 385048 w 763849"/>
              <a:gd name="csY133" fmla="*/ 1176431 h 1523340"/>
              <a:gd name="csX134" fmla="*/ 377687 w 763849"/>
              <a:gd name="csY134" fmla="*/ 1308672 h 1523340"/>
              <a:gd name="csX135" fmla="*/ 376823 w 763849"/>
              <a:gd name="csY135" fmla="*/ 1320897 h 1523340"/>
              <a:gd name="csX136" fmla="*/ 376781 w 763849"/>
              <a:gd name="csY136" fmla="*/ 1366151 h 1523340"/>
              <a:gd name="csX137" fmla="*/ 462594 w 763849"/>
              <a:gd name="csY137" fmla="*/ 1369008 h 1523340"/>
              <a:gd name="csX138" fmla="*/ 648494 w 763849"/>
              <a:gd name="csY138" fmla="*/ 1463981 h 1523340"/>
              <a:gd name="csX139" fmla="*/ 718746 w 763849"/>
              <a:gd name="csY139" fmla="*/ 1451892 h 1523340"/>
              <a:gd name="csX140" fmla="*/ 711827 w 763849"/>
              <a:gd name="csY140" fmla="*/ 1416835 h 1523340"/>
              <a:gd name="csX141" fmla="*/ 685812 w 763849"/>
              <a:gd name="csY141" fmla="*/ 1398502 h 1523340"/>
              <a:gd name="csX142" fmla="*/ 680924 w 763849"/>
              <a:gd name="csY142" fmla="*/ 1398973 h 1523340"/>
              <a:gd name="csX143" fmla="*/ 598278 w 763849"/>
              <a:gd name="csY143" fmla="*/ 1409218 h 1523340"/>
              <a:gd name="csX144" fmla="*/ 474765 w 763849"/>
              <a:gd name="csY144" fmla="*/ 1417945 h 1523340"/>
              <a:gd name="csX145" fmla="*/ 385143 w 763849"/>
              <a:gd name="csY145" fmla="*/ 1418978 h 1523340"/>
              <a:gd name="csX146" fmla="*/ 376639 w 763849"/>
              <a:gd name="csY146" fmla="*/ 1419613 h 1523340"/>
              <a:gd name="csX147" fmla="*/ 376639 w 763849"/>
              <a:gd name="csY147" fmla="*/ 1473939 h 1523340"/>
              <a:gd name="csX148" fmla="*/ 382089 w 763849"/>
              <a:gd name="csY148" fmla="*/ 1474854 h 1523340"/>
              <a:gd name="csX149" fmla="*/ 449536 w 763849"/>
              <a:gd name="csY149" fmla="*/ 1476855 h 1523340"/>
              <a:gd name="csX150" fmla="*/ 559930 w 763849"/>
              <a:gd name="csY150" fmla="*/ 1474307 h 1523340"/>
              <a:gd name="csX151" fmla="*/ 648494 w 763849"/>
              <a:gd name="csY151" fmla="*/ 1463981 h 152334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</a:cxnLst>
            <a:rect l="l" t="t" r="r" b="b"/>
            <a:pathLst>
              <a:path w="763849" h="1523340">
                <a:moveTo>
                  <a:pt x="703087" y="1241174"/>
                </a:moveTo>
                <a:cubicBezTo>
                  <a:pt x="732418" y="1276379"/>
                  <a:pt x="738825" y="1316526"/>
                  <a:pt x="732932" y="1359634"/>
                </a:cubicBezTo>
                <a:cubicBezTo>
                  <a:pt x="732067" y="1365959"/>
                  <a:pt x="732453" y="1371428"/>
                  <a:pt x="735544" y="1377287"/>
                </a:cubicBezTo>
                <a:cubicBezTo>
                  <a:pt x="748937" y="1402675"/>
                  <a:pt x="755318" y="1430010"/>
                  <a:pt x="756764" y="1458577"/>
                </a:cubicBezTo>
                <a:cubicBezTo>
                  <a:pt x="756887" y="1461031"/>
                  <a:pt x="756895" y="1463494"/>
                  <a:pt x="757108" y="1465940"/>
                </a:cubicBezTo>
                <a:cubicBezTo>
                  <a:pt x="758375" y="1480486"/>
                  <a:pt x="757802" y="1482498"/>
                  <a:pt x="744215" y="1488332"/>
                </a:cubicBezTo>
                <a:cubicBezTo>
                  <a:pt x="734126" y="1492664"/>
                  <a:pt x="723536" y="1496562"/>
                  <a:pt x="712781" y="1498472"/>
                </a:cubicBezTo>
                <a:cubicBezTo>
                  <a:pt x="683814" y="1503617"/>
                  <a:pt x="654674" y="1507832"/>
                  <a:pt x="625540" y="1511981"/>
                </a:cubicBezTo>
                <a:cubicBezTo>
                  <a:pt x="580114" y="1518449"/>
                  <a:pt x="534395" y="1521481"/>
                  <a:pt x="488540" y="1522029"/>
                </a:cubicBezTo>
                <a:cubicBezTo>
                  <a:pt x="427958" y="1522752"/>
                  <a:pt x="367367" y="1523658"/>
                  <a:pt x="306789" y="1523231"/>
                </a:cubicBezTo>
                <a:cubicBezTo>
                  <a:pt x="271215" y="1522980"/>
                  <a:pt x="235625" y="1520833"/>
                  <a:pt x="200103" y="1518579"/>
                </a:cubicBezTo>
                <a:cubicBezTo>
                  <a:pt x="143289" y="1514974"/>
                  <a:pt x="86915" y="1507766"/>
                  <a:pt x="31607" y="1493880"/>
                </a:cubicBezTo>
                <a:cubicBezTo>
                  <a:pt x="22666" y="1491635"/>
                  <a:pt x="14297" y="1486920"/>
                  <a:pt x="5860" y="1482933"/>
                </a:cubicBezTo>
                <a:cubicBezTo>
                  <a:pt x="1433" y="1480841"/>
                  <a:pt x="-262" y="1476934"/>
                  <a:pt x="32" y="1471774"/>
                </a:cubicBezTo>
                <a:cubicBezTo>
                  <a:pt x="1880" y="1439401"/>
                  <a:pt x="3993" y="1407192"/>
                  <a:pt x="21295" y="1378237"/>
                </a:cubicBezTo>
                <a:cubicBezTo>
                  <a:pt x="23526" y="1374504"/>
                  <a:pt x="23666" y="1368858"/>
                  <a:pt x="23169" y="1364271"/>
                </a:cubicBezTo>
                <a:cubicBezTo>
                  <a:pt x="20957" y="1343833"/>
                  <a:pt x="20482" y="1323540"/>
                  <a:pt x="23871" y="1303132"/>
                </a:cubicBezTo>
                <a:cubicBezTo>
                  <a:pt x="28332" y="1276267"/>
                  <a:pt x="41045" y="1253887"/>
                  <a:pt x="59740" y="1234649"/>
                </a:cubicBezTo>
                <a:cubicBezTo>
                  <a:pt x="72582" y="1221434"/>
                  <a:pt x="85657" y="1208434"/>
                  <a:pt x="98899" y="1195619"/>
                </a:cubicBezTo>
                <a:cubicBezTo>
                  <a:pt x="118216" y="1176926"/>
                  <a:pt x="130484" y="1154702"/>
                  <a:pt x="131493" y="1127593"/>
                </a:cubicBezTo>
                <a:cubicBezTo>
                  <a:pt x="132448" y="1101948"/>
                  <a:pt x="127125" y="1077868"/>
                  <a:pt x="108213" y="1058723"/>
                </a:cubicBezTo>
                <a:cubicBezTo>
                  <a:pt x="97010" y="1047381"/>
                  <a:pt x="85438" y="1036399"/>
                  <a:pt x="74370" y="1024929"/>
                </a:cubicBezTo>
                <a:cubicBezTo>
                  <a:pt x="63868" y="1014043"/>
                  <a:pt x="62267" y="1001475"/>
                  <a:pt x="68137" y="987550"/>
                </a:cubicBezTo>
                <a:cubicBezTo>
                  <a:pt x="74493" y="972473"/>
                  <a:pt x="80703" y="957319"/>
                  <a:pt x="86420" y="941991"/>
                </a:cubicBezTo>
                <a:cubicBezTo>
                  <a:pt x="100218" y="905001"/>
                  <a:pt x="99441" y="866690"/>
                  <a:pt x="97082" y="828037"/>
                </a:cubicBezTo>
                <a:cubicBezTo>
                  <a:pt x="94260" y="781809"/>
                  <a:pt x="76370" y="739899"/>
                  <a:pt x="61782" y="696973"/>
                </a:cubicBezTo>
                <a:cubicBezTo>
                  <a:pt x="45282" y="648419"/>
                  <a:pt x="33285" y="598770"/>
                  <a:pt x="26901" y="547868"/>
                </a:cubicBezTo>
                <a:cubicBezTo>
                  <a:pt x="24054" y="525160"/>
                  <a:pt x="21110" y="502364"/>
                  <a:pt x="20221" y="479529"/>
                </a:cubicBezTo>
                <a:cubicBezTo>
                  <a:pt x="18293" y="430013"/>
                  <a:pt x="26126" y="381610"/>
                  <a:pt x="40808" y="334388"/>
                </a:cubicBezTo>
                <a:cubicBezTo>
                  <a:pt x="48208" y="310588"/>
                  <a:pt x="55162" y="286441"/>
                  <a:pt x="65171" y="263707"/>
                </a:cubicBezTo>
                <a:cubicBezTo>
                  <a:pt x="81946" y="225606"/>
                  <a:pt x="106517" y="193071"/>
                  <a:pt x="142827" y="171003"/>
                </a:cubicBezTo>
                <a:cubicBezTo>
                  <a:pt x="152238" y="165283"/>
                  <a:pt x="162401" y="160787"/>
                  <a:pt x="172290" y="155872"/>
                </a:cubicBezTo>
                <a:cubicBezTo>
                  <a:pt x="177784" y="153142"/>
                  <a:pt x="183393" y="150635"/>
                  <a:pt x="189008" y="148158"/>
                </a:cubicBezTo>
                <a:cubicBezTo>
                  <a:pt x="199487" y="143534"/>
                  <a:pt x="207598" y="136426"/>
                  <a:pt x="212828" y="126123"/>
                </a:cubicBezTo>
                <a:cubicBezTo>
                  <a:pt x="214121" y="123575"/>
                  <a:pt x="215966" y="121304"/>
                  <a:pt x="217217" y="118740"/>
                </a:cubicBezTo>
                <a:cubicBezTo>
                  <a:pt x="224688" y="103433"/>
                  <a:pt x="237053" y="93440"/>
                  <a:pt x="253000" y="88998"/>
                </a:cubicBezTo>
                <a:cubicBezTo>
                  <a:pt x="275818" y="82642"/>
                  <a:pt x="299033" y="77711"/>
                  <a:pt x="322085" y="72193"/>
                </a:cubicBezTo>
                <a:cubicBezTo>
                  <a:pt x="324867" y="71527"/>
                  <a:pt x="327694" y="71045"/>
                  <a:pt x="330478" y="70387"/>
                </a:cubicBezTo>
                <a:cubicBezTo>
                  <a:pt x="364731" y="62297"/>
                  <a:pt x="364569" y="62151"/>
                  <a:pt x="388016" y="35457"/>
                </a:cubicBezTo>
                <a:cubicBezTo>
                  <a:pt x="398189" y="23875"/>
                  <a:pt x="409180" y="13010"/>
                  <a:pt x="421527" y="0"/>
                </a:cubicBezTo>
                <a:cubicBezTo>
                  <a:pt x="423000" y="5190"/>
                  <a:pt x="424219" y="7961"/>
                  <a:pt x="424538" y="10833"/>
                </a:cubicBezTo>
                <a:cubicBezTo>
                  <a:pt x="428638" y="47817"/>
                  <a:pt x="433030" y="84779"/>
                  <a:pt x="436339" y="121836"/>
                </a:cubicBezTo>
                <a:cubicBezTo>
                  <a:pt x="437236" y="131893"/>
                  <a:pt x="441545" y="137271"/>
                  <a:pt x="449983" y="141450"/>
                </a:cubicBezTo>
                <a:cubicBezTo>
                  <a:pt x="467954" y="150348"/>
                  <a:pt x="486187" y="158915"/>
                  <a:pt x="503299" y="169290"/>
                </a:cubicBezTo>
                <a:cubicBezTo>
                  <a:pt x="520041" y="179441"/>
                  <a:pt x="535883" y="191197"/>
                  <a:pt x="551461" y="203111"/>
                </a:cubicBezTo>
                <a:cubicBezTo>
                  <a:pt x="568416" y="216079"/>
                  <a:pt x="579195" y="234146"/>
                  <a:pt x="588803" y="252797"/>
                </a:cubicBezTo>
                <a:cubicBezTo>
                  <a:pt x="602134" y="278677"/>
                  <a:pt x="616556" y="303835"/>
                  <a:pt x="634209" y="327081"/>
                </a:cubicBezTo>
                <a:cubicBezTo>
                  <a:pt x="651797" y="350241"/>
                  <a:pt x="673980" y="368103"/>
                  <a:pt x="697923" y="384157"/>
                </a:cubicBezTo>
                <a:cubicBezTo>
                  <a:pt x="708787" y="391441"/>
                  <a:pt x="719007" y="399678"/>
                  <a:pt x="729658" y="407288"/>
                </a:cubicBezTo>
                <a:cubicBezTo>
                  <a:pt x="751657" y="423004"/>
                  <a:pt x="761259" y="445265"/>
                  <a:pt x="763354" y="471325"/>
                </a:cubicBezTo>
                <a:cubicBezTo>
                  <a:pt x="764877" y="490275"/>
                  <a:pt x="762919" y="509064"/>
                  <a:pt x="757092" y="527116"/>
                </a:cubicBezTo>
                <a:cubicBezTo>
                  <a:pt x="750932" y="546198"/>
                  <a:pt x="738296" y="560266"/>
                  <a:pt x="720673" y="570023"/>
                </a:cubicBezTo>
                <a:cubicBezTo>
                  <a:pt x="715048" y="573138"/>
                  <a:pt x="709487" y="576825"/>
                  <a:pt x="704918" y="581294"/>
                </a:cubicBezTo>
                <a:cubicBezTo>
                  <a:pt x="695625" y="590383"/>
                  <a:pt x="684728" y="595697"/>
                  <a:pt x="671960" y="595325"/>
                </a:cubicBezTo>
                <a:cubicBezTo>
                  <a:pt x="658939" y="594945"/>
                  <a:pt x="645743" y="594018"/>
                  <a:pt x="633021" y="591397"/>
                </a:cubicBezTo>
                <a:cubicBezTo>
                  <a:pt x="611233" y="586907"/>
                  <a:pt x="595034" y="572939"/>
                  <a:pt x="580696" y="556742"/>
                </a:cubicBezTo>
                <a:cubicBezTo>
                  <a:pt x="570081" y="544750"/>
                  <a:pt x="559052" y="533306"/>
                  <a:pt x="545415" y="524617"/>
                </a:cubicBezTo>
                <a:cubicBezTo>
                  <a:pt x="537261" y="519422"/>
                  <a:pt x="528551" y="515996"/>
                  <a:pt x="518889" y="516179"/>
                </a:cubicBezTo>
                <a:cubicBezTo>
                  <a:pt x="503357" y="516473"/>
                  <a:pt x="487839" y="517663"/>
                  <a:pt x="472309" y="517812"/>
                </a:cubicBezTo>
                <a:cubicBezTo>
                  <a:pt x="453527" y="517993"/>
                  <a:pt x="434738" y="517514"/>
                  <a:pt x="415953" y="517245"/>
                </a:cubicBezTo>
                <a:cubicBezTo>
                  <a:pt x="411976" y="517189"/>
                  <a:pt x="408003" y="516808"/>
                  <a:pt x="403392" y="516539"/>
                </a:cubicBezTo>
                <a:cubicBezTo>
                  <a:pt x="401207" y="526363"/>
                  <a:pt x="404857" y="534293"/>
                  <a:pt x="407957" y="542045"/>
                </a:cubicBezTo>
                <a:cubicBezTo>
                  <a:pt x="414092" y="557387"/>
                  <a:pt x="423168" y="571042"/>
                  <a:pt x="434134" y="583349"/>
                </a:cubicBezTo>
                <a:cubicBezTo>
                  <a:pt x="464083" y="616959"/>
                  <a:pt x="493980" y="650618"/>
                  <a:pt x="524267" y="683922"/>
                </a:cubicBezTo>
                <a:cubicBezTo>
                  <a:pt x="554818" y="717518"/>
                  <a:pt x="588291" y="748619"/>
                  <a:pt x="614317" y="786085"/>
                </a:cubicBezTo>
                <a:cubicBezTo>
                  <a:pt x="642656" y="826881"/>
                  <a:pt x="663974" y="871159"/>
                  <a:pt x="669590" y="921089"/>
                </a:cubicBezTo>
                <a:cubicBezTo>
                  <a:pt x="674894" y="968240"/>
                  <a:pt x="669774" y="1014226"/>
                  <a:pt x="647360" y="1057245"/>
                </a:cubicBezTo>
                <a:cubicBezTo>
                  <a:pt x="639830" y="1071697"/>
                  <a:pt x="630533" y="1085565"/>
                  <a:pt x="627872" y="1102111"/>
                </a:cubicBezTo>
                <a:cubicBezTo>
                  <a:pt x="623640" y="1128439"/>
                  <a:pt x="626183" y="1153784"/>
                  <a:pt x="642300" y="1175941"/>
                </a:cubicBezTo>
                <a:cubicBezTo>
                  <a:pt x="650201" y="1186801"/>
                  <a:pt x="659595" y="1196636"/>
                  <a:pt x="668829" y="1206449"/>
                </a:cubicBezTo>
                <a:cubicBezTo>
                  <a:pt x="679770" y="1218075"/>
                  <a:pt x="691267" y="1229177"/>
                  <a:pt x="703087" y="1241174"/>
                </a:cubicBezTo>
                <a:moveTo>
                  <a:pt x="648750" y="562343"/>
                </a:moveTo>
                <a:cubicBezTo>
                  <a:pt x="656729" y="562558"/>
                  <a:pt x="664698" y="567407"/>
                  <a:pt x="674049" y="562834"/>
                </a:cubicBezTo>
                <a:cubicBezTo>
                  <a:pt x="668990" y="558037"/>
                  <a:pt x="664729" y="554259"/>
                  <a:pt x="660781" y="550178"/>
                </a:cubicBezTo>
                <a:cubicBezTo>
                  <a:pt x="656713" y="545973"/>
                  <a:pt x="651493" y="542363"/>
                  <a:pt x="650911" y="534051"/>
                </a:cubicBezTo>
                <a:cubicBezTo>
                  <a:pt x="654940" y="535536"/>
                  <a:pt x="657753" y="536907"/>
                  <a:pt x="660724" y="537605"/>
                </a:cubicBezTo>
                <a:cubicBezTo>
                  <a:pt x="669824" y="539743"/>
                  <a:pt x="678915" y="542853"/>
                  <a:pt x="688133" y="543363"/>
                </a:cubicBezTo>
                <a:cubicBezTo>
                  <a:pt x="712019" y="544686"/>
                  <a:pt x="726964" y="534053"/>
                  <a:pt x="731514" y="510767"/>
                </a:cubicBezTo>
                <a:cubicBezTo>
                  <a:pt x="734296" y="496535"/>
                  <a:pt x="734146" y="481511"/>
                  <a:pt x="733611" y="466905"/>
                </a:cubicBezTo>
                <a:cubicBezTo>
                  <a:pt x="732951" y="448863"/>
                  <a:pt x="723348" y="435653"/>
                  <a:pt x="708076" y="425975"/>
                </a:cubicBezTo>
                <a:cubicBezTo>
                  <a:pt x="694258" y="417218"/>
                  <a:pt x="681056" y="407489"/>
                  <a:pt x="667538" y="398254"/>
                </a:cubicBezTo>
                <a:cubicBezTo>
                  <a:pt x="641278" y="380314"/>
                  <a:pt x="617580" y="359743"/>
                  <a:pt x="601016" y="332127"/>
                </a:cubicBezTo>
                <a:cubicBezTo>
                  <a:pt x="588810" y="311778"/>
                  <a:pt x="576093" y="291645"/>
                  <a:pt x="565354" y="270526"/>
                </a:cubicBezTo>
                <a:cubicBezTo>
                  <a:pt x="548401" y="237186"/>
                  <a:pt x="523821" y="212104"/>
                  <a:pt x="490657" y="195121"/>
                </a:cubicBezTo>
                <a:cubicBezTo>
                  <a:pt x="471346" y="185231"/>
                  <a:pt x="452394" y="174606"/>
                  <a:pt x="432834" y="165243"/>
                </a:cubicBezTo>
                <a:cubicBezTo>
                  <a:pt x="416725" y="157532"/>
                  <a:pt x="408325" y="145526"/>
                  <a:pt x="407594" y="127852"/>
                </a:cubicBezTo>
                <a:cubicBezTo>
                  <a:pt x="406783" y="108242"/>
                  <a:pt x="405935" y="88634"/>
                  <a:pt x="405020" y="69029"/>
                </a:cubicBezTo>
                <a:cubicBezTo>
                  <a:pt x="404882" y="66067"/>
                  <a:pt x="404287" y="63127"/>
                  <a:pt x="403638" y="58130"/>
                </a:cubicBezTo>
                <a:cubicBezTo>
                  <a:pt x="381792" y="82321"/>
                  <a:pt x="361650" y="104820"/>
                  <a:pt x="349776" y="133259"/>
                </a:cubicBezTo>
                <a:cubicBezTo>
                  <a:pt x="345032" y="144621"/>
                  <a:pt x="337822" y="153814"/>
                  <a:pt x="326975" y="159669"/>
                </a:cubicBezTo>
                <a:cubicBezTo>
                  <a:pt x="295461" y="176681"/>
                  <a:pt x="266610" y="197333"/>
                  <a:pt x="240374" y="221714"/>
                </a:cubicBezTo>
                <a:cubicBezTo>
                  <a:pt x="212881" y="247263"/>
                  <a:pt x="188313" y="275340"/>
                  <a:pt x="171637" y="309087"/>
                </a:cubicBezTo>
                <a:cubicBezTo>
                  <a:pt x="139180" y="374765"/>
                  <a:pt x="129692" y="444532"/>
                  <a:pt x="138048" y="516954"/>
                </a:cubicBezTo>
                <a:cubicBezTo>
                  <a:pt x="142936" y="559318"/>
                  <a:pt x="152518" y="600762"/>
                  <a:pt x="163889" y="641780"/>
                </a:cubicBezTo>
                <a:cubicBezTo>
                  <a:pt x="177329" y="690261"/>
                  <a:pt x="191989" y="738413"/>
                  <a:pt x="204800" y="787055"/>
                </a:cubicBezTo>
                <a:cubicBezTo>
                  <a:pt x="218820" y="840287"/>
                  <a:pt x="228587" y="894088"/>
                  <a:pt x="218549" y="949545"/>
                </a:cubicBezTo>
                <a:cubicBezTo>
                  <a:pt x="213279" y="978659"/>
                  <a:pt x="207130" y="1007359"/>
                  <a:pt x="191487" y="1033064"/>
                </a:cubicBezTo>
                <a:cubicBezTo>
                  <a:pt x="190499" y="1034686"/>
                  <a:pt x="190018" y="1036618"/>
                  <a:pt x="188729" y="1039835"/>
                </a:cubicBezTo>
                <a:cubicBezTo>
                  <a:pt x="200470" y="1040170"/>
                  <a:pt x="210952" y="1040298"/>
                  <a:pt x="221417" y="1040799"/>
                </a:cubicBezTo>
                <a:cubicBezTo>
                  <a:pt x="263912" y="1042835"/>
                  <a:pt x="306390" y="1046436"/>
                  <a:pt x="348895" y="1046759"/>
                </a:cubicBezTo>
                <a:cubicBezTo>
                  <a:pt x="414380" y="1047258"/>
                  <a:pt x="479896" y="1046092"/>
                  <a:pt x="545369" y="1044456"/>
                </a:cubicBezTo>
                <a:cubicBezTo>
                  <a:pt x="567764" y="1043897"/>
                  <a:pt x="590066" y="1039744"/>
                  <a:pt x="612424" y="1037365"/>
                </a:cubicBezTo>
                <a:cubicBezTo>
                  <a:pt x="617948" y="1036777"/>
                  <a:pt x="621342" y="1034139"/>
                  <a:pt x="623169" y="1028873"/>
                </a:cubicBezTo>
                <a:cubicBezTo>
                  <a:pt x="630975" y="1006370"/>
                  <a:pt x="637026" y="983472"/>
                  <a:pt x="638508" y="959599"/>
                </a:cubicBezTo>
                <a:cubicBezTo>
                  <a:pt x="641131" y="917363"/>
                  <a:pt x="628970" y="878727"/>
                  <a:pt x="609213" y="842075"/>
                </a:cubicBezTo>
                <a:cubicBezTo>
                  <a:pt x="587874" y="802491"/>
                  <a:pt x="559403" y="768169"/>
                  <a:pt x="529367" y="735065"/>
                </a:cubicBezTo>
                <a:cubicBezTo>
                  <a:pt x="487563" y="688992"/>
                  <a:pt x="445474" y="643176"/>
                  <a:pt x="403792" y="596993"/>
                </a:cubicBezTo>
                <a:cubicBezTo>
                  <a:pt x="380393" y="571066"/>
                  <a:pt x="360083" y="542922"/>
                  <a:pt x="344708" y="511366"/>
                </a:cubicBezTo>
                <a:cubicBezTo>
                  <a:pt x="324385" y="469655"/>
                  <a:pt x="317321" y="425966"/>
                  <a:pt x="324464" y="380084"/>
                </a:cubicBezTo>
                <a:cubicBezTo>
                  <a:pt x="324821" y="377789"/>
                  <a:pt x="326581" y="375713"/>
                  <a:pt x="327688" y="373535"/>
                </a:cubicBezTo>
                <a:cubicBezTo>
                  <a:pt x="328570" y="373570"/>
                  <a:pt x="329452" y="373606"/>
                  <a:pt x="330334" y="373641"/>
                </a:cubicBezTo>
                <a:cubicBezTo>
                  <a:pt x="331649" y="377308"/>
                  <a:pt x="333001" y="380963"/>
                  <a:pt x="334272" y="384645"/>
                </a:cubicBezTo>
                <a:cubicBezTo>
                  <a:pt x="342569" y="408660"/>
                  <a:pt x="351164" y="432573"/>
                  <a:pt x="365260" y="453955"/>
                </a:cubicBezTo>
                <a:cubicBezTo>
                  <a:pt x="375537" y="469544"/>
                  <a:pt x="388811" y="481767"/>
                  <a:pt x="408246" y="483592"/>
                </a:cubicBezTo>
                <a:cubicBezTo>
                  <a:pt x="426928" y="485346"/>
                  <a:pt x="445757" y="486037"/>
                  <a:pt x="464529" y="486187"/>
                </a:cubicBezTo>
                <a:cubicBezTo>
                  <a:pt x="480053" y="486311"/>
                  <a:pt x="495582" y="484792"/>
                  <a:pt x="511119" y="484308"/>
                </a:cubicBezTo>
                <a:cubicBezTo>
                  <a:pt x="532443" y="483644"/>
                  <a:pt x="551690" y="490014"/>
                  <a:pt x="567913" y="503736"/>
                </a:cubicBezTo>
                <a:cubicBezTo>
                  <a:pt x="581642" y="515348"/>
                  <a:pt x="594604" y="527888"/>
                  <a:pt x="607611" y="540326"/>
                </a:cubicBezTo>
                <a:cubicBezTo>
                  <a:pt x="618811" y="551038"/>
                  <a:pt x="631177" y="559300"/>
                  <a:pt x="648750" y="562343"/>
                </a:cubicBezTo>
                <a:moveTo>
                  <a:pt x="462594" y="1369008"/>
                </a:moveTo>
                <a:cubicBezTo>
                  <a:pt x="478517" y="1368137"/>
                  <a:pt x="494449" y="1367429"/>
                  <a:pt x="510357" y="1366345"/>
                </a:cubicBezTo>
                <a:cubicBezTo>
                  <a:pt x="523399" y="1365456"/>
                  <a:pt x="536424" y="1364247"/>
                  <a:pt x="549434" y="1362956"/>
                </a:cubicBezTo>
                <a:cubicBezTo>
                  <a:pt x="577089" y="1360213"/>
                  <a:pt x="604749" y="1357503"/>
                  <a:pt x="632369" y="1354439"/>
                </a:cubicBezTo>
                <a:cubicBezTo>
                  <a:pt x="653805" y="1352062"/>
                  <a:pt x="675183" y="1349170"/>
                  <a:pt x="697252" y="1346424"/>
                </a:cubicBezTo>
                <a:cubicBezTo>
                  <a:pt x="701148" y="1316348"/>
                  <a:pt x="695768" y="1289474"/>
                  <a:pt x="676674" y="1266396"/>
                </a:cubicBezTo>
                <a:cubicBezTo>
                  <a:pt x="667313" y="1255080"/>
                  <a:pt x="656878" y="1244625"/>
                  <a:pt x="646594" y="1234108"/>
                </a:cubicBezTo>
                <a:cubicBezTo>
                  <a:pt x="634298" y="1221533"/>
                  <a:pt x="621353" y="1209623"/>
                  <a:pt x="612063" y="1194382"/>
                </a:cubicBezTo>
                <a:cubicBezTo>
                  <a:pt x="596511" y="1168867"/>
                  <a:pt x="588079" y="1141707"/>
                  <a:pt x="591616" y="1111541"/>
                </a:cubicBezTo>
                <a:cubicBezTo>
                  <a:pt x="592450" y="1104432"/>
                  <a:pt x="593365" y="1097332"/>
                  <a:pt x="594320" y="1089609"/>
                </a:cubicBezTo>
                <a:cubicBezTo>
                  <a:pt x="588294" y="1089609"/>
                  <a:pt x="583452" y="1089392"/>
                  <a:pt x="578634" y="1089642"/>
                </a:cubicBezTo>
                <a:cubicBezTo>
                  <a:pt x="533732" y="1091976"/>
                  <a:pt x="488841" y="1094525"/>
                  <a:pt x="443931" y="1096700"/>
                </a:cubicBezTo>
                <a:cubicBezTo>
                  <a:pt x="430451" y="1097353"/>
                  <a:pt x="416923" y="1097005"/>
                  <a:pt x="403417" y="1097156"/>
                </a:cubicBezTo>
                <a:cubicBezTo>
                  <a:pt x="389337" y="1097313"/>
                  <a:pt x="388961" y="1097850"/>
                  <a:pt x="388348" y="1111502"/>
                </a:cubicBezTo>
                <a:cubicBezTo>
                  <a:pt x="387375" y="1133151"/>
                  <a:pt x="386231" y="1154793"/>
                  <a:pt x="385048" y="1176431"/>
                </a:cubicBezTo>
                <a:cubicBezTo>
                  <a:pt x="382637" y="1220514"/>
                  <a:pt x="380158" y="1264593"/>
                  <a:pt x="377687" y="1308672"/>
                </a:cubicBezTo>
                <a:cubicBezTo>
                  <a:pt x="377458" y="1312751"/>
                  <a:pt x="376852" y="1316821"/>
                  <a:pt x="376823" y="1320897"/>
                </a:cubicBezTo>
                <a:cubicBezTo>
                  <a:pt x="376717" y="1335880"/>
                  <a:pt x="376781" y="1350864"/>
                  <a:pt x="376781" y="1366151"/>
                </a:cubicBezTo>
                <a:cubicBezTo>
                  <a:pt x="404707" y="1370397"/>
                  <a:pt x="432477" y="1369351"/>
                  <a:pt x="462594" y="1369008"/>
                </a:cubicBezTo>
                <a:moveTo>
                  <a:pt x="648494" y="1463981"/>
                </a:moveTo>
                <a:cubicBezTo>
                  <a:pt x="671329" y="1460052"/>
                  <a:pt x="694163" y="1456122"/>
                  <a:pt x="718746" y="1451892"/>
                </a:cubicBezTo>
                <a:cubicBezTo>
                  <a:pt x="716257" y="1439067"/>
                  <a:pt x="714578" y="1427816"/>
                  <a:pt x="711827" y="1416835"/>
                </a:cubicBezTo>
                <a:cubicBezTo>
                  <a:pt x="707611" y="1400009"/>
                  <a:pt x="703502" y="1397423"/>
                  <a:pt x="685812" y="1398502"/>
                </a:cubicBezTo>
                <a:cubicBezTo>
                  <a:pt x="684179" y="1398602"/>
                  <a:pt x="682547" y="1398768"/>
                  <a:pt x="680924" y="1398973"/>
                </a:cubicBezTo>
                <a:cubicBezTo>
                  <a:pt x="653380" y="1402446"/>
                  <a:pt x="625911" y="1406752"/>
                  <a:pt x="598278" y="1409218"/>
                </a:cubicBezTo>
                <a:cubicBezTo>
                  <a:pt x="557171" y="1412886"/>
                  <a:pt x="515983" y="1415946"/>
                  <a:pt x="474765" y="1417945"/>
                </a:cubicBezTo>
                <a:cubicBezTo>
                  <a:pt x="444944" y="1419391"/>
                  <a:pt x="415021" y="1418680"/>
                  <a:pt x="385143" y="1418978"/>
                </a:cubicBezTo>
                <a:cubicBezTo>
                  <a:pt x="382419" y="1419005"/>
                  <a:pt x="379697" y="1419376"/>
                  <a:pt x="376639" y="1419613"/>
                </a:cubicBezTo>
                <a:cubicBezTo>
                  <a:pt x="376639" y="1438152"/>
                  <a:pt x="376639" y="1455909"/>
                  <a:pt x="376639" y="1473939"/>
                </a:cubicBezTo>
                <a:cubicBezTo>
                  <a:pt x="378971" y="1474343"/>
                  <a:pt x="380523" y="1474802"/>
                  <a:pt x="382089" y="1474854"/>
                </a:cubicBezTo>
                <a:cubicBezTo>
                  <a:pt x="404571" y="1475605"/>
                  <a:pt x="427058" y="1476986"/>
                  <a:pt x="449536" y="1476855"/>
                </a:cubicBezTo>
                <a:cubicBezTo>
                  <a:pt x="486344" y="1476639"/>
                  <a:pt x="523207" y="1476480"/>
                  <a:pt x="559930" y="1474307"/>
                </a:cubicBezTo>
                <a:cubicBezTo>
                  <a:pt x="588839" y="1472596"/>
                  <a:pt x="617570" y="1467884"/>
                  <a:pt x="648494" y="1463981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55" name="Free-form: Shape 154">
            <a:extLst>
              <a:ext uri="{FF2B5EF4-FFF2-40B4-BE49-F238E27FC236}">
                <a16:creationId xmlns:a16="http://schemas.microsoft.com/office/drawing/2014/main" id="{DC5BC2E5-6AB0-EFCD-A74E-90928FEA3556}"/>
              </a:ext>
            </a:extLst>
          </p:cNvPr>
          <p:cNvSpPr/>
          <p:nvPr/>
        </p:nvSpPr>
        <p:spPr>
          <a:xfrm>
            <a:off x="2726533" y="4624191"/>
            <a:ext cx="497702" cy="821885"/>
          </a:xfrm>
          <a:custGeom>
            <a:avLst/>
            <a:gdLst>
              <a:gd name="csX0" fmla="*/ 512604 w 598747"/>
              <a:gd name="csY0" fmla="*/ 503918 h 988745"/>
              <a:gd name="csX1" fmla="*/ 472435 w 598747"/>
              <a:gd name="csY1" fmla="*/ 482196 h 988745"/>
              <a:gd name="csX2" fmla="*/ 432737 w 598747"/>
              <a:gd name="csY2" fmla="*/ 445605 h 988745"/>
              <a:gd name="csX3" fmla="*/ 375943 w 598747"/>
              <a:gd name="csY3" fmla="*/ 426178 h 988745"/>
              <a:gd name="csX4" fmla="*/ 329354 w 598747"/>
              <a:gd name="csY4" fmla="*/ 428057 h 988745"/>
              <a:gd name="csX5" fmla="*/ 273070 w 598747"/>
              <a:gd name="csY5" fmla="*/ 425461 h 988745"/>
              <a:gd name="csX6" fmla="*/ 230084 w 598747"/>
              <a:gd name="csY6" fmla="*/ 395825 h 988745"/>
              <a:gd name="csX7" fmla="*/ 199097 w 598747"/>
              <a:gd name="csY7" fmla="*/ 326515 h 988745"/>
              <a:gd name="csX8" fmla="*/ 195158 w 598747"/>
              <a:gd name="csY8" fmla="*/ 315511 h 988745"/>
              <a:gd name="csX9" fmla="*/ 192512 w 598747"/>
              <a:gd name="csY9" fmla="*/ 315405 h 988745"/>
              <a:gd name="csX10" fmla="*/ 189288 w 598747"/>
              <a:gd name="csY10" fmla="*/ 321954 h 988745"/>
              <a:gd name="csX11" fmla="*/ 209532 w 598747"/>
              <a:gd name="csY11" fmla="*/ 453235 h 988745"/>
              <a:gd name="csX12" fmla="*/ 268616 w 598747"/>
              <a:gd name="csY12" fmla="*/ 538863 h 988745"/>
              <a:gd name="csX13" fmla="*/ 394191 w 598747"/>
              <a:gd name="csY13" fmla="*/ 676935 h 988745"/>
              <a:gd name="csX14" fmla="*/ 474037 w 598747"/>
              <a:gd name="csY14" fmla="*/ 783945 h 988745"/>
              <a:gd name="csX15" fmla="*/ 503332 w 598747"/>
              <a:gd name="csY15" fmla="*/ 901469 h 988745"/>
              <a:gd name="csX16" fmla="*/ 487993 w 598747"/>
              <a:gd name="csY16" fmla="*/ 970743 h 988745"/>
              <a:gd name="csX17" fmla="*/ 477248 w 598747"/>
              <a:gd name="csY17" fmla="*/ 979235 h 988745"/>
              <a:gd name="csX18" fmla="*/ 410194 w 598747"/>
              <a:gd name="csY18" fmla="*/ 986326 h 988745"/>
              <a:gd name="csX19" fmla="*/ 213720 w 598747"/>
              <a:gd name="csY19" fmla="*/ 988629 h 988745"/>
              <a:gd name="csX20" fmla="*/ 86242 w 598747"/>
              <a:gd name="csY20" fmla="*/ 982669 h 988745"/>
              <a:gd name="csX21" fmla="*/ 53553 w 598747"/>
              <a:gd name="csY21" fmla="*/ 981705 h 988745"/>
              <a:gd name="csX22" fmla="*/ 56311 w 598747"/>
              <a:gd name="csY22" fmla="*/ 974933 h 988745"/>
              <a:gd name="csX23" fmla="*/ 83373 w 598747"/>
              <a:gd name="csY23" fmla="*/ 891414 h 988745"/>
              <a:gd name="csX24" fmla="*/ 69625 w 598747"/>
              <a:gd name="csY24" fmla="*/ 728925 h 988745"/>
              <a:gd name="csX25" fmla="*/ 28713 w 598747"/>
              <a:gd name="csY25" fmla="*/ 583650 h 988745"/>
              <a:gd name="csX26" fmla="*/ 2872 w 598747"/>
              <a:gd name="csY26" fmla="*/ 458823 h 988745"/>
              <a:gd name="csX27" fmla="*/ 36461 w 598747"/>
              <a:gd name="csY27" fmla="*/ 250957 h 988745"/>
              <a:gd name="csX28" fmla="*/ 105198 w 598747"/>
              <a:gd name="csY28" fmla="*/ 163584 h 988745"/>
              <a:gd name="csX29" fmla="*/ 191800 w 598747"/>
              <a:gd name="csY29" fmla="*/ 101539 h 988745"/>
              <a:gd name="csX30" fmla="*/ 214600 w 598747"/>
              <a:gd name="csY30" fmla="*/ 75129 h 988745"/>
              <a:gd name="csX31" fmla="*/ 268462 w 598747"/>
              <a:gd name="csY31" fmla="*/ 0 h 988745"/>
              <a:gd name="csX32" fmla="*/ 269844 w 598747"/>
              <a:gd name="csY32" fmla="*/ 10898 h 988745"/>
              <a:gd name="csX33" fmla="*/ 272418 w 598747"/>
              <a:gd name="csY33" fmla="*/ 69722 h 988745"/>
              <a:gd name="csX34" fmla="*/ 297658 w 598747"/>
              <a:gd name="csY34" fmla="*/ 107113 h 988745"/>
              <a:gd name="csX35" fmla="*/ 355481 w 598747"/>
              <a:gd name="csY35" fmla="*/ 136991 h 988745"/>
              <a:gd name="csX36" fmla="*/ 430178 w 598747"/>
              <a:gd name="csY36" fmla="*/ 212396 h 988745"/>
              <a:gd name="csX37" fmla="*/ 465840 w 598747"/>
              <a:gd name="csY37" fmla="*/ 273997 h 988745"/>
              <a:gd name="csX38" fmla="*/ 532362 w 598747"/>
              <a:gd name="csY38" fmla="*/ 340124 h 988745"/>
              <a:gd name="csX39" fmla="*/ 572901 w 598747"/>
              <a:gd name="csY39" fmla="*/ 367845 h 988745"/>
              <a:gd name="csX40" fmla="*/ 598436 w 598747"/>
              <a:gd name="csY40" fmla="*/ 408775 h 988745"/>
              <a:gd name="csX41" fmla="*/ 596339 w 598747"/>
              <a:gd name="csY41" fmla="*/ 452637 h 988745"/>
              <a:gd name="csX42" fmla="*/ 552957 w 598747"/>
              <a:gd name="csY42" fmla="*/ 485233 h 988745"/>
              <a:gd name="csX43" fmla="*/ 525548 w 598747"/>
              <a:gd name="csY43" fmla="*/ 479475 h 988745"/>
              <a:gd name="csX44" fmla="*/ 515736 w 598747"/>
              <a:gd name="csY44" fmla="*/ 475921 h 988745"/>
              <a:gd name="csX45" fmla="*/ 525605 w 598747"/>
              <a:gd name="csY45" fmla="*/ 492048 h 988745"/>
              <a:gd name="csX46" fmla="*/ 538873 w 598747"/>
              <a:gd name="csY46" fmla="*/ 504704 h 988745"/>
              <a:gd name="csX47" fmla="*/ 512604 w 598747"/>
              <a:gd name="csY47" fmla="*/ 503918 h 988745"/>
              <a:gd name="csX48" fmla="*/ 332072 w 598747"/>
              <a:gd name="csY48" fmla="*/ 218143 h 988745"/>
              <a:gd name="csX49" fmla="*/ 334388 w 598747"/>
              <a:gd name="csY49" fmla="*/ 226400 h 988745"/>
              <a:gd name="csX50" fmla="*/ 372370 w 598747"/>
              <a:gd name="csY50" fmla="*/ 254505 h 988745"/>
              <a:gd name="csX51" fmla="*/ 405258 w 598747"/>
              <a:gd name="csY51" fmla="*/ 252089 h 988745"/>
              <a:gd name="csX52" fmla="*/ 409167 w 598747"/>
              <a:gd name="csY52" fmla="*/ 244359 h 988745"/>
              <a:gd name="csX53" fmla="*/ 396364 w 598747"/>
              <a:gd name="csY53" fmla="*/ 219471 h 988745"/>
              <a:gd name="csX54" fmla="*/ 365755 w 598747"/>
              <a:gd name="csY54" fmla="*/ 195821 h 988745"/>
              <a:gd name="csX55" fmla="*/ 333572 w 598747"/>
              <a:gd name="csY55" fmla="*/ 188536 h 988745"/>
              <a:gd name="csX56" fmla="*/ 322931 w 598747"/>
              <a:gd name="csY56" fmla="*/ 190843 h 988745"/>
              <a:gd name="csX57" fmla="*/ 329041 w 598747"/>
              <a:gd name="csY57" fmla="*/ 203001 h 988745"/>
              <a:gd name="csX58" fmla="*/ 332072 w 598747"/>
              <a:gd name="csY58" fmla="*/ 218143 h 98874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</a:cxnLst>
            <a:rect l="l" t="t" r="r" b="b"/>
            <a:pathLst>
              <a:path w="598747" h="988745">
                <a:moveTo>
                  <a:pt x="512604" y="503918"/>
                </a:moveTo>
                <a:cubicBezTo>
                  <a:pt x="496002" y="501170"/>
                  <a:pt x="483635" y="492907"/>
                  <a:pt x="472435" y="482196"/>
                </a:cubicBezTo>
                <a:cubicBezTo>
                  <a:pt x="459429" y="469758"/>
                  <a:pt x="446467" y="457218"/>
                  <a:pt x="432737" y="445605"/>
                </a:cubicBezTo>
                <a:cubicBezTo>
                  <a:pt x="416514" y="431883"/>
                  <a:pt x="397267" y="425513"/>
                  <a:pt x="375943" y="426178"/>
                </a:cubicBezTo>
                <a:cubicBezTo>
                  <a:pt x="360407" y="426662"/>
                  <a:pt x="344877" y="428180"/>
                  <a:pt x="329354" y="428057"/>
                </a:cubicBezTo>
                <a:cubicBezTo>
                  <a:pt x="310581" y="427907"/>
                  <a:pt x="291752" y="427215"/>
                  <a:pt x="273070" y="425461"/>
                </a:cubicBezTo>
                <a:cubicBezTo>
                  <a:pt x="253636" y="423637"/>
                  <a:pt x="240361" y="411413"/>
                  <a:pt x="230084" y="395825"/>
                </a:cubicBezTo>
                <a:cubicBezTo>
                  <a:pt x="215988" y="374443"/>
                  <a:pt x="207393" y="350530"/>
                  <a:pt x="199097" y="326515"/>
                </a:cubicBezTo>
                <a:cubicBezTo>
                  <a:pt x="197825" y="322833"/>
                  <a:pt x="196473" y="319178"/>
                  <a:pt x="195158" y="315511"/>
                </a:cubicBezTo>
                <a:cubicBezTo>
                  <a:pt x="194276" y="315475"/>
                  <a:pt x="193394" y="315440"/>
                  <a:pt x="192512" y="315405"/>
                </a:cubicBezTo>
                <a:cubicBezTo>
                  <a:pt x="191405" y="317583"/>
                  <a:pt x="189646" y="319659"/>
                  <a:pt x="189288" y="321954"/>
                </a:cubicBezTo>
                <a:cubicBezTo>
                  <a:pt x="182145" y="367836"/>
                  <a:pt x="189209" y="411525"/>
                  <a:pt x="209532" y="453235"/>
                </a:cubicBezTo>
                <a:cubicBezTo>
                  <a:pt x="224908" y="484792"/>
                  <a:pt x="245217" y="512936"/>
                  <a:pt x="268616" y="538863"/>
                </a:cubicBezTo>
                <a:cubicBezTo>
                  <a:pt x="310298" y="585046"/>
                  <a:pt x="352387" y="630861"/>
                  <a:pt x="394191" y="676935"/>
                </a:cubicBezTo>
                <a:cubicBezTo>
                  <a:pt x="424227" y="710039"/>
                  <a:pt x="452698" y="744360"/>
                  <a:pt x="474037" y="783945"/>
                </a:cubicBezTo>
                <a:cubicBezTo>
                  <a:pt x="493795" y="820596"/>
                  <a:pt x="505956" y="859233"/>
                  <a:pt x="503332" y="901469"/>
                </a:cubicBezTo>
                <a:cubicBezTo>
                  <a:pt x="501850" y="925342"/>
                  <a:pt x="495799" y="948239"/>
                  <a:pt x="487993" y="970743"/>
                </a:cubicBezTo>
                <a:cubicBezTo>
                  <a:pt x="486166" y="976009"/>
                  <a:pt x="482772" y="978647"/>
                  <a:pt x="477248" y="979235"/>
                </a:cubicBezTo>
                <a:cubicBezTo>
                  <a:pt x="454890" y="981614"/>
                  <a:pt x="432589" y="985767"/>
                  <a:pt x="410194" y="986326"/>
                </a:cubicBezTo>
                <a:cubicBezTo>
                  <a:pt x="344720" y="987961"/>
                  <a:pt x="279205" y="989128"/>
                  <a:pt x="213720" y="988629"/>
                </a:cubicBezTo>
                <a:cubicBezTo>
                  <a:pt x="171215" y="988306"/>
                  <a:pt x="128736" y="984705"/>
                  <a:pt x="86242" y="982669"/>
                </a:cubicBezTo>
                <a:cubicBezTo>
                  <a:pt x="75776" y="982167"/>
                  <a:pt x="65294" y="982040"/>
                  <a:pt x="53553" y="981705"/>
                </a:cubicBezTo>
                <a:cubicBezTo>
                  <a:pt x="54842" y="978488"/>
                  <a:pt x="55323" y="976556"/>
                  <a:pt x="56311" y="974933"/>
                </a:cubicBezTo>
                <a:cubicBezTo>
                  <a:pt x="71955" y="949229"/>
                  <a:pt x="78103" y="920529"/>
                  <a:pt x="83373" y="891414"/>
                </a:cubicBezTo>
                <a:cubicBezTo>
                  <a:pt x="93411" y="835958"/>
                  <a:pt x="83645" y="782156"/>
                  <a:pt x="69625" y="728925"/>
                </a:cubicBezTo>
                <a:cubicBezTo>
                  <a:pt x="56813" y="680283"/>
                  <a:pt x="42153" y="632130"/>
                  <a:pt x="28713" y="583650"/>
                </a:cubicBezTo>
                <a:cubicBezTo>
                  <a:pt x="17342" y="542631"/>
                  <a:pt x="7760" y="501188"/>
                  <a:pt x="2872" y="458823"/>
                </a:cubicBezTo>
                <a:cubicBezTo>
                  <a:pt x="-5484" y="386401"/>
                  <a:pt x="4005" y="316635"/>
                  <a:pt x="36461" y="250957"/>
                </a:cubicBezTo>
                <a:cubicBezTo>
                  <a:pt x="53137" y="217210"/>
                  <a:pt x="77705" y="189133"/>
                  <a:pt x="105198" y="163584"/>
                </a:cubicBezTo>
                <a:cubicBezTo>
                  <a:pt x="131434" y="139203"/>
                  <a:pt x="160285" y="118551"/>
                  <a:pt x="191800" y="101539"/>
                </a:cubicBezTo>
                <a:cubicBezTo>
                  <a:pt x="202646" y="95684"/>
                  <a:pt x="209856" y="86491"/>
                  <a:pt x="214600" y="75129"/>
                </a:cubicBezTo>
                <a:cubicBezTo>
                  <a:pt x="226474" y="46689"/>
                  <a:pt x="246616" y="24191"/>
                  <a:pt x="268462" y="0"/>
                </a:cubicBezTo>
                <a:cubicBezTo>
                  <a:pt x="269111" y="4997"/>
                  <a:pt x="269706" y="7937"/>
                  <a:pt x="269844" y="10898"/>
                </a:cubicBezTo>
                <a:cubicBezTo>
                  <a:pt x="270760" y="30504"/>
                  <a:pt x="271607" y="50112"/>
                  <a:pt x="272418" y="69722"/>
                </a:cubicBezTo>
                <a:cubicBezTo>
                  <a:pt x="273150" y="87396"/>
                  <a:pt x="281549" y="99401"/>
                  <a:pt x="297658" y="107113"/>
                </a:cubicBezTo>
                <a:cubicBezTo>
                  <a:pt x="317218" y="116476"/>
                  <a:pt x="336170" y="127101"/>
                  <a:pt x="355481" y="136991"/>
                </a:cubicBezTo>
                <a:cubicBezTo>
                  <a:pt x="388645" y="153974"/>
                  <a:pt x="413226" y="179056"/>
                  <a:pt x="430178" y="212396"/>
                </a:cubicBezTo>
                <a:cubicBezTo>
                  <a:pt x="440917" y="233515"/>
                  <a:pt x="453634" y="253647"/>
                  <a:pt x="465840" y="273997"/>
                </a:cubicBezTo>
                <a:cubicBezTo>
                  <a:pt x="482404" y="301613"/>
                  <a:pt x="506102" y="322183"/>
                  <a:pt x="532362" y="340124"/>
                </a:cubicBezTo>
                <a:cubicBezTo>
                  <a:pt x="545881" y="349359"/>
                  <a:pt x="559082" y="359088"/>
                  <a:pt x="572901" y="367845"/>
                </a:cubicBezTo>
                <a:cubicBezTo>
                  <a:pt x="588172" y="377523"/>
                  <a:pt x="597775" y="390733"/>
                  <a:pt x="598436" y="408775"/>
                </a:cubicBezTo>
                <a:cubicBezTo>
                  <a:pt x="598970" y="423381"/>
                  <a:pt x="599120" y="438404"/>
                  <a:pt x="596339" y="452637"/>
                </a:cubicBezTo>
                <a:cubicBezTo>
                  <a:pt x="591789" y="475923"/>
                  <a:pt x="576843" y="486555"/>
                  <a:pt x="552957" y="485233"/>
                </a:cubicBezTo>
                <a:cubicBezTo>
                  <a:pt x="543740" y="484722"/>
                  <a:pt x="534648" y="481613"/>
                  <a:pt x="525548" y="479475"/>
                </a:cubicBezTo>
                <a:cubicBezTo>
                  <a:pt x="522577" y="478776"/>
                  <a:pt x="519764" y="477405"/>
                  <a:pt x="515736" y="475921"/>
                </a:cubicBezTo>
                <a:cubicBezTo>
                  <a:pt x="516318" y="484233"/>
                  <a:pt x="521537" y="487842"/>
                  <a:pt x="525605" y="492048"/>
                </a:cubicBezTo>
                <a:cubicBezTo>
                  <a:pt x="529554" y="496129"/>
                  <a:pt x="533815" y="499907"/>
                  <a:pt x="538873" y="504704"/>
                </a:cubicBezTo>
                <a:cubicBezTo>
                  <a:pt x="529522" y="509277"/>
                  <a:pt x="521553" y="504428"/>
                  <a:pt x="512604" y="503918"/>
                </a:cubicBezTo>
                <a:moveTo>
                  <a:pt x="332072" y="218143"/>
                </a:moveTo>
                <a:cubicBezTo>
                  <a:pt x="332837" y="220898"/>
                  <a:pt x="333478" y="223695"/>
                  <a:pt x="334388" y="226400"/>
                </a:cubicBezTo>
                <a:cubicBezTo>
                  <a:pt x="341073" y="246268"/>
                  <a:pt x="351614" y="254460"/>
                  <a:pt x="372370" y="254505"/>
                </a:cubicBezTo>
                <a:cubicBezTo>
                  <a:pt x="383333" y="254529"/>
                  <a:pt x="394312" y="253121"/>
                  <a:pt x="405258" y="252089"/>
                </a:cubicBezTo>
                <a:cubicBezTo>
                  <a:pt x="409961" y="251646"/>
                  <a:pt x="411340" y="248568"/>
                  <a:pt x="409167" y="244359"/>
                </a:cubicBezTo>
                <a:cubicBezTo>
                  <a:pt x="404885" y="236068"/>
                  <a:pt x="400139" y="227985"/>
                  <a:pt x="396364" y="219471"/>
                </a:cubicBezTo>
                <a:cubicBezTo>
                  <a:pt x="390350" y="205908"/>
                  <a:pt x="379963" y="198663"/>
                  <a:pt x="365755" y="195821"/>
                </a:cubicBezTo>
                <a:cubicBezTo>
                  <a:pt x="354973" y="193665"/>
                  <a:pt x="344291" y="191003"/>
                  <a:pt x="333572" y="188536"/>
                </a:cubicBezTo>
                <a:cubicBezTo>
                  <a:pt x="329511" y="187602"/>
                  <a:pt x="325579" y="187007"/>
                  <a:pt x="322931" y="190843"/>
                </a:cubicBezTo>
                <a:cubicBezTo>
                  <a:pt x="325138" y="195129"/>
                  <a:pt x="327613" y="198884"/>
                  <a:pt x="329041" y="203001"/>
                </a:cubicBezTo>
                <a:cubicBezTo>
                  <a:pt x="330500" y="207204"/>
                  <a:pt x="330929" y="211764"/>
                  <a:pt x="332072" y="218143"/>
                </a:cubicBezTo>
                <a:close/>
              </a:path>
            </a:pathLst>
          </a:custGeom>
          <a:solidFill>
            <a:srgbClr val="FEFEFE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56" name="Free-form: Shape 155">
            <a:extLst>
              <a:ext uri="{FF2B5EF4-FFF2-40B4-BE49-F238E27FC236}">
                <a16:creationId xmlns:a16="http://schemas.microsoft.com/office/drawing/2014/main" id="{AF3A4581-31AD-DB3B-E6EF-F7FF87968826}"/>
              </a:ext>
            </a:extLst>
          </p:cNvPr>
          <p:cNvSpPr/>
          <p:nvPr/>
        </p:nvSpPr>
        <p:spPr>
          <a:xfrm>
            <a:off x="2927350" y="5481526"/>
            <a:ext cx="267393" cy="232628"/>
          </a:xfrm>
          <a:custGeom>
            <a:avLst/>
            <a:gdLst>
              <a:gd name="csX0" fmla="*/ 84645 w 321679"/>
              <a:gd name="csY0" fmla="*/ 279507 h 279857"/>
              <a:gd name="csX1" fmla="*/ 19 w 321679"/>
              <a:gd name="csY1" fmla="*/ 276629 h 279857"/>
              <a:gd name="csX2" fmla="*/ 61 w 321679"/>
              <a:gd name="csY2" fmla="*/ 231376 h 279857"/>
              <a:gd name="csX3" fmla="*/ 925 w 321679"/>
              <a:gd name="csY3" fmla="*/ 219150 h 279857"/>
              <a:gd name="csX4" fmla="*/ 8286 w 321679"/>
              <a:gd name="csY4" fmla="*/ 86910 h 279857"/>
              <a:gd name="csX5" fmla="*/ 11586 w 321679"/>
              <a:gd name="csY5" fmla="*/ 21981 h 279857"/>
              <a:gd name="csX6" fmla="*/ 26655 w 321679"/>
              <a:gd name="csY6" fmla="*/ 7635 h 279857"/>
              <a:gd name="csX7" fmla="*/ 67169 w 321679"/>
              <a:gd name="csY7" fmla="*/ 7178 h 279857"/>
              <a:gd name="csX8" fmla="*/ 201872 w 321679"/>
              <a:gd name="csY8" fmla="*/ 121 h 279857"/>
              <a:gd name="csX9" fmla="*/ 217558 w 321679"/>
              <a:gd name="csY9" fmla="*/ 87 h 279857"/>
              <a:gd name="csX10" fmla="*/ 214854 w 321679"/>
              <a:gd name="csY10" fmla="*/ 22019 h 279857"/>
              <a:gd name="csX11" fmla="*/ 235301 w 321679"/>
              <a:gd name="csY11" fmla="*/ 104861 h 279857"/>
              <a:gd name="csX12" fmla="*/ 269832 w 321679"/>
              <a:gd name="csY12" fmla="*/ 144587 h 279857"/>
              <a:gd name="csX13" fmla="*/ 299912 w 321679"/>
              <a:gd name="csY13" fmla="*/ 176874 h 279857"/>
              <a:gd name="csX14" fmla="*/ 320491 w 321679"/>
              <a:gd name="csY14" fmla="*/ 256903 h 279857"/>
              <a:gd name="csX15" fmla="*/ 255607 w 321679"/>
              <a:gd name="csY15" fmla="*/ 264918 h 279857"/>
              <a:gd name="csX16" fmla="*/ 172672 w 321679"/>
              <a:gd name="csY16" fmla="*/ 273435 h 279857"/>
              <a:gd name="csX17" fmla="*/ 133595 w 321679"/>
              <a:gd name="csY17" fmla="*/ 276823 h 279857"/>
              <a:gd name="csX18" fmla="*/ 84645 w 321679"/>
              <a:gd name="csY18" fmla="*/ 279507 h 27985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</a:cxnLst>
            <a:rect l="l" t="t" r="r" b="b"/>
            <a:pathLst>
              <a:path w="321679" h="279857">
                <a:moveTo>
                  <a:pt x="84645" y="279507"/>
                </a:moveTo>
                <a:cubicBezTo>
                  <a:pt x="55716" y="279830"/>
                  <a:pt x="27945" y="280875"/>
                  <a:pt x="19" y="276629"/>
                </a:cubicBezTo>
                <a:cubicBezTo>
                  <a:pt x="19" y="261343"/>
                  <a:pt x="-45" y="246359"/>
                  <a:pt x="61" y="231376"/>
                </a:cubicBezTo>
                <a:cubicBezTo>
                  <a:pt x="90" y="227299"/>
                  <a:pt x="696" y="223229"/>
                  <a:pt x="925" y="219150"/>
                </a:cubicBezTo>
                <a:cubicBezTo>
                  <a:pt x="3396" y="175071"/>
                  <a:pt x="5876" y="130992"/>
                  <a:pt x="8286" y="86910"/>
                </a:cubicBezTo>
                <a:cubicBezTo>
                  <a:pt x="9469" y="65271"/>
                  <a:pt x="10613" y="43630"/>
                  <a:pt x="11586" y="21981"/>
                </a:cubicBezTo>
                <a:cubicBezTo>
                  <a:pt x="12199" y="8328"/>
                  <a:pt x="12576" y="7792"/>
                  <a:pt x="26655" y="7635"/>
                </a:cubicBezTo>
                <a:cubicBezTo>
                  <a:pt x="40161" y="7484"/>
                  <a:pt x="53689" y="7831"/>
                  <a:pt x="67169" y="7178"/>
                </a:cubicBezTo>
                <a:cubicBezTo>
                  <a:pt x="112079" y="5004"/>
                  <a:pt x="156970" y="2455"/>
                  <a:pt x="201872" y="121"/>
                </a:cubicBezTo>
                <a:cubicBezTo>
                  <a:pt x="206690" y="-130"/>
                  <a:pt x="211533" y="87"/>
                  <a:pt x="217558" y="87"/>
                </a:cubicBezTo>
                <a:cubicBezTo>
                  <a:pt x="216603" y="7811"/>
                  <a:pt x="215688" y="14910"/>
                  <a:pt x="214854" y="22019"/>
                </a:cubicBezTo>
                <a:cubicBezTo>
                  <a:pt x="211318" y="52185"/>
                  <a:pt x="219749" y="79345"/>
                  <a:pt x="235301" y="104861"/>
                </a:cubicBezTo>
                <a:cubicBezTo>
                  <a:pt x="244591" y="120102"/>
                  <a:pt x="257536" y="132012"/>
                  <a:pt x="269832" y="144587"/>
                </a:cubicBezTo>
                <a:cubicBezTo>
                  <a:pt x="280116" y="155103"/>
                  <a:pt x="290551" y="165559"/>
                  <a:pt x="299912" y="176874"/>
                </a:cubicBezTo>
                <a:cubicBezTo>
                  <a:pt x="319006" y="199953"/>
                  <a:pt x="324386" y="226827"/>
                  <a:pt x="320491" y="256903"/>
                </a:cubicBezTo>
                <a:cubicBezTo>
                  <a:pt x="298421" y="259649"/>
                  <a:pt x="277043" y="262541"/>
                  <a:pt x="255607" y="264918"/>
                </a:cubicBezTo>
                <a:cubicBezTo>
                  <a:pt x="227987" y="267981"/>
                  <a:pt x="200327" y="270692"/>
                  <a:pt x="172672" y="273435"/>
                </a:cubicBezTo>
                <a:cubicBezTo>
                  <a:pt x="159662" y="274725"/>
                  <a:pt x="146637" y="275935"/>
                  <a:pt x="133595" y="276823"/>
                </a:cubicBezTo>
                <a:cubicBezTo>
                  <a:pt x="117688" y="277907"/>
                  <a:pt x="101755" y="278616"/>
                  <a:pt x="84645" y="279507"/>
                </a:cubicBezTo>
                <a:close/>
              </a:path>
            </a:pathLst>
          </a:custGeom>
          <a:solidFill>
            <a:srgbClr val="FDFEFE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57" name="Free-form: Shape 156">
            <a:extLst>
              <a:ext uri="{FF2B5EF4-FFF2-40B4-BE49-F238E27FC236}">
                <a16:creationId xmlns:a16="http://schemas.microsoft.com/office/drawing/2014/main" id="{D866815E-F3FC-8C3A-A238-07627B311350}"/>
              </a:ext>
            </a:extLst>
          </p:cNvPr>
          <p:cNvSpPr/>
          <p:nvPr/>
        </p:nvSpPr>
        <p:spPr>
          <a:xfrm>
            <a:off x="2927247" y="5738187"/>
            <a:ext cx="284373" cy="65313"/>
          </a:xfrm>
          <a:custGeom>
            <a:avLst/>
            <a:gdLst>
              <a:gd name="csX0" fmla="*/ 270798 w 342106"/>
              <a:gd name="csY0" fmla="*/ 65953 h 78573"/>
              <a:gd name="csX1" fmla="*/ 183290 w 342106"/>
              <a:gd name="csY1" fmla="*/ 76017 h 78573"/>
              <a:gd name="csX2" fmla="*/ 72897 w 342106"/>
              <a:gd name="csY2" fmla="*/ 78565 h 78573"/>
              <a:gd name="csX3" fmla="*/ 5450 w 342106"/>
              <a:gd name="csY3" fmla="*/ 76564 h 78573"/>
              <a:gd name="csX4" fmla="*/ 0 w 342106"/>
              <a:gd name="csY4" fmla="*/ 75649 h 78573"/>
              <a:gd name="csX5" fmla="*/ 0 w 342106"/>
              <a:gd name="csY5" fmla="*/ 21324 h 78573"/>
              <a:gd name="csX6" fmla="*/ 8504 w 342106"/>
              <a:gd name="csY6" fmla="*/ 20688 h 78573"/>
              <a:gd name="csX7" fmla="*/ 98126 w 342106"/>
              <a:gd name="csY7" fmla="*/ 19655 h 78573"/>
              <a:gd name="csX8" fmla="*/ 221639 w 342106"/>
              <a:gd name="csY8" fmla="*/ 10929 h 78573"/>
              <a:gd name="csX9" fmla="*/ 304285 w 342106"/>
              <a:gd name="csY9" fmla="*/ 683 h 78573"/>
              <a:gd name="csX10" fmla="*/ 309173 w 342106"/>
              <a:gd name="csY10" fmla="*/ 212 h 78573"/>
              <a:gd name="csX11" fmla="*/ 335187 w 342106"/>
              <a:gd name="csY11" fmla="*/ 18545 h 78573"/>
              <a:gd name="csX12" fmla="*/ 342106 w 342106"/>
              <a:gd name="csY12" fmla="*/ 53602 h 78573"/>
              <a:gd name="csX13" fmla="*/ 270798 w 342106"/>
              <a:gd name="csY13" fmla="*/ 65953 h 7857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</a:cxnLst>
            <a:rect l="l" t="t" r="r" b="b"/>
            <a:pathLst>
              <a:path w="342106" h="78573">
                <a:moveTo>
                  <a:pt x="270798" y="65953"/>
                </a:moveTo>
                <a:cubicBezTo>
                  <a:pt x="240931" y="69594"/>
                  <a:pt x="212199" y="74306"/>
                  <a:pt x="183290" y="76017"/>
                </a:cubicBezTo>
                <a:cubicBezTo>
                  <a:pt x="146568" y="78191"/>
                  <a:pt x="109704" y="78349"/>
                  <a:pt x="72897" y="78565"/>
                </a:cubicBezTo>
                <a:cubicBezTo>
                  <a:pt x="50419" y="78697"/>
                  <a:pt x="27931" y="77315"/>
                  <a:pt x="5450" y="76564"/>
                </a:cubicBezTo>
                <a:cubicBezTo>
                  <a:pt x="3884" y="76512"/>
                  <a:pt x="2332" y="76053"/>
                  <a:pt x="0" y="75649"/>
                </a:cubicBezTo>
                <a:cubicBezTo>
                  <a:pt x="0" y="57619"/>
                  <a:pt x="0" y="39863"/>
                  <a:pt x="0" y="21324"/>
                </a:cubicBezTo>
                <a:cubicBezTo>
                  <a:pt x="3058" y="21086"/>
                  <a:pt x="5779" y="20715"/>
                  <a:pt x="8504" y="20688"/>
                </a:cubicBezTo>
                <a:cubicBezTo>
                  <a:pt x="38382" y="20390"/>
                  <a:pt x="68305" y="21101"/>
                  <a:pt x="98126" y="19655"/>
                </a:cubicBezTo>
                <a:cubicBezTo>
                  <a:pt x="139343" y="17657"/>
                  <a:pt x="180532" y="14597"/>
                  <a:pt x="221639" y="10929"/>
                </a:cubicBezTo>
                <a:cubicBezTo>
                  <a:pt x="249272" y="8463"/>
                  <a:pt x="276741" y="4156"/>
                  <a:pt x="304285" y="683"/>
                </a:cubicBezTo>
                <a:cubicBezTo>
                  <a:pt x="305908" y="478"/>
                  <a:pt x="307539" y="312"/>
                  <a:pt x="309173" y="212"/>
                </a:cubicBezTo>
                <a:cubicBezTo>
                  <a:pt x="326863" y="-867"/>
                  <a:pt x="330972" y="1719"/>
                  <a:pt x="335187" y="18545"/>
                </a:cubicBezTo>
                <a:cubicBezTo>
                  <a:pt x="337939" y="29526"/>
                  <a:pt x="339618" y="40777"/>
                  <a:pt x="342106" y="53602"/>
                </a:cubicBezTo>
                <a:cubicBezTo>
                  <a:pt x="317523" y="57833"/>
                  <a:pt x="294689" y="61762"/>
                  <a:pt x="270798" y="65953"/>
                </a:cubicBezTo>
                <a:close/>
              </a:path>
            </a:pathLst>
          </a:custGeom>
          <a:solidFill>
            <a:srgbClr val="FCFCFC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58" name="Free-form: Shape 157">
            <a:extLst>
              <a:ext uri="{FF2B5EF4-FFF2-40B4-BE49-F238E27FC236}">
                <a16:creationId xmlns:a16="http://schemas.microsoft.com/office/drawing/2014/main" id="{4BEF5922-533F-8B8B-41AE-B1D7469BFBA4}"/>
              </a:ext>
            </a:extLst>
          </p:cNvPr>
          <p:cNvSpPr/>
          <p:nvPr/>
        </p:nvSpPr>
        <p:spPr>
          <a:xfrm>
            <a:off x="2994966" y="4780331"/>
            <a:ext cx="72517" cy="55415"/>
          </a:xfrm>
          <a:custGeom>
            <a:avLst/>
            <a:gdLst>
              <a:gd name="csX0" fmla="*/ 9010 w 87239"/>
              <a:gd name="csY0" fmla="*/ 29316 h 66665"/>
              <a:gd name="csX1" fmla="*/ 6110 w 87239"/>
              <a:gd name="csY1" fmla="*/ 15162 h 66665"/>
              <a:gd name="csX2" fmla="*/ 0 w 87239"/>
              <a:gd name="csY2" fmla="*/ 3003 h 66665"/>
              <a:gd name="csX3" fmla="*/ 10641 w 87239"/>
              <a:gd name="csY3" fmla="*/ 697 h 66665"/>
              <a:gd name="csX4" fmla="*/ 42824 w 87239"/>
              <a:gd name="csY4" fmla="*/ 7981 h 66665"/>
              <a:gd name="csX5" fmla="*/ 73433 w 87239"/>
              <a:gd name="csY5" fmla="*/ 31631 h 66665"/>
              <a:gd name="csX6" fmla="*/ 86236 w 87239"/>
              <a:gd name="csY6" fmla="*/ 56519 h 66665"/>
              <a:gd name="csX7" fmla="*/ 82327 w 87239"/>
              <a:gd name="csY7" fmla="*/ 64249 h 66665"/>
              <a:gd name="csX8" fmla="*/ 49439 w 87239"/>
              <a:gd name="csY8" fmla="*/ 66665 h 66665"/>
              <a:gd name="csX9" fmla="*/ 11457 w 87239"/>
              <a:gd name="csY9" fmla="*/ 38560 h 66665"/>
              <a:gd name="csX10" fmla="*/ 9010 w 87239"/>
              <a:gd name="csY10" fmla="*/ 29316 h 6666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</a:cxnLst>
            <a:rect l="l" t="t" r="r" b="b"/>
            <a:pathLst>
              <a:path w="87239" h="66665">
                <a:moveTo>
                  <a:pt x="9010" y="29316"/>
                </a:moveTo>
                <a:cubicBezTo>
                  <a:pt x="7998" y="23924"/>
                  <a:pt x="7568" y="19365"/>
                  <a:pt x="6110" y="15162"/>
                </a:cubicBezTo>
                <a:cubicBezTo>
                  <a:pt x="4682" y="11044"/>
                  <a:pt x="2207" y="7289"/>
                  <a:pt x="0" y="3003"/>
                </a:cubicBezTo>
                <a:cubicBezTo>
                  <a:pt x="2648" y="-833"/>
                  <a:pt x="6580" y="-238"/>
                  <a:pt x="10641" y="697"/>
                </a:cubicBezTo>
                <a:cubicBezTo>
                  <a:pt x="21360" y="3163"/>
                  <a:pt x="32042" y="5825"/>
                  <a:pt x="42824" y="7981"/>
                </a:cubicBezTo>
                <a:cubicBezTo>
                  <a:pt x="57032" y="10823"/>
                  <a:pt x="67419" y="18068"/>
                  <a:pt x="73433" y="31631"/>
                </a:cubicBezTo>
                <a:cubicBezTo>
                  <a:pt x="77208" y="40146"/>
                  <a:pt x="81954" y="48228"/>
                  <a:pt x="86236" y="56519"/>
                </a:cubicBezTo>
                <a:cubicBezTo>
                  <a:pt x="88409" y="60728"/>
                  <a:pt x="87030" y="63806"/>
                  <a:pt x="82327" y="64249"/>
                </a:cubicBezTo>
                <a:cubicBezTo>
                  <a:pt x="71381" y="65282"/>
                  <a:pt x="60402" y="66689"/>
                  <a:pt x="49439" y="66665"/>
                </a:cubicBezTo>
                <a:cubicBezTo>
                  <a:pt x="28683" y="66620"/>
                  <a:pt x="18142" y="58428"/>
                  <a:pt x="11457" y="38560"/>
                </a:cubicBezTo>
                <a:cubicBezTo>
                  <a:pt x="10547" y="35855"/>
                  <a:pt x="9906" y="33058"/>
                  <a:pt x="9010" y="29316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59" name="Oval 158">
            <a:extLst>
              <a:ext uri="{FF2B5EF4-FFF2-40B4-BE49-F238E27FC236}">
                <a16:creationId xmlns:a16="http://schemas.microsoft.com/office/drawing/2014/main" id="{B16BACE3-74F1-68C2-A580-82C1B4EBBE9E}"/>
              </a:ext>
            </a:extLst>
          </p:cNvPr>
          <p:cNvSpPr/>
          <p:nvPr/>
        </p:nvSpPr>
        <p:spPr>
          <a:xfrm>
            <a:off x="3726251" y="5721700"/>
            <a:ext cx="739960" cy="152189"/>
          </a:xfrm>
          <a:prstGeom prst="ellipse">
            <a:avLst/>
          </a:prstGeom>
          <a:solidFill>
            <a:schemeClr val="tx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0" name="Free-form: Shape 159">
            <a:extLst>
              <a:ext uri="{FF2B5EF4-FFF2-40B4-BE49-F238E27FC236}">
                <a16:creationId xmlns:a16="http://schemas.microsoft.com/office/drawing/2014/main" id="{0DCC708A-A176-D573-617A-CA04898CB285}"/>
              </a:ext>
            </a:extLst>
          </p:cNvPr>
          <p:cNvSpPr/>
          <p:nvPr/>
        </p:nvSpPr>
        <p:spPr>
          <a:xfrm>
            <a:off x="3806215" y="4420123"/>
            <a:ext cx="650203" cy="1414846"/>
          </a:xfrm>
          <a:custGeom>
            <a:avLst/>
            <a:gdLst>
              <a:gd name="csX0" fmla="*/ 466852 w 715223"/>
              <a:gd name="csY0" fmla="*/ 229083 h 1556330"/>
              <a:gd name="csX1" fmla="*/ 462328 w 715223"/>
              <a:gd name="csY1" fmla="*/ 242604 h 1556330"/>
              <a:gd name="csX2" fmla="*/ 496944 w 715223"/>
              <a:gd name="csY2" fmla="*/ 204739 h 1556330"/>
              <a:gd name="csX3" fmla="*/ 534359 w 715223"/>
              <a:gd name="csY3" fmla="*/ 270960 h 1556330"/>
              <a:gd name="csX4" fmla="*/ 540589 w 715223"/>
              <a:gd name="csY4" fmla="*/ 445986 h 1556330"/>
              <a:gd name="csX5" fmla="*/ 509727 w 715223"/>
              <a:gd name="csY5" fmla="*/ 496924 h 1556330"/>
              <a:gd name="csX6" fmla="*/ 505366 w 715223"/>
              <a:gd name="csY6" fmla="*/ 511893 h 1556330"/>
              <a:gd name="csX7" fmla="*/ 501982 w 715223"/>
              <a:gd name="csY7" fmla="*/ 530377 h 1556330"/>
              <a:gd name="csX8" fmla="*/ 505678 w 715223"/>
              <a:gd name="csY8" fmla="*/ 556455 h 1556330"/>
              <a:gd name="csX9" fmla="*/ 526115 w 715223"/>
              <a:gd name="csY9" fmla="*/ 591784 h 1556330"/>
              <a:gd name="csX10" fmla="*/ 541579 w 715223"/>
              <a:gd name="csY10" fmla="*/ 612264 h 1556330"/>
              <a:gd name="csX11" fmla="*/ 569572 w 715223"/>
              <a:gd name="csY11" fmla="*/ 643441 h 1556330"/>
              <a:gd name="csX12" fmla="*/ 555234 w 715223"/>
              <a:gd name="csY12" fmla="*/ 688473 h 1556330"/>
              <a:gd name="csX13" fmla="*/ 513278 w 715223"/>
              <a:gd name="csY13" fmla="*/ 700556 h 1556330"/>
              <a:gd name="csX14" fmla="*/ 488559 w 715223"/>
              <a:gd name="csY14" fmla="*/ 702821 h 1556330"/>
              <a:gd name="csX15" fmla="*/ 488544 w 715223"/>
              <a:gd name="csY15" fmla="*/ 718085 h 1556330"/>
              <a:gd name="csX16" fmla="*/ 526561 w 715223"/>
              <a:gd name="csY16" fmla="*/ 1010212 h 1556330"/>
              <a:gd name="csX17" fmla="*/ 569986 w 715223"/>
              <a:gd name="csY17" fmla="*/ 1153317 h 1556330"/>
              <a:gd name="csX18" fmla="*/ 587389 w 715223"/>
              <a:gd name="csY18" fmla="*/ 1172173 h 1556330"/>
              <a:gd name="csX19" fmla="*/ 606286 w 715223"/>
              <a:gd name="csY19" fmla="*/ 1180891 h 1556330"/>
              <a:gd name="csX20" fmla="*/ 613400 w 715223"/>
              <a:gd name="csY20" fmla="*/ 1204260 h 1556330"/>
              <a:gd name="csX21" fmla="*/ 605350 w 715223"/>
              <a:gd name="csY21" fmla="*/ 1216760 h 1556330"/>
              <a:gd name="csX22" fmla="*/ 600268 w 715223"/>
              <a:gd name="csY22" fmla="*/ 1220273 h 1556330"/>
              <a:gd name="csX23" fmla="*/ 610574 w 715223"/>
              <a:gd name="csY23" fmla="*/ 1258750 h 1556330"/>
              <a:gd name="csX24" fmla="*/ 672371 w 715223"/>
              <a:gd name="csY24" fmla="*/ 1319810 h 1556330"/>
              <a:gd name="csX25" fmla="*/ 675494 w 715223"/>
              <a:gd name="csY25" fmla="*/ 1323366 h 1556330"/>
              <a:gd name="csX26" fmla="*/ 692949 w 715223"/>
              <a:gd name="csY26" fmla="*/ 1396068 h 1556330"/>
              <a:gd name="csX27" fmla="*/ 690628 w 715223"/>
              <a:gd name="csY27" fmla="*/ 1414117 h 1556330"/>
              <a:gd name="csX28" fmla="*/ 695588 w 715223"/>
              <a:gd name="csY28" fmla="*/ 1421035 h 1556330"/>
              <a:gd name="csX29" fmla="*/ 694353 w 715223"/>
              <a:gd name="csY29" fmla="*/ 1425190 h 1556330"/>
              <a:gd name="csX30" fmla="*/ 689106 w 715223"/>
              <a:gd name="csY30" fmla="*/ 1428714 h 1556330"/>
              <a:gd name="csX31" fmla="*/ 695093 w 715223"/>
              <a:gd name="csY31" fmla="*/ 1428433 h 1556330"/>
              <a:gd name="csX32" fmla="*/ 697643 w 715223"/>
              <a:gd name="csY32" fmla="*/ 1432864 h 1556330"/>
              <a:gd name="csX33" fmla="*/ 698207 w 715223"/>
              <a:gd name="csY33" fmla="*/ 1441988 h 1556330"/>
              <a:gd name="csX34" fmla="*/ 715183 w 715223"/>
              <a:gd name="csY34" fmla="*/ 1508752 h 1556330"/>
              <a:gd name="csX35" fmla="*/ 701540 w 715223"/>
              <a:gd name="csY35" fmla="*/ 1526524 h 1556330"/>
              <a:gd name="csX36" fmla="*/ 581715 w 715223"/>
              <a:gd name="csY36" fmla="*/ 1548559 h 1556330"/>
              <a:gd name="csX37" fmla="*/ 522168 w 715223"/>
              <a:gd name="csY37" fmla="*/ 1553543 h 1556330"/>
              <a:gd name="csX38" fmla="*/ 450008 w 715223"/>
              <a:gd name="csY38" fmla="*/ 1556019 h 1556330"/>
              <a:gd name="csX39" fmla="*/ 245169 w 715223"/>
              <a:gd name="csY39" fmla="*/ 1553749 h 1556330"/>
              <a:gd name="csX40" fmla="*/ 221854 w 715223"/>
              <a:gd name="csY40" fmla="*/ 1553306 h 1556330"/>
              <a:gd name="csX41" fmla="*/ 168405 w 715223"/>
              <a:gd name="csY41" fmla="*/ 1548828 h 1556330"/>
              <a:gd name="csX42" fmla="*/ 126970 w 715223"/>
              <a:gd name="csY42" fmla="*/ 1546091 h 1556330"/>
              <a:gd name="csX43" fmla="*/ 104053 w 715223"/>
              <a:gd name="csY43" fmla="*/ 1542912 h 1556330"/>
              <a:gd name="csX44" fmla="*/ 65625 w 715223"/>
              <a:gd name="csY44" fmla="*/ 1536401 h 1556330"/>
              <a:gd name="csX45" fmla="*/ 10909 w 715223"/>
              <a:gd name="csY45" fmla="*/ 1524010 h 1556330"/>
              <a:gd name="csX46" fmla="*/ 8 w 715223"/>
              <a:gd name="csY46" fmla="*/ 1509263 h 1556330"/>
              <a:gd name="csX47" fmla="*/ 21158 w 715223"/>
              <a:gd name="csY47" fmla="*/ 1433611 h 1556330"/>
              <a:gd name="csX48" fmla="*/ 23462 w 715223"/>
              <a:gd name="csY48" fmla="*/ 1418658 h 1556330"/>
              <a:gd name="csX49" fmla="*/ 19643 w 715223"/>
              <a:gd name="csY49" fmla="*/ 1382324 h 1556330"/>
              <a:gd name="csX50" fmla="*/ 49060 w 715223"/>
              <a:gd name="csY50" fmla="*/ 1311832 h 1556330"/>
              <a:gd name="csX51" fmla="*/ 109176 w 715223"/>
              <a:gd name="csY51" fmla="*/ 1254078 h 1556330"/>
              <a:gd name="csX52" fmla="*/ 118319 w 715223"/>
              <a:gd name="csY52" fmla="*/ 1214801 h 1556330"/>
              <a:gd name="csX53" fmla="*/ 113082 w 715223"/>
              <a:gd name="csY53" fmla="*/ 1201084 h 1556330"/>
              <a:gd name="csX54" fmla="*/ 120417 w 715223"/>
              <a:gd name="csY54" fmla="*/ 1183950 h 1556330"/>
              <a:gd name="csX55" fmla="*/ 135209 w 715223"/>
              <a:gd name="csY55" fmla="*/ 1178138 h 1556330"/>
              <a:gd name="csX56" fmla="*/ 156535 w 715223"/>
              <a:gd name="csY56" fmla="*/ 1156396 h 1556330"/>
              <a:gd name="csX57" fmla="*/ 185647 w 715223"/>
              <a:gd name="csY57" fmla="*/ 1061682 h 1556330"/>
              <a:gd name="csX58" fmla="*/ 201074 w 715223"/>
              <a:gd name="csY58" fmla="*/ 1005093 h 1556330"/>
              <a:gd name="csX59" fmla="*/ 213864 w 715223"/>
              <a:gd name="csY59" fmla="*/ 943040 h 1556330"/>
              <a:gd name="csX60" fmla="*/ 223580 w 715223"/>
              <a:gd name="csY60" fmla="*/ 884167 h 1556330"/>
              <a:gd name="csX61" fmla="*/ 228827 w 715223"/>
              <a:gd name="csY61" fmla="*/ 839382 h 1556330"/>
              <a:gd name="csX62" fmla="*/ 233251 w 715223"/>
              <a:gd name="csY62" fmla="*/ 794539 h 1556330"/>
              <a:gd name="csX63" fmla="*/ 233413 w 715223"/>
              <a:gd name="csY63" fmla="*/ 708554 h 1556330"/>
              <a:gd name="csX64" fmla="*/ 232253 w 715223"/>
              <a:gd name="csY64" fmla="*/ 699181 h 1556330"/>
              <a:gd name="csX65" fmla="*/ 192775 w 715223"/>
              <a:gd name="csY65" fmla="*/ 693131 h 1556330"/>
              <a:gd name="csX66" fmla="*/ 166222 w 715223"/>
              <a:gd name="csY66" fmla="*/ 684229 h 1556330"/>
              <a:gd name="csX67" fmla="*/ 153485 w 715223"/>
              <a:gd name="csY67" fmla="*/ 649704 h 1556330"/>
              <a:gd name="csX68" fmla="*/ 179302 w 715223"/>
              <a:gd name="csY68" fmla="*/ 621006 h 1556330"/>
              <a:gd name="csX69" fmla="*/ 192182 w 715223"/>
              <a:gd name="csY69" fmla="*/ 601675 h 1556330"/>
              <a:gd name="csX70" fmla="*/ 204894 w 715223"/>
              <a:gd name="csY70" fmla="*/ 583417 h 1556330"/>
              <a:gd name="csX71" fmla="*/ 233213 w 715223"/>
              <a:gd name="csY71" fmla="*/ 564393 h 1556330"/>
              <a:gd name="csX72" fmla="*/ 229725 w 715223"/>
              <a:gd name="csY72" fmla="*/ 538177 h 1556330"/>
              <a:gd name="csX73" fmla="*/ 218771 w 715223"/>
              <a:gd name="csY73" fmla="*/ 532633 h 1556330"/>
              <a:gd name="csX74" fmla="*/ 215183 w 715223"/>
              <a:gd name="csY74" fmla="*/ 521568 h 1556330"/>
              <a:gd name="csX75" fmla="*/ 223368 w 715223"/>
              <a:gd name="csY75" fmla="*/ 508901 h 1556330"/>
              <a:gd name="csX76" fmla="*/ 218372 w 715223"/>
              <a:gd name="csY76" fmla="*/ 498135 h 1556330"/>
              <a:gd name="csX77" fmla="*/ 181440 w 715223"/>
              <a:gd name="csY77" fmla="*/ 432308 h 1556330"/>
              <a:gd name="csX78" fmla="*/ 167535 w 715223"/>
              <a:gd name="csY78" fmla="*/ 349841 h 1556330"/>
              <a:gd name="csX79" fmla="*/ 193488 w 715223"/>
              <a:gd name="csY79" fmla="*/ 262518 h 1556330"/>
              <a:gd name="csX80" fmla="*/ 237748 w 715223"/>
              <a:gd name="csY80" fmla="*/ 190690 h 1556330"/>
              <a:gd name="csX81" fmla="*/ 309459 w 715223"/>
              <a:gd name="csY81" fmla="*/ 102623 h 1556330"/>
              <a:gd name="csX82" fmla="*/ 310459 w 715223"/>
              <a:gd name="csY82" fmla="*/ 78521 h 1556330"/>
              <a:gd name="csX83" fmla="*/ 300267 w 715223"/>
              <a:gd name="csY83" fmla="*/ 57856 h 1556330"/>
              <a:gd name="csX84" fmla="*/ 332242 w 715223"/>
              <a:gd name="csY84" fmla="*/ 4422 h 1556330"/>
              <a:gd name="csX85" fmla="*/ 384904 w 715223"/>
              <a:gd name="csY85" fmla="*/ 5551 h 1556330"/>
              <a:gd name="csX86" fmla="*/ 409773 w 715223"/>
              <a:gd name="csY86" fmla="*/ 26778 h 1556330"/>
              <a:gd name="csX87" fmla="*/ 407026 w 715223"/>
              <a:gd name="csY87" fmla="*/ 46052 h 1556330"/>
              <a:gd name="csX88" fmla="*/ 402771 w 715223"/>
              <a:gd name="csY88" fmla="*/ 30951 h 1556330"/>
              <a:gd name="csX89" fmla="*/ 397038 w 715223"/>
              <a:gd name="csY89" fmla="*/ 30361 h 1556330"/>
              <a:gd name="csX90" fmla="*/ 360694 w 715223"/>
              <a:gd name="csY90" fmla="*/ 22760 h 1556330"/>
              <a:gd name="csX91" fmla="*/ 351669 w 715223"/>
              <a:gd name="csY91" fmla="*/ 31736 h 1556330"/>
              <a:gd name="csX92" fmla="*/ 351426 w 715223"/>
              <a:gd name="csY92" fmla="*/ 43987 h 1556330"/>
              <a:gd name="csX93" fmla="*/ 390968 w 715223"/>
              <a:gd name="csY93" fmla="*/ 68762 h 1556330"/>
              <a:gd name="csX94" fmla="*/ 401770 w 715223"/>
              <a:gd name="csY94" fmla="*/ 59025 h 1556330"/>
              <a:gd name="csX95" fmla="*/ 409619 w 715223"/>
              <a:gd name="csY95" fmla="*/ 55786 h 1556330"/>
              <a:gd name="csX96" fmla="*/ 410427 w 715223"/>
              <a:gd name="csY96" fmla="*/ 64256 h 1556330"/>
              <a:gd name="csX97" fmla="*/ 399453 w 715223"/>
              <a:gd name="csY97" fmla="*/ 81811 h 1556330"/>
              <a:gd name="csX98" fmla="*/ 399346 w 715223"/>
              <a:gd name="csY98" fmla="*/ 98083 h 1556330"/>
              <a:gd name="csX99" fmla="*/ 471592 w 715223"/>
              <a:gd name="csY99" fmla="*/ 180524 h 1556330"/>
              <a:gd name="csX100" fmla="*/ 473550 w 715223"/>
              <a:gd name="csY100" fmla="*/ 200923 h 1556330"/>
              <a:gd name="csX101" fmla="*/ 463677 w 715223"/>
              <a:gd name="csY101" fmla="*/ 223311 h 1556330"/>
              <a:gd name="csX102" fmla="*/ 466852 w 715223"/>
              <a:gd name="csY102" fmla="*/ 229083 h 1556330"/>
              <a:gd name="csX103" fmla="*/ 474186 w 715223"/>
              <a:gd name="csY103" fmla="*/ 928382 h 1556330"/>
              <a:gd name="csX104" fmla="*/ 459927 w 715223"/>
              <a:gd name="csY104" fmla="*/ 817790 h 1556330"/>
              <a:gd name="csX105" fmla="*/ 456025 w 715223"/>
              <a:gd name="csY105" fmla="*/ 706469 h 1556330"/>
              <a:gd name="csX106" fmla="*/ 366863 w 715223"/>
              <a:gd name="csY106" fmla="*/ 710754 h 1556330"/>
              <a:gd name="csX107" fmla="*/ 366159 w 715223"/>
              <a:gd name="csY107" fmla="*/ 719219 h 1556330"/>
              <a:gd name="csX108" fmla="*/ 364159 w 715223"/>
              <a:gd name="csY108" fmla="*/ 834581 h 1556330"/>
              <a:gd name="csX109" fmla="*/ 361633 w 715223"/>
              <a:gd name="csY109" fmla="*/ 940117 h 1556330"/>
              <a:gd name="csX110" fmla="*/ 358313 w 715223"/>
              <a:gd name="csY110" fmla="*/ 1053005 h 1556330"/>
              <a:gd name="csX111" fmla="*/ 358081 w 715223"/>
              <a:gd name="csY111" fmla="*/ 1057912 h 1556330"/>
              <a:gd name="csX112" fmla="*/ 353706 w 715223"/>
              <a:gd name="csY112" fmla="*/ 1164570 h 1556330"/>
              <a:gd name="csX113" fmla="*/ 354951 w 715223"/>
              <a:gd name="csY113" fmla="*/ 1172547 h 1556330"/>
              <a:gd name="csX114" fmla="*/ 540959 w 715223"/>
              <a:gd name="csY114" fmla="*/ 1175972 h 1556330"/>
              <a:gd name="csX115" fmla="*/ 474186 w 715223"/>
              <a:gd name="csY115" fmla="*/ 928382 h 1556330"/>
              <a:gd name="csX116" fmla="*/ 513768 w 715223"/>
              <a:gd name="csY116" fmla="*/ 1417676 h 1556330"/>
              <a:gd name="csX117" fmla="*/ 519822 w 715223"/>
              <a:gd name="csY117" fmla="*/ 1416700 h 1556330"/>
              <a:gd name="csX118" fmla="*/ 632041 w 715223"/>
              <a:gd name="csY118" fmla="*/ 1406122 h 1556330"/>
              <a:gd name="csX119" fmla="*/ 665040 w 715223"/>
              <a:gd name="csY119" fmla="*/ 1400634 h 1556330"/>
              <a:gd name="csX120" fmla="*/ 665677 w 715223"/>
              <a:gd name="csY120" fmla="*/ 1396126 h 1556330"/>
              <a:gd name="csX121" fmla="*/ 665529 w 715223"/>
              <a:gd name="csY121" fmla="*/ 1389994 h 1556330"/>
              <a:gd name="csX122" fmla="*/ 623046 w 715223"/>
              <a:gd name="csY122" fmla="*/ 1306238 h 1556330"/>
              <a:gd name="csX123" fmla="*/ 596015 w 715223"/>
              <a:gd name="csY123" fmla="*/ 1281285 h 1556330"/>
              <a:gd name="csX124" fmla="*/ 567683 w 715223"/>
              <a:gd name="csY124" fmla="*/ 1220059 h 1556330"/>
              <a:gd name="csX125" fmla="*/ 540273 w 715223"/>
              <a:gd name="csY125" fmla="*/ 1220129 h 1556330"/>
              <a:gd name="csX126" fmla="*/ 424010 w 715223"/>
              <a:gd name="csY126" fmla="*/ 1226781 h 1556330"/>
              <a:gd name="csX127" fmla="*/ 357832 w 715223"/>
              <a:gd name="csY127" fmla="*/ 1229178 h 1556330"/>
              <a:gd name="csX128" fmla="*/ 352386 w 715223"/>
              <a:gd name="csY128" fmla="*/ 1230616 h 1556330"/>
              <a:gd name="csX129" fmla="*/ 355852 w 715223"/>
              <a:gd name="csY129" fmla="*/ 1324222 h 1556330"/>
              <a:gd name="csX130" fmla="*/ 352930 w 715223"/>
              <a:gd name="csY130" fmla="*/ 1417867 h 1556330"/>
              <a:gd name="csX131" fmla="*/ 513768 w 715223"/>
              <a:gd name="csY131" fmla="*/ 1417676 h 1556330"/>
              <a:gd name="csX132" fmla="*/ 387930 w 715223"/>
              <a:gd name="csY132" fmla="*/ 499741 h 1556330"/>
              <a:gd name="csX133" fmla="*/ 456529 w 715223"/>
              <a:gd name="csY133" fmla="*/ 496826 h 1556330"/>
              <a:gd name="csX134" fmla="*/ 482355 w 715223"/>
              <a:gd name="csY134" fmla="*/ 485095 h 1556330"/>
              <a:gd name="csX135" fmla="*/ 528016 w 715223"/>
              <a:gd name="csY135" fmla="*/ 374829 h 1556330"/>
              <a:gd name="csX136" fmla="*/ 501375 w 715223"/>
              <a:gd name="csY136" fmla="*/ 261643 h 1556330"/>
              <a:gd name="csX137" fmla="*/ 493534 w 715223"/>
              <a:gd name="csY137" fmla="*/ 249818 h 1556330"/>
              <a:gd name="csX138" fmla="*/ 485920 w 715223"/>
              <a:gd name="csY138" fmla="*/ 260010 h 1556330"/>
              <a:gd name="csX139" fmla="*/ 453305 w 715223"/>
              <a:gd name="csY139" fmla="*/ 310523 h 1556330"/>
              <a:gd name="csX140" fmla="*/ 433678 w 715223"/>
              <a:gd name="csY140" fmla="*/ 338672 h 1556330"/>
              <a:gd name="csX141" fmla="*/ 403713 w 715223"/>
              <a:gd name="csY141" fmla="*/ 343710 h 1556330"/>
              <a:gd name="csX142" fmla="*/ 396427 w 715223"/>
              <a:gd name="csY142" fmla="*/ 315612 h 1556330"/>
              <a:gd name="csX143" fmla="*/ 399663 w 715223"/>
              <a:gd name="csY143" fmla="*/ 309000 h 1556330"/>
              <a:gd name="csX144" fmla="*/ 452097 w 715223"/>
              <a:gd name="csY144" fmla="*/ 200770 h 1556330"/>
              <a:gd name="csX145" fmla="*/ 450118 w 715223"/>
              <a:gd name="csY145" fmla="*/ 180596 h 1556330"/>
              <a:gd name="csX146" fmla="*/ 376545 w 715223"/>
              <a:gd name="csY146" fmla="*/ 105525 h 1556330"/>
              <a:gd name="csX147" fmla="*/ 368791 w 715223"/>
              <a:gd name="csY147" fmla="*/ 101653 h 1556330"/>
              <a:gd name="csX148" fmla="*/ 366449 w 715223"/>
              <a:gd name="csY148" fmla="*/ 144676 h 1556330"/>
              <a:gd name="csX149" fmla="*/ 365447 w 715223"/>
              <a:gd name="csY149" fmla="*/ 183946 h 1556330"/>
              <a:gd name="csX150" fmla="*/ 364738 w 715223"/>
              <a:gd name="csY150" fmla="*/ 298022 h 1556330"/>
              <a:gd name="csX151" fmla="*/ 373865 w 715223"/>
              <a:gd name="csY151" fmla="*/ 430096 h 1556330"/>
              <a:gd name="csX152" fmla="*/ 381088 w 715223"/>
              <a:gd name="csY152" fmla="*/ 492169 h 1556330"/>
              <a:gd name="csX153" fmla="*/ 387930 w 715223"/>
              <a:gd name="csY153" fmla="*/ 499741 h 1556330"/>
              <a:gd name="csX154" fmla="*/ 455850 w 715223"/>
              <a:gd name="csY154" fmla="*/ 1521476 h 1556330"/>
              <a:gd name="csX155" fmla="*/ 685121 w 715223"/>
              <a:gd name="csY155" fmla="*/ 1496509 h 1556330"/>
              <a:gd name="csX156" fmla="*/ 672999 w 715223"/>
              <a:gd name="csY156" fmla="*/ 1456665 h 1556330"/>
              <a:gd name="csX157" fmla="*/ 660009 w 715223"/>
              <a:gd name="csY157" fmla="*/ 1450249 h 1556330"/>
              <a:gd name="csX158" fmla="*/ 633248 w 715223"/>
              <a:gd name="csY158" fmla="*/ 1453589 h 1556330"/>
              <a:gd name="csX159" fmla="*/ 451131 w 715223"/>
              <a:gd name="csY159" fmla="*/ 1467458 h 1556330"/>
              <a:gd name="csX160" fmla="*/ 362719 w 715223"/>
              <a:gd name="csY160" fmla="*/ 1467934 h 1556330"/>
              <a:gd name="csX161" fmla="*/ 349983 w 715223"/>
              <a:gd name="csY161" fmla="*/ 1467936 h 1556330"/>
              <a:gd name="csX162" fmla="*/ 352220 w 715223"/>
              <a:gd name="csY162" fmla="*/ 1519140 h 1556330"/>
              <a:gd name="csX163" fmla="*/ 455850 w 715223"/>
              <a:gd name="csY163" fmla="*/ 1521476 h 1556330"/>
              <a:gd name="csX164" fmla="*/ 368682 w 715223"/>
              <a:gd name="csY164" fmla="*/ 544846 h 1556330"/>
              <a:gd name="csX165" fmla="*/ 363600 w 715223"/>
              <a:gd name="csY165" fmla="*/ 605633 h 1556330"/>
              <a:gd name="csX166" fmla="*/ 496351 w 715223"/>
              <a:gd name="csY166" fmla="*/ 601466 h 1556330"/>
              <a:gd name="csX167" fmla="*/ 485068 w 715223"/>
              <a:gd name="csY167" fmla="*/ 579288 h 1556330"/>
              <a:gd name="csX168" fmla="*/ 466524 w 715223"/>
              <a:gd name="csY168" fmla="*/ 541026 h 1556330"/>
              <a:gd name="csX169" fmla="*/ 465000 w 715223"/>
              <a:gd name="csY169" fmla="*/ 536289 h 1556330"/>
              <a:gd name="csX170" fmla="*/ 451328 w 715223"/>
              <a:gd name="csY170" fmla="*/ 536316 h 1556330"/>
              <a:gd name="csX171" fmla="*/ 390140 w 715223"/>
              <a:gd name="csY171" fmla="*/ 538979 h 1556330"/>
              <a:gd name="csX172" fmla="*/ 374215 w 715223"/>
              <a:gd name="csY172" fmla="*/ 539303 h 1556330"/>
              <a:gd name="csX173" fmla="*/ 368682 w 715223"/>
              <a:gd name="csY173" fmla="*/ 544846 h 1556330"/>
              <a:gd name="csX174" fmla="*/ 453915 w 715223"/>
              <a:gd name="csY174" fmla="*/ 635267 h 1556330"/>
              <a:gd name="csX175" fmla="*/ 374200 w 715223"/>
              <a:gd name="csY175" fmla="*/ 639402 h 1556330"/>
              <a:gd name="csX176" fmla="*/ 374200 w 715223"/>
              <a:gd name="csY176" fmla="*/ 673206 h 1556330"/>
              <a:gd name="csX177" fmla="*/ 386639 w 715223"/>
              <a:gd name="csY177" fmla="*/ 673718 h 1556330"/>
              <a:gd name="csX178" fmla="*/ 521198 w 715223"/>
              <a:gd name="csY178" fmla="*/ 668541 h 1556330"/>
              <a:gd name="csX179" fmla="*/ 534198 w 715223"/>
              <a:gd name="csY179" fmla="*/ 665521 h 1556330"/>
              <a:gd name="csX180" fmla="*/ 538413 w 715223"/>
              <a:gd name="csY180" fmla="*/ 652526 h 1556330"/>
              <a:gd name="csX181" fmla="*/ 529377 w 715223"/>
              <a:gd name="csY181" fmla="*/ 642895 h 1556330"/>
              <a:gd name="csX182" fmla="*/ 502829 w 715223"/>
              <a:gd name="csY182" fmla="*/ 634808 h 1556330"/>
              <a:gd name="csX183" fmla="*/ 453915 w 715223"/>
              <a:gd name="csY183" fmla="*/ 635267 h 155633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  <a:cxn ang="0">
                <a:pos x="csX170" y="csY170"/>
              </a:cxn>
              <a:cxn ang="0">
                <a:pos x="csX171" y="csY171"/>
              </a:cxn>
              <a:cxn ang="0">
                <a:pos x="csX172" y="csY172"/>
              </a:cxn>
              <a:cxn ang="0">
                <a:pos x="csX173" y="csY173"/>
              </a:cxn>
              <a:cxn ang="0">
                <a:pos x="csX174" y="csY174"/>
              </a:cxn>
              <a:cxn ang="0">
                <a:pos x="csX175" y="csY175"/>
              </a:cxn>
              <a:cxn ang="0">
                <a:pos x="csX176" y="csY176"/>
              </a:cxn>
              <a:cxn ang="0">
                <a:pos x="csX177" y="csY177"/>
              </a:cxn>
              <a:cxn ang="0">
                <a:pos x="csX178" y="csY178"/>
              </a:cxn>
              <a:cxn ang="0">
                <a:pos x="csX179" y="csY179"/>
              </a:cxn>
              <a:cxn ang="0">
                <a:pos x="csX180" y="csY180"/>
              </a:cxn>
              <a:cxn ang="0">
                <a:pos x="csX181" y="csY181"/>
              </a:cxn>
              <a:cxn ang="0">
                <a:pos x="csX182" y="csY182"/>
              </a:cxn>
              <a:cxn ang="0">
                <a:pos x="csX183" y="csY183"/>
              </a:cxn>
            </a:cxnLst>
            <a:rect l="l" t="t" r="r" b="b"/>
            <a:pathLst>
              <a:path w="715223" h="1556330">
                <a:moveTo>
                  <a:pt x="466852" y="229083"/>
                </a:moveTo>
                <a:cubicBezTo>
                  <a:pt x="465344" y="233590"/>
                  <a:pt x="463836" y="238097"/>
                  <a:pt x="462328" y="242604"/>
                </a:cubicBezTo>
                <a:cubicBezTo>
                  <a:pt x="476604" y="232528"/>
                  <a:pt x="484219" y="216936"/>
                  <a:pt x="496944" y="204739"/>
                </a:cubicBezTo>
                <a:cubicBezTo>
                  <a:pt x="511903" y="225901"/>
                  <a:pt x="524807" y="247414"/>
                  <a:pt x="534359" y="270960"/>
                </a:cubicBezTo>
                <a:cubicBezTo>
                  <a:pt x="557740" y="328591"/>
                  <a:pt x="560223" y="386926"/>
                  <a:pt x="540589" y="445986"/>
                </a:cubicBezTo>
                <a:cubicBezTo>
                  <a:pt x="534197" y="465215"/>
                  <a:pt x="524450" y="482672"/>
                  <a:pt x="509727" y="496924"/>
                </a:cubicBezTo>
                <a:cubicBezTo>
                  <a:pt x="505277" y="501232"/>
                  <a:pt x="502734" y="505157"/>
                  <a:pt x="505366" y="511893"/>
                </a:cubicBezTo>
                <a:cubicBezTo>
                  <a:pt x="507828" y="518196"/>
                  <a:pt x="505953" y="524402"/>
                  <a:pt x="501982" y="530377"/>
                </a:cubicBezTo>
                <a:cubicBezTo>
                  <a:pt x="495613" y="539961"/>
                  <a:pt x="496865" y="548901"/>
                  <a:pt x="505678" y="556455"/>
                </a:cubicBezTo>
                <a:cubicBezTo>
                  <a:pt x="516748" y="565943"/>
                  <a:pt x="523694" y="577557"/>
                  <a:pt x="526115" y="591784"/>
                </a:cubicBezTo>
                <a:cubicBezTo>
                  <a:pt x="527758" y="601445"/>
                  <a:pt x="532593" y="608029"/>
                  <a:pt x="541579" y="612264"/>
                </a:cubicBezTo>
                <a:cubicBezTo>
                  <a:pt x="555150" y="618662"/>
                  <a:pt x="564081" y="629523"/>
                  <a:pt x="569572" y="643441"/>
                </a:cubicBezTo>
                <a:cubicBezTo>
                  <a:pt x="576413" y="660776"/>
                  <a:pt x="570996" y="678245"/>
                  <a:pt x="555234" y="688473"/>
                </a:cubicBezTo>
                <a:cubicBezTo>
                  <a:pt x="542486" y="696746"/>
                  <a:pt x="528127" y="699474"/>
                  <a:pt x="513278" y="700556"/>
                </a:cubicBezTo>
                <a:cubicBezTo>
                  <a:pt x="505590" y="701115"/>
                  <a:pt x="497922" y="701952"/>
                  <a:pt x="488559" y="702821"/>
                </a:cubicBezTo>
                <a:cubicBezTo>
                  <a:pt x="488559" y="708552"/>
                  <a:pt x="488653" y="713320"/>
                  <a:pt x="488544" y="718085"/>
                </a:cubicBezTo>
                <a:cubicBezTo>
                  <a:pt x="486284" y="817406"/>
                  <a:pt x="502313" y="914319"/>
                  <a:pt x="526561" y="1010212"/>
                </a:cubicBezTo>
                <a:cubicBezTo>
                  <a:pt x="538799" y="1058612"/>
                  <a:pt x="553050" y="1106345"/>
                  <a:pt x="569986" y="1153317"/>
                </a:cubicBezTo>
                <a:cubicBezTo>
                  <a:pt x="573328" y="1162590"/>
                  <a:pt x="578279" y="1168740"/>
                  <a:pt x="587389" y="1172173"/>
                </a:cubicBezTo>
                <a:cubicBezTo>
                  <a:pt x="593869" y="1174616"/>
                  <a:pt x="600289" y="1177449"/>
                  <a:pt x="606286" y="1180891"/>
                </a:cubicBezTo>
                <a:cubicBezTo>
                  <a:pt x="617185" y="1187146"/>
                  <a:pt x="618776" y="1192931"/>
                  <a:pt x="613400" y="1204260"/>
                </a:cubicBezTo>
                <a:cubicBezTo>
                  <a:pt x="611475" y="1208315"/>
                  <a:pt x="609140" y="1212177"/>
                  <a:pt x="605350" y="1216760"/>
                </a:cubicBezTo>
                <a:cubicBezTo>
                  <a:pt x="602514" y="1218347"/>
                  <a:pt x="600399" y="1219189"/>
                  <a:pt x="600268" y="1220273"/>
                </a:cubicBezTo>
                <a:cubicBezTo>
                  <a:pt x="598551" y="1234430"/>
                  <a:pt x="599473" y="1247881"/>
                  <a:pt x="610574" y="1258750"/>
                </a:cubicBezTo>
                <a:cubicBezTo>
                  <a:pt x="631265" y="1279009"/>
                  <a:pt x="651790" y="1299438"/>
                  <a:pt x="672371" y="1319810"/>
                </a:cubicBezTo>
                <a:cubicBezTo>
                  <a:pt x="673495" y="1320922"/>
                  <a:pt x="674892" y="1321987"/>
                  <a:pt x="675494" y="1323366"/>
                </a:cubicBezTo>
                <a:cubicBezTo>
                  <a:pt x="685626" y="1346558"/>
                  <a:pt x="694775" y="1370031"/>
                  <a:pt x="692949" y="1396068"/>
                </a:cubicBezTo>
                <a:cubicBezTo>
                  <a:pt x="692525" y="1402108"/>
                  <a:pt x="691276" y="1408087"/>
                  <a:pt x="690628" y="1414117"/>
                </a:cubicBezTo>
                <a:cubicBezTo>
                  <a:pt x="690241" y="1417713"/>
                  <a:pt x="691290" y="1420628"/>
                  <a:pt x="695588" y="1421035"/>
                </a:cubicBezTo>
                <a:cubicBezTo>
                  <a:pt x="695527" y="1422155"/>
                  <a:pt x="695467" y="1423274"/>
                  <a:pt x="694353" y="1425190"/>
                </a:cubicBezTo>
                <a:cubicBezTo>
                  <a:pt x="691901" y="1426894"/>
                  <a:pt x="690503" y="1427804"/>
                  <a:pt x="689106" y="1428714"/>
                </a:cubicBezTo>
                <a:cubicBezTo>
                  <a:pt x="691101" y="1428620"/>
                  <a:pt x="693098" y="1428527"/>
                  <a:pt x="695093" y="1428433"/>
                </a:cubicBezTo>
                <a:cubicBezTo>
                  <a:pt x="695976" y="1429430"/>
                  <a:pt x="696859" y="1430427"/>
                  <a:pt x="697643" y="1432864"/>
                </a:cubicBezTo>
                <a:cubicBezTo>
                  <a:pt x="697724" y="1436887"/>
                  <a:pt x="697087" y="1439912"/>
                  <a:pt x="698207" y="1441988"/>
                </a:cubicBezTo>
                <a:cubicBezTo>
                  <a:pt x="709464" y="1462853"/>
                  <a:pt x="715798" y="1484864"/>
                  <a:pt x="715183" y="1508752"/>
                </a:cubicBezTo>
                <a:cubicBezTo>
                  <a:pt x="714863" y="1521166"/>
                  <a:pt x="713458" y="1523372"/>
                  <a:pt x="701540" y="1526524"/>
                </a:cubicBezTo>
                <a:cubicBezTo>
                  <a:pt x="662165" y="1536936"/>
                  <a:pt x="622006" y="1543243"/>
                  <a:pt x="581715" y="1548559"/>
                </a:cubicBezTo>
                <a:cubicBezTo>
                  <a:pt x="561988" y="1551162"/>
                  <a:pt x="542052" y="1552457"/>
                  <a:pt x="522168" y="1553543"/>
                </a:cubicBezTo>
                <a:cubicBezTo>
                  <a:pt x="498138" y="1554856"/>
                  <a:pt x="474063" y="1556013"/>
                  <a:pt x="450008" y="1556019"/>
                </a:cubicBezTo>
                <a:cubicBezTo>
                  <a:pt x="381724" y="1556035"/>
                  <a:pt x="313415" y="1557550"/>
                  <a:pt x="245169" y="1553749"/>
                </a:cubicBezTo>
                <a:cubicBezTo>
                  <a:pt x="237413" y="1553317"/>
                  <a:pt x="229596" y="1553867"/>
                  <a:pt x="221854" y="1553306"/>
                </a:cubicBezTo>
                <a:cubicBezTo>
                  <a:pt x="204023" y="1552015"/>
                  <a:pt x="186231" y="1550202"/>
                  <a:pt x="168405" y="1548828"/>
                </a:cubicBezTo>
                <a:cubicBezTo>
                  <a:pt x="154605" y="1547764"/>
                  <a:pt x="140762" y="1547242"/>
                  <a:pt x="126970" y="1546091"/>
                </a:cubicBezTo>
                <a:cubicBezTo>
                  <a:pt x="119295" y="1545451"/>
                  <a:pt x="111668" y="1544132"/>
                  <a:pt x="104053" y="1542912"/>
                </a:cubicBezTo>
                <a:cubicBezTo>
                  <a:pt x="91223" y="1540858"/>
                  <a:pt x="78344" y="1539011"/>
                  <a:pt x="65625" y="1536401"/>
                </a:cubicBezTo>
                <a:cubicBezTo>
                  <a:pt x="47307" y="1532642"/>
                  <a:pt x="29006" y="1528694"/>
                  <a:pt x="10909" y="1524010"/>
                </a:cubicBezTo>
                <a:cubicBezTo>
                  <a:pt x="744" y="1521379"/>
                  <a:pt x="119" y="1519620"/>
                  <a:pt x="8" y="1509263"/>
                </a:cubicBezTo>
                <a:cubicBezTo>
                  <a:pt x="-283" y="1482004"/>
                  <a:pt x="7525" y="1456906"/>
                  <a:pt x="21158" y="1433611"/>
                </a:cubicBezTo>
                <a:cubicBezTo>
                  <a:pt x="24128" y="1428537"/>
                  <a:pt x="25100" y="1424162"/>
                  <a:pt x="23462" y="1418658"/>
                </a:cubicBezTo>
                <a:cubicBezTo>
                  <a:pt x="19938" y="1406814"/>
                  <a:pt x="19145" y="1394638"/>
                  <a:pt x="19643" y="1382324"/>
                </a:cubicBezTo>
                <a:cubicBezTo>
                  <a:pt x="20741" y="1355171"/>
                  <a:pt x="29461" y="1331114"/>
                  <a:pt x="49060" y="1311832"/>
                </a:cubicBezTo>
                <a:cubicBezTo>
                  <a:pt x="68866" y="1292344"/>
                  <a:pt x="89102" y="1273294"/>
                  <a:pt x="109176" y="1254078"/>
                </a:cubicBezTo>
                <a:cubicBezTo>
                  <a:pt x="120788" y="1242961"/>
                  <a:pt x="123122" y="1229673"/>
                  <a:pt x="118319" y="1214801"/>
                </a:cubicBezTo>
                <a:cubicBezTo>
                  <a:pt x="116817" y="1210150"/>
                  <a:pt x="114697" y="1205702"/>
                  <a:pt x="113082" y="1201084"/>
                </a:cubicBezTo>
                <a:cubicBezTo>
                  <a:pt x="109606" y="1191147"/>
                  <a:pt x="110855" y="1188189"/>
                  <a:pt x="120417" y="1183950"/>
                </a:cubicBezTo>
                <a:cubicBezTo>
                  <a:pt x="125262" y="1181801"/>
                  <a:pt x="130109" y="1179394"/>
                  <a:pt x="135209" y="1178138"/>
                </a:cubicBezTo>
                <a:cubicBezTo>
                  <a:pt x="146972" y="1175241"/>
                  <a:pt x="153194" y="1166910"/>
                  <a:pt x="156535" y="1156396"/>
                </a:cubicBezTo>
                <a:cubicBezTo>
                  <a:pt x="166535" y="1124919"/>
                  <a:pt x="176229" y="1093339"/>
                  <a:pt x="185647" y="1061682"/>
                </a:cubicBezTo>
                <a:cubicBezTo>
                  <a:pt x="191222" y="1042945"/>
                  <a:pt x="196570" y="1024108"/>
                  <a:pt x="201074" y="1005093"/>
                </a:cubicBezTo>
                <a:cubicBezTo>
                  <a:pt x="205941" y="984550"/>
                  <a:pt x="210000" y="963801"/>
                  <a:pt x="213864" y="943040"/>
                </a:cubicBezTo>
                <a:cubicBezTo>
                  <a:pt x="217503" y="923489"/>
                  <a:pt x="220701" y="903846"/>
                  <a:pt x="223580" y="884167"/>
                </a:cubicBezTo>
                <a:cubicBezTo>
                  <a:pt x="225754" y="869301"/>
                  <a:pt x="227195" y="854324"/>
                  <a:pt x="228827" y="839382"/>
                </a:cubicBezTo>
                <a:cubicBezTo>
                  <a:pt x="230459" y="824446"/>
                  <a:pt x="232880" y="809515"/>
                  <a:pt x="233251" y="794539"/>
                </a:cubicBezTo>
                <a:cubicBezTo>
                  <a:pt x="233961" y="765893"/>
                  <a:pt x="233499" y="737217"/>
                  <a:pt x="233413" y="708554"/>
                </a:cubicBezTo>
                <a:cubicBezTo>
                  <a:pt x="233404" y="705465"/>
                  <a:pt x="232667" y="702378"/>
                  <a:pt x="232253" y="699181"/>
                </a:cubicBezTo>
                <a:cubicBezTo>
                  <a:pt x="218443" y="697138"/>
                  <a:pt x="205461" y="695831"/>
                  <a:pt x="192775" y="693131"/>
                </a:cubicBezTo>
                <a:cubicBezTo>
                  <a:pt x="183686" y="691197"/>
                  <a:pt x="174549" y="688305"/>
                  <a:pt x="166222" y="684229"/>
                </a:cubicBezTo>
                <a:cubicBezTo>
                  <a:pt x="151266" y="676909"/>
                  <a:pt x="147247" y="664789"/>
                  <a:pt x="153485" y="649704"/>
                </a:cubicBezTo>
                <a:cubicBezTo>
                  <a:pt x="158693" y="637111"/>
                  <a:pt x="168160" y="628190"/>
                  <a:pt x="179302" y="621006"/>
                </a:cubicBezTo>
                <a:cubicBezTo>
                  <a:pt x="186548" y="616334"/>
                  <a:pt x="191317" y="611105"/>
                  <a:pt x="192182" y="601675"/>
                </a:cubicBezTo>
                <a:cubicBezTo>
                  <a:pt x="192878" y="594094"/>
                  <a:pt x="197099" y="587626"/>
                  <a:pt x="204894" y="583417"/>
                </a:cubicBezTo>
                <a:cubicBezTo>
                  <a:pt x="214873" y="578030"/>
                  <a:pt x="224643" y="571774"/>
                  <a:pt x="233213" y="564393"/>
                </a:cubicBezTo>
                <a:cubicBezTo>
                  <a:pt x="242623" y="556289"/>
                  <a:pt x="240441" y="544193"/>
                  <a:pt x="229725" y="538177"/>
                </a:cubicBezTo>
                <a:cubicBezTo>
                  <a:pt x="226159" y="536176"/>
                  <a:pt x="222483" y="534351"/>
                  <a:pt x="218771" y="532633"/>
                </a:cubicBezTo>
                <a:cubicBezTo>
                  <a:pt x="213503" y="530196"/>
                  <a:pt x="212651" y="526226"/>
                  <a:pt x="215183" y="521568"/>
                </a:cubicBezTo>
                <a:cubicBezTo>
                  <a:pt x="217485" y="517332"/>
                  <a:pt x="220405" y="513432"/>
                  <a:pt x="223368" y="508901"/>
                </a:cubicBezTo>
                <a:cubicBezTo>
                  <a:pt x="221781" y="505376"/>
                  <a:pt x="220809" y="501165"/>
                  <a:pt x="218372" y="498135"/>
                </a:cubicBezTo>
                <a:cubicBezTo>
                  <a:pt x="202366" y="478231"/>
                  <a:pt x="190774" y="455961"/>
                  <a:pt x="181440" y="432308"/>
                </a:cubicBezTo>
                <a:cubicBezTo>
                  <a:pt x="170959" y="405748"/>
                  <a:pt x="164933" y="378186"/>
                  <a:pt x="167535" y="349841"/>
                </a:cubicBezTo>
                <a:cubicBezTo>
                  <a:pt x="170341" y="319265"/>
                  <a:pt x="179208" y="289917"/>
                  <a:pt x="193488" y="262518"/>
                </a:cubicBezTo>
                <a:cubicBezTo>
                  <a:pt x="206512" y="237529"/>
                  <a:pt x="220831" y="213359"/>
                  <a:pt x="237748" y="190690"/>
                </a:cubicBezTo>
                <a:cubicBezTo>
                  <a:pt x="260421" y="160310"/>
                  <a:pt x="282602" y="129592"/>
                  <a:pt x="309459" y="102623"/>
                </a:cubicBezTo>
                <a:cubicBezTo>
                  <a:pt x="316627" y="95424"/>
                  <a:pt x="316261" y="87541"/>
                  <a:pt x="310459" y="78521"/>
                </a:cubicBezTo>
                <a:cubicBezTo>
                  <a:pt x="306309" y="72071"/>
                  <a:pt x="301695" y="65150"/>
                  <a:pt x="300267" y="57856"/>
                </a:cubicBezTo>
                <a:cubicBezTo>
                  <a:pt x="295286" y="32423"/>
                  <a:pt x="314502" y="10133"/>
                  <a:pt x="332242" y="4422"/>
                </a:cubicBezTo>
                <a:cubicBezTo>
                  <a:pt x="349540" y="-1148"/>
                  <a:pt x="367530" y="-2176"/>
                  <a:pt x="384904" y="5551"/>
                </a:cubicBezTo>
                <a:cubicBezTo>
                  <a:pt x="395271" y="10161"/>
                  <a:pt x="403310" y="17760"/>
                  <a:pt x="409773" y="26778"/>
                </a:cubicBezTo>
                <a:cubicBezTo>
                  <a:pt x="415168" y="34307"/>
                  <a:pt x="413749" y="41584"/>
                  <a:pt x="407026" y="46052"/>
                </a:cubicBezTo>
                <a:cubicBezTo>
                  <a:pt x="405624" y="40964"/>
                  <a:pt x="404503" y="35849"/>
                  <a:pt x="402771" y="30951"/>
                </a:cubicBezTo>
                <a:cubicBezTo>
                  <a:pt x="401450" y="27216"/>
                  <a:pt x="399383" y="28477"/>
                  <a:pt x="397038" y="30361"/>
                </a:cubicBezTo>
                <a:cubicBezTo>
                  <a:pt x="384440" y="15986"/>
                  <a:pt x="377037" y="14494"/>
                  <a:pt x="360694" y="22760"/>
                </a:cubicBezTo>
                <a:cubicBezTo>
                  <a:pt x="353707" y="22767"/>
                  <a:pt x="352275" y="27176"/>
                  <a:pt x="351669" y="31736"/>
                </a:cubicBezTo>
                <a:cubicBezTo>
                  <a:pt x="351136" y="35760"/>
                  <a:pt x="351383" y="39899"/>
                  <a:pt x="351426" y="43987"/>
                </a:cubicBezTo>
                <a:cubicBezTo>
                  <a:pt x="351648" y="64919"/>
                  <a:pt x="372389" y="78115"/>
                  <a:pt x="390968" y="68762"/>
                </a:cubicBezTo>
                <a:cubicBezTo>
                  <a:pt x="395158" y="66653"/>
                  <a:pt x="398534" y="62629"/>
                  <a:pt x="401770" y="59025"/>
                </a:cubicBezTo>
                <a:cubicBezTo>
                  <a:pt x="404045" y="56491"/>
                  <a:pt x="405661" y="53409"/>
                  <a:pt x="409619" y="55786"/>
                </a:cubicBezTo>
                <a:cubicBezTo>
                  <a:pt x="413544" y="58145"/>
                  <a:pt x="412176" y="61347"/>
                  <a:pt x="410427" y="64256"/>
                </a:cubicBezTo>
                <a:cubicBezTo>
                  <a:pt x="406872" y="70170"/>
                  <a:pt x="403244" y="76046"/>
                  <a:pt x="399453" y="81811"/>
                </a:cubicBezTo>
                <a:cubicBezTo>
                  <a:pt x="394663" y="89097"/>
                  <a:pt x="394382" y="94032"/>
                  <a:pt x="399346" y="98083"/>
                </a:cubicBezTo>
                <a:cubicBezTo>
                  <a:pt x="428062" y="121519"/>
                  <a:pt x="450822" y="150083"/>
                  <a:pt x="471592" y="180524"/>
                </a:cubicBezTo>
                <a:cubicBezTo>
                  <a:pt x="476398" y="187569"/>
                  <a:pt x="476844" y="193688"/>
                  <a:pt x="473550" y="200923"/>
                </a:cubicBezTo>
                <a:cubicBezTo>
                  <a:pt x="470171" y="208346"/>
                  <a:pt x="467091" y="215905"/>
                  <a:pt x="463677" y="223311"/>
                </a:cubicBezTo>
                <a:cubicBezTo>
                  <a:pt x="461993" y="226965"/>
                  <a:pt x="462995" y="228697"/>
                  <a:pt x="466852" y="229083"/>
                </a:cubicBezTo>
                <a:moveTo>
                  <a:pt x="474186" y="928382"/>
                </a:moveTo>
                <a:cubicBezTo>
                  <a:pt x="469297" y="891529"/>
                  <a:pt x="462961" y="854794"/>
                  <a:pt x="459927" y="817790"/>
                </a:cubicBezTo>
                <a:cubicBezTo>
                  <a:pt x="456905" y="780939"/>
                  <a:pt x="457197" y="743817"/>
                  <a:pt x="456025" y="706469"/>
                </a:cubicBezTo>
                <a:cubicBezTo>
                  <a:pt x="425780" y="707923"/>
                  <a:pt x="396554" y="709327"/>
                  <a:pt x="366863" y="710754"/>
                </a:cubicBezTo>
                <a:cubicBezTo>
                  <a:pt x="366546" y="714450"/>
                  <a:pt x="366201" y="716832"/>
                  <a:pt x="366159" y="719219"/>
                </a:cubicBezTo>
                <a:cubicBezTo>
                  <a:pt x="365479" y="757672"/>
                  <a:pt x="364935" y="796129"/>
                  <a:pt x="364159" y="834581"/>
                </a:cubicBezTo>
                <a:cubicBezTo>
                  <a:pt x="363450" y="869762"/>
                  <a:pt x="362581" y="904941"/>
                  <a:pt x="361633" y="940117"/>
                </a:cubicBezTo>
                <a:cubicBezTo>
                  <a:pt x="360619" y="977749"/>
                  <a:pt x="359431" y="1015376"/>
                  <a:pt x="358313" y="1053005"/>
                </a:cubicBezTo>
                <a:cubicBezTo>
                  <a:pt x="358265" y="1054641"/>
                  <a:pt x="358149" y="1056276"/>
                  <a:pt x="358081" y="1057912"/>
                </a:cubicBezTo>
                <a:cubicBezTo>
                  <a:pt x="356598" y="1093463"/>
                  <a:pt x="355081" y="1129014"/>
                  <a:pt x="353706" y="1164570"/>
                </a:cubicBezTo>
                <a:cubicBezTo>
                  <a:pt x="353604" y="1167221"/>
                  <a:pt x="354516" y="1169911"/>
                  <a:pt x="354951" y="1172547"/>
                </a:cubicBezTo>
                <a:cubicBezTo>
                  <a:pt x="416984" y="1173689"/>
                  <a:pt x="478158" y="1174816"/>
                  <a:pt x="540959" y="1175972"/>
                </a:cubicBezTo>
                <a:cubicBezTo>
                  <a:pt x="513162" y="1094194"/>
                  <a:pt x="489081" y="1013598"/>
                  <a:pt x="474186" y="928382"/>
                </a:cubicBezTo>
                <a:moveTo>
                  <a:pt x="513768" y="1417676"/>
                </a:moveTo>
                <a:cubicBezTo>
                  <a:pt x="515785" y="1417344"/>
                  <a:pt x="517792" y="1416889"/>
                  <a:pt x="519822" y="1416700"/>
                </a:cubicBezTo>
                <a:cubicBezTo>
                  <a:pt x="557234" y="1413220"/>
                  <a:pt x="594682" y="1410089"/>
                  <a:pt x="632041" y="1406122"/>
                </a:cubicBezTo>
                <a:cubicBezTo>
                  <a:pt x="643122" y="1404945"/>
                  <a:pt x="654730" y="1405292"/>
                  <a:pt x="665040" y="1400634"/>
                </a:cubicBezTo>
                <a:cubicBezTo>
                  <a:pt x="665352" y="1398517"/>
                  <a:pt x="665651" y="1397324"/>
                  <a:pt x="665677" y="1396126"/>
                </a:cubicBezTo>
                <a:cubicBezTo>
                  <a:pt x="665722" y="1394084"/>
                  <a:pt x="665674" y="1392032"/>
                  <a:pt x="665529" y="1389994"/>
                </a:cubicBezTo>
                <a:cubicBezTo>
                  <a:pt x="663118" y="1356121"/>
                  <a:pt x="650063" y="1327787"/>
                  <a:pt x="623046" y="1306238"/>
                </a:cubicBezTo>
                <a:cubicBezTo>
                  <a:pt x="613485" y="1298611"/>
                  <a:pt x="605001" y="1289635"/>
                  <a:pt x="596015" y="1281285"/>
                </a:cubicBezTo>
                <a:cubicBezTo>
                  <a:pt x="578506" y="1265018"/>
                  <a:pt x="567837" y="1245446"/>
                  <a:pt x="567683" y="1220059"/>
                </a:cubicBezTo>
                <a:cubicBezTo>
                  <a:pt x="558046" y="1220059"/>
                  <a:pt x="549136" y="1219649"/>
                  <a:pt x="540273" y="1220129"/>
                </a:cubicBezTo>
                <a:cubicBezTo>
                  <a:pt x="501512" y="1222229"/>
                  <a:pt x="462775" y="1224768"/>
                  <a:pt x="424010" y="1226781"/>
                </a:cubicBezTo>
                <a:cubicBezTo>
                  <a:pt x="401969" y="1227926"/>
                  <a:pt x="379889" y="1228330"/>
                  <a:pt x="357832" y="1229178"/>
                </a:cubicBezTo>
                <a:cubicBezTo>
                  <a:pt x="355938" y="1229251"/>
                  <a:pt x="354076" y="1230151"/>
                  <a:pt x="352386" y="1230616"/>
                </a:cubicBezTo>
                <a:cubicBezTo>
                  <a:pt x="353642" y="1262222"/>
                  <a:pt x="355769" y="1293219"/>
                  <a:pt x="355852" y="1324222"/>
                </a:cubicBezTo>
                <a:cubicBezTo>
                  <a:pt x="355936" y="1355438"/>
                  <a:pt x="353988" y="1386659"/>
                  <a:pt x="352930" y="1417867"/>
                </a:cubicBezTo>
                <a:cubicBezTo>
                  <a:pt x="406069" y="1417867"/>
                  <a:pt x="458771" y="1417867"/>
                  <a:pt x="513768" y="1417676"/>
                </a:cubicBezTo>
                <a:moveTo>
                  <a:pt x="387930" y="499741"/>
                </a:moveTo>
                <a:cubicBezTo>
                  <a:pt x="410797" y="498777"/>
                  <a:pt x="433665" y="497860"/>
                  <a:pt x="456529" y="496826"/>
                </a:cubicBezTo>
                <a:cubicBezTo>
                  <a:pt x="466656" y="496369"/>
                  <a:pt x="475418" y="493371"/>
                  <a:pt x="482355" y="485095"/>
                </a:cubicBezTo>
                <a:cubicBezTo>
                  <a:pt x="509188" y="453083"/>
                  <a:pt x="525387" y="416636"/>
                  <a:pt x="528016" y="374829"/>
                </a:cubicBezTo>
                <a:cubicBezTo>
                  <a:pt x="530547" y="334558"/>
                  <a:pt x="520095" y="297041"/>
                  <a:pt x="501375" y="261643"/>
                </a:cubicBezTo>
                <a:cubicBezTo>
                  <a:pt x="499379" y="257869"/>
                  <a:pt x="496654" y="254482"/>
                  <a:pt x="493534" y="249818"/>
                </a:cubicBezTo>
                <a:cubicBezTo>
                  <a:pt x="490233" y="254212"/>
                  <a:pt x="487883" y="256986"/>
                  <a:pt x="485920" y="260010"/>
                </a:cubicBezTo>
                <a:cubicBezTo>
                  <a:pt x="475010" y="276824"/>
                  <a:pt x="464300" y="293767"/>
                  <a:pt x="453305" y="310523"/>
                </a:cubicBezTo>
                <a:cubicBezTo>
                  <a:pt x="447028" y="320089"/>
                  <a:pt x="440916" y="329858"/>
                  <a:pt x="433678" y="338672"/>
                </a:cubicBezTo>
                <a:cubicBezTo>
                  <a:pt x="425909" y="348131"/>
                  <a:pt x="413084" y="349691"/>
                  <a:pt x="403713" y="343710"/>
                </a:cubicBezTo>
                <a:cubicBezTo>
                  <a:pt x="394358" y="337739"/>
                  <a:pt x="391675" y="327526"/>
                  <a:pt x="396427" y="315612"/>
                </a:cubicBezTo>
                <a:cubicBezTo>
                  <a:pt x="397334" y="313339"/>
                  <a:pt x="398595" y="311210"/>
                  <a:pt x="399663" y="309000"/>
                </a:cubicBezTo>
                <a:cubicBezTo>
                  <a:pt x="417094" y="272900"/>
                  <a:pt x="434331" y="236704"/>
                  <a:pt x="452097" y="200770"/>
                </a:cubicBezTo>
                <a:cubicBezTo>
                  <a:pt x="455910" y="193060"/>
                  <a:pt x="455310" y="187173"/>
                  <a:pt x="450118" y="180596"/>
                </a:cubicBezTo>
                <a:cubicBezTo>
                  <a:pt x="428273" y="152922"/>
                  <a:pt x="405805" y="125901"/>
                  <a:pt x="376545" y="105525"/>
                </a:cubicBezTo>
                <a:cubicBezTo>
                  <a:pt x="374483" y="104089"/>
                  <a:pt x="372013" y="103239"/>
                  <a:pt x="368791" y="101653"/>
                </a:cubicBezTo>
                <a:cubicBezTo>
                  <a:pt x="367942" y="116965"/>
                  <a:pt x="367019" y="130814"/>
                  <a:pt x="366449" y="144676"/>
                </a:cubicBezTo>
                <a:cubicBezTo>
                  <a:pt x="365912" y="157758"/>
                  <a:pt x="365593" y="170854"/>
                  <a:pt x="365447" y="183946"/>
                </a:cubicBezTo>
                <a:cubicBezTo>
                  <a:pt x="365020" y="221975"/>
                  <a:pt x="363367" y="260055"/>
                  <a:pt x="364738" y="298022"/>
                </a:cubicBezTo>
                <a:cubicBezTo>
                  <a:pt x="366329" y="342101"/>
                  <a:pt x="370336" y="386106"/>
                  <a:pt x="373865" y="430096"/>
                </a:cubicBezTo>
                <a:cubicBezTo>
                  <a:pt x="375530" y="450849"/>
                  <a:pt x="378387" y="471514"/>
                  <a:pt x="381088" y="492169"/>
                </a:cubicBezTo>
                <a:cubicBezTo>
                  <a:pt x="381433" y="494807"/>
                  <a:pt x="384102" y="497143"/>
                  <a:pt x="387930" y="499741"/>
                </a:cubicBezTo>
                <a:moveTo>
                  <a:pt x="455850" y="1521476"/>
                </a:moveTo>
                <a:cubicBezTo>
                  <a:pt x="533043" y="1519612"/>
                  <a:pt x="609810" y="1514084"/>
                  <a:pt x="685121" y="1496509"/>
                </a:cubicBezTo>
                <a:cubicBezTo>
                  <a:pt x="683922" y="1481705"/>
                  <a:pt x="679199" y="1467708"/>
                  <a:pt x="672999" y="1456665"/>
                </a:cubicBezTo>
                <a:cubicBezTo>
                  <a:pt x="669933" y="1451203"/>
                  <a:pt x="666057" y="1449329"/>
                  <a:pt x="660009" y="1450249"/>
                </a:cubicBezTo>
                <a:cubicBezTo>
                  <a:pt x="651125" y="1451601"/>
                  <a:pt x="642144" y="1452308"/>
                  <a:pt x="633248" y="1453589"/>
                </a:cubicBezTo>
                <a:cubicBezTo>
                  <a:pt x="572852" y="1462289"/>
                  <a:pt x="511993" y="1465134"/>
                  <a:pt x="451131" y="1467458"/>
                </a:cubicBezTo>
                <a:cubicBezTo>
                  <a:pt x="421697" y="1468582"/>
                  <a:pt x="392192" y="1467837"/>
                  <a:pt x="362719" y="1467934"/>
                </a:cubicBezTo>
                <a:cubicBezTo>
                  <a:pt x="358386" y="1467948"/>
                  <a:pt x="354052" y="1467936"/>
                  <a:pt x="349983" y="1467936"/>
                </a:cubicBezTo>
                <a:cubicBezTo>
                  <a:pt x="347592" y="1485362"/>
                  <a:pt x="348606" y="1509458"/>
                  <a:pt x="352220" y="1519140"/>
                </a:cubicBezTo>
                <a:cubicBezTo>
                  <a:pt x="385617" y="1519916"/>
                  <a:pt x="419507" y="1520703"/>
                  <a:pt x="455850" y="1521476"/>
                </a:cubicBezTo>
                <a:moveTo>
                  <a:pt x="368682" y="544846"/>
                </a:moveTo>
                <a:cubicBezTo>
                  <a:pt x="374258" y="564891"/>
                  <a:pt x="370074" y="584394"/>
                  <a:pt x="363600" y="605633"/>
                </a:cubicBezTo>
                <a:cubicBezTo>
                  <a:pt x="408859" y="604212"/>
                  <a:pt x="452263" y="602850"/>
                  <a:pt x="496351" y="601466"/>
                </a:cubicBezTo>
                <a:cubicBezTo>
                  <a:pt x="496109" y="591095"/>
                  <a:pt x="491408" y="584247"/>
                  <a:pt x="485068" y="579288"/>
                </a:cubicBezTo>
                <a:cubicBezTo>
                  <a:pt x="472414" y="569391"/>
                  <a:pt x="466934" y="556602"/>
                  <a:pt x="466524" y="541026"/>
                </a:cubicBezTo>
                <a:cubicBezTo>
                  <a:pt x="466485" y="539528"/>
                  <a:pt x="465591" y="538053"/>
                  <a:pt x="465000" y="536289"/>
                </a:cubicBezTo>
                <a:cubicBezTo>
                  <a:pt x="460209" y="536289"/>
                  <a:pt x="455761" y="536132"/>
                  <a:pt x="451328" y="536316"/>
                </a:cubicBezTo>
                <a:cubicBezTo>
                  <a:pt x="430930" y="537159"/>
                  <a:pt x="410538" y="538137"/>
                  <a:pt x="390140" y="538979"/>
                </a:cubicBezTo>
                <a:cubicBezTo>
                  <a:pt x="384834" y="539198"/>
                  <a:pt x="379484" y="538790"/>
                  <a:pt x="374215" y="539303"/>
                </a:cubicBezTo>
                <a:cubicBezTo>
                  <a:pt x="372259" y="539494"/>
                  <a:pt x="370480" y="541498"/>
                  <a:pt x="368682" y="544846"/>
                </a:cubicBezTo>
                <a:moveTo>
                  <a:pt x="453915" y="635267"/>
                </a:moveTo>
                <a:cubicBezTo>
                  <a:pt x="427589" y="636632"/>
                  <a:pt x="401262" y="637998"/>
                  <a:pt x="374200" y="639402"/>
                </a:cubicBezTo>
                <a:cubicBezTo>
                  <a:pt x="374200" y="651578"/>
                  <a:pt x="374200" y="661970"/>
                  <a:pt x="374200" y="673206"/>
                </a:cubicBezTo>
                <a:cubicBezTo>
                  <a:pt x="378672" y="673406"/>
                  <a:pt x="382666" y="673863"/>
                  <a:pt x="386639" y="673718"/>
                </a:cubicBezTo>
                <a:cubicBezTo>
                  <a:pt x="431495" y="672082"/>
                  <a:pt x="476352" y="670422"/>
                  <a:pt x="521198" y="668541"/>
                </a:cubicBezTo>
                <a:cubicBezTo>
                  <a:pt x="525584" y="668357"/>
                  <a:pt x="530162" y="667254"/>
                  <a:pt x="534198" y="665521"/>
                </a:cubicBezTo>
                <a:cubicBezTo>
                  <a:pt x="540213" y="662938"/>
                  <a:pt x="541802" y="658194"/>
                  <a:pt x="538413" y="652526"/>
                </a:cubicBezTo>
                <a:cubicBezTo>
                  <a:pt x="536192" y="648813"/>
                  <a:pt x="532979" y="645251"/>
                  <a:pt x="529377" y="642895"/>
                </a:cubicBezTo>
                <a:cubicBezTo>
                  <a:pt x="521426" y="637695"/>
                  <a:pt x="512576" y="634669"/>
                  <a:pt x="502829" y="634808"/>
                </a:cubicBezTo>
                <a:cubicBezTo>
                  <a:pt x="487311" y="635030"/>
                  <a:pt x="471791" y="635092"/>
                  <a:pt x="453915" y="635267"/>
                </a:cubicBezTo>
                <a:close/>
              </a:path>
            </a:pathLst>
          </a:custGeom>
          <a:solidFill>
            <a:srgbClr val="CDD9DF"/>
          </a:solidFill>
          <a:ln w="12700" cap="flat">
            <a:solidFill>
              <a:srgbClr val="CDD9DF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1" name="Free-form: Shape 160">
            <a:extLst>
              <a:ext uri="{FF2B5EF4-FFF2-40B4-BE49-F238E27FC236}">
                <a16:creationId xmlns:a16="http://schemas.microsoft.com/office/drawing/2014/main" id="{7005F4FF-3FF5-B9FE-5662-56B0FEAAC152}"/>
              </a:ext>
            </a:extLst>
          </p:cNvPr>
          <p:cNvSpPr/>
          <p:nvPr/>
        </p:nvSpPr>
        <p:spPr>
          <a:xfrm>
            <a:off x="3797877" y="4413403"/>
            <a:ext cx="665488" cy="1428730"/>
          </a:xfrm>
          <a:custGeom>
            <a:avLst/>
            <a:gdLst>
              <a:gd name="csX0" fmla="*/ 406842 w 732037"/>
              <a:gd name="csY0" fmla="*/ 38347 h 1571603"/>
              <a:gd name="csX1" fmla="*/ 411944 w 732037"/>
              <a:gd name="csY1" fmla="*/ 38343 h 1571603"/>
              <a:gd name="csX2" fmla="*/ 416198 w 732037"/>
              <a:gd name="csY2" fmla="*/ 53444 h 1571603"/>
              <a:gd name="csX3" fmla="*/ 418945 w 732037"/>
              <a:gd name="csY3" fmla="*/ 34170 h 1571603"/>
              <a:gd name="csX4" fmla="*/ 394077 w 732037"/>
              <a:gd name="csY4" fmla="*/ 12943 h 1571603"/>
              <a:gd name="csX5" fmla="*/ 341415 w 732037"/>
              <a:gd name="csY5" fmla="*/ 11814 h 1571603"/>
              <a:gd name="csX6" fmla="*/ 309440 w 732037"/>
              <a:gd name="csY6" fmla="*/ 65249 h 1571603"/>
              <a:gd name="csX7" fmla="*/ 319632 w 732037"/>
              <a:gd name="csY7" fmla="*/ 85914 h 1571603"/>
              <a:gd name="csX8" fmla="*/ 318632 w 732037"/>
              <a:gd name="csY8" fmla="*/ 110015 h 1571603"/>
              <a:gd name="csX9" fmla="*/ 246921 w 732037"/>
              <a:gd name="csY9" fmla="*/ 198083 h 1571603"/>
              <a:gd name="csX10" fmla="*/ 202660 w 732037"/>
              <a:gd name="csY10" fmla="*/ 269911 h 1571603"/>
              <a:gd name="csX11" fmla="*/ 176707 w 732037"/>
              <a:gd name="csY11" fmla="*/ 357233 h 1571603"/>
              <a:gd name="csX12" fmla="*/ 190612 w 732037"/>
              <a:gd name="csY12" fmla="*/ 439700 h 1571603"/>
              <a:gd name="csX13" fmla="*/ 227544 w 732037"/>
              <a:gd name="csY13" fmla="*/ 505527 h 1571603"/>
              <a:gd name="csX14" fmla="*/ 232541 w 732037"/>
              <a:gd name="csY14" fmla="*/ 516294 h 1571603"/>
              <a:gd name="csX15" fmla="*/ 224356 w 732037"/>
              <a:gd name="csY15" fmla="*/ 528960 h 1571603"/>
              <a:gd name="csX16" fmla="*/ 227944 w 732037"/>
              <a:gd name="csY16" fmla="*/ 540026 h 1571603"/>
              <a:gd name="csX17" fmla="*/ 238897 w 732037"/>
              <a:gd name="csY17" fmla="*/ 545570 h 1571603"/>
              <a:gd name="csX18" fmla="*/ 242386 w 732037"/>
              <a:gd name="csY18" fmla="*/ 571785 h 1571603"/>
              <a:gd name="csX19" fmla="*/ 214067 w 732037"/>
              <a:gd name="csY19" fmla="*/ 590809 h 1571603"/>
              <a:gd name="csX20" fmla="*/ 201355 w 732037"/>
              <a:gd name="csY20" fmla="*/ 609067 h 1571603"/>
              <a:gd name="csX21" fmla="*/ 188474 w 732037"/>
              <a:gd name="csY21" fmla="*/ 628398 h 1571603"/>
              <a:gd name="csX22" fmla="*/ 162658 w 732037"/>
              <a:gd name="csY22" fmla="*/ 657096 h 1571603"/>
              <a:gd name="csX23" fmla="*/ 175395 w 732037"/>
              <a:gd name="csY23" fmla="*/ 691621 h 1571603"/>
              <a:gd name="csX24" fmla="*/ 201948 w 732037"/>
              <a:gd name="csY24" fmla="*/ 700523 h 1571603"/>
              <a:gd name="csX25" fmla="*/ 241426 w 732037"/>
              <a:gd name="csY25" fmla="*/ 706574 h 1571603"/>
              <a:gd name="csX26" fmla="*/ 242586 w 732037"/>
              <a:gd name="csY26" fmla="*/ 715946 h 1571603"/>
              <a:gd name="csX27" fmla="*/ 242424 w 732037"/>
              <a:gd name="csY27" fmla="*/ 801932 h 1571603"/>
              <a:gd name="csX28" fmla="*/ 238000 w 732037"/>
              <a:gd name="csY28" fmla="*/ 846774 h 1571603"/>
              <a:gd name="csX29" fmla="*/ 232752 w 732037"/>
              <a:gd name="csY29" fmla="*/ 891559 h 1571603"/>
              <a:gd name="csX30" fmla="*/ 223037 w 732037"/>
              <a:gd name="csY30" fmla="*/ 950433 h 1571603"/>
              <a:gd name="csX31" fmla="*/ 210247 w 732037"/>
              <a:gd name="csY31" fmla="*/ 1012485 h 1571603"/>
              <a:gd name="csX32" fmla="*/ 194820 w 732037"/>
              <a:gd name="csY32" fmla="*/ 1069074 h 1571603"/>
              <a:gd name="csX33" fmla="*/ 165707 w 732037"/>
              <a:gd name="csY33" fmla="*/ 1163788 h 1571603"/>
              <a:gd name="csX34" fmla="*/ 144382 w 732037"/>
              <a:gd name="csY34" fmla="*/ 1185530 h 1571603"/>
              <a:gd name="csX35" fmla="*/ 129590 w 732037"/>
              <a:gd name="csY35" fmla="*/ 1191342 h 1571603"/>
              <a:gd name="csX36" fmla="*/ 122255 w 732037"/>
              <a:gd name="csY36" fmla="*/ 1208476 h 1571603"/>
              <a:gd name="csX37" fmla="*/ 127491 w 732037"/>
              <a:gd name="csY37" fmla="*/ 1222193 h 1571603"/>
              <a:gd name="csX38" fmla="*/ 118348 w 732037"/>
              <a:gd name="csY38" fmla="*/ 1261470 h 1571603"/>
              <a:gd name="csX39" fmla="*/ 58232 w 732037"/>
              <a:gd name="csY39" fmla="*/ 1319224 h 1571603"/>
              <a:gd name="csX40" fmla="*/ 28815 w 732037"/>
              <a:gd name="csY40" fmla="*/ 1389717 h 1571603"/>
              <a:gd name="csX41" fmla="*/ 32634 w 732037"/>
              <a:gd name="csY41" fmla="*/ 1426050 h 1571603"/>
              <a:gd name="csX42" fmla="*/ 30331 w 732037"/>
              <a:gd name="csY42" fmla="*/ 1441003 h 1571603"/>
              <a:gd name="csX43" fmla="*/ 9180 w 732037"/>
              <a:gd name="csY43" fmla="*/ 1516655 h 1571603"/>
              <a:gd name="csX44" fmla="*/ 20082 w 732037"/>
              <a:gd name="csY44" fmla="*/ 1531402 h 1571603"/>
              <a:gd name="csX45" fmla="*/ 74798 w 732037"/>
              <a:gd name="csY45" fmla="*/ 1543794 h 1571603"/>
              <a:gd name="csX46" fmla="*/ 113225 w 732037"/>
              <a:gd name="csY46" fmla="*/ 1550305 h 1571603"/>
              <a:gd name="csX47" fmla="*/ 136142 w 732037"/>
              <a:gd name="csY47" fmla="*/ 1553484 h 1571603"/>
              <a:gd name="csX48" fmla="*/ 177578 w 732037"/>
              <a:gd name="csY48" fmla="*/ 1556220 h 1571603"/>
              <a:gd name="csX49" fmla="*/ 231027 w 732037"/>
              <a:gd name="csY49" fmla="*/ 1560698 h 1571603"/>
              <a:gd name="csX50" fmla="*/ 254342 w 732037"/>
              <a:gd name="csY50" fmla="*/ 1561142 h 1571603"/>
              <a:gd name="csX51" fmla="*/ 459180 w 732037"/>
              <a:gd name="csY51" fmla="*/ 1563411 h 1571603"/>
              <a:gd name="csX52" fmla="*/ 531340 w 732037"/>
              <a:gd name="csY52" fmla="*/ 1560936 h 1571603"/>
              <a:gd name="csX53" fmla="*/ 590888 w 732037"/>
              <a:gd name="csY53" fmla="*/ 1555951 h 1571603"/>
              <a:gd name="csX54" fmla="*/ 710712 w 732037"/>
              <a:gd name="csY54" fmla="*/ 1533916 h 1571603"/>
              <a:gd name="csX55" fmla="*/ 724356 w 732037"/>
              <a:gd name="csY55" fmla="*/ 1516144 h 1571603"/>
              <a:gd name="csX56" fmla="*/ 707380 w 732037"/>
              <a:gd name="csY56" fmla="*/ 1449380 h 1571603"/>
              <a:gd name="csX57" fmla="*/ 707050 w 732037"/>
              <a:gd name="csY57" fmla="*/ 1440881 h 1571603"/>
              <a:gd name="csX58" fmla="*/ 731479 w 732037"/>
              <a:gd name="csY58" fmla="*/ 1500017 h 1571603"/>
              <a:gd name="csX59" fmla="*/ 731163 w 732037"/>
              <a:gd name="csY59" fmla="*/ 1513759 h 1571603"/>
              <a:gd name="csX60" fmla="*/ 731650 w 732037"/>
              <a:gd name="csY60" fmla="*/ 1521766 h 1571603"/>
              <a:gd name="csX61" fmla="*/ 721896 w 732037"/>
              <a:gd name="csY61" fmla="*/ 1537319 h 1571603"/>
              <a:gd name="csX62" fmla="*/ 657740 w 732037"/>
              <a:gd name="csY62" fmla="*/ 1553265 h 1571603"/>
              <a:gd name="csX63" fmla="*/ 507791 w 732037"/>
              <a:gd name="csY63" fmla="*/ 1568943 h 1571603"/>
              <a:gd name="csX64" fmla="*/ 264676 w 732037"/>
              <a:gd name="csY64" fmla="*/ 1569724 h 1571603"/>
              <a:gd name="csX65" fmla="*/ 82743 w 732037"/>
              <a:gd name="csY65" fmla="*/ 1553254 h 1571603"/>
              <a:gd name="csX66" fmla="*/ 17072 w 732037"/>
              <a:gd name="csY66" fmla="*/ 1538153 h 1571603"/>
              <a:gd name="csX67" fmla="*/ 275 w 732037"/>
              <a:gd name="csY67" fmla="*/ 1513030 h 1571603"/>
              <a:gd name="csX68" fmla="*/ 20923 w 732037"/>
              <a:gd name="csY68" fmla="*/ 1441861 h 1571603"/>
              <a:gd name="csX69" fmla="*/ 23045 w 732037"/>
              <a:gd name="csY69" fmla="*/ 1423105 h 1571603"/>
              <a:gd name="csX70" fmla="*/ 30564 w 732037"/>
              <a:gd name="csY70" fmla="*/ 1346289 h 1571603"/>
              <a:gd name="csX71" fmla="*/ 71350 w 732037"/>
              <a:gd name="csY71" fmla="*/ 1295039 h 1571603"/>
              <a:gd name="csX72" fmla="*/ 112257 w 732037"/>
              <a:gd name="csY72" fmla="*/ 1255093 h 1571603"/>
              <a:gd name="csX73" fmla="*/ 115864 w 732037"/>
              <a:gd name="csY73" fmla="*/ 1217271 h 1571603"/>
              <a:gd name="csX74" fmla="*/ 112256 w 732037"/>
              <a:gd name="csY74" fmla="*/ 1210870 h 1571603"/>
              <a:gd name="csX75" fmla="*/ 121141 w 732037"/>
              <a:gd name="csY75" fmla="*/ 1186548 h 1571603"/>
              <a:gd name="csX76" fmla="*/ 136571 w 732037"/>
              <a:gd name="csY76" fmla="*/ 1179850 h 1571603"/>
              <a:gd name="csX77" fmla="*/ 158281 w 732037"/>
              <a:gd name="csY77" fmla="*/ 1157879 h 1571603"/>
              <a:gd name="csX78" fmla="*/ 187986 w 732037"/>
              <a:gd name="csY78" fmla="*/ 1059736 h 1571603"/>
              <a:gd name="csX79" fmla="*/ 217119 w 732037"/>
              <a:gd name="csY79" fmla="*/ 938896 h 1571603"/>
              <a:gd name="csX80" fmla="*/ 225792 w 732037"/>
              <a:gd name="csY80" fmla="*/ 893236 h 1571603"/>
              <a:gd name="csX81" fmla="*/ 226150 w 732037"/>
              <a:gd name="csY81" fmla="*/ 887970 h 1571603"/>
              <a:gd name="csX82" fmla="*/ 230782 w 732037"/>
              <a:gd name="csY82" fmla="*/ 853969 h 1571603"/>
              <a:gd name="csX83" fmla="*/ 230786 w 732037"/>
              <a:gd name="csY83" fmla="*/ 848558 h 1571603"/>
              <a:gd name="csX84" fmla="*/ 233315 w 732037"/>
              <a:gd name="csY84" fmla="*/ 824438 h 1571603"/>
              <a:gd name="csX85" fmla="*/ 233199 w 732037"/>
              <a:gd name="csY85" fmla="*/ 819050 h 1571603"/>
              <a:gd name="csX86" fmla="*/ 235848 w 732037"/>
              <a:gd name="csY86" fmla="*/ 782380 h 1571603"/>
              <a:gd name="csX87" fmla="*/ 237465 w 732037"/>
              <a:gd name="csY87" fmla="*/ 719113 h 1571603"/>
              <a:gd name="csX88" fmla="*/ 233057 w 732037"/>
              <a:gd name="csY88" fmla="*/ 713160 h 1571603"/>
              <a:gd name="csX89" fmla="*/ 203056 w 732037"/>
              <a:gd name="csY89" fmla="*/ 708405 h 1571603"/>
              <a:gd name="csX90" fmla="*/ 169628 w 732037"/>
              <a:gd name="csY90" fmla="*/ 698106 h 1571603"/>
              <a:gd name="csX91" fmla="*/ 153237 w 732037"/>
              <a:gd name="csY91" fmla="*/ 659111 h 1571603"/>
              <a:gd name="csX92" fmla="*/ 178365 w 732037"/>
              <a:gd name="csY92" fmla="*/ 626008 h 1571603"/>
              <a:gd name="csX93" fmla="*/ 191885 w 732037"/>
              <a:gd name="csY93" fmla="*/ 617513 h 1571603"/>
              <a:gd name="csX94" fmla="*/ 193681 w 732037"/>
              <a:gd name="csY94" fmla="*/ 610098 h 1571603"/>
              <a:gd name="csX95" fmla="*/ 213301 w 732037"/>
              <a:gd name="csY95" fmla="*/ 579885 h 1571603"/>
              <a:gd name="csX96" fmla="*/ 229635 w 732037"/>
              <a:gd name="csY96" fmla="*/ 571429 h 1571603"/>
              <a:gd name="csX97" fmla="*/ 237351 w 732037"/>
              <a:gd name="csY97" fmla="*/ 565882 h 1571603"/>
              <a:gd name="csX98" fmla="*/ 233673 w 732037"/>
              <a:gd name="csY98" fmla="*/ 550926 h 1571603"/>
              <a:gd name="csX99" fmla="*/ 226799 w 732037"/>
              <a:gd name="csY99" fmla="*/ 548359 h 1571603"/>
              <a:gd name="csX100" fmla="*/ 218639 w 732037"/>
              <a:gd name="csY100" fmla="*/ 522664 h 1571603"/>
              <a:gd name="csX101" fmla="*/ 218264 w 732037"/>
              <a:gd name="csY101" fmla="*/ 505463 h 1571603"/>
              <a:gd name="csX102" fmla="*/ 181762 w 732037"/>
              <a:gd name="csY102" fmla="*/ 437574 h 1571603"/>
              <a:gd name="csX103" fmla="*/ 185971 w 732037"/>
              <a:gd name="csY103" fmla="*/ 289069 h 1571603"/>
              <a:gd name="csX104" fmla="*/ 253787 w 732037"/>
              <a:gd name="csY104" fmla="*/ 175580 h 1571603"/>
              <a:gd name="csX105" fmla="*/ 309639 w 732037"/>
              <a:gd name="csY105" fmla="*/ 108695 h 1571603"/>
              <a:gd name="csX106" fmla="*/ 318061 w 732037"/>
              <a:gd name="csY106" fmla="*/ 98855 h 1571603"/>
              <a:gd name="csX107" fmla="*/ 304967 w 732037"/>
              <a:gd name="csY107" fmla="*/ 70056 h 1571603"/>
              <a:gd name="csX108" fmla="*/ 317012 w 732037"/>
              <a:gd name="csY108" fmla="*/ 19436 h 1571603"/>
              <a:gd name="csX109" fmla="*/ 415542 w 732037"/>
              <a:gd name="csY109" fmla="*/ 18221 h 1571603"/>
              <a:gd name="csX110" fmla="*/ 423203 w 732037"/>
              <a:gd name="csY110" fmla="*/ 82660 h 1571603"/>
              <a:gd name="csX111" fmla="*/ 413361 w 732037"/>
              <a:gd name="csY111" fmla="*/ 97975 h 1571603"/>
              <a:gd name="csX112" fmla="*/ 421654 w 732037"/>
              <a:gd name="csY112" fmla="*/ 106676 h 1571603"/>
              <a:gd name="csX113" fmla="*/ 487032 w 732037"/>
              <a:gd name="csY113" fmla="*/ 184632 h 1571603"/>
              <a:gd name="csX114" fmla="*/ 489213 w 732037"/>
              <a:gd name="csY114" fmla="*/ 208238 h 1571603"/>
              <a:gd name="csX115" fmla="*/ 476520 w 732037"/>
              <a:gd name="csY115" fmla="*/ 235738 h 1571603"/>
              <a:gd name="csX116" fmla="*/ 472850 w 732037"/>
              <a:gd name="csY116" fmla="*/ 230703 h 1571603"/>
              <a:gd name="csX117" fmla="*/ 482723 w 732037"/>
              <a:gd name="csY117" fmla="*/ 208315 h 1571603"/>
              <a:gd name="csX118" fmla="*/ 480764 w 732037"/>
              <a:gd name="csY118" fmla="*/ 187916 h 1571603"/>
              <a:gd name="csX119" fmla="*/ 408519 w 732037"/>
              <a:gd name="csY119" fmla="*/ 105475 h 1571603"/>
              <a:gd name="csX120" fmla="*/ 408625 w 732037"/>
              <a:gd name="csY120" fmla="*/ 89203 h 1571603"/>
              <a:gd name="csX121" fmla="*/ 419600 w 732037"/>
              <a:gd name="csY121" fmla="*/ 71648 h 1571603"/>
              <a:gd name="csX122" fmla="*/ 418792 w 732037"/>
              <a:gd name="csY122" fmla="*/ 63179 h 1571603"/>
              <a:gd name="csX123" fmla="*/ 410943 w 732037"/>
              <a:gd name="csY123" fmla="*/ 66417 h 1571603"/>
              <a:gd name="csX124" fmla="*/ 400140 w 732037"/>
              <a:gd name="csY124" fmla="*/ 76155 h 1571603"/>
              <a:gd name="csX125" fmla="*/ 360599 w 732037"/>
              <a:gd name="csY125" fmla="*/ 51379 h 1571603"/>
              <a:gd name="csX126" fmla="*/ 360842 w 732037"/>
              <a:gd name="csY126" fmla="*/ 39128 h 1571603"/>
              <a:gd name="csX127" fmla="*/ 369470 w 732037"/>
              <a:gd name="csY127" fmla="*/ 30960 h 1571603"/>
              <a:gd name="csX128" fmla="*/ 365613 w 732037"/>
              <a:gd name="csY128" fmla="*/ 49108 h 1571603"/>
              <a:gd name="csX129" fmla="*/ 389468 w 732037"/>
              <a:gd name="csY129" fmla="*/ 71608 h 1571603"/>
              <a:gd name="csX130" fmla="*/ 408822 w 732037"/>
              <a:gd name="csY130" fmla="*/ 46613 h 1571603"/>
              <a:gd name="csX131" fmla="*/ 406842 w 732037"/>
              <a:gd name="csY131" fmla="*/ 38347 h 157160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</a:cxnLst>
            <a:rect l="l" t="t" r="r" b="b"/>
            <a:pathLst>
              <a:path w="732037" h="1571603">
                <a:moveTo>
                  <a:pt x="406842" y="38347"/>
                </a:moveTo>
                <a:cubicBezTo>
                  <a:pt x="408555" y="35869"/>
                  <a:pt x="410622" y="34608"/>
                  <a:pt x="411944" y="38343"/>
                </a:cubicBezTo>
                <a:cubicBezTo>
                  <a:pt x="413676" y="43242"/>
                  <a:pt x="414797" y="48356"/>
                  <a:pt x="416198" y="53444"/>
                </a:cubicBezTo>
                <a:cubicBezTo>
                  <a:pt x="422922" y="48977"/>
                  <a:pt x="424340" y="41699"/>
                  <a:pt x="418945" y="34170"/>
                </a:cubicBezTo>
                <a:cubicBezTo>
                  <a:pt x="412483" y="25152"/>
                  <a:pt x="404444" y="17554"/>
                  <a:pt x="394077" y="12943"/>
                </a:cubicBezTo>
                <a:cubicBezTo>
                  <a:pt x="376702" y="5216"/>
                  <a:pt x="358713" y="6244"/>
                  <a:pt x="341415" y="11814"/>
                </a:cubicBezTo>
                <a:cubicBezTo>
                  <a:pt x="323675" y="17525"/>
                  <a:pt x="304459" y="39816"/>
                  <a:pt x="309440" y="65249"/>
                </a:cubicBezTo>
                <a:cubicBezTo>
                  <a:pt x="310868" y="72543"/>
                  <a:pt x="315482" y="79463"/>
                  <a:pt x="319632" y="85914"/>
                </a:cubicBezTo>
                <a:cubicBezTo>
                  <a:pt x="325434" y="94933"/>
                  <a:pt x="325800" y="102817"/>
                  <a:pt x="318632" y="110015"/>
                </a:cubicBezTo>
                <a:cubicBezTo>
                  <a:pt x="291775" y="136984"/>
                  <a:pt x="269594" y="167702"/>
                  <a:pt x="246921" y="198083"/>
                </a:cubicBezTo>
                <a:cubicBezTo>
                  <a:pt x="230003" y="220751"/>
                  <a:pt x="215685" y="244921"/>
                  <a:pt x="202660" y="269911"/>
                </a:cubicBezTo>
                <a:cubicBezTo>
                  <a:pt x="188381" y="297309"/>
                  <a:pt x="179513" y="326657"/>
                  <a:pt x="176707" y="357233"/>
                </a:cubicBezTo>
                <a:cubicBezTo>
                  <a:pt x="174106" y="385578"/>
                  <a:pt x="180131" y="413140"/>
                  <a:pt x="190612" y="439700"/>
                </a:cubicBezTo>
                <a:cubicBezTo>
                  <a:pt x="199946" y="463353"/>
                  <a:pt x="211538" y="485623"/>
                  <a:pt x="227544" y="505527"/>
                </a:cubicBezTo>
                <a:cubicBezTo>
                  <a:pt x="229982" y="508558"/>
                  <a:pt x="230954" y="512768"/>
                  <a:pt x="232541" y="516294"/>
                </a:cubicBezTo>
                <a:cubicBezTo>
                  <a:pt x="229578" y="520824"/>
                  <a:pt x="226658" y="524724"/>
                  <a:pt x="224356" y="528960"/>
                </a:cubicBezTo>
                <a:cubicBezTo>
                  <a:pt x="221823" y="533618"/>
                  <a:pt x="222675" y="537588"/>
                  <a:pt x="227944" y="540026"/>
                </a:cubicBezTo>
                <a:cubicBezTo>
                  <a:pt x="231656" y="541743"/>
                  <a:pt x="235331" y="543568"/>
                  <a:pt x="238897" y="545570"/>
                </a:cubicBezTo>
                <a:cubicBezTo>
                  <a:pt x="249613" y="551585"/>
                  <a:pt x="251795" y="563681"/>
                  <a:pt x="242386" y="571785"/>
                </a:cubicBezTo>
                <a:cubicBezTo>
                  <a:pt x="233816" y="579166"/>
                  <a:pt x="224045" y="585423"/>
                  <a:pt x="214067" y="590809"/>
                </a:cubicBezTo>
                <a:cubicBezTo>
                  <a:pt x="206271" y="595018"/>
                  <a:pt x="202051" y="601487"/>
                  <a:pt x="201355" y="609067"/>
                </a:cubicBezTo>
                <a:cubicBezTo>
                  <a:pt x="200489" y="618497"/>
                  <a:pt x="195720" y="623726"/>
                  <a:pt x="188474" y="628398"/>
                </a:cubicBezTo>
                <a:cubicBezTo>
                  <a:pt x="177332" y="635582"/>
                  <a:pt x="167866" y="644503"/>
                  <a:pt x="162658" y="657096"/>
                </a:cubicBezTo>
                <a:cubicBezTo>
                  <a:pt x="156420" y="672181"/>
                  <a:pt x="160439" y="684301"/>
                  <a:pt x="175395" y="691621"/>
                </a:cubicBezTo>
                <a:cubicBezTo>
                  <a:pt x="183722" y="695697"/>
                  <a:pt x="192859" y="698589"/>
                  <a:pt x="201948" y="700523"/>
                </a:cubicBezTo>
                <a:cubicBezTo>
                  <a:pt x="214634" y="703224"/>
                  <a:pt x="227616" y="704530"/>
                  <a:pt x="241426" y="706574"/>
                </a:cubicBezTo>
                <a:cubicBezTo>
                  <a:pt x="241839" y="709770"/>
                  <a:pt x="242576" y="712857"/>
                  <a:pt x="242586" y="715946"/>
                </a:cubicBezTo>
                <a:cubicBezTo>
                  <a:pt x="242672" y="744610"/>
                  <a:pt x="243133" y="773285"/>
                  <a:pt x="242424" y="801932"/>
                </a:cubicBezTo>
                <a:cubicBezTo>
                  <a:pt x="242053" y="816907"/>
                  <a:pt x="239631" y="831838"/>
                  <a:pt x="238000" y="846774"/>
                </a:cubicBezTo>
                <a:cubicBezTo>
                  <a:pt x="236368" y="861717"/>
                  <a:pt x="234927" y="876693"/>
                  <a:pt x="232752" y="891559"/>
                </a:cubicBezTo>
                <a:cubicBezTo>
                  <a:pt x="229873" y="911238"/>
                  <a:pt x="226675" y="930882"/>
                  <a:pt x="223037" y="950433"/>
                </a:cubicBezTo>
                <a:cubicBezTo>
                  <a:pt x="219173" y="971193"/>
                  <a:pt x="215113" y="991942"/>
                  <a:pt x="210247" y="1012485"/>
                </a:cubicBezTo>
                <a:cubicBezTo>
                  <a:pt x="205743" y="1031500"/>
                  <a:pt x="200395" y="1050337"/>
                  <a:pt x="194820" y="1069074"/>
                </a:cubicBezTo>
                <a:cubicBezTo>
                  <a:pt x="185401" y="1100731"/>
                  <a:pt x="175708" y="1132311"/>
                  <a:pt x="165707" y="1163788"/>
                </a:cubicBezTo>
                <a:cubicBezTo>
                  <a:pt x="162367" y="1174302"/>
                  <a:pt x="156145" y="1182634"/>
                  <a:pt x="144382" y="1185530"/>
                </a:cubicBezTo>
                <a:cubicBezTo>
                  <a:pt x="139281" y="1186787"/>
                  <a:pt x="134434" y="1189193"/>
                  <a:pt x="129590" y="1191342"/>
                </a:cubicBezTo>
                <a:cubicBezTo>
                  <a:pt x="120028" y="1195581"/>
                  <a:pt x="118779" y="1198539"/>
                  <a:pt x="122255" y="1208476"/>
                </a:cubicBezTo>
                <a:cubicBezTo>
                  <a:pt x="123870" y="1213094"/>
                  <a:pt x="125990" y="1217542"/>
                  <a:pt x="127491" y="1222193"/>
                </a:cubicBezTo>
                <a:cubicBezTo>
                  <a:pt x="132294" y="1237066"/>
                  <a:pt x="129961" y="1250353"/>
                  <a:pt x="118348" y="1261470"/>
                </a:cubicBezTo>
                <a:cubicBezTo>
                  <a:pt x="98275" y="1280686"/>
                  <a:pt x="78038" y="1299737"/>
                  <a:pt x="58232" y="1319224"/>
                </a:cubicBezTo>
                <a:cubicBezTo>
                  <a:pt x="38634" y="1338507"/>
                  <a:pt x="29913" y="1362564"/>
                  <a:pt x="28815" y="1389717"/>
                </a:cubicBezTo>
                <a:cubicBezTo>
                  <a:pt x="28318" y="1402031"/>
                  <a:pt x="29110" y="1414206"/>
                  <a:pt x="32634" y="1426050"/>
                </a:cubicBezTo>
                <a:cubicBezTo>
                  <a:pt x="34273" y="1431554"/>
                  <a:pt x="33300" y="1435929"/>
                  <a:pt x="30331" y="1441003"/>
                </a:cubicBezTo>
                <a:cubicBezTo>
                  <a:pt x="16698" y="1464298"/>
                  <a:pt x="8890" y="1489397"/>
                  <a:pt x="9180" y="1516655"/>
                </a:cubicBezTo>
                <a:cubicBezTo>
                  <a:pt x="9291" y="1527012"/>
                  <a:pt x="9917" y="1528771"/>
                  <a:pt x="20082" y="1531402"/>
                </a:cubicBezTo>
                <a:cubicBezTo>
                  <a:pt x="38179" y="1536086"/>
                  <a:pt x="56480" y="1540035"/>
                  <a:pt x="74798" y="1543794"/>
                </a:cubicBezTo>
                <a:cubicBezTo>
                  <a:pt x="87517" y="1546403"/>
                  <a:pt x="100396" y="1548250"/>
                  <a:pt x="113225" y="1550305"/>
                </a:cubicBezTo>
                <a:cubicBezTo>
                  <a:pt x="120841" y="1551524"/>
                  <a:pt x="128467" y="1552843"/>
                  <a:pt x="136142" y="1553484"/>
                </a:cubicBezTo>
                <a:cubicBezTo>
                  <a:pt x="149934" y="1554635"/>
                  <a:pt x="163778" y="1555156"/>
                  <a:pt x="177578" y="1556220"/>
                </a:cubicBezTo>
                <a:cubicBezTo>
                  <a:pt x="195403" y="1557595"/>
                  <a:pt x="213196" y="1559407"/>
                  <a:pt x="231027" y="1560698"/>
                </a:cubicBezTo>
                <a:cubicBezTo>
                  <a:pt x="238768" y="1561259"/>
                  <a:pt x="246585" y="1560709"/>
                  <a:pt x="254342" y="1561142"/>
                </a:cubicBezTo>
                <a:cubicBezTo>
                  <a:pt x="322588" y="1564942"/>
                  <a:pt x="390896" y="1563427"/>
                  <a:pt x="459180" y="1563411"/>
                </a:cubicBezTo>
                <a:cubicBezTo>
                  <a:pt x="483236" y="1563406"/>
                  <a:pt x="507311" y="1562248"/>
                  <a:pt x="531340" y="1560936"/>
                </a:cubicBezTo>
                <a:cubicBezTo>
                  <a:pt x="551225" y="1559849"/>
                  <a:pt x="571160" y="1558554"/>
                  <a:pt x="590888" y="1555951"/>
                </a:cubicBezTo>
                <a:cubicBezTo>
                  <a:pt x="631179" y="1550635"/>
                  <a:pt x="671338" y="1544328"/>
                  <a:pt x="710712" y="1533916"/>
                </a:cubicBezTo>
                <a:cubicBezTo>
                  <a:pt x="722630" y="1530764"/>
                  <a:pt x="724036" y="1528558"/>
                  <a:pt x="724356" y="1516144"/>
                </a:cubicBezTo>
                <a:cubicBezTo>
                  <a:pt x="724970" y="1492256"/>
                  <a:pt x="718637" y="1470245"/>
                  <a:pt x="707380" y="1449380"/>
                </a:cubicBezTo>
                <a:cubicBezTo>
                  <a:pt x="706259" y="1447304"/>
                  <a:pt x="706896" y="1444279"/>
                  <a:pt x="707050" y="1440881"/>
                </a:cubicBezTo>
                <a:cubicBezTo>
                  <a:pt x="722747" y="1457101"/>
                  <a:pt x="728653" y="1477963"/>
                  <a:pt x="731479" y="1500017"/>
                </a:cubicBezTo>
                <a:cubicBezTo>
                  <a:pt x="731992" y="1504029"/>
                  <a:pt x="731781" y="1508135"/>
                  <a:pt x="731163" y="1513759"/>
                </a:cubicBezTo>
                <a:cubicBezTo>
                  <a:pt x="730831" y="1517468"/>
                  <a:pt x="731241" y="1519618"/>
                  <a:pt x="731650" y="1521766"/>
                </a:cubicBezTo>
                <a:cubicBezTo>
                  <a:pt x="733191" y="1529956"/>
                  <a:pt x="730165" y="1535242"/>
                  <a:pt x="721896" y="1537319"/>
                </a:cubicBezTo>
                <a:cubicBezTo>
                  <a:pt x="700520" y="1542690"/>
                  <a:pt x="679367" y="1549248"/>
                  <a:pt x="657740" y="1553265"/>
                </a:cubicBezTo>
                <a:cubicBezTo>
                  <a:pt x="608220" y="1562464"/>
                  <a:pt x="558146" y="1566701"/>
                  <a:pt x="507791" y="1568943"/>
                </a:cubicBezTo>
                <a:cubicBezTo>
                  <a:pt x="426738" y="1572552"/>
                  <a:pt x="345677" y="1572161"/>
                  <a:pt x="264676" y="1569724"/>
                </a:cubicBezTo>
                <a:cubicBezTo>
                  <a:pt x="203800" y="1567891"/>
                  <a:pt x="142882" y="1563907"/>
                  <a:pt x="82743" y="1553254"/>
                </a:cubicBezTo>
                <a:cubicBezTo>
                  <a:pt x="60647" y="1549341"/>
                  <a:pt x="38739" y="1544032"/>
                  <a:pt x="17072" y="1538153"/>
                </a:cubicBezTo>
                <a:cubicBezTo>
                  <a:pt x="1381" y="1533894"/>
                  <a:pt x="-938" y="1529341"/>
                  <a:pt x="275" y="1513030"/>
                </a:cubicBezTo>
                <a:cubicBezTo>
                  <a:pt x="2146" y="1487871"/>
                  <a:pt x="7321" y="1463566"/>
                  <a:pt x="20923" y="1441861"/>
                </a:cubicBezTo>
                <a:cubicBezTo>
                  <a:pt x="24812" y="1435656"/>
                  <a:pt x="24566" y="1429699"/>
                  <a:pt x="23045" y="1423105"/>
                </a:cubicBezTo>
                <a:cubicBezTo>
                  <a:pt x="16952" y="1396684"/>
                  <a:pt x="19689" y="1370924"/>
                  <a:pt x="30564" y="1346289"/>
                </a:cubicBezTo>
                <a:cubicBezTo>
                  <a:pt x="39621" y="1325774"/>
                  <a:pt x="54481" y="1309709"/>
                  <a:pt x="71350" y="1295039"/>
                </a:cubicBezTo>
                <a:cubicBezTo>
                  <a:pt x="85712" y="1282550"/>
                  <a:pt x="99164" y="1268932"/>
                  <a:pt x="112257" y="1255093"/>
                </a:cubicBezTo>
                <a:cubicBezTo>
                  <a:pt x="122891" y="1243852"/>
                  <a:pt x="124955" y="1230879"/>
                  <a:pt x="115864" y="1217271"/>
                </a:cubicBezTo>
                <a:cubicBezTo>
                  <a:pt x="114506" y="1215239"/>
                  <a:pt x="113304" y="1213078"/>
                  <a:pt x="112256" y="1210870"/>
                </a:cubicBezTo>
                <a:cubicBezTo>
                  <a:pt x="106526" y="1198808"/>
                  <a:pt x="109052" y="1191969"/>
                  <a:pt x="121141" y="1186548"/>
                </a:cubicBezTo>
                <a:cubicBezTo>
                  <a:pt x="126274" y="1184246"/>
                  <a:pt x="131201" y="1180803"/>
                  <a:pt x="136571" y="1179850"/>
                </a:cubicBezTo>
                <a:cubicBezTo>
                  <a:pt x="149372" y="1177579"/>
                  <a:pt x="154892" y="1168948"/>
                  <a:pt x="158281" y="1157879"/>
                </a:cubicBezTo>
                <a:cubicBezTo>
                  <a:pt x="168288" y="1125194"/>
                  <a:pt x="179178" y="1092742"/>
                  <a:pt x="187986" y="1059736"/>
                </a:cubicBezTo>
                <a:cubicBezTo>
                  <a:pt x="198666" y="1019713"/>
                  <a:pt x="207813" y="979272"/>
                  <a:pt x="217119" y="938896"/>
                </a:cubicBezTo>
                <a:cubicBezTo>
                  <a:pt x="220491" y="924267"/>
                  <a:pt x="222410" y="909302"/>
                  <a:pt x="225792" y="893236"/>
                </a:cubicBezTo>
                <a:cubicBezTo>
                  <a:pt x="226444" y="890644"/>
                  <a:pt x="226297" y="889307"/>
                  <a:pt x="226150" y="887970"/>
                </a:cubicBezTo>
                <a:cubicBezTo>
                  <a:pt x="227450" y="877085"/>
                  <a:pt x="228750" y="866198"/>
                  <a:pt x="230782" y="853969"/>
                </a:cubicBezTo>
                <a:cubicBezTo>
                  <a:pt x="231271" y="851270"/>
                  <a:pt x="231029" y="849914"/>
                  <a:pt x="230786" y="848558"/>
                </a:cubicBezTo>
                <a:cubicBezTo>
                  <a:pt x="231390" y="840967"/>
                  <a:pt x="231993" y="833375"/>
                  <a:pt x="233315" y="824438"/>
                </a:cubicBezTo>
                <a:cubicBezTo>
                  <a:pt x="233755" y="821744"/>
                  <a:pt x="233477" y="820397"/>
                  <a:pt x="233199" y="819050"/>
                </a:cubicBezTo>
                <a:cubicBezTo>
                  <a:pt x="233786" y="807422"/>
                  <a:pt x="234374" y="795794"/>
                  <a:pt x="235848" y="782380"/>
                </a:cubicBezTo>
                <a:cubicBezTo>
                  <a:pt x="237047" y="760099"/>
                  <a:pt x="237488" y="739606"/>
                  <a:pt x="237465" y="719113"/>
                </a:cubicBezTo>
                <a:cubicBezTo>
                  <a:pt x="237463" y="717127"/>
                  <a:pt x="234595" y="715144"/>
                  <a:pt x="233057" y="713160"/>
                </a:cubicBezTo>
                <a:cubicBezTo>
                  <a:pt x="223043" y="711630"/>
                  <a:pt x="212881" y="710731"/>
                  <a:pt x="203056" y="708405"/>
                </a:cubicBezTo>
                <a:cubicBezTo>
                  <a:pt x="191716" y="705720"/>
                  <a:pt x="180144" y="702931"/>
                  <a:pt x="169628" y="698106"/>
                </a:cubicBezTo>
                <a:cubicBezTo>
                  <a:pt x="154505" y="691164"/>
                  <a:pt x="148867" y="675179"/>
                  <a:pt x="153237" y="659111"/>
                </a:cubicBezTo>
                <a:cubicBezTo>
                  <a:pt x="157196" y="644561"/>
                  <a:pt x="166649" y="634454"/>
                  <a:pt x="178365" y="626008"/>
                </a:cubicBezTo>
                <a:cubicBezTo>
                  <a:pt x="182258" y="623202"/>
                  <a:pt x="186579" y="620992"/>
                  <a:pt x="191885" y="617513"/>
                </a:cubicBezTo>
                <a:cubicBezTo>
                  <a:pt x="194882" y="614532"/>
                  <a:pt x="197062" y="612583"/>
                  <a:pt x="193681" y="610098"/>
                </a:cubicBezTo>
                <a:cubicBezTo>
                  <a:pt x="193381" y="595591"/>
                  <a:pt x="202034" y="586776"/>
                  <a:pt x="213301" y="579885"/>
                </a:cubicBezTo>
                <a:cubicBezTo>
                  <a:pt x="218517" y="576695"/>
                  <a:pt x="224270" y="574393"/>
                  <a:pt x="229635" y="571429"/>
                </a:cubicBezTo>
                <a:cubicBezTo>
                  <a:pt x="232401" y="569901"/>
                  <a:pt x="235344" y="568225"/>
                  <a:pt x="237351" y="565882"/>
                </a:cubicBezTo>
                <a:cubicBezTo>
                  <a:pt x="243193" y="559063"/>
                  <a:pt x="242021" y="554779"/>
                  <a:pt x="233673" y="550926"/>
                </a:cubicBezTo>
                <a:cubicBezTo>
                  <a:pt x="231458" y="549904"/>
                  <a:pt x="229049" y="549314"/>
                  <a:pt x="226799" y="548359"/>
                </a:cubicBezTo>
                <a:cubicBezTo>
                  <a:pt x="215108" y="543398"/>
                  <a:pt x="211118" y="532802"/>
                  <a:pt x="218639" y="522664"/>
                </a:cubicBezTo>
                <a:cubicBezTo>
                  <a:pt x="223647" y="515913"/>
                  <a:pt x="222661" y="511633"/>
                  <a:pt x="218264" y="505463"/>
                </a:cubicBezTo>
                <a:cubicBezTo>
                  <a:pt x="203255" y="484407"/>
                  <a:pt x="190650" y="461993"/>
                  <a:pt x="181762" y="437574"/>
                </a:cubicBezTo>
                <a:cubicBezTo>
                  <a:pt x="163530" y="387483"/>
                  <a:pt x="165826" y="338057"/>
                  <a:pt x="185971" y="289069"/>
                </a:cubicBezTo>
                <a:cubicBezTo>
                  <a:pt x="202921" y="247851"/>
                  <a:pt x="226229" y="210377"/>
                  <a:pt x="253787" y="175580"/>
                </a:cubicBezTo>
                <a:cubicBezTo>
                  <a:pt x="271814" y="152817"/>
                  <a:pt x="290973" y="130951"/>
                  <a:pt x="309639" y="108695"/>
                </a:cubicBezTo>
                <a:cubicBezTo>
                  <a:pt x="312744" y="104993"/>
                  <a:pt x="315922" y="101352"/>
                  <a:pt x="318061" y="98855"/>
                </a:cubicBezTo>
                <a:cubicBezTo>
                  <a:pt x="313257" y="88362"/>
                  <a:pt x="308695" y="79376"/>
                  <a:pt x="304967" y="70056"/>
                </a:cubicBezTo>
                <a:cubicBezTo>
                  <a:pt x="297146" y="50504"/>
                  <a:pt x="303366" y="33481"/>
                  <a:pt x="317012" y="19436"/>
                </a:cubicBezTo>
                <a:cubicBezTo>
                  <a:pt x="344741" y="-9105"/>
                  <a:pt x="393463" y="-3345"/>
                  <a:pt x="415542" y="18221"/>
                </a:cubicBezTo>
                <a:cubicBezTo>
                  <a:pt x="429559" y="31914"/>
                  <a:pt x="438373" y="56968"/>
                  <a:pt x="423203" y="82660"/>
                </a:cubicBezTo>
                <a:cubicBezTo>
                  <a:pt x="420306" y="87568"/>
                  <a:pt x="417047" y="92262"/>
                  <a:pt x="413361" y="97975"/>
                </a:cubicBezTo>
                <a:cubicBezTo>
                  <a:pt x="416167" y="100932"/>
                  <a:pt x="418781" y="103940"/>
                  <a:pt x="421654" y="106676"/>
                </a:cubicBezTo>
                <a:cubicBezTo>
                  <a:pt x="446372" y="130213"/>
                  <a:pt x="467902" y="156374"/>
                  <a:pt x="487032" y="184632"/>
                </a:cubicBezTo>
                <a:cubicBezTo>
                  <a:pt x="492374" y="192525"/>
                  <a:pt x="493990" y="199495"/>
                  <a:pt x="489213" y="208238"/>
                </a:cubicBezTo>
                <a:cubicBezTo>
                  <a:pt x="484525" y="216819"/>
                  <a:pt x="481033" y="226053"/>
                  <a:pt x="476520" y="235738"/>
                </a:cubicBezTo>
                <a:cubicBezTo>
                  <a:pt x="472168" y="236089"/>
                  <a:pt x="471165" y="234358"/>
                  <a:pt x="472850" y="230703"/>
                </a:cubicBezTo>
                <a:cubicBezTo>
                  <a:pt x="476263" y="223297"/>
                  <a:pt x="479344" y="215738"/>
                  <a:pt x="482723" y="208315"/>
                </a:cubicBezTo>
                <a:cubicBezTo>
                  <a:pt x="486016" y="201080"/>
                  <a:pt x="485571" y="194961"/>
                  <a:pt x="480764" y="187916"/>
                </a:cubicBezTo>
                <a:cubicBezTo>
                  <a:pt x="459995" y="157475"/>
                  <a:pt x="437234" y="128912"/>
                  <a:pt x="408519" y="105475"/>
                </a:cubicBezTo>
                <a:cubicBezTo>
                  <a:pt x="403555" y="101425"/>
                  <a:pt x="403835" y="96489"/>
                  <a:pt x="408625" y="89203"/>
                </a:cubicBezTo>
                <a:cubicBezTo>
                  <a:pt x="412416" y="83438"/>
                  <a:pt x="416045" y="77562"/>
                  <a:pt x="419600" y="71648"/>
                </a:cubicBezTo>
                <a:cubicBezTo>
                  <a:pt x="421349" y="68739"/>
                  <a:pt x="422717" y="65537"/>
                  <a:pt x="418792" y="63179"/>
                </a:cubicBezTo>
                <a:cubicBezTo>
                  <a:pt x="414834" y="60801"/>
                  <a:pt x="413218" y="63883"/>
                  <a:pt x="410943" y="66417"/>
                </a:cubicBezTo>
                <a:cubicBezTo>
                  <a:pt x="407706" y="70022"/>
                  <a:pt x="404330" y="74045"/>
                  <a:pt x="400140" y="76155"/>
                </a:cubicBezTo>
                <a:cubicBezTo>
                  <a:pt x="381561" y="85507"/>
                  <a:pt x="360821" y="72312"/>
                  <a:pt x="360599" y="51379"/>
                </a:cubicBezTo>
                <a:cubicBezTo>
                  <a:pt x="360556" y="47292"/>
                  <a:pt x="360308" y="43152"/>
                  <a:pt x="360842" y="39128"/>
                </a:cubicBezTo>
                <a:cubicBezTo>
                  <a:pt x="361447" y="34568"/>
                  <a:pt x="362880" y="30159"/>
                  <a:pt x="369470" y="30960"/>
                </a:cubicBezTo>
                <a:cubicBezTo>
                  <a:pt x="368501" y="37551"/>
                  <a:pt x="365745" y="43300"/>
                  <a:pt x="365613" y="49108"/>
                </a:cubicBezTo>
                <a:cubicBezTo>
                  <a:pt x="365328" y="61659"/>
                  <a:pt x="377498" y="72522"/>
                  <a:pt x="389468" y="71608"/>
                </a:cubicBezTo>
                <a:cubicBezTo>
                  <a:pt x="401478" y="70690"/>
                  <a:pt x="410127" y="59637"/>
                  <a:pt x="408822" y="46613"/>
                </a:cubicBezTo>
                <a:cubicBezTo>
                  <a:pt x="408542" y="43819"/>
                  <a:pt x="407521" y="41100"/>
                  <a:pt x="406842" y="38347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2" name="Free-form: Shape 161">
            <a:extLst>
              <a:ext uri="{FF2B5EF4-FFF2-40B4-BE49-F238E27FC236}">
                <a16:creationId xmlns:a16="http://schemas.microsoft.com/office/drawing/2014/main" id="{397AC4C1-1D53-0191-1552-B7F1A0BB8095}"/>
              </a:ext>
            </a:extLst>
          </p:cNvPr>
          <p:cNvSpPr/>
          <p:nvPr/>
        </p:nvSpPr>
        <p:spPr>
          <a:xfrm>
            <a:off x="4351299" y="5526794"/>
            <a:ext cx="91545" cy="184495"/>
          </a:xfrm>
          <a:custGeom>
            <a:avLst/>
            <a:gdLst>
              <a:gd name="csX0" fmla="*/ 96534 w 100699"/>
              <a:gd name="csY0" fmla="*/ 202912 h 202945"/>
              <a:gd name="csX1" fmla="*/ 91036 w 100699"/>
              <a:gd name="csY1" fmla="*/ 196780 h 202945"/>
              <a:gd name="csX2" fmla="*/ 93357 w 100699"/>
              <a:gd name="csY2" fmla="*/ 178731 h 202945"/>
              <a:gd name="csX3" fmla="*/ 75903 w 100699"/>
              <a:gd name="csY3" fmla="*/ 106029 h 202945"/>
              <a:gd name="csX4" fmla="*/ 72780 w 100699"/>
              <a:gd name="csY4" fmla="*/ 102473 h 202945"/>
              <a:gd name="csX5" fmla="*/ 10982 w 100699"/>
              <a:gd name="csY5" fmla="*/ 41414 h 202945"/>
              <a:gd name="csX6" fmla="*/ 676 w 100699"/>
              <a:gd name="csY6" fmla="*/ 2936 h 202945"/>
              <a:gd name="csX7" fmla="*/ 5198 w 100699"/>
              <a:gd name="csY7" fmla="*/ 0 h 202945"/>
              <a:gd name="csX8" fmla="*/ 15435 w 100699"/>
              <a:gd name="csY8" fmla="*/ 35855 h 202945"/>
              <a:gd name="csX9" fmla="*/ 44498 w 100699"/>
              <a:gd name="csY9" fmla="*/ 63833 h 202945"/>
              <a:gd name="csX10" fmla="*/ 81385 w 100699"/>
              <a:gd name="csY10" fmla="*/ 106005 h 202945"/>
              <a:gd name="csX11" fmla="*/ 98950 w 100699"/>
              <a:gd name="csY11" fmla="*/ 190063 h 202945"/>
              <a:gd name="csX12" fmla="*/ 96534 w 100699"/>
              <a:gd name="csY12" fmla="*/ 202912 h 20294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</a:cxnLst>
            <a:rect l="l" t="t" r="r" b="b"/>
            <a:pathLst>
              <a:path w="100699" h="202945">
                <a:moveTo>
                  <a:pt x="96534" y="202912"/>
                </a:moveTo>
                <a:cubicBezTo>
                  <a:pt x="91699" y="203291"/>
                  <a:pt x="90650" y="200377"/>
                  <a:pt x="91036" y="196780"/>
                </a:cubicBezTo>
                <a:cubicBezTo>
                  <a:pt x="91685" y="190750"/>
                  <a:pt x="92933" y="184771"/>
                  <a:pt x="93357" y="178731"/>
                </a:cubicBezTo>
                <a:cubicBezTo>
                  <a:pt x="95183" y="152694"/>
                  <a:pt x="86034" y="129222"/>
                  <a:pt x="75903" y="106029"/>
                </a:cubicBezTo>
                <a:cubicBezTo>
                  <a:pt x="75300" y="104650"/>
                  <a:pt x="73904" y="103585"/>
                  <a:pt x="72780" y="102473"/>
                </a:cubicBezTo>
                <a:cubicBezTo>
                  <a:pt x="52199" y="82101"/>
                  <a:pt x="31673" y="61673"/>
                  <a:pt x="10982" y="41414"/>
                </a:cubicBezTo>
                <a:cubicBezTo>
                  <a:pt x="-119" y="30544"/>
                  <a:pt x="-1041" y="17093"/>
                  <a:pt x="676" y="2936"/>
                </a:cubicBezTo>
                <a:cubicBezTo>
                  <a:pt x="808" y="1852"/>
                  <a:pt x="2922" y="1010"/>
                  <a:pt x="5198" y="0"/>
                </a:cubicBezTo>
                <a:cubicBezTo>
                  <a:pt x="2043" y="13772"/>
                  <a:pt x="5665" y="25821"/>
                  <a:pt x="15435" y="35855"/>
                </a:cubicBezTo>
                <a:cubicBezTo>
                  <a:pt x="24811" y="45486"/>
                  <a:pt x="35301" y="54047"/>
                  <a:pt x="44498" y="63833"/>
                </a:cubicBezTo>
                <a:cubicBezTo>
                  <a:pt x="57293" y="77447"/>
                  <a:pt x="70760" y="90773"/>
                  <a:pt x="81385" y="106005"/>
                </a:cubicBezTo>
                <a:cubicBezTo>
                  <a:pt x="98896" y="131109"/>
                  <a:pt x="103759" y="159808"/>
                  <a:pt x="98950" y="190063"/>
                </a:cubicBezTo>
                <a:cubicBezTo>
                  <a:pt x="98311" y="194082"/>
                  <a:pt x="97697" y="198105"/>
                  <a:pt x="96534" y="202912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3" name="Free-form: Shape 162">
            <a:extLst>
              <a:ext uri="{FF2B5EF4-FFF2-40B4-BE49-F238E27FC236}">
                <a16:creationId xmlns:a16="http://schemas.microsoft.com/office/drawing/2014/main" id="{216EE011-4BF3-E219-FE76-4F0BE8A0D579}"/>
              </a:ext>
            </a:extLst>
          </p:cNvPr>
          <p:cNvSpPr/>
          <p:nvPr/>
        </p:nvSpPr>
        <p:spPr>
          <a:xfrm>
            <a:off x="4010015" y="5062758"/>
            <a:ext cx="3739" cy="60936"/>
          </a:xfrm>
          <a:custGeom>
            <a:avLst/>
            <a:gdLst>
              <a:gd name="csX0" fmla="*/ 0 w 4113"/>
              <a:gd name="csY0" fmla="*/ 0 h 67029"/>
              <a:gd name="csX1" fmla="*/ 4113 w 4113"/>
              <a:gd name="csY1" fmla="*/ 4824 h 67029"/>
              <a:gd name="csX2" fmla="*/ 2662 w 4113"/>
              <a:gd name="csY2" fmla="*/ 67030 h 67029"/>
              <a:gd name="csX3" fmla="*/ 631 w 4113"/>
              <a:gd name="csY3" fmla="*/ 55883 h 67029"/>
              <a:gd name="csX4" fmla="*/ 0 w 4113"/>
              <a:gd name="csY4" fmla="*/ 0 h 6702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4113" h="67029">
                <a:moveTo>
                  <a:pt x="0" y="0"/>
                </a:moveTo>
                <a:cubicBezTo>
                  <a:pt x="1242" y="855"/>
                  <a:pt x="4111" y="2838"/>
                  <a:pt x="4113" y="4824"/>
                </a:cubicBezTo>
                <a:cubicBezTo>
                  <a:pt x="4135" y="25317"/>
                  <a:pt x="3695" y="45810"/>
                  <a:pt x="2662" y="67030"/>
                </a:cubicBezTo>
                <a:cubicBezTo>
                  <a:pt x="1483" y="63799"/>
                  <a:pt x="680" y="59846"/>
                  <a:pt x="631" y="55883"/>
                </a:cubicBezTo>
                <a:cubicBezTo>
                  <a:pt x="404" y="37633"/>
                  <a:pt x="388" y="19381"/>
                  <a:pt x="0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4" name="Free-form: Shape 163">
            <a:extLst>
              <a:ext uri="{FF2B5EF4-FFF2-40B4-BE49-F238E27FC236}">
                <a16:creationId xmlns:a16="http://schemas.microsoft.com/office/drawing/2014/main" id="{2611CE43-70AC-8D59-C986-3731D4918F12}"/>
              </a:ext>
            </a:extLst>
          </p:cNvPr>
          <p:cNvSpPr/>
          <p:nvPr/>
        </p:nvSpPr>
        <p:spPr>
          <a:xfrm>
            <a:off x="4462404" y="5790558"/>
            <a:ext cx="1060" cy="5803"/>
          </a:xfrm>
          <a:custGeom>
            <a:avLst/>
            <a:gdLst>
              <a:gd name="csX0" fmla="*/ 1130 w 1165"/>
              <a:gd name="csY0" fmla="*/ 6385 h 6384"/>
              <a:gd name="csX1" fmla="*/ 49 w 1165"/>
              <a:gd name="csY1" fmla="*/ 0 h 6384"/>
              <a:gd name="csX2" fmla="*/ 1130 w 1165"/>
              <a:gd name="csY2" fmla="*/ 6385 h 638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165" h="6384">
                <a:moveTo>
                  <a:pt x="1130" y="6385"/>
                </a:moveTo>
                <a:cubicBezTo>
                  <a:pt x="260" y="4748"/>
                  <a:pt x="-149" y="2599"/>
                  <a:pt x="49" y="0"/>
                </a:cubicBezTo>
                <a:cubicBezTo>
                  <a:pt x="969" y="1658"/>
                  <a:pt x="1279" y="3765"/>
                  <a:pt x="1130" y="6385"/>
                </a:cubicBezTo>
                <a:close/>
              </a:path>
            </a:pathLst>
          </a:custGeom>
          <a:solidFill>
            <a:srgbClr val="939B9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5" name="Free-form: Shape 164">
            <a:extLst>
              <a:ext uri="{FF2B5EF4-FFF2-40B4-BE49-F238E27FC236}">
                <a16:creationId xmlns:a16="http://schemas.microsoft.com/office/drawing/2014/main" id="{F2439568-EEA4-0A46-AB08-FA88893C0ED9}"/>
              </a:ext>
            </a:extLst>
          </p:cNvPr>
          <p:cNvSpPr/>
          <p:nvPr/>
        </p:nvSpPr>
        <p:spPr>
          <a:xfrm>
            <a:off x="4432675" y="5716463"/>
            <a:ext cx="5440" cy="2491"/>
          </a:xfrm>
          <a:custGeom>
            <a:avLst/>
            <a:gdLst>
              <a:gd name="csX0" fmla="*/ 5985 w 5984"/>
              <a:gd name="csY0" fmla="*/ 1832 h 2740"/>
              <a:gd name="csX1" fmla="*/ 0 w 5984"/>
              <a:gd name="csY1" fmla="*/ 2740 h 2740"/>
              <a:gd name="csX2" fmla="*/ 4930 w 5984"/>
              <a:gd name="csY2" fmla="*/ 0 h 2740"/>
              <a:gd name="csX3" fmla="*/ 5985 w 5984"/>
              <a:gd name="csY3" fmla="*/ 1832 h 274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</a:cxnLst>
            <a:rect l="l" t="t" r="r" b="b"/>
            <a:pathLst>
              <a:path w="5984" h="2740">
                <a:moveTo>
                  <a:pt x="5985" y="1832"/>
                </a:moveTo>
                <a:cubicBezTo>
                  <a:pt x="3992" y="2553"/>
                  <a:pt x="1996" y="2646"/>
                  <a:pt x="0" y="2740"/>
                </a:cubicBezTo>
                <a:cubicBezTo>
                  <a:pt x="1398" y="1830"/>
                  <a:pt x="2796" y="920"/>
                  <a:pt x="4930" y="0"/>
                </a:cubicBezTo>
                <a:cubicBezTo>
                  <a:pt x="5772" y="394"/>
                  <a:pt x="5877" y="799"/>
                  <a:pt x="5985" y="1832"/>
                </a:cubicBezTo>
                <a:close/>
              </a:path>
            </a:pathLst>
          </a:custGeom>
          <a:solidFill>
            <a:srgbClr val="8E9395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6" name="Free-form: Shape 165">
            <a:extLst>
              <a:ext uri="{FF2B5EF4-FFF2-40B4-BE49-F238E27FC236}">
                <a16:creationId xmlns:a16="http://schemas.microsoft.com/office/drawing/2014/main" id="{BD1CAD0A-A6E1-3A67-66E5-F56A9493B04D}"/>
              </a:ext>
            </a:extLst>
          </p:cNvPr>
          <p:cNvSpPr/>
          <p:nvPr/>
        </p:nvSpPr>
        <p:spPr>
          <a:xfrm>
            <a:off x="3972788" y="4968578"/>
            <a:ext cx="2645" cy="5625"/>
          </a:xfrm>
          <a:custGeom>
            <a:avLst/>
            <a:gdLst>
              <a:gd name="csX0" fmla="*/ 815 w 2910"/>
              <a:gd name="csY0" fmla="*/ 0 h 6187"/>
              <a:gd name="csX1" fmla="*/ 113 w 2910"/>
              <a:gd name="csY1" fmla="*/ 6187 h 6187"/>
              <a:gd name="csX2" fmla="*/ 815 w 2910"/>
              <a:gd name="csY2" fmla="*/ 0 h 618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2910" h="6187">
                <a:moveTo>
                  <a:pt x="815" y="0"/>
                </a:moveTo>
                <a:cubicBezTo>
                  <a:pt x="4660" y="1891"/>
                  <a:pt x="2480" y="3840"/>
                  <a:pt x="113" y="6187"/>
                </a:cubicBezTo>
                <a:cubicBezTo>
                  <a:pt x="-172" y="4565"/>
                  <a:pt x="89" y="2579"/>
                  <a:pt x="815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7" name="Free-form: Shape 166">
            <a:extLst>
              <a:ext uri="{FF2B5EF4-FFF2-40B4-BE49-F238E27FC236}">
                <a16:creationId xmlns:a16="http://schemas.microsoft.com/office/drawing/2014/main" id="{47470098-8C7B-B25A-24AA-DFFE6D135F44}"/>
              </a:ext>
            </a:extLst>
          </p:cNvPr>
          <p:cNvSpPr/>
          <p:nvPr/>
        </p:nvSpPr>
        <p:spPr>
          <a:xfrm>
            <a:off x="4007203" y="5185152"/>
            <a:ext cx="770" cy="3664"/>
          </a:xfrm>
          <a:custGeom>
            <a:avLst/>
            <a:gdLst>
              <a:gd name="csX0" fmla="*/ 106 w 847"/>
              <a:gd name="csY0" fmla="*/ 0 h 4030"/>
              <a:gd name="csX1" fmla="*/ 732 w 847"/>
              <a:gd name="csY1" fmla="*/ 4031 h 4030"/>
              <a:gd name="csX2" fmla="*/ 106 w 847"/>
              <a:gd name="csY2" fmla="*/ 0 h 403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7" h="4030">
                <a:moveTo>
                  <a:pt x="106" y="0"/>
                </a:moveTo>
                <a:cubicBezTo>
                  <a:pt x="770" y="990"/>
                  <a:pt x="1013" y="2346"/>
                  <a:pt x="732" y="4031"/>
                </a:cubicBezTo>
                <a:cubicBezTo>
                  <a:pt x="34" y="3029"/>
                  <a:pt x="-141" y="1697"/>
                  <a:pt x="106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8" name="Free-form: Shape 167">
            <a:extLst>
              <a:ext uri="{FF2B5EF4-FFF2-40B4-BE49-F238E27FC236}">
                <a16:creationId xmlns:a16="http://schemas.microsoft.com/office/drawing/2014/main" id="{2E62B421-73E2-283F-2FD7-F433C83DCC61}"/>
              </a:ext>
            </a:extLst>
          </p:cNvPr>
          <p:cNvSpPr/>
          <p:nvPr/>
        </p:nvSpPr>
        <p:spPr>
          <a:xfrm>
            <a:off x="4002879" y="5220946"/>
            <a:ext cx="703" cy="3631"/>
          </a:xfrm>
          <a:custGeom>
            <a:avLst/>
            <a:gdLst>
              <a:gd name="csX0" fmla="*/ 195 w 774"/>
              <a:gd name="csY0" fmla="*/ 0 h 3994"/>
              <a:gd name="csX1" fmla="*/ 575 w 774"/>
              <a:gd name="csY1" fmla="*/ 3994 h 3994"/>
              <a:gd name="csX2" fmla="*/ 195 w 774"/>
              <a:gd name="csY2" fmla="*/ 0 h 399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774" h="3994">
                <a:moveTo>
                  <a:pt x="195" y="0"/>
                </a:moveTo>
                <a:cubicBezTo>
                  <a:pt x="794" y="1011"/>
                  <a:pt x="941" y="2348"/>
                  <a:pt x="575" y="3994"/>
                </a:cubicBezTo>
                <a:cubicBezTo>
                  <a:pt x="-44" y="2978"/>
                  <a:pt x="-151" y="1652"/>
                  <a:pt x="195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9" name="Free-form: Shape 168">
            <a:extLst>
              <a:ext uri="{FF2B5EF4-FFF2-40B4-BE49-F238E27FC236}">
                <a16:creationId xmlns:a16="http://schemas.microsoft.com/office/drawing/2014/main" id="{B406FC43-0CA0-5C9E-BE10-340DFBF17108}"/>
              </a:ext>
            </a:extLst>
          </p:cNvPr>
          <p:cNvSpPr/>
          <p:nvPr/>
        </p:nvSpPr>
        <p:spPr>
          <a:xfrm>
            <a:off x="4009456" y="5158342"/>
            <a:ext cx="787" cy="3631"/>
          </a:xfrm>
          <a:custGeom>
            <a:avLst/>
            <a:gdLst>
              <a:gd name="csX0" fmla="*/ 71 w 865"/>
              <a:gd name="csY0" fmla="*/ 0 h 3995"/>
              <a:gd name="csX1" fmla="*/ 783 w 865"/>
              <a:gd name="csY1" fmla="*/ 3996 h 3995"/>
              <a:gd name="csX2" fmla="*/ 71 w 865"/>
              <a:gd name="csY2" fmla="*/ 0 h 399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65" h="3995">
                <a:moveTo>
                  <a:pt x="71" y="0"/>
                </a:moveTo>
                <a:cubicBezTo>
                  <a:pt x="740" y="963"/>
                  <a:pt x="1018" y="2311"/>
                  <a:pt x="783" y="3996"/>
                </a:cubicBezTo>
                <a:cubicBezTo>
                  <a:pt x="73" y="3017"/>
                  <a:pt x="-124" y="1701"/>
                  <a:pt x="71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70" name="Free-form: Shape 169">
            <a:extLst>
              <a:ext uri="{FF2B5EF4-FFF2-40B4-BE49-F238E27FC236}">
                <a16:creationId xmlns:a16="http://schemas.microsoft.com/office/drawing/2014/main" id="{ADD7E7DD-4501-7D52-BFAB-5DAA5D73BDC7}"/>
              </a:ext>
            </a:extLst>
          </p:cNvPr>
          <p:cNvSpPr/>
          <p:nvPr/>
        </p:nvSpPr>
        <p:spPr>
          <a:xfrm>
            <a:off x="4127760" y="5062368"/>
            <a:ext cx="170236" cy="426821"/>
          </a:xfrm>
          <a:custGeom>
            <a:avLst/>
            <a:gdLst>
              <a:gd name="csX0" fmla="*/ 120604 w 187260"/>
              <a:gd name="csY0" fmla="*/ 222968 h 469503"/>
              <a:gd name="csX1" fmla="*/ 187261 w 187260"/>
              <a:gd name="csY1" fmla="*/ 469503 h 469503"/>
              <a:gd name="csX2" fmla="*/ 1253 w 187260"/>
              <a:gd name="csY2" fmla="*/ 466078 h 469503"/>
              <a:gd name="csX3" fmla="*/ 8 w 187260"/>
              <a:gd name="csY3" fmla="*/ 458101 h 469503"/>
              <a:gd name="csX4" fmla="*/ 4383 w 187260"/>
              <a:gd name="csY4" fmla="*/ 351443 h 469503"/>
              <a:gd name="csX5" fmla="*/ 4615 w 187260"/>
              <a:gd name="csY5" fmla="*/ 346536 h 469503"/>
              <a:gd name="csX6" fmla="*/ 7935 w 187260"/>
              <a:gd name="csY6" fmla="*/ 233648 h 469503"/>
              <a:gd name="csX7" fmla="*/ 10461 w 187260"/>
              <a:gd name="csY7" fmla="*/ 128112 h 469503"/>
              <a:gd name="csX8" fmla="*/ 12461 w 187260"/>
              <a:gd name="csY8" fmla="*/ 12750 h 469503"/>
              <a:gd name="csX9" fmla="*/ 13165 w 187260"/>
              <a:gd name="csY9" fmla="*/ 4285 h 469503"/>
              <a:gd name="csX10" fmla="*/ 102327 w 187260"/>
              <a:gd name="csY10" fmla="*/ 0 h 469503"/>
              <a:gd name="csX11" fmla="*/ 106229 w 187260"/>
              <a:gd name="csY11" fmla="*/ 111321 h 469503"/>
              <a:gd name="csX12" fmla="*/ 120604 w 187260"/>
              <a:gd name="csY12" fmla="*/ 222968 h 46950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</a:cxnLst>
            <a:rect l="l" t="t" r="r" b="b"/>
            <a:pathLst>
              <a:path w="187260" h="469503">
                <a:moveTo>
                  <a:pt x="120604" y="222968"/>
                </a:moveTo>
                <a:cubicBezTo>
                  <a:pt x="135383" y="307129"/>
                  <a:pt x="159464" y="387725"/>
                  <a:pt x="187261" y="469503"/>
                </a:cubicBezTo>
                <a:cubicBezTo>
                  <a:pt x="124460" y="468347"/>
                  <a:pt x="63286" y="467220"/>
                  <a:pt x="1253" y="466078"/>
                </a:cubicBezTo>
                <a:cubicBezTo>
                  <a:pt x="818" y="463442"/>
                  <a:pt x="-95" y="460752"/>
                  <a:pt x="8" y="458101"/>
                </a:cubicBezTo>
                <a:cubicBezTo>
                  <a:pt x="1383" y="422545"/>
                  <a:pt x="2900" y="386994"/>
                  <a:pt x="4383" y="351443"/>
                </a:cubicBezTo>
                <a:cubicBezTo>
                  <a:pt x="4451" y="349807"/>
                  <a:pt x="4566" y="348172"/>
                  <a:pt x="4615" y="346536"/>
                </a:cubicBezTo>
                <a:cubicBezTo>
                  <a:pt x="5732" y="308907"/>
                  <a:pt x="6921" y="271280"/>
                  <a:pt x="7935" y="233648"/>
                </a:cubicBezTo>
                <a:cubicBezTo>
                  <a:pt x="8883" y="198472"/>
                  <a:pt x="9752" y="163293"/>
                  <a:pt x="10461" y="128112"/>
                </a:cubicBezTo>
                <a:cubicBezTo>
                  <a:pt x="11237" y="89660"/>
                  <a:pt x="11781" y="51204"/>
                  <a:pt x="12461" y="12750"/>
                </a:cubicBezTo>
                <a:cubicBezTo>
                  <a:pt x="12503" y="10363"/>
                  <a:pt x="12848" y="7981"/>
                  <a:pt x="13165" y="4285"/>
                </a:cubicBezTo>
                <a:cubicBezTo>
                  <a:pt x="42856" y="2858"/>
                  <a:pt x="72082" y="1454"/>
                  <a:pt x="102327" y="0"/>
                </a:cubicBezTo>
                <a:cubicBezTo>
                  <a:pt x="103499" y="37348"/>
                  <a:pt x="103207" y="74470"/>
                  <a:pt x="106229" y="111321"/>
                </a:cubicBezTo>
                <a:cubicBezTo>
                  <a:pt x="109263" y="148326"/>
                  <a:pt x="115599" y="185060"/>
                  <a:pt x="120604" y="222968"/>
                </a:cubicBezTo>
                <a:close/>
              </a:path>
            </a:pathLst>
          </a:custGeom>
          <a:solidFill>
            <a:srgbClr val="FDFDFD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71" name="Free-form: Shape 170">
            <a:extLst>
              <a:ext uri="{FF2B5EF4-FFF2-40B4-BE49-F238E27FC236}">
                <a16:creationId xmlns:a16="http://schemas.microsoft.com/office/drawing/2014/main" id="{672391A5-0161-5140-26C7-FE52AC037CA1}"/>
              </a:ext>
            </a:extLst>
          </p:cNvPr>
          <p:cNvSpPr/>
          <p:nvPr/>
        </p:nvSpPr>
        <p:spPr>
          <a:xfrm>
            <a:off x="4126567" y="5529120"/>
            <a:ext cx="284824" cy="179974"/>
          </a:xfrm>
          <a:custGeom>
            <a:avLst/>
            <a:gdLst>
              <a:gd name="csX0" fmla="*/ 160234 w 313306"/>
              <a:gd name="csY0" fmla="*/ 197876 h 197971"/>
              <a:gd name="csX1" fmla="*/ 544 w 313306"/>
              <a:gd name="csY1" fmla="*/ 197972 h 197971"/>
              <a:gd name="csX2" fmla="*/ 3466 w 313306"/>
              <a:gd name="csY2" fmla="*/ 104326 h 197971"/>
              <a:gd name="csX3" fmla="*/ 0 w 313306"/>
              <a:gd name="csY3" fmla="*/ 10720 h 197971"/>
              <a:gd name="csX4" fmla="*/ 5445 w 313306"/>
              <a:gd name="csY4" fmla="*/ 9282 h 197971"/>
              <a:gd name="csX5" fmla="*/ 71623 w 313306"/>
              <a:gd name="csY5" fmla="*/ 6885 h 197971"/>
              <a:gd name="csX6" fmla="*/ 187887 w 313306"/>
              <a:gd name="csY6" fmla="*/ 233 h 197971"/>
              <a:gd name="csX7" fmla="*/ 215297 w 313306"/>
              <a:gd name="csY7" fmla="*/ 163 h 197971"/>
              <a:gd name="csX8" fmla="*/ 243629 w 313306"/>
              <a:gd name="csY8" fmla="*/ 61389 h 197971"/>
              <a:gd name="csX9" fmla="*/ 270660 w 313306"/>
              <a:gd name="csY9" fmla="*/ 86342 h 197971"/>
              <a:gd name="csX10" fmla="*/ 313142 w 313306"/>
              <a:gd name="csY10" fmla="*/ 170098 h 197971"/>
              <a:gd name="csX11" fmla="*/ 313291 w 313306"/>
              <a:gd name="csY11" fmla="*/ 176231 h 197971"/>
              <a:gd name="csX12" fmla="*/ 312654 w 313306"/>
              <a:gd name="csY12" fmla="*/ 180738 h 197971"/>
              <a:gd name="csX13" fmla="*/ 279655 w 313306"/>
              <a:gd name="csY13" fmla="*/ 186226 h 197971"/>
              <a:gd name="csX14" fmla="*/ 167436 w 313306"/>
              <a:gd name="csY14" fmla="*/ 196805 h 197971"/>
              <a:gd name="csX15" fmla="*/ 160234 w 313306"/>
              <a:gd name="csY15" fmla="*/ 197876 h 19797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</a:cxnLst>
            <a:rect l="l" t="t" r="r" b="b"/>
            <a:pathLst>
              <a:path w="313306" h="197971">
                <a:moveTo>
                  <a:pt x="160234" y="197876"/>
                </a:moveTo>
                <a:cubicBezTo>
                  <a:pt x="106384" y="197972"/>
                  <a:pt x="53682" y="197972"/>
                  <a:pt x="544" y="197972"/>
                </a:cubicBezTo>
                <a:cubicBezTo>
                  <a:pt x="1602" y="166763"/>
                  <a:pt x="3550" y="135542"/>
                  <a:pt x="3466" y="104326"/>
                </a:cubicBezTo>
                <a:cubicBezTo>
                  <a:pt x="3383" y="73323"/>
                  <a:pt x="1255" y="42326"/>
                  <a:pt x="0" y="10720"/>
                </a:cubicBezTo>
                <a:cubicBezTo>
                  <a:pt x="1689" y="10255"/>
                  <a:pt x="3551" y="9355"/>
                  <a:pt x="5445" y="9282"/>
                </a:cubicBezTo>
                <a:cubicBezTo>
                  <a:pt x="27503" y="8435"/>
                  <a:pt x="49582" y="8030"/>
                  <a:pt x="71623" y="6885"/>
                </a:cubicBezTo>
                <a:cubicBezTo>
                  <a:pt x="110388" y="4872"/>
                  <a:pt x="149126" y="2333"/>
                  <a:pt x="187887" y="233"/>
                </a:cubicBezTo>
                <a:cubicBezTo>
                  <a:pt x="196749" y="-247"/>
                  <a:pt x="205660" y="163"/>
                  <a:pt x="215297" y="163"/>
                </a:cubicBezTo>
                <a:cubicBezTo>
                  <a:pt x="215450" y="25550"/>
                  <a:pt x="226120" y="45122"/>
                  <a:pt x="243629" y="61389"/>
                </a:cubicBezTo>
                <a:cubicBezTo>
                  <a:pt x="252615" y="69739"/>
                  <a:pt x="261099" y="78715"/>
                  <a:pt x="270660" y="86342"/>
                </a:cubicBezTo>
                <a:cubicBezTo>
                  <a:pt x="297676" y="107892"/>
                  <a:pt x="310731" y="136225"/>
                  <a:pt x="313142" y="170098"/>
                </a:cubicBezTo>
                <a:cubicBezTo>
                  <a:pt x="313287" y="172136"/>
                  <a:pt x="313335" y="174188"/>
                  <a:pt x="313291" y="176231"/>
                </a:cubicBezTo>
                <a:cubicBezTo>
                  <a:pt x="313265" y="177429"/>
                  <a:pt x="312966" y="178621"/>
                  <a:pt x="312654" y="180738"/>
                </a:cubicBezTo>
                <a:cubicBezTo>
                  <a:pt x="302343" y="185396"/>
                  <a:pt x="290736" y="185049"/>
                  <a:pt x="279655" y="186226"/>
                </a:cubicBezTo>
                <a:cubicBezTo>
                  <a:pt x="242295" y="190193"/>
                  <a:pt x="204847" y="193324"/>
                  <a:pt x="167436" y="196805"/>
                </a:cubicBezTo>
                <a:cubicBezTo>
                  <a:pt x="165405" y="196994"/>
                  <a:pt x="163399" y="197449"/>
                  <a:pt x="160234" y="197876"/>
                </a:cubicBezTo>
                <a:close/>
              </a:path>
            </a:pathLst>
          </a:custGeom>
          <a:solidFill>
            <a:srgbClr val="FDFEFE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72" name="Free-form: Shape 171">
            <a:extLst>
              <a:ext uri="{FF2B5EF4-FFF2-40B4-BE49-F238E27FC236}">
                <a16:creationId xmlns:a16="http://schemas.microsoft.com/office/drawing/2014/main" id="{CA583176-5EDA-742E-BFF6-570CF1ECCBDD}"/>
              </a:ext>
            </a:extLst>
          </p:cNvPr>
          <p:cNvSpPr/>
          <p:nvPr/>
        </p:nvSpPr>
        <p:spPr>
          <a:xfrm>
            <a:off x="4137310" y="4512536"/>
            <a:ext cx="149260" cy="361842"/>
          </a:xfrm>
          <a:custGeom>
            <a:avLst/>
            <a:gdLst>
              <a:gd name="csX0" fmla="*/ 22609 w 164186"/>
              <a:gd name="csY0" fmla="*/ 398026 h 398026"/>
              <a:gd name="csX1" fmla="*/ 16884 w 164186"/>
              <a:gd name="csY1" fmla="*/ 390515 h 398026"/>
              <a:gd name="csX2" fmla="*/ 9661 w 164186"/>
              <a:gd name="csY2" fmla="*/ 328443 h 398026"/>
              <a:gd name="csX3" fmla="*/ 534 w 164186"/>
              <a:gd name="csY3" fmla="*/ 196369 h 398026"/>
              <a:gd name="csX4" fmla="*/ 1243 w 164186"/>
              <a:gd name="csY4" fmla="*/ 82293 h 398026"/>
              <a:gd name="csX5" fmla="*/ 2245 w 164186"/>
              <a:gd name="csY5" fmla="*/ 43023 h 398026"/>
              <a:gd name="csX6" fmla="*/ 4587 w 164186"/>
              <a:gd name="csY6" fmla="*/ 0 h 398026"/>
              <a:gd name="csX7" fmla="*/ 12341 w 164186"/>
              <a:gd name="csY7" fmla="*/ 3872 h 398026"/>
              <a:gd name="csX8" fmla="*/ 85914 w 164186"/>
              <a:gd name="csY8" fmla="*/ 78943 h 398026"/>
              <a:gd name="csX9" fmla="*/ 87893 w 164186"/>
              <a:gd name="csY9" fmla="*/ 99117 h 398026"/>
              <a:gd name="csX10" fmla="*/ 35459 w 164186"/>
              <a:gd name="csY10" fmla="*/ 207346 h 398026"/>
              <a:gd name="csX11" fmla="*/ 32223 w 164186"/>
              <a:gd name="csY11" fmla="*/ 213959 h 398026"/>
              <a:gd name="csX12" fmla="*/ 39509 w 164186"/>
              <a:gd name="csY12" fmla="*/ 242056 h 398026"/>
              <a:gd name="csX13" fmla="*/ 69474 w 164186"/>
              <a:gd name="csY13" fmla="*/ 237019 h 398026"/>
              <a:gd name="csX14" fmla="*/ 89101 w 164186"/>
              <a:gd name="csY14" fmla="*/ 208870 h 398026"/>
              <a:gd name="csX15" fmla="*/ 121716 w 164186"/>
              <a:gd name="csY15" fmla="*/ 158357 h 398026"/>
              <a:gd name="csX16" fmla="*/ 129330 w 164186"/>
              <a:gd name="csY16" fmla="*/ 148165 h 398026"/>
              <a:gd name="csX17" fmla="*/ 137171 w 164186"/>
              <a:gd name="csY17" fmla="*/ 159989 h 398026"/>
              <a:gd name="csX18" fmla="*/ 163812 w 164186"/>
              <a:gd name="csY18" fmla="*/ 273175 h 398026"/>
              <a:gd name="csX19" fmla="*/ 118151 w 164186"/>
              <a:gd name="csY19" fmla="*/ 383442 h 398026"/>
              <a:gd name="csX20" fmla="*/ 92325 w 164186"/>
              <a:gd name="csY20" fmla="*/ 395173 h 398026"/>
              <a:gd name="csX21" fmla="*/ 22609 w 164186"/>
              <a:gd name="csY21" fmla="*/ 398026 h 39802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</a:cxnLst>
            <a:rect l="l" t="t" r="r" b="b"/>
            <a:pathLst>
              <a:path w="164186" h="398026">
                <a:moveTo>
                  <a:pt x="22609" y="398026"/>
                </a:moveTo>
                <a:cubicBezTo>
                  <a:pt x="19898" y="395489"/>
                  <a:pt x="17229" y="393154"/>
                  <a:pt x="16884" y="390515"/>
                </a:cubicBezTo>
                <a:cubicBezTo>
                  <a:pt x="14183" y="369861"/>
                  <a:pt x="11326" y="349196"/>
                  <a:pt x="9661" y="328443"/>
                </a:cubicBezTo>
                <a:cubicBezTo>
                  <a:pt x="6132" y="284452"/>
                  <a:pt x="2125" y="240448"/>
                  <a:pt x="534" y="196369"/>
                </a:cubicBezTo>
                <a:cubicBezTo>
                  <a:pt x="-837" y="158401"/>
                  <a:pt x="816" y="120322"/>
                  <a:pt x="1243" y="82293"/>
                </a:cubicBezTo>
                <a:cubicBezTo>
                  <a:pt x="1389" y="69201"/>
                  <a:pt x="1708" y="56105"/>
                  <a:pt x="2245" y="43023"/>
                </a:cubicBezTo>
                <a:cubicBezTo>
                  <a:pt x="2815" y="29160"/>
                  <a:pt x="3738" y="15312"/>
                  <a:pt x="4587" y="0"/>
                </a:cubicBezTo>
                <a:cubicBezTo>
                  <a:pt x="7809" y="1586"/>
                  <a:pt x="10279" y="2436"/>
                  <a:pt x="12341" y="3872"/>
                </a:cubicBezTo>
                <a:cubicBezTo>
                  <a:pt x="41601" y="24248"/>
                  <a:pt x="64069" y="51269"/>
                  <a:pt x="85914" y="78943"/>
                </a:cubicBezTo>
                <a:cubicBezTo>
                  <a:pt x="91106" y="85520"/>
                  <a:pt x="91706" y="91406"/>
                  <a:pt x="87893" y="99117"/>
                </a:cubicBezTo>
                <a:cubicBezTo>
                  <a:pt x="70127" y="135051"/>
                  <a:pt x="52890" y="171246"/>
                  <a:pt x="35459" y="207346"/>
                </a:cubicBezTo>
                <a:cubicBezTo>
                  <a:pt x="34391" y="209557"/>
                  <a:pt x="33130" y="211686"/>
                  <a:pt x="32223" y="213959"/>
                </a:cubicBezTo>
                <a:cubicBezTo>
                  <a:pt x="27471" y="225873"/>
                  <a:pt x="30154" y="236086"/>
                  <a:pt x="39509" y="242056"/>
                </a:cubicBezTo>
                <a:cubicBezTo>
                  <a:pt x="48880" y="248038"/>
                  <a:pt x="61705" y="246477"/>
                  <a:pt x="69474" y="237019"/>
                </a:cubicBezTo>
                <a:cubicBezTo>
                  <a:pt x="76712" y="228205"/>
                  <a:pt x="82824" y="218436"/>
                  <a:pt x="89101" y="208870"/>
                </a:cubicBezTo>
                <a:cubicBezTo>
                  <a:pt x="100096" y="192114"/>
                  <a:pt x="110806" y="175170"/>
                  <a:pt x="121716" y="158357"/>
                </a:cubicBezTo>
                <a:cubicBezTo>
                  <a:pt x="123679" y="155333"/>
                  <a:pt x="126029" y="152559"/>
                  <a:pt x="129330" y="148165"/>
                </a:cubicBezTo>
                <a:cubicBezTo>
                  <a:pt x="132450" y="152828"/>
                  <a:pt x="135175" y="156216"/>
                  <a:pt x="137171" y="159989"/>
                </a:cubicBezTo>
                <a:cubicBezTo>
                  <a:pt x="155891" y="195388"/>
                  <a:pt x="166343" y="232905"/>
                  <a:pt x="163812" y="273175"/>
                </a:cubicBezTo>
                <a:cubicBezTo>
                  <a:pt x="161183" y="314982"/>
                  <a:pt x="144984" y="351430"/>
                  <a:pt x="118151" y="383442"/>
                </a:cubicBezTo>
                <a:cubicBezTo>
                  <a:pt x="111214" y="391718"/>
                  <a:pt x="102452" y="394716"/>
                  <a:pt x="92325" y="395173"/>
                </a:cubicBezTo>
                <a:cubicBezTo>
                  <a:pt x="69461" y="396207"/>
                  <a:pt x="46593" y="397123"/>
                  <a:pt x="22609" y="398026"/>
                </a:cubicBezTo>
                <a:close/>
              </a:path>
            </a:pathLst>
          </a:custGeom>
          <a:solidFill>
            <a:srgbClr val="FCFDFD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73" name="Free-form: Shape 172">
            <a:extLst>
              <a:ext uri="{FF2B5EF4-FFF2-40B4-BE49-F238E27FC236}">
                <a16:creationId xmlns:a16="http://schemas.microsoft.com/office/drawing/2014/main" id="{B84D491B-22DF-C43D-C0AE-CBBD0537957F}"/>
              </a:ext>
            </a:extLst>
          </p:cNvPr>
          <p:cNvSpPr/>
          <p:nvPr/>
        </p:nvSpPr>
        <p:spPr>
          <a:xfrm>
            <a:off x="4123203" y="5738327"/>
            <a:ext cx="305850" cy="64961"/>
          </a:xfrm>
          <a:custGeom>
            <a:avLst/>
            <a:gdLst>
              <a:gd name="csX0" fmla="*/ 105937 w 336434"/>
              <a:gd name="csY0" fmla="*/ 71458 h 71457"/>
              <a:gd name="csX1" fmla="*/ 3534 w 336434"/>
              <a:gd name="csY1" fmla="*/ 69115 h 71457"/>
              <a:gd name="csX2" fmla="*/ 1296 w 336434"/>
              <a:gd name="csY2" fmla="*/ 17910 h 71457"/>
              <a:gd name="csX3" fmla="*/ 14032 w 336434"/>
              <a:gd name="csY3" fmla="*/ 17908 h 71457"/>
              <a:gd name="csX4" fmla="*/ 102444 w 336434"/>
              <a:gd name="csY4" fmla="*/ 17433 h 71457"/>
              <a:gd name="csX5" fmla="*/ 284561 w 336434"/>
              <a:gd name="csY5" fmla="*/ 3564 h 71457"/>
              <a:gd name="csX6" fmla="*/ 311323 w 336434"/>
              <a:gd name="csY6" fmla="*/ 224 h 71457"/>
              <a:gd name="csX7" fmla="*/ 324313 w 336434"/>
              <a:gd name="csY7" fmla="*/ 6639 h 71457"/>
              <a:gd name="csX8" fmla="*/ 336434 w 336434"/>
              <a:gd name="csY8" fmla="*/ 46484 h 71457"/>
              <a:gd name="csX9" fmla="*/ 105937 w 336434"/>
              <a:gd name="csY9" fmla="*/ 71458 h 7145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336434" h="71457">
                <a:moveTo>
                  <a:pt x="105937" y="71458"/>
                </a:moveTo>
                <a:cubicBezTo>
                  <a:pt x="70820" y="70678"/>
                  <a:pt x="36930" y="69891"/>
                  <a:pt x="3534" y="69115"/>
                </a:cubicBezTo>
                <a:cubicBezTo>
                  <a:pt x="-81" y="59433"/>
                  <a:pt x="-1094" y="35337"/>
                  <a:pt x="1296" y="17910"/>
                </a:cubicBezTo>
                <a:cubicBezTo>
                  <a:pt x="5366" y="17910"/>
                  <a:pt x="9699" y="17923"/>
                  <a:pt x="14032" y="17908"/>
                </a:cubicBezTo>
                <a:cubicBezTo>
                  <a:pt x="43505" y="17812"/>
                  <a:pt x="73011" y="18557"/>
                  <a:pt x="102444" y="17433"/>
                </a:cubicBezTo>
                <a:cubicBezTo>
                  <a:pt x="163306" y="15109"/>
                  <a:pt x="224166" y="12264"/>
                  <a:pt x="284561" y="3564"/>
                </a:cubicBezTo>
                <a:cubicBezTo>
                  <a:pt x="293458" y="2283"/>
                  <a:pt x="302438" y="1575"/>
                  <a:pt x="311323" y="224"/>
                </a:cubicBezTo>
                <a:cubicBezTo>
                  <a:pt x="317371" y="-696"/>
                  <a:pt x="321247" y="1177"/>
                  <a:pt x="324313" y="6639"/>
                </a:cubicBezTo>
                <a:cubicBezTo>
                  <a:pt x="330512" y="17683"/>
                  <a:pt x="335236" y="31679"/>
                  <a:pt x="336434" y="46484"/>
                </a:cubicBezTo>
                <a:cubicBezTo>
                  <a:pt x="261124" y="64059"/>
                  <a:pt x="184356" y="69587"/>
                  <a:pt x="105937" y="71458"/>
                </a:cubicBezTo>
                <a:close/>
              </a:path>
            </a:pathLst>
          </a:custGeom>
          <a:solidFill>
            <a:srgbClr val="FCFCFC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74" name="Free-form: Shape 173">
            <a:extLst>
              <a:ext uri="{FF2B5EF4-FFF2-40B4-BE49-F238E27FC236}">
                <a16:creationId xmlns:a16="http://schemas.microsoft.com/office/drawing/2014/main" id="{5D0047C9-9FBE-07DF-F0FD-63F018027831}"/>
              </a:ext>
            </a:extLst>
          </p:cNvPr>
          <p:cNvSpPr/>
          <p:nvPr/>
        </p:nvSpPr>
        <p:spPr>
          <a:xfrm>
            <a:off x="4136760" y="4907603"/>
            <a:ext cx="120683" cy="63097"/>
          </a:xfrm>
          <a:custGeom>
            <a:avLst/>
            <a:gdLst>
              <a:gd name="csX0" fmla="*/ 5051 w 132751"/>
              <a:gd name="csY0" fmla="*/ 7534 h 69406"/>
              <a:gd name="csX1" fmla="*/ 10615 w 132751"/>
              <a:gd name="csY1" fmla="*/ 3077 h 69406"/>
              <a:gd name="csX2" fmla="*/ 26541 w 132751"/>
              <a:gd name="csY2" fmla="*/ 2752 h 69406"/>
              <a:gd name="csX3" fmla="*/ 87728 w 132751"/>
              <a:gd name="csY3" fmla="*/ 89 h 69406"/>
              <a:gd name="csX4" fmla="*/ 101400 w 132751"/>
              <a:gd name="csY4" fmla="*/ 62 h 69406"/>
              <a:gd name="csX5" fmla="*/ 102924 w 132751"/>
              <a:gd name="csY5" fmla="*/ 4800 h 69406"/>
              <a:gd name="csX6" fmla="*/ 121469 w 132751"/>
              <a:gd name="csY6" fmla="*/ 43062 h 69406"/>
              <a:gd name="csX7" fmla="*/ 132751 w 132751"/>
              <a:gd name="csY7" fmla="*/ 65240 h 69406"/>
              <a:gd name="csX8" fmla="*/ 0 w 132751"/>
              <a:gd name="csY8" fmla="*/ 69406 h 69406"/>
              <a:gd name="csX9" fmla="*/ 5051 w 132751"/>
              <a:gd name="csY9" fmla="*/ 7534 h 6940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132751" h="69406">
                <a:moveTo>
                  <a:pt x="5051" y="7534"/>
                </a:moveTo>
                <a:cubicBezTo>
                  <a:pt x="6880" y="5272"/>
                  <a:pt x="8659" y="3268"/>
                  <a:pt x="10615" y="3077"/>
                </a:cubicBezTo>
                <a:cubicBezTo>
                  <a:pt x="15884" y="2564"/>
                  <a:pt x="21234" y="2972"/>
                  <a:pt x="26541" y="2752"/>
                </a:cubicBezTo>
                <a:cubicBezTo>
                  <a:pt x="46938" y="1911"/>
                  <a:pt x="67330" y="933"/>
                  <a:pt x="87728" y="89"/>
                </a:cubicBezTo>
                <a:cubicBezTo>
                  <a:pt x="92161" y="-94"/>
                  <a:pt x="96609" y="62"/>
                  <a:pt x="101400" y="62"/>
                </a:cubicBezTo>
                <a:cubicBezTo>
                  <a:pt x="101991" y="1827"/>
                  <a:pt x="102885" y="3302"/>
                  <a:pt x="102924" y="4800"/>
                </a:cubicBezTo>
                <a:cubicBezTo>
                  <a:pt x="103334" y="20376"/>
                  <a:pt x="108815" y="33165"/>
                  <a:pt x="121469" y="43062"/>
                </a:cubicBezTo>
                <a:cubicBezTo>
                  <a:pt x="127809" y="48021"/>
                  <a:pt x="132509" y="54869"/>
                  <a:pt x="132751" y="65240"/>
                </a:cubicBezTo>
                <a:cubicBezTo>
                  <a:pt x="88663" y="66624"/>
                  <a:pt x="45259" y="67986"/>
                  <a:pt x="0" y="69406"/>
                </a:cubicBezTo>
                <a:cubicBezTo>
                  <a:pt x="6474" y="48167"/>
                  <a:pt x="10658" y="28665"/>
                  <a:pt x="5051" y="7534"/>
                </a:cubicBezTo>
                <a:close/>
              </a:path>
            </a:pathLst>
          </a:custGeom>
          <a:solidFill>
            <a:srgbClr val="FBFCFB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75" name="Free-form: Shape 174">
            <a:extLst>
              <a:ext uri="{FF2B5EF4-FFF2-40B4-BE49-F238E27FC236}">
                <a16:creationId xmlns:a16="http://schemas.microsoft.com/office/drawing/2014/main" id="{953278F5-B27C-BA36-7757-E35F03A74786}"/>
              </a:ext>
            </a:extLst>
          </p:cNvPr>
          <p:cNvSpPr/>
          <p:nvPr/>
        </p:nvSpPr>
        <p:spPr>
          <a:xfrm>
            <a:off x="4146397" y="4997217"/>
            <a:ext cx="150878" cy="35402"/>
          </a:xfrm>
          <a:custGeom>
            <a:avLst/>
            <a:gdLst>
              <a:gd name="csX0" fmla="*/ 80894 w 165965"/>
              <a:gd name="csY0" fmla="*/ 440 h 38942"/>
              <a:gd name="csX1" fmla="*/ 128629 w 165965"/>
              <a:gd name="csY1" fmla="*/ 5 h 38942"/>
              <a:gd name="csX2" fmla="*/ 155177 w 165965"/>
              <a:gd name="csY2" fmla="*/ 8091 h 38942"/>
              <a:gd name="csX3" fmla="*/ 164213 w 165965"/>
              <a:gd name="csY3" fmla="*/ 17723 h 38942"/>
              <a:gd name="csX4" fmla="*/ 159998 w 165965"/>
              <a:gd name="csY4" fmla="*/ 30717 h 38942"/>
              <a:gd name="csX5" fmla="*/ 146998 w 165965"/>
              <a:gd name="csY5" fmla="*/ 33737 h 38942"/>
              <a:gd name="csX6" fmla="*/ 12439 w 165965"/>
              <a:gd name="csY6" fmla="*/ 38914 h 38942"/>
              <a:gd name="csX7" fmla="*/ 0 w 165965"/>
              <a:gd name="csY7" fmla="*/ 38402 h 38942"/>
              <a:gd name="csX8" fmla="*/ 0 w 165965"/>
              <a:gd name="csY8" fmla="*/ 4598 h 38942"/>
              <a:gd name="csX9" fmla="*/ 80894 w 165965"/>
              <a:gd name="csY9" fmla="*/ 440 h 3894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165965" h="38942">
                <a:moveTo>
                  <a:pt x="80894" y="440"/>
                </a:moveTo>
                <a:cubicBezTo>
                  <a:pt x="97591" y="288"/>
                  <a:pt x="113111" y="227"/>
                  <a:pt x="128629" y="5"/>
                </a:cubicBezTo>
                <a:cubicBezTo>
                  <a:pt x="138376" y="-135"/>
                  <a:pt x="147226" y="2891"/>
                  <a:pt x="155177" y="8091"/>
                </a:cubicBezTo>
                <a:cubicBezTo>
                  <a:pt x="158779" y="10447"/>
                  <a:pt x="161992" y="14009"/>
                  <a:pt x="164213" y="17723"/>
                </a:cubicBezTo>
                <a:cubicBezTo>
                  <a:pt x="167602" y="23390"/>
                  <a:pt x="166013" y="28134"/>
                  <a:pt x="159998" y="30717"/>
                </a:cubicBezTo>
                <a:cubicBezTo>
                  <a:pt x="155963" y="32450"/>
                  <a:pt x="151384" y="33554"/>
                  <a:pt x="146998" y="33737"/>
                </a:cubicBezTo>
                <a:cubicBezTo>
                  <a:pt x="102152" y="35619"/>
                  <a:pt x="57295" y="37279"/>
                  <a:pt x="12439" y="38914"/>
                </a:cubicBezTo>
                <a:cubicBezTo>
                  <a:pt x="8467" y="39059"/>
                  <a:pt x="4472" y="38602"/>
                  <a:pt x="0" y="38402"/>
                </a:cubicBezTo>
                <a:cubicBezTo>
                  <a:pt x="0" y="27166"/>
                  <a:pt x="0" y="16774"/>
                  <a:pt x="0" y="4598"/>
                </a:cubicBezTo>
                <a:cubicBezTo>
                  <a:pt x="27063" y="3194"/>
                  <a:pt x="53389" y="1829"/>
                  <a:pt x="80894" y="440"/>
                </a:cubicBezTo>
                <a:close/>
              </a:path>
            </a:pathLst>
          </a:custGeom>
          <a:solidFill>
            <a:srgbClr val="FBFCFB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76" name="Free-form: Shape 175">
            <a:extLst>
              <a:ext uri="{FF2B5EF4-FFF2-40B4-BE49-F238E27FC236}">
                <a16:creationId xmlns:a16="http://schemas.microsoft.com/office/drawing/2014/main" id="{1A39ADC7-6F02-9671-1B76-1CD3B82A8DB6}"/>
              </a:ext>
            </a:extLst>
          </p:cNvPr>
          <p:cNvSpPr/>
          <p:nvPr/>
        </p:nvSpPr>
        <p:spPr>
          <a:xfrm>
            <a:off x="4130248" y="4436393"/>
            <a:ext cx="39402" cy="42156"/>
          </a:xfrm>
          <a:custGeom>
            <a:avLst/>
            <a:gdLst>
              <a:gd name="csX0" fmla="*/ 40602 w 43343"/>
              <a:gd name="csY0" fmla="*/ 12465 h 46372"/>
              <a:gd name="csX1" fmla="*/ 43214 w 43343"/>
              <a:gd name="csY1" fmla="*/ 21324 h 46372"/>
              <a:gd name="csX2" fmla="*/ 23859 w 43343"/>
              <a:gd name="csY2" fmla="*/ 46319 h 46372"/>
              <a:gd name="csX3" fmla="*/ 5 w 43343"/>
              <a:gd name="csY3" fmla="*/ 23820 h 46372"/>
              <a:gd name="csX4" fmla="*/ 4855 w 43343"/>
              <a:gd name="csY4" fmla="*/ 5679 h 46372"/>
              <a:gd name="csX5" fmla="*/ 40602 w 43343"/>
              <a:gd name="csY5" fmla="*/ 12465 h 4637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</a:cxnLst>
            <a:rect l="l" t="t" r="r" b="b"/>
            <a:pathLst>
              <a:path w="43343" h="46372">
                <a:moveTo>
                  <a:pt x="40602" y="12465"/>
                </a:moveTo>
                <a:cubicBezTo>
                  <a:pt x="41913" y="15811"/>
                  <a:pt x="42933" y="18530"/>
                  <a:pt x="43214" y="21324"/>
                </a:cubicBezTo>
                <a:cubicBezTo>
                  <a:pt x="44519" y="34348"/>
                  <a:pt x="35870" y="45401"/>
                  <a:pt x="23859" y="46319"/>
                </a:cubicBezTo>
                <a:cubicBezTo>
                  <a:pt x="11890" y="47233"/>
                  <a:pt x="-280" y="36371"/>
                  <a:pt x="5" y="23820"/>
                </a:cubicBezTo>
                <a:cubicBezTo>
                  <a:pt x="136" y="18011"/>
                  <a:pt x="2893" y="12263"/>
                  <a:pt x="4855" y="5679"/>
                </a:cubicBezTo>
                <a:cubicBezTo>
                  <a:pt x="20601" y="-3403"/>
                  <a:pt x="28004" y="-1910"/>
                  <a:pt x="40602" y="12465"/>
                </a:cubicBezTo>
                <a:close/>
              </a:path>
            </a:pathLst>
          </a:custGeom>
          <a:solidFill>
            <a:srgbClr val="FBFCFB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77" name="Oval 176">
            <a:extLst>
              <a:ext uri="{FF2B5EF4-FFF2-40B4-BE49-F238E27FC236}">
                <a16:creationId xmlns:a16="http://schemas.microsoft.com/office/drawing/2014/main" id="{C41A9C58-4100-740E-8655-134B96F6CC98}"/>
              </a:ext>
            </a:extLst>
          </p:cNvPr>
          <p:cNvSpPr/>
          <p:nvPr/>
        </p:nvSpPr>
        <p:spPr>
          <a:xfrm>
            <a:off x="7268607" y="5721700"/>
            <a:ext cx="739960" cy="152189"/>
          </a:xfrm>
          <a:prstGeom prst="ellipse">
            <a:avLst/>
          </a:prstGeom>
          <a:solidFill>
            <a:schemeClr val="tx1">
              <a:alpha val="6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78" name="Free-form: Shape 177">
            <a:extLst>
              <a:ext uri="{FF2B5EF4-FFF2-40B4-BE49-F238E27FC236}">
                <a16:creationId xmlns:a16="http://schemas.microsoft.com/office/drawing/2014/main" id="{D5052E01-0C89-B850-503F-D9AF138B99D9}"/>
              </a:ext>
            </a:extLst>
          </p:cNvPr>
          <p:cNvSpPr/>
          <p:nvPr/>
        </p:nvSpPr>
        <p:spPr>
          <a:xfrm>
            <a:off x="7348570" y="4420123"/>
            <a:ext cx="650203" cy="1414846"/>
          </a:xfrm>
          <a:custGeom>
            <a:avLst/>
            <a:gdLst>
              <a:gd name="csX0" fmla="*/ 466852 w 715223"/>
              <a:gd name="csY0" fmla="*/ 229083 h 1556330"/>
              <a:gd name="csX1" fmla="*/ 462328 w 715223"/>
              <a:gd name="csY1" fmla="*/ 242604 h 1556330"/>
              <a:gd name="csX2" fmla="*/ 496944 w 715223"/>
              <a:gd name="csY2" fmla="*/ 204739 h 1556330"/>
              <a:gd name="csX3" fmla="*/ 534359 w 715223"/>
              <a:gd name="csY3" fmla="*/ 270960 h 1556330"/>
              <a:gd name="csX4" fmla="*/ 540589 w 715223"/>
              <a:gd name="csY4" fmla="*/ 445986 h 1556330"/>
              <a:gd name="csX5" fmla="*/ 509727 w 715223"/>
              <a:gd name="csY5" fmla="*/ 496924 h 1556330"/>
              <a:gd name="csX6" fmla="*/ 505366 w 715223"/>
              <a:gd name="csY6" fmla="*/ 511893 h 1556330"/>
              <a:gd name="csX7" fmla="*/ 501982 w 715223"/>
              <a:gd name="csY7" fmla="*/ 530377 h 1556330"/>
              <a:gd name="csX8" fmla="*/ 505678 w 715223"/>
              <a:gd name="csY8" fmla="*/ 556455 h 1556330"/>
              <a:gd name="csX9" fmla="*/ 526115 w 715223"/>
              <a:gd name="csY9" fmla="*/ 591784 h 1556330"/>
              <a:gd name="csX10" fmla="*/ 541579 w 715223"/>
              <a:gd name="csY10" fmla="*/ 612264 h 1556330"/>
              <a:gd name="csX11" fmla="*/ 569572 w 715223"/>
              <a:gd name="csY11" fmla="*/ 643441 h 1556330"/>
              <a:gd name="csX12" fmla="*/ 555234 w 715223"/>
              <a:gd name="csY12" fmla="*/ 688473 h 1556330"/>
              <a:gd name="csX13" fmla="*/ 513278 w 715223"/>
              <a:gd name="csY13" fmla="*/ 700556 h 1556330"/>
              <a:gd name="csX14" fmla="*/ 488559 w 715223"/>
              <a:gd name="csY14" fmla="*/ 702821 h 1556330"/>
              <a:gd name="csX15" fmla="*/ 488544 w 715223"/>
              <a:gd name="csY15" fmla="*/ 718085 h 1556330"/>
              <a:gd name="csX16" fmla="*/ 526561 w 715223"/>
              <a:gd name="csY16" fmla="*/ 1010212 h 1556330"/>
              <a:gd name="csX17" fmla="*/ 569986 w 715223"/>
              <a:gd name="csY17" fmla="*/ 1153317 h 1556330"/>
              <a:gd name="csX18" fmla="*/ 587389 w 715223"/>
              <a:gd name="csY18" fmla="*/ 1172173 h 1556330"/>
              <a:gd name="csX19" fmla="*/ 606286 w 715223"/>
              <a:gd name="csY19" fmla="*/ 1180891 h 1556330"/>
              <a:gd name="csX20" fmla="*/ 613400 w 715223"/>
              <a:gd name="csY20" fmla="*/ 1204260 h 1556330"/>
              <a:gd name="csX21" fmla="*/ 605350 w 715223"/>
              <a:gd name="csY21" fmla="*/ 1216760 h 1556330"/>
              <a:gd name="csX22" fmla="*/ 600268 w 715223"/>
              <a:gd name="csY22" fmla="*/ 1220273 h 1556330"/>
              <a:gd name="csX23" fmla="*/ 610574 w 715223"/>
              <a:gd name="csY23" fmla="*/ 1258750 h 1556330"/>
              <a:gd name="csX24" fmla="*/ 672371 w 715223"/>
              <a:gd name="csY24" fmla="*/ 1319810 h 1556330"/>
              <a:gd name="csX25" fmla="*/ 675494 w 715223"/>
              <a:gd name="csY25" fmla="*/ 1323366 h 1556330"/>
              <a:gd name="csX26" fmla="*/ 692949 w 715223"/>
              <a:gd name="csY26" fmla="*/ 1396068 h 1556330"/>
              <a:gd name="csX27" fmla="*/ 690628 w 715223"/>
              <a:gd name="csY27" fmla="*/ 1414117 h 1556330"/>
              <a:gd name="csX28" fmla="*/ 695588 w 715223"/>
              <a:gd name="csY28" fmla="*/ 1421035 h 1556330"/>
              <a:gd name="csX29" fmla="*/ 694353 w 715223"/>
              <a:gd name="csY29" fmla="*/ 1425190 h 1556330"/>
              <a:gd name="csX30" fmla="*/ 689106 w 715223"/>
              <a:gd name="csY30" fmla="*/ 1428714 h 1556330"/>
              <a:gd name="csX31" fmla="*/ 695093 w 715223"/>
              <a:gd name="csY31" fmla="*/ 1428433 h 1556330"/>
              <a:gd name="csX32" fmla="*/ 697643 w 715223"/>
              <a:gd name="csY32" fmla="*/ 1432864 h 1556330"/>
              <a:gd name="csX33" fmla="*/ 698207 w 715223"/>
              <a:gd name="csY33" fmla="*/ 1441988 h 1556330"/>
              <a:gd name="csX34" fmla="*/ 715183 w 715223"/>
              <a:gd name="csY34" fmla="*/ 1508752 h 1556330"/>
              <a:gd name="csX35" fmla="*/ 701540 w 715223"/>
              <a:gd name="csY35" fmla="*/ 1526524 h 1556330"/>
              <a:gd name="csX36" fmla="*/ 581715 w 715223"/>
              <a:gd name="csY36" fmla="*/ 1548559 h 1556330"/>
              <a:gd name="csX37" fmla="*/ 522168 w 715223"/>
              <a:gd name="csY37" fmla="*/ 1553543 h 1556330"/>
              <a:gd name="csX38" fmla="*/ 450008 w 715223"/>
              <a:gd name="csY38" fmla="*/ 1556019 h 1556330"/>
              <a:gd name="csX39" fmla="*/ 245169 w 715223"/>
              <a:gd name="csY39" fmla="*/ 1553749 h 1556330"/>
              <a:gd name="csX40" fmla="*/ 221854 w 715223"/>
              <a:gd name="csY40" fmla="*/ 1553306 h 1556330"/>
              <a:gd name="csX41" fmla="*/ 168405 w 715223"/>
              <a:gd name="csY41" fmla="*/ 1548828 h 1556330"/>
              <a:gd name="csX42" fmla="*/ 126970 w 715223"/>
              <a:gd name="csY42" fmla="*/ 1546091 h 1556330"/>
              <a:gd name="csX43" fmla="*/ 104053 w 715223"/>
              <a:gd name="csY43" fmla="*/ 1542912 h 1556330"/>
              <a:gd name="csX44" fmla="*/ 65625 w 715223"/>
              <a:gd name="csY44" fmla="*/ 1536401 h 1556330"/>
              <a:gd name="csX45" fmla="*/ 10909 w 715223"/>
              <a:gd name="csY45" fmla="*/ 1524010 h 1556330"/>
              <a:gd name="csX46" fmla="*/ 8 w 715223"/>
              <a:gd name="csY46" fmla="*/ 1509263 h 1556330"/>
              <a:gd name="csX47" fmla="*/ 21158 w 715223"/>
              <a:gd name="csY47" fmla="*/ 1433611 h 1556330"/>
              <a:gd name="csX48" fmla="*/ 23462 w 715223"/>
              <a:gd name="csY48" fmla="*/ 1418658 h 1556330"/>
              <a:gd name="csX49" fmla="*/ 19643 w 715223"/>
              <a:gd name="csY49" fmla="*/ 1382324 h 1556330"/>
              <a:gd name="csX50" fmla="*/ 49060 w 715223"/>
              <a:gd name="csY50" fmla="*/ 1311832 h 1556330"/>
              <a:gd name="csX51" fmla="*/ 109176 w 715223"/>
              <a:gd name="csY51" fmla="*/ 1254078 h 1556330"/>
              <a:gd name="csX52" fmla="*/ 118319 w 715223"/>
              <a:gd name="csY52" fmla="*/ 1214801 h 1556330"/>
              <a:gd name="csX53" fmla="*/ 113082 w 715223"/>
              <a:gd name="csY53" fmla="*/ 1201084 h 1556330"/>
              <a:gd name="csX54" fmla="*/ 120417 w 715223"/>
              <a:gd name="csY54" fmla="*/ 1183950 h 1556330"/>
              <a:gd name="csX55" fmla="*/ 135209 w 715223"/>
              <a:gd name="csY55" fmla="*/ 1178138 h 1556330"/>
              <a:gd name="csX56" fmla="*/ 156535 w 715223"/>
              <a:gd name="csY56" fmla="*/ 1156396 h 1556330"/>
              <a:gd name="csX57" fmla="*/ 185647 w 715223"/>
              <a:gd name="csY57" fmla="*/ 1061682 h 1556330"/>
              <a:gd name="csX58" fmla="*/ 201074 w 715223"/>
              <a:gd name="csY58" fmla="*/ 1005093 h 1556330"/>
              <a:gd name="csX59" fmla="*/ 213864 w 715223"/>
              <a:gd name="csY59" fmla="*/ 943040 h 1556330"/>
              <a:gd name="csX60" fmla="*/ 223580 w 715223"/>
              <a:gd name="csY60" fmla="*/ 884167 h 1556330"/>
              <a:gd name="csX61" fmla="*/ 228827 w 715223"/>
              <a:gd name="csY61" fmla="*/ 839382 h 1556330"/>
              <a:gd name="csX62" fmla="*/ 233251 w 715223"/>
              <a:gd name="csY62" fmla="*/ 794539 h 1556330"/>
              <a:gd name="csX63" fmla="*/ 233413 w 715223"/>
              <a:gd name="csY63" fmla="*/ 708554 h 1556330"/>
              <a:gd name="csX64" fmla="*/ 232253 w 715223"/>
              <a:gd name="csY64" fmla="*/ 699181 h 1556330"/>
              <a:gd name="csX65" fmla="*/ 192775 w 715223"/>
              <a:gd name="csY65" fmla="*/ 693131 h 1556330"/>
              <a:gd name="csX66" fmla="*/ 166222 w 715223"/>
              <a:gd name="csY66" fmla="*/ 684229 h 1556330"/>
              <a:gd name="csX67" fmla="*/ 153485 w 715223"/>
              <a:gd name="csY67" fmla="*/ 649704 h 1556330"/>
              <a:gd name="csX68" fmla="*/ 179302 w 715223"/>
              <a:gd name="csY68" fmla="*/ 621006 h 1556330"/>
              <a:gd name="csX69" fmla="*/ 192182 w 715223"/>
              <a:gd name="csY69" fmla="*/ 601675 h 1556330"/>
              <a:gd name="csX70" fmla="*/ 204894 w 715223"/>
              <a:gd name="csY70" fmla="*/ 583417 h 1556330"/>
              <a:gd name="csX71" fmla="*/ 233213 w 715223"/>
              <a:gd name="csY71" fmla="*/ 564393 h 1556330"/>
              <a:gd name="csX72" fmla="*/ 229725 w 715223"/>
              <a:gd name="csY72" fmla="*/ 538177 h 1556330"/>
              <a:gd name="csX73" fmla="*/ 218771 w 715223"/>
              <a:gd name="csY73" fmla="*/ 532633 h 1556330"/>
              <a:gd name="csX74" fmla="*/ 215183 w 715223"/>
              <a:gd name="csY74" fmla="*/ 521568 h 1556330"/>
              <a:gd name="csX75" fmla="*/ 223368 w 715223"/>
              <a:gd name="csY75" fmla="*/ 508901 h 1556330"/>
              <a:gd name="csX76" fmla="*/ 218372 w 715223"/>
              <a:gd name="csY76" fmla="*/ 498135 h 1556330"/>
              <a:gd name="csX77" fmla="*/ 181440 w 715223"/>
              <a:gd name="csY77" fmla="*/ 432308 h 1556330"/>
              <a:gd name="csX78" fmla="*/ 167535 w 715223"/>
              <a:gd name="csY78" fmla="*/ 349841 h 1556330"/>
              <a:gd name="csX79" fmla="*/ 193488 w 715223"/>
              <a:gd name="csY79" fmla="*/ 262518 h 1556330"/>
              <a:gd name="csX80" fmla="*/ 237748 w 715223"/>
              <a:gd name="csY80" fmla="*/ 190690 h 1556330"/>
              <a:gd name="csX81" fmla="*/ 309459 w 715223"/>
              <a:gd name="csY81" fmla="*/ 102623 h 1556330"/>
              <a:gd name="csX82" fmla="*/ 310459 w 715223"/>
              <a:gd name="csY82" fmla="*/ 78521 h 1556330"/>
              <a:gd name="csX83" fmla="*/ 300267 w 715223"/>
              <a:gd name="csY83" fmla="*/ 57856 h 1556330"/>
              <a:gd name="csX84" fmla="*/ 332242 w 715223"/>
              <a:gd name="csY84" fmla="*/ 4422 h 1556330"/>
              <a:gd name="csX85" fmla="*/ 384904 w 715223"/>
              <a:gd name="csY85" fmla="*/ 5551 h 1556330"/>
              <a:gd name="csX86" fmla="*/ 409773 w 715223"/>
              <a:gd name="csY86" fmla="*/ 26778 h 1556330"/>
              <a:gd name="csX87" fmla="*/ 407026 w 715223"/>
              <a:gd name="csY87" fmla="*/ 46052 h 1556330"/>
              <a:gd name="csX88" fmla="*/ 402771 w 715223"/>
              <a:gd name="csY88" fmla="*/ 30951 h 1556330"/>
              <a:gd name="csX89" fmla="*/ 397038 w 715223"/>
              <a:gd name="csY89" fmla="*/ 30361 h 1556330"/>
              <a:gd name="csX90" fmla="*/ 360694 w 715223"/>
              <a:gd name="csY90" fmla="*/ 22760 h 1556330"/>
              <a:gd name="csX91" fmla="*/ 351669 w 715223"/>
              <a:gd name="csY91" fmla="*/ 31736 h 1556330"/>
              <a:gd name="csX92" fmla="*/ 351426 w 715223"/>
              <a:gd name="csY92" fmla="*/ 43987 h 1556330"/>
              <a:gd name="csX93" fmla="*/ 390968 w 715223"/>
              <a:gd name="csY93" fmla="*/ 68762 h 1556330"/>
              <a:gd name="csX94" fmla="*/ 401770 w 715223"/>
              <a:gd name="csY94" fmla="*/ 59025 h 1556330"/>
              <a:gd name="csX95" fmla="*/ 409619 w 715223"/>
              <a:gd name="csY95" fmla="*/ 55786 h 1556330"/>
              <a:gd name="csX96" fmla="*/ 410427 w 715223"/>
              <a:gd name="csY96" fmla="*/ 64256 h 1556330"/>
              <a:gd name="csX97" fmla="*/ 399453 w 715223"/>
              <a:gd name="csY97" fmla="*/ 81811 h 1556330"/>
              <a:gd name="csX98" fmla="*/ 399346 w 715223"/>
              <a:gd name="csY98" fmla="*/ 98083 h 1556330"/>
              <a:gd name="csX99" fmla="*/ 471592 w 715223"/>
              <a:gd name="csY99" fmla="*/ 180524 h 1556330"/>
              <a:gd name="csX100" fmla="*/ 473550 w 715223"/>
              <a:gd name="csY100" fmla="*/ 200923 h 1556330"/>
              <a:gd name="csX101" fmla="*/ 463677 w 715223"/>
              <a:gd name="csY101" fmla="*/ 223311 h 1556330"/>
              <a:gd name="csX102" fmla="*/ 466852 w 715223"/>
              <a:gd name="csY102" fmla="*/ 229083 h 1556330"/>
              <a:gd name="csX103" fmla="*/ 474186 w 715223"/>
              <a:gd name="csY103" fmla="*/ 928382 h 1556330"/>
              <a:gd name="csX104" fmla="*/ 459927 w 715223"/>
              <a:gd name="csY104" fmla="*/ 817790 h 1556330"/>
              <a:gd name="csX105" fmla="*/ 456025 w 715223"/>
              <a:gd name="csY105" fmla="*/ 706469 h 1556330"/>
              <a:gd name="csX106" fmla="*/ 366863 w 715223"/>
              <a:gd name="csY106" fmla="*/ 710754 h 1556330"/>
              <a:gd name="csX107" fmla="*/ 366159 w 715223"/>
              <a:gd name="csY107" fmla="*/ 719219 h 1556330"/>
              <a:gd name="csX108" fmla="*/ 364159 w 715223"/>
              <a:gd name="csY108" fmla="*/ 834581 h 1556330"/>
              <a:gd name="csX109" fmla="*/ 361633 w 715223"/>
              <a:gd name="csY109" fmla="*/ 940117 h 1556330"/>
              <a:gd name="csX110" fmla="*/ 358313 w 715223"/>
              <a:gd name="csY110" fmla="*/ 1053005 h 1556330"/>
              <a:gd name="csX111" fmla="*/ 358081 w 715223"/>
              <a:gd name="csY111" fmla="*/ 1057912 h 1556330"/>
              <a:gd name="csX112" fmla="*/ 353706 w 715223"/>
              <a:gd name="csY112" fmla="*/ 1164570 h 1556330"/>
              <a:gd name="csX113" fmla="*/ 354951 w 715223"/>
              <a:gd name="csY113" fmla="*/ 1172547 h 1556330"/>
              <a:gd name="csX114" fmla="*/ 540959 w 715223"/>
              <a:gd name="csY114" fmla="*/ 1175972 h 1556330"/>
              <a:gd name="csX115" fmla="*/ 474186 w 715223"/>
              <a:gd name="csY115" fmla="*/ 928382 h 1556330"/>
              <a:gd name="csX116" fmla="*/ 513768 w 715223"/>
              <a:gd name="csY116" fmla="*/ 1417676 h 1556330"/>
              <a:gd name="csX117" fmla="*/ 519822 w 715223"/>
              <a:gd name="csY117" fmla="*/ 1416700 h 1556330"/>
              <a:gd name="csX118" fmla="*/ 632041 w 715223"/>
              <a:gd name="csY118" fmla="*/ 1406122 h 1556330"/>
              <a:gd name="csX119" fmla="*/ 665040 w 715223"/>
              <a:gd name="csY119" fmla="*/ 1400634 h 1556330"/>
              <a:gd name="csX120" fmla="*/ 665677 w 715223"/>
              <a:gd name="csY120" fmla="*/ 1396126 h 1556330"/>
              <a:gd name="csX121" fmla="*/ 665529 w 715223"/>
              <a:gd name="csY121" fmla="*/ 1389994 h 1556330"/>
              <a:gd name="csX122" fmla="*/ 623046 w 715223"/>
              <a:gd name="csY122" fmla="*/ 1306238 h 1556330"/>
              <a:gd name="csX123" fmla="*/ 596015 w 715223"/>
              <a:gd name="csY123" fmla="*/ 1281285 h 1556330"/>
              <a:gd name="csX124" fmla="*/ 567683 w 715223"/>
              <a:gd name="csY124" fmla="*/ 1220059 h 1556330"/>
              <a:gd name="csX125" fmla="*/ 540273 w 715223"/>
              <a:gd name="csY125" fmla="*/ 1220129 h 1556330"/>
              <a:gd name="csX126" fmla="*/ 424010 w 715223"/>
              <a:gd name="csY126" fmla="*/ 1226781 h 1556330"/>
              <a:gd name="csX127" fmla="*/ 357832 w 715223"/>
              <a:gd name="csY127" fmla="*/ 1229178 h 1556330"/>
              <a:gd name="csX128" fmla="*/ 352386 w 715223"/>
              <a:gd name="csY128" fmla="*/ 1230616 h 1556330"/>
              <a:gd name="csX129" fmla="*/ 355852 w 715223"/>
              <a:gd name="csY129" fmla="*/ 1324222 h 1556330"/>
              <a:gd name="csX130" fmla="*/ 352930 w 715223"/>
              <a:gd name="csY130" fmla="*/ 1417867 h 1556330"/>
              <a:gd name="csX131" fmla="*/ 513768 w 715223"/>
              <a:gd name="csY131" fmla="*/ 1417676 h 1556330"/>
              <a:gd name="csX132" fmla="*/ 387930 w 715223"/>
              <a:gd name="csY132" fmla="*/ 499741 h 1556330"/>
              <a:gd name="csX133" fmla="*/ 456529 w 715223"/>
              <a:gd name="csY133" fmla="*/ 496826 h 1556330"/>
              <a:gd name="csX134" fmla="*/ 482355 w 715223"/>
              <a:gd name="csY134" fmla="*/ 485095 h 1556330"/>
              <a:gd name="csX135" fmla="*/ 528016 w 715223"/>
              <a:gd name="csY135" fmla="*/ 374829 h 1556330"/>
              <a:gd name="csX136" fmla="*/ 501375 w 715223"/>
              <a:gd name="csY136" fmla="*/ 261643 h 1556330"/>
              <a:gd name="csX137" fmla="*/ 493534 w 715223"/>
              <a:gd name="csY137" fmla="*/ 249818 h 1556330"/>
              <a:gd name="csX138" fmla="*/ 485920 w 715223"/>
              <a:gd name="csY138" fmla="*/ 260010 h 1556330"/>
              <a:gd name="csX139" fmla="*/ 453305 w 715223"/>
              <a:gd name="csY139" fmla="*/ 310523 h 1556330"/>
              <a:gd name="csX140" fmla="*/ 433678 w 715223"/>
              <a:gd name="csY140" fmla="*/ 338672 h 1556330"/>
              <a:gd name="csX141" fmla="*/ 403713 w 715223"/>
              <a:gd name="csY141" fmla="*/ 343710 h 1556330"/>
              <a:gd name="csX142" fmla="*/ 396427 w 715223"/>
              <a:gd name="csY142" fmla="*/ 315612 h 1556330"/>
              <a:gd name="csX143" fmla="*/ 399663 w 715223"/>
              <a:gd name="csY143" fmla="*/ 309000 h 1556330"/>
              <a:gd name="csX144" fmla="*/ 452097 w 715223"/>
              <a:gd name="csY144" fmla="*/ 200770 h 1556330"/>
              <a:gd name="csX145" fmla="*/ 450118 w 715223"/>
              <a:gd name="csY145" fmla="*/ 180596 h 1556330"/>
              <a:gd name="csX146" fmla="*/ 376545 w 715223"/>
              <a:gd name="csY146" fmla="*/ 105525 h 1556330"/>
              <a:gd name="csX147" fmla="*/ 368791 w 715223"/>
              <a:gd name="csY147" fmla="*/ 101653 h 1556330"/>
              <a:gd name="csX148" fmla="*/ 366449 w 715223"/>
              <a:gd name="csY148" fmla="*/ 144676 h 1556330"/>
              <a:gd name="csX149" fmla="*/ 365447 w 715223"/>
              <a:gd name="csY149" fmla="*/ 183946 h 1556330"/>
              <a:gd name="csX150" fmla="*/ 364738 w 715223"/>
              <a:gd name="csY150" fmla="*/ 298022 h 1556330"/>
              <a:gd name="csX151" fmla="*/ 373865 w 715223"/>
              <a:gd name="csY151" fmla="*/ 430096 h 1556330"/>
              <a:gd name="csX152" fmla="*/ 381088 w 715223"/>
              <a:gd name="csY152" fmla="*/ 492169 h 1556330"/>
              <a:gd name="csX153" fmla="*/ 387930 w 715223"/>
              <a:gd name="csY153" fmla="*/ 499741 h 1556330"/>
              <a:gd name="csX154" fmla="*/ 455850 w 715223"/>
              <a:gd name="csY154" fmla="*/ 1521476 h 1556330"/>
              <a:gd name="csX155" fmla="*/ 685121 w 715223"/>
              <a:gd name="csY155" fmla="*/ 1496509 h 1556330"/>
              <a:gd name="csX156" fmla="*/ 672999 w 715223"/>
              <a:gd name="csY156" fmla="*/ 1456665 h 1556330"/>
              <a:gd name="csX157" fmla="*/ 660009 w 715223"/>
              <a:gd name="csY157" fmla="*/ 1450249 h 1556330"/>
              <a:gd name="csX158" fmla="*/ 633248 w 715223"/>
              <a:gd name="csY158" fmla="*/ 1453589 h 1556330"/>
              <a:gd name="csX159" fmla="*/ 451131 w 715223"/>
              <a:gd name="csY159" fmla="*/ 1467458 h 1556330"/>
              <a:gd name="csX160" fmla="*/ 362719 w 715223"/>
              <a:gd name="csY160" fmla="*/ 1467934 h 1556330"/>
              <a:gd name="csX161" fmla="*/ 349983 w 715223"/>
              <a:gd name="csY161" fmla="*/ 1467936 h 1556330"/>
              <a:gd name="csX162" fmla="*/ 352220 w 715223"/>
              <a:gd name="csY162" fmla="*/ 1519140 h 1556330"/>
              <a:gd name="csX163" fmla="*/ 455850 w 715223"/>
              <a:gd name="csY163" fmla="*/ 1521476 h 1556330"/>
              <a:gd name="csX164" fmla="*/ 368682 w 715223"/>
              <a:gd name="csY164" fmla="*/ 544846 h 1556330"/>
              <a:gd name="csX165" fmla="*/ 363600 w 715223"/>
              <a:gd name="csY165" fmla="*/ 605633 h 1556330"/>
              <a:gd name="csX166" fmla="*/ 496351 w 715223"/>
              <a:gd name="csY166" fmla="*/ 601466 h 1556330"/>
              <a:gd name="csX167" fmla="*/ 485068 w 715223"/>
              <a:gd name="csY167" fmla="*/ 579288 h 1556330"/>
              <a:gd name="csX168" fmla="*/ 466524 w 715223"/>
              <a:gd name="csY168" fmla="*/ 541026 h 1556330"/>
              <a:gd name="csX169" fmla="*/ 465000 w 715223"/>
              <a:gd name="csY169" fmla="*/ 536289 h 1556330"/>
              <a:gd name="csX170" fmla="*/ 451328 w 715223"/>
              <a:gd name="csY170" fmla="*/ 536316 h 1556330"/>
              <a:gd name="csX171" fmla="*/ 390140 w 715223"/>
              <a:gd name="csY171" fmla="*/ 538979 h 1556330"/>
              <a:gd name="csX172" fmla="*/ 374215 w 715223"/>
              <a:gd name="csY172" fmla="*/ 539303 h 1556330"/>
              <a:gd name="csX173" fmla="*/ 368682 w 715223"/>
              <a:gd name="csY173" fmla="*/ 544846 h 1556330"/>
              <a:gd name="csX174" fmla="*/ 453915 w 715223"/>
              <a:gd name="csY174" fmla="*/ 635267 h 1556330"/>
              <a:gd name="csX175" fmla="*/ 374200 w 715223"/>
              <a:gd name="csY175" fmla="*/ 639402 h 1556330"/>
              <a:gd name="csX176" fmla="*/ 374200 w 715223"/>
              <a:gd name="csY176" fmla="*/ 673206 h 1556330"/>
              <a:gd name="csX177" fmla="*/ 386639 w 715223"/>
              <a:gd name="csY177" fmla="*/ 673718 h 1556330"/>
              <a:gd name="csX178" fmla="*/ 521198 w 715223"/>
              <a:gd name="csY178" fmla="*/ 668541 h 1556330"/>
              <a:gd name="csX179" fmla="*/ 534198 w 715223"/>
              <a:gd name="csY179" fmla="*/ 665521 h 1556330"/>
              <a:gd name="csX180" fmla="*/ 538413 w 715223"/>
              <a:gd name="csY180" fmla="*/ 652526 h 1556330"/>
              <a:gd name="csX181" fmla="*/ 529377 w 715223"/>
              <a:gd name="csY181" fmla="*/ 642895 h 1556330"/>
              <a:gd name="csX182" fmla="*/ 502829 w 715223"/>
              <a:gd name="csY182" fmla="*/ 634808 h 1556330"/>
              <a:gd name="csX183" fmla="*/ 453915 w 715223"/>
              <a:gd name="csY183" fmla="*/ 635267 h 155633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  <a:cxn ang="0">
                <a:pos x="csX170" y="csY170"/>
              </a:cxn>
              <a:cxn ang="0">
                <a:pos x="csX171" y="csY171"/>
              </a:cxn>
              <a:cxn ang="0">
                <a:pos x="csX172" y="csY172"/>
              </a:cxn>
              <a:cxn ang="0">
                <a:pos x="csX173" y="csY173"/>
              </a:cxn>
              <a:cxn ang="0">
                <a:pos x="csX174" y="csY174"/>
              </a:cxn>
              <a:cxn ang="0">
                <a:pos x="csX175" y="csY175"/>
              </a:cxn>
              <a:cxn ang="0">
                <a:pos x="csX176" y="csY176"/>
              </a:cxn>
              <a:cxn ang="0">
                <a:pos x="csX177" y="csY177"/>
              </a:cxn>
              <a:cxn ang="0">
                <a:pos x="csX178" y="csY178"/>
              </a:cxn>
              <a:cxn ang="0">
                <a:pos x="csX179" y="csY179"/>
              </a:cxn>
              <a:cxn ang="0">
                <a:pos x="csX180" y="csY180"/>
              </a:cxn>
              <a:cxn ang="0">
                <a:pos x="csX181" y="csY181"/>
              </a:cxn>
              <a:cxn ang="0">
                <a:pos x="csX182" y="csY182"/>
              </a:cxn>
              <a:cxn ang="0">
                <a:pos x="csX183" y="csY183"/>
              </a:cxn>
            </a:cxnLst>
            <a:rect l="l" t="t" r="r" b="b"/>
            <a:pathLst>
              <a:path w="715223" h="1556330">
                <a:moveTo>
                  <a:pt x="466852" y="229083"/>
                </a:moveTo>
                <a:cubicBezTo>
                  <a:pt x="465344" y="233590"/>
                  <a:pt x="463836" y="238097"/>
                  <a:pt x="462328" y="242604"/>
                </a:cubicBezTo>
                <a:cubicBezTo>
                  <a:pt x="476604" y="232528"/>
                  <a:pt x="484219" y="216936"/>
                  <a:pt x="496944" y="204739"/>
                </a:cubicBezTo>
                <a:cubicBezTo>
                  <a:pt x="511903" y="225901"/>
                  <a:pt x="524807" y="247414"/>
                  <a:pt x="534359" y="270960"/>
                </a:cubicBezTo>
                <a:cubicBezTo>
                  <a:pt x="557740" y="328591"/>
                  <a:pt x="560223" y="386926"/>
                  <a:pt x="540589" y="445986"/>
                </a:cubicBezTo>
                <a:cubicBezTo>
                  <a:pt x="534197" y="465215"/>
                  <a:pt x="524450" y="482672"/>
                  <a:pt x="509727" y="496924"/>
                </a:cubicBezTo>
                <a:cubicBezTo>
                  <a:pt x="505277" y="501232"/>
                  <a:pt x="502734" y="505157"/>
                  <a:pt x="505366" y="511893"/>
                </a:cubicBezTo>
                <a:cubicBezTo>
                  <a:pt x="507828" y="518196"/>
                  <a:pt x="505953" y="524402"/>
                  <a:pt x="501982" y="530377"/>
                </a:cubicBezTo>
                <a:cubicBezTo>
                  <a:pt x="495613" y="539961"/>
                  <a:pt x="496865" y="548901"/>
                  <a:pt x="505678" y="556455"/>
                </a:cubicBezTo>
                <a:cubicBezTo>
                  <a:pt x="516748" y="565943"/>
                  <a:pt x="523694" y="577557"/>
                  <a:pt x="526115" y="591784"/>
                </a:cubicBezTo>
                <a:cubicBezTo>
                  <a:pt x="527758" y="601445"/>
                  <a:pt x="532593" y="608029"/>
                  <a:pt x="541579" y="612264"/>
                </a:cubicBezTo>
                <a:cubicBezTo>
                  <a:pt x="555150" y="618662"/>
                  <a:pt x="564081" y="629523"/>
                  <a:pt x="569572" y="643441"/>
                </a:cubicBezTo>
                <a:cubicBezTo>
                  <a:pt x="576413" y="660776"/>
                  <a:pt x="570996" y="678245"/>
                  <a:pt x="555234" y="688473"/>
                </a:cubicBezTo>
                <a:cubicBezTo>
                  <a:pt x="542486" y="696746"/>
                  <a:pt x="528127" y="699474"/>
                  <a:pt x="513278" y="700556"/>
                </a:cubicBezTo>
                <a:cubicBezTo>
                  <a:pt x="505590" y="701115"/>
                  <a:pt x="497922" y="701952"/>
                  <a:pt x="488559" y="702821"/>
                </a:cubicBezTo>
                <a:cubicBezTo>
                  <a:pt x="488559" y="708552"/>
                  <a:pt x="488653" y="713320"/>
                  <a:pt x="488544" y="718085"/>
                </a:cubicBezTo>
                <a:cubicBezTo>
                  <a:pt x="486284" y="817406"/>
                  <a:pt x="502313" y="914319"/>
                  <a:pt x="526561" y="1010212"/>
                </a:cubicBezTo>
                <a:cubicBezTo>
                  <a:pt x="538799" y="1058612"/>
                  <a:pt x="553050" y="1106345"/>
                  <a:pt x="569986" y="1153317"/>
                </a:cubicBezTo>
                <a:cubicBezTo>
                  <a:pt x="573328" y="1162590"/>
                  <a:pt x="578279" y="1168740"/>
                  <a:pt x="587389" y="1172173"/>
                </a:cubicBezTo>
                <a:cubicBezTo>
                  <a:pt x="593869" y="1174616"/>
                  <a:pt x="600289" y="1177449"/>
                  <a:pt x="606286" y="1180891"/>
                </a:cubicBezTo>
                <a:cubicBezTo>
                  <a:pt x="617185" y="1187146"/>
                  <a:pt x="618776" y="1192931"/>
                  <a:pt x="613400" y="1204260"/>
                </a:cubicBezTo>
                <a:cubicBezTo>
                  <a:pt x="611475" y="1208315"/>
                  <a:pt x="609140" y="1212177"/>
                  <a:pt x="605350" y="1216760"/>
                </a:cubicBezTo>
                <a:cubicBezTo>
                  <a:pt x="602514" y="1218347"/>
                  <a:pt x="600399" y="1219189"/>
                  <a:pt x="600268" y="1220273"/>
                </a:cubicBezTo>
                <a:cubicBezTo>
                  <a:pt x="598551" y="1234430"/>
                  <a:pt x="599473" y="1247881"/>
                  <a:pt x="610574" y="1258750"/>
                </a:cubicBezTo>
                <a:cubicBezTo>
                  <a:pt x="631265" y="1279009"/>
                  <a:pt x="651790" y="1299438"/>
                  <a:pt x="672371" y="1319810"/>
                </a:cubicBezTo>
                <a:cubicBezTo>
                  <a:pt x="673495" y="1320922"/>
                  <a:pt x="674892" y="1321987"/>
                  <a:pt x="675494" y="1323366"/>
                </a:cubicBezTo>
                <a:cubicBezTo>
                  <a:pt x="685626" y="1346558"/>
                  <a:pt x="694775" y="1370031"/>
                  <a:pt x="692949" y="1396068"/>
                </a:cubicBezTo>
                <a:cubicBezTo>
                  <a:pt x="692525" y="1402108"/>
                  <a:pt x="691276" y="1408087"/>
                  <a:pt x="690628" y="1414117"/>
                </a:cubicBezTo>
                <a:cubicBezTo>
                  <a:pt x="690241" y="1417713"/>
                  <a:pt x="691290" y="1420628"/>
                  <a:pt x="695588" y="1421035"/>
                </a:cubicBezTo>
                <a:cubicBezTo>
                  <a:pt x="695527" y="1422155"/>
                  <a:pt x="695467" y="1423274"/>
                  <a:pt x="694353" y="1425190"/>
                </a:cubicBezTo>
                <a:cubicBezTo>
                  <a:pt x="691901" y="1426894"/>
                  <a:pt x="690503" y="1427804"/>
                  <a:pt x="689106" y="1428714"/>
                </a:cubicBezTo>
                <a:cubicBezTo>
                  <a:pt x="691101" y="1428620"/>
                  <a:pt x="693098" y="1428527"/>
                  <a:pt x="695093" y="1428433"/>
                </a:cubicBezTo>
                <a:cubicBezTo>
                  <a:pt x="695976" y="1429430"/>
                  <a:pt x="696859" y="1430427"/>
                  <a:pt x="697643" y="1432864"/>
                </a:cubicBezTo>
                <a:cubicBezTo>
                  <a:pt x="697724" y="1436887"/>
                  <a:pt x="697087" y="1439912"/>
                  <a:pt x="698207" y="1441988"/>
                </a:cubicBezTo>
                <a:cubicBezTo>
                  <a:pt x="709464" y="1462853"/>
                  <a:pt x="715798" y="1484864"/>
                  <a:pt x="715183" y="1508752"/>
                </a:cubicBezTo>
                <a:cubicBezTo>
                  <a:pt x="714863" y="1521166"/>
                  <a:pt x="713458" y="1523372"/>
                  <a:pt x="701540" y="1526524"/>
                </a:cubicBezTo>
                <a:cubicBezTo>
                  <a:pt x="662165" y="1536936"/>
                  <a:pt x="622006" y="1543243"/>
                  <a:pt x="581715" y="1548559"/>
                </a:cubicBezTo>
                <a:cubicBezTo>
                  <a:pt x="561988" y="1551162"/>
                  <a:pt x="542052" y="1552457"/>
                  <a:pt x="522168" y="1553543"/>
                </a:cubicBezTo>
                <a:cubicBezTo>
                  <a:pt x="498138" y="1554856"/>
                  <a:pt x="474063" y="1556013"/>
                  <a:pt x="450008" y="1556019"/>
                </a:cubicBezTo>
                <a:cubicBezTo>
                  <a:pt x="381724" y="1556035"/>
                  <a:pt x="313415" y="1557550"/>
                  <a:pt x="245169" y="1553749"/>
                </a:cubicBezTo>
                <a:cubicBezTo>
                  <a:pt x="237413" y="1553317"/>
                  <a:pt x="229596" y="1553867"/>
                  <a:pt x="221854" y="1553306"/>
                </a:cubicBezTo>
                <a:cubicBezTo>
                  <a:pt x="204023" y="1552015"/>
                  <a:pt x="186231" y="1550202"/>
                  <a:pt x="168405" y="1548828"/>
                </a:cubicBezTo>
                <a:cubicBezTo>
                  <a:pt x="154605" y="1547764"/>
                  <a:pt x="140762" y="1547242"/>
                  <a:pt x="126970" y="1546091"/>
                </a:cubicBezTo>
                <a:cubicBezTo>
                  <a:pt x="119295" y="1545451"/>
                  <a:pt x="111668" y="1544132"/>
                  <a:pt x="104053" y="1542912"/>
                </a:cubicBezTo>
                <a:cubicBezTo>
                  <a:pt x="91223" y="1540858"/>
                  <a:pt x="78344" y="1539011"/>
                  <a:pt x="65625" y="1536401"/>
                </a:cubicBezTo>
                <a:cubicBezTo>
                  <a:pt x="47307" y="1532642"/>
                  <a:pt x="29006" y="1528694"/>
                  <a:pt x="10909" y="1524010"/>
                </a:cubicBezTo>
                <a:cubicBezTo>
                  <a:pt x="744" y="1521379"/>
                  <a:pt x="119" y="1519620"/>
                  <a:pt x="8" y="1509263"/>
                </a:cubicBezTo>
                <a:cubicBezTo>
                  <a:pt x="-283" y="1482004"/>
                  <a:pt x="7525" y="1456906"/>
                  <a:pt x="21158" y="1433611"/>
                </a:cubicBezTo>
                <a:cubicBezTo>
                  <a:pt x="24128" y="1428537"/>
                  <a:pt x="25100" y="1424162"/>
                  <a:pt x="23462" y="1418658"/>
                </a:cubicBezTo>
                <a:cubicBezTo>
                  <a:pt x="19938" y="1406814"/>
                  <a:pt x="19145" y="1394638"/>
                  <a:pt x="19643" y="1382324"/>
                </a:cubicBezTo>
                <a:cubicBezTo>
                  <a:pt x="20741" y="1355171"/>
                  <a:pt x="29461" y="1331114"/>
                  <a:pt x="49060" y="1311832"/>
                </a:cubicBezTo>
                <a:cubicBezTo>
                  <a:pt x="68866" y="1292344"/>
                  <a:pt x="89102" y="1273294"/>
                  <a:pt x="109176" y="1254078"/>
                </a:cubicBezTo>
                <a:cubicBezTo>
                  <a:pt x="120788" y="1242961"/>
                  <a:pt x="123122" y="1229673"/>
                  <a:pt x="118319" y="1214801"/>
                </a:cubicBezTo>
                <a:cubicBezTo>
                  <a:pt x="116817" y="1210150"/>
                  <a:pt x="114697" y="1205702"/>
                  <a:pt x="113082" y="1201084"/>
                </a:cubicBezTo>
                <a:cubicBezTo>
                  <a:pt x="109606" y="1191147"/>
                  <a:pt x="110855" y="1188189"/>
                  <a:pt x="120417" y="1183950"/>
                </a:cubicBezTo>
                <a:cubicBezTo>
                  <a:pt x="125262" y="1181801"/>
                  <a:pt x="130109" y="1179394"/>
                  <a:pt x="135209" y="1178138"/>
                </a:cubicBezTo>
                <a:cubicBezTo>
                  <a:pt x="146972" y="1175241"/>
                  <a:pt x="153194" y="1166910"/>
                  <a:pt x="156535" y="1156396"/>
                </a:cubicBezTo>
                <a:cubicBezTo>
                  <a:pt x="166535" y="1124919"/>
                  <a:pt x="176229" y="1093339"/>
                  <a:pt x="185647" y="1061682"/>
                </a:cubicBezTo>
                <a:cubicBezTo>
                  <a:pt x="191222" y="1042945"/>
                  <a:pt x="196570" y="1024108"/>
                  <a:pt x="201074" y="1005093"/>
                </a:cubicBezTo>
                <a:cubicBezTo>
                  <a:pt x="205941" y="984550"/>
                  <a:pt x="210000" y="963801"/>
                  <a:pt x="213864" y="943040"/>
                </a:cubicBezTo>
                <a:cubicBezTo>
                  <a:pt x="217503" y="923489"/>
                  <a:pt x="220701" y="903846"/>
                  <a:pt x="223580" y="884167"/>
                </a:cubicBezTo>
                <a:cubicBezTo>
                  <a:pt x="225754" y="869301"/>
                  <a:pt x="227195" y="854324"/>
                  <a:pt x="228827" y="839382"/>
                </a:cubicBezTo>
                <a:cubicBezTo>
                  <a:pt x="230459" y="824446"/>
                  <a:pt x="232880" y="809515"/>
                  <a:pt x="233251" y="794539"/>
                </a:cubicBezTo>
                <a:cubicBezTo>
                  <a:pt x="233961" y="765893"/>
                  <a:pt x="233499" y="737217"/>
                  <a:pt x="233413" y="708554"/>
                </a:cubicBezTo>
                <a:cubicBezTo>
                  <a:pt x="233404" y="705465"/>
                  <a:pt x="232667" y="702378"/>
                  <a:pt x="232253" y="699181"/>
                </a:cubicBezTo>
                <a:cubicBezTo>
                  <a:pt x="218443" y="697138"/>
                  <a:pt x="205461" y="695831"/>
                  <a:pt x="192775" y="693131"/>
                </a:cubicBezTo>
                <a:cubicBezTo>
                  <a:pt x="183686" y="691197"/>
                  <a:pt x="174549" y="688305"/>
                  <a:pt x="166222" y="684229"/>
                </a:cubicBezTo>
                <a:cubicBezTo>
                  <a:pt x="151266" y="676909"/>
                  <a:pt x="147247" y="664789"/>
                  <a:pt x="153485" y="649704"/>
                </a:cubicBezTo>
                <a:cubicBezTo>
                  <a:pt x="158693" y="637111"/>
                  <a:pt x="168160" y="628190"/>
                  <a:pt x="179302" y="621006"/>
                </a:cubicBezTo>
                <a:cubicBezTo>
                  <a:pt x="186548" y="616334"/>
                  <a:pt x="191317" y="611105"/>
                  <a:pt x="192182" y="601675"/>
                </a:cubicBezTo>
                <a:cubicBezTo>
                  <a:pt x="192878" y="594094"/>
                  <a:pt x="197099" y="587626"/>
                  <a:pt x="204894" y="583417"/>
                </a:cubicBezTo>
                <a:cubicBezTo>
                  <a:pt x="214873" y="578030"/>
                  <a:pt x="224643" y="571774"/>
                  <a:pt x="233213" y="564393"/>
                </a:cubicBezTo>
                <a:cubicBezTo>
                  <a:pt x="242623" y="556289"/>
                  <a:pt x="240441" y="544193"/>
                  <a:pt x="229725" y="538177"/>
                </a:cubicBezTo>
                <a:cubicBezTo>
                  <a:pt x="226159" y="536176"/>
                  <a:pt x="222483" y="534351"/>
                  <a:pt x="218771" y="532633"/>
                </a:cubicBezTo>
                <a:cubicBezTo>
                  <a:pt x="213503" y="530196"/>
                  <a:pt x="212651" y="526226"/>
                  <a:pt x="215183" y="521568"/>
                </a:cubicBezTo>
                <a:cubicBezTo>
                  <a:pt x="217485" y="517332"/>
                  <a:pt x="220405" y="513432"/>
                  <a:pt x="223368" y="508901"/>
                </a:cubicBezTo>
                <a:cubicBezTo>
                  <a:pt x="221781" y="505376"/>
                  <a:pt x="220809" y="501165"/>
                  <a:pt x="218372" y="498135"/>
                </a:cubicBezTo>
                <a:cubicBezTo>
                  <a:pt x="202366" y="478231"/>
                  <a:pt x="190774" y="455961"/>
                  <a:pt x="181440" y="432308"/>
                </a:cubicBezTo>
                <a:cubicBezTo>
                  <a:pt x="170959" y="405748"/>
                  <a:pt x="164933" y="378186"/>
                  <a:pt x="167535" y="349841"/>
                </a:cubicBezTo>
                <a:cubicBezTo>
                  <a:pt x="170341" y="319265"/>
                  <a:pt x="179208" y="289917"/>
                  <a:pt x="193488" y="262518"/>
                </a:cubicBezTo>
                <a:cubicBezTo>
                  <a:pt x="206512" y="237529"/>
                  <a:pt x="220831" y="213359"/>
                  <a:pt x="237748" y="190690"/>
                </a:cubicBezTo>
                <a:cubicBezTo>
                  <a:pt x="260421" y="160310"/>
                  <a:pt x="282602" y="129592"/>
                  <a:pt x="309459" y="102623"/>
                </a:cubicBezTo>
                <a:cubicBezTo>
                  <a:pt x="316627" y="95424"/>
                  <a:pt x="316261" y="87541"/>
                  <a:pt x="310459" y="78521"/>
                </a:cubicBezTo>
                <a:cubicBezTo>
                  <a:pt x="306309" y="72071"/>
                  <a:pt x="301695" y="65150"/>
                  <a:pt x="300267" y="57856"/>
                </a:cubicBezTo>
                <a:cubicBezTo>
                  <a:pt x="295286" y="32423"/>
                  <a:pt x="314502" y="10133"/>
                  <a:pt x="332242" y="4422"/>
                </a:cubicBezTo>
                <a:cubicBezTo>
                  <a:pt x="349540" y="-1148"/>
                  <a:pt x="367530" y="-2176"/>
                  <a:pt x="384904" y="5551"/>
                </a:cubicBezTo>
                <a:cubicBezTo>
                  <a:pt x="395271" y="10161"/>
                  <a:pt x="403310" y="17760"/>
                  <a:pt x="409773" y="26778"/>
                </a:cubicBezTo>
                <a:cubicBezTo>
                  <a:pt x="415168" y="34307"/>
                  <a:pt x="413749" y="41584"/>
                  <a:pt x="407026" y="46052"/>
                </a:cubicBezTo>
                <a:cubicBezTo>
                  <a:pt x="405624" y="40964"/>
                  <a:pt x="404503" y="35849"/>
                  <a:pt x="402771" y="30951"/>
                </a:cubicBezTo>
                <a:cubicBezTo>
                  <a:pt x="401450" y="27216"/>
                  <a:pt x="399383" y="28477"/>
                  <a:pt x="397038" y="30361"/>
                </a:cubicBezTo>
                <a:cubicBezTo>
                  <a:pt x="384440" y="15986"/>
                  <a:pt x="377037" y="14494"/>
                  <a:pt x="360694" y="22760"/>
                </a:cubicBezTo>
                <a:cubicBezTo>
                  <a:pt x="353707" y="22767"/>
                  <a:pt x="352275" y="27176"/>
                  <a:pt x="351669" y="31736"/>
                </a:cubicBezTo>
                <a:cubicBezTo>
                  <a:pt x="351136" y="35760"/>
                  <a:pt x="351383" y="39899"/>
                  <a:pt x="351426" y="43987"/>
                </a:cubicBezTo>
                <a:cubicBezTo>
                  <a:pt x="351648" y="64919"/>
                  <a:pt x="372389" y="78115"/>
                  <a:pt x="390968" y="68762"/>
                </a:cubicBezTo>
                <a:cubicBezTo>
                  <a:pt x="395158" y="66653"/>
                  <a:pt x="398534" y="62629"/>
                  <a:pt x="401770" y="59025"/>
                </a:cubicBezTo>
                <a:cubicBezTo>
                  <a:pt x="404045" y="56491"/>
                  <a:pt x="405661" y="53409"/>
                  <a:pt x="409619" y="55786"/>
                </a:cubicBezTo>
                <a:cubicBezTo>
                  <a:pt x="413544" y="58145"/>
                  <a:pt x="412176" y="61347"/>
                  <a:pt x="410427" y="64256"/>
                </a:cubicBezTo>
                <a:cubicBezTo>
                  <a:pt x="406872" y="70170"/>
                  <a:pt x="403244" y="76046"/>
                  <a:pt x="399453" y="81811"/>
                </a:cubicBezTo>
                <a:cubicBezTo>
                  <a:pt x="394663" y="89097"/>
                  <a:pt x="394382" y="94032"/>
                  <a:pt x="399346" y="98083"/>
                </a:cubicBezTo>
                <a:cubicBezTo>
                  <a:pt x="428062" y="121519"/>
                  <a:pt x="450822" y="150083"/>
                  <a:pt x="471592" y="180524"/>
                </a:cubicBezTo>
                <a:cubicBezTo>
                  <a:pt x="476398" y="187569"/>
                  <a:pt x="476844" y="193688"/>
                  <a:pt x="473550" y="200923"/>
                </a:cubicBezTo>
                <a:cubicBezTo>
                  <a:pt x="470171" y="208346"/>
                  <a:pt x="467091" y="215905"/>
                  <a:pt x="463677" y="223311"/>
                </a:cubicBezTo>
                <a:cubicBezTo>
                  <a:pt x="461993" y="226965"/>
                  <a:pt x="462995" y="228697"/>
                  <a:pt x="466852" y="229083"/>
                </a:cubicBezTo>
                <a:moveTo>
                  <a:pt x="474186" y="928382"/>
                </a:moveTo>
                <a:cubicBezTo>
                  <a:pt x="469297" y="891529"/>
                  <a:pt x="462961" y="854794"/>
                  <a:pt x="459927" y="817790"/>
                </a:cubicBezTo>
                <a:cubicBezTo>
                  <a:pt x="456905" y="780939"/>
                  <a:pt x="457197" y="743817"/>
                  <a:pt x="456025" y="706469"/>
                </a:cubicBezTo>
                <a:cubicBezTo>
                  <a:pt x="425780" y="707923"/>
                  <a:pt x="396554" y="709327"/>
                  <a:pt x="366863" y="710754"/>
                </a:cubicBezTo>
                <a:cubicBezTo>
                  <a:pt x="366546" y="714450"/>
                  <a:pt x="366201" y="716832"/>
                  <a:pt x="366159" y="719219"/>
                </a:cubicBezTo>
                <a:cubicBezTo>
                  <a:pt x="365479" y="757672"/>
                  <a:pt x="364935" y="796129"/>
                  <a:pt x="364159" y="834581"/>
                </a:cubicBezTo>
                <a:cubicBezTo>
                  <a:pt x="363450" y="869762"/>
                  <a:pt x="362581" y="904941"/>
                  <a:pt x="361633" y="940117"/>
                </a:cubicBezTo>
                <a:cubicBezTo>
                  <a:pt x="360619" y="977749"/>
                  <a:pt x="359431" y="1015376"/>
                  <a:pt x="358313" y="1053005"/>
                </a:cubicBezTo>
                <a:cubicBezTo>
                  <a:pt x="358265" y="1054641"/>
                  <a:pt x="358149" y="1056276"/>
                  <a:pt x="358081" y="1057912"/>
                </a:cubicBezTo>
                <a:cubicBezTo>
                  <a:pt x="356598" y="1093463"/>
                  <a:pt x="355081" y="1129014"/>
                  <a:pt x="353706" y="1164570"/>
                </a:cubicBezTo>
                <a:cubicBezTo>
                  <a:pt x="353604" y="1167221"/>
                  <a:pt x="354516" y="1169911"/>
                  <a:pt x="354951" y="1172547"/>
                </a:cubicBezTo>
                <a:cubicBezTo>
                  <a:pt x="416984" y="1173689"/>
                  <a:pt x="478158" y="1174816"/>
                  <a:pt x="540959" y="1175972"/>
                </a:cubicBezTo>
                <a:cubicBezTo>
                  <a:pt x="513162" y="1094194"/>
                  <a:pt x="489081" y="1013598"/>
                  <a:pt x="474186" y="928382"/>
                </a:cubicBezTo>
                <a:moveTo>
                  <a:pt x="513768" y="1417676"/>
                </a:moveTo>
                <a:cubicBezTo>
                  <a:pt x="515785" y="1417344"/>
                  <a:pt x="517792" y="1416889"/>
                  <a:pt x="519822" y="1416700"/>
                </a:cubicBezTo>
                <a:cubicBezTo>
                  <a:pt x="557234" y="1413220"/>
                  <a:pt x="594682" y="1410089"/>
                  <a:pt x="632041" y="1406122"/>
                </a:cubicBezTo>
                <a:cubicBezTo>
                  <a:pt x="643122" y="1404945"/>
                  <a:pt x="654730" y="1405292"/>
                  <a:pt x="665040" y="1400634"/>
                </a:cubicBezTo>
                <a:cubicBezTo>
                  <a:pt x="665352" y="1398517"/>
                  <a:pt x="665651" y="1397324"/>
                  <a:pt x="665677" y="1396126"/>
                </a:cubicBezTo>
                <a:cubicBezTo>
                  <a:pt x="665722" y="1394084"/>
                  <a:pt x="665674" y="1392032"/>
                  <a:pt x="665529" y="1389994"/>
                </a:cubicBezTo>
                <a:cubicBezTo>
                  <a:pt x="663118" y="1356121"/>
                  <a:pt x="650063" y="1327787"/>
                  <a:pt x="623046" y="1306238"/>
                </a:cubicBezTo>
                <a:cubicBezTo>
                  <a:pt x="613485" y="1298611"/>
                  <a:pt x="605001" y="1289635"/>
                  <a:pt x="596015" y="1281285"/>
                </a:cubicBezTo>
                <a:cubicBezTo>
                  <a:pt x="578506" y="1265018"/>
                  <a:pt x="567837" y="1245446"/>
                  <a:pt x="567683" y="1220059"/>
                </a:cubicBezTo>
                <a:cubicBezTo>
                  <a:pt x="558046" y="1220059"/>
                  <a:pt x="549136" y="1219649"/>
                  <a:pt x="540273" y="1220129"/>
                </a:cubicBezTo>
                <a:cubicBezTo>
                  <a:pt x="501512" y="1222229"/>
                  <a:pt x="462775" y="1224768"/>
                  <a:pt x="424010" y="1226781"/>
                </a:cubicBezTo>
                <a:cubicBezTo>
                  <a:pt x="401969" y="1227926"/>
                  <a:pt x="379889" y="1228330"/>
                  <a:pt x="357832" y="1229178"/>
                </a:cubicBezTo>
                <a:cubicBezTo>
                  <a:pt x="355938" y="1229251"/>
                  <a:pt x="354076" y="1230151"/>
                  <a:pt x="352386" y="1230616"/>
                </a:cubicBezTo>
                <a:cubicBezTo>
                  <a:pt x="353642" y="1262222"/>
                  <a:pt x="355769" y="1293219"/>
                  <a:pt x="355852" y="1324222"/>
                </a:cubicBezTo>
                <a:cubicBezTo>
                  <a:pt x="355936" y="1355438"/>
                  <a:pt x="353988" y="1386659"/>
                  <a:pt x="352930" y="1417867"/>
                </a:cubicBezTo>
                <a:cubicBezTo>
                  <a:pt x="406069" y="1417867"/>
                  <a:pt x="458771" y="1417867"/>
                  <a:pt x="513768" y="1417676"/>
                </a:cubicBezTo>
                <a:moveTo>
                  <a:pt x="387930" y="499741"/>
                </a:moveTo>
                <a:cubicBezTo>
                  <a:pt x="410797" y="498777"/>
                  <a:pt x="433665" y="497860"/>
                  <a:pt x="456529" y="496826"/>
                </a:cubicBezTo>
                <a:cubicBezTo>
                  <a:pt x="466656" y="496369"/>
                  <a:pt x="475418" y="493371"/>
                  <a:pt x="482355" y="485095"/>
                </a:cubicBezTo>
                <a:cubicBezTo>
                  <a:pt x="509188" y="453083"/>
                  <a:pt x="525387" y="416636"/>
                  <a:pt x="528016" y="374829"/>
                </a:cubicBezTo>
                <a:cubicBezTo>
                  <a:pt x="530547" y="334558"/>
                  <a:pt x="520095" y="297041"/>
                  <a:pt x="501375" y="261643"/>
                </a:cubicBezTo>
                <a:cubicBezTo>
                  <a:pt x="499379" y="257869"/>
                  <a:pt x="496654" y="254482"/>
                  <a:pt x="493534" y="249818"/>
                </a:cubicBezTo>
                <a:cubicBezTo>
                  <a:pt x="490233" y="254212"/>
                  <a:pt x="487883" y="256986"/>
                  <a:pt x="485920" y="260010"/>
                </a:cubicBezTo>
                <a:cubicBezTo>
                  <a:pt x="475010" y="276824"/>
                  <a:pt x="464300" y="293767"/>
                  <a:pt x="453305" y="310523"/>
                </a:cubicBezTo>
                <a:cubicBezTo>
                  <a:pt x="447028" y="320089"/>
                  <a:pt x="440916" y="329858"/>
                  <a:pt x="433678" y="338672"/>
                </a:cubicBezTo>
                <a:cubicBezTo>
                  <a:pt x="425909" y="348131"/>
                  <a:pt x="413084" y="349691"/>
                  <a:pt x="403713" y="343710"/>
                </a:cubicBezTo>
                <a:cubicBezTo>
                  <a:pt x="394358" y="337739"/>
                  <a:pt x="391675" y="327526"/>
                  <a:pt x="396427" y="315612"/>
                </a:cubicBezTo>
                <a:cubicBezTo>
                  <a:pt x="397334" y="313339"/>
                  <a:pt x="398595" y="311210"/>
                  <a:pt x="399663" y="309000"/>
                </a:cubicBezTo>
                <a:cubicBezTo>
                  <a:pt x="417094" y="272900"/>
                  <a:pt x="434331" y="236704"/>
                  <a:pt x="452097" y="200770"/>
                </a:cubicBezTo>
                <a:cubicBezTo>
                  <a:pt x="455910" y="193060"/>
                  <a:pt x="455310" y="187173"/>
                  <a:pt x="450118" y="180596"/>
                </a:cubicBezTo>
                <a:cubicBezTo>
                  <a:pt x="428273" y="152922"/>
                  <a:pt x="405805" y="125901"/>
                  <a:pt x="376545" y="105525"/>
                </a:cubicBezTo>
                <a:cubicBezTo>
                  <a:pt x="374483" y="104089"/>
                  <a:pt x="372013" y="103239"/>
                  <a:pt x="368791" y="101653"/>
                </a:cubicBezTo>
                <a:cubicBezTo>
                  <a:pt x="367942" y="116965"/>
                  <a:pt x="367019" y="130814"/>
                  <a:pt x="366449" y="144676"/>
                </a:cubicBezTo>
                <a:cubicBezTo>
                  <a:pt x="365912" y="157758"/>
                  <a:pt x="365593" y="170854"/>
                  <a:pt x="365447" y="183946"/>
                </a:cubicBezTo>
                <a:cubicBezTo>
                  <a:pt x="365020" y="221975"/>
                  <a:pt x="363367" y="260055"/>
                  <a:pt x="364738" y="298022"/>
                </a:cubicBezTo>
                <a:cubicBezTo>
                  <a:pt x="366329" y="342101"/>
                  <a:pt x="370336" y="386106"/>
                  <a:pt x="373865" y="430096"/>
                </a:cubicBezTo>
                <a:cubicBezTo>
                  <a:pt x="375530" y="450849"/>
                  <a:pt x="378387" y="471514"/>
                  <a:pt x="381088" y="492169"/>
                </a:cubicBezTo>
                <a:cubicBezTo>
                  <a:pt x="381433" y="494807"/>
                  <a:pt x="384102" y="497143"/>
                  <a:pt x="387930" y="499741"/>
                </a:cubicBezTo>
                <a:moveTo>
                  <a:pt x="455850" y="1521476"/>
                </a:moveTo>
                <a:cubicBezTo>
                  <a:pt x="533043" y="1519612"/>
                  <a:pt x="609810" y="1514084"/>
                  <a:pt x="685121" y="1496509"/>
                </a:cubicBezTo>
                <a:cubicBezTo>
                  <a:pt x="683922" y="1481705"/>
                  <a:pt x="679199" y="1467708"/>
                  <a:pt x="672999" y="1456665"/>
                </a:cubicBezTo>
                <a:cubicBezTo>
                  <a:pt x="669933" y="1451203"/>
                  <a:pt x="666057" y="1449329"/>
                  <a:pt x="660009" y="1450249"/>
                </a:cubicBezTo>
                <a:cubicBezTo>
                  <a:pt x="651125" y="1451601"/>
                  <a:pt x="642144" y="1452308"/>
                  <a:pt x="633248" y="1453589"/>
                </a:cubicBezTo>
                <a:cubicBezTo>
                  <a:pt x="572852" y="1462289"/>
                  <a:pt x="511993" y="1465134"/>
                  <a:pt x="451131" y="1467458"/>
                </a:cubicBezTo>
                <a:cubicBezTo>
                  <a:pt x="421697" y="1468582"/>
                  <a:pt x="392192" y="1467837"/>
                  <a:pt x="362719" y="1467934"/>
                </a:cubicBezTo>
                <a:cubicBezTo>
                  <a:pt x="358386" y="1467948"/>
                  <a:pt x="354052" y="1467936"/>
                  <a:pt x="349983" y="1467936"/>
                </a:cubicBezTo>
                <a:cubicBezTo>
                  <a:pt x="347592" y="1485362"/>
                  <a:pt x="348606" y="1509458"/>
                  <a:pt x="352220" y="1519140"/>
                </a:cubicBezTo>
                <a:cubicBezTo>
                  <a:pt x="385617" y="1519916"/>
                  <a:pt x="419507" y="1520703"/>
                  <a:pt x="455850" y="1521476"/>
                </a:cubicBezTo>
                <a:moveTo>
                  <a:pt x="368682" y="544846"/>
                </a:moveTo>
                <a:cubicBezTo>
                  <a:pt x="374258" y="564891"/>
                  <a:pt x="370074" y="584394"/>
                  <a:pt x="363600" y="605633"/>
                </a:cubicBezTo>
                <a:cubicBezTo>
                  <a:pt x="408859" y="604212"/>
                  <a:pt x="452263" y="602850"/>
                  <a:pt x="496351" y="601466"/>
                </a:cubicBezTo>
                <a:cubicBezTo>
                  <a:pt x="496109" y="591095"/>
                  <a:pt x="491408" y="584247"/>
                  <a:pt x="485068" y="579288"/>
                </a:cubicBezTo>
                <a:cubicBezTo>
                  <a:pt x="472414" y="569391"/>
                  <a:pt x="466934" y="556602"/>
                  <a:pt x="466524" y="541026"/>
                </a:cubicBezTo>
                <a:cubicBezTo>
                  <a:pt x="466485" y="539528"/>
                  <a:pt x="465591" y="538053"/>
                  <a:pt x="465000" y="536289"/>
                </a:cubicBezTo>
                <a:cubicBezTo>
                  <a:pt x="460209" y="536289"/>
                  <a:pt x="455761" y="536132"/>
                  <a:pt x="451328" y="536316"/>
                </a:cubicBezTo>
                <a:cubicBezTo>
                  <a:pt x="430930" y="537159"/>
                  <a:pt x="410538" y="538137"/>
                  <a:pt x="390140" y="538979"/>
                </a:cubicBezTo>
                <a:cubicBezTo>
                  <a:pt x="384834" y="539198"/>
                  <a:pt x="379484" y="538790"/>
                  <a:pt x="374215" y="539303"/>
                </a:cubicBezTo>
                <a:cubicBezTo>
                  <a:pt x="372259" y="539494"/>
                  <a:pt x="370480" y="541498"/>
                  <a:pt x="368682" y="544846"/>
                </a:cubicBezTo>
                <a:moveTo>
                  <a:pt x="453915" y="635267"/>
                </a:moveTo>
                <a:cubicBezTo>
                  <a:pt x="427589" y="636632"/>
                  <a:pt x="401262" y="637998"/>
                  <a:pt x="374200" y="639402"/>
                </a:cubicBezTo>
                <a:cubicBezTo>
                  <a:pt x="374200" y="651578"/>
                  <a:pt x="374200" y="661970"/>
                  <a:pt x="374200" y="673206"/>
                </a:cubicBezTo>
                <a:cubicBezTo>
                  <a:pt x="378672" y="673406"/>
                  <a:pt x="382666" y="673863"/>
                  <a:pt x="386639" y="673718"/>
                </a:cubicBezTo>
                <a:cubicBezTo>
                  <a:pt x="431495" y="672082"/>
                  <a:pt x="476352" y="670422"/>
                  <a:pt x="521198" y="668541"/>
                </a:cubicBezTo>
                <a:cubicBezTo>
                  <a:pt x="525584" y="668357"/>
                  <a:pt x="530162" y="667254"/>
                  <a:pt x="534198" y="665521"/>
                </a:cubicBezTo>
                <a:cubicBezTo>
                  <a:pt x="540213" y="662938"/>
                  <a:pt x="541802" y="658194"/>
                  <a:pt x="538413" y="652526"/>
                </a:cubicBezTo>
                <a:cubicBezTo>
                  <a:pt x="536192" y="648813"/>
                  <a:pt x="532979" y="645251"/>
                  <a:pt x="529377" y="642895"/>
                </a:cubicBezTo>
                <a:cubicBezTo>
                  <a:pt x="521426" y="637695"/>
                  <a:pt x="512576" y="634669"/>
                  <a:pt x="502829" y="634808"/>
                </a:cubicBezTo>
                <a:cubicBezTo>
                  <a:pt x="487311" y="635030"/>
                  <a:pt x="471791" y="635092"/>
                  <a:pt x="453915" y="635267"/>
                </a:cubicBezTo>
                <a:close/>
              </a:path>
            </a:pathLst>
          </a:custGeom>
          <a:solidFill>
            <a:srgbClr val="CDD9DF"/>
          </a:solidFill>
          <a:ln w="12700" cap="flat">
            <a:solidFill>
              <a:srgbClr val="CDD9DF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79" name="Free-form: Shape 178">
            <a:extLst>
              <a:ext uri="{FF2B5EF4-FFF2-40B4-BE49-F238E27FC236}">
                <a16:creationId xmlns:a16="http://schemas.microsoft.com/office/drawing/2014/main" id="{316F8317-8BCB-8CAA-81BA-86537FC0431A}"/>
              </a:ext>
            </a:extLst>
          </p:cNvPr>
          <p:cNvSpPr/>
          <p:nvPr/>
        </p:nvSpPr>
        <p:spPr>
          <a:xfrm>
            <a:off x="7340232" y="4413403"/>
            <a:ext cx="665488" cy="1428730"/>
          </a:xfrm>
          <a:custGeom>
            <a:avLst/>
            <a:gdLst>
              <a:gd name="csX0" fmla="*/ 406842 w 732037"/>
              <a:gd name="csY0" fmla="*/ 38347 h 1571603"/>
              <a:gd name="csX1" fmla="*/ 411944 w 732037"/>
              <a:gd name="csY1" fmla="*/ 38343 h 1571603"/>
              <a:gd name="csX2" fmla="*/ 416198 w 732037"/>
              <a:gd name="csY2" fmla="*/ 53444 h 1571603"/>
              <a:gd name="csX3" fmla="*/ 418945 w 732037"/>
              <a:gd name="csY3" fmla="*/ 34170 h 1571603"/>
              <a:gd name="csX4" fmla="*/ 394077 w 732037"/>
              <a:gd name="csY4" fmla="*/ 12943 h 1571603"/>
              <a:gd name="csX5" fmla="*/ 341415 w 732037"/>
              <a:gd name="csY5" fmla="*/ 11814 h 1571603"/>
              <a:gd name="csX6" fmla="*/ 309440 w 732037"/>
              <a:gd name="csY6" fmla="*/ 65249 h 1571603"/>
              <a:gd name="csX7" fmla="*/ 319632 w 732037"/>
              <a:gd name="csY7" fmla="*/ 85914 h 1571603"/>
              <a:gd name="csX8" fmla="*/ 318632 w 732037"/>
              <a:gd name="csY8" fmla="*/ 110015 h 1571603"/>
              <a:gd name="csX9" fmla="*/ 246921 w 732037"/>
              <a:gd name="csY9" fmla="*/ 198083 h 1571603"/>
              <a:gd name="csX10" fmla="*/ 202660 w 732037"/>
              <a:gd name="csY10" fmla="*/ 269911 h 1571603"/>
              <a:gd name="csX11" fmla="*/ 176707 w 732037"/>
              <a:gd name="csY11" fmla="*/ 357233 h 1571603"/>
              <a:gd name="csX12" fmla="*/ 190612 w 732037"/>
              <a:gd name="csY12" fmla="*/ 439700 h 1571603"/>
              <a:gd name="csX13" fmla="*/ 227544 w 732037"/>
              <a:gd name="csY13" fmla="*/ 505527 h 1571603"/>
              <a:gd name="csX14" fmla="*/ 232541 w 732037"/>
              <a:gd name="csY14" fmla="*/ 516294 h 1571603"/>
              <a:gd name="csX15" fmla="*/ 224356 w 732037"/>
              <a:gd name="csY15" fmla="*/ 528960 h 1571603"/>
              <a:gd name="csX16" fmla="*/ 227944 w 732037"/>
              <a:gd name="csY16" fmla="*/ 540026 h 1571603"/>
              <a:gd name="csX17" fmla="*/ 238897 w 732037"/>
              <a:gd name="csY17" fmla="*/ 545570 h 1571603"/>
              <a:gd name="csX18" fmla="*/ 242386 w 732037"/>
              <a:gd name="csY18" fmla="*/ 571785 h 1571603"/>
              <a:gd name="csX19" fmla="*/ 214067 w 732037"/>
              <a:gd name="csY19" fmla="*/ 590809 h 1571603"/>
              <a:gd name="csX20" fmla="*/ 201355 w 732037"/>
              <a:gd name="csY20" fmla="*/ 609067 h 1571603"/>
              <a:gd name="csX21" fmla="*/ 188474 w 732037"/>
              <a:gd name="csY21" fmla="*/ 628398 h 1571603"/>
              <a:gd name="csX22" fmla="*/ 162658 w 732037"/>
              <a:gd name="csY22" fmla="*/ 657096 h 1571603"/>
              <a:gd name="csX23" fmla="*/ 175395 w 732037"/>
              <a:gd name="csY23" fmla="*/ 691621 h 1571603"/>
              <a:gd name="csX24" fmla="*/ 201948 w 732037"/>
              <a:gd name="csY24" fmla="*/ 700523 h 1571603"/>
              <a:gd name="csX25" fmla="*/ 241426 w 732037"/>
              <a:gd name="csY25" fmla="*/ 706574 h 1571603"/>
              <a:gd name="csX26" fmla="*/ 242586 w 732037"/>
              <a:gd name="csY26" fmla="*/ 715946 h 1571603"/>
              <a:gd name="csX27" fmla="*/ 242424 w 732037"/>
              <a:gd name="csY27" fmla="*/ 801932 h 1571603"/>
              <a:gd name="csX28" fmla="*/ 238000 w 732037"/>
              <a:gd name="csY28" fmla="*/ 846774 h 1571603"/>
              <a:gd name="csX29" fmla="*/ 232752 w 732037"/>
              <a:gd name="csY29" fmla="*/ 891559 h 1571603"/>
              <a:gd name="csX30" fmla="*/ 223037 w 732037"/>
              <a:gd name="csY30" fmla="*/ 950433 h 1571603"/>
              <a:gd name="csX31" fmla="*/ 210247 w 732037"/>
              <a:gd name="csY31" fmla="*/ 1012485 h 1571603"/>
              <a:gd name="csX32" fmla="*/ 194820 w 732037"/>
              <a:gd name="csY32" fmla="*/ 1069074 h 1571603"/>
              <a:gd name="csX33" fmla="*/ 165707 w 732037"/>
              <a:gd name="csY33" fmla="*/ 1163788 h 1571603"/>
              <a:gd name="csX34" fmla="*/ 144382 w 732037"/>
              <a:gd name="csY34" fmla="*/ 1185530 h 1571603"/>
              <a:gd name="csX35" fmla="*/ 129590 w 732037"/>
              <a:gd name="csY35" fmla="*/ 1191342 h 1571603"/>
              <a:gd name="csX36" fmla="*/ 122255 w 732037"/>
              <a:gd name="csY36" fmla="*/ 1208476 h 1571603"/>
              <a:gd name="csX37" fmla="*/ 127491 w 732037"/>
              <a:gd name="csY37" fmla="*/ 1222193 h 1571603"/>
              <a:gd name="csX38" fmla="*/ 118348 w 732037"/>
              <a:gd name="csY38" fmla="*/ 1261470 h 1571603"/>
              <a:gd name="csX39" fmla="*/ 58232 w 732037"/>
              <a:gd name="csY39" fmla="*/ 1319224 h 1571603"/>
              <a:gd name="csX40" fmla="*/ 28815 w 732037"/>
              <a:gd name="csY40" fmla="*/ 1389717 h 1571603"/>
              <a:gd name="csX41" fmla="*/ 32634 w 732037"/>
              <a:gd name="csY41" fmla="*/ 1426050 h 1571603"/>
              <a:gd name="csX42" fmla="*/ 30331 w 732037"/>
              <a:gd name="csY42" fmla="*/ 1441003 h 1571603"/>
              <a:gd name="csX43" fmla="*/ 9180 w 732037"/>
              <a:gd name="csY43" fmla="*/ 1516655 h 1571603"/>
              <a:gd name="csX44" fmla="*/ 20082 w 732037"/>
              <a:gd name="csY44" fmla="*/ 1531402 h 1571603"/>
              <a:gd name="csX45" fmla="*/ 74798 w 732037"/>
              <a:gd name="csY45" fmla="*/ 1543794 h 1571603"/>
              <a:gd name="csX46" fmla="*/ 113225 w 732037"/>
              <a:gd name="csY46" fmla="*/ 1550305 h 1571603"/>
              <a:gd name="csX47" fmla="*/ 136142 w 732037"/>
              <a:gd name="csY47" fmla="*/ 1553484 h 1571603"/>
              <a:gd name="csX48" fmla="*/ 177578 w 732037"/>
              <a:gd name="csY48" fmla="*/ 1556220 h 1571603"/>
              <a:gd name="csX49" fmla="*/ 231027 w 732037"/>
              <a:gd name="csY49" fmla="*/ 1560698 h 1571603"/>
              <a:gd name="csX50" fmla="*/ 254342 w 732037"/>
              <a:gd name="csY50" fmla="*/ 1561142 h 1571603"/>
              <a:gd name="csX51" fmla="*/ 459180 w 732037"/>
              <a:gd name="csY51" fmla="*/ 1563411 h 1571603"/>
              <a:gd name="csX52" fmla="*/ 531340 w 732037"/>
              <a:gd name="csY52" fmla="*/ 1560936 h 1571603"/>
              <a:gd name="csX53" fmla="*/ 590888 w 732037"/>
              <a:gd name="csY53" fmla="*/ 1555951 h 1571603"/>
              <a:gd name="csX54" fmla="*/ 710712 w 732037"/>
              <a:gd name="csY54" fmla="*/ 1533916 h 1571603"/>
              <a:gd name="csX55" fmla="*/ 724356 w 732037"/>
              <a:gd name="csY55" fmla="*/ 1516144 h 1571603"/>
              <a:gd name="csX56" fmla="*/ 707380 w 732037"/>
              <a:gd name="csY56" fmla="*/ 1449380 h 1571603"/>
              <a:gd name="csX57" fmla="*/ 707050 w 732037"/>
              <a:gd name="csY57" fmla="*/ 1440881 h 1571603"/>
              <a:gd name="csX58" fmla="*/ 731479 w 732037"/>
              <a:gd name="csY58" fmla="*/ 1500017 h 1571603"/>
              <a:gd name="csX59" fmla="*/ 731163 w 732037"/>
              <a:gd name="csY59" fmla="*/ 1513759 h 1571603"/>
              <a:gd name="csX60" fmla="*/ 731650 w 732037"/>
              <a:gd name="csY60" fmla="*/ 1521766 h 1571603"/>
              <a:gd name="csX61" fmla="*/ 721896 w 732037"/>
              <a:gd name="csY61" fmla="*/ 1537319 h 1571603"/>
              <a:gd name="csX62" fmla="*/ 657740 w 732037"/>
              <a:gd name="csY62" fmla="*/ 1553265 h 1571603"/>
              <a:gd name="csX63" fmla="*/ 507791 w 732037"/>
              <a:gd name="csY63" fmla="*/ 1568943 h 1571603"/>
              <a:gd name="csX64" fmla="*/ 264676 w 732037"/>
              <a:gd name="csY64" fmla="*/ 1569724 h 1571603"/>
              <a:gd name="csX65" fmla="*/ 82743 w 732037"/>
              <a:gd name="csY65" fmla="*/ 1553254 h 1571603"/>
              <a:gd name="csX66" fmla="*/ 17072 w 732037"/>
              <a:gd name="csY66" fmla="*/ 1538153 h 1571603"/>
              <a:gd name="csX67" fmla="*/ 275 w 732037"/>
              <a:gd name="csY67" fmla="*/ 1513030 h 1571603"/>
              <a:gd name="csX68" fmla="*/ 20923 w 732037"/>
              <a:gd name="csY68" fmla="*/ 1441861 h 1571603"/>
              <a:gd name="csX69" fmla="*/ 23045 w 732037"/>
              <a:gd name="csY69" fmla="*/ 1423105 h 1571603"/>
              <a:gd name="csX70" fmla="*/ 30564 w 732037"/>
              <a:gd name="csY70" fmla="*/ 1346289 h 1571603"/>
              <a:gd name="csX71" fmla="*/ 71350 w 732037"/>
              <a:gd name="csY71" fmla="*/ 1295039 h 1571603"/>
              <a:gd name="csX72" fmla="*/ 112257 w 732037"/>
              <a:gd name="csY72" fmla="*/ 1255093 h 1571603"/>
              <a:gd name="csX73" fmla="*/ 115864 w 732037"/>
              <a:gd name="csY73" fmla="*/ 1217271 h 1571603"/>
              <a:gd name="csX74" fmla="*/ 112256 w 732037"/>
              <a:gd name="csY74" fmla="*/ 1210870 h 1571603"/>
              <a:gd name="csX75" fmla="*/ 121141 w 732037"/>
              <a:gd name="csY75" fmla="*/ 1186548 h 1571603"/>
              <a:gd name="csX76" fmla="*/ 136571 w 732037"/>
              <a:gd name="csY76" fmla="*/ 1179850 h 1571603"/>
              <a:gd name="csX77" fmla="*/ 158281 w 732037"/>
              <a:gd name="csY77" fmla="*/ 1157879 h 1571603"/>
              <a:gd name="csX78" fmla="*/ 187986 w 732037"/>
              <a:gd name="csY78" fmla="*/ 1059736 h 1571603"/>
              <a:gd name="csX79" fmla="*/ 217119 w 732037"/>
              <a:gd name="csY79" fmla="*/ 938896 h 1571603"/>
              <a:gd name="csX80" fmla="*/ 225792 w 732037"/>
              <a:gd name="csY80" fmla="*/ 893236 h 1571603"/>
              <a:gd name="csX81" fmla="*/ 226150 w 732037"/>
              <a:gd name="csY81" fmla="*/ 887970 h 1571603"/>
              <a:gd name="csX82" fmla="*/ 230782 w 732037"/>
              <a:gd name="csY82" fmla="*/ 853969 h 1571603"/>
              <a:gd name="csX83" fmla="*/ 230786 w 732037"/>
              <a:gd name="csY83" fmla="*/ 848558 h 1571603"/>
              <a:gd name="csX84" fmla="*/ 233315 w 732037"/>
              <a:gd name="csY84" fmla="*/ 824438 h 1571603"/>
              <a:gd name="csX85" fmla="*/ 233199 w 732037"/>
              <a:gd name="csY85" fmla="*/ 819050 h 1571603"/>
              <a:gd name="csX86" fmla="*/ 235848 w 732037"/>
              <a:gd name="csY86" fmla="*/ 782380 h 1571603"/>
              <a:gd name="csX87" fmla="*/ 237465 w 732037"/>
              <a:gd name="csY87" fmla="*/ 719113 h 1571603"/>
              <a:gd name="csX88" fmla="*/ 233057 w 732037"/>
              <a:gd name="csY88" fmla="*/ 713160 h 1571603"/>
              <a:gd name="csX89" fmla="*/ 203056 w 732037"/>
              <a:gd name="csY89" fmla="*/ 708405 h 1571603"/>
              <a:gd name="csX90" fmla="*/ 169628 w 732037"/>
              <a:gd name="csY90" fmla="*/ 698106 h 1571603"/>
              <a:gd name="csX91" fmla="*/ 153237 w 732037"/>
              <a:gd name="csY91" fmla="*/ 659111 h 1571603"/>
              <a:gd name="csX92" fmla="*/ 178365 w 732037"/>
              <a:gd name="csY92" fmla="*/ 626008 h 1571603"/>
              <a:gd name="csX93" fmla="*/ 191885 w 732037"/>
              <a:gd name="csY93" fmla="*/ 617513 h 1571603"/>
              <a:gd name="csX94" fmla="*/ 193681 w 732037"/>
              <a:gd name="csY94" fmla="*/ 610098 h 1571603"/>
              <a:gd name="csX95" fmla="*/ 213301 w 732037"/>
              <a:gd name="csY95" fmla="*/ 579885 h 1571603"/>
              <a:gd name="csX96" fmla="*/ 229635 w 732037"/>
              <a:gd name="csY96" fmla="*/ 571429 h 1571603"/>
              <a:gd name="csX97" fmla="*/ 237351 w 732037"/>
              <a:gd name="csY97" fmla="*/ 565882 h 1571603"/>
              <a:gd name="csX98" fmla="*/ 233673 w 732037"/>
              <a:gd name="csY98" fmla="*/ 550926 h 1571603"/>
              <a:gd name="csX99" fmla="*/ 226799 w 732037"/>
              <a:gd name="csY99" fmla="*/ 548359 h 1571603"/>
              <a:gd name="csX100" fmla="*/ 218639 w 732037"/>
              <a:gd name="csY100" fmla="*/ 522664 h 1571603"/>
              <a:gd name="csX101" fmla="*/ 218264 w 732037"/>
              <a:gd name="csY101" fmla="*/ 505463 h 1571603"/>
              <a:gd name="csX102" fmla="*/ 181762 w 732037"/>
              <a:gd name="csY102" fmla="*/ 437574 h 1571603"/>
              <a:gd name="csX103" fmla="*/ 185971 w 732037"/>
              <a:gd name="csY103" fmla="*/ 289069 h 1571603"/>
              <a:gd name="csX104" fmla="*/ 253787 w 732037"/>
              <a:gd name="csY104" fmla="*/ 175580 h 1571603"/>
              <a:gd name="csX105" fmla="*/ 309639 w 732037"/>
              <a:gd name="csY105" fmla="*/ 108695 h 1571603"/>
              <a:gd name="csX106" fmla="*/ 318061 w 732037"/>
              <a:gd name="csY106" fmla="*/ 98855 h 1571603"/>
              <a:gd name="csX107" fmla="*/ 304967 w 732037"/>
              <a:gd name="csY107" fmla="*/ 70056 h 1571603"/>
              <a:gd name="csX108" fmla="*/ 317012 w 732037"/>
              <a:gd name="csY108" fmla="*/ 19436 h 1571603"/>
              <a:gd name="csX109" fmla="*/ 415542 w 732037"/>
              <a:gd name="csY109" fmla="*/ 18221 h 1571603"/>
              <a:gd name="csX110" fmla="*/ 423203 w 732037"/>
              <a:gd name="csY110" fmla="*/ 82660 h 1571603"/>
              <a:gd name="csX111" fmla="*/ 413361 w 732037"/>
              <a:gd name="csY111" fmla="*/ 97975 h 1571603"/>
              <a:gd name="csX112" fmla="*/ 421654 w 732037"/>
              <a:gd name="csY112" fmla="*/ 106676 h 1571603"/>
              <a:gd name="csX113" fmla="*/ 487032 w 732037"/>
              <a:gd name="csY113" fmla="*/ 184632 h 1571603"/>
              <a:gd name="csX114" fmla="*/ 489213 w 732037"/>
              <a:gd name="csY114" fmla="*/ 208238 h 1571603"/>
              <a:gd name="csX115" fmla="*/ 476520 w 732037"/>
              <a:gd name="csY115" fmla="*/ 235738 h 1571603"/>
              <a:gd name="csX116" fmla="*/ 472850 w 732037"/>
              <a:gd name="csY116" fmla="*/ 230703 h 1571603"/>
              <a:gd name="csX117" fmla="*/ 482723 w 732037"/>
              <a:gd name="csY117" fmla="*/ 208315 h 1571603"/>
              <a:gd name="csX118" fmla="*/ 480764 w 732037"/>
              <a:gd name="csY118" fmla="*/ 187916 h 1571603"/>
              <a:gd name="csX119" fmla="*/ 408519 w 732037"/>
              <a:gd name="csY119" fmla="*/ 105475 h 1571603"/>
              <a:gd name="csX120" fmla="*/ 408625 w 732037"/>
              <a:gd name="csY120" fmla="*/ 89203 h 1571603"/>
              <a:gd name="csX121" fmla="*/ 419600 w 732037"/>
              <a:gd name="csY121" fmla="*/ 71648 h 1571603"/>
              <a:gd name="csX122" fmla="*/ 418792 w 732037"/>
              <a:gd name="csY122" fmla="*/ 63179 h 1571603"/>
              <a:gd name="csX123" fmla="*/ 410943 w 732037"/>
              <a:gd name="csY123" fmla="*/ 66417 h 1571603"/>
              <a:gd name="csX124" fmla="*/ 400140 w 732037"/>
              <a:gd name="csY124" fmla="*/ 76155 h 1571603"/>
              <a:gd name="csX125" fmla="*/ 360599 w 732037"/>
              <a:gd name="csY125" fmla="*/ 51379 h 1571603"/>
              <a:gd name="csX126" fmla="*/ 360842 w 732037"/>
              <a:gd name="csY126" fmla="*/ 39128 h 1571603"/>
              <a:gd name="csX127" fmla="*/ 369470 w 732037"/>
              <a:gd name="csY127" fmla="*/ 30960 h 1571603"/>
              <a:gd name="csX128" fmla="*/ 365613 w 732037"/>
              <a:gd name="csY128" fmla="*/ 49108 h 1571603"/>
              <a:gd name="csX129" fmla="*/ 389468 w 732037"/>
              <a:gd name="csY129" fmla="*/ 71608 h 1571603"/>
              <a:gd name="csX130" fmla="*/ 408822 w 732037"/>
              <a:gd name="csY130" fmla="*/ 46613 h 1571603"/>
              <a:gd name="csX131" fmla="*/ 406842 w 732037"/>
              <a:gd name="csY131" fmla="*/ 38347 h 157160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</a:cxnLst>
            <a:rect l="l" t="t" r="r" b="b"/>
            <a:pathLst>
              <a:path w="732037" h="1571603">
                <a:moveTo>
                  <a:pt x="406842" y="38347"/>
                </a:moveTo>
                <a:cubicBezTo>
                  <a:pt x="408555" y="35869"/>
                  <a:pt x="410622" y="34608"/>
                  <a:pt x="411944" y="38343"/>
                </a:cubicBezTo>
                <a:cubicBezTo>
                  <a:pt x="413676" y="43242"/>
                  <a:pt x="414797" y="48356"/>
                  <a:pt x="416198" y="53444"/>
                </a:cubicBezTo>
                <a:cubicBezTo>
                  <a:pt x="422922" y="48977"/>
                  <a:pt x="424340" y="41699"/>
                  <a:pt x="418945" y="34170"/>
                </a:cubicBezTo>
                <a:cubicBezTo>
                  <a:pt x="412483" y="25152"/>
                  <a:pt x="404444" y="17554"/>
                  <a:pt x="394077" y="12943"/>
                </a:cubicBezTo>
                <a:cubicBezTo>
                  <a:pt x="376702" y="5216"/>
                  <a:pt x="358713" y="6244"/>
                  <a:pt x="341415" y="11814"/>
                </a:cubicBezTo>
                <a:cubicBezTo>
                  <a:pt x="323675" y="17525"/>
                  <a:pt x="304459" y="39816"/>
                  <a:pt x="309440" y="65249"/>
                </a:cubicBezTo>
                <a:cubicBezTo>
                  <a:pt x="310868" y="72543"/>
                  <a:pt x="315482" y="79463"/>
                  <a:pt x="319632" y="85914"/>
                </a:cubicBezTo>
                <a:cubicBezTo>
                  <a:pt x="325434" y="94933"/>
                  <a:pt x="325800" y="102817"/>
                  <a:pt x="318632" y="110015"/>
                </a:cubicBezTo>
                <a:cubicBezTo>
                  <a:pt x="291775" y="136984"/>
                  <a:pt x="269594" y="167702"/>
                  <a:pt x="246921" y="198083"/>
                </a:cubicBezTo>
                <a:cubicBezTo>
                  <a:pt x="230003" y="220751"/>
                  <a:pt x="215685" y="244921"/>
                  <a:pt x="202660" y="269911"/>
                </a:cubicBezTo>
                <a:cubicBezTo>
                  <a:pt x="188381" y="297309"/>
                  <a:pt x="179513" y="326657"/>
                  <a:pt x="176707" y="357233"/>
                </a:cubicBezTo>
                <a:cubicBezTo>
                  <a:pt x="174106" y="385578"/>
                  <a:pt x="180131" y="413140"/>
                  <a:pt x="190612" y="439700"/>
                </a:cubicBezTo>
                <a:cubicBezTo>
                  <a:pt x="199946" y="463353"/>
                  <a:pt x="211538" y="485623"/>
                  <a:pt x="227544" y="505527"/>
                </a:cubicBezTo>
                <a:cubicBezTo>
                  <a:pt x="229982" y="508558"/>
                  <a:pt x="230954" y="512768"/>
                  <a:pt x="232541" y="516294"/>
                </a:cubicBezTo>
                <a:cubicBezTo>
                  <a:pt x="229578" y="520824"/>
                  <a:pt x="226658" y="524724"/>
                  <a:pt x="224356" y="528960"/>
                </a:cubicBezTo>
                <a:cubicBezTo>
                  <a:pt x="221823" y="533618"/>
                  <a:pt x="222675" y="537588"/>
                  <a:pt x="227944" y="540026"/>
                </a:cubicBezTo>
                <a:cubicBezTo>
                  <a:pt x="231656" y="541743"/>
                  <a:pt x="235331" y="543568"/>
                  <a:pt x="238897" y="545570"/>
                </a:cubicBezTo>
                <a:cubicBezTo>
                  <a:pt x="249613" y="551585"/>
                  <a:pt x="251795" y="563681"/>
                  <a:pt x="242386" y="571785"/>
                </a:cubicBezTo>
                <a:cubicBezTo>
                  <a:pt x="233816" y="579166"/>
                  <a:pt x="224045" y="585423"/>
                  <a:pt x="214067" y="590809"/>
                </a:cubicBezTo>
                <a:cubicBezTo>
                  <a:pt x="206271" y="595018"/>
                  <a:pt x="202051" y="601487"/>
                  <a:pt x="201355" y="609067"/>
                </a:cubicBezTo>
                <a:cubicBezTo>
                  <a:pt x="200489" y="618497"/>
                  <a:pt x="195720" y="623726"/>
                  <a:pt x="188474" y="628398"/>
                </a:cubicBezTo>
                <a:cubicBezTo>
                  <a:pt x="177332" y="635582"/>
                  <a:pt x="167866" y="644503"/>
                  <a:pt x="162658" y="657096"/>
                </a:cubicBezTo>
                <a:cubicBezTo>
                  <a:pt x="156420" y="672181"/>
                  <a:pt x="160439" y="684301"/>
                  <a:pt x="175395" y="691621"/>
                </a:cubicBezTo>
                <a:cubicBezTo>
                  <a:pt x="183722" y="695697"/>
                  <a:pt x="192859" y="698589"/>
                  <a:pt x="201948" y="700523"/>
                </a:cubicBezTo>
                <a:cubicBezTo>
                  <a:pt x="214634" y="703224"/>
                  <a:pt x="227616" y="704530"/>
                  <a:pt x="241426" y="706574"/>
                </a:cubicBezTo>
                <a:cubicBezTo>
                  <a:pt x="241839" y="709770"/>
                  <a:pt x="242576" y="712857"/>
                  <a:pt x="242586" y="715946"/>
                </a:cubicBezTo>
                <a:cubicBezTo>
                  <a:pt x="242672" y="744610"/>
                  <a:pt x="243133" y="773285"/>
                  <a:pt x="242424" y="801932"/>
                </a:cubicBezTo>
                <a:cubicBezTo>
                  <a:pt x="242053" y="816907"/>
                  <a:pt x="239631" y="831838"/>
                  <a:pt x="238000" y="846774"/>
                </a:cubicBezTo>
                <a:cubicBezTo>
                  <a:pt x="236368" y="861717"/>
                  <a:pt x="234927" y="876693"/>
                  <a:pt x="232752" y="891559"/>
                </a:cubicBezTo>
                <a:cubicBezTo>
                  <a:pt x="229873" y="911238"/>
                  <a:pt x="226675" y="930882"/>
                  <a:pt x="223037" y="950433"/>
                </a:cubicBezTo>
                <a:cubicBezTo>
                  <a:pt x="219173" y="971193"/>
                  <a:pt x="215113" y="991942"/>
                  <a:pt x="210247" y="1012485"/>
                </a:cubicBezTo>
                <a:cubicBezTo>
                  <a:pt x="205743" y="1031500"/>
                  <a:pt x="200395" y="1050337"/>
                  <a:pt x="194820" y="1069074"/>
                </a:cubicBezTo>
                <a:cubicBezTo>
                  <a:pt x="185401" y="1100731"/>
                  <a:pt x="175708" y="1132311"/>
                  <a:pt x="165707" y="1163788"/>
                </a:cubicBezTo>
                <a:cubicBezTo>
                  <a:pt x="162367" y="1174302"/>
                  <a:pt x="156145" y="1182634"/>
                  <a:pt x="144382" y="1185530"/>
                </a:cubicBezTo>
                <a:cubicBezTo>
                  <a:pt x="139281" y="1186787"/>
                  <a:pt x="134434" y="1189193"/>
                  <a:pt x="129590" y="1191342"/>
                </a:cubicBezTo>
                <a:cubicBezTo>
                  <a:pt x="120028" y="1195581"/>
                  <a:pt x="118779" y="1198539"/>
                  <a:pt x="122255" y="1208476"/>
                </a:cubicBezTo>
                <a:cubicBezTo>
                  <a:pt x="123870" y="1213094"/>
                  <a:pt x="125990" y="1217542"/>
                  <a:pt x="127491" y="1222193"/>
                </a:cubicBezTo>
                <a:cubicBezTo>
                  <a:pt x="132294" y="1237066"/>
                  <a:pt x="129961" y="1250353"/>
                  <a:pt x="118348" y="1261470"/>
                </a:cubicBezTo>
                <a:cubicBezTo>
                  <a:pt x="98275" y="1280686"/>
                  <a:pt x="78038" y="1299737"/>
                  <a:pt x="58232" y="1319224"/>
                </a:cubicBezTo>
                <a:cubicBezTo>
                  <a:pt x="38634" y="1338507"/>
                  <a:pt x="29913" y="1362564"/>
                  <a:pt x="28815" y="1389717"/>
                </a:cubicBezTo>
                <a:cubicBezTo>
                  <a:pt x="28318" y="1402031"/>
                  <a:pt x="29110" y="1414206"/>
                  <a:pt x="32634" y="1426050"/>
                </a:cubicBezTo>
                <a:cubicBezTo>
                  <a:pt x="34273" y="1431554"/>
                  <a:pt x="33300" y="1435929"/>
                  <a:pt x="30331" y="1441003"/>
                </a:cubicBezTo>
                <a:cubicBezTo>
                  <a:pt x="16698" y="1464298"/>
                  <a:pt x="8890" y="1489397"/>
                  <a:pt x="9180" y="1516655"/>
                </a:cubicBezTo>
                <a:cubicBezTo>
                  <a:pt x="9291" y="1527012"/>
                  <a:pt x="9917" y="1528771"/>
                  <a:pt x="20082" y="1531402"/>
                </a:cubicBezTo>
                <a:cubicBezTo>
                  <a:pt x="38179" y="1536086"/>
                  <a:pt x="56480" y="1540035"/>
                  <a:pt x="74798" y="1543794"/>
                </a:cubicBezTo>
                <a:cubicBezTo>
                  <a:pt x="87517" y="1546403"/>
                  <a:pt x="100396" y="1548250"/>
                  <a:pt x="113225" y="1550305"/>
                </a:cubicBezTo>
                <a:cubicBezTo>
                  <a:pt x="120841" y="1551524"/>
                  <a:pt x="128467" y="1552843"/>
                  <a:pt x="136142" y="1553484"/>
                </a:cubicBezTo>
                <a:cubicBezTo>
                  <a:pt x="149934" y="1554635"/>
                  <a:pt x="163778" y="1555156"/>
                  <a:pt x="177578" y="1556220"/>
                </a:cubicBezTo>
                <a:cubicBezTo>
                  <a:pt x="195403" y="1557595"/>
                  <a:pt x="213196" y="1559407"/>
                  <a:pt x="231027" y="1560698"/>
                </a:cubicBezTo>
                <a:cubicBezTo>
                  <a:pt x="238768" y="1561259"/>
                  <a:pt x="246585" y="1560709"/>
                  <a:pt x="254342" y="1561142"/>
                </a:cubicBezTo>
                <a:cubicBezTo>
                  <a:pt x="322588" y="1564942"/>
                  <a:pt x="390896" y="1563427"/>
                  <a:pt x="459180" y="1563411"/>
                </a:cubicBezTo>
                <a:cubicBezTo>
                  <a:pt x="483236" y="1563406"/>
                  <a:pt x="507311" y="1562248"/>
                  <a:pt x="531340" y="1560936"/>
                </a:cubicBezTo>
                <a:cubicBezTo>
                  <a:pt x="551225" y="1559849"/>
                  <a:pt x="571160" y="1558554"/>
                  <a:pt x="590888" y="1555951"/>
                </a:cubicBezTo>
                <a:cubicBezTo>
                  <a:pt x="631179" y="1550635"/>
                  <a:pt x="671338" y="1544328"/>
                  <a:pt x="710712" y="1533916"/>
                </a:cubicBezTo>
                <a:cubicBezTo>
                  <a:pt x="722630" y="1530764"/>
                  <a:pt x="724036" y="1528558"/>
                  <a:pt x="724356" y="1516144"/>
                </a:cubicBezTo>
                <a:cubicBezTo>
                  <a:pt x="724970" y="1492256"/>
                  <a:pt x="718637" y="1470245"/>
                  <a:pt x="707380" y="1449380"/>
                </a:cubicBezTo>
                <a:cubicBezTo>
                  <a:pt x="706259" y="1447304"/>
                  <a:pt x="706896" y="1444279"/>
                  <a:pt x="707050" y="1440881"/>
                </a:cubicBezTo>
                <a:cubicBezTo>
                  <a:pt x="722747" y="1457101"/>
                  <a:pt x="728653" y="1477963"/>
                  <a:pt x="731479" y="1500017"/>
                </a:cubicBezTo>
                <a:cubicBezTo>
                  <a:pt x="731992" y="1504029"/>
                  <a:pt x="731781" y="1508135"/>
                  <a:pt x="731163" y="1513759"/>
                </a:cubicBezTo>
                <a:cubicBezTo>
                  <a:pt x="730831" y="1517468"/>
                  <a:pt x="731241" y="1519618"/>
                  <a:pt x="731650" y="1521766"/>
                </a:cubicBezTo>
                <a:cubicBezTo>
                  <a:pt x="733191" y="1529956"/>
                  <a:pt x="730165" y="1535242"/>
                  <a:pt x="721896" y="1537319"/>
                </a:cubicBezTo>
                <a:cubicBezTo>
                  <a:pt x="700520" y="1542690"/>
                  <a:pt x="679367" y="1549248"/>
                  <a:pt x="657740" y="1553265"/>
                </a:cubicBezTo>
                <a:cubicBezTo>
                  <a:pt x="608220" y="1562464"/>
                  <a:pt x="558146" y="1566701"/>
                  <a:pt x="507791" y="1568943"/>
                </a:cubicBezTo>
                <a:cubicBezTo>
                  <a:pt x="426738" y="1572552"/>
                  <a:pt x="345677" y="1572161"/>
                  <a:pt x="264676" y="1569724"/>
                </a:cubicBezTo>
                <a:cubicBezTo>
                  <a:pt x="203800" y="1567891"/>
                  <a:pt x="142882" y="1563907"/>
                  <a:pt x="82743" y="1553254"/>
                </a:cubicBezTo>
                <a:cubicBezTo>
                  <a:pt x="60647" y="1549341"/>
                  <a:pt x="38739" y="1544032"/>
                  <a:pt x="17072" y="1538153"/>
                </a:cubicBezTo>
                <a:cubicBezTo>
                  <a:pt x="1381" y="1533894"/>
                  <a:pt x="-938" y="1529341"/>
                  <a:pt x="275" y="1513030"/>
                </a:cubicBezTo>
                <a:cubicBezTo>
                  <a:pt x="2146" y="1487871"/>
                  <a:pt x="7321" y="1463566"/>
                  <a:pt x="20923" y="1441861"/>
                </a:cubicBezTo>
                <a:cubicBezTo>
                  <a:pt x="24812" y="1435656"/>
                  <a:pt x="24566" y="1429699"/>
                  <a:pt x="23045" y="1423105"/>
                </a:cubicBezTo>
                <a:cubicBezTo>
                  <a:pt x="16952" y="1396684"/>
                  <a:pt x="19689" y="1370924"/>
                  <a:pt x="30564" y="1346289"/>
                </a:cubicBezTo>
                <a:cubicBezTo>
                  <a:pt x="39621" y="1325774"/>
                  <a:pt x="54481" y="1309709"/>
                  <a:pt x="71350" y="1295039"/>
                </a:cubicBezTo>
                <a:cubicBezTo>
                  <a:pt x="85712" y="1282550"/>
                  <a:pt x="99164" y="1268932"/>
                  <a:pt x="112257" y="1255093"/>
                </a:cubicBezTo>
                <a:cubicBezTo>
                  <a:pt x="122891" y="1243852"/>
                  <a:pt x="124955" y="1230879"/>
                  <a:pt x="115864" y="1217271"/>
                </a:cubicBezTo>
                <a:cubicBezTo>
                  <a:pt x="114506" y="1215239"/>
                  <a:pt x="113304" y="1213078"/>
                  <a:pt x="112256" y="1210870"/>
                </a:cubicBezTo>
                <a:cubicBezTo>
                  <a:pt x="106526" y="1198808"/>
                  <a:pt x="109052" y="1191969"/>
                  <a:pt x="121141" y="1186548"/>
                </a:cubicBezTo>
                <a:cubicBezTo>
                  <a:pt x="126274" y="1184246"/>
                  <a:pt x="131201" y="1180803"/>
                  <a:pt x="136571" y="1179850"/>
                </a:cubicBezTo>
                <a:cubicBezTo>
                  <a:pt x="149372" y="1177579"/>
                  <a:pt x="154892" y="1168948"/>
                  <a:pt x="158281" y="1157879"/>
                </a:cubicBezTo>
                <a:cubicBezTo>
                  <a:pt x="168288" y="1125194"/>
                  <a:pt x="179178" y="1092742"/>
                  <a:pt x="187986" y="1059736"/>
                </a:cubicBezTo>
                <a:cubicBezTo>
                  <a:pt x="198666" y="1019713"/>
                  <a:pt x="207813" y="979272"/>
                  <a:pt x="217119" y="938896"/>
                </a:cubicBezTo>
                <a:cubicBezTo>
                  <a:pt x="220491" y="924267"/>
                  <a:pt x="222410" y="909302"/>
                  <a:pt x="225792" y="893236"/>
                </a:cubicBezTo>
                <a:cubicBezTo>
                  <a:pt x="226444" y="890644"/>
                  <a:pt x="226297" y="889307"/>
                  <a:pt x="226150" y="887970"/>
                </a:cubicBezTo>
                <a:cubicBezTo>
                  <a:pt x="227450" y="877085"/>
                  <a:pt x="228750" y="866198"/>
                  <a:pt x="230782" y="853969"/>
                </a:cubicBezTo>
                <a:cubicBezTo>
                  <a:pt x="231271" y="851270"/>
                  <a:pt x="231029" y="849914"/>
                  <a:pt x="230786" y="848558"/>
                </a:cubicBezTo>
                <a:cubicBezTo>
                  <a:pt x="231390" y="840967"/>
                  <a:pt x="231993" y="833375"/>
                  <a:pt x="233315" y="824438"/>
                </a:cubicBezTo>
                <a:cubicBezTo>
                  <a:pt x="233755" y="821744"/>
                  <a:pt x="233477" y="820397"/>
                  <a:pt x="233199" y="819050"/>
                </a:cubicBezTo>
                <a:cubicBezTo>
                  <a:pt x="233786" y="807422"/>
                  <a:pt x="234374" y="795794"/>
                  <a:pt x="235848" y="782380"/>
                </a:cubicBezTo>
                <a:cubicBezTo>
                  <a:pt x="237047" y="760099"/>
                  <a:pt x="237488" y="739606"/>
                  <a:pt x="237465" y="719113"/>
                </a:cubicBezTo>
                <a:cubicBezTo>
                  <a:pt x="237463" y="717127"/>
                  <a:pt x="234595" y="715144"/>
                  <a:pt x="233057" y="713160"/>
                </a:cubicBezTo>
                <a:cubicBezTo>
                  <a:pt x="223043" y="711630"/>
                  <a:pt x="212881" y="710731"/>
                  <a:pt x="203056" y="708405"/>
                </a:cubicBezTo>
                <a:cubicBezTo>
                  <a:pt x="191716" y="705720"/>
                  <a:pt x="180144" y="702931"/>
                  <a:pt x="169628" y="698106"/>
                </a:cubicBezTo>
                <a:cubicBezTo>
                  <a:pt x="154505" y="691164"/>
                  <a:pt x="148867" y="675179"/>
                  <a:pt x="153237" y="659111"/>
                </a:cubicBezTo>
                <a:cubicBezTo>
                  <a:pt x="157196" y="644561"/>
                  <a:pt x="166649" y="634454"/>
                  <a:pt x="178365" y="626008"/>
                </a:cubicBezTo>
                <a:cubicBezTo>
                  <a:pt x="182258" y="623202"/>
                  <a:pt x="186579" y="620992"/>
                  <a:pt x="191885" y="617513"/>
                </a:cubicBezTo>
                <a:cubicBezTo>
                  <a:pt x="194882" y="614532"/>
                  <a:pt x="197062" y="612583"/>
                  <a:pt x="193681" y="610098"/>
                </a:cubicBezTo>
                <a:cubicBezTo>
                  <a:pt x="193381" y="595591"/>
                  <a:pt x="202034" y="586776"/>
                  <a:pt x="213301" y="579885"/>
                </a:cubicBezTo>
                <a:cubicBezTo>
                  <a:pt x="218517" y="576695"/>
                  <a:pt x="224270" y="574393"/>
                  <a:pt x="229635" y="571429"/>
                </a:cubicBezTo>
                <a:cubicBezTo>
                  <a:pt x="232401" y="569901"/>
                  <a:pt x="235344" y="568225"/>
                  <a:pt x="237351" y="565882"/>
                </a:cubicBezTo>
                <a:cubicBezTo>
                  <a:pt x="243193" y="559063"/>
                  <a:pt x="242021" y="554779"/>
                  <a:pt x="233673" y="550926"/>
                </a:cubicBezTo>
                <a:cubicBezTo>
                  <a:pt x="231458" y="549904"/>
                  <a:pt x="229049" y="549314"/>
                  <a:pt x="226799" y="548359"/>
                </a:cubicBezTo>
                <a:cubicBezTo>
                  <a:pt x="215108" y="543398"/>
                  <a:pt x="211118" y="532802"/>
                  <a:pt x="218639" y="522664"/>
                </a:cubicBezTo>
                <a:cubicBezTo>
                  <a:pt x="223647" y="515913"/>
                  <a:pt x="222661" y="511633"/>
                  <a:pt x="218264" y="505463"/>
                </a:cubicBezTo>
                <a:cubicBezTo>
                  <a:pt x="203255" y="484407"/>
                  <a:pt x="190650" y="461993"/>
                  <a:pt x="181762" y="437574"/>
                </a:cubicBezTo>
                <a:cubicBezTo>
                  <a:pt x="163530" y="387483"/>
                  <a:pt x="165826" y="338057"/>
                  <a:pt x="185971" y="289069"/>
                </a:cubicBezTo>
                <a:cubicBezTo>
                  <a:pt x="202921" y="247851"/>
                  <a:pt x="226229" y="210377"/>
                  <a:pt x="253787" y="175580"/>
                </a:cubicBezTo>
                <a:cubicBezTo>
                  <a:pt x="271814" y="152817"/>
                  <a:pt x="290973" y="130951"/>
                  <a:pt x="309639" y="108695"/>
                </a:cubicBezTo>
                <a:cubicBezTo>
                  <a:pt x="312744" y="104993"/>
                  <a:pt x="315922" y="101352"/>
                  <a:pt x="318061" y="98855"/>
                </a:cubicBezTo>
                <a:cubicBezTo>
                  <a:pt x="313257" y="88362"/>
                  <a:pt x="308695" y="79376"/>
                  <a:pt x="304967" y="70056"/>
                </a:cubicBezTo>
                <a:cubicBezTo>
                  <a:pt x="297146" y="50504"/>
                  <a:pt x="303366" y="33481"/>
                  <a:pt x="317012" y="19436"/>
                </a:cubicBezTo>
                <a:cubicBezTo>
                  <a:pt x="344741" y="-9105"/>
                  <a:pt x="393463" y="-3345"/>
                  <a:pt x="415542" y="18221"/>
                </a:cubicBezTo>
                <a:cubicBezTo>
                  <a:pt x="429559" y="31914"/>
                  <a:pt x="438373" y="56968"/>
                  <a:pt x="423203" y="82660"/>
                </a:cubicBezTo>
                <a:cubicBezTo>
                  <a:pt x="420306" y="87568"/>
                  <a:pt x="417047" y="92262"/>
                  <a:pt x="413361" y="97975"/>
                </a:cubicBezTo>
                <a:cubicBezTo>
                  <a:pt x="416167" y="100932"/>
                  <a:pt x="418781" y="103940"/>
                  <a:pt x="421654" y="106676"/>
                </a:cubicBezTo>
                <a:cubicBezTo>
                  <a:pt x="446372" y="130213"/>
                  <a:pt x="467902" y="156374"/>
                  <a:pt x="487032" y="184632"/>
                </a:cubicBezTo>
                <a:cubicBezTo>
                  <a:pt x="492374" y="192525"/>
                  <a:pt x="493990" y="199495"/>
                  <a:pt x="489213" y="208238"/>
                </a:cubicBezTo>
                <a:cubicBezTo>
                  <a:pt x="484525" y="216819"/>
                  <a:pt x="481033" y="226053"/>
                  <a:pt x="476520" y="235738"/>
                </a:cubicBezTo>
                <a:cubicBezTo>
                  <a:pt x="472168" y="236089"/>
                  <a:pt x="471165" y="234358"/>
                  <a:pt x="472850" y="230703"/>
                </a:cubicBezTo>
                <a:cubicBezTo>
                  <a:pt x="476263" y="223297"/>
                  <a:pt x="479344" y="215738"/>
                  <a:pt x="482723" y="208315"/>
                </a:cubicBezTo>
                <a:cubicBezTo>
                  <a:pt x="486016" y="201080"/>
                  <a:pt x="485571" y="194961"/>
                  <a:pt x="480764" y="187916"/>
                </a:cubicBezTo>
                <a:cubicBezTo>
                  <a:pt x="459995" y="157475"/>
                  <a:pt x="437234" y="128912"/>
                  <a:pt x="408519" y="105475"/>
                </a:cubicBezTo>
                <a:cubicBezTo>
                  <a:pt x="403555" y="101425"/>
                  <a:pt x="403835" y="96489"/>
                  <a:pt x="408625" y="89203"/>
                </a:cubicBezTo>
                <a:cubicBezTo>
                  <a:pt x="412416" y="83438"/>
                  <a:pt x="416045" y="77562"/>
                  <a:pt x="419600" y="71648"/>
                </a:cubicBezTo>
                <a:cubicBezTo>
                  <a:pt x="421349" y="68739"/>
                  <a:pt x="422717" y="65537"/>
                  <a:pt x="418792" y="63179"/>
                </a:cubicBezTo>
                <a:cubicBezTo>
                  <a:pt x="414834" y="60801"/>
                  <a:pt x="413218" y="63883"/>
                  <a:pt x="410943" y="66417"/>
                </a:cubicBezTo>
                <a:cubicBezTo>
                  <a:pt x="407706" y="70022"/>
                  <a:pt x="404330" y="74045"/>
                  <a:pt x="400140" y="76155"/>
                </a:cubicBezTo>
                <a:cubicBezTo>
                  <a:pt x="381561" y="85507"/>
                  <a:pt x="360821" y="72312"/>
                  <a:pt x="360599" y="51379"/>
                </a:cubicBezTo>
                <a:cubicBezTo>
                  <a:pt x="360556" y="47292"/>
                  <a:pt x="360308" y="43152"/>
                  <a:pt x="360842" y="39128"/>
                </a:cubicBezTo>
                <a:cubicBezTo>
                  <a:pt x="361447" y="34568"/>
                  <a:pt x="362880" y="30159"/>
                  <a:pt x="369470" y="30960"/>
                </a:cubicBezTo>
                <a:cubicBezTo>
                  <a:pt x="368501" y="37551"/>
                  <a:pt x="365745" y="43300"/>
                  <a:pt x="365613" y="49108"/>
                </a:cubicBezTo>
                <a:cubicBezTo>
                  <a:pt x="365328" y="61659"/>
                  <a:pt x="377498" y="72522"/>
                  <a:pt x="389468" y="71608"/>
                </a:cubicBezTo>
                <a:cubicBezTo>
                  <a:pt x="401478" y="70690"/>
                  <a:pt x="410127" y="59637"/>
                  <a:pt x="408822" y="46613"/>
                </a:cubicBezTo>
                <a:cubicBezTo>
                  <a:pt x="408542" y="43819"/>
                  <a:pt x="407521" y="41100"/>
                  <a:pt x="406842" y="38347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80" name="Free-form: Shape 179">
            <a:extLst>
              <a:ext uri="{FF2B5EF4-FFF2-40B4-BE49-F238E27FC236}">
                <a16:creationId xmlns:a16="http://schemas.microsoft.com/office/drawing/2014/main" id="{8735D5C0-6996-262A-E87D-43C3EA858D4E}"/>
              </a:ext>
            </a:extLst>
          </p:cNvPr>
          <p:cNvSpPr/>
          <p:nvPr/>
        </p:nvSpPr>
        <p:spPr>
          <a:xfrm>
            <a:off x="7893655" y="5526794"/>
            <a:ext cx="91545" cy="184495"/>
          </a:xfrm>
          <a:custGeom>
            <a:avLst/>
            <a:gdLst>
              <a:gd name="csX0" fmla="*/ 96534 w 100699"/>
              <a:gd name="csY0" fmla="*/ 202912 h 202945"/>
              <a:gd name="csX1" fmla="*/ 91036 w 100699"/>
              <a:gd name="csY1" fmla="*/ 196780 h 202945"/>
              <a:gd name="csX2" fmla="*/ 93357 w 100699"/>
              <a:gd name="csY2" fmla="*/ 178731 h 202945"/>
              <a:gd name="csX3" fmla="*/ 75903 w 100699"/>
              <a:gd name="csY3" fmla="*/ 106029 h 202945"/>
              <a:gd name="csX4" fmla="*/ 72780 w 100699"/>
              <a:gd name="csY4" fmla="*/ 102473 h 202945"/>
              <a:gd name="csX5" fmla="*/ 10982 w 100699"/>
              <a:gd name="csY5" fmla="*/ 41414 h 202945"/>
              <a:gd name="csX6" fmla="*/ 676 w 100699"/>
              <a:gd name="csY6" fmla="*/ 2936 h 202945"/>
              <a:gd name="csX7" fmla="*/ 5198 w 100699"/>
              <a:gd name="csY7" fmla="*/ 0 h 202945"/>
              <a:gd name="csX8" fmla="*/ 15435 w 100699"/>
              <a:gd name="csY8" fmla="*/ 35855 h 202945"/>
              <a:gd name="csX9" fmla="*/ 44498 w 100699"/>
              <a:gd name="csY9" fmla="*/ 63833 h 202945"/>
              <a:gd name="csX10" fmla="*/ 81385 w 100699"/>
              <a:gd name="csY10" fmla="*/ 106005 h 202945"/>
              <a:gd name="csX11" fmla="*/ 98950 w 100699"/>
              <a:gd name="csY11" fmla="*/ 190063 h 202945"/>
              <a:gd name="csX12" fmla="*/ 96534 w 100699"/>
              <a:gd name="csY12" fmla="*/ 202912 h 20294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</a:cxnLst>
            <a:rect l="l" t="t" r="r" b="b"/>
            <a:pathLst>
              <a:path w="100699" h="202945">
                <a:moveTo>
                  <a:pt x="96534" y="202912"/>
                </a:moveTo>
                <a:cubicBezTo>
                  <a:pt x="91699" y="203291"/>
                  <a:pt x="90650" y="200377"/>
                  <a:pt x="91036" y="196780"/>
                </a:cubicBezTo>
                <a:cubicBezTo>
                  <a:pt x="91685" y="190750"/>
                  <a:pt x="92933" y="184771"/>
                  <a:pt x="93357" y="178731"/>
                </a:cubicBezTo>
                <a:cubicBezTo>
                  <a:pt x="95183" y="152694"/>
                  <a:pt x="86034" y="129222"/>
                  <a:pt x="75903" y="106029"/>
                </a:cubicBezTo>
                <a:cubicBezTo>
                  <a:pt x="75300" y="104650"/>
                  <a:pt x="73904" y="103585"/>
                  <a:pt x="72780" y="102473"/>
                </a:cubicBezTo>
                <a:cubicBezTo>
                  <a:pt x="52199" y="82101"/>
                  <a:pt x="31673" y="61673"/>
                  <a:pt x="10982" y="41414"/>
                </a:cubicBezTo>
                <a:cubicBezTo>
                  <a:pt x="-119" y="30544"/>
                  <a:pt x="-1041" y="17093"/>
                  <a:pt x="676" y="2936"/>
                </a:cubicBezTo>
                <a:cubicBezTo>
                  <a:pt x="808" y="1852"/>
                  <a:pt x="2922" y="1010"/>
                  <a:pt x="5198" y="0"/>
                </a:cubicBezTo>
                <a:cubicBezTo>
                  <a:pt x="2043" y="13772"/>
                  <a:pt x="5665" y="25821"/>
                  <a:pt x="15435" y="35855"/>
                </a:cubicBezTo>
                <a:cubicBezTo>
                  <a:pt x="24811" y="45486"/>
                  <a:pt x="35301" y="54047"/>
                  <a:pt x="44498" y="63833"/>
                </a:cubicBezTo>
                <a:cubicBezTo>
                  <a:pt x="57293" y="77447"/>
                  <a:pt x="70760" y="90773"/>
                  <a:pt x="81385" y="106005"/>
                </a:cubicBezTo>
                <a:cubicBezTo>
                  <a:pt x="98896" y="131109"/>
                  <a:pt x="103759" y="159808"/>
                  <a:pt x="98950" y="190063"/>
                </a:cubicBezTo>
                <a:cubicBezTo>
                  <a:pt x="98311" y="194082"/>
                  <a:pt x="97697" y="198105"/>
                  <a:pt x="96534" y="202912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81" name="Free-form: Shape 180">
            <a:extLst>
              <a:ext uri="{FF2B5EF4-FFF2-40B4-BE49-F238E27FC236}">
                <a16:creationId xmlns:a16="http://schemas.microsoft.com/office/drawing/2014/main" id="{5D8FE7F2-9335-C9C9-F17F-FC33555C66A6}"/>
              </a:ext>
            </a:extLst>
          </p:cNvPr>
          <p:cNvSpPr/>
          <p:nvPr/>
        </p:nvSpPr>
        <p:spPr>
          <a:xfrm>
            <a:off x="7552370" y="5062758"/>
            <a:ext cx="3739" cy="60936"/>
          </a:xfrm>
          <a:custGeom>
            <a:avLst/>
            <a:gdLst>
              <a:gd name="csX0" fmla="*/ 0 w 4113"/>
              <a:gd name="csY0" fmla="*/ 0 h 67029"/>
              <a:gd name="csX1" fmla="*/ 4113 w 4113"/>
              <a:gd name="csY1" fmla="*/ 4824 h 67029"/>
              <a:gd name="csX2" fmla="*/ 2662 w 4113"/>
              <a:gd name="csY2" fmla="*/ 67030 h 67029"/>
              <a:gd name="csX3" fmla="*/ 631 w 4113"/>
              <a:gd name="csY3" fmla="*/ 55883 h 67029"/>
              <a:gd name="csX4" fmla="*/ 0 w 4113"/>
              <a:gd name="csY4" fmla="*/ 0 h 6702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4113" h="67029">
                <a:moveTo>
                  <a:pt x="0" y="0"/>
                </a:moveTo>
                <a:cubicBezTo>
                  <a:pt x="1242" y="855"/>
                  <a:pt x="4111" y="2838"/>
                  <a:pt x="4113" y="4824"/>
                </a:cubicBezTo>
                <a:cubicBezTo>
                  <a:pt x="4135" y="25317"/>
                  <a:pt x="3695" y="45810"/>
                  <a:pt x="2662" y="67030"/>
                </a:cubicBezTo>
                <a:cubicBezTo>
                  <a:pt x="1483" y="63799"/>
                  <a:pt x="680" y="59846"/>
                  <a:pt x="631" y="55883"/>
                </a:cubicBezTo>
                <a:cubicBezTo>
                  <a:pt x="404" y="37633"/>
                  <a:pt x="388" y="19381"/>
                  <a:pt x="0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82" name="Free-form: Shape 181">
            <a:extLst>
              <a:ext uri="{FF2B5EF4-FFF2-40B4-BE49-F238E27FC236}">
                <a16:creationId xmlns:a16="http://schemas.microsoft.com/office/drawing/2014/main" id="{CD10F3A0-B3EF-B84B-D897-BD9A20412AA4}"/>
              </a:ext>
            </a:extLst>
          </p:cNvPr>
          <p:cNvSpPr/>
          <p:nvPr/>
        </p:nvSpPr>
        <p:spPr>
          <a:xfrm>
            <a:off x="8004760" y="5790558"/>
            <a:ext cx="1060" cy="5803"/>
          </a:xfrm>
          <a:custGeom>
            <a:avLst/>
            <a:gdLst>
              <a:gd name="csX0" fmla="*/ 1130 w 1165"/>
              <a:gd name="csY0" fmla="*/ 6385 h 6384"/>
              <a:gd name="csX1" fmla="*/ 49 w 1165"/>
              <a:gd name="csY1" fmla="*/ 0 h 6384"/>
              <a:gd name="csX2" fmla="*/ 1130 w 1165"/>
              <a:gd name="csY2" fmla="*/ 6385 h 638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165" h="6384">
                <a:moveTo>
                  <a:pt x="1130" y="6385"/>
                </a:moveTo>
                <a:cubicBezTo>
                  <a:pt x="260" y="4748"/>
                  <a:pt x="-149" y="2599"/>
                  <a:pt x="49" y="0"/>
                </a:cubicBezTo>
                <a:cubicBezTo>
                  <a:pt x="969" y="1658"/>
                  <a:pt x="1279" y="3765"/>
                  <a:pt x="1130" y="6385"/>
                </a:cubicBezTo>
                <a:close/>
              </a:path>
            </a:pathLst>
          </a:custGeom>
          <a:solidFill>
            <a:srgbClr val="939B9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83" name="Free-form: Shape 182">
            <a:extLst>
              <a:ext uri="{FF2B5EF4-FFF2-40B4-BE49-F238E27FC236}">
                <a16:creationId xmlns:a16="http://schemas.microsoft.com/office/drawing/2014/main" id="{C62B6091-EED6-CD9A-F105-ED5AD123B451}"/>
              </a:ext>
            </a:extLst>
          </p:cNvPr>
          <p:cNvSpPr/>
          <p:nvPr/>
        </p:nvSpPr>
        <p:spPr>
          <a:xfrm>
            <a:off x="7975031" y="5716463"/>
            <a:ext cx="5440" cy="2491"/>
          </a:xfrm>
          <a:custGeom>
            <a:avLst/>
            <a:gdLst>
              <a:gd name="csX0" fmla="*/ 5985 w 5984"/>
              <a:gd name="csY0" fmla="*/ 1832 h 2740"/>
              <a:gd name="csX1" fmla="*/ 0 w 5984"/>
              <a:gd name="csY1" fmla="*/ 2740 h 2740"/>
              <a:gd name="csX2" fmla="*/ 4930 w 5984"/>
              <a:gd name="csY2" fmla="*/ 0 h 2740"/>
              <a:gd name="csX3" fmla="*/ 5985 w 5984"/>
              <a:gd name="csY3" fmla="*/ 1832 h 274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</a:cxnLst>
            <a:rect l="l" t="t" r="r" b="b"/>
            <a:pathLst>
              <a:path w="5984" h="2740">
                <a:moveTo>
                  <a:pt x="5985" y="1832"/>
                </a:moveTo>
                <a:cubicBezTo>
                  <a:pt x="3992" y="2553"/>
                  <a:pt x="1996" y="2646"/>
                  <a:pt x="0" y="2740"/>
                </a:cubicBezTo>
                <a:cubicBezTo>
                  <a:pt x="1398" y="1830"/>
                  <a:pt x="2796" y="920"/>
                  <a:pt x="4930" y="0"/>
                </a:cubicBezTo>
                <a:cubicBezTo>
                  <a:pt x="5772" y="394"/>
                  <a:pt x="5877" y="799"/>
                  <a:pt x="5985" y="1832"/>
                </a:cubicBezTo>
                <a:close/>
              </a:path>
            </a:pathLst>
          </a:custGeom>
          <a:solidFill>
            <a:srgbClr val="8E9395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84" name="Free-form: Shape 183">
            <a:extLst>
              <a:ext uri="{FF2B5EF4-FFF2-40B4-BE49-F238E27FC236}">
                <a16:creationId xmlns:a16="http://schemas.microsoft.com/office/drawing/2014/main" id="{BB702E45-6158-68CC-A8C6-FAEF3262A0CB}"/>
              </a:ext>
            </a:extLst>
          </p:cNvPr>
          <p:cNvSpPr/>
          <p:nvPr/>
        </p:nvSpPr>
        <p:spPr>
          <a:xfrm>
            <a:off x="7549558" y="5185152"/>
            <a:ext cx="770" cy="3664"/>
          </a:xfrm>
          <a:custGeom>
            <a:avLst/>
            <a:gdLst>
              <a:gd name="csX0" fmla="*/ 106 w 847"/>
              <a:gd name="csY0" fmla="*/ 0 h 4030"/>
              <a:gd name="csX1" fmla="*/ 732 w 847"/>
              <a:gd name="csY1" fmla="*/ 4031 h 4030"/>
              <a:gd name="csX2" fmla="*/ 106 w 847"/>
              <a:gd name="csY2" fmla="*/ 0 h 403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7" h="4030">
                <a:moveTo>
                  <a:pt x="106" y="0"/>
                </a:moveTo>
                <a:cubicBezTo>
                  <a:pt x="770" y="990"/>
                  <a:pt x="1013" y="2346"/>
                  <a:pt x="732" y="4031"/>
                </a:cubicBezTo>
                <a:cubicBezTo>
                  <a:pt x="34" y="3029"/>
                  <a:pt x="-141" y="1697"/>
                  <a:pt x="106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85" name="Free-form: Shape 184">
            <a:extLst>
              <a:ext uri="{FF2B5EF4-FFF2-40B4-BE49-F238E27FC236}">
                <a16:creationId xmlns:a16="http://schemas.microsoft.com/office/drawing/2014/main" id="{EFBC51C6-350A-28DE-77A4-EBEF9D663635}"/>
              </a:ext>
            </a:extLst>
          </p:cNvPr>
          <p:cNvSpPr/>
          <p:nvPr/>
        </p:nvSpPr>
        <p:spPr>
          <a:xfrm>
            <a:off x="7545234" y="5220946"/>
            <a:ext cx="703" cy="3631"/>
          </a:xfrm>
          <a:custGeom>
            <a:avLst/>
            <a:gdLst>
              <a:gd name="csX0" fmla="*/ 195 w 774"/>
              <a:gd name="csY0" fmla="*/ 0 h 3994"/>
              <a:gd name="csX1" fmla="*/ 575 w 774"/>
              <a:gd name="csY1" fmla="*/ 3994 h 3994"/>
              <a:gd name="csX2" fmla="*/ 195 w 774"/>
              <a:gd name="csY2" fmla="*/ 0 h 399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774" h="3994">
                <a:moveTo>
                  <a:pt x="195" y="0"/>
                </a:moveTo>
                <a:cubicBezTo>
                  <a:pt x="794" y="1011"/>
                  <a:pt x="941" y="2348"/>
                  <a:pt x="575" y="3994"/>
                </a:cubicBezTo>
                <a:cubicBezTo>
                  <a:pt x="-44" y="2978"/>
                  <a:pt x="-151" y="1652"/>
                  <a:pt x="195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86" name="Free-form: Shape 185">
            <a:extLst>
              <a:ext uri="{FF2B5EF4-FFF2-40B4-BE49-F238E27FC236}">
                <a16:creationId xmlns:a16="http://schemas.microsoft.com/office/drawing/2014/main" id="{C734ECFD-D7C2-E9F3-9F5F-1692C8ADC9E8}"/>
              </a:ext>
            </a:extLst>
          </p:cNvPr>
          <p:cNvSpPr/>
          <p:nvPr/>
        </p:nvSpPr>
        <p:spPr>
          <a:xfrm>
            <a:off x="7551812" y="5158342"/>
            <a:ext cx="787" cy="3631"/>
          </a:xfrm>
          <a:custGeom>
            <a:avLst/>
            <a:gdLst>
              <a:gd name="csX0" fmla="*/ 71 w 865"/>
              <a:gd name="csY0" fmla="*/ 0 h 3995"/>
              <a:gd name="csX1" fmla="*/ 783 w 865"/>
              <a:gd name="csY1" fmla="*/ 3996 h 3995"/>
              <a:gd name="csX2" fmla="*/ 71 w 865"/>
              <a:gd name="csY2" fmla="*/ 0 h 399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65" h="3995">
                <a:moveTo>
                  <a:pt x="71" y="0"/>
                </a:moveTo>
                <a:cubicBezTo>
                  <a:pt x="740" y="963"/>
                  <a:pt x="1018" y="2311"/>
                  <a:pt x="783" y="3996"/>
                </a:cubicBezTo>
                <a:cubicBezTo>
                  <a:pt x="73" y="3017"/>
                  <a:pt x="-124" y="1701"/>
                  <a:pt x="71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87" name="Free-form: Shape 186">
            <a:extLst>
              <a:ext uri="{FF2B5EF4-FFF2-40B4-BE49-F238E27FC236}">
                <a16:creationId xmlns:a16="http://schemas.microsoft.com/office/drawing/2014/main" id="{B83B224F-11AE-BB57-4F61-040FF975FDC0}"/>
              </a:ext>
            </a:extLst>
          </p:cNvPr>
          <p:cNvSpPr/>
          <p:nvPr/>
        </p:nvSpPr>
        <p:spPr>
          <a:xfrm>
            <a:off x="7670115" y="5062368"/>
            <a:ext cx="170236" cy="426821"/>
          </a:xfrm>
          <a:custGeom>
            <a:avLst/>
            <a:gdLst>
              <a:gd name="csX0" fmla="*/ 120604 w 187260"/>
              <a:gd name="csY0" fmla="*/ 222968 h 469503"/>
              <a:gd name="csX1" fmla="*/ 187261 w 187260"/>
              <a:gd name="csY1" fmla="*/ 469503 h 469503"/>
              <a:gd name="csX2" fmla="*/ 1253 w 187260"/>
              <a:gd name="csY2" fmla="*/ 466078 h 469503"/>
              <a:gd name="csX3" fmla="*/ 8 w 187260"/>
              <a:gd name="csY3" fmla="*/ 458101 h 469503"/>
              <a:gd name="csX4" fmla="*/ 4383 w 187260"/>
              <a:gd name="csY4" fmla="*/ 351443 h 469503"/>
              <a:gd name="csX5" fmla="*/ 4615 w 187260"/>
              <a:gd name="csY5" fmla="*/ 346536 h 469503"/>
              <a:gd name="csX6" fmla="*/ 7935 w 187260"/>
              <a:gd name="csY6" fmla="*/ 233648 h 469503"/>
              <a:gd name="csX7" fmla="*/ 10461 w 187260"/>
              <a:gd name="csY7" fmla="*/ 128112 h 469503"/>
              <a:gd name="csX8" fmla="*/ 12461 w 187260"/>
              <a:gd name="csY8" fmla="*/ 12750 h 469503"/>
              <a:gd name="csX9" fmla="*/ 13165 w 187260"/>
              <a:gd name="csY9" fmla="*/ 4285 h 469503"/>
              <a:gd name="csX10" fmla="*/ 102327 w 187260"/>
              <a:gd name="csY10" fmla="*/ 0 h 469503"/>
              <a:gd name="csX11" fmla="*/ 106229 w 187260"/>
              <a:gd name="csY11" fmla="*/ 111321 h 469503"/>
              <a:gd name="csX12" fmla="*/ 120604 w 187260"/>
              <a:gd name="csY12" fmla="*/ 222968 h 46950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</a:cxnLst>
            <a:rect l="l" t="t" r="r" b="b"/>
            <a:pathLst>
              <a:path w="187260" h="469503">
                <a:moveTo>
                  <a:pt x="120604" y="222968"/>
                </a:moveTo>
                <a:cubicBezTo>
                  <a:pt x="135383" y="307129"/>
                  <a:pt x="159464" y="387725"/>
                  <a:pt x="187261" y="469503"/>
                </a:cubicBezTo>
                <a:cubicBezTo>
                  <a:pt x="124460" y="468347"/>
                  <a:pt x="63286" y="467220"/>
                  <a:pt x="1253" y="466078"/>
                </a:cubicBezTo>
                <a:cubicBezTo>
                  <a:pt x="818" y="463442"/>
                  <a:pt x="-95" y="460752"/>
                  <a:pt x="8" y="458101"/>
                </a:cubicBezTo>
                <a:cubicBezTo>
                  <a:pt x="1383" y="422545"/>
                  <a:pt x="2900" y="386994"/>
                  <a:pt x="4383" y="351443"/>
                </a:cubicBezTo>
                <a:cubicBezTo>
                  <a:pt x="4451" y="349807"/>
                  <a:pt x="4566" y="348172"/>
                  <a:pt x="4615" y="346536"/>
                </a:cubicBezTo>
                <a:cubicBezTo>
                  <a:pt x="5732" y="308907"/>
                  <a:pt x="6921" y="271280"/>
                  <a:pt x="7935" y="233648"/>
                </a:cubicBezTo>
                <a:cubicBezTo>
                  <a:pt x="8883" y="198472"/>
                  <a:pt x="9752" y="163293"/>
                  <a:pt x="10461" y="128112"/>
                </a:cubicBezTo>
                <a:cubicBezTo>
                  <a:pt x="11237" y="89660"/>
                  <a:pt x="11781" y="51204"/>
                  <a:pt x="12461" y="12750"/>
                </a:cubicBezTo>
                <a:cubicBezTo>
                  <a:pt x="12503" y="10363"/>
                  <a:pt x="12848" y="7981"/>
                  <a:pt x="13165" y="4285"/>
                </a:cubicBezTo>
                <a:cubicBezTo>
                  <a:pt x="42856" y="2858"/>
                  <a:pt x="72082" y="1454"/>
                  <a:pt x="102327" y="0"/>
                </a:cubicBezTo>
                <a:cubicBezTo>
                  <a:pt x="103499" y="37348"/>
                  <a:pt x="103207" y="74470"/>
                  <a:pt x="106229" y="111321"/>
                </a:cubicBezTo>
                <a:cubicBezTo>
                  <a:pt x="109263" y="148326"/>
                  <a:pt x="115599" y="185060"/>
                  <a:pt x="120604" y="222968"/>
                </a:cubicBezTo>
                <a:close/>
              </a:path>
            </a:pathLst>
          </a:custGeom>
          <a:solidFill>
            <a:srgbClr val="FDFDFD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88" name="Free-form: Shape 187">
            <a:extLst>
              <a:ext uri="{FF2B5EF4-FFF2-40B4-BE49-F238E27FC236}">
                <a16:creationId xmlns:a16="http://schemas.microsoft.com/office/drawing/2014/main" id="{6D069F07-A2AD-8D69-1F2A-0258802CB8A7}"/>
              </a:ext>
            </a:extLst>
          </p:cNvPr>
          <p:cNvSpPr/>
          <p:nvPr/>
        </p:nvSpPr>
        <p:spPr>
          <a:xfrm>
            <a:off x="7668922" y="5529120"/>
            <a:ext cx="284824" cy="179974"/>
          </a:xfrm>
          <a:custGeom>
            <a:avLst/>
            <a:gdLst>
              <a:gd name="csX0" fmla="*/ 160234 w 313306"/>
              <a:gd name="csY0" fmla="*/ 197876 h 197971"/>
              <a:gd name="csX1" fmla="*/ 544 w 313306"/>
              <a:gd name="csY1" fmla="*/ 197972 h 197971"/>
              <a:gd name="csX2" fmla="*/ 3466 w 313306"/>
              <a:gd name="csY2" fmla="*/ 104326 h 197971"/>
              <a:gd name="csX3" fmla="*/ 0 w 313306"/>
              <a:gd name="csY3" fmla="*/ 10720 h 197971"/>
              <a:gd name="csX4" fmla="*/ 5445 w 313306"/>
              <a:gd name="csY4" fmla="*/ 9282 h 197971"/>
              <a:gd name="csX5" fmla="*/ 71623 w 313306"/>
              <a:gd name="csY5" fmla="*/ 6885 h 197971"/>
              <a:gd name="csX6" fmla="*/ 187887 w 313306"/>
              <a:gd name="csY6" fmla="*/ 233 h 197971"/>
              <a:gd name="csX7" fmla="*/ 215297 w 313306"/>
              <a:gd name="csY7" fmla="*/ 163 h 197971"/>
              <a:gd name="csX8" fmla="*/ 243629 w 313306"/>
              <a:gd name="csY8" fmla="*/ 61389 h 197971"/>
              <a:gd name="csX9" fmla="*/ 270660 w 313306"/>
              <a:gd name="csY9" fmla="*/ 86342 h 197971"/>
              <a:gd name="csX10" fmla="*/ 313142 w 313306"/>
              <a:gd name="csY10" fmla="*/ 170098 h 197971"/>
              <a:gd name="csX11" fmla="*/ 313291 w 313306"/>
              <a:gd name="csY11" fmla="*/ 176231 h 197971"/>
              <a:gd name="csX12" fmla="*/ 312654 w 313306"/>
              <a:gd name="csY12" fmla="*/ 180738 h 197971"/>
              <a:gd name="csX13" fmla="*/ 279655 w 313306"/>
              <a:gd name="csY13" fmla="*/ 186226 h 197971"/>
              <a:gd name="csX14" fmla="*/ 167436 w 313306"/>
              <a:gd name="csY14" fmla="*/ 196805 h 197971"/>
              <a:gd name="csX15" fmla="*/ 160234 w 313306"/>
              <a:gd name="csY15" fmla="*/ 197876 h 19797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</a:cxnLst>
            <a:rect l="l" t="t" r="r" b="b"/>
            <a:pathLst>
              <a:path w="313306" h="197971">
                <a:moveTo>
                  <a:pt x="160234" y="197876"/>
                </a:moveTo>
                <a:cubicBezTo>
                  <a:pt x="106384" y="197972"/>
                  <a:pt x="53682" y="197972"/>
                  <a:pt x="544" y="197972"/>
                </a:cubicBezTo>
                <a:cubicBezTo>
                  <a:pt x="1602" y="166763"/>
                  <a:pt x="3550" y="135542"/>
                  <a:pt x="3466" y="104326"/>
                </a:cubicBezTo>
                <a:cubicBezTo>
                  <a:pt x="3383" y="73323"/>
                  <a:pt x="1255" y="42326"/>
                  <a:pt x="0" y="10720"/>
                </a:cubicBezTo>
                <a:cubicBezTo>
                  <a:pt x="1689" y="10255"/>
                  <a:pt x="3551" y="9355"/>
                  <a:pt x="5445" y="9282"/>
                </a:cubicBezTo>
                <a:cubicBezTo>
                  <a:pt x="27503" y="8435"/>
                  <a:pt x="49582" y="8030"/>
                  <a:pt x="71623" y="6885"/>
                </a:cubicBezTo>
                <a:cubicBezTo>
                  <a:pt x="110388" y="4872"/>
                  <a:pt x="149126" y="2333"/>
                  <a:pt x="187887" y="233"/>
                </a:cubicBezTo>
                <a:cubicBezTo>
                  <a:pt x="196749" y="-247"/>
                  <a:pt x="205660" y="163"/>
                  <a:pt x="215297" y="163"/>
                </a:cubicBezTo>
                <a:cubicBezTo>
                  <a:pt x="215450" y="25550"/>
                  <a:pt x="226120" y="45122"/>
                  <a:pt x="243629" y="61389"/>
                </a:cubicBezTo>
                <a:cubicBezTo>
                  <a:pt x="252615" y="69739"/>
                  <a:pt x="261099" y="78715"/>
                  <a:pt x="270660" y="86342"/>
                </a:cubicBezTo>
                <a:cubicBezTo>
                  <a:pt x="297676" y="107892"/>
                  <a:pt x="310731" y="136225"/>
                  <a:pt x="313142" y="170098"/>
                </a:cubicBezTo>
                <a:cubicBezTo>
                  <a:pt x="313287" y="172136"/>
                  <a:pt x="313335" y="174188"/>
                  <a:pt x="313291" y="176231"/>
                </a:cubicBezTo>
                <a:cubicBezTo>
                  <a:pt x="313265" y="177429"/>
                  <a:pt x="312966" y="178621"/>
                  <a:pt x="312654" y="180738"/>
                </a:cubicBezTo>
                <a:cubicBezTo>
                  <a:pt x="302343" y="185396"/>
                  <a:pt x="290736" y="185049"/>
                  <a:pt x="279655" y="186226"/>
                </a:cubicBezTo>
                <a:cubicBezTo>
                  <a:pt x="242295" y="190193"/>
                  <a:pt x="204847" y="193324"/>
                  <a:pt x="167436" y="196805"/>
                </a:cubicBezTo>
                <a:cubicBezTo>
                  <a:pt x="165405" y="196994"/>
                  <a:pt x="163399" y="197449"/>
                  <a:pt x="160234" y="197876"/>
                </a:cubicBezTo>
                <a:close/>
              </a:path>
            </a:pathLst>
          </a:custGeom>
          <a:solidFill>
            <a:srgbClr val="FDFEFE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89" name="Free-form: Shape 188">
            <a:extLst>
              <a:ext uri="{FF2B5EF4-FFF2-40B4-BE49-F238E27FC236}">
                <a16:creationId xmlns:a16="http://schemas.microsoft.com/office/drawing/2014/main" id="{7BE6323D-0E8B-9616-14FC-FF2EFA719BBE}"/>
              </a:ext>
            </a:extLst>
          </p:cNvPr>
          <p:cNvSpPr/>
          <p:nvPr/>
        </p:nvSpPr>
        <p:spPr>
          <a:xfrm>
            <a:off x="7679665" y="4512536"/>
            <a:ext cx="149260" cy="361842"/>
          </a:xfrm>
          <a:custGeom>
            <a:avLst/>
            <a:gdLst>
              <a:gd name="csX0" fmla="*/ 22609 w 164186"/>
              <a:gd name="csY0" fmla="*/ 398026 h 398026"/>
              <a:gd name="csX1" fmla="*/ 16884 w 164186"/>
              <a:gd name="csY1" fmla="*/ 390515 h 398026"/>
              <a:gd name="csX2" fmla="*/ 9661 w 164186"/>
              <a:gd name="csY2" fmla="*/ 328443 h 398026"/>
              <a:gd name="csX3" fmla="*/ 534 w 164186"/>
              <a:gd name="csY3" fmla="*/ 196369 h 398026"/>
              <a:gd name="csX4" fmla="*/ 1243 w 164186"/>
              <a:gd name="csY4" fmla="*/ 82293 h 398026"/>
              <a:gd name="csX5" fmla="*/ 2245 w 164186"/>
              <a:gd name="csY5" fmla="*/ 43023 h 398026"/>
              <a:gd name="csX6" fmla="*/ 4587 w 164186"/>
              <a:gd name="csY6" fmla="*/ 0 h 398026"/>
              <a:gd name="csX7" fmla="*/ 12341 w 164186"/>
              <a:gd name="csY7" fmla="*/ 3872 h 398026"/>
              <a:gd name="csX8" fmla="*/ 85914 w 164186"/>
              <a:gd name="csY8" fmla="*/ 78943 h 398026"/>
              <a:gd name="csX9" fmla="*/ 87893 w 164186"/>
              <a:gd name="csY9" fmla="*/ 99117 h 398026"/>
              <a:gd name="csX10" fmla="*/ 35459 w 164186"/>
              <a:gd name="csY10" fmla="*/ 207346 h 398026"/>
              <a:gd name="csX11" fmla="*/ 32223 w 164186"/>
              <a:gd name="csY11" fmla="*/ 213959 h 398026"/>
              <a:gd name="csX12" fmla="*/ 39509 w 164186"/>
              <a:gd name="csY12" fmla="*/ 242056 h 398026"/>
              <a:gd name="csX13" fmla="*/ 69474 w 164186"/>
              <a:gd name="csY13" fmla="*/ 237019 h 398026"/>
              <a:gd name="csX14" fmla="*/ 89101 w 164186"/>
              <a:gd name="csY14" fmla="*/ 208870 h 398026"/>
              <a:gd name="csX15" fmla="*/ 121716 w 164186"/>
              <a:gd name="csY15" fmla="*/ 158357 h 398026"/>
              <a:gd name="csX16" fmla="*/ 129330 w 164186"/>
              <a:gd name="csY16" fmla="*/ 148165 h 398026"/>
              <a:gd name="csX17" fmla="*/ 137171 w 164186"/>
              <a:gd name="csY17" fmla="*/ 159989 h 398026"/>
              <a:gd name="csX18" fmla="*/ 163812 w 164186"/>
              <a:gd name="csY18" fmla="*/ 273175 h 398026"/>
              <a:gd name="csX19" fmla="*/ 118151 w 164186"/>
              <a:gd name="csY19" fmla="*/ 383442 h 398026"/>
              <a:gd name="csX20" fmla="*/ 92325 w 164186"/>
              <a:gd name="csY20" fmla="*/ 395173 h 398026"/>
              <a:gd name="csX21" fmla="*/ 22609 w 164186"/>
              <a:gd name="csY21" fmla="*/ 398026 h 39802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</a:cxnLst>
            <a:rect l="l" t="t" r="r" b="b"/>
            <a:pathLst>
              <a:path w="164186" h="398026">
                <a:moveTo>
                  <a:pt x="22609" y="398026"/>
                </a:moveTo>
                <a:cubicBezTo>
                  <a:pt x="19898" y="395489"/>
                  <a:pt x="17229" y="393154"/>
                  <a:pt x="16884" y="390515"/>
                </a:cubicBezTo>
                <a:cubicBezTo>
                  <a:pt x="14183" y="369861"/>
                  <a:pt x="11326" y="349196"/>
                  <a:pt x="9661" y="328443"/>
                </a:cubicBezTo>
                <a:cubicBezTo>
                  <a:pt x="6132" y="284452"/>
                  <a:pt x="2125" y="240448"/>
                  <a:pt x="534" y="196369"/>
                </a:cubicBezTo>
                <a:cubicBezTo>
                  <a:pt x="-837" y="158401"/>
                  <a:pt x="816" y="120322"/>
                  <a:pt x="1243" y="82293"/>
                </a:cubicBezTo>
                <a:cubicBezTo>
                  <a:pt x="1389" y="69201"/>
                  <a:pt x="1708" y="56105"/>
                  <a:pt x="2245" y="43023"/>
                </a:cubicBezTo>
                <a:cubicBezTo>
                  <a:pt x="2815" y="29160"/>
                  <a:pt x="3738" y="15312"/>
                  <a:pt x="4587" y="0"/>
                </a:cubicBezTo>
                <a:cubicBezTo>
                  <a:pt x="7809" y="1586"/>
                  <a:pt x="10279" y="2436"/>
                  <a:pt x="12341" y="3872"/>
                </a:cubicBezTo>
                <a:cubicBezTo>
                  <a:pt x="41601" y="24248"/>
                  <a:pt x="64069" y="51269"/>
                  <a:pt x="85914" y="78943"/>
                </a:cubicBezTo>
                <a:cubicBezTo>
                  <a:pt x="91106" y="85520"/>
                  <a:pt x="91706" y="91406"/>
                  <a:pt x="87893" y="99117"/>
                </a:cubicBezTo>
                <a:cubicBezTo>
                  <a:pt x="70127" y="135051"/>
                  <a:pt x="52890" y="171246"/>
                  <a:pt x="35459" y="207346"/>
                </a:cubicBezTo>
                <a:cubicBezTo>
                  <a:pt x="34391" y="209557"/>
                  <a:pt x="33130" y="211686"/>
                  <a:pt x="32223" y="213959"/>
                </a:cubicBezTo>
                <a:cubicBezTo>
                  <a:pt x="27471" y="225873"/>
                  <a:pt x="30154" y="236086"/>
                  <a:pt x="39509" y="242056"/>
                </a:cubicBezTo>
                <a:cubicBezTo>
                  <a:pt x="48880" y="248038"/>
                  <a:pt x="61705" y="246477"/>
                  <a:pt x="69474" y="237019"/>
                </a:cubicBezTo>
                <a:cubicBezTo>
                  <a:pt x="76712" y="228205"/>
                  <a:pt x="82824" y="218436"/>
                  <a:pt x="89101" y="208870"/>
                </a:cubicBezTo>
                <a:cubicBezTo>
                  <a:pt x="100096" y="192114"/>
                  <a:pt x="110806" y="175170"/>
                  <a:pt x="121716" y="158357"/>
                </a:cubicBezTo>
                <a:cubicBezTo>
                  <a:pt x="123679" y="155333"/>
                  <a:pt x="126029" y="152559"/>
                  <a:pt x="129330" y="148165"/>
                </a:cubicBezTo>
                <a:cubicBezTo>
                  <a:pt x="132450" y="152828"/>
                  <a:pt x="135175" y="156216"/>
                  <a:pt x="137171" y="159989"/>
                </a:cubicBezTo>
                <a:cubicBezTo>
                  <a:pt x="155891" y="195388"/>
                  <a:pt x="166343" y="232905"/>
                  <a:pt x="163812" y="273175"/>
                </a:cubicBezTo>
                <a:cubicBezTo>
                  <a:pt x="161183" y="314982"/>
                  <a:pt x="144984" y="351430"/>
                  <a:pt x="118151" y="383442"/>
                </a:cubicBezTo>
                <a:cubicBezTo>
                  <a:pt x="111214" y="391718"/>
                  <a:pt x="102452" y="394716"/>
                  <a:pt x="92325" y="395173"/>
                </a:cubicBezTo>
                <a:cubicBezTo>
                  <a:pt x="69461" y="396207"/>
                  <a:pt x="46593" y="397123"/>
                  <a:pt x="22609" y="398026"/>
                </a:cubicBezTo>
                <a:close/>
              </a:path>
            </a:pathLst>
          </a:custGeom>
          <a:solidFill>
            <a:srgbClr val="FCFDFD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90" name="Free-form: Shape 189">
            <a:extLst>
              <a:ext uri="{FF2B5EF4-FFF2-40B4-BE49-F238E27FC236}">
                <a16:creationId xmlns:a16="http://schemas.microsoft.com/office/drawing/2014/main" id="{A51A4426-6F92-D7F1-C63F-EDA45A133396}"/>
              </a:ext>
            </a:extLst>
          </p:cNvPr>
          <p:cNvSpPr/>
          <p:nvPr/>
        </p:nvSpPr>
        <p:spPr>
          <a:xfrm>
            <a:off x="7665559" y="5738327"/>
            <a:ext cx="305850" cy="64961"/>
          </a:xfrm>
          <a:custGeom>
            <a:avLst/>
            <a:gdLst>
              <a:gd name="csX0" fmla="*/ 105937 w 336434"/>
              <a:gd name="csY0" fmla="*/ 71458 h 71457"/>
              <a:gd name="csX1" fmla="*/ 3534 w 336434"/>
              <a:gd name="csY1" fmla="*/ 69115 h 71457"/>
              <a:gd name="csX2" fmla="*/ 1296 w 336434"/>
              <a:gd name="csY2" fmla="*/ 17910 h 71457"/>
              <a:gd name="csX3" fmla="*/ 14032 w 336434"/>
              <a:gd name="csY3" fmla="*/ 17908 h 71457"/>
              <a:gd name="csX4" fmla="*/ 102444 w 336434"/>
              <a:gd name="csY4" fmla="*/ 17433 h 71457"/>
              <a:gd name="csX5" fmla="*/ 284561 w 336434"/>
              <a:gd name="csY5" fmla="*/ 3564 h 71457"/>
              <a:gd name="csX6" fmla="*/ 311323 w 336434"/>
              <a:gd name="csY6" fmla="*/ 224 h 71457"/>
              <a:gd name="csX7" fmla="*/ 324313 w 336434"/>
              <a:gd name="csY7" fmla="*/ 6639 h 71457"/>
              <a:gd name="csX8" fmla="*/ 336434 w 336434"/>
              <a:gd name="csY8" fmla="*/ 46484 h 71457"/>
              <a:gd name="csX9" fmla="*/ 105937 w 336434"/>
              <a:gd name="csY9" fmla="*/ 71458 h 7145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336434" h="71457">
                <a:moveTo>
                  <a:pt x="105937" y="71458"/>
                </a:moveTo>
                <a:cubicBezTo>
                  <a:pt x="70820" y="70678"/>
                  <a:pt x="36930" y="69891"/>
                  <a:pt x="3534" y="69115"/>
                </a:cubicBezTo>
                <a:cubicBezTo>
                  <a:pt x="-81" y="59433"/>
                  <a:pt x="-1094" y="35337"/>
                  <a:pt x="1296" y="17910"/>
                </a:cubicBezTo>
                <a:cubicBezTo>
                  <a:pt x="5366" y="17910"/>
                  <a:pt x="9699" y="17923"/>
                  <a:pt x="14032" y="17908"/>
                </a:cubicBezTo>
                <a:cubicBezTo>
                  <a:pt x="43505" y="17812"/>
                  <a:pt x="73011" y="18557"/>
                  <a:pt x="102444" y="17433"/>
                </a:cubicBezTo>
                <a:cubicBezTo>
                  <a:pt x="163306" y="15109"/>
                  <a:pt x="224166" y="12264"/>
                  <a:pt x="284561" y="3564"/>
                </a:cubicBezTo>
                <a:cubicBezTo>
                  <a:pt x="293458" y="2283"/>
                  <a:pt x="302438" y="1575"/>
                  <a:pt x="311323" y="224"/>
                </a:cubicBezTo>
                <a:cubicBezTo>
                  <a:pt x="317371" y="-696"/>
                  <a:pt x="321247" y="1177"/>
                  <a:pt x="324313" y="6639"/>
                </a:cubicBezTo>
                <a:cubicBezTo>
                  <a:pt x="330512" y="17683"/>
                  <a:pt x="335236" y="31679"/>
                  <a:pt x="336434" y="46484"/>
                </a:cubicBezTo>
                <a:cubicBezTo>
                  <a:pt x="261124" y="64059"/>
                  <a:pt x="184356" y="69587"/>
                  <a:pt x="105937" y="71458"/>
                </a:cubicBezTo>
                <a:close/>
              </a:path>
            </a:pathLst>
          </a:custGeom>
          <a:solidFill>
            <a:srgbClr val="FCFCFC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91" name="Free-form: Shape 190">
            <a:extLst>
              <a:ext uri="{FF2B5EF4-FFF2-40B4-BE49-F238E27FC236}">
                <a16:creationId xmlns:a16="http://schemas.microsoft.com/office/drawing/2014/main" id="{94805411-A8F4-2009-42D2-6CAEFB4A8A22}"/>
              </a:ext>
            </a:extLst>
          </p:cNvPr>
          <p:cNvSpPr/>
          <p:nvPr/>
        </p:nvSpPr>
        <p:spPr>
          <a:xfrm>
            <a:off x="7679116" y="4907603"/>
            <a:ext cx="120683" cy="63097"/>
          </a:xfrm>
          <a:custGeom>
            <a:avLst/>
            <a:gdLst>
              <a:gd name="csX0" fmla="*/ 5051 w 132751"/>
              <a:gd name="csY0" fmla="*/ 7534 h 69406"/>
              <a:gd name="csX1" fmla="*/ 10615 w 132751"/>
              <a:gd name="csY1" fmla="*/ 3077 h 69406"/>
              <a:gd name="csX2" fmla="*/ 26541 w 132751"/>
              <a:gd name="csY2" fmla="*/ 2752 h 69406"/>
              <a:gd name="csX3" fmla="*/ 87728 w 132751"/>
              <a:gd name="csY3" fmla="*/ 89 h 69406"/>
              <a:gd name="csX4" fmla="*/ 101400 w 132751"/>
              <a:gd name="csY4" fmla="*/ 62 h 69406"/>
              <a:gd name="csX5" fmla="*/ 102924 w 132751"/>
              <a:gd name="csY5" fmla="*/ 4800 h 69406"/>
              <a:gd name="csX6" fmla="*/ 121469 w 132751"/>
              <a:gd name="csY6" fmla="*/ 43062 h 69406"/>
              <a:gd name="csX7" fmla="*/ 132751 w 132751"/>
              <a:gd name="csY7" fmla="*/ 65240 h 69406"/>
              <a:gd name="csX8" fmla="*/ 0 w 132751"/>
              <a:gd name="csY8" fmla="*/ 69406 h 69406"/>
              <a:gd name="csX9" fmla="*/ 5051 w 132751"/>
              <a:gd name="csY9" fmla="*/ 7534 h 6940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132751" h="69406">
                <a:moveTo>
                  <a:pt x="5051" y="7534"/>
                </a:moveTo>
                <a:cubicBezTo>
                  <a:pt x="6880" y="5272"/>
                  <a:pt x="8659" y="3268"/>
                  <a:pt x="10615" y="3077"/>
                </a:cubicBezTo>
                <a:cubicBezTo>
                  <a:pt x="15884" y="2564"/>
                  <a:pt x="21234" y="2972"/>
                  <a:pt x="26541" y="2752"/>
                </a:cubicBezTo>
                <a:cubicBezTo>
                  <a:pt x="46938" y="1911"/>
                  <a:pt x="67330" y="933"/>
                  <a:pt x="87728" y="89"/>
                </a:cubicBezTo>
                <a:cubicBezTo>
                  <a:pt x="92161" y="-94"/>
                  <a:pt x="96609" y="62"/>
                  <a:pt x="101400" y="62"/>
                </a:cubicBezTo>
                <a:cubicBezTo>
                  <a:pt x="101991" y="1827"/>
                  <a:pt x="102885" y="3302"/>
                  <a:pt x="102924" y="4800"/>
                </a:cubicBezTo>
                <a:cubicBezTo>
                  <a:pt x="103334" y="20376"/>
                  <a:pt x="108815" y="33165"/>
                  <a:pt x="121469" y="43062"/>
                </a:cubicBezTo>
                <a:cubicBezTo>
                  <a:pt x="127809" y="48021"/>
                  <a:pt x="132509" y="54869"/>
                  <a:pt x="132751" y="65240"/>
                </a:cubicBezTo>
                <a:cubicBezTo>
                  <a:pt x="88663" y="66624"/>
                  <a:pt x="45259" y="67986"/>
                  <a:pt x="0" y="69406"/>
                </a:cubicBezTo>
                <a:cubicBezTo>
                  <a:pt x="6474" y="48167"/>
                  <a:pt x="10658" y="28665"/>
                  <a:pt x="5051" y="7534"/>
                </a:cubicBezTo>
                <a:close/>
              </a:path>
            </a:pathLst>
          </a:custGeom>
          <a:solidFill>
            <a:srgbClr val="FBFCFB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92" name="Free-form: Shape 191">
            <a:extLst>
              <a:ext uri="{FF2B5EF4-FFF2-40B4-BE49-F238E27FC236}">
                <a16:creationId xmlns:a16="http://schemas.microsoft.com/office/drawing/2014/main" id="{4871FED7-F912-EC8C-281C-702FFB487F85}"/>
              </a:ext>
            </a:extLst>
          </p:cNvPr>
          <p:cNvSpPr/>
          <p:nvPr/>
        </p:nvSpPr>
        <p:spPr>
          <a:xfrm>
            <a:off x="7688752" y="4997217"/>
            <a:ext cx="150878" cy="35402"/>
          </a:xfrm>
          <a:custGeom>
            <a:avLst/>
            <a:gdLst>
              <a:gd name="csX0" fmla="*/ 80894 w 165965"/>
              <a:gd name="csY0" fmla="*/ 440 h 38942"/>
              <a:gd name="csX1" fmla="*/ 128629 w 165965"/>
              <a:gd name="csY1" fmla="*/ 5 h 38942"/>
              <a:gd name="csX2" fmla="*/ 155177 w 165965"/>
              <a:gd name="csY2" fmla="*/ 8091 h 38942"/>
              <a:gd name="csX3" fmla="*/ 164213 w 165965"/>
              <a:gd name="csY3" fmla="*/ 17723 h 38942"/>
              <a:gd name="csX4" fmla="*/ 159998 w 165965"/>
              <a:gd name="csY4" fmla="*/ 30717 h 38942"/>
              <a:gd name="csX5" fmla="*/ 146998 w 165965"/>
              <a:gd name="csY5" fmla="*/ 33737 h 38942"/>
              <a:gd name="csX6" fmla="*/ 12439 w 165965"/>
              <a:gd name="csY6" fmla="*/ 38914 h 38942"/>
              <a:gd name="csX7" fmla="*/ 0 w 165965"/>
              <a:gd name="csY7" fmla="*/ 38402 h 38942"/>
              <a:gd name="csX8" fmla="*/ 0 w 165965"/>
              <a:gd name="csY8" fmla="*/ 4598 h 38942"/>
              <a:gd name="csX9" fmla="*/ 80894 w 165965"/>
              <a:gd name="csY9" fmla="*/ 440 h 3894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165965" h="38942">
                <a:moveTo>
                  <a:pt x="80894" y="440"/>
                </a:moveTo>
                <a:cubicBezTo>
                  <a:pt x="97591" y="288"/>
                  <a:pt x="113111" y="227"/>
                  <a:pt x="128629" y="5"/>
                </a:cubicBezTo>
                <a:cubicBezTo>
                  <a:pt x="138376" y="-135"/>
                  <a:pt x="147226" y="2891"/>
                  <a:pt x="155177" y="8091"/>
                </a:cubicBezTo>
                <a:cubicBezTo>
                  <a:pt x="158779" y="10447"/>
                  <a:pt x="161992" y="14009"/>
                  <a:pt x="164213" y="17723"/>
                </a:cubicBezTo>
                <a:cubicBezTo>
                  <a:pt x="167602" y="23390"/>
                  <a:pt x="166013" y="28134"/>
                  <a:pt x="159998" y="30717"/>
                </a:cubicBezTo>
                <a:cubicBezTo>
                  <a:pt x="155963" y="32450"/>
                  <a:pt x="151384" y="33554"/>
                  <a:pt x="146998" y="33737"/>
                </a:cubicBezTo>
                <a:cubicBezTo>
                  <a:pt x="102152" y="35619"/>
                  <a:pt x="57295" y="37279"/>
                  <a:pt x="12439" y="38914"/>
                </a:cubicBezTo>
                <a:cubicBezTo>
                  <a:pt x="8467" y="39059"/>
                  <a:pt x="4472" y="38602"/>
                  <a:pt x="0" y="38402"/>
                </a:cubicBezTo>
                <a:cubicBezTo>
                  <a:pt x="0" y="27166"/>
                  <a:pt x="0" y="16774"/>
                  <a:pt x="0" y="4598"/>
                </a:cubicBezTo>
                <a:cubicBezTo>
                  <a:pt x="27063" y="3194"/>
                  <a:pt x="53389" y="1829"/>
                  <a:pt x="80894" y="440"/>
                </a:cubicBezTo>
                <a:close/>
              </a:path>
            </a:pathLst>
          </a:custGeom>
          <a:solidFill>
            <a:srgbClr val="FBFCFB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93" name="Free-form: Shape 192">
            <a:extLst>
              <a:ext uri="{FF2B5EF4-FFF2-40B4-BE49-F238E27FC236}">
                <a16:creationId xmlns:a16="http://schemas.microsoft.com/office/drawing/2014/main" id="{2BBB60AA-D258-B647-CC47-33E62F3E32D4}"/>
              </a:ext>
            </a:extLst>
          </p:cNvPr>
          <p:cNvSpPr/>
          <p:nvPr/>
        </p:nvSpPr>
        <p:spPr>
          <a:xfrm>
            <a:off x="7672603" y="4436393"/>
            <a:ext cx="39402" cy="42156"/>
          </a:xfrm>
          <a:custGeom>
            <a:avLst/>
            <a:gdLst>
              <a:gd name="csX0" fmla="*/ 40602 w 43343"/>
              <a:gd name="csY0" fmla="*/ 12465 h 46372"/>
              <a:gd name="csX1" fmla="*/ 43214 w 43343"/>
              <a:gd name="csY1" fmla="*/ 21324 h 46372"/>
              <a:gd name="csX2" fmla="*/ 23859 w 43343"/>
              <a:gd name="csY2" fmla="*/ 46319 h 46372"/>
              <a:gd name="csX3" fmla="*/ 5 w 43343"/>
              <a:gd name="csY3" fmla="*/ 23820 h 46372"/>
              <a:gd name="csX4" fmla="*/ 4855 w 43343"/>
              <a:gd name="csY4" fmla="*/ 5679 h 46372"/>
              <a:gd name="csX5" fmla="*/ 40602 w 43343"/>
              <a:gd name="csY5" fmla="*/ 12465 h 4637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</a:cxnLst>
            <a:rect l="l" t="t" r="r" b="b"/>
            <a:pathLst>
              <a:path w="43343" h="46372">
                <a:moveTo>
                  <a:pt x="40602" y="12465"/>
                </a:moveTo>
                <a:cubicBezTo>
                  <a:pt x="41913" y="15811"/>
                  <a:pt x="42933" y="18530"/>
                  <a:pt x="43214" y="21324"/>
                </a:cubicBezTo>
                <a:cubicBezTo>
                  <a:pt x="44519" y="34348"/>
                  <a:pt x="35870" y="45401"/>
                  <a:pt x="23859" y="46319"/>
                </a:cubicBezTo>
                <a:cubicBezTo>
                  <a:pt x="11890" y="47233"/>
                  <a:pt x="-280" y="36371"/>
                  <a:pt x="5" y="23820"/>
                </a:cubicBezTo>
                <a:cubicBezTo>
                  <a:pt x="136" y="18011"/>
                  <a:pt x="2893" y="12263"/>
                  <a:pt x="4855" y="5679"/>
                </a:cubicBezTo>
                <a:cubicBezTo>
                  <a:pt x="20601" y="-3403"/>
                  <a:pt x="28004" y="-1910"/>
                  <a:pt x="40602" y="12465"/>
                </a:cubicBezTo>
                <a:close/>
              </a:path>
            </a:pathLst>
          </a:custGeom>
          <a:solidFill>
            <a:srgbClr val="FBFCFB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94" name="Oval 193">
            <a:extLst>
              <a:ext uri="{FF2B5EF4-FFF2-40B4-BE49-F238E27FC236}">
                <a16:creationId xmlns:a16="http://schemas.microsoft.com/office/drawing/2014/main" id="{C9156989-EAE9-E15F-E6F2-83CE395FE07B}"/>
              </a:ext>
            </a:extLst>
          </p:cNvPr>
          <p:cNvSpPr/>
          <p:nvPr/>
        </p:nvSpPr>
        <p:spPr>
          <a:xfrm>
            <a:off x="4896567" y="5769755"/>
            <a:ext cx="717698" cy="104135"/>
          </a:xfrm>
          <a:prstGeom prst="ellipse">
            <a:avLst/>
          </a:prstGeom>
          <a:solidFill>
            <a:schemeClr val="tx1">
              <a:alpha val="6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95" name="Free-form: Shape 194">
            <a:extLst>
              <a:ext uri="{FF2B5EF4-FFF2-40B4-BE49-F238E27FC236}">
                <a16:creationId xmlns:a16="http://schemas.microsoft.com/office/drawing/2014/main" id="{D6DDACB9-4508-6787-1B4D-069AADDCB021}"/>
              </a:ext>
            </a:extLst>
          </p:cNvPr>
          <p:cNvSpPr/>
          <p:nvPr/>
        </p:nvSpPr>
        <p:spPr>
          <a:xfrm flipH="1">
            <a:off x="5030450" y="4344418"/>
            <a:ext cx="557648" cy="1497715"/>
          </a:xfrm>
          <a:custGeom>
            <a:avLst/>
            <a:gdLst>
              <a:gd name="csX0" fmla="*/ 96263 w 729419"/>
              <a:gd name="csY0" fmla="*/ 2076207 h 2076207"/>
              <a:gd name="csX1" fmla="*/ 63862 w 729419"/>
              <a:gd name="csY1" fmla="*/ 2065388 h 2076207"/>
              <a:gd name="csX2" fmla="*/ 16555 w 729419"/>
              <a:gd name="csY2" fmla="*/ 2050152 h 2076207"/>
              <a:gd name="csX3" fmla="*/ 15 w 729419"/>
              <a:gd name="csY3" fmla="*/ 2023802 h 2076207"/>
              <a:gd name="csX4" fmla="*/ 18368 w 729419"/>
              <a:gd name="csY4" fmla="*/ 1940709 h 2076207"/>
              <a:gd name="csX5" fmla="*/ 22139 w 729419"/>
              <a:gd name="csY5" fmla="*/ 1907268 h 2076207"/>
              <a:gd name="csX6" fmla="*/ 57941 w 729419"/>
              <a:gd name="csY6" fmla="*/ 1774163 h 2076207"/>
              <a:gd name="csX7" fmla="*/ 102478 w 729419"/>
              <a:gd name="csY7" fmla="*/ 1720275 h 2076207"/>
              <a:gd name="csX8" fmla="*/ 108579 w 729419"/>
              <a:gd name="csY8" fmla="*/ 1650967 h 2076207"/>
              <a:gd name="csX9" fmla="*/ 115628 w 729419"/>
              <a:gd name="csY9" fmla="*/ 1625405 h 2076207"/>
              <a:gd name="csX10" fmla="*/ 156323 w 729419"/>
              <a:gd name="csY10" fmla="*/ 1560181 h 2076207"/>
              <a:gd name="csX11" fmla="*/ 199424 w 729419"/>
              <a:gd name="csY11" fmla="*/ 1364729 h 2076207"/>
              <a:gd name="csX12" fmla="*/ 216779 w 729419"/>
              <a:gd name="csY12" fmla="*/ 1219490 h 2076207"/>
              <a:gd name="csX13" fmla="*/ 229755 w 729419"/>
              <a:gd name="csY13" fmla="*/ 1099357 h 2076207"/>
              <a:gd name="csX14" fmla="*/ 232707 w 729419"/>
              <a:gd name="csY14" fmla="*/ 1056423 h 2076207"/>
              <a:gd name="csX15" fmla="*/ 235622 w 729419"/>
              <a:gd name="csY15" fmla="*/ 952675 h 2076207"/>
              <a:gd name="csX16" fmla="*/ 235445 w 729419"/>
              <a:gd name="csY16" fmla="*/ 780278 h 2076207"/>
              <a:gd name="csX17" fmla="*/ 214544 w 729419"/>
              <a:gd name="csY17" fmla="*/ 756435 h 2076207"/>
              <a:gd name="csX18" fmla="*/ 172569 w 729419"/>
              <a:gd name="csY18" fmla="*/ 742582 h 2076207"/>
              <a:gd name="csX19" fmla="*/ 168784 w 729419"/>
              <a:gd name="csY19" fmla="*/ 669116 h 2076207"/>
              <a:gd name="csX20" fmla="*/ 191657 w 729419"/>
              <a:gd name="csY20" fmla="*/ 630765 h 2076207"/>
              <a:gd name="csX21" fmla="*/ 208150 w 729419"/>
              <a:gd name="csY21" fmla="*/ 609084 h 2076207"/>
              <a:gd name="csX22" fmla="*/ 216756 w 729419"/>
              <a:gd name="csY22" fmla="*/ 558673 h 2076207"/>
              <a:gd name="csX23" fmla="*/ 209092 w 729419"/>
              <a:gd name="csY23" fmla="*/ 521540 h 2076207"/>
              <a:gd name="csX24" fmla="*/ 204683 w 729419"/>
              <a:gd name="csY24" fmla="*/ 474024 h 2076207"/>
              <a:gd name="csX25" fmla="*/ 115483 w 729419"/>
              <a:gd name="csY25" fmla="*/ 213499 h 2076207"/>
              <a:gd name="csX26" fmla="*/ 102909 w 729419"/>
              <a:gd name="csY26" fmla="*/ 182297 h 2076207"/>
              <a:gd name="csX27" fmla="*/ 104315 w 729419"/>
              <a:gd name="csY27" fmla="*/ 163968 h 2076207"/>
              <a:gd name="csX28" fmla="*/ 122444 w 729419"/>
              <a:gd name="csY28" fmla="*/ 160805 h 2076207"/>
              <a:gd name="csX29" fmla="*/ 170283 w 729419"/>
              <a:gd name="csY29" fmla="*/ 187783 h 2076207"/>
              <a:gd name="csX30" fmla="*/ 180938 w 729419"/>
              <a:gd name="csY30" fmla="*/ 195322 h 2076207"/>
              <a:gd name="csX31" fmla="*/ 221419 w 729419"/>
              <a:gd name="csY31" fmla="*/ 138058 h 2076207"/>
              <a:gd name="csX32" fmla="*/ 294099 w 729419"/>
              <a:gd name="csY32" fmla="*/ 91372 h 2076207"/>
              <a:gd name="csX33" fmla="*/ 302307 w 729419"/>
              <a:gd name="csY33" fmla="*/ 76560 h 2076207"/>
              <a:gd name="csX34" fmla="*/ 320284 w 729419"/>
              <a:gd name="csY34" fmla="*/ 8414 h 2076207"/>
              <a:gd name="csX35" fmla="*/ 324784 w 729419"/>
              <a:gd name="csY35" fmla="*/ 946 h 2076207"/>
              <a:gd name="csX36" fmla="*/ 399212 w 729419"/>
              <a:gd name="csY36" fmla="*/ 0 h 2076207"/>
              <a:gd name="csX37" fmla="*/ 425980 w 729419"/>
              <a:gd name="csY37" fmla="*/ 78301 h 2076207"/>
              <a:gd name="csX38" fmla="*/ 431861 w 729419"/>
              <a:gd name="csY38" fmla="*/ 90312 h 2076207"/>
              <a:gd name="csX39" fmla="*/ 540349 w 729419"/>
              <a:gd name="csY39" fmla="*/ 187946 h 2076207"/>
              <a:gd name="csX40" fmla="*/ 545555 w 729419"/>
              <a:gd name="csY40" fmla="*/ 197828 h 2076207"/>
              <a:gd name="csX41" fmla="*/ 587318 w 729419"/>
              <a:gd name="csY41" fmla="*/ 171260 h 2076207"/>
              <a:gd name="csX42" fmla="*/ 601503 w 729419"/>
              <a:gd name="csY42" fmla="*/ 163707 h 2076207"/>
              <a:gd name="csX43" fmla="*/ 625254 w 729419"/>
              <a:gd name="csY43" fmla="*/ 163123 h 2076207"/>
              <a:gd name="csX44" fmla="*/ 625468 w 729419"/>
              <a:gd name="csY44" fmla="*/ 187579 h 2076207"/>
              <a:gd name="csX45" fmla="*/ 597543 w 729419"/>
              <a:gd name="csY45" fmla="*/ 251872 h 2076207"/>
              <a:gd name="csX46" fmla="*/ 531831 w 729419"/>
              <a:gd name="csY46" fmla="*/ 442689 h 2076207"/>
              <a:gd name="csX47" fmla="*/ 519888 w 729419"/>
              <a:gd name="csY47" fmla="*/ 501474 h 2076207"/>
              <a:gd name="csX48" fmla="*/ 522506 w 729419"/>
              <a:gd name="csY48" fmla="*/ 525086 h 2076207"/>
              <a:gd name="csX49" fmla="*/ 516235 w 729419"/>
              <a:gd name="csY49" fmla="*/ 555946 h 2076207"/>
              <a:gd name="csX50" fmla="*/ 521332 w 729419"/>
              <a:gd name="csY50" fmla="*/ 610676 h 2076207"/>
              <a:gd name="csX51" fmla="*/ 541382 w 729419"/>
              <a:gd name="csY51" fmla="*/ 642597 h 2076207"/>
              <a:gd name="csX52" fmla="*/ 557031 w 729419"/>
              <a:gd name="csY52" fmla="*/ 667949 h 2076207"/>
              <a:gd name="csX53" fmla="*/ 553994 w 729419"/>
              <a:gd name="csY53" fmla="*/ 744146 h 2076207"/>
              <a:gd name="csX54" fmla="*/ 508215 w 729419"/>
              <a:gd name="csY54" fmla="*/ 758841 h 2076207"/>
              <a:gd name="csX55" fmla="*/ 497442 w 729419"/>
              <a:gd name="csY55" fmla="*/ 771256 h 2076207"/>
              <a:gd name="csX56" fmla="*/ 493005 w 729419"/>
              <a:gd name="csY56" fmla="*/ 922055 h 2076207"/>
              <a:gd name="csX57" fmla="*/ 502900 w 729419"/>
              <a:gd name="csY57" fmla="*/ 1114191 h 2076207"/>
              <a:gd name="csX58" fmla="*/ 508800 w 729419"/>
              <a:gd name="csY58" fmla="*/ 1205474 h 2076207"/>
              <a:gd name="csX59" fmla="*/ 522952 w 729419"/>
              <a:gd name="csY59" fmla="*/ 1320065 h 2076207"/>
              <a:gd name="csX60" fmla="*/ 554682 w 729419"/>
              <a:gd name="csY60" fmla="*/ 1501203 h 2076207"/>
              <a:gd name="csX61" fmla="*/ 576958 w 729419"/>
              <a:gd name="csY61" fmla="*/ 1593963 h 2076207"/>
              <a:gd name="csX62" fmla="*/ 595349 w 729419"/>
              <a:gd name="csY62" fmla="*/ 1613498 h 2076207"/>
              <a:gd name="csX63" fmla="*/ 613936 w 729419"/>
              <a:gd name="csY63" fmla="*/ 1624058 h 2076207"/>
              <a:gd name="csX64" fmla="*/ 620938 w 729419"/>
              <a:gd name="csY64" fmla="*/ 1652071 h 2076207"/>
              <a:gd name="csX65" fmla="*/ 630805 w 729419"/>
              <a:gd name="csY65" fmla="*/ 1721702 h 2076207"/>
              <a:gd name="csX66" fmla="*/ 685830 w 729419"/>
              <a:gd name="csY66" fmla="*/ 1792915 h 2076207"/>
              <a:gd name="csX67" fmla="*/ 708904 w 729419"/>
              <a:gd name="csY67" fmla="*/ 1890290 h 2076207"/>
              <a:gd name="csX68" fmla="*/ 716580 w 729419"/>
              <a:gd name="csY68" fmla="*/ 1951136 h 2076207"/>
              <a:gd name="csX69" fmla="*/ 729397 w 729419"/>
              <a:gd name="csY69" fmla="*/ 2030261 h 2076207"/>
              <a:gd name="csX70" fmla="*/ 714212 w 729419"/>
              <a:gd name="csY70" fmla="*/ 2049544 h 2076207"/>
              <a:gd name="csX71" fmla="*/ 645428 w 729419"/>
              <a:gd name="csY71" fmla="*/ 2070825 h 2076207"/>
              <a:gd name="csX72" fmla="*/ 635822 w 729419"/>
              <a:gd name="csY72" fmla="*/ 2075145 h 2076207"/>
              <a:gd name="csX73" fmla="*/ 588428 w 729419"/>
              <a:gd name="csY73" fmla="*/ 2075144 h 2076207"/>
              <a:gd name="csX74" fmla="*/ 590041 w 729419"/>
              <a:gd name="csY74" fmla="*/ 2071383 h 2076207"/>
              <a:gd name="csX75" fmla="*/ 667788 w 729419"/>
              <a:gd name="csY75" fmla="*/ 2056852 h 2076207"/>
              <a:gd name="csX76" fmla="*/ 706629 w 729419"/>
              <a:gd name="csY76" fmla="*/ 2044290 h 2076207"/>
              <a:gd name="csX77" fmla="*/ 702674 w 729419"/>
              <a:gd name="csY77" fmla="*/ 2041581 h 2076207"/>
              <a:gd name="csX78" fmla="*/ 544974 w 729419"/>
              <a:gd name="csY78" fmla="*/ 2071274 h 2076207"/>
              <a:gd name="csX79" fmla="*/ 538352 w 729419"/>
              <a:gd name="csY79" fmla="*/ 2076207 h 2076207"/>
              <a:gd name="csX80" fmla="*/ 96263 w 729419"/>
              <a:gd name="csY80" fmla="*/ 2076207 h 2076207"/>
              <a:gd name="csX81" fmla="*/ 489970 w 729419"/>
              <a:gd name="csY81" fmla="*/ 152208 h 2076207"/>
              <a:gd name="csX82" fmla="*/ 490754 w 729419"/>
              <a:gd name="csY82" fmla="*/ 152592 h 2076207"/>
              <a:gd name="csX83" fmla="*/ 489489 w 729419"/>
              <a:gd name="csY83" fmla="*/ 149547 h 2076207"/>
              <a:gd name="csX84" fmla="*/ 393621 w 729419"/>
              <a:gd name="csY84" fmla="*/ 99259 h 2076207"/>
              <a:gd name="csX85" fmla="*/ 390419 w 729419"/>
              <a:gd name="csY85" fmla="*/ 18568 h 2076207"/>
              <a:gd name="csX86" fmla="*/ 334131 w 729419"/>
              <a:gd name="csY86" fmla="*/ 24327 h 2076207"/>
              <a:gd name="csX87" fmla="*/ 344678 w 729419"/>
              <a:gd name="csY87" fmla="*/ 101259 h 2076207"/>
              <a:gd name="csX88" fmla="*/ 298854 w 729419"/>
              <a:gd name="csY88" fmla="*/ 114003 h 2076207"/>
              <a:gd name="csX89" fmla="*/ 237456 w 729419"/>
              <a:gd name="csY89" fmla="*/ 154340 h 2076207"/>
              <a:gd name="csX90" fmla="*/ 240382 w 729419"/>
              <a:gd name="csY90" fmla="*/ 154035 h 2076207"/>
              <a:gd name="csX91" fmla="*/ 262731 w 729419"/>
              <a:gd name="csY91" fmla="*/ 170426 h 2076207"/>
              <a:gd name="csX92" fmla="*/ 279169 w 729419"/>
              <a:gd name="csY92" fmla="*/ 193173 h 2076207"/>
              <a:gd name="csX93" fmla="*/ 327717 w 729419"/>
              <a:gd name="csY93" fmla="*/ 188556 h 2076207"/>
              <a:gd name="csX94" fmla="*/ 348052 w 729419"/>
              <a:gd name="csY94" fmla="*/ 156919 h 2076207"/>
              <a:gd name="csX95" fmla="*/ 380330 w 729419"/>
              <a:gd name="csY95" fmla="*/ 156483 h 2076207"/>
              <a:gd name="csX96" fmla="*/ 408490 w 729419"/>
              <a:gd name="csY96" fmla="*/ 195400 h 2076207"/>
              <a:gd name="csX97" fmla="*/ 445346 w 729419"/>
              <a:gd name="csY97" fmla="*/ 197582 h 2076207"/>
              <a:gd name="csX98" fmla="*/ 464798 w 729419"/>
              <a:gd name="csY98" fmla="*/ 174107 h 2076207"/>
              <a:gd name="csX99" fmla="*/ 489970 w 729419"/>
              <a:gd name="csY99" fmla="*/ 152208 h 2076207"/>
              <a:gd name="csX100" fmla="*/ 140694 w 729419"/>
              <a:gd name="csY100" fmla="*/ 201837 h 2076207"/>
              <a:gd name="csX101" fmla="*/ 139834 w 729419"/>
              <a:gd name="csY101" fmla="*/ 201482 h 2076207"/>
              <a:gd name="csX102" fmla="*/ 140812 w 729419"/>
              <a:gd name="csY102" fmla="*/ 204941 h 2076207"/>
              <a:gd name="csX103" fmla="*/ 144631 w 729419"/>
              <a:gd name="csY103" fmla="*/ 217811 h 2076207"/>
              <a:gd name="csX104" fmla="*/ 201241 w 729419"/>
              <a:gd name="csY104" fmla="*/ 373387 h 2076207"/>
              <a:gd name="csX105" fmla="*/ 235971 w 729419"/>
              <a:gd name="csY105" fmla="*/ 504451 h 2076207"/>
              <a:gd name="csX106" fmla="*/ 247475 w 729419"/>
              <a:gd name="csY106" fmla="*/ 513241 h 2076207"/>
              <a:gd name="csX107" fmla="*/ 289066 w 729419"/>
              <a:gd name="csY107" fmla="*/ 511170 h 2076207"/>
              <a:gd name="csX108" fmla="*/ 378229 w 729419"/>
              <a:gd name="csY108" fmla="*/ 511084 h 2076207"/>
              <a:gd name="csX109" fmla="*/ 470850 w 729419"/>
              <a:gd name="csY109" fmla="*/ 516341 h 2076207"/>
              <a:gd name="csX110" fmla="*/ 492933 w 729419"/>
              <a:gd name="csY110" fmla="*/ 497969 h 2076207"/>
              <a:gd name="csX111" fmla="*/ 557617 w 729419"/>
              <a:gd name="csY111" fmla="*/ 280398 h 2076207"/>
              <a:gd name="csX112" fmla="*/ 588788 w 729419"/>
              <a:gd name="csY112" fmla="*/ 200385 h 2076207"/>
              <a:gd name="csX113" fmla="*/ 530958 w 729419"/>
              <a:gd name="csY113" fmla="*/ 232968 h 2076207"/>
              <a:gd name="csX114" fmla="*/ 483823 w 729419"/>
              <a:gd name="csY114" fmla="*/ 190364 h 2076207"/>
              <a:gd name="csX115" fmla="*/ 466649 w 729419"/>
              <a:gd name="csY115" fmla="*/ 209061 h 2076207"/>
              <a:gd name="csX116" fmla="*/ 399941 w 729419"/>
              <a:gd name="csY116" fmla="*/ 216988 h 2076207"/>
              <a:gd name="csX117" fmla="*/ 363018 w 729419"/>
              <a:gd name="csY117" fmla="*/ 179615 h 2076207"/>
              <a:gd name="csX118" fmla="*/ 308839 w 729419"/>
              <a:gd name="csY118" fmla="*/ 227846 h 2076207"/>
              <a:gd name="csX119" fmla="*/ 245077 w 729419"/>
              <a:gd name="csY119" fmla="*/ 192402 h 2076207"/>
              <a:gd name="csX120" fmla="*/ 242829 w 729419"/>
              <a:gd name="csY120" fmla="*/ 198815 h 2076207"/>
              <a:gd name="csX121" fmla="*/ 168452 w 729419"/>
              <a:gd name="csY121" fmla="*/ 219348 h 2076207"/>
              <a:gd name="csX122" fmla="*/ 140694 w 729419"/>
              <a:gd name="csY122" fmla="*/ 201837 h 2076207"/>
              <a:gd name="csX123" fmla="*/ 259999 w 729419"/>
              <a:gd name="csY123" fmla="*/ 966699 h 2076207"/>
              <a:gd name="csX124" fmla="*/ 257072 w 729419"/>
              <a:gd name="csY124" fmla="*/ 1070424 h 2076207"/>
              <a:gd name="csX125" fmla="*/ 251372 w 729419"/>
              <a:gd name="csY125" fmla="*/ 1157618 h 2076207"/>
              <a:gd name="csX126" fmla="*/ 232677 w 729419"/>
              <a:gd name="csY126" fmla="*/ 1320279 h 2076207"/>
              <a:gd name="csX127" fmla="*/ 209182 w 729419"/>
              <a:gd name="csY127" fmla="*/ 1468667 h 2076207"/>
              <a:gd name="csX128" fmla="*/ 175302 w 729419"/>
              <a:gd name="csY128" fmla="*/ 1616623 h 2076207"/>
              <a:gd name="csX129" fmla="*/ 182769 w 729419"/>
              <a:gd name="csY129" fmla="*/ 1629786 h 2076207"/>
              <a:gd name="csX130" fmla="*/ 212156 w 729419"/>
              <a:gd name="csY130" fmla="*/ 1632656 h 2076207"/>
              <a:gd name="csX131" fmla="*/ 351295 w 729419"/>
              <a:gd name="csY131" fmla="*/ 1632801 h 2076207"/>
              <a:gd name="csX132" fmla="*/ 376150 w 729419"/>
              <a:gd name="csY132" fmla="*/ 1608307 h 2076207"/>
              <a:gd name="csX133" fmla="*/ 373450 w 729419"/>
              <a:gd name="csY133" fmla="*/ 1457291 h 2076207"/>
              <a:gd name="csX134" fmla="*/ 370936 w 729419"/>
              <a:gd name="csY134" fmla="*/ 1342736 h 2076207"/>
              <a:gd name="csX135" fmla="*/ 368328 w 729419"/>
              <a:gd name="csY135" fmla="*/ 1203878 h 2076207"/>
              <a:gd name="csX136" fmla="*/ 367836 w 729419"/>
              <a:gd name="csY136" fmla="*/ 813478 h 2076207"/>
              <a:gd name="csX137" fmla="*/ 365240 w 729419"/>
              <a:gd name="csY137" fmla="*/ 773243 h 2076207"/>
              <a:gd name="csX138" fmla="*/ 353084 w 729419"/>
              <a:gd name="csY138" fmla="*/ 762083 h 2076207"/>
              <a:gd name="csX139" fmla="*/ 280966 w 729419"/>
              <a:gd name="csY139" fmla="*/ 759855 h 2076207"/>
              <a:gd name="csX140" fmla="*/ 259965 w 729419"/>
              <a:gd name="csY140" fmla="*/ 779553 h 2076207"/>
              <a:gd name="csX141" fmla="*/ 262341 w 729419"/>
              <a:gd name="csY141" fmla="*/ 856275 h 2076207"/>
              <a:gd name="csX142" fmla="*/ 259999 w 729419"/>
              <a:gd name="csY142" fmla="*/ 966699 h 2076207"/>
              <a:gd name="csX143" fmla="*/ 55556 w 729419"/>
              <a:gd name="csY143" fmla="*/ 1835827 h 2076207"/>
              <a:gd name="csX144" fmla="*/ 49393 w 729419"/>
              <a:gd name="csY144" fmla="*/ 1878155 h 2076207"/>
              <a:gd name="csX145" fmla="*/ 73949 w 729419"/>
              <a:gd name="csY145" fmla="*/ 1905781 h 2076207"/>
              <a:gd name="csX146" fmla="*/ 110073 w 729419"/>
              <a:gd name="csY146" fmla="*/ 1909068 h 2076207"/>
              <a:gd name="csX147" fmla="*/ 224745 w 729419"/>
              <a:gd name="csY147" fmla="*/ 1921652 h 2076207"/>
              <a:gd name="csX148" fmla="*/ 347327 w 729419"/>
              <a:gd name="csY148" fmla="*/ 1924778 h 2076207"/>
              <a:gd name="csX149" fmla="*/ 363345 w 729419"/>
              <a:gd name="csY149" fmla="*/ 1923293 h 2076207"/>
              <a:gd name="csX150" fmla="*/ 373787 w 729419"/>
              <a:gd name="csY150" fmla="*/ 1911200 h 2076207"/>
              <a:gd name="csX151" fmla="*/ 376623 w 729419"/>
              <a:gd name="csY151" fmla="*/ 1696741 h 2076207"/>
              <a:gd name="csX152" fmla="*/ 360437 w 729419"/>
              <a:gd name="csY152" fmla="*/ 1681289 h 2076207"/>
              <a:gd name="csX153" fmla="*/ 263503 w 729419"/>
              <a:gd name="csY153" fmla="*/ 1678179 h 2076207"/>
              <a:gd name="csX154" fmla="*/ 160381 w 729419"/>
              <a:gd name="csY154" fmla="*/ 1670405 h 2076207"/>
              <a:gd name="csX155" fmla="*/ 143321 w 729419"/>
              <a:gd name="csY155" fmla="*/ 1685538 h 2076207"/>
              <a:gd name="csX156" fmla="*/ 124769 w 729419"/>
              <a:gd name="csY156" fmla="*/ 1738195 h 2076207"/>
              <a:gd name="csX157" fmla="*/ 90593 w 729419"/>
              <a:gd name="csY157" fmla="*/ 1779570 h 2076207"/>
              <a:gd name="csX158" fmla="*/ 55556 w 729419"/>
              <a:gd name="csY158" fmla="*/ 1835827 h 2076207"/>
              <a:gd name="csX159" fmla="*/ 378900 w 729419"/>
              <a:gd name="csY159" fmla="*/ 2007280 h 2076207"/>
              <a:gd name="csX160" fmla="*/ 378887 w 729419"/>
              <a:gd name="csY160" fmla="*/ 1995127 h 2076207"/>
              <a:gd name="csX161" fmla="*/ 359084 w 729419"/>
              <a:gd name="csY161" fmla="*/ 1975964 h 2076207"/>
              <a:gd name="csX162" fmla="*/ 247288 w 729419"/>
              <a:gd name="csY162" fmla="*/ 1973305 h 2076207"/>
              <a:gd name="csX163" fmla="*/ 201692 w 729419"/>
              <a:gd name="csY163" fmla="*/ 1970275 h 2076207"/>
              <a:gd name="csX164" fmla="*/ 57962 w 729419"/>
              <a:gd name="csY164" fmla="*/ 1952648 h 2076207"/>
              <a:gd name="csX165" fmla="*/ 39194 w 729419"/>
              <a:gd name="csY165" fmla="*/ 1963552 h 2076207"/>
              <a:gd name="csX166" fmla="*/ 30066 w 729419"/>
              <a:gd name="csY166" fmla="*/ 2006631 h 2076207"/>
              <a:gd name="csX167" fmla="*/ 40232 w 729419"/>
              <a:gd name="csY167" fmla="*/ 2019486 h 2076207"/>
              <a:gd name="csX168" fmla="*/ 238186 w 729419"/>
              <a:gd name="csY168" fmla="*/ 2046096 h 2076207"/>
              <a:gd name="csX169" fmla="*/ 342155 w 729419"/>
              <a:gd name="csY169" fmla="*/ 2046441 h 2076207"/>
              <a:gd name="csX170" fmla="*/ 378900 w 729419"/>
              <a:gd name="csY170" fmla="*/ 2007280 h 2076207"/>
              <a:gd name="csX171" fmla="*/ 310220 w 729419"/>
              <a:gd name="csY171" fmla="*/ 554288 h 2076207"/>
              <a:gd name="csX172" fmla="*/ 259136 w 729419"/>
              <a:gd name="csY172" fmla="*/ 556881 h 2076207"/>
              <a:gd name="csX173" fmla="*/ 249085 w 729419"/>
              <a:gd name="csY173" fmla="*/ 567981 h 2076207"/>
              <a:gd name="csX174" fmla="*/ 249141 w 729419"/>
              <a:gd name="csY174" fmla="*/ 605644 h 2076207"/>
              <a:gd name="csX175" fmla="*/ 262628 w 729419"/>
              <a:gd name="csY175" fmla="*/ 605627 h 2076207"/>
              <a:gd name="csX176" fmla="*/ 369608 w 729419"/>
              <a:gd name="csY176" fmla="*/ 603027 h 2076207"/>
              <a:gd name="csX177" fmla="*/ 463931 w 729419"/>
              <a:gd name="csY177" fmla="*/ 605146 h 2076207"/>
              <a:gd name="csX178" fmla="*/ 478113 w 729419"/>
              <a:gd name="csY178" fmla="*/ 595843 h 2076207"/>
              <a:gd name="csX179" fmla="*/ 478796 w 729419"/>
              <a:gd name="csY179" fmla="*/ 556832 h 2076207"/>
              <a:gd name="csX180" fmla="*/ 310220 w 729419"/>
              <a:gd name="csY180" fmla="*/ 554288 h 2076207"/>
              <a:gd name="csX181" fmla="*/ 348836 w 729419"/>
              <a:gd name="csY181" fmla="*/ 684115 h 2076207"/>
              <a:gd name="csX182" fmla="*/ 281333 w 729419"/>
              <a:gd name="csY182" fmla="*/ 683313 h 2076207"/>
              <a:gd name="csX183" fmla="*/ 212728 w 729419"/>
              <a:gd name="csY183" fmla="*/ 681931 h 2076207"/>
              <a:gd name="csX184" fmla="*/ 187283 w 729419"/>
              <a:gd name="csY184" fmla="*/ 689555 h 2076207"/>
              <a:gd name="csX185" fmla="*/ 186163 w 729419"/>
              <a:gd name="csY185" fmla="*/ 718266 h 2076207"/>
              <a:gd name="csX186" fmla="*/ 209894 w 729419"/>
              <a:gd name="csY186" fmla="*/ 726798 h 2076207"/>
              <a:gd name="csX187" fmla="*/ 334814 w 729419"/>
              <a:gd name="csY187" fmla="*/ 732494 h 2076207"/>
              <a:gd name="csX188" fmla="*/ 364856 w 729419"/>
              <a:gd name="csY188" fmla="*/ 707963 h 2076207"/>
              <a:gd name="csX189" fmla="*/ 348836 w 729419"/>
              <a:gd name="csY189" fmla="*/ 684115 h 2076207"/>
              <a:gd name="csX190" fmla="*/ 298865 w 729419"/>
              <a:gd name="csY190" fmla="*/ 621954 h 2076207"/>
              <a:gd name="csX191" fmla="*/ 251619 w 729419"/>
              <a:gd name="csY191" fmla="*/ 622133 h 2076207"/>
              <a:gd name="csX192" fmla="*/ 214459 w 729419"/>
              <a:gd name="csY192" fmla="*/ 636230 h 2076207"/>
              <a:gd name="csX193" fmla="*/ 221436 w 729419"/>
              <a:gd name="csY193" fmla="*/ 654205 h 2076207"/>
              <a:gd name="csX194" fmla="*/ 272412 w 729419"/>
              <a:gd name="csY194" fmla="*/ 657250 h 2076207"/>
              <a:gd name="csX195" fmla="*/ 349094 w 729419"/>
              <a:gd name="csY195" fmla="*/ 659282 h 2076207"/>
              <a:gd name="csX196" fmla="*/ 362996 w 729419"/>
              <a:gd name="csY196" fmla="*/ 644234 h 2076207"/>
              <a:gd name="csX197" fmla="*/ 348472 w 729419"/>
              <a:gd name="csY197" fmla="*/ 624649 h 2076207"/>
              <a:gd name="csX198" fmla="*/ 298865 w 729419"/>
              <a:gd name="csY198" fmla="*/ 621954 h 2076207"/>
              <a:gd name="csX199" fmla="*/ 227796 w 729419"/>
              <a:gd name="csY199" fmla="*/ 528000 h 2076207"/>
              <a:gd name="csX200" fmla="*/ 241009 w 729419"/>
              <a:gd name="csY200" fmla="*/ 545897 h 2076207"/>
              <a:gd name="csX201" fmla="*/ 282607 w 729419"/>
              <a:gd name="csY201" fmla="*/ 543480 h 2076207"/>
              <a:gd name="csX202" fmla="*/ 354213 w 729419"/>
              <a:gd name="csY202" fmla="*/ 543384 h 2076207"/>
              <a:gd name="csX203" fmla="*/ 365334 w 729419"/>
              <a:gd name="csY203" fmla="*/ 533397 h 2076207"/>
              <a:gd name="csX204" fmla="*/ 354531 w 729419"/>
              <a:gd name="csY204" fmla="*/ 521620 h 2076207"/>
              <a:gd name="csX205" fmla="*/ 259169 w 729419"/>
              <a:gd name="csY205" fmla="*/ 521978 h 2076207"/>
              <a:gd name="csX206" fmla="*/ 227796 w 729419"/>
              <a:gd name="csY206" fmla="*/ 528000 h 2076207"/>
              <a:gd name="csX207" fmla="*/ 508068 w 729419"/>
              <a:gd name="csY207" fmla="*/ 190710 h 2076207"/>
              <a:gd name="csX208" fmla="*/ 521293 w 729419"/>
              <a:gd name="csY208" fmla="*/ 205907 h 2076207"/>
              <a:gd name="csX209" fmla="*/ 525175 w 729419"/>
              <a:gd name="csY209" fmla="*/ 202985 h 2076207"/>
              <a:gd name="csX210" fmla="*/ 500276 w 729419"/>
              <a:gd name="csY210" fmla="*/ 160640 h 2076207"/>
              <a:gd name="csX211" fmla="*/ 497122 w 729419"/>
              <a:gd name="csY211" fmla="*/ 162007 h 2076207"/>
              <a:gd name="csX212" fmla="*/ 508068 w 729419"/>
              <a:gd name="csY212" fmla="*/ 190710 h 2076207"/>
              <a:gd name="csX213" fmla="*/ 215522 w 729419"/>
              <a:gd name="csY213" fmla="*/ 197296 h 2076207"/>
              <a:gd name="csX214" fmla="*/ 234029 w 729419"/>
              <a:gd name="csY214" fmla="*/ 162725 h 2076207"/>
              <a:gd name="csX215" fmla="*/ 229000 w 729419"/>
              <a:gd name="csY215" fmla="*/ 159902 h 2076207"/>
              <a:gd name="csX216" fmla="*/ 204824 w 729419"/>
              <a:gd name="csY216" fmla="*/ 199677 h 2076207"/>
              <a:gd name="csX217" fmla="*/ 207990 w 729419"/>
              <a:gd name="csY217" fmla="*/ 202198 h 2076207"/>
              <a:gd name="csX218" fmla="*/ 215522 w 729419"/>
              <a:gd name="csY218" fmla="*/ 197296 h 2076207"/>
              <a:gd name="csX219" fmla="*/ 484400 w 729419"/>
              <a:gd name="csY219" fmla="*/ 863693 h 2076207"/>
              <a:gd name="csX220" fmla="*/ 484400 w 729419"/>
              <a:gd name="csY220" fmla="*/ 896678 h 2076207"/>
              <a:gd name="csX221" fmla="*/ 486181 w 729419"/>
              <a:gd name="csY221" fmla="*/ 896585 h 2076207"/>
              <a:gd name="csX222" fmla="*/ 486181 w 729419"/>
              <a:gd name="csY222" fmla="*/ 795289 h 2076207"/>
              <a:gd name="csX223" fmla="*/ 484406 w 729419"/>
              <a:gd name="csY223" fmla="*/ 795283 h 2076207"/>
              <a:gd name="csX224" fmla="*/ 484400 w 729419"/>
              <a:gd name="csY224" fmla="*/ 863693 h 2076207"/>
              <a:gd name="csX225" fmla="*/ 720241 w 729419"/>
              <a:gd name="csY225" fmla="*/ 2030666 h 2076207"/>
              <a:gd name="csX226" fmla="*/ 721175 w 729419"/>
              <a:gd name="csY226" fmla="*/ 2029733 h 2076207"/>
              <a:gd name="csX227" fmla="*/ 720241 w 729419"/>
              <a:gd name="csY227" fmla="*/ 2030666 h 2076207"/>
              <a:gd name="csX228" fmla="*/ 715702 w 729419"/>
              <a:gd name="csY228" fmla="*/ 2037051 h 2076207"/>
              <a:gd name="csX229" fmla="*/ 715702 w 729419"/>
              <a:gd name="csY229" fmla="*/ 2037051 h 2076207"/>
              <a:gd name="csX230" fmla="*/ 709953 w 729419"/>
              <a:gd name="csY230" fmla="*/ 2040017 h 2076207"/>
              <a:gd name="csX231" fmla="*/ 710209 w 729419"/>
              <a:gd name="csY231" fmla="*/ 2039597 h 2076207"/>
              <a:gd name="csX232" fmla="*/ 709953 w 729419"/>
              <a:gd name="csY232" fmla="*/ 2040017 h 2076207"/>
              <a:gd name="csX0" fmla="*/ 96263 w 729419"/>
              <a:gd name="csY0" fmla="*/ 2076207 h 2076207"/>
              <a:gd name="csX1" fmla="*/ 63862 w 729419"/>
              <a:gd name="csY1" fmla="*/ 2065388 h 2076207"/>
              <a:gd name="csX2" fmla="*/ 16555 w 729419"/>
              <a:gd name="csY2" fmla="*/ 2050152 h 2076207"/>
              <a:gd name="csX3" fmla="*/ 15 w 729419"/>
              <a:gd name="csY3" fmla="*/ 2023802 h 2076207"/>
              <a:gd name="csX4" fmla="*/ 18368 w 729419"/>
              <a:gd name="csY4" fmla="*/ 1940709 h 2076207"/>
              <a:gd name="csX5" fmla="*/ 22139 w 729419"/>
              <a:gd name="csY5" fmla="*/ 1907268 h 2076207"/>
              <a:gd name="csX6" fmla="*/ 57941 w 729419"/>
              <a:gd name="csY6" fmla="*/ 1774163 h 2076207"/>
              <a:gd name="csX7" fmla="*/ 102478 w 729419"/>
              <a:gd name="csY7" fmla="*/ 1720275 h 2076207"/>
              <a:gd name="csX8" fmla="*/ 108579 w 729419"/>
              <a:gd name="csY8" fmla="*/ 1650967 h 2076207"/>
              <a:gd name="csX9" fmla="*/ 115628 w 729419"/>
              <a:gd name="csY9" fmla="*/ 1625405 h 2076207"/>
              <a:gd name="csX10" fmla="*/ 156323 w 729419"/>
              <a:gd name="csY10" fmla="*/ 1560181 h 2076207"/>
              <a:gd name="csX11" fmla="*/ 199424 w 729419"/>
              <a:gd name="csY11" fmla="*/ 1364729 h 2076207"/>
              <a:gd name="csX12" fmla="*/ 216779 w 729419"/>
              <a:gd name="csY12" fmla="*/ 1219490 h 2076207"/>
              <a:gd name="csX13" fmla="*/ 229755 w 729419"/>
              <a:gd name="csY13" fmla="*/ 1099357 h 2076207"/>
              <a:gd name="csX14" fmla="*/ 232707 w 729419"/>
              <a:gd name="csY14" fmla="*/ 1056423 h 2076207"/>
              <a:gd name="csX15" fmla="*/ 235622 w 729419"/>
              <a:gd name="csY15" fmla="*/ 952675 h 2076207"/>
              <a:gd name="csX16" fmla="*/ 235445 w 729419"/>
              <a:gd name="csY16" fmla="*/ 780278 h 2076207"/>
              <a:gd name="csX17" fmla="*/ 214544 w 729419"/>
              <a:gd name="csY17" fmla="*/ 756435 h 2076207"/>
              <a:gd name="csX18" fmla="*/ 172569 w 729419"/>
              <a:gd name="csY18" fmla="*/ 742582 h 2076207"/>
              <a:gd name="csX19" fmla="*/ 168784 w 729419"/>
              <a:gd name="csY19" fmla="*/ 669116 h 2076207"/>
              <a:gd name="csX20" fmla="*/ 191657 w 729419"/>
              <a:gd name="csY20" fmla="*/ 630765 h 2076207"/>
              <a:gd name="csX21" fmla="*/ 208150 w 729419"/>
              <a:gd name="csY21" fmla="*/ 609084 h 2076207"/>
              <a:gd name="csX22" fmla="*/ 216756 w 729419"/>
              <a:gd name="csY22" fmla="*/ 558673 h 2076207"/>
              <a:gd name="csX23" fmla="*/ 209092 w 729419"/>
              <a:gd name="csY23" fmla="*/ 521540 h 2076207"/>
              <a:gd name="csX24" fmla="*/ 204683 w 729419"/>
              <a:gd name="csY24" fmla="*/ 474024 h 2076207"/>
              <a:gd name="csX25" fmla="*/ 115483 w 729419"/>
              <a:gd name="csY25" fmla="*/ 213499 h 2076207"/>
              <a:gd name="csX26" fmla="*/ 102909 w 729419"/>
              <a:gd name="csY26" fmla="*/ 182297 h 2076207"/>
              <a:gd name="csX27" fmla="*/ 104315 w 729419"/>
              <a:gd name="csY27" fmla="*/ 163968 h 2076207"/>
              <a:gd name="csX28" fmla="*/ 122444 w 729419"/>
              <a:gd name="csY28" fmla="*/ 160805 h 2076207"/>
              <a:gd name="csX29" fmla="*/ 170283 w 729419"/>
              <a:gd name="csY29" fmla="*/ 187783 h 2076207"/>
              <a:gd name="csX30" fmla="*/ 180938 w 729419"/>
              <a:gd name="csY30" fmla="*/ 195322 h 2076207"/>
              <a:gd name="csX31" fmla="*/ 221419 w 729419"/>
              <a:gd name="csY31" fmla="*/ 138058 h 2076207"/>
              <a:gd name="csX32" fmla="*/ 294099 w 729419"/>
              <a:gd name="csY32" fmla="*/ 91372 h 2076207"/>
              <a:gd name="csX33" fmla="*/ 302307 w 729419"/>
              <a:gd name="csY33" fmla="*/ 76560 h 2076207"/>
              <a:gd name="csX34" fmla="*/ 320284 w 729419"/>
              <a:gd name="csY34" fmla="*/ 8414 h 2076207"/>
              <a:gd name="csX35" fmla="*/ 324784 w 729419"/>
              <a:gd name="csY35" fmla="*/ 946 h 2076207"/>
              <a:gd name="csX36" fmla="*/ 399212 w 729419"/>
              <a:gd name="csY36" fmla="*/ 0 h 2076207"/>
              <a:gd name="csX37" fmla="*/ 425980 w 729419"/>
              <a:gd name="csY37" fmla="*/ 78301 h 2076207"/>
              <a:gd name="csX38" fmla="*/ 431861 w 729419"/>
              <a:gd name="csY38" fmla="*/ 90312 h 2076207"/>
              <a:gd name="csX39" fmla="*/ 540349 w 729419"/>
              <a:gd name="csY39" fmla="*/ 187946 h 2076207"/>
              <a:gd name="csX40" fmla="*/ 545555 w 729419"/>
              <a:gd name="csY40" fmla="*/ 197828 h 2076207"/>
              <a:gd name="csX41" fmla="*/ 587318 w 729419"/>
              <a:gd name="csY41" fmla="*/ 171260 h 2076207"/>
              <a:gd name="csX42" fmla="*/ 601503 w 729419"/>
              <a:gd name="csY42" fmla="*/ 163707 h 2076207"/>
              <a:gd name="csX43" fmla="*/ 625254 w 729419"/>
              <a:gd name="csY43" fmla="*/ 163123 h 2076207"/>
              <a:gd name="csX44" fmla="*/ 625468 w 729419"/>
              <a:gd name="csY44" fmla="*/ 187579 h 2076207"/>
              <a:gd name="csX45" fmla="*/ 597543 w 729419"/>
              <a:gd name="csY45" fmla="*/ 251872 h 2076207"/>
              <a:gd name="csX46" fmla="*/ 531831 w 729419"/>
              <a:gd name="csY46" fmla="*/ 442689 h 2076207"/>
              <a:gd name="csX47" fmla="*/ 519888 w 729419"/>
              <a:gd name="csY47" fmla="*/ 501474 h 2076207"/>
              <a:gd name="csX48" fmla="*/ 522506 w 729419"/>
              <a:gd name="csY48" fmla="*/ 525086 h 2076207"/>
              <a:gd name="csX49" fmla="*/ 516235 w 729419"/>
              <a:gd name="csY49" fmla="*/ 555946 h 2076207"/>
              <a:gd name="csX50" fmla="*/ 521332 w 729419"/>
              <a:gd name="csY50" fmla="*/ 610676 h 2076207"/>
              <a:gd name="csX51" fmla="*/ 541382 w 729419"/>
              <a:gd name="csY51" fmla="*/ 642597 h 2076207"/>
              <a:gd name="csX52" fmla="*/ 557031 w 729419"/>
              <a:gd name="csY52" fmla="*/ 667949 h 2076207"/>
              <a:gd name="csX53" fmla="*/ 553994 w 729419"/>
              <a:gd name="csY53" fmla="*/ 744146 h 2076207"/>
              <a:gd name="csX54" fmla="*/ 508215 w 729419"/>
              <a:gd name="csY54" fmla="*/ 758841 h 2076207"/>
              <a:gd name="csX55" fmla="*/ 497442 w 729419"/>
              <a:gd name="csY55" fmla="*/ 771256 h 2076207"/>
              <a:gd name="csX56" fmla="*/ 493005 w 729419"/>
              <a:gd name="csY56" fmla="*/ 922055 h 2076207"/>
              <a:gd name="csX57" fmla="*/ 502900 w 729419"/>
              <a:gd name="csY57" fmla="*/ 1114191 h 2076207"/>
              <a:gd name="csX58" fmla="*/ 508800 w 729419"/>
              <a:gd name="csY58" fmla="*/ 1205474 h 2076207"/>
              <a:gd name="csX59" fmla="*/ 522952 w 729419"/>
              <a:gd name="csY59" fmla="*/ 1320065 h 2076207"/>
              <a:gd name="csX60" fmla="*/ 554682 w 729419"/>
              <a:gd name="csY60" fmla="*/ 1501203 h 2076207"/>
              <a:gd name="csX61" fmla="*/ 576958 w 729419"/>
              <a:gd name="csY61" fmla="*/ 1593963 h 2076207"/>
              <a:gd name="csX62" fmla="*/ 595349 w 729419"/>
              <a:gd name="csY62" fmla="*/ 1613498 h 2076207"/>
              <a:gd name="csX63" fmla="*/ 613936 w 729419"/>
              <a:gd name="csY63" fmla="*/ 1624058 h 2076207"/>
              <a:gd name="csX64" fmla="*/ 620938 w 729419"/>
              <a:gd name="csY64" fmla="*/ 1652071 h 2076207"/>
              <a:gd name="csX65" fmla="*/ 630805 w 729419"/>
              <a:gd name="csY65" fmla="*/ 1721702 h 2076207"/>
              <a:gd name="csX66" fmla="*/ 685830 w 729419"/>
              <a:gd name="csY66" fmla="*/ 1792915 h 2076207"/>
              <a:gd name="csX67" fmla="*/ 708904 w 729419"/>
              <a:gd name="csY67" fmla="*/ 1890290 h 2076207"/>
              <a:gd name="csX68" fmla="*/ 716580 w 729419"/>
              <a:gd name="csY68" fmla="*/ 1951136 h 2076207"/>
              <a:gd name="csX69" fmla="*/ 729397 w 729419"/>
              <a:gd name="csY69" fmla="*/ 2030261 h 2076207"/>
              <a:gd name="csX70" fmla="*/ 714212 w 729419"/>
              <a:gd name="csY70" fmla="*/ 2049544 h 2076207"/>
              <a:gd name="csX71" fmla="*/ 645428 w 729419"/>
              <a:gd name="csY71" fmla="*/ 2070825 h 2076207"/>
              <a:gd name="csX72" fmla="*/ 635822 w 729419"/>
              <a:gd name="csY72" fmla="*/ 2075145 h 2076207"/>
              <a:gd name="csX73" fmla="*/ 588428 w 729419"/>
              <a:gd name="csY73" fmla="*/ 2075144 h 2076207"/>
              <a:gd name="csX74" fmla="*/ 590041 w 729419"/>
              <a:gd name="csY74" fmla="*/ 2071383 h 2076207"/>
              <a:gd name="csX75" fmla="*/ 667788 w 729419"/>
              <a:gd name="csY75" fmla="*/ 2056852 h 2076207"/>
              <a:gd name="csX76" fmla="*/ 706629 w 729419"/>
              <a:gd name="csY76" fmla="*/ 2044290 h 2076207"/>
              <a:gd name="csX77" fmla="*/ 702674 w 729419"/>
              <a:gd name="csY77" fmla="*/ 2041581 h 2076207"/>
              <a:gd name="csX78" fmla="*/ 544974 w 729419"/>
              <a:gd name="csY78" fmla="*/ 2071274 h 2076207"/>
              <a:gd name="csX79" fmla="*/ 538352 w 729419"/>
              <a:gd name="csY79" fmla="*/ 2076207 h 2076207"/>
              <a:gd name="csX80" fmla="*/ 96263 w 729419"/>
              <a:gd name="csY80" fmla="*/ 2076207 h 2076207"/>
              <a:gd name="csX81" fmla="*/ 489970 w 729419"/>
              <a:gd name="csY81" fmla="*/ 152208 h 2076207"/>
              <a:gd name="csX82" fmla="*/ 490754 w 729419"/>
              <a:gd name="csY82" fmla="*/ 152592 h 2076207"/>
              <a:gd name="csX83" fmla="*/ 489489 w 729419"/>
              <a:gd name="csY83" fmla="*/ 149547 h 2076207"/>
              <a:gd name="csX84" fmla="*/ 393621 w 729419"/>
              <a:gd name="csY84" fmla="*/ 99259 h 2076207"/>
              <a:gd name="csX85" fmla="*/ 390419 w 729419"/>
              <a:gd name="csY85" fmla="*/ 18568 h 2076207"/>
              <a:gd name="csX86" fmla="*/ 334131 w 729419"/>
              <a:gd name="csY86" fmla="*/ 24327 h 2076207"/>
              <a:gd name="csX87" fmla="*/ 344678 w 729419"/>
              <a:gd name="csY87" fmla="*/ 101259 h 2076207"/>
              <a:gd name="csX88" fmla="*/ 298854 w 729419"/>
              <a:gd name="csY88" fmla="*/ 114003 h 2076207"/>
              <a:gd name="csX89" fmla="*/ 237456 w 729419"/>
              <a:gd name="csY89" fmla="*/ 154340 h 2076207"/>
              <a:gd name="csX90" fmla="*/ 240382 w 729419"/>
              <a:gd name="csY90" fmla="*/ 154035 h 2076207"/>
              <a:gd name="csX91" fmla="*/ 262731 w 729419"/>
              <a:gd name="csY91" fmla="*/ 170426 h 2076207"/>
              <a:gd name="csX92" fmla="*/ 279169 w 729419"/>
              <a:gd name="csY92" fmla="*/ 193173 h 2076207"/>
              <a:gd name="csX93" fmla="*/ 327717 w 729419"/>
              <a:gd name="csY93" fmla="*/ 188556 h 2076207"/>
              <a:gd name="csX94" fmla="*/ 348052 w 729419"/>
              <a:gd name="csY94" fmla="*/ 156919 h 2076207"/>
              <a:gd name="csX95" fmla="*/ 380330 w 729419"/>
              <a:gd name="csY95" fmla="*/ 156483 h 2076207"/>
              <a:gd name="csX96" fmla="*/ 408490 w 729419"/>
              <a:gd name="csY96" fmla="*/ 195400 h 2076207"/>
              <a:gd name="csX97" fmla="*/ 445346 w 729419"/>
              <a:gd name="csY97" fmla="*/ 197582 h 2076207"/>
              <a:gd name="csX98" fmla="*/ 464798 w 729419"/>
              <a:gd name="csY98" fmla="*/ 174107 h 2076207"/>
              <a:gd name="csX99" fmla="*/ 489970 w 729419"/>
              <a:gd name="csY99" fmla="*/ 152208 h 2076207"/>
              <a:gd name="csX100" fmla="*/ 140694 w 729419"/>
              <a:gd name="csY100" fmla="*/ 201837 h 2076207"/>
              <a:gd name="csX101" fmla="*/ 139834 w 729419"/>
              <a:gd name="csY101" fmla="*/ 201482 h 2076207"/>
              <a:gd name="csX102" fmla="*/ 140812 w 729419"/>
              <a:gd name="csY102" fmla="*/ 204941 h 2076207"/>
              <a:gd name="csX103" fmla="*/ 144631 w 729419"/>
              <a:gd name="csY103" fmla="*/ 217811 h 2076207"/>
              <a:gd name="csX104" fmla="*/ 201241 w 729419"/>
              <a:gd name="csY104" fmla="*/ 373387 h 2076207"/>
              <a:gd name="csX105" fmla="*/ 235971 w 729419"/>
              <a:gd name="csY105" fmla="*/ 504451 h 2076207"/>
              <a:gd name="csX106" fmla="*/ 247475 w 729419"/>
              <a:gd name="csY106" fmla="*/ 513241 h 2076207"/>
              <a:gd name="csX107" fmla="*/ 289066 w 729419"/>
              <a:gd name="csY107" fmla="*/ 511170 h 2076207"/>
              <a:gd name="csX108" fmla="*/ 378229 w 729419"/>
              <a:gd name="csY108" fmla="*/ 511084 h 2076207"/>
              <a:gd name="csX109" fmla="*/ 470850 w 729419"/>
              <a:gd name="csY109" fmla="*/ 516341 h 2076207"/>
              <a:gd name="csX110" fmla="*/ 492933 w 729419"/>
              <a:gd name="csY110" fmla="*/ 497969 h 2076207"/>
              <a:gd name="csX111" fmla="*/ 557617 w 729419"/>
              <a:gd name="csY111" fmla="*/ 280398 h 2076207"/>
              <a:gd name="csX112" fmla="*/ 588788 w 729419"/>
              <a:gd name="csY112" fmla="*/ 200385 h 2076207"/>
              <a:gd name="csX113" fmla="*/ 530958 w 729419"/>
              <a:gd name="csY113" fmla="*/ 232968 h 2076207"/>
              <a:gd name="csX114" fmla="*/ 483823 w 729419"/>
              <a:gd name="csY114" fmla="*/ 190364 h 2076207"/>
              <a:gd name="csX115" fmla="*/ 466649 w 729419"/>
              <a:gd name="csY115" fmla="*/ 209061 h 2076207"/>
              <a:gd name="csX116" fmla="*/ 399941 w 729419"/>
              <a:gd name="csY116" fmla="*/ 216988 h 2076207"/>
              <a:gd name="csX117" fmla="*/ 363018 w 729419"/>
              <a:gd name="csY117" fmla="*/ 179615 h 2076207"/>
              <a:gd name="csX118" fmla="*/ 308839 w 729419"/>
              <a:gd name="csY118" fmla="*/ 227846 h 2076207"/>
              <a:gd name="csX119" fmla="*/ 245077 w 729419"/>
              <a:gd name="csY119" fmla="*/ 192402 h 2076207"/>
              <a:gd name="csX120" fmla="*/ 242829 w 729419"/>
              <a:gd name="csY120" fmla="*/ 198815 h 2076207"/>
              <a:gd name="csX121" fmla="*/ 168452 w 729419"/>
              <a:gd name="csY121" fmla="*/ 219348 h 2076207"/>
              <a:gd name="csX122" fmla="*/ 140694 w 729419"/>
              <a:gd name="csY122" fmla="*/ 201837 h 2076207"/>
              <a:gd name="csX123" fmla="*/ 259999 w 729419"/>
              <a:gd name="csY123" fmla="*/ 966699 h 2076207"/>
              <a:gd name="csX124" fmla="*/ 257072 w 729419"/>
              <a:gd name="csY124" fmla="*/ 1070424 h 2076207"/>
              <a:gd name="csX125" fmla="*/ 251372 w 729419"/>
              <a:gd name="csY125" fmla="*/ 1157618 h 2076207"/>
              <a:gd name="csX126" fmla="*/ 232677 w 729419"/>
              <a:gd name="csY126" fmla="*/ 1320279 h 2076207"/>
              <a:gd name="csX127" fmla="*/ 209182 w 729419"/>
              <a:gd name="csY127" fmla="*/ 1468667 h 2076207"/>
              <a:gd name="csX128" fmla="*/ 175302 w 729419"/>
              <a:gd name="csY128" fmla="*/ 1616623 h 2076207"/>
              <a:gd name="csX129" fmla="*/ 182769 w 729419"/>
              <a:gd name="csY129" fmla="*/ 1629786 h 2076207"/>
              <a:gd name="csX130" fmla="*/ 212156 w 729419"/>
              <a:gd name="csY130" fmla="*/ 1632656 h 2076207"/>
              <a:gd name="csX131" fmla="*/ 351295 w 729419"/>
              <a:gd name="csY131" fmla="*/ 1632801 h 2076207"/>
              <a:gd name="csX132" fmla="*/ 376150 w 729419"/>
              <a:gd name="csY132" fmla="*/ 1608307 h 2076207"/>
              <a:gd name="csX133" fmla="*/ 373450 w 729419"/>
              <a:gd name="csY133" fmla="*/ 1457291 h 2076207"/>
              <a:gd name="csX134" fmla="*/ 370936 w 729419"/>
              <a:gd name="csY134" fmla="*/ 1342736 h 2076207"/>
              <a:gd name="csX135" fmla="*/ 368328 w 729419"/>
              <a:gd name="csY135" fmla="*/ 1203878 h 2076207"/>
              <a:gd name="csX136" fmla="*/ 367836 w 729419"/>
              <a:gd name="csY136" fmla="*/ 813478 h 2076207"/>
              <a:gd name="csX137" fmla="*/ 365240 w 729419"/>
              <a:gd name="csY137" fmla="*/ 773243 h 2076207"/>
              <a:gd name="csX138" fmla="*/ 353084 w 729419"/>
              <a:gd name="csY138" fmla="*/ 762083 h 2076207"/>
              <a:gd name="csX139" fmla="*/ 280966 w 729419"/>
              <a:gd name="csY139" fmla="*/ 759855 h 2076207"/>
              <a:gd name="csX140" fmla="*/ 259965 w 729419"/>
              <a:gd name="csY140" fmla="*/ 779553 h 2076207"/>
              <a:gd name="csX141" fmla="*/ 262341 w 729419"/>
              <a:gd name="csY141" fmla="*/ 856275 h 2076207"/>
              <a:gd name="csX142" fmla="*/ 259999 w 729419"/>
              <a:gd name="csY142" fmla="*/ 966699 h 2076207"/>
              <a:gd name="csX143" fmla="*/ 55556 w 729419"/>
              <a:gd name="csY143" fmla="*/ 1835827 h 2076207"/>
              <a:gd name="csX144" fmla="*/ 49393 w 729419"/>
              <a:gd name="csY144" fmla="*/ 1878155 h 2076207"/>
              <a:gd name="csX145" fmla="*/ 73949 w 729419"/>
              <a:gd name="csY145" fmla="*/ 1905781 h 2076207"/>
              <a:gd name="csX146" fmla="*/ 110073 w 729419"/>
              <a:gd name="csY146" fmla="*/ 1909068 h 2076207"/>
              <a:gd name="csX147" fmla="*/ 224745 w 729419"/>
              <a:gd name="csY147" fmla="*/ 1921652 h 2076207"/>
              <a:gd name="csX148" fmla="*/ 347327 w 729419"/>
              <a:gd name="csY148" fmla="*/ 1924778 h 2076207"/>
              <a:gd name="csX149" fmla="*/ 363345 w 729419"/>
              <a:gd name="csY149" fmla="*/ 1923293 h 2076207"/>
              <a:gd name="csX150" fmla="*/ 373787 w 729419"/>
              <a:gd name="csY150" fmla="*/ 1911200 h 2076207"/>
              <a:gd name="csX151" fmla="*/ 376623 w 729419"/>
              <a:gd name="csY151" fmla="*/ 1696741 h 2076207"/>
              <a:gd name="csX152" fmla="*/ 360437 w 729419"/>
              <a:gd name="csY152" fmla="*/ 1681289 h 2076207"/>
              <a:gd name="csX153" fmla="*/ 263503 w 729419"/>
              <a:gd name="csY153" fmla="*/ 1678179 h 2076207"/>
              <a:gd name="csX154" fmla="*/ 160381 w 729419"/>
              <a:gd name="csY154" fmla="*/ 1670405 h 2076207"/>
              <a:gd name="csX155" fmla="*/ 143321 w 729419"/>
              <a:gd name="csY155" fmla="*/ 1685538 h 2076207"/>
              <a:gd name="csX156" fmla="*/ 124769 w 729419"/>
              <a:gd name="csY156" fmla="*/ 1738195 h 2076207"/>
              <a:gd name="csX157" fmla="*/ 90593 w 729419"/>
              <a:gd name="csY157" fmla="*/ 1779570 h 2076207"/>
              <a:gd name="csX158" fmla="*/ 55556 w 729419"/>
              <a:gd name="csY158" fmla="*/ 1835827 h 2076207"/>
              <a:gd name="csX159" fmla="*/ 378900 w 729419"/>
              <a:gd name="csY159" fmla="*/ 2007280 h 2076207"/>
              <a:gd name="csX160" fmla="*/ 378887 w 729419"/>
              <a:gd name="csY160" fmla="*/ 1995127 h 2076207"/>
              <a:gd name="csX161" fmla="*/ 359084 w 729419"/>
              <a:gd name="csY161" fmla="*/ 1975964 h 2076207"/>
              <a:gd name="csX162" fmla="*/ 247288 w 729419"/>
              <a:gd name="csY162" fmla="*/ 1973305 h 2076207"/>
              <a:gd name="csX163" fmla="*/ 201692 w 729419"/>
              <a:gd name="csY163" fmla="*/ 1970275 h 2076207"/>
              <a:gd name="csX164" fmla="*/ 57962 w 729419"/>
              <a:gd name="csY164" fmla="*/ 1952648 h 2076207"/>
              <a:gd name="csX165" fmla="*/ 39194 w 729419"/>
              <a:gd name="csY165" fmla="*/ 1963552 h 2076207"/>
              <a:gd name="csX166" fmla="*/ 30066 w 729419"/>
              <a:gd name="csY166" fmla="*/ 2006631 h 2076207"/>
              <a:gd name="csX167" fmla="*/ 40232 w 729419"/>
              <a:gd name="csY167" fmla="*/ 2019486 h 2076207"/>
              <a:gd name="csX168" fmla="*/ 238186 w 729419"/>
              <a:gd name="csY168" fmla="*/ 2046096 h 2076207"/>
              <a:gd name="csX169" fmla="*/ 342155 w 729419"/>
              <a:gd name="csY169" fmla="*/ 2046441 h 2076207"/>
              <a:gd name="csX170" fmla="*/ 378900 w 729419"/>
              <a:gd name="csY170" fmla="*/ 2007280 h 2076207"/>
              <a:gd name="csX171" fmla="*/ 310220 w 729419"/>
              <a:gd name="csY171" fmla="*/ 554288 h 2076207"/>
              <a:gd name="csX172" fmla="*/ 259136 w 729419"/>
              <a:gd name="csY172" fmla="*/ 556881 h 2076207"/>
              <a:gd name="csX173" fmla="*/ 249085 w 729419"/>
              <a:gd name="csY173" fmla="*/ 567981 h 2076207"/>
              <a:gd name="csX174" fmla="*/ 249141 w 729419"/>
              <a:gd name="csY174" fmla="*/ 605644 h 2076207"/>
              <a:gd name="csX175" fmla="*/ 262628 w 729419"/>
              <a:gd name="csY175" fmla="*/ 605627 h 2076207"/>
              <a:gd name="csX176" fmla="*/ 369608 w 729419"/>
              <a:gd name="csY176" fmla="*/ 603027 h 2076207"/>
              <a:gd name="csX177" fmla="*/ 463931 w 729419"/>
              <a:gd name="csY177" fmla="*/ 605146 h 2076207"/>
              <a:gd name="csX178" fmla="*/ 478113 w 729419"/>
              <a:gd name="csY178" fmla="*/ 595843 h 2076207"/>
              <a:gd name="csX179" fmla="*/ 478796 w 729419"/>
              <a:gd name="csY179" fmla="*/ 556832 h 2076207"/>
              <a:gd name="csX180" fmla="*/ 310220 w 729419"/>
              <a:gd name="csY180" fmla="*/ 554288 h 2076207"/>
              <a:gd name="csX181" fmla="*/ 348836 w 729419"/>
              <a:gd name="csY181" fmla="*/ 684115 h 2076207"/>
              <a:gd name="csX182" fmla="*/ 281333 w 729419"/>
              <a:gd name="csY182" fmla="*/ 683313 h 2076207"/>
              <a:gd name="csX183" fmla="*/ 212728 w 729419"/>
              <a:gd name="csY183" fmla="*/ 681931 h 2076207"/>
              <a:gd name="csX184" fmla="*/ 187283 w 729419"/>
              <a:gd name="csY184" fmla="*/ 689555 h 2076207"/>
              <a:gd name="csX185" fmla="*/ 186163 w 729419"/>
              <a:gd name="csY185" fmla="*/ 718266 h 2076207"/>
              <a:gd name="csX186" fmla="*/ 209894 w 729419"/>
              <a:gd name="csY186" fmla="*/ 726798 h 2076207"/>
              <a:gd name="csX187" fmla="*/ 334814 w 729419"/>
              <a:gd name="csY187" fmla="*/ 732494 h 2076207"/>
              <a:gd name="csX188" fmla="*/ 364856 w 729419"/>
              <a:gd name="csY188" fmla="*/ 707963 h 2076207"/>
              <a:gd name="csX189" fmla="*/ 348836 w 729419"/>
              <a:gd name="csY189" fmla="*/ 684115 h 2076207"/>
              <a:gd name="csX190" fmla="*/ 298865 w 729419"/>
              <a:gd name="csY190" fmla="*/ 621954 h 2076207"/>
              <a:gd name="csX191" fmla="*/ 251619 w 729419"/>
              <a:gd name="csY191" fmla="*/ 622133 h 2076207"/>
              <a:gd name="csX192" fmla="*/ 214459 w 729419"/>
              <a:gd name="csY192" fmla="*/ 636230 h 2076207"/>
              <a:gd name="csX193" fmla="*/ 221436 w 729419"/>
              <a:gd name="csY193" fmla="*/ 654205 h 2076207"/>
              <a:gd name="csX194" fmla="*/ 272412 w 729419"/>
              <a:gd name="csY194" fmla="*/ 657250 h 2076207"/>
              <a:gd name="csX195" fmla="*/ 349094 w 729419"/>
              <a:gd name="csY195" fmla="*/ 659282 h 2076207"/>
              <a:gd name="csX196" fmla="*/ 362996 w 729419"/>
              <a:gd name="csY196" fmla="*/ 644234 h 2076207"/>
              <a:gd name="csX197" fmla="*/ 348472 w 729419"/>
              <a:gd name="csY197" fmla="*/ 624649 h 2076207"/>
              <a:gd name="csX198" fmla="*/ 298865 w 729419"/>
              <a:gd name="csY198" fmla="*/ 621954 h 2076207"/>
              <a:gd name="csX199" fmla="*/ 227796 w 729419"/>
              <a:gd name="csY199" fmla="*/ 528000 h 2076207"/>
              <a:gd name="csX200" fmla="*/ 241009 w 729419"/>
              <a:gd name="csY200" fmla="*/ 545897 h 2076207"/>
              <a:gd name="csX201" fmla="*/ 282607 w 729419"/>
              <a:gd name="csY201" fmla="*/ 543480 h 2076207"/>
              <a:gd name="csX202" fmla="*/ 354213 w 729419"/>
              <a:gd name="csY202" fmla="*/ 543384 h 2076207"/>
              <a:gd name="csX203" fmla="*/ 365334 w 729419"/>
              <a:gd name="csY203" fmla="*/ 533397 h 2076207"/>
              <a:gd name="csX204" fmla="*/ 354531 w 729419"/>
              <a:gd name="csY204" fmla="*/ 521620 h 2076207"/>
              <a:gd name="csX205" fmla="*/ 259169 w 729419"/>
              <a:gd name="csY205" fmla="*/ 521978 h 2076207"/>
              <a:gd name="csX206" fmla="*/ 227796 w 729419"/>
              <a:gd name="csY206" fmla="*/ 528000 h 2076207"/>
              <a:gd name="csX207" fmla="*/ 508068 w 729419"/>
              <a:gd name="csY207" fmla="*/ 190710 h 2076207"/>
              <a:gd name="csX208" fmla="*/ 521293 w 729419"/>
              <a:gd name="csY208" fmla="*/ 205907 h 2076207"/>
              <a:gd name="csX209" fmla="*/ 525175 w 729419"/>
              <a:gd name="csY209" fmla="*/ 202985 h 2076207"/>
              <a:gd name="csX210" fmla="*/ 500276 w 729419"/>
              <a:gd name="csY210" fmla="*/ 160640 h 2076207"/>
              <a:gd name="csX211" fmla="*/ 497122 w 729419"/>
              <a:gd name="csY211" fmla="*/ 162007 h 2076207"/>
              <a:gd name="csX212" fmla="*/ 508068 w 729419"/>
              <a:gd name="csY212" fmla="*/ 190710 h 2076207"/>
              <a:gd name="csX213" fmla="*/ 215522 w 729419"/>
              <a:gd name="csY213" fmla="*/ 197296 h 2076207"/>
              <a:gd name="csX214" fmla="*/ 234029 w 729419"/>
              <a:gd name="csY214" fmla="*/ 162725 h 2076207"/>
              <a:gd name="csX215" fmla="*/ 229000 w 729419"/>
              <a:gd name="csY215" fmla="*/ 159902 h 2076207"/>
              <a:gd name="csX216" fmla="*/ 204824 w 729419"/>
              <a:gd name="csY216" fmla="*/ 199677 h 2076207"/>
              <a:gd name="csX217" fmla="*/ 207990 w 729419"/>
              <a:gd name="csY217" fmla="*/ 202198 h 2076207"/>
              <a:gd name="csX218" fmla="*/ 215522 w 729419"/>
              <a:gd name="csY218" fmla="*/ 197296 h 2076207"/>
              <a:gd name="csX219" fmla="*/ 484400 w 729419"/>
              <a:gd name="csY219" fmla="*/ 863693 h 2076207"/>
              <a:gd name="csX220" fmla="*/ 484400 w 729419"/>
              <a:gd name="csY220" fmla="*/ 896678 h 2076207"/>
              <a:gd name="csX221" fmla="*/ 486181 w 729419"/>
              <a:gd name="csY221" fmla="*/ 896585 h 2076207"/>
              <a:gd name="csX222" fmla="*/ 486181 w 729419"/>
              <a:gd name="csY222" fmla="*/ 795289 h 2076207"/>
              <a:gd name="csX223" fmla="*/ 484400 w 729419"/>
              <a:gd name="csY223" fmla="*/ 863693 h 2076207"/>
              <a:gd name="csX224" fmla="*/ 720241 w 729419"/>
              <a:gd name="csY224" fmla="*/ 2030666 h 2076207"/>
              <a:gd name="csX225" fmla="*/ 721175 w 729419"/>
              <a:gd name="csY225" fmla="*/ 2029733 h 2076207"/>
              <a:gd name="csX226" fmla="*/ 720241 w 729419"/>
              <a:gd name="csY226" fmla="*/ 2030666 h 2076207"/>
              <a:gd name="csX227" fmla="*/ 715702 w 729419"/>
              <a:gd name="csY227" fmla="*/ 2037051 h 2076207"/>
              <a:gd name="csX228" fmla="*/ 715702 w 729419"/>
              <a:gd name="csY228" fmla="*/ 2037051 h 2076207"/>
              <a:gd name="csX229" fmla="*/ 709953 w 729419"/>
              <a:gd name="csY229" fmla="*/ 2040017 h 2076207"/>
              <a:gd name="csX230" fmla="*/ 710209 w 729419"/>
              <a:gd name="csY230" fmla="*/ 2039597 h 2076207"/>
              <a:gd name="csX231" fmla="*/ 709953 w 729419"/>
              <a:gd name="csY231" fmla="*/ 2040017 h 2076207"/>
              <a:gd name="csX0" fmla="*/ 96263 w 729419"/>
              <a:gd name="csY0" fmla="*/ 2076207 h 2076207"/>
              <a:gd name="csX1" fmla="*/ 63862 w 729419"/>
              <a:gd name="csY1" fmla="*/ 2065388 h 2076207"/>
              <a:gd name="csX2" fmla="*/ 16555 w 729419"/>
              <a:gd name="csY2" fmla="*/ 2050152 h 2076207"/>
              <a:gd name="csX3" fmla="*/ 15 w 729419"/>
              <a:gd name="csY3" fmla="*/ 2023802 h 2076207"/>
              <a:gd name="csX4" fmla="*/ 18368 w 729419"/>
              <a:gd name="csY4" fmla="*/ 1940709 h 2076207"/>
              <a:gd name="csX5" fmla="*/ 22139 w 729419"/>
              <a:gd name="csY5" fmla="*/ 1907268 h 2076207"/>
              <a:gd name="csX6" fmla="*/ 57941 w 729419"/>
              <a:gd name="csY6" fmla="*/ 1774163 h 2076207"/>
              <a:gd name="csX7" fmla="*/ 102478 w 729419"/>
              <a:gd name="csY7" fmla="*/ 1720275 h 2076207"/>
              <a:gd name="csX8" fmla="*/ 108579 w 729419"/>
              <a:gd name="csY8" fmla="*/ 1650967 h 2076207"/>
              <a:gd name="csX9" fmla="*/ 115628 w 729419"/>
              <a:gd name="csY9" fmla="*/ 1625405 h 2076207"/>
              <a:gd name="csX10" fmla="*/ 156323 w 729419"/>
              <a:gd name="csY10" fmla="*/ 1560181 h 2076207"/>
              <a:gd name="csX11" fmla="*/ 199424 w 729419"/>
              <a:gd name="csY11" fmla="*/ 1364729 h 2076207"/>
              <a:gd name="csX12" fmla="*/ 216779 w 729419"/>
              <a:gd name="csY12" fmla="*/ 1219490 h 2076207"/>
              <a:gd name="csX13" fmla="*/ 229755 w 729419"/>
              <a:gd name="csY13" fmla="*/ 1099357 h 2076207"/>
              <a:gd name="csX14" fmla="*/ 232707 w 729419"/>
              <a:gd name="csY14" fmla="*/ 1056423 h 2076207"/>
              <a:gd name="csX15" fmla="*/ 235622 w 729419"/>
              <a:gd name="csY15" fmla="*/ 952675 h 2076207"/>
              <a:gd name="csX16" fmla="*/ 235445 w 729419"/>
              <a:gd name="csY16" fmla="*/ 780278 h 2076207"/>
              <a:gd name="csX17" fmla="*/ 214544 w 729419"/>
              <a:gd name="csY17" fmla="*/ 756435 h 2076207"/>
              <a:gd name="csX18" fmla="*/ 172569 w 729419"/>
              <a:gd name="csY18" fmla="*/ 742582 h 2076207"/>
              <a:gd name="csX19" fmla="*/ 168784 w 729419"/>
              <a:gd name="csY19" fmla="*/ 669116 h 2076207"/>
              <a:gd name="csX20" fmla="*/ 191657 w 729419"/>
              <a:gd name="csY20" fmla="*/ 630765 h 2076207"/>
              <a:gd name="csX21" fmla="*/ 208150 w 729419"/>
              <a:gd name="csY21" fmla="*/ 609084 h 2076207"/>
              <a:gd name="csX22" fmla="*/ 216756 w 729419"/>
              <a:gd name="csY22" fmla="*/ 558673 h 2076207"/>
              <a:gd name="csX23" fmla="*/ 209092 w 729419"/>
              <a:gd name="csY23" fmla="*/ 521540 h 2076207"/>
              <a:gd name="csX24" fmla="*/ 204683 w 729419"/>
              <a:gd name="csY24" fmla="*/ 474024 h 2076207"/>
              <a:gd name="csX25" fmla="*/ 115483 w 729419"/>
              <a:gd name="csY25" fmla="*/ 213499 h 2076207"/>
              <a:gd name="csX26" fmla="*/ 102909 w 729419"/>
              <a:gd name="csY26" fmla="*/ 182297 h 2076207"/>
              <a:gd name="csX27" fmla="*/ 104315 w 729419"/>
              <a:gd name="csY27" fmla="*/ 163968 h 2076207"/>
              <a:gd name="csX28" fmla="*/ 122444 w 729419"/>
              <a:gd name="csY28" fmla="*/ 160805 h 2076207"/>
              <a:gd name="csX29" fmla="*/ 170283 w 729419"/>
              <a:gd name="csY29" fmla="*/ 187783 h 2076207"/>
              <a:gd name="csX30" fmla="*/ 180938 w 729419"/>
              <a:gd name="csY30" fmla="*/ 195322 h 2076207"/>
              <a:gd name="csX31" fmla="*/ 221419 w 729419"/>
              <a:gd name="csY31" fmla="*/ 138058 h 2076207"/>
              <a:gd name="csX32" fmla="*/ 294099 w 729419"/>
              <a:gd name="csY32" fmla="*/ 91372 h 2076207"/>
              <a:gd name="csX33" fmla="*/ 302307 w 729419"/>
              <a:gd name="csY33" fmla="*/ 76560 h 2076207"/>
              <a:gd name="csX34" fmla="*/ 320284 w 729419"/>
              <a:gd name="csY34" fmla="*/ 8414 h 2076207"/>
              <a:gd name="csX35" fmla="*/ 324784 w 729419"/>
              <a:gd name="csY35" fmla="*/ 946 h 2076207"/>
              <a:gd name="csX36" fmla="*/ 399212 w 729419"/>
              <a:gd name="csY36" fmla="*/ 0 h 2076207"/>
              <a:gd name="csX37" fmla="*/ 425980 w 729419"/>
              <a:gd name="csY37" fmla="*/ 78301 h 2076207"/>
              <a:gd name="csX38" fmla="*/ 431861 w 729419"/>
              <a:gd name="csY38" fmla="*/ 90312 h 2076207"/>
              <a:gd name="csX39" fmla="*/ 540349 w 729419"/>
              <a:gd name="csY39" fmla="*/ 187946 h 2076207"/>
              <a:gd name="csX40" fmla="*/ 545555 w 729419"/>
              <a:gd name="csY40" fmla="*/ 197828 h 2076207"/>
              <a:gd name="csX41" fmla="*/ 587318 w 729419"/>
              <a:gd name="csY41" fmla="*/ 171260 h 2076207"/>
              <a:gd name="csX42" fmla="*/ 601503 w 729419"/>
              <a:gd name="csY42" fmla="*/ 163707 h 2076207"/>
              <a:gd name="csX43" fmla="*/ 625254 w 729419"/>
              <a:gd name="csY43" fmla="*/ 163123 h 2076207"/>
              <a:gd name="csX44" fmla="*/ 625468 w 729419"/>
              <a:gd name="csY44" fmla="*/ 187579 h 2076207"/>
              <a:gd name="csX45" fmla="*/ 597543 w 729419"/>
              <a:gd name="csY45" fmla="*/ 251872 h 2076207"/>
              <a:gd name="csX46" fmla="*/ 531831 w 729419"/>
              <a:gd name="csY46" fmla="*/ 442689 h 2076207"/>
              <a:gd name="csX47" fmla="*/ 519888 w 729419"/>
              <a:gd name="csY47" fmla="*/ 501474 h 2076207"/>
              <a:gd name="csX48" fmla="*/ 522506 w 729419"/>
              <a:gd name="csY48" fmla="*/ 525086 h 2076207"/>
              <a:gd name="csX49" fmla="*/ 516235 w 729419"/>
              <a:gd name="csY49" fmla="*/ 555946 h 2076207"/>
              <a:gd name="csX50" fmla="*/ 521332 w 729419"/>
              <a:gd name="csY50" fmla="*/ 610676 h 2076207"/>
              <a:gd name="csX51" fmla="*/ 541382 w 729419"/>
              <a:gd name="csY51" fmla="*/ 642597 h 2076207"/>
              <a:gd name="csX52" fmla="*/ 557031 w 729419"/>
              <a:gd name="csY52" fmla="*/ 667949 h 2076207"/>
              <a:gd name="csX53" fmla="*/ 553994 w 729419"/>
              <a:gd name="csY53" fmla="*/ 744146 h 2076207"/>
              <a:gd name="csX54" fmla="*/ 508215 w 729419"/>
              <a:gd name="csY54" fmla="*/ 758841 h 2076207"/>
              <a:gd name="csX55" fmla="*/ 497442 w 729419"/>
              <a:gd name="csY55" fmla="*/ 771256 h 2076207"/>
              <a:gd name="csX56" fmla="*/ 493005 w 729419"/>
              <a:gd name="csY56" fmla="*/ 922055 h 2076207"/>
              <a:gd name="csX57" fmla="*/ 502900 w 729419"/>
              <a:gd name="csY57" fmla="*/ 1114191 h 2076207"/>
              <a:gd name="csX58" fmla="*/ 508800 w 729419"/>
              <a:gd name="csY58" fmla="*/ 1205474 h 2076207"/>
              <a:gd name="csX59" fmla="*/ 522952 w 729419"/>
              <a:gd name="csY59" fmla="*/ 1320065 h 2076207"/>
              <a:gd name="csX60" fmla="*/ 554682 w 729419"/>
              <a:gd name="csY60" fmla="*/ 1501203 h 2076207"/>
              <a:gd name="csX61" fmla="*/ 576958 w 729419"/>
              <a:gd name="csY61" fmla="*/ 1593963 h 2076207"/>
              <a:gd name="csX62" fmla="*/ 595349 w 729419"/>
              <a:gd name="csY62" fmla="*/ 1613498 h 2076207"/>
              <a:gd name="csX63" fmla="*/ 613936 w 729419"/>
              <a:gd name="csY63" fmla="*/ 1624058 h 2076207"/>
              <a:gd name="csX64" fmla="*/ 620938 w 729419"/>
              <a:gd name="csY64" fmla="*/ 1652071 h 2076207"/>
              <a:gd name="csX65" fmla="*/ 630805 w 729419"/>
              <a:gd name="csY65" fmla="*/ 1721702 h 2076207"/>
              <a:gd name="csX66" fmla="*/ 685830 w 729419"/>
              <a:gd name="csY66" fmla="*/ 1792915 h 2076207"/>
              <a:gd name="csX67" fmla="*/ 708904 w 729419"/>
              <a:gd name="csY67" fmla="*/ 1890290 h 2076207"/>
              <a:gd name="csX68" fmla="*/ 716580 w 729419"/>
              <a:gd name="csY68" fmla="*/ 1951136 h 2076207"/>
              <a:gd name="csX69" fmla="*/ 729397 w 729419"/>
              <a:gd name="csY69" fmla="*/ 2030261 h 2076207"/>
              <a:gd name="csX70" fmla="*/ 714212 w 729419"/>
              <a:gd name="csY70" fmla="*/ 2049544 h 2076207"/>
              <a:gd name="csX71" fmla="*/ 645428 w 729419"/>
              <a:gd name="csY71" fmla="*/ 2070825 h 2076207"/>
              <a:gd name="csX72" fmla="*/ 635822 w 729419"/>
              <a:gd name="csY72" fmla="*/ 2075145 h 2076207"/>
              <a:gd name="csX73" fmla="*/ 588428 w 729419"/>
              <a:gd name="csY73" fmla="*/ 2075144 h 2076207"/>
              <a:gd name="csX74" fmla="*/ 590041 w 729419"/>
              <a:gd name="csY74" fmla="*/ 2071383 h 2076207"/>
              <a:gd name="csX75" fmla="*/ 667788 w 729419"/>
              <a:gd name="csY75" fmla="*/ 2056852 h 2076207"/>
              <a:gd name="csX76" fmla="*/ 706629 w 729419"/>
              <a:gd name="csY76" fmla="*/ 2044290 h 2076207"/>
              <a:gd name="csX77" fmla="*/ 702674 w 729419"/>
              <a:gd name="csY77" fmla="*/ 2041581 h 2076207"/>
              <a:gd name="csX78" fmla="*/ 544974 w 729419"/>
              <a:gd name="csY78" fmla="*/ 2071274 h 2076207"/>
              <a:gd name="csX79" fmla="*/ 538352 w 729419"/>
              <a:gd name="csY79" fmla="*/ 2076207 h 2076207"/>
              <a:gd name="csX80" fmla="*/ 96263 w 729419"/>
              <a:gd name="csY80" fmla="*/ 2076207 h 2076207"/>
              <a:gd name="csX81" fmla="*/ 489970 w 729419"/>
              <a:gd name="csY81" fmla="*/ 152208 h 2076207"/>
              <a:gd name="csX82" fmla="*/ 490754 w 729419"/>
              <a:gd name="csY82" fmla="*/ 152592 h 2076207"/>
              <a:gd name="csX83" fmla="*/ 489489 w 729419"/>
              <a:gd name="csY83" fmla="*/ 149547 h 2076207"/>
              <a:gd name="csX84" fmla="*/ 393621 w 729419"/>
              <a:gd name="csY84" fmla="*/ 99259 h 2076207"/>
              <a:gd name="csX85" fmla="*/ 390419 w 729419"/>
              <a:gd name="csY85" fmla="*/ 18568 h 2076207"/>
              <a:gd name="csX86" fmla="*/ 334131 w 729419"/>
              <a:gd name="csY86" fmla="*/ 24327 h 2076207"/>
              <a:gd name="csX87" fmla="*/ 344678 w 729419"/>
              <a:gd name="csY87" fmla="*/ 101259 h 2076207"/>
              <a:gd name="csX88" fmla="*/ 298854 w 729419"/>
              <a:gd name="csY88" fmla="*/ 114003 h 2076207"/>
              <a:gd name="csX89" fmla="*/ 237456 w 729419"/>
              <a:gd name="csY89" fmla="*/ 154340 h 2076207"/>
              <a:gd name="csX90" fmla="*/ 240382 w 729419"/>
              <a:gd name="csY90" fmla="*/ 154035 h 2076207"/>
              <a:gd name="csX91" fmla="*/ 262731 w 729419"/>
              <a:gd name="csY91" fmla="*/ 170426 h 2076207"/>
              <a:gd name="csX92" fmla="*/ 279169 w 729419"/>
              <a:gd name="csY92" fmla="*/ 193173 h 2076207"/>
              <a:gd name="csX93" fmla="*/ 327717 w 729419"/>
              <a:gd name="csY93" fmla="*/ 188556 h 2076207"/>
              <a:gd name="csX94" fmla="*/ 348052 w 729419"/>
              <a:gd name="csY94" fmla="*/ 156919 h 2076207"/>
              <a:gd name="csX95" fmla="*/ 380330 w 729419"/>
              <a:gd name="csY95" fmla="*/ 156483 h 2076207"/>
              <a:gd name="csX96" fmla="*/ 408490 w 729419"/>
              <a:gd name="csY96" fmla="*/ 195400 h 2076207"/>
              <a:gd name="csX97" fmla="*/ 445346 w 729419"/>
              <a:gd name="csY97" fmla="*/ 197582 h 2076207"/>
              <a:gd name="csX98" fmla="*/ 464798 w 729419"/>
              <a:gd name="csY98" fmla="*/ 174107 h 2076207"/>
              <a:gd name="csX99" fmla="*/ 489970 w 729419"/>
              <a:gd name="csY99" fmla="*/ 152208 h 2076207"/>
              <a:gd name="csX100" fmla="*/ 140694 w 729419"/>
              <a:gd name="csY100" fmla="*/ 201837 h 2076207"/>
              <a:gd name="csX101" fmla="*/ 139834 w 729419"/>
              <a:gd name="csY101" fmla="*/ 201482 h 2076207"/>
              <a:gd name="csX102" fmla="*/ 140812 w 729419"/>
              <a:gd name="csY102" fmla="*/ 204941 h 2076207"/>
              <a:gd name="csX103" fmla="*/ 144631 w 729419"/>
              <a:gd name="csY103" fmla="*/ 217811 h 2076207"/>
              <a:gd name="csX104" fmla="*/ 201241 w 729419"/>
              <a:gd name="csY104" fmla="*/ 373387 h 2076207"/>
              <a:gd name="csX105" fmla="*/ 235971 w 729419"/>
              <a:gd name="csY105" fmla="*/ 504451 h 2076207"/>
              <a:gd name="csX106" fmla="*/ 247475 w 729419"/>
              <a:gd name="csY106" fmla="*/ 513241 h 2076207"/>
              <a:gd name="csX107" fmla="*/ 289066 w 729419"/>
              <a:gd name="csY107" fmla="*/ 511170 h 2076207"/>
              <a:gd name="csX108" fmla="*/ 378229 w 729419"/>
              <a:gd name="csY108" fmla="*/ 511084 h 2076207"/>
              <a:gd name="csX109" fmla="*/ 470850 w 729419"/>
              <a:gd name="csY109" fmla="*/ 516341 h 2076207"/>
              <a:gd name="csX110" fmla="*/ 492933 w 729419"/>
              <a:gd name="csY110" fmla="*/ 497969 h 2076207"/>
              <a:gd name="csX111" fmla="*/ 557617 w 729419"/>
              <a:gd name="csY111" fmla="*/ 280398 h 2076207"/>
              <a:gd name="csX112" fmla="*/ 588788 w 729419"/>
              <a:gd name="csY112" fmla="*/ 200385 h 2076207"/>
              <a:gd name="csX113" fmla="*/ 530958 w 729419"/>
              <a:gd name="csY113" fmla="*/ 232968 h 2076207"/>
              <a:gd name="csX114" fmla="*/ 483823 w 729419"/>
              <a:gd name="csY114" fmla="*/ 190364 h 2076207"/>
              <a:gd name="csX115" fmla="*/ 466649 w 729419"/>
              <a:gd name="csY115" fmla="*/ 209061 h 2076207"/>
              <a:gd name="csX116" fmla="*/ 399941 w 729419"/>
              <a:gd name="csY116" fmla="*/ 216988 h 2076207"/>
              <a:gd name="csX117" fmla="*/ 363018 w 729419"/>
              <a:gd name="csY117" fmla="*/ 179615 h 2076207"/>
              <a:gd name="csX118" fmla="*/ 308839 w 729419"/>
              <a:gd name="csY118" fmla="*/ 227846 h 2076207"/>
              <a:gd name="csX119" fmla="*/ 245077 w 729419"/>
              <a:gd name="csY119" fmla="*/ 192402 h 2076207"/>
              <a:gd name="csX120" fmla="*/ 242829 w 729419"/>
              <a:gd name="csY120" fmla="*/ 198815 h 2076207"/>
              <a:gd name="csX121" fmla="*/ 168452 w 729419"/>
              <a:gd name="csY121" fmla="*/ 219348 h 2076207"/>
              <a:gd name="csX122" fmla="*/ 140694 w 729419"/>
              <a:gd name="csY122" fmla="*/ 201837 h 2076207"/>
              <a:gd name="csX123" fmla="*/ 259999 w 729419"/>
              <a:gd name="csY123" fmla="*/ 966699 h 2076207"/>
              <a:gd name="csX124" fmla="*/ 257072 w 729419"/>
              <a:gd name="csY124" fmla="*/ 1070424 h 2076207"/>
              <a:gd name="csX125" fmla="*/ 251372 w 729419"/>
              <a:gd name="csY125" fmla="*/ 1157618 h 2076207"/>
              <a:gd name="csX126" fmla="*/ 232677 w 729419"/>
              <a:gd name="csY126" fmla="*/ 1320279 h 2076207"/>
              <a:gd name="csX127" fmla="*/ 209182 w 729419"/>
              <a:gd name="csY127" fmla="*/ 1468667 h 2076207"/>
              <a:gd name="csX128" fmla="*/ 175302 w 729419"/>
              <a:gd name="csY128" fmla="*/ 1616623 h 2076207"/>
              <a:gd name="csX129" fmla="*/ 182769 w 729419"/>
              <a:gd name="csY129" fmla="*/ 1629786 h 2076207"/>
              <a:gd name="csX130" fmla="*/ 212156 w 729419"/>
              <a:gd name="csY130" fmla="*/ 1632656 h 2076207"/>
              <a:gd name="csX131" fmla="*/ 351295 w 729419"/>
              <a:gd name="csY131" fmla="*/ 1632801 h 2076207"/>
              <a:gd name="csX132" fmla="*/ 376150 w 729419"/>
              <a:gd name="csY132" fmla="*/ 1608307 h 2076207"/>
              <a:gd name="csX133" fmla="*/ 373450 w 729419"/>
              <a:gd name="csY133" fmla="*/ 1457291 h 2076207"/>
              <a:gd name="csX134" fmla="*/ 370936 w 729419"/>
              <a:gd name="csY134" fmla="*/ 1342736 h 2076207"/>
              <a:gd name="csX135" fmla="*/ 368328 w 729419"/>
              <a:gd name="csY135" fmla="*/ 1203878 h 2076207"/>
              <a:gd name="csX136" fmla="*/ 367836 w 729419"/>
              <a:gd name="csY136" fmla="*/ 813478 h 2076207"/>
              <a:gd name="csX137" fmla="*/ 365240 w 729419"/>
              <a:gd name="csY137" fmla="*/ 773243 h 2076207"/>
              <a:gd name="csX138" fmla="*/ 353084 w 729419"/>
              <a:gd name="csY138" fmla="*/ 762083 h 2076207"/>
              <a:gd name="csX139" fmla="*/ 280966 w 729419"/>
              <a:gd name="csY139" fmla="*/ 759855 h 2076207"/>
              <a:gd name="csX140" fmla="*/ 259965 w 729419"/>
              <a:gd name="csY140" fmla="*/ 779553 h 2076207"/>
              <a:gd name="csX141" fmla="*/ 262341 w 729419"/>
              <a:gd name="csY141" fmla="*/ 856275 h 2076207"/>
              <a:gd name="csX142" fmla="*/ 259999 w 729419"/>
              <a:gd name="csY142" fmla="*/ 966699 h 2076207"/>
              <a:gd name="csX143" fmla="*/ 55556 w 729419"/>
              <a:gd name="csY143" fmla="*/ 1835827 h 2076207"/>
              <a:gd name="csX144" fmla="*/ 49393 w 729419"/>
              <a:gd name="csY144" fmla="*/ 1878155 h 2076207"/>
              <a:gd name="csX145" fmla="*/ 73949 w 729419"/>
              <a:gd name="csY145" fmla="*/ 1905781 h 2076207"/>
              <a:gd name="csX146" fmla="*/ 110073 w 729419"/>
              <a:gd name="csY146" fmla="*/ 1909068 h 2076207"/>
              <a:gd name="csX147" fmla="*/ 224745 w 729419"/>
              <a:gd name="csY147" fmla="*/ 1921652 h 2076207"/>
              <a:gd name="csX148" fmla="*/ 347327 w 729419"/>
              <a:gd name="csY148" fmla="*/ 1924778 h 2076207"/>
              <a:gd name="csX149" fmla="*/ 363345 w 729419"/>
              <a:gd name="csY149" fmla="*/ 1923293 h 2076207"/>
              <a:gd name="csX150" fmla="*/ 373787 w 729419"/>
              <a:gd name="csY150" fmla="*/ 1911200 h 2076207"/>
              <a:gd name="csX151" fmla="*/ 376623 w 729419"/>
              <a:gd name="csY151" fmla="*/ 1696741 h 2076207"/>
              <a:gd name="csX152" fmla="*/ 360437 w 729419"/>
              <a:gd name="csY152" fmla="*/ 1681289 h 2076207"/>
              <a:gd name="csX153" fmla="*/ 263503 w 729419"/>
              <a:gd name="csY153" fmla="*/ 1678179 h 2076207"/>
              <a:gd name="csX154" fmla="*/ 160381 w 729419"/>
              <a:gd name="csY154" fmla="*/ 1670405 h 2076207"/>
              <a:gd name="csX155" fmla="*/ 143321 w 729419"/>
              <a:gd name="csY155" fmla="*/ 1685538 h 2076207"/>
              <a:gd name="csX156" fmla="*/ 124769 w 729419"/>
              <a:gd name="csY156" fmla="*/ 1738195 h 2076207"/>
              <a:gd name="csX157" fmla="*/ 90593 w 729419"/>
              <a:gd name="csY157" fmla="*/ 1779570 h 2076207"/>
              <a:gd name="csX158" fmla="*/ 55556 w 729419"/>
              <a:gd name="csY158" fmla="*/ 1835827 h 2076207"/>
              <a:gd name="csX159" fmla="*/ 378900 w 729419"/>
              <a:gd name="csY159" fmla="*/ 2007280 h 2076207"/>
              <a:gd name="csX160" fmla="*/ 378887 w 729419"/>
              <a:gd name="csY160" fmla="*/ 1995127 h 2076207"/>
              <a:gd name="csX161" fmla="*/ 359084 w 729419"/>
              <a:gd name="csY161" fmla="*/ 1975964 h 2076207"/>
              <a:gd name="csX162" fmla="*/ 247288 w 729419"/>
              <a:gd name="csY162" fmla="*/ 1973305 h 2076207"/>
              <a:gd name="csX163" fmla="*/ 201692 w 729419"/>
              <a:gd name="csY163" fmla="*/ 1970275 h 2076207"/>
              <a:gd name="csX164" fmla="*/ 57962 w 729419"/>
              <a:gd name="csY164" fmla="*/ 1952648 h 2076207"/>
              <a:gd name="csX165" fmla="*/ 39194 w 729419"/>
              <a:gd name="csY165" fmla="*/ 1963552 h 2076207"/>
              <a:gd name="csX166" fmla="*/ 30066 w 729419"/>
              <a:gd name="csY166" fmla="*/ 2006631 h 2076207"/>
              <a:gd name="csX167" fmla="*/ 40232 w 729419"/>
              <a:gd name="csY167" fmla="*/ 2019486 h 2076207"/>
              <a:gd name="csX168" fmla="*/ 238186 w 729419"/>
              <a:gd name="csY168" fmla="*/ 2046096 h 2076207"/>
              <a:gd name="csX169" fmla="*/ 342155 w 729419"/>
              <a:gd name="csY169" fmla="*/ 2046441 h 2076207"/>
              <a:gd name="csX170" fmla="*/ 378900 w 729419"/>
              <a:gd name="csY170" fmla="*/ 2007280 h 2076207"/>
              <a:gd name="csX171" fmla="*/ 310220 w 729419"/>
              <a:gd name="csY171" fmla="*/ 554288 h 2076207"/>
              <a:gd name="csX172" fmla="*/ 259136 w 729419"/>
              <a:gd name="csY172" fmla="*/ 556881 h 2076207"/>
              <a:gd name="csX173" fmla="*/ 249085 w 729419"/>
              <a:gd name="csY173" fmla="*/ 567981 h 2076207"/>
              <a:gd name="csX174" fmla="*/ 249141 w 729419"/>
              <a:gd name="csY174" fmla="*/ 605644 h 2076207"/>
              <a:gd name="csX175" fmla="*/ 262628 w 729419"/>
              <a:gd name="csY175" fmla="*/ 605627 h 2076207"/>
              <a:gd name="csX176" fmla="*/ 369608 w 729419"/>
              <a:gd name="csY176" fmla="*/ 603027 h 2076207"/>
              <a:gd name="csX177" fmla="*/ 463931 w 729419"/>
              <a:gd name="csY177" fmla="*/ 605146 h 2076207"/>
              <a:gd name="csX178" fmla="*/ 478113 w 729419"/>
              <a:gd name="csY178" fmla="*/ 595843 h 2076207"/>
              <a:gd name="csX179" fmla="*/ 478796 w 729419"/>
              <a:gd name="csY179" fmla="*/ 556832 h 2076207"/>
              <a:gd name="csX180" fmla="*/ 310220 w 729419"/>
              <a:gd name="csY180" fmla="*/ 554288 h 2076207"/>
              <a:gd name="csX181" fmla="*/ 348836 w 729419"/>
              <a:gd name="csY181" fmla="*/ 684115 h 2076207"/>
              <a:gd name="csX182" fmla="*/ 281333 w 729419"/>
              <a:gd name="csY182" fmla="*/ 683313 h 2076207"/>
              <a:gd name="csX183" fmla="*/ 212728 w 729419"/>
              <a:gd name="csY183" fmla="*/ 681931 h 2076207"/>
              <a:gd name="csX184" fmla="*/ 187283 w 729419"/>
              <a:gd name="csY184" fmla="*/ 689555 h 2076207"/>
              <a:gd name="csX185" fmla="*/ 186163 w 729419"/>
              <a:gd name="csY185" fmla="*/ 718266 h 2076207"/>
              <a:gd name="csX186" fmla="*/ 209894 w 729419"/>
              <a:gd name="csY186" fmla="*/ 726798 h 2076207"/>
              <a:gd name="csX187" fmla="*/ 334814 w 729419"/>
              <a:gd name="csY187" fmla="*/ 732494 h 2076207"/>
              <a:gd name="csX188" fmla="*/ 364856 w 729419"/>
              <a:gd name="csY188" fmla="*/ 707963 h 2076207"/>
              <a:gd name="csX189" fmla="*/ 348836 w 729419"/>
              <a:gd name="csY189" fmla="*/ 684115 h 2076207"/>
              <a:gd name="csX190" fmla="*/ 298865 w 729419"/>
              <a:gd name="csY190" fmla="*/ 621954 h 2076207"/>
              <a:gd name="csX191" fmla="*/ 251619 w 729419"/>
              <a:gd name="csY191" fmla="*/ 622133 h 2076207"/>
              <a:gd name="csX192" fmla="*/ 214459 w 729419"/>
              <a:gd name="csY192" fmla="*/ 636230 h 2076207"/>
              <a:gd name="csX193" fmla="*/ 221436 w 729419"/>
              <a:gd name="csY193" fmla="*/ 654205 h 2076207"/>
              <a:gd name="csX194" fmla="*/ 272412 w 729419"/>
              <a:gd name="csY194" fmla="*/ 657250 h 2076207"/>
              <a:gd name="csX195" fmla="*/ 349094 w 729419"/>
              <a:gd name="csY195" fmla="*/ 659282 h 2076207"/>
              <a:gd name="csX196" fmla="*/ 362996 w 729419"/>
              <a:gd name="csY196" fmla="*/ 644234 h 2076207"/>
              <a:gd name="csX197" fmla="*/ 348472 w 729419"/>
              <a:gd name="csY197" fmla="*/ 624649 h 2076207"/>
              <a:gd name="csX198" fmla="*/ 298865 w 729419"/>
              <a:gd name="csY198" fmla="*/ 621954 h 2076207"/>
              <a:gd name="csX199" fmla="*/ 227796 w 729419"/>
              <a:gd name="csY199" fmla="*/ 528000 h 2076207"/>
              <a:gd name="csX200" fmla="*/ 241009 w 729419"/>
              <a:gd name="csY200" fmla="*/ 545897 h 2076207"/>
              <a:gd name="csX201" fmla="*/ 282607 w 729419"/>
              <a:gd name="csY201" fmla="*/ 543480 h 2076207"/>
              <a:gd name="csX202" fmla="*/ 354213 w 729419"/>
              <a:gd name="csY202" fmla="*/ 543384 h 2076207"/>
              <a:gd name="csX203" fmla="*/ 365334 w 729419"/>
              <a:gd name="csY203" fmla="*/ 533397 h 2076207"/>
              <a:gd name="csX204" fmla="*/ 354531 w 729419"/>
              <a:gd name="csY204" fmla="*/ 521620 h 2076207"/>
              <a:gd name="csX205" fmla="*/ 259169 w 729419"/>
              <a:gd name="csY205" fmla="*/ 521978 h 2076207"/>
              <a:gd name="csX206" fmla="*/ 227796 w 729419"/>
              <a:gd name="csY206" fmla="*/ 528000 h 2076207"/>
              <a:gd name="csX207" fmla="*/ 508068 w 729419"/>
              <a:gd name="csY207" fmla="*/ 190710 h 2076207"/>
              <a:gd name="csX208" fmla="*/ 521293 w 729419"/>
              <a:gd name="csY208" fmla="*/ 205907 h 2076207"/>
              <a:gd name="csX209" fmla="*/ 525175 w 729419"/>
              <a:gd name="csY209" fmla="*/ 202985 h 2076207"/>
              <a:gd name="csX210" fmla="*/ 500276 w 729419"/>
              <a:gd name="csY210" fmla="*/ 160640 h 2076207"/>
              <a:gd name="csX211" fmla="*/ 497122 w 729419"/>
              <a:gd name="csY211" fmla="*/ 162007 h 2076207"/>
              <a:gd name="csX212" fmla="*/ 508068 w 729419"/>
              <a:gd name="csY212" fmla="*/ 190710 h 2076207"/>
              <a:gd name="csX213" fmla="*/ 215522 w 729419"/>
              <a:gd name="csY213" fmla="*/ 197296 h 2076207"/>
              <a:gd name="csX214" fmla="*/ 234029 w 729419"/>
              <a:gd name="csY214" fmla="*/ 162725 h 2076207"/>
              <a:gd name="csX215" fmla="*/ 229000 w 729419"/>
              <a:gd name="csY215" fmla="*/ 159902 h 2076207"/>
              <a:gd name="csX216" fmla="*/ 204824 w 729419"/>
              <a:gd name="csY216" fmla="*/ 199677 h 2076207"/>
              <a:gd name="csX217" fmla="*/ 207990 w 729419"/>
              <a:gd name="csY217" fmla="*/ 202198 h 2076207"/>
              <a:gd name="csX218" fmla="*/ 215522 w 729419"/>
              <a:gd name="csY218" fmla="*/ 197296 h 2076207"/>
              <a:gd name="csX219" fmla="*/ 484400 w 729419"/>
              <a:gd name="csY219" fmla="*/ 863693 h 2076207"/>
              <a:gd name="csX220" fmla="*/ 484400 w 729419"/>
              <a:gd name="csY220" fmla="*/ 896678 h 2076207"/>
              <a:gd name="csX221" fmla="*/ 486181 w 729419"/>
              <a:gd name="csY221" fmla="*/ 896585 h 2076207"/>
              <a:gd name="csX222" fmla="*/ 486181 w 729419"/>
              <a:gd name="csY222" fmla="*/ 795289 h 2076207"/>
              <a:gd name="csX223" fmla="*/ 720241 w 729419"/>
              <a:gd name="csY223" fmla="*/ 2030666 h 2076207"/>
              <a:gd name="csX224" fmla="*/ 721175 w 729419"/>
              <a:gd name="csY224" fmla="*/ 2029733 h 2076207"/>
              <a:gd name="csX225" fmla="*/ 720241 w 729419"/>
              <a:gd name="csY225" fmla="*/ 2030666 h 2076207"/>
              <a:gd name="csX226" fmla="*/ 715702 w 729419"/>
              <a:gd name="csY226" fmla="*/ 2037051 h 2076207"/>
              <a:gd name="csX227" fmla="*/ 715702 w 729419"/>
              <a:gd name="csY227" fmla="*/ 2037051 h 2076207"/>
              <a:gd name="csX228" fmla="*/ 709953 w 729419"/>
              <a:gd name="csY228" fmla="*/ 2040017 h 2076207"/>
              <a:gd name="csX229" fmla="*/ 710209 w 729419"/>
              <a:gd name="csY229" fmla="*/ 2039597 h 2076207"/>
              <a:gd name="csX230" fmla="*/ 709953 w 729419"/>
              <a:gd name="csY230" fmla="*/ 2040017 h 2076207"/>
              <a:gd name="csX0" fmla="*/ 96263 w 729419"/>
              <a:gd name="csY0" fmla="*/ 2076207 h 2076207"/>
              <a:gd name="csX1" fmla="*/ 63862 w 729419"/>
              <a:gd name="csY1" fmla="*/ 2065388 h 2076207"/>
              <a:gd name="csX2" fmla="*/ 16555 w 729419"/>
              <a:gd name="csY2" fmla="*/ 2050152 h 2076207"/>
              <a:gd name="csX3" fmla="*/ 15 w 729419"/>
              <a:gd name="csY3" fmla="*/ 2023802 h 2076207"/>
              <a:gd name="csX4" fmla="*/ 18368 w 729419"/>
              <a:gd name="csY4" fmla="*/ 1940709 h 2076207"/>
              <a:gd name="csX5" fmla="*/ 22139 w 729419"/>
              <a:gd name="csY5" fmla="*/ 1907268 h 2076207"/>
              <a:gd name="csX6" fmla="*/ 57941 w 729419"/>
              <a:gd name="csY6" fmla="*/ 1774163 h 2076207"/>
              <a:gd name="csX7" fmla="*/ 102478 w 729419"/>
              <a:gd name="csY7" fmla="*/ 1720275 h 2076207"/>
              <a:gd name="csX8" fmla="*/ 108579 w 729419"/>
              <a:gd name="csY8" fmla="*/ 1650967 h 2076207"/>
              <a:gd name="csX9" fmla="*/ 115628 w 729419"/>
              <a:gd name="csY9" fmla="*/ 1625405 h 2076207"/>
              <a:gd name="csX10" fmla="*/ 156323 w 729419"/>
              <a:gd name="csY10" fmla="*/ 1560181 h 2076207"/>
              <a:gd name="csX11" fmla="*/ 199424 w 729419"/>
              <a:gd name="csY11" fmla="*/ 1364729 h 2076207"/>
              <a:gd name="csX12" fmla="*/ 216779 w 729419"/>
              <a:gd name="csY12" fmla="*/ 1219490 h 2076207"/>
              <a:gd name="csX13" fmla="*/ 229755 w 729419"/>
              <a:gd name="csY13" fmla="*/ 1099357 h 2076207"/>
              <a:gd name="csX14" fmla="*/ 232707 w 729419"/>
              <a:gd name="csY14" fmla="*/ 1056423 h 2076207"/>
              <a:gd name="csX15" fmla="*/ 235622 w 729419"/>
              <a:gd name="csY15" fmla="*/ 952675 h 2076207"/>
              <a:gd name="csX16" fmla="*/ 235445 w 729419"/>
              <a:gd name="csY16" fmla="*/ 780278 h 2076207"/>
              <a:gd name="csX17" fmla="*/ 214544 w 729419"/>
              <a:gd name="csY17" fmla="*/ 756435 h 2076207"/>
              <a:gd name="csX18" fmla="*/ 172569 w 729419"/>
              <a:gd name="csY18" fmla="*/ 742582 h 2076207"/>
              <a:gd name="csX19" fmla="*/ 168784 w 729419"/>
              <a:gd name="csY19" fmla="*/ 669116 h 2076207"/>
              <a:gd name="csX20" fmla="*/ 191657 w 729419"/>
              <a:gd name="csY20" fmla="*/ 630765 h 2076207"/>
              <a:gd name="csX21" fmla="*/ 208150 w 729419"/>
              <a:gd name="csY21" fmla="*/ 609084 h 2076207"/>
              <a:gd name="csX22" fmla="*/ 216756 w 729419"/>
              <a:gd name="csY22" fmla="*/ 558673 h 2076207"/>
              <a:gd name="csX23" fmla="*/ 209092 w 729419"/>
              <a:gd name="csY23" fmla="*/ 521540 h 2076207"/>
              <a:gd name="csX24" fmla="*/ 204683 w 729419"/>
              <a:gd name="csY24" fmla="*/ 474024 h 2076207"/>
              <a:gd name="csX25" fmla="*/ 115483 w 729419"/>
              <a:gd name="csY25" fmla="*/ 213499 h 2076207"/>
              <a:gd name="csX26" fmla="*/ 102909 w 729419"/>
              <a:gd name="csY26" fmla="*/ 182297 h 2076207"/>
              <a:gd name="csX27" fmla="*/ 104315 w 729419"/>
              <a:gd name="csY27" fmla="*/ 163968 h 2076207"/>
              <a:gd name="csX28" fmla="*/ 122444 w 729419"/>
              <a:gd name="csY28" fmla="*/ 160805 h 2076207"/>
              <a:gd name="csX29" fmla="*/ 170283 w 729419"/>
              <a:gd name="csY29" fmla="*/ 187783 h 2076207"/>
              <a:gd name="csX30" fmla="*/ 180938 w 729419"/>
              <a:gd name="csY30" fmla="*/ 195322 h 2076207"/>
              <a:gd name="csX31" fmla="*/ 221419 w 729419"/>
              <a:gd name="csY31" fmla="*/ 138058 h 2076207"/>
              <a:gd name="csX32" fmla="*/ 294099 w 729419"/>
              <a:gd name="csY32" fmla="*/ 91372 h 2076207"/>
              <a:gd name="csX33" fmla="*/ 302307 w 729419"/>
              <a:gd name="csY33" fmla="*/ 76560 h 2076207"/>
              <a:gd name="csX34" fmla="*/ 320284 w 729419"/>
              <a:gd name="csY34" fmla="*/ 8414 h 2076207"/>
              <a:gd name="csX35" fmla="*/ 324784 w 729419"/>
              <a:gd name="csY35" fmla="*/ 946 h 2076207"/>
              <a:gd name="csX36" fmla="*/ 399212 w 729419"/>
              <a:gd name="csY36" fmla="*/ 0 h 2076207"/>
              <a:gd name="csX37" fmla="*/ 425980 w 729419"/>
              <a:gd name="csY37" fmla="*/ 78301 h 2076207"/>
              <a:gd name="csX38" fmla="*/ 431861 w 729419"/>
              <a:gd name="csY38" fmla="*/ 90312 h 2076207"/>
              <a:gd name="csX39" fmla="*/ 540349 w 729419"/>
              <a:gd name="csY39" fmla="*/ 187946 h 2076207"/>
              <a:gd name="csX40" fmla="*/ 545555 w 729419"/>
              <a:gd name="csY40" fmla="*/ 197828 h 2076207"/>
              <a:gd name="csX41" fmla="*/ 587318 w 729419"/>
              <a:gd name="csY41" fmla="*/ 171260 h 2076207"/>
              <a:gd name="csX42" fmla="*/ 601503 w 729419"/>
              <a:gd name="csY42" fmla="*/ 163707 h 2076207"/>
              <a:gd name="csX43" fmla="*/ 625254 w 729419"/>
              <a:gd name="csY43" fmla="*/ 163123 h 2076207"/>
              <a:gd name="csX44" fmla="*/ 625468 w 729419"/>
              <a:gd name="csY44" fmla="*/ 187579 h 2076207"/>
              <a:gd name="csX45" fmla="*/ 597543 w 729419"/>
              <a:gd name="csY45" fmla="*/ 251872 h 2076207"/>
              <a:gd name="csX46" fmla="*/ 531831 w 729419"/>
              <a:gd name="csY46" fmla="*/ 442689 h 2076207"/>
              <a:gd name="csX47" fmla="*/ 519888 w 729419"/>
              <a:gd name="csY47" fmla="*/ 501474 h 2076207"/>
              <a:gd name="csX48" fmla="*/ 522506 w 729419"/>
              <a:gd name="csY48" fmla="*/ 525086 h 2076207"/>
              <a:gd name="csX49" fmla="*/ 516235 w 729419"/>
              <a:gd name="csY49" fmla="*/ 555946 h 2076207"/>
              <a:gd name="csX50" fmla="*/ 521332 w 729419"/>
              <a:gd name="csY50" fmla="*/ 610676 h 2076207"/>
              <a:gd name="csX51" fmla="*/ 541382 w 729419"/>
              <a:gd name="csY51" fmla="*/ 642597 h 2076207"/>
              <a:gd name="csX52" fmla="*/ 557031 w 729419"/>
              <a:gd name="csY52" fmla="*/ 667949 h 2076207"/>
              <a:gd name="csX53" fmla="*/ 553994 w 729419"/>
              <a:gd name="csY53" fmla="*/ 744146 h 2076207"/>
              <a:gd name="csX54" fmla="*/ 508215 w 729419"/>
              <a:gd name="csY54" fmla="*/ 758841 h 2076207"/>
              <a:gd name="csX55" fmla="*/ 497442 w 729419"/>
              <a:gd name="csY55" fmla="*/ 771256 h 2076207"/>
              <a:gd name="csX56" fmla="*/ 493005 w 729419"/>
              <a:gd name="csY56" fmla="*/ 922055 h 2076207"/>
              <a:gd name="csX57" fmla="*/ 502900 w 729419"/>
              <a:gd name="csY57" fmla="*/ 1114191 h 2076207"/>
              <a:gd name="csX58" fmla="*/ 508800 w 729419"/>
              <a:gd name="csY58" fmla="*/ 1205474 h 2076207"/>
              <a:gd name="csX59" fmla="*/ 522952 w 729419"/>
              <a:gd name="csY59" fmla="*/ 1320065 h 2076207"/>
              <a:gd name="csX60" fmla="*/ 554682 w 729419"/>
              <a:gd name="csY60" fmla="*/ 1501203 h 2076207"/>
              <a:gd name="csX61" fmla="*/ 576958 w 729419"/>
              <a:gd name="csY61" fmla="*/ 1593963 h 2076207"/>
              <a:gd name="csX62" fmla="*/ 595349 w 729419"/>
              <a:gd name="csY62" fmla="*/ 1613498 h 2076207"/>
              <a:gd name="csX63" fmla="*/ 613936 w 729419"/>
              <a:gd name="csY63" fmla="*/ 1624058 h 2076207"/>
              <a:gd name="csX64" fmla="*/ 620938 w 729419"/>
              <a:gd name="csY64" fmla="*/ 1652071 h 2076207"/>
              <a:gd name="csX65" fmla="*/ 630805 w 729419"/>
              <a:gd name="csY65" fmla="*/ 1721702 h 2076207"/>
              <a:gd name="csX66" fmla="*/ 685830 w 729419"/>
              <a:gd name="csY66" fmla="*/ 1792915 h 2076207"/>
              <a:gd name="csX67" fmla="*/ 708904 w 729419"/>
              <a:gd name="csY67" fmla="*/ 1890290 h 2076207"/>
              <a:gd name="csX68" fmla="*/ 716580 w 729419"/>
              <a:gd name="csY68" fmla="*/ 1951136 h 2076207"/>
              <a:gd name="csX69" fmla="*/ 729397 w 729419"/>
              <a:gd name="csY69" fmla="*/ 2030261 h 2076207"/>
              <a:gd name="csX70" fmla="*/ 714212 w 729419"/>
              <a:gd name="csY70" fmla="*/ 2049544 h 2076207"/>
              <a:gd name="csX71" fmla="*/ 645428 w 729419"/>
              <a:gd name="csY71" fmla="*/ 2070825 h 2076207"/>
              <a:gd name="csX72" fmla="*/ 635822 w 729419"/>
              <a:gd name="csY72" fmla="*/ 2075145 h 2076207"/>
              <a:gd name="csX73" fmla="*/ 588428 w 729419"/>
              <a:gd name="csY73" fmla="*/ 2075144 h 2076207"/>
              <a:gd name="csX74" fmla="*/ 590041 w 729419"/>
              <a:gd name="csY74" fmla="*/ 2071383 h 2076207"/>
              <a:gd name="csX75" fmla="*/ 667788 w 729419"/>
              <a:gd name="csY75" fmla="*/ 2056852 h 2076207"/>
              <a:gd name="csX76" fmla="*/ 706629 w 729419"/>
              <a:gd name="csY76" fmla="*/ 2044290 h 2076207"/>
              <a:gd name="csX77" fmla="*/ 702674 w 729419"/>
              <a:gd name="csY77" fmla="*/ 2041581 h 2076207"/>
              <a:gd name="csX78" fmla="*/ 544974 w 729419"/>
              <a:gd name="csY78" fmla="*/ 2071274 h 2076207"/>
              <a:gd name="csX79" fmla="*/ 538352 w 729419"/>
              <a:gd name="csY79" fmla="*/ 2076207 h 2076207"/>
              <a:gd name="csX80" fmla="*/ 96263 w 729419"/>
              <a:gd name="csY80" fmla="*/ 2076207 h 2076207"/>
              <a:gd name="csX81" fmla="*/ 489970 w 729419"/>
              <a:gd name="csY81" fmla="*/ 152208 h 2076207"/>
              <a:gd name="csX82" fmla="*/ 490754 w 729419"/>
              <a:gd name="csY82" fmla="*/ 152592 h 2076207"/>
              <a:gd name="csX83" fmla="*/ 489489 w 729419"/>
              <a:gd name="csY83" fmla="*/ 149547 h 2076207"/>
              <a:gd name="csX84" fmla="*/ 393621 w 729419"/>
              <a:gd name="csY84" fmla="*/ 99259 h 2076207"/>
              <a:gd name="csX85" fmla="*/ 390419 w 729419"/>
              <a:gd name="csY85" fmla="*/ 18568 h 2076207"/>
              <a:gd name="csX86" fmla="*/ 334131 w 729419"/>
              <a:gd name="csY86" fmla="*/ 24327 h 2076207"/>
              <a:gd name="csX87" fmla="*/ 344678 w 729419"/>
              <a:gd name="csY87" fmla="*/ 101259 h 2076207"/>
              <a:gd name="csX88" fmla="*/ 298854 w 729419"/>
              <a:gd name="csY88" fmla="*/ 114003 h 2076207"/>
              <a:gd name="csX89" fmla="*/ 237456 w 729419"/>
              <a:gd name="csY89" fmla="*/ 154340 h 2076207"/>
              <a:gd name="csX90" fmla="*/ 240382 w 729419"/>
              <a:gd name="csY90" fmla="*/ 154035 h 2076207"/>
              <a:gd name="csX91" fmla="*/ 262731 w 729419"/>
              <a:gd name="csY91" fmla="*/ 170426 h 2076207"/>
              <a:gd name="csX92" fmla="*/ 279169 w 729419"/>
              <a:gd name="csY92" fmla="*/ 193173 h 2076207"/>
              <a:gd name="csX93" fmla="*/ 327717 w 729419"/>
              <a:gd name="csY93" fmla="*/ 188556 h 2076207"/>
              <a:gd name="csX94" fmla="*/ 348052 w 729419"/>
              <a:gd name="csY94" fmla="*/ 156919 h 2076207"/>
              <a:gd name="csX95" fmla="*/ 380330 w 729419"/>
              <a:gd name="csY95" fmla="*/ 156483 h 2076207"/>
              <a:gd name="csX96" fmla="*/ 408490 w 729419"/>
              <a:gd name="csY96" fmla="*/ 195400 h 2076207"/>
              <a:gd name="csX97" fmla="*/ 445346 w 729419"/>
              <a:gd name="csY97" fmla="*/ 197582 h 2076207"/>
              <a:gd name="csX98" fmla="*/ 464798 w 729419"/>
              <a:gd name="csY98" fmla="*/ 174107 h 2076207"/>
              <a:gd name="csX99" fmla="*/ 489970 w 729419"/>
              <a:gd name="csY99" fmla="*/ 152208 h 2076207"/>
              <a:gd name="csX100" fmla="*/ 140694 w 729419"/>
              <a:gd name="csY100" fmla="*/ 201837 h 2076207"/>
              <a:gd name="csX101" fmla="*/ 139834 w 729419"/>
              <a:gd name="csY101" fmla="*/ 201482 h 2076207"/>
              <a:gd name="csX102" fmla="*/ 140812 w 729419"/>
              <a:gd name="csY102" fmla="*/ 204941 h 2076207"/>
              <a:gd name="csX103" fmla="*/ 144631 w 729419"/>
              <a:gd name="csY103" fmla="*/ 217811 h 2076207"/>
              <a:gd name="csX104" fmla="*/ 201241 w 729419"/>
              <a:gd name="csY104" fmla="*/ 373387 h 2076207"/>
              <a:gd name="csX105" fmla="*/ 235971 w 729419"/>
              <a:gd name="csY105" fmla="*/ 504451 h 2076207"/>
              <a:gd name="csX106" fmla="*/ 247475 w 729419"/>
              <a:gd name="csY106" fmla="*/ 513241 h 2076207"/>
              <a:gd name="csX107" fmla="*/ 289066 w 729419"/>
              <a:gd name="csY107" fmla="*/ 511170 h 2076207"/>
              <a:gd name="csX108" fmla="*/ 378229 w 729419"/>
              <a:gd name="csY108" fmla="*/ 511084 h 2076207"/>
              <a:gd name="csX109" fmla="*/ 470850 w 729419"/>
              <a:gd name="csY109" fmla="*/ 516341 h 2076207"/>
              <a:gd name="csX110" fmla="*/ 492933 w 729419"/>
              <a:gd name="csY110" fmla="*/ 497969 h 2076207"/>
              <a:gd name="csX111" fmla="*/ 557617 w 729419"/>
              <a:gd name="csY111" fmla="*/ 280398 h 2076207"/>
              <a:gd name="csX112" fmla="*/ 588788 w 729419"/>
              <a:gd name="csY112" fmla="*/ 200385 h 2076207"/>
              <a:gd name="csX113" fmla="*/ 530958 w 729419"/>
              <a:gd name="csY113" fmla="*/ 232968 h 2076207"/>
              <a:gd name="csX114" fmla="*/ 483823 w 729419"/>
              <a:gd name="csY114" fmla="*/ 190364 h 2076207"/>
              <a:gd name="csX115" fmla="*/ 466649 w 729419"/>
              <a:gd name="csY115" fmla="*/ 209061 h 2076207"/>
              <a:gd name="csX116" fmla="*/ 399941 w 729419"/>
              <a:gd name="csY116" fmla="*/ 216988 h 2076207"/>
              <a:gd name="csX117" fmla="*/ 363018 w 729419"/>
              <a:gd name="csY117" fmla="*/ 179615 h 2076207"/>
              <a:gd name="csX118" fmla="*/ 308839 w 729419"/>
              <a:gd name="csY118" fmla="*/ 227846 h 2076207"/>
              <a:gd name="csX119" fmla="*/ 245077 w 729419"/>
              <a:gd name="csY119" fmla="*/ 192402 h 2076207"/>
              <a:gd name="csX120" fmla="*/ 242829 w 729419"/>
              <a:gd name="csY120" fmla="*/ 198815 h 2076207"/>
              <a:gd name="csX121" fmla="*/ 168452 w 729419"/>
              <a:gd name="csY121" fmla="*/ 219348 h 2076207"/>
              <a:gd name="csX122" fmla="*/ 140694 w 729419"/>
              <a:gd name="csY122" fmla="*/ 201837 h 2076207"/>
              <a:gd name="csX123" fmla="*/ 259999 w 729419"/>
              <a:gd name="csY123" fmla="*/ 966699 h 2076207"/>
              <a:gd name="csX124" fmla="*/ 257072 w 729419"/>
              <a:gd name="csY124" fmla="*/ 1070424 h 2076207"/>
              <a:gd name="csX125" fmla="*/ 251372 w 729419"/>
              <a:gd name="csY125" fmla="*/ 1157618 h 2076207"/>
              <a:gd name="csX126" fmla="*/ 232677 w 729419"/>
              <a:gd name="csY126" fmla="*/ 1320279 h 2076207"/>
              <a:gd name="csX127" fmla="*/ 209182 w 729419"/>
              <a:gd name="csY127" fmla="*/ 1468667 h 2076207"/>
              <a:gd name="csX128" fmla="*/ 175302 w 729419"/>
              <a:gd name="csY128" fmla="*/ 1616623 h 2076207"/>
              <a:gd name="csX129" fmla="*/ 182769 w 729419"/>
              <a:gd name="csY129" fmla="*/ 1629786 h 2076207"/>
              <a:gd name="csX130" fmla="*/ 212156 w 729419"/>
              <a:gd name="csY130" fmla="*/ 1632656 h 2076207"/>
              <a:gd name="csX131" fmla="*/ 351295 w 729419"/>
              <a:gd name="csY131" fmla="*/ 1632801 h 2076207"/>
              <a:gd name="csX132" fmla="*/ 376150 w 729419"/>
              <a:gd name="csY132" fmla="*/ 1608307 h 2076207"/>
              <a:gd name="csX133" fmla="*/ 373450 w 729419"/>
              <a:gd name="csY133" fmla="*/ 1457291 h 2076207"/>
              <a:gd name="csX134" fmla="*/ 370936 w 729419"/>
              <a:gd name="csY134" fmla="*/ 1342736 h 2076207"/>
              <a:gd name="csX135" fmla="*/ 368328 w 729419"/>
              <a:gd name="csY135" fmla="*/ 1203878 h 2076207"/>
              <a:gd name="csX136" fmla="*/ 367836 w 729419"/>
              <a:gd name="csY136" fmla="*/ 813478 h 2076207"/>
              <a:gd name="csX137" fmla="*/ 365240 w 729419"/>
              <a:gd name="csY137" fmla="*/ 773243 h 2076207"/>
              <a:gd name="csX138" fmla="*/ 353084 w 729419"/>
              <a:gd name="csY138" fmla="*/ 762083 h 2076207"/>
              <a:gd name="csX139" fmla="*/ 280966 w 729419"/>
              <a:gd name="csY139" fmla="*/ 759855 h 2076207"/>
              <a:gd name="csX140" fmla="*/ 259965 w 729419"/>
              <a:gd name="csY140" fmla="*/ 779553 h 2076207"/>
              <a:gd name="csX141" fmla="*/ 262341 w 729419"/>
              <a:gd name="csY141" fmla="*/ 856275 h 2076207"/>
              <a:gd name="csX142" fmla="*/ 259999 w 729419"/>
              <a:gd name="csY142" fmla="*/ 966699 h 2076207"/>
              <a:gd name="csX143" fmla="*/ 55556 w 729419"/>
              <a:gd name="csY143" fmla="*/ 1835827 h 2076207"/>
              <a:gd name="csX144" fmla="*/ 49393 w 729419"/>
              <a:gd name="csY144" fmla="*/ 1878155 h 2076207"/>
              <a:gd name="csX145" fmla="*/ 73949 w 729419"/>
              <a:gd name="csY145" fmla="*/ 1905781 h 2076207"/>
              <a:gd name="csX146" fmla="*/ 110073 w 729419"/>
              <a:gd name="csY146" fmla="*/ 1909068 h 2076207"/>
              <a:gd name="csX147" fmla="*/ 224745 w 729419"/>
              <a:gd name="csY147" fmla="*/ 1921652 h 2076207"/>
              <a:gd name="csX148" fmla="*/ 347327 w 729419"/>
              <a:gd name="csY148" fmla="*/ 1924778 h 2076207"/>
              <a:gd name="csX149" fmla="*/ 363345 w 729419"/>
              <a:gd name="csY149" fmla="*/ 1923293 h 2076207"/>
              <a:gd name="csX150" fmla="*/ 373787 w 729419"/>
              <a:gd name="csY150" fmla="*/ 1911200 h 2076207"/>
              <a:gd name="csX151" fmla="*/ 376623 w 729419"/>
              <a:gd name="csY151" fmla="*/ 1696741 h 2076207"/>
              <a:gd name="csX152" fmla="*/ 360437 w 729419"/>
              <a:gd name="csY152" fmla="*/ 1681289 h 2076207"/>
              <a:gd name="csX153" fmla="*/ 263503 w 729419"/>
              <a:gd name="csY153" fmla="*/ 1678179 h 2076207"/>
              <a:gd name="csX154" fmla="*/ 160381 w 729419"/>
              <a:gd name="csY154" fmla="*/ 1670405 h 2076207"/>
              <a:gd name="csX155" fmla="*/ 143321 w 729419"/>
              <a:gd name="csY155" fmla="*/ 1685538 h 2076207"/>
              <a:gd name="csX156" fmla="*/ 124769 w 729419"/>
              <a:gd name="csY156" fmla="*/ 1738195 h 2076207"/>
              <a:gd name="csX157" fmla="*/ 90593 w 729419"/>
              <a:gd name="csY157" fmla="*/ 1779570 h 2076207"/>
              <a:gd name="csX158" fmla="*/ 55556 w 729419"/>
              <a:gd name="csY158" fmla="*/ 1835827 h 2076207"/>
              <a:gd name="csX159" fmla="*/ 378900 w 729419"/>
              <a:gd name="csY159" fmla="*/ 2007280 h 2076207"/>
              <a:gd name="csX160" fmla="*/ 378887 w 729419"/>
              <a:gd name="csY160" fmla="*/ 1995127 h 2076207"/>
              <a:gd name="csX161" fmla="*/ 359084 w 729419"/>
              <a:gd name="csY161" fmla="*/ 1975964 h 2076207"/>
              <a:gd name="csX162" fmla="*/ 247288 w 729419"/>
              <a:gd name="csY162" fmla="*/ 1973305 h 2076207"/>
              <a:gd name="csX163" fmla="*/ 201692 w 729419"/>
              <a:gd name="csY163" fmla="*/ 1970275 h 2076207"/>
              <a:gd name="csX164" fmla="*/ 57962 w 729419"/>
              <a:gd name="csY164" fmla="*/ 1952648 h 2076207"/>
              <a:gd name="csX165" fmla="*/ 39194 w 729419"/>
              <a:gd name="csY165" fmla="*/ 1963552 h 2076207"/>
              <a:gd name="csX166" fmla="*/ 30066 w 729419"/>
              <a:gd name="csY166" fmla="*/ 2006631 h 2076207"/>
              <a:gd name="csX167" fmla="*/ 40232 w 729419"/>
              <a:gd name="csY167" fmla="*/ 2019486 h 2076207"/>
              <a:gd name="csX168" fmla="*/ 238186 w 729419"/>
              <a:gd name="csY168" fmla="*/ 2046096 h 2076207"/>
              <a:gd name="csX169" fmla="*/ 342155 w 729419"/>
              <a:gd name="csY169" fmla="*/ 2046441 h 2076207"/>
              <a:gd name="csX170" fmla="*/ 378900 w 729419"/>
              <a:gd name="csY170" fmla="*/ 2007280 h 2076207"/>
              <a:gd name="csX171" fmla="*/ 310220 w 729419"/>
              <a:gd name="csY171" fmla="*/ 554288 h 2076207"/>
              <a:gd name="csX172" fmla="*/ 259136 w 729419"/>
              <a:gd name="csY172" fmla="*/ 556881 h 2076207"/>
              <a:gd name="csX173" fmla="*/ 249085 w 729419"/>
              <a:gd name="csY173" fmla="*/ 567981 h 2076207"/>
              <a:gd name="csX174" fmla="*/ 249141 w 729419"/>
              <a:gd name="csY174" fmla="*/ 605644 h 2076207"/>
              <a:gd name="csX175" fmla="*/ 262628 w 729419"/>
              <a:gd name="csY175" fmla="*/ 605627 h 2076207"/>
              <a:gd name="csX176" fmla="*/ 369608 w 729419"/>
              <a:gd name="csY176" fmla="*/ 603027 h 2076207"/>
              <a:gd name="csX177" fmla="*/ 463931 w 729419"/>
              <a:gd name="csY177" fmla="*/ 605146 h 2076207"/>
              <a:gd name="csX178" fmla="*/ 478113 w 729419"/>
              <a:gd name="csY178" fmla="*/ 595843 h 2076207"/>
              <a:gd name="csX179" fmla="*/ 478796 w 729419"/>
              <a:gd name="csY179" fmla="*/ 556832 h 2076207"/>
              <a:gd name="csX180" fmla="*/ 310220 w 729419"/>
              <a:gd name="csY180" fmla="*/ 554288 h 2076207"/>
              <a:gd name="csX181" fmla="*/ 348836 w 729419"/>
              <a:gd name="csY181" fmla="*/ 684115 h 2076207"/>
              <a:gd name="csX182" fmla="*/ 281333 w 729419"/>
              <a:gd name="csY182" fmla="*/ 683313 h 2076207"/>
              <a:gd name="csX183" fmla="*/ 212728 w 729419"/>
              <a:gd name="csY183" fmla="*/ 681931 h 2076207"/>
              <a:gd name="csX184" fmla="*/ 187283 w 729419"/>
              <a:gd name="csY184" fmla="*/ 689555 h 2076207"/>
              <a:gd name="csX185" fmla="*/ 186163 w 729419"/>
              <a:gd name="csY185" fmla="*/ 718266 h 2076207"/>
              <a:gd name="csX186" fmla="*/ 209894 w 729419"/>
              <a:gd name="csY186" fmla="*/ 726798 h 2076207"/>
              <a:gd name="csX187" fmla="*/ 334814 w 729419"/>
              <a:gd name="csY187" fmla="*/ 732494 h 2076207"/>
              <a:gd name="csX188" fmla="*/ 364856 w 729419"/>
              <a:gd name="csY188" fmla="*/ 707963 h 2076207"/>
              <a:gd name="csX189" fmla="*/ 348836 w 729419"/>
              <a:gd name="csY189" fmla="*/ 684115 h 2076207"/>
              <a:gd name="csX190" fmla="*/ 298865 w 729419"/>
              <a:gd name="csY190" fmla="*/ 621954 h 2076207"/>
              <a:gd name="csX191" fmla="*/ 251619 w 729419"/>
              <a:gd name="csY191" fmla="*/ 622133 h 2076207"/>
              <a:gd name="csX192" fmla="*/ 214459 w 729419"/>
              <a:gd name="csY192" fmla="*/ 636230 h 2076207"/>
              <a:gd name="csX193" fmla="*/ 221436 w 729419"/>
              <a:gd name="csY193" fmla="*/ 654205 h 2076207"/>
              <a:gd name="csX194" fmla="*/ 272412 w 729419"/>
              <a:gd name="csY194" fmla="*/ 657250 h 2076207"/>
              <a:gd name="csX195" fmla="*/ 349094 w 729419"/>
              <a:gd name="csY195" fmla="*/ 659282 h 2076207"/>
              <a:gd name="csX196" fmla="*/ 362996 w 729419"/>
              <a:gd name="csY196" fmla="*/ 644234 h 2076207"/>
              <a:gd name="csX197" fmla="*/ 348472 w 729419"/>
              <a:gd name="csY197" fmla="*/ 624649 h 2076207"/>
              <a:gd name="csX198" fmla="*/ 298865 w 729419"/>
              <a:gd name="csY198" fmla="*/ 621954 h 2076207"/>
              <a:gd name="csX199" fmla="*/ 227796 w 729419"/>
              <a:gd name="csY199" fmla="*/ 528000 h 2076207"/>
              <a:gd name="csX200" fmla="*/ 241009 w 729419"/>
              <a:gd name="csY200" fmla="*/ 545897 h 2076207"/>
              <a:gd name="csX201" fmla="*/ 282607 w 729419"/>
              <a:gd name="csY201" fmla="*/ 543480 h 2076207"/>
              <a:gd name="csX202" fmla="*/ 354213 w 729419"/>
              <a:gd name="csY202" fmla="*/ 543384 h 2076207"/>
              <a:gd name="csX203" fmla="*/ 365334 w 729419"/>
              <a:gd name="csY203" fmla="*/ 533397 h 2076207"/>
              <a:gd name="csX204" fmla="*/ 354531 w 729419"/>
              <a:gd name="csY204" fmla="*/ 521620 h 2076207"/>
              <a:gd name="csX205" fmla="*/ 259169 w 729419"/>
              <a:gd name="csY205" fmla="*/ 521978 h 2076207"/>
              <a:gd name="csX206" fmla="*/ 227796 w 729419"/>
              <a:gd name="csY206" fmla="*/ 528000 h 2076207"/>
              <a:gd name="csX207" fmla="*/ 508068 w 729419"/>
              <a:gd name="csY207" fmla="*/ 190710 h 2076207"/>
              <a:gd name="csX208" fmla="*/ 521293 w 729419"/>
              <a:gd name="csY208" fmla="*/ 205907 h 2076207"/>
              <a:gd name="csX209" fmla="*/ 525175 w 729419"/>
              <a:gd name="csY209" fmla="*/ 202985 h 2076207"/>
              <a:gd name="csX210" fmla="*/ 500276 w 729419"/>
              <a:gd name="csY210" fmla="*/ 160640 h 2076207"/>
              <a:gd name="csX211" fmla="*/ 497122 w 729419"/>
              <a:gd name="csY211" fmla="*/ 162007 h 2076207"/>
              <a:gd name="csX212" fmla="*/ 508068 w 729419"/>
              <a:gd name="csY212" fmla="*/ 190710 h 2076207"/>
              <a:gd name="csX213" fmla="*/ 215522 w 729419"/>
              <a:gd name="csY213" fmla="*/ 197296 h 2076207"/>
              <a:gd name="csX214" fmla="*/ 234029 w 729419"/>
              <a:gd name="csY214" fmla="*/ 162725 h 2076207"/>
              <a:gd name="csX215" fmla="*/ 229000 w 729419"/>
              <a:gd name="csY215" fmla="*/ 159902 h 2076207"/>
              <a:gd name="csX216" fmla="*/ 204824 w 729419"/>
              <a:gd name="csY216" fmla="*/ 199677 h 2076207"/>
              <a:gd name="csX217" fmla="*/ 207990 w 729419"/>
              <a:gd name="csY217" fmla="*/ 202198 h 2076207"/>
              <a:gd name="csX218" fmla="*/ 215522 w 729419"/>
              <a:gd name="csY218" fmla="*/ 197296 h 2076207"/>
              <a:gd name="csX219" fmla="*/ 484400 w 729419"/>
              <a:gd name="csY219" fmla="*/ 896678 h 2076207"/>
              <a:gd name="csX220" fmla="*/ 486181 w 729419"/>
              <a:gd name="csY220" fmla="*/ 896585 h 2076207"/>
              <a:gd name="csX221" fmla="*/ 486181 w 729419"/>
              <a:gd name="csY221" fmla="*/ 795289 h 2076207"/>
              <a:gd name="csX222" fmla="*/ 720241 w 729419"/>
              <a:gd name="csY222" fmla="*/ 2030666 h 2076207"/>
              <a:gd name="csX223" fmla="*/ 721175 w 729419"/>
              <a:gd name="csY223" fmla="*/ 2029733 h 2076207"/>
              <a:gd name="csX224" fmla="*/ 720241 w 729419"/>
              <a:gd name="csY224" fmla="*/ 2030666 h 2076207"/>
              <a:gd name="csX225" fmla="*/ 715702 w 729419"/>
              <a:gd name="csY225" fmla="*/ 2037051 h 2076207"/>
              <a:gd name="csX226" fmla="*/ 715702 w 729419"/>
              <a:gd name="csY226" fmla="*/ 2037051 h 2076207"/>
              <a:gd name="csX227" fmla="*/ 709953 w 729419"/>
              <a:gd name="csY227" fmla="*/ 2040017 h 2076207"/>
              <a:gd name="csX228" fmla="*/ 710209 w 729419"/>
              <a:gd name="csY228" fmla="*/ 2039597 h 2076207"/>
              <a:gd name="csX229" fmla="*/ 709953 w 729419"/>
              <a:gd name="csY229" fmla="*/ 2040017 h 2076207"/>
              <a:gd name="csX0" fmla="*/ 96263 w 729419"/>
              <a:gd name="csY0" fmla="*/ 2076207 h 2076207"/>
              <a:gd name="csX1" fmla="*/ 63862 w 729419"/>
              <a:gd name="csY1" fmla="*/ 2065388 h 2076207"/>
              <a:gd name="csX2" fmla="*/ 16555 w 729419"/>
              <a:gd name="csY2" fmla="*/ 2050152 h 2076207"/>
              <a:gd name="csX3" fmla="*/ 15 w 729419"/>
              <a:gd name="csY3" fmla="*/ 2023802 h 2076207"/>
              <a:gd name="csX4" fmla="*/ 18368 w 729419"/>
              <a:gd name="csY4" fmla="*/ 1940709 h 2076207"/>
              <a:gd name="csX5" fmla="*/ 22139 w 729419"/>
              <a:gd name="csY5" fmla="*/ 1907268 h 2076207"/>
              <a:gd name="csX6" fmla="*/ 57941 w 729419"/>
              <a:gd name="csY6" fmla="*/ 1774163 h 2076207"/>
              <a:gd name="csX7" fmla="*/ 102478 w 729419"/>
              <a:gd name="csY7" fmla="*/ 1720275 h 2076207"/>
              <a:gd name="csX8" fmla="*/ 108579 w 729419"/>
              <a:gd name="csY8" fmla="*/ 1650967 h 2076207"/>
              <a:gd name="csX9" fmla="*/ 115628 w 729419"/>
              <a:gd name="csY9" fmla="*/ 1625405 h 2076207"/>
              <a:gd name="csX10" fmla="*/ 156323 w 729419"/>
              <a:gd name="csY10" fmla="*/ 1560181 h 2076207"/>
              <a:gd name="csX11" fmla="*/ 199424 w 729419"/>
              <a:gd name="csY11" fmla="*/ 1364729 h 2076207"/>
              <a:gd name="csX12" fmla="*/ 216779 w 729419"/>
              <a:gd name="csY12" fmla="*/ 1219490 h 2076207"/>
              <a:gd name="csX13" fmla="*/ 229755 w 729419"/>
              <a:gd name="csY13" fmla="*/ 1099357 h 2076207"/>
              <a:gd name="csX14" fmla="*/ 232707 w 729419"/>
              <a:gd name="csY14" fmla="*/ 1056423 h 2076207"/>
              <a:gd name="csX15" fmla="*/ 235622 w 729419"/>
              <a:gd name="csY15" fmla="*/ 952675 h 2076207"/>
              <a:gd name="csX16" fmla="*/ 235445 w 729419"/>
              <a:gd name="csY16" fmla="*/ 780278 h 2076207"/>
              <a:gd name="csX17" fmla="*/ 214544 w 729419"/>
              <a:gd name="csY17" fmla="*/ 756435 h 2076207"/>
              <a:gd name="csX18" fmla="*/ 172569 w 729419"/>
              <a:gd name="csY18" fmla="*/ 742582 h 2076207"/>
              <a:gd name="csX19" fmla="*/ 168784 w 729419"/>
              <a:gd name="csY19" fmla="*/ 669116 h 2076207"/>
              <a:gd name="csX20" fmla="*/ 191657 w 729419"/>
              <a:gd name="csY20" fmla="*/ 630765 h 2076207"/>
              <a:gd name="csX21" fmla="*/ 208150 w 729419"/>
              <a:gd name="csY21" fmla="*/ 609084 h 2076207"/>
              <a:gd name="csX22" fmla="*/ 216756 w 729419"/>
              <a:gd name="csY22" fmla="*/ 558673 h 2076207"/>
              <a:gd name="csX23" fmla="*/ 209092 w 729419"/>
              <a:gd name="csY23" fmla="*/ 521540 h 2076207"/>
              <a:gd name="csX24" fmla="*/ 204683 w 729419"/>
              <a:gd name="csY24" fmla="*/ 474024 h 2076207"/>
              <a:gd name="csX25" fmla="*/ 115483 w 729419"/>
              <a:gd name="csY25" fmla="*/ 213499 h 2076207"/>
              <a:gd name="csX26" fmla="*/ 102909 w 729419"/>
              <a:gd name="csY26" fmla="*/ 182297 h 2076207"/>
              <a:gd name="csX27" fmla="*/ 104315 w 729419"/>
              <a:gd name="csY27" fmla="*/ 163968 h 2076207"/>
              <a:gd name="csX28" fmla="*/ 122444 w 729419"/>
              <a:gd name="csY28" fmla="*/ 160805 h 2076207"/>
              <a:gd name="csX29" fmla="*/ 170283 w 729419"/>
              <a:gd name="csY29" fmla="*/ 187783 h 2076207"/>
              <a:gd name="csX30" fmla="*/ 180938 w 729419"/>
              <a:gd name="csY30" fmla="*/ 195322 h 2076207"/>
              <a:gd name="csX31" fmla="*/ 221419 w 729419"/>
              <a:gd name="csY31" fmla="*/ 138058 h 2076207"/>
              <a:gd name="csX32" fmla="*/ 294099 w 729419"/>
              <a:gd name="csY32" fmla="*/ 91372 h 2076207"/>
              <a:gd name="csX33" fmla="*/ 302307 w 729419"/>
              <a:gd name="csY33" fmla="*/ 76560 h 2076207"/>
              <a:gd name="csX34" fmla="*/ 320284 w 729419"/>
              <a:gd name="csY34" fmla="*/ 8414 h 2076207"/>
              <a:gd name="csX35" fmla="*/ 324784 w 729419"/>
              <a:gd name="csY35" fmla="*/ 946 h 2076207"/>
              <a:gd name="csX36" fmla="*/ 399212 w 729419"/>
              <a:gd name="csY36" fmla="*/ 0 h 2076207"/>
              <a:gd name="csX37" fmla="*/ 425980 w 729419"/>
              <a:gd name="csY37" fmla="*/ 78301 h 2076207"/>
              <a:gd name="csX38" fmla="*/ 431861 w 729419"/>
              <a:gd name="csY38" fmla="*/ 90312 h 2076207"/>
              <a:gd name="csX39" fmla="*/ 540349 w 729419"/>
              <a:gd name="csY39" fmla="*/ 187946 h 2076207"/>
              <a:gd name="csX40" fmla="*/ 545555 w 729419"/>
              <a:gd name="csY40" fmla="*/ 197828 h 2076207"/>
              <a:gd name="csX41" fmla="*/ 587318 w 729419"/>
              <a:gd name="csY41" fmla="*/ 171260 h 2076207"/>
              <a:gd name="csX42" fmla="*/ 601503 w 729419"/>
              <a:gd name="csY42" fmla="*/ 163707 h 2076207"/>
              <a:gd name="csX43" fmla="*/ 625254 w 729419"/>
              <a:gd name="csY43" fmla="*/ 163123 h 2076207"/>
              <a:gd name="csX44" fmla="*/ 625468 w 729419"/>
              <a:gd name="csY44" fmla="*/ 187579 h 2076207"/>
              <a:gd name="csX45" fmla="*/ 597543 w 729419"/>
              <a:gd name="csY45" fmla="*/ 251872 h 2076207"/>
              <a:gd name="csX46" fmla="*/ 531831 w 729419"/>
              <a:gd name="csY46" fmla="*/ 442689 h 2076207"/>
              <a:gd name="csX47" fmla="*/ 519888 w 729419"/>
              <a:gd name="csY47" fmla="*/ 501474 h 2076207"/>
              <a:gd name="csX48" fmla="*/ 522506 w 729419"/>
              <a:gd name="csY48" fmla="*/ 525086 h 2076207"/>
              <a:gd name="csX49" fmla="*/ 516235 w 729419"/>
              <a:gd name="csY49" fmla="*/ 555946 h 2076207"/>
              <a:gd name="csX50" fmla="*/ 521332 w 729419"/>
              <a:gd name="csY50" fmla="*/ 610676 h 2076207"/>
              <a:gd name="csX51" fmla="*/ 541382 w 729419"/>
              <a:gd name="csY51" fmla="*/ 642597 h 2076207"/>
              <a:gd name="csX52" fmla="*/ 557031 w 729419"/>
              <a:gd name="csY52" fmla="*/ 667949 h 2076207"/>
              <a:gd name="csX53" fmla="*/ 553994 w 729419"/>
              <a:gd name="csY53" fmla="*/ 744146 h 2076207"/>
              <a:gd name="csX54" fmla="*/ 508215 w 729419"/>
              <a:gd name="csY54" fmla="*/ 758841 h 2076207"/>
              <a:gd name="csX55" fmla="*/ 497442 w 729419"/>
              <a:gd name="csY55" fmla="*/ 771256 h 2076207"/>
              <a:gd name="csX56" fmla="*/ 493005 w 729419"/>
              <a:gd name="csY56" fmla="*/ 922055 h 2076207"/>
              <a:gd name="csX57" fmla="*/ 502900 w 729419"/>
              <a:gd name="csY57" fmla="*/ 1114191 h 2076207"/>
              <a:gd name="csX58" fmla="*/ 508800 w 729419"/>
              <a:gd name="csY58" fmla="*/ 1205474 h 2076207"/>
              <a:gd name="csX59" fmla="*/ 522952 w 729419"/>
              <a:gd name="csY59" fmla="*/ 1320065 h 2076207"/>
              <a:gd name="csX60" fmla="*/ 554682 w 729419"/>
              <a:gd name="csY60" fmla="*/ 1501203 h 2076207"/>
              <a:gd name="csX61" fmla="*/ 576958 w 729419"/>
              <a:gd name="csY61" fmla="*/ 1593963 h 2076207"/>
              <a:gd name="csX62" fmla="*/ 595349 w 729419"/>
              <a:gd name="csY62" fmla="*/ 1613498 h 2076207"/>
              <a:gd name="csX63" fmla="*/ 613936 w 729419"/>
              <a:gd name="csY63" fmla="*/ 1624058 h 2076207"/>
              <a:gd name="csX64" fmla="*/ 620938 w 729419"/>
              <a:gd name="csY64" fmla="*/ 1652071 h 2076207"/>
              <a:gd name="csX65" fmla="*/ 630805 w 729419"/>
              <a:gd name="csY65" fmla="*/ 1721702 h 2076207"/>
              <a:gd name="csX66" fmla="*/ 685830 w 729419"/>
              <a:gd name="csY66" fmla="*/ 1792915 h 2076207"/>
              <a:gd name="csX67" fmla="*/ 708904 w 729419"/>
              <a:gd name="csY67" fmla="*/ 1890290 h 2076207"/>
              <a:gd name="csX68" fmla="*/ 716580 w 729419"/>
              <a:gd name="csY68" fmla="*/ 1951136 h 2076207"/>
              <a:gd name="csX69" fmla="*/ 729397 w 729419"/>
              <a:gd name="csY69" fmla="*/ 2030261 h 2076207"/>
              <a:gd name="csX70" fmla="*/ 714212 w 729419"/>
              <a:gd name="csY70" fmla="*/ 2049544 h 2076207"/>
              <a:gd name="csX71" fmla="*/ 645428 w 729419"/>
              <a:gd name="csY71" fmla="*/ 2070825 h 2076207"/>
              <a:gd name="csX72" fmla="*/ 635822 w 729419"/>
              <a:gd name="csY72" fmla="*/ 2075145 h 2076207"/>
              <a:gd name="csX73" fmla="*/ 588428 w 729419"/>
              <a:gd name="csY73" fmla="*/ 2075144 h 2076207"/>
              <a:gd name="csX74" fmla="*/ 590041 w 729419"/>
              <a:gd name="csY74" fmla="*/ 2071383 h 2076207"/>
              <a:gd name="csX75" fmla="*/ 667788 w 729419"/>
              <a:gd name="csY75" fmla="*/ 2056852 h 2076207"/>
              <a:gd name="csX76" fmla="*/ 706629 w 729419"/>
              <a:gd name="csY76" fmla="*/ 2044290 h 2076207"/>
              <a:gd name="csX77" fmla="*/ 702674 w 729419"/>
              <a:gd name="csY77" fmla="*/ 2041581 h 2076207"/>
              <a:gd name="csX78" fmla="*/ 544974 w 729419"/>
              <a:gd name="csY78" fmla="*/ 2071274 h 2076207"/>
              <a:gd name="csX79" fmla="*/ 538352 w 729419"/>
              <a:gd name="csY79" fmla="*/ 2076207 h 2076207"/>
              <a:gd name="csX80" fmla="*/ 96263 w 729419"/>
              <a:gd name="csY80" fmla="*/ 2076207 h 2076207"/>
              <a:gd name="csX81" fmla="*/ 489970 w 729419"/>
              <a:gd name="csY81" fmla="*/ 152208 h 2076207"/>
              <a:gd name="csX82" fmla="*/ 490754 w 729419"/>
              <a:gd name="csY82" fmla="*/ 152592 h 2076207"/>
              <a:gd name="csX83" fmla="*/ 489489 w 729419"/>
              <a:gd name="csY83" fmla="*/ 149547 h 2076207"/>
              <a:gd name="csX84" fmla="*/ 393621 w 729419"/>
              <a:gd name="csY84" fmla="*/ 99259 h 2076207"/>
              <a:gd name="csX85" fmla="*/ 390419 w 729419"/>
              <a:gd name="csY85" fmla="*/ 18568 h 2076207"/>
              <a:gd name="csX86" fmla="*/ 334131 w 729419"/>
              <a:gd name="csY86" fmla="*/ 24327 h 2076207"/>
              <a:gd name="csX87" fmla="*/ 344678 w 729419"/>
              <a:gd name="csY87" fmla="*/ 101259 h 2076207"/>
              <a:gd name="csX88" fmla="*/ 298854 w 729419"/>
              <a:gd name="csY88" fmla="*/ 114003 h 2076207"/>
              <a:gd name="csX89" fmla="*/ 237456 w 729419"/>
              <a:gd name="csY89" fmla="*/ 154340 h 2076207"/>
              <a:gd name="csX90" fmla="*/ 240382 w 729419"/>
              <a:gd name="csY90" fmla="*/ 154035 h 2076207"/>
              <a:gd name="csX91" fmla="*/ 262731 w 729419"/>
              <a:gd name="csY91" fmla="*/ 170426 h 2076207"/>
              <a:gd name="csX92" fmla="*/ 279169 w 729419"/>
              <a:gd name="csY92" fmla="*/ 193173 h 2076207"/>
              <a:gd name="csX93" fmla="*/ 327717 w 729419"/>
              <a:gd name="csY93" fmla="*/ 188556 h 2076207"/>
              <a:gd name="csX94" fmla="*/ 348052 w 729419"/>
              <a:gd name="csY94" fmla="*/ 156919 h 2076207"/>
              <a:gd name="csX95" fmla="*/ 380330 w 729419"/>
              <a:gd name="csY95" fmla="*/ 156483 h 2076207"/>
              <a:gd name="csX96" fmla="*/ 408490 w 729419"/>
              <a:gd name="csY96" fmla="*/ 195400 h 2076207"/>
              <a:gd name="csX97" fmla="*/ 445346 w 729419"/>
              <a:gd name="csY97" fmla="*/ 197582 h 2076207"/>
              <a:gd name="csX98" fmla="*/ 464798 w 729419"/>
              <a:gd name="csY98" fmla="*/ 174107 h 2076207"/>
              <a:gd name="csX99" fmla="*/ 489970 w 729419"/>
              <a:gd name="csY99" fmla="*/ 152208 h 2076207"/>
              <a:gd name="csX100" fmla="*/ 140694 w 729419"/>
              <a:gd name="csY100" fmla="*/ 201837 h 2076207"/>
              <a:gd name="csX101" fmla="*/ 139834 w 729419"/>
              <a:gd name="csY101" fmla="*/ 201482 h 2076207"/>
              <a:gd name="csX102" fmla="*/ 140812 w 729419"/>
              <a:gd name="csY102" fmla="*/ 204941 h 2076207"/>
              <a:gd name="csX103" fmla="*/ 144631 w 729419"/>
              <a:gd name="csY103" fmla="*/ 217811 h 2076207"/>
              <a:gd name="csX104" fmla="*/ 201241 w 729419"/>
              <a:gd name="csY104" fmla="*/ 373387 h 2076207"/>
              <a:gd name="csX105" fmla="*/ 235971 w 729419"/>
              <a:gd name="csY105" fmla="*/ 504451 h 2076207"/>
              <a:gd name="csX106" fmla="*/ 247475 w 729419"/>
              <a:gd name="csY106" fmla="*/ 513241 h 2076207"/>
              <a:gd name="csX107" fmla="*/ 289066 w 729419"/>
              <a:gd name="csY107" fmla="*/ 511170 h 2076207"/>
              <a:gd name="csX108" fmla="*/ 378229 w 729419"/>
              <a:gd name="csY108" fmla="*/ 511084 h 2076207"/>
              <a:gd name="csX109" fmla="*/ 470850 w 729419"/>
              <a:gd name="csY109" fmla="*/ 516341 h 2076207"/>
              <a:gd name="csX110" fmla="*/ 492933 w 729419"/>
              <a:gd name="csY110" fmla="*/ 497969 h 2076207"/>
              <a:gd name="csX111" fmla="*/ 557617 w 729419"/>
              <a:gd name="csY111" fmla="*/ 280398 h 2076207"/>
              <a:gd name="csX112" fmla="*/ 588788 w 729419"/>
              <a:gd name="csY112" fmla="*/ 200385 h 2076207"/>
              <a:gd name="csX113" fmla="*/ 530958 w 729419"/>
              <a:gd name="csY113" fmla="*/ 232968 h 2076207"/>
              <a:gd name="csX114" fmla="*/ 483823 w 729419"/>
              <a:gd name="csY114" fmla="*/ 190364 h 2076207"/>
              <a:gd name="csX115" fmla="*/ 466649 w 729419"/>
              <a:gd name="csY115" fmla="*/ 209061 h 2076207"/>
              <a:gd name="csX116" fmla="*/ 399941 w 729419"/>
              <a:gd name="csY116" fmla="*/ 216988 h 2076207"/>
              <a:gd name="csX117" fmla="*/ 363018 w 729419"/>
              <a:gd name="csY117" fmla="*/ 179615 h 2076207"/>
              <a:gd name="csX118" fmla="*/ 308839 w 729419"/>
              <a:gd name="csY118" fmla="*/ 227846 h 2076207"/>
              <a:gd name="csX119" fmla="*/ 245077 w 729419"/>
              <a:gd name="csY119" fmla="*/ 192402 h 2076207"/>
              <a:gd name="csX120" fmla="*/ 242829 w 729419"/>
              <a:gd name="csY120" fmla="*/ 198815 h 2076207"/>
              <a:gd name="csX121" fmla="*/ 168452 w 729419"/>
              <a:gd name="csY121" fmla="*/ 219348 h 2076207"/>
              <a:gd name="csX122" fmla="*/ 140694 w 729419"/>
              <a:gd name="csY122" fmla="*/ 201837 h 2076207"/>
              <a:gd name="csX123" fmla="*/ 259999 w 729419"/>
              <a:gd name="csY123" fmla="*/ 966699 h 2076207"/>
              <a:gd name="csX124" fmla="*/ 257072 w 729419"/>
              <a:gd name="csY124" fmla="*/ 1070424 h 2076207"/>
              <a:gd name="csX125" fmla="*/ 251372 w 729419"/>
              <a:gd name="csY125" fmla="*/ 1157618 h 2076207"/>
              <a:gd name="csX126" fmla="*/ 232677 w 729419"/>
              <a:gd name="csY126" fmla="*/ 1320279 h 2076207"/>
              <a:gd name="csX127" fmla="*/ 209182 w 729419"/>
              <a:gd name="csY127" fmla="*/ 1468667 h 2076207"/>
              <a:gd name="csX128" fmla="*/ 175302 w 729419"/>
              <a:gd name="csY128" fmla="*/ 1616623 h 2076207"/>
              <a:gd name="csX129" fmla="*/ 182769 w 729419"/>
              <a:gd name="csY129" fmla="*/ 1629786 h 2076207"/>
              <a:gd name="csX130" fmla="*/ 212156 w 729419"/>
              <a:gd name="csY130" fmla="*/ 1632656 h 2076207"/>
              <a:gd name="csX131" fmla="*/ 351295 w 729419"/>
              <a:gd name="csY131" fmla="*/ 1632801 h 2076207"/>
              <a:gd name="csX132" fmla="*/ 376150 w 729419"/>
              <a:gd name="csY132" fmla="*/ 1608307 h 2076207"/>
              <a:gd name="csX133" fmla="*/ 373450 w 729419"/>
              <a:gd name="csY133" fmla="*/ 1457291 h 2076207"/>
              <a:gd name="csX134" fmla="*/ 370936 w 729419"/>
              <a:gd name="csY134" fmla="*/ 1342736 h 2076207"/>
              <a:gd name="csX135" fmla="*/ 368328 w 729419"/>
              <a:gd name="csY135" fmla="*/ 1203878 h 2076207"/>
              <a:gd name="csX136" fmla="*/ 367836 w 729419"/>
              <a:gd name="csY136" fmla="*/ 813478 h 2076207"/>
              <a:gd name="csX137" fmla="*/ 365240 w 729419"/>
              <a:gd name="csY137" fmla="*/ 773243 h 2076207"/>
              <a:gd name="csX138" fmla="*/ 353084 w 729419"/>
              <a:gd name="csY138" fmla="*/ 762083 h 2076207"/>
              <a:gd name="csX139" fmla="*/ 280966 w 729419"/>
              <a:gd name="csY139" fmla="*/ 759855 h 2076207"/>
              <a:gd name="csX140" fmla="*/ 259965 w 729419"/>
              <a:gd name="csY140" fmla="*/ 779553 h 2076207"/>
              <a:gd name="csX141" fmla="*/ 262341 w 729419"/>
              <a:gd name="csY141" fmla="*/ 856275 h 2076207"/>
              <a:gd name="csX142" fmla="*/ 259999 w 729419"/>
              <a:gd name="csY142" fmla="*/ 966699 h 2076207"/>
              <a:gd name="csX143" fmla="*/ 55556 w 729419"/>
              <a:gd name="csY143" fmla="*/ 1835827 h 2076207"/>
              <a:gd name="csX144" fmla="*/ 49393 w 729419"/>
              <a:gd name="csY144" fmla="*/ 1878155 h 2076207"/>
              <a:gd name="csX145" fmla="*/ 73949 w 729419"/>
              <a:gd name="csY145" fmla="*/ 1905781 h 2076207"/>
              <a:gd name="csX146" fmla="*/ 110073 w 729419"/>
              <a:gd name="csY146" fmla="*/ 1909068 h 2076207"/>
              <a:gd name="csX147" fmla="*/ 224745 w 729419"/>
              <a:gd name="csY147" fmla="*/ 1921652 h 2076207"/>
              <a:gd name="csX148" fmla="*/ 347327 w 729419"/>
              <a:gd name="csY148" fmla="*/ 1924778 h 2076207"/>
              <a:gd name="csX149" fmla="*/ 363345 w 729419"/>
              <a:gd name="csY149" fmla="*/ 1923293 h 2076207"/>
              <a:gd name="csX150" fmla="*/ 373787 w 729419"/>
              <a:gd name="csY150" fmla="*/ 1911200 h 2076207"/>
              <a:gd name="csX151" fmla="*/ 376623 w 729419"/>
              <a:gd name="csY151" fmla="*/ 1696741 h 2076207"/>
              <a:gd name="csX152" fmla="*/ 360437 w 729419"/>
              <a:gd name="csY152" fmla="*/ 1681289 h 2076207"/>
              <a:gd name="csX153" fmla="*/ 263503 w 729419"/>
              <a:gd name="csY153" fmla="*/ 1678179 h 2076207"/>
              <a:gd name="csX154" fmla="*/ 160381 w 729419"/>
              <a:gd name="csY154" fmla="*/ 1670405 h 2076207"/>
              <a:gd name="csX155" fmla="*/ 143321 w 729419"/>
              <a:gd name="csY155" fmla="*/ 1685538 h 2076207"/>
              <a:gd name="csX156" fmla="*/ 124769 w 729419"/>
              <a:gd name="csY156" fmla="*/ 1738195 h 2076207"/>
              <a:gd name="csX157" fmla="*/ 90593 w 729419"/>
              <a:gd name="csY157" fmla="*/ 1779570 h 2076207"/>
              <a:gd name="csX158" fmla="*/ 55556 w 729419"/>
              <a:gd name="csY158" fmla="*/ 1835827 h 2076207"/>
              <a:gd name="csX159" fmla="*/ 378900 w 729419"/>
              <a:gd name="csY159" fmla="*/ 2007280 h 2076207"/>
              <a:gd name="csX160" fmla="*/ 378887 w 729419"/>
              <a:gd name="csY160" fmla="*/ 1995127 h 2076207"/>
              <a:gd name="csX161" fmla="*/ 359084 w 729419"/>
              <a:gd name="csY161" fmla="*/ 1975964 h 2076207"/>
              <a:gd name="csX162" fmla="*/ 247288 w 729419"/>
              <a:gd name="csY162" fmla="*/ 1973305 h 2076207"/>
              <a:gd name="csX163" fmla="*/ 201692 w 729419"/>
              <a:gd name="csY163" fmla="*/ 1970275 h 2076207"/>
              <a:gd name="csX164" fmla="*/ 57962 w 729419"/>
              <a:gd name="csY164" fmla="*/ 1952648 h 2076207"/>
              <a:gd name="csX165" fmla="*/ 39194 w 729419"/>
              <a:gd name="csY165" fmla="*/ 1963552 h 2076207"/>
              <a:gd name="csX166" fmla="*/ 30066 w 729419"/>
              <a:gd name="csY166" fmla="*/ 2006631 h 2076207"/>
              <a:gd name="csX167" fmla="*/ 40232 w 729419"/>
              <a:gd name="csY167" fmla="*/ 2019486 h 2076207"/>
              <a:gd name="csX168" fmla="*/ 238186 w 729419"/>
              <a:gd name="csY168" fmla="*/ 2046096 h 2076207"/>
              <a:gd name="csX169" fmla="*/ 342155 w 729419"/>
              <a:gd name="csY169" fmla="*/ 2046441 h 2076207"/>
              <a:gd name="csX170" fmla="*/ 378900 w 729419"/>
              <a:gd name="csY170" fmla="*/ 2007280 h 2076207"/>
              <a:gd name="csX171" fmla="*/ 310220 w 729419"/>
              <a:gd name="csY171" fmla="*/ 554288 h 2076207"/>
              <a:gd name="csX172" fmla="*/ 259136 w 729419"/>
              <a:gd name="csY172" fmla="*/ 556881 h 2076207"/>
              <a:gd name="csX173" fmla="*/ 249085 w 729419"/>
              <a:gd name="csY173" fmla="*/ 567981 h 2076207"/>
              <a:gd name="csX174" fmla="*/ 249141 w 729419"/>
              <a:gd name="csY174" fmla="*/ 605644 h 2076207"/>
              <a:gd name="csX175" fmla="*/ 262628 w 729419"/>
              <a:gd name="csY175" fmla="*/ 605627 h 2076207"/>
              <a:gd name="csX176" fmla="*/ 369608 w 729419"/>
              <a:gd name="csY176" fmla="*/ 603027 h 2076207"/>
              <a:gd name="csX177" fmla="*/ 463931 w 729419"/>
              <a:gd name="csY177" fmla="*/ 605146 h 2076207"/>
              <a:gd name="csX178" fmla="*/ 478113 w 729419"/>
              <a:gd name="csY178" fmla="*/ 595843 h 2076207"/>
              <a:gd name="csX179" fmla="*/ 478796 w 729419"/>
              <a:gd name="csY179" fmla="*/ 556832 h 2076207"/>
              <a:gd name="csX180" fmla="*/ 310220 w 729419"/>
              <a:gd name="csY180" fmla="*/ 554288 h 2076207"/>
              <a:gd name="csX181" fmla="*/ 348836 w 729419"/>
              <a:gd name="csY181" fmla="*/ 684115 h 2076207"/>
              <a:gd name="csX182" fmla="*/ 281333 w 729419"/>
              <a:gd name="csY182" fmla="*/ 683313 h 2076207"/>
              <a:gd name="csX183" fmla="*/ 212728 w 729419"/>
              <a:gd name="csY183" fmla="*/ 681931 h 2076207"/>
              <a:gd name="csX184" fmla="*/ 187283 w 729419"/>
              <a:gd name="csY184" fmla="*/ 689555 h 2076207"/>
              <a:gd name="csX185" fmla="*/ 186163 w 729419"/>
              <a:gd name="csY185" fmla="*/ 718266 h 2076207"/>
              <a:gd name="csX186" fmla="*/ 209894 w 729419"/>
              <a:gd name="csY186" fmla="*/ 726798 h 2076207"/>
              <a:gd name="csX187" fmla="*/ 334814 w 729419"/>
              <a:gd name="csY187" fmla="*/ 732494 h 2076207"/>
              <a:gd name="csX188" fmla="*/ 364856 w 729419"/>
              <a:gd name="csY188" fmla="*/ 707963 h 2076207"/>
              <a:gd name="csX189" fmla="*/ 348836 w 729419"/>
              <a:gd name="csY189" fmla="*/ 684115 h 2076207"/>
              <a:gd name="csX190" fmla="*/ 298865 w 729419"/>
              <a:gd name="csY190" fmla="*/ 621954 h 2076207"/>
              <a:gd name="csX191" fmla="*/ 251619 w 729419"/>
              <a:gd name="csY191" fmla="*/ 622133 h 2076207"/>
              <a:gd name="csX192" fmla="*/ 214459 w 729419"/>
              <a:gd name="csY192" fmla="*/ 636230 h 2076207"/>
              <a:gd name="csX193" fmla="*/ 221436 w 729419"/>
              <a:gd name="csY193" fmla="*/ 654205 h 2076207"/>
              <a:gd name="csX194" fmla="*/ 272412 w 729419"/>
              <a:gd name="csY194" fmla="*/ 657250 h 2076207"/>
              <a:gd name="csX195" fmla="*/ 349094 w 729419"/>
              <a:gd name="csY195" fmla="*/ 659282 h 2076207"/>
              <a:gd name="csX196" fmla="*/ 362996 w 729419"/>
              <a:gd name="csY196" fmla="*/ 644234 h 2076207"/>
              <a:gd name="csX197" fmla="*/ 348472 w 729419"/>
              <a:gd name="csY197" fmla="*/ 624649 h 2076207"/>
              <a:gd name="csX198" fmla="*/ 298865 w 729419"/>
              <a:gd name="csY198" fmla="*/ 621954 h 2076207"/>
              <a:gd name="csX199" fmla="*/ 227796 w 729419"/>
              <a:gd name="csY199" fmla="*/ 528000 h 2076207"/>
              <a:gd name="csX200" fmla="*/ 241009 w 729419"/>
              <a:gd name="csY200" fmla="*/ 545897 h 2076207"/>
              <a:gd name="csX201" fmla="*/ 282607 w 729419"/>
              <a:gd name="csY201" fmla="*/ 543480 h 2076207"/>
              <a:gd name="csX202" fmla="*/ 354213 w 729419"/>
              <a:gd name="csY202" fmla="*/ 543384 h 2076207"/>
              <a:gd name="csX203" fmla="*/ 365334 w 729419"/>
              <a:gd name="csY203" fmla="*/ 533397 h 2076207"/>
              <a:gd name="csX204" fmla="*/ 354531 w 729419"/>
              <a:gd name="csY204" fmla="*/ 521620 h 2076207"/>
              <a:gd name="csX205" fmla="*/ 259169 w 729419"/>
              <a:gd name="csY205" fmla="*/ 521978 h 2076207"/>
              <a:gd name="csX206" fmla="*/ 227796 w 729419"/>
              <a:gd name="csY206" fmla="*/ 528000 h 2076207"/>
              <a:gd name="csX207" fmla="*/ 508068 w 729419"/>
              <a:gd name="csY207" fmla="*/ 190710 h 2076207"/>
              <a:gd name="csX208" fmla="*/ 521293 w 729419"/>
              <a:gd name="csY208" fmla="*/ 205907 h 2076207"/>
              <a:gd name="csX209" fmla="*/ 525175 w 729419"/>
              <a:gd name="csY209" fmla="*/ 202985 h 2076207"/>
              <a:gd name="csX210" fmla="*/ 500276 w 729419"/>
              <a:gd name="csY210" fmla="*/ 160640 h 2076207"/>
              <a:gd name="csX211" fmla="*/ 497122 w 729419"/>
              <a:gd name="csY211" fmla="*/ 162007 h 2076207"/>
              <a:gd name="csX212" fmla="*/ 508068 w 729419"/>
              <a:gd name="csY212" fmla="*/ 190710 h 2076207"/>
              <a:gd name="csX213" fmla="*/ 215522 w 729419"/>
              <a:gd name="csY213" fmla="*/ 197296 h 2076207"/>
              <a:gd name="csX214" fmla="*/ 234029 w 729419"/>
              <a:gd name="csY214" fmla="*/ 162725 h 2076207"/>
              <a:gd name="csX215" fmla="*/ 229000 w 729419"/>
              <a:gd name="csY215" fmla="*/ 159902 h 2076207"/>
              <a:gd name="csX216" fmla="*/ 204824 w 729419"/>
              <a:gd name="csY216" fmla="*/ 199677 h 2076207"/>
              <a:gd name="csX217" fmla="*/ 207990 w 729419"/>
              <a:gd name="csY217" fmla="*/ 202198 h 2076207"/>
              <a:gd name="csX218" fmla="*/ 215522 w 729419"/>
              <a:gd name="csY218" fmla="*/ 197296 h 2076207"/>
              <a:gd name="csX219" fmla="*/ 484400 w 729419"/>
              <a:gd name="csY219" fmla="*/ 896678 h 2076207"/>
              <a:gd name="csX220" fmla="*/ 486181 w 729419"/>
              <a:gd name="csY220" fmla="*/ 896585 h 2076207"/>
              <a:gd name="csX221" fmla="*/ 486181 w 729419"/>
              <a:gd name="csY221" fmla="*/ 795289 h 2076207"/>
              <a:gd name="csX222" fmla="*/ 720241 w 729419"/>
              <a:gd name="csY222" fmla="*/ 2030666 h 2076207"/>
              <a:gd name="csX223" fmla="*/ 721175 w 729419"/>
              <a:gd name="csY223" fmla="*/ 2029733 h 2076207"/>
              <a:gd name="csX224" fmla="*/ 720241 w 729419"/>
              <a:gd name="csY224" fmla="*/ 2030666 h 2076207"/>
              <a:gd name="csX225" fmla="*/ 715702 w 729419"/>
              <a:gd name="csY225" fmla="*/ 2037051 h 2076207"/>
              <a:gd name="csX226" fmla="*/ 715702 w 729419"/>
              <a:gd name="csY226" fmla="*/ 2037051 h 2076207"/>
              <a:gd name="csX0" fmla="*/ 96263 w 729419"/>
              <a:gd name="csY0" fmla="*/ 2076207 h 2091729"/>
              <a:gd name="csX1" fmla="*/ 63862 w 729419"/>
              <a:gd name="csY1" fmla="*/ 2065388 h 2091729"/>
              <a:gd name="csX2" fmla="*/ 16555 w 729419"/>
              <a:gd name="csY2" fmla="*/ 2050152 h 2091729"/>
              <a:gd name="csX3" fmla="*/ 15 w 729419"/>
              <a:gd name="csY3" fmla="*/ 2023802 h 2091729"/>
              <a:gd name="csX4" fmla="*/ 18368 w 729419"/>
              <a:gd name="csY4" fmla="*/ 1940709 h 2091729"/>
              <a:gd name="csX5" fmla="*/ 22139 w 729419"/>
              <a:gd name="csY5" fmla="*/ 1907268 h 2091729"/>
              <a:gd name="csX6" fmla="*/ 57941 w 729419"/>
              <a:gd name="csY6" fmla="*/ 1774163 h 2091729"/>
              <a:gd name="csX7" fmla="*/ 102478 w 729419"/>
              <a:gd name="csY7" fmla="*/ 1720275 h 2091729"/>
              <a:gd name="csX8" fmla="*/ 108579 w 729419"/>
              <a:gd name="csY8" fmla="*/ 1650967 h 2091729"/>
              <a:gd name="csX9" fmla="*/ 115628 w 729419"/>
              <a:gd name="csY9" fmla="*/ 1625405 h 2091729"/>
              <a:gd name="csX10" fmla="*/ 156323 w 729419"/>
              <a:gd name="csY10" fmla="*/ 1560181 h 2091729"/>
              <a:gd name="csX11" fmla="*/ 199424 w 729419"/>
              <a:gd name="csY11" fmla="*/ 1364729 h 2091729"/>
              <a:gd name="csX12" fmla="*/ 216779 w 729419"/>
              <a:gd name="csY12" fmla="*/ 1219490 h 2091729"/>
              <a:gd name="csX13" fmla="*/ 229755 w 729419"/>
              <a:gd name="csY13" fmla="*/ 1099357 h 2091729"/>
              <a:gd name="csX14" fmla="*/ 232707 w 729419"/>
              <a:gd name="csY14" fmla="*/ 1056423 h 2091729"/>
              <a:gd name="csX15" fmla="*/ 235622 w 729419"/>
              <a:gd name="csY15" fmla="*/ 952675 h 2091729"/>
              <a:gd name="csX16" fmla="*/ 235445 w 729419"/>
              <a:gd name="csY16" fmla="*/ 780278 h 2091729"/>
              <a:gd name="csX17" fmla="*/ 214544 w 729419"/>
              <a:gd name="csY17" fmla="*/ 756435 h 2091729"/>
              <a:gd name="csX18" fmla="*/ 172569 w 729419"/>
              <a:gd name="csY18" fmla="*/ 742582 h 2091729"/>
              <a:gd name="csX19" fmla="*/ 168784 w 729419"/>
              <a:gd name="csY19" fmla="*/ 669116 h 2091729"/>
              <a:gd name="csX20" fmla="*/ 191657 w 729419"/>
              <a:gd name="csY20" fmla="*/ 630765 h 2091729"/>
              <a:gd name="csX21" fmla="*/ 208150 w 729419"/>
              <a:gd name="csY21" fmla="*/ 609084 h 2091729"/>
              <a:gd name="csX22" fmla="*/ 216756 w 729419"/>
              <a:gd name="csY22" fmla="*/ 558673 h 2091729"/>
              <a:gd name="csX23" fmla="*/ 209092 w 729419"/>
              <a:gd name="csY23" fmla="*/ 521540 h 2091729"/>
              <a:gd name="csX24" fmla="*/ 204683 w 729419"/>
              <a:gd name="csY24" fmla="*/ 474024 h 2091729"/>
              <a:gd name="csX25" fmla="*/ 115483 w 729419"/>
              <a:gd name="csY25" fmla="*/ 213499 h 2091729"/>
              <a:gd name="csX26" fmla="*/ 102909 w 729419"/>
              <a:gd name="csY26" fmla="*/ 182297 h 2091729"/>
              <a:gd name="csX27" fmla="*/ 104315 w 729419"/>
              <a:gd name="csY27" fmla="*/ 163968 h 2091729"/>
              <a:gd name="csX28" fmla="*/ 122444 w 729419"/>
              <a:gd name="csY28" fmla="*/ 160805 h 2091729"/>
              <a:gd name="csX29" fmla="*/ 170283 w 729419"/>
              <a:gd name="csY29" fmla="*/ 187783 h 2091729"/>
              <a:gd name="csX30" fmla="*/ 180938 w 729419"/>
              <a:gd name="csY30" fmla="*/ 195322 h 2091729"/>
              <a:gd name="csX31" fmla="*/ 221419 w 729419"/>
              <a:gd name="csY31" fmla="*/ 138058 h 2091729"/>
              <a:gd name="csX32" fmla="*/ 294099 w 729419"/>
              <a:gd name="csY32" fmla="*/ 91372 h 2091729"/>
              <a:gd name="csX33" fmla="*/ 302307 w 729419"/>
              <a:gd name="csY33" fmla="*/ 76560 h 2091729"/>
              <a:gd name="csX34" fmla="*/ 320284 w 729419"/>
              <a:gd name="csY34" fmla="*/ 8414 h 2091729"/>
              <a:gd name="csX35" fmla="*/ 324784 w 729419"/>
              <a:gd name="csY35" fmla="*/ 946 h 2091729"/>
              <a:gd name="csX36" fmla="*/ 399212 w 729419"/>
              <a:gd name="csY36" fmla="*/ 0 h 2091729"/>
              <a:gd name="csX37" fmla="*/ 425980 w 729419"/>
              <a:gd name="csY37" fmla="*/ 78301 h 2091729"/>
              <a:gd name="csX38" fmla="*/ 431861 w 729419"/>
              <a:gd name="csY38" fmla="*/ 90312 h 2091729"/>
              <a:gd name="csX39" fmla="*/ 540349 w 729419"/>
              <a:gd name="csY39" fmla="*/ 187946 h 2091729"/>
              <a:gd name="csX40" fmla="*/ 545555 w 729419"/>
              <a:gd name="csY40" fmla="*/ 197828 h 2091729"/>
              <a:gd name="csX41" fmla="*/ 587318 w 729419"/>
              <a:gd name="csY41" fmla="*/ 171260 h 2091729"/>
              <a:gd name="csX42" fmla="*/ 601503 w 729419"/>
              <a:gd name="csY42" fmla="*/ 163707 h 2091729"/>
              <a:gd name="csX43" fmla="*/ 625254 w 729419"/>
              <a:gd name="csY43" fmla="*/ 163123 h 2091729"/>
              <a:gd name="csX44" fmla="*/ 625468 w 729419"/>
              <a:gd name="csY44" fmla="*/ 187579 h 2091729"/>
              <a:gd name="csX45" fmla="*/ 597543 w 729419"/>
              <a:gd name="csY45" fmla="*/ 251872 h 2091729"/>
              <a:gd name="csX46" fmla="*/ 531831 w 729419"/>
              <a:gd name="csY46" fmla="*/ 442689 h 2091729"/>
              <a:gd name="csX47" fmla="*/ 519888 w 729419"/>
              <a:gd name="csY47" fmla="*/ 501474 h 2091729"/>
              <a:gd name="csX48" fmla="*/ 522506 w 729419"/>
              <a:gd name="csY48" fmla="*/ 525086 h 2091729"/>
              <a:gd name="csX49" fmla="*/ 516235 w 729419"/>
              <a:gd name="csY49" fmla="*/ 555946 h 2091729"/>
              <a:gd name="csX50" fmla="*/ 521332 w 729419"/>
              <a:gd name="csY50" fmla="*/ 610676 h 2091729"/>
              <a:gd name="csX51" fmla="*/ 541382 w 729419"/>
              <a:gd name="csY51" fmla="*/ 642597 h 2091729"/>
              <a:gd name="csX52" fmla="*/ 557031 w 729419"/>
              <a:gd name="csY52" fmla="*/ 667949 h 2091729"/>
              <a:gd name="csX53" fmla="*/ 553994 w 729419"/>
              <a:gd name="csY53" fmla="*/ 744146 h 2091729"/>
              <a:gd name="csX54" fmla="*/ 508215 w 729419"/>
              <a:gd name="csY54" fmla="*/ 758841 h 2091729"/>
              <a:gd name="csX55" fmla="*/ 497442 w 729419"/>
              <a:gd name="csY55" fmla="*/ 771256 h 2091729"/>
              <a:gd name="csX56" fmla="*/ 493005 w 729419"/>
              <a:gd name="csY56" fmla="*/ 922055 h 2091729"/>
              <a:gd name="csX57" fmla="*/ 502900 w 729419"/>
              <a:gd name="csY57" fmla="*/ 1114191 h 2091729"/>
              <a:gd name="csX58" fmla="*/ 508800 w 729419"/>
              <a:gd name="csY58" fmla="*/ 1205474 h 2091729"/>
              <a:gd name="csX59" fmla="*/ 522952 w 729419"/>
              <a:gd name="csY59" fmla="*/ 1320065 h 2091729"/>
              <a:gd name="csX60" fmla="*/ 554682 w 729419"/>
              <a:gd name="csY60" fmla="*/ 1501203 h 2091729"/>
              <a:gd name="csX61" fmla="*/ 576958 w 729419"/>
              <a:gd name="csY61" fmla="*/ 1593963 h 2091729"/>
              <a:gd name="csX62" fmla="*/ 595349 w 729419"/>
              <a:gd name="csY62" fmla="*/ 1613498 h 2091729"/>
              <a:gd name="csX63" fmla="*/ 613936 w 729419"/>
              <a:gd name="csY63" fmla="*/ 1624058 h 2091729"/>
              <a:gd name="csX64" fmla="*/ 620938 w 729419"/>
              <a:gd name="csY64" fmla="*/ 1652071 h 2091729"/>
              <a:gd name="csX65" fmla="*/ 630805 w 729419"/>
              <a:gd name="csY65" fmla="*/ 1721702 h 2091729"/>
              <a:gd name="csX66" fmla="*/ 685830 w 729419"/>
              <a:gd name="csY66" fmla="*/ 1792915 h 2091729"/>
              <a:gd name="csX67" fmla="*/ 708904 w 729419"/>
              <a:gd name="csY67" fmla="*/ 1890290 h 2091729"/>
              <a:gd name="csX68" fmla="*/ 716580 w 729419"/>
              <a:gd name="csY68" fmla="*/ 1951136 h 2091729"/>
              <a:gd name="csX69" fmla="*/ 729397 w 729419"/>
              <a:gd name="csY69" fmla="*/ 2030261 h 2091729"/>
              <a:gd name="csX70" fmla="*/ 714212 w 729419"/>
              <a:gd name="csY70" fmla="*/ 2049544 h 2091729"/>
              <a:gd name="csX71" fmla="*/ 645428 w 729419"/>
              <a:gd name="csY71" fmla="*/ 2070825 h 2091729"/>
              <a:gd name="csX72" fmla="*/ 635822 w 729419"/>
              <a:gd name="csY72" fmla="*/ 2075145 h 2091729"/>
              <a:gd name="csX73" fmla="*/ 588428 w 729419"/>
              <a:gd name="csY73" fmla="*/ 2075144 h 2091729"/>
              <a:gd name="csX74" fmla="*/ 590041 w 729419"/>
              <a:gd name="csY74" fmla="*/ 2071383 h 2091729"/>
              <a:gd name="csX75" fmla="*/ 667788 w 729419"/>
              <a:gd name="csY75" fmla="*/ 2056852 h 2091729"/>
              <a:gd name="csX76" fmla="*/ 706629 w 729419"/>
              <a:gd name="csY76" fmla="*/ 2044290 h 2091729"/>
              <a:gd name="csX77" fmla="*/ 702674 w 729419"/>
              <a:gd name="csY77" fmla="*/ 2041581 h 2091729"/>
              <a:gd name="csX78" fmla="*/ 544974 w 729419"/>
              <a:gd name="csY78" fmla="*/ 2071274 h 2091729"/>
              <a:gd name="csX79" fmla="*/ 538352 w 729419"/>
              <a:gd name="csY79" fmla="*/ 2076207 h 2091729"/>
              <a:gd name="csX80" fmla="*/ 96263 w 729419"/>
              <a:gd name="csY80" fmla="*/ 2076207 h 2091729"/>
              <a:gd name="csX81" fmla="*/ 489970 w 729419"/>
              <a:gd name="csY81" fmla="*/ 152208 h 2091729"/>
              <a:gd name="csX82" fmla="*/ 490754 w 729419"/>
              <a:gd name="csY82" fmla="*/ 152592 h 2091729"/>
              <a:gd name="csX83" fmla="*/ 489489 w 729419"/>
              <a:gd name="csY83" fmla="*/ 149547 h 2091729"/>
              <a:gd name="csX84" fmla="*/ 393621 w 729419"/>
              <a:gd name="csY84" fmla="*/ 99259 h 2091729"/>
              <a:gd name="csX85" fmla="*/ 390419 w 729419"/>
              <a:gd name="csY85" fmla="*/ 18568 h 2091729"/>
              <a:gd name="csX86" fmla="*/ 334131 w 729419"/>
              <a:gd name="csY86" fmla="*/ 24327 h 2091729"/>
              <a:gd name="csX87" fmla="*/ 344678 w 729419"/>
              <a:gd name="csY87" fmla="*/ 101259 h 2091729"/>
              <a:gd name="csX88" fmla="*/ 298854 w 729419"/>
              <a:gd name="csY88" fmla="*/ 114003 h 2091729"/>
              <a:gd name="csX89" fmla="*/ 237456 w 729419"/>
              <a:gd name="csY89" fmla="*/ 154340 h 2091729"/>
              <a:gd name="csX90" fmla="*/ 240382 w 729419"/>
              <a:gd name="csY90" fmla="*/ 154035 h 2091729"/>
              <a:gd name="csX91" fmla="*/ 262731 w 729419"/>
              <a:gd name="csY91" fmla="*/ 170426 h 2091729"/>
              <a:gd name="csX92" fmla="*/ 279169 w 729419"/>
              <a:gd name="csY92" fmla="*/ 193173 h 2091729"/>
              <a:gd name="csX93" fmla="*/ 327717 w 729419"/>
              <a:gd name="csY93" fmla="*/ 188556 h 2091729"/>
              <a:gd name="csX94" fmla="*/ 348052 w 729419"/>
              <a:gd name="csY94" fmla="*/ 156919 h 2091729"/>
              <a:gd name="csX95" fmla="*/ 380330 w 729419"/>
              <a:gd name="csY95" fmla="*/ 156483 h 2091729"/>
              <a:gd name="csX96" fmla="*/ 408490 w 729419"/>
              <a:gd name="csY96" fmla="*/ 195400 h 2091729"/>
              <a:gd name="csX97" fmla="*/ 445346 w 729419"/>
              <a:gd name="csY97" fmla="*/ 197582 h 2091729"/>
              <a:gd name="csX98" fmla="*/ 464798 w 729419"/>
              <a:gd name="csY98" fmla="*/ 174107 h 2091729"/>
              <a:gd name="csX99" fmla="*/ 489970 w 729419"/>
              <a:gd name="csY99" fmla="*/ 152208 h 2091729"/>
              <a:gd name="csX100" fmla="*/ 140694 w 729419"/>
              <a:gd name="csY100" fmla="*/ 201837 h 2091729"/>
              <a:gd name="csX101" fmla="*/ 139834 w 729419"/>
              <a:gd name="csY101" fmla="*/ 201482 h 2091729"/>
              <a:gd name="csX102" fmla="*/ 140812 w 729419"/>
              <a:gd name="csY102" fmla="*/ 204941 h 2091729"/>
              <a:gd name="csX103" fmla="*/ 144631 w 729419"/>
              <a:gd name="csY103" fmla="*/ 217811 h 2091729"/>
              <a:gd name="csX104" fmla="*/ 201241 w 729419"/>
              <a:gd name="csY104" fmla="*/ 373387 h 2091729"/>
              <a:gd name="csX105" fmla="*/ 235971 w 729419"/>
              <a:gd name="csY105" fmla="*/ 504451 h 2091729"/>
              <a:gd name="csX106" fmla="*/ 247475 w 729419"/>
              <a:gd name="csY106" fmla="*/ 513241 h 2091729"/>
              <a:gd name="csX107" fmla="*/ 289066 w 729419"/>
              <a:gd name="csY107" fmla="*/ 511170 h 2091729"/>
              <a:gd name="csX108" fmla="*/ 378229 w 729419"/>
              <a:gd name="csY108" fmla="*/ 511084 h 2091729"/>
              <a:gd name="csX109" fmla="*/ 470850 w 729419"/>
              <a:gd name="csY109" fmla="*/ 516341 h 2091729"/>
              <a:gd name="csX110" fmla="*/ 492933 w 729419"/>
              <a:gd name="csY110" fmla="*/ 497969 h 2091729"/>
              <a:gd name="csX111" fmla="*/ 557617 w 729419"/>
              <a:gd name="csY111" fmla="*/ 280398 h 2091729"/>
              <a:gd name="csX112" fmla="*/ 588788 w 729419"/>
              <a:gd name="csY112" fmla="*/ 200385 h 2091729"/>
              <a:gd name="csX113" fmla="*/ 530958 w 729419"/>
              <a:gd name="csY113" fmla="*/ 232968 h 2091729"/>
              <a:gd name="csX114" fmla="*/ 483823 w 729419"/>
              <a:gd name="csY114" fmla="*/ 190364 h 2091729"/>
              <a:gd name="csX115" fmla="*/ 466649 w 729419"/>
              <a:gd name="csY115" fmla="*/ 209061 h 2091729"/>
              <a:gd name="csX116" fmla="*/ 399941 w 729419"/>
              <a:gd name="csY116" fmla="*/ 216988 h 2091729"/>
              <a:gd name="csX117" fmla="*/ 363018 w 729419"/>
              <a:gd name="csY117" fmla="*/ 179615 h 2091729"/>
              <a:gd name="csX118" fmla="*/ 308839 w 729419"/>
              <a:gd name="csY118" fmla="*/ 227846 h 2091729"/>
              <a:gd name="csX119" fmla="*/ 245077 w 729419"/>
              <a:gd name="csY119" fmla="*/ 192402 h 2091729"/>
              <a:gd name="csX120" fmla="*/ 242829 w 729419"/>
              <a:gd name="csY120" fmla="*/ 198815 h 2091729"/>
              <a:gd name="csX121" fmla="*/ 168452 w 729419"/>
              <a:gd name="csY121" fmla="*/ 219348 h 2091729"/>
              <a:gd name="csX122" fmla="*/ 140694 w 729419"/>
              <a:gd name="csY122" fmla="*/ 201837 h 2091729"/>
              <a:gd name="csX123" fmla="*/ 259999 w 729419"/>
              <a:gd name="csY123" fmla="*/ 966699 h 2091729"/>
              <a:gd name="csX124" fmla="*/ 257072 w 729419"/>
              <a:gd name="csY124" fmla="*/ 1070424 h 2091729"/>
              <a:gd name="csX125" fmla="*/ 251372 w 729419"/>
              <a:gd name="csY125" fmla="*/ 1157618 h 2091729"/>
              <a:gd name="csX126" fmla="*/ 232677 w 729419"/>
              <a:gd name="csY126" fmla="*/ 1320279 h 2091729"/>
              <a:gd name="csX127" fmla="*/ 209182 w 729419"/>
              <a:gd name="csY127" fmla="*/ 1468667 h 2091729"/>
              <a:gd name="csX128" fmla="*/ 175302 w 729419"/>
              <a:gd name="csY128" fmla="*/ 1616623 h 2091729"/>
              <a:gd name="csX129" fmla="*/ 182769 w 729419"/>
              <a:gd name="csY129" fmla="*/ 1629786 h 2091729"/>
              <a:gd name="csX130" fmla="*/ 212156 w 729419"/>
              <a:gd name="csY130" fmla="*/ 1632656 h 2091729"/>
              <a:gd name="csX131" fmla="*/ 351295 w 729419"/>
              <a:gd name="csY131" fmla="*/ 1632801 h 2091729"/>
              <a:gd name="csX132" fmla="*/ 376150 w 729419"/>
              <a:gd name="csY132" fmla="*/ 1608307 h 2091729"/>
              <a:gd name="csX133" fmla="*/ 373450 w 729419"/>
              <a:gd name="csY133" fmla="*/ 1457291 h 2091729"/>
              <a:gd name="csX134" fmla="*/ 370936 w 729419"/>
              <a:gd name="csY134" fmla="*/ 1342736 h 2091729"/>
              <a:gd name="csX135" fmla="*/ 368328 w 729419"/>
              <a:gd name="csY135" fmla="*/ 1203878 h 2091729"/>
              <a:gd name="csX136" fmla="*/ 367836 w 729419"/>
              <a:gd name="csY136" fmla="*/ 813478 h 2091729"/>
              <a:gd name="csX137" fmla="*/ 365240 w 729419"/>
              <a:gd name="csY137" fmla="*/ 773243 h 2091729"/>
              <a:gd name="csX138" fmla="*/ 353084 w 729419"/>
              <a:gd name="csY138" fmla="*/ 762083 h 2091729"/>
              <a:gd name="csX139" fmla="*/ 280966 w 729419"/>
              <a:gd name="csY139" fmla="*/ 759855 h 2091729"/>
              <a:gd name="csX140" fmla="*/ 259965 w 729419"/>
              <a:gd name="csY140" fmla="*/ 779553 h 2091729"/>
              <a:gd name="csX141" fmla="*/ 262341 w 729419"/>
              <a:gd name="csY141" fmla="*/ 856275 h 2091729"/>
              <a:gd name="csX142" fmla="*/ 259999 w 729419"/>
              <a:gd name="csY142" fmla="*/ 966699 h 2091729"/>
              <a:gd name="csX143" fmla="*/ 55556 w 729419"/>
              <a:gd name="csY143" fmla="*/ 1835827 h 2091729"/>
              <a:gd name="csX144" fmla="*/ 49393 w 729419"/>
              <a:gd name="csY144" fmla="*/ 1878155 h 2091729"/>
              <a:gd name="csX145" fmla="*/ 73949 w 729419"/>
              <a:gd name="csY145" fmla="*/ 1905781 h 2091729"/>
              <a:gd name="csX146" fmla="*/ 110073 w 729419"/>
              <a:gd name="csY146" fmla="*/ 1909068 h 2091729"/>
              <a:gd name="csX147" fmla="*/ 224745 w 729419"/>
              <a:gd name="csY147" fmla="*/ 1921652 h 2091729"/>
              <a:gd name="csX148" fmla="*/ 347327 w 729419"/>
              <a:gd name="csY148" fmla="*/ 1924778 h 2091729"/>
              <a:gd name="csX149" fmla="*/ 363345 w 729419"/>
              <a:gd name="csY149" fmla="*/ 1923293 h 2091729"/>
              <a:gd name="csX150" fmla="*/ 373787 w 729419"/>
              <a:gd name="csY150" fmla="*/ 1911200 h 2091729"/>
              <a:gd name="csX151" fmla="*/ 376623 w 729419"/>
              <a:gd name="csY151" fmla="*/ 1696741 h 2091729"/>
              <a:gd name="csX152" fmla="*/ 360437 w 729419"/>
              <a:gd name="csY152" fmla="*/ 1681289 h 2091729"/>
              <a:gd name="csX153" fmla="*/ 263503 w 729419"/>
              <a:gd name="csY153" fmla="*/ 1678179 h 2091729"/>
              <a:gd name="csX154" fmla="*/ 160381 w 729419"/>
              <a:gd name="csY154" fmla="*/ 1670405 h 2091729"/>
              <a:gd name="csX155" fmla="*/ 143321 w 729419"/>
              <a:gd name="csY155" fmla="*/ 1685538 h 2091729"/>
              <a:gd name="csX156" fmla="*/ 124769 w 729419"/>
              <a:gd name="csY156" fmla="*/ 1738195 h 2091729"/>
              <a:gd name="csX157" fmla="*/ 90593 w 729419"/>
              <a:gd name="csY157" fmla="*/ 1779570 h 2091729"/>
              <a:gd name="csX158" fmla="*/ 55556 w 729419"/>
              <a:gd name="csY158" fmla="*/ 1835827 h 2091729"/>
              <a:gd name="csX159" fmla="*/ 378900 w 729419"/>
              <a:gd name="csY159" fmla="*/ 2007280 h 2091729"/>
              <a:gd name="csX160" fmla="*/ 378887 w 729419"/>
              <a:gd name="csY160" fmla="*/ 1995127 h 2091729"/>
              <a:gd name="csX161" fmla="*/ 359084 w 729419"/>
              <a:gd name="csY161" fmla="*/ 1975964 h 2091729"/>
              <a:gd name="csX162" fmla="*/ 247288 w 729419"/>
              <a:gd name="csY162" fmla="*/ 1973305 h 2091729"/>
              <a:gd name="csX163" fmla="*/ 201692 w 729419"/>
              <a:gd name="csY163" fmla="*/ 1970275 h 2091729"/>
              <a:gd name="csX164" fmla="*/ 57962 w 729419"/>
              <a:gd name="csY164" fmla="*/ 1952648 h 2091729"/>
              <a:gd name="csX165" fmla="*/ 39194 w 729419"/>
              <a:gd name="csY165" fmla="*/ 1963552 h 2091729"/>
              <a:gd name="csX166" fmla="*/ 30066 w 729419"/>
              <a:gd name="csY166" fmla="*/ 2006631 h 2091729"/>
              <a:gd name="csX167" fmla="*/ 40232 w 729419"/>
              <a:gd name="csY167" fmla="*/ 2019486 h 2091729"/>
              <a:gd name="csX168" fmla="*/ 238186 w 729419"/>
              <a:gd name="csY168" fmla="*/ 2046096 h 2091729"/>
              <a:gd name="csX169" fmla="*/ 342155 w 729419"/>
              <a:gd name="csY169" fmla="*/ 2046441 h 2091729"/>
              <a:gd name="csX170" fmla="*/ 378900 w 729419"/>
              <a:gd name="csY170" fmla="*/ 2007280 h 2091729"/>
              <a:gd name="csX171" fmla="*/ 310220 w 729419"/>
              <a:gd name="csY171" fmla="*/ 554288 h 2091729"/>
              <a:gd name="csX172" fmla="*/ 259136 w 729419"/>
              <a:gd name="csY172" fmla="*/ 556881 h 2091729"/>
              <a:gd name="csX173" fmla="*/ 249085 w 729419"/>
              <a:gd name="csY173" fmla="*/ 567981 h 2091729"/>
              <a:gd name="csX174" fmla="*/ 249141 w 729419"/>
              <a:gd name="csY174" fmla="*/ 605644 h 2091729"/>
              <a:gd name="csX175" fmla="*/ 262628 w 729419"/>
              <a:gd name="csY175" fmla="*/ 605627 h 2091729"/>
              <a:gd name="csX176" fmla="*/ 369608 w 729419"/>
              <a:gd name="csY176" fmla="*/ 603027 h 2091729"/>
              <a:gd name="csX177" fmla="*/ 463931 w 729419"/>
              <a:gd name="csY177" fmla="*/ 605146 h 2091729"/>
              <a:gd name="csX178" fmla="*/ 478113 w 729419"/>
              <a:gd name="csY178" fmla="*/ 595843 h 2091729"/>
              <a:gd name="csX179" fmla="*/ 478796 w 729419"/>
              <a:gd name="csY179" fmla="*/ 556832 h 2091729"/>
              <a:gd name="csX180" fmla="*/ 310220 w 729419"/>
              <a:gd name="csY180" fmla="*/ 554288 h 2091729"/>
              <a:gd name="csX181" fmla="*/ 348836 w 729419"/>
              <a:gd name="csY181" fmla="*/ 684115 h 2091729"/>
              <a:gd name="csX182" fmla="*/ 281333 w 729419"/>
              <a:gd name="csY182" fmla="*/ 683313 h 2091729"/>
              <a:gd name="csX183" fmla="*/ 212728 w 729419"/>
              <a:gd name="csY183" fmla="*/ 681931 h 2091729"/>
              <a:gd name="csX184" fmla="*/ 187283 w 729419"/>
              <a:gd name="csY184" fmla="*/ 689555 h 2091729"/>
              <a:gd name="csX185" fmla="*/ 186163 w 729419"/>
              <a:gd name="csY185" fmla="*/ 718266 h 2091729"/>
              <a:gd name="csX186" fmla="*/ 209894 w 729419"/>
              <a:gd name="csY186" fmla="*/ 726798 h 2091729"/>
              <a:gd name="csX187" fmla="*/ 334814 w 729419"/>
              <a:gd name="csY187" fmla="*/ 732494 h 2091729"/>
              <a:gd name="csX188" fmla="*/ 364856 w 729419"/>
              <a:gd name="csY188" fmla="*/ 707963 h 2091729"/>
              <a:gd name="csX189" fmla="*/ 348836 w 729419"/>
              <a:gd name="csY189" fmla="*/ 684115 h 2091729"/>
              <a:gd name="csX190" fmla="*/ 298865 w 729419"/>
              <a:gd name="csY190" fmla="*/ 621954 h 2091729"/>
              <a:gd name="csX191" fmla="*/ 251619 w 729419"/>
              <a:gd name="csY191" fmla="*/ 622133 h 2091729"/>
              <a:gd name="csX192" fmla="*/ 214459 w 729419"/>
              <a:gd name="csY192" fmla="*/ 636230 h 2091729"/>
              <a:gd name="csX193" fmla="*/ 221436 w 729419"/>
              <a:gd name="csY193" fmla="*/ 654205 h 2091729"/>
              <a:gd name="csX194" fmla="*/ 272412 w 729419"/>
              <a:gd name="csY194" fmla="*/ 657250 h 2091729"/>
              <a:gd name="csX195" fmla="*/ 349094 w 729419"/>
              <a:gd name="csY195" fmla="*/ 659282 h 2091729"/>
              <a:gd name="csX196" fmla="*/ 362996 w 729419"/>
              <a:gd name="csY196" fmla="*/ 644234 h 2091729"/>
              <a:gd name="csX197" fmla="*/ 348472 w 729419"/>
              <a:gd name="csY197" fmla="*/ 624649 h 2091729"/>
              <a:gd name="csX198" fmla="*/ 298865 w 729419"/>
              <a:gd name="csY198" fmla="*/ 621954 h 2091729"/>
              <a:gd name="csX199" fmla="*/ 227796 w 729419"/>
              <a:gd name="csY199" fmla="*/ 528000 h 2091729"/>
              <a:gd name="csX200" fmla="*/ 241009 w 729419"/>
              <a:gd name="csY200" fmla="*/ 545897 h 2091729"/>
              <a:gd name="csX201" fmla="*/ 282607 w 729419"/>
              <a:gd name="csY201" fmla="*/ 543480 h 2091729"/>
              <a:gd name="csX202" fmla="*/ 354213 w 729419"/>
              <a:gd name="csY202" fmla="*/ 543384 h 2091729"/>
              <a:gd name="csX203" fmla="*/ 365334 w 729419"/>
              <a:gd name="csY203" fmla="*/ 533397 h 2091729"/>
              <a:gd name="csX204" fmla="*/ 354531 w 729419"/>
              <a:gd name="csY204" fmla="*/ 521620 h 2091729"/>
              <a:gd name="csX205" fmla="*/ 259169 w 729419"/>
              <a:gd name="csY205" fmla="*/ 521978 h 2091729"/>
              <a:gd name="csX206" fmla="*/ 227796 w 729419"/>
              <a:gd name="csY206" fmla="*/ 528000 h 2091729"/>
              <a:gd name="csX207" fmla="*/ 508068 w 729419"/>
              <a:gd name="csY207" fmla="*/ 190710 h 2091729"/>
              <a:gd name="csX208" fmla="*/ 521293 w 729419"/>
              <a:gd name="csY208" fmla="*/ 205907 h 2091729"/>
              <a:gd name="csX209" fmla="*/ 525175 w 729419"/>
              <a:gd name="csY209" fmla="*/ 202985 h 2091729"/>
              <a:gd name="csX210" fmla="*/ 500276 w 729419"/>
              <a:gd name="csY210" fmla="*/ 160640 h 2091729"/>
              <a:gd name="csX211" fmla="*/ 497122 w 729419"/>
              <a:gd name="csY211" fmla="*/ 162007 h 2091729"/>
              <a:gd name="csX212" fmla="*/ 508068 w 729419"/>
              <a:gd name="csY212" fmla="*/ 190710 h 2091729"/>
              <a:gd name="csX213" fmla="*/ 215522 w 729419"/>
              <a:gd name="csY213" fmla="*/ 197296 h 2091729"/>
              <a:gd name="csX214" fmla="*/ 234029 w 729419"/>
              <a:gd name="csY214" fmla="*/ 162725 h 2091729"/>
              <a:gd name="csX215" fmla="*/ 229000 w 729419"/>
              <a:gd name="csY215" fmla="*/ 159902 h 2091729"/>
              <a:gd name="csX216" fmla="*/ 204824 w 729419"/>
              <a:gd name="csY216" fmla="*/ 199677 h 2091729"/>
              <a:gd name="csX217" fmla="*/ 207990 w 729419"/>
              <a:gd name="csY217" fmla="*/ 202198 h 2091729"/>
              <a:gd name="csX218" fmla="*/ 215522 w 729419"/>
              <a:gd name="csY218" fmla="*/ 197296 h 2091729"/>
              <a:gd name="csX219" fmla="*/ 484400 w 729419"/>
              <a:gd name="csY219" fmla="*/ 896678 h 2091729"/>
              <a:gd name="csX220" fmla="*/ 486181 w 729419"/>
              <a:gd name="csY220" fmla="*/ 896585 h 2091729"/>
              <a:gd name="csX221" fmla="*/ 486181 w 729419"/>
              <a:gd name="csY221" fmla="*/ 795289 h 2091729"/>
              <a:gd name="csX222" fmla="*/ 720241 w 729419"/>
              <a:gd name="csY222" fmla="*/ 2030666 h 2091729"/>
              <a:gd name="csX223" fmla="*/ 721175 w 729419"/>
              <a:gd name="csY223" fmla="*/ 2029733 h 2091729"/>
              <a:gd name="csX224" fmla="*/ 720241 w 729419"/>
              <a:gd name="csY224" fmla="*/ 2030666 h 2091729"/>
              <a:gd name="csX225" fmla="*/ 715702 w 729419"/>
              <a:gd name="csY225" fmla="*/ 2037051 h 2091729"/>
              <a:gd name="csX226" fmla="*/ 715702 w 729419"/>
              <a:gd name="csY226" fmla="*/ 2037051 h 2091729"/>
              <a:gd name="csX0" fmla="*/ 96263 w 729419"/>
              <a:gd name="csY0" fmla="*/ 2076207 h 2102400"/>
              <a:gd name="csX1" fmla="*/ 63862 w 729419"/>
              <a:gd name="csY1" fmla="*/ 2065388 h 2102400"/>
              <a:gd name="csX2" fmla="*/ 16555 w 729419"/>
              <a:gd name="csY2" fmla="*/ 2050152 h 2102400"/>
              <a:gd name="csX3" fmla="*/ 15 w 729419"/>
              <a:gd name="csY3" fmla="*/ 2023802 h 2102400"/>
              <a:gd name="csX4" fmla="*/ 18368 w 729419"/>
              <a:gd name="csY4" fmla="*/ 1940709 h 2102400"/>
              <a:gd name="csX5" fmla="*/ 22139 w 729419"/>
              <a:gd name="csY5" fmla="*/ 1907268 h 2102400"/>
              <a:gd name="csX6" fmla="*/ 57941 w 729419"/>
              <a:gd name="csY6" fmla="*/ 1774163 h 2102400"/>
              <a:gd name="csX7" fmla="*/ 102478 w 729419"/>
              <a:gd name="csY7" fmla="*/ 1720275 h 2102400"/>
              <a:gd name="csX8" fmla="*/ 108579 w 729419"/>
              <a:gd name="csY8" fmla="*/ 1650967 h 2102400"/>
              <a:gd name="csX9" fmla="*/ 115628 w 729419"/>
              <a:gd name="csY9" fmla="*/ 1625405 h 2102400"/>
              <a:gd name="csX10" fmla="*/ 156323 w 729419"/>
              <a:gd name="csY10" fmla="*/ 1560181 h 2102400"/>
              <a:gd name="csX11" fmla="*/ 199424 w 729419"/>
              <a:gd name="csY11" fmla="*/ 1364729 h 2102400"/>
              <a:gd name="csX12" fmla="*/ 216779 w 729419"/>
              <a:gd name="csY12" fmla="*/ 1219490 h 2102400"/>
              <a:gd name="csX13" fmla="*/ 229755 w 729419"/>
              <a:gd name="csY13" fmla="*/ 1099357 h 2102400"/>
              <a:gd name="csX14" fmla="*/ 232707 w 729419"/>
              <a:gd name="csY14" fmla="*/ 1056423 h 2102400"/>
              <a:gd name="csX15" fmla="*/ 235622 w 729419"/>
              <a:gd name="csY15" fmla="*/ 952675 h 2102400"/>
              <a:gd name="csX16" fmla="*/ 235445 w 729419"/>
              <a:gd name="csY16" fmla="*/ 780278 h 2102400"/>
              <a:gd name="csX17" fmla="*/ 214544 w 729419"/>
              <a:gd name="csY17" fmla="*/ 756435 h 2102400"/>
              <a:gd name="csX18" fmla="*/ 172569 w 729419"/>
              <a:gd name="csY18" fmla="*/ 742582 h 2102400"/>
              <a:gd name="csX19" fmla="*/ 168784 w 729419"/>
              <a:gd name="csY19" fmla="*/ 669116 h 2102400"/>
              <a:gd name="csX20" fmla="*/ 191657 w 729419"/>
              <a:gd name="csY20" fmla="*/ 630765 h 2102400"/>
              <a:gd name="csX21" fmla="*/ 208150 w 729419"/>
              <a:gd name="csY21" fmla="*/ 609084 h 2102400"/>
              <a:gd name="csX22" fmla="*/ 216756 w 729419"/>
              <a:gd name="csY22" fmla="*/ 558673 h 2102400"/>
              <a:gd name="csX23" fmla="*/ 209092 w 729419"/>
              <a:gd name="csY23" fmla="*/ 521540 h 2102400"/>
              <a:gd name="csX24" fmla="*/ 204683 w 729419"/>
              <a:gd name="csY24" fmla="*/ 474024 h 2102400"/>
              <a:gd name="csX25" fmla="*/ 115483 w 729419"/>
              <a:gd name="csY25" fmla="*/ 213499 h 2102400"/>
              <a:gd name="csX26" fmla="*/ 102909 w 729419"/>
              <a:gd name="csY26" fmla="*/ 182297 h 2102400"/>
              <a:gd name="csX27" fmla="*/ 104315 w 729419"/>
              <a:gd name="csY27" fmla="*/ 163968 h 2102400"/>
              <a:gd name="csX28" fmla="*/ 122444 w 729419"/>
              <a:gd name="csY28" fmla="*/ 160805 h 2102400"/>
              <a:gd name="csX29" fmla="*/ 170283 w 729419"/>
              <a:gd name="csY29" fmla="*/ 187783 h 2102400"/>
              <a:gd name="csX30" fmla="*/ 180938 w 729419"/>
              <a:gd name="csY30" fmla="*/ 195322 h 2102400"/>
              <a:gd name="csX31" fmla="*/ 221419 w 729419"/>
              <a:gd name="csY31" fmla="*/ 138058 h 2102400"/>
              <a:gd name="csX32" fmla="*/ 294099 w 729419"/>
              <a:gd name="csY32" fmla="*/ 91372 h 2102400"/>
              <a:gd name="csX33" fmla="*/ 302307 w 729419"/>
              <a:gd name="csY33" fmla="*/ 76560 h 2102400"/>
              <a:gd name="csX34" fmla="*/ 320284 w 729419"/>
              <a:gd name="csY34" fmla="*/ 8414 h 2102400"/>
              <a:gd name="csX35" fmla="*/ 324784 w 729419"/>
              <a:gd name="csY35" fmla="*/ 946 h 2102400"/>
              <a:gd name="csX36" fmla="*/ 399212 w 729419"/>
              <a:gd name="csY36" fmla="*/ 0 h 2102400"/>
              <a:gd name="csX37" fmla="*/ 425980 w 729419"/>
              <a:gd name="csY37" fmla="*/ 78301 h 2102400"/>
              <a:gd name="csX38" fmla="*/ 431861 w 729419"/>
              <a:gd name="csY38" fmla="*/ 90312 h 2102400"/>
              <a:gd name="csX39" fmla="*/ 540349 w 729419"/>
              <a:gd name="csY39" fmla="*/ 187946 h 2102400"/>
              <a:gd name="csX40" fmla="*/ 545555 w 729419"/>
              <a:gd name="csY40" fmla="*/ 197828 h 2102400"/>
              <a:gd name="csX41" fmla="*/ 587318 w 729419"/>
              <a:gd name="csY41" fmla="*/ 171260 h 2102400"/>
              <a:gd name="csX42" fmla="*/ 601503 w 729419"/>
              <a:gd name="csY42" fmla="*/ 163707 h 2102400"/>
              <a:gd name="csX43" fmla="*/ 625254 w 729419"/>
              <a:gd name="csY43" fmla="*/ 163123 h 2102400"/>
              <a:gd name="csX44" fmla="*/ 625468 w 729419"/>
              <a:gd name="csY44" fmla="*/ 187579 h 2102400"/>
              <a:gd name="csX45" fmla="*/ 597543 w 729419"/>
              <a:gd name="csY45" fmla="*/ 251872 h 2102400"/>
              <a:gd name="csX46" fmla="*/ 531831 w 729419"/>
              <a:gd name="csY46" fmla="*/ 442689 h 2102400"/>
              <a:gd name="csX47" fmla="*/ 519888 w 729419"/>
              <a:gd name="csY47" fmla="*/ 501474 h 2102400"/>
              <a:gd name="csX48" fmla="*/ 522506 w 729419"/>
              <a:gd name="csY48" fmla="*/ 525086 h 2102400"/>
              <a:gd name="csX49" fmla="*/ 516235 w 729419"/>
              <a:gd name="csY49" fmla="*/ 555946 h 2102400"/>
              <a:gd name="csX50" fmla="*/ 521332 w 729419"/>
              <a:gd name="csY50" fmla="*/ 610676 h 2102400"/>
              <a:gd name="csX51" fmla="*/ 541382 w 729419"/>
              <a:gd name="csY51" fmla="*/ 642597 h 2102400"/>
              <a:gd name="csX52" fmla="*/ 557031 w 729419"/>
              <a:gd name="csY52" fmla="*/ 667949 h 2102400"/>
              <a:gd name="csX53" fmla="*/ 553994 w 729419"/>
              <a:gd name="csY53" fmla="*/ 744146 h 2102400"/>
              <a:gd name="csX54" fmla="*/ 508215 w 729419"/>
              <a:gd name="csY54" fmla="*/ 758841 h 2102400"/>
              <a:gd name="csX55" fmla="*/ 497442 w 729419"/>
              <a:gd name="csY55" fmla="*/ 771256 h 2102400"/>
              <a:gd name="csX56" fmla="*/ 493005 w 729419"/>
              <a:gd name="csY56" fmla="*/ 922055 h 2102400"/>
              <a:gd name="csX57" fmla="*/ 502900 w 729419"/>
              <a:gd name="csY57" fmla="*/ 1114191 h 2102400"/>
              <a:gd name="csX58" fmla="*/ 508800 w 729419"/>
              <a:gd name="csY58" fmla="*/ 1205474 h 2102400"/>
              <a:gd name="csX59" fmla="*/ 522952 w 729419"/>
              <a:gd name="csY59" fmla="*/ 1320065 h 2102400"/>
              <a:gd name="csX60" fmla="*/ 554682 w 729419"/>
              <a:gd name="csY60" fmla="*/ 1501203 h 2102400"/>
              <a:gd name="csX61" fmla="*/ 576958 w 729419"/>
              <a:gd name="csY61" fmla="*/ 1593963 h 2102400"/>
              <a:gd name="csX62" fmla="*/ 595349 w 729419"/>
              <a:gd name="csY62" fmla="*/ 1613498 h 2102400"/>
              <a:gd name="csX63" fmla="*/ 613936 w 729419"/>
              <a:gd name="csY63" fmla="*/ 1624058 h 2102400"/>
              <a:gd name="csX64" fmla="*/ 620938 w 729419"/>
              <a:gd name="csY64" fmla="*/ 1652071 h 2102400"/>
              <a:gd name="csX65" fmla="*/ 630805 w 729419"/>
              <a:gd name="csY65" fmla="*/ 1721702 h 2102400"/>
              <a:gd name="csX66" fmla="*/ 685830 w 729419"/>
              <a:gd name="csY66" fmla="*/ 1792915 h 2102400"/>
              <a:gd name="csX67" fmla="*/ 708904 w 729419"/>
              <a:gd name="csY67" fmla="*/ 1890290 h 2102400"/>
              <a:gd name="csX68" fmla="*/ 716580 w 729419"/>
              <a:gd name="csY68" fmla="*/ 1951136 h 2102400"/>
              <a:gd name="csX69" fmla="*/ 729397 w 729419"/>
              <a:gd name="csY69" fmla="*/ 2030261 h 2102400"/>
              <a:gd name="csX70" fmla="*/ 714212 w 729419"/>
              <a:gd name="csY70" fmla="*/ 2049544 h 2102400"/>
              <a:gd name="csX71" fmla="*/ 645428 w 729419"/>
              <a:gd name="csY71" fmla="*/ 2070825 h 2102400"/>
              <a:gd name="csX72" fmla="*/ 635822 w 729419"/>
              <a:gd name="csY72" fmla="*/ 2075145 h 2102400"/>
              <a:gd name="csX73" fmla="*/ 588428 w 729419"/>
              <a:gd name="csY73" fmla="*/ 2075144 h 2102400"/>
              <a:gd name="csX74" fmla="*/ 590041 w 729419"/>
              <a:gd name="csY74" fmla="*/ 2071383 h 2102400"/>
              <a:gd name="csX75" fmla="*/ 667788 w 729419"/>
              <a:gd name="csY75" fmla="*/ 2056852 h 2102400"/>
              <a:gd name="csX76" fmla="*/ 706629 w 729419"/>
              <a:gd name="csY76" fmla="*/ 2044290 h 2102400"/>
              <a:gd name="csX77" fmla="*/ 702674 w 729419"/>
              <a:gd name="csY77" fmla="*/ 2041581 h 2102400"/>
              <a:gd name="csX78" fmla="*/ 544974 w 729419"/>
              <a:gd name="csY78" fmla="*/ 2071274 h 2102400"/>
              <a:gd name="csX79" fmla="*/ 538352 w 729419"/>
              <a:gd name="csY79" fmla="*/ 2076207 h 2102400"/>
              <a:gd name="csX80" fmla="*/ 96263 w 729419"/>
              <a:gd name="csY80" fmla="*/ 2076207 h 2102400"/>
              <a:gd name="csX81" fmla="*/ 489970 w 729419"/>
              <a:gd name="csY81" fmla="*/ 152208 h 2102400"/>
              <a:gd name="csX82" fmla="*/ 490754 w 729419"/>
              <a:gd name="csY82" fmla="*/ 152592 h 2102400"/>
              <a:gd name="csX83" fmla="*/ 489489 w 729419"/>
              <a:gd name="csY83" fmla="*/ 149547 h 2102400"/>
              <a:gd name="csX84" fmla="*/ 393621 w 729419"/>
              <a:gd name="csY84" fmla="*/ 99259 h 2102400"/>
              <a:gd name="csX85" fmla="*/ 390419 w 729419"/>
              <a:gd name="csY85" fmla="*/ 18568 h 2102400"/>
              <a:gd name="csX86" fmla="*/ 334131 w 729419"/>
              <a:gd name="csY86" fmla="*/ 24327 h 2102400"/>
              <a:gd name="csX87" fmla="*/ 344678 w 729419"/>
              <a:gd name="csY87" fmla="*/ 101259 h 2102400"/>
              <a:gd name="csX88" fmla="*/ 298854 w 729419"/>
              <a:gd name="csY88" fmla="*/ 114003 h 2102400"/>
              <a:gd name="csX89" fmla="*/ 237456 w 729419"/>
              <a:gd name="csY89" fmla="*/ 154340 h 2102400"/>
              <a:gd name="csX90" fmla="*/ 240382 w 729419"/>
              <a:gd name="csY90" fmla="*/ 154035 h 2102400"/>
              <a:gd name="csX91" fmla="*/ 262731 w 729419"/>
              <a:gd name="csY91" fmla="*/ 170426 h 2102400"/>
              <a:gd name="csX92" fmla="*/ 279169 w 729419"/>
              <a:gd name="csY92" fmla="*/ 193173 h 2102400"/>
              <a:gd name="csX93" fmla="*/ 327717 w 729419"/>
              <a:gd name="csY93" fmla="*/ 188556 h 2102400"/>
              <a:gd name="csX94" fmla="*/ 348052 w 729419"/>
              <a:gd name="csY94" fmla="*/ 156919 h 2102400"/>
              <a:gd name="csX95" fmla="*/ 380330 w 729419"/>
              <a:gd name="csY95" fmla="*/ 156483 h 2102400"/>
              <a:gd name="csX96" fmla="*/ 408490 w 729419"/>
              <a:gd name="csY96" fmla="*/ 195400 h 2102400"/>
              <a:gd name="csX97" fmla="*/ 445346 w 729419"/>
              <a:gd name="csY97" fmla="*/ 197582 h 2102400"/>
              <a:gd name="csX98" fmla="*/ 464798 w 729419"/>
              <a:gd name="csY98" fmla="*/ 174107 h 2102400"/>
              <a:gd name="csX99" fmla="*/ 489970 w 729419"/>
              <a:gd name="csY99" fmla="*/ 152208 h 2102400"/>
              <a:gd name="csX100" fmla="*/ 140694 w 729419"/>
              <a:gd name="csY100" fmla="*/ 201837 h 2102400"/>
              <a:gd name="csX101" fmla="*/ 139834 w 729419"/>
              <a:gd name="csY101" fmla="*/ 201482 h 2102400"/>
              <a:gd name="csX102" fmla="*/ 140812 w 729419"/>
              <a:gd name="csY102" fmla="*/ 204941 h 2102400"/>
              <a:gd name="csX103" fmla="*/ 144631 w 729419"/>
              <a:gd name="csY103" fmla="*/ 217811 h 2102400"/>
              <a:gd name="csX104" fmla="*/ 201241 w 729419"/>
              <a:gd name="csY104" fmla="*/ 373387 h 2102400"/>
              <a:gd name="csX105" fmla="*/ 235971 w 729419"/>
              <a:gd name="csY105" fmla="*/ 504451 h 2102400"/>
              <a:gd name="csX106" fmla="*/ 247475 w 729419"/>
              <a:gd name="csY106" fmla="*/ 513241 h 2102400"/>
              <a:gd name="csX107" fmla="*/ 289066 w 729419"/>
              <a:gd name="csY107" fmla="*/ 511170 h 2102400"/>
              <a:gd name="csX108" fmla="*/ 378229 w 729419"/>
              <a:gd name="csY108" fmla="*/ 511084 h 2102400"/>
              <a:gd name="csX109" fmla="*/ 470850 w 729419"/>
              <a:gd name="csY109" fmla="*/ 516341 h 2102400"/>
              <a:gd name="csX110" fmla="*/ 492933 w 729419"/>
              <a:gd name="csY110" fmla="*/ 497969 h 2102400"/>
              <a:gd name="csX111" fmla="*/ 557617 w 729419"/>
              <a:gd name="csY111" fmla="*/ 280398 h 2102400"/>
              <a:gd name="csX112" fmla="*/ 588788 w 729419"/>
              <a:gd name="csY112" fmla="*/ 200385 h 2102400"/>
              <a:gd name="csX113" fmla="*/ 530958 w 729419"/>
              <a:gd name="csY113" fmla="*/ 232968 h 2102400"/>
              <a:gd name="csX114" fmla="*/ 483823 w 729419"/>
              <a:gd name="csY114" fmla="*/ 190364 h 2102400"/>
              <a:gd name="csX115" fmla="*/ 466649 w 729419"/>
              <a:gd name="csY115" fmla="*/ 209061 h 2102400"/>
              <a:gd name="csX116" fmla="*/ 399941 w 729419"/>
              <a:gd name="csY116" fmla="*/ 216988 h 2102400"/>
              <a:gd name="csX117" fmla="*/ 363018 w 729419"/>
              <a:gd name="csY117" fmla="*/ 179615 h 2102400"/>
              <a:gd name="csX118" fmla="*/ 308839 w 729419"/>
              <a:gd name="csY118" fmla="*/ 227846 h 2102400"/>
              <a:gd name="csX119" fmla="*/ 245077 w 729419"/>
              <a:gd name="csY119" fmla="*/ 192402 h 2102400"/>
              <a:gd name="csX120" fmla="*/ 242829 w 729419"/>
              <a:gd name="csY120" fmla="*/ 198815 h 2102400"/>
              <a:gd name="csX121" fmla="*/ 168452 w 729419"/>
              <a:gd name="csY121" fmla="*/ 219348 h 2102400"/>
              <a:gd name="csX122" fmla="*/ 140694 w 729419"/>
              <a:gd name="csY122" fmla="*/ 201837 h 2102400"/>
              <a:gd name="csX123" fmla="*/ 259999 w 729419"/>
              <a:gd name="csY123" fmla="*/ 966699 h 2102400"/>
              <a:gd name="csX124" fmla="*/ 257072 w 729419"/>
              <a:gd name="csY124" fmla="*/ 1070424 h 2102400"/>
              <a:gd name="csX125" fmla="*/ 251372 w 729419"/>
              <a:gd name="csY125" fmla="*/ 1157618 h 2102400"/>
              <a:gd name="csX126" fmla="*/ 232677 w 729419"/>
              <a:gd name="csY126" fmla="*/ 1320279 h 2102400"/>
              <a:gd name="csX127" fmla="*/ 209182 w 729419"/>
              <a:gd name="csY127" fmla="*/ 1468667 h 2102400"/>
              <a:gd name="csX128" fmla="*/ 175302 w 729419"/>
              <a:gd name="csY128" fmla="*/ 1616623 h 2102400"/>
              <a:gd name="csX129" fmla="*/ 182769 w 729419"/>
              <a:gd name="csY129" fmla="*/ 1629786 h 2102400"/>
              <a:gd name="csX130" fmla="*/ 212156 w 729419"/>
              <a:gd name="csY130" fmla="*/ 1632656 h 2102400"/>
              <a:gd name="csX131" fmla="*/ 351295 w 729419"/>
              <a:gd name="csY131" fmla="*/ 1632801 h 2102400"/>
              <a:gd name="csX132" fmla="*/ 376150 w 729419"/>
              <a:gd name="csY132" fmla="*/ 1608307 h 2102400"/>
              <a:gd name="csX133" fmla="*/ 373450 w 729419"/>
              <a:gd name="csY133" fmla="*/ 1457291 h 2102400"/>
              <a:gd name="csX134" fmla="*/ 370936 w 729419"/>
              <a:gd name="csY134" fmla="*/ 1342736 h 2102400"/>
              <a:gd name="csX135" fmla="*/ 368328 w 729419"/>
              <a:gd name="csY135" fmla="*/ 1203878 h 2102400"/>
              <a:gd name="csX136" fmla="*/ 367836 w 729419"/>
              <a:gd name="csY136" fmla="*/ 813478 h 2102400"/>
              <a:gd name="csX137" fmla="*/ 365240 w 729419"/>
              <a:gd name="csY137" fmla="*/ 773243 h 2102400"/>
              <a:gd name="csX138" fmla="*/ 353084 w 729419"/>
              <a:gd name="csY138" fmla="*/ 762083 h 2102400"/>
              <a:gd name="csX139" fmla="*/ 280966 w 729419"/>
              <a:gd name="csY139" fmla="*/ 759855 h 2102400"/>
              <a:gd name="csX140" fmla="*/ 259965 w 729419"/>
              <a:gd name="csY140" fmla="*/ 779553 h 2102400"/>
              <a:gd name="csX141" fmla="*/ 262341 w 729419"/>
              <a:gd name="csY141" fmla="*/ 856275 h 2102400"/>
              <a:gd name="csX142" fmla="*/ 259999 w 729419"/>
              <a:gd name="csY142" fmla="*/ 966699 h 2102400"/>
              <a:gd name="csX143" fmla="*/ 55556 w 729419"/>
              <a:gd name="csY143" fmla="*/ 1835827 h 2102400"/>
              <a:gd name="csX144" fmla="*/ 49393 w 729419"/>
              <a:gd name="csY144" fmla="*/ 1878155 h 2102400"/>
              <a:gd name="csX145" fmla="*/ 73949 w 729419"/>
              <a:gd name="csY145" fmla="*/ 1905781 h 2102400"/>
              <a:gd name="csX146" fmla="*/ 110073 w 729419"/>
              <a:gd name="csY146" fmla="*/ 1909068 h 2102400"/>
              <a:gd name="csX147" fmla="*/ 224745 w 729419"/>
              <a:gd name="csY147" fmla="*/ 1921652 h 2102400"/>
              <a:gd name="csX148" fmla="*/ 347327 w 729419"/>
              <a:gd name="csY148" fmla="*/ 1924778 h 2102400"/>
              <a:gd name="csX149" fmla="*/ 363345 w 729419"/>
              <a:gd name="csY149" fmla="*/ 1923293 h 2102400"/>
              <a:gd name="csX150" fmla="*/ 373787 w 729419"/>
              <a:gd name="csY150" fmla="*/ 1911200 h 2102400"/>
              <a:gd name="csX151" fmla="*/ 376623 w 729419"/>
              <a:gd name="csY151" fmla="*/ 1696741 h 2102400"/>
              <a:gd name="csX152" fmla="*/ 360437 w 729419"/>
              <a:gd name="csY152" fmla="*/ 1681289 h 2102400"/>
              <a:gd name="csX153" fmla="*/ 263503 w 729419"/>
              <a:gd name="csY153" fmla="*/ 1678179 h 2102400"/>
              <a:gd name="csX154" fmla="*/ 160381 w 729419"/>
              <a:gd name="csY154" fmla="*/ 1670405 h 2102400"/>
              <a:gd name="csX155" fmla="*/ 143321 w 729419"/>
              <a:gd name="csY155" fmla="*/ 1685538 h 2102400"/>
              <a:gd name="csX156" fmla="*/ 124769 w 729419"/>
              <a:gd name="csY156" fmla="*/ 1738195 h 2102400"/>
              <a:gd name="csX157" fmla="*/ 90593 w 729419"/>
              <a:gd name="csY157" fmla="*/ 1779570 h 2102400"/>
              <a:gd name="csX158" fmla="*/ 55556 w 729419"/>
              <a:gd name="csY158" fmla="*/ 1835827 h 2102400"/>
              <a:gd name="csX159" fmla="*/ 378900 w 729419"/>
              <a:gd name="csY159" fmla="*/ 2007280 h 2102400"/>
              <a:gd name="csX160" fmla="*/ 378887 w 729419"/>
              <a:gd name="csY160" fmla="*/ 1995127 h 2102400"/>
              <a:gd name="csX161" fmla="*/ 359084 w 729419"/>
              <a:gd name="csY161" fmla="*/ 1975964 h 2102400"/>
              <a:gd name="csX162" fmla="*/ 247288 w 729419"/>
              <a:gd name="csY162" fmla="*/ 1973305 h 2102400"/>
              <a:gd name="csX163" fmla="*/ 201692 w 729419"/>
              <a:gd name="csY163" fmla="*/ 1970275 h 2102400"/>
              <a:gd name="csX164" fmla="*/ 57962 w 729419"/>
              <a:gd name="csY164" fmla="*/ 1952648 h 2102400"/>
              <a:gd name="csX165" fmla="*/ 39194 w 729419"/>
              <a:gd name="csY165" fmla="*/ 1963552 h 2102400"/>
              <a:gd name="csX166" fmla="*/ 30066 w 729419"/>
              <a:gd name="csY166" fmla="*/ 2006631 h 2102400"/>
              <a:gd name="csX167" fmla="*/ 40232 w 729419"/>
              <a:gd name="csY167" fmla="*/ 2019486 h 2102400"/>
              <a:gd name="csX168" fmla="*/ 238186 w 729419"/>
              <a:gd name="csY168" fmla="*/ 2046096 h 2102400"/>
              <a:gd name="csX169" fmla="*/ 342155 w 729419"/>
              <a:gd name="csY169" fmla="*/ 2046441 h 2102400"/>
              <a:gd name="csX170" fmla="*/ 378900 w 729419"/>
              <a:gd name="csY170" fmla="*/ 2007280 h 2102400"/>
              <a:gd name="csX171" fmla="*/ 310220 w 729419"/>
              <a:gd name="csY171" fmla="*/ 554288 h 2102400"/>
              <a:gd name="csX172" fmla="*/ 259136 w 729419"/>
              <a:gd name="csY172" fmla="*/ 556881 h 2102400"/>
              <a:gd name="csX173" fmla="*/ 249085 w 729419"/>
              <a:gd name="csY173" fmla="*/ 567981 h 2102400"/>
              <a:gd name="csX174" fmla="*/ 249141 w 729419"/>
              <a:gd name="csY174" fmla="*/ 605644 h 2102400"/>
              <a:gd name="csX175" fmla="*/ 262628 w 729419"/>
              <a:gd name="csY175" fmla="*/ 605627 h 2102400"/>
              <a:gd name="csX176" fmla="*/ 369608 w 729419"/>
              <a:gd name="csY176" fmla="*/ 603027 h 2102400"/>
              <a:gd name="csX177" fmla="*/ 463931 w 729419"/>
              <a:gd name="csY177" fmla="*/ 605146 h 2102400"/>
              <a:gd name="csX178" fmla="*/ 478113 w 729419"/>
              <a:gd name="csY178" fmla="*/ 595843 h 2102400"/>
              <a:gd name="csX179" fmla="*/ 478796 w 729419"/>
              <a:gd name="csY179" fmla="*/ 556832 h 2102400"/>
              <a:gd name="csX180" fmla="*/ 310220 w 729419"/>
              <a:gd name="csY180" fmla="*/ 554288 h 2102400"/>
              <a:gd name="csX181" fmla="*/ 348836 w 729419"/>
              <a:gd name="csY181" fmla="*/ 684115 h 2102400"/>
              <a:gd name="csX182" fmla="*/ 281333 w 729419"/>
              <a:gd name="csY182" fmla="*/ 683313 h 2102400"/>
              <a:gd name="csX183" fmla="*/ 212728 w 729419"/>
              <a:gd name="csY183" fmla="*/ 681931 h 2102400"/>
              <a:gd name="csX184" fmla="*/ 187283 w 729419"/>
              <a:gd name="csY184" fmla="*/ 689555 h 2102400"/>
              <a:gd name="csX185" fmla="*/ 186163 w 729419"/>
              <a:gd name="csY185" fmla="*/ 718266 h 2102400"/>
              <a:gd name="csX186" fmla="*/ 209894 w 729419"/>
              <a:gd name="csY186" fmla="*/ 726798 h 2102400"/>
              <a:gd name="csX187" fmla="*/ 334814 w 729419"/>
              <a:gd name="csY187" fmla="*/ 732494 h 2102400"/>
              <a:gd name="csX188" fmla="*/ 364856 w 729419"/>
              <a:gd name="csY188" fmla="*/ 707963 h 2102400"/>
              <a:gd name="csX189" fmla="*/ 348836 w 729419"/>
              <a:gd name="csY189" fmla="*/ 684115 h 2102400"/>
              <a:gd name="csX190" fmla="*/ 298865 w 729419"/>
              <a:gd name="csY190" fmla="*/ 621954 h 2102400"/>
              <a:gd name="csX191" fmla="*/ 251619 w 729419"/>
              <a:gd name="csY191" fmla="*/ 622133 h 2102400"/>
              <a:gd name="csX192" fmla="*/ 214459 w 729419"/>
              <a:gd name="csY192" fmla="*/ 636230 h 2102400"/>
              <a:gd name="csX193" fmla="*/ 221436 w 729419"/>
              <a:gd name="csY193" fmla="*/ 654205 h 2102400"/>
              <a:gd name="csX194" fmla="*/ 272412 w 729419"/>
              <a:gd name="csY194" fmla="*/ 657250 h 2102400"/>
              <a:gd name="csX195" fmla="*/ 349094 w 729419"/>
              <a:gd name="csY195" fmla="*/ 659282 h 2102400"/>
              <a:gd name="csX196" fmla="*/ 362996 w 729419"/>
              <a:gd name="csY196" fmla="*/ 644234 h 2102400"/>
              <a:gd name="csX197" fmla="*/ 348472 w 729419"/>
              <a:gd name="csY197" fmla="*/ 624649 h 2102400"/>
              <a:gd name="csX198" fmla="*/ 298865 w 729419"/>
              <a:gd name="csY198" fmla="*/ 621954 h 2102400"/>
              <a:gd name="csX199" fmla="*/ 227796 w 729419"/>
              <a:gd name="csY199" fmla="*/ 528000 h 2102400"/>
              <a:gd name="csX200" fmla="*/ 241009 w 729419"/>
              <a:gd name="csY200" fmla="*/ 545897 h 2102400"/>
              <a:gd name="csX201" fmla="*/ 282607 w 729419"/>
              <a:gd name="csY201" fmla="*/ 543480 h 2102400"/>
              <a:gd name="csX202" fmla="*/ 354213 w 729419"/>
              <a:gd name="csY202" fmla="*/ 543384 h 2102400"/>
              <a:gd name="csX203" fmla="*/ 365334 w 729419"/>
              <a:gd name="csY203" fmla="*/ 533397 h 2102400"/>
              <a:gd name="csX204" fmla="*/ 354531 w 729419"/>
              <a:gd name="csY204" fmla="*/ 521620 h 2102400"/>
              <a:gd name="csX205" fmla="*/ 259169 w 729419"/>
              <a:gd name="csY205" fmla="*/ 521978 h 2102400"/>
              <a:gd name="csX206" fmla="*/ 227796 w 729419"/>
              <a:gd name="csY206" fmla="*/ 528000 h 2102400"/>
              <a:gd name="csX207" fmla="*/ 508068 w 729419"/>
              <a:gd name="csY207" fmla="*/ 190710 h 2102400"/>
              <a:gd name="csX208" fmla="*/ 521293 w 729419"/>
              <a:gd name="csY208" fmla="*/ 205907 h 2102400"/>
              <a:gd name="csX209" fmla="*/ 525175 w 729419"/>
              <a:gd name="csY209" fmla="*/ 202985 h 2102400"/>
              <a:gd name="csX210" fmla="*/ 500276 w 729419"/>
              <a:gd name="csY210" fmla="*/ 160640 h 2102400"/>
              <a:gd name="csX211" fmla="*/ 497122 w 729419"/>
              <a:gd name="csY211" fmla="*/ 162007 h 2102400"/>
              <a:gd name="csX212" fmla="*/ 508068 w 729419"/>
              <a:gd name="csY212" fmla="*/ 190710 h 2102400"/>
              <a:gd name="csX213" fmla="*/ 215522 w 729419"/>
              <a:gd name="csY213" fmla="*/ 197296 h 2102400"/>
              <a:gd name="csX214" fmla="*/ 234029 w 729419"/>
              <a:gd name="csY214" fmla="*/ 162725 h 2102400"/>
              <a:gd name="csX215" fmla="*/ 229000 w 729419"/>
              <a:gd name="csY215" fmla="*/ 159902 h 2102400"/>
              <a:gd name="csX216" fmla="*/ 204824 w 729419"/>
              <a:gd name="csY216" fmla="*/ 199677 h 2102400"/>
              <a:gd name="csX217" fmla="*/ 207990 w 729419"/>
              <a:gd name="csY217" fmla="*/ 202198 h 2102400"/>
              <a:gd name="csX218" fmla="*/ 215522 w 729419"/>
              <a:gd name="csY218" fmla="*/ 197296 h 2102400"/>
              <a:gd name="csX219" fmla="*/ 484400 w 729419"/>
              <a:gd name="csY219" fmla="*/ 896678 h 2102400"/>
              <a:gd name="csX220" fmla="*/ 486181 w 729419"/>
              <a:gd name="csY220" fmla="*/ 896585 h 2102400"/>
              <a:gd name="csX221" fmla="*/ 486181 w 729419"/>
              <a:gd name="csY221" fmla="*/ 795289 h 2102400"/>
              <a:gd name="csX222" fmla="*/ 720241 w 729419"/>
              <a:gd name="csY222" fmla="*/ 2030666 h 2102400"/>
              <a:gd name="csX223" fmla="*/ 721175 w 729419"/>
              <a:gd name="csY223" fmla="*/ 2029733 h 2102400"/>
              <a:gd name="csX224" fmla="*/ 720241 w 729419"/>
              <a:gd name="csY224" fmla="*/ 2030666 h 2102400"/>
              <a:gd name="csX225" fmla="*/ 715702 w 729419"/>
              <a:gd name="csY225" fmla="*/ 2037051 h 2102400"/>
              <a:gd name="csX226" fmla="*/ 715702 w 729419"/>
              <a:gd name="csY226" fmla="*/ 2037051 h 2102400"/>
              <a:gd name="csX0" fmla="*/ 96263 w 729419"/>
              <a:gd name="csY0" fmla="*/ 2076207 h 2076207"/>
              <a:gd name="csX1" fmla="*/ 63862 w 729419"/>
              <a:gd name="csY1" fmla="*/ 2065388 h 2076207"/>
              <a:gd name="csX2" fmla="*/ 16555 w 729419"/>
              <a:gd name="csY2" fmla="*/ 2050152 h 2076207"/>
              <a:gd name="csX3" fmla="*/ 15 w 729419"/>
              <a:gd name="csY3" fmla="*/ 2023802 h 2076207"/>
              <a:gd name="csX4" fmla="*/ 18368 w 729419"/>
              <a:gd name="csY4" fmla="*/ 1940709 h 2076207"/>
              <a:gd name="csX5" fmla="*/ 22139 w 729419"/>
              <a:gd name="csY5" fmla="*/ 1907268 h 2076207"/>
              <a:gd name="csX6" fmla="*/ 57941 w 729419"/>
              <a:gd name="csY6" fmla="*/ 1774163 h 2076207"/>
              <a:gd name="csX7" fmla="*/ 102478 w 729419"/>
              <a:gd name="csY7" fmla="*/ 1720275 h 2076207"/>
              <a:gd name="csX8" fmla="*/ 108579 w 729419"/>
              <a:gd name="csY8" fmla="*/ 1650967 h 2076207"/>
              <a:gd name="csX9" fmla="*/ 115628 w 729419"/>
              <a:gd name="csY9" fmla="*/ 1625405 h 2076207"/>
              <a:gd name="csX10" fmla="*/ 156323 w 729419"/>
              <a:gd name="csY10" fmla="*/ 1560181 h 2076207"/>
              <a:gd name="csX11" fmla="*/ 199424 w 729419"/>
              <a:gd name="csY11" fmla="*/ 1364729 h 2076207"/>
              <a:gd name="csX12" fmla="*/ 216779 w 729419"/>
              <a:gd name="csY12" fmla="*/ 1219490 h 2076207"/>
              <a:gd name="csX13" fmla="*/ 229755 w 729419"/>
              <a:gd name="csY13" fmla="*/ 1099357 h 2076207"/>
              <a:gd name="csX14" fmla="*/ 232707 w 729419"/>
              <a:gd name="csY14" fmla="*/ 1056423 h 2076207"/>
              <a:gd name="csX15" fmla="*/ 235622 w 729419"/>
              <a:gd name="csY15" fmla="*/ 952675 h 2076207"/>
              <a:gd name="csX16" fmla="*/ 235445 w 729419"/>
              <a:gd name="csY16" fmla="*/ 780278 h 2076207"/>
              <a:gd name="csX17" fmla="*/ 214544 w 729419"/>
              <a:gd name="csY17" fmla="*/ 756435 h 2076207"/>
              <a:gd name="csX18" fmla="*/ 172569 w 729419"/>
              <a:gd name="csY18" fmla="*/ 742582 h 2076207"/>
              <a:gd name="csX19" fmla="*/ 168784 w 729419"/>
              <a:gd name="csY19" fmla="*/ 669116 h 2076207"/>
              <a:gd name="csX20" fmla="*/ 191657 w 729419"/>
              <a:gd name="csY20" fmla="*/ 630765 h 2076207"/>
              <a:gd name="csX21" fmla="*/ 208150 w 729419"/>
              <a:gd name="csY21" fmla="*/ 609084 h 2076207"/>
              <a:gd name="csX22" fmla="*/ 216756 w 729419"/>
              <a:gd name="csY22" fmla="*/ 558673 h 2076207"/>
              <a:gd name="csX23" fmla="*/ 209092 w 729419"/>
              <a:gd name="csY23" fmla="*/ 521540 h 2076207"/>
              <a:gd name="csX24" fmla="*/ 204683 w 729419"/>
              <a:gd name="csY24" fmla="*/ 474024 h 2076207"/>
              <a:gd name="csX25" fmla="*/ 115483 w 729419"/>
              <a:gd name="csY25" fmla="*/ 213499 h 2076207"/>
              <a:gd name="csX26" fmla="*/ 102909 w 729419"/>
              <a:gd name="csY26" fmla="*/ 182297 h 2076207"/>
              <a:gd name="csX27" fmla="*/ 104315 w 729419"/>
              <a:gd name="csY27" fmla="*/ 163968 h 2076207"/>
              <a:gd name="csX28" fmla="*/ 122444 w 729419"/>
              <a:gd name="csY28" fmla="*/ 160805 h 2076207"/>
              <a:gd name="csX29" fmla="*/ 170283 w 729419"/>
              <a:gd name="csY29" fmla="*/ 187783 h 2076207"/>
              <a:gd name="csX30" fmla="*/ 180938 w 729419"/>
              <a:gd name="csY30" fmla="*/ 195322 h 2076207"/>
              <a:gd name="csX31" fmla="*/ 221419 w 729419"/>
              <a:gd name="csY31" fmla="*/ 138058 h 2076207"/>
              <a:gd name="csX32" fmla="*/ 294099 w 729419"/>
              <a:gd name="csY32" fmla="*/ 91372 h 2076207"/>
              <a:gd name="csX33" fmla="*/ 302307 w 729419"/>
              <a:gd name="csY33" fmla="*/ 76560 h 2076207"/>
              <a:gd name="csX34" fmla="*/ 320284 w 729419"/>
              <a:gd name="csY34" fmla="*/ 8414 h 2076207"/>
              <a:gd name="csX35" fmla="*/ 324784 w 729419"/>
              <a:gd name="csY35" fmla="*/ 946 h 2076207"/>
              <a:gd name="csX36" fmla="*/ 399212 w 729419"/>
              <a:gd name="csY36" fmla="*/ 0 h 2076207"/>
              <a:gd name="csX37" fmla="*/ 425980 w 729419"/>
              <a:gd name="csY37" fmla="*/ 78301 h 2076207"/>
              <a:gd name="csX38" fmla="*/ 431861 w 729419"/>
              <a:gd name="csY38" fmla="*/ 90312 h 2076207"/>
              <a:gd name="csX39" fmla="*/ 540349 w 729419"/>
              <a:gd name="csY39" fmla="*/ 187946 h 2076207"/>
              <a:gd name="csX40" fmla="*/ 545555 w 729419"/>
              <a:gd name="csY40" fmla="*/ 197828 h 2076207"/>
              <a:gd name="csX41" fmla="*/ 587318 w 729419"/>
              <a:gd name="csY41" fmla="*/ 171260 h 2076207"/>
              <a:gd name="csX42" fmla="*/ 601503 w 729419"/>
              <a:gd name="csY42" fmla="*/ 163707 h 2076207"/>
              <a:gd name="csX43" fmla="*/ 625254 w 729419"/>
              <a:gd name="csY43" fmla="*/ 163123 h 2076207"/>
              <a:gd name="csX44" fmla="*/ 625468 w 729419"/>
              <a:gd name="csY44" fmla="*/ 187579 h 2076207"/>
              <a:gd name="csX45" fmla="*/ 597543 w 729419"/>
              <a:gd name="csY45" fmla="*/ 251872 h 2076207"/>
              <a:gd name="csX46" fmla="*/ 531831 w 729419"/>
              <a:gd name="csY46" fmla="*/ 442689 h 2076207"/>
              <a:gd name="csX47" fmla="*/ 519888 w 729419"/>
              <a:gd name="csY47" fmla="*/ 501474 h 2076207"/>
              <a:gd name="csX48" fmla="*/ 522506 w 729419"/>
              <a:gd name="csY48" fmla="*/ 525086 h 2076207"/>
              <a:gd name="csX49" fmla="*/ 516235 w 729419"/>
              <a:gd name="csY49" fmla="*/ 555946 h 2076207"/>
              <a:gd name="csX50" fmla="*/ 521332 w 729419"/>
              <a:gd name="csY50" fmla="*/ 610676 h 2076207"/>
              <a:gd name="csX51" fmla="*/ 541382 w 729419"/>
              <a:gd name="csY51" fmla="*/ 642597 h 2076207"/>
              <a:gd name="csX52" fmla="*/ 557031 w 729419"/>
              <a:gd name="csY52" fmla="*/ 667949 h 2076207"/>
              <a:gd name="csX53" fmla="*/ 553994 w 729419"/>
              <a:gd name="csY53" fmla="*/ 744146 h 2076207"/>
              <a:gd name="csX54" fmla="*/ 508215 w 729419"/>
              <a:gd name="csY54" fmla="*/ 758841 h 2076207"/>
              <a:gd name="csX55" fmla="*/ 497442 w 729419"/>
              <a:gd name="csY55" fmla="*/ 771256 h 2076207"/>
              <a:gd name="csX56" fmla="*/ 493005 w 729419"/>
              <a:gd name="csY56" fmla="*/ 922055 h 2076207"/>
              <a:gd name="csX57" fmla="*/ 502900 w 729419"/>
              <a:gd name="csY57" fmla="*/ 1114191 h 2076207"/>
              <a:gd name="csX58" fmla="*/ 508800 w 729419"/>
              <a:gd name="csY58" fmla="*/ 1205474 h 2076207"/>
              <a:gd name="csX59" fmla="*/ 522952 w 729419"/>
              <a:gd name="csY59" fmla="*/ 1320065 h 2076207"/>
              <a:gd name="csX60" fmla="*/ 554682 w 729419"/>
              <a:gd name="csY60" fmla="*/ 1501203 h 2076207"/>
              <a:gd name="csX61" fmla="*/ 576958 w 729419"/>
              <a:gd name="csY61" fmla="*/ 1593963 h 2076207"/>
              <a:gd name="csX62" fmla="*/ 595349 w 729419"/>
              <a:gd name="csY62" fmla="*/ 1613498 h 2076207"/>
              <a:gd name="csX63" fmla="*/ 613936 w 729419"/>
              <a:gd name="csY63" fmla="*/ 1624058 h 2076207"/>
              <a:gd name="csX64" fmla="*/ 620938 w 729419"/>
              <a:gd name="csY64" fmla="*/ 1652071 h 2076207"/>
              <a:gd name="csX65" fmla="*/ 630805 w 729419"/>
              <a:gd name="csY65" fmla="*/ 1721702 h 2076207"/>
              <a:gd name="csX66" fmla="*/ 685830 w 729419"/>
              <a:gd name="csY66" fmla="*/ 1792915 h 2076207"/>
              <a:gd name="csX67" fmla="*/ 708904 w 729419"/>
              <a:gd name="csY67" fmla="*/ 1890290 h 2076207"/>
              <a:gd name="csX68" fmla="*/ 716580 w 729419"/>
              <a:gd name="csY68" fmla="*/ 1951136 h 2076207"/>
              <a:gd name="csX69" fmla="*/ 729397 w 729419"/>
              <a:gd name="csY69" fmla="*/ 2030261 h 2076207"/>
              <a:gd name="csX70" fmla="*/ 714212 w 729419"/>
              <a:gd name="csY70" fmla="*/ 2049544 h 2076207"/>
              <a:gd name="csX71" fmla="*/ 645428 w 729419"/>
              <a:gd name="csY71" fmla="*/ 2070825 h 2076207"/>
              <a:gd name="csX72" fmla="*/ 635822 w 729419"/>
              <a:gd name="csY72" fmla="*/ 2075145 h 2076207"/>
              <a:gd name="csX73" fmla="*/ 588428 w 729419"/>
              <a:gd name="csY73" fmla="*/ 2075144 h 2076207"/>
              <a:gd name="csX74" fmla="*/ 590041 w 729419"/>
              <a:gd name="csY74" fmla="*/ 2071383 h 2076207"/>
              <a:gd name="csX75" fmla="*/ 667788 w 729419"/>
              <a:gd name="csY75" fmla="*/ 2056852 h 2076207"/>
              <a:gd name="csX76" fmla="*/ 706629 w 729419"/>
              <a:gd name="csY76" fmla="*/ 2044290 h 2076207"/>
              <a:gd name="csX77" fmla="*/ 702674 w 729419"/>
              <a:gd name="csY77" fmla="*/ 2041581 h 2076207"/>
              <a:gd name="csX78" fmla="*/ 544974 w 729419"/>
              <a:gd name="csY78" fmla="*/ 2071274 h 2076207"/>
              <a:gd name="csX79" fmla="*/ 96263 w 729419"/>
              <a:gd name="csY79" fmla="*/ 2076207 h 2076207"/>
              <a:gd name="csX80" fmla="*/ 489970 w 729419"/>
              <a:gd name="csY80" fmla="*/ 152208 h 2076207"/>
              <a:gd name="csX81" fmla="*/ 490754 w 729419"/>
              <a:gd name="csY81" fmla="*/ 152592 h 2076207"/>
              <a:gd name="csX82" fmla="*/ 489489 w 729419"/>
              <a:gd name="csY82" fmla="*/ 149547 h 2076207"/>
              <a:gd name="csX83" fmla="*/ 393621 w 729419"/>
              <a:gd name="csY83" fmla="*/ 99259 h 2076207"/>
              <a:gd name="csX84" fmla="*/ 390419 w 729419"/>
              <a:gd name="csY84" fmla="*/ 18568 h 2076207"/>
              <a:gd name="csX85" fmla="*/ 334131 w 729419"/>
              <a:gd name="csY85" fmla="*/ 24327 h 2076207"/>
              <a:gd name="csX86" fmla="*/ 344678 w 729419"/>
              <a:gd name="csY86" fmla="*/ 101259 h 2076207"/>
              <a:gd name="csX87" fmla="*/ 298854 w 729419"/>
              <a:gd name="csY87" fmla="*/ 114003 h 2076207"/>
              <a:gd name="csX88" fmla="*/ 237456 w 729419"/>
              <a:gd name="csY88" fmla="*/ 154340 h 2076207"/>
              <a:gd name="csX89" fmla="*/ 240382 w 729419"/>
              <a:gd name="csY89" fmla="*/ 154035 h 2076207"/>
              <a:gd name="csX90" fmla="*/ 262731 w 729419"/>
              <a:gd name="csY90" fmla="*/ 170426 h 2076207"/>
              <a:gd name="csX91" fmla="*/ 279169 w 729419"/>
              <a:gd name="csY91" fmla="*/ 193173 h 2076207"/>
              <a:gd name="csX92" fmla="*/ 327717 w 729419"/>
              <a:gd name="csY92" fmla="*/ 188556 h 2076207"/>
              <a:gd name="csX93" fmla="*/ 348052 w 729419"/>
              <a:gd name="csY93" fmla="*/ 156919 h 2076207"/>
              <a:gd name="csX94" fmla="*/ 380330 w 729419"/>
              <a:gd name="csY94" fmla="*/ 156483 h 2076207"/>
              <a:gd name="csX95" fmla="*/ 408490 w 729419"/>
              <a:gd name="csY95" fmla="*/ 195400 h 2076207"/>
              <a:gd name="csX96" fmla="*/ 445346 w 729419"/>
              <a:gd name="csY96" fmla="*/ 197582 h 2076207"/>
              <a:gd name="csX97" fmla="*/ 464798 w 729419"/>
              <a:gd name="csY97" fmla="*/ 174107 h 2076207"/>
              <a:gd name="csX98" fmla="*/ 489970 w 729419"/>
              <a:gd name="csY98" fmla="*/ 152208 h 2076207"/>
              <a:gd name="csX99" fmla="*/ 140694 w 729419"/>
              <a:gd name="csY99" fmla="*/ 201837 h 2076207"/>
              <a:gd name="csX100" fmla="*/ 139834 w 729419"/>
              <a:gd name="csY100" fmla="*/ 201482 h 2076207"/>
              <a:gd name="csX101" fmla="*/ 140812 w 729419"/>
              <a:gd name="csY101" fmla="*/ 204941 h 2076207"/>
              <a:gd name="csX102" fmla="*/ 144631 w 729419"/>
              <a:gd name="csY102" fmla="*/ 217811 h 2076207"/>
              <a:gd name="csX103" fmla="*/ 201241 w 729419"/>
              <a:gd name="csY103" fmla="*/ 373387 h 2076207"/>
              <a:gd name="csX104" fmla="*/ 235971 w 729419"/>
              <a:gd name="csY104" fmla="*/ 504451 h 2076207"/>
              <a:gd name="csX105" fmla="*/ 247475 w 729419"/>
              <a:gd name="csY105" fmla="*/ 513241 h 2076207"/>
              <a:gd name="csX106" fmla="*/ 289066 w 729419"/>
              <a:gd name="csY106" fmla="*/ 511170 h 2076207"/>
              <a:gd name="csX107" fmla="*/ 378229 w 729419"/>
              <a:gd name="csY107" fmla="*/ 511084 h 2076207"/>
              <a:gd name="csX108" fmla="*/ 470850 w 729419"/>
              <a:gd name="csY108" fmla="*/ 516341 h 2076207"/>
              <a:gd name="csX109" fmla="*/ 492933 w 729419"/>
              <a:gd name="csY109" fmla="*/ 497969 h 2076207"/>
              <a:gd name="csX110" fmla="*/ 557617 w 729419"/>
              <a:gd name="csY110" fmla="*/ 280398 h 2076207"/>
              <a:gd name="csX111" fmla="*/ 588788 w 729419"/>
              <a:gd name="csY111" fmla="*/ 200385 h 2076207"/>
              <a:gd name="csX112" fmla="*/ 530958 w 729419"/>
              <a:gd name="csY112" fmla="*/ 232968 h 2076207"/>
              <a:gd name="csX113" fmla="*/ 483823 w 729419"/>
              <a:gd name="csY113" fmla="*/ 190364 h 2076207"/>
              <a:gd name="csX114" fmla="*/ 466649 w 729419"/>
              <a:gd name="csY114" fmla="*/ 209061 h 2076207"/>
              <a:gd name="csX115" fmla="*/ 399941 w 729419"/>
              <a:gd name="csY115" fmla="*/ 216988 h 2076207"/>
              <a:gd name="csX116" fmla="*/ 363018 w 729419"/>
              <a:gd name="csY116" fmla="*/ 179615 h 2076207"/>
              <a:gd name="csX117" fmla="*/ 308839 w 729419"/>
              <a:gd name="csY117" fmla="*/ 227846 h 2076207"/>
              <a:gd name="csX118" fmla="*/ 245077 w 729419"/>
              <a:gd name="csY118" fmla="*/ 192402 h 2076207"/>
              <a:gd name="csX119" fmla="*/ 242829 w 729419"/>
              <a:gd name="csY119" fmla="*/ 198815 h 2076207"/>
              <a:gd name="csX120" fmla="*/ 168452 w 729419"/>
              <a:gd name="csY120" fmla="*/ 219348 h 2076207"/>
              <a:gd name="csX121" fmla="*/ 140694 w 729419"/>
              <a:gd name="csY121" fmla="*/ 201837 h 2076207"/>
              <a:gd name="csX122" fmla="*/ 259999 w 729419"/>
              <a:gd name="csY122" fmla="*/ 966699 h 2076207"/>
              <a:gd name="csX123" fmla="*/ 257072 w 729419"/>
              <a:gd name="csY123" fmla="*/ 1070424 h 2076207"/>
              <a:gd name="csX124" fmla="*/ 251372 w 729419"/>
              <a:gd name="csY124" fmla="*/ 1157618 h 2076207"/>
              <a:gd name="csX125" fmla="*/ 232677 w 729419"/>
              <a:gd name="csY125" fmla="*/ 1320279 h 2076207"/>
              <a:gd name="csX126" fmla="*/ 209182 w 729419"/>
              <a:gd name="csY126" fmla="*/ 1468667 h 2076207"/>
              <a:gd name="csX127" fmla="*/ 175302 w 729419"/>
              <a:gd name="csY127" fmla="*/ 1616623 h 2076207"/>
              <a:gd name="csX128" fmla="*/ 182769 w 729419"/>
              <a:gd name="csY128" fmla="*/ 1629786 h 2076207"/>
              <a:gd name="csX129" fmla="*/ 212156 w 729419"/>
              <a:gd name="csY129" fmla="*/ 1632656 h 2076207"/>
              <a:gd name="csX130" fmla="*/ 351295 w 729419"/>
              <a:gd name="csY130" fmla="*/ 1632801 h 2076207"/>
              <a:gd name="csX131" fmla="*/ 376150 w 729419"/>
              <a:gd name="csY131" fmla="*/ 1608307 h 2076207"/>
              <a:gd name="csX132" fmla="*/ 373450 w 729419"/>
              <a:gd name="csY132" fmla="*/ 1457291 h 2076207"/>
              <a:gd name="csX133" fmla="*/ 370936 w 729419"/>
              <a:gd name="csY133" fmla="*/ 1342736 h 2076207"/>
              <a:gd name="csX134" fmla="*/ 368328 w 729419"/>
              <a:gd name="csY134" fmla="*/ 1203878 h 2076207"/>
              <a:gd name="csX135" fmla="*/ 367836 w 729419"/>
              <a:gd name="csY135" fmla="*/ 813478 h 2076207"/>
              <a:gd name="csX136" fmla="*/ 365240 w 729419"/>
              <a:gd name="csY136" fmla="*/ 773243 h 2076207"/>
              <a:gd name="csX137" fmla="*/ 353084 w 729419"/>
              <a:gd name="csY137" fmla="*/ 762083 h 2076207"/>
              <a:gd name="csX138" fmla="*/ 280966 w 729419"/>
              <a:gd name="csY138" fmla="*/ 759855 h 2076207"/>
              <a:gd name="csX139" fmla="*/ 259965 w 729419"/>
              <a:gd name="csY139" fmla="*/ 779553 h 2076207"/>
              <a:gd name="csX140" fmla="*/ 262341 w 729419"/>
              <a:gd name="csY140" fmla="*/ 856275 h 2076207"/>
              <a:gd name="csX141" fmla="*/ 259999 w 729419"/>
              <a:gd name="csY141" fmla="*/ 966699 h 2076207"/>
              <a:gd name="csX142" fmla="*/ 55556 w 729419"/>
              <a:gd name="csY142" fmla="*/ 1835827 h 2076207"/>
              <a:gd name="csX143" fmla="*/ 49393 w 729419"/>
              <a:gd name="csY143" fmla="*/ 1878155 h 2076207"/>
              <a:gd name="csX144" fmla="*/ 73949 w 729419"/>
              <a:gd name="csY144" fmla="*/ 1905781 h 2076207"/>
              <a:gd name="csX145" fmla="*/ 110073 w 729419"/>
              <a:gd name="csY145" fmla="*/ 1909068 h 2076207"/>
              <a:gd name="csX146" fmla="*/ 224745 w 729419"/>
              <a:gd name="csY146" fmla="*/ 1921652 h 2076207"/>
              <a:gd name="csX147" fmla="*/ 347327 w 729419"/>
              <a:gd name="csY147" fmla="*/ 1924778 h 2076207"/>
              <a:gd name="csX148" fmla="*/ 363345 w 729419"/>
              <a:gd name="csY148" fmla="*/ 1923293 h 2076207"/>
              <a:gd name="csX149" fmla="*/ 373787 w 729419"/>
              <a:gd name="csY149" fmla="*/ 1911200 h 2076207"/>
              <a:gd name="csX150" fmla="*/ 376623 w 729419"/>
              <a:gd name="csY150" fmla="*/ 1696741 h 2076207"/>
              <a:gd name="csX151" fmla="*/ 360437 w 729419"/>
              <a:gd name="csY151" fmla="*/ 1681289 h 2076207"/>
              <a:gd name="csX152" fmla="*/ 263503 w 729419"/>
              <a:gd name="csY152" fmla="*/ 1678179 h 2076207"/>
              <a:gd name="csX153" fmla="*/ 160381 w 729419"/>
              <a:gd name="csY153" fmla="*/ 1670405 h 2076207"/>
              <a:gd name="csX154" fmla="*/ 143321 w 729419"/>
              <a:gd name="csY154" fmla="*/ 1685538 h 2076207"/>
              <a:gd name="csX155" fmla="*/ 124769 w 729419"/>
              <a:gd name="csY155" fmla="*/ 1738195 h 2076207"/>
              <a:gd name="csX156" fmla="*/ 90593 w 729419"/>
              <a:gd name="csY156" fmla="*/ 1779570 h 2076207"/>
              <a:gd name="csX157" fmla="*/ 55556 w 729419"/>
              <a:gd name="csY157" fmla="*/ 1835827 h 2076207"/>
              <a:gd name="csX158" fmla="*/ 378900 w 729419"/>
              <a:gd name="csY158" fmla="*/ 2007280 h 2076207"/>
              <a:gd name="csX159" fmla="*/ 378887 w 729419"/>
              <a:gd name="csY159" fmla="*/ 1995127 h 2076207"/>
              <a:gd name="csX160" fmla="*/ 359084 w 729419"/>
              <a:gd name="csY160" fmla="*/ 1975964 h 2076207"/>
              <a:gd name="csX161" fmla="*/ 247288 w 729419"/>
              <a:gd name="csY161" fmla="*/ 1973305 h 2076207"/>
              <a:gd name="csX162" fmla="*/ 201692 w 729419"/>
              <a:gd name="csY162" fmla="*/ 1970275 h 2076207"/>
              <a:gd name="csX163" fmla="*/ 57962 w 729419"/>
              <a:gd name="csY163" fmla="*/ 1952648 h 2076207"/>
              <a:gd name="csX164" fmla="*/ 39194 w 729419"/>
              <a:gd name="csY164" fmla="*/ 1963552 h 2076207"/>
              <a:gd name="csX165" fmla="*/ 30066 w 729419"/>
              <a:gd name="csY165" fmla="*/ 2006631 h 2076207"/>
              <a:gd name="csX166" fmla="*/ 40232 w 729419"/>
              <a:gd name="csY166" fmla="*/ 2019486 h 2076207"/>
              <a:gd name="csX167" fmla="*/ 238186 w 729419"/>
              <a:gd name="csY167" fmla="*/ 2046096 h 2076207"/>
              <a:gd name="csX168" fmla="*/ 342155 w 729419"/>
              <a:gd name="csY168" fmla="*/ 2046441 h 2076207"/>
              <a:gd name="csX169" fmla="*/ 378900 w 729419"/>
              <a:gd name="csY169" fmla="*/ 2007280 h 2076207"/>
              <a:gd name="csX170" fmla="*/ 310220 w 729419"/>
              <a:gd name="csY170" fmla="*/ 554288 h 2076207"/>
              <a:gd name="csX171" fmla="*/ 259136 w 729419"/>
              <a:gd name="csY171" fmla="*/ 556881 h 2076207"/>
              <a:gd name="csX172" fmla="*/ 249085 w 729419"/>
              <a:gd name="csY172" fmla="*/ 567981 h 2076207"/>
              <a:gd name="csX173" fmla="*/ 249141 w 729419"/>
              <a:gd name="csY173" fmla="*/ 605644 h 2076207"/>
              <a:gd name="csX174" fmla="*/ 262628 w 729419"/>
              <a:gd name="csY174" fmla="*/ 605627 h 2076207"/>
              <a:gd name="csX175" fmla="*/ 369608 w 729419"/>
              <a:gd name="csY175" fmla="*/ 603027 h 2076207"/>
              <a:gd name="csX176" fmla="*/ 463931 w 729419"/>
              <a:gd name="csY176" fmla="*/ 605146 h 2076207"/>
              <a:gd name="csX177" fmla="*/ 478113 w 729419"/>
              <a:gd name="csY177" fmla="*/ 595843 h 2076207"/>
              <a:gd name="csX178" fmla="*/ 478796 w 729419"/>
              <a:gd name="csY178" fmla="*/ 556832 h 2076207"/>
              <a:gd name="csX179" fmla="*/ 310220 w 729419"/>
              <a:gd name="csY179" fmla="*/ 554288 h 2076207"/>
              <a:gd name="csX180" fmla="*/ 348836 w 729419"/>
              <a:gd name="csY180" fmla="*/ 684115 h 2076207"/>
              <a:gd name="csX181" fmla="*/ 281333 w 729419"/>
              <a:gd name="csY181" fmla="*/ 683313 h 2076207"/>
              <a:gd name="csX182" fmla="*/ 212728 w 729419"/>
              <a:gd name="csY182" fmla="*/ 681931 h 2076207"/>
              <a:gd name="csX183" fmla="*/ 187283 w 729419"/>
              <a:gd name="csY183" fmla="*/ 689555 h 2076207"/>
              <a:gd name="csX184" fmla="*/ 186163 w 729419"/>
              <a:gd name="csY184" fmla="*/ 718266 h 2076207"/>
              <a:gd name="csX185" fmla="*/ 209894 w 729419"/>
              <a:gd name="csY185" fmla="*/ 726798 h 2076207"/>
              <a:gd name="csX186" fmla="*/ 334814 w 729419"/>
              <a:gd name="csY186" fmla="*/ 732494 h 2076207"/>
              <a:gd name="csX187" fmla="*/ 364856 w 729419"/>
              <a:gd name="csY187" fmla="*/ 707963 h 2076207"/>
              <a:gd name="csX188" fmla="*/ 348836 w 729419"/>
              <a:gd name="csY188" fmla="*/ 684115 h 2076207"/>
              <a:gd name="csX189" fmla="*/ 298865 w 729419"/>
              <a:gd name="csY189" fmla="*/ 621954 h 2076207"/>
              <a:gd name="csX190" fmla="*/ 251619 w 729419"/>
              <a:gd name="csY190" fmla="*/ 622133 h 2076207"/>
              <a:gd name="csX191" fmla="*/ 214459 w 729419"/>
              <a:gd name="csY191" fmla="*/ 636230 h 2076207"/>
              <a:gd name="csX192" fmla="*/ 221436 w 729419"/>
              <a:gd name="csY192" fmla="*/ 654205 h 2076207"/>
              <a:gd name="csX193" fmla="*/ 272412 w 729419"/>
              <a:gd name="csY193" fmla="*/ 657250 h 2076207"/>
              <a:gd name="csX194" fmla="*/ 349094 w 729419"/>
              <a:gd name="csY194" fmla="*/ 659282 h 2076207"/>
              <a:gd name="csX195" fmla="*/ 362996 w 729419"/>
              <a:gd name="csY195" fmla="*/ 644234 h 2076207"/>
              <a:gd name="csX196" fmla="*/ 348472 w 729419"/>
              <a:gd name="csY196" fmla="*/ 624649 h 2076207"/>
              <a:gd name="csX197" fmla="*/ 298865 w 729419"/>
              <a:gd name="csY197" fmla="*/ 621954 h 2076207"/>
              <a:gd name="csX198" fmla="*/ 227796 w 729419"/>
              <a:gd name="csY198" fmla="*/ 528000 h 2076207"/>
              <a:gd name="csX199" fmla="*/ 241009 w 729419"/>
              <a:gd name="csY199" fmla="*/ 545897 h 2076207"/>
              <a:gd name="csX200" fmla="*/ 282607 w 729419"/>
              <a:gd name="csY200" fmla="*/ 543480 h 2076207"/>
              <a:gd name="csX201" fmla="*/ 354213 w 729419"/>
              <a:gd name="csY201" fmla="*/ 543384 h 2076207"/>
              <a:gd name="csX202" fmla="*/ 365334 w 729419"/>
              <a:gd name="csY202" fmla="*/ 533397 h 2076207"/>
              <a:gd name="csX203" fmla="*/ 354531 w 729419"/>
              <a:gd name="csY203" fmla="*/ 521620 h 2076207"/>
              <a:gd name="csX204" fmla="*/ 259169 w 729419"/>
              <a:gd name="csY204" fmla="*/ 521978 h 2076207"/>
              <a:gd name="csX205" fmla="*/ 227796 w 729419"/>
              <a:gd name="csY205" fmla="*/ 528000 h 2076207"/>
              <a:gd name="csX206" fmla="*/ 508068 w 729419"/>
              <a:gd name="csY206" fmla="*/ 190710 h 2076207"/>
              <a:gd name="csX207" fmla="*/ 521293 w 729419"/>
              <a:gd name="csY207" fmla="*/ 205907 h 2076207"/>
              <a:gd name="csX208" fmla="*/ 525175 w 729419"/>
              <a:gd name="csY208" fmla="*/ 202985 h 2076207"/>
              <a:gd name="csX209" fmla="*/ 500276 w 729419"/>
              <a:gd name="csY209" fmla="*/ 160640 h 2076207"/>
              <a:gd name="csX210" fmla="*/ 497122 w 729419"/>
              <a:gd name="csY210" fmla="*/ 162007 h 2076207"/>
              <a:gd name="csX211" fmla="*/ 508068 w 729419"/>
              <a:gd name="csY211" fmla="*/ 190710 h 2076207"/>
              <a:gd name="csX212" fmla="*/ 215522 w 729419"/>
              <a:gd name="csY212" fmla="*/ 197296 h 2076207"/>
              <a:gd name="csX213" fmla="*/ 234029 w 729419"/>
              <a:gd name="csY213" fmla="*/ 162725 h 2076207"/>
              <a:gd name="csX214" fmla="*/ 229000 w 729419"/>
              <a:gd name="csY214" fmla="*/ 159902 h 2076207"/>
              <a:gd name="csX215" fmla="*/ 204824 w 729419"/>
              <a:gd name="csY215" fmla="*/ 199677 h 2076207"/>
              <a:gd name="csX216" fmla="*/ 207990 w 729419"/>
              <a:gd name="csY216" fmla="*/ 202198 h 2076207"/>
              <a:gd name="csX217" fmla="*/ 215522 w 729419"/>
              <a:gd name="csY217" fmla="*/ 197296 h 2076207"/>
              <a:gd name="csX218" fmla="*/ 484400 w 729419"/>
              <a:gd name="csY218" fmla="*/ 896678 h 2076207"/>
              <a:gd name="csX219" fmla="*/ 486181 w 729419"/>
              <a:gd name="csY219" fmla="*/ 896585 h 2076207"/>
              <a:gd name="csX220" fmla="*/ 486181 w 729419"/>
              <a:gd name="csY220" fmla="*/ 795289 h 2076207"/>
              <a:gd name="csX221" fmla="*/ 720241 w 729419"/>
              <a:gd name="csY221" fmla="*/ 2030666 h 2076207"/>
              <a:gd name="csX222" fmla="*/ 721175 w 729419"/>
              <a:gd name="csY222" fmla="*/ 2029733 h 2076207"/>
              <a:gd name="csX223" fmla="*/ 720241 w 729419"/>
              <a:gd name="csY223" fmla="*/ 2030666 h 2076207"/>
              <a:gd name="csX224" fmla="*/ 715702 w 729419"/>
              <a:gd name="csY224" fmla="*/ 2037051 h 2076207"/>
              <a:gd name="csX225" fmla="*/ 715702 w 729419"/>
              <a:gd name="csY225" fmla="*/ 2037051 h 2076207"/>
              <a:gd name="csX0" fmla="*/ 96263 w 748195"/>
              <a:gd name="csY0" fmla="*/ 2076207 h 2076207"/>
              <a:gd name="csX1" fmla="*/ 63862 w 748195"/>
              <a:gd name="csY1" fmla="*/ 2065388 h 2076207"/>
              <a:gd name="csX2" fmla="*/ 16555 w 748195"/>
              <a:gd name="csY2" fmla="*/ 2050152 h 2076207"/>
              <a:gd name="csX3" fmla="*/ 15 w 748195"/>
              <a:gd name="csY3" fmla="*/ 2023802 h 2076207"/>
              <a:gd name="csX4" fmla="*/ 18368 w 748195"/>
              <a:gd name="csY4" fmla="*/ 1940709 h 2076207"/>
              <a:gd name="csX5" fmla="*/ 22139 w 748195"/>
              <a:gd name="csY5" fmla="*/ 1907268 h 2076207"/>
              <a:gd name="csX6" fmla="*/ 57941 w 748195"/>
              <a:gd name="csY6" fmla="*/ 1774163 h 2076207"/>
              <a:gd name="csX7" fmla="*/ 102478 w 748195"/>
              <a:gd name="csY7" fmla="*/ 1720275 h 2076207"/>
              <a:gd name="csX8" fmla="*/ 108579 w 748195"/>
              <a:gd name="csY8" fmla="*/ 1650967 h 2076207"/>
              <a:gd name="csX9" fmla="*/ 115628 w 748195"/>
              <a:gd name="csY9" fmla="*/ 1625405 h 2076207"/>
              <a:gd name="csX10" fmla="*/ 156323 w 748195"/>
              <a:gd name="csY10" fmla="*/ 1560181 h 2076207"/>
              <a:gd name="csX11" fmla="*/ 199424 w 748195"/>
              <a:gd name="csY11" fmla="*/ 1364729 h 2076207"/>
              <a:gd name="csX12" fmla="*/ 216779 w 748195"/>
              <a:gd name="csY12" fmla="*/ 1219490 h 2076207"/>
              <a:gd name="csX13" fmla="*/ 229755 w 748195"/>
              <a:gd name="csY13" fmla="*/ 1099357 h 2076207"/>
              <a:gd name="csX14" fmla="*/ 232707 w 748195"/>
              <a:gd name="csY14" fmla="*/ 1056423 h 2076207"/>
              <a:gd name="csX15" fmla="*/ 235622 w 748195"/>
              <a:gd name="csY15" fmla="*/ 952675 h 2076207"/>
              <a:gd name="csX16" fmla="*/ 235445 w 748195"/>
              <a:gd name="csY16" fmla="*/ 780278 h 2076207"/>
              <a:gd name="csX17" fmla="*/ 214544 w 748195"/>
              <a:gd name="csY17" fmla="*/ 756435 h 2076207"/>
              <a:gd name="csX18" fmla="*/ 172569 w 748195"/>
              <a:gd name="csY18" fmla="*/ 742582 h 2076207"/>
              <a:gd name="csX19" fmla="*/ 168784 w 748195"/>
              <a:gd name="csY19" fmla="*/ 669116 h 2076207"/>
              <a:gd name="csX20" fmla="*/ 191657 w 748195"/>
              <a:gd name="csY20" fmla="*/ 630765 h 2076207"/>
              <a:gd name="csX21" fmla="*/ 208150 w 748195"/>
              <a:gd name="csY21" fmla="*/ 609084 h 2076207"/>
              <a:gd name="csX22" fmla="*/ 216756 w 748195"/>
              <a:gd name="csY22" fmla="*/ 558673 h 2076207"/>
              <a:gd name="csX23" fmla="*/ 209092 w 748195"/>
              <a:gd name="csY23" fmla="*/ 521540 h 2076207"/>
              <a:gd name="csX24" fmla="*/ 204683 w 748195"/>
              <a:gd name="csY24" fmla="*/ 474024 h 2076207"/>
              <a:gd name="csX25" fmla="*/ 115483 w 748195"/>
              <a:gd name="csY25" fmla="*/ 213499 h 2076207"/>
              <a:gd name="csX26" fmla="*/ 102909 w 748195"/>
              <a:gd name="csY26" fmla="*/ 182297 h 2076207"/>
              <a:gd name="csX27" fmla="*/ 104315 w 748195"/>
              <a:gd name="csY27" fmla="*/ 163968 h 2076207"/>
              <a:gd name="csX28" fmla="*/ 122444 w 748195"/>
              <a:gd name="csY28" fmla="*/ 160805 h 2076207"/>
              <a:gd name="csX29" fmla="*/ 170283 w 748195"/>
              <a:gd name="csY29" fmla="*/ 187783 h 2076207"/>
              <a:gd name="csX30" fmla="*/ 180938 w 748195"/>
              <a:gd name="csY30" fmla="*/ 195322 h 2076207"/>
              <a:gd name="csX31" fmla="*/ 221419 w 748195"/>
              <a:gd name="csY31" fmla="*/ 138058 h 2076207"/>
              <a:gd name="csX32" fmla="*/ 294099 w 748195"/>
              <a:gd name="csY32" fmla="*/ 91372 h 2076207"/>
              <a:gd name="csX33" fmla="*/ 302307 w 748195"/>
              <a:gd name="csY33" fmla="*/ 76560 h 2076207"/>
              <a:gd name="csX34" fmla="*/ 320284 w 748195"/>
              <a:gd name="csY34" fmla="*/ 8414 h 2076207"/>
              <a:gd name="csX35" fmla="*/ 324784 w 748195"/>
              <a:gd name="csY35" fmla="*/ 946 h 2076207"/>
              <a:gd name="csX36" fmla="*/ 399212 w 748195"/>
              <a:gd name="csY36" fmla="*/ 0 h 2076207"/>
              <a:gd name="csX37" fmla="*/ 425980 w 748195"/>
              <a:gd name="csY37" fmla="*/ 78301 h 2076207"/>
              <a:gd name="csX38" fmla="*/ 431861 w 748195"/>
              <a:gd name="csY38" fmla="*/ 90312 h 2076207"/>
              <a:gd name="csX39" fmla="*/ 540349 w 748195"/>
              <a:gd name="csY39" fmla="*/ 187946 h 2076207"/>
              <a:gd name="csX40" fmla="*/ 545555 w 748195"/>
              <a:gd name="csY40" fmla="*/ 197828 h 2076207"/>
              <a:gd name="csX41" fmla="*/ 587318 w 748195"/>
              <a:gd name="csY41" fmla="*/ 171260 h 2076207"/>
              <a:gd name="csX42" fmla="*/ 601503 w 748195"/>
              <a:gd name="csY42" fmla="*/ 163707 h 2076207"/>
              <a:gd name="csX43" fmla="*/ 625254 w 748195"/>
              <a:gd name="csY43" fmla="*/ 163123 h 2076207"/>
              <a:gd name="csX44" fmla="*/ 625468 w 748195"/>
              <a:gd name="csY44" fmla="*/ 187579 h 2076207"/>
              <a:gd name="csX45" fmla="*/ 597543 w 748195"/>
              <a:gd name="csY45" fmla="*/ 251872 h 2076207"/>
              <a:gd name="csX46" fmla="*/ 531831 w 748195"/>
              <a:gd name="csY46" fmla="*/ 442689 h 2076207"/>
              <a:gd name="csX47" fmla="*/ 519888 w 748195"/>
              <a:gd name="csY47" fmla="*/ 501474 h 2076207"/>
              <a:gd name="csX48" fmla="*/ 522506 w 748195"/>
              <a:gd name="csY48" fmla="*/ 525086 h 2076207"/>
              <a:gd name="csX49" fmla="*/ 516235 w 748195"/>
              <a:gd name="csY49" fmla="*/ 555946 h 2076207"/>
              <a:gd name="csX50" fmla="*/ 521332 w 748195"/>
              <a:gd name="csY50" fmla="*/ 610676 h 2076207"/>
              <a:gd name="csX51" fmla="*/ 541382 w 748195"/>
              <a:gd name="csY51" fmla="*/ 642597 h 2076207"/>
              <a:gd name="csX52" fmla="*/ 557031 w 748195"/>
              <a:gd name="csY52" fmla="*/ 667949 h 2076207"/>
              <a:gd name="csX53" fmla="*/ 553994 w 748195"/>
              <a:gd name="csY53" fmla="*/ 744146 h 2076207"/>
              <a:gd name="csX54" fmla="*/ 508215 w 748195"/>
              <a:gd name="csY54" fmla="*/ 758841 h 2076207"/>
              <a:gd name="csX55" fmla="*/ 497442 w 748195"/>
              <a:gd name="csY55" fmla="*/ 771256 h 2076207"/>
              <a:gd name="csX56" fmla="*/ 493005 w 748195"/>
              <a:gd name="csY56" fmla="*/ 922055 h 2076207"/>
              <a:gd name="csX57" fmla="*/ 502900 w 748195"/>
              <a:gd name="csY57" fmla="*/ 1114191 h 2076207"/>
              <a:gd name="csX58" fmla="*/ 508800 w 748195"/>
              <a:gd name="csY58" fmla="*/ 1205474 h 2076207"/>
              <a:gd name="csX59" fmla="*/ 522952 w 748195"/>
              <a:gd name="csY59" fmla="*/ 1320065 h 2076207"/>
              <a:gd name="csX60" fmla="*/ 554682 w 748195"/>
              <a:gd name="csY60" fmla="*/ 1501203 h 2076207"/>
              <a:gd name="csX61" fmla="*/ 576958 w 748195"/>
              <a:gd name="csY61" fmla="*/ 1593963 h 2076207"/>
              <a:gd name="csX62" fmla="*/ 595349 w 748195"/>
              <a:gd name="csY62" fmla="*/ 1613498 h 2076207"/>
              <a:gd name="csX63" fmla="*/ 613936 w 748195"/>
              <a:gd name="csY63" fmla="*/ 1624058 h 2076207"/>
              <a:gd name="csX64" fmla="*/ 620938 w 748195"/>
              <a:gd name="csY64" fmla="*/ 1652071 h 2076207"/>
              <a:gd name="csX65" fmla="*/ 630805 w 748195"/>
              <a:gd name="csY65" fmla="*/ 1721702 h 2076207"/>
              <a:gd name="csX66" fmla="*/ 685830 w 748195"/>
              <a:gd name="csY66" fmla="*/ 1792915 h 2076207"/>
              <a:gd name="csX67" fmla="*/ 708904 w 748195"/>
              <a:gd name="csY67" fmla="*/ 1890290 h 2076207"/>
              <a:gd name="csX68" fmla="*/ 716580 w 748195"/>
              <a:gd name="csY68" fmla="*/ 1951136 h 2076207"/>
              <a:gd name="csX69" fmla="*/ 729397 w 748195"/>
              <a:gd name="csY69" fmla="*/ 2030261 h 2076207"/>
              <a:gd name="csX70" fmla="*/ 714212 w 748195"/>
              <a:gd name="csY70" fmla="*/ 2049544 h 2076207"/>
              <a:gd name="csX71" fmla="*/ 645428 w 748195"/>
              <a:gd name="csY71" fmla="*/ 2070825 h 2076207"/>
              <a:gd name="csX72" fmla="*/ 635822 w 748195"/>
              <a:gd name="csY72" fmla="*/ 2075145 h 2076207"/>
              <a:gd name="csX73" fmla="*/ 588428 w 748195"/>
              <a:gd name="csY73" fmla="*/ 2075144 h 2076207"/>
              <a:gd name="csX74" fmla="*/ 590041 w 748195"/>
              <a:gd name="csY74" fmla="*/ 2071383 h 2076207"/>
              <a:gd name="csX75" fmla="*/ 667788 w 748195"/>
              <a:gd name="csY75" fmla="*/ 2056852 h 2076207"/>
              <a:gd name="csX76" fmla="*/ 706629 w 748195"/>
              <a:gd name="csY76" fmla="*/ 2044290 h 2076207"/>
              <a:gd name="csX77" fmla="*/ 702674 w 748195"/>
              <a:gd name="csY77" fmla="*/ 2041581 h 2076207"/>
              <a:gd name="csX78" fmla="*/ 96263 w 748195"/>
              <a:gd name="csY78" fmla="*/ 2076207 h 2076207"/>
              <a:gd name="csX79" fmla="*/ 489970 w 748195"/>
              <a:gd name="csY79" fmla="*/ 152208 h 2076207"/>
              <a:gd name="csX80" fmla="*/ 490754 w 748195"/>
              <a:gd name="csY80" fmla="*/ 152592 h 2076207"/>
              <a:gd name="csX81" fmla="*/ 489489 w 748195"/>
              <a:gd name="csY81" fmla="*/ 149547 h 2076207"/>
              <a:gd name="csX82" fmla="*/ 393621 w 748195"/>
              <a:gd name="csY82" fmla="*/ 99259 h 2076207"/>
              <a:gd name="csX83" fmla="*/ 390419 w 748195"/>
              <a:gd name="csY83" fmla="*/ 18568 h 2076207"/>
              <a:gd name="csX84" fmla="*/ 334131 w 748195"/>
              <a:gd name="csY84" fmla="*/ 24327 h 2076207"/>
              <a:gd name="csX85" fmla="*/ 344678 w 748195"/>
              <a:gd name="csY85" fmla="*/ 101259 h 2076207"/>
              <a:gd name="csX86" fmla="*/ 298854 w 748195"/>
              <a:gd name="csY86" fmla="*/ 114003 h 2076207"/>
              <a:gd name="csX87" fmla="*/ 237456 w 748195"/>
              <a:gd name="csY87" fmla="*/ 154340 h 2076207"/>
              <a:gd name="csX88" fmla="*/ 240382 w 748195"/>
              <a:gd name="csY88" fmla="*/ 154035 h 2076207"/>
              <a:gd name="csX89" fmla="*/ 262731 w 748195"/>
              <a:gd name="csY89" fmla="*/ 170426 h 2076207"/>
              <a:gd name="csX90" fmla="*/ 279169 w 748195"/>
              <a:gd name="csY90" fmla="*/ 193173 h 2076207"/>
              <a:gd name="csX91" fmla="*/ 327717 w 748195"/>
              <a:gd name="csY91" fmla="*/ 188556 h 2076207"/>
              <a:gd name="csX92" fmla="*/ 348052 w 748195"/>
              <a:gd name="csY92" fmla="*/ 156919 h 2076207"/>
              <a:gd name="csX93" fmla="*/ 380330 w 748195"/>
              <a:gd name="csY93" fmla="*/ 156483 h 2076207"/>
              <a:gd name="csX94" fmla="*/ 408490 w 748195"/>
              <a:gd name="csY94" fmla="*/ 195400 h 2076207"/>
              <a:gd name="csX95" fmla="*/ 445346 w 748195"/>
              <a:gd name="csY95" fmla="*/ 197582 h 2076207"/>
              <a:gd name="csX96" fmla="*/ 464798 w 748195"/>
              <a:gd name="csY96" fmla="*/ 174107 h 2076207"/>
              <a:gd name="csX97" fmla="*/ 489970 w 748195"/>
              <a:gd name="csY97" fmla="*/ 152208 h 2076207"/>
              <a:gd name="csX98" fmla="*/ 140694 w 748195"/>
              <a:gd name="csY98" fmla="*/ 201837 h 2076207"/>
              <a:gd name="csX99" fmla="*/ 139834 w 748195"/>
              <a:gd name="csY99" fmla="*/ 201482 h 2076207"/>
              <a:gd name="csX100" fmla="*/ 140812 w 748195"/>
              <a:gd name="csY100" fmla="*/ 204941 h 2076207"/>
              <a:gd name="csX101" fmla="*/ 144631 w 748195"/>
              <a:gd name="csY101" fmla="*/ 217811 h 2076207"/>
              <a:gd name="csX102" fmla="*/ 201241 w 748195"/>
              <a:gd name="csY102" fmla="*/ 373387 h 2076207"/>
              <a:gd name="csX103" fmla="*/ 235971 w 748195"/>
              <a:gd name="csY103" fmla="*/ 504451 h 2076207"/>
              <a:gd name="csX104" fmla="*/ 247475 w 748195"/>
              <a:gd name="csY104" fmla="*/ 513241 h 2076207"/>
              <a:gd name="csX105" fmla="*/ 289066 w 748195"/>
              <a:gd name="csY105" fmla="*/ 511170 h 2076207"/>
              <a:gd name="csX106" fmla="*/ 378229 w 748195"/>
              <a:gd name="csY106" fmla="*/ 511084 h 2076207"/>
              <a:gd name="csX107" fmla="*/ 470850 w 748195"/>
              <a:gd name="csY107" fmla="*/ 516341 h 2076207"/>
              <a:gd name="csX108" fmla="*/ 492933 w 748195"/>
              <a:gd name="csY108" fmla="*/ 497969 h 2076207"/>
              <a:gd name="csX109" fmla="*/ 557617 w 748195"/>
              <a:gd name="csY109" fmla="*/ 280398 h 2076207"/>
              <a:gd name="csX110" fmla="*/ 588788 w 748195"/>
              <a:gd name="csY110" fmla="*/ 200385 h 2076207"/>
              <a:gd name="csX111" fmla="*/ 530958 w 748195"/>
              <a:gd name="csY111" fmla="*/ 232968 h 2076207"/>
              <a:gd name="csX112" fmla="*/ 483823 w 748195"/>
              <a:gd name="csY112" fmla="*/ 190364 h 2076207"/>
              <a:gd name="csX113" fmla="*/ 466649 w 748195"/>
              <a:gd name="csY113" fmla="*/ 209061 h 2076207"/>
              <a:gd name="csX114" fmla="*/ 399941 w 748195"/>
              <a:gd name="csY114" fmla="*/ 216988 h 2076207"/>
              <a:gd name="csX115" fmla="*/ 363018 w 748195"/>
              <a:gd name="csY115" fmla="*/ 179615 h 2076207"/>
              <a:gd name="csX116" fmla="*/ 308839 w 748195"/>
              <a:gd name="csY116" fmla="*/ 227846 h 2076207"/>
              <a:gd name="csX117" fmla="*/ 245077 w 748195"/>
              <a:gd name="csY117" fmla="*/ 192402 h 2076207"/>
              <a:gd name="csX118" fmla="*/ 242829 w 748195"/>
              <a:gd name="csY118" fmla="*/ 198815 h 2076207"/>
              <a:gd name="csX119" fmla="*/ 168452 w 748195"/>
              <a:gd name="csY119" fmla="*/ 219348 h 2076207"/>
              <a:gd name="csX120" fmla="*/ 140694 w 748195"/>
              <a:gd name="csY120" fmla="*/ 201837 h 2076207"/>
              <a:gd name="csX121" fmla="*/ 259999 w 748195"/>
              <a:gd name="csY121" fmla="*/ 966699 h 2076207"/>
              <a:gd name="csX122" fmla="*/ 257072 w 748195"/>
              <a:gd name="csY122" fmla="*/ 1070424 h 2076207"/>
              <a:gd name="csX123" fmla="*/ 251372 w 748195"/>
              <a:gd name="csY123" fmla="*/ 1157618 h 2076207"/>
              <a:gd name="csX124" fmla="*/ 232677 w 748195"/>
              <a:gd name="csY124" fmla="*/ 1320279 h 2076207"/>
              <a:gd name="csX125" fmla="*/ 209182 w 748195"/>
              <a:gd name="csY125" fmla="*/ 1468667 h 2076207"/>
              <a:gd name="csX126" fmla="*/ 175302 w 748195"/>
              <a:gd name="csY126" fmla="*/ 1616623 h 2076207"/>
              <a:gd name="csX127" fmla="*/ 182769 w 748195"/>
              <a:gd name="csY127" fmla="*/ 1629786 h 2076207"/>
              <a:gd name="csX128" fmla="*/ 212156 w 748195"/>
              <a:gd name="csY128" fmla="*/ 1632656 h 2076207"/>
              <a:gd name="csX129" fmla="*/ 351295 w 748195"/>
              <a:gd name="csY129" fmla="*/ 1632801 h 2076207"/>
              <a:gd name="csX130" fmla="*/ 376150 w 748195"/>
              <a:gd name="csY130" fmla="*/ 1608307 h 2076207"/>
              <a:gd name="csX131" fmla="*/ 373450 w 748195"/>
              <a:gd name="csY131" fmla="*/ 1457291 h 2076207"/>
              <a:gd name="csX132" fmla="*/ 370936 w 748195"/>
              <a:gd name="csY132" fmla="*/ 1342736 h 2076207"/>
              <a:gd name="csX133" fmla="*/ 368328 w 748195"/>
              <a:gd name="csY133" fmla="*/ 1203878 h 2076207"/>
              <a:gd name="csX134" fmla="*/ 367836 w 748195"/>
              <a:gd name="csY134" fmla="*/ 813478 h 2076207"/>
              <a:gd name="csX135" fmla="*/ 365240 w 748195"/>
              <a:gd name="csY135" fmla="*/ 773243 h 2076207"/>
              <a:gd name="csX136" fmla="*/ 353084 w 748195"/>
              <a:gd name="csY136" fmla="*/ 762083 h 2076207"/>
              <a:gd name="csX137" fmla="*/ 280966 w 748195"/>
              <a:gd name="csY137" fmla="*/ 759855 h 2076207"/>
              <a:gd name="csX138" fmla="*/ 259965 w 748195"/>
              <a:gd name="csY138" fmla="*/ 779553 h 2076207"/>
              <a:gd name="csX139" fmla="*/ 262341 w 748195"/>
              <a:gd name="csY139" fmla="*/ 856275 h 2076207"/>
              <a:gd name="csX140" fmla="*/ 259999 w 748195"/>
              <a:gd name="csY140" fmla="*/ 966699 h 2076207"/>
              <a:gd name="csX141" fmla="*/ 55556 w 748195"/>
              <a:gd name="csY141" fmla="*/ 1835827 h 2076207"/>
              <a:gd name="csX142" fmla="*/ 49393 w 748195"/>
              <a:gd name="csY142" fmla="*/ 1878155 h 2076207"/>
              <a:gd name="csX143" fmla="*/ 73949 w 748195"/>
              <a:gd name="csY143" fmla="*/ 1905781 h 2076207"/>
              <a:gd name="csX144" fmla="*/ 110073 w 748195"/>
              <a:gd name="csY144" fmla="*/ 1909068 h 2076207"/>
              <a:gd name="csX145" fmla="*/ 224745 w 748195"/>
              <a:gd name="csY145" fmla="*/ 1921652 h 2076207"/>
              <a:gd name="csX146" fmla="*/ 347327 w 748195"/>
              <a:gd name="csY146" fmla="*/ 1924778 h 2076207"/>
              <a:gd name="csX147" fmla="*/ 363345 w 748195"/>
              <a:gd name="csY147" fmla="*/ 1923293 h 2076207"/>
              <a:gd name="csX148" fmla="*/ 373787 w 748195"/>
              <a:gd name="csY148" fmla="*/ 1911200 h 2076207"/>
              <a:gd name="csX149" fmla="*/ 376623 w 748195"/>
              <a:gd name="csY149" fmla="*/ 1696741 h 2076207"/>
              <a:gd name="csX150" fmla="*/ 360437 w 748195"/>
              <a:gd name="csY150" fmla="*/ 1681289 h 2076207"/>
              <a:gd name="csX151" fmla="*/ 263503 w 748195"/>
              <a:gd name="csY151" fmla="*/ 1678179 h 2076207"/>
              <a:gd name="csX152" fmla="*/ 160381 w 748195"/>
              <a:gd name="csY152" fmla="*/ 1670405 h 2076207"/>
              <a:gd name="csX153" fmla="*/ 143321 w 748195"/>
              <a:gd name="csY153" fmla="*/ 1685538 h 2076207"/>
              <a:gd name="csX154" fmla="*/ 124769 w 748195"/>
              <a:gd name="csY154" fmla="*/ 1738195 h 2076207"/>
              <a:gd name="csX155" fmla="*/ 90593 w 748195"/>
              <a:gd name="csY155" fmla="*/ 1779570 h 2076207"/>
              <a:gd name="csX156" fmla="*/ 55556 w 748195"/>
              <a:gd name="csY156" fmla="*/ 1835827 h 2076207"/>
              <a:gd name="csX157" fmla="*/ 378900 w 748195"/>
              <a:gd name="csY157" fmla="*/ 2007280 h 2076207"/>
              <a:gd name="csX158" fmla="*/ 378887 w 748195"/>
              <a:gd name="csY158" fmla="*/ 1995127 h 2076207"/>
              <a:gd name="csX159" fmla="*/ 359084 w 748195"/>
              <a:gd name="csY159" fmla="*/ 1975964 h 2076207"/>
              <a:gd name="csX160" fmla="*/ 247288 w 748195"/>
              <a:gd name="csY160" fmla="*/ 1973305 h 2076207"/>
              <a:gd name="csX161" fmla="*/ 201692 w 748195"/>
              <a:gd name="csY161" fmla="*/ 1970275 h 2076207"/>
              <a:gd name="csX162" fmla="*/ 57962 w 748195"/>
              <a:gd name="csY162" fmla="*/ 1952648 h 2076207"/>
              <a:gd name="csX163" fmla="*/ 39194 w 748195"/>
              <a:gd name="csY163" fmla="*/ 1963552 h 2076207"/>
              <a:gd name="csX164" fmla="*/ 30066 w 748195"/>
              <a:gd name="csY164" fmla="*/ 2006631 h 2076207"/>
              <a:gd name="csX165" fmla="*/ 40232 w 748195"/>
              <a:gd name="csY165" fmla="*/ 2019486 h 2076207"/>
              <a:gd name="csX166" fmla="*/ 238186 w 748195"/>
              <a:gd name="csY166" fmla="*/ 2046096 h 2076207"/>
              <a:gd name="csX167" fmla="*/ 342155 w 748195"/>
              <a:gd name="csY167" fmla="*/ 2046441 h 2076207"/>
              <a:gd name="csX168" fmla="*/ 378900 w 748195"/>
              <a:gd name="csY168" fmla="*/ 2007280 h 2076207"/>
              <a:gd name="csX169" fmla="*/ 310220 w 748195"/>
              <a:gd name="csY169" fmla="*/ 554288 h 2076207"/>
              <a:gd name="csX170" fmla="*/ 259136 w 748195"/>
              <a:gd name="csY170" fmla="*/ 556881 h 2076207"/>
              <a:gd name="csX171" fmla="*/ 249085 w 748195"/>
              <a:gd name="csY171" fmla="*/ 567981 h 2076207"/>
              <a:gd name="csX172" fmla="*/ 249141 w 748195"/>
              <a:gd name="csY172" fmla="*/ 605644 h 2076207"/>
              <a:gd name="csX173" fmla="*/ 262628 w 748195"/>
              <a:gd name="csY173" fmla="*/ 605627 h 2076207"/>
              <a:gd name="csX174" fmla="*/ 369608 w 748195"/>
              <a:gd name="csY174" fmla="*/ 603027 h 2076207"/>
              <a:gd name="csX175" fmla="*/ 463931 w 748195"/>
              <a:gd name="csY175" fmla="*/ 605146 h 2076207"/>
              <a:gd name="csX176" fmla="*/ 478113 w 748195"/>
              <a:gd name="csY176" fmla="*/ 595843 h 2076207"/>
              <a:gd name="csX177" fmla="*/ 478796 w 748195"/>
              <a:gd name="csY177" fmla="*/ 556832 h 2076207"/>
              <a:gd name="csX178" fmla="*/ 310220 w 748195"/>
              <a:gd name="csY178" fmla="*/ 554288 h 2076207"/>
              <a:gd name="csX179" fmla="*/ 348836 w 748195"/>
              <a:gd name="csY179" fmla="*/ 684115 h 2076207"/>
              <a:gd name="csX180" fmla="*/ 281333 w 748195"/>
              <a:gd name="csY180" fmla="*/ 683313 h 2076207"/>
              <a:gd name="csX181" fmla="*/ 212728 w 748195"/>
              <a:gd name="csY181" fmla="*/ 681931 h 2076207"/>
              <a:gd name="csX182" fmla="*/ 187283 w 748195"/>
              <a:gd name="csY182" fmla="*/ 689555 h 2076207"/>
              <a:gd name="csX183" fmla="*/ 186163 w 748195"/>
              <a:gd name="csY183" fmla="*/ 718266 h 2076207"/>
              <a:gd name="csX184" fmla="*/ 209894 w 748195"/>
              <a:gd name="csY184" fmla="*/ 726798 h 2076207"/>
              <a:gd name="csX185" fmla="*/ 334814 w 748195"/>
              <a:gd name="csY185" fmla="*/ 732494 h 2076207"/>
              <a:gd name="csX186" fmla="*/ 364856 w 748195"/>
              <a:gd name="csY186" fmla="*/ 707963 h 2076207"/>
              <a:gd name="csX187" fmla="*/ 348836 w 748195"/>
              <a:gd name="csY187" fmla="*/ 684115 h 2076207"/>
              <a:gd name="csX188" fmla="*/ 298865 w 748195"/>
              <a:gd name="csY188" fmla="*/ 621954 h 2076207"/>
              <a:gd name="csX189" fmla="*/ 251619 w 748195"/>
              <a:gd name="csY189" fmla="*/ 622133 h 2076207"/>
              <a:gd name="csX190" fmla="*/ 214459 w 748195"/>
              <a:gd name="csY190" fmla="*/ 636230 h 2076207"/>
              <a:gd name="csX191" fmla="*/ 221436 w 748195"/>
              <a:gd name="csY191" fmla="*/ 654205 h 2076207"/>
              <a:gd name="csX192" fmla="*/ 272412 w 748195"/>
              <a:gd name="csY192" fmla="*/ 657250 h 2076207"/>
              <a:gd name="csX193" fmla="*/ 349094 w 748195"/>
              <a:gd name="csY193" fmla="*/ 659282 h 2076207"/>
              <a:gd name="csX194" fmla="*/ 362996 w 748195"/>
              <a:gd name="csY194" fmla="*/ 644234 h 2076207"/>
              <a:gd name="csX195" fmla="*/ 348472 w 748195"/>
              <a:gd name="csY195" fmla="*/ 624649 h 2076207"/>
              <a:gd name="csX196" fmla="*/ 298865 w 748195"/>
              <a:gd name="csY196" fmla="*/ 621954 h 2076207"/>
              <a:gd name="csX197" fmla="*/ 227796 w 748195"/>
              <a:gd name="csY197" fmla="*/ 528000 h 2076207"/>
              <a:gd name="csX198" fmla="*/ 241009 w 748195"/>
              <a:gd name="csY198" fmla="*/ 545897 h 2076207"/>
              <a:gd name="csX199" fmla="*/ 282607 w 748195"/>
              <a:gd name="csY199" fmla="*/ 543480 h 2076207"/>
              <a:gd name="csX200" fmla="*/ 354213 w 748195"/>
              <a:gd name="csY200" fmla="*/ 543384 h 2076207"/>
              <a:gd name="csX201" fmla="*/ 365334 w 748195"/>
              <a:gd name="csY201" fmla="*/ 533397 h 2076207"/>
              <a:gd name="csX202" fmla="*/ 354531 w 748195"/>
              <a:gd name="csY202" fmla="*/ 521620 h 2076207"/>
              <a:gd name="csX203" fmla="*/ 259169 w 748195"/>
              <a:gd name="csY203" fmla="*/ 521978 h 2076207"/>
              <a:gd name="csX204" fmla="*/ 227796 w 748195"/>
              <a:gd name="csY204" fmla="*/ 528000 h 2076207"/>
              <a:gd name="csX205" fmla="*/ 508068 w 748195"/>
              <a:gd name="csY205" fmla="*/ 190710 h 2076207"/>
              <a:gd name="csX206" fmla="*/ 521293 w 748195"/>
              <a:gd name="csY206" fmla="*/ 205907 h 2076207"/>
              <a:gd name="csX207" fmla="*/ 525175 w 748195"/>
              <a:gd name="csY207" fmla="*/ 202985 h 2076207"/>
              <a:gd name="csX208" fmla="*/ 500276 w 748195"/>
              <a:gd name="csY208" fmla="*/ 160640 h 2076207"/>
              <a:gd name="csX209" fmla="*/ 497122 w 748195"/>
              <a:gd name="csY209" fmla="*/ 162007 h 2076207"/>
              <a:gd name="csX210" fmla="*/ 508068 w 748195"/>
              <a:gd name="csY210" fmla="*/ 190710 h 2076207"/>
              <a:gd name="csX211" fmla="*/ 215522 w 748195"/>
              <a:gd name="csY211" fmla="*/ 197296 h 2076207"/>
              <a:gd name="csX212" fmla="*/ 234029 w 748195"/>
              <a:gd name="csY212" fmla="*/ 162725 h 2076207"/>
              <a:gd name="csX213" fmla="*/ 229000 w 748195"/>
              <a:gd name="csY213" fmla="*/ 159902 h 2076207"/>
              <a:gd name="csX214" fmla="*/ 204824 w 748195"/>
              <a:gd name="csY214" fmla="*/ 199677 h 2076207"/>
              <a:gd name="csX215" fmla="*/ 207990 w 748195"/>
              <a:gd name="csY215" fmla="*/ 202198 h 2076207"/>
              <a:gd name="csX216" fmla="*/ 215522 w 748195"/>
              <a:gd name="csY216" fmla="*/ 197296 h 2076207"/>
              <a:gd name="csX217" fmla="*/ 484400 w 748195"/>
              <a:gd name="csY217" fmla="*/ 896678 h 2076207"/>
              <a:gd name="csX218" fmla="*/ 486181 w 748195"/>
              <a:gd name="csY218" fmla="*/ 896585 h 2076207"/>
              <a:gd name="csX219" fmla="*/ 486181 w 748195"/>
              <a:gd name="csY219" fmla="*/ 795289 h 2076207"/>
              <a:gd name="csX220" fmla="*/ 720241 w 748195"/>
              <a:gd name="csY220" fmla="*/ 2030666 h 2076207"/>
              <a:gd name="csX221" fmla="*/ 721175 w 748195"/>
              <a:gd name="csY221" fmla="*/ 2029733 h 2076207"/>
              <a:gd name="csX222" fmla="*/ 720241 w 748195"/>
              <a:gd name="csY222" fmla="*/ 2030666 h 2076207"/>
              <a:gd name="csX223" fmla="*/ 715702 w 748195"/>
              <a:gd name="csY223" fmla="*/ 2037051 h 2076207"/>
              <a:gd name="csX224" fmla="*/ 715702 w 748195"/>
              <a:gd name="csY224" fmla="*/ 2037051 h 2076207"/>
              <a:gd name="csX0" fmla="*/ 96263 w 748195"/>
              <a:gd name="csY0" fmla="*/ 2076207 h 2076207"/>
              <a:gd name="csX1" fmla="*/ 63862 w 748195"/>
              <a:gd name="csY1" fmla="*/ 2065388 h 2076207"/>
              <a:gd name="csX2" fmla="*/ 16555 w 748195"/>
              <a:gd name="csY2" fmla="*/ 2050152 h 2076207"/>
              <a:gd name="csX3" fmla="*/ 15 w 748195"/>
              <a:gd name="csY3" fmla="*/ 2023802 h 2076207"/>
              <a:gd name="csX4" fmla="*/ 18368 w 748195"/>
              <a:gd name="csY4" fmla="*/ 1940709 h 2076207"/>
              <a:gd name="csX5" fmla="*/ 22139 w 748195"/>
              <a:gd name="csY5" fmla="*/ 1907268 h 2076207"/>
              <a:gd name="csX6" fmla="*/ 57941 w 748195"/>
              <a:gd name="csY6" fmla="*/ 1774163 h 2076207"/>
              <a:gd name="csX7" fmla="*/ 102478 w 748195"/>
              <a:gd name="csY7" fmla="*/ 1720275 h 2076207"/>
              <a:gd name="csX8" fmla="*/ 108579 w 748195"/>
              <a:gd name="csY8" fmla="*/ 1650967 h 2076207"/>
              <a:gd name="csX9" fmla="*/ 115628 w 748195"/>
              <a:gd name="csY9" fmla="*/ 1625405 h 2076207"/>
              <a:gd name="csX10" fmla="*/ 156323 w 748195"/>
              <a:gd name="csY10" fmla="*/ 1560181 h 2076207"/>
              <a:gd name="csX11" fmla="*/ 199424 w 748195"/>
              <a:gd name="csY11" fmla="*/ 1364729 h 2076207"/>
              <a:gd name="csX12" fmla="*/ 216779 w 748195"/>
              <a:gd name="csY12" fmla="*/ 1219490 h 2076207"/>
              <a:gd name="csX13" fmla="*/ 229755 w 748195"/>
              <a:gd name="csY13" fmla="*/ 1099357 h 2076207"/>
              <a:gd name="csX14" fmla="*/ 232707 w 748195"/>
              <a:gd name="csY14" fmla="*/ 1056423 h 2076207"/>
              <a:gd name="csX15" fmla="*/ 235622 w 748195"/>
              <a:gd name="csY15" fmla="*/ 952675 h 2076207"/>
              <a:gd name="csX16" fmla="*/ 235445 w 748195"/>
              <a:gd name="csY16" fmla="*/ 780278 h 2076207"/>
              <a:gd name="csX17" fmla="*/ 214544 w 748195"/>
              <a:gd name="csY17" fmla="*/ 756435 h 2076207"/>
              <a:gd name="csX18" fmla="*/ 172569 w 748195"/>
              <a:gd name="csY18" fmla="*/ 742582 h 2076207"/>
              <a:gd name="csX19" fmla="*/ 168784 w 748195"/>
              <a:gd name="csY19" fmla="*/ 669116 h 2076207"/>
              <a:gd name="csX20" fmla="*/ 191657 w 748195"/>
              <a:gd name="csY20" fmla="*/ 630765 h 2076207"/>
              <a:gd name="csX21" fmla="*/ 208150 w 748195"/>
              <a:gd name="csY21" fmla="*/ 609084 h 2076207"/>
              <a:gd name="csX22" fmla="*/ 216756 w 748195"/>
              <a:gd name="csY22" fmla="*/ 558673 h 2076207"/>
              <a:gd name="csX23" fmla="*/ 209092 w 748195"/>
              <a:gd name="csY23" fmla="*/ 521540 h 2076207"/>
              <a:gd name="csX24" fmla="*/ 204683 w 748195"/>
              <a:gd name="csY24" fmla="*/ 474024 h 2076207"/>
              <a:gd name="csX25" fmla="*/ 115483 w 748195"/>
              <a:gd name="csY25" fmla="*/ 213499 h 2076207"/>
              <a:gd name="csX26" fmla="*/ 102909 w 748195"/>
              <a:gd name="csY26" fmla="*/ 182297 h 2076207"/>
              <a:gd name="csX27" fmla="*/ 104315 w 748195"/>
              <a:gd name="csY27" fmla="*/ 163968 h 2076207"/>
              <a:gd name="csX28" fmla="*/ 122444 w 748195"/>
              <a:gd name="csY28" fmla="*/ 160805 h 2076207"/>
              <a:gd name="csX29" fmla="*/ 170283 w 748195"/>
              <a:gd name="csY29" fmla="*/ 187783 h 2076207"/>
              <a:gd name="csX30" fmla="*/ 180938 w 748195"/>
              <a:gd name="csY30" fmla="*/ 195322 h 2076207"/>
              <a:gd name="csX31" fmla="*/ 221419 w 748195"/>
              <a:gd name="csY31" fmla="*/ 138058 h 2076207"/>
              <a:gd name="csX32" fmla="*/ 294099 w 748195"/>
              <a:gd name="csY32" fmla="*/ 91372 h 2076207"/>
              <a:gd name="csX33" fmla="*/ 302307 w 748195"/>
              <a:gd name="csY33" fmla="*/ 76560 h 2076207"/>
              <a:gd name="csX34" fmla="*/ 320284 w 748195"/>
              <a:gd name="csY34" fmla="*/ 8414 h 2076207"/>
              <a:gd name="csX35" fmla="*/ 324784 w 748195"/>
              <a:gd name="csY35" fmla="*/ 946 h 2076207"/>
              <a:gd name="csX36" fmla="*/ 399212 w 748195"/>
              <a:gd name="csY36" fmla="*/ 0 h 2076207"/>
              <a:gd name="csX37" fmla="*/ 425980 w 748195"/>
              <a:gd name="csY37" fmla="*/ 78301 h 2076207"/>
              <a:gd name="csX38" fmla="*/ 431861 w 748195"/>
              <a:gd name="csY38" fmla="*/ 90312 h 2076207"/>
              <a:gd name="csX39" fmla="*/ 540349 w 748195"/>
              <a:gd name="csY39" fmla="*/ 187946 h 2076207"/>
              <a:gd name="csX40" fmla="*/ 545555 w 748195"/>
              <a:gd name="csY40" fmla="*/ 197828 h 2076207"/>
              <a:gd name="csX41" fmla="*/ 587318 w 748195"/>
              <a:gd name="csY41" fmla="*/ 171260 h 2076207"/>
              <a:gd name="csX42" fmla="*/ 601503 w 748195"/>
              <a:gd name="csY42" fmla="*/ 163707 h 2076207"/>
              <a:gd name="csX43" fmla="*/ 625254 w 748195"/>
              <a:gd name="csY43" fmla="*/ 163123 h 2076207"/>
              <a:gd name="csX44" fmla="*/ 625468 w 748195"/>
              <a:gd name="csY44" fmla="*/ 187579 h 2076207"/>
              <a:gd name="csX45" fmla="*/ 597543 w 748195"/>
              <a:gd name="csY45" fmla="*/ 251872 h 2076207"/>
              <a:gd name="csX46" fmla="*/ 531831 w 748195"/>
              <a:gd name="csY46" fmla="*/ 442689 h 2076207"/>
              <a:gd name="csX47" fmla="*/ 519888 w 748195"/>
              <a:gd name="csY47" fmla="*/ 501474 h 2076207"/>
              <a:gd name="csX48" fmla="*/ 522506 w 748195"/>
              <a:gd name="csY48" fmla="*/ 525086 h 2076207"/>
              <a:gd name="csX49" fmla="*/ 516235 w 748195"/>
              <a:gd name="csY49" fmla="*/ 555946 h 2076207"/>
              <a:gd name="csX50" fmla="*/ 521332 w 748195"/>
              <a:gd name="csY50" fmla="*/ 610676 h 2076207"/>
              <a:gd name="csX51" fmla="*/ 541382 w 748195"/>
              <a:gd name="csY51" fmla="*/ 642597 h 2076207"/>
              <a:gd name="csX52" fmla="*/ 557031 w 748195"/>
              <a:gd name="csY52" fmla="*/ 667949 h 2076207"/>
              <a:gd name="csX53" fmla="*/ 553994 w 748195"/>
              <a:gd name="csY53" fmla="*/ 744146 h 2076207"/>
              <a:gd name="csX54" fmla="*/ 508215 w 748195"/>
              <a:gd name="csY54" fmla="*/ 758841 h 2076207"/>
              <a:gd name="csX55" fmla="*/ 497442 w 748195"/>
              <a:gd name="csY55" fmla="*/ 771256 h 2076207"/>
              <a:gd name="csX56" fmla="*/ 493005 w 748195"/>
              <a:gd name="csY56" fmla="*/ 922055 h 2076207"/>
              <a:gd name="csX57" fmla="*/ 502900 w 748195"/>
              <a:gd name="csY57" fmla="*/ 1114191 h 2076207"/>
              <a:gd name="csX58" fmla="*/ 508800 w 748195"/>
              <a:gd name="csY58" fmla="*/ 1205474 h 2076207"/>
              <a:gd name="csX59" fmla="*/ 522952 w 748195"/>
              <a:gd name="csY59" fmla="*/ 1320065 h 2076207"/>
              <a:gd name="csX60" fmla="*/ 554682 w 748195"/>
              <a:gd name="csY60" fmla="*/ 1501203 h 2076207"/>
              <a:gd name="csX61" fmla="*/ 576958 w 748195"/>
              <a:gd name="csY61" fmla="*/ 1593963 h 2076207"/>
              <a:gd name="csX62" fmla="*/ 595349 w 748195"/>
              <a:gd name="csY62" fmla="*/ 1613498 h 2076207"/>
              <a:gd name="csX63" fmla="*/ 613936 w 748195"/>
              <a:gd name="csY63" fmla="*/ 1624058 h 2076207"/>
              <a:gd name="csX64" fmla="*/ 620938 w 748195"/>
              <a:gd name="csY64" fmla="*/ 1652071 h 2076207"/>
              <a:gd name="csX65" fmla="*/ 630805 w 748195"/>
              <a:gd name="csY65" fmla="*/ 1721702 h 2076207"/>
              <a:gd name="csX66" fmla="*/ 685830 w 748195"/>
              <a:gd name="csY66" fmla="*/ 1792915 h 2076207"/>
              <a:gd name="csX67" fmla="*/ 708904 w 748195"/>
              <a:gd name="csY67" fmla="*/ 1890290 h 2076207"/>
              <a:gd name="csX68" fmla="*/ 716580 w 748195"/>
              <a:gd name="csY68" fmla="*/ 1951136 h 2076207"/>
              <a:gd name="csX69" fmla="*/ 729397 w 748195"/>
              <a:gd name="csY69" fmla="*/ 2030261 h 2076207"/>
              <a:gd name="csX70" fmla="*/ 714212 w 748195"/>
              <a:gd name="csY70" fmla="*/ 2049544 h 2076207"/>
              <a:gd name="csX71" fmla="*/ 645428 w 748195"/>
              <a:gd name="csY71" fmla="*/ 2070825 h 2076207"/>
              <a:gd name="csX72" fmla="*/ 635822 w 748195"/>
              <a:gd name="csY72" fmla="*/ 2075145 h 2076207"/>
              <a:gd name="csX73" fmla="*/ 588428 w 748195"/>
              <a:gd name="csY73" fmla="*/ 2075144 h 2076207"/>
              <a:gd name="csX74" fmla="*/ 667788 w 748195"/>
              <a:gd name="csY74" fmla="*/ 2056852 h 2076207"/>
              <a:gd name="csX75" fmla="*/ 706629 w 748195"/>
              <a:gd name="csY75" fmla="*/ 2044290 h 2076207"/>
              <a:gd name="csX76" fmla="*/ 702674 w 748195"/>
              <a:gd name="csY76" fmla="*/ 2041581 h 2076207"/>
              <a:gd name="csX77" fmla="*/ 96263 w 748195"/>
              <a:gd name="csY77" fmla="*/ 2076207 h 2076207"/>
              <a:gd name="csX78" fmla="*/ 489970 w 748195"/>
              <a:gd name="csY78" fmla="*/ 152208 h 2076207"/>
              <a:gd name="csX79" fmla="*/ 490754 w 748195"/>
              <a:gd name="csY79" fmla="*/ 152592 h 2076207"/>
              <a:gd name="csX80" fmla="*/ 489489 w 748195"/>
              <a:gd name="csY80" fmla="*/ 149547 h 2076207"/>
              <a:gd name="csX81" fmla="*/ 393621 w 748195"/>
              <a:gd name="csY81" fmla="*/ 99259 h 2076207"/>
              <a:gd name="csX82" fmla="*/ 390419 w 748195"/>
              <a:gd name="csY82" fmla="*/ 18568 h 2076207"/>
              <a:gd name="csX83" fmla="*/ 334131 w 748195"/>
              <a:gd name="csY83" fmla="*/ 24327 h 2076207"/>
              <a:gd name="csX84" fmla="*/ 344678 w 748195"/>
              <a:gd name="csY84" fmla="*/ 101259 h 2076207"/>
              <a:gd name="csX85" fmla="*/ 298854 w 748195"/>
              <a:gd name="csY85" fmla="*/ 114003 h 2076207"/>
              <a:gd name="csX86" fmla="*/ 237456 w 748195"/>
              <a:gd name="csY86" fmla="*/ 154340 h 2076207"/>
              <a:gd name="csX87" fmla="*/ 240382 w 748195"/>
              <a:gd name="csY87" fmla="*/ 154035 h 2076207"/>
              <a:gd name="csX88" fmla="*/ 262731 w 748195"/>
              <a:gd name="csY88" fmla="*/ 170426 h 2076207"/>
              <a:gd name="csX89" fmla="*/ 279169 w 748195"/>
              <a:gd name="csY89" fmla="*/ 193173 h 2076207"/>
              <a:gd name="csX90" fmla="*/ 327717 w 748195"/>
              <a:gd name="csY90" fmla="*/ 188556 h 2076207"/>
              <a:gd name="csX91" fmla="*/ 348052 w 748195"/>
              <a:gd name="csY91" fmla="*/ 156919 h 2076207"/>
              <a:gd name="csX92" fmla="*/ 380330 w 748195"/>
              <a:gd name="csY92" fmla="*/ 156483 h 2076207"/>
              <a:gd name="csX93" fmla="*/ 408490 w 748195"/>
              <a:gd name="csY93" fmla="*/ 195400 h 2076207"/>
              <a:gd name="csX94" fmla="*/ 445346 w 748195"/>
              <a:gd name="csY94" fmla="*/ 197582 h 2076207"/>
              <a:gd name="csX95" fmla="*/ 464798 w 748195"/>
              <a:gd name="csY95" fmla="*/ 174107 h 2076207"/>
              <a:gd name="csX96" fmla="*/ 489970 w 748195"/>
              <a:gd name="csY96" fmla="*/ 152208 h 2076207"/>
              <a:gd name="csX97" fmla="*/ 140694 w 748195"/>
              <a:gd name="csY97" fmla="*/ 201837 h 2076207"/>
              <a:gd name="csX98" fmla="*/ 139834 w 748195"/>
              <a:gd name="csY98" fmla="*/ 201482 h 2076207"/>
              <a:gd name="csX99" fmla="*/ 140812 w 748195"/>
              <a:gd name="csY99" fmla="*/ 204941 h 2076207"/>
              <a:gd name="csX100" fmla="*/ 144631 w 748195"/>
              <a:gd name="csY100" fmla="*/ 217811 h 2076207"/>
              <a:gd name="csX101" fmla="*/ 201241 w 748195"/>
              <a:gd name="csY101" fmla="*/ 373387 h 2076207"/>
              <a:gd name="csX102" fmla="*/ 235971 w 748195"/>
              <a:gd name="csY102" fmla="*/ 504451 h 2076207"/>
              <a:gd name="csX103" fmla="*/ 247475 w 748195"/>
              <a:gd name="csY103" fmla="*/ 513241 h 2076207"/>
              <a:gd name="csX104" fmla="*/ 289066 w 748195"/>
              <a:gd name="csY104" fmla="*/ 511170 h 2076207"/>
              <a:gd name="csX105" fmla="*/ 378229 w 748195"/>
              <a:gd name="csY105" fmla="*/ 511084 h 2076207"/>
              <a:gd name="csX106" fmla="*/ 470850 w 748195"/>
              <a:gd name="csY106" fmla="*/ 516341 h 2076207"/>
              <a:gd name="csX107" fmla="*/ 492933 w 748195"/>
              <a:gd name="csY107" fmla="*/ 497969 h 2076207"/>
              <a:gd name="csX108" fmla="*/ 557617 w 748195"/>
              <a:gd name="csY108" fmla="*/ 280398 h 2076207"/>
              <a:gd name="csX109" fmla="*/ 588788 w 748195"/>
              <a:gd name="csY109" fmla="*/ 200385 h 2076207"/>
              <a:gd name="csX110" fmla="*/ 530958 w 748195"/>
              <a:gd name="csY110" fmla="*/ 232968 h 2076207"/>
              <a:gd name="csX111" fmla="*/ 483823 w 748195"/>
              <a:gd name="csY111" fmla="*/ 190364 h 2076207"/>
              <a:gd name="csX112" fmla="*/ 466649 w 748195"/>
              <a:gd name="csY112" fmla="*/ 209061 h 2076207"/>
              <a:gd name="csX113" fmla="*/ 399941 w 748195"/>
              <a:gd name="csY113" fmla="*/ 216988 h 2076207"/>
              <a:gd name="csX114" fmla="*/ 363018 w 748195"/>
              <a:gd name="csY114" fmla="*/ 179615 h 2076207"/>
              <a:gd name="csX115" fmla="*/ 308839 w 748195"/>
              <a:gd name="csY115" fmla="*/ 227846 h 2076207"/>
              <a:gd name="csX116" fmla="*/ 245077 w 748195"/>
              <a:gd name="csY116" fmla="*/ 192402 h 2076207"/>
              <a:gd name="csX117" fmla="*/ 242829 w 748195"/>
              <a:gd name="csY117" fmla="*/ 198815 h 2076207"/>
              <a:gd name="csX118" fmla="*/ 168452 w 748195"/>
              <a:gd name="csY118" fmla="*/ 219348 h 2076207"/>
              <a:gd name="csX119" fmla="*/ 140694 w 748195"/>
              <a:gd name="csY119" fmla="*/ 201837 h 2076207"/>
              <a:gd name="csX120" fmla="*/ 259999 w 748195"/>
              <a:gd name="csY120" fmla="*/ 966699 h 2076207"/>
              <a:gd name="csX121" fmla="*/ 257072 w 748195"/>
              <a:gd name="csY121" fmla="*/ 1070424 h 2076207"/>
              <a:gd name="csX122" fmla="*/ 251372 w 748195"/>
              <a:gd name="csY122" fmla="*/ 1157618 h 2076207"/>
              <a:gd name="csX123" fmla="*/ 232677 w 748195"/>
              <a:gd name="csY123" fmla="*/ 1320279 h 2076207"/>
              <a:gd name="csX124" fmla="*/ 209182 w 748195"/>
              <a:gd name="csY124" fmla="*/ 1468667 h 2076207"/>
              <a:gd name="csX125" fmla="*/ 175302 w 748195"/>
              <a:gd name="csY125" fmla="*/ 1616623 h 2076207"/>
              <a:gd name="csX126" fmla="*/ 182769 w 748195"/>
              <a:gd name="csY126" fmla="*/ 1629786 h 2076207"/>
              <a:gd name="csX127" fmla="*/ 212156 w 748195"/>
              <a:gd name="csY127" fmla="*/ 1632656 h 2076207"/>
              <a:gd name="csX128" fmla="*/ 351295 w 748195"/>
              <a:gd name="csY128" fmla="*/ 1632801 h 2076207"/>
              <a:gd name="csX129" fmla="*/ 376150 w 748195"/>
              <a:gd name="csY129" fmla="*/ 1608307 h 2076207"/>
              <a:gd name="csX130" fmla="*/ 373450 w 748195"/>
              <a:gd name="csY130" fmla="*/ 1457291 h 2076207"/>
              <a:gd name="csX131" fmla="*/ 370936 w 748195"/>
              <a:gd name="csY131" fmla="*/ 1342736 h 2076207"/>
              <a:gd name="csX132" fmla="*/ 368328 w 748195"/>
              <a:gd name="csY132" fmla="*/ 1203878 h 2076207"/>
              <a:gd name="csX133" fmla="*/ 367836 w 748195"/>
              <a:gd name="csY133" fmla="*/ 813478 h 2076207"/>
              <a:gd name="csX134" fmla="*/ 365240 w 748195"/>
              <a:gd name="csY134" fmla="*/ 773243 h 2076207"/>
              <a:gd name="csX135" fmla="*/ 353084 w 748195"/>
              <a:gd name="csY135" fmla="*/ 762083 h 2076207"/>
              <a:gd name="csX136" fmla="*/ 280966 w 748195"/>
              <a:gd name="csY136" fmla="*/ 759855 h 2076207"/>
              <a:gd name="csX137" fmla="*/ 259965 w 748195"/>
              <a:gd name="csY137" fmla="*/ 779553 h 2076207"/>
              <a:gd name="csX138" fmla="*/ 262341 w 748195"/>
              <a:gd name="csY138" fmla="*/ 856275 h 2076207"/>
              <a:gd name="csX139" fmla="*/ 259999 w 748195"/>
              <a:gd name="csY139" fmla="*/ 966699 h 2076207"/>
              <a:gd name="csX140" fmla="*/ 55556 w 748195"/>
              <a:gd name="csY140" fmla="*/ 1835827 h 2076207"/>
              <a:gd name="csX141" fmla="*/ 49393 w 748195"/>
              <a:gd name="csY141" fmla="*/ 1878155 h 2076207"/>
              <a:gd name="csX142" fmla="*/ 73949 w 748195"/>
              <a:gd name="csY142" fmla="*/ 1905781 h 2076207"/>
              <a:gd name="csX143" fmla="*/ 110073 w 748195"/>
              <a:gd name="csY143" fmla="*/ 1909068 h 2076207"/>
              <a:gd name="csX144" fmla="*/ 224745 w 748195"/>
              <a:gd name="csY144" fmla="*/ 1921652 h 2076207"/>
              <a:gd name="csX145" fmla="*/ 347327 w 748195"/>
              <a:gd name="csY145" fmla="*/ 1924778 h 2076207"/>
              <a:gd name="csX146" fmla="*/ 363345 w 748195"/>
              <a:gd name="csY146" fmla="*/ 1923293 h 2076207"/>
              <a:gd name="csX147" fmla="*/ 373787 w 748195"/>
              <a:gd name="csY147" fmla="*/ 1911200 h 2076207"/>
              <a:gd name="csX148" fmla="*/ 376623 w 748195"/>
              <a:gd name="csY148" fmla="*/ 1696741 h 2076207"/>
              <a:gd name="csX149" fmla="*/ 360437 w 748195"/>
              <a:gd name="csY149" fmla="*/ 1681289 h 2076207"/>
              <a:gd name="csX150" fmla="*/ 263503 w 748195"/>
              <a:gd name="csY150" fmla="*/ 1678179 h 2076207"/>
              <a:gd name="csX151" fmla="*/ 160381 w 748195"/>
              <a:gd name="csY151" fmla="*/ 1670405 h 2076207"/>
              <a:gd name="csX152" fmla="*/ 143321 w 748195"/>
              <a:gd name="csY152" fmla="*/ 1685538 h 2076207"/>
              <a:gd name="csX153" fmla="*/ 124769 w 748195"/>
              <a:gd name="csY153" fmla="*/ 1738195 h 2076207"/>
              <a:gd name="csX154" fmla="*/ 90593 w 748195"/>
              <a:gd name="csY154" fmla="*/ 1779570 h 2076207"/>
              <a:gd name="csX155" fmla="*/ 55556 w 748195"/>
              <a:gd name="csY155" fmla="*/ 1835827 h 2076207"/>
              <a:gd name="csX156" fmla="*/ 378900 w 748195"/>
              <a:gd name="csY156" fmla="*/ 2007280 h 2076207"/>
              <a:gd name="csX157" fmla="*/ 378887 w 748195"/>
              <a:gd name="csY157" fmla="*/ 1995127 h 2076207"/>
              <a:gd name="csX158" fmla="*/ 359084 w 748195"/>
              <a:gd name="csY158" fmla="*/ 1975964 h 2076207"/>
              <a:gd name="csX159" fmla="*/ 247288 w 748195"/>
              <a:gd name="csY159" fmla="*/ 1973305 h 2076207"/>
              <a:gd name="csX160" fmla="*/ 201692 w 748195"/>
              <a:gd name="csY160" fmla="*/ 1970275 h 2076207"/>
              <a:gd name="csX161" fmla="*/ 57962 w 748195"/>
              <a:gd name="csY161" fmla="*/ 1952648 h 2076207"/>
              <a:gd name="csX162" fmla="*/ 39194 w 748195"/>
              <a:gd name="csY162" fmla="*/ 1963552 h 2076207"/>
              <a:gd name="csX163" fmla="*/ 30066 w 748195"/>
              <a:gd name="csY163" fmla="*/ 2006631 h 2076207"/>
              <a:gd name="csX164" fmla="*/ 40232 w 748195"/>
              <a:gd name="csY164" fmla="*/ 2019486 h 2076207"/>
              <a:gd name="csX165" fmla="*/ 238186 w 748195"/>
              <a:gd name="csY165" fmla="*/ 2046096 h 2076207"/>
              <a:gd name="csX166" fmla="*/ 342155 w 748195"/>
              <a:gd name="csY166" fmla="*/ 2046441 h 2076207"/>
              <a:gd name="csX167" fmla="*/ 378900 w 748195"/>
              <a:gd name="csY167" fmla="*/ 2007280 h 2076207"/>
              <a:gd name="csX168" fmla="*/ 310220 w 748195"/>
              <a:gd name="csY168" fmla="*/ 554288 h 2076207"/>
              <a:gd name="csX169" fmla="*/ 259136 w 748195"/>
              <a:gd name="csY169" fmla="*/ 556881 h 2076207"/>
              <a:gd name="csX170" fmla="*/ 249085 w 748195"/>
              <a:gd name="csY170" fmla="*/ 567981 h 2076207"/>
              <a:gd name="csX171" fmla="*/ 249141 w 748195"/>
              <a:gd name="csY171" fmla="*/ 605644 h 2076207"/>
              <a:gd name="csX172" fmla="*/ 262628 w 748195"/>
              <a:gd name="csY172" fmla="*/ 605627 h 2076207"/>
              <a:gd name="csX173" fmla="*/ 369608 w 748195"/>
              <a:gd name="csY173" fmla="*/ 603027 h 2076207"/>
              <a:gd name="csX174" fmla="*/ 463931 w 748195"/>
              <a:gd name="csY174" fmla="*/ 605146 h 2076207"/>
              <a:gd name="csX175" fmla="*/ 478113 w 748195"/>
              <a:gd name="csY175" fmla="*/ 595843 h 2076207"/>
              <a:gd name="csX176" fmla="*/ 478796 w 748195"/>
              <a:gd name="csY176" fmla="*/ 556832 h 2076207"/>
              <a:gd name="csX177" fmla="*/ 310220 w 748195"/>
              <a:gd name="csY177" fmla="*/ 554288 h 2076207"/>
              <a:gd name="csX178" fmla="*/ 348836 w 748195"/>
              <a:gd name="csY178" fmla="*/ 684115 h 2076207"/>
              <a:gd name="csX179" fmla="*/ 281333 w 748195"/>
              <a:gd name="csY179" fmla="*/ 683313 h 2076207"/>
              <a:gd name="csX180" fmla="*/ 212728 w 748195"/>
              <a:gd name="csY180" fmla="*/ 681931 h 2076207"/>
              <a:gd name="csX181" fmla="*/ 187283 w 748195"/>
              <a:gd name="csY181" fmla="*/ 689555 h 2076207"/>
              <a:gd name="csX182" fmla="*/ 186163 w 748195"/>
              <a:gd name="csY182" fmla="*/ 718266 h 2076207"/>
              <a:gd name="csX183" fmla="*/ 209894 w 748195"/>
              <a:gd name="csY183" fmla="*/ 726798 h 2076207"/>
              <a:gd name="csX184" fmla="*/ 334814 w 748195"/>
              <a:gd name="csY184" fmla="*/ 732494 h 2076207"/>
              <a:gd name="csX185" fmla="*/ 364856 w 748195"/>
              <a:gd name="csY185" fmla="*/ 707963 h 2076207"/>
              <a:gd name="csX186" fmla="*/ 348836 w 748195"/>
              <a:gd name="csY186" fmla="*/ 684115 h 2076207"/>
              <a:gd name="csX187" fmla="*/ 298865 w 748195"/>
              <a:gd name="csY187" fmla="*/ 621954 h 2076207"/>
              <a:gd name="csX188" fmla="*/ 251619 w 748195"/>
              <a:gd name="csY188" fmla="*/ 622133 h 2076207"/>
              <a:gd name="csX189" fmla="*/ 214459 w 748195"/>
              <a:gd name="csY189" fmla="*/ 636230 h 2076207"/>
              <a:gd name="csX190" fmla="*/ 221436 w 748195"/>
              <a:gd name="csY190" fmla="*/ 654205 h 2076207"/>
              <a:gd name="csX191" fmla="*/ 272412 w 748195"/>
              <a:gd name="csY191" fmla="*/ 657250 h 2076207"/>
              <a:gd name="csX192" fmla="*/ 349094 w 748195"/>
              <a:gd name="csY192" fmla="*/ 659282 h 2076207"/>
              <a:gd name="csX193" fmla="*/ 362996 w 748195"/>
              <a:gd name="csY193" fmla="*/ 644234 h 2076207"/>
              <a:gd name="csX194" fmla="*/ 348472 w 748195"/>
              <a:gd name="csY194" fmla="*/ 624649 h 2076207"/>
              <a:gd name="csX195" fmla="*/ 298865 w 748195"/>
              <a:gd name="csY195" fmla="*/ 621954 h 2076207"/>
              <a:gd name="csX196" fmla="*/ 227796 w 748195"/>
              <a:gd name="csY196" fmla="*/ 528000 h 2076207"/>
              <a:gd name="csX197" fmla="*/ 241009 w 748195"/>
              <a:gd name="csY197" fmla="*/ 545897 h 2076207"/>
              <a:gd name="csX198" fmla="*/ 282607 w 748195"/>
              <a:gd name="csY198" fmla="*/ 543480 h 2076207"/>
              <a:gd name="csX199" fmla="*/ 354213 w 748195"/>
              <a:gd name="csY199" fmla="*/ 543384 h 2076207"/>
              <a:gd name="csX200" fmla="*/ 365334 w 748195"/>
              <a:gd name="csY200" fmla="*/ 533397 h 2076207"/>
              <a:gd name="csX201" fmla="*/ 354531 w 748195"/>
              <a:gd name="csY201" fmla="*/ 521620 h 2076207"/>
              <a:gd name="csX202" fmla="*/ 259169 w 748195"/>
              <a:gd name="csY202" fmla="*/ 521978 h 2076207"/>
              <a:gd name="csX203" fmla="*/ 227796 w 748195"/>
              <a:gd name="csY203" fmla="*/ 528000 h 2076207"/>
              <a:gd name="csX204" fmla="*/ 508068 w 748195"/>
              <a:gd name="csY204" fmla="*/ 190710 h 2076207"/>
              <a:gd name="csX205" fmla="*/ 521293 w 748195"/>
              <a:gd name="csY205" fmla="*/ 205907 h 2076207"/>
              <a:gd name="csX206" fmla="*/ 525175 w 748195"/>
              <a:gd name="csY206" fmla="*/ 202985 h 2076207"/>
              <a:gd name="csX207" fmla="*/ 500276 w 748195"/>
              <a:gd name="csY207" fmla="*/ 160640 h 2076207"/>
              <a:gd name="csX208" fmla="*/ 497122 w 748195"/>
              <a:gd name="csY208" fmla="*/ 162007 h 2076207"/>
              <a:gd name="csX209" fmla="*/ 508068 w 748195"/>
              <a:gd name="csY209" fmla="*/ 190710 h 2076207"/>
              <a:gd name="csX210" fmla="*/ 215522 w 748195"/>
              <a:gd name="csY210" fmla="*/ 197296 h 2076207"/>
              <a:gd name="csX211" fmla="*/ 234029 w 748195"/>
              <a:gd name="csY211" fmla="*/ 162725 h 2076207"/>
              <a:gd name="csX212" fmla="*/ 229000 w 748195"/>
              <a:gd name="csY212" fmla="*/ 159902 h 2076207"/>
              <a:gd name="csX213" fmla="*/ 204824 w 748195"/>
              <a:gd name="csY213" fmla="*/ 199677 h 2076207"/>
              <a:gd name="csX214" fmla="*/ 207990 w 748195"/>
              <a:gd name="csY214" fmla="*/ 202198 h 2076207"/>
              <a:gd name="csX215" fmla="*/ 215522 w 748195"/>
              <a:gd name="csY215" fmla="*/ 197296 h 2076207"/>
              <a:gd name="csX216" fmla="*/ 484400 w 748195"/>
              <a:gd name="csY216" fmla="*/ 896678 h 2076207"/>
              <a:gd name="csX217" fmla="*/ 486181 w 748195"/>
              <a:gd name="csY217" fmla="*/ 896585 h 2076207"/>
              <a:gd name="csX218" fmla="*/ 486181 w 748195"/>
              <a:gd name="csY218" fmla="*/ 795289 h 2076207"/>
              <a:gd name="csX219" fmla="*/ 720241 w 748195"/>
              <a:gd name="csY219" fmla="*/ 2030666 h 2076207"/>
              <a:gd name="csX220" fmla="*/ 721175 w 748195"/>
              <a:gd name="csY220" fmla="*/ 2029733 h 2076207"/>
              <a:gd name="csX221" fmla="*/ 720241 w 748195"/>
              <a:gd name="csY221" fmla="*/ 2030666 h 2076207"/>
              <a:gd name="csX222" fmla="*/ 715702 w 748195"/>
              <a:gd name="csY222" fmla="*/ 2037051 h 2076207"/>
              <a:gd name="csX223" fmla="*/ 715702 w 748195"/>
              <a:gd name="csY223" fmla="*/ 2037051 h 2076207"/>
              <a:gd name="csX0" fmla="*/ 96263 w 748195"/>
              <a:gd name="csY0" fmla="*/ 2076207 h 2076207"/>
              <a:gd name="csX1" fmla="*/ 63862 w 748195"/>
              <a:gd name="csY1" fmla="*/ 2065388 h 2076207"/>
              <a:gd name="csX2" fmla="*/ 16555 w 748195"/>
              <a:gd name="csY2" fmla="*/ 2050152 h 2076207"/>
              <a:gd name="csX3" fmla="*/ 15 w 748195"/>
              <a:gd name="csY3" fmla="*/ 2023802 h 2076207"/>
              <a:gd name="csX4" fmla="*/ 18368 w 748195"/>
              <a:gd name="csY4" fmla="*/ 1940709 h 2076207"/>
              <a:gd name="csX5" fmla="*/ 22139 w 748195"/>
              <a:gd name="csY5" fmla="*/ 1907268 h 2076207"/>
              <a:gd name="csX6" fmla="*/ 57941 w 748195"/>
              <a:gd name="csY6" fmla="*/ 1774163 h 2076207"/>
              <a:gd name="csX7" fmla="*/ 102478 w 748195"/>
              <a:gd name="csY7" fmla="*/ 1720275 h 2076207"/>
              <a:gd name="csX8" fmla="*/ 108579 w 748195"/>
              <a:gd name="csY8" fmla="*/ 1650967 h 2076207"/>
              <a:gd name="csX9" fmla="*/ 115628 w 748195"/>
              <a:gd name="csY9" fmla="*/ 1625405 h 2076207"/>
              <a:gd name="csX10" fmla="*/ 156323 w 748195"/>
              <a:gd name="csY10" fmla="*/ 1560181 h 2076207"/>
              <a:gd name="csX11" fmla="*/ 199424 w 748195"/>
              <a:gd name="csY11" fmla="*/ 1364729 h 2076207"/>
              <a:gd name="csX12" fmla="*/ 216779 w 748195"/>
              <a:gd name="csY12" fmla="*/ 1219490 h 2076207"/>
              <a:gd name="csX13" fmla="*/ 229755 w 748195"/>
              <a:gd name="csY13" fmla="*/ 1099357 h 2076207"/>
              <a:gd name="csX14" fmla="*/ 232707 w 748195"/>
              <a:gd name="csY14" fmla="*/ 1056423 h 2076207"/>
              <a:gd name="csX15" fmla="*/ 235622 w 748195"/>
              <a:gd name="csY15" fmla="*/ 952675 h 2076207"/>
              <a:gd name="csX16" fmla="*/ 235445 w 748195"/>
              <a:gd name="csY16" fmla="*/ 780278 h 2076207"/>
              <a:gd name="csX17" fmla="*/ 214544 w 748195"/>
              <a:gd name="csY17" fmla="*/ 756435 h 2076207"/>
              <a:gd name="csX18" fmla="*/ 172569 w 748195"/>
              <a:gd name="csY18" fmla="*/ 742582 h 2076207"/>
              <a:gd name="csX19" fmla="*/ 168784 w 748195"/>
              <a:gd name="csY19" fmla="*/ 669116 h 2076207"/>
              <a:gd name="csX20" fmla="*/ 191657 w 748195"/>
              <a:gd name="csY20" fmla="*/ 630765 h 2076207"/>
              <a:gd name="csX21" fmla="*/ 208150 w 748195"/>
              <a:gd name="csY21" fmla="*/ 609084 h 2076207"/>
              <a:gd name="csX22" fmla="*/ 216756 w 748195"/>
              <a:gd name="csY22" fmla="*/ 558673 h 2076207"/>
              <a:gd name="csX23" fmla="*/ 209092 w 748195"/>
              <a:gd name="csY23" fmla="*/ 521540 h 2076207"/>
              <a:gd name="csX24" fmla="*/ 204683 w 748195"/>
              <a:gd name="csY24" fmla="*/ 474024 h 2076207"/>
              <a:gd name="csX25" fmla="*/ 115483 w 748195"/>
              <a:gd name="csY25" fmla="*/ 213499 h 2076207"/>
              <a:gd name="csX26" fmla="*/ 102909 w 748195"/>
              <a:gd name="csY26" fmla="*/ 182297 h 2076207"/>
              <a:gd name="csX27" fmla="*/ 104315 w 748195"/>
              <a:gd name="csY27" fmla="*/ 163968 h 2076207"/>
              <a:gd name="csX28" fmla="*/ 122444 w 748195"/>
              <a:gd name="csY28" fmla="*/ 160805 h 2076207"/>
              <a:gd name="csX29" fmla="*/ 170283 w 748195"/>
              <a:gd name="csY29" fmla="*/ 187783 h 2076207"/>
              <a:gd name="csX30" fmla="*/ 180938 w 748195"/>
              <a:gd name="csY30" fmla="*/ 195322 h 2076207"/>
              <a:gd name="csX31" fmla="*/ 221419 w 748195"/>
              <a:gd name="csY31" fmla="*/ 138058 h 2076207"/>
              <a:gd name="csX32" fmla="*/ 294099 w 748195"/>
              <a:gd name="csY32" fmla="*/ 91372 h 2076207"/>
              <a:gd name="csX33" fmla="*/ 302307 w 748195"/>
              <a:gd name="csY33" fmla="*/ 76560 h 2076207"/>
              <a:gd name="csX34" fmla="*/ 320284 w 748195"/>
              <a:gd name="csY34" fmla="*/ 8414 h 2076207"/>
              <a:gd name="csX35" fmla="*/ 324784 w 748195"/>
              <a:gd name="csY35" fmla="*/ 946 h 2076207"/>
              <a:gd name="csX36" fmla="*/ 399212 w 748195"/>
              <a:gd name="csY36" fmla="*/ 0 h 2076207"/>
              <a:gd name="csX37" fmla="*/ 425980 w 748195"/>
              <a:gd name="csY37" fmla="*/ 78301 h 2076207"/>
              <a:gd name="csX38" fmla="*/ 431861 w 748195"/>
              <a:gd name="csY38" fmla="*/ 90312 h 2076207"/>
              <a:gd name="csX39" fmla="*/ 540349 w 748195"/>
              <a:gd name="csY39" fmla="*/ 187946 h 2076207"/>
              <a:gd name="csX40" fmla="*/ 545555 w 748195"/>
              <a:gd name="csY40" fmla="*/ 197828 h 2076207"/>
              <a:gd name="csX41" fmla="*/ 587318 w 748195"/>
              <a:gd name="csY41" fmla="*/ 171260 h 2076207"/>
              <a:gd name="csX42" fmla="*/ 601503 w 748195"/>
              <a:gd name="csY42" fmla="*/ 163707 h 2076207"/>
              <a:gd name="csX43" fmla="*/ 625254 w 748195"/>
              <a:gd name="csY43" fmla="*/ 163123 h 2076207"/>
              <a:gd name="csX44" fmla="*/ 625468 w 748195"/>
              <a:gd name="csY44" fmla="*/ 187579 h 2076207"/>
              <a:gd name="csX45" fmla="*/ 597543 w 748195"/>
              <a:gd name="csY45" fmla="*/ 251872 h 2076207"/>
              <a:gd name="csX46" fmla="*/ 531831 w 748195"/>
              <a:gd name="csY46" fmla="*/ 442689 h 2076207"/>
              <a:gd name="csX47" fmla="*/ 519888 w 748195"/>
              <a:gd name="csY47" fmla="*/ 501474 h 2076207"/>
              <a:gd name="csX48" fmla="*/ 522506 w 748195"/>
              <a:gd name="csY48" fmla="*/ 525086 h 2076207"/>
              <a:gd name="csX49" fmla="*/ 516235 w 748195"/>
              <a:gd name="csY49" fmla="*/ 555946 h 2076207"/>
              <a:gd name="csX50" fmla="*/ 521332 w 748195"/>
              <a:gd name="csY50" fmla="*/ 610676 h 2076207"/>
              <a:gd name="csX51" fmla="*/ 541382 w 748195"/>
              <a:gd name="csY51" fmla="*/ 642597 h 2076207"/>
              <a:gd name="csX52" fmla="*/ 557031 w 748195"/>
              <a:gd name="csY52" fmla="*/ 667949 h 2076207"/>
              <a:gd name="csX53" fmla="*/ 553994 w 748195"/>
              <a:gd name="csY53" fmla="*/ 744146 h 2076207"/>
              <a:gd name="csX54" fmla="*/ 508215 w 748195"/>
              <a:gd name="csY54" fmla="*/ 758841 h 2076207"/>
              <a:gd name="csX55" fmla="*/ 497442 w 748195"/>
              <a:gd name="csY55" fmla="*/ 771256 h 2076207"/>
              <a:gd name="csX56" fmla="*/ 493005 w 748195"/>
              <a:gd name="csY56" fmla="*/ 922055 h 2076207"/>
              <a:gd name="csX57" fmla="*/ 502900 w 748195"/>
              <a:gd name="csY57" fmla="*/ 1114191 h 2076207"/>
              <a:gd name="csX58" fmla="*/ 508800 w 748195"/>
              <a:gd name="csY58" fmla="*/ 1205474 h 2076207"/>
              <a:gd name="csX59" fmla="*/ 522952 w 748195"/>
              <a:gd name="csY59" fmla="*/ 1320065 h 2076207"/>
              <a:gd name="csX60" fmla="*/ 554682 w 748195"/>
              <a:gd name="csY60" fmla="*/ 1501203 h 2076207"/>
              <a:gd name="csX61" fmla="*/ 576958 w 748195"/>
              <a:gd name="csY61" fmla="*/ 1593963 h 2076207"/>
              <a:gd name="csX62" fmla="*/ 595349 w 748195"/>
              <a:gd name="csY62" fmla="*/ 1613498 h 2076207"/>
              <a:gd name="csX63" fmla="*/ 613936 w 748195"/>
              <a:gd name="csY63" fmla="*/ 1624058 h 2076207"/>
              <a:gd name="csX64" fmla="*/ 620938 w 748195"/>
              <a:gd name="csY64" fmla="*/ 1652071 h 2076207"/>
              <a:gd name="csX65" fmla="*/ 630805 w 748195"/>
              <a:gd name="csY65" fmla="*/ 1721702 h 2076207"/>
              <a:gd name="csX66" fmla="*/ 685830 w 748195"/>
              <a:gd name="csY66" fmla="*/ 1792915 h 2076207"/>
              <a:gd name="csX67" fmla="*/ 708904 w 748195"/>
              <a:gd name="csY67" fmla="*/ 1890290 h 2076207"/>
              <a:gd name="csX68" fmla="*/ 716580 w 748195"/>
              <a:gd name="csY68" fmla="*/ 1951136 h 2076207"/>
              <a:gd name="csX69" fmla="*/ 729397 w 748195"/>
              <a:gd name="csY69" fmla="*/ 2030261 h 2076207"/>
              <a:gd name="csX70" fmla="*/ 714212 w 748195"/>
              <a:gd name="csY70" fmla="*/ 2049544 h 2076207"/>
              <a:gd name="csX71" fmla="*/ 645428 w 748195"/>
              <a:gd name="csY71" fmla="*/ 2070825 h 2076207"/>
              <a:gd name="csX72" fmla="*/ 588428 w 748195"/>
              <a:gd name="csY72" fmla="*/ 2075144 h 2076207"/>
              <a:gd name="csX73" fmla="*/ 667788 w 748195"/>
              <a:gd name="csY73" fmla="*/ 2056852 h 2076207"/>
              <a:gd name="csX74" fmla="*/ 706629 w 748195"/>
              <a:gd name="csY74" fmla="*/ 2044290 h 2076207"/>
              <a:gd name="csX75" fmla="*/ 702674 w 748195"/>
              <a:gd name="csY75" fmla="*/ 2041581 h 2076207"/>
              <a:gd name="csX76" fmla="*/ 96263 w 748195"/>
              <a:gd name="csY76" fmla="*/ 2076207 h 2076207"/>
              <a:gd name="csX77" fmla="*/ 489970 w 748195"/>
              <a:gd name="csY77" fmla="*/ 152208 h 2076207"/>
              <a:gd name="csX78" fmla="*/ 490754 w 748195"/>
              <a:gd name="csY78" fmla="*/ 152592 h 2076207"/>
              <a:gd name="csX79" fmla="*/ 489489 w 748195"/>
              <a:gd name="csY79" fmla="*/ 149547 h 2076207"/>
              <a:gd name="csX80" fmla="*/ 393621 w 748195"/>
              <a:gd name="csY80" fmla="*/ 99259 h 2076207"/>
              <a:gd name="csX81" fmla="*/ 390419 w 748195"/>
              <a:gd name="csY81" fmla="*/ 18568 h 2076207"/>
              <a:gd name="csX82" fmla="*/ 334131 w 748195"/>
              <a:gd name="csY82" fmla="*/ 24327 h 2076207"/>
              <a:gd name="csX83" fmla="*/ 344678 w 748195"/>
              <a:gd name="csY83" fmla="*/ 101259 h 2076207"/>
              <a:gd name="csX84" fmla="*/ 298854 w 748195"/>
              <a:gd name="csY84" fmla="*/ 114003 h 2076207"/>
              <a:gd name="csX85" fmla="*/ 237456 w 748195"/>
              <a:gd name="csY85" fmla="*/ 154340 h 2076207"/>
              <a:gd name="csX86" fmla="*/ 240382 w 748195"/>
              <a:gd name="csY86" fmla="*/ 154035 h 2076207"/>
              <a:gd name="csX87" fmla="*/ 262731 w 748195"/>
              <a:gd name="csY87" fmla="*/ 170426 h 2076207"/>
              <a:gd name="csX88" fmla="*/ 279169 w 748195"/>
              <a:gd name="csY88" fmla="*/ 193173 h 2076207"/>
              <a:gd name="csX89" fmla="*/ 327717 w 748195"/>
              <a:gd name="csY89" fmla="*/ 188556 h 2076207"/>
              <a:gd name="csX90" fmla="*/ 348052 w 748195"/>
              <a:gd name="csY90" fmla="*/ 156919 h 2076207"/>
              <a:gd name="csX91" fmla="*/ 380330 w 748195"/>
              <a:gd name="csY91" fmla="*/ 156483 h 2076207"/>
              <a:gd name="csX92" fmla="*/ 408490 w 748195"/>
              <a:gd name="csY92" fmla="*/ 195400 h 2076207"/>
              <a:gd name="csX93" fmla="*/ 445346 w 748195"/>
              <a:gd name="csY93" fmla="*/ 197582 h 2076207"/>
              <a:gd name="csX94" fmla="*/ 464798 w 748195"/>
              <a:gd name="csY94" fmla="*/ 174107 h 2076207"/>
              <a:gd name="csX95" fmla="*/ 489970 w 748195"/>
              <a:gd name="csY95" fmla="*/ 152208 h 2076207"/>
              <a:gd name="csX96" fmla="*/ 140694 w 748195"/>
              <a:gd name="csY96" fmla="*/ 201837 h 2076207"/>
              <a:gd name="csX97" fmla="*/ 139834 w 748195"/>
              <a:gd name="csY97" fmla="*/ 201482 h 2076207"/>
              <a:gd name="csX98" fmla="*/ 140812 w 748195"/>
              <a:gd name="csY98" fmla="*/ 204941 h 2076207"/>
              <a:gd name="csX99" fmla="*/ 144631 w 748195"/>
              <a:gd name="csY99" fmla="*/ 217811 h 2076207"/>
              <a:gd name="csX100" fmla="*/ 201241 w 748195"/>
              <a:gd name="csY100" fmla="*/ 373387 h 2076207"/>
              <a:gd name="csX101" fmla="*/ 235971 w 748195"/>
              <a:gd name="csY101" fmla="*/ 504451 h 2076207"/>
              <a:gd name="csX102" fmla="*/ 247475 w 748195"/>
              <a:gd name="csY102" fmla="*/ 513241 h 2076207"/>
              <a:gd name="csX103" fmla="*/ 289066 w 748195"/>
              <a:gd name="csY103" fmla="*/ 511170 h 2076207"/>
              <a:gd name="csX104" fmla="*/ 378229 w 748195"/>
              <a:gd name="csY104" fmla="*/ 511084 h 2076207"/>
              <a:gd name="csX105" fmla="*/ 470850 w 748195"/>
              <a:gd name="csY105" fmla="*/ 516341 h 2076207"/>
              <a:gd name="csX106" fmla="*/ 492933 w 748195"/>
              <a:gd name="csY106" fmla="*/ 497969 h 2076207"/>
              <a:gd name="csX107" fmla="*/ 557617 w 748195"/>
              <a:gd name="csY107" fmla="*/ 280398 h 2076207"/>
              <a:gd name="csX108" fmla="*/ 588788 w 748195"/>
              <a:gd name="csY108" fmla="*/ 200385 h 2076207"/>
              <a:gd name="csX109" fmla="*/ 530958 w 748195"/>
              <a:gd name="csY109" fmla="*/ 232968 h 2076207"/>
              <a:gd name="csX110" fmla="*/ 483823 w 748195"/>
              <a:gd name="csY110" fmla="*/ 190364 h 2076207"/>
              <a:gd name="csX111" fmla="*/ 466649 w 748195"/>
              <a:gd name="csY111" fmla="*/ 209061 h 2076207"/>
              <a:gd name="csX112" fmla="*/ 399941 w 748195"/>
              <a:gd name="csY112" fmla="*/ 216988 h 2076207"/>
              <a:gd name="csX113" fmla="*/ 363018 w 748195"/>
              <a:gd name="csY113" fmla="*/ 179615 h 2076207"/>
              <a:gd name="csX114" fmla="*/ 308839 w 748195"/>
              <a:gd name="csY114" fmla="*/ 227846 h 2076207"/>
              <a:gd name="csX115" fmla="*/ 245077 w 748195"/>
              <a:gd name="csY115" fmla="*/ 192402 h 2076207"/>
              <a:gd name="csX116" fmla="*/ 242829 w 748195"/>
              <a:gd name="csY116" fmla="*/ 198815 h 2076207"/>
              <a:gd name="csX117" fmla="*/ 168452 w 748195"/>
              <a:gd name="csY117" fmla="*/ 219348 h 2076207"/>
              <a:gd name="csX118" fmla="*/ 140694 w 748195"/>
              <a:gd name="csY118" fmla="*/ 201837 h 2076207"/>
              <a:gd name="csX119" fmla="*/ 259999 w 748195"/>
              <a:gd name="csY119" fmla="*/ 966699 h 2076207"/>
              <a:gd name="csX120" fmla="*/ 257072 w 748195"/>
              <a:gd name="csY120" fmla="*/ 1070424 h 2076207"/>
              <a:gd name="csX121" fmla="*/ 251372 w 748195"/>
              <a:gd name="csY121" fmla="*/ 1157618 h 2076207"/>
              <a:gd name="csX122" fmla="*/ 232677 w 748195"/>
              <a:gd name="csY122" fmla="*/ 1320279 h 2076207"/>
              <a:gd name="csX123" fmla="*/ 209182 w 748195"/>
              <a:gd name="csY123" fmla="*/ 1468667 h 2076207"/>
              <a:gd name="csX124" fmla="*/ 175302 w 748195"/>
              <a:gd name="csY124" fmla="*/ 1616623 h 2076207"/>
              <a:gd name="csX125" fmla="*/ 182769 w 748195"/>
              <a:gd name="csY125" fmla="*/ 1629786 h 2076207"/>
              <a:gd name="csX126" fmla="*/ 212156 w 748195"/>
              <a:gd name="csY126" fmla="*/ 1632656 h 2076207"/>
              <a:gd name="csX127" fmla="*/ 351295 w 748195"/>
              <a:gd name="csY127" fmla="*/ 1632801 h 2076207"/>
              <a:gd name="csX128" fmla="*/ 376150 w 748195"/>
              <a:gd name="csY128" fmla="*/ 1608307 h 2076207"/>
              <a:gd name="csX129" fmla="*/ 373450 w 748195"/>
              <a:gd name="csY129" fmla="*/ 1457291 h 2076207"/>
              <a:gd name="csX130" fmla="*/ 370936 w 748195"/>
              <a:gd name="csY130" fmla="*/ 1342736 h 2076207"/>
              <a:gd name="csX131" fmla="*/ 368328 w 748195"/>
              <a:gd name="csY131" fmla="*/ 1203878 h 2076207"/>
              <a:gd name="csX132" fmla="*/ 367836 w 748195"/>
              <a:gd name="csY132" fmla="*/ 813478 h 2076207"/>
              <a:gd name="csX133" fmla="*/ 365240 w 748195"/>
              <a:gd name="csY133" fmla="*/ 773243 h 2076207"/>
              <a:gd name="csX134" fmla="*/ 353084 w 748195"/>
              <a:gd name="csY134" fmla="*/ 762083 h 2076207"/>
              <a:gd name="csX135" fmla="*/ 280966 w 748195"/>
              <a:gd name="csY135" fmla="*/ 759855 h 2076207"/>
              <a:gd name="csX136" fmla="*/ 259965 w 748195"/>
              <a:gd name="csY136" fmla="*/ 779553 h 2076207"/>
              <a:gd name="csX137" fmla="*/ 262341 w 748195"/>
              <a:gd name="csY137" fmla="*/ 856275 h 2076207"/>
              <a:gd name="csX138" fmla="*/ 259999 w 748195"/>
              <a:gd name="csY138" fmla="*/ 966699 h 2076207"/>
              <a:gd name="csX139" fmla="*/ 55556 w 748195"/>
              <a:gd name="csY139" fmla="*/ 1835827 h 2076207"/>
              <a:gd name="csX140" fmla="*/ 49393 w 748195"/>
              <a:gd name="csY140" fmla="*/ 1878155 h 2076207"/>
              <a:gd name="csX141" fmla="*/ 73949 w 748195"/>
              <a:gd name="csY141" fmla="*/ 1905781 h 2076207"/>
              <a:gd name="csX142" fmla="*/ 110073 w 748195"/>
              <a:gd name="csY142" fmla="*/ 1909068 h 2076207"/>
              <a:gd name="csX143" fmla="*/ 224745 w 748195"/>
              <a:gd name="csY143" fmla="*/ 1921652 h 2076207"/>
              <a:gd name="csX144" fmla="*/ 347327 w 748195"/>
              <a:gd name="csY144" fmla="*/ 1924778 h 2076207"/>
              <a:gd name="csX145" fmla="*/ 363345 w 748195"/>
              <a:gd name="csY145" fmla="*/ 1923293 h 2076207"/>
              <a:gd name="csX146" fmla="*/ 373787 w 748195"/>
              <a:gd name="csY146" fmla="*/ 1911200 h 2076207"/>
              <a:gd name="csX147" fmla="*/ 376623 w 748195"/>
              <a:gd name="csY147" fmla="*/ 1696741 h 2076207"/>
              <a:gd name="csX148" fmla="*/ 360437 w 748195"/>
              <a:gd name="csY148" fmla="*/ 1681289 h 2076207"/>
              <a:gd name="csX149" fmla="*/ 263503 w 748195"/>
              <a:gd name="csY149" fmla="*/ 1678179 h 2076207"/>
              <a:gd name="csX150" fmla="*/ 160381 w 748195"/>
              <a:gd name="csY150" fmla="*/ 1670405 h 2076207"/>
              <a:gd name="csX151" fmla="*/ 143321 w 748195"/>
              <a:gd name="csY151" fmla="*/ 1685538 h 2076207"/>
              <a:gd name="csX152" fmla="*/ 124769 w 748195"/>
              <a:gd name="csY152" fmla="*/ 1738195 h 2076207"/>
              <a:gd name="csX153" fmla="*/ 90593 w 748195"/>
              <a:gd name="csY153" fmla="*/ 1779570 h 2076207"/>
              <a:gd name="csX154" fmla="*/ 55556 w 748195"/>
              <a:gd name="csY154" fmla="*/ 1835827 h 2076207"/>
              <a:gd name="csX155" fmla="*/ 378900 w 748195"/>
              <a:gd name="csY155" fmla="*/ 2007280 h 2076207"/>
              <a:gd name="csX156" fmla="*/ 378887 w 748195"/>
              <a:gd name="csY156" fmla="*/ 1995127 h 2076207"/>
              <a:gd name="csX157" fmla="*/ 359084 w 748195"/>
              <a:gd name="csY157" fmla="*/ 1975964 h 2076207"/>
              <a:gd name="csX158" fmla="*/ 247288 w 748195"/>
              <a:gd name="csY158" fmla="*/ 1973305 h 2076207"/>
              <a:gd name="csX159" fmla="*/ 201692 w 748195"/>
              <a:gd name="csY159" fmla="*/ 1970275 h 2076207"/>
              <a:gd name="csX160" fmla="*/ 57962 w 748195"/>
              <a:gd name="csY160" fmla="*/ 1952648 h 2076207"/>
              <a:gd name="csX161" fmla="*/ 39194 w 748195"/>
              <a:gd name="csY161" fmla="*/ 1963552 h 2076207"/>
              <a:gd name="csX162" fmla="*/ 30066 w 748195"/>
              <a:gd name="csY162" fmla="*/ 2006631 h 2076207"/>
              <a:gd name="csX163" fmla="*/ 40232 w 748195"/>
              <a:gd name="csY163" fmla="*/ 2019486 h 2076207"/>
              <a:gd name="csX164" fmla="*/ 238186 w 748195"/>
              <a:gd name="csY164" fmla="*/ 2046096 h 2076207"/>
              <a:gd name="csX165" fmla="*/ 342155 w 748195"/>
              <a:gd name="csY165" fmla="*/ 2046441 h 2076207"/>
              <a:gd name="csX166" fmla="*/ 378900 w 748195"/>
              <a:gd name="csY166" fmla="*/ 2007280 h 2076207"/>
              <a:gd name="csX167" fmla="*/ 310220 w 748195"/>
              <a:gd name="csY167" fmla="*/ 554288 h 2076207"/>
              <a:gd name="csX168" fmla="*/ 259136 w 748195"/>
              <a:gd name="csY168" fmla="*/ 556881 h 2076207"/>
              <a:gd name="csX169" fmla="*/ 249085 w 748195"/>
              <a:gd name="csY169" fmla="*/ 567981 h 2076207"/>
              <a:gd name="csX170" fmla="*/ 249141 w 748195"/>
              <a:gd name="csY170" fmla="*/ 605644 h 2076207"/>
              <a:gd name="csX171" fmla="*/ 262628 w 748195"/>
              <a:gd name="csY171" fmla="*/ 605627 h 2076207"/>
              <a:gd name="csX172" fmla="*/ 369608 w 748195"/>
              <a:gd name="csY172" fmla="*/ 603027 h 2076207"/>
              <a:gd name="csX173" fmla="*/ 463931 w 748195"/>
              <a:gd name="csY173" fmla="*/ 605146 h 2076207"/>
              <a:gd name="csX174" fmla="*/ 478113 w 748195"/>
              <a:gd name="csY174" fmla="*/ 595843 h 2076207"/>
              <a:gd name="csX175" fmla="*/ 478796 w 748195"/>
              <a:gd name="csY175" fmla="*/ 556832 h 2076207"/>
              <a:gd name="csX176" fmla="*/ 310220 w 748195"/>
              <a:gd name="csY176" fmla="*/ 554288 h 2076207"/>
              <a:gd name="csX177" fmla="*/ 348836 w 748195"/>
              <a:gd name="csY177" fmla="*/ 684115 h 2076207"/>
              <a:gd name="csX178" fmla="*/ 281333 w 748195"/>
              <a:gd name="csY178" fmla="*/ 683313 h 2076207"/>
              <a:gd name="csX179" fmla="*/ 212728 w 748195"/>
              <a:gd name="csY179" fmla="*/ 681931 h 2076207"/>
              <a:gd name="csX180" fmla="*/ 187283 w 748195"/>
              <a:gd name="csY180" fmla="*/ 689555 h 2076207"/>
              <a:gd name="csX181" fmla="*/ 186163 w 748195"/>
              <a:gd name="csY181" fmla="*/ 718266 h 2076207"/>
              <a:gd name="csX182" fmla="*/ 209894 w 748195"/>
              <a:gd name="csY182" fmla="*/ 726798 h 2076207"/>
              <a:gd name="csX183" fmla="*/ 334814 w 748195"/>
              <a:gd name="csY183" fmla="*/ 732494 h 2076207"/>
              <a:gd name="csX184" fmla="*/ 364856 w 748195"/>
              <a:gd name="csY184" fmla="*/ 707963 h 2076207"/>
              <a:gd name="csX185" fmla="*/ 348836 w 748195"/>
              <a:gd name="csY185" fmla="*/ 684115 h 2076207"/>
              <a:gd name="csX186" fmla="*/ 298865 w 748195"/>
              <a:gd name="csY186" fmla="*/ 621954 h 2076207"/>
              <a:gd name="csX187" fmla="*/ 251619 w 748195"/>
              <a:gd name="csY187" fmla="*/ 622133 h 2076207"/>
              <a:gd name="csX188" fmla="*/ 214459 w 748195"/>
              <a:gd name="csY188" fmla="*/ 636230 h 2076207"/>
              <a:gd name="csX189" fmla="*/ 221436 w 748195"/>
              <a:gd name="csY189" fmla="*/ 654205 h 2076207"/>
              <a:gd name="csX190" fmla="*/ 272412 w 748195"/>
              <a:gd name="csY190" fmla="*/ 657250 h 2076207"/>
              <a:gd name="csX191" fmla="*/ 349094 w 748195"/>
              <a:gd name="csY191" fmla="*/ 659282 h 2076207"/>
              <a:gd name="csX192" fmla="*/ 362996 w 748195"/>
              <a:gd name="csY192" fmla="*/ 644234 h 2076207"/>
              <a:gd name="csX193" fmla="*/ 348472 w 748195"/>
              <a:gd name="csY193" fmla="*/ 624649 h 2076207"/>
              <a:gd name="csX194" fmla="*/ 298865 w 748195"/>
              <a:gd name="csY194" fmla="*/ 621954 h 2076207"/>
              <a:gd name="csX195" fmla="*/ 227796 w 748195"/>
              <a:gd name="csY195" fmla="*/ 528000 h 2076207"/>
              <a:gd name="csX196" fmla="*/ 241009 w 748195"/>
              <a:gd name="csY196" fmla="*/ 545897 h 2076207"/>
              <a:gd name="csX197" fmla="*/ 282607 w 748195"/>
              <a:gd name="csY197" fmla="*/ 543480 h 2076207"/>
              <a:gd name="csX198" fmla="*/ 354213 w 748195"/>
              <a:gd name="csY198" fmla="*/ 543384 h 2076207"/>
              <a:gd name="csX199" fmla="*/ 365334 w 748195"/>
              <a:gd name="csY199" fmla="*/ 533397 h 2076207"/>
              <a:gd name="csX200" fmla="*/ 354531 w 748195"/>
              <a:gd name="csY200" fmla="*/ 521620 h 2076207"/>
              <a:gd name="csX201" fmla="*/ 259169 w 748195"/>
              <a:gd name="csY201" fmla="*/ 521978 h 2076207"/>
              <a:gd name="csX202" fmla="*/ 227796 w 748195"/>
              <a:gd name="csY202" fmla="*/ 528000 h 2076207"/>
              <a:gd name="csX203" fmla="*/ 508068 w 748195"/>
              <a:gd name="csY203" fmla="*/ 190710 h 2076207"/>
              <a:gd name="csX204" fmla="*/ 521293 w 748195"/>
              <a:gd name="csY204" fmla="*/ 205907 h 2076207"/>
              <a:gd name="csX205" fmla="*/ 525175 w 748195"/>
              <a:gd name="csY205" fmla="*/ 202985 h 2076207"/>
              <a:gd name="csX206" fmla="*/ 500276 w 748195"/>
              <a:gd name="csY206" fmla="*/ 160640 h 2076207"/>
              <a:gd name="csX207" fmla="*/ 497122 w 748195"/>
              <a:gd name="csY207" fmla="*/ 162007 h 2076207"/>
              <a:gd name="csX208" fmla="*/ 508068 w 748195"/>
              <a:gd name="csY208" fmla="*/ 190710 h 2076207"/>
              <a:gd name="csX209" fmla="*/ 215522 w 748195"/>
              <a:gd name="csY209" fmla="*/ 197296 h 2076207"/>
              <a:gd name="csX210" fmla="*/ 234029 w 748195"/>
              <a:gd name="csY210" fmla="*/ 162725 h 2076207"/>
              <a:gd name="csX211" fmla="*/ 229000 w 748195"/>
              <a:gd name="csY211" fmla="*/ 159902 h 2076207"/>
              <a:gd name="csX212" fmla="*/ 204824 w 748195"/>
              <a:gd name="csY212" fmla="*/ 199677 h 2076207"/>
              <a:gd name="csX213" fmla="*/ 207990 w 748195"/>
              <a:gd name="csY213" fmla="*/ 202198 h 2076207"/>
              <a:gd name="csX214" fmla="*/ 215522 w 748195"/>
              <a:gd name="csY214" fmla="*/ 197296 h 2076207"/>
              <a:gd name="csX215" fmla="*/ 484400 w 748195"/>
              <a:gd name="csY215" fmla="*/ 896678 h 2076207"/>
              <a:gd name="csX216" fmla="*/ 486181 w 748195"/>
              <a:gd name="csY216" fmla="*/ 896585 h 2076207"/>
              <a:gd name="csX217" fmla="*/ 486181 w 748195"/>
              <a:gd name="csY217" fmla="*/ 795289 h 2076207"/>
              <a:gd name="csX218" fmla="*/ 720241 w 748195"/>
              <a:gd name="csY218" fmla="*/ 2030666 h 2076207"/>
              <a:gd name="csX219" fmla="*/ 721175 w 748195"/>
              <a:gd name="csY219" fmla="*/ 2029733 h 2076207"/>
              <a:gd name="csX220" fmla="*/ 720241 w 748195"/>
              <a:gd name="csY220" fmla="*/ 2030666 h 2076207"/>
              <a:gd name="csX221" fmla="*/ 715702 w 748195"/>
              <a:gd name="csY221" fmla="*/ 2037051 h 2076207"/>
              <a:gd name="csX222" fmla="*/ 715702 w 748195"/>
              <a:gd name="csY222" fmla="*/ 2037051 h 2076207"/>
              <a:gd name="csX0" fmla="*/ 96263 w 748195"/>
              <a:gd name="csY0" fmla="*/ 2076207 h 2076207"/>
              <a:gd name="csX1" fmla="*/ 63862 w 748195"/>
              <a:gd name="csY1" fmla="*/ 2065388 h 2076207"/>
              <a:gd name="csX2" fmla="*/ 16555 w 748195"/>
              <a:gd name="csY2" fmla="*/ 2050152 h 2076207"/>
              <a:gd name="csX3" fmla="*/ 15 w 748195"/>
              <a:gd name="csY3" fmla="*/ 2023802 h 2076207"/>
              <a:gd name="csX4" fmla="*/ 18368 w 748195"/>
              <a:gd name="csY4" fmla="*/ 1940709 h 2076207"/>
              <a:gd name="csX5" fmla="*/ 22139 w 748195"/>
              <a:gd name="csY5" fmla="*/ 1907268 h 2076207"/>
              <a:gd name="csX6" fmla="*/ 57941 w 748195"/>
              <a:gd name="csY6" fmla="*/ 1774163 h 2076207"/>
              <a:gd name="csX7" fmla="*/ 102478 w 748195"/>
              <a:gd name="csY7" fmla="*/ 1720275 h 2076207"/>
              <a:gd name="csX8" fmla="*/ 108579 w 748195"/>
              <a:gd name="csY8" fmla="*/ 1650967 h 2076207"/>
              <a:gd name="csX9" fmla="*/ 115628 w 748195"/>
              <a:gd name="csY9" fmla="*/ 1625405 h 2076207"/>
              <a:gd name="csX10" fmla="*/ 156323 w 748195"/>
              <a:gd name="csY10" fmla="*/ 1560181 h 2076207"/>
              <a:gd name="csX11" fmla="*/ 199424 w 748195"/>
              <a:gd name="csY11" fmla="*/ 1364729 h 2076207"/>
              <a:gd name="csX12" fmla="*/ 216779 w 748195"/>
              <a:gd name="csY12" fmla="*/ 1219490 h 2076207"/>
              <a:gd name="csX13" fmla="*/ 229755 w 748195"/>
              <a:gd name="csY13" fmla="*/ 1099357 h 2076207"/>
              <a:gd name="csX14" fmla="*/ 232707 w 748195"/>
              <a:gd name="csY14" fmla="*/ 1056423 h 2076207"/>
              <a:gd name="csX15" fmla="*/ 235622 w 748195"/>
              <a:gd name="csY15" fmla="*/ 952675 h 2076207"/>
              <a:gd name="csX16" fmla="*/ 235445 w 748195"/>
              <a:gd name="csY16" fmla="*/ 780278 h 2076207"/>
              <a:gd name="csX17" fmla="*/ 214544 w 748195"/>
              <a:gd name="csY17" fmla="*/ 756435 h 2076207"/>
              <a:gd name="csX18" fmla="*/ 172569 w 748195"/>
              <a:gd name="csY18" fmla="*/ 742582 h 2076207"/>
              <a:gd name="csX19" fmla="*/ 168784 w 748195"/>
              <a:gd name="csY19" fmla="*/ 669116 h 2076207"/>
              <a:gd name="csX20" fmla="*/ 191657 w 748195"/>
              <a:gd name="csY20" fmla="*/ 630765 h 2076207"/>
              <a:gd name="csX21" fmla="*/ 208150 w 748195"/>
              <a:gd name="csY21" fmla="*/ 609084 h 2076207"/>
              <a:gd name="csX22" fmla="*/ 216756 w 748195"/>
              <a:gd name="csY22" fmla="*/ 558673 h 2076207"/>
              <a:gd name="csX23" fmla="*/ 209092 w 748195"/>
              <a:gd name="csY23" fmla="*/ 521540 h 2076207"/>
              <a:gd name="csX24" fmla="*/ 204683 w 748195"/>
              <a:gd name="csY24" fmla="*/ 474024 h 2076207"/>
              <a:gd name="csX25" fmla="*/ 115483 w 748195"/>
              <a:gd name="csY25" fmla="*/ 213499 h 2076207"/>
              <a:gd name="csX26" fmla="*/ 102909 w 748195"/>
              <a:gd name="csY26" fmla="*/ 182297 h 2076207"/>
              <a:gd name="csX27" fmla="*/ 104315 w 748195"/>
              <a:gd name="csY27" fmla="*/ 163968 h 2076207"/>
              <a:gd name="csX28" fmla="*/ 122444 w 748195"/>
              <a:gd name="csY28" fmla="*/ 160805 h 2076207"/>
              <a:gd name="csX29" fmla="*/ 170283 w 748195"/>
              <a:gd name="csY29" fmla="*/ 187783 h 2076207"/>
              <a:gd name="csX30" fmla="*/ 180938 w 748195"/>
              <a:gd name="csY30" fmla="*/ 195322 h 2076207"/>
              <a:gd name="csX31" fmla="*/ 221419 w 748195"/>
              <a:gd name="csY31" fmla="*/ 138058 h 2076207"/>
              <a:gd name="csX32" fmla="*/ 294099 w 748195"/>
              <a:gd name="csY32" fmla="*/ 91372 h 2076207"/>
              <a:gd name="csX33" fmla="*/ 302307 w 748195"/>
              <a:gd name="csY33" fmla="*/ 76560 h 2076207"/>
              <a:gd name="csX34" fmla="*/ 320284 w 748195"/>
              <a:gd name="csY34" fmla="*/ 8414 h 2076207"/>
              <a:gd name="csX35" fmla="*/ 324784 w 748195"/>
              <a:gd name="csY35" fmla="*/ 946 h 2076207"/>
              <a:gd name="csX36" fmla="*/ 399212 w 748195"/>
              <a:gd name="csY36" fmla="*/ 0 h 2076207"/>
              <a:gd name="csX37" fmla="*/ 425980 w 748195"/>
              <a:gd name="csY37" fmla="*/ 78301 h 2076207"/>
              <a:gd name="csX38" fmla="*/ 431861 w 748195"/>
              <a:gd name="csY38" fmla="*/ 90312 h 2076207"/>
              <a:gd name="csX39" fmla="*/ 540349 w 748195"/>
              <a:gd name="csY39" fmla="*/ 187946 h 2076207"/>
              <a:gd name="csX40" fmla="*/ 545555 w 748195"/>
              <a:gd name="csY40" fmla="*/ 197828 h 2076207"/>
              <a:gd name="csX41" fmla="*/ 587318 w 748195"/>
              <a:gd name="csY41" fmla="*/ 171260 h 2076207"/>
              <a:gd name="csX42" fmla="*/ 601503 w 748195"/>
              <a:gd name="csY42" fmla="*/ 163707 h 2076207"/>
              <a:gd name="csX43" fmla="*/ 625254 w 748195"/>
              <a:gd name="csY43" fmla="*/ 163123 h 2076207"/>
              <a:gd name="csX44" fmla="*/ 625468 w 748195"/>
              <a:gd name="csY44" fmla="*/ 187579 h 2076207"/>
              <a:gd name="csX45" fmla="*/ 597543 w 748195"/>
              <a:gd name="csY45" fmla="*/ 251872 h 2076207"/>
              <a:gd name="csX46" fmla="*/ 531831 w 748195"/>
              <a:gd name="csY46" fmla="*/ 442689 h 2076207"/>
              <a:gd name="csX47" fmla="*/ 519888 w 748195"/>
              <a:gd name="csY47" fmla="*/ 501474 h 2076207"/>
              <a:gd name="csX48" fmla="*/ 522506 w 748195"/>
              <a:gd name="csY48" fmla="*/ 525086 h 2076207"/>
              <a:gd name="csX49" fmla="*/ 516235 w 748195"/>
              <a:gd name="csY49" fmla="*/ 555946 h 2076207"/>
              <a:gd name="csX50" fmla="*/ 521332 w 748195"/>
              <a:gd name="csY50" fmla="*/ 610676 h 2076207"/>
              <a:gd name="csX51" fmla="*/ 541382 w 748195"/>
              <a:gd name="csY51" fmla="*/ 642597 h 2076207"/>
              <a:gd name="csX52" fmla="*/ 557031 w 748195"/>
              <a:gd name="csY52" fmla="*/ 667949 h 2076207"/>
              <a:gd name="csX53" fmla="*/ 553994 w 748195"/>
              <a:gd name="csY53" fmla="*/ 744146 h 2076207"/>
              <a:gd name="csX54" fmla="*/ 508215 w 748195"/>
              <a:gd name="csY54" fmla="*/ 758841 h 2076207"/>
              <a:gd name="csX55" fmla="*/ 497442 w 748195"/>
              <a:gd name="csY55" fmla="*/ 771256 h 2076207"/>
              <a:gd name="csX56" fmla="*/ 493005 w 748195"/>
              <a:gd name="csY56" fmla="*/ 922055 h 2076207"/>
              <a:gd name="csX57" fmla="*/ 502900 w 748195"/>
              <a:gd name="csY57" fmla="*/ 1114191 h 2076207"/>
              <a:gd name="csX58" fmla="*/ 508800 w 748195"/>
              <a:gd name="csY58" fmla="*/ 1205474 h 2076207"/>
              <a:gd name="csX59" fmla="*/ 522952 w 748195"/>
              <a:gd name="csY59" fmla="*/ 1320065 h 2076207"/>
              <a:gd name="csX60" fmla="*/ 554682 w 748195"/>
              <a:gd name="csY60" fmla="*/ 1501203 h 2076207"/>
              <a:gd name="csX61" fmla="*/ 576958 w 748195"/>
              <a:gd name="csY61" fmla="*/ 1593963 h 2076207"/>
              <a:gd name="csX62" fmla="*/ 595349 w 748195"/>
              <a:gd name="csY62" fmla="*/ 1613498 h 2076207"/>
              <a:gd name="csX63" fmla="*/ 613936 w 748195"/>
              <a:gd name="csY63" fmla="*/ 1624058 h 2076207"/>
              <a:gd name="csX64" fmla="*/ 620938 w 748195"/>
              <a:gd name="csY64" fmla="*/ 1652071 h 2076207"/>
              <a:gd name="csX65" fmla="*/ 630805 w 748195"/>
              <a:gd name="csY65" fmla="*/ 1721702 h 2076207"/>
              <a:gd name="csX66" fmla="*/ 685830 w 748195"/>
              <a:gd name="csY66" fmla="*/ 1792915 h 2076207"/>
              <a:gd name="csX67" fmla="*/ 708904 w 748195"/>
              <a:gd name="csY67" fmla="*/ 1890290 h 2076207"/>
              <a:gd name="csX68" fmla="*/ 716580 w 748195"/>
              <a:gd name="csY68" fmla="*/ 1951136 h 2076207"/>
              <a:gd name="csX69" fmla="*/ 729397 w 748195"/>
              <a:gd name="csY69" fmla="*/ 2030261 h 2076207"/>
              <a:gd name="csX70" fmla="*/ 714212 w 748195"/>
              <a:gd name="csY70" fmla="*/ 2049544 h 2076207"/>
              <a:gd name="csX71" fmla="*/ 645428 w 748195"/>
              <a:gd name="csY71" fmla="*/ 2070825 h 2076207"/>
              <a:gd name="csX72" fmla="*/ 667788 w 748195"/>
              <a:gd name="csY72" fmla="*/ 2056852 h 2076207"/>
              <a:gd name="csX73" fmla="*/ 706629 w 748195"/>
              <a:gd name="csY73" fmla="*/ 2044290 h 2076207"/>
              <a:gd name="csX74" fmla="*/ 702674 w 748195"/>
              <a:gd name="csY74" fmla="*/ 2041581 h 2076207"/>
              <a:gd name="csX75" fmla="*/ 96263 w 748195"/>
              <a:gd name="csY75" fmla="*/ 2076207 h 2076207"/>
              <a:gd name="csX76" fmla="*/ 489970 w 748195"/>
              <a:gd name="csY76" fmla="*/ 152208 h 2076207"/>
              <a:gd name="csX77" fmla="*/ 490754 w 748195"/>
              <a:gd name="csY77" fmla="*/ 152592 h 2076207"/>
              <a:gd name="csX78" fmla="*/ 489489 w 748195"/>
              <a:gd name="csY78" fmla="*/ 149547 h 2076207"/>
              <a:gd name="csX79" fmla="*/ 393621 w 748195"/>
              <a:gd name="csY79" fmla="*/ 99259 h 2076207"/>
              <a:gd name="csX80" fmla="*/ 390419 w 748195"/>
              <a:gd name="csY80" fmla="*/ 18568 h 2076207"/>
              <a:gd name="csX81" fmla="*/ 334131 w 748195"/>
              <a:gd name="csY81" fmla="*/ 24327 h 2076207"/>
              <a:gd name="csX82" fmla="*/ 344678 w 748195"/>
              <a:gd name="csY82" fmla="*/ 101259 h 2076207"/>
              <a:gd name="csX83" fmla="*/ 298854 w 748195"/>
              <a:gd name="csY83" fmla="*/ 114003 h 2076207"/>
              <a:gd name="csX84" fmla="*/ 237456 w 748195"/>
              <a:gd name="csY84" fmla="*/ 154340 h 2076207"/>
              <a:gd name="csX85" fmla="*/ 240382 w 748195"/>
              <a:gd name="csY85" fmla="*/ 154035 h 2076207"/>
              <a:gd name="csX86" fmla="*/ 262731 w 748195"/>
              <a:gd name="csY86" fmla="*/ 170426 h 2076207"/>
              <a:gd name="csX87" fmla="*/ 279169 w 748195"/>
              <a:gd name="csY87" fmla="*/ 193173 h 2076207"/>
              <a:gd name="csX88" fmla="*/ 327717 w 748195"/>
              <a:gd name="csY88" fmla="*/ 188556 h 2076207"/>
              <a:gd name="csX89" fmla="*/ 348052 w 748195"/>
              <a:gd name="csY89" fmla="*/ 156919 h 2076207"/>
              <a:gd name="csX90" fmla="*/ 380330 w 748195"/>
              <a:gd name="csY90" fmla="*/ 156483 h 2076207"/>
              <a:gd name="csX91" fmla="*/ 408490 w 748195"/>
              <a:gd name="csY91" fmla="*/ 195400 h 2076207"/>
              <a:gd name="csX92" fmla="*/ 445346 w 748195"/>
              <a:gd name="csY92" fmla="*/ 197582 h 2076207"/>
              <a:gd name="csX93" fmla="*/ 464798 w 748195"/>
              <a:gd name="csY93" fmla="*/ 174107 h 2076207"/>
              <a:gd name="csX94" fmla="*/ 489970 w 748195"/>
              <a:gd name="csY94" fmla="*/ 152208 h 2076207"/>
              <a:gd name="csX95" fmla="*/ 140694 w 748195"/>
              <a:gd name="csY95" fmla="*/ 201837 h 2076207"/>
              <a:gd name="csX96" fmla="*/ 139834 w 748195"/>
              <a:gd name="csY96" fmla="*/ 201482 h 2076207"/>
              <a:gd name="csX97" fmla="*/ 140812 w 748195"/>
              <a:gd name="csY97" fmla="*/ 204941 h 2076207"/>
              <a:gd name="csX98" fmla="*/ 144631 w 748195"/>
              <a:gd name="csY98" fmla="*/ 217811 h 2076207"/>
              <a:gd name="csX99" fmla="*/ 201241 w 748195"/>
              <a:gd name="csY99" fmla="*/ 373387 h 2076207"/>
              <a:gd name="csX100" fmla="*/ 235971 w 748195"/>
              <a:gd name="csY100" fmla="*/ 504451 h 2076207"/>
              <a:gd name="csX101" fmla="*/ 247475 w 748195"/>
              <a:gd name="csY101" fmla="*/ 513241 h 2076207"/>
              <a:gd name="csX102" fmla="*/ 289066 w 748195"/>
              <a:gd name="csY102" fmla="*/ 511170 h 2076207"/>
              <a:gd name="csX103" fmla="*/ 378229 w 748195"/>
              <a:gd name="csY103" fmla="*/ 511084 h 2076207"/>
              <a:gd name="csX104" fmla="*/ 470850 w 748195"/>
              <a:gd name="csY104" fmla="*/ 516341 h 2076207"/>
              <a:gd name="csX105" fmla="*/ 492933 w 748195"/>
              <a:gd name="csY105" fmla="*/ 497969 h 2076207"/>
              <a:gd name="csX106" fmla="*/ 557617 w 748195"/>
              <a:gd name="csY106" fmla="*/ 280398 h 2076207"/>
              <a:gd name="csX107" fmla="*/ 588788 w 748195"/>
              <a:gd name="csY107" fmla="*/ 200385 h 2076207"/>
              <a:gd name="csX108" fmla="*/ 530958 w 748195"/>
              <a:gd name="csY108" fmla="*/ 232968 h 2076207"/>
              <a:gd name="csX109" fmla="*/ 483823 w 748195"/>
              <a:gd name="csY109" fmla="*/ 190364 h 2076207"/>
              <a:gd name="csX110" fmla="*/ 466649 w 748195"/>
              <a:gd name="csY110" fmla="*/ 209061 h 2076207"/>
              <a:gd name="csX111" fmla="*/ 399941 w 748195"/>
              <a:gd name="csY111" fmla="*/ 216988 h 2076207"/>
              <a:gd name="csX112" fmla="*/ 363018 w 748195"/>
              <a:gd name="csY112" fmla="*/ 179615 h 2076207"/>
              <a:gd name="csX113" fmla="*/ 308839 w 748195"/>
              <a:gd name="csY113" fmla="*/ 227846 h 2076207"/>
              <a:gd name="csX114" fmla="*/ 245077 w 748195"/>
              <a:gd name="csY114" fmla="*/ 192402 h 2076207"/>
              <a:gd name="csX115" fmla="*/ 242829 w 748195"/>
              <a:gd name="csY115" fmla="*/ 198815 h 2076207"/>
              <a:gd name="csX116" fmla="*/ 168452 w 748195"/>
              <a:gd name="csY116" fmla="*/ 219348 h 2076207"/>
              <a:gd name="csX117" fmla="*/ 140694 w 748195"/>
              <a:gd name="csY117" fmla="*/ 201837 h 2076207"/>
              <a:gd name="csX118" fmla="*/ 259999 w 748195"/>
              <a:gd name="csY118" fmla="*/ 966699 h 2076207"/>
              <a:gd name="csX119" fmla="*/ 257072 w 748195"/>
              <a:gd name="csY119" fmla="*/ 1070424 h 2076207"/>
              <a:gd name="csX120" fmla="*/ 251372 w 748195"/>
              <a:gd name="csY120" fmla="*/ 1157618 h 2076207"/>
              <a:gd name="csX121" fmla="*/ 232677 w 748195"/>
              <a:gd name="csY121" fmla="*/ 1320279 h 2076207"/>
              <a:gd name="csX122" fmla="*/ 209182 w 748195"/>
              <a:gd name="csY122" fmla="*/ 1468667 h 2076207"/>
              <a:gd name="csX123" fmla="*/ 175302 w 748195"/>
              <a:gd name="csY123" fmla="*/ 1616623 h 2076207"/>
              <a:gd name="csX124" fmla="*/ 182769 w 748195"/>
              <a:gd name="csY124" fmla="*/ 1629786 h 2076207"/>
              <a:gd name="csX125" fmla="*/ 212156 w 748195"/>
              <a:gd name="csY125" fmla="*/ 1632656 h 2076207"/>
              <a:gd name="csX126" fmla="*/ 351295 w 748195"/>
              <a:gd name="csY126" fmla="*/ 1632801 h 2076207"/>
              <a:gd name="csX127" fmla="*/ 376150 w 748195"/>
              <a:gd name="csY127" fmla="*/ 1608307 h 2076207"/>
              <a:gd name="csX128" fmla="*/ 373450 w 748195"/>
              <a:gd name="csY128" fmla="*/ 1457291 h 2076207"/>
              <a:gd name="csX129" fmla="*/ 370936 w 748195"/>
              <a:gd name="csY129" fmla="*/ 1342736 h 2076207"/>
              <a:gd name="csX130" fmla="*/ 368328 w 748195"/>
              <a:gd name="csY130" fmla="*/ 1203878 h 2076207"/>
              <a:gd name="csX131" fmla="*/ 367836 w 748195"/>
              <a:gd name="csY131" fmla="*/ 813478 h 2076207"/>
              <a:gd name="csX132" fmla="*/ 365240 w 748195"/>
              <a:gd name="csY132" fmla="*/ 773243 h 2076207"/>
              <a:gd name="csX133" fmla="*/ 353084 w 748195"/>
              <a:gd name="csY133" fmla="*/ 762083 h 2076207"/>
              <a:gd name="csX134" fmla="*/ 280966 w 748195"/>
              <a:gd name="csY134" fmla="*/ 759855 h 2076207"/>
              <a:gd name="csX135" fmla="*/ 259965 w 748195"/>
              <a:gd name="csY135" fmla="*/ 779553 h 2076207"/>
              <a:gd name="csX136" fmla="*/ 262341 w 748195"/>
              <a:gd name="csY136" fmla="*/ 856275 h 2076207"/>
              <a:gd name="csX137" fmla="*/ 259999 w 748195"/>
              <a:gd name="csY137" fmla="*/ 966699 h 2076207"/>
              <a:gd name="csX138" fmla="*/ 55556 w 748195"/>
              <a:gd name="csY138" fmla="*/ 1835827 h 2076207"/>
              <a:gd name="csX139" fmla="*/ 49393 w 748195"/>
              <a:gd name="csY139" fmla="*/ 1878155 h 2076207"/>
              <a:gd name="csX140" fmla="*/ 73949 w 748195"/>
              <a:gd name="csY140" fmla="*/ 1905781 h 2076207"/>
              <a:gd name="csX141" fmla="*/ 110073 w 748195"/>
              <a:gd name="csY141" fmla="*/ 1909068 h 2076207"/>
              <a:gd name="csX142" fmla="*/ 224745 w 748195"/>
              <a:gd name="csY142" fmla="*/ 1921652 h 2076207"/>
              <a:gd name="csX143" fmla="*/ 347327 w 748195"/>
              <a:gd name="csY143" fmla="*/ 1924778 h 2076207"/>
              <a:gd name="csX144" fmla="*/ 363345 w 748195"/>
              <a:gd name="csY144" fmla="*/ 1923293 h 2076207"/>
              <a:gd name="csX145" fmla="*/ 373787 w 748195"/>
              <a:gd name="csY145" fmla="*/ 1911200 h 2076207"/>
              <a:gd name="csX146" fmla="*/ 376623 w 748195"/>
              <a:gd name="csY146" fmla="*/ 1696741 h 2076207"/>
              <a:gd name="csX147" fmla="*/ 360437 w 748195"/>
              <a:gd name="csY147" fmla="*/ 1681289 h 2076207"/>
              <a:gd name="csX148" fmla="*/ 263503 w 748195"/>
              <a:gd name="csY148" fmla="*/ 1678179 h 2076207"/>
              <a:gd name="csX149" fmla="*/ 160381 w 748195"/>
              <a:gd name="csY149" fmla="*/ 1670405 h 2076207"/>
              <a:gd name="csX150" fmla="*/ 143321 w 748195"/>
              <a:gd name="csY150" fmla="*/ 1685538 h 2076207"/>
              <a:gd name="csX151" fmla="*/ 124769 w 748195"/>
              <a:gd name="csY151" fmla="*/ 1738195 h 2076207"/>
              <a:gd name="csX152" fmla="*/ 90593 w 748195"/>
              <a:gd name="csY152" fmla="*/ 1779570 h 2076207"/>
              <a:gd name="csX153" fmla="*/ 55556 w 748195"/>
              <a:gd name="csY153" fmla="*/ 1835827 h 2076207"/>
              <a:gd name="csX154" fmla="*/ 378900 w 748195"/>
              <a:gd name="csY154" fmla="*/ 2007280 h 2076207"/>
              <a:gd name="csX155" fmla="*/ 378887 w 748195"/>
              <a:gd name="csY155" fmla="*/ 1995127 h 2076207"/>
              <a:gd name="csX156" fmla="*/ 359084 w 748195"/>
              <a:gd name="csY156" fmla="*/ 1975964 h 2076207"/>
              <a:gd name="csX157" fmla="*/ 247288 w 748195"/>
              <a:gd name="csY157" fmla="*/ 1973305 h 2076207"/>
              <a:gd name="csX158" fmla="*/ 201692 w 748195"/>
              <a:gd name="csY158" fmla="*/ 1970275 h 2076207"/>
              <a:gd name="csX159" fmla="*/ 57962 w 748195"/>
              <a:gd name="csY159" fmla="*/ 1952648 h 2076207"/>
              <a:gd name="csX160" fmla="*/ 39194 w 748195"/>
              <a:gd name="csY160" fmla="*/ 1963552 h 2076207"/>
              <a:gd name="csX161" fmla="*/ 30066 w 748195"/>
              <a:gd name="csY161" fmla="*/ 2006631 h 2076207"/>
              <a:gd name="csX162" fmla="*/ 40232 w 748195"/>
              <a:gd name="csY162" fmla="*/ 2019486 h 2076207"/>
              <a:gd name="csX163" fmla="*/ 238186 w 748195"/>
              <a:gd name="csY163" fmla="*/ 2046096 h 2076207"/>
              <a:gd name="csX164" fmla="*/ 342155 w 748195"/>
              <a:gd name="csY164" fmla="*/ 2046441 h 2076207"/>
              <a:gd name="csX165" fmla="*/ 378900 w 748195"/>
              <a:gd name="csY165" fmla="*/ 2007280 h 2076207"/>
              <a:gd name="csX166" fmla="*/ 310220 w 748195"/>
              <a:gd name="csY166" fmla="*/ 554288 h 2076207"/>
              <a:gd name="csX167" fmla="*/ 259136 w 748195"/>
              <a:gd name="csY167" fmla="*/ 556881 h 2076207"/>
              <a:gd name="csX168" fmla="*/ 249085 w 748195"/>
              <a:gd name="csY168" fmla="*/ 567981 h 2076207"/>
              <a:gd name="csX169" fmla="*/ 249141 w 748195"/>
              <a:gd name="csY169" fmla="*/ 605644 h 2076207"/>
              <a:gd name="csX170" fmla="*/ 262628 w 748195"/>
              <a:gd name="csY170" fmla="*/ 605627 h 2076207"/>
              <a:gd name="csX171" fmla="*/ 369608 w 748195"/>
              <a:gd name="csY171" fmla="*/ 603027 h 2076207"/>
              <a:gd name="csX172" fmla="*/ 463931 w 748195"/>
              <a:gd name="csY172" fmla="*/ 605146 h 2076207"/>
              <a:gd name="csX173" fmla="*/ 478113 w 748195"/>
              <a:gd name="csY173" fmla="*/ 595843 h 2076207"/>
              <a:gd name="csX174" fmla="*/ 478796 w 748195"/>
              <a:gd name="csY174" fmla="*/ 556832 h 2076207"/>
              <a:gd name="csX175" fmla="*/ 310220 w 748195"/>
              <a:gd name="csY175" fmla="*/ 554288 h 2076207"/>
              <a:gd name="csX176" fmla="*/ 348836 w 748195"/>
              <a:gd name="csY176" fmla="*/ 684115 h 2076207"/>
              <a:gd name="csX177" fmla="*/ 281333 w 748195"/>
              <a:gd name="csY177" fmla="*/ 683313 h 2076207"/>
              <a:gd name="csX178" fmla="*/ 212728 w 748195"/>
              <a:gd name="csY178" fmla="*/ 681931 h 2076207"/>
              <a:gd name="csX179" fmla="*/ 187283 w 748195"/>
              <a:gd name="csY179" fmla="*/ 689555 h 2076207"/>
              <a:gd name="csX180" fmla="*/ 186163 w 748195"/>
              <a:gd name="csY180" fmla="*/ 718266 h 2076207"/>
              <a:gd name="csX181" fmla="*/ 209894 w 748195"/>
              <a:gd name="csY181" fmla="*/ 726798 h 2076207"/>
              <a:gd name="csX182" fmla="*/ 334814 w 748195"/>
              <a:gd name="csY182" fmla="*/ 732494 h 2076207"/>
              <a:gd name="csX183" fmla="*/ 364856 w 748195"/>
              <a:gd name="csY183" fmla="*/ 707963 h 2076207"/>
              <a:gd name="csX184" fmla="*/ 348836 w 748195"/>
              <a:gd name="csY184" fmla="*/ 684115 h 2076207"/>
              <a:gd name="csX185" fmla="*/ 298865 w 748195"/>
              <a:gd name="csY185" fmla="*/ 621954 h 2076207"/>
              <a:gd name="csX186" fmla="*/ 251619 w 748195"/>
              <a:gd name="csY186" fmla="*/ 622133 h 2076207"/>
              <a:gd name="csX187" fmla="*/ 214459 w 748195"/>
              <a:gd name="csY187" fmla="*/ 636230 h 2076207"/>
              <a:gd name="csX188" fmla="*/ 221436 w 748195"/>
              <a:gd name="csY188" fmla="*/ 654205 h 2076207"/>
              <a:gd name="csX189" fmla="*/ 272412 w 748195"/>
              <a:gd name="csY189" fmla="*/ 657250 h 2076207"/>
              <a:gd name="csX190" fmla="*/ 349094 w 748195"/>
              <a:gd name="csY190" fmla="*/ 659282 h 2076207"/>
              <a:gd name="csX191" fmla="*/ 362996 w 748195"/>
              <a:gd name="csY191" fmla="*/ 644234 h 2076207"/>
              <a:gd name="csX192" fmla="*/ 348472 w 748195"/>
              <a:gd name="csY192" fmla="*/ 624649 h 2076207"/>
              <a:gd name="csX193" fmla="*/ 298865 w 748195"/>
              <a:gd name="csY193" fmla="*/ 621954 h 2076207"/>
              <a:gd name="csX194" fmla="*/ 227796 w 748195"/>
              <a:gd name="csY194" fmla="*/ 528000 h 2076207"/>
              <a:gd name="csX195" fmla="*/ 241009 w 748195"/>
              <a:gd name="csY195" fmla="*/ 545897 h 2076207"/>
              <a:gd name="csX196" fmla="*/ 282607 w 748195"/>
              <a:gd name="csY196" fmla="*/ 543480 h 2076207"/>
              <a:gd name="csX197" fmla="*/ 354213 w 748195"/>
              <a:gd name="csY197" fmla="*/ 543384 h 2076207"/>
              <a:gd name="csX198" fmla="*/ 365334 w 748195"/>
              <a:gd name="csY198" fmla="*/ 533397 h 2076207"/>
              <a:gd name="csX199" fmla="*/ 354531 w 748195"/>
              <a:gd name="csY199" fmla="*/ 521620 h 2076207"/>
              <a:gd name="csX200" fmla="*/ 259169 w 748195"/>
              <a:gd name="csY200" fmla="*/ 521978 h 2076207"/>
              <a:gd name="csX201" fmla="*/ 227796 w 748195"/>
              <a:gd name="csY201" fmla="*/ 528000 h 2076207"/>
              <a:gd name="csX202" fmla="*/ 508068 w 748195"/>
              <a:gd name="csY202" fmla="*/ 190710 h 2076207"/>
              <a:gd name="csX203" fmla="*/ 521293 w 748195"/>
              <a:gd name="csY203" fmla="*/ 205907 h 2076207"/>
              <a:gd name="csX204" fmla="*/ 525175 w 748195"/>
              <a:gd name="csY204" fmla="*/ 202985 h 2076207"/>
              <a:gd name="csX205" fmla="*/ 500276 w 748195"/>
              <a:gd name="csY205" fmla="*/ 160640 h 2076207"/>
              <a:gd name="csX206" fmla="*/ 497122 w 748195"/>
              <a:gd name="csY206" fmla="*/ 162007 h 2076207"/>
              <a:gd name="csX207" fmla="*/ 508068 w 748195"/>
              <a:gd name="csY207" fmla="*/ 190710 h 2076207"/>
              <a:gd name="csX208" fmla="*/ 215522 w 748195"/>
              <a:gd name="csY208" fmla="*/ 197296 h 2076207"/>
              <a:gd name="csX209" fmla="*/ 234029 w 748195"/>
              <a:gd name="csY209" fmla="*/ 162725 h 2076207"/>
              <a:gd name="csX210" fmla="*/ 229000 w 748195"/>
              <a:gd name="csY210" fmla="*/ 159902 h 2076207"/>
              <a:gd name="csX211" fmla="*/ 204824 w 748195"/>
              <a:gd name="csY211" fmla="*/ 199677 h 2076207"/>
              <a:gd name="csX212" fmla="*/ 207990 w 748195"/>
              <a:gd name="csY212" fmla="*/ 202198 h 2076207"/>
              <a:gd name="csX213" fmla="*/ 215522 w 748195"/>
              <a:gd name="csY213" fmla="*/ 197296 h 2076207"/>
              <a:gd name="csX214" fmla="*/ 484400 w 748195"/>
              <a:gd name="csY214" fmla="*/ 896678 h 2076207"/>
              <a:gd name="csX215" fmla="*/ 486181 w 748195"/>
              <a:gd name="csY215" fmla="*/ 896585 h 2076207"/>
              <a:gd name="csX216" fmla="*/ 486181 w 748195"/>
              <a:gd name="csY216" fmla="*/ 795289 h 2076207"/>
              <a:gd name="csX217" fmla="*/ 720241 w 748195"/>
              <a:gd name="csY217" fmla="*/ 2030666 h 2076207"/>
              <a:gd name="csX218" fmla="*/ 721175 w 748195"/>
              <a:gd name="csY218" fmla="*/ 2029733 h 2076207"/>
              <a:gd name="csX219" fmla="*/ 720241 w 748195"/>
              <a:gd name="csY219" fmla="*/ 2030666 h 2076207"/>
              <a:gd name="csX220" fmla="*/ 715702 w 748195"/>
              <a:gd name="csY220" fmla="*/ 2037051 h 2076207"/>
              <a:gd name="csX221" fmla="*/ 715702 w 748195"/>
              <a:gd name="csY221" fmla="*/ 2037051 h 2076207"/>
              <a:gd name="csX0" fmla="*/ 96263 w 748195"/>
              <a:gd name="csY0" fmla="*/ 2076207 h 2076207"/>
              <a:gd name="csX1" fmla="*/ 63862 w 748195"/>
              <a:gd name="csY1" fmla="*/ 2065388 h 2076207"/>
              <a:gd name="csX2" fmla="*/ 16555 w 748195"/>
              <a:gd name="csY2" fmla="*/ 2050152 h 2076207"/>
              <a:gd name="csX3" fmla="*/ 15 w 748195"/>
              <a:gd name="csY3" fmla="*/ 2023802 h 2076207"/>
              <a:gd name="csX4" fmla="*/ 18368 w 748195"/>
              <a:gd name="csY4" fmla="*/ 1940709 h 2076207"/>
              <a:gd name="csX5" fmla="*/ 22139 w 748195"/>
              <a:gd name="csY5" fmla="*/ 1907268 h 2076207"/>
              <a:gd name="csX6" fmla="*/ 57941 w 748195"/>
              <a:gd name="csY6" fmla="*/ 1774163 h 2076207"/>
              <a:gd name="csX7" fmla="*/ 102478 w 748195"/>
              <a:gd name="csY7" fmla="*/ 1720275 h 2076207"/>
              <a:gd name="csX8" fmla="*/ 108579 w 748195"/>
              <a:gd name="csY8" fmla="*/ 1650967 h 2076207"/>
              <a:gd name="csX9" fmla="*/ 115628 w 748195"/>
              <a:gd name="csY9" fmla="*/ 1625405 h 2076207"/>
              <a:gd name="csX10" fmla="*/ 156323 w 748195"/>
              <a:gd name="csY10" fmla="*/ 1560181 h 2076207"/>
              <a:gd name="csX11" fmla="*/ 199424 w 748195"/>
              <a:gd name="csY11" fmla="*/ 1364729 h 2076207"/>
              <a:gd name="csX12" fmla="*/ 216779 w 748195"/>
              <a:gd name="csY12" fmla="*/ 1219490 h 2076207"/>
              <a:gd name="csX13" fmla="*/ 229755 w 748195"/>
              <a:gd name="csY13" fmla="*/ 1099357 h 2076207"/>
              <a:gd name="csX14" fmla="*/ 232707 w 748195"/>
              <a:gd name="csY14" fmla="*/ 1056423 h 2076207"/>
              <a:gd name="csX15" fmla="*/ 235622 w 748195"/>
              <a:gd name="csY15" fmla="*/ 952675 h 2076207"/>
              <a:gd name="csX16" fmla="*/ 235445 w 748195"/>
              <a:gd name="csY16" fmla="*/ 780278 h 2076207"/>
              <a:gd name="csX17" fmla="*/ 214544 w 748195"/>
              <a:gd name="csY17" fmla="*/ 756435 h 2076207"/>
              <a:gd name="csX18" fmla="*/ 172569 w 748195"/>
              <a:gd name="csY18" fmla="*/ 742582 h 2076207"/>
              <a:gd name="csX19" fmla="*/ 168784 w 748195"/>
              <a:gd name="csY19" fmla="*/ 669116 h 2076207"/>
              <a:gd name="csX20" fmla="*/ 191657 w 748195"/>
              <a:gd name="csY20" fmla="*/ 630765 h 2076207"/>
              <a:gd name="csX21" fmla="*/ 208150 w 748195"/>
              <a:gd name="csY21" fmla="*/ 609084 h 2076207"/>
              <a:gd name="csX22" fmla="*/ 216756 w 748195"/>
              <a:gd name="csY22" fmla="*/ 558673 h 2076207"/>
              <a:gd name="csX23" fmla="*/ 209092 w 748195"/>
              <a:gd name="csY23" fmla="*/ 521540 h 2076207"/>
              <a:gd name="csX24" fmla="*/ 204683 w 748195"/>
              <a:gd name="csY24" fmla="*/ 474024 h 2076207"/>
              <a:gd name="csX25" fmla="*/ 115483 w 748195"/>
              <a:gd name="csY25" fmla="*/ 213499 h 2076207"/>
              <a:gd name="csX26" fmla="*/ 102909 w 748195"/>
              <a:gd name="csY26" fmla="*/ 182297 h 2076207"/>
              <a:gd name="csX27" fmla="*/ 104315 w 748195"/>
              <a:gd name="csY27" fmla="*/ 163968 h 2076207"/>
              <a:gd name="csX28" fmla="*/ 122444 w 748195"/>
              <a:gd name="csY28" fmla="*/ 160805 h 2076207"/>
              <a:gd name="csX29" fmla="*/ 170283 w 748195"/>
              <a:gd name="csY29" fmla="*/ 187783 h 2076207"/>
              <a:gd name="csX30" fmla="*/ 180938 w 748195"/>
              <a:gd name="csY30" fmla="*/ 195322 h 2076207"/>
              <a:gd name="csX31" fmla="*/ 221419 w 748195"/>
              <a:gd name="csY31" fmla="*/ 138058 h 2076207"/>
              <a:gd name="csX32" fmla="*/ 294099 w 748195"/>
              <a:gd name="csY32" fmla="*/ 91372 h 2076207"/>
              <a:gd name="csX33" fmla="*/ 302307 w 748195"/>
              <a:gd name="csY33" fmla="*/ 76560 h 2076207"/>
              <a:gd name="csX34" fmla="*/ 320284 w 748195"/>
              <a:gd name="csY34" fmla="*/ 8414 h 2076207"/>
              <a:gd name="csX35" fmla="*/ 324784 w 748195"/>
              <a:gd name="csY35" fmla="*/ 946 h 2076207"/>
              <a:gd name="csX36" fmla="*/ 399212 w 748195"/>
              <a:gd name="csY36" fmla="*/ 0 h 2076207"/>
              <a:gd name="csX37" fmla="*/ 425980 w 748195"/>
              <a:gd name="csY37" fmla="*/ 78301 h 2076207"/>
              <a:gd name="csX38" fmla="*/ 431861 w 748195"/>
              <a:gd name="csY38" fmla="*/ 90312 h 2076207"/>
              <a:gd name="csX39" fmla="*/ 540349 w 748195"/>
              <a:gd name="csY39" fmla="*/ 187946 h 2076207"/>
              <a:gd name="csX40" fmla="*/ 545555 w 748195"/>
              <a:gd name="csY40" fmla="*/ 197828 h 2076207"/>
              <a:gd name="csX41" fmla="*/ 587318 w 748195"/>
              <a:gd name="csY41" fmla="*/ 171260 h 2076207"/>
              <a:gd name="csX42" fmla="*/ 601503 w 748195"/>
              <a:gd name="csY42" fmla="*/ 163707 h 2076207"/>
              <a:gd name="csX43" fmla="*/ 625254 w 748195"/>
              <a:gd name="csY43" fmla="*/ 163123 h 2076207"/>
              <a:gd name="csX44" fmla="*/ 625468 w 748195"/>
              <a:gd name="csY44" fmla="*/ 187579 h 2076207"/>
              <a:gd name="csX45" fmla="*/ 597543 w 748195"/>
              <a:gd name="csY45" fmla="*/ 251872 h 2076207"/>
              <a:gd name="csX46" fmla="*/ 531831 w 748195"/>
              <a:gd name="csY46" fmla="*/ 442689 h 2076207"/>
              <a:gd name="csX47" fmla="*/ 519888 w 748195"/>
              <a:gd name="csY47" fmla="*/ 501474 h 2076207"/>
              <a:gd name="csX48" fmla="*/ 522506 w 748195"/>
              <a:gd name="csY48" fmla="*/ 525086 h 2076207"/>
              <a:gd name="csX49" fmla="*/ 516235 w 748195"/>
              <a:gd name="csY49" fmla="*/ 555946 h 2076207"/>
              <a:gd name="csX50" fmla="*/ 521332 w 748195"/>
              <a:gd name="csY50" fmla="*/ 610676 h 2076207"/>
              <a:gd name="csX51" fmla="*/ 541382 w 748195"/>
              <a:gd name="csY51" fmla="*/ 642597 h 2076207"/>
              <a:gd name="csX52" fmla="*/ 557031 w 748195"/>
              <a:gd name="csY52" fmla="*/ 667949 h 2076207"/>
              <a:gd name="csX53" fmla="*/ 553994 w 748195"/>
              <a:gd name="csY53" fmla="*/ 744146 h 2076207"/>
              <a:gd name="csX54" fmla="*/ 508215 w 748195"/>
              <a:gd name="csY54" fmla="*/ 758841 h 2076207"/>
              <a:gd name="csX55" fmla="*/ 497442 w 748195"/>
              <a:gd name="csY55" fmla="*/ 771256 h 2076207"/>
              <a:gd name="csX56" fmla="*/ 493005 w 748195"/>
              <a:gd name="csY56" fmla="*/ 922055 h 2076207"/>
              <a:gd name="csX57" fmla="*/ 502900 w 748195"/>
              <a:gd name="csY57" fmla="*/ 1114191 h 2076207"/>
              <a:gd name="csX58" fmla="*/ 508800 w 748195"/>
              <a:gd name="csY58" fmla="*/ 1205474 h 2076207"/>
              <a:gd name="csX59" fmla="*/ 522952 w 748195"/>
              <a:gd name="csY59" fmla="*/ 1320065 h 2076207"/>
              <a:gd name="csX60" fmla="*/ 554682 w 748195"/>
              <a:gd name="csY60" fmla="*/ 1501203 h 2076207"/>
              <a:gd name="csX61" fmla="*/ 576958 w 748195"/>
              <a:gd name="csY61" fmla="*/ 1593963 h 2076207"/>
              <a:gd name="csX62" fmla="*/ 595349 w 748195"/>
              <a:gd name="csY62" fmla="*/ 1613498 h 2076207"/>
              <a:gd name="csX63" fmla="*/ 613936 w 748195"/>
              <a:gd name="csY63" fmla="*/ 1624058 h 2076207"/>
              <a:gd name="csX64" fmla="*/ 620938 w 748195"/>
              <a:gd name="csY64" fmla="*/ 1652071 h 2076207"/>
              <a:gd name="csX65" fmla="*/ 630805 w 748195"/>
              <a:gd name="csY65" fmla="*/ 1721702 h 2076207"/>
              <a:gd name="csX66" fmla="*/ 685830 w 748195"/>
              <a:gd name="csY66" fmla="*/ 1792915 h 2076207"/>
              <a:gd name="csX67" fmla="*/ 708904 w 748195"/>
              <a:gd name="csY67" fmla="*/ 1890290 h 2076207"/>
              <a:gd name="csX68" fmla="*/ 716580 w 748195"/>
              <a:gd name="csY68" fmla="*/ 1951136 h 2076207"/>
              <a:gd name="csX69" fmla="*/ 729397 w 748195"/>
              <a:gd name="csY69" fmla="*/ 2030261 h 2076207"/>
              <a:gd name="csX70" fmla="*/ 714212 w 748195"/>
              <a:gd name="csY70" fmla="*/ 2049544 h 2076207"/>
              <a:gd name="csX71" fmla="*/ 667788 w 748195"/>
              <a:gd name="csY71" fmla="*/ 2056852 h 2076207"/>
              <a:gd name="csX72" fmla="*/ 706629 w 748195"/>
              <a:gd name="csY72" fmla="*/ 2044290 h 2076207"/>
              <a:gd name="csX73" fmla="*/ 702674 w 748195"/>
              <a:gd name="csY73" fmla="*/ 2041581 h 2076207"/>
              <a:gd name="csX74" fmla="*/ 96263 w 748195"/>
              <a:gd name="csY74" fmla="*/ 2076207 h 2076207"/>
              <a:gd name="csX75" fmla="*/ 489970 w 748195"/>
              <a:gd name="csY75" fmla="*/ 152208 h 2076207"/>
              <a:gd name="csX76" fmla="*/ 490754 w 748195"/>
              <a:gd name="csY76" fmla="*/ 152592 h 2076207"/>
              <a:gd name="csX77" fmla="*/ 489489 w 748195"/>
              <a:gd name="csY77" fmla="*/ 149547 h 2076207"/>
              <a:gd name="csX78" fmla="*/ 393621 w 748195"/>
              <a:gd name="csY78" fmla="*/ 99259 h 2076207"/>
              <a:gd name="csX79" fmla="*/ 390419 w 748195"/>
              <a:gd name="csY79" fmla="*/ 18568 h 2076207"/>
              <a:gd name="csX80" fmla="*/ 334131 w 748195"/>
              <a:gd name="csY80" fmla="*/ 24327 h 2076207"/>
              <a:gd name="csX81" fmla="*/ 344678 w 748195"/>
              <a:gd name="csY81" fmla="*/ 101259 h 2076207"/>
              <a:gd name="csX82" fmla="*/ 298854 w 748195"/>
              <a:gd name="csY82" fmla="*/ 114003 h 2076207"/>
              <a:gd name="csX83" fmla="*/ 237456 w 748195"/>
              <a:gd name="csY83" fmla="*/ 154340 h 2076207"/>
              <a:gd name="csX84" fmla="*/ 240382 w 748195"/>
              <a:gd name="csY84" fmla="*/ 154035 h 2076207"/>
              <a:gd name="csX85" fmla="*/ 262731 w 748195"/>
              <a:gd name="csY85" fmla="*/ 170426 h 2076207"/>
              <a:gd name="csX86" fmla="*/ 279169 w 748195"/>
              <a:gd name="csY86" fmla="*/ 193173 h 2076207"/>
              <a:gd name="csX87" fmla="*/ 327717 w 748195"/>
              <a:gd name="csY87" fmla="*/ 188556 h 2076207"/>
              <a:gd name="csX88" fmla="*/ 348052 w 748195"/>
              <a:gd name="csY88" fmla="*/ 156919 h 2076207"/>
              <a:gd name="csX89" fmla="*/ 380330 w 748195"/>
              <a:gd name="csY89" fmla="*/ 156483 h 2076207"/>
              <a:gd name="csX90" fmla="*/ 408490 w 748195"/>
              <a:gd name="csY90" fmla="*/ 195400 h 2076207"/>
              <a:gd name="csX91" fmla="*/ 445346 w 748195"/>
              <a:gd name="csY91" fmla="*/ 197582 h 2076207"/>
              <a:gd name="csX92" fmla="*/ 464798 w 748195"/>
              <a:gd name="csY92" fmla="*/ 174107 h 2076207"/>
              <a:gd name="csX93" fmla="*/ 489970 w 748195"/>
              <a:gd name="csY93" fmla="*/ 152208 h 2076207"/>
              <a:gd name="csX94" fmla="*/ 140694 w 748195"/>
              <a:gd name="csY94" fmla="*/ 201837 h 2076207"/>
              <a:gd name="csX95" fmla="*/ 139834 w 748195"/>
              <a:gd name="csY95" fmla="*/ 201482 h 2076207"/>
              <a:gd name="csX96" fmla="*/ 140812 w 748195"/>
              <a:gd name="csY96" fmla="*/ 204941 h 2076207"/>
              <a:gd name="csX97" fmla="*/ 144631 w 748195"/>
              <a:gd name="csY97" fmla="*/ 217811 h 2076207"/>
              <a:gd name="csX98" fmla="*/ 201241 w 748195"/>
              <a:gd name="csY98" fmla="*/ 373387 h 2076207"/>
              <a:gd name="csX99" fmla="*/ 235971 w 748195"/>
              <a:gd name="csY99" fmla="*/ 504451 h 2076207"/>
              <a:gd name="csX100" fmla="*/ 247475 w 748195"/>
              <a:gd name="csY100" fmla="*/ 513241 h 2076207"/>
              <a:gd name="csX101" fmla="*/ 289066 w 748195"/>
              <a:gd name="csY101" fmla="*/ 511170 h 2076207"/>
              <a:gd name="csX102" fmla="*/ 378229 w 748195"/>
              <a:gd name="csY102" fmla="*/ 511084 h 2076207"/>
              <a:gd name="csX103" fmla="*/ 470850 w 748195"/>
              <a:gd name="csY103" fmla="*/ 516341 h 2076207"/>
              <a:gd name="csX104" fmla="*/ 492933 w 748195"/>
              <a:gd name="csY104" fmla="*/ 497969 h 2076207"/>
              <a:gd name="csX105" fmla="*/ 557617 w 748195"/>
              <a:gd name="csY105" fmla="*/ 280398 h 2076207"/>
              <a:gd name="csX106" fmla="*/ 588788 w 748195"/>
              <a:gd name="csY106" fmla="*/ 200385 h 2076207"/>
              <a:gd name="csX107" fmla="*/ 530958 w 748195"/>
              <a:gd name="csY107" fmla="*/ 232968 h 2076207"/>
              <a:gd name="csX108" fmla="*/ 483823 w 748195"/>
              <a:gd name="csY108" fmla="*/ 190364 h 2076207"/>
              <a:gd name="csX109" fmla="*/ 466649 w 748195"/>
              <a:gd name="csY109" fmla="*/ 209061 h 2076207"/>
              <a:gd name="csX110" fmla="*/ 399941 w 748195"/>
              <a:gd name="csY110" fmla="*/ 216988 h 2076207"/>
              <a:gd name="csX111" fmla="*/ 363018 w 748195"/>
              <a:gd name="csY111" fmla="*/ 179615 h 2076207"/>
              <a:gd name="csX112" fmla="*/ 308839 w 748195"/>
              <a:gd name="csY112" fmla="*/ 227846 h 2076207"/>
              <a:gd name="csX113" fmla="*/ 245077 w 748195"/>
              <a:gd name="csY113" fmla="*/ 192402 h 2076207"/>
              <a:gd name="csX114" fmla="*/ 242829 w 748195"/>
              <a:gd name="csY114" fmla="*/ 198815 h 2076207"/>
              <a:gd name="csX115" fmla="*/ 168452 w 748195"/>
              <a:gd name="csY115" fmla="*/ 219348 h 2076207"/>
              <a:gd name="csX116" fmla="*/ 140694 w 748195"/>
              <a:gd name="csY116" fmla="*/ 201837 h 2076207"/>
              <a:gd name="csX117" fmla="*/ 259999 w 748195"/>
              <a:gd name="csY117" fmla="*/ 966699 h 2076207"/>
              <a:gd name="csX118" fmla="*/ 257072 w 748195"/>
              <a:gd name="csY118" fmla="*/ 1070424 h 2076207"/>
              <a:gd name="csX119" fmla="*/ 251372 w 748195"/>
              <a:gd name="csY119" fmla="*/ 1157618 h 2076207"/>
              <a:gd name="csX120" fmla="*/ 232677 w 748195"/>
              <a:gd name="csY120" fmla="*/ 1320279 h 2076207"/>
              <a:gd name="csX121" fmla="*/ 209182 w 748195"/>
              <a:gd name="csY121" fmla="*/ 1468667 h 2076207"/>
              <a:gd name="csX122" fmla="*/ 175302 w 748195"/>
              <a:gd name="csY122" fmla="*/ 1616623 h 2076207"/>
              <a:gd name="csX123" fmla="*/ 182769 w 748195"/>
              <a:gd name="csY123" fmla="*/ 1629786 h 2076207"/>
              <a:gd name="csX124" fmla="*/ 212156 w 748195"/>
              <a:gd name="csY124" fmla="*/ 1632656 h 2076207"/>
              <a:gd name="csX125" fmla="*/ 351295 w 748195"/>
              <a:gd name="csY125" fmla="*/ 1632801 h 2076207"/>
              <a:gd name="csX126" fmla="*/ 376150 w 748195"/>
              <a:gd name="csY126" fmla="*/ 1608307 h 2076207"/>
              <a:gd name="csX127" fmla="*/ 373450 w 748195"/>
              <a:gd name="csY127" fmla="*/ 1457291 h 2076207"/>
              <a:gd name="csX128" fmla="*/ 370936 w 748195"/>
              <a:gd name="csY128" fmla="*/ 1342736 h 2076207"/>
              <a:gd name="csX129" fmla="*/ 368328 w 748195"/>
              <a:gd name="csY129" fmla="*/ 1203878 h 2076207"/>
              <a:gd name="csX130" fmla="*/ 367836 w 748195"/>
              <a:gd name="csY130" fmla="*/ 813478 h 2076207"/>
              <a:gd name="csX131" fmla="*/ 365240 w 748195"/>
              <a:gd name="csY131" fmla="*/ 773243 h 2076207"/>
              <a:gd name="csX132" fmla="*/ 353084 w 748195"/>
              <a:gd name="csY132" fmla="*/ 762083 h 2076207"/>
              <a:gd name="csX133" fmla="*/ 280966 w 748195"/>
              <a:gd name="csY133" fmla="*/ 759855 h 2076207"/>
              <a:gd name="csX134" fmla="*/ 259965 w 748195"/>
              <a:gd name="csY134" fmla="*/ 779553 h 2076207"/>
              <a:gd name="csX135" fmla="*/ 262341 w 748195"/>
              <a:gd name="csY135" fmla="*/ 856275 h 2076207"/>
              <a:gd name="csX136" fmla="*/ 259999 w 748195"/>
              <a:gd name="csY136" fmla="*/ 966699 h 2076207"/>
              <a:gd name="csX137" fmla="*/ 55556 w 748195"/>
              <a:gd name="csY137" fmla="*/ 1835827 h 2076207"/>
              <a:gd name="csX138" fmla="*/ 49393 w 748195"/>
              <a:gd name="csY138" fmla="*/ 1878155 h 2076207"/>
              <a:gd name="csX139" fmla="*/ 73949 w 748195"/>
              <a:gd name="csY139" fmla="*/ 1905781 h 2076207"/>
              <a:gd name="csX140" fmla="*/ 110073 w 748195"/>
              <a:gd name="csY140" fmla="*/ 1909068 h 2076207"/>
              <a:gd name="csX141" fmla="*/ 224745 w 748195"/>
              <a:gd name="csY141" fmla="*/ 1921652 h 2076207"/>
              <a:gd name="csX142" fmla="*/ 347327 w 748195"/>
              <a:gd name="csY142" fmla="*/ 1924778 h 2076207"/>
              <a:gd name="csX143" fmla="*/ 363345 w 748195"/>
              <a:gd name="csY143" fmla="*/ 1923293 h 2076207"/>
              <a:gd name="csX144" fmla="*/ 373787 w 748195"/>
              <a:gd name="csY144" fmla="*/ 1911200 h 2076207"/>
              <a:gd name="csX145" fmla="*/ 376623 w 748195"/>
              <a:gd name="csY145" fmla="*/ 1696741 h 2076207"/>
              <a:gd name="csX146" fmla="*/ 360437 w 748195"/>
              <a:gd name="csY146" fmla="*/ 1681289 h 2076207"/>
              <a:gd name="csX147" fmla="*/ 263503 w 748195"/>
              <a:gd name="csY147" fmla="*/ 1678179 h 2076207"/>
              <a:gd name="csX148" fmla="*/ 160381 w 748195"/>
              <a:gd name="csY148" fmla="*/ 1670405 h 2076207"/>
              <a:gd name="csX149" fmla="*/ 143321 w 748195"/>
              <a:gd name="csY149" fmla="*/ 1685538 h 2076207"/>
              <a:gd name="csX150" fmla="*/ 124769 w 748195"/>
              <a:gd name="csY150" fmla="*/ 1738195 h 2076207"/>
              <a:gd name="csX151" fmla="*/ 90593 w 748195"/>
              <a:gd name="csY151" fmla="*/ 1779570 h 2076207"/>
              <a:gd name="csX152" fmla="*/ 55556 w 748195"/>
              <a:gd name="csY152" fmla="*/ 1835827 h 2076207"/>
              <a:gd name="csX153" fmla="*/ 378900 w 748195"/>
              <a:gd name="csY153" fmla="*/ 2007280 h 2076207"/>
              <a:gd name="csX154" fmla="*/ 378887 w 748195"/>
              <a:gd name="csY154" fmla="*/ 1995127 h 2076207"/>
              <a:gd name="csX155" fmla="*/ 359084 w 748195"/>
              <a:gd name="csY155" fmla="*/ 1975964 h 2076207"/>
              <a:gd name="csX156" fmla="*/ 247288 w 748195"/>
              <a:gd name="csY156" fmla="*/ 1973305 h 2076207"/>
              <a:gd name="csX157" fmla="*/ 201692 w 748195"/>
              <a:gd name="csY157" fmla="*/ 1970275 h 2076207"/>
              <a:gd name="csX158" fmla="*/ 57962 w 748195"/>
              <a:gd name="csY158" fmla="*/ 1952648 h 2076207"/>
              <a:gd name="csX159" fmla="*/ 39194 w 748195"/>
              <a:gd name="csY159" fmla="*/ 1963552 h 2076207"/>
              <a:gd name="csX160" fmla="*/ 30066 w 748195"/>
              <a:gd name="csY160" fmla="*/ 2006631 h 2076207"/>
              <a:gd name="csX161" fmla="*/ 40232 w 748195"/>
              <a:gd name="csY161" fmla="*/ 2019486 h 2076207"/>
              <a:gd name="csX162" fmla="*/ 238186 w 748195"/>
              <a:gd name="csY162" fmla="*/ 2046096 h 2076207"/>
              <a:gd name="csX163" fmla="*/ 342155 w 748195"/>
              <a:gd name="csY163" fmla="*/ 2046441 h 2076207"/>
              <a:gd name="csX164" fmla="*/ 378900 w 748195"/>
              <a:gd name="csY164" fmla="*/ 2007280 h 2076207"/>
              <a:gd name="csX165" fmla="*/ 310220 w 748195"/>
              <a:gd name="csY165" fmla="*/ 554288 h 2076207"/>
              <a:gd name="csX166" fmla="*/ 259136 w 748195"/>
              <a:gd name="csY166" fmla="*/ 556881 h 2076207"/>
              <a:gd name="csX167" fmla="*/ 249085 w 748195"/>
              <a:gd name="csY167" fmla="*/ 567981 h 2076207"/>
              <a:gd name="csX168" fmla="*/ 249141 w 748195"/>
              <a:gd name="csY168" fmla="*/ 605644 h 2076207"/>
              <a:gd name="csX169" fmla="*/ 262628 w 748195"/>
              <a:gd name="csY169" fmla="*/ 605627 h 2076207"/>
              <a:gd name="csX170" fmla="*/ 369608 w 748195"/>
              <a:gd name="csY170" fmla="*/ 603027 h 2076207"/>
              <a:gd name="csX171" fmla="*/ 463931 w 748195"/>
              <a:gd name="csY171" fmla="*/ 605146 h 2076207"/>
              <a:gd name="csX172" fmla="*/ 478113 w 748195"/>
              <a:gd name="csY172" fmla="*/ 595843 h 2076207"/>
              <a:gd name="csX173" fmla="*/ 478796 w 748195"/>
              <a:gd name="csY173" fmla="*/ 556832 h 2076207"/>
              <a:gd name="csX174" fmla="*/ 310220 w 748195"/>
              <a:gd name="csY174" fmla="*/ 554288 h 2076207"/>
              <a:gd name="csX175" fmla="*/ 348836 w 748195"/>
              <a:gd name="csY175" fmla="*/ 684115 h 2076207"/>
              <a:gd name="csX176" fmla="*/ 281333 w 748195"/>
              <a:gd name="csY176" fmla="*/ 683313 h 2076207"/>
              <a:gd name="csX177" fmla="*/ 212728 w 748195"/>
              <a:gd name="csY177" fmla="*/ 681931 h 2076207"/>
              <a:gd name="csX178" fmla="*/ 187283 w 748195"/>
              <a:gd name="csY178" fmla="*/ 689555 h 2076207"/>
              <a:gd name="csX179" fmla="*/ 186163 w 748195"/>
              <a:gd name="csY179" fmla="*/ 718266 h 2076207"/>
              <a:gd name="csX180" fmla="*/ 209894 w 748195"/>
              <a:gd name="csY180" fmla="*/ 726798 h 2076207"/>
              <a:gd name="csX181" fmla="*/ 334814 w 748195"/>
              <a:gd name="csY181" fmla="*/ 732494 h 2076207"/>
              <a:gd name="csX182" fmla="*/ 364856 w 748195"/>
              <a:gd name="csY182" fmla="*/ 707963 h 2076207"/>
              <a:gd name="csX183" fmla="*/ 348836 w 748195"/>
              <a:gd name="csY183" fmla="*/ 684115 h 2076207"/>
              <a:gd name="csX184" fmla="*/ 298865 w 748195"/>
              <a:gd name="csY184" fmla="*/ 621954 h 2076207"/>
              <a:gd name="csX185" fmla="*/ 251619 w 748195"/>
              <a:gd name="csY185" fmla="*/ 622133 h 2076207"/>
              <a:gd name="csX186" fmla="*/ 214459 w 748195"/>
              <a:gd name="csY186" fmla="*/ 636230 h 2076207"/>
              <a:gd name="csX187" fmla="*/ 221436 w 748195"/>
              <a:gd name="csY187" fmla="*/ 654205 h 2076207"/>
              <a:gd name="csX188" fmla="*/ 272412 w 748195"/>
              <a:gd name="csY188" fmla="*/ 657250 h 2076207"/>
              <a:gd name="csX189" fmla="*/ 349094 w 748195"/>
              <a:gd name="csY189" fmla="*/ 659282 h 2076207"/>
              <a:gd name="csX190" fmla="*/ 362996 w 748195"/>
              <a:gd name="csY190" fmla="*/ 644234 h 2076207"/>
              <a:gd name="csX191" fmla="*/ 348472 w 748195"/>
              <a:gd name="csY191" fmla="*/ 624649 h 2076207"/>
              <a:gd name="csX192" fmla="*/ 298865 w 748195"/>
              <a:gd name="csY192" fmla="*/ 621954 h 2076207"/>
              <a:gd name="csX193" fmla="*/ 227796 w 748195"/>
              <a:gd name="csY193" fmla="*/ 528000 h 2076207"/>
              <a:gd name="csX194" fmla="*/ 241009 w 748195"/>
              <a:gd name="csY194" fmla="*/ 545897 h 2076207"/>
              <a:gd name="csX195" fmla="*/ 282607 w 748195"/>
              <a:gd name="csY195" fmla="*/ 543480 h 2076207"/>
              <a:gd name="csX196" fmla="*/ 354213 w 748195"/>
              <a:gd name="csY196" fmla="*/ 543384 h 2076207"/>
              <a:gd name="csX197" fmla="*/ 365334 w 748195"/>
              <a:gd name="csY197" fmla="*/ 533397 h 2076207"/>
              <a:gd name="csX198" fmla="*/ 354531 w 748195"/>
              <a:gd name="csY198" fmla="*/ 521620 h 2076207"/>
              <a:gd name="csX199" fmla="*/ 259169 w 748195"/>
              <a:gd name="csY199" fmla="*/ 521978 h 2076207"/>
              <a:gd name="csX200" fmla="*/ 227796 w 748195"/>
              <a:gd name="csY200" fmla="*/ 528000 h 2076207"/>
              <a:gd name="csX201" fmla="*/ 508068 w 748195"/>
              <a:gd name="csY201" fmla="*/ 190710 h 2076207"/>
              <a:gd name="csX202" fmla="*/ 521293 w 748195"/>
              <a:gd name="csY202" fmla="*/ 205907 h 2076207"/>
              <a:gd name="csX203" fmla="*/ 525175 w 748195"/>
              <a:gd name="csY203" fmla="*/ 202985 h 2076207"/>
              <a:gd name="csX204" fmla="*/ 500276 w 748195"/>
              <a:gd name="csY204" fmla="*/ 160640 h 2076207"/>
              <a:gd name="csX205" fmla="*/ 497122 w 748195"/>
              <a:gd name="csY205" fmla="*/ 162007 h 2076207"/>
              <a:gd name="csX206" fmla="*/ 508068 w 748195"/>
              <a:gd name="csY206" fmla="*/ 190710 h 2076207"/>
              <a:gd name="csX207" fmla="*/ 215522 w 748195"/>
              <a:gd name="csY207" fmla="*/ 197296 h 2076207"/>
              <a:gd name="csX208" fmla="*/ 234029 w 748195"/>
              <a:gd name="csY208" fmla="*/ 162725 h 2076207"/>
              <a:gd name="csX209" fmla="*/ 229000 w 748195"/>
              <a:gd name="csY209" fmla="*/ 159902 h 2076207"/>
              <a:gd name="csX210" fmla="*/ 204824 w 748195"/>
              <a:gd name="csY210" fmla="*/ 199677 h 2076207"/>
              <a:gd name="csX211" fmla="*/ 207990 w 748195"/>
              <a:gd name="csY211" fmla="*/ 202198 h 2076207"/>
              <a:gd name="csX212" fmla="*/ 215522 w 748195"/>
              <a:gd name="csY212" fmla="*/ 197296 h 2076207"/>
              <a:gd name="csX213" fmla="*/ 484400 w 748195"/>
              <a:gd name="csY213" fmla="*/ 896678 h 2076207"/>
              <a:gd name="csX214" fmla="*/ 486181 w 748195"/>
              <a:gd name="csY214" fmla="*/ 896585 h 2076207"/>
              <a:gd name="csX215" fmla="*/ 486181 w 748195"/>
              <a:gd name="csY215" fmla="*/ 795289 h 2076207"/>
              <a:gd name="csX216" fmla="*/ 720241 w 748195"/>
              <a:gd name="csY216" fmla="*/ 2030666 h 2076207"/>
              <a:gd name="csX217" fmla="*/ 721175 w 748195"/>
              <a:gd name="csY217" fmla="*/ 2029733 h 2076207"/>
              <a:gd name="csX218" fmla="*/ 720241 w 748195"/>
              <a:gd name="csY218" fmla="*/ 2030666 h 2076207"/>
              <a:gd name="csX219" fmla="*/ 715702 w 748195"/>
              <a:gd name="csY219" fmla="*/ 2037051 h 2076207"/>
              <a:gd name="csX220" fmla="*/ 715702 w 748195"/>
              <a:gd name="csY220" fmla="*/ 2037051 h 2076207"/>
              <a:gd name="csX0" fmla="*/ 96263 w 748195"/>
              <a:gd name="csY0" fmla="*/ 2076207 h 2076207"/>
              <a:gd name="csX1" fmla="*/ 63862 w 748195"/>
              <a:gd name="csY1" fmla="*/ 2065388 h 2076207"/>
              <a:gd name="csX2" fmla="*/ 16555 w 748195"/>
              <a:gd name="csY2" fmla="*/ 2050152 h 2076207"/>
              <a:gd name="csX3" fmla="*/ 15 w 748195"/>
              <a:gd name="csY3" fmla="*/ 2023802 h 2076207"/>
              <a:gd name="csX4" fmla="*/ 18368 w 748195"/>
              <a:gd name="csY4" fmla="*/ 1940709 h 2076207"/>
              <a:gd name="csX5" fmla="*/ 22139 w 748195"/>
              <a:gd name="csY5" fmla="*/ 1907268 h 2076207"/>
              <a:gd name="csX6" fmla="*/ 57941 w 748195"/>
              <a:gd name="csY6" fmla="*/ 1774163 h 2076207"/>
              <a:gd name="csX7" fmla="*/ 102478 w 748195"/>
              <a:gd name="csY7" fmla="*/ 1720275 h 2076207"/>
              <a:gd name="csX8" fmla="*/ 108579 w 748195"/>
              <a:gd name="csY8" fmla="*/ 1650967 h 2076207"/>
              <a:gd name="csX9" fmla="*/ 115628 w 748195"/>
              <a:gd name="csY9" fmla="*/ 1625405 h 2076207"/>
              <a:gd name="csX10" fmla="*/ 156323 w 748195"/>
              <a:gd name="csY10" fmla="*/ 1560181 h 2076207"/>
              <a:gd name="csX11" fmla="*/ 199424 w 748195"/>
              <a:gd name="csY11" fmla="*/ 1364729 h 2076207"/>
              <a:gd name="csX12" fmla="*/ 216779 w 748195"/>
              <a:gd name="csY12" fmla="*/ 1219490 h 2076207"/>
              <a:gd name="csX13" fmla="*/ 229755 w 748195"/>
              <a:gd name="csY13" fmla="*/ 1099357 h 2076207"/>
              <a:gd name="csX14" fmla="*/ 232707 w 748195"/>
              <a:gd name="csY14" fmla="*/ 1056423 h 2076207"/>
              <a:gd name="csX15" fmla="*/ 235622 w 748195"/>
              <a:gd name="csY15" fmla="*/ 952675 h 2076207"/>
              <a:gd name="csX16" fmla="*/ 235445 w 748195"/>
              <a:gd name="csY16" fmla="*/ 780278 h 2076207"/>
              <a:gd name="csX17" fmla="*/ 214544 w 748195"/>
              <a:gd name="csY17" fmla="*/ 756435 h 2076207"/>
              <a:gd name="csX18" fmla="*/ 172569 w 748195"/>
              <a:gd name="csY18" fmla="*/ 742582 h 2076207"/>
              <a:gd name="csX19" fmla="*/ 168784 w 748195"/>
              <a:gd name="csY19" fmla="*/ 669116 h 2076207"/>
              <a:gd name="csX20" fmla="*/ 191657 w 748195"/>
              <a:gd name="csY20" fmla="*/ 630765 h 2076207"/>
              <a:gd name="csX21" fmla="*/ 208150 w 748195"/>
              <a:gd name="csY21" fmla="*/ 609084 h 2076207"/>
              <a:gd name="csX22" fmla="*/ 216756 w 748195"/>
              <a:gd name="csY22" fmla="*/ 558673 h 2076207"/>
              <a:gd name="csX23" fmla="*/ 209092 w 748195"/>
              <a:gd name="csY23" fmla="*/ 521540 h 2076207"/>
              <a:gd name="csX24" fmla="*/ 204683 w 748195"/>
              <a:gd name="csY24" fmla="*/ 474024 h 2076207"/>
              <a:gd name="csX25" fmla="*/ 115483 w 748195"/>
              <a:gd name="csY25" fmla="*/ 213499 h 2076207"/>
              <a:gd name="csX26" fmla="*/ 102909 w 748195"/>
              <a:gd name="csY26" fmla="*/ 182297 h 2076207"/>
              <a:gd name="csX27" fmla="*/ 104315 w 748195"/>
              <a:gd name="csY27" fmla="*/ 163968 h 2076207"/>
              <a:gd name="csX28" fmla="*/ 122444 w 748195"/>
              <a:gd name="csY28" fmla="*/ 160805 h 2076207"/>
              <a:gd name="csX29" fmla="*/ 170283 w 748195"/>
              <a:gd name="csY29" fmla="*/ 187783 h 2076207"/>
              <a:gd name="csX30" fmla="*/ 180938 w 748195"/>
              <a:gd name="csY30" fmla="*/ 195322 h 2076207"/>
              <a:gd name="csX31" fmla="*/ 221419 w 748195"/>
              <a:gd name="csY31" fmla="*/ 138058 h 2076207"/>
              <a:gd name="csX32" fmla="*/ 294099 w 748195"/>
              <a:gd name="csY32" fmla="*/ 91372 h 2076207"/>
              <a:gd name="csX33" fmla="*/ 302307 w 748195"/>
              <a:gd name="csY33" fmla="*/ 76560 h 2076207"/>
              <a:gd name="csX34" fmla="*/ 320284 w 748195"/>
              <a:gd name="csY34" fmla="*/ 8414 h 2076207"/>
              <a:gd name="csX35" fmla="*/ 324784 w 748195"/>
              <a:gd name="csY35" fmla="*/ 946 h 2076207"/>
              <a:gd name="csX36" fmla="*/ 399212 w 748195"/>
              <a:gd name="csY36" fmla="*/ 0 h 2076207"/>
              <a:gd name="csX37" fmla="*/ 425980 w 748195"/>
              <a:gd name="csY37" fmla="*/ 78301 h 2076207"/>
              <a:gd name="csX38" fmla="*/ 431861 w 748195"/>
              <a:gd name="csY38" fmla="*/ 90312 h 2076207"/>
              <a:gd name="csX39" fmla="*/ 540349 w 748195"/>
              <a:gd name="csY39" fmla="*/ 187946 h 2076207"/>
              <a:gd name="csX40" fmla="*/ 545555 w 748195"/>
              <a:gd name="csY40" fmla="*/ 197828 h 2076207"/>
              <a:gd name="csX41" fmla="*/ 587318 w 748195"/>
              <a:gd name="csY41" fmla="*/ 171260 h 2076207"/>
              <a:gd name="csX42" fmla="*/ 601503 w 748195"/>
              <a:gd name="csY42" fmla="*/ 163707 h 2076207"/>
              <a:gd name="csX43" fmla="*/ 625254 w 748195"/>
              <a:gd name="csY43" fmla="*/ 163123 h 2076207"/>
              <a:gd name="csX44" fmla="*/ 625468 w 748195"/>
              <a:gd name="csY44" fmla="*/ 187579 h 2076207"/>
              <a:gd name="csX45" fmla="*/ 597543 w 748195"/>
              <a:gd name="csY45" fmla="*/ 251872 h 2076207"/>
              <a:gd name="csX46" fmla="*/ 531831 w 748195"/>
              <a:gd name="csY46" fmla="*/ 442689 h 2076207"/>
              <a:gd name="csX47" fmla="*/ 519888 w 748195"/>
              <a:gd name="csY47" fmla="*/ 501474 h 2076207"/>
              <a:gd name="csX48" fmla="*/ 522506 w 748195"/>
              <a:gd name="csY48" fmla="*/ 525086 h 2076207"/>
              <a:gd name="csX49" fmla="*/ 516235 w 748195"/>
              <a:gd name="csY49" fmla="*/ 555946 h 2076207"/>
              <a:gd name="csX50" fmla="*/ 521332 w 748195"/>
              <a:gd name="csY50" fmla="*/ 610676 h 2076207"/>
              <a:gd name="csX51" fmla="*/ 541382 w 748195"/>
              <a:gd name="csY51" fmla="*/ 642597 h 2076207"/>
              <a:gd name="csX52" fmla="*/ 557031 w 748195"/>
              <a:gd name="csY52" fmla="*/ 667949 h 2076207"/>
              <a:gd name="csX53" fmla="*/ 553994 w 748195"/>
              <a:gd name="csY53" fmla="*/ 744146 h 2076207"/>
              <a:gd name="csX54" fmla="*/ 508215 w 748195"/>
              <a:gd name="csY54" fmla="*/ 758841 h 2076207"/>
              <a:gd name="csX55" fmla="*/ 497442 w 748195"/>
              <a:gd name="csY55" fmla="*/ 771256 h 2076207"/>
              <a:gd name="csX56" fmla="*/ 493005 w 748195"/>
              <a:gd name="csY56" fmla="*/ 922055 h 2076207"/>
              <a:gd name="csX57" fmla="*/ 502900 w 748195"/>
              <a:gd name="csY57" fmla="*/ 1114191 h 2076207"/>
              <a:gd name="csX58" fmla="*/ 508800 w 748195"/>
              <a:gd name="csY58" fmla="*/ 1205474 h 2076207"/>
              <a:gd name="csX59" fmla="*/ 522952 w 748195"/>
              <a:gd name="csY59" fmla="*/ 1320065 h 2076207"/>
              <a:gd name="csX60" fmla="*/ 554682 w 748195"/>
              <a:gd name="csY60" fmla="*/ 1501203 h 2076207"/>
              <a:gd name="csX61" fmla="*/ 576958 w 748195"/>
              <a:gd name="csY61" fmla="*/ 1593963 h 2076207"/>
              <a:gd name="csX62" fmla="*/ 595349 w 748195"/>
              <a:gd name="csY62" fmla="*/ 1613498 h 2076207"/>
              <a:gd name="csX63" fmla="*/ 613936 w 748195"/>
              <a:gd name="csY63" fmla="*/ 1624058 h 2076207"/>
              <a:gd name="csX64" fmla="*/ 620938 w 748195"/>
              <a:gd name="csY64" fmla="*/ 1652071 h 2076207"/>
              <a:gd name="csX65" fmla="*/ 630805 w 748195"/>
              <a:gd name="csY65" fmla="*/ 1721702 h 2076207"/>
              <a:gd name="csX66" fmla="*/ 685830 w 748195"/>
              <a:gd name="csY66" fmla="*/ 1792915 h 2076207"/>
              <a:gd name="csX67" fmla="*/ 708904 w 748195"/>
              <a:gd name="csY67" fmla="*/ 1890290 h 2076207"/>
              <a:gd name="csX68" fmla="*/ 716580 w 748195"/>
              <a:gd name="csY68" fmla="*/ 1951136 h 2076207"/>
              <a:gd name="csX69" fmla="*/ 729397 w 748195"/>
              <a:gd name="csY69" fmla="*/ 2030261 h 2076207"/>
              <a:gd name="csX70" fmla="*/ 714212 w 748195"/>
              <a:gd name="csY70" fmla="*/ 2049544 h 2076207"/>
              <a:gd name="csX71" fmla="*/ 706629 w 748195"/>
              <a:gd name="csY71" fmla="*/ 2044290 h 2076207"/>
              <a:gd name="csX72" fmla="*/ 702674 w 748195"/>
              <a:gd name="csY72" fmla="*/ 2041581 h 2076207"/>
              <a:gd name="csX73" fmla="*/ 96263 w 748195"/>
              <a:gd name="csY73" fmla="*/ 2076207 h 2076207"/>
              <a:gd name="csX74" fmla="*/ 489970 w 748195"/>
              <a:gd name="csY74" fmla="*/ 152208 h 2076207"/>
              <a:gd name="csX75" fmla="*/ 490754 w 748195"/>
              <a:gd name="csY75" fmla="*/ 152592 h 2076207"/>
              <a:gd name="csX76" fmla="*/ 489489 w 748195"/>
              <a:gd name="csY76" fmla="*/ 149547 h 2076207"/>
              <a:gd name="csX77" fmla="*/ 393621 w 748195"/>
              <a:gd name="csY77" fmla="*/ 99259 h 2076207"/>
              <a:gd name="csX78" fmla="*/ 390419 w 748195"/>
              <a:gd name="csY78" fmla="*/ 18568 h 2076207"/>
              <a:gd name="csX79" fmla="*/ 334131 w 748195"/>
              <a:gd name="csY79" fmla="*/ 24327 h 2076207"/>
              <a:gd name="csX80" fmla="*/ 344678 w 748195"/>
              <a:gd name="csY80" fmla="*/ 101259 h 2076207"/>
              <a:gd name="csX81" fmla="*/ 298854 w 748195"/>
              <a:gd name="csY81" fmla="*/ 114003 h 2076207"/>
              <a:gd name="csX82" fmla="*/ 237456 w 748195"/>
              <a:gd name="csY82" fmla="*/ 154340 h 2076207"/>
              <a:gd name="csX83" fmla="*/ 240382 w 748195"/>
              <a:gd name="csY83" fmla="*/ 154035 h 2076207"/>
              <a:gd name="csX84" fmla="*/ 262731 w 748195"/>
              <a:gd name="csY84" fmla="*/ 170426 h 2076207"/>
              <a:gd name="csX85" fmla="*/ 279169 w 748195"/>
              <a:gd name="csY85" fmla="*/ 193173 h 2076207"/>
              <a:gd name="csX86" fmla="*/ 327717 w 748195"/>
              <a:gd name="csY86" fmla="*/ 188556 h 2076207"/>
              <a:gd name="csX87" fmla="*/ 348052 w 748195"/>
              <a:gd name="csY87" fmla="*/ 156919 h 2076207"/>
              <a:gd name="csX88" fmla="*/ 380330 w 748195"/>
              <a:gd name="csY88" fmla="*/ 156483 h 2076207"/>
              <a:gd name="csX89" fmla="*/ 408490 w 748195"/>
              <a:gd name="csY89" fmla="*/ 195400 h 2076207"/>
              <a:gd name="csX90" fmla="*/ 445346 w 748195"/>
              <a:gd name="csY90" fmla="*/ 197582 h 2076207"/>
              <a:gd name="csX91" fmla="*/ 464798 w 748195"/>
              <a:gd name="csY91" fmla="*/ 174107 h 2076207"/>
              <a:gd name="csX92" fmla="*/ 489970 w 748195"/>
              <a:gd name="csY92" fmla="*/ 152208 h 2076207"/>
              <a:gd name="csX93" fmla="*/ 140694 w 748195"/>
              <a:gd name="csY93" fmla="*/ 201837 h 2076207"/>
              <a:gd name="csX94" fmla="*/ 139834 w 748195"/>
              <a:gd name="csY94" fmla="*/ 201482 h 2076207"/>
              <a:gd name="csX95" fmla="*/ 140812 w 748195"/>
              <a:gd name="csY95" fmla="*/ 204941 h 2076207"/>
              <a:gd name="csX96" fmla="*/ 144631 w 748195"/>
              <a:gd name="csY96" fmla="*/ 217811 h 2076207"/>
              <a:gd name="csX97" fmla="*/ 201241 w 748195"/>
              <a:gd name="csY97" fmla="*/ 373387 h 2076207"/>
              <a:gd name="csX98" fmla="*/ 235971 w 748195"/>
              <a:gd name="csY98" fmla="*/ 504451 h 2076207"/>
              <a:gd name="csX99" fmla="*/ 247475 w 748195"/>
              <a:gd name="csY99" fmla="*/ 513241 h 2076207"/>
              <a:gd name="csX100" fmla="*/ 289066 w 748195"/>
              <a:gd name="csY100" fmla="*/ 511170 h 2076207"/>
              <a:gd name="csX101" fmla="*/ 378229 w 748195"/>
              <a:gd name="csY101" fmla="*/ 511084 h 2076207"/>
              <a:gd name="csX102" fmla="*/ 470850 w 748195"/>
              <a:gd name="csY102" fmla="*/ 516341 h 2076207"/>
              <a:gd name="csX103" fmla="*/ 492933 w 748195"/>
              <a:gd name="csY103" fmla="*/ 497969 h 2076207"/>
              <a:gd name="csX104" fmla="*/ 557617 w 748195"/>
              <a:gd name="csY104" fmla="*/ 280398 h 2076207"/>
              <a:gd name="csX105" fmla="*/ 588788 w 748195"/>
              <a:gd name="csY105" fmla="*/ 200385 h 2076207"/>
              <a:gd name="csX106" fmla="*/ 530958 w 748195"/>
              <a:gd name="csY106" fmla="*/ 232968 h 2076207"/>
              <a:gd name="csX107" fmla="*/ 483823 w 748195"/>
              <a:gd name="csY107" fmla="*/ 190364 h 2076207"/>
              <a:gd name="csX108" fmla="*/ 466649 w 748195"/>
              <a:gd name="csY108" fmla="*/ 209061 h 2076207"/>
              <a:gd name="csX109" fmla="*/ 399941 w 748195"/>
              <a:gd name="csY109" fmla="*/ 216988 h 2076207"/>
              <a:gd name="csX110" fmla="*/ 363018 w 748195"/>
              <a:gd name="csY110" fmla="*/ 179615 h 2076207"/>
              <a:gd name="csX111" fmla="*/ 308839 w 748195"/>
              <a:gd name="csY111" fmla="*/ 227846 h 2076207"/>
              <a:gd name="csX112" fmla="*/ 245077 w 748195"/>
              <a:gd name="csY112" fmla="*/ 192402 h 2076207"/>
              <a:gd name="csX113" fmla="*/ 242829 w 748195"/>
              <a:gd name="csY113" fmla="*/ 198815 h 2076207"/>
              <a:gd name="csX114" fmla="*/ 168452 w 748195"/>
              <a:gd name="csY114" fmla="*/ 219348 h 2076207"/>
              <a:gd name="csX115" fmla="*/ 140694 w 748195"/>
              <a:gd name="csY115" fmla="*/ 201837 h 2076207"/>
              <a:gd name="csX116" fmla="*/ 259999 w 748195"/>
              <a:gd name="csY116" fmla="*/ 966699 h 2076207"/>
              <a:gd name="csX117" fmla="*/ 257072 w 748195"/>
              <a:gd name="csY117" fmla="*/ 1070424 h 2076207"/>
              <a:gd name="csX118" fmla="*/ 251372 w 748195"/>
              <a:gd name="csY118" fmla="*/ 1157618 h 2076207"/>
              <a:gd name="csX119" fmla="*/ 232677 w 748195"/>
              <a:gd name="csY119" fmla="*/ 1320279 h 2076207"/>
              <a:gd name="csX120" fmla="*/ 209182 w 748195"/>
              <a:gd name="csY120" fmla="*/ 1468667 h 2076207"/>
              <a:gd name="csX121" fmla="*/ 175302 w 748195"/>
              <a:gd name="csY121" fmla="*/ 1616623 h 2076207"/>
              <a:gd name="csX122" fmla="*/ 182769 w 748195"/>
              <a:gd name="csY122" fmla="*/ 1629786 h 2076207"/>
              <a:gd name="csX123" fmla="*/ 212156 w 748195"/>
              <a:gd name="csY123" fmla="*/ 1632656 h 2076207"/>
              <a:gd name="csX124" fmla="*/ 351295 w 748195"/>
              <a:gd name="csY124" fmla="*/ 1632801 h 2076207"/>
              <a:gd name="csX125" fmla="*/ 376150 w 748195"/>
              <a:gd name="csY125" fmla="*/ 1608307 h 2076207"/>
              <a:gd name="csX126" fmla="*/ 373450 w 748195"/>
              <a:gd name="csY126" fmla="*/ 1457291 h 2076207"/>
              <a:gd name="csX127" fmla="*/ 370936 w 748195"/>
              <a:gd name="csY127" fmla="*/ 1342736 h 2076207"/>
              <a:gd name="csX128" fmla="*/ 368328 w 748195"/>
              <a:gd name="csY128" fmla="*/ 1203878 h 2076207"/>
              <a:gd name="csX129" fmla="*/ 367836 w 748195"/>
              <a:gd name="csY129" fmla="*/ 813478 h 2076207"/>
              <a:gd name="csX130" fmla="*/ 365240 w 748195"/>
              <a:gd name="csY130" fmla="*/ 773243 h 2076207"/>
              <a:gd name="csX131" fmla="*/ 353084 w 748195"/>
              <a:gd name="csY131" fmla="*/ 762083 h 2076207"/>
              <a:gd name="csX132" fmla="*/ 280966 w 748195"/>
              <a:gd name="csY132" fmla="*/ 759855 h 2076207"/>
              <a:gd name="csX133" fmla="*/ 259965 w 748195"/>
              <a:gd name="csY133" fmla="*/ 779553 h 2076207"/>
              <a:gd name="csX134" fmla="*/ 262341 w 748195"/>
              <a:gd name="csY134" fmla="*/ 856275 h 2076207"/>
              <a:gd name="csX135" fmla="*/ 259999 w 748195"/>
              <a:gd name="csY135" fmla="*/ 966699 h 2076207"/>
              <a:gd name="csX136" fmla="*/ 55556 w 748195"/>
              <a:gd name="csY136" fmla="*/ 1835827 h 2076207"/>
              <a:gd name="csX137" fmla="*/ 49393 w 748195"/>
              <a:gd name="csY137" fmla="*/ 1878155 h 2076207"/>
              <a:gd name="csX138" fmla="*/ 73949 w 748195"/>
              <a:gd name="csY138" fmla="*/ 1905781 h 2076207"/>
              <a:gd name="csX139" fmla="*/ 110073 w 748195"/>
              <a:gd name="csY139" fmla="*/ 1909068 h 2076207"/>
              <a:gd name="csX140" fmla="*/ 224745 w 748195"/>
              <a:gd name="csY140" fmla="*/ 1921652 h 2076207"/>
              <a:gd name="csX141" fmla="*/ 347327 w 748195"/>
              <a:gd name="csY141" fmla="*/ 1924778 h 2076207"/>
              <a:gd name="csX142" fmla="*/ 363345 w 748195"/>
              <a:gd name="csY142" fmla="*/ 1923293 h 2076207"/>
              <a:gd name="csX143" fmla="*/ 373787 w 748195"/>
              <a:gd name="csY143" fmla="*/ 1911200 h 2076207"/>
              <a:gd name="csX144" fmla="*/ 376623 w 748195"/>
              <a:gd name="csY144" fmla="*/ 1696741 h 2076207"/>
              <a:gd name="csX145" fmla="*/ 360437 w 748195"/>
              <a:gd name="csY145" fmla="*/ 1681289 h 2076207"/>
              <a:gd name="csX146" fmla="*/ 263503 w 748195"/>
              <a:gd name="csY146" fmla="*/ 1678179 h 2076207"/>
              <a:gd name="csX147" fmla="*/ 160381 w 748195"/>
              <a:gd name="csY147" fmla="*/ 1670405 h 2076207"/>
              <a:gd name="csX148" fmla="*/ 143321 w 748195"/>
              <a:gd name="csY148" fmla="*/ 1685538 h 2076207"/>
              <a:gd name="csX149" fmla="*/ 124769 w 748195"/>
              <a:gd name="csY149" fmla="*/ 1738195 h 2076207"/>
              <a:gd name="csX150" fmla="*/ 90593 w 748195"/>
              <a:gd name="csY150" fmla="*/ 1779570 h 2076207"/>
              <a:gd name="csX151" fmla="*/ 55556 w 748195"/>
              <a:gd name="csY151" fmla="*/ 1835827 h 2076207"/>
              <a:gd name="csX152" fmla="*/ 378900 w 748195"/>
              <a:gd name="csY152" fmla="*/ 2007280 h 2076207"/>
              <a:gd name="csX153" fmla="*/ 378887 w 748195"/>
              <a:gd name="csY153" fmla="*/ 1995127 h 2076207"/>
              <a:gd name="csX154" fmla="*/ 359084 w 748195"/>
              <a:gd name="csY154" fmla="*/ 1975964 h 2076207"/>
              <a:gd name="csX155" fmla="*/ 247288 w 748195"/>
              <a:gd name="csY155" fmla="*/ 1973305 h 2076207"/>
              <a:gd name="csX156" fmla="*/ 201692 w 748195"/>
              <a:gd name="csY156" fmla="*/ 1970275 h 2076207"/>
              <a:gd name="csX157" fmla="*/ 57962 w 748195"/>
              <a:gd name="csY157" fmla="*/ 1952648 h 2076207"/>
              <a:gd name="csX158" fmla="*/ 39194 w 748195"/>
              <a:gd name="csY158" fmla="*/ 1963552 h 2076207"/>
              <a:gd name="csX159" fmla="*/ 30066 w 748195"/>
              <a:gd name="csY159" fmla="*/ 2006631 h 2076207"/>
              <a:gd name="csX160" fmla="*/ 40232 w 748195"/>
              <a:gd name="csY160" fmla="*/ 2019486 h 2076207"/>
              <a:gd name="csX161" fmla="*/ 238186 w 748195"/>
              <a:gd name="csY161" fmla="*/ 2046096 h 2076207"/>
              <a:gd name="csX162" fmla="*/ 342155 w 748195"/>
              <a:gd name="csY162" fmla="*/ 2046441 h 2076207"/>
              <a:gd name="csX163" fmla="*/ 378900 w 748195"/>
              <a:gd name="csY163" fmla="*/ 2007280 h 2076207"/>
              <a:gd name="csX164" fmla="*/ 310220 w 748195"/>
              <a:gd name="csY164" fmla="*/ 554288 h 2076207"/>
              <a:gd name="csX165" fmla="*/ 259136 w 748195"/>
              <a:gd name="csY165" fmla="*/ 556881 h 2076207"/>
              <a:gd name="csX166" fmla="*/ 249085 w 748195"/>
              <a:gd name="csY166" fmla="*/ 567981 h 2076207"/>
              <a:gd name="csX167" fmla="*/ 249141 w 748195"/>
              <a:gd name="csY167" fmla="*/ 605644 h 2076207"/>
              <a:gd name="csX168" fmla="*/ 262628 w 748195"/>
              <a:gd name="csY168" fmla="*/ 605627 h 2076207"/>
              <a:gd name="csX169" fmla="*/ 369608 w 748195"/>
              <a:gd name="csY169" fmla="*/ 603027 h 2076207"/>
              <a:gd name="csX170" fmla="*/ 463931 w 748195"/>
              <a:gd name="csY170" fmla="*/ 605146 h 2076207"/>
              <a:gd name="csX171" fmla="*/ 478113 w 748195"/>
              <a:gd name="csY171" fmla="*/ 595843 h 2076207"/>
              <a:gd name="csX172" fmla="*/ 478796 w 748195"/>
              <a:gd name="csY172" fmla="*/ 556832 h 2076207"/>
              <a:gd name="csX173" fmla="*/ 310220 w 748195"/>
              <a:gd name="csY173" fmla="*/ 554288 h 2076207"/>
              <a:gd name="csX174" fmla="*/ 348836 w 748195"/>
              <a:gd name="csY174" fmla="*/ 684115 h 2076207"/>
              <a:gd name="csX175" fmla="*/ 281333 w 748195"/>
              <a:gd name="csY175" fmla="*/ 683313 h 2076207"/>
              <a:gd name="csX176" fmla="*/ 212728 w 748195"/>
              <a:gd name="csY176" fmla="*/ 681931 h 2076207"/>
              <a:gd name="csX177" fmla="*/ 187283 w 748195"/>
              <a:gd name="csY177" fmla="*/ 689555 h 2076207"/>
              <a:gd name="csX178" fmla="*/ 186163 w 748195"/>
              <a:gd name="csY178" fmla="*/ 718266 h 2076207"/>
              <a:gd name="csX179" fmla="*/ 209894 w 748195"/>
              <a:gd name="csY179" fmla="*/ 726798 h 2076207"/>
              <a:gd name="csX180" fmla="*/ 334814 w 748195"/>
              <a:gd name="csY180" fmla="*/ 732494 h 2076207"/>
              <a:gd name="csX181" fmla="*/ 364856 w 748195"/>
              <a:gd name="csY181" fmla="*/ 707963 h 2076207"/>
              <a:gd name="csX182" fmla="*/ 348836 w 748195"/>
              <a:gd name="csY182" fmla="*/ 684115 h 2076207"/>
              <a:gd name="csX183" fmla="*/ 298865 w 748195"/>
              <a:gd name="csY183" fmla="*/ 621954 h 2076207"/>
              <a:gd name="csX184" fmla="*/ 251619 w 748195"/>
              <a:gd name="csY184" fmla="*/ 622133 h 2076207"/>
              <a:gd name="csX185" fmla="*/ 214459 w 748195"/>
              <a:gd name="csY185" fmla="*/ 636230 h 2076207"/>
              <a:gd name="csX186" fmla="*/ 221436 w 748195"/>
              <a:gd name="csY186" fmla="*/ 654205 h 2076207"/>
              <a:gd name="csX187" fmla="*/ 272412 w 748195"/>
              <a:gd name="csY187" fmla="*/ 657250 h 2076207"/>
              <a:gd name="csX188" fmla="*/ 349094 w 748195"/>
              <a:gd name="csY188" fmla="*/ 659282 h 2076207"/>
              <a:gd name="csX189" fmla="*/ 362996 w 748195"/>
              <a:gd name="csY189" fmla="*/ 644234 h 2076207"/>
              <a:gd name="csX190" fmla="*/ 348472 w 748195"/>
              <a:gd name="csY190" fmla="*/ 624649 h 2076207"/>
              <a:gd name="csX191" fmla="*/ 298865 w 748195"/>
              <a:gd name="csY191" fmla="*/ 621954 h 2076207"/>
              <a:gd name="csX192" fmla="*/ 227796 w 748195"/>
              <a:gd name="csY192" fmla="*/ 528000 h 2076207"/>
              <a:gd name="csX193" fmla="*/ 241009 w 748195"/>
              <a:gd name="csY193" fmla="*/ 545897 h 2076207"/>
              <a:gd name="csX194" fmla="*/ 282607 w 748195"/>
              <a:gd name="csY194" fmla="*/ 543480 h 2076207"/>
              <a:gd name="csX195" fmla="*/ 354213 w 748195"/>
              <a:gd name="csY195" fmla="*/ 543384 h 2076207"/>
              <a:gd name="csX196" fmla="*/ 365334 w 748195"/>
              <a:gd name="csY196" fmla="*/ 533397 h 2076207"/>
              <a:gd name="csX197" fmla="*/ 354531 w 748195"/>
              <a:gd name="csY197" fmla="*/ 521620 h 2076207"/>
              <a:gd name="csX198" fmla="*/ 259169 w 748195"/>
              <a:gd name="csY198" fmla="*/ 521978 h 2076207"/>
              <a:gd name="csX199" fmla="*/ 227796 w 748195"/>
              <a:gd name="csY199" fmla="*/ 528000 h 2076207"/>
              <a:gd name="csX200" fmla="*/ 508068 w 748195"/>
              <a:gd name="csY200" fmla="*/ 190710 h 2076207"/>
              <a:gd name="csX201" fmla="*/ 521293 w 748195"/>
              <a:gd name="csY201" fmla="*/ 205907 h 2076207"/>
              <a:gd name="csX202" fmla="*/ 525175 w 748195"/>
              <a:gd name="csY202" fmla="*/ 202985 h 2076207"/>
              <a:gd name="csX203" fmla="*/ 500276 w 748195"/>
              <a:gd name="csY203" fmla="*/ 160640 h 2076207"/>
              <a:gd name="csX204" fmla="*/ 497122 w 748195"/>
              <a:gd name="csY204" fmla="*/ 162007 h 2076207"/>
              <a:gd name="csX205" fmla="*/ 508068 w 748195"/>
              <a:gd name="csY205" fmla="*/ 190710 h 2076207"/>
              <a:gd name="csX206" fmla="*/ 215522 w 748195"/>
              <a:gd name="csY206" fmla="*/ 197296 h 2076207"/>
              <a:gd name="csX207" fmla="*/ 234029 w 748195"/>
              <a:gd name="csY207" fmla="*/ 162725 h 2076207"/>
              <a:gd name="csX208" fmla="*/ 229000 w 748195"/>
              <a:gd name="csY208" fmla="*/ 159902 h 2076207"/>
              <a:gd name="csX209" fmla="*/ 204824 w 748195"/>
              <a:gd name="csY209" fmla="*/ 199677 h 2076207"/>
              <a:gd name="csX210" fmla="*/ 207990 w 748195"/>
              <a:gd name="csY210" fmla="*/ 202198 h 2076207"/>
              <a:gd name="csX211" fmla="*/ 215522 w 748195"/>
              <a:gd name="csY211" fmla="*/ 197296 h 2076207"/>
              <a:gd name="csX212" fmla="*/ 484400 w 748195"/>
              <a:gd name="csY212" fmla="*/ 896678 h 2076207"/>
              <a:gd name="csX213" fmla="*/ 486181 w 748195"/>
              <a:gd name="csY213" fmla="*/ 896585 h 2076207"/>
              <a:gd name="csX214" fmla="*/ 486181 w 748195"/>
              <a:gd name="csY214" fmla="*/ 795289 h 2076207"/>
              <a:gd name="csX215" fmla="*/ 720241 w 748195"/>
              <a:gd name="csY215" fmla="*/ 2030666 h 2076207"/>
              <a:gd name="csX216" fmla="*/ 721175 w 748195"/>
              <a:gd name="csY216" fmla="*/ 2029733 h 2076207"/>
              <a:gd name="csX217" fmla="*/ 720241 w 748195"/>
              <a:gd name="csY217" fmla="*/ 2030666 h 2076207"/>
              <a:gd name="csX218" fmla="*/ 715702 w 748195"/>
              <a:gd name="csY218" fmla="*/ 2037051 h 2076207"/>
              <a:gd name="csX219" fmla="*/ 715702 w 748195"/>
              <a:gd name="csY219" fmla="*/ 2037051 h 2076207"/>
              <a:gd name="csX0" fmla="*/ 96263 w 729414"/>
              <a:gd name="csY0" fmla="*/ 2076207 h 2076207"/>
              <a:gd name="csX1" fmla="*/ 63862 w 729414"/>
              <a:gd name="csY1" fmla="*/ 2065388 h 2076207"/>
              <a:gd name="csX2" fmla="*/ 16555 w 729414"/>
              <a:gd name="csY2" fmla="*/ 2050152 h 2076207"/>
              <a:gd name="csX3" fmla="*/ 15 w 729414"/>
              <a:gd name="csY3" fmla="*/ 2023802 h 2076207"/>
              <a:gd name="csX4" fmla="*/ 18368 w 729414"/>
              <a:gd name="csY4" fmla="*/ 1940709 h 2076207"/>
              <a:gd name="csX5" fmla="*/ 22139 w 729414"/>
              <a:gd name="csY5" fmla="*/ 1907268 h 2076207"/>
              <a:gd name="csX6" fmla="*/ 57941 w 729414"/>
              <a:gd name="csY6" fmla="*/ 1774163 h 2076207"/>
              <a:gd name="csX7" fmla="*/ 102478 w 729414"/>
              <a:gd name="csY7" fmla="*/ 1720275 h 2076207"/>
              <a:gd name="csX8" fmla="*/ 108579 w 729414"/>
              <a:gd name="csY8" fmla="*/ 1650967 h 2076207"/>
              <a:gd name="csX9" fmla="*/ 115628 w 729414"/>
              <a:gd name="csY9" fmla="*/ 1625405 h 2076207"/>
              <a:gd name="csX10" fmla="*/ 156323 w 729414"/>
              <a:gd name="csY10" fmla="*/ 1560181 h 2076207"/>
              <a:gd name="csX11" fmla="*/ 199424 w 729414"/>
              <a:gd name="csY11" fmla="*/ 1364729 h 2076207"/>
              <a:gd name="csX12" fmla="*/ 216779 w 729414"/>
              <a:gd name="csY12" fmla="*/ 1219490 h 2076207"/>
              <a:gd name="csX13" fmla="*/ 229755 w 729414"/>
              <a:gd name="csY13" fmla="*/ 1099357 h 2076207"/>
              <a:gd name="csX14" fmla="*/ 232707 w 729414"/>
              <a:gd name="csY14" fmla="*/ 1056423 h 2076207"/>
              <a:gd name="csX15" fmla="*/ 235622 w 729414"/>
              <a:gd name="csY15" fmla="*/ 952675 h 2076207"/>
              <a:gd name="csX16" fmla="*/ 235445 w 729414"/>
              <a:gd name="csY16" fmla="*/ 780278 h 2076207"/>
              <a:gd name="csX17" fmla="*/ 214544 w 729414"/>
              <a:gd name="csY17" fmla="*/ 756435 h 2076207"/>
              <a:gd name="csX18" fmla="*/ 172569 w 729414"/>
              <a:gd name="csY18" fmla="*/ 742582 h 2076207"/>
              <a:gd name="csX19" fmla="*/ 168784 w 729414"/>
              <a:gd name="csY19" fmla="*/ 669116 h 2076207"/>
              <a:gd name="csX20" fmla="*/ 191657 w 729414"/>
              <a:gd name="csY20" fmla="*/ 630765 h 2076207"/>
              <a:gd name="csX21" fmla="*/ 208150 w 729414"/>
              <a:gd name="csY21" fmla="*/ 609084 h 2076207"/>
              <a:gd name="csX22" fmla="*/ 216756 w 729414"/>
              <a:gd name="csY22" fmla="*/ 558673 h 2076207"/>
              <a:gd name="csX23" fmla="*/ 209092 w 729414"/>
              <a:gd name="csY23" fmla="*/ 521540 h 2076207"/>
              <a:gd name="csX24" fmla="*/ 204683 w 729414"/>
              <a:gd name="csY24" fmla="*/ 474024 h 2076207"/>
              <a:gd name="csX25" fmla="*/ 115483 w 729414"/>
              <a:gd name="csY25" fmla="*/ 213499 h 2076207"/>
              <a:gd name="csX26" fmla="*/ 102909 w 729414"/>
              <a:gd name="csY26" fmla="*/ 182297 h 2076207"/>
              <a:gd name="csX27" fmla="*/ 104315 w 729414"/>
              <a:gd name="csY27" fmla="*/ 163968 h 2076207"/>
              <a:gd name="csX28" fmla="*/ 122444 w 729414"/>
              <a:gd name="csY28" fmla="*/ 160805 h 2076207"/>
              <a:gd name="csX29" fmla="*/ 170283 w 729414"/>
              <a:gd name="csY29" fmla="*/ 187783 h 2076207"/>
              <a:gd name="csX30" fmla="*/ 180938 w 729414"/>
              <a:gd name="csY30" fmla="*/ 195322 h 2076207"/>
              <a:gd name="csX31" fmla="*/ 221419 w 729414"/>
              <a:gd name="csY31" fmla="*/ 138058 h 2076207"/>
              <a:gd name="csX32" fmla="*/ 294099 w 729414"/>
              <a:gd name="csY32" fmla="*/ 91372 h 2076207"/>
              <a:gd name="csX33" fmla="*/ 302307 w 729414"/>
              <a:gd name="csY33" fmla="*/ 76560 h 2076207"/>
              <a:gd name="csX34" fmla="*/ 320284 w 729414"/>
              <a:gd name="csY34" fmla="*/ 8414 h 2076207"/>
              <a:gd name="csX35" fmla="*/ 324784 w 729414"/>
              <a:gd name="csY35" fmla="*/ 946 h 2076207"/>
              <a:gd name="csX36" fmla="*/ 399212 w 729414"/>
              <a:gd name="csY36" fmla="*/ 0 h 2076207"/>
              <a:gd name="csX37" fmla="*/ 425980 w 729414"/>
              <a:gd name="csY37" fmla="*/ 78301 h 2076207"/>
              <a:gd name="csX38" fmla="*/ 431861 w 729414"/>
              <a:gd name="csY38" fmla="*/ 90312 h 2076207"/>
              <a:gd name="csX39" fmla="*/ 540349 w 729414"/>
              <a:gd name="csY39" fmla="*/ 187946 h 2076207"/>
              <a:gd name="csX40" fmla="*/ 545555 w 729414"/>
              <a:gd name="csY40" fmla="*/ 197828 h 2076207"/>
              <a:gd name="csX41" fmla="*/ 587318 w 729414"/>
              <a:gd name="csY41" fmla="*/ 171260 h 2076207"/>
              <a:gd name="csX42" fmla="*/ 601503 w 729414"/>
              <a:gd name="csY42" fmla="*/ 163707 h 2076207"/>
              <a:gd name="csX43" fmla="*/ 625254 w 729414"/>
              <a:gd name="csY43" fmla="*/ 163123 h 2076207"/>
              <a:gd name="csX44" fmla="*/ 625468 w 729414"/>
              <a:gd name="csY44" fmla="*/ 187579 h 2076207"/>
              <a:gd name="csX45" fmla="*/ 597543 w 729414"/>
              <a:gd name="csY45" fmla="*/ 251872 h 2076207"/>
              <a:gd name="csX46" fmla="*/ 531831 w 729414"/>
              <a:gd name="csY46" fmla="*/ 442689 h 2076207"/>
              <a:gd name="csX47" fmla="*/ 519888 w 729414"/>
              <a:gd name="csY47" fmla="*/ 501474 h 2076207"/>
              <a:gd name="csX48" fmla="*/ 522506 w 729414"/>
              <a:gd name="csY48" fmla="*/ 525086 h 2076207"/>
              <a:gd name="csX49" fmla="*/ 516235 w 729414"/>
              <a:gd name="csY49" fmla="*/ 555946 h 2076207"/>
              <a:gd name="csX50" fmla="*/ 521332 w 729414"/>
              <a:gd name="csY50" fmla="*/ 610676 h 2076207"/>
              <a:gd name="csX51" fmla="*/ 541382 w 729414"/>
              <a:gd name="csY51" fmla="*/ 642597 h 2076207"/>
              <a:gd name="csX52" fmla="*/ 557031 w 729414"/>
              <a:gd name="csY52" fmla="*/ 667949 h 2076207"/>
              <a:gd name="csX53" fmla="*/ 553994 w 729414"/>
              <a:gd name="csY53" fmla="*/ 744146 h 2076207"/>
              <a:gd name="csX54" fmla="*/ 508215 w 729414"/>
              <a:gd name="csY54" fmla="*/ 758841 h 2076207"/>
              <a:gd name="csX55" fmla="*/ 497442 w 729414"/>
              <a:gd name="csY55" fmla="*/ 771256 h 2076207"/>
              <a:gd name="csX56" fmla="*/ 493005 w 729414"/>
              <a:gd name="csY56" fmla="*/ 922055 h 2076207"/>
              <a:gd name="csX57" fmla="*/ 502900 w 729414"/>
              <a:gd name="csY57" fmla="*/ 1114191 h 2076207"/>
              <a:gd name="csX58" fmla="*/ 508800 w 729414"/>
              <a:gd name="csY58" fmla="*/ 1205474 h 2076207"/>
              <a:gd name="csX59" fmla="*/ 522952 w 729414"/>
              <a:gd name="csY59" fmla="*/ 1320065 h 2076207"/>
              <a:gd name="csX60" fmla="*/ 554682 w 729414"/>
              <a:gd name="csY60" fmla="*/ 1501203 h 2076207"/>
              <a:gd name="csX61" fmla="*/ 576958 w 729414"/>
              <a:gd name="csY61" fmla="*/ 1593963 h 2076207"/>
              <a:gd name="csX62" fmla="*/ 595349 w 729414"/>
              <a:gd name="csY62" fmla="*/ 1613498 h 2076207"/>
              <a:gd name="csX63" fmla="*/ 613936 w 729414"/>
              <a:gd name="csY63" fmla="*/ 1624058 h 2076207"/>
              <a:gd name="csX64" fmla="*/ 620938 w 729414"/>
              <a:gd name="csY64" fmla="*/ 1652071 h 2076207"/>
              <a:gd name="csX65" fmla="*/ 630805 w 729414"/>
              <a:gd name="csY65" fmla="*/ 1721702 h 2076207"/>
              <a:gd name="csX66" fmla="*/ 685830 w 729414"/>
              <a:gd name="csY66" fmla="*/ 1792915 h 2076207"/>
              <a:gd name="csX67" fmla="*/ 708904 w 729414"/>
              <a:gd name="csY67" fmla="*/ 1890290 h 2076207"/>
              <a:gd name="csX68" fmla="*/ 716580 w 729414"/>
              <a:gd name="csY68" fmla="*/ 1951136 h 2076207"/>
              <a:gd name="csX69" fmla="*/ 729397 w 729414"/>
              <a:gd name="csY69" fmla="*/ 2030261 h 2076207"/>
              <a:gd name="csX70" fmla="*/ 714212 w 729414"/>
              <a:gd name="csY70" fmla="*/ 2049544 h 2076207"/>
              <a:gd name="csX71" fmla="*/ 706629 w 729414"/>
              <a:gd name="csY71" fmla="*/ 2044290 h 2076207"/>
              <a:gd name="csX72" fmla="*/ 96263 w 729414"/>
              <a:gd name="csY72" fmla="*/ 2076207 h 2076207"/>
              <a:gd name="csX73" fmla="*/ 489970 w 729414"/>
              <a:gd name="csY73" fmla="*/ 152208 h 2076207"/>
              <a:gd name="csX74" fmla="*/ 490754 w 729414"/>
              <a:gd name="csY74" fmla="*/ 152592 h 2076207"/>
              <a:gd name="csX75" fmla="*/ 489489 w 729414"/>
              <a:gd name="csY75" fmla="*/ 149547 h 2076207"/>
              <a:gd name="csX76" fmla="*/ 393621 w 729414"/>
              <a:gd name="csY76" fmla="*/ 99259 h 2076207"/>
              <a:gd name="csX77" fmla="*/ 390419 w 729414"/>
              <a:gd name="csY77" fmla="*/ 18568 h 2076207"/>
              <a:gd name="csX78" fmla="*/ 334131 w 729414"/>
              <a:gd name="csY78" fmla="*/ 24327 h 2076207"/>
              <a:gd name="csX79" fmla="*/ 344678 w 729414"/>
              <a:gd name="csY79" fmla="*/ 101259 h 2076207"/>
              <a:gd name="csX80" fmla="*/ 298854 w 729414"/>
              <a:gd name="csY80" fmla="*/ 114003 h 2076207"/>
              <a:gd name="csX81" fmla="*/ 237456 w 729414"/>
              <a:gd name="csY81" fmla="*/ 154340 h 2076207"/>
              <a:gd name="csX82" fmla="*/ 240382 w 729414"/>
              <a:gd name="csY82" fmla="*/ 154035 h 2076207"/>
              <a:gd name="csX83" fmla="*/ 262731 w 729414"/>
              <a:gd name="csY83" fmla="*/ 170426 h 2076207"/>
              <a:gd name="csX84" fmla="*/ 279169 w 729414"/>
              <a:gd name="csY84" fmla="*/ 193173 h 2076207"/>
              <a:gd name="csX85" fmla="*/ 327717 w 729414"/>
              <a:gd name="csY85" fmla="*/ 188556 h 2076207"/>
              <a:gd name="csX86" fmla="*/ 348052 w 729414"/>
              <a:gd name="csY86" fmla="*/ 156919 h 2076207"/>
              <a:gd name="csX87" fmla="*/ 380330 w 729414"/>
              <a:gd name="csY87" fmla="*/ 156483 h 2076207"/>
              <a:gd name="csX88" fmla="*/ 408490 w 729414"/>
              <a:gd name="csY88" fmla="*/ 195400 h 2076207"/>
              <a:gd name="csX89" fmla="*/ 445346 w 729414"/>
              <a:gd name="csY89" fmla="*/ 197582 h 2076207"/>
              <a:gd name="csX90" fmla="*/ 464798 w 729414"/>
              <a:gd name="csY90" fmla="*/ 174107 h 2076207"/>
              <a:gd name="csX91" fmla="*/ 489970 w 729414"/>
              <a:gd name="csY91" fmla="*/ 152208 h 2076207"/>
              <a:gd name="csX92" fmla="*/ 140694 w 729414"/>
              <a:gd name="csY92" fmla="*/ 201837 h 2076207"/>
              <a:gd name="csX93" fmla="*/ 139834 w 729414"/>
              <a:gd name="csY93" fmla="*/ 201482 h 2076207"/>
              <a:gd name="csX94" fmla="*/ 140812 w 729414"/>
              <a:gd name="csY94" fmla="*/ 204941 h 2076207"/>
              <a:gd name="csX95" fmla="*/ 144631 w 729414"/>
              <a:gd name="csY95" fmla="*/ 217811 h 2076207"/>
              <a:gd name="csX96" fmla="*/ 201241 w 729414"/>
              <a:gd name="csY96" fmla="*/ 373387 h 2076207"/>
              <a:gd name="csX97" fmla="*/ 235971 w 729414"/>
              <a:gd name="csY97" fmla="*/ 504451 h 2076207"/>
              <a:gd name="csX98" fmla="*/ 247475 w 729414"/>
              <a:gd name="csY98" fmla="*/ 513241 h 2076207"/>
              <a:gd name="csX99" fmla="*/ 289066 w 729414"/>
              <a:gd name="csY99" fmla="*/ 511170 h 2076207"/>
              <a:gd name="csX100" fmla="*/ 378229 w 729414"/>
              <a:gd name="csY100" fmla="*/ 511084 h 2076207"/>
              <a:gd name="csX101" fmla="*/ 470850 w 729414"/>
              <a:gd name="csY101" fmla="*/ 516341 h 2076207"/>
              <a:gd name="csX102" fmla="*/ 492933 w 729414"/>
              <a:gd name="csY102" fmla="*/ 497969 h 2076207"/>
              <a:gd name="csX103" fmla="*/ 557617 w 729414"/>
              <a:gd name="csY103" fmla="*/ 280398 h 2076207"/>
              <a:gd name="csX104" fmla="*/ 588788 w 729414"/>
              <a:gd name="csY104" fmla="*/ 200385 h 2076207"/>
              <a:gd name="csX105" fmla="*/ 530958 w 729414"/>
              <a:gd name="csY105" fmla="*/ 232968 h 2076207"/>
              <a:gd name="csX106" fmla="*/ 483823 w 729414"/>
              <a:gd name="csY106" fmla="*/ 190364 h 2076207"/>
              <a:gd name="csX107" fmla="*/ 466649 w 729414"/>
              <a:gd name="csY107" fmla="*/ 209061 h 2076207"/>
              <a:gd name="csX108" fmla="*/ 399941 w 729414"/>
              <a:gd name="csY108" fmla="*/ 216988 h 2076207"/>
              <a:gd name="csX109" fmla="*/ 363018 w 729414"/>
              <a:gd name="csY109" fmla="*/ 179615 h 2076207"/>
              <a:gd name="csX110" fmla="*/ 308839 w 729414"/>
              <a:gd name="csY110" fmla="*/ 227846 h 2076207"/>
              <a:gd name="csX111" fmla="*/ 245077 w 729414"/>
              <a:gd name="csY111" fmla="*/ 192402 h 2076207"/>
              <a:gd name="csX112" fmla="*/ 242829 w 729414"/>
              <a:gd name="csY112" fmla="*/ 198815 h 2076207"/>
              <a:gd name="csX113" fmla="*/ 168452 w 729414"/>
              <a:gd name="csY113" fmla="*/ 219348 h 2076207"/>
              <a:gd name="csX114" fmla="*/ 140694 w 729414"/>
              <a:gd name="csY114" fmla="*/ 201837 h 2076207"/>
              <a:gd name="csX115" fmla="*/ 259999 w 729414"/>
              <a:gd name="csY115" fmla="*/ 966699 h 2076207"/>
              <a:gd name="csX116" fmla="*/ 257072 w 729414"/>
              <a:gd name="csY116" fmla="*/ 1070424 h 2076207"/>
              <a:gd name="csX117" fmla="*/ 251372 w 729414"/>
              <a:gd name="csY117" fmla="*/ 1157618 h 2076207"/>
              <a:gd name="csX118" fmla="*/ 232677 w 729414"/>
              <a:gd name="csY118" fmla="*/ 1320279 h 2076207"/>
              <a:gd name="csX119" fmla="*/ 209182 w 729414"/>
              <a:gd name="csY119" fmla="*/ 1468667 h 2076207"/>
              <a:gd name="csX120" fmla="*/ 175302 w 729414"/>
              <a:gd name="csY120" fmla="*/ 1616623 h 2076207"/>
              <a:gd name="csX121" fmla="*/ 182769 w 729414"/>
              <a:gd name="csY121" fmla="*/ 1629786 h 2076207"/>
              <a:gd name="csX122" fmla="*/ 212156 w 729414"/>
              <a:gd name="csY122" fmla="*/ 1632656 h 2076207"/>
              <a:gd name="csX123" fmla="*/ 351295 w 729414"/>
              <a:gd name="csY123" fmla="*/ 1632801 h 2076207"/>
              <a:gd name="csX124" fmla="*/ 376150 w 729414"/>
              <a:gd name="csY124" fmla="*/ 1608307 h 2076207"/>
              <a:gd name="csX125" fmla="*/ 373450 w 729414"/>
              <a:gd name="csY125" fmla="*/ 1457291 h 2076207"/>
              <a:gd name="csX126" fmla="*/ 370936 w 729414"/>
              <a:gd name="csY126" fmla="*/ 1342736 h 2076207"/>
              <a:gd name="csX127" fmla="*/ 368328 w 729414"/>
              <a:gd name="csY127" fmla="*/ 1203878 h 2076207"/>
              <a:gd name="csX128" fmla="*/ 367836 w 729414"/>
              <a:gd name="csY128" fmla="*/ 813478 h 2076207"/>
              <a:gd name="csX129" fmla="*/ 365240 w 729414"/>
              <a:gd name="csY129" fmla="*/ 773243 h 2076207"/>
              <a:gd name="csX130" fmla="*/ 353084 w 729414"/>
              <a:gd name="csY130" fmla="*/ 762083 h 2076207"/>
              <a:gd name="csX131" fmla="*/ 280966 w 729414"/>
              <a:gd name="csY131" fmla="*/ 759855 h 2076207"/>
              <a:gd name="csX132" fmla="*/ 259965 w 729414"/>
              <a:gd name="csY132" fmla="*/ 779553 h 2076207"/>
              <a:gd name="csX133" fmla="*/ 262341 w 729414"/>
              <a:gd name="csY133" fmla="*/ 856275 h 2076207"/>
              <a:gd name="csX134" fmla="*/ 259999 w 729414"/>
              <a:gd name="csY134" fmla="*/ 966699 h 2076207"/>
              <a:gd name="csX135" fmla="*/ 55556 w 729414"/>
              <a:gd name="csY135" fmla="*/ 1835827 h 2076207"/>
              <a:gd name="csX136" fmla="*/ 49393 w 729414"/>
              <a:gd name="csY136" fmla="*/ 1878155 h 2076207"/>
              <a:gd name="csX137" fmla="*/ 73949 w 729414"/>
              <a:gd name="csY137" fmla="*/ 1905781 h 2076207"/>
              <a:gd name="csX138" fmla="*/ 110073 w 729414"/>
              <a:gd name="csY138" fmla="*/ 1909068 h 2076207"/>
              <a:gd name="csX139" fmla="*/ 224745 w 729414"/>
              <a:gd name="csY139" fmla="*/ 1921652 h 2076207"/>
              <a:gd name="csX140" fmla="*/ 347327 w 729414"/>
              <a:gd name="csY140" fmla="*/ 1924778 h 2076207"/>
              <a:gd name="csX141" fmla="*/ 363345 w 729414"/>
              <a:gd name="csY141" fmla="*/ 1923293 h 2076207"/>
              <a:gd name="csX142" fmla="*/ 373787 w 729414"/>
              <a:gd name="csY142" fmla="*/ 1911200 h 2076207"/>
              <a:gd name="csX143" fmla="*/ 376623 w 729414"/>
              <a:gd name="csY143" fmla="*/ 1696741 h 2076207"/>
              <a:gd name="csX144" fmla="*/ 360437 w 729414"/>
              <a:gd name="csY144" fmla="*/ 1681289 h 2076207"/>
              <a:gd name="csX145" fmla="*/ 263503 w 729414"/>
              <a:gd name="csY145" fmla="*/ 1678179 h 2076207"/>
              <a:gd name="csX146" fmla="*/ 160381 w 729414"/>
              <a:gd name="csY146" fmla="*/ 1670405 h 2076207"/>
              <a:gd name="csX147" fmla="*/ 143321 w 729414"/>
              <a:gd name="csY147" fmla="*/ 1685538 h 2076207"/>
              <a:gd name="csX148" fmla="*/ 124769 w 729414"/>
              <a:gd name="csY148" fmla="*/ 1738195 h 2076207"/>
              <a:gd name="csX149" fmla="*/ 90593 w 729414"/>
              <a:gd name="csY149" fmla="*/ 1779570 h 2076207"/>
              <a:gd name="csX150" fmla="*/ 55556 w 729414"/>
              <a:gd name="csY150" fmla="*/ 1835827 h 2076207"/>
              <a:gd name="csX151" fmla="*/ 378900 w 729414"/>
              <a:gd name="csY151" fmla="*/ 2007280 h 2076207"/>
              <a:gd name="csX152" fmla="*/ 378887 w 729414"/>
              <a:gd name="csY152" fmla="*/ 1995127 h 2076207"/>
              <a:gd name="csX153" fmla="*/ 359084 w 729414"/>
              <a:gd name="csY153" fmla="*/ 1975964 h 2076207"/>
              <a:gd name="csX154" fmla="*/ 247288 w 729414"/>
              <a:gd name="csY154" fmla="*/ 1973305 h 2076207"/>
              <a:gd name="csX155" fmla="*/ 201692 w 729414"/>
              <a:gd name="csY155" fmla="*/ 1970275 h 2076207"/>
              <a:gd name="csX156" fmla="*/ 57962 w 729414"/>
              <a:gd name="csY156" fmla="*/ 1952648 h 2076207"/>
              <a:gd name="csX157" fmla="*/ 39194 w 729414"/>
              <a:gd name="csY157" fmla="*/ 1963552 h 2076207"/>
              <a:gd name="csX158" fmla="*/ 30066 w 729414"/>
              <a:gd name="csY158" fmla="*/ 2006631 h 2076207"/>
              <a:gd name="csX159" fmla="*/ 40232 w 729414"/>
              <a:gd name="csY159" fmla="*/ 2019486 h 2076207"/>
              <a:gd name="csX160" fmla="*/ 238186 w 729414"/>
              <a:gd name="csY160" fmla="*/ 2046096 h 2076207"/>
              <a:gd name="csX161" fmla="*/ 342155 w 729414"/>
              <a:gd name="csY161" fmla="*/ 2046441 h 2076207"/>
              <a:gd name="csX162" fmla="*/ 378900 w 729414"/>
              <a:gd name="csY162" fmla="*/ 2007280 h 2076207"/>
              <a:gd name="csX163" fmla="*/ 310220 w 729414"/>
              <a:gd name="csY163" fmla="*/ 554288 h 2076207"/>
              <a:gd name="csX164" fmla="*/ 259136 w 729414"/>
              <a:gd name="csY164" fmla="*/ 556881 h 2076207"/>
              <a:gd name="csX165" fmla="*/ 249085 w 729414"/>
              <a:gd name="csY165" fmla="*/ 567981 h 2076207"/>
              <a:gd name="csX166" fmla="*/ 249141 w 729414"/>
              <a:gd name="csY166" fmla="*/ 605644 h 2076207"/>
              <a:gd name="csX167" fmla="*/ 262628 w 729414"/>
              <a:gd name="csY167" fmla="*/ 605627 h 2076207"/>
              <a:gd name="csX168" fmla="*/ 369608 w 729414"/>
              <a:gd name="csY168" fmla="*/ 603027 h 2076207"/>
              <a:gd name="csX169" fmla="*/ 463931 w 729414"/>
              <a:gd name="csY169" fmla="*/ 605146 h 2076207"/>
              <a:gd name="csX170" fmla="*/ 478113 w 729414"/>
              <a:gd name="csY170" fmla="*/ 595843 h 2076207"/>
              <a:gd name="csX171" fmla="*/ 478796 w 729414"/>
              <a:gd name="csY171" fmla="*/ 556832 h 2076207"/>
              <a:gd name="csX172" fmla="*/ 310220 w 729414"/>
              <a:gd name="csY172" fmla="*/ 554288 h 2076207"/>
              <a:gd name="csX173" fmla="*/ 348836 w 729414"/>
              <a:gd name="csY173" fmla="*/ 684115 h 2076207"/>
              <a:gd name="csX174" fmla="*/ 281333 w 729414"/>
              <a:gd name="csY174" fmla="*/ 683313 h 2076207"/>
              <a:gd name="csX175" fmla="*/ 212728 w 729414"/>
              <a:gd name="csY175" fmla="*/ 681931 h 2076207"/>
              <a:gd name="csX176" fmla="*/ 187283 w 729414"/>
              <a:gd name="csY176" fmla="*/ 689555 h 2076207"/>
              <a:gd name="csX177" fmla="*/ 186163 w 729414"/>
              <a:gd name="csY177" fmla="*/ 718266 h 2076207"/>
              <a:gd name="csX178" fmla="*/ 209894 w 729414"/>
              <a:gd name="csY178" fmla="*/ 726798 h 2076207"/>
              <a:gd name="csX179" fmla="*/ 334814 w 729414"/>
              <a:gd name="csY179" fmla="*/ 732494 h 2076207"/>
              <a:gd name="csX180" fmla="*/ 364856 w 729414"/>
              <a:gd name="csY180" fmla="*/ 707963 h 2076207"/>
              <a:gd name="csX181" fmla="*/ 348836 w 729414"/>
              <a:gd name="csY181" fmla="*/ 684115 h 2076207"/>
              <a:gd name="csX182" fmla="*/ 298865 w 729414"/>
              <a:gd name="csY182" fmla="*/ 621954 h 2076207"/>
              <a:gd name="csX183" fmla="*/ 251619 w 729414"/>
              <a:gd name="csY183" fmla="*/ 622133 h 2076207"/>
              <a:gd name="csX184" fmla="*/ 214459 w 729414"/>
              <a:gd name="csY184" fmla="*/ 636230 h 2076207"/>
              <a:gd name="csX185" fmla="*/ 221436 w 729414"/>
              <a:gd name="csY185" fmla="*/ 654205 h 2076207"/>
              <a:gd name="csX186" fmla="*/ 272412 w 729414"/>
              <a:gd name="csY186" fmla="*/ 657250 h 2076207"/>
              <a:gd name="csX187" fmla="*/ 349094 w 729414"/>
              <a:gd name="csY187" fmla="*/ 659282 h 2076207"/>
              <a:gd name="csX188" fmla="*/ 362996 w 729414"/>
              <a:gd name="csY188" fmla="*/ 644234 h 2076207"/>
              <a:gd name="csX189" fmla="*/ 348472 w 729414"/>
              <a:gd name="csY189" fmla="*/ 624649 h 2076207"/>
              <a:gd name="csX190" fmla="*/ 298865 w 729414"/>
              <a:gd name="csY190" fmla="*/ 621954 h 2076207"/>
              <a:gd name="csX191" fmla="*/ 227796 w 729414"/>
              <a:gd name="csY191" fmla="*/ 528000 h 2076207"/>
              <a:gd name="csX192" fmla="*/ 241009 w 729414"/>
              <a:gd name="csY192" fmla="*/ 545897 h 2076207"/>
              <a:gd name="csX193" fmla="*/ 282607 w 729414"/>
              <a:gd name="csY193" fmla="*/ 543480 h 2076207"/>
              <a:gd name="csX194" fmla="*/ 354213 w 729414"/>
              <a:gd name="csY194" fmla="*/ 543384 h 2076207"/>
              <a:gd name="csX195" fmla="*/ 365334 w 729414"/>
              <a:gd name="csY195" fmla="*/ 533397 h 2076207"/>
              <a:gd name="csX196" fmla="*/ 354531 w 729414"/>
              <a:gd name="csY196" fmla="*/ 521620 h 2076207"/>
              <a:gd name="csX197" fmla="*/ 259169 w 729414"/>
              <a:gd name="csY197" fmla="*/ 521978 h 2076207"/>
              <a:gd name="csX198" fmla="*/ 227796 w 729414"/>
              <a:gd name="csY198" fmla="*/ 528000 h 2076207"/>
              <a:gd name="csX199" fmla="*/ 508068 w 729414"/>
              <a:gd name="csY199" fmla="*/ 190710 h 2076207"/>
              <a:gd name="csX200" fmla="*/ 521293 w 729414"/>
              <a:gd name="csY200" fmla="*/ 205907 h 2076207"/>
              <a:gd name="csX201" fmla="*/ 525175 w 729414"/>
              <a:gd name="csY201" fmla="*/ 202985 h 2076207"/>
              <a:gd name="csX202" fmla="*/ 500276 w 729414"/>
              <a:gd name="csY202" fmla="*/ 160640 h 2076207"/>
              <a:gd name="csX203" fmla="*/ 497122 w 729414"/>
              <a:gd name="csY203" fmla="*/ 162007 h 2076207"/>
              <a:gd name="csX204" fmla="*/ 508068 w 729414"/>
              <a:gd name="csY204" fmla="*/ 190710 h 2076207"/>
              <a:gd name="csX205" fmla="*/ 215522 w 729414"/>
              <a:gd name="csY205" fmla="*/ 197296 h 2076207"/>
              <a:gd name="csX206" fmla="*/ 234029 w 729414"/>
              <a:gd name="csY206" fmla="*/ 162725 h 2076207"/>
              <a:gd name="csX207" fmla="*/ 229000 w 729414"/>
              <a:gd name="csY207" fmla="*/ 159902 h 2076207"/>
              <a:gd name="csX208" fmla="*/ 204824 w 729414"/>
              <a:gd name="csY208" fmla="*/ 199677 h 2076207"/>
              <a:gd name="csX209" fmla="*/ 207990 w 729414"/>
              <a:gd name="csY209" fmla="*/ 202198 h 2076207"/>
              <a:gd name="csX210" fmla="*/ 215522 w 729414"/>
              <a:gd name="csY210" fmla="*/ 197296 h 2076207"/>
              <a:gd name="csX211" fmla="*/ 484400 w 729414"/>
              <a:gd name="csY211" fmla="*/ 896678 h 2076207"/>
              <a:gd name="csX212" fmla="*/ 486181 w 729414"/>
              <a:gd name="csY212" fmla="*/ 896585 h 2076207"/>
              <a:gd name="csX213" fmla="*/ 486181 w 729414"/>
              <a:gd name="csY213" fmla="*/ 795289 h 2076207"/>
              <a:gd name="csX214" fmla="*/ 720241 w 729414"/>
              <a:gd name="csY214" fmla="*/ 2030666 h 2076207"/>
              <a:gd name="csX215" fmla="*/ 721175 w 729414"/>
              <a:gd name="csY215" fmla="*/ 2029733 h 2076207"/>
              <a:gd name="csX216" fmla="*/ 720241 w 729414"/>
              <a:gd name="csY216" fmla="*/ 2030666 h 2076207"/>
              <a:gd name="csX217" fmla="*/ 715702 w 729414"/>
              <a:gd name="csY217" fmla="*/ 2037051 h 2076207"/>
              <a:gd name="csX218" fmla="*/ 715702 w 729414"/>
              <a:gd name="csY218" fmla="*/ 2037051 h 2076207"/>
              <a:gd name="csX0" fmla="*/ 96263 w 765535"/>
              <a:gd name="csY0" fmla="*/ 2076207 h 2076207"/>
              <a:gd name="csX1" fmla="*/ 63862 w 765535"/>
              <a:gd name="csY1" fmla="*/ 2065388 h 2076207"/>
              <a:gd name="csX2" fmla="*/ 16555 w 765535"/>
              <a:gd name="csY2" fmla="*/ 2050152 h 2076207"/>
              <a:gd name="csX3" fmla="*/ 15 w 765535"/>
              <a:gd name="csY3" fmla="*/ 2023802 h 2076207"/>
              <a:gd name="csX4" fmla="*/ 18368 w 765535"/>
              <a:gd name="csY4" fmla="*/ 1940709 h 2076207"/>
              <a:gd name="csX5" fmla="*/ 22139 w 765535"/>
              <a:gd name="csY5" fmla="*/ 1907268 h 2076207"/>
              <a:gd name="csX6" fmla="*/ 57941 w 765535"/>
              <a:gd name="csY6" fmla="*/ 1774163 h 2076207"/>
              <a:gd name="csX7" fmla="*/ 102478 w 765535"/>
              <a:gd name="csY7" fmla="*/ 1720275 h 2076207"/>
              <a:gd name="csX8" fmla="*/ 108579 w 765535"/>
              <a:gd name="csY8" fmla="*/ 1650967 h 2076207"/>
              <a:gd name="csX9" fmla="*/ 115628 w 765535"/>
              <a:gd name="csY9" fmla="*/ 1625405 h 2076207"/>
              <a:gd name="csX10" fmla="*/ 156323 w 765535"/>
              <a:gd name="csY10" fmla="*/ 1560181 h 2076207"/>
              <a:gd name="csX11" fmla="*/ 199424 w 765535"/>
              <a:gd name="csY11" fmla="*/ 1364729 h 2076207"/>
              <a:gd name="csX12" fmla="*/ 216779 w 765535"/>
              <a:gd name="csY12" fmla="*/ 1219490 h 2076207"/>
              <a:gd name="csX13" fmla="*/ 229755 w 765535"/>
              <a:gd name="csY13" fmla="*/ 1099357 h 2076207"/>
              <a:gd name="csX14" fmla="*/ 232707 w 765535"/>
              <a:gd name="csY14" fmla="*/ 1056423 h 2076207"/>
              <a:gd name="csX15" fmla="*/ 235622 w 765535"/>
              <a:gd name="csY15" fmla="*/ 952675 h 2076207"/>
              <a:gd name="csX16" fmla="*/ 235445 w 765535"/>
              <a:gd name="csY16" fmla="*/ 780278 h 2076207"/>
              <a:gd name="csX17" fmla="*/ 214544 w 765535"/>
              <a:gd name="csY17" fmla="*/ 756435 h 2076207"/>
              <a:gd name="csX18" fmla="*/ 172569 w 765535"/>
              <a:gd name="csY18" fmla="*/ 742582 h 2076207"/>
              <a:gd name="csX19" fmla="*/ 168784 w 765535"/>
              <a:gd name="csY19" fmla="*/ 669116 h 2076207"/>
              <a:gd name="csX20" fmla="*/ 191657 w 765535"/>
              <a:gd name="csY20" fmla="*/ 630765 h 2076207"/>
              <a:gd name="csX21" fmla="*/ 208150 w 765535"/>
              <a:gd name="csY21" fmla="*/ 609084 h 2076207"/>
              <a:gd name="csX22" fmla="*/ 216756 w 765535"/>
              <a:gd name="csY22" fmla="*/ 558673 h 2076207"/>
              <a:gd name="csX23" fmla="*/ 209092 w 765535"/>
              <a:gd name="csY23" fmla="*/ 521540 h 2076207"/>
              <a:gd name="csX24" fmla="*/ 204683 w 765535"/>
              <a:gd name="csY24" fmla="*/ 474024 h 2076207"/>
              <a:gd name="csX25" fmla="*/ 115483 w 765535"/>
              <a:gd name="csY25" fmla="*/ 213499 h 2076207"/>
              <a:gd name="csX26" fmla="*/ 102909 w 765535"/>
              <a:gd name="csY26" fmla="*/ 182297 h 2076207"/>
              <a:gd name="csX27" fmla="*/ 104315 w 765535"/>
              <a:gd name="csY27" fmla="*/ 163968 h 2076207"/>
              <a:gd name="csX28" fmla="*/ 122444 w 765535"/>
              <a:gd name="csY28" fmla="*/ 160805 h 2076207"/>
              <a:gd name="csX29" fmla="*/ 170283 w 765535"/>
              <a:gd name="csY29" fmla="*/ 187783 h 2076207"/>
              <a:gd name="csX30" fmla="*/ 180938 w 765535"/>
              <a:gd name="csY30" fmla="*/ 195322 h 2076207"/>
              <a:gd name="csX31" fmla="*/ 221419 w 765535"/>
              <a:gd name="csY31" fmla="*/ 138058 h 2076207"/>
              <a:gd name="csX32" fmla="*/ 294099 w 765535"/>
              <a:gd name="csY32" fmla="*/ 91372 h 2076207"/>
              <a:gd name="csX33" fmla="*/ 302307 w 765535"/>
              <a:gd name="csY33" fmla="*/ 76560 h 2076207"/>
              <a:gd name="csX34" fmla="*/ 320284 w 765535"/>
              <a:gd name="csY34" fmla="*/ 8414 h 2076207"/>
              <a:gd name="csX35" fmla="*/ 324784 w 765535"/>
              <a:gd name="csY35" fmla="*/ 946 h 2076207"/>
              <a:gd name="csX36" fmla="*/ 399212 w 765535"/>
              <a:gd name="csY36" fmla="*/ 0 h 2076207"/>
              <a:gd name="csX37" fmla="*/ 425980 w 765535"/>
              <a:gd name="csY37" fmla="*/ 78301 h 2076207"/>
              <a:gd name="csX38" fmla="*/ 431861 w 765535"/>
              <a:gd name="csY38" fmla="*/ 90312 h 2076207"/>
              <a:gd name="csX39" fmla="*/ 540349 w 765535"/>
              <a:gd name="csY39" fmla="*/ 187946 h 2076207"/>
              <a:gd name="csX40" fmla="*/ 545555 w 765535"/>
              <a:gd name="csY40" fmla="*/ 197828 h 2076207"/>
              <a:gd name="csX41" fmla="*/ 587318 w 765535"/>
              <a:gd name="csY41" fmla="*/ 171260 h 2076207"/>
              <a:gd name="csX42" fmla="*/ 601503 w 765535"/>
              <a:gd name="csY42" fmla="*/ 163707 h 2076207"/>
              <a:gd name="csX43" fmla="*/ 625254 w 765535"/>
              <a:gd name="csY43" fmla="*/ 163123 h 2076207"/>
              <a:gd name="csX44" fmla="*/ 625468 w 765535"/>
              <a:gd name="csY44" fmla="*/ 187579 h 2076207"/>
              <a:gd name="csX45" fmla="*/ 597543 w 765535"/>
              <a:gd name="csY45" fmla="*/ 251872 h 2076207"/>
              <a:gd name="csX46" fmla="*/ 531831 w 765535"/>
              <a:gd name="csY46" fmla="*/ 442689 h 2076207"/>
              <a:gd name="csX47" fmla="*/ 519888 w 765535"/>
              <a:gd name="csY47" fmla="*/ 501474 h 2076207"/>
              <a:gd name="csX48" fmla="*/ 522506 w 765535"/>
              <a:gd name="csY48" fmla="*/ 525086 h 2076207"/>
              <a:gd name="csX49" fmla="*/ 516235 w 765535"/>
              <a:gd name="csY49" fmla="*/ 555946 h 2076207"/>
              <a:gd name="csX50" fmla="*/ 521332 w 765535"/>
              <a:gd name="csY50" fmla="*/ 610676 h 2076207"/>
              <a:gd name="csX51" fmla="*/ 541382 w 765535"/>
              <a:gd name="csY51" fmla="*/ 642597 h 2076207"/>
              <a:gd name="csX52" fmla="*/ 557031 w 765535"/>
              <a:gd name="csY52" fmla="*/ 667949 h 2076207"/>
              <a:gd name="csX53" fmla="*/ 553994 w 765535"/>
              <a:gd name="csY53" fmla="*/ 744146 h 2076207"/>
              <a:gd name="csX54" fmla="*/ 508215 w 765535"/>
              <a:gd name="csY54" fmla="*/ 758841 h 2076207"/>
              <a:gd name="csX55" fmla="*/ 497442 w 765535"/>
              <a:gd name="csY55" fmla="*/ 771256 h 2076207"/>
              <a:gd name="csX56" fmla="*/ 493005 w 765535"/>
              <a:gd name="csY56" fmla="*/ 922055 h 2076207"/>
              <a:gd name="csX57" fmla="*/ 502900 w 765535"/>
              <a:gd name="csY57" fmla="*/ 1114191 h 2076207"/>
              <a:gd name="csX58" fmla="*/ 508800 w 765535"/>
              <a:gd name="csY58" fmla="*/ 1205474 h 2076207"/>
              <a:gd name="csX59" fmla="*/ 522952 w 765535"/>
              <a:gd name="csY59" fmla="*/ 1320065 h 2076207"/>
              <a:gd name="csX60" fmla="*/ 554682 w 765535"/>
              <a:gd name="csY60" fmla="*/ 1501203 h 2076207"/>
              <a:gd name="csX61" fmla="*/ 576958 w 765535"/>
              <a:gd name="csY61" fmla="*/ 1593963 h 2076207"/>
              <a:gd name="csX62" fmla="*/ 595349 w 765535"/>
              <a:gd name="csY62" fmla="*/ 1613498 h 2076207"/>
              <a:gd name="csX63" fmla="*/ 613936 w 765535"/>
              <a:gd name="csY63" fmla="*/ 1624058 h 2076207"/>
              <a:gd name="csX64" fmla="*/ 620938 w 765535"/>
              <a:gd name="csY64" fmla="*/ 1652071 h 2076207"/>
              <a:gd name="csX65" fmla="*/ 630805 w 765535"/>
              <a:gd name="csY65" fmla="*/ 1721702 h 2076207"/>
              <a:gd name="csX66" fmla="*/ 685830 w 765535"/>
              <a:gd name="csY66" fmla="*/ 1792915 h 2076207"/>
              <a:gd name="csX67" fmla="*/ 708904 w 765535"/>
              <a:gd name="csY67" fmla="*/ 1890290 h 2076207"/>
              <a:gd name="csX68" fmla="*/ 716580 w 765535"/>
              <a:gd name="csY68" fmla="*/ 1951136 h 2076207"/>
              <a:gd name="csX69" fmla="*/ 729397 w 765535"/>
              <a:gd name="csY69" fmla="*/ 2030261 h 2076207"/>
              <a:gd name="csX70" fmla="*/ 714212 w 765535"/>
              <a:gd name="csY70" fmla="*/ 2049544 h 2076207"/>
              <a:gd name="csX71" fmla="*/ 96263 w 765535"/>
              <a:gd name="csY71" fmla="*/ 2076207 h 2076207"/>
              <a:gd name="csX72" fmla="*/ 489970 w 765535"/>
              <a:gd name="csY72" fmla="*/ 152208 h 2076207"/>
              <a:gd name="csX73" fmla="*/ 490754 w 765535"/>
              <a:gd name="csY73" fmla="*/ 152592 h 2076207"/>
              <a:gd name="csX74" fmla="*/ 489489 w 765535"/>
              <a:gd name="csY74" fmla="*/ 149547 h 2076207"/>
              <a:gd name="csX75" fmla="*/ 393621 w 765535"/>
              <a:gd name="csY75" fmla="*/ 99259 h 2076207"/>
              <a:gd name="csX76" fmla="*/ 390419 w 765535"/>
              <a:gd name="csY76" fmla="*/ 18568 h 2076207"/>
              <a:gd name="csX77" fmla="*/ 334131 w 765535"/>
              <a:gd name="csY77" fmla="*/ 24327 h 2076207"/>
              <a:gd name="csX78" fmla="*/ 344678 w 765535"/>
              <a:gd name="csY78" fmla="*/ 101259 h 2076207"/>
              <a:gd name="csX79" fmla="*/ 298854 w 765535"/>
              <a:gd name="csY79" fmla="*/ 114003 h 2076207"/>
              <a:gd name="csX80" fmla="*/ 237456 w 765535"/>
              <a:gd name="csY80" fmla="*/ 154340 h 2076207"/>
              <a:gd name="csX81" fmla="*/ 240382 w 765535"/>
              <a:gd name="csY81" fmla="*/ 154035 h 2076207"/>
              <a:gd name="csX82" fmla="*/ 262731 w 765535"/>
              <a:gd name="csY82" fmla="*/ 170426 h 2076207"/>
              <a:gd name="csX83" fmla="*/ 279169 w 765535"/>
              <a:gd name="csY83" fmla="*/ 193173 h 2076207"/>
              <a:gd name="csX84" fmla="*/ 327717 w 765535"/>
              <a:gd name="csY84" fmla="*/ 188556 h 2076207"/>
              <a:gd name="csX85" fmla="*/ 348052 w 765535"/>
              <a:gd name="csY85" fmla="*/ 156919 h 2076207"/>
              <a:gd name="csX86" fmla="*/ 380330 w 765535"/>
              <a:gd name="csY86" fmla="*/ 156483 h 2076207"/>
              <a:gd name="csX87" fmla="*/ 408490 w 765535"/>
              <a:gd name="csY87" fmla="*/ 195400 h 2076207"/>
              <a:gd name="csX88" fmla="*/ 445346 w 765535"/>
              <a:gd name="csY88" fmla="*/ 197582 h 2076207"/>
              <a:gd name="csX89" fmla="*/ 464798 w 765535"/>
              <a:gd name="csY89" fmla="*/ 174107 h 2076207"/>
              <a:gd name="csX90" fmla="*/ 489970 w 765535"/>
              <a:gd name="csY90" fmla="*/ 152208 h 2076207"/>
              <a:gd name="csX91" fmla="*/ 140694 w 765535"/>
              <a:gd name="csY91" fmla="*/ 201837 h 2076207"/>
              <a:gd name="csX92" fmla="*/ 139834 w 765535"/>
              <a:gd name="csY92" fmla="*/ 201482 h 2076207"/>
              <a:gd name="csX93" fmla="*/ 140812 w 765535"/>
              <a:gd name="csY93" fmla="*/ 204941 h 2076207"/>
              <a:gd name="csX94" fmla="*/ 144631 w 765535"/>
              <a:gd name="csY94" fmla="*/ 217811 h 2076207"/>
              <a:gd name="csX95" fmla="*/ 201241 w 765535"/>
              <a:gd name="csY95" fmla="*/ 373387 h 2076207"/>
              <a:gd name="csX96" fmla="*/ 235971 w 765535"/>
              <a:gd name="csY96" fmla="*/ 504451 h 2076207"/>
              <a:gd name="csX97" fmla="*/ 247475 w 765535"/>
              <a:gd name="csY97" fmla="*/ 513241 h 2076207"/>
              <a:gd name="csX98" fmla="*/ 289066 w 765535"/>
              <a:gd name="csY98" fmla="*/ 511170 h 2076207"/>
              <a:gd name="csX99" fmla="*/ 378229 w 765535"/>
              <a:gd name="csY99" fmla="*/ 511084 h 2076207"/>
              <a:gd name="csX100" fmla="*/ 470850 w 765535"/>
              <a:gd name="csY100" fmla="*/ 516341 h 2076207"/>
              <a:gd name="csX101" fmla="*/ 492933 w 765535"/>
              <a:gd name="csY101" fmla="*/ 497969 h 2076207"/>
              <a:gd name="csX102" fmla="*/ 557617 w 765535"/>
              <a:gd name="csY102" fmla="*/ 280398 h 2076207"/>
              <a:gd name="csX103" fmla="*/ 588788 w 765535"/>
              <a:gd name="csY103" fmla="*/ 200385 h 2076207"/>
              <a:gd name="csX104" fmla="*/ 530958 w 765535"/>
              <a:gd name="csY104" fmla="*/ 232968 h 2076207"/>
              <a:gd name="csX105" fmla="*/ 483823 w 765535"/>
              <a:gd name="csY105" fmla="*/ 190364 h 2076207"/>
              <a:gd name="csX106" fmla="*/ 466649 w 765535"/>
              <a:gd name="csY106" fmla="*/ 209061 h 2076207"/>
              <a:gd name="csX107" fmla="*/ 399941 w 765535"/>
              <a:gd name="csY107" fmla="*/ 216988 h 2076207"/>
              <a:gd name="csX108" fmla="*/ 363018 w 765535"/>
              <a:gd name="csY108" fmla="*/ 179615 h 2076207"/>
              <a:gd name="csX109" fmla="*/ 308839 w 765535"/>
              <a:gd name="csY109" fmla="*/ 227846 h 2076207"/>
              <a:gd name="csX110" fmla="*/ 245077 w 765535"/>
              <a:gd name="csY110" fmla="*/ 192402 h 2076207"/>
              <a:gd name="csX111" fmla="*/ 242829 w 765535"/>
              <a:gd name="csY111" fmla="*/ 198815 h 2076207"/>
              <a:gd name="csX112" fmla="*/ 168452 w 765535"/>
              <a:gd name="csY112" fmla="*/ 219348 h 2076207"/>
              <a:gd name="csX113" fmla="*/ 140694 w 765535"/>
              <a:gd name="csY113" fmla="*/ 201837 h 2076207"/>
              <a:gd name="csX114" fmla="*/ 259999 w 765535"/>
              <a:gd name="csY114" fmla="*/ 966699 h 2076207"/>
              <a:gd name="csX115" fmla="*/ 257072 w 765535"/>
              <a:gd name="csY115" fmla="*/ 1070424 h 2076207"/>
              <a:gd name="csX116" fmla="*/ 251372 w 765535"/>
              <a:gd name="csY116" fmla="*/ 1157618 h 2076207"/>
              <a:gd name="csX117" fmla="*/ 232677 w 765535"/>
              <a:gd name="csY117" fmla="*/ 1320279 h 2076207"/>
              <a:gd name="csX118" fmla="*/ 209182 w 765535"/>
              <a:gd name="csY118" fmla="*/ 1468667 h 2076207"/>
              <a:gd name="csX119" fmla="*/ 175302 w 765535"/>
              <a:gd name="csY119" fmla="*/ 1616623 h 2076207"/>
              <a:gd name="csX120" fmla="*/ 182769 w 765535"/>
              <a:gd name="csY120" fmla="*/ 1629786 h 2076207"/>
              <a:gd name="csX121" fmla="*/ 212156 w 765535"/>
              <a:gd name="csY121" fmla="*/ 1632656 h 2076207"/>
              <a:gd name="csX122" fmla="*/ 351295 w 765535"/>
              <a:gd name="csY122" fmla="*/ 1632801 h 2076207"/>
              <a:gd name="csX123" fmla="*/ 376150 w 765535"/>
              <a:gd name="csY123" fmla="*/ 1608307 h 2076207"/>
              <a:gd name="csX124" fmla="*/ 373450 w 765535"/>
              <a:gd name="csY124" fmla="*/ 1457291 h 2076207"/>
              <a:gd name="csX125" fmla="*/ 370936 w 765535"/>
              <a:gd name="csY125" fmla="*/ 1342736 h 2076207"/>
              <a:gd name="csX126" fmla="*/ 368328 w 765535"/>
              <a:gd name="csY126" fmla="*/ 1203878 h 2076207"/>
              <a:gd name="csX127" fmla="*/ 367836 w 765535"/>
              <a:gd name="csY127" fmla="*/ 813478 h 2076207"/>
              <a:gd name="csX128" fmla="*/ 365240 w 765535"/>
              <a:gd name="csY128" fmla="*/ 773243 h 2076207"/>
              <a:gd name="csX129" fmla="*/ 353084 w 765535"/>
              <a:gd name="csY129" fmla="*/ 762083 h 2076207"/>
              <a:gd name="csX130" fmla="*/ 280966 w 765535"/>
              <a:gd name="csY130" fmla="*/ 759855 h 2076207"/>
              <a:gd name="csX131" fmla="*/ 259965 w 765535"/>
              <a:gd name="csY131" fmla="*/ 779553 h 2076207"/>
              <a:gd name="csX132" fmla="*/ 262341 w 765535"/>
              <a:gd name="csY132" fmla="*/ 856275 h 2076207"/>
              <a:gd name="csX133" fmla="*/ 259999 w 765535"/>
              <a:gd name="csY133" fmla="*/ 966699 h 2076207"/>
              <a:gd name="csX134" fmla="*/ 55556 w 765535"/>
              <a:gd name="csY134" fmla="*/ 1835827 h 2076207"/>
              <a:gd name="csX135" fmla="*/ 49393 w 765535"/>
              <a:gd name="csY135" fmla="*/ 1878155 h 2076207"/>
              <a:gd name="csX136" fmla="*/ 73949 w 765535"/>
              <a:gd name="csY136" fmla="*/ 1905781 h 2076207"/>
              <a:gd name="csX137" fmla="*/ 110073 w 765535"/>
              <a:gd name="csY137" fmla="*/ 1909068 h 2076207"/>
              <a:gd name="csX138" fmla="*/ 224745 w 765535"/>
              <a:gd name="csY138" fmla="*/ 1921652 h 2076207"/>
              <a:gd name="csX139" fmla="*/ 347327 w 765535"/>
              <a:gd name="csY139" fmla="*/ 1924778 h 2076207"/>
              <a:gd name="csX140" fmla="*/ 363345 w 765535"/>
              <a:gd name="csY140" fmla="*/ 1923293 h 2076207"/>
              <a:gd name="csX141" fmla="*/ 373787 w 765535"/>
              <a:gd name="csY141" fmla="*/ 1911200 h 2076207"/>
              <a:gd name="csX142" fmla="*/ 376623 w 765535"/>
              <a:gd name="csY142" fmla="*/ 1696741 h 2076207"/>
              <a:gd name="csX143" fmla="*/ 360437 w 765535"/>
              <a:gd name="csY143" fmla="*/ 1681289 h 2076207"/>
              <a:gd name="csX144" fmla="*/ 263503 w 765535"/>
              <a:gd name="csY144" fmla="*/ 1678179 h 2076207"/>
              <a:gd name="csX145" fmla="*/ 160381 w 765535"/>
              <a:gd name="csY145" fmla="*/ 1670405 h 2076207"/>
              <a:gd name="csX146" fmla="*/ 143321 w 765535"/>
              <a:gd name="csY146" fmla="*/ 1685538 h 2076207"/>
              <a:gd name="csX147" fmla="*/ 124769 w 765535"/>
              <a:gd name="csY147" fmla="*/ 1738195 h 2076207"/>
              <a:gd name="csX148" fmla="*/ 90593 w 765535"/>
              <a:gd name="csY148" fmla="*/ 1779570 h 2076207"/>
              <a:gd name="csX149" fmla="*/ 55556 w 765535"/>
              <a:gd name="csY149" fmla="*/ 1835827 h 2076207"/>
              <a:gd name="csX150" fmla="*/ 378900 w 765535"/>
              <a:gd name="csY150" fmla="*/ 2007280 h 2076207"/>
              <a:gd name="csX151" fmla="*/ 378887 w 765535"/>
              <a:gd name="csY151" fmla="*/ 1995127 h 2076207"/>
              <a:gd name="csX152" fmla="*/ 359084 w 765535"/>
              <a:gd name="csY152" fmla="*/ 1975964 h 2076207"/>
              <a:gd name="csX153" fmla="*/ 247288 w 765535"/>
              <a:gd name="csY153" fmla="*/ 1973305 h 2076207"/>
              <a:gd name="csX154" fmla="*/ 201692 w 765535"/>
              <a:gd name="csY154" fmla="*/ 1970275 h 2076207"/>
              <a:gd name="csX155" fmla="*/ 57962 w 765535"/>
              <a:gd name="csY155" fmla="*/ 1952648 h 2076207"/>
              <a:gd name="csX156" fmla="*/ 39194 w 765535"/>
              <a:gd name="csY156" fmla="*/ 1963552 h 2076207"/>
              <a:gd name="csX157" fmla="*/ 30066 w 765535"/>
              <a:gd name="csY157" fmla="*/ 2006631 h 2076207"/>
              <a:gd name="csX158" fmla="*/ 40232 w 765535"/>
              <a:gd name="csY158" fmla="*/ 2019486 h 2076207"/>
              <a:gd name="csX159" fmla="*/ 238186 w 765535"/>
              <a:gd name="csY159" fmla="*/ 2046096 h 2076207"/>
              <a:gd name="csX160" fmla="*/ 342155 w 765535"/>
              <a:gd name="csY160" fmla="*/ 2046441 h 2076207"/>
              <a:gd name="csX161" fmla="*/ 378900 w 765535"/>
              <a:gd name="csY161" fmla="*/ 2007280 h 2076207"/>
              <a:gd name="csX162" fmla="*/ 310220 w 765535"/>
              <a:gd name="csY162" fmla="*/ 554288 h 2076207"/>
              <a:gd name="csX163" fmla="*/ 259136 w 765535"/>
              <a:gd name="csY163" fmla="*/ 556881 h 2076207"/>
              <a:gd name="csX164" fmla="*/ 249085 w 765535"/>
              <a:gd name="csY164" fmla="*/ 567981 h 2076207"/>
              <a:gd name="csX165" fmla="*/ 249141 w 765535"/>
              <a:gd name="csY165" fmla="*/ 605644 h 2076207"/>
              <a:gd name="csX166" fmla="*/ 262628 w 765535"/>
              <a:gd name="csY166" fmla="*/ 605627 h 2076207"/>
              <a:gd name="csX167" fmla="*/ 369608 w 765535"/>
              <a:gd name="csY167" fmla="*/ 603027 h 2076207"/>
              <a:gd name="csX168" fmla="*/ 463931 w 765535"/>
              <a:gd name="csY168" fmla="*/ 605146 h 2076207"/>
              <a:gd name="csX169" fmla="*/ 478113 w 765535"/>
              <a:gd name="csY169" fmla="*/ 595843 h 2076207"/>
              <a:gd name="csX170" fmla="*/ 478796 w 765535"/>
              <a:gd name="csY170" fmla="*/ 556832 h 2076207"/>
              <a:gd name="csX171" fmla="*/ 310220 w 765535"/>
              <a:gd name="csY171" fmla="*/ 554288 h 2076207"/>
              <a:gd name="csX172" fmla="*/ 348836 w 765535"/>
              <a:gd name="csY172" fmla="*/ 684115 h 2076207"/>
              <a:gd name="csX173" fmla="*/ 281333 w 765535"/>
              <a:gd name="csY173" fmla="*/ 683313 h 2076207"/>
              <a:gd name="csX174" fmla="*/ 212728 w 765535"/>
              <a:gd name="csY174" fmla="*/ 681931 h 2076207"/>
              <a:gd name="csX175" fmla="*/ 187283 w 765535"/>
              <a:gd name="csY175" fmla="*/ 689555 h 2076207"/>
              <a:gd name="csX176" fmla="*/ 186163 w 765535"/>
              <a:gd name="csY176" fmla="*/ 718266 h 2076207"/>
              <a:gd name="csX177" fmla="*/ 209894 w 765535"/>
              <a:gd name="csY177" fmla="*/ 726798 h 2076207"/>
              <a:gd name="csX178" fmla="*/ 334814 w 765535"/>
              <a:gd name="csY178" fmla="*/ 732494 h 2076207"/>
              <a:gd name="csX179" fmla="*/ 364856 w 765535"/>
              <a:gd name="csY179" fmla="*/ 707963 h 2076207"/>
              <a:gd name="csX180" fmla="*/ 348836 w 765535"/>
              <a:gd name="csY180" fmla="*/ 684115 h 2076207"/>
              <a:gd name="csX181" fmla="*/ 298865 w 765535"/>
              <a:gd name="csY181" fmla="*/ 621954 h 2076207"/>
              <a:gd name="csX182" fmla="*/ 251619 w 765535"/>
              <a:gd name="csY182" fmla="*/ 622133 h 2076207"/>
              <a:gd name="csX183" fmla="*/ 214459 w 765535"/>
              <a:gd name="csY183" fmla="*/ 636230 h 2076207"/>
              <a:gd name="csX184" fmla="*/ 221436 w 765535"/>
              <a:gd name="csY184" fmla="*/ 654205 h 2076207"/>
              <a:gd name="csX185" fmla="*/ 272412 w 765535"/>
              <a:gd name="csY185" fmla="*/ 657250 h 2076207"/>
              <a:gd name="csX186" fmla="*/ 349094 w 765535"/>
              <a:gd name="csY186" fmla="*/ 659282 h 2076207"/>
              <a:gd name="csX187" fmla="*/ 362996 w 765535"/>
              <a:gd name="csY187" fmla="*/ 644234 h 2076207"/>
              <a:gd name="csX188" fmla="*/ 348472 w 765535"/>
              <a:gd name="csY188" fmla="*/ 624649 h 2076207"/>
              <a:gd name="csX189" fmla="*/ 298865 w 765535"/>
              <a:gd name="csY189" fmla="*/ 621954 h 2076207"/>
              <a:gd name="csX190" fmla="*/ 227796 w 765535"/>
              <a:gd name="csY190" fmla="*/ 528000 h 2076207"/>
              <a:gd name="csX191" fmla="*/ 241009 w 765535"/>
              <a:gd name="csY191" fmla="*/ 545897 h 2076207"/>
              <a:gd name="csX192" fmla="*/ 282607 w 765535"/>
              <a:gd name="csY192" fmla="*/ 543480 h 2076207"/>
              <a:gd name="csX193" fmla="*/ 354213 w 765535"/>
              <a:gd name="csY193" fmla="*/ 543384 h 2076207"/>
              <a:gd name="csX194" fmla="*/ 365334 w 765535"/>
              <a:gd name="csY194" fmla="*/ 533397 h 2076207"/>
              <a:gd name="csX195" fmla="*/ 354531 w 765535"/>
              <a:gd name="csY195" fmla="*/ 521620 h 2076207"/>
              <a:gd name="csX196" fmla="*/ 259169 w 765535"/>
              <a:gd name="csY196" fmla="*/ 521978 h 2076207"/>
              <a:gd name="csX197" fmla="*/ 227796 w 765535"/>
              <a:gd name="csY197" fmla="*/ 528000 h 2076207"/>
              <a:gd name="csX198" fmla="*/ 508068 w 765535"/>
              <a:gd name="csY198" fmla="*/ 190710 h 2076207"/>
              <a:gd name="csX199" fmla="*/ 521293 w 765535"/>
              <a:gd name="csY199" fmla="*/ 205907 h 2076207"/>
              <a:gd name="csX200" fmla="*/ 525175 w 765535"/>
              <a:gd name="csY200" fmla="*/ 202985 h 2076207"/>
              <a:gd name="csX201" fmla="*/ 500276 w 765535"/>
              <a:gd name="csY201" fmla="*/ 160640 h 2076207"/>
              <a:gd name="csX202" fmla="*/ 497122 w 765535"/>
              <a:gd name="csY202" fmla="*/ 162007 h 2076207"/>
              <a:gd name="csX203" fmla="*/ 508068 w 765535"/>
              <a:gd name="csY203" fmla="*/ 190710 h 2076207"/>
              <a:gd name="csX204" fmla="*/ 215522 w 765535"/>
              <a:gd name="csY204" fmla="*/ 197296 h 2076207"/>
              <a:gd name="csX205" fmla="*/ 234029 w 765535"/>
              <a:gd name="csY205" fmla="*/ 162725 h 2076207"/>
              <a:gd name="csX206" fmla="*/ 229000 w 765535"/>
              <a:gd name="csY206" fmla="*/ 159902 h 2076207"/>
              <a:gd name="csX207" fmla="*/ 204824 w 765535"/>
              <a:gd name="csY207" fmla="*/ 199677 h 2076207"/>
              <a:gd name="csX208" fmla="*/ 207990 w 765535"/>
              <a:gd name="csY208" fmla="*/ 202198 h 2076207"/>
              <a:gd name="csX209" fmla="*/ 215522 w 765535"/>
              <a:gd name="csY209" fmla="*/ 197296 h 2076207"/>
              <a:gd name="csX210" fmla="*/ 484400 w 765535"/>
              <a:gd name="csY210" fmla="*/ 896678 h 2076207"/>
              <a:gd name="csX211" fmla="*/ 486181 w 765535"/>
              <a:gd name="csY211" fmla="*/ 896585 h 2076207"/>
              <a:gd name="csX212" fmla="*/ 486181 w 765535"/>
              <a:gd name="csY212" fmla="*/ 795289 h 2076207"/>
              <a:gd name="csX213" fmla="*/ 720241 w 765535"/>
              <a:gd name="csY213" fmla="*/ 2030666 h 2076207"/>
              <a:gd name="csX214" fmla="*/ 721175 w 765535"/>
              <a:gd name="csY214" fmla="*/ 2029733 h 2076207"/>
              <a:gd name="csX215" fmla="*/ 720241 w 765535"/>
              <a:gd name="csY215" fmla="*/ 2030666 h 2076207"/>
              <a:gd name="csX216" fmla="*/ 715702 w 765535"/>
              <a:gd name="csY216" fmla="*/ 2037051 h 2076207"/>
              <a:gd name="csX217" fmla="*/ 715702 w 765535"/>
              <a:gd name="csY217" fmla="*/ 2037051 h 2076207"/>
              <a:gd name="csX0" fmla="*/ 96263 w 733006"/>
              <a:gd name="csY0" fmla="*/ 2076207 h 2076207"/>
              <a:gd name="csX1" fmla="*/ 63862 w 733006"/>
              <a:gd name="csY1" fmla="*/ 2065388 h 2076207"/>
              <a:gd name="csX2" fmla="*/ 16555 w 733006"/>
              <a:gd name="csY2" fmla="*/ 2050152 h 2076207"/>
              <a:gd name="csX3" fmla="*/ 15 w 733006"/>
              <a:gd name="csY3" fmla="*/ 2023802 h 2076207"/>
              <a:gd name="csX4" fmla="*/ 18368 w 733006"/>
              <a:gd name="csY4" fmla="*/ 1940709 h 2076207"/>
              <a:gd name="csX5" fmla="*/ 22139 w 733006"/>
              <a:gd name="csY5" fmla="*/ 1907268 h 2076207"/>
              <a:gd name="csX6" fmla="*/ 57941 w 733006"/>
              <a:gd name="csY6" fmla="*/ 1774163 h 2076207"/>
              <a:gd name="csX7" fmla="*/ 102478 w 733006"/>
              <a:gd name="csY7" fmla="*/ 1720275 h 2076207"/>
              <a:gd name="csX8" fmla="*/ 108579 w 733006"/>
              <a:gd name="csY8" fmla="*/ 1650967 h 2076207"/>
              <a:gd name="csX9" fmla="*/ 115628 w 733006"/>
              <a:gd name="csY9" fmla="*/ 1625405 h 2076207"/>
              <a:gd name="csX10" fmla="*/ 156323 w 733006"/>
              <a:gd name="csY10" fmla="*/ 1560181 h 2076207"/>
              <a:gd name="csX11" fmla="*/ 199424 w 733006"/>
              <a:gd name="csY11" fmla="*/ 1364729 h 2076207"/>
              <a:gd name="csX12" fmla="*/ 216779 w 733006"/>
              <a:gd name="csY12" fmla="*/ 1219490 h 2076207"/>
              <a:gd name="csX13" fmla="*/ 229755 w 733006"/>
              <a:gd name="csY13" fmla="*/ 1099357 h 2076207"/>
              <a:gd name="csX14" fmla="*/ 232707 w 733006"/>
              <a:gd name="csY14" fmla="*/ 1056423 h 2076207"/>
              <a:gd name="csX15" fmla="*/ 235622 w 733006"/>
              <a:gd name="csY15" fmla="*/ 952675 h 2076207"/>
              <a:gd name="csX16" fmla="*/ 235445 w 733006"/>
              <a:gd name="csY16" fmla="*/ 780278 h 2076207"/>
              <a:gd name="csX17" fmla="*/ 214544 w 733006"/>
              <a:gd name="csY17" fmla="*/ 756435 h 2076207"/>
              <a:gd name="csX18" fmla="*/ 172569 w 733006"/>
              <a:gd name="csY18" fmla="*/ 742582 h 2076207"/>
              <a:gd name="csX19" fmla="*/ 168784 w 733006"/>
              <a:gd name="csY19" fmla="*/ 669116 h 2076207"/>
              <a:gd name="csX20" fmla="*/ 191657 w 733006"/>
              <a:gd name="csY20" fmla="*/ 630765 h 2076207"/>
              <a:gd name="csX21" fmla="*/ 208150 w 733006"/>
              <a:gd name="csY21" fmla="*/ 609084 h 2076207"/>
              <a:gd name="csX22" fmla="*/ 216756 w 733006"/>
              <a:gd name="csY22" fmla="*/ 558673 h 2076207"/>
              <a:gd name="csX23" fmla="*/ 209092 w 733006"/>
              <a:gd name="csY23" fmla="*/ 521540 h 2076207"/>
              <a:gd name="csX24" fmla="*/ 204683 w 733006"/>
              <a:gd name="csY24" fmla="*/ 474024 h 2076207"/>
              <a:gd name="csX25" fmla="*/ 115483 w 733006"/>
              <a:gd name="csY25" fmla="*/ 213499 h 2076207"/>
              <a:gd name="csX26" fmla="*/ 102909 w 733006"/>
              <a:gd name="csY26" fmla="*/ 182297 h 2076207"/>
              <a:gd name="csX27" fmla="*/ 104315 w 733006"/>
              <a:gd name="csY27" fmla="*/ 163968 h 2076207"/>
              <a:gd name="csX28" fmla="*/ 122444 w 733006"/>
              <a:gd name="csY28" fmla="*/ 160805 h 2076207"/>
              <a:gd name="csX29" fmla="*/ 170283 w 733006"/>
              <a:gd name="csY29" fmla="*/ 187783 h 2076207"/>
              <a:gd name="csX30" fmla="*/ 180938 w 733006"/>
              <a:gd name="csY30" fmla="*/ 195322 h 2076207"/>
              <a:gd name="csX31" fmla="*/ 221419 w 733006"/>
              <a:gd name="csY31" fmla="*/ 138058 h 2076207"/>
              <a:gd name="csX32" fmla="*/ 294099 w 733006"/>
              <a:gd name="csY32" fmla="*/ 91372 h 2076207"/>
              <a:gd name="csX33" fmla="*/ 302307 w 733006"/>
              <a:gd name="csY33" fmla="*/ 76560 h 2076207"/>
              <a:gd name="csX34" fmla="*/ 320284 w 733006"/>
              <a:gd name="csY34" fmla="*/ 8414 h 2076207"/>
              <a:gd name="csX35" fmla="*/ 324784 w 733006"/>
              <a:gd name="csY35" fmla="*/ 946 h 2076207"/>
              <a:gd name="csX36" fmla="*/ 399212 w 733006"/>
              <a:gd name="csY36" fmla="*/ 0 h 2076207"/>
              <a:gd name="csX37" fmla="*/ 425980 w 733006"/>
              <a:gd name="csY37" fmla="*/ 78301 h 2076207"/>
              <a:gd name="csX38" fmla="*/ 431861 w 733006"/>
              <a:gd name="csY38" fmla="*/ 90312 h 2076207"/>
              <a:gd name="csX39" fmla="*/ 540349 w 733006"/>
              <a:gd name="csY39" fmla="*/ 187946 h 2076207"/>
              <a:gd name="csX40" fmla="*/ 545555 w 733006"/>
              <a:gd name="csY40" fmla="*/ 197828 h 2076207"/>
              <a:gd name="csX41" fmla="*/ 587318 w 733006"/>
              <a:gd name="csY41" fmla="*/ 171260 h 2076207"/>
              <a:gd name="csX42" fmla="*/ 601503 w 733006"/>
              <a:gd name="csY42" fmla="*/ 163707 h 2076207"/>
              <a:gd name="csX43" fmla="*/ 625254 w 733006"/>
              <a:gd name="csY43" fmla="*/ 163123 h 2076207"/>
              <a:gd name="csX44" fmla="*/ 625468 w 733006"/>
              <a:gd name="csY44" fmla="*/ 187579 h 2076207"/>
              <a:gd name="csX45" fmla="*/ 597543 w 733006"/>
              <a:gd name="csY45" fmla="*/ 251872 h 2076207"/>
              <a:gd name="csX46" fmla="*/ 531831 w 733006"/>
              <a:gd name="csY46" fmla="*/ 442689 h 2076207"/>
              <a:gd name="csX47" fmla="*/ 519888 w 733006"/>
              <a:gd name="csY47" fmla="*/ 501474 h 2076207"/>
              <a:gd name="csX48" fmla="*/ 522506 w 733006"/>
              <a:gd name="csY48" fmla="*/ 525086 h 2076207"/>
              <a:gd name="csX49" fmla="*/ 516235 w 733006"/>
              <a:gd name="csY49" fmla="*/ 555946 h 2076207"/>
              <a:gd name="csX50" fmla="*/ 521332 w 733006"/>
              <a:gd name="csY50" fmla="*/ 610676 h 2076207"/>
              <a:gd name="csX51" fmla="*/ 541382 w 733006"/>
              <a:gd name="csY51" fmla="*/ 642597 h 2076207"/>
              <a:gd name="csX52" fmla="*/ 557031 w 733006"/>
              <a:gd name="csY52" fmla="*/ 667949 h 2076207"/>
              <a:gd name="csX53" fmla="*/ 553994 w 733006"/>
              <a:gd name="csY53" fmla="*/ 744146 h 2076207"/>
              <a:gd name="csX54" fmla="*/ 508215 w 733006"/>
              <a:gd name="csY54" fmla="*/ 758841 h 2076207"/>
              <a:gd name="csX55" fmla="*/ 497442 w 733006"/>
              <a:gd name="csY55" fmla="*/ 771256 h 2076207"/>
              <a:gd name="csX56" fmla="*/ 493005 w 733006"/>
              <a:gd name="csY56" fmla="*/ 922055 h 2076207"/>
              <a:gd name="csX57" fmla="*/ 502900 w 733006"/>
              <a:gd name="csY57" fmla="*/ 1114191 h 2076207"/>
              <a:gd name="csX58" fmla="*/ 508800 w 733006"/>
              <a:gd name="csY58" fmla="*/ 1205474 h 2076207"/>
              <a:gd name="csX59" fmla="*/ 522952 w 733006"/>
              <a:gd name="csY59" fmla="*/ 1320065 h 2076207"/>
              <a:gd name="csX60" fmla="*/ 554682 w 733006"/>
              <a:gd name="csY60" fmla="*/ 1501203 h 2076207"/>
              <a:gd name="csX61" fmla="*/ 576958 w 733006"/>
              <a:gd name="csY61" fmla="*/ 1593963 h 2076207"/>
              <a:gd name="csX62" fmla="*/ 595349 w 733006"/>
              <a:gd name="csY62" fmla="*/ 1613498 h 2076207"/>
              <a:gd name="csX63" fmla="*/ 613936 w 733006"/>
              <a:gd name="csY63" fmla="*/ 1624058 h 2076207"/>
              <a:gd name="csX64" fmla="*/ 620938 w 733006"/>
              <a:gd name="csY64" fmla="*/ 1652071 h 2076207"/>
              <a:gd name="csX65" fmla="*/ 630805 w 733006"/>
              <a:gd name="csY65" fmla="*/ 1721702 h 2076207"/>
              <a:gd name="csX66" fmla="*/ 685830 w 733006"/>
              <a:gd name="csY66" fmla="*/ 1792915 h 2076207"/>
              <a:gd name="csX67" fmla="*/ 708904 w 733006"/>
              <a:gd name="csY67" fmla="*/ 1890290 h 2076207"/>
              <a:gd name="csX68" fmla="*/ 716580 w 733006"/>
              <a:gd name="csY68" fmla="*/ 1951136 h 2076207"/>
              <a:gd name="csX69" fmla="*/ 729397 w 733006"/>
              <a:gd name="csY69" fmla="*/ 2030261 h 2076207"/>
              <a:gd name="csX70" fmla="*/ 714212 w 733006"/>
              <a:gd name="csY70" fmla="*/ 2049544 h 2076207"/>
              <a:gd name="csX71" fmla="*/ 96263 w 733006"/>
              <a:gd name="csY71" fmla="*/ 2076207 h 2076207"/>
              <a:gd name="csX72" fmla="*/ 489970 w 733006"/>
              <a:gd name="csY72" fmla="*/ 152208 h 2076207"/>
              <a:gd name="csX73" fmla="*/ 490754 w 733006"/>
              <a:gd name="csY73" fmla="*/ 152592 h 2076207"/>
              <a:gd name="csX74" fmla="*/ 489489 w 733006"/>
              <a:gd name="csY74" fmla="*/ 149547 h 2076207"/>
              <a:gd name="csX75" fmla="*/ 393621 w 733006"/>
              <a:gd name="csY75" fmla="*/ 99259 h 2076207"/>
              <a:gd name="csX76" fmla="*/ 390419 w 733006"/>
              <a:gd name="csY76" fmla="*/ 18568 h 2076207"/>
              <a:gd name="csX77" fmla="*/ 334131 w 733006"/>
              <a:gd name="csY77" fmla="*/ 24327 h 2076207"/>
              <a:gd name="csX78" fmla="*/ 344678 w 733006"/>
              <a:gd name="csY78" fmla="*/ 101259 h 2076207"/>
              <a:gd name="csX79" fmla="*/ 298854 w 733006"/>
              <a:gd name="csY79" fmla="*/ 114003 h 2076207"/>
              <a:gd name="csX80" fmla="*/ 237456 w 733006"/>
              <a:gd name="csY80" fmla="*/ 154340 h 2076207"/>
              <a:gd name="csX81" fmla="*/ 240382 w 733006"/>
              <a:gd name="csY81" fmla="*/ 154035 h 2076207"/>
              <a:gd name="csX82" fmla="*/ 262731 w 733006"/>
              <a:gd name="csY82" fmla="*/ 170426 h 2076207"/>
              <a:gd name="csX83" fmla="*/ 279169 w 733006"/>
              <a:gd name="csY83" fmla="*/ 193173 h 2076207"/>
              <a:gd name="csX84" fmla="*/ 327717 w 733006"/>
              <a:gd name="csY84" fmla="*/ 188556 h 2076207"/>
              <a:gd name="csX85" fmla="*/ 348052 w 733006"/>
              <a:gd name="csY85" fmla="*/ 156919 h 2076207"/>
              <a:gd name="csX86" fmla="*/ 380330 w 733006"/>
              <a:gd name="csY86" fmla="*/ 156483 h 2076207"/>
              <a:gd name="csX87" fmla="*/ 408490 w 733006"/>
              <a:gd name="csY87" fmla="*/ 195400 h 2076207"/>
              <a:gd name="csX88" fmla="*/ 445346 w 733006"/>
              <a:gd name="csY88" fmla="*/ 197582 h 2076207"/>
              <a:gd name="csX89" fmla="*/ 464798 w 733006"/>
              <a:gd name="csY89" fmla="*/ 174107 h 2076207"/>
              <a:gd name="csX90" fmla="*/ 489970 w 733006"/>
              <a:gd name="csY90" fmla="*/ 152208 h 2076207"/>
              <a:gd name="csX91" fmla="*/ 140694 w 733006"/>
              <a:gd name="csY91" fmla="*/ 201837 h 2076207"/>
              <a:gd name="csX92" fmla="*/ 139834 w 733006"/>
              <a:gd name="csY92" fmla="*/ 201482 h 2076207"/>
              <a:gd name="csX93" fmla="*/ 140812 w 733006"/>
              <a:gd name="csY93" fmla="*/ 204941 h 2076207"/>
              <a:gd name="csX94" fmla="*/ 144631 w 733006"/>
              <a:gd name="csY94" fmla="*/ 217811 h 2076207"/>
              <a:gd name="csX95" fmla="*/ 201241 w 733006"/>
              <a:gd name="csY95" fmla="*/ 373387 h 2076207"/>
              <a:gd name="csX96" fmla="*/ 235971 w 733006"/>
              <a:gd name="csY96" fmla="*/ 504451 h 2076207"/>
              <a:gd name="csX97" fmla="*/ 247475 w 733006"/>
              <a:gd name="csY97" fmla="*/ 513241 h 2076207"/>
              <a:gd name="csX98" fmla="*/ 289066 w 733006"/>
              <a:gd name="csY98" fmla="*/ 511170 h 2076207"/>
              <a:gd name="csX99" fmla="*/ 378229 w 733006"/>
              <a:gd name="csY99" fmla="*/ 511084 h 2076207"/>
              <a:gd name="csX100" fmla="*/ 470850 w 733006"/>
              <a:gd name="csY100" fmla="*/ 516341 h 2076207"/>
              <a:gd name="csX101" fmla="*/ 492933 w 733006"/>
              <a:gd name="csY101" fmla="*/ 497969 h 2076207"/>
              <a:gd name="csX102" fmla="*/ 557617 w 733006"/>
              <a:gd name="csY102" fmla="*/ 280398 h 2076207"/>
              <a:gd name="csX103" fmla="*/ 588788 w 733006"/>
              <a:gd name="csY103" fmla="*/ 200385 h 2076207"/>
              <a:gd name="csX104" fmla="*/ 530958 w 733006"/>
              <a:gd name="csY104" fmla="*/ 232968 h 2076207"/>
              <a:gd name="csX105" fmla="*/ 483823 w 733006"/>
              <a:gd name="csY105" fmla="*/ 190364 h 2076207"/>
              <a:gd name="csX106" fmla="*/ 466649 w 733006"/>
              <a:gd name="csY106" fmla="*/ 209061 h 2076207"/>
              <a:gd name="csX107" fmla="*/ 399941 w 733006"/>
              <a:gd name="csY107" fmla="*/ 216988 h 2076207"/>
              <a:gd name="csX108" fmla="*/ 363018 w 733006"/>
              <a:gd name="csY108" fmla="*/ 179615 h 2076207"/>
              <a:gd name="csX109" fmla="*/ 308839 w 733006"/>
              <a:gd name="csY109" fmla="*/ 227846 h 2076207"/>
              <a:gd name="csX110" fmla="*/ 245077 w 733006"/>
              <a:gd name="csY110" fmla="*/ 192402 h 2076207"/>
              <a:gd name="csX111" fmla="*/ 242829 w 733006"/>
              <a:gd name="csY111" fmla="*/ 198815 h 2076207"/>
              <a:gd name="csX112" fmla="*/ 168452 w 733006"/>
              <a:gd name="csY112" fmla="*/ 219348 h 2076207"/>
              <a:gd name="csX113" fmla="*/ 140694 w 733006"/>
              <a:gd name="csY113" fmla="*/ 201837 h 2076207"/>
              <a:gd name="csX114" fmla="*/ 259999 w 733006"/>
              <a:gd name="csY114" fmla="*/ 966699 h 2076207"/>
              <a:gd name="csX115" fmla="*/ 257072 w 733006"/>
              <a:gd name="csY115" fmla="*/ 1070424 h 2076207"/>
              <a:gd name="csX116" fmla="*/ 251372 w 733006"/>
              <a:gd name="csY116" fmla="*/ 1157618 h 2076207"/>
              <a:gd name="csX117" fmla="*/ 232677 w 733006"/>
              <a:gd name="csY117" fmla="*/ 1320279 h 2076207"/>
              <a:gd name="csX118" fmla="*/ 209182 w 733006"/>
              <a:gd name="csY118" fmla="*/ 1468667 h 2076207"/>
              <a:gd name="csX119" fmla="*/ 175302 w 733006"/>
              <a:gd name="csY119" fmla="*/ 1616623 h 2076207"/>
              <a:gd name="csX120" fmla="*/ 182769 w 733006"/>
              <a:gd name="csY120" fmla="*/ 1629786 h 2076207"/>
              <a:gd name="csX121" fmla="*/ 212156 w 733006"/>
              <a:gd name="csY121" fmla="*/ 1632656 h 2076207"/>
              <a:gd name="csX122" fmla="*/ 351295 w 733006"/>
              <a:gd name="csY122" fmla="*/ 1632801 h 2076207"/>
              <a:gd name="csX123" fmla="*/ 376150 w 733006"/>
              <a:gd name="csY123" fmla="*/ 1608307 h 2076207"/>
              <a:gd name="csX124" fmla="*/ 373450 w 733006"/>
              <a:gd name="csY124" fmla="*/ 1457291 h 2076207"/>
              <a:gd name="csX125" fmla="*/ 370936 w 733006"/>
              <a:gd name="csY125" fmla="*/ 1342736 h 2076207"/>
              <a:gd name="csX126" fmla="*/ 368328 w 733006"/>
              <a:gd name="csY126" fmla="*/ 1203878 h 2076207"/>
              <a:gd name="csX127" fmla="*/ 367836 w 733006"/>
              <a:gd name="csY127" fmla="*/ 813478 h 2076207"/>
              <a:gd name="csX128" fmla="*/ 365240 w 733006"/>
              <a:gd name="csY128" fmla="*/ 773243 h 2076207"/>
              <a:gd name="csX129" fmla="*/ 353084 w 733006"/>
              <a:gd name="csY129" fmla="*/ 762083 h 2076207"/>
              <a:gd name="csX130" fmla="*/ 280966 w 733006"/>
              <a:gd name="csY130" fmla="*/ 759855 h 2076207"/>
              <a:gd name="csX131" fmla="*/ 259965 w 733006"/>
              <a:gd name="csY131" fmla="*/ 779553 h 2076207"/>
              <a:gd name="csX132" fmla="*/ 262341 w 733006"/>
              <a:gd name="csY132" fmla="*/ 856275 h 2076207"/>
              <a:gd name="csX133" fmla="*/ 259999 w 733006"/>
              <a:gd name="csY133" fmla="*/ 966699 h 2076207"/>
              <a:gd name="csX134" fmla="*/ 55556 w 733006"/>
              <a:gd name="csY134" fmla="*/ 1835827 h 2076207"/>
              <a:gd name="csX135" fmla="*/ 49393 w 733006"/>
              <a:gd name="csY135" fmla="*/ 1878155 h 2076207"/>
              <a:gd name="csX136" fmla="*/ 73949 w 733006"/>
              <a:gd name="csY136" fmla="*/ 1905781 h 2076207"/>
              <a:gd name="csX137" fmla="*/ 110073 w 733006"/>
              <a:gd name="csY137" fmla="*/ 1909068 h 2076207"/>
              <a:gd name="csX138" fmla="*/ 224745 w 733006"/>
              <a:gd name="csY138" fmla="*/ 1921652 h 2076207"/>
              <a:gd name="csX139" fmla="*/ 347327 w 733006"/>
              <a:gd name="csY139" fmla="*/ 1924778 h 2076207"/>
              <a:gd name="csX140" fmla="*/ 363345 w 733006"/>
              <a:gd name="csY140" fmla="*/ 1923293 h 2076207"/>
              <a:gd name="csX141" fmla="*/ 373787 w 733006"/>
              <a:gd name="csY141" fmla="*/ 1911200 h 2076207"/>
              <a:gd name="csX142" fmla="*/ 376623 w 733006"/>
              <a:gd name="csY142" fmla="*/ 1696741 h 2076207"/>
              <a:gd name="csX143" fmla="*/ 360437 w 733006"/>
              <a:gd name="csY143" fmla="*/ 1681289 h 2076207"/>
              <a:gd name="csX144" fmla="*/ 263503 w 733006"/>
              <a:gd name="csY144" fmla="*/ 1678179 h 2076207"/>
              <a:gd name="csX145" fmla="*/ 160381 w 733006"/>
              <a:gd name="csY145" fmla="*/ 1670405 h 2076207"/>
              <a:gd name="csX146" fmla="*/ 143321 w 733006"/>
              <a:gd name="csY146" fmla="*/ 1685538 h 2076207"/>
              <a:gd name="csX147" fmla="*/ 124769 w 733006"/>
              <a:gd name="csY147" fmla="*/ 1738195 h 2076207"/>
              <a:gd name="csX148" fmla="*/ 90593 w 733006"/>
              <a:gd name="csY148" fmla="*/ 1779570 h 2076207"/>
              <a:gd name="csX149" fmla="*/ 55556 w 733006"/>
              <a:gd name="csY149" fmla="*/ 1835827 h 2076207"/>
              <a:gd name="csX150" fmla="*/ 378900 w 733006"/>
              <a:gd name="csY150" fmla="*/ 2007280 h 2076207"/>
              <a:gd name="csX151" fmla="*/ 378887 w 733006"/>
              <a:gd name="csY151" fmla="*/ 1995127 h 2076207"/>
              <a:gd name="csX152" fmla="*/ 359084 w 733006"/>
              <a:gd name="csY152" fmla="*/ 1975964 h 2076207"/>
              <a:gd name="csX153" fmla="*/ 247288 w 733006"/>
              <a:gd name="csY153" fmla="*/ 1973305 h 2076207"/>
              <a:gd name="csX154" fmla="*/ 201692 w 733006"/>
              <a:gd name="csY154" fmla="*/ 1970275 h 2076207"/>
              <a:gd name="csX155" fmla="*/ 57962 w 733006"/>
              <a:gd name="csY155" fmla="*/ 1952648 h 2076207"/>
              <a:gd name="csX156" fmla="*/ 39194 w 733006"/>
              <a:gd name="csY156" fmla="*/ 1963552 h 2076207"/>
              <a:gd name="csX157" fmla="*/ 30066 w 733006"/>
              <a:gd name="csY157" fmla="*/ 2006631 h 2076207"/>
              <a:gd name="csX158" fmla="*/ 40232 w 733006"/>
              <a:gd name="csY158" fmla="*/ 2019486 h 2076207"/>
              <a:gd name="csX159" fmla="*/ 238186 w 733006"/>
              <a:gd name="csY159" fmla="*/ 2046096 h 2076207"/>
              <a:gd name="csX160" fmla="*/ 342155 w 733006"/>
              <a:gd name="csY160" fmla="*/ 2046441 h 2076207"/>
              <a:gd name="csX161" fmla="*/ 378900 w 733006"/>
              <a:gd name="csY161" fmla="*/ 2007280 h 2076207"/>
              <a:gd name="csX162" fmla="*/ 310220 w 733006"/>
              <a:gd name="csY162" fmla="*/ 554288 h 2076207"/>
              <a:gd name="csX163" fmla="*/ 259136 w 733006"/>
              <a:gd name="csY163" fmla="*/ 556881 h 2076207"/>
              <a:gd name="csX164" fmla="*/ 249085 w 733006"/>
              <a:gd name="csY164" fmla="*/ 567981 h 2076207"/>
              <a:gd name="csX165" fmla="*/ 249141 w 733006"/>
              <a:gd name="csY165" fmla="*/ 605644 h 2076207"/>
              <a:gd name="csX166" fmla="*/ 262628 w 733006"/>
              <a:gd name="csY166" fmla="*/ 605627 h 2076207"/>
              <a:gd name="csX167" fmla="*/ 369608 w 733006"/>
              <a:gd name="csY167" fmla="*/ 603027 h 2076207"/>
              <a:gd name="csX168" fmla="*/ 463931 w 733006"/>
              <a:gd name="csY168" fmla="*/ 605146 h 2076207"/>
              <a:gd name="csX169" fmla="*/ 478113 w 733006"/>
              <a:gd name="csY169" fmla="*/ 595843 h 2076207"/>
              <a:gd name="csX170" fmla="*/ 478796 w 733006"/>
              <a:gd name="csY170" fmla="*/ 556832 h 2076207"/>
              <a:gd name="csX171" fmla="*/ 310220 w 733006"/>
              <a:gd name="csY171" fmla="*/ 554288 h 2076207"/>
              <a:gd name="csX172" fmla="*/ 348836 w 733006"/>
              <a:gd name="csY172" fmla="*/ 684115 h 2076207"/>
              <a:gd name="csX173" fmla="*/ 281333 w 733006"/>
              <a:gd name="csY173" fmla="*/ 683313 h 2076207"/>
              <a:gd name="csX174" fmla="*/ 212728 w 733006"/>
              <a:gd name="csY174" fmla="*/ 681931 h 2076207"/>
              <a:gd name="csX175" fmla="*/ 187283 w 733006"/>
              <a:gd name="csY175" fmla="*/ 689555 h 2076207"/>
              <a:gd name="csX176" fmla="*/ 186163 w 733006"/>
              <a:gd name="csY176" fmla="*/ 718266 h 2076207"/>
              <a:gd name="csX177" fmla="*/ 209894 w 733006"/>
              <a:gd name="csY177" fmla="*/ 726798 h 2076207"/>
              <a:gd name="csX178" fmla="*/ 334814 w 733006"/>
              <a:gd name="csY178" fmla="*/ 732494 h 2076207"/>
              <a:gd name="csX179" fmla="*/ 364856 w 733006"/>
              <a:gd name="csY179" fmla="*/ 707963 h 2076207"/>
              <a:gd name="csX180" fmla="*/ 348836 w 733006"/>
              <a:gd name="csY180" fmla="*/ 684115 h 2076207"/>
              <a:gd name="csX181" fmla="*/ 298865 w 733006"/>
              <a:gd name="csY181" fmla="*/ 621954 h 2076207"/>
              <a:gd name="csX182" fmla="*/ 251619 w 733006"/>
              <a:gd name="csY182" fmla="*/ 622133 h 2076207"/>
              <a:gd name="csX183" fmla="*/ 214459 w 733006"/>
              <a:gd name="csY183" fmla="*/ 636230 h 2076207"/>
              <a:gd name="csX184" fmla="*/ 221436 w 733006"/>
              <a:gd name="csY184" fmla="*/ 654205 h 2076207"/>
              <a:gd name="csX185" fmla="*/ 272412 w 733006"/>
              <a:gd name="csY185" fmla="*/ 657250 h 2076207"/>
              <a:gd name="csX186" fmla="*/ 349094 w 733006"/>
              <a:gd name="csY186" fmla="*/ 659282 h 2076207"/>
              <a:gd name="csX187" fmla="*/ 362996 w 733006"/>
              <a:gd name="csY187" fmla="*/ 644234 h 2076207"/>
              <a:gd name="csX188" fmla="*/ 348472 w 733006"/>
              <a:gd name="csY188" fmla="*/ 624649 h 2076207"/>
              <a:gd name="csX189" fmla="*/ 298865 w 733006"/>
              <a:gd name="csY189" fmla="*/ 621954 h 2076207"/>
              <a:gd name="csX190" fmla="*/ 227796 w 733006"/>
              <a:gd name="csY190" fmla="*/ 528000 h 2076207"/>
              <a:gd name="csX191" fmla="*/ 241009 w 733006"/>
              <a:gd name="csY191" fmla="*/ 545897 h 2076207"/>
              <a:gd name="csX192" fmla="*/ 282607 w 733006"/>
              <a:gd name="csY192" fmla="*/ 543480 h 2076207"/>
              <a:gd name="csX193" fmla="*/ 354213 w 733006"/>
              <a:gd name="csY193" fmla="*/ 543384 h 2076207"/>
              <a:gd name="csX194" fmla="*/ 365334 w 733006"/>
              <a:gd name="csY194" fmla="*/ 533397 h 2076207"/>
              <a:gd name="csX195" fmla="*/ 354531 w 733006"/>
              <a:gd name="csY195" fmla="*/ 521620 h 2076207"/>
              <a:gd name="csX196" fmla="*/ 259169 w 733006"/>
              <a:gd name="csY196" fmla="*/ 521978 h 2076207"/>
              <a:gd name="csX197" fmla="*/ 227796 w 733006"/>
              <a:gd name="csY197" fmla="*/ 528000 h 2076207"/>
              <a:gd name="csX198" fmla="*/ 508068 w 733006"/>
              <a:gd name="csY198" fmla="*/ 190710 h 2076207"/>
              <a:gd name="csX199" fmla="*/ 521293 w 733006"/>
              <a:gd name="csY199" fmla="*/ 205907 h 2076207"/>
              <a:gd name="csX200" fmla="*/ 525175 w 733006"/>
              <a:gd name="csY200" fmla="*/ 202985 h 2076207"/>
              <a:gd name="csX201" fmla="*/ 500276 w 733006"/>
              <a:gd name="csY201" fmla="*/ 160640 h 2076207"/>
              <a:gd name="csX202" fmla="*/ 497122 w 733006"/>
              <a:gd name="csY202" fmla="*/ 162007 h 2076207"/>
              <a:gd name="csX203" fmla="*/ 508068 w 733006"/>
              <a:gd name="csY203" fmla="*/ 190710 h 2076207"/>
              <a:gd name="csX204" fmla="*/ 215522 w 733006"/>
              <a:gd name="csY204" fmla="*/ 197296 h 2076207"/>
              <a:gd name="csX205" fmla="*/ 234029 w 733006"/>
              <a:gd name="csY205" fmla="*/ 162725 h 2076207"/>
              <a:gd name="csX206" fmla="*/ 229000 w 733006"/>
              <a:gd name="csY206" fmla="*/ 159902 h 2076207"/>
              <a:gd name="csX207" fmla="*/ 204824 w 733006"/>
              <a:gd name="csY207" fmla="*/ 199677 h 2076207"/>
              <a:gd name="csX208" fmla="*/ 207990 w 733006"/>
              <a:gd name="csY208" fmla="*/ 202198 h 2076207"/>
              <a:gd name="csX209" fmla="*/ 215522 w 733006"/>
              <a:gd name="csY209" fmla="*/ 197296 h 2076207"/>
              <a:gd name="csX210" fmla="*/ 484400 w 733006"/>
              <a:gd name="csY210" fmla="*/ 896678 h 2076207"/>
              <a:gd name="csX211" fmla="*/ 486181 w 733006"/>
              <a:gd name="csY211" fmla="*/ 896585 h 2076207"/>
              <a:gd name="csX212" fmla="*/ 486181 w 733006"/>
              <a:gd name="csY212" fmla="*/ 795289 h 2076207"/>
              <a:gd name="csX213" fmla="*/ 720241 w 733006"/>
              <a:gd name="csY213" fmla="*/ 2030666 h 2076207"/>
              <a:gd name="csX214" fmla="*/ 721175 w 733006"/>
              <a:gd name="csY214" fmla="*/ 2029733 h 2076207"/>
              <a:gd name="csX215" fmla="*/ 720241 w 733006"/>
              <a:gd name="csY215" fmla="*/ 2030666 h 2076207"/>
              <a:gd name="csX216" fmla="*/ 715702 w 733006"/>
              <a:gd name="csY216" fmla="*/ 2037051 h 2076207"/>
              <a:gd name="csX217" fmla="*/ 715702 w 733006"/>
              <a:gd name="csY217" fmla="*/ 2037051 h 2076207"/>
              <a:gd name="csX0" fmla="*/ 96263 w 733006"/>
              <a:gd name="csY0" fmla="*/ 2076207 h 2084524"/>
              <a:gd name="csX1" fmla="*/ 63862 w 733006"/>
              <a:gd name="csY1" fmla="*/ 2065388 h 2084524"/>
              <a:gd name="csX2" fmla="*/ 16555 w 733006"/>
              <a:gd name="csY2" fmla="*/ 2050152 h 2084524"/>
              <a:gd name="csX3" fmla="*/ 15 w 733006"/>
              <a:gd name="csY3" fmla="*/ 2023802 h 2084524"/>
              <a:gd name="csX4" fmla="*/ 18368 w 733006"/>
              <a:gd name="csY4" fmla="*/ 1940709 h 2084524"/>
              <a:gd name="csX5" fmla="*/ 22139 w 733006"/>
              <a:gd name="csY5" fmla="*/ 1907268 h 2084524"/>
              <a:gd name="csX6" fmla="*/ 57941 w 733006"/>
              <a:gd name="csY6" fmla="*/ 1774163 h 2084524"/>
              <a:gd name="csX7" fmla="*/ 102478 w 733006"/>
              <a:gd name="csY7" fmla="*/ 1720275 h 2084524"/>
              <a:gd name="csX8" fmla="*/ 108579 w 733006"/>
              <a:gd name="csY8" fmla="*/ 1650967 h 2084524"/>
              <a:gd name="csX9" fmla="*/ 115628 w 733006"/>
              <a:gd name="csY9" fmla="*/ 1625405 h 2084524"/>
              <a:gd name="csX10" fmla="*/ 156323 w 733006"/>
              <a:gd name="csY10" fmla="*/ 1560181 h 2084524"/>
              <a:gd name="csX11" fmla="*/ 199424 w 733006"/>
              <a:gd name="csY11" fmla="*/ 1364729 h 2084524"/>
              <a:gd name="csX12" fmla="*/ 216779 w 733006"/>
              <a:gd name="csY12" fmla="*/ 1219490 h 2084524"/>
              <a:gd name="csX13" fmla="*/ 229755 w 733006"/>
              <a:gd name="csY13" fmla="*/ 1099357 h 2084524"/>
              <a:gd name="csX14" fmla="*/ 232707 w 733006"/>
              <a:gd name="csY14" fmla="*/ 1056423 h 2084524"/>
              <a:gd name="csX15" fmla="*/ 235622 w 733006"/>
              <a:gd name="csY15" fmla="*/ 952675 h 2084524"/>
              <a:gd name="csX16" fmla="*/ 235445 w 733006"/>
              <a:gd name="csY16" fmla="*/ 780278 h 2084524"/>
              <a:gd name="csX17" fmla="*/ 214544 w 733006"/>
              <a:gd name="csY17" fmla="*/ 756435 h 2084524"/>
              <a:gd name="csX18" fmla="*/ 172569 w 733006"/>
              <a:gd name="csY18" fmla="*/ 742582 h 2084524"/>
              <a:gd name="csX19" fmla="*/ 168784 w 733006"/>
              <a:gd name="csY19" fmla="*/ 669116 h 2084524"/>
              <a:gd name="csX20" fmla="*/ 191657 w 733006"/>
              <a:gd name="csY20" fmla="*/ 630765 h 2084524"/>
              <a:gd name="csX21" fmla="*/ 208150 w 733006"/>
              <a:gd name="csY21" fmla="*/ 609084 h 2084524"/>
              <a:gd name="csX22" fmla="*/ 216756 w 733006"/>
              <a:gd name="csY22" fmla="*/ 558673 h 2084524"/>
              <a:gd name="csX23" fmla="*/ 209092 w 733006"/>
              <a:gd name="csY23" fmla="*/ 521540 h 2084524"/>
              <a:gd name="csX24" fmla="*/ 204683 w 733006"/>
              <a:gd name="csY24" fmla="*/ 474024 h 2084524"/>
              <a:gd name="csX25" fmla="*/ 115483 w 733006"/>
              <a:gd name="csY25" fmla="*/ 213499 h 2084524"/>
              <a:gd name="csX26" fmla="*/ 102909 w 733006"/>
              <a:gd name="csY26" fmla="*/ 182297 h 2084524"/>
              <a:gd name="csX27" fmla="*/ 104315 w 733006"/>
              <a:gd name="csY27" fmla="*/ 163968 h 2084524"/>
              <a:gd name="csX28" fmla="*/ 122444 w 733006"/>
              <a:gd name="csY28" fmla="*/ 160805 h 2084524"/>
              <a:gd name="csX29" fmla="*/ 170283 w 733006"/>
              <a:gd name="csY29" fmla="*/ 187783 h 2084524"/>
              <a:gd name="csX30" fmla="*/ 180938 w 733006"/>
              <a:gd name="csY30" fmla="*/ 195322 h 2084524"/>
              <a:gd name="csX31" fmla="*/ 221419 w 733006"/>
              <a:gd name="csY31" fmla="*/ 138058 h 2084524"/>
              <a:gd name="csX32" fmla="*/ 294099 w 733006"/>
              <a:gd name="csY32" fmla="*/ 91372 h 2084524"/>
              <a:gd name="csX33" fmla="*/ 302307 w 733006"/>
              <a:gd name="csY33" fmla="*/ 76560 h 2084524"/>
              <a:gd name="csX34" fmla="*/ 320284 w 733006"/>
              <a:gd name="csY34" fmla="*/ 8414 h 2084524"/>
              <a:gd name="csX35" fmla="*/ 324784 w 733006"/>
              <a:gd name="csY35" fmla="*/ 946 h 2084524"/>
              <a:gd name="csX36" fmla="*/ 399212 w 733006"/>
              <a:gd name="csY36" fmla="*/ 0 h 2084524"/>
              <a:gd name="csX37" fmla="*/ 425980 w 733006"/>
              <a:gd name="csY37" fmla="*/ 78301 h 2084524"/>
              <a:gd name="csX38" fmla="*/ 431861 w 733006"/>
              <a:gd name="csY38" fmla="*/ 90312 h 2084524"/>
              <a:gd name="csX39" fmla="*/ 540349 w 733006"/>
              <a:gd name="csY39" fmla="*/ 187946 h 2084524"/>
              <a:gd name="csX40" fmla="*/ 545555 w 733006"/>
              <a:gd name="csY40" fmla="*/ 197828 h 2084524"/>
              <a:gd name="csX41" fmla="*/ 587318 w 733006"/>
              <a:gd name="csY41" fmla="*/ 171260 h 2084524"/>
              <a:gd name="csX42" fmla="*/ 601503 w 733006"/>
              <a:gd name="csY42" fmla="*/ 163707 h 2084524"/>
              <a:gd name="csX43" fmla="*/ 625254 w 733006"/>
              <a:gd name="csY43" fmla="*/ 163123 h 2084524"/>
              <a:gd name="csX44" fmla="*/ 625468 w 733006"/>
              <a:gd name="csY44" fmla="*/ 187579 h 2084524"/>
              <a:gd name="csX45" fmla="*/ 597543 w 733006"/>
              <a:gd name="csY45" fmla="*/ 251872 h 2084524"/>
              <a:gd name="csX46" fmla="*/ 531831 w 733006"/>
              <a:gd name="csY46" fmla="*/ 442689 h 2084524"/>
              <a:gd name="csX47" fmla="*/ 519888 w 733006"/>
              <a:gd name="csY47" fmla="*/ 501474 h 2084524"/>
              <a:gd name="csX48" fmla="*/ 522506 w 733006"/>
              <a:gd name="csY48" fmla="*/ 525086 h 2084524"/>
              <a:gd name="csX49" fmla="*/ 516235 w 733006"/>
              <a:gd name="csY49" fmla="*/ 555946 h 2084524"/>
              <a:gd name="csX50" fmla="*/ 521332 w 733006"/>
              <a:gd name="csY50" fmla="*/ 610676 h 2084524"/>
              <a:gd name="csX51" fmla="*/ 541382 w 733006"/>
              <a:gd name="csY51" fmla="*/ 642597 h 2084524"/>
              <a:gd name="csX52" fmla="*/ 557031 w 733006"/>
              <a:gd name="csY52" fmla="*/ 667949 h 2084524"/>
              <a:gd name="csX53" fmla="*/ 553994 w 733006"/>
              <a:gd name="csY53" fmla="*/ 744146 h 2084524"/>
              <a:gd name="csX54" fmla="*/ 508215 w 733006"/>
              <a:gd name="csY54" fmla="*/ 758841 h 2084524"/>
              <a:gd name="csX55" fmla="*/ 497442 w 733006"/>
              <a:gd name="csY55" fmla="*/ 771256 h 2084524"/>
              <a:gd name="csX56" fmla="*/ 493005 w 733006"/>
              <a:gd name="csY56" fmla="*/ 922055 h 2084524"/>
              <a:gd name="csX57" fmla="*/ 502900 w 733006"/>
              <a:gd name="csY57" fmla="*/ 1114191 h 2084524"/>
              <a:gd name="csX58" fmla="*/ 508800 w 733006"/>
              <a:gd name="csY58" fmla="*/ 1205474 h 2084524"/>
              <a:gd name="csX59" fmla="*/ 522952 w 733006"/>
              <a:gd name="csY59" fmla="*/ 1320065 h 2084524"/>
              <a:gd name="csX60" fmla="*/ 554682 w 733006"/>
              <a:gd name="csY60" fmla="*/ 1501203 h 2084524"/>
              <a:gd name="csX61" fmla="*/ 576958 w 733006"/>
              <a:gd name="csY61" fmla="*/ 1593963 h 2084524"/>
              <a:gd name="csX62" fmla="*/ 595349 w 733006"/>
              <a:gd name="csY62" fmla="*/ 1613498 h 2084524"/>
              <a:gd name="csX63" fmla="*/ 613936 w 733006"/>
              <a:gd name="csY63" fmla="*/ 1624058 h 2084524"/>
              <a:gd name="csX64" fmla="*/ 620938 w 733006"/>
              <a:gd name="csY64" fmla="*/ 1652071 h 2084524"/>
              <a:gd name="csX65" fmla="*/ 630805 w 733006"/>
              <a:gd name="csY65" fmla="*/ 1721702 h 2084524"/>
              <a:gd name="csX66" fmla="*/ 685830 w 733006"/>
              <a:gd name="csY66" fmla="*/ 1792915 h 2084524"/>
              <a:gd name="csX67" fmla="*/ 708904 w 733006"/>
              <a:gd name="csY67" fmla="*/ 1890290 h 2084524"/>
              <a:gd name="csX68" fmla="*/ 716580 w 733006"/>
              <a:gd name="csY68" fmla="*/ 1951136 h 2084524"/>
              <a:gd name="csX69" fmla="*/ 729397 w 733006"/>
              <a:gd name="csY69" fmla="*/ 2030261 h 2084524"/>
              <a:gd name="csX70" fmla="*/ 714212 w 733006"/>
              <a:gd name="csY70" fmla="*/ 2049544 h 2084524"/>
              <a:gd name="csX71" fmla="*/ 96263 w 733006"/>
              <a:gd name="csY71" fmla="*/ 2076207 h 2084524"/>
              <a:gd name="csX72" fmla="*/ 489970 w 733006"/>
              <a:gd name="csY72" fmla="*/ 152208 h 2084524"/>
              <a:gd name="csX73" fmla="*/ 490754 w 733006"/>
              <a:gd name="csY73" fmla="*/ 152592 h 2084524"/>
              <a:gd name="csX74" fmla="*/ 489489 w 733006"/>
              <a:gd name="csY74" fmla="*/ 149547 h 2084524"/>
              <a:gd name="csX75" fmla="*/ 393621 w 733006"/>
              <a:gd name="csY75" fmla="*/ 99259 h 2084524"/>
              <a:gd name="csX76" fmla="*/ 390419 w 733006"/>
              <a:gd name="csY76" fmla="*/ 18568 h 2084524"/>
              <a:gd name="csX77" fmla="*/ 334131 w 733006"/>
              <a:gd name="csY77" fmla="*/ 24327 h 2084524"/>
              <a:gd name="csX78" fmla="*/ 344678 w 733006"/>
              <a:gd name="csY78" fmla="*/ 101259 h 2084524"/>
              <a:gd name="csX79" fmla="*/ 298854 w 733006"/>
              <a:gd name="csY79" fmla="*/ 114003 h 2084524"/>
              <a:gd name="csX80" fmla="*/ 237456 w 733006"/>
              <a:gd name="csY80" fmla="*/ 154340 h 2084524"/>
              <a:gd name="csX81" fmla="*/ 240382 w 733006"/>
              <a:gd name="csY81" fmla="*/ 154035 h 2084524"/>
              <a:gd name="csX82" fmla="*/ 262731 w 733006"/>
              <a:gd name="csY82" fmla="*/ 170426 h 2084524"/>
              <a:gd name="csX83" fmla="*/ 279169 w 733006"/>
              <a:gd name="csY83" fmla="*/ 193173 h 2084524"/>
              <a:gd name="csX84" fmla="*/ 327717 w 733006"/>
              <a:gd name="csY84" fmla="*/ 188556 h 2084524"/>
              <a:gd name="csX85" fmla="*/ 348052 w 733006"/>
              <a:gd name="csY85" fmla="*/ 156919 h 2084524"/>
              <a:gd name="csX86" fmla="*/ 380330 w 733006"/>
              <a:gd name="csY86" fmla="*/ 156483 h 2084524"/>
              <a:gd name="csX87" fmla="*/ 408490 w 733006"/>
              <a:gd name="csY87" fmla="*/ 195400 h 2084524"/>
              <a:gd name="csX88" fmla="*/ 445346 w 733006"/>
              <a:gd name="csY88" fmla="*/ 197582 h 2084524"/>
              <a:gd name="csX89" fmla="*/ 464798 w 733006"/>
              <a:gd name="csY89" fmla="*/ 174107 h 2084524"/>
              <a:gd name="csX90" fmla="*/ 489970 w 733006"/>
              <a:gd name="csY90" fmla="*/ 152208 h 2084524"/>
              <a:gd name="csX91" fmla="*/ 140694 w 733006"/>
              <a:gd name="csY91" fmla="*/ 201837 h 2084524"/>
              <a:gd name="csX92" fmla="*/ 139834 w 733006"/>
              <a:gd name="csY92" fmla="*/ 201482 h 2084524"/>
              <a:gd name="csX93" fmla="*/ 140812 w 733006"/>
              <a:gd name="csY93" fmla="*/ 204941 h 2084524"/>
              <a:gd name="csX94" fmla="*/ 144631 w 733006"/>
              <a:gd name="csY94" fmla="*/ 217811 h 2084524"/>
              <a:gd name="csX95" fmla="*/ 201241 w 733006"/>
              <a:gd name="csY95" fmla="*/ 373387 h 2084524"/>
              <a:gd name="csX96" fmla="*/ 235971 w 733006"/>
              <a:gd name="csY96" fmla="*/ 504451 h 2084524"/>
              <a:gd name="csX97" fmla="*/ 247475 w 733006"/>
              <a:gd name="csY97" fmla="*/ 513241 h 2084524"/>
              <a:gd name="csX98" fmla="*/ 289066 w 733006"/>
              <a:gd name="csY98" fmla="*/ 511170 h 2084524"/>
              <a:gd name="csX99" fmla="*/ 378229 w 733006"/>
              <a:gd name="csY99" fmla="*/ 511084 h 2084524"/>
              <a:gd name="csX100" fmla="*/ 470850 w 733006"/>
              <a:gd name="csY100" fmla="*/ 516341 h 2084524"/>
              <a:gd name="csX101" fmla="*/ 492933 w 733006"/>
              <a:gd name="csY101" fmla="*/ 497969 h 2084524"/>
              <a:gd name="csX102" fmla="*/ 557617 w 733006"/>
              <a:gd name="csY102" fmla="*/ 280398 h 2084524"/>
              <a:gd name="csX103" fmla="*/ 588788 w 733006"/>
              <a:gd name="csY103" fmla="*/ 200385 h 2084524"/>
              <a:gd name="csX104" fmla="*/ 530958 w 733006"/>
              <a:gd name="csY104" fmla="*/ 232968 h 2084524"/>
              <a:gd name="csX105" fmla="*/ 483823 w 733006"/>
              <a:gd name="csY105" fmla="*/ 190364 h 2084524"/>
              <a:gd name="csX106" fmla="*/ 466649 w 733006"/>
              <a:gd name="csY106" fmla="*/ 209061 h 2084524"/>
              <a:gd name="csX107" fmla="*/ 399941 w 733006"/>
              <a:gd name="csY107" fmla="*/ 216988 h 2084524"/>
              <a:gd name="csX108" fmla="*/ 363018 w 733006"/>
              <a:gd name="csY108" fmla="*/ 179615 h 2084524"/>
              <a:gd name="csX109" fmla="*/ 308839 w 733006"/>
              <a:gd name="csY109" fmla="*/ 227846 h 2084524"/>
              <a:gd name="csX110" fmla="*/ 245077 w 733006"/>
              <a:gd name="csY110" fmla="*/ 192402 h 2084524"/>
              <a:gd name="csX111" fmla="*/ 242829 w 733006"/>
              <a:gd name="csY111" fmla="*/ 198815 h 2084524"/>
              <a:gd name="csX112" fmla="*/ 168452 w 733006"/>
              <a:gd name="csY112" fmla="*/ 219348 h 2084524"/>
              <a:gd name="csX113" fmla="*/ 140694 w 733006"/>
              <a:gd name="csY113" fmla="*/ 201837 h 2084524"/>
              <a:gd name="csX114" fmla="*/ 259999 w 733006"/>
              <a:gd name="csY114" fmla="*/ 966699 h 2084524"/>
              <a:gd name="csX115" fmla="*/ 257072 w 733006"/>
              <a:gd name="csY115" fmla="*/ 1070424 h 2084524"/>
              <a:gd name="csX116" fmla="*/ 251372 w 733006"/>
              <a:gd name="csY116" fmla="*/ 1157618 h 2084524"/>
              <a:gd name="csX117" fmla="*/ 232677 w 733006"/>
              <a:gd name="csY117" fmla="*/ 1320279 h 2084524"/>
              <a:gd name="csX118" fmla="*/ 209182 w 733006"/>
              <a:gd name="csY118" fmla="*/ 1468667 h 2084524"/>
              <a:gd name="csX119" fmla="*/ 175302 w 733006"/>
              <a:gd name="csY119" fmla="*/ 1616623 h 2084524"/>
              <a:gd name="csX120" fmla="*/ 182769 w 733006"/>
              <a:gd name="csY120" fmla="*/ 1629786 h 2084524"/>
              <a:gd name="csX121" fmla="*/ 212156 w 733006"/>
              <a:gd name="csY121" fmla="*/ 1632656 h 2084524"/>
              <a:gd name="csX122" fmla="*/ 351295 w 733006"/>
              <a:gd name="csY122" fmla="*/ 1632801 h 2084524"/>
              <a:gd name="csX123" fmla="*/ 376150 w 733006"/>
              <a:gd name="csY123" fmla="*/ 1608307 h 2084524"/>
              <a:gd name="csX124" fmla="*/ 373450 w 733006"/>
              <a:gd name="csY124" fmla="*/ 1457291 h 2084524"/>
              <a:gd name="csX125" fmla="*/ 370936 w 733006"/>
              <a:gd name="csY125" fmla="*/ 1342736 h 2084524"/>
              <a:gd name="csX126" fmla="*/ 368328 w 733006"/>
              <a:gd name="csY126" fmla="*/ 1203878 h 2084524"/>
              <a:gd name="csX127" fmla="*/ 367836 w 733006"/>
              <a:gd name="csY127" fmla="*/ 813478 h 2084524"/>
              <a:gd name="csX128" fmla="*/ 365240 w 733006"/>
              <a:gd name="csY128" fmla="*/ 773243 h 2084524"/>
              <a:gd name="csX129" fmla="*/ 353084 w 733006"/>
              <a:gd name="csY129" fmla="*/ 762083 h 2084524"/>
              <a:gd name="csX130" fmla="*/ 280966 w 733006"/>
              <a:gd name="csY130" fmla="*/ 759855 h 2084524"/>
              <a:gd name="csX131" fmla="*/ 259965 w 733006"/>
              <a:gd name="csY131" fmla="*/ 779553 h 2084524"/>
              <a:gd name="csX132" fmla="*/ 262341 w 733006"/>
              <a:gd name="csY132" fmla="*/ 856275 h 2084524"/>
              <a:gd name="csX133" fmla="*/ 259999 w 733006"/>
              <a:gd name="csY133" fmla="*/ 966699 h 2084524"/>
              <a:gd name="csX134" fmla="*/ 55556 w 733006"/>
              <a:gd name="csY134" fmla="*/ 1835827 h 2084524"/>
              <a:gd name="csX135" fmla="*/ 49393 w 733006"/>
              <a:gd name="csY135" fmla="*/ 1878155 h 2084524"/>
              <a:gd name="csX136" fmla="*/ 73949 w 733006"/>
              <a:gd name="csY136" fmla="*/ 1905781 h 2084524"/>
              <a:gd name="csX137" fmla="*/ 110073 w 733006"/>
              <a:gd name="csY137" fmla="*/ 1909068 h 2084524"/>
              <a:gd name="csX138" fmla="*/ 224745 w 733006"/>
              <a:gd name="csY138" fmla="*/ 1921652 h 2084524"/>
              <a:gd name="csX139" fmla="*/ 347327 w 733006"/>
              <a:gd name="csY139" fmla="*/ 1924778 h 2084524"/>
              <a:gd name="csX140" fmla="*/ 363345 w 733006"/>
              <a:gd name="csY140" fmla="*/ 1923293 h 2084524"/>
              <a:gd name="csX141" fmla="*/ 373787 w 733006"/>
              <a:gd name="csY141" fmla="*/ 1911200 h 2084524"/>
              <a:gd name="csX142" fmla="*/ 376623 w 733006"/>
              <a:gd name="csY142" fmla="*/ 1696741 h 2084524"/>
              <a:gd name="csX143" fmla="*/ 360437 w 733006"/>
              <a:gd name="csY143" fmla="*/ 1681289 h 2084524"/>
              <a:gd name="csX144" fmla="*/ 263503 w 733006"/>
              <a:gd name="csY144" fmla="*/ 1678179 h 2084524"/>
              <a:gd name="csX145" fmla="*/ 160381 w 733006"/>
              <a:gd name="csY145" fmla="*/ 1670405 h 2084524"/>
              <a:gd name="csX146" fmla="*/ 143321 w 733006"/>
              <a:gd name="csY146" fmla="*/ 1685538 h 2084524"/>
              <a:gd name="csX147" fmla="*/ 124769 w 733006"/>
              <a:gd name="csY147" fmla="*/ 1738195 h 2084524"/>
              <a:gd name="csX148" fmla="*/ 90593 w 733006"/>
              <a:gd name="csY148" fmla="*/ 1779570 h 2084524"/>
              <a:gd name="csX149" fmla="*/ 55556 w 733006"/>
              <a:gd name="csY149" fmla="*/ 1835827 h 2084524"/>
              <a:gd name="csX150" fmla="*/ 378900 w 733006"/>
              <a:gd name="csY150" fmla="*/ 2007280 h 2084524"/>
              <a:gd name="csX151" fmla="*/ 378887 w 733006"/>
              <a:gd name="csY151" fmla="*/ 1995127 h 2084524"/>
              <a:gd name="csX152" fmla="*/ 359084 w 733006"/>
              <a:gd name="csY152" fmla="*/ 1975964 h 2084524"/>
              <a:gd name="csX153" fmla="*/ 247288 w 733006"/>
              <a:gd name="csY153" fmla="*/ 1973305 h 2084524"/>
              <a:gd name="csX154" fmla="*/ 201692 w 733006"/>
              <a:gd name="csY154" fmla="*/ 1970275 h 2084524"/>
              <a:gd name="csX155" fmla="*/ 57962 w 733006"/>
              <a:gd name="csY155" fmla="*/ 1952648 h 2084524"/>
              <a:gd name="csX156" fmla="*/ 39194 w 733006"/>
              <a:gd name="csY156" fmla="*/ 1963552 h 2084524"/>
              <a:gd name="csX157" fmla="*/ 30066 w 733006"/>
              <a:gd name="csY157" fmla="*/ 2006631 h 2084524"/>
              <a:gd name="csX158" fmla="*/ 40232 w 733006"/>
              <a:gd name="csY158" fmla="*/ 2019486 h 2084524"/>
              <a:gd name="csX159" fmla="*/ 238186 w 733006"/>
              <a:gd name="csY159" fmla="*/ 2046096 h 2084524"/>
              <a:gd name="csX160" fmla="*/ 342155 w 733006"/>
              <a:gd name="csY160" fmla="*/ 2046441 h 2084524"/>
              <a:gd name="csX161" fmla="*/ 378900 w 733006"/>
              <a:gd name="csY161" fmla="*/ 2007280 h 2084524"/>
              <a:gd name="csX162" fmla="*/ 310220 w 733006"/>
              <a:gd name="csY162" fmla="*/ 554288 h 2084524"/>
              <a:gd name="csX163" fmla="*/ 259136 w 733006"/>
              <a:gd name="csY163" fmla="*/ 556881 h 2084524"/>
              <a:gd name="csX164" fmla="*/ 249085 w 733006"/>
              <a:gd name="csY164" fmla="*/ 567981 h 2084524"/>
              <a:gd name="csX165" fmla="*/ 249141 w 733006"/>
              <a:gd name="csY165" fmla="*/ 605644 h 2084524"/>
              <a:gd name="csX166" fmla="*/ 262628 w 733006"/>
              <a:gd name="csY166" fmla="*/ 605627 h 2084524"/>
              <a:gd name="csX167" fmla="*/ 369608 w 733006"/>
              <a:gd name="csY167" fmla="*/ 603027 h 2084524"/>
              <a:gd name="csX168" fmla="*/ 463931 w 733006"/>
              <a:gd name="csY168" fmla="*/ 605146 h 2084524"/>
              <a:gd name="csX169" fmla="*/ 478113 w 733006"/>
              <a:gd name="csY169" fmla="*/ 595843 h 2084524"/>
              <a:gd name="csX170" fmla="*/ 478796 w 733006"/>
              <a:gd name="csY170" fmla="*/ 556832 h 2084524"/>
              <a:gd name="csX171" fmla="*/ 310220 w 733006"/>
              <a:gd name="csY171" fmla="*/ 554288 h 2084524"/>
              <a:gd name="csX172" fmla="*/ 348836 w 733006"/>
              <a:gd name="csY172" fmla="*/ 684115 h 2084524"/>
              <a:gd name="csX173" fmla="*/ 281333 w 733006"/>
              <a:gd name="csY173" fmla="*/ 683313 h 2084524"/>
              <a:gd name="csX174" fmla="*/ 212728 w 733006"/>
              <a:gd name="csY174" fmla="*/ 681931 h 2084524"/>
              <a:gd name="csX175" fmla="*/ 187283 w 733006"/>
              <a:gd name="csY175" fmla="*/ 689555 h 2084524"/>
              <a:gd name="csX176" fmla="*/ 186163 w 733006"/>
              <a:gd name="csY176" fmla="*/ 718266 h 2084524"/>
              <a:gd name="csX177" fmla="*/ 209894 w 733006"/>
              <a:gd name="csY177" fmla="*/ 726798 h 2084524"/>
              <a:gd name="csX178" fmla="*/ 334814 w 733006"/>
              <a:gd name="csY178" fmla="*/ 732494 h 2084524"/>
              <a:gd name="csX179" fmla="*/ 364856 w 733006"/>
              <a:gd name="csY179" fmla="*/ 707963 h 2084524"/>
              <a:gd name="csX180" fmla="*/ 348836 w 733006"/>
              <a:gd name="csY180" fmla="*/ 684115 h 2084524"/>
              <a:gd name="csX181" fmla="*/ 298865 w 733006"/>
              <a:gd name="csY181" fmla="*/ 621954 h 2084524"/>
              <a:gd name="csX182" fmla="*/ 251619 w 733006"/>
              <a:gd name="csY182" fmla="*/ 622133 h 2084524"/>
              <a:gd name="csX183" fmla="*/ 214459 w 733006"/>
              <a:gd name="csY183" fmla="*/ 636230 h 2084524"/>
              <a:gd name="csX184" fmla="*/ 221436 w 733006"/>
              <a:gd name="csY184" fmla="*/ 654205 h 2084524"/>
              <a:gd name="csX185" fmla="*/ 272412 w 733006"/>
              <a:gd name="csY185" fmla="*/ 657250 h 2084524"/>
              <a:gd name="csX186" fmla="*/ 349094 w 733006"/>
              <a:gd name="csY186" fmla="*/ 659282 h 2084524"/>
              <a:gd name="csX187" fmla="*/ 362996 w 733006"/>
              <a:gd name="csY187" fmla="*/ 644234 h 2084524"/>
              <a:gd name="csX188" fmla="*/ 348472 w 733006"/>
              <a:gd name="csY188" fmla="*/ 624649 h 2084524"/>
              <a:gd name="csX189" fmla="*/ 298865 w 733006"/>
              <a:gd name="csY189" fmla="*/ 621954 h 2084524"/>
              <a:gd name="csX190" fmla="*/ 227796 w 733006"/>
              <a:gd name="csY190" fmla="*/ 528000 h 2084524"/>
              <a:gd name="csX191" fmla="*/ 241009 w 733006"/>
              <a:gd name="csY191" fmla="*/ 545897 h 2084524"/>
              <a:gd name="csX192" fmla="*/ 282607 w 733006"/>
              <a:gd name="csY192" fmla="*/ 543480 h 2084524"/>
              <a:gd name="csX193" fmla="*/ 354213 w 733006"/>
              <a:gd name="csY193" fmla="*/ 543384 h 2084524"/>
              <a:gd name="csX194" fmla="*/ 365334 w 733006"/>
              <a:gd name="csY194" fmla="*/ 533397 h 2084524"/>
              <a:gd name="csX195" fmla="*/ 354531 w 733006"/>
              <a:gd name="csY195" fmla="*/ 521620 h 2084524"/>
              <a:gd name="csX196" fmla="*/ 259169 w 733006"/>
              <a:gd name="csY196" fmla="*/ 521978 h 2084524"/>
              <a:gd name="csX197" fmla="*/ 227796 w 733006"/>
              <a:gd name="csY197" fmla="*/ 528000 h 2084524"/>
              <a:gd name="csX198" fmla="*/ 508068 w 733006"/>
              <a:gd name="csY198" fmla="*/ 190710 h 2084524"/>
              <a:gd name="csX199" fmla="*/ 521293 w 733006"/>
              <a:gd name="csY199" fmla="*/ 205907 h 2084524"/>
              <a:gd name="csX200" fmla="*/ 525175 w 733006"/>
              <a:gd name="csY200" fmla="*/ 202985 h 2084524"/>
              <a:gd name="csX201" fmla="*/ 500276 w 733006"/>
              <a:gd name="csY201" fmla="*/ 160640 h 2084524"/>
              <a:gd name="csX202" fmla="*/ 497122 w 733006"/>
              <a:gd name="csY202" fmla="*/ 162007 h 2084524"/>
              <a:gd name="csX203" fmla="*/ 508068 w 733006"/>
              <a:gd name="csY203" fmla="*/ 190710 h 2084524"/>
              <a:gd name="csX204" fmla="*/ 215522 w 733006"/>
              <a:gd name="csY204" fmla="*/ 197296 h 2084524"/>
              <a:gd name="csX205" fmla="*/ 234029 w 733006"/>
              <a:gd name="csY205" fmla="*/ 162725 h 2084524"/>
              <a:gd name="csX206" fmla="*/ 229000 w 733006"/>
              <a:gd name="csY206" fmla="*/ 159902 h 2084524"/>
              <a:gd name="csX207" fmla="*/ 204824 w 733006"/>
              <a:gd name="csY207" fmla="*/ 199677 h 2084524"/>
              <a:gd name="csX208" fmla="*/ 207990 w 733006"/>
              <a:gd name="csY208" fmla="*/ 202198 h 2084524"/>
              <a:gd name="csX209" fmla="*/ 215522 w 733006"/>
              <a:gd name="csY209" fmla="*/ 197296 h 2084524"/>
              <a:gd name="csX210" fmla="*/ 484400 w 733006"/>
              <a:gd name="csY210" fmla="*/ 896678 h 2084524"/>
              <a:gd name="csX211" fmla="*/ 486181 w 733006"/>
              <a:gd name="csY211" fmla="*/ 896585 h 2084524"/>
              <a:gd name="csX212" fmla="*/ 486181 w 733006"/>
              <a:gd name="csY212" fmla="*/ 795289 h 2084524"/>
              <a:gd name="csX213" fmla="*/ 720241 w 733006"/>
              <a:gd name="csY213" fmla="*/ 2030666 h 2084524"/>
              <a:gd name="csX214" fmla="*/ 721175 w 733006"/>
              <a:gd name="csY214" fmla="*/ 2029733 h 2084524"/>
              <a:gd name="csX215" fmla="*/ 720241 w 733006"/>
              <a:gd name="csY215" fmla="*/ 2030666 h 2084524"/>
              <a:gd name="csX216" fmla="*/ 715702 w 733006"/>
              <a:gd name="csY216" fmla="*/ 2037051 h 2084524"/>
              <a:gd name="csX217" fmla="*/ 715702 w 733006"/>
              <a:gd name="csY217" fmla="*/ 2037051 h 2084524"/>
              <a:gd name="csX0" fmla="*/ 96263 w 733006"/>
              <a:gd name="csY0" fmla="*/ 2076207 h 2095135"/>
              <a:gd name="csX1" fmla="*/ 63862 w 733006"/>
              <a:gd name="csY1" fmla="*/ 2065388 h 2095135"/>
              <a:gd name="csX2" fmla="*/ 16555 w 733006"/>
              <a:gd name="csY2" fmla="*/ 2050152 h 2095135"/>
              <a:gd name="csX3" fmla="*/ 15 w 733006"/>
              <a:gd name="csY3" fmla="*/ 2023802 h 2095135"/>
              <a:gd name="csX4" fmla="*/ 18368 w 733006"/>
              <a:gd name="csY4" fmla="*/ 1940709 h 2095135"/>
              <a:gd name="csX5" fmla="*/ 22139 w 733006"/>
              <a:gd name="csY5" fmla="*/ 1907268 h 2095135"/>
              <a:gd name="csX6" fmla="*/ 57941 w 733006"/>
              <a:gd name="csY6" fmla="*/ 1774163 h 2095135"/>
              <a:gd name="csX7" fmla="*/ 102478 w 733006"/>
              <a:gd name="csY7" fmla="*/ 1720275 h 2095135"/>
              <a:gd name="csX8" fmla="*/ 108579 w 733006"/>
              <a:gd name="csY8" fmla="*/ 1650967 h 2095135"/>
              <a:gd name="csX9" fmla="*/ 115628 w 733006"/>
              <a:gd name="csY9" fmla="*/ 1625405 h 2095135"/>
              <a:gd name="csX10" fmla="*/ 156323 w 733006"/>
              <a:gd name="csY10" fmla="*/ 1560181 h 2095135"/>
              <a:gd name="csX11" fmla="*/ 199424 w 733006"/>
              <a:gd name="csY11" fmla="*/ 1364729 h 2095135"/>
              <a:gd name="csX12" fmla="*/ 216779 w 733006"/>
              <a:gd name="csY12" fmla="*/ 1219490 h 2095135"/>
              <a:gd name="csX13" fmla="*/ 229755 w 733006"/>
              <a:gd name="csY13" fmla="*/ 1099357 h 2095135"/>
              <a:gd name="csX14" fmla="*/ 232707 w 733006"/>
              <a:gd name="csY14" fmla="*/ 1056423 h 2095135"/>
              <a:gd name="csX15" fmla="*/ 235622 w 733006"/>
              <a:gd name="csY15" fmla="*/ 952675 h 2095135"/>
              <a:gd name="csX16" fmla="*/ 235445 w 733006"/>
              <a:gd name="csY16" fmla="*/ 780278 h 2095135"/>
              <a:gd name="csX17" fmla="*/ 214544 w 733006"/>
              <a:gd name="csY17" fmla="*/ 756435 h 2095135"/>
              <a:gd name="csX18" fmla="*/ 172569 w 733006"/>
              <a:gd name="csY18" fmla="*/ 742582 h 2095135"/>
              <a:gd name="csX19" fmla="*/ 168784 w 733006"/>
              <a:gd name="csY19" fmla="*/ 669116 h 2095135"/>
              <a:gd name="csX20" fmla="*/ 191657 w 733006"/>
              <a:gd name="csY20" fmla="*/ 630765 h 2095135"/>
              <a:gd name="csX21" fmla="*/ 208150 w 733006"/>
              <a:gd name="csY21" fmla="*/ 609084 h 2095135"/>
              <a:gd name="csX22" fmla="*/ 216756 w 733006"/>
              <a:gd name="csY22" fmla="*/ 558673 h 2095135"/>
              <a:gd name="csX23" fmla="*/ 209092 w 733006"/>
              <a:gd name="csY23" fmla="*/ 521540 h 2095135"/>
              <a:gd name="csX24" fmla="*/ 204683 w 733006"/>
              <a:gd name="csY24" fmla="*/ 474024 h 2095135"/>
              <a:gd name="csX25" fmla="*/ 115483 w 733006"/>
              <a:gd name="csY25" fmla="*/ 213499 h 2095135"/>
              <a:gd name="csX26" fmla="*/ 102909 w 733006"/>
              <a:gd name="csY26" fmla="*/ 182297 h 2095135"/>
              <a:gd name="csX27" fmla="*/ 104315 w 733006"/>
              <a:gd name="csY27" fmla="*/ 163968 h 2095135"/>
              <a:gd name="csX28" fmla="*/ 122444 w 733006"/>
              <a:gd name="csY28" fmla="*/ 160805 h 2095135"/>
              <a:gd name="csX29" fmla="*/ 170283 w 733006"/>
              <a:gd name="csY29" fmla="*/ 187783 h 2095135"/>
              <a:gd name="csX30" fmla="*/ 180938 w 733006"/>
              <a:gd name="csY30" fmla="*/ 195322 h 2095135"/>
              <a:gd name="csX31" fmla="*/ 221419 w 733006"/>
              <a:gd name="csY31" fmla="*/ 138058 h 2095135"/>
              <a:gd name="csX32" fmla="*/ 294099 w 733006"/>
              <a:gd name="csY32" fmla="*/ 91372 h 2095135"/>
              <a:gd name="csX33" fmla="*/ 302307 w 733006"/>
              <a:gd name="csY33" fmla="*/ 76560 h 2095135"/>
              <a:gd name="csX34" fmla="*/ 320284 w 733006"/>
              <a:gd name="csY34" fmla="*/ 8414 h 2095135"/>
              <a:gd name="csX35" fmla="*/ 324784 w 733006"/>
              <a:gd name="csY35" fmla="*/ 946 h 2095135"/>
              <a:gd name="csX36" fmla="*/ 399212 w 733006"/>
              <a:gd name="csY36" fmla="*/ 0 h 2095135"/>
              <a:gd name="csX37" fmla="*/ 425980 w 733006"/>
              <a:gd name="csY37" fmla="*/ 78301 h 2095135"/>
              <a:gd name="csX38" fmla="*/ 431861 w 733006"/>
              <a:gd name="csY38" fmla="*/ 90312 h 2095135"/>
              <a:gd name="csX39" fmla="*/ 540349 w 733006"/>
              <a:gd name="csY39" fmla="*/ 187946 h 2095135"/>
              <a:gd name="csX40" fmla="*/ 545555 w 733006"/>
              <a:gd name="csY40" fmla="*/ 197828 h 2095135"/>
              <a:gd name="csX41" fmla="*/ 587318 w 733006"/>
              <a:gd name="csY41" fmla="*/ 171260 h 2095135"/>
              <a:gd name="csX42" fmla="*/ 601503 w 733006"/>
              <a:gd name="csY42" fmla="*/ 163707 h 2095135"/>
              <a:gd name="csX43" fmla="*/ 625254 w 733006"/>
              <a:gd name="csY43" fmla="*/ 163123 h 2095135"/>
              <a:gd name="csX44" fmla="*/ 625468 w 733006"/>
              <a:gd name="csY44" fmla="*/ 187579 h 2095135"/>
              <a:gd name="csX45" fmla="*/ 597543 w 733006"/>
              <a:gd name="csY45" fmla="*/ 251872 h 2095135"/>
              <a:gd name="csX46" fmla="*/ 531831 w 733006"/>
              <a:gd name="csY46" fmla="*/ 442689 h 2095135"/>
              <a:gd name="csX47" fmla="*/ 519888 w 733006"/>
              <a:gd name="csY47" fmla="*/ 501474 h 2095135"/>
              <a:gd name="csX48" fmla="*/ 522506 w 733006"/>
              <a:gd name="csY48" fmla="*/ 525086 h 2095135"/>
              <a:gd name="csX49" fmla="*/ 516235 w 733006"/>
              <a:gd name="csY49" fmla="*/ 555946 h 2095135"/>
              <a:gd name="csX50" fmla="*/ 521332 w 733006"/>
              <a:gd name="csY50" fmla="*/ 610676 h 2095135"/>
              <a:gd name="csX51" fmla="*/ 541382 w 733006"/>
              <a:gd name="csY51" fmla="*/ 642597 h 2095135"/>
              <a:gd name="csX52" fmla="*/ 557031 w 733006"/>
              <a:gd name="csY52" fmla="*/ 667949 h 2095135"/>
              <a:gd name="csX53" fmla="*/ 553994 w 733006"/>
              <a:gd name="csY53" fmla="*/ 744146 h 2095135"/>
              <a:gd name="csX54" fmla="*/ 508215 w 733006"/>
              <a:gd name="csY54" fmla="*/ 758841 h 2095135"/>
              <a:gd name="csX55" fmla="*/ 497442 w 733006"/>
              <a:gd name="csY55" fmla="*/ 771256 h 2095135"/>
              <a:gd name="csX56" fmla="*/ 493005 w 733006"/>
              <a:gd name="csY56" fmla="*/ 922055 h 2095135"/>
              <a:gd name="csX57" fmla="*/ 502900 w 733006"/>
              <a:gd name="csY57" fmla="*/ 1114191 h 2095135"/>
              <a:gd name="csX58" fmla="*/ 508800 w 733006"/>
              <a:gd name="csY58" fmla="*/ 1205474 h 2095135"/>
              <a:gd name="csX59" fmla="*/ 522952 w 733006"/>
              <a:gd name="csY59" fmla="*/ 1320065 h 2095135"/>
              <a:gd name="csX60" fmla="*/ 554682 w 733006"/>
              <a:gd name="csY60" fmla="*/ 1501203 h 2095135"/>
              <a:gd name="csX61" fmla="*/ 576958 w 733006"/>
              <a:gd name="csY61" fmla="*/ 1593963 h 2095135"/>
              <a:gd name="csX62" fmla="*/ 595349 w 733006"/>
              <a:gd name="csY62" fmla="*/ 1613498 h 2095135"/>
              <a:gd name="csX63" fmla="*/ 613936 w 733006"/>
              <a:gd name="csY63" fmla="*/ 1624058 h 2095135"/>
              <a:gd name="csX64" fmla="*/ 620938 w 733006"/>
              <a:gd name="csY64" fmla="*/ 1652071 h 2095135"/>
              <a:gd name="csX65" fmla="*/ 630805 w 733006"/>
              <a:gd name="csY65" fmla="*/ 1721702 h 2095135"/>
              <a:gd name="csX66" fmla="*/ 685830 w 733006"/>
              <a:gd name="csY66" fmla="*/ 1792915 h 2095135"/>
              <a:gd name="csX67" fmla="*/ 708904 w 733006"/>
              <a:gd name="csY67" fmla="*/ 1890290 h 2095135"/>
              <a:gd name="csX68" fmla="*/ 716580 w 733006"/>
              <a:gd name="csY68" fmla="*/ 1951136 h 2095135"/>
              <a:gd name="csX69" fmla="*/ 729397 w 733006"/>
              <a:gd name="csY69" fmla="*/ 2030261 h 2095135"/>
              <a:gd name="csX70" fmla="*/ 714212 w 733006"/>
              <a:gd name="csY70" fmla="*/ 2049544 h 2095135"/>
              <a:gd name="csX71" fmla="*/ 96263 w 733006"/>
              <a:gd name="csY71" fmla="*/ 2076207 h 2095135"/>
              <a:gd name="csX72" fmla="*/ 489970 w 733006"/>
              <a:gd name="csY72" fmla="*/ 152208 h 2095135"/>
              <a:gd name="csX73" fmla="*/ 490754 w 733006"/>
              <a:gd name="csY73" fmla="*/ 152592 h 2095135"/>
              <a:gd name="csX74" fmla="*/ 489489 w 733006"/>
              <a:gd name="csY74" fmla="*/ 149547 h 2095135"/>
              <a:gd name="csX75" fmla="*/ 393621 w 733006"/>
              <a:gd name="csY75" fmla="*/ 99259 h 2095135"/>
              <a:gd name="csX76" fmla="*/ 390419 w 733006"/>
              <a:gd name="csY76" fmla="*/ 18568 h 2095135"/>
              <a:gd name="csX77" fmla="*/ 334131 w 733006"/>
              <a:gd name="csY77" fmla="*/ 24327 h 2095135"/>
              <a:gd name="csX78" fmla="*/ 344678 w 733006"/>
              <a:gd name="csY78" fmla="*/ 101259 h 2095135"/>
              <a:gd name="csX79" fmla="*/ 298854 w 733006"/>
              <a:gd name="csY79" fmla="*/ 114003 h 2095135"/>
              <a:gd name="csX80" fmla="*/ 237456 w 733006"/>
              <a:gd name="csY80" fmla="*/ 154340 h 2095135"/>
              <a:gd name="csX81" fmla="*/ 240382 w 733006"/>
              <a:gd name="csY81" fmla="*/ 154035 h 2095135"/>
              <a:gd name="csX82" fmla="*/ 262731 w 733006"/>
              <a:gd name="csY82" fmla="*/ 170426 h 2095135"/>
              <a:gd name="csX83" fmla="*/ 279169 w 733006"/>
              <a:gd name="csY83" fmla="*/ 193173 h 2095135"/>
              <a:gd name="csX84" fmla="*/ 327717 w 733006"/>
              <a:gd name="csY84" fmla="*/ 188556 h 2095135"/>
              <a:gd name="csX85" fmla="*/ 348052 w 733006"/>
              <a:gd name="csY85" fmla="*/ 156919 h 2095135"/>
              <a:gd name="csX86" fmla="*/ 380330 w 733006"/>
              <a:gd name="csY86" fmla="*/ 156483 h 2095135"/>
              <a:gd name="csX87" fmla="*/ 408490 w 733006"/>
              <a:gd name="csY87" fmla="*/ 195400 h 2095135"/>
              <a:gd name="csX88" fmla="*/ 445346 w 733006"/>
              <a:gd name="csY88" fmla="*/ 197582 h 2095135"/>
              <a:gd name="csX89" fmla="*/ 464798 w 733006"/>
              <a:gd name="csY89" fmla="*/ 174107 h 2095135"/>
              <a:gd name="csX90" fmla="*/ 489970 w 733006"/>
              <a:gd name="csY90" fmla="*/ 152208 h 2095135"/>
              <a:gd name="csX91" fmla="*/ 140694 w 733006"/>
              <a:gd name="csY91" fmla="*/ 201837 h 2095135"/>
              <a:gd name="csX92" fmla="*/ 139834 w 733006"/>
              <a:gd name="csY92" fmla="*/ 201482 h 2095135"/>
              <a:gd name="csX93" fmla="*/ 140812 w 733006"/>
              <a:gd name="csY93" fmla="*/ 204941 h 2095135"/>
              <a:gd name="csX94" fmla="*/ 144631 w 733006"/>
              <a:gd name="csY94" fmla="*/ 217811 h 2095135"/>
              <a:gd name="csX95" fmla="*/ 201241 w 733006"/>
              <a:gd name="csY95" fmla="*/ 373387 h 2095135"/>
              <a:gd name="csX96" fmla="*/ 235971 w 733006"/>
              <a:gd name="csY96" fmla="*/ 504451 h 2095135"/>
              <a:gd name="csX97" fmla="*/ 247475 w 733006"/>
              <a:gd name="csY97" fmla="*/ 513241 h 2095135"/>
              <a:gd name="csX98" fmla="*/ 289066 w 733006"/>
              <a:gd name="csY98" fmla="*/ 511170 h 2095135"/>
              <a:gd name="csX99" fmla="*/ 378229 w 733006"/>
              <a:gd name="csY99" fmla="*/ 511084 h 2095135"/>
              <a:gd name="csX100" fmla="*/ 470850 w 733006"/>
              <a:gd name="csY100" fmla="*/ 516341 h 2095135"/>
              <a:gd name="csX101" fmla="*/ 492933 w 733006"/>
              <a:gd name="csY101" fmla="*/ 497969 h 2095135"/>
              <a:gd name="csX102" fmla="*/ 557617 w 733006"/>
              <a:gd name="csY102" fmla="*/ 280398 h 2095135"/>
              <a:gd name="csX103" fmla="*/ 588788 w 733006"/>
              <a:gd name="csY103" fmla="*/ 200385 h 2095135"/>
              <a:gd name="csX104" fmla="*/ 530958 w 733006"/>
              <a:gd name="csY104" fmla="*/ 232968 h 2095135"/>
              <a:gd name="csX105" fmla="*/ 483823 w 733006"/>
              <a:gd name="csY105" fmla="*/ 190364 h 2095135"/>
              <a:gd name="csX106" fmla="*/ 466649 w 733006"/>
              <a:gd name="csY106" fmla="*/ 209061 h 2095135"/>
              <a:gd name="csX107" fmla="*/ 399941 w 733006"/>
              <a:gd name="csY107" fmla="*/ 216988 h 2095135"/>
              <a:gd name="csX108" fmla="*/ 363018 w 733006"/>
              <a:gd name="csY108" fmla="*/ 179615 h 2095135"/>
              <a:gd name="csX109" fmla="*/ 308839 w 733006"/>
              <a:gd name="csY109" fmla="*/ 227846 h 2095135"/>
              <a:gd name="csX110" fmla="*/ 245077 w 733006"/>
              <a:gd name="csY110" fmla="*/ 192402 h 2095135"/>
              <a:gd name="csX111" fmla="*/ 242829 w 733006"/>
              <a:gd name="csY111" fmla="*/ 198815 h 2095135"/>
              <a:gd name="csX112" fmla="*/ 168452 w 733006"/>
              <a:gd name="csY112" fmla="*/ 219348 h 2095135"/>
              <a:gd name="csX113" fmla="*/ 140694 w 733006"/>
              <a:gd name="csY113" fmla="*/ 201837 h 2095135"/>
              <a:gd name="csX114" fmla="*/ 259999 w 733006"/>
              <a:gd name="csY114" fmla="*/ 966699 h 2095135"/>
              <a:gd name="csX115" fmla="*/ 257072 w 733006"/>
              <a:gd name="csY115" fmla="*/ 1070424 h 2095135"/>
              <a:gd name="csX116" fmla="*/ 251372 w 733006"/>
              <a:gd name="csY116" fmla="*/ 1157618 h 2095135"/>
              <a:gd name="csX117" fmla="*/ 232677 w 733006"/>
              <a:gd name="csY117" fmla="*/ 1320279 h 2095135"/>
              <a:gd name="csX118" fmla="*/ 209182 w 733006"/>
              <a:gd name="csY118" fmla="*/ 1468667 h 2095135"/>
              <a:gd name="csX119" fmla="*/ 175302 w 733006"/>
              <a:gd name="csY119" fmla="*/ 1616623 h 2095135"/>
              <a:gd name="csX120" fmla="*/ 182769 w 733006"/>
              <a:gd name="csY120" fmla="*/ 1629786 h 2095135"/>
              <a:gd name="csX121" fmla="*/ 212156 w 733006"/>
              <a:gd name="csY121" fmla="*/ 1632656 h 2095135"/>
              <a:gd name="csX122" fmla="*/ 351295 w 733006"/>
              <a:gd name="csY122" fmla="*/ 1632801 h 2095135"/>
              <a:gd name="csX123" fmla="*/ 376150 w 733006"/>
              <a:gd name="csY123" fmla="*/ 1608307 h 2095135"/>
              <a:gd name="csX124" fmla="*/ 373450 w 733006"/>
              <a:gd name="csY124" fmla="*/ 1457291 h 2095135"/>
              <a:gd name="csX125" fmla="*/ 370936 w 733006"/>
              <a:gd name="csY125" fmla="*/ 1342736 h 2095135"/>
              <a:gd name="csX126" fmla="*/ 368328 w 733006"/>
              <a:gd name="csY126" fmla="*/ 1203878 h 2095135"/>
              <a:gd name="csX127" fmla="*/ 367836 w 733006"/>
              <a:gd name="csY127" fmla="*/ 813478 h 2095135"/>
              <a:gd name="csX128" fmla="*/ 365240 w 733006"/>
              <a:gd name="csY128" fmla="*/ 773243 h 2095135"/>
              <a:gd name="csX129" fmla="*/ 353084 w 733006"/>
              <a:gd name="csY129" fmla="*/ 762083 h 2095135"/>
              <a:gd name="csX130" fmla="*/ 280966 w 733006"/>
              <a:gd name="csY130" fmla="*/ 759855 h 2095135"/>
              <a:gd name="csX131" fmla="*/ 259965 w 733006"/>
              <a:gd name="csY131" fmla="*/ 779553 h 2095135"/>
              <a:gd name="csX132" fmla="*/ 262341 w 733006"/>
              <a:gd name="csY132" fmla="*/ 856275 h 2095135"/>
              <a:gd name="csX133" fmla="*/ 259999 w 733006"/>
              <a:gd name="csY133" fmla="*/ 966699 h 2095135"/>
              <a:gd name="csX134" fmla="*/ 55556 w 733006"/>
              <a:gd name="csY134" fmla="*/ 1835827 h 2095135"/>
              <a:gd name="csX135" fmla="*/ 49393 w 733006"/>
              <a:gd name="csY135" fmla="*/ 1878155 h 2095135"/>
              <a:gd name="csX136" fmla="*/ 73949 w 733006"/>
              <a:gd name="csY136" fmla="*/ 1905781 h 2095135"/>
              <a:gd name="csX137" fmla="*/ 110073 w 733006"/>
              <a:gd name="csY137" fmla="*/ 1909068 h 2095135"/>
              <a:gd name="csX138" fmla="*/ 224745 w 733006"/>
              <a:gd name="csY138" fmla="*/ 1921652 h 2095135"/>
              <a:gd name="csX139" fmla="*/ 347327 w 733006"/>
              <a:gd name="csY139" fmla="*/ 1924778 h 2095135"/>
              <a:gd name="csX140" fmla="*/ 363345 w 733006"/>
              <a:gd name="csY140" fmla="*/ 1923293 h 2095135"/>
              <a:gd name="csX141" fmla="*/ 373787 w 733006"/>
              <a:gd name="csY141" fmla="*/ 1911200 h 2095135"/>
              <a:gd name="csX142" fmla="*/ 376623 w 733006"/>
              <a:gd name="csY142" fmla="*/ 1696741 h 2095135"/>
              <a:gd name="csX143" fmla="*/ 360437 w 733006"/>
              <a:gd name="csY143" fmla="*/ 1681289 h 2095135"/>
              <a:gd name="csX144" fmla="*/ 263503 w 733006"/>
              <a:gd name="csY144" fmla="*/ 1678179 h 2095135"/>
              <a:gd name="csX145" fmla="*/ 160381 w 733006"/>
              <a:gd name="csY145" fmla="*/ 1670405 h 2095135"/>
              <a:gd name="csX146" fmla="*/ 143321 w 733006"/>
              <a:gd name="csY146" fmla="*/ 1685538 h 2095135"/>
              <a:gd name="csX147" fmla="*/ 124769 w 733006"/>
              <a:gd name="csY147" fmla="*/ 1738195 h 2095135"/>
              <a:gd name="csX148" fmla="*/ 90593 w 733006"/>
              <a:gd name="csY148" fmla="*/ 1779570 h 2095135"/>
              <a:gd name="csX149" fmla="*/ 55556 w 733006"/>
              <a:gd name="csY149" fmla="*/ 1835827 h 2095135"/>
              <a:gd name="csX150" fmla="*/ 378900 w 733006"/>
              <a:gd name="csY150" fmla="*/ 2007280 h 2095135"/>
              <a:gd name="csX151" fmla="*/ 378887 w 733006"/>
              <a:gd name="csY151" fmla="*/ 1995127 h 2095135"/>
              <a:gd name="csX152" fmla="*/ 359084 w 733006"/>
              <a:gd name="csY152" fmla="*/ 1975964 h 2095135"/>
              <a:gd name="csX153" fmla="*/ 247288 w 733006"/>
              <a:gd name="csY153" fmla="*/ 1973305 h 2095135"/>
              <a:gd name="csX154" fmla="*/ 201692 w 733006"/>
              <a:gd name="csY154" fmla="*/ 1970275 h 2095135"/>
              <a:gd name="csX155" fmla="*/ 57962 w 733006"/>
              <a:gd name="csY155" fmla="*/ 1952648 h 2095135"/>
              <a:gd name="csX156" fmla="*/ 39194 w 733006"/>
              <a:gd name="csY156" fmla="*/ 1963552 h 2095135"/>
              <a:gd name="csX157" fmla="*/ 30066 w 733006"/>
              <a:gd name="csY157" fmla="*/ 2006631 h 2095135"/>
              <a:gd name="csX158" fmla="*/ 40232 w 733006"/>
              <a:gd name="csY158" fmla="*/ 2019486 h 2095135"/>
              <a:gd name="csX159" fmla="*/ 238186 w 733006"/>
              <a:gd name="csY159" fmla="*/ 2046096 h 2095135"/>
              <a:gd name="csX160" fmla="*/ 342155 w 733006"/>
              <a:gd name="csY160" fmla="*/ 2046441 h 2095135"/>
              <a:gd name="csX161" fmla="*/ 378900 w 733006"/>
              <a:gd name="csY161" fmla="*/ 2007280 h 2095135"/>
              <a:gd name="csX162" fmla="*/ 310220 w 733006"/>
              <a:gd name="csY162" fmla="*/ 554288 h 2095135"/>
              <a:gd name="csX163" fmla="*/ 259136 w 733006"/>
              <a:gd name="csY163" fmla="*/ 556881 h 2095135"/>
              <a:gd name="csX164" fmla="*/ 249085 w 733006"/>
              <a:gd name="csY164" fmla="*/ 567981 h 2095135"/>
              <a:gd name="csX165" fmla="*/ 249141 w 733006"/>
              <a:gd name="csY165" fmla="*/ 605644 h 2095135"/>
              <a:gd name="csX166" fmla="*/ 262628 w 733006"/>
              <a:gd name="csY166" fmla="*/ 605627 h 2095135"/>
              <a:gd name="csX167" fmla="*/ 369608 w 733006"/>
              <a:gd name="csY167" fmla="*/ 603027 h 2095135"/>
              <a:gd name="csX168" fmla="*/ 463931 w 733006"/>
              <a:gd name="csY168" fmla="*/ 605146 h 2095135"/>
              <a:gd name="csX169" fmla="*/ 478113 w 733006"/>
              <a:gd name="csY169" fmla="*/ 595843 h 2095135"/>
              <a:gd name="csX170" fmla="*/ 478796 w 733006"/>
              <a:gd name="csY170" fmla="*/ 556832 h 2095135"/>
              <a:gd name="csX171" fmla="*/ 310220 w 733006"/>
              <a:gd name="csY171" fmla="*/ 554288 h 2095135"/>
              <a:gd name="csX172" fmla="*/ 348836 w 733006"/>
              <a:gd name="csY172" fmla="*/ 684115 h 2095135"/>
              <a:gd name="csX173" fmla="*/ 281333 w 733006"/>
              <a:gd name="csY173" fmla="*/ 683313 h 2095135"/>
              <a:gd name="csX174" fmla="*/ 212728 w 733006"/>
              <a:gd name="csY174" fmla="*/ 681931 h 2095135"/>
              <a:gd name="csX175" fmla="*/ 187283 w 733006"/>
              <a:gd name="csY175" fmla="*/ 689555 h 2095135"/>
              <a:gd name="csX176" fmla="*/ 186163 w 733006"/>
              <a:gd name="csY176" fmla="*/ 718266 h 2095135"/>
              <a:gd name="csX177" fmla="*/ 209894 w 733006"/>
              <a:gd name="csY177" fmla="*/ 726798 h 2095135"/>
              <a:gd name="csX178" fmla="*/ 334814 w 733006"/>
              <a:gd name="csY178" fmla="*/ 732494 h 2095135"/>
              <a:gd name="csX179" fmla="*/ 364856 w 733006"/>
              <a:gd name="csY179" fmla="*/ 707963 h 2095135"/>
              <a:gd name="csX180" fmla="*/ 348836 w 733006"/>
              <a:gd name="csY180" fmla="*/ 684115 h 2095135"/>
              <a:gd name="csX181" fmla="*/ 298865 w 733006"/>
              <a:gd name="csY181" fmla="*/ 621954 h 2095135"/>
              <a:gd name="csX182" fmla="*/ 251619 w 733006"/>
              <a:gd name="csY182" fmla="*/ 622133 h 2095135"/>
              <a:gd name="csX183" fmla="*/ 214459 w 733006"/>
              <a:gd name="csY183" fmla="*/ 636230 h 2095135"/>
              <a:gd name="csX184" fmla="*/ 221436 w 733006"/>
              <a:gd name="csY184" fmla="*/ 654205 h 2095135"/>
              <a:gd name="csX185" fmla="*/ 272412 w 733006"/>
              <a:gd name="csY185" fmla="*/ 657250 h 2095135"/>
              <a:gd name="csX186" fmla="*/ 349094 w 733006"/>
              <a:gd name="csY186" fmla="*/ 659282 h 2095135"/>
              <a:gd name="csX187" fmla="*/ 362996 w 733006"/>
              <a:gd name="csY187" fmla="*/ 644234 h 2095135"/>
              <a:gd name="csX188" fmla="*/ 348472 w 733006"/>
              <a:gd name="csY188" fmla="*/ 624649 h 2095135"/>
              <a:gd name="csX189" fmla="*/ 298865 w 733006"/>
              <a:gd name="csY189" fmla="*/ 621954 h 2095135"/>
              <a:gd name="csX190" fmla="*/ 227796 w 733006"/>
              <a:gd name="csY190" fmla="*/ 528000 h 2095135"/>
              <a:gd name="csX191" fmla="*/ 241009 w 733006"/>
              <a:gd name="csY191" fmla="*/ 545897 h 2095135"/>
              <a:gd name="csX192" fmla="*/ 282607 w 733006"/>
              <a:gd name="csY192" fmla="*/ 543480 h 2095135"/>
              <a:gd name="csX193" fmla="*/ 354213 w 733006"/>
              <a:gd name="csY193" fmla="*/ 543384 h 2095135"/>
              <a:gd name="csX194" fmla="*/ 365334 w 733006"/>
              <a:gd name="csY194" fmla="*/ 533397 h 2095135"/>
              <a:gd name="csX195" fmla="*/ 354531 w 733006"/>
              <a:gd name="csY195" fmla="*/ 521620 h 2095135"/>
              <a:gd name="csX196" fmla="*/ 259169 w 733006"/>
              <a:gd name="csY196" fmla="*/ 521978 h 2095135"/>
              <a:gd name="csX197" fmla="*/ 227796 w 733006"/>
              <a:gd name="csY197" fmla="*/ 528000 h 2095135"/>
              <a:gd name="csX198" fmla="*/ 508068 w 733006"/>
              <a:gd name="csY198" fmla="*/ 190710 h 2095135"/>
              <a:gd name="csX199" fmla="*/ 521293 w 733006"/>
              <a:gd name="csY199" fmla="*/ 205907 h 2095135"/>
              <a:gd name="csX200" fmla="*/ 525175 w 733006"/>
              <a:gd name="csY200" fmla="*/ 202985 h 2095135"/>
              <a:gd name="csX201" fmla="*/ 500276 w 733006"/>
              <a:gd name="csY201" fmla="*/ 160640 h 2095135"/>
              <a:gd name="csX202" fmla="*/ 497122 w 733006"/>
              <a:gd name="csY202" fmla="*/ 162007 h 2095135"/>
              <a:gd name="csX203" fmla="*/ 508068 w 733006"/>
              <a:gd name="csY203" fmla="*/ 190710 h 2095135"/>
              <a:gd name="csX204" fmla="*/ 215522 w 733006"/>
              <a:gd name="csY204" fmla="*/ 197296 h 2095135"/>
              <a:gd name="csX205" fmla="*/ 234029 w 733006"/>
              <a:gd name="csY205" fmla="*/ 162725 h 2095135"/>
              <a:gd name="csX206" fmla="*/ 229000 w 733006"/>
              <a:gd name="csY206" fmla="*/ 159902 h 2095135"/>
              <a:gd name="csX207" fmla="*/ 204824 w 733006"/>
              <a:gd name="csY207" fmla="*/ 199677 h 2095135"/>
              <a:gd name="csX208" fmla="*/ 207990 w 733006"/>
              <a:gd name="csY208" fmla="*/ 202198 h 2095135"/>
              <a:gd name="csX209" fmla="*/ 215522 w 733006"/>
              <a:gd name="csY209" fmla="*/ 197296 h 2095135"/>
              <a:gd name="csX210" fmla="*/ 484400 w 733006"/>
              <a:gd name="csY210" fmla="*/ 896678 h 2095135"/>
              <a:gd name="csX211" fmla="*/ 486181 w 733006"/>
              <a:gd name="csY211" fmla="*/ 896585 h 2095135"/>
              <a:gd name="csX212" fmla="*/ 486181 w 733006"/>
              <a:gd name="csY212" fmla="*/ 795289 h 2095135"/>
              <a:gd name="csX213" fmla="*/ 720241 w 733006"/>
              <a:gd name="csY213" fmla="*/ 2030666 h 2095135"/>
              <a:gd name="csX214" fmla="*/ 721175 w 733006"/>
              <a:gd name="csY214" fmla="*/ 2029733 h 2095135"/>
              <a:gd name="csX215" fmla="*/ 720241 w 733006"/>
              <a:gd name="csY215" fmla="*/ 2030666 h 2095135"/>
              <a:gd name="csX216" fmla="*/ 715702 w 733006"/>
              <a:gd name="csY216" fmla="*/ 2037051 h 2095135"/>
              <a:gd name="csX217" fmla="*/ 715702 w 733006"/>
              <a:gd name="csY217" fmla="*/ 2037051 h 2095135"/>
              <a:gd name="csX0" fmla="*/ 96263 w 733006"/>
              <a:gd name="csY0" fmla="*/ 2076207 h 2095135"/>
              <a:gd name="csX1" fmla="*/ 63862 w 733006"/>
              <a:gd name="csY1" fmla="*/ 2065388 h 2095135"/>
              <a:gd name="csX2" fmla="*/ 16555 w 733006"/>
              <a:gd name="csY2" fmla="*/ 2050152 h 2095135"/>
              <a:gd name="csX3" fmla="*/ 15 w 733006"/>
              <a:gd name="csY3" fmla="*/ 2023802 h 2095135"/>
              <a:gd name="csX4" fmla="*/ 18368 w 733006"/>
              <a:gd name="csY4" fmla="*/ 1940709 h 2095135"/>
              <a:gd name="csX5" fmla="*/ 22139 w 733006"/>
              <a:gd name="csY5" fmla="*/ 1907268 h 2095135"/>
              <a:gd name="csX6" fmla="*/ 57941 w 733006"/>
              <a:gd name="csY6" fmla="*/ 1774163 h 2095135"/>
              <a:gd name="csX7" fmla="*/ 102478 w 733006"/>
              <a:gd name="csY7" fmla="*/ 1720275 h 2095135"/>
              <a:gd name="csX8" fmla="*/ 108579 w 733006"/>
              <a:gd name="csY8" fmla="*/ 1650967 h 2095135"/>
              <a:gd name="csX9" fmla="*/ 115628 w 733006"/>
              <a:gd name="csY9" fmla="*/ 1625405 h 2095135"/>
              <a:gd name="csX10" fmla="*/ 156323 w 733006"/>
              <a:gd name="csY10" fmla="*/ 1560181 h 2095135"/>
              <a:gd name="csX11" fmla="*/ 199424 w 733006"/>
              <a:gd name="csY11" fmla="*/ 1364729 h 2095135"/>
              <a:gd name="csX12" fmla="*/ 216779 w 733006"/>
              <a:gd name="csY12" fmla="*/ 1219490 h 2095135"/>
              <a:gd name="csX13" fmla="*/ 229755 w 733006"/>
              <a:gd name="csY13" fmla="*/ 1099357 h 2095135"/>
              <a:gd name="csX14" fmla="*/ 232707 w 733006"/>
              <a:gd name="csY14" fmla="*/ 1056423 h 2095135"/>
              <a:gd name="csX15" fmla="*/ 235622 w 733006"/>
              <a:gd name="csY15" fmla="*/ 952675 h 2095135"/>
              <a:gd name="csX16" fmla="*/ 235445 w 733006"/>
              <a:gd name="csY16" fmla="*/ 780278 h 2095135"/>
              <a:gd name="csX17" fmla="*/ 214544 w 733006"/>
              <a:gd name="csY17" fmla="*/ 756435 h 2095135"/>
              <a:gd name="csX18" fmla="*/ 172569 w 733006"/>
              <a:gd name="csY18" fmla="*/ 742582 h 2095135"/>
              <a:gd name="csX19" fmla="*/ 168784 w 733006"/>
              <a:gd name="csY19" fmla="*/ 669116 h 2095135"/>
              <a:gd name="csX20" fmla="*/ 191657 w 733006"/>
              <a:gd name="csY20" fmla="*/ 630765 h 2095135"/>
              <a:gd name="csX21" fmla="*/ 208150 w 733006"/>
              <a:gd name="csY21" fmla="*/ 609084 h 2095135"/>
              <a:gd name="csX22" fmla="*/ 216756 w 733006"/>
              <a:gd name="csY22" fmla="*/ 558673 h 2095135"/>
              <a:gd name="csX23" fmla="*/ 209092 w 733006"/>
              <a:gd name="csY23" fmla="*/ 521540 h 2095135"/>
              <a:gd name="csX24" fmla="*/ 204683 w 733006"/>
              <a:gd name="csY24" fmla="*/ 474024 h 2095135"/>
              <a:gd name="csX25" fmla="*/ 115483 w 733006"/>
              <a:gd name="csY25" fmla="*/ 213499 h 2095135"/>
              <a:gd name="csX26" fmla="*/ 102909 w 733006"/>
              <a:gd name="csY26" fmla="*/ 182297 h 2095135"/>
              <a:gd name="csX27" fmla="*/ 104315 w 733006"/>
              <a:gd name="csY27" fmla="*/ 163968 h 2095135"/>
              <a:gd name="csX28" fmla="*/ 122444 w 733006"/>
              <a:gd name="csY28" fmla="*/ 160805 h 2095135"/>
              <a:gd name="csX29" fmla="*/ 170283 w 733006"/>
              <a:gd name="csY29" fmla="*/ 187783 h 2095135"/>
              <a:gd name="csX30" fmla="*/ 180938 w 733006"/>
              <a:gd name="csY30" fmla="*/ 195322 h 2095135"/>
              <a:gd name="csX31" fmla="*/ 221419 w 733006"/>
              <a:gd name="csY31" fmla="*/ 138058 h 2095135"/>
              <a:gd name="csX32" fmla="*/ 294099 w 733006"/>
              <a:gd name="csY32" fmla="*/ 91372 h 2095135"/>
              <a:gd name="csX33" fmla="*/ 302307 w 733006"/>
              <a:gd name="csY33" fmla="*/ 76560 h 2095135"/>
              <a:gd name="csX34" fmla="*/ 320284 w 733006"/>
              <a:gd name="csY34" fmla="*/ 8414 h 2095135"/>
              <a:gd name="csX35" fmla="*/ 324784 w 733006"/>
              <a:gd name="csY35" fmla="*/ 946 h 2095135"/>
              <a:gd name="csX36" fmla="*/ 399212 w 733006"/>
              <a:gd name="csY36" fmla="*/ 0 h 2095135"/>
              <a:gd name="csX37" fmla="*/ 425980 w 733006"/>
              <a:gd name="csY37" fmla="*/ 78301 h 2095135"/>
              <a:gd name="csX38" fmla="*/ 431861 w 733006"/>
              <a:gd name="csY38" fmla="*/ 90312 h 2095135"/>
              <a:gd name="csX39" fmla="*/ 540349 w 733006"/>
              <a:gd name="csY39" fmla="*/ 187946 h 2095135"/>
              <a:gd name="csX40" fmla="*/ 545555 w 733006"/>
              <a:gd name="csY40" fmla="*/ 197828 h 2095135"/>
              <a:gd name="csX41" fmla="*/ 587318 w 733006"/>
              <a:gd name="csY41" fmla="*/ 171260 h 2095135"/>
              <a:gd name="csX42" fmla="*/ 601503 w 733006"/>
              <a:gd name="csY42" fmla="*/ 163707 h 2095135"/>
              <a:gd name="csX43" fmla="*/ 625254 w 733006"/>
              <a:gd name="csY43" fmla="*/ 163123 h 2095135"/>
              <a:gd name="csX44" fmla="*/ 625468 w 733006"/>
              <a:gd name="csY44" fmla="*/ 187579 h 2095135"/>
              <a:gd name="csX45" fmla="*/ 597543 w 733006"/>
              <a:gd name="csY45" fmla="*/ 251872 h 2095135"/>
              <a:gd name="csX46" fmla="*/ 531831 w 733006"/>
              <a:gd name="csY46" fmla="*/ 442689 h 2095135"/>
              <a:gd name="csX47" fmla="*/ 519888 w 733006"/>
              <a:gd name="csY47" fmla="*/ 501474 h 2095135"/>
              <a:gd name="csX48" fmla="*/ 522506 w 733006"/>
              <a:gd name="csY48" fmla="*/ 525086 h 2095135"/>
              <a:gd name="csX49" fmla="*/ 516235 w 733006"/>
              <a:gd name="csY49" fmla="*/ 555946 h 2095135"/>
              <a:gd name="csX50" fmla="*/ 521332 w 733006"/>
              <a:gd name="csY50" fmla="*/ 610676 h 2095135"/>
              <a:gd name="csX51" fmla="*/ 541382 w 733006"/>
              <a:gd name="csY51" fmla="*/ 642597 h 2095135"/>
              <a:gd name="csX52" fmla="*/ 557031 w 733006"/>
              <a:gd name="csY52" fmla="*/ 667949 h 2095135"/>
              <a:gd name="csX53" fmla="*/ 553994 w 733006"/>
              <a:gd name="csY53" fmla="*/ 744146 h 2095135"/>
              <a:gd name="csX54" fmla="*/ 508215 w 733006"/>
              <a:gd name="csY54" fmla="*/ 758841 h 2095135"/>
              <a:gd name="csX55" fmla="*/ 497442 w 733006"/>
              <a:gd name="csY55" fmla="*/ 771256 h 2095135"/>
              <a:gd name="csX56" fmla="*/ 493005 w 733006"/>
              <a:gd name="csY56" fmla="*/ 922055 h 2095135"/>
              <a:gd name="csX57" fmla="*/ 502900 w 733006"/>
              <a:gd name="csY57" fmla="*/ 1114191 h 2095135"/>
              <a:gd name="csX58" fmla="*/ 508800 w 733006"/>
              <a:gd name="csY58" fmla="*/ 1205474 h 2095135"/>
              <a:gd name="csX59" fmla="*/ 522952 w 733006"/>
              <a:gd name="csY59" fmla="*/ 1320065 h 2095135"/>
              <a:gd name="csX60" fmla="*/ 554682 w 733006"/>
              <a:gd name="csY60" fmla="*/ 1501203 h 2095135"/>
              <a:gd name="csX61" fmla="*/ 576958 w 733006"/>
              <a:gd name="csY61" fmla="*/ 1593963 h 2095135"/>
              <a:gd name="csX62" fmla="*/ 595349 w 733006"/>
              <a:gd name="csY62" fmla="*/ 1613498 h 2095135"/>
              <a:gd name="csX63" fmla="*/ 613936 w 733006"/>
              <a:gd name="csY63" fmla="*/ 1624058 h 2095135"/>
              <a:gd name="csX64" fmla="*/ 620938 w 733006"/>
              <a:gd name="csY64" fmla="*/ 1652071 h 2095135"/>
              <a:gd name="csX65" fmla="*/ 630805 w 733006"/>
              <a:gd name="csY65" fmla="*/ 1721702 h 2095135"/>
              <a:gd name="csX66" fmla="*/ 685830 w 733006"/>
              <a:gd name="csY66" fmla="*/ 1792915 h 2095135"/>
              <a:gd name="csX67" fmla="*/ 708904 w 733006"/>
              <a:gd name="csY67" fmla="*/ 1890290 h 2095135"/>
              <a:gd name="csX68" fmla="*/ 716580 w 733006"/>
              <a:gd name="csY68" fmla="*/ 1951136 h 2095135"/>
              <a:gd name="csX69" fmla="*/ 729397 w 733006"/>
              <a:gd name="csY69" fmla="*/ 2030261 h 2095135"/>
              <a:gd name="csX70" fmla="*/ 714212 w 733006"/>
              <a:gd name="csY70" fmla="*/ 2049544 h 2095135"/>
              <a:gd name="csX71" fmla="*/ 96263 w 733006"/>
              <a:gd name="csY71" fmla="*/ 2076207 h 2095135"/>
              <a:gd name="csX72" fmla="*/ 489970 w 733006"/>
              <a:gd name="csY72" fmla="*/ 152208 h 2095135"/>
              <a:gd name="csX73" fmla="*/ 490754 w 733006"/>
              <a:gd name="csY73" fmla="*/ 152592 h 2095135"/>
              <a:gd name="csX74" fmla="*/ 489489 w 733006"/>
              <a:gd name="csY74" fmla="*/ 149547 h 2095135"/>
              <a:gd name="csX75" fmla="*/ 393621 w 733006"/>
              <a:gd name="csY75" fmla="*/ 99259 h 2095135"/>
              <a:gd name="csX76" fmla="*/ 390419 w 733006"/>
              <a:gd name="csY76" fmla="*/ 18568 h 2095135"/>
              <a:gd name="csX77" fmla="*/ 334131 w 733006"/>
              <a:gd name="csY77" fmla="*/ 24327 h 2095135"/>
              <a:gd name="csX78" fmla="*/ 344678 w 733006"/>
              <a:gd name="csY78" fmla="*/ 101259 h 2095135"/>
              <a:gd name="csX79" fmla="*/ 298854 w 733006"/>
              <a:gd name="csY79" fmla="*/ 114003 h 2095135"/>
              <a:gd name="csX80" fmla="*/ 237456 w 733006"/>
              <a:gd name="csY80" fmla="*/ 154340 h 2095135"/>
              <a:gd name="csX81" fmla="*/ 240382 w 733006"/>
              <a:gd name="csY81" fmla="*/ 154035 h 2095135"/>
              <a:gd name="csX82" fmla="*/ 262731 w 733006"/>
              <a:gd name="csY82" fmla="*/ 170426 h 2095135"/>
              <a:gd name="csX83" fmla="*/ 279169 w 733006"/>
              <a:gd name="csY83" fmla="*/ 193173 h 2095135"/>
              <a:gd name="csX84" fmla="*/ 327717 w 733006"/>
              <a:gd name="csY84" fmla="*/ 188556 h 2095135"/>
              <a:gd name="csX85" fmla="*/ 348052 w 733006"/>
              <a:gd name="csY85" fmla="*/ 156919 h 2095135"/>
              <a:gd name="csX86" fmla="*/ 380330 w 733006"/>
              <a:gd name="csY86" fmla="*/ 156483 h 2095135"/>
              <a:gd name="csX87" fmla="*/ 408490 w 733006"/>
              <a:gd name="csY87" fmla="*/ 195400 h 2095135"/>
              <a:gd name="csX88" fmla="*/ 445346 w 733006"/>
              <a:gd name="csY88" fmla="*/ 197582 h 2095135"/>
              <a:gd name="csX89" fmla="*/ 464798 w 733006"/>
              <a:gd name="csY89" fmla="*/ 174107 h 2095135"/>
              <a:gd name="csX90" fmla="*/ 489970 w 733006"/>
              <a:gd name="csY90" fmla="*/ 152208 h 2095135"/>
              <a:gd name="csX91" fmla="*/ 140694 w 733006"/>
              <a:gd name="csY91" fmla="*/ 201837 h 2095135"/>
              <a:gd name="csX92" fmla="*/ 139834 w 733006"/>
              <a:gd name="csY92" fmla="*/ 201482 h 2095135"/>
              <a:gd name="csX93" fmla="*/ 140812 w 733006"/>
              <a:gd name="csY93" fmla="*/ 204941 h 2095135"/>
              <a:gd name="csX94" fmla="*/ 144631 w 733006"/>
              <a:gd name="csY94" fmla="*/ 217811 h 2095135"/>
              <a:gd name="csX95" fmla="*/ 201241 w 733006"/>
              <a:gd name="csY95" fmla="*/ 373387 h 2095135"/>
              <a:gd name="csX96" fmla="*/ 235971 w 733006"/>
              <a:gd name="csY96" fmla="*/ 504451 h 2095135"/>
              <a:gd name="csX97" fmla="*/ 247475 w 733006"/>
              <a:gd name="csY97" fmla="*/ 513241 h 2095135"/>
              <a:gd name="csX98" fmla="*/ 289066 w 733006"/>
              <a:gd name="csY98" fmla="*/ 511170 h 2095135"/>
              <a:gd name="csX99" fmla="*/ 378229 w 733006"/>
              <a:gd name="csY99" fmla="*/ 511084 h 2095135"/>
              <a:gd name="csX100" fmla="*/ 470850 w 733006"/>
              <a:gd name="csY100" fmla="*/ 516341 h 2095135"/>
              <a:gd name="csX101" fmla="*/ 492933 w 733006"/>
              <a:gd name="csY101" fmla="*/ 497969 h 2095135"/>
              <a:gd name="csX102" fmla="*/ 557617 w 733006"/>
              <a:gd name="csY102" fmla="*/ 280398 h 2095135"/>
              <a:gd name="csX103" fmla="*/ 588788 w 733006"/>
              <a:gd name="csY103" fmla="*/ 200385 h 2095135"/>
              <a:gd name="csX104" fmla="*/ 530958 w 733006"/>
              <a:gd name="csY104" fmla="*/ 232968 h 2095135"/>
              <a:gd name="csX105" fmla="*/ 483823 w 733006"/>
              <a:gd name="csY105" fmla="*/ 190364 h 2095135"/>
              <a:gd name="csX106" fmla="*/ 466649 w 733006"/>
              <a:gd name="csY106" fmla="*/ 209061 h 2095135"/>
              <a:gd name="csX107" fmla="*/ 399941 w 733006"/>
              <a:gd name="csY107" fmla="*/ 216988 h 2095135"/>
              <a:gd name="csX108" fmla="*/ 363018 w 733006"/>
              <a:gd name="csY108" fmla="*/ 179615 h 2095135"/>
              <a:gd name="csX109" fmla="*/ 308839 w 733006"/>
              <a:gd name="csY109" fmla="*/ 227846 h 2095135"/>
              <a:gd name="csX110" fmla="*/ 245077 w 733006"/>
              <a:gd name="csY110" fmla="*/ 192402 h 2095135"/>
              <a:gd name="csX111" fmla="*/ 242829 w 733006"/>
              <a:gd name="csY111" fmla="*/ 198815 h 2095135"/>
              <a:gd name="csX112" fmla="*/ 168452 w 733006"/>
              <a:gd name="csY112" fmla="*/ 219348 h 2095135"/>
              <a:gd name="csX113" fmla="*/ 140694 w 733006"/>
              <a:gd name="csY113" fmla="*/ 201837 h 2095135"/>
              <a:gd name="csX114" fmla="*/ 259999 w 733006"/>
              <a:gd name="csY114" fmla="*/ 966699 h 2095135"/>
              <a:gd name="csX115" fmla="*/ 257072 w 733006"/>
              <a:gd name="csY115" fmla="*/ 1070424 h 2095135"/>
              <a:gd name="csX116" fmla="*/ 251372 w 733006"/>
              <a:gd name="csY116" fmla="*/ 1157618 h 2095135"/>
              <a:gd name="csX117" fmla="*/ 232677 w 733006"/>
              <a:gd name="csY117" fmla="*/ 1320279 h 2095135"/>
              <a:gd name="csX118" fmla="*/ 209182 w 733006"/>
              <a:gd name="csY118" fmla="*/ 1468667 h 2095135"/>
              <a:gd name="csX119" fmla="*/ 175302 w 733006"/>
              <a:gd name="csY119" fmla="*/ 1616623 h 2095135"/>
              <a:gd name="csX120" fmla="*/ 182769 w 733006"/>
              <a:gd name="csY120" fmla="*/ 1629786 h 2095135"/>
              <a:gd name="csX121" fmla="*/ 212156 w 733006"/>
              <a:gd name="csY121" fmla="*/ 1632656 h 2095135"/>
              <a:gd name="csX122" fmla="*/ 351295 w 733006"/>
              <a:gd name="csY122" fmla="*/ 1632801 h 2095135"/>
              <a:gd name="csX123" fmla="*/ 376150 w 733006"/>
              <a:gd name="csY123" fmla="*/ 1608307 h 2095135"/>
              <a:gd name="csX124" fmla="*/ 373450 w 733006"/>
              <a:gd name="csY124" fmla="*/ 1457291 h 2095135"/>
              <a:gd name="csX125" fmla="*/ 370936 w 733006"/>
              <a:gd name="csY125" fmla="*/ 1342736 h 2095135"/>
              <a:gd name="csX126" fmla="*/ 368328 w 733006"/>
              <a:gd name="csY126" fmla="*/ 1203878 h 2095135"/>
              <a:gd name="csX127" fmla="*/ 367836 w 733006"/>
              <a:gd name="csY127" fmla="*/ 813478 h 2095135"/>
              <a:gd name="csX128" fmla="*/ 365240 w 733006"/>
              <a:gd name="csY128" fmla="*/ 773243 h 2095135"/>
              <a:gd name="csX129" fmla="*/ 353084 w 733006"/>
              <a:gd name="csY129" fmla="*/ 762083 h 2095135"/>
              <a:gd name="csX130" fmla="*/ 280966 w 733006"/>
              <a:gd name="csY130" fmla="*/ 759855 h 2095135"/>
              <a:gd name="csX131" fmla="*/ 259965 w 733006"/>
              <a:gd name="csY131" fmla="*/ 779553 h 2095135"/>
              <a:gd name="csX132" fmla="*/ 262341 w 733006"/>
              <a:gd name="csY132" fmla="*/ 856275 h 2095135"/>
              <a:gd name="csX133" fmla="*/ 259999 w 733006"/>
              <a:gd name="csY133" fmla="*/ 966699 h 2095135"/>
              <a:gd name="csX134" fmla="*/ 55556 w 733006"/>
              <a:gd name="csY134" fmla="*/ 1835827 h 2095135"/>
              <a:gd name="csX135" fmla="*/ 49393 w 733006"/>
              <a:gd name="csY135" fmla="*/ 1878155 h 2095135"/>
              <a:gd name="csX136" fmla="*/ 73949 w 733006"/>
              <a:gd name="csY136" fmla="*/ 1905781 h 2095135"/>
              <a:gd name="csX137" fmla="*/ 110073 w 733006"/>
              <a:gd name="csY137" fmla="*/ 1909068 h 2095135"/>
              <a:gd name="csX138" fmla="*/ 224745 w 733006"/>
              <a:gd name="csY138" fmla="*/ 1921652 h 2095135"/>
              <a:gd name="csX139" fmla="*/ 347327 w 733006"/>
              <a:gd name="csY139" fmla="*/ 1924778 h 2095135"/>
              <a:gd name="csX140" fmla="*/ 363345 w 733006"/>
              <a:gd name="csY140" fmla="*/ 1923293 h 2095135"/>
              <a:gd name="csX141" fmla="*/ 373787 w 733006"/>
              <a:gd name="csY141" fmla="*/ 1911200 h 2095135"/>
              <a:gd name="csX142" fmla="*/ 376623 w 733006"/>
              <a:gd name="csY142" fmla="*/ 1696741 h 2095135"/>
              <a:gd name="csX143" fmla="*/ 360437 w 733006"/>
              <a:gd name="csY143" fmla="*/ 1681289 h 2095135"/>
              <a:gd name="csX144" fmla="*/ 263503 w 733006"/>
              <a:gd name="csY144" fmla="*/ 1678179 h 2095135"/>
              <a:gd name="csX145" fmla="*/ 160381 w 733006"/>
              <a:gd name="csY145" fmla="*/ 1670405 h 2095135"/>
              <a:gd name="csX146" fmla="*/ 143321 w 733006"/>
              <a:gd name="csY146" fmla="*/ 1685538 h 2095135"/>
              <a:gd name="csX147" fmla="*/ 124769 w 733006"/>
              <a:gd name="csY147" fmla="*/ 1738195 h 2095135"/>
              <a:gd name="csX148" fmla="*/ 90593 w 733006"/>
              <a:gd name="csY148" fmla="*/ 1779570 h 2095135"/>
              <a:gd name="csX149" fmla="*/ 55556 w 733006"/>
              <a:gd name="csY149" fmla="*/ 1835827 h 2095135"/>
              <a:gd name="csX150" fmla="*/ 378900 w 733006"/>
              <a:gd name="csY150" fmla="*/ 2007280 h 2095135"/>
              <a:gd name="csX151" fmla="*/ 378887 w 733006"/>
              <a:gd name="csY151" fmla="*/ 1995127 h 2095135"/>
              <a:gd name="csX152" fmla="*/ 359084 w 733006"/>
              <a:gd name="csY152" fmla="*/ 1975964 h 2095135"/>
              <a:gd name="csX153" fmla="*/ 247288 w 733006"/>
              <a:gd name="csY153" fmla="*/ 1973305 h 2095135"/>
              <a:gd name="csX154" fmla="*/ 201692 w 733006"/>
              <a:gd name="csY154" fmla="*/ 1970275 h 2095135"/>
              <a:gd name="csX155" fmla="*/ 57962 w 733006"/>
              <a:gd name="csY155" fmla="*/ 1952648 h 2095135"/>
              <a:gd name="csX156" fmla="*/ 39194 w 733006"/>
              <a:gd name="csY156" fmla="*/ 1963552 h 2095135"/>
              <a:gd name="csX157" fmla="*/ 30066 w 733006"/>
              <a:gd name="csY157" fmla="*/ 2006631 h 2095135"/>
              <a:gd name="csX158" fmla="*/ 40232 w 733006"/>
              <a:gd name="csY158" fmla="*/ 2019486 h 2095135"/>
              <a:gd name="csX159" fmla="*/ 238186 w 733006"/>
              <a:gd name="csY159" fmla="*/ 2046096 h 2095135"/>
              <a:gd name="csX160" fmla="*/ 342155 w 733006"/>
              <a:gd name="csY160" fmla="*/ 2046441 h 2095135"/>
              <a:gd name="csX161" fmla="*/ 378900 w 733006"/>
              <a:gd name="csY161" fmla="*/ 2007280 h 2095135"/>
              <a:gd name="csX162" fmla="*/ 310220 w 733006"/>
              <a:gd name="csY162" fmla="*/ 554288 h 2095135"/>
              <a:gd name="csX163" fmla="*/ 259136 w 733006"/>
              <a:gd name="csY163" fmla="*/ 556881 h 2095135"/>
              <a:gd name="csX164" fmla="*/ 249085 w 733006"/>
              <a:gd name="csY164" fmla="*/ 567981 h 2095135"/>
              <a:gd name="csX165" fmla="*/ 249141 w 733006"/>
              <a:gd name="csY165" fmla="*/ 605644 h 2095135"/>
              <a:gd name="csX166" fmla="*/ 262628 w 733006"/>
              <a:gd name="csY166" fmla="*/ 605627 h 2095135"/>
              <a:gd name="csX167" fmla="*/ 369608 w 733006"/>
              <a:gd name="csY167" fmla="*/ 603027 h 2095135"/>
              <a:gd name="csX168" fmla="*/ 463931 w 733006"/>
              <a:gd name="csY168" fmla="*/ 605146 h 2095135"/>
              <a:gd name="csX169" fmla="*/ 478113 w 733006"/>
              <a:gd name="csY169" fmla="*/ 595843 h 2095135"/>
              <a:gd name="csX170" fmla="*/ 478796 w 733006"/>
              <a:gd name="csY170" fmla="*/ 556832 h 2095135"/>
              <a:gd name="csX171" fmla="*/ 310220 w 733006"/>
              <a:gd name="csY171" fmla="*/ 554288 h 2095135"/>
              <a:gd name="csX172" fmla="*/ 348836 w 733006"/>
              <a:gd name="csY172" fmla="*/ 684115 h 2095135"/>
              <a:gd name="csX173" fmla="*/ 281333 w 733006"/>
              <a:gd name="csY173" fmla="*/ 683313 h 2095135"/>
              <a:gd name="csX174" fmla="*/ 212728 w 733006"/>
              <a:gd name="csY174" fmla="*/ 681931 h 2095135"/>
              <a:gd name="csX175" fmla="*/ 187283 w 733006"/>
              <a:gd name="csY175" fmla="*/ 689555 h 2095135"/>
              <a:gd name="csX176" fmla="*/ 186163 w 733006"/>
              <a:gd name="csY176" fmla="*/ 718266 h 2095135"/>
              <a:gd name="csX177" fmla="*/ 209894 w 733006"/>
              <a:gd name="csY177" fmla="*/ 726798 h 2095135"/>
              <a:gd name="csX178" fmla="*/ 334814 w 733006"/>
              <a:gd name="csY178" fmla="*/ 732494 h 2095135"/>
              <a:gd name="csX179" fmla="*/ 364856 w 733006"/>
              <a:gd name="csY179" fmla="*/ 707963 h 2095135"/>
              <a:gd name="csX180" fmla="*/ 348836 w 733006"/>
              <a:gd name="csY180" fmla="*/ 684115 h 2095135"/>
              <a:gd name="csX181" fmla="*/ 298865 w 733006"/>
              <a:gd name="csY181" fmla="*/ 621954 h 2095135"/>
              <a:gd name="csX182" fmla="*/ 251619 w 733006"/>
              <a:gd name="csY182" fmla="*/ 622133 h 2095135"/>
              <a:gd name="csX183" fmla="*/ 214459 w 733006"/>
              <a:gd name="csY183" fmla="*/ 636230 h 2095135"/>
              <a:gd name="csX184" fmla="*/ 221436 w 733006"/>
              <a:gd name="csY184" fmla="*/ 654205 h 2095135"/>
              <a:gd name="csX185" fmla="*/ 272412 w 733006"/>
              <a:gd name="csY185" fmla="*/ 657250 h 2095135"/>
              <a:gd name="csX186" fmla="*/ 349094 w 733006"/>
              <a:gd name="csY186" fmla="*/ 659282 h 2095135"/>
              <a:gd name="csX187" fmla="*/ 362996 w 733006"/>
              <a:gd name="csY187" fmla="*/ 644234 h 2095135"/>
              <a:gd name="csX188" fmla="*/ 348472 w 733006"/>
              <a:gd name="csY188" fmla="*/ 624649 h 2095135"/>
              <a:gd name="csX189" fmla="*/ 298865 w 733006"/>
              <a:gd name="csY189" fmla="*/ 621954 h 2095135"/>
              <a:gd name="csX190" fmla="*/ 227796 w 733006"/>
              <a:gd name="csY190" fmla="*/ 528000 h 2095135"/>
              <a:gd name="csX191" fmla="*/ 241009 w 733006"/>
              <a:gd name="csY191" fmla="*/ 545897 h 2095135"/>
              <a:gd name="csX192" fmla="*/ 282607 w 733006"/>
              <a:gd name="csY192" fmla="*/ 543480 h 2095135"/>
              <a:gd name="csX193" fmla="*/ 354213 w 733006"/>
              <a:gd name="csY193" fmla="*/ 543384 h 2095135"/>
              <a:gd name="csX194" fmla="*/ 365334 w 733006"/>
              <a:gd name="csY194" fmla="*/ 533397 h 2095135"/>
              <a:gd name="csX195" fmla="*/ 354531 w 733006"/>
              <a:gd name="csY195" fmla="*/ 521620 h 2095135"/>
              <a:gd name="csX196" fmla="*/ 259169 w 733006"/>
              <a:gd name="csY196" fmla="*/ 521978 h 2095135"/>
              <a:gd name="csX197" fmla="*/ 227796 w 733006"/>
              <a:gd name="csY197" fmla="*/ 528000 h 2095135"/>
              <a:gd name="csX198" fmla="*/ 508068 w 733006"/>
              <a:gd name="csY198" fmla="*/ 190710 h 2095135"/>
              <a:gd name="csX199" fmla="*/ 521293 w 733006"/>
              <a:gd name="csY199" fmla="*/ 205907 h 2095135"/>
              <a:gd name="csX200" fmla="*/ 525175 w 733006"/>
              <a:gd name="csY200" fmla="*/ 202985 h 2095135"/>
              <a:gd name="csX201" fmla="*/ 500276 w 733006"/>
              <a:gd name="csY201" fmla="*/ 160640 h 2095135"/>
              <a:gd name="csX202" fmla="*/ 497122 w 733006"/>
              <a:gd name="csY202" fmla="*/ 162007 h 2095135"/>
              <a:gd name="csX203" fmla="*/ 508068 w 733006"/>
              <a:gd name="csY203" fmla="*/ 190710 h 2095135"/>
              <a:gd name="csX204" fmla="*/ 215522 w 733006"/>
              <a:gd name="csY204" fmla="*/ 197296 h 2095135"/>
              <a:gd name="csX205" fmla="*/ 234029 w 733006"/>
              <a:gd name="csY205" fmla="*/ 162725 h 2095135"/>
              <a:gd name="csX206" fmla="*/ 229000 w 733006"/>
              <a:gd name="csY206" fmla="*/ 159902 h 2095135"/>
              <a:gd name="csX207" fmla="*/ 204824 w 733006"/>
              <a:gd name="csY207" fmla="*/ 199677 h 2095135"/>
              <a:gd name="csX208" fmla="*/ 207990 w 733006"/>
              <a:gd name="csY208" fmla="*/ 202198 h 2095135"/>
              <a:gd name="csX209" fmla="*/ 215522 w 733006"/>
              <a:gd name="csY209" fmla="*/ 197296 h 2095135"/>
              <a:gd name="csX210" fmla="*/ 484400 w 733006"/>
              <a:gd name="csY210" fmla="*/ 896678 h 2095135"/>
              <a:gd name="csX211" fmla="*/ 486181 w 733006"/>
              <a:gd name="csY211" fmla="*/ 896585 h 2095135"/>
              <a:gd name="csX212" fmla="*/ 486181 w 733006"/>
              <a:gd name="csY212" fmla="*/ 795289 h 2095135"/>
              <a:gd name="csX213" fmla="*/ 720241 w 733006"/>
              <a:gd name="csY213" fmla="*/ 2030666 h 2095135"/>
              <a:gd name="csX214" fmla="*/ 721175 w 733006"/>
              <a:gd name="csY214" fmla="*/ 2029733 h 2095135"/>
              <a:gd name="csX215" fmla="*/ 720241 w 733006"/>
              <a:gd name="csY215" fmla="*/ 2030666 h 2095135"/>
              <a:gd name="csX216" fmla="*/ 715702 w 733006"/>
              <a:gd name="csY216" fmla="*/ 2037051 h 2095135"/>
              <a:gd name="csX217" fmla="*/ 715702 w 733006"/>
              <a:gd name="csY217" fmla="*/ 2037051 h 2095135"/>
              <a:gd name="csX0" fmla="*/ 96263 w 733006"/>
              <a:gd name="csY0" fmla="*/ 2076207 h 2095135"/>
              <a:gd name="csX1" fmla="*/ 63862 w 733006"/>
              <a:gd name="csY1" fmla="*/ 2065388 h 2095135"/>
              <a:gd name="csX2" fmla="*/ 16555 w 733006"/>
              <a:gd name="csY2" fmla="*/ 2050152 h 2095135"/>
              <a:gd name="csX3" fmla="*/ 15 w 733006"/>
              <a:gd name="csY3" fmla="*/ 2023802 h 2095135"/>
              <a:gd name="csX4" fmla="*/ 18368 w 733006"/>
              <a:gd name="csY4" fmla="*/ 1940709 h 2095135"/>
              <a:gd name="csX5" fmla="*/ 22139 w 733006"/>
              <a:gd name="csY5" fmla="*/ 1907268 h 2095135"/>
              <a:gd name="csX6" fmla="*/ 57941 w 733006"/>
              <a:gd name="csY6" fmla="*/ 1774163 h 2095135"/>
              <a:gd name="csX7" fmla="*/ 102478 w 733006"/>
              <a:gd name="csY7" fmla="*/ 1720275 h 2095135"/>
              <a:gd name="csX8" fmla="*/ 108579 w 733006"/>
              <a:gd name="csY8" fmla="*/ 1650967 h 2095135"/>
              <a:gd name="csX9" fmla="*/ 115628 w 733006"/>
              <a:gd name="csY9" fmla="*/ 1625405 h 2095135"/>
              <a:gd name="csX10" fmla="*/ 156323 w 733006"/>
              <a:gd name="csY10" fmla="*/ 1560181 h 2095135"/>
              <a:gd name="csX11" fmla="*/ 199424 w 733006"/>
              <a:gd name="csY11" fmla="*/ 1364729 h 2095135"/>
              <a:gd name="csX12" fmla="*/ 216779 w 733006"/>
              <a:gd name="csY12" fmla="*/ 1219490 h 2095135"/>
              <a:gd name="csX13" fmla="*/ 229755 w 733006"/>
              <a:gd name="csY13" fmla="*/ 1099357 h 2095135"/>
              <a:gd name="csX14" fmla="*/ 232707 w 733006"/>
              <a:gd name="csY14" fmla="*/ 1056423 h 2095135"/>
              <a:gd name="csX15" fmla="*/ 235622 w 733006"/>
              <a:gd name="csY15" fmla="*/ 952675 h 2095135"/>
              <a:gd name="csX16" fmla="*/ 235445 w 733006"/>
              <a:gd name="csY16" fmla="*/ 780278 h 2095135"/>
              <a:gd name="csX17" fmla="*/ 214544 w 733006"/>
              <a:gd name="csY17" fmla="*/ 756435 h 2095135"/>
              <a:gd name="csX18" fmla="*/ 172569 w 733006"/>
              <a:gd name="csY18" fmla="*/ 742582 h 2095135"/>
              <a:gd name="csX19" fmla="*/ 168784 w 733006"/>
              <a:gd name="csY19" fmla="*/ 669116 h 2095135"/>
              <a:gd name="csX20" fmla="*/ 191657 w 733006"/>
              <a:gd name="csY20" fmla="*/ 630765 h 2095135"/>
              <a:gd name="csX21" fmla="*/ 208150 w 733006"/>
              <a:gd name="csY21" fmla="*/ 609084 h 2095135"/>
              <a:gd name="csX22" fmla="*/ 216756 w 733006"/>
              <a:gd name="csY22" fmla="*/ 558673 h 2095135"/>
              <a:gd name="csX23" fmla="*/ 209092 w 733006"/>
              <a:gd name="csY23" fmla="*/ 521540 h 2095135"/>
              <a:gd name="csX24" fmla="*/ 204683 w 733006"/>
              <a:gd name="csY24" fmla="*/ 474024 h 2095135"/>
              <a:gd name="csX25" fmla="*/ 115483 w 733006"/>
              <a:gd name="csY25" fmla="*/ 213499 h 2095135"/>
              <a:gd name="csX26" fmla="*/ 102909 w 733006"/>
              <a:gd name="csY26" fmla="*/ 182297 h 2095135"/>
              <a:gd name="csX27" fmla="*/ 104315 w 733006"/>
              <a:gd name="csY27" fmla="*/ 163968 h 2095135"/>
              <a:gd name="csX28" fmla="*/ 122444 w 733006"/>
              <a:gd name="csY28" fmla="*/ 160805 h 2095135"/>
              <a:gd name="csX29" fmla="*/ 170283 w 733006"/>
              <a:gd name="csY29" fmla="*/ 187783 h 2095135"/>
              <a:gd name="csX30" fmla="*/ 180938 w 733006"/>
              <a:gd name="csY30" fmla="*/ 195322 h 2095135"/>
              <a:gd name="csX31" fmla="*/ 221419 w 733006"/>
              <a:gd name="csY31" fmla="*/ 138058 h 2095135"/>
              <a:gd name="csX32" fmla="*/ 294099 w 733006"/>
              <a:gd name="csY32" fmla="*/ 91372 h 2095135"/>
              <a:gd name="csX33" fmla="*/ 302307 w 733006"/>
              <a:gd name="csY33" fmla="*/ 76560 h 2095135"/>
              <a:gd name="csX34" fmla="*/ 320284 w 733006"/>
              <a:gd name="csY34" fmla="*/ 8414 h 2095135"/>
              <a:gd name="csX35" fmla="*/ 324784 w 733006"/>
              <a:gd name="csY35" fmla="*/ 946 h 2095135"/>
              <a:gd name="csX36" fmla="*/ 399212 w 733006"/>
              <a:gd name="csY36" fmla="*/ 0 h 2095135"/>
              <a:gd name="csX37" fmla="*/ 425980 w 733006"/>
              <a:gd name="csY37" fmla="*/ 78301 h 2095135"/>
              <a:gd name="csX38" fmla="*/ 431861 w 733006"/>
              <a:gd name="csY38" fmla="*/ 90312 h 2095135"/>
              <a:gd name="csX39" fmla="*/ 540349 w 733006"/>
              <a:gd name="csY39" fmla="*/ 187946 h 2095135"/>
              <a:gd name="csX40" fmla="*/ 545555 w 733006"/>
              <a:gd name="csY40" fmla="*/ 197828 h 2095135"/>
              <a:gd name="csX41" fmla="*/ 587318 w 733006"/>
              <a:gd name="csY41" fmla="*/ 171260 h 2095135"/>
              <a:gd name="csX42" fmla="*/ 601503 w 733006"/>
              <a:gd name="csY42" fmla="*/ 163707 h 2095135"/>
              <a:gd name="csX43" fmla="*/ 625254 w 733006"/>
              <a:gd name="csY43" fmla="*/ 163123 h 2095135"/>
              <a:gd name="csX44" fmla="*/ 625468 w 733006"/>
              <a:gd name="csY44" fmla="*/ 187579 h 2095135"/>
              <a:gd name="csX45" fmla="*/ 597543 w 733006"/>
              <a:gd name="csY45" fmla="*/ 251872 h 2095135"/>
              <a:gd name="csX46" fmla="*/ 531831 w 733006"/>
              <a:gd name="csY46" fmla="*/ 442689 h 2095135"/>
              <a:gd name="csX47" fmla="*/ 519888 w 733006"/>
              <a:gd name="csY47" fmla="*/ 501474 h 2095135"/>
              <a:gd name="csX48" fmla="*/ 522506 w 733006"/>
              <a:gd name="csY48" fmla="*/ 525086 h 2095135"/>
              <a:gd name="csX49" fmla="*/ 516235 w 733006"/>
              <a:gd name="csY49" fmla="*/ 555946 h 2095135"/>
              <a:gd name="csX50" fmla="*/ 521332 w 733006"/>
              <a:gd name="csY50" fmla="*/ 610676 h 2095135"/>
              <a:gd name="csX51" fmla="*/ 541382 w 733006"/>
              <a:gd name="csY51" fmla="*/ 642597 h 2095135"/>
              <a:gd name="csX52" fmla="*/ 557031 w 733006"/>
              <a:gd name="csY52" fmla="*/ 667949 h 2095135"/>
              <a:gd name="csX53" fmla="*/ 553994 w 733006"/>
              <a:gd name="csY53" fmla="*/ 744146 h 2095135"/>
              <a:gd name="csX54" fmla="*/ 508215 w 733006"/>
              <a:gd name="csY54" fmla="*/ 758841 h 2095135"/>
              <a:gd name="csX55" fmla="*/ 497442 w 733006"/>
              <a:gd name="csY55" fmla="*/ 771256 h 2095135"/>
              <a:gd name="csX56" fmla="*/ 493005 w 733006"/>
              <a:gd name="csY56" fmla="*/ 922055 h 2095135"/>
              <a:gd name="csX57" fmla="*/ 502900 w 733006"/>
              <a:gd name="csY57" fmla="*/ 1114191 h 2095135"/>
              <a:gd name="csX58" fmla="*/ 508800 w 733006"/>
              <a:gd name="csY58" fmla="*/ 1205474 h 2095135"/>
              <a:gd name="csX59" fmla="*/ 522952 w 733006"/>
              <a:gd name="csY59" fmla="*/ 1320065 h 2095135"/>
              <a:gd name="csX60" fmla="*/ 554682 w 733006"/>
              <a:gd name="csY60" fmla="*/ 1501203 h 2095135"/>
              <a:gd name="csX61" fmla="*/ 576958 w 733006"/>
              <a:gd name="csY61" fmla="*/ 1593963 h 2095135"/>
              <a:gd name="csX62" fmla="*/ 595349 w 733006"/>
              <a:gd name="csY62" fmla="*/ 1613498 h 2095135"/>
              <a:gd name="csX63" fmla="*/ 613936 w 733006"/>
              <a:gd name="csY63" fmla="*/ 1624058 h 2095135"/>
              <a:gd name="csX64" fmla="*/ 620938 w 733006"/>
              <a:gd name="csY64" fmla="*/ 1652071 h 2095135"/>
              <a:gd name="csX65" fmla="*/ 630805 w 733006"/>
              <a:gd name="csY65" fmla="*/ 1721702 h 2095135"/>
              <a:gd name="csX66" fmla="*/ 685830 w 733006"/>
              <a:gd name="csY66" fmla="*/ 1792915 h 2095135"/>
              <a:gd name="csX67" fmla="*/ 708904 w 733006"/>
              <a:gd name="csY67" fmla="*/ 1890290 h 2095135"/>
              <a:gd name="csX68" fmla="*/ 716580 w 733006"/>
              <a:gd name="csY68" fmla="*/ 1951136 h 2095135"/>
              <a:gd name="csX69" fmla="*/ 729397 w 733006"/>
              <a:gd name="csY69" fmla="*/ 2030261 h 2095135"/>
              <a:gd name="csX70" fmla="*/ 714212 w 733006"/>
              <a:gd name="csY70" fmla="*/ 2049544 h 2095135"/>
              <a:gd name="csX71" fmla="*/ 96263 w 733006"/>
              <a:gd name="csY71" fmla="*/ 2076207 h 2095135"/>
              <a:gd name="csX72" fmla="*/ 489970 w 733006"/>
              <a:gd name="csY72" fmla="*/ 152208 h 2095135"/>
              <a:gd name="csX73" fmla="*/ 490754 w 733006"/>
              <a:gd name="csY73" fmla="*/ 152592 h 2095135"/>
              <a:gd name="csX74" fmla="*/ 489489 w 733006"/>
              <a:gd name="csY74" fmla="*/ 149547 h 2095135"/>
              <a:gd name="csX75" fmla="*/ 393621 w 733006"/>
              <a:gd name="csY75" fmla="*/ 99259 h 2095135"/>
              <a:gd name="csX76" fmla="*/ 390419 w 733006"/>
              <a:gd name="csY76" fmla="*/ 18568 h 2095135"/>
              <a:gd name="csX77" fmla="*/ 334131 w 733006"/>
              <a:gd name="csY77" fmla="*/ 24327 h 2095135"/>
              <a:gd name="csX78" fmla="*/ 344678 w 733006"/>
              <a:gd name="csY78" fmla="*/ 101259 h 2095135"/>
              <a:gd name="csX79" fmla="*/ 298854 w 733006"/>
              <a:gd name="csY79" fmla="*/ 114003 h 2095135"/>
              <a:gd name="csX80" fmla="*/ 237456 w 733006"/>
              <a:gd name="csY80" fmla="*/ 154340 h 2095135"/>
              <a:gd name="csX81" fmla="*/ 240382 w 733006"/>
              <a:gd name="csY81" fmla="*/ 154035 h 2095135"/>
              <a:gd name="csX82" fmla="*/ 262731 w 733006"/>
              <a:gd name="csY82" fmla="*/ 170426 h 2095135"/>
              <a:gd name="csX83" fmla="*/ 279169 w 733006"/>
              <a:gd name="csY83" fmla="*/ 193173 h 2095135"/>
              <a:gd name="csX84" fmla="*/ 327717 w 733006"/>
              <a:gd name="csY84" fmla="*/ 188556 h 2095135"/>
              <a:gd name="csX85" fmla="*/ 348052 w 733006"/>
              <a:gd name="csY85" fmla="*/ 156919 h 2095135"/>
              <a:gd name="csX86" fmla="*/ 380330 w 733006"/>
              <a:gd name="csY86" fmla="*/ 156483 h 2095135"/>
              <a:gd name="csX87" fmla="*/ 408490 w 733006"/>
              <a:gd name="csY87" fmla="*/ 195400 h 2095135"/>
              <a:gd name="csX88" fmla="*/ 445346 w 733006"/>
              <a:gd name="csY88" fmla="*/ 197582 h 2095135"/>
              <a:gd name="csX89" fmla="*/ 464798 w 733006"/>
              <a:gd name="csY89" fmla="*/ 174107 h 2095135"/>
              <a:gd name="csX90" fmla="*/ 489970 w 733006"/>
              <a:gd name="csY90" fmla="*/ 152208 h 2095135"/>
              <a:gd name="csX91" fmla="*/ 140694 w 733006"/>
              <a:gd name="csY91" fmla="*/ 201837 h 2095135"/>
              <a:gd name="csX92" fmla="*/ 139834 w 733006"/>
              <a:gd name="csY92" fmla="*/ 201482 h 2095135"/>
              <a:gd name="csX93" fmla="*/ 140812 w 733006"/>
              <a:gd name="csY93" fmla="*/ 204941 h 2095135"/>
              <a:gd name="csX94" fmla="*/ 144631 w 733006"/>
              <a:gd name="csY94" fmla="*/ 217811 h 2095135"/>
              <a:gd name="csX95" fmla="*/ 201241 w 733006"/>
              <a:gd name="csY95" fmla="*/ 373387 h 2095135"/>
              <a:gd name="csX96" fmla="*/ 235971 w 733006"/>
              <a:gd name="csY96" fmla="*/ 504451 h 2095135"/>
              <a:gd name="csX97" fmla="*/ 247475 w 733006"/>
              <a:gd name="csY97" fmla="*/ 513241 h 2095135"/>
              <a:gd name="csX98" fmla="*/ 289066 w 733006"/>
              <a:gd name="csY98" fmla="*/ 511170 h 2095135"/>
              <a:gd name="csX99" fmla="*/ 378229 w 733006"/>
              <a:gd name="csY99" fmla="*/ 511084 h 2095135"/>
              <a:gd name="csX100" fmla="*/ 470850 w 733006"/>
              <a:gd name="csY100" fmla="*/ 516341 h 2095135"/>
              <a:gd name="csX101" fmla="*/ 492933 w 733006"/>
              <a:gd name="csY101" fmla="*/ 497969 h 2095135"/>
              <a:gd name="csX102" fmla="*/ 557617 w 733006"/>
              <a:gd name="csY102" fmla="*/ 280398 h 2095135"/>
              <a:gd name="csX103" fmla="*/ 588788 w 733006"/>
              <a:gd name="csY103" fmla="*/ 200385 h 2095135"/>
              <a:gd name="csX104" fmla="*/ 530958 w 733006"/>
              <a:gd name="csY104" fmla="*/ 232968 h 2095135"/>
              <a:gd name="csX105" fmla="*/ 483823 w 733006"/>
              <a:gd name="csY105" fmla="*/ 190364 h 2095135"/>
              <a:gd name="csX106" fmla="*/ 466649 w 733006"/>
              <a:gd name="csY106" fmla="*/ 209061 h 2095135"/>
              <a:gd name="csX107" fmla="*/ 399941 w 733006"/>
              <a:gd name="csY107" fmla="*/ 216988 h 2095135"/>
              <a:gd name="csX108" fmla="*/ 363018 w 733006"/>
              <a:gd name="csY108" fmla="*/ 179615 h 2095135"/>
              <a:gd name="csX109" fmla="*/ 308839 w 733006"/>
              <a:gd name="csY109" fmla="*/ 227846 h 2095135"/>
              <a:gd name="csX110" fmla="*/ 245077 w 733006"/>
              <a:gd name="csY110" fmla="*/ 192402 h 2095135"/>
              <a:gd name="csX111" fmla="*/ 242829 w 733006"/>
              <a:gd name="csY111" fmla="*/ 198815 h 2095135"/>
              <a:gd name="csX112" fmla="*/ 168452 w 733006"/>
              <a:gd name="csY112" fmla="*/ 219348 h 2095135"/>
              <a:gd name="csX113" fmla="*/ 140694 w 733006"/>
              <a:gd name="csY113" fmla="*/ 201837 h 2095135"/>
              <a:gd name="csX114" fmla="*/ 259999 w 733006"/>
              <a:gd name="csY114" fmla="*/ 966699 h 2095135"/>
              <a:gd name="csX115" fmla="*/ 257072 w 733006"/>
              <a:gd name="csY115" fmla="*/ 1070424 h 2095135"/>
              <a:gd name="csX116" fmla="*/ 251372 w 733006"/>
              <a:gd name="csY116" fmla="*/ 1157618 h 2095135"/>
              <a:gd name="csX117" fmla="*/ 232677 w 733006"/>
              <a:gd name="csY117" fmla="*/ 1320279 h 2095135"/>
              <a:gd name="csX118" fmla="*/ 209182 w 733006"/>
              <a:gd name="csY118" fmla="*/ 1468667 h 2095135"/>
              <a:gd name="csX119" fmla="*/ 175302 w 733006"/>
              <a:gd name="csY119" fmla="*/ 1616623 h 2095135"/>
              <a:gd name="csX120" fmla="*/ 182769 w 733006"/>
              <a:gd name="csY120" fmla="*/ 1629786 h 2095135"/>
              <a:gd name="csX121" fmla="*/ 212156 w 733006"/>
              <a:gd name="csY121" fmla="*/ 1632656 h 2095135"/>
              <a:gd name="csX122" fmla="*/ 351295 w 733006"/>
              <a:gd name="csY122" fmla="*/ 1632801 h 2095135"/>
              <a:gd name="csX123" fmla="*/ 376150 w 733006"/>
              <a:gd name="csY123" fmla="*/ 1608307 h 2095135"/>
              <a:gd name="csX124" fmla="*/ 373450 w 733006"/>
              <a:gd name="csY124" fmla="*/ 1457291 h 2095135"/>
              <a:gd name="csX125" fmla="*/ 370936 w 733006"/>
              <a:gd name="csY125" fmla="*/ 1342736 h 2095135"/>
              <a:gd name="csX126" fmla="*/ 368328 w 733006"/>
              <a:gd name="csY126" fmla="*/ 1203878 h 2095135"/>
              <a:gd name="csX127" fmla="*/ 367836 w 733006"/>
              <a:gd name="csY127" fmla="*/ 813478 h 2095135"/>
              <a:gd name="csX128" fmla="*/ 365240 w 733006"/>
              <a:gd name="csY128" fmla="*/ 773243 h 2095135"/>
              <a:gd name="csX129" fmla="*/ 353084 w 733006"/>
              <a:gd name="csY129" fmla="*/ 762083 h 2095135"/>
              <a:gd name="csX130" fmla="*/ 280966 w 733006"/>
              <a:gd name="csY130" fmla="*/ 759855 h 2095135"/>
              <a:gd name="csX131" fmla="*/ 259965 w 733006"/>
              <a:gd name="csY131" fmla="*/ 779553 h 2095135"/>
              <a:gd name="csX132" fmla="*/ 262341 w 733006"/>
              <a:gd name="csY132" fmla="*/ 856275 h 2095135"/>
              <a:gd name="csX133" fmla="*/ 259999 w 733006"/>
              <a:gd name="csY133" fmla="*/ 966699 h 2095135"/>
              <a:gd name="csX134" fmla="*/ 55556 w 733006"/>
              <a:gd name="csY134" fmla="*/ 1835827 h 2095135"/>
              <a:gd name="csX135" fmla="*/ 49393 w 733006"/>
              <a:gd name="csY135" fmla="*/ 1878155 h 2095135"/>
              <a:gd name="csX136" fmla="*/ 73949 w 733006"/>
              <a:gd name="csY136" fmla="*/ 1905781 h 2095135"/>
              <a:gd name="csX137" fmla="*/ 110073 w 733006"/>
              <a:gd name="csY137" fmla="*/ 1909068 h 2095135"/>
              <a:gd name="csX138" fmla="*/ 224745 w 733006"/>
              <a:gd name="csY138" fmla="*/ 1921652 h 2095135"/>
              <a:gd name="csX139" fmla="*/ 347327 w 733006"/>
              <a:gd name="csY139" fmla="*/ 1924778 h 2095135"/>
              <a:gd name="csX140" fmla="*/ 363345 w 733006"/>
              <a:gd name="csY140" fmla="*/ 1923293 h 2095135"/>
              <a:gd name="csX141" fmla="*/ 373787 w 733006"/>
              <a:gd name="csY141" fmla="*/ 1911200 h 2095135"/>
              <a:gd name="csX142" fmla="*/ 376623 w 733006"/>
              <a:gd name="csY142" fmla="*/ 1696741 h 2095135"/>
              <a:gd name="csX143" fmla="*/ 360437 w 733006"/>
              <a:gd name="csY143" fmla="*/ 1681289 h 2095135"/>
              <a:gd name="csX144" fmla="*/ 263503 w 733006"/>
              <a:gd name="csY144" fmla="*/ 1678179 h 2095135"/>
              <a:gd name="csX145" fmla="*/ 160381 w 733006"/>
              <a:gd name="csY145" fmla="*/ 1670405 h 2095135"/>
              <a:gd name="csX146" fmla="*/ 143321 w 733006"/>
              <a:gd name="csY146" fmla="*/ 1685538 h 2095135"/>
              <a:gd name="csX147" fmla="*/ 124769 w 733006"/>
              <a:gd name="csY147" fmla="*/ 1738195 h 2095135"/>
              <a:gd name="csX148" fmla="*/ 90593 w 733006"/>
              <a:gd name="csY148" fmla="*/ 1779570 h 2095135"/>
              <a:gd name="csX149" fmla="*/ 55556 w 733006"/>
              <a:gd name="csY149" fmla="*/ 1835827 h 2095135"/>
              <a:gd name="csX150" fmla="*/ 378900 w 733006"/>
              <a:gd name="csY150" fmla="*/ 2007280 h 2095135"/>
              <a:gd name="csX151" fmla="*/ 378887 w 733006"/>
              <a:gd name="csY151" fmla="*/ 1995127 h 2095135"/>
              <a:gd name="csX152" fmla="*/ 359084 w 733006"/>
              <a:gd name="csY152" fmla="*/ 1975964 h 2095135"/>
              <a:gd name="csX153" fmla="*/ 247288 w 733006"/>
              <a:gd name="csY153" fmla="*/ 1973305 h 2095135"/>
              <a:gd name="csX154" fmla="*/ 201692 w 733006"/>
              <a:gd name="csY154" fmla="*/ 1970275 h 2095135"/>
              <a:gd name="csX155" fmla="*/ 57962 w 733006"/>
              <a:gd name="csY155" fmla="*/ 1952648 h 2095135"/>
              <a:gd name="csX156" fmla="*/ 39194 w 733006"/>
              <a:gd name="csY156" fmla="*/ 1963552 h 2095135"/>
              <a:gd name="csX157" fmla="*/ 30066 w 733006"/>
              <a:gd name="csY157" fmla="*/ 2006631 h 2095135"/>
              <a:gd name="csX158" fmla="*/ 40232 w 733006"/>
              <a:gd name="csY158" fmla="*/ 2019486 h 2095135"/>
              <a:gd name="csX159" fmla="*/ 238186 w 733006"/>
              <a:gd name="csY159" fmla="*/ 2046096 h 2095135"/>
              <a:gd name="csX160" fmla="*/ 342155 w 733006"/>
              <a:gd name="csY160" fmla="*/ 2046441 h 2095135"/>
              <a:gd name="csX161" fmla="*/ 378900 w 733006"/>
              <a:gd name="csY161" fmla="*/ 2007280 h 2095135"/>
              <a:gd name="csX162" fmla="*/ 310220 w 733006"/>
              <a:gd name="csY162" fmla="*/ 554288 h 2095135"/>
              <a:gd name="csX163" fmla="*/ 259136 w 733006"/>
              <a:gd name="csY163" fmla="*/ 556881 h 2095135"/>
              <a:gd name="csX164" fmla="*/ 249085 w 733006"/>
              <a:gd name="csY164" fmla="*/ 567981 h 2095135"/>
              <a:gd name="csX165" fmla="*/ 249141 w 733006"/>
              <a:gd name="csY165" fmla="*/ 605644 h 2095135"/>
              <a:gd name="csX166" fmla="*/ 262628 w 733006"/>
              <a:gd name="csY166" fmla="*/ 605627 h 2095135"/>
              <a:gd name="csX167" fmla="*/ 369608 w 733006"/>
              <a:gd name="csY167" fmla="*/ 603027 h 2095135"/>
              <a:gd name="csX168" fmla="*/ 463931 w 733006"/>
              <a:gd name="csY168" fmla="*/ 605146 h 2095135"/>
              <a:gd name="csX169" fmla="*/ 478113 w 733006"/>
              <a:gd name="csY169" fmla="*/ 595843 h 2095135"/>
              <a:gd name="csX170" fmla="*/ 478796 w 733006"/>
              <a:gd name="csY170" fmla="*/ 556832 h 2095135"/>
              <a:gd name="csX171" fmla="*/ 310220 w 733006"/>
              <a:gd name="csY171" fmla="*/ 554288 h 2095135"/>
              <a:gd name="csX172" fmla="*/ 348836 w 733006"/>
              <a:gd name="csY172" fmla="*/ 684115 h 2095135"/>
              <a:gd name="csX173" fmla="*/ 281333 w 733006"/>
              <a:gd name="csY173" fmla="*/ 683313 h 2095135"/>
              <a:gd name="csX174" fmla="*/ 212728 w 733006"/>
              <a:gd name="csY174" fmla="*/ 681931 h 2095135"/>
              <a:gd name="csX175" fmla="*/ 187283 w 733006"/>
              <a:gd name="csY175" fmla="*/ 689555 h 2095135"/>
              <a:gd name="csX176" fmla="*/ 186163 w 733006"/>
              <a:gd name="csY176" fmla="*/ 718266 h 2095135"/>
              <a:gd name="csX177" fmla="*/ 209894 w 733006"/>
              <a:gd name="csY177" fmla="*/ 726798 h 2095135"/>
              <a:gd name="csX178" fmla="*/ 334814 w 733006"/>
              <a:gd name="csY178" fmla="*/ 732494 h 2095135"/>
              <a:gd name="csX179" fmla="*/ 364856 w 733006"/>
              <a:gd name="csY179" fmla="*/ 707963 h 2095135"/>
              <a:gd name="csX180" fmla="*/ 348836 w 733006"/>
              <a:gd name="csY180" fmla="*/ 684115 h 2095135"/>
              <a:gd name="csX181" fmla="*/ 298865 w 733006"/>
              <a:gd name="csY181" fmla="*/ 621954 h 2095135"/>
              <a:gd name="csX182" fmla="*/ 251619 w 733006"/>
              <a:gd name="csY182" fmla="*/ 622133 h 2095135"/>
              <a:gd name="csX183" fmla="*/ 214459 w 733006"/>
              <a:gd name="csY183" fmla="*/ 636230 h 2095135"/>
              <a:gd name="csX184" fmla="*/ 221436 w 733006"/>
              <a:gd name="csY184" fmla="*/ 654205 h 2095135"/>
              <a:gd name="csX185" fmla="*/ 272412 w 733006"/>
              <a:gd name="csY185" fmla="*/ 657250 h 2095135"/>
              <a:gd name="csX186" fmla="*/ 349094 w 733006"/>
              <a:gd name="csY186" fmla="*/ 659282 h 2095135"/>
              <a:gd name="csX187" fmla="*/ 362996 w 733006"/>
              <a:gd name="csY187" fmla="*/ 644234 h 2095135"/>
              <a:gd name="csX188" fmla="*/ 348472 w 733006"/>
              <a:gd name="csY188" fmla="*/ 624649 h 2095135"/>
              <a:gd name="csX189" fmla="*/ 298865 w 733006"/>
              <a:gd name="csY189" fmla="*/ 621954 h 2095135"/>
              <a:gd name="csX190" fmla="*/ 227796 w 733006"/>
              <a:gd name="csY190" fmla="*/ 528000 h 2095135"/>
              <a:gd name="csX191" fmla="*/ 241009 w 733006"/>
              <a:gd name="csY191" fmla="*/ 545897 h 2095135"/>
              <a:gd name="csX192" fmla="*/ 282607 w 733006"/>
              <a:gd name="csY192" fmla="*/ 543480 h 2095135"/>
              <a:gd name="csX193" fmla="*/ 354213 w 733006"/>
              <a:gd name="csY193" fmla="*/ 543384 h 2095135"/>
              <a:gd name="csX194" fmla="*/ 365334 w 733006"/>
              <a:gd name="csY194" fmla="*/ 533397 h 2095135"/>
              <a:gd name="csX195" fmla="*/ 354531 w 733006"/>
              <a:gd name="csY195" fmla="*/ 521620 h 2095135"/>
              <a:gd name="csX196" fmla="*/ 259169 w 733006"/>
              <a:gd name="csY196" fmla="*/ 521978 h 2095135"/>
              <a:gd name="csX197" fmla="*/ 227796 w 733006"/>
              <a:gd name="csY197" fmla="*/ 528000 h 2095135"/>
              <a:gd name="csX198" fmla="*/ 508068 w 733006"/>
              <a:gd name="csY198" fmla="*/ 190710 h 2095135"/>
              <a:gd name="csX199" fmla="*/ 521293 w 733006"/>
              <a:gd name="csY199" fmla="*/ 205907 h 2095135"/>
              <a:gd name="csX200" fmla="*/ 525175 w 733006"/>
              <a:gd name="csY200" fmla="*/ 202985 h 2095135"/>
              <a:gd name="csX201" fmla="*/ 500276 w 733006"/>
              <a:gd name="csY201" fmla="*/ 160640 h 2095135"/>
              <a:gd name="csX202" fmla="*/ 497122 w 733006"/>
              <a:gd name="csY202" fmla="*/ 162007 h 2095135"/>
              <a:gd name="csX203" fmla="*/ 508068 w 733006"/>
              <a:gd name="csY203" fmla="*/ 190710 h 2095135"/>
              <a:gd name="csX204" fmla="*/ 215522 w 733006"/>
              <a:gd name="csY204" fmla="*/ 197296 h 2095135"/>
              <a:gd name="csX205" fmla="*/ 234029 w 733006"/>
              <a:gd name="csY205" fmla="*/ 162725 h 2095135"/>
              <a:gd name="csX206" fmla="*/ 229000 w 733006"/>
              <a:gd name="csY206" fmla="*/ 159902 h 2095135"/>
              <a:gd name="csX207" fmla="*/ 204824 w 733006"/>
              <a:gd name="csY207" fmla="*/ 199677 h 2095135"/>
              <a:gd name="csX208" fmla="*/ 207990 w 733006"/>
              <a:gd name="csY208" fmla="*/ 202198 h 2095135"/>
              <a:gd name="csX209" fmla="*/ 215522 w 733006"/>
              <a:gd name="csY209" fmla="*/ 197296 h 2095135"/>
              <a:gd name="csX210" fmla="*/ 484400 w 733006"/>
              <a:gd name="csY210" fmla="*/ 896678 h 2095135"/>
              <a:gd name="csX211" fmla="*/ 486181 w 733006"/>
              <a:gd name="csY211" fmla="*/ 896585 h 2095135"/>
              <a:gd name="csX212" fmla="*/ 486181 w 733006"/>
              <a:gd name="csY212" fmla="*/ 795289 h 2095135"/>
              <a:gd name="csX213" fmla="*/ 720241 w 733006"/>
              <a:gd name="csY213" fmla="*/ 2030666 h 2095135"/>
              <a:gd name="csX214" fmla="*/ 721175 w 733006"/>
              <a:gd name="csY214" fmla="*/ 2029733 h 2095135"/>
              <a:gd name="csX215" fmla="*/ 720241 w 733006"/>
              <a:gd name="csY215" fmla="*/ 2030666 h 2095135"/>
              <a:gd name="csX0" fmla="*/ 96263 w 733006"/>
              <a:gd name="csY0" fmla="*/ 2076207 h 2095135"/>
              <a:gd name="csX1" fmla="*/ 63862 w 733006"/>
              <a:gd name="csY1" fmla="*/ 2065388 h 2095135"/>
              <a:gd name="csX2" fmla="*/ 16555 w 733006"/>
              <a:gd name="csY2" fmla="*/ 2050152 h 2095135"/>
              <a:gd name="csX3" fmla="*/ 15 w 733006"/>
              <a:gd name="csY3" fmla="*/ 2023802 h 2095135"/>
              <a:gd name="csX4" fmla="*/ 18368 w 733006"/>
              <a:gd name="csY4" fmla="*/ 1940709 h 2095135"/>
              <a:gd name="csX5" fmla="*/ 22139 w 733006"/>
              <a:gd name="csY5" fmla="*/ 1907268 h 2095135"/>
              <a:gd name="csX6" fmla="*/ 57941 w 733006"/>
              <a:gd name="csY6" fmla="*/ 1774163 h 2095135"/>
              <a:gd name="csX7" fmla="*/ 102478 w 733006"/>
              <a:gd name="csY7" fmla="*/ 1720275 h 2095135"/>
              <a:gd name="csX8" fmla="*/ 108579 w 733006"/>
              <a:gd name="csY8" fmla="*/ 1650967 h 2095135"/>
              <a:gd name="csX9" fmla="*/ 115628 w 733006"/>
              <a:gd name="csY9" fmla="*/ 1625405 h 2095135"/>
              <a:gd name="csX10" fmla="*/ 156323 w 733006"/>
              <a:gd name="csY10" fmla="*/ 1560181 h 2095135"/>
              <a:gd name="csX11" fmla="*/ 199424 w 733006"/>
              <a:gd name="csY11" fmla="*/ 1364729 h 2095135"/>
              <a:gd name="csX12" fmla="*/ 216779 w 733006"/>
              <a:gd name="csY12" fmla="*/ 1219490 h 2095135"/>
              <a:gd name="csX13" fmla="*/ 229755 w 733006"/>
              <a:gd name="csY13" fmla="*/ 1099357 h 2095135"/>
              <a:gd name="csX14" fmla="*/ 232707 w 733006"/>
              <a:gd name="csY14" fmla="*/ 1056423 h 2095135"/>
              <a:gd name="csX15" fmla="*/ 235622 w 733006"/>
              <a:gd name="csY15" fmla="*/ 952675 h 2095135"/>
              <a:gd name="csX16" fmla="*/ 235445 w 733006"/>
              <a:gd name="csY16" fmla="*/ 780278 h 2095135"/>
              <a:gd name="csX17" fmla="*/ 214544 w 733006"/>
              <a:gd name="csY17" fmla="*/ 756435 h 2095135"/>
              <a:gd name="csX18" fmla="*/ 172569 w 733006"/>
              <a:gd name="csY18" fmla="*/ 742582 h 2095135"/>
              <a:gd name="csX19" fmla="*/ 168784 w 733006"/>
              <a:gd name="csY19" fmla="*/ 669116 h 2095135"/>
              <a:gd name="csX20" fmla="*/ 191657 w 733006"/>
              <a:gd name="csY20" fmla="*/ 630765 h 2095135"/>
              <a:gd name="csX21" fmla="*/ 208150 w 733006"/>
              <a:gd name="csY21" fmla="*/ 609084 h 2095135"/>
              <a:gd name="csX22" fmla="*/ 216756 w 733006"/>
              <a:gd name="csY22" fmla="*/ 558673 h 2095135"/>
              <a:gd name="csX23" fmla="*/ 209092 w 733006"/>
              <a:gd name="csY23" fmla="*/ 521540 h 2095135"/>
              <a:gd name="csX24" fmla="*/ 204683 w 733006"/>
              <a:gd name="csY24" fmla="*/ 474024 h 2095135"/>
              <a:gd name="csX25" fmla="*/ 115483 w 733006"/>
              <a:gd name="csY25" fmla="*/ 213499 h 2095135"/>
              <a:gd name="csX26" fmla="*/ 102909 w 733006"/>
              <a:gd name="csY26" fmla="*/ 182297 h 2095135"/>
              <a:gd name="csX27" fmla="*/ 104315 w 733006"/>
              <a:gd name="csY27" fmla="*/ 163968 h 2095135"/>
              <a:gd name="csX28" fmla="*/ 122444 w 733006"/>
              <a:gd name="csY28" fmla="*/ 160805 h 2095135"/>
              <a:gd name="csX29" fmla="*/ 170283 w 733006"/>
              <a:gd name="csY29" fmla="*/ 187783 h 2095135"/>
              <a:gd name="csX30" fmla="*/ 180938 w 733006"/>
              <a:gd name="csY30" fmla="*/ 195322 h 2095135"/>
              <a:gd name="csX31" fmla="*/ 221419 w 733006"/>
              <a:gd name="csY31" fmla="*/ 138058 h 2095135"/>
              <a:gd name="csX32" fmla="*/ 294099 w 733006"/>
              <a:gd name="csY32" fmla="*/ 91372 h 2095135"/>
              <a:gd name="csX33" fmla="*/ 302307 w 733006"/>
              <a:gd name="csY33" fmla="*/ 76560 h 2095135"/>
              <a:gd name="csX34" fmla="*/ 320284 w 733006"/>
              <a:gd name="csY34" fmla="*/ 8414 h 2095135"/>
              <a:gd name="csX35" fmla="*/ 324784 w 733006"/>
              <a:gd name="csY35" fmla="*/ 946 h 2095135"/>
              <a:gd name="csX36" fmla="*/ 399212 w 733006"/>
              <a:gd name="csY36" fmla="*/ 0 h 2095135"/>
              <a:gd name="csX37" fmla="*/ 425980 w 733006"/>
              <a:gd name="csY37" fmla="*/ 78301 h 2095135"/>
              <a:gd name="csX38" fmla="*/ 431861 w 733006"/>
              <a:gd name="csY38" fmla="*/ 90312 h 2095135"/>
              <a:gd name="csX39" fmla="*/ 540349 w 733006"/>
              <a:gd name="csY39" fmla="*/ 187946 h 2095135"/>
              <a:gd name="csX40" fmla="*/ 545555 w 733006"/>
              <a:gd name="csY40" fmla="*/ 197828 h 2095135"/>
              <a:gd name="csX41" fmla="*/ 587318 w 733006"/>
              <a:gd name="csY41" fmla="*/ 171260 h 2095135"/>
              <a:gd name="csX42" fmla="*/ 601503 w 733006"/>
              <a:gd name="csY42" fmla="*/ 163707 h 2095135"/>
              <a:gd name="csX43" fmla="*/ 625254 w 733006"/>
              <a:gd name="csY43" fmla="*/ 163123 h 2095135"/>
              <a:gd name="csX44" fmla="*/ 625468 w 733006"/>
              <a:gd name="csY44" fmla="*/ 187579 h 2095135"/>
              <a:gd name="csX45" fmla="*/ 597543 w 733006"/>
              <a:gd name="csY45" fmla="*/ 251872 h 2095135"/>
              <a:gd name="csX46" fmla="*/ 531831 w 733006"/>
              <a:gd name="csY46" fmla="*/ 442689 h 2095135"/>
              <a:gd name="csX47" fmla="*/ 519888 w 733006"/>
              <a:gd name="csY47" fmla="*/ 501474 h 2095135"/>
              <a:gd name="csX48" fmla="*/ 522506 w 733006"/>
              <a:gd name="csY48" fmla="*/ 525086 h 2095135"/>
              <a:gd name="csX49" fmla="*/ 516235 w 733006"/>
              <a:gd name="csY49" fmla="*/ 555946 h 2095135"/>
              <a:gd name="csX50" fmla="*/ 521332 w 733006"/>
              <a:gd name="csY50" fmla="*/ 610676 h 2095135"/>
              <a:gd name="csX51" fmla="*/ 541382 w 733006"/>
              <a:gd name="csY51" fmla="*/ 642597 h 2095135"/>
              <a:gd name="csX52" fmla="*/ 557031 w 733006"/>
              <a:gd name="csY52" fmla="*/ 667949 h 2095135"/>
              <a:gd name="csX53" fmla="*/ 553994 w 733006"/>
              <a:gd name="csY53" fmla="*/ 744146 h 2095135"/>
              <a:gd name="csX54" fmla="*/ 508215 w 733006"/>
              <a:gd name="csY54" fmla="*/ 758841 h 2095135"/>
              <a:gd name="csX55" fmla="*/ 497442 w 733006"/>
              <a:gd name="csY55" fmla="*/ 771256 h 2095135"/>
              <a:gd name="csX56" fmla="*/ 493005 w 733006"/>
              <a:gd name="csY56" fmla="*/ 922055 h 2095135"/>
              <a:gd name="csX57" fmla="*/ 502900 w 733006"/>
              <a:gd name="csY57" fmla="*/ 1114191 h 2095135"/>
              <a:gd name="csX58" fmla="*/ 508800 w 733006"/>
              <a:gd name="csY58" fmla="*/ 1205474 h 2095135"/>
              <a:gd name="csX59" fmla="*/ 522952 w 733006"/>
              <a:gd name="csY59" fmla="*/ 1320065 h 2095135"/>
              <a:gd name="csX60" fmla="*/ 554682 w 733006"/>
              <a:gd name="csY60" fmla="*/ 1501203 h 2095135"/>
              <a:gd name="csX61" fmla="*/ 576958 w 733006"/>
              <a:gd name="csY61" fmla="*/ 1593963 h 2095135"/>
              <a:gd name="csX62" fmla="*/ 595349 w 733006"/>
              <a:gd name="csY62" fmla="*/ 1613498 h 2095135"/>
              <a:gd name="csX63" fmla="*/ 613936 w 733006"/>
              <a:gd name="csY63" fmla="*/ 1624058 h 2095135"/>
              <a:gd name="csX64" fmla="*/ 620938 w 733006"/>
              <a:gd name="csY64" fmla="*/ 1652071 h 2095135"/>
              <a:gd name="csX65" fmla="*/ 630805 w 733006"/>
              <a:gd name="csY65" fmla="*/ 1721702 h 2095135"/>
              <a:gd name="csX66" fmla="*/ 685830 w 733006"/>
              <a:gd name="csY66" fmla="*/ 1792915 h 2095135"/>
              <a:gd name="csX67" fmla="*/ 708904 w 733006"/>
              <a:gd name="csY67" fmla="*/ 1890290 h 2095135"/>
              <a:gd name="csX68" fmla="*/ 716580 w 733006"/>
              <a:gd name="csY68" fmla="*/ 1951136 h 2095135"/>
              <a:gd name="csX69" fmla="*/ 729397 w 733006"/>
              <a:gd name="csY69" fmla="*/ 2030261 h 2095135"/>
              <a:gd name="csX70" fmla="*/ 714212 w 733006"/>
              <a:gd name="csY70" fmla="*/ 2049544 h 2095135"/>
              <a:gd name="csX71" fmla="*/ 96263 w 733006"/>
              <a:gd name="csY71" fmla="*/ 2076207 h 2095135"/>
              <a:gd name="csX72" fmla="*/ 489970 w 733006"/>
              <a:gd name="csY72" fmla="*/ 152208 h 2095135"/>
              <a:gd name="csX73" fmla="*/ 490754 w 733006"/>
              <a:gd name="csY73" fmla="*/ 152592 h 2095135"/>
              <a:gd name="csX74" fmla="*/ 489489 w 733006"/>
              <a:gd name="csY74" fmla="*/ 149547 h 2095135"/>
              <a:gd name="csX75" fmla="*/ 393621 w 733006"/>
              <a:gd name="csY75" fmla="*/ 99259 h 2095135"/>
              <a:gd name="csX76" fmla="*/ 390419 w 733006"/>
              <a:gd name="csY76" fmla="*/ 18568 h 2095135"/>
              <a:gd name="csX77" fmla="*/ 334131 w 733006"/>
              <a:gd name="csY77" fmla="*/ 24327 h 2095135"/>
              <a:gd name="csX78" fmla="*/ 344678 w 733006"/>
              <a:gd name="csY78" fmla="*/ 101259 h 2095135"/>
              <a:gd name="csX79" fmla="*/ 298854 w 733006"/>
              <a:gd name="csY79" fmla="*/ 114003 h 2095135"/>
              <a:gd name="csX80" fmla="*/ 237456 w 733006"/>
              <a:gd name="csY80" fmla="*/ 154340 h 2095135"/>
              <a:gd name="csX81" fmla="*/ 240382 w 733006"/>
              <a:gd name="csY81" fmla="*/ 154035 h 2095135"/>
              <a:gd name="csX82" fmla="*/ 262731 w 733006"/>
              <a:gd name="csY82" fmla="*/ 170426 h 2095135"/>
              <a:gd name="csX83" fmla="*/ 279169 w 733006"/>
              <a:gd name="csY83" fmla="*/ 193173 h 2095135"/>
              <a:gd name="csX84" fmla="*/ 327717 w 733006"/>
              <a:gd name="csY84" fmla="*/ 188556 h 2095135"/>
              <a:gd name="csX85" fmla="*/ 348052 w 733006"/>
              <a:gd name="csY85" fmla="*/ 156919 h 2095135"/>
              <a:gd name="csX86" fmla="*/ 380330 w 733006"/>
              <a:gd name="csY86" fmla="*/ 156483 h 2095135"/>
              <a:gd name="csX87" fmla="*/ 408490 w 733006"/>
              <a:gd name="csY87" fmla="*/ 195400 h 2095135"/>
              <a:gd name="csX88" fmla="*/ 445346 w 733006"/>
              <a:gd name="csY88" fmla="*/ 197582 h 2095135"/>
              <a:gd name="csX89" fmla="*/ 464798 w 733006"/>
              <a:gd name="csY89" fmla="*/ 174107 h 2095135"/>
              <a:gd name="csX90" fmla="*/ 489970 w 733006"/>
              <a:gd name="csY90" fmla="*/ 152208 h 2095135"/>
              <a:gd name="csX91" fmla="*/ 140694 w 733006"/>
              <a:gd name="csY91" fmla="*/ 201837 h 2095135"/>
              <a:gd name="csX92" fmla="*/ 139834 w 733006"/>
              <a:gd name="csY92" fmla="*/ 201482 h 2095135"/>
              <a:gd name="csX93" fmla="*/ 140812 w 733006"/>
              <a:gd name="csY93" fmla="*/ 204941 h 2095135"/>
              <a:gd name="csX94" fmla="*/ 144631 w 733006"/>
              <a:gd name="csY94" fmla="*/ 217811 h 2095135"/>
              <a:gd name="csX95" fmla="*/ 201241 w 733006"/>
              <a:gd name="csY95" fmla="*/ 373387 h 2095135"/>
              <a:gd name="csX96" fmla="*/ 235971 w 733006"/>
              <a:gd name="csY96" fmla="*/ 504451 h 2095135"/>
              <a:gd name="csX97" fmla="*/ 247475 w 733006"/>
              <a:gd name="csY97" fmla="*/ 513241 h 2095135"/>
              <a:gd name="csX98" fmla="*/ 289066 w 733006"/>
              <a:gd name="csY98" fmla="*/ 511170 h 2095135"/>
              <a:gd name="csX99" fmla="*/ 378229 w 733006"/>
              <a:gd name="csY99" fmla="*/ 511084 h 2095135"/>
              <a:gd name="csX100" fmla="*/ 470850 w 733006"/>
              <a:gd name="csY100" fmla="*/ 516341 h 2095135"/>
              <a:gd name="csX101" fmla="*/ 492933 w 733006"/>
              <a:gd name="csY101" fmla="*/ 497969 h 2095135"/>
              <a:gd name="csX102" fmla="*/ 557617 w 733006"/>
              <a:gd name="csY102" fmla="*/ 280398 h 2095135"/>
              <a:gd name="csX103" fmla="*/ 588788 w 733006"/>
              <a:gd name="csY103" fmla="*/ 200385 h 2095135"/>
              <a:gd name="csX104" fmla="*/ 530958 w 733006"/>
              <a:gd name="csY104" fmla="*/ 232968 h 2095135"/>
              <a:gd name="csX105" fmla="*/ 483823 w 733006"/>
              <a:gd name="csY105" fmla="*/ 190364 h 2095135"/>
              <a:gd name="csX106" fmla="*/ 466649 w 733006"/>
              <a:gd name="csY106" fmla="*/ 209061 h 2095135"/>
              <a:gd name="csX107" fmla="*/ 399941 w 733006"/>
              <a:gd name="csY107" fmla="*/ 216988 h 2095135"/>
              <a:gd name="csX108" fmla="*/ 363018 w 733006"/>
              <a:gd name="csY108" fmla="*/ 179615 h 2095135"/>
              <a:gd name="csX109" fmla="*/ 308839 w 733006"/>
              <a:gd name="csY109" fmla="*/ 227846 h 2095135"/>
              <a:gd name="csX110" fmla="*/ 245077 w 733006"/>
              <a:gd name="csY110" fmla="*/ 192402 h 2095135"/>
              <a:gd name="csX111" fmla="*/ 242829 w 733006"/>
              <a:gd name="csY111" fmla="*/ 198815 h 2095135"/>
              <a:gd name="csX112" fmla="*/ 168452 w 733006"/>
              <a:gd name="csY112" fmla="*/ 219348 h 2095135"/>
              <a:gd name="csX113" fmla="*/ 140694 w 733006"/>
              <a:gd name="csY113" fmla="*/ 201837 h 2095135"/>
              <a:gd name="csX114" fmla="*/ 259999 w 733006"/>
              <a:gd name="csY114" fmla="*/ 966699 h 2095135"/>
              <a:gd name="csX115" fmla="*/ 257072 w 733006"/>
              <a:gd name="csY115" fmla="*/ 1070424 h 2095135"/>
              <a:gd name="csX116" fmla="*/ 251372 w 733006"/>
              <a:gd name="csY116" fmla="*/ 1157618 h 2095135"/>
              <a:gd name="csX117" fmla="*/ 232677 w 733006"/>
              <a:gd name="csY117" fmla="*/ 1320279 h 2095135"/>
              <a:gd name="csX118" fmla="*/ 209182 w 733006"/>
              <a:gd name="csY118" fmla="*/ 1468667 h 2095135"/>
              <a:gd name="csX119" fmla="*/ 175302 w 733006"/>
              <a:gd name="csY119" fmla="*/ 1616623 h 2095135"/>
              <a:gd name="csX120" fmla="*/ 182769 w 733006"/>
              <a:gd name="csY120" fmla="*/ 1629786 h 2095135"/>
              <a:gd name="csX121" fmla="*/ 212156 w 733006"/>
              <a:gd name="csY121" fmla="*/ 1632656 h 2095135"/>
              <a:gd name="csX122" fmla="*/ 351295 w 733006"/>
              <a:gd name="csY122" fmla="*/ 1632801 h 2095135"/>
              <a:gd name="csX123" fmla="*/ 376150 w 733006"/>
              <a:gd name="csY123" fmla="*/ 1608307 h 2095135"/>
              <a:gd name="csX124" fmla="*/ 373450 w 733006"/>
              <a:gd name="csY124" fmla="*/ 1457291 h 2095135"/>
              <a:gd name="csX125" fmla="*/ 370936 w 733006"/>
              <a:gd name="csY125" fmla="*/ 1342736 h 2095135"/>
              <a:gd name="csX126" fmla="*/ 368328 w 733006"/>
              <a:gd name="csY126" fmla="*/ 1203878 h 2095135"/>
              <a:gd name="csX127" fmla="*/ 367836 w 733006"/>
              <a:gd name="csY127" fmla="*/ 813478 h 2095135"/>
              <a:gd name="csX128" fmla="*/ 365240 w 733006"/>
              <a:gd name="csY128" fmla="*/ 773243 h 2095135"/>
              <a:gd name="csX129" fmla="*/ 353084 w 733006"/>
              <a:gd name="csY129" fmla="*/ 762083 h 2095135"/>
              <a:gd name="csX130" fmla="*/ 280966 w 733006"/>
              <a:gd name="csY130" fmla="*/ 759855 h 2095135"/>
              <a:gd name="csX131" fmla="*/ 259965 w 733006"/>
              <a:gd name="csY131" fmla="*/ 779553 h 2095135"/>
              <a:gd name="csX132" fmla="*/ 262341 w 733006"/>
              <a:gd name="csY132" fmla="*/ 856275 h 2095135"/>
              <a:gd name="csX133" fmla="*/ 259999 w 733006"/>
              <a:gd name="csY133" fmla="*/ 966699 h 2095135"/>
              <a:gd name="csX134" fmla="*/ 55556 w 733006"/>
              <a:gd name="csY134" fmla="*/ 1835827 h 2095135"/>
              <a:gd name="csX135" fmla="*/ 49393 w 733006"/>
              <a:gd name="csY135" fmla="*/ 1878155 h 2095135"/>
              <a:gd name="csX136" fmla="*/ 73949 w 733006"/>
              <a:gd name="csY136" fmla="*/ 1905781 h 2095135"/>
              <a:gd name="csX137" fmla="*/ 110073 w 733006"/>
              <a:gd name="csY137" fmla="*/ 1909068 h 2095135"/>
              <a:gd name="csX138" fmla="*/ 224745 w 733006"/>
              <a:gd name="csY138" fmla="*/ 1921652 h 2095135"/>
              <a:gd name="csX139" fmla="*/ 347327 w 733006"/>
              <a:gd name="csY139" fmla="*/ 1924778 h 2095135"/>
              <a:gd name="csX140" fmla="*/ 363345 w 733006"/>
              <a:gd name="csY140" fmla="*/ 1923293 h 2095135"/>
              <a:gd name="csX141" fmla="*/ 373787 w 733006"/>
              <a:gd name="csY141" fmla="*/ 1911200 h 2095135"/>
              <a:gd name="csX142" fmla="*/ 376623 w 733006"/>
              <a:gd name="csY142" fmla="*/ 1696741 h 2095135"/>
              <a:gd name="csX143" fmla="*/ 360437 w 733006"/>
              <a:gd name="csY143" fmla="*/ 1681289 h 2095135"/>
              <a:gd name="csX144" fmla="*/ 263503 w 733006"/>
              <a:gd name="csY144" fmla="*/ 1678179 h 2095135"/>
              <a:gd name="csX145" fmla="*/ 160381 w 733006"/>
              <a:gd name="csY145" fmla="*/ 1670405 h 2095135"/>
              <a:gd name="csX146" fmla="*/ 143321 w 733006"/>
              <a:gd name="csY146" fmla="*/ 1685538 h 2095135"/>
              <a:gd name="csX147" fmla="*/ 124769 w 733006"/>
              <a:gd name="csY147" fmla="*/ 1738195 h 2095135"/>
              <a:gd name="csX148" fmla="*/ 90593 w 733006"/>
              <a:gd name="csY148" fmla="*/ 1779570 h 2095135"/>
              <a:gd name="csX149" fmla="*/ 55556 w 733006"/>
              <a:gd name="csY149" fmla="*/ 1835827 h 2095135"/>
              <a:gd name="csX150" fmla="*/ 378900 w 733006"/>
              <a:gd name="csY150" fmla="*/ 2007280 h 2095135"/>
              <a:gd name="csX151" fmla="*/ 378887 w 733006"/>
              <a:gd name="csY151" fmla="*/ 1995127 h 2095135"/>
              <a:gd name="csX152" fmla="*/ 359084 w 733006"/>
              <a:gd name="csY152" fmla="*/ 1975964 h 2095135"/>
              <a:gd name="csX153" fmla="*/ 247288 w 733006"/>
              <a:gd name="csY153" fmla="*/ 1973305 h 2095135"/>
              <a:gd name="csX154" fmla="*/ 201692 w 733006"/>
              <a:gd name="csY154" fmla="*/ 1970275 h 2095135"/>
              <a:gd name="csX155" fmla="*/ 57962 w 733006"/>
              <a:gd name="csY155" fmla="*/ 1952648 h 2095135"/>
              <a:gd name="csX156" fmla="*/ 39194 w 733006"/>
              <a:gd name="csY156" fmla="*/ 1963552 h 2095135"/>
              <a:gd name="csX157" fmla="*/ 30066 w 733006"/>
              <a:gd name="csY157" fmla="*/ 2006631 h 2095135"/>
              <a:gd name="csX158" fmla="*/ 40232 w 733006"/>
              <a:gd name="csY158" fmla="*/ 2019486 h 2095135"/>
              <a:gd name="csX159" fmla="*/ 238186 w 733006"/>
              <a:gd name="csY159" fmla="*/ 2046096 h 2095135"/>
              <a:gd name="csX160" fmla="*/ 342155 w 733006"/>
              <a:gd name="csY160" fmla="*/ 2046441 h 2095135"/>
              <a:gd name="csX161" fmla="*/ 378900 w 733006"/>
              <a:gd name="csY161" fmla="*/ 2007280 h 2095135"/>
              <a:gd name="csX162" fmla="*/ 310220 w 733006"/>
              <a:gd name="csY162" fmla="*/ 554288 h 2095135"/>
              <a:gd name="csX163" fmla="*/ 259136 w 733006"/>
              <a:gd name="csY163" fmla="*/ 556881 h 2095135"/>
              <a:gd name="csX164" fmla="*/ 249085 w 733006"/>
              <a:gd name="csY164" fmla="*/ 567981 h 2095135"/>
              <a:gd name="csX165" fmla="*/ 249141 w 733006"/>
              <a:gd name="csY165" fmla="*/ 605644 h 2095135"/>
              <a:gd name="csX166" fmla="*/ 262628 w 733006"/>
              <a:gd name="csY166" fmla="*/ 605627 h 2095135"/>
              <a:gd name="csX167" fmla="*/ 369608 w 733006"/>
              <a:gd name="csY167" fmla="*/ 603027 h 2095135"/>
              <a:gd name="csX168" fmla="*/ 463931 w 733006"/>
              <a:gd name="csY168" fmla="*/ 605146 h 2095135"/>
              <a:gd name="csX169" fmla="*/ 478113 w 733006"/>
              <a:gd name="csY169" fmla="*/ 595843 h 2095135"/>
              <a:gd name="csX170" fmla="*/ 478796 w 733006"/>
              <a:gd name="csY170" fmla="*/ 556832 h 2095135"/>
              <a:gd name="csX171" fmla="*/ 310220 w 733006"/>
              <a:gd name="csY171" fmla="*/ 554288 h 2095135"/>
              <a:gd name="csX172" fmla="*/ 348836 w 733006"/>
              <a:gd name="csY172" fmla="*/ 684115 h 2095135"/>
              <a:gd name="csX173" fmla="*/ 281333 w 733006"/>
              <a:gd name="csY173" fmla="*/ 683313 h 2095135"/>
              <a:gd name="csX174" fmla="*/ 212728 w 733006"/>
              <a:gd name="csY174" fmla="*/ 681931 h 2095135"/>
              <a:gd name="csX175" fmla="*/ 187283 w 733006"/>
              <a:gd name="csY175" fmla="*/ 689555 h 2095135"/>
              <a:gd name="csX176" fmla="*/ 186163 w 733006"/>
              <a:gd name="csY176" fmla="*/ 718266 h 2095135"/>
              <a:gd name="csX177" fmla="*/ 209894 w 733006"/>
              <a:gd name="csY177" fmla="*/ 726798 h 2095135"/>
              <a:gd name="csX178" fmla="*/ 334814 w 733006"/>
              <a:gd name="csY178" fmla="*/ 732494 h 2095135"/>
              <a:gd name="csX179" fmla="*/ 364856 w 733006"/>
              <a:gd name="csY179" fmla="*/ 707963 h 2095135"/>
              <a:gd name="csX180" fmla="*/ 348836 w 733006"/>
              <a:gd name="csY180" fmla="*/ 684115 h 2095135"/>
              <a:gd name="csX181" fmla="*/ 298865 w 733006"/>
              <a:gd name="csY181" fmla="*/ 621954 h 2095135"/>
              <a:gd name="csX182" fmla="*/ 251619 w 733006"/>
              <a:gd name="csY182" fmla="*/ 622133 h 2095135"/>
              <a:gd name="csX183" fmla="*/ 214459 w 733006"/>
              <a:gd name="csY183" fmla="*/ 636230 h 2095135"/>
              <a:gd name="csX184" fmla="*/ 221436 w 733006"/>
              <a:gd name="csY184" fmla="*/ 654205 h 2095135"/>
              <a:gd name="csX185" fmla="*/ 272412 w 733006"/>
              <a:gd name="csY185" fmla="*/ 657250 h 2095135"/>
              <a:gd name="csX186" fmla="*/ 349094 w 733006"/>
              <a:gd name="csY186" fmla="*/ 659282 h 2095135"/>
              <a:gd name="csX187" fmla="*/ 362996 w 733006"/>
              <a:gd name="csY187" fmla="*/ 644234 h 2095135"/>
              <a:gd name="csX188" fmla="*/ 348472 w 733006"/>
              <a:gd name="csY188" fmla="*/ 624649 h 2095135"/>
              <a:gd name="csX189" fmla="*/ 298865 w 733006"/>
              <a:gd name="csY189" fmla="*/ 621954 h 2095135"/>
              <a:gd name="csX190" fmla="*/ 227796 w 733006"/>
              <a:gd name="csY190" fmla="*/ 528000 h 2095135"/>
              <a:gd name="csX191" fmla="*/ 241009 w 733006"/>
              <a:gd name="csY191" fmla="*/ 545897 h 2095135"/>
              <a:gd name="csX192" fmla="*/ 282607 w 733006"/>
              <a:gd name="csY192" fmla="*/ 543480 h 2095135"/>
              <a:gd name="csX193" fmla="*/ 354213 w 733006"/>
              <a:gd name="csY193" fmla="*/ 543384 h 2095135"/>
              <a:gd name="csX194" fmla="*/ 365334 w 733006"/>
              <a:gd name="csY194" fmla="*/ 533397 h 2095135"/>
              <a:gd name="csX195" fmla="*/ 354531 w 733006"/>
              <a:gd name="csY195" fmla="*/ 521620 h 2095135"/>
              <a:gd name="csX196" fmla="*/ 259169 w 733006"/>
              <a:gd name="csY196" fmla="*/ 521978 h 2095135"/>
              <a:gd name="csX197" fmla="*/ 227796 w 733006"/>
              <a:gd name="csY197" fmla="*/ 528000 h 2095135"/>
              <a:gd name="csX198" fmla="*/ 508068 w 733006"/>
              <a:gd name="csY198" fmla="*/ 190710 h 2095135"/>
              <a:gd name="csX199" fmla="*/ 521293 w 733006"/>
              <a:gd name="csY199" fmla="*/ 205907 h 2095135"/>
              <a:gd name="csX200" fmla="*/ 525175 w 733006"/>
              <a:gd name="csY200" fmla="*/ 202985 h 2095135"/>
              <a:gd name="csX201" fmla="*/ 500276 w 733006"/>
              <a:gd name="csY201" fmla="*/ 160640 h 2095135"/>
              <a:gd name="csX202" fmla="*/ 497122 w 733006"/>
              <a:gd name="csY202" fmla="*/ 162007 h 2095135"/>
              <a:gd name="csX203" fmla="*/ 508068 w 733006"/>
              <a:gd name="csY203" fmla="*/ 190710 h 2095135"/>
              <a:gd name="csX204" fmla="*/ 215522 w 733006"/>
              <a:gd name="csY204" fmla="*/ 197296 h 2095135"/>
              <a:gd name="csX205" fmla="*/ 234029 w 733006"/>
              <a:gd name="csY205" fmla="*/ 162725 h 2095135"/>
              <a:gd name="csX206" fmla="*/ 229000 w 733006"/>
              <a:gd name="csY206" fmla="*/ 159902 h 2095135"/>
              <a:gd name="csX207" fmla="*/ 204824 w 733006"/>
              <a:gd name="csY207" fmla="*/ 199677 h 2095135"/>
              <a:gd name="csX208" fmla="*/ 207990 w 733006"/>
              <a:gd name="csY208" fmla="*/ 202198 h 2095135"/>
              <a:gd name="csX209" fmla="*/ 215522 w 733006"/>
              <a:gd name="csY209" fmla="*/ 197296 h 2095135"/>
              <a:gd name="csX210" fmla="*/ 484400 w 733006"/>
              <a:gd name="csY210" fmla="*/ 896678 h 2095135"/>
              <a:gd name="csX211" fmla="*/ 486181 w 733006"/>
              <a:gd name="csY211" fmla="*/ 896585 h 2095135"/>
              <a:gd name="csX212" fmla="*/ 486181 w 733006"/>
              <a:gd name="csY212" fmla="*/ 795289 h 2095135"/>
              <a:gd name="csX213" fmla="*/ 720241 w 733006"/>
              <a:gd name="csY213" fmla="*/ 2030666 h 2095135"/>
              <a:gd name="csX214" fmla="*/ 721175 w 733006"/>
              <a:gd name="csY214" fmla="*/ 2029733 h 2095135"/>
              <a:gd name="csX0" fmla="*/ 96263 w 733006"/>
              <a:gd name="csY0" fmla="*/ 2076207 h 2095135"/>
              <a:gd name="csX1" fmla="*/ 63862 w 733006"/>
              <a:gd name="csY1" fmla="*/ 2065388 h 2095135"/>
              <a:gd name="csX2" fmla="*/ 16555 w 733006"/>
              <a:gd name="csY2" fmla="*/ 2050152 h 2095135"/>
              <a:gd name="csX3" fmla="*/ 15 w 733006"/>
              <a:gd name="csY3" fmla="*/ 2023802 h 2095135"/>
              <a:gd name="csX4" fmla="*/ 18368 w 733006"/>
              <a:gd name="csY4" fmla="*/ 1940709 h 2095135"/>
              <a:gd name="csX5" fmla="*/ 22139 w 733006"/>
              <a:gd name="csY5" fmla="*/ 1907268 h 2095135"/>
              <a:gd name="csX6" fmla="*/ 57941 w 733006"/>
              <a:gd name="csY6" fmla="*/ 1774163 h 2095135"/>
              <a:gd name="csX7" fmla="*/ 102478 w 733006"/>
              <a:gd name="csY7" fmla="*/ 1720275 h 2095135"/>
              <a:gd name="csX8" fmla="*/ 108579 w 733006"/>
              <a:gd name="csY8" fmla="*/ 1650967 h 2095135"/>
              <a:gd name="csX9" fmla="*/ 115628 w 733006"/>
              <a:gd name="csY9" fmla="*/ 1625405 h 2095135"/>
              <a:gd name="csX10" fmla="*/ 156323 w 733006"/>
              <a:gd name="csY10" fmla="*/ 1560181 h 2095135"/>
              <a:gd name="csX11" fmla="*/ 199424 w 733006"/>
              <a:gd name="csY11" fmla="*/ 1364729 h 2095135"/>
              <a:gd name="csX12" fmla="*/ 216779 w 733006"/>
              <a:gd name="csY12" fmla="*/ 1219490 h 2095135"/>
              <a:gd name="csX13" fmla="*/ 229755 w 733006"/>
              <a:gd name="csY13" fmla="*/ 1099357 h 2095135"/>
              <a:gd name="csX14" fmla="*/ 232707 w 733006"/>
              <a:gd name="csY14" fmla="*/ 1056423 h 2095135"/>
              <a:gd name="csX15" fmla="*/ 235622 w 733006"/>
              <a:gd name="csY15" fmla="*/ 952675 h 2095135"/>
              <a:gd name="csX16" fmla="*/ 235445 w 733006"/>
              <a:gd name="csY16" fmla="*/ 780278 h 2095135"/>
              <a:gd name="csX17" fmla="*/ 214544 w 733006"/>
              <a:gd name="csY17" fmla="*/ 756435 h 2095135"/>
              <a:gd name="csX18" fmla="*/ 172569 w 733006"/>
              <a:gd name="csY18" fmla="*/ 742582 h 2095135"/>
              <a:gd name="csX19" fmla="*/ 168784 w 733006"/>
              <a:gd name="csY19" fmla="*/ 669116 h 2095135"/>
              <a:gd name="csX20" fmla="*/ 191657 w 733006"/>
              <a:gd name="csY20" fmla="*/ 630765 h 2095135"/>
              <a:gd name="csX21" fmla="*/ 208150 w 733006"/>
              <a:gd name="csY21" fmla="*/ 609084 h 2095135"/>
              <a:gd name="csX22" fmla="*/ 216756 w 733006"/>
              <a:gd name="csY22" fmla="*/ 558673 h 2095135"/>
              <a:gd name="csX23" fmla="*/ 209092 w 733006"/>
              <a:gd name="csY23" fmla="*/ 521540 h 2095135"/>
              <a:gd name="csX24" fmla="*/ 204683 w 733006"/>
              <a:gd name="csY24" fmla="*/ 474024 h 2095135"/>
              <a:gd name="csX25" fmla="*/ 115483 w 733006"/>
              <a:gd name="csY25" fmla="*/ 213499 h 2095135"/>
              <a:gd name="csX26" fmla="*/ 102909 w 733006"/>
              <a:gd name="csY26" fmla="*/ 182297 h 2095135"/>
              <a:gd name="csX27" fmla="*/ 104315 w 733006"/>
              <a:gd name="csY27" fmla="*/ 163968 h 2095135"/>
              <a:gd name="csX28" fmla="*/ 122444 w 733006"/>
              <a:gd name="csY28" fmla="*/ 160805 h 2095135"/>
              <a:gd name="csX29" fmla="*/ 170283 w 733006"/>
              <a:gd name="csY29" fmla="*/ 187783 h 2095135"/>
              <a:gd name="csX30" fmla="*/ 180938 w 733006"/>
              <a:gd name="csY30" fmla="*/ 195322 h 2095135"/>
              <a:gd name="csX31" fmla="*/ 221419 w 733006"/>
              <a:gd name="csY31" fmla="*/ 138058 h 2095135"/>
              <a:gd name="csX32" fmla="*/ 294099 w 733006"/>
              <a:gd name="csY32" fmla="*/ 91372 h 2095135"/>
              <a:gd name="csX33" fmla="*/ 302307 w 733006"/>
              <a:gd name="csY33" fmla="*/ 76560 h 2095135"/>
              <a:gd name="csX34" fmla="*/ 320284 w 733006"/>
              <a:gd name="csY34" fmla="*/ 8414 h 2095135"/>
              <a:gd name="csX35" fmla="*/ 324784 w 733006"/>
              <a:gd name="csY35" fmla="*/ 946 h 2095135"/>
              <a:gd name="csX36" fmla="*/ 399212 w 733006"/>
              <a:gd name="csY36" fmla="*/ 0 h 2095135"/>
              <a:gd name="csX37" fmla="*/ 425980 w 733006"/>
              <a:gd name="csY37" fmla="*/ 78301 h 2095135"/>
              <a:gd name="csX38" fmla="*/ 431861 w 733006"/>
              <a:gd name="csY38" fmla="*/ 90312 h 2095135"/>
              <a:gd name="csX39" fmla="*/ 540349 w 733006"/>
              <a:gd name="csY39" fmla="*/ 187946 h 2095135"/>
              <a:gd name="csX40" fmla="*/ 545555 w 733006"/>
              <a:gd name="csY40" fmla="*/ 197828 h 2095135"/>
              <a:gd name="csX41" fmla="*/ 587318 w 733006"/>
              <a:gd name="csY41" fmla="*/ 171260 h 2095135"/>
              <a:gd name="csX42" fmla="*/ 601503 w 733006"/>
              <a:gd name="csY42" fmla="*/ 163707 h 2095135"/>
              <a:gd name="csX43" fmla="*/ 625254 w 733006"/>
              <a:gd name="csY43" fmla="*/ 163123 h 2095135"/>
              <a:gd name="csX44" fmla="*/ 625468 w 733006"/>
              <a:gd name="csY44" fmla="*/ 187579 h 2095135"/>
              <a:gd name="csX45" fmla="*/ 597543 w 733006"/>
              <a:gd name="csY45" fmla="*/ 251872 h 2095135"/>
              <a:gd name="csX46" fmla="*/ 531831 w 733006"/>
              <a:gd name="csY46" fmla="*/ 442689 h 2095135"/>
              <a:gd name="csX47" fmla="*/ 519888 w 733006"/>
              <a:gd name="csY47" fmla="*/ 501474 h 2095135"/>
              <a:gd name="csX48" fmla="*/ 522506 w 733006"/>
              <a:gd name="csY48" fmla="*/ 525086 h 2095135"/>
              <a:gd name="csX49" fmla="*/ 516235 w 733006"/>
              <a:gd name="csY49" fmla="*/ 555946 h 2095135"/>
              <a:gd name="csX50" fmla="*/ 521332 w 733006"/>
              <a:gd name="csY50" fmla="*/ 610676 h 2095135"/>
              <a:gd name="csX51" fmla="*/ 541382 w 733006"/>
              <a:gd name="csY51" fmla="*/ 642597 h 2095135"/>
              <a:gd name="csX52" fmla="*/ 557031 w 733006"/>
              <a:gd name="csY52" fmla="*/ 667949 h 2095135"/>
              <a:gd name="csX53" fmla="*/ 553994 w 733006"/>
              <a:gd name="csY53" fmla="*/ 744146 h 2095135"/>
              <a:gd name="csX54" fmla="*/ 508215 w 733006"/>
              <a:gd name="csY54" fmla="*/ 758841 h 2095135"/>
              <a:gd name="csX55" fmla="*/ 497442 w 733006"/>
              <a:gd name="csY55" fmla="*/ 771256 h 2095135"/>
              <a:gd name="csX56" fmla="*/ 493005 w 733006"/>
              <a:gd name="csY56" fmla="*/ 922055 h 2095135"/>
              <a:gd name="csX57" fmla="*/ 502900 w 733006"/>
              <a:gd name="csY57" fmla="*/ 1114191 h 2095135"/>
              <a:gd name="csX58" fmla="*/ 508800 w 733006"/>
              <a:gd name="csY58" fmla="*/ 1205474 h 2095135"/>
              <a:gd name="csX59" fmla="*/ 522952 w 733006"/>
              <a:gd name="csY59" fmla="*/ 1320065 h 2095135"/>
              <a:gd name="csX60" fmla="*/ 554682 w 733006"/>
              <a:gd name="csY60" fmla="*/ 1501203 h 2095135"/>
              <a:gd name="csX61" fmla="*/ 576958 w 733006"/>
              <a:gd name="csY61" fmla="*/ 1593963 h 2095135"/>
              <a:gd name="csX62" fmla="*/ 595349 w 733006"/>
              <a:gd name="csY62" fmla="*/ 1613498 h 2095135"/>
              <a:gd name="csX63" fmla="*/ 613936 w 733006"/>
              <a:gd name="csY63" fmla="*/ 1624058 h 2095135"/>
              <a:gd name="csX64" fmla="*/ 620938 w 733006"/>
              <a:gd name="csY64" fmla="*/ 1652071 h 2095135"/>
              <a:gd name="csX65" fmla="*/ 630805 w 733006"/>
              <a:gd name="csY65" fmla="*/ 1721702 h 2095135"/>
              <a:gd name="csX66" fmla="*/ 685830 w 733006"/>
              <a:gd name="csY66" fmla="*/ 1792915 h 2095135"/>
              <a:gd name="csX67" fmla="*/ 708904 w 733006"/>
              <a:gd name="csY67" fmla="*/ 1890290 h 2095135"/>
              <a:gd name="csX68" fmla="*/ 716580 w 733006"/>
              <a:gd name="csY68" fmla="*/ 1951136 h 2095135"/>
              <a:gd name="csX69" fmla="*/ 729397 w 733006"/>
              <a:gd name="csY69" fmla="*/ 2030261 h 2095135"/>
              <a:gd name="csX70" fmla="*/ 714212 w 733006"/>
              <a:gd name="csY70" fmla="*/ 2049544 h 2095135"/>
              <a:gd name="csX71" fmla="*/ 96263 w 733006"/>
              <a:gd name="csY71" fmla="*/ 2076207 h 2095135"/>
              <a:gd name="csX72" fmla="*/ 489970 w 733006"/>
              <a:gd name="csY72" fmla="*/ 152208 h 2095135"/>
              <a:gd name="csX73" fmla="*/ 490754 w 733006"/>
              <a:gd name="csY73" fmla="*/ 152592 h 2095135"/>
              <a:gd name="csX74" fmla="*/ 489489 w 733006"/>
              <a:gd name="csY74" fmla="*/ 149547 h 2095135"/>
              <a:gd name="csX75" fmla="*/ 393621 w 733006"/>
              <a:gd name="csY75" fmla="*/ 99259 h 2095135"/>
              <a:gd name="csX76" fmla="*/ 390419 w 733006"/>
              <a:gd name="csY76" fmla="*/ 18568 h 2095135"/>
              <a:gd name="csX77" fmla="*/ 334131 w 733006"/>
              <a:gd name="csY77" fmla="*/ 24327 h 2095135"/>
              <a:gd name="csX78" fmla="*/ 344678 w 733006"/>
              <a:gd name="csY78" fmla="*/ 101259 h 2095135"/>
              <a:gd name="csX79" fmla="*/ 298854 w 733006"/>
              <a:gd name="csY79" fmla="*/ 114003 h 2095135"/>
              <a:gd name="csX80" fmla="*/ 237456 w 733006"/>
              <a:gd name="csY80" fmla="*/ 154340 h 2095135"/>
              <a:gd name="csX81" fmla="*/ 240382 w 733006"/>
              <a:gd name="csY81" fmla="*/ 154035 h 2095135"/>
              <a:gd name="csX82" fmla="*/ 262731 w 733006"/>
              <a:gd name="csY82" fmla="*/ 170426 h 2095135"/>
              <a:gd name="csX83" fmla="*/ 279169 w 733006"/>
              <a:gd name="csY83" fmla="*/ 193173 h 2095135"/>
              <a:gd name="csX84" fmla="*/ 327717 w 733006"/>
              <a:gd name="csY84" fmla="*/ 188556 h 2095135"/>
              <a:gd name="csX85" fmla="*/ 348052 w 733006"/>
              <a:gd name="csY85" fmla="*/ 156919 h 2095135"/>
              <a:gd name="csX86" fmla="*/ 380330 w 733006"/>
              <a:gd name="csY86" fmla="*/ 156483 h 2095135"/>
              <a:gd name="csX87" fmla="*/ 408490 w 733006"/>
              <a:gd name="csY87" fmla="*/ 195400 h 2095135"/>
              <a:gd name="csX88" fmla="*/ 445346 w 733006"/>
              <a:gd name="csY88" fmla="*/ 197582 h 2095135"/>
              <a:gd name="csX89" fmla="*/ 464798 w 733006"/>
              <a:gd name="csY89" fmla="*/ 174107 h 2095135"/>
              <a:gd name="csX90" fmla="*/ 489970 w 733006"/>
              <a:gd name="csY90" fmla="*/ 152208 h 2095135"/>
              <a:gd name="csX91" fmla="*/ 140694 w 733006"/>
              <a:gd name="csY91" fmla="*/ 201837 h 2095135"/>
              <a:gd name="csX92" fmla="*/ 139834 w 733006"/>
              <a:gd name="csY92" fmla="*/ 201482 h 2095135"/>
              <a:gd name="csX93" fmla="*/ 140812 w 733006"/>
              <a:gd name="csY93" fmla="*/ 204941 h 2095135"/>
              <a:gd name="csX94" fmla="*/ 144631 w 733006"/>
              <a:gd name="csY94" fmla="*/ 217811 h 2095135"/>
              <a:gd name="csX95" fmla="*/ 201241 w 733006"/>
              <a:gd name="csY95" fmla="*/ 373387 h 2095135"/>
              <a:gd name="csX96" fmla="*/ 235971 w 733006"/>
              <a:gd name="csY96" fmla="*/ 504451 h 2095135"/>
              <a:gd name="csX97" fmla="*/ 247475 w 733006"/>
              <a:gd name="csY97" fmla="*/ 513241 h 2095135"/>
              <a:gd name="csX98" fmla="*/ 289066 w 733006"/>
              <a:gd name="csY98" fmla="*/ 511170 h 2095135"/>
              <a:gd name="csX99" fmla="*/ 378229 w 733006"/>
              <a:gd name="csY99" fmla="*/ 511084 h 2095135"/>
              <a:gd name="csX100" fmla="*/ 470850 w 733006"/>
              <a:gd name="csY100" fmla="*/ 516341 h 2095135"/>
              <a:gd name="csX101" fmla="*/ 492933 w 733006"/>
              <a:gd name="csY101" fmla="*/ 497969 h 2095135"/>
              <a:gd name="csX102" fmla="*/ 557617 w 733006"/>
              <a:gd name="csY102" fmla="*/ 280398 h 2095135"/>
              <a:gd name="csX103" fmla="*/ 588788 w 733006"/>
              <a:gd name="csY103" fmla="*/ 200385 h 2095135"/>
              <a:gd name="csX104" fmla="*/ 530958 w 733006"/>
              <a:gd name="csY104" fmla="*/ 232968 h 2095135"/>
              <a:gd name="csX105" fmla="*/ 483823 w 733006"/>
              <a:gd name="csY105" fmla="*/ 190364 h 2095135"/>
              <a:gd name="csX106" fmla="*/ 466649 w 733006"/>
              <a:gd name="csY106" fmla="*/ 209061 h 2095135"/>
              <a:gd name="csX107" fmla="*/ 399941 w 733006"/>
              <a:gd name="csY107" fmla="*/ 216988 h 2095135"/>
              <a:gd name="csX108" fmla="*/ 363018 w 733006"/>
              <a:gd name="csY108" fmla="*/ 179615 h 2095135"/>
              <a:gd name="csX109" fmla="*/ 308839 w 733006"/>
              <a:gd name="csY109" fmla="*/ 227846 h 2095135"/>
              <a:gd name="csX110" fmla="*/ 245077 w 733006"/>
              <a:gd name="csY110" fmla="*/ 192402 h 2095135"/>
              <a:gd name="csX111" fmla="*/ 242829 w 733006"/>
              <a:gd name="csY111" fmla="*/ 198815 h 2095135"/>
              <a:gd name="csX112" fmla="*/ 168452 w 733006"/>
              <a:gd name="csY112" fmla="*/ 219348 h 2095135"/>
              <a:gd name="csX113" fmla="*/ 140694 w 733006"/>
              <a:gd name="csY113" fmla="*/ 201837 h 2095135"/>
              <a:gd name="csX114" fmla="*/ 259999 w 733006"/>
              <a:gd name="csY114" fmla="*/ 966699 h 2095135"/>
              <a:gd name="csX115" fmla="*/ 257072 w 733006"/>
              <a:gd name="csY115" fmla="*/ 1070424 h 2095135"/>
              <a:gd name="csX116" fmla="*/ 251372 w 733006"/>
              <a:gd name="csY116" fmla="*/ 1157618 h 2095135"/>
              <a:gd name="csX117" fmla="*/ 232677 w 733006"/>
              <a:gd name="csY117" fmla="*/ 1320279 h 2095135"/>
              <a:gd name="csX118" fmla="*/ 209182 w 733006"/>
              <a:gd name="csY118" fmla="*/ 1468667 h 2095135"/>
              <a:gd name="csX119" fmla="*/ 175302 w 733006"/>
              <a:gd name="csY119" fmla="*/ 1616623 h 2095135"/>
              <a:gd name="csX120" fmla="*/ 182769 w 733006"/>
              <a:gd name="csY120" fmla="*/ 1629786 h 2095135"/>
              <a:gd name="csX121" fmla="*/ 212156 w 733006"/>
              <a:gd name="csY121" fmla="*/ 1632656 h 2095135"/>
              <a:gd name="csX122" fmla="*/ 351295 w 733006"/>
              <a:gd name="csY122" fmla="*/ 1632801 h 2095135"/>
              <a:gd name="csX123" fmla="*/ 376150 w 733006"/>
              <a:gd name="csY123" fmla="*/ 1608307 h 2095135"/>
              <a:gd name="csX124" fmla="*/ 373450 w 733006"/>
              <a:gd name="csY124" fmla="*/ 1457291 h 2095135"/>
              <a:gd name="csX125" fmla="*/ 370936 w 733006"/>
              <a:gd name="csY125" fmla="*/ 1342736 h 2095135"/>
              <a:gd name="csX126" fmla="*/ 368328 w 733006"/>
              <a:gd name="csY126" fmla="*/ 1203878 h 2095135"/>
              <a:gd name="csX127" fmla="*/ 367836 w 733006"/>
              <a:gd name="csY127" fmla="*/ 813478 h 2095135"/>
              <a:gd name="csX128" fmla="*/ 365240 w 733006"/>
              <a:gd name="csY128" fmla="*/ 773243 h 2095135"/>
              <a:gd name="csX129" fmla="*/ 353084 w 733006"/>
              <a:gd name="csY129" fmla="*/ 762083 h 2095135"/>
              <a:gd name="csX130" fmla="*/ 280966 w 733006"/>
              <a:gd name="csY130" fmla="*/ 759855 h 2095135"/>
              <a:gd name="csX131" fmla="*/ 259965 w 733006"/>
              <a:gd name="csY131" fmla="*/ 779553 h 2095135"/>
              <a:gd name="csX132" fmla="*/ 262341 w 733006"/>
              <a:gd name="csY132" fmla="*/ 856275 h 2095135"/>
              <a:gd name="csX133" fmla="*/ 259999 w 733006"/>
              <a:gd name="csY133" fmla="*/ 966699 h 2095135"/>
              <a:gd name="csX134" fmla="*/ 55556 w 733006"/>
              <a:gd name="csY134" fmla="*/ 1835827 h 2095135"/>
              <a:gd name="csX135" fmla="*/ 49393 w 733006"/>
              <a:gd name="csY135" fmla="*/ 1878155 h 2095135"/>
              <a:gd name="csX136" fmla="*/ 73949 w 733006"/>
              <a:gd name="csY136" fmla="*/ 1905781 h 2095135"/>
              <a:gd name="csX137" fmla="*/ 110073 w 733006"/>
              <a:gd name="csY137" fmla="*/ 1909068 h 2095135"/>
              <a:gd name="csX138" fmla="*/ 224745 w 733006"/>
              <a:gd name="csY138" fmla="*/ 1921652 h 2095135"/>
              <a:gd name="csX139" fmla="*/ 347327 w 733006"/>
              <a:gd name="csY139" fmla="*/ 1924778 h 2095135"/>
              <a:gd name="csX140" fmla="*/ 363345 w 733006"/>
              <a:gd name="csY140" fmla="*/ 1923293 h 2095135"/>
              <a:gd name="csX141" fmla="*/ 373787 w 733006"/>
              <a:gd name="csY141" fmla="*/ 1911200 h 2095135"/>
              <a:gd name="csX142" fmla="*/ 376623 w 733006"/>
              <a:gd name="csY142" fmla="*/ 1696741 h 2095135"/>
              <a:gd name="csX143" fmla="*/ 360437 w 733006"/>
              <a:gd name="csY143" fmla="*/ 1681289 h 2095135"/>
              <a:gd name="csX144" fmla="*/ 263503 w 733006"/>
              <a:gd name="csY144" fmla="*/ 1678179 h 2095135"/>
              <a:gd name="csX145" fmla="*/ 160381 w 733006"/>
              <a:gd name="csY145" fmla="*/ 1670405 h 2095135"/>
              <a:gd name="csX146" fmla="*/ 143321 w 733006"/>
              <a:gd name="csY146" fmla="*/ 1685538 h 2095135"/>
              <a:gd name="csX147" fmla="*/ 124769 w 733006"/>
              <a:gd name="csY147" fmla="*/ 1738195 h 2095135"/>
              <a:gd name="csX148" fmla="*/ 90593 w 733006"/>
              <a:gd name="csY148" fmla="*/ 1779570 h 2095135"/>
              <a:gd name="csX149" fmla="*/ 55556 w 733006"/>
              <a:gd name="csY149" fmla="*/ 1835827 h 2095135"/>
              <a:gd name="csX150" fmla="*/ 378900 w 733006"/>
              <a:gd name="csY150" fmla="*/ 2007280 h 2095135"/>
              <a:gd name="csX151" fmla="*/ 378887 w 733006"/>
              <a:gd name="csY151" fmla="*/ 1995127 h 2095135"/>
              <a:gd name="csX152" fmla="*/ 359084 w 733006"/>
              <a:gd name="csY152" fmla="*/ 1975964 h 2095135"/>
              <a:gd name="csX153" fmla="*/ 247288 w 733006"/>
              <a:gd name="csY153" fmla="*/ 1973305 h 2095135"/>
              <a:gd name="csX154" fmla="*/ 201692 w 733006"/>
              <a:gd name="csY154" fmla="*/ 1970275 h 2095135"/>
              <a:gd name="csX155" fmla="*/ 57962 w 733006"/>
              <a:gd name="csY155" fmla="*/ 1952648 h 2095135"/>
              <a:gd name="csX156" fmla="*/ 39194 w 733006"/>
              <a:gd name="csY156" fmla="*/ 1963552 h 2095135"/>
              <a:gd name="csX157" fmla="*/ 30066 w 733006"/>
              <a:gd name="csY157" fmla="*/ 2006631 h 2095135"/>
              <a:gd name="csX158" fmla="*/ 40232 w 733006"/>
              <a:gd name="csY158" fmla="*/ 2019486 h 2095135"/>
              <a:gd name="csX159" fmla="*/ 238186 w 733006"/>
              <a:gd name="csY159" fmla="*/ 2046096 h 2095135"/>
              <a:gd name="csX160" fmla="*/ 342155 w 733006"/>
              <a:gd name="csY160" fmla="*/ 2046441 h 2095135"/>
              <a:gd name="csX161" fmla="*/ 378900 w 733006"/>
              <a:gd name="csY161" fmla="*/ 2007280 h 2095135"/>
              <a:gd name="csX162" fmla="*/ 310220 w 733006"/>
              <a:gd name="csY162" fmla="*/ 554288 h 2095135"/>
              <a:gd name="csX163" fmla="*/ 259136 w 733006"/>
              <a:gd name="csY163" fmla="*/ 556881 h 2095135"/>
              <a:gd name="csX164" fmla="*/ 249085 w 733006"/>
              <a:gd name="csY164" fmla="*/ 567981 h 2095135"/>
              <a:gd name="csX165" fmla="*/ 249141 w 733006"/>
              <a:gd name="csY165" fmla="*/ 605644 h 2095135"/>
              <a:gd name="csX166" fmla="*/ 262628 w 733006"/>
              <a:gd name="csY166" fmla="*/ 605627 h 2095135"/>
              <a:gd name="csX167" fmla="*/ 369608 w 733006"/>
              <a:gd name="csY167" fmla="*/ 603027 h 2095135"/>
              <a:gd name="csX168" fmla="*/ 463931 w 733006"/>
              <a:gd name="csY168" fmla="*/ 605146 h 2095135"/>
              <a:gd name="csX169" fmla="*/ 478113 w 733006"/>
              <a:gd name="csY169" fmla="*/ 595843 h 2095135"/>
              <a:gd name="csX170" fmla="*/ 478796 w 733006"/>
              <a:gd name="csY170" fmla="*/ 556832 h 2095135"/>
              <a:gd name="csX171" fmla="*/ 310220 w 733006"/>
              <a:gd name="csY171" fmla="*/ 554288 h 2095135"/>
              <a:gd name="csX172" fmla="*/ 348836 w 733006"/>
              <a:gd name="csY172" fmla="*/ 684115 h 2095135"/>
              <a:gd name="csX173" fmla="*/ 281333 w 733006"/>
              <a:gd name="csY173" fmla="*/ 683313 h 2095135"/>
              <a:gd name="csX174" fmla="*/ 212728 w 733006"/>
              <a:gd name="csY174" fmla="*/ 681931 h 2095135"/>
              <a:gd name="csX175" fmla="*/ 187283 w 733006"/>
              <a:gd name="csY175" fmla="*/ 689555 h 2095135"/>
              <a:gd name="csX176" fmla="*/ 186163 w 733006"/>
              <a:gd name="csY176" fmla="*/ 718266 h 2095135"/>
              <a:gd name="csX177" fmla="*/ 209894 w 733006"/>
              <a:gd name="csY177" fmla="*/ 726798 h 2095135"/>
              <a:gd name="csX178" fmla="*/ 334814 w 733006"/>
              <a:gd name="csY178" fmla="*/ 732494 h 2095135"/>
              <a:gd name="csX179" fmla="*/ 364856 w 733006"/>
              <a:gd name="csY179" fmla="*/ 707963 h 2095135"/>
              <a:gd name="csX180" fmla="*/ 348836 w 733006"/>
              <a:gd name="csY180" fmla="*/ 684115 h 2095135"/>
              <a:gd name="csX181" fmla="*/ 298865 w 733006"/>
              <a:gd name="csY181" fmla="*/ 621954 h 2095135"/>
              <a:gd name="csX182" fmla="*/ 251619 w 733006"/>
              <a:gd name="csY182" fmla="*/ 622133 h 2095135"/>
              <a:gd name="csX183" fmla="*/ 214459 w 733006"/>
              <a:gd name="csY183" fmla="*/ 636230 h 2095135"/>
              <a:gd name="csX184" fmla="*/ 221436 w 733006"/>
              <a:gd name="csY184" fmla="*/ 654205 h 2095135"/>
              <a:gd name="csX185" fmla="*/ 272412 w 733006"/>
              <a:gd name="csY185" fmla="*/ 657250 h 2095135"/>
              <a:gd name="csX186" fmla="*/ 349094 w 733006"/>
              <a:gd name="csY186" fmla="*/ 659282 h 2095135"/>
              <a:gd name="csX187" fmla="*/ 362996 w 733006"/>
              <a:gd name="csY187" fmla="*/ 644234 h 2095135"/>
              <a:gd name="csX188" fmla="*/ 348472 w 733006"/>
              <a:gd name="csY188" fmla="*/ 624649 h 2095135"/>
              <a:gd name="csX189" fmla="*/ 298865 w 733006"/>
              <a:gd name="csY189" fmla="*/ 621954 h 2095135"/>
              <a:gd name="csX190" fmla="*/ 227796 w 733006"/>
              <a:gd name="csY190" fmla="*/ 528000 h 2095135"/>
              <a:gd name="csX191" fmla="*/ 241009 w 733006"/>
              <a:gd name="csY191" fmla="*/ 545897 h 2095135"/>
              <a:gd name="csX192" fmla="*/ 282607 w 733006"/>
              <a:gd name="csY192" fmla="*/ 543480 h 2095135"/>
              <a:gd name="csX193" fmla="*/ 354213 w 733006"/>
              <a:gd name="csY193" fmla="*/ 543384 h 2095135"/>
              <a:gd name="csX194" fmla="*/ 365334 w 733006"/>
              <a:gd name="csY194" fmla="*/ 533397 h 2095135"/>
              <a:gd name="csX195" fmla="*/ 354531 w 733006"/>
              <a:gd name="csY195" fmla="*/ 521620 h 2095135"/>
              <a:gd name="csX196" fmla="*/ 259169 w 733006"/>
              <a:gd name="csY196" fmla="*/ 521978 h 2095135"/>
              <a:gd name="csX197" fmla="*/ 227796 w 733006"/>
              <a:gd name="csY197" fmla="*/ 528000 h 2095135"/>
              <a:gd name="csX198" fmla="*/ 508068 w 733006"/>
              <a:gd name="csY198" fmla="*/ 190710 h 2095135"/>
              <a:gd name="csX199" fmla="*/ 521293 w 733006"/>
              <a:gd name="csY199" fmla="*/ 205907 h 2095135"/>
              <a:gd name="csX200" fmla="*/ 525175 w 733006"/>
              <a:gd name="csY200" fmla="*/ 202985 h 2095135"/>
              <a:gd name="csX201" fmla="*/ 500276 w 733006"/>
              <a:gd name="csY201" fmla="*/ 160640 h 2095135"/>
              <a:gd name="csX202" fmla="*/ 497122 w 733006"/>
              <a:gd name="csY202" fmla="*/ 162007 h 2095135"/>
              <a:gd name="csX203" fmla="*/ 508068 w 733006"/>
              <a:gd name="csY203" fmla="*/ 190710 h 2095135"/>
              <a:gd name="csX204" fmla="*/ 215522 w 733006"/>
              <a:gd name="csY204" fmla="*/ 197296 h 2095135"/>
              <a:gd name="csX205" fmla="*/ 234029 w 733006"/>
              <a:gd name="csY205" fmla="*/ 162725 h 2095135"/>
              <a:gd name="csX206" fmla="*/ 229000 w 733006"/>
              <a:gd name="csY206" fmla="*/ 159902 h 2095135"/>
              <a:gd name="csX207" fmla="*/ 204824 w 733006"/>
              <a:gd name="csY207" fmla="*/ 199677 h 2095135"/>
              <a:gd name="csX208" fmla="*/ 207990 w 733006"/>
              <a:gd name="csY208" fmla="*/ 202198 h 2095135"/>
              <a:gd name="csX209" fmla="*/ 215522 w 733006"/>
              <a:gd name="csY209" fmla="*/ 197296 h 2095135"/>
              <a:gd name="csX210" fmla="*/ 484400 w 733006"/>
              <a:gd name="csY210" fmla="*/ 896678 h 2095135"/>
              <a:gd name="csX211" fmla="*/ 486181 w 733006"/>
              <a:gd name="csY211" fmla="*/ 896585 h 2095135"/>
              <a:gd name="csX212" fmla="*/ 486181 w 733006"/>
              <a:gd name="csY212" fmla="*/ 795289 h 2095135"/>
              <a:gd name="csX0" fmla="*/ 96263 w 733006"/>
              <a:gd name="csY0" fmla="*/ 2076207 h 2099709"/>
              <a:gd name="csX1" fmla="*/ 63862 w 733006"/>
              <a:gd name="csY1" fmla="*/ 2065388 h 2099709"/>
              <a:gd name="csX2" fmla="*/ 16555 w 733006"/>
              <a:gd name="csY2" fmla="*/ 2050152 h 2099709"/>
              <a:gd name="csX3" fmla="*/ 15 w 733006"/>
              <a:gd name="csY3" fmla="*/ 2023802 h 2099709"/>
              <a:gd name="csX4" fmla="*/ 18368 w 733006"/>
              <a:gd name="csY4" fmla="*/ 1940709 h 2099709"/>
              <a:gd name="csX5" fmla="*/ 22139 w 733006"/>
              <a:gd name="csY5" fmla="*/ 1907268 h 2099709"/>
              <a:gd name="csX6" fmla="*/ 57941 w 733006"/>
              <a:gd name="csY6" fmla="*/ 1774163 h 2099709"/>
              <a:gd name="csX7" fmla="*/ 102478 w 733006"/>
              <a:gd name="csY7" fmla="*/ 1720275 h 2099709"/>
              <a:gd name="csX8" fmla="*/ 108579 w 733006"/>
              <a:gd name="csY8" fmla="*/ 1650967 h 2099709"/>
              <a:gd name="csX9" fmla="*/ 115628 w 733006"/>
              <a:gd name="csY9" fmla="*/ 1625405 h 2099709"/>
              <a:gd name="csX10" fmla="*/ 156323 w 733006"/>
              <a:gd name="csY10" fmla="*/ 1560181 h 2099709"/>
              <a:gd name="csX11" fmla="*/ 199424 w 733006"/>
              <a:gd name="csY11" fmla="*/ 1364729 h 2099709"/>
              <a:gd name="csX12" fmla="*/ 216779 w 733006"/>
              <a:gd name="csY12" fmla="*/ 1219490 h 2099709"/>
              <a:gd name="csX13" fmla="*/ 229755 w 733006"/>
              <a:gd name="csY13" fmla="*/ 1099357 h 2099709"/>
              <a:gd name="csX14" fmla="*/ 232707 w 733006"/>
              <a:gd name="csY14" fmla="*/ 1056423 h 2099709"/>
              <a:gd name="csX15" fmla="*/ 235622 w 733006"/>
              <a:gd name="csY15" fmla="*/ 952675 h 2099709"/>
              <a:gd name="csX16" fmla="*/ 235445 w 733006"/>
              <a:gd name="csY16" fmla="*/ 780278 h 2099709"/>
              <a:gd name="csX17" fmla="*/ 214544 w 733006"/>
              <a:gd name="csY17" fmla="*/ 756435 h 2099709"/>
              <a:gd name="csX18" fmla="*/ 172569 w 733006"/>
              <a:gd name="csY18" fmla="*/ 742582 h 2099709"/>
              <a:gd name="csX19" fmla="*/ 168784 w 733006"/>
              <a:gd name="csY19" fmla="*/ 669116 h 2099709"/>
              <a:gd name="csX20" fmla="*/ 191657 w 733006"/>
              <a:gd name="csY20" fmla="*/ 630765 h 2099709"/>
              <a:gd name="csX21" fmla="*/ 208150 w 733006"/>
              <a:gd name="csY21" fmla="*/ 609084 h 2099709"/>
              <a:gd name="csX22" fmla="*/ 216756 w 733006"/>
              <a:gd name="csY22" fmla="*/ 558673 h 2099709"/>
              <a:gd name="csX23" fmla="*/ 209092 w 733006"/>
              <a:gd name="csY23" fmla="*/ 521540 h 2099709"/>
              <a:gd name="csX24" fmla="*/ 204683 w 733006"/>
              <a:gd name="csY24" fmla="*/ 474024 h 2099709"/>
              <a:gd name="csX25" fmla="*/ 115483 w 733006"/>
              <a:gd name="csY25" fmla="*/ 213499 h 2099709"/>
              <a:gd name="csX26" fmla="*/ 102909 w 733006"/>
              <a:gd name="csY26" fmla="*/ 182297 h 2099709"/>
              <a:gd name="csX27" fmla="*/ 104315 w 733006"/>
              <a:gd name="csY27" fmla="*/ 163968 h 2099709"/>
              <a:gd name="csX28" fmla="*/ 122444 w 733006"/>
              <a:gd name="csY28" fmla="*/ 160805 h 2099709"/>
              <a:gd name="csX29" fmla="*/ 170283 w 733006"/>
              <a:gd name="csY29" fmla="*/ 187783 h 2099709"/>
              <a:gd name="csX30" fmla="*/ 180938 w 733006"/>
              <a:gd name="csY30" fmla="*/ 195322 h 2099709"/>
              <a:gd name="csX31" fmla="*/ 221419 w 733006"/>
              <a:gd name="csY31" fmla="*/ 138058 h 2099709"/>
              <a:gd name="csX32" fmla="*/ 294099 w 733006"/>
              <a:gd name="csY32" fmla="*/ 91372 h 2099709"/>
              <a:gd name="csX33" fmla="*/ 302307 w 733006"/>
              <a:gd name="csY33" fmla="*/ 76560 h 2099709"/>
              <a:gd name="csX34" fmla="*/ 320284 w 733006"/>
              <a:gd name="csY34" fmla="*/ 8414 h 2099709"/>
              <a:gd name="csX35" fmla="*/ 324784 w 733006"/>
              <a:gd name="csY35" fmla="*/ 946 h 2099709"/>
              <a:gd name="csX36" fmla="*/ 399212 w 733006"/>
              <a:gd name="csY36" fmla="*/ 0 h 2099709"/>
              <a:gd name="csX37" fmla="*/ 425980 w 733006"/>
              <a:gd name="csY37" fmla="*/ 78301 h 2099709"/>
              <a:gd name="csX38" fmla="*/ 431861 w 733006"/>
              <a:gd name="csY38" fmla="*/ 90312 h 2099709"/>
              <a:gd name="csX39" fmla="*/ 540349 w 733006"/>
              <a:gd name="csY39" fmla="*/ 187946 h 2099709"/>
              <a:gd name="csX40" fmla="*/ 545555 w 733006"/>
              <a:gd name="csY40" fmla="*/ 197828 h 2099709"/>
              <a:gd name="csX41" fmla="*/ 587318 w 733006"/>
              <a:gd name="csY41" fmla="*/ 171260 h 2099709"/>
              <a:gd name="csX42" fmla="*/ 601503 w 733006"/>
              <a:gd name="csY42" fmla="*/ 163707 h 2099709"/>
              <a:gd name="csX43" fmla="*/ 625254 w 733006"/>
              <a:gd name="csY43" fmla="*/ 163123 h 2099709"/>
              <a:gd name="csX44" fmla="*/ 625468 w 733006"/>
              <a:gd name="csY44" fmla="*/ 187579 h 2099709"/>
              <a:gd name="csX45" fmla="*/ 597543 w 733006"/>
              <a:gd name="csY45" fmla="*/ 251872 h 2099709"/>
              <a:gd name="csX46" fmla="*/ 531831 w 733006"/>
              <a:gd name="csY46" fmla="*/ 442689 h 2099709"/>
              <a:gd name="csX47" fmla="*/ 519888 w 733006"/>
              <a:gd name="csY47" fmla="*/ 501474 h 2099709"/>
              <a:gd name="csX48" fmla="*/ 522506 w 733006"/>
              <a:gd name="csY48" fmla="*/ 525086 h 2099709"/>
              <a:gd name="csX49" fmla="*/ 516235 w 733006"/>
              <a:gd name="csY49" fmla="*/ 555946 h 2099709"/>
              <a:gd name="csX50" fmla="*/ 521332 w 733006"/>
              <a:gd name="csY50" fmla="*/ 610676 h 2099709"/>
              <a:gd name="csX51" fmla="*/ 541382 w 733006"/>
              <a:gd name="csY51" fmla="*/ 642597 h 2099709"/>
              <a:gd name="csX52" fmla="*/ 557031 w 733006"/>
              <a:gd name="csY52" fmla="*/ 667949 h 2099709"/>
              <a:gd name="csX53" fmla="*/ 553994 w 733006"/>
              <a:gd name="csY53" fmla="*/ 744146 h 2099709"/>
              <a:gd name="csX54" fmla="*/ 508215 w 733006"/>
              <a:gd name="csY54" fmla="*/ 758841 h 2099709"/>
              <a:gd name="csX55" fmla="*/ 497442 w 733006"/>
              <a:gd name="csY55" fmla="*/ 771256 h 2099709"/>
              <a:gd name="csX56" fmla="*/ 493005 w 733006"/>
              <a:gd name="csY56" fmla="*/ 922055 h 2099709"/>
              <a:gd name="csX57" fmla="*/ 502900 w 733006"/>
              <a:gd name="csY57" fmla="*/ 1114191 h 2099709"/>
              <a:gd name="csX58" fmla="*/ 508800 w 733006"/>
              <a:gd name="csY58" fmla="*/ 1205474 h 2099709"/>
              <a:gd name="csX59" fmla="*/ 522952 w 733006"/>
              <a:gd name="csY59" fmla="*/ 1320065 h 2099709"/>
              <a:gd name="csX60" fmla="*/ 554682 w 733006"/>
              <a:gd name="csY60" fmla="*/ 1501203 h 2099709"/>
              <a:gd name="csX61" fmla="*/ 576958 w 733006"/>
              <a:gd name="csY61" fmla="*/ 1593963 h 2099709"/>
              <a:gd name="csX62" fmla="*/ 595349 w 733006"/>
              <a:gd name="csY62" fmla="*/ 1613498 h 2099709"/>
              <a:gd name="csX63" fmla="*/ 613936 w 733006"/>
              <a:gd name="csY63" fmla="*/ 1624058 h 2099709"/>
              <a:gd name="csX64" fmla="*/ 620938 w 733006"/>
              <a:gd name="csY64" fmla="*/ 1652071 h 2099709"/>
              <a:gd name="csX65" fmla="*/ 630805 w 733006"/>
              <a:gd name="csY65" fmla="*/ 1721702 h 2099709"/>
              <a:gd name="csX66" fmla="*/ 685830 w 733006"/>
              <a:gd name="csY66" fmla="*/ 1792915 h 2099709"/>
              <a:gd name="csX67" fmla="*/ 708904 w 733006"/>
              <a:gd name="csY67" fmla="*/ 1890290 h 2099709"/>
              <a:gd name="csX68" fmla="*/ 716580 w 733006"/>
              <a:gd name="csY68" fmla="*/ 1951136 h 2099709"/>
              <a:gd name="csX69" fmla="*/ 729397 w 733006"/>
              <a:gd name="csY69" fmla="*/ 2030261 h 2099709"/>
              <a:gd name="csX70" fmla="*/ 714212 w 733006"/>
              <a:gd name="csY70" fmla="*/ 2059069 h 2099709"/>
              <a:gd name="csX71" fmla="*/ 96263 w 733006"/>
              <a:gd name="csY71" fmla="*/ 2076207 h 2099709"/>
              <a:gd name="csX72" fmla="*/ 489970 w 733006"/>
              <a:gd name="csY72" fmla="*/ 152208 h 2099709"/>
              <a:gd name="csX73" fmla="*/ 490754 w 733006"/>
              <a:gd name="csY73" fmla="*/ 152592 h 2099709"/>
              <a:gd name="csX74" fmla="*/ 489489 w 733006"/>
              <a:gd name="csY74" fmla="*/ 149547 h 2099709"/>
              <a:gd name="csX75" fmla="*/ 393621 w 733006"/>
              <a:gd name="csY75" fmla="*/ 99259 h 2099709"/>
              <a:gd name="csX76" fmla="*/ 390419 w 733006"/>
              <a:gd name="csY76" fmla="*/ 18568 h 2099709"/>
              <a:gd name="csX77" fmla="*/ 334131 w 733006"/>
              <a:gd name="csY77" fmla="*/ 24327 h 2099709"/>
              <a:gd name="csX78" fmla="*/ 344678 w 733006"/>
              <a:gd name="csY78" fmla="*/ 101259 h 2099709"/>
              <a:gd name="csX79" fmla="*/ 298854 w 733006"/>
              <a:gd name="csY79" fmla="*/ 114003 h 2099709"/>
              <a:gd name="csX80" fmla="*/ 237456 w 733006"/>
              <a:gd name="csY80" fmla="*/ 154340 h 2099709"/>
              <a:gd name="csX81" fmla="*/ 240382 w 733006"/>
              <a:gd name="csY81" fmla="*/ 154035 h 2099709"/>
              <a:gd name="csX82" fmla="*/ 262731 w 733006"/>
              <a:gd name="csY82" fmla="*/ 170426 h 2099709"/>
              <a:gd name="csX83" fmla="*/ 279169 w 733006"/>
              <a:gd name="csY83" fmla="*/ 193173 h 2099709"/>
              <a:gd name="csX84" fmla="*/ 327717 w 733006"/>
              <a:gd name="csY84" fmla="*/ 188556 h 2099709"/>
              <a:gd name="csX85" fmla="*/ 348052 w 733006"/>
              <a:gd name="csY85" fmla="*/ 156919 h 2099709"/>
              <a:gd name="csX86" fmla="*/ 380330 w 733006"/>
              <a:gd name="csY86" fmla="*/ 156483 h 2099709"/>
              <a:gd name="csX87" fmla="*/ 408490 w 733006"/>
              <a:gd name="csY87" fmla="*/ 195400 h 2099709"/>
              <a:gd name="csX88" fmla="*/ 445346 w 733006"/>
              <a:gd name="csY88" fmla="*/ 197582 h 2099709"/>
              <a:gd name="csX89" fmla="*/ 464798 w 733006"/>
              <a:gd name="csY89" fmla="*/ 174107 h 2099709"/>
              <a:gd name="csX90" fmla="*/ 489970 w 733006"/>
              <a:gd name="csY90" fmla="*/ 152208 h 2099709"/>
              <a:gd name="csX91" fmla="*/ 140694 w 733006"/>
              <a:gd name="csY91" fmla="*/ 201837 h 2099709"/>
              <a:gd name="csX92" fmla="*/ 139834 w 733006"/>
              <a:gd name="csY92" fmla="*/ 201482 h 2099709"/>
              <a:gd name="csX93" fmla="*/ 140812 w 733006"/>
              <a:gd name="csY93" fmla="*/ 204941 h 2099709"/>
              <a:gd name="csX94" fmla="*/ 144631 w 733006"/>
              <a:gd name="csY94" fmla="*/ 217811 h 2099709"/>
              <a:gd name="csX95" fmla="*/ 201241 w 733006"/>
              <a:gd name="csY95" fmla="*/ 373387 h 2099709"/>
              <a:gd name="csX96" fmla="*/ 235971 w 733006"/>
              <a:gd name="csY96" fmla="*/ 504451 h 2099709"/>
              <a:gd name="csX97" fmla="*/ 247475 w 733006"/>
              <a:gd name="csY97" fmla="*/ 513241 h 2099709"/>
              <a:gd name="csX98" fmla="*/ 289066 w 733006"/>
              <a:gd name="csY98" fmla="*/ 511170 h 2099709"/>
              <a:gd name="csX99" fmla="*/ 378229 w 733006"/>
              <a:gd name="csY99" fmla="*/ 511084 h 2099709"/>
              <a:gd name="csX100" fmla="*/ 470850 w 733006"/>
              <a:gd name="csY100" fmla="*/ 516341 h 2099709"/>
              <a:gd name="csX101" fmla="*/ 492933 w 733006"/>
              <a:gd name="csY101" fmla="*/ 497969 h 2099709"/>
              <a:gd name="csX102" fmla="*/ 557617 w 733006"/>
              <a:gd name="csY102" fmla="*/ 280398 h 2099709"/>
              <a:gd name="csX103" fmla="*/ 588788 w 733006"/>
              <a:gd name="csY103" fmla="*/ 200385 h 2099709"/>
              <a:gd name="csX104" fmla="*/ 530958 w 733006"/>
              <a:gd name="csY104" fmla="*/ 232968 h 2099709"/>
              <a:gd name="csX105" fmla="*/ 483823 w 733006"/>
              <a:gd name="csY105" fmla="*/ 190364 h 2099709"/>
              <a:gd name="csX106" fmla="*/ 466649 w 733006"/>
              <a:gd name="csY106" fmla="*/ 209061 h 2099709"/>
              <a:gd name="csX107" fmla="*/ 399941 w 733006"/>
              <a:gd name="csY107" fmla="*/ 216988 h 2099709"/>
              <a:gd name="csX108" fmla="*/ 363018 w 733006"/>
              <a:gd name="csY108" fmla="*/ 179615 h 2099709"/>
              <a:gd name="csX109" fmla="*/ 308839 w 733006"/>
              <a:gd name="csY109" fmla="*/ 227846 h 2099709"/>
              <a:gd name="csX110" fmla="*/ 245077 w 733006"/>
              <a:gd name="csY110" fmla="*/ 192402 h 2099709"/>
              <a:gd name="csX111" fmla="*/ 242829 w 733006"/>
              <a:gd name="csY111" fmla="*/ 198815 h 2099709"/>
              <a:gd name="csX112" fmla="*/ 168452 w 733006"/>
              <a:gd name="csY112" fmla="*/ 219348 h 2099709"/>
              <a:gd name="csX113" fmla="*/ 140694 w 733006"/>
              <a:gd name="csY113" fmla="*/ 201837 h 2099709"/>
              <a:gd name="csX114" fmla="*/ 259999 w 733006"/>
              <a:gd name="csY114" fmla="*/ 966699 h 2099709"/>
              <a:gd name="csX115" fmla="*/ 257072 w 733006"/>
              <a:gd name="csY115" fmla="*/ 1070424 h 2099709"/>
              <a:gd name="csX116" fmla="*/ 251372 w 733006"/>
              <a:gd name="csY116" fmla="*/ 1157618 h 2099709"/>
              <a:gd name="csX117" fmla="*/ 232677 w 733006"/>
              <a:gd name="csY117" fmla="*/ 1320279 h 2099709"/>
              <a:gd name="csX118" fmla="*/ 209182 w 733006"/>
              <a:gd name="csY118" fmla="*/ 1468667 h 2099709"/>
              <a:gd name="csX119" fmla="*/ 175302 w 733006"/>
              <a:gd name="csY119" fmla="*/ 1616623 h 2099709"/>
              <a:gd name="csX120" fmla="*/ 182769 w 733006"/>
              <a:gd name="csY120" fmla="*/ 1629786 h 2099709"/>
              <a:gd name="csX121" fmla="*/ 212156 w 733006"/>
              <a:gd name="csY121" fmla="*/ 1632656 h 2099709"/>
              <a:gd name="csX122" fmla="*/ 351295 w 733006"/>
              <a:gd name="csY122" fmla="*/ 1632801 h 2099709"/>
              <a:gd name="csX123" fmla="*/ 376150 w 733006"/>
              <a:gd name="csY123" fmla="*/ 1608307 h 2099709"/>
              <a:gd name="csX124" fmla="*/ 373450 w 733006"/>
              <a:gd name="csY124" fmla="*/ 1457291 h 2099709"/>
              <a:gd name="csX125" fmla="*/ 370936 w 733006"/>
              <a:gd name="csY125" fmla="*/ 1342736 h 2099709"/>
              <a:gd name="csX126" fmla="*/ 368328 w 733006"/>
              <a:gd name="csY126" fmla="*/ 1203878 h 2099709"/>
              <a:gd name="csX127" fmla="*/ 367836 w 733006"/>
              <a:gd name="csY127" fmla="*/ 813478 h 2099709"/>
              <a:gd name="csX128" fmla="*/ 365240 w 733006"/>
              <a:gd name="csY128" fmla="*/ 773243 h 2099709"/>
              <a:gd name="csX129" fmla="*/ 353084 w 733006"/>
              <a:gd name="csY129" fmla="*/ 762083 h 2099709"/>
              <a:gd name="csX130" fmla="*/ 280966 w 733006"/>
              <a:gd name="csY130" fmla="*/ 759855 h 2099709"/>
              <a:gd name="csX131" fmla="*/ 259965 w 733006"/>
              <a:gd name="csY131" fmla="*/ 779553 h 2099709"/>
              <a:gd name="csX132" fmla="*/ 262341 w 733006"/>
              <a:gd name="csY132" fmla="*/ 856275 h 2099709"/>
              <a:gd name="csX133" fmla="*/ 259999 w 733006"/>
              <a:gd name="csY133" fmla="*/ 966699 h 2099709"/>
              <a:gd name="csX134" fmla="*/ 55556 w 733006"/>
              <a:gd name="csY134" fmla="*/ 1835827 h 2099709"/>
              <a:gd name="csX135" fmla="*/ 49393 w 733006"/>
              <a:gd name="csY135" fmla="*/ 1878155 h 2099709"/>
              <a:gd name="csX136" fmla="*/ 73949 w 733006"/>
              <a:gd name="csY136" fmla="*/ 1905781 h 2099709"/>
              <a:gd name="csX137" fmla="*/ 110073 w 733006"/>
              <a:gd name="csY137" fmla="*/ 1909068 h 2099709"/>
              <a:gd name="csX138" fmla="*/ 224745 w 733006"/>
              <a:gd name="csY138" fmla="*/ 1921652 h 2099709"/>
              <a:gd name="csX139" fmla="*/ 347327 w 733006"/>
              <a:gd name="csY139" fmla="*/ 1924778 h 2099709"/>
              <a:gd name="csX140" fmla="*/ 363345 w 733006"/>
              <a:gd name="csY140" fmla="*/ 1923293 h 2099709"/>
              <a:gd name="csX141" fmla="*/ 373787 w 733006"/>
              <a:gd name="csY141" fmla="*/ 1911200 h 2099709"/>
              <a:gd name="csX142" fmla="*/ 376623 w 733006"/>
              <a:gd name="csY142" fmla="*/ 1696741 h 2099709"/>
              <a:gd name="csX143" fmla="*/ 360437 w 733006"/>
              <a:gd name="csY143" fmla="*/ 1681289 h 2099709"/>
              <a:gd name="csX144" fmla="*/ 263503 w 733006"/>
              <a:gd name="csY144" fmla="*/ 1678179 h 2099709"/>
              <a:gd name="csX145" fmla="*/ 160381 w 733006"/>
              <a:gd name="csY145" fmla="*/ 1670405 h 2099709"/>
              <a:gd name="csX146" fmla="*/ 143321 w 733006"/>
              <a:gd name="csY146" fmla="*/ 1685538 h 2099709"/>
              <a:gd name="csX147" fmla="*/ 124769 w 733006"/>
              <a:gd name="csY147" fmla="*/ 1738195 h 2099709"/>
              <a:gd name="csX148" fmla="*/ 90593 w 733006"/>
              <a:gd name="csY148" fmla="*/ 1779570 h 2099709"/>
              <a:gd name="csX149" fmla="*/ 55556 w 733006"/>
              <a:gd name="csY149" fmla="*/ 1835827 h 2099709"/>
              <a:gd name="csX150" fmla="*/ 378900 w 733006"/>
              <a:gd name="csY150" fmla="*/ 2007280 h 2099709"/>
              <a:gd name="csX151" fmla="*/ 378887 w 733006"/>
              <a:gd name="csY151" fmla="*/ 1995127 h 2099709"/>
              <a:gd name="csX152" fmla="*/ 359084 w 733006"/>
              <a:gd name="csY152" fmla="*/ 1975964 h 2099709"/>
              <a:gd name="csX153" fmla="*/ 247288 w 733006"/>
              <a:gd name="csY153" fmla="*/ 1973305 h 2099709"/>
              <a:gd name="csX154" fmla="*/ 201692 w 733006"/>
              <a:gd name="csY154" fmla="*/ 1970275 h 2099709"/>
              <a:gd name="csX155" fmla="*/ 57962 w 733006"/>
              <a:gd name="csY155" fmla="*/ 1952648 h 2099709"/>
              <a:gd name="csX156" fmla="*/ 39194 w 733006"/>
              <a:gd name="csY156" fmla="*/ 1963552 h 2099709"/>
              <a:gd name="csX157" fmla="*/ 30066 w 733006"/>
              <a:gd name="csY157" fmla="*/ 2006631 h 2099709"/>
              <a:gd name="csX158" fmla="*/ 40232 w 733006"/>
              <a:gd name="csY158" fmla="*/ 2019486 h 2099709"/>
              <a:gd name="csX159" fmla="*/ 238186 w 733006"/>
              <a:gd name="csY159" fmla="*/ 2046096 h 2099709"/>
              <a:gd name="csX160" fmla="*/ 342155 w 733006"/>
              <a:gd name="csY160" fmla="*/ 2046441 h 2099709"/>
              <a:gd name="csX161" fmla="*/ 378900 w 733006"/>
              <a:gd name="csY161" fmla="*/ 2007280 h 2099709"/>
              <a:gd name="csX162" fmla="*/ 310220 w 733006"/>
              <a:gd name="csY162" fmla="*/ 554288 h 2099709"/>
              <a:gd name="csX163" fmla="*/ 259136 w 733006"/>
              <a:gd name="csY163" fmla="*/ 556881 h 2099709"/>
              <a:gd name="csX164" fmla="*/ 249085 w 733006"/>
              <a:gd name="csY164" fmla="*/ 567981 h 2099709"/>
              <a:gd name="csX165" fmla="*/ 249141 w 733006"/>
              <a:gd name="csY165" fmla="*/ 605644 h 2099709"/>
              <a:gd name="csX166" fmla="*/ 262628 w 733006"/>
              <a:gd name="csY166" fmla="*/ 605627 h 2099709"/>
              <a:gd name="csX167" fmla="*/ 369608 w 733006"/>
              <a:gd name="csY167" fmla="*/ 603027 h 2099709"/>
              <a:gd name="csX168" fmla="*/ 463931 w 733006"/>
              <a:gd name="csY168" fmla="*/ 605146 h 2099709"/>
              <a:gd name="csX169" fmla="*/ 478113 w 733006"/>
              <a:gd name="csY169" fmla="*/ 595843 h 2099709"/>
              <a:gd name="csX170" fmla="*/ 478796 w 733006"/>
              <a:gd name="csY170" fmla="*/ 556832 h 2099709"/>
              <a:gd name="csX171" fmla="*/ 310220 w 733006"/>
              <a:gd name="csY171" fmla="*/ 554288 h 2099709"/>
              <a:gd name="csX172" fmla="*/ 348836 w 733006"/>
              <a:gd name="csY172" fmla="*/ 684115 h 2099709"/>
              <a:gd name="csX173" fmla="*/ 281333 w 733006"/>
              <a:gd name="csY173" fmla="*/ 683313 h 2099709"/>
              <a:gd name="csX174" fmla="*/ 212728 w 733006"/>
              <a:gd name="csY174" fmla="*/ 681931 h 2099709"/>
              <a:gd name="csX175" fmla="*/ 187283 w 733006"/>
              <a:gd name="csY175" fmla="*/ 689555 h 2099709"/>
              <a:gd name="csX176" fmla="*/ 186163 w 733006"/>
              <a:gd name="csY176" fmla="*/ 718266 h 2099709"/>
              <a:gd name="csX177" fmla="*/ 209894 w 733006"/>
              <a:gd name="csY177" fmla="*/ 726798 h 2099709"/>
              <a:gd name="csX178" fmla="*/ 334814 w 733006"/>
              <a:gd name="csY178" fmla="*/ 732494 h 2099709"/>
              <a:gd name="csX179" fmla="*/ 364856 w 733006"/>
              <a:gd name="csY179" fmla="*/ 707963 h 2099709"/>
              <a:gd name="csX180" fmla="*/ 348836 w 733006"/>
              <a:gd name="csY180" fmla="*/ 684115 h 2099709"/>
              <a:gd name="csX181" fmla="*/ 298865 w 733006"/>
              <a:gd name="csY181" fmla="*/ 621954 h 2099709"/>
              <a:gd name="csX182" fmla="*/ 251619 w 733006"/>
              <a:gd name="csY182" fmla="*/ 622133 h 2099709"/>
              <a:gd name="csX183" fmla="*/ 214459 w 733006"/>
              <a:gd name="csY183" fmla="*/ 636230 h 2099709"/>
              <a:gd name="csX184" fmla="*/ 221436 w 733006"/>
              <a:gd name="csY184" fmla="*/ 654205 h 2099709"/>
              <a:gd name="csX185" fmla="*/ 272412 w 733006"/>
              <a:gd name="csY185" fmla="*/ 657250 h 2099709"/>
              <a:gd name="csX186" fmla="*/ 349094 w 733006"/>
              <a:gd name="csY186" fmla="*/ 659282 h 2099709"/>
              <a:gd name="csX187" fmla="*/ 362996 w 733006"/>
              <a:gd name="csY187" fmla="*/ 644234 h 2099709"/>
              <a:gd name="csX188" fmla="*/ 348472 w 733006"/>
              <a:gd name="csY188" fmla="*/ 624649 h 2099709"/>
              <a:gd name="csX189" fmla="*/ 298865 w 733006"/>
              <a:gd name="csY189" fmla="*/ 621954 h 2099709"/>
              <a:gd name="csX190" fmla="*/ 227796 w 733006"/>
              <a:gd name="csY190" fmla="*/ 528000 h 2099709"/>
              <a:gd name="csX191" fmla="*/ 241009 w 733006"/>
              <a:gd name="csY191" fmla="*/ 545897 h 2099709"/>
              <a:gd name="csX192" fmla="*/ 282607 w 733006"/>
              <a:gd name="csY192" fmla="*/ 543480 h 2099709"/>
              <a:gd name="csX193" fmla="*/ 354213 w 733006"/>
              <a:gd name="csY193" fmla="*/ 543384 h 2099709"/>
              <a:gd name="csX194" fmla="*/ 365334 w 733006"/>
              <a:gd name="csY194" fmla="*/ 533397 h 2099709"/>
              <a:gd name="csX195" fmla="*/ 354531 w 733006"/>
              <a:gd name="csY195" fmla="*/ 521620 h 2099709"/>
              <a:gd name="csX196" fmla="*/ 259169 w 733006"/>
              <a:gd name="csY196" fmla="*/ 521978 h 2099709"/>
              <a:gd name="csX197" fmla="*/ 227796 w 733006"/>
              <a:gd name="csY197" fmla="*/ 528000 h 2099709"/>
              <a:gd name="csX198" fmla="*/ 508068 w 733006"/>
              <a:gd name="csY198" fmla="*/ 190710 h 2099709"/>
              <a:gd name="csX199" fmla="*/ 521293 w 733006"/>
              <a:gd name="csY199" fmla="*/ 205907 h 2099709"/>
              <a:gd name="csX200" fmla="*/ 525175 w 733006"/>
              <a:gd name="csY200" fmla="*/ 202985 h 2099709"/>
              <a:gd name="csX201" fmla="*/ 500276 w 733006"/>
              <a:gd name="csY201" fmla="*/ 160640 h 2099709"/>
              <a:gd name="csX202" fmla="*/ 497122 w 733006"/>
              <a:gd name="csY202" fmla="*/ 162007 h 2099709"/>
              <a:gd name="csX203" fmla="*/ 508068 w 733006"/>
              <a:gd name="csY203" fmla="*/ 190710 h 2099709"/>
              <a:gd name="csX204" fmla="*/ 215522 w 733006"/>
              <a:gd name="csY204" fmla="*/ 197296 h 2099709"/>
              <a:gd name="csX205" fmla="*/ 234029 w 733006"/>
              <a:gd name="csY205" fmla="*/ 162725 h 2099709"/>
              <a:gd name="csX206" fmla="*/ 229000 w 733006"/>
              <a:gd name="csY206" fmla="*/ 159902 h 2099709"/>
              <a:gd name="csX207" fmla="*/ 204824 w 733006"/>
              <a:gd name="csY207" fmla="*/ 199677 h 2099709"/>
              <a:gd name="csX208" fmla="*/ 207990 w 733006"/>
              <a:gd name="csY208" fmla="*/ 202198 h 2099709"/>
              <a:gd name="csX209" fmla="*/ 215522 w 733006"/>
              <a:gd name="csY209" fmla="*/ 197296 h 2099709"/>
              <a:gd name="csX210" fmla="*/ 484400 w 733006"/>
              <a:gd name="csY210" fmla="*/ 896678 h 2099709"/>
              <a:gd name="csX211" fmla="*/ 486181 w 733006"/>
              <a:gd name="csY211" fmla="*/ 896585 h 2099709"/>
              <a:gd name="csX212" fmla="*/ 486181 w 733006"/>
              <a:gd name="csY212" fmla="*/ 795289 h 2099709"/>
              <a:gd name="csX0" fmla="*/ 96263 w 733006"/>
              <a:gd name="csY0" fmla="*/ 2076207 h 2091287"/>
              <a:gd name="csX1" fmla="*/ 63862 w 733006"/>
              <a:gd name="csY1" fmla="*/ 2065388 h 2091287"/>
              <a:gd name="csX2" fmla="*/ 16555 w 733006"/>
              <a:gd name="csY2" fmla="*/ 2050152 h 2091287"/>
              <a:gd name="csX3" fmla="*/ 15 w 733006"/>
              <a:gd name="csY3" fmla="*/ 2023802 h 2091287"/>
              <a:gd name="csX4" fmla="*/ 18368 w 733006"/>
              <a:gd name="csY4" fmla="*/ 1940709 h 2091287"/>
              <a:gd name="csX5" fmla="*/ 22139 w 733006"/>
              <a:gd name="csY5" fmla="*/ 1907268 h 2091287"/>
              <a:gd name="csX6" fmla="*/ 57941 w 733006"/>
              <a:gd name="csY6" fmla="*/ 1774163 h 2091287"/>
              <a:gd name="csX7" fmla="*/ 102478 w 733006"/>
              <a:gd name="csY7" fmla="*/ 1720275 h 2091287"/>
              <a:gd name="csX8" fmla="*/ 108579 w 733006"/>
              <a:gd name="csY8" fmla="*/ 1650967 h 2091287"/>
              <a:gd name="csX9" fmla="*/ 115628 w 733006"/>
              <a:gd name="csY9" fmla="*/ 1625405 h 2091287"/>
              <a:gd name="csX10" fmla="*/ 156323 w 733006"/>
              <a:gd name="csY10" fmla="*/ 1560181 h 2091287"/>
              <a:gd name="csX11" fmla="*/ 199424 w 733006"/>
              <a:gd name="csY11" fmla="*/ 1364729 h 2091287"/>
              <a:gd name="csX12" fmla="*/ 216779 w 733006"/>
              <a:gd name="csY12" fmla="*/ 1219490 h 2091287"/>
              <a:gd name="csX13" fmla="*/ 229755 w 733006"/>
              <a:gd name="csY13" fmla="*/ 1099357 h 2091287"/>
              <a:gd name="csX14" fmla="*/ 232707 w 733006"/>
              <a:gd name="csY14" fmla="*/ 1056423 h 2091287"/>
              <a:gd name="csX15" fmla="*/ 235622 w 733006"/>
              <a:gd name="csY15" fmla="*/ 952675 h 2091287"/>
              <a:gd name="csX16" fmla="*/ 235445 w 733006"/>
              <a:gd name="csY16" fmla="*/ 780278 h 2091287"/>
              <a:gd name="csX17" fmla="*/ 214544 w 733006"/>
              <a:gd name="csY17" fmla="*/ 756435 h 2091287"/>
              <a:gd name="csX18" fmla="*/ 172569 w 733006"/>
              <a:gd name="csY18" fmla="*/ 742582 h 2091287"/>
              <a:gd name="csX19" fmla="*/ 168784 w 733006"/>
              <a:gd name="csY19" fmla="*/ 669116 h 2091287"/>
              <a:gd name="csX20" fmla="*/ 191657 w 733006"/>
              <a:gd name="csY20" fmla="*/ 630765 h 2091287"/>
              <a:gd name="csX21" fmla="*/ 208150 w 733006"/>
              <a:gd name="csY21" fmla="*/ 609084 h 2091287"/>
              <a:gd name="csX22" fmla="*/ 216756 w 733006"/>
              <a:gd name="csY22" fmla="*/ 558673 h 2091287"/>
              <a:gd name="csX23" fmla="*/ 209092 w 733006"/>
              <a:gd name="csY23" fmla="*/ 521540 h 2091287"/>
              <a:gd name="csX24" fmla="*/ 204683 w 733006"/>
              <a:gd name="csY24" fmla="*/ 474024 h 2091287"/>
              <a:gd name="csX25" fmla="*/ 115483 w 733006"/>
              <a:gd name="csY25" fmla="*/ 213499 h 2091287"/>
              <a:gd name="csX26" fmla="*/ 102909 w 733006"/>
              <a:gd name="csY26" fmla="*/ 182297 h 2091287"/>
              <a:gd name="csX27" fmla="*/ 104315 w 733006"/>
              <a:gd name="csY27" fmla="*/ 163968 h 2091287"/>
              <a:gd name="csX28" fmla="*/ 122444 w 733006"/>
              <a:gd name="csY28" fmla="*/ 160805 h 2091287"/>
              <a:gd name="csX29" fmla="*/ 170283 w 733006"/>
              <a:gd name="csY29" fmla="*/ 187783 h 2091287"/>
              <a:gd name="csX30" fmla="*/ 180938 w 733006"/>
              <a:gd name="csY30" fmla="*/ 195322 h 2091287"/>
              <a:gd name="csX31" fmla="*/ 221419 w 733006"/>
              <a:gd name="csY31" fmla="*/ 138058 h 2091287"/>
              <a:gd name="csX32" fmla="*/ 294099 w 733006"/>
              <a:gd name="csY32" fmla="*/ 91372 h 2091287"/>
              <a:gd name="csX33" fmla="*/ 302307 w 733006"/>
              <a:gd name="csY33" fmla="*/ 76560 h 2091287"/>
              <a:gd name="csX34" fmla="*/ 320284 w 733006"/>
              <a:gd name="csY34" fmla="*/ 8414 h 2091287"/>
              <a:gd name="csX35" fmla="*/ 324784 w 733006"/>
              <a:gd name="csY35" fmla="*/ 946 h 2091287"/>
              <a:gd name="csX36" fmla="*/ 399212 w 733006"/>
              <a:gd name="csY36" fmla="*/ 0 h 2091287"/>
              <a:gd name="csX37" fmla="*/ 425980 w 733006"/>
              <a:gd name="csY37" fmla="*/ 78301 h 2091287"/>
              <a:gd name="csX38" fmla="*/ 431861 w 733006"/>
              <a:gd name="csY38" fmla="*/ 90312 h 2091287"/>
              <a:gd name="csX39" fmla="*/ 540349 w 733006"/>
              <a:gd name="csY39" fmla="*/ 187946 h 2091287"/>
              <a:gd name="csX40" fmla="*/ 545555 w 733006"/>
              <a:gd name="csY40" fmla="*/ 197828 h 2091287"/>
              <a:gd name="csX41" fmla="*/ 587318 w 733006"/>
              <a:gd name="csY41" fmla="*/ 171260 h 2091287"/>
              <a:gd name="csX42" fmla="*/ 601503 w 733006"/>
              <a:gd name="csY42" fmla="*/ 163707 h 2091287"/>
              <a:gd name="csX43" fmla="*/ 625254 w 733006"/>
              <a:gd name="csY43" fmla="*/ 163123 h 2091287"/>
              <a:gd name="csX44" fmla="*/ 625468 w 733006"/>
              <a:gd name="csY44" fmla="*/ 187579 h 2091287"/>
              <a:gd name="csX45" fmla="*/ 597543 w 733006"/>
              <a:gd name="csY45" fmla="*/ 251872 h 2091287"/>
              <a:gd name="csX46" fmla="*/ 531831 w 733006"/>
              <a:gd name="csY46" fmla="*/ 442689 h 2091287"/>
              <a:gd name="csX47" fmla="*/ 519888 w 733006"/>
              <a:gd name="csY47" fmla="*/ 501474 h 2091287"/>
              <a:gd name="csX48" fmla="*/ 522506 w 733006"/>
              <a:gd name="csY48" fmla="*/ 525086 h 2091287"/>
              <a:gd name="csX49" fmla="*/ 516235 w 733006"/>
              <a:gd name="csY49" fmla="*/ 555946 h 2091287"/>
              <a:gd name="csX50" fmla="*/ 521332 w 733006"/>
              <a:gd name="csY50" fmla="*/ 610676 h 2091287"/>
              <a:gd name="csX51" fmla="*/ 541382 w 733006"/>
              <a:gd name="csY51" fmla="*/ 642597 h 2091287"/>
              <a:gd name="csX52" fmla="*/ 557031 w 733006"/>
              <a:gd name="csY52" fmla="*/ 667949 h 2091287"/>
              <a:gd name="csX53" fmla="*/ 553994 w 733006"/>
              <a:gd name="csY53" fmla="*/ 744146 h 2091287"/>
              <a:gd name="csX54" fmla="*/ 508215 w 733006"/>
              <a:gd name="csY54" fmla="*/ 758841 h 2091287"/>
              <a:gd name="csX55" fmla="*/ 497442 w 733006"/>
              <a:gd name="csY55" fmla="*/ 771256 h 2091287"/>
              <a:gd name="csX56" fmla="*/ 493005 w 733006"/>
              <a:gd name="csY56" fmla="*/ 922055 h 2091287"/>
              <a:gd name="csX57" fmla="*/ 502900 w 733006"/>
              <a:gd name="csY57" fmla="*/ 1114191 h 2091287"/>
              <a:gd name="csX58" fmla="*/ 508800 w 733006"/>
              <a:gd name="csY58" fmla="*/ 1205474 h 2091287"/>
              <a:gd name="csX59" fmla="*/ 522952 w 733006"/>
              <a:gd name="csY59" fmla="*/ 1320065 h 2091287"/>
              <a:gd name="csX60" fmla="*/ 554682 w 733006"/>
              <a:gd name="csY60" fmla="*/ 1501203 h 2091287"/>
              <a:gd name="csX61" fmla="*/ 576958 w 733006"/>
              <a:gd name="csY61" fmla="*/ 1593963 h 2091287"/>
              <a:gd name="csX62" fmla="*/ 595349 w 733006"/>
              <a:gd name="csY62" fmla="*/ 1613498 h 2091287"/>
              <a:gd name="csX63" fmla="*/ 613936 w 733006"/>
              <a:gd name="csY63" fmla="*/ 1624058 h 2091287"/>
              <a:gd name="csX64" fmla="*/ 620938 w 733006"/>
              <a:gd name="csY64" fmla="*/ 1652071 h 2091287"/>
              <a:gd name="csX65" fmla="*/ 630805 w 733006"/>
              <a:gd name="csY65" fmla="*/ 1721702 h 2091287"/>
              <a:gd name="csX66" fmla="*/ 685830 w 733006"/>
              <a:gd name="csY66" fmla="*/ 1792915 h 2091287"/>
              <a:gd name="csX67" fmla="*/ 708904 w 733006"/>
              <a:gd name="csY67" fmla="*/ 1890290 h 2091287"/>
              <a:gd name="csX68" fmla="*/ 716580 w 733006"/>
              <a:gd name="csY68" fmla="*/ 1951136 h 2091287"/>
              <a:gd name="csX69" fmla="*/ 729397 w 733006"/>
              <a:gd name="csY69" fmla="*/ 2030261 h 2091287"/>
              <a:gd name="csX70" fmla="*/ 714212 w 733006"/>
              <a:gd name="csY70" fmla="*/ 2059069 h 2091287"/>
              <a:gd name="csX71" fmla="*/ 96263 w 733006"/>
              <a:gd name="csY71" fmla="*/ 2076207 h 2091287"/>
              <a:gd name="csX72" fmla="*/ 489970 w 733006"/>
              <a:gd name="csY72" fmla="*/ 152208 h 2091287"/>
              <a:gd name="csX73" fmla="*/ 490754 w 733006"/>
              <a:gd name="csY73" fmla="*/ 152592 h 2091287"/>
              <a:gd name="csX74" fmla="*/ 489489 w 733006"/>
              <a:gd name="csY74" fmla="*/ 149547 h 2091287"/>
              <a:gd name="csX75" fmla="*/ 393621 w 733006"/>
              <a:gd name="csY75" fmla="*/ 99259 h 2091287"/>
              <a:gd name="csX76" fmla="*/ 390419 w 733006"/>
              <a:gd name="csY76" fmla="*/ 18568 h 2091287"/>
              <a:gd name="csX77" fmla="*/ 334131 w 733006"/>
              <a:gd name="csY77" fmla="*/ 24327 h 2091287"/>
              <a:gd name="csX78" fmla="*/ 344678 w 733006"/>
              <a:gd name="csY78" fmla="*/ 101259 h 2091287"/>
              <a:gd name="csX79" fmla="*/ 298854 w 733006"/>
              <a:gd name="csY79" fmla="*/ 114003 h 2091287"/>
              <a:gd name="csX80" fmla="*/ 237456 w 733006"/>
              <a:gd name="csY80" fmla="*/ 154340 h 2091287"/>
              <a:gd name="csX81" fmla="*/ 240382 w 733006"/>
              <a:gd name="csY81" fmla="*/ 154035 h 2091287"/>
              <a:gd name="csX82" fmla="*/ 262731 w 733006"/>
              <a:gd name="csY82" fmla="*/ 170426 h 2091287"/>
              <a:gd name="csX83" fmla="*/ 279169 w 733006"/>
              <a:gd name="csY83" fmla="*/ 193173 h 2091287"/>
              <a:gd name="csX84" fmla="*/ 327717 w 733006"/>
              <a:gd name="csY84" fmla="*/ 188556 h 2091287"/>
              <a:gd name="csX85" fmla="*/ 348052 w 733006"/>
              <a:gd name="csY85" fmla="*/ 156919 h 2091287"/>
              <a:gd name="csX86" fmla="*/ 380330 w 733006"/>
              <a:gd name="csY86" fmla="*/ 156483 h 2091287"/>
              <a:gd name="csX87" fmla="*/ 408490 w 733006"/>
              <a:gd name="csY87" fmla="*/ 195400 h 2091287"/>
              <a:gd name="csX88" fmla="*/ 445346 w 733006"/>
              <a:gd name="csY88" fmla="*/ 197582 h 2091287"/>
              <a:gd name="csX89" fmla="*/ 464798 w 733006"/>
              <a:gd name="csY89" fmla="*/ 174107 h 2091287"/>
              <a:gd name="csX90" fmla="*/ 489970 w 733006"/>
              <a:gd name="csY90" fmla="*/ 152208 h 2091287"/>
              <a:gd name="csX91" fmla="*/ 140694 w 733006"/>
              <a:gd name="csY91" fmla="*/ 201837 h 2091287"/>
              <a:gd name="csX92" fmla="*/ 139834 w 733006"/>
              <a:gd name="csY92" fmla="*/ 201482 h 2091287"/>
              <a:gd name="csX93" fmla="*/ 140812 w 733006"/>
              <a:gd name="csY93" fmla="*/ 204941 h 2091287"/>
              <a:gd name="csX94" fmla="*/ 144631 w 733006"/>
              <a:gd name="csY94" fmla="*/ 217811 h 2091287"/>
              <a:gd name="csX95" fmla="*/ 201241 w 733006"/>
              <a:gd name="csY95" fmla="*/ 373387 h 2091287"/>
              <a:gd name="csX96" fmla="*/ 235971 w 733006"/>
              <a:gd name="csY96" fmla="*/ 504451 h 2091287"/>
              <a:gd name="csX97" fmla="*/ 247475 w 733006"/>
              <a:gd name="csY97" fmla="*/ 513241 h 2091287"/>
              <a:gd name="csX98" fmla="*/ 289066 w 733006"/>
              <a:gd name="csY98" fmla="*/ 511170 h 2091287"/>
              <a:gd name="csX99" fmla="*/ 378229 w 733006"/>
              <a:gd name="csY99" fmla="*/ 511084 h 2091287"/>
              <a:gd name="csX100" fmla="*/ 470850 w 733006"/>
              <a:gd name="csY100" fmla="*/ 516341 h 2091287"/>
              <a:gd name="csX101" fmla="*/ 492933 w 733006"/>
              <a:gd name="csY101" fmla="*/ 497969 h 2091287"/>
              <a:gd name="csX102" fmla="*/ 557617 w 733006"/>
              <a:gd name="csY102" fmla="*/ 280398 h 2091287"/>
              <a:gd name="csX103" fmla="*/ 588788 w 733006"/>
              <a:gd name="csY103" fmla="*/ 200385 h 2091287"/>
              <a:gd name="csX104" fmla="*/ 530958 w 733006"/>
              <a:gd name="csY104" fmla="*/ 232968 h 2091287"/>
              <a:gd name="csX105" fmla="*/ 483823 w 733006"/>
              <a:gd name="csY105" fmla="*/ 190364 h 2091287"/>
              <a:gd name="csX106" fmla="*/ 466649 w 733006"/>
              <a:gd name="csY106" fmla="*/ 209061 h 2091287"/>
              <a:gd name="csX107" fmla="*/ 399941 w 733006"/>
              <a:gd name="csY107" fmla="*/ 216988 h 2091287"/>
              <a:gd name="csX108" fmla="*/ 363018 w 733006"/>
              <a:gd name="csY108" fmla="*/ 179615 h 2091287"/>
              <a:gd name="csX109" fmla="*/ 308839 w 733006"/>
              <a:gd name="csY109" fmla="*/ 227846 h 2091287"/>
              <a:gd name="csX110" fmla="*/ 245077 w 733006"/>
              <a:gd name="csY110" fmla="*/ 192402 h 2091287"/>
              <a:gd name="csX111" fmla="*/ 242829 w 733006"/>
              <a:gd name="csY111" fmla="*/ 198815 h 2091287"/>
              <a:gd name="csX112" fmla="*/ 168452 w 733006"/>
              <a:gd name="csY112" fmla="*/ 219348 h 2091287"/>
              <a:gd name="csX113" fmla="*/ 140694 w 733006"/>
              <a:gd name="csY113" fmla="*/ 201837 h 2091287"/>
              <a:gd name="csX114" fmla="*/ 259999 w 733006"/>
              <a:gd name="csY114" fmla="*/ 966699 h 2091287"/>
              <a:gd name="csX115" fmla="*/ 257072 w 733006"/>
              <a:gd name="csY115" fmla="*/ 1070424 h 2091287"/>
              <a:gd name="csX116" fmla="*/ 251372 w 733006"/>
              <a:gd name="csY116" fmla="*/ 1157618 h 2091287"/>
              <a:gd name="csX117" fmla="*/ 232677 w 733006"/>
              <a:gd name="csY117" fmla="*/ 1320279 h 2091287"/>
              <a:gd name="csX118" fmla="*/ 209182 w 733006"/>
              <a:gd name="csY118" fmla="*/ 1468667 h 2091287"/>
              <a:gd name="csX119" fmla="*/ 175302 w 733006"/>
              <a:gd name="csY119" fmla="*/ 1616623 h 2091287"/>
              <a:gd name="csX120" fmla="*/ 182769 w 733006"/>
              <a:gd name="csY120" fmla="*/ 1629786 h 2091287"/>
              <a:gd name="csX121" fmla="*/ 212156 w 733006"/>
              <a:gd name="csY121" fmla="*/ 1632656 h 2091287"/>
              <a:gd name="csX122" fmla="*/ 351295 w 733006"/>
              <a:gd name="csY122" fmla="*/ 1632801 h 2091287"/>
              <a:gd name="csX123" fmla="*/ 376150 w 733006"/>
              <a:gd name="csY123" fmla="*/ 1608307 h 2091287"/>
              <a:gd name="csX124" fmla="*/ 373450 w 733006"/>
              <a:gd name="csY124" fmla="*/ 1457291 h 2091287"/>
              <a:gd name="csX125" fmla="*/ 370936 w 733006"/>
              <a:gd name="csY125" fmla="*/ 1342736 h 2091287"/>
              <a:gd name="csX126" fmla="*/ 368328 w 733006"/>
              <a:gd name="csY126" fmla="*/ 1203878 h 2091287"/>
              <a:gd name="csX127" fmla="*/ 367836 w 733006"/>
              <a:gd name="csY127" fmla="*/ 813478 h 2091287"/>
              <a:gd name="csX128" fmla="*/ 365240 w 733006"/>
              <a:gd name="csY128" fmla="*/ 773243 h 2091287"/>
              <a:gd name="csX129" fmla="*/ 353084 w 733006"/>
              <a:gd name="csY129" fmla="*/ 762083 h 2091287"/>
              <a:gd name="csX130" fmla="*/ 280966 w 733006"/>
              <a:gd name="csY130" fmla="*/ 759855 h 2091287"/>
              <a:gd name="csX131" fmla="*/ 259965 w 733006"/>
              <a:gd name="csY131" fmla="*/ 779553 h 2091287"/>
              <a:gd name="csX132" fmla="*/ 262341 w 733006"/>
              <a:gd name="csY132" fmla="*/ 856275 h 2091287"/>
              <a:gd name="csX133" fmla="*/ 259999 w 733006"/>
              <a:gd name="csY133" fmla="*/ 966699 h 2091287"/>
              <a:gd name="csX134" fmla="*/ 55556 w 733006"/>
              <a:gd name="csY134" fmla="*/ 1835827 h 2091287"/>
              <a:gd name="csX135" fmla="*/ 49393 w 733006"/>
              <a:gd name="csY135" fmla="*/ 1878155 h 2091287"/>
              <a:gd name="csX136" fmla="*/ 73949 w 733006"/>
              <a:gd name="csY136" fmla="*/ 1905781 h 2091287"/>
              <a:gd name="csX137" fmla="*/ 110073 w 733006"/>
              <a:gd name="csY137" fmla="*/ 1909068 h 2091287"/>
              <a:gd name="csX138" fmla="*/ 224745 w 733006"/>
              <a:gd name="csY138" fmla="*/ 1921652 h 2091287"/>
              <a:gd name="csX139" fmla="*/ 347327 w 733006"/>
              <a:gd name="csY139" fmla="*/ 1924778 h 2091287"/>
              <a:gd name="csX140" fmla="*/ 363345 w 733006"/>
              <a:gd name="csY140" fmla="*/ 1923293 h 2091287"/>
              <a:gd name="csX141" fmla="*/ 373787 w 733006"/>
              <a:gd name="csY141" fmla="*/ 1911200 h 2091287"/>
              <a:gd name="csX142" fmla="*/ 376623 w 733006"/>
              <a:gd name="csY142" fmla="*/ 1696741 h 2091287"/>
              <a:gd name="csX143" fmla="*/ 360437 w 733006"/>
              <a:gd name="csY143" fmla="*/ 1681289 h 2091287"/>
              <a:gd name="csX144" fmla="*/ 263503 w 733006"/>
              <a:gd name="csY144" fmla="*/ 1678179 h 2091287"/>
              <a:gd name="csX145" fmla="*/ 160381 w 733006"/>
              <a:gd name="csY145" fmla="*/ 1670405 h 2091287"/>
              <a:gd name="csX146" fmla="*/ 143321 w 733006"/>
              <a:gd name="csY146" fmla="*/ 1685538 h 2091287"/>
              <a:gd name="csX147" fmla="*/ 124769 w 733006"/>
              <a:gd name="csY147" fmla="*/ 1738195 h 2091287"/>
              <a:gd name="csX148" fmla="*/ 90593 w 733006"/>
              <a:gd name="csY148" fmla="*/ 1779570 h 2091287"/>
              <a:gd name="csX149" fmla="*/ 55556 w 733006"/>
              <a:gd name="csY149" fmla="*/ 1835827 h 2091287"/>
              <a:gd name="csX150" fmla="*/ 378900 w 733006"/>
              <a:gd name="csY150" fmla="*/ 2007280 h 2091287"/>
              <a:gd name="csX151" fmla="*/ 378887 w 733006"/>
              <a:gd name="csY151" fmla="*/ 1995127 h 2091287"/>
              <a:gd name="csX152" fmla="*/ 359084 w 733006"/>
              <a:gd name="csY152" fmla="*/ 1975964 h 2091287"/>
              <a:gd name="csX153" fmla="*/ 247288 w 733006"/>
              <a:gd name="csY153" fmla="*/ 1973305 h 2091287"/>
              <a:gd name="csX154" fmla="*/ 201692 w 733006"/>
              <a:gd name="csY154" fmla="*/ 1970275 h 2091287"/>
              <a:gd name="csX155" fmla="*/ 57962 w 733006"/>
              <a:gd name="csY155" fmla="*/ 1952648 h 2091287"/>
              <a:gd name="csX156" fmla="*/ 39194 w 733006"/>
              <a:gd name="csY156" fmla="*/ 1963552 h 2091287"/>
              <a:gd name="csX157" fmla="*/ 30066 w 733006"/>
              <a:gd name="csY157" fmla="*/ 2006631 h 2091287"/>
              <a:gd name="csX158" fmla="*/ 40232 w 733006"/>
              <a:gd name="csY158" fmla="*/ 2019486 h 2091287"/>
              <a:gd name="csX159" fmla="*/ 238186 w 733006"/>
              <a:gd name="csY159" fmla="*/ 2046096 h 2091287"/>
              <a:gd name="csX160" fmla="*/ 342155 w 733006"/>
              <a:gd name="csY160" fmla="*/ 2046441 h 2091287"/>
              <a:gd name="csX161" fmla="*/ 378900 w 733006"/>
              <a:gd name="csY161" fmla="*/ 2007280 h 2091287"/>
              <a:gd name="csX162" fmla="*/ 310220 w 733006"/>
              <a:gd name="csY162" fmla="*/ 554288 h 2091287"/>
              <a:gd name="csX163" fmla="*/ 259136 w 733006"/>
              <a:gd name="csY163" fmla="*/ 556881 h 2091287"/>
              <a:gd name="csX164" fmla="*/ 249085 w 733006"/>
              <a:gd name="csY164" fmla="*/ 567981 h 2091287"/>
              <a:gd name="csX165" fmla="*/ 249141 w 733006"/>
              <a:gd name="csY165" fmla="*/ 605644 h 2091287"/>
              <a:gd name="csX166" fmla="*/ 262628 w 733006"/>
              <a:gd name="csY166" fmla="*/ 605627 h 2091287"/>
              <a:gd name="csX167" fmla="*/ 369608 w 733006"/>
              <a:gd name="csY167" fmla="*/ 603027 h 2091287"/>
              <a:gd name="csX168" fmla="*/ 463931 w 733006"/>
              <a:gd name="csY168" fmla="*/ 605146 h 2091287"/>
              <a:gd name="csX169" fmla="*/ 478113 w 733006"/>
              <a:gd name="csY169" fmla="*/ 595843 h 2091287"/>
              <a:gd name="csX170" fmla="*/ 478796 w 733006"/>
              <a:gd name="csY170" fmla="*/ 556832 h 2091287"/>
              <a:gd name="csX171" fmla="*/ 310220 w 733006"/>
              <a:gd name="csY171" fmla="*/ 554288 h 2091287"/>
              <a:gd name="csX172" fmla="*/ 348836 w 733006"/>
              <a:gd name="csY172" fmla="*/ 684115 h 2091287"/>
              <a:gd name="csX173" fmla="*/ 281333 w 733006"/>
              <a:gd name="csY173" fmla="*/ 683313 h 2091287"/>
              <a:gd name="csX174" fmla="*/ 212728 w 733006"/>
              <a:gd name="csY174" fmla="*/ 681931 h 2091287"/>
              <a:gd name="csX175" fmla="*/ 187283 w 733006"/>
              <a:gd name="csY175" fmla="*/ 689555 h 2091287"/>
              <a:gd name="csX176" fmla="*/ 186163 w 733006"/>
              <a:gd name="csY176" fmla="*/ 718266 h 2091287"/>
              <a:gd name="csX177" fmla="*/ 209894 w 733006"/>
              <a:gd name="csY177" fmla="*/ 726798 h 2091287"/>
              <a:gd name="csX178" fmla="*/ 334814 w 733006"/>
              <a:gd name="csY178" fmla="*/ 732494 h 2091287"/>
              <a:gd name="csX179" fmla="*/ 364856 w 733006"/>
              <a:gd name="csY179" fmla="*/ 707963 h 2091287"/>
              <a:gd name="csX180" fmla="*/ 348836 w 733006"/>
              <a:gd name="csY180" fmla="*/ 684115 h 2091287"/>
              <a:gd name="csX181" fmla="*/ 298865 w 733006"/>
              <a:gd name="csY181" fmla="*/ 621954 h 2091287"/>
              <a:gd name="csX182" fmla="*/ 251619 w 733006"/>
              <a:gd name="csY182" fmla="*/ 622133 h 2091287"/>
              <a:gd name="csX183" fmla="*/ 214459 w 733006"/>
              <a:gd name="csY183" fmla="*/ 636230 h 2091287"/>
              <a:gd name="csX184" fmla="*/ 221436 w 733006"/>
              <a:gd name="csY184" fmla="*/ 654205 h 2091287"/>
              <a:gd name="csX185" fmla="*/ 272412 w 733006"/>
              <a:gd name="csY185" fmla="*/ 657250 h 2091287"/>
              <a:gd name="csX186" fmla="*/ 349094 w 733006"/>
              <a:gd name="csY186" fmla="*/ 659282 h 2091287"/>
              <a:gd name="csX187" fmla="*/ 362996 w 733006"/>
              <a:gd name="csY187" fmla="*/ 644234 h 2091287"/>
              <a:gd name="csX188" fmla="*/ 348472 w 733006"/>
              <a:gd name="csY188" fmla="*/ 624649 h 2091287"/>
              <a:gd name="csX189" fmla="*/ 298865 w 733006"/>
              <a:gd name="csY189" fmla="*/ 621954 h 2091287"/>
              <a:gd name="csX190" fmla="*/ 227796 w 733006"/>
              <a:gd name="csY190" fmla="*/ 528000 h 2091287"/>
              <a:gd name="csX191" fmla="*/ 241009 w 733006"/>
              <a:gd name="csY191" fmla="*/ 545897 h 2091287"/>
              <a:gd name="csX192" fmla="*/ 282607 w 733006"/>
              <a:gd name="csY192" fmla="*/ 543480 h 2091287"/>
              <a:gd name="csX193" fmla="*/ 354213 w 733006"/>
              <a:gd name="csY193" fmla="*/ 543384 h 2091287"/>
              <a:gd name="csX194" fmla="*/ 365334 w 733006"/>
              <a:gd name="csY194" fmla="*/ 533397 h 2091287"/>
              <a:gd name="csX195" fmla="*/ 354531 w 733006"/>
              <a:gd name="csY195" fmla="*/ 521620 h 2091287"/>
              <a:gd name="csX196" fmla="*/ 259169 w 733006"/>
              <a:gd name="csY196" fmla="*/ 521978 h 2091287"/>
              <a:gd name="csX197" fmla="*/ 227796 w 733006"/>
              <a:gd name="csY197" fmla="*/ 528000 h 2091287"/>
              <a:gd name="csX198" fmla="*/ 508068 w 733006"/>
              <a:gd name="csY198" fmla="*/ 190710 h 2091287"/>
              <a:gd name="csX199" fmla="*/ 521293 w 733006"/>
              <a:gd name="csY199" fmla="*/ 205907 h 2091287"/>
              <a:gd name="csX200" fmla="*/ 525175 w 733006"/>
              <a:gd name="csY200" fmla="*/ 202985 h 2091287"/>
              <a:gd name="csX201" fmla="*/ 500276 w 733006"/>
              <a:gd name="csY201" fmla="*/ 160640 h 2091287"/>
              <a:gd name="csX202" fmla="*/ 497122 w 733006"/>
              <a:gd name="csY202" fmla="*/ 162007 h 2091287"/>
              <a:gd name="csX203" fmla="*/ 508068 w 733006"/>
              <a:gd name="csY203" fmla="*/ 190710 h 2091287"/>
              <a:gd name="csX204" fmla="*/ 215522 w 733006"/>
              <a:gd name="csY204" fmla="*/ 197296 h 2091287"/>
              <a:gd name="csX205" fmla="*/ 234029 w 733006"/>
              <a:gd name="csY205" fmla="*/ 162725 h 2091287"/>
              <a:gd name="csX206" fmla="*/ 229000 w 733006"/>
              <a:gd name="csY206" fmla="*/ 159902 h 2091287"/>
              <a:gd name="csX207" fmla="*/ 204824 w 733006"/>
              <a:gd name="csY207" fmla="*/ 199677 h 2091287"/>
              <a:gd name="csX208" fmla="*/ 207990 w 733006"/>
              <a:gd name="csY208" fmla="*/ 202198 h 2091287"/>
              <a:gd name="csX209" fmla="*/ 215522 w 733006"/>
              <a:gd name="csY209" fmla="*/ 197296 h 2091287"/>
              <a:gd name="csX210" fmla="*/ 484400 w 733006"/>
              <a:gd name="csY210" fmla="*/ 896678 h 2091287"/>
              <a:gd name="csX211" fmla="*/ 486181 w 733006"/>
              <a:gd name="csY211" fmla="*/ 896585 h 2091287"/>
              <a:gd name="csX212" fmla="*/ 486181 w 733006"/>
              <a:gd name="csY212" fmla="*/ 795289 h 2091287"/>
              <a:gd name="csX0" fmla="*/ 96263 w 733006"/>
              <a:gd name="csY0" fmla="*/ 2076207 h 2092038"/>
              <a:gd name="csX1" fmla="*/ 63862 w 733006"/>
              <a:gd name="csY1" fmla="*/ 2065388 h 2092038"/>
              <a:gd name="csX2" fmla="*/ 16555 w 733006"/>
              <a:gd name="csY2" fmla="*/ 2050152 h 2092038"/>
              <a:gd name="csX3" fmla="*/ 15 w 733006"/>
              <a:gd name="csY3" fmla="*/ 2023802 h 2092038"/>
              <a:gd name="csX4" fmla="*/ 18368 w 733006"/>
              <a:gd name="csY4" fmla="*/ 1940709 h 2092038"/>
              <a:gd name="csX5" fmla="*/ 22139 w 733006"/>
              <a:gd name="csY5" fmla="*/ 1907268 h 2092038"/>
              <a:gd name="csX6" fmla="*/ 57941 w 733006"/>
              <a:gd name="csY6" fmla="*/ 1774163 h 2092038"/>
              <a:gd name="csX7" fmla="*/ 102478 w 733006"/>
              <a:gd name="csY7" fmla="*/ 1720275 h 2092038"/>
              <a:gd name="csX8" fmla="*/ 108579 w 733006"/>
              <a:gd name="csY8" fmla="*/ 1650967 h 2092038"/>
              <a:gd name="csX9" fmla="*/ 115628 w 733006"/>
              <a:gd name="csY9" fmla="*/ 1625405 h 2092038"/>
              <a:gd name="csX10" fmla="*/ 156323 w 733006"/>
              <a:gd name="csY10" fmla="*/ 1560181 h 2092038"/>
              <a:gd name="csX11" fmla="*/ 199424 w 733006"/>
              <a:gd name="csY11" fmla="*/ 1364729 h 2092038"/>
              <a:gd name="csX12" fmla="*/ 216779 w 733006"/>
              <a:gd name="csY12" fmla="*/ 1219490 h 2092038"/>
              <a:gd name="csX13" fmla="*/ 229755 w 733006"/>
              <a:gd name="csY13" fmla="*/ 1099357 h 2092038"/>
              <a:gd name="csX14" fmla="*/ 232707 w 733006"/>
              <a:gd name="csY14" fmla="*/ 1056423 h 2092038"/>
              <a:gd name="csX15" fmla="*/ 235622 w 733006"/>
              <a:gd name="csY15" fmla="*/ 952675 h 2092038"/>
              <a:gd name="csX16" fmla="*/ 235445 w 733006"/>
              <a:gd name="csY16" fmla="*/ 780278 h 2092038"/>
              <a:gd name="csX17" fmla="*/ 214544 w 733006"/>
              <a:gd name="csY17" fmla="*/ 756435 h 2092038"/>
              <a:gd name="csX18" fmla="*/ 172569 w 733006"/>
              <a:gd name="csY18" fmla="*/ 742582 h 2092038"/>
              <a:gd name="csX19" fmla="*/ 168784 w 733006"/>
              <a:gd name="csY19" fmla="*/ 669116 h 2092038"/>
              <a:gd name="csX20" fmla="*/ 191657 w 733006"/>
              <a:gd name="csY20" fmla="*/ 630765 h 2092038"/>
              <a:gd name="csX21" fmla="*/ 208150 w 733006"/>
              <a:gd name="csY21" fmla="*/ 609084 h 2092038"/>
              <a:gd name="csX22" fmla="*/ 216756 w 733006"/>
              <a:gd name="csY22" fmla="*/ 558673 h 2092038"/>
              <a:gd name="csX23" fmla="*/ 209092 w 733006"/>
              <a:gd name="csY23" fmla="*/ 521540 h 2092038"/>
              <a:gd name="csX24" fmla="*/ 204683 w 733006"/>
              <a:gd name="csY24" fmla="*/ 474024 h 2092038"/>
              <a:gd name="csX25" fmla="*/ 115483 w 733006"/>
              <a:gd name="csY25" fmla="*/ 213499 h 2092038"/>
              <a:gd name="csX26" fmla="*/ 102909 w 733006"/>
              <a:gd name="csY26" fmla="*/ 182297 h 2092038"/>
              <a:gd name="csX27" fmla="*/ 104315 w 733006"/>
              <a:gd name="csY27" fmla="*/ 163968 h 2092038"/>
              <a:gd name="csX28" fmla="*/ 122444 w 733006"/>
              <a:gd name="csY28" fmla="*/ 160805 h 2092038"/>
              <a:gd name="csX29" fmla="*/ 170283 w 733006"/>
              <a:gd name="csY29" fmla="*/ 187783 h 2092038"/>
              <a:gd name="csX30" fmla="*/ 180938 w 733006"/>
              <a:gd name="csY30" fmla="*/ 195322 h 2092038"/>
              <a:gd name="csX31" fmla="*/ 221419 w 733006"/>
              <a:gd name="csY31" fmla="*/ 138058 h 2092038"/>
              <a:gd name="csX32" fmla="*/ 294099 w 733006"/>
              <a:gd name="csY32" fmla="*/ 91372 h 2092038"/>
              <a:gd name="csX33" fmla="*/ 302307 w 733006"/>
              <a:gd name="csY33" fmla="*/ 76560 h 2092038"/>
              <a:gd name="csX34" fmla="*/ 320284 w 733006"/>
              <a:gd name="csY34" fmla="*/ 8414 h 2092038"/>
              <a:gd name="csX35" fmla="*/ 324784 w 733006"/>
              <a:gd name="csY35" fmla="*/ 946 h 2092038"/>
              <a:gd name="csX36" fmla="*/ 399212 w 733006"/>
              <a:gd name="csY36" fmla="*/ 0 h 2092038"/>
              <a:gd name="csX37" fmla="*/ 425980 w 733006"/>
              <a:gd name="csY37" fmla="*/ 78301 h 2092038"/>
              <a:gd name="csX38" fmla="*/ 431861 w 733006"/>
              <a:gd name="csY38" fmla="*/ 90312 h 2092038"/>
              <a:gd name="csX39" fmla="*/ 540349 w 733006"/>
              <a:gd name="csY39" fmla="*/ 187946 h 2092038"/>
              <a:gd name="csX40" fmla="*/ 545555 w 733006"/>
              <a:gd name="csY40" fmla="*/ 197828 h 2092038"/>
              <a:gd name="csX41" fmla="*/ 587318 w 733006"/>
              <a:gd name="csY41" fmla="*/ 171260 h 2092038"/>
              <a:gd name="csX42" fmla="*/ 601503 w 733006"/>
              <a:gd name="csY42" fmla="*/ 163707 h 2092038"/>
              <a:gd name="csX43" fmla="*/ 625254 w 733006"/>
              <a:gd name="csY43" fmla="*/ 163123 h 2092038"/>
              <a:gd name="csX44" fmla="*/ 625468 w 733006"/>
              <a:gd name="csY44" fmla="*/ 187579 h 2092038"/>
              <a:gd name="csX45" fmla="*/ 597543 w 733006"/>
              <a:gd name="csY45" fmla="*/ 251872 h 2092038"/>
              <a:gd name="csX46" fmla="*/ 531831 w 733006"/>
              <a:gd name="csY46" fmla="*/ 442689 h 2092038"/>
              <a:gd name="csX47" fmla="*/ 519888 w 733006"/>
              <a:gd name="csY47" fmla="*/ 501474 h 2092038"/>
              <a:gd name="csX48" fmla="*/ 522506 w 733006"/>
              <a:gd name="csY48" fmla="*/ 525086 h 2092038"/>
              <a:gd name="csX49" fmla="*/ 516235 w 733006"/>
              <a:gd name="csY49" fmla="*/ 555946 h 2092038"/>
              <a:gd name="csX50" fmla="*/ 521332 w 733006"/>
              <a:gd name="csY50" fmla="*/ 610676 h 2092038"/>
              <a:gd name="csX51" fmla="*/ 541382 w 733006"/>
              <a:gd name="csY51" fmla="*/ 642597 h 2092038"/>
              <a:gd name="csX52" fmla="*/ 557031 w 733006"/>
              <a:gd name="csY52" fmla="*/ 667949 h 2092038"/>
              <a:gd name="csX53" fmla="*/ 553994 w 733006"/>
              <a:gd name="csY53" fmla="*/ 744146 h 2092038"/>
              <a:gd name="csX54" fmla="*/ 508215 w 733006"/>
              <a:gd name="csY54" fmla="*/ 758841 h 2092038"/>
              <a:gd name="csX55" fmla="*/ 497442 w 733006"/>
              <a:gd name="csY55" fmla="*/ 771256 h 2092038"/>
              <a:gd name="csX56" fmla="*/ 493005 w 733006"/>
              <a:gd name="csY56" fmla="*/ 922055 h 2092038"/>
              <a:gd name="csX57" fmla="*/ 502900 w 733006"/>
              <a:gd name="csY57" fmla="*/ 1114191 h 2092038"/>
              <a:gd name="csX58" fmla="*/ 508800 w 733006"/>
              <a:gd name="csY58" fmla="*/ 1205474 h 2092038"/>
              <a:gd name="csX59" fmla="*/ 522952 w 733006"/>
              <a:gd name="csY59" fmla="*/ 1320065 h 2092038"/>
              <a:gd name="csX60" fmla="*/ 554682 w 733006"/>
              <a:gd name="csY60" fmla="*/ 1501203 h 2092038"/>
              <a:gd name="csX61" fmla="*/ 576958 w 733006"/>
              <a:gd name="csY61" fmla="*/ 1593963 h 2092038"/>
              <a:gd name="csX62" fmla="*/ 595349 w 733006"/>
              <a:gd name="csY62" fmla="*/ 1613498 h 2092038"/>
              <a:gd name="csX63" fmla="*/ 613936 w 733006"/>
              <a:gd name="csY63" fmla="*/ 1624058 h 2092038"/>
              <a:gd name="csX64" fmla="*/ 620938 w 733006"/>
              <a:gd name="csY64" fmla="*/ 1652071 h 2092038"/>
              <a:gd name="csX65" fmla="*/ 630805 w 733006"/>
              <a:gd name="csY65" fmla="*/ 1721702 h 2092038"/>
              <a:gd name="csX66" fmla="*/ 685830 w 733006"/>
              <a:gd name="csY66" fmla="*/ 1792915 h 2092038"/>
              <a:gd name="csX67" fmla="*/ 708904 w 733006"/>
              <a:gd name="csY67" fmla="*/ 1890290 h 2092038"/>
              <a:gd name="csX68" fmla="*/ 716580 w 733006"/>
              <a:gd name="csY68" fmla="*/ 1951136 h 2092038"/>
              <a:gd name="csX69" fmla="*/ 729397 w 733006"/>
              <a:gd name="csY69" fmla="*/ 2030261 h 2092038"/>
              <a:gd name="csX70" fmla="*/ 714212 w 733006"/>
              <a:gd name="csY70" fmla="*/ 2059069 h 2092038"/>
              <a:gd name="csX71" fmla="*/ 96263 w 733006"/>
              <a:gd name="csY71" fmla="*/ 2076207 h 2092038"/>
              <a:gd name="csX72" fmla="*/ 489970 w 733006"/>
              <a:gd name="csY72" fmla="*/ 152208 h 2092038"/>
              <a:gd name="csX73" fmla="*/ 490754 w 733006"/>
              <a:gd name="csY73" fmla="*/ 152592 h 2092038"/>
              <a:gd name="csX74" fmla="*/ 489489 w 733006"/>
              <a:gd name="csY74" fmla="*/ 149547 h 2092038"/>
              <a:gd name="csX75" fmla="*/ 393621 w 733006"/>
              <a:gd name="csY75" fmla="*/ 99259 h 2092038"/>
              <a:gd name="csX76" fmla="*/ 390419 w 733006"/>
              <a:gd name="csY76" fmla="*/ 18568 h 2092038"/>
              <a:gd name="csX77" fmla="*/ 334131 w 733006"/>
              <a:gd name="csY77" fmla="*/ 24327 h 2092038"/>
              <a:gd name="csX78" fmla="*/ 344678 w 733006"/>
              <a:gd name="csY78" fmla="*/ 101259 h 2092038"/>
              <a:gd name="csX79" fmla="*/ 298854 w 733006"/>
              <a:gd name="csY79" fmla="*/ 114003 h 2092038"/>
              <a:gd name="csX80" fmla="*/ 237456 w 733006"/>
              <a:gd name="csY80" fmla="*/ 154340 h 2092038"/>
              <a:gd name="csX81" fmla="*/ 240382 w 733006"/>
              <a:gd name="csY81" fmla="*/ 154035 h 2092038"/>
              <a:gd name="csX82" fmla="*/ 262731 w 733006"/>
              <a:gd name="csY82" fmla="*/ 170426 h 2092038"/>
              <a:gd name="csX83" fmla="*/ 279169 w 733006"/>
              <a:gd name="csY83" fmla="*/ 193173 h 2092038"/>
              <a:gd name="csX84" fmla="*/ 327717 w 733006"/>
              <a:gd name="csY84" fmla="*/ 188556 h 2092038"/>
              <a:gd name="csX85" fmla="*/ 348052 w 733006"/>
              <a:gd name="csY85" fmla="*/ 156919 h 2092038"/>
              <a:gd name="csX86" fmla="*/ 380330 w 733006"/>
              <a:gd name="csY86" fmla="*/ 156483 h 2092038"/>
              <a:gd name="csX87" fmla="*/ 408490 w 733006"/>
              <a:gd name="csY87" fmla="*/ 195400 h 2092038"/>
              <a:gd name="csX88" fmla="*/ 445346 w 733006"/>
              <a:gd name="csY88" fmla="*/ 197582 h 2092038"/>
              <a:gd name="csX89" fmla="*/ 464798 w 733006"/>
              <a:gd name="csY89" fmla="*/ 174107 h 2092038"/>
              <a:gd name="csX90" fmla="*/ 489970 w 733006"/>
              <a:gd name="csY90" fmla="*/ 152208 h 2092038"/>
              <a:gd name="csX91" fmla="*/ 140694 w 733006"/>
              <a:gd name="csY91" fmla="*/ 201837 h 2092038"/>
              <a:gd name="csX92" fmla="*/ 139834 w 733006"/>
              <a:gd name="csY92" fmla="*/ 201482 h 2092038"/>
              <a:gd name="csX93" fmla="*/ 140812 w 733006"/>
              <a:gd name="csY93" fmla="*/ 204941 h 2092038"/>
              <a:gd name="csX94" fmla="*/ 144631 w 733006"/>
              <a:gd name="csY94" fmla="*/ 217811 h 2092038"/>
              <a:gd name="csX95" fmla="*/ 201241 w 733006"/>
              <a:gd name="csY95" fmla="*/ 373387 h 2092038"/>
              <a:gd name="csX96" fmla="*/ 235971 w 733006"/>
              <a:gd name="csY96" fmla="*/ 504451 h 2092038"/>
              <a:gd name="csX97" fmla="*/ 247475 w 733006"/>
              <a:gd name="csY97" fmla="*/ 513241 h 2092038"/>
              <a:gd name="csX98" fmla="*/ 289066 w 733006"/>
              <a:gd name="csY98" fmla="*/ 511170 h 2092038"/>
              <a:gd name="csX99" fmla="*/ 378229 w 733006"/>
              <a:gd name="csY99" fmla="*/ 511084 h 2092038"/>
              <a:gd name="csX100" fmla="*/ 470850 w 733006"/>
              <a:gd name="csY100" fmla="*/ 516341 h 2092038"/>
              <a:gd name="csX101" fmla="*/ 492933 w 733006"/>
              <a:gd name="csY101" fmla="*/ 497969 h 2092038"/>
              <a:gd name="csX102" fmla="*/ 557617 w 733006"/>
              <a:gd name="csY102" fmla="*/ 280398 h 2092038"/>
              <a:gd name="csX103" fmla="*/ 588788 w 733006"/>
              <a:gd name="csY103" fmla="*/ 200385 h 2092038"/>
              <a:gd name="csX104" fmla="*/ 530958 w 733006"/>
              <a:gd name="csY104" fmla="*/ 232968 h 2092038"/>
              <a:gd name="csX105" fmla="*/ 483823 w 733006"/>
              <a:gd name="csY105" fmla="*/ 190364 h 2092038"/>
              <a:gd name="csX106" fmla="*/ 466649 w 733006"/>
              <a:gd name="csY106" fmla="*/ 209061 h 2092038"/>
              <a:gd name="csX107" fmla="*/ 399941 w 733006"/>
              <a:gd name="csY107" fmla="*/ 216988 h 2092038"/>
              <a:gd name="csX108" fmla="*/ 363018 w 733006"/>
              <a:gd name="csY108" fmla="*/ 179615 h 2092038"/>
              <a:gd name="csX109" fmla="*/ 308839 w 733006"/>
              <a:gd name="csY109" fmla="*/ 227846 h 2092038"/>
              <a:gd name="csX110" fmla="*/ 245077 w 733006"/>
              <a:gd name="csY110" fmla="*/ 192402 h 2092038"/>
              <a:gd name="csX111" fmla="*/ 242829 w 733006"/>
              <a:gd name="csY111" fmla="*/ 198815 h 2092038"/>
              <a:gd name="csX112" fmla="*/ 168452 w 733006"/>
              <a:gd name="csY112" fmla="*/ 219348 h 2092038"/>
              <a:gd name="csX113" fmla="*/ 140694 w 733006"/>
              <a:gd name="csY113" fmla="*/ 201837 h 2092038"/>
              <a:gd name="csX114" fmla="*/ 259999 w 733006"/>
              <a:gd name="csY114" fmla="*/ 966699 h 2092038"/>
              <a:gd name="csX115" fmla="*/ 257072 w 733006"/>
              <a:gd name="csY115" fmla="*/ 1070424 h 2092038"/>
              <a:gd name="csX116" fmla="*/ 251372 w 733006"/>
              <a:gd name="csY116" fmla="*/ 1157618 h 2092038"/>
              <a:gd name="csX117" fmla="*/ 232677 w 733006"/>
              <a:gd name="csY117" fmla="*/ 1320279 h 2092038"/>
              <a:gd name="csX118" fmla="*/ 209182 w 733006"/>
              <a:gd name="csY118" fmla="*/ 1468667 h 2092038"/>
              <a:gd name="csX119" fmla="*/ 175302 w 733006"/>
              <a:gd name="csY119" fmla="*/ 1616623 h 2092038"/>
              <a:gd name="csX120" fmla="*/ 182769 w 733006"/>
              <a:gd name="csY120" fmla="*/ 1629786 h 2092038"/>
              <a:gd name="csX121" fmla="*/ 212156 w 733006"/>
              <a:gd name="csY121" fmla="*/ 1632656 h 2092038"/>
              <a:gd name="csX122" fmla="*/ 351295 w 733006"/>
              <a:gd name="csY122" fmla="*/ 1632801 h 2092038"/>
              <a:gd name="csX123" fmla="*/ 376150 w 733006"/>
              <a:gd name="csY123" fmla="*/ 1608307 h 2092038"/>
              <a:gd name="csX124" fmla="*/ 373450 w 733006"/>
              <a:gd name="csY124" fmla="*/ 1457291 h 2092038"/>
              <a:gd name="csX125" fmla="*/ 370936 w 733006"/>
              <a:gd name="csY125" fmla="*/ 1342736 h 2092038"/>
              <a:gd name="csX126" fmla="*/ 368328 w 733006"/>
              <a:gd name="csY126" fmla="*/ 1203878 h 2092038"/>
              <a:gd name="csX127" fmla="*/ 367836 w 733006"/>
              <a:gd name="csY127" fmla="*/ 813478 h 2092038"/>
              <a:gd name="csX128" fmla="*/ 365240 w 733006"/>
              <a:gd name="csY128" fmla="*/ 773243 h 2092038"/>
              <a:gd name="csX129" fmla="*/ 353084 w 733006"/>
              <a:gd name="csY129" fmla="*/ 762083 h 2092038"/>
              <a:gd name="csX130" fmla="*/ 280966 w 733006"/>
              <a:gd name="csY130" fmla="*/ 759855 h 2092038"/>
              <a:gd name="csX131" fmla="*/ 259965 w 733006"/>
              <a:gd name="csY131" fmla="*/ 779553 h 2092038"/>
              <a:gd name="csX132" fmla="*/ 262341 w 733006"/>
              <a:gd name="csY132" fmla="*/ 856275 h 2092038"/>
              <a:gd name="csX133" fmla="*/ 259999 w 733006"/>
              <a:gd name="csY133" fmla="*/ 966699 h 2092038"/>
              <a:gd name="csX134" fmla="*/ 55556 w 733006"/>
              <a:gd name="csY134" fmla="*/ 1835827 h 2092038"/>
              <a:gd name="csX135" fmla="*/ 49393 w 733006"/>
              <a:gd name="csY135" fmla="*/ 1878155 h 2092038"/>
              <a:gd name="csX136" fmla="*/ 73949 w 733006"/>
              <a:gd name="csY136" fmla="*/ 1905781 h 2092038"/>
              <a:gd name="csX137" fmla="*/ 110073 w 733006"/>
              <a:gd name="csY137" fmla="*/ 1909068 h 2092038"/>
              <a:gd name="csX138" fmla="*/ 224745 w 733006"/>
              <a:gd name="csY138" fmla="*/ 1921652 h 2092038"/>
              <a:gd name="csX139" fmla="*/ 347327 w 733006"/>
              <a:gd name="csY139" fmla="*/ 1924778 h 2092038"/>
              <a:gd name="csX140" fmla="*/ 363345 w 733006"/>
              <a:gd name="csY140" fmla="*/ 1923293 h 2092038"/>
              <a:gd name="csX141" fmla="*/ 373787 w 733006"/>
              <a:gd name="csY141" fmla="*/ 1911200 h 2092038"/>
              <a:gd name="csX142" fmla="*/ 376623 w 733006"/>
              <a:gd name="csY142" fmla="*/ 1696741 h 2092038"/>
              <a:gd name="csX143" fmla="*/ 360437 w 733006"/>
              <a:gd name="csY143" fmla="*/ 1681289 h 2092038"/>
              <a:gd name="csX144" fmla="*/ 263503 w 733006"/>
              <a:gd name="csY144" fmla="*/ 1678179 h 2092038"/>
              <a:gd name="csX145" fmla="*/ 160381 w 733006"/>
              <a:gd name="csY145" fmla="*/ 1670405 h 2092038"/>
              <a:gd name="csX146" fmla="*/ 143321 w 733006"/>
              <a:gd name="csY146" fmla="*/ 1685538 h 2092038"/>
              <a:gd name="csX147" fmla="*/ 124769 w 733006"/>
              <a:gd name="csY147" fmla="*/ 1738195 h 2092038"/>
              <a:gd name="csX148" fmla="*/ 90593 w 733006"/>
              <a:gd name="csY148" fmla="*/ 1779570 h 2092038"/>
              <a:gd name="csX149" fmla="*/ 55556 w 733006"/>
              <a:gd name="csY149" fmla="*/ 1835827 h 2092038"/>
              <a:gd name="csX150" fmla="*/ 378900 w 733006"/>
              <a:gd name="csY150" fmla="*/ 2007280 h 2092038"/>
              <a:gd name="csX151" fmla="*/ 378887 w 733006"/>
              <a:gd name="csY151" fmla="*/ 1995127 h 2092038"/>
              <a:gd name="csX152" fmla="*/ 359084 w 733006"/>
              <a:gd name="csY152" fmla="*/ 1975964 h 2092038"/>
              <a:gd name="csX153" fmla="*/ 247288 w 733006"/>
              <a:gd name="csY153" fmla="*/ 1973305 h 2092038"/>
              <a:gd name="csX154" fmla="*/ 201692 w 733006"/>
              <a:gd name="csY154" fmla="*/ 1970275 h 2092038"/>
              <a:gd name="csX155" fmla="*/ 57962 w 733006"/>
              <a:gd name="csY155" fmla="*/ 1952648 h 2092038"/>
              <a:gd name="csX156" fmla="*/ 39194 w 733006"/>
              <a:gd name="csY156" fmla="*/ 1963552 h 2092038"/>
              <a:gd name="csX157" fmla="*/ 30066 w 733006"/>
              <a:gd name="csY157" fmla="*/ 2006631 h 2092038"/>
              <a:gd name="csX158" fmla="*/ 40232 w 733006"/>
              <a:gd name="csY158" fmla="*/ 2019486 h 2092038"/>
              <a:gd name="csX159" fmla="*/ 238186 w 733006"/>
              <a:gd name="csY159" fmla="*/ 2046096 h 2092038"/>
              <a:gd name="csX160" fmla="*/ 342155 w 733006"/>
              <a:gd name="csY160" fmla="*/ 2046441 h 2092038"/>
              <a:gd name="csX161" fmla="*/ 378900 w 733006"/>
              <a:gd name="csY161" fmla="*/ 2007280 h 2092038"/>
              <a:gd name="csX162" fmla="*/ 310220 w 733006"/>
              <a:gd name="csY162" fmla="*/ 554288 h 2092038"/>
              <a:gd name="csX163" fmla="*/ 259136 w 733006"/>
              <a:gd name="csY163" fmla="*/ 556881 h 2092038"/>
              <a:gd name="csX164" fmla="*/ 249085 w 733006"/>
              <a:gd name="csY164" fmla="*/ 567981 h 2092038"/>
              <a:gd name="csX165" fmla="*/ 249141 w 733006"/>
              <a:gd name="csY165" fmla="*/ 605644 h 2092038"/>
              <a:gd name="csX166" fmla="*/ 262628 w 733006"/>
              <a:gd name="csY166" fmla="*/ 605627 h 2092038"/>
              <a:gd name="csX167" fmla="*/ 369608 w 733006"/>
              <a:gd name="csY167" fmla="*/ 603027 h 2092038"/>
              <a:gd name="csX168" fmla="*/ 463931 w 733006"/>
              <a:gd name="csY168" fmla="*/ 605146 h 2092038"/>
              <a:gd name="csX169" fmla="*/ 478113 w 733006"/>
              <a:gd name="csY169" fmla="*/ 595843 h 2092038"/>
              <a:gd name="csX170" fmla="*/ 478796 w 733006"/>
              <a:gd name="csY170" fmla="*/ 556832 h 2092038"/>
              <a:gd name="csX171" fmla="*/ 310220 w 733006"/>
              <a:gd name="csY171" fmla="*/ 554288 h 2092038"/>
              <a:gd name="csX172" fmla="*/ 348836 w 733006"/>
              <a:gd name="csY172" fmla="*/ 684115 h 2092038"/>
              <a:gd name="csX173" fmla="*/ 281333 w 733006"/>
              <a:gd name="csY173" fmla="*/ 683313 h 2092038"/>
              <a:gd name="csX174" fmla="*/ 212728 w 733006"/>
              <a:gd name="csY174" fmla="*/ 681931 h 2092038"/>
              <a:gd name="csX175" fmla="*/ 187283 w 733006"/>
              <a:gd name="csY175" fmla="*/ 689555 h 2092038"/>
              <a:gd name="csX176" fmla="*/ 186163 w 733006"/>
              <a:gd name="csY176" fmla="*/ 718266 h 2092038"/>
              <a:gd name="csX177" fmla="*/ 209894 w 733006"/>
              <a:gd name="csY177" fmla="*/ 726798 h 2092038"/>
              <a:gd name="csX178" fmla="*/ 334814 w 733006"/>
              <a:gd name="csY178" fmla="*/ 732494 h 2092038"/>
              <a:gd name="csX179" fmla="*/ 364856 w 733006"/>
              <a:gd name="csY179" fmla="*/ 707963 h 2092038"/>
              <a:gd name="csX180" fmla="*/ 348836 w 733006"/>
              <a:gd name="csY180" fmla="*/ 684115 h 2092038"/>
              <a:gd name="csX181" fmla="*/ 298865 w 733006"/>
              <a:gd name="csY181" fmla="*/ 621954 h 2092038"/>
              <a:gd name="csX182" fmla="*/ 251619 w 733006"/>
              <a:gd name="csY182" fmla="*/ 622133 h 2092038"/>
              <a:gd name="csX183" fmla="*/ 214459 w 733006"/>
              <a:gd name="csY183" fmla="*/ 636230 h 2092038"/>
              <a:gd name="csX184" fmla="*/ 221436 w 733006"/>
              <a:gd name="csY184" fmla="*/ 654205 h 2092038"/>
              <a:gd name="csX185" fmla="*/ 272412 w 733006"/>
              <a:gd name="csY185" fmla="*/ 657250 h 2092038"/>
              <a:gd name="csX186" fmla="*/ 349094 w 733006"/>
              <a:gd name="csY186" fmla="*/ 659282 h 2092038"/>
              <a:gd name="csX187" fmla="*/ 362996 w 733006"/>
              <a:gd name="csY187" fmla="*/ 644234 h 2092038"/>
              <a:gd name="csX188" fmla="*/ 348472 w 733006"/>
              <a:gd name="csY188" fmla="*/ 624649 h 2092038"/>
              <a:gd name="csX189" fmla="*/ 298865 w 733006"/>
              <a:gd name="csY189" fmla="*/ 621954 h 2092038"/>
              <a:gd name="csX190" fmla="*/ 227796 w 733006"/>
              <a:gd name="csY190" fmla="*/ 528000 h 2092038"/>
              <a:gd name="csX191" fmla="*/ 241009 w 733006"/>
              <a:gd name="csY191" fmla="*/ 545897 h 2092038"/>
              <a:gd name="csX192" fmla="*/ 282607 w 733006"/>
              <a:gd name="csY192" fmla="*/ 543480 h 2092038"/>
              <a:gd name="csX193" fmla="*/ 354213 w 733006"/>
              <a:gd name="csY193" fmla="*/ 543384 h 2092038"/>
              <a:gd name="csX194" fmla="*/ 365334 w 733006"/>
              <a:gd name="csY194" fmla="*/ 533397 h 2092038"/>
              <a:gd name="csX195" fmla="*/ 354531 w 733006"/>
              <a:gd name="csY195" fmla="*/ 521620 h 2092038"/>
              <a:gd name="csX196" fmla="*/ 259169 w 733006"/>
              <a:gd name="csY196" fmla="*/ 521978 h 2092038"/>
              <a:gd name="csX197" fmla="*/ 227796 w 733006"/>
              <a:gd name="csY197" fmla="*/ 528000 h 2092038"/>
              <a:gd name="csX198" fmla="*/ 508068 w 733006"/>
              <a:gd name="csY198" fmla="*/ 190710 h 2092038"/>
              <a:gd name="csX199" fmla="*/ 521293 w 733006"/>
              <a:gd name="csY199" fmla="*/ 205907 h 2092038"/>
              <a:gd name="csX200" fmla="*/ 525175 w 733006"/>
              <a:gd name="csY200" fmla="*/ 202985 h 2092038"/>
              <a:gd name="csX201" fmla="*/ 500276 w 733006"/>
              <a:gd name="csY201" fmla="*/ 160640 h 2092038"/>
              <a:gd name="csX202" fmla="*/ 497122 w 733006"/>
              <a:gd name="csY202" fmla="*/ 162007 h 2092038"/>
              <a:gd name="csX203" fmla="*/ 508068 w 733006"/>
              <a:gd name="csY203" fmla="*/ 190710 h 2092038"/>
              <a:gd name="csX204" fmla="*/ 215522 w 733006"/>
              <a:gd name="csY204" fmla="*/ 197296 h 2092038"/>
              <a:gd name="csX205" fmla="*/ 234029 w 733006"/>
              <a:gd name="csY205" fmla="*/ 162725 h 2092038"/>
              <a:gd name="csX206" fmla="*/ 229000 w 733006"/>
              <a:gd name="csY206" fmla="*/ 159902 h 2092038"/>
              <a:gd name="csX207" fmla="*/ 204824 w 733006"/>
              <a:gd name="csY207" fmla="*/ 199677 h 2092038"/>
              <a:gd name="csX208" fmla="*/ 207990 w 733006"/>
              <a:gd name="csY208" fmla="*/ 202198 h 2092038"/>
              <a:gd name="csX209" fmla="*/ 215522 w 733006"/>
              <a:gd name="csY209" fmla="*/ 197296 h 2092038"/>
              <a:gd name="csX210" fmla="*/ 484400 w 733006"/>
              <a:gd name="csY210" fmla="*/ 896678 h 2092038"/>
              <a:gd name="csX211" fmla="*/ 486181 w 733006"/>
              <a:gd name="csY211" fmla="*/ 896585 h 2092038"/>
              <a:gd name="csX212" fmla="*/ 486181 w 733006"/>
              <a:gd name="csY212" fmla="*/ 795289 h 2092038"/>
              <a:gd name="csX0" fmla="*/ 96263 w 733006"/>
              <a:gd name="csY0" fmla="*/ 2076207 h 2092038"/>
              <a:gd name="csX1" fmla="*/ 63862 w 733006"/>
              <a:gd name="csY1" fmla="*/ 2065388 h 2092038"/>
              <a:gd name="csX2" fmla="*/ 16555 w 733006"/>
              <a:gd name="csY2" fmla="*/ 2050152 h 2092038"/>
              <a:gd name="csX3" fmla="*/ 15 w 733006"/>
              <a:gd name="csY3" fmla="*/ 2023802 h 2092038"/>
              <a:gd name="csX4" fmla="*/ 18368 w 733006"/>
              <a:gd name="csY4" fmla="*/ 1940709 h 2092038"/>
              <a:gd name="csX5" fmla="*/ 22139 w 733006"/>
              <a:gd name="csY5" fmla="*/ 1907268 h 2092038"/>
              <a:gd name="csX6" fmla="*/ 57941 w 733006"/>
              <a:gd name="csY6" fmla="*/ 1774163 h 2092038"/>
              <a:gd name="csX7" fmla="*/ 102478 w 733006"/>
              <a:gd name="csY7" fmla="*/ 1720275 h 2092038"/>
              <a:gd name="csX8" fmla="*/ 108579 w 733006"/>
              <a:gd name="csY8" fmla="*/ 1650967 h 2092038"/>
              <a:gd name="csX9" fmla="*/ 115628 w 733006"/>
              <a:gd name="csY9" fmla="*/ 1625405 h 2092038"/>
              <a:gd name="csX10" fmla="*/ 156323 w 733006"/>
              <a:gd name="csY10" fmla="*/ 1560181 h 2092038"/>
              <a:gd name="csX11" fmla="*/ 199424 w 733006"/>
              <a:gd name="csY11" fmla="*/ 1364729 h 2092038"/>
              <a:gd name="csX12" fmla="*/ 216779 w 733006"/>
              <a:gd name="csY12" fmla="*/ 1219490 h 2092038"/>
              <a:gd name="csX13" fmla="*/ 229755 w 733006"/>
              <a:gd name="csY13" fmla="*/ 1099357 h 2092038"/>
              <a:gd name="csX14" fmla="*/ 232707 w 733006"/>
              <a:gd name="csY14" fmla="*/ 1056423 h 2092038"/>
              <a:gd name="csX15" fmla="*/ 235622 w 733006"/>
              <a:gd name="csY15" fmla="*/ 952675 h 2092038"/>
              <a:gd name="csX16" fmla="*/ 235445 w 733006"/>
              <a:gd name="csY16" fmla="*/ 780278 h 2092038"/>
              <a:gd name="csX17" fmla="*/ 214544 w 733006"/>
              <a:gd name="csY17" fmla="*/ 756435 h 2092038"/>
              <a:gd name="csX18" fmla="*/ 172569 w 733006"/>
              <a:gd name="csY18" fmla="*/ 742582 h 2092038"/>
              <a:gd name="csX19" fmla="*/ 168784 w 733006"/>
              <a:gd name="csY19" fmla="*/ 669116 h 2092038"/>
              <a:gd name="csX20" fmla="*/ 191657 w 733006"/>
              <a:gd name="csY20" fmla="*/ 630765 h 2092038"/>
              <a:gd name="csX21" fmla="*/ 208150 w 733006"/>
              <a:gd name="csY21" fmla="*/ 609084 h 2092038"/>
              <a:gd name="csX22" fmla="*/ 216756 w 733006"/>
              <a:gd name="csY22" fmla="*/ 558673 h 2092038"/>
              <a:gd name="csX23" fmla="*/ 209092 w 733006"/>
              <a:gd name="csY23" fmla="*/ 521540 h 2092038"/>
              <a:gd name="csX24" fmla="*/ 204683 w 733006"/>
              <a:gd name="csY24" fmla="*/ 474024 h 2092038"/>
              <a:gd name="csX25" fmla="*/ 115483 w 733006"/>
              <a:gd name="csY25" fmla="*/ 213499 h 2092038"/>
              <a:gd name="csX26" fmla="*/ 102909 w 733006"/>
              <a:gd name="csY26" fmla="*/ 182297 h 2092038"/>
              <a:gd name="csX27" fmla="*/ 104315 w 733006"/>
              <a:gd name="csY27" fmla="*/ 163968 h 2092038"/>
              <a:gd name="csX28" fmla="*/ 122444 w 733006"/>
              <a:gd name="csY28" fmla="*/ 160805 h 2092038"/>
              <a:gd name="csX29" fmla="*/ 170283 w 733006"/>
              <a:gd name="csY29" fmla="*/ 187783 h 2092038"/>
              <a:gd name="csX30" fmla="*/ 180938 w 733006"/>
              <a:gd name="csY30" fmla="*/ 195322 h 2092038"/>
              <a:gd name="csX31" fmla="*/ 221419 w 733006"/>
              <a:gd name="csY31" fmla="*/ 138058 h 2092038"/>
              <a:gd name="csX32" fmla="*/ 294099 w 733006"/>
              <a:gd name="csY32" fmla="*/ 91372 h 2092038"/>
              <a:gd name="csX33" fmla="*/ 302307 w 733006"/>
              <a:gd name="csY33" fmla="*/ 76560 h 2092038"/>
              <a:gd name="csX34" fmla="*/ 320284 w 733006"/>
              <a:gd name="csY34" fmla="*/ 8414 h 2092038"/>
              <a:gd name="csX35" fmla="*/ 324784 w 733006"/>
              <a:gd name="csY35" fmla="*/ 946 h 2092038"/>
              <a:gd name="csX36" fmla="*/ 399212 w 733006"/>
              <a:gd name="csY36" fmla="*/ 0 h 2092038"/>
              <a:gd name="csX37" fmla="*/ 425980 w 733006"/>
              <a:gd name="csY37" fmla="*/ 78301 h 2092038"/>
              <a:gd name="csX38" fmla="*/ 431861 w 733006"/>
              <a:gd name="csY38" fmla="*/ 90312 h 2092038"/>
              <a:gd name="csX39" fmla="*/ 540349 w 733006"/>
              <a:gd name="csY39" fmla="*/ 187946 h 2092038"/>
              <a:gd name="csX40" fmla="*/ 545555 w 733006"/>
              <a:gd name="csY40" fmla="*/ 197828 h 2092038"/>
              <a:gd name="csX41" fmla="*/ 587318 w 733006"/>
              <a:gd name="csY41" fmla="*/ 171260 h 2092038"/>
              <a:gd name="csX42" fmla="*/ 601503 w 733006"/>
              <a:gd name="csY42" fmla="*/ 163707 h 2092038"/>
              <a:gd name="csX43" fmla="*/ 625254 w 733006"/>
              <a:gd name="csY43" fmla="*/ 163123 h 2092038"/>
              <a:gd name="csX44" fmla="*/ 625468 w 733006"/>
              <a:gd name="csY44" fmla="*/ 187579 h 2092038"/>
              <a:gd name="csX45" fmla="*/ 597543 w 733006"/>
              <a:gd name="csY45" fmla="*/ 251872 h 2092038"/>
              <a:gd name="csX46" fmla="*/ 531831 w 733006"/>
              <a:gd name="csY46" fmla="*/ 442689 h 2092038"/>
              <a:gd name="csX47" fmla="*/ 519888 w 733006"/>
              <a:gd name="csY47" fmla="*/ 501474 h 2092038"/>
              <a:gd name="csX48" fmla="*/ 522506 w 733006"/>
              <a:gd name="csY48" fmla="*/ 525086 h 2092038"/>
              <a:gd name="csX49" fmla="*/ 516235 w 733006"/>
              <a:gd name="csY49" fmla="*/ 555946 h 2092038"/>
              <a:gd name="csX50" fmla="*/ 521332 w 733006"/>
              <a:gd name="csY50" fmla="*/ 610676 h 2092038"/>
              <a:gd name="csX51" fmla="*/ 541382 w 733006"/>
              <a:gd name="csY51" fmla="*/ 642597 h 2092038"/>
              <a:gd name="csX52" fmla="*/ 557031 w 733006"/>
              <a:gd name="csY52" fmla="*/ 667949 h 2092038"/>
              <a:gd name="csX53" fmla="*/ 553994 w 733006"/>
              <a:gd name="csY53" fmla="*/ 744146 h 2092038"/>
              <a:gd name="csX54" fmla="*/ 508215 w 733006"/>
              <a:gd name="csY54" fmla="*/ 758841 h 2092038"/>
              <a:gd name="csX55" fmla="*/ 497442 w 733006"/>
              <a:gd name="csY55" fmla="*/ 771256 h 2092038"/>
              <a:gd name="csX56" fmla="*/ 493005 w 733006"/>
              <a:gd name="csY56" fmla="*/ 922055 h 2092038"/>
              <a:gd name="csX57" fmla="*/ 502900 w 733006"/>
              <a:gd name="csY57" fmla="*/ 1114191 h 2092038"/>
              <a:gd name="csX58" fmla="*/ 508800 w 733006"/>
              <a:gd name="csY58" fmla="*/ 1205474 h 2092038"/>
              <a:gd name="csX59" fmla="*/ 522952 w 733006"/>
              <a:gd name="csY59" fmla="*/ 1320065 h 2092038"/>
              <a:gd name="csX60" fmla="*/ 554682 w 733006"/>
              <a:gd name="csY60" fmla="*/ 1501203 h 2092038"/>
              <a:gd name="csX61" fmla="*/ 576958 w 733006"/>
              <a:gd name="csY61" fmla="*/ 1593963 h 2092038"/>
              <a:gd name="csX62" fmla="*/ 595349 w 733006"/>
              <a:gd name="csY62" fmla="*/ 1613498 h 2092038"/>
              <a:gd name="csX63" fmla="*/ 613936 w 733006"/>
              <a:gd name="csY63" fmla="*/ 1624058 h 2092038"/>
              <a:gd name="csX64" fmla="*/ 620938 w 733006"/>
              <a:gd name="csY64" fmla="*/ 1652071 h 2092038"/>
              <a:gd name="csX65" fmla="*/ 630805 w 733006"/>
              <a:gd name="csY65" fmla="*/ 1721702 h 2092038"/>
              <a:gd name="csX66" fmla="*/ 685830 w 733006"/>
              <a:gd name="csY66" fmla="*/ 1792915 h 2092038"/>
              <a:gd name="csX67" fmla="*/ 708904 w 733006"/>
              <a:gd name="csY67" fmla="*/ 1890290 h 2092038"/>
              <a:gd name="csX68" fmla="*/ 716580 w 733006"/>
              <a:gd name="csY68" fmla="*/ 1951136 h 2092038"/>
              <a:gd name="csX69" fmla="*/ 729397 w 733006"/>
              <a:gd name="csY69" fmla="*/ 2030261 h 2092038"/>
              <a:gd name="csX70" fmla="*/ 714212 w 733006"/>
              <a:gd name="csY70" fmla="*/ 2059069 h 2092038"/>
              <a:gd name="csX71" fmla="*/ 96263 w 733006"/>
              <a:gd name="csY71" fmla="*/ 2076207 h 2092038"/>
              <a:gd name="csX72" fmla="*/ 489970 w 733006"/>
              <a:gd name="csY72" fmla="*/ 152208 h 2092038"/>
              <a:gd name="csX73" fmla="*/ 490754 w 733006"/>
              <a:gd name="csY73" fmla="*/ 152592 h 2092038"/>
              <a:gd name="csX74" fmla="*/ 489489 w 733006"/>
              <a:gd name="csY74" fmla="*/ 149547 h 2092038"/>
              <a:gd name="csX75" fmla="*/ 393621 w 733006"/>
              <a:gd name="csY75" fmla="*/ 99259 h 2092038"/>
              <a:gd name="csX76" fmla="*/ 390419 w 733006"/>
              <a:gd name="csY76" fmla="*/ 18568 h 2092038"/>
              <a:gd name="csX77" fmla="*/ 334131 w 733006"/>
              <a:gd name="csY77" fmla="*/ 24327 h 2092038"/>
              <a:gd name="csX78" fmla="*/ 344678 w 733006"/>
              <a:gd name="csY78" fmla="*/ 101259 h 2092038"/>
              <a:gd name="csX79" fmla="*/ 298854 w 733006"/>
              <a:gd name="csY79" fmla="*/ 114003 h 2092038"/>
              <a:gd name="csX80" fmla="*/ 237456 w 733006"/>
              <a:gd name="csY80" fmla="*/ 154340 h 2092038"/>
              <a:gd name="csX81" fmla="*/ 240382 w 733006"/>
              <a:gd name="csY81" fmla="*/ 154035 h 2092038"/>
              <a:gd name="csX82" fmla="*/ 262731 w 733006"/>
              <a:gd name="csY82" fmla="*/ 170426 h 2092038"/>
              <a:gd name="csX83" fmla="*/ 279169 w 733006"/>
              <a:gd name="csY83" fmla="*/ 193173 h 2092038"/>
              <a:gd name="csX84" fmla="*/ 327717 w 733006"/>
              <a:gd name="csY84" fmla="*/ 188556 h 2092038"/>
              <a:gd name="csX85" fmla="*/ 348052 w 733006"/>
              <a:gd name="csY85" fmla="*/ 156919 h 2092038"/>
              <a:gd name="csX86" fmla="*/ 380330 w 733006"/>
              <a:gd name="csY86" fmla="*/ 156483 h 2092038"/>
              <a:gd name="csX87" fmla="*/ 408490 w 733006"/>
              <a:gd name="csY87" fmla="*/ 195400 h 2092038"/>
              <a:gd name="csX88" fmla="*/ 445346 w 733006"/>
              <a:gd name="csY88" fmla="*/ 197582 h 2092038"/>
              <a:gd name="csX89" fmla="*/ 464798 w 733006"/>
              <a:gd name="csY89" fmla="*/ 174107 h 2092038"/>
              <a:gd name="csX90" fmla="*/ 489970 w 733006"/>
              <a:gd name="csY90" fmla="*/ 152208 h 2092038"/>
              <a:gd name="csX91" fmla="*/ 140694 w 733006"/>
              <a:gd name="csY91" fmla="*/ 201837 h 2092038"/>
              <a:gd name="csX92" fmla="*/ 139834 w 733006"/>
              <a:gd name="csY92" fmla="*/ 201482 h 2092038"/>
              <a:gd name="csX93" fmla="*/ 140812 w 733006"/>
              <a:gd name="csY93" fmla="*/ 204941 h 2092038"/>
              <a:gd name="csX94" fmla="*/ 144631 w 733006"/>
              <a:gd name="csY94" fmla="*/ 217811 h 2092038"/>
              <a:gd name="csX95" fmla="*/ 201241 w 733006"/>
              <a:gd name="csY95" fmla="*/ 373387 h 2092038"/>
              <a:gd name="csX96" fmla="*/ 235971 w 733006"/>
              <a:gd name="csY96" fmla="*/ 504451 h 2092038"/>
              <a:gd name="csX97" fmla="*/ 247475 w 733006"/>
              <a:gd name="csY97" fmla="*/ 513241 h 2092038"/>
              <a:gd name="csX98" fmla="*/ 289066 w 733006"/>
              <a:gd name="csY98" fmla="*/ 511170 h 2092038"/>
              <a:gd name="csX99" fmla="*/ 378229 w 733006"/>
              <a:gd name="csY99" fmla="*/ 511084 h 2092038"/>
              <a:gd name="csX100" fmla="*/ 470850 w 733006"/>
              <a:gd name="csY100" fmla="*/ 516341 h 2092038"/>
              <a:gd name="csX101" fmla="*/ 492933 w 733006"/>
              <a:gd name="csY101" fmla="*/ 497969 h 2092038"/>
              <a:gd name="csX102" fmla="*/ 557617 w 733006"/>
              <a:gd name="csY102" fmla="*/ 280398 h 2092038"/>
              <a:gd name="csX103" fmla="*/ 588788 w 733006"/>
              <a:gd name="csY103" fmla="*/ 200385 h 2092038"/>
              <a:gd name="csX104" fmla="*/ 530958 w 733006"/>
              <a:gd name="csY104" fmla="*/ 232968 h 2092038"/>
              <a:gd name="csX105" fmla="*/ 483823 w 733006"/>
              <a:gd name="csY105" fmla="*/ 190364 h 2092038"/>
              <a:gd name="csX106" fmla="*/ 466649 w 733006"/>
              <a:gd name="csY106" fmla="*/ 209061 h 2092038"/>
              <a:gd name="csX107" fmla="*/ 399941 w 733006"/>
              <a:gd name="csY107" fmla="*/ 216988 h 2092038"/>
              <a:gd name="csX108" fmla="*/ 363018 w 733006"/>
              <a:gd name="csY108" fmla="*/ 179615 h 2092038"/>
              <a:gd name="csX109" fmla="*/ 308839 w 733006"/>
              <a:gd name="csY109" fmla="*/ 227846 h 2092038"/>
              <a:gd name="csX110" fmla="*/ 245077 w 733006"/>
              <a:gd name="csY110" fmla="*/ 192402 h 2092038"/>
              <a:gd name="csX111" fmla="*/ 242829 w 733006"/>
              <a:gd name="csY111" fmla="*/ 198815 h 2092038"/>
              <a:gd name="csX112" fmla="*/ 168452 w 733006"/>
              <a:gd name="csY112" fmla="*/ 219348 h 2092038"/>
              <a:gd name="csX113" fmla="*/ 140694 w 733006"/>
              <a:gd name="csY113" fmla="*/ 201837 h 2092038"/>
              <a:gd name="csX114" fmla="*/ 259999 w 733006"/>
              <a:gd name="csY114" fmla="*/ 966699 h 2092038"/>
              <a:gd name="csX115" fmla="*/ 257072 w 733006"/>
              <a:gd name="csY115" fmla="*/ 1070424 h 2092038"/>
              <a:gd name="csX116" fmla="*/ 251372 w 733006"/>
              <a:gd name="csY116" fmla="*/ 1157618 h 2092038"/>
              <a:gd name="csX117" fmla="*/ 232677 w 733006"/>
              <a:gd name="csY117" fmla="*/ 1320279 h 2092038"/>
              <a:gd name="csX118" fmla="*/ 209182 w 733006"/>
              <a:gd name="csY118" fmla="*/ 1468667 h 2092038"/>
              <a:gd name="csX119" fmla="*/ 175302 w 733006"/>
              <a:gd name="csY119" fmla="*/ 1616623 h 2092038"/>
              <a:gd name="csX120" fmla="*/ 182769 w 733006"/>
              <a:gd name="csY120" fmla="*/ 1629786 h 2092038"/>
              <a:gd name="csX121" fmla="*/ 212156 w 733006"/>
              <a:gd name="csY121" fmla="*/ 1632656 h 2092038"/>
              <a:gd name="csX122" fmla="*/ 351295 w 733006"/>
              <a:gd name="csY122" fmla="*/ 1632801 h 2092038"/>
              <a:gd name="csX123" fmla="*/ 376150 w 733006"/>
              <a:gd name="csY123" fmla="*/ 1608307 h 2092038"/>
              <a:gd name="csX124" fmla="*/ 373450 w 733006"/>
              <a:gd name="csY124" fmla="*/ 1457291 h 2092038"/>
              <a:gd name="csX125" fmla="*/ 370936 w 733006"/>
              <a:gd name="csY125" fmla="*/ 1342736 h 2092038"/>
              <a:gd name="csX126" fmla="*/ 368328 w 733006"/>
              <a:gd name="csY126" fmla="*/ 1203878 h 2092038"/>
              <a:gd name="csX127" fmla="*/ 367836 w 733006"/>
              <a:gd name="csY127" fmla="*/ 813478 h 2092038"/>
              <a:gd name="csX128" fmla="*/ 365240 w 733006"/>
              <a:gd name="csY128" fmla="*/ 773243 h 2092038"/>
              <a:gd name="csX129" fmla="*/ 353084 w 733006"/>
              <a:gd name="csY129" fmla="*/ 762083 h 2092038"/>
              <a:gd name="csX130" fmla="*/ 280966 w 733006"/>
              <a:gd name="csY130" fmla="*/ 759855 h 2092038"/>
              <a:gd name="csX131" fmla="*/ 259965 w 733006"/>
              <a:gd name="csY131" fmla="*/ 779553 h 2092038"/>
              <a:gd name="csX132" fmla="*/ 262341 w 733006"/>
              <a:gd name="csY132" fmla="*/ 856275 h 2092038"/>
              <a:gd name="csX133" fmla="*/ 259999 w 733006"/>
              <a:gd name="csY133" fmla="*/ 966699 h 2092038"/>
              <a:gd name="csX134" fmla="*/ 55556 w 733006"/>
              <a:gd name="csY134" fmla="*/ 1835827 h 2092038"/>
              <a:gd name="csX135" fmla="*/ 49393 w 733006"/>
              <a:gd name="csY135" fmla="*/ 1878155 h 2092038"/>
              <a:gd name="csX136" fmla="*/ 73949 w 733006"/>
              <a:gd name="csY136" fmla="*/ 1905781 h 2092038"/>
              <a:gd name="csX137" fmla="*/ 110073 w 733006"/>
              <a:gd name="csY137" fmla="*/ 1909068 h 2092038"/>
              <a:gd name="csX138" fmla="*/ 224745 w 733006"/>
              <a:gd name="csY138" fmla="*/ 1921652 h 2092038"/>
              <a:gd name="csX139" fmla="*/ 347327 w 733006"/>
              <a:gd name="csY139" fmla="*/ 1924778 h 2092038"/>
              <a:gd name="csX140" fmla="*/ 363345 w 733006"/>
              <a:gd name="csY140" fmla="*/ 1923293 h 2092038"/>
              <a:gd name="csX141" fmla="*/ 373787 w 733006"/>
              <a:gd name="csY141" fmla="*/ 1911200 h 2092038"/>
              <a:gd name="csX142" fmla="*/ 376623 w 733006"/>
              <a:gd name="csY142" fmla="*/ 1696741 h 2092038"/>
              <a:gd name="csX143" fmla="*/ 360437 w 733006"/>
              <a:gd name="csY143" fmla="*/ 1681289 h 2092038"/>
              <a:gd name="csX144" fmla="*/ 263503 w 733006"/>
              <a:gd name="csY144" fmla="*/ 1678179 h 2092038"/>
              <a:gd name="csX145" fmla="*/ 160381 w 733006"/>
              <a:gd name="csY145" fmla="*/ 1670405 h 2092038"/>
              <a:gd name="csX146" fmla="*/ 143321 w 733006"/>
              <a:gd name="csY146" fmla="*/ 1685538 h 2092038"/>
              <a:gd name="csX147" fmla="*/ 124769 w 733006"/>
              <a:gd name="csY147" fmla="*/ 1738195 h 2092038"/>
              <a:gd name="csX148" fmla="*/ 90593 w 733006"/>
              <a:gd name="csY148" fmla="*/ 1779570 h 2092038"/>
              <a:gd name="csX149" fmla="*/ 55556 w 733006"/>
              <a:gd name="csY149" fmla="*/ 1835827 h 2092038"/>
              <a:gd name="csX150" fmla="*/ 378900 w 733006"/>
              <a:gd name="csY150" fmla="*/ 2007280 h 2092038"/>
              <a:gd name="csX151" fmla="*/ 378887 w 733006"/>
              <a:gd name="csY151" fmla="*/ 1995127 h 2092038"/>
              <a:gd name="csX152" fmla="*/ 359084 w 733006"/>
              <a:gd name="csY152" fmla="*/ 1975964 h 2092038"/>
              <a:gd name="csX153" fmla="*/ 247288 w 733006"/>
              <a:gd name="csY153" fmla="*/ 1973305 h 2092038"/>
              <a:gd name="csX154" fmla="*/ 201692 w 733006"/>
              <a:gd name="csY154" fmla="*/ 1970275 h 2092038"/>
              <a:gd name="csX155" fmla="*/ 57962 w 733006"/>
              <a:gd name="csY155" fmla="*/ 1952648 h 2092038"/>
              <a:gd name="csX156" fmla="*/ 39194 w 733006"/>
              <a:gd name="csY156" fmla="*/ 1963552 h 2092038"/>
              <a:gd name="csX157" fmla="*/ 30066 w 733006"/>
              <a:gd name="csY157" fmla="*/ 2006631 h 2092038"/>
              <a:gd name="csX158" fmla="*/ 40232 w 733006"/>
              <a:gd name="csY158" fmla="*/ 2019486 h 2092038"/>
              <a:gd name="csX159" fmla="*/ 238186 w 733006"/>
              <a:gd name="csY159" fmla="*/ 2046096 h 2092038"/>
              <a:gd name="csX160" fmla="*/ 342155 w 733006"/>
              <a:gd name="csY160" fmla="*/ 2046441 h 2092038"/>
              <a:gd name="csX161" fmla="*/ 378900 w 733006"/>
              <a:gd name="csY161" fmla="*/ 2007280 h 2092038"/>
              <a:gd name="csX162" fmla="*/ 310220 w 733006"/>
              <a:gd name="csY162" fmla="*/ 554288 h 2092038"/>
              <a:gd name="csX163" fmla="*/ 259136 w 733006"/>
              <a:gd name="csY163" fmla="*/ 556881 h 2092038"/>
              <a:gd name="csX164" fmla="*/ 249085 w 733006"/>
              <a:gd name="csY164" fmla="*/ 567981 h 2092038"/>
              <a:gd name="csX165" fmla="*/ 249141 w 733006"/>
              <a:gd name="csY165" fmla="*/ 605644 h 2092038"/>
              <a:gd name="csX166" fmla="*/ 262628 w 733006"/>
              <a:gd name="csY166" fmla="*/ 605627 h 2092038"/>
              <a:gd name="csX167" fmla="*/ 369608 w 733006"/>
              <a:gd name="csY167" fmla="*/ 603027 h 2092038"/>
              <a:gd name="csX168" fmla="*/ 463931 w 733006"/>
              <a:gd name="csY168" fmla="*/ 605146 h 2092038"/>
              <a:gd name="csX169" fmla="*/ 478113 w 733006"/>
              <a:gd name="csY169" fmla="*/ 595843 h 2092038"/>
              <a:gd name="csX170" fmla="*/ 478796 w 733006"/>
              <a:gd name="csY170" fmla="*/ 556832 h 2092038"/>
              <a:gd name="csX171" fmla="*/ 310220 w 733006"/>
              <a:gd name="csY171" fmla="*/ 554288 h 2092038"/>
              <a:gd name="csX172" fmla="*/ 348836 w 733006"/>
              <a:gd name="csY172" fmla="*/ 684115 h 2092038"/>
              <a:gd name="csX173" fmla="*/ 281333 w 733006"/>
              <a:gd name="csY173" fmla="*/ 683313 h 2092038"/>
              <a:gd name="csX174" fmla="*/ 212728 w 733006"/>
              <a:gd name="csY174" fmla="*/ 681931 h 2092038"/>
              <a:gd name="csX175" fmla="*/ 187283 w 733006"/>
              <a:gd name="csY175" fmla="*/ 689555 h 2092038"/>
              <a:gd name="csX176" fmla="*/ 186163 w 733006"/>
              <a:gd name="csY176" fmla="*/ 718266 h 2092038"/>
              <a:gd name="csX177" fmla="*/ 209894 w 733006"/>
              <a:gd name="csY177" fmla="*/ 726798 h 2092038"/>
              <a:gd name="csX178" fmla="*/ 334814 w 733006"/>
              <a:gd name="csY178" fmla="*/ 732494 h 2092038"/>
              <a:gd name="csX179" fmla="*/ 364856 w 733006"/>
              <a:gd name="csY179" fmla="*/ 707963 h 2092038"/>
              <a:gd name="csX180" fmla="*/ 348836 w 733006"/>
              <a:gd name="csY180" fmla="*/ 684115 h 2092038"/>
              <a:gd name="csX181" fmla="*/ 298865 w 733006"/>
              <a:gd name="csY181" fmla="*/ 621954 h 2092038"/>
              <a:gd name="csX182" fmla="*/ 251619 w 733006"/>
              <a:gd name="csY182" fmla="*/ 622133 h 2092038"/>
              <a:gd name="csX183" fmla="*/ 214459 w 733006"/>
              <a:gd name="csY183" fmla="*/ 636230 h 2092038"/>
              <a:gd name="csX184" fmla="*/ 221436 w 733006"/>
              <a:gd name="csY184" fmla="*/ 654205 h 2092038"/>
              <a:gd name="csX185" fmla="*/ 272412 w 733006"/>
              <a:gd name="csY185" fmla="*/ 657250 h 2092038"/>
              <a:gd name="csX186" fmla="*/ 349094 w 733006"/>
              <a:gd name="csY186" fmla="*/ 659282 h 2092038"/>
              <a:gd name="csX187" fmla="*/ 362996 w 733006"/>
              <a:gd name="csY187" fmla="*/ 644234 h 2092038"/>
              <a:gd name="csX188" fmla="*/ 348472 w 733006"/>
              <a:gd name="csY188" fmla="*/ 624649 h 2092038"/>
              <a:gd name="csX189" fmla="*/ 298865 w 733006"/>
              <a:gd name="csY189" fmla="*/ 621954 h 2092038"/>
              <a:gd name="csX190" fmla="*/ 227796 w 733006"/>
              <a:gd name="csY190" fmla="*/ 528000 h 2092038"/>
              <a:gd name="csX191" fmla="*/ 241009 w 733006"/>
              <a:gd name="csY191" fmla="*/ 545897 h 2092038"/>
              <a:gd name="csX192" fmla="*/ 282607 w 733006"/>
              <a:gd name="csY192" fmla="*/ 543480 h 2092038"/>
              <a:gd name="csX193" fmla="*/ 354213 w 733006"/>
              <a:gd name="csY193" fmla="*/ 543384 h 2092038"/>
              <a:gd name="csX194" fmla="*/ 365334 w 733006"/>
              <a:gd name="csY194" fmla="*/ 533397 h 2092038"/>
              <a:gd name="csX195" fmla="*/ 354531 w 733006"/>
              <a:gd name="csY195" fmla="*/ 521620 h 2092038"/>
              <a:gd name="csX196" fmla="*/ 259169 w 733006"/>
              <a:gd name="csY196" fmla="*/ 521978 h 2092038"/>
              <a:gd name="csX197" fmla="*/ 227796 w 733006"/>
              <a:gd name="csY197" fmla="*/ 528000 h 2092038"/>
              <a:gd name="csX198" fmla="*/ 508068 w 733006"/>
              <a:gd name="csY198" fmla="*/ 190710 h 2092038"/>
              <a:gd name="csX199" fmla="*/ 521293 w 733006"/>
              <a:gd name="csY199" fmla="*/ 205907 h 2092038"/>
              <a:gd name="csX200" fmla="*/ 525175 w 733006"/>
              <a:gd name="csY200" fmla="*/ 202985 h 2092038"/>
              <a:gd name="csX201" fmla="*/ 500276 w 733006"/>
              <a:gd name="csY201" fmla="*/ 160640 h 2092038"/>
              <a:gd name="csX202" fmla="*/ 497122 w 733006"/>
              <a:gd name="csY202" fmla="*/ 162007 h 2092038"/>
              <a:gd name="csX203" fmla="*/ 508068 w 733006"/>
              <a:gd name="csY203" fmla="*/ 190710 h 2092038"/>
              <a:gd name="csX204" fmla="*/ 215522 w 733006"/>
              <a:gd name="csY204" fmla="*/ 197296 h 2092038"/>
              <a:gd name="csX205" fmla="*/ 234029 w 733006"/>
              <a:gd name="csY205" fmla="*/ 162725 h 2092038"/>
              <a:gd name="csX206" fmla="*/ 229000 w 733006"/>
              <a:gd name="csY206" fmla="*/ 159902 h 2092038"/>
              <a:gd name="csX207" fmla="*/ 204824 w 733006"/>
              <a:gd name="csY207" fmla="*/ 199677 h 2092038"/>
              <a:gd name="csX208" fmla="*/ 207990 w 733006"/>
              <a:gd name="csY208" fmla="*/ 202198 h 2092038"/>
              <a:gd name="csX209" fmla="*/ 215522 w 733006"/>
              <a:gd name="csY209" fmla="*/ 197296 h 2092038"/>
              <a:gd name="csX210" fmla="*/ 484400 w 733006"/>
              <a:gd name="csY210" fmla="*/ 896678 h 2092038"/>
              <a:gd name="csX211" fmla="*/ 486181 w 733006"/>
              <a:gd name="csY211" fmla="*/ 896585 h 209203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  <a:cxn ang="0">
                <a:pos x="csX170" y="csY170"/>
              </a:cxn>
              <a:cxn ang="0">
                <a:pos x="csX171" y="csY171"/>
              </a:cxn>
              <a:cxn ang="0">
                <a:pos x="csX172" y="csY172"/>
              </a:cxn>
              <a:cxn ang="0">
                <a:pos x="csX173" y="csY173"/>
              </a:cxn>
              <a:cxn ang="0">
                <a:pos x="csX174" y="csY174"/>
              </a:cxn>
              <a:cxn ang="0">
                <a:pos x="csX175" y="csY175"/>
              </a:cxn>
              <a:cxn ang="0">
                <a:pos x="csX176" y="csY176"/>
              </a:cxn>
              <a:cxn ang="0">
                <a:pos x="csX177" y="csY177"/>
              </a:cxn>
              <a:cxn ang="0">
                <a:pos x="csX178" y="csY178"/>
              </a:cxn>
              <a:cxn ang="0">
                <a:pos x="csX179" y="csY179"/>
              </a:cxn>
              <a:cxn ang="0">
                <a:pos x="csX180" y="csY180"/>
              </a:cxn>
              <a:cxn ang="0">
                <a:pos x="csX181" y="csY181"/>
              </a:cxn>
              <a:cxn ang="0">
                <a:pos x="csX182" y="csY182"/>
              </a:cxn>
              <a:cxn ang="0">
                <a:pos x="csX183" y="csY183"/>
              </a:cxn>
              <a:cxn ang="0">
                <a:pos x="csX184" y="csY184"/>
              </a:cxn>
              <a:cxn ang="0">
                <a:pos x="csX185" y="csY185"/>
              </a:cxn>
              <a:cxn ang="0">
                <a:pos x="csX186" y="csY186"/>
              </a:cxn>
              <a:cxn ang="0">
                <a:pos x="csX187" y="csY187"/>
              </a:cxn>
              <a:cxn ang="0">
                <a:pos x="csX188" y="csY188"/>
              </a:cxn>
              <a:cxn ang="0">
                <a:pos x="csX189" y="csY189"/>
              </a:cxn>
              <a:cxn ang="0">
                <a:pos x="csX190" y="csY190"/>
              </a:cxn>
              <a:cxn ang="0">
                <a:pos x="csX191" y="csY191"/>
              </a:cxn>
              <a:cxn ang="0">
                <a:pos x="csX192" y="csY192"/>
              </a:cxn>
              <a:cxn ang="0">
                <a:pos x="csX193" y="csY193"/>
              </a:cxn>
              <a:cxn ang="0">
                <a:pos x="csX194" y="csY194"/>
              </a:cxn>
              <a:cxn ang="0">
                <a:pos x="csX195" y="csY195"/>
              </a:cxn>
              <a:cxn ang="0">
                <a:pos x="csX196" y="csY196"/>
              </a:cxn>
              <a:cxn ang="0">
                <a:pos x="csX197" y="csY197"/>
              </a:cxn>
              <a:cxn ang="0">
                <a:pos x="csX198" y="csY198"/>
              </a:cxn>
              <a:cxn ang="0">
                <a:pos x="csX199" y="csY199"/>
              </a:cxn>
              <a:cxn ang="0">
                <a:pos x="csX200" y="csY200"/>
              </a:cxn>
              <a:cxn ang="0">
                <a:pos x="csX201" y="csY201"/>
              </a:cxn>
              <a:cxn ang="0">
                <a:pos x="csX202" y="csY202"/>
              </a:cxn>
              <a:cxn ang="0">
                <a:pos x="csX203" y="csY203"/>
              </a:cxn>
              <a:cxn ang="0">
                <a:pos x="csX204" y="csY204"/>
              </a:cxn>
              <a:cxn ang="0">
                <a:pos x="csX205" y="csY205"/>
              </a:cxn>
              <a:cxn ang="0">
                <a:pos x="csX206" y="csY206"/>
              </a:cxn>
              <a:cxn ang="0">
                <a:pos x="csX207" y="csY207"/>
              </a:cxn>
              <a:cxn ang="0">
                <a:pos x="csX208" y="csY208"/>
              </a:cxn>
              <a:cxn ang="0">
                <a:pos x="csX209" y="csY209"/>
              </a:cxn>
              <a:cxn ang="0">
                <a:pos x="csX210" y="csY210"/>
              </a:cxn>
              <a:cxn ang="0">
                <a:pos x="csX211" y="csY211"/>
              </a:cxn>
            </a:cxnLst>
            <a:rect l="l" t="t" r="r" b="b"/>
            <a:pathLst>
              <a:path w="733006" h="2092038">
                <a:moveTo>
                  <a:pt x="96263" y="2076207"/>
                </a:moveTo>
                <a:cubicBezTo>
                  <a:pt x="84622" y="2072588"/>
                  <a:pt x="74304" y="2068797"/>
                  <a:pt x="63862" y="2065388"/>
                </a:cubicBezTo>
                <a:cubicBezTo>
                  <a:pt x="48109" y="2060246"/>
                  <a:pt x="32006" y="2056058"/>
                  <a:pt x="16555" y="2050152"/>
                </a:cubicBezTo>
                <a:cubicBezTo>
                  <a:pt x="5209" y="2045814"/>
                  <a:pt x="-330" y="2037145"/>
                  <a:pt x="15" y="2023802"/>
                </a:cubicBezTo>
                <a:cubicBezTo>
                  <a:pt x="765" y="1994802"/>
                  <a:pt x="4044" y="1967023"/>
                  <a:pt x="18368" y="1940709"/>
                </a:cubicBezTo>
                <a:cubicBezTo>
                  <a:pt x="23362" y="1931533"/>
                  <a:pt x="23064" y="1918361"/>
                  <a:pt x="22139" y="1907268"/>
                </a:cubicBezTo>
                <a:cubicBezTo>
                  <a:pt x="18065" y="1858417"/>
                  <a:pt x="26015" y="1813128"/>
                  <a:pt x="57941" y="1774163"/>
                </a:cubicBezTo>
                <a:cubicBezTo>
                  <a:pt x="72712" y="1756135"/>
                  <a:pt x="88476" y="1738872"/>
                  <a:pt x="102478" y="1720275"/>
                </a:cubicBezTo>
                <a:cubicBezTo>
                  <a:pt x="118580" y="1698889"/>
                  <a:pt x="125626" y="1676081"/>
                  <a:pt x="108579" y="1650967"/>
                </a:cubicBezTo>
                <a:cubicBezTo>
                  <a:pt x="101716" y="1640856"/>
                  <a:pt x="106464" y="1629113"/>
                  <a:pt x="115628" y="1625405"/>
                </a:cubicBezTo>
                <a:cubicBezTo>
                  <a:pt x="145731" y="1613224"/>
                  <a:pt x="150205" y="1585698"/>
                  <a:pt x="156323" y="1560181"/>
                </a:cubicBezTo>
                <a:cubicBezTo>
                  <a:pt x="171878" y="1495304"/>
                  <a:pt x="187443" y="1430322"/>
                  <a:pt x="199424" y="1364729"/>
                </a:cubicBezTo>
                <a:cubicBezTo>
                  <a:pt x="208169" y="1316855"/>
                  <a:pt x="211328" y="1267955"/>
                  <a:pt x="216779" y="1219490"/>
                </a:cubicBezTo>
                <a:cubicBezTo>
                  <a:pt x="221281" y="1179465"/>
                  <a:pt x="225637" y="1139423"/>
                  <a:pt x="229755" y="1099357"/>
                </a:cubicBezTo>
                <a:cubicBezTo>
                  <a:pt x="231222" y="1085094"/>
                  <a:pt x="232195" y="1070753"/>
                  <a:pt x="232707" y="1056423"/>
                </a:cubicBezTo>
                <a:cubicBezTo>
                  <a:pt x="233940" y="1021849"/>
                  <a:pt x="235378" y="987264"/>
                  <a:pt x="235622" y="952675"/>
                </a:cubicBezTo>
                <a:cubicBezTo>
                  <a:pt x="236027" y="895212"/>
                  <a:pt x="235593" y="837744"/>
                  <a:pt x="235445" y="780278"/>
                </a:cubicBezTo>
                <a:cubicBezTo>
                  <a:pt x="235394" y="760454"/>
                  <a:pt x="234309" y="760517"/>
                  <a:pt x="214544" y="756435"/>
                </a:cubicBezTo>
                <a:cubicBezTo>
                  <a:pt x="200172" y="753466"/>
                  <a:pt x="185446" y="749377"/>
                  <a:pt x="172569" y="742582"/>
                </a:cubicBezTo>
                <a:cubicBezTo>
                  <a:pt x="144482" y="727762"/>
                  <a:pt x="142615" y="693725"/>
                  <a:pt x="168784" y="669116"/>
                </a:cubicBezTo>
                <a:cubicBezTo>
                  <a:pt x="180480" y="658118"/>
                  <a:pt x="190377" y="648461"/>
                  <a:pt x="191657" y="630765"/>
                </a:cubicBezTo>
                <a:cubicBezTo>
                  <a:pt x="192214" y="623073"/>
                  <a:pt x="200977" y="614427"/>
                  <a:pt x="208150" y="609084"/>
                </a:cubicBezTo>
                <a:cubicBezTo>
                  <a:pt x="222906" y="598094"/>
                  <a:pt x="228637" y="573234"/>
                  <a:pt x="216756" y="558673"/>
                </a:cubicBezTo>
                <a:cubicBezTo>
                  <a:pt x="207342" y="547135"/>
                  <a:pt x="206480" y="536349"/>
                  <a:pt x="209092" y="521540"/>
                </a:cubicBezTo>
                <a:cubicBezTo>
                  <a:pt x="211760" y="506404"/>
                  <a:pt x="207878" y="489633"/>
                  <a:pt x="204683" y="474024"/>
                </a:cubicBezTo>
                <a:cubicBezTo>
                  <a:pt x="186129" y="383394"/>
                  <a:pt x="153540" y="297499"/>
                  <a:pt x="115483" y="213499"/>
                </a:cubicBezTo>
                <a:cubicBezTo>
                  <a:pt x="110852" y="203278"/>
                  <a:pt x="105956" y="193025"/>
                  <a:pt x="102909" y="182297"/>
                </a:cubicBezTo>
                <a:cubicBezTo>
                  <a:pt x="101269" y="176526"/>
                  <a:pt x="100978" y="167554"/>
                  <a:pt x="104315" y="163968"/>
                </a:cubicBezTo>
                <a:cubicBezTo>
                  <a:pt x="107766" y="160259"/>
                  <a:pt x="117669" y="158539"/>
                  <a:pt x="122444" y="160805"/>
                </a:cubicBezTo>
                <a:cubicBezTo>
                  <a:pt x="138944" y="168636"/>
                  <a:pt x="154489" y="178499"/>
                  <a:pt x="170283" y="187783"/>
                </a:cubicBezTo>
                <a:cubicBezTo>
                  <a:pt x="174481" y="190250"/>
                  <a:pt x="178270" y="193414"/>
                  <a:pt x="180938" y="195322"/>
                </a:cubicBezTo>
                <a:cubicBezTo>
                  <a:pt x="194562" y="175763"/>
                  <a:pt x="206327" y="155469"/>
                  <a:pt x="221419" y="138058"/>
                </a:cubicBezTo>
                <a:cubicBezTo>
                  <a:pt x="240743" y="115763"/>
                  <a:pt x="265109" y="99467"/>
                  <a:pt x="294099" y="91372"/>
                </a:cubicBezTo>
                <a:cubicBezTo>
                  <a:pt x="302124" y="89131"/>
                  <a:pt x="305271" y="84852"/>
                  <a:pt x="302307" y="76560"/>
                </a:cubicBezTo>
                <a:cubicBezTo>
                  <a:pt x="292733" y="49783"/>
                  <a:pt x="299732" y="27331"/>
                  <a:pt x="320284" y="8414"/>
                </a:cubicBezTo>
                <a:cubicBezTo>
                  <a:pt x="322179" y="6669"/>
                  <a:pt x="323302" y="4085"/>
                  <a:pt x="324784" y="946"/>
                </a:cubicBezTo>
                <a:cubicBezTo>
                  <a:pt x="349171" y="0"/>
                  <a:pt x="373558" y="0"/>
                  <a:pt x="399212" y="0"/>
                </a:cubicBezTo>
                <a:cubicBezTo>
                  <a:pt x="426476" y="20404"/>
                  <a:pt x="437031" y="45903"/>
                  <a:pt x="425980" y="78301"/>
                </a:cubicBezTo>
                <a:cubicBezTo>
                  <a:pt x="423801" y="84690"/>
                  <a:pt x="424928" y="88239"/>
                  <a:pt x="431861" y="90312"/>
                </a:cubicBezTo>
                <a:cubicBezTo>
                  <a:pt x="483382" y="105720"/>
                  <a:pt x="518342" y="139660"/>
                  <a:pt x="540349" y="187946"/>
                </a:cubicBezTo>
                <a:cubicBezTo>
                  <a:pt x="541642" y="190784"/>
                  <a:pt x="543251" y="193478"/>
                  <a:pt x="545555" y="197828"/>
                </a:cubicBezTo>
                <a:lnTo>
                  <a:pt x="587318" y="171260"/>
                </a:lnTo>
                <a:cubicBezTo>
                  <a:pt x="591878" y="168403"/>
                  <a:pt x="596472" y="164665"/>
                  <a:pt x="601503" y="163707"/>
                </a:cubicBezTo>
                <a:cubicBezTo>
                  <a:pt x="609371" y="162208"/>
                  <a:pt x="619646" y="159555"/>
                  <a:pt x="625254" y="163123"/>
                </a:cubicBezTo>
                <a:cubicBezTo>
                  <a:pt x="634332" y="168899"/>
                  <a:pt x="629055" y="179274"/>
                  <a:pt x="625468" y="187579"/>
                </a:cubicBezTo>
                <a:cubicBezTo>
                  <a:pt x="616205" y="209030"/>
                  <a:pt x="606562" y="230320"/>
                  <a:pt x="597543" y="251872"/>
                </a:cubicBezTo>
                <a:cubicBezTo>
                  <a:pt x="571520" y="314052"/>
                  <a:pt x="547757" y="377046"/>
                  <a:pt x="531831" y="442689"/>
                </a:cubicBezTo>
                <a:cubicBezTo>
                  <a:pt x="527117" y="462116"/>
                  <a:pt x="522945" y="481733"/>
                  <a:pt x="519888" y="501474"/>
                </a:cubicBezTo>
                <a:cubicBezTo>
                  <a:pt x="518711" y="509073"/>
                  <a:pt x="520088" y="517665"/>
                  <a:pt x="522506" y="525086"/>
                </a:cubicBezTo>
                <a:cubicBezTo>
                  <a:pt x="526398" y="537038"/>
                  <a:pt x="525185" y="546687"/>
                  <a:pt x="516235" y="555946"/>
                </a:cubicBezTo>
                <a:cubicBezTo>
                  <a:pt x="498902" y="573877"/>
                  <a:pt x="501328" y="596490"/>
                  <a:pt x="521332" y="610676"/>
                </a:cubicBezTo>
                <a:cubicBezTo>
                  <a:pt x="532355" y="618492"/>
                  <a:pt x="539977" y="628449"/>
                  <a:pt x="541382" y="642597"/>
                </a:cubicBezTo>
                <a:cubicBezTo>
                  <a:pt x="542451" y="653366"/>
                  <a:pt x="548191" y="661148"/>
                  <a:pt x="557031" y="667949"/>
                </a:cubicBezTo>
                <a:cubicBezTo>
                  <a:pt x="583453" y="688277"/>
                  <a:pt x="588691" y="725427"/>
                  <a:pt x="553994" y="744146"/>
                </a:cubicBezTo>
                <a:cubicBezTo>
                  <a:pt x="540107" y="751637"/>
                  <a:pt x="523756" y="754889"/>
                  <a:pt x="508215" y="758841"/>
                </a:cubicBezTo>
                <a:cubicBezTo>
                  <a:pt x="500805" y="760726"/>
                  <a:pt x="497665" y="763405"/>
                  <a:pt x="497442" y="771256"/>
                </a:cubicBezTo>
                <a:cubicBezTo>
                  <a:pt x="496012" y="821532"/>
                  <a:pt x="492028" y="871838"/>
                  <a:pt x="493005" y="922055"/>
                </a:cubicBezTo>
                <a:cubicBezTo>
                  <a:pt x="494253" y="986140"/>
                  <a:pt x="499320" y="1050155"/>
                  <a:pt x="502900" y="1114191"/>
                </a:cubicBezTo>
                <a:cubicBezTo>
                  <a:pt x="504603" y="1144637"/>
                  <a:pt x="505797" y="1175148"/>
                  <a:pt x="508800" y="1205474"/>
                </a:cubicBezTo>
                <a:cubicBezTo>
                  <a:pt x="512592" y="1243768"/>
                  <a:pt x="516901" y="1282076"/>
                  <a:pt x="522952" y="1320065"/>
                </a:cubicBezTo>
                <a:cubicBezTo>
                  <a:pt x="532594" y="1380596"/>
                  <a:pt x="543267" y="1440980"/>
                  <a:pt x="554682" y="1501203"/>
                </a:cubicBezTo>
                <a:cubicBezTo>
                  <a:pt x="560600" y="1532428"/>
                  <a:pt x="568175" y="1563425"/>
                  <a:pt x="576958" y="1593963"/>
                </a:cubicBezTo>
                <a:cubicBezTo>
                  <a:pt x="579170" y="1601655"/>
                  <a:pt x="588378" y="1607829"/>
                  <a:pt x="595349" y="1613498"/>
                </a:cubicBezTo>
                <a:cubicBezTo>
                  <a:pt x="600799" y="1617931"/>
                  <a:pt x="608289" y="1619804"/>
                  <a:pt x="613936" y="1624058"/>
                </a:cubicBezTo>
                <a:cubicBezTo>
                  <a:pt x="623433" y="1631212"/>
                  <a:pt x="627187" y="1639642"/>
                  <a:pt x="620938" y="1652071"/>
                </a:cubicBezTo>
                <a:cubicBezTo>
                  <a:pt x="606287" y="1681209"/>
                  <a:pt x="609918" y="1697027"/>
                  <a:pt x="630805" y="1721702"/>
                </a:cubicBezTo>
                <a:cubicBezTo>
                  <a:pt x="650178" y="1744588"/>
                  <a:pt x="669167" y="1768040"/>
                  <a:pt x="685830" y="1792915"/>
                </a:cubicBezTo>
                <a:cubicBezTo>
                  <a:pt x="705320" y="1822011"/>
                  <a:pt x="711650" y="1855198"/>
                  <a:pt x="708904" y="1890290"/>
                </a:cubicBezTo>
                <a:cubicBezTo>
                  <a:pt x="707288" y="1910935"/>
                  <a:pt x="700766" y="1942639"/>
                  <a:pt x="716580" y="1951136"/>
                </a:cubicBezTo>
                <a:cubicBezTo>
                  <a:pt x="724392" y="1976483"/>
                  <a:pt x="727122" y="2003652"/>
                  <a:pt x="729397" y="2030261"/>
                </a:cubicBezTo>
                <a:cubicBezTo>
                  <a:pt x="729925" y="2036427"/>
                  <a:pt x="743534" y="2056174"/>
                  <a:pt x="714212" y="2059069"/>
                </a:cubicBezTo>
                <a:cubicBezTo>
                  <a:pt x="561064" y="2100066"/>
                  <a:pt x="334540" y="2099227"/>
                  <a:pt x="96263" y="2076207"/>
                </a:cubicBezTo>
                <a:moveTo>
                  <a:pt x="489970" y="152208"/>
                </a:moveTo>
                <a:lnTo>
                  <a:pt x="490754" y="152592"/>
                </a:lnTo>
                <a:cubicBezTo>
                  <a:pt x="490404" y="152187"/>
                  <a:pt x="490054" y="151782"/>
                  <a:pt x="489489" y="149547"/>
                </a:cubicBezTo>
                <a:cubicBezTo>
                  <a:pt x="463400" y="121956"/>
                  <a:pt x="429823" y="108227"/>
                  <a:pt x="393621" y="99259"/>
                </a:cubicBezTo>
                <a:cubicBezTo>
                  <a:pt x="416086" y="61028"/>
                  <a:pt x="414929" y="37233"/>
                  <a:pt x="390419" y="18568"/>
                </a:cubicBezTo>
                <a:cubicBezTo>
                  <a:pt x="373896" y="5985"/>
                  <a:pt x="349634" y="8467"/>
                  <a:pt x="334131" y="24327"/>
                </a:cubicBezTo>
                <a:cubicBezTo>
                  <a:pt x="312288" y="46673"/>
                  <a:pt x="314608" y="63885"/>
                  <a:pt x="344678" y="101259"/>
                </a:cubicBezTo>
                <a:cubicBezTo>
                  <a:pt x="329276" y="105420"/>
                  <a:pt x="313421" y="108117"/>
                  <a:pt x="298854" y="114003"/>
                </a:cubicBezTo>
                <a:cubicBezTo>
                  <a:pt x="276159" y="123172"/>
                  <a:pt x="253379" y="133071"/>
                  <a:pt x="237456" y="154340"/>
                </a:cubicBezTo>
                <a:cubicBezTo>
                  <a:pt x="237723" y="154250"/>
                  <a:pt x="237990" y="154159"/>
                  <a:pt x="240382" y="154035"/>
                </a:cubicBezTo>
                <a:cubicBezTo>
                  <a:pt x="252637" y="152964"/>
                  <a:pt x="257233" y="162164"/>
                  <a:pt x="262731" y="170426"/>
                </a:cubicBezTo>
                <a:cubicBezTo>
                  <a:pt x="267919" y="178225"/>
                  <a:pt x="272568" y="186734"/>
                  <a:pt x="279169" y="193173"/>
                </a:cubicBezTo>
                <a:cubicBezTo>
                  <a:pt x="294554" y="208182"/>
                  <a:pt x="315173" y="206011"/>
                  <a:pt x="327717" y="188556"/>
                </a:cubicBezTo>
                <a:cubicBezTo>
                  <a:pt x="335023" y="178390"/>
                  <a:pt x="341313" y="167493"/>
                  <a:pt x="348052" y="156919"/>
                </a:cubicBezTo>
                <a:cubicBezTo>
                  <a:pt x="360173" y="137899"/>
                  <a:pt x="367728" y="137921"/>
                  <a:pt x="380330" y="156483"/>
                </a:cubicBezTo>
                <a:cubicBezTo>
                  <a:pt x="389331" y="169741"/>
                  <a:pt x="397761" y="183648"/>
                  <a:pt x="408490" y="195400"/>
                </a:cubicBezTo>
                <a:cubicBezTo>
                  <a:pt x="419907" y="207908"/>
                  <a:pt x="432311" y="208318"/>
                  <a:pt x="445346" y="197582"/>
                </a:cubicBezTo>
                <a:cubicBezTo>
                  <a:pt x="453059" y="191228"/>
                  <a:pt x="458941" y="182413"/>
                  <a:pt x="464798" y="174107"/>
                </a:cubicBezTo>
                <a:cubicBezTo>
                  <a:pt x="471492" y="164615"/>
                  <a:pt x="476269" y="153399"/>
                  <a:pt x="489970" y="152208"/>
                </a:cubicBezTo>
                <a:moveTo>
                  <a:pt x="140694" y="201837"/>
                </a:moveTo>
                <a:lnTo>
                  <a:pt x="139834" y="201482"/>
                </a:lnTo>
                <a:cubicBezTo>
                  <a:pt x="140167" y="201940"/>
                  <a:pt x="140499" y="202398"/>
                  <a:pt x="140812" y="204941"/>
                </a:cubicBezTo>
                <a:cubicBezTo>
                  <a:pt x="142073" y="209235"/>
                  <a:pt x="143094" y="213618"/>
                  <a:pt x="144631" y="217811"/>
                </a:cubicBezTo>
                <a:cubicBezTo>
                  <a:pt x="163630" y="269630"/>
                  <a:pt x="184359" y="320889"/>
                  <a:pt x="201241" y="373387"/>
                </a:cubicBezTo>
                <a:cubicBezTo>
                  <a:pt x="215057" y="416348"/>
                  <a:pt x="224086" y="460838"/>
                  <a:pt x="235971" y="504451"/>
                </a:cubicBezTo>
                <a:cubicBezTo>
                  <a:pt x="237017" y="508291"/>
                  <a:pt x="243450" y="513153"/>
                  <a:pt x="247475" y="513241"/>
                </a:cubicBezTo>
                <a:cubicBezTo>
                  <a:pt x="261316" y="513543"/>
                  <a:pt x="275190" y="511373"/>
                  <a:pt x="289066" y="511170"/>
                </a:cubicBezTo>
                <a:cubicBezTo>
                  <a:pt x="318784" y="510736"/>
                  <a:pt x="348532" y="510226"/>
                  <a:pt x="378229" y="511084"/>
                </a:cubicBezTo>
                <a:cubicBezTo>
                  <a:pt x="409129" y="511977"/>
                  <a:pt x="440005" y="514145"/>
                  <a:pt x="470850" y="516341"/>
                </a:cubicBezTo>
                <a:cubicBezTo>
                  <a:pt x="488515" y="517598"/>
                  <a:pt x="488581" y="517383"/>
                  <a:pt x="492933" y="497969"/>
                </a:cubicBezTo>
                <a:cubicBezTo>
                  <a:pt x="509517" y="423981"/>
                  <a:pt x="529141" y="350878"/>
                  <a:pt x="557617" y="280398"/>
                </a:cubicBezTo>
                <a:cubicBezTo>
                  <a:pt x="568115" y="254415"/>
                  <a:pt x="577983" y="228177"/>
                  <a:pt x="588788" y="200385"/>
                </a:cubicBezTo>
                <a:cubicBezTo>
                  <a:pt x="568882" y="211746"/>
                  <a:pt x="556897" y="233442"/>
                  <a:pt x="530958" y="232968"/>
                </a:cubicBezTo>
                <a:cubicBezTo>
                  <a:pt x="501919" y="232437"/>
                  <a:pt x="492615" y="212474"/>
                  <a:pt x="483823" y="190364"/>
                </a:cubicBezTo>
                <a:cubicBezTo>
                  <a:pt x="477516" y="197154"/>
                  <a:pt x="471372" y="202589"/>
                  <a:pt x="466649" y="209061"/>
                </a:cubicBezTo>
                <a:cubicBezTo>
                  <a:pt x="449398" y="232702"/>
                  <a:pt x="420396" y="235708"/>
                  <a:pt x="399941" y="216988"/>
                </a:cubicBezTo>
                <a:cubicBezTo>
                  <a:pt x="387278" y="205398"/>
                  <a:pt x="375741" y="192577"/>
                  <a:pt x="363018" y="179615"/>
                </a:cubicBezTo>
                <a:cubicBezTo>
                  <a:pt x="350255" y="200356"/>
                  <a:pt x="336990" y="223707"/>
                  <a:pt x="308839" y="227846"/>
                </a:cubicBezTo>
                <a:cubicBezTo>
                  <a:pt x="280122" y="232067"/>
                  <a:pt x="262039" y="213088"/>
                  <a:pt x="245077" y="192402"/>
                </a:cubicBezTo>
                <a:cubicBezTo>
                  <a:pt x="244011" y="195470"/>
                  <a:pt x="243549" y="197200"/>
                  <a:pt x="242829" y="198815"/>
                </a:cubicBezTo>
                <a:cubicBezTo>
                  <a:pt x="227987" y="232132"/>
                  <a:pt x="198552" y="240117"/>
                  <a:pt x="168452" y="219348"/>
                </a:cubicBezTo>
                <a:cubicBezTo>
                  <a:pt x="159660" y="213282"/>
                  <a:pt x="150196" y="208189"/>
                  <a:pt x="140694" y="201837"/>
                </a:cubicBezTo>
                <a:moveTo>
                  <a:pt x="259999" y="966699"/>
                </a:moveTo>
                <a:cubicBezTo>
                  <a:pt x="259066" y="1001276"/>
                  <a:pt x="258555" y="1035871"/>
                  <a:pt x="257072" y="1070424"/>
                </a:cubicBezTo>
                <a:cubicBezTo>
                  <a:pt x="255822" y="1099520"/>
                  <a:pt x="254332" y="1128659"/>
                  <a:pt x="251372" y="1157618"/>
                </a:cubicBezTo>
                <a:cubicBezTo>
                  <a:pt x="245822" y="1211910"/>
                  <a:pt x="239941" y="1266195"/>
                  <a:pt x="232677" y="1320279"/>
                </a:cubicBezTo>
                <a:cubicBezTo>
                  <a:pt x="226012" y="1369906"/>
                  <a:pt x="218692" y="1419525"/>
                  <a:pt x="209182" y="1468667"/>
                </a:cubicBezTo>
                <a:cubicBezTo>
                  <a:pt x="199574" y="1518317"/>
                  <a:pt x="187234" y="1567453"/>
                  <a:pt x="175302" y="1616623"/>
                </a:cubicBezTo>
                <a:cubicBezTo>
                  <a:pt x="173247" y="1625091"/>
                  <a:pt x="175038" y="1628715"/>
                  <a:pt x="182769" y="1629786"/>
                </a:cubicBezTo>
                <a:cubicBezTo>
                  <a:pt x="192516" y="1631137"/>
                  <a:pt x="202351" y="1632591"/>
                  <a:pt x="212156" y="1632656"/>
                </a:cubicBezTo>
                <a:lnTo>
                  <a:pt x="351295" y="1632801"/>
                </a:lnTo>
                <a:cubicBezTo>
                  <a:pt x="371086" y="1632783"/>
                  <a:pt x="376419" y="1627831"/>
                  <a:pt x="376150" y="1608307"/>
                </a:cubicBezTo>
                <a:cubicBezTo>
                  <a:pt x="375456" y="1557965"/>
                  <a:pt x="374444" y="1507628"/>
                  <a:pt x="373450" y="1457291"/>
                </a:cubicBezTo>
                <a:cubicBezTo>
                  <a:pt x="372695" y="1419104"/>
                  <a:pt x="371725" y="1380922"/>
                  <a:pt x="370936" y="1342736"/>
                </a:cubicBezTo>
                <a:cubicBezTo>
                  <a:pt x="369980" y="1296451"/>
                  <a:pt x="368481" y="1250167"/>
                  <a:pt x="368328" y="1203878"/>
                </a:cubicBezTo>
                <a:cubicBezTo>
                  <a:pt x="367898" y="1073746"/>
                  <a:pt x="368114" y="943611"/>
                  <a:pt x="367836" y="813478"/>
                </a:cubicBezTo>
                <a:cubicBezTo>
                  <a:pt x="367808" y="800064"/>
                  <a:pt x="366292" y="786643"/>
                  <a:pt x="365240" y="773243"/>
                </a:cubicBezTo>
                <a:cubicBezTo>
                  <a:pt x="364669" y="765967"/>
                  <a:pt x="361177" y="762219"/>
                  <a:pt x="353084" y="762083"/>
                </a:cubicBezTo>
                <a:cubicBezTo>
                  <a:pt x="329039" y="761680"/>
                  <a:pt x="305010" y="760323"/>
                  <a:pt x="280966" y="759855"/>
                </a:cubicBezTo>
                <a:cubicBezTo>
                  <a:pt x="262974" y="759505"/>
                  <a:pt x="259584" y="762728"/>
                  <a:pt x="259965" y="779553"/>
                </a:cubicBezTo>
                <a:cubicBezTo>
                  <a:pt x="260545" y="805134"/>
                  <a:pt x="262417" y="830704"/>
                  <a:pt x="262341" y="856275"/>
                </a:cubicBezTo>
                <a:cubicBezTo>
                  <a:pt x="262235" y="892209"/>
                  <a:pt x="260847" y="928139"/>
                  <a:pt x="259999" y="966699"/>
                </a:cubicBezTo>
                <a:moveTo>
                  <a:pt x="55556" y="1835827"/>
                </a:moveTo>
                <a:cubicBezTo>
                  <a:pt x="53401" y="1849932"/>
                  <a:pt x="49990" y="1863984"/>
                  <a:pt x="49393" y="1878155"/>
                </a:cubicBezTo>
                <a:cubicBezTo>
                  <a:pt x="48549" y="1898208"/>
                  <a:pt x="54196" y="1903667"/>
                  <a:pt x="73949" y="1905781"/>
                </a:cubicBezTo>
                <a:cubicBezTo>
                  <a:pt x="85970" y="1907068"/>
                  <a:pt x="98058" y="1907739"/>
                  <a:pt x="110073" y="1909068"/>
                </a:cubicBezTo>
                <a:cubicBezTo>
                  <a:pt x="148299" y="1913297"/>
                  <a:pt x="186412" y="1919134"/>
                  <a:pt x="224745" y="1921652"/>
                </a:cubicBezTo>
                <a:cubicBezTo>
                  <a:pt x="265500" y="1924329"/>
                  <a:pt x="306455" y="1923995"/>
                  <a:pt x="347327" y="1924778"/>
                </a:cubicBezTo>
                <a:cubicBezTo>
                  <a:pt x="352654" y="1924880"/>
                  <a:pt x="357999" y="1923751"/>
                  <a:pt x="363345" y="1923293"/>
                </a:cubicBezTo>
                <a:cubicBezTo>
                  <a:pt x="370812" y="1922652"/>
                  <a:pt x="373724" y="1919361"/>
                  <a:pt x="373787" y="1911200"/>
                </a:cubicBezTo>
                <a:cubicBezTo>
                  <a:pt x="374339" y="1839709"/>
                  <a:pt x="375066" y="1768215"/>
                  <a:pt x="376623" y="1696741"/>
                </a:cubicBezTo>
                <a:cubicBezTo>
                  <a:pt x="376910" y="1683555"/>
                  <a:pt x="372147" y="1681381"/>
                  <a:pt x="360437" y="1681289"/>
                </a:cubicBezTo>
                <a:cubicBezTo>
                  <a:pt x="328117" y="1681033"/>
                  <a:pt x="295777" y="1679974"/>
                  <a:pt x="263503" y="1678179"/>
                </a:cubicBezTo>
                <a:cubicBezTo>
                  <a:pt x="229090" y="1676266"/>
                  <a:pt x="194719" y="1673423"/>
                  <a:pt x="160381" y="1670405"/>
                </a:cubicBezTo>
                <a:cubicBezTo>
                  <a:pt x="148387" y="1669350"/>
                  <a:pt x="145963" y="1675505"/>
                  <a:pt x="143321" y="1685538"/>
                </a:cubicBezTo>
                <a:cubicBezTo>
                  <a:pt x="138582" y="1703537"/>
                  <a:pt x="133802" y="1722215"/>
                  <a:pt x="124769" y="1738195"/>
                </a:cubicBezTo>
                <a:cubicBezTo>
                  <a:pt x="116109" y="1753517"/>
                  <a:pt x="101000" y="1765040"/>
                  <a:pt x="90593" y="1779570"/>
                </a:cubicBezTo>
                <a:cubicBezTo>
                  <a:pt x="78162" y="1796924"/>
                  <a:pt x="67717" y="1815700"/>
                  <a:pt x="55556" y="1835827"/>
                </a:cubicBezTo>
                <a:moveTo>
                  <a:pt x="378900" y="2007280"/>
                </a:moveTo>
                <a:cubicBezTo>
                  <a:pt x="378896" y="2003229"/>
                  <a:pt x="378901" y="1999178"/>
                  <a:pt x="378887" y="1995127"/>
                </a:cubicBezTo>
                <a:cubicBezTo>
                  <a:pt x="378824" y="1976033"/>
                  <a:pt x="378817" y="1976317"/>
                  <a:pt x="359084" y="1975964"/>
                </a:cubicBezTo>
                <a:lnTo>
                  <a:pt x="247288" y="1973305"/>
                </a:lnTo>
                <a:cubicBezTo>
                  <a:pt x="232069" y="1972838"/>
                  <a:pt x="216796" y="1972093"/>
                  <a:pt x="201692" y="1970275"/>
                </a:cubicBezTo>
                <a:lnTo>
                  <a:pt x="57962" y="1952648"/>
                </a:lnTo>
                <a:cubicBezTo>
                  <a:pt x="51898" y="1952011"/>
                  <a:pt x="41206" y="1958134"/>
                  <a:pt x="39194" y="1963552"/>
                </a:cubicBezTo>
                <a:cubicBezTo>
                  <a:pt x="34138" y="1977168"/>
                  <a:pt x="32687" y="1992148"/>
                  <a:pt x="30066" y="2006631"/>
                </a:cubicBezTo>
                <a:cubicBezTo>
                  <a:pt x="28649" y="2014460"/>
                  <a:pt x="32955" y="2017729"/>
                  <a:pt x="40232" y="2019486"/>
                </a:cubicBezTo>
                <a:cubicBezTo>
                  <a:pt x="105307" y="2035198"/>
                  <a:pt x="171489" y="2043035"/>
                  <a:pt x="238186" y="2046096"/>
                </a:cubicBezTo>
                <a:cubicBezTo>
                  <a:pt x="272775" y="2047683"/>
                  <a:pt x="307494" y="2046505"/>
                  <a:pt x="342155" y="2046441"/>
                </a:cubicBezTo>
                <a:cubicBezTo>
                  <a:pt x="378858" y="2046373"/>
                  <a:pt x="378858" y="2046303"/>
                  <a:pt x="378900" y="2007280"/>
                </a:cubicBezTo>
                <a:moveTo>
                  <a:pt x="310220" y="554288"/>
                </a:moveTo>
                <a:lnTo>
                  <a:pt x="259136" y="556881"/>
                </a:lnTo>
                <a:cubicBezTo>
                  <a:pt x="251446" y="557144"/>
                  <a:pt x="248963" y="560888"/>
                  <a:pt x="249085" y="567981"/>
                </a:cubicBezTo>
                <a:cubicBezTo>
                  <a:pt x="249291" y="580007"/>
                  <a:pt x="249141" y="592039"/>
                  <a:pt x="249141" y="605644"/>
                </a:cubicBezTo>
                <a:cubicBezTo>
                  <a:pt x="252942" y="605644"/>
                  <a:pt x="257788" y="605750"/>
                  <a:pt x="262628" y="605627"/>
                </a:cubicBezTo>
                <a:cubicBezTo>
                  <a:pt x="298288" y="604718"/>
                  <a:pt x="333947" y="603084"/>
                  <a:pt x="369608" y="603027"/>
                </a:cubicBezTo>
                <a:cubicBezTo>
                  <a:pt x="401047" y="602977"/>
                  <a:pt x="432489" y="605109"/>
                  <a:pt x="463931" y="605146"/>
                </a:cubicBezTo>
                <a:cubicBezTo>
                  <a:pt x="468882" y="605152"/>
                  <a:pt x="477522" y="599724"/>
                  <a:pt x="478113" y="595843"/>
                </a:cubicBezTo>
                <a:cubicBezTo>
                  <a:pt x="479968" y="583658"/>
                  <a:pt x="478796" y="571012"/>
                  <a:pt x="478796" y="556832"/>
                </a:cubicBezTo>
                <a:lnTo>
                  <a:pt x="310220" y="554288"/>
                </a:lnTo>
                <a:moveTo>
                  <a:pt x="348836" y="684115"/>
                </a:moveTo>
                <a:lnTo>
                  <a:pt x="281333" y="683313"/>
                </a:lnTo>
                <a:cubicBezTo>
                  <a:pt x="258459" y="682880"/>
                  <a:pt x="235573" y="681397"/>
                  <a:pt x="212728" y="681931"/>
                </a:cubicBezTo>
                <a:cubicBezTo>
                  <a:pt x="204151" y="682132"/>
                  <a:pt x="195144" y="685643"/>
                  <a:pt x="187283" y="689555"/>
                </a:cubicBezTo>
                <a:cubicBezTo>
                  <a:pt x="176092" y="695122"/>
                  <a:pt x="175412" y="711787"/>
                  <a:pt x="186163" y="718266"/>
                </a:cubicBezTo>
                <a:cubicBezTo>
                  <a:pt x="193268" y="722548"/>
                  <a:pt x="201790" y="726298"/>
                  <a:pt x="209894" y="726798"/>
                </a:cubicBezTo>
                <a:cubicBezTo>
                  <a:pt x="251494" y="729369"/>
                  <a:pt x="293151" y="731218"/>
                  <a:pt x="334814" y="732494"/>
                </a:cubicBezTo>
                <a:cubicBezTo>
                  <a:pt x="360875" y="733292"/>
                  <a:pt x="360845" y="732630"/>
                  <a:pt x="364856" y="707963"/>
                </a:cubicBezTo>
                <a:cubicBezTo>
                  <a:pt x="366759" y="696261"/>
                  <a:pt x="364119" y="687361"/>
                  <a:pt x="348836" y="684115"/>
                </a:cubicBezTo>
                <a:moveTo>
                  <a:pt x="298865" y="621954"/>
                </a:moveTo>
                <a:cubicBezTo>
                  <a:pt x="283113" y="621947"/>
                  <a:pt x="267325" y="621283"/>
                  <a:pt x="251619" y="622133"/>
                </a:cubicBezTo>
                <a:cubicBezTo>
                  <a:pt x="238016" y="622869"/>
                  <a:pt x="223730" y="622855"/>
                  <a:pt x="214459" y="636230"/>
                </a:cubicBezTo>
                <a:cubicBezTo>
                  <a:pt x="208245" y="645195"/>
                  <a:pt x="210589" y="653121"/>
                  <a:pt x="221436" y="654205"/>
                </a:cubicBezTo>
                <a:cubicBezTo>
                  <a:pt x="238362" y="655895"/>
                  <a:pt x="255402" y="656613"/>
                  <a:pt x="272412" y="657250"/>
                </a:cubicBezTo>
                <a:cubicBezTo>
                  <a:pt x="297964" y="658207"/>
                  <a:pt x="323529" y="659053"/>
                  <a:pt x="349094" y="659282"/>
                </a:cubicBezTo>
                <a:cubicBezTo>
                  <a:pt x="358195" y="659363"/>
                  <a:pt x="363477" y="655246"/>
                  <a:pt x="362996" y="644234"/>
                </a:cubicBezTo>
                <a:cubicBezTo>
                  <a:pt x="362527" y="633519"/>
                  <a:pt x="361239" y="625376"/>
                  <a:pt x="348472" y="624649"/>
                </a:cubicBezTo>
                <a:lnTo>
                  <a:pt x="298865" y="621954"/>
                </a:lnTo>
                <a:moveTo>
                  <a:pt x="227796" y="528000"/>
                </a:moveTo>
                <a:cubicBezTo>
                  <a:pt x="224777" y="540795"/>
                  <a:pt x="228095" y="545993"/>
                  <a:pt x="241009" y="545897"/>
                </a:cubicBezTo>
                <a:cubicBezTo>
                  <a:pt x="254880" y="545792"/>
                  <a:pt x="268730" y="543734"/>
                  <a:pt x="282607" y="543480"/>
                </a:cubicBezTo>
                <a:cubicBezTo>
                  <a:pt x="306469" y="543043"/>
                  <a:pt x="330344" y="543266"/>
                  <a:pt x="354213" y="543384"/>
                </a:cubicBezTo>
                <a:cubicBezTo>
                  <a:pt x="361191" y="543419"/>
                  <a:pt x="365298" y="541242"/>
                  <a:pt x="365334" y="533397"/>
                </a:cubicBezTo>
                <a:cubicBezTo>
                  <a:pt x="365369" y="525778"/>
                  <a:pt x="362988" y="521561"/>
                  <a:pt x="354531" y="521620"/>
                </a:cubicBezTo>
                <a:lnTo>
                  <a:pt x="259169" y="521978"/>
                </a:lnTo>
                <a:cubicBezTo>
                  <a:pt x="249027" y="522159"/>
                  <a:pt x="238927" y="524679"/>
                  <a:pt x="227796" y="528000"/>
                </a:cubicBezTo>
                <a:moveTo>
                  <a:pt x="508068" y="190710"/>
                </a:moveTo>
                <a:lnTo>
                  <a:pt x="521293" y="205907"/>
                </a:lnTo>
                <a:lnTo>
                  <a:pt x="525175" y="202985"/>
                </a:lnTo>
                <a:cubicBezTo>
                  <a:pt x="522014" y="185953"/>
                  <a:pt x="510916" y="173426"/>
                  <a:pt x="500276" y="160640"/>
                </a:cubicBezTo>
                <a:lnTo>
                  <a:pt x="497122" y="162007"/>
                </a:lnTo>
                <a:cubicBezTo>
                  <a:pt x="500457" y="170983"/>
                  <a:pt x="503791" y="179959"/>
                  <a:pt x="508068" y="190710"/>
                </a:cubicBezTo>
                <a:moveTo>
                  <a:pt x="215522" y="197296"/>
                </a:moveTo>
                <a:lnTo>
                  <a:pt x="234029" y="162725"/>
                </a:lnTo>
                <a:lnTo>
                  <a:pt x="229000" y="159902"/>
                </a:lnTo>
                <a:lnTo>
                  <a:pt x="204824" y="199677"/>
                </a:lnTo>
                <a:lnTo>
                  <a:pt x="207990" y="202198"/>
                </a:lnTo>
                <a:cubicBezTo>
                  <a:pt x="210047" y="201020"/>
                  <a:pt x="212104" y="199843"/>
                  <a:pt x="215522" y="197296"/>
                </a:cubicBezTo>
                <a:moveTo>
                  <a:pt x="484400" y="896678"/>
                </a:moveTo>
                <a:lnTo>
                  <a:pt x="486181" y="896585"/>
                </a:lnTo>
              </a:path>
            </a:pathLst>
          </a:custGeom>
          <a:solidFill>
            <a:srgbClr val="CCD6DA"/>
          </a:solidFill>
          <a:ln w="2699" cap="flat">
            <a:solidFill>
              <a:srgbClr val="CDD9DF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96" name="Free-form: Shape 195">
            <a:extLst>
              <a:ext uri="{FF2B5EF4-FFF2-40B4-BE49-F238E27FC236}">
                <a16:creationId xmlns:a16="http://schemas.microsoft.com/office/drawing/2014/main" id="{13256092-EF70-CA23-F0F4-C78F46CDCCD4}"/>
              </a:ext>
            </a:extLst>
          </p:cNvPr>
          <p:cNvSpPr/>
          <p:nvPr/>
        </p:nvSpPr>
        <p:spPr>
          <a:xfrm flipH="1">
            <a:off x="5301929" y="4888388"/>
            <a:ext cx="153404" cy="625011"/>
          </a:xfrm>
          <a:custGeom>
            <a:avLst/>
            <a:gdLst>
              <a:gd name="csX0" fmla="*/ 85488 w 201644"/>
              <a:gd name="csY0" fmla="*/ 205555 h 873028"/>
              <a:gd name="csX1" fmla="*/ 87827 w 201644"/>
              <a:gd name="csY1" fmla="*/ 96444 h 873028"/>
              <a:gd name="csX2" fmla="*/ 85450 w 201644"/>
              <a:gd name="csY2" fmla="*/ 19723 h 873028"/>
              <a:gd name="csX3" fmla="*/ 106451 w 201644"/>
              <a:gd name="csY3" fmla="*/ 25 h 873028"/>
              <a:gd name="csX4" fmla="*/ 178569 w 201644"/>
              <a:gd name="csY4" fmla="*/ 2252 h 873028"/>
              <a:gd name="csX5" fmla="*/ 190725 w 201644"/>
              <a:gd name="csY5" fmla="*/ 13413 h 873028"/>
              <a:gd name="csX6" fmla="*/ 193322 w 201644"/>
              <a:gd name="csY6" fmla="*/ 53648 h 873028"/>
              <a:gd name="csX7" fmla="*/ 193813 w 201644"/>
              <a:gd name="csY7" fmla="*/ 444048 h 873028"/>
              <a:gd name="csX8" fmla="*/ 196421 w 201644"/>
              <a:gd name="csY8" fmla="*/ 582906 h 873028"/>
              <a:gd name="csX9" fmla="*/ 198935 w 201644"/>
              <a:gd name="csY9" fmla="*/ 697460 h 873028"/>
              <a:gd name="csX10" fmla="*/ 201635 w 201644"/>
              <a:gd name="csY10" fmla="*/ 848476 h 873028"/>
              <a:gd name="csX11" fmla="*/ 176780 w 201644"/>
              <a:gd name="csY11" fmla="*/ 872971 h 873028"/>
              <a:gd name="csX12" fmla="*/ 37642 w 201644"/>
              <a:gd name="csY12" fmla="*/ 872825 h 873028"/>
              <a:gd name="csX13" fmla="*/ 8254 w 201644"/>
              <a:gd name="csY13" fmla="*/ 869956 h 873028"/>
              <a:gd name="csX14" fmla="*/ 787 w 201644"/>
              <a:gd name="csY14" fmla="*/ 856792 h 873028"/>
              <a:gd name="csX15" fmla="*/ 34667 w 201644"/>
              <a:gd name="csY15" fmla="*/ 708837 h 873028"/>
              <a:gd name="csX16" fmla="*/ 58163 w 201644"/>
              <a:gd name="csY16" fmla="*/ 560448 h 873028"/>
              <a:gd name="csX17" fmla="*/ 76857 w 201644"/>
              <a:gd name="csY17" fmla="*/ 397787 h 873028"/>
              <a:gd name="csX18" fmla="*/ 82557 w 201644"/>
              <a:gd name="csY18" fmla="*/ 310594 h 873028"/>
              <a:gd name="csX19" fmla="*/ 85488 w 201644"/>
              <a:gd name="csY19" fmla="*/ 205555 h 87302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</a:cxnLst>
            <a:rect l="l" t="t" r="r" b="b"/>
            <a:pathLst>
              <a:path w="201644" h="873028">
                <a:moveTo>
                  <a:pt x="85488" y="205555"/>
                </a:moveTo>
                <a:cubicBezTo>
                  <a:pt x="86332" y="168309"/>
                  <a:pt x="87720" y="132378"/>
                  <a:pt x="87827" y="96444"/>
                </a:cubicBezTo>
                <a:cubicBezTo>
                  <a:pt x="87903" y="70874"/>
                  <a:pt x="86030" y="45303"/>
                  <a:pt x="85450" y="19723"/>
                </a:cubicBezTo>
                <a:cubicBezTo>
                  <a:pt x="85069" y="2897"/>
                  <a:pt x="88460" y="-326"/>
                  <a:pt x="106451" y="25"/>
                </a:cubicBezTo>
                <a:cubicBezTo>
                  <a:pt x="130496" y="493"/>
                  <a:pt x="154524" y="1849"/>
                  <a:pt x="178569" y="2252"/>
                </a:cubicBezTo>
                <a:cubicBezTo>
                  <a:pt x="186663" y="2388"/>
                  <a:pt x="190154" y="6137"/>
                  <a:pt x="190725" y="13413"/>
                </a:cubicBezTo>
                <a:cubicBezTo>
                  <a:pt x="191778" y="26813"/>
                  <a:pt x="193293" y="40233"/>
                  <a:pt x="193322" y="53648"/>
                </a:cubicBezTo>
                <a:cubicBezTo>
                  <a:pt x="193599" y="183781"/>
                  <a:pt x="193383" y="313915"/>
                  <a:pt x="193813" y="444048"/>
                </a:cubicBezTo>
                <a:cubicBezTo>
                  <a:pt x="193967" y="490336"/>
                  <a:pt x="195465" y="536621"/>
                  <a:pt x="196421" y="582906"/>
                </a:cubicBezTo>
                <a:cubicBezTo>
                  <a:pt x="197210" y="621092"/>
                  <a:pt x="198181" y="659274"/>
                  <a:pt x="198935" y="697460"/>
                </a:cubicBezTo>
                <a:cubicBezTo>
                  <a:pt x="199930" y="747797"/>
                  <a:pt x="200941" y="798134"/>
                  <a:pt x="201635" y="848476"/>
                </a:cubicBezTo>
                <a:cubicBezTo>
                  <a:pt x="201904" y="868001"/>
                  <a:pt x="196572" y="872953"/>
                  <a:pt x="176780" y="872971"/>
                </a:cubicBezTo>
                <a:cubicBezTo>
                  <a:pt x="130401" y="873012"/>
                  <a:pt x="84020" y="873131"/>
                  <a:pt x="37642" y="872825"/>
                </a:cubicBezTo>
                <a:cubicBezTo>
                  <a:pt x="27836" y="872761"/>
                  <a:pt x="18001" y="871306"/>
                  <a:pt x="8254" y="869956"/>
                </a:cubicBezTo>
                <a:cubicBezTo>
                  <a:pt x="524" y="868885"/>
                  <a:pt x="-1268" y="865260"/>
                  <a:pt x="787" y="856792"/>
                </a:cubicBezTo>
                <a:cubicBezTo>
                  <a:pt x="12720" y="807623"/>
                  <a:pt x="25059" y="758486"/>
                  <a:pt x="34667" y="708837"/>
                </a:cubicBezTo>
                <a:cubicBezTo>
                  <a:pt x="44177" y="659694"/>
                  <a:pt x="51498" y="610075"/>
                  <a:pt x="58163" y="560448"/>
                </a:cubicBezTo>
                <a:cubicBezTo>
                  <a:pt x="65426" y="506364"/>
                  <a:pt x="71307" y="452080"/>
                  <a:pt x="76857" y="397787"/>
                </a:cubicBezTo>
                <a:cubicBezTo>
                  <a:pt x="79817" y="368829"/>
                  <a:pt x="81308" y="339690"/>
                  <a:pt x="82557" y="310594"/>
                </a:cubicBezTo>
                <a:cubicBezTo>
                  <a:pt x="84040" y="276041"/>
                  <a:pt x="84552" y="241446"/>
                  <a:pt x="85488" y="205555"/>
                </a:cubicBezTo>
                <a:close/>
              </a:path>
            </a:pathLst>
          </a:custGeom>
          <a:solidFill>
            <a:schemeClr val="bg1"/>
          </a:solidFill>
          <a:ln w="2699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97" name="Free-form: Shape 196">
            <a:extLst>
              <a:ext uri="{FF2B5EF4-FFF2-40B4-BE49-F238E27FC236}">
                <a16:creationId xmlns:a16="http://schemas.microsoft.com/office/drawing/2014/main" id="{23DD2C5B-F1F9-D3FD-38C9-B0103D762355}"/>
              </a:ext>
            </a:extLst>
          </p:cNvPr>
          <p:cNvSpPr/>
          <p:nvPr/>
        </p:nvSpPr>
        <p:spPr>
          <a:xfrm flipH="1">
            <a:off x="5137393" y="4465793"/>
            <a:ext cx="172350" cy="248589"/>
          </a:xfrm>
          <a:custGeom>
            <a:avLst/>
            <a:gdLst>
              <a:gd name="csX0" fmla="*/ 778 w 226548"/>
              <a:gd name="csY0" fmla="*/ 0 h 337161"/>
              <a:gd name="csX1" fmla="*/ 37702 w 226548"/>
              <a:gd name="csY1" fmla="*/ 37373 h 337161"/>
              <a:gd name="csX2" fmla="*/ 104410 w 226548"/>
              <a:gd name="csY2" fmla="*/ 29446 h 337161"/>
              <a:gd name="csX3" fmla="*/ 121584 w 226548"/>
              <a:gd name="csY3" fmla="*/ 10749 h 337161"/>
              <a:gd name="csX4" fmla="*/ 168719 w 226548"/>
              <a:gd name="csY4" fmla="*/ 53353 h 337161"/>
              <a:gd name="csX5" fmla="*/ 226548 w 226548"/>
              <a:gd name="csY5" fmla="*/ 20770 h 337161"/>
              <a:gd name="csX6" fmla="*/ 195378 w 226548"/>
              <a:gd name="csY6" fmla="*/ 100783 h 337161"/>
              <a:gd name="csX7" fmla="*/ 130693 w 226548"/>
              <a:gd name="csY7" fmla="*/ 318354 h 337161"/>
              <a:gd name="csX8" fmla="*/ 108611 w 226548"/>
              <a:gd name="csY8" fmla="*/ 336726 h 337161"/>
              <a:gd name="csX9" fmla="*/ 15990 w 226548"/>
              <a:gd name="csY9" fmla="*/ 331469 h 337161"/>
              <a:gd name="csX10" fmla="*/ 0 w 226548"/>
              <a:gd name="csY10" fmla="*/ 331485 h 337161"/>
              <a:gd name="csX11" fmla="*/ 0 w 226548"/>
              <a:gd name="csY11" fmla="*/ 1107 h 33716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226548" h="337161">
                <a:moveTo>
                  <a:pt x="778" y="0"/>
                </a:moveTo>
                <a:cubicBezTo>
                  <a:pt x="13501" y="12962"/>
                  <a:pt x="25038" y="25783"/>
                  <a:pt x="37702" y="37373"/>
                </a:cubicBezTo>
                <a:cubicBezTo>
                  <a:pt x="58156" y="56093"/>
                  <a:pt x="87159" y="53087"/>
                  <a:pt x="104410" y="29446"/>
                </a:cubicBezTo>
                <a:cubicBezTo>
                  <a:pt x="109133" y="22974"/>
                  <a:pt x="115276" y="17539"/>
                  <a:pt x="121584" y="10749"/>
                </a:cubicBezTo>
                <a:cubicBezTo>
                  <a:pt x="130376" y="32859"/>
                  <a:pt x="139680" y="52822"/>
                  <a:pt x="168719" y="53353"/>
                </a:cubicBezTo>
                <a:cubicBezTo>
                  <a:pt x="194658" y="53827"/>
                  <a:pt x="206643" y="32131"/>
                  <a:pt x="226548" y="20770"/>
                </a:cubicBezTo>
                <a:cubicBezTo>
                  <a:pt x="215744" y="48562"/>
                  <a:pt x="205876" y="74800"/>
                  <a:pt x="195378" y="100783"/>
                </a:cubicBezTo>
                <a:cubicBezTo>
                  <a:pt x="166902" y="171263"/>
                  <a:pt x="147278" y="244366"/>
                  <a:pt x="130693" y="318354"/>
                </a:cubicBezTo>
                <a:cubicBezTo>
                  <a:pt x="126342" y="337768"/>
                  <a:pt x="126276" y="337983"/>
                  <a:pt x="108611" y="336726"/>
                </a:cubicBezTo>
                <a:cubicBezTo>
                  <a:pt x="77766" y="334530"/>
                  <a:pt x="46890" y="332362"/>
                  <a:pt x="15990" y="331469"/>
                </a:cubicBezTo>
                <a:lnTo>
                  <a:pt x="0" y="331485"/>
                </a:lnTo>
                <a:lnTo>
                  <a:pt x="0" y="1107"/>
                </a:lnTo>
                <a:close/>
              </a:path>
            </a:pathLst>
          </a:custGeom>
          <a:solidFill>
            <a:srgbClr val="CCD6DA"/>
          </a:solidFill>
          <a:ln w="2699" cap="flat">
            <a:noFill/>
            <a:prstDash val="solid"/>
            <a:miter/>
          </a:ln>
        </p:spPr>
        <p:txBody>
          <a:bodyPr wrap="squar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98" name="Free-form: Shape 197">
            <a:extLst>
              <a:ext uri="{FF2B5EF4-FFF2-40B4-BE49-F238E27FC236}">
                <a16:creationId xmlns:a16="http://schemas.microsoft.com/office/drawing/2014/main" id="{A2988F2D-5EE0-7AA6-AA50-8BEC3E7071F3}"/>
              </a:ext>
            </a:extLst>
          </p:cNvPr>
          <p:cNvSpPr/>
          <p:nvPr/>
        </p:nvSpPr>
        <p:spPr>
          <a:xfrm flipH="1">
            <a:off x="5301566" y="5540195"/>
            <a:ext cx="249017" cy="182198"/>
          </a:xfrm>
          <a:custGeom>
            <a:avLst/>
            <a:gdLst>
              <a:gd name="csX0" fmla="*/ 6671 w 327322"/>
              <a:gd name="csY0" fmla="*/ 164556 h 254497"/>
              <a:gd name="csX1" fmla="*/ 41280 w 327322"/>
              <a:gd name="csY1" fmla="*/ 109282 h 254497"/>
              <a:gd name="csX2" fmla="*/ 75457 w 327322"/>
              <a:gd name="csY2" fmla="*/ 67908 h 254497"/>
              <a:gd name="csX3" fmla="*/ 94008 w 327322"/>
              <a:gd name="csY3" fmla="*/ 15251 h 254497"/>
              <a:gd name="csX4" fmla="*/ 111068 w 327322"/>
              <a:gd name="csY4" fmla="*/ 117 h 254497"/>
              <a:gd name="csX5" fmla="*/ 214190 w 327322"/>
              <a:gd name="csY5" fmla="*/ 7891 h 254497"/>
              <a:gd name="csX6" fmla="*/ 311124 w 327322"/>
              <a:gd name="csY6" fmla="*/ 11001 h 254497"/>
              <a:gd name="csX7" fmla="*/ 327310 w 327322"/>
              <a:gd name="csY7" fmla="*/ 26454 h 254497"/>
              <a:gd name="csX8" fmla="*/ 324474 w 327322"/>
              <a:gd name="csY8" fmla="*/ 240912 h 254497"/>
              <a:gd name="csX9" fmla="*/ 314032 w 327322"/>
              <a:gd name="csY9" fmla="*/ 253005 h 254497"/>
              <a:gd name="csX10" fmla="*/ 298014 w 327322"/>
              <a:gd name="csY10" fmla="*/ 254491 h 254497"/>
              <a:gd name="csX11" fmla="*/ 175432 w 327322"/>
              <a:gd name="csY11" fmla="*/ 251365 h 254497"/>
              <a:gd name="csX12" fmla="*/ 60761 w 327322"/>
              <a:gd name="csY12" fmla="*/ 238781 h 254497"/>
              <a:gd name="csX13" fmla="*/ 24636 w 327322"/>
              <a:gd name="csY13" fmla="*/ 235494 h 254497"/>
              <a:gd name="csX14" fmla="*/ 80 w 327322"/>
              <a:gd name="csY14" fmla="*/ 207868 h 254497"/>
              <a:gd name="csX15" fmla="*/ 6671 w 327322"/>
              <a:gd name="csY15" fmla="*/ 164556 h 25449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</a:cxnLst>
            <a:rect l="l" t="t" r="r" b="b"/>
            <a:pathLst>
              <a:path w="327322" h="254497">
                <a:moveTo>
                  <a:pt x="6671" y="164556"/>
                </a:moveTo>
                <a:cubicBezTo>
                  <a:pt x="18404" y="145412"/>
                  <a:pt x="28850" y="126637"/>
                  <a:pt x="41280" y="109282"/>
                </a:cubicBezTo>
                <a:cubicBezTo>
                  <a:pt x="51687" y="94752"/>
                  <a:pt x="66796" y="83230"/>
                  <a:pt x="75457" y="67908"/>
                </a:cubicBezTo>
                <a:cubicBezTo>
                  <a:pt x="84489" y="51927"/>
                  <a:pt x="89269" y="33249"/>
                  <a:pt x="94008" y="15251"/>
                </a:cubicBezTo>
                <a:cubicBezTo>
                  <a:pt x="96650" y="5217"/>
                  <a:pt x="99074" y="-938"/>
                  <a:pt x="111068" y="117"/>
                </a:cubicBezTo>
                <a:cubicBezTo>
                  <a:pt x="145406" y="3136"/>
                  <a:pt x="179777" y="5978"/>
                  <a:pt x="214190" y="7891"/>
                </a:cubicBezTo>
                <a:cubicBezTo>
                  <a:pt x="246464" y="9686"/>
                  <a:pt x="278804" y="10746"/>
                  <a:pt x="311124" y="11001"/>
                </a:cubicBezTo>
                <a:cubicBezTo>
                  <a:pt x="322834" y="11094"/>
                  <a:pt x="327597" y="13267"/>
                  <a:pt x="327310" y="26454"/>
                </a:cubicBezTo>
                <a:cubicBezTo>
                  <a:pt x="325754" y="97927"/>
                  <a:pt x="325026" y="169421"/>
                  <a:pt x="324474" y="240912"/>
                </a:cubicBezTo>
                <a:cubicBezTo>
                  <a:pt x="324411" y="249073"/>
                  <a:pt x="321499" y="252364"/>
                  <a:pt x="314032" y="253005"/>
                </a:cubicBezTo>
                <a:cubicBezTo>
                  <a:pt x="308686" y="253463"/>
                  <a:pt x="303341" y="254593"/>
                  <a:pt x="298014" y="254491"/>
                </a:cubicBezTo>
                <a:cubicBezTo>
                  <a:pt x="257142" y="253707"/>
                  <a:pt x="216187" y="254041"/>
                  <a:pt x="175432" y="251365"/>
                </a:cubicBezTo>
                <a:cubicBezTo>
                  <a:pt x="137099" y="248847"/>
                  <a:pt x="98986" y="243009"/>
                  <a:pt x="60761" y="238781"/>
                </a:cubicBezTo>
                <a:cubicBezTo>
                  <a:pt x="48745" y="237452"/>
                  <a:pt x="36657" y="236780"/>
                  <a:pt x="24636" y="235494"/>
                </a:cubicBezTo>
                <a:cubicBezTo>
                  <a:pt x="4883" y="233380"/>
                  <a:pt x="-764" y="227920"/>
                  <a:pt x="80" y="207868"/>
                </a:cubicBezTo>
                <a:cubicBezTo>
                  <a:pt x="677" y="193697"/>
                  <a:pt x="4088" y="179644"/>
                  <a:pt x="6671" y="164556"/>
                </a:cubicBezTo>
                <a:close/>
              </a:path>
            </a:pathLst>
          </a:custGeom>
          <a:solidFill>
            <a:schemeClr val="bg1"/>
          </a:solidFill>
          <a:ln w="2699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99" name="Free-form: Shape 198">
            <a:extLst>
              <a:ext uri="{FF2B5EF4-FFF2-40B4-BE49-F238E27FC236}">
                <a16:creationId xmlns:a16="http://schemas.microsoft.com/office/drawing/2014/main" id="{6921EA1D-DB04-7C0D-0629-D5FF607C8D6B}"/>
              </a:ext>
            </a:extLst>
          </p:cNvPr>
          <p:cNvSpPr/>
          <p:nvPr/>
        </p:nvSpPr>
        <p:spPr>
          <a:xfrm flipH="1">
            <a:off x="5299843" y="5742308"/>
            <a:ext cx="265587" cy="67524"/>
          </a:xfrm>
          <a:custGeom>
            <a:avLst/>
            <a:gdLst>
              <a:gd name="csX0" fmla="*/ 349104 w 349103"/>
              <a:gd name="csY0" fmla="*/ 55996 h 94319"/>
              <a:gd name="csX1" fmla="*/ 312357 w 349103"/>
              <a:gd name="csY1" fmla="*/ 93839 h 94319"/>
              <a:gd name="csX2" fmla="*/ 208388 w 349103"/>
              <a:gd name="csY2" fmla="*/ 93494 h 94319"/>
              <a:gd name="csX3" fmla="*/ 10435 w 349103"/>
              <a:gd name="csY3" fmla="*/ 66884 h 94319"/>
              <a:gd name="csX4" fmla="*/ 269 w 349103"/>
              <a:gd name="csY4" fmla="*/ 54029 h 94319"/>
              <a:gd name="csX5" fmla="*/ 9397 w 349103"/>
              <a:gd name="csY5" fmla="*/ 10950 h 94319"/>
              <a:gd name="csX6" fmla="*/ 28165 w 349103"/>
              <a:gd name="csY6" fmla="*/ 46 h 94319"/>
              <a:gd name="csX7" fmla="*/ 171895 w 349103"/>
              <a:gd name="csY7" fmla="*/ 17673 h 94319"/>
              <a:gd name="csX8" fmla="*/ 217491 w 349103"/>
              <a:gd name="csY8" fmla="*/ 20703 h 94319"/>
              <a:gd name="csX9" fmla="*/ 329287 w 349103"/>
              <a:gd name="csY9" fmla="*/ 23362 h 94319"/>
              <a:gd name="csX10" fmla="*/ 349090 w 349103"/>
              <a:gd name="csY10" fmla="*/ 42524 h 94319"/>
              <a:gd name="csX11" fmla="*/ 349104 w 349103"/>
              <a:gd name="csY11" fmla="*/ 55996 h 9431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349103" h="94319">
                <a:moveTo>
                  <a:pt x="349104" y="55996"/>
                </a:moveTo>
                <a:cubicBezTo>
                  <a:pt x="349060" y="93701"/>
                  <a:pt x="349061" y="93771"/>
                  <a:pt x="312357" y="93839"/>
                </a:cubicBezTo>
                <a:cubicBezTo>
                  <a:pt x="277697" y="93903"/>
                  <a:pt x="242977" y="95081"/>
                  <a:pt x="208388" y="93494"/>
                </a:cubicBezTo>
                <a:cubicBezTo>
                  <a:pt x="141692" y="90433"/>
                  <a:pt x="75510" y="82596"/>
                  <a:pt x="10435" y="66884"/>
                </a:cubicBezTo>
                <a:cubicBezTo>
                  <a:pt x="3157" y="65127"/>
                  <a:pt x="-1148" y="61858"/>
                  <a:pt x="269" y="54029"/>
                </a:cubicBezTo>
                <a:cubicBezTo>
                  <a:pt x="2890" y="39546"/>
                  <a:pt x="4341" y="24565"/>
                  <a:pt x="9397" y="10950"/>
                </a:cubicBezTo>
                <a:cubicBezTo>
                  <a:pt x="11408" y="5532"/>
                  <a:pt x="22101" y="-591"/>
                  <a:pt x="28165" y="46"/>
                </a:cubicBezTo>
                <a:cubicBezTo>
                  <a:pt x="76162" y="5087"/>
                  <a:pt x="123969" y="11902"/>
                  <a:pt x="171895" y="17673"/>
                </a:cubicBezTo>
                <a:cubicBezTo>
                  <a:pt x="186999" y="19491"/>
                  <a:pt x="202271" y="20235"/>
                  <a:pt x="217491" y="20703"/>
                </a:cubicBezTo>
                <a:cubicBezTo>
                  <a:pt x="254748" y="21848"/>
                  <a:pt x="292017" y="22695"/>
                  <a:pt x="329287" y="23362"/>
                </a:cubicBezTo>
                <a:cubicBezTo>
                  <a:pt x="349020" y="23715"/>
                  <a:pt x="349026" y="23431"/>
                  <a:pt x="349090" y="42524"/>
                </a:cubicBezTo>
                <a:cubicBezTo>
                  <a:pt x="349103" y="46576"/>
                  <a:pt x="349099" y="50627"/>
                  <a:pt x="349104" y="55996"/>
                </a:cubicBezTo>
                <a:close/>
              </a:path>
            </a:pathLst>
          </a:custGeom>
          <a:solidFill>
            <a:schemeClr val="bg1"/>
          </a:solidFill>
          <a:ln w="2699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0" name="Free-form: Shape 199">
            <a:extLst>
              <a:ext uri="{FF2B5EF4-FFF2-40B4-BE49-F238E27FC236}">
                <a16:creationId xmlns:a16="http://schemas.microsoft.com/office/drawing/2014/main" id="{C00B55C1-D07B-A3B7-8A74-D7C54F23A947}"/>
              </a:ext>
            </a:extLst>
          </p:cNvPr>
          <p:cNvSpPr/>
          <p:nvPr/>
        </p:nvSpPr>
        <p:spPr>
          <a:xfrm flipH="1">
            <a:off x="5215567" y="4351975"/>
            <a:ext cx="191239" cy="139371"/>
          </a:xfrm>
          <a:custGeom>
            <a:avLst/>
            <a:gdLst>
              <a:gd name="csX0" fmla="*/ 0 w 251376"/>
              <a:gd name="csY0" fmla="*/ 143557 h 194676"/>
              <a:gd name="csX1" fmla="*/ 60552 w 251376"/>
              <a:gd name="csY1" fmla="*/ 103445 h 194676"/>
              <a:gd name="csX2" fmla="*/ 106376 w 251376"/>
              <a:gd name="csY2" fmla="*/ 90701 h 194676"/>
              <a:gd name="csX3" fmla="*/ 95829 w 251376"/>
              <a:gd name="csY3" fmla="*/ 13769 h 194676"/>
              <a:gd name="csX4" fmla="*/ 152117 w 251376"/>
              <a:gd name="csY4" fmla="*/ 8010 h 194676"/>
              <a:gd name="csX5" fmla="*/ 155319 w 251376"/>
              <a:gd name="csY5" fmla="*/ 88701 h 194676"/>
              <a:gd name="csX6" fmla="*/ 251288 w 251376"/>
              <a:gd name="csY6" fmla="*/ 139911 h 194676"/>
              <a:gd name="csX7" fmla="*/ 251376 w 251376"/>
              <a:gd name="csY7" fmla="*/ 140847 h 194676"/>
              <a:gd name="csX8" fmla="*/ 226496 w 251376"/>
              <a:gd name="csY8" fmla="*/ 163548 h 194676"/>
              <a:gd name="csX9" fmla="*/ 207044 w 251376"/>
              <a:gd name="csY9" fmla="*/ 187024 h 194676"/>
              <a:gd name="csX10" fmla="*/ 170188 w 251376"/>
              <a:gd name="csY10" fmla="*/ 184842 h 194676"/>
              <a:gd name="csX11" fmla="*/ 142028 w 251376"/>
              <a:gd name="csY11" fmla="*/ 145925 h 194676"/>
              <a:gd name="csX12" fmla="*/ 109750 w 251376"/>
              <a:gd name="csY12" fmla="*/ 146361 h 194676"/>
              <a:gd name="csX13" fmla="*/ 89415 w 251376"/>
              <a:gd name="csY13" fmla="*/ 177998 h 194676"/>
              <a:gd name="csX14" fmla="*/ 40867 w 251376"/>
              <a:gd name="csY14" fmla="*/ 182615 h 194676"/>
              <a:gd name="csX15" fmla="*/ 24429 w 251376"/>
              <a:gd name="csY15" fmla="*/ 159868 h 194676"/>
              <a:gd name="csX16" fmla="*/ 1027 w 251376"/>
              <a:gd name="csY16" fmla="*/ 143506 h 194676"/>
              <a:gd name="csX17" fmla="*/ 0 w 251376"/>
              <a:gd name="csY17" fmla="*/ 143557 h 19467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</a:cxnLst>
            <a:rect l="l" t="t" r="r" b="b"/>
            <a:pathLst>
              <a:path w="251376" h="194676">
                <a:moveTo>
                  <a:pt x="0" y="143557"/>
                </a:moveTo>
                <a:cubicBezTo>
                  <a:pt x="15077" y="122513"/>
                  <a:pt x="37857" y="112614"/>
                  <a:pt x="60552" y="103445"/>
                </a:cubicBezTo>
                <a:cubicBezTo>
                  <a:pt x="75119" y="97559"/>
                  <a:pt x="90974" y="94861"/>
                  <a:pt x="106376" y="90701"/>
                </a:cubicBezTo>
                <a:cubicBezTo>
                  <a:pt x="76306" y="53327"/>
                  <a:pt x="73986" y="36115"/>
                  <a:pt x="95829" y="13769"/>
                </a:cubicBezTo>
                <a:cubicBezTo>
                  <a:pt x="111332" y="-2091"/>
                  <a:pt x="135594" y="-4573"/>
                  <a:pt x="152117" y="8010"/>
                </a:cubicBezTo>
                <a:cubicBezTo>
                  <a:pt x="176627" y="26675"/>
                  <a:pt x="177784" y="50470"/>
                  <a:pt x="155319" y="88701"/>
                </a:cubicBezTo>
                <a:cubicBezTo>
                  <a:pt x="191521" y="97669"/>
                  <a:pt x="225098" y="111398"/>
                  <a:pt x="251288" y="139911"/>
                </a:cubicBezTo>
                <a:cubicBezTo>
                  <a:pt x="251389" y="140832"/>
                  <a:pt x="251376" y="140847"/>
                  <a:pt x="251376" y="140847"/>
                </a:cubicBezTo>
                <a:cubicBezTo>
                  <a:pt x="237967" y="142841"/>
                  <a:pt x="233190" y="154057"/>
                  <a:pt x="226496" y="163548"/>
                </a:cubicBezTo>
                <a:cubicBezTo>
                  <a:pt x="220639" y="171855"/>
                  <a:pt x="214757" y="180670"/>
                  <a:pt x="207044" y="187024"/>
                </a:cubicBezTo>
                <a:cubicBezTo>
                  <a:pt x="194009" y="197760"/>
                  <a:pt x="181605" y="197350"/>
                  <a:pt x="170188" y="184842"/>
                </a:cubicBezTo>
                <a:cubicBezTo>
                  <a:pt x="159459" y="173090"/>
                  <a:pt x="151029" y="159183"/>
                  <a:pt x="142028" y="145925"/>
                </a:cubicBezTo>
                <a:cubicBezTo>
                  <a:pt x="129426" y="127363"/>
                  <a:pt x="121871" y="127341"/>
                  <a:pt x="109750" y="146361"/>
                </a:cubicBezTo>
                <a:cubicBezTo>
                  <a:pt x="103011" y="156935"/>
                  <a:pt x="96721" y="167832"/>
                  <a:pt x="89415" y="177998"/>
                </a:cubicBezTo>
                <a:cubicBezTo>
                  <a:pt x="76871" y="195453"/>
                  <a:pt x="56252" y="197624"/>
                  <a:pt x="40867" y="182615"/>
                </a:cubicBezTo>
                <a:cubicBezTo>
                  <a:pt x="34266" y="176176"/>
                  <a:pt x="29617" y="167667"/>
                  <a:pt x="24429" y="159868"/>
                </a:cubicBezTo>
                <a:cubicBezTo>
                  <a:pt x="18931" y="151605"/>
                  <a:pt x="14335" y="142406"/>
                  <a:pt x="1027" y="143506"/>
                </a:cubicBezTo>
                <a:cubicBezTo>
                  <a:pt x="-26" y="143536"/>
                  <a:pt x="0" y="143557"/>
                  <a:pt x="0" y="143557"/>
                </a:cubicBezTo>
                <a:close/>
              </a:path>
            </a:pathLst>
          </a:custGeom>
          <a:solidFill>
            <a:srgbClr val="FCFCFB"/>
          </a:solidFill>
          <a:ln w="2699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1" name="Free-form: Shape 200">
            <a:extLst>
              <a:ext uri="{FF2B5EF4-FFF2-40B4-BE49-F238E27FC236}">
                <a16:creationId xmlns:a16="http://schemas.microsoft.com/office/drawing/2014/main" id="{22DCD15E-9112-AD4A-2066-BB5BAB332492}"/>
              </a:ext>
            </a:extLst>
          </p:cNvPr>
          <p:cNvSpPr/>
          <p:nvPr/>
        </p:nvSpPr>
        <p:spPr>
          <a:xfrm flipH="1">
            <a:off x="5311921" y="4741235"/>
            <a:ext cx="86686" cy="45131"/>
          </a:xfrm>
          <a:custGeom>
            <a:avLst/>
            <a:gdLst>
              <a:gd name="csX0" fmla="*/ 62457 w 230080"/>
              <a:gd name="csY0" fmla="*/ 0 h 51402"/>
              <a:gd name="csX1" fmla="*/ 229715 w 230080"/>
              <a:gd name="csY1" fmla="*/ 2548 h 51402"/>
              <a:gd name="csX2" fmla="*/ 229033 w 230080"/>
              <a:gd name="csY2" fmla="*/ 41559 h 51402"/>
              <a:gd name="csX3" fmla="*/ 214851 w 230080"/>
              <a:gd name="csY3" fmla="*/ 50862 h 51402"/>
              <a:gd name="csX4" fmla="*/ 120527 w 230080"/>
              <a:gd name="csY4" fmla="*/ 48743 h 51402"/>
              <a:gd name="csX5" fmla="*/ 13547 w 230080"/>
              <a:gd name="csY5" fmla="*/ 51342 h 51402"/>
              <a:gd name="csX6" fmla="*/ 61 w 230080"/>
              <a:gd name="csY6" fmla="*/ 51359 h 51402"/>
              <a:gd name="csX7" fmla="*/ 4 w 230080"/>
              <a:gd name="csY7" fmla="*/ 13697 h 51402"/>
              <a:gd name="csX8" fmla="*/ 10055 w 230080"/>
              <a:gd name="csY8" fmla="*/ 2596 h 51402"/>
              <a:gd name="csX9" fmla="*/ 62457 w 230080"/>
              <a:gd name="csY9" fmla="*/ 0 h 5140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230080" h="51402">
                <a:moveTo>
                  <a:pt x="62457" y="0"/>
                </a:moveTo>
                <a:cubicBezTo>
                  <a:pt x="118516" y="838"/>
                  <a:pt x="173258" y="1679"/>
                  <a:pt x="229715" y="2548"/>
                </a:cubicBezTo>
                <a:cubicBezTo>
                  <a:pt x="229715" y="16728"/>
                  <a:pt x="230888" y="29374"/>
                  <a:pt x="229033" y="41559"/>
                </a:cubicBezTo>
                <a:cubicBezTo>
                  <a:pt x="228442" y="45440"/>
                  <a:pt x="219802" y="50868"/>
                  <a:pt x="214851" y="50862"/>
                </a:cubicBezTo>
                <a:cubicBezTo>
                  <a:pt x="183409" y="50825"/>
                  <a:pt x="151967" y="48693"/>
                  <a:pt x="120527" y="48743"/>
                </a:cubicBezTo>
                <a:cubicBezTo>
                  <a:pt x="84866" y="48800"/>
                  <a:pt x="49208" y="50434"/>
                  <a:pt x="13547" y="51342"/>
                </a:cubicBezTo>
                <a:cubicBezTo>
                  <a:pt x="8707" y="51466"/>
                  <a:pt x="3861" y="51359"/>
                  <a:pt x="61" y="51359"/>
                </a:cubicBezTo>
                <a:cubicBezTo>
                  <a:pt x="61" y="37755"/>
                  <a:pt x="210" y="25723"/>
                  <a:pt x="4" y="13697"/>
                </a:cubicBezTo>
                <a:cubicBezTo>
                  <a:pt x="-117" y="6604"/>
                  <a:pt x="2365" y="2860"/>
                  <a:pt x="10055" y="2596"/>
                </a:cubicBezTo>
                <a:cubicBezTo>
                  <a:pt x="27093" y="2012"/>
                  <a:pt x="44112" y="901"/>
                  <a:pt x="62457" y="0"/>
                </a:cubicBezTo>
                <a:close/>
              </a:path>
            </a:pathLst>
          </a:custGeom>
          <a:solidFill>
            <a:srgbClr val="FCFCFB"/>
          </a:solidFill>
          <a:ln w="2699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2" name="Free-form: Shape 201">
            <a:extLst>
              <a:ext uri="{FF2B5EF4-FFF2-40B4-BE49-F238E27FC236}">
                <a16:creationId xmlns:a16="http://schemas.microsoft.com/office/drawing/2014/main" id="{3BEB1612-FB3F-4973-064E-9C5F7DA3AE65}"/>
              </a:ext>
            </a:extLst>
          </p:cNvPr>
          <p:cNvSpPr/>
          <p:nvPr/>
        </p:nvSpPr>
        <p:spPr>
          <a:xfrm flipH="1">
            <a:off x="5310112" y="4832537"/>
            <a:ext cx="142202" cy="36415"/>
          </a:xfrm>
          <a:custGeom>
            <a:avLst/>
            <a:gdLst>
              <a:gd name="csX0" fmla="*/ 171523 w 186920"/>
              <a:gd name="csY0" fmla="*/ 2414 h 50865"/>
              <a:gd name="csX1" fmla="*/ 186375 w 186920"/>
              <a:gd name="csY1" fmla="*/ 26146 h 50865"/>
              <a:gd name="csX2" fmla="*/ 156333 w 186920"/>
              <a:gd name="csY2" fmla="*/ 50678 h 50865"/>
              <a:gd name="csX3" fmla="*/ 31413 w 186920"/>
              <a:gd name="csY3" fmla="*/ 44982 h 50865"/>
              <a:gd name="csX4" fmla="*/ 7682 w 186920"/>
              <a:gd name="csY4" fmla="*/ 36449 h 50865"/>
              <a:gd name="csX5" fmla="*/ 8802 w 186920"/>
              <a:gd name="csY5" fmla="*/ 7738 h 50865"/>
              <a:gd name="csX6" fmla="*/ 34247 w 186920"/>
              <a:gd name="csY6" fmla="*/ 115 h 50865"/>
              <a:gd name="csX7" fmla="*/ 102852 w 186920"/>
              <a:gd name="csY7" fmla="*/ 1497 h 50865"/>
              <a:gd name="csX8" fmla="*/ 171523 w 186920"/>
              <a:gd name="csY8" fmla="*/ 2414 h 5086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</a:cxnLst>
            <a:rect l="l" t="t" r="r" b="b"/>
            <a:pathLst>
              <a:path w="186920" h="50865">
                <a:moveTo>
                  <a:pt x="171523" y="2414"/>
                </a:moveTo>
                <a:cubicBezTo>
                  <a:pt x="185638" y="5545"/>
                  <a:pt x="188278" y="14444"/>
                  <a:pt x="186375" y="26146"/>
                </a:cubicBezTo>
                <a:cubicBezTo>
                  <a:pt x="182364" y="50813"/>
                  <a:pt x="182394" y="51476"/>
                  <a:pt x="156333" y="50678"/>
                </a:cubicBezTo>
                <a:cubicBezTo>
                  <a:pt x="114670" y="49402"/>
                  <a:pt x="73013" y="47552"/>
                  <a:pt x="31413" y="44982"/>
                </a:cubicBezTo>
                <a:cubicBezTo>
                  <a:pt x="23309" y="44481"/>
                  <a:pt x="14787" y="40731"/>
                  <a:pt x="7682" y="36449"/>
                </a:cubicBezTo>
                <a:cubicBezTo>
                  <a:pt x="-3069" y="29971"/>
                  <a:pt x="-2389" y="13306"/>
                  <a:pt x="8802" y="7738"/>
                </a:cubicBezTo>
                <a:cubicBezTo>
                  <a:pt x="16663" y="3827"/>
                  <a:pt x="25670" y="315"/>
                  <a:pt x="34247" y="115"/>
                </a:cubicBezTo>
                <a:cubicBezTo>
                  <a:pt x="57092" y="-420"/>
                  <a:pt x="79978" y="1064"/>
                  <a:pt x="102852" y="1497"/>
                </a:cubicBezTo>
                <a:cubicBezTo>
                  <a:pt x="125350" y="1922"/>
                  <a:pt x="147854" y="2044"/>
                  <a:pt x="171523" y="2414"/>
                </a:cubicBezTo>
                <a:close/>
              </a:path>
            </a:pathLst>
          </a:custGeom>
          <a:solidFill>
            <a:srgbClr val="FCFCFB"/>
          </a:solidFill>
          <a:ln w="2699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3" name="Free-form: Shape 202">
            <a:extLst>
              <a:ext uri="{FF2B5EF4-FFF2-40B4-BE49-F238E27FC236}">
                <a16:creationId xmlns:a16="http://schemas.microsoft.com/office/drawing/2014/main" id="{AB274211-E159-04D1-BBFD-F6F049CF924A}"/>
              </a:ext>
            </a:extLst>
          </p:cNvPr>
          <p:cNvSpPr/>
          <p:nvPr/>
        </p:nvSpPr>
        <p:spPr>
          <a:xfrm flipH="1">
            <a:off x="5311921" y="4789500"/>
            <a:ext cx="115601" cy="26906"/>
          </a:xfrm>
          <a:custGeom>
            <a:avLst/>
            <a:gdLst>
              <a:gd name="csX0" fmla="*/ 89107 w 151953"/>
              <a:gd name="csY0" fmla="*/ 252 h 37582"/>
              <a:gd name="csX1" fmla="*/ 137399 w 151953"/>
              <a:gd name="csY1" fmla="*/ 2948 h 37582"/>
              <a:gd name="csX2" fmla="*/ 151923 w 151953"/>
              <a:gd name="csY2" fmla="*/ 22533 h 37582"/>
              <a:gd name="csX3" fmla="*/ 138022 w 151953"/>
              <a:gd name="csY3" fmla="*/ 37581 h 37582"/>
              <a:gd name="csX4" fmla="*/ 61340 w 151953"/>
              <a:gd name="csY4" fmla="*/ 35549 h 37582"/>
              <a:gd name="csX5" fmla="*/ 10364 w 151953"/>
              <a:gd name="csY5" fmla="*/ 32504 h 37582"/>
              <a:gd name="csX6" fmla="*/ 3387 w 151953"/>
              <a:gd name="csY6" fmla="*/ 14529 h 37582"/>
              <a:gd name="csX7" fmla="*/ 40547 w 151953"/>
              <a:gd name="csY7" fmla="*/ 433 h 37582"/>
              <a:gd name="csX8" fmla="*/ 89107 w 151953"/>
              <a:gd name="csY8" fmla="*/ 252 h 3758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</a:cxnLst>
            <a:rect l="l" t="t" r="r" b="b"/>
            <a:pathLst>
              <a:path w="151953" h="37582">
                <a:moveTo>
                  <a:pt x="89107" y="252"/>
                </a:moveTo>
                <a:cubicBezTo>
                  <a:pt x="106080" y="1151"/>
                  <a:pt x="121739" y="2057"/>
                  <a:pt x="137399" y="2948"/>
                </a:cubicBezTo>
                <a:cubicBezTo>
                  <a:pt x="150166" y="3675"/>
                  <a:pt x="151455" y="11818"/>
                  <a:pt x="151923" y="22533"/>
                </a:cubicBezTo>
                <a:cubicBezTo>
                  <a:pt x="152405" y="33546"/>
                  <a:pt x="147123" y="37663"/>
                  <a:pt x="138022" y="37581"/>
                </a:cubicBezTo>
                <a:cubicBezTo>
                  <a:pt x="112456" y="37353"/>
                  <a:pt x="86891" y="36506"/>
                  <a:pt x="61340" y="35549"/>
                </a:cubicBezTo>
                <a:cubicBezTo>
                  <a:pt x="44330" y="34912"/>
                  <a:pt x="27290" y="34194"/>
                  <a:pt x="10364" y="32504"/>
                </a:cubicBezTo>
                <a:cubicBezTo>
                  <a:pt x="-484" y="31420"/>
                  <a:pt x="-2827" y="23494"/>
                  <a:pt x="3387" y="14529"/>
                </a:cubicBezTo>
                <a:cubicBezTo>
                  <a:pt x="12657" y="1154"/>
                  <a:pt x="26943" y="1169"/>
                  <a:pt x="40547" y="433"/>
                </a:cubicBezTo>
                <a:cubicBezTo>
                  <a:pt x="56253" y="-417"/>
                  <a:pt x="72041" y="246"/>
                  <a:pt x="89107" y="252"/>
                </a:cubicBezTo>
                <a:close/>
              </a:path>
            </a:pathLst>
          </a:custGeom>
          <a:solidFill>
            <a:srgbClr val="FCFCFB"/>
          </a:solidFill>
          <a:ln w="2699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4" name="Free-form: Shape 203">
            <a:extLst>
              <a:ext uri="{FF2B5EF4-FFF2-40B4-BE49-F238E27FC236}">
                <a16:creationId xmlns:a16="http://schemas.microsoft.com/office/drawing/2014/main" id="{7F9DD0FA-2D91-C849-BA9B-3D36E90D8F87}"/>
              </a:ext>
            </a:extLst>
          </p:cNvPr>
          <p:cNvSpPr/>
          <p:nvPr/>
        </p:nvSpPr>
        <p:spPr>
          <a:xfrm flipH="1">
            <a:off x="5310164" y="4717850"/>
            <a:ext cx="105252" cy="17381"/>
          </a:xfrm>
          <a:custGeom>
            <a:avLst/>
            <a:gdLst>
              <a:gd name="csX0" fmla="*/ 1318 w 138350"/>
              <a:gd name="csY0" fmla="*/ 5445 h 24278"/>
              <a:gd name="csX1" fmla="*/ 32185 w 138350"/>
              <a:gd name="csY1" fmla="*/ 359 h 24278"/>
              <a:gd name="csX2" fmla="*/ 127547 w 138350"/>
              <a:gd name="csY2" fmla="*/ 1 h 24278"/>
              <a:gd name="csX3" fmla="*/ 138350 w 138350"/>
              <a:gd name="csY3" fmla="*/ 11778 h 24278"/>
              <a:gd name="csX4" fmla="*/ 127229 w 138350"/>
              <a:gd name="csY4" fmla="*/ 21765 h 24278"/>
              <a:gd name="csX5" fmla="*/ 55623 w 138350"/>
              <a:gd name="csY5" fmla="*/ 21860 h 24278"/>
              <a:gd name="csX6" fmla="*/ 14025 w 138350"/>
              <a:gd name="csY6" fmla="*/ 24277 h 24278"/>
              <a:gd name="csX7" fmla="*/ 1318 w 138350"/>
              <a:gd name="csY7" fmla="*/ 5445 h 2427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</a:cxnLst>
            <a:rect l="l" t="t" r="r" b="b"/>
            <a:pathLst>
              <a:path w="138350" h="24278">
                <a:moveTo>
                  <a:pt x="1318" y="5445"/>
                </a:moveTo>
                <a:cubicBezTo>
                  <a:pt x="11943" y="3060"/>
                  <a:pt x="22043" y="540"/>
                  <a:pt x="32185" y="359"/>
                </a:cubicBezTo>
                <a:cubicBezTo>
                  <a:pt x="63964" y="-209"/>
                  <a:pt x="95760" y="221"/>
                  <a:pt x="127547" y="1"/>
                </a:cubicBezTo>
                <a:cubicBezTo>
                  <a:pt x="136004" y="-58"/>
                  <a:pt x="138385" y="4159"/>
                  <a:pt x="138350" y="11778"/>
                </a:cubicBezTo>
                <a:cubicBezTo>
                  <a:pt x="138314" y="19623"/>
                  <a:pt x="134207" y="21799"/>
                  <a:pt x="127229" y="21765"/>
                </a:cubicBezTo>
                <a:cubicBezTo>
                  <a:pt x="103360" y="21647"/>
                  <a:pt x="79485" y="21423"/>
                  <a:pt x="55623" y="21860"/>
                </a:cubicBezTo>
                <a:cubicBezTo>
                  <a:pt x="41746" y="22114"/>
                  <a:pt x="27896" y="24173"/>
                  <a:pt x="14025" y="24277"/>
                </a:cubicBezTo>
                <a:cubicBezTo>
                  <a:pt x="1111" y="24374"/>
                  <a:pt x="-2207" y="19176"/>
                  <a:pt x="1318" y="5445"/>
                </a:cubicBezTo>
                <a:close/>
              </a:path>
            </a:pathLst>
          </a:custGeom>
          <a:solidFill>
            <a:srgbClr val="FCFCFB"/>
          </a:solidFill>
          <a:ln w="2699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5" name="Free-form: Shape 204">
            <a:extLst>
              <a:ext uri="{FF2B5EF4-FFF2-40B4-BE49-F238E27FC236}">
                <a16:creationId xmlns:a16="http://schemas.microsoft.com/office/drawing/2014/main" id="{C6539B70-8DB6-FA93-642A-DCFA845BB6E8}"/>
              </a:ext>
            </a:extLst>
          </p:cNvPr>
          <p:cNvSpPr/>
          <p:nvPr/>
        </p:nvSpPr>
        <p:spPr>
          <a:xfrm flipH="1">
            <a:off x="5188562" y="4459420"/>
            <a:ext cx="21342" cy="32407"/>
          </a:xfrm>
          <a:custGeom>
            <a:avLst/>
            <a:gdLst>
              <a:gd name="csX0" fmla="*/ 10475 w 28053"/>
              <a:gd name="csY0" fmla="*/ 29183 h 45267"/>
              <a:gd name="csX1" fmla="*/ 0 w 28053"/>
              <a:gd name="csY1" fmla="*/ 1367 h 45267"/>
              <a:gd name="csX2" fmla="*/ 3154 w 28053"/>
              <a:gd name="csY2" fmla="*/ 0 h 45267"/>
              <a:gd name="csX3" fmla="*/ 28053 w 28053"/>
              <a:gd name="csY3" fmla="*/ 42345 h 45267"/>
              <a:gd name="csX4" fmla="*/ 24171 w 28053"/>
              <a:gd name="csY4" fmla="*/ 45267 h 45267"/>
              <a:gd name="csX5" fmla="*/ 10475 w 28053"/>
              <a:gd name="csY5" fmla="*/ 29183 h 4526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</a:cxnLst>
            <a:rect l="l" t="t" r="r" b="b"/>
            <a:pathLst>
              <a:path w="28053" h="45267">
                <a:moveTo>
                  <a:pt x="10475" y="29183"/>
                </a:moveTo>
                <a:cubicBezTo>
                  <a:pt x="6669" y="19319"/>
                  <a:pt x="3335" y="10343"/>
                  <a:pt x="0" y="1367"/>
                </a:cubicBezTo>
                <a:cubicBezTo>
                  <a:pt x="1051" y="911"/>
                  <a:pt x="2102" y="456"/>
                  <a:pt x="3154" y="0"/>
                </a:cubicBezTo>
                <a:cubicBezTo>
                  <a:pt x="13794" y="12787"/>
                  <a:pt x="24893" y="25314"/>
                  <a:pt x="28053" y="42345"/>
                </a:cubicBezTo>
                <a:cubicBezTo>
                  <a:pt x="26759" y="43319"/>
                  <a:pt x="25465" y="44293"/>
                  <a:pt x="24171" y="45267"/>
                </a:cubicBezTo>
                <a:cubicBezTo>
                  <a:pt x="19762" y="40202"/>
                  <a:pt x="15354" y="35136"/>
                  <a:pt x="10475" y="29183"/>
                </a:cubicBezTo>
                <a:close/>
              </a:path>
            </a:pathLst>
          </a:custGeom>
          <a:solidFill>
            <a:srgbClr val="CCD6DA"/>
          </a:solidFill>
          <a:ln w="2699" cap="flat">
            <a:solidFill>
              <a:srgbClr val="CDD9DF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6" name="Free-form: Shape 205">
            <a:extLst>
              <a:ext uri="{FF2B5EF4-FFF2-40B4-BE49-F238E27FC236}">
                <a16:creationId xmlns:a16="http://schemas.microsoft.com/office/drawing/2014/main" id="{8B9887CD-76B1-DC1E-7E81-262D27E2F429}"/>
              </a:ext>
            </a:extLst>
          </p:cNvPr>
          <p:cNvSpPr/>
          <p:nvPr/>
        </p:nvSpPr>
        <p:spPr>
          <a:xfrm flipH="1">
            <a:off x="5410058" y="4458893"/>
            <a:ext cx="22217" cy="30279"/>
          </a:xfrm>
          <a:custGeom>
            <a:avLst/>
            <a:gdLst>
              <a:gd name="csX0" fmla="*/ 10018 w 29204"/>
              <a:gd name="csY0" fmla="*/ 38080 h 42295"/>
              <a:gd name="csX1" fmla="*/ 3166 w 29204"/>
              <a:gd name="csY1" fmla="*/ 42296 h 42295"/>
              <a:gd name="csX2" fmla="*/ 0 w 29204"/>
              <a:gd name="csY2" fmla="*/ 39775 h 42295"/>
              <a:gd name="csX3" fmla="*/ 24176 w 29204"/>
              <a:gd name="csY3" fmla="*/ 0 h 42295"/>
              <a:gd name="csX4" fmla="*/ 29205 w 29204"/>
              <a:gd name="csY4" fmla="*/ 2823 h 42295"/>
              <a:gd name="csX5" fmla="*/ 10018 w 29204"/>
              <a:gd name="csY5" fmla="*/ 38080 h 4229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</a:cxnLst>
            <a:rect l="l" t="t" r="r" b="b"/>
            <a:pathLst>
              <a:path w="29204" h="42295">
                <a:moveTo>
                  <a:pt x="10018" y="38080"/>
                </a:moveTo>
                <a:cubicBezTo>
                  <a:pt x="7280" y="39942"/>
                  <a:pt x="5223" y="41119"/>
                  <a:pt x="3166" y="42296"/>
                </a:cubicBezTo>
                <a:cubicBezTo>
                  <a:pt x="2111" y="41456"/>
                  <a:pt x="1056" y="40615"/>
                  <a:pt x="0" y="39775"/>
                </a:cubicBezTo>
                <a:cubicBezTo>
                  <a:pt x="8059" y="26517"/>
                  <a:pt x="16118" y="13258"/>
                  <a:pt x="24176" y="0"/>
                </a:cubicBezTo>
                <a:cubicBezTo>
                  <a:pt x="25853" y="941"/>
                  <a:pt x="27529" y="1882"/>
                  <a:pt x="29205" y="2823"/>
                </a:cubicBezTo>
                <a:cubicBezTo>
                  <a:pt x="23036" y="14347"/>
                  <a:pt x="16867" y="25871"/>
                  <a:pt x="10018" y="38080"/>
                </a:cubicBezTo>
                <a:close/>
              </a:path>
            </a:pathLst>
          </a:custGeom>
          <a:solidFill>
            <a:srgbClr val="FCFCFB"/>
          </a:solidFill>
          <a:ln w="2699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7" name="Free-form: Shape 206">
            <a:extLst>
              <a:ext uri="{FF2B5EF4-FFF2-40B4-BE49-F238E27FC236}">
                <a16:creationId xmlns:a16="http://schemas.microsoft.com/office/drawing/2014/main" id="{D7019D5D-345C-0F13-9E59-9E5CF702DCE5}"/>
              </a:ext>
            </a:extLst>
          </p:cNvPr>
          <p:cNvSpPr/>
          <p:nvPr/>
        </p:nvSpPr>
        <p:spPr>
          <a:xfrm flipH="1">
            <a:off x="5480857" y="4488660"/>
            <a:ext cx="860" cy="949"/>
          </a:xfrm>
          <a:custGeom>
            <a:avLst/>
            <a:gdLst>
              <a:gd name="csX0" fmla="*/ 1053 w 1130"/>
              <a:gd name="csY0" fmla="*/ 1326 h 1325"/>
              <a:gd name="csX1" fmla="*/ 0 w 1130"/>
              <a:gd name="csY1" fmla="*/ 0 h 1325"/>
              <a:gd name="csX2" fmla="*/ 1033 w 1130"/>
              <a:gd name="csY2" fmla="*/ 761 h 1325"/>
              <a:gd name="csX3" fmla="*/ 1053 w 1130"/>
              <a:gd name="csY3" fmla="*/ 1326 h 132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</a:cxnLst>
            <a:rect l="l" t="t" r="r" b="b"/>
            <a:pathLst>
              <a:path w="1130" h="1325">
                <a:moveTo>
                  <a:pt x="1053" y="1326"/>
                </a:moveTo>
                <a:cubicBezTo>
                  <a:pt x="665" y="916"/>
                  <a:pt x="333" y="458"/>
                  <a:pt x="0" y="0"/>
                </a:cubicBezTo>
                <a:cubicBezTo>
                  <a:pt x="287" y="118"/>
                  <a:pt x="574" y="236"/>
                  <a:pt x="1033" y="761"/>
                </a:cubicBezTo>
                <a:cubicBezTo>
                  <a:pt x="1206" y="1168"/>
                  <a:pt x="1108" y="1277"/>
                  <a:pt x="1053" y="1326"/>
                </a:cubicBezTo>
                <a:close/>
              </a:path>
            </a:pathLst>
          </a:custGeom>
          <a:solidFill>
            <a:srgbClr val="FCFCFB"/>
          </a:solidFill>
          <a:ln w="2699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8" name="Free-form: Shape 207">
            <a:extLst>
              <a:ext uri="{FF2B5EF4-FFF2-40B4-BE49-F238E27FC236}">
                <a16:creationId xmlns:a16="http://schemas.microsoft.com/office/drawing/2014/main" id="{37E9612E-4C0A-4D4D-6DE4-066915D78481}"/>
              </a:ext>
            </a:extLst>
          </p:cNvPr>
          <p:cNvSpPr/>
          <p:nvPr/>
        </p:nvSpPr>
        <p:spPr>
          <a:xfrm flipH="1">
            <a:off x="5406831" y="4454726"/>
            <a:ext cx="332" cy="107"/>
          </a:xfrm>
          <a:custGeom>
            <a:avLst/>
            <a:gdLst>
              <a:gd name="csX0" fmla="*/ 434 w 437"/>
              <a:gd name="csY0" fmla="*/ 0 h 149"/>
              <a:gd name="csX1" fmla="*/ 46 w 437"/>
              <a:gd name="csY1" fmla="*/ 146 h 149"/>
              <a:gd name="csX2" fmla="*/ 434 w 437"/>
              <a:gd name="csY2" fmla="*/ 0 h 14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437" h="149">
                <a:moveTo>
                  <a:pt x="434" y="0"/>
                </a:moveTo>
                <a:cubicBezTo>
                  <a:pt x="157" y="78"/>
                  <a:pt x="-110" y="168"/>
                  <a:pt x="46" y="146"/>
                </a:cubicBezTo>
                <a:cubicBezTo>
                  <a:pt x="469" y="33"/>
                  <a:pt x="443" y="12"/>
                  <a:pt x="434" y="0"/>
                </a:cubicBezTo>
                <a:close/>
              </a:path>
            </a:pathLst>
          </a:custGeom>
          <a:solidFill>
            <a:srgbClr val="FCFCFB"/>
          </a:solidFill>
          <a:ln w="2699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9" name="Free-form: Shape 208">
            <a:extLst>
              <a:ext uri="{FF2B5EF4-FFF2-40B4-BE49-F238E27FC236}">
                <a16:creationId xmlns:a16="http://schemas.microsoft.com/office/drawing/2014/main" id="{24904042-2C38-3F7B-49A1-9EA71FB5CE13}"/>
              </a:ext>
            </a:extLst>
          </p:cNvPr>
          <p:cNvSpPr/>
          <p:nvPr/>
        </p:nvSpPr>
        <p:spPr>
          <a:xfrm flipH="1">
            <a:off x="5214749" y="4452794"/>
            <a:ext cx="806" cy="864"/>
          </a:xfrm>
          <a:custGeom>
            <a:avLst/>
            <a:gdLst>
              <a:gd name="csX0" fmla="*/ 4 w 1059"/>
              <a:gd name="csY0" fmla="*/ 0 h 1207"/>
              <a:gd name="csX1" fmla="*/ 1060 w 1059"/>
              <a:gd name="csY1" fmla="*/ 1208 h 1207"/>
              <a:gd name="csX2" fmla="*/ 130 w 1059"/>
              <a:gd name="csY2" fmla="*/ 422 h 1207"/>
              <a:gd name="csX3" fmla="*/ 4 w 1059"/>
              <a:gd name="csY3" fmla="*/ 0 h 120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</a:cxnLst>
            <a:rect l="l" t="t" r="r" b="b"/>
            <a:pathLst>
              <a:path w="1059" h="1207">
                <a:moveTo>
                  <a:pt x="4" y="0"/>
                </a:moveTo>
                <a:cubicBezTo>
                  <a:pt x="360" y="398"/>
                  <a:pt x="710" y="803"/>
                  <a:pt x="1060" y="1208"/>
                </a:cubicBezTo>
                <a:cubicBezTo>
                  <a:pt x="798" y="1080"/>
                  <a:pt x="537" y="952"/>
                  <a:pt x="130" y="422"/>
                </a:cubicBezTo>
                <a:cubicBezTo>
                  <a:pt x="-16" y="21"/>
                  <a:pt x="-3" y="6"/>
                  <a:pt x="4" y="0"/>
                </a:cubicBezTo>
                <a:close/>
              </a:path>
            </a:pathLst>
          </a:custGeom>
          <a:solidFill>
            <a:srgbClr val="CCD6DA"/>
          </a:solidFill>
          <a:ln w="2699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0" name="Free-form: Shape 209">
            <a:extLst>
              <a:ext uri="{FF2B5EF4-FFF2-40B4-BE49-F238E27FC236}">
                <a16:creationId xmlns:a16="http://schemas.microsoft.com/office/drawing/2014/main" id="{69ECCC62-E31F-7CCE-DDD3-2EB4248F8625}"/>
              </a:ext>
            </a:extLst>
          </p:cNvPr>
          <p:cNvSpPr/>
          <p:nvPr/>
        </p:nvSpPr>
        <p:spPr>
          <a:xfrm flipH="1">
            <a:off x="5220134" y="4741235"/>
            <a:ext cx="86686" cy="45131"/>
          </a:xfrm>
          <a:custGeom>
            <a:avLst/>
            <a:gdLst>
              <a:gd name="csX0" fmla="*/ 62457 w 230080"/>
              <a:gd name="csY0" fmla="*/ 0 h 51402"/>
              <a:gd name="csX1" fmla="*/ 229715 w 230080"/>
              <a:gd name="csY1" fmla="*/ 2548 h 51402"/>
              <a:gd name="csX2" fmla="*/ 229033 w 230080"/>
              <a:gd name="csY2" fmla="*/ 41559 h 51402"/>
              <a:gd name="csX3" fmla="*/ 214851 w 230080"/>
              <a:gd name="csY3" fmla="*/ 50862 h 51402"/>
              <a:gd name="csX4" fmla="*/ 120527 w 230080"/>
              <a:gd name="csY4" fmla="*/ 48743 h 51402"/>
              <a:gd name="csX5" fmla="*/ 13547 w 230080"/>
              <a:gd name="csY5" fmla="*/ 51342 h 51402"/>
              <a:gd name="csX6" fmla="*/ 61 w 230080"/>
              <a:gd name="csY6" fmla="*/ 51359 h 51402"/>
              <a:gd name="csX7" fmla="*/ 4 w 230080"/>
              <a:gd name="csY7" fmla="*/ 13697 h 51402"/>
              <a:gd name="csX8" fmla="*/ 10055 w 230080"/>
              <a:gd name="csY8" fmla="*/ 2596 h 51402"/>
              <a:gd name="csX9" fmla="*/ 62457 w 230080"/>
              <a:gd name="csY9" fmla="*/ 0 h 5140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230080" h="51402">
                <a:moveTo>
                  <a:pt x="62457" y="0"/>
                </a:moveTo>
                <a:cubicBezTo>
                  <a:pt x="118516" y="838"/>
                  <a:pt x="173258" y="1679"/>
                  <a:pt x="229715" y="2548"/>
                </a:cubicBezTo>
                <a:cubicBezTo>
                  <a:pt x="229715" y="16728"/>
                  <a:pt x="230888" y="29374"/>
                  <a:pt x="229033" y="41559"/>
                </a:cubicBezTo>
                <a:cubicBezTo>
                  <a:pt x="228442" y="45440"/>
                  <a:pt x="219802" y="50868"/>
                  <a:pt x="214851" y="50862"/>
                </a:cubicBezTo>
                <a:cubicBezTo>
                  <a:pt x="183409" y="50825"/>
                  <a:pt x="151967" y="48693"/>
                  <a:pt x="120527" y="48743"/>
                </a:cubicBezTo>
                <a:cubicBezTo>
                  <a:pt x="84866" y="48800"/>
                  <a:pt x="49208" y="50434"/>
                  <a:pt x="13547" y="51342"/>
                </a:cubicBezTo>
                <a:cubicBezTo>
                  <a:pt x="8707" y="51466"/>
                  <a:pt x="3861" y="51359"/>
                  <a:pt x="61" y="51359"/>
                </a:cubicBezTo>
                <a:cubicBezTo>
                  <a:pt x="61" y="37755"/>
                  <a:pt x="210" y="25723"/>
                  <a:pt x="4" y="13697"/>
                </a:cubicBezTo>
                <a:cubicBezTo>
                  <a:pt x="-117" y="6604"/>
                  <a:pt x="2365" y="2860"/>
                  <a:pt x="10055" y="2596"/>
                </a:cubicBezTo>
                <a:cubicBezTo>
                  <a:pt x="27093" y="2012"/>
                  <a:pt x="44112" y="901"/>
                  <a:pt x="62457" y="0"/>
                </a:cubicBezTo>
                <a:close/>
              </a:path>
            </a:pathLst>
          </a:custGeom>
          <a:solidFill>
            <a:srgbClr val="CCD6DA"/>
          </a:solidFill>
          <a:ln w="2699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1" name="Free-form: Shape 210">
            <a:extLst>
              <a:ext uri="{FF2B5EF4-FFF2-40B4-BE49-F238E27FC236}">
                <a16:creationId xmlns:a16="http://schemas.microsoft.com/office/drawing/2014/main" id="{19848120-07B9-8DBD-8320-2977FAB0C392}"/>
              </a:ext>
            </a:extLst>
          </p:cNvPr>
          <p:cNvSpPr/>
          <p:nvPr/>
        </p:nvSpPr>
        <p:spPr>
          <a:xfrm>
            <a:off x="5306479" y="4465793"/>
            <a:ext cx="181158" cy="248589"/>
          </a:xfrm>
          <a:custGeom>
            <a:avLst/>
            <a:gdLst>
              <a:gd name="csX0" fmla="*/ 778 w 226548"/>
              <a:gd name="csY0" fmla="*/ 0 h 337161"/>
              <a:gd name="csX1" fmla="*/ 37702 w 226548"/>
              <a:gd name="csY1" fmla="*/ 37373 h 337161"/>
              <a:gd name="csX2" fmla="*/ 104410 w 226548"/>
              <a:gd name="csY2" fmla="*/ 29446 h 337161"/>
              <a:gd name="csX3" fmla="*/ 121584 w 226548"/>
              <a:gd name="csY3" fmla="*/ 10749 h 337161"/>
              <a:gd name="csX4" fmla="*/ 168719 w 226548"/>
              <a:gd name="csY4" fmla="*/ 53353 h 337161"/>
              <a:gd name="csX5" fmla="*/ 226548 w 226548"/>
              <a:gd name="csY5" fmla="*/ 20770 h 337161"/>
              <a:gd name="csX6" fmla="*/ 195378 w 226548"/>
              <a:gd name="csY6" fmla="*/ 100783 h 337161"/>
              <a:gd name="csX7" fmla="*/ 130693 w 226548"/>
              <a:gd name="csY7" fmla="*/ 318354 h 337161"/>
              <a:gd name="csX8" fmla="*/ 108611 w 226548"/>
              <a:gd name="csY8" fmla="*/ 336726 h 337161"/>
              <a:gd name="csX9" fmla="*/ 15990 w 226548"/>
              <a:gd name="csY9" fmla="*/ 331469 h 337161"/>
              <a:gd name="csX10" fmla="*/ 0 w 226548"/>
              <a:gd name="csY10" fmla="*/ 331485 h 337161"/>
              <a:gd name="csX11" fmla="*/ 0 w 226548"/>
              <a:gd name="csY11" fmla="*/ 1107 h 33716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226548" h="337161">
                <a:moveTo>
                  <a:pt x="778" y="0"/>
                </a:moveTo>
                <a:cubicBezTo>
                  <a:pt x="13501" y="12962"/>
                  <a:pt x="25038" y="25783"/>
                  <a:pt x="37702" y="37373"/>
                </a:cubicBezTo>
                <a:cubicBezTo>
                  <a:pt x="58156" y="56093"/>
                  <a:pt x="87159" y="53087"/>
                  <a:pt x="104410" y="29446"/>
                </a:cubicBezTo>
                <a:cubicBezTo>
                  <a:pt x="109133" y="22974"/>
                  <a:pt x="115276" y="17539"/>
                  <a:pt x="121584" y="10749"/>
                </a:cubicBezTo>
                <a:cubicBezTo>
                  <a:pt x="130376" y="32859"/>
                  <a:pt x="139680" y="52822"/>
                  <a:pt x="168719" y="53353"/>
                </a:cubicBezTo>
                <a:cubicBezTo>
                  <a:pt x="194658" y="53827"/>
                  <a:pt x="206643" y="32131"/>
                  <a:pt x="226548" y="20770"/>
                </a:cubicBezTo>
                <a:cubicBezTo>
                  <a:pt x="215744" y="48562"/>
                  <a:pt x="205876" y="74800"/>
                  <a:pt x="195378" y="100783"/>
                </a:cubicBezTo>
                <a:cubicBezTo>
                  <a:pt x="166902" y="171263"/>
                  <a:pt x="147278" y="244366"/>
                  <a:pt x="130693" y="318354"/>
                </a:cubicBezTo>
                <a:cubicBezTo>
                  <a:pt x="126342" y="337768"/>
                  <a:pt x="126276" y="337983"/>
                  <a:pt x="108611" y="336726"/>
                </a:cubicBezTo>
                <a:cubicBezTo>
                  <a:pt x="77766" y="334530"/>
                  <a:pt x="46890" y="332362"/>
                  <a:pt x="15990" y="331469"/>
                </a:cubicBezTo>
                <a:lnTo>
                  <a:pt x="0" y="331485"/>
                </a:lnTo>
                <a:lnTo>
                  <a:pt x="0" y="1107"/>
                </a:lnTo>
                <a:close/>
              </a:path>
            </a:pathLst>
          </a:custGeom>
          <a:solidFill>
            <a:schemeClr val="bg1"/>
          </a:solidFill>
          <a:ln w="2699" cap="flat">
            <a:noFill/>
            <a:prstDash val="solid"/>
            <a:miter/>
          </a:ln>
        </p:spPr>
        <p:txBody>
          <a:bodyPr wrap="squar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2" name="Free-form: Shape 211">
            <a:extLst>
              <a:ext uri="{FF2B5EF4-FFF2-40B4-BE49-F238E27FC236}">
                <a16:creationId xmlns:a16="http://schemas.microsoft.com/office/drawing/2014/main" id="{58281DEE-BB4A-505D-94F2-960752ADAEBF}"/>
              </a:ext>
            </a:extLst>
          </p:cNvPr>
          <p:cNvSpPr/>
          <p:nvPr/>
        </p:nvSpPr>
        <p:spPr>
          <a:xfrm flipH="1">
            <a:off x="5215152" y="4352358"/>
            <a:ext cx="96348" cy="138988"/>
          </a:xfrm>
          <a:custGeom>
            <a:avLst/>
            <a:gdLst>
              <a:gd name="csX0" fmla="*/ 0 w 126645"/>
              <a:gd name="csY0" fmla="*/ 0 h 194142"/>
              <a:gd name="csX1" fmla="*/ 27386 w 126645"/>
              <a:gd name="csY1" fmla="*/ 7476 h 194142"/>
              <a:gd name="csX2" fmla="*/ 30588 w 126645"/>
              <a:gd name="csY2" fmla="*/ 88167 h 194142"/>
              <a:gd name="csX3" fmla="*/ 126557 w 126645"/>
              <a:gd name="csY3" fmla="*/ 139377 h 194142"/>
              <a:gd name="csX4" fmla="*/ 126645 w 126645"/>
              <a:gd name="csY4" fmla="*/ 140313 h 194142"/>
              <a:gd name="csX5" fmla="*/ 101765 w 126645"/>
              <a:gd name="csY5" fmla="*/ 163014 h 194142"/>
              <a:gd name="csX6" fmla="*/ 82313 w 126645"/>
              <a:gd name="csY6" fmla="*/ 186490 h 194142"/>
              <a:gd name="csX7" fmla="*/ 45457 w 126645"/>
              <a:gd name="csY7" fmla="*/ 184308 h 194142"/>
              <a:gd name="csX8" fmla="*/ 17297 w 126645"/>
              <a:gd name="csY8" fmla="*/ 145391 h 194142"/>
              <a:gd name="csX9" fmla="*/ 978 w 126645"/>
              <a:gd name="csY9" fmla="*/ 131516 h 194142"/>
              <a:gd name="csX10" fmla="*/ 0 w 126645"/>
              <a:gd name="csY10" fmla="*/ 132393 h 194142"/>
              <a:gd name="csX11" fmla="*/ 0 w 126645"/>
              <a:gd name="csY11" fmla="*/ 0 h 19414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126645" h="194142">
                <a:moveTo>
                  <a:pt x="0" y="0"/>
                </a:moveTo>
                <a:lnTo>
                  <a:pt x="27386" y="7476"/>
                </a:lnTo>
                <a:cubicBezTo>
                  <a:pt x="51896" y="26141"/>
                  <a:pt x="53053" y="49936"/>
                  <a:pt x="30588" y="88167"/>
                </a:cubicBezTo>
                <a:cubicBezTo>
                  <a:pt x="66790" y="97135"/>
                  <a:pt x="100367" y="110864"/>
                  <a:pt x="126557" y="139377"/>
                </a:cubicBezTo>
                <a:cubicBezTo>
                  <a:pt x="126658" y="140298"/>
                  <a:pt x="126645" y="140313"/>
                  <a:pt x="126645" y="140313"/>
                </a:cubicBezTo>
                <a:cubicBezTo>
                  <a:pt x="113236" y="142307"/>
                  <a:pt x="108459" y="153523"/>
                  <a:pt x="101765" y="163014"/>
                </a:cubicBezTo>
                <a:cubicBezTo>
                  <a:pt x="95908" y="171321"/>
                  <a:pt x="90026" y="180136"/>
                  <a:pt x="82313" y="186490"/>
                </a:cubicBezTo>
                <a:cubicBezTo>
                  <a:pt x="69278" y="197226"/>
                  <a:pt x="56874" y="196816"/>
                  <a:pt x="45457" y="184308"/>
                </a:cubicBezTo>
                <a:cubicBezTo>
                  <a:pt x="34728" y="172556"/>
                  <a:pt x="26298" y="158649"/>
                  <a:pt x="17297" y="145391"/>
                </a:cubicBezTo>
                <a:cubicBezTo>
                  <a:pt x="10996" y="136110"/>
                  <a:pt x="5957" y="131464"/>
                  <a:pt x="978" y="131516"/>
                </a:cubicBezTo>
                <a:lnTo>
                  <a:pt x="0" y="132393"/>
                </a:lnTo>
                <a:lnTo>
                  <a:pt x="0" y="0"/>
                </a:lnTo>
                <a:close/>
              </a:path>
            </a:pathLst>
          </a:custGeom>
          <a:solidFill>
            <a:srgbClr val="CCD6DA"/>
          </a:solidFill>
          <a:ln w="2699" cap="flat">
            <a:solidFill>
              <a:srgbClr val="CDD9DF"/>
            </a:solidFill>
            <a:prstDash val="solid"/>
            <a:miter/>
          </a:ln>
        </p:spPr>
        <p:txBody>
          <a:bodyPr wrap="squar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3" name="Oval 212">
            <a:extLst>
              <a:ext uri="{FF2B5EF4-FFF2-40B4-BE49-F238E27FC236}">
                <a16:creationId xmlns:a16="http://schemas.microsoft.com/office/drawing/2014/main" id="{FF154958-1879-7B49-7656-F1227634A5DC}"/>
              </a:ext>
            </a:extLst>
          </p:cNvPr>
          <p:cNvSpPr/>
          <p:nvPr/>
        </p:nvSpPr>
        <p:spPr>
          <a:xfrm>
            <a:off x="8411243" y="5769755"/>
            <a:ext cx="717698" cy="104135"/>
          </a:xfrm>
          <a:prstGeom prst="ellipse">
            <a:avLst/>
          </a:prstGeom>
          <a:solidFill>
            <a:schemeClr val="tx1">
              <a:alpha val="6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4" name="Free-form: Shape 213">
            <a:extLst>
              <a:ext uri="{FF2B5EF4-FFF2-40B4-BE49-F238E27FC236}">
                <a16:creationId xmlns:a16="http://schemas.microsoft.com/office/drawing/2014/main" id="{A0CA84C0-74CC-60C3-8E60-A40759F52BEF}"/>
              </a:ext>
            </a:extLst>
          </p:cNvPr>
          <p:cNvSpPr/>
          <p:nvPr/>
        </p:nvSpPr>
        <p:spPr>
          <a:xfrm>
            <a:off x="8506288" y="4575871"/>
            <a:ext cx="634942" cy="1266262"/>
          </a:xfrm>
          <a:custGeom>
            <a:avLst/>
            <a:gdLst>
              <a:gd name="csX0" fmla="*/ 703087 w 763849"/>
              <a:gd name="csY0" fmla="*/ 1241174 h 1523340"/>
              <a:gd name="csX1" fmla="*/ 732932 w 763849"/>
              <a:gd name="csY1" fmla="*/ 1359634 h 1523340"/>
              <a:gd name="csX2" fmla="*/ 735544 w 763849"/>
              <a:gd name="csY2" fmla="*/ 1377287 h 1523340"/>
              <a:gd name="csX3" fmla="*/ 756764 w 763849"/>
              <a:gd name="csY3" fmla="*/ 1458577 h 1523340"/>
              <a:gd name="csX4" fmla="*/ 757108 w 763849"/>
              <a:gd name="csY4" fmla="*/ 1465940 h 1523340"/>
              <a:gd name="csX5" fmla="*/ 744215 w 763849"/>
              <a:gd name="csY5" fmla="*/ 1488332 h 1523340"/>
              <a:gd name="csX6" fmla="*/ 712781 w 763849"/>
              <a:gd name="csY6" fmla="*/ 1498472 h 1523340"/>
              <a:gd name="csX7" fmla="*/ 625540 w 763849"/>
              <a:gd name="csY7" fmla="*/ 1511981 h 1523340"/>
              <a:gd name="csX8" fmla="*/ 488540 w 763849"/>
              <a:gd name="csY8" fmla="*/ 1522029 h 1523340"/>
              <a:gd name="csX9" fmla="*/ 306789 w 763849"/>
              <a:gd name="csY9" fmla="*/ 1523231 h 1523340"/>
              <a:gd name="csX10" fmla="*/ 200103 w 763849"/>
              <a:gd name="csY10" fmla="*/ 1518579 h 1523340"/>
              <a:gd name="csX11" fmla="*/ 31607 w 763849"/>
              <a:gd name="csY11" fmla="*/ 1493880 h 1523340"/>
              <a:gd name="csX12" fmla="*/ 5860 w 763849"/>
              <a:gd name="csY12" fmla="*/ 1482933 h 1523340"/>
              <a:gd name="csX13" fmla="*/ 32 w 763849"/>
              <a:gd name="csY13" fmla="*/ 1471774 h 1523340"/>
              <a:gd name="csX14" fmla="*/ 21295 w 763849"/>
              <a:gd name="csY14" fmla="*/ 1378237 h 1523340"/>
              <a:gd name="csX15" fmla="*/ 23169 w 763849"/>
              <a:gd name="csY15" fmla="*/ 1364271 h 1523340"/>
              <a:gd name="csX16" fmla="*/ 23871 w 763849"/>
              <a:gd name="csY16" fmla="*/ 1303132 h 1523340"/>
              <a:gd name="csX17" fmla="*/ 59740 w 763849"/>
              <a:gd name="csY17" fmla="*/ 1234649 h 1523340"/>
              <a:gd name="csX18" fmla="*/ 98899 w 763849"/>
              <a:gd name="csY18" fmla="*/ 1195619 h 1523340"/>
              <a:gd name="csX19" fmla="*/ 131493 w 763849"/>
              <a:gd name="csY19" fmla="*/ 1127593 h 1523340"/>
              <a:gd name="csX20" fmla="*/ 108213 w 763849"/>
              <a:gd name="csY20" fmla="*/ 1058723 h 1523340"/>
              <a:gd name="csX21" fmla="*/ 74370 w 763849"/>
              <a:gd name="csY21" fmla="*/ 1024929 h 1523340"/>
              <a:gd name="csX22" fmla="*/ 68137 w 763849"/>
              <a:gd name="csY22" fmla="*/ 987550 h 1523340"/>
              <a:gd name="csX23" fmla="*/ 86420 w 763849"/>
              <a:gd name="csY23" fmla="*/ 941991 h 1523340"/>
              <a:gd name="csX24" fmla="*/ 97082 w 763849"/>
              <a:gd name="csY24" fmla="*/ 828037 h 1523340"/>
              <a:gd name="csX25" fmla="*/ 61782 w 763849"/>
              <a:gd name="csY25" fmla="*/ 696973 h 1523340"/>
              <a:gd name="csX26" fmla="*/ 26901 w 763849"/>
              <a:gd name="csY26" fmla="*/ 547868 h 1523340"/>
              <a:gd name="csX27" fmla="*/ 20221 w 763849"/>
              <a:gd name="csY27" fmla="*/ 479529 h 1523340"/>
              <a:gd name="csX28" fmla="*/ 40808 w 763849"/>
              <a:gd name="csY28" fmla="*/ 334388 h 1523340"/>
              <a:gd name="csX29" fmla="*/ 65171 w 763849"/>
              <a:gd name="csY29" fmla="*/ 263707 h 1523340"/>
              <a:gd name="csX30" fmla="*/ 142827 w 763849"/>
              <a:gd name="csY30" fmla="*/ 171003 h 1523340"/>
              <a:gd name="csX31" fmla="*/ 172290 w 763849"/>
              <a:gd name="csY31" fmla="*/ 155872 h 1523340"/>
              <a:gd name="csX32" fmla="*/ 189008 w 763849"/>
              <a:gd name="csY32" fmla="*/ 148158 h 1523340"/>
              <a:gd name="csX33" fmla="*/ 212828 w 763849"/>
              <a:gd name="csY33" fmla="*/ 126123 h 1523340"/>
              <a:gd name="csX34" fmla="*/ 217217 w 763849"/>
              <a:gd name="csY34" fmla="*/ 118740 h 1523340"/>
              <a:gd name="csX35" fmla="*/ 253000 w 763849"/>
              <a:gd name="csY35" fmla="*/ 88998 h 1523340"/>
              <a:gd name="csX36" fmla="*/ 322085 w 763849"/>
              <a:gd name="csY36" fmla="*/ 72193 h 1523340"/>
              <a:gd name="csX37" fmla="*/ 330478 w 763849"/>
              <a:gd name="csY37" fmla="*/ 70387 h 1523340"/>
              <a:gd name="csX38" fmla="*/ 388016 w 763849"/>
              <a:gd name="csY38" fmla="*/ 35457 h 1523340"/>
              <a:gd name="csX39" fmla="*/ 421527 w 763849"/>
              <a:gd name="csY39" fmla="*/ 0 h 1523340"/>
              <a:gd name="csX40" fmla="*/ 424538 w 763849"/>
              <a:gd name="csY40" fmla="*/ 10833 h 1523340"/>
              <a:gd name="csX41" fmla="*/ 436339 w 763849"/>
              <a:gd name="csY41" fmla="*/ 121836 h 1523340"/>
              <a:gd name="csX42" fmla="*/ 449983 w 763849"/>
              <a:gd name="csY42" fmla="*/ 141450 h 1523340"/>
              <a:gd name="csX43" fmla="*/ 503299 w 763849"/>
              <a:gd name="csY43" fmla="*/ 169290 h 1523340"/>
              <a:gd name="csX44" fmla="*/ 551461 w 763849"/>
              <a:gd name="csY44" fmla="*/ 203111 h 1523340"/>
              <a:gd name="csX45" fmla="*/ 588803 w 763849"/>
              <a:gd name="csY45" fmla="*/ 252797 h 1523340"/>
              <a:gd name="csX46" fmla="*/ 634209 w 763849"/>
              <a:gd name="csY46" fmla="*/ 327081 h 1523340"/>
              <a:gd name="csX47" fmla="*/ 697923 w 763849"/>
              <a:gd name="csY47" fmla="*/ 384157 h 1523340"/>
              <a:gd name="csX48" fmla="*/ 729658 w 763849"/>
              <a:gd name="csY48" fmla="*/ 407288 h 1523340"/>
              <a:gd name="csX49" fmla="*/ 763354 w 763849"/>
              <a:gd name="csY49" fmla="*/ 471325 h 1523340"/>
              <a:gd name="csX50" fmla="*/ 757092 w 763849"/>
              <a:gd name="csY50" fmla="*/ 527116 h 1523340"/>
              <a:gd name="csX51" fmla="*/ 720673 w 763849"/>
              <a:gd name="csY51" fmla="*/ 570023 h 1523340"/>
              <a:gd name="csX52" fmla="*/ 704918 w 763849"/>
              <a:gd name="csY52" fmla="*/ 581294 h 1523340"/>
              <a:gd name="csX53" fmla="*/ 671960 w 763849"/>
              <a:gd name="csY53" fmla="*/ 595325 h 1523340"/>
              <a:gd name="csX54" fmla="*/ 633021 w 763849"/>
              <a:gd name="csY54" fmla="*/ 591397 h 1523340"/>
              <a:gd name="csX55" fmla="*/ 580696 w 763849"/>
              <a:gd name="csY55" fmla="*/ 556742 h 1523340"/>
              <a:gd name="csX56" fmla="*/ 545415 w 763849"/>
              <a:gd name="csY56" fmla="*/ 524617 h 1523340"/>
              <a:gd name="csX57" fmla="*/ 518889 w 763849"/>
              <a:gd name="csY57" fmla="*/ 516179 h 1523340"/>
              <a:gd name="csX58" fmla="*/ 472309 w 763849"/>
              <a:gd name="csY58" fmla="*/ 517812 h 1523340"/>
              <a:gd name="csX59" fmla="*/ 415953 w 763849"/>
              <a:gd name="csY59" fmla="*/ 517245 h 1523340"/>
              <a:gd name="csX60" fmla="*/ 403392 w 763849"/>
              <a:gd name="csY60" fmla="*/ 516539 h 1523340"/>
              <a:gd name="csX61" fmla="*/ 407957 w 763849"/>
              <a:gd name="csY61" fmla="*/ 542045 h 1523340"/>
              <a:gd name="csX62" fmla="*/ 434134 w 763849"/>
              <a:gd name="csY62" fmla="*/ 583349 h 1523340"/>
              <a:gd name="csX63" fmla="*/ 524267 w 763849"/>
              <a:gd name="csY63" fmla="*/ 683922 h 1523340"/>
              <a:gd name="csX64" fmla="*/ 614317 w 763849"/>
              <a:gd name="csY64" fmla="*/ 786085 h 1523340"/>
              <a:gd name="csX65" fmla="*/ 669590 w 763849"/>
              <a:gd name="csY65" fmla="*/ 921089 h 1523340"/>
              <a:gd name="csX66" fmla="*/ 647360 w 763849"/>
              <a:gd name="csY66" fmla="*/ 1057245 h 1523340"/>
              <a:gd name="csX67" fmla="*/ 627872 w 763849"/>
              <a:gd name="csY67" fmla="*/ 1102111 h 1523340"/>
              <a:gd name="csX68" fmla="*/ 642300 w 763849"/>
              <a:gd name="csY68" fmla="*/ 1175941 h 1523340"/>
              <a:gd name="csX69" fmla="*/ 668829 w 763849"/>
              <a:gd name="csY69" fmla="*/ 1206449 h 1523340"/>
              <a:gd name="csX70" fmla="*/ 703087 w 763849"/>
              <a:gd name="csY70" fmla="*/ 1241174 h 1523340"/>
              <a:gd name="csX71" fmla="*/ 648750 w 763849"/>
              <a:gd name="csY71" fmla="*/ 562343 h 1523340"/>
              <a:gd name="csX72" fmla="*/ 674049 w 763849"/>
              <a:gd name="csY72" fmla="*/ 562834 h 1523340"/>
              <a:gd name="csX73" fmla="*/ 660781 w 763849"/>
              <a:gd name="csY73" fmla="*/ 550178 h 1523340"/>
              <a:gd name="csX74" fmla="*/ 650911 w 763849"/>
              <a:gd name="csY74" fmla="*/ 534051 h 1523340"/>
              <a:gd name="csX75" fmla="*/ 660724 w 763849"/>
              <a:gd name="csY75" fmla="*/ 537605 h 1523340"/>
              <a:gd name="csX76" fmla="*/ 688133 w 763849"/>
              <a:gd name="csY76" fmla="*/ 543363 h 1523340"/>
              <a:gd name="csX77" fmla="*/ 731514 w 763849"/>
              <a:gd name="csY77" fmla="*/ 510767 h 1523340"/>
              <a:gd name="csX78" fmla="*/ 733611 w 763849"/>
              <a:gd name="csY78" fmla="*/ 466905 h 1523340"/>
              <a:gd name="csX79" fmla="*/ 708076 w 763849"/>
              <a:gd name="csY79" fmla="*/ 425975 h 1523340"/>
              <a:gd name="csX80" fmla="*/ 667538 w 763849"/>
              <a:gd name="csY80" fmla="*/ 398254 h 1523340"/>
              <a:gd name="csX81" fmla="*/ 601016 w 763849"/>
              <a:gd name="csY81" fmla="*/ 332127 h 1523340"/>
              <a:gd name="csX82" fmla="*/ 565354 w 763849"/>
              <a:gd name="csY82" fmla="*/ 270526 h 1523340"/>
              <a:gd name="csX83" fmla="*/ 490657 w 763849"/>
              <a:gd name="csY83" fmla="*/ 195121 h 1523340"/>
              <a:gd name="csX84" fmla="*/ 432834 w 763849"/>
              <a:gd name="csY84" fmla="*/ 165243 h 1523340"/>
              <a:gd name="csX85" fmla="*/ 407594 w 763849"/>
              <a:gd name="csY85" fmla="*/ 127852 h 1523340"/>
              <a:gd name="csX86" fmla="*/ 405020 w 763849"/>
              <a:gd name="csY86" fmla="*/ 69029 h 1523340"/>
              <a:gd name="csX87" fmla="*/ 403638 w 763849"/>
              <a:gd name="csY87" fmla="*/ 58130 h 1523340"/>
              <a:gd name="csX88" fmla="*/ 349776 w 763849"/>
              <a:gd name="csY88" fmla="*/ 133259 h 1523340"/>
              <a:gd name="csX89" fmla="*/ 326975 w 763849"/>
              <a:gd name="csY89" fmla="*/ 159669 h 1523340"/>
              <a:gd name="csX90" fmla="*/ 240374 w 763849"/>
              <a:gd name="csY90" fmla="*/ 221714 h 1523340"/>
              <a:gd name="csX91" fmla="*/ 171637 w 763849"/>
              <a:gd name="csY91" fmla="*/ 309087 h 1523340"/>
              <a:gd name="csX92" fmla="*/ 138048 w 763849"/>
              <a:gd name="csY92" fmla="*/ 516954 h 1523340"/>
              <a:gd name="csX93" fmla="*/ 163889 w 763849"/>
              <a:gd name="csY93" fmla="*/ 641780 h 1523340"/>
              <a:gd name="csX94" fmla="*/ 204800 w 763849"/>
              <a:gd name="csY94" fmla="*/ 787055 h 1523340"/>
              <a:gd name="csX95" fmla="*/ 218549 w 763849"/>
              <a:gd name="csY95" fmla="*/ 949545 h 1523340"/>
              <a:gd name="csX96" fmla="*/ 191487 w 763849"/>
              <a:gd name="csY96" fmla="*/ 1033064 h 1523340"/>
              <a:gd name="csX97" fmla="*/ 188729 w 763849"/>
              <a:gd name="csY97" fmla="*/ 1039835 h 1523340"/>
              <a:gd name="csX98" fmla="*/ 221417 w 763849"/>
              <a:gd name="csY98" fmla="*/ 1040799 h 1523340"/>
              <a:gd name="csX99" fmla="*/ 348895 w 763849"/>
              <a:gd name="csY99" fmla="*/ 1046759 h 1523340"/>
              <a:gd name="csX100" fmla="*/ 545369 w 763849"/>
              <a:gd name="csY100" fmla="*/ 1044456 h 1523340"/>
              <a:gd name="csX101" fmla="*/ 612424 w 763849"/>
              <a:gd name="csY101" fmla="*/ 1037365 h 1523340"/>
              <a:gd name="csX102" fmla="*/ 623169 w 763849"/>
              <a:gd name="csY102" fmla="*/ 1028873 h 1523340"/>
              <a:gd name="csX103" fmla="*/ 638508 w 763849"/>
              <a:gd name="csY103" fmla="*/ 959599 h 1523340"/>
              <a:gd name="csX104" fmla="*/ 609213 w 763849"/>
              <a:gd name="csY104" fmla="*/ 842075 h 1523340"/>
              <a:gd name="csX105" fmla="*/ 529367 w 763849"/>
              <a:gd name="csY105" fmla="*/ 735065 h 1523340"/>
              <a:gd name="csX106" fmla="*/ 403792 w 763849"/>
              <a:gd name="csY106" fmla="*/ 596993 h 1523340"/>
              <a:gd name="csX107" fmla="*/ 344708 w 763849"/>
              <a:gd name="csY107" fmla="*/ 511366 h 1523340"/>
              <a:gd name="csX108" fmla="*/ 324464 w 763849"/>
              <a:gd name="csY108" fmla="*/ 380084 h 1523340"/>
              <a:gd name="csX109" fmla="*/ 327688 w 763849"/>
              <a:gd name="csY109" fmla="*/ 373535 h 1523340"/>
              <a:gd name="csX110" fmla="*/ 330334 w 763849"/>
              <a:gd name="csY110" fmla="*/ 373641 h 1523340"/>
              <a:gd name="csX111" fmla="*/ 334272 w 763849"/>
              <a:gd name="csY111" fmla="*/ 384645 h 1523340"/>
              <a:gd name="csX112" fmla="*/ 365260 w 763849"/>
              <a:gd name="csY112" fmla="*/ 453955 h 1523340"/>
              <a:gd name="csX113" fmla="*/ 408246 w 763849"/>
              <a:gd name="csY113" fmla="*/ 483592 h 1523340"/>
              <a:gd name="csX114" fmla="*/ 464529 w 763849"/>
              <a:gd name="csY114" fmla="*/ 486187 h 1523340"/>
              <a:gd name="csX115" fmla="*/ 511119 w 763849"/>
              <a:gd name="csY115" fmla="*/ 484308 h 1523340"/>
              <a:gd name="csX116" fmla="*/ 567913 w 763849"/>
              <a:gd name="csY116" fmla="*/ 503736 h 1523340"/>
              <a:gd name="csX117" fmla="*/ 607611 w 763849"/>
              <a:gd name="csY117" fmla="*/ 540326 h 1523340"/>
              <a:gd name="csX118" fmla="*/ 648750 w 763849"/>
              <a:gd name="csY118" fmla="*/ 562343 h 1523340"/>
              <a:gd name="csX119" fmla="*/ 462594 w 763849"/>
              <a:gd name="csY119" fmla="*/ 1369008 h 1523340"/>
              <a:gd name="csX120" fmla="*/ 510357 w 763849"/>
              <a:gd name="csY120" fmla="*/ 1366345 h 1523340"/>
              <a:gd name="csX121" fmla="*/ 549434 w 763849"/>
              <a:gd name="csY121" fmla="*/ 1362956 h 1523340"/>
              <a:gd name="csX122" fmla="*/ 632369 w 763849"/>
              <a:gd name="csY122" fmla="*/ 1354439 h 1523340"/>
              <a:gd name="csX123" fmla="*/ 697252 w 763849"/>
              <a:gd name="csY123" fmla="*/ 1346424 h 1523340"/>
              <a:gd name="csX124" fmla="*/ 676674 w 763849"/>
              <a:gd name="csY124" fmla="*/ 1266396 h 1523340"/>
              <a:gd name="csX125" fmla="*/ 646594 w 763849"/>
              <a:gd name="csY125" fmla="*/ 1234108 h 1523340"/>
              <a:gd name="csX126" fmla="*/ 612063 w 763849"/>
              <a:gd name="csY126" fmla="*/ 1194382 h 1523340"/>
              <a:gd name="csX127" fmla="*/ 591616 w 763849"/>
              <a:gd name="csY127" fmla="*/ 1111541 h 1523340"/>
              <a:gd name="csX128" fmla="*/ 594320 w 763849"/>
              <a:gd name="csY128" fmla="*/ 1089609 h 1523340"/>
              <a:gd name="csX129" fmla="*/ 578634 w 763849"/>
              <a:gd name="csY129" fmla="*/ 1089642 h 1523340"/>
              <a:gd name="csX130" fmla="*/ 443931 w 763849"/>
              <a:gd name="csY130" fmla="*/ 1096700 h 1523340"/>
              <a:gd name="csX131" fmla="*/ 403417 w 763849"/>
              <a:gd name="csY131" fmla="*/ 1097156 h 1523340"/>
              <a:gd name="csX132" fmla="*/ 388348 w 763849"/>
              <a:gd name="csY132" fmla="*/ 1111502 h 1523340"/>
              <a:gd name="csX133" fmla="*/ 385048 w 763849"/>
              <a:gd name="csY133" fmla="*/ 1176431 h 1523340"/>
              <a:gd name="csX134" fmla="*/ 377687 w 763849"/>
              <a:gd name="csY134" fmla="*/ 1308672 h 1523340"/>
              <a:gd name="csX135" fmla="*/ 376823 w 763849"/>
              <a:gd name="csY135" fmla="*/ 1320897 h 1523340"/>
              <a:gd name="csX136" fmla="*/ 376781 w 763849"/>
              <a:gd name="csY136" fmla="*/ 1366151 h 1523340"/>
              <a:gd name="csX137" fmla="*/ 462594 w 763849"/>
              <a:gd name="csY137" fmla="*/ 1369008 h 1523340"/>
              <a:gd name="csX138" fmla="*/ 648494 w 763849"/>
              <a:gd name="csY138" fmla="*/ 1463981 h 1523340"/>
              <a:gd name="csX139" fmla="*/ 718746 w 763849"/>
              <a:gd name="csY139" fmla="*/ 1451892 h 1523340"/>
              <a:gd name="csX140" fmla="*/ 711827 w 763849"/>
              <a:gd name="csY140" fmla="*/ 1416835 h 1523340"/>
              <a:gd name="csX141" fmla="*/ 685812 w 763849"/>
              <a:gd name="csY141" fmla="*/ 1398502 h 1523340"/>
              <a:gd name="csX142" fmla="*/ 680924 w 763849"/>
              <a:gd name="csY142" fmla="*/ 1398973 h 1523340"/>
              <a:gd name="csX143" fmla="*/ 598278 w 763849"/>
              <a:gd name="csY143" fmla="*/ 1409218 h 1523340"/>
              <a:gd name="csX144" fmla="*/ 474765 w 763849"/>
              <a:gd name="csY144" fmla="*/ 1417945 h 1523340"/>
              <a:gd name="csX145" fmla="*/ 385143 w 763849"/>
              <a:gd name="csY145" fmla="*/ 1418978 h 1523340"/>
              <a:gd name="csX146" fmla="*/ 376639 w 763849"/>
              <a:gd name="csY146" fmla="*/ 1419613 h 1523340"/>
              <a:gd name="csX147" fmla="*/ 376639 w 763849"/>
              <a:gd name="csY147" fmla="*/ 1473939 h 1523340"/>
              <a:gd name="csX148" fmla="*/ 382089 w 763849"/>
              <a:gd name="csY148" fmla="*/ 1474854 h 1523340"/>
              <a:gd name="csX149" fmla="*/ 449536 w 763849"/>
              <a:gd name="csY149" fmla="*/ 1476855 h 1523340"/>
              <a:gd name="csX150" fmla="*/ 559930 w 763849"/>
              <a:gd name="csY150" fmla="*/ 1474307 h 1523340"/>
              <a:gd name="csX151" fmla="*/ 648494 w 763849"/>
              <a:gd name="csY151" fmla="*/ 1463981 h 152334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</a:cxnLst>
            <a:rect l="l" t="t" r="r" b="b"/>
            <a:pathLst>
              <a:path w="763849" h="1523340">
                <a:moveTo>
                  <a:pt x="703087" y="1241174"/>
                </a:moveTo>
                <a:cubicBezTo>
                  <a:pt x="732418" y="1276379"/>
                  <a:pt x="738825" y="1316526"/>
                  <a:pt x="732932" y="1359634"/>
                </a:cubicBezTo>
                <a:cubicBezTo>
                  <a:pt x="732067" y="1365959"/>
                  <a:pt x="732453" y="1371428"/>
                  <a:pt x="735544" y="1377287"/>
                </a:cubicBezTo>
                <a:cubicBezTo>
                  <a:pt x="748937" y="1402675"/>
                  <a:pt x="755318" y="1430010"/>
                  <a:pt x="756764" y="1458577"/>
                </a:cubicBezTo>
                <a:cubicBezTo>
                  <a:pt x="756887" y="1461031"/>
                  <a:pt x="756895" y="1463494"/>
                  <a:pt x="757108" y="1465940"/>
                </a:cubicBezTo>
                <a:cubicBezTo>
                  <a:pt x="758375" y="1480486"/>
                  <a:pt x="757802" y="1482498"/>
                  <a:pt x="744215" y="1488332"/>
                </a:cubicBezTo>
                <a:cubicBezTo>
                  <a:pt x="734126" y="1492664"/>
                  <a:pt x="723536" y="1496562"/>
                  <a:pt x="712781" y="1498472"/>
                </a:cubicBezTo>
                <a:cubicBezTo>
                  <a:pt x="683814" y="1503617"/>
                  <a:pt x="654674" y="1507832"/>
                  <a:pt x="625540" y="1511981"/>
                </a:cubicBezTo>
                <a:cubicBezTo>
                  <a:pt x="580114" y="1518449"/>
                  <a:pt x="534395" y="1521481"/>
                  <a:pt x="488540" y="1522029"/>
                </a:cubicBezTo>
                <a:cubicBezTo>
                  <a:pt x="427958" y="1522752"/>
                  <a:pt x="367367" y="1523658"/>
                  <a:pt x="306789" y="1523231"/>
                </a:cubicBezTo>
                <a:cubicBezTo>
                  <a:pt x="271215" y="1522980"/>
                  <a:pt x="235625" y="1520833"/>
                  <a:pt x="200103" y="1518579"/>
                </a:cubicBezTo>
                <a:cubicBezTo>
                  <a:pt x="143289" y="1514974"/>
                  <a:pt x="86915" y="1507766"/>
                  <a:pt x="31607" y="1493880"/>
                </a:cubicBezTo>
                <a:cubicBezTo>
                  <a:pt x="22666" y="1491635"/>
                  <a:pt x="14297" y="1486920"/>
                  <a:pt x="5860" y="1482933"/>
                </a:cubicBezTo>
                <a:cubicBezTo>
                  <a:pt x="1433" y="1480841"/>
                  <a:pt x="-262" y="1476934"/>
                  <a:pt x="32" y="1471774"/>
                </a:cubicBezTo>
                <a:cubicBezTo>
                  <a:pt x="1880" y="1439401"/>
                  <a:pt x="3993" y="1407192"/>
                  <a:pt x="21295" y="1378237"/>
                </a:cubicBezTo>
                <a:cubicBezTo>
                  <a:pt x="23526" y="1374504"/>
                  <a:pt x="23666" y="1368858"/>
                  <a:pt x="23169" y="1364271"/>
                </a:cubicBezTo>
                <a:cubicBezTo>
                  <a:pt x="20957" y="1343833"/>
                  <a:pt x="20482" y="1323540"/>
                  <a:pt x="23871" y="1303132"/>
                </a:cubicBezTo>
                <a:cubicBezTo>
                  <a:pt x="28332" y="1276267"/>
                  <a:pt x="41045" y="1253887"/>
                  <a:pt x="59740" y="1234649"/>
                </a:cubicBezTo>
                <a:cubicBezTo>
                  <a:pt x="72582" y="1221434"/>
                  <a:pt x="85657" y="1208434"/>
                  <a:pt x="98899" y="1195619"/>
                </a:cubicBezTo>
                <a:cubicBezTo>
                  <a:pt x="118216" y="1176926"/>
                  <a:pt x="130484" y="1154702"/>
                  <a:pt x="131493" y="1127593"/>
                </a:cubicBezTo>
                <a:cubicBezTo>
                  <a:pt x="132448" y="1101948"/>
                  <a:pt x="127125" y="1077868"/>
                  <a:pt x="108213" y="1058723"/>
                </a:cubicBezTo>
                <a:cubicBezTo>
                  <a:pt x="97010" y="1047381"/>
                  <a:pt x="85438" y="1036399"/>
                  <a:pt x="74370" y="1024929"/>
                </a:cubicBezTo>
                <a:cubicBezTo>
                  <a:pt x="63868" y="1014043"/>
                  <a:pt x="62267" y="1001475"/>
                  <a:pt x="68137" y="987550"/>
                </a:cubicBezTo>
                <a:cubicBezTo>
                  <a:pt x="74493" y="972473"/>
                  <a:pt x="80703" y="957319"/>
                  <a:pt x="86420" y="941991"/>
                </a:cubicBezTo>
                <a:cubicBezTo>
                  <a:pt x="100218" y="905001"/>
                  <a:pt x="99441" y="866690"/>
                  <a:pt x="97082" y="828037"/>
                </a:cubicBezTo>
                <a:cubicBezTo>
                  <a:pt x="94260" y="781809"/>
                  <a:pt x="76370" y="739899"/>
                  <a:pt x="61782" y="696973"/>
                </a:cubicBezTo>
                <a:cubicBezTo>
                  <a:pt x="45282" y="648419"/>
                  <a:pt x="33285" y="598770"/>
                  <a:pt x="26901" y="547868"/>
                </a:cubicBezTo>
                <a:cubicBezTo>
                  <a:pt x="24054" y="525160"/>
                  <a:pt x="21110" y="502364"/>
                  <a:pt x="20221" y="479529"/>
                </a:cubicBezTo>
                <a:cubicBezTo>
                  <a:pt x="18293" y="430013"/>
                  <a:pt x="26126" y="381610"/>
                  <a:pt x="40808" y="334388"/>
                </a:cubicBezTo>
                <a:cubicBezTo>
                  <a:pt x="48208" y="310588"/>
                  <a:pt x="55162" y="286441"/>
                  <a:pt x="65171" y="263707"/>
                </a:cubicBezTo>
                <a:cubicBezTo>
                  <a:pt x="81946" y="225606"/>
                  <a:pt x="106517" y="193071"/>
                  <a:pt x="142827" y="171003"/>
                </a:cubicBezTo>
                <a:cubicBezTo>
                  <a:pt x="152238" y="165283"/>
                  <a:pt x="162401" y="160787"/>
                  <a:pt x="172290" y="155872"/>
                </a:cubicBezTo>
                <a:cubicBezTo>
                  <a:pt x="177784" y="153142"/>
                  <a:pt x="183393" y="150635"/>
                  <a:pt x="189008" y="148158"/>
                </a:cubicBezTo>
                <a:cubicBezTo>
                  <a:pt x="199487" y="143534"/>
                  <a:pt x="207598" y="136426"/>
                  <a:pt x="212828" y="126123"/>
                </a:cubicBezTo>
                <a:cubicBezTo>
                  <a:pt x="214121" y="123575"/>
                  <a:pt x="215966" y="121304"/>
                  <a:pt x="217217" y="118740"/>
                </a:cubicBezTo>
                <a:cubicBezTo>
                  <a:pt x="224688" y="103433"/>
                  <a:pt x="237053" y="93440"/>
                  <a:pt x="253000" y="88998"/>
                </a:cubicBezTo>
                <a:cubicBezTo>
                  <a:pt x="275818" y="82642"/>
                  <a:pt x="299033" y="77711"/>
                  <a:pt x="322085" y="72193"/>
                </a:cubicBezTo>
                <a:cubicBezTo>
                  <a:pt x="324867" y="71527"/>
                  <a:pt x="327694" y="71045"/>
                  <a:pt x="330478" y="70387"/>
                </a:cubicBezTo>
                <a:cubicBezTo>
                  <a:pt x="364731" y="62297"/>
                  <a:pt x="364569" y="62151"/>
                  <a:pt x="388016" y="35457"/>
                </a:cubicBezTo>
                <a:cubicBezTo>
                  <a:pt x="398189" y="23875"/>
                  <a:pt x="409180" y="13010"/>
                  <a:pt x="421527" y="0"/>
                </a:cubicBezTo>
                <a:cubicBezTo>
                  <a:pt x="423000" y="5190"/>
                  <a:pt x="424219" y="7961"/>
                  <a:pt x="424538" y="10833"/>
                </a:cubicBezTo>
                <a:cubicBezTo>
                  <a:pt x="428638" y="47817"/>
                  <a:pt x="433030" y="84779"/>
                  <a:pt x="436339" y="121836"/>
                </a:cubicBezTo>
                <a:cubicBezTo>
                  <a:pt x="437236" y="131893"/>
                  <a:pt x="441545" y="137271"/>
                  <a:pt x="449983" y="141450"/>
                </a:cubicBezTo>
                <a:cubicBezTo>
                  <a:pt x="467954" y="150348"/>
                  <a:pt x="486187" y="158915"/>
                  <a:pt x="503299" y="169290"/>
                </a:cubicBezTo>
                <a:cubicBezTo>
                  <a:pt x="520041" y="179441"/>
                  <a:pt x="535883" y="191197"/>
                  <a:pt x="551461" y="203111"/>
                </a:cubicBezTo>
                <a:cubicBezTo>
                  <a:pt x="568416" y="216079"/>
                  <a:pt x="579195" y="234146"/>
                  <a:pt x="588803" y="252797"/>
                </a:cubicBezTo>
                <a:cubicBezTo>
                  <a:pt x="602134" y="278677"/>
                  <a:pt x="616556" y="303835"/>
                  <a:pt x="634209" y="327081"/>
                </a:cubicBezTo>
                <a:cubicBezTo>
                  <a:pt x="651797" y="350241"/>
                  <a:pt x="673980" y="368103"/>
                  <a:pt x="697923" y="384157"/>
                </a:cubicBezTo>
                <a:cubicBezTo>
                  <a:pt x="708787" y="391441"/>
                  <a:pt x="719007" y="399678"/>
                  <a:pt x="729658" y="407288"/>
                </a:cubicBezTo>
                <a:cubicBezTo>
                  <a:pt x="751657" y="423004"/>
                  <a:pt x="761259" y="445265"/>
                  <a:pt x="763354" y="471325"/>
                </a:cubicBezTo>
                <a:cubicBezTo>
                  <a:pt x="764877" y="490275"/>
                  <a:pt x="762919" y="509064"/>
                  <a:pt x="757092" y="527116"/>
                </a:cubicBezTo>
                <a:cubicBezTo>
                  <a:pt x="750932" y="546198"/>
                  <a:pt x="738296" y="560266"/>
                  <a:pt x="720673" y="570023"/>
                </a:cubicBezTo>
                <a:cubicBezTo>
                  <a:pt x="715048" y="573138"/>
                  <a:pt x="709487" y="576825"/>
                  <a:pt x="704918" y="581294"/>
                </a:cubicBezTo>
                <a:cubicBezTo>
                  <a:pt x="695625" y="590383"/>
                  <a:pt x="684728" y="595697"/>
                  <a:pt x="671960" y="595325"/>
                </a:cubicBezTo>
                <a:cubicBezTo>
                  <a:pt x="658939" y="594945"/>
                  <a:pt x="645743" y="594018"/>
                  <a:pt x="633021" y="591397"/>
                </a:cubicBezTo>
                <a:cubicBezTo>
                  <a:pt x="611233" y="586907"/>
                  <a:pt x="595034" y="572939"/>
                  <a:pt x="580696" y="556742"/>
                </a:cubicBezTo>
                <a:cubicBezTo>
                  <a:pt x="570081" y="544750"/>
                  <a:pt x="559052" y="533306"/>
                  <a:pt x="545415" y="524617"/>
                </a:cubicBezTo>
                <a:cubicBezTo>
                  <a:pt x="537261" y="519422"/>
                  <a:pt x="528551" y="515996"/>
                  <a:pt x="518889" y="516179"/>
                </a:cubicBezTo>
                <a:cubicBezTo>
                  <a:pt x="503357" y="516473"/>
                  <a:pt x="487839" y="517663"/>
                  <a:pt x="472309" y="517812"/>
                </a:cubicBezTo>
                <a:cubicBezTo>
                  <a:pt x="453527" y="517993"/>
                  <a:pt x="434738" y="517514"/>
                  <a:pt x="415953" y="517245"/>
                </a:cubicBezTo>
                <a:cubicBezTo>
                  <a:pt x="411976" y="517189"/>
                  <a:pt x="408003" y="516808"/>
                  <a:pt x="403392" y="516539"/>
                </a:cubicBezTo>
                <a:cubicBezTo>
                  <a:pt x="401207" y="526363"/>
                  <a:pt x="404857" y="534293"/>
                  <a:pt x="407957" y="542045"/>
                </a:cubicBezTo>
                <a:cubicBezTo>
                  <a:pt x="414092" y="557387"/>
                  <a:pt x="423168" y="571042"/>
                  <a:pt x="434134" y="583349"/>
                </a:cubicBezTo>
                <a:cubicBezTo>
                  <a:pt x="464083" y="616959"/>
                  <a:pt x="493980" y="650618"/>
                  <a:pt x="524267" y="683922"/>
                </a:cubicBezTo>
                <a:cubicBezTo>
                  <a:pt x="554818" y="717518"/>
                  <a:pt x="588291" y="748619"/>
                  <a:pt x="614317" y="786085"/>
                </a:cubicBezTo>
                <a:cubicBezTo>
                  <a:pt x="642656" y="826881"/>
                  <a:pt x="663974" y="871159"/>
                  <a:pt x="669590" y="921089"/>
                </a:cubicBezTo>
                <a:cubicBezTo>
                  <a:pt x="674894" y="968240"/>
                  <a:pt x="669774" y="1014226"/>
                  <a:pt x="647360" y="1057245"/>
                </a:cubicBezTo>
                <a:cubicBezTo>
                  <a:pt x="639830" y="1071697"/>
                  <a:pt x="630533" y="1085565"/>
                  <a:pt x="627872" y="1102111"/>
                </a:cubicBezTo>
                <a:cubicBezTo>
                  <a:pt x="623640" y="1128439"/>
                  <a:pt x="626183" y="1153784"/>
                  <a:pt x="642300" y="1175941"/>
                </a:cubicBezTo>
                <a:cubicBezTo>
                  <a:pt x="650201" y="1186801"/>
                  <a:pt x="659595" y="1196636"/>
                  <a:pt x="668829" y="1206449"/>
                </a:cubicBezTo>
                <a:cubicBezTo>
                  <a:pt x="679770" y="1218075"/>
                  <a:pt x="691267" y="1229177"/>
                  <a:pt x="703087" y="1241174"/>
                </a:cubicBezTo>
                <a:moveTo>
                  <a:pt x="648750" y="562343"/>
                </a:moveTo>
                <a:cubicBezTo>
                  <a:pt x="656729" y="562558"/>
                  <a:pt x="664698" y="567407"/>
                  <a:pt x="674049" y="562834"/>
                </a:cubicBezTo>
                <a:cubicBezTo>
                  <a:pt x="668990" y="558037"/>
                  <a:pt x="664729" y="554259"/>
                  <a:pt x="660781" y="550178"/>
                </a:cubicBezTo>
                <a:cubicBezTo>
                  <a:pt x="656713" y="545973"/>
                  <a:pt x="651493" y="542363"/>
                  <a:pt x="650911" y="534051"/>
                </a:cubicBezTo>
                <a:cubicBezTo>
                  <a:pt x="654940" y="535536"/>
                  <a:pt x="657753" y="536907"/>
                  <a:pt x="660724" y="537605"/>
                </a:cubicBezTo>
                <a:cubicBezTo>
                  <a:pt x="669824" y="539743"/>
                  <a:pt x="678915" y="542853"/>
                  <a:pt x="688133" y="543363"/>
                </a:cubicBezTo>
                <a:cubicBezTo>
                  <a:pt x="712019" y="544686"/>
                  <a:pt x="726964" y="534053"/>
                  <a:pt x="731514" y="510767"/>
                </a:cubicBezTo>
                <a:cubicBezTo>
                  <a:pt x="734296" y="496535"/>
                  <a:pt x="734146" y="481511"/>
                  <a:pt x="733611" y="466905"/>
                </a:cubicBezTo>
                <a:cubicBezTo>
                  <a:pt x="732951" y="448863"/>
                  <a:pt x="723348" y="435653"/>
                  <a:pt x="708076" y="425975"/>
                </a:cubicBezTo>
                <a:cubicBezTo>
                  <a:pt x="694258" y="417218"/>
                  <a:pt x="681056" y="407489"/>
                  <a:pt x="667538" y="398254"/>
                </a:cubicBezTo>
                <a:cubicBezTo>
                  <a:pt x="641278" y="380314"/>
                  <a:pt x="617580" y="359743"/>
                  <a:pt x="601016" y="332127"/>
                </a:cubicBezTo>
                <a:cubicBezTo>
                  <a:pt x="588810" y="311778"/>
                  <a:pt x="576093" y="291645"/>
                  <a:pt x="565354" y="270526"/>
                </a:cubicBezTo>
                <a:cubicBezTo>
                  <a:pt x="548401" y="237186"/>
                  <a:pt x="523821" y="212104"/>
                  <a:pt x="490657" y="195121"/>
                </a:cubicBezTo>
                <a:cubicBezTo>
                  <a:pt x="471346" y="185231"/>
                  <a:pt x="452394" y="174606"/>
                  <a:pt x="432834" y="165243"/>
                </a:cubicBezTo>
                <a:cubicBezTo>
                  <a:pt x="416725" y="157532"/>
                  <a:pt x="408325" y="145526"/>
                  <a:pt x="407594" y="127852"/>
                </a:cubicBezTo>
                <a:cubicBezTo>
                  <a:pt x="406783" y="108242"/>
                  <a:pt x="405935" y="88634"/>
                  <a:pt x="405020" y="69029"/>
                </a:cubicBezTo>
                <a:cubicBezTo>
                  <a:pt x="404882" y="66067"/>
                  <a:pt x="404287" y="63127"/>
                  <a:pt x="403638" y="58130"/>
                </a:cubicBezTo>
                <a:cubicBezTo>
                  <a:pt x="381792" y="82321"/>
                  <a:pt x="361650" y="104820"/>
                  <a:pt x="349776" y="133259"/>
                </a:cubicBezTo>
                <a:cubicBezTo>
                  <a:pt x="345032" y="144621"/>
                  <a:pt x="337822" y="153814"/>
                  <a:pt x="326975" y="159669"/>
                </a:cubicBezTo>
                <a:cubicBezTo>
                  <a:pt x="295461" y="176681"/>
                  <a:pt x="266610" y="197333"/>
                  <a:pt x="240374" y="221714"/>
                </a:cubicBezTo>
                <a:cubicBezTo>
                  <a:pt x="212881" y="247263"/>
                  <a:pt x="188313" y="275340"/>
                  <a:pt x="171637" y="309087"/>
                </a:cubicBezTo>
                <a:cubicBezTo>
                  <a:pt x="139180" y="374765"/>
                  <a:pt x="129692" y="444532"/>
                  <a:pt x="138048" y="516954"/>
                </a:cubicBezTo>
                <a:cubicBezTo>
                  <a:pt x="142936" y="559318"/>
                  <a:pt x="152518" y="600762"/>
                  <a:pt x="163889" y="641780"/>
                </a:cubicBezTo>
                <a:cubicBezTo>
                  <a:pt x="177329" y="690261"/>
                  <a:pt x="191989" y="738413"/>
                  <a:pt x="204800" y="787055"/>
                </a:cubicBezTo>
                <a:cubicBezTo>
                  <a:pt x="218820" y="840287"/>
                  <a:pt x="228587" y="894088"/>
                  <a:pt x="218549" y="949545"/>
                </a:cubicBezTo>
                <a:cubicBezTo>
                  <a:pt x="213279" y="978659"/>
                  <a:pt x="207130" y="1007359"/>
                  <a:pt x="191487" y="1033064"/>
                </a:cubicBezTo>
                <a:cubicBezTo>
                  <a:pt x="190499" y="1034686"/>
                  <a:pt x="190018" y="1036618"/>
                  <a:pt x="188729" y="1039835"/>
                </a:cubicBezTo>
                <a:cubicBezTo>
                  <a:pt x="200470" y="1040170"/>
                  <a:pt x="210952" y="1040298"/>
                  <a:pt x="221417" y="1040799"/>
                </a:cubicBezTo>
                <a:cubicBezTo>
                  <a:pt x="263912" y="1042835"/>
                  <a:pt x="306390" y="1046436"/>
                  <a:pt x="348895" y="1046759"/>
                </a:cubicBezTo>
                <a:cubicBezTo>
                  <a:pt x="414380" y="1047258"/>
                  <a:pt x="479896" y="1046092"/>
                  <a:pt x="545369" y="1044456"/>
                </a:cubicBezTo>
                <a:cubicBezTo>
                  <a:pt x="567764" y="1043897"/>
                  <a:pt x="590066" y="1039744"/>
                  <a:pt x="612424" y="1037365"/>
                </a:cubicBezTo>
                <a:cubicBezTo>
                  <a:pt x="617948" y="1036777"/>
                  <a:pt x="621342" y="1034139"/>
                  <a:pt x="623169" y="1028873"/>
                </a:cubicBezTo>
                <a:cubicBezTo>
                  <a:pt x="630975" y="1006370"/>
                  <a:pt x="637026" y="983472"/>
                  <a:pt x="638508" y="959599"/>
                </a:cubicBezTo>
                <a:cubicBezTo>
                  <a:pt x="641131" y="917363"/>
                  <a:pt x="628970" y="878727"/>
                  <a:pt x="609213" y="842075"/>
                </a:cubicBezTo>
                <a:cubicBezTo>
                  <a:pt x="587874" y="802491"/>
                  <a:pt x="559403" y="768169"/>
                  <a:pt x="529367" y="735065"/>
                </a:cubicBezTo>
                <a:cubicBezTo>
                  <a:pt x="487563" y="688992"/>
                  <a:pt x="445474" y="643176"/>
                  <a:pt x="403792" y="596993"/>
                </a:cubicBezTo>
                <a:cubicBezTo>
                  <a:pt x="380393" y="571066"/>
                  <a:pt x="360083" y="542922"/>
                  <a:pt x="344708" y="511366"/>
                </a:cubicBezTo>
                <a:cubicBezTo>
                  <a:pt x="324385" y="469655"/>
                  <a:pt x="317321" y="425966"/>
                  <a:pt x="324464" y="380084"/>
                </a:cubicBezTo>
                <a:cubicBezTo>
                  <a:pt x="324821" y="377789"/>
                  <a:pt x="326581" y="375713"/>
                  <a:pt x="327688" y="373535"/>
                </a:cubicBezTo>
                <a:cubicBezTo>
                  <a:pt x="328570" y="373570"/>
                  <a:pt x="329452" y="373606"/>
                  <a:pt x="330334" y="373641"/>
                </a:cubicBezTo>
                <a:cubicBezTo>
                  <a:pt x="331649" y="377308"/>
                  <a:pt x="333001" y="380963"/>
                  <a:pt x="334272" y="384645"/>
                </a:cubicBezTo>
                <a:cubicBezTo>
                  <a:pt x="342569" y="408660"/>
                  <a:pt x="351164" y="432573"/>
                  <a:pt x="365260" y="453955"/>
                </a:cubicBezTo>
                <a:cubicBezTo>
                  <a:pt x="375537" y="469544"/>
                  <a:pt x="388811" y="481767"/>
                  <a:pt x="408246" y="483592"/>
                </a:cubicBezTo>
                <a:cubicBezTo>
                  <a:pt x="426928" y="485346"/>
                  <a:pt x="445757" y="486037"/>
                  <a:pt x="464529" y="486187"/>
                </a:cubicBezTo>
                <a:cubicBezTo>
                  <a:pt x="480053" y="486311"/>
                  <a:pt x="495582" y="484792"/>
                  <a:pt x="511119" y="484308"/>
                </a:cubicBezTo>
                <a:cubicBezTo>
                  <a:pt x="532443" y="483644"/>
                  <a:pt x="551690" y="490014"/>
                  <a:pt x="567913" y="503736"/>
                </a:cubicBezTo>
                <a:cubicBezTo>
                  <a:pt x="581642" y="515348"/>
                  <a:pt x="594604" y="527888"/>
                  <a:pt x="607611" y="540326"/>
                </a:cubicBezTo>
                <a:cubicBezTo>
                  <a:pt x="618811" y="551038"/>
                  <a:pt x="631177" y="559300"/>
                  <a:pt x="648750" y="562343"/>
                </a:cubicBezTo>
                <a:moveTo>
                  <a:pt x="462594" y="1369008"/>
                </a:moveTo>
                <a:cubicBezTo>
                  <a:pt x="478517" y="1368137"/>
                  <a:pt x="494449" y="1367429"/>
                  <a:pt x="510357" y="1366345"/>
                </a:cubicBezTo>
                <a:cubicBezTo>
                  <a:pt x="523399" y="1365456"/>
                  <a:pt x="536424" y="1364247"/>
                  <a:pt x="549434" y="1362956"/>
                </a:cubicBezTo>
                <a:cubicBezTo>
                  <a:pt x="577089" y="1360213"/>
                  <a:pt x="604749" y="1357503"/>
                  <a:pt x="632369" y="1354439"/>
                </a:cubicBezTo>
                <a:cubicBezTo>
                  <a:pt x="653805" y="1352062"/>
                  <a:pt x="675183" y="1349170"/>
                  <a:pt x="697252" y="1346424"/>
                </a:cubicBezTo>
                <a:cubicBezTo>
                  <a:pt x="701148" y="1316348"/>
                  <a:pt x="695768" y="1289474"/>
                  <a:pt x="676674" y="1266396"/>
                </a:cubicBezTo>
                <a:cubicBezTo>
                  <a:pt x="667313" y="1255080"/>
                  <a:pt x="656878" y="1244625"/>
                  <a:pt x="646594" y="1234108"/>
                </a:cubicBezTo>
                <a:cubicBezTo>
                  <a:pt x="634298" y="1221533"/>
                  <a:pt x="621353" y="1209623"/>
                  <a:pt x="612063" y="1194382"/>
                </a:cubicBezTo>
                <a:cubicBezTo>
                  <a:pt x="596511" y="1168867"/>
                  <a:pt x="588079" y="1141707"/>
                  <a:pt x="591616" y="1111541"/>
                </a:cubicBezTo>
                <a:cubicBezTo>
                  <a:pt x="592450" y="1104432"/>
                  <a:pt x="593365" y="1097332"/>
                  <a:pt x="594320" y="1089609"/>
                </a:cubicBezTo>
                <a:cubicBezTo>
                  <a:pt x="588294" y="1089609"/>
                  <a:pt x="583452" y="1089392"/>
                  <a:pt x="578634" y="1089642"/>
                </a:cubicBezTo>
                <a:cubicBezTo>
                  <a:pt x="533732" y="1091976"/>
                  <a:pt x="488841" y="1094525"/>
                  <a:pt x="443931" y="1096700"/>
                </a:cubicBezTo>
                <a:cubicBezTo>
                  <a:pt x="430451" y="1097353"/>
                  <a:pt x="416923" y="1097005"/>
                  <a:pt x="403417" y="1097156"/>
                </a:cubicBezTo>
                <a:cubicBezTo>
                  <a:pt x="389337" y="1097313"/>
                  <a:pt x="388961" y="1097850"/>
                  <a:pt x="388348" y="1111502"/>
                </a:cubicBezTo>
                <a:cubicBezTo>
                  <a:pt x="387375" y="1133151"/>
                  <a:pt x="386231" y="1154793"/>
                  <a:pt x="385048" y="1176431"/>
                </a:cubicBezTo>
                <a:cubicBezTo>
                  <a:pt x="382637" y="1220514"/>
                  <a:pt x="380158" y="1264593"/>
                  <a:pt x="377687" y="1308672"/>
                </a:cubicBezTo>
                <a:cubicBezTo>
                  <a:pt x="377458" y="1312751"/>
                  <a:pt x="376852" y="1316821"/>
                  <a:pt x="376823" y="1320897"/>
                </a:cubicBezTo>
                <a:cubicBezTo>
                  <a:pt x="376717" y="1335880"/>
                  <a:pt x="376781" y="1350864"/>
                  <a:pt x="376781" y="1366151"/>
                </a:cubicBezTo>
                <a:cubicBezTo>
                  <a:pt x="404707" y="1370397"/>
                  <a:pt x="432477" y="1369351"/>
                  <a:pt x="462594" y="1369008"/>
                </a:cubicBezTo>
                <a:moveTo>
                  <a:pt x="648494" y="1463981"/>
                </a:moveTo>
                <a:cubicBezTo>
                  <a:pt x="671329" y="1460052"/>
                  <a:pt x="694163" y="1456122"/>
                  <a:pt x="718746" y="1451892"/>
                </a:cubicBezTo>
                <a:cubicBezTo>
                  <a:pt x="716257" y="1439067"/>
                  <a:pt x="714578" y="1427816"/>
                  <a:pt x="711827" y="1416835"/>
                </a:cubicBezTo>
                <a:cubicBezTo>
                  <a:pt x="707611" y="1400009"/>
                  <a:pt x="703502" y="1397423"/>
                  <a:pt x="685812" y="1398502"/>
                </a:cubicBezTo>
                <a:cubicBezTo>
                  <a:pt x="684179" y="1398602"/>
                  <a:pt x="682547" y="1398768"/>
                  <a:pt x="680924" y="1398973"/>
                </a:cubicBezTo>
                <a:cubicBezTo>
                  <a:pt x="653380" y="1402446"/>
                  <a:pt x="625911" y="1406752"/>
                  <a:pt x="598278" y="1409218"/>
                </a:cubicBezTo>
                <a:cubicBezTo>
                  <a:pt x="557171" y="1412886"/>
                  <a:pt x="515983" y="1415946"/>
                  <a:pt x="474765" y="1417945"/>
                </a:cubicBezTo>
                <a:cubicBezTo>
                  <a:pt x="444944" y="1419391"/>
                  <a:pt x="415021" y="1418680"/>
                  <a:pt x="385143" y="1418978"/>
                </a:cubicBezTo>
                <a:cubicBezTo>
                  <a:pt x="382419" y="1419005"/>
                  <a:pt x="379697" y="1419376"/>
                  <a:pt x="376639" y="1419613"/>
                </a:cubicBezTo>
                <a:cubicBezTo>
                  <a:pt x="376639" y="1438152"/>
                  <a:pt x="376639" y="1455909"/>
                  <a:pt x="376639" y="1473939"/>
                </a:cubicBezTo>
                <a:cubicBezTo>
                  <a:pt x="378971" y="1474343"/>
                  <a:pt x="380523" y="1474802"/>
                  <a:pt x="382089" y="1474854"/>
                </a:cubicBezTo>
                <a:cubicBezTo>
                  <a:pt x="404571" y="1475605"/>
                  <a:pt x="427058" y="1476986"/>
                  <a:pt x="449536" y="1476855"/>
                </a:cubicBezTo>
                <a:cubicBezTo>
                  <a:pt x="486344" y="1476639"/>
                  <a:pt x="523207" y="1476480"/>
                  <a:pt x="559930" y="1474307"/>
                </a:cubicBezTo>
                <a:cubicBezTo>
                  <a:pt x="588839" y="1472596"/>
                  <a:pt x="617570" y="1467884"/>
                  <a:pt x="648494" y="1463981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5" name="Free-form: Shape 214">
            <a:extLst>
              <a:ext uri="{FF2B5EF4-FFF2-40B4-BE49-F238E27FC236}">
                <a16:creationId xmlns:a16="http://schemas.microsoft.com/office/drawing/2014/main" id="{AD2FAB18-9604-2B58-5FF5-9623898EE629}"/>
              </a:ext>
            </a:extLst>
          </p:cNvPr>
          <p:cNvSpPr/>
          <p:nvPr/>
        </p:nvSpPr>
        <p:spPr>
          <a:xfrm>
            <a:off x="8618651" y="4624191"/>
            <a:ext cx="497702" cy="821885"/>
          </a:xfrm>
          <a:custGeom>
            <a:avLst/>
            <a:gdLst>
              <a:gd name="csX0" fmla="*/ 512604 w 598747"/>
              <a:gd name="csY0" fmla="*/ 503918 h 988745"/>
              <a:gd name="csX1" fmla="*/ 472435 w 598747"/>
              <a:gd name="csY1" fmla="*/ 482196 h 988745"/>
              <a:gd name="csX2" fmla="*/ 432737 w 598747"/>
              <a:gd name="csY2" fmla="*/ 445605 h 988745"/>
              <a:gd name="csX3" fmla="*/ 375943 w 598747"/>
              <a:gd name="csY3" fmla="*/ 426178 h 988745"/>
              <a:gd name="csX4" fmla="*/ 329354 w 598747"/>
              <a:gd name="csY4" fmla="*/ 428057 h 988745"/>
              <a:gd name="csX5" fmla="*/ 273070 w 598747"/>
              <a:gd name="csY5" fmla="*/ 425461 h 988745"/>
              <a:gd name="csX6" fmla="*/ 230084 w 598747"/>
              <a:gd name="csY6" fmla="*/ 395825 h 988745"/>
              <a:gd name="csX7" fmla="*/ 199097 w 598747"/>
              <a:gd name="csY7" fmla="*/ 326515 h 988745"/>
              <a:gd name="csX8" fmla="*/ 195158 w 598747"/>
              <a:gd name="csY8" fmla="*/ 315511 h 988745"/>
              <a:gd name="csX9" fmla="*/ 192512 w 598747"/>
              <a:gd name="csY9" fmla="*/ 315405 h 988745"/>
              <a:gd name="csX10" fmla="*/ 189288 w 598747"/>
              <a:gd name="csY10" fmla="*/ 321954 h 988745"/>
              <a:gd name="csX11" fmla="*/ 209532 w 598747"/>
              <a:gd name="csY11" fmla="*/ 453235 h 988745"/>
              <a:gd name="csX12" fmla="*/ 268616 w 598747"/>
              <a:gd name="csY12" fmla="*/ 538863 h 988745"/>
              <a:gd name="csX13" fmla="*/ 394191 w 598747"/>
              <a:gd name="csY13" fmla="*/ 676935 h 988745"/>
              <a:gd name="csX14" fmla="*/ 474037 w 598747"/>
              <a:gd name="csY14" fmla="*/ 783945 h 988745"/>
              <a:gd name="csX15" fmla="*/ 503332 w 598747"/>
              <a:gd name="csY15" fmla="*/ 901469 h 988745"/>
              <a:gd name="csX16" fmla="*/ 487993 w 598747"/>
              <a:gd name="csY16" fmla="*/ 970743 h 988745"/>
              <a:gd name="csX17" fmla="*/ 477248 w 598747"/>
              <a:gd name="csY17" fmla="*/ 979235 h 988745"/>
              <a:gd name="csX18" fmla="*/ 410194 w 598747"/>
              <a:gd name="csY18" fmla="*/ 986326 h 988745"/>
              <a:gd name="csX19" fmla="*/ 213720 w 598747"/>
              <a:gd name="csY19" fmla="*/ 988629 h 988745"/>
              <a:gd name="csX20" fmla="*/ 86242 w 598747"/>
              <a:gd name="csY20" fmla="*/ 982669 h 988745"/>
              <a:gd name="csX21" fmla="*/ 53553 w 598747"/>
              <a:gd name="csY21" fmla="*/ 981705 h 988745"/>
              <a:gd name="csX22" fmla="*/ 56311 w 598747"/>
              <a:gd name="csY22" fmla="*/ 974933 h 988745"/>
              <a:gd name="csX23" fmla="*/ 83373 w 598747"/>
              <a:gd name="csY23" fmla="*/ 891414 h 988745"/>
              <a:gd name="csX24" fmla="*/ 69625 w 598747"/>
              <a:gd name="csY24" fmla="*/ 728925 h 988745"/>
              <a:gd name="csX25" fmla="*/ 28713 w 598747"/>
              <a:gd name="csY25" fmla="*/ 583650 h 988745"/>
              <a:gd name="csX26" fmla="*/ 2872 w 598747"/>
              <a:gd name="csY26" fmla="*/ 458823 h 988745"/>
              <a:gd name="csX27" fmla="*/ 36461 w 598747"/>
              <a:gd name="csY27" fmla="*/ 250957 h 988745"/>
              <a:gd name="csX28" fmla="*/ 105198 w 598747"/>
              <a:gd name="csY28" fmla="*/ 163584 h 988745"/>
              <a:gd name="csX29" fmla="*/ 191800 w 598747"/>
              <a:gd name="csY29" fmla="*/ 101539 h 988745"/>
              <a:gd name="csX30" fmla="*/ 214600 w 598747"/>
              <a:gd name="csY30" fmla="*/ 75129 h 988745"/>
              <a:gd name="csX31" fmla="*/ 268462 w 598747"/>
              <a:gd name="csY31" fmla="*/ 0 h 988745"/>
              <a:gd name="csX32" fmla="*/ 269844 w 598747"/>
              <a:gd name="csY32" fmla="*/ 10898 h 988745"/>
              <a:gd name="csX33" fmla="*/ 272418 w 598747"/>
              <a:gd name="csY33" fmla="*/ 69722 h 988745"/>
              <a:gd name="csX34" fmla="*/ 297658 w 598747"/>
              <a:gd name="csY34" fmla="*/ 107113 h 988745"/>
              <a:gd name="csX35" fmla="*/ 355481 w 598747"/>
              <a:gd name="csY35" fmla="*/ 136991 h 988745"/>
              <a:gd name="csX36" fmla="*/ 430178 w 598747"/>
              <a:gd name="csY36" fmla="*/ 212396 h 988745"/>
              <a:gd name="csX37" fmla="*/ 465840 w 598747"/>
              <a:gd name="csY37" fmla="*/ 273997 h 988745"/>
              <a:gd name="csX38" fmla="*/ 532362 w 598747"/>
              <a:gd name="csY38" fmla="*/ 340124 h 988745"/>
              <a:gd name="csX39" fmla="*/ 572901 w 598747"/>
              <a:gd name="csY39" fmla="*/ 367845 h 988745"/>
              <a:gd name="csX40" fmla="*/ 598436 w 598747"/>
              <a:gd name="csY40" fmla="*/ 408775 h 988745"/>
              <a:gd name="csX41" fmla="*/ 596339 w 598747"/>
              <a:gd name="csY41" fmla="*/ 452637 h 988745"/>
              <a:gd name="csX42" fmla="*/ 552957 w 598747"/>
              <a:gd name="csY42" fmla="*/ 485233 h 988745"/>
              <a:gd name="csX43" fmla="*/ 525548 w 598747"/>
              <a:gd name="csY43" fmla="*/ 479475 h 988745"/>
              <a:gd name="csX44" fmla="*/ 515736 w 598747"/>
              <a:gd name="csY44" fmla="*/ 475921 h 988745"/>
              <a:gd name="csX45" fmla="*/ 525605 w 598747"/>
              <a:gd name="csY45" fmla="*/ 492048 h 988745"/>
              <a:gd name="csX46" fmla="*/ 538873 w 598747"/>
              <a:gd name="csY46" fmla="*/ 504704 h 988745"/>
              <a:gd name="csX47" fmla="*/ 512604 w 598747"/>
              <a:gd name="csY47" fmla="*/ 503918 h 988745"/>
              <a:gd name="csX48" fmla="*/ 332072 w 598747"/>
              <a:gd name="csY48" fmla="*/ 218143 h 988745"/>
              <a:gd name="csX49" fmla="*/ 334388 w 598747"/>
              <a:gd name="csY49" fmla="*/ 226400 h 988745"/>
              <a:gd name="csX50" fmla="*/ 372370 w 598747"/>
              <a:gd name="csY50" fmla="*/ 254505 h 988745"/>
              <a:gd name="csX51" fmla="*/ 405258 w 598747"/>
              <a:gd name="csY51" fmla="*/ 252089 h 988745"/>
              <a:gd name="csX52" fmla="*/ 409167 w 598747"/>
              <a:gd name="csY52" fmla="*/ 244359 h 988745"/>
              <a:gd name="csX53" fmla="*/ 396364 w 598747"/>
              <a:gd name="csY53" fmla="*/ 219471 h 988745"/>
              <a:gd name="csX54" fmla="*/ 365755 w 598747"/>
              <a:gd name="csY54" fmla="*/ 195821 h 988745"/>
              <a:gd name="csX55" fmla="*/ 333572 w 598747"/>
              <a:gd name="csY55" fmla="*/ 188536 h 988745"/>
              <a:gd name="csX56" fmla="*/ 322931 w 598747"/>
              <a:gd name="csY56" fmla="*/ 190843 h 988745"/>
              <a:gd name="csX57" fmla="*/ 329041 w 598747"/>
              <a:gd name="csY57" fmla="*/ 203001 h 988745"/>
              <a:gd name="csX58" fmla="*/ 332072 w 598747"/>
              <a:gd name="csY58" fmla="*/ 218143 h 98874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</a:cxnLst>
            <a:rect l="l" t="t" r="r" b="b"/>
            <a:pathLst>
              <a:path w="598747" h="988745">
                <a:moveTo>
                  <a:pt x="512604" y="503918"/>
                </a:moveTo>
                <a:cubicBezTo>
                  <a:pt x="496002" y="501170"/>
                  <a:pt x="483635" y="492907"/>
                  <a:pt x="472435" y="482196"/>
                </a:cubicBezTo>
                <a:cubicBezTo>
                  <a:pt x="459429" y="469758"/>
                  <a:pt x="446467" y="457218"/>
                  <a:pt x="432737" y="445605"/>
                </a:cubicBezTo>
                <a:cubicBezTo>
                  <a:pt x="416514" y="431883"/>
                  <a:pt x="397267" y="425513"/>
                  <a:pt x="375943" y="426178"/>
                </a:cubicBezTo>
                <a:cubicBezTo>
                  <a:pt x="360407" y="426662"/>
                  <a:pt x="344877" y="428180"/>
                  <a:pt x="329354" y="428057"/>
                </a:cubicBezTo>
                <a:cubicBezTo>
                  <a:pt x="310581" y="427907"/>
                  <a:pt x="291752" y="427215"/>
                  <a:pt x="273070" y="425461"/>
                </a:cubicBezTo>
                <a:cubicBezTo>
                  <a:pt x="253636" y="423637"/>
                  <a:pt x="240361" y="411413"/>
                  <a:pt x="230084" y="395825"/>
                </a:cubicBezTo>
                <a:cubicBezTo>
                  <a:pt x="215988" y="374443"/>
                  <a:pt x="207393" y="350530"/>
                  <a:pt x="199097" y="326515"/>
                </a:cubicBezTo>
                <a:cubicBezTo>
                  <a:pt x="197825" y="322833"/>
                  <a:pt x="196473" y="319178"/>
                  <a:pt x="195158" y="315511"/>
                </a:cubicBezTo>
                <a:cubicBezTo>
                  <a:pt x="194276" y="315475"/>
                  <a:pt x="193394" y="315440"/>
                  <a:pt x="192512" y="315405"/>
                </a:cubicBezTo>
                <a:cubicBezTo>
                  <a:pt x="191405" y="317583"/>
                  <a:pt x="189646" y="319659"/>
                  <a:pt x="189288" y="321954"/>
                </a:cubicBezTo>
                <a:cubicBezTo>
                  <a:pt x="182145" y="367836"/>
                  <a:pt x="189209" y="411525"/>
                  <a:pt x="209532" y="453235"/>
                </a:cubicBezTo>
                <a:cubicBezTo>
                  <a:pt x="224908" y="484792"/>
                  <a:pt x="245217" y="512936"/>
                  <a:pt x="268616" y="538863"/>
                </a:cubicBezTo>
                <a:cubicBezTo>
                  <a:pt x="310298" y="585046"/>
                  <a:pt x="352387" y="630861"/>
                  <a:pt x="394191" y="676935"/>
                </a:cubicBezTo>
                <a:cubicBezTo>
                  <a:pt x="424227" y="710039"/>
                  <a:pt x="452698" y="744360"/>
                  <a:pt x="474037" y="783945"/>
                </a:cubicBezTo>
                <a:cubicBezTo>
                  <a:pt x="493795" y="820596"/>
                  <a:pt x="505956" y="859233"/>
                  <a:pt x="503332" y="901469"/>
                </a:cubicBezTo>
                <a:cubicBezTo>
                  <a:pt x="501850" y="925342"/>
                  <a:pt x="495799" y="948239"/>
                  <a:pt x="487993" y="970743"/>
                </a:cubicBezTo>
                <a:cubicBezTo>
                  <a:pt x="486166" y="976009"/>
                  <a:pt x="482772" y="978647"/>
                  <a:pt x="477248" y="979235"/>
                </a:cubicBezTo>
                <a:cubicBezTo>
                  <a:pt x="454890" y="981614"/>
                  <a:pt x="432589" y="985767"/>
                  <a:pt x="410194" y="986326"/>
                </a:cubicBezTo>
                <a:cubicBezTo>
                  <a:pt x="344720" y="987961"/>
                  <a:pt x="279205" y="989128"/>
                  <a:pt x="213720" y="988629"/>
                </a:cubicBezTo>
                <a:cubicBezTo>
                  <a:pt x="171215" y="988306"/>
                  <a:pt x="128736" y="984705"/>
                  <a:pt x="86242" y="982669"/>
                </a:cubicBezTo>
                <a:cubicBezTo>
                  <a:pt x="75776" y="982167"/>
                  <a:pt x="65294" y="982040"/>
                  <a:pt x="53553" y="981705"/>
                </a:cubicBezTo>
                <a:cubicBezTo>
                  <a:pt x="54842" y="978488"/>
                  <a:pt x="55323" y="976556"/>
                  <a:pt x="56311" y="974933"/>
                </a:cubicBezTo>
                <a:cubicBezTo>
                  <a:pt x="71955" y="949229"/>
                  <a:pt x="78103" y="920529"/>
                  <a:pt x="83373" y="891414"/>
                </a:cubicBezTo>
                <a:cubicBezTo>
                  <a:pt x="93411" y="835958"/>
                  <a:pt x="83645" y="782156"/>
                  <a:pt x="69625" y="728925"/>
                </a:cubicBezTo>
                <a:cubicBezTo>
                  <a:pt x="56813" y="680283"/>
                  <a:pt x="42153" y="632130"/>
                  <a:pt x="28713" y="583650"/>
                </a:cubicBezTo>
                <a:cubicBezTo>
                  <a:pt x="17342" y="542631"/>
                  <a:pt x="7760" y="501188"/>
                  <a:pt x="2872" y="458823"/>
                </a:cubicBezTo>
                <a:cubicBezTo>
                  <a:pt x="-5484" y="386401"/>
                  <a:pt x="4005" y="316635"/>
                  <a:pt x="36461" y="250957"/>
                </a:cubicBezTo>
                <a:cubicBezTo>
                  <a:pt x="53137" y="217210"/>
                  <a:pt x="77705" y="189133"/>
                  <a:pt x="105198" y="163584"/>
                </a:cubicBezTo>
                <a:cubicBezTo>
                  <a:pt x="131434" y="139203"/>
                  <a:pt x="160285" y="118551"/>
                  <a:pt x="191800" y="101539"/>
                </a:cubicBezTo>
                <a:cubicBezTo>
                  <a:pt x="202646" y="95684"/>
                  <a:pt x="209856" y="86491"/>
                  <a:pt x="214600" y="75129"/>
                </a:cubicBezTo>
                <a:cubicBezTo>
                  <a:pt x="226474" y="46689"/>
                  <a:pt x="246616" y="24191"/>
                  <a:pt x="268462" y="0"/>
                </a:cubicBezTo>
                <a:cubicBezTo>
                  <a:pt x="269111" y="4997"/>
                  <a:pt x="269706" y="7937"/>
                  <a:pt x="269844" y="10898"/>
                </a:cubicBezTo>
                <a:cubicBezTo>
                  <a:pt x="270760" y="30504"/>
                  <a:pt x="271607" y="50112"/>
                  <a:pt x="272418" y="69722"/>
                </a:cubicBezTo>
                <a:cubicBezTo>
                  <a:pt x="273150" y="87396"/>
                  <a:pt x="281549" y="99401"/>
                  <a:pt x="297658" y="107113"/>
                </a:cubicBezTo>
                <a:cubicBezTo>
                  <a:pt x="317218" y="116476"/>
                  <a:pt x="336170" y="127101"/>
                  <a:pt x="355481" y="136991"/>
                </a:cubicBezTo>
                <a:cubicBezTo>
                  <a:pt x="388645" y="153974"/>
                  <a:pt x="413226" y="179056"/>
                  <a:pt x="430178" y="212396"/>
                </a:cubicBezTo>
                <a:cubicBezTo>
                  <a:pt x="440917" y="233515"/>
                  <a:pt x="453634" y="253647"/>
                  <a:pt x="465840" y="273997"/>
                </a:cubicBezTo>
                <a:cubicBezTo>
                  <a:pt x="482404" y="301613"/>
                  <a:pt x="506102" y="322183"/>
                  <a:pt x="532362" y="340124"/>
                </a:cubicBezTo>
                <a:cubicBezTo>
                  <a:pt x="545881" y="349359"/>
                  <a:pt x="559082" y="359088"/>
                  <a:pt x="572901" y="367845"/>
                </a:cubicBezTo>
                <a:cubicBezTo>
                  <a:pt x="588172" y="377523"/>
                  <a:pt x="597775" y="390733"/>
                  <a:pt x="598436" y="408775"/>
                </a:cubicBezTo>
                <a:cubicBezTo>
                  <a:pt x="598970" y="423381"/>
                  <a:pt x="599120" y="438404"/>
                  <a:pt x="596339" y="452637"/>
                </a:cubicBezTo>
                <a:cubicBezTo>
                  <a:pt x="591789" y="475923"/>
                  <a:pt x="576843" y="486555"/>
                  <a:pt x="552957" y="485233"/>
                </a:cubicBezTo>
                <a:cubicBezTo>
                  <a:pt x="543740" y="484722"/>
                  <a:pt x="534648" y="481613"/>
                  <a:pt x="525548" y="479475"/>
                </a:cubicBezTo>
                <a:cubicBezTo>
                  <a:pt x="522577" y="478776"/>
                  <a:pt x="519764" y="477405"/>
                  <a:pt x="515736" y="475921"/>
                </a:cubicBezTo>
                <a:cubicBezTo>
                  <a:pt x="516318" y="484233"/>
                  <a:pt x="521537" y="487842"/>
                  <a:pt x="525605" y="492048"/>
                </a:cubicBezTo>
                <a:cubicBezTo>
                  <a:pt x="529554" y="496129"/>
                  <a:pt x="533815" y="499907"/>
                  <a:pt x="538873" y="504704"/>
                </a:cubicBezTo>
                <a:cubicBezTo>
                  <a:pt x="529522" y="509277"/>
                  <a:pt x="521553" y="504428"/>
                  <a:pt x="512604" y="503918"/>
                </a:cubicBezTo>
                <a:moveTo>
                  <a:pt x="332072" y="218143"/>
                </a:moveTo>
                <a:cubicBezTo>
                  <a:pt x="332837" y="220898"/>
                  <a:pt x="333478" y="223695"/>
                  <a:pt x="334388" y="226400"/>
                </a:cubicBezTo>
                <a:cubicBezTo>
                  <a:pt x="341073" y="246268"/>
                  <a:pt x="351614" y="254460"/>
                  <a:pt x="372370" y="254505"/>
                </a:cubicBezTo>
                <a:cubicBezTo>
                  <a:pt x="383333" y="254529"/>
                  <a:pt x="394312" y="253121"/>
                  <a:pt x="405258" y="252089"/>
                </a:cubicBezTo>
                <a:cubicBezTo>
                  <a:pt x="409961" y="251646"/>
                  <a:pt x="411340" y="248568"/>
                  <a:pt x="409167" y="244359"/>
                </a:cubicBezTo>
                <a:cubicBezTo>
                  <a:pt x="404885" y="236068"/>
                  <a:pt x="400139" y="227985"/>
                  <a:pt x="396364" y="219471"/>
                </a:cubicBezTo>
                <a:cubicBezTo>
                  <a:pt x="390350" y="205908"/>
                  <a:pt x="379963" y="198663"/>
                  <a:pt x="365755" y="195821"/>
                </a:cubicBezTo>
                <a:cubicBezTo>
                  <a:pt x="354973" y="193665"/>
                  <a:pt x="344291" y="191003"/>
                  <a:pt x="333572" y="188536"/>
                </a:cubicBezTo>
                <a:cubicBezTo>
                  <a:pt x="329511" y="187602"/>
                  <a:pt x="325579" y="187007"/>
                  <a:pt x="322931" y="190843"/>
                </a:cubicBezTo>
                <a:cubicBezTo>
                  <a:pt x="325138" y="195129"/>
                  <a:pt x="327613" y="198884"/>
                  <a:pt x="329041" y="203001"/>
                </a:cubicBezTo>
                <a:cubicBezTo>
                  <a:pt x="330500" y="207204"/>
                  <a:pt x="330929" y="211764"/>
                  <a:pt x="332072" y="218143"/>
                </a:cubicBezTo>
                <a:close/>
              </a:path>
            </a:pathLst>
          </a:custGeom>
          <a:solidFill>
            <a:srgbClr val="FEFEFE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6" name="Free-form: Shape 215">
            <a:extLst>
              <a:ext uri="{FF2B5EF4-FFF2-40B4-BE49-F238E27FC236}">
                <a16:creationId xmlns:a16="http://schemas.microsoft.com/office/drawing/2014/main" id="{BD88CF42-EC95-D843-BE4D-CD9CD8091085}"/>
              </a:ext>
            </a:extLst>
          </p:cNvPr>
          <p:cNvSpPr/>
          <p:nvPr/>
        </p:nvSpPr>
        <p:spPr>
          <a:xfrm>
            <a:off x="8819468" y="5481526"/>
            <a:ext cx="267393" cy="232628"/>
          </a:xfrm>
          <a:custGeom>
            <a:avLst/>
            <a:gdLst>
              <a:gd name="csX0" fmla="*/ 84645 w 321679"/>
              <a:gd name="csY0" fmla="*/ 279507 h 279857"/>
              <a:gd name="csX1" fmla="*/ 19 w 321679"/>
              <a:gd name="csY1" fmla="*/ 276629 h 279857"/>
              <a:gd name="csX2" fmla="*/ 61 w 321679"/>
              <a:gd name="csY2" fmla="*/ 231376 h 279857"/>
              <a:gd name="csX3" fmla="*/ 925 w 321679"/>
              <a:gd name="csY3" fmla="*/ 219150 h 279857"/>
              <a:gd name="csX4" fmla="*/ 8286 w 321679"/>
              <a:gd name="csY4" fmla="*/ 86910 h 279857"/>
              <a:gd name="csX5" fmla="*/ 11586 w 321679"/>
              <a:gd name="csY5" fmla="*/ 21981 h 279857"/>
              <a:gd name="csX6" fmla="*/ 26655 w 321679"/>
              <a:gd name="csY6" fmla="*/ 7635 h 279857"/>
              <a:gd name="csX7" fmla="*/ 67169 w 321679"/>
              <a:gd name="csY7" fmla="*/ 7178 h 279857"/>
              <a:gd name="csX8" fmla="*/ 201872 w 321679"/>
              <a:gd name="csY8" fmla="*/ 121 h 279857"/>
              <a:gd name="csX9" fmla="*/ 217558 w 321679"/>
              <a:gd name="csY9" fmla="*/ 87 h 279857"/>
              <a:gd name="csX10" fmla="*/ 214854 w 321679"/>
              <a:gd name="csY10" fmla="*/ 22019 h 279857"/>
              <a:gd name="csX11" fmla="*/ 235301 w 321679"/>
              <a:gd name="csY11" fmla="*/ 104861 h 279857"/>
              <a:gd name="csX12" fmla="*/ 269832 w 321679"/>
              <a:gd name="csY12" fmla="*/ 144587 h 279857"/>
              <a:gd name="csX13" fmla="*/ 299912 w 321679"/>
              <a:gd name="csY13" fmla="*/ 176874 h 279857"/>
              <a:gd name="csX14" fmla="*/ 320491 w 321679"/>
              <a:gd name="csY14" fmla="*/ 256903 h 279857"/>
              <a:gd name="csX15" fmla="*/ 255607 w 321679"/>
              <a:gd name="csY15" fmla="*/ 264918 h 279857"/>
              <a:gd name="csX16" fmla="*/ 172672 w 321679"/>
              <a:gd name="csY16" fmla="*/ 273435 h 279857"/>
              <a:gd name="csX17" fmla="*/ 133595 w 321679"/>
              <a:gd name="csY17" fmla="*/ 276823 h 279857"/>
              <a:gd name="csX18" fmla="*/ 84645 w 321679"/>
              <a:gd name="csY18" fmla="*/ 279507 h 27985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</a:cxnLst>
            <a:rect l="l" t="t" r="r" b="b"/>
            <a:pathLst>
              <a:path w="321679" h="279857">
                <a:moveTo>
                  <a:pt x="84645" y="279507"/>
                </a:moveTo>
                <a:cubicBezTo>
                  <a:pt x="55716" y="279830"/>
                  <a:pt x="27945" y="280875"/>
                  <a:pt x="19" y="276629"/>
                </a:cubicBezTo>
                <a:cubicBezTo>
                  <a:pt x="19" y="261343"/>
                  <a:pt x="-45" y="246359"/>
                  <a:pt x="61" y="231376"/>
                </a:cubicBezTo>
                <a:cubicBezTo>
                  <a:pt x="90" y="227299"/>
                  <a:pt x="696" y="223229"/>
                  <a:pt x="925" y="219150"/>
                </a:cubicBezTo>
                <a:cubicBezTo>
                  <a:pt x="3396" y="175071"/>
                  <a:pt x="5876" y="130992"/>
                  <a:pt x="8286" y="86910"/>
                </a:cubicBezTo>
                <a:cubicBezTo>
                  <a:pt x="9469" y="65271"/>
                  <a:pt x="10613" y="43630"/>
                  <a:pt x="11586" y="21981"/>
                </a:cubicBezTo>
                <a:cubicBezTo>
                  <a:pt x="12199" y="8328"/>
                  <a:pt x="12576" y="7792"/>
                  <a:pt x="26655" y="7635"/>
                </a:cubicBezTo>
                <a:cubicBezTo>
                  <a:pt x="40161" y="7484"/>
                  <a:pt x="53689" y="7831"/>
                  <a:pt x="67169" y="7178"/>
                </a:cubicBezTo>
                <a:cubicBezTo>
                  <a:pt x="112079" y="5004"/>
                  <a:pt x="156970" y="2455"/>
                  <a:pt x="201872" y="121"/>
                </a:cubicBezTo>
                <a:cubicBezTo>
                  <a:pt x="206690" y="-130"/>
                  <a:pt x="211533" y="87"/>
                  <a:pt x="217558" y="87"/>
                </a:cubicBezTo>
                <a:cubicBezTo>
                  <a:pt x="216603" y="7811"/>
                  <a:pt x="215688" y="14910"/>
                  <a:pt x="214854" y="22019"/>
                </a:cubicBezTo>
                <a:cubicBezTo>
                  <a:pt x="211318" y="52185"/>
                  <a:pt x="219749" y="79345"/>
                  <a:pt x="235301" y="104861"/>
                </a:cubicBezTo>
                <a:cubicBezTo>
                  <a:pt x="244591" y="120102"/>
                  <a:pt x="257536" y="132012"/>
                  <a:pt x="269832" y="144587"/>
                </a:cubicBezTo>
                <a:cubicBezTo>
                  <a:pt x="280116" y="155103"/>
                  <a:pt x="290551" y="165559"/>
                  <a:pt x="299912" y="176874"/>
                </a:cubicBezTo>
                <a:cubicBezTo>
                  <a:pt x="319006" y="199953"/>
                  <a:pt x="324386" y="226827"/>
                  <a:pt x="320491" y="256903"/>
                </a:cubicBezTo>
                <a:cubicBezTo>
                  <a:pt x="298421" y="259649"/>
                  <a:pt x="277043" y="262541"/>
                  <a:pt x="255607" y="264918"/>
                </a:cubicBezTo>
                <a:cubicBezTo>
                  <a:pt x="227987" y="267981"/>
                  <a:pt x="200327" y="270692"/>
                  <a:pt x="172672" y="273435"/>
                </a:cubicBezTo>
                <a:cubicBezTo>
                  <a:pt x="159662" y="274725"/>
                  <a:pt x="146637" y="275935"/>
                  <a:pt x="133595" y="276823"/>
                </a:cubicBezTo>
                <a:cubicBezTo>
                  <a:pt x="117688" y="277907"/>
                  <a:pt x="101755" y="278616"/>
                  <a:pt x="84645" y="279507"/>
                </a:cubicBezTo>
                <a:close/>
              </a:path>
            </a:pathLst>
          </a:custGeom>
          <a:solidFill>
            <a:srgbClr val="FDFEFE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7" name="Free-form: Shape 216">
            <a:extLst>
              <a:ext uri="{FF2B5EF4-FFF2-40B4-BE49-F238E27FC236}">
                <a16:creationId xmlns:a16="http://schemas.microsoft.com/office/drawing/2014/main" id="{0D2320A1-7DC7-B002-CBAC-4327FAFE89B8}"/>
              </a:ext>
            </a:extLst>
          </p:cNvPr>
          <p:cNvSpPr/>
          <p:nvPr/>
        </p:nvSpPr>
        <p:spPr>
          <a:xfrm>
            <a:off x="8819365" y="5738187"/>
            <a:ext cx="284373" cy="65313"/>
          </a:xfrm>
          <a:custGeom>
            <a:avLst/>
            <a:gdLst>
              <a:gd name="csX0" fmla="*/ 270798 w 342106"/>
              <a:gd name="csY0" fmla="*/ 65953 h 78573"/>
              <a:gd name="csX1" fmla="*/ 183290 w 342106"/>
              <a:gd name="csY1" fmla="*/ 76017 h 78573"/>
              <a:gd name="csX2" fmla="*/ 72897 w 342106"/>
              <a:gd name="csY2" fmla="*/ 78565 h 78573"/>
              <a:gd name="csX3" fmla="*/ 5450 w 342106"/>
              <a:gd name="csY3" fmla="*/ 76564 h 78573"/>
              <a:gd name="csX4" fmla="*/ 0 w 342106"/>
              <a:gd name="csY4" fmla="*/ 75649 h 78573"/>
              <a:gd name="csX5" fmla="*/ 0 w 342106"/>
              <a:gd name="csY5" fmla="*/ 21324 h 78573"/>
              <a:gd name="csX6" fmla="*/ 8504 w 342106"/>
              <a:gd name="csY6" fmla="*/ 20688 h 78573"/>
              <a:gd name="csX7" fmla="*/ 98126 w 342106"/>
              <a:gd name="csY7" fmla="*/ 19655 h 78573"/>
              <a:gd name="csX8" fmla="*/ 221639 w 342106"/>
              <a:gd name="csY8" fmla="*/ 10929 h 78573"/>
              <a:gd name="csX9" fmla="*/ 304285 w 342106"/>
              <a:gd name="csY9" fmla="*/ 683 h 78573"/>
              <a:gd name="csX10" fmla="*/ 309173 w 342106"/>
              <a:gd name="csY10" fmla="*/ 212 h 78573"/>
              <a:gd name="csX11" fmla="*/ 335187 w 342106"/>
              <a:gd name="csY11" fmla="*/ 18545 h 78573"/>
              <a:gd name="csX12" fmla="*/ 342106 w 342106"/>
              <a:gd name="csY12" fmla="*/ 53602 h 78573"/>
              <a:gd name="csX13" fmla="*/ 270798 w 342106"/>
              <a:gd name="csY13" fmla="*/ 65953 h 7857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</a:cxnLst>
            <a:rect l="l" t="t" r="r" b="b"/>
            <a:pathLst>
              <a:path w="342106" h="78573">
                <a:moveTo>
                  <a:pt x="270798" y="65953"/>
                </a:moveTo>
                <a:cubicBezTo>
                  <a:pt x="240931" y="69594"/>
                  <a:pt x="212199" y="74306"/>
                  <a:pt x="183290" y="76017"/>
                </a:cubicBezTo>
                <a:cubicBezTo>
                  <a:pt x="146568" y="78191"/>
                  <a:pt x="109704" y="78349"/>
                  <a:pt x="72897" y="78565"/>
                </a:cubicBezTo>
                <a:cubicBezTo>
                  <a:pt x="50419" y="78697"/>
                  <a:pt x="27931" y="77315"/>
                  <a:pt x="5450" y="76564"/>
                </a:cubicBezTo>
                <a:cubicBezTo>
                  <a:pt x="3884" y="76512"/>
                  <a:pt x="2332" y="76053"/>
                  <a:pt x="0" y="75649"/>
                </a:cubicBezTo>
                <a:cubicBezTo>
                  <a:pt x="0" y="57619"/>
                  <a:pt x="0" y="39863"/>
                  <a:pt x="0" y="21324"/>
                </a:cubicBezTo>
                <a:cubicBezTo>
                  <a:pt x="3058" y="21086"/>
                  <a:pt x="5779" y="20715"/>
                  <a:pt x="8504" y="20688"/>
                </a:cubicBezTo>
                <a:cubicBezTo>
                  <a:pt x="38382" y="20390"/>
                  <a:pt x="68305" y="21101"/>
                  <a:pt x="98126" y="19655"/>
                </a:cubicBezTo>
                <a:cubicBezTo>
                  <a:pt x="139343" y="17657"/>
                  <a:pt x="180532" y="14597"/>
                  <a:pt x="221639" y="10929"/>
                </a:cubicBezTo>
                <a:cubicBezTo>
                  <a:pt x="249272" y="8463"/>
                  <a:pt x="276741" y="4156"/>
                  <a:pt x="304285" y="683"/>
                </a:cubicBezTo>
                <a:cubicBezTo>
                  <a:pt x="305908" y="478"/>
                  <a:pt x="307539" y="312"/>
                  <a:pt x="309173" y="212"/>
                </a:cubicBezTo>
                <a:cubicBezTo>
                  <a:pt x="326863" y="-867"/>
                  <a:pt x="330972" y="1719"/>
                  <a:pt x="335187" y="18545"/>
                </a:cubicBezTo>
                <a:cubicBezTo>
                  <a:pt x="337939" y="29526"/>
                  <a:pt x="339618" y="40777"/>
                  <a:pt x="342106" y="53602"/>
                </a:cubicBezTo>
                <a:cubicBezTo>
                  <a:pt x="317523" y="57833"/>
                  <a:pt x="294689" y="61762"/>
                  <a:pt x="270798" y="65953"/>
                </a:cubicBezTo>
                <a:close/>
              </a:path>
            </a:pathLst>
          </a:custGeom>
          <a:solidFill>
            <a:srgbClr val="FCFCFC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8" name="Free-form: Shape 217">
            <a:extLst>
              <a:ext uri="{FF2B5EF4-FFF2-40B4-BE49-F238E27FC236}">
                <a16:creationId xmlns:a16="http://schemas.microsoft.com/office/drawing/2014/main" id="{521CE6C6-8A49-011A-D858-E972033B0EA8}"/>
              </a:ext>
            </a:extLst>
          </p:cNvPr>
          <p:cNvSpPr/>
          <p:nvPr/>
        </p:nvSpPr>
        <p:spPr>
          <a:xfrm>
            <a:off x="8887084" y="4780331"/>
            <a:ext cx="72517" cy="55415"/>
          </a:xfrm>
          <a:custGeom>
            <a:avLst/>
            <a:gdLst>
              <a:gd name="csX0" fmla="*/ 9010 w 87239"/>
              <a:gd name="csY0" fmla="*/ 29316 h 66665"/>
              <a:gd name="csX1" fmla="*/ 6110 w 87239"/>
              <a:gd name="csY1" fmla="*/ 15162 h 66665"/>
              <a:gd name="csX2" fmla="*/ 0 w 87239"/>
              <a:gd name="csY2" fmla="*/ 3003 h 66665"/>
              <a:gd name="csX3" fmla="*/ 10641 w 87239"/>
              <a:gd name="csY3" fmla="*/ 697 h 66665"/>
              <a:gd name="csX4" fmla="*/ 42824 w 87239"/>
              <a:gd name="csY4" fmla="*/ 7981 h 66665"/>
              <a:gd name="csX5" fmla="*/ 73433 w 87239"/>
              <a:gd name="csY5" fmla="*/ 31631 h 66665"/>
              <a:gd name="csX6" fmla="*/ 86236 w 87239"/>
              <a:gd name="csY6" fmla="*/ 56519 h 66665"/>
              <a:gd name="csX7" fmla="*/ 82327 w 87239"/>
              <a:gd name="csY7" fmla="*/ 64249 h 66665"/>
              <a:gd name="csX8" fmla="*/ 49439 w 87239"/>
              <a:gd name="csY8" fmla="*/ 66665 h 66665"/>
              <a:gd name="csX9" fmla="*/ 11457 w 87239"/>
              <a:gd name="csY9" fmla="*/ 38560 h 66665"/>
              <a:gd name="csX10" fmla="*/ 9010 w 87239"/>
              <a:gd name="csY10" fmla="*/ 29316 h 6666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</a:cxnLst>
            <a:rect l="l" t="t" r="r" b="b"/>
            <a:pathLst>
              <a:path w="87239" h="66665">
                <a:moveTo>
                  <a:pt x="9010" y="29316"/>
                </a:moveTo>
                <a:cubicBezTo>
                  <a:pt x="7998" y="23924"/>
                  <a:pt x="7568" y="19365"/>
                  <a:pt x="6110" y="15162"/>
                </a:cubicBezTo>
                <a:cubicBezTo>
                  <a:pt x="4682" y="11044"/>
                  <a:pt x="2207" y="7289"/>
                  <a:pt x="0" y="3003"/>
                </a:cubicBezTo>
                <a:cubicBezTo>
                  <a:pt x="2648" y="-833"/>
                  <a:pt x="6580" y="-238"/>
                  <a:pt x="10641" y="697"/>
                </a:cubicBezTo>
                <a:cubicBezTo>
                  <a:pt x="21360" y="3163"/>
                  <a:pt x="32042" y="5825"/>
                  <a:pt x="42824" y="7981"/>
                </a:cubicBezTo>
                <a:cubicBezTo>
                  <a:pt x="57032" y="10823"/>
                  <a:pt x="67419" y="18068"/>
                  <a:pt x="73433" y="31631"/>
                </a:cubicBezTo>
                <a:cubicBezTo>
                  <a:pt x="77208" y="40146"/>
                  <a:pt x="81954" y="48228"/>
                  <a:pt x="86236" y="56519"/>
                </a:cubicBezTo>
                <a:cubicBezTo>
                  <a:pt x="88409" y="60728"/>
                  <a:pt x="87030" y="63806"/>
                  <a:pt x="82327" y="64249"/>
                </a:cubicBezTo>
                <a:cubicBezTo>
                  <a:pt x="71381" y="65282"/>
                  <a:pt x="60402" y="66689"/>
                  <a:pt x="49439" y="66665"/>
                </a:cubicBezTo>
                <a:cubicBezTo>
                  <a:pt x="28683" y="66620"/>
                  <a:pt x="18142" y="58428"/>
                  <a:pt x="11457" y="38560"/>
                </a:cubicBezTo>
                <a:cubicBezTo>
                  <a:pt x="10547" y="35855"/>
                  <a:pt x="9906" y="33058"/>
                  <a:pt x="9010" y="29316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9" name="Oval 218">
            <a:extLst>
              <a:ext uri="{FF2B5EF4-FFF2-40B4-BE49-F238E27FC236}">
                <a16:creationId xmlns:a16="http://schemas.microsoft.com/office/drawing/2014/main" id="{090A0CAE-722B-4F1F-1A0D-D0B0C771A3D1}"/>
              </a:ext>
            </a:extLst>
          </p:cNvPr>
          <p:cNvSpPr/>
          <p:nvPr/>
        </p:nvSpPr>
        <p:spPr>
          <a:xfrm>
            <a:off x="4541495" y="3795707"/>
            <a:ext cx="656485" cy="147620"/>
          </a:xfrm>
          <a:prstGeom prst="ellipse">
            <a:avLst/>
          </a:prstGeom>
          <a:solidFill>
            <a:schemeClr val="tx1">
              <a:alpha val="5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grpSp>
        <p:nvGrpSpPr>
          <p:cNvPr id="222" name="Group 221">
            <a:extLst>
              <a:ext uri="{FF2B5EF4-FFF2-40B4-BE49-F238E27FC236}">
                <a16:creationId xmlns:a16="http://schemas.microsoft.com/office/drawing/2014/main" id="{60135947-B112-C537-92F3-1AE8E80EFBB1}"/>
              </a:ext>
            </a:extLst>
          </p:cNvPr>
          <p:cNvGrpSpPr/>
          <p:nvPr/>
        </p:nvGrpSpPr>
        <p:grpSpPr>
          <a:xfrm>
            <a:off x="7879725" y="3143382"/>
            <a:ext cx="968436" cy="984390"/>
            <a:chOff x="8243626" y="2436763"/>
            <a:chExt cx="880396" cy="894900"/>
          </a:xfrm>
        </p:grpSpPr>
        <p:sp>
          <p:nvSpPr>
            <p:cNvPr id="223" name="Oval 222">
              <a:extLst>
                <a:ext uri="{FF2B5EF4-FFF2-40B4-BE49-F238E27FC236}">
                  <a16:creationId xmlns:a16="http://schemas.microsoft.com/office/drawing/2014/main" id="{DDC98AA2-97ED-1406-9528-54950919845B}"/>
                </a:ext>
              </a:extLst>
            </p:cNvPr>
            <p:cNvSpPr/>
            <p:nvPr/>
          </p:nvSpPr>
          <p:spPr>
            <a:xfrm>
              <a:off x="8329605" y="3184043"/>
              <a:ext cx="656485" cy="147620"/>
            </a:xfrm>
            <a:prstGeom prst="ellipse">
              <a:avLst/>
            </a:prstGeom>
            <a:solidFill>
              <a:schemeClr val="tx1">
                <a:alpha val="5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224" name="Free-form: Shape 223">
              <a:extLst>
                <a:ext uri="{FF2B5EF4-FFF2-40B4-BE49-F238E27FC236}">
                  <a16:creationId xmlns:a16="http://schemas.microsoft.com/office/drawing/2014/main" id="{9D54F17F-8AD7-BBE2-7806-00D67A0A1CFB}"/>
                </a:ext>
              </a:extLst>
            </p:cNvPr>
            <p:cNvSpPr/>
            <p:nvPr/>
          </p:nvSpPr>
          <p:spPr>
            <a:xfrm>
              <a:off x="8243626" y="2436763"/>
              <a:ext cx="880396" cy="841622"/>
            </a:xfrm>
            <a:custGeom>
              <a:avLst/>
              <a:gdLst>
                <a:gd name="csX0" fmla="*/ 401579 w 1609516"/>
                <a:gd name="csY0" fmla="*/ 1495809 h 1538630"/>
                <a:gd name="csX1" fmla="*/ 400190 w 1609516"/>
                <a:gd name="csY1" fmla="*/ 1496004 h 1538630"/>
                <a:gd name="csX2" fmla="*/ 401224 w 1609516"/>
                <a:gd name="csY2" fmla="*/ 1496470 h 1538630"/>
                <a:gd name="csX3" fmla="*/ 401224 w 1609516"/>
                <a:gd name="csY3" fmla="*/ 1498590 h 1538630"/>
                <a:gd name="csX4" fmla="*/ 401579 w 1609516"/>
                <a:gd name="csY4" fmla="*/ 1498628 h 1538630"/>
                <a:gd name="csX5" fmla="*/ 401579 w 1609516"/>
                <a:gd name="csY5" fmla="*/ 1495809 h 1538630"/>
                <a:gd name="csX6" fmla="*/ 368755 w 1609516"/>
                <a:gd name="csY6" fmla="*/ 1486512 h 1538630"/>
                <a:gd name="csX7" fmla="*/ 364089 w 1609516"/>
                <a:gd name="csY7" fmla="*/ 1487354 h 1538630"/>
                <a:gd name="csX8" fmla="*/ 364089 w 1609516"/>
                <a:gd name="csY8" fmla="*/ 1487908 h 1538630"/>
                <a:gd name="csX9" fmla="*/ 1049801 w 1609516"/>
                <a:gd name="csY9" fmla="*/ 1484562 h 1538630"/>
                <a:gd name="csX10" fmla="*/ 1046735 w 1609516"/>
                <a:gd name="csY10" fmla="*/ 1485945 h 1538630"/>
                <a:gd name="csX11" fmla="*/ 1046955 w 1609516"/>
                <a:gd name="csY11" fmla="*/ 1486045 h 1538630"/>
                <a:gd name="csX12" fmla="*/ 1049801 w 1609516"/>
                <a:gd name="csY12" fmla="*/ 1485188 h 1538630"/>
                <a:gd name="csX13" fmla="*/ 351234 w 1609516"/>
                <a:gd name="csY13" fmla="*/ 1444508 h 1538630"/>
                <a:gd name="csX14" fmla="*/ 351234 w 1609516"/>
                <a:gd name="csY14" fmla="*/ 1444997 h 1538630"/>
                <a:gd name="csX15" fmla="*/ 351592 w 1609516"/>
                <a:gd name="csY15" fmla="*/ 1445078 h 1538630"/>
                <a:gd name="csX16" fmla="*/ 351908 w 1609516"/>
                <a:gd name="csY16" fmla="*/ 1431206 h 1538630"/>
                <a:gd name="csX17" fmla="*/ 351234 w 1609516"/>
                <a:gd name="csY17" fmla="*/ 1431611 h 1538630"/>
                <a:gd name="csX18" fmla="*/ 351234 w 1609516"/>
                <a:gd name="csY18" fmla="*/ 1432274 h 1538630"/>
                <a:gd name="csX19" fmla="*/ 358162 w 1609516"/>
                <a:gd name="csY19" fmla="*/ 1421494 h 1538630"/>
                <a:gd name="csX20" fmla="*/ 355921 w 1609516"/>
                <a:gd name="csY20" fmla="*/ 1423156 h 1538630"/>
                <a:gd name="csX21" fmla="*/ 355921 w 1609516"/>
                <a:gd name="csY21" fmla="*/ 1423548 h 1538630"/>
                <a:gd name="csX22" fmla="*/ 376098 w 1609516"/>
                <a:gd name="csY22" fmla="*/ 1408347 h 1538630"/>
                <a:gd name="csX23" fmla="*/ 370750 w 1609516"/>
                <a:gd name="csY23" fmla="*/ 1412245 h 1538630"/>
                <a:gd name="csX24" fmla="*/ 375023 w 1609516"/>
                <a:gd name="csY24" fmla="*/ 1411256 h 1538630"/>
                <a:gd name="csX25" fmla="*/ 421956 w 1609516"/>
                <a:gd name="csY25" fmla="*/ 1365623 h 1538630"/>
                <a:gd name="csX26" fmla="*/ 421765 w 1609516"/>
                <a:gd name="csY26" fmla="*/ 1366161 h 1538630"/>
                <a:gd name="csX27" fmla="*/ 421887 w 1609516"/>
                <a:gd name="csY27" fmla="*/ 1366161 h 1538630"/>
                <a:gd name="csX28" fmla="*/ 754553 w 1609516"/>
                <a:gd name="csY28" fmla="*/ 1360575 h 1538630"/>
                <a:gd name="csX29" fmla="*/ 754089 w 1609516"/>
                <a:gd name="csY29" fmla="*/ 1361433 h 1538630"/>
                <a:gd name="csX30" fmla="*/ 754431 w 1609516"/>
                <a:gd name="csY30" fmla="*/ 1361125 h 1538630"/>
                <a:gd name="csX31" fmla="*/ 1277973 w 1609516"/>
                <a:gd name="csY31" fmla="*/ 1332923 h 1538630"/>
                <a:gd name="csX32" fmla="*/ 1277944 w 1609516"/>
                <a:gd name="csY32" fmla="*/ 1332936 h 1538630"/>
                <a:gd name="csX33" fmla="*/ 1277949 w 1609516"/>
                <a:gd name="csY33" fmla="*/ 1333139 h 1538630"/>
                <a:gd name="csX34" fmla="*/ 1268556 w 1609516"/>
                <a:gd name="csY34" fmla="*/ 1321066 h 1538630"/>
                <a:gd name="csX35" fmla="*/ 1268556 w 1609516"/>
                <a:gd name="csY35" fmla="*/ 1325294 h 1538630"/>
                <a:gd name="csX36" fmla="*/ 1265432 w 1609516"/>
                <a:gd name="csY36" fmla="*/ 1325294 h 1538630"/>
                <a:gd name="csX37" fmla="*/ 1265432 w 1609516"/>
                <a:gd name="csY37" fmla="*/ 1340795 h 1538630"/>
                <a:gd name="csX38" fmla="*/ 1265476 w 1609516"/>
                <a:gd name="csY38" fmla="*/ 1340714 h 1538630"/>
                <a:gd name="csX39" fmla="*/ 1265476 w 1609516"/>
                <a:gd name="csY39" fmla="*/ 1325877 h 1538630"/>
                <a:gd name="csX40" fmla="*/ 1268600 w 1609516"/>
                <a:gd name="csY40" fmla="*/ 1325877 h 1538630"/>
                <a:gd name="csX41" fmla="*/ 1268600 w 1609516"/>
                <a:gd name="csY41" fmla="*/ 1321649 h 1538630"/>
                <a:gd name="csX42" fmla="*/ 1273286 w 1609516"/>
                <a:gd name="csY42" fmla="*/ 1321649 h 1538630"/>
                <a:gd name="csX43" fmla="*/ 1273227 w 1609516"/>
                <a:gd name="csY43" fmla="*/ 1321066 h 1538630"/>
                <a:gd name="csX44" fmla="*/ 827891 w 1609516"/>
                <a:gd name="csY44" fmla="*/ 1291474 h 1538630"/>
                <a:gd name="csX45" fmla="*/ 822601 w 1609516"/>
                <a:gd name="csY45" fmla="*/ 1291544 h 1538630"/>
                <a:gd name="csX46" fmla="*/ 818272 w 1609516"/>
                <a:gd name="csY46" fmla="*/ 1292220 h 1538630"/>
                <a:gd name="csX47" fmla="*/ 827891 w 1609516"/>
                <a:gd name="csY47" fmla="*/ 1292047 h 1538630"/>
                <a:gd name="csX48" fmla="*/ 856397 w 1609516"/>
                <a:gd name="csY48" fmla="*/ 1288691 h 1538630"/>
                <a:gd name="csX49" fmla="*/ 865903 w 1609516"/>
                <a:gd name="csY49" fmla="*/ 1290590 h 1538630"/>
                <a:gd name="csX50" fmla="*/ 859999 w 1609516"/>
                <a:gd name="csY50" fmla="*/ 1288752 h 1538630"/>
                <a:gd name="csX51" fmla="*/ 834694 w 1609516"/>
                <a:gd name="csY51" fmla="*/ 1288572 h 1538630"/>
                <a:gd name="csX52" fmla="*/ 828038 w 1609516"/>
                <a:gd name="csY52" fmla="*/ 1288654 h 1538630"/>
                <a:gd name="csX53" fmla="*/ 828038 w 1609516"/>
                <a:gd name="csY53" fmla="*/ 1289214 h 1538630"/>
                <a:gd name="csX54" fmla="*/ 229746 w 1609516"/>
                <a:gd name="csY54" fmla="*/ 1191418 h 1538630"/>
                <a:gd name="csX55" fmla="*/ 227402 w 1609516"/>
                <a:gd name="csY55" fmla="*/ 1191947 h 1538630"/>
                <a:gd name="csX56" fmla="*/ 229315 w 1609516"/>
                <a:gd name="csY56" fmla="*/ 1191947 h 1538630"/>
                <a:gd name="csX57" fmla="*/ 229315 w 1609516"/>
                <a:gd name="csY57" fmla="*/ 1194765 h 1538630"/>
                <a:gd name="csX58" fmla="*/ 231321 w 1609516"/>
                <a:gd name="csY58" fmla="*/ 1194765 h 1538630"/>
                <a:gd name="csX59" fmla="*/ 229746 w 1609516"/>
                <a:gd name="csY59" fmla="*/ 1194236 h 1538630"/>
                <a:gd name="csX60" fmla="*/ 229746 w 1609516"/>
                <a:gd name="csY60" fmla="*/ 1191418 h 1538630"/>
                <a:gd name="csX61" fmla="*/ 215687 w 1609516"/>
                <a:gd name="csY61" fmla="*/ 1187190 h 1538630"/>
                <a:gd name="csX62" fmla="*/ 215198 w 1609516"/>
                <a:gd name="csY62" fmla="*/ 1187720 h 1538630"/>
                <a:gd name="csX63" fmla="*/ 215256 w 1609516"/>
                <a:gd name="csY63" fmla="*/ 1187720 h 1538630"/>
                <a:gd name="csX64" fmla="*/ 215256 w 1609516"/>
                <a:gd name="csY64" fmla="*/ 1191947 h 1538630"/>
                <a:gd name="csX65" fmla="*/ 222721 w 1609516"/>
                <a:gd name="csY65" fmla="*/ 1191947 h 1538630"/>
                <a:gd name="csX66" fmla="*/ 215687 w 1609516"/>
                <a:gd name="csY66" fmla="*/ 1191418 h 1538630"/>
                <a:gd name="csX67" fmla="*/ 215687 w 1609516"/>
                <a:gd name="csY67" fmla="*/ 1187190 h 1538630"/>
                <a:gd name="csX68" fmla="*/ 1279678 w 1609516"/>
                <a:gd name="csY68" fmla="*/ 1082356 h 1538630"/>
                <a:gd name="csX69" fmla="*/ 1271680 w 1609516"/>
                <a:gd name="csY69" fmla="*/ 1084589 h 1538630"/>
                <a:gd name="csX70" fmla="*/ 1282181 w 1609516"/>
                <a:gd name="csY70" fmla="*/ 1082544 h 1538630"/>
                <a:gd name="csX71" fmla="*/ 117703 w 1609516"/>
                <a:gd name="csY71" fmla="*/ 941507 h 1538630"/>
                <a:gd name="csX72" fmla="*/ 112587 w 1609516"/>
                <a:gd name="csY72" fmla="*/ 941985 h 1538630"/>
                <a:gd name="csX73" fmla="*/ 112565 w 1609516"/>
                <a:gd name="csY73" fmla="*/ 942333 h 1538630"/>
                <a:gd name="csX74" fmla="*/ 115665 w 1609516"/>
                <a:gd name="csY74" fmla="*/ 941837 h 1538630"/>
                <a:gd name="csX75" fmla="*/ 144268 w 1609516"/>
                <a:gd name="csY75" fmla="*/ 939395 h 1538630"/>
                <a:gd name="csX76" fmla="*/ 143354 w 1609516"/>
                <a:gd name="csY76" fmla="*/ 939580 h 1538630"/>
                <a:gd name="csX77" fmla="*/ 144077 w 1609516"/>
                <a:gd name="csY77" fmla="*/ 939739 h 1538630"/>
                <a:gd name="csX78" fmla="*/ 162575 w 1609516"/>
                <a:gd name="csY78" fmla="*/ 933530 h 1538630"/>
                <a:gd name="csX79" fmla="*/ 161704 w 1609516"/>
                <a:gd name="csY79" fmla="*/ 935101 h 1538630"/>
                <a:gd name="csX80" fmla="*/ 170045 w 1609516"/>
                <a:gd name="csY80" fmla="*/ 933585 h 1538630"/>
                <a:gd name="csX81" fmla="*/ 1321645 w 1609516"/>
                <a:gd name="csY81" fmla="*/ 918415 h 1538630"/>
                <a:gd name="csX82" fmla="*/ 1321534 w 1609516"/>
                <a:gd name="csY82" fmla="*/ 920177 h 1538630"/>
                <a:gd name="csX83" fmla="*/ 1321740 w 1609516"/>
                <a:gd name="csY83" fmla="*/ 918415 h 1538630"/>
                <a:gd name="csX84" fmla="*/ 1319333 w 1609516"/>
                <a:gd name="csY84" fmla="*/ 915183 h 1538630"/>
                <a:gd name="csX85" fmla="*/ 1318544 w 1609516"/>
                <a:gd name="csY85" fmla="*/ 918029 h 1538630"/>
                <a:gd name="csX86" fmla="*/ 1318702 w 1609516"/>
                <a:gd name="csY86" fmla="*/ 918029 h 1538630"/>
                <a:gd name="csX87" fmla="*/ 1326355 w 1609516"/>
                <a:gd name="csY87" fmla="*/ 907109 h 1538630"/>
                <a:gd name="csX88" fmla="*/ 1326355 w 1609516"/>
                <a:gd name="csY88" fmla="*/ 910983 h 1538630"/>
                <a:gd name="csX89" fmla="*/ 1325831 w 1609516"/>
                <a:gd name="csY89" fmla="*/ 911101 h 1538630"/>
                <a:gd name="csX90" fmla="*/ 1326426 w 1609516"/>
                <a:gd name="csY90" fmla="*/ 911369 h 1538630"/>
                <a:gd name="csX91" fmla="*/ 1326426 w 1609516"/>
                <a:gd name="csY91" fmla="*/ 907141 h 1538630"/>
                <a:gd name="csX92" fmla="*/ 1328144 w 1609516"/>
                <a:gd name="csY92" fmla="*/ 892192 h 1538630"/>
                <a:gd name="csX93" fmla="*/ 1327667 w 1609516"/>
                <a:gd name="csY93" fmla="*/ 893446 h 1538630"/>
                <a:gd name="csX94" fmla="*/ 1327989 w 1609516"/>
                <a:gd name="csY94" fmla="*/ 893049 h 1538630"/>
                <a:gd name="csX95" fmla="*/ 49605 w 1609516"/>
                <a:gd name="csY95" fmla="*/ 887420 h 1538630"/>
                <a:gd name="csX96" fmla="*/ 48549 w 1609516"/>
                <a:gd name="csY96" fmla="*/ 891229 h 1538630"/>
                <a:gd name="csX97" fmla="*/ 49956 w 1609516"/>
                <a:gd name="csY97" fmla="*/ 887420 h 1538630"/>
                <a:gd name="csX98" fmla="*/ 1332266 w 1609516"/>
                <a:gd name="csY98" fmla="*/ 883369 h 1538630"/>
                <a:gd name="csX99" fmla="*/ 1329479 w 1609516"/>
                <a:gd name="csY99" fmla="*/ 884207 h 1538630"/>
                <a:gd name="csX100" fmla="*/ 1329509 w 1609516"/>
                <a:gd name="csY100" fmla="*/ 884816 h 1538630"/>
                <a:gd name="csX101" fmla="*/ 1329551 w 1609516"/>
                <a:gd name="csY101" fmla="*/ 884594 h 1538630"/>
                <a:gd name="csX102" fmla="*/ 1555987 w 1609516"/>
                <a:gd name="csY102" fmla="*/ 821766 h 1538630"/>
                <a:gd name="csX103" fmla="*/ 1555987 w 1609516"/>
                <a:gd name="csY103" fmla="*/ 822201 h 1538630"/>
                <a:gd name="csX104" fmla="*/ 1556081 w 1609516"/>
                <a:gd name="csY104" fmla="*/ 822189 h 1538630"/>
                <a:gd name="csX105" fmla="*/ 1565360 w 1609516"/>
                <a:gd name="csY105" fmla="*/ 810928 h 1538630"/>
                <a:gd name="csX106" fmla="*/ 1564871 w 1609516"/>
                <a:gd name="csY106" fmla="*/ 811809 h 1538630"/>
                <a:gd name="csX107" fmla="*/ 1567314 w 1609516"/>
                <a:gd name="csY107" fmla="*/ 810928 h 1538630"/>
                <a:gd name="csX108" fmla="*/ 1563797 w 1609516"/>
                <a:gd name="csY108" fmla="*/ 810928 h 1538630"/>
                <a:gd name="csX109" fmla="*/ 1556762 w 1609516"/>
                <a:gd name="csY109" fmla="*/ 814736 h 1538630"/>
                <a:gd name="csX110" fmla="*/ 1563797 w 1609516"/>
                <a:gd name="csY110" fmla="*/ 812197 h 1538630"/>
                <a:gd name="csX111" fmla="*/ 265833 w 1609516"/>
                <a:gd name="csY111" fmla="*/ 806020 h 1538630"/>
                <a:gd name="csX112" fmla="*/ 263704 w 1609516"/>
                <a:gd name="csY112" fmla="*/ 809861 h 1538630"/>
                <a:gd name="csX113" fmla="*/ 263704 w 1609516"/>
                <a:gd name="csY113" fmla="*/ 816750 h 1538630"/>
                <a:gd name="csX114" fmla="*/ 264113 w 1609516"/>
                <a:gd name="csY114" fmla="*/ 816565 h 1538630"/>
                <a:gd name="csX115" fmla="*/ 263918 w 1609516"/>
                <a:gd name="csY115" fmla="*/ 812777 h 1538630"/>
                <a:gd name="csX116" fmla="*/ 263774 w 1609516"/>
                <a:gd name="csY116" fmla="*/ 779374 h 1538630"/>
                <a:gd name="csX117" fmla="*/ 263704 w 1609516"/>
                <a:gd name="csY117" fmla="*/ 783086 h 1538630"/>
                <a:gd name="csX118" fmla="*/ 264484 w 1609516"/>
                <a:gd name="csY118" fmla="*/ 785816 h 1538630"/>
                <a:gd name="csX119" fmla="*/ 265265 w 1609516"/>
                <a:gd name="csY119" fmla="*/ 794448 h 1538630"/>
                <a:gd name="csX120" fmla="*/ 265217 w 1609516"/>
                <a:gd name="csY120" fmla="*/ 799730 h 1538630"/>
                <a:gd name="csX121" fmla="*/ 266556 w 1609516"/>
                <a:gd name="csY121" fmla="*/ 803466 h 1538630"/>
                <a:gd name="csX122" fmla="*/ 267237 w 1609516"/>
                <a:gd name="csY122" fmla="*/ 801063 h 1538630"/>
                <a:gd name="csX123" fmla="*/ 265675 w 1609516"/>
                <a:gd name="csY123" fmla="*/ 799654 h 1538630"/>
                <a:gd name="csX124" fmla="*/ 265675 w 1609516"/>
                <a:gd name="csY124" fmla="*/ 793841 h 1538630"/>
                <a:gd name="csX125" fmla="*/ 260988 w 1609516"/>
                <a:gd name="csY125" fmla="*/ 770061 h 1538630"/>
                <a:gd name="csX126" fmla="*/ 260988 w 1609516"/>
                <a:gd name="csY126" fmla="*/ 771364 h 1538630"/>
                <a:gd name="csX127" fmla="*/ 263497 w 1609516"/>
                <a:gd name="csY127" fmla="*/ 777263 h 1538630"/>
                <a:gd name="csX128" fmla="*/ 262551 w 1609516"/>
                <a:gd name="csY128" fmla="*/ 770061 h 1538630"/>
                <a:gd name="csX129" fmla="*/ 260988 w 1609516"/>
                <a:gd name="csY129" fmla="*/ 770061 h 1538630"/>
                <a:gd name="csX130" fmla="*/ 157888 w 1609516"/>
                <a:gd name="csY130" fmla="*/ 651686 h 1538630"/>
                <a:gd name="csX131" fmla="*/ 157415 w 1609516"/>
                <a:gd name="csY131" fmla="*/ 651764 h 1538630"/>
                <a:gd name="csX132" fmla="*/ 160373 w 1609516"/>
                <a:gd name="csY132" fmla="*/ 652274 h 1538630"/>
                <a:gd name="csX133" fmla="*/ 267237 w 1609516"/>
                <a:gd name="csY133" fmla="*/ 426537 h 1538630"/>
                <a:gd name="csX134" fmla="*/ 267237 w 1609516"/>
                <a:gd name="csY134" fmla="*/ 427619 h 1538630"/>
                <a:gd name="csX135" fmla="*/ 270380 w 1609516"/>
                <a:gd name="csY135" fmla="*/ 428137 h 1538630"/>
                <a:gd name="csX136" fmla="*/ 273548 w 1609516"/>
                <a:gd name="csY136" fmla="*/ 428680 h 1538630"/>
                <a:gd name="csX137" fmla="*/ 37605 w 1609516"/>
                <a:gd name="csY137" fmla="*/ 359270 h 1538630"/>
                <a:gd name="csX138" fmla="*/ 37103 w 1609516"/>
                <a:gd name="csY138" fmla="*/ 361533 h 1538630"/>
                <a:gd name="csX139" fmla="*/ 37605 w 1609516"/>
                <a:gd name="csY139" fmla="*/ 361382 h 1538630"/>
                <a:gd name="csX140" fmla="*/ 52477 w 1609516"/>
                <a:gd name="csY140" fmla="*/ 337570 h 1538630"/>
                <a:gd name="csX141" fmla="*/ 47288 w 1609516"/>
                <a:gd name="csY141" fmla="*/ 342340 h 1538630"/>
                <a:gd name="csX142" fmla="*/ 45805 w 1609516"/>
                <a:gd name="csY142" fmla="*/ 345093 h 1538630"/>
                <a:gd name="csX143" fmla="*/ 104291 w 1609516"/>
                <a:gd name="csY143" fmla="*/ 336166 h 1538630"/>
                <a:gd name="csX144" fmla="*/ 103776 w 1609516"/>
                <a:gd name="csY144" fmla="*/ 337559 h 1538630"/>
                <a:gd name="csX145" fmla="*/ 108925 w 1609516"/>
                <a:gd name="csY145" fmla="*/ 336166 h 1538630"/>
                <a:gd name="csX146" fmla="*/ 1309237 w 1609516"/>
                <a:gd name="csY146" fmla="*/ 322954 h 1538630"/>
                <a:gd name="csX147" fmla="*/ 1309180 w 1609516"/>
                <a:gd name="csY147" fmla="*/ 330559 h 1538630"/>
                <a:gd name="csX148" fmla="*/ 1309237 w 1609516"/>
                <a:gd name="csY148" fmla="*/ 330520 h 1538630"/>
                <a:gd name="csX149" fmla="*/ 1308964 w 1609516"/>
                <a:gd name="csY149" fmla="*/ 317715 h 1538630"/>
                <a:gd name="csX150" fmla="*/ 1309237 w 1609516"/>
                <a:gd name="csY150" fmla="*/ 318569 h 1538630"/>
                <a:gd name="csX151" fmla="*/ 1309237 w 1609516"/>
                <a:gd name="csY151" fmla="*/ 317838 h 1538630"/>
                <a:gd name="csX152" fmla="*/ 1310087 w 1609516"/>
                <a:gd name="csY152" fmla="*/ 313153 h 1538630"/>
                <a:gd name="csX153" fmla="*/ 1307609 w 1609516"/>
                <a:gd name="csY153" fmla="*/ 313473 h 1538630"/>
                <a:gd name="csX154" fmla="*/ 1308045 w 1609516"/>
                <a:gd name="csY154" fmla="*/ 314836 h 1538630"/>
                <a:gd name="csX155" fmla="*/ 1318544 w 1609516"/>
                <a:gd name="csY155" fmla="*/ 312064 h 1538630"/>
                <a:gd name="csX156" fmla="*/ 1316298 w 1609516"/>
                <a:gd name="csY156" fmla="*/ 312353 h 1538630"/>
                <a:gd name="csX157" fmla="*/ 1318544 w 1609516"/>
                <a:gd name="csY157" fmla="*/ 312205 h 1538630"/>
                <a:gd name="csX158" fmla="*/ 1084622 w 1609516"/>
                <a:gd name="csY158" fmla="*/ 267674 h 1538630"/>
                <a:gd name="csX159" fmla="*/ 1084227 w 1609516"/>
                <a:gd name="csY159" fmla="*/ 268378 h 1538630"/>
                <a:gd name="csX160" fmla="*/ 1079540 w 1609516"/>
                <a:gd name="csY160" fmla="*/ 268378 h 1538630"/>
                <a:gd name="csX161" fmla="*/ 1079603 w 1609516"/>
                <a:gd name="csY161" fmla="*/ 268477 h 1538630"/>
                <a:gd name="csX162" fmla="*/ 1084192 w 1609516"/>
                <a:gd name="csY162" fmla="*/ 268477 h 1538630"/>
                <a:gd name="csX163" fmla="*/ 956410 w 1609516"/>
                <a:gd name="csY163" fmla="*/ 266968 h 1538630"/>
                <a:gd name="csX164" fmla="*/ 957576 w 1609516"/>
                <a:gd name="csY164" fmla="*/ 267083 h 1538630"/>
                <a:gd name="csX165" fmla="*/ 957576 w 1609516"/>
                <a:gd name="csY165" fmla="*/ 269776 h 1538630"/>
                <a:gd name="csX166" fmla="*/ 957694 w 1609516"/>
                <a:gd name="csY166" fmla="*/ 269787 h 1538630"/>
                <a:gd name="csX167" fmla="*/ 957694 w 1609516"/>
                <a:gd name="csY167" fmla="*/ 266968 h 1538630"/>
                <a:gd name="csX168" fmla="*/ 1089372 w 1609516"/>
                <a:gd name="csY168" fmla="*/ 259220 h 1538630"/>
                <a:gd name="csX169" fmla="*/ 1085856 w 1609516"/>
                <a:gd name="csY169" fmla="*/ 265479 h 1538630"/>
                <a:gd name="csX170" fmla="*/ 1088878 w 1609516"/>
                <a:gd name="csY170" fmla="*/ 261431 h 1538630"/>
                <a:gd name="csX171" fmla="*/ 1018517 w 1609516"/>
                <a:gd name="csY171" fmla="*/ 223356 h 1538630"/>
                <a:gd name="csX172" fmla="*/ 1013866 w 1609516"/>
                <a:gd name="csY172" fmla="*/ 226190 h 1538630"/>
                <a:gd name="csX173" fmla="*/ 1013024 w 1609516"/>
                <a:gd name="csY173" fmla="*/ 227709 h 1538630"/>
                <a:gd name="csX174" fmla="*/ 1017055 w 1609516"/>
                <a:gd name="csY174" fmla="*/ 224692 h 1538630"/>
                <a:gd name="csX175" fmla="*/ 850645 w 1609516"/>
                <a:gd name="csY175" fmla="*/ 220099 h 1538630"/>
                <a:gd name="csX176" fmla="*/ 850897 w 1609516"/>
                <a:gd name="csY176" fmla="*/ 221488 h 1538630"/>
                <a:gd name="csX177" fmla="*/ 851470 w 1609516"/>
                <a:gd name="csY177" fmla="*/ 224692 h 1538630"/>
                <a:gd name="csX178" fmla="*/ 852860 w 1609516"/>
                <a:gd name="csY178" fmla="*/ 224692 h 1538630"/>
                <a:gd name="csX179" fmla="*/ 1155019 w 1609516"/>
                <a:gd name="csY179" fmla="*/ 35 h 1538630"/>
                <a:gd name="csX180" fmla="*/ 1174829 w 1609516"/>
                <a:gd name="csY180" fmla="*/ 4853 h 1538630"/>
                <a:gd name="csX181" fmla="*/ 1179418 w 1609516"/>
                <a:gd name="csY181" fmla="*/ 5998 h 1538630"/>
                <a:gd name="csX182" fmla="*/ 1201385 w 1609516"/>
                <a:gd name="csY182" fmla="*/ 22997 h 1538630"/>
                <a:gd name="csX183" fmla="*/ 1201678 w 1609516"/>
                <a:gd name="csY183" fmla="*/ 62191 h 1538630"/>
                <a:gd name="csX184" fmla="*/ 1198261 w 1609516"/>
                <a:gd name="csY184" fmla="*/ 68268 h 1538630"/>
                <a:gd name="csX185" fmla="*/ 1195723 w 1609516"/>
                <a:gd name="csY185" fmla="*/ 72672 h 1538630"/>
                <a:gd name="csX186" fmla="*/ 1193575 w 1609516"/>
                <a:gd name="csY186" fmla="*/ 75314 h 1538630"/>
                <a:gd name="csX187" fmla="*/ 1190450 w 1609516"/>
                <a:gd name="csY187" fmla="*/ 75314 h 1538630"/>
                <a:gd name="csX188" fmla="*/ 1189474 w 1609516"/>
                <a:gd name="csY188" fmla="*/ 79366 h 1538630"/>
                <a:gd name="csX189" fmla="*/ 1182445 w 1609516"/>
                <a:gd name="csY189" fmla="*/ 85707 h 1538630"/>
                <a:gd name="csX190" fmla="*/ 1177953 w 1609516"/>
                <a:gd name="csY190" fmla="*/ 86588 h 1538630"/>
                <a:gd name="csX191" fmla="*/ 1177953 w 1609516"/>
                <a:gd name="csY191" fmla="*/ 89406 h 1538630"/>
                <a:gd name="csX192" fmla="*/ 1170045 w 1609516"/>
                <a:gd name="csY192" fmla="*/ 94251 h 1538630"/>
                <a:gd name="csX193" fmla="*/ 1143806 w 1609516"/>
                <a:gd name="csY193" fmla="*/ 132828 h 1538630"/>
                <a:gd name="csX194" fmla="*/ 1137338 w 1609516"/>
                <a:gd name="csY194" fmla="*/ 141548 h 1538630"/>
                <a:gd name="csX195" fmla="*/ 1133970 w 1609516"/>
                <a:gd name="csY195" fmla="*/ 149403 h 1538630"/>
                <a:gd name="csX196" fmla="*/ 1127965 w 1609516"/>
                <a:gd name="csY196" fmla="*/ 164095 h 1538630"/>
                <a:gd name="csX197" fmla="*/ 1124762 w 1609516"/>
                <a:gd name="csY197" fmla="*/ 171802 h 1538630"/>
                <a:gd name="csX198" fmla="*/ 1119359 w 1609516"/>
                <a:gd name="csY198" fmla="*/ 184798 h 1538630"/>
                <a:gd name="csX199" fmla="*/ 1111014 w 1609516"/>
                <a:gd name="csY199" fmla="*/ 204941 h 1538630"/>
                <a:gd name="csX200" fmla="*/ 1109729 w 1609516"/>
                <a:gd name="csY200" fmla="*/ 208059 h 1538630"/>
                <a:gd name="csX201" fmla="*/ 1106395 w 1609516"/>
                <a:gd name="csY201" fmla="*/ 216170 h 1538630"/>
                <a:gd name="csX202" fmla="*/ 1102147 w 1609516"/>
                <a:gd name="csY202" fmla="*/ 224810 h 1538630"/>
                <a:gd name="csX203" fmla="*/ 1098261 w 1609516"/>
                <a:gd name="csY203" fmla="*/ 227262 h 1538630"/>
                <a:gd name="csX204" fmla="*/ 1098367 w 1609516"/>
                <a:gd name="csY204" fmla="*/ 238475 h 1538630"/>
                <a:gd name="csX205" fmla="*/ 1097331 w 1609516"/>
                <a:gd name="csY205" fmla="*/ 242358 h 1538630"/>
                <a:gd name="csX206" fmla="*/ 1096201 w 1609516"/>
                <a:gd name="csY206" fmla="*/ 246458 h 1538630"/>
                <a:gd name="csX207" fmla="*/ 1089440 w 1609516"/>
                <a:gd name="csY207" fmla="*/ 279206 h 1538630"/>
                <a:gd name="csX208" fmla="*/ 1087316 w 1609516"/>
                <a:gd name="csY208" fmla="*/ 283978 h 1538630"/>
                <a:gd name="csX209" fmla="*/ 1086822 w 1609516"/>
                <a:gd name="csY209" fmla="*/ 291822 h 1538630"/>
                <a:gd name="csX210" fmla="*/ 1086623 w 1609516"/>
                <a:gd name="csY210" fmla="*/ 296625 h 1538630"/>
                <a:gd name="csX211" fmla="*/ 1086437 w 1609516"/>
                <a:gd name="csY211" fmla="*/ 301681 h 1538630"/>
                <a:gd name="csX212" fmla="*/ 1086233 w 1609516"/>
                <a:gd name="csY212" fmla="*/ 306754 h 1538630"/>
                <a:gd name="csX213" fmla="*/ 1086007 w 1609516"/>
                <a:gd name="csY213" fmla="*/ 312619 h 1538630"/>
                <a:gd name="csX214" fmla="*/ 1087470 w 1609516"/>
                <a:gd name="csY214" fmla="*/ 320554 h 1538630"/>
                <a:gd name="csX215" fmla="*/ 1098285 w 1609516"/>
                <a:gd name="csY215" fmla="*/ 334611 h 1538630"/>
                <a:gd name="csX216" fmla="*/ 1102607 w 1609516"/>
                <a:gd name="csY216" fmla="*/ 337679 h 1538630"/>
                <a:gd name="csX217" fmla="*/ 1106095 w 1609516"/>
                <a:gd name="csY217" fmla="*/ 340248 h 1538630"/>
                <a:gd name="csX218" fmla="*/ 1106095 w 1609516"/>
                <a:gd name="csY218" fmla="*/ 343066 h 1538630"/>
                <a:gd name="csX219" fmla="*/ 1109220 w 1609516"/>
                <a:gd name="csY219" fmla="*/ 343419 h 1538630"/>
                <a:gd name="csX220" fmla="*/ 1126403 w 1609516"/>
                <a:gd name="csY220" fmla="*/ 350112 h 1538630"/>
                <a:gd name="csX221" fmla="*/ 1131871 w 1609516"/>
                <a:gd name="csY221" fmla="*/ 352579 h 1538630"/>
                <a:gd name="csX222" fmla="*/ 1135776 w 1609516"/>
                <a:gd name="csY222" fmla="*/ 354340 h 1538630"/>
                <a:gd name="csX223" fmla="*/ 1135776 w 1609516"/>
                <a:gd name="csY223" fmla="*/ 357158 h 1538630"/>
                <a:gd name="csX224" fmla="*/ 1170143 w 1609516"/>
                <a:gd name="csY224" fmla="*/ 354340 h 1538630"/>
                <a:gd name="csX225" fmla="*/ 1174634 w 1609516"/>
                <a:gd name="csY225" fmla="*/ 352579 h 1538630"/>
                <a:gd name="csX226" fmla="*/ 1190890 w 1609516"/>
                <a:gd name="csY226" fmla="*/ 342907 h 1538630"/>
                <a:gd name="csX227" fmla="*/ 1204021 w 1609516"/>
                <a:gd name="csY227" fmla="*/ 335404 h 1538630"/>
                <a:gd name="csX228" fmla="*/ 1223255 w 1609516"/>
                <a:gd name="csY228" fmla="*/ 319110 h 1538630"/>
                <a:gd name="csX229" fmla="*/ 1226868 w 1609516"/>
                <a:gd name="csY229" fmla="*/ 315587 h 1538630"/>
                <a:gd name="csX230" fmla="*/ 1231859 w 1609516"/>
                <a:gd name="csY230" fmla="*/ 303559 h 1538630"/>
                <a:gd name="csX231" fmla="*/ 1234178 w 1609516"/>
                <a:gd name="csY231" fmla="*/ 298059 h 1538630"/>
                <a:gd name="csX232" fmla="*/ 1237314 w 1609516"/>
                <a:gd name="csY232" fmla="*/ 288195 h 1538630"/>
                <a:gd name="csX233" fmla="*/ 1249811 w 1609516"/>
                <a:gd name="csY233" fmla="*/ 265559 h 1538630"/>
                <a:gd name="csX234" fmla="*/ 1252935 w 1609516"/>
                <a:gd name="csY234" fmla="*/ 265559 h 1538630"/>
                <a:gd name="csX235" fmla="*/ 1252935 w 1609516"/>
                <a:gd name="csY235" fmla="*/ 262741 h 1538630"/>
                <a:gd name="csX236" fmla="*/ 1296675 w 1609516"/>
                <a:gd name="csY236" fmla="*/ 252876 h 1538630"/>
                <a:gd name="csX237" fmla="*/ 1307609 w 1609516"/>
                <a:gd name="csY237" fmla="*/ 255695 h 1538630"/>
                <a:gd name="csX238" fmla="*/ 1307609 w 1609516"/>
                <a:gd name="csY238" fmla="*/ 258513 h 1538630"/>
                <a:gd name="csX239" fmla="*/ 1311887 w 1609516"/>
                <a:gd name="csY239" fmla="*/ 258832 h 1538630"/>
                <a:gd name="csX240" fmla="*/ 1326715 w 1609516"/>
                <a:gd name="csY240" fmla="*/ 269969 h 1538630"/>
                <a:gd name="csX241" fmla="*/ 1334165 w 1609516"/>
                <a:gd name="csY241" fmla="*/ 307836 h 1538630"/>
                <a:gd name="csX242" fmla="*/ 1329479 w 1609516"/>
                <a:gd name="csY242" fmla="*/ 314882 h 1538630"/>
                <a:gd name="csX243" fmla="*/ 1323231 w 1609516"/>
                <a:gd name="csY243" fmla="*/ 314882 h 1538630"/>
                <a:gd name="csX244" fmla="*/ 1323231 w 1609516"/>
                <a:gd name="csY244" fmla="*/ 317700 h 1538630"/>
                <a:gd name="csX245" fmla="*/ 1322774 w 1609516"/>
                <a:gd name="csY245" fmla="*/ 317838 h 1538630"/>
                <a:gd name="csX246" fmla="*/ 1323295 w 1609516"/>
                <a:gd name="csY246" fmla="*/ 317838 h 1538630"/>
                <a:gd name="csX247" fmla="*/ 1323295 w 1609516"/>
                <a:gd name="csY247" fmla="*/ 315019 h 1538630"/>
                <a:gd name="csX248" fmla="*/ 1327982 w 1609516"/>
                <a:gd name="csY248" fmla="*/ 315019 h 1538630"/>
                <a:gd name="csX249" fmla="*/ 1317047 w 1609516"/>
                <a:gd name="csY249" fmla="*/ 327702 h 1538630"/>
                <a:gd name="csX250" fmla="*/ 1315484 w 1609516"/>
                <a:gd name="csY250" fmla="*/ 331930 h 1538630"/>
                <a:gd name="csX251" fmla="*/ 1309139 w 1609516"/>
                <a:gd name="csY251" fmla="*/ 333603 h 1538630"/>
                <a:gd name="csX252" fmla="*/ 1305666 w 1609516"/>
                <a:gd name="csY252" fmla="*/ 334280 h 1538630"/>
                <a:gd name="csX253" fmla="*/ 1302988 w 1609516"/>
                <a:gd name="csY253" fmla="*/ 334748 h 1538630"/>
                <a:gd name="csX254" fmla="*/ 1305905 w 1609516"/>
                <a:gd name="csY254" fmla="*/ 332775 h 1538630"/>
                <a:gd name="csX255" fmla="*/ 1304485 w 1609516"/>
                <a:gd name="csY255" fmla="*/ 333202 h 1538630"/>
                <a:gd name="csX256" fmla="*/ 1301459 w 1609516"/>
                <a:gd name="csY256" fmla="*/ 336108 h 1538630"/>
                <a:gd name="csX257" fmla="*/ 1291989 w 1609516"/>
                <a:gd name="csY257" fmla="*/ 338839 h 1538630"/>
                <a:gd name="csX258" fmla="*/ 1290426 w 1609516"/>
                <a:gd name="csY258" fmla="*/ 343066 h 1538630"/>
                <a:gd name="csX259" fmla="*/ 1285740 w 1609516"/>
                <a:gd name="csY259" fmla="*/ 344123 h 1538630"/>
                <a:gd name="csX260" fmla="*/ 1237314 w 1609516"/>
                <a:gd name="csY260" fmla="*/ 382525 h 1538630"/>
                <a:gd name="csX261" fmla="*/ 1232628 w 1609516"/>
                <a:gd name="csY261" fmla="*/ 392389 h 1538630"/>
                <a:gd name="csX262" fmla="*/ 1228625 w 1609516"/>
                <a:gd name="csY262" fmla="*/ 398731 h 1538630"/>
                <a:gd name="csX263" fmla="*/ 1222822 w 1609516"/>
                <a:gd name="csY263" fmla="*/ 434798 h 1538630"/>
                <a:gd name="csX264" fmla="*/ 1260746 w 1609516"/>
                <a:gd name="csY264" fmla="*/ 485398 h 1538630"/>
                <a:gd name="csX265" fmla="*/ 1268556 w 1609516"/>
                <a:gd name="csY265" fmla="*/ 488216 h 1538630"/>
                <a:gd name="csX266" fmla="*/ 1268556 w 1609516"/>
                <a:gd name="csY266" fmla="*/ 491034 h 1538630"/>
                <a:gd name="csX267" fmla="*/ 1338852 w 1609516"/>
                <a:gd name="csY267" fmla="*/ 489625 h 1538630"/>
                <a:gd name="csX268" fmla="*/ 1347444 w 1609516"/>
                <a:gd name="csY268" fmla="*/ 488480 h 1538630"/>
                <a:gd name="csX269" fmla="*/ 1369362 w 1609516"/>
                <a:gd name="csY269" fmla="*/ 482513 h 1538630"/>
                <a:gd name="csX270" fmla="*/ 1388840 w 1609516"/>
                <a:gd name="csY270" fmla="*/ 478351 h 1538630"/>
                <a:gd name="csX271" fmla="*/ 1388840 w 1609516"/>
                <a:gd name="csY271" fmla="*/ 475533 h 1538630"/>
                <a:gd name="csX272" fmla="*/ 1395576 w 1609516"/>
                <a:gd name="csY272" fmla="*/ 473419 h 1538630"/>
                <a:gd name="csX273" fmla="*/ 1399365 w 1609516"/>
                <a:gd name="csY273" fmla="*/ 472230 h 1538630"/>
                <a:gd name="csX274" fmla="*/ 1407585 w 1609516"/>
                <a:gd name="csY274" fmla="*/ 471305 h 1538630"/>
                <a:gd name="csX275" fmla="*/ 1409147 w 1609516"/>
                <a:gd name="csY275" fmla="*/ 467078 h 1538630"/>
                <a:gd name="csX276" fmla="*/ 1416470 w 1609516"/>
                <a:gd name="csY276" fmla="*/ 464259 h 1538630"/>
                <a:gd name="csX277" fmla="*/ 1437949 w 1609516"/>
                <a:gd name="csY277" fmla="*/ 455011 h 1538630"/>
                <a:gd name="csX278" fmla="*/ 1452887 w 1609516"/>
                <a:gd name="csY278" fmla="*/ 450167 h 1538630"/>
                <a:gd name="csX279" fmla="*/ 1452887 w 1609516"/>
                <a:gd name="csY279" fmla="*/ 447349 h 1538630"/>
                <a:gd name="csX280" fmla="*/ 1455394 w 1609516"/>
                <a:gd name="csY280" fmla="*/ 446122 h 1538630"/>
                <a:gd name="csX281" fmla="*/ 1466653 w 1609516"/>
                <a:gd name="csY281" fmla="*/ 440567 h 1538630"/>
                <a:gd name="csX282" fmla="*/ 1470598 w 1609516"/>
                <a:gd name="csY282" fmla="*/ 438637 h 1538630"/>
                <a:gd name="csX283" fmla="*/ 1474397 w 1609516"/>
                <a:gd name="csY283" fmla="*/ 436752 h 1538630"/>
                <a:gd name="csX284" fmla="*/ 1477892 w 1609516"/>
                <a:gd name="csY284" fmla="*/ 435030 h 1538630"/>
                <a:gd name="csX285" fmla="*/ 1485691 w 1609516"/>
                <a:gd name="csY285" fmla="*/ 429029 h 1538630"/>
                <a:gd name="csX286" fmla="*/ 1488858 w 1609516"/>
                <a:gd name="csY286" fmla="*/ 427653 h 1538630"/>
                <a:gd name="csX287" fmla="*/ 1495943 w 1609516"/>
                <a:gd name="csY287" fmla="*/ 421454 h 1538630"/>
                <a:gd name="csX288" fmla="*/ 1538608 w 1609516"/>
                <a:gd name="csY288" fmla="*/ 388338 h 1538630"/>
                <a:gd name="csX289" fmla="*/ 1543490 w 1609516"/>
                <a:gd name="csY289" fmla="*/ 388161 h 1538630"/>
                <a:gd name="csX290" fmla="*/ 1547621 w 1609516"/>
                <a:gd name="csY290" fmla="*/ 387804 h 1538630"/>
                <a:gd name="csX291" fmla="*/ 1579418 w 1609516"/>
                <a:gd name="csY291" fmla="*/ 396617 h 1538630"/>
                <a:gd name="csX292" fmla="*/ 1583342 w 1609516"/>
                <a:gd name="csY292" fmla="*/ 398780 h 1538630"/>
                <a:gd name="csX293" fmla="*/ 1601288 w 1609516"/>
                <a:gd name="csY293" fmla="*/ 423392 h 1538630"/>
                <a:gd name="csX294" fmla="*/ 1594484 w 1609516"/>
                <a:gd name="csY294" fmla="*/ 460159 h 1538630"/>
                <a:gd name="csX295" fmla="*/ 1574732 w 1609516"/>
                <a:gd name="csY295" fmla="*/ 475533 h 1538630"/>
                <a:gd name="csX296" fmla="*/ 1572097 w 1609516"/>
                <a:gd name="csY296" fmla="*/ 477078 h 1538630"/>
                <a:gd name="csX297" fmla="*/ 1556066 w 1609516"/>
                <a:gd name="csY297" fmla="*/ 478737 h 1538630"/>
                <a:gd name="csX298" fmla="*/ 1548631 w 1609516"/>
                <a:gd name="csY298" fmla="*/ 478825 h 1538630"/>
                <a:gd name="csX299" fmla="*/ 1536991 w 1609516"/>
                <a:gd name="csY299" fmla="*/ 478889 h 1538630"/>
                <a:gd name="csX300" fmla="*/ 1498188 w 1609516"/>
                <a:gd name="csY300" fmla="*/ 485398 h 1538630"/>
                <a:gd name="csX301" fmla="*/ 1493892 w 1609516"/>
                <a:gd name="csY301" fmla="*/ 487600 h 1538630"/>
                <a:gd name="csX302" fmla="*/ 1490377 w 1609516"/>
                <a:gd name="csY302" fmla="*/ 489625 h 1538630"/>
                <a:gd name="csX303" fmla="*/ 1471650 w 1609516"/>
                <a:gd name="csY303" fmla="*/ 498185 h 1538630"/>
                <a:gd name="csX304" fmla="*/ 1459135 w 1609516"/>
                <a:gd name="csY304" fmla="*/ 505127 h 1538630"/>
                <a:gd name="csX305" fmla="*/ 1452594 w 1609516"/>
                <a:gd name="csY305" fmla="*/ 508033 h 1538630"/>
                <a:gd name="csX306" fmla="*/ 1427795 w 1609516"/>
                <a:gd name="csY306" fmla="*/ 520100 h 1538630"/>
                <a:gd name="csX307" fmla="*/ 1423733 w 1609516"/>
                <a:gd name="csY307" fmla="*/ 522148 h 1538630"/>
                <a:gd name="csX308" fmla="*/ 1419929 w 1609516"/>
                <a:gd name="csY308" fmla="*/ 524118 h 1538630"/>
                <a:gd name="csX309" fmla="*/ 1416487 w 1609516"/>
                <a:gd name="csY309" fmla="*/ 525883 h 1538630"/>
                <a:gd name="csX310" fmla="*/ 1412271 w 1609516"/>
                <a:gd name="csY310" fmla="*/ 531902 h 1538630"/>
                <a:gd name="csX311" fmla="*/ 1396650 w 1609516"/>
                <a:gd name="csY311" fmla="*/ 537539 h 1538630"/>
                <a:gd name="csX312" fmla="*/ 1396650 w 1609516"/>
                <a:gd name="csY312" fmla="*/ 540357 h 1538630"/>
                <a:gd name="csX313" fmla="*/ 1393495 w 1609516"/>
                <a:gd name="csY313" fmla="*/ 541502 h 1538630"/>
                <a:gd name="csX314" fmla="*/ 1362284 w 1609516"/>
                <a:gd name="csY314" fmla="*/ 558678 h 1538630"/>
                <a:gd name="csX315" fmla="*/ 1355937 w 1609516"/>
                <a:gd name="csY315" fmla="*/ 562905 h 1538630"/>
                <a:gd name="csX316" fmla="*/ 1334165 w 1609516"/>
                <a:gd name="csY316" fmla="*/ 578406 h 1538630"/>
                <a:gd name="csX317" fmla="*/ 1331200 w 1609516"/>
                <a:gd name="csY317" fmla="*/ 580559 h 1538630"/>
                <a:gd name="csX318" fmla="*/ 1322175 w 1609516"/>
                <a:gd name="csY318" fmla="*/ 596793 h 1538630"/>
                <a:gd name="csX319" fmla="*/ 1320106 w 1609516"/>
                <a:gd name="csY319" fmla="*/ 602363 h 1538630"/>
                <a:gd name="csX320" fmla="*/ 1328015 w 1609516"/>
                <a:gd name="csY320" fmla="*/ 647640 h 1538630"/>
                <a:gd name="csX321" fmla="*/ 1332604 w 1609516"/>
                <a:gd name="csY321" fmla="*/ 675643 h 1538630"/>
                <a:gd name="csX322" fmla="*/ 1335727 w 1609516"/>
                <a:gd name="csY322" fmla="*/ 675643 h 1538630"/>
                <a:gd name="csX323" fmla="*/ 1337741 w 1609516"/>
                <a:gd name="csY323" fmla="*/ 690059 h 1538630"/>
                <a:gd name="csX324" fmla="*/ 1338003 w 1609516"/>
                <a:gd name="csY324" fmla="*/ 696222 h 1538630"/>
                <a:gd name="csX325" fmla="*/ 1338340 w 1609516"/>
                <a:gd name="csY325" fmla="*/ 705887 h 1538630"/>
                <a:gd name="csX326" fmla="*/ 1345277 w 1609516"/>
                <a:gd name="csY326" fmla="*/ 733245 h 1538630"/>
                <a:gd name="csX327" fmla="*/ 1363162 w 1609516"/>
                <a:gd name="csY327" fmla="*/ 741612 h 1538630"/>
                <a:gd name="csX328" fmla="*/ 1384154 w 1609516"/>
                <a:gd name="csY328" fmla="*/ 748922 h 1538630"/>
                <a:gd name="csX329" fmla="*/ 1391476 w 1609516"/>
                <a:gd name="csY329" fmla="*/ 750419 h 1538630"/>
                <a:gd name="csX330" fmla="*/ 1395564 w 1609516"/>
                <a:gd name="csY330" fmla="*/ 751080 h 1538630"/>
                <a:gd name="csX331" fmla="*/ 1399775 w 1609516"/>
                <a:gd name="csY331" fmla="*/ 751740 h 1538630"/>
                <a:gd name="csX332" fmla="*/ 1403887 w 1609516"/>
                <a:gd name="csY332" fmla="*/ 752489 h 1538630"/>
                <a:gd name="csX333" fmla="*/ 1465383 w 1609516"/>
                <a:gd name="csY333" fmla="*/ 755969 h 1538630"/>
                <a:gd name="csX334" fmla="*/ 1470339 w 1609516"/>
                <a:gd name="csY334" fmla="*/ 755897 h 1538630"/>
                <a:gd name="csX335" fmla="*/ 1496809 w 1609516"/>
                <a:gd name="csY335" fmla="*/ 749313 h 1538630"/>
                <a:gd name="csX336" fmla="*/ 1515371 w 1609516"/>
                <a:gd name="csY336" fmla="*/ 743285 h 1538630"/>
                <a:gd name="csX337" fmla="*/ 1515371 w 1609516"/>
                <a:gd name="csY337" fmla="*/ 740467 h 1538630"/>
                <a:gd name="csX338" fmla="*/ 1537632 w 1609516"/>
                <a:gd name="csY338" fmla="*/ 737120 h 1538630"/>
                <a:gd name="csX339" fmla="*/ 1541657 w 1609516"/>
                <a:gd name="csY339" fmla="*/ 737127 h 1538630"/>
                <a:gd name="csX340" fmla="*/ 1574732 w 1609516"/>
                <a:gd name="csY340" fmla="*/ 748922 h 1538630"/>
                <a:gd name="csX341" fmla="*/ 1588791 w 1609516"/>
                <a:gd name="csY341" fmla="*/ 792608 h 1538630"/>
                <a:gd name="csX342" fmla="*/ 1584105 w 1609516"/>
                <a:gd name="csY342" fmla="*/ 805291 h 1538630"/>
                <a:gd name="csX343" fmla="*/ 1580981 w 1609516"/>
                <a:gd name="csY343" fmla="*/ 806700 h 1538630"/>
                <a:gd name="csX344" fmla="*/ 1578735 w 1609516"/>
                <a:gd name="csY344" fmla="*/ 810311 h 1538630"/>
                <a:gd name="csX345" fmla="*/ 1576295 w 1609516"/>
                <a:gd name="csY345" fmla="*/ 813746 h 1538630"/>
                <a:gd name="csX346" fmla="*/ 1571652 w 1609516"/>
                <a:gd name="csY346" fmla="*/ 813746 h 1538630"/>
                <a:gd name="csX347" fmla="*/ 1571785 w 1609516"/>
                <a:gd name="csY347" fmla="*/ 814106 h 1538630"/>
                <a:gd name="csX348" fmla="*/ 1574909 w 1609516"/>
                <a:gd name="csY348" fmla="*/ 815515 h 1538630"/>
                <a:gd name="csX349" fmla="*/ 1565463 w 1609516"/>
                <a:gd name="csY349" fmla="*/ 821839 h 1538630"/>
                <a:gd name="csX350" fmla="*/ 1562085 w 1609516"/>
                <a:gd name="csY350" fmla="*/ 822101 h 1538630"/>
                <a:gd name="csX351" fmla="*/ 1551301 w 1609516"/>
                <a:gd name="csY351" fmla="*/ 825020 h 1538630"/>
                <a:gd name="csX352" fmla="*/ 1551301 w 1609516"/>
                <a:gd name="csY352" fmla="*/ 827838 h 1538630"/>
                <a:gd name="csX353" fmla="*/ 1485380 w 1609516"/>
                <a:gd name="csY353" fmla="*/ 815007 h 1538630"/>
                <a:gd name="csX354" fmla="*/ 1431603 w 1609516"/>
                <a:gd name="csY354" fmla="*/ 808726 h 1538630"/>
                <a:gd name="csX355" fmla="*/ 1424140 w 1609516"/>
                <a:gd name="csY355" fmla="*/ 808542 h 1538630"/>
                <a:gd name="csX356" fmla="*/ 1406023 w 1609516"/>
                <a:gd name="csY356" fmla="*/ 808109 h 1538630"/>
                <a:gd name="csX357" fmla="*/ 1406023 w 1609516"/>
                <a:gd name="csY357" fmla="*/ 810928 h 1538630"/>
                <a:gd name="csX358" fmla="*/ 1403383 w 1609516"/>
                <a:gd name="csY358" fmla="*/ 811311 h 1538630"/>
                <a:gd name="csX359" fmla="*/ 1345442 w 1609516"/>
                <a:gd name="csY359" fmla="*/ 828907 h 1538630"/>
                <a:gd name="csX360" fmla="*/ 1337875 w 1609516"/>
                <a:gd name="csY360" fmla="*/ 856639 h 1538630"/>
                <a:gd name="csX361" fmla="*/ 1337692 w 1609516"/>
                <a:gd name="csY361" fmla="*/ 860171 h 1538630"/>
                <a:gd name="csX362" fmla="*/ 1337290 w 1609516"/>
                <a:gd name="csY362" fmla="*/ 868706 h 1538630"/>
                <a:gd name="csX363" fmla="*/ 1334165 w 1609516"/>
                <a:gd name="csY363" fmla="*/ 868706 h 1538630"/>
                <a:gd name="csX364" fmla="*/ 1334165 w 1609516"/>
                <a:gd name="csY364" fmla="*/ 870034 h 1538630"/>
                <a:gd name="csX365" fmla="*/ 1334237 w 1609516"/>
                <a:gd name="csY365" fmla="*/ 869093 h 1538630"/>
                <a:gd name="csX366" fmla="*/ 1335800 w 1609516"/>
                <a:gd name="csY366" fmla="*/ 869093 h 1538630"/>
                <a:gd name="csX367" fmla="*/ 1335995 w 1609516"/>
                <a:gd name="csY367" fmla="*/ 876491 h 1538630"/>
                <a:gd name="csX368" fmla="*/ 1336105 w 1609516"/>
                <a:gd name="csY368" fmla="*/ 880653 h 1538630"/>
                <a:gd name="csX369" fmla="*/ 1334294 w 1609516"/>
                <a:gd name="csY369" fmla="*/ 887271 h 1538630"/>
                <a:gd name="csX370" fmla="*/ 1331455 w 1609516"/>
                <a:gd name="csY370" fmla="*/ 896440 h 1538630"/>
                <a:gd name="csX371" fmla="*/ 1330887 w 1609516"/>
                <a:gd name="csY371" fmla="*/ 899969 h 1538630"/>
                <a:gd name="csX372" fmla="*/ 1330332 w 1609516"/>
                <a:gd name="csY372" fmla="*/ 903618 h 1538630"/>
                <a:gd name="csX373" fmla="*/ 1329209 w 1609516"/>
                <a:gd name="csY373" fmla="*/ 910797 h 1538630"/>
                <a:gd name="csX374" fmla="*/ 1328724 w 1609516"/>
                <a:gd name="csY374" fmla="*/ 913998 h 1538630"/>
                <a:gd name="csX375" fmla="*/ 1324865 w 1609516"/>
                <a:gd name="csY375" fmla="*/ 922643 h 1538630"/>
                <a:gd name="csX376" fmla="*/ 1322619 w 1609516"/>
                <a:gd name="csY376" fmla="*/ 937979 h 1538630"/>
                <a:gd name="csX377" fmla="*/ 1318744 w 1609516"/>
                <a:gd name="csY377" fmla="*/ 944961 h 1538630"/>
                <a:gd name="csX378" fmla="*/ 1318544 w 1609516"/>
                <a:gd name="csY378" fmla="*/ 946213 h 1538630"/>
                <a:gd name="csX379" fmla="*/ 1318251 w 1609516"/>
                <a:gd name="csY379" fmla="*/ 955285 h 1538630"/>
                <a:gd name="csX380" fmla="*/ 1318184 w 1609516"/>
                <a:gd name="csY380" fmla="*/ 960036 h 1538630"/>
                <a:gd name="csX381" fmla="*/ 1324024 w 1609516"/>
                <a:gd name="csY381" fmla="*/ 973660 h 1538630"/>
                <a:gd name="csX382" fmla="*/ 1329284 w 1609516"/>
                <a:gd name="csY382" fmla="*/ 983382 h 1538630"/>
                <a:gd name="csX383" fmla="*/ 1340414 w 1609516"/>
                <a:gd name="csY383" fmla="*/ 998354 h 1538630"/>
                <a:gd name="csX384" fmla="*/ 1346272 w 1609516"/>
                <a:gd name="csY384" fmla="*/ 1005048 h 1538630"/>
                <a:gd name="csX385" fmla="*/ 1394716 w 1609516"/>
                <a:gd name="csY385" fmla="*/ 1042740 h 1538630"/>
                <a:gd name="csX386" fmla="*/ 1401953 w 1609516"/>
                <a:gd name="csY386" fmla="*/ 1047374 h 1538630"/>
                <a:gd name="csX387" fmla="*/ 1427197 w 1609516"/>
                <a:gd name="csY387" fmla="*/ 1059061 h 1538630"/>
                <a:gd name="csX388" fmla="*/ 1437265 w 1609516"/>
                <a:gd name="csY388" fmla="*/ 1064588 h 1538630"/>
                <a:gd name="csX389" fmla="*/ 1437265 w 1609516"/>
                <a:gd name="csY389" fmla="*/ 1067406 h 1538630"/>
                <a:gd name="csX390" fmla="*/ 1440878 w 1609516"/>
                <a:gd name="csY390" fmla="*/ 1067847 h 1538630"/>
                <a:gd name="csX391" fmla="*/ 1447175 w 1609516"/>
                <a:gd name="csY391" fmla="*/ 1070753 h 1538630"/>
                <a:gd name="csX392" fmla="*/ 1457866 w 1609516"/>
                <a:gd name="csY392" fmla="*/ 1076830 h 1538630"/>
                <a:gd name="csX393" fmla="*/ 1462132 w 1609516"/>
                <a:gd name="csY393" fmla="*/ 1078696 h 1538630"/>
                <a:gd name="csX394" fmla="*/ 1465383 w 1609516"/>
                <a:gd name="csY394" fmla="*/ 1080089 h 1538630"/>
                <a:gd name="csX395" fmla="*/ 1465383 w 1609516"/>
                <a:gd name="csY395" fmla="*/ 1082908 h 1538630"/>
                <a:gd name="csX396" fmla="*/ 1468758 w 1609516"/>
                <a:gd name="csY396" fmla="*/ 1083975 h 1538630"/>
                <a:gd name="csX397" fmla="*/ 1481688 w 1609516"/>
                <a:gd name="csY397" fmla="*/ 1091187 h 1538630"/>
                <a:gd name="csX398" fmla="*/ 1486283 w 1609516"/>
                <a:gd name="csY398" fmla="*/ 1094236 h 1538630"/>
                <a:gd name="csX399" fmla="*/ 1494869 w 1609516"/>
                <a:gd name="csY399" fmla="*/ 1100171 h 1538630"/>
                <a:gd name="csX400" fmla="*/ 1544335 w 1609516"/>
                <a:gd name="csY400" fmla="*/ 1109518 h 1538630"/>
                <a:gd name="csX401" fmla="*/ 1593477 w 1609516"/>
                <a:gd name="csY401" fmla="*/ 1119900 h 1538630"/>
                <a:gd name="csX402" fmla="*/ 1605975 w 1609516"/>
                <a:gd name="csY402" fmla="*/ 1144913 h 1538630"/>
                <a:gd name="csX403" fmla="*/ 1609099 w 1609516"/>
                <a:gd name="csY403" fmla="*/ 1144913 h 1538630"/>
                <a:gd name="csX404" fmla="*/ 1609392 w 1609516"/>
                <a:gd name="csY404" fmla="*/ 1156892 h 1538630"/>
                <a:gd name="csX405" fmla="*/ 1609511 w 1609516"/>
                <a:gd name="csY405" fmla="*/ 1160272 h 1538630"/>
                <a:gd name="csX406" fmla="*/ 1604412 w 1609516"/>
                <a:gd name="csY406" fmla="*/ 1181553 h 1538630"/>
                <a:gd name="csX407" fmla="*/ 1601288 w 1609516"/>
                <a:gd name="csY407" fmla="*/ 1190009 h 1538630"/>
                <a:gd name="csX408" fmla="*/ 1598164 w 1609516"/>
                <a:gd name="csY408" fmla="*/ 1190009 h 1538630"/>
                <a:gd name="csX409" fmla="*/ 1597187 w 1609516"/>
                <a:gd name="csY409" fmla="*/ 1192739 h 1538630"/>
                <a:gd name="csX410" fmla="*/ 1595040 w 1609516"/>
                <a:gd name="csY410" fmla="*/ 1195645 h 1538630"/>
                <a:gd name="csX411" fmla="*/ 1585667 w 1609516"/>
                <a:gd name="csY411" fmla="*/ 1197055 h 1538630"/>
                <a:gd name="csX412" fmla="*/ 1582543 w 1609516"/>
                <a:gd name="csY412" fmla="*/ 1202691 h 1538630"/>
                <a:gd name="csX413" fmla="*/ 1562431 w 1609516"/>
                <a:gd name="csY413" fmla="*/ 1204365 h 1538630"/>
                <a:gd name="csX414" fmla="*/ 1558690 w 1609516"/>
                <a:gd name="csY414" fmla="*/ 1204417 h 1538630"/>
                <a:gd name="csX415" fmla="*/ 1521102 w 1609516"/>
                <a:gd name="csY415" fmla="*/ 1189585 h 1538630"/>
                <a:gd name="csX416" fmla="*/ 1505022 w 1609516"/>
                <a:gd name="csY416" fmla="*/ 1172041 h 1538630"/>
                <a:gd name="csX417" fmla="*/ 1457573 w 1609516"/>
                <a:gd name="csY417" fmla="*/ 1140686 h 1538630"/>
                <a:gd name="csX418" fmla="*/ 1457573 w 1609516"/>
                <a:gd name="csY418" fmla="*/ 1137867 h 1538630"/>
                <a:gd name="csX419" fmla="*/ 1452985 w 1609516"/>
                <a:gd name="csY419" fmla="*/ 1137339 h 1538630"/>
                <a:gd name="csX420" fmla="*/ 1448200 w 1609516"/>
                <a:gd name="csY420" fmla="*/ 1136458 h 1538630"/>
                <a:gd name="csX421" fmla="*/ 1446638 w 1609516"/>
                <a:gd name="csY421" fmla="*/ 1133640 h 1538630"/>
                <a:gd name="csX422" fmla="*/ 1438937 w 1609516"/>
                <a:gd name="csY422" fmla="*/ 1130601 h 1538630"/>
                <a:gd name="csX423" fmla="*/ 1429260 w 1609516"/>
                <a:gd name="csY423" fmla="*/ 1126770 h 1538630"/>
                <a:gd name="csX424" fmla="*/ 1411393 w 1609516"/>
                <a:gd name="csY424" fmla="*/ 1120340 h 1538630"/>
                <a:gd name="csX425" fmla="*/ 1391427 w 1609516"/>
                <a:gd name="csY425" fmla="*/ 1111191 h 1538630"/>
                <a:gd name="csX426" fmla="*/ 1381029 w 1609516"/>
                <a:gd name="csY426" fmla="*/ 1106865 h 1538630"/>
                <a:gd name="csX427" fmla="*/ 1381029 w 1609516"/>
                <a:gd name="csY427" fmla="*/ 1104046 h 1538630"/>
                <a:gd name="csX428" fmla="*/ 1377221 w 1609516"/>
                <a:gd name="csY428" fmla="*/ 1103605 h 1538630"/>
                <a:gd name="csX429" fmla="*/ 1357597 w 1609516"/>
                <a:gd name="csY429" fmla="*/ 1098409 h 1538630"/>
                <a:gd name="csX430" fmla="*/ 1352032 w 1609516"/>
                <a:gd name="csY430" fmla="*/ 1096736 h 1538630"/>
                <a:gd name="csX431" fmla="*/ 1348225 w 1609516"/>
                <a:gd name="csY431" fmla="*/ 1095590 h 1538630"/>
                <a:gd name="csX432" fmla="*/ 1348225 w 1609516"/>
                <a:gd name="csY432" fmla="*/ 1092772 h 1538630"/>
                <a:gd name="csX433" fmla="*/ 1337290 w 1609516"/>
                <a:gd name="csY433" fmla="*/ 1091363 h 1538630"/>
                <a:gd name="csX434" fmla="*/ 1337290 w 1609516"/>
                <a:gd name="csY434" fmla="*/ 1088544 h 1538630"/>
                <a:gd name="csX435" fmla="*/ 1331529 w 1609516"/>
                <a:gd name="csY435" fmla="*/ 1088104 h 1538630"/>
                <a:gd name="csX436" fmla="*/ 1323297 w 1609516"/>
                <a:gd name="csY436" fmla="*/ 1086611 h 1538630"/>
                <a:gd name="csX437" fmla="*/ 1323297 w 1609516"/>
                <a:gd name="csY437" fmla="*/ 1087618 h 1538630"/>
                <a:gd name="csX438" fmla="*/ 1319789 w 1609516"/>
                <a:gd name="csY438" fmla="*/ 1087310 h 1538630"/>
                <a:gd name="csX439" fmla="*/ 1262375 w 1609516"/>
                <a:gd name="csY439" fmla="*/ 1089028 h 1538630"/>
                <a:gd name="csX440" fmla="*/ 1258728 w 1609516"/>
                <a:gd name="csY440" fmla="*/ 1088205 h 1538630"/>
                <a:gd name="csX441" fmla="*/ 1246964 w 1609516"/>
                <a:gd name="csY441" fmla="*/ 1091489 h 1538630"/>
                <a:gd name="csX442" fmla="*/ 1223224 w 1609516"/>
                <a:gd name="csY442" fmla="*/ 1112865 h 1538630"/>
                <a:gd name="csX443" fmla="*/ 1213883 w 1609516"/>
                <a:gd name="csY443" fmla="*/ 1122366 h 1538630"/>
                <a:gd name="csX444" fmla="*/ 1212505 w 1609516"/>
                <a:gd name="csY444" fmla="*/ 1125708 h 1538630"/>
                <a:gd name="csX445" fmla="*/ 1204180 w 1609516"/>
                <a:gd name="csY445" fmla="*/ 1135561 h 1538630"/>
                <a:gd name="csX446" fmla="*/ 1200238 w 1609516"/>
                <a:gd name="csY446" fmla="*/ 1138999 h 1538630"/>
                <a:gd name="csX447" fmla="*/ 1192025 w 1609516"/>
                <a:gd name="csY447" fmla="*/ 1146022 h 1538630"/>
                <a:gd name="csX448" fmla="*/ 1173945 w 1609516"/>
                <a:gd name="csY448" fmla="*/ 1174749 h 1538630"/>
                <a:gd name="csX449" fmla="*/ 1173950 w 1609516"/>
                <a:gd name="csY449" fmla="*/ 1182610 h 1538630"/>
                <a:gd name="csX450" fmla="*/ 1173989 w 1609516"/>
                <a:gd name="csY450" fmla="*/ 1186765 h 1538630"/>
                <a:gd name="csX451" fmla="*/ 1182640 w 1609516"/>
                <a:gd name="csY451" fmla="*/ 1215374 h 1538630"/>
                <a:gd name="csX452" fmla="*/ 1185764 w 1609516"/>
                <a:gd name="csY452" fmla="*/ 1221804 h 1538630"/>
                <a:gd name="csX453" fmla="*/ 1187301 w 1609516"/>
                <a:gd name="csY453" fmla="*/ 1224859 h 1538630"/>
                <a:gd name="csX454" fmla="*/ 1190573 w 1609516"/>
                <a:gd name="csY454" fmla="*/ 1231740 h 1538630"/>
                <a:gd name="csX455" fmla="*/ 1205925 w 1609516"/>
                <a:gd name="csY455" fmla="*/ 1255163 h 1538630"/>
                <a:gd name="csX456" fmla="*/ 1212174 w 1609516"/>
                <a:gd name="csY456" fmla="*/ 1263134 h 1538630"/>
                <a:gd name="csX457" fmla="*/ 1235556 w 1609516"/>
                <a:gd name="csY457" fmla="*/ 1282538 h 1538630"/>
                <a:gd name="csX458" fmla="*/ 1238876 w 1609516"/>
                <a:gd name="csY458" fmla="*/ 1284426 h 1538630"/>
                <a:gd name="csX459" fmla="*/ 1238876 w 1609516"/>
                <a:gd name="csY459" fmla="*/ 1287245 h 1538630"/>
                <a:gd name="csX460" fmla="*/ 1242245 w 1609516"/>
                <a:gd name="csY460" fmla="*/ 1287663 h 1538630"/>
                <a:gd name="csX461" fmla="*/ 1271681 w 1609516"/>
                <a:gd name="csY461" fmla="*/ 1305565 h 1538630"/>
                <a:gd name="csX462" fmla="*/ 1271742 w 1609516"/>
                <a:gd name="csY462" fmla="*/ 1306172 h 1538630"/>
                <a:gd name="csX463" fmla="*/ 1278525 w 1609516"/>
                <a:gd name="csY463" fmla="*/ 1315767 h 1538630"/>
                <a:gd name="csX464" fmla="*/ 1281097 w 1609516"/>
                <a:gd name="csY464" fmla="*/ 1327286 h 1538630"/>
                <a:gd name="csX465" fmla="*/ 1277973 w 1609516"/>
                <a:gd name="csY465" fmla="*/ 1355470 h 1538630"/>
                <a:gd name="csX466" fmla="*/ 1277460 w 1609516"/>
                <a:gd name="csY466" fmla="*/ 1347025 h 1538630"/>
                <a:gd name="csX467" fmla="*/ 1273531 w 1609516"/>
                <a:gd name="csY467" fmla="*/ 1357991 h 1538630"/>
                <a:gd name="csX468" fmla="*/ 1263870 w 1609516"/>
                <a:gd name="csY468" fmla="*/ 1368980 h 1538630"/>
                <a:gd name="csX469" fmla="*/ 1246686 w 1609516"/>
                <a:gd name="csY469" fmla="*/ 1376026 h 1538630"/>
                <a:gd name="csX470" fmla="*/ 1246686 w 1609516"/>
                <a:gd name="csY470" fmla="*/ 1378844 h 1538630"/>
                <a:gd name="csX471" fmla="*/ 1231651 w 1609516"/>
                <a:gd name="csY471" fmla="*/ 1379196 h 1538630"/>
                <a:gd name="csX472" fmla="*/ 1227373 w 1609516"/>
                <a:gd name="csY472" fmla="*/ 1379340 h 1538630"/>
                <a:gd name="csX473" fmla="*/ 1206071 w 1609516"/>
                <a:gd name="csY473" fmla="*/ 1373207 h 1538630"/>
                <a:gd name="csX474" fmla="*/ 1202069 w 1609516"/>
                <a:gd name="csY474" fmla="*/ 1371798 h 1538630"/>
                <a:gd name="csX475" fmla="*/ 1184104 w 1609516"/>
                <a:gd name="csY475" fmla="*/ 1356176 h 1538630"/>
                <a:gd name="csX476" fmla="*/ 1177270 w 1609516"/>
                <a:gd name="csY476" fmla="*/ 1335247 h 1538630"/>
                <a:gd name="csX477" fmla="*/ 1169002 w 1609516"/>
                <a:gd name="csY477" fmla="*/ 1313464 h 1538630"/>
                <a:gd name="csX478" fmla="*/ 1163504 w 1609516"/>
                <a:gd name="csY478" fmla="*/ 1302130 h 1538630"/>
                <a:gd name="csX479" fmla="*/ 1162015 w 1609516"/>
                <a:gd name="csY479" fmla="*/ 1298788 h 1538630"/>
                <a:gd name="csX480" fmla="*/ 1160111 w 1609516"/>
                <a:gd name="csY480" fmla="*/ 1292656 h 1538630"/>
                <a:gd name="csX481" fmla="*/ 1154522 w 1609516"/>
                <a:gd name="csY481" fmla="*/ 1287245 h 1538630"/>
                <a:gd name="csX482" fmla="*/ 1151398 w 1609516"/>
                <a:gd name="csY482" fmla="*/ 1280199 h 1538630"/>
                <a:gd name="csX483" fmla="*/ 1144173 w 1609516"/>
                <a:gd name="csY483" fmla="*/ 1270774 h 1538630"/>
                <a:gd name="csX484" fmla="*/ 1142065 w 1609516"/>
                <a:gd name="csY484" fmla="*/ 1268160 h 1538630"/>
                <a:gd name="csX485" fmla="*/ 1135776 w 1609516"/>
                <a:gd name="csY485" fmla="*/ 1260470 h 1538630"/>
                <a:gd name="csX486" fmla="*/ 1132353 w 1609516"/>
                <a:gd name="csY486" fmla="*/ 1256247 h 1538630"/>
                <a:gd name="csX487" fmla="*/ 1112344 w 1609516"/>
                <a:gd name="csY487" fmla="*/ 1240741 h 1538630"/>
                <a:gd name="csX488" fmla="*/ 1106193 w 1609516"/>
                <a:gd name="csY488" fmla="*/ 1237570 h 1538630"/>
                <a:gd name="csX489" fmla="*/ 1101409 w 1609516"/>
                <a:gd name="csY489" fmla="*/ 1235104 h 1538630"/>
                <a:gd name="csX490" fmla="*/ 1101409 w 1609516"/>
                <a:gd name="csY490" fmla="*/ 1230876 h 1538630"/>
                <a:gd name="csX491" fmla="*/ 1065480 w 1609516"/>
                <a:gd name="csY491" fmla="*/ 1230876 h 1538630"/>
                <a:gd name="csX492" fmla="*/ 1063919 w 1609516"/>
                <a:gd name="csY492" fmla="*/ 1235104 h 1538630"/>
                <a:gd name="csX493" fmla="*/ 1059232 w 1609516"/>
                <a:gd name="csY493" fmla="*/ 1235104 h 1538630"/>
                <a:gd name="csX494" fmla="*/ 1059232 w 1609516"/>
                <a:gd name="csY494" fmla="*/ 1237922 h 1538630"/>
                <a:gd name="csX495" fmla="*/ 1040194 w 1609516"/>
                <a:gd name="csY495" fmla="*/ 1245761 h 1538630"/>
                <a:gd name="csX496" fmla="*/ 1030333 w 1609516"/>
                <a:gd name="csY496" fmla="*/ 1249901 h 1538630"/>
                <a:gd name="csX497" fmla="*/ 1013931 w 1609516"/>
                <a:gd name="csY497" fmla="*/ 1256242 h 1538630"/>
                <a:gd name="csX498" fmla="*/ 1005925 w 1609516"/>
                <a:gd name="csY498" fmla="*/ 1261615 h 1538630"/>
                <a:gd name="csX499" fmla="*/ 1004558 w 1609516"/>
                <a:gd name="csY499" fmla="*/ 1264697 h 1538630"/>
                <a:gd name="csX500" fmla="*/ 1002959 w 1609516"/>
                <a:gd name="csY500" fmla="*/ 1267961 h 1538630"/>
                <a:gd name="csX501" fmla="*/ 1000653 w 1609516"/>
                <a:gd name="csY501" fmla="*/ 1278965 h 1538630"/>
                <a:gd name="csX502" fmla="*/ 998297 w 1609516"/>
                <a:gd name="csY502" fmla="*/ 1294137 h 1538630"/>
                <a:gd name="csX503" fmla="*/ 996162 w 1609516"/>
                <a:gd name="csY503" fmla="*/ 1324765 h 1538630"/>
                <a:gd name="csX504" fmla="*/ 996164 w 1609516"/>
                <a:gd name="csY504" fmla="*/ 1327846 h 1538630"/>
                <a:gd name="csX505" fmla="*/ 1007780 w 1609516"/>
                <a:gd name="csY505" fmla="*/ 1403329 h 1538630"/>
                <a:gd name="csX506" fmla="*/ 1008940 w 1609516"/>
                <a:gd name="csY506" fmla="*/ 1407701 h 1538630"/>
                <a:gd name="csX507" fmla="*/ 1010080 w 1609516"/>
                <a:gd name="csY507" fmla="*/ 1411730 h 1538630"/>
                <a:gd name="csX508" fmla="*/ 1011075 w 1609516"/>
                <a:gd name="csY508" fmla="*/ 1415277 h 1538630"/>
                <a:gd name="csX509" fmla="*/ 1017055 w 1609516"/>
                <a:gd name="csY509" fmla="*/ 1422530 h 1538630"/>
                <a:gd name="csX510" fmla="*/ 1020277 w 1609516"/>
                <a:gd name="csY510" fmla="*/ 1427991 h 1538630"/>
                <a:gd name="csX511" fmla="*/ 1021796 w 1609516"/>
                <a:gd name="csY511" fmla="*/ 1430798 h 1538630"/>
                <a:gd name="csX512" fmla="*/ 1024579 w 1609516"/>
                <a:gd name="csY512" fmla="*/ 1437239 h 1538630"/>
                <a:gd name="csX513" fmla="*/ 1034043 w 1609516"/>
                <a:gd name="csY513" fmla="*/ 1448072 h 1538630"/>
                <a:gd name="csX514" fmla="*/ 1043782 w 1609516"/>
                <a:gd name="csY514" fmla="*/ 1464320 h 1538630"/>
                <a:gd name="csX515" fmla="*/ 1050458 w 1609516"/>
                <a:gd name="csY515" fmla="*/ 1472189 h 1538630"/>
                <a:gd name="csX516" fmla="*/ 1052926 w 1609516"/>
                <a:gd name="csY516" fmla="*/ 1482370 h 1538630"/>
                <a:gd name="csX517" fmla="*/ 1053316 w 1609516"/>
                <a:gd name="csY517" fmla="*/ 1496903 h 1538630"/>
                <a:gd name="csX518" fmla="*/ 1053352 w 1609516"/>
                <a:gd name="csY518" fmla="*/ 1500660 h 1538630"/>
                <a:gd name="csX519" fmla="*/ 1053341 w 1609516"/>
                <a:gd name="csY519" fmla="*/ 1504285 h 1538630"/>
                <a:gd name="csX520" fmla="*/ 1053329 w 1609516"/>
                <a:gd name="csY520" fmla="*/ 1507529 h 1538630"/>
                <a:gd name="csX521" fmla="*/ 1049801 w 1609516"/>
                <a:gd name="csY521" fmla="*/ 1516192 h 1538630"/>
                <a:gd name="csX522" fmla="*/ 1047312 w 1609516"/>
                <a:gd name="csY522" fmla="*/ 1516192 h 1538630"/>
                <a:gd name="csX523" fmla="*/ 1043611 w 1609516"/>
                <a:gd name="csY523" fmla="*/ 1522585 h 1538630"/>
                <a:gd name="csX524" fmla="*/ 1029552 w 1609516"/>
                <a:gd name="csY524" fmla="*/ 1529631 h 1538630"/>
                <a:gd name="csX525" fmla="*/ 1028771 w 1609516"/>
                <a:gd name="csY525" fmla="*/ 1532273 h 1538630"/>
                <a:gd name="csX526" fmla="*/ 1018013 w 1609516"/>
                <a:gd name="csY526" fmla="*/ 1537640 h 1538630"/>
                <a:gd name="csX527" fmla="*/ 981126 w 1609516"/>
                <a:gd name="csY527" fmla="*/ 1533859 h 1538630"/>
                <a:gd name="csX528" fmla="*/ 977227 w 1609516"/>
                <a:gd name="csY528" fmla="*/ 1531943 h 1538630"/>
                <a:gd name="csX529" fmla="*/ 955376 w 1609516"/>
                <a:gd name="csY529" fmla="*/ 1508751 h 1538630"/>
                <a:gd name="csX530" fmla="*/ 954571 w 1609516"/>
                <a:gd name="csY530" fmla="*/ 1500037 h 1538630"/>
                <a:gd name="csX531" fmla="*/ 951446 w 1609516"/>
                <a:gd name="csY531" fmla="*/ 1500037 h 1538630"/>
                <a:gd name="csX532" fmla="*/ 951251 w 1609516"/>
                <a:gd name="csY532" fmla="*/ 1487883 h 1538630"/>
                <a:gd name="csX533" fmla="*/ 951171 w 1609516"/>
                <a:gd name="csY533" fmla="*/ 1484431 h 1538630"/>
                <a:gd name="csX534" fmla="*/ 954571 w 1609516"/>
                <a:gd name="csY534" fmla="*/ 1466216 h 1538630"/>
                <a:gd name="csX535" fmla="*/ 954961 w 1609516"/>
                <a:gd name="csY535" fmla="*/ 1455118 h 1538630"/>
                <a:gd name="csX536" fmla="*/ 954932 w 1609516"/>
                <a:gd name="csY536" fmla="*/ 1451972 h 1538630"/>
                <a:gd name="csX537" fmla="*/ 945099 w 1609516"/>
                <a:gd name="csY537" fmla="*/ 1403594 h 1538630"/>
                <a:gd name="csX538" fmla="*/ 942366 w 1609516"/>
                <a:gd name="csY538" fmla="*/ 1393553 h 1538630"/>
                <a:gd name="csX539" fmla="*/ 934451 w 1609516"/>
                <a:gd name="csY539" fmla="*/ 1372734 h 1538630"/>
                <a:gd name="csX540" fmla="*/ 931974 w 1609516"/>
                <a:gd name="csY540" fmla="*/ 1365754 h 1538630"/>
                <a:gd name="csX541" fmla="*/ 931138 w 1609516"/>
                <a:gd name="csY541" fmla="*/ 1363343 h 1538630"/>
                <a:gd name="csX542" fmla="*/ 926452 w 1609516"/>
                <a:gd name="csY542" fmla="*/ 1361933 h 1538630"/>
                <a:gd name="csX543" fmla="*/ 918641 w 1609516"/>
                <a:gd name="csY543" fmla="*/ 1340795 h 1538630"/>
                <a:gd name="csX544" fmla="*/ 917079 w 1609516"/>
                <a:gd name="csY544" fmla="*/ 1335158 h 1538630"/>
                <a:gd name="csX545" fmla="*/ 913955 w 1609516"/>
                <a:gd name="csY545" fmla="*/ 1335158 h 1538630"/>
                <a:gd name="csX546" fmla="*/ 912057 w 1609516"/>
                <a:gd name="csY546" fmla="*/ 1330793 h 1538630"/>
                <a:gd name="csX547" fmla="*/ 902142 w 1609516"/>
                <a:gd name="csY547" fmla="*/ 1316222 h 1538630"/>
                <a:gd name="csX548" fmla="*/ 900091 w 1609516"/>
                <a:gd name="csY548" fmla="*/ 1313828 h 1538630"/>
                <a:gd name="csX549" fmla="*/ 878026 w 1609516"/>
                <a:gd name="csY549" fmla="*/ 1295700 h 1538630"/>
                <a:gd name="csX550" fmla="*/ 875134 w 1609516"/>
                <a:gd name="csY550" fmla="*/ 1293465 h 1538630"/>
                <a:gd name="csX551" fmla="*/ 869869 w 1609516"/>
                <a:gd name="csY551" fmla="*/ 1291826 h 1538630"/>
                <a:gd name="csX552" fmla="*/ 862384 w 1609516"/>
                <a:gd name="csY552" fmla="*/ 1291327 h 1538630"/>
                <a:gd name="csX553" fmla="*/ 844390 w 1609516"/>
                <a:gd name="csY553" fmla="*/ 1290461 h 1538630"/>
                <a:gd name="csX554" fmla="*/ 840476 w 1609516"/>
                <a:gd name="csY554" fmla="*/ 1290500 h 1538630"/>
                <a:gd name="csX555" fmla="*/ 831015 w 1609516"/>
                <a:gd name="csY555" fmla="*/ 1290637 h 1538630"/>
                <a:gd name="csX556" fmla="*/ 831015 w 1609516"/>
                <a:gd name="csY556" fmla="*/ 1293456 h 1538630"/>
                <a:gd name="csX557" fmla="*/ 818225 w 1609516"/>
                <a:gd name="csY557" fmla="*/ 1295570 h 1538630"/>
                <a:gd name="csX558" fmla="*/ 796774 w 1609516"/>
                <a:gd name="csY558" fmla="*/ 1297671 h 1538630"/>
                <a:gd name="csX559" fmla="*/ 783646 w 1609516"/>
                <a:gd name="csY559" fmla="*/ 1305736 h 1538630"/>
                <a:gd name="csX560" fmla="*/ 769263 w 1609516"/>
                <a:gd name="csY560" fmla="*/ 1327143 h 1538630"/>
                <a:gd name="csX561" fmla="*/ 764797 w 1609516"/>
                <a:gd name="csY561" fmla="*/ 1334360 h 1538630"/>
                <a:gd name="csX562" fmla="*/ 757875 w 1609516"/>
                <a:gd name="csY562" fmla="*/ 1353503 h 1538630"/>
                <a:gd name="csX563" fmla="*/ 755676 w 1609516"/>
                <a:gd name="csY563" fmla="*/ 1367455 h 1538630"/>
                <a:gd name="csX564" fmla="*/ 750558 w 1609516"/>
                <a:gd name="csY564" fmla="*/ 1399690 h 1538630"/>
                <a:gd name="csX565" fmla="*/ 753057 w 1609516"/>
                <a:gd name="csY565" fmla="*/ 1411256 h 1538630"/>
                <a:gd name="csX566" fmla="*/ 753057 w 1609516"/>
                <a:gd name="csY566" fmla="*/ 1416893 h 1538630"/>
                <a:gd name="csX567" fmla="*/ 756181 w 1609516"/>
                <a:gd name="csY567" fmla="*/ 1416893 h 1538630"/>
                <a:gd name="csX568" fmla="*/ 758133 w 1609516"/>
                <a:gd name="csY568" fmla="*/ 1436182 h 1538630"/>
                <a:gd name="csX569" fmla="*/ 758231 w 1609516"/>
                <a:gd name="csY569" fmla="*/ 1440781 h 1538630"/>
                <a:gd name="csX570" fmla="*/ 750713 w 1609516"/>
                <a:gd name="csY570" fmla="*/ 1465704 h 1538630"/>
                <a:gd name="csX571" fmla="*/ 748370 w 1609516"/>
                <a:gd name="csY571" fmla="*/ 1467185 h 1538630"/>
                <a:gd name="csX572" fmla="*/ 741633 w 1609516"/>
                <a:gd name="csY572" fmla="*/ 1473526 h 1538630"/>
                <a:gd name="csX573" fmla="*/ 728154 w 1609516"/>
                <a:gd name="csY573" fmla="*/ 1478343 h 1538630"/>
                <a:gd name="csX574" fmla="*/ 721814 w 1609516"/>
                <a:gd name="csY574" fmla="*/ 1480308 h 1538630"/>
                <a:gd name="csX575" fmla="*/ 708341 w 1609516"/>
                <a:gd name="csY575" fmla="*/ 1480661 h 1538630"/>
                <a:gd name="csX576" fmla="*/ 704637 w 1609516"/>
                <a:gd name="csY576" fmla="*/ 1480748 h 1538630"/>
                <a:gd name="csX577" fmla="*/ 668507 w 1609516"/>
                <a:gd name="csY577" fmla="*/ 1468418 h 1538630"/>
                <a:gd name="csX578" fmla="*/ 660178 w 1609516"/>
                <a:gd name="csY578" fmla="*/ 1450027 h 1538630"/>
                <a:gd name="csX579" fmla="*/ 657767 w 1609516"/>
                <a:gd name="csY579" fmla="*/ 1445078 h 1538630"/>
                <a:gd name="csX580" fmla="*/ 663369 w 1609516"/>
                <a:gd name="csY580" fmla="*/ 1409390 h 1538630"/>
                <a:gd name="csX581" fmla="*/ 671826 w 1609516"/>
                <a:gd name="csY581" fmla="*/ 1401392 h 1538630"/>
                <a:gd name="csX582" fmla="*/ 678075 w 1609516"/>
                <a:gd name="csY582" fmla="*/ 1390118 h 1538630"/>
                <a:gd name="csX583" fmla="*/ 684323 w 1609516"/>
                <a:gd name="csY583" fmla="*/ 1388709 h 1538630"/>
                <a:gd name="csX584" fmla="*/ 685293 w 1609516"/>
                <a:gd name="csY584" fmla="*/ 1384233 h 1538630"/>
                <a:gd name="csX585" fmla="*/ 686569 w 1609516"/>
                <a:gd name="csY585" fmla="*/ 1378404 h 1538630"/>
                <a:gd name="csX586" fmla="*/ 687207 w 1609516"/>
                <a:gd name="csY586" fmla="*/ 1375456 h 1538630"/>
                <a:gd name="csX587" fmla="*/ 690572 w 1609516"/>
                <a:gd name="csY587" fmla="*/ 1363343 h 1538630"/>
                <a:gd name="csX588" fmla="*/ 692495 w 1609516"/>
                <a:gd name="csY588" fmla="*/ 1323376 h 1538630"/>
                <a:gd name="csX589" fmla="*/ 692625 w 1609516"/>
                <a:gd name="csY589" fmla="*/ 1315006 h 1538630"/>
                <a:gd name="csX590" fmla="*/ 687447 w 1609516"/>
                <a:gd name="csY590" fmla="*/ 1287245 h 1538630"/>
                <a:gd name="csX591" fmla="*/ 682761 w 1609516"/>
                <a:gd name="csY591" fmla="*/ 1285835 h 1538630"/>
                <a:gd name="csX592" fmla="*/ 678954 w 1609516"/>
                <a:gd name="csY592" fmla="*/ 1281608 h 1538630"/>
                <a:gd name="csX593" fmla="*/ 668702 w 1609516"/>
                <a:gd name="csY593" fmla="*/ 1275971 h 1538630"/>
                <a:gd name="csX594" fmla="*/ 662454 w 1609516"/>
                <a:gd name="csY594" fmla="*/ 1270334 h 1538630"/>
                <a:gd name="csX595" fmla="*/ 654643 w 1609516"/>
                <a:gd name="csY595" fmla="*/ 1267516 h 1538630"/>
                <a:gd name="csX596" fmla="*/ 654643 w 1609516"/>
                <a:gd name="csY596" fmla="*/ 1264697 h 1538630"/>
                <a:gd name="csX597" fmla="*/ 650152 w 1609516"/>
                <a:gd name="csY597" fmla="*/ 1264345 h 1538630"/>
                <a:gd name="csX598" fmla="*/ 628087 w 1609516"/>
                <a:gd name="csY598" fmla="*/ 1257651 h 1538630"/>
                <a:gd name="csX599" fmla="*/ 628087 w 1609516"/>
                <a:gd name="csY599" fmla="*/ 1254833 h 1538630"/>
                <a:gd name="csX600" fmla="*/ 625121 w 1609516"/>
                <a:gd name="csY600" fmla="*/ 1254315 h 1538630"/>
                <a:gd name="csX601" fmla="*/ 621252 w 1609516"/>
                <a:gd name="csY601" fmla="*/ 1253600 h 1538630"/>
                <a:gd name="csX602" fmla="*/ 617409 w 1609516"/>
                <a:gd name="csY602" fmla="*/ 1252906 h 1538630"/>
                <a:gd name="csX603" fmla="*/ 610904 w 1609516"/>
                <a:gd name="csY603" fmla="*/ 1249196 h 1538630"/>
                <a:gd name="csX604" fmla="*/ 565739 w 1609516"/>
                <a:gd name="csY604" fmla="*/ 1271742 h 1538630"/>
                <a:gd name="csX605" fmla="*/ 546924 w 1609516"/>
                <a:gd name="csY605" fmla="*/ 1290829 h 1538630"/>
                <a:gd name="csX606" fmla="*/ 543635 w 1609516"/>
                <a:gd name="csY606" fmla="*/ 1294643 h 1538630"/>
                <a:gd name="csX607" fmla="*/ 540651 w 1609516"/>
                <a:gd name="csY607" fmla="*/ 1298188 h 1538630"/>
                <a:gd name="csX608" fmla="*/ 529673 w 1609516"/>
                <a:gd name="csY608" fmla="*/ 1305565 h 1538630"/>
                <a:gd name="csX609" fmla="*/ 526549 w 1609516"/>
                <a:gd name="csY609" fmla="*/ 1311202 h 1538630"/>
                <a:gd name="csX610" fmla="*/ 523425 w 1609516"/>
                <a:gd name="csY610" fmla="*/ 1311202 h 1538630"/>
                <a:gd name="csX611" fmla="*/ 523230 w 1609516"/>
                <a:gd name="csY611" fmla="*/ 1313580 h 1538630"/>
                <a:gd name="csX612" fmla="*/ 517732 w 1609516"/>
                <a:gd name="csY612" fmla="*/ 1319739 h 1538630"/>
                <a:gd name="csX613" fmla="*/ 502239 w 1609516"/>
                <a:gd name="csY613" fmla="*/ 1337096 h 1538630"/>
                <a:gd name="csX614" fmla="*/ 497058 w 1609516"/>
                <a:gd name="csY614" fmla="*/ 1344087 h 1538630"/>
                <a:gd name="csX615" fmla="*/ 494572 w 1609516"/>
                <a:gd name="csY615" fmla="*/ 1347465 h 1538630"/>
                <a:gd name="csX616" fmla="*/ 487776 w 1609516"/>
                <a:gd name="csY616" fmla="*/ 1356181 h 1538630"/>
                <a:gd name="csX617" fmla="*/ 481248 w 1609516"/>
                <a:gd name="csY617" fmla="*/ 1367571 h 1538630"/>
                <a:gd name="csX618" fmla="*/ 478123 w 1609516"/>
                <a:gd name="csY618" fmla="*/ 1367571 h 1538630"/>
                <a:gd name="csX619" fmla="*/ 477635 w 1609516"/>
                <a:gd name="csY619" fmla="*/ 1370565 h 1538630"/>
                <a:gd name="csX620" fmla="*/ 465626 w 1609516"/>
                <a:gd name="csY620" fmla="*/ 1388709 h 1538630"/>
                <a:gd name="csX621" fmla="*/ 461233 w 1609516"/>
                <a:gd name="csY621" fmla="*/ 1397340 h 1538630"/>
                <a:gd name="csX622" fmla="*/ 455765 w 1609516"/>
                <a:gd name="csY622" fmla="*/ 1408086 h 1538630"/>
                <a:gd name="csX623" fmla="*/ 439070 w 1609516"/>
                <a:gd name="csY623" fmla="*/ 1477490 h 1538630"/>
                <a:gd name="csX624" fmla="*/ 434384 w 1609516"/>
                <a:gd name="csY624" fmla="*/ 1478899 h 1538630"/>
                <a:gd name="csX625" fmla="*/ 432431 w 1609516"/>
                <a:gd name="csY625" fmla="*/ 1481982 h 1538630"/>
                <a:gd name="csX626" fmla="*/ 418763 w 1609516"/>
                <a:gd name="csY626" fmla="*/ 1494401 h 1538630"/>
                <a:gd name="csX627" fmla="*/ 415639 w 1609516"/>
                <a:gd name="csY627" fmla="*/ 1494401 h 1538630"/>
                <a:gd name="csX628" fmla="*/ 415639 w 1609516"/>
                <a:gd name="csY628" fmla="*/ 1497219 h 1538630"/>
                <a:gd name="csX629" fmla="*/ 406265 w 1609516"/>
                <a:gd name="csY629" fmla="*/ 1498628 h 1538630"/>
                <a:gd name="csX630" fmla="*/ 406265 w 1609516"/>
                <a:gd name="csY630" fmla="*/ 1501447 h 1538630"/>
                <a:gd name="csX631" fmla="*/ 375023 w 1609516"/>
                <a:gd name="csY631" fmla="*/ 1501447 h 1538630"/>
                <a:gd name="csX632" fmla="*/ 375023 w 1609516"/>
                <a:gd name="csY632" fmla="*/ 1499438 h 1538630"/>
                <a:gd name="csX633" fmla="*/ 374964 w 1609516"/>
                <a:gd name="csY633" fmla="*/ 1499436 h 1538630"/>
                <a:gd name="csX634" fmla="*/ 373179 w 1609516"/>
                <a:gd name="csY634" fmla="*/ 1498628 h 1538630"/>
                <a:gd name="csX635" fmla="*/ 365650 w 1609516"/>
                <a:gd name="csY635" fmla="*/ 1498628 h 1538630"/>
                <a:gd name="csX636" fmla="*/ 363134 w 1609516"/>
                <a:gd name="csY636" fmla="*/ 1494087 h 1538630"/>
                <a:gd name="csX637" fmla="*/ 362171 w 1609516"/>
                <a:gd name="csY637" fmla="*/ 1493651 h 1538630"/>
                <a:gd name="csX638" fmla="*/ 360609 w 1609516"/>
                <a:gd name="csY638" fmla="*/ 1490833 h 1538630"/>
                <a:gd name="csX639" fmla="*/ 363733 w 1609516"/>
                <a:gd name="csY639" fmla="*/ 1490833 h 1538630"/>
                <a:gd name="csX640" fmla="*/ 363733 w 1609516"/>
                <a:gd name="csY640" fmla="*/ 1489980 h 1538630"/>
                <a:gd name="csX641" fmla="*/ 348467 w 1609516"/>
                <a:gd name="csY641" fmla="*/ 1481717 h 1538630"/>
                <a:gd name="csX642" fmla="*/ 343872 w 1609516"/>
                <a:gd name="csY642" fmla="*/ 1461078 h 1538630"/>
                <a:gd name="csX643" fmla="*/ 343656 w 1609516"/>
                <a:gd name="csY643" fmla="*/ 1463649 h 1538630"/>
                <a:gd name="csX644" fmla="*/ 343424 w 1609516"/>
                <a:gd name="csY644" fmla="*/ 1466842 h 1538630"/>
                <a:gd name="csX645" fmla="*/ 341861 w 1609516"/>
                <a:gd name="csY645" fmla="*/ 1466842 h 1538630"/>
                <a:gd name="csX646" fmla="*/ 354143 w 1609516"/>
                <a:gd name="csY646" fmla="*/ 1420549 h 1538630"/>
                <a:gd name="csX647" fmla="*/ 376229 w 1609516"/>
                <a:gd name="csY647" fmla="*/ 1403427 h 1538630"/>
                <a:gd name="csX648" fmla="*/ 379491 w 1609516"/>
                <a:gd name="csY648" fmla="*/ 1404408 h 1538630"/>
                <a:gd name="csX649" fmla="*/ 379710 w 1609516"/>
                <a:gd name="csY649" fmla="*/ 1404210 h 1538630"/>
                <a:gd name="csX650" fmla="*/ 380882 w 1609516"/>
                <a:gd name="csY650" fmla="*/ 1401568 h 1538630"/>
                <a:gd name="csX651" fmla="*/ 392207 w 1609516"/>
                <a:gd name="csY651" fmla="*/ 1392936 h 1538630"/>
                <a:gd name="csX652" fmla="*/ 399542 w 1609516"/>
                <a:gd name="csY652" fmla="*/ 1386774 h 1538630"/>
                <a:gd name="csX653" fmla="*/ 405485 w 1609516"/>
                <a:gd name="csY653" fmla="*/ 1378917 h 1538630"/>
                <a:gd name="csX654" fmla="*/ 412008 w 1609516"/>
                <a:gd name="csY654" fmla="*/ 1369481 h 1538630"/>
                <a:gd name="csX655" fmla="*/ 421130 w 1609516"/>
                <a:gd name="csY655" fmla="*/ 1357057 h 1538630"/>
                <a:gd name="csX656" fmla="*/ 424676 w 1609516"/>
                <a:gd name="csY656" fmla="*/ 1348443 h 1538630"/>
                <a:gd name="csX657" fmla="*/ 427275 w 1609516"/>
                <a:gd name="csY657" fmla="*/ 1348443 h 1538630"/>
                <a:gd name="csX658" fmla="*/ 428135 w 1609516"/>
                <a:gd name="csY658" fmla="*/ 1345727 h 1538630"/>
                <a:gd name="csX659" fmla="*/ 432822 w 1609516"/>
                <a:gd name="csY659" fmla="*/ 1335158 h 1538630"/>
                <a:gd name="csX660" fmla="*/ 435946 w 1609516"/>
                <a:gd name="csY660" fmla="*/ 1335158 h 1538630"/>
                <a:gd name="csX661" fmla="*/ 437704 w 1609516"/>
                <a:gd name="csY661" fmla="*/ 1329786 h 1538630"/>
                <a:gd name="csX662" fmla="*/ 447394 w 1609516"/>
                <a:gd name="csY662" fmla="*/ 1311196 h 1538630"/>
                <a:gd name="csX663" fmla="*/ 469287 w 1609516"/>
                <a:gd name="csY663" fmla="*/ 1265964 h 1538630"/>
                <a:gd name="csX664" fmla="*/ 478178 w 1609516"/>
                <a:gd name="csY664" fmla="*/ 1246787 h 1538630"/>
                <a:gd name="csX665" fmla="*/ 480179 w 1609516"/>
                <a:gd name="csY665" fmla="*/ 1225768 h 1538630"/>
                <a:gd name="csX666" fmla="*/ 480250 w 1609516"/>
                <a:gd name="csY666" fmla="*/ 1217149 h 1538630"/>
                <a:gd name="csX667" fmla="*/ 462972 w 1609516"/>
                <a:gd name="csY667" fmla="*/ 1174827 h 1538630"/>
                <a:gd name="csX668" fmla="*/ 457468 w 1609516"/>
                <a:gd name="csY668" fmla="*/ 1169949 h 1538630"/>
                <a:gd name="csX669" fmla="*/ 440657 w 1609516"/>
                <a:gd name="csY669" fmla="*/ 1152570 h 1538630"/>
                <a:gd name="csX670" fmla="*/ 403142 w 1609516"/>
                <a:gd name="csY670" fmla="*/ 1122366 h 1538630"/>
                <a:gd name="csX671" fmla="*/ 401579 w 1609516"/>
                <a:gd name="csY671" fmla="*/ 1119547 h 1538630"/>
                <a:gd name="csX672" fmla="*/ 364564 w 1609516"/>
                <a:gd name="csY672" fmla="*/ 1118209 h 1538630"/>
                <a:gd name="csX673" fmla="*/ 357822 w 1609516"/>
                <a:gd name="csY673" fmla="*/ 1122041 h 1538630"/>
                <a:gd name="csX674" fmla="*/ 348077 w 1609516"/>
                <a:gd name="csY674" fmla="*/ 1125273 h 1538630"/>
                <a:gd name="csX675" fmla="*/ 334408 w 1609516"/>
                <a:gd name="csY675" fmla="*/ 1132230 h 1538630"/>
                <a:gd name="csX676" fmla="*/ 327964 w 1609516"/>
                <a:gd name="csY676" fmla="*/ 1134080 h 1538630"/>
                <a:gd name="csX677" fmla="*/ 279734 w 1609516"/>
                <a:gd name="csY677" fmla="*/ 1166051 h 1538630"/>
                <a:gd name="csX678" fmla="*/ 276609 w 1609516"/>
                <a:gd name="csY678" fmla="*/ 1173098 h 1538630"/>
                <a:gd name="csX679" fmla="*/ 260988 w 1609516"/>
                <a:gd name="csY679" fmla="*/ 1188599 h 1538630"/>
                <a:gd name="csX680" fmla="*/ 257956 w 1609516"/>
                <a:gd name="csY680" fmla="*/ 1191132 h 1538630"/>
                <a:gd name="csX681" fmla="*/ 243805 w 1609516"/>
                <a:gd name="csY681" fmla="*/ 1196629 h 1538630"/>
                <a:gd name="csX682" fmla="*/ 243805 w 1609516"/>
                <a:gd name="csY682" fmla="*/ 1194236 h 1538630"/>
                <a:gd name="csX683" fmla="*/ 240288 w 1609516"/>
                <a:gd name="csY683" fmla="*/ 1194765 h 1538630"/>
                <a:gd name="csX684" fmla="*/ 243374 w 1609516"/>
                <a:gd name="csY684" fmla="*/ 1194765 h 1538630"/>
                <a:gd name="csX685" fmla="*/ 243374 w 1609516"/>
                <a:gd name="csY685" fmla="*/ 1196797 h 1538630"/>
                <a:gd name="csX686" fmla="*/ 243805 w 1609516"/>
                <a:gd name="csY686" fmla="*/ 1196629 h 1538630"/>
                <a:gd name="csX687" fmla="*/ 243805 w 1609516"/>
                <a:gd name="csY687" fmla="*/ 1197055 h 1538630"/>
                <a:gd name="csX688" fmla="*/ 243374 w 1609516"/>
                <a:gd name="csY688" fmla="*/ 1197055 h 1538630"/>
                <a:gd name="csX689" fmla="*/ 243374 w 1609516"/>
                <a:gd name="csY689" fmla="*/ 1197584 h 1538630"/>
                <a:gd name="csX690" fmla="*/ 241319 w 1609516"/>
                <a:gd name="csY690" fmla="*/ 1197595 h 1538630"/>
                <a:gd name="csX691" fmla="*/ 238009 w 1609516"/>
                <a:gd name="csY691" fmla="*/ 1198881 h 1538630"/>
                <a:gd name="csX692" fmla="*/ 215687 w 1609516"/>
                <a:gd name="csY692" fmla="*/ 1198464 h 1538630"/>
                <a:gd name="csX693" fmla="*/ 215687 w 1609516"/>
                <a:gd name="csY693" fmla="*/ 1197734 h 1538630"/>
                <a:gd name="csX694" fmla="*/ 213936 w 1609516"/>
                <a:gd name="csY694" fmla="*/ 1197744 h 1538630"/>
                <a:gd name="csX695" fmla="*/ 207446 w 1609516"/>
                <a:gd name="csY695" fmla="*/ 1196175 h 1538630"/>
                <a:gd name="csX696" fmla="*/ 207822 w 1609516"/>
                <a:gd name="csY696" fmla="*/ 1195610 h 1538630"/>
                <a:gd name="csX697" fmla="*/ 184737 w 1609516"/>
                <a:gd name="csY697" fmla="*/ 1180936 h 1538630"/>
                <a:gd name="csX698" fmla="*/ 179270 w 1609516"/>
                <a:gd name="csY698" fmla="*/ 1154866 h 1538630"/>
                <a:gd name="csX699" fmla="*/ 179194 w 1609516"/>
                <a:gd name="csY699" fmla="*/ 1151621 h 1538630"/>
                <a:gd name="csX700" fmla="*/ 193195 w 1609516"/>
                <a:gd name="csY700" fmla="*/ 1120065 h 1538630"/>
                <a:gd name="csX701" fmla="*/ 229551 w 1609516"/>
                <a:gd name="csY701" fmla="*/ 1110299 h 1538630"/>
                <a:gd name="csX702" fmla="*/ 260988 w 1609516"/>
                <a:gd name="csY702" fmla="*/ 1108274 h 1538630"/>
                <a:gd name="csX703" fmla="*/ 260988 w 1609516"/>
                <a:gd name="csY703" fmla="*/ 1105455 h 1538630"/>
                <a:gd name="csX704" fmla="*/ 263911 w 1609516"/>
                <a:gd name="csY704" fmla="*/ 1104310 h 1538630"/>
                <a:gd name="csX705" fmla="*/ 286995 w 1609516"/>
                <a:gd name="csY705" fmla="*/ 1090185 h 1538630"/>
                <a:gd name="csX706" fmla="*/ 299358 w 1609516"/>
                <a:gd name="csY706" fmla="*/ 1080970 h 1538630"/>
                <a:gd name="csX707" fmla="*/ 317762 w 1609516"/>
                <a:gd name="csY707" fmla="*/ 1063272 h 1538630"/>
                <a:gd name="csX708" fmla="*/ 325035 w 1609516"/>
                <a:gd name="csY708" fmla="*/ 1057542 h 1538630"/>
                <a:gd name="csX709" fmla="*/ 325328 w 1609516"/>
                <a:gd name="csY709" fmla="*/ 1023104 h 1538630"/>
                <a:gd name="csX710" fmla="*/ 324544 w 1609516"/>
                <a:gd name="csY710" fmla="*/ 1019247 h 1538630"/>
                <a:gd name="csX711" fmla="*/ 317225 w 1609516"/>
                <a:gd name="csY711" fmla="*/ 996945 h 1538630"/>
                <a:gd name="csX712" fmla="*/ 315388 w 1609516"/>
                <a:gd name="csY712" fmla="*/ 992690 h 1538630"/>
                <a:gd name="csX713" fmla="*/ 276232 w 1609516"/>
                <a:gd name="csY713" fmla="*/ 950666 h 1538630"/>
                <a:gd name="csX714" fmla="*/ 271923 w 1609516"/>
                <a:gd name="csY714" fmla="*/ 949031 h 1538630"/>
                <a:gd name="csX715" fmla="*/ 268299 w 1609516"/>
                <a:gd name="csY715" fmla="*/ 947441 h 1538630"/>
                <a:gd name="csX716" fmla="*/ 199187 w 1609516"/>
                <a:gd name="csY716" fmla="*/ 938991 h 1538630"/>
                <a:gd name="csX717" fmla="*/ 193719 w 1609516"/>
                <a:gd name="csY717" fmla="*/ 938971 h 1538630"/>
                <a:gd name="csX718" fmla="*/ 188539 w 1609516"/>
                <a:gd name="csY718" fmla="*/ 938980 h 1538630"/>
                <a:gd name="csX719" fmla="*/ 183874 w 1609516"/>
                <a:gd name="csY719" fmla="*/ 938985 h 1538630"/>
                <a:gd name="csX720" fmla="*/ 173509 w 1609516"/>
                <a:gd name="csY720" fmla="*/ 940576 h 1538630"/>
                <a:gd name="csX721" fmla="*/ 161403 w 1609516"/>
                <a:gd name="csY721" fmla="*/ 940664 h 1538630"/>
                <a:gd name="csX722" fmla="*/ 158102 w 1609516"/>
                <a:gd name="csY722" fmla="*/ 940645 h 1538630"/>
                <a:gd name="csX723" fmla="*/ 150875 w 1609516"/>
                <a:gd name="csY723" fmla="*/ 940583 h 1538630"/>
                <a:gd name="csX724" fmla="*/ 148425 w 1609516"/>
                <a:gd name="csY724" fmla="*/ 940717 h 1538630"/>
                <a:gd name="csX725" fmla="*/ 149617 w 1609516"/>
                <a:gd name="csY725" fmla="*/ 940995 h 1538630"/>
                <a:gd name="csX726" fmla="*/ 149617 w 1609516"/>
                <a:gd name="csY726" fmla="*/ 942404 h 1538630"/>
                <a:gd name="csX727" fmla="*/ 146627 w 1609516"/>
                <a:gd name="csY727" fmla="*/ 942871 h 1538630"/>
                <a:gd name="csX728" fmla="*/ 110564 w 1609516"/>
                <a:gd name="csY728" fmla="*/ 949449 h 1538630"/>
                <a:gd name="csX729" fmla="*/ 111283 w 1609516"/>
                <a:gd name="csY729" fmla="*/ 946205 h 1538630"/>
                <a:gd name="csX730" fmla="*/ 101652 w 1609516"/>
                <a:gd name="csY730" fmla="*/ 956078 h 1538630"/>
                <a:gd name="csX731" fmla="*/ 98052 w 1609516"/>
                <a:gd name="csY731" fmla="*/ 958467 h 1538630"/>
                <a:gd name="csX732" fmla="*/ 67286 w 1609516"/>
                <a:gd name="csY732" fmla="*/ 972989 h 1538630"/>
                <a:gd name="csX733" fmla="*/ 67286 w 1609516"/>
                <a:gd name="csY733" fmla="*/ 975807 h 1538630"/>
                <a:gd name="csX734" fmla="*/ 31942 w 1609516"/>
                <a:gd name="csY734" fmla="*/ 976423 h 1538630"/>
                <a:gd name="csX735" fmla="*/ 5673 w 1609516"/>
                <a:gd name="csY735" fmla="*/ 953419 h 1538630"/>
                <a:gd name="csX736" fmla="*/ 4801 w 1609516"/>
                <a:gd name="csY736" fmla="*/ 944804 h 1538630"/>
                <a:gd name="csX737" fmla="*/ 1676 w 1609516"/>
                <a:gd name="csY737" fmla="*/ 944804 h 1538630"/>
                <a:gd name="csX738" fmla="*/ 17 w 1609516"/>
                <a:gd name="csY738" fmla="*/ 931857 h 1538630"/>
                <a:gd name="csX739" fmla="*/ 59 w 1609516"/>
                <a:gd name="csY739" fmla="*/ 927216 h 1538630"/>
                <a:gd name="csX740" fmla="*/ 115 w 1609516"/>
                <a:gd name="csY740" fmla="*/ 923666 h 1538630"/>
                <a:gd name="csX741" fmla="*/ 3238 w 1609516"/>
                <a:gd name="csY741" fmla="*/ 923666 h 1538630"/>
                <a:gd name="csX742" fmla="*/ 3238 w 1609516"/>
                <a:gd name="csY742" fmla="*/ 918029 h 1538630"/>
                <a:gd name="csX743" fmla="*/ 6363 w 1609516"/>
                <a:gd name="csY743" fmla="*/ 918029 h 1538630"/>
                <a:gd name="csX744" fmla="*/ 6656 w 1609516"/>
                <a:gd name="csY744" fmla="*/ 912832 h 1538630"/>
                <a:gd name="csX745" fmla="*/ 15736 w 1609516"/>
                <a:gd name="csY745" fmla="*/ 899709 h 1538630"/>
                <a:gd name="csX746" fmla="*/ 17243 w 1609516"/>
                <a:gd name="csY746" fmla="*/ 898894 h 1538630"/>
                <a:gd name="csX747" fmla="*/ 16800 w 1609516"/>
                <a:gd name="csY747" fmla="*/ 898694 h 1538630"/>
                <a:gd name="csX748" fmla="*/ 24988 w 1609516"/>
                <a:gd name="csY748" fmla="*/ 894101 h 1538630"/>
                <a:gd name="csX749" fmla="*/ 26768 w 1609516"/>
                <a:gd name="csY749" fmla="*/ 892399 h 1538630"/>
                <a:gd name="csX750" fmla="*/ 30198 w 1609516"/>
                <a:gd name="csY750" fmla="*/ 890164 h 1538630"/>
                <a:gd name="csX751" fmla="*/ 32204 w 1609516"/>
                <a:gd name="csY751" fmla="*/ 890054 h 1538630"/>
                <a:gd name="csX752" fmla="*/ 38914 w 1609516"/>
                <a:gd name="csY752" fmla="*/ 886291 h 1538630"/>
                <a:gd name="csX753" fmla="*/ 63664 w 1609516"/>
                <a:gd name="csY753" fmla="*/ 886011 h 1538630"/>
                <a:gd name="csX754" fmla="*/ 63664 w 1609516"/>
                <a:gd name="csY754" fmla="*/ 886531 h 1538630"/>
                <a:gd name="csX755" fmla="*/ 70784 w 1609516"/>
                <a:gd name="csY755" fmla="*/ 886647 h 1538630"/>
                <a:gd name="csX756" fmla="*/ 82126 w 1609516"/>
                <a:gd name="csY756" fmla="*/ 889845 h 1538630"/>
                <a:gd name="csX757" fmla="*/ 114149 w 1609516"/>
                <a:gd name="csY757" fmla="*/ 892663 h 1538630"/>
                <a:gd name="csX758" fmla="*/ 118836 w 1609516"/>
                <a:gd name="csY758" fmla="*/ 889845 h 1538630"/>
                <a:gd name="csX759" fmla="*/ 131626 w 1609516"/>
                <a:gd name="csY759" fmla="*/ 887114 h 1538630"/>
                <a:gd name="csX760" fmla="*/ 155116 w 1609516"/>
                <a:gd name="csY760" fmla="*/ 880913 h 1538630"/>
                <a:gd name="csX761" fmla="*/ 165406 w 1609516"/>
                <a:gd name="csY761" fmla="*/ 878483 h 1538630"/>
                <a:gd name="csX762" fmla="*/ 176634 w 1609516"/>
                <a:gd name="csY762" fmla="*/ 874343 h 1538630"/>
                <a:gd name="csX763" fmla="*/ 186397 w 1609516"/>
                <a:gd name="csY763" fmla="*/ 871524 h 1538630"/>
                <a:gd name="csX764" fmla="*/ 191871 w 1609516"/>
                <a:gd name="csY764" fmla="*/ 870033 h 1538630"/>
                <a:gd name="csX765" fmla="*/ 203483 w 1609516"/>
                <a:gd name="csY765" fmla="*/ 867208 h 1538630"/>
                <a:gd name="csX766" fmla="*/ 211001 w 1609516"/>
                <a:gd name="csY766" fmla="*/ 861660 h 1538630"/>
                <a:gd name="csX767" fmla="*/ 218031 w 1609516"/>
                <a:gd name="csY767" fmla="*/ 858577 h 1538630"/>
                <a:gd name="csX768" fmla="*/ 254740 w 1609516"/>
                <a:gd name="csY768" fmla="*/ 825020 h 1538630"/>
                <a:gd name="csX769" fmla="*/ 257864 w 1609516"/>
                <a:gd name="csY769" fmla="*/ 820792 h 1538630"/>
                <a:gd name="csX770" fmla="*/ 258318 w 1609516"/>
                <a:gd name="csY770" fmla="*/ 813810 h 1538630"/>
                <a:gd name="csX771" fmla="*/ 258378 w 1609516"/>
                <a:gd name="csY771" fmla="*/ 809502 h 1538630"/>
                <a:gd name="csX772" fmla="*/ 258389 w 1609516"/>
                <a:gd name="csY772" fmla="*/ 804845 h 1538630"/>
                <a:gd name="csX773" fmla="*/ 258420 w 1609516"/>
                <a:gd name="csY773" fmla="*/ 800036 h 1538630"/>
                <a:gd name="csX774" fmla="*/ 258443 w 1609516"/>
                <a:gd name="csY774" fmla="*/ 789939 h 1538630"/>
                <a:gd name="csX775" fmla="*/ 258566 w 1609516"/>
                <a:gd name="csY775" fmla="*/ 774594 h 1538630"/>
                <a:gd name="csX776" fmla="*/ 258584 w 1609516"/>
                <a:gd name="csY776" fmla="*/ 764771 h 1538630"/>
                <a:gd name="csX777" fmla="*/ 258652 w 1609516"/>
                <a:gd name="csY777" fmla="*/ 760174 h 1538630"/>
                <a:gd name="csX778" fmla="*/ 251616 w 1609516"/>
                <a:gd name="csY778" fmla="*/ 733421 h 1538630"/>
                <a:gd name="csX779" fmla="*/ 247613 w 1609516"/>
                <a:gd name="csY779" fmla="*/ 721883 h 1538630"/>
                <a:gd name="csX780" fmla="*/ 241291 w 1609516"/>
                <a:gd name="csY780" fmla="*/ 705644 h 1538630"/>
                <a:gd name="csX781" fmla="*/ 237557 w 1609516"/>
                <a:gd name="csY781" fmla="*/ 689735 h 1538630"/>
                <a:gd name="csX782" fmla="*/ 248492 w 1609516"/>
                <a:gd name="csY782" fmla="*/ 685507 h 1538630"/>
                <a:gd name="csX783" fmla="*/ 248492 w 1609516"/>
                <a:gd name="csY783" fmla="*/ 681279 h 1538630"/>
                <a:gd name="csX784" fmla="*/ 240681 w 1609516"/>
                <a:gd name="csY784" fmla="*/ 679870 h 1538630"/>
                <a:gd name="csX785" fmla="*/ 240681 w 1609516"/>
                <a:gd name="csY785" fmla="*/ 677052 h 1538630"/>
                <a:gd name="csX786" fmla="*/ 238094 w 1609516"/>
                <a:gd name="csY786" fmla="*/ 676645 h 1538630"/>
                <a:gd name="csX787" fmla="*/ 225841 w 1609516"/>
                <a:gd name="csY787" fmla="*/ 670886 h 1538630"/>
                <a:gd name="csX788" fmla="*/ 201531 w 1609516"/>
                <a:gd name="csY788" fmla="*/ 662508 h 1538630"/>
                <a:gd name="csX789" fmla="*/ 188252 w 1609516"/>
                <a:gd name="csY789" fmla="*/ 658644 h 1538630"/>
                <a:gd name="csX790" fmla="*/ 182431 w 1609516"/>
                <a:gd name="csY790" fmla="*/ 657327 h 1538630"/>
                <a:gd name="csX791" fmla="*/ 182431 w 1609516"/>
                <a:gd name="csY791" fmla="*/ 657613 h 1538630"/>
                <a:gd name="csX792" fmla="*/ 146503 w 1609516"/>
                <a:gd name="csY792" fmla="*/ 656204 h 1538630"/>
                <a:gd name="csX793" fmla="*/ 146503 w 1609516"/>
                <a:gd name="csY793" fmla="*/ 659022 h 1538630"/>
                <a:gd name="csX794" fmla="*/ 110378 w 1609516"/>
                <a:gd name="csY794" fmla="*/ 663778 h 1538630"/>
                <a:gd name="csX795" fmla="*/ 106453 w 1609516"/>
                <a:gd name="csY795" fmla="*/ 663836 h 1538630"/>
                <a:gd name="csX796" fmla="*/ 102751 w 1609516"/>
                <a:gd name="csY796" fmla="*/ 663811 h 1538630"/>
                <a:gd name="csX797" fmla="*/ 99449 w 1609516"/>
                <a:gd name="csY797" fmla="*/ 663797 h 1538630"/>
                <a:gd name="csX798" fmla="*/ 91828 w 1609516"/>
                <a:gd name="csY798" fmla="*/ 659022 h 1538630"/>
                <a:gd name="csX799" fmla="*/ 98077 w 1609516"/>
                <a:gd name="csY799" fmla="*/ 659022 h 1538630"/>
                <a:gd name="csX800" fmla="*/ 98077 w 1609516"/>
                <a:gd name="csY800" fmla="*/ 661841 h 1538630"/>
                <a:gd name="csX801" fmla="*/ 119023 w 1609516"/>
                <a:gd name="csY801" fmla="*/ 661357 h 1538630"/>
                <a:gd name="csX802" fmla="*/ 119536 w 1609516"/>
                <a:gd name="csY802" fmla="*/ 661197 h 1538630"/>
                <a:gd name="csX803" fmla="*/ 109853 w 1609516"/>
                <a:gd name="csY803" fmla="*/ 661639 h 1538630"/>
                <a:gd name="csX804" fmla="*/ 106552 w 1609516"/>
                <a:gd name="csY804" fmla="*/ 661619 h 1538630"/>
                <a:gd name="csX805" fmla="*/ 98528 w 1609516"/>
                <a:gd name="csY805" fmla="*/ 661550 h 1538630"/>
                <a:gd name="csX806" fmla="*/ 98528 w 1609516"/>
                <a:gd name="csY806" fmla="*/ 658732 h 1538630"/>
                <a:gd name="csX807" fmla="*/ 89155 w 1609516"/>
                <a:gd name="csY807" fmla="*/ 657323 h 1538630"/>
                <a:gd name="csX808" fmla="*/ 89155 w 1609516"/>
                <a:gd name="csY808" fmla="*/ 654504 h 1538630"/>
                <a:gd name="csX809" fmla="*/ 86397 w 1609516"/>
                <a:gd name="csY809" fmla="*/ 653442 h 1538630"/>
                <a:gd name="csX810" fmla="*/ 77049 w 1609516"/>
                <a:gd name="csY810" fmla="*/ 646137 h 1538630"/>
                <a:gd name="csX811" fmla="*/ 74145 w 1609516"/>
                <a:gd name="csY811" fmla="*/ 643192 h 1538630"/>
                <a:gd name="csX812" fmla="*/ 71972 w 1609516"/>
                <a:gd name="csY812" fmla="*/ 636185 h 1538630"/>
                <a:gd name="csX813" fmla="*/ 68848 w 1609516"/>
                <a:gd name="csY813" fmla="*/ 636185 h 1538630"/>
                <a:gd name="csX814" fmla="*/ 70410 w 1609516"/>
                <a:gd name="csY814" fmla="*/ 595317 h 1538630"/>
                <a:gd name="csX815" fmla="*/ 79782 w 1609516"/>
                <a:gd name="csY815" fmla="*/ 584043 h 1538630"/>
                <a:gd name="csX816" fmla="*/ 82656 w 1609516"/>
                <a:gd name="csY816" fmla="*/ 581115 h 1538630"/>
                <a:gd name="csX817" fmla="*/ 116694 w 1609516"/>
                <a:gd name="csY817" fmla="*/ 572323 h 1538630"/>
                <a:gd name="csX818" fmla="*/ 152031 w 1609516"/>
                <a:gd name="csY818" fmla="*/ 590385 h 1538630"/>
                <a:gd name="csX819" fmla="*/ 191474 w 1609516"/>
                <a:gd name="csY819" fmla="*/ 605886 h 1538630"/>
                <a:gd name="csX820" fmla="*/ 206314 w 1609516"/>
                <a:gd name="csY820" fmla="*/ 608000 h 1538630"/>
                <a:gd name="csX821" fmla="*/ 206314 w 1609516"/>
                <a:gd name="csY821" fmla="*/ 610818 h 1538630"/>
                <a:gd name="csX822" fmla="*/ 234433 w 1609516"/>
                <a:gd name="csY822" fmla="*/ 610818 h 1538630"/>
                <a:gd name="csX823" fmla="*/ 239522 w 1609516"/>
                <a:gd name="csY823" fmla="*/ 610802 h 1538630"/>
                <a:gd name="csX824" fmla="*/ 268799 w 1609516"/>
                <a:gd name="csY824" fmla="*/ 600954 h 1538630"/>
                <a:gd name="csX825" fmla="*/ 271740 w 1609516"/>
                <a:gd name="csY825" fmla="*/ 599325 h 1538630"/>
                <a:gd name="csX826" fmla="*/ 284420 w 1609516"/>
                <a:gd name="csY826" fmla="*/ 579816 h 1538630"/>
                <a:gd name="csX827" fmla="*/ 289399 w 1609516"/>
                <a:gd name="csY827" fmla="*/ 568630 h 1538630"/>
                <a:gd name="csX828" fmla="*/ 293958 w 1609516"/>
                <a:gd name="csY828" fmla="*/ 535838 h 1538630"/>
                <a:gd name="csX829" fmla="*/ 289107 w 1609516"/>
                <a:gd name="csY829" fmla="*/ 529084 h 1538630"/>
                <a:gd name="csX830" fmla="*/ 289107 w 1609516"/>
                <a:gd name="csY830" fmla="*/ 526265 h 1538630"/>
                <a:gd name="csX831" fmla="*/ 284420 w 1609516"/>
                <a:gd name="csY831" fmla="*/ 524856 h 1538630"/>
                <a:gd name="csX832" fmla="*/ 282858 w 1609516"/>
                <a:gd name="csY832" fmla="*/ 520628 h 1538630"/>
                <a:gd name="csX833" fmla="*/ 277977 w 1609516"/>
                <a:gd name="csY833" fmla="*/ 516577 h 1538630"/>
                <a:gd name="csX834" fmla="*/ 264925 w 1609516"/>
                <a:gd name="csY834" fmla="*/ 506443 h 1538630"/>
                <a:gd name="csX835" fmla="*/ 229746 w 1609516"/>
                <a:gd name="csY835" fmla="*/ 481170 h 1538630"/>
                <a:gd name="csX836" fmla="*/ 221057 w 1609516"/>
                <a:gd name="csY836" fmla="*/ 475445 h 1538630"/>
                <a:gd name="csX837" fmla="*/ 212563 w 1609516"/>
                <a:gd name="csY837" fmla="*/ 469896 h 1538630"/>
                <a:gd name="csX838" fmla="*/ 208889 w 1609516"/>
                <a:gd name="csY838" fmla="*/ 467491 h 1538630"/>
                <a:gd name="csX839" fmla="*/ 190406 w 1609516"/>
                <a:gd name="csY839" fmla="*/ 456382 h 1538630"/>
                <a:gd name="csX840" fmla="*/ 186942 w 1609516"/>
                <a:gd name="csY840" fmla="*/ 454460 h 1538630"/>
                <a:gd name="csX841" fmla="*/ 180041 w 1609516"/>
                <a:gd name="csY841" fmla="*/ 450696 h 1538630"/>
                <a:gd name="csX842" fmla="*/ 171948 w 1609516"/>
                <a:gd name="csY842" fmla="*/ 445940 h 1538630"/>
                <a:gd name="csX843" fmla="*/ 171948 w 1609516"/>
                <a:gd name="csY843" fmla="*/ 443121 h 1538630"/>
                <a:gd name="csX844" fmla="*/ 168482 w 1609516"/>
                <a:gd name="csY844" fmla="*/ 442708 h 1538630"/>
                <a:gd name="csX845" fmla="*/ 157107 w 1609516"/>
                <a:gd name="csY845" fmla="*/ 437044 h 1538630"/>
                <a:gd name="csX846" fmla="*/ 132559 w 1609516"/>
                <a:gd name="csY846" fmla="*/ 427510 h 1538630"/>
                <a:gd name="csX847" fmla="*/ 123522 w 1609516"/>
                <a:gd name="csY847" fmla="*/ 421983 h 1538630"/>
                <a:gd name="csX848" fmla="*/ 107986 w 1609516"/>
                <a:gd name="csY848" fmla="*/ 418730 h 1538630"/>
                <a:gd name="csX849" fmla="*/ 102494 w 1609516"/>
                <a:gd name="csY849" fmla="*/ 418622 h 1538630"/>
                <a:gd name="csX850" fmla="*/ 91157 w 1609516"/>
                <a:gd name="csY850" fmla="*/ 418490 h 1538630"/>
                <a:gd name="csX851" fmla="*/ 55277 w 1609516"/>
                <a:gd name="csY851" fmla="*/ 410445 h 1538630"/>
                <a:gd name="csX852" fmla="*/ 51665 w 1609516"/>
                <a:gd name="csY852" fmla="*/ 406481 h 1538630"/>
                <a:gd name="csX853" fmla="*/ 45904 w 1609516"/>
                <a:gd name="csY853" fmla="*/ 400492 h 1538630"/>
                <a:gd name="csX854" fmla="*/ 43152 w 1609516"/>
                <a:gd name="csY854" fmla="*/ 397564 h 1538630"/>
                <a:gd name="csX855" fmla="*/ 37605 w 1609516"/>
                <a:gd name="csY855" fmla="*/ 393798 h 1538630"/>
                <a:gd name="csX856" fmla="*/ 38995 w 1609516"/>
                <a:gd name="csY856" fmla="*/ 368712 h 1538630"/>
                <a:gd name="csX857" fmla="*/ 38666 w 1609516"/>
                <a:gd name="csY857" fmla="*/ 369724 h 1538630"/>
                <a:gd name="csX858" fmla="*/ 35542 w 1609516"/>
                <a:gd name="csY858" fmla="*/ 384081 h 1538630"/>
                <a:gd name="csX859" fmla="*/ 33326 w 1609516"/>
                <a:gd name="csY859" fmla="*/ 357791 h 1538630"/>
                <a:gd name="csX860" fmla="*/ 52725 w 1609516"/>
                <a:gd name="csY860" fmla="*/ 333349 h 1538630"/>
                <a:gd name="csX861" fmla="*/ 55222 w 1609516"/>
                <a:gd name="csY861" fmla="*/ 334475 h 1538630"/>
                <a:gd name="csX862" fmla="*/ 56222 w 1609516"/>
                <a:gd name="csY862" fmla="*/ 333347 h 1538630"/>
                <a:gd name="csX863" fmla="*/ 55871 w 1609516"/>
                <a:gd name="csY863" fmla="*/ 333347 h 1538630"/>
                <a:gd name="csX864" fmla="*/ 56346 w 1609516"/>
                <a:gd name="csY864" fmla="*/ 333207 h 1538630"/>
                <a:gd name="csX865" fmla="*/ 56351 w 1609516"/>
                <a:gd name="csY865" fmla="*/ 333202 h 1538630"/>
                <a:gd name="csX866" fmla="*/ 56365 w 1609516"/>
                <a:gd name="csY866" fmla="*/ 333202 h 1538630"/>
                <a:gd name="csX867" fmla="*/ 79571 w 1609516"/>
                <a:gd name="csY867" fmla="*/ 326360 h 1538630"/>
                <a:gd name="csX868" fmla="*/ 104297 w 1609516"/>
                <a:gd name="csY868" fmla="*/ 330529 h 1538630"/>
                <a:gd name="csX869" fmla="*/ 107170 w 1609516"/>
                <a:gd name="csY869" fmla="*/ 334417 h 1538630"/>
                <a:gd name="csX870" fmla="*/ 109366 w 1609516"/>
                <a:gd name="csY870" fmla="*/ 336046 h 1538630"/>
                <a:gd name="csX871" fmla="*/ 109463 w 1609516"/>
                <a:gd name="csY871" fmla="*/ 336020 h 1538630"/>
                <a:gd name="csX872" fmla="*/ 109463 w 1609516"/>
                <a:gd name="csY872" fmla="*/ 336118 h 1538630"/>
                <a:gd name="csX873" fmla="*/ 115226 w 1609516"/>
                <a:gd name="csY873" fmla="*/ 340394 h 1538630"/>
                <a:gd name="csX874" fmla="*/ 114010 w 1609516"/>
                <a:gd name="csY874" fmla="*/ 340120 h 1538630"/>
                <a:gd name="csX875" fmla="*/ 133285 w 1609516"/>
                <a:gd name="csY875" fmla="*/ 357423 h 1538630"/>
                <a:gd name="csX876" fmla="*/ 173509 w 1609516"/>
                <a:gd name="csY876" fmla="*/ 389571 h 1538630"/>
                <a:gd name="csX877" fmla="*/ 181711 w 1609516"/>
                <a:gd name="csY877" fmla="*/ 393270 h 1538630"/>
                <a:gd name="csX878" fmla="*/ 185507 w 1609516"/>
                <a:gd name="csY878" fmla="*/ 394976 h 1538630"/>
                <a:gd name="csX879" fmla="*/ 192658 w 1609516"/>
                <a:gd name="csY879" fmla="*/ 398257 h 1538630"/>
                <a:gd name="csX880" fmla="*/ 195966 w 1609516"/>
                <a:gd name="csY880" fmla="*/ 399788 h 1538630"/>
                <a:gd name="csX881" fmla="*/ 198833 w 1609516"/>
                <a:gd name="csY881" fmla="*/ 401131 h 1538630"/>
                <a:gd name="csX882" fmla="*/ 207877 w 1609516"/>
                <a:gd name="csY882" fmla="*/ 403663 h 1538630"/>
                <a:gd name="csX883" fmla="*/ 207877 w 1609516"/>
                <a:gd name="csY883" fmla="*/ 406481 h 1538630"/>
                <a:gd name="csX884" fmla="*/ 248492 w 1609516"/>
                <a:gd name="csY884" fmla="*/ 419428 h 1538630"/>
                <a:gd name="csX885" fmla="*/ 253965 w 1609516"/>
                <a:gd name="csY885" fmla="*/ 421000 h 1538630"/>
                <a:gd name="csX886" fmla="*/ 267237 w 1609516"/>
                <a:gd name="csY886" fmla="*/ 424801 h 1538630"/>
                <a:gd name="csX887" fmla="*/ 267237 w 1609516"/>
                <a:gd name="csY887" fmla="*/ 426451 h 1538630"/>
                <a:gd name="csX888" fmla="*/ 288701 w 1609516"/>
                <a:gd name="csY888" fmla="*/ 429217 h 1538630"/>
                <a:gd name="csX889" fmla="*/ 288701 w 1609516"/>
                <a:gd name="csY889" fmla="*/ 432036 h 1538630"/>
                <a:gd name="csX890" fmla="*/ 327010 w 1609516"/>
                <a:gd name="csY890" fmla="*/ 433628 h 1538630"/>
                <a:gd name="csX891" fmla="*/ 337486 w 1609516"/>
                <a:gd name="csY891" fmla="*/ 433637 h 1538630"/>
                <a:gd name="csX892" fmla="*/ 344229 w 1609516"/>
                <a:gd name="csY892" fmla="*/ 433632 h 1538630"/>
                <a:gd name="csX893" fmla="*/ 350323 w 1609516"/>
                <a:gd name="csY893" fmla="*/ 433627 h 1538630"/>
                <a:gd name="csX894" fmla="*/ 365245 w 1609516"/>
                <a:gd name="csY894" fmla="*/ 432036 h 1538630"/>
                <a:gd name="csX895" fmla="*/ 360797 w 1609516"/>
                <a:gd name="csY895" fmla="*/ 433759 h 1538630"/>
                <a:gd name="csX896" fmla="*/ 365650 w 1609516"/>
                <a:gd name="csY896" fmla="*/ 433257 h 1538630"/>
                <a:gd name="csX897" fmla="*/ 367213 w 1609516"/>
                <a:gd name="csY897" fmla="*/ 429029 h 1538630"/>
                <a:gd name="csX898" fmla="*/ 375188 w 1609516"/>
                <a:gd name="csY898" fmla="*/ 424906 h 1538630"/>
                <a:gd name="csX899" fmla="*/ 404704 w 1609516"/>
                <a:gd name="csY899" fmla="*/ 389571 h 1538630"/>
                <a:gd name="csX900" fmla="*/ 406265 w 1609516"/>
                <a:gd name="csY900" fmla="*/ 388161 h 1538630"/>
                <a:gd name="csX901" fmla="*/ 406559 w 1609516"/>
                <a:gd name="csY901" fmla="*/ 370106 h 1538630"/>
                <a:gd name="csX902" fmla="*/ 406617 w 1609516"/>
                <a:gd name="csY902" fmla="*/ 364973 h 1538630"/>
                <a:gd name="csX903" fmla="*/ 406626 w 1609516"/>
                <a:gd name="csY903" fmla="*/ 360038 h 1538630"/>
                <a:gd name="csX904" fmla="*/ 406645 w 1609516"/>
                <a:gd name="csY904" fmla="*/ 355503 h 1538630"/>
                <a:gd name="csX905" fmla="*/ 403142 w 1609516"/>
                <a:gd name="csY905" fmla="*/ 345885 h 1538630"/>
                <a:gd name="csX906" fmla="*/ 401579 w 1609516"/>
                <a:gd name="csY906" fmla="*/ 338663 h 1538630"/>
                <a:gd name="csX907" fmla="*/ 390938 w 1609516"/>
                <a:gd name="csY907" fmla="*/ 315939 h 1538630"/>
                <a:gd name="csX908" fmla="*/ 388976 w 1609516"/>
                <a:gd name="csY908" fmla="*/ 312762 h 1538630"/>
                <a:gd name="csX909" fmla="*/ 377934 w 1609516"/>
                <a:gd name="csY909" fmla="*/ 297817 h 1538630"/>
                <a:gd name="csX910" fmla="*/ 368775 w 1609516"/>
                <a:gd name="csY910" fmla="*/ 282470 h 1538630"/>
                <a:gd name="csX911" fmla="*/ 359890 w 1609516"/>
                <a:gd name="csY911" fmla="*/ 271284 h 1538630"/>
                <a:gd name="csX912" fmla="*/ 357374 w 1609516"/>
                <a:gd name="csY912" fmla="*/ 268288 h 1538630"/>
                <a:gd name="csX913" fmla="*/ 337533 w 1609516"/>
                <a:gd name="csY913" fmla="*/ 248649 h 1538630"/>
                <a:gd name="csX914" fmla="*/ 335214 w 1609516"/>
                <a:gd name="csY914" fmla="*/ 246369 h 1538630"/>
                <a:gd name="csX915" fmla="*/ 327085 w 1609516"/>
                <a:gd name="csY915" fmla="*/ 242571 h 1538630"/>
                <a:gd name="csX916" fmla="*/ 288785 w 1609516"/>
                <a:gd name="csY916" fmla="*/ 207968 h 1538630"/>
                <a:gd name="csX917" fmla="*/ 286373 w 1609516"/>
                <a:gd name="csY917" fmla="*/ 192544 h 1538630"/>
                <a:gd name="csX918" fmla="*/ 286385 w 1609516"/>
                <a:gd name="csY918" fmla="*/ 189190 h 1538630"/>
                <a:gd name="csX919" fmla="*/ 300042 w 1609516"/>
                <a:gd name="csY919" fmla="*/ 164095 h 1538630"/>
                <a:gd name="csX920" fmla="*/ 302757 w 1609516"/>
                <a:gd name="csY920" fmla="*/ 161381 h 1538630"/>
                <a:gd name="csX921" fmla="*/ 338411 w 1609516"/>
                <a:gd name="csY921" fmla="*/ 152293 h 1538630"/>
                <a:gd name="csX922" fmla="*/ 368482 w 1609516"/>
                <a:gd name="csY922" fmla="*/ 161893 h 1538630"/>
                <a:gd name="csX923" fmla="*/ 371899 w 1609516"/>
                <a:gd name="csY923" fmla="*/ 165505 h 1538630"/>
                <a:gd name="csX924" fmla="*/ 375121 w 1609516"/>
                <a:gd name="csY924" fmla="*/ 168587 h 1538630"/>
                <a:gd name="csX925" fmla="*/ 384982 w 1609516"/>
                <a:gd name="csY925" fmla="*/ 193777 h 1538630"/>
                <a:gd name="csX926" fmla="*/ 390352 w 1609516"/>
                <a:gd name="csY926" fmla="*/ 214563 h 1538630"/>
                <a:gd name="csX927" fmla="*/ 391529 w 1609516"/>
                <a:gd name="csY927" fmla="*/ 217626 h 1538630"/>
                <a:gd name="csX928" fmla="*/ 401579 w 1609516"/>
                <a:gd name="csY928" fmla="*/ 234556 h 1538630"/>
                <a:gd name="csX929" fmla="*/ 401579 w 1609516"/>
                <a:gd name="csY929" fmla="*/ 238784 h 1538630"/>
                <a:gd name="csX930" fmla="*/ 404215 w 1609516"/>
                <a:gd name="csY930" fmla="*/ 239753 h 1538630"/>
                <a:gd name="csX931" fmla="*/ 417811 w 1609516"/>
                <a:gd name="csY931" fmla="*/ 251996 h 1538630"/>
                <a:gd name="csX932" fmla="*/ 426866 w 1609516"/>
                <a:gd name="csY932" fmla="*/ 262300 h 1538630"/>
                <a:gd name="csX933" fmla="*/ 450097 w 1609516"/>
                <a:gd name="csY933" fmla="*/ 287628 h 1538630"/>
                <a:gd name="csX934" fmla="*/ 457425 w 1609516"/>
                <a:gd name="csY934" fmla="*/ 293920 h 1538630"/>
                <a:gd name="csX935" fmla="*/ 460940 w 1609516"/>
                <a:gd name="csY935" fmla="*/ 296562 h 1538630"/>
                <a:gd name="csX936" fmla="*/ 460940 w 1609516"/>
                <a:gd name="csY936" fmla="*/ 300790 h 1538630"/>
                <a:gd name="csX937" fmla="*/ 473437 w 1609516"/>
                <a:gd name="csY937" fmla="*/ 305018 h 1538630"/>
                <a:gd name="csX938" fmla="*/ 473437 w 1609516"/>
                <a:gd name="csY938" fmla="*/ 307836 h 1538630"/>
                <a:gd name="csX939" fmla="*/ 479881 w 1609516"/>
                <a:gd name="csY939" fmla="*/ 309862 h 1538630"/>
                <a:gd name="csX940" fmla="*/ 483505 w 1609516"/>
                <a:gd name="csY940" fmla="*/ 311001 h 1538630"/>
                <a:gd name="csX941" fmla="*/ 548419 w 1609516"/>
                <a:gd name="csY941" fmla="*/ 306427 h 1538630"/>
                <a:gd name="csX942" fmla="*/ 551842 w 1609516"/>
                <a:gd name="csY942" fmla="*/ 305127 h 1538630"/>
                <a:gd name="csX943" fmla="*/ 560232 w 1609516"/>
                <a:gd name="csY943" fmla="*/ 298148 h 1538630"/>
                <a:gd name="csX944" fmla="*/ 562972 w 1609516"/>
                <a:gd name="csY944" fmla="*/ 295252 h 1538630"/>
                <a:gd name="csX945" fmla="*/ 568086 w 1609516"/>
                <a:gd name="csY945" fmla="*/ 289152 h 1538630"/>
                <a:gd name="csX946" fmla="*/ 570289 w 1609516"/>
                <a:gd name="csY946" fmla="*/ 286697 h 1538630"/>
                <a:gd name="csX947" fmla="*/ 573413 w 1609516"/>
                <a:gd name="csY947" fmla="*/ 286697 h 1538630"/>
                <a:gd name="csX948" fmla="*/ 577220 w 1609516"/>
                <a:gd name="csY948" fmla="*/ 257016 h 1538630"/>
                <a:gd name="csX949" fmla="*/ 577235 w 1609516"/>
                <a:gd name="csY949" fmla="*/ 254206 h 1538630"/>
                <a:gd name="csX950" fmla="*/ 569443 w 1609516"/>
                <a:gd name="csY950" fmla="*/ 206049 h 1538630"/>
                <a:gd name="csX951" fmla="*/ 568726 w 1609516"/>
                <a:gd name="csY951" fmla="*/ 200735 h 1538630"/>
                <a:gd name="csX952" fmla="*/ 565602 w 1609516"/>
                <a:gd name="csY952" fmla="*/ 200735 h 1538630"/>
                <a:gd name="csX953" fmla="*/ 559549 w 1609516"/>
                <a:gd name="csY953" fmla="*/ 184441 h 1538630"/>
                <a:gd name="csX954" fmla="*/ 537484 w 1609516"/>
                <a:gd name="csY954" fmla="*/ 159867 h 1538630"/>
                <a:gd name="csX955" fmla="*/ 531235 w 1609516"/>
                <a:gd name="csY955" fmla="*/ 154230 h 1538630"/>
                <a:gd name="csX956" fmla="*/ 531235 w 1609516"/>
                <a:gd name="csY956" fmla="*/ 151412 h 1538630"/>
                <a:gd name="csX957" fmla="*/ 526549 w 1609516"/>
                <a:gd name="csY957" fmla="*/ 150003 h 1538630"/>
                <a:gd name="csX958" fmla="*/ 524304 w 1609516"/>
                <a:gd name="csY958" fmla="*/ 107198 h 1538630"/>
                <a:gd name="csX959" fmla="*/ 547052 w 1609516"/>
                <a:gd name="csY959" fmla="*/ 85972 h 1538630"/>
                <a:gd name="csX960" fmla="*/ 588460 w 1609516"/>
                <a:gd name="csY960" fmla="*/ 83538 h 1538630"/>
                <a:gd name="csX961" fmla="*/ 617152 w 1609516"/>
                <a:gd name="csY961" fmla="*/ 111954 h 1538630"/>
                <a:gd name="csX962" fmla="*/ 617884 w 1609516"/>
                <a:gd name="csY962" fmla="*/ 124175 h 1538630"/>
                <a:gd name="csX963" fmla="*/ 617917 w 1609516"/>
                <a:gd name="csY963" fmla="*/ 127607 h 1538630"/>
                <a:gd name="csX964" fmla="*/ 617919 w 1609516"/>
                <a:gd name="csY964" fmla="*/ 141969 h 1538630"/>
                <a:gd name="csX965" fmla="*/ 630625 w 1609516"/>
                <a:gd name="csY965" fmla="*/ 191311 h 1538630"/>
                <a:gd name="csX966" fmla="*/ 637850 w 1609516"/>
                <a:gd name="csY966" fmla="*/ 205139 h 1538630"/>
                <a:gd name="csX967" fmla="*/ 643708 w 1609516"/>
                <a:gd name="csY967" fmla="*/ 212009 h 1538630"/>
                <a:gd name="csX968" fmla="*/ 647027 w 1609516"/>
                <a:gd name="csY968" fmla="*/ 217645 h 1538630"/>
                <a:gd name="csX969" fmla="*/ 670264 w 1609516"/>
                <a:gd name="csY969" fmla="*/ 241603 h 1538630"/>
                <a:gd name="csX970" fmla="*/ 670264 w 1609516"/>
                <a:gd name="csY970" fmla="*/ 244421 h 1538630"/>
                <a:gd name="csX971" fmla="*/ 675634 w 1609516"/>
                <a:gd name="csY971" fmla="*/ 245742 h 1538630"/>
                <a:gd name="csX972" fmla="*/ 682761 w 1609516"/>
                <a:gd name="csY972" fmla="*/ 248649 h 1538630"/>
                <a:gd name="csX973" fmla="*/ 752092 w 1609516"/>
                <a:gd name="csY973" fmla="*/ 245076 h 1538630"/>
                <a:gd name="csX974" fmla="*/ 758433 w 1609516"/>
                <a:gd name="csY974" fmla="*/ 240485 h 1538630"/>
                <a:gd name="csX975" fmla="*/ 763991 w 1609516"/>
                <a:gd name="csY975" fmla="*/ 238784 h 1538630"/>
                <a:gd name="csX976" fmla="*/ 765315 w 1609516"/>
                <a:gd name="csY976" fmla="*/ 235778 h 1538630"/>
                <a:gd name="csX977" fmla="*/ 770923 w 1609516"/>
                <a:gd name="csY977" fmla="*/ 223459 h 1538630"/>
                <a:gd name="csX978" fmla="*/ 772998 w 1609516"/>
                <a:gd name="csY978" fmla="*/ 218934 h 1538630"/>
                <a:gd name="csX979" fmla="*/ 777562 w 1609516"/>
                <a:gd name="csY979" fmla="*/ 209895 h 1538630"/>
                <a:gd name="csX980" fmla="*/ 781175 w 1609516"/>
                <a:gd name="csY980" fmla="*/ 124637 h 1538630"/>
                <a:gd name="csX981" fmla="*/ 778051 w 1609516"/>
                <a:gd name="csY981" fmla="*/ 124637 h 1538630"/>
                <a:gd name="csX982" fmla="*/ 767116 w 1609516"/>
                <a:gd name="csY982" fmla="*/ 79542 h 1538630"/>
                <a:gd name="csX983" fmla="*/ 793379 w 1609516"/>
                <a:gd name="csY983" fmla="*/ 54000 h 1538630"/>
                <a:gd name="csX984" fmla="*/ 840688 w 1609516"/>
                <a:gd name="csY984" fmla="*/ 55503 h 1538630"/>
                <a:gd name="csX985" fmla="*/ 851470 w 1609516"/>
                <a:gd name="csY985" fmla="*/ 64040 h 1538630"/>
                <a:gd name="csX986" fmla="*/ 853997 w 1609516"/>
                <a:gd name="csY986" fmla="*/ 66529 h 1538630"/>
                <a:gd name="csX987" fmla="*/ 861488 w 1609516"/>
                <a:gd name="csY987" fmla="*/ 82057 h 1538630"/>
                <a:gd name="csX988" fmla="*/ 861937 w 1609516"/>
                <a:gd name="csY988" fmla="*/ 90492 h 1538630"/>
                <a:gd name="csX989" fmla="*/ 863826 w 1609516"/>
                <a:gd name="csY989" fmla="*/ 100715 h 1538630"/>
                <a:gd name="csX990" fmla="*/ 857577 w 1609516"/>
                <a:gd name="csY990" fmla="*/ 121853 h 1538630"/>
                <a:gd name="csX991" fmla="*/ 856015 w 1609516"/>
                <a:gd name="csY991" fmla="*/ 121853 h 1538630"/>
                <a:gd name="csX992" fmla="*/ 855442 w 1609516"/>
                <a:gd name="csY992" fmla="*/ 118919 h 1538630"/>
                <a:gd name="csX993" fmla="*/ 855417 w 1609516"/>
                <a:gd name="csY993" fmla="*/ 118798 h 1538630"/>
                <a:gd name="csX994" fmla="*/ 856157 w 1609516"/>
                <a:gd name="csY994" fmla="*/ 124637 h 1538630"/>
                <a:gd name="csX995" fmla="*/ 850623 w 1609516"/>
                <a:gd name="csY995" fmla="*/ 134701 h 1538630"/>
                <a:gd name="csX996" fmla="*/ 851325 w 1609516"/>
                <a:gd name="csY996" fmla="*/ 135968 h 1538630"/>
                <a:gd name="csX997" fmla="*/ 849886 w 1609516"/>
                <a:gd name="csY997" fmla="*/ 139843 h 1538630"/>
                <a:gd name="csX998" fmla="*/ 847786 w 1609516"/>
                <a:gd name="csY998" fmla="*/ 152889 h 1538630"/>
                <a:gd name="csX999" fmla="*/ 847767 w 1609516"/>
                <a:gd name="csY999" fmla="*/ 157768 h 1538630"/>
                <a:gd name="csX1000" fmla="*/ 847810 w 1609516"/>
                <a:gd name="csY1000" fmla="*/ 162919 h 1538630"/>
                <a:gd name="csX1001" fmla="*/ 847832 w 1609516"/>
                <a:gd name="csY1001" fmla="*/ 168227 h 1538630"/>
                <a:gd name="csX1002" fmla="*/ 850903 w 1609516"/>
                <a:gd name="csY1002" fmla="*/ 209013 h 1538630"/>
                <a:gd name="csX1003" fmla="*/ 852880 w 1609516"/>
                <a:gd name="csY1003" fmla="*/ 224692 h 1538630"/>
                <a:gd name="csX1004" fmla="*/ 854595 w 1609516"/>
                <a:gd name="csY1004" fmla="*/ 224692 h 1538630"/>
                <a:gd name="csX1005" fmla="*/ 856083 w 1609516"/>
                <a:gd name="csY1005" fmla="*/ 227268 h 1538630"/>
                <a:gd name="csX1006" fmla="*/ 879588 w 1609516"/>
                <a:gd name="csY1006" fmla="*/ 247239 h 1538630"/>
                <a:gd name="csX1007" fmla="*/ 885739 w 1609516"/>
                <a:gd name="csY1007" fmla="*/ 249618 h 1538630"/>
                <a:gd name="csX1008" fmla="*/ 890523 w 1609516"/>
                <a:gd name="csY1008" fmla="*/ 251467 h 1538630"/>
                <a:gd name="csX1009" fmla="*/ 890523 w 1609516"/>
                <a:gd name="csY1009" fmla="*/ 254285 h 1538630"/>
                <a:gd name="csX1010" fmla="*/ 920203 w 1609516"/>
                <a:gd name="csY1010" fmla="*/ 261332 h 1538630"/>
                <a:gd name="csX1011" fmla="*/ 920203 w 1609516"/>
                <a:gd name="csY1011" fmla="*/ 262741 h 1538630"/>
                <a:gd name="csX1012" fmla="*/ 910831 w 1609516"/>
                <a:gd name="csY1012" fmla="*/ 262741 h 1538630"/>
                <a:gd name="csX1013" fmla="*/ 910831 w 1609516"/>
                <a:gd name="csY1013" fmla="*/ 262864 h 1538630"/>
                <a:gd name="csX1014" fmla="*/ 927993 w 1609516"/>
                <a:gd name="csY1014" fmla="*/ 264177 h 1538630"/>
                <a:gd name="csX1015" fmla="*/ 939273 w 1609516"/>
                <a:gd name="csY1015" fmla="*/ 265285 h 1538630"/>
                <a:gd name="csX1016" fmla="*/ 940456 w 1609516"/>
                <a:gd name="csY1016" fmla="*/ 265191 h 1538630"/>
                <a:gd name="csX1017" fmla="*/ 991622 w 1609516"/>
                <a:gd name="csY1017" fmla="*/ 242329 h 1538630"/>
                <a:gd name="csX1018" fmla="*/ 1000803 w 1609516"/>
                <a:gd name="csY1018" fmla="*/ 236505 h 1538630"/>
                <a:gd name="csX1019" fmla="*/ 999806 w 1609516"/>
                <a:gd name="csY1019" fmla="*/ 236055 h 1538630"/>
                <a:gd name="csX1020" fmla="*/ 1003126 w 1609516"/>
                <a:gd name="csY1020" fmla="*/ 232851 h 1538630"/>
                <a:gd name="csX1021" fmla="*/ 1029487 w 1609516"/>
                <a:gd name="csY1021" fmla="*/ 205052 h 1538630"/>
                <a:gd name="csX1022" fmla="*/ 1029872 w 1609516"/>
                <a:gd name="csY1022" fmla="*/ 206442 h 1538630"/>
                <a:gd name="csX1023" fmla="*/ 1031614 w 1609516"/>
                <a:gd name="csY1023" fmla="*/ 203719 h 1538630"/>
                <a:gd name="csX1024" fmla="*/ 1038924 w 1609516"/>
                <a:gd name="csY1024" fmla="*/ 192280 h 1538630"/>
                <a:gd name="csX1025" fmla="*/ 1042049 w 1609516"/>
                <a:gd name="csY1025" fmla="*/ 190870 h 1538630"/>
                <a:gd name="csX1026" fmla="*/ 1044294 w 1609516"/>
                <a:gd name="csY1026" fmla="*/ 186026 h 1538630"/>
                <a:gd name="csX1027" fmla="*/ 1051422 w 1609516"/>
                <a:gd name="csY1027" fmla="*/ 178188 h 1538630"/>
                <a:gd name="csX1028" fmla="*/ 1052984 w 1609516"/>
                <a:gd name="csY1028" fmla="*/ 172551 h 1538630"/>
                <a:gd name="csX1029" fmla="*/ 1056108 w 1609516"/>
                <a:gd name="csY1029" fmla="*/ 172551 h 1538630"/>
                <a:gd name="csX1030" fmla="*/ 1059232 w 1609516"/>
                <a:gd name="csY1030" fmla="*/ 162686 h 1538630"/>
                <a:gd name="csX1031" fmla="*/ 1062357 w 1609516"/>
                <a:gd name="csY1031" fmla="*/ 162686 h 1538630"/>
                <a:gd name="csX1032" fmla="*/ 1063162 w 1609516"/>
                <a:gd name="csY1032" fmla="*/ 160258 h 1538630"/>
                <a:gd name="csX1033" fmla="*/ 1073292 w 1609516"/>
                <a:gd name="csY1033" fmla="*/ 140138 h 1538630"/>
                <a:gd name="csX1034" fmla="*/ 1076415 w 1609516"/>
                <a:gd name="csY1034" fmla="*/ 140138 h 1538630"/>
                <a:gd name="csX1035" fmla="*/ 1085294 w 1609516"/>
                <a:gd name="csY1035" fmla="*/ 117569 h 1538630"/>
                <a:gd name="csX1036" fmla="*/ 1087350 w 1609516"/>
                <a:gd name="csY1036" fmla="*/ 113363 h 1538630"/>
                <a:gd name="csX1037" fmla="*/ 1092037 w 1609516"/>
                <a:gd name="csY1037" fmla="*/ 111954 h 1538630"/>
                <a:gd name="csX1038" fmla="*/ 1092623 w 1609516"/>
                <a:gd name="csY1038" fmla="*/ 108695 h 1538630"/>
                <a:gd name="csX1039" fmla="*/ 1096723 w 1609516"/>
                <a:gd name="csY1039" fmla="*/ 100680 h 1538630"/>
                <a:gd name="csX1040" fmla="*/ 1098188 w 1609516"/>
                <a:gd name="csY1040" fmla="*/ 96013 h 1538630"/>
                <a:gd name="csX1041" fmla="*/ 1102288 w 1609516"/>
                <a:gd name="csY1041" fmla="*/ 87029 h 1538630"/>
                <a:gd name="csX1042" fmla="*/ 1104534 w 1609516"/>
                <a:gd name="csY1042" fmla="*/ 61222 h 1538630"/>
                <a:gd name="csX1043" fmla="*/ 1104381 w 1609516"/>
                <a:gd name="csY1043" fmla="*/ 55569 h 1538630"/>
                <a:gd name="csX1044" fmla="*/ 1104397 w 1609516"/>
                <a:gd name="csY1044" fmla="*/ 52335 h 1538630"/>
                <a:gd name="csX1045" fmla="*/ 1104436 w 1609516"/>
                <a:gd name="csY1045" fmla="*/ 48979 h 1538630"/>
                <a:gd name="csX1046" fmla="*/ 1104457 w 1609516"/>
                <a:gd name="csY1046" fmla="*/ 45575 h 1538630"/>
                <a:gd name="csX1047" fmla="*/ 1104534 w 1609516"/>
                <a:gd name="csY1047" fmla="*/ 37265 h 1538630"/>
                <a:gd name="csX1048" fmla="*/ 1107658 w 1609516"/>
                <a:gd name="csY1048" fmla="*/ 37265 h 1538630"/>
                <a:gd name="csX1049" fmla="*/ 1107463 w 1609516"/>
                <a:gd name="csY1049" fmla="*/ 31805 h 1538630"/>
                <a:gd name="csX1050" fmla="*/ 1107658 w 1609516"/>
                <a:gd name="csY1050" fmla="*/ 25991 h 1538630"/>
                <a:gd name="csX1051" fmla="*/ 1110782 w 1609516"/>
                <a:gd name="csY1051" fmla="*/ 23173 h 1538630"/>
                <a:gd name="csX1052" fmla="*/ 1111759 w 1609516"/>
                <a:gd name="csY1052" fmla="*/ 20091 h 1538630"/>
                <a:gd name="csX1053" fmla="*/ 1134507 w 1609516"/>
                <a:gd name="csY1053" fmla="*/ 2828 h 1538630"/>
                <a:gd name="csX1054" fmla="*/ 1155019 w 1609516"/>
                <a:gd name="csY1054" fmla="*/ 35 h 153863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  <a:cxn ang="0">
                  <a:pos x="csX16" y="csY16"/>
                </a:cxn>
                <a:cxn ang="0">
                  <a:pos x="csX17" y="csY17"/>
                </a:cxn>
                <a:cxn ang="0">
                  <a:pos x="csX18" y="csY18"/>
                </a:cxn>
                <a:cxn ang="0">
                  <a:pos x="csX19" y="csY19"/>
                </a:cxn>
                <a:cxn ang="0">
                  <a:pos x="csX20" y="csY20"/>
                </a:cxn>
                <a:cxn ang="0">
                  <a:pos x="csX21" y="csY21"/>
                </a:cxn>
                <a:cxn ang="0">
                  <a:pos x="csX22" y="csY22"/>
                </a:cxn>
                <a:cxn ang="0">
                  <a:pos x="csX23" y="csY23"/>
                </a:cxn>
                <a:cxn ang="0">
                  <a:pos x="csX24" y="csY24"/>
                </a:cxn>
                <a:cxn ang="0">
                  <a:pos x="csX25" y="csY25"/>
                </a:cxn>
                <a:cxn ang="0">
                  <a:pos x="csX26" y="csY26"/>
                </a:cxn>
                <a:cxn ang="0">
                  <a:pos x="csX27" y="csY27"/>
                </a:cxn>
                <a:cxn ang="0">
                  <a:pos x="csX28" y="csY28"/>
                </a:cxn>
                <a:cxn ang="0">
                  <a:pos x="csX29" y="csY29"/>
                </a:cxn>
                <a:cxn ang="0">
                  <a:pos x="csX30" y="csY30"/>
                </a:cxn>
                <a:cxn ang="0">
                  <a:pos x="csX31" y="csY31"/>
                </a:cxn>
                <a:cxn ang="0">
                  <a:pos x="csX32" y="csY32"/>
                </a:cxn>
                <a:cxn ang="0">
                  <a:pos x="csX33" y="csY33"/>
                </a:cxn>
                <a:cxn ang="0">
                  <a:pos x="csX34" y="csY34"/>
                </a:cxn>
                <a:cxn ang="0">
                  <a:pos x="csX35" y="csY35"/>
                </a:cxn>
                <a:cxn ang="0">
                  <a:pos x="csX36" y="csY36"/>
                </a:cxn>
                <a:cxn ang="0">
                  <a:pos x="csX37" y="csY37"/>
                </a:cxn>
                <a:cxn ang="0">
                  <a:pos x="csX38" y="csY38"/>
                </a:cxn>
                <a:cxn ang="0">
                  <a:pos x="csX39" y="csY39"/>
                </a:cxn>
                <a:cxn ang="0">
                  <a:pos x="csX40" y="csY40"/>
                </a:cxn>
                <a:cxn ang="0">
                  <a:pos x="csX41" y="csY41"/>
                </a:cxn>
                <a:cxn ang="0">
                  <a:pos x="csX42" y="csY42"/>
                </a:cxn>
                <a:cxn ang="0">
                  <a:pos x="csX43" y="csY43"/>
                </a:cxn>
                <a:cxn ang="0">
                  <a:pos x="csX44" y="csY44"/>
                </a:cxn>
                <a:cxn ang="0">
                  <a:pos x="csX45" y="csY45"/>
                </a:cxn>
                <a:cxn ang="0">
                  <a:pos x="csX46" y="csY46"/>
                </a:cxn>
                <a:cxn ang="0">
                  <a:pos x="csX47" y="csY47"/>
                </a:cxn>
                <a:cxn ang="0">
                  <a:pos x="csX48" y="csY48"/>
                </a:cxn>
                <a:cxn ang="0">
                  <a:pos x="csX49" y="csY49"/>
                </a:cxn>
                <a:cxn ang="0">
                  <a:pos x="csX50" y="csY50"/>
                </a:cxn>
                <a:cxn ang="0">
                  <a:pos x="csX51" y="csY51"/>
                </a:cxn>
                <a:cxn ang="0">
                  <a:pos x="csX52" y="csY52"/>
                </a:cxn>
                <a:cxn ang="0">
                  <a:pos x="csX53" y="csY53"/>
                </a:cxn>
                <a:cxn ang="0">
                  <a:pos x="csX54" y="csY54"/>
                </a:cxn>
                <a:cxn ang="0">
                  <a:pos x="csX55" y="csY55"/>
                </a:cxn>
                <a:cxn ang="0">
                  <a:pos x="csX56" y="csY56"/>
                </a:cxn>
                <a:cxn ang="0">
                  <a:pos x="csX57" y="csY57"/>
                </a:cxn>
                <a:cxn ang="0">
                  <a:pos x="csX58" y="csY58"/>
                </a:cxn>
                <a:cxn ang="0">
                  <a:pos x="csX59" y="csY59"/>
                </a:cxn>
                <a:cxn ang="0">
                  <a:pos x="csX60" y="csY60"/>
                </a:cxn>
                <a:cxn ang="0">
                  <a:pos x="csX61" y="csY61"/>
                </a:cxn>
                <a:cxn ang="0">
                  <a:pos x="csX62" y="csY62"/>
                </a:cxn>
                <a:cxn ang="0">
                  <a:pos x="csX63" y="csY63"/>
                </a:cxn>
                <a:cxn ang="0">
                  <a:pos x="csX64" y="csY64"/>
                </a:cxn>
                <a:cxn ang="0">
                  <a:pos x="csX65" y="csY65"/>
                </a:cxn>
                <a:cxn ang="0">
                  <a:pos x="csX66" y="csY66"/>
                </a:cxn>
                <a:cxn ang="0">
                  <a:pos x="csX67" y="csY67"/>
                </a:cxn>
                <a:cxn ang="0">
                  <a:pos x="csX68" y="csY68"/>
                </a:cxn>
                <a:cxn ang="0">
                  <a:pos x="csX69" y="csY69"/>
                </a:cxn>
                <a:cxn ang="0">
                  <a:pos x="csX70" y="csY70"/>
                </a:cxn>
                <a:cxn ang="0">
                  <a:pos x="csX71" y="csY71"/>
                </a:cxn>
                <a:cxn ang="0">
                  <a:pos x="csX72" y="csY72"/>
                </a:cxn>
                <a:cxn ang="0">
                  <a:pos x="csX73" y="csY73"/>
                </a:cxn>
                <a:cxn ang="0">
                  <a:pos x="csX74" y="csY74"/>
                </a:cxn>
                <a:cxn ang="0">
                  <a:pos x="csX75" y="csY75"/>
                </a:cxn>
                <a:cxn ang="0">
                  <a:pos x="csX76" y="csY76"/>
                </a:cxn>
                <a:cxn ang="0">
                  <a:pos x="csX77" y="csY77"/>
                </a:cxn>
                <a:cxn ang="0">
                  <a:pos x="csX78" y="csY78"/>
                </a:cxn>
                <a:cxn ang="0">
                  <a:pos x="csX79" y="csY79"/>
                </a:cxn>
                <a:cxn ang="0">
                  <a:pos x="csX80" y="csY80"/>
                </a:cxn>
                <a:cxn ang="0">
                  <a:pos x="csX81" y="csY81"/>
                </a:cxn>
                <a:cxn ang="0">
                  <a:pos x="csX82" y="csY82"/>
                </a:cxn>
                <a:cxn ang="0">
                  <a:pos x="csX83" y="csY83"/>
                </a:cxn>
                <a:cxn ang="0">
                  <a:pos x="csX84" y="csY84"/>
                </a:cxn>
                <a:cxn ang="0">
                  <a:pos x="csX85" y="csY85"/>
                </a:cxn>
                <a:cxn ang="0">
                  <a:pos x="csX86" y="csY86"/>
                </a:cxn>
                <a:cxn ang="0">
                  <a:pos x="csX87" y="csY87"/>
                </a:cxn>
                <a:cxn ang="0">
                  <a:pos x="csX88" y="csY88"/>
                </a:cxn>
                <a:cxn ang="0">
                  <a:pos x="csX89" y="csY89"/>
                </a:cxn>
                <a:cxn ang="0">
                  <a:pos x="csX90" y="csY90"/>
                </a:cxn>
                <a:cxn ang="0">
                  <a:pos x="csX91" y="csY91"/>
                </a:cxn>
                <a:cxn ang="0">
                  <a:pos x="csX92" y="csY92"/>
                </a:cxn>
                <a:cxn ang="0">
                  <a:pos x="csX93" y="csY93"/>
                </a:cxn>
                <a:cxn ang="0">
                  <a:pos x="csX94" y="csY94"/>
                </a:cxn>
                <a:cxn ang="0">
                  <a:pos x="csX95" y="csY95"/>
                </a:cxn>
                <a:cxn ang="0">
                  <a:pos x="csX96" y="csY96"/>
                </a:cxn>
                <a:cxn ang="0">
                  <a:pos x="csX97" y="csY97"/>
                </a:cxn>
                <a:cxn ang="0">
                  <a:pos x="csX98" y="csY98"/>
                </a:cxn>
                <a:cxn ang="0">
                  <a:pos x="csX99" y="csY99"/>
                </a:cxn>
                <a:cxn ang="0">
                  <a:pos x="csX100" y="csY100"/>
                </a:cxn>
                <a:cxn ang="0">
                  <a:pos x="csX101" y="csY101"/>
                </a:cxn>
                <a:cxn ang="0">
                  <a:pos x="csX102" y="csY102"/>
                </a:cxn>
                <a:cxn ang="0">
                  <a:pos x="csX103" y="csY103"/>
                </a:cxn>
                <a:cxn ang="0">
                  <a:pos x="csX104" y="csY104"/>
                </a:cxn>
                <a:cxn ang="0">
                  <a:pos x="csX105" y="csY105"/>
                </a:cxn>
                <a:cxn ang="0">
                  <a:pos x="csX106" y="csY106"/>
                </a:cxn>
                <a:cxn ang="0">
                  <a:pos x="csX107" y="csY107"/>
                </a:cxn>
                <a:cxn ang="0">
                  <a:pos x="csX108" y="csY108"/>
                </a:cxn>
                <a:cxn ang="0">
                  <a:pos x="csX109" y="csY109"/>
                </a:cxn>
                <a:cxn ang="0">
                  <a:pos x="csX110" y="csY110"/>
                </a:cxn>
                <a:cxn ang="0">
                  <a:pos x="csX111" y="csY111"/>
                </a:cxn>
                <a:cxn ang="0">
                  <a:pos x="csX112" y="csY112"/>
                </a:cxn>
                <a:cxn ang="0">
                  <a:pos x="csX113" y="csY113"/>
                </a:cxn>
                <a:cxn ang="0">
                  <a:pos x="csX114" y="csY114"/>
                </a:cxn>
                <a:cxn ang="0">
                  <a:pos x="csX115" y="csY115"/>
                </a:cxn>
                <a:cxn ang="0">
                  <a:pos x="csX116" y="csY116"/>
                </a:cxn>
                <a:cxn ang="0">
                  <a:pos x="csX117" y="csY117"/>
                </a:cxn>
                <a:cxn ang="0">
                  <a:pos x="csX118" y="csY118"/>
                </a:cxn>
                <a:cxn ang="0">
                  <a:pos x="csX119" y="csY119"/>
                </a:cxn>
                <a:cxn ang="0">
                  <a:pos x="csX120" y="csY120"/>
                </a:cxn>
                <a:cxn ang="0">
                  <a:pos x="csX121" y="csY121"/>
                </a:cxn>
                <a:cxn ang="0">
                  <a:pos x="csX122" y="csY122"/>
                </a:cxn>
                <a:cxn ang="0">
                  <a:pos x="csX123" y="csY123"/>
                </a:cxn>
                <a:cxn ang="0">
                  <a:pos x="csX124" y="csY124"/>
                </a:cxn>
                <a:cxn ang="0">
                  <a:pos x="csX125" y="csY125"/>
                </a:cxn>
                <a:cxn ang="0">
                  <a:pos x="csX126" y="csY126"/>
                </a:cxn>
                <a:cxn ang="0">
                  <a:pos x="csX127" y="csY127"/>
                </a:cxn>
                <a:cxn ang="0">
                  <a:pos x="csX128" y="csY128"/>
                </a:cxn>
                <a:cxn ang="0">
                  <a:pos x="csX129" y="csY129"/>
                </a:cxn>
                <a:cxn ang="0">
                  <a:pos x="csX130" y="csY130"/>
                </a:cxn>
                <a:cxn ang="0">
                  <a:pos x="csX131" y="csY131"/>
                </a:cxn>
                <a:cxn ang="0">
                  <a:pos x="csX132" y="csY132"/>
                </a:cxn>
                <a:cxn ang="0">
                  <a:pos x="csX133" y="csY133"/>
                </a:cxn>
                <a:cxn ang="0">
                  <a:pos x="csX134" y="csY134"/>
                </a:cxn>
                <a:cxn ang="0">
                  <a:pos x="csX135" y="csY135"/>
                </a:cxn>
                <a:cxn ang="0">
                  <a:pos x="csX136" y="csY136"/>
                </a:cxn>
                <a:cxn ang="0">
                  <a:pos x="csX137" y="csY137"/>
                </a:cxn>
                <a:cxn ang="0">
                  <a:pos x="csX138" y="csY138"/>
                </a:cxn>
                <a:cxn ang="0">
                  <a:pos x="csX139" y="csY139"/>
                </a:cxn>
                <a:cxn ang="0">
                  <a:pos x="csX140" y="csY140"/>
                </a:cxn>
                <a:cxn ang="0">
                  <a:pos x="csX141" y="csY141"/>
                </a:cxn>
                <a:cxn ang="0">
                  <a:pos x="csX142" y="csY142"/>
                </a:cxn>
                <a:cxn ang="0">
                  <a:pos x="csX143" y="csY143"/>
                </a:cxn>
                <a:cxn ang="0">
                  <a:pos x="csX144" y="csY144"/>
                </a:cxn>
                <a:cxn ang="0">
                  <a:pos x="csX145" y="csY145"/>
                </a:cxn>
                <a:cxn ang="0">
                  <a:pos x="csX146" y="csY146"/>
                </a:cxn>
                <a:cxn ang="0">
                  <a:pos x="csX147" y="csY147"/>
                </a:cxn>
                <a:cxn ang="0">
                  <a:pos x="csX148" y="csY148"/>
                </a:cxn>
                <a:cxn ang="0">
                  <a:pos x="csX149" y="csY149"/>
                </a:cxn>
                <a:cxn ang="0">
                  <a:pos x="csX150" y="csY150"/>
                </a:cxn>
                <a:cxn ang="0">
                  <a:pos x="csX151" y="csY151"/>
                </a:cxn>
                <a:cxn ang="0">
                  <a:pos x="csX152" y="csY152"/>
                </a:cxn>
                <a:cxn ang="0">
                  <a:pos x="csX153" y="csY153"/>
                </a:cxn>
                <a:cxn ang="0">
                  <a:pos x="csX154" y="csY154"/>
                </a:cxn>
                <a:cxn ang="0">
                  <a:pos x="csX155" y="csY155"/>
                </a:cxn>
                <a:cxn ang="0">
                  <a:pos x="csX156" y="csY156"/>
                </a:cxn>
                <a:cxn ang="0">
                  <a:pos x="csX157" y="csY157"/>
                </a:cxn>
                <a:cxn ang="0">
                  <a:pos x="csX158" y="csY158"/>
                </a:cxn>
                <a:cxn ang="0">
                  <a:pos x="csX159" y="csY159"/>
                </a:cxn>
                <a:cxn ang="0">
                  <a:pos x="csX160" y="csY160"/>
                </a:cxn>
                <a:cxn ang="0">
                  <a:pos x="csX161" y="csY161"/>
                </a:cxn>
                <a:cxn ang="0">
                  <a:pos x="csX162" y="csY162"/>
                </a:cxn>
                <a:cxn ang="0">
                  <a:pos x="csX163" y="csY163"/>
                </a:cxn>
                <a:cxn ang="0">
                  <a:pos x="csX164" y="csY164"/>
                </a:cxn>
                <a:cxn ang="0">
                  <a:pos x="csX165" y="csY165"/>
                </a:cxn>
                <a:cxn ang="0">
                  <a:pos x="csX166" y="csY166"/>
                </a:cxn>
                <a:cxn ang="0">
                  <a:pos x="csX167" y="csY167"/>
                </a:cxn>
                <a:cxn ang="0">
                  <a:pos x="csX168" y="csY168"/>
                </a:cxn>
                <a:cxn ang="0">
                  <a:pos x="csX169" y="csY169"/>
                </a:cxn>
                <a:cxn ang="0">
                  <a:pos x="csX170" y="csY170"/>
                </a:cxn>
                <a:cxn ang="0">
                  <a:pos x="csX171" y="csY171"/>
                </a:cxn>
                <a:cxn ang="0">
                  <a:pos x="csX172" y="csY172"/>
                </a:cxn>
                <a:cxn ang="0">
                  <a:pos x="csX173" y="csY173"/>
                </a:cxn>
                <a:cxn ang="0">
                  <a:pos x="csX174" y="csY174"/>
                </a:cxn>
                <a:cxn ang="0">
                  <a:pos x="csX175" y="csY175"/>
                </a:cxn>
                <a:cxn ang="0">
                  <a:pos x="csX176" y="csY176"/>
                </a:cxn>
                <a:cxn ang="0">
                  <a:pos x="csX177" y="csY177"/>
                </a:cxn>
                <a:cxn ang="0">
                  <a:pos x="csX178" y="csY178"/>
                </a:cxn>
                <a:cxn ang="0">
                  <a:pos x="csX179" y="csY179"/>
                </a:cxn>
                <a:cxn ang="0">
                  <a:pos x="csX180" y="csY180"/>
                </a:cxn>
                <a:cxn ang="0">
                  <a:pos x="csX181" y="csY181"/>
                </a:cxn>
                <a:cxn ang="0">
                  <a:pos x="csX182" y="csY182"/>
                </a:cxn>
                <a:cxn ang="0">
                  <a:pos x="csX183" y="csY183"/>
                </a:cxn>
                <a:cxn ang="0">
                  <a:pos x="csX184" y="csY184"/>
                </a:cxn>
                <a:cxn ang="0">
                  <a:pos x="csX185" y="csY185"/>
                </a:cxn>
                <a:cxn ang="0">
                  <a:pos x="csX186" y="csY186"/>
                </a:cxn>
                <a:cxn ang="0">
                  <a:pos x="csX187" y="csY187"/>
                </a:cxn>
                <a:cxn ang="0">
                  <a:pos x="csX188" y="csY188"/>
                </a:cxn>
                <a:cxn ang="0">
                  <a:pos x="csX189" y="csY189"/>
                </a:cxn>
                <a:cxn ang="0">
                  <a:pos x="csX190" y="csY190"/>
                </a:cxn>
                <a:cxn ang="0">
                  <a:pos x="csX191" y="csY191"/>
                </a:cxn>
                <a:cxn ang="0">
                  <a:pos x="csX192" y="csY192"/>
                </a:cxn>
                <a:cxn ang="0">
                  <a:pos x="csX193" y="csY193"/>
                </a:cxn>
                <a:cxn ang="0">
                  <a:pos x="csX194" y="csY194"/>
                </a:cxn>
                <a:cxn ang="0">
                  <a:pos x="csX195" y="csY195"/>
                </a:cxn>
                <a:cxn ang="0">
                  <a:pos x="csX196" y="csY196"/>
                </a:cxn>
                <a:cxn ang="0">
                  <a:pos x="csX197" y="csY197"/>
                </a:cxn>
                <a:cxn ang="0">
                  <a:pos x="csX198" y="csY198"/>
                </a:cxn>
                <a:cxn ang="0">
                  <a:pos x="csX199" y="csY199"/>
                </a:cxn>
                <a:cxn ang="0">
                  <a:pos x="csX200" y="csY200"/>
                </a:cxn>
                <a:cxn ang="0">
                  <a:pos x="csX201" y="csY201"/>
                </a:cxn>
                <a:cxn ang="0">
                  <a:pos x="csX202" y="csY202"/>
                </a:cxn>
                <a:cxn ang="0">
                  <a:pos x="csX203" y="csY203"/>
                </a:cxn>
                <a:cxn ang="0">
                  <a:pos x="csX204" y="csY204"/>
                </a:cxn>
                <a:cxn ang="0">
                  <a:pos x="csX205" y="csY205"/>
                </a:cxn>
                <a:cxn ang="0">
                  <a:pos x="csX206" y="csY206"/>
                </a:cxn>
                <a:cxn ang="0">
                  <a:pos x="csX207" y="csY207"/>
                </a:cxn>
                <a:cxn ang="0">
                  <a:pos x="csX208" y="csY208"/>
                </a:cxn>
                <a:cxn ang="0">
                  <a:pos x="csX209" y="csY209"/>
                </a:cxn>
                <a:cxn ang="0">
                  <a:pos x="csX210" y="csY210"/>
                </a:cxn>
                <a:cxn ang="0">
                  <a:pos x="csX211" y="csY211"/>
                </a:cxn>
                <a:cxn ang="0">
                  <a:pos x="csX212" y="csY212"/>
                </a:cxn>
                <a:cxn ang="0">
                  <a:pos x="csX213" y="csY213"/>
                </a:cxn>
                <a:cxn ang="0">
                  <a:pos x="csX214" y="csY214"/>
                </a:cxn>
                <a:cxn ang="0">
                  <a:pos x="csX215" y="csY215"/>
                </a:cxn>
                <a:cxn ang="0">
                  <a:pos x="csX216" y="csY216"/>
                </a:cxn>
                <a:cxn ang="0">
                  <a:pos x="csX217" y="csY217"/>
                </a:cxn>
                <a:cxn ang="0">
                  <a:pos x="csX218" y="csY218"/>
                </a:cxn>
                <a:cxn ang="0">
                  <a:pos x="csX219" y="csY219"/>
                </a:cxn>
                <a:cxn ang="0">
                  <a:pos x="csX220" y="csY220"/>
                </a:cxn>
                <a:cxn ang="0">
                  <a:pos x="csX221" y="csY221"/>
                </a:cxn>
                <a:cxn ang="0">
                  <a:pos x="csX222" y="csY222"/>
                </a:cxn>
                <a:cxn ang="0">
                  <a:pos x="csX223" y="csY223"/>
                </a:cxn>
                <a:cxn ang="0">
                  <a:pos x="csX224" y="csY224"/>
                </a:cxn>
                <a:cxn ang="0">
                  <a:pos x="csX225" y="csY225"/>
                </a:cxn>
                <a:cxn ang="0">
                  <a:pos x="csX226" y="csY226"/>
                </a:cxn>
                <a:cxn ang="0">
                  <a:pos x="csX227" y="csY227"/>
                </a:cxn>
                <a:cxn ang="0">
                  <a:pos x="csX228" y="csY228"/>
                </a:cxn>
                <a:cxn ang="0">
                  <a:pos x="csX229" y="csY229"/>
                </a:cxn>
                <a:cxn ang="0">
                  <a:pos x="csX230" y="csY230"/>
                </a:cxn>
                <a:cxn ang="0">
                  <a:pos x="csX231" y="csY231"/>
                </a:cxn>
                <a:cxn ang="0">
                  <a:pos x="csX232" y="csY232"/>
                </a:cxn>
                <a:cxn ang="0">
                  <a:pos x="csX233" y="csY233"/>
                </a:cxn>
                <a:cxn ang="0">
                  <a:pos x="csX234" y="csY234"/>
                </a:cxn>
                <a:cxn ang="0">
                  <a:pos x="csX235" y="csY235"/>
                </a:cxn>
                <a:cxn ang="0">
                  <a:pos x="csX236" y="csY236"/>
                </a:cxn>
                <a:cxn ang="0">
                  <a:pos x="csX237" y="csY237"/>
                </a:cxn>
                <a:cxn ang="0">
                  <a:pos x="csX238" y="csY238"/>
                </a:cxn>
                <a:cxn ang="0">
                  <a:pos x="csX239" y="csY239"/>
                </a:cxn>
                <a:cxn ang="0">
                  <a:pos x="csX240" y="csY240"/>
                </a:cxn>
                <a:cxn ang="0">
                  <a:pos x="csX241" y="csY241"/>
                </a:cxn>
                <a:cxn ang="0">
                  <a:pos x="csX242" y="csY242"/>
                </a:cxn>
                <a:cxn ang="0">
                  <a:pos x="csX243" y="csY243"/>
                </a:cxn>
                <a:cxn ang="0">
                  <a:pos x="csX244" y="csY244"/>
                </a:cxn>
                <a:cxn ang="0">
                  <a:pos x="csX245" y="csY245"/>
                </a:cxn>
                <a:cxn ang="0">
                  <a:pos x="csX246" y="csY246"/>
                </a:cxn>
                <a:cxn ang="0">
                  <a:pos x="csX247" y="csY247"/>
                </a:cxn>
                <a:cxn ang="0">
                  <a:pos x="csX248" y="csY248"/>
                </a:cxn>
                <a:cxn ang="0">
                  <a:pos x="csX249" y="csY249"/>
                </a:cxn>
                <a:cxn ang="0">
                  <a:pos x="csX250" y="csY250"/>
                </a:cxn>
                <a:cxn ang="0">
                  <a:pos x="csX251" y="csY251"/>
                </a:cxn>
                <a:cxn ang="0">
                  <a:pos x="csX252" y="csY252"/>
                </a:cxn>
                <a:cxn ang="0">
                  <a:pos x="csX253" y="csY253"/>
                </a:cxn>
                <a:cxn ang="0">
                  <a:pos x="csX254" y="csY254"/>
                </a:cxn>
                <a:cxn ang="0">
                  <a:pos x="csX255" y="csY255"/>
                </a:cxn>
                <a:cxn ang="0">
                  <a:pos x="csX256" y="csY256"/>
                </a:cxn>
                <a:cxn ang="0">
                  <a:pos x="csX257" y="csY257"/>
                </a:cxn>
                <a:cxn ang="0">
                  <a:pos x="csX258" y="csY258"/>
                </a:cxn>
                <a:cxn ang="0">
                  <a:pos x="csX259" y="csY259"/>
                </a:cxn>
                <a:cxn ang="0">
                  <a:pos x="csX260" y="csY260"/>
                </a:cxn>
                <a:cxn ang="0">
                  <a:pos x="csX261" y="csY261"/>
                </a:cxn>
                <a:cxn ang="0">
                  <a:pos x="csX262" y="csY262"/>
                </a:cxn>
                <a:cxn ang="0">
                  <a:pos x="csX263" y="csY263"/>
                </a:cxn>
                <a:cxn ang="0">
                  <a:pos x="csX264" y="csY264"/>
                </a:cxn>
                <a:cxn ang="0">
                  <a:pos x="csX265" y="csY265"/>
                </a:cxn>
                <a:cxn ang="0">
                  <a:pos x="csX266" y="csY266"/>
                </a:cxn>
                <a:cxn ang="0">
                  <a:pos x="csX267" y="csY267"/>
                </a:cxn>
                <a:cxn ang="0">
                  <a:pos x="csX268" y="csY268"/>
                </a:cxn>
                <a:cxn ang="0">
                  <a:pos x="csX269" y="csY269"/>
                </a:cxn>
                <a:cxn ang="0">
                  <a:pos x="csX270" y="csY270"/>
                </a:cxn>
                <a:cxn ang="0">
                  <a:pos x="csX271" y="csY271"/>
                </a:cxn>
                <a:cxn ang="0">
                  <a:pos x="csX272" y="csY272"/>
                </a:cxn>
                <a:cxn ang="0">
                  <a:pos x="csX273" y="csY273"/>
                </a:cxn>
                <a:cxn ang="0">
                  <a:pos x="csX274" y="csY274"/>
                </a:cxn>
                <a:cxn ang="0">
                  <a:pos x="csX275" y="csY275"/>
                </a:cxn>
                <a:cxn ang="0">
                  <a:pos x="csX276" y="csY276"/>
                </a:cxn>
                <a:cxn ang="0">
                  <a:pos x="csX277" y="csY277"/>
                </a:cxn>
                <a:cxn ang="0">
                  <a:pos x="csX278" y="csY278"/>
                </a:cxn>
                <a:cxn ang="0">
                  <a:pos x="csX279" y="csY279"/>
                </a:cxn>
                <a:cxn ang="0">
                  <a:pos x="csX280" y="csY280"/>
                </a:cxn>
                <a:cxn ang="0">
                  <a:pos x="csX281" y="csY281"/>
                </a:cxn>
                <a:cxn ang="0">
                  <a:pos x="csX282" y="csY282"/>
                </a:cxn>
                <a:cxn ang="0">
                  <a:pos x="csX283" y="csY283"/>
                </a:cxn>
                <a:cxn ang="0">
                  <a:pos x="csX284" y="csY284"/>
                </a:cxn>
                <a:cxn ang="0">
                  <a:pos x="csX285" y="csY285"/>
                </a:cxn>
                <a:cxn ang="0">
                  <a:pos x="csX286" y="csY286"/>
                </a:cxn>
                <a:cxn ang="0">
                  <a:pos x="csX287" y="csY287"/>
                </a:cxn>
                <a:cxn ang="0">
                  <a:pos x="csX288" y="csY288"/>
                </a:cxn>
                <a:cxn ang="0">
                  <a:pos x="csX289" y="csY289"/>
                </a:cxn>
                <a:cxn ang="0">
                  <a:pos x="csX290" y="csY290"/>
                </a:cxn>
                <a:cxn ang="0">
                  <a:pos x="csX291" y="csY291"/>
                </a:cxn>
                <a:cxn ang="0">
                  <a:pos x="csX292" y="csY292"/>
                </a:cxn>
                <a:cxn ang="0">
                  <a:pos x="csX293" y="csY293"/>
                </a:cxn>
                <a:cxn ang="0">
                  <a:pos x="csX294" y="csY294"/>
                </a:cxn>
                <a:cxn ang="0">
                  <a:pos x="csX295" y="csY295"/>
                </a:cxn>
                <a:cxn ang="0">
                  <a:pos x="csX296" y="csY296"/>
                </a:cxn>
                <a:cxn ang="0">
                  <a:pos x="csX297" y="csY297"/>
                </a:cxn>
                <a:cxn ang="0">
                  <a:pos x="csX298" y="csY298"/>
                </a:cxn>
                <a:cxn ang="0">
                  <a:pos x="csX299" y="csY299"/>
                </a:cxn>
                <a:cxn ang="0">
                  <a:pos x="csX300" y="csY300"/>
                </a:cxn>
                <a:cxn ang="0">
                  <a:pos x="csX301" y="csY301"/>
                </a:cxn>
                <a:cxn ang="0">
                  <a:pos x="csX302" y="csY302"/>
                </a:cxn>
                <a:cxn ang="0">
                  <a:pos x="csX303" y="csY303"/>
                </a:cxn>
                <a:cxn ang="0">
                  <a:pos x="csX304" y="csY304"/>
                </a:cxn>
                <a:cxn ang="0">
                  <a:pos x="csX305" y="csY305"/>
                </a:cxn>
                <a:cxn ang="0">
                  <a:pos x="csX306" y="csY306"/>
                </a:cxn>
                <a:cxn ang="0">
                  <a:pos x="csX307" y="csY307"/>
                </a:cxn>
                <a:cxn ang="0">
                  <a:pos x="csX308" y="csY308"/>
                </a:cxn>
                <a:cxn ang="0">
                  <a:pos x="csX309" y="csY309"/>
                </a:cxn>
                <a:cxn ang="0">
                  <a:pos x="csX310" y="csY310"/>
                </a:cxn>
                <a:cxn ang="0">
                  <a:pos x="csX311" y="csY311"/>
                </a:cxn>
                <a:cxn ang="0">
                  <a:pos x="csX312" y="csY312"/>
                </a:cxn>
                <a:cxn ang="0">
                  <a:pos x="csX313" y="csY313"/>
                </a:cxn>
                <a:cxn ang="0">
                  <a:pos x="csX314" y="csY314"/>
                </a:cxn>
                <a:cxn ang="0">
                  <a:pos x="csX315" y="csY315"/>
                </a:cxn>
                <a:cxn ang="0">
                  <a:pos x="csX316" y="csY316"/>
                </a:cxn>
                <a:cxn ang="0">
                  <a:pos x="csX317" y="csY317"/>
                </a:cxn>
                <a:cxn ang="0">
                  <a:pos x="csX318" y="csY318"/>
                </a:cxn>
                <a:cxn ang="0">
                  <a:pos x="csX319" y="csY319"/>
                </a:cxn>
                <a:cxn ang="0">
                  <a:pos x="csX320" y="csY320"/>
                </a:cxn>
                <a:cxn ang="0">
                  <a:pos x="csX321" y="csY321"/>
                </a:cxn>
                <a:cxn ang="0">
                  <a:pos x="csX322" y="csY322"/>
                </a:cxn>
                <a:cxn ang="0">
                  <a:pos x="csX323" y="csY323"/>
                </a:cxn>
                <a:cxn ang="0">
                  <a:pos x="csX324" y="csY324"/>
                </a:cxn>
                <a:cxn ang="0">
                  <a:pos x="csX325" y="csY325"/>
                </a:cxn>
                <a:cxn ang="0">
                  <a:pos x="csX326" y="csY326"/>
                </a:cxn>
                <a:cxn ang="0">
                  <a:pos x="csX327" y="csY327"/>
                </a:cxn>
                <a:cxn ang="0">
                  <a:pos x="csX328" y="csY328"/>
                </a:cxn>
                <a:cxn ang="0">
                  <a:pos x="csX329" y="csY329"/>
                </a:cxn>
                <a:cxn ang="0">
                  <a:pos x="csX330" y="csY330"/>
                </a:cxn>
                <a:cxn ang="0">
                  <a:pos x="csX331" y="csY331"/>
                </a:cxn>
                <a:cxn ang="0">
                  <a:pos x="csX332" y="csY332"/>
                </a:cxn>
                <a:cxn ang="0">
                  <a:pos x="csX333" y="csY333"/>
                </a:cxn>
                <a:cxn ang="0">
                  <a:pos x="csX334" y="csY334"/>
                </a:cxn>
                <a:cxn ang="0">
                  <a:pos x="csX335" y="csY335"/>
                </a:cxn>
                <a:cxn ang="0">
                  <a:pos x="csX336" y="csY336"/>
                </a:cxn>
                <a:cxn ang="0">
                  <a:pos x="csX337" y="csY337"/>
                </a:cxn>
                <a:cxn ang="0">
                  <a:pos x="csX338" y="csY338"/>
                </a:cxn>
                <a:cxn ang="0">
                  <a:pos x="csX339" y="csY339"/>
                </a:cxn>
                <a:cxn ang="0">
                  <a:pos x="csX340" y="csY340"/>
                </a:cxn>
                <a:cxn ang="0">
                  <a:pos x="csX341" y="csY341"/>
                </a:cxn>
                <a:cxn ang="0">
                  <a:pos x="csX342" y="csY342"/>
                </a:cxn>
                <a:cxn ang="0">
                  <a:pos x="csX343" y="csY343"/>
                </a:cxn>
                <a:cxn ang="0">
                  <a:pos x="csX344" y="csY344"/>
                </a:cxn>
                <a:cxn ang="0">
                  <a:pos x="csX345" y="csY345"/>
                </a:cxn>
                <a:cxn ang="0">
                  <a:pos x="csX346" y="csY346"/>
                </a:cxn>
                <a:cxn ang="0">
                  <a:pos x="csX347" y="csY347"/>
                </a:cxn>
                <a:cxn ang="0">
                  <a:pos x="csX348" y="csY348"/>
                </a:cxn>
                <a:cxn ang="0">
                  <a:pos x="csX349" y="csY349"/>
                </a:cxn>
                <a:cxn ang="0">
                  <a:pos x="csX350" y="csY350"/>
                </a:cxn>
                <a:cxn ang="0">
                  <a:pos x="csX351" y="csY351"/>
                </a:cxn>
                <a:cxn ang="0">
                  <a:pos x="csX352" y="csY352"/>
                </a:cxn>
                <a:cxn ang="0">
                  <a:pos x="csX353" y="csY353"/>
                </a:cxn>
                <a:cxn ang="0">
                  <a:pos x="csX354" y="csY354"/>
                </a:cxn>
                <a:cxn ang="0">
                  <a:pos x="csX355" y="csY355"/>
                </a:cxn>
                <a:cxn ang="0">
                  <a:pos x="csX356" y="csY356"/>
                </a:cxn>
                <a:cxn ang="0">
                  <a:pos x="csX357" y="csY357"/>
                </a:cxn>
                <a:cxn ang="0">
                  <a:pos x="csX358" y="csY358"/>
                </a:cxn>
                <a:cxn ang="0">
                  <a:pos x="csX359" y="csY359"/>
                </a:cxn>
                <a:cxn ang="0">
                  <a:pos x="csX360" y="csY360"/>
                </a:cxn>
                <a:cxn ang="0">
                  <a:pos x="csX361" y="csY361"/>
                </a:cxn>
                <a:cxn ang="0">
                  <a:pos x="csX362" y="csY362"/>
                </a:cxn>
                <a:cxn ang="0">
                  <a:pos x="csX363" y="csY363"/>
                </a:cxn>
                <a:cxn ang="0">
                  <a:pos x="csX364" y="csY364"/>
                </a:cxn>
                <a:cxn ang="0">
                  <a:pos x="csX365" y="csY365"/>
                </a:cxn>
                <a:cxn ang="0">
                  <a:pos x="csX366" y="csY366"/>
                </a:cxn>
                <a:cxn ang="0">
                  <a:pos x="csX367" y="csY367"/>
                </a:cxn>
                <a:cxn ang="0">
                  <a:pos x="csX368" y="csY368"/>
                </a:cxn>
                <a:cxn ang="0">
                  <a:pos x="csX369" y="csY369"/>
                </a:cxn>
                <a:cxn ang="0">
                  <a:pos x="csX370" y="csY370"/>
                </a:cxn>
                <a:cxn ang="0">
                  <a:pos x="csX371" y="csY371"/>
                </a:cxn>
                <a:cxn ang="0">
                  <a:pos x="csX372" y="csY372"/>
                </a:cxn>
                <a:cxn ang="0">
                  <a:pos x="csX373" y="csY373"/>
                </a:cxn>
                <a:cxn ang="0">
                  <a:pos x="csX374" y="csY374"/>
                </a:cxn>
                <a:cxn ang="0">
                  <a:pos x="csX375" y="csY375"/>
                </a:cxn>
                <a:cxn ang="0">
                  <a:pos x="csX376" y="csY376"/>
                </a:cxn>
                <a:cxn ang="0">
                  <a:pos x="csX377" y="csY377"/>
                </a:cxn>
                <a:cxn ang="0">
                  <a:pos x="csX378" y="csY378"/>
                </a:cxn>
                <a:cxn ang="0">
                  <a:pos x="csX379" y="csY379"/>
                </a:cxn>
                <a:cxn ang="0">
                  <a:pos x="csX380" y="csY380"/>
                </a:cxn>
                <a:cxn ang="0">
                  <a:pos x="csX381" y="csY381"/>
                </a:cxn>
                <a:cxn ang="0">
                  <a:pos x="csX382" y="csY382"/>
                </a:cxn>
                <a:cxn ang="0">
                  <a:pos x="csX383" y="csY383"/>
                </a:cxn>
                <a:cxn ang="0">
                  <a:pos x="csX384" y="csY384"/>
                </a:cxn>
                <a:cxn ang="0">
                  <a:pos x="csX385" y="csY385"/>
                </a:cxn>
                <a:cxn ang="0">
                  <a:pos x="csX386" y="csY386"/>
                </a:cxn>
                <a:cxn ang="0">
                  <a:pos x="csX387" y="csY387"/>
                </a:cxn>
                <a:cxn ang="0">
                  <a:pos x="csX388" y="csY388"/>
                </a:cxn>
                <a:cxn ang="0">
                  <a:pos x="csX389" y="csY389"/>
                </a:cxn>
                <a:cxn ang="0">
                  <a:pos x="csX390" y="csY390"/>
                </a:cxn>
                <a:cxn ang="0">
                  <a:pos x="csX391" y="csY391"/>
                </a:cxn>
                <a:cxn ang="0">
                  <a:pos x="csX392" y="csY392"/>
                </a:cxn>
                <a:cxn ang="0">
                  <a:pos x="csX393" y="csY393"/>
                </a:cxn>
                <a:cxn ang="0">
                  <a:pos x="csX394" y="csY394"/>
                </a:cxn>
                <a:cxn ang="0">
                  <a:pos x="csX395" y="csY395"/>
                </a:cxn>
                <a:cxn ang="0">
                  <a:pos x="csX396" y="csY396"/>
                </a:cxn>
                <a:cxn ang="0">
                  <a:pos x="csX397" y="csY397"/>
                </a:cxn>
                <a:cxn ang="0">
                  <a:pos x="csX398" y="csY398"/>
                </a:cxn>
                <a:cxn ang="0">
                  <a:pos x="csX399" y="csY399"/>
                </a:cxn>
                <a:cxn ang="0">
                  <a:pos x="csX400" y="csY400"/>
                </a:cxn>
                <a:cxn ang="0">
                  <a:pos x="csX401" y="csY401"/>
                </a:cxn>
                <a:cxn ang="0">
                  <a:pos x="csX402" y="csY402"/>
                </a:cxn>
                <a:cxn ang="0">
                  <a:pos x="csX403" y="csY403"/>
                </a:cxn>
                <a:cxn ang="0">
                  <a:pos x="csX404" y="csY404"/>
                </a:cxn>
                <a:cxn ang="0">
                  <a:pos x="csX405" y="csY405"/>
                </a:cxn>
                <a:cxn ang="0">
                  <a:pos x="csX406" y="csY406"/>
                </a:cxn>
                <a:cxn ang="0">
                  <a:pos x="csX407" y="csY407"/>
                </a:cxn>
                <a:cxn ang="0">
                  <a:pos x="csX408" y="csY408"/>
                </a:cxn>
                <a:cxn ang="0">
                  <a:pos x="csX409" y="csY409"/>
                </a:cxn>
                <a:cxn ang="0">
                  <a:pos x="csX410" y="csY410"/>
                </a:cxn>
                <a:cxn ang="0">
                  <a:pos x="csX411" y="csY411"/>
                </a:cxn>
                <a:cxn ang="0">
                  <a:pos x="csX412" y="csY412"/>
                </a:cxn>
                <a:cxn ang="0">
                  <a:pos x="csX413" y="csY413"/>
                </a:cxn>
                <a:cxn ang="0">
                  <a:pos x="csX414" y="csY414"/>
                </a:cxn>
                <a:cxn ang="0">
                  <a:pos x="csX415" y="csY415"/>
                </a:cxn>
                <a:cxn ang="0">
                  <a:pos x="csX416" y="csY416"/>
                </a:cxn>
                <a:cxn ang="0">
                  <a:pos x="csX417" y="csY417"/>
                </a:cxn>
                <a:cxn ang="0">
                  <a:pos x="csX418" y="csY418"/>
                </a:cxn>
                <a:cxn ang="0">
                  <a:pos x="csX419" y="csY419"/>
                </a:cxn>
                <a:cxn ang="0">
                  <a:pos x="csX420" y="csY420"/>
                </a:cxn>
                <a:cxn ang="0">
                  <a:pos x="csX421" y="csY421"/>
                </a:cxn>
                <a:cxn ang="0">
                  <a:pos x="csX422" y="csY422"/>
                </a:cxn>
                <a:cxn ang="0">
                  <a:pos x="csX423" y="csY423"/>
                </a:cxn>
                <a:cxn ang="0">
                  <a:pos x="csX424" y="csY424"/>
                </a:cxn>
                <a:cxn ang="0">
                  <a:pos x="csX425" y="csY425"/>
                </a:cxn>
                <a:cxn ang="0">
                  <a:pos x="csX426" y="csY426"/>
                </a:cxn>
                <a:cxn ang="0">
                  <a:pos x="csX427" y="csY427"/>
                </a:cxn>
                <a:cxn ang="0">
                  <a:pos x="csX428" y="csY428"/>
                </a:cxn>
                <a:cxn ang="0">
                  <a:pos x="csX429" y="csY429"/>
                </a:cxn>
                <a:cxn ang="0">
                  <a:pos x="csX430" y="csY430"/>
                </a:cxn>
                <a:cxn ang="0">
                  <a:pos x="csX431" y="csY431"/>
                </a:cxn>
                <a:cxn ang="0">
                  <a:pos x="csX432" y="csY432"/>
                </a:cxn>
                <a:cxn ang="0">
                  <a:pos x="csX433" y="csY433"/>
                </a:cxn>
                <a:cxn ang="0">
                  <a:pos x="csX434" y="csY434"/>
                </a:cxn>
                <a:cxn ang="0">
                  <a:pos x="csX435" y="csY435"/>
                </a:cxn>
                <a:cxn ang="0">
                  <a:pos x="csX436" y="csY436"/>
                </a:cxn>
                <a:cxn ang="0">
                  <a:pos x="csX437" y="csY437"/>
                </a:cxn>
                <a:cxn ang="0">
                  <a:pos x="csX438" y="csY438"/>
                </a:cxn>
                <a:cxn ang="0">
                  <a:pos x="csX439" y="csY439"/>
                </a:cxn>
                <a:cxn ang="0">
                  <a:pos x="csX440" y="csY440"/>
                </a:cxn>
                <a:cxn ang="0">
                  <a:pos x="csX441" y="csY441"/>
                </a:cxn>
                <a:cxn ang="0">
                  <a:pos x="csX442" y="csY442"/>
                </a:cxn>
                <a:cxn ang="0">
                  <a:pos x="csX443" y="csY443"/>
                </a:cxn>
                <a:cxn ang="0">
                  <a:pos x="csX444" y="csY444"/>
                </a:cxn>
                <a:cxn ang="0">
                  <a:pos x="csX445" y="csY445"/>
                </a:cxn>
                <a:cxn ang="0">
                  <a:pos x="csX446" y="csY446"/>
                </a:cxn>
                <a:cxn ang="0">
                  <a:pos x="csX447" y="csY447"/>
                </a:cxn>
                <a:cxn ang="0">
                  <a:pos x="csX448" y="csY448"/>
                </a:cxn>
                <a:cxn ang="0">
                  <a:pos x="csX449" y="csY449"/>
                </a:cxn>
                <a:cxn ang="0">
                  <a:pos x="csX450" y="csY450"/>
                </a:cxn>
                <a:cxn ang="0">
                  <a:pos x="csX451" y="csY451"/>
                </a:cxn>
                <a:cxn ang="0">
                  <a:pos x="csX452" y="csY452"/>
                </a:cxn>
                <a:cxn ang="0">
                  <a:pos x="csX453" y="csY453"/>
                </a:cxn>
                <a:cxn ang="0">
                  <a:pos x="csX454" y="csY454"/>
                </a:cxn>
                <a:cxn ang="0">
                  <a:pos x="csX455" y="csY455"/>
                </a:cxn>
                <a:cxn ang="0">
                  <a:pos x="csX456" y="csY456"/>
                </a:cxn>
                <a:cxn ang="0">
                  <a:pos x="csX457" y="csY457"/>
                </a:cxn>
                <a:cxn ang="0">
                  <a:pos x="csX458" y="csY458"/>
                </a:cxn>
                <a:cxn ang="0">
                  <a:pos x="csX459" y="csY459"/>
                </a:cxn>
                <a:cxn ang="0">
                  <a:pos x="csX460" y="csY460"/>
                </a:cxn>
                <a:cxn ang="0">
                  <a:pos x="csX461" y="csY461"/>
                </a:cxn>
                <a:cxn ang="0">
                  <a:pos x="csX462" y="csY462"/>
                </a:cxn>
                <a:cxn ang="0">
                  <a:pos x="csX463" y="csY463"/>
                </a:cxn>
                <a:cxn ang="0">
                  <a:pos x="csX464" y="csY464"/>
                </a:cxn>
                <a:cxn ang="0">
                  <a:pos x="csX465" y="csY465"/>
                </a:cxn>
                <a:cxn ang="0">
                  <a:pos x="csX466" y="csY466"/>
                </a:cxn>
                <a:cxn ang="0">
                  <a:pos x="csX467" y="csY467"/>
                </a:cxn>
                <a:cxn ang="0">
                  <a:pos x="csX468" y="csY468"/>
                </a:cxn>
                <a:cxn ang="0">
                  <a:pos x="csX469" y="csY469"/>
                </a:cxn>
                <a:cxn ang="0">
                  <a:pos x="csX470" y="csY470"/>
                </a:cxn>
                <a:cxn ang="0">
                  <a:pos x="csX471" y="csY471"/>
                </a:cxn>
                <a:cxn ang="0">
                  <a:pos x="csX472" y="csY472"/>
                </a:cxn>
                <a:cxn ang="0">
                  <a:pos x="csX473" y="csY473"/>
                </a:cxn>
                <a:cxn ang="0">
                  <a:pos x="csX474" y="csY474"/>
                </a:cxn>
                <a:cxn ang="0">
                  <a:pos x="csX475" y="csY475"/>
                </a:cxn>
                <a:cxn ang="0">
                  <a:pos x="csX476" y="csY476"/>
                </a:cxn>
                <a:cxn ang="0">
                  <a:pos x="csX477" y="csY477"/>
                </a:cxn>
                <a:cxn ang="0">
                  <a:pos x="csX478" y="csY478"/>
                </a:cxn>
                <a:cxn ang="0">
                  <a:pos x="csX479" y="csY479"/>
                </a:cxn>
                <a:cxn ang="0">
                  <a:pos x="csX480" y="csY480"/>
                </a:cxn>
                <a:cxn ang="0">
                  <a:pos x="csX481" y="csY481"/>
                </a:cxn>
                <a:cxn ang="0">
                  <a:pos x="csX482" y="csY482"/>
                </a:cxn>
                <a:cxn ang="0">
                  <a:pos x="csX483" y="csY483"/>
                </a:cxn>
                <a:cxn ang="0">
                  <a:pos x="csX484" y="csY484"/>
                </a:cxn>
                <a:cxn ang="0">
                  <a:pos x="csX485" y="csY485"/>
                </a:cxn>
                <a:cxn ang="0">
                  <a:pos x="csX486" y="csY486"/>
                </a:cxn>
                <a:cxn ang="0">
                  <a:pos x="csX487" y="csY487"/>
                </a:cxn>
                <a:cxn ang="0">
                  <a:pos x="csX488" y="csY488"/>
                </a:cxn>
                <a:cxn ang="0">
                  <a:pos x="csX489" y="csY489"/>
                </a:cxn>
                <a:cxn ang="0">
                  <a:pos x="csX490" y="csY490"/>
                </a:cxn>
                <a:cxn ang="0">
                  <a:pos x="csX491" y="csY491"/>
                </a:cxn>
                <a:cxn ang="0">
                  <a:pos x="csX492" y="csY492"/>
                </a:cxn>
                <a:cxn ang="0">
                  <a:pos x="csX493" y="csY493"/>
                </a:cxn>
                <a:cxn ang="0">
                  <a:pos x="csX494" y="csY494"/>
                </a:cxn>
                <a:cxn ang="0">
                  <a:pos x="csX495" y="csY495"/>
                </a:cxn>
                <a:cxn ang="0">
                  <a:pos x="csX496" y="csY496"/>
                </a:cxn>
                <a:cxn ang="0">
                  <a:pos x="csX497" y="csY497"/>
                </a:cxn>
                <a:cxn ang="0">
                  <a:pos x="csX498" y="csY498"/>
                </a:cxn>
                <a:cxn ang="0">
                  <a:pos x="csX499" y="csY499"/>
                </a:cxn>
                <a:cxn ang="0">
                  <a:pos x="csX500" y="csY500"/>
                </a:cxn>
                <a:cxn ang="0">
                  <a:pos x="csX501" y="csY501"/>
                </a:cxn>
                <a:cxn ang="0">
                  <a:pos x="csX502" y="csY502"/>
                </a:cxn>
                <a:cxn ang="0">
                  <a:pos x="csX503" y="csY503"/>
                </a:cxn>
                <a:cxn ang="0">
                  <a:pos x="csX504" y="csY504"/>
                </a:cxn>
                <a:cxn ang="0">
                  <a:pos x="csX505" y="csY505"/>
                </a:cxn>
                <a:cxn ang="0">
                  <a:pos x="csX506" y="csY506"/>
                </a:cxn>
                <a:cxn ang="0">
                  <a:pos x="csX507" y="csY507"/>
                </a:cxn>
                <a:cxn ang="0">
                  <a:pos x="csX508" y="csY508"/>
                </a:cxn>
                <a:cxn ang="0">
                  <a:pos x="csX509" y="csY509"/>
                </a:cxn>
                <a:cxn ang="0">
                  <a:pos x="csX510" y="csY510"/>
                </a:cxn>
                <a:cxn ang="0">
                  <a:pos x="csX511" y="csY511"/>
                </a:cxn>
                <a:cxn ang="0">
                  <a:pos x="csX512" y="csY512"/>
                </a:cxn>
                <a:cxn ang="0">
                  <a:pos x="csX513" y="csY513"/>
                </a:cxn>
                <a:cxn ang="0">
                  <a:pos x="csX514" y="csY514"/>
                </a:cxn>
                <a:cxn ang="0">
                  <a:pos x="csX515" y="csY515"/>
                </a:cxn>
                <a:cxn ang="0">
                  <a:pos x="csX516" y="csY516"/>
                </a:cxn>
                <a:cxn ang="0">
                  <a:pos x="csX517" y="csY517"/>
                </a:cxn>
                <a:cxn ang="0">
                  <a:pos x="csX518" y="csY518"/>
                </a:cxn>
                <a:cxn ang="0">
                  <a:pos x="csX519" y="csY519"/>
                </a:cxn>
                <a:cxn ang="0">
                  <a:pos x="csX520" y="csY520"/>
                </a:cxn>
                <a:cxn ang="0">
                  <a:pos x="csX521" y="csY521"/>
                </a:cxn>
                <a:cxn ang="0">
                  <a:pos x="csX522" y="csY522"/>
                </a:cxn>
                <a:cxn ang="0">
                  <a:pos x="csX523" y="csY523"/>
                </a:cxn>
                <a:cxn ang="0">
                  <a:pos x="csX524" y="csY524"/>
                </a:cxn>
                <a:cxn ang="0">
                  <a:pos x="csX525" y="csY525"/>
                </a:cxn>
                <a:cxn ang="0">
                  <a:pos x="csX526" y="csY526"/>
                </a:cxn>
                <a:cxn ang="0">
                  <a:pos x="csX527" y="csY527"/>
                </a:cxn>
                <a:cxn ang="0">
                  <a:pos x="csX528" y="csY528"/>
                </a:cxn>
                <a:cxn ang="0">
                  <a:pos x="csX529" y="csY529"/>
                </a:cxn>
                <a:cxn ang="0">
                  <a:pos x="csX530" y="csY530"/>
                </a:cxn>
                <a:cxn ang="0">
                  <a:pos x="csX531" y="csY531"/>
                </a:cxn>
                <a:cxn ang="0">
                  <a:pos x="csX532" y="csY532"/>
                </a:cxn>
                <a:cxn ang="0">
                  <a:pos x="csX533" y="csY533"/>
                </a:cxn>
                <a:cxn ang="0">
                  <a:pos x="csX534" y="csY534"/>
                </a:cxn>
                <a:cxn ang="0">
                  <a:pos x="csX535" y="csY535"/>
                </a:cxn>
                <a:cxn ang="0">
                  <a:pos x="csX536" y="csY536"/>
                </a:cxn>
                <a:cxn ang="0">
                  <a:pos x="csX537" y="csY537"/>
                </a:cxn>
                <a:cxn ang="0">
                  <a:pos x="csX538" y="csY538"/>
                </a:cxn>
                <a:cxn ang="0">
                  <a:pos x="csX539" y="csY539"/>
                </a:cxn>
                <a:cxn ang="0">
                  <a:pos x="csX540" y="csY540"/>
                </a:cxn>
                <a:cxn ang="0">
                  <a:pos x="csX541" y="csY541"/>
                </a:cxn>
                <a:cxn ang="0">
                  <a:pos x="csX542" y="csY542"/>
                </a:cxn>
                <a:cxn ang="0">
                  <a:pos x="csX543" y="csY543"/>
                </a:cxn>
                <a:cxn ang="0">
                  <a:pos x="csX544" y="csY544"/>
                </a:cxn>
                <a:cxn ang="0">
                  <a:pos x="csX545" y="csY545"/>
                </a:cxn>
                <a:cxn ang="0">
                  <a:pos x="csX546" y="csY546"/>
                </a:cxn>
                <a:cxn ang="0">
                  <a:pos x="csX547" y="csY547"/>
                </a:cxn>
                <a:cxn ang="0">
                  <a:pos x="csX548" y="csY548"/>
                </a:cxn>
                <a:cxn ang="0">
                  <a:pos x="csX549" y="csY549"/>
                </a:cxn>
                <a:cxn ang="0">
                  <a:pos x="csX550" y="csY550"/>
                </a:cxn>
                <a:cxn ang="0">
                  <a:pos x="csX551" y="csY551"/>
                </a:cxn>
                <a:cxn ang="0">
                  <a:pos x="csX552" y="csY552"/>
                </a:cxn>
                <a:cxn ang="0">
                  <a:pos x="csX553" y="csY553"/>
                </a:cxn>
                <a:cxn ang="0">
                  <a:pos x="csX554" y="csY554"/>
                </a:cxn>
                <a:cxn ang="0">
                  <a:pos x="csX555" y="csY555"/>
                </a:cxn>
                <a:cxn ang="0">
                  <a:pos x="csX556" y="csY556"/>
                </a:cxn>
                <a:cxn ang="0">
                  <a:pos x="csX557" y="csY557"/>
                </a:cxn>
                <a:cxn ang="0">
                  <a:pos x="csX558" y="csY558"/>
                </a:cxn>
                <a:cxn ang="0">
                  <a:pos x="csX559" y="csY559"/>
                </a:cxn>
                <a:cxn ang="0">
                  <a:pos x="csX560" y="csY560"/>
                </a:cxn>
                <a:cxn ang="0">
                  <a:pos x="csX561" y="csY561"/>
                </a:cxn>
                <a:cxn ang="0">
                  <a:pos x="csX562" y="csY562"/>
                </a:cxn>
                <a:cxn ang="0">
                  <a:pos x="csX563" y="csY563"/>
                </a:cxn>
                <a:cxn ang="0">
                  <a:pos x="csX564" y="csY564"/>
                </a:cxn>
                <a:cxn ang="0">
                  <a:pos x="csX565" y="csY565"/>
                </a:cxn>
                <a:cxn ang="0">
                  <a:pos x="csX566" y="csY566"/>
                </a:cxn>
                <a:cxn ang="0">
                  <a:pos x="csX567" y="csY567"/>
                </a:cxn>
                <a:cxn ang="0">
                  <a:pos x="csX568" y="csY568"/>
                </a:cxn>
                <a:cxn ang="0">
                  <a:pos x="csX569" y="csY569"/>
                </a:cxn>
                <a:cxn ang="0">
                  <a:pos x="csX570" y="csY570"/>
                </a:cxn>
                <a:cxn ang="0">
                  <a:pos x="csX571" y="csY571"/>
                </a:cxn>
                <a:cxn ang="0">
                  <a:pos x="csX572" y="csY572"/>
                </a:cxn>
                <a:cxn ang="0">
                  <a:pos x="csX573" y="csY573"/>
                </a:cxn>
                <a:cxn ang="0">
                  <a:pos x="csX574" y="csY574"/>
                </a:cxn>
                <a:cxn ang="0">
                  <a:pos x="csX575" y="csY575"/>
                </a:cxn>
                <a:cxn ang="0">
                  <a:pos x="csX576" y="csY576"/>
                </a:cxn>
                <a:cxn ang="0">
                  <a:pos x="csX577" y="csY577"/>
                </a:cxn>
                <a:cxn ang="0">
                  <a:pos x="csX578" y="csY578"/>
                </a:cxn>
                <a:cxn ang="0">
                  <a:pos x="csX579" y="csY579"/>
                </a:cxn>
                <a:cxn ang="0">
                  <a:pos x="csX580" y="csY580"/>
                </a:cxn>
                <a:cxn ang="0">
                  <a:pos x="csX581" y="csY581"/>
                </a:cxn>
                <a:cxn ang="0">
                  <a:pos x="csX582" y="csY582"/>
                </a:cxn>
                <a:cxn ang="0">
                  <a:pos x="csX583" y="csY583"/>
                </a:cxn>
                <a:cxn ang="0">
                  <a:pos x="csX584" y="csY584"/>
                </a:cxn>
                <a:cxn ang="0">
                  <a:pos x="csX585" y="csY585"/>
                </a:cxn>
                <a:cxn ang="0">
                  <a:pos x="csX586" y="csY586"/>
                </a:cxn>
                <a:cxn ang="0">
                  <a:pos x="csX587" y="csY587"/>
                </a:cxn>
                <a:cxn ang="0">
                  <a:pos x="csX588" y="csY588"/>
                </a:cxn>
                <a:cxn ang="0">
                  <a:pos x="csX589" y="csY589"/>
                </a:cxn>
                <a:cxn ang="0">
                  <a:pos x="csX590" y="csY590"/>
                </a:cxn>
                <a:cxn ang="0">
                  <a:pos x="csX591" y="csY591"/>
                </a:cxn>
                <a:cxn ang="0">
                  <a:pos x="csX592" y="csY592"/>
                </a:cxn>
                <a:cxn ang="0">
                  <a:pos x="csX593" y="csY593"/>
                </a:cxn>
                <a:cxn ang="0">
                  <a:pos x="csX594" y="csY594"/>
                </a:cxn>
                <a:cxn ang="0">
                  <a:pos x="csX595" y="csY595"/>
                </a:cxn>
                <a:cxn ang="0">
                  <a:pos x="csX596" y="csY596"/>
                </a:cxn>
                <a:cxn ang="0">
                  <a:pos x="csX597" y="csY597"/>
                </a:cxn>
                <a:cxn ang="0">
                  <a:pos x="csX598" y="csY598"/>
                </a:cxn>
                <a:cxn ang="0">
                  <a:pos x="csX599" y="csY599"/>
                </a:cxn>
                <a:cxn ang="0">
                  <a:pos x="csX600" y="csY600"/>
                </a:cxn>
                <a:cxn ang="0">
                  <a:pos x="csX601" y="csY601"/>
                </a:cxn>
                <a:cxn ang="0">
                  <a:pos x="csX602" y="csY602"/>
                </a:cxn>
                <a:cxn ang="0">
                  <a:pos x="csX603" y="csY603"/>
                </a:cxn>
                <a:cxn ang="0">
                  <a:pos x="csX604" y="csY604"/>
                </a:cxn>
                <a:cxn ang="0">
                  <a:pos x="csX605" y="csY605"/>
                </a:cxn>
                <a:cxn ang="0">
                  <a:pos x="csX606" y="csY606"/>
                </a:cxn>
                <a:cxn ang="0">
                  <a:pos x="csX607" y="csY607"/>
                </a:cxn>
                <a:cxn ang="0">
                  <a:pos x="csX608" y="csY608"/>
                </a:cxn>
                <a:cxn ang="0">
                  <a:pos x="csX609" y="csY609"/>
                </a:cxn>
                <a:cxn ang="0">
                  <a:pos x="csX610" y="csY610"/>
                </a:cxn>
                <a:cxn ang="0">
                  <a:pos x="csX611" y="csY611"/>
                </a:cxn>
                <a:cxn ang="0">
                  <a:pos x="csX612" y="csY612"/>
                </a:cxn>
                <a:cxn ang="0">
                  <a:pos x="csX613" y="csY613"/>
                </a:cxn>
                <a:cxn ang="0">
                  <a:pos x="csX614" y="csY614"/>
                </a:cxn>
                <a:cxn ang="0">
                  <a:pos x="csX615" y="csY615"/>
                </a:cxn>
                <a:cxn ang="0">
                  <a:pos x="csX616" y="csY616"/>
                </a:cxn>
                <a:cxn ang="0">
                  <a:pos x="csX617" y="csY617"/>
                </a:cxn>
                <a:cxn ang="0">
                  <a:pos x="csX618" y="csY618"/>
                </a:cxn>
                <a:cxn ang="0">
                  <a:pos x="csX619" y="csY619"/>
                </a:cxn>
                <a:cxn ang="0">
                  <a:pos x="csX620" y="csY620"/>
                </a:cxn>
                <a:cxn ang="0">
                  <a:pos x="csX621" y="csY621"/>
                </a:cxn>
                <a:cxn ang="0">
                  <a:pos x="csX622" y="csY622"/>
                </a:cxn>
                <a:cxn ang="0">
                  <a:pos x="csX623" y="csY623"/>
                </a:cxn>
                <a:cxn ang="0">
                  <a:pos x="csX624" y="csY624"/>
                </a:cxn>
                <a:cxn ang="0">
                  <a:pos x="csX625" y="csY625"/>
                </a:cxn>
                <a:cxn ang="0">
                  <a:pos x="csX626" y="csY626"/>
                </a:cxn>
                <a:cxn ang="0">
                  <a:pos x="csX627" y="csY627"/>
                </a:cxn>
                <a:cxn ang="0">
                  <a:pos x="csX628" y="csY628"/>
                </a:cxn>
                <a:cxn ang="0">
                  <a:pos x="csX629" y="csY629"/>
                </a:cxn>
                <a:cxn ang="0">
                  <a:pos x="csX630" y="csY630"/>
                </a:cxn>
                <a:cxn ang="0">
                  <a:pos x="csX631" y="csY631"/>
                </a:cxn>
                <a:cxn ang="0">
                  <a:pos x="csX632" y="csY632"/>
                </a:cxn>
                <a:cxn ang="0">
                  <a:pos x="csX633" y="csY633"/>
                </a:cxn>
                <a:cxn ang="0">
                  <a:pos x="csX634" y="csY634"/>
                </a:cxn>
                <a:cxn ang="0">
                  <a:pos x="csX635" y="csY635"/>
                </a:cxn>
                <a:cxn ang="0">
                  <a:pos x="csX636" y="csY636"/>
                </a:cxn>
                <a:cxn ang="0">
                  <a:pos x="csX637" y="csY637"/>
                </a:cxn>
                <a:cxn ang="0">
                  <a:pos x="csX638" y="csY638"/>
                </a:cxn>
                <a:cxn ang="0">
                  <a:pos x="csX639" y="csY639"/>
                </a:cxn>
                <a:cxn ang="0">
                  <a:pos x="csX640" y="csY640"/>
                </a:cxn>
                <a:cxn ang="0">
                  <a:pos x="csX641" y="csY641"/>
                </a:cxn>
                <a:cxn ang="0">
                  <a:pos x="csX642" y="csY642"/>
                </a:cxn>
                <a:cxn ang="0">
                  <a:pos x="csX643" y="csY643"/>
                </a:cxn>
                <a:cxn ang="0">
                  <a:pos x="csX644" y="csY644"/>
                </a:cxn>
                <a:cxn ang="0">
                  <a:pos x="csX645" y="csY645"/>
                </a:cxn>
                <a:cxn ang="0">
                  <a:pos x="csX646" y="csY646"/>
                </a:cxn>
                <a:cxn ang="0">
                  <a:pos x="csX647" y="csY647"/>
                </a:cxn>
                <a:cxn ang="0">
                  <a:pos x="csX648" y="csY648"/>
                </a:cxn>
                <a:cxn ang="0">
                  <a:pos x="csX649" y="csY649"/>
                </a:cxn>
                <a:cxn ang="0">
                  <a:pos x="csX650" y="csY650"/>
                </a:cxn>
                <a:cxn ang="0">
                  <a:pos x="csX651" y="csY651"/>
                </a:cxn>
                <a:cxn ang="0">
                  <a:pos x="csX652" y="csY652"/>
                </a:cxn>
                <a:cxn ang="0">
                  <a:pos x="csX653" y="csY653"/>
                </a:cxn>
                <a:cxn ang="0">
                  <a:pos x="csX654" y="csY654"/>
                </a:cxn>
                <a:cxn ang="0">
                  <a:pos x="csX655" y="csY655"/>
                </a:cxn>
                <a:cxn ang="0">
                  <a:pos x="csX656" y="csY656"/>
                </a:cxn>
                <a:cxn ang="0">
                  <a:pos x="csX657" y="csY657"/>
                </a:cxn>
                <a:cxn ang="0">
                  <a:pos x="csX658" y="csY658"/>
                </a:cxn>
                <a:cxn ang="0">
                  <a:pos x="csX659" y="csY659"/>
                </a:cxn>
                <a:cxn ang="0">
                  <a:pos x="csX660" y="csY660"/>
                </a:cxn>
                <a:cxn ang="0">
                  <a:pos x="csX661" y="csY661"/>
                </a:cxn>
                <a:cxn ang="0">
                  <a:pos x="csX662" y="csY662"/>
                </a:cxn>
                <a:cxn ang="0">
                  <a:pos x="csX663" y="csY663"/>
                </a:cxn>
                <a:cxn ang="0">
                  <a:pos x="csX664" y="csY664"/>
                </a:cxn>
                <a:cxn ang="0">
                  <a:pos x="csX665" y="csY665"/>
                </a:cxn>
                <a:cxn ang="0">
                  <a:pos x="csX666" y="csY666"/>
                </a:cxn>
                <a:cxn ang="0">
                  <a:pos x="csX667" y="csY667"/>
                </a:cxn>
                <a:cxn ang="0">
                  <a:pos x="csX668" y="csY668"/>
                </a:cxn>
                <a:cxn ang="0">
                  <a:pos x="csX669" y="csY669"/>
                </a:cxn>
                <a:cxn ang="0">
                  <a:pos x="csX670" y="csY670"/>
                </a:cxn>
                <a:cxn ang="0">
                  <a:pos x="csX671" y="csY671"/>
                </a:cxn>
                <a:cxn ang="0">
                  <a:pos x="csX672" y="csY672"/>
                </a:cxn>
                <a:cxn ang="0">
                  <a:pos x="csX673" y="csY673"/>
                </a:cxn>
                <a:cxn ang="0">
                  <a:pos x="csX674" y="csY674"/>
                </a:cxn>
                <a:cxn ang="0">
                  <a:pos x="csX675" y="csY675"/>
                </a:cxn>
                <a:cxn ang="0">
                  <a:pos x="csX676" y="csY676"/>
                </a:cxn>
                <a:cxn ang="0">
                  <a:pos x="csX677" y="csY677"/>
                </a:cxn>
                <a:cxn ang="0">
                  <a:pos x="csX678" y="csY678"/>
                </a:cxn>
                <a:cxn ang="0">
                  <a:pos x="csX679" y="csY679"/>
                </a:cxn>
                <a:cxn ang="0">
                  <a:pos x="csX680" y="csY680"/>
                </a:cxn>
                <a:cxn ang="0">
                  <a:pos x="csX681" y="csY681"/>
                </a:cxn>
                <a:cxn ang="0">
                  <a:pos x="csX682" y="csY682"/>
                </a:cxn>
                <a:cxn ang="0">
                  <a:pos x="csX683" y="csY683"/>
                </a:cxn>
                <a:cxn ang="0">
                  <a:pos x="csX684" y="csY684"/>
                </a:cxn>
                <a:cxn ang="0">
                  <a:pos x="csX685" y="csY685"/>
                </a:cxn>
                <a:cxn ang="0">
                  <a:pos x="csX686" y="csY686"/>
                </a:cxn>
                <a:cxn ang="0">
                  <a:pos x="csX687" y="csY687"/>
                </a:cxn>
                <a:cxn ang="0">
                  <a:pos x="csX688" y="csY688"/>
                </a:cxn>
                <a:cxn ang="0">
                  <a:pos x="csX689" y="csY689"/>
                </a:cxn>
                <a:cxn ang="0">
                  <a:pos x="csX690" y="csY690"/>
                </a:cxn>
                <a:cxn ang="0">
                  <a:pos x="csX691" y="csY691"/>
                </a:cxn>
                <a:cxn ang="0">
                  <a:pos x="csX692" y="csY692"/>
                </a:cxn>
                <a:cxn ang="0">
                  <a:pos x="csX693" y="csY693"/>
                </a:cxn>
                <a:cxn ang="0">
                  <a:pos x="csX694" y="csY694"/>
                </a:cxn>
                <a:cxn ang="0">
                  <a:pos x="csX695" y="csY695"/>
                </a:cxn>
                <a:cxn ang="0">
                  <a:pos x="csX696" y="csY696"/>
                </a:cxn>
                <a:cxn ang="0">
                  <a:pos x="csX697" y="csY697"/>
                </a:cxn>
                <a:cxn ang="0">
                  <a:pos x="csX698" y="csY698"/>
                </a:cxn>
                <a:cxn ang="0">
                  <a:pos x="csX699" y="csY699"/>
                </a:cxn>
                <a:cxn ang="0">
                  <a:pos x="csX700" y="csY700"/>
                </a:cxn>
                <a:cxn ang="0">
                  <a:pos x="csX701" y="csY701"/>
                </a:cxn>
                <a:cxn ang="0">
                  <a:pos x="csX702" y="csY702"/>
                </a:cxn>
                <a:cxn ang="0">
                  <a:pos x="csX703" y="csY703"/>
                </a:cxn>
                <a:cxn ang="0">
                  <a:pos x="csX704" y="csY704"/>
                </a:cxn>
                <a:cxn ang="0">
                  <a:pos x="csX705" y="csY705"/>
                </a:cxn>
                <a:cxn ang="0">
                  <a:pos x="csX706" y="csY706"/>
                </a:cxn>
                <a:cxn ang="0">
                  <a:pos x="csX707" y="csY707"/>
                </a:cxn>
                <a:cxn ang="0">
                  <a:pos x="csX708" y="csY708"/>
                </a:cxn>
                <a:cxn ang="0">
                  <a:pos x="csX709" y="csY709"/>
                </a:cxn>
                <a:cxn ang="0">
                  <a:pos x="csX710" y="csY710"/>
                </a:cxn>
                <a:cxn ang="0">
                  <a:pos x="csX711" y="csY711"/>
                </a:cxn>
                <a:cxn ang="0">
                  <a:pos x="csX712" y="csY712"/>
                </a:cxn>
                <a:cxn ang="0">
                  <a:pos x="csX713" y="csY713"/>
                </a:cxn>
                <a:cxn ang="0">
                  <a:pos x="csX714" y="csY714"/>
                </a:cxn>
                <a:cxn ang="0">
                  <a:pos x="csX715" y="csY715"/>
                </a:cxn>
                <a:cxn ang="0">
                  <a:pos x="csX716" y="csY716"/>
                </a:cxn>
                <a:cxn ang="0">
                  <a:pos x="csX717" y="csY717"/>
                </a:cxn>
                <a:cxn ang="0">
                  <a:pos x="csX718" y="csY718"/>
                </a:cxn>
                <a:cxn ang="0">
                  <a:pos x="csX719" y="csY719"/>
                </a:cxn>
                <a:cxn ang="0">
                  <a:pos x="csX720" y="csY720"/>
                </a:cxn>
                <a:cxn ang="0">
                  <a:pos x="csX721" y="csY721"/>
                </a:cxn>
                <a:cxn ang="0">
                  <a:pos x="csX722" y="csY722"/>
                </a:cxn>
                <a:cxn ang="0">
                  <a:pos x="csX723" y="csY723"/>
                </a:cxn>
                <a:cxn ang="0">
                  <a:pos x="csX724" y="csY724"/>
                </a:cxn>
                <a:cxn ang="0">
                  <a:pos x="csX725" y="csY725"/>
                </a:cxn>
                <a:cxn ang="0">
                  <a:pos x="csX726" y="csY726"/>
                </a:cxn>
                <a:cxn ang="0">
                  <a:pos x="csX727" y="csY727"/>
                </a:cxn>
                <a:cxn ang="0">
                  <a:pos x="csX728" y="csY728"/>
                </a:cxn>
                <a:cxn ang="0">
                  <a:pos x="csX729" y="csY729"/>
                </a:cxn>
                <a:cxn ang="0">
                  <a:pos x="csX730" y="csY730"/>
                </a:cxn>
                <a:cxn ang="0">
                  <a:pos x="csX731" y="csY731"/>
                </a:cxn>
                <a:cxn ang="0">
                  <a:pos x="csX732" y="csY732"/>
                </a:cxn>
                <a:cxn ang="0">
                  <a:pos x="csX733" y="csY733"/>
                </a:cxn>
                <a:cxn ang="0">
                  <a:pos x="csX734" y="csY734"/>
                </a:cxn>
                <a:cxn ang="0">
                  <a:pos x="csX735" y="csY735"/>
                </a:cxn>
                <a:cxn ang="0">
                  <a:pos x="csX736" y="csY736"/>
                </a:cxn>
                <a:cxn ang="0">
                  <a:pos x="csX737" y="csY737"/>
                </a:cxn>
                <a:cxn ang="0">
                  <a:pos x="csX738" y="csY738"/>
                </a:cxn>
                <a:cxn ang="0">
                  <a:pos x="csX739" y="csY739"/>
                </a:cxn>
                <a:cxn ang="0">
                  <a:pos x="csX740" y="csY740"/>
                </a:cxn>
                <a:cxn ang="0">
                  <a:pos x="csX741" y="csY741"/>
                </a:cxn>
                <a:cxn ang="0">
                  <a:pos x="csX742" y="csY742"/>
                </a:cxn>
                <a:cxn ang="0">
                  <a:pos x="csX743" y="csY743"/>
                </a:cxn>
                <a:cxn ang="0">
                  <a:pos x="csX744" y="csY744"/>
                </a:cxn>
                <a:cxn ang="0">
                  <a:pos x="csX745" y="csY745"/>
                </a:cxn>
                <a:cxn ang="0">
                  <a:pos x="csX746" y="csY746"/>
                </a:cxn>
                <a:cxn ang="0">
                  <a:pos x="csX747" y="csY747"/>
                </a:cxn>
                <a:cxn ang="0">
                  <a:pos x="csX748" y="csY748"/>
                </a:cxn>
                <a:cxn ang="0">
                  <a:pos x="csX749" y="csY749"/>
                </a:cxn>
                <a:cxn ang="0">
                  <a:pos x="csX750" y="csY750"/>
                </a:cxn>
                <a:cxn ang="0">
                  <a:pos x="csX751" y="csY751"/>
                </a:cxn>
                <a:cxn ang="0">
                  <a:pos x="csX752" y="csY752"/>
                </a:cxn>
                <a:cxn ang="0">
                  <a:pos x="csX753" y="csY753"/>
                </a:cxn>
                <a:cxn ang="0">
                  <a:pos x="csX754" y="csY754"/>
                </a:cxn>
                <a:cxn ang="0">
                  <a:pos x="csX755" y="csY755"/>
                </a:cxn>
                <a:cxn ang="0">
                  <a:pos x="csX756" y="csY756"/>
                </a:cxn>
                <a:cxn ang="0">
                  <a:pos x="csX757" y="csY757"/>
                </a:cxn>
                <a:cxn ang="0">
                  <a:pos x="csX758" y="csY758"/>
                </a:cxn>
                <a:cxn ang="0">
                  <a:pos x="csX759" y="csY759"/>
                </a:cxn>
                <a:cxn ang="0">
                  <a:pos x="csX760" y="csY760"/>
                </a:cxn>
                <a:cxn ang="0">
                  <a:pos x="csX761" y="csY761"/>
                </a:cxn>
                <a:cxn ang="0">
                  <a:pos x="csX762" y="csY762"/>
                </a:cxn>
                <a:cxn ang="0">
                  <a:pos x="csX763" y="csY763"/>
                </a:cxn>
                <a:cxn ang="0">
                  <a:pos x="csX764" y="csY764"/>
                </a:cxn>
                <a:cxn ang="0">
                  <a:pos x="csX765" y="csY765"/>
                </a:cxn>
                <a:cxn ang="0">
                  <a:pos x="csX766" y="csY766"/>
                </a:cxn>
                <a:cxn ang="0">
                  <a:pos x="csX767" y="csY767"/>
                </a:cxn>
                <a:cxn ang="0">
                  <a:pos x="csX768" y="csY768"/>
                </a:cxn>
                <a:cxn ang="0">
                  <a:pos x="csX769" y="csY769"/>
                </a:cxn>
                <a:cxn ang="0">
                  <a:pos x="csX770" y="csY770"/>
                </a:cxn>
                <a:cxn ang="0">
                  <a:pos x="csX771" y="csY771"/>
                </a:cxn>
                <a:cxn ang="0">
                  <a:pos x="csX772" y="csY772"/>
                </a:cxn>
                <a:cxn ang="0">
                  <a:pos x="csX773" y="csY773"/>
                </a:cxn>
                <a:cxn ang="0">
                  <a:pos x="csX774" y="csY774"/>
                </a:cxn>
                <a:cxn ang="0">
                  <a:pos x="csX775" y="csY775"/>
                </a:cxn>
                <a:cxn ang="0">
                  <a:pos x="csX776" y="csY776"/>
                </a:cxn>
                <a:cxn ang="0">
                  <a:pos x="csX777" y="csY777"/>
                </a:cxn>
                <a:cxn ang="0">
                  <a:pos x="csX778" y="csY778"/>
                </a:cxn>
                <a:cxn ang="0">
                  <a:pos x="csX779" y="csY779"/>
                </a:cxn>
                <a:cxn ang="0">
                  <a:pos x="csX780" y="csY780"/>
                </a:cxn>
                <a:cxn ang="0">
                  <a:pos x="csX781" y="csY781"/>
                </a:cxn>
                <a:cxn ang="0">
                  <a:pos x="csX782" y="csY782"/>
                </a:cxn>
                <a:cxn ang="0">
                  <a:pos x="csX783" y="csY783"/>
                </a:cxn>
                <a:cxn ang="0">
                  <a:pos x="csX784" y="csY784"/>
                </a:cxn>
                <a:cxn ang="0">
                  <a:pos x="csX785" y="csY785"/>
                </a:cxn>
                <a:cxn ang="0">
                  <a:pos x="csX786" y="csY786"/>
                </a:cxn>
                <a:cxn ang="0">
                  <a:pos x="csX787" y="csY787"/>
                </a:cxn>
                <a:cxn ang="0">
                  <a:pos x="csX788" y="csY788"/>
                </a:cxn>
                <a:cxn ang="0">
                  <a:pos x="csX789" y="csY789"/>
                </a:cxn>
                <a:cxn ang="0">
                  <a:pos x="csX790" y="csY790"/>
                </a:cxn>
                <a:cxn ang="0">
                  <a:pos x="csX791" y="csY791"/>
                </a:cxn>
                <a:cxn ang="0">
                  <a:pos x="csX792" y="csY792"/>
                </a:cxn>
                <a:cxn ang="0">
                  <a:pos x="csX793" y="csY793"/>
                </a:cxn>
                <a:cxn ang="0">
                  <a:pos x="csX794" y="csY794"/>
                </a:cxn>
                <a:cxn ang="0">
                  <a:pos x="csX795" y="csY795"/>
                </a:cxn>
                <a:cxn ang="0">
                  <a:pos x="csX796" y="csY796"/>
                </a:cxn>
                <a:cxn ang="0">
                  <a:pos x="csX797" y="csY797"/>
                </a:cxn>
                <a:cxn ang="0">
                  <a:pos x="csX798" y="csY798"/>
                </a:cxn>
                <a:cxn ang="0">
                  <a:pos x="csX799" y="csY799"/>
                </a:cxn>
                <a:cxn ang="0">
                  <a:pos x="csX800" y="csY800"/>
                </a:cxn>
                <a:cxn ang="0">
                  <a:pos x="csX801" y="csY801"/>
                </a:cxn>
                <a:cxn ang="0">
                  <a:pos x="csX802" y="csY802"/>
                </a:cxn>
                <a:cxn ang="0">
                  <a:pos x="csX803" y="csY803"/>
                </a:cxn>
                <a:cxn ang="0">
                  <a:pos x="csX804" y="csY804"/>
                </a:cxn>
                <a:cxn ang="0">
                  <a:pos x="csX805" y="csY805"/>
                </a:cxn>
                <a:cxn ang="0">
                  <a:pos x="csX806" y="csY806"/>
                </a:cxn>
                <a:cxn ang="0">
                  <a:pos x="csX807" y="csY807"/>
                </a:cxn>
                <a:cxn ang="0">
                  <a:pos x="csX808" y="csY808"/>
                </a:cxn>
                <a:cxn ang="0">
                  <a:pos x="csX809" y="csY809"/>
                </a:cxn>
                <a:cxn ang="0">
                  <a:pos x="csX810" y="csY810"/>
                </a:cxn>
                <a:cxn ang="0">
                  <a:pos x="csX811" y="csY811"/>
                </a:cxn>
                <a:cxn ang="0">
                  <a:pos x="csX812" y="csY812"/>
                </a:cxn>
                <a:cxn ang="0">
                  <a:pos x="csX813" y="csY813"/>
                </a:cxn>
                <a:cxn ang="0">
                  <a:pos x="csX814" y="csY814"/>
                </a:cxn>
                <a:cxn ang="0">
                  <a:pos x="csX815" y="csY815"/>
                </a:cxn>
                <a:cxn ang="0">
                  <a:pos x="csX816" y="csY816"/>
                </a:cxn>
                <a:cxn ang="0">
                  <a:pos x="csX817" y="csY817"/>
                </a:cxn>
                <a:cxn ang="0">
                  <a:pos x="csX818" y="csY818"/>
                </a:cxn>
                <a:cxn ang="0">
                  <a:pos x="csX819" y="csY819"/>
                </a:cxn>
                <a:cxn ang="0">
                  <a:pos x="csX820" y="csY820"/>
                </a:cxn>
                <a:cxn ang="0">
                  <a:pos x="csX821" y="csY821"/>
                </a:cxn>
                <a:cxn ang="0">
                  <a:pos x="csX822" y="csY822"/>
                </a:cxn>
                <a:cxn ang="0">
                  <a:pos x="csX823" y="csY823"/>
                </a:cxn>
                <a:cxn ang="0">
                  <a:pos x="csX824" y="csY824"/>
                </a:cxn>
                <a:cxn ang="0">
                  <a:pos x="csX825" y="csY825"/>
                </a:cxn>
                <a:cxn ang="0">
                  <a:pos x="csX826" y="csY826"/>
                </a:cxn>
                <a:cxn ang="0">
                  <a:pos x="csX827" y="csY827"/>
                </a:cxn>
                <a:cxn ang="0">
                  <a:pos x="csX828" y="csY828"/>
                </a:cxn>
                <a:cxn ang="0">
                  <a:pos x="csX829" y="csY829"/>
                </a:cxn>
                <a:cxn ang="0">
                  <a:pos x="csX830" y="csY830"/>
                </a:cxn>
                <a:cxn ang="0">
                  <a:pos x="csX831" y="csY831"/>
                </a:cxn>
                <a:cxn ang="0">
                  <a:pos x="csX832" y="csY832"/>
                </a:cxn>
                <a:cxn ang="0">
                  <a:pos x="csX833" y="csY833"/>
                </a:cxn>
                <a:cxn ang="0">
                  <a:pos x="csX834" y="csY834"/>
                </a:cxn>
                <a:cxn ang="0">
                  <a:pos x="csX835" y="csY835"/>
                </a:cxn>
                <a:cxn ang="0">
                  <a:pos x="csX836" y="csY836"/>
                </a:cxn>
                <a:cxn ang="0">
                  <a:pos x="csX837" y="csY837"/>
                </a:cxn>
                <a:cxn ang="0">
                  <a:pos x="csX838" y="csY838"/>
                </a:cxn>
                <a:cxn ang="0">
                  <a:pos x="csX839" y="csY839"/>
                </a:cxn>
                <a:cxn ang="0">
                  <a:pos x="csX840" y="csY840"/>
                </a:cxn>
                <a:cxn ang="0">
                  <a:pos x="csX841" y="csY841"/>
                </a:cxn>
                <a:cxn ang="0">
                  <a:pos x="csX842" y="csY842"/>
                </a:cxn>
                <a:cxn ang="0">
                  <a:pos x="csX843" y="csY843"/>
                </a:cxn>
                <a:cxn ang="0">
                  <a:pos x="csX844" y="csY844"/>
                </a:cxn>
                <a:cxn ang="0">
                  <a:pos x="csX845" y="csY845"/>
                </a:cxn>
                <a:cxn ang="0">
                  <a:pos x="csX846" y="csY846"/>
                </a:cxn>
                <a:cxn ang="0">
                  <a:pos x="csX847" y="csY847"/>
                </a:cxn>
                <a:cxn ang="0">
                  <a:pos x="csX848" y="csY848"/>
                </a:cxn>
                <a:cxn ang="0">
                  <a:pos x="csX849" y="csY849"/>
                </a:cxn>
                <a:cxn ang="0">
                  <a:pos x="csX850" y="csY850"/>
                </a:cxn>
                <a:cxn ang="0">
                  <a:pos x="csX851" y="csY851"/>
                </a:cxn>
                <a:cxn ang="0">
                  <a:pos x="csX852" y="csY852"/>
                </a:cxn>
                <a:cxn ang="0">
                  <a:pos x="csX853" y="csY853"/>
                </a:cxn>
                <a:cxn ang="0">
                  <a:pos x="csX854" y="csY854"/>
                </a:cxn>
                <a:cxn ang="0">
                  <a:pos x="csX855" y="csY855"/>
                </a:cxn>
                <a:cxn ang="0">
                  <a:pos x="csX856" y="csY856"/>
                </a:cxn>
                <a:cxn ang="0">
                  <a:pos x="csX857" y="csY857"/>
                </a:cxn>
                <a:cxn ang="0">
                  <a:pos x="csX858" y="csY858"/>
                </a:cxn>
                <a:cxn ang="0">
                  <a:pos x="csX859" y="csY859"/>
                </a:cxn>
                <a:cxn ang="0">
                  <a:pos x="csX860" y="csY860"/>
                </a:cxn>
                <a:cxn ang="0">
                  <a:pos x="csX861" y="csY861"/>
                </a:cxn>
                <a:cxn ang="0">
                  <a:pos x="csX862" y="csY862"/>
                </a:cxn>
                <a:cxn ang="0">
                  <a:pos x="csX863" y="csY863"/>
                </a:cxn>
                <a:cxn ang="0">
                  <a:pos x="csX864" y="csY864"/>
                </a:cxn>
                <a:cxn ang="0">
                  <a:pos x="csX865" y="csY865"/>
                </a:cxn>
                <a:cxn ang="0">
                  <a:pos x="csX866" y="csY866"/>
                </a:cxn>
                <a:cxn ang="0">
                  <a:pos x="csX867" y="csY867"/>
                </a:cxn>
                <a:cxn ang="0">
                  <a:pos x="csX868" y="csY868"/>
                </a:cxn>
                <a:cxn ang="0">
                  <a:pos x="csX869" y="csY869"/>
                </a:cxn>
                <a:cxn ang="0">
                  <a:pos x="csX870" y="csY870"/>
                </a:cxn>
                <a:cxn ang="0">
                  <a:pos x="csX871" y="csY871"/>
                </a:cxn>
                <a:cxn ang="0">
                  <a:pos x="csX872" y="csY872"/>
                </a:cxn>
                <a:cxn ang="0">
                  <a:pos x="csX873" y="csY873"/>
                </a:cxn>
                <a:cxn ang="0">
                  <a:pos x="csX874" y="csY874"/>
                </a:cxn>
                <a:cxn ang="0">
                  <a:pos x="csX875" y="csY875"/>
                </a:cxn>
                <a:cxn ang="0">
                  <a:pos x="csX876" y="csY876"/>
                </a:cxn>
                <a:cxn ang="0">
                  <a:pos x="csX877" y="csY877"/>
                </a:cxn>
                <a:cxn ang="0">
                  <a:pos x="csX878" y="csY878"/>
                </a:cxn>
                <a:cxn ang="0">
                  <a:pos x="csX879" y="csY879"/>
                </a:cxn>
                <a:cxn ang="0">
                  <a:pos x="csX880" y="csY880"/>
                </a:cxn>
                <a:cxn ang="0">
                  <a:pos x="csX881" y="csY881"/>
                </a:cxn>
                <a:cxn ang="0">
                  <a:pos x="csX882" y="csY882"/>
                </a:cxn>
                <a:cxn ang="0">
                  <a:pos x="csX883" y="csY883"/>
                </a:cxn>
                <a:cxn ang="0">
                  <a:pos x="csX884" y="csY884"/>
                </a:cxn>
                <a:cxn ang="0">
                  <a:pos x="csX885" y="csY885"/>
                </a:cxn>
                <a:cxn ang="0">
                  <a:pos x="csX886" y="csY886"/>
                </a:cxn>
                <a:cxn ang="0">
                  <a:pos x="csX887" y="csY887"/>
                </a:cxn>
                <a:cxn ang="0">
                  <a:pos x="csX888" y="csY888"/>
                </a:cxn>
                <a:cxn ang="0">
                  <a:pos x="csX889" y="csY889"/>
                </a:cxn>
                <a:cxn ang="0">
                  <a:pos x="csX890" y="csY890"/>
                </a:cxn>
                <a:cxn ang="0">
                  <a:pos x="csX891" y="csY891"/>
                </a:cxn>
                <a:cxn ang="0">
                  <a:pos x="csX892" y="csY892"/>
                </a:cxn>
                <a:cxn ang="0">
                  <a:pos x="csX893" y="csY893"/>
                </a:cxn>
                <a:cxn ang="0">
                  <a:pos x="csX894" y="csY894"/>
                </a:cxn>
                <a:cxn ang="0">
                  <a:pos x="csX895" y="csY895"/>
                </a:cxn>
                <a:cxn ang="0">
                  <a:pos x="csX896" y="csY896"/>
                </a:cxn>
                <a:cxn ang="0">
                  <a:pos x="csX897" y="csY897"/>
                </a:cxn>
                <a:cxn ang="0">
                  <a:pos x="csX898" y="csY898"/>
                </a:cxn>
                <a:cxn ang="0">
                  <a:pos x="csX899" y="csY899"/>
                </a:cxn>
                <a:cxn ang="0">
                  <a:pos x="csX900" y="csY900"/>
                </a:cxn>
                <a:cxn ang="0">
                  <a:pos x="csX901" y="csY901"/>
                </a:cxn>
                <a:cxn ang="0">
                  <a:pos x="csX902" y="csY902"/>
                </a:cxn>
                <a:cxn ang="0">
                  <a:pos x="csX903" y="csY903"/>
                </a:cxn>
                <a:cxn ang="0">
                  <a:pos x="csX904" y="csY904"/>
                </a:cxn>
                <a:cxn ang="0">
                  <a:pos x="csX905" y="csY905"/>
                </a:cxn>
                <a:cxn ang="0">
                  <a:pos x="csX906" y="csY906"/>
                </a:cxn>
                <a:cxn ang="0">
                  <a:pos x="csX907" y="csY907"/>
                </a:cxn>
                <a:cxn ang="0">
                  <a:pos x="csX908" y="csY908"/>
                </a:cxn>
                <a:cxn ang="0">
                  <a:pos x="csX909" y="csY909"/>
                </a:cxn>
                <a:cxn ang="0">
                  <a:pos x="csX910" y="csY910"/>
                </a:cxn>
                <a:cxn ang="0">
                  <a:pos x="csX911" y="csY911"/>
                </a:cxn>
                <a:cxn ang="0">
                  <a:pos x="csX912" y="csY912"/>
                </a:cxn>
                <a:cxn ang="0">
                  <a:pos x="csX913" y="csY913"/>
                </a:cxn>
                <a:cxn ang="0">
                  <a:pos x="csX914" y="csY914"/>
                </a:cxn>
                <a:cxn ang="0">
                  <a:pos x="csX915" y="csY915"/>
                </a:cxn>
                <a:cxn ang="0">
                  <a:pos x="csX916" y="csY916"/>
                </a:cxn>
                <a:cxn ang="0">
                  <a:pos x="csX917" y="csY917"/>
                </a:cxn>
                <a:cxn ang="0">
                  <a:pos x="csX918" y="csY918"/>
                </a:cxn>
                <a:cxn ang="0">
                  <a:pos x="csX919" y="csY919"/>
                </a:cxn>
                <a:cxn ang="0">
                  <a:pos x="csX920" y="csY920"/>
                </a:cxn>
                <a:cxn ang="0">
                  <a:pos x="csX921" y="csY921"/>
                </a:cxn>
                <a:cxn ang="0">
                  <a:pos x="csX922" y="csY922"/>
                </a:cxn>
                <a:cxn ang="0">
                  <a:pos x="csX923" y="csY923"/>
                </a:cxn>
                <a:cxn ang="0">
                  <a:pos x="csX924" y="csY924"/>
                </a:cxn>
                <a:cxn ang="0">
                  <a:pos x="csX925" y="csY925"/>
                </a:cxn>
                <a:cxn ang="0">
                  <a:pos x="csX926" y="csY926"/>
                </a:cxn>
                <a:cxn ang="0">
                  <a:pos x="csX927" y="csY927"/>
                </a:cxn>
                <a:cxn ang="0">
                  <a:pos x="csX928" y="csY928"/>
                </a:cxn>
                <a:cxn ang="0">
                  <a:pos x="csX929" y="csY929"/>
                </a:cxn>
                <a:cxn ang="0">
                  <a:pos x="csX930" y="csY930"/>
                </a:cxn>
                <a:cxn ang="0">
                  <a:pos x="csX931" y="csY931"/>
                </a:cxn>
                <a:cxn ang="0">
                  <a:pos x="csX932" y="csY932"/>
                </a:cxn>
                <a:cxn ang="0">
                  <a:pos x="csX933" y="csY933"/>
                </a:cxn>
                <a:cxn ang="0">
                  <a:pos x="csX934" y="csY934"/>
                </a:cxn>
                <a:cxn ang="0">
                  <a:pos x="csX935" y="csY935"/>
                </a:cxn>
                <a:cxn ang="0">
                  <a:pos x="csX936" y="csY936"/>
                </a:cxn>
                <a:cxn ang="0">
                  <a:pos x="csX937" y="csY937"/>
                </a:cxn>
                <a:cxn ang="0">
                  <a:pos x="csX938" y="csY938"/>
                </a:cxn>
                <a:cxn ang="0">
                  <a:pos x="csX939" y="csY939"/>
                </a:cxn>
                <a:cxn ang="0">
                  <a:pos x="csX940" y="csY940"/>
                </a:cxn>
                <a:cxn ang="0">
                  <a:pos x="csX941" y="csY941"/>
                </a:cxn>
                <a:cxn ang="0">
                  <a:pos x="csX942" y="csY942"/>
                </a:cxn>
                <a:cxn ang="0">
                  <a:pos x="csX943" y="csY943"/>
                </a:cxn>
                <a:cxn ang="0">
                  <a:pos x="csX944" y="csY944"/>
                </a:cxn>
                <a:cxn ang="0">
                  <a:pos x="csX945" y="csY945"/>
                </a:cxn>
                <a:cxn ang="0">
                  <a:pos x="csX946" y="csY946"/>
                </a:cxn>
                <a:cxn ang="0">
                  <a:pos x="csX947" y="csY947"/>
                </a:cxn>
                <a:cxn ang="0">
                  <a:pos x="csX948" y="csY948"/>
                </a:cxn>
                <a:cxn ang="0">
                  <a:pos x="csX949" y="csY949"/>
                </a:cxn>
                <a:cxn ang="0">
                  <a:pos x="csX950" y="csY950"/>
                </a:cxn>
                <a:cxn ang="0">
                  <a:pos x="csX951" y="csY951"/>
                </a:cxn>
                <a:cxn ang="0">
                  <a:pos x="csX952" y="csY952"/>
                </a:cxn>
                <a:cxn ang="0">
                  <a:pos x="csX953" y="csY953"/>
                </a:cxn>
                <a:cxn ang="0">
                  <a:pos x="csX954" y="csY954"/>
                </a:cxn>
                <a:cxn ang="0">
                  <a:pos x="csX955" y="csY955"/>
                </a:cxn>
                <a:cxn ang="0">
                  <a:pos x="csX956" y="csY956"/>
                </a:cxn>
                <a:cxn ang="0">
                  <a:pos x="csX957" y="csY957"/>
                </a:cxn>
                <a:cxn ang="0">
                  <a:pos x="csX958" y="csY958"/>
                </a:cxn>
                <a:cxn ang="0">
                  <a:pos x="csX959" y="csY959"/>
                </a:cxn>
                <a:cxn ang="0">
                  <a:pos x="csX960" y="csY960"/>
                </a:cxn>
                <a:cxn ang="0">
                  <a:pos x="csX961" y="csY961"/>
                </a:cxn>
                <a:cxn ang="0">
                  <a:pos x="csX962" y="csY962"/>
                </a:cxn>
                <a:cxn ang="0">
                  <a:pos x="csX963" y="csY963"/>
                </a:cxn>
                <a:cxn ang="0">
                  <a:pos x="csX964" y="csY964"/>
                </a:cxn>
                <a:cxn ang="0">
                  <a:pos x="csX965" y="csY965"/>
                </a:cxn>
                <a:cxn ang="0">
                  <a:pos x="csX966" y="csY966"/>
                </a:cxn>
                <a:cxn ang="0">
                  <a:pos x="csX967" y="csY967"/>
                </a:cxn>
                <a:cxn ang="0">
                  <a:pos x="csX968" y="csY968"/>
                </a:cxn>
                <a:cxn ang="0">
                  <a:pos x="csX969" y="csY969"/>
                </a:cxn>
                <a:cxn ang="0">
                  <a:pos x="csX970" y="csY970"/>
                </a:cxn>
                <a:cxn ang="0">
                  <a:pos x="csX971" y="csY971"/>
                </a:cxn>
                <a:cxn ang="0">
                  <a:pos x="csX972" y="csY972"/>
                </a:cxn>
                <a:cxn ang="0">
                  <a:pos x="csX973" y="csY973"/>
                </a:cxn>
                <a:cxn ang="0">
                  <a:pos x="csX974" y="csY974"/>
                </a:cxn>
                <a:cxn ang="0">
                  <a:pos x="csX975" y="csY975"/>
                </a:cxn>
                <a:cxn ang="0">
                  <a:pos x="csX976" y="csY976"/>
                </a:cxn>
                <a:cxn ang="0">
                  <a:pos x="csX977" y="csY977"/>
                </a:cxn>
                <a:cxn ang="0">
                  <a:pos x="csX978" y="csY978"/>
                </a:cxn>
                <a:cxn ang="0">
                  <a:pos x="csX979" y="csY979"/>
                </a:cxn>
                <a:cxn ang="0">
                  <a:pos x="csX980" y="csY980"/>
                </a:cxn>
                <a:cxn ang="0">
                  <a:pos x="csX981" y="csY981"/>
                </a:cxn>
                <a:cxn ang="0">
                  <a:pos x="csX982" y="csY982"/>
                </a:cxn>
                <a:cxn ang="0">
                  <a:pos x="csX983" y="csY983"/>
                </a:cxn>
                <a:cxn ang="0">
                  <a:pos x="csX984" y="csY984"/>
                </a:cxn>
                <a:cxn ang="0">
                  <a:pos x="csX985" y="csY985"/>
                </a:cxn>
                <a:cxn ang="0">
                  <a:pos x="csX986" y="csY986"/>
                </a:cxn>
                <a:cxn ang="0">
                  <a:pos x="csX987" y="csY987"/>
                </a:cxn>
                <a:cxn ang="0">
                  <a:pos x="csX988" y="csY988"/>
                </a:cxn>
                <a:cxn ang="0">
                  <a:pos x="csX989" y="csY989"/>
                </a:cxn>
                <a:cxn ang="0">
                  <a:pos x="csX990" y="csY990"/>
                </a:cxn>
                <a:cxn ang="0">
                  <a:pos x="csX991" y="csY991"/>
                </a:cxn>
                <a:cxn ang="0">
                  <a:pos x="csX992" y="csY992"/>
                </a:cxn>
                <a:cxn ang="0">
                  <a:pos x="csX993" y="csY993"/>
                </a:cxn>
                <a:cxn ang="0">
                  <a:pos x="csX994" y="csY994"/>
                </a:cxn>
                <a:cxn ang="0">
                  <a:pos x="csX995" y="csY995"/>
                </a:cxn>
                <a:cxn ang="0">
                  <a:pos x="csX996" y="csY996"/>
                </a:cxn>
                <a:cxn ang="0">
                  <a:pos x="csX997" y="csY997"/>
                </a:cxn>
                <a:cxn ang="0">
                  <a:pos x="csX998" y="csY998"/>
                </a:cxn>
                <a:cxn ang="0">
                  <a:pos x="csX999" y="csY999"/>
                </a:cxn>
                <a:cxn ang="0">
                  <a:pos x="csX1000" y="csY1000"/>
                </a:cxn>
                <a:cxn ang="0">
                  <a:pos x="csX1001" y="csY1001"/>
                </a:cxn>
                <a:cxn ang="0">
                  <a:pos x="csX1002" y="csY1002"/>
                </a:cxn>
                <a:cxn ang="0">
                  <a:pos x="csX1003" y="csY1003"/>
                </a:cxn>
                <a:cxn ang="0">
                  <a:pos x="csX1004" y="csY1004"/>
                </a:cxn>
                <a:cxn ang="0">
                  <a:pos x="csX1005" y="csY1005"/>
                </a:cxn>
                <a:cxn ang="0">
                  <a:pos x="csX1006" y="csY1006"/>
                </a:cxn>
                <a:cxn ang="0">
                  <a:pos x="csX1007" y="csY1007"/>
                </a:cxn>
                <a:cxn ang="0">
                  <a:pos x="csX1008" y="csY1008"/>
                </a:cxn>
                <a:cxn ang="0">
                  <a:pos x="csX1009" y="csY1009"/>
                </a:cxn>
                <a:cxn ang="0">
                  <a:pos x="csX1010" y="csY1010"/>
                </a:cxn>
                <a:cxn ang="0">
                  <a:pos x="csX1011" y="csY1011"/>
                </a:cxn>
                <a:cxn ang="0">
                  <a:pos x="csX1012" y="csY1012"/>
                </a:cxn>
                <a:cxn ang="0">
                  <a:pos x="csX1013" y="csY1013"/>
                </a:cxn>
                <a:cxn ang="0">
                  <a:pos x="csX1014" y="csY1014"/>
                </a:cxn>
                <a:cxn ang="0">
                  <a:pos x="csX1015" y="csY1015"/>
                </a:cxn>
                <a:cxn ang="0">
                  <a:pos x="csX1016" y="csY1016"/>
                </a:cxn>
                <a:cxn ang="0">
                  <a:pos x="csX1017" y="csY1017"/>
                </a:cxn>
                <a:cxn ang="0">
                  <a:pos x="csX1018" y="csY1018"/>
                </a:cxn>
                <a:cxn ang="0">
                  <a:pos x="csX1019" y="csY1019"/>
                </a:cxn>
                <a:cxn ang="0">
                  <a:pos x="csX1020" y="csY1020"/>
                </a:cxn>
                <a:cxn ang="0">
                  <a:pos x="csX1021" y="csY1021"/>
                </a:cxn>
                <a:cxn ang="0">
                  <a:pos x="csX1022" y="csY1022"/>
                </a:cxn>
                <a:cxn ang="0">
                  <a:pos x="csX1023" y="csY1023"/>
                </a:cxn>
                <a:cxn ang="0">
                  <a:pos x="csX1024" y="csY1024"/>
                </a:cxn>
                <a:cxn ang="0">
                  <a:pos x="csX1025" y="csY1025"/>
                </a:cxn>
                <a:cxn ang="0">
                  <a:pos x="csX1026" y="csY1026"/>
                </a:cxn>
                <a:cxn ang="0">
                  <a:pos x="csX1027" y="csY1027"/>
                </a:cxn>
                <a:cxn ang="0">
                  <a:pos x="csX1028" y="csY1028"/>
                </a:cxn>
                <a:cxn ang="0">
                  <a:pos x="csX1029" y="csY1029"/>
                </a:cxn>
                <a:cxn ang="0">
                  <a:pos x="csX1030" y="csY1030"/>
                </a:cxn>
                <a:cxn ang="0">
                  <a:pos x="csX1031" y="csY1031"/>
                </a:cxn>
                <a:cxn ang="0">
                  <a:pos x="csX1032" y="csY1032"/>
                </a:cxn>
                <a:cxn ang="0">
                  <a:pos x="csX1033" y="csY1033"/>
                </a:cxn>
                <a:cxn ang="0">
                  <a:pos x="csX1034" y="csY1034"/>
                </a:cxn>
                <a:cxn ang="0">
                  <a:pos x="csX1035" y="csY1035"/>
                </a:cxn>
                <a:cxn ang="0">
                  <a:pos x="csX1036" y="csY1036"/>
                </a:cxn>
                <a:cxn ang="0">
                  <a:pos x="csX1037" y="csY1037"/>
                </a:cxn>
                <a:cxn ang="0">
                  <a:pos x="csX1038" y="csY1038"/>
                </a:cxn>
                <a:cxn ang="0">
                  <a:pos x="csX1039" y="csY1039"/>
                </a:cxn>
                <a:cxn ang="0">
                  <a:pos x="csX1040" y="csY1040"/>
                </a:cxn>
                <a:cxn ang="0">
                  <a:pos x="csX1041" y="csY1041"/>
                </a:cxn>
                <a:cxn ang="0">
                  <a:pos x="csX1042" y="csY1042"/>
                </a:cxn>
                <a:cxn ang="0">
                  <a:pos x="csX1043" y="csY1043"/>
                </a:cxn>
                <a:cxn ang="0">
                  <a:pos x="csX1044" y="csY1044"/>
                </a:cxn>
                <a:cxn ang="0">
                  <a:pos x="csX1045" y="csY1045"/>
                </a:cxn>
                <a:cxn ang="0">
                  <a:pos x="csX1046" y="csY1046"/>
                </a:cxn>
                <a:cxn ang="0">
                  <a:pos x="csX1047" y="csY1047"/>
                </a:cxn>
                <a:cxn ang="0">
                  <a:pos x="csX1048" y="csY1048"/>
                </a:cxn>
                <a:cxn ang="0">
                  <a:pos x="csX1049" y="csY1049"/>
                </a:cxn>
                <a:cxn ang="0">
                  <a:pos x="csX1050" y="csY1050"/>
                </a:cxn>
                <a:cxn ang="0">
                  <a:pos x="csX1051" y="csY1051"/>
                </a:cxn>
                <a:cxn ang="0">
                  <a:pos x="csX1052" y="csY1052"/>
                </a:cxn>
                <a:cxn ang="0">
                  <a:pos x="csX1053" y="csY1053"/>
                </a:cxn>
                <a:cxn ang="0">
                  <a:pos x="csX1054" y="csY1054"/>
                </a:cxn>
              </a:cxnLst>
              <a:rect l="l" t="t" r="r" b="b"/>
              <a:pathLst>
                <a:path w="1609516" h="1538630">
                  <a:moveTo>
                    <a:pt x="401579" y="1495809"/>
                  </a:moveTo>
                  <a:lnTo>
                    <a:pt x="400190" y="1496004"/>
                  </a:lnTo>
                  <a:lnTo>
                    <a:pt x="401224" y="1496470"/>
                  </a:lnTo>
                  <a:lnTo>
                    <a:pt x="401224" y="1498590"/>
                  </a:lnTo>
                  <a:lnTo>
                    <a:pt x="401579" y="1498628"/>
                  </a:lnTo>
                  <a:cubicBezTo>
                    <a:pt x="401579" y="1497698"/>
                    <a:pt x="401579" y="1496768"/>
                    <a:pt x="401579" y="1495809"/>
                  </a:cubicBezTo>
                  <a:close/>
                  <a:moveTo>
                    <a:pt x="368755" y="1486512"/>
                  </a:moveTo>
                  <a:lnTo>
                    <a:pt x="364089" y="1487354"/>
                  </a:lnTo>
                  <a:lnTo>
                    <a:pt x="364089" y="1487908"/>
                  </a:lnTo>
                  <a:close/>
                  <a:moveTo>
                    <a:pt x="1049801" y="1484562"/>
                  </a:moveTo>
                  <a:lnTo>
                    <a:pt x="1046735" y="1485945"/>
                  </a:lnTo>
                  <a:lnTo>
                    <a:pt x="1046955" y="1486045"/>
                  </a:lnTo>
                  <a:lnTo>
                    <a:pt x="1049801" y="1485188"/>
                  </a:lnTo>
                  <a:close/>
                  <a:moveTo>
                    <a:pt x="351234" y="1444508"/>
                  </a:moveTo>
                  <a:lnTo>
                    <a:pt x="351234" y="1444997"/>
                  </a:lnTo>
                  <a:lnTo>
                    <a:pt x="351592" y="1445078"/>
                  </a:lnTo>
                  <a:close/>
                  <a:moveTo>
                    <a:pt x="351908" y="1431206"/>
                  </a:moveTo>
                  <a:lnTo>
                    <a:pt x="351234" y="1431611"/>
                  </a:lnTo>
                  <a:lnTo>
                    <a:pt x="351234" y="1432274"/>
                  </a:lnTo>
                  <a:close/>
                  <a:moveTo>
                    <a:pt x="358162" y="1421494"/>
                  </a:moveTo>
                  <a:lnTo>
                    <a:pt x="355921" y="1423156"/>
                  </a:lnTo>
                  <a:lnTo>
                    <a:pt x="355921" y="1423548"/>
                  </a:lnTo>
                  <a:close/>
                  <a:moveTo>
                    <a:pt x="376098" y="1408347"/>
                  </a:moveTo>
                  <a:lnTo>
                    <a:pt x="370750" y="1412245"/>
                  </a:lnTo>
                  <a:lnTo>
                    <a:pt x="375023" y="1411256"/>
                  </a:lnTo>
                  <a:close/>
                  <a:moveTo>
                    <a:pt x="421956" y="1365623"/>
                  </a:moveTo>
                  <a:lnTo>
                    <a:pt x="421765" y="1366161"/>
                  </a:lnTo>
                  <a:lnTo>
                    <a:pt x="421887" y="1366161"/>
                  </a:lnTo>
                  <a:close/>
                  <a:moveTo>
                    <a:pt x="754553" y="1360575"/>
                  </a:moveTo>
                  <a:lnTo>
                    <a:pt x="754089" y="1361433"/>
                  </a:lnTo>
                  <a:lnTo>
                    <a:pt x="754431" y="1361125"/>
                  </a:lnTo>
                  <a:close/>
                  <a:moveTo>
                    <a:pt x="1277973" y="1332923"/>
                  </a:moveTo>
                  <a:lnTo>
                    <a:pt x="1277944" y="1332936"/>
                  </a:lnTo>
                  <a:lnTo>
                    <a:pt x="1277949" y="1333139"/>
                  </a:lnTo>
                  <a:close/>
                  <a:moveTo>
                    <a:pt x="1268556" y="1321066"/>
                  </a:moveTo>
                  <a:cubicBezTo>
                    <a:pt x="1268556" y="1322461"/>
                    <a:pt x="1268556" y="1323856"/>
                    <a:pt x="1268556" y="1325294"/>
                  </a:cubicBezTo>
                  <a:cubicBezTo>
                    <a:pt x="1267525" y="1325294"/>
                    <a:pt x="1266495" y="1325294"/>
                    <a:pt x="1265432" y="1325294"/>
                  </a:cubicBezTo>
                  <a:cubicBezTo>
                    <a:pt x="1265432" y="1330409"/>
                    <a:pt x="1265432" y="1335525"/>
                    <a:pt x="1265432" y="1340795"/>
                  </a:cubicBezTo>
                  <a:lnTo>
                    <a:pt x="1265476" y="1340714"/>
                  </a:lnTo>
                  <a:lnTo>
                    <a:pt x="1265476" y="1325877"/>
                  </a:lnTo>
                  <a:cubicBezTo>
                    <a:pt x="1266507" y="1325877"/>
                    <a:pt x="1267538" y="1325877"/>
                    <a:pt x="1268600" y="1325877"/>
                  </a:cubicBezTo>
                  <a:cubicBezTo>
                    <a:pt x="1268600" y="1324482"/>
                    <a:pt x="1268600" y="1323086"/>
                    <a:pt x="1268600" y="1321649"/>
                  </a:cubicBezTo>
                  <a:cubicBezTo>
                    <a:pt x="1270147" y="1321649"/>
                    <a:pt x="1271693" y="1321649"/>
                    <a:pt x="1273286" y="1321649"/>
                  </a:cubicBezTo>
                  <a:lnTo>
                    <a:pt x="1273227" y="1321066"/>
                  </a:lnTo>
                  <a:close/>
                  <a:moveTo>
                    <a:pt x="827891" y="1291474"/>
                  </a:moveTo>
                  <a:lnTo>
                    <a:pt x="822601" y="1291544"/>
                  </a:lnTo>
                  <a:lnTo>
                    <a:pt x="818272" y="1292220"/>
                  </a:lnTo>
                  <a:lnTo>
                    <a:pt x="827891" y="1292047"/>
                  </a:lnTo>
                  <a:close/>
                  <a:moveTo>
                    <a:pt x="856397" y="1288691"/>
                  </a:moveTo>
                  <a:lnTo>
                    <a:pt x="865903" y="1290590"/>
                  </a:lnTo>
                  <a:lnTo>
                    <a:pt x="859999" y="1288752"/>
                  </a:lnTo>
                  <a:close/>
                  <a:moveTo>
                    <a:pt x="834694" y="1288572"/>
                  </a:moveTo>
                  <a:lnTo>
                    <a:pt x="828038" y="1288654"/>
                  </a:lnTo>
                  <a:lnTo>
                    <a:pt x="828038" y="1289214"/>
                  </a:lnTo>
                  <a:close/>
                  <a:moveTo>
                    <a:pt x="229746" y="1191418"/>
                  </a:moveTo>
                  <a:lnTo>
                    <a:pt x="227402" y="1191947"/>
                  </a:lnTo>
                  <a:lnTo>
                    <a:pt x="229315" y="1191947"/>
                  </a:lnTo>
                  <a:cubicBezTo>
                    <a:pt x="229315" y="1192877"/>
                    <a:pt x="229315" y="1193807"/>
                    <a:pt x="229315" y="1194765"/>
                  </a:cubicBezTo>
                  <a:lnTo>
                    <a:pt x="231321" y="1194765"/>
                  </a:lnTo>
                  <a:lnTo>
                    <a:pt x="229746" y="1194236"/>
                  </a:lnTo>
                  <a:cubicBezTo>
                    <a:pt x="229746" y="1193306"/>
                    <a:pt x="229746" y="1192376"/>
                    <a:pt x="229746" y="1191418"/>
                  </a:cubicBezTo>
                  <a:close/>
                  <a:moveTo>
                    <a:pt x="215687" y="1187190"/>
                  </a:moveTo>
                  <a:lnTo>
                    <a:pt x="215198" y="1187720"/>
                  </a:lnTo>
                  <a:lnTo>
                    <a:pt x="215256" y="1187720"/>
                  </a:lnTo>
                  <a:cubicBezTo>
                    <a:pt x="215256" y="1189115"/>
                    <a:pt x="215256" y="1190510"/>
                    <a:pt x="215256" y="1191947"/>
                  </a:cubicBezTo>
                  <a:lnTo>
                    <a:pt x="222721" y="1191947"/>
                  </a:lnTo>
                  <a:lnTo>
                    <a:pt x="215687" y="1191418"/>
                  </a:lnTo>
                  <a:cubicBezTo>
                    <a:pt x="215687" y="1190023"/>
                    <a:pt x="215687" y="1188628"/>
                    <a:pt x="215687" y="1187190"/>
                  </a:cubicBezTo>
                  <a:close/>
                  <a:moveTo>
                    <a:pt x="1279678" y="1082356"/>
                  </a:moveTo>
                  <a:lnTo>
                    <a:pt x="1271680" y="1084589"/>
                  </a:lnTo>
                  <a:lnTo>
                    <a:pt x="1282181" y="1082544"/>
                  </a:lnTo>
                  <a:close/>
                  <a:moveTo>
                    <a:pt x="117703" y="941507"/>
                  </a:moveTo>
                  <a:lnTo>
                    <a:pt x="112587" y="941985"/>
                  </a:lnTo>
                  <a:lnTo>
                    <a:pt x="112565" y="942333"/>
                  </a:lnTo>
                  <a:lnTo>
                    <a:pt x="115665" y="941837"/>
                  </a:lnTo>
                  <a:close/>
                  <a:moveTo>
                    <a:pt x="144268" y="939395"/>
                  </a:moveTo>
                  <a:lnTo>
                    <a:pt x="143354" y="939580"/>
                  </a:lnTo>
                  <a:lnTo>
                    <a:pt x="144077" y="939739"/>
                  </a:lnTo>
                  <a:close/>
                  <a:moveTo>
                    <a:pt x="162575" y="933530"/>
                  </a:moveTo>
                  <a:lnTo>
                    <a:pt x="161704" y="935101"/>
                  </a:lnTo>
                  <a:lnTo>
                    <a:pt x="170045" y="933585"/>
                  </a:lnTo>
                  <a:close/>
                  <a:moveTo>
                    <a:pt x="1321645" y="918415"/>
                  </a:moveTo>
                  <a:lnTo>
                    <a:pt x="1321534" y="920177"/>
                  </a:lnTo>
                  <a:lnTo>
                    <a:pt x="1321740" y="918415"/>
                  </a:lnTo>
                  <a:close/>
                  <a:moveTo>
                    <a:pt x="1319333" y="915183"/>
                  </a:moveTo>
                  <a:lnTo>
                    <a:pt x="1318544" y="918029"/>
                  </a:lnTo>
                  <a:lnTo>
                    <a:pt x="1318702" y="918029"/>
                  </a:lnTo>
                  <a:close/>
                  <a:moveTo>
                    <a:pt x="1326355" y="907109"/>
                  </a:moveTo>
                  <a:lnTo>
                    <a:pt x="1326355" y="910983"/>
                  </a:lnTo>
                  <a:lnTo>
                    <a:pt x="1325831" y="911101"/>
                  </a:lnTo>
                  <a:lnTo>
                    <a:pt x="1326426" y="911369"/>
                  </a:lnTo>
                  <a:cubicBezTo>
                    <a:pt x="1326426" y="909974"/>
                    <a:pt x="1326426" y="908579"/>
                    <a:pt x="1326426" y="907141"/>
                  </a:cubicBezTo>
                  <a:close/>
                  <a:moveTo>
                    <a:pt x="1328144" y="892192"/>
                  </a:moveTo>
                  <a:lnTo>
                    <a:pt x="1327667" y="893446"/>
                  </a:lnTo>
                  <a:lnTo>
                    <a:pt x="1327989" y="893049"/>
                  </a:lnTo>
                  <a:close/>
                  <a:moveTo>
                    <a:pt x="49605" y="887420"/>
                  </a:moveTo>
                  <a:lnTo>
                    <a:pt x="48549" y="891229"/>
                  </a:lnTo>
                  <a:lnTo>
                    <a:pt x="49956" y="887420"/>
                  </a:lnTo>
                  <a:close/>
                  <a:moveTo>
                    <a:pt x="1332266" y="883369"/>
                  </a:moveTo>
                  <a:lnTo>
                    <a:pt x="1329479" y="884207"/>
                  </a:lnTo>
                  <a:lnTo>
                    <a:pt x="1329509" y="884816"/>
                  </a:lnTo>
                  <a:lnTo>
                    <a:pt x="1329551" y="884594"/>
                  </a:lnTo>
                  <a:close/>
                  <a:moveTo>
                    <a:pt x="1555987" y="821766"/>
                  </a:moveTo>
                  <a:lnTo>
                    <a:pt x="1555987" y="822201"/>
                  </a:lnTo>
                  <a:lnTo>
                    <a:pt x="1556081" y="822189"/>
                  </a:lnTo>
                  <a:close/>
                  <a:moveTo>
                    <a:pt x="1565360" y="810928"/>
                  </a:moveTo>
                  <a:lnTo>
                    <a:pt x="1564871" y="811809"/>
                  </a:lnTo>
                  <a:lnTo>
                    <a:pt x="1567314" y="810928"/>
                  </a:lnTo>
                  <a:close/>
                  <a:moveTo>
                    <a:pt x="1563797" y="810928"/>
                  </a:moveTo>
                  <a:lnTo>
                    <a:pt x="1556762" y="814736"/>
                  </a:lnTo>
                  <a:lnTo>
                    <a:pt x="1563797" y="812197"/>
                  </a:lnTo>
                  <a:close/>
                  <a:moveTo>
                    <a:pt x="265833" y="806020"/>
                  </a:moveTo>
                  <a:lnTo>
                    <a:pt x="263704" y="809861"/>
                  </a:lnTo>
                  <a:lnTo>
                    <a:pt x="263704" y="816750"/>
                  </a:lnTo>
                  <a:lnTo>
                    <a:pt x="264113" y="816565"/>
                  </a:lnTo>
                  <a:cubicBezTo>
                    <a:pt x="264048" y="815315"/>
                    <a:pt x="263984" y="814065"/>
                    <a:pt x="263918" y="812777"/>
                  </a:cubicBezTo>
                  <a:close/>
                  <a:moveTo>
                    <a:pt x="263774" y="779374"/>
                  </a:moveTo>
                  <a:lnTo>
                    <a:pt x="263704" y="783086"/>
                  </a:lnTo>
                  <a:cubicBezTo>
                    <a:pt x="263961" y="783987"/>
                    <a:pt x="264219" y="784888"/>
                    <a:pt x="264484" y="785816"/>
                  </a:cubicBezTo>
                  <a:cubicBezTo>
                    <a:pt x="265299" y="788846"/>
                    <a:pt x="265316" y="791337"/>
                    <a:pt x="265265" y="794448"/>
                  </a:cubicBezTo>
                  <a:cubicBezTo>
                    <a:pt x="265103" y="797155"/>
                    <a:pt x="265022" y="798508"/>
                    <a:pt x="265217" y="799730"/>
                  </a:cubicBezTo>
                  <a:lnTo>
                    <a:pt x="266556" y="803466"/>
                  </a:lnTo>
                  <a:lnTo>
                    <a:pt x="267237" y="801063"/>
                  </a:lnTo>
                  <a:cubicBezTo>
                    <a:pt x="266721" y="800598"/>
                    <a:pt x="266206" y="800133"/>
                    <a:pt x="265675" y="799654"/>
                  </a:cubicBezTo>
                  <a:cubicBezTo>
                    <a:pt x="265601" y="797718"/>
                    <a:pt x="265617" y="795778"/>
                    <a:pt x="265675" y="793841"/>
                  </a:cubicBezTo>
                  <a:close/>
                  <a:moveTo>
                    <a:pt x="260988" y="770061"/>
                  </a:moveTo>
                  <a:lnTo>
                    <a:pt x="260988" y="771364"/>
                  </a:lnTo>
                  <a:lnTo>
                    <a:pt x="263497" y="777263"/>
                  </a:lnTo>
                  <a:lnTo>
                    <a:pt x="262551" y="770061"/>
                  </a:lnTo>
                  <a:cubicBezTo>
                    <a:pt x="262035" y="770061"/>
                    <a:pt x="261520" y="770061"/>
                    <a:pt x="260988" y="770061"/>
                  </a:cubicBezTo>
                  <a:close/>
                  <a:moveTo>
                    <a:pt x="157888" y="651686"/>
                  </a:moveTo>
                  <a:lnTo>
                    <a:pt x="157415" y="651764"/>
                  </a:lnTo>
                  <a:lnTo>
                    <a:pt x="160373" y="652274"/>
                  </a:lnTo>
                  <a:close/>
                  <a:moveTo>
                    <a:pt x="267237" y="426537"/>
                  </a:moveTo>
                  <a:lnTo>
                    <a:pt x="267237" y="427619"/>
                  </a:lnTo>
                  <a:cubicBezTo>
                    <a:pt x="268274" y="427791"/>
                    <a:pt x="269311" y="427961"/>
                    <a:pt x="270380" y="428137"/>
                  </a:cubicBezTo>
                  <a:lnTo>
                    <a:pt x="273548" y="428680"/>
                  </a:lnTo>
                  <a:close/>
                  <a:moveTo>
                    <a:pt x="37605" y="359270"/>
                  </a:moveTo>
                  <a:lnTo>
                    <a:pt x="37103" y="361533"/>
                  </a:lnTo>
                  <a:lnTo>
                    <a:pt x="37605" y="361382"/>
                  </a:lnTo>
                  <a:close/>
                  <a:moveTo>
                    <a:pt x="52477" y="337570"/>
                  </a:moveTo>
                  <a:lnTo>
                    <a:pt x="47288" y="342340"/>
                  </a:lnTo>
                  <a:lnTo>
                    <a:pt x="45805" y="345093"/>
                  </a:lnTo>
                  <a:close/>
                  <a:moveTo>
                    <a:pt x="104291" y="336166"/>
                  </a:moveTo>
                  <a:lnTo>
                    <a:pt x="103776" y="337559"/>
                  </a:lnTo>
                  <a:lnTo>
                    <a:pt x="108925" y="336166"/>
                  </a:lnTo>
                  <a:close/>
                  <a:moveTo>
                    <a:pt x="1309237" y="322954"/>
                  </a:moveTo>
                  <a:lnTo>
                    <a:pt x="1309180" y="330559"/>
                  </a:lnTo>
                  <a:lnTo>
                    <a:pt x="1309237" y="330520"/>
                  </a:lnTo>
                  <a:close/>
                  <a:moveTo>
                    <a:pt x="1308964" y="317715"/>
                  </a:moveTo>
                  <a:lnTo>
                    <a:pt x="1309237" y="318569"/>
                  </a:lnTo>
                  <a:lnTo>
                    <a:pt x="1309237" y="317838"/>
                  </a:lnTo>
                  <a:close/>
                  <a:moveTo>
                    <a:pt x="1310087" y="313153"/>
                  </a:moveTo>
                  <a:lnTo>
                    <a:pt x="1307609" y="313473"/>
                  </a:lnTo>
                  <a:lnTo>
                    <a:pt x="1308045" y="314836"/>
                  </a:lnTo>
                  <a:close/>
                  <a:moveTo>
                    <a:pt x="1318544" y="312064"/>
                  </a:moveTo>
                  <a:lnTo>
                    <a:pt x="1316298" y="312353"/>
                  </a:lnTo>
                  <a:lnTo>
                    <a:pt x="1318544" y="312205"/>
                  </a:lnTo>
                  <a:close/>
                  <a:moveTo>
                    <a:pt x="1084622" y="267674"/>
                  </a:moveTo>
                  <a:lnTo>
                    <a:pt x="1084227" y="268378"/>
                  </a:lnTo>
                  <a:cubicBezTo>
                    <a:pt x="1082679" y="268378"/>
                    <a:pt x="1081133" y="268378"/>
                    <a:pt x="1079540" y="268378"/>
                  </a:cubicBezTo>
                  <a:lnTo>
                    <a:pt x="1079603" y="268477"/>
                  </a:lnTo>
                  <a:lnTo>
                    <a:pt x="1084192" y="268477"/>
                  </a:lnTo>
                  <a:close/>
                  <a:moveTo>
                    <a:pt x="956410" y="266968"/>
                  </a:moveTo>
                  <a:lnTo>
                    <a:pt x="957576" y="267083"/>
                  </a:lnTo>
                  <a:lnTo>
                    <a:pt x="957576" y="269776"/>
                  </a:lnTo>
                  <a:lnTo>
                    <a:pt x="957694" y="269787"/>
                  </a:lnTo>
                  <a:cubicBezTo>
                    <a:pt x="957694" y="268857"/>
                    <a:pt x="957694" y="267927"/>
                    <a:pt x="957694" y="266968"/>
                  </a:cubicBezTo>
                  <a:close/>
                  <a:moveTo>
                    <a:pt x="1089372" y="259220"/>
                  </a:moveTo>
                  <a:lnTo>
                    <a:pt x="1085856" y="265479"/>
                  </a:lnTo>
                  <a:lnTo>
                    <a:pt x="1088878" y="261431"/>
                  </a:lnTo>
                  <a:close/>
                  <a:moveTo>
                    <a:pt x="1018517" y="223356"/>
                  </a:moveTo>
                  <a:lnTo>
                    <a:pt x="1013866" y="226190"/>
                  </a:lnTo>
                  <a:lnTo>
                    <a:pt x="1013024" y="227709"/>
                  </a:lnTo>
                  <a:lnTo>
                    <a:pt x="1017055" y="224692"/>
                  </a:lnTo>
                  <a:close/>
                  <a:moveTo>
                    <a:pt x="850645" y="220099"/>
                  </a:moveTo>
                  <a:lnTo>
                    <a:pt x="850897" y="221488"/>
                  </a:lnTo>
                  <a:cubicBezTo>
                    <a:pt x="851086" y="222545"/>
                    <a:pt x="851275" y="223602"/>
                    <a:pt x="851470" y="224692"/>
                  </a:cubicBezTo>
                  <a:lnTo>
                    <a:pt x="852860" y="224692"/>
                  </a:lnTo>
                  <a:close/>
                  <a:moveTo>
                    <a:pt x="1155019" y="35"/>
                  </a:moveTo>
                  <a:cubicBezTo>
                    <a:pt x="1161775" y="275"/>
                    <a:pt x="1168415" y="1783"/>
                    <a:pt x="1174829" y="4853"/>
                  </a:cubicBezTo>
                  <a:cubicBezTo>
                    <a:pt x="1176343" y="5231"/>
                    <a:pt x="1177858" y="5609"/>
                    <a:pt x="1179418" y="5998"/>
                  </a:cubicBezTo>
                  <a:cubicBezTo>
                    <a:pt x="1189392" y="9487"/>
                    <a:pt x="1196322" y="14392"/>
                    <a:pt x="1201385" y="22997"/>
                  </a:cubicBezTo>
                  <a:cubicBezTo>
                    <a:pt x="1206849" y="35244"/>
                    <a:pt x="1206940" y="49865"/>
                    <a:pt x="1201678" y="62191"/>
                  </a:cubicBezTo>
                  <a:cubicBezTo>
                    <a:pt x="1200594" y="64241"/>
                    <a:pt x="1199461" y="66271"/>
                    <a:pt x="1198261" y="68268"/>
                  </a:cubicBezTo>
                  <a:cubicBezTo>
                    <a:pt x="1197423" y="69721"/>
                    <a:pt x="1196586" y="71175"/>
                    <a:pt x="1195723" y="72672"/>
                  </a:cubicBezTo>
                  <a:cubicBezTo>
                    <a:pt x="1194659" y="73980"/>
                    <a:pt x="1194659" y="73980"/>
                    <a:pt x="1193575" y="75314"/>
                  </a:cubicBezTo>
                  <a:cubicBezTo>
                    <a:pt x="1192544" y="75314"/>
                    <a:pt x="1191512" y="75314"/>
                    <a:pt x="1190450" y="75314"/>
                  </a:cubicBezTo>
                  <a:cubicBezTo>
                    <a:pt x="1190128" y="76651"/>
                    <a:pt x="1189806" y="77988"/>
                    <a:pt x="1189474" y="79366"/>
                  </a:cubicBezTo>
                  <a:cubicBezTo>
                    <a:pt x="1187326" y="83769"/>
                    <a:pt x="1187326" y="83769"/>
                    <a:pt x="1182445" y="85707"/>
                  </a:cubicBezTo>
                  <a:cubicBezTo>
                    <a:pt x="1180962" y="85998"/>
                    <a:pt x="1179480" y="86289"/>
                    <a:pt x="1177953" y="86588"/>
                  </a:cubicBezTo>
                  <a:cubicBezTo>
                    <a:pt x="1177953" y="87518"/>
                    <a:pt x="1177953" y="88448"/>
                    <a:pt x="1177953" y="89406"/>
                  </a:cubicBezTo>
                  <a:cubicBezTo>
                    <a:pt x="1175369" y="91088"/>
                    <a:pt x="1172720" y="92688"/>
                    <a:pt x="1170045" y="94251"/>
                  </a:cubicBezTo>
                  <a:cubicBezTo>
                    <a:pt x="1154651" y="104199"/>
                    <a:pt x="1148918" y="116979"/>
                    <a:pt x="1143806" y="132828"/>
                  </a:cubicBezTo>
                  <a:cubicBezTo>
                    <a:pt x="1142095" y="137144"/>
                    <a:pt x="1140989" y="138617"/>
                    <a:pt x="1137338" y="141548"/>
                  </a:cubicBezTo>
                  <a:cubicBezTo>
                    <a:pt x="1136166" y="144148"/>
                    <a:pt x="1134992" y="146751"/>
                    <a:pt x="1133970" y="149403"/>
                  </a:cubicBezTo>
                  <a:cubicBezTo>
                    <a:pt x="1132069" y="154334"/>
                    <a:pt x="1130006" y="159210"/>
                    <a:pt x="1127965" y="164095"/>
                  </a:cubicBezTo>
                  <a:cubicBezTo>
                    <a:pt x="1126897" y="166664"/>
                    <a:pt x="1125830" y="169233"/>
                    <a:pt x="1124762" y="171802"/>
                  </a:cubicBezTo>
                  <a:cubicBezTo>
                    <a:pt x="1122961" y="176134"/>
                    <a:pt x="1121160" y="180466"/>
                    <a:pt x="1119359" y="184798"/>
                  </a:cubicBezTo>
                  <a:cubicBezTo>
                    <a:pt x="1116567" y="191508"/>
                    <a:pt x="1113778" y="198220"/>
                    <a:pt x="1111014" y="204941"/>
                  </a:cubicBezTo>
                  <a:cubicBezTo>
                    <a:pt x="1110590" y="205970"/>
                    <a:pt x="1110165" y="206999"/>
                    <a:pt x="1109729" y="208059"/>
                  </a:cubicBezTo>
                  <a:cubicBezTo>
                    <a:pt x="1108615" y="210762"/>
                    <a:pt x="1107505" y="213466"/>
                    <a:pt x="1106395" y="216170"/>
                  </a:cubicBezTo>
                  <a:cubicBezTo>
                    <a:pt x="1104320" y="220956"/>
                    <a:pt x="1103283" y="223349"/>
                    <a:pt x="1102147" y="224810"/>
                  </a:cubicBezTo>
                  <a:lnTo>
                    <a:pt x="1098261" y="227262"/>
                  </a:lnTo>
                  <a:lnTo>
                    <a:pt x="1098367" y="238475"/>
                  </a:lnTo>
                  <a:cubicBezTo>
                    <a:pt x="1098025" y="239757"/>
                    <a:pt x="1097684" y="241038"/>
                    <a:pt x="1097331" y="242358"/>
                  </a:cubicBezTo>
                  <a:cubicBezTo>
                    <a:pt x="1096958" y="243711"/>
                    <a:pt x="1096585" y="245064"/>
                    <a:pt x="1096201" y="246458"/>
                  </a:cubicBezTo>
                  <a:cubicBezTo>
                    <a:pt x="1093302" y="257363"/>
                    <a:pt x="1090901" y="268062"/>
                    <a:pt x="1089440" y="279206"/>
                  </a:cubicBezTo>
                  <a:cubicBezTo>
                    <a:pt x="1088878" y="282569"/>
                    <a:pt x="1088878" y="282569"/>
                    <a:pt x="1087316" y="283978"/>
                  </a:cubicBezTo>
                  <a:cubicBezTo>
                    <a:pt x="1087070" y="286587"/>
                    <a:pt x="1086924" y="289205"/>
                    <a:pt x="1086822" y="291822"/>
                  </a:cubicBezTo>
                  <a:cubicBezTo>
                    <a:pt x="1086756" y="293408"/>
                    <a:pt x="1086691" y="294993"/>
                    <a:pt x="1086623" y="296625"/>
                  </a:cubicBezTo>
                  <a:cubicBezTo>
                    <a:pt x="1086562" y="298294"/>
                    <a:pt x="1086501" y="299962"/>
                    <a:pt x="1086437" y="301681"/>
                  </a:cubicBezTo>
                  <a:cubicBezTo>
                    <a:pt x="1086336" y="304192"/>
                    <a:pt x="1086336" y="304192"/>
                    <a:pt x="1086233" y="306754"/>
                  </a:cubicBezTo>
                  <a:lnTo>
                    <a:pt x="1086007" y="312619"/>
                  </a:lnTo>
                  <a:lnTo>
                    <a:pt x="1087470" y="320554"/>
                  </a:lnTo>
                  <a:cubicBezTo>
                    <a:pt x="1089648" y="325409"/>
                    <a:pt x="1093111" y="329799"/>
                    <a:pt x="1098285" y="334611"/>
                  </a:cubicBezTo>
                  <a:cubicBezTo>
                    <a:pt x="1100424" y="336130"/>
                    <a:pt x="1100424" y="336130"/>
                    <a:pt x="1102607" y="337679"/>
                  </a:cubicBezTo>
                  <a:cubicBezTo>
                    <a:pt x="1104334" y="338951"/>
                    <a:pt x="1104334" y="338951"/>
                    <a:pt x="1106095" y="340248"/>
                  </a:cubicBezTo>
                  <a:cubicBezTo>
                    <a:pt x="1106095" y="341178"/>
                    <a:pt x="1106095" y="342108"/>
                    <a:pt x="1106095" y="343066"/>
                  </a:cubicBezTo>
                  <a:cubicBezTo>
                    <a:pt x="1107127" y="343183"/>
                    <a:pt x="1108158" y="343299"/>
                    <a:pt x="1109220" y="343419"/>
                  </a:cubicBezTo>
                  <a:cubicBezTo>
                    <a:pt x="1115473" y="344829"/>
                    <a:pt x="1120724" y="347416"/>
                    <a:pt x="1126403" y="350112"/>
                  </a:cubicBezTo>
                  <a:cubicBezTo>
                    <a:pt x="1128207" y="350926"/>
                    <a:pt x="1130012" y="351740"/>
                    <a:pt x="1131871" y="352579"/>
                  </a:cubicBezTo>
                  <a:cubicBezTo>
                    <a:pt x="1133159" y="353160"/>
                    <a:pt x="1134448" y="353741"/>
                    <a:pt x="1135776" y="354340"/>
                  </a:cubicBezTo>
                  <a:cubicBezTo>
                    <a:pt x="1135776" y="355270"/>
                    <a:pt x="1135776" y="356200"/>
                    <a:pt x="1135776" y="357158"/>
                  </a:cubicBezTo>
                  <a:cubicBezTo>
                    <a:pt x="1148107" y="360029"/>
                    <a:pt x="1158679" y="359101"/>
                    <a:pt x="1170143" y="354340"/>
                  </a:cubicBezTo>
                  <a:cubicBezTo>
                    <a:pt x="1172366" y="353468"/>
                    <a:pt x="1172366" y="353468"/>
                    <a:pt x="1174634" y="352579"/>
                  </a:cubicBezTo>
                  <a:cubicBezTo>
                    <a:pt x="1180354" y="349689"/>
                    <a:pt x="1185568" y="346355"/>
                    <a:pt x="1190890" y="342907"/>
                  </a:cubicBezTo>
                  <a:cubicBezTo>
                    <a:pt x="1195169" y="340228"/>
                    <a:pt x="1199557" y="337821"/>
                    <a:pt x="1204021" y="335404"/>
                  </a:cubicBezTo>
                  <a:cubicBezTo>
                    <a:pt x="1211989" y="330886"/>
                    <a:pt x="1217509" y="325766"/>
                    <a:pt x="1223255" y="319110"/>
                  </a:cubicBezTo>
                  <a:cubicBezTo>
                    <a:pt x="1224447" y="317947"/>
                    <a:pt x="1225639" y="316784"/>
                    <a:pt x="1226868" y="315587"/>
                  </a:cubicBezTo>
                  <a:cubicBezTo>
                    <a:pt x="1229855" y="311593"/>
                    <a:pt x="1230852" y="308240"/>
                    <a:pt x="1231859" y="303559"/>
                  </a:cubicBezTo>
                  <a:cubicBezTo>
                    <a:pt x="1232628" y="300790"/>
                    <a:pt x="1232628" y="300790"/>
                    <a:pt x="1234178" y="298059"/>
                  </a:cubicBezTo>
                  <a:cubicBezTo>
                    <a:pt x="1235964" y="294761"/>
                    <a:pt x="1236623" y="291807"/>
                    <a:pt x="1237314" y="288195"/>
                  </a:cubicBezTo>
                  <a:cubicBezTo>
                    <a:pt x="1239360" y="278571"/>
                    <a:pt x="1242414" y="272733"/>
                    <a:pt x="1249811" y="265559"/>
                  </a:cubicBezTo>
                  <a:cubicBezTo>
                    <a:pt x="1250842" y="265559"/>
                    <a:pt x="1251873" y="265559"/>
                    <a:pt x="1252935" y="265559"/>
                  </a:cubicBezTo>
                  <a:cubicBezTo>
                    <a:pt x="1252935" y="264629"/>
                    <a:pt x="1252935" y="263699"/>
                    <a:pt x="1252935" y="262741"/>
                  </a:cubicBezTo>
                  <a:cubicBezTo>
                    <a:pt x="1265591" y="253427"/>
                    <a:pt x="1280762" y="251648"/>
                    <a:pt x="1296675" y="252876"/>
                  </a:cubicBezTo>
                  <a:cubicBezTo>
                    <a:pt x="1300535" y="253563"/>
                    <a:pt x="1303901" y="254478"/>
                    <a:pt x="1307609" y="255695"/>
                  </a:cubicBezTo>
                  <a:cubicBezTo>
                    <a:pt x="1307609" y="256625"/>
                    <a:pt x="1307609" y="257555"/>
                    <a:pt x="1307609" y="258513"/>
                  </a:cubicBezTo>
                  <a:cubicBezTo>
                    <a:pt x="1309021" y="258619"/>
                    <a:pt x="1310432" y="258723"/>
                    <a:pt x="1311887" y="258832"/>
                  </a:cubicBezTo>
                  <a:cubicBezTo>
                    <a:pt x="1319573" y="260476"/>
                    <a:pt x="1322149" y="264416"/>
                    <a:pt x="1326715" y="269969"/>
                  </a:cubicBezTo>
                  <a:cubicBezTo>
                    <a:pt x="1334402" y="281220"/>
                    <a:pt x="1336114" y="294839"/>
                    <a:pt x="1334165" y="307836"/>
                  </a:cubicBezTo>
                  <a:cubicBezTo>
                    <a:pt x="1332176" y="311898"/>
                    <a:pt x="1332176" y="311898"/>
                    <a:pt x="1329479" y="314882"/>
                  </a:cubicBezTo>
                  <a:cubicBezTo>
                    <a:pt x="1327417" y="314882"/>
                    <a:pt x="1325355" y="314882"/>
                    <a:pt x="1323231" y="314882"/>
                  </a:cubicBezTo>
                  <a:cubicBezTo>
                    <a:pt x="1323231" y="315812"/>
                    <a:pt x="1323231" y="316742"/>
                    <a:pt x="1323231" y="317700"/>
                  </a:cubicBezTo>
                  <a:lnTo>
                    <a:pt x="1322774" y="317838"/>
                  </a:lnTo>
                  <a:lnTo>
                    <a:pt x="1323295" y="317838"/>
                  </a:lnTo>
                  <a:cubicBezTo>
                    <a:pt x="1323295" y="316907"/>
                    <a:pt x="1323295" y="315977"/>
                    <a:pt x="1323295" y="315019"/>
                  </a:cubicBezTo>
                  <a:cubicBezTo>
                    <a:pt x="1324842" y="315019"/>
                    <a:pt x="1326388" y="315019"/>
                    <a:pt x="1327982" y="315019"/>
                  </a:cubicBezTo>
                  <a:cubicBezTo>
                    <a:pt x="1325845" y="321328"/>
                    <a:pt x="1322753" y="323742"/>
                    <a:pt x="1317047" y="327702"/>
                  </a:cubicBezTo>
                  <a:cubicBezTo>
                    <a:pt x="1316531" y="329097"/>
                    <a:pt x="1316016" y="330492"/>
                    <a:pt x="1315484" y="331930"/>
                  </a:cubicBezTo>
                  <a:cubicBezTo>
                    <a:pt x="1312599" y="332959"/>
                    <a:pt x="1312599" y="332959"/>
                    <a:pt x="1309139" y="333603"/>
                  </a:cubicBezTo>
                  <a:cubicBezTo>
                    <a:pt x="1307993" y="333827"/>
                    <a:pt x="1306847" y="334050"/>
                    <a:pt x="1305666" y="334280"/>
                  </a:cubicBezTo>
                  <a:cubicBezTo>
                    <a:pt x="1304783" y="334434"/>
                    <a:pt x="1303899" y="334589"/>
                    <a:pt x="1302988" y="334748"/>
                  </a:cubicBezTo>
                  <a:lnTo>
                    <a:pt x="1305905" y="332775"/>
                  </a:lnTo>
                  <a:lnTo>
                    <a:pt x="1304485" y="333202"/>
                  </a:lnTo>
                  <a:cubicBezTo>
                    <a:pt x="1302987" y="334640"/>
                    <a:pt x="1302987" y="334640"/>
                    <a:pt x="1301459" y="336108"/>
                  </a:cubicBezTo>
                  <a:cubicBezTo>
                    <a:pt x="1298237" y="338839"/>
                    <a:pt x="1298237" y="338839"/>
                    <a:pt x="1291989" y="338839"/>
                  </a:cubicBezTo>
                  <a:cubicBezTo>
                    <a:pt x="1291473" y="340234"/>
                    <a:pt x="1290957" y="341629"/>
                    <a:pt x="1290426" y="343066"/>
                  </a:cubicBezTo>
                  <a:cubicBezTo>
                    <a:pt x="1288879" y="343415"/>
                    <a:pt x="1287333" y="343764"/>
                    <a:pt x="1285740" y="344123"/>
                  </a:cubicBezTo>
                  <a:cubicBezTo>
                    <a:pt x="1266905" y="348491"/>
                    <a:pt x="1249005" y="369098"/>
                    <a:pt x="1237314" y="382525"/>
                  </a:cubicBezTo>
                  <a:cubicBezTo>
                    <a:pt x="1235678" y="385783"/>
                    <a:pt x="1234122" y="389075"/>
                    <a:pt x="1232628" y="392389"/>
                  </a:cubicBezTo>
                  <a:cubicBezTo>
                    <a:pt x="1231317" y="394515"/>
                    <a:pt x="1229981" y="396629"/>
                    <a:pt x="1228625" y="398731"/>
                  </a:cubicBezTo>
                  <a:cubicBezTo>
                    <a:pt x="1221457" y="410300"/>
                    <a:pt x="1219465" y="421836"/>
                    <a:pt x="1222822" y="434798"/>
                  </a:cubicBezTo>
                  <a:cubicBezTo>
                    <a:pt x="1229360" y="453710"/>
                    <a:pt x="1244088" y="472467"/>
                    <a:pt x="1260746" y="485398"/>
                  </a:cubicBezTo>
                  <a:cubicBezTo>
                    <a:pt x="1264961" y="487349"/>
                    <a:pt x="1264961" y="487349"/>
                    <a:pt x="1268556" y="488216"/>
                  </a:cubicBezTo>
                  <a:cubicBezTo>
                    <a:pt x="1268556" y="489146"/>
                    <a:pt x="1268556" y="490076"/>
                    <a:pt x="1268556" y="491034"/>
                  </a:cubicBezTo>
                  <a:cubicBezTo>
                    <a:pt x="1288790" y="497071"/>
                    <a:pt x="1319055" y="498555"/>
                    <a:pt x="1338852" y="489625"/>
                  </a:cubicBezTo>
                  <a:cubicBezTo>
                    <a:pt x="1341711" y="489213"/>
                    <a:pt x="1344575" y="488837"/>
                    <a:pt x="1347444" y="488480"/>
                  </a:cubicBezTo>
                  <a:cubicBezTo>
                    <a:pt x="1355372" y="487345"/>
                    <a:pt x="1362033" y="485390"/>
                    <a:pt x="1369362" y="482513"/>
                  </a:cubicBezTo>
                  <a:cubicBezTo>
                    <a:pt x="1375665" y="480318"/>
                    <a:pt x="1382189" y="479322"/>
                    <a:pt x="1388840" y="478351"/>
                  </a:cubicBezTo>
                  <a:cubicBezTo>
                    <a:pt x="1388840" y="477421"/>
                    <a:pt x="1388840" y="476492"/>
                    <a:pt x="1388840" y="475533"/>
                  </a:cubicBezTo>
                  <a:cubicBezTo>
                    <a:pt x="1391083" y="474821"/>
                    <a:pt x="1393329" y="474118"/>
                    <a:pt x="1395576" y="473419"/>
                  </a:cubicBezTo>
                  <a:cubicBezTo>
                    <a:pt x="1396827" y="473027"/>
                    <a:pt x="1398077" y="472635"/>
                    <a:pt x="1399365" y="472230"/>
                  </a:cubicBezTo>
                  <a:cubicBezTo>
                    <a:pt x="1402899" y="471305"/>
                    <a:pt x="1402899" y="471305"/>
                    <a:pt x="1407585" y="471305"/>
                  </a:cubicBezTo>
                  <a:cubicBezTo>
                    <a:pt x="1408101" y="469910"/>
                    <a:pt x="1408616" y="468515"/>
                    <a:pt x="1409147" y="467078"/>
                  </a:cubicBezTo>
                  <a:cubicBezTo>
                    <a:pt x="1412388" y="465580"/>
                    <a:pt x="1412388" y="465580"/>
                    <a:pt x="1416470" y="464259"/>
                  </a:cubicBezTo>
                  <a:cubicBezTo>
                    <a:pt x="1424029" y="461705"/>
                    <a:pt x="1431130" y="458955"/>
                    <a:pt x="1437949" y="455011"/>
                  </a:cubicBezTo>
                  <a:cubicBezTo>
                    <a:pt x="1442765" y="452574"/>
                    <a:pt x="1447553" y="451394"/>
                    <a:pt x="1452887" y="450167"/>
                  </a:cubicBezTo>
                  <a:cubicBezTo>
                    <a:pt x="1452887" y="449237"/>
                    <a:pt x="1452887" y="448307"/>
                    <a:pt x="1452887" y="447349"/>
                  </a:cubicBezTo>
                  <a:cubicBezTo>
                    <a:pt x="1453714" y="446944"/>
                    <a:pt x="1454541" y="446539"/>
                    <a:pt x="1455394" y="446122"/>
                  </a:cubicBezTo>
                  <a:cubicBezTo>
                    <a:pt x="1459151" y="444278"/>
                    <a:pt x="1462902" y="442422"/>
                    <a:pt x="1466653" y="440567"/>
                  </a:cubicBezTo>
                  <a:cubicBezTo>
                    <a:pt x="1467955" y="439930"/>
                    <a:pt x="1469256" y="439293"/>
                    <a:pt x="1470598" y="438637"/>
                  </a:cubicBezTo>
                  <a:cubicBezTo>
                    <a:pt x="1471852" y="438016"/>
                    <a:pt x="1473105" y="437393"/>
                    <a:pt x="1474397" y="436752"/>
                  </a:cubicBezTo>
                  <a:cubicBezTo>
                    <a:pt x="1475550" y="436184"/>
                    <a:pt x="1476703" y="435616"/>
                    <a:pt x="1477892" y="435030"/>
                  </a:cubicBezTo>
                  <a:cubicBezTo>
                    <a:pt x="1480966" y="433279"/>
                    <a:pt x="1483173" y="431373"/>
                    <a:pt x="1485691" y="429029"/>
                  </a:cubicBezTo>
                  <a:cubicBezTo>
                    <a:pt x="1486737" y="428575"/>
                    <a:pt x="1487781" y="428121"/>
                    <a:pt x="1488858" y="427653"/>
                  </a:cubicBezTo>
                  <a:cubicBezTo>
                    <a:pt x="1492438" y="425977"/>
                    <a:pt x="1493705" y="424453"/>
                    <a:pt x="1495943" y="421454"/>
                  </a:cubicBezTo>
                  <a:cubicBezTo>
                    <a:pt x="1507114" y="407544"/>
                    <a:pt x="1519758" y="393513"/>
                    <a:pt x="1538608" y="388338"/>
                  </a:cubicBezTo>
                  <a:cubicBezTo>
                    <a:pt x="1541025" y="388250"/>
                    <a:pt x="1541025" y="388250"/>
                    <a:pt x="1543490" y="388161"/>
                  </a:cubicBezTo>
                  <a:cubicBezTo>
                    <a:pt x="1545535" y="387984"/>
                    <a:pt x="1545535" y="387984"/>
                    <a:pt x="1547621" y="387804"/>
                  </a:cubicBezTo>
                  <a:cubicBezTo>
                    <a:pt x="1560659" y="387094"/>
                    <a:pt x="1568716" y="390117"/>
                    <a:pt x="1579418" y="396617"/>
                  </a:cubicBezTo>
                  <a:cubicBezTo>
                    <a:pt x="1581361" y="397687"/>
                    <a:pt x="1581361" y="397687"/>
                    <a:pt x="1583342" y="398780"/>
                  </a:cubicBezTo>
                  <a:cubicBezTo>
                    <a:pt x="1593703" y="405068"/>
                    <a:pt x="1598513" y="412459"/>
                    <a:pt x="1601288" y="423392"/>
                  </a:cubicBezTo>
                  <a:cubicBezTo>
                    <a:pt x="1603295" y="436596"/>
                    <a:pt x="1603517" y="449033"/>
                    <a:pt x="1594484" y="460159"/>
                  </a:cubicBezTo>
                  <a:cubicBezTo>
                    <a:pt x="1588468" y="466462"/>
                    <a:pt x="1582607" y="471150"/>
                    <a:pt x="1574732" y="475533"/>
                  </a:cubicBezTo>
                  <a:cubicBezTo>
                    <a:pt x="1573862" y="476043"/>
                    <a:pt x="1572993" y="476553"/>
                    <a:pt x="1572097" y="477078"/>
                  </a:cubicBezTo>
                  <a:cubicBezTo>
                    <a:pt x="1566828" y="478935"/>
                    <a:pt x="1561641" y="478744"/>
                    <a:pt x="1556066" y="478737"/>
                  </a:cubicBezTo>
                  <a:cubicBezTo>
                    <a:pt x="1553587" y="478765"/>
                    <a:pt x="1551109" y="478795"/>
                    <a:pt x="1548631" y="478825"/>
                  </a:cubicBezTo>
                  <a:cubicBezTo>
                    <a:pt x="1544751" y="478857"/>
                    <a:pt x="1540871" y="478880"/>
                    <a:pt x="1536991" y="478889"/>
                  </a:cubicBezTo>
                  <a:cubicBezTo>
                    <a:pt x="1516714" y="478693"/>
                    <a:pt x="1516714" y="478693"/>
                    <a:pt x="1498188" y="485398"/>
                  </a:cubicBezTo>
                  <a:cubicBezTo>
                    <a:pt x="1496062" y="486488"/>
                    <a:pt x="1496062" y="486488"/>
                    <a:pt x="1493892" y="487600"/>
                  </a:cubicBezTo>
                  <a:cubicBezTo>
                    <a:pt x="1492733" y="488268"/>
                    <a:pt x="1491573" y="488937"/>
                    <a:pt x="1490377" y="489625"/>
                  </a:cubicBezTo>
                  <a:cubicBezTo>
                    <a:pt x="1484304" y="493012"/>
                    <a:pt x="1478212" y="495675"/>
                    <a:pt x="1471650" y="498185"/>
                  </a:cubicBezTo>
                  <a:cubicBezTo>
                    <a:pt x="1467148" y="500054"/>
                    <a:pt x="1463242" y="502632"/>
                    <a:pt x="1459135" y="505127"/>
                  </a:cubicBezTo>
                  <a:cubicBezTo>
                    <a:pt x="1456968" y="506120"/>
                    <a:pt x="1454786" y="507086"/>
                    <a:pt x="1452594" y="508033"/>
                  </a:cubicBezTo>
                  <a:cubicBezTo>
                    <a:pt x="1444148" y="511772"/>
                    <a:pt x="1435969" y="515903"/>
                    <a:pt x="1427795" y="520100"/>
                  </a:cubicBezTo>
                  <a:cubicBezTo>
                    <a:pt x="1425784" y="521114"/>
                    <a:pt x="1425784" y="521114"/>
                    <a:pt x="1423733" y="522148"/>
                  </a:cubicBezTo>
                  <a:cubicBezTo>
                    <a:pt x="1422478" y="522798"/>
                    <a:pt x="1421223" y="523449"/>
                    <a:pt x="1419929" y="524118"/>
                  </a:cubicBezTo>
                  <a:cubicBezTo>
                    <a:pt x="1418794" y="524701"/>
                    <a:pt x="1417658" y="525283"/>
                    <a:pt x="1416487" y="525883"/>
                  </a:cubicBezTo>
                  <a:cubicBezTo>
                    <a:pt x="1413349" y="527646"/>
                    <a:pt x="1413349" y="527646"/>
                    <a:pt x="1412271" y="531902"/>
                  </a:cubicBezTo>
                  <a:cubicBezTo>
                    <a:pt x="1407205" y="535203"/>
                    <a:pt x="1402819" y="536744"/>
                    <a:pt x="1396650" y="537539"/>
                  </a:cubicBezTo>
                  <a:cubicBezTo>
                    <a:pt x="1396650" y="538469"/>
                    <a:pt x="1396650" y="539399"/>
                    <a:pt x="1396650" y="540357"/>
                  </a:cubicBezTo>
                  <a:cubicBezTo>
                    <a:pt x="1395609" y="540735"/>
                    <a:pt x="1394568" y="541113"/>
                    <a:pt x="1393495" y="541502"/>
                  </a:cubicBezTo>
                  <a:cubicBezTo>
                    <a:pt x="1381840" y="545973"/>
                    <a:pt x="1372279" y="551715"/>
                    <a:pt x="1362284" y="558678"/>
                  </a:cubicBezTo>
                  <a:cubicBezTo>
                    <a:pt x="1360170" y="560088"/>
                    <a:pt x="1358055" y="561497"/>
                    <a:pt x="1355937" y="562905"/>
                  </a:cubicBezTo>
                  <a:cubicBezTo>
                    <a:pt x="1348556" y="567937"/>
                    <a:pt x="1341292" y="573085"/>
                    <a:pt x="1334165" y="578406"/>
                  </a:cubicBezTo>
                  <a:cubicBezTo>
                    <a:pt x="1332697" y="579472"/>
                    <a:pt x="1332697" y="579472"/>
                    <a:pt x="1331200" y="580559"/>
                  </a:cubicBezTo>
                  <a:cubicBezTo>
                    <a:pt x="1325067" y="585430"/>
                    <a:pt x="1323406" y="589771"/>
                    <a:pt x="1322175" y="596793"/>
                  </a:cubicBezTo>
                  <a:cubicBezTo>
                    <a:pt x="1321669" y="599545"/>
                    <a:pt x="1321669" y="599545"/>
                    <a:pt x="1320106" y="602363"/>
                  </a:cubicBezTo>
                  <a:cubicBezTo>
                    <a:pt x="1318419" y="618189"/>
                    <a:pt x="1322416" y="632767"/>
                    <a:pt x="1328015" y="647640"/>
                  </a:cubicBezTo>
                  <a:cubicBezTo>
                    <a:pt x="1331267" y="656625"/>
                    <a:pt x="1333170" y="666179"/>
                    <a:pt x="1332604" y="675643"/>
                  </a:cubicBezTo>
                  <a:cubicBezTo>
                    <a:pt x="1333634" y="675643"/>
                    <a:pt x="1334665" y="675643"/>
                    <a:pt x="1335727" y="675643"/>
                  </a:cubicBezTo>
                  <a:cubicBezTo>
                    <a:pt x="1337571" y="680632"/>
                    <a:pt x="1337591" y="684795"/>
                    <a:pt x="1337741" y="690059"/>
                  </a:cubicBezTo>
                  <a:cubicBezTo>
                    <a:pt x="1337826" y="692114"/>
                    <a:pt x="1337913" y="694168"/>
                    <a:pt x="1338003" y="696222"/>
                  </a:cubicBezTo>
                  <a:cubicBezTo>
                    <a:pt x="1338142" y="699444"/>
                    <a:pt x="1338266" y="702664"/>
                    <a:pt x="1338340" y="705887"/>
                  </a:cubicBezTo>
                  <a:cubicBezTo>
                    <a:pt x="1338372" y="720474"/>
                    <a:pt x="1338372" y="720474"/>
                    <a:pt x="1345277" y="733245"/>
                  </a:cubicBezTo>
                  <a:cubicBezTo>
                    <a:pt x="1350822" y="737861"/>
                    <a:pt x="1355921" y="739823"/>
                    <a:pt x="1363162" y="741612"/>
                  </a:cubicBezTo>
                  <a:cubicBezTo>
                    <a:pt x="1370672" y="743533"/>
                    <a:pt x="1377197" y="745750"/>
                    <a:pt x="1384154" y="748922"/>
                  </a:cubicBezTo>
                  <a:cubicBezTo>
                    <a:pt x="1387833" y="749898"/>
                    <a:pt x="1387833" y="749898"/>
                    <a:pt x="1391476" y="750419"/>
                  </a:cubicBezTo>
                  <a:cubicBezTo>
                    <a:pt x="1393499" y="750747"/>
                    <a:pt x="1393499" y="750747"/>
                    <a:pt x="1395564" y="751080"/>
                  </a:cubicBezTo>
                  <a:cubicBezTo>
                    <a:pt x="1397648" y="751407"/>
                    <a:pt x="1397648" y="751407"/>
                    <a:pt x="1399775" y="751740"/>
                  </a:cubicBezTo>
                  <a:cubicBezTo>
                    <a:pt x="1401810" y="752111"/>
                    <a:pt x="1401810" y="752111"/>
                    <a:pt x="1403887" y="752489"/>
                  </a:cubicBezTo>
                  <a:cubicBezTo>
                    <a:pt x="1424247" y="756131"/>
                    <a:pt x="1444708" y="756350"/>
                    <a:pt x="1465383" y="755969"/>
                  </a:cubicBezTo>
                  <a:cubicBezTo>
                    <a:pt x="1467019" y="755945"/>
                    <a:pt x="1468654" y="755921"/>
                    <a:pt x="1470339" y="755897"/>
                  </a:cubicBezTo>
                  <a:cubicBezTo>
                    <a:pt x="1480128" y="755450"/>
                    <a:pt x="1487899" y="752933"/>
                    <a:pt x="1496809" y="749313"/>
                  </a:cubicBezTo>
                  <a:cubicBezTo>
                    <a:pt x="1502876" y="746888"/>
                    <a:pt x="1509049" y="745091"/>
                    <a:pt x="1515371" y="743285"/>
                  </a:cubicBezTo>
                  <a:cubicBezTo>
                    <a:pt x="1515371" y="742356"/>
                    <a:pt x="1515371" y="741425"/>
                    <a:pt x="1515371" y="740467"/>
                  </a:cubicBezTo>
                  <a:cubicBezTo>
                    <a:pt x="1522710" y="737103"/>
                    <a:pt x="1529583" y="737106"/>
                    <a:pt x="1537632" y="737120"/>
                  </a:cubicBezTo>
                  <a:cubicBezTo>
                    <a:pt x="1538960" y="737122"/>
                    <a:pt x="1540289" y="737124"/>
                    <a:pt x="1541657" y="737127"/>
                  </a:cubicBezTo>
                  <a:cubicBezTo>
                    <a:pt x="1555502" y="737372"/>
                    <a:pt x="1564314" y="740697"/>
                    <a:pt x="1574732" y="748922"/>
                  </a:cubicBezTo>
                  <a:cubicBezTo>
                    <a:pt x="1586507" y="762822"/>
                    <a:pt x="1590347" y="775219"/>
                    <a:pt x="1588791" y="792608"/>
                  </a:cubicBezTo>
                  <a:cubicBezTo>
                    <a:pt x="1587728" y="797050"/>
                    <a:pt x="1586468" y="801261"/>
                    <a:pt x="1584105" y="805291"/>
                  </a:cubicBezTo>
                  <a:cubicBezTo>
                    <a:pt x="1583074" y="805756"/>
                    <a:pt x="1582043" y="806221"/>
                    <a:pt x="1580981" y="806700"/>
                  </a:cubicBezTo>
                  <a:cubicBezTo>
                    <a:pt x="1580240" y="807892"/>
                    <a:pt x="1579499" y="809083"/>
                    <a:pt x="1578735" y="810311"/>
                  </a:cubicBezTo>
                  <a:cubicBezTo>
                    <a:pt x="1577930" y="811445"/>
                    <a:pt x="1577124" y="812579"/>
                    <a:pt x="1576295" y="813746"/>
                  </a:cubicBezTo>
                  <a:lnTo>
                    <a:pt x="1571652" y="813746"/>
                  </a:lnTo>
                  <a:lnTo>
                    <a:pt x="1571785" y="814106"/>
                  </a:lnTo>
                  <a:cubicBezTo>
                    <a:pt x="1572816" y="814571"/>
                    <a:pt x="1573846" y="815036"/>
                    <a:pt x="1574909" y="815515"/>
                  </a:cubicBezTo>
                  <a:cubicBezTo>
                    <a:pt x="1572126" y="818758"/>
                    <a:pt x="1569968" y="820871"/>
                    <a:pt x="1565463" y="821839"/>
                  </a:cubicBezTo>
                  <a:lnTo>
                    <a:pt x="1562085" y="822101"/>
                  </a:lnTo>
                  <a:lnTo>
                    <a:pt x="1551301" y="825020"/>
                  </a:lnTo>
                  <a:cubicBezTo>
                    <a:pt x="1551301" y="825950"/>
                    <a:pt x="1551301" y="826880"/>
                    <a:pt x="1551301" y="827838"/>
                  </a:cubicBezTo>
                  <a:cubicBezTo>
                    <a:pt x="1526697" y="828735"/>
                    <a:pt x="1507496" y="825036"/>
                    <a:pt x="1485380" y="815007"/>
                  </a:cubicBezTo>
                  <a:cubicBezTo>
                    <a:pt x="1468723" y="807743"/>
                    <a:pt x="1449749" y="809144"/>
                    <a:pt x="1431603" y="808726"/>
                  </a:cubicBezTo>
                  <a:cubicBezTo>
                    <a:pt x="1429115" y="808665"/>
                    <a:pt x="1426627" y="808604"/>
                    <a:pt x="1424140" y="808542"/>
                  </a:cubicBezTo>
                  <a:cubicBezTo>
                    <a:pt x="1418101" y="808392"/>
                    <a:pt x="1412062" y="808249"/>
                    <a:pt x="1406023" y="808109"/>
                  </a:cubicBezTo>
                  <a:cubicBezTo>
                    <a:pt x="1406023" y="809040"/>
                    <a:pt x="1406023" y="809970"/>
                    <a:pt x="1406023" y="810928"/>
                  </a:cubicBezTo>
                  <a:cubicBezTo>
                    <a:pt x="1404716" y="811118"/>
                    <a:pt x="1404716" y="811118"/>
                    <a:pt x="1403383" y="811311"/>
                  </a:cubicBezTo>
                  <a:cubicBezTo>
                    <a:pt x="1372054" y="815110"/>
                    <a:pt x="1372054" y="815110"/>
                    <a:pt x="1345442" y="828907"/>
                  </a:cubicBezTo>
                  <a:cubicBezTo>
                    <a:pt x="1338843" y="837605"/>
                    <a:pt x="1338313" y="846434"/>
                    <a:pt x="1337875" y="856639"/>
                  </a:cubicBezTo>
                  <a:cubicBezTo>
                    <a:pt x="1337815" y="857805"/>
                    <a:pt x="1337754" y="858970"/>
                    <a:pt x="1337692" y="860171"/>
                  </a:cubicBezTo>
                  <a:cubicBezTo>
                    <a:pt x="1337547" y="863016"/>
                    <a:pt x="1337417" y="865861"/>
                    <a:pt x="1337290" y="868706"/>
                  </a:cubicBezTo>
                  <a:cubicBezTo>
                    <a:pt x="1336258" y="868706"/>
                    <a:pt x="1335228" y="868706"/>
                    <a:pt x="1334165" y="868706"/>
                  </a:cubicBezTo>
                  <a:lnTo>
                    <a:pt x="1334165" y="870034"/>
                  </a:lnTo>
                  <a:lnTo>
                    <a:pt x="1334237" y="869093"/>
                  </a:lnTo>
                  <a:cubicBezTo>
                    <a:pt x="1334753" y="869093"/>
                    <a:pt x="1335268" y="869093"/>
                    <a:pt x="1335800" y="869093"/>
                  </a:cubicBezTo>
                  <a:cubicBezTo>
                    <a:pt x="1335884" y="871559"/>
                    <a:pt x="1335944" y="874025"/>
                    <a:pt x="1335995" y="876491"/>
                  </a:cubicBezTo>
                  <a:cubicBezTo>
                    <a:pt x="1336030" y="877865"/>
                    <a:pt x="1336067" y="879238"/>
                    <a:pt x="1336105" y="880653"/>
                  </a:cubicBezTo>
                  <a:cubicBezTo>
                    <a:pt x="1335800" y="884594"/>
                    <a:pt x="1335800" y="884594"/>
                    <a:pt x="1334294" y="887271"/>
                  </a:cubicBezTo>
                  <a:cubicBezTo>
                    <a:pt x="1332567" y="890428"/>
                    <a:pt x="1331982" y="892964"/>
                    <a:pt x="1331455" y="896440"/>
                  </a:cubicBezTo>
                  <a:cubicBezTo>
                    <a:pt x="1331267" y="897605"/>
                    <a:pt x="1331080" y="898769"/>
                    <a:pt x="1330887" y="899969"/>
                  </a:cubicBezTo>
                  <a:cubicBezTo>
                    <a:pt x="1330704" y="901174"/>
                    <a:pt x="1330521" y="902378"/>
                    <a:pt x="1330332" y="903618"/>
                  </a:cubicBezTo>
                  <a:cubicBezTo>
                    <a:pt x="1329968" y="906013"/>
                    <a:pt x="1329594" y="908405"/>
                    <a:pt x="1329209" y="910797"/>
                  </a:cubicBezTo>
                  <a:cubicBezTo>
                    <a:pt x="1329049" y="911853"/>
                    <a:pt x="1328889" y="912910"/>
                    <a:pt x="1328724" y="913998"/>
                  </a:cubicBezTo>
                  <a:cubicBezTo>
                    <a:pt x="1327933" y="917233"/>
                    <a:pt x="1326525" y="919703"/>
                    <a:pt x="1324865" y="922643"/>
                  </a:cubicBezTo>
                  <a:cubicBezTo>
                    <a:pt x="1323924" y="927743"/>
                    <a:pt x="1323282" y="932845"/>
                    <a:pt x="1322619" y="937979"/>
                  </a:cubicBezTo>
                  <a:lnTo>
                    <a:pt x="1318744" y="944961"/>
                  </a:lnTo>
                  <a:lnTo>
                    <a:pt x="1318544" y="946213"/>
                  </a:lnTo>
                  <a:cubicBezTo>
                    <a:pt x="1318360" y="949234"/>
                    <a:pt x="1318271" y="952260"/>
                    <a:pt x="1318251" y="955285"/>
                  </a:cubicBezTo>
                  <a:cubicBezTo>
                    <a:pt x="1318218" y="957637"/>
                    <a:pt x="1318218" y="957637"/>
                    <a:pt x="1318184" y="960036"/>
                  </a:cubicBezTo>
                  <a:cubicBezTo>
                    <a:pt x="1318624" y="965530"/>
                    <a:pt x="1319569" y="969724"/>
                    <a:pt x="1324024" y="973660"/>
                  </a:cubicBezTo>
                  <a:cubicBezTo>
                    <a:pt x="1327197" y="976583"/>
                    <a:pt x="1327950" y="979494"/>
                    <a:pt x="1329284" y="983382"/>
                  </a:cubicBezTo>
                  <a:cubicBezTo>
                    <a:pt x="1331875" y="990106"/>
                    <a:pt x="1334445" y="993582"/>
                    <a:pt x="1340414" y="998354"/>
                  </a:cubicBezTo>
                  <a:cubicBezTo>
                    <a:pt x="1342397" y="1000564"/>
                    <a:pt x="1344347" y="1002798"/>
                    <a:pt x="1346272" y="1005048"/>
                  </a:cubicBezTo>
                  <a:cubicBezTo>
                    <a:pt x="1360055" y="1020713"/>
                    <a:pt x="1376247" y="1031879"/>
                    <a:pt x="1394716" y="1042740"/>
                  </a:cubicBezTo>
                  <a:cubicBezTo>
                    <a:pt x="1397172" y="1044228"/>
                    <a:pt x="1399581" y="1045779"/>
                    <a:pt x="1401953" y="1047374"/>
                  </a:cubicBezTo>
                  <a:cubicBezTo>
                    <a:pt x="1410065" y="1052802"/>
                    <a:pt x="1417529" y="1056366"/>
                    <a:pt x="1427197" y="1059061"/>
                  </a:cubicBezTo>
                  <a:cubicBezTo>
                    <a:pt x="1431243" y="1060437"/>
                    <a:pt x="1434061" y="1061979"/>
                    <a:pt x="1437265" y="1064588"/>
                  </a:cubicBezTo>
                  <a:cubicBezTo>
                    <a:pt x="1437265" y="1065518"/>
                    <a:pt x="1437265" y="1066448"/>
                    <a:pt x="1437265" y="1067406"/>
                  </a:cubicBezTo>
                  <a:cubicBezTo>
                    <a:pt x="1439053" y="1067624"/>
                    <a:pt x="1439053" y="1067624"/>
                    <a:pt x="1440878" y="1067847"/>
                  </a:cubicBezTo>
                  <a:cubicBezTo>
                    <a:pt x="1445076" y="1068815"/>
                    <a:pt x="1445076" y="1068815"/>
                    <a:pt x="1447175" y="1070753"/>
                  </a:cubicBezTo>
                  <a:cubicBezTo>
                    <a:pt x="1450417" y="1073622"/>
                    <a:pt x="1453781" y="1075060"/>
                    <a:pt x="1457866" y="1076830"/>
                  </a:cubicBezTo>
                  <a:cubicBezTo>
                    <a:pt x="1459274" y="1077446"/>
                    <a:pt x="1460681" y="1078062"/>
                    <a:pt x="1462132" y="1078696"/>
                  </a:cubicBezTo>
                  <a:cubicBezTo>
                    <a:pt x="1463204" y="1079156"/>
                    <a:pt x="1464278" y="1079616"/>
                    <a:pt x="1465383" y="1080089"/>
                  </a:cubicBezTo>
                  <a:cubicBezTo>
                    <a:pt x="1465383" y="1081019"/>
                    <a:pt x="1465383" y="1081949"/>
                    <a:pt x="1465383" y="1082908"/>
                  </a:cubicBezTo>
                  <a:cubicBezTo>
                    <a:pt x="1466497" y="1083260"/>
                    <a:pt x="1467611" y="1083612"/>
                    <a:pt x="1468758" y="1083975"/>
                  </a:cubicBezTo>
                  <a:cubicBezTo>
                    <a:pt x="1473648" y="1085905"/>
                    <a:pt x="1477426" y="1088296"/>
                    <a:pt x="1481688" y="1091187"/>
                  </a:cubicBezTo>
                  <a:cubicBezTo>
                    <a:pt x="1483204" y="1092193"/>
                    <a:pt x="1484721" y="1093200"/>
                    <a:pt x="1486283" y="1094236"/>
                  </a:cubicBezTo>
                  <a:cubicBezTo>
                    <a:pt x="1489170" y="1096185"/>
                    <a:pt x="1492029" y="1098166"/>
                    <a:pt x="1494869" y="1100171"/>
                  </a:cubicBezTo>
                  <a:cubicBezTo>
                    <a:pt x="1510181" y="1107906"/>
                    <a:pt x="1527080" y="1109898"/>
                    <a:pt x="1544335" y="1109518"/>
                  </a:cubicBezTo>
                  <a:cubicBezTo>
                    <a:pt x="1579932" y="1108798"/>
                    <a:pt x="1579932" y="1108798"/>
                    <a:pt x="1593477" y="1119900"/>
                  </a:cubicBezTo>
                  <a:cubicBezTo>
                    <a:pt x="1600636" y="1127255"/>
                    <a:pt x="1604889" y="1135120"/>
                    <a:pt x="1605975" y="1144913"/>
                  </a:cubicBezTo>
                  <a:cubicBezTo>
                    <a:pt x="1607006" y="1144913"/>
                    <a:pt x="1608036" y="1144913"/>
                    <a:pt x="1609099" y="1144913"/>
                  </a:cubicBezTo>
                  <a:cubicBezTo>
                    <a:pt x="1609227" y="1148907"/>
                    <a:pt x="1609319" y="1152897"/>
                    <a:pt x="1609392" y="1156892"/>
                  </a:cubicBezTo>
                  <a:cubicBezTo>
                    <a:pt x="1609451" y="1158565"/>
                    <a:pt x="1609451" y="1158565"/>
                    <a:pt x="1609511" y="1160272"/>
                  </a:cubicBezTo>
                  <a:cubicBezTo>
                    <a:pt x="1609621" y="1168378"/>
                    <a:pt x="1607970" y="1174108"/>
                    <a:pt x="1604412" y="1181553"/>
                  </a:cubicBezTo>
                  <a:cubicBezTo>
                    <a:pt x="1603354" y="1184367"/>
                    <a:pt x="1602306" y="1187183"/>
                    <a:pt x="1601288" y="1190009"/>
                  </a:cubicBezTo>
                  <a:cubicBezTo>
                    <a:pt x="1600257" y="1190009"/>
                    <a:pt x="1599226" y="1190009"/>
                    <a:pt x="1598164" y="1190009"/>
                  </a:cubicBezTo>
                  <a:cubicBezTo>
                    <a:pt x="1597842" y="1190910"/>
                    <a:pt x="1597520" y="1191810"/>
                    <a:pt x="1597187" y="1192739"/>
                  </a:cubicBezTo>
                  <a:cubicBezTo>
                    <a:pt x="1596479" y="1193698"/>
                    <a:pt x="1595770" y="1194657"/>
                    <a:pt x="1595040" y="1195645"/>
                  </a:cubicBezTo>
                  <a:cubicBezTo>
                    <a:pt x="1591916" y="1196115"/>
                    <a:pt x="1588791" y="1196585"/>
                    <a:pt x="1585667" y="1197055"/>
                  </a:cubicBezTo>
                  <a:cubicBezTo>
                    <a:pt x="1583871" y="1199826"/>
                    <a:pt x="1583871" y="1199826"/>
                    <a:pt x="1582543" y="1202691"/>
                  </a:cubicBezTo>
                  <a:cubicBezTo>
                    <a:pt x="1575997" y="1204710"/>
                    <a:pt x="1569266" y="1204360"/>
                    <a:pt x="1562431" y="1204365"/>
                  </a:cubicBezTo>
                  <a:cubicBezTo>
                    <a:pt x="1561196" y="1204382"/>
                    <a:pt x="1559962" y="1204399"/>
                    <a:pt x="1558690" y="1204417"/>
                  </a:cubicBezTo>
                  <a:cubicBezTo>
                    <a:pt x="1543339" y="1204452"/>
                    <a:pt x="1531981" y="1199267"/>
                    <a:pt x="1521102" y="1189585"/>
                  </a:cubicBezTo>
                  <a:cubicBezTo>
                    <a:pt x="1515403" y="1183953"/>
                    <a:pt x="1510116" y="1178123"/>
                    <a:pt x="1505022" y="1172041"/>
                  </a:cubicBezTo>
                  <a:cubicBezTo>
                    <a:pt x="1493200" y="1158177"/>
                    <a:pt x="1475492" y="1147115"/>
                    <a:pt x="1457573" y="1140686"/>
                  </a:cubicBezTo>
                  <a:cubicBezTo>
                    <a:pt x="1457573" y="1139755"/>
                    <a:pt x="1457573" y="1138826"/>
                    <a:pt x="1457573" y="1137867"/>
                  </a:cubicBezTo>
                  <a:cubicBezTo>
                    <a:pt x="1456059" y="1137693"/>
                    <a:pt x="1454544" y="1137518"/>
                    <a:pt x="1452985" y="1137339"/>
                  </a:cubicBezTo>
                  <a:cubicBezTo>
                    <a:pt x="1451406" y="1137048"/>
                    <a:pt x="1449827" y="1136758"/>
                    <a:pt x="1448200" y="1136458"/>
                  </a:cubicBezTo>
                  <a:cubicBezTo>
                    <a:pt x="1447685" y="1135528"/>
                    <a:pt x="1447169" y="1134598"/>
                    <a:pt x="1446638" y="1133640"/>
                  </a:cubicBezTo>
                  <a:cubicBezTo>
                    <a:pt x="1444091" y="1132586"/>
                    <a:pt x="1441535" y="1131550"/>
                    <a:pt x="1438937" y="1130601"/>
                  </a:cubicBezTo>
                  <a:cubicBezTo>
                    <a:pt x="1435668" y="1129399"/>
                    <a:pt x="1432469" y="1128095"/>
                    <a:pt x="1429260" y="1126770"/>
                  </a:cubicBezTo>
                  <a:cubicBezTo>
                    <a:pt x="1423389" y="1124389"/>
                    <a:pt x="1417431" y="1122349"/>
                    <a:pt x="1411393" y="1120340"/>
                  </a:cubicBezTo>
                  <a:cubicBezTo>
                    <a:pt x="1404143" y="1117867"/>
                    <a:pt x="1397842" y="1115090"/>
                    <a:pt x="1391427" y="1111191"/>
                  </a:cubicBezTo>
                  <a:cubicBezTo>
                    <a:pt x="1388139" y="1109274"/>
                    <a:pt x="1384723" y="1108010"/>
                    <a:pt x="1381029" y="1106865"/>
                  </a:cubicBezTo>
                  <a:cubicBezTo>
                    <a:pt x="1381029" y="1105934"/>
                    <a:pt x="1381029" y="1105004"/>
                    <a:pt x="1381029" y="1104046"/>
                  </a:cubicBezTo>
                  <a:cubicBezTo>
                    <a:pt x="1379773" y="1103901"/>
                    <a:pt x="1378516" y="1103755"/>
                    <a:pt x="1377221" y="1103605"/>
                  </a:cubicBezTo>
                  <a:cubicBezTo>
                    <a:pt x="1370425" y="1102422"/>
                    <a:pt x="1364120" y="1100465"/>
                    <a:pt x="1357597" y="1098409"/>
                  </a:cubicBezTo>
                  <a:cubicBezTo>
                    <a:pt x="1355761" y="1097857"/>
                    <a:pt x="1353924" y="1097304"/>
                    <a:pt x="1352032" y="1096736"/>
                  </a:cubicBezTo>
                  <a:cubicBezTo>
                    <a:pt x="1350776" y="1096358"/>
                    <a:pt x="1349519" y="1095980"/>
                    <a:pt x="1348225" y="1095590"/>
                  </a:cubicBezTo>
                  <a:cubicBezTo>
                    <a:pt x="1348225" y="1094661"/>
                    <a:pt x="1348225" y="1093730"/>
                    <a:pt x="1348225" y="1092772"/>
                  </a:cubicBezTo>
                  <a:cubicBezTo>
                    <a:pt x="1344616" y="1092307"/>
                    <a:pt x="1341007" y="1091842"/>
                    <a:pt x="1337290" y="1091363"/>
                  </a:cubicBezTo>
                  <a:cubicBezTo>
                    <a:pt x="1337290" y="1090433"/>
                    <a:pt x="1337290" y="1089503"/>
                    <a:pt x="1337290" y="1088544"/>
                  </a:cubicBezTo>
                  <a:cubicBezTo>
                    <a:pt x="1334438" y="1088327"/>
                    <a:pt x="1334438" y="1088327"/>
                    <a:pt x="1331529" y="1088104"/>
                  </a:cubicBezTo>
                  <a:lnTo>
                    <a:pt x="1323297" y="1086611"/>
                  </a:lnTo>
                  <a:lnTo>
                    <a:pt x="1323297" y="1087618"/>
                  </a:lnTo>
                  <a:cubicBezTo>
                    <a:pt x="1322139" y="1087517"/>
                    <a:pt x="1320982" y="1087415"/>
                    <a:pt x="1319789" y="1087310"/>
                  </a:cubicBezTo>
                  <a:cubicBezTo>
                    <a:pt x="1300429" y="1085771"/>
                    <a:pt x="1281330" y="1084680"/>
                    <a:pt x="1262375" y="1089028"/>
                  </a:cubicBezTo>
                  <a:lnTo>
                    <a:pt x="1258728" y="1088205"/>
                  </a:lnTo>
                  <a:lnTo>
                    <a:pt x="1246964" y="1091489"/>
                  </a:lnTo>
                  <a:cubicBezTo>
                    <a:pt x="1237239" y="1097222"/>
                    <a:pt x="1228703" y="1103434"/>
                    <a:pt x="1223224" y="1112865"/>
                  </a:cubicBezTo>
                  <a:cubicBezTo>
                    <a:pt x="1220867" y="1116643"/>
                    <a:pt x="1217262" y="1119317"/>
                    <a:pt x="1213883" y="1122366"/>
                  </a:cubicBezTo>
                  <a:cubicBezTo>
                    <a:pt x="1213428" y="1123469"/>
                    <a:pt x="1212973" y="1124572"/>
                    <a:pt x="1212505" y="1125708"/>
                  </a:cubicBezTo>
                  <a:cubicBezTo>
                    <a:pt x="1210449" y="1130067"/>
                    <a:pt x="1207984" y="1132315"/>
                    <a:pt x="1204180" y="1135561"/>
                  </a:cubicBezTo>
                  <a:cubicBezTo>
                    <a:pt x="1202879" y="1136695"/>
                    <a:pt x="1201578" y="1137829"/>
                    <a:pt x="1200238" y="1138999"/>
                  </a:cubicBezTo>
                  <a:cubicBezTo>
                    <a:pt x="1197504" y="1141343"/>
                    <a:pt x="1194765" y="1143684"/>
                    <a:pt x="1192025" y="1146022"/>
                  </a:cubicBezTo>
                  <a:cubicBezTo>
                    <a:pt x="1181899" y="1154869"/>
                    <a:pt x="1174983" y="1161763"/>
                    <a:pt x="1173945" y="1174749"/>
                  </a:cubicBezTo>
                  <a:cubicBezTo>
                    <a:pt x="1173902" y="1177369"/>
                    <a:pt x="1173905" y="1179990"/>
                    <a:pt x="1173950" y="1182610"/>
                  </a:cubicBezTo>
                  <a:cubicBezTo>
                    <a:pt x="1173963" y="1183981"/>
                    <a:pt x="1173975" y="1185352"/>
                    <a:pt x="1173989" y="1186765"/>
                  </a:cubicBezTo>
                  <a:cubicBezTo>
                    <a:pt x="1174321" y="1197573"/>
                    <a:pt x="1176809" y="1205883"/>
                    <a:pt x="1182640" y="1215374"/>
                  </a:cubicBezTo>
                  <a:cubicBezTo>
                    <a:pt x="1183703" y="1217509"/>
                    <a:pt x="1184746" y="1219652"/>
                    <a:pt x="1185764" y="1221804"/>
                  </a:cubicBezTo>
                  <a:cubicBezTo>
                    <a:pt x="1186271" y="1222812"/>
                    <a:pt x="1186779" y="1223821"/>
                    <a:pt x="1187301" y="1224859"/>
                  </a:cubicBezTo>
                  <a:cubicBezTo>
                    <a:pt x="1188431" y="1227137"/>
                    <a:pt x="1189517" y="1229433"/>
                    <a:pt x="1190573" y="1231740"/>
                  </a:cubicBezTo>
                  <a:cubicBezTo>
                    <a:pt x="1194650" y="1240409"/>
                    <a:pt x="1199581" y="1247688"/>
                    <a:pt x="1205925" y="1255163"/>
                  </a:cubicBezTo>
                  <a:cubicBezTo>
                    <a:pt x="1208103" y="1257757"/>
                    <a:pt x="1210188" y="1260417"/>
                    <a:pt x="1212174" y="1263134"/>
                  </a:cubicBezTo>
                  <a:cubicBezTo>
                    <a:pt x="1218757" y="1272043"/>
                    <a:pt x="1225157" y="1277324"/>
                    <a:pt x="1235556" y="1282538"/>
                  </a:cubicBezTo>
                  <a:cubicBezTo>
                    <a:pt x="1236652" y="1283161"/>
                    <a:pt x="1237747" y="1283784"/>
                    <a:pt x="1238876" y="1284426"/>
                  </a:cubicBezTo>
                  <a:cubicBezTo>
                    <a:pt x="1238876" y="1285356"/>
                    <a:pt x="1238876" y="1286287"/>
                    <a:pt x="1238876" y="1287245"/>
                  </a:cubicBezTo>
                  <a:cubicBezTo>
                    <a:pt x="1239988" y="1287383"/>
                    <a:pt x="1241099" y="1287521"/>
                    <a:pt x="1242245" y="1287663"/>
                  </a:cubicBezTo>
                  <a:cubicBezTo>
                    <a:pt x="1253043" y="1290072"/>
                    <a:pt x="1264916" y="1297690"/>
                    <a:pt x="1271681" y="1305565"/>
                  </a:cubicBezTo>
                  <a:lnTo>
                    <a:pt x="1271742" y="1306172"/>
                  </a:lnTo>
                  <a:lnTo>
                    <a:pt x="1278525" y="1315767"/>
                  </a:lnTo>
                  <a:cubicBezTo>
                    <a:pt x="1279797" y="1319398"/>
                    <a:pt x="1280365" y="1323346"/>
                    <a:pt x="1281097" y="1327286"/>
                  </a:cubicBezTo>
                  <a:cubicBezTo>
                    <a:pt x="1281916" y="1337121"/>
                    <a:pt x="1281807" y="1346176"/>
                    <a:pt x="1277973" y="1355470"/>
                  </a:cubicBezTo>
                  <a:lnTo>
                    <a:pt x="1277460" y="1347025"/>
                  </a:lnTo>
                  <a:lnTo>
                    <a:pt x="1273531" y="1357991"/>
                  </a:lnTo>
                  <a:cubicBezTo>
                    <a:pt x="1270940" y="1361892"/>
                    <a:pt x="1267521" y="1365435"/>
                    <a:pt x="1263870" y="1368980"/>
                  </a:cubicBezTo>
                  <a:cubicBezTo>
                    <a:pt x="1258351" y="1372929"/>
                    <a:pt x="1253850" y="1376026"/>
                    <a:pt x="1246686" y="1376026"/>
                  </a:cubicBezTo>
                  <a:cubicBezTo>
                    <a:pt x="1246686" y="1376956"/>
                    <a:pt x="1246686" y="1377886"/>
                    <a:pt x="1246686" y="1378844"/>
                  </a:cubicBezTo>
                  <a:cubicBezTo>
                    <a:pt x="1241676" y="1379009"/>
                    <a:pt x="1236665" y="1379109"/>
                    <a:pt x="1231651" y="1379196"/>
                  </a:cubicBezTo>
                  <a:cubicBezTo>
                    <a:pt x="1230240" y="1379244"/>
                    <a:pt x="1228828" y="1379291"/>
                    <a:pt x="1227373" y="1379340"/>
                  </a:cubicBezTo>
                  <a:cubicBezTo>
                    <a:pt x="1218287" y="1379460"/>
                    <a:pt x="1213363" y="1378568"/>
                    <a:pt x="1206071" y="1373207"/>
                  </a:cubicBezTo>
                  <a:cubicBezTo>
                    <a:pt x="1204751" y="1372742"/>
                    <a:pt x="1203430" y="1372277"/>
                    <a:pt x="1202069" y="1371798"/>
                  </a:cubicBezTo>
                  <a:cubicBezTo>
                    <a:pt x="1193777" y="1368730"/>
                    <a:pt x="1188124" y="1363294"/>
                    <a:pt x="1184104" y="1356176"/>
                  </a:cubicBezTo>
                  <a:cubicBezTo>
                    <a:pt x="1180965" y="1349259"/>
                    <a:pt x="1178852" y="1342590"/>
                    <a:pt x="1177270" y="1335247"/>
                  </a:cubicBezTo>
                  <a:cubicBezTo>
                    <a:pt x="1175525" y="1327352"/>
                    <a:pt x="1172911" y="1320677"/>
                    <a:pt x="1169002" y="1313464"/>
                  </a:cubicBezTo>
                  <a:cubicBezTo>
                    <a:pt x="1166989" y="1309737"/>
                    <a:pt x="1165215" y="1305976"/>
                    <a:pt x="1163504" y="1302130"/>
                  </a:cubicBezTo>
                  <a:cubicBezTo>
                    <a:pt x="1163013" y="1301027"/>
                    <a:pt x="1162521" y="1299924"/>
                    <a:pt x="1162015" y="1298788"/>
                  </a:cubicBezTo>
                  <a:cubicBezTo>
                    <a:pt x="1160770" y="1295700"/>
                    <a:pt x="1160770" y="1295700"/>
                    <a:pt x="1160111" y="1292656"/>
                  </a:cubicBezTo>
                  <a:cubicBezTo>
                    <a:pt x="1159345" y="1289507"/>
                    <a:pt x="1159345" y="1289507"/>
                    <a:pt x="1154522" y="1287245"/>
                  </a:cubicBezTo>
                  <a:cubicBezTo>
                    <a:pt x="1153465" y="1284902"/>
                    <a:pt x="1152426" y="1282552"/>
                    <a:pt x="1151398" y="1280199"/>
                  </a:cubicBezTo>
                  <a:cubicBezTo>
                    <a:pt x="1149056" y="1276983"/>
                    <a:pt x="1146686" y="1273874"/>
                    <a:pt x="1144173" y="1270774"/>
                  </a:cubicBezTo>
                  <a:cubicBezTo>
                    <a:pt x="1143477" y="1269912"/>
                    <a:pt x="1142782" y="1269049"/>
                    <a:pt x="1142065" y="1268160"/>
                  </a:cubicBezTo>
                  <a:cubicBezTo>
                    <a:pt x="1139981" y="1265589"/>
                    <a:pt x="1137880" y="1263029"/>
                    <a:pt x="1135776" y="1260470"/>
                  </a:cubicBezTo>
                  <a:cubicBezTo>
                    <a:pt x="1134647" y="1259076"/>
                    <a:pt x="1133517" y="1257683"/>
                    <a:pt x="1132353" y="1256247"/>
                  </a:cubicBezTo>
                  <a:cubicBezTo>
                    <a:pt x="1126291" y="1249045"/>
                    <a:pt x="1121408" y="1244606"/>
                    <a:pt x="1112344" y="1240741"/>
                  </a:cubicBezTo>
                  <a:cubicBezTo>
                    <a:pt x="1110285" y="1239698"/>
                    <a:pt x="1108234" y="1238642"/>
                    <a:pt x="1106193" y="1237570"/>
                  </a:cubicBezTo>
                  <a:cubicBezTo>
                    <a:pt x="1104615" y="1236756"/>
                    <a:pt x="1103036" y="1235942"/>
                    <a:pt x="1101409" y="1235104"/>
                  </a:cubicBezTo>
                  <a:cubicBezTo>
                    <a:pt x="1101409" y="1233708"/>
                    <a:pt x="1101409" y="1232313"/>
                    <a:pt x="1101409" y="1230876"/>
                  </a:cubicBezTo>
                  <a:cubicBezTo>
                    <a:pt x="1089553" y="1230876"/>
                    <a:pt x="1077697" y="1230876"/>
                    <a:pt x="1065480" y="1230876"/>
                  </a:cubicBezTo>
                  <a:cubicBezTo>
                    <a:pt x="1064965" y="1232271"/>
                    <a:pt x="1064450" y="1233666"/>
                    <a:pt x="1063919" y="1235104"/>
                  </a:cubicBezTo>
                  <a:cubicBezTo>
                    <a:pt x="1062372" y="1235104"/>
                    <a:pt x="1060826" y="1235104"/>
                    <a:pt x="1059232" y="1235104"/>
                  </a:cubicBezTo>
                  <a:cubicBezTo>
                    <a:pt x="1059232" y="1236033"/>
                    <a:pt x="1059232" y="1236964"/>
                    <a:pt x="1059232" y="1237922"/>
                  </a:cubicBezTo>
                  <a:cubicBezTo>
                    <a:pt x="1052964" y="1240850"/>
                    <a:pt x="1046842" y="1243613"/>
                    <a:pt x="1040194" y="1245761"/>
                  </a:cubicBezTo>
                  <a:cubicBezTo>
                    <a:pt x="1036552" y="1246941"/>
                    <a:pt x="1033682" y="1248088"/>
                    <a:pt x="1030333" y="1249901"/>
                  </a:cubicBezTo>
                  <a:cubicBezTo>
                    <a:pt x="1025129" y="1252717"/>
                    <a:pt x="1019615" y="1254371"/>
                    <a:pt x="1013931" y="1256242"/>
                  </a:cubicBezTo>
                  <a:cubicBezTo>
                    <a:pt x="1009870" y="1257688"/>
                    <a:pt x="1008221" y="1258277"/>
                    <a:pt x="1005925" y="1261615"/>
                  </a:cubicBezTo>
                  <a:cubicBezTo>
                    <a:pt x="1005474" y="1262632"/>
                    <a:pt x="1005023" y="1263649"/>
                    <a:pt x="1004558" y="1264697"/>
                  </a:cubicBezTo>
                  <a:cubicBezTo>
                    <a:pt x="1004030" y="1265774"/>
                    <a:pt x="1003503" y="1266852"/>
                    <a:pt x="1002959" y="1267961"/>
                  </a:cubicBezTo>
                  <a:cubicBezTo>
                    <a:pt x="1001408" y="1271808"/>
                    <a:pt x="1000922" y="1274896"/>
                    <a:pt x="1000653" y="1278965"/>
                  </a:cubicBezTo>
                  <a:cubicBezTo>
                    <a:pt x="1000303" y="1284158"/>
                    <a:pt x="999467" y="1289055"/>
                    <a:pt x="998297" y="1294137"/>
                  </a:cubicBezTo>
                  <a:cubicBezTo>
                    <a:pt x="996204" y="1304306"/>
                    <a:pt x="996129" y="1314460"/>
                    <a:pt x="996162" y="1324765"/>
                  </a:cubicBezTo>
                  <a:cubicBezTo>
                    <a:pt x="996163" y="1325782"/>
                    <a:pt x="996163" y="1326799"/>
                    <a:pt x="996164" y="1327846"/>
                  </a:cubicBezTo>
                  <a:cubicBezTo>
                    <a:pt x="996263" y="1353742"/>
                    <a:pt x="1001081" y="1378188"/>
                    <a:pt x="1007780" y="1403329"/>
                  </a:cubicBezTo>
                  <a:cubicBezTo>
                    <a:pt x="1008163" y="1404772"/>
                    <a:pt x="1008546" y="1406215"/>
                    <a:pt x="1008940" y="1407701"/>
                  </a:cubicBezTo>
                  <a:cubicBezTo>
                    <a:pt x="1009316" y="1409030"/>
                    <a:pt x="1009693" y="1410360"/>
                    <a:pt x="1010080" y="1411730"/>
                  </a:cubicBezTo>
                  <a:cubicBezTo>
                    <a:pt x="1010409" y="1412900"/>
                    <a:pt x="1010737" y="1414071"/>
                    <a:pt x="1011075" y="1415277"/>
                  </a:cubicBezTo>
                  <a:cubicBezTo>
                    <a:pt x="1012501" y="1418612"/>
                    <a:pt x="1014136" y="1420168"/>
                    <a:pt x="1017055" y="1422530"/>
                  </a:cubicBezTo>
                  <a:cubicBezTo>
                    <a:pt x="1018770" y="1425162"/>
                    <a:pt x="1018770" y="1425162"/>
                    <a:pt x="1020277" y="1427991"/>
                  </a:cubicBezTo>
                  <a:cubicBezTo>
                    <a:pt x="1020778" y="1428917"/>
                    <a:pt x="1021280" y="1429844"/>
                    <a:pt x="1021796" y="1430798"/>
                  </a:cubicBezTo>
                  <a:cubicBezTo>
                    <a:pt x="1023303" y="1433804"/>
                    <a:pt x="1023303" y="1433804"/>
                    <a:pt x="1024579" y="1437239"/>
                  </a:cubicBezTo>
                  <a:cubicBezTo>
                    <a:pt x="1026915" y="1441803"/>
                    <a:pt x="1030098" y="1444534"/>
                    <a:pt x="1034043" y="1448072"/>
                  </a:cubicBezTo>
                  <a:lnTo>
                    <a:pt x="1043782" y="1464320"/>
                  </a:lnTo>
                  <a:lnTo>
                    <a:pt x="1050458" y="1472189"/>
                  </a:lnTo>
                  <a:cubicBezTo>
                    <a:pt x="1051737" y="1475181"/>
                    <a:pt x="1052277" y="1478513"/>
                    <a:pt x="1052926" y="1482370"/>
                  </a:cubicBezTo>
                  <a:cubicBezTo>
                    <a:pt x="1053325" y="1487224"/>
                    <a:pt x="1053364" y="1492038"/>
                    <a:pt x="1053316" y="1496903"/>
                  </a:cubicBezTo>
                  <a:cubicBezTo>
                    <a:pt x="1053328" y="1498142"/>
                    <a:pt x="1053340" y="1499382"/>
                    <a:pt x="1053352" y="1500660"/>
                  </a:cubicBezTo>
                  <a:cubicBezTo>
                    <a:pt x="1053348" y="1501856"/>
                    <a:pt x="1053344" y="1503052"/>
                    <a:pt x="1053341" y="1504285"/>
                  </a:cubicBezTo>
                  <a:cubicBezTo>
                    <a:pt x="1053336" y="1505355"/>
                    <a:pt x="1053333" y="1506426"/>
                    <a:pt x="1053329" y="1507529"/>
                  </a:cubicBezTo>
                  <a:cubicBezTo>
                    <a:pt x="1052876" y="1510927"/>
                    <a:pt x="1051672" y="1513237"/>
                    <a:pt x="1049801" y="1516192"/>
                  </a:cubicBezTo>
                  <a:lnTo>
                    <a:pt x="1047312" y="1516192"/>
                  </a:lnTo>
                  <a:lnTo>
                    <a:pt x="1043611" y="1522585"/>
                  </a:lnTo>
                  <a:cubicBezTo>
                    <a:pt x="1035301" y="1529631"/>
                    <a:pt x="1035301" y="1529631"/>
                    <a:pt x="1029552" y="1529631"/>
                  </a:cubicBezTo>
                  <a:cubicBezTo>
                    <a:pt x="1029294" y="1530503"/>
                    <a:pt x="1029036" y="1531375"/>
                    <a:pt x="1028771" y="1532273"/>
                  </a:cubicBezTo>
                  <a:cubicBezTo>
                    <a:pt x="1025795" y="1536076"/>
                    <a:pt x="1022970" y="1536733"/>
                    <a:pt x="1018013" y="1537640"/>
                  </a:cubicBezTo>
                  <a:cubicBezTo>
                    <a:pt x="1005216" y="1539038"/>
                    <a:pt x="992573" y="1539816"/>
                    <a:pt x="981126" y="1533859"/>
                  </a:cubicBezTo>
                  <a:cubicBezTo>
                    <a:pt x="979840" y="1533226"/>
                    <a:pt x="978553" y="1532594"/>
                    <a:pt x="977227" y="1531943"/>
                  </a:cubicBezTo>
                  <a:cubicBezTo>
                    <a:pt x="965286" y="1525877"/>
                    <a:pt x="959626" y="1520520"/>
                    <a:pt x="955376" y="1508751"/>
                  </a:cubicBezTo>
                  <a:cubicBezTo>
                    <a:pt x="954571" y="1505674"/>
                    <a:pt x="954571" y="1505674"/>
                    <a:pt x="954571" y="1500037"/>
                  </a:cubicBezTo>
                  <a:cubicBezTo>
                    <a:pt x="953539" y="1500037"/>
                    <a:pt x="952508" y="1500037"/>
                    <a:pt x="951446" y="1500037"/>
                  </a:cubicBezTo>
                  <a:cubicBezTo>
                    <a:pt x="951361" y="1495986"/>
                    <a:pt x="951299" y="1491935"/>
                    <a:pt x="951251" y="1487883"/>
                  </a:cubicBezTo>
                  <a:cubicBezTo>
                    <a:pt x="951224" y="1486744"/>
                    <a:pt x="951198" y="1485605"/>
                    <a:pt x="951171" y="1484431"/>
                  </a:cubicBezTo>
                  <a:cubicBezTo>
                    <a:pt x="951110" y="1477657"/>
                    <a:pt x="952093" y="1472660"/>
                    <a:pt x="954571" y="1466216"/>
                  </a:cubicBezTo>
                  <a:cubicBezTo>
                    <a:pt x="954867" y="1462451"/>
                    <a:pt x="955016" y="1458876"/>
                    <a:pt x="954961" y="1455118"/>
                  </a:cubicBezTo>
                  <a:cubicBezTo>
                    <a:pt x="954951" y="1454080"/>
                    <a:pt x="954942" y="1453042"/>
                    <a:pt x="954932" y="1451972"/>
                  </a:cubicBezTo>
                  <a:cubicBezTo>
                    <a:pt x="954606" y="1435235"/>
                    <a:pt x="952568" y="1419050"/>
                    <a:pt x="945099" y="1403594"/>
                  </a:cubicBezTo>
                  <a:cubicBezTo>
                    <a:pt x="943714" y="1400177"/>
                    <a:pt x="943046" y="1397128"/>
                    <a:pt x="942366" y="1393553"/>
                  </a:cubicBezTo>
                  <a:cubicBezTo>
                    <a:pt x="940837" y="1386134"/>
                    <a:pt x="937840" y="1379609"/>
                    <a:pt x="934451" y="1372734"/>
                  </a:cubicBezTo>
                  <a:cubicBezTo>
                    <a:pt x="932701" y="1368980"/>
                    <a:pt x="932701" y="1368980"/>
                    <a:pt x="931974" y="1365754"/>
                  </a:cubicBezTo>
                  <a:cubicBezTo>
                    <a:pt x="931699" y="1364958"/>
                    <a:pt x="931422" y="1364162"/>
                    <a:pt x="931138" y="1363343"/>
                  </a:cubicBezTo>
                  <a:cubicBezTo>
                    <a:pt x="929592" y="1362878"/>
                    <a:pt x="928045" y="1362413"/>
                    <a:pt x="926452" y="1361933"/>
                  </a:cubicBezTo>
                  <a:cubicBezTo>
                    <a:pt x="921830" y="1355261"/>
                    <a:pt x="920323" y="1348382"/>
                    <a:pt x="918641" y="1340795"/>
                  </a:cubicBezTo>
                  <a:cubicBezTo>
                    <a:pt x="918133" y="1338914"/>
                    <a:pt x="917616" y="1337034"/>
                    <a:pt x="917079" y="1335158"/>
                  </a:cubicBezTo>
                  <a:cubicBezTo>
                    <a:pt x="916048" y="1335158"/>
                    <a:pt x="915018" y="1335158"/>
                    <a:pt x="913955" y="1335158"/>
                  </a:cubicBezTo>
                  <a:cubicBezTo>
                    <a:pt x="913329" y="1333718"/>
                    <a:pt x="912703" y="1332277"/>
                    <a:pt x="912057" y="1330793"/>
                  </a:cubicBezTo>
                  <a:cubicBezTo>
                    <a:pt x="909497" y="1325424"/>
                    <a:pt x="906114" y="1320822"/>
                    <a:pt x="902142" y="1316222"/>
                  </a:cubicBezTo>
                  <a:cubicBezTo>
                    <a:pt x="901465" y="1315432"/>
                    <a:pt x="900788" y="1314642"/>
                    <a:pt x="900091" y="1313828"/>
                  </a:cubicBezTo>
                  <a:cubicBezTo>
                    <a:pt x="893705" y="1306618"/>
                    <a:pt x="886350" y="1301049"/>
                    <a:pt x="878026" y="1295700"/>
                  </a:cubicBezTo>
                  <a:cubicBezTo>
                    <a:pt x="876595" y="1294594"/>
                    <a:pt x="876595" y="1294594"/>
                    <a:pt x="875134" y="1293465"/>
                  </a:cubicBezTo>
                  <a:lnTo>
                    <a:pt x="869869" y="1291826"/>
                  </a:lnTo>
                  <a:lnTo>
                    <a:pt x="862384" y="1291327"/>
                  </a:lnTo>
                  <a:cubicBezTo>
                    <a:pt x="856441" y="1290067"/>
                    <a:pt x="850461" y="1290346"/>
                    <a:pt x="844390" y="1290461"/>
                  </a:cubicBezTo>
                  <a:cubicBezTo>
                    <a:pt x="842453" y="1290480"/>
                    <a:pt x="842453" y="1290480"/>
                    <a:pt x="840476" y="1290500"/>
                  </a:cubicBezTo>
                  <a:cubicBezTo>
                    <a:pt x="837322" y="1290532"/>
                    <a:pt x="834169" y="1290583"/>
                    <a:pt x="831015" y="1290637"/>
                  </a:cubicBezTo>
                  <a:cubicBezTo>
                    <a:pt x="831015" y="1291568"/>
                    <a:pt x="831015" y="1292498"/>
                    <a:pt x="831015" y="1293456"/>
                  </a:cubicBezTo>
                  <a:cubicBezTo>
                    <a:pt x="826519" y="1294808"/>
                    <a:pt x="822922" y="1295235"/>
                    <a:pt x="818225" y="1295570"/>
                  </a:cubicBezTo>
                  <a:lnTo>
                    <a:pt x="796774" y="1297671"/>
                  </a:lnTo>
                  <a:lnTo>
                    <a:pt x="783646" y="1305736"/>
                  </a:lnTo>
                  <a:cubicBezTo>
                    <a:pt x="776915" y="1312506"/>
                    <a:pt x="772692" y="1318638"/>
                    <a:pt x="769263" y="1327143"/>
                  </a:cubicBezTo>
                  <a:cubicBezTo>
                    <a:pt x="767116" y="1332340"/>
                    <a:pt x="767116" y="1332340"/>
                    <a:pt x="764797" y="1334360"/>
                  </a:cubicBezTo>
                  <a:lnTo>
                    <a:pt x="757875" y="1353503"/>
                  </a:lnTo>
                  <a:lnTo>
                    <a:pt x="755676" y="1367455"/>
                  </a:lnTo>
                  <a:lnTo>
                    <a:pt x="750558" y="1399690"/>
                  </a:lnTo>
                  <a:lnTo>
                    <a:pt x="753057" y="1411256"/>
                  </a:lnTo>
                  <a:cubicBezTo>
                    <a:pt x="753057" y="1413117"/>
                    <a:pt x="753057" y="1414976"/>
                    <a:pt x="753057" y="1416893"/>
                  </a:cubicBezTo>
                  <a:cubicBezTo>
                    <a:pt x="754087" y="1416893"/>
                    <a:pt x="755119" y="1416893"/>
                    <a:pt x="756181" y="1416893"/>
                  </a:cubicBezTo>
                  <a:cubicBezTo>
                    <a:pt x="759348" y="1422607"/>
                    <a:pt x="758101" y="1429902"/>
                    <a:pt x="758133" y="1436182"/>
                  </a:cubicBezTo>
                  <a:cubicBezTo>
                    <a:pt x="758182" y="1438458"/>
                    <a:pt x="758182" y="1438458"/>
                    <a:pt x="758231" y="1440781"/>
                  </a:cubicBezTo>
                  <a:cubicBezTo>
                    <a:pt x="758283" y="1450271"/>
                    <a:pt x="758174" y="1458360"/>
                    <a:pt x="750713" y="1465704"/>
                  </a:cubicBezTo>
                  <a:cubicBezTo>
                    <a:pt x="749940" y="1466193"/>
                    <a:pt x="749167" y="1466681"/>
                    <a:pt x="748370" y="1467185"/>
                  </a:cubicBezTo>
                  <a:cubicBezTo>
                    <a:pt x="743665" y="1470047"/>
                    <a:pt x="743665" y="1470047"/>
                    <a:pt x="741633" y="1473526"/>
                  </a:cubicBezTo>
                  <a:cubicBezTo>
                    <a:pt x="737793" y="1477248"/>
                    <a:pt x="733582" y="1477483"/>
                    <a:pt x="728154" y="1478343"/>
                  </a:cubicBezTo>
                  <a:cubicBezTo>
                    <a:pt x="724855" y="1478778"/>
                    <a:pt x="724855" y="1478778"/>
                    <a:pt x="721814" y="1480308"/>
                  </a:cubicBezTo>
                  <a:cubicBezTo>
                    <a:pt x="717303" y="1480523"/>
                    <a:pt x="712854" y="1480634"/>
                    <a:pt x="708341" y="1480661"/>
                  </a:cubicBezTo>
                  <a:cubicBezTo>
                    <a:pt x="707118" y="1480690"/>
                    <a:pt x="705896" y="1480719"/>
                    <a:pt x="704637" y="1480748"/>
                  </a:cubicBezTo>
                  <a:cubicBezTo>
                    <a:pt x="690446" y="1480834"/>
                    <a:pt x="679632" y="1476246"/>
                    <a:pt x="668507" y="1468418"/>
                  </a:cubicBezTo>
                  <a:cubicBezTo>
                    <a:pt x="662823" y="1463224"/>
                    <a:pt x="661745" y="1456995"/>
                    <a:pt x="660178" y="1450027"/>
                  </a:cubicBezTo>
                  <a:cubicBezTo>
                    <a:pt x="659725" y="1446589"/>
                    <a:pt x="659725" y="1446589"/>
                    <a:pt x="657767" y="1445078"/>
                  </a:cubicBezTo>
                  <a:cubicBezTo>
                    <a:pt x="656859" y="1433686"/>
                    <a:pt x="655965" y="1419178"/>
                    <a:pt x="663369" y="1409390"/>
                  </a:cubicBezTo>
                  <a:cubicBezTo>
                    <a:pt x="666078" y="1406601"/>
                    <a:pt x="668921" y="1404013"/>
                    <a:pt x="671826" y="1401392"/>
                  </a:cubicBezTo>
                  <a:cubicBezTo>
                    <a:pt x="675197" y="1397623"/>
                    <a:pt x="677125" y="1394916"/>
                    <a:pt x="678075" y="1390118"/>
                  </a:cubicBezTo>
                  <a:cubicBezTo>
                    <a:pt x="680137" y="1389653"/>
                    <a:pt x="682199" y="1389188"/>
                    <a:pt x="684323" y="1388709"/>
                  </a:cubicBezTo>
                  <a:cubicBezTo>
                    <a:pt x="684643" y="1387232"/>
                    <a:pt x="684964" y="1385755"/>
                    <a:pt x="685293" y="1384233"/>
                  </a:cubicBezTo>
                  <a:cubicBezTo>
                    <a:pt x="685718" y="1382290"/>
                    <a:pt x="686144" y="1380347"/>
                    <a:pt x="686569" y="1378404"/>
                  </a:cubicBezTo>
                  <a:cubicBezTo>
                    <a:pt x="686885" y="1376945"/>
                    <a:pt x="686885" y="1376945"/>
                    <a:pt x="687207" y="1375456"/>
                  </a:cubicBezTo>
                  <a:cubicBezTo>
                    <a:pt x="688115" y="1371315"/>
                    <a:pt x="689090" y="1367353"/>
                    <a:pt x="690572" y="1363343"/>
                  </a:cubicBezTo>
                  <a:cubicBezTo>
                    <a:pt x="692411" y="1350128"/>
                    <a:pt x="692374" y="1336672"/>
                    <a:pt x="692495" y="1323376"/>
                  </a:cubicBezTo>
                  <a:cubicBezTo>
                    <a:pt x="692524" y="1320586"/>
                    <a:pt x="692574" y="1317796"/>
                    <a:pt x="692625" y="1315006"/>
                  </a:cubicBezTo>
                  <a:cubicBezTo>
                    <a:pt x="692853" y="1300589"/>
                    <a:pt x="692853" y="1300589"/>
                    <a:pt x="687447" y="1287245"/>
                  </a:cubicBezTo>
                  <a:cubicBezTo>
                    <a:pt x="685901" y="1286780"/>
                    <a:pt x="684354" y="1286315"/>
                    <a:pt x="682761" y="1285835"/>
                  </a:cubicBezTo>
                  <a:cubicBezTo>
                    <a:pt x="680876" y="1283743"/>
                    <a:pt x="680876" y="1283743"/>
                    <a:pt x="678954" y="1281608"/>
                  </a:cubicBezTo>
                  <a:cubicBezTo>
                    <a:pt x="674854" y="1277278"/>
                    <a:pt x="674356" y="1276958"/>
                    <a:pt x="668702" y="1275971"/>
                  </a:cubicBezTo>
                  <a:cubicBezTo>
                    <a:pt x="666619" y="1274092"/>
                    <a:pt x="664536" y="1272213"/>
                    <a:pt x="662454" y="1270334"/>
                  </a:cubicBezTo>
                  <a:cubicBezTo>
                    <a:pt x="658341" y="1268566"/>
                    <a:pt x="658341" y="1268566"/>
                    <a:pt x="654643" y="1267516"/>
                  </a:cubicBezTo>
                  <a:cubicBezTo>
                    <a:pt x="654643" y="1266585"/>
                    <a:pt x="654643" y="1265656"/>
                    <a:pt x="654643" y="1264697"/>
                  </a:cubicBezTo>
                  <a:cubicBezTo>
                    <a:pt x="653161" y="1264581"/>
                    <a:pt x="651679" y="1264465"/>
                    <a:pt x="650152" y="1264345"/>
                  </a:cubicBezTo>
                  <a:cubicBezTo>
                    <a:pt x="642318" y="1263373"/>
                    <a:pt x="635297" y="1260465"/>
                    <a:pt x="628087" y="1257651"/>
                  </a:cubicBezTo>
                  <a:cubicBezTo>
                    <a:pt x="628087" y="1256721"/>
                    <a:pt x="628087" y="1255791"/>
                    <a:pt x="628087" y="1254833"/>
                  </a:cubicBezTo>
                  <a:cubicBezTo>
                    <a:pt x="627108" y="1254662"/>
                    <a:pt x="626129" y="1254491"/>
                    <a:pt x="625121" y="1254315"/>
                  </a:cubicBezTo>
                  <a:cubicBezTo>
                    <a:pt x="623845" y="1254079"/>
                    <a:pt x="622568" y="1253843"/>
                    <a:pt x="621252" y="1253600"/>
                  </a:cubicBezTo>
                  <a:cubicBezTo>
                    <a:pt x="619984" y="1253371"/>
                    <a:pt x="618716" y="1253142"/>
                    <a:pt x="617409" y="1252906"/>
                  </a:cubicBezTo>
                  <a:cubicBezTo>
                    <a:pt x="614027" y="1252014"/>
                    <a:pt x="614027" y="1252014"/>
                    <a:pt x="610904" y="1249196"/>
                  </a:cubicBezTo>
                  <a:cubicBezTo>
                    <a:pt x="592259" y="1248653"/>
                    <a:pt x="578635" y="1260869"/>
                    <a:pt x="565739" y="1271742"/>
                  </a:cubicBezTo>
                  <a:cubicBezTo>
                    <a:pt x="558808" y="1277725"/>
                    <a:pt x="552763" y="1283983"/>
                    <a:pt x="546924" y="1290829"/>
                  </a:cubicBezTo>
                  <a:cubicBezTo>
                    <a:pt x="545838" y="1292087"/>
                    <a:pt x="544753" y="1293346"/>
                    <a:pt x="543635" y="1294643"/>
                  </a:cubicBezTo>
                  <a:cubicBezTo>
                    <a:pt x="542650" y="1295813"/>
                    <a:pt x="541666" y="1296983"/>
                    <a:pt x="540651" y="1298188"/>
                  </a:cubicBezTo>
                  <a:cubicBezTo>
                    <a:pt x="537294" y="1301526"/>
                    <a:pt x="533978" y="1303337"/>
                    <a:pt x="529673" y="1305565"/>
                  </a:cubicBezTo>
                  <a:cubicBezTo>
                    <a:pt x="527599" y="1308478"/>
                    <a:pt x="527599" y="1308478"/>
                    <a:pt x="526549" y="1311202"/>
                  </a:cubicBezTo>
                  <a:cubicBezTo>
                    <a:pt x="525518" y="1311202"/>
                    <a:pt x="524487" y="1311202"/>
                    <a:pt x="523425" y="1311202"/>
                  </a:cubicBezTo>
                  <a:cubicBezTo>
                    <a:pt x="523360" y="1311986"/>
                    <a:pt x="523296" y="1312771"/>
                    <a:pt x="523230" y="1313580"/>
                  </a:cubicBezTo>
                  <a:cubicBezTo>
                    <a:pt x="521863" y="1316839"/>
                    <a:pt x="521863" y="1316839"/>
                    <a:pt x="517732" y="1319739"/>
                  </a:cubicBezTo>
                  <a:cubicBezTo>
                    <a:pt x="511111" y="1324565"/>
                    <a:pt x="506875" y="1330731"/>
                    <a:pt x="502239" y="1337096"/>
                  </a:cubicBezTo>
                  <a:cubicBezTo>
                    <a:pt x="500512" y="1339427"/>
                    <a:pt x="498785" y="1341757"/>
                    <a:pt x="497058" y="1344087"/>
                  </a:cubicBezTo>
                  <a:cubicBezTo>
                    <a:pt x="495827" y="1345760"/>
                    <a:pt x="495827" y="1345760"/>
                    <a:pt x="494572" y="1347465"/>
                  </a:cubicBezTo>
                  <a:cubicBezTo>
                    <a:pt x="492366" y="1350414"/>
                    <a:pt x="490094" y="1353304"/>
                    <a:pt x="487776" y="1356181"/>
                  </a:cubicBezTo>
                  <a:cubicBezTo>
                    <a:pt x="484805" y="1359972"/>
                    <a:pt x="482865" y="1363193"/>
                    <a:pt x="481248" y="1367571"/>
                  </a:cubicBezTo>
                  <a:cubicBezTo>
                    <a:pt x="480216" y="1367571"/>
                    <a:pt x="479186" y="1367571"/>
                    <a:pt x="478123" y="1367571"/>
                  </a:cubicBezTo>
                  <a:cubicBezTo>
                    <a:pt x="477963" y="1368558"/>
                    <a:pt x="477801" y="1369547"/>
                    <a:pt x="477635" y="1370565"/>
                  </a:cubicBezTo>
                  <a:cubicBezTo>
                    <a:pt x="475602" y="1378236"/>
                    <a:pt x="471952" y="1383371"/>
                    <a:pt x="465626" y="1388709"/>
                  </a:cubicBezTo>
                  <a:cubicBezTo>
                    <a:pt x="462272" y="1392748"/>
                    <a:pt x="462272" y="1392748"/>
                    <a:pt x="461233" y="1397340"/>
                  </a:cubicBezTo>
                  <a:cubicBezTo>
                    <a:pt x="460030" y="1401461"/>
                    <a:pt x="458298" y="1404501"/>
                    <a:pt x="455765" y="1408086"/>
                  </a:cubicBezTo>
                  <a:cubicBezTo>
                    <a:pt x="442829" y="1428603"/>
                    <a:pt x="441572" y="1454548"/>
                    <a:pt x="439070" y="1477490"/>
                  </a:cubicBezTo>
                  <a:cubicBezTo>
                    <a:pt x="437524" y="1477955"/>
                    <a:pt x="435977" y="1478420"/>
                    <a:pt x="434384" y="1478899"/>
                  </a:cubicBezTo>
                  <a:cubicBezTo>
                    <a:pt x="433739" y="1479916"/>
                    <a:pt x="433095" y="1480933"/>
                    <a:pt x="432431" y="1481982"/>
                  </a:cubicBezTo>
                  <a:cubicBezTo>
                    <a:pt x="428860" y="1487159"/>
                    <a:pt x="424291" y="1490903"/>
                    <a:pt x="418763" y="1494401"/>
                  </a:cubicBezTo>
                  <a:cubicBezTo>
                    <a:pt x="417731" y="1494401"/>
                    <a:pt x="416701" y="1494401"/>
                    <a:pt x="415639" y="1494401"/>
                  </a:cubicBezTo>
                  <a:cubicBezTo>
                    <a:pt x="415639" y="1495330"/>
                    <a:pt x="415639" y="1496260"/>
                    <a:pt x="415639" y="1497219"/>
                  </a:cubicBezTo>
                  <a:cubicBezTo>
                    <a:pt x="412546" y="1497684"/>
                    <a:pt x="409453" y="1498149"/>
                    <a:pt x="406265" y="1498628"/>
                  </a:cubicBezTo>
                  <a:cubicBezTo>
                    <a:pt x="406265" y="1499559"/>
                    <a:pt x="406265" y="1500488"/>
                    <a:pt x="406265" y="1501447"/>
                  </a:cubicBezTo>
                  <a:cubicBezTo>
                    <a:pt x="395955" y="1501447"/>
                    <a:pt x="385645" y="1501447"/>
                    <a:pt x="375023" y="1501447"/>
                  </a:cubicBezTo>
                  <a:lnTo>
                    <a:pt x="375023" y="1499438"/>
                  </a:lnTo>
                  <a:lnTo>
                    <a:pt x="374964" y="1499436"/>
                  </a:lnTo>
                  <a:lnTo>
                    <a:pt x="373179" y="1498628"/>
                  </a:lnTo>
                  <a:lnTo>
                    <a:pt x="365650" y="1498628"/>
                  </a:lnTo>
                  <a:lnTo>
                    <a:pt x="363134" y="1494087"/>
                  </a:lnTo>
                  <a:lnTo>
                    <a:pt x="362171" y="1493651"/>
                  </a:lnTo>
                  <a:cubicBezTo>
                    <a:pt x="361656" y="1492722"/>
                    <a:pt x="361140" y="1491791"/>
                    <a:pt x="360609" y="1490833"/>
                  </a:cubicBezTo>
                  <a:cubicBezTo>
                    <a:pt x="361640" y="1490833"/>
                    <a:pt x="362671" y="1490833"/>
                    <a:pt x="363733" y="1490833"/>
                  </a:cubicBezTo>
                  <a:lnTo>
                    <a:pt x="363733" y="1489980"/>
                  </a:lnTo>
                  <a:lnTo>
                    <a:pt x="348467" y="1481717"/>
                  </a:lnTo>
                  <a:lnTo>
                    <a:pt x="343872" y="1461078"/>
                  </a:lnTo>
                  <a:lnTo>
                    <a:pt x="343656" y="1463649"/>
                  </a:lnTo>
                  <a:cubicBezTo>
                    <a:pt x="343541" y="1465230"/>
                    <a:pt x="343541" y="1465230"/>
                    <a:pt x="343424" y="1466842"/>
                  </a:cubicBezTo>
                  <a:cubicBezTo>
                    <a:pt x="342908" y="1466842"/>
                    <a:pt x="342393" y="1466842"/>
                    <a:pt x="341861" y="1466842"/>
                  </a:cubicBezTo>
                  <a:cubicBezTo>
                    <a:pt x="340987" y="1449564"/>
                    <a:pt x="340999" y="1434331"/>
                    <a:pt x="354143" y="1420549"/>
                  </a:cubicBezTo>
                  <a:cubicBezTo>
                    <a:pt x="360765" y="1414011"/>
                    <a:pt x="367631" y="1407790"/>
                    <a:pt x="376229" y="1403427"/>
                  </a:cubicBezTo>
                  <a:lnTo>
                    <a:pt x="379491" y="1404408"/>
                  </a:lnTo>
                  <a:lnTo>
                    <a:pt x="379710" y="1404210"/>
                  </a:lnTo>
                  <a:cubicBezTo>
                    <a:pt x="380290" y="1402902"/>
                    <a:pt x="380290" y="1402902"/>
                    <a:pt x="380882" y="1401568"/>
                  </a:cubicBezTo>
                  <a:cubicBezTo>
                    <a:pt x="383675" y="1397284"/>
                    <a:pt x="387587" y="1395610"/>
                    <a:pt x="392207" y="1392936"/>
                  </a:cubicBezTo>
                  <a:lnTo>
                    <a:pt x="399542" y="1386774"/>
                  </a:lnTo>
                  <a:lnTo>
                    <a:pt x="405485" y="1378917"/>
                  </a:lnTo>
                  <a:cubicBezTo>
                    <a:pt x="408065" y="1375974"/>
                    <a:pt x="410029" y="1372774"/>
                    <a:pt x="412008" y="1369481"/>
                  </a:cubicBezTo>
                  <a:cubicBezTo>
                    <a:pt x="414759" y="1365166"/>
                    <a:pt x="417963" y="1361131"/>
                    <a:pt x="421130" y="1357057"/>
                  </a:cubicBezTo>
                  <a:cubicBezTo>
                    <a:pt x="423073" y="1354140"/>
                    <a:pt x="423985" y="1351767"/>
                    <a:pt x="424676" y="1348443"/>
                  </a:cubicBezTo>
                  <a:lnTo>
                    <a:pt x="427275" y="1348443"/>
                  </a:lnTo>
                  <a:lnTo>
                    <a:pt x="428135" y="1345727"/>
                  </a:lnTo>
                  <a:cubicBezTo>
                    <a:pt x="429370" y="1341828"/>
                    <a:pt x="430645" y="1338666"/>
                    <a:pt x="432822" y="1335158"/>
                  </a:cubicBezTo>
                  <a:cubicBezTo>
                    <a:pt x="433853" y="1335158"/>
                    <a:pt x="434884" y="1335158"/>
                    <a:pt x="435946" y="1335158"/>
                  </a:cubicBezTo>
                  <a:cubicBezTo>
                    <a:pt x="436526" y="1333385"/>
                    <a:pt x="437106" y="1331613"/>
                    <a:pt x="437704" y="1329786"/>
                  </a:cubicBezTo>
                  <a:cubicBezTo>
                    <a:pt x="440162" y="1323132"/>
                    <a:pt x="443602" y="1317301"/>
                    <a:pt x="447394" y="1311196"/>
                  </a:cubicBezTo>
                  <a:cubicBezTo>
                    <a:pt x="456493" y="1296485"/>
                    <a:pt x="463325" y="1281864"/>
                    <a:pt x="469287" y="1265964"/>
                  </a:cubicBezTo>
                  <a:cubicBezTo>
                    <a:pt x="474589" y="1252134"/>
                    <a:pt x="474589" y="1252134"/>
                    <a:pt x="478178" y="1246787"/>
                  </a:cubicBezTo>
                  <a:cubicBezTo>
                    <a:pt x="481232" y="1240246"/>
                    <a:pt x="480204" y="1232766"/>
                    <a:pt x="480179" y="1225768"/>
                  </a:cubicBezTo>
                  <a:cubicBezTo>
                    <a:pt x="480174" y="1222894"/>
                    <a:pt x="480210" y="1220023"/>
                    <a:pt x="480250" y="1217149"/>
                  </a:cubicBezTo>
                  <a:cubicBezTo>
                    <a:pt x="480260" y="1199291"/>
                    <a:pt x="476718" y="1187768"/>
                    <a:pt x="462972" y="1174827"/>
                  </a:cubicBezTo>
                  <a:cubicBezTo>
                    <a:pt x="461148" y="1173192"/>
                    <a:pt x="459312" y="1171566"/>
                    <a:pt x="457468" y="1169949"/>
                  </a:cubicBezTo>
                  <a:cubicBezTo>
                    <a:pt x="451412" y="1164522"/>
                    <a:pt x="445876" y="1158660"/>
                    <a:pt x="440657" y="1152570"/>
                  </a:cubicBezTo>
                  <a:cubicBezTo>
                    <a:pt x="430474" y="1140786"/>
                    <a:pt x="418230" y="1128998"/>
                    <a:pt x="403142" y="1122366"/>
                  </a:cubicBezTo>
                  <a:cubicBezTo>
                    <a:pt x="402626" y="1121436"/>
                    <a:pt x="402110" y="1120506"/>
                    <a:pt x="401579" y="1119547"/>
                  </a:cubicBezTo>
                  <a:cubicBezTo>
                    <a:pt x="390472" y="1115326"/>
                    <a:pt x="375918" y="1114217"/>
                    <a:pt x="364564" y="1118209"/>
                  </a:cubicBezTo>
                  <a:cubicBezTo>
                    <a:pt x="362278" y="1119428"/>
                    <a:pt x="360026" y="1120704"/>
                    <a:pt x="357822" y="1122041"/>
                  </a:cubicBezTo>
                  <a:cubicBezTo>
                    <a:pt x="354521" y="1123884"/>
                    <a:pt x="351862" y="1124582"/>
                    <a:pt x="348077" y="1125273"/>
                  </a:cubicBezTo>
                  <a:cubicBezTo>
                    <a:pt x="341765" y="1126696"/>
                    <a:pt x="339382" y="1128619"/>
                    <a:pt x="334408" y="1132230"/>
                  </a:cubicBezTo>
                  <a:cubicBezTo>
                    <a:pt x="332284" y="1132909"/>
                    <a:pt x="330131" y="1133519"/>
                    <a:pt x="327964" y="1134080"/>
                  </a:cubicBezTo>
                  <a:cubicBezTo>
                    <a:pt x="309975" y="1139067"/>
                    <a:pt x="290592" y="1152117"/>
                    <a:pt x="279734" y="1166051"/>
                  </a:cubicBezTo>
                  <a:cubicBezTo>
                    <a:pt x="277929" y="1169534"/>
                    <a:pt x="277929" y="1169534"/>
                    <a:pt x="276609" y="1173098"/>
                  </a:cubicBezTo>
                  <a:cubicBezTo>
                    <a:pt x="272413" y="1180804"/>
                    <a:pt x="269322" y="1184144"/>
                    <a:pt x="260988" y="1188599"/>
                  </a:cubicBezTo>
                  <a:cubicBezTo>
                    <a:pt x="259988" y="1189435"/>
                    <a:pt x="258987" y="1190271"/>
                    <a:pt x="257956" y="1191132"/>
                  </a:cubicBezTo>
                  <a:lnTo>
                    <a:pt x="243805" y="1196629"/>
                  </a:lnTo>
                  <a:lnTo>
                    <a:pt x="243805" y="1194236"/>
                  </a:lnTo>
                  <a:lnTo>
                    <a:pt x="240288" y="1194765"/>
                  </a:lnTo>
                  <a:lnTo>
                    <a:pt x="243374" y="1194765"/>
                  </a:lnTo>
                  <a:lnTo>
                    <a:pt x="243374" y="1196797"/>
                  </a:lnTo>
                  <a:lnTo>
                    <a:pt x="243805" y="1196629"/>
                  </a:lnTo>
                  <a:lnTo>
                    <a:pt x="243805" y="1197055"/>
                  </a:lnTo>
                  <a:lnTo>
                    <a:pt x="243374" y="1197055"/>
                  </a:lnTo>
                  <a:lnTo>
                    <a:pt x="243374" y="1197584"/>
                  </a:lnTo>
                  <a:lnTo>
                    <a:pt x="241319" y="1197595"/>
                  </a:lnTo>
                  <a:lnTo>
                    <a:pt x="238009" y="1198881"/>
                  </a:lnTo>
                  <a:cubicBezTo>
                    <a:pt x="231012" y="1199584"/>
                    <a:pt x="223620" y="1198927"/>
                    <a:pt x="215687" y="1198464"/>
                  </a:cubicBezTo>
                  <a:lnTo>
                    <a:pt x="215687" y="1197734"/>
                  </a:lnTo>
                  <a:lnTo>
                    <a:pt x="213936" y="1197744"/>
                  </a:lnTo>
                  <a:cubicBezTo>
                    <a:pt x="210570" y="1197584"/>
                    <a:pt x="210570" y="1197584"/>
                    <a:pt x="207446" y="1196175"/>
                  </a:cubicBezTo>
                  <a:lnTo>
                    <a:pt x="207822" y="1195610"/>
                  </a:lnTo>
                  <a:lnTo>
                    <a:pt x="184737" y="1180936"/>
                  </a:lnTo>
                  <a:cubicBezTo>
                    <a:pt x="180258" y="1172216"/>
                    <a:pt x="179226" y="1164355"/>
                    <a:pt x="179270" y="1154866"/>
                  </a:cubicBezTo>
                  <a:cubicBezTo>
                    <a:pt x="179233" y="1153260"/>
                    <a:pt x="179233" y="1153260"/>
                    <a:pt x="179194" y="1151621"/>
                  </a:cubicBezTo>
                  <a:cubicBezTo>
                    <a:pt x="179182" y="1139523"/>
                    <a:pt x="183658" y="1128837"/>
                    <a:pt x="193195" y="1120065"/>
                  </a:cubicBezTo>
                  <a:cubicBezTo>
                    <a:pt x="204265" y="1110959"/>
                    <a:pt x="215062" y="1110626"/>
                    <a:pt x="229551" y="1110299"/>
                  </a:cubicBezTo>
                  <a:cubicBezTo>
                    <a:pt x="240132" y="1110024"/>
                    <a:pt x="250506" y="1109652"/>
                    <a:pt x="260988" y="1108274"/>
                  </a:cubicBezTo>
                  <a:cubicBezTo>
                    <a:pt x="260988" y="1107344"/>
                    <a:pt x="260988" y="1106413"/>
                    <a:pt x="260988" y="1105455"/>
                  </a:cubicBezTo>
                  <a:cubicBezTo>
                    <a:pt x="261953" y="1105078"/>
                    <a:pt x="262918" y="1104699"/>
                    <a:pt x="263911" y="1104310"/>
                  </a:cubicBezTo>
                  <a:cubicBezTo>
                    <a:pt x="272903" y="1100557"/>
                    <a:pt x="279802" y="1096307"/>
                    <a:pt x="286995" y="1090185"/>
                  </a:cubicBezTo>
                  <a:cubicBezTo>
                    <a:pt x="290956" y="1086897"/>
                    <a:pt x="295114" y="1083955"/>
                    <a:pt x="299358" y="1080970"/>
                  </a:cubicBezTo>
                  <a:cubicBezTo>
                    <a:pt x="306613" y="1075692"/>
                    <a:pt x="312234" y="1070023"/>
                    <a:pt x="317762" y="1063272"/>
                  </a:cubicBezTo>
                  <a:cubicBezTo>
                    <a:pt x="320349" y="1060360"/>
                    <a:pt x="320349" y="1060360"/>
                    <a:pt x="325035" y="1057542"/>
                  </a:cubicBezTo>
                  <a:cubicBezTo>
                    <a:pt x="329912" y="1045734"/>
                    <a:pt x="327928" y="1035103"/>
                    <a:pt x="325328" y="1023104"/>
                  </a:cubicBezTo>
                  <a:cubicBezTo>
                    <a:pt x="325069" y="1021831"/>
                    <a:pt x="324811" y="1020559"/>
                    <a:pt x="324544" y="1019247"/>
                  </a:cubicBezTo>
                  <a:cubicBezTo>
                    <a:pt x="322876" y="1011407"/>
                    <a:pt x="320562" y="1004340"/>
                    <a:pt x="317225" y="996945"/>
                  </a:cubicBezTo>
                  <a:cubicBezTo>
                    <a:pt x="316619" y="995541"/>
                    <a:pt x="316013" y="994137"/>
                    <a:pt x="315388" y="992690"/>
                  </a:cubicBezTo>
                  <a:cubicBezTo>
                    <a:pt x="306307" y="972561"/>
                    <a:pt x="298931" y="959343"/>
                    <a:pt x="276232" y="950666"/>
                  </a:cubicBezTo>
                  <a:cubicBezTo>
                    <a:pt x="274810" y="950127"/>
                    <a:pt x="273388" y="949587"/>
                    <a:pt x="271923" y="949031"/>
                  </a:cubicBezTo>
                  <a:cubicBezTo>
                    <a:pt x="270129" y="948244"/>
                    <a:pt x="270129" y="948244"/>
                    <a:pt x="268299" y="947441"/>
                  </a:cubicBezTo>
                  <a:cubicBezTo>
                    <a:pt x="247071" y="938140"/>
                    <a:pt x="222259" y="939051"/>
                    <a:pt x="199187" y="938991"/>
                  </a:cubicBezTo>
                  <a:cubicBezTo>
                    <a:pt x="197383" y="938984"/>
                    <a:pt x="195579" y="938978"/>
                    <a:pt x="193719" y="938971"/>
                  </a:cubicBezTo>
                  <a:cubicBezTo>
                    <a:pt x="192010" y="938974"/>
                    <a:pt x="190300" y="938977"/>
                    <a:pt x="188539" y="938980"/>
                  </a:cubicBezTo>
                  <a:cubicBezTo>
                    <a:pt x="187000" y="938981"/>
                    <a:pt x="185460" y="938983"/>
                    <a:pt x="183874" y="938985"/>
                  </a:cubicBezTo>
                  <a:cubicBezTo>
                    <a:pt x="180148" y="939150"/>
                    <a:pt x="177092" y="939720"/>
                    <a:pt x="173509" y="940576"/>
                  </a:cubicBezTo>
                  <a:cubicBezTo>
                    <a:pt x="169458" y="940674"/>
                    <a:pt x="165452" y="940710"/>
                    <a:pt x="161403" y="940664"/>
                  </a:cubicBezTo>
                  <a:cubicBezTo>
                    <a:pt x="160314" y="940658"/>
                    <a:pt x="159224" y="940651"/>
                    <a:pt x="158102" y="940645"/>
                  </a:cubicBezTo>
                  <a:lnTo>
                    <a:pt x="150875" y="940583"/>
                  </a:lnTo>
                  <a:lnTo>
                    <a:pt x="148425" y="940717"/>
                  </a:lnTo>
                  <a:lnTo>
                    <a:pt x="149617" y="940995"/>
                  </a:lnTo>
                  <a:cubicBezTo>
                    <a:pt x="149617" y="941459"/>
                    <a:pt x="149617" y="941924"/>
                    <a:pt x="149617" y="942404"/>
                  </a:cubicBezTo>
                  <a:cubicBezTo>
                    <a:pt x="148630" y="942558"/>
                    <a:pt x="147643" y="942712"/>
                    <a:pt x="146627" y="942871"/>
                  </a:cubicBezTo>
                  <a:cubicBezTo>
                    <a:pt x="134541" y="944804"/>
                    <a:pt x="122553" y="947081"/>
                    <a:pt x="110564" y="949449"/>
                  </a:cubicBezTo>
                  <a:lnTo>
                    <a:pt x="111283" y="946205"/>
                  </a:lnTo>
                  <a:lnTo>
                    <a:pt x="101652" y="956078"/>
                  </a:lnTo>
                  <a:cubicBezTo>
                    <a:pt x="99870" y="957260"/>
                    <a:pt x="99870" y="957260"/>
                    <a:pt x="98052" y="958467"/>
                  </a:cubicBezTo>
                  <a:cubicBezTo>
                    <a:pt x="75683" y="972989"/>
                    <a:pt x="75683" y="972989"/>
                    <a:pt x="67286" y="972989"/>
                  </a:cubicBezTo>
                  <a:cubicBezTo>
                    <a:pt x="67286" y="973918"/>
                    <a:pt x="67286" y="974848"/>
                    <a:pt x="67286" y="975807"/>
                  </a:cubicBezTo>
                  <a:cubicBezTo>
                    <a:pt x="55713" y="979519"/>
                    <a:pt x="43549" y="980689"/>
                    <a:pt x="31942" y="976423"/>
                  </a:cubicBezTo>
                  <a:cubicBezTo>
                    <a:pt x="19953" y="970870"/>
                    <a:pt x="10774" y="964932"/>
                    <a:pt x="5673" y="953419"/>
                  </a:cubicBezTo>
                  <a:cubicBezTo>
                    <a:pt x="4801" y="950441"/>
                    <a:pt x="4801" y="950441"/>
                    <a:pt x="4801" y="944804"/>
                  </a:cubicBezTo>
                  <a:cubicBezTo>
                    <a:pt x="3770" y="944804"/>
                    <a:pt x="2739" y="944804"/>
                    <a:pt x="1676" y="944804"/>
                  </a:cubicBezTo>
                  <a:cubicBezTo>
                    <a:pt x="-34" y="940174"/>
                    <a:pt x="-41" y="936720"/>
                    <a:pt x="17" y="931857"/>
                  </a:cubicBezTo>
                  <a:cubicBezTo>
                    <a:pt x="31" y="930325"/>
                    <a:pt x="45" y="928794"/>
                    <a:pt x="59" y="927216"/>
                  </a:cubicBezTo>
                  <a:cubicBezTo>
                    <a:pt x="78" y="926044"/>
                    <a:pt x="96" y="924873"/>
                    <a:pt x="115" y="923666"/>
                  </a:cubicBezTo>
                  <a:cubicBezTo>
                    <a:pt x="1145" y="923666"/>
                    <a:pt x="2176" y="923666"/>
                    <a:pt x="3238" y="923666"/>
                  </a:cubicBezTo>
                  <a:cubicBezTo>
                    <a:pt x="3238" y="921805"/>
                    <a:pt x="3238" y="919945"/>
                    <a:pt x="3238" y="918029"/>
                  </a:cubicBezTo>
                  <a:cubicBezTo>
                    <a:pt x="4270" y="918029"/>
                    <a:pt x="5300" y="918029"/>
                    <a:pt x="6363" y="918029"/>
                  </a:cubicBezTo>
                  <a:cubicBezTo>
                    <a:pt x="6459" y="916314"/>
                    <a:pt x="6556" y="914599"/>
                    <a:pt x="6656" y="912832"/>
                  </a:cubicBezTo>
                  <a:cubicBezTo>
                    <a:pt x="7542" y="906455"/>
                    <a:pt x="10104" y="903750"/>
                    <a:pt x="15736" y="899709"/>
                  </a:cubicBezTo>
                  <a:lnTo>
                    <a:pt x="17243" y="898894"/>
                  </a:lnTo>
                  <a:lnTo>
                    <a:pt x="16800" y="898694"/>
                  </a:lnTo>
                  <a:lnTo>
                    <a:pt x="24988" y="894101"/>
                  </a:lnTo>
                  <a:lnTo>
                    <a:pt x="26768" y="892399"/>
                  </a:lnTo>
                  <a:cubicBezTo>
                    <a:pt x="28282" y="891122"/>
                    <a:pt x="29038" y="890483"/>
                    <a:pt x="30198" y="890164"/>
                  </a:cubicBezTo>
                  <a:lnTo>
                    <a:pt x="32204" y="890054"/>
                  </a:lnTo>
                  <a:lnTo>
                    <a:pt x="38914" y="886291"/>
                  </a:lnTo>
                  <a:cubicBezTo>
                    <a:pt x="47169" y="885770"/>
                    <a:pt x="55396" y="885800"/>
                    <a:pt x="63664" y="886011"/>
                  </a:cubicBezTo>
                  <a:lnTo>
                    <a:pt x="63664" y="886531"/>
                  </a:lnTo>
                  <a:lnTo>
                    <a:pt x="70784" y="886647"/>
                  </a:lnTo>
                  <a:cubicBezTo>
                    <a:pt x="74787" y="887000"/>
                    <a:pt x="77233" y="887948"/>
                    <a:pt x="82126" y="889845"/>
                  </a:cubicBezTo>
                  <a:cubicBezTo>
                    <a:pt x="92427" y="893791"/>
                    <a:pt x="103139" y="893710"/>
                    <a:pt x="114149" y="892663"/>
                  </a:cubicBezTo>
                  <a:cubicBezTo>
                    <a:pt x="115696" y="891733"/>
                    <a:pt x="117242" y="890803"/>
                    <a:pt x="118836" y="889845"/>
                  </a:cubicBezTo>
                  <a:cubicBezTo>
                    <a:pt x="123097" y="888850"/>
                    <a:pt x="127325" y="887944"/>
                    <a:pt x="131626" y="887114"/>
                  </a:cubicBezTo>
                  <a:cubicBezTo>
                    <a:pt x="139750" y="885542"/>
                    <a:pt x="147376" y="883653"/>
                    <a:pt x="155116" y="880913"/>
                  </a:cubicBezTo>
                  <a:cubicBezTo>
                    <a:pt x="158498" y="879775"/>
                    <a:pt x="161861" y="879076"/>
                    <a:pt x="165406" y="878483"/>
                  </a:cubicBezTo>
                  <a:cubicBezTo>
                    <a:pt x="170342" y="877655"/>
                    <a:pt x="172265" y="876971"/>
                    <a:pt x="176634" y="874343"/>
                  </a:cubicBezTo>
                  <a:cubicBezTo>
                    <a:pt x="179863" y="873335"/>
                    <a:pt x="183123" y="872404"/>
                    <a:pt x="186397" y="871524"/>
                  </a:cubicBezTo>
                  <a:cubicBezTo>
                    <a:pt x="189107" y="870786"/>
                    <a:pt x="189107" y="870786"/>
                    <a:pt x="191871" y="870033"/>
                  </a:cubicBezTo>
                  <a:cubicBezTo>
                    <a:pt x="195731" y="869023"/>
                    <a:pt x="199587" y="868093"/>
                    <a:pt x="203483" y="867208"/>
                  </a:cubicBezTo>
                  <a:cubicBezTo>
                    <a:pt x="208339" y="866199"/>
                    <a:pt x="208339" y="866199"/>
                    <a:pt x="211001" y="861660"/>
                  </a:cubicBezTo>
                  <a:cubicBezTo>
                    <a:pt x="214174" y="860102"/>
                    <a:pt x="214174" y="860102"/>
                    <a:pt x="218031" y="858577"/>
                  </a:cubicBezTo>
                  <a:cubicBezTo>
                    <a:pt x="236068" y="850629"/>
                    <a:pt x="245199" y="840442"/>
                    <a:pt x="254740" y="825020"/>
                  </a:cubicBezTo>
                  <a:cubicBezTo>
                    <a:pt x="255771" y="823625"/>
                    <a:pt x="256802" y="822230"/>
                    <a:pt x="257864" y="820792"/>
                  </a:cubicBezTo>
                  <a:cubicBezTo>
                    <a:pt x="258359" y="817506"/>
                    <a:pt x="258359" y="817506"/>
                    <a:pt x="258318" y="813810"/>
                  </a:cubicBezTo>
                  <a:cubicBezTo>
                    <a:pt x="258338" y="812388"/>
                    <a:pt x="258358" y="810967"/>
                    <a:pt x="258378" y="809502"/>
                  </a:cubicBezTo>
                  <a:cubicBezTo>
                    <a:pt x="258382" y="807965"/>
                    <a:pt x="258385" y="806429"/>
                    <a:pt x="258389" y="804845"/>
                  </a:cubicBezTo>
                  <a:cubicBezTo>
                    <a:pt x="258399" y="803258"/>
                    <a:pt x="258410" y="801671"/>
                    <a:pt x="258420" y="800036"/>
                  </a:cubicBezTo>
                  <a:cubicBezTo>
                    <a:pt x="258436" y="796670"/>
                    <a:pt x="258443" y="793305"/>
                    <a:pt x="258443" y="789939"/>
                  </a:cubicBezTo>
                  <a:cubicBezTo>
                    <a:pt x="258450" y="784823"/>
                    <a:pt x="258506" y="779709"/>
                    <a:pt x="258566" y="774594"/>
                  </a:cubicBezTo>
                  <a:cubicBezTo>
                    <a:pt x="258575" y="771319"/>
                    <a:pt x="258581" y="768045"/>
                    <a:pt x="258584" y="764771"/>
                  </a:cubicBezTo>
                  <a:cubicBezTo>
                    <a:pt x="258618" y="762495"/>
                    <a:pt x="258618" y="762495"/>
                    <a:pt x="258652" y="760174"/>
                  </a:cubicBezTo>
                  <a:cubicBezTo>
                    <a:pt x="258586" y="750030"/>
                    <a:pt x="256266" y="742584"/>
                    <a:pt x="251616" y="733421"/>
                  </a:cubicBezTo>
                  <a:cubicBezTo>
                    <a:pt x="250163" y="729605"/>
                    <a:pt x="248880" y="725752"/>
                    <a:pt x="247613" y="721883"/>
                  </a:cubicBezTo>
                  <a:cubicBezTo>
                    <a:pt x="245789" y="716328"/>
                    <a:pt x="243913" y="710939"/>
                    <a:pt x="241291" y="705644"/>
                  </a:cubicBezTo>
                  <a:cubicBezTo>
                    <a:pt x="238691" y="700096"/>
                    <a:pt x="238136" y="695685"/>
                    <a:pt x="237557" y="689735"/>
                  </a:cubicBezTo>
                  <a:cubicBezTo>
                    <a:pt x="244977" y="685507"/>
                    <a:pt x="244977" y="685507"/>
                    <a:pt x="248492" y="685507"/>
                  </a:cubicBezTo>
                  <a:cubicBezTo>
                    <a:pt x="248492" y="684112"/>
                    <a:pt x="248492" y="682717"/>
                    <a:pt x="248492" y="681279"/>
                  </a:cubicBezTo>
                  <a:cubicBezTo>
                    <a:pt x="245914" y="680815"/>
                    <a:pt x="243337" y="680350"/>
                    <a:pt x="240681" y="679870"/>
                  </a:cubicBezTo>
                  <a:cubicBezTo>
                    <a:pt x="240681" y="678940"/>
                    <a:pt x="240681" y="678010"/>
                    <a:pt x="240681" y="677052"/>
                  </a:cubicBezTo>
                  <a:cubicBezTo>
                    <a:pt x="239827" y="676917"/>
                    <a:pt x="238973" y="676783"/>
                    <a:pt x="238094" y="676645"/>
                  </a:cubicBezTo>
                  <a:cubicBezTo>
                    <a:pt x="233442" y="675371"/>
                    <a:pt x="229939" y="673242"/>
                    <a:pt x="225841" y="670886"/>
                  </a:cubicBezTo>
                  <a:cubicBezTo>
                    <a:pt x="217808" y="666564"/>
                    <a:pt x="210635" y="664241"/>
                    <a:pt x="201531" y="662508"/>
                  </a:cubicBezTo>
                  <a:cubicBezTo>
                    <a:pt x="196896" y="661541"/>
                    <a:pt x="192682" y="660199"/>
                    <a:pt x="188252" y="658644"/>
                  </a:cubicBezTo>
                  <a:lnTo>
                    <a:pt x="182431" y="657327"/>
                  </a:lnTo>
                  <a:lnTo>
                    <a:pt x="182431" y="657613"/>
                  </a:lnTo>
                  <a:cubicBezTo>
                    <a:pt x="170575" y="657148"/>
                    <a:pt x="158718" y="656683"/>
                    <a:pt x="146503" y="656204"/>
                  </a:cubicBezTo>
                  <a:cubicBezTo>
                    <a:pt x="146503" y="657133"/>
                    <a:pt x="146503" y="658064"/>
                    <a:pt x="146503" y="659022"/>
                  </a:cubicBezTo>
                  <a:cubicBezTo>
                    <a:pt x="134359" y="662326"/>
                    <a:pt x="123013" y="663700"/>
                    <a:pt x="110378" y="663778"/>
                  </a:cubicBezTo>
                  <a:cubicBezTo>
                    <a:pt x="108435" y="663806"/>
                    <a:pt x="108435" y="663806"/>
                    <a:pt x="106453" y="663836"/>
                  </a:cubicBezTo>
                  <a:cubicBezTo>
                    <a:pt x="105231" y="663828"/>
                    <a:pt x="104009" y="663820"/>
                    <a:pt x="102751" y="663811"/>
                  </a:cubicBezTo>
                  <a:cubicBezTo>
                    <a:pt x="101117" y="663804"/>
                    <a:pt x="101117" y="663804"/>
                    <a:pt x="99449" y="663797"/>
                  </a:cubicBezTo>
                  <a:cubicBezTo>
                    <a:pt x="95696" y="663097"/>
                    <a:pt x="94265" y="661615"/>
                    <a:pt x="91828" y="659022"/>
                  </a:cubicBezTo>
                  <a:cubicBezTo>
                    <a:pt x="93890" y="659022"/>
                    <a:pt x="95953" y="659022"/>
                    <a:pt x="98077" y="659022"/>
                  </a:cubicBezTo>
                  <a:cubicBezTo>
                    <a:pt x="98077" y="659952"/>
                    <a:pt x="98077" y="660882"/>
                    <a:pt x="98077" y="661841"/>
                  </a:cubicBezTo>
                  <a:cubicBezTo>
                    <a:pt x="108735" y="662045"/>
                    <a:pt x="114063" y="662148"/>
                    <a:pt x="119023" y="661357"/>
                  </a:cubicBezTo>
                  <a:lnTo>
                    <a:pt x="119536" y="661197"/>
                  </a:lnTo>
                  <a:lnTo>
                    <a:pt x="109853" y="661639"/>
                  </a:lnTo>
                  <a:cubicBezTo>
                    <a:pt x="108764" y="661632"/>
                    <a:pt x="107675" y="661626"/>
                    <a:pt x="106552" y="661619"/>
                  </a:cubicBezTo>
                  <a:cubicBezTo>
                    <a:pt x="103877" y="661603"/>
                    <a:pt x="101203" y="661577"/>
                    <a:pt x="98528" y="661550"/>
                  </a:cubicBezTo>
                  <a:cubicBezTo>
                    <a:pt x="98528" y="660620"/>
                    <a:pt x="98528" y="659691"/>
                    <a:pt x="98528" y="658732"/>
                  </a:cubicBezTo>
                  <a:cubicBezTo>
                    <a:pt x="95435" y="658267"/>
                    <a:pt x="92342" y="657802"/>
                    <a:pt x="89155" y="657323"/>
                  </a:cubicBezTo>
                  <a:cubicBezTo>
                    <a:pt x="89155" y="656393"/>
                    <a:pt x="89155" y="655462"/>
                    <a:pt x="89155" y="654504"/>
                  </a:cubicBezTo>
                  <a:cubicBezTo>
                    <a:pt x="87790" y="653978"/>
                    <a:pt x="87790" y="653978"/>
                    <a:pt x="86397" y="653442"/>
                  </a:cubicBezTo>
                  <a:cubicBezTo>
                    <a:pt x="82415" y="651438"/>
                    <a:pt x="80039" y="649232"/>
                    <a:pt x="77049" y="646137"/>
                  </a:cubicBezTo>
                  <a:cubicBezTo>
                    <a:pt x="75611" y="644679"/>
                    <a:pt x="75611" y="644679"/>
                    <a:pt x="74145" y="643192"/>
                  </a:cubicBezTo>
                  <a:cubicBezTo>
                    <a:pt x="71972" y="640412"/>
                    <a:pt x="71972" y="640412"/>
                    <a:pt x="71972" y="636185"/>
                  </a:cubicBezTo>
                  <a:cubicBezTo>
                    <a:pt x="70941" y="636185"/>
                    <a:pt x="69910" y="636185"/>
                    <a:pt x="68848" y="636185"/>
                  </a:cubicBezTo>
                  <a:cubicBezTo>
                    <a:pt x="64250" y="621928"/>
                    <a:pt x="64695" y="609404"/>
                    <a:pt x="70410" y="595317"/>
                  </a:cubicBezTo>
                  <a:cubicBezTo>
                    <a:pt x="73096" y="591142"/>
                    <a:pt x="76144" y="587574"/>
                    <a:pt x="79782" y="584043"/>
                  </a:cubicBezTo>
                  <a:cubicBezTo>
                    <a:pt x="81205" y="582594"/>
                    <a:pt x="81205" y="582594"/>
                    <a:pt x="82656" y="581115"/>
                  </a:cubicBezTo>
                  <a:cubicBezTo>
                    <a:pt x="91488" y="574027"/>
                    <a:pt x="105133" y="571806"/>
                    <a:pt x="116694" y="572323"/>
                  </a:cubicBezTo>
                  <a:cubicBezTo>
                    <a:pt x="131556" y="574113"/>
                    <a:pt x="142046" y="580551"/>
                    <a:pt x="152031" y="590385"/>
                  </a:cubicBezTo>
                  <a:cubicBezTo>
                    <a:pt x="162272" y="600009"/>
                    <a:pt x="176992" y="605062"/>
                    <a:pt x="191474" y="605886"/>
                  </a:cubicBezTo>
                  <a:cubicBezTo>
                    <a:pt x="196845" y="606192"/>
                    <a:pt x="201203" y="606463"/>
                    <a:pt x="206314" y="608000"/>
                  </a:cubicBezTo>
                  <a:cubicBezTo>
                    <a:pt x="206314" y="608930"/>
                    <a:pt x="206314" y="609860"/>
                    <a:pt x="206314" y="610818"/>
                  </a:cubicBezTo>
                  <a:cubicBezTo>
                    <a:pt x="215689" y="610902"/>
                    <a:pt x="225058" y="610898"/>
                    <a:pt x="234433" y="610818"/>
                  </a:cubicBezTo>
                  <a:cubicBezTo>
                    <a:pt x="236112" y="610813"/>
                    <a:pt x="237791" y="610808"/>
                    <a:pt x="239522" y="610802"/>
                  </a:cubicBezTo>
                  <a:cubicBezTo>
                    <a:pt x="251005" y="610364"/>
                    <a:pt x="259257" y="606564"/>
                    <a:pt x="268799" y="600954"/>
                  </a:cubicBezTo>
                  <a:cubicBezTo>
                    <a:pt x="269770" y="600416"/>
                    <a:pt x="270740" y="599879"/>
                    <a:pt x="271740" y="599325"/>
                  </a:cubicBezTo>
                  <a:cubicBezTo>
                    <a:pt x="279452" y="594430"/>
                    <a:pt x="281420" y="587464"/>
                    <a:pt x="284420" y="579816"/>
                  </a:cubicBezTo>
                  <a:cubicBezTo>
                    <a:pt x="286047" y="576075"/>
                    <a:pt x="287725" y="572353"/>
                    <a:pt x="289399" y="568630"/>
                  </a:cubicBezTo>
                  <a:cubicBezTo>
                    <a:pt x="294095" y="558121"/>
                    <a:pt x="299004" y="547070"/>
                    <a:pt x="293958" y="535838"/>
                  </a:cubicBezTo>
                  <a:cubicBezTo>
                    <a:pt x="292436" y="533533"/>
                    <a:pt x="290781" y="531301"/>
                    <a:pt x="289107" y="529084"/>
                  </a:cubicBezTo>
                  <a:cubicBezTo>
                    <a:pt x="289107" y="528153"/>
                    <a:pt x="289107" y="527223"/>
                    <a:pt x="289107" y="526265"/>
                  </a:cubicBezTo>
                  <a:cubicBezTo>
                    <a:pt x="287560" y="525800"/>
                    <a:pt x="286014" y="525335"/>
                    <a:pt x="284420" y="524856"/>
                  </a:cubicBezTo>
                  <a:cubicBezTo>
                    <a:pt x="283905" y="523461"/>
                    <a:pt x="283389" y="522066"/>
                    <a:pt x="282858" y="520628"/>
                  </a:cubicBezTo>
                  <a:cubicBezTo>
                    <a:pt x="280750" y="518590"/>
                    <a:pt x="280750" y="518590"/>
                    <a:pt x="277977" y="516577"/>
                  </a:cubicBezTo>
                  <a:cubicBezTo>
                    <a:pt x="273591" y="513232"/>
                    <a:pt x="269227" y="509874"/>
                    <a:pt x="264925" y="506443"/>
                  </a:cubicBezTo>
                  <a:cubicBezTo>
                    <a:pt x="253596" y="497433"/>
                    <a:pt x="242132" y="488987"/>
                    <a:pt x="229746" y="481170"/>
                  </a:cubicBezTo>
                  <a:cubicBezTo>
                    <a:pt x="226846" y="479266"/>
                    <a:pt x="223950" y="477358"/>
                    <a:pt x="221057" y="475445"/>
                  </a:cubicBezTo>
                  <a:cubicBezTo>
                    <a:pt x="218227" y="473594"/>
                    <a:pt x="215396" y="471744"/>
                    <a:pt x="212563" y="469896"/>
                  </a:cubicBezTo>
                  <a:cubicBezTo>
                    <a:pt x="211351" y="469102"/>
                    <a:pt x="210138" y="468309"/>
                    <a:pt x="208889" y="467491"/>
                  </a:cubicBezTo>
                  <a:cubicBezTo>
                    <a:pt x="202848" y="463599"/>
                    <a:pt x="196732" y="459888"/>
                    <a:pt x="190406" y="456382"/>
                  </a:cubicBezTo>
                  <a:cubicBezTo>
                    <a:pt x="189263" y="455748"/>
                    <a:pt x="188119" y="455114"/>
                    <a:pt x="186942" y="454460"/>
                  </a:cubicBezTo>
                  <a:cubicBezTo>
                    <a:pt x="184648" y="453196"/>
                    <a:pt x="182348" y="451941"/>
                    <a:pt x="180041" y="450696"/>
                  </a:cubicBezTo>
                  <a:cubicBezTo>
                    <a:pt x="177292" y="449185"/>
                    <a:pt x="174612" y="447571"/>
                    <a:pt x="171948" y="445940"/>
                  </a:cubicBezTo>
                  <a:cubicBezTo>
                    <a:pt x="171948" y="445009"/>
                    <a:pt x="171948" y="444079"/>
                    <a:pt x="171948" y="443121"/>
                  </a:cubicBezTo>
                  <a:cubicBezTo>
                    <a:pt x="170804" y="442985"/>
                    <a:pt x="169660" y="442848"/>
                    <a:pt x="168482" y="442708"/>
                  </a:cubicBezTo>
                  <a:cubicBezTo>
                    <a:pt x="163547" y="441576"/>
                    <a:pt x="161063" y="439897"/>
                    <a:pt x="157107" y="437044"/>
                  </a:cubicBezTo>
                  <a:cubicBezTo>
                    <a:pt x="149345" y="431895"/>
                    <a:pt x="141843" y="429626"/>
                    <a:pt x="132559" y="427510"/>
                  </a:cubicBezTo>
                  <a:cubicBezTo>
                    <a:pt x="128067" y="426168"/>
                    <a:pt x="126607" y="425060"/>
                    <a:pt x="123522" y="421983"/>
                  </a:cubicBezTo>
                  <a:cubicBezTo>
                    <a:pt x="118310" y="419033"/>
                    <a:pt x="114076" y="418794"/>
                    <a:pt x="107986" y="418730"/>
                  </a:cubicBezTo>
                  <a:cubicBezTo>
                    <a:pt x="106174" y="418694"/>
                    <a:pt x="104362" y="418659"/>
                    <a:pt x="102494" y="418622"/>
                  </a:cubicBezTo>
                  <a:cubicBezTo>
                    <a:pt x="98715" y="418573"/>
                    <a:pt x="94936" y="418529"/>
                    <a:pt x="91157" y="418490"/>
                  </a:cubicBezTo>
                  <a:cubicBezTo>
                    <a:pt x="78470" y="418231"/>
                    <a:pt x="65485" y="417940"/>
                    <a:pt x="55277" y="410445"/>
                  </a:cubicBezTo>
                  <a:cubicBezTo>
                    <a:pt x="54084" y="409137"/>
                    <a:pt x="52893" y="407829"/>
                    <a:pt x="51665" y="406481"/>
                  </a:cubicBezTo>
                  <a:cubicBezTo>
                    <a:pt x="49752" y="404480"/>
                    <a:pt x="47831" y="402483"/>
                    <a:pt x="45904" y="400492"/>
                  </a:cubicBezTo>
                  <a:cubicBezTo>
                    <a:pt x="44996" y="399526"/>
                    <a:pt x="44088" y="398559"/>
                    <a:pt x="43152" y="397564"/>
                  </a:cubicBezTo>
                  <a:cubicBezTo>
                    <a:pt x="40865" y="395062"/>
                    <a:pt x="40865" y="395062"/>
                    <a:pt x="37605" y="393798"/>
                  </a:cubicBezTo>
                  <a:lnTo>
                    <a:pt x="38995" y="368712"/>
                  </a:lnTo>
                  <a:lnTo>
                    <a:pt x="38666" y="369724"/>
                  </a:lnTo>
                  <a:cubicBezTo>
                    <a:pt x="37003" y="374506"/>
                    <a:pt x="36202" y="379113"/>
                    <a:pt x="35542" y="384081"/>
                  </a:cubicBezTo>
                  <a:cubicBezTo>
                    <a:pt x="30313" y="376119"/>
                    <a:pt x="31188" y="366593"/>
                    <a:pt x="33326" y="357791"/>
                  </a:cubicBezTo>
                  <a:cubicBezTo>
                    <a:pt x="37176" y="347767"/>
                    <a:pt x="44536" y="340769"/>
                    <a:pt x="52725" y="333349"/>
                  </a:cubicBezTo>
                  <a:lnTo>
                    <a:pt x="55222" y="334475"/>
                  </a:lnTo>
                  <a:lnTo>
                    <a:pt x="56222" y="333347"/>
                  </a:lnTo>
                  <a:lnTo>
                    <a:pt x="55871" y="333347"/>
                  </a:lnTo>
                  <a:lnTo>
                    <a:pt x="56346" y="333207"/>
                  </a:lnTo>
                  <a:lnTo>
                    <a:pt x="56351" y="333202"/>
                  </a:lnTo>
                  <a:lnTo>
                    <a:pt x="56365" y="333202"/>
                  </a:lnTo>
                  <a:lnTo>
                    <a:pt x="79571" y="326360"/>
                  </a:lnTo>
                  <a:cubicBezTo>
                    <a:pt x="87782" y="326037"/>
                    <a:pt x="96164" y="327572"/>
                    <a:pt x="104297" y="330529"/>
                  </a:cubicBezTo>
                  <a:lnTo>
                    <a:pt x="107170" y="334417"/>
                  </a:lnTo>
                  <a:lnTo>
                    <a:pt x="109366" y="336046"/>
                  </a:lnTo>
                  <a:lnTo>
                    <a:pt x="109463" y="336020"/>
                  </a:lnTo>
                  <a:lnTo>
                    <a:pt x="109463" y="336118"/>
                  </a:lnTo>
                  <a:lnTo>
                    <a:pt x="115226" y="340394"/>
                  </a:lnTo>
                  <a:lnTo>
                    <a:pt x="114010" y="340120"/>
                  </a:lnTo>
                  <a:lnTo>
                    <a:pt x="133285" y="357423"/>
                  </a:lnTo>
                  <a:cubicBezTo>
                    <a:pt x="142471" y="373187"/>
                    <a:pt x="155564" y="382744"/>
                    <a:pt x="173509" y="389571"/>
                  </a:cubicBezTo>
                  <a:cubicBezTo>
                    <a:pt x="176254" y="390785"/>
                    <a:pt x="178988" y="392017"/>
                    <a:pt x="181711" y="393270"/>
                  </a:cubicBezTo>
                  <a:cubicBezTo>
                    <a:pt x="182964" y="393833"/>
                    <a:pt x="184216" y="394396"/>
                    <a:pt x="185507" y="394976"/>
                  </a:cubicBezTo>
                  <a:cubicBezTo>
                    <a:pt x="187897" y="396058"/>
                    <a:pt x="190281" y="397151"/>
                    <a:pt x="192658" y="398257"/>
                  </a:cubicBezTo>
                  <a:cubicBezTo>
                    <a:pt x="193749" y="398762"/>
                    <a:pt x="194841" y="399267"/>
                    <a:pt x="195966" y="399788"/>
                  </a:cubicBezTo>
                  <a:cubicBezTo>
                    <a:pt x="196912" y="400231"/>
                    <a:pt x="197858" y="400674"/>
                    <a:pt x="198833" y="401131"/>
                  </a:cubicBezTo>
                  <a:cubicBezTo>
                    <a:pt x="201808" y="402326"/>
                    <a:pt x="204701" y="403032"/>
                    <a:pt x="207877" y="403663"/>
                  </a:cubicBezTo>
                  <a:cubicBezTo>
                    <a:pt x="207877" y="404593"/>
                    <a:pt x="207877" y="405523"/>
                    <a:pt x="207877" y="406481"/>
                  </a:cubicBezTo>
                  <a:cubicBezTo>
                    <a:pt x="221233" y="411377"/>
                    <a:pt x="234752" y="415503"/>
                    <a:pt x="248492" y="419428"/>
                  </a:cubicBezTo>
                  <a:cubicBezTo>
                    <a:pt x="250298" y="419947"/>
                    <a:pt x="252104" y="420466"/>
                    <a:pt x="253965" y="421000"/>
                  </a:cubicBezTo>
                  <a:cubicBezTo>
                    <a:pt x="258388" y="422270"/>
                    <a:pt x="262812" y="423537"/>
                    <a:pt x="267237" y="424801"/>
                  </a:cubicBezTo>
                  <a:lnTo>
                    <a:pt x="267237" y="426451"/>
                  </a:lnTo>
                  <a:lnTo>
                    <a:pt x="288701" y="429217"/>
                  </a:lnTo>
                  <a:cubicBezTo>
                    <a:pt x="288701" y="430147"/>
                    <a:pt x="288701" y="431078"/>
                    <a:pt x="288701" y="432036"/>
                  </a:cubicBezTo>
                  <a:cubicBezTo>
                    <a:pt x="301487" y="433472"/>
                    <a:pt x="314148" y="433662"/>
                    <a:pt x="327010" y="433628"/>
                  </a:cubicBezTo>
                  <a:cubicBezTo>
                    <a:pt x="330502" y="433621"/>
                    <a:pt x="333994" y="433628"/>
                    <a:pt x="337486" y="433637"/>
                  </a:cubicBezTo>
                  <a:cubicBezTo>
                    <a:pt x="339734" y="433637"/>
                    <a:pt x="341982" y="433635"/>
                    <a:pt x="344229" y="433632"/>
                  </a:cubicBezTo>
                  <a:cubicBezTo>
                    <a:pt x="347246" y="433630"/>
                    <a:pt x="347246" y="433630"/>
                    <a:pt x="350323" y="433627"/>
                  </a:cubicBezTo>
                  <a:cubicBezTo>
                    <a:pt x="355445" y="433459"/>
                    <a:pt x="360220" y="432915"/>
                    <a:pt x="365245" y="432036"/>
                  </a:cubicBezTo>
                  <a:lnTo>
                    <a:pt x="360797" y="433759"/>
                  </a:lnTo>
                  <a:lnTo>
                    <a:pt x="365650" y="433257"/>
                  </a:lnTo>
                  <a:cubicBezTo>
                    <a:pt x="366166" y="431861"/>
                    <a:pt x="366682" y="430466"/>
                    <a:pt x="367213" y="429029"/>
                  </a:cubicBezTo>
                  <a:cubicBezTo>
                    <a:pt x="369854" y="427628"/>
                    <a:pt x="372501" y="426234"/>
                    <a:pt x="375188" y="424906"/>
                  </a:cubicBezTo>
                  <a:cubicBezTo>
                    <a:pt x="390245" y="417204"/>
                    <a:pt x="397438" y="403183"/>
                    <a:pt x="404704" y="389571"/>
                  </a:cubicBezTo>
                  <a:cubicBezTo>
                    <a:pt x="405219" y="389105"/>
                    <a:pt x="405734" y="388641"/>
                    <a:pt x="406265" y="388161"/>
                  </a:cubicBezTo>
                  <a:cubicBezTo>
                    <a:pt x="406663" y="382152"/>
                    <a:pt x="406555" y="376125"/>
                    <a:pt x="406559" y="370106"/>
                  </a:cubicBezTo>
                  <a:cubicBezTo>
                    <a:pt x="406578" y="368412"/>
                    <a:pt x="406597" y="366718"/>
                    <a:pt x="406617" y="364973"/>
                  </a:cubicBezTo>
                  <a:cubicBezTo>
                    <a:pt x="406620" y="363344"/>
                    <a:pt x="406622" y="361715"/>
                    <a:pt x="406626" y="360038"/>
                  </a:cubicBezTo>
                  <a:cubicBezTo>
                    <a:pt x="406632" y="358541"/>
                    <a:pt x="406638" y="357045"/>
                    <a:pt x="406645" y="355503"/>
                  </a:cubicBezTo>
                  <a:cubicBezTo>
                    <a:pt x="406264" y="351503"/>
                    <a:pt x="405326" y="349318"/>
                    <a:pt x="403142" y="345885"/>
                  </a:cubicBezTo>
                  <a:cubicBezTo>
                    <a:pt x="402583" y="343484"/>
                    <a:pt x="402067" y="341075"/>
                    <a:pt x="401579" y="338663"/>
                  </a:cubicBezTo>
                  <a:cubicBezTo>
                    <a:pt x="399365" y="330323"/>
                    <a:pt x="395538" y="323370"/>
                    <a:pt x="390938" y="315939"/>
                  </a:cubicBezTo>
                  <a:cubicBezTo>
                    <a:pt x="390290" y="314890"/>
                    <a:pt x="389642" y="313842"/>
                    <a:pt x="388976" y="312762"/>
                  </a:cubicBezTo>
                  <a:cubicBezTo>
                    <a:pt x="385623" y="307500"/>
                    <a:pt x="382070" y="302607"/>
                    <a:pt x="377934" y="297817"/>
                  </a:cubicBezTo>
                  <a:cubicBezTo>
                    <a:pt x="373788" y="292978"/>
                    <a:pt x="371423" y="288111"/>
                    <a:pt x="368775" y="282470"/>
                  </a:cubicBezTo>
                  <a:cubicBezTo>
                    <a:pt x="366035" y="278585"/>
                    <a:pt x="362994" y="274937"/>
                    <a:pt x="359890" y="271284"/>
                  </a:cubicBezTo>
                  <a:cubicBezTo>
                    <a:pt x="359059" y="270296"/>
                    <a:pt x="358230" y="269307"/>
                    <a:pt x="357374" y="268288"/>
                  </a:cubicBezTo>
                  <a:cubicBezTo>
                    <a:pt x="351312" y="261177"/>
                    <a:pt x="344882" y="254704"/>
                    <a:pt x="337533" y="248649"/>
                  </a:cubicBezTo>
                  <a:cubicBezTo>
                    <a:pt x="336767" y="247896"/>
                    <a:pt x="336002" y="247144"/>
                    <a:pt x="335214" y="246369"/>
                  </a:cubicBezTo>
                  <a:cubicBezTo>
                    <a:pt x="332597" y="243963"/>
                    <a:pt x="332597" y="243963"/>
                    <a:pt x="327085" y="242571"/>
                  </a:cubicBezTo>
                  <a:cubicBezTo>
                    <a:pt x="309670" y="236923"/>
                    <a:pt x="296614" y="222751"/>
                    <a:pt x="288785" y="207968"/>
                  </a:cubicBezTo>
                  <a:cubicBezTo>
                    <a:pt x="286673" y="202851"/>
                    <a:pt x="286348" y="197968"/>
                    <a:pt x="286373" y="192544"/>
                  </a:cubicBezTo>
                  <a:cubicBezTo>
                    <a:pt x="286377" y="191437"/>
                    <a:pt x="286381" y="190330"/>
                    <a:pt x="286385" y="189190"/>
                  </a:cubicBezTo>
                  <a:cubicBezTo>
                    <a:pt x="286881" y="178340"/>
                    <a:pt x="291581" y="171728"/>
                    <a:pt x="300042" y="164095"/>
                  </a:cubicBezTo>
                  <a:cubicBezTo>
                    <a:pt x="301386" y="162752"/>
                    <a:pt x="301386" y="162752"/>
                    <a:pt x="302757" y="161381"/>
                  </a:cubicBezTo>
                  <a:cubicBezTo>
                    <a:pt x="312597" y="152504"/>
                    <a:pt x="325185" y="152675"/>
                    <a:pt x="338411" y="152293"/>
                  </a:cubicBezTo>
                  <a:cubicBezTo>
                    <a:pt x="350839" y="152463"/>
                    <a:pt x="359094" y="154554"/>
                    <a:pt x="368482" y="161893"/>
                  </a:cubicBezTo>
                  <a:cubicBezTo>
                    <a:pt x="369609" y="163085"/>
                    <a:pt x="370737" y="164277"/>
                    <a:pt x="371899" y="165505"/>
                  </a:cubicBezTo>
                  <a:cubicBezTo>
                    <a:pt x="372962" y="166522"/>
                    <a:pt x="374026" y="167539"/>
                    <a:pt x="375121" y="168587"/>
                  </a:cubicBezTo>
                  <a:cubicBezTo>
                    <a:pt x="381050" y="176351"/>
                    <a:pt x="384520" y="184328"/>
                    <a:pt x="384982" y="193777"/>
                  </a:cubicBezTo>
                  <a:cubicBezTo>
                    <a:pt x="385464" y="201192"/>
                    <a:pt x="387638" y="207607"/>
                    <a:pt x="390352" y="214563"/>
                  </a:cubicBezTo>
                  <a:cubicBezTo>
                    <a:pt x="390934" y="216079"/>
                    <a:pt x="390934" y="216079"/>
                    <a:pt x="391529" y="217626"/>
                  </a:cubicBezTo>
                  <a:cubicBezTo>
                    <a:pt x="394082" y="223926"/>
                    <a:pt x="397412" y="228969"/>
                    <a:pt x="401579" y="234556"/>
                  </a:cubicBezTo>
                  <a:cubicBezTo>
                    <a:pt x="401579" y="235952"/>
                    <a:pt x="401579" y="237347"/>
                    <a:pt x="401579" y="238784"/>
                  </a:cubicBezTo>
                  <a:cubicBezTo>
                    <a:pt x="402884" y="239263"/>
                    <a:pt x="402884" y="239263"/>
                    <a:pt x="404215" y="239753"/>
                  </a:cubicBezTo>
                  <a:cubicBezTo>
                    <a:pt x="410099" y="242765"/>
                    <a:pt x="414395" y="246733"/>
                    <a:pt x="417811" y="251996"/>
                  </a:cubicBezTo>
                  <a:cubicBezTo>
                    <a:pt x="420462" y="255897"/>
                    <a:pt x="423407" y="258959"/>
                    <a:pt x="426866" y="262300"/>
                  </a:cubicBezTo>
                  <a:cubicBezTo>
                    <a:pt x="435101" y="270407"/>
                    <a:pt x="442641" y="278936"/>
                    <a:pt x="450097" y="287628"/>
                  </a:cubicBezTo>
                  <a:cubicBezTo>
                    <a:pt x="453081" y="291117"/>
                    <a:pt x="453081" y="291117"/>
                    <a:pt x="457425" y="293920"/>
                  </a:cubicBezTo>
                  <a:cubicBezTo>
                    <a:pt x="458585" y="294792"/>
                    <a:pt x="459745" y="295664"/>
                    <a:pt x="460940" y="296562"/>
                  </a:cubicBezTo>
                  <a:cubicBezTo>
                    <a:pt x="460940" y="297957"/>
                    <a:pt x="460940" y="299352"/>
                    <a:pt x="460940" y="300790"/>
                  </a:cubicBezTo>
                  <a:cubicBezTo>
                    <a:pt x="465063" y="302782"/>
                    <a:pt x="468862" y="304133"/>
                    <a:pt x="473437" y="305018"/>
                  </a:cubicBezTo>
                  <a:cubicBezTo>
                    <a:pt x="473437" y="305947"/>
                    <a:pt x="473437" y="306877"/>
                    <a:pt x="473437" y="307836"/>
                  </a:cubicBezTo>
                  <a:cubicBezTo>
                    <a:pt x="475581" y="308519"/>
                    <a:pt x="477730" y="309193"/>
                    <a:pt x="479881" y="309862"/>
                  </a:cubicBezTo>
                  <a:cubicBezTo>
                    <a:pt x="481077" y="310237"/>
                    <a:pt x="482273" y="310614"/>
                    <a:pt x="483505" y="311001"/>
                  </a:cubicBezTo>
                  <a:cubicBezTo>
                    <a:pt x="505448" y="316843"/>
                    <a:pt x="527690" y="314359"/>
                    <a:pt x="548419" y="306427"/>
                  </a:cubicBezTo>
                  <a:cubicBezTo>
                    <a:pt x="549548" y="305998"/>
                    <a:pt x="550678" y="305569"/>
                    <a:pt x="551842" y="305127"/>
                  </a:cubicBezTo>
                  <a:cubicBezTo>
                    <a:pt x="555376" y="303227"/>
                    <a:pt x="557584" y="300980"/>
                    <a:pt x="560232" y="298148"/>
                  </a:cubicBezTo>
                  <a:cubicBezTo>
                    <a:pt x="561137" y="297192"/>
                    <a:pt x="562041" y="296236"/>
                    <a:pt x="562972" y="295252"/>
                  </a:cubicBezTo>
                  <a:cubicBezTo>
                    <a:pt x="564755" y="293274"/>
                    <a:pt x="566459" y="291237"/>
                    <a:pt x="568086" y="289152"/>
                  </a:cubicBezTo>
                  <a:cubicBezTo>
                    <a:pt x="568813" y="288342"/>
                    <a:pt x="569539" y="287532"/>
                    <a:pt x="570289" y="286697"/>
                  </a:cubicBezTo>
                  <a:cubicBezTo>
                    <a:pt x="571319" y="286697"/>
                    <a:pt x="572350" y="286697"/>
                    <a:pt x="573413" y="286697"/>
                  </a:cubicBezTo>
                  <a:cubicBezTo>
                    <a:pt x="577408" y="276984"/>
                    <a:pt x="577197" y="267284"/>
                    <a:pt x="577220" y="257016"/>
                  </a:cubicBezTo>
                  <a:cubicBezTo>
                    <a:pt x="577227" y="255625"/>
                    <a:pt x="577227" y="255625"/>
                    <a:pt x="577235" y="254206"/>
                  </a:cubicBezTo>
                  <a:cubicBezTo>
                    <a:pt x="577257" y="237553"/>
                    <a:pt x="574604" y="222055"/>
                    <a:pt x="569443" y="206049"/>
                  </a:cubicBezTo>
                  <a:cubicBezTo>
                    <a:pt x="568726" y="203553"/>
                    <a:pt x="568726" y="203553"/>
                    <a:pt x="568726" y="200735"/>
                  </a:cubicBezTo>
                  <a:cubicBezTo>
                    <a:pt x="567695" y="200735"/>
                    <a:pt x="566664" y="200735"/>
                    <a:pt x="565602" y="200735"/>
                  </a:cubicBezTo>
                  <a:cubicBezTo>
                    <a:pt x="563274" y="195295"/>
                    <a:pt x="561092" y="190108"/>
                    <a:pt x="559549" y="184441"/>
                  </a:cubicBezTo>
                  <a:cubicBezTo>
                    <a:pt x="555572" y="173477"/>
                    <a:pt x="547043" y="167105"/>
                    <a:pt x="537484" y="159867"/>
                  </a:cubicBezTo>
                  <a:cubicBezTo>
                    <a:pt x="533579" y="156609"/>
                    <a:pt x="533579" y="156609"/>
                    <a:pt x="531235" y="154230"/>
                  </a:cubicBezTo>
                  <a:cubicBezTo>
                    <a:pt x="531235" y="153301"/>
                    <a:pt x="531235" y="152371"/>
                    <a:pt x="531235" y="151412"/>
                  </a:cubicBezTo>
                  <a:cubicBezTo>
                    <a:pt x="529689" y="150947"/>
                    <a:pt x="528143" y="150482"/>
                    <a:pt x="526549" y="150003"/>
                  </a:cubicBezTo>
                  <a:cubicBezTo>
                    <a:pt x="519904" y="137298"/>
                    <a:pt x="519105" y="120357"/>
                    <a:pt x="524304" y="107198"/>
                  </a:cubicBezTo>
                  <a:cubicBezTo>
                    <a:pt x="529443" y="97376"/>
                    <a:pt x="535781" y="90193"/>
                    <a:pt x="547052" y="85972"/>
                  </a:cubicBezTo>
                  <a:cubicBezTo>
                    <a:pt x="559924" y="81835"/>
                    <a:pt x="575221" y="79746"/>
                    <a:pt x="588460" y="83538"/>
                  </a:cubicBezTo>
                  <a:cubicBezTo>
                    <a:pt x="601643" y="89713"/>
                    <a:pt x="611835" y="99450"/>
                    <a:pt x="617152" y="111954"/>
                  </a:cubicBezTo>
                  <a:cubicBezTo>
                    <a:pt x="617935" y="116052"/>
                    <a:pt x="617954" y="120024"/>
                    <a:pt x="617884" y="124175"/>
                  </a:cubicBezTo>
                  <a:cubicBezTo>
                    <a:pt x="617896" y="125307"/>
                    <a:pt x="617906" y="126440"/>
                    <a:pt x="617917" y="127607"/>
                  </a:cubicBezTo>
                  <a:cubicBezTo>
                    <a:pt x="617963" y="132394"/>
                    <a:pt x="617938" y="137181"/>
                    <a:pt x="617919" y="141969"/>
                  </a:cubicBezTo>
                  <a:cubicBezTo>
                    <a:pt x="617899" y="160184"/>
                    <a:pt x="619422" y="175572"/>
                    <a:pt x="630625" y="191311"/>
                  </a:cubicBezTo>
                  <a:cubicBezTo>
                    <a:pt x="633753" y="195891"/>
                    <a:pt x="636431" y="199900"/>
                    <a:pt x="637850" y="205139"/>
                  </a:cubicBezTo>
                  <a:cubicBezTo>
                    <a:pt x="638615" y="209623"/>
                    <a:pt x="638615" y="209623"/>
                    <a:pt x="643708" y="212009"/>
                  </a:cubicBezTo>
                  <a:cubicBezTo>
                    <a:pt x="645380" y="214563"/>
                    <a:pt x="645380" y="214563"/>
                    <a:pt x="647027" y="217645"/>
                  </a:cubicBezTo>
                  <a:cubicBezTo>
                    <a:pt x="652549" y="227016"/>
                    <a:pt x="660443" y="235696"/>
                    <a:pt x="670264" y="241603"/>
                  </a:cubicBezTo>
                  <a:cubicBezTo>
                    <a:pt x="670264" y="242532"/>
                    <a:pt x="670264" y="243462"/>
                    <a:pt x="670264" y="244421"/>
                  </a:cubicBezTo>
                  <a:cubicBezTo>
                    <a:pt x="672036" y="244857"/>
                    <a:pt x="673808" y="245293"/>
                    <a:pt x="675634" y="245742"/>
                  </a:cubicBezTo>
                  <a:cubicBezTo>
                    <a:pt x="681199" y="247239"/>
                    <a:pt x="681199" y="247239"/>
                    <a:pt x="682761" y="248649"/>
                  </a:cubicBezTo>
                  <a:cubicBezTo>
                    <a:pt x="704487" y="252065"/>
                    <a:pt x="732606" y="256402"/>
                    <a:pt x="752092" y="245076"/>
                  </a:cubicBezTo>
                  <a:cubicBezTo>
                    <a:pt x="754252" y="243599"/>
                    <a:pt x="756372" y="242073"/>
                    <a:pt x="758433" y="240485"/>
                  </a:cubicBezTo>
                  <a:cubicBezTo>
                    <a:pt x="760867" y="238784"/>
                    <a:pt x="760867" y="238784"/>
                    <a:pt x="763991" y="238784"/>
                  </a:cubicBezTo>
                  <a:cubicBezTo>
                    <a:pt x="764647" y="237296"/>
                    <a:pt x="764647" y="237296"/>
                    <a:pt x="765315" y="235778"/>
                  </a:cubicBezTo>
                  <a:cubicBezTo>
                    <a:pt x="767151" y="231659"/>
                    <a:pt x="769030" y="227557"/>
                    <a:pt x="770923" y="223459"/>
                  </a:cubicBezTo>
                  <a:cubicBezTo>
                    <a:pt x="771608" y="221966"/>
                    <a:pt x="772292" y="220472"/>
                    <a:pt x="772998" y="218934"/>
                  </a:cubicBezTo>
                  <a:cubicBezTo>
                    <a:pt x="774429" y="215885"/>
                    <a:pt x="775968" y="212878"/>
                    <a:pt x="777562" y="209895"/>
                  </a:cubicBezTo>
                  <a:cubicBezTo>
                    <a:pt x="787607" y="185732"/>
                    <a:pt x="788559" y="149501"/>
                    <a:pt x="781175" y="124637"/>
                  </a:cubicBezTo>
                  <a:cubicBezTo>
                    <a:pt x="780144" y="124637"/>
                    <a:pt x="779113" y="124637"/>
                    <a:pt x="778051" y="124637"/>
                  </a:cubicBezTo>
                  <a:cubicBezTo>
                    <a:pt x="768501" y="110080"/>
                    <a:pt x="762898" y="96653"/>
                    <a:pt x="767116" y="79542"/>
                  </a:cubicBezTo>
                  <a:cubicBezTo>
                    <a:pt x="772286" y="69057"/>
                    <a:pt x="781456" y="58252"/>
                    <a:pt x="793379" y="54000"/>
                  </a:cubicBezTo>
                  <a:cubicBezTo>
                    <a:pt x="808369" y="49250"/>
                    <a:pt x="826058" y="49579"/>
                    <a:pt x="840688" y="55503"/>
                  </a:cubicBezTo>
                  <a:cubicBezTo>
                    <a:pt x="845183" y="57759"/>
                    <a:pt x="848037" y="60575"/>
                    <a:pt x="851470" y="64040"/>
                  </a:cubicBezTo>
                  <a:cubicBezTo>
                    <a:pt x="852721" y="65272"/>
                    <a:pt x="852721" y="65272"/>
                    <a:pt x="853997" y="66529"/>
                  </a:cubicBezTo>
                  <a:cubicBezTo>
                    <a:pt x="858396" y="71505"/>
                    <a:pt x="860490" y="76640"/>
                    <a:pt x="861488" y="82057"/>
                  </a:cubicBezTo>
                  <a:lnTo>
                    <a:pt x="861937" y="90492"/>
                  </a:lnTo>
                  <a:lnTo>
                    <a:pt x="863826" y="100715"/>
                  </a:lnTo>
                  <a:cubicBezTo>
                    <a:pt x="862141" y="107853"/>
                    <a:pt x="859866" y="114857"/>
                    <a:pt x="857577" y="121853"/>
                  </a:cubicBezTo>
                  <a:cubicBezTo>
                    <a:pt x="857062" y="121853"/>
                    <a:pt x="856547" y="121853"/>
                    <a:pt x="856015" y="121853"/>
                  </a:cubicBezTo>
                  <a:cubicBezTo>
                    <a:pt x="855731" y="120401"/>
                    <a:pt x="855731" y="120401"/>
                    <a:pt x="855442" y="118919"/>
                  </a:cubicBezTo>
                  <a:lnTo>
                    <a:pt x="855417" y="118798"/>
                  </a:lnTo>
                  <a:lnTo>
                    <a:pt x="856157" y="124637"/>
                  </a:lnTo>
                  <a:lnTo>
                    <a:pt x="850623" y="134701"/>
                  </a:lnTo>
                  <a:lnTo>
                    <a:pt x="851325" y="135968"/>
                  </a:lnTo>
                  <a:cubicBezTo>
                    <a:pt x="850851" y="137246"/>
                    <a:pt x="850376" y="138525"/>
                    <a:pt x="849886" y="139843"/>
                  </a:cubicBezTo>
                  <a:cubicBezTo>
                    <a:pt x="848171" y="144505"/>
                    <a:pt x="847798" y="148002"/>
                    <a:pt x="847786" y="152889"/>
                  </a:cubicBezTo>
                  <a:cubicBezTo>
                    <a:pt x="847779" y="154500"/>
                    <a:pt x="847773" y="156109"/>
                    <a:pt x="847767" y="157768"/>
                  </a:cubicBezTo>
                  <a:cubicBezTo>
                    <a:pt x="847782" y="159468"/>
                    <a:pt x="847796" y="161167"/>
                    <a:pt x="847810" y="162919"/>
                  </a:cubicBezTo>
                  <a:cubicBezTo>
                    <a:pt x="847821" y="165546"/>
                    <a:pt x="847821" y="165546"/>
                    <a:pt x="847832" y="168227"/>
                  </a:cubicBezTo>
                  <a:cubicBezTo>
                    <a:pt x="847980" y="181934"/>
                    <a:pt x="849003" y="195419"/>
                    <a:pt x="850903" y="209013"/>
                  </a:cubicBezTo>
                  <a:lnTo>
                    <a:pt x="852880" y="224692"/>
                  </a:lnTo>
                  <a:lnTo>
                    <a:pt x="854595" y="224692"/>
                  </a:lnTo>
                  <a:cubicBezTo>
                    <a:pt x="855086" y="225542"/>
                    <a:pt x="855577" y="226392"/>
                    <a:pt x="856083" y="227268"/>
                  </a:cubicBezTo>
                  <a:cubicBezTo>
                    <a:pt x="862358" y="237839"/>
                    <a:pt x="866924" y="242785"/>
                    <a:pt x="879588" y="247239"/>
                  </a:cubicBezTo>
                  <a:cubicBezTo>
                    <a:pt x="881642" y="248025"/>
                    <a:pt x="883692" y="248817"/>
                    <a:pt x="885739" y="249618"/>
                  </a:cubicBezTo>
                  <a:cubicBezTo>
                    <a:pt x="887318" y="250227"/>
                    <a:pt x="888897" y="250838"/>
                    <a:pt x="890523" y="251467"/>
                  </a:cubicBezTo>
                  <a:cubicBezTo>
                    <a:pt x="890523" y="252397"/>
                    <a:pt x="890523" y="253327"/>
                    <a:pt x="890523" y="254285"/>
                  </a:cubicBezTo>
                  <a:cubicBezTo>
                    <a:pt x="900347" y="257061"/>
                    <a:pt x="910127" y="259425"/>
                    <a:pt x="920203" y="261332"/>
                  </a:cubicBezTo>
                  <a:cubicBezTo>
                    <a:pt x="920203" y="261796"/>
                    <a:pt x="920203" y="262262"/>
                    <a:pt x="920203" y="262741"/>
                  </a:cubicBezTo>
                  <a:cubicBezTo>
                    <a:pt x="917111" y="262741"/>
                    <a:pt x="914018" y="262741"/>
                    <a:pt x="910831" y="262741"/>
                  </a:cubicBezTo>
                  <a:lnTo>
                    <a:pt x="910831" y="262864"/>
                  </a:lnTo>
                  <a:lnTo>
                    <a:pt x="927993" y="264177"/>
                  </a:lnTo>
                  <a:lnTo>
                    <a:pt x="939273" y="265285"/>
                  </a:lnTo>
                  <a:lnTo>
                    <a:pt x="940456" y="265191"/>
                  </a:lnTo>
                  <a:cubicBezTo>
                    <a:pt x="962552" y="263054"/>
                    <a:pt x="974979" y="255295"/>
                    <a:pt x="991622" y="242329"/>
                  </a:cubicBezTo>
                  <a:lnTo>
                    <a:pt x="1000803" y="236505"/>
                  </a:lnTo>
                  <a:lnTo>
                    <a:pt x="999806" y="236055"/>
                  </a:lnTo>
                  <a:cubicBezTo>
                    <a:pt x="1000902" y="234997"/>
                    <a:pt x="1001997" y="233941"/>
                    <a:pt x="1003126" y="232851"/>
                  </a:cubicBezTo>
                  <a:cubicBezTo>
                    <a:pt x="1012364" y="223880"/>
                    <a:pt x="1021184" y="214752"/>
                    <a:pt x="1029487" y="205052"/>
                  </a:cubicBezTo>
                  <a:lnTo>
                    <a:pt x="1029872" y="206442"/>
                  </a:lnTo>
                  <a:lnTo>
                    <a:pt x="1031614" y="203719"/>
                  </a:lnTo>
                  <a:cubicBezTo>
                    <a:pt x="1033221" y="199204"/>
                    <a:pt x="1035713" y="196017"/>
                    <a:pt x="1038924" y="192280"/>
                  </a:cubicBezTo>
                  <a:cubicBezTo>
                    <a:pt x="1039956" y="191815"/>
                    <a:pt x="1040987" y="191349"/>
                    <a:pt x="1042049" y="190870"/>
                  </a:cubicBezTo>
                  <a:cubicBezTo>
                    <a:pt x="1043161" y="188473"/>
                    <a:pt x="1043161" y="188473"/>
                    <a:pt x="1044294" y="186026"/>
                  </a:cubicBezTo>
                  <a:cubicBezTo>
                    <a:pt x="1046735" y="181006"/>
                    <a:pt x="1046735" y="181006"/>
                    <a:pt x="1051422" y="178188"/>
                  </a:cubicBezTo>
                  <a:cubicBezTo>
                    <a:pt x="1052553" y="175286"/>
                    <a:pt x="1052553" y="175286"/>
                    <a:pt x="1052984" y="172551"/>
                  </a:cubicBezTo>
                  <a:cubicBezTo>
                    <a:pt x="1054014" y="172551"/>
                    <a:pt x="1055046" y="172551"/>
                    <a:pt x="1056108" y="172551"/>
                  </a:cubicBezTo>
                  <a:cubicBezTo>
                    <a:pt x="1057139" y="169295"/>
                    <a:pt x="1058170" y="166040"/>
                    <a:pt x="1059232" y="162686"/>
                  </a:cubicBezTo>
                  <a:cubicBezTo>
                    <a:pt x="1060263" y="162686"/>
                    <a:pt x="1061295" y="162686"/>
                    <a:pt x="1062357" y="162686"/>
                  </a:cubicBezTo>
                  <a:cubicBezTo>
                    <a:pt x="1062755" y="161484"/>
                    <a:pt x="1062755" y="161484"/>
                    <a:pt x="1063162" y="160258"/>
                  </a:cubicBezTo>
                  <a:cubicBezTo>
                    <a:pt x="1065716" y="152917"/>
                    <a:pt x="1068813" y="146686"/>
                    <a:pt x="1073292" y="140138"/>
                  </a:cubicBezTo>
                  <a:cubicBezTo>
                    <a:pt x="1074322" y="140138"/>
                    <a:pt x="1075353" y="140138"/>
                    <a:pt x="1076415" y="140138"/>
                  </a:cubicBezTo>
                  <a:cubicBezTo>
                    <a:pt x="1079808" y="132748"/>
                    <a:pt x="1082509" y="125160"/>
                    <a:pt x="1085294" y="117569"/>
                  </a:cubicBezTo>
                  <a:cubicBezTo>
                    <a:pt x="1085972" y="116181"/>
                    <a:pt x="1086651" y="114793"/>
                    <a:pt x="1087350" y="113363"/>
                  </a:cubicBezTo>
                  <a:cubicBezTo>
                    <a:pt x="1089671" y="112666"/>
                    <a:pt x="1089671" y="112666"/>
                    <a:pt x="1092037" y="111954"/>
                  </a:cubicBezTo>
                  <a:cubicBezTo>
                    <a:pt x="1092230" y="110879"/>
                    <a:pt x="1092423" y="109803"/>
                    <a:pt x="1092623" y="108695"/>
                  </a:cubicBezTo>
                  <a:cubicBezTo>
                    <a:pt x="1093599" y="104908"/>
                    <a:pt x="1093599" y="104908"/>
                    <a:pt x="1096723" y="100680"/>
                  </a:cubicBezTo>
                  <a:cubicBezTo>
                    <a:pt x="1097207" y="99140"/>
                    <a:pt x="1097689" y="97599"/>
                    <a:pt x="1098188" y="96013"/>
                  </a:cubicBezTo>
                  <a:cubicBezTo>
                    <a:pt x="1099847" y="90815"/>
                    <a:pt x="1099847" y="90815"/>
                    <a:pt x="1102288" y="87029"/>
                  </a:cubicBezTo>
                  <a:cubicBezTo>
                    <a:pt x="1106061" y="79186"/>
                    <a:pt x="1107564" y="69424"/>
                    <a:pt x="1104534" y="61222"/>
                  </a:cubicBezTo>
                  <a:cubicBezTo>
                    <a:pt x="1104409" y="59341"/>
                    <a:pt x="1104366" y="57454"/>
                    <a:pt x="1104381" y="55569"/>
                  </a:cubicBezTo>
                  <a:cubicBezTo>
                    <a:pt x="1104386" y="54501"/>
                    <a:pt x="1104391" y="53434"/>
                    <a:pt x="1104397" y="52335"/>
                  </a:cubicBezTo>
                  <a:cubicBezTo>
                    <a:pt x="1104410" y="51228"/>
                    <a:pt x="1104423" y="50120"/>
                    <a:pt x="1104436" y="48979"/>
                  </a:cubicBezTo>
                  <a:cubicBezTo>
                    <a:pt x="1104443" y="47856"/>
                    <a:pt x="1104451" y="46733"/>
                    <a:pt x="1104457" y="45575"/>
                  </a:cubicBezTo>
                  <a:cubicBezTo>
                    <a:pt x="1104476" y="42805"/>
                    <a:pt x="1104504" y="40035"/>
                    <a:pt x="1104534" y="37265"/>
                  </a:cubicBezTo>
                  <a:cubicBezTo>
                    <a:pt x="1105565" y="37265"/>
                    <a:pt x="1106596" y="37265"/>
                    <a:pt x="1107658" y="37265"/>
                  </a:cubicBezTo>
                  <a:cubicBezTo>
                    <a:pt x="1107561" y="34562"/>
                    <a:pt x="1107561" y="34562"/>
                    <a:pt x="1107463" y="31805"/>
                  </a:cubicBezTo>
                  <a:cubicBezTo>
                    <a:pt x="1107353" y="28733"/>
                    <a:pt x="1107353" y="28733"/>
                    <a:pt x="1107658" y="25991"/>
                  </a:cubicBezTo>
                  <a:cubicBezTo>
                    <a:pt x="1108689" y="25062"/>
                    <a:pt x="1109720" y="24131"/>
                    <a:pt x="1110782" y="23173"/>
                  </a:cubicBezTo>
                  <a:cubicBezTo>
                    <a:pt x="1111104" y="22156"/>
                    <a:pt x="1111427" y="21138"/>
                    <a:pt x="1111759" y="20091"/>
                  </a:cubicBezTo>
                  <a:cubicBezTo>
                    <a:pt x="1116393" y="11539"/>
                    <a:pt x="1124927" y="6390"/>
                    <a:pt x="1134507" y="2828"/>
                  </a:cubicBezTo>
                  <a:cubicBezTo>
                    <a:pt x="1141389" y="825"/>
                    <a:pt x="1148262" y="-204"/>
                    <a:pt x="1155019" y="35"/>
                  </a:cubicBezTo>
                  <a:close/>
                </a:path>
              </a:pathLst>
            </a:custGeom>
            <a:solidFill>
              <a:schemeClr val="accent3"/>
            </a:solidFill>
            <a:ln w="2232" cap="flat">
              <a:noFill/>
              <a:prstDash val="solid"/>
              <a:miter/>
            </a:ln>
            <a:effectLst>
              <a:innerShdw blurRad="63500" dist="190500" dir="8100000">
                <a:schemeClr val="accent3">
                  <a:lumMod val="75000"/>
                  <a:alpha val="50000"/>
                </a:schemeClr>
              </a:innerShdw>
            </a:effectLst>
          </p:spPr>
          <p:txBody>
            <a:bodyPr wrap="square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225" name="Oval 224">
              <a:extLst>
                <a:ext uri="{FF2B5EF4-FFF2-40B4-BE49-F238E27FC236}">
                  <a16:creationId xmlns:a16="http://schemas.microsoft.com/office/drawing/2014/main" id="{6F8CAEAB-EBE3-E23E-68A2-5041B0221DBD}"/>
                </a:ext>
              </a:extLst>
            </p:cNvPr>
            <p:cNvSpPr/>
            <p:nvPr/>
          </p:nvSpPr>
          <p:spPr>
            <a:xfrm>
              <a:off x="8562874" y="2669842"/>
              <a:ext cx="96793" cy="96793"/>
            </a:xfrm>
            <a:prstGeom prst="ellipse">
              <a:avLst/>
            </a:prstGeom>
            <a:solidFill>
              <a:schemeClr val="accent3">
                <a:lumMod val="75000"/>
                <a:alpha val="38000"/>
              </a:schemeClr>
            </a:solidFill>
            <a:ln>
              <a:noFill/>
            </a:ln>
            <a:effectLst>
              <a:outerShdw blurRad="50800" dist="38100" dir="8100000" sx="129000" sy="129000" algn="tr" rotWithShape="0">
                <a:schemeClr val="accent3">
                  <a:lumMod val="50000"/>
                  <a:alpha val="40000"/>
                </a:scheme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226" name="Oval 225">
              <a:extLst>
                <a:ext uri="{FF2B5EF4-FFF2-40B4-BE49-F238E27FC236}">
                  <a16:creationId xmlns:a16="http://schemas.microsoft.com/office/drawing/2014/main" id="{5CB41FD8-D985-3800-9DB7-7B9C82796919}"/>
                </a:ext>
              </a:extLst>
            </p:cNvPr>
            <p:cNvSpPr/>
            <p:nvPr/>
          </p:nvSpPr>
          <p:spPr>
            <a:xfrm>
              <a:off x="8692086" y="2754594"/>
              <a:ext cx="96793" cy="96793"/>
            </a:xfrm>
            <a:prstGeom prst="ellipse">
              <a:avLst/>
            </a:prstGeom>
            <a:solidFill>
              <a:schemeClr val="accent3">
                <a:lumMod val="75000"/>
                <a:alpha val="38000"/>
              </a:schemeClr>
            </a:solidFill>
            <a:ln>
              <a:noFill/>
            </a:ln>
            <a:effectLst>
              <a:outerShdw blurRad="50800" dist="38100" dir="8100000" sx="129000" sy="129000" algn="tr" rotWithShape="0">
                <a:schemeClr val="accent3">
                  <a:lumMod val="50000"/>
                  <a:alpha val="40000"/>
                </a:scheme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227" name="Oval 226">
              <a:extLst>
                <a:ext uri="{FF2B5EF4-FFF2-40B4-BE49-F238E27FC236}">
                  <a16:creationId xmlns:a16="http://schemas.microsoft.com/office/drawing/2014/main" id="{6AE0BAC4-DF46-3F9D-9F9F-7185EFC69CF3}"/>
                </a:ext>
              </a:extLst>
            </p:cNvPr>
            <p:cNvSpPr/>
            <p:nvPr/>
          </p:nvSpPr>
          <p:spPr>
            <a:xfrm>
              <a:off x="8598303" y="2912286"/>
              <a:ext cx="75769" cy="75769"/>
            </a:xfrm>
            <a:prstGeom prst="ellipse">
              <a:avLst/>
            </a:prstGeom>
            <a:solidFill>
              <a:schemeClr val="accent3">
                <a:lumMod val="75000"/>
                <a:alpha val="38000"/>
              </a:schemeClr>
            </a:solidFill>
            <a:ln>
              <a:noFill/>
            </a:ln>
            <a:effectLst>
              <a:outerShdw blurRad="50800" dist="38100" dir="8100000" sx="129000" sy="129000" algn="tr" rotWithShape="0">
                <a:schemeClr val="accent3">
                  <a:lumMod val="50000"/>
                  <a:alpha val="40000"/>
                </a:scheme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228" name="Oval 227">
              <a:extLst>
                <a:ext uri="{FF2B5EF4-FFF2-40B4-BE49-F238E27FC236}">
                  <a16:creationId xmlns:a16="http://schemas.microsoft.com/office/drawing/2014/main" id="{5A97B81C-C85F-0D69-42A7-3F3EEB14F4AE}"/>
                </a:ext>
              </a:extLst>
            </p:cNvPr>
            <p:cNvSpPr/>
            <p:nvPr/>
          </p:nvSpPr>
          <p:spPr>
            <a:xfrm>
              <a:off x="8800456" y="2894919"/>
              <a:ext cx="96793" cy="96793"/>
            </a:xfrm>
            <a:prstGeom prst="ellipse">
              <a:avLst/>
            </a:prstGeom>
            <a:solidFill>
              <a:schemeClr val="accent3">
                <a:lumMod val="75000"/>
                <a:alpha val="38000"/>
              </a:schemeClr>
            </a:solidFill>
            <a:ln>
              <a:noFill/>
            </a:ln>
            <a:effectLst>
              <a:outerShdw blurRad="50800" dist="38100" dir="8100000" sx="129000" sy="129000" algn="tr" rotWithShape="0">
                <a:schemeClr val="accent3">
                  <a:lumMod val="50000"/>
                  <a:alpha val="40000"/>
                </a:scheme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229" name="Oval 228">
              <a:extLst>
                <a:ext uri="{FF2B5EF4-FFF2-40B4-BE49-F238E27FC236}">
                  <a16:creationId xmlns:a16="http://schemas.microsoft.com/office/drawing/2014/main" id="{8E5AB3F2-0018-DAC3-C99A-B3C7E8A401D5}"/>
                </a:ext>
              </a:extLst>
            </p:cNvPr>
            <p:cNvSpPr/>
            <p:nvPr/>
          </p:nvSpPr>
          <p:spPr>
            <a:xfrm>
              <a:off x="8831716" y="2693461"/>
              <a:ext cx="65532" cy="65532"/>
            </a:xfrm>
            <a:prstGeom prst="ellipse">
              <a:avLst/>
            </a:prstGeom>
            <a:solidFill>
              <a:schemeClr val="accent3">
                <a:lumMod val="75000"/>
                <a:alpha val="38000"/>
              </a:schemeClr>
            </a:solidFill>
            <a:ln>
              <a:noFill/>
            </a:ln>
            <a:effectLst>
              <a:outerShdw blurRad="50800" dist="38100" dir="8100000" sx="129000" sy="129000" algn="tr" rotWithShape="0">
                <a:schemeClr val="accent3">
                  <a:lumMod val="50000"/>
                  <a:alpha val="40000"/>
                </a:scheme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</p:grpSp>
      <p:grpSp>
        <p:nvGrpSpPr>
          <p:cNvPr id="246" name="Group 245">
            <a:extLst>
              <a:ext uri="{FF2B5EF4-FFF2-40B4-BE49-F238E27FC236}">
                <a16:creationId xmlns:a16="http://schemas.microsoft.com/office/drawing/2014/main" id="{740C1B0F-6600-784A-5537-EE428315B1A4}"/>
              </a:ext>
            </a:extLst>
          </p:cNvPr>
          <p:cNvGrpSpPr/>
          <p:nvPr/>
        </p:nvGrpSpPr>
        <p:grpSpPr>
          <a:xfrm>
            <a:off x="5691353" y="3252913"/>
            <a:ext cx="1065280" cy="1082829"/>
            <a:chOff x="8243626" y="2436763"/>
            <a:chExt cx="880396" cy="894900"/>
          </a:xfrm>
        </p:grpSpPr>
        <p:sp>
          <p:nvSpPr>
            <p:cNvPr id="247" name="Oval 246">
              <a:extLst>
                <a:ext uri="{FF2B5EF4-FFF2-40B4-BE49-F238E27FC236}">
                  <a16:creationId xmlns:a16="http://schemas.microsoft.com/office/drawing/2014/main" id="{59BB43C8-6A89-1374-A688-B705166E3C99}"/>
                </a:ext>
              </a:extLst>
            </p:cNvPr>
            <p:cNvSpPr/>
            <p:nvPr/>
          </p:nvSpPr>
          <p:spPr>
            <a:xfrm>
              <a:off x="8329605" y="3184043"/>
              <a:ext cx="656485" cy="147620"/>
            </a:xfrm>
            <a:prstGeom prst="ellipse">
              <a:avLst/>
            </a:prstGeom>
            <a:solidFill>
              <a:schemeClr val="tx1">
                <a:alpha val="5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248" name="Free-form: Shape 247">
              <a:extLst>
                <a:ext uri="{FF2B5EF4-FFF2-40B4-BE49-F238E27FC236}">
                  <a16:creationId xmlns:a16="http://schemas.microsoft.com/office/drawing/2014/main" id="{37EE09ED-393F-6094-B8D3-DCD0559E0D8E}"/>
                </a:ext>
              </a:extLst>
            </p:cNvPr>
            <p:cNvSpPr/>
            <p:nvPr/>
          </p:nvSpPr>
          <p:spPr>
            <a:xfrm>
              <a:off x="8243626" y="2436763"/>
              <a:ext cx="880396" cy="841622"/>
            </a:xfrm>
            <a:custGeom>
              <a:avLst/>
              <a:gdLst>
                <a:gd name="csX0" fmla="*/ 401579 w 1609516"/>
                <a:gd name="csY0" fmla="*/ 1495809 h 1538630"/>
                <a:gd name="csX1" fmla="*/ 400190 w 1609516"/>
                <a:gd name="csY1" fmla="*/ 1496004 h 1538630"/>
                <a:gd name="csX2" fmla="*/ 401224 w 1609516"/>
                <a:gd name="csY2" fmla="*/ 1496470 h 1538630"/>
                <a:gd name="csX3" fmla="*/ 401224 w 1609516"/>
                <a:gd name="csY3" fmla="*/ 1498590 h 1538630"/>
                <a:gd name="csX4" fmla="*/ 401579 w 1609516"/>
                <a:gd name="csY4" fmla="*/ 1498628 h 1538630"/>
                <a:gd name="csX5" fmla="*/ 401579 w 1609516"/>
                <a:gd name="csY5" fmla="*/ 1495809 h 1538630"/>
                <a:gd name="csX6" fmla="*/ 368755 w 1609516"/>
                <a:gd name="csY6" fmla="*/ 1486512 h 1538630"/>
                <a:gd name="csX7" fmla="*/ 364089 w 1609516"/>
                <a:gd name="csY7" fmla="*/ 1487354 h 1538630"/>
                <a:gd name="csX8" fmla="*/ 364089 w 1609516"/>
                <a:gd name="csY8" fmla="*/ 1487908 h 1538630"/>
                <a:gd name="csX9" fmla="*/ 1049801 w 1609516"/>
                <a:gd name="csY9" fmla="*/ 1484562 h 1538630"/>
                <a:gd name="csX10" fmla="*/ 1046735 w 1609516"/>
                <a:gd name="csY10" fmla="*/ 1485945 h 1538630"/>
                <a:gd name="csX11" fmla="*/ 1046955 w 1609516"/>
                <a:gd name="csY11" fmla="*/ 1486045 h 1538630"/>
                <a:gd name="csX12" fmla="*/ 1049801 w 1609516"/>
                <a:gd name="csY12" fmla="*/ 1485188 h 1538630"/>
                <a:gd name="csX13" fmla="*/ 351234 w 1609516"/>
                <a:gd name="csY13" fmla="*/ 1444508 h 1538630"/>
                <a:gd name="csX14" fmla="*/ 351234 w 1609516"/>
                <a:gd name="csY14" fmla="*/ 1444997 h 1538630"/>
                <a:gd name="csX15" fmla="*/ 351592 w 1609516"/>
                <a:gd name="csY15" fmla="*/ 1445078 h 1538630"/>
                <a:gd name="csX16" fmla="*/ 351908 w 1609516"/>
                <a:gd name="csY16" fmla="*/ 1431206 h 1538630"/>
                <a:gd name="csX17" fmla="*/ 351234 w 1609516"/>
                <a:gd name="csY17" fmla="*/ 1431611 h 1538630"/>
                <a:gd name="csX18" fmla="*/ 351234 w 1609516"/>
                <a:gd name="csY18" fmla="*/ 1432274 h 1538630"/>
                <a:gd name="csX19" fmla="*/ 358162 w 1609516"/>
                <a:gd name="csY19" fmla="*/ 1421494 h 1538630"/>
                <a:gd name="csX20" fmla="*/ 355921 w 1609516"/>
                <a:gd name="csY20" fmla="*/ 1423156 h 1538630"/>
                <a:gd name="csX21" fmla="*/ 355921 w 1609516"/>
                <a:gd name="csY21" fmla="*/ 1423548 h 1538630"/>
                <a:gd name="csX22" fmla="*/ 376098 w 1609516"/>
                <a:gd name="csY22" fmla="*/ 1408347 h 1538630"/>
                <a:gd name="csX23" fmla="*/ 370750 w 1609516"/>
                <a:gd name="csY23" fmla="*/ 1412245 h 1538630"/>
                <a:gd name="csX24" fmla="*/ 375023 w 1609516"/>
                <a:gd name="csY24" fmla="*/ 1411256 h 1538630"/>
                <a:gd name="csX25" fmla="*/ 421956 w 1609516"/>
                <a:gd name="csY25" fmla="*/ 1365623 h 1538630"/>
                <a:gd name="csX26" fmla="*/ 421765 w 1609516"/>
                <a:gd name="csY26" fmla="*/ 1366161 h 1538630"/>
                <a:gd name="csX27" fmla="*/ 421887 w 1609516"/>
                <a:gd name="csY27" fmla="*/ 1366161 h 1538630"/>
                <a:gd name="csX28" fmla="*/ 754553 w 1609516"/>
                <a:gd name="csY28" fmla="*/ 1360575 h 1538630"/>
                <a:gd name="csX29" fmla="*/ 754089 w 1609516"/>
                <a:gd name="csY29" fmla="*/ 1361433 h 1538630"/>
                <a:gd name="csX30" fmla="*/ 754431 w 1609516"/>
                <a:gd name="csY30" fmla="*/ 1361125 h 1538630"/>
                <a:gd name="csX31" fmla="*/ 1277973 w 1609516"/>
                <a:gd name="csY31" fmla="*/ 1332923 h 1538630"/>
                <a:gd name="csX32" fmla="*/ 1277944 w 1609516"/>
                <a:gd name="csY32" fmla="*/ 1332936 h 1538630"/>
                <a:gd name="csX33" fmla="*/ 1277949 w 1609516"/>
                <a:gd name="csY33" fmla="*/ 1333139 h 1538630"/>
                <a:gd name="csX34" fmla="*/ 1268556 w 1609516"/>
                <a:gd name="csY34" fmla="*/ 1321066 h 1538630"/>
                <a:gd name="csX35" fmla="*/ 1268556 w 1609516"/>
                <a:gd name="csY35" fmla="*/ 1325294 h 1538630"/>
                <a:gd name="csX36" fmla="*/ 1265432 w 1609516"/>
                <a:gd name="csY36" fmla="*/ 1325294 h 1538630"/>
                <a:gd name="csX37" fmla="*/ 1265432 w 1609516"/>
                <a:gd name="csY37" fmla="*/ 1340795 h 1538630"/>
                <a:gd name="csX38" fmla="*/ 1265476 w 1609516"/>
                <a:gd name="csY38" fmla="*/ 1340714 h 1538630"/>
                <a:gd name="csX39" fmla="*/ 1265476 w 1609516"/>
                <a:gd name="csY39" fmla="*/ 1325877 h 1538630"/>
                <a:gd name="csX40" fmla="*/ 1268600 w 1609516"/>
                <a:gd name="csY40" fmla="*/ 1325877 h 1538630"/>
                <a:gd name="csX41" fmla="*/ 1268600 w 1609516"/>
                <a:gd name="csY41" fmla="*/ 1321649 h 1538630"/>
                <a:gd name="csX42" fmla="*/ 1273286 w 1609516"/>
                <a:gd name="csY42" fmla="*/ 1321649 h 1538630"/>
                <a:gd name="csX43" fmla="*/ 1273227 w 1609516"/>
                <a:gd name="csY43" fmla="*/ 1321066 h 1538630"/>
                <a:gd name="csX44" fmla="*/ 827891 w 1609516"/>
                <a:gd name="csY44" fmla="*/ 1291474 h 1538630"/>
                <a:gd name="csX45" fmla="*/ 822601 w 1609516"/>
                <a:gd name="csY45" fmla="*/ 1291544 h 1538630"/>
                <a:gd name="csX46" fmla="*/ 818272 w 1609516"/>
                <a:gd name="csY46" fmla="*/ 1292220 h 1538630"/>
                <a:gd name="csX47" fmla="*/ 827891 w 1609516"/>
                <a:gd name="csY47" fmla="*/ 1292047 h 1538630"/>
                <a:gd name="csX48" fmla="*/ 856397 w 1609516"/>
                <a:gd name="csY48" fmla="*/ 1288691 h 1538630"/>
                <a:gd name="csX49" fmla="*/ 865903 w 1609516"/>
                <a:gd name="csY49" fmla="*/ 1290590 h 1538630"/>
                <a:gd name="csX50" fmla="*/ 859999 w 1609516"/>
                <a:gd name="csY50" fmla="*/ 1288752 h 1538630"/>
                <a:gd name="csX51" fmla="*/ 834694 w 1609516"/>
                <a:gd name="csY51" fmla="*/ 1288572 h 1538630"/>
                <a:gd name="csX52" fmla="*/ 828038 w 1609516"/>
                <a:gd name="csY52" fmla="*/ 1288654 h 1538630"/>
                <a:gd name="csX53" fmla="*/ 828038 w 1609516"/>
                <a:gd name="csY53" fmla="*/ 1289214 h 1538630"/>
                <a:gd name="csX54" fmla="*/ 229746 w 1609516"/>
                <a:gd name="csY54" fmla="*/ 1191418 h 1538630"/>
                <a:gd name="csX55" fmla="*/ 227402 w 1609516"/>
                <a:gd name="csY55" fmla="*/ 1191947 h 1538630"/>
                <a:gd name="csX56" fmla="*/ 229315 w 1609516"/>
                <a:gd name="csY56" fmla="*/ 1191947 h 1538630"/>
                <a:gd name="csX57" fmla="*/ 229315 w 1609516"/>
                <a:gd name="csY57" fmla="*/ 1194765 h 1538630"/>
                <a:gd name="csX58" fmla="*/ 231321 w 1609516"/>
                <a:gd name="csY58" fmla="*/ 1194765 h 1538630"/>
                <a:gd name="csX59" fmla="*/ 229746 w 1609516"/>
                <a:gd name="csY59" fmla="*/ 1194236 h 1538630"/>
                <a:gd name="csX60" fmla="*/ 229746 w 1609516"/>
                <a:gd name="csY60" fmla="*/ 1191418 h 1538630"/>
                <a:gd name="csX61" fmla="*/ 215687 w 1609516"/>
                <a:gd name="csY61" fmla="*/ 1187190 h 1538630"/>
                <a:gd name="csX62" fmla="*/ 215198 w 1609516"/>
                <a:gd name="csY62" fmla="*/ 1187720 h 1538630"/>
                <a:gd name="csX63" fmla="*/ 215256 w 1609516"/>
                <a:gd name="csY63" fmla="*/ 1187720 h 1538630"/>
                <a:gd name="csX64" fmla="*/ 215256 w 1609516"/>
                <a:gd name="csY64" fmla="*/ 1191947 h 1538630"/>
                <a:gd name="csX65" fmla="*/ 222721 w 1609516"/>
                <a:gd name="csY65" fmla="*/ 1191947 h 1538630"/>
                <a:gd name="csX66" fmla="*/ 215687 w 1609516"/>
                <a:gd name="csY66" fmla="*/ 1191418 h 1538630"/>
                <a:gd name="csX67" fmla="*/ 215687 w 1609516"/>
                <a:gd name="csY67" fmla="*/ 1187190 h 1538630"/>
                <a:gd name="csX68" fmla="*/ 1279678 w 1609516"/>
                <a:gd name="csY68" fmla="*/ 1082356 h 1538630"/>
                <a:gd name="csX69" fmla="*/ 1271680 w 1609516"/>
                <a:gd name="csY69" fmla="*/ 1084589 h 1538630"/>
                <a:gd name="csX70" fmla="*/ 1282181 w 1609516"/>
                <a:gd name="csY70" fmla="*/ 1082544 h 1538630"/>
                <a:gd name="csX71" fmla="*/ 117703 w 1609516"/>
                <a:gd name="csY71" fmla="*/ 941507 h 1538630"/>
                <a:gd name="csX72" fmla="*/ 112587 w 1609516"/>
                <a:gd name="csY72" fmla="*/ 941985 h 1538630"/>
                <a:gd name="csX73" fmla="*/ 112565 w 1609516"/>
                <a:gd name="csY73" fmla="*/ 942333 h 1538630"/>
                <a:gd name="csX74" fmla="*/ 115665 w 1609516"/>
                <a:gd name="csY74" fmla="*/ 941837 h 1538630"/>
                <a:gd name="csX75" fmla="*/ 144268 w 1609516"/>
                <a:gd name="csY75" fmla="*/ 939395 h 1538630"/>
                <a:gd name="csX76" fmla="*/ 143354 w 1609516"/>
                <a:gd name="csY76" fmla="*/ 939580 h 1538630"/>
                <a:gd name="csX77" fmla="*/ 144077 w 1609516"/>
                <a:gd name="csY77" fmla="*/ 939739 h 1538630"/>
                <a:gd name="csX78" fmla="*/ 162575 w 1609516"/>
                <a:gd name="csY78" fmla="*/ 933530 h 1538630"/>
                <a:gd name="csX79" fmla="*/ 161704 w 1609516"/>
                <a:gd name="csY79" fmla="*/ 935101 h 1538630"/>
                <a:gd name="csX80" fmla="*/ 170045 w 1609516"/>
                <a:gd name="csY80" fmla="*/ 933585 h 1538630"/>
                <a:gd name="csX81" fmla="*/ 1321645 w 1609516"/>
                <a:gd name="csY81" fmla="*/ 918415 h 1538630"/>
                <a:gd name="csX82" fmla="*/ 1321534 w 1609516"/>
                <a:gd name="csY82" fmla="*/ 920177 h 1538630"/>
                <a:gd name="csX83" fmla="*/ 1321740 w 1609516"/>
                <a:gd name="csY83" fmla="*/ 918415 h 1538630"/>
                <a:gd name="csX84" fmla="*/ 1319333 w 1609516"/>
                <a:gd name="csY84" fmla="*/ 915183 h 1538630"/>
                <a:gd name="csX85" fmla="*/ 1318544 w 1609516"/>
                <a:gd name="csY85" fmla="*/ 918029 h 1538630"/>
                <a:gd name="csX86" fmla="*/ 1318702 w 1609516"/>
                <a:gd name="csY86" fmla="*/ 918029 h 1538630"/>
                <a:gd name="csX87" fmla="*/ 1326355 w 1609516"/>
                <a:gd name="csY87" fmla="*/ 907109 h 1538630"/>
                <a:gd name="csX88" fmla="*/ 1326355 w 1609516"/>
                <a:gd name="csY88" fmla="*/ 910983 h 1538630"/>
                <a:gd name="csX89" fmla="*/ 1325831 w 1609516"/>
                <a:gd name="csY89" fmla="*/ 911101 h 1538630"/>
                <a:gd name="csX90" fmla="*/ 1326426 w 1609516"/>
                <a:gd name="csY90" fmla="*/ 911369 h 1538630"/>
                <a:gd name="csX91" fmla="*/ 1326426 w 1609516"/>
                <a:gd name="csY91" fmla="*/ 907141 h 1538630"/>
                <a:gd name="csX92" fmla="*/ 1328144 w 1609516"/>
                <a:gd name="csY92" fmla="*/ 892192 h 1538630"/>
                <a:gd name="csX93" fmla="*/ 1327667 w 1609516"/>
                <a:gd name="csY93" fmla="*/ 893446 h 1538630"/>
                <a:gd name="csX94" fmla="*/ 1327989 w 1609516"/>
                <a:gd name="csY94" fmla="*/ 893049 h 1538630"/>
                <a:gd name="csX95" fmla="*/ 49605 w 1609516"/>
                <a:gd name="csY95" fmla="*/ 887420 h 1538630"/>
                <a:gd name="csX96" fmla="*/ 48549 w 1609516"/>
                <a:gd name="csY96" fmla="*/ 891229 h 1538630"/>
                <a:gd name="csX97" fmla="*/ 49956 w 1609516"/>
                <a:gd name="csY97" fmla="*/ 887420 h 1538630"/>
                <a:gd name="csX98" fmla="*/ 1332266 w 1609516"/>
                <a:gd name="csY98" fmla="*/ 883369 h 1538630"/>
                <a:gd name="csX99" fmla="*/ 1329479 w 1609516"/>
                <a:gd name="csY99" fmla="*/ 884207 h 1538630"/>
                <a:gd name="csX100" fmla="*/ 1329509 w 1609516"/>
                <a:gd name="csY100" fmla="*/ 884816 h 1538630"/>
                <a:gd name="csX101" fmla="*/ 1329551 w 1609516"/>
                <a:gd name="csY101" fmla="*/ 884594 h 1538630"/>
                <a:gd name="csX102" fmla="*/ 1555987 w 1609516"/>
                <a:gd name="csY102" fmla="*/ 821766 h 1538630"/>
                <a:gd name="csX103" fmla="*/ 1555987 w 1609516"/>
                <a:gd name="csY103" fmla="*/ 822201 h 1538630"/>
                <a:gd name="csX104" fmla="*/ 1556081 w 1609516"/>
                <a:gd name="csY104" fmla="*/ 822189 h 1538630"/>
                <a:gd name="csX105" fmla="*/ 1565360 w 1609516"/>
                <a:gd name="csY105" fmla="*/ 810928 h 1538630"/>
                <a:gd name="csX106" fmla="*/ 1564871 w 1609516"/>
                <a:gd name="csY106" fmla="*/ 811809 h 1538630"/>
                <a:gd name="csX107" fmla="*/ 1567314 w 1609516"/>
                <a:gd name="csY107" fmla="*/ 810928 h 1538630"/>
                <a:gd name="csX108" fmla="*/ 1563797 w 1609516"/>
                <a:gd name="csY108" fmla="*/ 810928 h 1538630"/>
                <a:gd name="csX109" fmla="*/ 1556762 w 1609516"/>
                <a:gd name="csY109" fmla="*/ 814736 h 1538630"/>
                <a:gd name="csX110" fmla="*/ 1563797 w 1609516"/>
                <a:gd name="csY110" fmla="*/ 812197 h 1538630"/>
                <a:gd name="csX111" fmla="*/ 265833 w 1609516"/>
                <a:gd name="csY111" fmla="*/ 806020 h 1538630"/>
                <a:gd name="csX112" fmla="*/ 263704 w 1609516"/>
                <a:gd name="csY112" fmla="*/ 809861 h 1538630"/>
                <a:gd name="csX113" fmla="*/ 263704 w 1609516"/>
                <a:gd name="csY113" fmla="*/ 816750 h 1538630"/>
                <a:gd name="csX114" fmla="*/ 264113 w 1609516"/>
                <a:gd name="csY114" fmla="*/ 816565 h 1538630"/>
                <a:gd name="csX115" fmla="*/ 263918 w 1609516"/>
                <a:gd name="csY115" fmla="*/ 812777 h 1538630"/>
                <a:gd name="csX116" fmla="*/ 263774 w 1609516"/>
                <a:gd name="csY116" fmla="*/ 779374 h 1538630"/>
                <a:gd name="csX117" fmla="*/ 263704 w 1609516"/>
                <a:gd name="csY117" fmla="*/ 783086 h 1538630"/>
                <a:gd name="csX118" fmla="*/ 264484 w 1609516"/>
                <a:gd name="csY118" fmla="*/ 785816 h 1538630"/>
                <a:gd name="csX119" fmla="*/ 265265 w 1609516"/>
                <a:gd name="csY119" fmla="*/ 794448 h 1538630"/>
                <a:gd name="csX120" fmla="*/ 265217 w 1609516"/>
                <a:gd name="csY120" fmla="*/ 799730 h 1538630"/>
                <a:gd name="csX121" fmla="*/ 266556 w 1609516"/>
                <a:gd name="csY121" fmla="*/ 803466 h 1538630"/>
                <a:gd name="csX122" fmla="*/ 267237 w 1609516"/>
                <a:gd name="csY122" fmla="*/ 801063 h 1538630"/>
                <a:gd name="csX123" fmla="*/ 265675 w 1609516"/>
                <a:gd name="csY123" fmla="*/ 799654 h 1538630"/>
                <a:gd name="csX124" fmla="*/ 265675 w 1609516"/>
                <a:gd name="csY124" fmla="*/ 793841 h 1538630"/>
                <a:gd name="csX125" fmla="*/ 260988 w 1609516"/>
                <a:gd name="csY125" fmla="*/ 770061 h 1538630"/>
                <a:gd name="csX126" fmla="*/ 260988 w 1609516"/>
                <a:gd name="csY126" fmla="*/ 771364 h 1538630"/>
                <a:gd name="csX127" fmla="*/ 263497 w 1609516"/>
                <a:gd name="csY127" fmla="*/ 777263 h 1538630"/>
                <a:gd name="csX128" fmla="*/ 262551 w 1609516"/>
                <a:gd name="csY128" fmla="*/ 770061 h 1538630"/>
                <a:gd name="csX129" fmla="*/ 260988 w 1609516"/>
                <a:gd name="csY129" fmla="*/ 770061 h 1538630"/>
                <a:gd name="csX130" fmla="*/ 157888 w 1609516"/>
                <a:gd name="csY130" fmla="*/ 651686 h 1538630"/>
                <a:gd name="csX131" fmla="*/ 157415 w 1609516"/>
                <a:gd name="csY131" fmla="*/ 651764 h 1538630"/>
                <a:gd name="csX132" fmla="*/ 160373 w 1609516"/>
                <a:gd name="csY132" fmla="*/ 652274 h 1538630"/>
                <a:gd name="csX133" fmla="*/ 267237 w 1609516"/>
                <a:gd name="csY133" fmla="*/ 426537 h 1538630"/>
                <a:gd name="csX134" fmla="*/ 267237 w 1609516"/>
                <a:gd name="csY134" fmla="*/ 427619 h 1538630"/>
                <a:gd name="csX135" fmla="*/ 270380 w 1609516"/>
                <a:gd name="csY135" fmla="*/ 428137 h 1538630"/>
                <a:gd name="csX136" fmla="*/ 273548 w 1609516"/>
                <a:gd name="csY136" fmla="*/ 428680 h 1538630"/>
                <a:gd name="csX137" fmla="*/ 37605 w 1609516"/>
                <a:gd name="csY137" fmla="*/ 359270 h 1538630"/>
                <a:gd name="csX138" fmla="*/ 37103 w 1609516"/>
                <a:gd name="csY138" fmla="*/ 361533 h 1538630"/>
                <a:gd name="csX139" fmla="*/ 37605 w 1609516"/>
                <a:gd name="csY139" fmla="*/ 361382 h 1538630"/>
                <a:gd name="csX140" fmla="*/ 52477 w 1609516"/>
                <a:gd name="csY140" fmla="*/ 337570 h 1538630"/>
                <a:gd name="csX141" fmla="*/ 47288 w 1609516"/>
                <a:gd name="csY141" fmla="*/ 342340 h 1538630"/>
                <a:gd name="csX142" fmla="*/ 45805 w 1609516"/>
                <a:gd name="csY142" fmla="*/ 345093 h 1538630"/>
                <a:gd name="csX143" fmla="*/ 104291 w 1609516"/>
                <a:gd name="csY143" fmla="*/ 336166 h 1538630"/>
                <a:gd name="csX144" fmla="*/ 103776 w 1609516"/>
                <a:gd name="csY144" fmla="*/ 337559 h 1538630"/>
                <a:gd name="csX145" fmla="*/ 108925 w 1609516"/>
                <a:gd name="csY145" fmla="*/ 336166 h 1538630"/>
                <a:gd name="csX146" fmla="*/ 1309237 w 1609516"/>
                <a:gd name="csY146" fmla="*/ 322954 h 1538630"/>
                <a:gd name="csX147" fmla="*/ 1309180 w 1609516"/>
                <a:gd name="csY147" fmla="*/ 330559 h 1538630"/>
                <a:gd name="csX148" fmla="*/ 1309237 w 1609516"/>
                <a:gd name="csY148" fmla="*/ 330520 h 1538630"/>
                <a:gd name="csX149" fmla="*/ 1308964 w 1609516"/>
                <a:gd name="csY149" fmla="*/ 317715 h 1538630"/>
                <a:gd name="csX150" fmla="*/ 1309237 w 1609516"/>
                <a:gd name="csY150" fmla="*/ 318569 h 1538630"/>
                <a:gd name="csX151" fmla="*/ 1309237 w 1609516"/>
                <a:gd name="csY151" fmla="*/ 317838 h 1538630"/>
                <a:gd name="csX152" fmla="*/ 1310087 w 1609516"/>
                <a:gd name="csY152" fmla="*/ 313153 h 1538630"/>
                <a:gd name="csX153" fmla="*/ 1307609 w 1609516"/>
                <a:gd name="csY153" fmla="*/ 313473 h 1538630"/>
                <a:gd name="csX154" fmla="*/ 1308045 w 1609516"/>
                <a:gd name="csY154" fmla="*/ 314836 h 1538630"/>
                <a:gd name="csX155" fmla="*/ 1318544 w 1609516"/>
                <a:gd name="csY155" fmla="*/ 312064 h 1538630"/>
                <a:gd name="csX156" fmla="*/ 1316298 w 1609516"/>
                <a:gd name="csY156" fmla="*/ 312353 h 1538630"/>
                <a:gd name="csX157" fmla="*/ 1318544 w 1609516"/>
                <a:gd name="csY157" fmla="*/ 312205 h 1538630"/>
                <a:gd name="csX158" fmla="*/ 1084622 w 1609516"/>
                <a:gd name="csY158" fmla="*/ 267674 h 1538630"/>
                <a:gd name="csX159" fmla="*/ 1084227 w 1609516"/>
                <a:gd name="csY159" fmla="*/ 268378 h 1538630"/>
                <a:gd name="csX160" fmla="*/ 1079540 w 1609516"/>
                <a:gd name="csY160" fmla="*/ 268378 h 1538630"/>
                <a:gd name="csX161" fmla="*/ 1079603 w 1609516"/>
                <a:gd name="csY161" fmla="*/ 268477 h 1538630"/>
                <a:gd name="csX162" fmla="*/ 1084192 w 1609516"/>
                <a:gd name="csY162" fmla="*/ 268477 h 1538630"/>
                <a:gd name="csX163" fmla="*/ 956410 w 1609516"/>
                <a:gd name="csY163" fmla="*/ 266968 h 1538630"/>
                <a:gd name="csX164" fmla="*/ 957576 w 1609516"/>
                <a:gd name="csY164" fmla="*/ 267083 h 1538630"/>
                <a:gd name="csX165" fmla="*/ 957576 w 1609516"/>
                <a:gd name="csY165" fmla="*/ 269776 h 1538630"/>
                <a:gd name="csX166" fmla="*/ 957694 w 1609516"/>
                <a:gd name="csY166" fmla="*/ 269787 h 1538630"/>
                <a:gd name="csX167" fmla="*/ 957694 w 1609516"/>
                <a:gd name="csY167" fmla="*/ 266968 h 1538630"/>
                <a:gd name="csX168" fmla="*/ 1089372 w 1609516"/>
                <a:gd name="csY168" fmla="*/ 259220 h 1538630"/>
                <a:gd name="csX169" fmla="*/ 1085856 w 1609516"/>
                <a:gd name="csY169" fmla="*/ 265479 h 1538630"/>
                <a:gd name="csX170" fmla="*/ 1088878 w 1609516"/>
                <a:gd name="csY170" fmla="*/ 261431 h 1538630"/>
                <a:gd name="csX171" fmla="*/ 1018517 w 1609516"/>
                <a:gd name="csY171" fmla="*/ 223356 h 1538630"/>
                <a:gd name="csX172" fmla="*/ 1013866 w 1609516"/>
                <a:gd name="csY172" fmla="*/ 226190 h 1538630"/>
                <a:gd name="csX173" fmla="*/ 1013024 w 1609516"/>
                <a:gd name="csY173" fmla="*/ 227709 h 1538630"/>
                <a:gd name="csX174" fmla="*/ 1017055 w 1609516"/>
                <a:gd name="csY174" fmla="*/ 224692 h 1538630"/>
                <a:gd name="csX175" fmla="*/ 850645 w 1609516"/>
                <a:gd name="csY175" fmla="*/ 220099 h 1538630"/>
                <a:gd name="csX176" fmla="*/ 850897 w 1609516"/>
                <a:gd name="csY176" fmla="*/ 221488 h 1538630"/>
                <a:gd name="csX177" fmla="*/ 851470 w 1609516"/>
                <a:gd name="csY177" fmla="*/ 224692 h 1538630"/>
                <a:gd name="csX178" fmla="*/ 852860 w 1609516"/>
                <a:gd name="csY178" fmla="*/ 224692 h 1538630"/>
                <a:gd name="csX179" fmla="*/ 1155019 w 1609516"/>
                <a:gd name="csY179" fmla="*/ 35 h 1538630"/>
                <a:gd name="csX180" fmla="*/ 1174829 w 1609516"/>
                <a:gd name="csY180" fmla="*/ 4853 h 1538630"/>
                <a:gd name="csX181" fmla="*/ 1179418 w 1609516"/>
                <a:gd name="csY181" fmla="*/ 5998 h 1538630"/>
                <a:gd name="csX182" fmla="*/ 1201385 w 1609516"/>
                <a:gd name="csY182" fmla="*/ 22997 h 1538630"/>
                <a:gd name="csX183" fmla="*/ 1201678 w 1609516"/>
                <a:gd name="csY183" fmla="*/ 62191 h 1538630"/>
                <a:gd name="csX184" fmla="*/ 1198261 w 1609516"/>
                <a:gd name="csY184" fmla="*/ 68268 h 1538630"/>
                <a:gd name="csX185" fmla="*/ 1195723 w 1609516"/>
                <a:gd name="csY185" fmla="*/ 72672 h 1538630"/>
                <a:gd name="csX186" fmla="*/ 1193575 w 1609516"/>
                <a:gd name="csY186" fmla="*/ 75314 h 1538630"/>
                <a:gd name="csX187" fmla="*/ 1190450 w 1609516"/>
                <a:gd name="csY187" fmla="*/ 75314 h 1538630"/>
                <a:gd name="csX188" fmla="*/ 1189474 w 1609516"/>
                <a:gd name="csY188" fmla="*/ 79366 h 1538630"/>
                <a:gd name="csX189" fmla="*/ 1182445 w 1609516"/>
                <a:gd name="csY189" fmla="*/ 85707 h 1538630"/>
                <a:gd name="csX190" fmla="*/ 1177953 w 1609516"/>
                <a:gd name="csY190" fmla="*/ 86588 h 1538630"/>
                <a:gd name="csX191" fmla="*/ 1177953 w 1609516"/>
                <a:gd name="csY191" fmla="*/ 89406 h 1538630"/>
                <a:gd name="csX192" fmla="*/ 1170045 w 1609516"/>
                <a:gd name="csY192" fmla="*/ 94251 h 1538630"/>
                <a:gd name="csX193" fmla="*/ 1143806 w 1609516"/>
                <a:gd name="csY193" fmla="*/ 132828 h 1538630"/>
                <a:gd name="csX194" fmla="*/ 1137338 w 1609516"/>
                <a:gd name="csY194" fmla="*/ 141548 h 1538630"/>
                <a:gd name="csX195" fmla="*/ 1133970 w 1609516"/>
                <a:gd name="csY195" fmla="*/ 149403 h 1538630"/>
                <a:gd name="csX196" fmla="*/ 1127965 w 1609516"/>
                <a:gd name="csY196" fmla="*/ 164095 h 1538630"/>
                <a:gd name="csX197" fmla="*/ 1124762 w 1609516"/>
                <a:gd name="csY197" fmla="*/ 171802 h 1538630"/>
                <a:gd name="csX198" fmla="*/ 1119359 w 1609516"/>
                <a:gd name="csY198" fmla="*/ 184798 h 1538630"/>
                <a:gd name="csX199" fmla="*/ 1111014 w 1609516"/>
                <a:gd name="csY199" fmla="*/ 204941 h 1538630"/>
                <a:gd name="csX200" fmla="*/ 1109729 w 1609516"/>
                <a:gd name="csY200" fmla="*/ 208059 h 1538630"/>
                <a:gd name="csX201" fmla="*/ 1106395 w 1609516"/>
                <a:gd name="csY201" fmla="*/ 216170 h 1538630"/>
                <a:gd name="csX202" fmla="*/ 1102147 w 1609516"/>
                <a:gd name="csY202" fmla="*/ 224810 h 1538630"/>
                <a:gd name="csX203" fmla="*/ 1098261 w 1609516"/>
                <a:gd name="csY203" fmla="*/ 227262 h 1538630"/>
                <a:gd name="csX204" fmla="*/ 1098367 w 1609516"/>
                <a:gd name="csY204" fmla="*/ 238475 h 1538630"/>
                <a:gd name="csX205" fmla="*/ 1097331 w 1609516"/>
                <a:gd name="csY205" fmla="*/ 242358 h 1538630"/>
                <a:gd name="csX206" fmla="*/ 1096201 w 1609516"/>
                <a:gd name="csY206" fmla="*/ 246458 h 1538630"/>
                <a:gd name="csX207" fmla="*/ 1089440 w 1609516"/>
                <a:gd name="csY207" fmla="*/ 279206 h 1538630"/>
                <a:gd name="csX208" fmla="*/ 1087316 w 1609516"/>
                <a:gd name="csY208" fmla="*/ 283978 h 1538630"/>
                <a:gd name="csX209" fmla="*/ 1086822 w 1609516"/>
                <a:gd name="csY209" fmla="*/ 291822 h 1538630"/>
                <a:gd name="csX210" fmla="*/ 1086623 w 1609516"/>
                <a:gd name="csY210" fmla="*/ 296625 h 1538630"/>
                <a:gd name="csX211" fmla="*/ 1086437 w 1609516"/>
                <a:gd name="csY211" fmla="*/ 301681 h 1538630"/>
                <a:gd name="csX212" fmla="*/ 1086233 w 1609516"/>
                <a:gd name="csY212" fmla="*/ 306754 h 1538630"/>
                <a:gd name="csX213" fmla="*/ 1086007 w 1609516"/>
                <a:gd name="csY213" fmla="*/ 312619 h 1538630"/>
                <a:gd name="csX214" fmla="*/ 1087470 w 1609516"/>
                <a:gd name="csY214" fmla="*/ 320554 h 1538630"/>
                <a:gd name="csX215" fmla="*/ 1098285 w 1609516"/>
                <a:gd name="csY215" fmla="*/ 334611 h 1538630"/>
                <a:gd name="csX216" fmla="*/ 1102607 w 1609516"/>
                <a:gd name="csY216" fmla="*/ 337679 h 1538630"/>
                <a:gd name="csX217" fmla="*/ 1106095 w 1609516"/>
                <a:gd name="csY217" fmla="*/ 340248 h 1538630"/>
                <a:gd name="csX218" fmla="*/ 1106095 w 1609516"/>
                <a:gd name="csY218" fmla="*/ 343066 h 1538630"/>
                <a:gd name="csX219" fmla="*/ 1109220 w 1609516"/>
                <a:gd name="csY219" fmla="*/ 343419 h 1538630"/>
                <a:gd name="csX220" fmla="*/ 1126403 w 1609516"/>
                <a:gd name="csY220" fmla="*/ 350112 h 1538630"/>
                <a:gd name="csX221" fmla="*/ 1131871 w 1609516"/>
                <a:gd name="csY221" fmla="*/ 352579 h 1538630"/>
                <a:gd name="csX222" fmla="*/ 1135776 w 1609516"/>
                <a:gd name="csY222" fmla="*/ 354340 h 1538630"/>
                <a:gd name="csX223" fmla="*/ 1135776 w 1609516"/>
                <a:gd name="csY223" fmla="*/ 357158 h 1538630"/>
                <a:gd name="csX224" fmla="*/ 1170143 w 1609516"/>
                <a:gd name="csY224" fmla="*/ 354340 h 1538630"/>
                <a:gd name="csX225" fmla="*/ 1174634 w 1609516"/>
                <a:gd name="csY225" fmla="*/ 352579 h 1538630"/>
                <a:gd name="csX226" fmla="*/ 1190890 w 1609516"/>
                <a:gd name="csY226" fmla="*/ 342907 h 1538630"/>
                <a:gd name="csX227" fmla="*/ 1204021 w 1609516"/>
                <a:gd name="csY227" fmla="*/ 335404 h 1538630"/>
                <a:gd name="csX228" fmla="*/ 1223255 w 1609516"/>
                <a:gd name="csY228" fmla="*/ 319110 h 1538630"/>
                <a:gd name="csX229" fmla="*/ 1226868 w 1609516"/>
                <a:gd name="csY229" fmla="*/ 315587 h 1538630"/>
                <a:gd name="csX230" fmla="*/ 1231859 w 1609516"/>
                <a:gd name="csY230" fmla="*/ 303559 h 1538630"/>
                <a:gd name="csX231" fmla="*/ 1234178 w 1609516"/>
                <a:gd name="csY231" fmla="*/ 298059 h 1538630"/>
                <a:gd name="csX232" fmla="*/ 1237314 w 1609516"/>
                <a:gd name="csY232" fmla="*/ 288195 h 1538630"/>
                <a:gd name="csX233" fmla="*/ 1249811 w 1609516"/>
                <a:gd name="csY233" fmla="*/ 265559 h 1538630"/>
                <a:gd name="csX234" fmla="*/ 1252935 w 1609516"/>
                <a:gd name="csY234" fmla="*/ 265559 h 1538630"/>
                <a:gd name="csX235" fmla="*/ 1252935 w 1609516"/>
                <a:gd name="csY235" fmla="*/ 262741 h 1538630"/>
                <a:gd name="csX236" fmla="*/ 1296675 w 1609516"/>
                <a:gd name="csY236" fmla="*/ 252876 h 1538630"/>
                <a:gd name="csX237" fmla="*/ 1307609 w 1609516"/>
                <a:gd name="csY237" fmla="*/ 255695 h 1538630"/>
                <a:gd name="csX238" fmla="*/ 1307609 w 1609516"/>
                <a:gd name="csY238" fmla="*/ 258513 h 1538630"/>
                <a:gd name="csX239" fmla="*/ 1311887 w 1609516"/>
                <a:gd name="csY239" fmla="*/ 258832 h 1538630"/>
                <a:gd name="csX240" fmla="*/ 1326715 w 1609516"/>
                <a:gd name="csY240" fmla="*/ 269969 h 1538630"/>
                <a:gd name="csX241" fmla="*/ 1334165 w 1609516"/>
                <a:gd name="csY241" fmla="*/ 307836 h 1538630"/>
                <a:gd name="csX242" fmla="*/ 1329479 w 1609516"/>
                <a:gd name="csY242" fmla="*/ 314882 h 1538630"/>
                <a:gd name="csX243" fmla="*/ 1323231 w 1609516"/>
                <a:gd name="csY243" fmla="*/ 314882 h 1538630"/>
                <a:gd name="csX244" fmla="*/ 1323231 w 1609516"/>
                <a:gd name="csY244" fmla="*/ 317700 h 1538630"/>
                <a:gd name="csX245" fmla="*/ 1322774 w 1609516"/>
                <a:gd name="csY245" fmla="*/ 317838 h 1538630"/>
                <a:gd name="csX246" fmla="*/ 1323295 w 1609516"/>
                <a:gd name="csY246" fmla="*/ 317838 h 1538630"/>
                <a:gd name="csX247" fmla="*/ 1323295 w 1609516"/>
                <a:gd name="csY247" fmla="*/ 315019 h 1538630"/>
                <a:gd name="csX248" fmla="*/ 1327982 w 1609516"/>
                <a:gd name="csY248" fmla="*/ 315019 h 1538630"/>
                <a:gd name="csX249" fmla="*/ 1317047 w 1609516"/>
                <a:gd name="csY249" fmla="*/ 327702 h 1538630"/>
                <a:gd name="csX250" fmla="*/ 1315484 w 1609516"/>
                <a:gd name="csY250" fmla="*/ 331930 h 1538630"/>
                <a:gd name="csX251" fmla="*/ 1309139 w 1609516"/>
                <a:gd name="csY251" fmla="*/ 333603 h 1538630"/>
                <a:gd name="csX252" fmla="*/ 1305666 w 1609516"/>
                <a:gd name="csY252" fmla="*/ 334280 h 1538630"/>
                <a:gd name="csX253" fmla="*/ 1302988 w 1609516"/>
                <a:gd name="csY253" fmla="*/ 334748 h 1538630"/>
                <a:gd name="csX254" fmla="*/ 1305905 w 1609516"/>
                <a:gd name="csY254" fmla="*/ 332775 h 1538630"/>
                <a:gd name="csX255" fmla="*/ 1304485 w 1609516"/>
                <a:gd name="csY255" fmla="*/ 333202 h 1538630"/>
                <a:gd name="csX256" fmla="*/ 1301459 w 1609516"/>
                <a:gd name="csY256" fmla="*/ 336108 h 1538630"/>
                <a:gd name="csX257" fmla="*/ 1291989 w 1609516"/>
                <a:gd name="csY257" fmla="*/ 338839 h 1538630"/>
                <a:gd name="csX258" fmla="*/ 1290426 w 1609516"/>
                <a:gd name="csY258" fmla="*/ 343066 h 1538630"/>
                <a:gd name="csX259" fmla="*/ 1285740 w 1609516"/>
                <a:gd name="csY259" fmla="*/ 344123 h 1538630"/>
                <a:gd name="csX260" fmla="*/ 1237314 w 1609516"/>
                <a:gd name="csY260" fmla="*/ 382525 h 1538630"/>
                <a:gd name="csX261" fmla="*/ 1232628 w 1609516"/>
                <a:gd name="csY261" fmla="*/ 392389 h 1538630"/>
                <a:gd name="csX262" fmla="*/ 1228625 w 1609516"/>
                <a:gd name="csY262" fmla="*/ 398731 h 1538630"/>
                <a:gd name="csX263" fmla="*/ 1222822 w 1609516"/>
                <a:gd name="csY263" fmla="*/ 434798 h 1538630"/>
                <a:gd name="csX264" fmla="*/ 1260746 w 1609516"/>
                <a:gd name="csY264" fmla="*/ 485398 h 1538630"/>
                <a:gd name="csX265" fmla="*/ 1268556 w 1609516"/>
                <a:gd name="csY265" fmla="*/ 488216 h 1538630"/>
                <a:gd name="csX266" fmla="*/ 1268556 w 1609516"/>
                <a:gd name="csY266" fmla="*/ 491034 h 1538630"/>
                <a:gd name="csX267" fmla="*/ 1338852 w 1609516"/>
                <a:gd name="csY267" fmla="*/ 489625 h 1538630"/>
                <a:gd name="csX268" fmla="*/ 1347444 w 1609516"/>
                <a:gd name="csY268" fmla="*/ 488480 h 1538630"/>
                <a:gd name="csX269" fmla="*/ 1369362 w 1609516"/>
                <a:gd name="csY269" fmla="*/ 482513 h 1538630"/>
                <a:gd name="csX270" fmla="*/ 1388840 w 1609516"/>
                <a:gd name="csY270" fmla="*/ 478351 h 1538630"/>
                <a:gd name="csX271" fmla="*/ 1388840 w 1609516"/>
                <a:gd name="csY271" fmla="*/ 475533 h 1538630"/>
                <a:gd name="csX272" fmla="*/ 1395576 w 1609516"/>
                <a:gd name="csY272" fmla="*/ 473419 h 1538630"/>
                <a:gd name="csX273" fmla="*/ 1399365 w 1609516"/>
                <a:gd name="csY273" fmla="*/ 472230 h 1538630"/>
                <a:gd name="csX274" fmla="*/ 1407585 w 1609516"/>
                <a:gd name="csY274" fmla="*/ 471305 h 1538630"/>
                <a:gd name="csX275" fmla="*/ 1409147 w 1609516"/>
                <a:gd name="csY275" fmla="*/ 467078 h 1538630"/>
                <a:gd name="csX276" fmla="*/ 1416470 w 1609516"/>
                <a:gd name="csY276" fmla="*/ 464259 h 1538630"/>
                <a:gd name="csX277" fmla="*/ 1437949 w 1609516"/>
                <a:gd name="csY277" fmla="*/ 455011 h 1538630"/>
                <a:gd name="csX278" fmla="*/ 1452887 w 1609516"/>
                <a:gd name="csY278" fmla="*/ 450167 h 1538630"/>
                <a:gd name="csX279" fmla="*/ 1452887 w 1609516"/>
                <a:gd name="csY279" fmla="*/ 447349 h 1538630"/>
                <a:gd name="csX280" fmla="*/ 1455394 w 1609516"/>
                <a:gd name="csY280" fmla="*/ 446122 h 1538630"/>
                <a:gd name="csX281" fmla="*/ 1466653 w 1609516"/>
                <a:gd name="csY281" fmla="*/ 440567 h 1538630"/>
                <a:gd name="csX282" fmla="*/ 1470598 w 1609516"/>
                <a:gd name="csY282" fmla="*/ 438637 h 1538630"/>
                <a:gd name="csX283" fmla="*/ 1474397 w 1609516"/>
                <a:gd name="csY283" fmla="*/ 436752 h 1538630"/>
                <a:gd name="csX284" fmla="*/ 1477892 w 1609516"/>
                <a:gd name="csY284" fmla="*/ 435030 h 1538630"/>
                <a:gd name="csX285" fmla="*/ 1485691 w 1609516"/>
                <a:gd name="csY285" fmla="*/ 429029 h 1538630"/>
                <a:gd name="csX286" fmla="*/ 1488858 w 1609516"/>
                <a:gd name="csY286" fmla="*/ 427653 h 1538630"/>
                <a:gd name="csX287" fmla="*/ 1495943 w 1609516"/>
                <a:gd name="csY287" fmla="*/ 421454 h 1538630"/>
                <a:gd name="csX288" fmla="*/ 1538608 w 1609516"/>
                <a:gd name="csY288" fmla="*/ 388338 h 1538630"/>
                <a:gd name="csX289" fmla="*/ 1543490 w 1609516"/>
                <a:gd name="csY289" fmla="*/ 388161 h 1538630"/>
                <a:gd name="csX290" fmla="*/ 1547621 w 1609516"/>
                <a:gd name="csY290" fmla="*/ 387804 h 1538630"/>
                <a:gd name="csX291" fmla="*/ 1579418 w 1609516"/>
                <a:gd name="csY291" fmla="*/ 396617 h 1538630"/>
                <a:gd name="csX292" fmla="*/ 1583342 w 1609516"/>
                <a:gd name="csY292" fmla="*/ 398780 h 1538630"/>
                <a:gd name="csX293" fmla="*/ 1601288 w 1609516"/>
                <a:gd name="csY293" fmla="*/ 423392 h 1538630"/>
                <a:gd name="csX294" fmla="*/ 1594484 w 1609516"/>
                <a:gd name="csY294" fmla="*/ 460159 h 1538630"/>
                <a:gd name="csX295" fmla="*/ 1574732 w 1609516"/>
                <a:gd name="csY295" fmla="*/ 475533 h 1538630"/>
                <a:gd name="csX296" fmla="*/ 1572097 w 1609516"/>
                <a:gd name="csY296" fmla="*/ 477078 h 1538630"/>
                <a:gd name="csX297" fmla="*/ 1556066 w 1609516"/>
                <a:gd name="csY297" fmla="*/ 478737 h 1538630"/>
                <a:gd name="csX298" fmla="*/ 1548631 w 1609516"/>
                <a:gd name="csY298" fmla="*/ 478825 h 1538630"/>
                <a:gd name="csX299" fmla="*/ 1536991 w 1609516"/>
                <a:gd name="csY299" fmla="*/ 478889 h 1538630"/>
                <a:gd name="csX300" fmla="*/ 1498188 w 1609516"/>
                <a:gd name="csY300" fmla="*/ 485398 h 1538630"/>
                <a:gd name="csX301" fmla="*/ 1493892 w 1609516"/>
                <a:gd name="csY301" fmla="*/ 487600 h 1538630"/>
                <a:gd name="csX302" fmla="*/ 1490377 w 1609516"/>
                <a:gd name="csY302" fmla="*/ 489625 h 1538630"/>
                <a:gd name="csX303" fmla="*/ 1471650 w 1609516"/>
                <a:gd name="csY303" fmla="*/ 498185 h 1538630"/>
                <a:gd name="csX304" fmla="*/ 1459135 w 1609516"/>
                <a:gd name="csY304" fmla="*/ 505127 h 1538630"/>
                <a:gd name="csX305" fmla="*/ 1452594 w 1609516"/>
                <a:gd name="csY305" fmla="*/ 508033 h 1538630"/>
                <a:gd name="csX306" fmla="*/ 1427795 w 1609516"/>
                <a:gd name="csY306" fmla="*/ 520100 h 1538630"/>
                <a:gd name="csX307" fmla="*/ 1423733 w 1609516"/>
                <a:gd name="csY307" fmla="*/ 522148 h 1538630"/>
                <a:gd name="csX308" fmla="*/ 1419929 w 1609516"/>
                <a:gd name="csY308" fmla="*/ 524118 h 1538630"/>
                <a:gd name="csX309" fmla="*/ 1416487 w 1609516"/>
                <a:gd name="csY309" fmla="*/ 525883 h 1538630"/>
                <a:gd name="csX310" fmla="*/ 1412271 w 1609516"/>
                <a:gd name="csY310" fmla="*/ 531902 h 1538630"/>
                <a:gd name="csX311" fmla="*/ 1396650 w 1609516"/>
                <a:gd name="csY311" fmla="*/ 537539 h 1538630"/>
                <a:gd name="csX312" fmla="*/ 1396650 w 1609516"/>
                <a:gd name="csY312" fmla="*/ 540357 h 1538630"/>
                <a:gd name="csX313" fmla="*/ 1393495 w 1609516"/>
                <a:gd name="csY313" fmla="*/ 541502 h 1538630"/>
                <a:gd name="csX314" fmla="*/ 1362284 w 1609516"/>
                <a:gd name="csY314" fmla="*/ 558678 h 1538630"/>
                <a:gd name="csX315" fmla="*/ 1355937 w 1609516"/>
                <a:gd name="csY315" fmla="*/ 562905 h 1538630"/>
                <a:gd name="csX316" fmla="*/ 1334165 w 1609516"/>
                <a:gd name="csY316" fmla="*/ 578406 h 1538630"/>
                <a:gd name="csX317" fmla="*/ 1331200 w 1609516"/>
                <a:gd name="csY317" fmla="*/ 580559 h 1538630"/>
                <a:gd name="csX318" fmla="*/ 1322175 w 1609516"/>
                <a:gd name="csY318" fmla="*/ 596793 h 1538630"/>
                <a:gd name="csX319" fmla="*/ 1320106 w 1609516"/>
                <a:gd name="csY319" fmla="*/ 602363 h 1538630"/>
                <a:gd name="csX320" fmla="*/ 1328015 w 1609516"/>
                <a:gd name="csY320" fmla="*/ 647640 h 1538630"/>
                <a:gd name="csX321" fmla="*/ 1332604 w 1609516"/>
                <a:gd name="csY321" fmla="*/ 675643 h 1538630"/>
                <a:gd name="csX322" fmla="*/ 1335727 w 1609516"/>
                <a:gd name="csY322" fmla="*/ 675643 h 1538630"/>
                <a:gd name="csX323" fmla="*/ 1337741 w 1609516"/>
                <a:gd name="csY323" fmla="*/ 690059 h 1538630"/>
                <a:gd name="csX324" fmla="*/ 1338003 w 1609516"/>
                <a:gd name="csY324" fmla="*/ 696222 h 1538630"/>
                <a:gd name="csX325" fmla="*/ 1338340 w 1609516"/>
                <a:gd name="csY325" fmla="*/ 705887 h 1538630"/>
                <a:gd name="csX326" fmla="*/ 1345277 w 1609516"/>
                <a:gd name="csY326" fmla="*/ 733245 h 1538630"/>
                <a:gd name="csX327" fmla="*/ 1363162 w 1609516"/>
                <a:gd name="csY327" fmla="*/ 741612 h 1538630"/>
                <a:gd name="csX328" fmla="*/ 1384154 w 1609516"/>
                <a:gd name="csY328" fmla="*/ 748922 h 1538630"/>
                <a:gd name="csX329" fmla="*/ 1391476 w 1609516"/>
                <a:gd name="csY329" fmla="*/ 750419 h 1538630"/>
                <a:gd name="csX330" fmla="*/ 1395564 w 1609516"/>
                <a:gd name="csY330" fmla="*/ 751080 h 1538630"/>
                <a:gd name="csX331" fmla="*/ 1399775 w 1609516"/>
                <a:gd name="csY331" fmla="*/ 751740 h 1538630"/>
                <a:gd name="csX332" fmla="*/ 1403887 w 1609516"/>
                <a:gd name="csY332" fmla="*/ 752489 h 1538630"/>
                <a:gd name="csX333" fmla="*/ 1465383 w 1609516"/>
                <a:gd name="csY333" fmla="*/ 755969 h 1538630"/>
                <a:gd name="csX334" fmla="*/ 1470339 w 1609516"/>
                <a:gd name="csY334" fmla="*/ 755897 h 1538630"/>
                <a:gd name="csX335" fmla="*/ 1496809 w 1609516"/>
                <a:gd name="csY335" fmla="*/ 749313 h 1538630"/>
                <a:gd name="csX336" fmla="*/ 1515371 w 1609516"/>
                <a:gd name="csY336" fmla="*/ 743285 h 1538630"/>
                <a:gd name="csX337" fmla="*/ 1515371 w 1609516"/>
                <a:gd name="csY337" fmla="*/ 740467 h 1538630"/>
                <a:gd name="csX338" fmla="*/ 1537632 w 1609516"/>
                <a:gd name="csY338" fmla="*/ 737120 h 1538630"/>
                <a:gd name="csX339" fmla="*/ 1541657 w 1609516"/>
                <a:gd name="csY339" fmla="*/ 737127 h 1538630"/>
                <a:gd name="csX340" fmla="*/ 1574732 w 1609516"/>
                <a:gd name="csY340" fmla="*/ 748922 h 1538630"/>
                <a:gd name="csX341" fmla="*/ 1588791 w 1609516"/>
                <a:gd name="csY341" fmla="*/ 792608 h 1538630"/>
                <a:gd name="csX342" fmla="*/ 1584105 w 1609516"/>
                <a:gd name="csY342" fmla="*/ 805291 h 1538630"/>
                <a:gd name="csX343" fmla="*/ 1580981 w 1609516"/>
                <a:gd name="csY343" fmla="*/ 806700 h 1538630"/>
                <a:gd name="csX344" fmla="*/ 1578735 w 1609516"/>
                <a:gd name="csY344" fmla="*/ 810311 h 1538630"/>
                <a:gd name="csX345" fmla="*/ 1576295 w 1609516"/>
                <a:gd name="csY345" fmla="*/ 813746 h 1538630"/>
                <a:gd name="csX346" fmla="*/ 1571652 w 1609516"/>
                <a:gd name="csY346" fmla="*/ 813746 h 1538630"/>
                <a:gd name="csX347" fmla="*/ 1571785 w 1609516"/>
                <a:gd name="csY347" fmla="*/ 814106 h 1538630"/>
                <a:gd name="csX348" fmla="*/ 1574909 w 1609516"/>
                <a:gd name="csY348" fmla="*/ 815515 h 1538630"/>
                <a:gd name="csX349" fmla="*/ 1565463 w 1609516"/>
                <a:gd name="csY349" fmla="*/ 821839 h 1538630"/>
                <a:gd name="csX350" fmla="*/ 1562085 w 1609516"/>
                <a:gd name="csY350" fmla="*/ 822101 h 1538630"/>
                <a:gd name="csX351" fmla="*/ 1551301 w 1609516"/>
                <a:gd name="csY351" fmla="*/ 825020 h 1538630"/>
                <a:gd name="csX352" fmla="*/ 1551301 w 1609516"/>
                <a:gd name="csY352" fmla="*/ 827838 h 1538630"/>
                <a:gd name="csX353" fmla="*/ 1485380 w 1609516"/>
                <a:gd name="csY353" fmla="*/ 815007 h 1538630"/>
                <a:gd name="csX354" fmla="*/ 1431603 w 1609516"/>
                <a:gd name="csY354" fmla="*/ 808726 h 1538630"/>
                <a:gd name="csX355" fmla="*/ 1424140 w 1609516"/>
                <a:gd name="csY355" fmla="*/ 808542 h 1538630"/>
                <a:gd name="csX356" fmla="*/ 1406023 w 1609516"/>
                <a:gd name="csY356" fmla="*/ 808109 h 1538630"/>
                <a:gd name="csX357" fmla="*/ 1406023 w 1609516"/>
                <a:gd name="csY357" fmla="*/ 810928 h 1538630"/>
                <a:gd name="csX358" fmla="*/ 1403383 w 1609516"/>
                <a:gd name="csY358" fmla="*/ 811311 h 1538630"/>
                <a:gd name="csX359" fmla="*/ 1345442 w 1609516"/>
                <a:gd name="csY359" fmla="*/ 828907 h 1538630"/>
                <a:gd name="csX360" fmla="*/ 1337875 w 1609516"/>
                <a:gd name="csY360" fmla="*/ 856639 h 1538630"/>
                <a:gd name="csX361" fmla="*/ 1337692 w 1609516"/>
                <a:gd name="csY361" fmla="*/ 860171 h 1538630"/>
                <a:gd name="csX362" fmla="*/ 1337290 w 1609516"/>
                <a:gd name="csY362" fmla="*/ 868706 h 1538630"/>
                <a:gd name="csX363" fmla="*/ 1334165 w 1609516"/>
                <a:gd name="csY363" fmla="*/ 868706 h 1538630"/>
                <a:gd name="csX364" fmla="*/ 1334165 w 1609516"/>
                <a:gd name="csY364" fmla="*/ 870034 h 1538630"/>
                <a:gd name="csX365" fmla="*/ 1334237 w 1609516"/>
                <a:gd name="csY365" fmla="*/ 869093 h 1538630"/>
                <a:gd name="csX366" fmla="*/ 1335800 w 1609516"/>
                <a:gd name="csY366" fmla="*/ 869093 h 1538630"/>
                <a:gd name="csX367" fmla="*/ 1335995 w 1609516"/>
                <a:gd name="csY367" fmla="*/ 876491 h 1538630"/>
                <a:gd name="csX368" fmla="*/ 1336105 w 1609516"/>
                <a:gd name="csY368" fmla="*/ 880653 h 1538630"/>
                <a:gd name="csX369" fmla="*/ 1334294 w 1609516"/>
                <a:gd name="csY369" fmla="*/ 887271 h 1538630"/>
                <a:gd name="csX370" fmla="*/ 1331455 w 1609516"/>
                <a:gd name="csY370" fmla="*/ 896440 h 1538630"/>
                <a:gd name="csX371" fmla="*/ 1330887 w 1609516"/>
                <a:gd name="csY371" fmla="*/ 899969 h 1538630"/>
                <a:gd name="csX372" fmla="*/ 1330332 w 1609516"/>
                <a:gd name="csY372" fmla="*/ 903618 h 1538630"/>
                <a:gd name="csX373" fmla="*/ 1329209 w 1609516"/>
                <a:gd name="csY373" fmla="*/ 910797 h 1538630"/>
                <a:gd name="csX374" fmla="*/ 1328724 w 1609516"/>
                <a:gd name="csY374" fmla="*/ 913998 h 1538630"/>
                <a:gd name="csX375" fmla="*/ 1324865 w 1609516"/>
                <a:gd name="csY375" fmla="*/ 922643 h 1538630"/>
                <a:gd name="csX376" fmla="*/ 1322619 w 1609516"/>
                <a:gd name="csY376" fmla="*/ 937979 h 1538630"/>
                <a:gd name="csX377" fmla="*/ 1318744 w 1609516"/>
                <a:gd name="csY377" fmla="*/ 944961 h 1538630"/>
                <a:gd name="csX378" fmla="*/ 1318544 w 1609516"/>
                <a:gd name="csY378" fmla="*/ 946213 h 1538630"/>
                <a:gd name="csX379" fmla="*/ 1318251 w 1609516"/>
                <a:gd name="csY379" fmla="*/ 955285 h 1538630"/>
                <a:gd name="csX380" fmla="*/ 1318184 w 1609516"/>
                <a:gd name="csY380" fmla="*/ 960036 h 1538630"/>
                <a:gd name="csX381" fmla="*/ 1324024 w 1609516"/>
                <a:gd name="csY381" fmla="*/ 973660 h 1538630"/>
                <a:gd name="csX382" fmla="*/ 1329284 w 1609516"/>
                <a:gd name="csY382" fmla="*/ 983382 h 1538630"/>
                <a:gd name="csX383" fmla="*/ 1340414 w 1609516"/>
                <a:gd name="csY383" fmla="*/ 998354 h 1538630"/>
                <a:gd name="csX384" fmla="*/ 1346272 w 1609516"/>
                <a:gd name="csY384" fmla="*/ 1005048 h 1538630"/>
                <a:gd name="csX385" fmla="*/ 1394716 w 1609516"/>
                <a:gd name="csY385" fmla="*/ 1042740 h 1538630"/>
                <a:gd name="csX386" fmla="*/ 1401953 w 1609516"/>
                <a:gd name="csY386" fmla="*/ 1047374 h 1538630"/>
                <a:gd name="csX387" fmla="*/ 1427197 w 1609516"/>
                <a:gd name="csY387" fmla="*/ 1059061 h 1538630"/>
                <a:gd name="csX388" fmla="*/ 1437265 w 1609516"/>
                <a:gd name="csY388" fmla="*/ 1064588 h 1538630"/>
                <a:gd name="csX389" fmla="*/ 1437265 w 1609516"/>
                <a:gd name="csY389" fmla="*/ 1067406 h 1538630"/>
                <a:gd name="csX390" fmla="*/ 1440878 w 1609516"/>
                <a:gd name="csY390" fmla="*/ 1067847 h 1538630"/>
                <a:gd name="csX391" fmla="*/ 1447175 w 1609516"/>
                <a:gd name="csY391" fmla="*/ 1070753 h 1538630"/>
                <a:gd name="csX392" fmla="*/ 1457866 w 1609516"/>
                <a:gd name="csY392" fmla="*/ 1076830 h 1538630"/>
                <a:gd name="csX393" fmla="*/ 1462132 w 1609516"/>
                <a:gd name="csY393" fmla="*/ 1078696 h 1538630"/>
                <a:gd name="csX394" fmla="*/ 1465383 w 1609516"/>
                <a:gd name="csY394" fmla="*/ 1080089 h 1538630"/>
                <a:gd name="csX395" fmla="*/ 1465383 w 1609516"/>
                <a:gd name="csY395" fmla="*/ 1082908 h 1538630"/>
                <a:gd name="csX396" fmla="*/ 1468758 w 1609516"/>
                <a:gd name="csY396" fmla="*/ 1083975 h 1538630"/>
                <a:gd name="csX397" fmla="*/ 1481688 w 1609516"/>
                <a:gd name="csY397" fmla="*/ 1091187 h 1538630"/>
                <a:gd name="csX398" fmla="*/ 1486283 w 1609516"/>
                <a:gd name="csY398" fmla="*/ 1094236 h 1538630"/>
                <a:gd name="csX399" fmla="*/ 1494869 w 1609516"/>
                <a:gd name="csY399" fmla="*/ 1100171 h 1538630"/>
                <a:gd name="csX400" fmla="*/ 1544335 w 1609516"/>
                <a:gd name="csY400" fmla="*/ 1109518 h 1538630"/>
                <a:gd name="csX401" fmla="*/ 1593477 w 1609516"/>
                <a:gd name="csY401" fmla="*/ 1119900 h 1538630"/>
                <a:gd name="csX402" fmla="*/ 1605975 w 1609516"/>
                <a:gd name="csY402" fmla="*/ 1144913 h 1538630"/>
                <a:gd name="csX403" fmla="*/ 1609099 w 1609516"/>
                <a:gd name="csY403" fmla="*/ 1144913 h 1538630"/>
                <a:gd name="csX404" fmla="*/ 1609392 w 1609516"/>
                <a:gd name="csY404" fmla="*/ 1156892 h 1538630"/>
                <a:gd name="csX405" fmla="*/ 1609511 w 1609516"/>
                <a:gd name="csY405" fmla="*/ 1160272 h 1538630"/>
                <a:gd name="csX406" fmla="*/ 1604412 w 1609516"/>
                <a:gd name="csY406" fmla="*/ 1181553 h 1538630"/>
                <a:gd name="csX407" fmla="*/ 1601288 w 1609516"/>
                <a:gd name="csY407" fmla="*/ 1190009 h 1538630"/>
                <a:gd name="csX408" fmla="*/ 1598164 w 1609516"/>
                <a:gd name="csY408" fmla="*/ 1190009 h 1538630"/>
                <a:gd name="csX409" fmla="*/ 1597187 w 1609516"/>
                <a:gd name="csY409" fmla="*/ 1192739 h 1538630"/>
                <a:gd name="csX410" fmla="*/ 1595040 w 1609516"/>
                <a:gd name="csY410" fmla="*/ 1195645 h 1538630"/>
                <a:gd name="csX411" fmla="*/ 1585667 w 1609516"/>
                <a:gd name="csY411" fmla="*/ 1197055 h 1538630"/>
                <a:gd name="csX412" fmla="*/ 1582543 w 1609516"/>
                <a:gd name="csY412" fmla="*/ 1202691 h 1538630"/>
                <a:gd name="csX413" fmla="*/ 1562431 w 1609516"/>
                <a:gd name="csY413" fmla="*/ 1204365 h 1538630"/>
                <a:gd name="csX414" fmla="*/ 1558690 w 1609516"/>
                <a:gd name="csY414" fmla="*/ 1204417 h 1538630"/>
                <a:gd name="csX415" fmla="*/ 1521102 w 1609516"/>
                <a:gd name="csY415" fmla="*/ 1189585 h 1538630"/>
                <a:gd name="csX416" fmla="*/ 1505022 w 1609516"/>
                <a:gd name="csY416" fmla="*/ 1172041 h 1538630"/>
                <a:gd name="csX417" fmla="*/ 1457573 w 1609516"/>
                <a:gd name="csY417" fmla="*/ 1140686 h 1538630"/>
                <a:gd name="csX418" fmla="*/ 1457573 w 1609516"/>
                <a:gd name="csY418" fmla="*/ 1137867 h 1538630"/>
                <a:gd name="csX419" fmla="*/ 1452985 w 1609516"/>
                <a:gd name="csY419" fmla="*/ 1137339 h 1538630"/>
                <a:gd name="csX420" fmla="*/ 1448200 w 1609516"/>
                <a:gd name="csY420" fmla="*/ 1136458 h 1538630"/>
                <a:gd name="csX421" fmla="*/ 1446638 w 1609516"/>
                <a:gd name="csY421" fmla="*/ 1133640 h 1538630"/>
                <a:gd name="csX422" fmla="*/ 1438937 w 1609516"/>
                <a:gd name="csY422" fmla="*/ 1130601 h 1538630"/>
                <a:gd name="csX423" fmla="*/ 1429260 w 1609516"/>
                <a:gd name="csY423" fmla="*/ 1126770 h 1538630"/>
                <a:gd name="csX424" fmla="*/ 1411393 w 1609516"/>
                <a:gd name="csY424" fmla="*/ 1120340 h 1538630"/>
                <a:gd name="csX425" fmla="*/ 1391427 w 1609516"/>
                <a:gd name="csY425" fmla="*/ 1111191 h 1538630"/>
                <a:gd name="csX426" fmla="*/ 1381029 w 1609516"/>
                <a:gd name="csY426" fmla="*/ 1106865 h 1538630"/>
                <a:gd name="csX427" fmla="*/ 1381029 w 1609516"/>
                <a:gd name="csY427" fmla="*/ 1104046 h 1538630"/>
                <a:gd name="csX428" fmla="*/ 1377221 w 1609516"/>
                <a:gd name="csY428" fmla="*/ 1103605 h 1538630"/>
                <a:gd name="csX429" fmla="*/ 1357597 w 1609516"/>
                <a:gd name="csY429" fmla="*/ 1098409 h 1538630"/>
                <a:gd name="csX430" fmla="*/ 1352032 w 1609516"/>
                <a:gd name="csY430" fmla="*/ 1096736 h 1538630"/>
                <a:gd name="csX431" fmla="*/ 1348225 w 1609516"/>
                <a:gd name="csY431" fmla="*/ 1095590 h 1538630"/>
                <a:gd name="csX432" fmla="*/ 1348225 w 1609516"/>
                <a:gd name="csY432" fmla="*/ 1092772 h 1538630"/>
                <a:gd name="csX433" fmla="*/ 1337290 w 1609516"/>
                <a:gd name="csY433" fmla="*/ 1091363 h 1538630"/>
                <a:gd name="csX434" fmla="*/ 1337290 w 1609516"/>
                <a:gd name="csY434" fmla="*/ 1088544 h 1538630"/>
                <a:gd name="csX435" fmla="*/ 1331529 w 1609516"/>
                <a:gd name="csY435" fmla="*/ 1088104 h 1538630"/>
                <a:gd name="csX436" fmla="*/ 1323297 w 1609516"/>
                <a:gd name="csY436" fmla="*/ 1086611 h 1538630"/>
                <a:gd name="csX437" fmla="*/ 1323297 w 1609516"/>
                <a:gd name="csY437" fmla="*/ 1087618 h 1538630"/>
                <a:gd name="csX438" fmla="*/ 1319789 w 1609516"/>
                <a:gd name="csY438" fmla="*/ 1087310 h 1538630"/>
                <a:gd name="csX439" fmla="*/ 1262375 w 1609516"/>
                <a:gd name="csY439" fmla="*/ 1089028 h 1538630"/>
                <a:gd name="csX440" fmla="*/ 1258728 w 1609516"/>
                <a:gd name="csY440" fmla="*/ 1088205 h 1538630"/>
                <a:gd name="csX441" fmla="*/ 1246964 w 1609516"/>
                <a:gd name="csY441" fmla="*/ 1091489 h 1538630"/>
                <a:gd name="csX442" fmla="*/ 1223224 w 1609516"/>
                <a:gd name="csY442" fmla="*/ 1112865 h 1538630"/>
                <a:gd name="csX443" fmla="*/ 1213883 w 1609516"/>
                <a:gd name="csY443" fmla="*/ 1122366 h 1538630"/>
                <a:gd name="csX444" fmla="*/ 1212505 w 1609516"/>
                <a:gd name="csY444" fmla="*/ 1125708 h 1538630"/>
                <a:gd name="csX445" fmla="*/ 1204180 w 1609516"/>
                <a:gd name="csY445" fmla="*/ 1135561 h 1538630"/>
                <a:gd name="csX446" fmla="*/ 1200238 w 1609516"/>
                <a:gd name="csY446" fmla="*/ 1138999 h 1538630"/>
                <a:gd name="csX447" fmla="*/ 1192025 w 1609516"/>
                <a:gd name="csY447" fmla="*/ 1146022 h 1538630"/>
                <a:gd name="csX448" fmla="*/ 1173945 w 1609516"/>
                <a:gd name="csY448" fmla="*/ 1174749 h 1538630"/>
                <a:gd name="csX449" fmla="*/ 1173950 w 1609516"/>
                <a:gd name="csY449" fmla="*/ 1182610 h 1538630"/>
                <a:gd name="csX450" fmla="*/ 1173989 w 1609516"/>
                <a:gd name="csY450" fmla="*/ 1186765 h 1538630"/>
                <a:gd name="csX451" fmla="*/ 1182640 w 1609516"/>
                <a:gd name="csY451" fmla="*/ 1215374 h 1538630"/>
                <a:gd name="csX452" fmla="*/ 1185764 w 1609516"/>
                <a:gd name="csY452" fmla="*/ 1221804 h 1538630"/>
                <a:gd name="csX453" fmla="*/ 1187301 w 1609516"/>
                <a:gd name="csY453" fmla="*/ 1224859 h 1538630"/>
                <a:gd name="csX454" fmla="*/ 1190573 w 1609516"/>
                <a:gd name="csY454" fmla="*/ 1231740 h 1538630"/>
                <a:gd name="csX455" fmla="*/ 1205925 w 1609516"/>
                <a:gd name="csY455" fmla="*/ 1255163 h 1538630"/>
                <a:gd name="csX456" fmla="*/ 1212174 w 1609516"/>
                <a:gd name="csY456" fmla="*/ 1263134 h 1538630"/>
                <a:gd name="csX457" fmla="*/ 1235556 w 1609516"/>
                <a:gd name="csY457" fmla="*/ 1282538 h 1538630"/>
                <a:gd name="csX458" fmla="*/ 1238876 w 1609516"/>
                <a:gd name="csY458" fmla="*/ 1284426 h 1538630"/>
                <a:gd name="csX459" fmla="*/ 1238876 w 1609516"/>
                <a:gd name="csY459" fmla="*/ 1287245 h 1538630"/>
                <a:gd name="csX460" fmla="*/ 1242245 w 1609516"/>
                <a:gd name="csY460" fmla="*/ 1287663 h 1538630"/>
                <a:gd name="csX461" fmla="*/ 1271681 w 1609516"/>
                <a:gd name="csY461" fmla="*/ 1305565 h 1538630"/>
                <a:gd name="csX462" fmla="*/ 1271742 w 1609516"/>
                <a:gd name="csY462" fmla="*/ 1306172 h 1538630"/>
                <a:gd name="csX463" fmla="*/ 1278525 w 1609516"/>
                <a:gd name="csY463" fmla="*/ 1315767 h 1538630"/>
                <a:gd name="csX464" fmla="*/ 1281097 w 1609516"/>
                <a:gd name="csY464" fmla="*/ 1327286 h 1538630"/>
                <a:gd name="csX465" fmla="*/ 1277973 w 1609516"/>
                <a:gd name="csY465" fmla="*/ 1355470 h 1538630"/>
                <a:gd name="csX466" fmla="*/ 1277460 w 1609516"/>
                <a:gd name="csY466" fmla="*/ 1347025 h 1538630"/>
                <a:gd name="csX467" fmla="*/ 1273531 w 1609516"/>
                <a:gd name="csY467" fmla="*/ 1357991 h 1538630"/>
                <a:gd name="csX468" fmla="*/ 1263870 w 1609516"/>
                <a:gd name="csY468" fmla="*/ 1368980 h 1538630"/>
                <a:gd name="csX469" fmla="*/ 1246686 w 1609516"/>
                <a:gd name="csY469" fmla="*/ 1376026 h 1538630"/>
                <a:gd name="csX470" fmla="*/ 1246686 w 1609516"/>
                <a:gd name="csY470" fmla="*/ 1378844 h 1538630"/>
                <a:gd name="csX471" fmla="*/ 1231651 w 1609516"/>
                <a:gd name="csY471" fmla="*/ 1379196 h 1538630"/>
                <a:gd name="csX472" fmla="*/ 1227373 w 1609516"/>
                <a:gd name="csY472" fmla="*/ 1379340 h 1538630"/>
                <a:gd name="csX473" fmla="*/ 1206071 w 1609516"/>
                <a:gd name="csY473" fmla="*/ 1373207 h 1538630"/>
                <a:gd name="csX474" fmla="*/ 1202069 w 1609516"/>
                <a:gd name="csY474" fmla="*/ 1371798 h 1538630"/>
                <a:gd name="csX475" fmla="*/ 1184104 w 1609516"/>
                <a:gd name="csY475" fmla="*/ 1356176 h 1538630"/>
                <a:gd name="csX476" fmla="*/ 1177270 w 1609516"/>
                <a:gd name="csY476" fmla="*/ 1335247 h 1538630"/>
                <a:gd name="csX477" fmla="*/ 1169002 w 1609516"/>
                <a:gd name="csY477" fmla="*/ 1313464 h 1538630"/>
                <a:gd name="csX478" fmla="*/ 1163504 w 1609516"/>
                <a:gd name="csY478" fmla="*/ 1302130 h 1538630"/>
                <a:gd name="csX479" fmla="*/ 1162015 w 1609516"/>
                <a:gd name="csY479" fmla="*/ 1298788 h 1538630"/>
                <a:gd name="csX480" fmla="*/ 1160111 w 1609516"/>
                <a:gd name="csY480" fmla="*/ 1292656 h 1538630"/>
                <a:gd name="csX481" fmla="*/ 1154522 w 1609516"/>
                <a:gd name="csY481" fmla="*/ 1287245 h 1538630"/>
                <a:gd name="csX482" fmla="*/ 1151398 w 1609516"/>
                <a:gd name="csY482" fmla="*/ 1280199 h 1538630"/>
                <a:gd name="csX483" fmla="*/ 1144173 w 1609516"/>
                <a:gd name="csY483" fmla="*/ 1270774 h 1538630"/>
                <a:gd name="csX484" fmla="*/ 1142065 w 1609516"/>
                <a:gd name="csY484" fmla="*/ 1268160 h 1538630"/>
                <a:gd name="csX485" fmla="*/ 1135776 w 1609516"/>
                <a:gd name="csY485" fmla="*/ 1260470 h 1538630"/>
                <a:gd name="csX486" fmla="*/ 1132353 w 1609516"/>
                <a:gd name="csY486" fmla="*/ 1256247 h 1538630"/>
                <a:gd name="csX487" fmla="*/ 1112344 w 1609516"/>
                <a:gd name="csY487" fmla="*/ 1240741 h 1538630"/>
                <a:gd name="csX488" fmla="*/ 1106193 w 1609516"/>
                <a:gd name="csY488" fmla="*/ 1237570 h 1538630"/>
                <a:gd name="csX489" fmla="*/ 1101409 w 1609516"/>
                <a:gd name="csY489" fmla="*/ 1235104 h 1538630"/>
                <a:gd name="csX490" fmla="*/ 1101409 w 1609516"/>
                <a:gd name="csY490" fmla="*/ 1230876 h 1538630"/>
                <a:gd name="csX491" fmla="*/ 1065480 w 1609516"/>
                <a:gd name="csY491" fmla="*/ 1230876 h 1538630"/>
                <a:gd name="csX492" fmla="*/ 1063919 w 1609516"/>
                <a:gd name="csY492" fmla="*/ 1235104 h 1538630"/>
                <a:gd name="csX493" fmla="*/ 1059232 w 1609516"/>
                <a:gd name="csY493" fmla="*/ 1235104 h 1538630"/>
                <a:gd name="csX494" fmla="*/ 1059232 w 1609516"/>
                <a:gd name="csY494" fmla="*/ 1237922 h 1538630"/>
                <a:gd name="csX495" fmla="*/ 1040194 w 1609516"/>
                <a:gd name="csY495" fmla="*/ 1245761 h 1538630"/>
                <a:gd name="csX496" fmla="*/ 1030333 w 1609516"/>
                <a:gd name="csY496" fmla="*/ 1249901 h 1538630"/>
                <a:gd name="csX497" fmla="*/ 1013931 w 1609516"/>
                <a:gd name="csY497" fmla="*/ 1256242 h 1538630"/>
                <a:gd name="csX498" fmla="*/ 1005925 w 1609516"/>
                <a:gd name="csY498" fmla="*/ 1261615 h 1538630"/>
                <a:gd name="csX499" fmla="*/ 1004558 w 1609516"/>
                <a:gd name="csY499" fmla="*/ 1264697 h 1538630"/>
                <a:gd name="csX500" fmla="*/ 1002959 w 1609516"/>
                <a:gd name="csY500" fmla="*/ 1267961 h 1538630"/>
                <a:gd name="csX501" fmla="*/ 1000653 w 1609516"/>
                <a:gd name="csY501" fmla="*/ 1278965 h 1538630"/>
                <a:gd name="csX502" fmla="*/ 998297 w 1609516"/>
                <a:gd name="csY502" fmla="*/ 1294137 h 1538630"/>
                <a:gd name="csX503" fmla="*/ 996162 w 1609516"/>
                <a:gd name="csY503" fmla="*/ 1324765 h 1538630"/>
                <a:gd name="csX504" fmla="*/ 996164 w 1609516"/>
                <a:gd name="csY504" fmla="*/ 1327846 h 1538630"/>
                <a:gd name="csX505" fmla="*/ 1007780 w 1609516"/>
                <a:gd name="csY505" fmla="*/ 1403329 h 1538630"/>
                <a:gd name="csX506" fmla="*/ 1008940 w 1609516"/>
                <a:gd name="csY506" fmla="*/ 1407701 h 1538630"/>
                <a:gd name="csX507" fmla="*/ 1010080 w 1609516"/>
                <a:gd name="csY507" fmla="*/ 1411730 h 1538630"/>
                <a:gd name="csX508" fmla="*/ 1011075 w 1609516"/>
                <a:gd name="csY508" fmla="*/ 1415277 h 1538630"/>
                <a:gd name="csX509" fmla="*/ 1017055 w 1609516"/>
                <a:gd name="csY509" fmla="*/ 1422530 h 1538630"/>
                <a:gd name="csX510" fmla="*/ 1020277 w 1609516"/>
                <a:gd name="csY510" fmla="*/ 1427991 h 1538630"/>
                <a:gd name="csX511" fmla="*/ 1021796 w 1609516"/>
                <a:gd name="csY511" fmla="*/ 1430798 h 1538630"/>
                <a:gd name="csX512" fmla="*/ 1024579 w 1609516"/>
                <a:gd name="csY512" fmla="*/ 1437239 h 1538630"/>
                <a:gd name="csX513" fmla="*/ 1034043 w 1609516"/>
                <a:gd name="csY513" fmla="*/ 1448072 h 1538630"/>
                <a:gd name="csX514" fmla="*/ 1043782 w 1609516"/>
                <a:gd name="csY514" fmla="*/ 1464320 h 1538630"/>
                <a:gd name="csX515" fmla="*/ 1050458 w 1609516"/>
                <a:gd name="csY515" fmla="*/ 1472189 h 1538630"/>
                <a:gd name="csX516" fmla="*/ 1052926 w 1609516"/>
                <a:gd name="csY516" fmla="*/ 1482370 h 1538630"/>
                <a:gd name="csX517" fmla="*/ 1053316 w 1609516"/>
                <a:gd name="csY517" fmla="*/ 1496903 h 1538630"/>
                <a:gd name="csX518" fmla="*/ 1053352 w 1609516"/>
                <a:gd name="csY518" fmla="*/ 1500660 h 1538630"/>
                <a:gd name="csX519" fmla="*/ 1053341 w 1609516"/>
                <a:gd name="csY519" fmla="*/ 1504285 h 1538630"/>
                <a:gd name="csX520" fmla="*/ 1053329 w 1609516"/>
                <a:gd name="csY520" fmla="*/ 1507529 h 1538630"/>
                <a:gd name="csX521" fmla="*/ 1049801 w 1609516"/>
                <a:gd name="csY521" fmla="*/ 1516192 h 1538630"/>
                <a:gd name="csX522" fmla="*/ 1047312 w 1609516"/>
                <a:gd name="csY522" fmla="*/ 1516192 h 1538630"/>
                <a:gd name="csX523" fmla="*/ 1043611 w 1609516"/>
                <a:gd name="csY523" fmla="*/ 1522585 h 1538630"/>
                <a:gd name="csX524" fmla="*/ 1029552 w 1609516"/>
                <a:gd name="csY524" fmla="*/ 1529631 h 1538630"/>
                <a:gd name="csX525" fmla="*/ 1028771 w 1609516"/>
                <a:gd name="csY525" fmla="*/ 1532273 h 1538630"/>
                <a:gd name="csX526" fmla="*/ 1018013 w 1609516"/>
                <a:gd name="csY526" fmla="*/ 1537640 h 1538630"/>
                <a:gd name="csX527" fmla="*/ 981126 w 1609516"/>
                <a:gd name="csY527" fmla="*/ 1533859 h 1538630"/>
                <a:gd name="csX528" fmla="*/ 977227 w 1609516"/>
                <a:gd name="csY528" fmla="*/ 1531943 h 1538630"/>
                <a:gd name="csX529" fmla="*/ 955376 w 1609516"/>
                <a:gd name="csY529" fmla="*/ 1508751 h 1538630"/>
                <a:gd name="csX530" fmla="*/ 954571 w 1609516"/>
                <a:gd name="csY530" fmla="*/ 1500037 h 1538630"/>
                <a:gd name="csX531" fmla="*/ 951446 w 1609516"/>
                <a:gd name="csY531" fmla="*/ 1500037 h 1538630"/>
                <a:gd name="csX532" fmla="*/ 951251 w 1609516"/>
                <a:gd name="csY532" fmla="*/ 1487883 h 1538630"/>
                <a:gd name="csX533" fmla="*/ 951171 w 1609516"/>
                <a:gd name="csY533" fmla="*/ 1484431 h 1538630"/>
                <a:gd name="csX534" fmla="*/ 954571 w 1609516"/>
                <a:gd name="csY534" fmla="*/ 1466216 h 1538630"/>
                <a:gd name="csX535" fmla="*/ 954961 w 1609516"/>
                <a:gd name="csY535" fmla="*/ 1455118 h 1538630"/>
                <a:gd name="csX536" fmla="*/ 954932 w 1609516"/>
                <a:gd name="csY536" fmla="*/ 1451972 h 1538630"/>
                <a:gd name="csX537" fmla="*/ 945099 w 1609516"/>
                <a:gd name="csY537" fmla="*/ 1403594 h 1538630"/>
                <a:gd name="csX538" fmla="*/ 942366 w 1609516"/>
                <a:gd name="csY538" fmla="*/ 1393553 h 1538630"/>
                <a:gd name="csX539" fmla="*/ 934451 w 1609516"/>
                <a:gd name="csY539" fmla="*/ 1372734 h 1538630"/>
                <a:gd name="csX540" fmla="*/ 931974 w 1609516"/>
                <a:gd name="csY540" fmla="*/ 1365754 h 1538630"/>
                <a:gd name="csX541" fmla="*/ 931138 w 1609516"/>
                <a:gd name="csY541" fmla="*/ 1363343 h 1538630"/>
                <a:gd name="csX542" fmla="*/ 926452 w 1609516"/>
                <a:gd name="csY542" fmla="*/ 1361933 h 1538630"/>
                <a:gd name="csX543" fmla="*/ 918641 w 1609516"/>
                <a:gd name="csY543" fmla="*/ 1340795 h 1538630"/>
                <a:gd name="csX544" fmla="*/ 917079 w 1609516"/>
                <a:gd name="csY544" fmla="*/ 1335158 h 1538630"/>
                <a:gd name="csX545" fmla="*/ 913955 w 1609516"/>
                <a:gd name="csY545" fmla="*/ 1335158 h 1538630"/>
                <a:gd name="csX546" fmla="*/ 912057 w 1609516"/>
                <a:gd name="csY546" fmla="*/ 1330793 h 1538630"/>
                <a:gd name="csX547" fmla="*/ 902142 w 1609516"/>
                <a:gd name="csY547" fmla="*/ 1316222 h 1538630"/>
                <a:gd name="csX548" fmla="*/ 900091 w 1609516"/>
                <a:gd name="csY548" fmla="*/ 1313828 h 1538630"/>
                <a:gd name="csX549" fmla="*/ 878026 w 1609516"/>
                <a:gd name="csY549" fmla="*/ 1295700 h 1538630"/>
                <a:gd name="csX550" fmla="*/ 875134 w 1609516"/>
                <a:gd name="csY550" fmla="*/ 1293465 h 1538630"/>
                <a:gd name="csX551" fmla="*/ 869869 w 1609516"/>
                <a:gd name="csY551" fmla="*/ 1291826 h 1538630"/>
                <a:gd name="csX552" fmla="*/ 862384 w 1609516"/>
                <a:gd name="csY552" fmla="*/ 1291327 h 1538630"/>
                <a:gd name="csX553" fmla="*/ 844390 w 1609516"/>
                <a:gd name="csY553" fmla="*/ 1290461 h 1538630"/>
                <a:gd name="csX554" fmla="*/ 840476 w 1609516"/>
                <a:gd name="csY554" fmla="*/ 1290500 h 1538630"/>
                <a:gd name="csX555" fmla="*/ 831015 w 1609516"/>
                <a:gd name="csY555" fmla="*/ 1290637 h 1538630"/>
                <a:gd name="csX556" fmla="*/ 831015 w 1609516"/>
                <a:gd name="csY556" fmla="*/ 1293456 h 1538630"/>
                <a:gd name="csX557" fmla="*/ 818225 w 1609516"/>
                <a:gd name="csY557" fmla="*/ 1295570 h 1538630"/>
                <a:gd name="csX558" fmla="*/ 796774 w 1609516"/>
                <a:gd name="csY558" fmla="*/ 1297671 h 1538630"/>
                <a:gd name="csX559" fmla="*/ 783646 w 1609516"/>
                <a:gd name="csY559" fmla="*/ 1305736 h 1538630"/>
                <a:gd name="csX560" fmla="*/ 769263 w 1609516"/>
                <a:gd name="csY560" fmla="*/ 1327143 h 1538630"/>
                <a:gd name="csX561" fmla="*/ 764797 w 1609516"/>
                <a:gd name="csY561" fmla="*/ 1334360 h 1538630"/>
                <a:gd name="csX562" fmla="*/ 757875 w 1609516"/>
                <a:gd name="csY562" fmla="*/ 1353503 h 1538630"/>
                <a:gd name="csX563" fmla="*/ 755676 w 1609516"/>
                <a:gd name="csY563" fmla="*/ 1367455 h 1538630"/>
                <a:gd name="csX564" fmla="*/ 750558 w 1609516"/>
                <a:gd name="csY564" fmla="*/ 1399690 h 1538630"/>
                <a:gd name="csX565" fmla="*/ 753057 w 1609516"/>
                <a:gd name="csY565" fmla="*/ 1411256 h 1538630"/>
                <a:gd name="csX566" fmla="*/ 753057 w 1609516"/>
                <a:gd name="csY566" fmla="*/ 1416893 h 1538630"/>
                <a:gd name="csX567" fmla="*/ 756181 w 1609516"/>
                <a:gd name="csY567" fmla="*/ 1416893 h 1538630"/>
                <a:gd name="csX568" fmla="*/ 758133 w 1609516"/>
                <a:gd name="csY568" fmla="*/ 1436182 h 1538630"/>
                <a:gd name="csX569" fmla="*/ 758231 w 1609516"/>
                <a:gd name="csY569" fmla="*/ 1440781 h 1538630"/>
                <a:gd name="csX570" fmla="*/ 750713 w 1609516"/>
                <a:gd name="csY570" fmla="*/ 1465704 h 1538630"/>
                <a:gd name="csX571" fmla="*/ 748370 w 1609516"/>
                <a:gd name="csY571" fmla="*/ 1467185 h 1538630"/>
                <a:gd name="csX572" fmla="*/ 741633 w 1609516"/>
                <a:gd name="csY572" fmla="*/ 1473526 h 1538630"/>
                <a:gd name="csX573" fmla="*/ 728154 w 1609516"/>
                <a:gd name="csY573" fmla="*/ 1478343 h 1538630"/>
                <a:gd name="csX574" fmla="*/ 721814 w 1609516"/>
                <a:gd name="csY574" fmla="*/ 1480308 h 1538630"/>
                <a:gd name="csX575" fmla="*/ 708341 w 1609516"/>
                <a:gd name="csY575" fmla="*/ 1480661 h 1538630"/>
                <a:gd name="csX576" fmla="*/ 704637 w 1609516"/>
                <a:gd name="csY576" fmla="*/ 1480748 h 1538630"/>
                <a:gd name="csX577" fmla="*/ 668507 w 1609516"/>
                <a:gd name="csY577" fmla="*/ 1468418 h 1538630"/>
                <a:gd name="csX578" fmla="*/ 660178 w 1609516"/>
                <a:gd name="csY578" fmla="*/ 1450027 h 1538630"/>
                <a:gd name="csX579" fmla="*/ 657767 w 1609516"/>
                <a:gd name="csY579" fmla="*/ 1445078 h 1538630"/>
                <a:gd name="csX580" fmla="*/ 663369 w 1609516"/>
                <a:gd name="csY580" fmla="*/ 1409390 h 1538630"/>
                <a:gd name="csX581" fmla="*/ 671826 w 1609516"/>
                <a:gd name="csY581" fmla="*/ 1401392 h 1538630"/>
                <a:gd name="csX582" fmla="*/ 678075 w 1609516"/>
                <a:gd name="csY582" fmla="*/ 1390118 h 1538630"/>
                <a:gd name="csX583" fmla="*/ 684323 w 1609516"/>
                <a:gd name="csY583" fmla="*/ 1388709 h 1538630"/>
                <a:gd name="csX584" fmla="*/ 685293 w 1609516"/>
                <a:gd name="csY584" fmla="*/ 1384233 h 1538630"/>
                <a:gd name="csX585" fmla="*/ 686569 w 1609516"/>
                <a:gd name="csY585" fmla="*/ 1378404 h 1538630"/>
                <a:gd name="csX586" fmla="*/ 687207 w 1609516"/>
                <a:gd name="csY586" fmla="*/ 1375456 h 1538630"/>
                <a:gd name="csX587" fmla="*/ 690572 w 1609516"/>
                <a:gd name="csY587" fmla="*/ 1363343 h 1538630"/>
                <a:gd name="csX588" fmla="*/ 692495 w 1609516"/>
                <a:gd name="csY588" fmla="*/ 1323376 h 1538630"/>
                <a:gd name="csX589" fmla="*/ 692625 w 1609516"/>
                <a:gd name="csY589" fmla="*/ 1315006 h 1538630"/>
                <a:gd name="csX590" fmla="*/ 687447 w 1609516"/>
                <a:gd name="csY590" fmla="*/ 1287245 h 1538630"/>
                <a:gd name="csX591" fmla="*/ 682761 w 1609516"/>
                <a:gd name="csY591" fmla="*/ 1285835 h 1538630"/>
                <a:gd name="csX592" fmla="*/ 678954 w 1609516"/>
                <a:gd name="csY592" fmla="*/ 1281608 h 1538630"/>
                <a:gd name="csX593" fmla="*/ 668702 w 1609516"/>
                <a:gd name="csY593" fmla="*/ 1275971 h 1538630"/>
                <a:gd name="csX594" fmla="*/ 662454 w 1609516"/>
                <a:gd name="csY594" fmla="*/ 1270334 h 1538630"/>
                <a:gd name="csX595" fmla="*/ 654643 w 1609516"/>
                <a:gd name="csY595" fmla="*/ 1267516 h 1538630"/>
                <a:gd name="csX596" fmla="*/ 654643 w 1609516"/>
                <a:gd name="csY596" fmla="*/ 1264697 h 1538630"/>
                <a:gd name="csX597" fmla="*/ 650152 w 1609516"/>
                <a:gd name="csY597" fmla="*/ 1264345 h 1538630"/>
                <a:gd name="csX598" fmla="*/ 628087 w 1609516"/>
                <a:gd name="csY598" fmla="*/ 1257651 h 1538630"/>
                <a:gd name="csX599" fmla="*/ 628087 w 1609516"/>
                <a:gd name="csY599" fmla="*/ 1254833 h 1538630"/>
                <a:gd name="csX600" fmla="*/ 625121 w 1609516"/>
                <a:gd name="csY600" fmla="*/ 1254315 h 1538630"/>
                <a:gd name="csX601" fmla="*/ 621252 w 1609516"/>
                <a:gd name="csY601" fmla="*/ 1253600 h 1538630"/>
                <a:gd name="csX602" fmla="*/ 617409 w 1609516"/>
                <a:gd name="csY602" fmla="*/ 1252906 h 1538630"/>
                <a:gd name="csX603" fmla="*/ 610904 w 1609516"/>
                <a:gd name="csY603" fmla="*/ 1249196 h 1538630"/>
                <a:gd name="csX604" fmla="*/ 565739 w 1609516"/>
                <a:gd name="csY604" fmla="*/ 1271742 h 1538630"/>
                <a:gd name="csX605" fmla="*/ 546924 w 1609516"/>
                <a:gd name="csY605" fmla="*/ 1290829 h 1538630"/>
                <a:gd name="csX606" fmla="*/ 543635 w 1609516"/>
                <a:gd name="csY606" fmla="*/ 1294643 h 1538630"/>
                <a:gd name="csX607" fmla="*/ 540651 w 1609516"/>
                <a:gd name="csY607" fmla="*/ 1298188 h 1538630"/>
                <a:gd name="csX608" fmla="*/ 529673 w 1609516"/>
                <a:gd name="csY608" fmla="*/ 1305565 h 1538630"/>
                <a:gd name="csX609" fmla="*/ 526549 w 1609516"/>
                <a:gd name="csY609" fmla="*/ 1311202 h 1538630"/>
                <a:gd name="csX610" fmla="*/ 523425 w 1609516"/>
                <a:gd name="csY610" fmla="*/ 1311202 h 1538630"/>
                <a:gd name="csX611" fmla="*/ 523230 w 1609516"/>
                <a:gd name="csY611" fmla="*/ 1313580 h 1538630"/>
                <a:gd name="csX612" fmla="*/ 517732 w 1609516"/>
                <a:gd name="csY612" fmla="*/ 1319739 h 1538630"/>
                <a:gd name="csX613" fmla="*/ 502239 w 1609516"/>
                <a:gd name="csY613" fmla="*/ 1337096 h 1538630"/>
                <a:gd name="csX614" fmla="*/ 497058 w 1609516"/>
                <a:gd name="csY614" fmla="*/ 1344087 h 1538630"/>
                <a:gd name="csX615" fmla="*/ 494572 w 1609516"/>
                <a:gd name="csY615" fmla="*/ 1347465 h 1538630"/>
                <a:gd name="csX616" fmla="*/ 487776 w 1609516"/>
                <a:gd name="csY616" fmla="*/ 1356181 h 1538630"/>
                <a:gd name="csX617" fmla="*/ 481248 w 1609516"/>
                <a:gd name="csY617" fmla="*/ 1367571 h 1538630"/>
                <a:gd name="csX618" fmla="*/ 478123 w 1609516"/>
                <a:gd name="csY618" fmla="*/ 1367571 h 1538630"/>
                <a:gd name="csX619" fmla="*/ 477635 w 1609516"/>
                <a:gd name="csY619" fmla="*/ 1370565 h 1538630"/>
                <a:gd name="csX620" fmla="*/ 465626 w 1609516"/>
                <a:gd name="csY620" fmla="*/ 1388709 h 1538630"/>
                <a:gd name="csX621" fmla="*/ 461233 w 1609516"/>
                <a:gd name="csY621" fmla="*/ 1397340 h 1538630"/>
                <a:gd name="csX622" fmla="*/ 455765 w 1609516"/>
                <a:gd name="csY622" fmla="*/ 1408086 h 1538630"/>
                <a:gd name="csX623" fmla="*/ 439070 w 1609516"/>
                <a:gd name="csY623" fmla="*/ 1477490 h 1538630"/>
                <a:gd name="csX624" fmla="*/ 434384 w 1609516"/>
                <a:gd name="csY624" fmla="*/ 1478899 h 1538630"/>
                <a:gd name="csX625" fmla="*/ 432431 w 1609516"/>
                <a:gd name="csY625" fmla="*/ 1481982 h 1538630"/>
                <a:gd name="csX626" fmla="*/ 418763 w 1609516"/>
                <a:gd name="csY626" fmla="*/ 1494401 h 1538630"/>
                <a:gd name="csX627" fmla="*/ 415639 w 1609516"/>
                <a:gd name="csY627" fmla="*/ 1494401 h 1538630"/>
                <a:gd name="csX628" fmla="*/ 415639 w 1609516"/>
                <a:gd name="csY628" fmla="*/ 1497219 h 1538630"/>
                <a:gd name="csX629" fmla="*/ 406265 w 1609516"/>
                <a:gd name="csY629" fmla="*/ 1498628 h 1538630"/>
                <a:gd name="csX630" fmla="*/ 406265 w 1609516"/>
                <a:gd name="csY630" fmla="*/ 1501447 h 1538630"/>
                <a:gd name="csX631" fmla="*/ 375023 w 1609516"/>
                <a:gd name="csY631" fmla="*/ 1501447 h 1538630"/>
                <a:gd name="csX632" fmla="*/ 375023 w 1609516"/>
                <a:gd name="csY632" fmla="*/ 1499438 h 1538630"/>
                <a:gd name="csX633" fmla="*/ 374964 w 1609516"/>
                <a:gd name="csY633" fmla="*/ 1499436 h 1538630"/>
                <a:gd name="csX634" fmla="*/ 373179 w 1609516"/>
                <a:gd name="csY634" fmla="*/ 1498628 h 1538630"/>
                <a:gd name="csX635" fmla="*/ 365650 w 1609516"/>
                <a:gd name="csY635" fmla="*/ 1498628 h 1538630"/>
                <a:gd name="csX636" fmla="*/ 363134 w 1609516"/>
                <a:gd name="csY636" fmla="*/ 1494087 h 1538630"/>
                <a:gd name="csX637" fmla="*/ 362171 w 1609516"/>
                <a:gd name="csY637" fmla="*/ 1493651 h 1538630"/>
                <a:gd name="csX638" fmla="*/ 360609 w 1609516"/>
                <a:gd name="csY638" fmla="*/ 1490833 h 1538630"/>
                <a:gd name="csX639" fmla="*/ 363733 w 1609516"/>
                <a:gd name="csY639" fmla="*/ 1490833 h 1538630"/>
                <a:gd name="csX640" fmla="*/ 363733 w 1609516"/>
                <a:gd name="csY640" fmla="*/ 1489980 h 1538630"/>
                <a:gd name="csX641" fmla="*/ 348467 w 1609516"/>
                <a:gd name="csY641" fmla="*/ 1481717 h 1538630"/>
                <a:gd name="csX642" fmla="*/ 343872 w 1609516"/>
                <a:gd name="csY642" fmla="*/ 1461078 h 1538630"/>
                <a:gd name="csX643" fmla="*/ 343656 w 1609516"/>
                <a:gd name="csY643" fmla="*/ 1463649 h 1538630"/>
                <a:gd name="csX644" fmla="*/ 343424 w 1609516"/>
                <a:gd name="csY644" fmla="*/ 1466842 h 1538630"/>
                <a:gd name="csX645" fmla="*/ 341861 w 1609516"/>
                <a:gd name="csY645" fmla="*/ 1466842 h 1538630"/>
                <a:gd name="csX646" fmla="*/ 354143 w 1609516"/>
                <a:gd name="csY646" fmla="*/ 1420549 h 1538630"/>
                <a:gd name="csX647" fmla="*/ 376229 w 1609516"/>
                <a:gd name="csY647" fmla="*/ 1403427 h 1538630"/>
                <a:gd name="csX648" fmla="*/ 379491 w 1609516"/>
                <a:gd name="csY648" fmla="*/ 1404408 h 1538630"/>
                <a:gd name="csX649" fmla="*/ 379710 w 1609516"/>
                <a:gd name="csY649" fmla="*/ 1404210 h 1538630"/>
                <a:gd name="csX650" fmla="*/ 380882 w 1609516"/>
                <a:gd name="csY650" fmla="*/ 1401568 h 1538630"/>
                <a:gd name="csX651" fmla="*/ 392207 w 1609516"/>
                <a:gd name="csY651" fmla="*/ 1392936 h 1538630"/>
                <a:gd name="csX652" fmla="*/ 399542 w 1609516"/>
                <a:gd name="csY652" fmla="*/ 1386774 h 1538630"/>
                <a:gd name="csX653" fmla="*/ 405485 w 1609516"/>
                <a:gd name="csY653" fmla="*/ 1378917 h 1538630"/>
                <a:gd name="csX654" fmla="*/ 412008 w 1609516"/>
                <a:gd name="csY654" fmla="*/ 1369481 h 1538630"/>
                <a:gd name="csX655" fmla="*/ 421130 w 1609516"/>
                <a:gd name="csY655" fmla="*/ 1357057 h 1538630"/>
                <a:gd name="csX656" fmla="*/ 424676 w 1609516"/>
                <a:gd name="csY656" fmla="*/ 1348443 h 1538630"/>
                <a:gd name="csX657" fmla="*/ 427275 w 1609516"/>
                <a:gd name="csY657" fmla="*/ 1348443 h 1538630"/>
                <a:gd name="csX658" fmla="*/ 428135 w 1609516"/>
                <a:gd name="csY658" fmla="*/ 1345727 h 1538630"/>
                <a:gd name="csX659" fmla="*/ 432822 w 1609516"/>
                <a:gd name="csY659" fmla="*/ 1335158 h 1538630"/>
                <a:gd name="csX660" fmla="*/ 435946 w 1609516"/>
                <a:gd name="csY660" fmla="*/ 1335158 h 1538630"/>
                <a:gd name="csX661" fmla="*/ 437704 w 1609516"/>
                <a:gd name="csY661" fmla="*/ 1329786 h 1538630"/>
                <a:gd name="csX662" fmla="*/ 447394 w 1609516"/>
                <a:gd name="csY662" fmla="*/ 1311196 h 1538630"/>
                <a:gd name="csX663" fmla="*/ 469287 w 1609516"/>
                <a:gd name="csY663" fmla="*/ 1265964 h 1538630"/>
                <a:gd name="csX664" fmla="*/ 478178 w 1609516"/>
                <a:gd name="csY664" fmla="*/ 1246787 h 1538630"/>
                <a:gd name="csX665" fmla="*/ 480179 w 1609516"/>
                <a:gd name="csY665" fmla="*/ 1225768 h 1538630"/>
                <a:gd name="csX666" fmla="*/ 480250 w 1609516"/>
                <a:gd name="csY666" fmla="*/ 1217149 h 1538630"/>
                <a:gd name="csX667" fmla="*/ 462972 w 1609516"/>
                <a:gd name="csY667" fmla="*/ 1174827 h 1538630"/>
                <a:gd name="csX668" fmla="*/ 457468 w 1609516"/>
                <a:gd name="csY668" fmla="*/ 1169949 h 1538630"/>
                <a:gd name="csX669" fmla="*/ 440657 w 1609516"/>
                <a:gd name="csY669" fmla="*/ 1152570 h 1538630"/>
                <a:gd name="csX670" fmla="*/ 403142 w 1609516"/>
                <a:gd name="csY670" fmla="*/ 1122366 h 1538630"/>
                <a:gd name="csX671" fmla="*/ 401579 w 1609516"/>
                <a:gd name="csY671" fmla="*/ 1119547 h 1538630"/>
                <a:gd name="csX672" fmla="*/ 364564 w 1609516"/>
                <a:gd name="csY672" fmla="*/ 1118209 h 1538630"/>
                <a:gd name="csX673" fmla="*/ 357822 w 1609516"/>
                <a:gd name="csY673" fmla="*/ 1122041 h 1538630"/>
                <a:gd name="csX674" fmla="*/ 348077 w 1609516"/>
                <a:gd name="csY674" fmla="*/ 1125273 h 1538630"/>
                <a:gd name="csX675" fmla="*/ 334408 w 1609516"/>
                <a:gd name="csY675" fmla="*/ 1132230 h 1538630"/>
                <a:gd name="csX676" fmla="*/ 327964 w 1609516"/>
                <a:gd name="csY676" fmla="*/ 1134080 h 1538630"/>
                <a:gd name="csX677" fmla="*/ 279734 w 1609516"/>
                <a:gd name="csY677" fmla="*/ 1166051 h 1538630"/>
                <a:gd name="csX678" fmla="*/ 276609 w 1609516"/>
                <a:gd name="csY678" fmla="*/ 1173098 h 1538630"/>
                <a:gd name="csX679" fmla="*/ 260988 w 1609516"/>
                <a:gd name="csY679" fmla="*/ 1188599 h 1538630"/>
                <a:gd name="csX680" fmla="*/ 257956 w 1609516"/>
                <a:gd name="csY680" fmla="*/ 1191132 h 1538630"/>
                <a:gd name="csX681" fmla="*/ 243805 w 1609516"/>
                <a:gd name="csY681" fmla="*/ 1196629 h 1538630"/>
                <a:gd name="csX682" fmla="*/ 243805 w 1609516"/>
                <a:gd name="csY682" fmla="*/ 1194236 h 1538630"/>
                <a:gd name="csX683" fmla="*/ 240288 w 1609516"/>
                <a:gd name="csY683" fmla="*/ 1194765 h 1538630"/>
                <a:gd name="csX684" fmla="*/ 243374 w 1609516"/>
                <a:gd name="csY684" fmla="*/ 1194765 h 1538630"/>
                <a:gd name="csX685" fmla="*/ 243374 w 1609516"/>
                <a:gd name="csY685" fmla="*/ 1196797 h 1538630"/>
                <a:gd name="csX686" fmla="*/ 243805 w 1609516"/>
                <a:gd name="csY686" fmla="*/ 1196629 h 1538630"/>
                <a:gd name="csX687" fmla="*/ 243805 w 1609516"/>
                <a:gd name="csY687" fmla="*/ 1197055 h 1538630"/>
                <a:gd name="csX688" fmla="*/ 243374 w 1609516"/>
                <a:gd name="csY688" fmla="*/ 1197055 h 1538630"/>
                <a:gd name="csX689" fmla="*/ 243374 w 1609516"/>
                <a:gd name="csY689" fmla="*/ 1197584 h 1538630"/>
                <a:gd name="csX690" fmla="*/ 241319 w 1609516"/>
                <a:gd name="csY690" fmla="*/ 1197595 h 1538630"/>
                <a:gd name="csX691" fmla="*/ 238009 w 1609516"/>
                <a:gd name="csY691" fmla="*/ 1198881 h 1538630"/>
                <a:gd name="csX692" fmla="*/ 215687 w 1609516"/>
                <a:gd name="csY692" fmla="*/ 1198464 h 1538630"/>
                <a:gd name="csX693" fmla="*/ 215687 w 1609516"/>
                <a:gd name="csY693" fmla="*/ 1197734 h 1538630"/>
                <a:gd name="csX694" fmla="*/ 213936 w 1609516"/>
                <a:gd name="csY694" fmla="*/ 1197744 h 1538630"/>
                <a:gd name="csX695" fmla="*/ 207446 w 1609516"/>
                <a:gd name="csY695" fmla="*/ 1196175 h 1538630"/>
                <a:gd name="csX696" fmla="*/ 207822 w 1609516"/>
                <a:gd name="csY696" fmla="*/ 1195610 h 1538630"/>
                <a:gd name="csX697" fmla="*/ 184737 w 1609516"/>
                <a:gd name="csY697" fmla="*/ 1180936 h 1538630"/>
                <a:gd name="csX698" fmla="*/ 179270 w 1609516"/>
                <a:gd name="csY698" fmla="*/ 1154866 h 1538630"/>
                <a:gd name="csX699" fmla="*/ 179194 w 1609516"/>
                <a:gd name="csY699" fmla="*/ 1151621 h 1538630"/>
                <a:gd name="csX700" fmla="*/ 193195 w 1609516"/>
                <a:gd name="csY700" fmla="*/ 1120065 h 1538630"/>
                <a:gd name="csX701" fmla="*/ 229551 w 1609516"/>
                <a:gd name="csY701" fmla="*/ 1110299 h 1538630"/>
                <a:gd name="csX702" fmla="*/ 260988 w 1609516"/>
                <a:gd name="csY702" fmla="*/ 1108274 h 1538630"/>
                <a:gd name="csX703" fmla="*/ 260988 w 1609516"/>
                <a:gd name="csY703" fmla="*/ 1105455 h 1538630"/>
                <a:gd name="csX704" fmla="*/ 263911 w 1609516"/>
                <a:gd name="csY704" fmla="*/ 1104310 h 1538630"/>
                <a:gd name="csX705" fmla="*/ 286995 w 1609516"/>
                <a:gd name="csY705" fmla="*/ 1090185 h 1538630"/>
                <a:gd name="csX706" fmla="*/ 299358 w 1609516"/>
                <a:gd name="csY706" fmla="*/ 1080970 h 1538630"/>
                <a:gd name="csX707" fmla="*/ 317762 w 1609516"/>
                <a:gd name="csY707" fmla="*/ 1063272 h 1538630"/>
                <a:gd name="csX708" fmla="*/ 325035 w 1609516"/>
                <a:gd name="csY708" fmla="*/ 1057542 h 1538630"/>
                <a:gd name="csX709" fmla="*/ 325328 w 1609516"/>
                <a:gd name="csY709" fmla="*/ 1023104 h 1538630"/>
                <a:gd name="csX710" fmla="*/ 324544 w 1609516"/>
                <a:gd name="csY710" fmla="*/ 1019247 h 1538630"/>
                <a:gd name="csX711" fmla="*/ 317225 w 1609516"/>
                <a:gd name="csY711" fmla="*/ 996945 h 1538630"/>
                <a:gd name="csX712" fmla="*/ 315388 w 1609516"/>
                <a:gd name="csY712" fmla="*/ 992690 h 1538630"/>
                <a:gd name="csX713" fmla="*/ 276232 w 1609516"/>
                <a:gd name="csY713" fmla="*/ 950666 h 1538630"/>
                <a:gd name="csX714" fmla="*/ 271923 w 1609516"/>
                <a:gd name="csY714" fmla="*/ 949031 h 1538630"/>
                <a:gd name="csX715" fmla="*/ 268299 w 1609516"/>
                <a:gd name="csY715" fmla="*/ 947441 h 1538630"/>
                <a:gd name="csX716" fmla="*/ 199187 w 1609516"/>
                <a:gd name="csY716" fmla="*/ 938991 h 1538630"/>
                <a:gd name="csX717" fmla="*/ 193719 w 1609516"/>
                <a:gd name="csY717" fmla="*/ 938971 h 1538630"/>
                <a:gd name="csX718" fmla="*/ 188539 w 1609516"/>
                <a:gd name="csY718" fmla="*/ 938980 h 1538630"/>
                <a:gd name="csX719" fmla="*/ 183874 w 1609516"/>
                <a:gd name="csY719" fmla="*/ 938985 h 1538630"/>
                <a:gd name="csX720" fmla="*/ 173509 w 1609516"/>
                <a:gd name="csY720" fmla="*/ 940576 h 1538630"/>
                <a:gd name="csX721" fmla="*/ 161403 w 1609516"/>
                <a:gd name="csY721" fmla="*/ 940664 h 1538630"/>
                <a:gd name="csX722" fmla="*/ 158102 w 1609516"/>
                <a:gd name="csY722" fmla="*/ 940645 h 1538630"/>
                <a:gd name="csX723" fmla="*/ 150875 w 1609516"/>
                <a:gd name="csY723" fmla="*/ 940583 h 1538630"/>
                <a:gd name="csX724" fmla="*/ 148425 w 1609516"/>
                <a:gd name="csY724" fmla="*/ 940717 h 1538630"/>
                <a:gd name="csX725" fmla="*/ 149617 w 1609516"/>
                <a:gd name="csY725" fmla="*/ 940995 h 1538630"/>
                <a:gd name="csX726" fmla="*/ 149617 w 1609516"/>
                <a:gd name="csY726" fmla="*/ 942404 h 1538630"/>
                <a:gd name="csX727" fmla="*/ 146627 w 1609516"/>
                <a:gd name="csY727" fmla="*/ 942871 h 1538630"/>
                <a:gd name="csX728" fmla="*/ 110564 w 1609516"/>
                <a:gd name="csY728" fmla="*/ 949449 h 1538630"/>
                <a:gd name="csX729" fmla="*/ 111283 w 1609516"/>
                <a:gd name="csY729" fmla="*/ 946205 h 1538630"/>
                <a:gd name="csX730" fmla="*/ 101652 w 1609516"/>
                <a:gd name="csY730" fmla="*/ 956078 h 1538630"/>
                <a:gd name="csX731" fmla="*/ 98052 w 1609516"/>
                <a:gd name="csY731" fmla="*/ 958467 h 1538630"/>
                <a:gd name="csX732" fmla="*/ 67286 w 1609516"/>
                <a:gd name="csY732" fmla="*/ 972989 h 1538630"/>
                <a:gd name="csX733" fmla="*/ 67286 w 1609516"/>
                <a:gd name="csY733" fmla="*/ 975807 h 1538630"/>
                <a:gd name="csX734" fmla="*/ 31942 w 1609516"/>
                <a:gd name="csY734" fmla="*/ 976423 h 1538630"/>
                <a:gd name="csX735" fmla="*/ 5673 w 1609516"/>
                <a:gd name="csY735" fmla="*/ 953419 h 1538630"/>
                <a:gd name="csX736" fmla="*/ 4801 w 1609516"/>
                <a:gd name="csY736" fmla="*/ 944804 h 1538630"/>
                <a:gd name="csX737" fmla="*/ 1676 w 1609516"/>
                <a:gd name="csY737" fmla="*/ 944804 h 1538630"/>
                <a:gd name="csX738" fmla="*/ 17 w 1609516"/>
                <a:gd name="csY738" fmla="*/ 931857 h 1538630"/>
                <a:gd name="csX739" fmla="*/ 59 w 1609516"/>
                <a:gd name="csY739" fmla="*/ 927216 h 1538630"/>
                <a:gd name="csX740" fmla="*/ 115 w 1609516"/>
                <a:gd name="csY740" fmla="*/ 923666 h 1538630"/>
                <a:gd name="csX741" fmla="*/ 3238 w 1609516"/>
                <a:gd name="csY741" fmla="*/ 923666 h 1538630"/>
                <a:gd name="csX742" fmla="*/ 3238 w 1609516"/>
                <a:gd name="csY742" fmla="*/ 918029 h 1538630"/>
                <a:gd name="csX743" fmla="*/ 6363 w 1609516"/>
                <a:gd name="csY743" fmla="*/ 918029 h 1538630"/>
                <a:gd name="csX744" fmla="*/ 6656 w 1609516"/>
                <a:gd name="csY744" fmla="*/ 912832 h 1538630"/>
                <a:gd name="csX745" fmla="*/ 15736 w 1609516"/>
                <a:gd name="csY745" fmla="*/ 899709 h 1538630"/>
                <a:gd name="csX746" fmla="*/ 17243 w 1609516"/>
                <a:gd name="csY746" fmla="*/ 898894 h 1538630"/>
                <a:gd name="csX747" fmla="*/ 16800 w 1609516"/>
                <a:gd name="csY747" fmla="*/ 898694 h 1538630"/>
                <a:gd name="csX748" fmla="*/ 24988 w 1609516"/>
                <a:gd name="csY748" fmla="*/ 894101 h 1538630"/>
                <a:gd name="csX749" fmla="*/ 26768 w 1609516"/>
                <a:gd name="csY749" fmla="*/ 892399 h 1538630"/>
                <a:gd name="csX750" fmla="*/ 30198 w 1609516"/>
                <a:gd name="csY750" fmla="*/ 890164 h 1538630"/>
                <a:gd name="csX751" fmla="*/ 32204 w 1609516"/>
                <a:gd name="csY751" fmla="*/ 890054 h 1538630"/>
                <a:gd name="csX752" fmla="*/ 38914 w 1609516"/>
                <a:gd name="csY752" fmla="*/ 886291 h 1538630"/>
                <a:gd name="csX753" fmla="*/ 63664 w 1609516"/>
                <a:gd name="csY753" fmla="*/ 886011 h 1538630"/>
                <a:gd name="csX754" fmla="*/ 63664 w 1609516"/>
                <a:gd name="csY754" fmla="*/ 886531 h 1538630"/>
                <a:gd name="csX755" fmla="*/ 70784 w 1609516"/>
                <a:gd name="csY755" fmla="*/ 886647 h 1538630"/>
                <a:gd name="csX756" fmla="*/ 82126 w 1609516"/>
                <a:gd name="csY756" fmla="*/ 889845 h 1538630"/>
                <a:gd name="csX757" fmla="*/ 114149 w 1609516"/>
                <a:gd name="csY757" fmla="*/ 892663 h 1538630"/>
                <a:gd name="csX758" fmla="*/ 118836 w 1609516"/>
                <a:gd name="csY758" fmla="*/ 889845 h 1538630"/>
                <a:gd name="csX759" fmla="*/ 131626 w 1609516"/>
                <a:gd name="csY759" fmla="*/ 887114 h 1538630"/>
                <a:gd name="csX760" fmla="*/ 155116 w 1609516"/>
                <a:gd name="csY760" fmla="*/ 880913 h 1538630"/>
                <a:gd name="csX761" fmla="*/ 165406 w 1609516"/>
                <a:gd name="csY761" fmla="*/ 878483 h 1538630"/>
                <a:gd name="csX762" fmla="*/ 176634 w 1609516"/>
                <a:gd name="csY762" fmla="*/ 874343 h 1538630"/>
                <a:gd name="csX763" fmla="*/ 186397 w 1609516"/>
                <a:gd name="csY763" fmla="*/ 871524 h 1538630"/>
                <a:gd name="csX764" fmla="*/ 191871 w 1609516"/>
                <a:gd name="csY764" fmla="*/ 870033 h 1538630"/>
                <a:gd name="csX765" fmla="*/ 203483 w 1609516"/>
                <a:gd name="csY765" fmla="*/ 867208 h 1538630"/>
                <a:gd name="csX766" fmla="*/ 211001 w 1609516"/>
                <a:gd name="csY766" fmla="*/ 861660 h 1538630"/>
                <a:gd name="csX767" fmla="*/ 218031 w 1609516"/>
                <a:gd name="csY767" fmla="*/ 858577 h 1538630"/>
                <a:gd name="csX768" fmla="*/ 254740 w 1609516"/>
                <a:gd name="csY768" fmla="*/ 825020 h 1538630"/>
                <a:gd name="csX769" fmla="*/ 257864 w 1609516"/>
                <a:gd name="csY769" fmla="*/ 820792 h 1538630"/>
                <a:gd name="csX770" fmla="*/ 258318 w 1609516"/>
                <a:gd name="csY770" fmla="*/ 813810 h 1538630"/>
                <a:gd name="csX771" fmla="*/ 258378 w 1609516"/>
                <a:gd name="csY771" fmla="*/ 809502 h 1538630"/>
                <a:gd name="csX772" fmla="*/ 258389 w 1609516"/>
                <a:gd name="csY772" fmla="*/ 804845 h 1538630"/>
                <a:gd name="csX773" fmla="*/ 258420 w 1609516"/>
                <a:gd name="csY773" fmla="*/ 800036 h 1538630"/>
                <a:gd name="csX774" fmla="*/ 258443 w 1609516"/>
                <a:gd name="csY774" fmla="*/ 789939 h 1538630"/>
                <a:gd name="csX775" fmla="*/ 258566 w 1609516"/>
                <a:gd name="csY775" fmla="*/ 774594 h 1538630"/>
                <a:gd name="csX776" fmla="*/ 258584 w 1609516"/>
                <a:gd name="csY776" fmla="*/ 764771 h 1538630"/>
                <a:gd name="csX777" fmla="*/ 258652 w 1609516"/>
                <a:gd name="csY777" fmla="*/ 760174 h 1538630"/>
                <a:gd name="csX778" fmla="*/ 251616 w 1609516"/>
                <a:gd name="csY778" fmla="*/ 733421 h 1538630"/>
                <a:gd name="csX779" fmla="*/ 247613 w 1609516"/>
                <a:gd name="csY779" fmla="*/ 721883 h 1538630"/>
                <a:gd name="csX780" fmla="*/ 241291 w 1609516"/>
                <a:gd name="csY780" fmla="*/ 705644 h 1538630"/>
                <a:gd name="csX781" fmla="*/ 237557 w 1609516"/>
                <a:gd name="csY781" fmla="*/ 689735 h 1538630"/>
                <a:gd name="csX782" fmla="*/ 248492 w 1609516"/>
                <a:gd name="csY782" fmla="*/ 685507 h 1538630"/>
                <a:gd name="csX783" fmla="*/ 248492 w 1609516"/>
                <a:gd name="csY783" fmla="*/ 681279 h 1538630"/>
                <a:gd name="csX784" fmla="*/ 240681 w 1609516"/>
                <a:gd name="csY784" fmla="*/ 679870 h 1538630"/>
                <a:gd name="csX785" fmla="*/ 240681 w 1609516"/>
                <a:gd name="csY785" fmla="*/ 677052 h 1538630"/>
                <a:gd name="csX786" fmla="*/ 238094 w 1609516"/>
                <a:gd name="csY786" fmla="*/ 676645 h 1538630"/>
                <a:gd name="csX787" fmla="*/ 225841 w 1609516"/>
                <a:gd name="csY787" fmla="*/ 670886 h 1538630"/>
                <a:gd name="csX788" fmla="*/ 201531 w 1609516"/>
                <a:gd name="csY788" fmla="*/ 662508 h 1538630"/>
                <a:gd name="csX789" fmla="*/ 188252 w 1609516"/>
                <a:gd name="csY789" fmla="*/ 658644 h 1538630"/>
                <a:gd name="csX790" fmla="*/ 182431 w 1609516"/>
                <a:gd name="csY790" fmla="*/ 657327 h 1538630"/>
                <a:gd name="csX791" fmla="*/ 182431 w 1609516"/>
                <a:gd name="csY791" fmla="*/ 657613 h 1538630"/>
                <a:gd name="csX792" fmla="*/ 146503 w 1609516"/>
                <a:gd name="csY792" fmla="*/ 656204 h 1538630"/>
                <a:gd name="csX793" fmla="*/ 146503 w 1609516"/>
                <a:gd name="csY793" fmla="*/ 659022 h 1538630"/>
                <a:gd name="csX794" fmla="*/ 110378 w 1609516"/>
                <a:gd name="csY794" fmla="*/ 663778 h 1538630"/>
                <a:gd name="csX795" fmla="*/ 106453 w 1609516"/>
                <a:gd name="csY795" fmla="*/ 663836 h 1538630"/>
                <a:gd name="csX796" fmla="*/ 102751 w 1609516"/>
                <a:gd name="csY796" fmla="*/ 663811 h 1538630"/>
                <a:gd name="csX797" fmla="*/ 99449 w 1609516"/>
                <a:gd name="csY797" fmla="*/ 663797 h 1538630"/>
                <a:gd name="csX798" fmla="*/ 91828 w 1609516"/>
                <a:gd name="csY798" fmla="*/ 659022 h 1538630"/>
                <a:gd name="csX799" fmla="*/ 98077 w 1609516"/>
                <a:gd name="csY799" fmla="*/ 659022 h 1538630"/>
                <a:gd name="csX800" fmla="*/ 98077 w 1609516"/>
                <a:gd name="csY800" fmla="*/ 661841 h 1538630"/>
                <a:gd name="csX801" fmla="*/ 119023 w 1609516"/>
                <a:gd name="csY801" fmla="*/ 661357 h 1538630"/>
                <a:gd name="csX802" fmla="*/ 119536 w 1609516"/>
                <a:gd name="csY802" fmla="*/ 661197 h 1538630"/>
                <a:gd name="csX803" fmla="*/ 109853 w 1609516"/>
                <a:gd name="csY803" fmla="*/ 661639 h 1538630"/>
                <a:gd name="csX804" fmla="*/ 106552 w 1609516"/>
                <a:gd name="csY804" fmla="*/ 661619 h 1538630"/>
                <a:gd name="csX805" fmla="*/ 98528 w 1609516"/>
                <a:gd name="csY805" fmla="*/ 661550 h 1538630"/>
                <a:gd name="csX806" fmla="*/ 98528 w 1609516"/>
                <a:gd name="csY806" fmla="*/ 658732 h 1538630"/>
                <a:gd name="csX807" fmla="*/ 89155 w 1609516"/>
                <a:gd name="csY807" fmla="*/ 657323 h 1538630"/>
                <a:gd name="csX808" fmla="*/ 89155 w 1609516"/>
                <a:gd name="csY808" fmla="*/ 654504 h 1538630"/>
                <a:gd name="csX809" fmla="*/ 86397 w 1609516"/>
                <a:gd name="csY809" fmla="*/ 653442 h 1538630"/>
                <a:gd name="csX810" fmla="*/ 77049 w 1609516"/>
                <a:gd name="csY810" fmla="*/ 646137 h 1538630"/>
                <a:gd name="csX811" fmla="*/ 74145 w 1609516"/>
                <a:gd name="csY811" fmla="*/ 643192 h 1538630"/>
                <a:gd name="csX812" fmla="*/ 71972 w 1609516"/>
                <a:gd name="csY812" fmla="*/ 636185 h 1538630"/>
                <a:gd name="csX813" fmla="*/ 68848 w 1609516"/>
                <a:gd name="csY813" fmla="*/ 636185 h 1538630"/>
                <a:gd name="csX814" fmla="*/ 70410 w 1609516"/>
                <a:gd name="csY814" fmla="*/ 595317 h 1538630"/>
                <a:gd name="csX815" fmla="*/ 79782 w 1609516"/>
                <a:gd name="csY815" fmla="*/ 584043 h 1538630"/>
                <a:gd name="csX816" fmla="*/ 82656 w 1609516"/>
                <a:gd name="csY816" fmla="*/ 581115 h 1538630"/>
                <a:gd name="csX817" fmla="*/ 116694 w 1609516"/>
                <a:gd name="csY817" fmla="*/ 572323 h 1538630"/>
                <a:gd name="csX818" fmla="*/ 152031 w 1609516"/>
                <a:gd name="csY818" fmla="*/ 590385 h 1538630"/>
                <a:gd name="csX819" fmla="*/ 191474 w 1609516"/>
                <a:gd name="csY819" fmla="*/ 605886 h 1538630"/>
                <a:gd name="csX820" fmla="*/ 206314 w 1609516"/>
                <a:gd name="csY820" fmla="*/ 608000 h 1538630"/>
                <a:gd name="csX821" fmla="*/ 206314 w 1609516"/>
                <a:gd name="csY821" fmla="*/ 610818 h 1538630"/>
                <a:gd name="csX822" fmla="*/ 234433 w 1609516"/>
                <a:gd name="csY822" fmla="*/ 610818 h 1538630"/>
                <a:gd name="csX823" fmla="*/ 239522 w 1609516"/>
                <a:gd name="csY823" fmla="*/ 610802 h 1538630"/>
                <a:gd name="csX824" fmla="*/ 268799 w 1609516"/>
                <a:gd name="csY824" fmla="*/ 600954 h 1538630"/>
                <a:gd name="csX825" fmla="*/ 271740 w 1609516"/>
                <a:gd name="csY825" fmla="*/ 599325 h 1538630"/>
                <a:gd name="csX826" fmla="*/ 284420 w 1609516"/>
                <a:gd name="csY826" fmla="*/ 579816 h 1538630"/>
                <a:gd name="csX827" fmla="*/ 289399 w 1609516"/>
                <a:gd name="csY827" fmla="*/ 568630 h 1538630"/>
                <a:gd name="csX828" fmla="*/ 293958 w 1609516"/>
                <a:gd name="csY828" fmla="*/ 535838 h 1538630"/>
                <a:gd name="csX829" fmla="*/ 289107 w 1609516"/>
                <a:gd name="csY829" fmla="*/ 529084 h 1538630"/>
                <a:gd name="csX830" fmla="*/ 289107 w 1609516"/>
                <a:gd name="csY830" fmla="*/ 526265 h 1538630"/>
                <a:gd name="csX831" fmla="*/ 284420 w 1609516"/>
                <a:gd name="csY831" fmla="*/ 524856 h 1538630"/>
                <a:gd name="csX832" fmla="*/ 282858 w 1609516"/>
                <a:gd name="csY832" fmla="*/ 520628 h 1538630"/>
                <a:gd name="csX833" fmla="*/ 277977 w 1609516"/>
                <a:gd name="csY833" fmla="*/ 516577 h 1538630"/>
                <a:gd name="csX834" fmla="*/ 264925 w 1609516"/>
                <a:gd name="csY834" fmla="*/ 506443 h 1538630"/>
                <a:gd name="csX835" fmla="*/ 229746 w 1609516"/>
                <a:gd name="csY835" fmla="*/ 481170 h 1538630"/>
                <a:gd name="csX836" fmla="*/ 221057 w 1609516"/>
                <a:gd name="csY836" fmla="*/ 475445 h 1538630"/>
                <a:gd name="csX837" fmla="*/ 212563 w 1609516"/>
                <a:gd name="csY837" fmla="*/ 469896 h 1538630"/>
                <a:gd name="csX838" fmla="*/ 208889 w 1609516"/>
                <a:gd name="csY838" fmla="*/ 467491 h 1538630"/>
                <a:gd name="csX839" fmla="*/ 190406 w 1609516"/>
                <a:gd name="csY839" fmla="*/ 456382 h 1538630"/>
                <a:gd name="csX840" fmla="*/ 186942 w 1609516"/>
                <a:gd name="csY840" fmla="*/ 454460 h 1538630"/>
                <a:gd name="csX841" fmla="*/ 180041 w 1609516"/>
                <a:gd name="csY841" fmla="*/ 450696 h 1538630"/>
                <a:gd name="csX842" fmla="*/ 171948 w 1609516"/>
                <a:gd name="csY842" fmla="*/ 445940 h 1538630"/>
                <a:gd name="csX843" fmla="*/ 171948 w 1609516"/>
                <a:gd name="csY843" fmla="*/ 443121 h 1538630"/>
                <a:gd name="csX844" fmla="*/ 168482 w 1609516"/>
                <a:gd name="csY844" fmla="*/ 442708 h 1538630"/>
                <a:gd name="csX845" fmla="*/ 157107 w 1609516"/>
                <a:gd name="csY845" fmla="*/ 437044 h 1538630"/>
                <a:gd name="csX846" fmla="*/ 132559 w 1609516"/>
                <a:gd name="csY846" fmla="*/ 427510 h 1538630"/>
                <a:gd name="csX847" fmla="*/ 123522 w 1609516"/>
                <a:gd name="csY847" fmla="*/ 421983 h 1538630"/>
                <a:gd name="csX848" fmla="*/ 107986 w 1609516"/>
                <a:gd name="csY848" fmla="*/ 418730 h 1538630"/>
                <a:gd name="csX849" fmla="*/ 102494 w 1609516"/>
                <a:gd name="csY849" fmla="*/ 418622 h 1538630"/>
                <a:gd name="csX850" fmla="*/ 91157 w 1609516"/>
                <a:gd name="csY850" fmla="*/ 418490 h 1538630"/>
                <a:gd name="csX851" fmla="*/ 55277 w 1609516"/>
                <a:gd name="csY851" fmla="*/ 410445 h 1538630"/>
                <a:gd name="csX852" fmla="*/ 51665 w 1609516"/>
                <a:gd name="csY852" fmla="*/ 406481 h 1538630"/>
                <a:gd name="csX853" fmla="*/ 45904 w 1609516"/>
                <a:gd name="csY853" fmla="*/ 400492 h 1538630"/>
                <a:gd name="csX854" fmla="*/ 43152 w 1609516"/>
                <a:gd name="csY854" fmla="*/ 397564 h 1538630"/>
                <a:gd name="csX855" fmla="*/ 37605 w 1609516"/>
                <a:gd name="csY855" fmla="*/ 393798 h 1538630"/>
                <a:gd name="csX856" fmla="*/ 38995 w 1609516"/>
                <a:gd name="csY856" fmla="*/ 368712 h 1538630"/>
                <a:gd name="csX857" fmla="*/ 38666 w 1609516"/>
                <a:gd name="csY857" fmla="*/ 369724 h 1538630"/>
                <a:gd name="csX858" fmla="*/ 35542 w 1609516"/>
                <a:gd name="csY858" fmla="*/ 384081 h 1538630"/>
                <a:gd name="csX859" fmla="*/ 33326 w 1609516"/>
                <a:gd name="csY859" fmla="*/ 357791 h 1538630"/>
                <a:gd name="csX860" fmla="*/ 52725 w 1609516"/>
                <a:gd name="csY860" fmla="*/ 333349 h 1538630"/>
                <a:gd name="csX861" fmla="*/ 55222 w 1609516"/>
                <a:gd name="csY861" fmla="*/ 334475 h 1538630"/>
                <a:gd name="csX862" fmla="*/ 56222 w 1609516"/>
                <a:gd name="csY862" fmla="*/ 333347 h 1538630"/>
                <a:gd name="csX863" fmla="*/ 55871 w 1609516"/>
                <a:gd name="csY863" fmla="*/ 333347 h 1538630"/>
                <a:gd name="csX864" fmla="*/ 56346 w 1609516"/>
                <a:gd name="csY864" fmla="*/ 333207 h 1538630"/>
                <a:gd name="csX865" fmla="*/ 56351 w 1609516"/>
                <a:gd name="csY865" fmla="*/ 333202 h 1538630"/>
                <a:gd name="csX866" fmla="*/ 56365 w 1609516"/>
                <a:gd name="csY866" fmla="*/ 333202 h 1538630"/>
                <a:gd name="csX867" fmla="*/ 79571 w 1609516"/>
                <a:gd name="csY867" fmla="*/ 326360 h 1538630"/>
                <a:gd name="csX868" fmla="*/ 104297 w 1609516"/>
                <a:gd name="csY868" fmla="*/ 330529 h 1538630"/>
                <a:gd name="csX869" fmla="*/ 107170 w 1609516"/>
                <a:gd name="csY869" fmla="*/ 334417 h 1538630"/>
                <a:gd name="csX870" fmla="*/ 109366 w 1609516"/>
                <a:gd name="csY870" fmla="*/ 336046 h 1538630"/>
                <a:gd name="csX871" fmla="*/ 109463 w 1609516"/>
                <a:gd name="csY871" fmla="*/ 336020 h 1538630"/>
                <a:gd name="csX872" fmla="*/ 109463 w 1609516"/>
                <a:gd name="csY872" fmla="*/ 336118 h 1538630"/>
                <a:gd name="csX873" fmla="*/ 115226 w 1609516"/>
                <a:gd name="csY873" fmla="*/ 340394 h 1538630"/>
                <a:gd name="csX874" fmla="*/ 114010 w 1609516"/>
                <a:gd name="csY874" fmla="*/ 340120 h 1538630"/>
                <a:gd name="csX875" fmla="*/ 133285 w 1609516"/>
                <a:gd name="csY875" fmla="*/ 357423 h 1538630"/>
                <a:gd name="csX876" fmla="*/ 173509 w 1609516"/>
                <a:gd name="csY876" fmla="*/ 389571 h 1538630"/>
                <a:gd name="csX877" fmla="*/ 181711 w 1609516"/>
                <a:gd name="csY877" fmla="*/ 393270 h 1538630"/>
                <a:gd name="csX878" fmla="*/ 185507 w 1609516"/>
                <a:gd name="csY878" fmla="*/ 394976 h 1538630"/>
                <a:gd name="csX879" fmla="*/ 192658 w 1609516"/>
                <a:gd name="csY879" fmla="*/ 398257 h 1538630"/>
                <a:gd name="csX880" fmla="*/ 195966 w 1609516"/>
                <a:gd name="csY880" fmla="*/ 399788 h 1538630"/>
                <a:gd name="csX881" fmla="*/ 198833 w 1609516"/>
                <a:gd name="csY881" fmla="*/ 401131 h 1538630"/>
                <a:gd name="csX882" fmla="*/ 207877 w 1609516"/>
                <a:gd name="csY882" fmla="*/ 403663 h 1538630"/>
                <a:gd name="csX883" fmla="*/ 207877 w 1609516"/>
                <a:gd name="csY883" fmla="*/ 406481 h 1538630"/>
                <a:gd name="csX884" fmla="*/ 248492 w 1609516"/>
                <a:gd name="csY884" fmla="*/ 419428 h 1538630"/>
                <a:gd name="csX885" fmla="*/ 253965 w 1609516"/>
                <a:gd name="csY885" fmla="*/ 421000 h 1538630"/>
                <a:gd name="csX886" fmla="*/ 267237 w 1609516"/>
                <a:gd name="csY886" fmla="*/ 424801 h 1538630"/>
                <a:gd name="csX887" fmla="*/ 267237 w 1609516"/>
                <a:gd name="csY887" fmla="*/ 426451 h 1538630"/>
                <a:gd name="csX888" fmla="*/ 288701 w 1609516"/>
                <a:gd name="csY888" fmla="*/ 429217 h 1538630"/>
                <a:gd name="csX889" fmla="*/ 288701 w 1609516"/>
                <a:gd name="csY889" fmla="*/ 432036 h 1538630"/>
                <a:gd name="csX890" fmla="*/ 327010 w 1609516"/>
                <a:gd name="csY890" fmla="*/ 433628 h 1538630"/>
                <a:gd name="csX891" fmla="*/ 337486 w 1609516"/>
                <a:gd name="csY891" fmla="*/ 433637 h 1538630"/>
                <a:gd name="csX892" fmla="*/ 344229 w 1609516"/>
                <a:gd name="csY892" fmla="*/ 433632 h 1538630"/>
                <a:gd name="csX893" fmla="*/ 350323 w 1609516"/>
                <a:gd name="csY893" fmla="*/ 433627 h 1538630"/>
                <a:gd name="csX894" fmla="*/ 365245 w 1609516"/>
                <a:gd name="csY894" fmla="*/ 432036 h 1538630"/>
                <a:gd name="csX895" fmla="*/ 360797 w 1609516"/>
                <a:gd name="csY895" fmla="*/ 433759 h 1538630"/>
                <a:gd name="csX896" fmla="*/ 365650 w 1609516"/>
                <a:gd name="csY896" fmla="*/ 433257 h 1538630"/>
                <a:gd name="csX897" fmla="*/ 367213 w 1609516"/>
                <a:gd name="csY897" fmla="*/ 429029 h 1538630"/>
                <a:gd name="csX898" fmla="*/ 375188 w 1609516"/>
                <a:gd name="csY898" fmla="*/ 424906 h 1538630"/>
                <a:gd name="csX899" fmla="*/ 404704 w 1609516"/>
                <a:gd name="csY899" fmla="*/ 389571 h 1538630"/>
                <a:gd name="csX900" fmla="*/ 406265 w 1609516"/>
                <a:gd name="csY900" fmla="*/ 388161 h 1538630"/>
                <a:gd name="csX901" fmla="*/ 406559 w 1609516"/>
                <a:gd name="csY901" fmla="*/ 370106 h 1538630"/>
                <a:gd name="csX902" fmla="*/ 406617 w 1609516"/>
                <a:gd name="csY902" fmla="*/ 364973 h 1538630"/>
                <a:gd name="csX903" fmla="*/ 406626 w 1609516"/>
                <a:gd name="csY903" fmla="*/ 360038 h 1538630"/>
                <a:gd name="csX904" fmla="*/ 406645 w 1609516"/>
                <a:gd name="csY904" fmla="*/ 355503 h 1538630"/>
                <a:gd name="csX905" fmla="*/ 403142 w 1609516"/>
                <a:gd name="csY905" fmla="*/ 345885 h 1538630"/>
                <a:gd name="csX906" fmla="*/ 401579 w 1609516"/>
                <a:gd name="csY906" fmla="*/ 338663 h 1538630"/>
                <a:gd name="csX907" fmla="*/ 390938 w 1609516"/>
                <a:gd name="csY907" fmla="*/ 315939 h 1538630"/>
                <a:gd name="csX908" fmla="*/ 388976 w 1609516"/>
                <a:gd name="csY908" fmla="*/ 312762 h 1538630"/>
                <a:gd name="csX909" fmla="*/ 377934 w 1609516"/>
                <a:gd name="csY909" fmla="*/ 297817 h 1538630"/>
                <a:gd name="csX910" fmla="*/ 368775 w 1609516"/>
                <a:gd name="csY910" fmla="*/ 282470 h 1538630"/>
                <a:gd name="csX911" fmla="*/ 359890 w 1609516"/>
                <a:gd name="csY911" fmla="*/ 271284 h 1538630"/>
                <a:gd name="csX912" fmla="*/ 357374 w 1609516"/>
                <a:gd name="csY912" fmla="*/ 268288 h 1538630"/>
                <a:gd name="csX913" fmla="*/ 337533 w 1609516"/>
                <a:gd name="csY913" fmla="*/ 248649 h 1538630"/>
                <a:gd name="csX914" fmla="*/ 335214 w 1609516"/>
                <a:gd name="csY914" fmla="*/ 246369 h 1538630"/>
                <a:gd name="csX915" fmla="*/ 327085 w 1609516"/>
                <a:gd name="csY915" fmla="*/ 242571 h 1538630"/>
                <a:gd name="csX916" fmla="*/ 288785 w 1609516"/>
                <a:gd name="csY916" fmla="*/ 207968 h 1538630"/>
                <a:gd name="csX917" fmla="*/ 286373 w 1609516"/>
                <a:gd name="csY917" fmla="*/ 192544 h 1538630"/>
                <a:gd name="csX918" fmla="*/ 286385 w 1609516"/>
                <a:gd name="csY918" fmla="*/ 189190 h 1538630"/>
                <a:gd name="csX919" fmla="*/ 300042 w 1609516"/>
                <a:gd name="csY919" fmla="*/ 164095 h 1538630"/>
                <a:gd name="csX920" fmla="*/ 302757 w 1609516"/>
                <a:gd name="csY920" fmla="*/ 161381 h 1538630"/>
                <a:gd name="csX921" fmla="*/ 338411 w 1609516"/>
                <a:gd name="csY921" fmla="*/ 152293 h 1538630"/>
                <a:gd name="csX922" fmla="*/ 368482 w 1609516"/>
                <a:gd name="csY922" fmla="*/ 161893 h 1538630"/>
                <a:gd name="csX923" fmla="*/ 371899 w 1609516"/>
                <a:gd name="csY923" fmla="*/ 165505 h 1538630"/>
                <a:gd name="csX924" fmla="*/ 375121 w 1609516"/>
                <a:gd name="csY924" fmla="*/ 168587 h 1538630"/>
                <a:gd name="csX925" fmla="*/ 384982 w 1609516"/>
                <a:gd name="csY925" fmla="*/ 193777 h 1538630"/>
                <a:gd name="csX926" fmla="*/ 390352 w 1609516"/>
                <a:gd name="csY926" fmla="*/ 214563 h 1538630"/>
                <a:gd name="csX927" fmla="*/ 391529 w 1609516"/>
                <a:gd name="csY927" fmla="*/ 217626 h 1538630"/>
                <a:gd name="csX928" fmla="*/ 401579 w 1609516"/>
                <a:gd name="csY928" fmla="*/ 234556 h 1538630"/>
                <a:gd name="csX929" fmla="*/ 401579 w 1609516"/>
                <a:gd name="csY929" fmla="*/ 238784 h 1538630"/>
                <a:gd name="csX930" fmla="*/ 404215 w 1609516"/>
                <a:gd name="csY930" fmla="*/ 239753 h 1538630"/>
                <a:gd name="csX931" fmla="*/ 417811 w 1609516"/>
                <a:gd name="csY931" fmla="*/ 251996 h 1538630"/>
                <a:gd name="csX932" fmla="*/ 426866 w 1609516"/>
                <a:gd name="csY932" fmla="*/ 262300 h 1538630"/>
                <a:gd name="csX933" fmla="*/ 450097 w 1609516"/>
                <a:gd name="csY933" fmla="*/ 287628 h 1538630"/>
                <a:gd name="csX934" fmla="*/ 457425 w 1609516"/>
                <a:gd name="csY934" fmla="*/ 293920 h 1538630"/>
                <a:gd name="csX935" fmla="*/ 460940 w 1609516"/>
                <a:gd name="csY935" fmla="*/ 296562 h 1538630"/>
                <a:gd name="csX936" fmla="*/ 460940 w 1609516"/>
                <a:gd name="csY936" fmla="*/ 300790 h 1538630"/>
                <a:gd name="csX937" fmla="*/ 473437 w 1609516"/>
                <a:gd name="csY937" fmla="*/ 305018 h 1538630"/>
                <a:gd name="csX938" fmla="*/ 473437 w 1609516"/>
                <a:gd name="csY938" fmla="*/ 307836 h 1538630"/>
                <a:gd name="csX939" fmla="*/ 479881 w 1609516"/>
                <a:gd name="csY939" fmla="*/ 309862 h 1538630"/>
                <a:gd name="csX940" fmla="*/ 483505 w 1609516"/>
                <a:gd name="csY940" fmla="*/ 311001 h 1538630"/>
                <a:gd name="csX941" fmla="*/ 548419 w 1609516"/>
                <a:gd name="csY941" fmla="*/ 306427 h 1538630"/>
                <a:gd name="csX942" fmla="*/ 551842 w 1609516"/>
                <a:gd name="csY942" fmla="*/ 305127 h 1538630"/>
                <a:gd name="csX943" fmla="*/ 560232 w 1609516"/>
                <a:gd name="csY943" fmla="*/ 298148 h 1538630"/>
                <a:gd name="csX944" fmla="*/ 562972 w 1609516"/>
                <a:gd name="csY944" fmla="*/ 295252 h 1538630"/>
                <a:gd name="csX945" fmla="*/ 568086 w 1609516"/>
                <a:gd name="csY945" fmla="*/ 289152 h 1538630"/>
                <a:gd name="csX946" fmla="*/ 570289 w 1609516"/>
                <a:gd name="csY946" fmla="*/ 286697 h 1538630"/>
                <a:gd name="csX947" fmla="*/ 573413 w 1609516"/>
                <a:gd name="csY947" fmla="*/ 286697 h 1538630"/>
                <a:gd name="csX948" fmla="*/ 577220 w 1609516"/>
                <a:gd name="csY948" fmla="*/ 257016 h 1538630"/>
                <a:gd name="csX949" fmla="*/ 577235 w 1609516"/>
                <a:gd name="csY949" fmla="*/ 254206 h 1538630"/>
                <a:gd name="csX950" fmla="*/ 569443 w 1609516"/>
                <a:gd name="csY950" fmla="*/ 206049 h 1538630"/>
                <a:gd name="csX951" fmla="*/ 568726 w 1609516"/>
                <a:gd name="csY951" fmla="*/ 200735 h 1538630"/>
                <a:gd name="csX952" fmla="*/ 565602 w 1609516"/>
                <a:gd name="csY952" fmla="*/ 200735 h 1538630"/>
                <a:gd name="csX953" fmla="*/ 559549 w 1609516"/>
                <a:gd name="csY953" fmla="*/ 184441 h 1538630"/>
                <a:gd name="csX954" fmla="*/ 537484 w 1609516"/>
                <a:gd name="csY954" fmla="*/ 159867 h 1538630"/>
                <a:gd name="csX955" fmla="*/ 531235 w 1609516"/>
                <a:gd name="csY955" fmla="*/ 154230 h 1538630"/>
                <a:gd name="csX956" fmla="*/ 531235 w 1609516"/>
                <a:gd name="csY956" fmla="*/ 151412 h 1538630"/>
                <a:gd name="csX957" fmla="*/ 526549 w 1609516"/>
                <a:gd name="csY957" fmla="*/ 150003 h 1538630"/>
                <a:gd name="csX958" fmla="*/ 524304 w 1609516"/>
                <a:gd name="csY958" fmla="*/ 107198 h 1538630"/>
                <a:gd name="csX959" fmla="*/ 547052 w 1609516"/>
                <a:gd name="csY959" fmla="*/ 85972 h 1538630"/>
                <a:gd name="csX960" fmla="*/ 588460 w 1609516"/>
                <a:gd name="csY960" fmla="*/ 83538 h 1538630"/>
                <a:gd name="csX961" fmla="*/ 617152 w 1609516"/>
                <a:gd name="csY961" fmla="*/ 111954 h 1538630"/>
                <a:gd name="csX962" fmla="*/ 617884 w 1609516"/>
                <a:gd name="csY962" fmla="*/ 124175 h 1538630"/>
                <a:gd name="csX963" fmla="*/ 617917 w 1609516"/>
                <a:gd name="csY963" fmla="*/ 127607 h 1538630"/>
                <a:gd name="csX964" fmla="*/ 617919 w 1609516"/>
                <a:gd name="csY964" fmla="*/ 141969 h 1538630"/>
                <a:gd name="csX965" fmla="*/ 630625 w 1609516"/>
                <a:gd name="csY965" fmla="*/ 191311 h 1538630"/>
                <a:gd name="csX966" fmla="*/ 637850 w 1609516"/>
                <a:gd name="csY966" fmla="*/ 205139 h 1538630"/>
                <a:gd name="csX967" fmla="*/ 643708 w 1609516"/>
                <a:gd name="csY967" fmla="*/ 212009 h 1538630"/>
                <a:gd name="csX968" fmla="*/ 647027 w 1609516"/>
                <a:gd name="csY968" fmla="*/ 217645 h 1538630"/>
                <a:gd name="csX969" fmla="*/ 670264 w 1609516"/>
                <a:gd name="csY969" fmla="*/ 241603 h 1538630"/>
                <a:gd name="csX970" fmla="*/ 670264 w 1609516"/>
                <a:gd name="csY970" fmla="*/ 244421 h 1538630"/>
                <a:gd name="csX971" fmla="*/ 675634 w 1609516"/>
                <a:gd name="csY971" fmla="*/ 245742 h 1538630"/>
                <a:gd name="csX972" fmla="*/ 682761 w 1609516"/>
                <a:gd name="csY972" fmla="*/ 248649 h 1538630"/>
                <a:gd name="csX973" fmla="*/ 752092 w 1609516"/>
                <a:gd name="csY973" fmla="*/ 245076 h 1538630"/>
                <a:gd name="csX974" fmla="*/ 758433 w 1609516"/>
                <a:gd name="csY974" fmla="*/ 240485 h 1538630"/>
                <a:gd name="csX975" fmla="*/ 763991 w 1609516"/>
                <a:gd name="csY975" fmla="*/ 238784 h 1538630"/>
                <a:gd name="csX976" fmla="*/ 765315 w 1609516"/>
                <a:gd name="csY976" fmla="*/ 235778 h 1538630"/>
                <a:gd name="csX977" fmla="*/ 770923 w 1609516"/>
                <a:gd name="csY977" fmla="*/ 223459 h 1538630"/>
                <a:gd name="csX978" fmla="*/ 772998 w 1609516"/>
                <a:gd name="csY978" fmla="*/ 218934 h 1538630"/>
                <a:gd name="csX979" fmla="*/ 777562 w 1609516"/>
                <a:gd name="csY979" fmla="*/ 209895 h 1538630"/>
                <a:gd name="csX980" fmla="*/ 781175 w 1609516"/>
                <a:gd name="csY980" fmla="*/ 124637 h 1538630"/>
                <a:gd name="csX981" fmla="*/ 778051 w 1609516"/>
                <a:gd name="csY981" fmla="*/ 124637 h 1538630"/>
                <a:gd name="csX982" fmla="*/ 767116 w 1609516"/>
                <a:gd name="csY982" fmla="*/ 79542 h 1538630"/>
                <a:gd name="csX983" fmla="*/ 793379 w 1609516"/>
                <a:gd name="csY983" fmla="*/ 54000 h 1538630"/>
                <a:gd name="csX984" fmla="*/ 840688 w 1609516"/>
                <a:gd name="csY984" fmla="*/ 55503 h 1538630"/>
                <a:gd name="csX985" fmla="*/ 851470 w 1609516"/>
                <a:gd name="csY985" fmla="*/ 64040 h 1538630"/>
                <a:gd name="csX986" fmla="*/ 853997 w 1609516"/>
                <a:gd name="csY986" fmla="*/ 66529 h 1538630"/>
                <a:gd name="csX987" fmla="*/ 861488 w 1609516"/>
                <a:gd name="csY987" fmla="*/ 82057 h 1538630"/>
                <a:gd name="csX988" fmla="*/ 861937 w 1609516"/>
                <a:gd name="csY988" fmla="*/ 90492 h 1538630"/>
                <a:gd name="csX989" fmla="*/ 863826 w 1609516"/>
                <a:gd name="csY989" fmla="*/ 100715 h 1538630"/>
                <a:gd name="csX990" fmla="*/ 857577 w 1609516"/>
                <a:gd name="csY990" fmla="*/ 121853 h 1538630"/>
                <a:gd name="csX991" fmla="*/ 856015 w 1609516"/>
                <a:gd name="csY991" fmla="*/ 121853 h 1538630"/>
                <a:gd name="csX992" fmla="*/ 855442 w 1609516"/>
                <a:gd name="csY992" fmla="*/ 118919 h 1538630"/>
                <a:gd name="csX993" fmla="*/ 855417 w 1609516"/>
                <a:gd name="csY993" fmla="*/ 118798 h 1538630"/>
                <a:gd name="csX994" fmla="*/ 856157 w 1609516"/>
                <a:gd name="csY994" fmla="*/ 124637 h 1538630"/>
                <a:gd name="csX995" fmla="*/ 850623 w 1609516"/>
                <a:gd name="csY995" fmla="*/ 134701 h 1538630"/>
                <a:gd name="csX996" fmla="*/ 851325 w 1609516"/>
                <a:gd name="csY996" fmla="*/ 135968 h 1538630"/>
                <a:gd name="csX997" fmla="*/ 849886 w 1609516"/>
                <a:gd name="csY997" fmla="*/ 139843 h 1538630"/>
                <a:gd name="csX998" fmla="*/ 847786 w 1609516"/>
                <a:gd name="csY998" fmla="*/ 152889 h 1538630"/>
                <a:gd name="csX999" fmla="*/ 847767 w 1609516"/>
                <a:gd name="csY999" fmla="*/ 157768 h 1538630"/>
                <a:gd name="csX1000" fmla="*/ 847810 w 1609516"/>
                <a:gd name="csY1000" fmla="*/ 162919 h 1538630"/>
                <a:gd name="csX1001" fmla="*/ 847832 w 1609516"/>
                <a:gd name="csY1001" fmla="*/ 168227 h 1538630"/>
                <a:gd name="csX1002" fmla="*/ 850903 w 1609516"/>
                <a:gd name="csY1002" fmla="*/ 209013 h 1538630"/>
                <a:gd name="csX1003" fmla="*/ 852880 w 1609516"/>
                <a:gd name="csY1003" fmla="*/ 224692 h 1538630"/>
                <a:gd name="csX1004" fmla="*/ 854595 w 1609516"/>
                <a:gd name="csY1004" fmla="*/ 224692 h 1538630"/>
                <a:gd name="csX1005" fmla="*/ 856083 w 1609516"/>
                <a:gd name="csY1005" fmla="*/ 227268 h 1538630"/>
                <a:gd name="csX1006" fmla="*/ 879588 w 1609516"/>
                <a:gd name="csY1006" fmla="*/ 247239 h 1538630"/>
                <a:gd name="csX1007" fmla="*/ 885739 w 1609516"/>
                <a:gd name="csY1007" fmla="*/ 249618 h 1538630"/>
                <a:gd name="csX1008" fmla="*/ 890523 w 1609516"/>
                <a:gd name="csY1008" fmla="*/ 251467 h 1538630"/>
                <a:gd name="csX1009" fmla="*/ 890523 w 1609516"/>
                <a:gd name="csY1009" fmla="*/ 254285 h 1538630"/>
                <a:gd name="csX1010" fmla="*/ 920203 w 1609516"/>
                <a:gd name="csY1010" fmla="*/ 261332 h 1538630"/>
                <a:gd name="csX1011" fmla="*/ 920203 w 1609516"/>
                <a:gd name="csY1011" fmla="*/ 262741 h 1538630"/>
                <a:gd name="csX1012" fmla="*/ 910831 w 1609516"/>
                <a:gd name="csY1012" fmla="*/ 262741 h 1538630"/>
                <a:gd name="csX1013" fmla="*/ 910831 w 1609516"/>
                <a:gd name="csY1013" fmla="*/ 262864 h 1538630"/>
                <a:gd name="csX1014" fmla="*/ 927993 w 1609516"/>
                <a:gd name="csY1014" fmla="*/ 264177 h 1538630"/>
                <a:gd name="csX1015" fmla="*/ 939273 w 1609516"/>
                <a:gd name="csY1015" fmla="*/ 265285 h 1538630"/>
                <a:gd name="csX1016" fmla="*/ 940456 w 1609516"/>
                <a:gd name="csY1016" fmla="*/ 265191 h 1538630"/>
                <a:gd name="csX1017" fmla="*/ 991622 w 1609516"/>
                <a:gd name="csY1017" fmla="*/ 242329 h 1538630"/>
                <a:gd name="csX1018" fmla="*/ 1000803 w 1609516"/>
                <a:gd name="csY1018" fmla="*/ 236505 h 1538630"/>
                <a:gd name="csX1019" fmla="*/ 999806 w 1609516"/>
                <a:gd name="csY1019" fmla="*/ 236055 h 1538630"/>
                <a:gd name="csX1020" fmla="*/ 1003126 w 1609516"/>
                <a:gd name="csY1020" fmla="*/ 232851 h 1538630"/>
                <a:gd name="csX1021" fmla="*/ 1029487 w 1609516"/>
                <a:gd name="csY1021" fmla="*/ 205052 h 1538630"/>
                <a:gd name="csX1022" fmla="*/ 1029872 w 1609516"/>
                <a:gd name="csY1022" fmla="*/ 206442 h 1538630"/>
                <a:gd name="csX1023" fmla="*/ 1031614 w 1609516"/>
                <a:gd name="csY1023" fmla="*/ 203719 h 1538630"/>
                <a:gd name="csX1024" fmla="*/ 1038924 w 1609516"/>
                <a:gd name="csY1024" fmla="*/ 192280 h 1538630"/>
                <a:gd name="csX1025" fmla="*/ 1042049 w 1609516"/>
                <a:gd name="csY1025" fmla="*/ 190870 h 1538630"/>
                <a:gd name="csX1026" fmla="*/ 1044294 w 1609516"/>
                <a:gd name="csY1026" fmla="*/ 186026 h 1538630"/>
                <a:gd name="csX1027" fmla="*/ 1051422 w 1609516"/>
                <a:gd name="csY1027" fmla="*/ 178188 h 1538630"/>
                <a:gd name="csX1028" fmla="*/ 1052984 w 1609516"/>
                <a:gd name="csY1028" fmla="*/ 172551 h 1538630"/>
                <a:gd name="csX1029" fmla="*/ 1056108 w 1609516"/>
                <a:gd name="csY1029" fmla="*/ 172551 h 1538630"/>
                <a:gd name="csX1030" fmla="*/ 1059232 w 1609516"/>
                <a:gd name="csY1030" fmla="*/ 162686 h 1538630"/>
                <a:gd name="csX1031" fmla="*/ 1062357 w 1609516"/>
                <a:gd name="csY1031" fmla="*/ 162686 h 1538630"/>
                <a:gd name="csX1032" fmla="*/ 1063162 w 1609516"/>
                <a:gd name="csY1032" fmla="*/ 160258 h 1538630"/>
                <a:gd name="csX1033" fmla="*/ 1073292 w 1609516"/>
                <a:gd name="csY1033" fmla="*/ 140138 h 1538630"/>
                <a:gd name="csX1034" fmla="*/ 1076415 w 1609516"/>
                <a:gd name="csY1034" fmla="*/ 140138 h 1538630"/>
                <a:gd name="csX1035" fmla="*/ 1085294 w 1609516"/>
                <a:gd name="csY1035" fmla="*/ 117569 h 1538630"/>
                <a:gd name="csX1036" fmla="*/ 1087350 w 1609516"/>
                <a:gd name="csY1036" fmla="*/ 113363 h 1538630"/>
                <a:gd name="csX1037" fmla="*/ 1092037 w 1609516"/>
                <a:gd name="csY1037" fmla="*/ 111954 h 1538630"/>
                <a:gd name="csX1038" fmla="*/ 1092623 w 1609516"/>
                <a:gd name="csY1038" fmla="*/ 108695 h 1538630"/>
                <a:gd name="csX1039" fmla="*/ 1096723 w 1609516"/>
                <a:gd name="csY1039" fmla="*/ 100680 h 1538630"/>
                <a:gd name="csX1040" fmla="*/ 1098188 w 1609516"/>
                <a:gd name="csY1040" fmla="*/ 96013 h 1538630"/>
                <a:gd name="csX1041" fmla="*/ 1102288 w 1609516"/>
                <a:gd name="csY1041" fmla="*/ 87029 h 1538630"/>
                <a:gd name="csX1042" fmla="*/ 1104534 w 1609516"/>
                <a:gd name="csY1042" fmla="*/ 61222 h 1538630"/>
                <a:gd name="csX1043" fmla="*/ 1104381 w 1609516"/>
                <a:gd name="csY1043" fmla="*/ 55569 h 1538630"/>
                <a:gd name="csX1044" fmla="*/ 1104397 w 1609516"/>
                <a:gd name="csY1044" fmla="*/ 52335 h 1538630"/>
                <a:gd name="csX1045" fmla="*/ 1104436 w 1609516"/>
                <a:gd name="csY1045" fmla="*/ 48979 h 1538630"/>
                <a:gd name="csX1046" fmla="*/ 1104457 w 1609516"/>
                <a:gd name="csY1046" fmla="*/ 45575 h 1538630"/>
                <a:gd name="csX1047" fmla="*/ 1104534 w 1609516"/>
                <a:gd name="csY1047" fmla="*/ 37265 h 1538630"/>
                <a:gd name="csX1048" fmla="*/ 1107658 w 1609516"/>
                <a:gd name="csY1048" fmla="*/ 37265 h 1538630"/>
                <a:gd name="csX1049" fmla="*/ 1107463 w 1609516"/>
                <a:gd name="csY1049" fmla="*/ 31805 h 1538630"/>
                <a:gd name="csX1050" fmla="*/ 1107658 w 1609516"/>
                <a:gd name="csY1050" fmla="*/ 25991 h 1538630"/>
                <a:gd name="csX1051" fmla="*/ 1110782 w 1609516"/>
                <a:gd name="csY1051" fmla="*/ 23173 h 1538630"/>
                <a:gd name="csX1052" fmla="*/ 1111759 w 1609516"/>
                <a:gd name="csY1052" fmla="*/ 20091 h 1538630"/>
                <a:gd name="csX1053" fmla="*/ 1134507 w 1609516"/>
                <a:gd name="csY1053" fmla="*/ 2828 h 1538630"/>
                <a:gd name="csX1054" fmla="*/ 1155019 w 1609516"/>
                <a:gd name="csY1054" fmla="*/ 35 h 153863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  <a:cxn ang="0">
                  <a:pos x="csX16" y="csY16"/>
                </a:cxn>
                <a:cxn ang="0">
                  <a:pos x="csX17" y="csY17"/>
                </a:cxn>
                <a:cxn ang="0">
                  <a:pos x="csX18" y="csY18"/>
                </a:cxn>
                <a:cxn ang="0">
                  <a:pos x="csX19" y="csY19"/>
                </a:cxn>
                <a:cxn ang="0">
                  <a:pos x="csX20" y="csY20"/>
                </a:cxn>
                <a:cxn ang="0">
                  <a:pos x="csX21" y="csY21"/>
                </a:cxn>
                <a:cxn ang="0">
                  <a:pos x="csX22" y="csY22"/>
                </a:cxn>
                <a:cxn ang="0">
                  <a:pos x="csX23" y="csY23"/>
                </a:cxn>
                <a:cxn ang="0">
                  <a:pos x="csX24" y="csY24"/>
                </a:cxn>
                <a:cxn ang="0">
                  <a:pos x="csX25" y="csY25"/>
                </a:cxn>
                <a:cxn ang="0">
                  <a:pos x="csX26" y="csY26"/>
                </a:cxn>
                <a:cxn ang="0">
                  <a:pos x="csX27" y="csY27"/>
                </a:cxn>
                <a:cxn ang="0">
                  <a:pos x="csX28" y="csY28"/>
                </a:cxn>
                <a:cxn ang="0">
                  <a:pos x="csX29" y="csY29"/>
                </a:cxn>
                <a:cxn ang="0">
                  <a:pos x="csX30" y="csY30"/>
                </a:cxn>
                <a:cxn ang="0">
                  <a:pos x="csX31" y="csY31"/>
                </a:cxn>
                <a:cxn ang="0">
                  <a:pos x="csX32" y="csY32"/>
                </a:cxn>
                <a:cxn ang="0">
                  <a:pos x="csX33" y="csY33"/>
                </a:cxn>
                <a:cxn ang="0">
                  <a:pos x="csX34" y="csY34"/>
                </a:cxn>
                <a:cxn ang="0">
                  <a:pos x="csX35" y="csY35"/>
                </a:cxn>
                <a:cxn ang="0">
                  <a:pos x="csX36" y="csY36"/>
                </a:cxn>
                <a:cxn ang="0">
                  <a:pos x="csX37" y="csY37"/>
                </a:cxn>
                <a:cxn ang="0">
                  <a:pos x="csX38" y="csY38"/>
                </a:cxn>
                <a:cxn ang="0">
                  <a:pos x="csX39" y="csY39"/>
                </a:cxn>
                <a:cxn ang="0">
                  <a:pos x="csX40" y="csY40"/>
                </a:cxn>
                <a:cxn ang="0">
                  <a:pos x="csX41" y="csY41"/>
                </a:cxn>
                <a:cxn ang="0">
                  <a:pos x="csX42" y="csY42"/>
                </a:cxn>
                <a:cxn ang="0">
                  <a:pos x="csX43" y="csY43"/>
                </a:cxn>
                <a:cxn ang="0">
                  <a:pos x="csX44" y="csY44"/>
                </a:cxn>
                <a:cxn ang="0">
                  <a:pos x="csX45" y="csY45"/>
                </a:cxn>
                <a:cxn ang="0">
                  <a:pos x="csX46" y="csY46"/>
                </a:cxn>
                <a:cxn ang="0">
                  <a:pos x="csX47" y="csY47"/>
                </a:cxn>
                <a:cxn ang="0">
                  <a:pos x="csX48" y="csY48"/>
                </a:cxn>
                <a:cxn ang="0">
                  <a:pos x="csX49" y="csY49"/>
                </a:cxn>
                <a:cxn ang="0">
                  <a:pos x="csX50" y="csY50"/>
                </a:cxn>
                <a:cxn ang="0">
                  <a:pos x="csX51" y="csY51"/>
                </a:cxn>
                <a:cxn ang="0">
                  <a:pos x="csX52" y="csY52"/>
                </a:cxn>
                <a:cxn ang="0">
                  <a:pos x="csX53" y="csY53"/>
                </a:cxn>
                <a:cxn ang="0">
                  <a:pos x="csX54" y="csY54"/>
                </a:cxn>
                <a:cxn ang="0">
                  <a:pos x="csX55" y="csY55"/>
                </a:cxn>
                <a:cxn ang="0">
                  <a:pos x="csX56" y="csY56"/>
                </a:cxn>
                <a:cxn ang="0">
                  <a:pos x="csX57" y="csY57"/>
                </a:cxn>
                <a:cxn ang="0">
                  <a:pos x="csX58" y="csY58"/>
                </a:cxn>
                <a:cxn ang="0">
                  <a:pos x="csX59" y="csY59"/>
                </a:cxn>
                <a:cxn ang="0">
                  <a:pos x="csX60" y="csY60"/>
                </a:cxn>
                <a:cxn ang="0">
                  <a:pos x="csX61" y="csY61"/>
                </a:cxn>
                <a:cxn ang="0">
                  <a:pos x="csX62" y="csY62"/>
                </a:cxn>
                <a:cxn ang="0">
                  <a:pos x="csX63" y="csY63"/>
                </a:cxn>
                <a:cxn ang="0">
                  <a:pos x="csX64" y="csY64"/>
                </a:cxn>
                <a:cxn ang="0">
                  <a:pos x="csX65" y="csY65"/>
                </a:cxn>
                <a:cxn ang="0">
                  <a:pos x="csX66" y="csY66"/>
                </a:cxn>
                <a:cxn ang="0">
                  <a:pos x="csX67" y="csY67"/>
                </a:cxn>
                <a:cxn ang="0">
                  <a:pos x="csX68" y="csY68"/>
                </a:cxn>
                <a:cxn ang="0">
                  <a:pos x="csX69" y="csY69"/>
                </a:cxn>
                <a:cxn ang="0">
                  <a:pos x="csX70" y="csY70"/>
                </a:cxn>
                <a:cxn ang="0">
                  <a:pos x="csX71" y="csY71"/>
                </a:cxn>
                <a:cxn ang="0">
                  <a:pos x="csX72" y="csY72"/>
                </a:cxn>
                <a:cxn ang="0">
                  <a:pos x="csX73" y="csY73"/>
                </a:cxn>
                <a:cxn ang="0">
                  <a:pos x="csX74" y="csY74"/>
                </a:cxn>
                <a:cxn ang="0">
                  <a:pos x="csX75" y="csY75"/>
                </a:cxn>
                <a:cxn ang="0">
                  <a:pos x="csX76" y="csY76"/>
                </a:cxn>
                <a:cxn ang="0">
                  <a:pos x="csX77" y="csY77"/>
                </a:cxn>
                <a:cxn ang="0">
                  <a:pos x="csX78" y="csY78"/>
                </a:cxn>
                <a:cxn ang="0">
                  <a:pos x="csX79" y="csY79"/>
                </a:cxn>
                <a:cxn ang="0">
                  <a:pos x="csX80" y="csY80"/>
                </a:cxn>
                <a:cxn ang="0">
                  <a:pos x="csX81" y="csY81"/>
                </a:cxn>
                <a:cxn ang="0">
                  <a:pos x="csX82" y="csY82"/>
                </a:cxn>
                <a:cxn ang="0">
                  <a:pos x="csX83" y="csY83"/>
                </a:cxn>
                <a:cxn ang="0">
                  <a:pos x="csX84" y="csY84"/>
                </a:cxn>
                <a:cxn ang="0">
                  <a:pos x="csX85" y="csY85"/>
                </a:cxn>
                <a:cxn ang="0">
                  <a:pos x="csX86" y="csY86"/>
                </a:cxn>
                <a:cxn ang="0">
                  <a:pos x="csX87" y="csY87"/>
                </a:cxn>
                <a:cxn ang="0">
                  <a:pos x="csX88" y="csY88"/>
                </a:cxn>
                <a:cxn ang="0">
                  <a:pos x="csX89" y="csY89"/>
                </a:cxn>
                <a:cxn ang="0">
                  <a:pos x="csX90" y="csY90"/>
                </a:cxn>
                <a:cxn ang="0">
                  <a:pos x="csX91" y="csY91"/>
                </a:cxn>
                <a:cxn ang="0">
                  <a:pos x="csX92" y="csY92"/>
                </a:cxn>
                <a:cxn ang="0">
                  <a:pos x="csX93" y="csY93"/>
                </a:cxn>
                <a:cxn ang="0">
                  <a:pos x="csX94" y="csY94"/>
                </a:cxn>
                <a:cxn ang="0">
                  <a:pos x="csX95" y="csY95"/>
                </a:cxn>
                <a:cxn ang="0">
                  <a:pos x="csX96" y="csY96"/>
                </a:cxn>
                <a:cxn ang="0">
                  <a:pos x="csX97" y="csY97"/>
                </a:cxn>
                <a:cxn ang="0">
                  <a:pos x="csX98" y="csY98"/>
                </a:cxn>
                <a:cxn ang="0">
                  <a:pos x="csX99" y="csY99"/>
                </a:cxn>
                <a:cxn ang="0">
                  <a:pos x="csX100" y="csY100"/>
                </a:cxn>
                <a:cxn ang="0">
                  <a:pos x="csX101" y="csY101"/>
                </a:cxn>
                <a:cxn ang="0">
                  <a:pos x="csX102" y="csY102"/>
                </a:cxn>
                <a:cxn ang="0">
                  <a:pos x="csX103" y="csY103"/>
                </a:cxn>
                <a:cxn ang="0">
                  <a:pos x="csX104" y="csY104"/>
                </a:cxn>
                <a:cxn ang="0">
                  <a:pos x="csX105" y="csY105"/>
                </a:cxn>
                <a:cxn ang="0">
                  <a:pos x="csX106" y="csY106"/>
                </a:cxn>
                <a:cxn ang="0">
                  <a:pos x="csX107" y="csY107"/>
                </a:cxn>
                <a:cxn ang="0">
                  <a:pos x="csX108" y="csY108"/>
                </a:cxn>
                <a:cxn ang="0">
                  <a:pos x="csX109" y="csY109"/>
                </a:cxn>
                <a:cxn ang="0">
                  <a:pos x="csX110" y="csY110"/>
                </a:cxn>
                <a:cxn ang="0">
                  <a:pos x="csX111" y="csY111"/>
                </a:cxn>
                <a:cxn ang="0">
                  <a:pos x="csX112" y="csY112"/>
                </a:cxn>
                <a:cxn ang="0">
                  <a:pos x="csX113" y="csY113"/>
                </a:cxn>
                <a:cxn ang="0">
                  <a:pos x="csX114" y="csY114"/>
                </a:cxn>
                <a:cxn ang="0">
                  <a:pos x="csX115" y="csY115"/>
                </a:cxn>
                <a:cxn ang="0">
                  <a:pos x="csX116" y="csY116"/>
                </a:cxn>
                <a:cxn ang="0">
                  <a:pos x="csX117" y="csY117"/>
                </a:cxn>
                <a:cxn ang="0">
                  <a:pos x="csX118" y="csY118"/>
                </a:cxn>
                <a:cxn ang="0">
                  <a:pos x="csX119" y="csY119"/>
                </a:cxn>
                <a:cxn ang="0">
                  <a:pos x="csX120" y="csY120"/>
                </a:cxn>
                <a:cxn ang="0">
                  <a:pos x="csX121" y="csY121"/>
                </a:cxn>
                <a:cxn ang="0">
                  <a:pos x="csX122" y="csY122"/>
                </a:cxn>
                <a:cxn ang="0">
                  <a:pos x="csX123" y="csY123"/>
                </a:cxn>
                <a:cxn ang="0">
                  <a:pos x="csX124" y="csY124"/>
                </a:cxn>
                <a:cxn ang="0">
                  <a:pos x="csX125" y="csY125"/>
                </a:cxn>
                <a:cxn ang="0">
                  <a:pos x="csX126" y="csY126"/>
                </a:cxn>
                <a:cxn ang="0">
                  <a:pos x="csX127" y="csY127"/>
                </a:cxn>
                <a:cxn ang="0">
                  <a:pos x="csX128" y="csY128"/>
                </a:cxn>
                <a:cxn ang="0">
                  <a:pos x="csX129" y="csY129"/>
                </a:cxn>
                <a:cxn ang="0">
                  <a:pos x="csX130" y="csY130"/>
                </a:cxn>
                <a:cxn ang="0">
                  <a:pos x="csX131" y="csY131"/>
                </a:cxn>
                <a:cxn ang="0">
                  <a:pos x="csX132" y="csY132"/>
                </a:cxn>
                <a:cxn ang="0">
                  <a:pos x="csX133" y="csY133"/>
                </a:cxn>
                <a:cxn ang="0">
                  <a:pos x="csX134" y="csY134"/>
                </a:cxn>
                <a:cxn ang="0">
                  <a:pos x="csX135" y="csY135"/>
                </a:cxn>
                <a:cxn ang="0">
                  <a:pos x="csX136" y="csY136"/>
                </a:cxn>
                <a:cxn ang="0">
                  <a:pos x="csX137" y="csY137"/>
                </a:cxn>
                <a:cxn ang="0">
                  <a:pos x="csX138" y="csY138"/>
                </a:cxn>
                <a:cxn ang="0">
                  <a:pos x="csX139" y="csY139"/>
                </a:cxn>
                <a:cxn ang="0">
                  <a:pos x="csX140" y="csY140"/>
                </a:cxn>
                <a:cxn ang="0">
                  <a:pos x="csX141" y="csY141"/>
                </a:cxn>
                <a:cxn ang="0">
                  <a:pos x="csX142" y="csY142"/>
                </a:cxn>
                <a:cxn ang="0">
                  <a:pos x="csX143" y="csY143"/>
                </a:cxn>
                <a:cxn ang="0">
                  <a:pos x="csX144" y="csY144"/>
                </a:cxn>
                <a:cxn ang="0">
                  <a:pos x="csX145" y="csY145"/>
                </a:cxn>
                <a:cxn ang="0">
                  <a:pos x="csX146" y="csY146"/>
                </a:cxn>
                <a:cxn ang="0">
                  <a:pos x="csX147" y="csY147"/>
                </a:cxn>
                <a:cxn ang="0">
                  <a:pos x="csX148" y="csY148"/>
                </a:cxn>
                <a:cxn ang="0">
                  <a:pos x="csX149" y="csY149"/>
                </a:cxn>
                <a:cxn ang="0">
                  <a:pos x="csX150" y="csY150"/>
                </a:cxn>
                <a:cxn ang="0">
                  <a:pos x="csX151" y="csY151"/>
                </a:cxn>
                <a:cxn ang="0">
                  <a:pos x="csX152" y="csY152"/>
                </a:cxn>
                <a:cxn ang="0">
                  <a:pos x="csX153" y="csY153"/>
                </a:cxn>
                <a:cxn ang="0">
                  <a:pos x="csX154" y="csY154"/>
                </a:cxn>
                <a:cxn ang="0">
                  <a:pos x="csX155" y="csY155"/>
                </a:cxn>
                <a:cxn ang="0">
                  <a:pos x="csX156" y="csY156"/>
                </a:cxn>
                <a:cxn ang="0">
                  <a:pos x="csX157" y="csY157"/>
                </a:cxn>
                <a:cxn ang="0">
                  <a:pos x="csX158" y="csY158"/>
                </a:cxn>
                <a:cxn ang="0">
                  <a:pos x="csX159" y="csY159"/>
                </a:cxn>
                <a:cxn ang="0">
                  <a:pos x="csX160" y="csY160"/>
                </a:cxn>
                <a:cxn ang="0">
                  <a:pos x="csX161" y="csY161"/>
                </a:cxn>
                <a:cxn ang="0">
                  <a:pos x="csX162" y="csY162"/>
                </a:cxn>
                <a:cxn ang="0">
                  <a:pos x="csX163" y="csY163"/>
                </a:cxn>
                <a:cxn ang="0">
                  <a:pos x="csX164" y="csY164"/>
                </a:cxn>
                <a:cxn ang="0">
                  <a:pos x="csX165" y="csY165"/>
                </a:cxn>
                <a:cxn ang="0">
                  <a:pos x="csX166" y="csY166"/>
                </a:cxn>
                <a:cxn ang="0">
                  <a:pos x="csX167" y="csY167"/>
                </a:cxn>
                <a:cxn ang="0">
                  <a:pos x="csX168" y="csY168"/>
                </a:cxn>
                <a:cxn ang="0">
                  <a:pos x="csX169" y="csY169"/>
                </a:cxn>
                <a:cxn ang="0">
                  <a:pos x="csX170" y="csY170"/>
                </a:cxn>
                <a:cxn ang="0">
                  <a:pos x="csX171" y="csY171"/>
                </a:cxn>
                <a:cxn ang="0">
                  <a:pos x="csX172" y="csY172"/>
                </a:cxn>
                <a:cxn ang="0">
                  <a:pos x="csX173" y="csY173"/>
                </a:cxn>
                <a:cxn ang="0">
                  <a:pos x="csX174" y="csY174"/>
                </a:cxn>
                <a:cxn ang="0">
                  <a:pos x="csX175" y="csY175"/>
                </a:cxn>
                <a:cxn ang="0">
                  <a:pos x="csX176" y="csY176"/>
                </a:cxn>
                <a:cxn ang="0">
                  <a:pos x="csX177" y="csY177"/>
                </a:cxn>
                <a:cxn ang="0">
                  <a:pos x="csX178" y="csY178"/>
                </a:cxn>
                <a:cxn ang="0">
                  <a:pos x="csX179" y="csY179"/>
                </a:cxn>
                <a:cxn ang="0">
                  <a:pos x="csX180" y="csY180"/>
                </a:cxn>
                <a:cxn ang="0">
                  <a:pos x="csX181" y="csY181"/>
                </a:cxn>
                <a:cxn ang="0">
                  <a:pos x="csX182" y="csY182"/>
                </a:cxn>
                <a:cxn ang="0">
                  <a:pos x="csX183" y="csY183"/>
                </a:cxn>
                <a:cxn ang="0">
                  <a:pos x="csX184" y="csY184"/>
                </a:cxn>
                <a:cxn ang="0">
                  <a:pos x="csX185" y="csY185"/>
                </a:cxn>
                <a:cxn ang="0">
                  <a:pos x="csX186" y="csY186"/>
                </a:cxn>
                <a:cxn ang="0">
                  <a:pos x="csX187" y="csY187"/>
                </a:cxn>
                <a:cxn ang="0">
                  <a:pos x="csX188" y="csY188"/>
                </a:cxn>
                <a:cxn ang="0">
                  <a:pos x="csX189" y="csY189"/>
                </a:cxn>
                <a:cxn ang="0">
                  <a:pos x="csX190" y="csY190"/>
                </a:cxn>
                <a:cxn ang="0">
                  <a:pos x="csX191" y="csY191"/>
                </a:cxn>
                <a:cxn ang="0">
                  <a:pos x="csX192" y="csY192"/>
                </a:cxn>
                <a:cxn ang="0">
                  <a:pos x="csX193" y="csY193"/>
                </a:cxn>
                <a:cxn ang="0">
                  <a:pos x="csX194" y="csY194"/>
                </a:cxn>
                <a:cxn ang="0">
                  <a:pos x="csX195" y="csY195"/>
                </a:cxn>
                <a:cxn ang="0">
                  <a:pos x="csX196" y="csY196"/>
                </a:cxn>
                <a:cxn ang="0">
                  <a:pos x="csX197" y="csY197"/>
                </a:cxn>
                <a:cxn ang="0">
                  <a:pos x="csX198" y="csY198"/>
                </a:cxn>
                <a:cxn ang="0">
                  <a:pos x="csX199" y="csY199"/>
                </a:cxn>
                <a:cxn ang="0">
                  <a:pos x="csX200" y="csY200"/>
                </a:cxn>
                <a:cxn ang="0">
                  <a:pos x="csX201" y="csY201"/>
                </a:cxn>
                <a:cxn ang="0">
                  <a:pos x="csX202" y="csY202"/>
                </a:cxn>
                <a:cxn ang="0">
                  <a:pos x="csX203" y="csY203"/>
                </a:cxn>
                <a:cxn ang="0">
                  <a:pos x="csX204" y="csY204"/>
                </a:cxn>
                <a:cxn ang="0">
                  <a:pos x="csX205" y="csY205"/>
                </a:cxn>
                <a:cxn ang="0">
                  <a:pos x="csX206" y="csY206"/>
                </a:cxn>
                <a:cxn ang="0">
                  <a:pos x="csX207" y="csY207"/>
                </a:cxn>
                <a:cxn ang="0">
                  <a:pos x="csX208" y="csY208"/>
                </a:cxn>
                <a:cxn ang="0">
                  <a:pos x="csX209" y="csY209"/>
                </a:cxn>
                <a:cxn ang="0">
                  <a:pos x="csX210" y="csY210"/>
                </a:cxn>
                <a:cxn ang="0">
                  <a:pos x="csX211" y="csY211"/>
                </a:cxn>
                <a:cxn ang="0">
                  <a:pos x="csX212" y="csY212"/>
                </a:cxn>
                <a:cxn ang="0">
                  <a:pos x="csX213" y="csY213"/>
                </a:cxn>
                <a:cxn ang="0">
                  <a:pos x="csX214" y="csY214"/>
                </a:cxn>
                <a:cxn ang="0">
                  <a:pos x="csX215" y="csY215"/>
                </a:cxn>
                <a:cxn ang="0">
                  <a:pos x="csX216" y="csY216"/>
                </a:cxn>
                <a:cxn ang="0">
                  <a:pos x="csX217" y="csY217"/>
                </a:cxn>
                <a:cxn ang="0">
                  <a:pos x="csX218" y="csY218"/>
                </a:cxn>
                <a:cxn ang="0">
                  <a:pos x="csX219" y="csY219"/>
                </a:cxn>
                <a:cxn ang="0">
                  <a:pos x="csX220" y="csY220"/>
                </a:cxn>
                <a:cxn ang="0">
                  <a:pos x="csX221" y="csY221"/>
                </a:cxn>
                <a:cxn ang="0">
                  <a:pos x="csX222" y="csY222"/>
                </a:cxn>
                <a:cxn ang="0">
                  <a:pos x="csX223" y="csY223"/>
                </a:cxn>
                <a:cxn ang="0">
                  <a:pos x="csX224" y="csY224"/>
                </a:cxn>
                <a:cxn ang="0">
                  <a:pos x="csX225" y="csY225"/>
                </a:cxn>
                <a:cxn ang="0">
                  <a:pos x="csX226" y="csY226"/>
                </a:cxn>
                <a:cxn ang="0">
                  <a:pos x="csX227" y="csY227"/>
                </a:cxn>
                <a:cxn ang="0">
                  <a:pos x="csX228" y="csY228"/>
                </a:cxn>
                <a:cxn ang="0">
                  <a:pos x="csX229" y="csY229"/>
                </a:cxn>
                <a:cxn ang="0">
                  <a:pos x="csX230" y="csY230"/>
                </a:cxn>
                <a:cxn ang="0">
                  <a:pos x="csX231" y="csY231"/>
                </a:cxn>
                <a:cxn ang="0">
                  <a:pos x="csX232" y="csY232"/>
                </a:cxn>
                <a:cxn ang="0">
                  <a:pos x="csX233" y="csY233"/>
                </a:cxn>
                <a:cxn ang="0">
                  <a:pos x="csX234" y="csY234"/>
                </a:cxn>
                <a:cxn ang="0">
                  <a:pos x="csX235" y="csY235"/>
                </a:cxn>
                <a:cxn ang="0">
                  <a:pos x="csX236" y="csY236"/>
                </a:cxn>
                <a:cxn ang="0">
                  <a:pos x="csX237" y="csY237"/>
                </a:cxn>
                <a:cxn ang="0">
                  <a:pos x="csX238" y="csY238"/>
                </a:cxn>
                <a:cxn ang="0">
                  <a:pos x="csX239" y="csY239"/>
                </a:cxn>
                <a:cxn ang="0">
                  <a:pos x="csX240" y="csY240"/>
                </a:cxn>
                <a:cxn ang="0">
                  <a:pos x="csX241" y="csY241"/>
                </a:cxn>
                <a:cxn ang="0">
                  <a:pos x="csX242" y="csY242"/>
                </a:cxn>
                <a:cxn ang="0">
                  <a:pos x="csX243" y="csY243"/>
                </a:cxn>
                <a:cxn ang="0">
                  <a:pos x="csX244" y="csY244"/>
                </a:cxn>
                <a:cxn ang="0">
                  <a:pos x="csX245" y="csY245"/>
                </a:cxn>
                <a:cxn ang="0">
                  <a:pos x="csX246" y="csY246"/>
                </a:cxn>
                <a:cxn ang="0">
                  <a:pos x="csX247" y="csY247"/>
                </a:cxn>
                <a:cxn ang="0">
                  <a:pos x="csX248" y="csY248"/>
                </a:cxn>
                <a:cxn ang="0">
                  <a:pos x="csX249" y="csY249"/>
                </a:cxn>
                <a:cxn ang="0">
                  <a:pos x="csX250" y="csY250"/>
                </a:cxn>
                <a:cxn ang="0">
                  <a:pos x="csX251" y="csY251"/>
                </a:cxn>
                <a:cxn ang="0">
                  <a:pos x="csX252" y="csY252"/>
                </a:cxn>
                <a:cxn ang="0">
                  <a:pos x="csX253" y="csY253"/>
                </a:cxn>
                <a:cxn ang="0">
                  <a:pos x="csX254" y="csY254"/>
                </a:cxn>
                <a:cxn ang="0">
                  <a:pos x="csX255" y="csY255"/>
                </a:cxn>
                <a:cxn ang="0">
                  <a:pos x="csX256" y="csY256"/>
                </a:cxn>
                <a:cxn ang="0">
                  <a:pos x="csX257" y="csY257"/>
                </a:cxn>
                <a:cxn ang="0">
                  <a:pos x="csX258" y="csY258"/>
                </a:cxn>
                <a:cxn ang="0">
                  <a:pos x="csX259" y="csY259"/>
                </a:cxn>
                <a:cxn ang="0">
                  <a:pos x="csX260" y="csY260"/>
                </a:cxn>
                <a:cxn ang="0">
                  <a:pos x="csX261" y="csY261"/>
                </a:cxn>
                <a:cxn ang="0">
                  <a:pos x="csX262" y="csY262"/>
                </a:cxn>
                <a:cxn ang="0">
                  <a:pos x="csX263" y="csY263"/>
                </a:cxn>
                <a:cxn ang="0">
                  <a:pos x="csX264" y="csY264"/>
                </a:cxn>
                <a:cxn ang="0">
                  <a:pos x="csX265" y="csY265"/>
                </a:cxn>
                <a:cxn ang="0">
                  <a:pos x="csX266" y="csY266"/>
                </a:cxn>
                <a:cxn ang="0">
                  <a:pos x="csX267" y="csY267"/>
                </a:cxn>
                <a:cxn ang="0">
                  <a:pos x="csX268" y="csY268"/>
                </a:cxn>
                <a:cxn ang="0">
                  <a:pos x="csX269" y="csY269"/>
                </a:cxn>
                <a:cxn ang="0">
                  <a:pos x="csX270" y="csY270"/>
                </a:cxn>
                <a:cxn ang="0">
                  <a:pos x="csX271" y="csY271"/>
                </a:cxn>
                <a:cxn ang="0">
                  <a:pos x="csX272" y="csY272"/>
                </a:cxn>
                <a:cxn ang="0">
                  <a:pos x="csX273" y="csY273"/>
                </a:cxn>
                <a:cxn ang="0">
                  <a:pos x="csX274" y="csY274"/>
                </a:cxn>
                <a:cxn ang="0">
                  <a:pos x="csX275" y="csY275"/>
                </a:cxn>
                <a:cxn ang="0">
                  <a:pos x="csX276" y="csY276"/>
                </a:cxn>
                <a:cxn ang="0">
                  <a:pos x="csX277" y="csY277"/>
                </a:cxn>
                <a:cxn ang="0">
                  <a:pos x="csX278" y="csY278"/>
                </a:cxn>
                <a:cxn ang="0">
                  <a:pos x="csX279" y="csY279"/>
                </a:cxn>
                <a:cxn ang="0">
                  <a:pos x="csX280" y="csY280"/>
                </a:cxn>
                <a:cxn ang="0">
                  <a:pos x="csX281" y="csY281"/>
                </a:cxn>
                <a:cxn ang="0">
                  <a:pos x="csX282" y="csY282"/>
                </a:cxn>
                <a:cxn ang="0">
                  <a:pos x="csX283" y="csY283"/>
                </a:cxn>
                <a:cxn ang="0">
                  <a:pos x="csX284" y="csY284"/>
                </a:cxn>
                <a:cxn ang="0">
                  <a:pos x="csX285" y="csY285"/>
                </a:cxn>
                <a:cxn ang="0">
                  <a:pos x="csX286" y="csY286"/>
                </a:cxn>
                <a:cxn ang="0">
                  <a:pos x="csX287" y="csY287"/>
                </a:cxn>
                <a:cxn ang="0">
                  <a:pos x="csX288" y="csY288"/>
                </a:cxn>
                <a:cxn ang="0">
                  <a:pos x="csX289" y="csY289"/>
                </a:cxn>
                <a:cxn ang="0">
                  <a:pos x="csX290" y="csY290"/>
                </a:cxn>
                <a:cxn ang="0">
                  <a:pos x="csX291" y="csY291"/>
                </a:cxn>
                <a:cxn ang="0">
                  <a:pos x="csX292" y="csY292"/>
                </a:cxn>
                <a:cxn ang="0">
                  <a:pos x="csX293" y="csY293"/>
                </a:cxn>
                <a:cxn ang="0">
                  <a:pos x="csX294" y="csY294"/>
                </a:cxn>
                <a:cxn ang="0">
                  <a:pos x="csX295" y="csY295"/>
                </a:cxn>
                <a:cxn ang="0">
                  <a:pos x="csX296" y="csY296"/>
                </a:cxn>
                <a:cxn ang="0">
                  <a:pos x="csX297" y="csY297"/>
                </a:cxn>
                <a:cxn ang="0">
                  <a:pos x="csX298" y="csY298"/>
                </a:cxn>
                <a:cxn ang="0">
                  <a:pos x="csX299" y="csY299"/>
                </a:cxn>
                <a:cxn ang="0">
                  <a:pos x="csX300" y="csY300"/>
                </a:cxn>
                <a:cxn ang="0">
                  <a:pos x="csX301" y="csY301"/>
                </a:cxn>
                <a:cxn ang="0">
                  <a:pos x="csX302" y="csY302"/>
                </a:cxn>
                <a:cxn ang="0">
                  <a:pos x="csX303" y="csY303"/>
                </a:cxn>
                <a:cxn ang="0">
                  <a:pos x="csX304" y="csY304"/>
                </a:cxn>
                <a:cxn ang="0">
                  <a:pos x="csX305" y="csY305"/>
                </a:cxn>
                <a:cxn ang="0">
                  <a:pos x="csX306" y="csY306"/>
                </a:cxn>
                <a:cxn ang="0">
                  <a:pos x="csX307" y="csY307"/>
                </a:cxn>
                <a:cxn ang="0">
                  <a:pos x="csX308" y="csY308"/>
                </a:cxn>
                <a:cxn ang="0">
                  <a:pos x="csX309" y="csY309"/>
                </a:cxn>
                <a:cxn ang="0">
                  <a:pos x="csX310" y="csY310"/>
                </a:cxn>
                <a:cxn ang="0">
                  <a:pos x="csX311" y="csY311"/>
                </a:cxn>
                <a:cxn ang="0">
                  <a:pos x="csX312" y="csY312"/>
                </a:cxn>
                <a:cxn ang="0">
                  <a:pos x="csX313" y="csY313"/>
                </a:cxn>
                <a:cxn ang="0">
                  <a:pos x="csX314" y="csY314"/>
                </a:cxn>
                <a:cxn ang="0">
                  <a:pos x="csX315" y="csY315"/>
                </a:cxn>
                <a:cxn ang="0">
                  <a:pos x="csX316" y="csY316"/>
                </a:cxn>
                <a:cxn ang="0">
                  <a:pos x="csX317" y="csY317"/>
                </a:cxn>
                <a:cxn ang="0">
                  <a:pos x="csX318" y="csY318"/>
                </a:cxn>
                <a:cxn ang="0">
                  <a:pos x="csX319" y="csY319"/>
                </a:cxn>
                <a:cxn ang="0">
                  <a:pos x="csX320" y="csY320"/>
                </a:cxn>
                <a:cxn ang="0">
                  <a:pos x="csX321" y="csY321"/>
                </a:cxn>
                <a:cxn ang="0">
                  <a:pos x="csX322" y="csY322"/>
                </a:cxn>
                <a:cxn ang="0">
                  <a:pos x="csX323" y="csY323"/>
                </a:cxn>
                <a:cxn ang="0">
                  <a:pos x="csX324" y="csY324"/>
                </a:cxn>
                <a:cxn ang="0">
                  <a:pos x="csX325" y="csY325"/>
                </a:cxn>
                <a:cxn ang="0">
                  <a:pos x="csX326" y="csY326"/>
                </a:cxn>
                <a:cxn ang="0">
                  <a:pos x="csX327" y="csY327"/>
                </a:cxn>
                <a:cxn ang="0">
                  <a:pos x="csX328" y="csY328"/>
                </a:cxn>
                <a:cxn ang="0">
                  <a:pos x="csX329" y="csY329"/>
                </a:cxn>
                <a:cxn ang="0">
                  <a:pos x="csX330" y="csY330"/>
                </a:cxn>
                <a:cxn ang="0">
                  <a:pos x="csX331" y="csY331"/>
                </a:cxn>
                <a:cxn ang="0">
                  <a:pos x="csX332" y="csY332"/>
                </a:cxn>
                <a:cxn ang="0">
                  <a:pos x="csX333" y="csY333"/>
                </a:cxn>
                <a:cxn ang="0">
                  <a:pos x="csX334" y="csY334"/>
                </a:cxn>
                <a:cxn ang="0">
                  <a:pos x="csX335" y="csY335"/>
                </a:cxn>
                <a:cxn ang="0">
                  <a:pos x="csX336" y="csY336"/>
                </a:cxn>
                <a:cxn ang="0">
                  <a:pos x="csX337" y="csY337"/>
                </a:cxn>
                <a:cxn ang="0">
                  <a:pos x="csX338" y="csY338"/>
                </a:cxn>
                <a:cxn ang="0">
                  <a:pos x="csX339" y="csY339"/>
                </a:cxn>
                <a:cxn ang="0">
                  <a:pos x="csX340" y="csY340"/>
                </a:cxn>
                <a:cxn ang="0">
                  <a:pos x="csX341" y="csY341"/>
                </a:cxn>
                <a:cxn ang="0">
                  <a:pos x="csX342" y="csY342"/>
                </a:cxn>
                <a:cxn ang="0">
                  <a:pos x="csX343" y="csY343"/>
                </a:cxn>
                <a:cxn ang="0">
                  <a:pos x="csX344" y="csY344"/>
                </a:cxn>
                <a:cxn ang="0">
                  <a:pos x="csX345" y="csY345"/>
                </a:cxn>
                <a:cxn ang="0">
                  <a:pos x="csX346" y="csY346"/>
                </a:cxn>
                <a:cxn ang="0">
                  <a:pos x="csX347" y="csY347"/>
                </a:cxn>
                <a:cxn ang="0">
                  <a:pos x="csX348" y="csY348"/>
                </a:cxn>
                <a:cxn ang="0">
                  <a:pos x="csX349" y="csY349"/>
                </a:cxn>
                <a:cxn ang="0">
                  <a:pos x="csX350" y="csY350"/>
                </a:cxn>
                <a:cxn ang="0">
                  <a:pos x="csX351" y="csY351"/>
                </a:cxn>
                <a:cxn ang="0">
                  <a:pos x="csX352" y="csY352"/>
                </a:cxn>
                <a:cxn ang="0">
                  <a:pos x="csX353" y="csY353"/>
                </a:cxn>
                <a:cxn ang="0">
                  <a:pos x="csX354" y="csY354"/>
                </a:cxn>
                <a:cxn ang="0">
                  <a:pos x="csX355" y="csY355"/>
                </a:cxn>
                <a:cxn ang="0">
                  <a:pos x="csX356" y="csY356"/>
                </a:cxn>
                <a:cxn ang="0">
                  <a:pos x="csX357" y="csY357"/>
                </a:cxn>
                <a:cxn ang="0">
                  <a:pos x="csX358" y="csY358"/>
                </a:cxn>
                <a:cxn ang="0">
                  <a:pos x="csX359" y="csY359"/>
                </a:cxn>
                <a:cxn ang="0">
                  <a:pos x="csX360" y="csY360"/>
                </a:cxn>
                <a:cxn ang="0">
                  <a:pos x="csX361" y="csY361"/>
                </a:cxn>
                <a:cxn ang="0">
                  <a:pos x="csX362" y="csY362"/>
                </a:cxn>
                <a:cxn ang="0">
                  <a:pos x="csX363" y="csY363"/>
                </a:cxn>
                <a:cxn ang="0">
                  <a:pos x="csX364" y="csY364"/>
                </a:cxn>
                <a:cxn ang="0">
                  <a:pos x="csX365" y="csY365"/>
                </a:cxn>
                <a:cxn ang="0">
                  <a:pos x="csX366" y="csY366"/>
                </a:cxn>
                <a:cxn ang="0">
                  <a:pos x="csX367" y="csY367"/>
                </a:cxn>
                <a:cxn ang="0">
                  <a:pos x="csX368" y="csY368"/>
                </a:cxn>
                <a:cxn ang="0">
                  <a:pos x="csX369" y="csY369"/>
                </a:cxn>
                <a:cxn ang="0">
                  <a:pos x="csX370" y="csY370"/>
                </a:cxn>
                <a:cxn ang="0">
                  <a:pos x="csX371" y="csY371"/>
                </a:cxn>
                <a:cxn ang="0">
                  <a:pos x="csX372" y="csY372"/>
                </a:cxn>
                <a:cxn ang="0">
                  <a:pos x="csX373" y="csY373"/>
                </a:cxn>
                <a:cxn ang="0">
                  <a:pos x="csX374" y="csY374"/>
                </a:cxn>
                <a:cxn ang="0">
                  <a:pos x="csX375" y="csY375"/>
                </a:cxn>
                <a:cxn ang="0">
                  <a:pos x="csX376" y="csY376"/>
                </a:cxn>
                <a:cxn ang="0">
                  <a:pos x="csX377" y="csY377"/>
                </a:cxn>
                <a:cxn ang="0">
                  <a:pos x="csX378" y="csY378"/>
                </a:cxn>
                <a:cxn ang="0">
                  <a:pos x="csX379" y="csY379"/>
                </a:cxn>
                <a:cxn ang="0">
                  <a:pos x="csX380" y="csY380"/>
                </a:cxn>
                <a:cxn ang="0">
                  <a:pos x="csX381" y="csY381"/>
                </a:cxn>
                <a:cxn ang="0">
                  <a:pos x="csX382" y="csY382"/>
                </a:cxn>
                <a:cxn ang="0">
                  <a:pos x="csX383" y="csY383"/>
                </a:cxn>
                <a:cxn ang="0">
                  <a:pos x="csX384" y="csY384"/>
                </a:cxn>
                <a:cxn ang="0">
                  <a:pos x="csX385" y="csY385"/>
                </a:cxn>
                <a:cxn ang="0">
                  <a:pos x="csX386" y="csY386"/>
                </a:cxn>
                <a:cxn ang="0">
                  <a:pos x="csX387" y="csY387"/>
                </a:cxn>
                <a:cxn ang="0">
                  <a:pos x="csX388" y="csY388"/>
                </a:cxn>
                <a:cxn ang="0">
                  <a:pos x="csX389" y="csY389"/>
                </a:cxn>
                <a:cxn ang="0">
                  <a:pos x="csX390" y="csY390"/>
                </a:cxn>
                <a:cxn ang="0">
                  <a:pos x="csX391" y="csY391"/>
                </a:cxn>
                <a:cxn ang="0">
                  <a:pos x="csX392" y="csY392"/>
                </a:cxn>
                <a:cxn ang="0">
                  <a:pos x="csX393" y="csY393"/>
                </a:cxn>
                <a:cxn ang="0">
                  <a:pos x="csX394" y="csY394"/>
                </a:cxn>
                <a:cxn ang="0">
                  <a:pos x="csX395" y="csY395"/>
                </a:cxn>
                <a:cxn ang="0">
                  <a:pos x="csX396" y="csY396"/>
                </a:cxn>
                <a:cxn ang="0">
                  <a:pos x="csX397" y="csY397"/>
                </a:cxn>
                <a:cxn ang="0">
                  <a:pos x="csX398" y="csY398"/>
                </a:cxn>
                <a:cxn ang="0">
                  <a:pos x="csX399" y="csY399"/>
                </a:cxn>
                <a:cxn ang="0">
                  <a:pos x="csX400" y="csY400"/>
                </a:cxn>
                <a:cxn ang="0">
                  <a:pos x="csX401" y="csY401"/>
                </a:cxn>
                <a:cxn ang="0">
                  <a:pos x="csX402" y="csY402"/>
                </a:cxn>
                <a:cxn ang="0">
                  <a:pos x="csX403" y="csY403"/>
                </a:cxn>
                <a:cxn ang="0">
                  <a:pos x="csX404" y="csY404"/>
                </a:cxn>
                <a:cxn ang="0">
                  <a:pos x="csX405" y="csY405"/>
                </a:cxn>
                <a:cxn ang="0">
                  <a:pos x="csX406" y="csY406"/>
                </a:cxn>
                <a:cxn ang="0">
                  <a:pos x="csX407" y="csY407"/>
                </a:cxn>
                <a:cxn ang="0">
                  <a:pos x="csX408" y="csY408"/>
                </a:cxn>
                <a:cxn ang="0">
                  <a:pos x="csX409" y="csY409"/>
                </a:cxn>
                <a:cxn ang="0">
                  <a:pos x="csX410" y="csY410"/>
                </a:cxn>
                <a:cxn ang="0">
                  <a:pos x="csX411" y="csY411"/>
                </a:cxn>
                <a:cxn ang="0">
                  <a:pos x="csX412" y="csY412"/>
                </a:cxn>
                <a:cxn ang="0">
                  <a:pos x="csX413" y="csY413"/>
                </a:cxn>
                <a:cxn ang="0">
                  <a:pos x="csX414" y="csY414"/>
                </a:cxn>
                <a:cxn ang="0">
                  <a:pos x="csX415" y="csY415"/>
                </a:cxn>
                <a:cxn ang="0">
                  <a:pos x="csX416" y="csY416"/>
                </a:cxn>
                <a:cxn ang="0">
                  <a:pos x="csX417" y="csY417"/>
                </a:cxn>
                <a:cxn ang="0">
                  <a:pos x="csX418" y="csY418"/>
                </a:cxn>
                <a:cxn ang="0">
                  <a:pos x="csX419" y="csY419"/>
                </a:cxn>
                <a:cxn ang="0">
                  <a:pos x="csX420" y="csY420"/>
                </a:cxn>
                <a:cxn ang="0">
                  <a:pos x="csX421" y="csY421"/>
                </a:cxn>
                <a:cxn ang="0">
                  <a:pos x="csX422" y="csY422"/>
                </a:cxn>
                <a:cxn ang="0">
                  <a:pos x="csX423" y="csY423"/>
                </a:cxn>
                <a:cxn ang="0">
                  <a:pos x="csX424" y="csY424"/>
                </a:cxn>
                <a:cxn ang="0">
                  <a:pos x="csX425" y="csY425"/>
                </a:cxn>
                <a:cxn ang="0">
                  <a:pos x="csX426" y="csY426"/>
                </a:cxn>
                <a:cxn ang="0">
                  <a:pos x="csX427" y="csY427"/>
                </a:cxn>
                <a:cxn ang="0">
                  <a:pos x="csX428" y="csY428"/>
                </a:cxn>
                <a:cxn ang="0">
                  <a:pos x="csX429" y="csY429"/>
                </a:cxn>
                <a:cxn ang="0">
                  <a:pos x="csX430" y="csY430"/>
                </a:cxn>
                <a:cxn ang="0">
                  <a:pos x="csX431" y="csY431"/>
                </a:cxn>
                <a:cxn ang="0">
                  <a:pos x="csX432" y="csY432"/>
                </a:cxn>
                <a:cxn ang="0">
                  <a:pos x="csX433" y="csY433"/>
                </a:cxn>
                <a:cxn ang="0">
                  <a:pos x="csX434" y="csY434"/>
                </a:cxn>
                <a:cxn ang="0">
                  <a:pos x="csX435" y="csY435"/>
                </a:cxn>
                <a:cxn ang="0">
                  <a:pos x="csX436" y="csY436"/>
                </a:cxn>
                <a:cxn ang="0">
                  <a:pos x="csX437" y="csY437"/>
                </a:cxn>
                <a:cxn ang="0">
                  <a:pos x="csX438" y="csY438"/>
                </a:cxn>
                <a:cxn ang="0">
                  <a:pos x="csX439" y="csY439"/>
                </a:cxn>
                <a:cxn ang="0">
                  <a:pos x="csX440" y="csY440"/>
                </a:cxn>
                <a:cxn ang="0">
                  <a:pos x="csX441" y="csY441"/>
                </a:cxn>
                <a:cxn ang="0">
                  <a:pos x="csX442" y="csY442"/>
                </a:cxn>
                <a:cxn ang="0">
                  <a:pos x="csX443" y="csY443"/>
                </a:cxn>
                <a:cxn ang="0">
                  <a:pos x="csX444" y="csY444"/>
                </a:cxn>
                <a:cxn ang="0">
                  <a:pos x="csX445" y="csY445"/>
                </a:cxn>
                <a:cxn ang="0">
                  <a:pos x="csX446" y="csY446"/>
                </a:cxn>
                <a:cxn ang="0">
                  <a:pos x="csX447" y="csY447"/>
                </a:cxn>
                <a:cxn ang="0">
                  <a:pos x="csX448" y="csY448"/>
                </a:cxn>
                <a:cxn ang="0">
                  <a:pos x="csX449" y="csY449"/>
                </a:cxn>
                <a:cxn ang="0">
                  <a:pos x="csX450" y="csY450"/>
                </a:cxn>
                <a:cxn ang="0">
                  <a:pos x="csX451" y="csY451"/>
                </a:cxn>
                <a:cxn ang="0">
                  <a:pos x="csX452" y="csY452"/>
                </a:cxn>
                <a:cxn ang="0">
                  <a:pos x="csX453" y="csY453"/>
                </a:cxn>
                <a:cxn ang="0">
                  <a:pos x="csX454" y="csY454"/>
                </a:cxn>
                <a:cxn ang="0">
                  <a:pos x="csX455" y="csY455"/>
                </a:cxn>
                <a:cxn ang="0">
                  <a:pos x="csX456" y="csY456"/>
                </a:cxn>
                <a:cxn ang="0">
                  <a:pos x="csX457" y="csY457"/>
                </a:cxn>
                <a:cxn ang="0">
                  <a:pos x="csX458" y="csY458"/>
                </a:cxn>
                <a:cxn ang="0">
                  <a:pos x="csX459" y="csY459"/>
                </a:cxn>
                <a:cxn ang="0">
                  <a:pos x="csX460" y="csY460"/>
                </a:cxn>
                <a:cxn ang="0">
                  <a:pos x="csX461" y="csY461"/>
                </a:cxn>
                <a:cxn ang="0">
                  <a:pos x="csX462" y="csY462"/>
                </a:cxn>
                <a:cxn ang="0">
                  <a:pos x="csX463" y="csY463"/>
                </a:cxn>
                <a:cxn ang="0">
                  <a:pos x="csX464" y="csY464"/>
                </a:cxn>
                <a:cxn ang="0">
                  <a:pos x="csX465" y="csY465"/>
                </a:cxn>
                <a:cxn ang="0">
                  <a:pos x="csX466" y="csY466"/>
                </a:cxn>
                <a:cxn ang="0">
                  <a:pos x="csX467" y="csY467"/>
                </a:cxn>
                <a:cxn ang="0">
                  <a:pos x="csX468" y="csY468"/>
                </a:cxn>
                <a:cxn ang="0">
                  <a:pos x="csX469" y="csY469"/>
                </a:cxn>
                <a:cxn ang="0">
                  <a:pos x="csX470" y="csY470"/>
                </a:cxn>
                <a:cxn ang="0">
                  <a:pos x="csX471" y="csY471"/>
                </a:cxn>
                <a:cxn ang="0">
                  <a:pos x="csX472" y="csY472"/>
                </a:cxn>
                <a:cxn ang="0">
                  <a:pos x="csX473" y="csY473"/>
                </a:cxn>
                <a:cxn ang="0">
                  <a:pos x="csX474" y="csY474"/>
                </a:cxn>
                <a:cxn ang="0">
                  <a:pos x="csX475" y="csY475"/>
                </a:cxn>
                <a:cxn ang="0">
                  <a:pos x="csX476" y="csY476"/>
                </a:cxn>
                <a:cxn ang="0">
                  <a:pos x="csX477" y="csY477"/>
                </a:cxn>
                <a:cxn ang="0">
                  <a:pos x="csX478" y="csY478"/>
                </a:cxn>
                <a:cxn ang="0">
                  <a:pos x="csX479" y="csY479"/>
                </a:cxn>
                <a:cxn ang="0">
                  <a:pos x="csX480" y="csY480"/>
                </a:cxn>
                <a:cxn ang="0">
                  <a:pos x="csX481" y="csY481"/>
                </a:cxn>
                <a:cxn ang="0">
                  <a:pos x="csX482" y="csY482"/>
                </a:cxn>
                <a:cxn ang="0">
                  <a:pos x="csX483" y="csY483"/>
                </a:cxn>
                <a:cxn ang="0">
                  <a:pos x="csX484" y="csY484"/>
                </a:cxn>
                <a:cxn ang="0">
                  <a:pos x="csX485" y="csY485"/>
                </a:cxn>
                <a:cxn ang="0">
                  <a:pos x="csX486" y="csY486"/>
                </a:cxn>
                <a:cxn ang="0">
                  <a:pos x="csX487" y="csY487"/>
                </a:cxn>
                <a:cxn ang="0">
                  <a:pos x="csX488" y="csY488"/>
                </a:cxn>
                <a:cxn ang="0">
                  <a:pos x="csX489" y="csY489"/>
                </a:cxn>
                <a:cxn ang="0">
                  <a:pos x="csX490" y="csY490"/>
                </a:cxn>
                <a:cxn ang="0">
                  <a:pos x="csX491" y="csY491"/>
                </a:cxn>
                <a:cxn ang="0">
                  <a:pos x="csX492" y="csY492"/>
                </a:cxn>
                <a:cxn ang="0">
                  <a:pos x="csX493" y="csY493"/>
                </a:cxn>
                <a:cxn ang="0">
                  <a:pos x="csX494" y="csY494"/>
                </a:cxn>
                <a:cxn ang="0">
                  <a:pos x="csX495" y="csY495"/>
                </a:cxn>
                <a:cxn ang="0">
                  <a:pos x="csX496" y="csY496"/>
                </a:cxn>
                <a:cxn ang="0">
                  <a:pos x="csX497" y="csY497"/>
                </a:cxn>
                <a:cxn ang="0">
                  <a:pos x="csX498" y="csY498"/>
                </a:cxn>
                <a:cxn ang="0">
                  <a:pos x="csX499" y="csY499"/>
                </a:cxn>
                <a:cxn ang="0">
                  <a:pos x="csX500" y="csY500"/>
                </a:cxn>
                <a:cxn ang="0">
                  <a:pos x="csX501" y="csY501"/>
                </a:cxn>
                <a:cxn ang="0">
                  <a:pos x="csX502" y="csY502"/>
                </a:cxn>
                <a:cxn ang="0">
                  <a:pos x="csX503" y="csY503"/>
                </a:cxn>
                <a:cxn ang="0">
                  <a:pos x="csX504" y="csY504"/>
                </a:cxn>
                <a:cxn ang="0">
                  <a:pos x="csX505" y="csY505"/>
                </a:cxn>
                <a:cxn ang="0">
                  <a:pos x="csX506" y="csY506"/>
                </a:cxn>
                <a:cxn ang="0">
                  <a:pos x="csX507" y="csY507"/>
                </a:cxn>
                <a:cxn ang="0">
                  <a:pos x="csX508" y="csY508"/>
                </a:cxn>
                <a:cxn ang="0">
                  <a:pos x="csX509" y="csY509"/>
                </a:cxn>
                <a:cxn ang="0">
                  <a:pos x="csX510" y="csY510"/>
                </a:cxn>
                <a:cxn ang="0">
                  <a:pos x="csX511" y="csY511"/>
                </a:cxn>
                <a:cxn ang="0">
                  <a:pos x="csX512" y="csY512"/>
                </a:cxn>
                <a:cxn ang="0">
                  <a:pos x="csX513" y="csY513"/>
                </a:cxn>
                <a:cxn ang="0">
                  <a:pos x="csX514" y="csY514"/>
                </a:cxn>
                <a:cxn ang="0">
                  <a:pos x="csX515" y="csY515"/>
                </a:cxn>
                <a:cxn ang="0">
                  <a:pos x="csX516" y="csY516"/>
                </a:cxn>
                <a:cxn ang="0">
                  <a:pos x="csX517" y="csY517"/>
                </a:cxn>
                <a:cxn ang="0">
                  <a:pos x="csX518" y="csY518"/>
                </a:cxn>
                <a:cxn ang="0">
                  <a:pos x="csX519" y="csY519"/>
                </a:cxn>
                <a:cxn ang="0">
                  <a:pos x="csX520" y="csY520"/>
                </a:cxn>
                <a:cxn ang="0">
                  <a:pos x="csX521" y="csY521"/>
                </a:cxn>
                <a:cxn ang="0">
                  <a:pos x="csX522" y="csY522"/>
                </a:cxn>
                <a:cxn ang="0">
                  <a:pos x="csX523" y="csY523"/>
                </a:cxn>
                <a:cxn ang="0">
                  <a:pos x="csX524" y="csY524"/>
                </a:cxn>
                <a:cxn ang="0">
                  <a:pos x="csX525" y="csY525"/>
                </a:cxn>
                <a:cxn ang="0">
                  <a:pos x="csX526" y="csY526"/>
                </a:cxn>
                <a:cxn ang="0">
                  <a:pos x="csX527" y="csY527"/>
                </a:cxn>
                <a:cxn ang="0">
                  <a:pos x="csX528" y="csY528"/>
                </a:cxn>
                <a:cxn ang="0">
                  <a:pos x="csX529" y="csY529"/>
                </a:cxn>
                <a:cxn ang="0">
                  <a:pos x="csX530" y="csY530"/>
                </a:cxn>
                <a:cxn ang="0">
                  <a:pos x="csX531" y="csY531"/>
                </a:cxn>
                <a:cxn ang="0">
                  <a:pos x="csX532" y="csY532"/>
                </a:cxn>
                <a:cxn ang="0">
                  <a:pos x="csX533" y="csY533"/>
                </a:cxn>
                <a:cxn ang="0">
                  <a:pos x="csX534" y="csY534"/>
                </a:cxn>
                <a:cxn ang="0">
                  <a:pos x="csX535" y="csY535"/>
                </a:cxn>
                <a:cxn ang="0">
                  <a:pos x="csX536" y="csY536"/>
                </a:cxn>
                <a:cxn ang="0">
                  <a:pos x="csX537" y="csY537"/>
                </a:cxn>
                <a:cxn ang="0">
                  <a:pos x="csX538" y="csY538"/>
                </a:cxn>
                <a:cxn ang="0">
                  <a:pos x="csX539" y="csY539"/>
                </a:cxn>
                <a:cxn ang="0">
                  <a:pos x="csX540" y="csY540"/>
                </a:cxn>
                <a:cxn ang="0">
                  <a:pos x="csX541" y="csY541"/>
                </a:cxn>
                <a:cxn ang="0">
                  <a:pos x="csX542" y="csY542"/>
                </a:cxn>
                <a:cxn ang="0">
                  <a:pos x="csX543" y="csY543"/>
                </a:cxn>
                <a:cxn ang="0">
                  <a:pos x="csX544" y="csY544"/>
                </a:cxn>
                <a:cxn ang="0">
                  <a:pos x="csX545" y="csY545"/>
                </a:cxn>
                <a:cxn ang="0">
                  <a:pos x="csX546" y="csY546"/>
                </a:cxn>
                <a:cxn ang="0">
                  <a:pos x="csX547" y="csY547"/>
                </a:cxn>
                <a:cxn ang="0">
                  <a:pos x="csX548" y="csY548"/>
                </a:cxn>
                <a:cxn ang="0">
                  <a:pos x="csX549" y="csY549"/>
                </a:cxn>
                <a:cxn ang="0">
                  <a:pos x="csX550" y="csY550"/>
                </a:cxn>
                <a:cxn ang="0">
                  <a:pos x="csX551" y="csY551"/>
                </a:cxn>
                <a:cxn ang="0">
                  <a:pos x="csX552" y="csY552"/>
                </a:cxn>
                <a:cxn ang="0">
                  <a:pos x="csX553" y="csY553"/>
                </a:cxn>
                <a:cxn ang="0">
                  <a:pos x="csX554" y="csY554"/>
                </a:cxn>
                <a:cxn ang="0">
                  <a:pos x="csX555" y="csY555"/>
                </a:cxn>
                <a:cxn ang="0">
                  <a:pos x="csX556" y="csY556"/>
                </a:cxn>
                <a:cxn ang="0">
                  <a:pos x="csX557" y="csY557"/>
                </a:cxn>
                <a:cxn ang="0">
                  <a:pos x="csX558" y="csY558"/>
                </a:cxn>
                <a:cxn ang="0">
                  <a:pos x="csX559" y="csY559"/>
                </a:cxn>
                <a:cxn ang="0">
                  <a:pos x="csX560" y="csY560"/>
                </a:cxn>
                <a:cxn ang="0">
                  <a:pos x="csX561" y="csY561"/>
                </a:cxn>
                <a:cxn ang="0">
                  <a:pos x="csX562" y="csY562"/>
                </a:cxn>
                <a:cxn ang="0">
                  <a:pos x="csX563" y="csY563"/>
                </a:cxn>
                <a:cxn ang="0">
                  <a:pos x="csX564" y="csY564"/>
                </a:cxn>
                <a:cxn ang="0">
                  <a:pos x="csX565" y="csY565"/>
                </a:cxn>
                <a:cxn ang="0">
                  <a:pos x="csX566" y="csY566"/>
                </a:cxn>
                <a:cxn ang="0">
                  <a:pos x="csX567" y="csY567"/>
                </a:cxn>
                <a:cxn ang="0">
                  <a:pos x="csX568" y="csY568"/>
                </a:cxn>
                <a:cxn ang="0">
                  <a:pos x="csX569" y="csY569"/>
                </a:cxn>
                <a:cxn ang="0">
                  <a:pos x="csX570" y="csY570"/>
                </a:cxn>
                <a:cxn ang="0">
                  <a:pos x="csX571" y="csY571"/>
                </a:cxn>
                <a:cxn ang="0">
                  <a:pos x="csX572" y="csY572"/>
                </a:cxn>
                <a:cxn ang="0">
                  <a:pos x="csX573" y="csY573"/>
                </a:cxn>
                <a:cxn ang="0">
                  <a:pos x="csX574" y="csY574"/>
                </a:cxn>
                <a:cxn ang="0">
                  <a:pos x="csX575" y="csY575"/>
                </a:cxn>
                <a:cxn ang="0">
                  <a:pos x="csX576" y="csY576"/>
                </a:cxn>
                <a:cxn ang="0">
                  <a:pos x="csX577" y="csY577"/>
                </a:cxn>
                <a:cxn ang="0">
                  <a:pos x="csX578" y="csY578"/>
                </a:cxn>
                <a:cxn ang="0">
                  <a:pos x="csX579" y="csY579"/>
                </a:cxn>
                <a:cxn ang="0">
                  <a:pos x="csX580" y="csY580"/>
                </a:cxn>
                <a:cxn ang="0">
                  <a:pos x="csX581" y="csY581"/>
                </a:cxn>
                <a:cxn ang="0">
                  <a:pos x="csX582" y="csY582"/>
                </a:cxn>
                <a:cxn ang="0">
                  <a:pos x="csX583" y="csY583"/>
                </a:cxn>
                <a:cxn ang="0">
                  <a:pos x="csX584" y="csY584"/>
                </a:cxn>
                <a:cxn ang="0">
                  <a:pos x="csX585" y="csY585"/>
                </a:cxn>
                <a:cxn ang="0">
                  <a:pos x="csX586" y="csY586"/>
                </a:cxn>
                <a:cxn ang="0">
                  <a:pos x="csX587" y="csY587"/>
                </a:cxn>
                <a:cxn ang="0">
                  <a:pos x="csX588" y="csY588"/>
                </a:cxn>
                <a:cxn ang="0">
                  <a:pos x="csX589" y="csY589"/>
                </a:cxn>
                <a:cxn ang="0">
                  <a:pos x="csX590" y="csY590"/>
                </a:cxn>
                <a:cxn ang="0">
                  <a:pos x="csX591" y="csY591"/>
                </a:cxn>
                <a:cxn ang="0">
                  <a:pos x="csX592" y="csY592"/>
                </a:cxn>
                <a:cxn ang="0">
                  <a:pos x="csX593" y="csY593"/>
                </a:cxn>
                <a:cxn ang="0">
                  <a:pos x="csX594" y="csY594"/>
                </a:cxn>
                <a:cxn ang="0">
                  <a:pos x="csX595" y="csY595"/>
                </a:cxn>
                <a:cxn ang="0">
                  <a:pos x="csX596" y="csY596"/>
                </a:cxn>
                <a:cxn ang="0">
                  <a:pos x="csX597" y="csY597"/>
                </a:cxn>
                <a:cxn ang="0">
                  <a:pos x="csX598" y="csY598"/>
                </a:cxn>
                <a:cxn ang="0">
                  <a:pos x="csX599" y="csY599"/>
                </a:cxn>
                <a:cxn ang="0">
                  <a:pos x="csX600" y="csY600"/>
                </a:cxn>
                <a:cxn ang="0">
                  <a:pos x="csX601" y="csY601"/>
                </a:cxn>
                <a:cxn ang="0">
                  <a:pos x="csX602" y="csY602"/>
                </a:cxn>
                <a:cxn ang="0">
                  <a:pos x="csX603" y="csY603"/>
                </a:cxn>
                <a:cxn ang="0">
                  <a:pos x="csX604" y="csY604"/>
                </a:cxn>
                <a:cxn ang="0">
                  <a:pos x="csX605" y="csY605"/>
                </a:cxn>
                <a:cxn ang="0">
                  <a:pos x="csX606" y="csY606"/>
                </a:cxn>
                <a:cxn ang="0">
                  <a:pos x="csX607" y="csY607"/>
                </a:cxn>
                <a:cxn ang="0">
                  <a:pos x="csX608" y="csY608"/>
                </a:cxn>
                <a:cxn ang="0">
                  <a:pos x="csX609" y="csY609"/>
                </a:cxn>
                <a:cxn ang="0">
                  <a:pos x="csX610" y="csY610"/>
                </a:cxn>
                <a:cxn ang="0">
                  <a:pos x="csX611" y="csY611"/>
                </a:cxn>
                <a:cxn ang="0">
                  <a:pos x="csX612" y="csY612"/>
                </a:cxn>
                <a:cxn ang="0">
                  <a:pos x="csX613" y="csY613"/>
                </a:cxn>
                <a:cxn ang="0">
                  <a:pos x="csX614" y="csY614"/>
                </a:cxn>
                <a:cxn ang="0">
                  <a:pos x="csX615" y="csY615"/>
                </a:cxn>
                <a:cxn ang="0">
                  <a:pos x="csX616" y="csY616"/>
                </a:cxn>
                <a:cxn ang="0">
                  <a:pos x="csX617" y="csY617"/>
                </a:cxn>
                <a:cxn ang="0">
                  <a:pos x="csX618" y="csY618"/>
                </a:cxn>
                <a:cxn ang="0">
                  <a:pos x="csX619" y="csY619"/>
                </a:cxn>
                <a:cxn ang="0">
                  <a:pos x="csX620" y="csY620"/>
                </a:cxn>
                <a:cxn ang="0">
                  <a:pos x="csX621" y="csY621"/>
                </a:cxn>
                <a:cxn ang="0">
                  <a:pos x="csX622" y="csY622"/>
                </a:cxn>
                <a:cxn ang="0">
                  <a:pos x="csX623" y="csY623"/>
                </a:cxn>
                <a:cxn ang="0">
                  <a:pos x="csX624" y="csY624"/>
                </a:cxn>
                <a:cxn ang="0">
                  <a:pos x="csX625" y="csY625"/>
                </a:cxn>
                <a:cxn ang="0">
                  <a:pos x="csX626" y="csY626"/>
                </a:cxn>
                <a:cxn ang="0">
                  <a:pos x="csX627" y="csY627"/>
                </a:cxn>
                <a:cxn ang="0">
                  <a:pos x="csX628" y="csY628"/>
                </a:cxn>
                <a:cxn ang="0">
                  <a:pos x="csX629" y="csY629"/>
                </a:cxn>
                <a:cxn ang="0">
                  <a:pos x="csX630" y="csY630"/>
                </a:cxn>
                <a:cxn ang="0">
                  <a:pos x="csX631" y="csY631"/>
                </a:cxn>
                <a:cxn ang="0">
                  <a:pos x="csX632" y="csY632"/>
                </a:cxn>
                <a:cxn ang="0">
                  <a:pos x="csX633" y="csY633"/>
                </a:cxn>
                <a:cxn ang="0">
                  <a:pos x="csX634" y="csY634"/>
                </a:cxn>
                <a:cxn ang="0">
                  <a:pos x="csX635" y="csY635"/>
                </a:cxn>
                <a:cxn ang="0">
                  <a:pos x="csX636" y="csY636"/>
                </a:cxn>
                <a:cxn ang="0">
                  <a:pos x="csX637" y="csY637"/>
                </a:cxn>
                <a:cxn ang="0">
                  <a:pos x="csX638" y="csY638"/>
                </a:cxn>
                <a:cxn ang="0">
                  <a:pos x="csX639" y="csY639"/>
                </a:cxn>
                <a:cxn ang="0">
                  <a:pos x="csX640" y="csY640"/>
                </a:cxn>
                <a:cxn ang="0">
                  <a:pos x="csX641" y="csY641"/>
                </a:cxn>
                <a:cxn ang="0">
                  <a:pos x="csX642" y="csY642"/>
                </a:cxn>
                <a:cxn ang="0">
                  <a:pos x="csX643" y="csY643"/>
                </a:cxn>
                <a:cxn ang="0">
                  <a:pos x="csX644" y="csY644"/>
                </a:cxn>
                <a:cxn ang="0">
                  <a:pos x="csX645" y="csY645"/>
                </a:cxn>
                <a:cxn ang="0">
                  <a:pos x="csX646" y="csY646"/>
                </a:cxn>
                <a:cxn ang="0">
                  <a:pos x="csX647" y="csY647"/>
                </a:cxn>
                <a:cxn ang="0">
                  <a:pos x="csX648" y="csY648"/>
                </a:cxn>
                <a:cxn ang="0">
                  <a:pos x="csX649" y="csY649"/>
                </a:cxn>
                <a:cxn ang="0">
                  <a:pos x="csX650" y="csY650"/>
                </a:cxn>
                <a:cxn ang="0">
                  <a:pos x="csX651" y="csY651"/>
                </a:cxn>
                <a:cxn ang="0">
                  <a:pos x="csX652" y="csY652"/>
                </a:cxn>
                <a:cxn ang="0">
                  <a:pos x="csX653" y="csY653"/>
                </a:cxn>
                <a:cxn ang="0">
                  <a:pos x="csX654" y="csY654"/>
                </a:cxn>
                <a:cxn ang="0">
                  <a:pos x="csX655" y="csY655"/>
                </a:cxn>
                <a:cxn ang="0">
                  <a:pos x="csX656" y="csY656"/>
                </a:cxn>
                <a:cxn ang="0">
                  <a:pos x="csX657" y="csY657"/>
                </a:cxn>
                <a:cxn ang="0">
                  <a:pos x="csX658" y="csY658"/>
                </a:cxn>
                <a:cxn ang="0">
                  <a:pos x="csX659" y="csY659"/>
                </a:cxn>
                <a:cxn ang="0">
                  <a:pos x="csX660" y="csY660"/>
                </a:cxn>
                <a:cxn ang="0">
                  <a:pos x="csX661" y="csY661"/>
                </a:cxn>
                <a:cxn ang="0">
                  <a:pos x="csX662" y="csY662"/>
                </a:cxn>
                <a:cxn ang="0">
                  <a:pos x="csX663" y="csY663"/>
                </a:cxn>
                <a:cxn ang="0">
                  <a:pos x="csX664" y="csY664"/>
                </a:cxn>
                <a:cxn ang="0">
                  <a:pos x="csX665" y="csY665"/>
                </a:cxn>
                <a:cxn ang="0">
                  <a:pos x="csX666" y="csY666"/>
                </a:cxn>
                <a:cxn ang="0">
                  <a:pos x="csX667" y="csY667"/>
                </a:cxn>
                <a:cxn ang="0">
                  <a:pos x="csX668" y="csY668"/>
                </a:cxn>
                <a:cxn ang="0">
                  <a:pos x="csX669" y="csY669"/>
                </a:cxn>
                <a:cxn ang="0">
                  <a:pos x="csX670" y="csY670"/>
                </a:cxn>
                <a:cxn ang="0">
                  <a:pos x="csX671" y="csY671"/>
                </a:cxn>
                <a:cxn ang="0">
                  <a:pos x="csX672" y="csY672"/>
                </a:cxn>
                <a:cxn ang="0">
                  <a:pos x="csX673" y="csY673"/>
                </a:cxn>
                <a:cxn ang="0">
                  <a:pos x="csX674" y="csY674"/>
                </a:cxn>
                <a:cxn ang="0">
                  <a:pos x="csX675" y="csY675"/>
                </a:cxn>
                <a:cxn ang="0">
                  <a:pos x="csX676" y="csY676"/>
                </a:cxn>
                <a:cxn ang="0">
                  <a:pos x="csX677" y="csY677"/>
                </a:cxn>
                <a:cxn ang="0">
                  <a:pos x="csX678" y="csY678"/>
                </a:cxn>
                <a:cxn ang="0">
                  <a:pos x="csX679" y="csY679"/>
                </a:cxn>
                <a:cxn ang="0">
                  <a:pos x="csX680" y="csY680"/>
                </a:cxn>
                <a:cxn ang="0">
                  <a:pos x="csX681" y="csY681"/>
                </a:cxn>
                <a:cxn ang="0">
                  <a:pos x="csX682" y="csY682"/>
                </a:cxn>
                <a:cxn ang="0">
                  <a:pos x="csX683" y="csY683"/>
                </a:cxn>
                <a:cxn ang="0">
                  <a:pos x="csX684" y="csY684"/>
                </a:cxn>
                <a:cxn ang="0">
                  <a:pos x="csX685" y="csY685"/>
                </a:cxn>
                <a:cxn ang="0">
                  <a:pos x="csX686" y="csY686"/>
                </a:cxn>
                <a:cxn ang="0">
                  <a:pos x="csX687" y="csY687"/>
                </a:cxn>
                <a:cxn ang="0">
                  <a:pos x="csX688" y="csY688"/>
                </a:cxn>
                <a:cxn ang="0">
                  <a:pos x="csX689" y="csY689"/>
                </a:cxn>
                <a:cxn ang="0">
                  <a:pos x="csX690" y="csY690"/>
                </a:cxn>
                <a:cxn ang="0">
                  <a:pos x="csX691" y="csY691"/>
                </a:cxn>
                <a:cxn ang="0">
                  <a:pos x="csX692" y="csY692"/>
                </a:cxn>
                <a:cxn ang="0">
                  <a:pos x="csX693" y="csY693"/>
                </a:cxn>
                <a:cxn ang="0">
                  <a:pos x="csX694" y="csY694"/>
                </a:cxn>
                <a:cxn ang="0">
                  <a:pos x="csX695" y="csY695"/>
                </a:cxn>
                <a:cxn ang="0">
                  <a:pos x="csX696" y="csY696"/>
                </a:cxn>
                <a:cxn ang="0">
                  <a:pos x="csX697" y="csY697"/>
                </a:cxn>
                <a:cxn ang="0">
                  <a:pos x="csX698" y="csY698"/>
                </a:cxn>
                <a:cxn ang="0">
                  <a:pos x="csX699" y="csY699"/>
                </a:cxn>
                <a:cxn ang="0">
                  <a:pos x="csX700" y="csY700"/>
                </a:cxn>
                <a:cxn ang="0">
                  <a:pos x="csX701" y="csY701"/>
                </a:cxn>
                <a:cxn ang="0">
                  <a:pos x="csX702" y="csY702"/>
                </a:cxn>
                <a:cxn ang="0">
                  <a:pos x="csX703" y="csY703"/>
                </a:cxn>
                <a:cxn ang="0">
                  <a:pos x="csX704" y="csY704"/>
                </a:cxn>
                <a:cxn ang="0">
                  <a:pos x="csX705" y="csY705"/>
                </a:cxn>
                <a:cxn ang="0">
                  <a:pos x="csX706" y="csY706"/>
                </a:cxn>
                <a:cxn ang="0">
                  <a:pos x="csX707" y="csY707"/>
                </a:cxn>
                <a:cxn ang="0">
                  <a:pos x="csX708" y="csY708"/>
                </a:cxn>
                <a:cxn ang="0">
                  <a:pos x="csX709" y="csY709"/>
                </a:cxn>
                <a:cxn ang="0">
                  <a:pos x="csX710" y="csY710"/>
                </a:cxn>
                <a:cxn ang="0">
                  <a:pos x="csX711" y="csY711"/>
                </a:cxn>
                <a:cxn ang="0">
                  <a:pos x="csX712" y="csY712"/>
                </a:cxn>
                <a:cxn ang="0">
                  <a:pos x="csX713" y="csY713"/>
                </a:cxn>
                <a:cxn ang="0">
                  <a:pos x="csX714" y="csY714"/>
                </a:cxn>
                <a:cxn ang="0">
                  <a:pos x="csX715" y="csY715"/>
                </a:cxn>
                <a:cxn ang="0">
                  <a:pos x="csX716" y="csY716"/>
                </a:cxn>
                <a:cxn ang="0">
                  <a:pos x="csX717" y="csY717"/>
                </a:cxn>
                <a:cxn ang="0">
                  <a:pos x="csX718" y="csY718"/>
                </a:cxn>
                <a:cxn ang="0">
                  <a:pos x="csX719" y="csY719"/>
                </a:cxn>
                <a:cxn ang="0">
                  <a:pos x="csX720" y="csY720"/>
                </a:cxn>
                <a:cxn ang="0">
                  <a:pos x="csX721" y="csY721"/>
                </a:cxn>
                <a:cxn ang="0">
                  <a:pos x="csX722" y="csY722"/>
                </a:cxn>
                <a:cxn ang="0">
                  <a:pos x="csX723" y="csY723"/>
                </a:cxn>
                <a:cxn ang="0">
                  <a:pos x="csX724" y="csY724"/>
                </a:cxn>
                <a:cxn ang="0">
                  <a:pos x="csX725" y="csY725"/>
                </a:cxn>
                <a:cxn ang="0">
                  <a:pos x="csX726" y="csY726"/>
                </a:cxn>
                <a:cxn ang="0">
                  <a:pos x="csX727" y="csY727"/>
                </a:cxn>
                <a:cxn ang="0">
                  <a:pos x="csX728" y="csY728"/>
                </a:cxn>
                <a:cxn ang="0">
                  <a:pos x="csX729" y="csY729"/>
                </a:cxn>
                <a:cxn ang="0">
                  <a:pos x="csX730" y="csY730"/>
                </a:cxn>
                <a:cxn ang="0">
                  <a:pos x="csX731" y="csY731"/>
                </a:cxn>
                <a:cxn ang="0">
                  <a:pos x="csX732" y="csY732"/>
                </a:cxn>
                <a:cxn ang="0">
                  <a:pos x="csX733" y="csY733"/>
                </a:cxn>
                <a:cxn ang="0">
                  <a:pos x="csX734" y="csY734"/>
                </a:cxn>
                <a:cxn ang="0">
                  <a:pos x="csX735" y="csY735"/>
                </a:cxn>
                <a:cxn ang="0">
                  <a:pos x="csX736" y="csY736"/>
                </a:cxn>
                <a:cxn ang="0">
                  <a:pos x="csX737" y="csY737"/>
                </a:cxn>
                <a:cxn ang="0">
                  <a:pos x="csX738" y="csY738"/>
                </a:cxn>
                <a:cxn ang="0">
                  <a:pos x="csX739" y="csY739"/>
                </a:cxn>
                <a:cxn ang="0">
                  <a:pos x="csX740" y="csY740"/>
                </a:cxn>
                <a:cxn ang="0">
                  <a:pos x="csX741" y="csY741"/>
                </a:cxn>
                <a:cxn ang="0">
                  <a:pos x="csX742" y="csY742"/>
                </a:cxn>
                <a:cxn ang="0">
                  <a:pos x="csX743" y="csY743"/>
                </a:cxn>
                <a:cxn ang="0">
                  <a:pos x="csX744" y="csY744"/>
                </a:cxn>
                <a:cxn ang="0">
                  <a:pos x="csX745" y="csY745"/>
                </a:cxn>
                <a:cxn ang="0">
                  <a:pos x="csX746" y="csY746"/>
                </a:cxn>
                <a:cxn ang="0">
                  <a:pos x="csX747" y="csY747"/>
                </a:cxn>
                <a:cxn ang="0">
                  <a:pos x="csX748" y="csY748"/>
                </a:cxn>
                <a:cxn ang="0">
                  <a:pos x="csX749" y="csY749"/>
                </a:cxn>
                <a:cxn ang="0">
                  <a:pos x="csX750" y="csY750"/>
                </a:cxn>
                <a:cxn ang="0">
                  <a:pos x="csX751" y="csY751"/>
                </a:cxn>
                <a:cxn ang="0">
                  <a:pos x="csX752" y="csY752"/>
                </a:cxn>
                <a:cxn ang="0">
                  <a:pos x="csX753" y="csY753"/>
                </a:cxn>
                <a:cxn ang="0">
                  <a:pos x="csX754" y="csY754"/>
                </a:cxn>
                <a:cxn ang="0">
                  <a:pos x="csX755" y="csY755"/>
                </a:cxn>
                <a:cxn ang="0">
                  <a:pos x="csX756" y="csY756"/>
                </a:cxn>
                <a:cxn ang="0">
                  <a:pos x="csX757" y="csY757"/>
                </a:cxn>
                <a:cxn ang="0">
                  <a:pos x="csX758" y="csY758"/>
                </a:cxn>
                <a:cxn ang="0">
                  <a:pos x="csX759" y="csY759"/>
                </a:cxn>
                <a:cxn ang="0">
                  <a:pos x="csX760" y="csY760"/>
                </a:cxn>
                <a:cxn ang="0">
                  <a:pos x="csX761" y="csY761"/>
                </a:cxn>
                <a:cxn ang="0">
                  <a:pos x="csX762" y="csY762"/>
                </a:cxn>
                <a:cxn ang="0">
                  <a:pos x="csX763" y="csY763"/>
                </a:cxn>
                <a:cxn ang="0">
                  <a:pos x="csX764" y="csY764"/>
                </a:cxn>
                <a:cxn ang="0">
                  <a:pos x="csX765" y="csY765"/>
                </a:cxn>
                <a:cxn ang="0">
                  <a:pos x="csX766" y="csY766"/>
                </a:cxn>
                <a:cxn ang="0">
                  <a:pos x="csX767" y="csY767"/>
                </a:cxn>
                <a:cxn ang="0">
                  <a:pos x="csX768" y="csY768"/>
                </a:cxn>
                <a:cxn ang="0">
                  <a:pos x="csX769" y="csY769"/>
                </a:cxn>
                <a:cxn ang="0">
                  <a:pos x="csX770" y="csY770"/>
                </a:cxn>
                <a:cxn ang="0">
                  <a:pos x="csX771" y="csY771"/>
                </a:cxn>
                <a:cxn ang="0">
                  <a:pos x="csX772" y="csY772"/>
                </a:cxn>
                <a:cxn ang="0">
                  <a:pos x="csX773" y="csY773"/>
                </a:cxn>
                <a:cxn ang="0">
                  <a:pos x="csX774" y="csY774"/>
                </a:cxn>
                <a:cxn ang="0">
                  <a:pos x="csX775" y="csY775"/>
                </a:cxn>
                <a:cxn ang="0">
                  <a:pos x="csX776" y="csY776"/>
                </a:cxn>
                <a:cxn ang="0">
                  <a:pos x="csX777" y="csY777"/>
                </a:cxn>
                <a:cxn ang="0">
                  <a:pos x="csX778" y="csY778"/>
                </a:cxn>
                <a:cxn ang="0">
                  <a:pos x="csX779" y="csY779"/>
                </a:cxn>
                <a:cxn ang="0">
                  <a:pos x="csX780" y="csY780"/>
                </a:cxn>
                <a:cxn ang="0">
                  <a:pos x="csX781" y="csY781"/>
                </a:cxn>
                <a:cxn ang="0">
                  <a:pos x="csX782" y="csY782"/>
                </a:cxn>
                <a:cxn ang="0">
                  <a:pos x="csX783" y="csY783"/>
                </a:cxn>
                <a:cxn ang="0">
                  <a:pos x="csX784" y="csY784"/>
                </a:cxn>
                <a:cxn ang="0">
                  <a:pos x="csX785" y="csY785"/>
                </a:cxn>
                <a:cxn ang="0">
                  <a:pos x="csX786" y="csY786"/>
                </a:cxn>
                <a:cxn ang="0">
                  <a:pos x="csX787" y="csY787"/>
                </a:cxn>
                <a:cxn ang="0">
                  <a:pos x="csX788" y="csY788"/>
                </a:cxn>
                <a:cxn ang="0">
                  <a:pos x="csX789" y="csY789"/>
                </a:cxn>
                <a:cxn ang="0">
                  <a:pos x="csX790" y="csY790"/>
                </a:cxn>
                <a:cxn ang="0">
                  <a:pos x="csX791" y="csY791"/>
                </a:cxn>
                <a:cxn ang="0">
                  <a:pos x="csX792" y="csY792"/>
                </a:cxn>
                <a:cxn ang="0">
                  <a:pos x="csX793" y="csY793"/>
                </a:cxn>
                <a:cxn ang="0">
                  <a:pos x="csX794" y="csY794"/>
                </a:cxn>
                <a:cxn ang="0">
                  <a:pos x="csX795" y="csY795"/>
                </a:cxn>
                <a:cxn ang="0">
                  <a:pos x="csX796" y="csY796"/>
                </a:cxn>
                <a:cxn ang="0">
                  <a:pos x="csX797" y="csY797"/>
                </a:cxn>
                <a:cxn ang="0">
                  <a:pos x="csX798" y="csY798"/>
                </a:cxn>
                <a:cxn ang="0">
                  <a:pos x="csX799" y="csY799"/>
                </a:cxn>
                <a:cxn ang="0">
                  <a:pos x="csX800" y="csY800"/>
                </a:cxn>
                <a:cxn ang="0">
                  <a:pos x="csX801" y="csY801"/>
                </a:cxn>
                <a:cxn ang="0">
                  <a:pos x="csX802" y="csY802"/>
                </a:cxn>
                <a:cxn ang="0">
                  <a:pos x="csX803" y="csY803"/>
                </a:cxn>
                <a:cxn ang="0">
                  <a:pos x="csX804" y="csY804"/>
                </a:cxn>
                <a:cxn ang="0">
                  <a:pos x="csX805" y="csY805"/>
                </a:cxn>
                <a:cxn ang="0">
                  <a:pos x="csX806" y="csY806"/>
                </a:cxn>
                <a:cxn ang="0">
                  <a:pos x="csX807" y="csY807"/>
                </a:cxn>
                <a:cxn ang="0">
                  <a:pos x="csX808" y="csY808"/>
                </a:cxn>
                <a:cxn ang="0">
                  <a:pos x="csX809" y="csY809"/>
                </a:cxn>
                <a:cxn ang="0">
                  <a:pos x="csX810" y="csY810"/>
                </a:cxn>
                <a:cxn ang="0">
                  <a:pos x="csX811" y="csY811"/>
                </a:cxn>
                <a:cxn ang="0">
                  <a:pos x="csX812" y="csY812"/>
                </a:cxn>
                <a:cxn ang="0">
                  <a:pos x="csX813" y="csY813"/>
                </a:cxn>
                <a:cxn ang="0">
                  <a:pos x="csX814" y="csY814"/>
                </a:cxn>
                <a:cxn ang="0">
                  <a:pos x="csX815" y="csY815"/>
                </a:cxn>
                <a:cxn ang="0">
                  <a:pos x="csX816" y="csY816"/>
                </a:cxn>
                <a:cxn ang="0">
                  <a:pos x="csX817" y="csY817"/>
                </a:cxn>
                <a:cxn ang="0">
                  <a:pos x="csX818" y="csY818"/>
                </a:cxn>
                <a:cxn ang="0">
                  <a:pos x="csX819" y="csY819"/>
                </a:cxn>
                <a:cxn ang="0">
                  <a:pos x="csX820" y="csY820"/>
                </a:cxn>
                <a:cxn ang="0">
                  <a:pos x="csX821" y="csY821"/>
                </a:cxn>
                <a:cxn ang="0">
                  <a:pos x="csX822" y="csY822"/>
                </a:cxn>
                <a:cxn ang="0">
                  <a:pos x="csX823" y="csY823"/>
                </a:cxn>
                <a:cxn ang="0">
                  <a:pos x="csX824" y="csY824"/>
                </a:cxn>
                <a:cxn ang="0">
                  <a:pos x="csX825" y="csY825"/>
                </a:cxn>
                <a:cxn ang="0">
                  <a:pos x="csX826" y="csY826"/>
                </a:cxn>
                <a:cxn ang="0">
                  <a:pos x="csX827" y="csY827"/>
                </a:cxn>
                <a:cxn ang="0">
                  <a:pos x="csX828" y="csY828"/>
                </a:cxn>
                <a:cxn ang="0">
                  <a:pos x="csX829" y="csY829"/>
                </a:cxn>
                <a:cxn ang="0">
                  <a:pos x="csX830" y="csY830"/>
                </a:cxn>
                <a:cxn ang="0">
                  <a:pos x="csX831" y="csY831"/>
                </a:cxn>
                <a:cxn ang="0">
                  <a:pos x="csX832" y="csY832"/>
                </a:cxn>
                <a:cxn ang="0">
                  <a:pos x="csX833" y="csY833"/>
                </a:cxn>
                <a:cxn ang="0">
                  <a:pos x="csX834" y="csY834"/>
                </a:cxn>
                <a:cxn ang="0">
                  <a:pos x="csX835" y="csY835"/>
                </a:cxn>
                <a:cxn ang="0">
                  <a:pos x="csX836" y="csY836"/>
                </a:cxn>
                <a:cxn ang="0">
                  <a:pos x="csX837" y="csY837"/>
                </a:cxn>
                <a:cxn ang="0">
                  <a:pos x="csX838" y="csY838"/>
                </a:cxn>
                <a:cxn ang="0">
                  <a:pos x="csX839" y="csY839"/>
                </a:cxn>
                <a:cxn ang="0">
                  <a:pos x="csX840" y="csY840"/>
                </a:cxn>
                <a:cxn ang="0">
                  <a:pos x="csX841" y="csY841"/>
                </a:cxn>
                <a:cxn ang="0">
                  <a:pos x="csX842" y="csY842"/>
                </a:cxn>
                <a:cxn ang="0">
                  <a:pos x="csX843" y="csY843"/>
                </a:cxn>
                <a:cxn ang="0">
                  <a:pos x="csX844" y="csY844"/>
                </a:cxn>
                <a:cxn ang="0">
                  <a:pos x="csX845" y="csY845"/>
                </a:cxn>
                <a:cxn ang="0">
                  <a:pos x="csX846" y="csY846"/>
                </a:cxn>
                <a:cxn ang="0">
                  <a:pos x="csX847" y="csY847"/>
                </a:cxn>
                <a:cxn ang="0">
                  <a:pos x="csX848" y="csY848"/>
                </a:cxn>
                <a:cxn ang="0">
                  <a:pos x="csX849" y="csY849"/>
                </a:cxn>
                <a:cxn ang="0">
                  <a:pos x="csX850" y="csY850"/>
                </a:cxn>
                <a:cxn ang="0">
                  <a:pos x="csX851" y="csY851"/>
                </a:cxn>
                <a:cxn ang="0">
                  <a:pos x="csX852" y="csY852"/>
                </a:cxn>
                <a:cxn ang="0">
                  <a:pos x="csX853" y="csY853"/>
                </a:cxn>
                <a:cxn ang="0">
                  <a:pos x="csX854" y="csY854"/>
                </a:cxn>
                <a:cxn ang="0">
                  <a:pos x="csX855" y="csY855"/>
                </a:cxn>
                <a:cxn ang="0">
                  <a:pos x="csX856" y="csY856"/>
                </a:cxn>
                <a:cxn ang="0">
                  <a:pos x="csX857" y="csY857"/>
                </a:cxn>
                <a:cxn ang="0">
                  <a:pos x="csX858" y="csY858"/>
                </a:cxn>
                <a:cxn ang="0">
                  <a:pos x="csX859" y="csY859"/>
                </a:cxn>
                <a:cxn ang="0">
                  <a:pos x="csX860" y="csY860"/>
                </a:cxn>
                <a:cxn ang="0">
                  <a:pos x="csX861" y="csY861"/>
                </a:cxn>
                <a:cxn ang="0">
                  <a:pos x="csX862" y="csY862"/>
                </a:cxn>
                <a:cxn ang="0">
                  <a:pos x="csX863" y="csY863"/>
                </a:cxn>
                <a:cxn ang="0">
                  <a:pos x="csX864" y="csY864"/>
                </a:cxn>
                <a:cxn ang="0">
                  <a:pos x="csX865" y="csY865"/>
                </a:cxn>
                <a:cxn ang="0">
                  <a:pos x="csX866" y="csY866"/>
                </a:cxn>
                <a:cxn ang="0">
                  <a:pos x="csX867" y="csY867"/>
                </a:cxn>
                <a:cxn ang="0">
                  <a:pos x="csX868" y="csY868"/>
                </a:cxn>
                <a:cxn ang="0">
                  <a:pos x="csX869" y="csY869"/>
                </a:cxn>
                <a:cxn ang="0">
                  <a:pos x="csX870" y="csY870"/>
                </a:cxn>
                <a:cxn ang="0">
                  <a:pos x="csX871" y="csY871"/>
                </a:cxn>
                <a:cxn ang="0">
                  <a:pos x="csX872" y="csY872"/>
                </a:cxn>
                <a:cxn ang="0">
                  <a:pos x="csX873" y="csY873"/>
                </a:cxn>
                <a:cxn ang="0">
                  <a:pos x="csX874" y="csY874"/>
                </a:cxn>
                <a:cxn ang="0">
                  <a:pos x="csX875" y="csY875"/>
                </a:cxn>
                <a:cxn ang="0">
                  <a:pos x="csX876" y="csY876"/>
                </a:cxn>
                <a:cxn ang="0">
                  <a:pos x="csX877" y="csY877"/>
                </a:cxn>
                <a:cxn ang="0">
                  <a:pos x="csX878" y="csY878"/>
                </a:cxn>
                <a:cxn ang="0">
                  <a:pos x="csX879" y="csY879"/>
                </a:cxn>
                <a:cxn ang="0">
                  <a:pos x="csX880" y="csY880"/>
                </a:cxn>
                <a:cxn ang="0">
                  <a:pos x="csX881" y="csY881"/>
                </a:cxn>
                <a:cxn ang="0">
                  <a:pos x="csX882" y="csY882"/>
                </a:cxn>
                <a:cxn ang="0">
                  <a:pos x="csX883" y="csY883"/>
                </a:cxn>
                <a:cxn ang="0">
                  <a:pos x="csX884" y="csY884"/>
                </a:cxn>
                <a:cxn ang="0">
                  <a:pos x="csX885" y="csY885"/>
                </a:cxn>
                <a:cxn ang="0">
                  <a:pos x="csX886" y="csY886"/>
                </a:cxn>
                <a:cxn ang="0">
                  <a:pos x="csX887" y="csY887"/>
                </a:cxn>
                <a:cxn ang="0">
                  <a:pos x="csX888" y="csY888"/>
                </a:cxn>
                <a:cxn ang="0">
                  <a:pos x="csX889" y="csY889"/>
                </a:cxn>
                <a:cxn ang="0">
                  <a:pos x="csX890" y="csY890"/>
                </a:cxn>
                <a:cxn ang="0">
                  <a:pos x="csX891" y="csY891"/>
                </a:cxn>
                <a:cxn ang="0">
                  <a:pos x="csX892" y="csY892"/>
                </a:cxn>
                <a:cxn ang="0">
                  <a:pos x="csX893" y="csY893"/>
                </a:cxn>
                <a:cxn ang="0">
                  <a:pos x="csX894" y="csY894"/>
                </a:cxn>
                <a:cxn ang="0">
                  <a:pos x="csX895" y="csY895"/>
                </a:cxn>
                <a:cxn ang="0">
                  <a:pos x="csX896" y="csY896"/>
                </a:cxn>
                <a:cxn ang="0">
                  <a:pos x="csX897" y="csY897"/>
                </a:cxn>
                <a:cxn ang="0">
                  <a:pos x="csX898" y="csY898"/>
                </a:cxn>
                <a:cxn ang="0">
                  <a:pos x="csX899" y="csY899"/>
                </a:cxn>
                <a:cxn ang="0">
                  <a:pos x="csX900" y="csY900"/>
                </a:cxn>
                <a:cxn ang="0">
                  <a:pos x="csX901" y="csY901"/>
                </a:cxn>
                <a:cxn ang="0">
                  <a:pos x="csX902" y="csY902"/>
                </a:cxn>
                <a:cxn ang="0">
                  <a:pos x="csX903" y="csY903"/>
                </a:cxn>
                <a:cxn ang="0">
                  <a:pos x="csX904" y="csY904"/>
                </a:cxn>
                <a:cxn ang="0">
                  <a:pos x="csX905" y="csY905"/>
                </a:cxn>
                <a:cxn ang="0">
                  <a:pos x="csX906" y="csY906"/>
                </a:cxn>
                <a:cxn ang="0">
                  <a:pos x="csX907" y="csY907"/>
                </a:cxn>
                <a:cxn ang="0">
                  <a:pos x="csX908" y="csY908"/>
                </a:cxn>
                <a:cxn ang="0">
                  <a:pos x="csX909" y="csY909"/>
                </a:cxn>
                <a:cxn ang="0">
                  <a:pos x="csX910" y="csY910"/>
                </a:cxn>
                <a:cxn ang="0">
                  <a:pos x="csX911" y="csY911"/>
                </a:cxn>
                <a:cxn ang="0">
                  <a:pos x="csX912" y="csY912"/>
                </a:cxn>
                <a:cxn ang="0">
                  <a:pos x="csX913" y="csY913"/>
                </a:cxn>
                <a:cxn ang="0">
                  <a:pos x="csX914" y="csY914"/>
                </a:cxn>
                <a:cxn ang="0">
                  <a:pos x="csX915" y="csY915"/>
                </a:cxn>
                <a:cxn ang="0">
                  <a:pos x="csX916" y="csY916"/>
                </a:cxn>
                <a:cxn ang="0">
                  <a:pos x="csX917" y="csY917"/>
                </a:cxn>
                <a:cxn ang="0">
                  <a:pos x="csX918" y="csY918"/>
                </a:cxn>
                <a:cxn ang="0">
                  <a:pos x="csX919" y="csY919"/>
                </a:cxn>
                <a:cxn ang="0">
                  <a:pos x="csX920" y="csY920"/>
                </a:cxn>
                <a:cxn ang="0">
                  <a:pos x="csX921" y="csY921"/>
                </a:cxn>
                <a:cxn ang="0">
                  <a:pos x="csX922" y="csY922"/>
                </a:cxn>
                <a:cxn ang="0">
                  <a:pos x="csX923" y="csY923"/>
                </a:cxn>
                <a:cxn ang="0">
                  <a:pos x="csX924" y="csY924"/>
                </a:cxn>
                <a:cxn ang="0">
                  <a:pos x="csX925" y="csY925"/>
                </a:cxn>
                <a:cxn ang="0">
                  <a:pos x="csX926" y="csY926"/>
                </a:cxn>
                <a:cxn ang="0">
                  <a:pos x="csX927" y="csY927"/>
                </a:cxn>
                <a:cxn ang="0">
                  <a:pos x="csX928" y="csY928"/>
                </a:cxn>
                <a:cxn ang="0">
                  <a:pos x="csX929" y="csY929"/>
                </a:cxn>
                <a:cxn ang="0">
                  <a:pos x="csX930" y="csY930"/>
                </a:cxn>
                <a:cxn ang="0">
                  <a:pos x="csX931" y="csY931"/>
                </a:cxn>
                <a:cxn ang="0">
                  <a:pos x="csX932" y="csY932"/>
                </a:cxn>
                <a:cxn ang="0">
                  <a:pos x="csX933" y="csY933"/>
                </a:cxn>
                <a:cxn ang="0">
                  <a:pos x="csX934" y="csY934"/>
                </a:cxn>
                <a:cxn ang="0">
                  <a:pos x="csX935" y="csY935"/>
                </a:cxn>
                <a:cxn ang="0">
                  <a:pos x="csX936" y="csY936"/>
                </a:cxn>
                <a:cxn ang="0">
                  <a:pos x="csX937" y="csY937"/>
                </a:cxn>
                <a:cxn ang="0">
                  <a:pos x="csX938" y="csY938"/>
                </a:cxn>
                <a:cxn ang="0">
                  <a:pos x="csX939" y="csY939"/>
                </a:cxn>
                <a:cxn ang="0">
                  <a:pos x="csX940" y="csY940"/>
                </a:cxn>
                <a:cxn ang="0">
                  <a:pos x="csX941" y="csY941"/>
                </a:cxn>
                <a:cxn ang="0">
                  <a:pos x="csX942" y="csY942"/>
                </a:cxn>
                <a:cxn ang="0">
                  <a:pos x="csX943" y="csY943"/>
                </a:cxn>
                <a:cxn ang="0">
                  <a:pos x="csX944" y="csY944"/>
                </a:cxn>
                <a:cxn ang="0">
                  <a:pos x="csX945" y="csY945"/>
                </a:cxn>
                <a:cxn ang="0">
                  <a:pos x="csX946" y="csY946"/>
                </a:cxn>
                <a:cxn ang="0">
                  <a:pos x="csX947" y="csY947"/>
                </a:cxn>
                <a:cxn ang="0">
                  <a:pos x="csX948" y="csY948"/>
                </a:cxn>
                <a:cxn ang="0">
                  <a:pos x="csX949" y="csY949"/>
                </a:cxn>
                <a:cxn ang="0">
                  <a:pos x="csX950" y="csY950"/>
                </a:cxn>
                <a:cxn ang="0">
                  <a:pos x="csX951" y="csY951"/>
                </a:cxn>
                <a:cxn ang="0">
                  <a:pos x="csX952" y="csY952"/>
                </a:cxn>
                <a:cxn ang="0">
                  <a:pos x="csX953" y="csY953"/>
                </a:cxn>
                <a:cxn ang="0">
                  <a:pos x="csX954" y="csY954"/>
                </a:cxn>
                <a:cxn ang="0">
                  <a:pos x="csX955" y="csY955"/>
                </a:cxn>
                <a:cxn ang="0">
                  <a:pos x="csX956" y="csY956"/>
                </a:cxn>
                <a:cxn ang="0">
                  <a:pos x="csX957" y="csY957"/>
                </a:cxn>
                <a:cxn ang="0">
                  <a:pos x="csX958" y="csY958"/>
                </a:cxn>
                <a:cxn ang="0">
                  <a:pos x="csX959" y="csY959"/>
                </a:cxn>
                <a:cxn ang="0">
                  <a:pos x="csX960" y="csY960"/>
                </a:cxn>
                <a:cxn ang="0">
                  <a:pos x="csX961" y="csY961"/>
                </a:cxn>
                <a:cxn ang="0">
                  <a:pos x="csX962" y="csY962"/>
                </a:cxn>
                <a:cxn ang="0">
                  <a:pos x="csX963" y="csY963"/>
                </a:cxn>
                <a:cxn ang="0">
                  <a:pos x="csX964" y="csY964"/>
                </a:cxn>
                <a:cxn ang="0">
                  <a:pos x="csX965" y="csY965"/>
                </a:cxn>
                <a:cxn ang="0">
                  <a:pos x="csX966" y="csY966"/>
                </a:cxn>
                <a:cxn ang="0">
                  <a:pos x="csX967" y="csY967"/>
                </a:cxn>
                <a:cxn ang="0">
                  <a:pos x="csX968" y="csY968"/>
                </a:cxn>
                <a:cxn ang="0">
                  <a:pos x="csX969" y="csY969"/>
                </a:cxn>
                <a:cxn ang="0">
                  <a:pos x="csX970" y="csY970"/>
                </a:cxn>
                <a:cxn ang="0">
                  <a:pos x="csX971" y="csY971"/>
                </a:cxn>
                <a:cxn ang="0">
                  <a:pos x="csX972" y="csY972"/>
                </a:cxn>
                <a:cxn ang="0">
                  <a:pos x="csX973" y="csY973"/>
                </a:cxn>
                <a:cxn ang="0">
                  <a:pos x="csX974" y="csY974"/>
                </a:cxn>
                <a:cxn ang="0">
                  <a:pos x="csX975" y="csY975"/>
                </a:cxn>
                <a:cxn ang="0">
                  <a:pos x="csX976" y="csY976"/>
                </a:cxn>
                <a:cxn ang="0">
                  <a:pos x="csX977" y="csY977"/>
                </a:cxn>
                <a:cxn ang="0">
                  <a:pos x="csX978" y="csY978"/>
                </a:cxn>
                <a:cxn ang="0">
                  <a:pos x="csX979" y="csY979"/>
                </a:cxn>
                <a:cxn ang="0">
                  <a:pos x="csX980" y="csY980"/>
                </a:cxn>
                <a:cxn ang="0">
                  <a:pos x="csX981" y="csY981"/>
                </a:cxn>
                <a:cxn ang="0">
                  <a:pos x="csX982" y="csY982"/>
                </a:cxn>
                <a:cxn ang="0">
                  <a:pos x="csX983" y="csY983"/>
                </a:cxn>
                <a:cxn ang="0">
                  <a:pos x="csX984" y="csY984"/>
                </a:cxn>
                <a:cxn ang="0">
                  <a:pos x="csX985" y="csY985"/>
                </a:cxn>
                <a:cxn ang="0">
                  <a:pos x="csX986" y="csY986"/>
                </a:cxn>
                <a:cxn ang="0">
                  <a:pos x="csX987" y="csY987"/>
                </a:cxn>
                <a:cxn ang="0">
                  <a:pos x="csX988" y="csY988"/>
                </a:cxn>
                <a:cxn ang="0">
                  <a:pos x="csX989" y="csY989"/>
                </a:cxn>
                <a:cxn ang="0">
                  <a:pos x="csX990" y="csY990"/>
                </a:cxn>
                <a:cxn ang="0">
                  <a:pos x="csX991" y="csY991"/>
                </a:cxn>
                <a:cxn ang="0">
                  <a:pos x="csX992" y="csY992"/>
                </a:cxn>
                <a:cxn ang="0">
                  <a:pos x="csX993" y="csY993"/>
                </a:cxn>
                <a:cxn ang="0">
                  <a:pos x="csX994" y="csY994"/>
                </a:cxn>
                <a:cxn ang="0">
                  <a:pos x="csX995" y="csY995"/>
                </a:cxn>
                <a:cxn ang="0">
                  <a:pos x="csX996" y="csY996"/>
                </a:cxn>
                <a:cxn ang="0">
                  <a:pos x="csX997" y="csY997"/>
                </a:cxn>
                <a:cxn ang="0">
                  <a:pos x="csX998" y="csY998"/>
                </a:cxn>
                <a:cxn ang="0">
                  <a:pos x="csX999" y="csY999"/>
                </a:cxn>
                <a:cxn ang="0">
                  <a:pos x="csX1000" y="csY1000"/>
                </a:cxn>
                <a:cxn ang="0">
                  <a:pos x="csX1001" y="csY1001"/>
                </a:cxn>
                <a:cxn ang="0">
                  <a:pos x="csX1002" y="csY1002"/>
                </a:cxn>
                <a:cxn ang="0">
                  <a:pos x="csX1003" y="csY1003"/>
                </a:cxn>
                <a:cxn ang="0">
                  <a:pos x="csX1004" y="csY1004"/>
                </a:cxn>
                <a:cxn ang="0">
                  <a:pos x="csX1005" y="csY1005"/>
                </a:cxn>
                <a:cxn ang="0">
                  <a:pos x="csX1006" y="csY1006"/>
                </a:cxn>
                <a:cxn ang="0">
                  <a:pos x="csX1007" y="csY1007"/>
                </a:cxn>
                <a:cxn ang="0">
                  <a:pos x="csX1008" y="csY1008"/>
                </a:cxn>
                <a:cxn ang="0">
                  <a:pos x="csX1009" y="csY1009"/>
                </a:cxn>
                <a:cxn ang="0">
                  <a:pos x="csX1010" y="csY1010"/>
                </a:cxn>
                <a:cxn ang="0">
                  <a:pos x="csX1011" y="csY1011"/>
                </a:cxn>
                <a:cxn ang="0">
                  <a:pos x="csX1012" y="csY1012"/>
                </a:cxn>
                <a:cxn ang="0">
                  <a:pos x="csX1013" y="csY1013"/>
                </a:cxn>
                <a:cxn ang="0">
                  <a:pos x="csX1014" y="csY1014"/>
                </a:cxn>
                <a:cxn ang="0">
                  <a:pos x="csX1015" y="csY1015"/>
                </a:cxn>
                <a:cxn ang="0">
                  <a:pos x="csX1016" y="csY1016"/>
                </a:cxn>
                <a:cxn ang="0">
                  <a:pos x="csX1017" y="csY1017"/>
                </a:cxn>
                <a:cxn ang="0">
                  <a:pos x="csX1018" y="csY1018"/>
                </a:cxn>
                <a:cxn ang="0">
                  <a:pos x="csX1019" y="csY1019"/>
                </a:cxn>
                <a:cxn ang="0">
                  <a:pos x="csX1020" y="csY1020"/>
                </a:cxn>
                <a:cxn ang="0">
                  <a:pos x="csX1021" y="csY1021"/>
                </a:cxn>
                <a:cxn ang="0">
                  <a:pos x="csX1022" y="csY1022"/>
                </a:cxn>
                <a:cxn ang="0">
                  <a:pos x="csX1023" y="csY1023"/>
                </a:cxn>
                <a:cxn ang="0">
                  <a:pos x="csX1024" y="csY1024"/>
                </a:cxn>
                <a:cxn ang="0">
                  <a:pos x="csX1025" y="csY1025"/>
                </a:cxn>
                <a:cxn ang="0">
                  <a:pos x="csX1026" y="csY1026"/>
                </a:cxn>
                <a:cxn ang="0">
                  <a:pos x="csX1027" y="csY1027"/>
                </a:cxn>
                <a:cxn ang="0">
                  <a:pos x="csX1028" y="csY1028"/>
                </a:cxn>
                <a:cxn ang="0">
                  <a:pos x="csX1029" y="csY1029"/>
                </a:cxn>
                <a:cxn ang="0">
                  <a:pos x="csX1030" y="csY1030"/>
                </a:cxn>
                <a:cxn ang="0">
                  <a:pos x="csX1031" y="csY1031"/>
                </a:cxn>
                <a:cxn ang="0">
                  <a:pos x="csX1032" y="csY1032"/>
                </a:cxn>
                <a:cxn ang="0">
                  <a:pos x="csX1033" y="csY1033"/>
                </a:cxn>
                <a:cxn ang="0">
                  <a:pos x="csX1034" y="csY1034"/>
                </a:cxn>
                <a:cxn ang="0">
                  <a:pos x="csX1035" y="csY1035"/>
                </a:cxn>
                <a:cxn ang="0">
                  <a:pos x="csX1036" y="csY1036"/>
                </a:cxn>
                <a:cxn ang="0">
                  <a:pos x="csX1037" y="csY1037"/>
                </a:cxn>
                <a:cxn ang="0">
                  <a:pos x="csX1038" y="csY1038"/>
                </a:cxn>
                <a:cxn ang="0">
                  <a:pos x="csX1039" y="csY1039"/>
                </a:cxn>
                <a:cxn ang="0">
                  <a:pos x="csX1040" y="csY1040"/>
                </a:cxn>
                <a:cxn ang="0">
                  <a:pos x="csX1041" y="csY1041"/>
                </a:cxn>
                <a:cxn ang="0">
                  <a:pos x="csX1042" y="csY1042"/>
                </a:cxn>
                <a:cxn ang="0">
                  <a:pos x="csX1043" y="csY1043"/>
                </a:cxn>
                <a:cxn ang="0">
                  <a:pos x="csX1044" y="csY1044"/>
                </a:cxn>
                <a:cxn ang="0">
                  <a:pos x="csX1045" y="csY1045"/>
                </a:cxn>
                <a:cxn ang="0">
                  <a:pos x="csX1046" y="csY1046"/>
                </a:cxn>
                <a:cxn ang="0">
                  <a:pos x="csX1047" y="csY1047"/>
                </a:cxn>
                <a:cxn ang="0">
                  <a:pos x="csX1048" y="csY1048"/>
                </a:cxn>
                <a:cxn ang="0">
                  <a:pos x="csX1049" y="csY1049"/>
                </a:cxn>
                <a:cxn ang="0">
                  <a:pos x="csX1050" y="csY1050"/>
                </a:cxn>
                <a:cxn ang="0">
                  <a:pos x="csX1051" y="csY1051"/>
                </a:cxn>
                <a:cxn ang="0">
                  <a:pos x="csX1052" y="csY1052"/>
                </a:cxn>
                <a:cxn ang="0">
                  <a:pos x="csX1053" y="csY1053"/>
                </a:cxn>
                <a:cxn ang="0">
                  <a:pos x="csX1054" y="csY1054"/>
                </a:cxn>
              </a:cxnLst>
              <a:rect l="l" t="t" r="r" b="b"/>
              <a:pathLst>
                <a:path w="1609516" h="1538630">
                  <a:moveTo>
                    <a:pt x="401579" y="1495809"/>
                  </a:moveTo>
                  <a:lnTo>
                    <a:pt x="400190" y="1496004"/>
                  </a:lnTo>
                  <a:lnTo>
                    <a:pt x="401224" y="1496470"/>
                  </a:lnTo>
                  <a:lnTo>
                    <a:pt x="401224" y="1498590"/>
                  </a:lnTo>
                  <a:lnTo>
                    <a:pt x="401579" y="1498628"/>
                  </a:lnTo>
                  <a:cubicBezTo>
                    <a:pt x="401579" y="1497698"/>
                    <a:pt x="401579" y="1496768"/>
                    <a:pt x="401579" y="1495809"/>
                  </a:cubicBezTo>
                  <a:close/>
                  <a:moveTo>
                    <a:pt x="368755" y="1486512"/>
                  </a:moveTo>
                  <a:lnTo>
                    <a:pt x="364089" y="1487354"/>
                  </a:lnTo>
                  <a:lnTo>
                    <a:pt x="364089" y="1487908"/>
                  </a:lnTo>
                  <a:close/>
                  <a:moveTo>
                    <a:pt x="1049801" y="1484562"/>
                  </a:moveTo>
                  <a:lnTo>
                    <a:pt x="1046735" y="1485945"/>
                  </a:lnTo>
                  <a:lnTo>
                    <a:pt x="1046955" y="1486045"/>
                  </a:lnTo>
                  <a:lnTo>
                    <a:pt x="1049801" y="1485188"/>
                  </a:lnTo>
                  <a:close/>
                  <a:moveTo>
                    <a:pt x="351234" y="1444508"/>
                  </a:moveTo>
                  <a:lnTo>
                    <a:pt x="351234" y="1444997"/>
                  </a:lnTo>
                  <a:lnTo>
                    <a:pt x="351592" y="1445078"/>
                  </a:lnTo>
                  <a:close/>
                  <a:moveTo>
                    <a:pt x="351908" y="1431206"/>
                  </a:moveTo>
                  <a:lnTo>
                    <a:pt x="351234" y="1431611"/>
                  </a:lnTo>
                  <a:lnTo>
                    <a:pt x="351234" y="1432274"/>
                  </a:lnTo>
                  <a:close/>
                  <a:moveTo>
                    <a:pt x="358162" y="1421494"/>
                  </a:moveTo>
                  <a:lnTo>
                    <a:pt x="355921" y="1423156"/>
                  </a:lnTo>
                  <a:lnTo>
                    <a:pt x="355921" y="1423548"/>
                  </a:lnTo>
                  <a:close/>
                  <a:moveTo>
                    <a:pt x="376098" y="1408347"/>
                  </a:moveTo>
                  <a:lnTo>
                    <a:pt x="370750" y="1412245"/>
                  </a:lnTo>
                  <a:lnTo>
                    <a:pt x="375023" y="1411256"/>
                  </a:lnTo>
                  <a:close/>
                  <a:moveTo>
                    <a:pt x="421956" y="1365623"/>
                  </a:moveTo>
                  <a:lnTo>
                    <a:pt x="421765" y="1366161"/>
                  </a:lnTo>
                  <a:lnTo>
                    <a:pt x="421887" y="1366161"/>
                  </a:lnTo>
                  <a:close/>
                  <a:moveTo>
                    <a:pt x="754553" y="1360575"/>
                  </a:moveTo>
                  <a:lnTo>
                    <a:pt x="754089" y="1361433"/>
                  </a:lnTo>
                  <a:lnTo>
                    <a:pt x="754431" y="1361125"/>
                  </a:lnTo>
                  <a:close/>
                  <a:moveTo>
                    <a:pt x="1277973" y="1332923"/>
                  </a:moveTo>
                  <a:lnTo>
                    <a:pt x="1277944" y="1332936"/>
                  </a:lnTo>
                  <a:lnTo>
                    <a:pt x="1277949" y="1333139"/>
                  </a:lnTo>
                  <a:close/>
                  <a:moveTo>
                    <a:pt x="1268556" y="1321066"/>
                  </a:moveTo>
                  <a:cubicBezTo>
                    <a:pt x="1268556" y="1322461"/>
                    <a:pt x="1268556" y="1323856"/>
                    <a:pt x="1268556" y="1325294"/>
                  </a:cubicBezTo>
                  <a:cubicBezTo>
                    <a:pt x="1267525" y="1325294"/>
                    <a:pt x="1266495" y="1325294"/>
                    <a:pt x="1265432" y="1325294"/>
                  </a:cubicBezTo>
                  <a:cubicBezTo>
                    <a:pt x="1265432" y="1330409"/>
                    <a:pt x="1265432" y="1335525"/>
                    <a:pt x="1265432" y="1340795"/>
                  </a:cubicBezTo>
                  <a:lnTo>
                    <a:pt x="1265476" y="1340714"/>
                  </a:lnTo>
                  <a:lnTo>
                    <a:pt x="1265476" y="1325877"/>
                  </a:lnTo>
                  <a:cubicBezTo>
                    <a:pt x="1266507" y="1325877"/>
                    <a:pt x="1267538" y="1325877"/>
                    <a:pt x="1268600" y="1325877"/>
                  </a:cubicBezTo>
                  <a:cubicBezTo>
                    <a:pt x="1268600" y="1324482"/>
                    <a:pt x="1268600" y="1323086"/>
                    <a:pt x="1268600" y="1321649"/>
                  </a:cubicBezTo>
                  <a:cubicBezTo>
                    <a:pt x="1270147" y="1321649"/>
                    <a:pt x="1271693" y="1321649"/>
                    <a:pt x="1273286" y="1321649"/>
                  </a:cubicBezTo>
                  <a:lnTo>
                    <a:pt x="1273227" y="1321066"/>
                  </a:lnTo>
                  <a:close/>
                  <a:moveTo>
                    <a:pt x="827891" y="1291474"/>
                  </a:moveTo>
                  <a:lnTo>
                    <a:pt x="822601" y="1291544"/>
                  </a:lnTo>
                  <a:lnTo>
                    <a:pt x="818272" y="1292220"/>
                  </a:lnTo>
                  <a:lnTo>
                    <a:pt x="827891" y="1292047"/>
                  </a:lnTo>
                  <a:close/>
                  <a:moveTo>
                    <a:pt x="856397" y="1288691"/>
                  </a:moveTo>
                  <a:lnTo>
                    <a:pt x="865903" y="1290590"/>
                  </a:lnTo>
                  <a:lnTo>
                    <a:pt x="859999" y="1288752"/>
                  </a:lnTo>
                  <a:close/>
                  <a:moveTo>
                    <a:pt x="834694" y="1288572"/>
                  </a:moveTo>
                  <a:lnTo>
                    <a:pt x="828038" y="1288654"/>
                  </a:lnTo>
                  <a:lnTo>
                    <a:pt x="828038" y="1289214"/>
                  </a:lnTo>
                  <a:close/>
                  <a:moveTo>
                    <a:pt x="229746" y="1191418"/>
                  </a:moveTo>
                  <a:lnTo>
                    <a:pt x="227402" y="1191947"/>
                  </a:lnTo>
                  <a:lnTo>
                    <a:pt x="229315" y="1191947"/>
                  </a:lnTo>
                  <a:cubicBezTo>
                    <a:pt x="229315" y="1192877"/>
                    <a:pt x="229315" y="1193807"/>
                    <a:pt x="229315" y="1194765"/>
                  </a:cubicBezTo>
                  <a:lnTo>
                    <a:pt x="231321" y="1194765"/>
                  </a:lnTo>
                  <a:lnTo>
                    <a:pt x="229746" y="1194236"/>
                  </a:lnTo>
                  <a:cubicBezTo>
                    <a:pt x="229746" y="1193306"/>
                    <a:pt x="229746" y="1192376"/>
                    <a:pt x="229746" y="1191418"/>
                  </a:cubicBezTo>
                  <a:close/>
                  <a:moveTo>
                    <a:pt x="215687" y="1187190"/>
                  </a:moveTo>
                  <a:lnTo>
                    <a:pt x="215198" y="1187720"/>
                  </a:lnTo>
                  <a:lnTo>
                    <a:pt x="215256" y="1187720"/>
                  </a:lnTo>
                  <a:cubicBezTo>
                    <a:pt x="215256" y="1189115"/>
                    <a:pt x="215256" y="1190510"/>
                    <a:pt x="215256" y="1191947"/>
                  </a:cubicBezTo>
                  <a:lnTo>
                    <a:pt x="222721" y="1191947"/>
                  </a:lnTo>
                  <a:lnTo>
                    <a:pt x="215687" y="1191418"/>
                  </a:lnTo>
                  <a:cubicBezTo>
                    <a:pt x="215687" y="1190023"/>
                    <a:pt x="215687" y="1188628"/>
                    <a:pt x="215687" y="1187190"/>
                  </a:cubicBezTo>
                  <a:close/>
                  <a:moveTo>
                    <a:pt x="1279678" y="1082356"/>
                  </a:moveTo>
                  <a:lnTo>
                    <a:pt x="1271680" y="1084589"/>
                  </a:lnTo>
                  <a:lnTo>
                    <a:pt x="1282181" y="1082544"/>
                  </a:lnTo>
                  <a:close/>
                  <a:moveTo>
                    <a:pt x="117703" y="941507"/>
                  </a:moveTo>
                  <a:lnTo>
                    <a:pt x="112587" y="941985"/>
                  </a:lnTo>
                  <a:lnTo>
                    <a:pt x="112565" y="942333"/>
                  </a:lnTo>
                  <a:lnTo>
                    <a:pt x="115665" y="941837"/>
                  </a:lnTo>
                  <a:close/>
                  <a:moveTo>
                    <a:pt x="144268" y="939395"/>
                  </a:moveTo>
                  <a:lnTo>
                    <a:pt x="143354" y="939580"/>
                  </a:lnTo>
                  <a:lnTo>
                    <a:pt x="144077" y="939739"/>
                  </a:lnTo>
                  <a:close/>
                  <a:moveTo>
                    <a:pt x="162575" y="933530"/>
                  </a:moveTo>
                  <a:lnTo>
                    <a:pt x="161704" y="935101"/>
                  </a:lnTo>
                  <a:lnTo>
                    <a:pt x="170045" y="933585"/>
                  </a:lnTo>
                  <a:close/>
                  <a:moveTo>
                    <a:pt x="1321645" y="918415"/>
                  </a:moveTo>
                  <a:lnTo>
                    <a:pt x="1321534" y="920177"/>
                  </a:lnTo>
                  <a:lnTo>
                    <a:pt x="1321740" y="918415"/>
                  </a:lnTo>
                  <a:close/>
                  <a:moveTo>
                    <a:pt x="1319333" y="915183"/>
                  </a:moveTo>
                  <a:lnTo>
                    <a:pt x="1318544" y="918029"/>
                  </a:lnTo>
                  <a:lnTo>
                    <a:pt x="1318702" y="918029"/>
                  </a:lnTo>
                  <a:close/>
                  <a:moveTo>
                    <a:pt x="1326355" y="907109"/>
                  </a:moveTo>
                  <a:lnTo>
                    <a:pt x="1326355" y="910983"/>
                  </a:lnTo>
                  <a:lnTo>
                    <a:pt x="1325831" y="911101"/>
                  </a:lnTo>
                  <a:lnTo>
                    <a:pt x="1326426" y="911369"/>
                  </a:lnTo>
                  <a:cubicBezTo>
                    <a:pt x="1326426" y="909974"/>
                    <a:pt x="1326426" y="908579"/>
                    <a:pt x="1326426" y="907141"/>
                  </a:cubicBezTo>
                  <a:close/>
                  <a:moveTo>
                    <a:pt x="1328144" y="892192"/>
                  </a:moveTo>
                  <a:lnTo>
                    <a:pt x="1327667" y="893446"/>
                  </a:lnTo>
                  <a:lnTo>
                    <a:pt x="1327989" y="893049"/>
                  </a:lnTo>
                  <a:close/>
                  <a:moveTo>
                    <a:pt x="49605" y="887420"/>
                  </a:moveTo>
                  <a:lnTo>
                    <a:pt x="48549" y="891229"/>
                  </a:lnTo>
                  <a:lnTo>
                    <a:pt x="49956" y="887420"/>
                  </a:lnTo>
                  <a:close/>
                  <a:moveTo>
                    <a:pt x="1332266" y="883369"/>
                  </a:moveTo>
                  <a:lnTo>
                    <a:pt x="1329479" y="884207"/>
                  </a:lnTo>
                  <a:lnTo>
                    <a:pt x="1329509" y="884816"/>
                  </a:lnTo>
                  <a:lnTo>
                    <a:pt x="1329551" y="884594"/>
                  </a:lnTo>
                  <a:close/>
                  <a:moveTo>
                    <a:pt x="1555987" y="821766"/>
                  </a:moveTo>
                  <a:lnTo>
                    <a:pt x="1555987" y="822201"/>
                  </a:lnTo>
                  <a:lnTo>
                    <a:pt x="1556081" y="822189"/>
                  </a:lnTo>
                  <a:close/>
                  <a:moveTo>
                    <a:pt x="1565360" y="810928"/>
                  </a:moveTo>
                  <a:lnTo>
                    <a:pt x="1564871" y="811809"/>
                  </a:lnTo>
                  <a:lnTo>
                    <a:pt x="1567314" y="810928"/>
                  </a:lnTo>
                  <a:close/>
                  <a:moveTo>
                    <a:pt x="1563797" y="810928"/>
                  </a:moveTo>
                  <a:lnTo>
                    <a:pt x="1556762" y="814736"/>
                  </a:lnTo>
                  <a:lnTo>
                    <a:pt x="1563797" y="812197"/>
                  </a:lnTo>
                  <a:close/>
                  <a:moveTo>
                    <a:pt x="265833" y="806020"/>
                  </a:moveTo>
                  <a:lnTo>
                    <a:pt x="263704" y="809861"/>
                  </a:lnTo>
                  <a:lnTo>
                    <a:pt x="263704" y="816750"/>
                  </a:lnTo>
                  <a:lnTo>
                    <a:pt x="264113" y="816565"/>
                  </a:lnTo>
                  <a:cubicBezTo>
                    <a:pt x="264048" y="815315"/>
                    <a:pt x="263984" y="814065"/>
                    <a:pt x="263918" y="812777"/>
                  </a:cubicBezTo>
                  <a:close/>
                  <a:moveTo>
                    <a:pt x="263774" y="779374"/>
                  </a:moveTo>
                  <a:lnTo>
                    <a:pt x="263704" y="783086"/>
                  </a:lnTo>
                  <a:cubicBezTo>
                    <a:pt x="263961" y="783987"/>
                    <a:pt x="264219" y="784888"/>
                    <a:pt x="264484" y="785816"/>
                  </a:cubicBezTo>
                  <a:cubicBezTo>
                    <a:pt x="265299" y="788846"/>
                    <a:pt x="265316" y="791337"/>
                    <a:pt x="265265" y="794448"/>
                  </a:cubicBezTo>
                  <a:cubicBezTo>
                    <a:pt x="265103" y="797155"/>
                    <a:pt x="265022" y="798508"/>
                    <a:pt x="265217" y="799730"/>
                  </a:cubicBezTo>
                  <a:lnTo>
                    <a:pt x="266556" y="803466"/>
                  </a:lnTo>
                  <a:lnTo>
                    <a:pt x="267237" y="801063"/>
                  </a:lnTo>
                  <a:cubicBezTo>
                    <a:pt x="266721" y="800598"/>
                    <a:pt x="266206" y="800133"/>
                    <a:pt x="265675" y="799654"/>
                  </a:cubicBezTo>
                  <a:cubicBezTo>
                    <a:pt x="265601" y="797718"/>
                    <a:pt x="265617" y="795778"/>
                    <a:pt x="265675" y="793841"/>
                  </a:cubicBezTo>
                  <a:close/>
                  <a:moveTo>
                    <a:pt x="260988" y="770061"/>
                  </a:moveTo>
                  <a:lnTo>
                    <a:pt x="260988" y="771364"/>
                  </a:lnTo>
                  <a:lnTo>
                    <a:pt x="263497" y="777263"/>
                  </a:lnTo>
                  <a:lnTo>
                    <a:pt x="262551" y="770061"/>
                  </a:lnTo>
                  <a:cubicBezTo>
                    <a:pt x="262035" y="770061"/>
                    <a:pt x="261520" y="770061"/>
                    <a:pt x="260988" y="770061"/>
                  </a:cubicBezTo>
                  <a:close/>
                  <a:moveTo>
                    <a:pt x="157888" y="651686"/>
                  </a:moveTo>
                  <a:lnTo>
                    <a:pt x="157415" y="651764"/>
                  </a:lnTo>
                  <a:lnTo>
                    <a:pt x="160373" y="652274"/>
                  </a:lnTo>
                  <a:close/>
                  <a:moveTo>
                    <a:pt x="267237" y="426537"/>
                  </a:moveTo>
                  <a:lnTo>
                    <a:pt x="267237" y="427619"/>
                  </a:lnTo>
                  <a:cubicBezTo>
                    <a:pt x="268274" y="427791"/>
                    <a:pt x="269311" y="427961"/>
                    <a:pt x="270380" y="428137"/>
                  </a:cubicBezTo>
                  <a:lnTo>
                    <a:pt x="273548" y="428680"/>
                  </a:lnTo>
                  <a:close/>
                  <a:moveTo>
                    <a:pt x="37605" y="359270"/>
                  </a:moveTo>
                  <a:lnTo>
                    <a:pt x="37103" y="361533"/>
                  </a:lnTo>
                  <a:lnTo>
                    <a:pt x="37605" y="361382"/>
                  </a:lnTo>
                  <a:close/>
                  <a:moveTo>
                    <a:pt x="52477" y="337570"/>
                  </a:moveTo>
                  <a:lnTo>
                    <a:pt x="47288" y="342340"/>
                  </a:lnTo>
                  <a:lnTo>
                    <a:pt x="45805" y="345093"/>
                  </a:lnTo>
                  <a:close/>
                  <a:moveTo>
                    <a:pt x="104291" y="336166"/>
                  </a:moveTo>
                  <a:lnTo>
                    <a:pt x="103776" y="337559"/>
                  </a:lnTo>
                  <a:lnTo>
                    <a:pt x="108925" y="336166"/>
                  </a:lnTo>
                  <a:close/>
                  <a:moveTo>
                    <a:pt x="1309237" y="322954"/>
                  </a:moveTo>
                  <a:lnTo>
                    <a:pt x="1309180" y="330559"/>
                  </a:lnTo>
                  <a:lnTo>
                    <a:pt x="1309237" y="330520"/>
                  </a:lnTo>
                  <a:close/>
                  <a:moveTo>
                    <a:pt x="1308964" y="317715"/>
                  </a:moveTo>
                  <a:lnTo>
                    <a:pt x="1309237" y="318569"/>
                  </a:lnTo>
                  <a:lnTo>
                    <a:pt x="1309237" y="317838"/>
                  </a:lnTo>
                  <a:close/>
                  <a:moveTo>
                    <a:pt x="1310087" y="313153"/>
                  </a:moveTo>
                  <a:lnTo>
                    <a:pt x="1307609" y="313473"/>
                  </a:lnTo>
                  <a:lnTo>
                    <a:pt x="1308045" y="314836"/>
                  </a:lnTo>
                  <a:close/>
                  <a:moveTo>
                    <a:pt x="1318544" y="312064"/>
                  </a:moveTo>
                  <a:lnTo>
                    <a:pt x="1316298" y="312353"/>
                  </a:lnTo>
                  <a:lnTo>
                    <a:pt x="1318544" y="312205"/>
                  </a:lnTo>
                  <a:close/>
                  <a:moveTo>
                    <a:pt x="1084622" y="267674"/>
                  </a:moveTo>
                  <a:lnTo>
                    <a:pt x="1084227" y="268378"/>
                  </a:lnTo>
                  <a:cubicBezTo>
                    <a:pt x="1082679" y="268378"/>
                    <a:pt x="1081133" y="268378"/>
                    <a:pt x="1079540" y="268378"/>
                  </a:cubicBezTo>
                  <a:lnTo>
                    <a:pt x="1079603" y="268477"/>
                  </a:lnTo>
                  <a:lnTo>
                    <a:pt x="1084192" y="268477"/>
                  </a:lnTo>
                  <a:close/>
                  <a:moveTo>
                    <a:pt x="956410" y="266968"/>
                  </a:moveTo>
                  <a:lnTo>
                    <a:pt x="957576" y="267083"/>
                  </a:lnTo>
                  <a:lnTo>
                    <a:pt x="957576" y="269776"/>
                  </a:lnTo>
                  <a:lnTo>
                    <a:pt x="957694" y="269787"/>
                  </a:lnTo>
                  <a:cubicBezTo>
                    <a:pt x="957694" y="268857"/>
                    <a:pt x="957694" y="267927"/>
                    <a:pt x="957694" y="266968"/>
                  </a:cubicBezTo>
                  <a:close/>
                  <a:moveTo>
                    <a:pt x="1089372" y="259220"/>
                  </a:moveTo>
                  <a:lnTo>
                    <a:pt x="1085856" y="265479"/>
                  </a:lnTo>
                  <a:lnTo>
                    <a:pt x="1088878" y="261431"/>
                  </a:lnTo>
                  <a:close/>
                  <a:moveTo>
                    <a:pt x="1018517" y="223356"/>
                  </a:moveTo>
                  <a:lnTo>
                    <a:pt x="1013866" y="226190"/>
                  </a:lnTo>
                  <a:lnTo>
                    <a:pt x="1013024" y="227709"/>
                  </a:lnTo>
                  <a:lnTo>
                    <a:pt x="1017055" y="224692"/>
                  </a:lnTo>
                  <a:close/>
                  <a:moveTo>
                    <a:pt x="850645" y="220099"/>
                  </a:moveTo>
                  <a:lnTo>
                    <a:pt x="850897" y="221488"/>
                  </a:lnTo>
                  <a:cubicBezTo>
                    <a:pt x="851086" y="222545"/>
                    <a:pt x="851275" y="223602"/>
                    <a:pt x="851470" y="224692"/>
                  </a:cubicBezTo>
                  <a:lnTo>
                    <a:pt x="852860" y="224692"/>
                  </a:lnTo>
                  <a:close/>
                  <a:moveTo>
                    <a:pt x="1155019" y="35"/>
                  </a:moveTo>
                  <a:cubicBezTo>
                    <a:pt x="1161775" y="275"/>
                    <a:pt x="1168415" y="1783"/>
                    <a:pt x="1174829" y="4853"/>
                  </a:cubicBezTo>
                  <a:cubicBezTo>
                    <a:pt x="1176343" y="5231"/>
                    <a:pt x="1177858" y="5609"/>
                    <a:pt x="1179418" y="5998"/>
                  </a:cubicBezTo>
                  <a:cubicBezTo>
                    <a:pt x="1189392" y="9487"/>
                    <a:pt x="1196322" y="14392"/>
                    <a:pt x="1201385" y="22997"/>
                  </a:cubicBezTo>
                  <a:cubicBezTo>
                    <a:pt x="1206849" y="35244"/>
                    <a:pt x="1206940" y="49865"/>
                    <a:pt x="1201678" y="62191"/>
                  </a:cubicBezTo>
                  <a:cubicBezTo>
                    <a:pt x="1200594" y="64241"/>
                    <a:pt x="1199461" y="66271"/>
                    <a:pt x="1198261" y="68268"/>
                  </a:cubicBezTo>
                  <a:cubicBezTo>
                    <a:pt x="1197423" y="69721"/>
                    <a:pt x="1196586" y="71175"/>
                    <a:pt x="1195723" y="72672"/>
                  </a:cubicBezTo>
                  <a:cubicBezTo>
                    <a:pt x="1194659" y="73980"/>
                    <a:pt x="1194659" y="73980"/>
                    <a:pt x="1193575" y="75314"/>
                  </a:cubicBezTo>
                  <a:cubicBezTo>
                    <a:pt x="1192544" y="75314"/>
                    <a:pt x="1191512" y="75314"/>
                    <a:pt x="1190450" y="75314"/>
                  </a:cubicBezTo>
                  <a:cubicBezTo>
                    <a:pt x="1190128" y="76651"/>
                    <a:pt x="1189806" y="77988"/>
                    <a:pt x="1189474" y="79366"/>
                  </a:cubicBezTo>
                  <a:cubicBezTo>
                    <a:pt x="1187326" y="83769"/>
                    <a:pt x="1187326" y="83769"/>
                    <a:pt x="1182445" y="85707"/>
                  </a:cubicBezTo>
                  <a:cubicBezTo>
                    <a:pt x="1180962" y="85998"/>
                    <a:pt x="1179480" y="86289"/>
                    <a:pt x="1177953" y="86588"/>
                  </a:cubicBezTo>
                  <a:cubicBezTo>
                    <a:pt x="1177953" y="87518"/>
                    <a:pt x="1177953" y="88448"/>
                    <a:pt x="1177953" y="89406"/>
                  </a:cubicBezTo>
                  <a:cubicBezTo>
                    <a:pt x="1175369" y="91088"/>
                    <a:pt x="1172720" y="92688"/>
                    <a:pt x="1170045" y="94251"/>
                  </a:cubicBezTo>
                  <a:cubicBezTo>
                    <a:pt x="1154651" y="104199"/>
                    <a:pt x="1148918" y="116979"/>
                    <a:pt x="1143806" y="132828"/>
                  </a:cubicBezTo>
                  <a:cubicBezTo>
                    <a:pt x="1142095" y="137144"/>
                    <a:pt x="1140989" y="138617"/>
                    <a:pt x="1137338" y="141548"/>
                  </a:cubicBezTo>
                  <a:cubicBezTo>
                    <a:pt x="1136166" y="144148"/>
                    <a:pt x="1134992" y="146751"/>
                    <a:pt x="1133970" y="149403"/>
                  </a:cubicBezTo>
                  <a:cubicBezTo>
                    <a:pt x="1132069" y="154334"/>
                    <a:pt x="1130006" y="159210"/>
                    <a:pt x="1127965" y="164095"/>
                  </a:cubicBezTo>
                  <a:cubicBezTo>
                    <a:pt x="1126897" y="166664"/>
                    <a:pt x="1125830" y="169233"/>
                    <a:pt x="1124762" y="171802"/>
                  </a:cubicBezTo>
                  <a:cubicBezTo>
                    <a:pt x="1122961" y="176134"/>
                    <a:pt x="1121160" y="180466"/>
                    <a:pt x="1119359" y="184798"/>
                  </a:cubicBezTo>
                  <a:cubicBezTo>
                    <a:pt x="1116567" y="191508"/>
                    <a:pt x="1113778" y="198220"/>
                    <a:pt x="1111014" y="204941"/>
                  </a:cubicBezTo>
                  <a:cubicBezTo>
                    <a:pt x="1110590" y="205970"/>
                    <a:pt x="1110165" y="206999"/>
                    <a:pt x="1109729" y="208059"/>
                  </a:cubicBezTo>
                  <a:cubicBezTo>
                    <a:pt x="1108615" y="210762"/>
                    <a:pt x="1107505" y="213466"/>
                    <a:pt x="1106395" y="216170"/>
                  </a:cubicBezTo>
                  <a:cubicBezTo>
                    <a:pt x="1104320" y="220956"/>
                    <a:pt x="1103283" y="223349"/>
                    <a:pt x="1102147" y="224810"/>
                  </a:cubicBezTo>
                  <a:lnTo>
                    <a:pt x="1098261" y="227262"/>
                  </a:lnTo>
                  <a:lnTo>
                    <a:pt x="1098367" y="238475"/>
                  </a:lnTo>
                  <a:cubicBezTo>
                    <a:pt x="1098025" y="239757"/>
                    <a:pt x="1097684" y="241038"/>
                    <a:pt x="1097331" y="242358"/>
                  </a:cubicBezTo>
                  <a:cubicBezTo>
                    <a:pt x="1096958" y="243711"/>
                    <a:pt x="1096585" y="245064"/>
                    <a:pt x="1096201" y="246458"/>
                  </a:cubicBezTo>
                  <a:cubicBezTo>
                    <a:pt x="1093302" y="257363"/>
                    <a:pt x="1090901" y="268062"/>
                    <a:pt x="1089440" y="279206"/>
                  </a:cubicBezTo>
                  <a:cubicBezTo>
                    <a:pt x="1088878" y="282569"/>
                    <a:pt x="1088878" y="282569"/>
                    <a:pt x="1087316" y="283978"/>
                  </a:cubicBezTo>
                  <a:cubicBezTo>
                    <a:pt x="1087070" y="286587"/>
                    <a:pt x="1086924" y="289205"/>
                    <a:pt x="1086822" y="291822"/>
                  </a:cubicBezTo>
                  <a:cubicBezTo>
                    <a:pt x="1086756" y="293408"/>
                    <a:pt x="1086691" y="294993"/>
                    <a:pt x="1086623" y="296625"/>
                  </a:cubicBezTo>
                  <a:cubicBezTo>
                    <a:pt x="1086562" y="298294"/>
                    <a:pt x="1086501" y="299962"/>
                    <a:pt x="1086437" y="301681"/>
                  </a:cubicBezTo>
                  <a:cubicBezTo>
                    <a:pt x="1086336" y="304192"/>
                    <a:pt x="1086336" y="304192"/>
                    <a:pt x="1086233" y="306754"/>
                  </a:cubicBezTo>
                  <a:lnTo>
                    <a:pt x="1086007" y="312619"/>
                  </a:lnTo>
                  <a:lnTo>
                    <a:pt x="1087470" y="320554"/>
                  </a:lnTo>
                  <a:cubicBezTo>
                    <a:pt x="1089648" y="325409"/>
                    <a:pt x="1093111" y="329799"/>
                    <a:pt x="1098285" y="334611"/>
                  </a:cubicBezTo>
                  <a:cubicBezTo>
                    <a:pt x="1100424" y="336130"/>
                    <a:pt x="1100424" y="336130"/>
                    <a:pt x="1102607" y="337679"/>
                  </a:cubicBezTo>
                  <a:cubicBezTo>
                    <a:pt x="1104334" y="338951"/>
                    <a:pt x="1104334" y="338951"/>
                    <a:pt x="1106095" y="340248"/>
                  </a:cubicBezTo>
                  <a:cubicBezTo>
                    <a:pt x="1106095" y="341178"/>
                    <a:pt x="1106095" y="342108"/>
                    <a:pt x="1106095" y="343066"/>
                  </a:cubicBezTo>
                  <a:cubicBezTo>
                    <a:pt x="1107127" y="343183"/>
                    <a:pt x="1108158" y="343299"/>
                    <a:pt x="1109220" y="343419"/>
                  </a:cubicBezTo>
                  <a:cubicBezTo>
                    <a:pt x="1115473" y="344829"/>
                    <a:pt x="1120724" y="347416"/>
                    <a:pt x="1126403" y="350112"/>
                  </a:cubicBezTo>
                  <a:cubicBezTo>
                    <a:pt x="1128207" y="350926"/>
                    <a:pt x="1130012" y="351740"/>
                    <a:pt x="1131871" y="352579"/>
                  </a:cubicBezTo>
                  <a:cubicBezTo>
                    <a:pt x="1133159" y="353160"/>
                    <a:pt x="1134448" y="353741"/>
                    <a:pt x="1135776" y="354340"/>
                  </a:cubicBezTo>
                  <a:cubicBezTo>
                    <a:pt x="1135776" y="355270"/>
                    <a:pt x="1135776" y="356200"/>
                    <a:pt x="1135776" y="357158"/>
                  </a:cubicBezTo>
                  <a:cubicBezTo>
                    <a:pt x="1148107" y="360029"/>
                    <a:pt x="1158679" y="359101"/>
                    <a:pt x="1170143" y="354340"/>
                  </a:cubicBezTo>
                  <a:cubicBezTo>
                    <a:pt x="1172366" y="353468"/>
                    <a:pt x="1172366" y="353468"/>
                    <a:pt x="1174634" y="352579"/>
                  </a:cubicBezTo>
                  <a:cubicBezTo>
                    <a:pt x="1180354" y="349689"/>
                    <a:pt x="1185568" y="346355"/>
                    <a:pt x="1190890" y="342907"/>
                  </a:cubicBezTo>
                  <a:cubicBezTo>
                    <a:pt x="1195169" y="340228"/>
                    <a:pt x="1199557" y="337821"/>
                    <a:pt x="1204021" y="335404"/>
                  </a:cubicBezTo>
                  <a:cubicBezTo>
                    <a:pt x="1211989" y="330886"/>
                    <a:pt x="1217509" y="325766"/>
                    <a:pt x="1223255" y="319110"/>
                  </a:cubicBezTo>
                  <a:cubicBezTo>
                    <a:pt x="1224447" y="317947"/>
                    <a:pt x="1225639" y="316784"/>
                    <a:pt x="1226868" y="315587"/>
                  </a:cubicBezTo>
                  <a:cubicBezTo>
                    <a:pt x="1229855" y="311593"/>
                    <a:pt x="1230852" y="308240"/>
                    <a:pt x="1231859" y="303559"/>
                  </a:cubicBezTo>
                  <a:cubicBezTo>
                    <a:pt x="1232628" y="300790"/>
                    <a:pt x="1232628" y="300790"/>
                    <a:pt x="1234178" y="298059"/>
                  </a:cubicBezTo>
                  <a:cubicBezTo>
                    <a:pt x="1235964" y="294761"/>
                    <a:pt x="1236623" y="291807"/>
                    <a:pt x="1237314" y="288195"/>
                  </a:cubicBezTo>
                  <a:cubicBezTo>
                    <a:pt x="1239360" y="278571"/>
                    <a:pt x="1242414" y="272733"/>
                    <a:pt x="1249811" y="265559"/>
                  </a:cubicBezTo>
                  <a:cubicBezTo>
                    <a:pt x="1250842" y="265559"/>
                    <a:pt x="1251873" y="265559"/>
                    <a:pt x="1252935" y="265559"/>
                  </a:cubicBezTo>
                  <a:cubicBezTo>
                    <a:pt x="1252935" y="264629"/>
                    <a:pt x="1252935" y="263699"/>
                    <a:pt x="1252935" y="262741"/>
                  </a:cubicBezTo>
                  <a:cubicBezTo>
                    <a:pt x="1265591" y="253427"/>
                    <a:pt x="1280762" y="251648"/>
                    <a:pt x="1296675" y="252876"/>
                  </a:cubicBezTo>
                  <a:cubicBezTo>
                    <a:pt x="1300535" y="253563"/>
                    <a:pt x="1303901" y="254478"/>
                    <a:pt x="1307609" y="255695"/>
                  </a:cubicBezTo>
                  <a:cubicBezTo>
                    <a:pt x="1307609" y="256625"/>
                    <a:pt x="1307609" y="257555"/>
                    <a:pt x="1307609" y="258513"/>
                  </a:cubicBezTo>
                  <a:cubicBezTo>
                    <a:pt x="1309021" y="258619"/>
                    <a:pt x="1310432" y="258723"/>
                    <a:pt x="1311887" y="258832"/>
                  </a:cubicBezTo>
                  <a:cubicBezTo>
                    <a:pt x="1319573" y="260476"/>
                    <a:pt x="1322149" y="264416"/>
                    <a:pt x="1326715" y="269969"/>
                  </a:cubicBezTo>
                  <a:cubicBezTo>
                    <a:pt x="1334402" y="281220"/>
                    <a:pt x="1336114" y="294839"/>
                    <a:pt x="1334165" y="307836"/>
                  </a:cubicBezTo>
                  <a:cubicBezTo>
                    <a:pt x="1332176" y="311898"/>
                    <a:pt x="1332176" y="311898"/>
                    <a:pt x="1329479" y="314882"/>
                  </a:cubicBezTo>
                  <a:cubicBezTo>
                    <a:pt x="1327417" y="314882"/>
                    <a:pt x="1325355" y="314882"/>
                    <a:pt x="1323231" y="314882"/>
                  </a:cubicBezTo>
                  <a:cubicBezTo>
                    <a:pt x="1323231" y="315812"/>
                    <a:pt x="1323231" y="316742"/>
                    <a:pt x="1323231" y="317700"/>
                  </a:cubicBezTo>
                  <a:lnTo>
                    <a:pt x="1322774" y="317838"/>
                  </a:lnTo>
                  <a:lnTo>
                    <a:pt x="1323295" y="317838"/>
                  </a:lnTo>
                  <a:cubicBezTo>
                    <a:pt x="1323295" y="316907"/>
                    <a:pt x="1323295" y="315977"/>
                    <a:pt x="1323295" y="315019"/>
                  </a:cubicBezTo>
                  <a:cubicBezTo>
                    <a:pt x="1324842" y="315019"/>
                    <a:pt x="1326388" y="315019"/>
                    <a:pt x="1327982" y="315019"/>
                  </a:cubicBezTo>
                  <a:cubicBezTo>
                    <a:pt x="1325845" y="321328"/>
                    <a:pt x="1322753" y="323742"/>
                    <a:pt x="1317047" y="327702"/>
                  </a:cubicBezTo>
                  <a:cubicBezTo>
                    <a:pt x="1316531" y="329097"/>
                    <a:pt x="1316016" y="330492"/>
                    <a:pt x="1315484" y="331930"/>
                  </a:cubicBezTo>
                  <a:cubicBezTo>
                    <a:pt x="1312599" y="332959"/>
                    <a:pt x="1312599" y="332959"/>
                    <a:pt x="1309139" y="333603"/>
                  </a:cubicBezTo>
                  <a:cubicBezTo>
                    <a:pt x="1307993" y="333827"/>
                    <a:pt x="1306847" y="334050"/>
                    <a:pt x="1305666" y="334280"/>
                  </a:cubicBezTo>
                  <a:cubicBezTo>
                    <a:pt x="1304783" y="334434"/>
                    <a:pt x="1303899" y="334589"/>
                    <a:pt x="1302988" y="334748"/>
                  </a:cubicBezTo>
                  <a:lnTo>
                    <a:pt x="1305905" y="332775"/>
                  </a:lnTo>
                  <a:lnTo>
                    <a:pt x="1304485" y="333202"/>
                  </a:lnTo>
                  <a:cubicBezTo>
                    <a:pt x="1302987" y="334640"/>
                    <a:pt x="1302987" y="334640"/>
                    <a:pt x="1301459" y="336108"/>
                  </a:cubicBezTo>
                  <a:cubicBezTo>
                    <a:pt x="1298237" y="338839"/>
                    <a:pt x="1298237" y="338839"/>
                    <a:pt x="1291989" y="338839"/>
                  </a:cubicBezTo>
                  <a:cubicBezTo>
                    <a:pt x="1291473" y="340234"/>
                    <a:pt x="1290957" y="341629"/>
                    <a:pt x="1290426" y="343066"/>
                  </a:cubicBezTo>
                  <a:cubicBezTo>
                    <a:pt x="1288879" y="343415"/>
                    <a:pt x="1287333" y="343764"/>
                    <a:pt x="1285740" y="344123"/>
                  </a:cubicBezTo>
                  <a:cubicBezTo>
                    <a:pt x="1266905" y="348491"/>
                    <a:pt x="1249005" y="369098"/>
                    <a:pt x="1237314" y="382525"/>
                  </a:cubicBezTo>
                  <a:cubicBezTo>
                    <a:pt x="1235678" y="385783"/>
                    <a:pt x="1234122" y="389075"/>
                    <a:pt x="1232628" y="392389"/>
                  </a:cubicBezTo>
                  <a:cubicBezTo>
                    <a:pt x="1231317" y="394515"/>
                    <a:pt x="1229981" y="396629"/>
                    <a:pt x="1228625" y="398731"/>
                  </a:cubicBezTo>
                  <a:cubicBezTo>
                    <a:pt x="1221457" y="410300"/>
                    <a:pt x="1219465" y="421836"/>
                    <a:pt x="1222822" y="434798"/>
                  </a:cubicBezTo>
                  <a:cubicBezTo>
                    <a:pt x="1229360" y="453710"/>
                    <a:pt x="1244088" y="472467"/>
                    <a:pt x="1260746" y="485398"/>
                  </a:cubicBezTo>
                  <a:cubicBezTo>
                    <a:pt x="1264961" y="487349"/>
                    <a:pt x="1264961" y="487349"/>
                    <a:pt x="1268556" y="488216"/>
                  </a:cubicBezTo>
                  <a:cubicBezTo>
                    <a:pt x="1268556" y="489146"/>
                    <a:pt x="1268556" y="490076"/>
                    <a:pt x="1268556" y="491034"/>
                  </a:cubicBezTo>
                  <a:cubicBezTo>
                    <a:pt x="1288790" y="497071"/>
                    <a:pt x="1319055" y="498555"/>
                    <a:pt x="1338852" y="489625"/>
                  </a:cubicBezTo>
                  <a:cubicBezTo>
                    <a:pt x="1341711" y="489213"/>
                    <a:pt x="1344575" y="488837"/>
                    <a:pt x="1347444" y="488480"/>
                  </a:cubicBezTo>
                  <a:cubicBezTo>
                    <a:pt x="1355372" y="487345"/>
                    <a:pt x="1362033" y="485390"/>
                    <a:pt x="1369362" y="482513"/>
                  </a:cubicBezTo>
                  <a:cubicBezTo>
                    <a:pt x="1375665" y="480318"/>
                    <a:pt x="1382189" y="479322"/>
                    <a:pt x="1388840" y="478351"/>
                  </a:cubicBezTo>
                  <a:cubicBezTo>
                    <a:pt x="1388840" y="477421"/>
                    <a:pt x="1388840" y="476492"/>
                    <a:pt x="1388840" y="475533"/>
                  </a:cubicBezTo>
                  <a:cubicBezTo>
                    <a:pt x="1391083" y="474821"/>
                    <a:pt x="1393329" y="474118"/>
                    <a:pt x="1395576" y="473419"/>
                  </a:cubicBezTo>
                  <a:cubicBezTo>
                    <a:pt x="1396827" y="473027"/>
                    <a:pt x="1398077" y="472635"/>
                    <a:pt x="1399365" y="472230"/>
                  </a:cubicBezTo>
                  <a:cubicBezTo>
                    <a:pt x="1402899" y="471305"/>
                    <a:pt x="1402899" y="471305"/>
                    <a:pt x="1407585" y="471305"/>
                  </a:cubicBezTo>
                  <a:cubicBezTo>
                    <a:pt x="1408101" y="469910"/>
                    <a:pt x="1408616" y="468515"/>
                    <a:pt x="1409147" y="467078"/>
                  </a:cubicBezTo>
                  <a:cubicBezTo>
                    <a:pt x="1412388" y="465580"/>
                    <a:pt x="1412388" y="465580"/>
                    <a:pt x="1416470" y="464259"/>
                  </a:cubicBezTo>
                  <a:cubicBezTo>
                    <a:pt x="1424029" y="461705"/>
                    <a:pt x="1431130" y="458955"/>
                    <a:pt x="1437949" y="455011"/>
                  </a:cubicBezTo>
                  <a:cubicBezTo>
                    <a:pt x="1442765" y="452574"/>
                    <a:pt x="1447553" y="451394"/>
                    <a:pt x="1452887" y="450167"/>
                  </a:cubicBezTo>
                  <a:cubicBezTo>
                    <a:pt x="1452887" y="449237"/>
                    <a:pt x="1452887" y="448307"/>
                    <a:pt x="1452887" y="447349"/>
                  </a:cubicBezTo>
                  <a:cubicBezTo>
                    <a:pt x="1453714" y="446944"/>
                    <a:pt x="1454541" y="446539"/>
                    <a:pt x="1455394" y="446122"/>
                  </a:cubicBezTo>
                  <a:cubicBezTo>
                    <a:pt x="1459151" y="444278"/>
                    <a:pt x="1462902" y="442422"/>
                    <a:pt x="1466653" y="440567"/>
                  </a:cubicBezTo>
                  <a:cubicBezTo>
                    <a:pt x="1467955" y="439930"/>
                    <a:pt x="1469256" y="439293"/>
                    <a:pt x="1470598" y="438637"/>
                  </a:cubicBezTo>
                  <a:cubicBezTo>
                    <a:pt x="1471852" y="438016"/>
                    <a:pt x="1473105" y="437393"/>
                    <a:pt x="1474397" y="436752"/>
                  </a:cubicBezTo>
                  <a:cubicBezTo>
                    <a:pt x="1475550" y="436184"/>
                    <a:pt x="1476703" y="435616"/>
                    <a:pt x="1477892" y="435030"/>
                  </a:cubicBezTo>
                  <a:cubicBezTo>
                    <a:pt x="1480966" y="433279"/>
                    <a:pt x="1483173" y="431373"/>
                    <a:pt x="1485691" y="429029"/>
                  </a:cubicBezTo>
                  <a:cubicBezTo>
                    <a:pt x="1486737" y="428575"/>
                    <a:pt x="1487781" y="428121"/>
                    <a:pt x="1488858" y="427653"/>
                  </a:cubicBezTo>
                  <a:cubicBezTo>
                    <a:pt x="1492438" y="425977"/>
                    <a:pt x="1493705" y="424453"/>
                    <a:pt x="1495943" y="421454"/>
                  </a:cubicBezTo>
                  <a:cubicBezTo>
                    <a:pt x="1507114" y="407544"/>
                    <a:pt x="1519758" y="393513"/>
                    <a:pt x="1538608" y="388338"/>
                  </a:cubicBezTo>
                  <a:cubicBezTo>
                    <a:pt x="1541025" y="388250"/>
                    <a:pt x="1541025" y="388250"/>
                    <a:pt x="1543490" y="388161"/>
                  </a:cubicBezTo>
                  <a:cubicBezTo>
                    <a:pt x="1545535" y="387984"/>
                    <a:pt x="1545535" y="387984"/>
                    <a:pt x="1547621" y="387804"/>
                  </a:cubicBezTo>
                  <a:cubicBezTo>
                    <a:pt x="1560659" y="387094"/>
                    <a:pt x="1568716" y="390117"/>
                    <a:pt x="1579418" y="396617"/>
                  </a:cubicBezTo>
                  <a:cubicBezTo>
                    <a:pt x="1581361" y="397687"/>
                    <a:pt x="1581361" y="397687"/>
                    <a:pt x="1583342" y="398780"/>
                  </a:cubicBezTo>
                  <a:cubicBezTo>
                    <a:pt x="1593703" y="405068"/>
                    <a:pt x="1598513" y="412459"/>
                    <a:pt x="1601288" y="423392"/>
                  </a:cubicBezTo>
                  <a:cubicBezTo>
                    <a:pt x="1603295" y="436596"/>
                    <a:pt x="1603517" y="449033"/>
                    <a:pt x="1594484" y="460159"/>
                  </a:cubicBezTo>
                  <a:cubicBezTo>
                    <a:pt x="1588468" y="466462"/>
                    <a:pt x="1582607" y="471150"/>
                    <a:pt x="1574732" y="475533"/>
                  </a:cubicBezTo>
                  <a:cubicBezTo>
                    <a:pt x="1573862" y="476043"/>
                    <a:pt x="1572993" y="476553"/>
                    <a:pt x="1572097" y="477078"/>
                  </a:cubicBezTo>
                  <a:cubicBezTo>
                    <a:pt x="1566828" y="478935"/>
                    <a:pt x="1561641" y="478744"/>
                    <a:pt x="1556066" y="478737"/>
                  </a:cubicBezTo>
                  <a:cubicBezTo>
                    <a:pt x="1553587" y="478765"/>
                    <a:pt x="1551109" y="478795"/>
                    <a:pt x="1548631" y="478825"/>
                  </a:cubicBezTo>
                  <a:cubicBezTo>
                    <a:pt x="1544751" y="478857"/>
                    <a:pt x="1540871" y="478880"/>
                    <a:pt x="1536991" y="478889"/>
                  </a:cubicBezTo>
                  <a:cubicBezTo>
                    <a:pt x="1516714" y="478693"/>
                    <a:pt x="1516714" y="478693"/>
                    <a:pt x="1498188" y="485398"/>
                  </a:cubicBezTo>
                  <a:cubicBezTo>
                    <a:pt x="1496062" y="486488"/>
                    <a:pt x="1496062" y="486488"/>
                    <a:pt x="1493892" y="487600"/>
                  </a:cubicBezTo>
                  <a:cubicBezTo>
                    <a:pt x="1492733" y="488268"/>
                    <a:pt x="1491573" y="488937"/>
                    <a:pt x="1490377" y="489625"/>
                  </a:cubicBezTo>
                  <a:cubicBezTo>
                    <a:pt x="1484304" y="493012"/>
                    <a:pt x="1478212" y="495675"/>
                    <a:pt x="1471650" y="498185"/>
                  </a:cubicBezTo>
                  <a:cubicBezTo>
                    <a:pt x="1467148" y="500054"/>
                    <a:pt x="1463242" y="502632"/>
                    <a:pt x="1459135" y="505127"/>
                  </a:cubicBezTo>
                  <a:cubicBezTo>
                    <a:pt x="1456968" y="506120"/>
                    <a:pt x="1454786" y="507086"/>
                    <a:pt x="1452594" y="508033"/>
                  </a:cubicBezTo>
                  <a:cubicBezTo>
                    <a:pt x="1444148" y="511772"/>
                    <a:pt x="1435969" y="515903"/>
                    <a:pt x="1427795" y="520100"/>
                  </a:cubicBezTo>
                  <a:cubicBezTo>
                    <a:pt x="1425784" y="521114"/>
                    <a:pt x="1425784" y="521114"/>
                    <a:pt x="1423733" y="522148"/>
                  </a:cubicBezTo>
                  <a:cubicBezTo>
                    <a:pt x="1422478" y="522798"/>
                    <a:pt x="1421223" y="523449"/>
                    <a:pt x="1419929" y="524118"/>
                  </a:cubicBezTo>
                  <a:cubicBezTo>
                    <a:pt x="1418794" y="524701"/>
                    <a:pt x="1417658" y="525283"/>
                    <a:pt x="1416487" y="525883"/>
                  </a:cubicBezTo>
                  <a:cubicBezTo>
                    <a:pt x="1413349" y="527646"/>
                    <a:pt x="1413349" y="527646"/>
                    <a:pt x="1412271" y="531902"/>
                  </a:cubicBezTo>
                  <a:cubicBezTo>
                    <a:pt x="1407205" y="535203"/>
                    <a:pt x="1402819" y="536744"/>
                    <a:pt x="1396650" y="537539"/>
                  </a:cubicBezTo>
                  <a:cubicBezTo>
                    <a:pt x="1396650" y="538469"/>
                    <a:pt x="1396650" y="539399"/>
                    <a:pt x="1396650" y="540357"/>
                  </a:cubicBezTo>
                  <a:cubicBezTo>
                    <a:pt x="1395609" y="540735"/>
                    <a:pt x="1394568" y="541113"/>
                    <a:pt x="1393495" y="541502"/>
                  </a:cubicBezTo>
                  <a:cubicBezTo>
                    <a:pt x="1381840" y="545973"/>
                    <a:pt x="1372279" y="551715"/>
                    <a:pt x="1362284" y="558678"/>
                  </a:cubicBezTo>
                  <a:cubicBezTo>
                    <a:pt x="1360170" y="560088"/>
                    <a:pt x="1358055" y="561497"/>
                    <a:pt x="1355937" y="562905"/>
                  </a:cubicBezTo>
                  <a:cubicBezTo>
                    <a:pt x="1348556" y="567937"/>
                    <a:pt x="1341292" y="573085"/>
                    <a:pt x="1334165" y="578406"/>
                  </a:cubicBezTo>
                  <a:cubicBezTo>
                    <a:pt x="1332697" y="579472"/>
                    <a:pt x="1332697" y="579472"/>
                    <a:pt x="1331200" y="580559"/>
                  </a:cubicBezTo>
                  <a:cubicBezTo>
                    <a:pt x="1325067" y="585430"/>
                    <a:pt x="1323406" y="589771"/>
                    <a:pt x="1322175" y="596793"/>
                  </a:cubicBezTo>
                  <a:cubicBezTo>
                    <a:pt x="1321669" y="599545"/>
                    <a:pt x="1321669" y="599545"/>
                    <a:pt x="1320106" y="602363"/>
                  </a:cubicBezTo>
                  <a:cubicBezTo>
                    <a:pt x="1318419" y="618189"/>
                    <a:pt x="1322416" y="632767"/>
                    <a:pt x="1328015" y="647640"/>
                  </a:cubicBezTo>
                  <a:cubicBezTo>
                    <a:pt x="1331267" y="656625"/>
                    <a:pt x="1333170" y="666179"/>
                    <a:pt x="1332604" y="675643"/>
                  </a:cubicBezTo>
                  <a:cubicBezTo>
                    <a:pt x="1333634" y="675643"/>
                    <a:pt x="1334665" y="675643"/>
                    <a:pt x="1335727" y="675643"/>
                  </a:cubicBezTo>
                  <a:cubicBezTo>
                    <a:pt x="1337571" y="680632"/>
                    <a:pt x="1337591" y="684795"/>
                    <a:pt x="1337741" y="690059"/>
                  </a:cubicBezTo>
                  <a:cubicBezTo>
                    <a:pt x="1337826" y="692114"/>
                    <a:pt x="1337913" y="694168"/>
                    <a:pt x="1338003" y="696222"/>
                  </a:cubicBezTo>
                  <a:cubicBezTo>
                    <a:pt x="1338142" y="699444"/>
                    <a:pt x="1338266" y="702664"/>
                    <a:pt x="1338340" y="705887"/>
                  </a:cubicBezTo>
                  <a:cubicBezTo>
                    <a:pt x="1338372" y="720474"/>
                    <a:pt x="1338372" y="720474"/>
                    <a:pt x="1345277" y="733245"/>
                  </a:cubicBezTo>
                  <a:cubicBezTo>
                    <a:pt x="1350822" y="737861"/>
                    <a:pt x="1355921" y="739823"/>
                    <a:pt x="1363162" y="741612"/>
                  </a:cubicBezTo>
                  <a:cubicBezTo>
                    <a:pt x="1370672" y="743533"/>
                    <a:pt x="1377197" y="745750"/>
                    <a:pt x="1384154" y="748922"/>
                  </a:cubicBezTo>
                  <a:cubicBezTo>
                    <a:pt x="1387833" y="749898"/>
                    <a:pt x="1387833" y="749898"/>
                    <a:pt x="1391476" y="750419"/>
                  </a:cubicBezTo>
                  <a:cubicBezTo>
                    <a:pt x="1393499" y="750747"/>
                    <a:pt x="1393499" y="750747"/>
                    <a:pt x="1395564" y="751080"/>
                  </a:cubicBezTo>
                  <a:cubicBezTo>
                    <a:pt x="1397648" y="751407"/>
                    <a:pt x="1397648" y="751407"/>
                    <a:pt x="1399775" y="751740"/>
                  </a:cubicBezTo>
                  <a:cubicBezTo>
                    <a:pt x="1401810" y="752111"/>
                    <a:pt x="1401810" y="752111"/>
                    <a:pt x="1403887" y="752489"/>
                  </a:cubicBezTo>
                  <a:cubicBezTo>
                    <a:pt x="1424247" y="756131"/>
                    <a:pt x="1444708" y="756350"/>
                    <a:pt x="1465383" y="755969"/>
                  </a:cubicBezTo>
                  <a:cubicBezTo>
                    <a:pt x="1467019" y="755945"/>
                    <a:pt x="1468654" y="755921"/>
                    <a:pt x="1470339" y="755897"/>
                  </a:cubicBezTo>
                  <a:cubicBezTo>
                    <a:pt x="1480128" y="755450"/>
                    <a:pt x="1487899" y="752933"/>
                    <a:pt x="1496809" y="749313"/>
                  </a:cubicBezTo>
                  <a:cubicBezTo>
                    <a:pt x="1502876" y="746888"/>
                    <a:pt x="1509049" y="745091"/>
                    <a:pt x="1515371" y="743285"/>
                  </a:cubicBezTo>
                  <a:cubicBezTo>
                    <a:pt x="1515371" y="742356"/>
                    <a:pt x="1515371" y="741425"/>
                    <a:pt x="1515371" y="740467"/>
                  </a:cubicBezTo>
                  <a:cubicBezTo>
                    <a:pt x="1522710" y="737103"/>
                    <a:pt x="1529583" y="737106"/>
                    <a:pt x="1537632" y="737120"/>
                  </a:cubicBezTo>
                  <a:cubicBezTo>
                    <a:pt x="1538960" y="737122"/>
                    <a:pt x="1540289" y="737124"/>
                    <a:pt x="1541657" y="737127"/>
                  </a:cubicBezTo>
                  <a:cubicBezTo>
                    <a:pt x="1555502" y="737372"/>
                    <a:pt x="1564314" y="740697"/>
                    <a:pt x="1574732" y="748922"/>
                  </a:cubicBezTo>
                  <a:cubicBezTo>
                    <a:pt x="1586507" y="762822"/>
                    <a:pt x="1590347" y="775219"/>
                    <a:pt x="1588791" y="792608"/>
                  </a:cubicBezTo>
                  <a:cubicBezTo>
                    <a:pt x="1587728" y="797050"/>
                    <a:pt x="1586468" y="801261"/>
                    <a:pt x="1584105" y="805291"/>
                  </a:cubicBezTo>
                  <a:cubicBezTo>
                    <a:pt x="1583074" y="805756"/>
                    <a:pt x="1582043" y="806221"/>
                    <a:pt x="1580981" y="806700"/>
                  </a:cubicBezTo>
                  <a:cubicBezTo>
                    <a:pt x="1580240" y="807892"/>
                    <a:pt x="1579499" y="809083"/>
                    <a:pt x="1578735" y="810311"/>
                  </a:cubicBezTo>
                  <a:cubicBezTo>
                    <a:pt x="1577930" y="811445"/>
                    <a:pt x="1577124" y="812579"/>
                    <a:pt x="1576295" y="813746"/>
                  </a:cubicBezTo>
                  <a:lnTo>
                    <a:pt x="1571652" y="813746"/>
                  </a:lnTo>
                  <a:lnTo>
                    <a:pt x="1571785" y="814106"/>
                  </a:lnTo>
                  <a:cubicBezTo>
                    <a:pt x="1572816" y="814571"/>
                    <a:pt x="1573846" y="815036"/>
                    <a:pt x="1574909" y="815515"/>
                  </a:cubicBezTo>
                  <a:cubicBezTo>
                    <a:pt x="1572126" y="818758"/>
                    <a:pt x="1569968" y="820871"/>
                    <a:pt x="1565463" y="821839"/>
                  </a:cubicBezTo>
                  <a:lnTo>
                    <a:pt x="1562085" y="822101"/>
                  </a:lnTo>
                  <a:lnTo>
                    <a:pt x="1551301" y="825020"/>
                  </a:lnTo>
                  <a:cubicBezTo>
                    <a:pt x="1551301" y="825950"/>
                    <a:pt x="1551301" y="826880"/>
                    <a:pt x="1551301" y="827838"/>
                  </a:cubicBezTo>
                  <a:cubicBezTo>
                    <a:pt x="1526697" y="828735"/>
                    <a:pt x="1507496" y="825036"/>
                    <a:pt x="1485380" y="815007"/>
                  </a:cubicBezTo>
                  <a:cubicBezTo>
                    <a:pt x="1468723" y="807743"/>
                    <a:pt x="1449749" y="809144"/>
                    <a:pt x="1431603" y="808726"/>
                  </a:cubicBezTo>
                  <a:cubicBezTo>
                    <a:pt x="1429115" y="808665"/>
                    <a:pt x="1426627" y="808604"/>
                    <a:pt x="1424140" y="808542"/>
                  </a:cubicBezTo>
                  <a:cubicBezTo>
                    <a:pt x="1418101" y="808392"/>
                    <a:pt x="1412062" y="808249"/>
                    <a:pt x="1406023" y="808109"/>
                  </a:cubicBezTo>
                  <a:cubicBezTo>
                    <a:pt x="1406023" y="809040"/>
                    <a:pt x="1406023" y="809970"/>
                    <a:pt x="1406023" y="810928"/>
                  </a:cubicBezTo>
                  <a:cubicBezTo>
                    <a:pt x="1404716" y="811118"/>
                    <a:pt x="1404716" y="811118"/>
                    <a:pt x="1403383" y="811311"/>
                  </a:cubicBezTo>
                  <a:cubicBezTo>
                    <a:pt x="1372054" y="815110"/>
                    <a:pt x="1372054" y="815110"/>
                    <a:pt x="1345442" y="828907"/>
                  </a:cubicBezTo>
                  <a:cubicBezTo>
                    <a:pt x="1338843" y="837605"/>
                    <a:pt x="1338313" y="846434"/>
                    <a:pt x="1337875" y="856639"/>
                  </a:cubicBezTo>
                  <a:cubicBezTo>
                    <a:pt x="1337815" y="857805"/>
                    <a:pt x="1337754" y="858970"/>
                    <a:pt x="1337692" y="860171"/>
                  </a:cubicBezTo>
                  <a:cubicBezTo>
                    <a:pt x="1337547" y="863016"/>
                    <a:pt x="1337417" y="865861"/>
                    <a:pt x="1337290" y="868706"/>
                  </a:cubicBezTo>
                  <a:cubicBezTo>
                    <a:pt x="1336258" y="868706"/>
                    <a:pt x="1335228" y="868706"/>
                    <a:pt x="1334165" y="868706"/>
                  </a:cubicBezTo>
                  <a:lnTo>
                    <a:pt x="1334165" y="870034"/>
                  </a:lnTo>
                  <a:lnTo>
                    <a:pt x="1334237" y="869093"/>
                  </a:lnTo>
                  <a:cubicBezTo>
                    <a:pt x="1334753" y="869093"/>
                    <a:pt x="1335268" y="869093"/>
                    <a:pt x="1335800" y="869093"/>
                  </a:cubicBezTo>
                  <a:cubicBezTo>
                    <a:pt x="1335884" y="871559"/>
                    <a:pt x="1335944" y="874025"/>
                    <a:pt x="1335995" y="876491"/>
                  </a:cubicBezTo>
                  <a:cubicBezTo>
                    <a:pt x="1336030" y="877865"/>
                    <a:pt x="1336067" y="879238"/>
                    <a:pt x="1336105" y="880653"/>
                  </a:cubicBezTo>
                  <a:cubicBezTo>
                    <a:pt x="1335800" y="884594"/>
                    <a:pt x="1335800" y="884594"/>
                    <a:pt x="1334294" y="887271"/>
                  </a:cubicBezTo>
                  <a:cubicBezTo>
                    <a:pt x="1332567" y="890428"/>
                    <a:pt x="1331982" y="892964"/>
                    <a:pt x="1331455" y="896440"/>
                  </a:cubicBezTo>
                  <a:cubicBezTo>
                    <a:pt x="1331267" y="897605"/>
                    <a:pt x="1331080" y="898769"/>
                    <a:pt x="1330887" y="899969"/>
                  </a:cubicBezTo>
                  <a:cubicBezTo>
                    <a:pt x="1330704" y="901174"/>
                    <a:pt x="1330521" y="902378"/>
                    <a:pt x="1330332" y="903618"/>
                  </a:cubicBezTo>
                  <a:cubicBezTo>
                    <a:pt x="1329968" y="906013"/>
                    <a:pt x="1329594" y="908405"/>
                    <a:pt x="1329209" y="910797"/>
                  </a:cubicBezTo>
                  <a:cubicBezTo>
                    <a:pt x="1329049" y="911853"/>
                    <a:pt x="1328889" y="912910"/>
                    <a:pt x="1328724" y="913998"/>
                  </a:cubicBezTo>
                  <a:cubicBezTo>
                    <a:pt x="1327933" y="917233"/>
                    <a:pt x="1326525" y="919703"/>
                    <a:pt x="1324865" y="922643"/>
                  </a:cubicBezTo>
                  <a:cubicBezTo>
                    <a:pt x="1323924" y="927743"/>
                    <a:pt x="1323282" y="932845"/>
                    <a:pt x="1322619" y="937979"/>
                  </a:cubicBezTo>
                  <a:lnTo>
                    <a:pt x="1318744" y="944961"/>
                  </a:lnTo>
                  <a:lnTo>
                    <a:pt x="1318544" y="946213"/>
                  </a:lnTo>
                  <a:cubicBezTo>
                    <a:pt x="1318360" y="949234"/>
                    <a:pt x="1318271" y="952260"/>
                    <a:pt x="1318251" y="955285"/>
                  </a:cubicBezTo>
                  <a:cubicBezTo>
                    <a:pt x="1318218" y="957637"/>
                    <a:pt x="1318218" y="957637"/>
                    <a:pt x="1318184" y="960036"/>
                  </a:cubicBezTo>
                  <a:cubicBezTo>
                    <a:pt x="1318624" y="965530"/>
                    <a:pt x="1319569" y="969724"/>
                    <a:pt x="1324024" y="973660"/>
                  </a:cubicBezTo>
                  <a:cubicBezTo>
                    <a:pt x="1327197" y="976583"/>
                    <a:pt x="1327950" y="979494"/>
                    <a:pt x="1329284" y="983382"/>
                  </a:cubicBezTo>
                  <a:cubicBezTo>
                    <a:pt x="1331875" y="990106"/>
                    <a:pt x="1334445" y="993582"/>
                    <a:pt x="1340414" y="998354"/>
                  </a:cubicBezTo>
                  <a:cubicBezTo>
                    <a:pt x="1342397" y="1000564"/>
                    <a:pt x="1344347" y="1002798"/>
                    <a:pt x="1346272" y="1005048"/>
                  </a:cubicBezTo>
                  <a:cubicBezTo>
                    <a:pt x="1360055" y="1020713"/>
                    <a:pt x="1376247" y="1031879"/>
                    <a:pt x="1394716" y="1042740"/>
                  </a:cubicBezTo>
                  <a:cubicBezTo>
                    <a:pt x="1397172" y="1044228"/>
                    <a:pt x="1399581" y="1045779"/>
                    <a:pt x="1401953" y="1047374"/>
                  </a:cubicBezTo>
                  <a:cubicBezTo>
                    <a:pt x="1410065" y="1052802"/>
                    <a:pt x="1417529" y="1056366"/>
                    <a:pt x="1427197" y="1059061"/>
                  </a:cubicBezTo>
                  <a:cubicBezTo>
                    <a:pt x="1431243" y="1060437"/>
                    <a:pt x="1434061" y="1061979"/>
                    <a:pt x="1437265" y="1064588"/>
                  </a:cubicBezTo>
                  <a:cubicBezTo>
                    <a:pt x="1437265" y="1065518"/>
                    <a:pt x="1437265" y="1066448"/>
                    <a:pt x="1437265" y="1067406"/>
                  </a:cubicBezTo>
                  <a:cubicBezTo>
                    <a:pt x="1439053" y="1067624"/>
                    <a:pt x="1439053" y="1067624"/>
                    <a:pt x="1440878" y="1067847"/>
                  </a:cubicBezTo>
                  <a:cubicBezTo>
                    <a:pt x="1445076" y="1068815"/>
                    <a:pt x="1445076" y="1068815"/>
                    <a:pt x="1447175" y="1070753"/>
                  </a:cubicBezTo>
                  <a:cubicBezTo>
                    <a:pt x="1450417" y="1073622"/>
                    <a:pt x="1453781" y="1075060"/>
                    <a:pt x="1457866" y="1076830"/>
                  </a:cubicBezTo>
                  <a:cubicBezTo>
                    <a:pt x="1459274" y="1077446"/>
                    <a:pt x="1460681" y="1078062"/>
                    <a:pt x="1462132" y="1078696"/>
                  </a:cubicBezTo>
                  <a:cubicBezTo>
                    <a:pt x="1463204" y="1079156"/>
                    <a:pt x="1464278" y="1079616"/>
                    <a:pt x="1465383" y="1080089"/>
                  </a:cubicBezTo>
                  <a:cubicBezTo>
                    <a:pt x="1465383" y="1081019"/>
                    <a:pt x="1465383" y="1081949"/>
                    <a:pt x="1465383" y="1082908"/>
                  </a:cubicBezTo>
                  <a:cubicBezTo>
                    <a:pt x="1466497" y="1083260"/>
                    <a:pt x="1467611" y="1083612"/>
                    <a:pt x="1468758" y="1083975"/>
                  </a:cubicBezTo>
                  <a:cubicBezTo>
                    <a:pt x="1473648" y="1085905"/>
                    <a:pt x="1477426" y="1088296"/>
                    <a:pt x="1481688" y="1091187"/>
                  </a:cubicBezTo>
                  <a:cubicBezTo>
                    <a:pt x="1483204" y="1092193"/>
                    <a:pt x="1484721" y="1093200"/>
                    <a:pt x="1486283" y="1094236"/>
                  </a:cubicBezTo>
                  <a:cubicBezTo>
                    <a:pt x="1489170" y="1096185"/>
                    <a:pt x="1492029" y="1098166"/>
                    <a:pt x="1494869" y="1100171"/>
                  </a:cubicBezTo>
                  <a:cubicBezTo>
                    <a:pt x="1510181" y="1107906"/>
                    <a:pt x="1527080" y="1109898"/>
                    <a:pt x="1544335" y="1109518"/>
                  </a:cubicBezTo>
                  <a:cubicBezTo>
                    <a:pt x="1579932" y="1108798"/>
                    <a:pt x="1579932" y="1108798"/>
                    <a:pt x="1593477" y="1119900"/>
                  </a:cubicBezTo>
                  <a:cubicBezTo>
                    <a:pt x="1600636" y="1127255"/>
                    <a:pt x="1604889" y="1135120"/>
                    <a:pt x="1605975" y="1144913"/>
                  </a:cubicBezTo>
                  <a:cubicBezTo>
                    <a:pt x="1607006" y="1144913"/>
                    <a:pt x="1608036" y="1144913"/>
                    <a:pt x="1609099" y="1144913"/>
                  </a:cubicBezTo>
                  <a:cubicBezTo>
                    <a:pt x="1609227" y="1148907"/>
                    <a:pt x="1609319" y="1152897"/>
                    <a:pt x="1609392" y="1156892"/>
                  </a:cubicBezTo>
                  <a:cubicBezTo>
                    <a:pt x="1609451" y="1158565"/>
                    <a:pt x="1609451" y="1158565"/>
                    <a:pt x="1609511" y="1160272"/>
                  </a:cubicBezTo>
                  <a:cubicBezTo>
                    <a:pt x="1609621" y="1168378"/>
                    <a:pt x="1607970" y="1174108"/>
                    <a:pt x="1604412" y="1181553"/>
                  </a:cubicBezTo>
                  <a:cubicBezTo>
                    <a:pt x="1603354" y="1184367"/>
                    <a:pt x="1602306" y="1187183"/>
                    <a:pt x="1601288" y="1190009"/>
                  </a:cubicBezTo>
                  <a:cubicBezTo>
                    <a:pt x="1600257" y="1190009"/>
                    <a:pt x="1599226" y="1190009"/>
                    <a:pt x="1598164" y="1190009"/>
                  </a:cubicBezTo>
                  <a:cubicBezTo>
                    <a:pt x="1597842" y="1190910"/>
                    <a:pt x="1597520" y="1191810"/>
                    <a:pt x="1597187" y="1192739"/>
                  </a:cubicBezTo>
                  <a:cubicBezTo>
                    <a:pt x="1596479" y="1193698"/>
                    <a:pt x="1595770" y="1194657"/>
                    <a:pt x="1595040" y="1195645"/>
                  </a:cubicBezTo>
                  <a:cubicBezTo>
                    <a:pt x="1591916" y="1196115"/>
                    <a:pt x="1588791" y="1196585"/>
                    <a:pt x="1585667" y="1197055"/>
                  </a:cubicBezTo>
                  <a:cubicBezTo>
                    <a:pt x="1583871" y="1199826"/>
                    <a:pt x="1583871" y="1199826"/>
                    <a:pt x="1582543" y="1202691"/>
                  </a:cubicBezTo>
                  <a:cubicBezTo>
                    <a:pt x="1575997" y="1204710"/>
                    <a:pt x="1569266" y="1204360"/>
                    <a:pt x="1562431" y="1204365"/>
                  </a:cubicBezTo>
                  <a:cubicBezTo>
                    <a:pt x="1561196" y="1204382"/>
                    <a:pt x="1559962" y="1204399"/>
                    <a:pt x="1558690" y="1204417"/>
                  </a:cubicBezTo>
                  <a:cubicBezTo>
                    <a:pt x="1543339" y="1204452"/>
                    <a:pt x="1531981" y="1199267"/>
                    <a:pt x="1521102" y="1189585"/>
                  </a:cubicBezTo>
                  <a:cubicBezTo>
                    <a:pt x="1515403" y="1183953"/>
                    <a:pt x="1510116" y="1178123"/>
                    <a:pt x="1505022" y="1172041"/>
                  </a:cubicBezTo>
                  <a:cubicBezTo>
                    <a:pt x="1493200" y="1158177"/>
                    <a:pt x="1475492" y="1147115"/>
                    <a:pt x="1457573" y="1140686"/>
                  </a:cubicBezTo>
                  <a:cubicBezTo>
                    <a:pt x="1457573" y="1139755"/>
                    <a:pt x="1457573" y="1138826"/>
                    <a:pt x="1457573" y="1137867"/>
                  </a:cubicBezTo>
                  <a:cubicBezTo>
                    <a:pt x="1456059" y="1137693"/>
                    <a:pt x="1454544" y="1137518"/>
                    <a:pt x="1452985" y="1137339"/>
                  </a:cubicBezTo>
                  <a:cubicBezTo>
                    <a:pt x="1451406" y="1137048"/>
                    <a:pt x="1449827" y="1136758"/>
                    <a:pt x="1448200" y="1136458"/>
                  </a:cubicBezTo>
                  <a:cubicBezTo>
                    <a:pt x="1447685" y="1135528"/>
                    <a:pt x="1447169" y="1134598"/>
                    <a:pt x="1446638" y="1133640"/>
                  </a:cubicBezTo>
                  <a:cubicBezTo>
                    <a:pt x="1444091" y="1132586"/>
                    <a:pt x="1441535" y="1131550"/>
                    <a:pt x="1438937" y="1130601"/>
                  </a:cubicBezTo>
                  <a:cubicBezTo>
                    <a:pt x="1435668" y="1129399"/>
                    <a:pt x="1432469" y="1128095"/>
                    <a:pt x="1429260" y="1126770"/>
                  </a:cubicBezTo>
                  <a:cubicBezTo>
                    <a:pt x="1423389" y="1124389"/>
                    <a:pt x="1417431" y="1122349"/>
                    <a:pt x="1411393" y="1120340"/>
                  </a:cubicBezTo>
                  <a:cubicBezTo>
                    <a:pt x="1404143" y="1117867"/>
                    <a:pt x="1397842" y="1115090"/>
                    <a:pt x="1391427" y="1111191"/>
                  </a:cubicBezTo>
                  <a:cubicBezTo>
                    <a:pt x="1388139" y="1109274"/>
                    <a:pt x="1384723" y="1108010"/>
                    <a:pt x="1381029" y="1106865"/>
                  </a:cubicBezTo>
                  <a:cubicBezTo>
                    <a:pt x="1381029" y="1105934"/>
                    <a:pt x="1381029" y="1105004"/>
                    <a:pt x="1381029" y="1104046"/>
                  </a:cubicBezTo>
                  <a:cubicBezTo>
                    <a:pt x="1379773" y="1103901"/>
                    <a:pt x="1378516" y="1103755"/>
                    <a:pt x="1377221" y="1103605"/>
                  </a:cubicBezTo>
                  <a:cubicBezTo>
                    <a:pt x="1370425" y="1102422"/>
                    <a:pt x="1364120" y="1100465"/>
                    <a:pt x="1357597" y="1098409"/>
                  </a:cubicBezTo>
                  <a:cubicBezTo>
                    <a:pt x="1355761" y="1097857"/>
                    <a:pt x="1353924" y="1097304"/>
                    <a:pt x="1352032" y="1096736"/>
                  </a:cubicBezTo>
                  <a:cubicBezTo>
                    <a:pt x="1350776" y="1096358"/>
                    <a:pt x="1349519" y="1095980"/>
                    <a:pt x="1348225" y="1095590"/>
                  </a:cubicBezTo>
                  <a:cubicBezTo>
                    <a:pt x="1348225" y="1094661"/>
                    <a:pt x="1348225" y="1093730"/>
                    <a:pt x="1348225" y="1092772"/>
                  </a:cubicBezTo>
                  <a:cubicBezTo>
                    <a:pt x="1344616" y="1092307"/>
                    <a:pt x="1341007" y="1091842"/>
                    <a:pt x="1337290" y="1091363"/>
                  </a:cubicBezTo>
                  <a:cubicBezTo>
                    <a:pt x="1337290" y="1090433"/>
                    <a:pt x="1337290" y="1089503"/>
                    <a:pt x="1337290" y="1088544"/>
                  </a:cubicBezTo>
                  <a:cubicBezTo>
                    <a:pt x="1334438" y="1088327"/>
                    <a:pt x="1334438" y="1088327"/>
                    <a:pt x="1331529" y="1088104"/>
                  </a:cubicBezTo>
                  <a:lnTo>
                    <a:pt x="1323297" y="1086611"/>
                  </a:lnTo>
                  <a:lnTo>
                    <a:pt x="1323297" y="1087618"/>
                  </a:lnTo>
                  <a:cubicBezTo>
                    <a:pt x="1322139" y="1087517"/>
                    <a:pt x="1320982" y="1087415"/>
                    <a:pt x="1319789" y="1087310"/>
                  </a:cubicBezTo>
                  <a:cubicBezTo>
                    <a:pt x="1300429" y="1085771"/>
                    <a:pt x="1281330" y="1084680"/>
                    <a:pt x="1262375" y="1089028"/>
                  </a:cubicBezTo>
                  <a:lnTo>
                    <a:pt x="1258728" y="1088205"/>
                  </a:lnTo>
                  <a:lnTo>
                    <a:pt x="1246964" y="1091489"/>
                  </a:lnTo>
                  <a:cubicBezTo>
                    <a:pt x="1237239" y="1097222"/>
                    <a:pt x="1228703" y="1103434"/>
                    <a:pt x="1223224" y="1112865"/>
                  </a:cubicBezTo>
                  <a:cubicBezTo>
                    <a:pt x="1220867" y="1116643"/>
                    <a:pt x="1217262" y="1119317"/>
                    <a:pt x="1213883" y="1122366"/>
                  </a:cubicBezTo>
                  <a:cubicBezTo>
                    <a:pt x="1213428" y="1123469"/>
                    <a:pt x="1212973" y="1124572"/>
                    <a:pt x="1212505" y="1125708"/>
                  </a:cubicBezTo>
                  <a:cubicBezTo>
                    <a:pt x="1210449" y="1130067"/>
                    <a:pt x="1207984" y="1132315"/>
                    <a:pt x="1204180" y="1135561"/>
                  </a:cubicBezTo>
                  <a:cubicBezTo>
                    <a:pt x="1202879" y="1136695"/>
                    <a:pt x="1201578" y="1137829"/>
                    <a:pt x="1200238" y="1138999"/>
                  </a:cubicBezTo>
                  <a:cubicBezTo>
                    <a:pt x="1197504" y="1141343"/>
                    <a:pt x="1194765" y="1143684"/>
                    <a:pt x="1192025" y="1146022"/>
                  </a:cubicBezTo>
                  <a:cubicBezTo>
                    <a:pt x="1181899" y="1154869"/>
                    <a:pt x="1174983" y="1161763"/>
                    <a:pt x="1173945" y="1174749"/>
                  </a:cubicBezTo>
                  <a:cubicBezTo>
                    <a:pt x="1173902" y="1177369"/>
                    <a:pt x="1173905" y="1179990"/>
                    <a:pt x="1173950" y="1182610"/>
                  </a:cubicBezTo>
                  <a:cubicBezTo>
                    <a:pt x="1173963" y="1183981"/>
                    <a:pt x="1173975" y="1185352"/>
                    <a:pt x="1173989" y="1186765"/>
                  </a:cubicBezTo>
                  <a:cubicBezTo>
                    <a:pt x="1174321" y="1197573"/>
                    <a:pt x="1176809" y="1205883"/>
                    <a:pt x="1182640" y="1215374"/>
                  </a:cubicBezTo>
                  <a:cubicBezTo>
                    <a:pt x="1183703" y="1217509"/>
                    <a:pt x="1184746" y="1219652"/>
                    <a:pt x="1185764" y="1221804"/>
                  </a:cubicBezTo>
                  <a:cubicBezTo>
                    <a:pt x="1186271" y="1222812"/>
                    <a:pt x="1186779" y="1223821"/>
                    <a:pt x="1187301" y="1224859"/>
                  </a:cubicBezTo>
                  <a:cubicBezTo>
                    <a:pt x="1188431" y="1227137"/>
                    <a:pt x="1189517" y="1229433"/>
                    <a:pt x="1190573" y="1231740"/>
                  </a:cubicBezTo>
                  <a:cubicBezTo>
                    <a:pt x="1194650" y="1240409"/>
                    <a:pt x="1199581" y="1247688"/>
                    <a:pt x="1205925" y="1255163"/>
                  </a:cubicBezTo>
                  <a:cubicBezTo>
                    <a:pt x="1208103" y="1257757"/>
                    <a:pt x="1210188" y="1260417"/>
                    <a:pt x="1212174" y="1263134"/>
                  </a:cubicBezTo>
                  <a:cubicBezTo>
                    <a:pt x="1218757" y="1272043"/>
                    <a:pt x="1225157" y="1277324"/>
                    <a:pt x="1235556" y="1282538"/>
                  </a:cubicBezTo>
                  <a:cubicBezTo>
                    <a:pt x="1236652" y="1283161"/>
                    <a:pt x="1237747" y="1283784"/>
                    <a:pt x="1238876" y="1284426"/>
                  </a:cubicBezTo>
                  <a:cubicBezTo>
                    <a:pt x="1238876" y="1285356"/>
                    <a:pt x="1238876" y="1286287"/>
                    <a:pt x="1238876" y="1287245"/>
                  </a:cubicBezTo>
                  <a:cubicBezTo>
                    <a:pt x="1239988" y="1287383"/>
                    <a:pt x="1241099" y="1287521"/>
                    <a:pt x="1242245" y="1287663"/>
                  </a:cubicBezTo>
                  <a:cubicBezTo>
                    <a:pt x="1253043" y="1290072"/>
                    <a:pt x="1264916" y="1297690"/>
                    <a:pt x="1271681" y="1305565"/>
                  </a:cubicBezTo>
                  <a:lnTo>
                    <a:pt x="1271742" y="1306172"/>
                  </a:lnTo>
                  <a:lnTo>
                    <a:pt x="1278525" y="1315767"/>
                  </a:lnTo>
                  <a:cubicBezTo>
                    <a:pt x="1279797" y="1319398"/>
                    <a:pt x="1280365" y="1323346"/>
                    <a:pt x="1281097" y="1327286"/>
                  </a:cubicBezTo>
                  <a:cubicBezTo>
                    <a:pt x="1281916" y="1337121"/>
                    <a:pt x="1281807" y="1346176"/>
                    <a:pt x="1277973" y="1355470"/>
                  </a:cubicBezTo>
                  <a:lnTo>
                    <a:pt x="1277460" y="1347025"/>
                  </a:lnTo>
                  <a:lnTo>
                    <a:pt x="1273531" y="1357991"/>
                  </a:lnTo>
                  <a:cubicBezTo>
                    <a:pt x="1270940" y="1361892"/>
                    <a:pt x="1267521" y="1365435"/>
                    <a:pt x="1263870" y="1368980"/>
                  </a:cubicBezTo>
                  <a:cubicBezTo>
                    <a:pt x="1258351" y="1372929"/>
                    <a:pt x="1253850" y="1376026"/>
                    <a:pt x="1246686" y="1376026"/>
                  </a:cubicBezTo>
                  <a:cubicBezTo>
                    <a:pt x="1246686" y="1376956"/>
                    <a:pt x="1246686" y="1377886"/>
                    <a:pt x="1246686" y="1378844"/>
                  </a:cubicBezTo>
                  <a:cubicBezTo>
                    <a:pt x="1241676" y="1379009"/>
                    <a:pt x="1236665" y="1379109"/>
                    <a:pt x="1231651" y="1379196"/>
                  </a:cubicBezTo>
                  <a:cubicBezTo>
                    <a:pt x="1230240" y="1379244"/>
                    <a:pt x="1228828" y="1379291"/>
                    <a:pt x="1227373" y="1379340"/>
                  </a:cubicBezTo>
                  <a:cubicBezTo>
                    <a:pt x="1218287" y="1379460"/>
                    <a:pt x="1213363" y="1378568"/>
                    <a:pt x="1206071" y="1373207"/>
                  </a:cubicBezTo>
                  <a:cubicBezTo>
                    <a:pt x="1204751" y="1372742"/>
                    <a:pt x="1203430" y="1372277"/>
                    <a:pt x="1202069" y="1371798"/>
                  </a:cubicBezTo>
                  <a:cubicBezTo>
                    <a:pt x="1193777" y="1368730"/>
                    <a:pt x="1188124" y="1363294"/>
                    <a:pt x="1184104" y="1356176"/>
                  </a:cubicBezTo>
                  <a:cubicBezTo>
                    <a:pt x="1180965" y="1349259"/>
                    <a:pt x="1178852" y="1342590"/>
                    <a:pt x="1177270" y="1335247"/>
                  </a:cubicBezTo>
                  <a:cubicBezTo>
                    <a:pt x="1175525" y="1327352"/>
                    <a:pt x="1172911" y="1320677"/>
                    <a:pt x="1169002" y="1313464"/>
                  </a:cubicBezTo>
                  <a:cubicBezTo>
                    <a:pt x="1166989" y="1309737"/>
                    <a:pt x="1165215" y="1305976"/>
                    <a:pt x="1163504" y="1302130"/>
                  </a:cubicBezTo>
                  <a:cubicBezTo>
                    <a:pt x="1163013" y="1301027"/>
                    <a:pt x="1162521" y="1299924"/>
                    <a:pt x="1162015" y="1298788"/>
                  </a:cubicBezTo>
                  <a:cubicBezTo>
                    <a:pt x="1160770" y="1295700"/>
                    <a:pt x="1160770" y="1295700"/>
                    <a:pt x="1160111" y="1292656"/>
                  </a:cubicBezTo>
                  <a:cubicBezTo>
                    <a:pt x="1159345" y="1289507"/>
                    <a:pt x="1159345" y="1289507"/>
                    <a:pt x="1154522" y="1287245"/>
                  </a:cubicBezTo>
                  <a:cubicBezTo>
                    <a:pt x="1153465" y="1284902"/>
                    <a:pt x="1152426" y="1282552"/>
                    <a:pt x="1151398" y="1280199"/>
                  </a:cubicBezTo>
                  <a:cubicBezTo>
                    <a:pt x="1149056" y="1276983"/>
                    <a:pt x="1146686" y="1273874"/>
                    <a:pt x="1144173" y="1270774"/>
                  </a:cubicBezTo>
                  <a:cubicBezTo>
                    <a:pt x="1143477" y="1269912"/>
                    <a:pt x="1142782" y="1269049"/>
                    <a:pt x="1142065" y="1268160"/>
                  </a:cubicBezTo>
                  <a:cubicBezTo>
                    <a:pt x="1139981" y="1265589"/>
                    <a:pt x="1137880" y="1263029"/>
                    <a:pt x="1135776" y="1260470"/>
                  </a:cubicBezTo>
                  <a:cubicBezTo>
                    <a:pt x="1134647" y="1259076"/>
                    <a:pt x="1133517" y="1257683"/>
                    <a:pt x="1132353" y="1256247"/>
                  </a:cubicBezTo>
                  <a:cubicBezTo>
                    <a:pt x="1126291" y="1249045"/>
                    <a:pt x="1121408" y="1244606"/>
                    <a:pt x="1112344" y="1240741"/>
                  </a:cubicBezTo>
                  <a:cubicBezTo>
                    <a:pt x="1110285" y="1239698"/>
                    <a:pt x="1108234" y="1238642"/>
                    <a:pt x="1106193" y="1237570"/>
                  </a:cubicBezTo>
                  <a:cubicBezTo>
                    <a:pt x="1104615" y="1236756"/>
                    <a:pt x="1103036" y="1235942"/>
                    <a:pt x="1101409" y="1235104"/>
                  </a:cubicBezTo>
                  <a:cubicBezTo>
                    <a:pt x="1101409" y="1233708"/>
                    <a:pt x="1101409" y="1232313"/>
                    <a:pt x="1101409" y="1230876"/>
                  </a:cubicBezTo>
                  <a:cubicBezTo>
                    <a:pt x="1089553" y="1230876"/>
                    <a:pt x="1077697" y="1230876"/>
                    <a:pt x="1065480" y="1230876"/>
                  </a:cubicBezTo>
                  <a:cubicBezTo>
                    <a:pt x="1064965" y="1232271"/>
                    <a:pt x="1064450" y="1233666"/>
                    <a:pt x="1063919" y="1235104"/>
                  </a:cubicBezTo>
                  <a:cubicBezTo>
                    <a:pt x="1062372" y="1235104"/>
                    <a:pt x="1060826" y="1235104"/>
                    <a:pt x="1059232" y="1235104"/>
                  </a:cubicBezTo>
                  <a:cubicBezTo>
                    <a:pt x="1059232" y="1236033"/>
                    <a:pt x="1059232" y="1236964"/>
                    <a:pt x="1059232" y="1237922"/>
                  </a:cubicBezTo>
                  <a:cubicBezTo>
                    <a:pt x="1052964" y="1240850"/>
                    <a:pt x="1046842" y="1243613"/>
                    <a:pt x="1040194" y="1245761"/>
                  </a:cubicBezTo>
                  <a:cubicBezTo>
                    <a:pt x="1036552" y="1246941"/>
                    <a:pt x="1033682" y="1248088"/>
                    <a:pt x="1030333" y="1249901"/>
                  </a:cubicBezTo>
                  <a:cubicBezTo>
                    <a:pt x="1025129" y="1252717"/>
                    <a:pt x="1019615" y="1254371"/>
                    <a:pt x="1013931" y="1256242"/>
                  </a:cubicBezTo>
                  <a:cubicBezTo>
                    <a:pt x="1009870" y="1257688"/>
                    <a:pt x="1008221" y="1258277"/>
                    <a:pt x="1005925" y="1261615"/>
                  </a:cubicBezTo>
                  <a:cubicBezTo>
                    <a:pt x="1005474" y="1262632"/>
                    <a:pt x="1005023" y="1263649"/>
                    <a:pt x="1004558" y="1264697"/>
                  </a:cubicBezTo>
                  <a:cubicBezTo>
                    <a:pt x="1004030" y="1265774"/>
                    <a:pt x="1003503" y="1266852"/>
                    <a:pt x="1002959" y="1267961"/>
                  </a:cubicBezTo>
                  <a:cubicBezTo>
                    <a:pt x="1001408" y="1271808"/>
                    <a:pt x="1000922" y="1274896"/>
                    <a:pt x="1000653" y="1278965"/>
                  </a:cubicBezTo>
                  <a:cubicBezTo>
                    <a:pt x="1000303" y="1284158"/>
                    <a:pt x="999467" y="1289055"/>
                    <a:pt x="998297" y="1294137"/>
                  </a:cubicBezTo>
                  <a:cubicBezTo>
                    <a:pt x="996204" y="1304306"/>
                    <a:pt x="996129" y="1314460"/>
                    <a:pt x="996162" y="1324765"/>
                  </a:cubicBezTo>
                  <a:cubicBezTo>
                    <a:pt x="996163" y="1325782"/>
                    <a:pt x="996163" y="1326799"/>
                    <a:pt x="996164" y="1327846"/>
                  </a:cubicBezTo>
                  <a:cubicBezTo>
                    <a:pt x="996263" y="1353742"/>
                    <a:pt x="1001081" y="1378188"/>
                    <a:pt x="1007780" y="1403329"/>
                  </a:cubicBezTo>
                  <a:cubicBezTo>
                    <a:pt x="1008163" y="1404772"/>
                    <a:pt x="1008546" y="1406215"/>
                    <a:pt x="1008940" y="1407701"/>
                  </a:cubicBezTo>
                  <a:cubicBezTo>
                    <a:pt x="1009316" y="1409030"/>
                    <a:pt x="1009693" y="1410360"/>
                    <a:pt x="1010080" y="1411730"/>
                  </a:cubicBezTo>
                  <a:cubicBezTo>
                    <a:pt x="1010409" y="1412900"/>
                    <a:pt x="1010737" y="1414071"/>
                    <a:pt x="1011075" y="1415277"/>
                  </a:cubicBezTo>
                  <a:cubicBezTo>
                    <a:pt x="1012501" y="1418612"/>
                    <a:pt x="1014136" y="1420168"/>
                    <a:pt x="1017055" y="1422530"/>
                  </a:cubicBezTo>
                  <a:cubicBezTo>
                    <a:pt x="1018770" y="1425162"/>
                    <a:pt x="1018770" y="1425162"/>
                    <a:pt x="1020277" y="1427991"/>
                  </a:cubicBezTo>
                  <a:cubicBezTo>
                    <a:pt x="1020778" y="1428917"/>
                    <a:pt x="1021280" y="1429844"/>
                    <a:pt x="1021796" y="1430798"/>
                  </a:cubicBezTo>
                  <a:cubicBezTo>
                    <a:pt x="1023303" y="1433804"/>
                    <a:pt x="1023303" y="1433804"/>
                    <a:pt x="1024579" y="1437239"/>
                  </a:cubicBezTo>
                  <a:cubicBezTo>
                    <a:pt x="1026915" y="1441803"/>
                    <a:pt x="1030098" y="1444534"/>
                    <a:pt x="1034043" y="1448072"/>
                  </a:cubicBezTo>
                  <a:lnTo>
                    <a:pt x="1043782" y="1464320"/>
                  </a:lnTo>
                  <a:lnTo>
                    <a:pt x="1050458" y="1472189"/>
                  </a:lnTo>
                  <a:cubicBezTo>
                    <a:pt x="1051737" y="1475181"/>
                    <a:pt x="1052277" y="1478513"/>
                    <a:pt x="1052926" y="1482370"/>
                  </a:cubicBezTo>
                  <a:cubicBezTo>
                    <a:pt x="1053325" y="1487224"/>
                    <a:pt x="1053364" y="1492038"/>
                    <a:pt x="1053316" y="1496903"/>
                  </a:cubicBezTo>
                  <a:cubicBezTo>
                    <a:pt x="1053328" y="1498142"/>
                    <a:pt x="1053340" y="1499382"/>
                    <a:pt x="1053352" y="1500660"/>
                  </a:cubicBezTo>
                  <a:cubicBezTo>
                    <a:pt x="1053348" y="1501856"/>
                    <a:pt x="1053344" y="1503052"/>
                    <a:pt x="1053341" y="1504285"/>
                  </a:cubicBezTo>
                  <a:cubicBezTo>
                    <a:pt x="1053336" y="1505355"/>
                    <a:pt x="1053333" y="1506426"/>
                    <a:pt x="1053329" y="1507529"/>
                  </a:cubicBezTo>
                  <a:cubicBezTo>
                    <a:pt x="1052876" y="1510927"/>
                    <a:pt x="1051672" y="1513237"/>
                    <a:pt x="1049801" y="1516192"/>
                  </a:cubicBezTo>
                  <a:lnTo>
                    <a:pt x="1047312" y="1516192"/>
                  </a:lnTo>
                  <a:lnTo>
                    <a:pt x="1043611" y="1522585"/>
                  </a:lnTo>
                  <a:cubicBezTo>
                    <a:pt x="1035301" y="1529631"/>
                    <a:pt x="1035301" y="1529631"/>
                    <a:pt x="1029552" y="1529631"/>
                  </a:cubicBezTo>
                  <a:cubicBezTo>
                    <a:pt x="1029294" y="1530503"/>
                    <a:pt x="1029036" y="1531375"/>
                    <a:pt x="1028771" y="1532273"/>
                  </a:cubicBezTo>
                  <a:cubicBezTo>
                    <a:pt x="1025795" y="1536076"/>
                    <a:pt x="1022970" y="1536733"/>
                    <a:pt x="1018013" y="1537640"/>
                  </a:cubicBezTo>
                  <a:cubicBezTo>
                    <a:pt x="1005216" y="1539038"/>
                    <a:pt x="992573" y="1539816"/>
                    <a:pt x="981126" y="1533859"/>
                  </a:cubicBezTo>
                  <a:cubicBezTo>
                    <a:pt x="979840" y="1533226"/>
                    <a:pt x="978553" y="1532594"/>
                    <a:pt x="977227" y="1531943"/>
                  </a:cubicBezTo>
                  <a:cubicBezTo>
                    <a:pt x="965286" y="1525877"/>
                    <a:pt x="959626" y="1520520"/>
                    <a:pt x="955376" y="1508751"/>
                  </a:cubicBezTo>
                  <a:cubicBezTo>
                    <a:pt x="954571" y="1505674"/>
                    <a:pt x="954571" y="1505674"/>
                    <a:pt x="954571" y="1500037"/>
                  </a:cubicBezTo>
                  <a:cubicBezTo>
                    <a:pt x="953539" y="1500037"/>
                    <a:pt x="952508" y="1500037"/>
                    <a:pt x="951446" y="1500037"/>
                  </a:cubicBezTo>
                  <a:cubicBezTo>
                    <a:pt x="951361" y="1495986"/>
                    <a:pt x="951299" y="1491935"/>
                    <a:pt x="951251" y="1487883"/>
                  </a:cubicBezTo>
                  <a:cubicBezTo>
                    <a:pt x="951224" y="1486744"/>
                    <a:pt x="951198" y="1485605"/>
                    <a:pt x="951171" y="1484431"/>
                  </a:cubicBezTo>
                  <a:cubicBezTo>
                    <a:pt x="951110" y="1477657"/>
                    <a:pt x="952093" y="1472660"/>
                    <a:pt x="954571" y="1466216"/>
                  </a:cubicBezTo>
                  <a:cubicBezTo>
                    <a:pt x="954867" y="1462451"/>
                    <a:pt x="955016" y="1458876"/>
                    <a:pt x="954961" y="1455118"/>
                  </a:cubicBezTo>
                  <a:cubicBezTo>
                    <a:pt x="954951" y="1454080"/>
                    <a:pt x="954942" y="1453042"/>
                    <a:pt x="954932" y="1451972"/>
                  </a:cubicBezTo>
                  <a:cubicBezTo>
                    <a:pt x="954606" y="1435235"/>
                    <a:pt x="952568" y="1419050"/>
                    <a:pt x="945099" y="1403594"/>
                  </a:cubicBezTo>
                  <a:cubicBezTo>
                    <a:pt x="943714" y="1400177"/>
                    <a:pt x="943046" y="1397128"/>
                    <a:pt x="942366" y="1393553"/>
                  </a:cubicBezTo>
                  <a:cubicBezTo>
                    <a:pt x="940837" y="1386134"/>
                    <a:pt x="937840" y="1379609"/>
                    <a:pt x="934451" y="1372734"/>
                  </a:cubicBezTo>
                  <a:cubicBezTo>
                    <a:pt x="932701" y="1368980"/>
                    <a:pt x="932701" y="1368980"/>
                    <a:pt x="931974" y="1365754"/>
                  </a:cubicBezTo>
                  <a:cubicBezTo>
                    <a:pt x="931699" y="1364958"/>
                    <a:pt x="931422" y="1364162"/>
                    <a:pt x="931138" y="1363343"/>
                  </a:cubicBezTo>
                  <a:cubicBezTo>
                    <a:pt x="929592" y="1362878"/>
                    <a:pt x="928045" y="1362413"/>
                    <a:pt x="926452" y="1361933"/>
                  </a:cubicBezTo>
                  <a:cubicBezTo>
                    <a:pt x="921830" y="1355261"/>
                    <a:pt x="920323" y="1348382"/>
                    <a:pt x="918641" y="1340795"/>
                  </a:cubicBezTo>
                  <a:cubicBezTo>
                    <a:pt x="918133" y="1338914"/>
                    <a:pt x="917616" y="1337034"/>
                    <a:pt x="917079" y="1335158"/>
                  </a:cubicBezTo>
                  <a:cubicBezTo>
                    <a:pt x="916048" y="1335158"/>
                    <a:pt x="915018" y="1335158"/>
                    <a:pt x="913955" y="1335158"/>
                  </a:cubicBezTo>
                  <a:cubicBezTo>
                    <a:pt x="913329" y="1333718"/>
                    <a:pt x="912703" y="1332277"/>
                    <a:pt x="912057" y="1330793"/>
                  </a:cubicBezTo>
                  <a:cubicBezTo>
                    <a:pt x="909497" y="1325424"/>
                    <a:pt x="906114" y="1320822"/>
                    <a:pt x="902142" y="1316222"/>
                  </a:cubicBezTo>
                  <a:cubicBezTo>
                    <a:pt x="901465" y="1315432"/>
                    <a:pt x="900788" y="1314642"/>
                    <a:pt x="900091" y="1313828"/>
                  </a:cubicBezTo>
                  <a:cubicBezTo>
                    <a:pt x="893705" y="1306618"/>
                    <a:pt x="886350" y="1301049"/>
                    <a:pt x="878026" y="1295700"/>
                  </a:cubicBezTo>
                  <a:cubicBezTo>
                    <a:pt x="876595" y="1294594"/>
                    <a:pt x="876595" y="1294594"/>
                    <a:pt x="875134" y="1293465"/>
                  </a:cubicBezTo>
                  <a:lnTo>
                    <a:pt x="869869" y="1291826"/>
                  </a:lnTo>
                  <a:lnTo>
                    <a:pt x="862384" y="1291327"/>
                  </a:lnTo>
                  <a:cubicBezTo>
                    <a:pt x="856441" y="1290067"/>
                    <a:pt x="850461" y="1290346"/>
                    <a:pt x="844390" y="1290461"/>
                  </a:cubicBezTo>
                  <a:cubicBezTo>
                    <a:pt x="842453" y="1290480"/>
                    <a:pt x="842453" y="1290480"/>
                    <a:pt x="840476" y="1290500"/>
                  </a:cubicBezTo>
                  <a:cubicBezTo>
                    <a:pt x="837322" y="1290532"/>
                    <a:pt x="834169" y="1290583"/>
                    <a:pt x="831015" y="1290637"/>
                  </a:cubicBezTo>
                  <a:cubicBezTo>
                    <a:pt x="831015" y="1291568"/>
                    <a:pt x="831015" y="1292498"/>
                    <a:pt x="831015" y="1293456"/>
                  </a:cubicBezTo>
                  <a:cubicBezTo>
                    <a:pt x="826519" y="1294808"/>
                    <a:pt x="822922" y="1295235"/>
                    <a:pt x="818225" y="1295570"/>
                  </a:cubicBezTo>
                  <a:lnTo>
                    <a:pt x="796774" y="1297671"/>
                  </a:lnTo>
                  <a:lnTo>
                    <a:pt x="783646" y="1305736"/>
                  </a:lnTo>
                  <a:cubicBezTo>
                    <a:pt x="776915" y="1312506"/>
                    <a:pt x="772692" y="1318638"/>
                    <a:pt x="769263" y="1327143"/>
                  </a:cubicBezTo>
                  <a:cubicBezTo>
                    <a:pt x="767116" y="1332340"/>
                    <a:pt x="767116" y="1332340"/>
                    <a:pt x="764797" y="1334360"/>
                  </a:cubicBezTo>
                  <a:lnTo>
                    <a:pt x="757875" y="1353503"/>
                  </a:lnTo>
                  <a:lnTo>
                    <a:pt x="755676" y="1367455"/>
                  </a:lnTo>
                  <a:lnTo>
                    <a:pt x="750558" y="1399690"/>
                  </a:lnTo>
                  <a:lnTo>
                    <a:pt x="753057" y="1411256"/>
                  </a:lnTo>
                  <a:cubicBezTo>
                    <a:pt x="753057" y="1413117"/>
                    <a:pt x="753057" y="1414976"/>
                    <a:pt x="753057" y="1416893"/>
                  </a:cubicBezTo>
                  <a:cubicBezTo>
                    <a:pt x="754087" y="1416893"/>
                    <a:pt x="755119" y="1416893"/>
                    <a:pt x="756181" y="1416893"/>
                  </a:cubicBezTo>
                  <a:cubicBezTo>
                    <a:pt x="759348" y="1422607"/>
                    <a:pt x="758101" y="1429902"/>
                    <a:pt x="758133" y="1436182"/>
                  </a:cubicBezTo>
                  <a:cubicBezTo>
                    <a:pt x="758182" y="1438458"/>
                    <a:pt x="758182" y="1438458"/>
                    <a:pt x="758231" y="1440781"/>
                  </a:cubicBezTo>
                  <a:cubicBezTo>
                    <a:pt x="758283" y="1450271"/>
                    <a:pt x="758174" y="1458360"/>
                    <a:pt x="750713" y="1465704"/>
                  </a:cubicBezTo>
                  <a:cubicBezTo>
                    <a:pt x="749940" y="1466193"/>
                    <a:pt x="749167" y="1466681"/>
                    <a:pt x="748370" y="1467185"/>
                  </a:cubicBezTo>
                  <a:cubicBezTo>
                    <a:pt x="743665" y="1470047"/>
                    <a:pt x="743665" y="1470047"/>
                    <a:pt x="741633" y="1473526"/>
                  </a:cubicBezTo>
                  <a:cubicBezTo>
                    <a:pt x="737793" y="1477248"/>
                    <a:pt x="733582" y="1477483"/>
                    <a:pt x="728154" y="1478343"/>
                  </a:cubicBezTo>
                  <a:cubicBezTo>
                    <a:pt x="724855" y="1478778"/>
                    <a:pt x="724855" y="1478778"/>
                    <a:pt x="721814" y="1480308"/>
                  </a:cubicBezTo>
                  <a:cubicBezTo>
                    <a:pt x="717303" y="1480523"/>
                    <a:pt x="712854" y="1480634"/>
                    <a:pt x="708341" y="1480661"/>
                  </a:cubicBezTo>
                  <a:cubicBezTo>
                    <a:pt x="707118" y="1480690"/>
                    <a:pt x="705896" y="1480719"/>
                    <a:pt x="704637" y="1480748"/>
                  </a:cubicBezTo>
                  <a:cubicBezTo>
                    <a:pt x="690446" y="1480834"/>
                    <a:pt x="679632" y="1476246"/>
                    <a:pt x="668507" y="1468418"/>
                  </a:cubicBezTo>
                  <a:cubicBezTo>
                    <a:pt x="662823" y="1463224"/>
                    <a:pt x="661745" y="1456995"/>
                    <a:pt x="660178" y="1450027"/>
                  </a:cubicBezTo>
                  <a:cubicBezTo>
                    <a:pt x="659725" y="1446589"/>
                    <a:pt x="659725" y="1446589"/>
                    <a:pt x="657767" y="1445078"/>
                  </a:cubicBezTo>
                  <a:cubicBezTo>
                    <a:pt x="656859" y="1433686"/>
                    <a:pt x="655965" y="1419178"/>
                    <a:pt x="663369" y="1409390"/>
                  </a:cubicBezTo>
                  <a:cubicBezTo>
                    <a:pt x="666078" y="1406601"/>
                    <a:pt x="668921" y="1404013"/>
                    <a:pt x="671826" y="1401392"/>
                  </a:cubicBezTo>
                  <a:cubicBezTo>
                    <a:pt x="675197" y="1397623"/>
                    <a:pt x="677125" y="1394916"/>
                    <a:pt x="678075" y="1390118"/>
                  </a:cubicBezTo>
                  <a:cubicBezTo>
                    <a:pt x="680137" y="1389653"/>
                    <a:pt x="682199" y="1389188"/>
                    <a:pt x="684323" y="1388709"/>
                  </a:cubicBezTo>
                  <a:cubicBezTo>
                    <a:pt x="684643" y="1387232"/>
                    <a:pt x="684964" y="1385755"/>
                    <a:pt x="685293" y="1384233"/>
                  </a:cubicBezTo>
                  <a:cubicBezTo>
                    <a:pt x="685718" y="1382290"/>
                    <a:pt x="686144" y="1380347"/>
                    <a:pt x="686569" y="1378404"/>
                  </a:cubicBezTo>
                  <a:cubicBezTo>
                    <a:pt x="686885" y="1376945"/>
                    <a:pt x="686885" y="1376945"/>
                    <a:pt x="687207" y="1375456"/>
                  </a:cubicBezTo>
                  <a:cubicBezTo>
                    <a:pt x="688115" y="1371315"/>
                    <a:pt x="689090" y="1367353"/>
                    <a:pt x="690572" y="1363343"/>
                  </a:cubicBezTo>
                  <a:cubicBezTo>
                    <a:pt x="692411" y="1350128"/>
                    <a:pt x="692374" y="1336672"/>
                    <a:pt x="692495" y="1323376"/>
                  </a:cubicBezTo>
                  <a:cubicBezTo>
                    <a:pt x="692524" y="1320586"/>
                    <a:pt x="692574" y="1317796"/>
                    <a:pt x="692625" y="1315006"/>
                  </a:cubicBezTo>
                  <a:cubicBezTo>
                    <a:pt x="692853" y="1300589"/>
                    <a:pt x="692853" y="1300589"/>
                    <a:pt x="687447" y="1287245"/>
                  </a:cubicBezTo>
                  <a:cubicBezTo>
                    <a:pt x="685901" y="1286780"/>
                    <a:pt x="684354" y="1286315"/>
                    <a:pt x="682761" y="1285835"/>
                  </a:cubicBezTo>
                  <a:cubicBezTo>
                    <a:pt x="680876" y="1283743"/>
                    <a:pt x="680876" y="1283743"/>
                    <a:pt x="678954" y="1281608"/>
                  </a:cubicBezTo>
                  <a:cubicBezTo>
                    <a:pt x="674854" y="1277278"/>
                    <a:pt x="674356" y="1276958"/>
                    <a:pt x="668702" y="1275971"/>
                  </a:cubicBezTo>
                  <a:cubicBezTo>
                    <a:pt x="666619" y="1274092"/>
                    <a:pt x="664536" y="1272213"/>
                    <a:pt x="662454" y="1270334"/>
                  </a:cubicBezTo>
                  <a:cubicBezTo>
                    <a:pt x="658341" y="1268566"/>
                    <a:pt x="658341" y="1268566"/>
                    <a:pt x="654643" y="1267516"/>
                  </a:cubicBezTo>
                  <a:cubicBezTo>
                    <a:pt x="654643" y="1266585"/>
                    <a:pt x="654643" y="1265656"/>
                    <a:pt x="654643" y="1264697"/>
                  </a:cubicBezTo>
                  <a:cubicBezTo>
                    <a:pt x="653161" y="1264581"/>
                    <a:pt x="651679" y="1264465"/>
                    <a:pt x="650152" y="1264345"/>
                  </a:cubicBezTo>
                  <a:cubicBezTo>
                    <a:pt x="642318" y="1263373"/>
                    <a:pt x="635297" y="1260465"/>
                    <a:pt x="628087" y="1257651"/>
                  </a:cubicBezTo>
                  <a:cubicBezTo>
                    <a:pt x="628087" y="1256721"/>
                    <a:pt x="628087" y="1255791"/>
                    <a:pt x="628087" y="1254833"/>
                  </a:cubicBezTo>
                  <a:cubicBezTo>
                    <a:pt x="627108" y="1254662"/>
                    <a:pt x="626129" y="1254491"/>
                    <a:pt x="625121" y="1254315"/>
                  </a:cubicBezTo>
                  <a:cubicBezTo>
                    <a:pt x="623845" y="1254079"/>
                    <a:pt x="622568" y="1253843"/>
                    <a:pt x="621252" y="1253600"/>
                  </a:cubicBezTo>
                  <a:cubicBezTo>
                    <a:pt x="619984" y="1253371"/>
                    <a:pt x="618716" y="1253142"/>
                    <a:pt x="617409" y="1252906"/>
                  </a:cubicBezTo>
                  <a:cubicBezTo>
                    <a:pt x="614027" y="1252014"/>
                    <a:pt x="614027" y="1252014"/>
                    <a:pt x="610904" y="1249196"/>
                  </a:cubicBezTo>
                  <a:cubicBezTo>
                    <a:pt x="592259" y="1248653"/>
                    <a:pt x="578635" y="1260869"/>
                    <a:pt x="565739" y="1271742"/>
                  </a:cubicBezTo>
                  <a:cubicBezTo>
                    <a:pt x="558808" y="1277725"/>
                    <a:pt x="552763" y="1283983"/>
                    <a:pt x="546924" y="1290829"/>
                  </a:cubicBezTo>
                  <a:cubicBezTo>
                    <a:pt x="545838" y="1292087"/>
                    <a:pt x="544753" y="1293346"/>
                    <a:pt x="543635" y="1294643"/>
                  </a:cubicBezTo>
                  <a:cubicBezTo>
                    <a:pt x="542650" y="1295813"/>
                    <a:pt x="541666" y="1296983"/>
                    <a:pt x="540651" y="1298188"/>
                  </a:cubicBezTo>
                  <a:cubicBezTo>
                    <a:pt x="537294" y="1301526"/>
                    <a:pt x="533978" y="1303337"/>
                    <a:pt x="529673" y="1305565"/>
                  </a:cubicBezTo>
                  <a:cubicBezTo>
                    <a:pt x="527599" y="1308478"/>
                    <a:pt x="527599" y="1308478"/>
                    <a:pt x="526549" y="1311202"/>
                  </a:cubicBezTo>
                  <a:cubicBezTo>
                    <a:pt x="525518" y="1311202"/>
                    <a:pt x="524487" y="1311202"/>
                    <a:pt x="523425" y="1311202"/>
                  </a:cubicBezTo>
                  <a:cubicBezTo>
                    <a:pt x="523360" y="1311986"/>
                    <a:pt x="523296" y="1312771"/>
                    <a:pt x="523230" y="1313580"/>
                  </a:cubicBezTo>
                  <a:cubicBezTo>
                    <a:pt x="521863" y="1316839"/>
                    <a:pt x="521863" y="1316839"/>
                    <a:pt x="517732" y="1319739"/>
                  </a:cubicBezTo>
                  <a:cubicBezTo>
                    <a:pt x="511111" y="1324565"/>
                    <a:pt x="506875" y="1330731"/>
                    <a:pt x="502239" y="1337096"/>
                  </a:cubicBezTo>
                  <a:cubicBezTo>
                    <a:pt x="500512" y="1339427"/>
                    <a:pt x="498785" y="1341757"/>
                    <a:pt x="497058" y="1344087"/>
                  </a:cubicBezTo>
                  <a:cubicBezTo>
                    <a:pt x="495827" y="1345760"/>
                    <a:pt x="495827" y="1345760"/>
                    <a:pt x="494572" y="1347465"/>
                  </a:cubicBezTo>
                  <a:cubicBezTo>
                    <a:pt x="492366" y="1350414"/>
                    <a:pt x="490094" y="1353304"/>
                    <a:pt x="487776" y="1356181"/>
                  </a:cubicBezTo>
                  <a:cubicBezTo>
                    <a:pt x="484805" y="1359972"/>
                    <a:pt x="482865" y="1363193"/>
                    <a:pt x="481248" y="1367571"/>
                  </a:cubicBezTo>
                  <a:cubicBezTo>
                    <a:pt x="480216" y="1367571"/>
                    <a:pt x="479186" y="1367571"/>
                    <a:pt x="478123" y="1367571"/>
                  </a:cubicBezTo>
                  <a:cubicBezTo>
                    <a:pt x="477963" y="1368558"/>
                    <a:pt x="477801" y="1369547"/>
                    <a:pt x="477635" y="1370565"/>
                  </a:cubicBezTo>
                  <a:cubicBezTo>
                    <a:pt x="475602" y="1378236"/>
                    <a:pt x="471952" y="1383371"/>
                    <a:pt x="465626" y="1388709"/>
                  </a:cubicBezTo>
                  <a:cubicBezTo>
                    <a:pt x="462272" y="1392748"/>
                    <a:pt x="462272" y="1392748"/>
                    <a:pt x="461233" y="1397340"/>
                  </a:cubicBezTo>
                  <a:cubicBezTo>
                    <a:pt x="460030" y="1401461"/>
                    <a:pt x="458298" y="1404501"/>
                    <a:pt x="455765" y="1408086"/>
                  </a:cubicBezTo>
                  <a:cubicBezTo>
                    <a:pt x="442829" y="1428603"/>
                    <a:pt x="441572" y="1454548"/>
                    <a:pt x="439070" y="1477490"/>
                  </a:cubicBezTo>
                  <a:cubicBezTo>
                    <a:pt x="437524" y="1477955"/>
                    <a:pt x="435977" y="1478420"/>
                    <a:pt x="434384" y="1478899"/>
                  </a:cubicBezTo>
                  <a:cubicBezTo>
                    <a:pt x="433739" y="1479916"/>
                    <a:pt x="433095" y="1480933"/>
                    <a:pt x="432431" y="1481982"/>
                  </a:cubicBezTo>
                  <a:cubicBezTo>
                    <a:pt x="428860" y="1487159"/>
                    <a:pt x="424291" y="1490903"/>
                    <a:pt x="418763" y="1494401"/>
                  </a:cubicBezTo>
                  <a:cubicBezTo>
                    <a:pt x="417731" y="1494401"/>
                    <a:pt x="416701" y="1494401"/>
                    <a:pt x="415639" y="1494401"/>
                  </a:cubicBezTo>
                  <a:cubicBezTo>
                    <a:pt x="415639" y="1495330"/>
                    <a:pt x="415639" y="1496260"/>
                    <a:pt x="415639" y="1497219"/>
                  </a:cubicBezTo>
                  <a:cubicBezTo>
                    <a:pt x="412546" y="1497684"/>
                    <a:pt x="409453" y="1498149"/>
                    <a:pt x="406265" y="1498628"/>
                  </a:cubicBezTo>
                  <a:cubicBezTo>
                    <a:pt x="406265" y="1499559"/>
                    <a:pt x="406265" y="1500488"/>
                    <a:pt x="406265" y="1501447"/>
                  </a:cubicBezTo>
                  <a:cubicBezTo>
                    <a:pt x="395955" y="1501447"/>
                    <a:pt x="385645" y="1501447"/>
                    <a:pt x="375023" y="1501447"/>
                  </a:cubicBezTo>
                  <a:lnTo>
                    <a:pt x="375023" y="1499438"/>
                  </a:lnTo>
                  <a:lnTo>
                    <a:pt x="374964" y="1499436"/>
                  </a:lnTo>
                  <a:lnTo>
                    <a:pt x="373179" y="1498628"/>
                  </a:lnTo>
                  <a:lnTo>
                    <a:pt x="365650" y="1498628"/>
                  </a:lnTo>
                  <a:lnTo>
                    <a:pt x="363134" y="1494087"/>
                  </a:lnTo>
                  <a:lnTo>
                    <a:pt x="362171" y="1493651"/>
                  </a:lnTo>
                  <a:cubicBezTo>
                    <a:pt x="361656" y="1492722"/>
                    <a:pt x="361140" y="1491791"/>
                    <a:pt x="360609" y="1490833"/>
                  </a:cubicBezTo>
                  <a:cubicBezTo>
                    <a:pt x="361640" y="1490833"/>
                    <a:pt x="362671" y="1490833"/>
                    <a:pt x="363733" y="1490833"/>
                  </a:cubicBezTo>
                  <a:lnTo>
                    <a:pt x="363733" y="1489980"/>
                  </a:lnTo>
                  <a:lnTo>
                    <a:pt x="348467" y="1481717"/>
                  </a:lnTo>
                  <a:lnTo>
                    <a:pt x="343872" y="1461078"/>
                  </a:lnTo>
                  <a:lnTo>
                    <a:pt x="343656" y="1463649"/>
                  </a:lnTo>
                  <a:cubicBezTo>
                    <a:pt x="343541" y="1465230"/>
                    <a:pt x="343541" y="1465230"/>
                    <a:pt x="343424" y="1466842"/>
                  </a:cubicBezTo>
                  <a:cubicBezTo>
                    <a:pt x="342908" y="1466842"/>
                    <a:pt x="342393" y="1466842"/>
                    <a:pt x="341861" y="1466842"/>
                  </a:cubicBezTo>
                  <a:cubicBezTo>
                    <a:pt x="340987" y="1449564"/>
                    <a:pt x="340999" y="1434331"/>
                    <a:pt x="354143" y="1420549"/>
                  </a:cubicBezTo>
                  <a:cubicBezTo>
                    <a:pt x="360765" y="1414011"/>
                    <a:pt x="367631" y="1407790"/>
                    <a:pt x="376229" y="1403427"/>
                  </a:cubicBezTo>
                  <a:lnTo>
                    <a:pt x="379491" y="1404408"/>
                  </a:lnTo>
                  <a:lnTo>
                    <a:pt x="379710" y="1404210"/>
                  </a:lnTo>
                  <a:cubicBezTo>
                    <a:pt x="380290" y="1402902"/>
                    <a:pt x="380290" y="1402902"/>
                    <a:pt x="380882" y="1401568"/>
                  </a:cubicBezTo>
                  <a:cubicBezTo>
                    <a:pt x="383675" y="1397284"/>
                    <a:pt x="387587" y="1395610"/>
                    <a:pt x="392207" y="1392936"/>
                  </a:cubicBezTo>
                  <a:lnTo>
                    <a:pt x="399542" y="1386774"/>
                  </a:lnTo>
                  <a:lnTo>
                    <a:pt x="405485" y="1378917"/>
                  </a:lnTo>
                  <a:cubicBezTo>
                    <a:pt x="408065" y="1375974"/>
                    <a:pt x="410029" y="1372774"/>
                    <a:pt x="412008" y="1369481"/>
                  </a:cubicBezTo>
                  <a:cubicBezTo>
                    <a:pt x="414759" y="1365166"/>
                    <a:pt x="417963" y="1361131"/>
                    <a:pt x="421130" y="1357057"/>
                  </a:cubicBezTo>
                  <a:cubicBezTo>
                    <a:pt x="423073" y="1354140"/>
                    <a:pt x="423985" y="1351767"/>
                    <a:pt x="424676" y="1348443"/>
                  </a:cubicBezTo>
                  <a:lnTo>
                    <a:pt x="427275" y="1348443"/>
                  </a:lnTo>
                  <a:lnTo>
                    <a:pt x="428135" y="1345727"/>
                  </a:lnTo>
                  <a:cubicBezTo>
                    <a:pt x="429370" y="1341828"/>
                    <a:pt x="430645" y="1338666"/>
                    <a:pt x="432822" y="1335158"/>
                  </a:cubicBezTo>
                  <a:cubicBezTo>
                    <a:pt x="433853" y="1335158"/>
                    <a:pt x="434884" y="1335158"/>
                    <a:pt x="435946" y="1335158"/>
                  </a:cubicBezTo>
                  <a:cubicBezTo>
                    <a:pt x="436526" y="1333385"/>
                    <a:pt x="437106" y="1331613"/>
                    <a:pt x="437704" y="1329786"/>
                  </a:cubicBezTo>
                  <a:cubicBezTo>
                    <a:pt x="440162" y="1323132"/>
                    <a:pt x="443602" y="1317301"/>
                    <a:pt x="447394" y="1311196"/>
                  </a:cubicBezTo>
                  <a:cubicBezTo>
                    <a:pt x="456493" y="1296485"/>
                    <a:pt x="463325" y="1281864"/>
                    <a:pt x="469287" y="1265964"/>
                  </a:cubicBezTo>
                  <a:cubicBezTo>
                    <a:pt x="474589" y="1252134"/>
                    <a:pt x="474589" y="1252134"/>
                    <a:pt x="478178" y="1246787"/>
                  </a:cubicBezTo>
                  <a:cubicBezTo>
                    <a:pt x="481232" y="1240246"/>
                    <a:pt x="480204" y="1232766"/>
                    <a:pt x="480179" y="1225768"/>
                  </a:cubicBezTo>
                  <a:cubicBezTo>
                    <a:pt x="480174" y="1222894"/>
                    <a:pt x="480210" y="1220023"/>
                    <a:pt x="480250" y="1217149"/>
                  </a:cubicBezTo>
                  <a:cubicBezTo>
                    <a:pt x="480260" y="1199291"/>
                    <a:pt x="476718" y="1187768"/>
                    <a:pt x="462972" y="1174827"/>
                  </a:cubicBezTo>
                  <a:cubicBezTo>
                    <a:pt x="461148" y="1173192"/>
                    <a:pt x="459312" y="1171566"/>
                    <a:pt x="457468" y="1169949"/>
                  </a:cubicBezTo>
                  <a:cubicBezTo>
                    <a:pt x="451412" y="1164522"/>
                    <a:pt x="445876" y="1158660"/>
                    <a:pt x="440657" y="1152570"/>
                  </a:cubicBezTo>
                  <a:cubicBezTo>
                    <a:pt x="430474" y="1140786"/>
                    <a:pt x="418230" y="1128998"/>
                    <a:pt x="403142" y="1122366"/>
                  </a:cubicBezTo>
                  <a:cubicBezTo>
                    <a:pt x="402626" y="1121436"/>
                    <a:pt x="402110" y="1120506"/>
                    <a:pt x="401579" y="1119547"/>
                  </a:cubicBezTo>
                  <a:cubicBezTo>
                    <a:pt x="390472" y="1115326"/>
                    <a:pt x="375918" y="1114217"/>
                    <a:pt x="364564" y="1118209"/>
                  </a:cubicBezTo>
                  <a:cubicBezTo>
                    <a:pt x="362278" y="1119428"/>
                    <a:pt x="360026" y="1120704"/>
                    <a:pt x="357822" y="1122041"/>
                  </a:cubicBezTo>
                  <a:cubicBezTo>
                    <a:pt x="354521" y="1123884"/>
                    <a:pt x="351862" y="1124582"/>
                    <a:pt x="348077" y="1125273"/>
                  </a:cubicBezTo>
                  <a:cubicBezTo>
                    <a:pt x="341765" y="1126696"/>
                    <a:pt x="339382" y="1128619"/>
                    <a:pt x="334408" y="1132230"/>
                  </a:cubicBezTo>
                  <a:cubicBezTo>
                    <a:pt x="332284" y="1132909"/>
                    <a:pt x="330131" y="1133519"/>
                    <a:pt x="327964" y="1134080"/>
                  </a:cubicBezTo>
                  <a:cubicBezTo>
                    <a:pt x="309975" y="1139067"/>
                    <a:pt x="290592" y="1152117"/>
                    <a:pt x="279734" y="1166051"/>
                  </a:cubicBezTo>
                  <a:cubicBezTo>
                    <a:pt x="277929" y="1169534"/>
                    <a:pt x="277929" y="1169534"/>
                    <a:pt x="276609" y="1173098"/>
                  </a:cubicBezTo>
                  <a:cubicBezTo>
                    <a:pt x="272413" y="1180804"/>
                    <a:pt x="269322" y="1184144"/>
                    <a:pt x="260988" y="1188599"/>
                  </a:cubicBezTo>
                  <a:cubicBezTo>
                    <a:pt x="259988" y="1189435"/>
                    <a:pt x="258987" y="1190271"/>
                    <a:pt x="257956" y="1191132"/>
                  </a:cubicBezTo>
                  <a:lnTo>
                    <a:pt x="243805" y="1196629"/>
                  </a:lnTo>
                  <a:lnTo>
                    <a:pt x="243805" y="1194236"/>
                  </a:lnTo>
                  <a:lnTo>
                    <a:pt x="240288" y="1194765"/>
                  </a:lnTo>
                  <a:lnTo>
                    <a:pt x="243374" y="1194765"/>
                  </a:lnTo>
                  <a:lnTo>
                    <a:pt x="243374" y="1196797"/>
                  </a:lnTo>
                  <a:lnTo>
                    <a:pt x="243805" y="1196629"/>
                  </a:lnTo>
                  <a:lnTo>
                    <a:pt x="243805" y="1197055"/>
                  </a:lnTo>
                  <a:lnTo>
                    <a:pt x="243374" y="1197055"/>
                  </a:lnTo>
                  <a:lnTo>
                    <a:pt x="243374" y="1197584"/>
                  </a:lnTo>
                  <a:lnTo>
                    <a:pt x="241319" y="1197595"/>
                  </a:lnTo>
                  <a:lnTo>
                    <a:pt x="238009" y="1198881"/>
                  </a:lnTo>
                  <a:cubicBezTo>
                    <a:pt x="231012" y="1199584"/>
                    <a:pt x="223620" y="1198927"/>
                    <a:pt x="215687" y="1198464"/>
                  </a:cubicBezTo>
                  <a:lnTo>
                    <a:pt x="215687" y="1197734"/>
                  </a:lnTo>
                  <a:lnTo>
                    <a:pt x="213936" y="1197744"/>
                  </a:lnTo>
                  <a:cubicBezTo>
                    <a:pt x="210570" y="1197584"/>
                    <a:pt x="210570" y="1197584"/>
                    <a:pt x="207446" y="1196175"/>
                  </a:cubicBezTo>
                  <a:lnTo>
                    <a:pt x="207822" y="1195610"/>
                  </a:lnTo>
                  <a:lnTo>
                    <a:pt x="184737" y="1180936"/>
                  </a:lnTo>
                  <a:cubicBezTo>
                    <a:pt x="180258" y="1172216"/>
                    <a:pt x="179226" y="1164355"/>
                    <a:pt x="179270" y="1154866"/>
                  </a:cubicBezTo>
                  <a:cubicBezTo>
                    <a:pt x="179233" y="1153260"/>
                    <a:pt x="179233" y="1153260"/>
                    <a:pt x="179194" y="1151621"/>
                  </a:cubicBezTo>
                  <a:cubicBezTo>
                    <a:pt x="179182" y="1139523"/>
                    <a:pt x="183658" y="1128837"/>
                    <a:pt x="193195" y="1120065"/>
                  </a:cubicBezTo>
                  <a:cubicBezTo>
                    <a:pt x="204265" y="1110959"/>
                    <a:pt x="215062" y="1110626"/>
                    <a:pt x="229551" y="1110299"/>
                  </a:cubicBezTo>
                  <a:cubicBezTo>
                    <a:pt x="240132" y="1110024"/>
                    <a:pt x="250506" y="1109652"/>
                    <a:pt x="260988" y="1108274"/>
                  </a:cubicBezTo>
                  <a:cubicBezTo>
                    <a:pt x="260988" y="1107344"/>
                    <a:pt x="260988" y="1106413"/>
                    <a:pt x="260988" y="1105455"/>
                  </a:cubicBezTo>
                  <a:cubicBezTo>
                    <a:pt x="261953" y="1105078"/>
                    <a:pt x="262918" y="1104699"/>
                    <a:pt x="263911" y="1104310"/>
                  </a:cubicBezTo>
                  <a:cubicBezTo>
                    <a:pt x="272903" y="1100557"/>
                    <a:pt x="279802" y="1096307"/>
                    <a:pt x="286995" y="1090185"/>
                  </a:cubicBezTo>
                  <a:cubicBezTo>
                    <a:pt x="290956" y="1086897"/>
                    <a:pt x="295114" y="1083955"/>
                    <a:pt x="299358" y="1080970"/>
                  </a:cubicBezTo>
                  <a:cubicBezTo>
                    <a:pt x="306613" y="1075692"/>
                    <a:pt x="312234" y="1070023"/>
                    <a:pt x="317762" y="1063272"/>
                  </a:cubicBezTo>
                  <a:cubicBezTo>
                    <a:pt x="320349" y="1060360"/>
                    <a:pt x="320349" y="1060360"/>
                    <a:pt x="325035" y="1057542"/>
                  </a:cubicBezTo>
                  <a:cubicBezTo>
                    <a:pt x="329912" y="1045734"/>
                    <a:pt x="327928" y="1035103"/>
                    <a:pt x="325328" y="1023104"/>
                  </a:cubicBezTo>
                  <a:cubicBezTo>
                    <a:pt x="325069" y="1021831"/>
                    <a:pt x="324811" y="1020559"/>
                    <a:pt x="324544" y="1019247"/>
                  </a:cubicBezTo>
                  <a:cubicBezTo>
                    <a:pt x="322876" y="1011407"/>
                    <a:pt x="320562" y="1004340"/>
                    <a:pt x="317225" y="996945"/>
                  </a:cubicBezTo>
                  <a:cubicBezTo>
                    <a:pt x="316619" y="995541"/>
                    <a:pt x="316013" y="994137"/>
                    <a:pt x="315388" y="992690"/>
                  </a:cubicBezTo>
                  <a:cubicBezTo>
                    <a:pt x="306307" y="972561"/>
                    <a:pt x="298931" y="959343"/>
                    <a:pt x="276232" y="950666"/>
                  </a:cubicBezTo>
                  <a:cubicBezTo>
                    <a:pt x="274810" y="950127"/>
                    <a:pt x="273388" y="949587"/>
                    <a:pt x="271923" y="949031"/>
                  </a:cubicBezTo>
                  <a:cubicBezTo>
                    <a:pt x="270129" y="948244"/>
                    <a:pt x="270129" y="948244"/>
                    <a:pt x="268299" y="947441"/>
                  </a:cubicBezTo>
                  <a:cubicBezTo>
                    <a:pt x="247071" y="938140"/>
                    <a:pt x="222259" y="939051"/>
                    <a:pt x="199187" y="938991"/>
                  </a:cubicBezTo>
                  <a:cubicBezTo>
                    <a:pt x="197383" y="938984"/>
                    <a:pt x="195579" y="938978"/>
                    <a:pt x="193719" y="938971"/>
                  </a:cubicBezTo>
                  <a:cubicBezTo>
                    <a:pt x="192010" y="938974"/>
                    <a:pt x="190300" y="938977"/>
                    <a:pt x="188539" y="938980"/>
                  </a:cubicBezTo>
                  <a:cubicBezTo>
                    <a:pt x="187000" y="938981"/>
                    <a:pt x="185460" y="938983"/>
                    <a:pt x="183874" y="938985"/>
                  </a:cubicBezTo>
                  <a:cubicBezTo>
                    <a:pt x="180148" y="939150"/>
                    <a:pt x="177092" y="939720"/>
                    <a:pt x="173509" y="940576"/>
                  </a:cubicBezTo>
                  <a:cubicBezTo>
                    <a:pt x="169458" y="940674"/>
                    <a:pt x="165452" y="940710"/>
                    <a:pt x="161403" y="940664"/>
                  </a:cubicBezTo>
                  <a:cubicBezTo>
                    <a:pt x="160314" y="940658"/>
                    <a:pt x="159224" y="940651"/>
                    <a:pt x="158102" y="940645"/>
                  </a:cubicBezTo>
                  <a:lnTo>
                    <a:pt x="150875" y="940583"/>
                  </a:lnTo>
                  <a:lnTo>
                    <a:pt x="148425" y="940717"/>
                  </a:lnTo>
                  <a:lnTo>
                    <a:pt x="149617" y="940995"/>
                  </a:lnTo>
                  <a:cubicBezTo>
                    <a:pt x="149617" y="941459"/>
                    <a:pt x="149617" y="941924"/>
                    <a:pt x="149617" y="942404"/>
                  </a:cubicBezTo>
                  <a:cubicBezTo>
                    <a:pt x="148630" y="942558"/>
                    <a:pt x="147643" y="942712"/>
                    <a:pt x="146627" y="942871"/>
                  </a:cubicBezTo>
                  <a:cubicBezTo>
                    <a:pt x="134541" y="944804"/>
                    <a:pt x="122553" y="947081"/>
                    <a:pt x="110564" y="949449"/>
                  </a:cubicBezTo>
                  <a:lnTo>
                    <a:pt x="111283" y="946205"/>
                  </a:lnTo>
                  <a:lnTo>
                    <a:pt x="101652" y="956078"/>
                  </a:lnTo>
                  <a:cubicBezTo>
                    <a:pt x="99870" y="957260"/>
                    <a:pt x="99870" y="957260"/>
                    <a:pt x="98052" y="958467"/>
                  </a:cubicBezTo>
                  <a:cubicBezTo>
                    <a:pt x="75683" y="972989"/>
                    <a:pt x="75683" y="972989"/>
                    <a:pt x="67286" y="972989"/>
                  </a:cubicBezTo>
                  <a:cubicBezTo>
                    <a:pt x="67286" y="973918"/>
                    <a:pt x="67286" y="974848"/>
                    <a:pt x="67286" y="975807"/>
                  </a:cubicBezTo>
                  <a:cubicBezTo>
                    <a:pt x="55713" y="979519"/>
                    <a:pt x="43549" y="980689"/>
                    <a:pt x="31942" y="976423"/>
                  </a:cubicBezTo>
                  <a:cubicBezTo>
                    <a:pt x="19953" y="970870"/>
                    <a:pt x="10774" y="964932"/>
                    <a:pt x="5673" y="953419"/>
                  </a:cubicBezTo>
                  <a:cubicBezTo>
                    <a:pt x="4801" y="950441"/>
                    <a:pt x="4801" y="950441"/>
                    <a:pt x="4801" y="944804"/>
                  </a:cubicBezTo>
                  <a:cubicBezTo>
                    <a:pt x="3770" y="944804"/>
                    <a:pt x="2739" y="944804"/>
                    <a:pt x="1676" y="944804"/>
                  </a:cubicBezTo>
                  <a:cubicBezTo>
                    <a:pt x="-34" y="940174"/>
                    <a:pt x="-41" y="936720"/>
                    <a:pt x="17" y="931857"/>
                  </a:cubicBezTo>
                  <a:cubicBezTo>
                    <a:pt x="31" y="930325"/>
                    <a:pt x="45" y="928794"/>
                    <a:pt x="59" y="927216"/>
                  </a:cubicBezTo>
                  <a:cubicBezTo>
                    <a:pt x="78" y="926044"/>
                    <a:pt x="96" y="924873"/>
                    <a:pt x="115" y="923666"/>
                  </a:cubicBezTo>
                  <a:cubicBezTo>
                    <a:pt x="1145" y="923666"/>
                    <a:pt x="2176" y="923666"/>
                    <a:pt x="3238" y="923666"/>
                  </a:cubicBezTo>
                  <a:cubicBezTo>
                    <a:pt x="3238" y="921805"/>
                    <a:pt x="3238" y="919945"/>
                    <a:pt x="3238" y="918029"/>
                  </a:cubicBezTo>
                  <a:cubicBezTo>
                    <a:pt x="4270" y="918029"/>
                    <a:pt x="5300" y="918029"/>
                    <a:pt x="6363" y="918029"/>
                  </a:cubicBezTo>
                  <a:cubicBezTo>
                    <a:pt x="6459" y="916314"/>
                    <a:pt x="6556" y="914599"/>
                    <a:pt x="6656" y="912832"/>
                  </a:cubicBezTo>
                  <a:cubicBezTo>
                    <a:pt x="7542" y="906455"/>
                    <a:pt x="10104" y="903750"/>
                    <a:pt x="15736" y="899709"/>
                  </a:cubicBezTo>
                  <a:lnTo>
                    <a:pt x="17243" y="898894"/>
                  </a:lnTo>
                  <a:lnTo>
                    <a:pt x="16800" y="898694"/>
                  </a:lnTo>
                  <a:lnTo>
                    <a:pt x="24988" y="894101"/>
                  </a:lnTo>
                  <a:lnTo>
                    <a:pt x="26768" y="892399"/>
                  </a:lnTo>
                  <a:cubicBezTo>
                    <a:pt x="28282" y="891122"/>
                    <a:pt x="29038" y="890483"/>
                    <a:pt x="30198" y="890164"/>
                  </a:cubicBezTo>
                  <a:lnTo>
                    <a:pt x="32204" y="890054"/>
                  </a:lnTo>
                  <a:lnTo>
                    <a:pt x="38914" y="886291"/>
                  </a:lnTo>
                  <a:cubicBezTo>
                    <a:pt x="47169" y="885770"/>
                    <a:pt x="55396" y="885800"/>
                    <a:pt x="63664" y="886011"/>
                  </a:cubicBezTo>
                  <a:lnTo>
                    <a:pt x="63664" y="886531"/>
                  </a:lnTo>
                  <a:lnTo>
                    <a:pt x="70784" y="886647"/>
                  </a:lnTo>
                  <a:cubicBezTo>
                    <a:pt x="74787" y="887000"/>
                    <a:pt x="77233" y="887948"/>
                    <a:pt x="82126" y="889845"/>
                  </a:cubicBezTo>
                  <a:cubicBezTo>
                    <a:pt x="92427" y="893791"/>
                    <a:pt x="103139" y="893710"/>
                    <a:pt x="114149" y="892663"/>
                  </a:cubicBezTo>
                  <a:cubicBezTo>
                    <a:pt x="115696" y="891733"/>
                    <a:pt x="117242" y="890803"/>
                    <a:pt x="118836" y="889845"/>
                  </a:cubicBezTo>
                  <a:cubicBezTo>
                    <a:pt x="123097" y="888850"/>
                    <a:pt x="127325" y="887944"/>
                    <a:pt x="131626" y="887114"/>
                  </a:cubicBezTo>
                  <a:cubicBezTo>
                    <a:pt x="139750" y="885542"/>
                    <a:pt x="147376" y="883653"/>
                    <a:pt x="155116" y="880913"/>
                  </a:cubicBezTo>
                  <a:cubicBezTo>
                    <a:pt x="158498" y="879775"/>
                    <a:pt x="161861" y="879076"/>
                    <a:pt x="165406" y="878483"/>
                  </a:cubicBezTo>
                  <a:cubicBezTo>
                    <a:pt x="170342" y="877655"/>
                    <a:pt x="172265" y="876971"/>
                    <a:pt x="176634" y="874343"/>
                  </a:cubicBezTo>
                  <a:cubicBezTo>
                    <a:pt x="179863" y="873335"/>
                    <a:pt x="183123" y="872404"/>
                    <a:pt x="186397" y="871524"/>
                  </a:cubicBezTo>
                  <a:cubicBezTo>
                    <a:pt x="189107" y="870786"/>
                    <a:pt x="189107" y="870786"/>
                    <a:pt x="191871" y="870033"/>
                  </a:cubicBezTo>
                  <a:cubicBezTo>
                    <a:pt x="195731" y="869023"/>
                    <a:pt x="199587" y="868093"/>
                    <a:pt x="203483" y="867208"/>
                  </a:cubicBezTo>
                  <a:cubicBezTo>
                    <a:pt x="208339" y="866199"/>
                    <a:pt x="208339" y="866199"/>
                    <a:pt x="211001" y="861660"/>
                  </a:cubicBezTo>
                  <a:cubicBezTo>
                    <a:pt x="214174" y="860102"/>
                    <a:pt x="214174" y="860102"/>
                    <a:pt x="218031" y="858577"/>
                  </a:cubicBezTo>
                  <a:cubicBezTo>
                    <a:pt x="236068" y="850629"/>
                    <a:pt x="245199" y="840442"/>
                    <a:pt x="254740" y="825020"/>
                  </a:cubicBezTo>
                  <a:cubicBezTo>
                    <a:pt x="255771" y="823625"/>
                    <a:pt x="256802" y="822230"/>
                    <a:pt x="257864" y="820792"/>
                  </a:cubicBezTo>
                  <a:cubicBezTo>
                    <a:pt x="258359" y="817506"/>
                    <a:pt x="258359" y="817506"/>
                    <a:pt x="258318" y="813810"/>
                  </a:cubicBezTo>
                  <a:cubicBezTo>
                    <a:pt x="258338" y="812388"/>
                    <a:pt x="258358" y="810967"/>
                    <a:pt x="258378" y="809502"/>
                  </a:cubicBezTo>
                  <a:cubicBezTo>
                    <a:pt x="258382" y="807965"/>
                    <a:pt x="258385" y="806429"/>
                    <a:pt x="258389" y="804845"/>
                  </a:cubicBezTo>
                  <a:cubicBezTo>
                    <a:pt x="258399" y="803258"/>
                    <a:pt x="258410" y="801671"/>
                    <a:pt x="258420" y="800036"/>
                  </a:cubicBezTo>
                  <a:cubicBezTo>
                    <a:pt x="258436" y="796670"/>
                    <a:pt x="258443" y="793305"/>
                    <a:pt x="258443" y="789939"/>
                  </a:cubicBezTo>
                  <a:cubicBezTo>
                    <a:pt x="258450" y="784823"/>
                    <a:pt x="258506" y="779709"/>
                    <a:pt x="258566" y="774594"/>
                  </a:cubicBezTo>
                  <a:cubicBezTo>
                    <a:pt x="258575" y="771319"/>
                    <a:pt x="258581" y="768045"/>
                    <a:pt x="258584" y="764771"/>
                  </a:cubicBezTo>
                  <a:cubicBezTo>
                    <a:pt x="258618" y="762495"/>
                    <a:pt x="258618" y="762495"/>
                    <a:pt x="258652" y="760174"/>
                  </a:cubicBezTo>
                  <a:cubicBezTo>
                    <a:pt x="258586" y="750030"/>
                    <a:pt x="256266" y="742584"/>
                    <a:pt x="251616" y="733421"/>
                  </a:cubicBezTo>
                  <a:cubicBezTo>
                    <a:pt x="250163" y="729605"/>
                    <a:pt x="248880" y="725752"/>
                    <a:pt x="247613" y="721883"/>
                  </a:cubicBezTo>
                  <a:cubicBezTo>
                    <a:pt x="245789" y="716328"/>
                    <a:pt x="243913" y="710939"/>
                    <a:pt x="241291" y="705644"/>
                  </a:cubicBezTo>
                  <a:cubicBezTo>
                    <a:pt x="238691" y="700096"/>
                    <a:pt x="238136" y="695685"/>
                    <a:pt x="237557" y="689735"/>
                  </a:cubicBezTo>
                  <a:cubicBezTo>
                    <a:pt x="244977" y="685507"/>
                    <a:pt x="244977" y="685507"/>
                    <a:pt x="248492" y="685507"/>
                  </a:cubicBezTo>
                  <a:cubicBezTo>
                    <a:pt x="248492" y="684112"/>
                    <a:pt x="248492" y="682717"/>
                    <a:pt x="248492" y="681279"/>
                  </a:cubicBezTo>
                  <a:cubicBezTo>
                    <a:pt x="245914" y="680815"/>
                    <a:pt x="243337" y="680350"/>
                    <a:pt x="240681" y="679870"/>
                  </a:cubicBezTo>
                  <a:cubicBezTo>
                    <a:pt x="240681" y="678940"/>
                    <a:pt x="240681" y="678010"/>
                    <a:pt x="240681" y="677052"/>
                  </a:cubicBezTo>
                  <a:cubicBezTo>
                    <a:pt x="239827" y="676917"/>
                    <a:pt x="238973" y="676783"/>
                    <a:pt x="238094" y="676645"/>
                  </a:cubicBezTo>
                  <a:cubicBezTo>
                    <a:pt x="233442" y="675371"/>
                    <a:pt x="229939" y="673242"/>
                    <a:pt x="225841" y="670886"/>
                  </a:cubicBezTo>
                  <a:cubicBezTo>
                    <a:pt x="217808" y="666564"/>
                    <a:pt x="210635" y="664241"/>
                    <a:pt x="201531" y="662508"/>
                  </a:cubicBezTo>
                  <a:cubicBezTo>
                    <a:pt x="196896" y="661541"/>
                    <a:pt x="192682" y="660199"/>
                    <a:pt x="188252" y="658644"/>
                  </a:cubicBezTo>
                  <a:lnTo>
                    <a:pt x="182431" y="657327"/>
                  </a:lnTo>
                  <a:lnTo>
                    <a:pt x="182431" y="657613"/>
                  </a:lnTo>
                  <a:cubicBezTo>
                    <a:pt x="170575" y="657148"/>
                    <a:pt x="158718" y="656683"/>
                    <a:pt x="146503" y="656204"/>
                  </a:cubicBezTo>
                  <a:cubicBezTo>
                    <a:pt x="146503" y="657133"/>
                    <a:pt x="146503" y="658064"/>
                    <a:pt x="146503" y="659022"/>
                  </a:cubicBezTo>
                  <a:cubicBezTo>
                    <a:pt x="134359" y="662326"/>
                    <a:pt x="123013" y="663700"/>
                    <a:pt x="110378" y="663778"/>
                  </a:cubicBezTo>
                  <a:cubicBezTo>
                    <a:pt x="108435" y="663806"/>
                    <a:pt x="108435" y="663806"/>
                    <a:pt x="106453" y="663836"/>
                  </a:cubicBezTo>
                  <a:cubicBezTo>
                    <a:pt x="105231" y="663828"/>
                    <a:pt x="104009" y="663820"/>
                    <a:pt x="102751" y="663811"/>
                  </a:cubicBezTo>
                  <a:cubicBezTo>
                    <a:pt x="101117" y="663804"/>
                    <a:pt x="101117" y="663804"/>
                    <a:pt x="99449" y="663797"/>
                  </a:cubicBezTo>
                  <a:cubicBezTo>
                    <a:pt x="95696" y="663097"/>
                    <a:pt x="94265" y="661615"/>
                    <a:pt x="91828" y="659022"/>
                  </a:cubicBezTo>
                  <a:cubicBezTo>
                    <a:pt x="93890" y="659022"/>
                    <a:pt x="95953" y="659022"/>
                    <a:pt x="98077" y="659022"/>
                  </a:cubicBezTo>
                  <a:cubicBezTo>
                    <a:pt x="98077" y="659952"/>
                    <a:pt x="98077" y="660882"/>
                    <a:pt x="98077" y="661841"/>
                  </a:cubicBezTo>
                  <a:cubicBezTo>
                    <a:pt x="108735" y="662045"/>
                    <a:pt x="114063" y="662148"/>
                    <a:pt x="119023" y="661357"/>
                  </a:cubicBezTo>
                  <a:lnTo>
                    <a:pt x="119536" y="661197"/>
                  </a:lnTo>
                  <a:lnTo>
                    <a:pt x="109853" y="661639"/>
                  </a:lnTo>
                  <a:cubicBezTo>
                    <a:pt x="108764" y="661632"/>
                    <a:pt x="107675" y="661626"/>
                    <a:pt x="106552" y="661619"/>
                  </a:cubicBezTo>
                  <a:cubicBezTo>
                    <a:pt x="103877" y="661603"/>
                    <a:pt x="101203" y="661577"/>
                    <a:pt x="98528" y="661550"/>
                  </a:cubicBezTo>
                  <a:cubicBezTo>
                    <a:pt x="98528" y="660620"/>
                    <a:pt x="98528" y="659691"/>
                    <a:pt x="98528" y="658732"/>
                  </a:cubicBezTo>
                  <a:cubicBezTo>
                    <a:pt x="95435" y="658267"/>
                    <a:pt x="92342" y="657802"/>
                    <a:pt x="89155" y="657323"/>
                  </a:cubicBezTo>
                  <a:cubicBezTo>
                    <a:pt x="89155" y="656393"/>
                    <a:pt x="89155" y="655462"/>
                    <a:pt x="89155" y="654504"/>
                  </a:cubicBezTo>
                  <a:cubicBezTo>
                    <a:pt x="87790" y="653978"/>
                    <a:pt x="87790" y="653978"/>
                    <a:pt x="86397" y="653442"/>
                  </a:cubicBezTo>
                  <a:cubicBezTo>
                    <a:pt x="82415" y="651438"/>
                    <a:pt x="80039" y="649232"/>
                    <a:pt x="77049" y="646137"/>
                  </a:cubicBezTo>
                  <a:cubicBezTo>
                    <a:pt x="75611" y="644679"/>
                    <a:pt x="75611" y="644679"/>
                    <a:pt x="74145" y="643192"/>
                  </a:cubicBezTo>
                  <a:cubicBezTo>
                    <a:pt x="71972" y="640412"/>
                    <a:pt x="71972" y="640412"/>
                    <a:pt x="71972" y="636185"/>
                  </a:cubicBezTo>
                  <a:cubicBezTo>
                    <a:pt x="70941" y="636185"/>
                    <a:pt x="69910" y="636185"/>
                    <a:pt x="68848" y="636185"/>
                  </a:cubicBezTo>
                  <a:cubicBezTo>
                    <a:pt x="64250" y="621928"/>
                    <a:pt x="64695" y="609404"/>
                    <a:pt x="70410" y="595317"/>
                  </a:cubicBezTo>
                  <a:cubicBezTo>
                    <a:pt x="73096" y="591142"/>
                    <a:pt x="76144" y="587574"/>
                    <a:pt x="79782" y="584043"/>
                  </a:cubicBezTo>
                  <a:cubicBezTo>
                    <a:pt x="81205" y="582594"/>
                    <a:pt x="81205" y="582594"/>
                    <a:pt x="82656" y="581115"/>
                  </a:cubicBezTo>
                  <a:cubicBezTo>
                    <a:pt x="91488" y="574027"/>
                    <a:pt x="105133" y="571806"/>
                    <a:pt x="116694" y="572323"/>
                  </a:cubicBezTo>
                  <a:cubicBezTo>
                    <a:pt x="131556" y="574113"/>
                    <a:pt x="142046" y="580551"/>
                    <a:pt x="152031" y="590385"/>
                  </a:cubicBezTo>
                  <a:cubicBezTo>
                    <a:pt x="162272" y="600009"/>
                    <a:pt x="176992" y="605062"/>
                    <a:pt x="191474" y="605886"/>
                  </a:cubicBezTo>
                  <a:cubicBezTo>
                    <a:pt x="196845" y="606192"/>
                    <a:pt x="201203" y="606463"/>
                    <a:pt x="206314" y="608000"/>
                  </a:cubicBezTo>
                  <a:cubicBezTo>
                    <a:pt x="206314" y="608930"/>
                    <a:pt x="206314" y="609860"/>
                    <a:pt x="206314" y="610818"/>
                  </a:cubicBezTo>
                  <a:cubicBezTo>
                    <a:pt x="215689" y="610902"/>
                    <a:pt x="225058" y="610898"/>
                    <a:pt x="234433" y="610818"/>
                  </a:cubicBezTo>
                  <a:cubicBezTo>
                    <a:pt x="236112" y="610813"/>
                    <a:pt x="237791" y="610808"/>
                    <a:pt x="239522" y="610802"/>
                  </a:cubicBezTo>
                  <a:cubicBezTo>
                    <a:pt x="251005" y="610364"/>
                    <a:pt x="259257" y="606564"/>
                    <a:pt x="268799" y="600954"/>
                  </a:cubicBezTo>
                  <a:cubicBezTo>
                    <a:pt x="269770" y="600416"/>
                    <a:pt x="270740" y="599879"/>
                    <a:pt x="271740" y="599325"/>
                  </a:cubicBezTo>
                  <a:cubicBezTo>
                    <a:pt x="279452" y="594430"/>
                    <a:pt x="281420" y="587464"/>
                    <a:pt x="284420" y="579816"/>
                  </a:cubicBezTo>
                  <a:cubicBezTo>
                    <a:pt x="286047" y="576075"/>
                    <a:pt x="287725" y="572353"/>
                    <a:pt x="289399" y="568630"/>
                  </a:cubicBezTo>
                  <a:cubicBezTo>
                    <a:pt x="294095" y="558121"/>
                    <a:pt x="299004" y="547070"/>
                    <a:pt x="293958" y="535838"/>
                  </a:cubicBezTo>
                  <a:cubicBezTo>
                    <a:pt x="292436" y="533533"/>
                    <a:pt x="290781" y="531301"/>
                    <a:pt x="289107" y="529084"/>
                  </a:cubicBezTo>
                  <a:cubicBezTo>
                    <a:pt x="289107" y="528153"/>
                    <a:pt x="289107" y="527223"/>
                    <a:pt x="289107" y="526265"/>
                  </a:cubicBezTo>
                  <a:cubicBezTo>
                    <a:pt x="287560" y="525800"/>
                    <a:pt x="286014" y="525335"/>
                    <a:pt x="284420" y="524856"/>
                  </a:cubicBezTo>
                  <a:cubicBezTo>
                    <a:pt x="283905" y="523461"/>
                    <a:pt x="283389" y="522066"/>
                    <a:pt x="282858" y="520628"/>
                  </a:cubicBezTo>
                  <a:cubicBezTo>
                    <a:pt x="280750" y="518590"/>
                    <a:pt x="280750" y="518590"/>
                    <a:pt x="277977" y="516577"/>
                  </a:cubicBezTo>
                  <a:cubicBezTo>
                    <a:pt x="273591" y="513232"/>
                    <a:pt x="269227" y="509874"/>
                    <a:pt x="264925" y="506443"/>
                  </a:cubicBezTo>
                  <a:cubicBezTo>
                    <a:pt x="253596" y="497433"/>
                    <a:pt x="242132" y="488987"/>
                    <a:pt x="229746" y="481170"/>
                  </a:cubicBezTo>
                  <a:cubicBezTo>
                    <a:pt x="226846" y="479266"/>
                    <a:pt x="223950" y="477358"/>
                    <a:pt x="221057" y="475445"/>
                  </a:cubicBezTo>
                  <a:cubicBezTo>
                    <a:pt x="218227" y="473594"/>
                    <a:pt x="215396" y="471744"/>
                    <a:pt x="212563" y="469896"/>
                  </a:cubicBezTo>
                  <a:cubicBezTo>
                    <a:pt x="211351" y="469102"/>
                    <a:pt x="210138" y="468309"/>
                    <a:pt x="208889" y="467491"/>
                  </a:cubicBezTo>
                  <a:cubicBezTo>
                    <a:pt x="202848" y="463599"/>
                    <a:pt x="196732" y="459888"/>
                    <a:pt x="190406" y="456382"/>
                  </a:cubicBezTo>
                  <a:cubicBezTo>
                    <a:pt x="189263" y="455748"/>
                    <a:pt x="188119" y="455114"/>
                    <a:pt x="186942" y="454460"/>
                  </a:cubicBezTo>
                  <a:cubicBezTo>
                    <a:pt x="184648" y="453196"/>
                    <a:pt x="182348" y="451941"/>
                    <a:pt x="180041" y="450696"/>
                  </a:cubicBezTo>
                  <a:cubicBezTo>
                    <a:pt x="177292" y="449185"/>
                    <a:pt x="174612" y="447571"/>
                    <a:pt x="171948" y="445940"/>
                  </a:cubicBezTo>
                  <a:cubicBezTo>
                    <a:pt x="171948" y="445009"/>
                    <a:pt x="171948" y="444079"/>
                    <a:pt x="171948" y="443121"/>
                  </a:cubicBezTo>
                  <a:cubicBezTo>
                    <a:pt x="170804" y="442985"/>
                    <a:pt x="169660" y="442848"/>
                    <a:pt x="168482" y="442708"/>
                  </a:cubicBezTo>
                  <a:cubicBezTo>
                    <a:pt x="163547" y="441576"/>
                    <a:pt x="161063" y="439897"/>
                    <a:pt x="157107" y="437044"/>
                  </a:cubicBezTo>
                  <a:cubicBezTo>
                    <a:pt x="149345" y="431895"/>
                    <a:pt x="141843" y="429626"/>
                    <a:pt x="132559" y="427510"/>
                  </a:cubicBezTo>
                  <a:cubicBezTo>
                    <a:pt x="128067" y="426168"/>
                    <a:pt x="126607" y="425060"/>
                    <a:pt x="123522" y="421983"/>
                  </a:cubicBezTo>
                  <a:cubicBezTo>
                    <a:pt x="118310" y="419033"/>
                    <a:pt x="114076" y="418794"/>
                    <a:pt x="107986" y="418730"/>
                  </a:cubicBezTo>
                  <a:cubicBezTo>
                    <a:pt x="106174" y="418694"/>
                    <a:pt x="104362" y="418659"/>
                    <a:pt x="102494" y="418622"/>
                  </a:cubicBezTo>
                  <a:cubicBezTo>
                    <a:pt x="98715" y="418573"/>
                    <a:pt x="94936" y="418529"/>
                    <a:pt x="91157" y="418490"/>
                  </a:cubicBezTo>
                  <a:cubicBezTo>
                    <a:pt x="78470" y="418231"/>
                    <a:pt x="65485" y="417940"/>
                    <a:pt x="55277" y="410445"/>
                  </a:cubicBezTo>
                  <a:cubicBezTo>
                    <a:pt x="54084" y="409137"/>
                    <a:pt x="52893" y="407829"/>
                    <a:pt x="51665" y="406481"/>
                  </a:cubicBezTo>
                  <a:cubicBezTo>
                    <a:pt x="49752" y="404480"/>
                    <a:pt x="47831" y="402483"/>
                    <a:pt x="45904" y="400492"/>
                  </a:cubicBezTo>
                  <a:cubicBezTo>
                    <a:pt x="44996" y="399526"/>
                    <a:pt x="44088" y="398559"/>
                    <a:pt x="43152" y="397564"/>
                  </a:cubicBezTo>
                  <a:cubicBezTo>
                    <a:pt x="40865" y="395062"/>
                    <a:pt x="40865" y="395062"/>
                    <a:pt x="37605" y="393798"/>
                  </a:cubicBezTo>
                  <a:lnTo>
                    <a:pt x="38995" y="368712"/>
                  </a:lnTo>
                  <a:lnTo>
                    <a:pt x="38666" y="369724"/>
                  </a:lnTo>
                  <a:cubicBezTo>
                    <a:pt x="37003" y="374506"/>
                    <a:pt x="36202" y="379113"/>
                    <a:pt x="35542" y="384081"/>
                  </a:cubicBezTo>
                  <a:cubicBezTo>
                    <a:pt x="30313" y="376119"/>
                    <a:pt x="31188" y="366593"/>
                    <a:pt x="33326" y="357791"/>
                  </a:cubicBezTo>
                  <a:cubicBezTo>
                    <a:pt x="37176" y="347767"/>
                    <a:pt x="44536" y="340769"/>
                    <a:pt x="52725" y="333349"/>
                  </a:cubicBezTo>
                  <a:lnTo>
                    <a:pt x="55222" y="334475"/>
                  </a:lnTo>
                  <a:lnTo>
                    <a:pt x="56222" y="333347"/>
                  </a:lnTo>
                  <a:lnTo>
                    <a:pt x="55871" y="333347"/>
                  </a:lnTo>
                  <a:lnTo>
                    <a:pt x="56346" y="333207"/>
                  </a:lnTo>
                  <a:lnTo>
                    <a:pt x="56351" y="333202"/>
                  </a:lnTo>
                  <a:lnTo>
                    <a:pt x="56365" y="333202"/>
                  </a:lnTo>
                  <a:lnTo>
                    <a:pt x="79571" y="326360"/>
                  </a:lnTo>
                  <a:cubicBezTo>
                    <a:pt x="87782" y="326037"/>
                    <a:pt x="96164" y="327572"/>
                    <a:pt x="104297" y="330529"/>
                  </a:cubicBezTo>
                  <a:lnTo>
                    <a:pt x="107170" y="334417"/>
                  </a:lnTo>
                  <a:lnTo>
                    <a:pt x="109366" y="336046"/>
                  </a:lnTo>
                  <a:lnTo>
                    <a:pt x="109463" y="336020"/>
                  </a:lnTo>
                  <a:lnTo>
                    <a:pt x="109463" y="336118"/>
                  </a:lnTo>
                  <a:lnTo>
                    <a:pt x="115226" y="340394"/>
                  </a:lnTo>
                  <a:lnTo>
                    <a:pt x="114010" y="340120"/>
                  </a:lnTo>
                  <a:lnTo>
                    <a:pt x="133285" y="357423"/>
                  </a:lnTo>
                  <a:cubicBezTo>
                    <a:pt x="142471" y="373187"/>
                    <a:pt x="155564" y="382744"/>
                    <a:pt x="173509" y="389571"/>
                  </a:cubicBezTo>
                  <a:cubicBezTo>
                    <a:pt x="176254" y="390785"/>
                    <a:pt x="178988" y="392017"/>
                    <a:pt x="181711" y="393270"/>
                  </a:cubicBezTo>
                  <a:cubicBezTo>
                    <a:pt x="182964" y="393833"/>
                    <a:pt x="184216" y="394396"/>
                    <a:pt x="185507" y="394976"/>
                  </a:cubicBezTo>
                  <a:cubicBezTo>
                    <a:pt x="187897" y="396058"/>
                    <a:pt x="190281" y="397151"/>
                    <a:pt x="192658" y="398257"/>
                  </a:cubicBezTo>
                  <a:cubicBezTo>
                    <a:pt x="193749" y="398762"/>
                    <a:pt x="194841" y="399267"/>
                    <a:pt x="195966" y="399788"/>
                  </a:cubicBezTo>
                  <a:cubicBezTo>
                    <a:pt x="196912" y="400231"/>
                    <a:pt x="197858" y="400674"/>
                    <a:pt x="198833" y="401131"/>
                  </a:cubicBezTo>
                  <a:cubicBezTo>
                    <a:pt x="201808" y="402326"/>
                    <a:pt x="204701" y="403032"/>
                    <a:pt x="207877" y="403663"/>
                  </a:cubicBezTo>
                  <a:cubicBezTo>
                    <a:pt x="207877" y="404593"/>
                    <a:pt x="207877" y="405523"/>
                    <a:pt x="207877" y="406481"/>
                  </a:cubicBezTo>
                  <a:cubicBezTo>
                    <a:pt x="221233" y="411377"/>
                    <a:pt x="234752" y="415503"/>
                    <a:pt x="248492" y="419428"/>
                  </a:cubicBezTo>
                  <a:cubicBezTo>
                    <a:pt x="250298" y="419947"/>
                    <a:pt x="252104" y="420466"/>
                    <a:pt x="253965" y="421000"/>
                  </a:cubicBezTo>
                  <a:cubicBezTo>
                    <a:pt x="258388" y="422270"/>
                    <a:pt x="262812" y="423537"/>
                    <a:pt x="267237" y="424801"/>
                  </a:cubicBezTo>
                  <a:lnTo>
                    <a:pt x="267237" y="426451"/>
                  </a:lnTo>
                  <a:lnTo>
                    <a:pt x="288701" y="429217"/>
                  </a:lnTo>
                  <a:cubicBezTo>
                    <a:pt x="288701" y="430147"/>
                    <a:pt x="288701" y="431078"/>
                    <a:pt x="288701" y="432036"/>
                  </a:cubicBezTo>
                  <a:cubicBezTo>
                    <a:pt x="301487" y="433472"/>
                    <a:pt x="314148" y="433662"/>
                    <a:pt x="327010" y="433628"/>
                  </a:cubicBezTo>
                  <a:cubicBezTo>
                    <a:pt x="330502" y="433621"/>
                    <a:pt x="333994" y="433628"/>
                    <a:pt x="337486" y="433637"/>
                  </a:cubicBezTo>
                  <a:cubicBezTo>
                    <a:pt x="339734" y="433637"/>
                    <a:pt x="341982" y="433635"/>
                    <a:pt x="344229" y="433632"/>
                  </a:cubicBezTo>
                  <a:cubicBezTo>
                    <a:pt x="347246" y="433630"/>
                    <a:pt x="347246" y="433630"/>
                    <a:pt x="350323" y="433627"/>
                  </a:cubicBezTo>
                  <a:cubicBezTo>
                    <a:pt x="355445" y="433459"/>
                    <a:pt x="360220" y="432915"/>
                    <a:pt x="365245" y="432036"/>
                  </a:cubicBezTo>
                  <a:lnTo>
                    <a:pt x="360797" y="433759"/>
                  </a:lnTo>
                  <a:lnTo>
                    <a:pt x="365650" y="433257"/>
                  </a:lnTo>
                  <a:cubicBezTo>
                    <a:pt x="366166" y="431861"/>
                    <a:pt x="366682" y="430466"/>
                    <a:pt x="367213" y="429029"/>
                  </a:cubicBezTo>
                  <a:cubicBezTo>
                    <a:pt x="369854" y="427628"/>
                    <a:pt x="372501" y="426234"/>
                    <a:pt x="375188" y="424906"/>
                  </a:cubicBezTo>
                  <a:cubicBezTo>
                    <a:pt x="390245" y="417204"/>
                    <a:pt x="397438" y="403183"/>
                    <a:pt x="404704" y="389571"/>
                  </a:cubicBezTo>
                  <a:cubicBezTo>
                    <a:pt x="405219" y="389105"/>
                    <a:pt x="405734" y="388641"/>
                    <a:pt x="406265" y="388161"/>
                  </a:cubicBezTo>
                  <a:cubicBezTo>
                    <a:pt x="406663" y="382152"/>
                    <a:pt x="406555" y="376125"/>
                    <a:pt x="406559" y="370106"/>
                  </a:cubicBezTo>
                  <a:cubicBezTo>
                    <a:pt x="406578" y="368412"/>
                    <a:pt x="406597" y="366718"/>
                    <a:pt x="406617" y="364973"/>
                  </a:cubicBezTo>
                  <a:cubicBezTo>
                    <a:pt x="406620" y="363344"/>
                    <a:pt x="406622" y="361715"/>
                    <a:pt x="406626" y="360038"/>
                  </a:cubicBezTo>
                  <a:cubicBezTo>
                    <a:pt x="406632" y="358541"/>
                    <a:pt x="406638" y="357045"/>
                    <a:pt x="406645" y="355503"/>
                  </a:cubicBezTo>
                  <a:cubicBezTo>
                    <a:pt x="406264" y="351503"/>
                    <a:pt x="405326" y="349318"/>
                    <a:pt x="403142" y="345885"/>
                  </a:cubicBezTo>
                  <a:cubicBezTo>
                    <a:pt x="402583" y="343484"/>
                    <a:pt x="402067" y="341075"/>
                    <a:pt x="401579" y="338663"/>
                  </a:cubicBezTo>
                  <a:cubicBezTo>
                    <a:pt x="399365" y="330323"/>
                    <a:pt x="395538" y="323370"/>
                    <a:pt x="390938" y="315939"/>
                  </a:cubicBezTo>
                  <a:cubicBezTo>
                    <a:pt x="390290" y="314890"/>
                    <a:pt x="389642" y="313842"/>
                    <a:pt x="388976" y="312762"/>
                  </a:cubicBezTo>
                  <a:cubicBezTo>
                    <a:pt x="385623" y="307500"/>
                    <a:pt x="382070" y="302607"/>
                    <a:pt x="377934" y="297817"/>
                  </a:cubicBezTo>
                  <a:cubicBezTo>
                    <a:pt x="373788" y="292978"/>
                    <a:pt x="371423" y="288111"/>
                    <a:pt x="368775" y="282470"/>
                  </a:cubicBezTo>
                  <a:cubicBezTo>
                    <a:pt x="366035" y="278585"/>
                    <a:pt x="362994" y="274937"/>
                    <a:pt x="359890" y="271284"/>
                  </a:cubicBezTo>
                  <a:cubicBezTo>
                    <a:pt x="359059" y="270296"/>
                    <a:pt x="358230" y="269307"/>
                    <a:pt x="357374" y="268288"/>
                  </a:cubicBezTo>
                  <a:cubicBezTo>
                    <a:pt x="351312" y="261177"/>
                    <a:pt x="344882" y="254704"/>
                    <a:pt x="337533" y="248649"/>
                  </a:cubicBezTo>
                  <a:cubicBezTo>
                    <a:pt x="336767" y="247896"/>
                    <a:pt x="336002" y="247144"/>
                    <a:pt x="335214" y="246369"/>
                  </a:cubicBezTo>
                  <a:cubicBezTo>
                    <a:pt x="332597" y="243963"/>
                    <a:pt x="332597" y="243963"/>
                    <a:pt x="327085" y="242571"/>
                  </a:cubicBezTo>
                  <a:cubicBezTo>
                    <a:pt x="309670" y="236923"/>
                    <a:pt x="296614" y="222751"/>
                    <a:pt x="288785" y="207968"/>
                  </a:cubicBezTo>
                  <a:cubicBezTo>
                    <a:pt x="286673" y="202851"/>
                    <a:pt x="286348" y="197968"/>
                    <a:pt x="286373" y="192544"/>
                  </a:cubicBezTo>
                  <a:cubicBezTo>
                    <a:pt x="286377" y="191437"/>
                    <a:pt x="286381" y="190330"/>
                    <a:pt x="286385" y="189190"/>
                  </a:cubicBezTo>
                  <a:cubicBezTo>
                    <a:pt x="286881" y="178340"/>
                    <a:pt x="291581" y="171728"/>
                    <a:pt x="300042" y="164095"/>
                  </a:cubicBezTo>
                  <a:cubicBezTo>
                    <a:pt x="301386" y="162752"/>
                    <a:pt x="301386" y="162752"/>
                    <a:pt x="302757" y="161381"/>
                  </a:cubicBezTo>
                  <a:cubicBezTo>
                    <a:pt x="312597" y="152504"/>
                    <a:pt x="325185" y="152675"/>
                    <a:pt x="338411" y="152293"/>
                  </a:cubicBezTo>
                  <a:cubicBezTo>
                    <a:pt x="350839" y="152463"/>
                    <a:pt x="359094" y="154554"/>
                    <a:pt x="368482" y="161893"/>
                  </a:cubicBezTo>
                  <a:cubicBezTo>
                    <a:pt x="369609" y="163085"/>
                    <a:pt x="370737" y="164277"/>
                    <a:pt x="371899" y="165505"/>
                  </a:cubicBezTo>
                  <a:cubicBezTo>
                    <a:pt x="372962" y="166522"/>
                    <a:pt x="374026" y="167539"/>
                    <a:pt x="375121" y="168587"/>
                  </a:cubicBezTo>
                  <a:cubicBezTo>
                    <a:pt x="381050" y="176351"/>
                    <a:pt x="384520" y="184328"/>
                    <a:pt x="384982" y="193777"/>
                  </a:cubicBezTo>
                  <a:cubicBezTo>
                    <a:pt x="385464" y="201192"/>
                    <a:pt x="387638" y="207607"/>
                    <a:pt x="390352" y="214563"/>
                  </a:cubicBezTo>
                  <a:cubicBezTo>
                    <a:pt x="390934" y="216079"/>
                    <a:pt x="390934" y="216079"/>
                    <a:pt x="391529" y="217626"/>
                  </a:cubicBezTo>
                  <a:cubicBezTo>
                    <a:pt x="394082" y="223926"/>
                    <a:pt x="397412" y="228969"/>
                    <a:pt x="401579" y="234556"/>
                  </a:cubicBezTo>
                  <a:cubicBezTo>
                    <a:pt x="401579" y="235952"/>
                    <a:pt x="401579" y="237347"/>
                    <a:pt x="401579" y="238784"/>
                  </a:cubicBezTo>
                  <a:cubicBezTo>
                    <a:pt x="402884" y="239263"/>
                    <a:pt x="402884" y="239263"/>
                    <a:pt x="404215" y="239753"/>
                  </a:cubicBezTo>
                  <a:cubicBezTo>
                    <a:pt x="410099" y="242765"/>
                    <a:pt x="414395" y="246733"/>
                    <a:pt x="417811" y="251996"/>
                  </a:cubicBezTo>
                  <a:cubicBezTo>
                    <a:pt x="420462" y="255897"/>
                    <a:pt x="423407" y="258959"/>
                    <a:pt x="426866" y="262300"/>
                  </a:cubicBezTo>
                  <a:cubicBezTo>
                    <a:pt x="435101" y="270407"/>
                    <a:pt x="442641" y="278936"/>
                    <a:pt x="450097" y="287628"/>
                  </a:cubicBezTo>
                  <a:cubicBezTo>
                    <a:pt x="453081" y="291117"/>
                    <a:pt x="453081" y="291117"/>
                    <a:pt x="457425" y="293920"/>
                  </a:cubicBezTo>
                  <a:cubicBezTo>
                    <a:pt x="458585" y="294792"/>
                    <a:pt x="459745" y="295664"/>
                    <a:pt x="460940" y="296562"/>
                  </a:cubicBezTo>
                  <a:cubicBezTo>
                    <a:pt x="460940" y="297957"/>
                    <a:pt x="460940" y="299352"/>
                    <a:pt x="460940" y="300790"/>
                  </a:cubicBezTo>
                  <a:cubicBezTo>
                    <a:pt x="465063" y="302782"/>
                    <a:pt x="468862" y="304133"/>
                    <a:pt x="473437" y="305018"/>
                  </a:cubicBezTo>
                  <a:cubicBezTo>
                    <a:pt x="473437" y="305947"/>
                    <a:pt x="473437" y="306877"/>
                    <a:pt x="473437" y="307836"/>
                  </a:cubicBezTo>
                  <a:cubicBezTo>
                    <a:pt x="475581" y="308519"/>
                    <a:pt x="477730" y="309193"/>
                    <a:pt x="479881" y="309862"/>
                  </a:cubicBezTo>
                  <a:cubicBezTo>
                    <a:pt x="481077" y="310237"/>
                    <a:pt x="482273" y="310614"/>
                    <a:pt x="483505" y="311001"/>
                  </a:cubicBezTo>
                  <a:cubicBezTo>
                    <a:pt x="505448" y="316843"/>
                    <a:pt x="527690" y="314359"/>
                    <a:pt x="548419" y="306427"/>
                  </a:cubicBezTo>
                  <a:cubicBezTo>
                    <a:pt x="549548" y="305998"/>
                    <a:pt x="550678" y="305569"/>
                    <a:pt x="551842" y="305127"/>
                  </a:cubicBezTo>
                  <a:cubicBezTo>
                    <a:pt x="555376" y="303227"/>
                    <a:pt x="557584" y="300980"/>
                    <a:pt x="560232" y="298148"/>
                  </a:cubicBezTo>
                  <a:cubicBezTo>
                    <a:pt x="561137" y="297192"/>
                    <a:pt x="562041" y="296236"/>
                    <a:pt x="562972" y="295252"/>
                  </a:cubicBezTo>
                  <a:cubicBezTo>
                    <a:pt x="564755" y="293274"/>
                    <a:pt x="566459" y="291237"/>
                    <a:pt x="568086" y="289152"/>
                  </a:cubicBezTo>
                  <a:cubicBezTo>
                    <a:pt x="568813" y="288342"/>
                    <a:pt x="569539" y="287532"/>
                    <a:pt x="570289" y="286697"/>
                  </a:cubicBezTo>
                  <a:cubicBezTo>
                    <a:pt x="571319" y="286697"/>
                    <a:pt x="572350" y="286697"/>
                    <a:pt x="573413" y="286697"/>
                  </a:cubicBezTo>
                  <a:cubicBezTo>
                    <a:pt x="577408" y="276984"/>
                    <a:pt x="577197" y="267284"/>
                    <a:pt x="577220" y="257016"/>
                  </a:cubicBezTo>
                  <a:cubicBezTo>
                    <a:pt x="577227" y="255625"/>
                    <a:pt x="577227" y="255625"/>
                    <a:pt x="577235" y="254206"/>
                  </a:cubicBezTo>
                  <a:cubicBezTo>
                    <a:pt x="577257" y="237553"/>
                    <a:pt x="574604" y="222055"/>
                    <a:pt x="569443" y="206049"/>
                  </a:cubicBezTo>
                  <a:cubicBezTo>
                    <a:pt x="568726" y="203553"/>
                    <a:pt x="568726" y="203553"/>
                    <a:pt x="568726" y="200735"/>
                  </a:cubicBezTo>
                  <a:cubicBezTo>
                    <a:pt x="567695" y="200735"/>
                    <a:pt x="566664" y="200735"/>
                    <a:pt x="565602" y="200735"/>
                  </a:cubicBezTo>
                  <a:cubicBezTo>
                    <a:pt x="563274" y="195295"/>
                    <a:pt x="561092" y="190108"/>
                    <a:pt x="559549" y="184441"/>
                  </a:cubicBezTo>
                  <a:cubicBezTo>
                    <a:pt x="555572" y="173477"/>
                    <a:pt x="547043" y="167105"/>
                    <a:pt x="537484" y="159867"/>
                  </a:cubicBezTo>
                  <a:cubicBezTo>
                    <a:pt x="533579" y="156609"/>
                    <a:pt x="533579" y="156609"/>
                    <a:pt x="531235" y="154230"/>
                  </a:cubicBezTo>
                  <a:cubicBezTo>
                    <a:pt x="531235" y="153301"/>
                    <a:pt x="531235" y="152371"/>
                    <a:pt x="531235" y="151412"/>
                  </a:cubicBezTo>
                  <a:cubicBezTo>
                    <a:pt x="529689" y="150947"/>
                    <a:pt x="528143" y="150482"/>
                    <a:pt x="526549" y="150003"/>
                  </a:cubicBezTo>
                  <a:cubicBezTo>
                    <a:pt x="519904" y="137298"/>
                    <a:pt x="519105" y="120357"/>
                    <a:pt x="524304" y="107198"/>
                  </a:cubicBezTo>
                  <a:cubicBezTo>
                    <a:pt x="529443" y="97376"/>
                    <a:pt x="535781" y="90193"/>
                    <a:pt x="547052" y="85972"/>
                  </a:cubicBezTo>
                  <a:cubicBezTo>
                    <a:pt x="559924" y="81835"/>
                    <a:pt x="575221" y="79746"/>
                    <a:pt x="588460" y="83538"/>
                  </a:cubicBezTo>
                  <a:cubicBezTo>
                    <a:pt x="601643" y="89713"/>
                    <a:pt x="611835" y="99450"/>
                    <a:pt x="617152" y="111954"/>
                  </a:cubicBezTo>
                  <a:cubicBezTo>
                    <a:pt x="617935" y="116052"/>
                    <a:pt x="617954" y="120024"/>
                    <a:pt x="617884" y="124175"/>
                  </a:cubicBezTo>
                  <a:cubicBezTo>
                    <a:pt x="617896" y="125307"/>
                    <a:pt x="617906" y="126440"/>
                    <a:pt x="617917" y="127607"/>
                  </a:cubicBezTo>
                  <a:cubicBezTo>
                    <a:pt x="617963" y="132394"/>
                    <a:pt x="617938" y="137181"/>
                    <a:pt x="617919" y="141969"/>
                  </a:cubicBezTo>
                  <a:cubicBezTo>
                    <a:pt x="617899" y="160184"/>
                    <a:pt x="619422" y="175572"/>
                    <a:pt x="630625" y="191311"/>
                  </a:cubicBezTo>
                  <a:cubicBezTo>
                    <a:pt x="633753" y="195891"/>
                    <a:pt x="636431" y="199900"/>
                    <a:pt x="637850" y="205139"/>
                  </a:cubicBezTo>
                  <a:cubicBezTo>
                    <a:pt x="638615" y="209623"/>
                    <a:pt x="638615" y="209623"/>
                    <a:pt x="643708" y="212009"/>
                  </a:cubicBezTo>
                  <a:cubicBezTo>
                    <a:pt x="645380" y="214563"/>
                    <a:pt x="645380" y="214563"/>
                    <a:pt x="647027" y="217645"/>
                  </a:cubicBezTo>
                  <a:cubicBezTo>
                    <a:pt x="652549" y="227016"/>
                    <a:pt x="660443" y="235696"/>
                    <a:pt x="670264" y="241603"/>
                  </a:cubicBezTo>
                  <a:cubicBezTo>
                    <a:pt x="670264" y="242532"/>
                    <a:pt x="670264" y="243462"/>
                    <a:pt x="670264" y="244421"/>
                  </a:cubicBezTo>
                  <a:cubicBezTo>
                    <a:pt x="672036" y="244857"/>
                    <a:pt x="673808" y="245293"/>
                    <a:pt x="675634" y="245742"/>
                  </a:cubicBezTo>
                  <a:cubicBezTo>
                    <a:pt x="681199" y="247239"/>
                    <a:pt x="681199" y="247239"/>
                    <a:pt x="682761" y="248649"/>
                  </a:cubicBezTo>
                  <a:cubicBezTo>
                    <a:pt x="704487" y="252065"/>
                    <a:pt x="732606" y="256402"/>
                    <a:pt x="752092" y="245076"/>
                  </a:cubicBezTo>
                  <a:cubicBezTo>
                    <a:pt x="754252" y="243599"/>
                    <a:pt x="756372" y="242073"/>
                    <a:pt x="758433" y="240485"/>
                  </a:cubicBezTo>
                  <a:cubicBezTo>
                    <a:pt x="760867" y="238784"/>
                    <a:pt x="760867" y="238784"/>
                    <a:pt x="763991" y="238784"/>
                  </a:cubicBezTo>
                  <a:cubicBezTo>
                    <a:pt x="764647" y="237296"/>
                    <a:pt x="764647" y="237296"/>
                    <a:pt x="765315" y="235778"/>
                  </a:cubicBezTo>
                  <a:cubicBezTo>
                    <a:pt x="767151" y="231659"/>
                    <a:pt x="769030" y="227557"/>
                    <a:pt x="770923" y="223459"/>
                  </a:cubicBezTo>
                  <a:cubicBezTo>
                    <a:pt x="771608" y="221966"/>
                    <a:pt x="772292" y="220472"/>
                    <a:pt x="772998" y="218934"/>
                  </a:cubicBezTo>
                  <a:cubicBezTo>
                    <a:pt x="774429" y="215885"/>
                    <a:pt x="775968" y="212878"/>
                    <a:pt x="777562" y="209895"/>
                  </a:cubicBezTo>
                  <a:cubicBezTo>
                    <a:pt x="787607" y="185732"/>
                    <a:pt x="788559" y="149501"/>
                    <a:pt x="781175" y="124637"/>
                  </a:cubicBezTo>
                  <a:cubicBezTo>
                    <a:pt x="780144" y="124637"/>
                    <a:pt x="779113" y="124637"/>
                    <a:pt x="778051" y="124637"/>
                  </a:cubicBezTo>
                  <a:cubicBezTo>
                    <a:pt x="768501" y="110080"/>
                    <a:pt x="762898" y="96653"/>
                    <a:pt x="767116" y="79542"/>
                  </a:cubicBezTo>
                  <a:cubicBezTo>
                    <a:pt x="772286" y="69057"/>
                    <a:pt x="781456" y="58252"/>
                    <a:pt x="793379" y="54000"/>
                  </a:cubicBezTo>
                  <a:cubicBezTo>
                    <a:pt x="808369" y="49250"/>
                    <a:pt x="826058" y="49579"/>
                    <a:pt x="840688" y="55503"/>
                  </a:cubicBezTo>
                  <a:cubicBezTo>
                    <a:pt x="845183" y="57759"/>
                    <a:pt x="848037" y="60575"/>
                    <a:pt x="851470" y="64040"/>
                  </a:cubicBezTo>
                  <a:cubicBezTo>
                    <a:pt x="852721" y="65272"/>
                    <a:pt x="852721" y="65272"/>
                    <a:pt x="853997" y="66529"/>
                  </a:cubicBezTo>
                  <a:cubicBezTo>
                    <a:pt x="858396" y="71505"/>
                    <a:pt x="860490" y="76640"/>
                    <a:pt x="861488" y="82057"/>
                  </a:cubicBezTo>
                  <a:lnTo>
                    <a:pt x="861937" y="90492"/>
                  </a:lnTo>
                  <a:lnTo>
                    <a:pt x="863826" y="100715"/>
                  </a:lnTo>
                  <a:cubicBezTo>
                    <a:pt x="862141" y="107853"/>
                    <a:pt x="859866" y="114857"/>
                    <a:pt x="857577" y="121853"/>
                  </a:cubicBezTo>
                  <a:cubicBezTo>
                    <a:pt x="857062" y="121853"/>
                    <a:pt x="856547" y="121853"/>
                    <a:pt x="856015" y="121853"/>
                  </a:cubicBezTo>
                  <a:cubicBezTo>
                    <a:pt x="855731" y="120401"/>
                    <a:pt x="855731" y="120401"/>
                    <a:pt x="855442" y="118919"/>
                  </a:cubicBezTo>
                  <a:lnTo>
                    <a:pt x="855417" y="118798"/>
                  </a:lnTo>
                  <a:lnTo>
                    <a:pt x="856157" y="124637"/>
                  </a:lnTo>
                  <a:lnTo>
                    <a:pt x="850623" y="134701"/>
                  </a:lnTo>
                  <a:lnTo>
                    <a:pt x="851325" y="135968"/>
                  </a:lnTo>
                  <a:cubicBezTo>
                    <a:pt x="850851" y="137246"/>
                    <a:pt x="850376" y="138525"/>
                    <a:pt x="849886" y="139843"/>
                  </a:cubicBezTo>
                  <a:cubicBezTo>
                    <a:pt x="848171" y="144505"/>
                    <a:pt x="847798" y="148002"/>
                    <a:pt x="847786" y="152889"/>
                  </a:cubicBezTo>
                  <a:cubicBezTo>
                    <a:pt x="847779" y="154500"/>
                    <a:pt x="847773" y="156109"/>
                    <a:pt x="847767" y="157768"/>
                  </a:cubicBezTo>
                  <a:cubicBezTo>
                    <a:pt x="847782" y="159468"/>
                    <a:pt x="847796" y="161167"/>
                    <a:pt x="847810" y="162919"/>
                  </a:cubicBezTo>
                  <a:cubicBezTo>
                    <a:pt x="847821" y="165546"/>
                    <a:pt x="847821" y="165546"/>
                    <a:pt x="847832" y="168227"/>
                  </a:cubicBezTo>
                  <a:cubicBezTo>
                    <a:pt x="847980" y="181934"/>
                    <a:pt x="849003" y="195419"/>
                    <a:pt x="850903" y="209013"/>
                  </a:cubicBezTo>
                  <a:lnTo>
                    <a:pt x="852880" y="224692"/>
                  </a:lnTo>
                  <a:lnTo>
                    <a:pt x="854595" y="224692"/>
                  </a:lnTo>
                  <a:cubicBezTo>
                    <a:pt x="855086" y="225542"/>
                    <a:pt x="855577" y="226392"/>
                    <a:pt x="856083" y="227268"/>
                  </a:cubicBezTo>
                  <a:cubicBezTo>
                    <a:pt x="862358" y="237839"/>
                    <a:pt x="866924" y="242785"/>
                    <a:pt x="879588" y="247239"/>
                  </a:cubicBezTo>
                  <a:cubicBezTo>
                    <a:pt x="881642" y="248025"/>
                    <a:pt x="883692" y="248817"/>
                    <a:pt x="885739" y="249618"/>
                  </a:cubicBezTo>
                  <a:cubicBezTo>
                    <a:pt x="887318" y="250227"/>
                    <a:pt x="888897" y="250838"/>
                    <a:pt x="890523" y="251467"/>
                  </a:cubicBezTo>
                  <a:cubicBezTo>
                    <a:pt x="890523" y="252397"/>
                    <a:pt x="890523" y="253327"/>
                    <a:pt x="890523" y="254285"/>
                  </a:cubicBezTo>
                  <a:cubicBezTo>
                    <a:pt x="900347" y="257061"/>
                    <a:pt x="910127" y="259425"/>
                    <a:pt x="920203" y="261332"/>
                  </a:cubicBezTo>
                  <a:cubicBezTo>
                    <a:pt x="920203" y="261796"/>
                    <a:pt x="920203" y="262262"/>
                    <a:pt x="920203" y="262741"/>
                  </a:cubicBezTo>
                  <a:cubicBezTo>
                    <a:pt x="917111" y="262741"/>
                    <a:pt x="914018" y="262741"/>
                    <a:pt x="910831" y="262741"/>
                  </a:cubicBezTo>
                  <a:lnTo>
                    <a:pt x="910831" y="262864"/>
                  </a:lnTo>
                  <a:lnTo>
                    <a:pt x="927993" y="264177"/>
                  </a:lnTo>
                  <a:lnTo>
                    <a:pt x="939273" y="265285"/>
                  </a:lnTo>
                  <a:lnTo>
                    <a:pt x="940456" y="265191"/>
                  </a:lnTo>
                  <a:cubicBezTo>
                    <a:pt x="962552" y="263054"/>
                    <a:pt x="974979" y="255295"/>
                    <a:pt x="991622" y="242329"/>
                  </a:cubicBezTo>
                  <a:lnTo>
                    <a:pt x="1000803" y="236505"/>
                  </a:lnTo>
                  <a:lnTo>
                    <a:pt x="999806" y="236055"/>
                  </a:lnTo>
                  <a:cubicBezTo>
                    <a:pt x="1000902" y="234997"/>
                    <a:pt x="1001997" y="233941"/>
                    <a:pt x="1003126" y="232851"/>
                  </a:cubicBezTo>
                  <a:cubicBezTo>
                    <a:pt x="1012364" y="223880"/>
                    <a:pt x="1021184" y="214752"/>
                    <a:pt x="1029487" y="205052"/>
                  </a:cubicBezTo>
                  <a:lnTo>
                    <a:pt x="1029872" y="206442"/>
                  </a:lnTo>
                  <a:lnTo>
                    <a:pt x="1031614" y="203719"/>
                  </a:lnTo>
                  <a:cubicBezTo>
                    <a:pt x="1033221" y="199204"/>
                    <a:pt x="1035713" y="196017"/>
                    <a:pt x="1038924" y="192280"/>
                  </a:cubicBezTo>
                  <a:cubicBezTo>
                    <a:pt x="1039956" y="191815"/>
                    <a:pt x="1040987" y="191349"/>
                    <a:pt x="1042049" y="190870"/>
                  </a:cubicBezTo>
                  <a:cubicBezTo>
                    <a:pt x="1043161" y="188473"/>
                    <a:pt x="1043161" y="188473"/>
                    <a:pt x="1044294" y="186026"/>
                  </a:cubicBezTo>
                  <a:cubicBezTo>
                    <a:pt x="1046735" y="181006"/>
                    <a:pt x="1046735" y="181006"/>
                    <a:pt x="1051422" y="178188"/>
                  </a:cubicBezTo>
                  <a:cubicBezTo>
                    <a:pt x="1052553" y="175286"/>
                    <a:pt x="1052553" y="175286"/>
                    <a:pt x="1052984" y="172551"/>
                  </a:cubicBezTo>
                  <a:cubicBezTo>
                    <a:pt x="1054014" y="172551"/>
                    <a:pt x="1055046" y="172551"/>
                    <a:pt x="1056108" y="172551"/>
                  </a:cubicBezTo>
                  <a:cubicBezTo>
                    <a:pt x="1057139" y="169295"/>
                    <a:pt x="1058170" y="166040"/>
                    <a:pt x="1059232" y="162686"/>
                  </a:cubicBezTo>
                  <a:cubicBezTo>
                    <a:pt x="1060263" y="162686"/>
                    <a:pt x="1061295" y="162686"/>
                    <a:pt x="1062357" y="162686"/>
                  </a:cubicBezTo>
                  <a:cubicBezTo>
                    <a:pt x="1062755" y="161484"/>
                    <a:pt x="1062755" y="161484"/>
                    <a:pt x="1063162" y="160258"/>
                  </a:cubicBezTo>
                  <a:cubicBezTo>
                    <a:pt x="1065716" y="152917"/>
                    <a:pt x="1068813" y="146686"/>
                    <a:pt x="1073292" y="140138"/>
                  </a:cubicBezTo>
                  <a:cubicBezTo>
                    <a:pt x="1074322" y="140138"/>
                    <a:pt x="1075353" y="140138"/>
                    <a:pt x="1076415" y="140138"/>
                  </a:cubicBezTo>
                  <a:cubicBezTo>
                    <a:pt x="1079808" y="132748"/>
                    <a:pt x="1082509" y="125160"/>
                    <a:pt x="1085294" y="117569"/>
                  </a:cubicBezTo>
                  <a:cubicBezTo>
                    <a:pt x="1085972" y="116181"/>
                    <a:pt x="1086651" y="114793"/>
                    <a:pt x="1087350" y="113363"/>
                  </a:cubicBezTo>
                  <a:cubicBezTo>
                    <a:pt x="1089671" y="112666"/>
                    <a:pt x="1089671" y="112666"/>
                    <a:pt x="1092037" y="111954"/>
                  </a:cubicBezTo>
                  <a:cubicBezTo>
                    <a:pt x="1092230" y="110879"/>
                    <a:pt x="1092423" y="109803"/>
                    <a:pt x="1092623" y="108695"/>
                  </a:cubicBezTo>
                  <a:cubicBezTo>
                    <a:pt x="1093599" y="104908"/>
                    <a:pt x="1093599" y="104908"/>
                    <a:pt x="1096723" y="100680"/>
                  </a:cubicBezTo>
                  <a:cubicBezTo>
                    <a:pt x="1097207" y="99140"/>
                    <a:pt x="1097689" y="97599"/>
                    <a:pt x="1098188" y="96013"/>
                  </a:cubicBezTo>
                  <a:cubicBezTo>
                    <a:pt x="1099847" y="90815"/>
                    <a:pt x="1099847" y="90815"/>
                    <a:pt x="1102288" y="87029"/>
                  </a:cubicBezTo>
                  <a:cubicBezTo>
                    <a:pt x="1106061" y="79186"/>
                    <a:pt x="1107564" y="69424"/>
                    <a:pt x="1104534" y="61222"/>
                  </a:cubicBezTo>
                  <a:cubicBezTo>
                    <a:pt x="1104409" y="59341"/>
                    <a:pt x="1104366" y="57454"/>
                    <a:pt x="1104381" y="55569"/>
                  </a:cubicBezTo>
                  <a:cubicBezTo>
                    <a:pt x="1104386" y="54501"/>
                    <a:pt x="1104391" y="53434"/>
                    <a:pt x="1104397" y="52335"/>
                  </a:cubicBezTo>
                  <a:cubicBezTo>
                    <a:pt x="1104410" y="51228"/>
                    <a:pt x="1104423" y="50120"/>
                    <a:pt x="1104436" y="48979"/>
                  </a:cubicBezTo>
                  <a:cubicBezTo>
                    <a:pt x="1104443" y="47856"/>
                    <a:pt x="1104451" y="46733"/>
                    <a:pt x="1104457" y="45575"/>
                  </a:cubicBezTo>
                  <a:cubicBezTo>
                    <a:pt x="1104476" y="42805"/>
                    <a:pt x="1104504" y="40035"/>
                    <a:pt x="1104534" y="37265"/>
                  </a:cubicBezTo>
                  <a:cubicBezTo>
                    <a:pt x="1105565" y="37265"/>
                    <a:pt x="1106596" y="37265"/>
                    <a:pt x="1107658" y="37265"/>
                  </a:cubicBezTo>
                  <a:cubicBezTo>
                    <a:pt x="1107561" y="34562"/>
                    <a:pt x="1107561" y="34562"/>
                    <a:pt x="1107463" y="31805"/>
                  </a:cubicBezTo>
                  <a:cubicBezTo>
                    <a:pt x="1107353" y="28733"/>
                    <a:pt x="1107353" y="28733"/>
                    <a:pt x="1107658" y="25991"/>
                  </a:cubicBezTo>
                  <a:cubicBezTo>
                    <a:pt x="1108689" y="25062"/>
                    <a:pt x="1109720" y="24131"/>
                    <a:pt x="1110782" y="23173"/>
                  </a:cubicBezTo>
                  <a:cubicBezTo>
                    <a:pt x="1111104" y="22156"/>
                    <a:pt x="1111427" y="21138"/>
                    <a:pt x="1111759" y="20091"/>
                  </a:cubicBezTo>
                  <a:cubicBezTo>
                    <a:pt x="1116393" y="11539"/>
                    <a:pt x="1124927" y="6390"/>
                    <a:pt x="1134507" y="2828"/>
                  </a:cubicBezTo>
                  <a:cubicBezTo>
                    <a:pt x="1141389" y="825"/>
                    <a:pt x="1148262" y="-204"/>
                    <a:pt x="1155019" y="35"/>
                  </a:cubicBezTo>
                  <a:close/>
                </a:path>
              </a:pathLst>
            </a:custGeom>
            <a:solidFill>
              <a:schemeClr val="accent3"/>
            </a:solidFill>
            <a:ln w="2232" cap="flat">
              <a:noFill/>
              <a:prstDash val="solid"/>
              <a:miter/>
            </a:ln>
            <a:effectLst>
              <a:innerShdw blurRad="63500" dist="190500" dir="8100000">
                <a:schemeClr val="accent3">
                  <a:lumMod val="75000"/>
                  <a:alpha val="50000"/>
                </a:schemeClr>
              </a:innerShdw>
            </a:effectLst>
          </p:spPr>
          <p:txBody>
            <a:bodyPr wrap="square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249" name="Oval 248">
              <a:extLst>
                <a:ext uri="{FF2B5EF4-FFF2-40B4-BE49-F238E27FC236}">
                  <a16:creationId xmlns:a16="http://schemas.microsoft.com/office/drawing/2014/main" id="{AA2A252F-08BD-29BD-6A05-2FCC2B25E30E}"/>
                </a:ext>
              </a:extLst>
            </p:cNvPr>
            <p:cNvSpPr/>
            <p:nvPr/>
          </p:nvSpPr>
          <p:spPr>
            <a:xfrm>
              <a:off x="8562874" y="2669842"/>
              <a:ext cx="96793" cy="96793"/>
            </a:xfrm>
            <a:prstGeom prst="ellipse">
              <a:avLst/>
            </a:prstGeom>
            <a:solidFill>
              <a:schemeClr val="accent3">
                <a:lumMod val="75000"/>
                <a:alpha val="38000"/>
              </a:schemeClr>
            </a:solidFill>
            <a:ln>
              <a:noFill/>
            </a:ln>
            <a:effectLst>
              <a:outerShdw blurRad="50800" dist="38100" dir="8100000" sx="129000" sy="129000" algn="tr" rotWithShape="0">
                <a:schemeClr val="accent3">
                  <a:lumMod val="50000"/>
                  <a:alpha val="40000"/>
                </a:scheme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250" name="Oval 249">
              <a:extLst>
                <a:ext uri="{FF2B5EF4-FFF2-40B4-BE49-F238E27FC236}">
                  <a16:creationId xmlns:a16="http://schemas.microsoft.com/office/drawing/2014/main" id="{F9E2FCEF-AFEF-9214-3266-9F3BE47DAB6E}"/>
                </a:ext>
              </a:extLst>
            </p:cNvPr>
            <p:cNvSpPr/>
            <p:nvPr/>
          </p:nvSpPr>
          <p:spPr>
            <a:xfrm>
              <a:off x="8692086" y="2754594"/>
              <a:ext cx="96793" cy="96793"/>
            </a:xfrm>
            <a:prstGeom prst="ellipse">
              <a:avLst/>
            </a:prstGeom>
            <a:solidFill>
              <a:schemeClr val="accent3">
                <a:lumMod val="75000"/>
                <a:alpha val="38000"/>
              </a:schemeClr>
            </a:solidFill>
            <a:ln>
              <a:noFill/>
            </a:ln>
            <a:effectLst>
              <a:outerShdw blurRad="50800" dist="38100" dir="8100000" sx="129000" sy="129000" algn="tr" rotWithShape="0">
                <a:schemeClr val="accent3">
                  <a:lumMod val="50000"/>
                  <a:alpha val="40000"/>
                </a:scheme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251" name="Oval 250">
              <a:extLst>
                <a:ext uri="{FF2B5EF4-FFF2-40B4-BE49-F238E27FC236}">
                  <a16:creationId xmlns:a16="http://schemas.microsoft.com/office/drawing/2014/main" id="{DB2F767C-4D04-8DE7-A91B-A82C6B8C6F72}"/>
                </a:ext>
              </a:extLst>
            </p:cNvPr>
            <p:cNvSpPr/>
            <p:nvPr/>
          </p:nvSpPr>
          <p:spPr>
            <a:xfrm>
              <a:off x="8598303" y="2912286"/>
              <a:ext cx="75769" cy="75769"/>
            </a:xfrm>
            <a:prstGeom prst="ellipse">
              <a:avLst/>
            </a:prstGeom>
            <a:solidFill>
              <a:schemeClr val="accent3">
                <a:lumMod val="75000"/>
                <a:alpha val="38000"/>
              </a:schemeClr>
            </a:solidFill>
            <a:ln>
              <a:noFill/>
            </a:ln>
            <a:effectLst>
              <a:outerShdw blurRad="50800" dist="38100" dir="8100000" sx="129000" sy="129000" algn="tr" rotWithShape="0">
                <a:schemeClr val="accent3">
                  <a:lumMod val="50000"/>
                  <a:alpha val="40000"/>
                </a:scheme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252" name="Oval 251">
              <a:extLst>
                <a:ext uri="{FF2B5EF4-FFF2-40B4-BE49-F238E27FC236}">
                  <a16:creationId xmlns:a16="http://schemas.microsoft.com/office/drawing/2014/main" id="{7CC3BEE4-BD9C-E683-839D-D386150DBD16}"/>
                </a:ext>
              </a:extLst>
            </p:cNvPr>
            <p:cNvSpPr/>
            <p:nvPr/>
          </p:nvSpPr>
          <p:spPr>
            <a:xfrm>
              <a:off x="8800456" y="2894919"/>
              <a:ext cx="96793" cy="96793"/>
            </a:xfrm>
            <a:prstGeom prst="ellipse">
              <a:avLst/>
            </a:prstGeom>
            <a:solidFill>
              <a:schemeClr val="accent3">
                <a:lumMod val="75000"/>
                <a:alpha val="38000"/>
              </a:schemeClr>
            </a:solidFill>
            <a:ln>
              <a:noFill/>
            </a:ln>
            <a:effectLst>
              <a:outerShdw blurRad="50800" dist="38100" dir="8100000" sx="129000" sy="129000" algn="tr" rotWithShape="0">
                <a:schemeClr val="accent3">
                  <a:lumMod val="50000"/>
                  <a:alpha val="40000"/>
                </a:scheme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253" name="Oval 252">
              <a:extLst>
                <a:ext uri="{FF2B5EF4-FFF2-40B4-BE49-F238E27FC236}">
                  <a16:creationId xmlns:a16="http://schemas.microsoft.com/office/drawing/2014/main" id="{C6B92941-F655-BD48-37EC-B7C8741BB923}"/>
                </a:ext>
              </a:extLst>
            </p:cNvPr>
            <p:cNvSpPr/>
            <p:nvPr/>
          </p:nvSpPr>
          <p:spPr>
            <a:xfrm>
              <a:off x="8831716" y="2693461"/>
              <a:ext cx="65532" cy="65532"/>
            </a:xfrm>
            <a:prstGeom prst="ellipse">
              <a:avLst/>
            </a:prstGeom>
            <a:solidFill>
              <a:schemeClr val="accent3">
                <a:lumMod val="75000"/>
                <a:alpha val="38000"/>
              </a:schemeClr>
            </a:solidFill>
            <a:ln>
              <a:noFill/>
            </a:ln>
            <a:effectLst>
              <a:outerShdw blurRad="50800" dist="38100" dir="8100000" sx="129000" sy="129000" algn="tr" rotWithShape="0">
                <a:schemeClr val="accent3">
                  <a:lumMod val="50000"/>
                  <a:alpha val="40000"/>
                </a:scheme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</p:grpSp>
      <p:cxnSp>
        <p:nvCxnSpPr>
          <p:cNvPr id="255" name="Straight Arrow Connector 254">
            <a:extLst>
              <a:ext uri="{FF2B5EF4-FFF2-40B4-BE49-F238E27FC236}">
                <a16:creationId xmlns:a16="http://schemas.microsoft.com/office/drawing/2014/main" id="{FF1D5D8D-8D32-139D-715C-AF4CE79335F2}"/>
              </a:ext>
            </a:extLst>
          </p:cNvPr>
          <p:cNvCxnSpPr>
            <a:cxnSpLocks/>
          </p:cNvCxnSpPr>
          <p:nvPr/>
        </p:nvCxnSpPr>
        <p:spPr>
          <a:xfrm flipV="1">
            <a:off x="2467051" y="3091062"/>
            <a:ext cx="14866" cy="1844261"/>
          </a:xfrm>
          <a:prstGeom prst="straightConnector1">
            <a:avLst/>
          </a:prstGeom>
          <a:ln>
            <a:solidFill>
              <a:schemeClr val="tx1">
                <a:lumMod val="85000"/>
                <a:lumOff val="15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6" name="Straight Arrow Connector 255">
            <a:extLst>
              <a:ext uri="{FF2B5EF4-FFF2-40B4-BE49-F238E27FC236}">
                <a16:creationId xmlns:a16="http://schemas.microsoft.com/office/drawing/2014/main" id="{B9A79633-FBC1-7DEC-675C-51D2E6740770}"/>
              </a:ext>
            </a:extLst>
          </p:cNvPr>
          <p:cNvCxnSpPr>
            <a:cxnSpLocks/>
          </p:cNvCxnSpPr>
          <p:nvPr/>
        </p:nvCxnSpPr>
        <p:spPr>
          <a:xfrm flipV="1">
            <a:off x="10062323" y="2512813"/>
            <a:ext cx="16023" cy="1987750"/>
          </a:xfrm>
          <a:prstGeom prst="straightConnector1">
            <a:avLst/>
          </a:prstGeom>
          <a:ln>
            <a:solidFill>
              <a:schemeClr val="tx1">
                <a:lumMod val="85000"/>
                <a:lumOff val="15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7" name="Straight Arrow Connector 256">
            <a:extLst>
              <a:ext uri="{FF2B5EF4-FFF2-40B4-BE49-F238E27FC236}">
                <a16:creationId xmlns:a16="http://schemas.microsoft.com/office/drawing/2014/main" id="{6843A712-DC9B-6C54-BF46-4F2F560E6C5A}"/>
              </a:ext>
            </a:extLst>
          </p:cNvPr>
          <p:cNvCxnSpPr>
            <a:cxnSpLocks/>
          </p:cNvCxnSpPr>
          <p:nvPr/>
        </p:nvCxnSpPr>
        <p:spPr>
          <a:xfrm flipV="1">
            <a:off x="5520239" y="2809875"/>
            <a:ext cx="0" cy="1421476"/>
          </a:xfrm>
          <a:prstGeom prst="straightConnector1">
            <a:avLst/>
          </a:prstGeom>
          <a:ln>
            <a:solidFill>
              <a:schemeClr val="tx1">
                <a:lumMod val="85000"/>
                <a:lumOff val="15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8" name="Straight Arrow Connector 257">
            <a:extLst>
              <a:ext uri="{FF2B5EF4-FFF2-40B4-BE49-F238E27FC236}">
                <a16:creationId xmlns:a16="http://schemas.microsoft.com/office/drawing/2014/main" id="{A55B9539-B266-362B-DD7F-AF4C4DDECFAF}"/>
              </a:ext>
            </a:extLst>
          </p:cNvPr>
          <p:cNvCxnSpPr>
            <a:cxnSpLocks/>
          </p:cNvCxnSpPr>
          <p:nvPr/>
        </p:nvCxnSpPr>
        <p:spPr>
          <a:xfrm flipH="1" flipV="1">
            <a:off x="7135522" y="1985660"/>
            <a:ext cx="17795" cy="2657083"/>
          </a:xfrm>
          <a:prstGeom prst="straightConnector1">
            <a:avLst/>
          </a:prstGeom>
          <a:ln>
            <a:solidFill>
              <a:schemeClr val="tx1">
                <a:lumMod val="85000"/>
                <a:lumOff val="15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2" name="TextBox 261">
            <a:extLst>
              <a:ext uri="{FF2B5EF4-FFF2-40B4-BE49-F238E27FC236}">
                <a16:creationId xmlns:a16="http://schemas.microsoft.com/office/drawing/2014/main" id="{1BD51287-FB61-0C2A-6D71-3D52481F6D3B}"/>
              </a:ext>
            </a:extLst>
          </p:cNvPr>
          <p:cNvSpPr txBox="1"/>
          <p:nvPr/>
        </p:nvSpPr>
        <p:spPr>
          <a:xfrm>
            <a:off x="1611363" y="2376468"/>
            <a:ext cx="1767459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D19 sequencing</a:t>
            </a:r>
          </a:p>
        </p:txBody>
      </p:sp>
      <p:sp>
        <p:nvSpPr>
          <p:cNvPr id="263" name="TextBox 262">
            <a:extLst>
              <a:ext uri="{FF2B5EF4-FFF2-40B4-BE49-F238E27FC236}">
                <a16:creationId xmlns:a16="http://schemas.microsoft.com/office/drawing/2014/main" id="{BAE14047-2C63-42B8-4D23-A3CC1AD49C73}"/>
              </a:ext>
            </a:extLst>
          </p:cNvPr>
          <p:cNvSpPr txBox="1"/>
          <p:nvPr/>
        </p:nvSpPr>
        <p:spPr>
          <a:xfrm>
            <a:off x="8842126" y="1838154"/>
            <a:ext cx="2476402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How to sequence 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BsAb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and CAR-T?*</a:t>
            </a:r>
          </a:p>
        </p:txBody>
      </p:sp>
      <p:sp>
        <p:nvSpPr>
          <p:cNvPr id="264" name="TextBox 263">
            <a:extLst>
              <a:ext uri="{FF2B5EF4-FFF2-40B4-BE49-F238E27FC236}">
                <a16:creationId xmlns:a16="http://schemas.microsoft.com/office/drawing/2014/main" id="{6DA77FB5-47AD-E46A-2D43-96EB0F984AA3}"/>
              </a:ext>
            </a:extLst>
          </p:cNvPr>
          <p:cNvSpPr txBox="1"/>
          <p:nvPr/>
        </p:nvSpPr>
        <p:spPr>
          <a:xfrm>
            <a:off x="2961882" y="1645194"/>
            <a:ext cx="2347809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Early CAR-T failure </a:t>
            </a:r>
          </a:p>
        </p:txBody>
      </p:sp>
      <p:cxnSp>
        <p:nvCxnSpPr>
          <p:cNvPr id="265" name="Straight Arrow Connector 264">
            <a:extLst>
              <a:ext uri="{FF2B5EF4-FFF2-40B4-BE49-F238E27FC236}">
                <a16:creationId xmlns:a16="http://schemas.microsoft.com/office/drawing/2014/main" id="{B9D7CD81-E8B5-31A3-9A59-5E3303D1A4CA}"/>
              </a:ext>
            </a:extLst>
          </p:cNvPr>
          <p:cNvCxnSpPr>
            <a:cxnSpLocks/>
          </p:cNvCxnSpPr>
          <p:nvPr/>
        </p:nvCxnSpPr>
        <p:spPr>
          <a:xfrm flipV="1">
            <a:off x="4057437" y="2105025"/>
            <a:ext cx="0" cy="2126326"/>
          </a:xfrm>
          <a:prstGeom prst="straightConnector1">
            <a:avLst/>
          </a:prstGeom>
          <a:ln>
            <a:solidFill>
              <a:schemeClr val="tx1">
                <a:lumMod val="85000"/>
                <a:lumOff val="15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7" name="TextBox 266">
            <a:extLst>
              <a:ext uri="{FF2B5EF4-FFF2-40B4-BE49-F238E27FC236}">
                <a16:creationId xmlns:a16="http://schemas.microsoft.com/office/drawing/2014/main" id="{87EBFB49-B980-D4C8-E345-88B98F4D122A}"/>
              </a:ext>
            </a:extLst>
          </p:cNvPr>
          <p:cNvSpPr txBox="1"/>
          <p:nvPr/>
        </p:nvSpPr>
        <p:spPr>
          <a:xfrm>
            <a:off x="6002512" y="1574676"/>
            <a:ext cx="2347809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D20 loss</a:t>
            </a:r>
          </a:p>
        </p:txBody>
      </p:sp>
      <p:sp>
        <p:nvSpPr>
          <p:cNvPr id="268" name="TextBox 267">
            <a:extLst>
              <a:ext uri="{FF2B5EF4-FFF2-40B4-BE49-F238E27FC236}">
                <a16:creationId xmlns:a16="http://schemas.microsoft.com/office/drawing/2014/main" id="{2CEE4620-6D33-FABD-2A33-EC60C83D675B}"/>
              </a:ext>
            </a:extLst>
          </p:cNvPr>
          <p:cNvSpPr txBox="1"/>
          <p:nvPr/>
        </p:nvSpPr>
        <p:spPr>
          <a:xfrm>
            <a:off x="4930222" y="2077711"/>
            <a:ext cx="1212003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-cell fitness?</a:t>
            </a:r>
          </a:p>
        </p:txBody>
      </p:sp>
      <p:cxnSp>
        <p:nvCxnSpPr>
          <p:cNvPr id="273" name="Straight Arrow Connector 272">
            <a:extLst>
              <a:ext uri="{FF2B5EF4-FFF2-40B4-BE49-F238E27FC236}">
                <a16:creationId xmlns:a16="http://schemas.microsoft.com/office/drawing/2014/main" id="{DE035DB3-D7B4-0888-3720-BF994284793C}"/>
              </a:ext>
            </a:extLst>
          </p:cNvPr>
          <p:cNvCxnSpPr>
            <a:cxnSpLocks/>
          </p:cNvCxnSpPr>
          <p:nvPr/>
        </p:nvCxnSpPr>
        <p:spPr>
          <a:xfrm flipV="1">
            <a:off x="8536315" y="4186238"/>
            <a:ext cx="0" cy="257175"/>
          </a:xfrm>
          <a:prstGeom prst="straightConnector1">
            <a:avLst/>
          </a:prstGeom>
          <a:ln>
            <a:solidFill>
              <a:schemeClr val="tx1">
                <a:lumMod val="85000"/>
                <a:lumOff val="15000"/>
              </a:schemeClr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5" name="Straight Arrow Connector 274">
            <a:extLst>
              <a:ext uri="{FF2B5EF4-FFF2-40B4-BE49-F238E27FC236}">
                <a16:creationId xmlns:a16="http://schemas.microsoft.com/office/drawing/2014/main" id="{DBE6F12C-6EAE-6C5F-BFD5-B3C8866F59B7}"/>
              </a:ext>
            </a:extLst>
          </p:cNvPr>
          <p:cNvCxnSpPr>
            <a:cxnSpLocks/>
          </p:cNvCxnSpPr>
          <p:nvPr/>
        </p:nvCxnSpPr>
        <p:spPr>
          <a:xfrm>
            <a:off x="8536833" y="4190475"/>
            <a:ext cx="1521570" cy="1"/>
          </a:xfrm>
          <a:prstGeom prst="straightConnector1">
            <a:avLst/>
          </a:prstGeom>
          <a:ln>
            <a:solidFill>
              <a:schemeClr val="tx1">
                <a:lumMod val="85000"/>
                <a:lumOff val="15000"/>
              </a:schemeClr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640175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6FD37D04-BC49-2C0E-4098-D72637F5C09D}"/>
              </a:ext>
            </a:extLst>
          </p:cNvPr>
          <p:cNvSpPr txBox="1"/>
          <p:nvPr/>
        </p:nvSpPr>
        <p:spPr>
          <a:xfrm>
            <a:off x="2670431" y="1365810"/>
            <a:ext cx="7308480" cy="6309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900" b="1" dirty="0">
                <a:solidFill>
                  <a:schemeClr val="accent1"/>
                </a:solidFill>
              </a:rPr>
              <a:t>Welcome and introduction</a:t>
            </a:r>
          </a:p>
          <a:p>
            <a:r>
              <a:rPr lang="en-GB" sz="1600" dirty="0">
                <a:solidFill>
                  <a:srgbClr val="585854"/>
                </a:solidFill>
              </a:rPr>
              <a:t>Pier Luigi </a:t>
            </a:r>
            <a:r>
              <a:rPr lang="en-GB" sz="1600" dirty="0" err="1">
                <a:solidFill>
                  <a:srgbClr val="585854"/>
                </a:solidFill>
              </a:rPr>
              <a:t>Zinzani</a:t>
            </a:r>
            <a:r>
              <a:rPr lang="en-GB" sz="1600" dirty="0">
                <a:solidFill>
                  <a:srgbClr val="585854"/>
                </a:solidFill>
              </a:rPr>
              <a:t> (Chair, Italy)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FAD4BF9-6C45-4023-561F-3055F8199427}"/>
              </a:ext>
            </a:extLst>
          </p:cNvPr>
          <p:cNvSpPr txBox="1"/>
          <p:nvPr/>
        </p:nvSpPr>
        <p:spPr>
          <a:xfrm>
            <a:off x="2670431" y="2364651"/>
            <a:ext cx="7308480" cy="6309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900" b="1" dirty="0">
                <a:solidFill>
                  <a:schemeClr val="accent1"/>
                </a:solidFill>
              </a:rPr>
              <a:t>Diffuse large B-cell lymphoma today: Progresses and gaps</a:t>
            </a:r>
          </a:p>
          <a:p>
            <a:r>
              <a:rPr lang="en-GB" sz="1600" kern="1200" dirty="0">
                <a:solidFill>
                  <a:srgbClr val="585854"/>
                </a:solidFill>
                <a:ea typeface="+mn-ea"/>
                <a:cs typeface="+mn-cs"/>
              </a:rPr>
              <a:t>Anna Sureda </a:t>
            </a:r>
            <a:r>
              <a:rPr lang="en-GB" sz="1600" dirty="0">
                <a:solidFill>
                  <a:srgbClr val="585854"/>
                </a:solidFill>
              </a:rPr>
              <a:t>(</a:t>
            </a:r>
            <a:r>
              <a:rPr lang="en-GB" sz="1600" kern="0" dirty="0">
                <a:solidFill>
                  <a:srgbClr val="585854"/>
                </a:solidFill>
                <a:cs typeface="Arial" panose="020B0604020202020204" pitchFamily="34" charset="0"/>
                <a:sym typeface="Arial"/>
              </a:rPr>
              <a:t>Spain</a:t>
            </a:r>
            <a:r>
              <a:rPr lang="en-GB" sz="1600" dirty="0">
                <a:solidFill>
                  <a:srgbClr val="585854"/>
                </a:solidFill>
              </a:rPr>
              <a:t>)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371EFBA-6775-19D4-CC95-641D062AB169}"/>
              </a:ext>
            </a:extLst>
          </p:cNvPr>
          <p:cNvSpPr txBox="1"/>
          <p:nvPr/>
        </p:nvSpPr>
        <p:spPr>
          <a:xfrm>
            <a:off x="2670431" y="3355797"/>
            <a:ext cx="6725003" cy="6309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900" b="1" dirty="0">
                <a:solidFill>
                  <a:schemeClr val="accent1"/>
                </a:solidFill>
              </a:rPr>
              <a:t>Current options under scrutiny: What still limits outcomes? </a:t>
            </a:r>
          </a:p>
          <a:p>
            <a:r>
              <a:rPr lang="en-GB" sz="1600" dirty="0">
                <a:solidFill>
                  <a:srgbClr val="585854"/>
                </a:solidFill>
              </a:rPr>
              <a:t>Andrew Davies (United Kingdom)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6EC6D8D-2C8B-3184-0DCC-42716A8262F9}"/>
              </a:ext>
            </a:extLst>
          </p:cNvPr>
          <p:cNvSpPr txBox="1"/>
          <p:nvPr/>
        </p:nvSpPr>
        <p:spPr>
          <a:xfrm>
            <a:off x="2670431" y="4346943"/>
            <a:ext cx="7308480" cy="6309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900" b="1" dirty="0">
                <a:solidFill>
                  <a:schemeClr val="accent1"/>
                </a:solidFill>
              </a:rPr>
              <a:t>Clinical case reflections: Managing complexity in practice</a:t>
            </a:r>
          </a:p>
          <a:p>
            <a:r>
              <a:rPr lang="en-GB" sz="1600" dirty="0">
                <a:solidFill>
                  <a:srgbClr val="585854"/>
                </a:solidFill>
                <a:ea typeface="Calibri" panose="020F0502020204030204" pitchFamily="34" charset="0"/>
              </a:rPr>
              <a:t>Enrico </a:t>
            </a:r>
            <a:r>
              <a:rPr lang="en-GB" sz="1600" dirty="0" err="1">
                <a:solidFill>
                  <a:srgbClr val="585854"/>
                </a:solidFill>
                <a:ea typeface="Calibri" panose="020F0502020204030204" pitchFamily="34" charset="0"/>
              </a:rPr>
              <a:t>Derenzini</a:t>
            </a:r>
            <a:r>
              <a:rPr lang="en-GB" sz="1600" dirty="0">
                <a:solidFill>
                  <a:srgbClr val="585854"/>
                </a:solidFill>
                <a:ea typeface="Calibri" panose="020F0502020204030204" pitchFamily="34" charset="0"/>
              </a:rPr>
              <a:t> (</a:t>
            </a:r>
            <a:r>
              <a:rPr lang="en-GB" sz="1600" dirty="0">
                <a:solidFill>
                  <a:srgbClr val="585854"/>
                </a:solidFill>
              </a:rPr>
              <a:t>Italy</a:t>
            </a:r>
            <a:r>
              <a:rPr lang="en-GB" sz="1600" dirty="0">
                <a:solidFill>
                  <a:srgbClr val="585854"/>
                </a:solidFill>
                <a:ea typeface="Calibri" panose="020F0502020204030204" pitchFamily="34" charset="0"/>
              </a:rPr>
              <a:t>)</a:t>
            </a:r>
            <a:endParaRPr lang="en-GB" sz="1600" dirty="0">
              <a:solidFill>
                <a:srgbClr val="585854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65C61BC-A082-2699-1A82-48873FB30BAA}"/>
              </a:ext>
            </a:extLst>
          </p:cNvPr>
          <p:cNvSpPr txBox="1"/>
          <p:nvPr/>
        </p:nvSpPr>
        <p:spPr>
          <a:xfrm>
            <a:off x="2670431" y="6069760"/>
            <a:ext cx="7308480" cy="6309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900" b="1" dirty="0">
                <a:solidFill>
                  <a:schemeClr val="accent1"/>
                </a:solidFill>
              </a:rPr>
              <a:t>Q&amp;A session and closing remarks</a:t>
            </a:r>
          </a:p>
          <a:p>
            <a:r>
              <a:rPr lang="en-GB" sz="1600" dirty="0">
                <a:solidFill>
                  <a:srgbClr val="585854"/>
                </a:solidFill>
                <a:ea typeface="Calibri" panose="020F0502020204030204" pitchFamily="34" charset="0"/>
              </a:rPr>
              <a:t>All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D48F2A3F-0A6F-585F-83F5-90E5ABF05B34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58" t="2936" r="2821" b="2350"/>
          <a:stretch/>
        </p:blipFill>
        <p:spPr>
          <a:xfrm>
            <a:off x="1516112" y="1279637"/>
            <a:ext cx="818677" cy="818677"/>
          </a:xfrm>
          <a:prstGeom prst="ellipse">
            <a:avLst/>
          </a:prstGeom>
          <a:gradFill>
            <a:gsLst>
              <a:gs pos="0">
                <a:srgbClr val="F2A908"/>
              </a:gs>
              <a:gs pos="100000">
                <a:srgbClr val="FCCF13"/>
              </a:gs>
            </a:gsLst>
            <a:lin ang="5400000" scaled="1"/>
          </a:gradFill>
          <a:ln w="38100">
            <a:gradFill>
              <a:gsLst>
                <a:gs pos="100000">
                  <a:srgbClr val="FCCF13"/>
                </a:gs>
                <a:gs pos="0">
                  <a:srgbClr val="F3AD09"/>
                </a:gs>
              </a:gsLst>
              <a:lin ang="5400000" scaled="1"/>
            </a:gradFill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FA8C85D-AF89-5F88-21D5-F87A732F90E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-165" t="1701" r="165" b="12239"/>
          <a:stretch>
            <a:fillRect/>
          </a:stretch>
        </p:blipFill>
        <p:spPr>
          <a:xfrm>
            <a:off x="1516112" y="2270783"/>
            <a:ext cx="818677" cy="818677"/>
          </a:xfrm>
          <a:prstGeom prst="ellipse">
            <a:avLst/>
          </a:prstGeom>
          <a:gradFill>
            <a:gsLst>
              <a:gs pos="0">
                <a:srgbClr val="F2A908"/>
              </a:gs>
              <a:gs pos="100000">
                <a:srgbClr val="FCCF13"/>
              </a:gs>
            </a:gsLst>
            <a:lin ang="5400000" scaled="1"/>
          </a:gradFill>
          <a:ln w="38100">
            <a:gradFill>
              <a:gsLst>
                <a:gs pos="100000">
                  <a:srgbClr val="FCCF13"/>
                </a:gs>
                <a:gs pos="0">
                  <a:srgbClr val="F3AD09"/>
                </a:gs>
              </a:gsLst>
              <a:lin ang="5400000" scaled="1"/>
            </a:gradFill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9C8805E-6BB3-C18E-56A3-8FC666E9FD41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259" b="259"/>
          <a:stretch>
            <a:fillRect/>
          </a:stretch>
        </p:blipFill>
        <p:spPr>
          <a:xfrm>
            <a:off x="1475178" y="4212142"/>
            <a:ext cx="900544" cy="900544"/>
          </a:xfrm>
          <a:prstGeom prst="ellipse">
            <a:avLst/>
          </a:prstGeom>
          <a:gradFill>
            <a:gsLst>
              <a:gs pos="0">
                <a:srgbClr val="F2A908"/>
              </a:gs>
              <a:gs pos="100000">
                <a:srgbClr val="FCCF13"/>
              </a:gs>
            </a:gsLst>
            <a:lin ang="5400000" scaled="1"/>
          </a:gradFill>
          <a:ln w="38100">
            <a:noFill/>
          </a:ln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F135C43C-3320-DCFF-AA8B-54BC5EF23EF4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/>
          <a:stretch/>
        </p:blipFill>
        <p:spPr>
          <a:xfrm>
            <a:off x="1516112" y="3261929"/>
            <a:ext cx="818677" cy="818677"/>
          </a:xfrm>
          <a:prstGeom prst="ellipse">
            <a:avLst/>
          </a:prstGeom>
          <a:gradFill>
            <a:gsLst>
              <a:gs pos="0">
                <a:srgbClr val="F2A908"/>
              </a:gs>
              <a:gs pos="100000">
                <a:srgbClr val="FCCF13"/>
              </a:gs>
            </a:gsLst>
            <a:lin ang="5400000" scaled="1"/>
          </a:gradFill>
          <a:ln w="38100">
            <a:gradFill>
              <a:gsLst>
                <a:gs pos="100000">
                  <a:srgbClr val="FCCF13"/>
                </a:gs>
                <a:gs pos="0">
                  <a:srgbClr val="F3AD09"/>
                </a:gs>
              </a:gsLst>
              <a:lin ang="5400000" scaled="1"/>
            </a:gradFill>
          </a:ln>
        </p:spPr>
      </p:pic>
      <p:sp>
        <p:nvSpPr>
          <p:cNvPr id="28" name="Title 2">
            <a:extLst>
              <a:ext uri="{FF2B5EF4-FFF2-40B4-BE49-F238E27FC236}">
                <a16:creationId xmlns:a16="http://schemas.microsoft.com/office/drawing/2014/main" id="{070C039B-3599-FB9D-AF6D-1B004CF018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3177" y="404805"/>
            <a:ext cx="9349409" cy="648000"/>
          </a:xfrm>
        </p:spPr>
        <p:txBody>
          <a:bodyPr/>
          <a:lstStyle/>
          <a:p>
            <a:r>
              <a:rPr lang="en-GB" dirty="0"/>
              <a:t>Today’s agenda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E9BFD2A9-3F6A-966C-8446-FDC1A1369263}"/>
              </a:ext>
            </a:extLst>
          </p:cNvPr>
          <p:cNvSpPr txBox="1"/>
          <p:nvPr/>
        </p:nvSpPr>
        <p:spPr>
          <a:xfrm>
            <a:off x="2670431" y="5330396"/>
            <a:ext cx="7308480" cy="6309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900" b="1" dirty="0">
                <a:solidFill>
                  <a:schemeClr val="accent1"/>
                </a:solidFill>
              </a:rPr>
              <a:t>Future perspectives: What’s on the horizon?</a:t>
            </a:r>
          </a:p>
          <a:p>
            <a:r>
              <a:rPr lang="en-GB" sz="1600" dirty="0">
                <a:solidFill>
                  <a:srgbClr val="585854"/>
                </a:solidFill>
              </a:rPr>
              <a:t>Pier Luigi </a:t>
            </a:r>
            <a:r>
              <a:rPr lang="en-GB" sz="1600" dirty="0" err="1">
                <a:solidFill>
                  <a:srgbClr val="585854"/>
                </a:solidFill>
              </a:rPr>
              <a:t>Zinzani</a:t>
            </a:r>
            <a:r>
              <a:rPr lang="en-GB" sz="1600" dirty="0">
                <a:solidFill>
                  <a:srgbClr val="585854"/>
                </a:solidFill>
              </a:rPr>
              <a:t> (Chair, Italy)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82C43415-EBEA-4004-2896-15BA957069EC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58" t="2936" r="2821" b="2350"/>
          <a:stretch/>
        </p:blipFill>
        <p:spPr>
          <a:xfrm>
            <a:off x="1516112" y="5244223"/>
            <a:ext cx="818677" cy="818677"/>
          </a:xfrm>
          <a:prstGeom prst="ellipse">
            <a:avLst/>
          </a:prstGeom>
          <a:gradFill>
            <a:gsLst>
              <a:gs pos="0">
                <a:srgbClr val="F2A908"/>
              </a:gs>
              <a:gs pos="100000">
                <a:srgbClr val="FCCF13"/>
              </a:gs>
            </a:gsLst>
            <a:lin ang="5400000" scaled="1"/>
          </a:gradFill>
          <a:ln w="38100">
            <a:gradFill>
              <a:gsLst>
                <a:gs pos="100000">
                  <a:srgbClr val="FCCF13"/>
                </a:gs>
                <a:gs pos="0">
                  <a:srgbClr val="F3AD09"/>
                </a:gs>
              </a:gsLst>
              <a:lin ang="5400000" scaled="1"/>
            </a:gradFill>
          </a:ln>
        </p:spPr>
      </p:pic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AF15C819-1033-54D2-808D-144C38A5F49F}"/>
              </a:ext>
            </a:extLst>
          </p:cNvPr>
          <p:cNvSpPr txBox="1">
            <a:spLocks/>
          </p:cNvSpPr>
          <p:nvPr/>
        </p:nvSpPr>
        <p:spPr>
          <a:xfrm>
            <a:off x="11499651" y="6356350"/>
            <a:ext cx="383694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sv-SE"/>
            </a:defPPr>
            <a:lvl1pPr algn="r">
              <a:defRPr sz="900">
                <a:solidFill>
                  <a:schemeClr val="tx1">
                    <a:tint val="82000"/>
                  </a:schemeClr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306B0CF-28DA-4AF7-AD0B-CB9D5901F647}" type="slidenum">
              <a:rPr lang="en-GB" smtClean="0"/>
              <a:pPr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69708055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2A96E7DF-7B65-98BA-FDC9-9EFF8DB7F3FA}"/>
              </a:ext>
            </a:extLst>
          </p:cNvPr>
          <p:cNvSpPr txBox="1">
            <a:spLocks/>
          </p:cNvSpPr>
          <p:nvPr/>
        </p:nvSpPr>
        <p:spPr>
          <a:xfrm>
            <a:off x="1586699" y="5520668"/>
            <a:ext cx="634877" cy="634877"/>
          </a:xfrm>
          <a:prstGeom prst="ellipse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2"/>
              </a:gs>
            </a:gsLst>
            <a:lin ang="13500000" scaled="1"/>
            <a:tileRect/>
          </a:gradFill>
        </p:spPr>
        <p:txBody>
          <a:bodyPr anchor="ctr" anchorCtr="1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</a:p>
        </p:txBody>
      </p:sp>
      <p:sp>
        <p:nvSpPr>
          <p:cNvPr id="17" name="Title 6">
            <a:extLst>
              <a:ext uri="{FF2B5EF4-FFF2-40B4-BE49-F238E27FC236}">
                <a16:creationId xmlns:a16="http://schemas.microsoft.com/office/drawing/2014/main" id="{72BF8341-FA54-0439-726E-1099DC6281B2}"/>
              </a:ext>
            </a:extLst>
          </p:cNvPr>
          <p:cNvSpPr txBox="1">
            <a:spLocks/>
          </p:cNvSpPr>
          <p:nvPr/>
        </p:nvSpPr>
        <p:spPr>
          <a:xfrm>
            <a:off x="2567559" y="4536125"/>
            <a:ext cx="8993069" cy="666914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 Display" panose="02110004020202020204"/>
                <a:ea typeface="+mj-ea"/>
                <a:cs typeface="+mj-cs"/>
              </a:rPr>
              <a:t>In this scenario,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 Display" panose="02110004020202020204"/>
                <a:ea typeface="+mj-ea"/>
                <a:cs typeface="+mj-cs"/>
              </a:rPr>
              <a:t>old and new questions 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 Display" panose="02110004020202020204"/>
                <a:ea typeface="+mj-ea"/>
                <a:cs typeface="+mj-cs"/>
              </a:rPr>
              <a:t>are open around these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 Display" panose="02110004020202020204"/>
                <a:ea typeface="+mj-ea"/>
                <a:cs typeface="+mj-cs"/>
              </a:rPr>
              <a:t>patient-, disease-, and treatment-related factors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 Display" panose="02110004020202020204"/>
                <a:ea typeface="+mj-ea"/>
                <a:cs typeface="+mj-cs"/>
              </a:rPr>
              <a:t>, and more data are needed </a:t>
            </a:r>
            <a:endParaRPr kumimoji="0" lang="en-GB" sz="3400" b="0" i="0" u="none" strike="noStrike" kern="1200" cap="none" spc="0" normalizeH="0" baseline="0" noProof="0" dirty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 Display" panose="02110004020202020204"/>
              <a:ea typeface="+mj-ea"/>
              <a:cs typeface="+mj-cs"/>
            </a:endParaRPr>
          </a:p>
        </p:txBody>
      </p:sp>
      <p:sp>
        <p:nvSpPr>
          <p:cNvPr id="18" name="Title 6">
            <a:extLst>
              <a:ext uri="{FF2B5EF4-FFF2-40B4-BE49-F238E27FC236}">
                <a16:creationId xmlns:a16="http://schemas.microsoft.com/office/drawing/2014/main" id="{99B0D84A-8FF5-B755-C911-755FDE200A31}"/>
              </a:ext>
            </a:extLst>
          </p:cNvPr>
          <p:cNvSpPr txBox="1">
            <a:spLocks/>
          </p:cNvSpPr>
          <p:nvPr/>
        </p:nvSpPr>
        <p:spPr>
          <a:xfrm>
            <a:off x="2587180" y="1298154"/>
            <a:ext cx="8700197" cy="999313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 Display" panose="02110004020202020204"/>
                <a:ea typeface="+mj-ea"/>
                <a:cs typeface="+mj-cs"/>
              </a:rPr>
              <a:t>CAR T‑cell therapy is the standard for early relapsed/refractory DLBCL in 2L, but is restricted to </a:t>
            </a:r>
            <a:r>
              <a:rPr kumimoji="0" lang="en-GB" sz="24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 Display" panose="02110004020202020204"/>
                <a:ea typeface="+mj-ea"/>
                <a:cs typeface="+mj-cs"/>
              </a:rPr>
              <a:t>selected patients</a:t>
            </a:r>
            <a:r>
              <a:rPr kumimoji="0" lang="en-GB" sz="2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 Display" panose="02110004020202020204"/>
                <a:ea typeface="+mj-ea"/>
                <a:cs typeface="+mj-cs"/>
              </a:rPr>
              <a:t>; the same applies for ASCT for late-</a:t>
            </a:r>
            <a:r>
              <a:rPr kumimoji="0" lang="en-GB" sz="2400" b="0" i="0" u="none" strike="noStrike" kern="1200" cap="none" spc="0" normalizeH="0" baseline="0" noProof="0" err="1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 Display" panose="02110004020202020204"/>
                <a:ea typeface="+mj-ea"/>
                <a:cs typeface="+mj-cs"/>
              </a:rPr>
              <a:t>relapsers</a:t>
            </a: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 Display" panose="02110004020202020204"/>
              <a:ea typeface="+mj-ea"/>
              <a:cs typeface="+mj-cs"/>
            </a:endParaRPr>
          </a:p>
        </p:txBody>
      </p:sp>
      <p:sp>
        <p:nvSpPr>
          <p:cNvPr id="19" name="Title 6">
            <a:extLst>
              <a:ext uri="{FF2B5EF4-FFF2-40B4-BE49-F238E27FC236}">
                <a16:creationId xmlns:a16="http://schemas.microsoft.com/office/drawing/2014/main" id="{A329A16F-C1A9-2DA8-B651-D8445653CBC2}"/>
              </a:ext>
            </a:extLst>
          </p:cNvPr>
          <p:cNvSpPr txBox="1">
            <a:spLocks/>
          </p:cNvSpPr>
          <p:nvPr/>
        </p:nvSpPr>
        <p:spPr>
          <a:xfrm>
            <a:off x="2567558" y="2607710"/>
            <a:ext cx="8843391" cy="666914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 Display" panose="02110004020202020204"/>
                <a:ea typeface="+mj-ea"/>
                <a:cs typeface="+mj-cs"/>
              </a:rPr>
              <a:t>For patients not receiving CAR‑T or ASCT, multiple 2L options exist, with distinct strengths and challenges requiring a </a:t>
            </a:r>
            <a:r>
              <a:rPr kumimoji="0" lang="en-GB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 Display" panose="02110004020202020204"/>
                <a:ea typeface="+mj-ea"/>
                <a:cs typeface="+mj-cs"/>
              </a:rPr>
              <a:t>personali</a:t>
            </a:r>
            <a:r>
              <a:rPr kumimoji="0" lang="en-CH" sz="2400" b="1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 Display" panose="02110004020202020204"/>
                <a:ea typeface="+mj-ea"/>
                <a:cs typeface="+mj-cs"/>
              </a:rPr>
              <a:t>s</a:t>
            </a: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 Display" panose="02110004020202020204"/>
                <a:ea typeface="+mj-ea"/>
                <a:cs typeface="+mj-cs"/>
              </a:rPr>
              <a:t>ed approach</a:t>
            </a: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 Display" panose="02110004020202020204"/>
                <a:ea typeface="+mj-ea"/>
                <a:cs typeface="+mj-cs"/>
              </a:rPr>
              <a:t> </a:t>
            </a:r>
            <a:endParaRPr kumimoji="0" lang="en-GB" sz="2400" b="1" i="0" u="none" strike="noStrike" kern="1200" cap="none" spc="0" normalizeH="0" baseline="0" noProof="0" dirty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 Display" panose="02110004020202020204"/>
              <a:ea typeface="+mj-ea"/>
              <a:cs typeface="+mj-cs"/>
            </a:endParaRP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C27B1383-7607-9317-8ACD-A2D78F414827}"/>
              </a:ext>
            </a:extLst>
          </p:cNvPr>
          <p:cNvSpPr txBox="1">
            <a:spLocks/>
          </p:cNvSpPr>
          <p:nvPr/>
        </p:nvSpPr>
        <p:spPr>
          <a:xfrm>
            <a:off x="1586699" y="1480597"/>
            <a:ext cx="634877" cy="634877"/>
          </a:xfrm>
          <a:prstGeom prst="ellipse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2"/>
              </a:gs>
            </a:gsLst>
            <a:lin ang="13500000" scaled="1"/>
            <a:tileRect/>
          </a:gradFill>
        </p:spPr>
        <p:txBody>
          <a:bodyPr anchor="ctr" anchorCtr="1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</a:p>
        </p:txBody>
      </p:sp>
      <p:sp>
        <p:nvSpPr>
          <p:cNvPr id="37" name="Free-form: Shape 36">
            <a:extLst>
              <a:ext uri="{FF2B5EF4-FFF2-40B4-BE49-F238E27FC236}">
                <a16:creationId xmlns:a16="http://schemas.microsoft.com/office/drawing/2014/main" id="{D3D12850-BEBF-D570-7C41-93F4C69EC9FE}"/>
              </a:ext>
            </a:extLst>
          </p:cNvPr>
          <p:cNvSpPr/>
          <p:nvPr/>
        </p:nvSpPr>
        <p:spPr>
          <a:xfrm>
            <a:off x="1771300" y="1561710"/>
            <a:ext cx="265675" cy="428896"/>
          </a:xfrm>
          <a:custGeom>
            <a:avLst/>
            <a:gdLst>
              <a:gd name="csX0" fmla="*/ 300387 w 350251"/>
              <a:gd name="csY0" fmla="*/ 521640 h 631082"/>
              <a:gd name="csX1" fmla="*/ 319437 w 350251"/>
              <a:gd name="csY1" fmla="*/ 489731 h 631082"/>
              <a:gd name="csX2" fmla="*/ 319437 w 350251"/>
              <a:gd name="csY2" fmla="*/ 486588 h 631082"/>
              <a:gd name="csX3" fmla="*/ 290862 w 350251"/>
              <a:gd name="csY3" fmla="*/ 450965 h 631082"/>
              <a:gd name="csX4" fmla="*/ 290862 w 350251"/>
              <a:gd name="csY4" fmla="*/ 412007 h 631082"/>
              <a:gd name="csX5" fmla="*/ 305625 w 350251"/>
              <a:gd name="csY5" fmla="*/ 313328 h 631082"/>
              <a:gd name="csX6" fmla="*/ 219900 w 350251"/>
              <a:gd name="csY6" fmla="*/ 238843 h 631082"/>
              <a:gd name="csX7" fmla="*/ 200850 w 350251"/>
              <a:gd name="csY7" fmla="*/ 216554 h 631082"/>
              <a:gd name="csX8" fmla="*/ 231521 w 350251"/>
              <a:gd name="csY8" fmla="*/ 222746 h 631082"/>
              <a:gd name="csX9" fmla="*/ 267430 w 350251"/>
              <a:gd name="csY9" fmla="*/ 237319 h 631082"/>
              <a:gd name="csX10" fmla="*/ 314007 w 350251"/>
              <a:gd name="csY10" fmla="*/ 235985 h 631082"/>
              <a:gd name="csX11" fmla="*/ 348583 w 350251"/>
              <a:gd name="csY11" fmla="*/ 166643 h 631082"/>
              <a:gd name="csX12" fmla="*/ 275241 w 350251"/>
              <a:gd name="csY12" fmla="*/ 103493 h 631082"/>
              <a:gd name="csX13" fmla="*/ 272669 w 350251"/>
              <a:gd name="csY13" fmla="*/ 85490 h 631082"/>
              <a:gd name="csX14" fmla="*/ 212280 w 350251"/>
              <a:gd name="csY14" fmla="*/ 41485 h 631082"/>
              <a:gd name="csX15" fmla="*/ 208375 w 350251"/>
              <a:gd name="csY15" fmla="*/ 3385 h 631082"/>
              <a:gd name="csX16" fmla="*/ 30639 w 350251"/>
              <a:gd name="csY16" fmla="*/ 96920 h 631082"/>
              <a:gd name="csX17" fmla="*/ 27972 w 350251"/>
              <a:gd name="csY17" fmla="*/ 315995 h 631082"/>
              <a:gd name="csX18" fmla="*/ 61881 w 350251"/>
              <a:gd name="csY18" fmla="*/ 401720 h 631082"/>
              <a:gd name="csX19" fmla="*/ 61881 w 350251"/>
              <a:gd name="csY19" fmla="*/ 450965 h 631082"/>
              <a:gd name="csX20" fmla="*/ 33306 w 350251"/>
              <a:gd name="csY20" fmla="*/ 486588 h 631082"/>
              <a:gd name="csX21" fmla="*/ 33306 w 350251"/>
              <a:gd name="csY21" fmla="*/ 489731 h 631082"/>
              <a:gd name="csX22" fmla="*/ 52356 w 350251"/>
              <a:gd name="csY22" fmla="*/ 521640 h 631082"/>
              <a:gd name="csX23" fmla="*/ 52356 w 350251"/>
              <a:gd name="csY23" fmla="*/ 554882 h 631082"/>
              <a:gd name="csX24" fmla="*/ 14256 w 350251"/>
              <a:gd name="csY24" fmla="*/ 554882 h 631082"/>
              <a:gd name="csX25" fmla="*/ 14256 w 350251"/>
              <a:gd name="csY25" fmla="*/ 631082 h 631082"/>
              <a:gd name="csX26" fmla="*/ 338106 w 350251"/>
              <a:gd name="csY26" fmla="*/ 631082 h 631082"/>
              <a:gd name="csX27" fmla="*/ 338106 w 350251"/>
              <a:gd name="csY27" fmla="*/ 554882 h 631082"/>
              <a:gd name="csX28" fmla="*/ 300006 w 350251"/>
              <a:gd name="csY28" fmla="*/ 554882 h 63108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</a:cxnLst>
            <a:rect l="l" t="t" r="r" b="b"/>
            <a:pathLst>
              <a:path w="350251" h="631082">
                <a:moveTo>
                  <a:pt x="300387" y="521640"/>
                </a:moveTo>
                <a:cubicBezTo>
                  <a:pt x="312040" y="515232"/>
                  <a:pt x="319325" y="503030"/>
                  <a:pt x="319437" y="489731"/>
                </a:cubicBezTo>
                <a:lnTo>
                  <a:pt x="319437" y="486588"/>
                </a:lnTo>
                <a:cubicBezTo>
                  <a:pt x="319335" y="469520"/>
                  <a:pt x="307501" y="454767"/>
                  <a:pt x="290862" y="450965"/>
                </a:cubicBezTo>
                <a:lnTo>
                  <a:pt x="290862" y="412007"/>
                </a:lnTo>
                <a:cubicBezTo>
                  <a:pt x="315184" y="385078"/>
                  <a:pt x="321001" y="346196"/>
                  <a:pt x="305625" y="313328"/>
                </a:cubicBezTo>
                <a:cubicBezTo>
                  <a:pt x="294005" y="286849"/>
                  <a:pt x="239427" y="249606"/>
                  <a:pt x="219900" y="238843"/>
                </a:cubicBezTo>
                <a:cubicBezTo>
                  <a:pt x="211091" y="233929"/>
                  <a:pt x="204332" y="226022"/>
                  <a:pt x="200850" y="216554"/>
                </a:cubicBezTo>
                <a:cubicBezTo>
                  <a:pt x="209715" y="222914"/>
                  <a:pt x="220882" y="225169"/>
                  <a:pt x="231521" y="222746"/>
                </a:cubicBezTo>
                <a:cubicBezTo>
                  <a:pt x="248571" y="216554"/>
                  <a:pt x="263334" y="232271"/>
                  <a:pt x="267430" y="237319"/>
                </a:cubicBezTo>
                <a:cubicBezTo>
                  <a:pt x="278003" y="249035"/>
                  <a:pt x="296958" y="243224"/>
                  <a:pt x="314007" y="235985"/>
                </a:cubicBezTo>
                <a:cubicBezTo>
                  <a:pt x="340825" y="224316"/>
                  <a:pt x="355401" y="195084"/>
                  <a:pt x="348583" y="166643"/>
                </a:cubicBezTo>
                <a:cubicBezTo>
                  <a:pt x="348107" y="152070"/>
                  <a:pt x="275241" y="103493"/>
                  <a:pt x="275241" y="103493"/>
                </a:cubicBezTo>
                <a:lnTo>
                  <a:pt x="272669" y="85490"/>
                </a:lnTo>
                <a:cubicBezTo>
                  <a:pt x="272669" y="82347"/>
                  <a:pt x="261429" y="49867"/>
                  <a:pt x="212280" y="41485"/>
                </a:cubicBezTo>
                <a:cubicBezTo>
                  <a:pt x="212280" y="41485"/>
                  <a:pt x="221139" y="9671"/>
                  <a:pt x="208375" y="3385"/>
                </a:cubicBezTo>
                <a:cubicBezTo>
                  <a:pt x="181705" y="-8902"/>
                  <a:pt x="84550" y="10052"/>
                  <a:pt x="30639" y="96920"/>
                </a:cubicBezTo>
                <a:cubicBezTo>
                  <a:pt x="-9271" y="161214"/>
                  <a:pt x="-10224" y="239033"/>
                  <a:pt x="27972" y="315995"/>
                </a:cubicBezTo>
                <a:cubicBezTo>
                  <a:pt x="37497" y="335045"/>
                  <a:pt x="61881" y="373145"/>
                  <a:pt x="61881" y="401720"/>
                </a:cubicBezTo>
                <a:lnTo>
                  <a:pt x="61881" y="450965"/>
                </a:lnTo>
                <a:cubicBezTo>
                  <a:pt x="45241" y="454767"/>
                  <a:pt x="33408" y="469520"/>
                  <a:pt x="33306" y="486588"/>
                </a:cubicBezTo>
                <a:lnTo>
                  <a:pt x="33306" y="489731"/>
                </a:lnTo>
                <a:cubicBezTo>
                  <a:pt x="33417" y="503030"/>
                  <a:pt x="40702" y="515232"/>
                  <a:pt x="52356" y="521640"/>
                </a:cubicBezTo>
                <a:lnTo>
                  <a:pt x="52356" y="554882"/>
                </a:lnTo>
                <a:lnTo>
                  <a:pt x="14256" y="554882"/>
                </a:lnTo>
                <a:lnTo>
                  <a:pt x="14256" y="631082"/>
                </a:lnTo>
                <a:lnTo>
                  <a:pt x="338106" y="631082"/>
                </a:lnTo>
                <a:lnTo>
                  <a:pt x="338106" y="554882"/>
                </a:lnTo>
                <a:lnTo>
                  <a:pt x="300006" y="55488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ffectLst>
            <a:innerShdw dist="50800" dir="10800000">
              <a:schemeClr val="accent1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B136685B-6CE5-57AD-802D-4333ED533356}"/>
              </a:ext>
            </a:extLst>
          </p:cNvPr>
          <p:cNvSpPr txBox="1">
            <a:spLocks/>
          </p:cNvSpPr>
          <p:nvPr/>
        </p:nvSpPr>
        <p:spPr>
          <a:xfrm>
            <a:off x="1586699" y="2615096"/>
            <a:ext cx="634877" cy="634877"/>
          </a:xfrm>
          <a:prstGeom prst="ellipse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2"/>
              </a:gs>
            </a:gsLst>
            <a:lin ang="13500000" scaled="1"/>
            <a:tileRect/>
          </a:gradFill>
        </p:spPr>
        <p:txBody>
          <a:bodyPr anchor="ctr" anchorCtr="1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</a:p>
        </p:txBody>
      </p:sp>
      <p:sp>
        <p:nvSpPr>
          <p:cNvPr id="28" name="Title 6">
            <a:extLst>
              <a:ext uri="{FF2B5EF4-FFF2-40B4-BE49-F238E27FC236}">
                <a16:creationId xmlns:a16="http://schemas.microsoft.com/office/drawing/2014/main" id="{45D54DB2-0015-E2E4-815F-676C70F77C98}"/>
              </a:ext>
            </a:extLst>
          </p:cNvPr>
          <p:cNvSpPr txBox="1">
            <a:spLocks/>
          </p:cNvSpPr>
          <p:nvPr/>
        </p:nvSpPr>
        <p:spPr>
          <a:xfrm>
            <a:off x="2567559" y="3583620"/>
            <a:ext cx="8700197" cy="666914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 Display"/>
                <a:ea typeface="+mj-ea"/>
                <a:cs typeface="+mj-cs"/>
              </a:rPr>
              <a:t>It is even more critical in 3L, as clinical decisions are bound to </a:t>
            </a:r>
            <a:r>
              <a:rPr kumimoji="0" lang="en-GB" sz="24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 Display"/>
                <a:ea typeface="+mj-ea"/>
                <a:cs typeface="+mj-cs"/>
              </a:rPr>
              <a:t>multiple factors that come into play </a:t>
            </a:r>
            <a:r>
              <a:rPr kumimoji="0" lang="en-GB" sz="2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 Display"/>
                <a:ea typeface="+mj-ea"/>
                <a:cs typeface="+mj-cs"/>
              </a:rPr>
              <a:t>(e.g. T-cell fitness; sequencing, Ag loss)</a:t>
            </a:r>
            <a:endParaRPr kumimoji="0" lang="en-US" sz="3400" b="1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 Display" panose="02110004020202020204"/>
              <a:ea typeface="+mj-ea"/>
              <a:cs typeface="+mj-cs"/>
            </a:endParaRP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218E6366-0D4A-2B22-AA9D-9D0218B22089}"/>
              </a:ext>
            </a:extLst>
          </p:cNvPr>
          <p:cNvSpPr txBox="1">
            <a:spLocks/>
          </p:cNvSpPr>
          <p:nvPr/>
        </p:nvSpPr>
        <p:spPr>
          <a:xfrm>
            <a:off x="1586699" y="4552144"/>
            <a:ext cx="634877" cy="634877"/>
          </a:xfrm>
          <a:prstGeom prst="ellipse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2"/>
              </a:gs>
            </a:gsLst>
            <a:lin ang="13500000" scaled="1"/>
            <a:tileRect/>
          </a:gradFill>
        </p:spPr>
        <p:txBody>
          <a:bodyPr anchor="ctr" anchorCtr="1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9E0BCAFF-CF87-D9FB-E598-D0757C9CE2D7}"/>
              </a:ext>
            </a:extLst>
          </p:cNvPr>
          <p:cNvSpPr txBox="1">
            <a:spLocks/>
          </p:cNvSpPr>
          <p:nvPr/>
        </p:nvSpPr>
        <p:spPr>
          <a:xfrm>
            <a:off x="1592170" y="397029"/>
            <a:ext cx="8700191" cy="655776"/>
          </a:xfrm>
          <a:prstGeom prst="rect">
            <a:avLst/>
          </a:prstGeom>
        </p:spPr>
        <p:txBody>
          <a:bodyPr vert="horz" lIns="90000" tIns="46800" rIns="90000" bIns="4680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400" b="0" i="0" kern="1200">
                <a:solidFill>
                  <a:schemeClr val="tx2"/>
                </a:solidFill>
                <a:latin typeface="Aptos" panose="020B000402020202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0B0004020202020204" pitchFamily="34" charset="0"/>
                <a:ea typeface="+mj-ea"/>
                <a:cs typeface="+mj-cs"/>
              </a:rPr>
              <a:t>Summary</a:t>
            </a:r>
          </a:p>
        </p:txBody>
      </p:sp>
      <p:sp>
        <p:nvSpPr>
          <p:cNvPr id="42" name="Free-form: Shape 41">
            <a:extLst>
              <a:ext uri="{FF2B5EF4-FFF2-40B4-BE49-F238E27FC236}">
                <a16:creationId xmlns:a16="http://schemas.microsoft.com/office/drawing/2014/main" id="{88ED0500-FBA7-B7B1-082F-83BA3C4691B2}"/>
              </a:ext>
            </a:extLst>
          </p:cNvPr>
          <p:cNvSpPr/>
          <p:nvPr/>
        </p:nvSpPr>
        <p:spPr>
          <a:xfrm>
            <a:off x="1771300" y="2718086"/>
            <a:ext cx="265675" cy="428896"/>
          </a:xfrm>
          <a:custGeom>
            <a:avLst/>
            <a:gdLst>
              <a:gd name="csX0" fmla="*/ 300387 w 350251"/>
              <a:gd name="csY0" fmla="*/ 521640 h 631082"/>
              <a:gd name="csX1" fmla="*/ 319437 w 350251"/>
              <a:gd name="csY1" fmla="*/ 489731 h 631082"/>
              <a:gd name="csX2" fmla="*/ 319437 w 350251"/>
              <a:gd name="csY2" fmla="*/ 486588 h 631082"/>
              <a:gd name="csX3" fmla="*/ 290862 w 350251"/>
              <a:gd name="csY3" fmla="*/ 450965 h 631082"/>
              <a:gd name="csX4" fmla="*/ 290862 w 350251"/>
              <a:gd name="csY4" fmla="*/ 412007 h 631082"/>
              <a:gd name="csX5" fmla="*/ 305625 w 350251"/>
              <a:gd name="csY5" fmla="*/ 313328 h 631082"/>
              <a:gd name="csX6" fmla="*/ 219900 w 350251"/>
              <a:gd name="csY6" fmla="*/ 238843 h 631082"/>
              <a:gd name="csX7" fmla="*/ 200850 w 350251"/>
              <a:gd name="csY7" fmla="*/ 216554 h 631082"/>
              <a:gd name="csX8" fmla="*/ 231521 w 350251"/>
              <a:gd name="csY8" fmla="*/ 222746 h 631082"/>
              <a:gd name="csX9" fmla="*/ 267430 w 350251"/>
              <a:gd name="csY9" fmla="*/ 237319 h 631082"/>
              <a:gd name="csX10" fmla="*/ 314007 w 350251"/>
              <a:gd name="csY10" fmla="*/ 235985 h 631082"/>
              <a:gd name="csX11" fmla="*/ 348583 w 350251"/>
              <a:gd name="csY11" fmla="*/ 166643 h 631082"/>
              <a:gd name="csX12" fmla="*/ 275241 w 350251"/>
              <a:gd name="csY12" fmla="*/ 103493 h 631082"/>
              <a:gd name="csX13" fmla="*/ 272669 w 350251"/>
              <a:gd name="csY13" fmla="*/ 85490 h 631082"/>
              <a:gd name="csX14" fmla="*/ 212280 w 350251"/>
              <a:gd name="csY14" fmla="*/ 41485 h 631082"/>
              <a:gd name="csX15" fmla="*/ 208375 w 350251"/>
              <a:gd name="csY15" fmla="*/ 3385 h 631082"/>
              <a:gd name="csX16" fmla="*/ 30639 w 350251"/>
              <a:gd name="csY16" fmla="*/ 96920 h 631082"/>
              <a:gd name="csX17" fmla="*/ 27972 w 350251"/>
              <a:gd name="csY17" fmla="*/ 315995 h 631082"/>
              <a:gd name="csX18" fmla="*/ 61881 w 350251"/>
              <a:gd name="csY18" fmla="*/ 401720 h 631082"/>
              <a:gd name="csX19" fmla="*/ 61881 w 350251"/>
              <a:gd name="csY19" fmla="*/ 450965 h 631082"/>
              <a:gd name="csX20" fmla="*/ 33306 w 350251"/>
              <a:gd name="csY20" fmla="*/ 486588 h 631082"/>
              <a:gd name="csX21" fmla="*/ 33306 w 350251"/>
              <a:gd name="csY21" fmla="*/ 489731 h 631082"/>
              <a:gd name="csX22" fmla="*/ 52356 w 350251"/>
              <a:gd name="csY22" fmla="*/ 521640 h 631082"/>
              <a:gd name="csX23" fmla="*/ 52356 w 350251"/>
              <a:gd name="csY23" fmla="*/ 554882 h 631082"/>
              <a:gd name="csX24" fmla="*/ 14256 w 350251"/>
              <a:gd name="csY24" fmla="*/ 554882 h 631082"/>
              <a:gd name="csX25" fmla="*/ 14256 w 350251"/>
              <a:gd name="csY25" fmla="*/ 631082 h 631082"/>
              <a:gd name="csX26" fmla="*/ 338106 w 350251"/>
              <a:gd name="csY26" fmla="*/ 631082 h 631082"/>
              <a:gd name="csX27" fmla="*/ 338106 w 350251"/>
              <a:gd name="csY27" fmla="*/ 554882 h 631082"/>
              <a:gd name="csX28" fmla="*/ 300006 w 350251"/>
              <a:gd name="csY28" fmla="*/ 554882 h 63108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</a:cxnLst>
            <a:rect l="l" t="t" r="r" b="b"/>
            <a:pathLst>
              <a:path w="350251" h="631082">
                <a:moveTo>
                  <a:pt x="300387" y="521640"/>
                </a:moveTo>
                <a:cubicBezTo>
                  <a:pt x="312040" y="515232"/>
                  <a:pt x="319325" y="503030"/>
                  <a:pt x="319437" y="489731"/>
                </a:cubicBezTo>
                <a:lnTo>
                  <a:pt x="319437" y="486588"/>
                </a:lnTo>
                <a:cubicBezTo>
                  <a:pt x="319335" y="469520"/>
                  <a:pt x="307501" y="454767"/>
                  <a:pt x="290862" y="450965"/>
                </a:cubicBezTo>
                <a:lnTo>
                  <a:pt x="290862" y="412007"/>
                </a:lnTo>
                <a:cubicBezTo>
                  <a:pt x="315184" y="385078"/>
                  <a:pt x="321001" y="346196"/>
                  <a:pt x="305625" y="313328"/>
                </a:cubicBezTo>
                <a:cubicBezTo>
                  <a:pt x="294005" y="286849"/>
                  <a:pt x="239427" y="249606"/>
                  <a:pt x="219900" y="238843"/>
                </a:cubicBezTo>
                <a:cubicBezTo>
                  <a:pt x="211091" y="233929"/>
                  <a:pt x="204332" y="226022"/>
                  <a:pt x="200850" y="216554"/>
                </a:cubicBezTo>
                <a:cubicBezTo>
                  <a:pt x="209715" y="222914"/>
                  <a:pt x="220882" y="225169"/>
                  <a:pt x="231521" y="222746"/>
                </a:cubicBezTo>
                <a:cubicBezTo>
                  <a:pt x="248571" y="216554"/>
                  <a:pt x="263334" y="232271"/>
                  <a:pt x="267430" y="237319"/>
                </a:cubicBezTo>
                <a:cubicBezTo>
                  <a:pt x="278003" y="249035"/>
                  <a:pt x="296958" y="243224"/>
                  <a:pt x="314007" y="235985"/>
                </a:cubicBezTo>
                <a:cubicBezTo>
                  <a:pt x="340825" y="224316"/>
                  <a:pt x="355401" y="195084"/>
                  <a:pt x="348583" y="166643"/>
                </a:cubicBezTo>
                <a:cubicBezTo>
                  <a:pt x="348107" y="152070"/>
                  <a:pt x="275241" y="103493"/>
                  <a:pt x="275241" y="103493"/>
                </a:cubicBezTo>
                <a:lnTo>
                  <a:pt x="272669" y="85490"/>
                </a:lnTo>
                <a:cubicBezTo>
                  <a:pt x="272669" y="82347"/>
                  <a:pt x="261429" y="49867"/>
                  <a:pt x="212280" y="41485"/>
                </a:cubicBezTo>
                <a:cubicBezTo>
                  <a:pt x="212280" y="41485"/>
                  <a:pt x="221139" y="9671"/>
                  <a:pt x="208375" y="3385"/>
                </a:cubicBezTo>
                <a:cubicBezTo>
                  <a:pt x="181705" y="-8902"/>
                  <a:pt x="84550" y="10052"/>
                  <a:pt x="30639" y="96920"/>
                </a:cubicBezTo>
                <a:cubicBezTo>
                  <a:pt x="-9271" y="161214"/>
                  <a:pt x="-10224" y="239033"/>
                  <a:pt x="27972" y="315995"/>
                </a:cubicBezTo>
                <a:cubicBezTo>
                  <a:pt x="37497" y="335045"/>
                  <a:pt x="61881" y="373145"/>
                  <a:pt x="61881" y="401720"/>
                </a:cubicBezTo>
                <a:lnTo>
                  <a:pt x="61881" y="450965"/>
                </a:lnTo>
                <a:cubicBezTo>
                  <a:pt x="45241" y="454767"/>
                  <a:pt x="33408" y="469520"/>
                  <a:pt x="33306" y="486588"/>
                </a:cubicBezTo>
                <a:lnTo>
                  <a:pt x="33306" y="489731"/>
                </a:lnTo>
                <a:cubicBezTo>
                  <a:pt x="33417" y="503030"/>
                  <a:pt x="40702" y="515232"/>
                  <a:pt x="52356" y="521640"/>
                </a:cubicBezTo>
                <a:lnTo>
                  <a:pt x="52356" y="554882"/>
                </a:lnTo>
                <a:lnTo>
                  <a:pt x="14256" y="554882"/>
                </a:lnTo>
                <a:lnTo>
                  <a:pt x="14256" y="631082"/>
                </a:lnTo>
                <a:lnTo>
                  <a:pt x="338106" y="631082"/>
                </a:lnTo>
                <a:lnTo>
                  <a:pt x="338106" y="554882"/>
                </a:lnTo>
                <a:lnTo>
                  <a:pt x="300006" y="55488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ffectLst>
            <a:innerShdw dist="50800" dir="10800000">
              <a:schemeClr val="accent1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3" name="Free-form: Shape 42">
            <a:extLst>
              <a:ext uri="{FF2B5EF4-FFF2-40B4-BE49-F238E27FC236}">
                <a16:creationId xmlns:a16="http://schemas.microsoft.com/office/drawing/2014/main" id="{3E61068A-39CE-59D5-A743-DF6289535C1B}"/>
              </a:ext>
            </a:extLst>
          </p:cNvPr>
          <p:cNvSpPr/>
          <p:nvPr/>
        </p:nvSpPr>
        <p:spPr>
          <a:xfrm>
            <a:off x="1771300" y="4655134"/>
            <a:ext cx="265675" cy="428896"/>
          </a:xfrm>
          <a:custGeom>
            <a:avLst/>
            <a:gdLst>
              <a:gd name="csX0" fmla="*/ 300387 w 350251"/>
              <a:gd name="csY0" fmla="*/ 521640 h 631082"/>
              <a:gd name="csX1" fmla="*/ 319437 w 350251"/>
              <a:gd name="csY1" fmla="*/ 489731 h 631082"/>
              <a:gd name="csX2" fmla="*/ 319437 w 350251"/>
              <a:gd name="csY2" fmla="*/ 486588 h 631082"/>
              <a:gd name="csX3" fmla="*/ 290862 w 350251"/>
              <a:gd name="csY3" fmla="*/ 450965 h 631082"/>
              <a:gd name="csX4" fmla="*/ 290862 w 350251"/>
              <a:gd name="csY4" fmla="*/ 412007 h 631082"/>
              <a:gd name="csX5" fmla="*/ 305625 w 350251"/>
              <a:gd name="csY5" fmla="*/ 313328 h 631082"/>
              <a:gd name="csX6" fmla="*/ 219900 w 350251"/>
              <a:gd name="csY6" fmla="*/ 238843 h 631082"/>
              <a:gd name="csX7" fmla="*/ 200850 w 350251"/>
              <a:gd name="csY7" fmla="*/ 216554 h 631082"/>
              <a:gd name="csX8" fmla="*/ 231521 w 350251"/>
              <a:gd name="csY8" fmla="*/ 222746 h 631082"/>
              <a:gd name="csX9" fmla="*/ 267430 w 350251"/>
              <a:gd name="csY9" fmla="*/ 237319 h 631082"/>
              <a:gd name="csX10" fmla="*/ 314007 w 350251"/>
              <a:gd name="csY10" fmla="*/ 235985 h 631082"/>
              <a:gd name="csX11" fmla="*/ 348583 w 350251"/>
              <a:gd name="csY11" fmla="*/ 166643 h 631082"/>
              <a:gd name="csX12" fmla="*/ 275241 w 350251"/>
              <a:gd name="csY12" fmla="*/ 103493 h 631082"/>
              <a:gd name="csX13" fmla="*/ 272669 w 350251"/>
              <a:gd name="csY13" fmla="*/ 85490 h 631082"/>
              <a:gd name="csX14" fmla="*/ 212280 w 350251"/>
              <a:gd name="csY14" fmla="*/ 41485 h 631082"/>
              <a:gd name="csX15" fmla="*/ 208375 w 350251"/>
              <a:gd name="csY15" fmla="*/ 3385 h 631082"/>
              <a:gd name="csX16" fmla="*/ 30639 w 350251"/>
              <a:gd name="csY16" fmla="*/ 96920 h 631082"/>
              <a:gd name="csX17" fmla="*/ 27972 w 350251"/>
              <a:gd name="csY17" fmla="*/ 315995 h 631082"/>
              <a:gd name="csX18" fmla="*/ 61881 w 350251"/>
              <a:gd name="csY18" fmla="*/ 401720 h 631082"/>
              <a:gd name="csX19" fmla="*/ 61881 w 350251"/>
              <a:gd name="csY19" fmla="*/ 450965 h 631082"/>
              <a:gd name="csX20" fmla="*/ 33306 w 350251"/>
              <a:gd name="csY20" fmla="*/ 486588 h 631082"/>
              <a:gd name="csX21" fmla="*/ 33306 w 350251"/>
              <a:gd name="csY21" fmla="*/ 489731 h 631082"/>
              <a:gd name="csX22" fmla="*/ 52356 w 350251"/>
              <a:gd name="csY22" fmla="*/ 521640 h 631082"/>
              <a:gd name="csX23" fmla="*/ 52356 w 350251"/>
              <a:gd name="csY23" fmla="*/ 554882 h 631082"/>
              <a:gd name="csX24" fmla="*/ 14256 w 350251"/>
              <a:gd name="csY24" fmla="*/ 554882 h 631082"/>
              <a:gd name="csX25" fmla="*/ 14256 w 350251"/>
              <a:gd name="csY25" fmla="*/ 631082 h 631082"/>
              <a:gd name="csX26" fmla="*/ 338106 w 350251"/>
              <a:gd name="csY26" fmla="*/ 631082 h 631082"/>
              <a:gd name="csX27" fmla="*/ 338106 w 350251"/>
              <a:gd name="csY27" fmla="*/ 554882 h 631082"/>
              <a:gd name="csX28" fmla="*/ 300006 w 350251"/>
              <a:gd name="csY28" fmla="*/ 554882 h 63108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</a:cxnLst>
            <a:rect l="l" t="t" r="r" b="b"/>
            <a:pathLst>
              <a:path w="350251" h="631082">
                <a:moveTo>
                  <a:pt x="300387" y="521640"/>
                </a:moveTo>
                <a:cubicBezTo>
                  <a:pt x="312040" y="515232"/>
                  <a:pt x="319325" y="503030"/>
                  <a:pt x="319437" y="489731"/>
                </a:cubicBezTo>
                <a:lnTo>
                  <a:pt x="319437" y="486588"/>
                </a:lnTo>
                <a:cubicBezTo>
                  <a:pt x="319335" y="469520"/>
                  <a:pt x="307501" y="454767"/>
                  <a:pt x="290862" y="450965"/>
                </a:cubicBezTo>
                <a:lnTo>
                  <a:pt x="290862" y="412007"/>
                </a:lnTo>
                <a:cubicBezTo>
                  <a:pt x="315184" y="385078"/>
                  <a:pt x="321001" y="346196"/>
                  <a:pt x="305625" y="313328"/>
                </a:cubicBezTo>
                <a:cubicBezTo>
                  <a:pt x="294005" y="286849"/>
                  <a:pt x="239427" y="249606"/>
                  <a:pt x="219900" y="238843"/>
                </a:cubicBezTo>
                <a:cubicBezTo>
                  <a:pt x="211091" y="233929"/>
                  <a:pt x="204332" y="226022"/>
                  <a:pt x="200850" y="216554"/>
                </a:cubicBezTo>
                <a:cubicBezTo>
                  <a:pt x="209715" y="222914"/>
                  <a:pt x="220882" y="225169"/>
                  <a:pt x="231521" y="222746"/>
                </a:cubicBezTo>
                <a:cubicBezTo>
                  <a:pt x="248571" y="216554"/>
                  <a:pt x="263334" y="232271"/>
                  <a:pt x="267430" y="237319"/>
                </a:cubicBezTo>
                <a:cubicBezTo>
                  <a:pt x="278003" y="249035"/>
                  <a:pt x="296958" y="243224"/>
                  <a:pt x="314007" y="235985"/>
                </a:cubicBezTo>
                <a:cubicBezTo>
                  <a:pt x="340825" y="224316"/>
                  <a:pt x="355401" y="195084"/>
                  <a:pt x="348583" y="166643"/>
                </a:cubicBezTo>
                <a:cubicBezTo>
                  <a:pt x="348107" y="152070"/>
                  <a:pt x="275241" y="103493"/>
                  <a:pt x="275241" y="103493"/>
                </a:cubicBezTo>
                <a:lnTo>
                  <a:pt x="272669" y="85490"/>
                </a:lnTo>
                <a:cubicBezTo>
                  <a:pt x="272669" y="82347"/>
                  <a:pt x="261429" y="49867"/>
                  <a:pt x="212280" y="41485"/>
                </a:cubicBezTo>
                <a:cubicBezTo>
                  <a:pt x="212280" y="41485"/>
                  <a:pt x="221139" y="9671"/>
                  <a:pt x="208375" y="3385"/>
                </a:cubicBezTo>
                <a:cubicBezTo>
                  <a:pt x="181705" y="-8902"/>
                  <a:pt x="84550" y="10052"/>
                  <a:pt x="30639" y="96920"/>
                </a:cubicBezTo>
                <a:cubicBezTo>
                  <a:pt x="-9271" y="161214"/>
                  <a:pt x="-10224" y="239033"/>
                  <a:pt x="27972" y="315995"/>
                </a:cubicBezTo>
                <a:cubicBezTo>
                  <a:pt x="37497" y="335045"/>
                  <a:pt x="61881" y="373145"/>
                  <a:pt x="61881" y="401720"/>
                </a:cubicBezTo>
                <a:lnTo>
                  <a:pt x="61881" y="450965"/>
                </a:lnTo>
                <a:cubicBezTo>
                  <a:pt x="45241" y="454767"/>
                  <a:pt x="33408" y="469520"/>
                  <a:pt x="33306" y="486588"/>
                </a:cubicBezTo>
                <a:lnTo>
                  <a:pt x="33306" y="489731"/>
                </a:lnTo>
                <a:cubicBezTo>
                  <a:pt x="33417" y="503030"/>
                  <a:pt x="40702" y="515232"/>
                  <a:pt x="52356" y="521640"/>
                </a:cubicBezTo>
                <a:lnTo>
                  <a:pt x="52356" y="554882"/>
                </a:lnTo>
                <a:lnTo>
                  <a:pt x="14256" y="554882"/>
                </a:lnTo>
                <a:lnTo>
                  <a:pt x="14256" y="631082"/>
                </a:lnTo>
                <a:lnTo>
                  <a:pt x="338106" y="631082"/>
                </a:lnTo>
                <a:lnTo>
                  <a:pt x="338106" y="554882"/>
                </a:lnTo>
                <a:lnTo>
                  <a:pt x="300006" y="55488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ffectLst>
            <a:innerShdw dist="50800" dir="10800000">
              <a:schemeClr val="accent1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4" name="Free-form: Shape 43">
            <a:extLst>
              <a:ext uri="{FF2B5EF4-FFF2-40B4-BE49-F238E27FC236}">
                <a16:creationId xmlns:a16="http://schemas.microsoft.com/office/drawing/2014/main" id="{3AE73E8C-90E3-FFC1-A7CA-222542AE577E}"/>
              </a:ext>
            </a:extLst>
          </p:cNvPr>
          <p:cNvSpPr/>
          <p:nvPr/>
        </p:nvSpPr>
        <p:spPr>
          <a:xfrm>
            <a:off x="1771300" y="5623658"/>
            <a:ext cx="265675" cy="428896"/>
          </a:xfrm>
          <a:custGeom>
            <a:avLst/>
            <a:gdLst>
              <a:gd name="csX0" fmla="*/ 300387 w 350251"/>
              <a:gd name="csY0" fmla="*/ 521640 h 631082"/>
              <a:gd name="csX1" fmla="*/ 319437 w 350251"/>
              <a:gd name="csY1" fmla="*/ 489731 h 631082"/>
              <a:gd name="csX2" fmla="*/ 319437 w 350251"/>
              <a:gd name="csY2" fmla="*/ 486588 h 631082"/>
              <a:gd name="csX3" fmla="*/ 290862 w 350251"/>
              <a:gd name="csY3" fmla="*/ 450965 h 631082"/>
              <a:gd name="csX4" fmla="*/ 290862 w 350251"/>
              <a:gd name="csY4" fmla="*/ 412007 h 631082"/>
              <a:gd name="csX5" fmla="*/ 305625 w 350251"/>
              <a:gd name="csY5" fmla="*/ 313328 h 631082"/>
              <a:gd name="csX6" fmla="*/ 219900 w 350251"/>
              <a:gd name="csY6" fmla="*/ 238843 h 631082"/>
              <a:gd name="csX7" fmla="*/ 200850 w 350251"/>
              <a:gd name="csY7" fmla="*/ 216554 h 631082"/>
              <a:gd name="csX8" fmla="*/ 231521 w 350251"/>
              <a:gd name="csY8" fmla="*/ 222746 h 631082"/>
              <a:gd name="csX9" fmla="*/ 267430 w 350251"/>
              <a:gd name="csY9" fmla="*/ 237319 h 631082"/>
              <a:gd name="csX10" fmla="*/ 314007 w 350251"/>
              <a:gd name="csY10" fmla="*/ 235985 h 631082"/>
              <a:gd name="csX11" fmla="*/ 348583 w 350251"/>
              <a:gd name="csY11" fmla="*/ 166643 h 631082"/>
              <a:gd name="csX12" fmla="*/ 275241 w 350251"/>
              <a:gd name="csY12" fmla="*/ 103493 h 631082"/>
              <a:gd name="csX13" fmla="*/ 272669 w 350251"/>
              <a:gd name="csY13" fmla="*/ 85490 h 631082"/>
              <a:gd name="csX14" fmla="*/ 212280 w 350251"/>
              <a:gd name="csY14" fmla="*/ 41485 h 631082"/>
              <a:gd name="csX15" fmla="*/ 208375 w 350251"/>
              <a:gd name="csY15" fmla="*/ 3385 h 631082"/>
              <a:gd name="csX16" fmla="*/ 30639 w 350251"/>
              <a:gd name="csY16" fmla="*/ 96920 h 631082"/>
              <a:gd name="csX17" fmla="*/ 27972 w 350251"/>
              <a:gd name="csY17" fmla="*/ 315995 h 631082"/>
              <a:gd name="csX18" fmla="*/ 61881 w 350251"/>
              <a:gd name="csY18" fmla="*/ 401720 h 631082"/>
              <a:gd name="csX19" fmla="*/ 61881 w 350251"/>
              <a:gd name="csY19" fmla="*/ 450965 h 631082"/>
              <a:gd name="csX20" fmla="*/ 33306 w 350251"/>
              <a:gd name="csY20" fmla="*/ 486588 h 631082"/>
              <a:gd name="csX21" fmla="*/ 33306 w 350251"/>
              <a:gd name="csY21" fmla="*/ 489731 h 631082"/>
              <a:gd name="csX22" fmla="*/ 52356 w 350251"/>
              <a:gd name="csY22" fmla="*/ 521640 h 631082"/>
              <a:gd name="csX23" fmla="*/ 52356 w 350251"/>
              <a:gd name="csY23" fmla="*/ 554882 h 631082"/>
              <a:gd name="csX24" fmla="*/ 14256 w 350251"/>
              <a:gd name="csY24" fmla="*/ 554882 h 631082"/>
              <a:gd name="csX25" fmla="*/ 14256 w 350251"/>
              <a:gd name="csY25" fmla="*/ 631082 h 631082"/>
              <a:gd name="csX26" fmla="*/ 338106 w 350251"/>
              <a:gd name="csY26" fmla="*/ 631082 h 631082"/>
              <a:gd name="csX27" fmla="*/ 338106 w 350251"/>
              <a:gd name="csY27" fmla="*/ 554882 h 631082"/>
              <a:gd name="csX28" fmla="*/ 300006 w 350251"/>
              <a:gd name="csY28" fmla="*/ 554882 h 63108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</a:cxnLst>
            <a:rect l="l" t="t" r="r" b="b"/>
            <a:pathLst>
              <a:path w="350251" h="631082">
                <a:moveTo>
                  <a:pt x="300387" y="521640"/>
                </a:moveTo>
                <a:cubicBezTo>
                  <a:pt x="312040" y="515232"/>
                  <a:pt x="319325" y="503030"/>
                  <a:pt x="319437" y="489731"/>
                </a:cubicBezTo>
                <a:lnTo>
                  <a:pt x="319437" y="486588"/>
                </a:lnTo>
                <a:cubicBezTo>
                  <a:pt x="319335" y="469520"/>
                  <a:pt x="307501" y="454767"/>
                  <a:pt x="290862" y="450965"/>
                </a:cubicBezTo>
                <a:lnTo>
                  <a:pt x="290862" y="412007"/>
                </a:lnTo>
                <a:cubicBezTo>
                  <a:pt x="315184" y="385078"/>
                  <a:pt x="321001" y="346196"/>
                  <a:pt x="305625" y="313328"/>
                </a:cubicBezTo>
                <a:cubicBezTo>
                  <a:pt x="294005" y="286849"/>
                  <a:pt x="239427" y="249606"/>
                  <a:pt x="219900" y="238843"/>
                </a:cubicBezTo>
                <a:cubicBezTo>
                  <a:pt x="211091" y="233929"/>
                  <a:pt x="204332" y="226022"/>
                  <a:pt x="200850" y="216554"/>
                </a:cubicBezTo>
                <a:cubicBezTo>
                  <a:pt x="209715" y="222914"/>
                  <a:pt x="220882" y="225169"/>
                  <a:pt x="231521" y="222746"/>
                </a:cubicBezTo>
                <a:cubicBezTo>
                  <a:pt x="248571" y="216554"/>
                  <a:pt x="263334" y="232271"/>
                  <a:pt x="267430" y="237319"/>
                </a:cubicBezTo>
                <a:cubicBezTo>
                  <a:pt x="278003" y="249035"/>
                  <a:pt x="296958" y="243224"/>
                  <a:pt x="314007" y="235985"/>
                </a:cubicBezTo>
                <a:cubicBezTo>
                  <a:pt x="340825" y="224316"/>
                  <a:pt x="355401" y="195084"/>
                  <a:pt x="348583" y="166643"/>
                </a:cubicBezTo>
                <a:cubicBezTo>
                  <a:pt x="348107" y="152070"/>
                  <a:pt x="275241" y="103493"/>
                  <a:pt x="275241" y="103493"/>
                </a:cubicBezTo>
                <a:lnTo>
                  <a:pt x="272669" y="85490"/>
                </a:lnTo>
                <a:cubicBezTo>
                  <a:pt x="272669" y="82347"/>
                  <a:pt x="261429" y="49867"/>
                  <a:pt x="212280" y="41485"/>
                </a:cubicBezTo>
                <a:cubicBezTo>
                  <a:pt x="212280" y="41485"/>
                  <a:pt x="221139" y="9671"/>
                  <a:pt x="208375" y="3385"/>
                </a:cubicBezTo>
                <a:cubicBezTo>
                  <a:pt x="181705" y="-8902"/>
                  <a:pt x="84550" y="10052"/>
                  <a:pt x="30639" y="96920"/>
                </a:cubicBezTo>
                <a:cubicBezTo>
                  <a:pt x="-9271" y="161214"/>
                  <a:pt x="-10224" y="239033"/>
                  <a:pt x="27972" y="315995"/>
                </a:cubicBezTo>
                <a:cubicBezTo>
                  <a:pt x="37497" y="335045"/>
                  <a:pt x="61881" y="373145"/>
                  <a:pt x="61881" y="401720"/>
                </a:cubicBezTo>
                <a:lnTo>
                  <a:pt x="61881" y="450965"/>
                </a:lnTo>
                <a:cubicBezTo>
                  <a:pt x="45241" y="454767"/>
                  <a:pt x="33408" y="469520"/>
                  <a:pt x="33306" y="486588"/>
                </a:cubicBezTo>
                <a:lnTo>
                  <a:pt x="33306" y="489731"/>
                </a:lnTo>
                <a:cubicBezTo>
                  <a:pt x="33417" y="503030"/>
                  <a:pt x="40702" y="515232"/>
                  <a:pt x="52356" y="521640"/>
                </a:cubicBezTo>
                <a:lnTo>
                  <a:pt x="52356" y="554882"/>
                </a:lnTo>
                <a:lnTo>
                  <a:pt x="14256" y="554882"/>
                </a:lnTo>
                <a:lnTo>
                  <a:pt x="14256" y="631082"/>
                </a:lnTo>
                <a:lnTo>
                  <a:pt x="338106" y="631082"/>
                </a:lnTo>
                <a:lnTo>
                  <a:pt x="338106" y="554882"/>
                </a:lnTo>
                <a:lnTo>
                  <a:pt x="300006" y="55488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ffectLst>
            <a:innerShdw dist="50800" dir="10800000">
              <a:schemeClr val="accent1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2876E485-DC18-1A6E-E8B9-2D0AD2190560}"/>
              </a:ext>
            </a:extLst>
          </p:cNvPr>
          <p:cNvSpPr txBox="1">
            <a:spLocks/>
          </p:cNvSpPr>
          <p:nvPr/>
        </p:nvSpPr>
        <p:spPr>
          <a:xfrm>
            <a:off x="1586699" y="3583620"/>
            <a:ext cx="634877" cy="634877"/>
          </a:xfrm>
          <a:prstGeom prst="ellipse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2"/>
              </a:gs>
            </a:gsLst>
            <a:lin ang="13500000" scaled="1"/>
            <a:tileRect/>
          </a:gradFill>
        </p:spPr>
        <p:txBody>
          <a:bodyPr anchor="ctr" anchorCtr="1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</a:p>
        </p:txBody>
      </p:sp>
      <p:sp>
        <p:nvSpPr>
          <p:cNvPr id="3" name="Free-form: Shape 41">
            <a:extLst>
              <a:ext uri="{FF2B5EF4-FFF2-40B4-BE49-F238E27FC236}">
                <a16:creationId xmlns:a16="http://schemas.microsoft.com/office/drawing/2014/main" id="{506D853F-715E-72BD-CCBE-B534F0F24C4F}"/>
              </a:ext>
            </a:extLst>
          </p:cNvPr>
          <p:cNvSpPr/>
          <p:nvPr/>
        </p:nvSpPr>
        <p:spPr>
          <a:xfrm>
            <a:off x="1771300" y="3686610"/>
            <a:ext cx="265675" cy="428896"/>
          </a:xfrm>
          <a:custGeom>
            <a:avLst/>
            <a:gdLst>
              <a:gd name="csX0" fmla="*/ 300387 w 350251"/>
              <a:gd name="csY0" fmla="*/ 521640 h 631082"/>
              <a:gd name="csX1" fmla="*/ 319437 w 350251"/>
              <a:gd name="csY1" fmla="*/ 489731 h 631082"/>
              <a:gd name="csX2" fmla="*/ 319437 w 350251"/>
              <a:gd name="csY2" fmla="*/ 486588 h 631082"/>
              <a:gd name="csX3" fmla="*/ 290862 w 350251"/>
              <a:gd name="csY3" fmla="*/ 450965 h 631082"/>
              <a:gd name="csX4" fmla="*/ 290862 w 350251"/>
              <a:gd name="csY4" fmla="*/ 412007 h 631082"/>
              <a:gd name="csX5" fmla="*/ 305625 w 350251"/>
              <a:gd name="csY5" fmla="*/ 313328 h 631082"/>
              <a:gd name="csX6" fmla="*/ 219900 w 350251"/>
              <a:gd name="csY6" fmla="*/ 238843 h 631082"/>
              <a:gd name="csX7" fmla="*/ 200850 w 350251"/>
              <a:gd name="csY7" fmla="*/ 216554 h 631082"/>
              <a:gd name="csX8" fmla="*/ 231521 w 350251"/>
              <a:gd name="csY8" fmla="*/ 222746 h 631082"/>
              <a:gd name="csX9" fmla="*/ 267430 w 350251"/>
              <a:gd name="csY9" fmla="*/ 237319 h 631082"/>
              <a:gd name="csX10" fmla="*/ 314007 w 350251"/>
              <a:gd name="csY10" fmla="*/ 235985 h 631082"/>
              <a:gd name="csX11" fmla="*/ 348583 w 350251"/>
              <a:gd name="csY11" fmla="*/ 166643 h 631082"/>
              <a:gd name="csX12" fmla="*/ 275241 w 350251"/>
              <a:gd name="csY12" fmla="*/ 103493 h 631082"/>
              <a:gd name="csX13" fmla="*/ 272669 w 350251"/>
              <a:gd name="csY13" fmla="*/ 85490 h 631082"/>
              <a:gd name="csX14" fmla="*/ 212280 w 350251"/>
              <a:gd name="csY14" fmla="*/ 41485 h 631082"/>
              <a:gd name="csX15" fmla="*/ 208375 w 350251"/>
              <a:gd name="csY15" fmla="*/ 3385 h 631082"/>
              <a:gd name="csX16" fmla="*/ 30639 w 350251"/>
              <a:gd name="csY16" fmla="*/ 96920 h 631082"/>
              <a:gd name="csX17" fmla="*/ 27972 w 350251"/>
              <a:gd name="csY17" fmla="*/ 315995 h 631082"/>
              <a:gd name="csX18" fmla="*/ 61881 w 350251"/>
              <a:gd name="csY18" fmla="*/ 401720 h 631082"/>
              <a:gd name="csX19" fmla="*/ 61881 w 350251"/>
              <a:gd name="csY19" fmla="*/ 450965 h 631082"/>
              <a:gd name="csX20" fmla="*/ 33306 w 350251"/>
              <a:gd name="csY20" fmla="*/ 486588 h 631082"/>
              <a:gd name="csX21" fmla="*/ 33306 w 350251"/>
              <a:gd name="csY21" fmla="*/ 489731 h 631082"/>
              <a:gd name="csX22" fmla="*/ 52356 w 350251"/>
              <a:gd name="csY22" fmla="*/ 521640 h 631082"/>
              <a:gd name="csX23" fmla="*/ 52356 w 350251"/>
              <a:gd name="csY23" fmla="*/ 554882 h 631082"/>
              <a:gd name="csX24" fmla="*/ 14256 w 350251"/>
              <a:gd name="csY24" fmla="*/ 554882 h 631082"/>
              <a:gd name="csX25" fmla="*/ 14256 w 350251"/>
              <a:gd name="csY25" fmla="*/ 631082 h 631082"/>
              <a:gd name="csX26" fmla="*/ 338106 w 350251"/>
              <a:gd name="csY26" fmla="*/ 631082 h 631082"/>
              <a:gd name="csX27" fmla="*/ 338106 w 350251"/>
              <a:gd name="csY27" fmla="*/ 554882 h 631082"/>
              <a:gd name="csX28" fmla="*/ 300006 w 350251"/>
              <a:gd name="csY28" fmla="*/ 554882 h 63108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</a:cxnLst>
            <a:rect l="l" t="t" r="r" b="b"/>
            <a:pathLst>
              <a:path w="350251" h="631082">
                <a:moveTo>
                  <a:pt x="300387" y="521640"/>
                </a:moveTo>
                <a:cubicBezTo>
                  <a:pt x="312040" y="515232"/>
                  <a:pt x="319325" y="503030"/>
                  <a:pt x="319437" y="489731"/>
                </a:cubicBezTo>
                <a:lnTo>
                  <a:pt x="319437" y="486588"/>
                </a:lnTo>
                <a:cubicBezTo>
                  <a:pt x="319335" y="469520"/>
                  <a:pt x="307501" y="454767"/>
                  <a:pt x="290862" y="450965"/>
                </a:cubicBezTo>
                <a:lnTo>
                  <a:pt x="290862" y="412007"/>
                </a:lnTo>
                <a:cubicBezTo>
                  <a:pt x="315184" y="385078"/>
                  <a:pt x="321001" y="346196"/>
                  <a:pt x="305625" y="313328"/>
                </a:cubicBezTo>
                <a:cubicBezTo>
                  <a:pt x="294005" y="286849"/>
                  <a:pt x="239427" y="249606"/>
                  <a:pt x="219900" y="238843"/>
                </a:cubicBezTo>
                <a:cubicBezTo>
                  <a:pt x="211091" y="233929"/>
                  <a:pt x="204332" y="226022"/>
                  <a:pt x="200850" y="216554"/>
                </a:cubicBezTo>
                <a:cubicBezTo>
                  <a:pt x="209715" y="222914"/>
                  <a:pt x="220882" y="225169"/>
                  <a:pt x="231521" y="222746"/>
                </a:cubicBezTo>
                <a:cubicBezTo>
                  <a:pt x="248571" y="216554"/>
                  <a:pt x="263334" y="232271"/>
                  <a:pt x="267430" y="237319"/>
                </a:cubicBezTo>
                <a:cubicBezTo>
                  <a:pt x="278003" y="249035"/>
                  <a:pt x="296958" y="243224"/>
                  <a:pt x="314007" y="235985"/>
                </a:cubicBezTo>
                <a:cubicBezTo>
                  <a:pt x="340825" y="224316"/>
                  <a:pt x="355401" y="195084"/>
                  <a:pt x="348583" y="166643"/>
                </a:cubicBezTo>
                <a:cubicBezTo>
                  <a:pt x="348107" y="152070"/>
                  <a:pt x="275241" y="103493"/>
                  <a:pt x="275241" y="103493"/>
                </a:cubicBezTo>
                <a:lnTo>
                  <a:pt x="272669" y="85490"/>
                </a:lnTo>
                <a:cubicBezTo>
                  <a:pt x="272669" y="82347"/>
                  <a:pt x="261429" y="49867"/>
                  <a:pt x="212280" y="41485"/>
                </a:cubicBezTo>
                <a:cubicBezTo>
                  <a:pt x="212280" y="41485"/>
                  <a:pt x="221139" y="9671"/>
                  <a:pt x="208375" y="3385"/>
                </a:cubicBezTo>
                <a:cubicBezTo>
                  <a:pt x="181705" y="-8902"/>
                  <a:pt x="84550" y="10052"/>
                  <a:pt x="30639" y="96920"/>
                </a:cubicBezTo>
                <a:cubicBezTo>
                  <a:pt x="-9271" y="161214"/>
                  <a:pt x="-10224" y="239033"/>
                  <a:pt x="27972" y="315995"/>
                </a:cubicBezTo>
                <a:cubicBezTo>
                  <a:pt x="37497" y="335045"/>
                  <a:pt x="61881" y="373145"/>
                  <a:pt x="61881" y="401720"/>
                </a:cubicBezTo>
                <a:lnTo>
                  <a:pt x="61881" y="450965"/>
                </a:lnTo>
                <a:cubicBezTo>
                  <a:pt x="45241" y="454767"/>
                  <a:pt x="33408" y="469520"/>
                  <a:pt x="33306" y="486588"/>
                </a:cubicBezTo>
                <a:lnTo>
                  <a:pt x="33306" y="489731"/>
                </a:lnTo>
                <a:cubicBezTo>
                  <a:pt x="33417" y="503030"/>
                  <a:pt x="40702" y="515232"/>
                  <a:pt x="52356" y="521640"/>
                </a:cubicBezTo>
                <a:lnTo>
                  <a:pt x="52356" y="554882"/>
                </a:lnTo>
                <a:lnTo>
                  <a:pt x="14256" y="554882"/>
                </a:lnTo>
                <a:lnTo>
                  <a:pt x="14256" y="631082"/>
                </a:lnTo>
                <a:lnTo>
                  <a:pt x="338106" y="631082"/>
                </a:lnTo>
                <a:lnTo>
                  <a:pt x="338106" y="554882"/>
                </a:lnTo>
                <a:lnTo>
                  <a:pt x="300006" y="55488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ffectLst>
            <a:innerShdw dist="50800" dir="10800000">
              <a:schemeClr val="accent1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" name="Title 6">
            <a:extLst>
              <a:ext uri="{FF2B5EF4-FFF2-40B4-BE49-F238E27FC236}">
                <a16:creationId xmlns:a16="http://schemas.microsoft.com/office/drawing/2014/main" id="{BFFD9E2B-D2DA-2919-CC50-27558F2F9F92}"/>
              </a:ext>
            </a:extLst>
          </p:cNvPr>
          <p:cNvSpPr txBox="1">
            <a:spLocks/>
          </p:cNvSpPr>
          <p:nvPr/>
        </p:nvSpPr>
        <p:spPr>
          <a:xfrm>
            <a:off x="2567559" y="5504649"/>
            <a:ext cx="8993069" cy="666914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 Display" panose="02110004020202020204"/>
                <a:ea typeface="+mj-ea"/>
                <a:cs typeface="+mj-cs"/>
              </a:rPr>
              <a:t>No single therapy fits all, and there is still </a:t>
            </a: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 Display" panose="02110004020202020204"/>
                <a:ea typeface="+mj-ea"/>
                <a:cs typeface="+mj-cs"/>
              </a:rPr>
              <a:t>room to tailor R/R DLBCL therapies for improved outcomes  </a:t>
            </a:r>
            <a:endParaRPr kumimoji="0" lang="en-GB" sz="3400" b="1" i="0" u="none" strike="noStrike" kern="1200" cap="none" spc="0" normalizeH="0" baseline="0" noProof="0" dirty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 Display" panose="02110004020202020204"/>
              <a:ea typeface="+mj-ea"/>
              <a:cs typeface="+mj-cs"/>
            </a:endParaRP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00F149E6-27A6-4717-C132-40D483ABE5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651" y="6356350"/>
            <a:ext cx="383694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948FB62-8746-4D0D-BA71-8EB1BEE683ED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82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0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08775220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BE0CF42-BED8-8B7C-8037-558472CA4E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5117A206-448E-C2F1-259A-8A4C867DA0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>
                <a:solidFill>
                  <a:schemeClr val="accent1"/>
                </a:solidFill>
                <a:latin typeface="+mn-lt"/>
              </a:rPr>
              <a:t>Clinical case reflections: </a:t>
            </a:r>
            <a:br>
              <a:rPr lang="en-GB" b="1">
                <a:solidFill>
                  <a:schemeClr val="accent1"/>
                </a:solidFill>
                <a:latin typeface="+mn-lt"/>
              </a:rPr>
            </a:br>
            <a:r>
              <a:rPr lang="en-GB" b="1">
                <a:solidFill>
                  <a:schemeClr val="accent1"/>
                </a:solidFill>
                <a:latin typeface="+mn-lt"/>
              </a:rPr>
              <a:t>Managing complexity in practice</a:t>
            </a:r>
            <a:br>
              <a:rPr lang="en-GB" b="1">
                <a:solidFill>
                  <a:schemeClr val="accent1"/>
                </a:solidFill>
                <a:latin typeface="+mn-lt"/>
              </a:rPr>
            </a:br>
            <a:r>
              <a:rPr lang="en-GB" b="1">
                <a:solidFill>
                  <a:schemeClr val="accent1"/>
                </a:solidFill>
                <a:latin typeface="+mn-lt"/>
              </a:rPr>
              <a:t> </a:t>
            </a:r>
            <a:br>
              <a:rPr lang="en-GB" b="1">
                <a:solidFill>
                  <a:schemeClr val="accent1"/>
                </a:solidFill>
                <a:latin typeface="+mn-lt"/>
              </a:rPr>
            </a:br>
            <a:r>
              <a:rPr lang="en-GB" sz="4000">
                <a:latin typeface="+mn-lt"/>
              </a:rPr>
              <a:t>Prof. Enrico </a:t>
            </a:r>
            <a:r>
              <a:rPr lang="en-GB" sz="4000" err="1">
                <a:latin typeface="+mn-lt"/>
              </a:rPr>
              <a:t>Derenzini</a:t>
            </a:r>
            <a:br>
              <a:rPr lang="en-GB" sz="4000">
                <a:latin typeface="+mn-lt"/>
              </a:rPr>
            </a:br>
            <a:r>
              <a:rPr kumimoji="0" lang="en-GB" sz="2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nical Haemato-Oncology Division, IEO European Institute of Oncology IRCCS, Milan, Italy</a:t>
            </a:r>
            <a:endParaRPr lang="en-GB" sz="4000">
              <a:highlight>
                <a:srgbClr val="00FFFF"/>
              </a:highlight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155382545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A62E5F5-61E6-A13F-184C-C050799AAE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1" name="Straight Connector 4">
            <a:extLst>
              <a:ext uri="{FF2B5EF4-FFF2-40B4-BE49-F238E27FC236}">
                <a16:creationId xmlns:a16="http://schemas.microsoft.com/office/drawing/2014/main" id="{BCE4723D-C93B-582E-FF9D-B483ECD9B014}"/>
              </a:ext>
            </a:extLst>
          </p:cNvPr>
          <p:cNvCxnSpPr>
            <a:cxnSpLocks/>
          </p:cNvCxnSpPr>
          <p:nvPr/>
        </p:nvCxnSpPr>
        <p:spPr>
          <a:xfrm>
            <a:off x="3582807" y="1251894"/>
            <a:ext cx="0" cy="4615506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A30B9A01-EE59-6F4F-82B5-62ADF86F1CD4}"/>
              </a:ext>
            </a:extLst>
          </p:cNvPr>
          <p:cNvSpPr txBox="1">
            <a:spLocks/>
          </p:cNvSpPr>
          <p:nvPr/>
        </p:nvSpPr>
        <p:spPr>
          <a:xfrm>
            <a:off x="262890" y="3429000"/>
            <a:ext cx="3211825" cy="203194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400" b="0" i="1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ge: </a:t>
            </a:r>
            <a:r>
              <a:rPr kumimoji="0" lang="en-GB" sz="2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70 years old </a:t>
            </a:r>
            <a:br>
              <a:rPr kumimoji="0" lang="en-GB" sz="2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GB" sz="2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(at diagnosis)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400" b="0" i="1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ex: </a:t>
            </a:r>
            <a:r>
              <a:rPr kumimoji="0" lang="en-GB" sz="2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Male </a:t>
            </a:r>
          </a:p>
        </p:txBody>
      </p:sp>
      <p:sp>
        <p:nvSpPr>
          <p:cNvPr id="23" name="TextBox 9">
            <a:extLst>
              <a:ext uri="{FF2B5EF4-FFF2-40B4-BE49-F238E27FC236}">
                <a16:creationId xmlns:a16="http://schemas.microsoft.com/office/drawing/2014/main" id="{6B41F1F4-63FC-64E2-6F8F-DCAA160B1569}"/>
              </a:ext>
            </a:extLst>
          </p:cNvPr>
          <p:cNvSpPr txBox="1"/>
          <p:nvPr/>
        </p:nvSpPr>
        <p:spPr>
          <a:xfrm>
            <a:off x="4198556" y="1895632"/>
            <a:ext cx="6856746" cy="2033181"/>
          </a:xfrm>
          <a:prstGeom prst="rect">
            <a:avLst/>
          </a:prstGeom>
          <a:noFill/>
        </p:spPr>
        <p:txBody>
          <a:bodyPr wrap="square" lIns="0" rIns="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8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iagnosis</a:t>
            </a: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EB92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iffuse large B-cell lymphoma diagnosed in February 2023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EB92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GC-subtyp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EB92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High-risk disease (age, stage IV</a:t>
            </a:r>
            <a:r>
              <a:rPr kumimoji="0" lang="en-CH" sz="16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E</a:t>
            </a: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</a:t>
            </a:r>
            <a:r>
              <a:rPr kumimoji="0" lang="en-CH" sz="16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[maxillofacial mass + bone disease], LDH</a:t>
            </a: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, bulky disease, </a:t>
            </a:r>
            <a:r>
              <a:rPr kumimoji="0" lang="en-GB" sz="1600" b="0" i="1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MYC</a:t>
            </a: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rearrangement</a:t>
            </a:r>
            <a:r>
              <a:rPr kumimoji="0" lang="en-CH" sz="16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, IPI 4</a:t>
            </a: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)</a:t>
            </a:r>
          </a:p>
        </p:txBody>
      </p:sp>
      <p:sp>
        <p:nvSpPr>
          <p:cNvPr id="25" name="Oval 12">
            <a:extLst>
              <a:ext uri="{FF2B5EF4-FFF2-40B4-BE49-F238E27FC236}">
                <a16:creationId xmlns:a16="http://schemas.microsoft.com/office/drawing/2014/main" id="{78D92447-800C-AA9C-CE68-C9EB53DE8596}"/>
              </a:ext>
            </a:extLst>
          </p:cNvPr>
          <p:cNvSpPr/>
          <p:nvPr/>
        </p:nvSpPr>
        <p:spPr>
          <a:xfrm>
            <a:off x="1331603" y="1907119"/>
            <a:ext cx="1296000" cy="1296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6" name="Arc 14">
            <a:extLst>
              <a:ext uri="{FF2B5EF4-FFF2-40B4-BE49-F238E27FC236}">
                <a16:creationId xmlns:a16="http://schemas.microsoft.com/office/drawing/2014/main" id="{B3BA2764-9E64-22C0-F1D9-AE2D0A4F0C73}"/>
              </a:ext>
            </a:extLst>
          </p:cNvPr>
          <p:cNvSpPr/>
          <p:nvPr/>
        </p:nvSpPr>
        <p:spPr bwMode="auto">
          <a:xfrm rot="18861982">
            <a:off x="1686207" y="1812111"/>
            <a:ext cx="355726" cy="421125"/>
          </a:xfrm>
          <a:prstGeom prst="arc">
            <a:avLst>
              <a:gd name="adj1" fmla="val 4503400"/>
              <a:gd name="adj2" fmla="val 8614742"/>
            </a:avLst>
          </a:prstGeom>
          <a:noFill/>
          <a:ln w="12700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7" name="Straight Connector 16">
            <a:extLst>
              <a:ext uri="{FF2B5EF4-FFF2-40B4-BE49-F238E27FC236}">
                <a16:creationId xmlns:a16="http://schemas.microsoft.com/office/drawing/2014/main" id="{B4AAEF36-1B5E-AC9A-E606-7F16EA4685CD}"/>
              </a:ext>
            </a:extLst>
          </p:cNvPr>
          <p:cNvCxnSpPr>
            <a:cxnSpLocks/>
          </p:cNvCxnSpPr>
          <p:nvPr/>
        </p:nvCxnSpPr>
        <p:spPr>
          <a:xfrm>
            <a:off x="1752967" y="2885054"/>
            <a:ext cx="0" cy="80462"/>
          </a:xfrm>
          <a:prstGeom prst="line">
            <a:avLst/>
          </a:prstGeom>
          <a:ln w="12700" cap="rnd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17">
            <a:extLst>
              <a:ext uri="{FF2B5EF4-FFF2-40B4-BE49-F238E27FC236}">
                <a16:creationId xmlns:a16="http://schemas.microsoft.com/office/drawing/2014/main" id="{E66A65C4-E919-1413-E80F-84433A4B7D1E}"/>
              </a:ext>
            </a:extLst>
          </p:cNvPr>
          <p:cNvCxnSpPr>
            <a:cxnSpLocks/>
          </p:cNvCxnSpPr>
          <p:nvPr/>
        </p:nvCxnSpPr>
        <p:spPr>
          <a:xfrm>
            <a:off x="2221052" y="2896533"/>
            <a:ext cx="0" cy="80462"/>
          </a:xfrm>
          <a:prstGeom prst="line">
            <a:avLst/>
          </a:prstGeom>
          <a:ln w="12700" cap="rnd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Arc 18">
            <a:extLst>
              <a:ext uri="{FF2B5EF4-FFF2-40B4-BE49-F238E27FC236}">
                <a16:creationId xmlns:a16="http://schemas.microsoft.com/office/drawing/2014/main" id="{E4C384ED-8E5C-1940-803E-0D49917B0A2D}"/>
              </a:ext>
            </a:extLst>
          </p:cNvPr>
          <p:cNvSpPr/>
          <p:nvPr/>
        </p:nvSpPr>
        <p:spPr bwMode="auto">
          <a:xfrm rot="10800000">
            <a:off x="1801739" y="2121330"/>
            <a:ext cx="355727" cy="421125"/>
          </a:xfrm>
          <a:prstGeom prst="arc">
            <a:avLst>
              <a:gd name="adj1" fmla="val 8581502"/>
              <a:gd name="adj2" fmla="val 2398834"/>
            </a:avLst>
          </a:prstGeom>
          <a:noFill/>
          <a:ln w="12700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0" name="Freeform 53">
            <a:extLst>
              <a:ext uri="{FF2B5EF4-FFF2-40B4-BE49-F238E27FC236}">
                <a16:creationId xmlns:a16="http://schemas.microsoft.com/office/drawing/2014/main" id="{1765FE01-C737-199A-0EF8-9ED67969D4FF}"/>
              </a:ext>
            </a:extLst>
          </p:cNvPr>
          <p:cNvSpPr/>
          <p:nvPr/>
        </p:nvSpPr>
        <p:spPr>
          <a:xfrm>
            <a:off x="1606997" y="2582604"/>
            <a:ext cx="745211" cy="392133"/>
          </a:xfrm>
          <a:custGeom>
            <a:avLst/>
            <a:gdLst>
              <a:gd name="connsiteX0" fmla="*/ 0 w 2039816"/>
              <a:gd name="connsiteY0" fmla="*/ 1125415 h 1125415"/>
              <a:gd name="connsiteX1" fmla="*/ 130629 w 2039816"/>
              <a:gd name="connsiteY1" fmla="*/ 221064 h 1125415"/>
              <a:gd name="connsiteX2" fmla="*/ 653143 w 2039816"/>
              <a:gd name="connsiteY2" fmla="*/ 0 h 1125415"/>
              <a:gd name="connsiteX3" fmla="*/ 974691 w 2039816"/>
              <a:gd name="connsiteY3" fmla="*/ 622998 h 1125415"/>
              <a:gd name="connsiteX4" fmla="*/ 1095271 w 2039816"/>
              <a:gd name="connsiteY4" fmla="*/ 622998 h 1125415"/>
              <a:gd name="connsiteX5" fmla="*/ 1406770 w 2039816"/>
              <a:gd name="connsiteY5" fmla="*/ 40193 h 1125415"/>
              <a:gd name="connsiteX6" fmla="*/ 1939332 w 2039816"/>
              <a:gd name="connsiteY6" fmla="*/ 301450 h 1125415"/>
              <a:gd name="connsiteX7" fmla="*/ 2039816 w 2039816"/>
              <a:gd name="connsiteY7" fmla="*/ 1125415 h 1125415"/>
              <a:gd name="connsiteX0" fmla="*/ 0 w 2039816"/>
              <a:gd name="connsiteY0" fmla="*/ 1125415 h 1125415"/>
              <a:gd name="connsiteX1" fmla="*/ 130629 w 2039816"/>
              <a:gd name="connsiteY1" fmla="*/ 221064 h 1125415"/>
              <a:gd name="connsiteX2" fmla="*/ 653143 w 2039816"/>
              <a:gd name="connsiteY2" fmla="*/ 0 h 1125415"/>
              <a:gd name="connsiteX3" fmla="*/ 974691 w 2039816"/>
              <a:gd name="connsiteY3" fmla="*/ 622998 h 1125415"/>
              <a:gd name="connsiteX4" fmla="*/ 1095271 w 2039816"/>
              <a:gd name="connsiteY4" fmla="*/ 622998 h 1125415"/>
              <a:gd name="connsiteX5" fmla="*/ 1406770 w 2039816"/>
              <a:gd name="connsiteY5" fmla="*/ 40193 h 1125415"/>
              <a:gd name="connsiteX6" fmla="*/ 1939332 w 2039816"/>
              <a:gd name="connsiteY6" fmla="*/ 301450 h 1125415"/>
              <a:gd name="connsiteX7" fmla="*/ 2039816 w 2039816"/>
              <a:gd name="connsiteY7" fmla="*/ 1125415 h 1125415"/>
              <a:gd name="connsiteX0" fmla="*/ 0 w 2039816"/>
              <a:gd name="connsiteY0" fmla="*/ 1125415 h 1125415"/>
              <a:gd name="connsiteX1" fmla="*/ 130629 w 2039816"/>
              <a:gd name="connsiteY1" fmla="*/ 221064 h 1125415"/>
              <a:gd name="connsiteX2" fmla="*/ 653143 w 2039816"/>
              <a:gd name="connsiteY2" fmla="*/ 0 h 1125415"/>
              <a:gd name="connsiteX3" fmla="*/ 974691 w 2039816"/>
              <a:gd name="connsiteY3" fmla="*/ 622998 h 1125415"/>
              <a:gd name="connsiteX4" fmla="*/ 1095271 w 2039816"/>
              <a:gd name="connsiteY4" fmla="*/ 622998 h 1125415"/>
              <a:gd name="connsiteX5" fmla="*/ 1406770 w 2039816"/>
              <a:gd name="connsiteY5" fmla="*/ 40193 h 1125415"/>
              <a:gd name="connsiteX6" fmla="*/ 1939332 w 2039816"/>
              <a:gd name="connsiteY6" fmla="*/ 301450 h 1125415"/>
              <a:gd name="connsiteX7" fmla="*/ 2039816 w 2039816"/>
              <a:gd name="connsiteY7" fmla="*/ 1125415 h 1125415"/>
              <a:gd name="connsiteX0" fmla="*/ 0 w 2039816"/>
              <a:gd name="connsiteY0" fmla="*/ 1125415 h 1125415"/>
              <a:gd name="connsiteX1" fmla="*/ 130629 w 2039816"/>
              <a:gd name="connsiteY1" fmla="*/ 221064 h 1125415"/>
              <a:gd name="connsiteX2" fmla="*/ 653143 w 2039816"/>
              <a:gd name="connsiteY2" fmla="*/ 0 h 1125415"/>
              <a:gd name="connsiteX3" fmla="*/ 974691 w 2039816"/>
              <a:gd name="connsiteY3" fmla="*/ 622998 h 1125415"/>
              <a:gd name="connsiteX4" fmla="*/ 1095271 w 2039816"/>
              <a:gd name="connsiteY4" fmla="*/ 622998 h 1125415"/>
              <a:gd name="connsiteX5" fmla="*/ 1406770 w 2039816"/>
              <a:gd name="connsiteY5" fmla="*/ 40193 h 1125415"/>
              <a:gd name="connsiteX6" fmla="*/ 1939332 w 2039816"/>
              <a:gd name="connsiteY6" fmla="*/ 301450 h 1125415"/>
              <a:gd name="connsiteX7" fmla="*/ 2039816 w 2039816"/>
              <a:gd name="connsiteY7" fmla="*/ 1125415 h 1125415"/>
              <a:gd name="connsiteX0" fmla="*/ 0 w 2039816"/>
              <a:gd name="connsiteY0" fmla="*/ 1125807 h 1125807"/>
              <a:gd name="connsiteX1" fmla="*/ 130629 w 2039816"/>
              <a:gd name="connsiteY1" fmla="*/ 221456 h 1125807"/>
              <a:gd name="connsiteX2" fmla="*/ 653143 w 2039816"/>
              <a:gd name="connsiteY2" fmla="*/ 392 h 1125807"/>
              <a:gd name="connsiteX3" fmla="*/ 974691 w 2039816"/>
              <a:gd name="connsiteY3" fmla="*/ 623390 h 1125807"/>
              <a:gd name="connsiteX4" fmla="*/ 1095271 w 2039816"/>
              <a:gd name="connsiteY4" fmla="*/ 623390 h 1125807"/>
              <a:gd name="connsiteX5" fmla="*/ 1406770 w 2039816"/>
              <a:gd name="connsiteY5" fmla="*/ 40585 h 1125807"/>
              <a:gd name="connsiteX6" fmla="*/ 1939332 w 2039816"/>
              <a:gd name="connsiteY6" fmla="*/ 301842 h 1125807"/>
              <a:gd name="connsiteX7" fmla="*/ 2039816 w 2039816"/>
              <a:gd name="connsiteY7" fmla="*/ 1125807 h 1125807"/>
              <a:gd name="connsiteX0" fmla="*/ 0 w 2039816"/>
              <a:gd name="connsiteY0" fmla="*/ 1125767 h 1125767"/>
              <a:gd name="connsiteX1" fmla="*/ 130629 w 2039816"/>
              <a:gd name="connsiteY1" fmla="*/ 221416 h 1125767"/>
              <a:gd name="connsiteX2" fmla="*/ 653143 w 2039816"/>
              <a:gd name="connsiteY2" fmla="*/ 352 h 1125767"/>
              <a:gd name="connsiteX3" fmla="*/ 974691 w 2039816"/>
              <a:gd name="connsiteY3" fmla="*/ 623350 h 1125767"/>
              <a:gd name="connsiteX4" fmla="*/ 1095271 w 2039816"/>
              <a:gd name="connsiteY4" fmla="*/ 623350 h 1125767"/>
              <a:gd name="connsiteX5" fmla="*/ 1406770 w 2039816"/>
              <a:gd name="connsiteY5" fmla="*/ 40545 h 1125767"/>
              <a:gd name="connsiteX6" fmla="*/ 1939332 w 2039816"/>
              <a:gd name="connsiteY6" fmla="*/ 301802 h 1125767"/>
              <a:gd name="connsiteX7" fmla="*/ 2039816 w 2039816"/>
              <a:gd name="connsiteY7" fmla="*/ 1125767 h 1125767"/>
              <a:gd name="connsiteX0" fmla="*/ 0 w 2039816"/>
              <a:gd name="connsiteY0" fmla="*/ 1125767 h 1125767"/>
              <a:gd name="connsiteX1" fmla="*/ 130629 w 2039816"/>
              <a:gd name="connsiteY1" fmla="*/ 221416 h 1125767"/>
              <a:gd name="connsiteX2" fmla="*/ 653143 w 2039816"/>
              <a:gd name="connsiteY2" fmla="*/ 352 h 1125767"/>
              <a:gd name="connsiteX3" fmla="*/ 974691 w 2039816"/>
              <a:gd name="connsiteY3" fmla="*/ 623350 h 1125767"/>
              <a:gd name="connsiteX4" fmla="*/ 1095271 w 2039816"/>
              <a:gd name="connsiteY4" fmla="*/ 623350 h 1125767"/>
              <a:gd name="connsiteX5" fmla="*/ 1406770 w 2039816"/>
              <a:gd name="connsiteY5" fmla="*/ 40545 h 1125767"/>
              <a:gd name="connsiteX6" fmla="*/ 1939332 w 2039816"/>
              <a:gd name="connsiteY6" fmla="*/ 301802 h 1125767"/>
              <a:gd name="connsiteX7" fmla="*/ 2039816 w 2039816"/>
              <a:gd name="connsiteY7" fmla="*/ 1125767 h 1125767"/>
              <a:gd name="connsiteX0" fmla="*/ 0 w 2039816"/>
              <a:gd name="connsiteY0" fmla="*/ 1125767 h 1125767"/>
              <a:gd name="connsiteX1" fmla="*/ 130629 w 2039816"/>
              <a:gd name="connsiteY1" fmla="*/ 221416 h 1125767"/>
              <a:gd name="connsiteX2" fmla="*/ 653143 w 2039816"/>
              <a:gd name="connsiteY2" fmla="*/ 352 h 1125767"/>
              <a:gd name="connsiteX3" fmla="*/ 974691 w 2039816"/>
              <a:gd name="connsiteY3" fmla="*/ 623350 h 1125767"/>
              <a:gd name="connsiteX4" fmla="*/ 1095271 w 2039816"/>
              <a:gd name="connsiteY4" fmla="*/ 623350 h 1125767"/>
              <a:gd name="connsiteX5" fmla="*/ 1406770 w 2039816"/>
              <a:gd name="connsiteY5" fmla="*/ 40545 h 1125767"/>
              <a:gd name="connsiteX6" fmla="*/ 1939332 w 2039816"/>
              <a:gd name="connsiteY6" fmla="*/ 301802 h 1125767"/>
              <a:gd name="connsiteX7" fmla="*/ 2039816 w 2039816"/>
              <a:gd name="connsiteY7" fmla="*/ 1125767 h 1125767"/>
              <a:gd name="connsiteX0" fmla="*/ 0 w 2039816"/>
              <a:gd name="connsiteY0" fmla="*/ 1125767 h 1125767"/>
              <a:gd name="connsiteX1" fmla="*/ 130629 w 2039816"/>
              <a:gd name="connsiteY1" fmla="*/ 221416 h 1125767"/>
              <a:gd name="connsiteX2" fmla="*/ 653143 w 2039816"/>
              <a:gd name="connsiteY2" fmla="*/ 352 h 1125767"/>
              <a:gd name="connsiteX3" fmla="*/ 974691 w 2039816"/>
              <a:gd name="connsiteY3" fmla="*/ 623350 h 1125767"/>
              <a:gd name="connsiteX4" fmla="*/ 1095271 w 2039816"/>
              <a:gd name="connsiteY4" fmla="*/ 623350 h 1125767"/>
              <a:gd name="connsiteX5" fmla="*/ 1406770 w 2039816"/>
              <a:gd name="connsiteY5" fmla="*/ 40545 h 1125767"/>
              <a:gd name="connsiteX6" fmla="*/ 1939332 w 2039816"/>
              <a:gd name="connsiteY6" fmla="*/ 301802 h 1125767"/>
              <a:gd name="connsiteX7" fmla="*/ 2039816 w 2039816"/>
              <a:gd name="connsiteY7" fmla="*/ 1125767 h 1125767"/>
              <a:gd name="connsiteX0" fmla="*/ 0 w 2039816"/>
              <a:gd name="connsiteY0" fmla="*/ 1125766 h 1125766"/>
              <a:gd name="connsiteX1" fmla="*/ 130629 w 2039816"/>
              <a:gd name="connsiteY1" fmla="*/ 221415 h 1125766"/>
              <a:gd name="connsiteX2" fmla="*/ 653143 w 2039816"/>
              <a:gd name="connsiteY2" fmla="*/ 351 h 1125766"/>
              <a:gd name="connsiteX3" fmla="*/ 974691 w 2039816"/>
              <a:gd name="connsiteY3" fmla="*/ 623349 h 1125766"/>
              <a:gd name="connsiteX4" fmla="*/ 1095271 w 2039816"/>
              <a:gd name="connsiteY4" fmla="*/ 623349 h 1125766"/>
              <a:gd name="connsiteX5" fmla="*/ 1406770 w 2039816"/>
              <a:gd name="connsiteY5" fmla="*/ 40544 h 1125766"/>
              <a:gd name="connsiteX6" fmla="*/ 1939332 w 2039816"/>
              <a:gd name="connsiteY6" fmla="*/ 301801 h 1125766"/>
              <a:gd name="connsiteX7" fmla="*/ 2039816 w 2039816"/>
              <a:gd name="connsiteY7" fmla="*/ 1125766 h 1125766"/>
              <a:gd name="connsiteX0" fmla="*/ 0 w 2039816"/>
              <a:gd name="connsiteY0" fmla="*/ 1126058 h 1126058"/>
              <a:gd name="connsiteX1" fmla="*/ 130629 w 2039816"/>
              <a:gd name="connsiteY1" fmla="*/ 221707 h 1126058"/>
              <a:gd name="connsiteX2" fmla="*/ 653143 w 2039816"/>
              <a:gd name="connsiteY2" fmla="*/ 643 h 1126058"/>
              <a:gd name="connsiteX3" fmla="*/ 974691 w 2039816"/>
              <a:gd name="connsiteY3" fmla="*/ 623641 h 1126058"/>
              <a:gd name="connsiteX4" fmla="*/ 1095271 w 2039816"/>
              <a:gd name="connsiteY4" fmla="*/ 623641 h 1126058"/>
              <a:gd name="connsiteX5" fmla="*/ 1406770 w 2039816"/>
              <a:gd name="connsiteY5" fmla="*/ 40836 h 1126058"/>
              <a:gd name="connsiteX6" fmla="*/ 1939332 w 2039816"/>
              <a:gd name="connsiteY6" fmla="*/ 302093 h 1126058"/>
              <a:gd name="connsiteX7" fmla="*/ 2039816 w 2039816"/>
              <a:gd name="connsiteY7" fmla="*/ 1126058 h 1126058"/>
              <a:gd name="connsiteX0" fmla="*/ 0 w 2109542"/>
              <a:gd name="connsiteY0" fmla="*/ 1161570 h 1161570"/>
              <a:gd name="connsiteX1" fmla="*/ 200355 w 2109542"/>
              <a:gd name="connsiteY1" fmla="*/ 222356 h 1161570"/>
              <a:gd name="connsiteX2" fmla="*/ 722869 w 2109542"/>
              <a:gd name="connsiteY2" fmla="*/ 1292 h 1161570"/>
              <a:gd name="connsiteX3" fmla="*/ 1044417 w 2109542"/>
              <a:gd name="connsiteY3" fmla="*/ 624290 h 1161570"/>
              <a:gd name="connsiteX4" fmla="*/ 1164997 w 2109542"/>
              <a:gd name="connsiteY4" fmla="*/ 624290 h 1161570"/>
              <a:gd name="connsiteX5" fmla="*/ 1476496 w 2109542"/>
              <a:gd name="connsiteY5" fmla="*/ 41485 h 1161570"/>
              <a:gd name="connsiteX6" fmla="*/ 2009058 w 2109542"/>
              <a:gd name="connsiteY6" fmla="*/ 302742 h 1161570"/>
              <a:gd name="connsiteX7" fmla="*/ 2109542 w 2109542"/>
              <a:gd name="connsiteY7" fmla="*/ 1126707 h 1161570"/>
              <a:gd name="connsiteX0" fmla="*/ 0 w 2179268"/>
              <a:gd name="connsiteY0" fmla="*/ 1161570 h 1171531"/>
              <a:gd name="connsiteX1" fmla="*/ 200355 w 2179268"/>
              <a:gd name="connsiteY1" fmla="*/ 222356 h 1171531"/>
              <a:gd name="connsiteX2" fmla="*/ 722869 w 2179268"/>
              <a:gd name="connsiteY2" fmla="*/ 1292 h 1171531"/>
              <a:gd name="connsiteX3" fmla="*/ 1044417 w 2179268"/>
              <a:gd name="connsiteY3" fmla="*/ 624290 h 1171531"/>
              <a:gd name="connsiteX4" fmla="*/ 1164997 w 2179268"/>
              <a:gd name="connsiteY4" fmla="*/ 624290 h 1171531"/>
              <a:gd name="connsiteX5" fmla="*/ 1476496 w 2179268"/>
              <a:gd name="connsiteY5" fmla="*/ 41485 h 1171531"/>
              <a:gd name="connsiteX6" fmla="*/ 2009058 w 2179268"/>
              <a:gd name="connsiteY6" fmla="*/ 302742 h 1171531"/>
              <a:gd name="connsiteX7" fmla="*/ 2179268 w 2179268"/>
              <a:gd name="connsiteY7" fmla="*/ 1171531 h 1171531"/>
              <a:gd name="connsiteX0" fmla="*/ 0 w 2179268"/>
              <a:gd name="connsiteY0" fmla="*/ 1161570 h 1171531"/>
              <a:gd name="connsiteX1" fmla="*/ 200355 w 2179268"/>
              <a:gd name="connsiteY1" fmla="*/ 222356 h 1171531"/>
              <a:gd name="connsiteX2" fmla="*/ 722869 w 2179268"/>
              <a:gd name="connsiteY2" fmla="*/ 1292 h 1171531"/>
              <a:gd name="connsiteX3" fmla="*/ 1044417 w 2179268"/>
              <a:gd name="connsiteY3" fmla="*/ 624290 h 1171531"/>
              <a:gd name="connsiteX4" fmla="*/ 1179939 w 2179268"/>
              <a:gd name="connsiteY4" fmla="*/ 504759 h 1171531"/>
              <a:gd name="connsiteX5" fmla="*/ 1476496 w 2179268"/>
              <a:gd name="connsiteY5" fmla="*/ 41485 h 1171531"/>
              <a:gd name="connsiteX6" fmla="*/ 2009058 w 2179268"/>
              <a:gd name="connsiteY6" fmla="*/ 302742 h 1171531"/>
              <a:gd name="connsiteX7" fmla="*/ 2179268 w 2179268"/>
              <a:gd name="connsiteY7" fmla="*/ 1171531 h 1171531"/>
              <a:gd name="connsiteX0" fmla="*/ 0 w 2179268"/>
              <a:gd name="connsiteY0" fmla="*/ 1161570 h 1171531"/>
              <a:gd name="connsiteX1" fmla="*/ 200355 w 2179268"/>
              <a:gd name="connsiteY1" fmla="*/ 222356 h 1171531"/>
              <a:gd name="connsiteX2" fmla="*/ 722869 w 2179268"/>
              <a:gd name="connsiteY2" fmla="*/ 1292 h 1171531"/>
              <a:gd name="connsiteX3" fmla="*/ 1044417 w 2179268"/>
              <a:gd name="connsiteY3" fmla="*/ 624290 h 1171531"/>
              <a:gd name="connsiteX4" fmla="*/ 1476496 w 2179268"/>
              <a:gd name="connsiteY4" fmla="*/ 41485 h 1171531"/>
              <a:gd name="connsiteX5" fmla="*/ 2009058 w 2179268"/>
              <a:gd name="connsiteY5" fmla="*/ 302742 h 1171531"/>
              <a:gd name="connsiteX6" fmla="*/ 2179268 w 2179268"/>
              <a:gd name="connsiteY6" fmla="*/ 1171531 h 1171531"/>
              <a:gd name="connsiteX0" fmla="*/ 0 w 2179268"/>
              <a:gd name="connsiteY0" fmla="*/ 1161570 h 1171531"/>
              <a:gd name="connsiteX1" fmla="*/ 200355 w 2179268"/>
              <a:gd name="connsiteY1" fmla="*/ 222356 h 1171531"/>
              <a:gd name="connsiteX2" fmla="*/ 722869 w 2179268"/>
              <a:gd name="connsiteY2" fmla="*/ 1292 h 1171531"/>
              <a:gd name="connsiteX3" fmla="*/ 1084261 w 2179268"/>
              <a:gd name="connsiteY3" fmla="*/ 395189 h 1171531"/>
              <a:gd name="connsiteX4" fmla="*/ 1476496 w 2179268"/>
              <a:gd name="connsiteY4" fmla="*/ 41485 h 1171531"/>
              <a:gd name="connsiteX5" fmla="*/ 2009058 w 2179268"/>
              <a:gd name="connsiteY5" fmla="*/ 302742 h 1171531"/>
              <a:gd name="connsiteX6" fmla="*/ 2179268 w 2179268"/>
              <a:gd name="connsiteY6" fmla="*/ 1171531 h 1171531"/>
              <a:gd name="connsiteX0" fmla="*/ 0 w 2179268"/>
              <a:gd name="connsiteY0" fmla="*/ 1161570 h 1171531"/>
              <a:gd name="connsiteX1" fmla="*/ 200355 w 2179268"/>
              <a:gd name="connsiteY1" fmla="*/ 222356 h 1171531"/>
              <a:gd name="connsiteX2" fmla="*/ 722869 w 2179268"/>
              <a:gd name="connsiteY2" fmla="*/ 1292 h 1171531"/>
              <a:gd name="connsiteX3" fmla="*/ 1084261 w 2179268"/>
              <a:gd name="connsiteY3" fmla="*/ 395189 h 1171531"/>
              <a:gd name="connsiteX4" fmla="*/ 1476496 w 2179268"/>
              <a:gd name="connsiteY4" fmla="*/ 41485 h 1171531"/>
              <a:gd name="connsiteX5" fmla="*/ 2009058 w 2179268"/>
              <a:gd name="connsiteY5" fmla="*/ 302742 h 1171531"/>
              <a:gd name="connsiteX6" fmla="*/ 2179268 w 2179268"/>
              <a:gd name="connsiteY6" fmla="*/ 1171531 h 1171531"/>
              <a:gd name="connsiteX0" fmla="*/ 0 w 2179268"/>
              <a:gd name="connsiteY0" fmla="*/ 1161570 h 1171531"/>
              <a:gd name="connsiteX1" fmla="*/ 200355 w 2179268"/>
              <a:gd name="connsiteY1" fmla="*/ 222356 h 1171531"/>
              <a:gd name="connsiteX2" fmla="*/ 722869 w 2179268"/>
              <a:gd name="connsiteY2" fmla="*/ 1292 h 1171531"/>
              <a:gd name="connsiteX3" fmla="*/ 1084261 w 2179268"/>
              <a:gd name="connsiteY3" fmla="*/ 395189 h 1171531"/>
              <a:gd name="connsiteX4" fmla="*/ 1476496 w 2179268"/>
              <a:gd name="connsiteY4" fmla="*/ 41485 h 1171531"/>
              <a:gd name="connsiteX5" fmla="*/ 2009058 w 2179268"/>
              <a:gd name="connsiteY5" fmla="*/ 302742 h 1171531"/>
              <a:gd name="connsiteX6" fmla="*/ 2179268 w 2179268"/>
              <a:gd name="connsiteY6" fmla="*/ 1171531 h 1171531"/>
              <a:gd name="connsiteX0" fmla="*/ 0 w 2179268"/>
              <a:gd name="connsiteY0" fmla="*/ 1161570 h 1171531"/>
              <a:gd name="connsiteX1" fmla="*/ 200355 w 2179268"/>
              <a:gd name="connsiteY1" fmla="*/ 222356 h 1171531"/>
              <a:gd name="connsiteX2" fmla="*/ 722869 w 2179268"/>
              <a:gd name="connsiteY2" fmla="*/ 1292 h 1171531"/>
              <a:gd name="connsiteX3" fmla="*/ 1084261 w 2179268"/>
              <a:gd name="connsiteY3" fmla="*/ 395189 h 1171531"/>
              <a:gd name="connsiteX4" fmla="*/ 1476496 w 2179268"/>
              <a:gd name="connsiteY4" fmla="*/ 41485 h 1171531"/>
              <a:gd name="connsiteX5" fmla="*/ 2009058 w 2179268"/>
              <a:gd name="connsiteY5" fmla="*/ 302742 h 1171531"/>
              <a:gd name="connsiteX6" fmla="*/ 2179268 w 2179268"/>
              <a:gd name="connsiteY6" fmla="*/ 1171531 h 1171531"/>
              <a:gd name="connsiteX0" fmla="*/ 0 w 2179268"/>
              <a:gd name="connsiteY0" fmla="*/ 1161570 h 1171531"/>
              <a:gd name="connsiteX1" fmla="*/ 200355 w 2179268"/>
              <a:gd name="connsiteY1" fmla="*/ 222356 h 1171531"/>
              <a:gd name="connsiteX2" fmla="*/ 722869 w 2179268"/>
              <a:gd name="connsiteY2" fmla="*/ 1292 h 1171531"/>
              <a:gd name="connsiteX3" fmla="*/ 1084261 w 2179268"/>
              <a:gd name="connsiteY3" fmla="*/ 395189 h 1171531"/>
              <a:gd name="connsiteX4" fmla="*/ 1476496 w 2179268"/>
              <a:gd name="connsiteY4" fmla="*/ 41485 h 1171531"/>
              <a:gd name="connsiteX5" fmla="*/ 2009058 w 2179268"/>
              <a:gd name="connsiteY5" fmla="*/ 302742 h 1171531"/>
              <a:gd name="connsiteX6" fmla="*/ 2179268 w 2179268"/>
              <a:gd name="connsiteY6" fmla="*/ 1171531 h 1171531"/>
              <a:gd name="connsiteX0" fmla="*/ 0 w 2179268"/>
              <a:gd name="connsiteY0" fmla="*/ 1137367 h 1147328"/>
              <a:gd name="connsiteX1" fmla="*/ 200355 w 2179268"/>
              <a:gd name="connsiteY1" fmla="*/ 198153 h 1147328"/>
              <a:gd name="connsiteX2" fmla="*/ 727020 w 2179268"/>
              <a:gd name="connsiteY2" fmla="*/ 1991 h 1147328"/>
              <a:gd name="connsiteX3" fmla="*/ 1084261 w 2179268"/>
              <a:gd name="connsiteY3" fmla="*/ 370986 h 1147328"/>
              <a:gd name="connsiteX4" fmla="*/ 1476496 w 2179268"/>
              <a:gd name="connsiteY4" fmla="*/ 17282 h 1147328"/>
              <a:gd name="connsiteX5" fmla="*/ 2009058 w 2179268"/>
              <a:gd name="connsiteY5" fmla="*/ 278539 h 1147328"/>
              <a:gd name="connsiteX6" fmla="*/ 2179268 w 2179268"/>
              <a:gd name="connsiteY6" fmla="*/ 1147328 h 1147328"/>
              <a:gd name="connsiteX0" fmla="*/ 0 w 2179268"/>
              <a:gd name="connsiteY0" fmla="*/ 1137367 h 1147328"/>
              <a:gd name="connsiteX1" fmla="*/ 200355 w 2179268"/>
              <a:gd name="connsiteY1" fmla="*/ 198153 h 1147328"/>
              <a:gd name="connsiteX2" fmla="*/ 727020 w 2179268"/>
              <a:gd name="connsiteY2" fmla="*/ 1991 h 1147328"/>
              <a:gd name="connsiteX3" fmla="*/ 1084261 w 2179268"/>
              <a:gd name="connsiteY3" fmla="*/ 370986 h 1147328"/>
              <a:gd name="connsiteX4" fmla="*/ 1476496 w 2179268"/>
              <a:gd name="connsiteY4" fmla="*/ 17282 h 1147328"/>
              <a:gd name="connsiteX5" fmla="*/ 2009058 w 2179268"/>
              <a:gd name="connsiteY5" fmla="*/ 278539 h 1147328"/>
              <a:gd name="connsiteX6" fmla="*/ 2179268 w 2179268"/>
              <a:gd name="connsiteY6" fmla="*/ 1147328 h 1147328"/>
              <a:gd name="connsiteX0" fmla="*/ 0 w 2179268"/>
              <a:gd name="connsiteY0" fmla="*/ 1137367 h 1147328"/>
              <a:gd name="connsiteX1" fmla="*/ 200355 w 2179268"/>
              <a:gd name="connsiteY1" fmla="*/ 198153 h 1147328"/>
              <a:gd name="connsiteX2" fmla="*/ 727020 w 2179268"/>
              <a:gd name="connsiteY2" fmla="*/ 1991 h 1147328"/>
              <a:gd name="connsiteX3" fmla="*/ 1084261 w 2179268"/>
              <a:gd name="connsiteY3" fmla="*/ 370986 h 1147328"/>
              <a:gd name="connsiteX4" fmla="*/ 1476496 w 2179268"/>
              <a:gd name="connsiteY4" fmla="*/ 17282 h 1147328"/>
              <a:gd name="connsiteX5" fmla="*/ 2009058 w 2179268"/>
              <a:gd name="connsiteY5" fmla="*/ 278539 h 1147328"/>
              <a:gd name="connsiteX6" fmla="*/ 2179268 w 2179268"/>
              <a:gd name="connsiteY6" fmla="*/ 1147328 h 1147328"/>
              <a:gd name="connsiteX0" fmla="*/ 0 w 2179268"/>
              <a:gd name="connsiteY0" fmla="*/ 1136775 h 1146736"/>
              <a:gd name="connsiteX1" fmla="*/ 200355 w 2179268"/>
              <a:gd name="connsiteY1" fmla="*/ 214163 h 1146736"/>
              <a:gd name="connsiteX2" fmla="*/ 727020 w 2179268"/>
              <a:gd name="connsiteY2" fmla="*/ 1399 h 1146736"/>
              <a:gd name="connsiteX3" fmla="*/ 1084261 w 2179268"/>
              <a:gd name="connsiteY3" fmla="*/ 370394 h 1146736"/>
              <a:gd name="connsiteX4" fmla="*/ 1476496 w 2179268"/>
              <a:gd name="connsiteY4" fmla="*/ 16690 h 1146736"/>
              <a:gd name="connsiteX5" fmla="*/ 2009058 w 2179268"/>
              <a:gd name="connsiteY5" fmla="*/ 277947 h 1146736"/>
              <a:gd name="connsiteX6" fmla="*/ 2179268 w 2179268"/>
              <a:gd name="connsiteY6" fmla="*/ 1146736 h 11467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179268" h="1146736">
                <a:moveTo>
                  <a:pt x="0" y="1136775"/>
                </a:moveTo>
                <a:cubicBezTo>
                  <a:pt x="43543" y="835325"/>
                  <a:pt x="79185" y="403392"/>
                  <a:pt x="200355" y="214163"/>
                </a:cubicBezTo>
                <a:cubicBezTo>
                  <a:pt x="321525" y="24934"/>
                  <a:pt x="654913" y="-7840"/>
                  <a:pt x="727020" y="1399"/>
                </a:cubicBezTo>
                <a:cubicBezTo>
                  <a:pt x="754073" y="69513"/>
                  <a:pt x="772580" y="371995"/>
                  <a:pt x="1084261" y="370394"/>
                </a:cubicBezTo>
                <a:cubicBezTo>
                  <a:pt x="1395942" y="368793"/>
                  <a:pt x="1435399" y="104708"/>
                  <a:pt x="1476496" y="16690"/>
                </a:cubicBezTo>
                <a:cubicBezTo>
                  <a:pt x="1539195" y="20848"/>
                  <a:pt x="1891929" y="89606"/>
                  <a:pt x="2009058" y="277947"/>
                </a:cubicBezTo>
                <a:cubicBezTo>
                  <a:pt x="2126187" y="466288"/>
                  <a:pt x="2145773" y="872081"/>
                  <a:pt x="2179268" y="1146736"/>
                </a:cubicBezTo>
              </a:path>
            </a:pathLst>
          </a:custGeom>
          <a:noFill/>
          <a:ln w="12700" cap="rnd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1" name="Arc 104">
            <a:extLst>
              <a:ext uri="{FF2B5EF4-FFF2-40B4-BE49-F238E27FC236}">
                <a16:creationId xmlns:a16="http://schemas.microsoft.com/office/drawing/2014/main" id="{7FC6219A-0F39-449D-542A-3FC43AE29196}"/>
              </a:ext>
            </a:extLst>
          </p:cNvPr>
          <p:cNvSpPr/>
          <p:nvPr/>
        </p:nvSpPr>
        <p:spPr bwMode="auto">
          <a:xfrm rot="8113193">
            <a:off x="1749342" y="2089196"/>
            <a:ext cx="318818" cy="210563"/>
          </a:xfrm>
          <a:custGeom>
            <a:avLst/>
            <a:gdLst>
              <a:gd name="connsiteX0" fmla="*/ 449810 w 500779"/>
              <a:gd name="connsiteY0" fmla="*/ 475673 h 592845"/>
              <a:gd name="connsiteX1" fmla="*/ 236096 w 500779"/>
              <a:gd name="connsiteY1" fmla="*/ 592362 h 592845"/>
              <a:gd name="connsiteX2" fmla="*/ 37891 w 500779"/>
              <a:gd name="connsiteY2" fmla="*/ 453209 h 592845"/>
              <a:gd name="connsiteX3" fmla="*/ 250390 w 500779"/>
              <a:gd name="connsiteY3" fmla="*/ 296423 h 592845"/>
              <a:gd name="connsiteX4" fmla="*/ 449810 w 500779"/>
              <a:gd name="connsiteY4" fmla="*/ 475673 h 592845"/>
              <a:gd name="connsiteX0" fmla="*/ 449810 w 500779"/>
              <a:gd name="connsiteY0" fmla="*/ 475673 h 592845"/>
              <a:gd name="connsiteX1" fmla="*/ 236096 w 500779"/>
              <a:gd name="connsiteY1" fmla="*/ 592362 h 592845"/>
              <a:gd name="connsiteX2" fmla="*/ 37891 w 500779"/>
              <a:gd name="connsiteY2" fmla="*/ 453209 h 592845"/>
              <a:gd name="connsiteX0" fmla="*/ 411919 w 448820"/>
              <a:gd name="connsiteY0" fmla="*/ 179250 h 296423"/>
              <a:gd name="connsiteX1" fmla="*/ 198205 w 448820"/>
              <a:gd name="connsiteY1" fmla="*/ 295939 h 296423"/>
              <a:gd name="connsiteX2" fmla="*/ 0 w 448820"/>
              <a:gd name="connsiteY2" fmla="*/ 156786 h 296423"/>
              <a:gd name="connsiteX3" fmla="*/ 212499 w 448820"/>
              <a:gd name="connsiteY3" fmla="*/ 0 h 296423"/>
              <a:gd name="connsiteX4" fmla="*/ 411919 w 448820"/>
              <a:gd name="connsiteY4" fmla="*/ 179250 h 296423"/>
              <a:gd name="connsiteX0" fmla="*/ 448820 w 448820"/>
              <a:gd name="connsiteY0" fmla="*/ 142065 h 296423"/>
              <a:gd name="connsiteX1" fmla="*/ 198205 w 448820"/>
              <a:gd name="connsiteY1" fmla="*/ 295939 h 296423"/>
              <a:gd name="connsiteX2" fmla="*/ 0 w 448820"/>
              <a:gd name="connsiteY2" fmla="*/ 156786 h 296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48820" h="296423" stroke="0" extrusionOk="0">
                <a:moveTo>
                  <a:pt x="411919" y="179250"/>
                </a:moveTo>
                <a:cubicBezTo>
                  <a:pt x="361523" y="257827"/>
                  <a:pt x="281407" y="301570"/>
                  <a:pt x="198205" y="295939"/>
                </a:cubicBezTo>
                <a:cubicBezTo>
                  <a:pt x="116961" y="290440"/>
                  <a:pt x="43043" y="238544"/>
                  <a:pt x="0" y="156786"/>
                </a:cubicBezTo>
                <a:lnTo>
                  <a:pt x="212499" y="0"/>
                </a:lnTo>
                <a:lnTo>
                  <a:pt x="411919" y="179250"/>
                </a:lnTo>
                <a:close/>
              </a:path>
              <a:path w="448820" h="296423" fill="none">
                <a:moveTo>
                  <a:pt x="448820" y="142065"/>
                </a:moveTo>
                <a:cubicBezTo>
                  <a:pt x="398424" y="220642"/>
                  <a:pt x="281407" y="301570"/>
                  <a:pt x="198205" y="295939"/>
                </a:cubicBezTo>
                <a:cubicBezTo>
                  <a:pt x="116961" y="290440"/>
                  <a:pt x="43043" y="238544"/>
                  <a:pt x="0" y="156786"/>
                </a:cubicBezTo>
              </a:path>
            </a:pathLst>
          </a:custGeom>
          <a:noFill/>
          <a:ln w="12700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" name="Arc 105">
            <a:extLst>
              <a:ext uri="{FF2B5EF4-FFF2-40B4-BE49-F238E27FC236}">
                <a16:creationId xmlns:a16="http://schemas.microsoft.com/office/drawing/2014/main" id="{B365A18C-AE57-0417-BACE-5DD27B3471AB}"/>
              </a:ext>
            </a:extLst>
          </p:cNvPr>
          <p:cNvSpPr/>
          <p:nvPr/>
        </p:nvSpPr>
        <p:spPr bwMode="auto">
          <a:xfrm rot="4849263" flipV="1">
            <a:off x="1980965" y="2079642"/>
            <a:ext cx="233660" cy="201591"/>
          </a:xfrm>
          <a:custGeom>
            <a:avLst/>
            <a:gdLst>
              <a:gd name="connsiteX0" fmla="*/ 272270 w 500779"/>
              <a:gd name="connsiteY0" fmla="*/ 591711 h 592845"/>
              <a:gd name="connsiteX1" fmla="*/ 5815 w 500779"/>
              <a:gd name="connsiteY1" fmla="*/ 359935 h 592845"/>
              <a:gd name="connsiteX2" fmla="*/ 250390 w 500779"/>
              <a:gd name="connsiteY2" fmla="*/ 296423 h 592845"/>
              <a:gd name="connsiteX3" fmla="*/ 272270 w 500779"/>
              <a:gd name="connsiteY3" fmla="*/ 591711 h 592845"/>
              <a:gd name="connsiteX0" fmla="*/ 272270 w 500779"/>
              <a:gd name="connsiteY0" fmla="*/ 591711 h 592845"/>
              <a:gd name="connsiteX1" fmla="*/ 5815 w 500779"/>
              <a:gd name="connsiteY1" fmla="*/ 359935 h 592845"/>
              <a:gd name="connsiteX0" fmla="*/ 266455 w 287827"/>
              <a:gd name="connsiteY0" fmla="*/ 295288 h 296434"/>
              <a:gd name="connsiteX1" fmla="*/ 0 w 287827"/>
              <a:gd name="connsiteY1" fmla="*/ 63512 h 296434"/>
              <a:gd name="connsiteX2" fmla="*/ 244575 w 287827"/>
              <a:gd name="connsiteY2" fmla="*/ 0 h 296434"/>
              <a:gd name="connsiteX3" fmla="*/ 266455 w 287827"/>
              <a:gd name="connsiteY3" fmla="*/ 295288 h 296434"/>
              <a:gd name="connsiteX0" fmla="*/ 287827 w 287827"/>
              <a:gd name="connsiteY0" fmla="*/ 248416 h 296434"/>
              <a:gd name="connsiteX1" fmla="*/ 0 w 287827"/>
              <a:gd name="connsiteY1" fmla="*/ 63512 h 296434"/>
              <a:gd name="connsiteX0" fmla="*/ 266455 w 326343"/>
              <a:gd name="connsiteY0" fmla="*/ 295288 h 296434"/>
              <a:gd name="connsiteX1" fmla="*/ 0 w 326343"/>
              <a:gd name="connsiteY1" fmla="*/ 63512 h 296434"/>
              <a:gd name="connsiteX2" fmla="*/ 244575 w 326343"/>
              <a:gd name="connsiteY2" fmla="*/ 0 h 296434"/>
              <a:gd name="connsiteX3" fmla="*/ 266455 w 326343"/>
              <a:gd name="connsiteY3" fmla="*/ 295288 h 296434"/>
              <a:gd name="connsiteX0" fmla="*/ 326343 w 326343"/>
              <a:gd name="connsiteY0" fmla="*/ 218071 h 296434"/>
              <a:gd name="connsiteX1" fmla="*/ 0 w 326343"/>
              <a:gd name="connsiteY1" fmla="*/ 63512 h 2964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26343" h="296434" stroke="0" extrusionOk="0">
                <a:moveTo>
                  <a:pt x="266455" y="295288"/>
                </a:moveTo>
                <a:cubicBezTo>
                  <a:pt x="141049" y="308311"/>
                  <a:pt x="26973" y="209082"/>
                  <a:pt x="0" y="63512"/>
                </a:cubicBezTo>
                <a:lnTo>
                  <a:pt x="244575" y="0"/>
                </a:lnTo>
                <a:lnTo>
                  <a:pt x="266455" y="295288"/>
                </a:lnTo>
                <a:close/>
              </a:path>
              <a:path w="326343" h="296434" fill="none">
                <a:moveTo>
                  <a:pt x="326343" y="218071"/>
                </a:moveTo>
                <a:cubicBezTo>
                  <a:pt x="200937" y="231094"/>
                  <a:pt x="26973" y="209082"/>
                  <a:pt x="0" y="63512"/>
                </a:cubicBezTo>
              </a:path>
            </a:pathLst>
          </a:custGeom>
          <a:noFill/>
          <a:ln w="12700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7BD14F3C-DACA-4B47-9DFC-F8B77B6708D2}"/>
              </a:ext>
            </a:extLst>
          </p:cNvPr>
          <p:cNvSpPr txBox="1">
            <a:spLocks/>
          </p:cNvSpPr>
          <p:nvPr/>
        </p:nvSpPr>
        <p:spPr>
          <a:xfrm>
            <a:off x="469900" y="311150"/>
            <a:ext cx="10317269" cy="930910"/>
          </a:xfrm>
          <a:prstGeom prst="rect">
            <a:avLst/>
          </a:prstGeom>
        </p:spPr>
        <p:txBody>
          <a:bodyPr vert="horz" lIns="90000" tIns="46800" rIns="90000" bIns="4680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400" b="0" i="0" kern="1200">
                <a:solidFill>
                  <a:schemeClr val="tx2"/>
                </a:solidFill>
                <a:latin typeface="Aptos" panose="020B000402020202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j-ea"/>
                <a:cs typeface="+mj-cs"/>
              </a:rPr>
              <a:t>Case 1: Diagnosis and past medical history </a:t>
            </a:r>
            <a:endParaRPr kumimoji="0" lang="en-GB" sz="3400" b="0" i="0" u="none" strike="noStrike" kern="1200" cap="none" spc="0" normalizeH="0" baseline="3000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j-ea"/>
              <a:cs typeface="+mj-cs"/>
            </a:endParaRP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6A5C2A47-4F60-9553-4B54-68A07E4FFB3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70645" y="6291951"/>
            <a:ext cx="10440000" cy="428000"/>
          </a:xfrm>
        </p:spPr>
        <p:txBody>
          <a:bodyPr/>
          <a:lstStyle/>
          <a:p>
            <a:r>
              <a:rPr lang="en-GB"/>
              <a:t>GC, germinal centre</a:t>
            </a:r>
            <a:r>
              <a:rPr lang="en-CH"/>
              <a:t>; IPI, International Prognostic Index; LDH, lactate dehydrogenase</a:t>
            </a:r>
            <a:r>
              <a:rPr lang="en-GB"/>
              <a:t>.</a:t>
            </a:r>
          </a:p>
          <a:p>
            <a:r>
              <a:rPr lang="en-GB"/>
              <a:t>Patient case provided by Prof. Enrico </a:t>
            </a:r>
            <a:r>
              <a:rPr lang="en-GB" err="1"/>
              <a:t>Derenzini</a:t>
            </a:r>
            <a:r>
              <a:rPr lang="en-GB"/>
              <a:t>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539D8FA-A5CF-1A69-E41B-F1BCF7E927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01CC8E-1CEF-6746-999E-CF29FF00B1D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82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2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" name="TextBox 11">
            <a:extLst>
              <a:ext uri="{FF2B5EF4-FFF2-40B4-BE49-F238E27FC236}">
                <a16:creationId xmlns:a16="http://schemas.microsoft.com/office/drawing/2014/main" id="{ED5488CD-64C7-A783-EC96-F89813CAFC72}"/>
              </a:ext>
            </a:extLst>
          </p:cNvPr>
          <p:cNvSpPr txBox="1"/>
          <p:nvPr/>
        </p:nvSpPr>
        <p:spPr>
          <a:xfrm>
            <a:off x="4168076" y="3703520"/>
            <a:ext cx="6185241" cy="2033181"/>
          </a:xfrm>
          <a:prstGeom prst="rect">
            <a:avLst/>
          </a:prstGeom>
          <a:noFill/>
        </p:spPr>
        <p:txBody>
          <a:bodyPr wrap="square" lIns="0" rIns="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8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elevant medical history</a:t>
            </a: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EB92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rterial </a:t>
            </a:r>
            <a:r>
              <a:rPr kumimoji="0" lang="en-CH" sz="16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h</a:t>
            </a:r>
            <a:r>
              <a: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ypertension</a:t>
            </a: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EB92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ype 2 diabetes</a:t>
            </a:r>
          </a:p>
        </p:txBody>
      </p:sp>
    </p:spTree>
    <p:extLst>
      <p:ext uri="{BB962C8B-B14F-4D97-AF65-F5344CB8AC3E}">
        <p14:creationId xmlns:p14="http://schemas.microsoft.com/office/powerpoint/2010/main" val="3465193592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4658FA9-99CF-C6E4-720B-725401132E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E48775D1-4BF0-924E-570F-85077941D93E}"/>
              </a:ext>
            </a:extLst>
          </p:cNvPr>
          <p:cNvCxnSpPr>
            <a:cxnSpLocks/>
          </p:cNvCxnSpPr>
          <p:nvPr/>
        </p:nvCxnSpPr>
        <p:spPr>
          <a:xfrm>
            <a:off x="577415" y="1407009"/>
            <a:ext cx="12511820" cy="0"/>
          </a:xfrm>
          <a:prstGeom prst="line">
            <a:avLst/>
          </a:prstGeom>
          <a:ln w="2857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 Placeholder 3">
            <a:extLst>
              <a:ext uri="{FF2B5EF4-FFF2-40B4-BE49-F238E27FC236}">
                <a16:creationId xmlns:a16="http://schemas.microsoft.com/office/drawing/2014/main" id="{8A5785D1-DB36-E9D6-C139-5D4DBEAC473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70645" y="6155456"/>
            <a:ext cx="10440000" cy="564495"/>
          </a:xfrm>
        </p:spPr>
        <p:txBody>
          <a:bodyPr/>
          <a:lstStyle/>
          <a:p>
            <a:r>
              <a:rPr lang="en-GB"/>
              <a:t>1L, first line; CHOP, cyclophosphamide, doxorubicin, vincristine and prednisone; DLBCL, diffuse large B-cell lymphoma; H-score, histoscore; len, lenalidomide; PD, progressive disease; R, rituximab; tafa, tafasitamab; R/R, relapsed or refractory; Tx, treatment.</a:t>
            </a:r>
          </a:p>
          <a:p>
            <a:r>
              <a:rPr lang="en-GB"/>
              <a:t>Patient case provided by Prof. Enrico </a:t>
            </a:r>
            <a:r>
              <a:rPr lang="en-GB" err="1"/>
              <a:t>Derenzini</a:t>
            </a:r>
            <a:r>
              <a:rPr lang="en-GB"/>
              <a:t>.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6DF2279-DB2F-1B05-882A-96961F3F0C1A}"/>
              </a:ext>
            </a:extLst>
          </p:cNvPr>
          <p:cNvSpPr txBox="1"/>
          <p:nvPr/>
        </p:nvSpPr>
        <p:spPr>
          <a:xfrm>
            <a:off x="1481099" y="875821"/>
            <a:ext cx="455050" cy="3927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CB813"/>
              </a:buClr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February 2023</a:t>
            </a: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4859427F-0444-5E21-B9F6-E324C7910CF4}"/>
              </a:ext>
            </a:extLst>
          </p:cNvPr>
          <p:cNvSpPr/>
          <p:nvPr/>
        </p:nvSpPr>
        <p:spPr>
          <a:xfrm>
            <a:off x="1628725" y="1329274"/>
            <a:ext cx="159799" cy="159799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1" i="0" u="none" strike="noStrike" kern="1200" cap="none" spc="0" normalizeH="0" baseline="0" noProof="0">
              <a:ln>
                <a:noFill/>
              </a:ln>
              <a:solidFill>
                <a:srgbClr val="585854">
                  <a:lumMod val="20000"/>
                  <a:lumOff val="80000"/>
                </a:srgbClr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18148641-FBDF-E124-F211-FFFD747E1D30}"/>
              </a:ext>
            </a:extLst>
          </p:cNvPr>
          <p:cNvCxnSpPr>
            <a:cxnSpLocks/>
            <a:stCxn id="44" idx="4"/>
          </p:cNvCxnSpPr>
          <p:nvPr/>
        </p:nvCxnSpPr>
        <p:spPr>
          <a:xfrm>
            <a:off x="1708625" y="1489073"/>
            <a:ext cx="0" cy="182159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9" name="TextBox 48">
            <a:extLst>
              <a:ext uri="{FF2B5EF4-FFF2-40B4-BE49-F238E27FC236}">
                <a16:creationId xmlns:a16="http://schemas.microsoft.com/office/drawing/2014/main" id="{FAB7E538-E02A-874E-852C-FCA80D0EEB0C}"/>
              </a:ext>
            </a:extLst>
          </p:cNvPr>
          <p:cNvSpPr txBox="1"/>
          <p:nvPr/>
        </p:nvSpPr>
        <p:spPr>
          <a:xfrm>
            <a:off x="758224" y="1671232"/>
            <a:ext cx="4563166" cy="830997"/>
          </a:xfrm>
          <a:prstGeom prst="rect">
            <a:avLst/>
          </a:prstGeom>
          <a:noFill/>
        </p:spPr>
        <p:txBody>
          <a:bodyPr wrap="square" lIns="45720" tIns="45720" rIns="4572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1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L treatment: </a:t>
            </a: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-CHOP +/- tafa-len or placebo </a:t>
            </a: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(</a:t>
            </a:r>
            <a:r>
              <a: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frontMIND</a:t>
            </a: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, NCT04824092)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1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Outcome: </a:t>
            </a: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F15922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D after 2 cycles</a:t>
            </a:r>
            <a:endParaRPr kumimoji="0" lang="en-GB" sz="1600" b="1" i="0" u="none" strike="noStrike" kern="1200" cap="none" spc="0" normalizeH="0" baseline="0" noProof="0">
              <a:ln>
                <a:noFill/>
              </a:ln>
              <a:solidFill>
                <a:srgbClr val="F15922"/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53" name="Immagine 22">
            <a:extLst>
              <a:ext uri="{FF2B5EF4-FFF2-40B4-BE49-F238E27FC236}">
                <a16:creationId xmlns:a16="http://schemas.microsoft.com/office/drawing/2014/main" id="{D54D7BB9-9BF6-63C9-61F8-2C63216B9B9E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8342" y="3714033"/>
            <a:ext cx="2964243" cy="2324898"/>
          </a:xfrm>
          <a:prstGeom prst="rect">
            <a:avLst/>
          </a:prstGeom>
        </p:spPr>
      </p:pic>
      <p:sp>
        <p:nvSpPr>
          <p:cNvPr id="54" name="CasellaDiTesto 25">
            <a:extLst>
              <a:ext uri="{FF2B5EF4-FFF2-40B4-BE49-F238E27FC236}">
                <a16:creationId xmlns:a16="http://schemas.microsoft.com/office/drawing/2014/main" id="{91A40299-6235-D76D-00D9-F7756F347491}"/>
              </a:ext>
            </a:extLst>
          </p:cNvPr>
          <p:cNvSpPr txBox="1"/>
          <p:nvPr/>
        </p:nvSpPr>
        <p:spPr>
          <a:xfrm>
            <a:off x="2565367" y="5740141"/>
            <a:ext cx="1129605" cy="30777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H-score 300</a:t>
            </a:r>
          </a:p>
        </p:txBody>
      </p:sp>
      <p:sp>
        <p:nvSpPr>
          <p:cNvPr id="55" name="CasellaDiTesto 32">
            <a:extLst>
              <a:ext uri="{FF2B5EF4-FFF2-40B4-BE49-F238E27FC236}">
                <a16:creationId xmlns:a16="http://schemas.microsoft.com/office/drawing/2014/main" id="{338129AE-3DE7-EC6C-9FDD-87AD5946DF7A}"/>
              </a:ext>
            </a:extLst>
          </p:cNvPr>
          <p:cNvSpPr txBox="1"/>
          <p:nvPr/>
        </p:nvSpPr>
        <p:spPr>
          <a:xfrm>
            <a:off x="625956" y="3174762"/>
            <a:ext cx="301663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iagnostic biopsy</a:t>
            </a: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b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(pre 1L-Tx)</a:t>
            </a:r>
          </a:p>
        </p:txBody>
      </p:sp>
      <p:sp>
        <p:nvSpPr>
          <p:cNvPr id="56" name="CasellaDiTesto 33">
            <a:extLst>
              <a:ext uri="{FF2B5EF4-FFF2-40B4-BE49-F238E27FC236}">
                <a16:creationId xmlns:a16="http://schemas.microsoft.com/office/drawing/2014/main" id="{0E6415A8-A8EF-E02A-DDAD-4E49DBB1462E}"/>
              </a:ext>
            </a:extLst>
          </p:cNvPr>
          <p:cNvSpPr txBox="1"/>
          <p:nvPr/>
        </p:nvSpPr>
        <p:spPr>
          <a:xfrm>
            <a:off x="678342" y="3707588"/>
            <a:ext cx="625492" cy="30777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D19</a:t>
            </a:r>
          </a:p>
        </p:txBody>
      </p:sp>
      <p:pic>
        <p:nvPicPr>
          <p:cNvPr id="57" name="Immagine 23">
            <a:extLst>
              <a:ext uri="{FF2B5EF4-FFF2-40B4-BE49-F238E27FC236}">
                <a16:creationId xmlns:a16="http://schemas.microsoft.com/office/drawing/2014/main" id="{2C2CE674-4329-15BA-9936-AE2B69A0985A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26942" y="3700168"/>
            <a:ext cx="2950103" cy="2313807"/>
          </a:xfrm>
          <a:prstGeom prst="rect">
            <a:avLst/>
          </a:prstGeom>
        </p:spPr>
      </p:pic>
      <p:sp>
        <p:nvSpPr>
          <p:cNvPr id="58" name="CasellaDiTesto 26">
            <a:extLst>
              <a:ext uri="{FF2B5EF4-FFF2-40B4-BE49-F238E27FC236}">
                <a16:creationId xmlns:a16="http://schemas.microsoft.com/office/drawing/2014/main" id="{F7A4E96D-C058-5CF8-B758-8380054EC981}"/>
              </a:ext>
            </a:extLst>
          </p:cNvPr>
          <p:cNvSpPr txBox="1"/>
          <p:nvPr/>
        </p:nvSpPr>
        <p:spPr>
          <a:xfrm>
            <a:off x="6002579" y="5716611"/>
            <a:ext cx="1129605" cy="30777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H-score 100</a:t>
            </a:r>
          </a:p>
        </p:txBody>
      </p:sp>
      <p:sp>
        <p:nvSpPr>
          <p:cNvPr id="59" name="CasellaDiTesto 34">
            <a:extLst>
              <a:ext uri="{FF2B5EF4-FFF2-40B4-BE49-F238E27FC236}">
                <a16:creationId xmlns:a16="http://schemas.microsoft.com/office/drawing/2014/main" id="{E7751B9F-6E5B-DCAF-EF05-5AC836678A47}"/>
              </a:ext>
            </a:extLst>
          </p:cNvPr>
          <p:cNvSpPr txBox="1"/>
          <p:nvPr/>
        </p:nvSpPr>
        <p:spPr>
          <a:xfrm>
            <a:off x="4105577" y="3700168"/>
            <a:ext cx="625492" cy="30777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D19</a:t>
            </a:r>
          </a:p>
        </p:txBody>
      </p:sp>
      <p:sp>
        <p:nvSpPr>
          <p:cNvPr id="60" name="CasellaDiTesto 32">
            <a:extLst>
              <a:ext uri="{FF2B5EF4-FFF2-40B4-BE49-F238E27FC236}">
                <a16:creationId xmlns:a16="http://schemas.microsoft.com/office/drawing/2014/main" id="{6702796F-F347-6E20-C3F3-1D07A2537222}"/>
              </a:ext>
            </a:extLst>
          </p:cNvPr>
          <p:cNvSpPr txBox="1"/>
          <p:nvPr/>
        </p:nvSpPr>
        <p:spPr>
          <a:xfrm>
            <a:off x="4122582" y="3174762"/>
            <a:ext cx="301663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</a:t>
            </a:r>
            <a:r>
              <a:rPr kumimoji="0" lang="en-GB" sz="1400" b="1" i="0" u="none" strike="noStrike" kern="1200" cap="none" spc="0" normalizeH="0" baseline="3000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t</a:t>
            </a: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biopsy post </a:t>
            </a:r>
            <a:r>
              <a:rPr kumimoji="0" lang="en-GB" sz="1400" b="1" i="0" u="none" strike="noStrike" kern="1200" cap="none" spc="0" normalizeH="0" baseline="0" noProof="0" err="1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x</a:t>
            </a:r>
            <a:endParaRPr kumimoji="0" lang="en-GB" sz="1400" b="1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(+ 7 days from last infusion)</a:t>
            </a:r>
          </a:p>
        </p:txBody>
      </p:sp>
      <p:sp>
        <p:nvSpPr>
          <p:cNvPr id="61" name="Freccia in giù 40">
            <a:extLst>
              <a:ext uri="{FF2B5EF4-FFF2-40B4-BE49-F238E27FC236}">
                <a16:creationId xmlns:a16="http://schemas.microsoft.com/office/drawing/2014/main" id="{9EB866A9-E839-63B7-82A1-1D4E6138AE63}"/>
              </a:ext>
            </a:extLst>
          </p:cNvPr>
          <p:cNvSpPr/>
          <p:nvPr/>
        </p:nvSpPr>
        <p:spPr>
          <a:xfrm rot="16200000">
            <a:off x="3752153" y="4733466"/>
            <a:ext cx="291295" cy="392889"/>
          </a:xfrm>
          <a:prstGeom prst="downArrow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2693E33D-0962-424B-472D-212C981C4586}"/>
              </a:ext>
            </a:extLst>
          </p:cNvPr>
          <p:cNvSpPr txBox="1"/>
          <p:nvPr/>
        </p:nvSpPr>
        <p:spPr>
          <a:xfrm>
            <a:off x="4122582" y="2640545"/>
            <a:ext cx="2954463" cy="523220"/>
          </a:xfrm>
          <a:prstGeom prst="rect">
            <a:avLst/>
          </a:prstGeom>
          <a:solidFill>
            <a:schemeClr val="accent1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D19 masking </a:t>
            </a:r>
            <a:b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fter targeting CD19 in 1L</a:t>
            </a:r>
          </a:p>
        </p:txBody>
      </p:sp>
      <p:sp>
        <p:nvSpPr>
          <p:cNvPr id="76" name="Slide Number Placeholder 75">
            <a:extLst>
              <a:ext uri="{FF2B5EF4-FFF2-40B4-BE49-F238E27FC236}">
                <a16:creationId xmlns:a16="http://schemas.microsoft.com/office/drawing/2014/main" id="{AF77E015-A011-FFF0-0C1B-4B76549371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01CC8E-1CEF-6746-999E-CF29FF00B1D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82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3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" name="Title 15">
            <a:extLst>
              <a:ext uri="{FF2B5EF4-FFF2-40B4-BE49-F238E27FC236}">
                <a16:creationId xmlns:a16="http://schemas.microsoft.com/office/drawing/2014/main" id="{60EEFA01-3C86-16D8-E130-6EACF45BF5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0" y="311150"/>
            <a:ext cx="10317269" cy="571352"/>
          </a:xfrm>
        </p:spPr>
        <p:txBody>
          <a:bodyPr/>
          <a:lstStyle/>
          <a:p>
            <a:pPr lvl="0">
              <a:lnSpc>
                <a:spcPct val="100000"/>
              </a:lnSpc>
              <a:spcBef>
                <a:spcPts val="0"/>
              </a:spcBef>
              <a:defRPr/>
            </a:pPr>
            <a:r>
              <a:rPr lang="en-GB"/>
              <a:t>Antigen expression in R/R DLBCL</a:t>
            </a:r>
            <a:endParaRPr kumimoji="0" lang="en-GB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33162330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95379A7-4A5A-7B4D-6715-CBA5766AE0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B4D06A2E-3DCB-5943-8F55-C8D1CB54C4A4}"/>
              </a:ext>
            </a:extLst>
          </p:cNvPr>
          <p:cNvCxnSpPr>
            <a:cxnSpLocks/>
          </p:cNvCxnSpPr>
          <p:nvPr/>
        </p:nvCxnSpPr>
        <p:spPr>
          <a:xfrm>
            <a:off x="577415" y="1407009"/>
            <a:ext cx="12511820" cy="0"/>
          </a:xfrm>
          <a:prstGeom prst="line">
            <a:avLst/>
          </a:prstGeom>
          <a:ln w="2857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5">
            <a:extLst>
              <a:ext uri="{FF2B5EF4-FFF2-40B4-BE49-F238E27FC236}">
                <a16:creationId xmlns:a16="http://schemas.microsoft.com/office/drawing/2014/main" id="{65551D1F-C96D-7612-8128-89F0EA30C3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0" y="311150"/>
            <a:ext cx="10317269" cy="571352"/>
          </a:xfrm>
        </p:spPr>
        <p:txBody>
          <a:bodyPr/>
          <a:lstStyle/>
          <a:p>
            <a:pPr lvl="0">
              <a:lnSpc>
                <a:spcPct val="100000"/>
              </a:lnSpc>
              <a:spcBef>
                <a:spcPts val="0"/>
              </a:spcBef>
              <a:defRPr/>
            </a:pPr>
            <a:r>
              <a:rPr lang="en-GB"/>
              <a:t>Antigen expression in R/R DLBCL</a:t>
            </a:r>
            <a:endParaRPr kumimoji="0" lang="en-GB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9" name="Slide Number Placeholder 28">
            <a:extLst>
              <a:ext uri="{FF2B5EF4-FFF2-40B4-BE49-F238E27FC236}">
                <a16:creationId xmlns:a16="http://schemas.microsoft.com/office/drawing/2014/main" id="{14342833-C0AB-BE36-EBA0-AA5E63D48A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01CC8E-1CEF-6746-999E-CF29FF00B1D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82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4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1" name="Text Placeholder 3">
            <a:extLst>
              <a:ext uri="{FF2B5EF4-FFF2-40B4-BE49-F238E27FC236}">
                <a16:creationId xmlns:a16="http://schemas.microsoft.com/office/drawing/2014/main" id="{EBA62715-D3FD-D2A1-53AD-A7BC52DCA35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70645" y="6155457"/>
            <a:ext cx="10440000" cy="564494"/>
          </a:xfrm>
        </p:spPr>
        <p:txBody>
          <a:bodyPr/>
          <a:lstStyle/>
          <a:p>
            <a:r>
              <a:rPr lang="en-GB"/>
              <a:t>1L, first line; 2L, second line; CHOP, cyclophosphamide, doxorubicin, vincristine and prednisone; </a:t>
            </a:r>
            <a:r>
              <a:rPr lang="en-GB" err="1"/>
              <a:t>DHAOx</a:t>
            </a:r>
            <a:r>
              <a:rPr lang="en-GB"/>
              <a:t>, dexamethasone, high-dose cytarabine, oxaliplatin; DLBCL, diffuse large B-cell lymphoma; H-score, histoscore; len, lenalidomide; PD, progressive disease; R, rituximab; R/R, relapsed or refractory; tafa, tafasitamab; Tx, treatment.</a:t>
            </a:r>
          </a:p>
          <a:p>
            <a:r>
              <a:rPr lang="en-GB"/>
              <a:t>Patient case provided by Prof. Enrico </a:t>
            </a:r>
            <a:r>
              <a:rPr lang="en-GB" err="1"/>
              <a:t>Derenzini</a:t>
            </a:r>
            <a:r>
              <a:rPr lang="en-GB"/>
              <a:t>.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0DE67BDC-E21B-B500-9261-01B3D6FBA462}"/>
              </a:ext>
            </a:extLst>
          </p:cNvPr>
          <p:cNvSpPr txBox="1"/>
          <p:nvPr/>
        </p:nvSpPr>
        <p:spPr>
          <a:xfrm>
            <a:off x="1481099" y="875821"/>
            <a:ext cx="455050" cy="3927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CB813"/>
              </a:buClr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February 2023</a:t>
            </a: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438FE552-B95E-A225-A04B-E7683FC1D4E6}"/>
              </a:ext>
            </a:extLst>
          </p:cNvPr>
          <p:cNvSpPr/>
          <p:nvPr/>
        </p:nvSpPr>
        <p:spPr>
          <a:xfrm>
            <a:off x="1628725" y="1329274"/>
            <a:ext cx="159799" cy="159799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1" i="0" u="none" strike="noStrike" kern="1200" cap="none" spc="0" normalizeH="0" baseline="0" noProof="0">
              <a:ln>
                <a:noFill/>
              </a:ln>
              <a:solidFill>
                <a:srgbClr val="585854">
                  <a:lumMod val="20000"/>
                  <a:lumOff val="80000"/>
                </a:srgbClr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CAFA00E4-638A-A4F5-E374-BD0654F1140D}"/>
              </a:ext>
            </a:extLst>
          </p:cNvPr>
          <p:cNvSpPr txBox="1"/>
          <p:nvPr/>
        </p:nvSpPr>
        <p:spPr>
          <a:xfrm>
            <a:off x="5563740" y="875821"/>
            <a:ext cx="455050" cy="3927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CB813"/>
              </a:buClr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March 2023</a:t>
            </a: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6346E311-6C25-AA05-E270-483795068206}"/>
              </a:ext>
            </a:extLst>
          </p:cNvPr>
          <p:cNvSpPr/>
          <p:nvPr/>
        </p:nvSpPr>
        <p:spPr>
          <a:xfrm>
            <a:off x="5711366" y="1329274"/>
            <a:ext cx="159799" cy="159799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1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5DAB6B8B-E273-DC8D-DD92-6AABC6ED5B30}"/>
              </a:ext>
            </a:extLst>
          </p:cNvPr>
          <p:cNvCxnSpPr>
            <a:cxnSpLocks/>
            <a:stCxn id="44" idx="4"/>
          </p:cNvCxnSpPr>
          <p:nvPr/>
        </p:nvCxnSpPr>
        <p:spPr>
          <a:xfrm>
            <a:off x="1708625" y="1489073"/>
            <a:ext cx="0" cy="182159"/>
          </a:xfrm>
          <a:prstGeom prst="line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7E6FAB5D-2281-82A3-57C5-E7D794D15B21}"/>
              </a:ext>
            </a:extLst>
          </p:cNvPr>
          <p:cNvCxnSpPr>
            <a:cxnSpLocks/>
            <a:stCxn id="46" idx="4"/>
          </p:cNvCxnSpPr>
          <p:nvPr/>
        </p:nvCxnSpPr>
        <p:spPr>
          <a:xfrm>
            <a:off x="5791266" y="1489073"/>
            <a:ext cx="0" cy="25035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9" name="TextBox 48">
            <a:extLst>
              <a:ext uri="{FF2B5EF4-FFF2-40B4-BE49-F238E27FC236}">
                <a16:creationId xmlns:a16="http://schemas.microsoft.com/office/drawing/2014/main" id="{CCFF87E9-39B4-BEF9-DC52-FDEE359F7EAC}"/>
              </a:ext>
            </a:extLst>
          </p:cNvPr>
          <p:cNvSpPr txBox="1"/>
          <p:nvPr/>
        </p:nvSpPr>
        <p:spPr>
          <a:xfrm>
            <a:off x="758224" y="1671232"/>
            <a:ext cx="4515042" cy="830997"/>
          </a:xfrm>
          <a:prstGeom prst="rect">
            <a:avLst/>
          </a:prstGeom>
          <a:noFill/>
        </p:spPr>
        <p:txBody>
          <a:bodyPr wrap="square" lIns="45720" tIns="45720" rIns="4572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1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L treatment: </a:t>
            </a: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-CHOP +/- tafa-len or placebo </a:t>
            </a: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(</a:t>
            </a:r>
            <a:r>
              <a: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frontMIND</a:t>
            </a: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, NCT04824092)</a:t>
            </a: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highlight>
                  <a:srgbClr val="FF00FF"/>
                </a:highlight>
                <a:uLnTx/>
                <a:uFillTx/>
                <a:latin typeface="Aptos" panose="02110004020202020204"/>
                <a:ea typeface="+mn-ea"/>
                <a:cs typeface="+mn-cs"/>
              </a:rPr>
              <a:t>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1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Outcome: </a:t>
            </a: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D after 2 cycles</a:t>
            </a:r>
            <a:endParaRPr kumimoji="0" lang="en-GB" sz="1600" b="1" i="0" u="none" strike="noStrike" kern="1200" cap="none" spc="0" normalizeH="0" baseline="0" noProof="0">
              <a:ln>
                <a:noFill/>
              </a:ln>
              <a:solidFill>
                <a:srgbClr val="585854">
                  <a:lumMod val="20000"/>
                  <a:lumOff val="80000"/>
                </a:srgbClr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F6E0007C-580D-745F-0753-D958C1020CBA}"/>
              </a:ext>
            </a:extLst>
          </p:cNvPr>
          <p:cNvSpPr txBox="1"/>
          <p:nvPr/>
        </p:nvSpPr>
        <p:spPr>
          <a:xfrm>
            <a:off x="5560721" y="1731390"/>
            <a:ext cx="2447196" cy="584775"/>
          </a:xfrm>
          <a:prstGeom prst="rect">
            <a:avLst/>
          </a:prstGeom>
          <a:noFill/>
        </p:spPr>
        <p:txBody>
          <a:bodyPr wrap="square" lIns="45720" tIns="45720" rIns="4572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1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L treatment: </a:t>
            </a: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-</a:t>
            </a:r>
            <a:r>
              <a:rPr kumimoji="0" lang="en-GB" sz="1600" b="1" i="0" u="none" strike="noStrike" kern="1200" cap="none" spc="0" normalizeH="0" baseline="0" noProof="0" err="1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HAOx</a:t>
            </a: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×2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1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Outcome: </a:t>
            </a: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F15922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D</a:t>
            </a:r>
          </a:p>
        </p:txBody>
      </p:sp>
      <p:pic>
        <p:nvPicPr>
          <p:cNvPr id="18" name="Immagine 22">
            <a:extLst>
              <a:ext uri="{FF2B5EF4-FFF2-40B4-BE49-F238E27FC236}">
                <a16:creationId xmlns:a16="http://schemas.microsoft.com/office/drawing/2014/main" id="{9429C091-E3EA-1DFF-231F-A9FE44B2D91E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8342" y="3714033"/>
            <a:ext cx="2964243" cy="2324898"/>
          </a:xfrm>
          <a:prstGeom prst="rect">
            <a:avLst/>
          </a:prstGeom>
        </p:spPr>
      </p:pic>
      <p:sp>
        <p:nvSpPr>
          <p:cNvPr id="19" name="CasellaDiTesto 25">
            <a:extLst>
              <a:ext uri="{FF2B5EF4-FFF2-40B4-BE49-F238E27FC236}">
                <a16:creationId xmlns:a16="http://schemas.microsoft.com/office/drawing/2014/main" id="{E0A0E408-BADF-A483-C637-BD6C708E720D}"/>
              </a:ext>
            </a:extLst>
          </p:cNvPr>
          <p:cNvSpPr txBox="1"/>
          <p:nvPr/>
        </p:nvSpPr>
        <p:spPr>
          <a:xfrm>
            <a:off x="2565367" y="5740141"/>
            <a:ext cx="1129605" cy="30777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H-score 300</a:t>
            </a:r>
          </a:p>
        </p:txBody>
      </p:sp>
      <p:sp>
        <p:nvSpPr>
          <p:cNvPr id="20" name="CasellaDiTesto 32">
            <a:extLst>
              <a:ext uri="{FF2B5EF4-FFF2-40B4-BE49-F238E27FC236}">
                <a16:creationId xmlns:a16="http://schemas.microsoft.com/office/drawing/2014/main" id="{19938570-A112-3C26-5A54-94C3B00205AE}"/>
              </a:ext>
            </a:extLst>
          </p:cNvPr>
          <p:cNvSpPr txBox="1"/>
          <p:nvPr/>
        </p:nvSpPr>
        <p:spPr>
          <a:xfrm>
            <a:off x="625956" y="3174762"/>
            <a:ext cx="301663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iagnostic biopsy</a:t>
            </a: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b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(pre 1L-Tx)</a:t>
            </a:r>
          </a:p>
        </p:txBody>
      </p:sp>
      <p:sp>
        <p:nvSpPr>
          <p:cNvPr id="21" name="CasellaDiTesto 33">
            <a:extLst>
              <a:ext uri="{FF2B5EF4-FFF2-40B4-BE49-F238E27FC236}">
                <a16:creationId xmlns:a16="http://schemas.microsoft.com/office/drawing/2014/main" id="{F592AC96-CAA7-651F-A3ED-76B1DC2CB1B1}"/>
              </a:ext>
            </a:extLst>
          </p:cNvPr>
          <p:cNvSpPr txBox="1"/>
          <p:nvPr/>
        </p:nvSpPr>
        <p:spPr>
          <a:xfrm>
            <a:off x="678342" y="3707588"/>
            <a:ext cx="625492" cy="30777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D19</a:t>
            </a:r>
          </a:p>
        </p:txBody>
      </p:sp>
      <p:pic>
        <p:nvPicPr>
          <p:cNvPr id="22" name="Immagine 23">
            <a:extLst>
              <a:ext uri="{FF2B5EF4-FFF2-40B4-BE49-F238E27FC236}">
                <a16:creationId xmlns:a16="http://schemas.microsoft.com/office/drawing/2014/main" id="{0A629E9D-636F-8FFD-0A43-E2104DA1524C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26942" y="3700168"/>
            <a:ext cx="2950103" cy="2313807"/>
          </a:xfrm>
          <a:prstGeom prst="rect">
            <a:avLst/>
          </a:prstGeom>
        </p:spPr>
      </p:pic>
      <p:sp>
        <p:nvSpPr>
          <p:cNvPr id="23" name="CasellaDiTesto 26">
            <a:extLst>
              <a:ext uri="{FF2B5EF4-FFF2-40B4-BE49-F238E27FC236}">
                <a16:creationId xmlns:a16="http://schemas.microsoft.com/office/drawing/2014/main" id="{1C60FE18-7A42-61DC-F505-5A89DF96FB7B}"/>
              </a:ext>
            </a:extLst>
          </p:cNvPr>
          <p:cNvSpPr txBox="1"/>
          <p:nvPr/>
        </p:nvSpPr>
        <p:spPr>
          <a:xfrm>
            <a:off x="6002579" y="5716611"/>
            <a:ext cx="1129605" cy="30777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H-score 100</a:t>
            </a:r>
          </a:p>
        </p:txBody>
      </p:sp>
      <p:sp>
        <p:nvSpPr>
          <p:cNvPr id="24" name="CasellaDiTesto 34">
            <a:extLst>
              <a:ext uri="{FF2B5EF4-FFF2-40B4-BE49-F238E27FC236}">
                <a16:creationId xmlns:a16="http://schemas.microsoft.com/office/drawing/2014/main" id="{6F232175-A2D6-0EFD-99EF-1A04964772DC}"/>
              </a:ext>
            </a:extLst>
          </p:cNvPr>
          <p:cNvSpPr txBox="1"/>
          <p:nvPr/>
        </p:nvSpPr>
        <p:spPr>
          <a:xfrm>
            <a:off x="4105577" y="3700168"/>
            <a:ext cx="625492" cy="30777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D19</a:t>
            </a:r>
          </a:p>
        </p:txBody>
      </p:sp>
      <p:sp>
        <p:nvSpPr>
          <p:cNvPr id="25" name="CasellaDiTesto 32">
            <a:extLst>
              <a:ext uri="{FF2B5EF4-FFF2-40B4-BE49-F238E27FC236}">
                <a16:creationId xmlns:a16="http://schemas.microsoft.com/office/drawing/2014/main" id="{3543C955-C51E-5932-578D-5BD3E54BD413}"/>
              </a:ext>
            </a:extLst>
          </p:cNvPr>
          <p:cNvSpPr txBox="1"/>
          <p:nvPr/>
        </p:nvSpPr>
        <p:spPr>
          <a:xfrm>
            <a:off x="4122582" y="3174762"/>
            <a:ext cx="301663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</a:t>
            </a:r>
            <a:r>
              <a:rPr kumimoji="0" lang="en-GB" sz="1400" b="1" i="0" u="none" strike="noStrike" kern="1200" cap="none" spc="0" normalizeH="0" baseline="3000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t</a:t>
            </a: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biopsy post </a:t>
            </a:r>
            <a:r>
              <a:rPr kumimoji="0" lang="en-GB" sz="1400" b="1" i="0" u="none" strike="noStrike" kern="1200" cap="none" spc="0" normalizeH="0" baseline="0" noProof="0" err="1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x</a:t>
            </a:r>
            <a:endParaRPr kumimoji="0" lang="en-GB" sz="1400" b="1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(+ 7 days from last infusion)</a:t>
            </a:r>
          </a:p>
        </p:txBody>
      </p:sp>
      <p:sp>
        <p:nvSpPr>
          <p:cNvPr id="26" name="Freccia in giù 40">
            <a:extLst>
              <a:ext uri="{FF2B5EF4-FFF2-40B4-BE49-F238E27FC236}">
                <a16:creationId xmlns:a16="http://schemas.microsoft.com/office/drawing/2014/main" id="{44E4AB7A-3F40-93A1-0BF5-0E13FCD5EC74}"/>
              </a:ext>
            </a:extLst>
          </p:cNvPr>
          <p:cNvSpPr/>
          <p:nvPr/>
        </p:nvSpPr>
        <p:spPr>
          <a:xfrm rot="16200000">
            <a:off x="3752153" y="4733466"/>
            <a:ext cx="291295" cy="392889"/>
          </a:xfrm>
          <a:prstGeom prst="downArrow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D288C920-4C2C-3DD4-F4F2-129BC516A537}"/>
              </a:ext>
            </a:extLst>
          </p:cNvPr>
          <p:cNvSpPr txBox="1"/>
          <p:nvPr/>
        </p:nvSpPr>
        <p:spPr>
          <a:xfrm>
            <a:off x="4122582" y="2640545"/>
            <a:ext cx="2954463" cy="523220"/>
          </a:xfrm>
          <a:prstGeom prst="rect">
            <a:avLst/>
          </a:prstGeom>
          <a:solidFill>
            <a:schemeClr val="accent1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D19 masking </a:t>
            </a:r>
            <a:b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fter targeting CD19 in 1L</a:t>
            </a:r>
          </a:p>
        </p:txBody>
      </p:sp>
    </p:spTree>
    <p:extLst>
      <p:ext uri="{BB962C8B-B14F-4D97-AF65-F5344CB8AC3E}">
        <p14:creationId xmlns:p14="http://schemas.microsoft.com/office/powerpoint/2010/main" val="1848565173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027369-4F1B-8E7B-9ABC-F0C63A4E40D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65E1007B-7E9C-C4B7-1488-B6EE274F0B11}"/>
              </a:ext>
            </a:extLst>
          </p:cNvPr>
          <p:cNvCxnSpPr>
            <a:cxnSpLocks/>
          </p:cNvCxnSpPr>
          <p:nvPr/>
        </p:nvCxnSpPr>
        <p:spPr>
          <a:xfrm>
            <a:off x="577415" y="1407009"/>
            <a:ext cx="12511820" cy="0"/>
          </a:xfrm>
          <a:prstGeom prst="line">
            <a:avLst/>
          </a:prstGeom>
          <a:ln w="2857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15">
            <a:extLst>
              <a:ext uri="{FF2B5EF4-FFF2-40B4-BE49-F238E27FC236}">
                <a16:creationId xmlns:a16="http://schemas.microsoft.com/office/drawing/2014/main" id="{2194A63A-78BC-71AB-027D-05499E466D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0" y="311150"/>
            <a:ext cx="10317269" cy="498932"/>
          </a:xfrm>
        </p:spPr>
        <p:txBody>
          <a:bodyPr/>
          <a:lstStyle/>
          <a:p>
            <a:pPr lvl="0">
              <a:lnSpc>
                <a:spcPct val="100000"/>
              </a:lnSpc>
              <a:spcBef>
                <a:spcPts val="0"/>
              </a:spcBef>
              <a:defRPr/>
            </a:pPr>
            <a:r>
              <a:rPr lang="en-GB"/>
              <a:t>Antigen expression in R/R DLBCL</a:t>
            </a:r>
            <a:endParaRPr kumimoji="0" lang="en-GB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3FDA130F-C610-4CDC-34C5-44A539EBF8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01CC8E-1CEF-6746-999E-CF29FF00B1D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82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5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1" name="Text Placeholder 3">
            <a:extLst>
              <a:ext uri="{FF2B5EF4-FFF2-40B4-BE49-F238E27FC236}">
                <a16:creationId xmlns:a16="http://schemas.microsoft.com/office/drawing/2014/main" id="{7DCF368C-3DC2-2F37-1368-94D1E546D49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70645" y="6135177"/>
            <a:ext cx="10440000" cy="584774"/>
          </a:xfrm>
        </p:spPr>
        <p:txBody>
          <a:bodyPr/>
          <a:lstStyle/>
          <a:p>
            <a:r>
              <a:rPr lang="en-GB"/>
              <a:t>1L, first line; 2L, second line; 3L, third line; CAR-T, chimeric antigen receptor T-cell therapy; CHOP, cyclophosphamide, doxorubicin, vincristine and prednisone; </a:t>
            </a:r>
            <a:r>
              <a:rPr lang="en-GB" err="1"/>
              <a:t>DHAOx</a:t>
            </a:r>
            <a:r>
              <a:rPr lang="en-GB"/>
              <a:t>, dexamethasone, high-dose cytarabine, oxaliplatin; DLBCL, diffuse large B-cell lymphoma; H-score, histoscore; len, lenalidomide; PD, progressive disease; PR, partial response; R, rituximab; R/R, relapsed or refractory; tafa, tafasitamab; Tx, treatment.</a:t>
            </a:r>
          </a:p>
          <a:p>
            <a:r>
              <a:rPr lang="en-GB"/>
              <a:t>Patient case provided by Prof. Enrico </a:t>
            </a:r>
            <a:r>
              <a:rPr lang="en-GB" err="1"/>
              <a:t>Derenzini</a:t>
            </a:r>
            <a:r>
              <a:rPr lang="en-GB"/>
              <a:t>.</a:t>
            </a:r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9B76DB8B-6831-C662-D486-8943A7C02582}"/>
              </a:ext>
            </a:extLst>
          </p:cNvPr>
          <p:cNvSpPr txBox="1">
            <a:spLocks/>
          </p:cNvSpPr>
          <p:nvPr/>
        </p:nvSpPr>
        <p:spPr>
          <a:xfrm>
            <a:off x="469900" y="311150"/>
            <a:ext cx="9790113" cy="930910"/>
          </a:xfrm>
          <a:prstGeom prst="rect">
            <a:avLst/>
          </a:prstGeom>
        </p:spPr>
        <p:txBody>
          <a:bodyPr vert="horz" lIns="90000" tIns="46800" rIns="90000" bIns="4680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400" b="0" i="0" kern="1200">
                <a:solidFill>
                  <a:schemeClr val="tx2"/>
                </a:solidFill>
                <a:latin typeface="Aptos" panose="020B000402020202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highlight>
                  <a:srgbClr val="FFFF00"/>
                </a:highlight>
                <a:uLnTx/>
                <a:uFillTx/>
                <a:latin typeface="Aptos" panose="02110004020202020204"/>
                <a:ea typeface="+mj-ea"/>
                <a:cs typeface="+mj-cs"/>
              </a:rPr>
              <a:t> </a:t>
            </a:r>
            <a:endParaRPr kumimoji="0" lang="en-GB" sz="36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FFFF00"/>
              </a:highlight>
              <a:uLnTx/>
              <a:uFillTx/>
              <a:latin typeface="Aptos" panose="02110004020202020204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400" b="0" i="0" u="none" strike="noStrike" kern="1200" cap="none" spc="0" normalizeH="0" baseline="3000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j-ea"/>
              <a:cs typeface="+mj-cs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7AB4FC10-26EF-0759-7B24-CDFCC3FD2195}"/>
              </a:ext>
            </a:extLst>
          </p:cNvPr>
          <p:cNvSpPr txBox="1"/>
          <p:nvPr/>
        </p:nvSpPr>
        <p:spPr>
          <a:xfrm>
            <a:off x="1481099" y="875821"/>
            <a:ext cx="455050" cy="3927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CB813"/>
              </a:buClr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February 2023</a:t>
            </a: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97A8CD6E-3ACF-6280-CD0D-44F848D084E9}"/>
              </a:ext>
            </a:extLst>
          </p:cNvPr>
          <p:cNvSpPr/>
          <p:nvPr/>
        </p:nvSpPr>
        <p:spPr>
          <a:xfrm>
            <a:off x="1628725" y="1329274"/>
            <a:ext cx="159799" cy="159799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1" i="0" u="none" strike="noStrike" kern="1200" cap="none" spc="0" normalizeH="0" baseline="0" noProof="0">
              <a:ln>
                <a:noFill/>
              </a:ln>
              <a:solidFill>
                <a:srgbClr val="585854">
                  <a:lumMod val="20000"/>
                  <a:lumOff val="80000"/>
                </a:srgbClr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07AABB5D-2D1E-5B27-0342-589E1E19C468}"/>
              </a:ext>
            </a:extLst>
          </p:cNvPr>
          <p:cNvSpPr txBox="1"/>
          <p:nvPr/>
        </p:nvSpPr>
        <p:spPr>
          <a:xfrm>
            <a:off x="5570119" y="875821"/>
            <a:ext cx="455050" cy="3927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CB813"/>
              </a:buClr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March 2023</a:t>
            </a: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45E627A4-3708-E33E-75D4-6AD1E2B7B538}"/>
              </a:ext>
            </a:extLst>
          </p:cNvPr>
          <p:cNvSpPr/>
          <p:nvPr/>
        </p:nvSpPr>
        <p:spPr>
          <a:xfrm>
            <a:off x="5717745" y="1329274"/>
            <a:ext cx="159799" cy="159799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1" i="0" u="none" strike="noStrike" kern="1200" cap="none" spc="0" normalizeH="0" baseline="0" noProof="0">
              <a:ln>
                <a:noFill/>
              </a:ln>
              <a:solidFill>
                <a:srgbClr val="585854">
                  <a:lumMod val="20000"/>
                  <a:lumOff val="80000"/>
                </a:srgbClr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66F4975A-02B9-C053-FF21-86A2AD8C689A}"/>
              </a:ext>
            </a:extLst>
          </p:cNvPr>
          <p:cNvCxnSpPr>
            <a:cxnSpLocks/>
            <a:stCxn id="44" idx="4"/>
          </p:cNvCxnSpPr>
          <p:nvPr/>
        </p:nvCxnSpPr>
        <p:spPr>
          <a:xfrm>
            <a:off x="1708625" y="1489073"/>
            <a:ext cx="0" cy="182159"/>
          </a:xfrm>
          <a:prstGeom prst="line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9" name="TextBox 48">
            <a:extLst>
              <a:ext uri="{FF2B5EF4-FFF2-40B4-BE49-F238E27FC236}">
                <a16:creationId xmlns:a16="http://schemas.microsoft.com/office/drawing/2014/main" id="{C99DA019-1E15-FED6-5025-2E778DC395DF}"/>
              </a:ext>
            </a:extLst>
          </p:cNvPr>
          <p:cNvSpPr txBox="1"/>
          <p:nvPr/>
        </p:nvSpPr>
        <p:spPr>
          <a:xfrm>
            <a:off x="758224" y="1671232"/>
            <a:ext cx="4466916" cy="830997"/>
          </a:xfrm>
          <a:prstGeom prst="rect">
            <a:avLst/>
          </a:prstGeom>
          <a:noFill/>
        </p:spPr>
        <p:txBody>
          <a:bodyPr wrap="square" lIns="45720" tIns="45720" rIns="4572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1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L treatment: </a:t>
            </a: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-CHOP +/- tafa-len or placebo </a:t>
            </a: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(</a:t>
            </a:r>
            <a:r>
              <a: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frontMIND</a:t>
            </a: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, NCT04824092)</a:t>
            </a: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highlight>
                  <a:srgbClr val="FF00FF"/>
                </a:highlight>
                <a:uLnTx/>
                <a:uFillTx/>
                <a:latin typeface="Aptos" panose="02110004020202020204"/>
                <a:ea typeface="+mn-ea"/>
                <a:cs typeface="+mn-cs"/>
              </a:rPr>
              <a:t>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1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Outcome: </a:t>
            </a: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D after 2 cycles</a:t>
            </a:r>
            <a:endParaRPr kumimoji="0" lang="en-GB" sz="1600" b="1" i="0" u="none" strike="noStrike" kern="1200" cap="none" spc="0" normalizeH="0" baseline="0" noProof="0">
              <a:ln>
                <a:noFill/>
              </a:ln>
              <a:solidFill>
                <a:srgbClr val="585854">
                  <a:lumMod val="20000"/>
                  <a:lumOff val="80000"/>
                </a:srgbClr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7B503659-8CEA-92EF-E868-9C9F064CCE76}"/>
              </a:ext>
            </a:extLst>
          </p:cNvPr>
          <p:cNvSpPr txBox="1"/>
          <p:nvPr/>
        </p:nvSpPr>
        <p:spPr>
          <a:xfrm>
            <a:off x="9054211" y="875821"/>
            <a:ext cx="455050" cy="3927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CB813"/>
              </a:buClr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May 2023</a:t>
            </a: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530415C2-A568-DC62-7406-507B8C5546FF}"/>
              </a:ext>
            </a:extLst>
          </p:cNvPr>
          <p:cNvSpPr/>
          <p:nvPr/>
        </p:nvSpPr>
        <p:spPr>
          <a:xfrm>
            <a:off x="9201837" y="1329274"/>
            <a:ext cx="159799" cy="159799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1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17E1F5C4-ACBC-A5AB-FC12-AB4A402122FF}"/>
              </a:ext>
            </a:extLst>
          </p:cNvPr>
          <p:cNvSpPr txBox="1"/>
          <p:nvPr/>
        </p:nvSpPr>
        <p:spPr>
          <a:xfrm>
            <a:off x="9046652" y="2025598"/>
            <a:ext cx="1102532" cy="338554"/>
          </a:xfrm>
          <a:prstGeom prst="rect">
            <a:avLst/>
          </a:prstGeom>
          <a:noFill/>
        </p:spPr>
        <p:txBody>
          <a:bodyPr wrap="square" lIns="45720" tIns="45720" rIns="4572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1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tatus: </a:t>
            </a: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F15922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D</a:t>
            </a:r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93D6DA1A-7F6F-0178-9AC4-1B98A8CD2FC7}"/>
              </a:ext>
            </a:extLst>
          </p:cNvPr>
          <p:cNvCxnSpPr>
            <a:cxnSpLocks/>
          </p:cNvCxnSpPr>
          <p:nvPr/>
        </p:nvCxnSpPr>
        <p:spPr>
          <a:xfrm>
            <a:off x="9275961" y="1489073"/>
            <a:ext cx="0" cy="509978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4" name="Immagine 24">
            <a:extLst>
              <a:ext uri="{FF2B5EF4-FFF2-40B4-BE49-F238E27FC236}">
                <a16:creationId xmlns:a16="http://schemas.microsoft.com/office/drawing/2014/main" id="{A257517E-DD1F-D153-49FB-C3494676DB84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50751" y="3738912"/>
            <a:ext cx="2924774" cy="2293940"/>
          </a:xfrm>
          <a:prstGeom prst="rect">
            <a:avLst/>
          </a:prstGeom>
        </p:spPr>
      </p:pic>
      <p:sp>
        <p:nvSpPr>
          <p:cNvPr id="65" name="CasellaDiTesto 34">
            <a:extLst>
              <a:ext uri="{FF2B5EF4-FFF2-40B4-BE49-F238E27FC236}">
                <a16:creationId xmlns:a16="http://schemas.microsoft.com/office/drawing/2014/main" id="{406EFBC8-823F-9D1B-2129-F16E8732085C}"/>
              </a:ext>
            </a:extLst>
          </p:cNvPr>
          <p:cNvSpPr txBox="1"/>
          <p:nvPr/>
        </p:nvSpPr>
        <p:spPr>
          <a:xfrm>
            <a:off x="7350751" y="3700168"/>
            <a:ext cx="625492" cy="30777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D19</a:t>
            </a:r>
          </a:p>
        </p:txBody>
      </p:sp>
      <p:sp>
        <p:nvSpPr>
          <p:cNvPr id="66" name="CasellaDiTesto 26">
            <a:extLst>
              <a:ext uri="{FF2B5EF4-FFF2-40B4-BE49-F238E27FC236}">
                <a16:creationId xmlns:a16="http://schemas.microsoft.com/office/drawing/2014/main" id="{A2C3BF21-2135-9A87-3603-449ABE9761CB}"/>
              </a:ext>
            </a:extLst>
          </p:cNvPr>
          <p:cNvSpPr txBox="1"/>
          <p:nvPr/>
        </p:nvSpPr>
        <p:spPr>
          <a:xfrm>
            <a:off x="9146512" y="5735661"/>
            <a:ext cx="1129605" cy="30777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H-score 200</a:t>
            </a:r>
          </a:p>
        </p:txBody>
      </p:sp>
      <p:sp>
        <p:nvSpPr>
          <p:cNvPr id="67" name="CasellaDiTesto 32">
            <a:extLst>
              <a:ext uri="{FF2B5EF4-FFF2-40B4-BE49-F238E27FC236}">
                <a16:creationId xmlns:a16="http://schemas.microsoft.com/office/drawing/2014/main" id="{CA7A8AD5-A303-6784-B779-F207B1D79F4B}"/>
              </a:ext>
            </a:extLst>
          </p:cNvPr>
          <p:cNvSpPr txBox="1"/>
          <p:nvPr/>
        </p:nvSpPr>
        <p:spPr>
          <a:xfrm>
            <a:off x="7350751" y="3174762"/>
            <a:ext cx="301663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</a:t>
            </a:r>
            <a:r>
              <a:rPr kumimoji="0" lang="en-GB" sz="1400" b="1" i="0" u="none" strike="noStrike" kern="1200" cap="none" spc="0" normalizeH="0" baseline="3000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d</a:t>
            </a: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biopsy post </a:t>
            </a:r>
            <a:r>
              <a:rPr kumimoji="0" lang="en-GB" sz="1400" b="1" i="0" u="none" strike="noStrike" kern="1200" cap="none" spc="0" normalizeH="0" baseline="0" noProof="0" err="1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x</a:t>
            </a:r>
            <a:endParaRPr kumimoji="0" lang="en-GB" sz="1400" b="1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(+ 54 days from last infusion)</a:t>
            </a:r>
          </a:p>
        </p:txBody>
      </p:sp>
      <p:sp>
        <p:nvSpPr>
          <p:cNvPr id="68" name="Freccia in giù 40">
            <a:extLst>
              <a:ext uri="{FF2B5EF4-FFF2-40B4-BE49-F238E27FC236}">
                <a16:creationId xmlns:a16="http://schemas.microsoft.com/office/drawing/2014/main" id="{F1485CF0-67FB-9ECB-9DF4-EBF53A8CBEBE}"/>
              </a:ext>
            </a:extLst>
          </p:cNvPr>
          <p:cNvSpPr/>
          <p:nvPr/>
        </p:nvSpPr>
        <p:spPr>
          <a:xfrm rot="16200000">
            <a:off x="10162929" y="2030787"/>
            <a:ext cx="291295" cy="331602"/>
          </a:xfrm>
          <a:prstGeom prst="downArrow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7FAB486A-51B8-BEA2-292B-1C6816FAD134}"/>
              </a:ext>
            </a:extLst>
          </p:cNvPr>
          <p:cNvSpPr txBox="1"/>
          <p:nvPr/>
        </p:nvSpPr>
        <p:spPr>
          <a:xfrm>
            <a:off x="10535337" y="2025598"/>
            <a:ext cx="1321383" cy="584775"/>
          </a:xfrm>
          <a:prstGeom prst="rect">
            <a:avLst/>
          </a:prstGeom>
          <a:noFill/>
        </p:spPr>
        <p:txBody>
          <a:bodyPr wrap="square" lIns="45720" tIns="45720" rIns="4572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1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3L treatment: </a:t>
            </a: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AR-T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B0405EBC-B987-5C83-A416-176071FD459C}"/>
              </a:ext>
            </a:extLst>
          </p:cNvPr>
          <p:cNvCxnSpPr>
            <a:cxnSpLocks/>
          </p:cNvCxnSpPr>
          <p:nvPr/>
        </p:nvCxnSpPr>
        <p:spPr>
          <a:xfrm>
            <a:off x="5797645" y="1489073"/>
            <a:ext cx="0" cy="250350"/>
          </a:xfrm>
          <a:prstGeom prst="line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5CA3B4C7-EBAC-B349-5F95-8C60DE5515BB}"/>
              </a:ext>
            </a:extLst>
          </p:cNvPr>
          <p:cNvSpPr txBox="1"/>
          <p:nvPr/>
        </p:nvSpPr>
        <p:spPr>
          <a:xfrm>
            <a:off x="5567100" y="1731390"/>
            <a:ext cx="2447196" cy="584775"/>
          </a:xfrm>
          <a:prstGeom prst="rect">
            <a:avLst/>
          </a:prstGeom>
          <a:noFill/>
        </p:spPr>
        <p:txBody>
          <a:bodyPr wrap="square" lIns="45720" tIns="45720" rIns="4572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1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L treatment: </a:t>
            </a: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-</a:t>
            </a:r>
            <a:r>
              <a:rPr kumimoji="0" lang="en-GB" sz="1600" b="1" i="0" u="none" strike="noStrike" kern="1200" cap="none" spc="0" normalizeH="0" baseline="0" noProof="0" err="1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HAOx</a:t>
            </a: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×2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1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Outcome: </a:t>
            </a: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D</a:t>
            </a:r>
          </a:p>
        </p:txBody>
      </p:sp>
      <p:pic>
        <p:nvPicPr>
          <p:cNvPr id="4" name="Immagine 22">
            <a:extLst>
              <a:ext uri="{FF2B5EF4-FFF2-40B4-BE49-F238E27FC236}">
                <a16:creationId xmlns:a16="http://schemas.microsoft.com/office/drawing/2014/main" id="{E41BBC0D-19A4-5EFD-AE6D-856460025334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8342" y="3714033"/>
            <a:ext cx="2964243" cy="2324898"/>
          </a:xfrm>
          <a:prstGeom prst="rect">
            <a:avLst/>
          </a:prstGeom>
        </p:spPr>
      </p:pic>
      <p:sp>
        <p:nvSpPr>
          <p:cNvPr id="5" name="CasellaDiTesto 25">
            <a:extLst>
              <a:ext uri="{FF2B5EF4-FFF2-40B4-BE49-F238E27FC236}">
                <a16:creationId xmlns:a16="http://schemas.microsoft.com/office/drawing/2014/main" id="{493F5669-CE24-3A13-D228-F9B9BB13F922}"/>
              </a:ext>
            </a:extLst>
          </p:cNvPr>
          <p:cNvSpPr txBox="1"/>
          <p:nvPr/>
        </p:nvSpPr>
        <p:spPr>
          <a:xfrm>
            <a:off x="2565367" y="5740141"/>
            <a:ext cx="1129605" cy="30777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H-score 300</a:t>
            </a:r>
          </a:p>
        </p:txBody>
      </p:sp>
      <p:sp>
        <p:nvSpPr>
          <p:cNvPr id="6" name="CasellaDiTesto 32">
            <a:extLst>
              <a:ext uri="{FF2B5EF4-FFF2-40B4-BE49-F238E27FC236}">
                <a16:creationId xmlns:a16="http://schemas.microsoft.com/office/drawing/2014/main" id="{BF6E098D-6EAC-DE6D-A9AA-4C8F226F7BFE}"/>
              </a:ext>
            </a:extLst>
          </p:cNvPr>
          <p:cNvSpPr txBox="1"/>
          <p:nvPr/>
        </p:nvSpPr>
        <p:spPr>
          <a:xfrm>
            <a:off x="625956" y="3174762"/>
            <a:ext cx="301663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iagnostic biopsy</a:t>
            </a: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b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(pre 1L-Tx)</a:t>
            </a:r>
          </a:p>
        </p:txBody>
      </p:sp>
      <p:sp>
        <p:nvSpPr>
          <p:cNvPr id="7" name="CasellaDiTesto 33">
            <a:extLst>
              <a:ext uri="{FF2B5EF4-FFF2-40B4-BE49-F238E27FC236}">
                <a16:creationId xmlns:a16="http://schemas.microsoft.com/office/drawing/2014/main" id="{854DB306-0E48-99FD-06C9-B64572D8C857}"/>
              </a:ext>
            </a:extLst>
          </p:cNvPr>
          <p:cNvSpPr txBox="1"/>
          <p:nvPr/>
        </p:nvSpPr>
        <p:spPr>
          <a:xfrm>
            <a:off x="678342" y="3707588"/>
            <a:ext cx="625492" cy="30777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D19</a:t>
            </a:r>
          </a:p>
        </p:txBody>
      </p:sp>
      <p:pic>
        <p:nvPicPr>
          <p:cNvPr id="8" name="Immagine 23">
            <a:extLst>
              <a:ext uri="{FF2B5EF4-FFF2-40B4-BE49-F238E27FC236}">
                <a16:creationId xmlns:a16="http://schemas.microsoft.com/office/drawing/2014/main" id="{8618C962-012D-8ED2-BF42-2A92C521DEE3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26942" y="3700168"/>
            <a:ext cx="2950103" cy="2313807"/>
          </a:xfrm>
          <a:prstGeom prst="rect">
            <a:avLst/>
          </a:prstGeom>
        </p:spPr>
      </p:pic>
      <p:sp>
        <p:nvSpPr>
          <p:cNvPr id="9" name="CasellaDiTesto 26">
            <a:extLst>
              <a:ext uri="{FF2B5EF4-FFF2-40B4-BE49-F238E27FC236}">
                <a16:creationId xmlns:a16="http://schemas.microsoft.com/office/drawing/2014/main" id="{601FFD7D-32A5-0E93-A5D0-2DD8197CE1E4}"/>
              </a:ext>
            </a:extLst>
          </p:cNvPr>
          <p:cNvSpPr txBox="1"/>
          <p:nvPr/>
        </p:nvSpPr>
        <p:spPr>
          <a:xfrm>
            <a:off x="6002579" y="5716611"/>
            <a:ext cx="1129605" cy="30777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H-score 100</a:t>
            </a:r>
          </a:p>
        </p:txBody>
      </p:sp>
      <p:sp>
        <p:nvSpPr>
          <p:cNvPr id="10" name="CasellaDiTesto 34">
            <a:extLst>
              <a:ext uri="{FF2B5EF4-FFF2-40B4-BE49-F238E27FC236}">
                <a16:creationId xmlns:a16="http://schemas.microsoft.com/office/drawing/2014/main" id="{471DDB44-2D24-227F-354E-DDBF2E8F5F7A}"/>
              </a:ext>
            </a:extLst>
          </p:cNvPr>
          <p:cNvSpPr txBox="1"/>
          <p:nvPr/>
        </p:nvSpPr>
        <p:spPr>
          <a:xfrm>
            <a:off x="4105577" y="3700168"/>
            <a:ext cx="625492" cy="30777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D19</a:t>
            </a:r>
          </a:p>
        </p:txBody>
      </p:sp>
      <p:sp>
        <p:nvSpPr>
          <p:cNvPr id="11" name="CasellaDiTesto 32">
            <a:extLst>
              <a:ext uri="{FF2B5EF4-FFF2-40B4-BE49-F238E27FC236}">
                <a16:creationId xmlns:a16="http://schemas.microsoft.com/office/drawing/2014/main" id="{751A8FA3-46D6-BD96-AB06-ED083675B8A7}"/>
              </a:ext>
            </a:extLst>
          </p:cNvPr>
          <p:cNvSpPr txBox="1"/>
          <p:nvPr/>
        </p:nvSpPr>
        <p:spPr>
          <a:xfrm>
            <a:off x="4122582" y="3174762"/>
            <a:ext cx="301663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</a:t>
            </a:r>
            <a:r>
              <a:rPr kumimoji="0" lang="en-GB" sz="1400" b="1" i="0" u="none" strike="noStrike" kern="1200" cap="none" spc="0" normalizeH="0" baseline="3000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t</a:t>
            </a: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biopsy post </a:t>
            </a:r>
            <a:r>
              <a:rPr kumimoji="0" lang="en-GB" sz="1400" b="1" i="0" u="none" strike="noStrike" kern="1200" cap="none" spc="0" normalizeH="0" baseline="0" noProof="0" err="1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x</a:t>
            </a:r>
            <a:endParaRPr kumimoji="0" lang="en-GB" sz="1400" b="1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(+ 7 days from last infusion)</a:t>
            </a:r>
          </a:p>
        </p:txBody>
      </p:sp>
      <p:sp>
        <p:nvSpPr>
          <p:cNvPr id="12" name="Freccia in giù 40">
            <a:extLst>
              <a:ext uri="{FF2B5EF4-FFF2-40B4-BE49-F238E27FC236}">
                <a16:creationId xmlns:a16="http://schemas.microsoft.com/office/drawing/2014/main" id="{FAC11384-8CF6-8F0A-1190-BD6FFF020507}"/>
              </a:ext>
            </a:extLst>
          </p:cNvPr>
          <p:cNvSpPr/>
          <p:nvPr/>
        </p:nvSpPr>
        <p:spPr>
          <a:xfrm rot="16200000">
            <a:off x="3752153" y="4733466"/>
            <a:ext cx="291295" cy="392889"/>
          </a:xfrm>
          <a:prstGeom prst="downArrow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21525D1-E887-02F4-2F91-DBAEAF74C3F7}"/>
              </a:ext>
            </a:extLst>
          </p:cNvPr>
          <p:cNvSpPr txBox="1"/>
          <p:nvPr/>
        </p:nvSpPr>
        <p:spPr>
          <a:xfrm>
            <a:off x="4122582" y="2640545"/>
            <a:ext cx="2954463" cy="523220"/>
          </a:xfrm>
          <a:prstGeom prst="rect">
            <a:avLst/>
          </a:prstGeom>
          <a:solidFill>
            <a:schemeClr val="accent1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D19 masking</a:t>
            </a:r>
            <a:b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fter targeting CD19 in 1L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81DE07A5-0C5A-E670-2B8F-FE6D63B10622}"/>
              </a:ext>
            </a:extLst>
          </p:cNvPr>
          <p:cNvCxnSpPr>
            <a:cxnSpLocks/>
          </p:cNvCxnSpPr>
          <p:nvPr/>
        </p:nvCxnSpPr>
        <p:spPr>
          <a:xfrm>
            <a:off x="13077825" y="3743809"/>
            <a:ext cx="10932414" cy="0"/>
          </a:xfrm>
          <a:prstGeom prst="line">
            <a:avLst/>
          </a:prstGeom>
          <a:ln w="285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Oval 20">
            <a:extLst>
              <a:ext uri="{FF2B5EF4-FFF2-40B4-BE49-F238E27FC236}">
                <a16:creationId xmlns:a16="http://schemas.microsoft.com/office/drawing/2014/main" id="{FF8ADE21-2BBE-121F-1F0C-48E4FE4976DA}"/>
              </a:ext>
            </a:extLst>
          </p:cNvPr>
          <p:cNvSpPr/>
          <p:nvPr/>
        </p:nvSpPr>
        <p:spPr>
          <a:xfrm>
            <a:off x="14154100" y="3666074"/>
            <a:ext cx="159799" cy="159799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1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8A59DCE-9267-6F19-D992-DDDBE76663E9}"/>
              </a:ext>
            </a:extLst>
          </p:cNvPr>
          <p:cNvCxnSpPr>
            <a:cxnSpLocks/>
            <a:stCxn id="21" idx="4"/>
          </p:cNvCxnSpPr>
          <p:nvPr/>
        </p:nvCxnSpPr>
        <p:spPr>
          <a:xfrm>
            <a:off x="14234000" y="3825873"/>
            <a:ext cx="0" cy="182159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6FF1FEFA-CD81-F31B-AFA1-9A46C794BD0F}"/>
              </a:ext>
            </a:extLst>
          </p:cNvPr>
          <p:cNvSpPr txBox="1"/>
          <p:nvPr/>
        </p:nvSpPr>
        <p:spPr>
          <a:xfrm>
            <a:off x="13024519" y="4008032"/>
            <a:ext cx="2853643" cy="1631216"/>
          </a:xfrm>
          <a:prstGeom prst="rect">
            <a:avLst/>
          </a:prstGeom>
          <a:noFill/>
        </p:spPr>
        <p:txBody>
          <a:bodyPr wrap="square" lIns="45720" tIns="45720" rIns="4572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1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Lymphocyte apheresi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1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Bridging: </a:t>
            </a: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-Pola ×2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1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Outcome: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2C5E77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 to bridging treatment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59F00A37-3EFF-4783-D599-2AA558E66498}"/>
              </a:ext>
            </a:extLst>
          </p:cNvPr>
          <p:cNvSpPr txBox="1"/>
          <p:nvPr/>
        </p:nvSpPr>
        <p:spPr>
          <a:xfrm>
            <a:off x="13997686" y="3212621"/>
            <a:ext cx="455050" cy="3927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CB813"/>
              </a:buClr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June</a:t>
            </a:r>
            <a:r>
              <a:rPr kumimoji="0" lang="en-CH" sz="18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–</a:t>
            </a: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July 2023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7ED9108E-E473-A689-1B74-4D0E83E0F0E0}"/>
              </a:ext>
            </a:extLst>
          </p:cNvPr>
          <p:cNvSpPr/>
          <p:nvPr/>
        </p:nvSpPr>
        <p:spPr>
          <a:xfrm>
            <a:off x="13857640" y="2791631"/>
            <a:ext cx="717698" cy="104135"/>
          </a:xfrm>
          <a:prstGeom prst="ellipse">
            <a:avLst/>
          </a:prstGeom>
          <a:solidFill>
            <a:schemeClr val="tx1">
              <a:alpha val="6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6" name="Free-form: Shape 25">
            <a:extLst>
              <a:ext uri="{FF2B5EF4-FFF2-40B4-BE49-F238E27FC236}">
                <a16:creationId xmlns:a16="http://schemas.microsoft.com/office/drawing/2014/main" id="{16E80B50-0681-8203-04AE-99C693560972}"/>
              </a:ext>
            </a:extLst>
          </p:cNvPr>
          <p:cNvSpPr/>
          <p:nvPr/>
        </p:nvSpPr>
        <p:spPr>
          <a:xfrm>
            <a:off x="13952684" y="1597747"/>
            <a:ext cx="634942" cy="1266262"/>
          </a:xfrm>
          <a:custGeom>
            <a:avLst/>
            <a:gdLst>
              <a:gd name="csX0" fmla="*/ 703087 w 763849"/>
              <a:gd name="csY0" fmla="*/ 1241174 h 1523340"/>
              <a:gd name="csX1" fmla="*/ 732932 w 763849"/>
              <a:gd name="csY1" fmla="*/ 1359634 h 1523340"/>
              <a:gd name="csX2" fmla="*/ 735544 w 763849"/>
              <a:gd name="csY2" fmla="*/ 1377287 h 1523340"/>
              <a:gd name="csX3" fmla="*/ 756764 w 763849"/>
              <a:gd name="csY3" fmla="*/ 1458577 h 1523340"/>
              <a:gd name="csX4" fmla="*/ 757108 w 763849"/>
              <a:gd name="csY4" fmla="*/ 1465940 h 1523340"/>
              <a:gd name="csX5" fmla="*/ 744215 w 763849"/>
              <a:gd name="csY5" fmla="*/ 1488332 h 1523340"/>
              <a:gd name="csX6" fmla="*/ 712781 w 763849"/>
              <a:gd name="csY6" fmla="*/ 1498472 h 1523340"/>
              <a:gd name="csX7" fmla="*/ 625540 w 763849"/>
              <a:gd name="csY7" fmla="*/ 1511981 h 1523340"/>
              <a:gd name="csX8" fmla="*/ 488540 w 763849"/>
              <a:gd name="csY8" fmla="*/ 1522029 h 1523340"/>
              <a:gd name="csX9" fmla="*/ 306789 w 763849"/>
              <a:gd name="csY9" fmla="*/ 1523231 h 1523340"/>
              <a:gd name="csX10" fmla="*/ 200103 w 763849"/>
              <a:gd name="csY10" fmla="*/ 1518579 h 1523340"/>
              <a:gd name="csX11" fmla="*/ 31607 w 763849"/>
              <a:gd name="csY11" fmla="*/ 1493880 h 1523340"/>
              <a:gd name="csX12" fmla="*/ 5860 w 763849"/>
              <a:gd name="csY12" fmla="*/ 1482933 h 1523340"/>
              <a:gd name="csX13" fmla="*/ 32 w 763849"/>
              <a:gd name="csY13" fmla="*/ 1471774 h 1523340"/>
              <a:gd name="csX14" fmla="*/ 21295 w 763849"/>
              <a:gd name="csY14" fmla="*/ 1378237 h 1523340"/>
              <a:gd name="csX15" fmla="*/ 23169 w 763849"/>
              <a:gd name="csY15" fmla="*/ 1364271 h 1523340"/>
              <a:gd name="csX16" fmla="*/ 23871 w 763849"/>
              <a:gd name="csY16" fmla="*/ 1303132 h 1523340"/>
              <a:gd name="csX17" fmla="*/ 59740 w 763849"/>
              <a:gd name="csY17" fmla="*/ 1234649 h 1523340"/>
              <a:gd name="csX18" fmla="*/ 98899 w 763849"/>
              <a:gd name="csY18" fmla="*/ 1195619 h 1523340"/>
              <a:gd name="csX19" fmla="*/ 131493 w 763849"/>
              <a:gd name="csY19" fmla="*/ 1127593 h 1523340"/>
              <a:gd name="csX20" fmla="*/ 108213 w 763849"/>
              <a:gd name="csY20" fmla="*/ 1058723 h 1523340"/>
              <a:gd name="csX21" fmla="*/ 74370 w 763849"/>
              <a:gd name="csY21" fmla="*/ 1024929 h 1523340"/>
              <a:gd name="csX22" fmla="*/ 68137 w 763849"/>
              <a:gd name="csY22" fmla="*/ 987550 h 1523340"/>
              <a:gd name="csX23" fmla="*/ 86420 w 763849"/>
              <a:gd name="csY23" fmla="*/ 941991 h 1523340"/>
              <a:gd name="csX24" fmla="*/ 97082 w 763849"/>
              <a:gd name="csY24" fmla="*/ 828037 h 1523340"/>
              <a:gd name="csX25" fmla="*/ 61782 w 763849"/>
              <a:gd name="csY25" fmla="*/ 696973 h 1523340"/>
              <a:gd name="csX26" fmla="*/ 26901 w 763849"/>
              <a:gd name="csY26" fmla="*/ 547868 h 1523340"/>
              <a:gd name="csX27" fmla="*/ 20221 w 763849"/>
              <a:gd name="csY27" fmla="*/ 479529 h 1523340"/>
              <a:gd name="csX28" fmla="*/ 40808 w 763849"/>
              <a:gd name="csY28" fmla="*/ 334388 h 1523340"/>
              <a:gd name="csX29" fmla="*/ 65171 w 763849"/>
              <a:gd name="csY29" fmla="*/ 263707 h 1523340"/>
              <a:gd name="csX30" fmla="*/ 142827 w 763849"/>
              <a:gd name="csY30" fmla="*/ 171003 h 1523340"/>
              <a:gd name="csX31" fmla="*/ 172290 w 763849"/>
              <a:gd name="csY31" fmla="*/ 155872 h 1523340"/>
              <a:gd name="csX32" fmla="*/ 189008 w 763849"/>
              <a:gd name="csY32" fmla="*/ 148158 h 1523340"/>
              <a:gd name="csX33" fmla="*/ 212828 w 763849"/>
              <a:gd name="csY33" fmla="*/ 126123 h 1523340"/>
              <a:gd name="csX34" fmla="*/ 217217 w 763849"/>
              <a:gd name="csY34" fmla="*/ 118740 h 1523340"/>
              <a:gd name="csX35" fmla="*/ 253000 w 763849"/>
              <a:gd name="csY35" fmla="*/ 88998 h 1523340"/>
              <a:gd name="csX36" fmla="*/ 322085 w 763849"/>
              <a:gd name="csY36" fmla="*/ 72193 h 1523340"/>
              <a:gd name="csX37" fmla="*/ 330478 w 763849"/>
              <a:gd name="csY37" fmla="*/ 70387 h 1523340"/>
              <a:gd name="csX38" fmla="*/ 388016 w 763849"/>
              <a:gd name="csY38" fmla="*/ 35457 h 1523340"/>
              <a:gd name="csX39" fmla="*/ 421527 w 763849"/>
              <a:gd name="csY39" fmla="*/ 0 h 1523340"/>
              <a:gd name="csX40" fmla="*/ 424538 w 763849"/>
              <a:gd name="csY40" fmla="*/ 10833 h 1523340"/>
              <a:gd name="csX41" fmla="*/ 436339 w 763849"/>
              <a:gd name="csY41" fmla="*/ 121836 h 1523340"/>
              <a:gd name="csX42" fmla="*/ 449983 w 763849"/>
              <a:gd name="csY42" fmla="*/ 141450 h 1523340"/>
              <a:gd name="csX43" fmla="*/ 503299 w 763849"/>
              <a:gd name="csY43" fmla="*/ 169290 h 1523340"/>
              <a:gd name="csX44" fmla="*/ 551461 w 763849"/>
              <a:gd name="csY44" fmla="*/ 203111 h 1523340"/>
              <a:gd name="csX45" fmla="*/ 588803 w 763849"/>
              <a:gd name="csY45" fmla="*/ 252797 h 1523340"/>
              <a:gd name="csX46" fmla="*/ 634209 w 763849"/>
              <a:gd name="csY46" fmla="*/ 327081 h 1523340"/>
              <a:gd name="csX47" fmla="*/ 697923 w 763849"/>
              <a:gd name="csY47" fmla="*/ 384157 h 1523340"/>
              <a:gd name="csX48" fmla="*/ 729658 w 763849"/>
              <a:gd name="csY48" fmla="*/ 407288 h 1523340"/>
              <a:gd name="csX49" fmla="*/ 763354 w 763849"/>
              <a:gd name="csY49" fmla="*/ 471325 h 1523340"/>
              <a:gd name="csX50" fmla="*/ 757092 w 763849"/>
              <a:gd name="csY50" fmla="*/ 527116 h 1523340"/>
              <a:gd name="csX51" fmla="*/ 720673 w 763849"/>
              <a:gd name="csY51" fmla="*/ 570023 h 1523340"/>
              <a:gd name="csX52" fmla="*/ 704918 w 763849"/>
              <a:gd name="csY52" fmla="*/ 581294 h 1523340"/>
              <a:gd name="csX53" fmla="*/ 671960 w 763849"/>
              <a:gd name="csY53" fmla="*/ 595325 h 1523340"/>
              <a:gd name="csX54" fmla="*/ 633021 w 763849"/>
              <a:gd name="csY54" fmla="*/ 591397 h 1523340"/>
              <a:gd name="csX55" fmla="*/ 580696 w 763849"/>
              <a:gd name="csY55" fmla="*/ 556742 h 1523340"/>
              <a:gd name="csX56" fmla="*/ 545415 w 763849"/>
              <a:gd name="csY56" fmla="*/ 524617 h 1523340"/>
              <a:gd name="csX57" fmla="*/ 518889 w 763849"/>
              <a:gd name="csY57" fmla="*/ 516179 h 1523340"/>
              <a:gd name="csX58" fmla="*/ 472309 w 763849"/>
              <a:gd name="csY58" fmla="*/ 517812 h 1523340"/>
              <a:gd name="csX59" fmla="*/ 415953 w 763849"/>
              <a:gd name="csY59" fmla="*/ 517245 h 1523340"/>
              <a:gd name="csX60" fmla="*/ 403392 w 763849"/>
              <a:gd name="csY60" fmla="*/ 516539 h 1523340"/>
              <a:gd name="csX61" fmla="*/ 407957 w 763849"/>
              <a:gd name="csY61" fmla="*/ 542045 h 1523340"/>
              <a:gd name="csX62" fmla="*/ 434134 w 763849"/>
              <a:gd name="csY62" fmla="*/ 583349 h 1523340"/>
              <a:gd name="csX63" fmla="*/ 524267 w 763849"/>
              <a:gd name="csY63" fmla="*/ 683922 h 1523340"/>
              <a:gd name="csX64" fmla="*/ 614317 w 763849"/>
              <a:gd name="csY64" fmla="*/ 786085 h 1523340"/>
              <a:gd name="csX65" fmla="*/ 669590 w 763849"/>
              <a:gd name="csY65" fmla="*/ 921089 h 1523340"/>
              <a:gd name="csX66" fmla="*/ 647360 w 763849"/>
              <a:gd name="csY66" fmla="*/ 1057245 h 1523340"/>
              <a:gd name="csX67" fmla="*/ 627872 w 763849"/>
              <a:gd name="csY67" fmla="*/ 1102111 h 1523340"/>
              <a:gd name="csX68" fmla="*/ 642300 w 763849"/>
              <a:gd name="csY68" fmla="*/ 1175941 h 1523340"/>
              <a:gd name="csX69" fmla="*/ 668829 w 763849"/>
              <a:gd name="csY69" fmla="*/ 1206449 h 1523340"/>
              <a:gd name="csX70" fmla="*/ 703087 w 763849"/>
              <a:gd name="csY70" fmla="*/ 1241174 h 1523340"/>
              <a:gd name="csX71" fmla="*/ 648750 w 763849"/>
              <a:gd name="csY71" fmla="*/ 562343 h 1523340"/>
              <a:gd name="csX72" fmla="*/ 674049 w 763849"/>
              <a:gd name="csY72" fmla="*/ 562834 h 1523340"/>
              <a:gd name="csX73" fmla="*/ 660781 w 763849"/>
              <a:gd name="csY73" fmla="*/ 550178 h 1523340"/>
              <a:gd name="csX74" fmla="*/ 650911 w 763849"/>
              <a:gd name="csY74" fmla="*/ 534051 h 1523340"/>
              <a:gd name="csX75" fmla="*/ 660724 w 763849"/>
              <a:gd name="csY75" fmla="*/ 537605 h 1523340"/>
              <a:gd name="csX76" fmla="*/ 688133 w 763849"/>
              <a:gd name="csY76" fmla="*/ 543363 h 1523340"/>
              <a:gd name="csX77" fmla="*/ 731514 w 763849"/>
              <a:gd name="csY77" fmla="*/ 510767 h 1523340"/>
              <a:gd name="csX78" fmla="*/ 733611 w 763849"/>
              <a:gd name="csY78" fmla="*/ 466905 h 1523340"/>
              <a:gd name="csX79" fmla="*/ 708076 w 763849"/>
              <a:gd name="csY79" fmla="*/ 425975 h 1523340"/>
              <a:gd name="csX80" fmla="*/ 667538 w 763849"/>
              <a:gd name="csY80" fmla="*/ 398254 h 1523340"/>
              <a:gd name="csX81" fmla="*/ 601016 w 763849"/>
              <a:gd name="csY81" fmla="*/ 332127 h 1523340"/>
              <a:gd name="csX82" fmla="*/ 565354 w 763849"/>
              <a:gd name="csY82" fmla="*/ 270526 h 1523340"/>
              <a:gd name="csX83" fmla="*/ 490657 w 763849"/>
              <a:gd name="csY83" fmla="*/ 195121 h 1523340"/>
              <a:gd name="csX84" fmla="*/ 432834 w 763849"/>
              <a:gd name="csY84" fmla="*/ 165243 h 1523340"/>
              <a:gd name="csX85" fmla="*/ 407594 w 763849"/>
              <a:gd name="csY85" fmla="*/ 127852 h 1523340"/>
              <a:gd name="csX86" fmla="*/ 405020 w 763849"/>
              <a:gd name="csY86" fmla="*/ 69029 h 1523340"/>
              <a:gd name="csX87" fmla="*/ 403638 w 763849"/>
              <a:gd name="csY87" fmla="*/ 58130 h 1523340"/>
              <a:gd name="csX88" fmla="*/ 349776 w 763849"/>
              <a:gd name="csY88" fmla="*/ 133259 h 1523340"/>
              <a:gd name="csX89" fmla="*/ 326975 w 763849"/>
              <a:gd name="csY89" fmla="*/ 159669 h 1523340"/>
              <a:gd name="csX90" fmla="*/ 240374 w 763849"/>
              <a:gd name="csY90" fmla="*/ 221714 h 1523340"/>
              <a:gd name="csX91" fmla="*/ 171637 w 763849"/>
              <a:gd name="csY91" fmla="*/ 309087 h 1523340"/>
              <a:gd name="csX92" fmla="*/ 138048 w 763849"/>
              <a:gd name="csY92" fmla="*/ 516954 h 1523340"/>
              <a:gd name="csX93" fmla="*/ 163889 w 763849"/>
              <a:gd name="csY93" fmla="*/ 641780 h 1523340"/>
              <a:gd name="csX94" fmla="*/ 204800 w 763849"/>
              <a:gd name="csY94" fmla="*/ 787055 h 1523340"/>
              <a:gd name="csX95" fmla="*/ 218549 w 763849"/>
              <a:gd name="csY95" fmla="*/ 949545 h 1523340"/>
              <a:gd name="csX96" fmla="*/ 191487 w 763849"/>
              <a:gd name="csY96" fmla="*/ 1033064 h 1523340"/>
              <a:gd name="csX97" fmla="*/ 188729 w 763849"/>
              <a:gd name="csY97" fmla="*/ 1039835 h 1523340"/>
              <a:gd name="csX98" fmla="*/ 221417 w 763849"/>
              <a:gd name="csY98" fmla="*/ 1040799 h 1523340"/>
              <a:gd name="csX99" fmla="*/ 348895 w 763849"/>
              <a:gd name="csY99" fmla="*/ 1046759 h 1523340"/>
              <a:gd name="csX100" fmla="*/ 545369 w 763849"/>
              <a:gd name="csY100" fmla="*/ 1044456 h 1523340"/>
              <a:gd name="csX101" fmla="*/ 612424 w 763849"/>
              <a:gd name="csY101" fmla="*/ 1037365 h 1523340"/>
              <a:gd name="csX102" fmla="*/ 623169 w 763849"/>
              <a:gd name="csY102" fmla="*/ 1028873 h 1523340"/>
              <a:gd name="csX103" fmla="*/ 638508 w 763849"/>
              <a:gd name="csY103" fmla="*/ 959599 h 1523340"/>
              <a:gd name="csX104" fmla="*/ 609213 w 763849"/>
              <a:gd name="csY104" fmla="*/ 842075 h 1523340"/>
              <a:gd name="csX105" fmla="*/ 529367 w 763849"/>
              <a:gd name="csY105" fmla="*/ 735065 h 1523340"/>
              <a:gd name="csX106" fmla="*/ 403792 w 763849"/>
              <a:gd name="csY106" fmla="*/ 596993 h 1523340"/>
              <a:gd name="csX107" fmla="*/ 344708 w 763849"/>
              <a:gd name="csY107" fmla="*/ 511366 h 1523340"/>
              <a:gd name="csX108" fmla="*/ 324464 w 763849"/>
              <a:gd name="csY108" fmla="*/ 380084 h 1523340"/>
              <a:gd name="csX109" fmla="*/ 327688 w 763849"/>
              <a:gd name="csY109" fmla="*/ 373535 h 1523340"/>
              <a:gd name="csX110" fmla="*/ 330334 w 763849"/>
              <a:gd name="csY110" fmla="*/ 373641 h 1523340"/>
              <a:gd name="csX111" fmla="*/ 334272 w 763849"/>
              <a:gd name="csY111" fmla="*/ 384645 h 1523340"/>
              <a:gd name="csX112" fmla="*/ 365260 w 763849"/>
              <a:gd name="csY112" fmla="*/ 453955 h 1523340"/>
              <a:gd name="csX113" fmla="*/ 408246 w 763849"/>
              <a:gd name="csY113" fmla="*/ 483592 h 1523340"/>
              <a:gd name="csX114" fmla="*/ 464529 w 763849"/>
              <a:gd name="csY114" fmla="*/ 486187 h 1523340"/>
              <a:gd name="csX115" fmla="*/ 511119 w 763849"/>
              <a:gd name="csY115" fmla="*/ 484308 h 1523340"/>
              <a:gd name="csX116" fmla="*/ 567913 w 763849"/>
              <a:gd name="csY116" fmla="*/ 503736 h 1523340"/>
              <a:gd name="csX117" fmla="*/ 607611 w 763849"/>
              <a:gd name="csY117" fmla="*/ 540326 h 1523340"/>
              <a:gd name="csX118" fmla="*/ 648750 w 763849"/>
              <a:gd name="csY118" fmla="*/ 562343 h 1523340"/>
              <a:gd name="csX119" fmla="*/ 462594 w 763849"/>
              <a:gd name="csY119" fmla="*/ 1369008 h 1523340"/>
              <a:gd name="csX120" fmla="*/ 510357 w 763849"/>
              <a:gd name="csY120" fmla="*/ 1366345 h 1523340"/>
              <a:gd name="csX121" fmla="*/ 549434 w 763849"/>
              <a:gd name="csY121" fmla="*/ 1362956 h 1523340"/>
              <a:gd name="csX122" fmla="*/ 632369 w 763849"/>
              <a:gd name="csY122" fmla="*/ 1354439 h 1523340"/>
              <a:gd name="csX123" fmla="*/ 697252 w 763849"/>
              <a:gd name="csY123" fmla="*/ 1346424 h 1523340"/>
              <a:gd name="csX124" fmla="*/ 676674 w 763849"/>
              <a:gd name="csY124" fmla="*/ 1266396 h 1523340"/>
              <a:gd name="csX125" fmla="*/ 646594 w 763849"/>
              <a:gd name="csY125" fmla="*/ 1234108 h 1523340"/>
              <a:gd name="csX126" fmla="*/ 612063 w 763849"/>
              <a:gd name="csY126" fmla="*/ 1194382 h 1523340"/>
              <a:gd name="csX127" fmla="*/ 591616 w 763849"/>
              <a:gd name="csY127" fmla="*/ 1111541 h 1523340"/>
              <a:gd name="csX128" fmla="*/ 594320 w 763849"/>
              <a:gd name="csY128" fmla="*/ 1089609 h 1523340"/>
              <a:gd name="csX129" fmla="*/ 578634 w 763849"/>
              <a:gd name="csY129" fmla="*/ 1089642 h 1523340"/>
              <a:gd name="csX130" fmla="*/ 443931 w 763849"/>
              <a:gd name="csY130" fmla="*/ 1096700 h 1523340"/>
              <a:gd name="csX131" fmla="*/ 403417 w 763849"/>
              <a:gd name="csY131" fmla="*/ 1097156 h 1523340"/>
              <a:gd name="csX132" fmla="*/ 388348 w 763849"/>
              <a:gd name="csY132" fmla="*/ 1111502 h 1523340"/>
              <a:gd name="csX133" fmla="*/ 385048 w 763849"/>
              <a:gd name="csY133" fmla="*/ 1176431 h 1523340"/>
              <a:gd name="csX134" fmla="*/ 377687 w 763849"/>
              <a:gd name="csY134" fmla="*/ 1308672 h 1523340"/>
              <a:gd name="csX135" fmla="*/ 376823 w 763849"/>
              <a:gd name="csY135" fmla="*/ 1320897 h 1523340"/>
              <a:gd name="csX136" fmla="*/ 376781 w 763849"/>
              <a:gd name="csY136" fmla="*/ 1366151 h 1523340"/>
              <a:gd name="csX137" fmla="*/ 462594 w 763849"/>
              <a:gd name="csY137" fmla="*/ 1369008 h 1523340"/>
              <a:gd name="csX138" fmla="*/ 648494 w 763849"/>
              <a:gd name="csY138" fmla="*/ 1463981 h 1523340"/>
              <a:gd name="csX139" fmla="*/ 718746 w 763849"/>
              <a:gd name="csY139" fmla="*/ 1451892 h 1523340"/>
              <a:gd name="csX140" fmla="*/ 711827 w 763849"/>
              <a:gd name="csY140" fmla="*/ 1416835 h 1523340"/>
              <a:gd name="csX141" fmla="*/ 685812 w 763849"/>
              <a:gd name="csY141" fmla="*/ 1398502 h 1523340"/>
              <a:gd name="csX142" fmla="*/ 680924 w 763849"/>
              <a:gd name="csY142" fmla="*/ 1398973 h 1523340"/>
              <a:gd name="csX143" fmla="*/ 598278 w 763849"/>
              <a:gd name="csY143" fmla="*/ 1409218 h 1523340"/>
              <a:gd name="csX144" fmla="*/ 474765 w 763849"/>
              <a:gd name="csY144" fmla="*/ 1417945 h 1523340"/>
              <a:gd name="csX145" fmla="*/ 385143 w 763849"/>
              <a:gd name="csY145" fmla="*/ 1418978 h 1523340"/>
              <a:gd name="csX146" fmla="*/ 376639 w 763849"/>
              <a:gd name="csY146" fmla="*/ 1419613 h 1523340"/>
              <a:gd name="csX147" fmla="*/ 376639 w 763849"/>
              <a:gd name="csY147" fmla="*/ 1473939 h 1523340"/>
              <a:gd name="csX148" fmla="*/ 382089 w 763849"/>
              <a:gd name="csY148" fmla="*/ 1474854 h 1523340"/>
              <a:gd name="csX149" fmla="*/ 449536 w 763849"/>
              <a:gd name="csY149" fmla="*/ 1476855 h 1523340"/>
              <a:gd name="csX150" fmla="*/ 559930 w 763849"/>
              <a:gd name="csY150" fmla="*/ 1474307 h 1523340"/>
              <a:gd name="csX151" fmla="*/ 648494 w 763849"/>
              <a:gd name="csY151" fmla="*/ 1463981 h 152334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</a:cxnLst>
            <a:rect l="l" t="t" r="r" b="b"/>
            <a:pathLst>
              <a:path w="763849" h="1523340">
                <a:moveTo>
                  <a:pt x="703087" y="1241174"/>
                </a:moveTo>
                <a:cubicBezTo>
                  <a:pt x="732418" y="1276379"/>
                  <a:pt x="738825" y="1316526"/>
                  <a:pt x="732932" y="1359634"/>
                </a:cubicBezTo>
                <a:cubicBezTo>
                  <a:pt x="732067" y="1365959"/>
                  <a:pt x="732453" y="1371428"/>
                  <a:pt x="735544" y="1377287"/>
                </a:cubicBezTo>
                <a:cubicBezTo>
                  <a:pt x="748937" y="1402675"/>
                  <a:pt x="755318" y="1430010"/>
                  <a:pt x="756764" y="1458577"/>
                </a:cubicBezTo>
                <a:cubicBezTo>
                  <a:pt x="756887" y="1461031"/>
                  <a:pt x="756895" y="1463494"/>
                  <a:pt x="757108" y="1465940"/>
                </a:cubicBezTo>
                <a:cubicBezTo>
                  <a:pt x="758375" y="1480486"/>
                  <a:pt x="757802" y="1482498"/>
                  <a:pt x="744215" y="1488332"/>
                </a:cubicBezTo>
                <a:cubicBezTo>
                  <a:pt x="734126" y="1492664"/>
                  <a:pt x="723536" y="1496562"/>
                  <a:pt x="712781" y="1498472"/>
                </a:cubicBezTo>
                <a:cubicBezTo>
                  <a:pt x="683814" y="1503617"/>
                  <a:pt x="654674" y="1507832"/>
                  <a:pt x="625540" y="1511981"/>
                </a:cubicBezTo>
                <a:cubicBezTo>
                  <a:pt x="580114" y="1518449"/>
                  <a:pt x="534395" y="1521481"/>
                  <a:pt x="488540" y="1522029"/>
                </a:cubicBezTo>
                <a:cubicBezTo>
                  <a:pt x="427958" y="1522752"/>
                  <a:pt x="367367" y="1523658"/>
                  <a:pt x="306789" y="1523231"/>
                </a:cubicBezTo>
                <a:cubicBezTo>
                  <a:pt x="271215" y="1522980"/>
                  <a:pt x="235625" y="1520833"/>
                  <a:pt x="200103" y="1518579"/>
                </a:cubicBezTo>
                <a:cubicBezTo>
                  <a:pt x="143289" y="1514974"/>
                  <a:pt x="86915" y="1507766"/>
                  <a:pt x="31607" y="1493880"/>
                </a:cubicBezTo>
                <a:cubicBezTo>
                  <a:pt x="22666" y="1491635"/>
                  <a:pt x="14297" y="1486920"/>
                  <a:pt x="5860" y="1482933"/>
                </a:cubicBezTo>
                <a:cubicBezTo>
                  <a:pt x="1433" y="1480841"/>
                  <a:pt x="-262" y="1476934"/>
                  <a:pt x="32" y="1471774"/>
                </a:cubicBezTo>
                <a:cubicBezTo>
                  <a:pt x="1880" y="1439401"/>
                  <a:pt x="3993" y="1407192"/>
                  <a:pt x="21295" y="1378237"/>
                </a:cubicBezTo>
                <a:cubicBezTo>
                  <a:pt x="23526" y="1374504"/>
                  <a:pt x="23666" y="1368858"/>
                  <a:pt x="23169" y="1364271"/>
                </a:cubicBezTo>
                <a:cubicBezTo>
                  <a:pt x="20957" y="1343833"/>
                  <a:pt x="20482" y="1323540"/>
                  <a:pt x="23871" y="1303132"/>
                </a:cubicBezTo>
                <a:cubicBezTo>
                  <a:pt x="28332" y="1276267"/>
                  <a:pt x="41045" y="1253887"/>
                  <a:pt x="59740" y="1234649"/>
                </a:cubicBezTo>
                <a:cubicBezTo>
                  <a:pt x="72582" y="1221434"/>
                  <a:pt x="85657" y="1208434"/>
                  <a:pt x="98899" y="1195619"/>
                </a:cubicBezTo>
                <a:cubicBezTo>
                  <a:pt x="118216" y="1176926"/>
                  <a:pt x="130484" y="1154702"/>
                  <a:pt x="131493" y="1127593"/>
                </a:cubicBezTo>
                <a:cubicBezTo>
                  <a:pt x="132448" y="1101948"/>
                  <a:pt x="127125" y="1077868"/>
                  <a:pt x="108213" y="1058723"/>
                </a:cubicBezTo>
                <a:cubicBezTo>
                  <a:pt x="97010" y="1047381"/>
                  <a:pt x="85438" y="1036399"/>
                  <a:pt x="74370" y="1024929"/>
                </a:cubicBezTo>
                <a:cubicBezTo>
                  <a:pt x="63868" y="1014043"/>
                  <a:pt x="62267" y="1001475"/>
                  <a:pt x="68137" y="987550"/>
                </a:cubicBezTo>
                <a:cubicBezTo>
                  <a:pt x="74493" y="972473"/>
                  <a:pt x="80703" y="957319"/>
                  <a:pt x="86420" y="941991"/>
                </a:cubicBezTo>
                <a:cubicBezTo>
                  <a:pt x="100218" y="905001"/>
                  <a:pt x="99441" y="866690"/>
                  <a:pt x="97082" y="828037"/>
                </a:cubicBezTo>
                <a:cubicBezTo>
                  <a:pt x="94260" y="781809"/>
                  <a:pt x="76370" y="739899"/>
                  <a:pt x="61782" y="696973"/>
                </a:cubicBezTo>
                <a:cubicBezTo>
                  <a:pt x="45282" y="648419"/>
                  <a:pt x="33285" y="598770"/>
                  <a:pt x="26901" y="547868"/>
                </a:cubicBezTo>
                <a:cubicBezTo>
                  <a:pt x="24054" y="525160"/>
                  <a:pt x="21110" y="502364"/>
                  <a:pt x="20221" y="479529"/>
                </a:cubicBezTo>
                <a:cubicBezTo>
                  <a:pt x="18293" y="430013"/>
                  <a:pt x="26126" y="381610"/>
                  <a:pt x="40808" y="334388"/>
                </a:cubicBezTo>
                <a:cubicBezTo>
                  <a:pt x="48208" y="310588"/>
                  <a:pt x="55162" y="286441"/>
                  <a:pt x="65171" y="263707"/>
                </a:cubicBezTo>
                <a:cubicBezTo>
                  <a:pt x="81946" y="225606"/>
                  <a:pt x="106517" y="193071"/>
                  <a:pt x="142827" y="171003"/>
                </a:cubicBezTo>
                <a:cubicBezTo>
                  <a:pt x="152238" y="165283"/>
                  <a:pt x="162401" y="160787"/>
                  <a:pt x="172290" y="155872"/>
                </a:cubicBezTo>
                <a:cubicBezTo>
                  <a:pt x="177784" y="153142"/>
                  <a:pt x="183393" y="150635"/>
                  <a:pt x="189008" y="148158"/>
                </a:cubicBezTo>
                <a:cubicBezTo>
                  <a:pt x="199487" y="143534"/>
                  <a:pt x="207598" y="136426"/>
                  <a:pt x="212828" y="126123"/>
                </a:cubicBezTo>
                <a:cubicBezTo>
                  <a:pt x="214121" y="123575"/>
                  <a:pt x="215966" y="121304"/>
                  <a:pt x="217217" y="118740"/>
                </a:cubicBezTo>
                <a:cubicBezTo>
                  <a:pt x="224688" y="103433"/>
                  <a:pt x="237053" y="93440"/>
                  <a:pt x="253000" y="88998"/>
                </a:cubicBezTo>
                <a:cubicBezTo>
                  <a:pt x="275818" y="82642"/>
                  <a:pt x="299033" y="77711"/>
                  <a:pt x="322085" y="72193"/>
                </a:cubicBezTo>
                <a:cubicBezTo>
                  <a:pt x="324867" y="71527"/>
                  <a:pt x="327694" y="71045"/>
                  <a:pt x="330478" y="70387"/>
                </a:cubicBezTo>
                <a:cubicBezTo>
                  <a:pt x="364731" y="62297"/>
                  <a:pt x="364569" y="62151"/>
                  <a:pt x="388016" y="35457"/>
                </a:cubicBezTo>
                <a:cubicBezTo>
                  <a:pt x="398189" y="23875"/>
                  <a:pt x="409180" y="13010"/>
                  <a:pt x="421527" y="0"/>
                </a:cubicBezTo>
                <a:cubicBezTo>
                  <a:pt x="423000" y="5190"/>
                  <a:pt x="424219" y="7961"/>
                  <a:pt x="424538" y="10833"/>
                </a:cubicBezTo>
                <a:cubicBezTo>
                  <a:pt x="428638" y="47817"/>
                  <a:pt x="433030" y="84779"/>
                  <a:pt x="436339" y="121836"/>
                </a:cubicBezTo>
                <a:cubicBezTo>
                  <a:pt x="437236" y="131893"/>
                  <a:pt x="441545" y="137271"/>
                  <a:pt x="449983" y="141450"/>
                </a:cubicBezTo>
                <a:cubicBezTo>
                  <a:pt x="467954" y="150348"/>
                  <a:pt x="486187" y="158915"/>
                  <a:pt x="503299" y="169290"/>
                </a:cubicBezTo>
                <a:cubicBezTo>
                  <a:pt x="520041" y="179441"/>
                  <a:pt x="535883" y="191197"/>
                  <a:pt x="551461" y="203111"/>
                </a:cubicBezTo>
                <a:cubicBezTo>
                  <a:pt x="568416" y="216079"/>
                  <a:pt x="579195" y="234146"/>
                  <a:pt x="588803" y="252797"/>
                </a:cubicBezTo>
                <a:cubicBezTo>
                  <a:pt x="602134" y="278677"/>
                  <a:pt x="616556" y="303835"/>
                  <a:pt x="634209" y="327081"/>
                </a:cubicBezTo>
                <a:cubicBezTo>
                  <a:pt x="651797" y="350241"/>
                  <a:pt x="673980" y="368103"/>
                  <a:pt x="697923" y="384157"/>
                </a:cubicBezTo>
                <a:cubicBezTo>
                  <a:pt x="708787" y="391441"/>
                  <a:pt x="719007" y="399678"/>
                  <a:pt x="729658" y="407288"/>
                </a:cubicBezTo>
                <a:cubicBezTo>
                  <a:pt x="751657" y="423004"/>
                  <a:pt x="761259" y="445265"/>
                  <a:pt x="763354" y="471325"/>
                </a:cubicBezTo>
                <a:cubicBezTo>
                  <a:pt x="764877" y="490275"/>
                  <a:pt x="762919" y="509064"/>
                  <a:pt x="757092" y="527116"/>
                </a:cubicBezTo>
                <a:cubicBezTo>
                  <a:pt x="750932" y="546198"/>
                  <a:pt x="738296" y="560266"/>
                  <a:pt x="720673" y="570023"/>
                </a:cubicBezTo>
                <a:cubicBezTo>
                  <a:pt x="715048" y="573138"/>
                  <a:pt x="709487" y="576825"/>
                  <a:pt x="704918" y="581294"/>
                </a:cubicBezTo>
                <a:cubicBezTo>
                  <a:pt x="695625" y="590383"/>
                  <a:pt x="684728" y="595697"/>
                  <a:pt x="671960" y="595325"/>
                </a:cubicBezTo>
                <a:cubicBezTo>
                  <a:pt x="658939" y="594945"/>
                  <a:pt x="645743" y="594018"/>
                  <a:pt x="633021" y="591397"/>
                </a:cubicBezTo>
                <a:cubicBezTo>
                  <a:pt x="611233" y="586907"/>
                  <a:pt x="595034" y="572939"/>
                  <a:pt x="580696" y="556742"/>
                </a:cubicBezTo>
                <a:cubicBezTo>
                  <a:pt x="570081" y="544750"/>
                  <a:pt x="559052" y="533306"/>
                  <a:pt x="545415" y="524617"/>
                </a:cubicBezTo>
                <a:cubicBezTo>
                  <a:pt x="537261" y="519422"/>
                  <a:pt x="528551" y="515996"/>
                  <a:pt x="518889" y="516179"/>
                </a:cubicBezTo>
                <a:cubicBezTo>
                  <a:pt x="503357" y="516473"/>
                  <a:pt x="487839" y="517663"/>
                  <a:pt x="472309" y="517812"/>
                </a:cubicBezTo>
                <a:cubicBezTo>
                  <a:pt x="453527" y="517993"/>
                  <a:pt x="434738" y="517514"/>
                  <a:pt x="415953" y="517245"/>
                </a:cubicBezTo>
                <a:cubicBezTo>
                  <a:pt x="411976" y="517189"/>
                  <a:pt x="408003" y="516808"/>
                  <a:pt x="403392" y="516539"/>
                </a:cubicBezTo>
                <a:cubicBezTo>
                  <a:pt x="401207" y="526363"/>
                  <a:pt x="404857" y="534293"/>
                  <a:pt x="407957" y="542045"/>
                </a:cubicBezTo>
                <a:cubicBezTo>
                  <a:pt x="414092" y="557387"/>
                  <a:pt x="423168" y="571042"/>
                  <a:pt x="434134" y="583349"/>
                </a:cubicBezTo>
                <a:cubicBezTo>
                  <a:pt x="464083" y="616959"/>
                  <a:pt x="493980" y="650618"/>
                  <a:pt x="524267" y="683922"/>
                </a:cubicBezTo>
                <a:cubicBezTo>
                  <a:pt x="554818" y="717518"/>
                  <a:pt x="588291" y="748619"/>
                  <a:pt x="614317" y="786085"/>
                </a:cubicBezTo>
                <a:cubicBezTo>
                  <a:pt x="642656" y="826881"/>
                  <a:pt x="663974" y="871159"/>
                  <a:pt x="669590" y="921089"/>
                </a:cubicBezTo>
                <a:cubicBezTo>
                  <a:pt x="674894" y="968240"/>
                  <a:pt x="669774" y="1014226"/>
                  <a:pt x="647360" y="1057245"/>
                </a:cubicBezTo>
                <a:cubicBezTo>
                  <a:pt x="639830" y="1071697"/>
                  <a:pt x="630533" y="1085565"/>
                  <a:pt x="627872" y="1102111"/>
                </a:cubicBezTo>
                <a:cubicBezTo>
                  <a:pt x="623640" y="1128439"/>
                  <a:pt x="626183" y="1153784"/>
                  <a:pt x="642300" y="1175941"/>
                </a:cubicBezTo>
                <a:cubicBezTo>
                  <a:pt x="650201" y="1186801"/>
                  <a:pt x="659595" y="1196636"/>
                  <a:pt x="668829" y="1206449"/>
                </a:cubicBezTo>
                <a:cubicBezTo>
                  <a:pt x="679770" y="1218075"/>
                  <a:pt x="691267" y="1229177"/>
                  <a:pt x="703087" y="1241174"/>
                </a:cubicBezTo>
                <a:moveTo>
                  <a:pt x="648750" y="562343"/>
                </a:moveTo>
                <a:cubicBezTo>
                  <a:pt x="656729" y="562558"/>
                  <a:pt x="664698" y="567407"/>
                  <a:pt x="674049" y="562834"/>
                </a:cubicBezTo>
                <a:cubicBezTo>
                  <a:pt x="668990" y="558037"/>
                  <a:pt x="664729" y="554259"/>
                  <a:pt x="660781" y="550178"/>
                </a:cubicBezTo>
                <a:cubicBezTo>
                  <a:pt x="656713" y="545973"/>
                  <a:pt x="651493" y="542363"/>
                  <a:pt x="650911" y="534051"/>
                </a:cubicBezTo>
                <a:cubicBezTo>
                  <a:pt x="654940" y="535536"/>
                  <a:pt x="657753" y="536907"/>
                  <a:pt x="660724" y="537605"/>
                </a:cubicBezTo>
                <a:cubicBezTo>
                  <a:pt x="669824" y="539743"/>
                  <a:pt x="678915" y="542853"/>
                  <a:pt x="688133" y="543363"/>
                </a:cubicBezTo>
                <a:cubicBezTo>
                  <a:pt x="712019" y="544686"/>
                  <a:pt x="726964" y="534053"/>
                  <a:pt x="731514" y="510767"/>
                </a:cubicBezTo>
                <a:cubicBezTo>
                  <a:pt x="734296" y="496535"/>
                  <a:pt x="734146" y="481511"/>
                  <a:pt x="733611" y="466905"/>
                </a:cubicBezTo>
                <a:cubicBezTo>
                  <a:pt x="732951" y="448863"/>
                  <a:pt x="723348" y="435653"/>
                  <a:pt x="708076" y="425975"/>
                </a:cubicBezTo>
                <a:cubicBezTo>
                  <a:pt x="694258" y="417218"/>
                  <a:pt x="681056" y="407489"/>
                  <a:pt x="667538" y="398254"/>
                </a:cubicBezTo>
                <a:cubicBezTo>
                  <a:pt x="641278" y="380314"/>
                  <a:pt x="617580" y="359743"/>
                  <a:pt x="601016" y="332127"/>
                </a:cubicBezTo>
                <a:cubicBezTo>
                  <a:pt x="588810" y="311778"/>
                  <a:pt x="576093" y="291645"/>
                  <a:pt x="565354" y="270526"/>
                </a:cubicBezTo>
                <a:cubicBezTo>
                  <a:pt x="548401" y="237186"/>
                  <a:pt x="523821" y="212104"/>
                  <a:pt x="490657" y="195121"/>
                </a:cubicBezTo>
                <a:cubicBezTo>
                  <a:pt x="471346" y="185231"/>
                  <a:pt x="452394" y="174606"/>
                  <a:pt x="432834" y="165243"/>
                </a:cubicBezTo>
                <a:cubicBezTo>
                  <a:pt x="416725" y="157532"/>
                  <a:pt x="408325" y="145526"/>
                  <a:pt x="407594" y="127852"/>
                </a:cubicBezTo>
                <a:cubicBezTo>
                  <a:pt x="406783" y="108242"/>
                  <a:pt x="405935" y="88634"/>
                  <a:pt x="405020" y="69029"/>
                </a:cubicBezTo>
                <a:cubicBezTo>
                  <a:pt x="404882" y="66067"/>
                  <a:pt x="404287" y="63127"/>
                  <a:pt x="403638" y="58130"/>
                </a:cubicBezTo>
                <a:cubicBezTo>
                  <a:pt x="381792" y="82321"/>
                  <a:pt x="361650" y="104820"/>
                  <a:pt x="349776" y="133259"/>
                </a:cubicBezTo>
                <a:cubicBezTo>
                  <a:pt x="345032" y="144621"/>
                  <a:pt x="337822" y="153814"/>
                  <a:pt x="326975" y="159669"/>
                </a:cubicBezTo>
                <a:cubicBezTo>
                  <a:pt x="295461" y="176681"/>
                  <a:pt x="266610" y="197333"/>
                  <a:pt x="240374" y="221714"/>
                </a:cubicBezTo>
                <a:cubicBezTo>
                  <a:pt x="212881" y="247263"/>
                  <a:pt x="188313" y="275340"/>
                  <a:pt x="171637" y="309087"/>
                </a:cubicBezTo>
                <a:cubicBezTo>
                  <a:pt x="139180" y="374765"/>
                  <a:pt x="129692" y="444532"/>
                  <a:pt x="138048" y="516954"/>
                </a:cubicBezTo>
                <a:cubicBezTo>
                  <a:pt x="142936" y="559318"/>
                  <a:pt x="152518" y="600762"/>
                  <a:pt x="163889" y="641780"/>
                </a:cubicBezTo>
                <a:cubicBezTo>
                  <a:pt x="177329" y="690261"/>
                  <a:pt x="191989" y="738413"/>
                  <a:pt x="204800" y="787055"/>
                </a:cubicBezTo>
                <a:cubicBezTo>
                  <a:pt x="218820" y="840287"/>
                  <a:pt x="228587" y="894088"/>
                  <a:pt x="218549" y="949545"/>
                </a:cubicBezTo>
                <a:cubicBezTo>
                  <a:pt x="213279" y="978659"/>
                  <a:pt x="207130" y="1007359"/>
                  <a:pt x="191487" y="1033064"/>
                </a:cubicBezTo>
                <a:cubicBezTo>
                  <a:pt x="190499" y="1034686"/>
                  <a:pt x="190018" y="1036618"/>
                  <a:pt x="188729" y="1039835"/>
                </a:cubicBezTo>
                <a:cubicBezTo>
                  <a:pt x="200470" y="1040170"/>
                  <a:pt x="210952" y="1040298"/>
                  <a:pt x="221417" y="1040799"/>
                </a:cubicBezTo>
                <a:cubicBezTo>
                  <a:pt x="263912" y="1042835"/>
                  <a:pt x="306390" y="1046436"/>
                  <a:pt x="348895" y="1046759"/>
                </a:cubicBezTo>
                <a:cubicBezTo>
                  <a:pt x="414380" y="1047258"/>
                  <a:pt x="479896" y="1046092"/>
                  <a:pt x="545369" y="1044456"/>
                </a:cubicBezTo>
                <a:cubicBezTo>
                  <a:pt x="567764" y="1043897"/>
                  <a:pt x="590066" y="1039744"/>
                  <a:pt x="612424" y="1037365"/>
                </a:cubicBezTo>
                <a:cubicBezTo>
                  <a:pt x="617948" y="1036777"/>
                  <a:pt x="621342" y="1034139"/>
                  <a:pt x="623169" y="1028873"/>
                </a:cubicBezTo>
                <a:cubicBezTo>
                  <a:pt x="630975" y="1006370"/>
                  <a:pt x="637026" y="983472"/>
                  <a:pt x="638508" y="959599"/>
                </a:cubicBezTo>
                <a:cubicBezTo>
                  <a:pt x="641131" y="917363"/>
                  <a:pt x="628970" y="878727"/>
                  <a:pt x="609213" y="842075"/>
                </a:cubicBezTo>
                <a:cubicBezTo>
                  <a:pt x="587874" y="802491"/>
                  <a:pt x="559403" y="768169"/>
                  <a:pt x="529367" y="735065"/>
                </a:cubicBezTo>
                <a:cubicBezTo>
                  <a:pt x="487563" y="688992"/>
                  <a:pt x="445474" y="643176"/>
                  <a:pt x="403792" y="596993"/>
                </a:cubicBezTo>
                <a:cubicBezTo>
                  <a:pt x="380393" y="571066"/>
                  <a:pt x="360083" y="542922"/>
                  <a:pt x="344708" y="511366"/>
                </a:cubicBezTo>
                <a:cubicBezTo>
                  <a:pt x="324385" y="469655"/>
                  <a:pt x="317321" y="425966"/>
                  <a:pt x="324464" y="380084"/>
                </a:cubicBezTo>
                <a:cubicBezTo>
                  <a:pt x="324821" y="377789"/>
                  <a:pt x="326581" y="375713"/>
                  <a:pt x="327688" y="373535"/>
                </a:cubicBezTo>
                <a:cubicBezTo>
                  <a:pt x="328570" y="373570"/>
                  <a:pt x="329452" y="373606"/>
                  <a:pt x="330334" y="373641"/>
                </a:cubicBezTo>
                <a:cubicBezTo>
                  <a:pt x="331649" y="377308"/>
                  <a:pt x="333001" y="380963"/>
                  <a:pt x="334272" y="384645"/>
                </a:cubicBezTo>
                <a:cubicBezTo>
                  <a:pt x="342569" y="408660"/>
                  <a:pt x="351164" y="432573"/>
                  <a:pt x="365260" y="453955"/>
                </a:cubicBezTo>
                <a:cubicBezTo>
                  <a:pt x="375537" y="469544"/>
                  <a:pt x="388811" y="481767"/>
                  <a:pt x="408246" y="483592"/>
                </a:cubicBezTo>
                <a:cubicBezTo>
                  <a:pt x="426928" y="485346"/>
                  <a:pt x="445757" y="486037"/>
                  <a:pt x="464529" y="486187"/>
                </a:cubicBezTo>
                <a:cubicBezTo>
                  <a:pt x="480053" y="486311"/>
                  <a:pt x="495582" y="484792"/>
                  <a:pt x="511119" y="484308"/>
                </a:cubicBezTo>
                <a:cubicBezTo>
                  <a:pt x="532443" y="483644"/>
                  <a:pt x="551690" y="490014"/>
                  <a:pt x="567913" y="503736"/>
                </a:cubicBezTo>
                <a:cubicBezTo>
                  <a:pt x="581642" y="515348"/>
                  <a:pt x="594604" y="527888"/>
                  <a:pt x="607611" y="540326"/>
                </a:cubicBezTo>
                <a:cubicBezTo>
                  <a:pt x="618811" y="551038"/>
                  <a:pt x="631177" y="559300"/>
                  <a:pt x="648750" y="562343"/>
                </a:cubicBezTo>
                <a:moveTo>
                  <a:pt x="462594" y="1369008"/>
                </a:moveTo>
                <a:cubicBezTo>
                  <a:pt x="478517" y="1368137"/>
                  <a:pt x="494449" y="1367429"/>
                  <a:pt x="510357" y="1366345"/>
                </a:cubicBezTo>
                <a:cubicBezTo>
                  <a:pt x="523399" y="1365456"/>
                  <a:pt x="536424" y="1364247"/>
                  <a:pt x="549434" y="1362956"/>
                </a:cubicBezTo>
                <a:cubicBezTo>
                  <a:pt x="577089" y="1360213"/>
                  <a:pt x="604749" y="1357503"/>
                  <a:pt x="632369" y="1354439"/>
                </a:cubicBezTo>
                <a:cubicBezTo>
                  <a:pt x="653805" y="1352062"/>
                  <a:pt x="675183" y="1349170"/>
                  <a:pt x="697252" y="1346424"/>
                </a:cubicBezTo>
                <a:cubicBezTo>
                  <a:pt x="701148" y="1316348"/>
                  <a:pt x="695768" y="1289474"/>
                  <a:pt x="676674" y="1266396"/>
                </a:cubicBezTo>
                <a:cubicBezTo>
                  <a:pt x="667313" y="1255080"/>
                  <a:pt x="656878" y="1244625"/>
                  <a:pt x="646594" y="1234108"/>
                </a:cubicBezTo>
                <a:cubicBezTo>
                  <a:pt x="634298" y="1221533"/>
                  <a:pt x="621353" y="1209623"/>
                  <a:pt x="612063" y="1194382"/>
                </a:cubicBezTo>
                <a:cubicBezTo>
                  <a:pt x="596511" y="1168867"/>
                  <a:pt x="588079" y="1141707"/>
                  <a:pt x="591616" y="1111541"/>
                </a:cubicBezTo>
                <a:cubicBezTo>
                  <a:pt x="592450" y="1104432"/>
                  <a:pt x="593365" y="1097332"/>
                  <a:pt x="594320" y="1089609"/>
                </a:cubicBezTo>
                <a:cubicBezTo>
                  <a:pt x="588294" y="1089609"/>
                  <a:pt x="583452" y="1089392"/>
                  <a:pt x="578634" y="1089642"/>
                </a:cubicBezTo>
                <a:cubicBezTo>
                  <a:pt x="533732" y="1091976"/>
                  <a:pt x="488841" y="1094525"/>
                  <a:pt x="443931" y="1096700"/>
                </a:cubicBezTo>
                <a:cubicBezTo>
                  <a:pt x="430451" y="1097353"/>
                  <a:pt x="416923" y="1097005"/>
                  <a:pt x="403417" y="1097156"/>
                </a:cubicBezTo>
                <a:cubicBezTo>
                  <a:pt x="389337" y="1097313"/>
                  <a:pt x="388961" y="1097850"/>
                  <a:pt x="388348" y="1111502"/>
                </a:cubicBezTo>
                <a:cubicBezTo>
                  <a:pt x="387375" y="1133151"/>
                  <a:pt x="386231" y="1154793"/>
                  <a:pt x="385048" y="1176431"/>
                </a:cubicBezTo>
                <a:cubicBezTo>
                  <a:pt x="382637" y="1220514"/>
                  <a:pt x="380158" y="1264593"/>
                  <a:pt x="377687" y="1308672"/>
                </a:cubicBezTo>
                <a:cubicBezTo>
                  <a:pt x="377458" y="1312751"/>
                  <a:pt x="376852" y="1316821"/>
                  <a:pt x="376823" y="1320897"/>
                </a:cubicBezTo>
                <a:cubicBezTo>
                  <a:pt x="376717" y="1335880"/>
                  <a:pt x="376781" y="1350864"/>
                  <a:pt x="376781" y="1366151"/>
                </a:cubicBezTo>
                <a:cubicBezTo>
                  <a:pt x="404707" y="1370397"/>
                  <a:pt x="432477" y="1369351"/>
                  <a:pt x="462594" y="1369008"/>
                </a:cubicBezTo>
                <a:moveTo>
                  <a:pt x="648494" y="1463981"/>
                </a:moveTo>
                <a:cubicBezTo>
                  <a:pt x="671329" y="1460052"/>
                  <a:pt x="694163" y="1456122"/>
                  <a:pt x="718746" y="1451892"/>
                </a:cubicBezTo>
                <a:cubicBezTo>
                  <a:pt x="716257" y="1439067"/>
                  <a:pt x="714578" y="1427816"/>
                  <a:pt x="711827" y="1416835"/>
                </a:cubicBezTo>
                <a:cubicBezTo>
                  <a:pt x="707611" y="1400009"/>
                  <a:pt x="703502" y="1397423"/>
                  <a:pt x="685812" y="1398502"/>
                </a:cubicBezTo>
                <a:cubicBezTo>
                  <a:pt x="684179" y="1398602"/>
                  <a:pt x="682547" y="1398768"/>
                  <a:pt x="680924" y="1398973"/>
                </a:cubicBezTo>
                <a:cubicBezTo>
                  <a:pt x="653380" y="1402446"/>
                  <a:pt x="625911" y="1406752"/>
                  <a:pt x="598278" y="1409218"/>
                </a:cubicBezTo>
                <a:cubicBezTo>
                  <a:pt x="557171" y="1412886"/>
                  <a:pt x="515983" y="1415946"/>
                  <a:pt x="474765" y="1417945"/>
                </a:cubicBezTo>
                <a:cubicBezTo>
                  <a:pt x="444944" y="1419391"/>
                  <a:pt x="415021" y="1418680"/>
                  <a:pt x="385143" y="1418978"/>
                </a:cubicBezTo>
                <a:cubicBezTo>
                  <a:pt x="382419" y="1419005"/>
                  <a:pt x="379697" y="1419376"/>
                  <a:pt x="376639" y="1419613"/>
                </a:cubicBezTo>
                <a:cubicBezTo>
                  <a:pt x="376639" y="1438152"/>
                  <a:pt x="376639" y="1455909"/>
                  <a:pt x="376639" y="1473939"/>
                </a:cubicBezTo>
                <a:cubicBezTo>
                  <a:pt x="378971" y="1474343"/>
                  <a:pt x="380523" y="1474802"/>
                  <a:pt x="382089" y="1474854"/>
                </a:cubicBezTo>
                <a:cubicBezTo>
                  <a:pt x="404571" y="1475605"/>
                  <a:pt x="427058" y="1476986"/>
                  <a:pt x="449536" y="1476855"/>
                </a:cubicBezTo>
                <a:cubicBezTo>
                  <a:pt x="486344" y="1476639"/>
                  <a:pt x="523207" y="1476480"/>
                  <a:pt x="559930" y="1474307"/>
                </a:cubicBezTo>
                <a:cubicBezTo>
                  <a:pt x="588839" y="1472596"/>
                  <a:pt x="617570" y="1467884"/>
                  <a:pt x="648494" y="1463981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7" name="Free-form: Shape 26">
            <a:extLst>
              <a:ext uri="{FF2B5EF4-FFF2-40B4-BE49-F238E27FC236}">
                <a16:creationId xmlns:a16="http://schemas.microsoft.com/office/drawing/2014/main" id="{E803697F-62C5-58AA-5B54-52E5C9C815C8}"/>
              </a:ext>
            </a:extLst>
          </p:cNvPr>
          <p:cNvSpPr/>
          <p:nvPr/>
        </p:nvSpPr>
        <p:spPr>
          <a:xfrm>
            <a:off x="14065048" y="1646067"/>
            <a:ext cx="497702" cy="821885"/>
          </a:xfrm>
          <a:custGeom>
            <a:avLst/>
            <a:gdLst>
              <a:gd name="csX0" fmla="*/ 512604 w 598747"/>
              <a:gd name="csY0" fmla="*/ 503918 h 988745"/>
              <a:gd name="csX1" fmla="*/ 472435 w 598747"/>
              <a:gd name="csY1" fmla="*/ 482196 h 988745"/>
              <a:gd name="csX2" fmla="*/ 432737 w 598747"/>
              <a:gd name="csY2" fmla="*/ 445605 h 988745"/>
              <a:gd name="csX3" fmla="*/ 375943 w 598747"/>
              <a:gd name="csY3" fmla="*/ 426178 h 988745"/>
              <a:gd name="csX4" fmla="*/ 329354 w 598747"/>
              <a:gd name="csY4" fmla="*/ 428057 h 988745"/>
              <a:gd name="csX5" fmla="*/ 273070 w 598747"/>
              <a:gd name="csY5" fmla="*/ 425461 h 988745"/>
              <a:gd name="csX6" fmla="*/ 230084 w 598747"/>
              <a:gd name="csY6" fmla="*/ 395825 h 988745"/>
              <a:gd name="csX7" fmla="*/ 199097 w 598747"/>
              <a:gd name="csY7" fmla="*/ 326515 h 988745"/>
              <a:gd name="csX8" fmla="*/ 195158 w 598747"/>
              <a:gd name="csY8" fmla="*/ 315511 h 988745"/>
              <a:gd name="csX9" fmla="*/ 192512 w 598747"/>
              <a:gd name="csY9" fmla="*/ 315405 h 988745"/>
              <a:gd name="csX10" fmla="*/ 189288 w 598747"/>
              <a:gd name="csY10" fmla="*/ 321954 h 988745"/>
              <a:gd name="csX11" fmla="*/ 209532 w 598747"/>
              <a:gd name="csY11" fmla="*/ 453235 h 988745"/>
              <a:gd name="csX12" fmla="*/ 268616 w 598747"/>
              <a:gd name="csY12" fmla="*/ 538863 h 988745"/>
              <a:gd name="csX13" fmla="*/ 394191 w 598747"/>
              <a:gd name="csY13" fmla="*/ 676935 h 988745"/>
              <a:gd name="csX14" fmla="*/ 474037 w 598747"/>
              <a:gd name="csY14" fmla="*/ 783945 h 988745"/>
              <a:gd name="csX15" fmla="*/ 503332 w 598747"/>
              <a:gd name="csY15" fmla="*/ 901469 h 988745"/>
              <a:gd name="csX16" fmla="*/ 487993 w 598747"/>
              <a:gd name="csY16" fmla="*/ 970743 h 988745"/>
              <a:gd name="csX17" fmla="*/ 477248 w 598747"/>
              <a:gd name="csY17" fmla="*/ 979235 h 988745"/>
              <a:gd name="csX18" fmla="*/ 410194 w 598747"/>
              <a:gd name="csY18" fmla="*/ 986326 h 988745"/>
              <a:gd name="csX19" fmla="*/ 213720 w 598747"/>
              <a:gd name="csY19" fmla="*/ 988629 h 988745"/>
              <a:gd name="csX20" fmla="*/ 86242 w 598747"/>
              <a:gd name="csY20" fmla="*/ 982669 h 988745"/>
              <a:gd name="csX21" fmla="*/ 53553 w 598747"/>
              <a:gd name="csY21" fmla="*/ 981705 h 988745"/>
              <a:gd name="csX22" fmla="*/ 56311 w 598747"/>
              <a:gd name="csY22" fmla="*/ 974933 h 988745"/>
              <a:gd name="csX23" fmla="*/ 83373 w 598747"/>
              <a:gd name="csY23" fmla="*/ 891414 h 988745"/>
              <a:gd name="csX24" fmla="*/ 69625 w 598747"/>
              <a:gd name="csY24" fmla="*/ 728925 h 988745"/>
              <a:gd name="csX25" fmla="*/ 28713 w 598747"/>
              <a:gd name="csY25" fmla="*/ 583650 h 988745"/>
              <a:gd name="csX26" fmla="*/ 2872 w 598747"/>
              <a:gd name="csY26" fmla="*/ 458823 h 988745"/>
              <a:gd name="csX27" fmla="*/ 36461 w 598747"/>
              <a:gd name="csY27" fmla="*/ 250957 h 988745"/>
              <a:gd name="csX28" fmla="*/ 105198 w 598747"/>
              <a:gd name="csY28" fmla="*/ 163584 h 988745"/>
              <a:gd name="csX29" fmla="*/ 191800 w 598747"/>
              <a:gd name="csY29" fmla="*/ 101539 h 988745"/>
              <a:gd name="csX30" fmla="*/ 214600 w 598747"/>
              <a:gd name="csY30" fmla="*/ 75129 h 988745"/>
              <a:gd name="csX31" fmla="*/ 268462 w 598747"/>
              <a:gd name="csY31" fmla="*/ 0 h 988745"/>
              <a:gd name="csX32" fmla="*/ 269844 w 598747"/>
              <a:gd name="csY32" fmla="*/ 10898 h 988745"/>
              <a:gd name="csX33" fmla="*/ 272418 w 598747"/>
              <a:gd name="csY33" fmla="*/ 69722 h 988745"/>
              <a:gd name="csX34" fmla="*/ 297658 w 598747"/>
              <a:gd name="csY34" fmla="*/ 107113 h 988745"/>
              <a:gd name="csX35" fmla="*/ 355481 w 598747"/>
              <a:gd name="csY35" fmla="*/ 136991 h 988745"/>
              <a:gd name="csX36" fmla="*/ 430178 w 598747"/>
              <a:gd name="csY36" fmla="*/ 212396 h 988745"/>
              <a:gd name="csX37" fmla="*/ 465840 w 598747"/>
              <a:gd name="csY37" fmla="*/ 273997 h 988745"/>
              <a:gd name="csX38" fmla="*/ 532362 w 598747"/>
              <a:gd name="csY38" fmla="*/ 340124 h 988745"/>
              <a:gd name="csX39" fmla="*/ 572901 w 598747"/>
              <a:gd name="csY39" fmla="*/ 367845 h 988745"/>
              <a:gd name="csX40" fmla="*/ 598436 w 598747"/>
              <a:gd name="csY40" fmla="*/ 408775 h 988745"/>
              <a:gd name="csX41" fmla="*/ 596339 w 598747"/>
              <a:gd name="csY41" fmla="*/ 452637 h 988745"/>
              <a:gd name="csX42" fmla="*/ 552957 w 598747"/>
              <a:gd name="csY42" fmla="*/ 485233 h 988745"/>
              <a:gd name="csX43" fmla="*/ 525548 w 598747"/>
              <a:gd name="csY43" fmla="*/ 479475 h 988745"/>
              <a:gd name="csX44" fmla="*/ 515736 w 598747"/>
              <a:gd name="csY44" fmla="*/ 475921 h 988745"/>
              <a:gd name="csX45" fmla="*/ 525605 w 598747"/>
              <a:gd name="csY45" fmla="*/ 492048 h 988745"/>
              <a:gd name="csX46" fmla="*/ 538873 w 598747"/>
              <a:gd name="csY46" fmla="*/ 504704 h 988745"/>
              <a:gd name="csX47" fmla="*/ 512604 w 598747"/>
              <a:gd name="csY47" fmla="*/ 503918 h 988745"/>
              <a:gd name="csX48" fmla="*/ 332072 w 598747"/>
              <a:gd name="csY48" fmla="*/ 218143 h 988745"/>
              <a:gd name="csX49" fmla="*/ 334388 w 598747"/>
              <a:gd name="csY49" fmla="*/ 226400 h 988745"/>
              <a:gd name="csX50" fmla="*/ 372370 w 598747"/>
              <a:gd name="csY50" fmla="*/ 254505 h 988745"/>
              <a:gd name="csX51" fmla="*/ 405258 w 598747"/>
              <a:gd name="csY51" fmla="*/ 252089 h 988745"/>
              <a:gd name="csX52" fmla="*/ 409167 w 598747"/>
              <a:gd name="csY52" fmla="*/ 244359 h 988745"/>
              <a:gd name="csX53" fmla="*/ 396364 w 598747"/>
              <a:gd name="csY53" fmla="*/ 219471 h 988745"/>
              <a:gd name="csX54" fmla="*/ 365755 w 598747"/>
              <a:gd name="csY54" fmla="*/ 195821 h 988745"/>
              <a:gd name="csX55" fmla="*/ 333572 w 598747"/>
              <a:gd name="csY55" fmla="*/ 188536 h 988745"/>
              <a:gd name="csX56" fmla="*/ 322931 w 598747"/>
              <a:gd name="csY56" fmla="*/ 190843 h 988745"/>
              <a:gd name="csX57" fmla="*/ 329041 w 598747"/>
              <a:gd name="csY57" fmla="*/ 203001 h 988745"/>
              <a:gd name="csX58" fmla="*/ 332072 w 598747"/>
              <a:gd name="csY58" fmla="*/ 218143 h 98874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</a:cxnLst>
            <a:rect l="l" t="t" r="r" b="b"/>
            <a:pathLst>
              <a:path w="598747" h="988745">
                <a:moveTo>
                  <a:pt x="512604" y="503918"/>
                </a:moveTo>
                <a:cubicBezTo>
                  <a:pt x="496002" y="501170"/>
                  <a:pt x="483635" y="492907"/>
                  <a:pt x="472435" y="482196"/>
                </a:cubicBezTo>
                <a:cubicBezTo>
                  <a:pt x="459429" y="469758"/>
                  <a:pt x="446467" y="457218"/>
                  <a:pt x="432737" y="445605"/>
                </a:cubicBezTo>
                <a:cubicBezTo>
                  <a:pt x="416514" y="431883"/>
                  <a:pt x="397267" y="425513"/>
                  <a:pt x="375943" y="426178"/>
                </a:cubicBezTo>
                <a:cubicBezTo>
                  <a:pt x="360407" y="426662"/>
                  <a:pt x="344877" y="428180"/>
                  <a:pt x="329354" y="428057"/>
                </a:cubicBezTo>
                <a:cubicBezTo>
                  <a:pt x="310581" y="427907"/>
                  <a:pt x="291752" y="427215"/>
                  <a:pt x="273070" y="425461"/>
                </a:cubicBezTo>
                <a:cubicBezTo>
                  <a:pt x="253636" y="423637"/>
                  <a:pt x="240361" y="411413"/>
                  <a:pt x="230084" y="395825"/>
                </a:cubicBezTo>
                <a:cubicBezTo>
                  <a:pt x="215988" y="374443"/>
                  <a:pt x="207393" y="350530"/>
                  <a:pt x="199097" y="326515"/>
                </a:cubicBezTo>
                <a:cubicBezTo>
                  <a:pt x="197825" y="322833"/>
                  <a:pt x="196473" y="319178"/>
                  <a:pt x="195158" y="315511"/>
                </a:cubicBezTo>
                <a:cubicBezTo>
                  <a:pt x="194276" y="315475"/>
                  <a:pt x="193394" y="315440"/>
                  <a:pt x="192512" y="315405"/>
                </a:cubicBezTo>
                <a:cubicBezTo>
                  <a:pt x="191405" y="317583"/>
                  <a:pt x="189646" y="319659"/>
                  <a:pt x="189288" y="321954"/>
                </a:cubicBezTo>
                <a:cubicBezTo>
                  <a:pt x="182145" y="367836"/>
                  <a:pt x="189209" y="411525"/>
                  <a:pt x="209532" y="453235"/>
                </a:cubicBezTo>
                <a:cubicBezTo>
                  <a:pt x="224908" y="484792"/>
                  <a:pt x="245217" y="512936"/>
                  <a:pt x="268616" y="538863"/>
                </a:cubicBezTo>
                <a:cubicBezTo>
                  <a:pt x="310298" y="585046"/>
                  <a:pt x="352387" y="630861"/>
                  <a:pt x="394191" y="676935"/>
                </a:cubicBezTo>
                <a:cubicBezTo>
                  <a:pt x="424227" y="710039"/>
                  <a:pt x="452698" y="744360"/>
                  <a:pt x="474037" y="783945"/>
                </a:cubicBezTo>
                <a:cubicBezTo>
                  <a:pt x="493795" y="820596"/>
                  <a:pt x="505956" y="859233"/>
                  <a:pt x="503332" y="901469"/>
                </a:cubicBezTo>
                <a:cubicBezTo>
                  <a:pt x="501850" y="925342"/>
                  <a:pt x="495799" y="948239"/>
                  <a:pt x="487993" y="970743"/>
                </a:cubicBezTo>
                <a:cubicBezTo>
                  <a:pt x="486166" y="976009"/>
                  <a:pt x="482772" y="978647"/>
                  <a:pt x="477248" y="979235"/>
                </a:cubicBezTo>
                <a:cubicBezTo>
                  <a:pt x="454890" y="981614"/>
                  <a:pt x="432589" y="985767"/>
                  <a:pt x="410194" y="986326"/>
                </a:cubicBezTo>
                <a:cubicBezTo>
                  <a:pt x="344720" y="987961"/>
                  <a:pt x="279205" y="989128"/>
                  <a:pt x="213720" y="988629"/>
                </a:cubicBezTo>
                <a:cubicBezTo>
                  <a:pt x="171215" y="988306"/>
                  <a:pt x="128736" y="984705"/>
                  <a:pt x="86242" y="982669"/>
                </a:cubicBezTo>
                <a:cubicBezTo>
                  <a:pt x="75776" y="982167"/>
                  <a:pt x="65294" y="982040"/>
                  <a:pt x="53553" y="981705"/>
                </a:cubicBezTo>
                <a:cubicBezTo>
                  <a:pt x="54842" y="978488"/>
                  <a:pt x="55323" y="976556"/>
                  <a:pt x="56311" y="974933"/>
                </a:cubicBezTo>
                <a:cubicBezTo>
                  <a:pt x="71955" y="949229"/>
                  <a:pt x="78103" y="920529"/>
                  <a:pt x="83373" y="891414"/>
                </a:cubicBezTo>
                <a:cubicBezTo>
                  <a:pt x="93411" y="835958"/>
                  <a:pt x="83645" y="782156"/>
                  <a:pt x="69625" y="728925"/>
                </a:cubicBezTo>
                <a:cubicBezTo>
                  <a:pt x="56813" y="680283"/>
                  <a:pt x="42153" y="632130"/>
                  <a:pt x="28713" y="583650"/>
                </a:cubicBezTo>
                <a:cubicBezTo>
                  <a:pt x="17342" y="542631"/>
                  <a:pt x="7760" y="501188"/>
                  <a:pt x="2872" y="458823"/>
                </a:cubicBezTo>
                <a:cubicBezTo>
                  <a:pt x="-5484" y="386401"/>
                  <a:pt x="4005" y="316635"/>
                  <a:pt x="36461" y="250957"/>
                </a:cubicBezTo>
                <a:cubicBezTo>
                  <a:pt x="53137" y="217210"/>
                  <a:pt x="77705" y="189133"/>
                  <a:pt x="105198" y="163584"/>
                </a:cubicBezTo>
                <a:cubicBezTo>
                  <a:pt x="131434" y="139203"/>
                  <a:pt x="160285" y="118551"/>
                  <a:pt x="191800" y="101539"/>
                </a:cubicBezTo>
                <a:cubicBezTo>
                  <a:pt x="202646" y="95684"/>
                  <a:pt x="209856" y="86491"/>
                  <a:pt x="214600" y="75129"/>
                </a:cubicBezTo>
                <a:cubicBezTo>
                  <a:pt x="226474" y="46689"/>
                  <a:pt x="246616" y="24191"/>
                  <a:pt x="268462" y="0"/>
                </a:cubicBezTo>
                <a:cubicBezTo>
                  <a:pt x="269111" y="4997"/>
                  <a:pt x="269706" y="7937"/>
                  <a:pt x="269844" y="10898"/>
                </a:cubicBezTo>
                <a:cubicBezTo>
                  <a:pt x="270760" y="30504"/>
                  <a:pt x="271607" y="50112"/>
                  <a:pt x="272418" y="69722"/>
                </a:cubicBezTo>
                <a:cubicBezTo>
                  <a:pt x="273150" y="87396"/>
                  <a:pt x="281549" y="99401"/>
                  <a:pt x="297658" y="107113"/>
                </a:cubicBezTo>
                <a:cubicBezTo>
                  <a:pt x="317218" y="116476"/>
                  <a:pt x="336170" y="127101"/>
                  <a:pt x="355481" y="136991"/>
                </a:cubicBezTo>
                <a:cubicBezTo>
                  <a:pt x="388645" y="153974"/>
                  <a:pt x="413226" y="179056"/>
                  <a:pt x="430178" y="212396"/>
                </a:cubicBezTo>
                <a:cubicBezTo>
                  <a:pt x="440917" y="233515"/>
                  <a:pt x="453634" y="253647"/>
                  <a:pt x="465840" y="273997"/>
                </a:cubicBezTo>
                <a:cubicBezTo>
                  <a:pt x="482404" y="301613"/>
                  <a:pt x="506102" y="322183"/>
                  <a:pt x="532362" y="340124"/>
                </a:cubicBezTo>
                <a:cubicBezTo>
                  <a:pt x="545881" y="349359"/>
                  <a:pt x="559082" y="359088"/>
                  <a:pt x="572901" y="367845"/>
                </a:cubicBezTo>
                <a:cubicBezTo>
                  <a:pt x="588172" y="377523"/>
                  <a:pt x="597775" y="390733"/>
                  <a:pt x="598436" y="408775"/>
                </a:cubicBezTo>
                <a:cubicBezTo>
                  <a:pt x="598970" y="423381"/>
                  <a:pt x="599120" y="438404"/>
                  <a:pt x="596339" y="452637"/>
                </a:cubicBezTo>
                <a:cubicBezTo>
                  <a:pt x="591789" y="475923"/>
                  <a:pt x="576843" y="486555"/>
                  <a:pt x="552957" y="485233"/>
                </a:cubicBezTo>
                <a:cubicBezTo>
                  <a:pt x="543740" y="484722"/>
                  <a:pt x="534648" y="481613"/>
                  <a:pt x="525548" y="479475"/>
                </a:cubicBezTo>
                <a:cubicBezTo>
                  <a:pt x="522577" y="478776"/>
                  <a:pt x="519764" y="477405"/>
                  <a:pt x="515736" y="475921"/>
                </a:cubicBezTo>
                <a:cubicBezTo>
                  <a:pt x="516318" y="484233"/>
                  <a:pt x="521537" y="487842"/>
                  <a:pt x="525605" y="492048"/>
                </a:cubicBezTo>
                <a:cubicBezTo>
                  <a:pt x="529554" y="496129"/>
                  <a:pt x="533815" y="499907"/>
                  <a:pt x="538873" y="504704"/>
                </a:cubicBezTo>
                <a:cubicBezTo>
                  <a:pt x="529522" y="509277"/>
                  <a:pt x="521553" y="504428"/>
                  <a:pt x="512604" y="503918"/>
                </a:cubicBezTo>
                <a:moveTo>
                  <a:pt x="332072" y="218143"/>
                </a:moveTo>
                <a:cubicBezTo>
                  <a:pt x="332837" y="220898"/>
                  <a:pt x="333478" y="223695"/>
                  <a:pt x="334388" y="226400"/>
                </a:cubicBezTo>
                <a:cubicBezTo>
                  <a:pt x="341073" y="246268"/>
                  <a:pt x="351614" y="254460"/>
                  <a:pt x="372370" y="254505"/>
                </a:cubicBezTo>
                <a:cubicBezTo>
                  <a:pt x="383333" y="254529"/>
                  <a:pt x="394312" y="253121"/>
                  <a:pt x="405258" y="252089"/>
                </a:cubicBezTo>
                <a:cubicBezTo>
                  <a:pt x="409961" y="251646"/>
                  <a:pt x="411340" y="248568"/>
                  <a:pt x="409167" y="244359"/>
                </a:cubicBezTo>
                <a:cubicBezTo>
                  <a:pt x="404885" y="236068"/>
                  <a:pt x="400139" y="227985"/>
                  <a:pt x="396364" y="219471"/>
                </a:cubicBezTo>
                <a:cubicBezTo>
                  <a:pt x="390350" y="205908"/>
                  <a:pt x="379963" y="198663"/>
                  <a:pt x="365755" y="195821"/>
                </a:cubicBezTo>
                <a:cubicBezTo>
                  <a:pt x="354973" y="193665"/>
                  <a:pt x="344291" y="191003"/>
                  <a:pt x="333572" y="188536"/>
                </a:cubicBezTo>
                <a:cubicBezTo>
                  <a:pt x="329511" y="187602"/>
                  <a:pt x="325579" y="187007"/>
                  <a:pt x="322931" y="190843"/>
                </a:cubicBezTo>
                <a:cubicBezTo>
                  <a:pt x="325138" y="195129"/>
                  <a:pt x="327613" y="198884"/>
                  <a:pt x="329041" y="203001"/>
                </a:cubicBezTo>
                <a:cubicBezTo>
                  <a:pt x="330500" y="207204"/>
                  <a:pt x="330929" y="211764"/>
                  <a:pt x="332072" y="218143"/>
                </a:cubicBezTo>
                <a:close/>
              </a:path>
            </a:pathLst>
          </a:custGeom>
          <a:solidFill>
            <a:srgbClr val="FEFEFE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" name="Free-form: Shape 27">
            <a:extLst>
              <a:ext uri="{FF2B5EF4-FFF2-40B4-BE49-F238E27FC236}">
                <a16:creationId xmlns:a16="http://schemas.microsoft.com/office/drawing/2014/main" id="{03F8F487-724E-E582-7CF0-7FFEDC8F1275}"/>
              </a:ext>
            </a:extLst>
          </p:cNvPr>
          <p:cNvSpPr/>
          <p:nvPr/>
        </p:nvSpPr>
        <p:spPr>
          <a:xfrm>
            <a:off x="14265865" y="2503402"/>
            <a:ext cx="267393" cy="232628"/>
          </a:xfrm>
          <a:custGeom>
            <a:avLst/>
            <a:gdLst>
              <a:gd name="csX0" fmla="*/ 84645 w 321679"/>
              <a:gd name="csY0" fmla="*/ 279507 h 279857"/>
              <a:gd name="csX1" fmla="*/ 19 w 321679"/>
              <a:gd name="csY1" fmla="*/ 276629 h 279857"/>
              <a:gd name="csX2" fmla="*/ 61 w 321679"/>
              <a:gd name="csY2" fmla="*/ 231376 h 279857"/>
              <a:gd name="csX3" fmla="*/ 925 w 321679"/>
              <a:gd name="csY3" fmla="*/ 219150 h 279857"/>
              <a:gd name="csX4" fmla="*/ 8286 w 321679"/>
              <a:gd name="csY4" fmla="*/ 86910 h 279857"/>
              <a:gd name="csX5" fmla="*/ 11586 w 321679"/>
              <a:gd name="csY5" fmla="*/ 21981 h 279857"/>
              <a:gd name="csX6" fmla="*/ 26655 w 321679"/>
              <a:gd name="csY6" fmla="*/ 7635 h 279857"/>
              <a:gd name="csX7" fmla="*/ 67169 w 321679"/>
              <a:gd name="csY7" fmla="*/ 7178 h 279857"/>
              <a:gd name="csX8" fmla="*/ 201872 w 321679"/>
              <a:gd name="csY8" fmla="*/ 121 h 279857"/>
              <a:gd name="csX9" fmla="*/ 217558 w 321679"/>
              <a:gd name="csY9" fmla="*/ 87 h 279857"/>
              <a:gd name="csX10" fmla="*/ 214854 w 321679"/>
              <a:gd name="csY10" fmla="*/ 22019 h 279857"/>
              <a:gd name="csX11" fmla="*/ 235301 w 321679"/>
              <a:gd name="csY11" fmla="*/ 104861 h 279857"/>
              <a:gd name="csX12" fmla="*/ 269832 w 321679"/>
              <a:gd name="csY12" fmla="*/ 144587 h 279857"/>
              <a:gd name="csX13" fmla="*/ 299912 w 321679"/>
              <a:gd name="csY13" fmla="*/ 176874 h 279857"/>
              <a:gd name="csX14" fmla="*/ 320491 w 321679"/>
              <a:gd name="csY14" fmla="*/ 256903 h 279857"/>
              <a:gd name="csX15" fmla="*/ 255607 w 321679"/>
              <a:gd name="csY15" fmla="*/ 264918 h 279857"/>
              <a:gd name="csX16" fmla="*/ 172672 w 321679"/>
              <a:gd name="csY16" fmla="*/ 273435 h 279857"/>
              <a:gd name="csX17" fmla="*/ 133595 w 321679"/>
              <a:gd name="csY17" fmla="*/ 276823 h 279857"/>
              <a:gd name="csX18" fmla="*/ 84645 w 321679"/>
              <a:gd name="csY18" fmla="*/ 279507 h 27985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</a:cxnLst>
            <a:rect l="l" t="t" r="r" b="b"/>
            <a:pathLst>
              <a:path w="321679" h="279857">
                <a:moveTo>
                  <a:pt x="84645" y="279507"/>
                </a:moveTo>
                <a:cubicBezTo>
                  <a:pt x="55716" y="279830"/>
                  <a:pt x="27945" y="280875"/>
                  <a:pt x="19" y="276629"/>
                </a:cubicBezTo>
                <a:cubicBezTo>
                  <a:pt x="19" y="261343"/>
                  <a:pt x="-45" y="246359"/>
                  <a:pt x="61" y="231376"/>
                </a:cubicBezTo>
                <a:cubicBezTo>
                  <a:pt x="90" y="227299"/>
                  <a:pt x="696" y="223229"/>
                  <a:pt x="925" y="219150"/>
                </a:cubicBezTo>
                <a:cubicBezTo>
                  <a:pt x="3396" y="175071"/>
                  <a:pt x="5876" y="130992"/>
                  <a:pt x="8286" y="86910"/>
                </a:cubicBezTo>
                <a:cubicBezTo>
                  <a:pt x="9469" y="65271"/>
                  <a:pt x="10613" y="43630"/>
                  <a:pt x="11586" y="21981"/>
                </a:cubicBezTo>
                <a:cubicBezTo>
                  <a:pt x="12199" y="8328"/>
                  <a:pt x="12576" y="7792"/>
                  <a:pt x="26655" y="7635"/>
                </a:cubicBezTo>
                <a:cubicBezTo>
                  <a:pt x="40161" y="7484"/>
                  <a:pt x="53689" y="7831"/>
                  <a:pt x="67169" y="7178"/>
                </a:cubicBezTo>
                <a:cubicBezTo>
                  <a:pt x="112079" y="5004"/>
                  <a:pt x="156970" y="2455"/>
                  <a:pt x="201872" y="121"/>
                </a:cubicBezTo>
                <a:cubicBezTo>
                  <a:pt x="206690" y="-130"/>
                  <a:pt x="211533" y="87"/>
                  <a:pt x="217558" y="87"/>
                </a:cubicBezTo>
                <a:cubicBezTo>
                  <a:pt x="216603" y="7811"/>
                  <a:pt x="215688" y="14910"/>
                  <a:pt x="214854" y="22019"/>
                </a:cubicBezTo>
                <a:cubicBezTo>
                  <a:pt x="211318" y="52185"/>
                  <a:pt x="219749" y="79345"/>
                  <a:pt x="235301" y="104861"/>
                </a:cubicBezTo>
                <a:cubicBezTo>
                  <a:pt x="244591" y="120102"/>
                  <a:pt x="257536" y="132012"/>
                  <a:pt x="269832" y="144587"/>
                </a:cubicBezTo>
                <a:cubicBezTo>
                  <a:pt x="280116" y="155103"/>
                  <a:pt x="290551" y="165559"/>
                  <a:pt x="299912" y="176874"/>
                </a:cubicBezTo>
                <a:cubicBezTo>
                  <a:pt x="319006" y="199953"/>
                  <a:pt x="324386" y="226827"/>
                  <a:pt x="320491" y="256903"/>
                </a:cubicBezTo>
                <a:cubicBezTo>
                  <a:pt x="298421" y="259649"/>
                  <a:pt x="277043" y="262541"/>
                  <a:pt x="255607" y="264918"/>
                </a:cubicBezTo>
                <a:cubicBezTo>
                  <a:pt x="227987" y="267981"/>
                  <a:pt x="200327" y="270692"/>
                  <a:pt x="172672" y="273435"/>
                </a:cubicBezTo>
                <a:cubicBezTo>
                  <a:pt x="159662" y="274725"/>
                  <a:pt x="146637" y="275935"/>
                  <a:pt x="133595" y="276823"/>
                </a:cubicBezTo>
                <a:cubicBezTo>
                  <a:pt x="117688" y="277907"/>
                  <a:pt x="101755" y="278616"/>
                  <a:pt x="84645" y="279507"/>
                </a:cubicBezTo>
                <a:close/>
              </a:path>
            </a:pathLst>
          </a:custGeom>
          <a:solidFill>
            <a:srgbClr val="FDFEFE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9" name="Free-form: Shape 28">
            <a:extLst>
              <a:ext uri="{FF2B5EF4-FFF2-40B4-BE49-F238E27FC236}">
                <a16:creationId xmlns:a16="http://schemas.microsoft.com/office/drawing/2014/main" id="{19E3CB22-A40D-481B-1E3C-42526F5AFFBA}"/>
              </a:ext>
            </a:extLst>
          </p:cNvPr>
          <p:cNvSpPr/>
          <p:nvPr/>
        </p:nvSpPr>
        <p:spPr>
          <a:xfrm>
            <a:off x="14265762" y="2760063"/>
            <a:ext cx="284373" cy="65313"/>
          </a:xfrm>
          <a:custGeom>
            <a:avLst/>
            <a:gdLst>
              <a:gd name="csX0" fmla="*/ 270798 w 342106"/>
              <a:gd name="csY0" fmla="*/ 65953 h 78573"/>
              <a:gd name="csX1" fmla="*/ 183290 w 342106"/>
              <a:gd name="csY1" fmla="*/ 76017 h 78573"/>
              <a:gd name="csX2" fmla="*/ 72897 w 342106"/>
              <a:gd name="csY2" fmla="*/ 78565 h 78573"/>
              <a:gd name="csX3" fmla="*/ 5450 w 342106"/>
              <a:gd name="csY3" fmla="*/ 76564 h 78573"/>
              <a:gd name="csX4" fmla="*/ 0 w 342106"/>
              <a:gd name="csY4" fmla="*/ 75649 h 78573"/>
              <a:gd name="csX5" fmla="*/ 0 w 342106"/>
              <a:gd name="csY5" fmla="*/ 21324 h 78573"/>
              <a:gd name="csX6" fmla="*/ 8504 w 342106"/>
              <a:gd name="csY6" fmla="*/ 20688 h 78573"/>
              <a:gd name="csX7" fmla="*/ 98126 w 342106"/>
              <a:gd name="csY7" fmla="*/ 19655 h 78573"/>
              <a:gd name="csX8" fmla="*/ 221639 w 342106"/>
              <a:gd name="csY8" fmla="*/ 10929 h 78573"/>
              <a:gd name="csX9" fmla="*/ 304285 w 342106"/>
              <a:gd name="csY9" fmla="*/ 683 h 78573"/>
              <a:gd name="csX10" fmla="*/ 309173 w 342106"/>
              <a:gd name="csY10" fmla="*/ 212 h 78573"/>
              <a:gd name="csX11" fmla="*/ 335187 w 342106"/>
              <a:gd name="csY11" fmla="*/ 18545 h 78573"/>
              <a:gd name="csX12" fmla="*/ 342106 w 342106"/>
              <a:gd name="csY12" fmla="*/ 53602 h 78573"/>
              <a:gd name="csX13" fmla="*/ 270798 w 342106"/>
              <a:gd name="csY13" fmla="*/ 65953 h 7857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</a:cxnLst>
            <a:rect l="l" t="t" r="r" b="b"/>
            <a:pathLst>
              <a:path w="342106" h="78573">
                <a:moveTo>
                  <a:pt x="270798" y="65953"/>
                </a:moveTo>
                <a:cubicBezTo>
                  <a:pt x="240931" y="69594"/>
                  <a:pt x="212199" y="74306"/>
                  <a:pt x="183290" y="76017"/>
                </a:cubicBezTo>
                <a:cubicBezTo>
                  <a:pt x="146568" y="78191"/>
                  <a:pt x="109704" y="78349"/>
                  <a:pt x="72897" y="78565"/>
                </a:cubicBezTo>
                <a:cubicBezTo>
                  <a:pt x="50419" y="78697"/>
                  <a:pt x="27931" y="77315"/>
                  <a:pt x="5450" y="76564"/>
                </a:cubicBezTo>
                <a:cubicBezTo>
                  <a:pt x="3884" y="76512"/>
                  <a:pt x="2332" y="76053"/>
                  <a:pt x="0" y="75649"/>
                </a:cubicBezTo>
                <a:cubicBezTo>
                  <a:pt x="0" y="57619"/>
                  <a:pt x="0" y="39863"/>
                  <a:pt x="0" y="21324"/>
                </a:cubicBezTo>
                <a:cubicBezTo>
                  <a:pt x="3058" y="21086"/>
                  <a:pt x="5779" y="20715"/>
                  <a:pt x="8504" y="20688"/>
                </a:cubicBezTo>
                <a:cubicBezTo>
                  <a:pt x="38382" y="20390"/>
                  <a:pt x="68305" y="21101"/>
                  <a:pt x="98126" y="19655"/>
                </a:cubicBezTo>
                <a:cubicBezTo>
                  <a:pt x="139343" y="17657"/>
                  <a:pt x="180532" y="14597"/>
                  <a:pt x="221639" y="10929"/>
                </a:cubicBezTo>
                <a:cubicBezTo>
                  <a:pt x="249272" y="8463"/>
                  <a:pt x="276741" y="4156"/>
                  <a:pt x="304285" y="683"/>
                </a:cubicBezTo>
                <a:cubicBezTo>
                  <a:pt x="305908" y="478"/>
                  <a:pt x="307539" y="312"/>
                  <a:pt x="309173" y="212"/>
                </a:cubicBezTo>
                <a:cubicBezTo>
                  <a:pt x="326863" y="-867"/>
                  <a:pt x="330972" y="1719"/>
                  <a:pt x="335187" y="18545"/>
                </a:cubicBezTo>
                <a:cubicBezTo>
                  <a:pt x="337939" y="29526"/>
                  <a:pt x="339618" y="40777"/>
                  <a:pt x="342106" y="53602"/>
                </a:cubicBezTo>
                <a:cubicBezTo>
                  <a:pt x="317523" y="57833"/>
                  <a:pt x="294689" y="61762"/>
                  <a:pt x="270798" y="65953"/>
                </a:cubicBezTo>
                <a:close/>
              </a:path>
            </a:pathLst>
          </a:custGeom>
          <a:solidFill>
            <a:srgbClr val="FCFCFC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0" name="Free-form: Shape 29">
            <a:extLst>
              <a:ext uri="{FF2B5EF4-FFF2-40B4-BE49-F238E27FC236}">
                <a16:creationId xmlns:a16="http://schemas.microsoft.com/office/drawing/2014/main" id="{530D0DE6-1DF1-0FB8-806F-611464AD735F}"/>
              </a:ext>
            </a:extLst>
          </p:cNvPr>
          <p:cNvSpPr/>
          <p:nvPr/>
        </p:nvSpPr>
        <p:spPr>
          <a:xfrm>
            <a:off x="14333481" y="1802207"/>
            <a:ext cx="72517" cy="55415"/>
          </a:xfrm>
          <a:custGeom>
            <a:avLst/>
            <a:gdLst>
              <a:gd name="csX0" fmla="*/ 9010 w 87239"/>
              <a:gd name="csY0" fmla="*/ 29316 h 66665"/>
              <a:gd name="csX1" fmla="*/ 6110 w 87239"/>
              <a:gd name="csY1" fmla="*/ 15162 h 66665"/>
              <a:gd name="csX2" fmla="*/ 0 w 87239"/>
              <a:gd name="csY2" fmla="*/ 3003 h 66665"/>
              <a:gd name="csX3" fmla="*/ 10641 w 87239"/>
              <a:gd name="csY3" fmla="*/ 697 h 66665"/>
              <a:gd name="csX4" fmla="*/ 42824 w 87239"/>
              <a:gd name="csY4" fmla="*/ 7981 h 66665"/>
              <a:gd name="csX5" fmla="*/ 73433 w 87239"/>
              <a:gd name="csY5" fmla="*/ 31631 h 66665"/>
              <a:gd name="csX6" fmla="*/ 86236 w 87239"/>
              <a:gd name="csY6" fmla="*/ 56519 h 66665"/>
              <a:gd name="csX7" fmla="*/ 82327 w 87239"/>
              <a:gd name="csY7" fmla="*/ 64249 h 66665"/>
              <a:gd name="csX8" fmla="*/ 49439 w 87239"/>
              <a:gd name="csY8" fmla="*/ 66665 h 66665"/>
              <a:gd name="csX9" fmla="*/ 11457 w 87239"/>
              <a:gd name="csY9" fmla="*/ 38560 h 66665"/>
              <a:gd name="csX10" fmla="*/ 9010 w 87239"/>
              <a:gd name="csY10" fmla="*/ 29316 h 6666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</a:cxnLst>
            <a:rect l="l" t="t" r="r" b="b"/>
            <a:pathLst>
              <a:path w="87239" h="66665">
                <a:moveTo>
                  <a:pt x="9010" y="29316"/>
                </a:moveTo>
                <a:cubicBezTo>
                  <a:pt x="7998" y="23924"/>
                  <a:pt x="7568" y="19365"/>
                  <a:pt x="6110" y="15162"/>
                </a:cubicBezTo>
                <a:cubicBezTo>
                  <a:pt x="4682" y="11044"/>
                  <a:pt x="2207" y="7289"/>
                  <a:pt x="0" y="3003"/>
                </a:cubicBezTo>
                <a:cubicBezTo>
                  <a:pt x="2648" y="-833"/>
                  <a:pt x="6580" y="-238"/>
                  <a:pt x="10641" y="697"/>
                </a:cubicBezTo>
                <a:cubicBezTo>
                  <a:pt x="21360" y="3163"/>
                  <a:pt x="32042" y="5825"/>
                  <a:pt x="42824" y="7981"/>
                </a:cubicBezTo>
                <a:cubicBezTo>
                  <a:pt x="57032" y="10823"/>
                  <a:pt x="67419" y="18068"/>
                  <a:pt x="73433" y="31631"/>
                </a:cubicBezTo>
                <a:cubicBezTo>
                  <a:pt x="77208" y="40146"/>
                  <a:pt x="81954" y="48228"/>
                  <a:pt x="86236" y="56519"/>
                </a:cubicBezTo>
                <a:cubicBezTo>
                  <a:pt x="88409" y="60728"/>
                  <a:pt x="87030" y="63806"/>
                  <a:pt x="82327" y="64249"/>
                </a:cubicBezTo>
                <a:cubicBezTo>
                  <a:pt x="71381" y="65282"/>
                  <a:pt x="60402" y="66689"/>
                  <a:pt x="49439" y="66665"/>
                </a:cubicBezTo>
                <a:cubicBezTo>
                  <a:pt x="28683" y="66620"/>
                  <a:pt x="18142" y="58428"/>
                  <a:pt x="11457" y="38560"/>
                </a:cubicBezTo>
                <a:cubicBezTo>
                  <a:pt x="10547" y="35855"/>
                  <a:pt x="9906" y="33058"/>
                  <a:pt x="9010" y="29316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CD95295-D180-6C92-3B24-A84E43C0D40A}"/>
              </a:ext>
            </a:extLst>
          </p:cNvPr>
          <p:cNvSpPr txBox="1"/>
          <p:nvPr/>
        </p:nvSpPr>
        <p:spPr>
          <a:xfrm>
            <a:off x="13789513" y="2847768"/>
            <a:ext cx="863983" cy="3927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-Pola</a:t>
            </a: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C15826DC-69BB-F4AD-1639-CF2C1B9996AC}"/>
              </a:ext>
            </a:extLst>
          </p:cNvPr>
          <p:cNvCxnSpPr>
            <a:cxnSpLocks/>
          </p:cNvCxnSpPr>
          <p:nvPr/>
        </p:nvCxnSpPr>
        <p:spPr>
          <a:xfrm>
            <a:off x="13089235" y="1410742"/>
            <a:ext cx="0" cy="2351636"/>
          </a:xfrm>
          <a:prstGeom prst="line">
            <a:avLst/>
          </a:prstGeom>
          <a:ln w="2857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124201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8" grpId="0" animBg="1"/>
      <p:bldP spid="69" grpId="0"/>
    </p:bld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F20145A-A46A-D8FC-3557-B4AA37F12840}"/>
              </a:ext>
            </a:extLst>
          </p:cNvPr>
          <p:cNvCxnSpPr>
            <a:cxnSpLocks/>
          </p:cNvCxnSpPr>
          <p:nvPr/>
        </p:nvCxnSpPr>
        <p:spPr>
          <a:xfrm>
            <a:off x="552450" y="3743809"/>
            <a:ext cx="10932414" cy="0"/>
          </a:xfrm>
          <a:prstGeom prst="line">
            <a:avLst/>
          </a:prstGeom>
          <a:ln w="285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73D26478-BAC5-BCC2-6E99-71F43E05BFB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70645" y="6194614"/>
            <a:ext cx="10440000" cy="525337"/>
          </a:xfrm>
        </p:spPr>
        <p:txBody>
          <a:bodyPr/>
          <a:lstStyle/>
          <a:p>
            <a:r>
              <a:rPr lang="en-GB"/>
              <a:t>DLBCL, diffuse large B-cell lymphoma; PR, partial response; R-Pola, rituximab plus polatuzumab vedotin; R/R, relapsed or refractory.</a:t>
            </a:r>
          </a:p>
          <a:p>
            <a:r>
              <a:rPr lang="en-GB"/>
              <a:t>Patient case provided by Prof. Enrico </a:t>
            </a:r>
            <a:r>
              <a:rPr lang="en-GB" err="1"/>
              <a:t>Derenzini</a:t>
            </a:r>
            <a:r>
              <a:rPr lang="en-GB"/>
              <a:t>.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5F612486-3911-31AC-0FD1-F71B50795A40}"/>
              </a:ext>
            </a:extLst>
          </p:cNvPr>
          <p:cNvSpPr txBox="1">
            <a:spLocks/>
          </p:cNvSpPr>
          <p:nvPr/>
        </p:nvSpPr>
        <p:spPr>
          <a:xfrm>
            <a:off x="469900" y="311150"/>
            <a:ext cx="10317269" cy="930910"/>
          </a:xfrm>
          <a:prstGeom prst="rect">
            <a:avLst/>
          </a:prstGeom>
        </p:spPr>
        <p:txBody>
          <a:bodyPr vert="horz" lIns="90000" tIns="46800" rIns="90000" bIns="4680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400" b="0" i="0" kern="1200">
                <a:solidFill>
                  <a:schemeClr val="tx2"/>
                </a:solidFill>
                <a:latin typeface="Aptos" panose="020B000402020202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0B0004020202020204" pitchFamily="34" charset="0"/>
                <a:ea typeface="+mj-ea"/>
                <a:cs typeface="+mj-cs"/>
              </a:rPr>
              <a:t>Antigen expression in R/R DLBCL</a:t>
            </a:r>
            <a:r>
              <a:rPr kumimoji="0" lang="en-GB" sz="3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j-ea"/>
                <a:cs typeface="+mj-cs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6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400" b="0" i="0" u="none" strike="noStrike" kern="1200" cap="none" spc="0" normalizeH="0" baseline="3000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j-ea"/>
              <a:cs typeface="+mj-cs"/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1BE1BB48-18B5-F5FB-5F42-4F10C6B054FA}"/>
              </a:ext>
            </a:extLst>
          </p:cNvPr>
          <p:cNvSpPr/>
          <p:nvPr/>
        </p:nvSpPr>
        <p:spPr>
          <a:xfrm>
            <a:off x="1628725" y="3666074"/>
            <a:ext cx="159799" cy="159799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1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F0EEAA67-0006-23CC-B184-CE9CF9289025}"/>
              </a:ext>
            </a:extLst>
          </p:cNvPr>
          <p:cNvCxnSpPr>
            <a:cxnSpLocks/>
            <a:stCxn id="13" idx="4"/>
          </p:cNvCxnSpPr>
          <p:nvPr/>
        </p:nvCxnSpPr>
        <p:spPr>
          <a:xfrm>
            <a:off x="1708625" y="3825873"/>
            <a:ext cx="0" cy="182159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B6094448-279A-6B2D-ADA4-336D72201F88}"/>
              </a:ext>
            </a:extLst>
          </p:cNvPr>
          <p:cNvSpPr txBox="1"/>
          <p:nvPr/>
        </p:nvSpPr>
        <p:spPr>
          <a:xfrm>
            <a:off x="499144" y="4008032"/>
            <a:ext cx="2853643" cy="1631216"/>
          </a:xfrm>
          <a:prstGeom prst="rect">
            <a:avLst/>
          </a:prstGeom>
          <a:noFill/>
        </p:spPr>
        <p:txBody>
          <a:bodyPr wrap="square" lIns="45720" tIns="45720" rIns="4572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1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Lymphocyte apheresi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1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Bridging: </a:t>
            </a: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-Pola ×2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1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Outcome: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4CA1A6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 to bridging treatment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C3C3F897-F063-F631-1E65-B5836A9703E2}"/>
              </a:ext>
            </a:extLst>
          </p:cNvPr>
          <p:cNvSpPr txBox="1"/>
          <p:nvPr/>
        </p:nvSpPr>
        <p:spPr>
          <a:xfrm>
            <a:off x="1472311" y="3212621"/>
            <a:ext cx="455050" cy="3927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CB813"/>
              </a:buClr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June</a:t>
            </a:r>
            <a:r>
              <a:rPr kumimoji="0" lang="en-CH" sz="18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–</a:t>
            </a: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July 2023</a:t>
            </a:r>
          </a:p>
        </p:txBody>
      </p:sp>
      <p:sp>
        <p:nvSpPr>
          <p:cNvPr id="38" name="Slide Number Placeholder 37">
            <a:extLst>
              <a:ext uri="{FF2B5EF4-FFF2-40B4-BE49-F238E27FC236}">
                <a16:creationId xmlns:a16="http://schemas.microsoft.com/office/drawing/2014/main" id="{70FC17CE-722D-528F-F4B8-A7A91348DA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01CC8E-1CEF-6746-999E-CF29FF00B1D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82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6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6F4E42EA-96D0-555F-C773-1903862E6E71}"/>
              </a:ext>
            </a:extLst>
          </p:cNvPr>
          <p:cNvSpPr/>
          <p:nvPr/>
        </p:nvSpPr>
        <p:spPr>
          <a:xfrm>
            <a:off x="1332265" y="2791631"/>
            <a:ext cx="717698" cy="104135"/>
          </a:xfrm>
          <a:prstGeom prst="ellipse">
            <a:avLst/>
          </a:prstGeom>
          <a:solidFill>
            <a:schemeClr val="tx1">
              <a:alpha val="6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" name="Free-form: Shape 5">
            <a:extLst>
              <a:ext uri="{FF2B5EF4-FFF2-40B4-BE49-F238E27FC236}">
                <a16:creationId xmlns:a16="http://schemas.microsoft.com/office/drawing/2014/main" id="{838C5C51-CFFB-9CA1-F6A4-F7DC0B3A4367}"/>
              </a:ext>
            </a:extLst>
          </p:cNvPr>
          <p:cNvSpPr/>
          <p:nvPr/>
        </p:nvSpPr>
        <p:spPr>
          <a:xfrm>
            <a:off x="1427309" y="1597747"/>
            <a:ext cx="634942" cy="1266262"/>
          </a:xfrm>
          <a:custGeom>
            <a:avLst/>
            <a:gdLst>
              <a:gd name="csX0" fmla="*/ 703087 w 763849"/>
              <a:gd name="csY0" fmla="*/ 1241174 h 1523340"/>
              <a:gd name="csX1" fmla="*/ 732932 w 763849"/>
              <a:gd name="csY1" fmla="*/ 1359634 h 1523340"/>
              <a:gd name="csX2" fmla="*/ 735544 w 763849"/>
              <a:gd name="csY2" fmla="*/ 1377287 h 1523340"/>
              <a:gd name="csX3" fmla="*/ 756764 w 763849"/>
              <a:gd name="csY3" fmla="*/ 1458577 h 1523340"/>
              <a:gd name="csX4" fmla="*/ 757108 w 763849"/>
              <a:gd name="csY4" fmla="*/ 1465940 h 1523340"/>
              <a:gd name="csX5" fmla="*/ 744215 w 763849"/>
              <a:gd name="csY5" fmla="*/ 1488332 h 1523340"/>
              <a:gd name="csX6" fmla="*/ 712781 w 763849"/>
              <a:gd name="csY6" fmla="*/ 1498472 h 1523340"/>
              <a:gd name="csX7" fmla="*/ 625540 w 763849"/>
              <a:gd name="csY7" fmla="*/ 1511981 h 1523340"/>
              <a:gd name="csX8" fmla="*/ 488540 w 763849"/>
              <a:gd name="csY8" fmla="*/ 1522029 h 1523340"/>
              <a:gd name="csX9" fmla="*/ 306789 w 763849"/>
              <a:gd name="csY9" fmla="*/ 1523231 h 1523340"/>
              <a:gd name="csX10" fmla="*/ 200103 w 763849"/>
              <a:gd name="csY10" fmla="*/ 1518579 h 1523340"/>
              <a:gd name="csX11" fmla="*/ 31607 w 763849"/>
              <a:gd name="csY11" fmla="*/ 1493880 h 1523340"/>
              <a:gd name="csX12" fmla="*/ 5860 w 763849"/>
              <a:gd name="csY12" fmla="*/ 1482933 h 1523340"/>
              <a:gd name="csX13" fmla="*/ 32 w 763849"/>
              <a:gd name="csY13" fmla="*/ 1471774 h 1523340"/>
              <a:gd name="csX14" fmla="*/ 21295 w 763849"/>
              <a:gd name="csY14" fmla="*/ 1378237 h 1523340"/>
              <a:gd name="csX15" fmla="*/ 23169 w 763849"/>
              <a:gd name="csY15" fmla="*/ 1364271 h 1523340"/>
              <a:gd name="csX16" fmla="*/ 23871 w 763849"/>
              <a:gd name="csY16" fmla="*/ 1303132 h 1523340"/>
              <a:gd name="csX17" fmla="*/ 59740 w 763849"/>
              <a:gd name="csY17" fmla="*/ 1234649 h 1523340"/>
              <a:gd name="csX18" fmla="*/ 98899 w 763849"/>
              <a:gd name="csY18" fmla="*/ 1195619 h 1523340"/>
              <a:gd name="csX19" fmla="*/ 131493 w 763849"/>
              <a:gd name="csY19" fmla="*/ 1127593 h 1523340"/>
              <a:gd name="csX20" fmla="*/ 108213 w 763849"/>
              <a:gd name="csY20" fmla="*/ 1058723 h 1523340"/>
              <a:gd name="csX21" fmla="*/ 74370 w 763849"/>
              <a:gd name="csY21" fmla="*/ 1024929 h 1523340"/>
              <a:gd name="csX22" fmla="*/ 68137 w 763849"/>
              <a:gd name="csY22" fmla="*/ 987550 h 1523340"/>
              <a:gd name="csX23" fmla="*/ 86420 w 763849"/>
              <a:gd name="csY23" fmla="*/ 941991 h 1523340"/>
              <a:gd name="csX24" fmla="*/ 97082 w 763849"/>
              <a:gd name="csY24" fmla="*/ 828037 h 1523340"/>
              <a:gd name="csX25" fmla="*/ 61782 w 763849"/>
              <a:gd name="csY25" fmla="*/ 696973 h 1523340"/>
              <a:gd name="csX26" fmla="*/ 26901 w 763849"/>
              <a:gd name="csY26" fmla="*/ 547868 h 1523340"/>
              <a:gd name="csX27" fmla="*/ 20221 w 763849"/>
              <a:gd name="csY27" fmla="*/ 479529 h 1523340"/>
              <a:gd name="csX28" fmla="*/ 40808 w 763849"/>
              <a:gd name="csY28" fmla="*/ 334388 h 1523340"/>
              <a:gd name="csX29" fmla="*/ 65171 w 763849"/>
              <a:gd name="csY29" fmla="*/ 263707 h 1523340"/>
              <a:gd name="csX30" fmla="*/ 142827 w 763849"/>
              <a:gd name="csY30" fmla="*/ 171003 h 1523340"/>
              <a:gd name="csX31" fmla="*/ 172290 w 763849"/>
              <a:gd name="csY31" fmla="*/ 155872 h 1523340"/>
              <a:gd name="csX32" fmla="*/ 189008 w 763849"/>
              <a:gd name="csY32" fmla="*/ 148158 h 1523340"/>
              <a:gd name="csX33" fmla="*/ 212828 w 763849"/>
              <a:gd name="csY33" fmla="*/ 126123 h 1523340"/>
              <a:gd name="csX34" fmla="*/ 217217 w 763849"/>
              <a:gd name="csY34" fmla="*/ 118740 h 1523340"/>
              <a:gd name="csX35" fmla="*/ 253000 w 763849"/>
              <a:gd name="csY35" fmla="*/ 88998 h 1523340"/>
              <a:gd name="csX36" fmla="*/ 322085 w 763849"/>
              <a:gd name="csY36" fmla="*/ 72193 h 1523340"/>
              <a:gd name="csX37" fmla="*/ 330478 w 763849"/>
              <a:gd name="csY37" fmla="*/ 70387 h 1523340"/>
              <a:gd name="csX38" fmla="*/ 388016 w 763849"/>
              <a:gd name="csY38" fmla="*/ 35457 h 1523340"/>
              <a:gd name="csX39" fmla="*/ 421527 w 763849"/>
              <a:gd name="csY39" fmla="*/ 0 h 1523340"/>
              <a:gd name="csX40" fmla="*/ 424538 w 763849"/>
              <a:gd name="csY40" fmla="*/ 10833 h 1523340"/>
              <a:gd name="csX41" fmla="*/ 436339 w 763849"/>
              <a:gd name="csY41" fmla="*/ 121836 h 1523340"/>
              <a:gd name="csX42" fmla="*/ 449983 w 763849"/>
              <a:gd name="csY42" fmla="*/ 141450 h 1523340"/>
              <a:gd name="csX43" fmla="*/ 503299 w 763849"/>
              <a:gd name="csY43" fmla="*/ 169290 h 1523340"/>
              <a:gd name="csX44" fmla="*/ 551461 w 763849"/>
              <a:gd name="csY44" fmla="*/ 203111 h 1523340"/>
              <a:gd name="csX45" fmla="*/ 588803 w 763849"/>
              <a:gd name="csY45" fmla="*/ 252797 h 1523340"/>
              <a:gd name="csX46" fmla="*/ 634209 w 763849"/>
              <a:gd name="csY46" fmla="*/ 327081 h 1523340"/>
              <a:gd name="csX47" fmla="*/ 697923 w 763849"/>
              <a:gd name="csY47" fmla="*/ 384157 h 1523340"/>
              <a:gd name="csX48" fmla="*/ 729658 w 763849"/>
              <a:gd name="csY48" fmla="*/ 407288 h 1523340"/>
              <a:gd name="csX49" fmla="*/ 763354 w 763849"/>
              <a:gd name="csY49" fmla="*/ 471325 h 1523340"/>
              <a:gd name="csX50" fmla="*/ 757092 w 763849"/>
              <a:gd name="csY50" fmla="*/ 527116 h 1523340"/>
              <a:gd name="csX51" fmla="*/ 720673 w 763849"/>
              <a:gd name="csY51" fmla="*/ 570023 h 1523340"/>
              <a:gd name="csX52" fmla="*/ 704918 w 763849"/>
              <a:gd name="csY52" fmla="*/ 581294 h 1523340"/>
              <a:gd name="csX53" fmla="*/ 671960 w 763849"/>
              <a:gd name="csY53" fmla="*/ 595325 h 1523340"/>
              <a:gd name="csX54" fmla="*/ 633021 w 763849"/>
              <a:gd name="csY54" fmla="*/ 591397 h 1523340"/>
              <a:gd name="csX55" fmla="*/ 580696 w 763849"/>
              <a:gd name="csY55" fmla="*/ 556742 h 1523340"/>
              <a:gd name="csX56" fmla="*/ 545415 w 763849"/>
              <a:gd name="csY56" fmla="*/ 524617 h 1523340"/>
              <a:gd name="csX57" fmla="*/ 518889 w 763849"/>
              <a:gd name="csY57" fmla="*/ 516179 h 1523340"/>
              <a:gd name="csX58" fmla="*/ 472309 w 763849"/>
              <a:gd name="csY58" fmla="*/ 517812 h 1523340"/>
              <a:gd name="csX59" fmla="*/ 415953 w 763849"/>
              <a:gd name="csY59" fmla="*/ 517245 h 1523340"/>
              <a:gd name="csX60" fmla="*/ 403392 w 763849"/>
              <a:gd name="csY60" fmla="*/ 516539 h 1523340"/>
              <a:gd name="csX61" fmla="*/ 407957 w 763849"/>
              <a:gd name="csY61" fmla="*/ 542045 h 1523340"/>
              <a:gd name="csX62" fmla="*/ 434134 w 763849"/>
              <a:gd name="csY62" fmla="*/ 583349 h 1523340"/>
              <a:gd name="csX63" fmla="*/ 524267 w 763849"/>
              <a:gd name="csY63" fmla="*/ 683922 h 1523340"/>
              <a:gd name="csX64" fmla="*/ 614317 w 763849"/>
              <a:gd name="csY64" fmla="*/ 786085 h 1523340"/>
              <a:gd name="csX65" fmla="*/ 669590 w 763849"/>
              <a:gd name="csY65" fmla="*/ 921089 h 1523340"/>
              <a:gd name="csX66" fmla="*/ 647360 w 763849"/>
              <a:gd name="csY66" fmla="*/ 1057245 h 1523340"/>
              <a:gd name="csX67" fmla="*/ 627872 w 763849"/>
              <a:gd name="csY67" fmla="*/ 1102111 h 1523340"/>
              <a:gd name="csX68" fmla="*/ 642300 w 763849"/>
              <a:gd name="csY68" fmla="*/ 1175941 h 1523340"/>
              <a:gd name="csX69" fmla="*/ 668829 w 763849"/>
              <a:gd name="csY69" fmla="*/ 1206449 h 1523340"/>
              <a:gd name="csX70" fmla="*/ 703087 w 763849"/>
              <a:gd name="csY70" fmla="*/ 1241174 h 1523340"/>
              <a:gd name="csX71" fmla="*/ 648750 w 763849"/>
              <a:gd name="csY71" fmla="*/ 562343 h 1523340"/>
              <a:gd name="csX72" fmla="*/ 674049 w 763849"/>
              <a:gd name="csY72" fmla="*/ 562834 h 1523340"/>
              <a:gd name="csX73" fmla="*/ 660781 w 763849"/>
              <a:gd name="csY73" fmla="*/ 550178 h 1523340"/>
              <a:gd name="csX74" fmla="*/ 650911 w 763849"/>
              <a:gd name="csY74" fmla="*/ 534051 h 1523340"/>
              <a:gd name="csX75" fmla="*/ 660724 w 763849"/>
              <a:gd name="csY75" fmla="*/ 537605 h 1523340"/>
              <a:gd name="csX76" fmla="*/ 688133 w 763849"/>
              <a:gd name="csY76" fmla="*/ 543363 h 1523340"/>
              <a:gd name="csX77" fmla="*/ 731514 w 763849"/>
              <a:gd name="csY77" fmla="*/ 510767 h 1523340"/>
              <a:gd name="csX78" fmla="*/ 733611 w 763849"/>
              <a:gd name="csY78" fmla="*/ 466905 h 1523340"/>
              <a:gd name="csX79" fmla="*/ 708076 w 763849"/>
              <a:gd name="csY79" fmla="*/ 425975 h 1523340"/>
              <a:gd name="csX80" fmla="*/ 667538 w 763849"/>
              <a:gd name="csY80" fmla="*/ 398254 h 1523340"/>
              <a:gd name="csX81" fmla="*/ 601016 w 763849"/>
              <a:gd name="csY81" fmla="*/ 332127 h 1523340"/>
              <a:gd name="csX82" fmla="*/ 565354 w 763849"/>
              <a:gd name="csY82" fmla="*/ 270526 h 1523340"/>
              <a:gd name="csX83" fmla="*/ 490657 w 763849"/>
              <a:gd name="csY83" fmla="*/ 195121 h 1523340"/>
              <a:gd name="csX84" fmla="*/ 432834 w 763849"/>
              <a:gd name="csY84" fmla="*/ 165243 h 1523340"/>
              <a:gd name="csX85" fmla="*/ 407594 w 763849"/>
              <a:gd name="csY85" fmla="*/ 127852 h 1523340"/>
              <a:gd name="csX86" fmla="*/ 405020 w 763849"/>
              <a:gd name="csY86" fmla="*/ 69029 h 1523340"/>
              <a:gd name="csX87" fmla="*/ 403638 w 763849"/>
              <a:gd name="csY87" fmla="*/ 58130 h 1523340"/>
              <a:gd name="csX88" fmla="*/ 349776 w 763849"/>
              <a:gd name="csY88" fmla="*/ 133259 h 1523340"/>
              <a:gd name="csX89" fmla="*/ 326975 w 763849"/>
              <a:gd name="csY89" fmla="*/ 159669 h 1523340"/>
              <a:gd name="csX90" fmla="*/ 240374 w 763849"/>
              <a:gd name="csY90" fmla="*/ 221714 h 1523340"/>
              <a:gd name="csX91" fmla="*/ 171637 w 763849"/>
              <a:gd name="csY91" fmla="*/ 309087 h 1523340"/>
              <a:gd name="csX92" fmla="*/ 138048 w 763849"/>
              <a:gd name="csY92" fmla="*/ 516954 h 1523340"/>
              <a:gd name="csX93" fmla="*/ 163889 w 763849"/>
              <a:gd name="csY93" fmla="*/ 641780 h 1523340"/>
              <a:gd name="csX94" fmla="*/ 204800 w 763849"/>
              <a:gd name="csY94" fmla="*/ 787055 h 1523340"/>
              <a:gd name="csX95" fmla="*/ 218549 w 763849"/>
              <a:gd name="csY95" fmla="*/ 949545 h 1523340"/>
              <a:gd name="csX96" fmla="*/ 191487 w 763849"/>
              <a:gd name="csY96" fmla="*/ 1033064 h 1523340"/>
              <a:gd name="csX97" fmla="*/ 188729 w 763849"/>
              <a:gd name="csY97" fmla="*/ 1039835 h 1523340"/>
              <a:gd name="csX98" fmla="*/ 221417 w 763849"/>
              <a:gd name="csY98" fmla="*/ 1040799 h 1523340"/>
              <a:gd name="csX99" fmla="*/ 348895 w 763849"/>
              <a:gd name="csY99" fmla="*/ 1046759 h 1523340"/>
              <a:gd name="csX100" fmla="*/ 545369 w 763849"/>
              <a:gd name="csY100" fmla="*/ 1044456 h 1523340"/>
              <a:gd name="csX101" fmla="*/ 612424 w 763849"/>
              <a:gd name="csY101" fmla="*/ 1037365 h 1523340"/>
              <a:gd name="csX102" fmla="*/ 623169 w 763849"/>
              <a:gd name="csY102" fmla="*/ 1028873 h 1523340"/>
              <a:gd name="csX103" fmla="*/ 638508 w 763849"/>
              <a:gd name="csY103" fmla="*/ 959599 h 1523340"/>
              <a:gd name="csX104" fmla="*/ 609213 w 763849"/>
              <a:gd name="csY104" fmla="*/ 842075 h 1523340"/>
              <a:gd name="csX105" fmla="*/ 529367 w 763849"/>
              <a:gd name="csY105" fmla="*/ 735065 h 1523340"/>
              <a:gd name="csX106" fmla="*/ 403792 w 763849"/>
              <a:gd name="csY106" fmla="*/ 596993 h 1523340"/>
              <a:gd name="csX107" fmla="*/ 344708 w 763849"/>
              <a:gd name="csY107" fmla="*/ 511366 h 1523340"/>
              <a:gd name="csX108" fmla="*/ 324464 w 763849"/>
              <a:gd name="csY108" fmla="*/ 380084 h 1523340"/>
              <a:gd name="csX109" fmla="*/ 327688 w 763849"/>
              <a:gd name="csY109" fmla="*/ 373535 h 1523340"/>
              <a:gd name="csX110" fmla="*/ 330334 w 763849"/>
              <a:gd name="csY110" fmla="*/ 373641 h 1523340"/>
              <a:gd name="csX111" fmla="*/ 334272 w 763849"/>
              <a:gd name="csY111" fmla="*/ 384645 h 1523340"/>
              <a:gd name="csX112" fmla="*/ 365260 w 763849"/>
              <a:gd name="csY112" fmla="*/ 453955 h 1523340"/>
              <a:gd name="csX113" fmla="*/ 408246 w 763849"/>
              <a:gd name="csY113" fmla="*/ 483592 h 1523340"/>
              <a:gd name="csX114" fmla="*/ 464529 w 763849"/>
              <a:gd name="csY114" fmla="*/ 486187 h 1523340"/>
              <a:gd name="csX115" fmla="*/ 511119 w 763849"/>
              <a:gd name="csY115" fmla="*/ 484308 h 1523340"/>
              <a:gd name="csX116" fmla="*/ 567913 w 763849"/>
              <a:gd name="csY116" fmla="*/ 503736 h 1523340"/>
              <a:gd name="csX117" fmla="*/ 607611 w 763849"/>
              <a:gd name="csY117" fmla="*/ 540326 h 1523340"/>
              <a:gd name="csX118" fmla="*/ 648750 w 763849"/>
              <a:gd name="csY118" fmla="*/ 562343 h 1523340"/>
              <a:gd name="csX119" fmla="*/ 462594 w 763849"/>
              <a:gd name="csY119" fmla="*/ 1369008 h 1523340"/>
              <a:gd name="csX120" fmla="*/ 510357 w 763849"/>
              <a:gd name="csY120" fmla="*/ 1366345 h 1523340"/>
              <a:gd name="csX121" fmla="*/ 549434 w 763849"/>
              <a:gd name="csY121" fmla="*/ 1362956 h 1523340"/>
              <a:gd name="csX122" fmla="*/ 632369 w 763849"/>
              <a:gd name="csY122" fmla="*/ 1354439 h 1523340"/>
              <a:gd name="csX123" fmla="*/ 697252 w 763849"/>
              <a:gd name="csY123" fmla="*/ 1346424 h 1523340"/>
              <a:gd name="csX124" fmla="*/ 676674 w 763849"/>
              <a:gd name="csY124" fmla="*/ 1266396 h 1523340"/>
              <a:gd name="csX125" fmla="*/ 646594 w 763849"/>
              <a:gd name="csY125" fmla="*/ 1234108 h 1523340"/>
              <a:gd name="csX126" fmla="*/ 612063 w 763849"/>
              <a:gd name="csY126" fmla="*/ 1194382 h 1523340"/>
              <a:gd name="csX127" fmla="*/ 591616 w 763849"/>
              <a:gd name="csY127" fmla="*/ 1111541 h 1523340"/>
              <a:gd name="csX128" fmla="*/ 594320 w 763849"/>
              <a:gd name="csY128" fmla="*/ 1089609 h 1523340"/>
              <a:gd name="csX129" fmla="*/ 578634 w 763849"/>
              <a:gd name="csY129" fmla="*/ 1089642 h 1523340"/>
              <a:gd name="csX130" fmla="*/ 443931 w 763849"/>
              <a:gd name="csY130" fmla="*/ 1096700 h 1523340"/>
              <a:gd name="csX131" fmla="*/ 403417 w 763849"/>
              <a:gd name="csY131" fmla="*/ 1097156 h 1523340"/>
              <a:gd name="csX132" fmla="*/ 388348 w 763849"/>
              <a:gd name="csY132" fmla="*/ 1111502 h 1523340"/>
              <a:gd name="csX133" fmla="*/ 385048 w 763849"/>
              <a:gd name="csY133" fmla="*/ 1176431 h 1523340"/>
              <a:gd name="csX134" fmla="*/ 377687 w 763849"/>
              <a:gd name="csY134" fmla="*/ 1308672 h 1523340"/>
              <a:gd name="csX135" fmla="*/ 376823 w 763849"/>
              <a:gd name="csY135" fmla="*/ 1320897 h 1523340"/>
              <a:gd name="csX136" fmla="*/ 376781 w 763849"/>
              <a:gd name="csY136" fmla="*/ 1366151 h 1523340"/>
              <a:gd name="csX137" fmla="*/ 462594 w 763849"/>
              <a:gd name="csY137" fmla="*/ 1369008 h 1523340"/>
              <a:gd name="csX138" fmla="*/ 648494 w 763849"/>
              <a:gd name="csY138" fmla="*/ 1463981 h 1523340"/>
              <a:gd name="csX139" fmla="*/ 718746 w 763849"/>
              <a:gd name="csY139" fmla="*/ 1451892 h 1523340"/>
              <a:gd name="csX140" fmla="*/ 711827 w 763849"/>
              <a:gd name="csY140" fmla="*/ 1416835 h 1523340"/>
              <a:gd name="csX141" fmla="*/ 685812 w 763849"/>
              <a:gd name="csY141" fmla="*/ 1398502 h 1523340"/>
              <a:gd name="csX142" fmla="*/ 680924 w 763849"/>
              <a:gd name="csY142" fmla="*/ 1398973 h 1523340"/>
              <a:gd name="csX143" fmla="*/ 598278 w 763849"/>
              <a:gd name="csY143" fmla="*/ 1409218 h 1523340"/>
              <a:gd name="csX144" fmla="*/ 474765 w 763849"/>
              <a:gd name="csY144" fmla="*/ 1417945 h 1523340"/>
              <a:gd name="csX145" fmla="*/ 385143 w 763849"/>
              <a:gd name="csY145" fmla="*/ 1418978 h 1523340"/>
              <a:gd name="csX146" fmla="*/ 376639 w 763849"/>
              <a:gd name="csY146" fmla="*/ 1419613 h 1523340"/>
              <a:gd name="csX147" fmla="*/ 376639 w 763849"/>
              <a:gd name="csY147" fmla="*/ 1473939 h 1523340"/>
              <a:gd name="csX148" fmla="*/ 382089 w 763849"/>
              <a:gd name="csY148" fmla="*/ 1474854 h 1523340"/>
              <a:gd name="csX149" fmla="*/ 449536 w 763849"/>
              <a:gd name="csY149" fmla="*/ 1476855 h 1523340"/>
              <a:gd name="csX150" fmla="*/ 559930 w 763849"/>
              <a:gd name="csY150" fmla="*/ 1474307 h 1523340"/>
              <a:gd name="csX151" fmla="*/ 648494 w 763849"/>
              <a:gd name="csY151" fmla="*/ 1463981 h 152334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</a:cxnLst>
            <a:rect l="l" t="t" r="r" b="b"/>
            <a:pathLst>
              <a:path w="763849" h="1523340">
                <a:moveTo>
                  <a:pt x="703087" y="1241174"/>
                </a:moveTo>
                <a:cubicBezTo>
                  <a:pt x="732418" y="1276379"/>
                  <a:pt x="738825" y="1316526"/>
                  <a:pt x="732932" y="1359634"/>
                </a:cubicBezTo>
                <a:cubicBezTo>
                  <a:pt x="732067" y="1365959"/>
                  <a:pt x="732453" y="1371428"/>
                  <a:pt x="735544" y="1377287"/>
                </a:cubicBezTo>
                <a:cubicBezTo>
                  <a:pt x="748937" y="1402675"/>
                  <a:pt x="755318" y="1430010"/>
                  <a:pt x="756764" y="1458577"/>
                </a:cubicBezTo>
                <a:cubicBezTo>
                  <a:pt x="756887" y="1461031"/>
                  <a:pt x="756895" y="1463494"/>
                  <a:pt x="757108" y="1465940"/>
                </a:cubicBezTo>
                <a:cubicBezTo>
                  <a:pt x="758375" y="1480486"/>
                  <a:pt x="757802" y="1482498"/>
                  <a:pt x="744215" y="1488332"/>
                </a:cubicBezTo>
                <a:cubicBezTo>
                  <a:pt x="734126" y="1492664"/>
                  <a:pt x="723536" y="1496562"/>
                  <a:pt x="712781" y="1498472"/>
                </a:cubicBezTo>
                <a:cubicBezTo>
                  <a:pt x="683814" y="1503617"/>
                  <a:pt x="654674" y="1507832"/>
                  <a:pt x="625540" y="1511981"/>
                </a:cubicBezTo>
                <a:cubicBezTo>
                  <a:pt x="580114" y="1518449"/>
                  <a:pt x="534395" y="1521481"/>
                  <a:pt x="488540" y="1522029"/>
                </a:cubicBezTo>
                <a:cubicBezTo>
                  <a:pt x="427958" y="1522752"/>
                  <a:pt x="367367" y="1523658"/>
                  <a:pt x="306789" y="1523231"/>
                </a:cubicBezTo>
                <a:cubicBezTo>
                  <a:pt x="271215" y="1522980"/>
                  <a:pt x="235625" y="1520833"/>
                  <a:pt x="200103" y="1518579"/>
                </a:cubicBezTo>
                <a:cubicBezTo>
                  <a:pt x="143289" y="1514974"/>
                  <a:pt x="86915" y="1507766"/>
                  <a:pt x="31607" y="1493880"/>
                </a:cubicBezTo>
                <a:cubicBezTo>
                  <a:pt x="22666" y="1491635"/>
                  <a:pt x="14297" y="1486920"/>
                  <a:pt x="5860" y="1482933"/>
                </a:cubicBezTo>
                <a:cubicBezTo>
                  <a:pt x="1433" y="1480841"/>
                  <a:pt x="-262" y="1476934"/>
                  <a:pt x="32" y="1471774"/>
                </a:cubicBezTo>
                <a:cubicBezTo>
                  <a:pt x="1880" y="1439401"/>
                  <a:pt x="3993" y="1407192"/>
                  <a:pt x="21295" y="1378237"/>
                </a:cubicBezTo>
                <a:cubicBezTo>
                  <a:pt x="23526" y="1374504"/>
                  <a:pt x="23666" y="1368858"/>
                  <a:pt x="23169" y="1364271"/>
                </a:cubicBezTo>
                <a:cubicBezTo>
                  <a:pt x="20957" y="1343833"/>
                  <a:pt x="20482" y="1323540"/>
                  <a:pt x="23871" y="1303132"/>
                </a:cubicBezTo>
                <a:cubicBezTo>
                  <a:pt x="28332" y="1276267"/>
                  <a:pt x="41045" y="1253887"/>
                  <a:pt x="59740" y="1234649"/>
                </a:cubicBezTo>
                <a:cubicBezTo>
                  <a:pt x="72582" y="1221434"/>
                  <a:pt x="85657" y="1208434"/>
                  <a:pt x="98899" y="1195619"/>
                </a:cubicBezTo>
                <a:cubicBezTo>
                  <a:pt x="118216" y="1176926"/>
                  <a:pt x="130484" y="1154702"/>
                  <a:pt x="131493" y="1127593"/>
                </a:cubicBezTo>
                <a:cubicBezTo>
                  <a:pt x="132448" y="1101948"/>
                  <a:pt x="127125" y="1077868"/>
                  <a:pt x="108213" y="1058723"/>
                </a:cubicBezTo>
                <a:cubicBezTo>
                  <a:pt x="97010" y="1047381"/>
                  <a:pt x="85438" y="1036399"/>
                  <a:pt x="74370" y="1024929"/>
                </a:cubicBezTo>
                <a:cubicBezTo>
                  <a:pt x="63868" y="1014043"/>
                  <a:pt x="62267" y="1001475"/>
                  <a:pt x="68137" y="987550"/>
                </a:cubicBezTo>
                <a:cubicBezTo>
                  <a:pt x="74493" y="972473"/>
                  <a:pt x="80703" y="957319"/>
                  <a:pt x="86420" y="941991"/>
                </a:cubicBezTo>
                <a:cubicBezTo>
                  <a:pt x="100218" y="905001"/>
                  <a:pt x="99441" y="866690"/>
                  <a:pt x="97082" y="828037"/>
                </a:cubicBezTo>
                <a:cubicBezTo>
                  <a:pt x="94260" y="781809"/>
                  <a:pt x="76370" y="739899"/>
                  <a:pt x="61782" y="696973"/>
                </a:cubicBezTo>
                <a:cubicBezTo>
                  <a:pt x="45282" y="648419"/>
                  <a:pt x="33285" y="598770"/>
                  <a:pt x="26901" y="547868"/>
                </a:cubicBezTo>
                <a:cubicBezTo>
                  <a:pt x="24054" y="525160"/>
                  <a:pt x="21110" y="502364"/>
                  <a:pt x="20221" y="479529"/>
                </a:cubicBezTo>
                <a:cubicBezTo>
                  <a:pt x="18293" y="430013"/>
                  <a:pt x="26126" y="381610"/>
                  <a:pt x="40808" y="334388"/>
                </a:cubicBezTo>
                <a:cubicBezTo>
                  <a:pt x="48208" y="310588"/>
                  <a:pt x="55162" y="286441"/>
                  <a:pt x="65171" y="263707"/>
                </a:cubicBezTo>
                <a:cubicBezTo>
                  <a:pt x="81946" y="225606"/>
                  <a:pt x="106517" y="193071"/>
                  <a:pt x="142827" y="171003"/>
                </a:cubicBezTo>
                <a:cubicBezTo>
                  <a:pt x="152238" y="165283"/>
                  <a:pt x="162401" y="160787"/>
                  <a:pt x="172290" y="155872"/>
                </a:cubicBezTo>
                <a:cubicBezTo>
                  <a:pt x="177784" y="153142"/>
                  <a:pt x="183393" y="150635"/>
                  <a:pt x="189008" y="148158"/>
                </a:cubicBezTo>
                <a:cubicBezTo>
                  <a:pt x="199487" y="143534"/>
                  <a:pt x="207598" y="136426"/>
                  <a:pt x="212828" y="126123"/>
                </a:cubicBezTo>
                <a:cubicBezTo>
                  <a:pt x="214121" y="123575"/>
                  <a:pt x="215966" y="121304"/>
                  <a:pt x="217217" y="118740"/>
                </a:cubicBezTo>
                <a:cubicBezTo>
                  <a:pt x="224688" y="103433"/>
                  <a:pt x="237053" y="93440"/>
                  <a:pt x="253000" y="88998"/>
                </a:cubicBezTo>
                <a:cubicBezTo>
                  <a:pt x="275818" y="82642"/>
                  <a:pt x="299033" y="77711"/>
                  <a:pt x="322085" y="72193"/>
                </a:cubicBezTo>
                <a:cubicBezTo>
                  <a:pt x="324867" y="71527"/>
                  <a:pt x="327694" y="71045"/>
                  <a:pt x="330478" y="70387"/>
                </a:cubicBezTo>
                <a:cubicBezTo>
                  <a:pt x="364731" y="62297"/>
                  <a:pt x="364569" y="62151"/>
                  <a:pt x="388016" y="35457"/>
                </a:cubicBezTo>
                <a:cubicBezTo>
                  <a:pt x="398189" y="23875"/>
                  <a:pt x="409180" y="13010"/>
                  <a:pt x="421527" y="0"/>
                </a:cubicBezTo>
                <a:cubicBezTo>
                  <a:pt x="423000" y="5190"/>
                  <a:pt x="424219" y="7961"/>
                  <a:pt x="424538" y="10833"/>
                </a:cubicBezTo>
                <a:cubicBezTo>
                  <a:pt x="428638" y="47817"/>
                  <a:pt x="433030" y="84779"/>
                  <a:pt x="436339" y="121836"/>
                </a:cubicBezTo>
                <a:cubicBezTo>
                  <a:pt x="437236" y="131893"/>
                  <a:pt x="441545" y="137271"/>
                  <a:pt x="449983" y="141450"/>
                </a:cubicBezTo>
                <a:cubicBezTo>
                  <a:pt x="467954" y="150348"/>
                  <a:pt x="486187" y="158915"/>
                  <a:pt x="503299" y="169290"/>
                </a:cubicBezTo>
                <a:cubicBezTo>
                  <a:pt x="520041" y="179441"/>
                  <a:pt x="535883" y="191197"/>
                  <a:pt x="551461" y="203111"/>
                </a:cubicBezTo>
                <a:cubicBezTo>
                  <a:pt x="568416" y="216079"/>
                  <a:pt x="579195" y="234146"/>
                  <a:pt x="588803" y="252797"/>
                </a:cubicBezTo>
                <a:cubicBezTo>
                  <a:pt x="602134" y="278677"/>
                  <a:pt x="616556" y="303835"/>
                  <a:pt x="634209" y="327081"/>
                </a:cubicBezTo>
                <a:cubicBezTo>
                  <a:pt x="651797" y="350241"/>
                  <a:pt x="673980" y="368103"/>
                  <a:pt x="697923" y="384157"/>
                </a:cubicBezTo>
                <a:cubicBezTo>
                  <a:pt x="708787" y="391441"/>
                  <a:pt x="719007" y="399678"/>
                  <a:pt x="729658" y="407288"/>
                </a:cubicBezTo>
                <a:cubicBezTo>
                  <a:pt x="751657" y="423004"/>
                  <a:pt x="761259" y="445265"/>
                  <a:pt x="763354" y="471325"/>
                </a:cubicBezTo>
                <a:cubicBezTo>
                  <a:pt x="764877" y="490275"/>
                  <a:pt x="762919" y="509064"/>
                  <a:pt x="757092" y="527116"/>
                </a:cubicBezTo>
                <a:cubicBezTo>
                  <a:pt x="750932" y="546198"/>
                  <a:pt x="738296" y="560266"/>
                  <a:pt x="720673" y="570023"/>
                </a:cubicBezTo>
                <a:cubicBezTo>
                  <a:pt x="715048" y="573138"/>
                  <a:pt x="709487" y="576825"/>
                  <a:pt x="704918" y="581294"/>
                </a:cubicBezTo>
                <a:cubicBezTo>
                  <a:pt x="695625" y="590383"/>
                  <a:pt x="684728" y="595697"/>
                  <a:pt x="671960" y="595325"/>
                </a:cubicBezTo>
                <a:cubicBezTo>
                  <a:pt x="658939" y="594945"/>
                  <a:pt x="645743" y="594018"/>
                  <a:pt x="633021" y="591397"/>
                </a:cubicBezTo>
                <a:cubicBezTo>
                  <a:pt x="611233" y="586907"/>
                  <a:pt x="595034" y="572939"/>
                  <a:pt x="580696" y="556742"/>
                </a:cubicBezTo>
                <a:cubicBezTo>
                  <a:pt x="570081" y="544750"/>
                  <a:pt x="559052" y="533306"/>
                  <a:pt x="545415" y="524617"/>
                </a:cubicBezTo>
                <a:cubicBezTo>
                  <a:pt x="537261" y="519422"/>
                  <a:pt x="528551" y="515996"/>
                  <a:pt x="518889" y="516179"/>
                </a:cubicBezTo>
                <a:cubicBezTo>
                  <a:pt x="503357" y="516473"/>
                  <a:pt x="487839" y="517663"/>
                  <a:pt x="472309" y="517812"/>
                </a:cubicBezTo>
                <a:cubicBezTo>
                  <a:pt x="453527" y="517993"/>
                  <a:pt x="434738" y="517514"/>
                  <a:pt x="415953" y="517245"/>
                </a:cubicBezTo>
                <a:cubicBezTo>
                  <a:pt x="411976" y="517189"/>
                  <a:pt x="408003" y="516808"/>
                  <a:pt x="403392" y="516539"/>
                </a:cubicBezTo>
                <a:cubicBezTo>
                  <a:pt x="401207" y="526363"/>
                  <a:pt x="404857" y="534293"/>
                  <a:pt x="407957" y="542045"/>
                </a:cubicBezTo>
                <a:cubicBezTo>
                  <a:pt x="414092" y="557387"/>
                  <a:pt x="423168" y="571042"/>
                  <a:pt x="434134" y="583349"/>
                </a:cubicBezTo>
                <a:cubicBezTo>
                  <a:pt x="464083" y="616959"/>
                  <a:pt x="493980" y="650618"/>
                  <a:pt x="524267" y="683922"/>
                </a:cubicBezTo>
                <a:cubicBezTo>
                  <a:pt x="554818" y="717518"/>
                  <a:pt x="588291" y="748619"/>
                  <a:pt x="614317" y="786085"/>
                </a:cubicBezTo>
                <a:cubicBezTo>
                  <a:pt x="642656" y="826881"/>
                  <a:pt x="663974" y="871159"/>
                  <a:pt x="669590" y="921089"/>
                </a:cubicBezTo>
                <a:cubicBezTo>
                  <a:pt x="674894" y="968240"/>
                  <a:pt x="669774" y="1014226"/>
                  <a:pt x="647360" y="1057245"/>
                </a:cubicBezTo>
                <a:cubicBezTo>
                  <a:pt x="639830" y="1071697"/>
                  <a:pt x="630533" y="1085565"/>
                  <a:pt x="627872" y="1102111"/>
                </a:cubicBezTo>
                <a:cubicBezTo>
                  <a:pt x="623640" y="1128439"/>
                  <a:pt x="626183" y="1153784"/>
                  <a:pt x="642300" y="1175941"/>
                </a:cubicBezTo>
                <a:cubicBezTo>
                  <a:pt x="650201" y="1186801"/>
                  <a:pt x="659595" y="1196636"/>
                  <a:pt x="668829" y="1206449"/>
                </a:cubicBezTo>
                <a:cubicBezTo>
                  <a:pt x="679770" y="1218075"/>
                  <a:pt x="691267" y="1229177"/>
                  <a:pt x="703087" y="1241174"/>
                </a:cubicBezTo>
                <a:moveTo>
                  <a:pt x="648750" y="562343"/>
                </a:moveTo>
                <a:cubicBezTo>
                  <a:pt x="656729" y="562558"/>
                  <a:pt x="664698" y="567407"/>
                  <a:pt x="674049" y="562834"/>
                </a:cubicBezTo>
                <a:cubicBezTo>
                  <a:pt x="668990" y="558037"/>
                  <a:pt x="664729" y="554259"/>
                  <a:pt x="660781" y="550178"/>
                </a:cubicBezTo>
                <a:cubicBezTo>
                  <a:pt x="656713" y="545973"/>
                  <a:pt x="651493" y="542363"/>
                  <a:pt x="650911" y="534051"/>
                </a:cubicBezTo>
                <a:cubicBezTo>
                  <a:pt x="654940" y="535536"/>
                  <a:pt x="657753" y="536907"/>
                  <a:pt x="660724" y="537605"/>
                </a:cubicBezTo>
                <a:cubicBezTo>
                  <a:pt x="669824" y="539743"/>
                  <a:pt x="678915" y="542853"/>
                  <a:pt x="688133" y="543363"/>
                </a:cubicBezTo>
                <a:cubicBezTo>
                  <a:pt x="712019" y="544686"/>
                  <a:pt x="726964" y="534053"/>
                  <a:pt x="731514" y="510767"/>
                </a:cubicBezTo>
                <a:cubicBezTo>
                  <a:pt x="734296" y="496535"/>
                  <a:pt x="734146" y="481511"/>
                  <a:pt x="733611" y="466905"/>
                </a:cubicBezTo>
                <a:cubicBezTo>
                  <a:pt x="732951" y="448863"/>
                  <a:pt x="723348" y="435653"/>
                  <a:pt x="708076" y="425975"/>
                </a:cubicBezTo>
                <a:cubicBezTo>
                  <a:pt x="694258" y="417218"/>
                  <a:pt x="681056" y="407489"/>
                  <a:pt x="667538" y="398254"/>
                </a:cubicBezTo>
                <a:cubicBezTo>
                  <a:pt x="641278" y="380314"/>
                  <a:pt x="617580" y="359743"/>
                  <a:pt x="601016" y="332127"/>
                </a:cubicBezTo>
                <a:cubicBezTo>
                  <a:pt x="588810" y="311778"/>
                  <a:pt x="576093" y="291645"/>
                  <a:pt x="565354" y="270526"/>
                </a:cubicBezTo>
                <a:cubicBezTo>
                  <a:pt x="548401" y="237186"/>
                  <a:pt x="523821" y="212104"/>
                  <a:pt x="490657" y="195121"/>
                </a:cubicBezTo>
                <a:cubicBezTo>
                  <a:pt x="471346" y="185231"/>
                  <a:pt x="452394" y="174606"/>
                  <a:pt x="432834" y="165243"/>
                </a:cubicBezTo>
                <a:cubicBezTo>
                  <a:pt x="416725" y="157532"/>
                  <a:pt x="408325" y="145526"/>
                  <a:pt x="407594" y="127852"/>
                </a:cubicBezTo>
                <a:cubicBezTo>
                  <a:pt x="406783" y="108242"/>
                  <a:pt x="405935" y="88634"/>
                  <a:pt x="405020" y="69029"/>
                </a:cubicBezTo>
                <a:cubicBezTo>
                  <a:pt x="404882" y="66067"/>
                  <a:pt x="404287" y="63127"/>
                  <a:pt x="403638" y="58130"/>
                </a:cubicBezTo>
                <a:cubicBezTo>
                  <a:pt x="381792" y="82321"/>
                  <a:pt x="361650" y="104820"/>
                  <a:pt x="349776" y="133259"/>
                </a:cubicBezTo>
                <a:cubicBezTo>
                  <a:pt x="345032" y="144621"/>
                  <a:pt x="337822" y="153814"/>
                  <a:pt x="326975" y="159669"/>
                </a:cubicBezTo>
                <a:cubicBezTo>
                  <a:pt x="295461" y="176681"/>
                  <a:pt x="266610" y="197333"/>
                  <a:pt x="240374" y="221714"/>
                </a:cubicBezTo>
                <a:cubicBezTo>
                  <a:pt x="212881" y="247263"/>
                  <a:pt x="188313" y="275340"/>
                  <a:pt x="171637" y="309087"/>
                </a:cubicBezTo>
                <a:cubicBezTo>
                  <a:pt x="139180" y="374765"/>
                  <a:pt x="129692" y="444532"/>
                  <a:pt x="138048" y="516954"/>
                </a:cubicBezTo>
                <a:cubicBezTo>
                  <a:pt x="142936" y="559318"/>
                  <a:pt x="152518" y="600762"/>
                  <a:pt x="163889" y="641780"/>
                </a:cubicBezTo>
                <a:cubicBezTo>
                  <a:pt x="177329" y="690261"/>
                  <a:pt x="191989" y="738413"/>
                  <a:pt x="204800" y="787055"/>
                </a:cubicBezTo>
                <a:cubicBezTo>
                  <a:pt x="218820" y="840287"/>
                  <a:pt x="228587" y="894088"/>
                  <a:pt x="218549" y="949545"/>
                </a:cubicBezTo>
                <a:cubicBezTo>
                  <a:pt x="213279" y="978659"/>
                  <a:pt x="207130" y="1007359"/>
                  <a:pt x="191487" y="1033064"/>
                </a:cubicBezTo>
                <a:cubicBezTo>
                  <a:pt x="190499" y="1034686"/>
                  <a:pt x="190018" y="1036618"/>
                  <a:pt x="188729" y="1039835"/>
                </a:cubicBezTo>
                <a:cubicBezTo>
                  <a:pt x="200470" y="1040170"/>
                  <a:pt x="210952" y="1040298"/>
                  <a:pt x="221417" y="1040799"/>
                </a:cubicBezTo>
                <a:cubicBezTo>
                  <a:pt x="263912" y="1042835"/>
                  <a:pt x="306390" y="1046436"/>
                  <a:pt x="348895" y="1046759"/>
                </a:cubicBezTo>
                <a:cubicBezTo>
                  <a:pt x="414380" y="1047258"/>
                  <a:pt x="479896" y="1046092"/>
                  <a:pt x="545369" y="1044456"/>
                </a:cubicBezTo>
                <a:cubicBezTo>
                  <a:pt x="567764" y="1043897"/>
                  <a:pt x="590066" y="1039744"/>
                  <a:pt x="612424" y="1037365"/>
                </a:cubicBezTo>
                <a:cubicBezTo>
                  <a:pt x="617948" y="1036777"/>
                  <a:pt x="621342" y="1034139"/>
                  <a:pt x="623169" y="1028873"/>
                </a:cubicBezTo>
                <a:cubicBezTo>
                  <a:pt x="630975" y="1006370"/>
                  <a:pt x="637026" y="983472"/>
                  <a:pt x="638508" y="959599"/>
                </a:cubicBezTo>
                <a:cubicBezTo>
                  <a:pt x="641131" y="917363"/>
                  <a:pt x="628970" y="878727"/>
                  <a:pt x="609213" y="842075"/>
                </a:cubicBezTo>
                <a:cubicBezTo>
                  <a:pt x="587874" y="802491"/>
                  <a:pt x="559403" y="768169"/>
                  <a:pt x="529367" y="735065"/>
                </a:cubicBezTo>
                <a:cubicBezTo>
                  <a:pt x="487563" y="688992"/>
                  <a:pt x="445474" y="643176"/>
                  <a:pt x="403792" y="596993"/>
                </a:cubicBezTo>
                <a:cubicBezTo>
                  <a:pt x="380393" y="571066"/>
                  <a:pt x="360083" y="542922"/>
                  <a:pt x="344708" y="511366"/>
                </a:cubicBezTo>
                <a:cubicBezTo>
                  <a:pt x="324385" y="469655"/>
                  <a:pt x="317321" y="425966"/>
                  <a:pt x="324464" y="380084"/>
                </a:cubicBezTo>
                <a:cubicBezTo>
                  <a:pt x="324821" y="377789"/>
                  <a:pt x="326581" y="375713"/>
                  <a:pt x="327688" y="373535"/>
                </a:cubicBezTo>
                <a:cubicBezTo>
                  <a:pt x="328570" y="373570"/>
                  <a:pt x="329452" y="373606"/>
                  <a:pt x="330334" y="373641"/>
                </a:cubicBezTo>
                <a:cubicBezTo>
                  <a:pt x="331649" y="377308"/>
                  <a:pt x="333001" y="380963"/>
                  <a:pt x="334272" y="384645"/>
                </a:cubicBezTo>
                <a:cubicBezTo>
                  <a:pt x="342569" y="408660"/>
                  <a:pt x="351164" y="432573"/>
                  <a:pt x="365260" y="453955"/>
                </a:cubicBezTo>
                <a:cubicBezTo>
                  <a:pt x="375537" y="469544"/>
                  <a:pt x="388811" y="481767"/>
                  <a:pt x="408246" y="483592"/>
                </a:cubicBezTo>
                <a:cubicBezTo>
                  <a:pt x="426928" y="485346"/>
                  <a:pt x="445757" y="486037"/>
                  <a:pt x="464529" y="486187"/>
                </a:cubicBezTo>
                <a:cubicBezTo>
                  <a:pt x="480053" y="486311"/>
                  <a:pt x="495582" y="484792"/>
                  <a:pt x="511119" y="484308"/>
                </a:cubicBezTo>
                <a:cubicBezTo>
                  <a:pt x="532443" y="483644"/>
                  <a:pt x="551690" y="490014"/>
                  <a:pt x="567913" y="503736"/>
                </a:cubicBezTo>
                <a:cubicBezTo>
                  <a:pt x="581642" y="515348"/>
                  <a:pt x="594604" y="527888"/>
                  <a:pt x="607611" y="540326"/>
                </a:cubicBezTo>
                <a:cubicBezTo>
                  <a:pt x="618811" y="551038"/>
                  <a:pt x="631177" y="559300"/>
                  <a:pt x="648750" y="562343"/>
                </a:cubicBezTo>
                <a:moveTo>
                  <a:pt x="462594" y="1369008"/>
                </a:moveTo>
                <a:cubicBezTo>
                  <a:pt x="478517" y="1368137"/>
                  <a:pt x="494449" y="1367429"/>
                  <a:pt x="510357" y="1366345"/>
                </a:cubicBezTo>
                <a:cubicBezTo>
                  <a:pt x="523399" y="1365456"/>
                  <a:pt x="536424" y="1364247"/>
                  <a:pt x="549434" y="1362956"/>
                </a:cubicBezTo>
                <a:cubicBezTo>
                  <a:pt x="577089" y="1360213"/>
                  <a:pt x="604749" y="1357503"/>
                  <a:pt x="632369" y="1354439"/>
                </a:cubicBezTo>
                <a:cubicBezTo>
                  <a:pt x="653805" y="1352062"/>
                  <a:pt x="675183" y="1349170"/>
                  <a:pt x="697252" y="1346424"/>
                </a:cubicBezTo>
                <a:cubicBezTo>
                  <a:pt x="701148" y="1316348"/>
                  <a:pt x="695768" y="1289474"/>
                  <a:pt x="676674" y="1266396"/>
                </a:cubicBezTo>
                <a:cubicBezTo>
                  <a:pt x="667313" y="1255080"/>
                  <a:pt x="656878" y="1244625"/>
                  <a:pt x="646594" y="1234108"/>
                </a:cubicBezTo>
                <a:cubicBezTo>
                  <a:pt x="634298" y="1221533"/>
                  <a:pt x="621353" y="1209623"/>
                  <a:pt x="612063" y="1194382"/>
                </a:cubicBezTo>
                <a:cubicBezTo>
                  <a:pt x="596511" y="1168867"/>
                  <a:pt x="588079" y="1141707"/>
                  <a:pt x="591616" y="1111541"/>
                </a:cubicBezTo>
                <a:cubicBezTo>
                  <a:pt x="592450" y="1104432"/>
                  <a:pt x="593365" y="1097332"/>
                  <a:pt x="594320" y="1089609"/>
                </a:cubicBezTo>
                <a:cubicBezTo>
                  <a:pt x="588294" y="1089609"/>
                  <a:pt x="583452" y="1089392"/>
                  <a:pt x="578634" y="1089642"/>
                </a:cubicBezTo>
                <a:cubicBezTo>
                  <a:pt x="533732" y="1091976"/>
                  <a:pt x="488841" y="1094525"/>
                  <a:pt x="443931" y="1096700"/>
                </a:cubicBezTo>
                <a:cubicBezTo>
                  <a:pt x="430451" y="1097353"/>
                  <a:pt x="416923" y="1097005"/>
                  <a:pt x="403417" y="1097156"/>
                </a:cubicBezTo>
                <a:cubicBezTo>
                  <a:pt x="389337" y="1097313"/>
                  <a:pt x="388961" y="1097850"/>
                  <a:pt x="388348" y="1111502"/>
                </a:cubicBezTo>
                <a:cubicBezTo>
                  <a:pt x="387375" y="1133151"/>
                  <a:pt x="386231" y="1154793"/>
                  <a:pt x="385048" y="1176431"/>
                </a:cubicBezTo>
                <a:cubicBezTo>
                  <a:pt x="382637" y="1220514"/>
                  <a:pt x="380158" y="1264593"/>
                  <a:pt x="377687" y="1308672"/>
                </a:cubicBezTo>
                <a:cubicBezTo>
                  <a:pt x="377458" y="1312751"/>
                  <a:pt x="376852" y="1316821"/>
                  <a:pt x="376823" y="1320897"/>
                </a:cubicBezTo>
                <a:cubicBezTo>
                  <a:pt x="376717" y="1335880"/>
                  <a:pt x="376781" y="1350864"/>
                  <a:pt x="376781" y="1366151"/>
                </a:cubicBezTo>
                <a:cubicBezTo>
                  <a:pt x="404707" y="1370397"/>
                  <a:pt x="432477" y="1369351"/>
                  <a:pt x="462594" y="1369008"/>
                </a:cubicBezTo>
                <a:moveTo>
                  <a:pt x="648494" y="1463981"/>
                </a:moveTo>
                <a:cubicBezTo>
                  <a:pt x="671329" y="1460052"/>
                  <a:pt x="694163" y="1456122"/>
                  <a:pt x="718746" y="1451892"/>
                </a:cubicBezTo>
                <a:cubicBezTo>
                  <a:pt x="716257" y="1439067"/>
                  <a:pt x="714578" y="1427816"/>
                  <a:pt x="711827" y="1416835"/>
                </a:cubicBezTo>
                <a:cubicBezTo>
                  <a:pt x="707611" y="1400009"/>
                  <a:pt x="703502" y="1397423"/>
                  <a:pt x="685812" y="1398502"/>
                </a:cubicBezTo>
                <a:cubicBezTo>
                  <a:pt x="684179" y="1398602"/>
                  <a:pt x="682547" y="1398768"/>
                  <a:pt x="680924" y="1398973"/>
                </a:cubicBezTo>
                <a:cubicBezTo>
                  <a:pt x="653380" y="1402446"/>
                  <a:pt x="625911" y="1406752"/>
                  <a:pt x="598278" y="1409218"/>
                </a:cubicBezTo>
                <a:cubicBezTo>
                  <a:pt x="557171" y="1412886"/>
                  <a:pt x="515983" y="1415946"/>
                  <a:pt x="474765" y="1417945"/>
                </a:cubicBezTo>
                <a:cubicBezTo>
                  <a:pt x="444944" y="1419391"/>
                  <a:pt x="415021" y="1418680"/>
                  <a:pt x="385143" y="1418978"/>
                </a:cubicBezTo>
                <a:cubicBezTo>
                  <a:pt x="382419" y="1419005"/>
                  <a:pt x="379697" y="1419376"/>
                  <a:pt x="376639" y="1419613"/>
                </a:cubicBezTo>
                <a:cubicBezTo>
                  <a:pt x="376639" y="1438152"/>
                  <a:pt x="376639" y="1455909"/>
                  <a:pt x="376639" y="1473939"/>
                </a:cubicBezTo>
                <a:cubicBezTo>
                  <a:pt x="378971" y="1474343"/>
                  <a:pt x="380523" y="1474802"/>
                  <a:pt x="382089" y="1474854"/>
                </a:cubicBezTo>
                <a:cubicBezTo>
                  <a:pt x="404571" y="1475605"/>
                  <a:pt x="427058" y="1476986"/>
                  <a:pt x="449536" y="1476855"/>
                </a:cubicBezTo>
                <a:cubicBezTo>
                  <a:pt x="486344" y="1476639"/>
                  <a:pt x="523207" y="1476480"/>
                  <a:pt x="559930" y="1474307"/>
                </a:cubicBezTo>
                <a:cubicBezTo>
                  <a:pt x="588839" y="1472596"/>
                  <a:pt x="617570" y="1467884"/>
                  <a:pt x="648494" y="1463981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" name="Free-form: Shape 9">
            <a:extLst>
              <a:ext uri="{FF2B5EF4-FFF2-40B4-BE49-F238E27FC236}">
                <a16:creationId xmlns:a16="http://schemas.microsoft.com/office/drawing/2014/main" id="{4907D28C-74C5-FBA6-BB80-4BB7FC036D9F}"/>
              </a:ext>
            </a:extLst>
          </p:cNvPr>
          <p:cNvSpPr/>
          <p:nvPr/>
        </p:nvSpPr>
        <p:spPr>
          <a:xfrm>
            <a:off x="1539673" y="1646067"/>
            <a:ext cx="497702" cy="821885"/>
          </a:xfrm>
          <a:custGeom>
            <a:avLst/>
            <a:gdLst>
              <a:gd name="csX0" fmla="*/ 512604 w 598747"/>
              <a:gd name="csY0" fmla="*/ 503918 h 988745"/>
              <a:gd name="csX1" fmla="*/ 472435 w 598747"/>
              <a:gd name="csY1" fmla="*/ 482196 h 988745"/>
              <a:gd name="csX2" fmla="*/ 432737 w 598747"/>
              <a:gd name="csY2" fmla="*/ 445605 h 988745"/>
              <a:gd name="csX3" fmla="*/ 375943 w 598747"/>
              <a:gd name="csY3" fmla="*/ 426178 h 988745"/>
              <a:gd name="csX4" fmla="*/ 329354 w 598747"/>
              <a:gd name="csY4" fmla="*/ 428057 h 988745"/>
              <a:gd name="csX5" fmla="*/ 273070 w 598747"/>
              <a:gd name="csY5" fmla="*/ 425461 h 988745"/>
              <a:gd name="csX6" fmla="*/ 230084 w 598747"/>
              <a:gd name="csY6" fmla="*/ 395825 h 988745"/>
              <a:gd name="csX7" fmla="*/ 199097 w 598747"/>
              <a:gd name="csY7" fmla="*/ 326515 h 988745"/>
              <a:gd name="csX8" fmla="*/ 195158 w 598747"/>
              <a:gd name="csY8" fmla="*/ 315511 h 988745"/>
              <a:gd name="csX9" fmla="*/ 192512 w 598747"/>
              <a:gd name="csY9" fmla="*/ 315405 h 988745"/>
              <a:gd name="csX10" fmla="*/ 189288 w 598747"/>
              <a:gd name="csY10" fmla="*/ 321954 h 988745"/>
              <a:gd name="csX11" fmla="*/ 209532 w 598747"/>
              <a:gd name="csY11" fmla="*/ 453235 h 988745"/>
              <a:gd name="csX12" fmla="*/ 268616 w 598747"/>
              <a:gd name="csY12" fmla="*/ 538863 h 988745"/>
              <a:gd name="csX13" fmla="*/ 394191 w 598747"/>
              <a:gd name="csY13" fmla="*/ 676935 h 988745"/>
              <a:gd name="csX14" fmla="*/ 474037 w 598747"/>
              <a:gd name="csY14" fmla="*/ 783945 h 988745"/>
              <a:gd name="csX15" fmla="*/ 503332 w 598747"/>
              <a:gd name="csY15" fmla="*/ 901469 h 988745"/>
              <a:gd name="csX16" fmla="*/ 487993 w 598747"/>
              <a:gd name="csY16" fmla="*/ 970743 h 988745"/>
              <a:gd name="csX17" fmla="*/ 477248 w 598747"/>
              <a:gd name="csY17" fmla="*/ 979235 h 988745"/>
              <a:gd name="csX18" fmla="*/ 410194 w 598747"/>
              <a:gd name="csY18" fmla="*/ 986326 h 988745"/>
              <a:gd name="csX19" fmla="*/ 213720 w 598747"/>
              <a:gd name="csY19" fmla="*/ 988629 h 988745"/>
              <a:gd name="csX20" fmla="*/ 86242 w 598747"/>
              <a:gd name="csY20" fmla="*/ 982669 h 988745"/>
              <a:gd name="csX21" fmla="*/ 53553 w 598747"/>
              <a:gd name="csY21" fmla="*/ 981705 h 988745"/>
              <a:gd name="csX22" fmla="*/ 56311 w 598747"/>
              <a:gd name="csY22" fmla="*/ 974933 h 988745"/>
              <a:gd name="csX23" fmla="*/ 83373 w 598747"/>
              <a:gd name="csY23" fmla="*/ 891414 h 988745"/>
              <a:gd name="csX24" fmla="*/ 69625 w 598747"/>
              <a:gd name="csY24" fmla="*/ 728925 h 988745"/>
              <a:gd name="csX25" fmla="*/ 28713 w 598747"/>
              <a:gd name="csY25" fmla="*/ 583650 h 988745"/>
              <a:gd name="csX26" fmla="*/ 2872 w 598747"/>
              <a:gd name="csY26" fmla="*/ 458823 h 988745"/>
              <a:gd name="csX27" fmla="*/ 36461 w 598747"/>
              <a:gd name="csY27" fmla="*/ 250957 h 988745"/>
              <a:gd name="csX28" fmla="*/ 105198 w 598747"/>
              <a:gd name="csY28" fmla="*/ 163584 h 988745"/>
              <a:gd name="csX29" fmla="*/ 191800 w 598747"/>
              <a:gd name="csY29" fmla="*/ 101539 h 988745"/>
              <a:gd name="csX30" fmla="*/ 214600 w 598747"/>
              <a:gd name="csY30" fmla="*/ 75129 h 988745"/>
              <a:gd name="csX31" fmla="*/ 268462 w 598747"/>
              <a:gd name="csY31" fmla="*/ 0 h 988745"/>
              <a:gd name="csX32" fmla="*/ 269844 w 598747"/>
              <a:gd name="csY32" fmla="*/ 10898 h 988745"/>
              <a:gd name="csX33" fmla="*/ 272418 w 598747"/>
              <a:gd name="csY33" fmla="*/ 69722 h 988745"/>
              <a:gd name="csX34" fmla="*/ 297658 w 598747"/>
              <a:gd name="csY34" fmla="*/ 107113 h 988745"/>
              <a:gd name="csX35" fmla="*/ 355481 w 598747"/>
              <a:gd name="csY35" fmla="*/ 136991 h 988745"/>
              <a:gd name="csX36" fmla="*/ 430178 w 598747"/>
              <a:gd name="csY36" fmla="*/ 212396 h 988745"/>
              <a:gd name="csX37" fmla="*/ 465840 w 598747"/>
              <a:gd name="csY37" fmla="*/ 273997 h 988745"/>
              <a:gd name="csX38" fmla="*/ 532362 w 598747"/>
              <a:gd name="csY38" fmla="*/ 340124 h 988745"/>
              <a:gd name="csX39" fmla="*/ 572901 w 598747"/>
              <a:gd name="csY39" fmla="*/ 367845 h 988745"/>
              <a:gd name="csX40" fmla="*/ 598436 w 598747"/>
              <a:gd name="csY40" fmla="*/ 408775 h 988745"/>
              <a:gd name="csX41" fmla="*/ 596339 w 598747"/>
              <a:gd name="csY41" fmla="*/ 452637 h 988745"/>
              <a:gd name="csX42" fmla="*/ 552957 w 598747"/>
              <a:gd name="csY42" fmla="*/ 485233 h 988745"/>
              <a:gd name="csX43" fmla="*/ 525548 w 598747"/>
              <a:gd name="csY43" fmla="*/ 479475 h 988745"/>
              <a:gd name="csX44" fmla="*/ 515736 w 598747"/>
              <a:gd name="csY44" fmla="*/ 475921 h 988745"/>
              <a:gd name="csX45" fmla="*/ 525605 w 598747"/>
              <a:gd name="csY45" fmla="*/ 492048 h 988745"/>
              <a:gd name="csX46" fmla="*/ 538873 w 598747"/>
              <a:gd name="csY46" fmla="*/ 504704 h 988745"/>
              <a:gd name="csX47" fmla="*/ 512604 w 598747"/>
              <a:gd name="csY47" fmla="*/ 503918 h 988745"/>
              <a:gd name="csX48" fmla="*/ 332072 w 598747"/>
              <a:gd name="csY48" fmla="*/ 218143 h 988745"/>
              <a:gd name="csX49" fmla="*/ 334388 w 598747"/>
              <a:gd name="csY49" fmla="*/ 226400 h 988745"/>
              <a:gd name="csX50" fmla="*/ 372370 w 598747"/>
              <a:gd name="csY50" fmla="*/ 254505 h 988745"/>
              <a:gd name="csX51" fmla="*/ 405258 w 598747"/>
              <a:gd name="csY51" fmla="*/ 252089 h 988745"/>
              <a:gd name="csX52" fmla="*/ 409167 w 598747"/>
              <a:gd name="csY52" fmla="*/ 244359 h 988745"/>
              <a:gd name="csX53" fmla="*/ 396364 w 598747"/>
              <a:gd name="csY53" fmla="*/ 219471 h 988745"/>
              <a:gd name="csX54" fmla="*/ 365755 w 598747"/>
              <a:gd name="csY54" fmla="*/ 195821 h 988745"/>
              <a:gd name="csX55" fmla="*/ 333572 w 598747"/>
              <a:gd name="csY55" fmla="*/ 188536 h 988745"/>
              <a:gd name="csX56" fmla="*/ 322931 w 598747"/>
              <a:gd name="csY56" fmla="*/ 190843 h 988745"/>
              <a:gd name="csX57" fmla="*/ 329041 w 598747"/>
              <a:gd name="csY57" fmla="*/ 203001 h 988745"/>
              <a:gd name="csX58" fmla="*/ 332072 w 598747"/>
              <a:gd name="csY58" fmla="*/ 218143 h 98874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</a:cxnLst>
            <a:rect l="l" t="t" r="r" b="b"/>
            <a:pathLst>
              <a:path w="598747" h="988745">
                <a:moveTo>
                  <a:pt x="512604" y="503918"/>
                </a:moveTo>
                <a:cubicBezTo>
                  <a:pt x="496002" y="501170"/>
                  <a:pt x="483635" y="492907"/>
                  <a:pt x="472435" y="482196"/>
                </a:cubicBezTo>
                <a:cubicBezTo>
                  <a:pt x="459429" y="469758"/>
                  <a:pt x="446467" y="457218"/>
                  <a:pt x="432737" y="445605"/>
                </a:cubicBezTo>
                <a:cubicBezTo>
                  <a:pt x="416514" y="431883"/>
                  <a:pt x="397267" y="425513"/>
                  <a:pt x="375943" y="426178"/>
                </a:cubicBezTo>
                <a:cubicBezTo>
                  <a:pt x="360407" y="426662"/>
                  <a:pt x="344877" y="428180"/>
                  <a:pt x="329354" y="428057"/>
                </a:cubicBezTo>
                <a:cubicBezTo>
                  <a:pt x="310581" y="427907"/>
                  <a:pt x="291752" y="427215"/>
                  <a:pt x="273070" y="425461"/>
                </a:cubicBezTo>
                <a:cubicBezTo>
                  <a:pt x="253636" y="423637"/>
                  <a:pt x="240361" y="411413"/>
                  <a:pt x="230084" y="395825"/>
                </a:cubicBezTo>
                <a:cubicBezTo>
                  <a:pt x="215988" y="374443"/>
                  <a:pt x="207393" y="350530"/>
                  <a:pt x="199097" y="326515"/>
                </a:cubicBezTo>
                <a:cubicBezTo>
                  <a:pt x="197825" y="322833"/>
                  <a:pt x="196473" y="319178"/>
                  <a:pt x="195158" y="315511"/>
                </a:cubicBezTo>
                <a:cubicBezTo>
                  <a:pt x="194276" y="315475"/>
                  <a:pt x="193394" y="315440"/>
                  <a:pt x="192512" y="315405"/>
                </a:cubicBezTo>
                <a:cubicBezTo>
                  <a:pt x="191405" y="317583"/>
                  <a:pt x="189646" y="319659"/>
                  <a:pt x="189288" y="321954"/>
                </a:cubicBezTo>
                <a:cubicBezTo>
                  <a:pt x="182145" y="367836"/>
                  <a:pt x="189209" y="411525"/>
                  <a:pt x="209532" y="453235"/>
                </a:cubicBezTo>
                <a:cubicBezTo>
                  <a:pt x="224908" y="484792"/>
                  <a:pt x="245217" y="512936"/>
                  <a:pt x="268616" y="538863"/>
                </a:cubicBezTo>
                <a:cubicBezTo>
                  <a:pt x="310298" y="585046"/>
                  <a:pt x="352387" y="630861"/>
                  <a:pt x="394191" y="676935"/>
                </a:cubicBezTo>
                <a:cubicBezTo>
                  <a:pt x="424227" y="710039"/>
                  <a:pt x="452698" y="744360"/>
                  <a:pt x="474037" y="783945"/>
                </a:cubicBezTo>
                <a:cubicBezTo>
                  <a:pt x="493795" y="820596"/>
                  <a:pt x="505956" y="859233"/>
                  <a:pt x="503332" y="901469"/>
                </a:cubicBezTo>
                <a:cubicBezTo>
                  <a:pt x="501850" y="925342"/>
                  <a:pt x="495799" y="948239"/>
                  <a:pt x="487993" y="970743"/>
                </a:cubicBezTo>
                <a:cubicBezTo>
                  <a:pt x="486166" y="976009"/>
                  <a:pt x="482772" y="978647"/>
                  <a:pt x="477248" y="979235"/>
                </a:cubicBezTo>
                <a:cubicBezTo>
                  <a:pt x="454890" y="981614"/>
                  <a:pt x="432589" y="985767"/>
                  <a:pt x="410194" y="986326"/>
                </a:cubicBezTo>
                <a:cubicBezTo>
                  <a:pt x="344720" y="987961"/>
                  <a:pt x="279205" y="989128"/>
                  <a:pt x="213720" y="988629"/>
                </a:cubicBezTo>
                <a:cubicBezTo>
                  <a:pt x="171215" y="988306"/>
                  <a:pt x="128736" y="984705"/>
                  <a:pt x="86242" y="982669"/>
                </a:cubicBezTo>
                <a:cubicBezTo>
                  <a:pt x="75776" y="982167"/>
                  <a:pt x="65294" y="982040"/>
                  <a:pt x="53553" y="981705"/>
                </a:cubicBezTo>
                <a:cubicBezTo>
                  <a:pt x="54842" y="978488"/>
                  <a:pt x="55323" y="976556"/>
                  <a:pt x="56311" y="974933"/>
                </a:cubicBezTo>
                <a:cubicBezTo>
                  <a:pt x="71955" y="949229"/>
                  <a:pt x="78103" y="920529"/>
                  <a:pt x="83373" y="891414"/>
                </a:cubicBezTo>
                <a:cubicBezTo>
                  <a:pt x="93411" y="835958"/>
                  <a:pt x="83645" y="782156"/>
                  <a:pt x="69625" y="728925"/>
                </a:cubicBezTo>
                <a:cubicBezTo>
                  <a:pt x="56813" y="680283"/>
                  <a:pt x="42153" y="632130"/>
                  <a:pt x="28713" y="583650"/>
                </a:cubicBezTo>
                <a:cubicBezTo>
                  <a:pt x="17342" y="542631"/>
                  <a:pt x="7760" y="501188"/>
                  <a:pt x="2872" y="458823"/>
                </a:cubicBezTo>
                <a:cubicBezTo>
                  <a:pt x="-5484" y="386401"/>
                  <a:pt x="4005" y="316635"/>
                  <a:pt x="36461" y="250957"/>
                </a:cubicBezTo>
                <a:cubicBezTo>
                  <a:pt x="53137" y="217210"/>
                  <a:pt x="77705" y="189133"/>
                  <a:pt x="105198" y="163584"/>
                </a:cubicBezTo>
                <a:cubicBezTo>
                  <a:pt x="131434" y="139203"/>
                  <a:pt x="160285" y="118551"/>
                  <a:pt x="191800" y="101539"/>
                </a:cubicBezTo>
                <a:cubicBezTo>
                  <a:pt x="202646" y="95684"/>
                  <a:pt x="209856" y="86491"/>
                  <a:pt x="214600" y="75129"/>
                </a:cubicBezTo>
                <a:cubicBezTo>
                  <a:pt x="226474" y="46689"/>
                  <a:pt x="246616" y="24191"/>
                  <a:pt x="268462" y="0"/>
                </a:cubicBezTo>
                <a:cubicBezTo>
                  <a:pt x="269111" y="4997"/>
                  <a:pt x="269706" y="7937"/>
                  <a:pt x="269844" y="10898"/>
                </a:cubicBezTo>
                <a:cubicBezTo>
                  <a:pt x="270760" y="30504"/>
                  <a:pt x="271607" y="50112"/>
                  <a:pt x="272418" y="69722"/>
                </a:cubicBezTo>
                <a:cubicBezTo>
                  <a:pt x="273150" y="87396"/>
                  <a:pt x="281549" y="99401"/>
                  <a:pt x="297658" y="107113"/>
                </a:cubicBezTo>
                <a:cubicBezTo>
                  <a:pt x="317218" y="116476"/>
                  <a:pt x="336170" y="127101"/>
                  <a:pt x="355481" y="136991"/>
                </a:cubicBezTo>
                <a:cubicBezTo>
                  <a:pt x="388645" y="153974"/>
                  <a:pt x="413226" y="179056"/>
                  <a:pt x="430178" y="212396"/>
                </a:cubicBezTo>
                <a:cubicBezTo>
                  <a:pt x="440917" y="233515"/>
                  <a:pt x="453634" y="253647"/>
                  <a:pt x="465840" y="273997"/>
                </a:cubicBezTo>
                <a:cubicBezTo>
                  <a:pt x="482404" y="301613"/>
                  <a:pt x="506102" y="322183"/>
                  <a:pt x="532362" y="340124"/>
                </a:cubicBezTo>
                <a:cubicBezTo>
                  <a:pt x="545881" y="349359"/>
                  <a:pt x="559082" y="359088"/>
                  <a:pt x="572901" y="367845"/>
                </a:cubicBezTo>
                <a:cubicBezTo>
                  <a:pt x="588172" y="377523"/>
                  <a:pt x="597775" y="390733"/>
                  <a:pt x="598436" y="408775"/>
                </a:cubicBezTo>
                <a:cubicBezTo>
                  <a:pt x="598970" y="423381"/>
                  <a:pt x="599120" y="438404"/>
                  <a:pt x="596339" y="452637"/>
                </a:cubicBezTo>
                <a:cubicBezTo>
                  <a:pt x="591789" y="475923"/>
                  <a:pt x="576843" y="486555"/>
                  <a:pt x="552957" y="485233"/>
                </a:cubicBezTo>
                <a:cubicBezTo>
                  <a:pt x="543740" y="484722"/>
                  <a:pt x="534648" y="481613"/>
                  <a:pt x="525548" y="479475"/>
                </a:cubicBezTo>
                <a:cubicBezTo>
                  <a:pt x="522577" y="478776"/>
                  <a:pt x="519764" y="477405"/>
                  <a:pt x="515736" y="475921"/>
                </a:cubicBezTo>
                <a:cubicBezTo>
                  <a:pt x="516318" y="484233"/>
                  <a:pt x="521537" y="487842"/>
                  <a:pt x="525605" y="492048"/>
                </a:cubicBezTo>
                <a:cubicBezTo>
                  <a:pt x="529554" y="496129"/>
                  <a:pt x="533815" y="499907"/>
                  <a:pt x="538873" y="504704"/>
                </a:cubicBezTo>
                <a:cubicBezTo>
                  <a:pt x="529522" y="509277"/>
                  <a:pt x="521553" y="504428"/>
                  <a:pt x="512604" y="503918"/>
                </a:cubicBezTo>
                <a:moveTo>
                  <a:pt x="332072" y="218143"/>
                </a:moveTo>
                <a:cubicBezTo>
                  <a:pt x="332837" y="220898"/>
                  <a:pt x="333478" y="223695"/>
                  <a:pt x="334388" y="226400"/>
                </a:cubicBezTo>
                <a:cubicBezTo>
                  <a:pt x="341073" y="246268"/>
                  <a:pt x="351614" y="254460"/>
                  <a:pt x="372370" y="254505"/>
                </a:cubicBezTo>
                <a:cubicBezTo>
                  <a:pt x="383333" y="254529"/>
                  <a:pt x="394312" y="253121"/>
                  <a:pt x="405258" y="252089"/>
                </a:cubicBezTo>
                <a:cubicBezTo>
                  <a:pt x="409961" y="251646"/>
                  <a:pt x="411340" y="248568"/>
                  <a:pt x="409167" y="244359"/>
                </a:cubicBezTo>
                <a:cubicBezTo>
                  <a:pt x="404885" y="236068"/>
                  <a:pt x="400139" y="227985"/>
                  <a:pt x="396364" y="219471"/>
                </a:cubicBezTo>
                <a:cubicBezTo>
                  <a:pt x="390350" y="205908"/>
                  <a:pt x="379963" y="198663"/>
                  <a:pt x="365755" y="195821"/>
                </a:cubicBezTo>
                <a:cubicBezTo>
                  <a:pt x="354973" y="193665"/>
                  <a:pt x="344291" y="191003"/>
                  <a:pt x="333572" y="188536"/>
                </a:cubicBezTo>
                <a:cubicBezTo>
                  <a:pt x="329511" y="187602"/>
                  <a:pt x="325579" y="187007"/>
                  <a:pt x="322931" y="190843"/>
                </a:cubicBezTo>
                <a:cubicBezTo>
                  <a:pt x="325138" y="195129"/>
                  <a:pt x="327613" y="198884"/>
                  <a:pt x="329041" y="203001"/>
                </a:cubicBezTo>
                <a:cubicBezTo>
                  <a:pt x="330500" y="207204"/>
                  <a:pt x="330929" y="211764"/>
                  <a:pt x="332072" y="218143"/>
                </a:cubicBezTo>
                <a:close/>
              </a:path>
            </a:pathLst>
          </a:custGeom>
          <a:solidFill>
            <a:srgbClr val="FEFEFE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" name="Free-form: Shape 10">
            <a:extLst>
              <a:ext uri="{FF2B5EF4-FFF2-40B4-BE49-F238E27FC236}">
                <a16:creationId xmlns:a16="http://schemas.microsoft.com/office/drawing/2014/main" id="{C22141C6-3B38-0081-12AA-6F9384CD5B96}"/>
              </a:ext>
            </a:extLst>
          </p:cNvPr>
          <p:cNvSpPr/>
          <p:nvPr/>
        </p:nvSpPr>
        <p:spPr>
          <a:xfrm>
            <a:off x="1740490" y="2503402"/>
            <a:ext cx="267393" cy="232628"/>
          </a:xfrm>
          <a:custGeom>
            <a:avLst/>
            <a:gdLst>
              <a:gd name="csX0" fmla="*/ 84645 w 321679"/>
              <a:gd name="csY0" fmla="*/ 279507 h 279857"/>
              <a:gd name="csX1" fmla="*/ 19 w 321679"/>
              <a:gd name="csY1" fmla="*/ 276629 h 279857"/>
              <a:gd name="csX2" fmla="*/ 61 w 321679"/>
              <a:gd name="csY2" fmla="*/ 231376 h 279857"/>
              <a:gd name="csX3" fmla="*/ 925 w 321679"/>
              <a:gd name="csY3" fmla="*/ 219150 h 279857"/>
              <a:gd name="csX4" fmla="*/ 8286 w 321679"/>
              <a:gd name="csY4" fmla="*/ 86910 h 279857"/>
              <a:gd name="csX5" fmla="*/ 11586 w 321679"/>
              <a:gd name="csY5" fmla="*/ 21981 h 279857"/>
              <a:gd name="csX6" fmla="*/ 26655 w 321679"/>
              <a:gd name="csY6" fmla="*/ 7635 h 279857"/>
              <a:gd name="csX7" fmla="*/ 67169 w 321679"/>
              <a:gd name="csY7" fmla="*/ 7178 h 279857"/>
              <a:gd name="csX8" fmla="*/ 201872 w 321679"/>
              <a:gd name="csY8" fmla="*/ 121 h 279857"/>
              <a:gd name="csX9" fmla="*/ 217558 w 321679"/>
              <a:gd name="csY9" fmla="*/ 87 h 279857"/>
              <a:gd name="csX10" fmla="*/ 214854 w 321679"/>
              <a:gd name="csY10" fmla="*/ 22019 h 279857"/>
              <a:gd name="csX11" fmla="*/ 235301 w 321679"/>
              <a:gd name="csY11" fmla="*/ 104861 h 279857"/>
              <a:gd name="csX12" fmla="*/ 269832 w 321679"/>
              <a:gd name="csY12" fmla="*/ 144587 h 279857"/>
              <a:gd name="csX13" fmla="*/ 299912 w 321679"/>
              <a:gd name="csY13" fmla="*/ 176874 h 279857"/>
              <a:gd name="csX14" fmla="*/ 320491 w 321679"/>
              <a:gd name="csY14" fmla="*/ 256903 h 279857"/>
              <a:gd name="csX15" fmla="*/ 255607 w 321679"/>
              <a:gd name="csY15" fmla="*/ 264918 h 279857"/>
              <a:gd name="csX16" fmla="*/ 172672 w 321679"/>
              <a:gd name="csY16" fmla="*/ 273435 h 279857"/>
              <a:gd name="csX17" fmla="*/ 133595 w 321679"/>
              <a:gd name="csY17" fmla="*/ 276823 h 279857"/>
              <a:gd name="csX18" fmla="*/ 84645 w 321679"/>
              <a:gd name="csY18" fmla="*/ 279507 h 27985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</a:cxnLst>
            <a:rect l="l" t="t" r="r" b="b"/>
            <a:pathLst>
              <a:path w="321679" h="279857">
                <a:moveTo>
                  <a:pt x="84645" y="279507"/>
                </a:moveTo>
                <a:cubicBezTo>
                  <a:pt x="55716" y="279830"/>
                  <a:pt x="27945" y="280875"/>
                  <a:pt x="19" y="276629"/>
                </a:cubicBezTo>
                <a:cubicBezTo>
                  <a:pt x="19" y="261343"/>
                  <a:pt x="-45" y="246359"/>
                  <a:pt x="61" y="231376"/>
                </a:cubicBezTo>
                <a:cubicBezTo>
                  <a:pt x="90" y="227299"/>
                  <a:pt x="696" y="223229"/>
                  <a:pt x="925" y="219150"/>
                </a:cubicBezTo>
                <a:cubicBezTo>
                  <a:pt x="3396" y="175071"/>
                  <a:pt x="5876" y="130992"/>
                  <a:pt x="8286" y="86910"/>
                </a:cubicBezTo>
                <a:cubicBezTo>
                  <a:pt x="9469" y="65271"/>
                  <a:pt x="10613" y="43630"/>
                  <a:pt x="11586" y="21981"/>
                </a:cubicBezTo>
                <a:cubicBezTo>
                  <a:pt x="12199" y="8328"/>
                  <a:pt x="12576" y="7792"/>
                  <a:pt x="26655" y="7635"/>
                </a:cubicBezTo>
                <a:cubicBezTo>
                  <a:pt x="40161" y="7484"/>
                  <a:pt x="53689" y="7831"/>
                  <a:pt x="67169" y="7178"/>
                </a:cubicBezTo>
                <a:cubicBezTo>
                  <a:pt x="112079" y="5004"/>
                  <a:pt x="156970" y="2455"/>
                  <a:pt x="201872" y="121"/>
                </a:cubicBezTo>
                <a:cubicBezTo>
                  <a:pt x="206690" y="-130"/>
                  <a:pt x="211533" y="87"/>
                  <a:pt x="217558" y="87"/>
                </a:cubicBezTo>
                <a:cubicBezTo>
                  <a:pt x="216603" y="7811"/>
                  <a:pt x="215688" y="14910"/>
                  <a:pt x="214854" y="22019"/>
                </a:cubicBezTo>
                <a:cubicBezTo>
                  <a:pt x="211318" y="52185"/>
                  <a:pt x="219749" y="79345"/>
                  <a:pt x="235301" y="104861"/>
                </a:cubicBezTo>
                <a:cubicBezTo>
                  <a:pt x="244591" y="120102"/>
                  <a:pt x="257536" y="132012"/>
                  <a:pt x="269832" y="144587"/>
                </a:cubicBezTo>
                <a:cubicBezTo>
                  <a:pt x="280116" y="155103"/>
                  <a:pt x="290551" y="165559"/>
                  <a:pt x="299912" y="176874"/>
                </a:cubicBezTo>
                <a:cubicBezTo>
                  <a:pt x="319006" y="199953"/>
                  <a:pt x="324386" y="226827"/>
                  <a:pt x="320491" y="256903"/>
                </a:cubicBezTo>
                <a:cubicBezTo>
                  <a:pt x="298421" y="259649"/>
                  <a:pt x="277043" y="262541"/>
                  <a:pt x="255607" y="264918"/>
                </a:cubicBezTo>
                <a:cubicBezTo>
                  <a:pt x="227987" y="267981"/>
                  <a:pt x="200327" y="270692"/>
                  <a:pt x="172672" y="273435"/>
                </a:cubicBezTo>
                <a:cubicBezTo>
                  <a:pt x="159662" y="274725"/>
                  <a:pt x="146637" y="275935"/>
                  <a:pt x="133595" y="276823"/>
                </a:cubicBezTo>
                <a:cubicBezTo>
                  <a:pt x="117688" y="277907"/>
                  <a:pt x="101755" y="278616"/>
                  <a:pt x="84645" y="279507"/>
                </a:cubicBezTo>
                <a:close/>
              </a:path>
            </a:pathLst>
          </a:custGeom>
          <a:solidFill>
            <a:srgbClr val="FDFEFE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" name="Free-form: Shape 11">
            <a:extLst>
              <a:ext uri="{FF2B5EF4-FFF2-40B4-BE49-F238E27FC236}">
                <a16:creationId xmlns:a16="http://schemas.microsoft.com/office/drawing/2014/main" id="{55814DE5-CA75-591E-6D23-AED19FBBA569}"/>
              </a:ext>
            </a:extLst>
          </p:cNvPr>
          <p:cNvSpPr/>
          <p:nvPr/>
        </p:nvSpPr>
        <p:spPr>
          <a:xfrm>
            <a:off x="1740387" y="2760063"/>
            <a:ext cx="284373" cy="65313"/>
          </a:xfrm>
          <a:custGeom>
            <a:avLst/>
            <a:gdLst>
              <a:gd name="csX0" fmla="*/ 270798 w 342106"/>
              <a:gd name="csY0" fmla="*/ 65953 h 78573"/>
              <a:gd name="csX1" fmla="*/ 183290 w 342106"/>
              <a:gd name="csY1" fmla="*/ 76017 h 78573"/>
              <a:gd name="csX2" fmla="*/ 72897 w 342106"/>
              <a:gd name="csY2" fmla="*/ 78565 h 78573"/>
              <a:gd name="csX3" fmla="*/ 5450 w 342106"/>
              <a:gd name="csY3" fmla="*/ 76564 h 78573"/>
              <a:gd name="csX4" fmla="*/ 0 w 342106"/>
              <a:gd name="csY4" fmla="*/ 75649 h 78573"/>
              <a:gd name="csX5" fmla="*/ 0 w 342106"/>
              <a:gd name="csY5" fmla="*/ 21324 h 78573"/>
              <a:gd name="csX6" fmla="*/ 8504 w 342106"/>
              <a:gd name="csY6" fmla="*/ 20688 h 78573"/>
              <a:gd name="csX7" fmla="*/ 98126 w 342106"/>
              <a:gd name="csY7" fmla="*/ 19655 h 78573"/>
              <a:gd name="csX8" fmla="*/ 221639 w 342106"/>
              <a:gd name="csY8" fmla="*/ 10929 h 78573"/>
              <a:gd name="csX9" fmla="*/ 304285 w 342106"/>
              <a:gd name="csY9" fmla="*/ 683 h 78573"/>
              <a:gd name="csX10" fmla="*/ 309173 w 342106"/>
              <a:gd name="csY10" fmla="*/ 212 h 78573"/>
              <a:gd name="csX11" fmla="*/ 335187 w 342106"/>
              <a:gd name="csY11" fmla="*/ 18545 h 78573"/>
              <a:gd name="csX12" fmla="*/ 342106 w 342106"/>
              <a:gd name="csY12" fmla="*/ 53602 h 78573"/>
              <a:gd name="csX13" fmla="*/ 270798 w 342106"/>
              <a:gd name="csY13" fmla="*/ 65953 h 7857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</a:cxnLst>
            <a:rect l="l" t="t" r="r" b="b"/>
            <a:pathLst>
              <a:path w="342106" h="78573">
                <a:moveTo>
                  <a:pt x="270798" y="65953"/>
                </a:moveTo>
                <a:cubicBezTo>
                  <a:pt x="240931" y="69594"/>
                  <a:pt x="212199" y="74306"/>
                  <a:pt x="183290" y="76017"/>
                </a:cubicBezTo>
                <a:cubicBezTo>
                  <a:pt x="146568" y="78191"/>
                  <a:pt x="109704" y="78349"/>
                  <a:pt x="72897" y="78565"/>
                </a:cubicBezTo>
                <a:cubicBezTo>
                  <a:pt x="50419" y="78697"/>
                  <a:pt x="27931" y="77315"/>
                  <a:pt x="5450" y="76564"/>
                </a:cubicBezTo>
                <a:cubicBezTo>
                  <a:pt x="3884" y="76512"/>
                  <a:pt x="2332" y="76053"/>
                  <a:pt x="0" y="75649"/>
                </a:cubicBezTo>
                <a:cubicBezTo>
                  <a:pt x="0" y="57619"/>
                  <a:pt x="0" y="39863"/>
                  <a:pt x="0" y="21324"/>
                </a:cubicBezTo>
                <a:cubicBezTo>
                  <a:pt x="3058" y="21086"/>
                  <a:pt x="5779" y="20715"/>
                  <a:pt x="8504" y="20688"/>
                </a:cubicBezTo>
                <a:cubicBezTo>
                  <a:pt x="38382" y="20390"/>
                  <a:pt x="68305" y="21101"/>
                  <a:pt x="98126" y="19655"/>
                </a:cubicBezTo>
                <a:cubicBezTo>
                  <a:pt x="139343" y="17657"/>
                  <a:pt x="180532" y="14597"/>
                  <a:pt x="221639" y="10929"/>
                </a:cubicBezTo>
                <a:cubicBezTo>
                  <a:pt x="249272" y="8463"/>
                  <a:pt x="276741" y="4156"/>
                  <a:pt x="304285" y="683"/>
                </a:cubicBezTo>
                <a:cubicBezTo>
                  <a:pt x="305908" y="478"/>
                  <a:pt x="307539" y="312"/>
                  <a:pt x="309173" y="212"/>
                </a:cubicBezTo>
                <a:cubicBezTo>
                  <a:pt x="326863" y="-867"/>
                  <a:pt x="330972" y="1719"/>
                  <a:pt x="335187" y="18545"/>
                </a:cubicBezTo>
                <a:cubicBezTo>
                  <a:pt x="337939" y="29526"/>
                  <a:pt x="339618" y="40777"/>
                  <a:pt x="342106" y="53602"/>
                </a:cubicBezTo>
                <a:cubicBezTo>
                  <a:pt x="317523" y="57833"/>
                  <a:pt x="294689" y="61762"/>
                  <a:pt x="270798" y="65953"/>
                </a:cubicBezTo>
                <a:close/>
              </a:path>
            </a:pathLst>
          </a:custGeom>
          <a:solidFill>
            <a:srgbClr val="FCFCFC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4" name="Free-form: Shape 13">
            <a:extLst>
              <a:ext uri="{FF2B5EF4-FFF2-40B4-BE49-F238E27FC236}">
                <a16:creationId xmlns:a16="http://schemas.microsoft.com/office/drawing/2014/main" id="{E0D7F71C-6C36-7443-03FE-3EFB7A6873E5}"/>
              </a:ext>
            </a:extLst>
          </p:cNvPr>
          <p:cNvSpPr/>
          <p:nvPr/>
        </p:nvSpPr>
        <p:spPr>
          <a:xfrm>
            <a:off x="1808106" y="1802207"/>
            <a:ext cx="72517" cy="55415"/>
          </a:xfrm>
          <a:custGeom>
            <a:avLst/>
            <a:gdLst>
              <a:gd name="csX0" fmla="*/ 9010 w 87239"/>
              <a:gd name="csY0" fmla="*/ 29316 h 66665"/>
              <a:gd name="csX1" fmla="*/ 6110 w 87239"/>
              <a:gd name="csY1" fmla="*/ 15162 h 66665"/>
              <a:gd name="csX2" fmla="*/ 0 w 87239"/>
              <a:gd name="csY2" fmla="*/ 3003 h 66665"/>
              <a:gd name="csX3" fmla="*/ 10641 w 87239"/>
              <a:gd name="csY3" fmla="*/ 697 h 66665"/>
              <a:gd name="csX4" fmla="*/ 42824 w 87239"/>
              <a:gd name="csY4" fmla="*/ 7981 h 66665"/>
              <a:gd name="csX5" fmla="*/ 73433 w 87239"/>
              <a:gd name="csY5" fmla="*/ 31631 h 66665"/>
              <a:gd name="csX6" fmla="*/ 86236 w 87239"/>
              <a:gd name="csY6" fmla="*/ 56519 h 66665"/>
              <a:gd name="csX7" fmla="*/ 82327 w 87239"/>
              <a:gd name="csY7" fmla="*/ 64249 h 66665"/>
              <a:gd name="csX8" fmla="*/ 49439 w 87239"/>
              <a:gd name="csY8" fmla="*/ 66665 h 66665"/>
              <a:gd name="csX9" fmla="*/ 11457 w 87239"/>
              <a:gd name="csY9" fmla="*/ 38560 h 66665"/>
              <a:gd name="csX10" fmla="*/ 9010 w 87239"/>
              <a:gd name="csY10" fmla="*/ 29316 h 6666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</a:cxnLst>
            <a:rect l="l" t="t" r="r" b="b"/>
            <a:pathLst>
              <a:path w="87239" h="66665">
                <a:moveTo>
                  <a:pt x="9010" y="29316"/>
                </a:moveTo>
                <a:cubicBezTo>
                  <a:pt x="7998" y="23924"/>
                  <a:pt x="7568" y="19365"/>
                  <a:pt x="6110" y="15162"/>
                </a:cubicBezTo>
                <a:cubicBezTo>
                  <a:pt x="4682" y="11044"/>
                  <a:pt x="2207" y="7289"/>
                  <a:pt x="0" y="3003"/>
                </a:cubicBezTo>
                <a:cubicBezTo>
                  <a:pt x="2648" y="-833"/>
                  <a:pt x="6580" y="-238"/>
                  <a:pt x="10641" y="697"/>
                </a:cubicBezTo>
                <a:cubicBezTo>
                  <a:pt x="21360" y="3163"/>
                  <a:pt x="32042" y="5825"/>
                  <a:pt x="42824" y="7981"/>
                </a:cubicBezTo>
                <a:cubicBezTo>
                  <a:pt x="57032" y="10823"/>
                  <a:pt x="67419" y="18068"/>
                  <a:pt x="73433" y="31631"/>
                </a:cubicBezTo>
                <a:cubicBezTo>
                  <a:pt x="77208" y="40146"/>
                  <a:pt x="81954" y="48228"/>
                  <a:pt x="86236" y="56519"/>
                </a:cubicBezTo>
                <a:cubicBezTo>
                  <a:pt x="88409" y="60728"/>
                  <a:pt x="87030" y="63806"/>
                  <a:pt x="82327" y="64249"/>
                </a:cubicBezTo>
                <a:cubicBezTo>
                  <a:pt x="71381" y="65282"/>
                  <a:pt x="60402" y="66689"/>
                  <a:pt x="49439" y="66665"/>
                </a:cubicBezTo>
                <a:cubicBezTo>
                  <a:pt x="28683" y="66620"/>
                  <a:pt x="18142" y="58428"/>
                  <a:pt x="11457" y="38560"/>
                </a:cubicBezTo>
                <a:cubicBezTo>
                  <a:pt x="10547" y="35855"/>
                  <a:pt x="9906" y="33058"/>
                  <a:pt x="9010" y="29316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6D7DF84-86AE-D52F-CF22-C2302EDDD486}"/>
              </a:ext>
            </a:extLst>
          </p:cNvPr>
          <p:cNvSpPr txBox="1"/>
          <p:nvPr/>
        </p:nvSpPr>
        <p:spPr>
          <a:xfrm>
            <a:off x="1264138" y="2847768"/>
            <a:ext cx="863983" cy="3927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-Pola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22A3D772-6D74-BA95-83A9-89FF28465489}"/>
              </a:ext>
            </a:extLst>
          </p:cNvPr>
          <p:cNvCxnSpPr>
            <a:cxnSpLocks/>
          </p:cNvCxnSpPr>
          <p:nvPr/>
        </p:nvCxnSpPr>
        <p:spPr>
          <a:xfrm>
            <a:off x="563860" y="1410742"/>
            <a:ext cx="0" cy="2351636"/>
          </a:xfrm>
          <a:prstGeom prst="line">
            <a:avLst/>
          </a:prstGeom>
          <a:ln w="2857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7161505D-BFEB-F69E-2AAA-E463AC674111}"/>
              </a:ext>
            </a:extLst>
          </p:cNvPr>
          <p:cNvCxnSpPr>
            <a:cxnSpLocks/>
          </p:cNvCxnSpPr>
          <p:nvPr/>
        </p:nvCxnSpPr>
        <p:spPr>
          <a:xfrm>
            <a:off x="-11643613" y="1407009"/>
            <a:ext cx="12207473" cy="0"/>
          </a:xfrm>
          <a:prstGeom prst="line">
            <a:avLst/>
          </a:prstGeom>
          <a:ln w="2857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81DC5F51-35A8-02F4-72A5-FB2D2AA0CD8A}"/>
              </a:ext>
            </a:extLst>
          </p:cNvPr>
          <p:cNvSpPr txBox="1"/>
          <p:nvPr/>
        </p:nvSpPr>
        <p:spPr>
          <a:xfrm>
            <a:off x="-10739929" y="875821"/>
            <a:ext cx="455050" cy="3927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CB813"/>
              </a:buClr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February 2023</a:t>
            </a: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50DDC93D-08B1-9F3B-595A-DBB874BA7552}"/>
              </a:ext>
            </a:extLst>
          </p:cNvPr>
          <p:cNvSpPr/>
          <p:nvPr/>
        </p:nvSpPr>
        <p:spPr>
          <a:xfrm>
            <a:off x="-10592303" y="1329274"/>
            <a:ext cx="159799" cy="159799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1" i="0" u="none" strike="noStrike" kern="1200" cap="none" spc="0" normalizeH="0" baseline="0" noProof="0">
              <a:ln>
                <a:noFill/>
              </a:ln>
              <a:solidFill>
                <a:srgbClr val="585854">
                  <a:lumMod val="20000"/>
                  <a:lumOff val="80000"/>
                </a:srgbClr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0152B90-D287-E658-AD0A-57A65C4C4F37}"/>
              </a:ext>
            </a:extLst>
          </p:cNvPr>
          <p:cNvSpPr txBox="1"/>
          <p:nvPr/>
        </p:nvSpPr>
        <p:spPr>
          <a:xfrm>
            <a:off x="-6650909" y="875821"/>
            <a:ext cx="455050" cy="3927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CB813"/>
              </a:buClr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March 2023</a:t>
            </a: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17E4400C-0516-2AE8-EA50-860F43E152E9}"/>
              </a:ext>
            </a:extLst>
          </p:cNvPr>
          <p:cNvSpPr/>
          <p:nvPr/>
        </p:nvSpPr>
        <p:spPr>
          <a:xfrm>
            <a:off x="-6503283" y="1329274"/>
            <a:ext cx="159799" cy="159799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1" i="0" u="none" strike="noStrike" kern="1200" cap="none" spc="0" normalizeH="0" baseline="0" noProof="0">
              <a:ln>
                <a:noFill/>
              </a:ln>
              <a:solidFill>
                <a:srgbClr val="585854">
                  <a:lumMod val="20000"/>
                  <a:lumOff val="80000"/>
                </a:srgbClr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EBEEDC51-6F83-E74F-45CF-72CC0EDE4DB7}"/>
              </a:ext>
            </a:extLst>
          </p:cNvPr>
          <p:cNvCxnSpPr>
            <a:cxnSpLocks/>
            <a:stCxn id="26" idx="4"/>
          </p:cNvCxnSpPr>
          <p:nvPr/>
        </p:nvCxnSpPr>
        <p:spPr>
          <a:xfrm>
            <a:off x="-10512403" y="1489073"/>
            <a:ext cx="0" cy="182159"/>
          </a:xfrm>
          <a:prstGeom prst="line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BA11CD43-4C30-4F6A-3C0D-FB602D55E35A}"/>
              </a:ext>
            </a:extLst>
          </p:cNvPr>
          <p:cNvSpPr txBox="1"/>
          <p:nvPr/>
        </p:nvSpPr>
        <p:spPr>
          <a:xfrm>
            <a:off x="-11462804" y="1671232"/>
            <a:ext cx="4466916" cy="830997"/>
          </a:xfrm>
          <a:prstGeom prst="rect">
            <a:avLst/>
          </a:prstGeom>
          <a:noFill/>
        </p:spPr>
        <p:txBody>
          <a:bodyPr wrap="square" lIns="45720" tIns="45720" rIns="4572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1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L treatment: </a:t>
            </a: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-CHOP +/- tafa-len or placebo </a:t>
            </a: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(</a:t>
            </a:r>
            <a:r>
              <a: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frontMIND</a:t>
            </a: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, NCT04824092)</a:t>
            </a: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highlight>
                  <a:srgbClr val="FF00FF"/>
                </a:highlight>
                <a:uLnTx/>
                <a:uFillTx/>
                <a:latin typeface="Aptos" panose="02110004020202020204"/>
                <a:ea typeface="+mn-ea"/>
                <a:cs typeface="+mn-cs"/>
              </a:rPr>
              <a:t>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1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Outcome: </a:t>
            </a: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D after 2 cycles</a:t>
            </a:r>
            <a:endParaRPr kumimoji="0" lang="en-GB" sz="1600" b="1" i="0" u="none" strike="noStrike" kern="1200" cap="none" spc="0" normalizeH="0" baseline="0" noProof="0">
              <a:ln>
                <a:noFill/>
              </a:ln>
              <a:solidFill>
                <a:srgbClr val="585854">
                  <a:lumMod val="20000"/>
                  <a:lumOff val="80000"/>
                </a:srgbClr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7C034A0B-9F07-B236-8BBC-D4179AAE328C}"/>
              </a:ext>
            </a:extLst>
          </p:cNvPr>
          <p:cNvSpPr txBox="1"/>
          <p:nvPr/>
        </p:nvSpPr>
        <p:spPr>
          <a:xfrm>
            <a:off x="-3166817" y="875821"/>
            <a:ext cx="455050" cy="3927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CB813"/>
              </a:buClr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May 2023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9702B5F8-C26F-653E-C331-ED20CEB898D5}"/>
              </a:ext>
            </a:extLst>
          </p:cNvPr>
          <p:cNvSpPr/>
          <p:nvPr/>
        </p:nvSpPr>
        <p:spPr>
          <a:xfrm>
            <a:off x="-3019191" y="1329274"/>
            <a:ext cx="159799" cy="159799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1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46F98B51-C348-6328-54D6-6BC5470BAD01}"/>
              </a:ext>
            </a:extLst>
          </p:cNvPr>
          <p:cNvSpPr txBox="1"/>
          <p:nvPr/>
        </p:nvSpPr>
        <p:spPr>
          <a:xfrm>
            <a:off x="-3174376" y="2025598"/>
            <a:ext cx="1102532" cy="338554"/>
          </a:xfrm>
          <a:prstGeom prst="rect">
            <a:avLst/>
          </a:prstGeom>
          <a:noFill/>
        </p:spPr>
        <p:txBody>
          <a:bodyPr wrap="square" lIns="45720" tIns="45720" rIns="4572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1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tatus: </a:t>
            </a: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F15922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D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B02828F2-16BB-5678-EDF6-EA3E249069B6}"/>
              </a:ext>
            </a:extLst>
          </p:cNvPr>
          <p:cNvCxnSpPr>
            <a:cxnSpLocks/>
          </p:cNvCxnSpPr>
          <p:nvPr/>
        </p:nvCxnSpPr>
        <p:spPr>
          <a:xfrm>
            <a:off x="-2945067" y="1489073"/>
            <a:ext cx="0" cy="509978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6" name="Immagine 24">
            <a:extLst>
              <a:ext uri="{FF2B5EF4-FFF2-40B4-BE49-F238E27FC236}">
                <a16:creationId xmlns:a16="http://schemas.microsoft.com/office/drawing/2014/main" id="{EACCCB4B-015E-FA45-3FCA-C71C49FFC9AD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870277" y="3738912"/>
            <a:ext cx="2924774" cy="2293940"/>
          </a:xfrm>
          <a:prstGeom prst="rect">
            <a:avLst/>
          </a:prstGeom>
        </p:spPr>
      </p:pic>
      <p:sp>
        <p:nvSpPr>
          <p:cNvPr id="37" name="CasellaDiTesto 34">
            <a:extLst>
              <a:ext uri="{FF2B5EF4-FFF2-40B4-BE49-F238E27FC236}">
                <a16:creationId xmlns:a16="http://schemas.microsoft.com/office/drawing/2014/main" id="{7929042C-ED5D-C6CC-2C8D-4234D7F119C0}"/>
              </a:ext>
            </a:extLst>
          </p:cNvPr>
          <p:cNvSpPr txBox="1"/>
          <p:nvPr/>
        </p:nvSpPr>
        <p:spPr>
          <a:xfrm>
            <a:off x="-4870277" y="3700168"/>
            <a:ext cx="625492" cy="30777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D19</a:t>
            </a:r>
          </a:p>
        </p:txBody>
      </p:sp>
      <p:sp>
        <p:nvSpPr>
          <p:cNvPr id="39" name="CasellaDiTesto 26">
            <a:extLst>
              <a:ext uri="{FF2B5EF4-FFF2-40B4-BE49-F238E27FC236}">
                <a16:creationId xmlns:a16="http://schemas.microsoft.com/office/drawing/2014/main" id="{4007378C-3DB5-4DF7-9723-4A7E8AA39E55}"/>
              </a:ext>
            </a:extLst>
          </p:cNvPr>
          <p:cNvSpPr txBox="1"/>
          <p:nvPr/>
        </p:nvSpPr>
        <p:spPr>
          <a:xfrm>
            <a:off x="-3082136" y="5735661"/>
            <a:ext cx="1129605" cy="30777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H-score 200</a:t>
            </a:r>
          </a:p>
        </p:txBody>
      </p:sp>
      <p:sp>
        <p:nvSpPr>
          <p:cNvPr id="40" name="CasellaDiTesto 32">
            <a:extLst>
              <a:ext uri="{FF2B5EF4-FFF2-40B4-BE49-F238E27FC236}">
                <a16:creationId xmlns:a16="http://schemas.microsoft.com/office/drawing/2014/main" id="{F2B4CE4F-4CED-0DCD-FC8E-2B340492ECE5}"/>
              </a:ext>
            </a:extLst>
          </p:cNvPr>
          <p:cNvSpPr txBox="1"/>
          <p:nvPr/>
        </p:nvSpPr>
        <p:spPr>
          <a:xfrm>
            <a:off x="-4870277" y="3174762"/>
            <a:ext cx="301663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</a:t>
            </a:r>
            <a:r>
              <a:rPr kumimoji="0" lang="en-GB" sz="1400" b="1" i="0" u="none" strike="noStrike" kern="1200" cap="none" spc="0" normalizeH="0" baseline="3000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d</a:t>
            </a: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biopsy post </a:t>
            </a:r>
            <a:r>
              <a:rPr kumimoji="0" lang="en-GB" sz="1400" b="1" i="0" u="none" strike="noStrike" kern="1200" cap="none" spc="0" normalizeH="0" baseline="0" noProof="0" err="1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x</a:t>
            </a:r>
            <a:endParaRPr kumimoji="0" lang="en-GB" sz="1400" b="1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(+ 54 days from last infusion)</a:t>
            </a:r>
          </a:p>
        </p:txBody>
      </p:sp>
      <p:sp>
        <p:nvSpPr>
          <p:cNvPr id="41" name="Freccia in giù 40">
            <a:extLst>
              <a:ext uri="{FF2B5EF4-FFF2-40B4-BE49-F238E27FC236}">
                <a16:creationId xmlns:a16="http://schemas.microsoft.com/office/drawing/2014/main" id="{1E47C529-DBFA-5B3F-1600-B12FD69E4735}"/>
              </a:ext>
            </a:extLst>
          </p:cNvPr>
          <p:cNvSpPr/>
          <p:nvPr/>
        </p:nvSpPr>
        <p:spPr>
          <a:xfrm rot="16200000">
            <a:off x="-2058099" y="2030787"/>
            <a:ext cx="291295" cy="331602"/>
          </a:xfrm>
          <a:prstGeom prst="downArrow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150DD9F2-2A8E-BFDB-B790-F9D23CC90CBD}"/>
              </a:ext>
            </a:extLst>
          </p:cNvPr>
          <p:cNvSpPr txBox="1"/>
          <p:nvPr/>
        </p:nvSpPr>
        <p:spPr>
          <a:xfrm>
            <a:off x="-1685691" y="2025598"/>
            <a:ext cx="1321383" cy="584775"/>
          </a:xfrm>
          <a:prstGeom prst="rect">
            <a:avLst/>
          </a:prstGeom>
          <a:noFill/>
        </p:spPr>
        <p:txBody>
          <a:bodyPr wrap="square" lIns="45720" tIns="45720" rIns="4572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1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3L treatment: </a:t>
            </a: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AR-T</a:t>
            </a:r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521E976D-C71D-042F-67B7-327EDAC36845}"/>
              </a:ext>
            </a:extLst>
          </p:cNvPr>
          <p:cNvCxnSpPr>
            <a:cxnSpLocks/>
          </p:cNvCxnSpPr>
          <p:nvPr/>
        </p:nvCxnSpPr>
        <p:spPr>
          <a:xfrm>
            <a:off x="-6423383" y="1489073"/>
            <a:ext cx="0" cy="250350"/>
          </a:xfrm>
          <a:prstGeom prst="line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4" name="TextBox 43">
            <a:extLst>
              <a:ext uri="{FF2B5EF4-FFF2-40B4-BE49-F238E27FC236}">
                <a16:creationId xmlns:a16="http://schemas.microsoft.com/office/drawing/2014/main" id="{CAADCBB9-8992-47C1-425F-2B75DE439C65}"/>
              </a:ext>
            </a:extLst>
          </p:cNvPr>
          <p:cNvSpPr txBox="1"/>
          <p:nvPr/>
        </p:nvSpPr>
        <p:spPr>
          <a:xfrm>
            <a:off x="-6653928" y="1731390"/>
            <a:ext cx="2447196" cy="584775"/>
          </a:xfrm>
          <a:prstGeom prst="rect">
            <a:avLst/>
          </a:prstGeom>
          <a:noFill/>
        </p:spPr>
        <p:txBody>
          <a:bodyPr wrap="square" lIns="45720" tIns="45720" rIns="4572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1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L treatment: </a:t>
            </a: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-</a:t>
            </a:r>
            <a:r>
              <a:rPr kumimoji="0" lang="en-GB" sz="1600" b="1" i="0" u="none" strike="noStrike" kern="1200" cap="none" spc="0" normalizeH="0" baseline="0" noProof="0" err="1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HAOx</a:t>
            </a: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×2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1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Outcome: </a:t>
            </a: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D</a:t>
            </a:r>
          </a:p>
        </p:txBody>
      </p:sp>
      <p:pic>
        <p:nvPicPr>
          <p:cNvPr id="45" name="Immagine 22">
            <a:extLst>
              <a:ext uri="{FF2B5EF4-FFF2-40B4-BE49-F238E27FC236}">
                <a16:creationId xmlns:a16="http://schemas.microsoft.com/office/drawing/2014/main" id="{3AD2AFB5-EF82-EB2C-2EEA-214BD2536C7F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1542686" y="3714033"/>
            <a:ext cx="2964243" cy="2324898"/>
          </a:xfrm>
          <a:prstGeom prst="rect">
            <a:avLst/>
          </a:prstGeom>
        </p:spPr>
      </p:pic>
      <p:sp>
        <p:nvSpPr>
          <p:cNvPr id="46" name="CasellaDiTesto 25">
            <a:extLst>
              <a:ext uri="{FF2B5EF4-FFF2-40B4-BE49-F238E27FC236}">
                <a16:creationId xmlns:a16="http://schemas.microsoft.com/office/drawing/2014/main" id="{3974279E-D182-B78A-7799-81D2CED78A27}"/>
              </a:ext>
            </a:extLst>
          </p:cNvPr>
          <p:cNvSpPr txBox="1"/>
          <p:nvPr/>
        </p:nvSpPr>
        <p:spPr>
          <a:xfrm>
            <a:off x="-9655661" y="5740141"/>
            <a:ext cx="1129605" cy="30777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H-score 300</a:t>
            </a:r>
          </a:p>
        </p:txBody>
      </p:sp>
      <p:sp>
        <p:nvSpPr>
          <p:cNvPr id="47" name="CasellaDiTesto 32">
            <a:extLst>
              <a:ext uri="{FF2B5EF4-FFF2-40B4-BE49-F238E27FC236}">
                <a16:creationId xmlns:a16="http://schemas.microsoft.com/office/drawing/2014/main" id="{1A9FC719-5946-B6D2-D6F3-712A191BC8D2}"/>
              </a:ext>
            </a:extLst>
          </p:cNvPr>
          <p:cNvSpPr txBox="1"/>
          <p:nvPr/>
        </p:nvSpPr>
        <p:spPr>
          <a:xfrm>
            <a:off x="-11595072" y="3174762"/>
            <a:ext cx="301663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iagnostic biopsy</a:t>
            </a: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b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(pre 1L-Tx)</a:t>
            </a:r>
          </a:p>
        </p:txBody>
      </p:sp>
      <p:sp>
        <p:nvSpPr>
          <p:cNvPr id="48" name="CasellaDiTesto 33">
            <a:extLst>
              <a:ext uri="{FF2B5EF4-FFF2-40B4-BE49-F238E27FC236}">
                <a16:creationId xmlns:a16="http://schemas.microsoft.com/office/drawing/2014/main" id="{D9041D49-93C3-CD71-09EA-912E4C5A12EC}"/>
              </a:ext>
            </a:extLst>
          </p:cNvPr>
          <p:cNvSpPr txBox="1"/>
          <p:nvPr/>
        </p:nvSpPr>
        <p:spPr>
          <a:xfrm>
            <a:off x="-11542686" y="3707588"/>
            <a:ext cx="625492" cy="30777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D19</a:t>
            </a:r>
          </a:p>
        </p:txBody>
      </p:sp>
      <p:pic>
        <p:nvPicPr>
          <p:cNvPr id="49" name="Immagine 23">
            <a:extLst>
              <a:ext uri="{FF2B5EF4-FFF2-40B4-BE49-F238E27FC236}">
                <a16:creationId xmlns:a16="http://schemas.microsoft.com/office/drawing/2014/main" id="{2A102169-9977-F5B6-5F30-3EC0B808C158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8094086" y="3700168"/>
            <a:ext cx="2950103" cy="2313807"/>
          </a:xfrm>
          <a:prstGeom prst="rect">
            <a:avLst/>
          </a:prstGeom>
        </p:spPr>
      </p:pic>
      <p:sp>
        <p:nvSpPr>
          <p:cNvPr id="50" name="CasellaDiTesto 26">
            <a:extLst>
              <a:ext uri="{FF2B5EF4-FFF2-40B4-BE49-F238E27FC236}">
                <a16:creationId xmlns:a16="http://schemas.microsoft.com/office/drawing/2014/main" id="{DB6C14F3-BAD5-019C-7058-DBCAE89BD166}"/>
              </a:ext>
            </a:extLst>
          </p:cNvPr>
          <p:cNvSpPr txBox="1"/>
          <p:nvPr/>
        </p:nvSpPr>
        <p:spPr>
          <a:xfrm>
            <a:off x="-6218449" y="5716611"/>
            <a:ext cx="1129605" cy="30777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H-score 100</a:t>
            </a:r>
          </a:p>
        </p:txBody>
      </p:sp>
      <p:sp>
        <p:nvSpPr>
          <p:cNvPr id="51" name="CasellaDiTesto 34">
            <a:extLst>
              <a:ext uri="{FF2B5EF4-FFF2-40B4-BE49-F238E27FC236}">
                <a16:creationId xmlns:a16="http://schemas.microsoft.com/office/drawing/2014/main" id="{AE19B54E-361A-26CA-E10A-A070654FD789}"/>
              </a:ext>
            </a:extLst>
          </p:cNvPr>
          <p:cNvSpPr txBox="1"/>
          <p:nvPr/>
        </p:nvSpPr>
        <p:spPr>
          <a:xfrm>
            <a:off x="-8115451" y="3700168"/>
            <a:ext cx="625492" cy="30777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D19</a:t>
            </a:r>
          </a:p>
        </p:txBody>
      </p:sp>
      <p:sp>
        <p:nvSpPr>
          <p:cNvPr id="52" name="CasellaDiTesto 32">
            <a:extLst>
              <a:ext uri="{FF2B5EF4-FFF2-40B4-BE49-F238E27FC236}">
                <a16:creationId xmlns:a16="http://schemas.microsoft.com/office/drawing/2014/main" id="{FAC19A6F-5A88-F96A-5BA2-94073A098114}"/>
              </a:ext>
            </a:extLst>
          </p:cNvPr>
          <p:cNvSpPr txBox="1"/>
          <p:nvPr/>
        </p:nvSpPr>
        <p:spPr>
          <a:xfrm>
            <a:off x="-8098446" y="3174762"/>
            <a:ext cx="301663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</a:t>
            </a:r>
            <a:r>
              <a:rPr kumimoji="0" lang="en-GB" sz="1400" b="1" i="0" u="none" strike="noStrike" kern="1200" cap="none" spc="0" normalizeH="0" baseline="3000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t</a:t>
            </a: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biopsy post </a:t>
            </a:r>
            <a:r>
              <a:rPr kumimoji="0" lang="en-GB" sz="1400" b="1" i="0" u="none" strike="noStrike" kern="1200" cap="none" spc="0" normalizeH="0" baseline="0" noProof="0" err="1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x</a:t>
            </a:r>
            <a:endParaRPr kumimoji="0" lang="en-GB" sz="1400" b="1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(+ 7 days from last infusion)</a:t>
            </a:r>
          </a:p>
        </p:txBody>
      </p:sp>
      <p:sp>
        <p:nvSpPr>
          <p:cNvPr id="53" name="Freccia in giù 40">
            <a:extLst>
              <a:ext uri="{FF2B5EF4-FFF2-40B4-BE49-F238E27FC236}">
                <a16:creationId xmlns:a16="http://schemas.microsoft.com/office/drawing/2014/main" id="{850009AF-0165-CD6C-76B3-152C90CFB62A}"/>
              </a:ext>
            </a:extLst>
          </p:cNvPr>
          <p:cNvSpPr/>
          <p:nvPr/>
        </p:nvSpPr>
        <p:spPr>
          <a:xfrm rot="16200000">
            <a:off x="-8468875" y="4733466"/>
            <a:ext cx="291295" cy="392889"/>
          </a:xfrm>
          <a:prstGeom prst="downArrow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3EFDA629-BF3C-918F-6ED7-7DE5FFD7C39E}"/>
              </a:ext>
            </a:extLst>
          </p:cNvPr>
          <p:cNvSpPr txBox="1"/>
          <p:nvPr/>
        </p:nvSpPr>
        <p:spPr>
          <a:xfrm>
            <a:off x="-8098446" y="2640545"/>
            <a:ext cx="2954463" cy="523220"/>
          </a:xfrm>
          <a:prstGeom prst="rect">
            <a:avLst/>
          </a:prstGeom>
          <a:solidFill>
            <a:schemeClr val="accent1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D19 masking</a:t>
            </a:r>
            <a:b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fter targeting CD19 in 1L</a:t>
            </a:r>
          </a:p>
        </p:txBody>
      </p:sp>
    </p:spTree>
    <p:extLst>
      <p:ext uri="{BB962C8B-B14F-4D97-AF65-F5344CB8AC3E}">
        <p14:creationId xmlns:p14="http://schemas.microsoft.com/office/powerpoint/2010/main" val="141913999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DA16EB2-8BA1-98C1-4FEF-FE32301774E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TextBox 39">
            <a:extLst>
              <a:ext uri="{FF2B5EF4-FFF2-40B4-BE49-F238E27FC236}">
                <a16:creationId xmlns:a16="http://schemas.microsoft.com/office/drawing/2014/main" id="{75B5F3BF-F883-73B4-6158-F07899768EBB}"/>
              </a:ext>
            </a:extLst>
          </p:cNvPr>
          <p:cNvSpPr txBox="1"/>
          <p:nvPr/>
        </p:nvSpPr>
        <p:spPr>
          <a:xfrm>
            <a:off x="1264138" y="2847768"/>
            <a:ext cx="863983" cy="3927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-Pola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E462BB8E-7DFB-161A-9B26-9B2517E8BAD9}"/>
              </a:ext>
            </a:extLst>
          </p:cNvPr>
          <p:cNvCxnSpPr>
            <a:cxnSpLocks/>
          </p:cNvCxnSpPr>
          <p:nvPr/>
        </p:nvCxnSpPr>
        <p:spPr>
          <a:xfrm>
            <a:off x="577415" y="3737370"/>
            <a:ext cx="10907449" cy="0"/>
          </a:xfrm>
          <a:prstGeom prst="line">
            <a:avLst/>
          </a:prstGeom>
          <a:ln w="285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7AF01BB7-91F0-C47C-DC62-EB2F8F29F01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70645" y="6096000"/>
            <a:ext cx="10440000" cy="623951"/>
          </a:xfrm>
        </p:spPr>
        <p:txBody>
          <a:bodyPr/>
          <a:lstStyle/>
          <a:p>
            <a:r>
              <a:rPr lang="en-GB"/>
              <a:t>3L, third line; AE, adverse event; axi-cel, axicabtagene ciloleucel; CAR-T, chimeric antigen receptor T-cell therapy; CR, complete response; CRS, cytokine release syndrome; DLBCL, diffuse large B-cell lymphoma; Gr, grade; PR, partial response; R-Pola, rituximab plus polatuzumab vedotin; R/R, relapsed or refractory.</a:t>
            </a:r>
          </a:p>
          <a:p>
            <a:r>
              <a:rPr lang="en-GB"/>
              <a:t>Patient case provided by Prof. Enrico </a:t>
            </a:r>
            <a:r>
              <a:rPr lang="en-GB" err="1"/>
              <a:t>Derenzini</a:t>
            </a:r>
            <a:r>
              <a:rPr lang="en-GB"/>
              <a:t>.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93E397AD-3920-291C-FC68-11134967F833}"/>
              </a:ext>
            </a:extLst>
          </p:cNvPr>
          <p:cNvSpPr txBox="1">
            <a:spLocks/>
          </p:cNvSpPr>
          <p:nvPr/>
        </p:nvSpPr>
        <p:spPr>
          <a:xfrm>
            <a:off x="469900" y="311150"/>
            <a:ext cx="10317269" cy="930910"/>
          </a:xfrm>
          <a:prstGeom prst="rect">
            <a:avLst/>
          </a:prstGeom>
        </p:spPr>
        <p:txBody>
          <a:bodyPr vert="horz" lIns="90000" tIns="46800" rIns="90000" bIns="4680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400" b="0" i="0" kern="1200">
                <a:solidFill>
                  <a:schemeClr val="tx2"/>
                </a:solidFill>
                <a:latin typeface="Aptos" panose="020B000402020202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0B0004020202020204" pitchFamily="34" charset="0"/>
                <a:ea typeface="+mj-ea"/>
                <a:cs typeface="+mj-cs"/>
              </a:rPr>
              <a:t>Antigen expression in R/R DLBCL</a:t>
            </a:r>
            <a:endParaRPr kumimoji="0" lang="en-GB" sz="3400" b="0" i="0" u="none" strike="noStrike" kern="1200" cap="none" spc="0" normalizeH="0" baseline="3000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j-ea"/>
              <a:cs typeface="+mj-cs"/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BBF76E92-3610-831F-FC66-584BDCA17E82}"/>
              </a:ext>
            </a:extLst>
          </p:cNvPr>
          <p:cNvSpPr/>
          <p:nvPr/>
        </p:nvSpPr>
        <p:spPr>
          <a:xfrm>
            <a:off x="1628725" y="3659635"/>
            <a:ext cx="159799" cy="159799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1" i="0" u="none" strike="noStrike" kern="1200" cap="none" spc="0" normalizeH="0" baseline="0" noProof="0">
              <a:ln>
                <a:noFill/>
              </a:ln>
              <a:solidFill>
                <a:srgbClr val="585854">
                  <a:lumMod val="20000"/>
                  <a:lumOff val="80000"/>
                </a:srgbClr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E0209558-B6E7-D1B7-6691-E35E9A8A9406}"/>
              </a:ext>
            </a:extLst>
          </p:cNvPr>
          <p:cNvCxnSpPr>
            <a:cxnSpLocks/>
            <a:stCxn id="13" idx="4"/>
          </p:cNvCxnSpPr>
          <p:nvPr/>
        </p:nvCxnSpPr>
        <p:spPr>
          <a:xfrm>
            <a:off x="1708625" y="3819434"/>
            <a:ext cx="0" cy="182159"/>
          </a:xfrm>
          <a:prstGeom prst="line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DAD255E7-0B54-049C-412A-B70F04D4A9EC}"/>
              </a:ext>
            </a:extLst>
          </p:cNvPr>
          <p:cNvSpPr txBox="1"/>
          <p:nvPr/>
        </p:nvSpPr>
        <p:spPr>
          <a:xfrm>
            <a:off x="499145" y="4001593"/>
            <a:ext cx="2400300" cy="1323439"/>
          </a:xfrm>
          <a:prstGeom prst="rect">
            <a:avLst/>
          </a:prstGeom>
          <a:noFill/>
        </p:spPr>
        <p:txBody>
          <a:bodyPr wrap="square" lIns="45720" tIns="45720" rIns="4572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1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Lymphocyte apheresi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1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Bridging: </a:t>
            </a: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-Pola ×2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1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Outcome: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 to bridging treatment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996A3F5B-87B2-DA35-84A1-88FB29E12A59}"/>
              </a:ext>
            </a:extLst>
          </p:cNvPr>
          <p:cNvSpPr/>
          <p:nvPr/>
        </p:nvSpPr>
        <p:spPr>
          <a:xfrm>
            <a:off x="2924125" y="3659635"/>
            <a:ext cx="159799" cy="159799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1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918ED8AD-C203-F7C6-9912-68E5130565F3}"/>
              </a:ext>
            </a:extLst>
          </p:cNvPr>
          <p:cNvCxnSpPr>
            <a:cxnSpLocks/>
            <a:stCxn id="14" idx="4"/>
          </p:cNvCxnSpPr>
          <p:nvPr/>
        </p:nvCxnSpPr>
        <p:spPr>
          <a:xfrm>
            <a:off x="3004025" y="3819434"/>
            <a:ext cx="0" cy="182159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EB03CCA5-366D-745A-AB45-4158D121281C}"/>
              </a:ext>
            </a:extLst>
          </p:cNvPr>
          <p:cNvSpPr txBox="1"/>
          <p:nvPr/>
        </p:nvSpPr>
        <p:spPr>
          <a:xfrm>
            <a:off x="2899444" y="4001593"/>
            <a:ext cx="3044152" cy="1323439"/>
          </a:xfrm>
          <a:prstGeom prst="rect">
            <a:avLst/>
          </a:prstGeom>
          <a:noFill/>
        </p:spPr>
        <p:txBody>
          <a:bodyPr wrap="square" lIns="45720" tIns="45720" rIns="4572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1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3L treatment: </a:t>
            </a: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nti CD19 CAR-T axi-ce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1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Outcome:</a:t>
            </a:r>
            <a:r>
              <a:rPr kumimoji="0" lang="en-GB" sz="2000" b="0" i="1" u="none" strike="noStrike" kern="1200" cap="none" spc="0" normalizeH="0" baseline="0" noProof="0">
                <a:ln>
                  <a:noFill/>
                </a:ln>
                <a:solidFill>
                  <a:srgbClr val="2C5E77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2C5E77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R (1 year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1" i="0" u="none" strike="noStrike" kern="1200" cap="none" spc="0" normalizeH="0" baseline="0" noProof="0">
              <a:ln>
                <a:noFill/>
              </a:ln>
              <a:solidFill>
                <a:srgbClr val="2C5E77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445E5282-5AC1-916A-5C80-1948F6C70071}"/>
              </a:ext>
            </a:extLst>
          </p:cNvPr>
          <p:cNvSpPr txBox="1"/>
          <p:nvPr/>
        </p:nvSpPr>
        <p:spPr>
          <a:xfrm>
            <a:off x="1472311" y="3206182"/>
            <a:ext cx="455050" cy="3927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CB813"/>
              </a:buClr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June–July 2023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4A049B77-3BEC-58C0-2915-A387BEBBDF02}"/>
              </a:ext>
            </a:extLst>
          </p:cNvPr>
          <p:cNvSpPr txBox="1"/>
          <p:nvPr/>
        </p:nvSpPr>
        <p:spPr>
          <a:xfrm>
            <a:off x="2805811" y="3206182"/>
            <a:ext cx="455050" cy="3927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CB813"/>
              </a:buClr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ug 2023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B148070-0075-95EC-97E3-D1D7D98AC8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01CC8E-1CEF-6746-999E-CF29FF00B1D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82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7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313B55E-90CA-FE1F-2E9D-64659F6C9B35}"/>
              </a:ext>
            </a:extLst>
          </p:cNvPr>
          <p:cNvSpPr txBox="1"/>
          <p:nvPr/>
        </p:nvSpPr>
        <p:spPr>
          <a:xfrm>
            <a:off x="2316533" y="2878536"/>
            <a:ext cx="1434479" cy="3927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AR-T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F3A20DA5-80DD-666E-66C3-0B503DDE668E}"/>
              </a:ext>
            </a:extLst>
          </p:cNvPr>
          <p:cNvSpPr/>
          <p:nvPr/>
        </p:nvSpPr>
        <p:spPr>
          <a:xfrm>
            <a:off x="2669883" y="2761714"/>
            <a:ext cx="739960" cy="152189"/>
          </a:xfrm>
          <a:prstGeom prst="ellipse">
            <a:avLst/>
          </a:prstGeom>
          <a:solidFill>
            <a:schemeClr val="tx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" name="Free-form: Shape 10">
            <a:extLst>
              <a:ext uri="{FF2B5EF4-FFF2-40B4-BE49-F238E27FC236}">
                <a16:creationId xmlns:a16="http://schemas.microsoft.com/office/drawing/2014/main" id="{F22FA2B4-2BCA-610A-9208-97446FE7E461}"/>
              </a:ext>
            </a:extLst>
          </p:cNvPr>
          <p:cNvSpPr/>
          <p:nvPr/>
        </p:nvSpPr>
        <p:spPr>
          <a:xfrm>
            <a:off x="2749847" y="1460137"/>
            <a:ext cx="650203" cy="1414846"/>
          </a:xfrm>
          <a:custGeom>
            <a:avLst/>
            <a:gdLst>
              <a:gd name="csX0" fmla="*/ 466852 w 715223"/>
              <a:gd name="csY0" fmla="*/ 229083 h 1556330"/>
              <a:gd name="csX1" fmla="*/ 462328 w 715223"/>
              <a:gd name="csY1" fmla="*/ 242604 h 1556330"/>
              <a:gd name="csX2" fmla="*/ 496944 w 715223"/>
              <a:gd name="csY2" fmla="*/ 204739 h 1556330"/>
              <a:gd name="csX3" fmla="*/ 534359 w 715223"/>
              <a:gd name="csY3" fmla="*/ 270960 h 1556330"/>
              <a:gd name="csX4" fmla="*/ 540589 w 715223"/>
              <a:gd name="csY4" fmla="*/ 445986 h 1556330"/>
              <a:gd name="csX5" fmla="*/ 509727 w 715223"/>
              <a:gd name="csY5" fmla="*/ 496924 h 1556330"/>
              <a:gd name="csX6" fmla="*/ 505366 w 715223"/>
              <a:gd name="csY6" fmla="*/ 511893 h 1556330"/>
              <a:gd name="csX7" fmla="*/ 501982 w 715223"/>
              <a:gd name="csY7" fmla="*/ 530377 h 1556330"/>
              <a:gd name="csX8" fmla="*/ 505678 w 715223"/>
              <a:gd name="csY8" fmla="*/ 556455 h 1556330"/>
              <a:gd name="csX9" fmla="*/ 526115 w 715223"/>
              <a:gd name="csY9" fmla="*/ 591784 h 1556330"/>
              <a:gd name="csX10" fmla="*/ 541579 w 715223"/>
              <a:gd name="csY10" fmla="*/ 612264 h 1556330"/>
              <a:gd name="csX11" fmla="*/ 569572 w 715223"/>
              <a:gd name="csY11" fmla="*/ 643441 h 1556330"/>
              <a:gd name="csX12" fmla="*/ 555234 w 715223"/>
              <a:gd name="csY12" fmla="*/ 688473 h 1556330"/>
              <a:gd name="csX13" fmla="*/ 513278 w 715223"/>
              <a:gd name="csY13" fmla="*/ 700556 h 1556330"/>
              <a:gd name="csX14" fmla="*/ 488559 w 715223"/>
              <a:gd name="csY14" fmla="*/ 702821 h 1556330"/>
              <a:gd name="csX15" fmla="*/ 488544 w 715223"/>
              <a:gd name="csY15" fmla="*/ 718085 h 1556330"/>
              <a:gd name="csX16" fmla="*/ 526561 w 715223"/>
              <a:gd name="csY16" fmla="*/ 1010212 h 1556330"/>
              <a:gd name="csX17" fmla="*/ 569986 w 715223"/>
              <a:gd name="csY17" fmla="*/ 1153317 h 1556330"/>
              <a:gd name="csX18" fmla="*/ 587389 w 715223"/>
              <a:gd name="csY18" fmla="*/ 1172173 h 1556330"/>
              <a:gd name="csX19" fmla="*/ 606286 w 715223"/>
              <a:gd name="csY19" fmla="*/ 1180891 h 1556330"/>
              <a:gd name="csX20" fmla="*/ 613400 w 715223"/>
              <a:gd name="csY20" fmla="*/ 1204260 h 1556330"/>
              <a:gd name="csX21" fmla="*/ 605350 w 715223"/>
              <a:gd name="csY21" fmla="*/ 1216760 h 1556330"/>
              <a:gd name="csX22" fmla="*/ 600268 w 715223"/>
              <a:gd name="csY22" fmla="*/ 1220273 h 1556330"/>
              <a:gd name="csX23" fmla="*/ 610574 w 715223"/>
              <a:gd name="csY23" fmla="*/ 1258750 h 1556330"/>
              <a:gd name="csX24" fmla="*/ 672371 w 715223"/>
              <a:gd name="csY24" fmla="*/ 1319810 h 1556330"/>
              <a:gd name="csX25" fmla="*/ 675494 w 715223"/>
              <a:gd name="csY25" fmla="*/ 1323366 h 1556330"/>
              <a:gd name="csX26" fmla="*/ 692949 w 715223"/>
              <a:gd name="csY26" fmla="*/ 1396068 h 1556330"/>
              <a:gd name="csX27" fmla="*/ 690628 w 715223"/>
              <a:gd name="csY27" fmla="*/ 1414117 h 1556330"/>
              <a:gd name="csX28" fmla="*/ 695588 w 715223"/>
              <a:gd name="csY28" fmla="*/ 1421035 h 1556330"/>
              <a:gd name="csX29" fmla="*/ 694353 w 715223"/>
              <a:gd name="csY29" fmla="*/ 1425190 h 1556330"/>
              <a:gd name="csX30" fmla="*/ 689106 w 715223"/>
              <a:gd name="csY30" fmla="*/ 1428714 h 1556330"/>
              <a:gd name="csX31" fmla="*/ 695093 w 715223"/>
              <a:gd name="csY31" fmla="*/ 1428433 h 1556330"/>
              <a:gd name="csX32" fmla="*/ 697643 w 715223"/>
              <a:gd name="csY32" fmla="*/ 1432864 h 1556330"/>
              <a:gd name="csX33" fmla="*/ 698207 w 715223"/>
              <a:gd name="csY33" fmla="*/ 1441988 h 1556330"/>
              <a:gd name="csX34" fmla="*/ 715183 w 715223"/>
              <a:gd name="csY34" fmla="*/ 1508752 h 1556330"/>
              <a:gd name="csX35" fmla="*/ 701540 w 715223"/>
              <a:gd name="csY35" fmla="*/ 1526524 h 1556330"/>
              <a:gd name="csX36" fmla="*/ 581715 w 715223"/>
              <a:gd name="csY36" fmla="*/ 1548559 h 1556330"/>
              <a:gd name="csX37" fmla="*/ 522168 w 715223"/>
              <a:gd name="csY37" fmla="*/ 1553543 h 1556330"/>
              <a:gd name="csX38" fmla="*/ 450008 w 715223"/>
              <a:gd name="csY38" fmla="*/ 1556019 h 1556330"/>
              <a:gd name="csX39" fmla="*/ 245169 w 715223"/>
              <a:gd name="csY39" fmla="*/ 1553749 h 1556330"/>
              <a:gd name="csX40" fmla="*/ 221854 w 715223"/>
              <a:gd name="csY40" fmla="*/ 1553306 h 1556330"/>
              <a:gd name="csX41" fmla="*/ 168405 w 715223"/>
              <a:gd name="csY41" fmla="*/ 1548828 h 1556330"/>
              <a:gd name="csX42" fmla="*/ 126970 w 715223"/>
              <a:gd name="csY42" fmla="*/ 1546091 h 1556330"/>
              <a:gd name="csX43" fmla="*/ 104053 w 715223"/>
              <a:gd name="csY43" fmla="*/ 1542912 h 1556330"/>
              <a:gd name="csX44" fmla="*/ 65625 w 715223"/>
              <a:gd name="csY44" fmla="*/ 1536401 h 1556330"/>
              <a:gd name="csX45" fmla="*/ 10909 w 715223"/>
              <a:gd name="csY45" fmla="*/ 1524010 h 1556330"/>
              <a:gd name="csX46" fmla="*/ 8 w 715223"/>
              <a:gd name="csY46" fmla="*/ 1509263 h 1556330"/>
              <a:gd name="csX47" fmla="*/ 21158 w 715223"/>
              <a:gd name="csY47" fmla="*/ 1433611 h 1556330"/>
              <a:gd name="csX48" fmla="*/ 23462 w 715223"/>
              <a:gd name="csY48" fmla="*/ 1418658 h 1556330"/>
              <a:gd name="csX49" fmla="*/ 19643 w 715223"/>
              <a:gd name="csY49" fmla="*/ 1382324 h 1556330"/>
              <a:gd name="csX50" fmla="*/ 49060 w 715223"/>
              <a:gd name="csY50" fmla="*/ 1311832 h 1556330"/>
              <a:gd name="csX51" fmla="*/ 109176 w 715223"/>
              <a:gd name="csY51" fmla="*/ 1254078 h 1556330"/>
              <a:gd name="csX52" fmla="*/ 118319 w 715223"/>
              <a:gd name="csY52" fmla="*/ 1214801 h 1556330"/>
              <a:gd name="csX53" fmla="*/ 113082 w 715223"/>
              <a:gd name="csY53" fmla="*/ 1201084 h 1556330"/>
              <a:gd name="csX54" fmla="*/ 120417 w 715223"/>
              <a:gd name="csY54" fmla="*/ 1183950 h 1556330"/>
              <a:gd name="csX55" fmla="*/ 135209 w 715223"/>
              <a:gd name="csY55" fmla="*/ 1178138 h 1556330"/>
              <a:gd name="csX56" fmla="*/ 156535 w 715223"/>
              <a:gd name="csY56" fmla="*/ 1156396 h 1556330"/>
              <a:gd name="csX57" fmla="*/ 185647 w 715223"/>
              <a:gd name="csY57" fmla="*/ 1061682 h 1556330"/>
              <a:gd name="csX58" fmla="*/ 201074 w 715223"/>
              <a:gd name="csY58" fmla="*/ 1005093 h 1556330"/>
              <a:gd name="csX59" fmla="*/ 213864 w 715223"/>
              <a:gd name="csY59" fmla="*/ 943040 h 1556330"/>
              <a:gd name="csX60" fmla="*/ 223580 w 715223"/>
              <a:gd name="csY60" fmla="*/ 884167 h 1556330"/>
              <a:gd name="csX61" fmla="*/ 228827 w 715223"/>
              <a:gd name="csY61" fmla="*/ 839382 h 1556330"/>
              <a:gd name="csX62" fmla="*/ 233251 w 715223"/>
              <a:gd name="csY62" fmla="*/ 794539 h 1556330"/>
              <a:gd name="csX63" fmla="*/ 233413 w 715223"/>
              <a:gd name="csY63" fmla="*/ 708554 h 1556330"/>
              <a:gd name="csX64" fmla="*/ 232253 w 715223"/>
              <a:gd name="csY64" fmla="*/ 699181 h 1556330"/>
              <a:gd name="csX65" fmla="*/ 192775 w 715223"/>
              <a:gd name="csY65" fmla="*/ 693131 h 1556330"/>
              <a:gd name="csX66" fmla="*/ 166222 w 715223"/>
              <a:gd name="csY66" fmla="*/ 684229 h 1556330"/>
              <a:gd name="csX67" fmla="*/ 153485 w 715223"/>
              <a:gd name="csY67" fmla="*/ 649704 h 1556330"/>
              <a:gd name="csX68" fmla="*/ 179302 w 715223"/>
              <a:gd name="csY68" fmla="*/ 621006 h 1556330"/>
              <a:gd name="csX69" fmla="*/ 192182 w 715223"/>
              <a:gd name="csY69" fmla="*/ 601675 h 1556330"/>
              <a:gd name="csX70" fmla="*/ 204894 w 715223"/>
              <a:gd name="csY70" fmla="*/ 583417 h 1556330"/>
              <a:gd name="csX71" fmla="*/ 233213 w 715223"/>
              <a:gd name="csY71" fmla="*/ 564393 h 1556330"/>
              <a:gd name="csX72" fmla="*/ 229725 w 715223"/>
              <a:gd name="csY72" fmla="*/ 538177 h 1556330"/>
              <a:gd name="csX73" fmla="*/ 218771 w 715223"/>
              <a:gd name="csY73" fmla="*/ 532633 h 1556330"/>
              <a:gd name="csX74" fmla="*/ 215183 w 715223"/>
              <a:gd name="csY74" fmla="*/ 521568 h 1556330"/>
              <a:gd name="csX75" fmla="*/ 223368 w 715223"/>
              <a:gd name="csY75" fmla="*/ 508901 h 1556330"/>
              <a:gd name="csX76" fmla="*/ 218372 w 715223"/>
              <a:gd name="csY76" fmla="*/ 498135 h 1556330"/>
              <a:gd name="csX77" fmla="*/ 181440 w 715223"/>
              <a:gd name="csY77" fmla="*/ 432308 h 1556330"/>
              <a:gd name="csX78" fmla="*/ 167535 w 715223"/>
              <a:gd name="csY78" fmla="*/ 349841 h 1556330"/>
              <a:gd name="csX79" fmla="*/ 193488 w 715223"/>
              <a:gd name="csY79" fmla="*/ 262518 h 1556330"/>
              <a:gd name="csX80" fmla="*/ 237748 w 715223"/>
              <a:gd name="csY80" fmla="*/ 190690 h 1556330"/>
              <a:gd name="csX81" fmla="*/ 309459 w 715223"/>
              <a:gd name="csY81" fmla="*/ 102623 h 1556330"/>
              <a:gd name="csX82" fmla="*/ 310459 w 715223"/>
              <a:gd name="csY82" fmla="*/ 78521 h 1556330"/>
              <a:gd name="csX83" fmla="*/ 300267 w 715223"/>
              <a:gd name="csY83" fmla="*/ 57856 h 1556330"/>
              <a:gd name="csX84" fmla="*/ 332242 w 715223"/>
              <a:gd name="csY84" fmla="*/ 4422 h 1556330"/>
              <a:gd name="csX85" fmla="*/ 384904 w 715223"/>
              <a:gd name="csY85" fmla="*/ 5551 h 1556330"/>
              <a:gd name="csX86" fmla="*/ 409773 w 715223"/>
              <a:gd name="csY86" fmla="*/ 26778 h 1556330"/>
              <a:gd name="csX87" fmla="*/ 407026 w 715223"/>
              <a:gd name="csY87" fmla="*/ 46052 h 1556330"/>
              <a:gd name="csX88" fmla="*/ 402771 w 715223"/>
              <a:gd name="csY88" fmla="*/ 30951 h 1556330"/>
              <a:gd name="csX89" fmla="*/ 397038 w 715223"/>
              <a:gd name="csY89" fmla="*/ 30361 h 1556330"/>
              <a:gd name="csX90" fmla="*/ 360694 w 715223"/>
              <a:gd name="csY90" fmla="*/ 22760 h 1556330"/>
              <a:gd name="csX91" fmla="*/ 351669 w 715223"/>
              <a:gd name="csY91" fmla="*/ 31736 h 1556330"/>
              <a:gd name="csX92" fmla="*/ 351426 w 715223"/>
              <a:gd name="csY92" fmla="*/ 43987 h 1556330"/>
              <a:gd name="csX93" fmla="*/ 390968 w 715223"/>
              <a:gd name="csY93" fmla="*/ 68762 h 1556330"/>
              <a:gd name="csX94" fmla="*/ 401770 w 715223"/>
              <a:gd name="csY94" fmla="*/ 59025 h 1556330"/>
              <a:gd name="csX95" fmla="*/ 409619 w 715223"/>
              <a:gd name="csY95" fmla="*/ 55786 h 1556330"/>
              <a:gd name="csX96" fmla="*/ 410427 w 715223"/>
              <a:gd name="csY96" fmla="*/ 64256 h 1556330"/>
              <a:gd name="csX97" fmla="*/ 399453 w 715223"/>
              <a:gd name="csY97" fmla="*/ 81811 h 1556330"/>
              <a:gd name="csX98" fmla="*/ 399346 w 715223"/>
              <a:gd name="csY98" fmla="*/ 98083 h 1556330"/>
              <a:gd name="csX99" fmla="*/ 471592 w 715223"/>
              <a:gd name="csY99" fmla="*/ 180524 h 1556330"/>
              <a:gd name="csX100" fmla="*/ 473550 w 715223"/>
              <a:gd name="csY100" fmla="*/ 200923 h 1556330"/>
              <a:gd name="csX101" fmla="*/ 463677 w 715223"/>
              <a:gd name="csY101" fmla="*/ 223311 h 1556330"/>
              <a:gd name="csX102" fmla="*/ 466852 w 715223"/>
              <a:gd name="csY102" fmla="*/ 229083 h 1556330"/>
              <a:gd name="csX103" fmla="*/ 474186 w 715223"/>
              <a:gd name="csY103" fmla="*/ 928382 h 1556330"/>
              <a:gd name="csX104" fmla="*/ 459927 w 715223"/>
              <a:gd name="csY104" fmla="*/ 817790 h 1556330"/>
              <a:gd name="csX105" fmla="*/ 456025 w 715223"/>
              <a:gd name="csY105" fmla="*/ 706469 h 1556330"/>
              <a:gd name="csX106" fmla="*/ 366863 w 715223"/>
              <a:gd name="csY106" fmla="*/ 710754 h 1556330"/>
              <a:gd name="csX107" fmla="*/ 366159 w 715223"/>
              <a:gd name="csY107" fmla="*/ 719219 h 1556330"/>
              <a:gd name="csX108" fmla="*/ 364159 w 715223"/>
              <a:gd name="csY108" fmla="*/ 834581 h 1556330"/>
              <a:gd name="csX109" fmla="*/ 361633 w 715223"/>
              <a:gd name="csY109" fmla="*/ 940117 h 1556330"/>
              <a:gd name="csX110" fmla="*/ 358313 w 715223"/>
              <a:gd name="csY110" fmla="*/ 1053005 h 1556330"/>
              <a:gd name="csX111" fmla="*/ 358081 w 715223"/>
              <a:gd name="csY111" fmla="*/ 1057912 h 1556330"/>
              <a:gd name="csX112" fmla="*/ 353706 w 715223"/>
              <a:gd name="csY112" fmla="*/ 1164570 h 1556330"/>
              <a:gd name="csX113" fmla="*/ 354951 w 715223"/>
              <a:gd name="csY113" fmla="*/ 1172547 h 1556330"/>
              <a:gd name="csX114" fmla="*/ 540959 w 715223"/>
              <a:gd name="csY114" fmla="*/ 1175972 h 1556330"/>
              <a:gd name="csX115" fmla="*/ 474186 w 715223"/>
              <a:gd name="csY115" fmla="*/ 928382 h 1556330"/>
              <a:gd name="csX116" fmla="*/ 513768 w 715223"/>
              <a:gd name="csY116" fmla="*/ 1417676 h 1556330"/>
              <a:gd name="csX117" fmla="*/ 519822 w 715223"/>
              <a:gd name="csY117" fmla="*/ 1416700 h 1556330"/>
              <a:gd name="csX118" fmla="*/ 632041 w 715223"/>
              <a:gd name="csY118" fmla="*/ 1406122 h 1556330"/>
              <a:gd name="csX119" fmla="*/ 665040 w 715223"/>
              <a:gd name="csY119" fmla="*/ 1400634 h 1556330"/>
              <a:gd name="csX120" fmla="*/ 665677 w 715223"/>
              <a:gd name="csY120" fmla="*/ 1396126 h 1556330"/>
              <a:gd name="csX121" fmla="*/ 665529 w 715223"/>
              <a:gd name="csY121" fmla="*/ 1389994 h 1556330"/>
              <a:gd name="csX122" fmla="*/ 623046 w 715223"/>
              <a:gd name="csY122" fmla="*/ 1306238 h 1556330"/>
              <a:gd name="csX123" fmla="*/ 596015 w 715223"/>
              <a:gd name="csY123" fmla="*/ 1281285 h 1556330"/>
              <a:gd name="csX124" fmla="*/ 567683 w 715223"/>
              <a:gd name="csY124" fmla="*/ 1220059 h 1556330"/>
              <a:gd name="csX125" fmla="*/ 540273 w 715223"/>
              <a:gd name="csY125" fmla="*/ 1220129 h 1556330"/>
              <a:gd name="csX126" fmla="*/ 424010 w 715223"/>
              <a:gd name="csY126" fmla="*/ 1226781 h 1556330"/>
              <a:gd name="csX127" fmla="*/ 357832 w 715223"/>
              <a:gd name="csY127" fmla="*/ 1229178 h 1556330"/>
              <a:gd name="csX128" fmla="*/ 352386 w 715223"/>
              <a:gd name="csY128" fmla="*/ 1230616 h 1556330"/>
              <a:gd name="csX129" fmla="*/ 355852 w 715223"/>
              <a:gd name="csY129" fmla="*/ 1324222 h 1556330"/>
              <a:gd name="csX130" fmla="*/ 352930 w 715223"/>
              <a:gd name="csY130" fmla="*/ 1417867 h 1556330"/>
              <a:gd name="csX131" fmla="*/ 513768 w 715223"/>
              <a:gd name="csY131" fmla="*/ 1417676 h 1556330"/>
              <a:gd name="csX132" fmla="*/ 387930 w 715223"/>
              <a:gd name="csY132" fmla="*/ 499741 h 1556330"/>
              <a:gd name="csX133" fmla="*/ 456529 w 715223"/>
              <a:gd name="csY133" fmla="*/ 496826 h 1556330"/>
              <a:gd name="csX134" fmla="*/ 482355 w 715223"/>
              <a:gd name="csY134" fmla="*/ 485095 h 1556330"/>
              <a:gd name="csX135" fmla="*/ 528016 w 715223"/>
              <a:gd name="csY135" fmla="*/ 374829 h 1556330"/>
              <a:gd name="csX136" fmla="*/ 501375 w 715223"/>
              <a:gd name="csY136" fmla="*/ 261643 h 1556330"/>
              <a:gd name="csX137" fmla="*/ 493534 w 715223"/>
              <a:gd name="csY137" fmla="*/ 249818 h 1556330"/>
              <a:gd name="csX138" fmla="*/ 485920 w 715223"/>
              <a:gd name="csY138" fmla="*/ 260010 h 1556330"/>
              <a:gd name="csX139" fmla="*/ 453305 w 715223"/>
              <a:gd name="csY139" fmla="*/ 310523 h 1556330"/>
              <a:gd name="csX140" fmla="*/ 433678 w 715223"/>
              <a:gd name="csY140" fmla="*/ 338672 h 1556330"/>
              <a:gd name="csX141" fmla="*/ 403713 w 715223"/>
              <a:gd name="csY141" fmla="*/ 343710 h 1556330"/>
              <a:gd name="csX142" fmla="*/ 396427 w 715223"/>
              <a:gd name="csY142" fmla="*/ 315612 h 1556330"/>
              <a:gd name="csX143" fmla="*/ 399663 w 715223"/>
              <a:gd name="csY143" fmla="*/ 309000 h 1556330"/>
              <a:gd name="csX144" fmla="*/ 452097 w 715223"/>
              <a:gd name="csY144" fmla="*/ 200770 h 1556330"/>
              <a:gd name="csX145" fmla="*/ 450118 w 715223"/>
              <a:gd name="csY145" fmla="*/ 180596 h 1556330"/>
              <a:gd name="csX146" fmla="*/ 376545 w 715223"/>
              <a:gd name="csY146" fmla="*/ 105525 h 1556330"/>
              <a:gd name="csX147" fmla="*/ 368791 w 715223"/>
              <a:gd name="csY147" fmla="*/ 101653 h 1556330"/>
              <a:gd name="csX148" fmla="*/ 366449 w 715223"/>
              <a:gd name="csY148" fmla="*/ 144676 h 1556330"/>
              <a:gd name="csX149" fmla="*/ 365447 w 715223"/>
              <a:gd name="csY149" fmla="*/ 183946 h 1556330"/>
              <a:gd name="csX150" fmla="*/ 364738 w 715223"/>
              <a:gd name="csY150" fmla="*/ 298022 h 1556330"/>
              <a:gd name="csX151" fmla="*/ 373865 w 715223"/>
              <a:gd name="csY151" fmla="*/ 430096 h 1556330"/>
              <a:gd name="csX152" fmla="*/ 381088 w 715223"/>
              <a:gd name="csY152" fmla="*/ 492169 h 1556330"/>
              <a:gd name="csX153" fmla="*/ 387930 w 715223"/>
              <a:gd name="csY153" fmla="*/ 499741 h 1556330"/>
              <a:gd name="csX154" fmla="*/ 455850 w 715223"/>
              <a:gd name="csY154" fmla="*/ 1521476 h 1556330"/>
              <a:gd name="csX155" fmla="*/ 685121 w 715223"/>
              <a:gd name="csY155" fmla="*/ 1496509 h 1556330"/>
              <a:gd name="csX156" fmla="*/ 672999 w 715223"/>
              <a:gd name="csY156" fmla="*/ 1456665 h 1556330"/>
              <a:gd name="csX157" fmla="*/ 660009 w 715223"/>
              <a:gd name="csY157" fmla="*/ 1450249 h 1556330"/>
              <a:gd name="csX158" fmla="*/ 633248 w 715223"/>
              <a:gd name="csY158" fmla="*/ 1453589 h 1556330"/>
              <a:gd name="csX159" fmla="*/ 451131 w 715223"/>
              <a:gd name="csY159" fmla="*/ 1467458 h 1556330"/>
              <a:gd name="csX160" fmla="*/ 362719 w 715223"/>
              <a:gd name="csY160" fmla="*/ 1467934 h 1556330"/>
              <a:gd name="csX161" fmla="*/ 349983 w 715223"/>
              <a:gd name="csY161" fmla="*/ 1467936 h 1556330"/>
              <a:gd name="csX162" fmla="*/ 352220 w 715223"/>
              <a:gd name="csY162" fmla="*/ 1519140 h 1556330"/>
              <a:gd name="csX163" fmla="*/ 455850 w 715223"/>
              <a:gd name="csY163" fmla="*/ 1521476 h 1556330"/>
              <a:gd name="csX164" fmla="*/ 368682 w 715223"/>
              <a:gd name="csY164" fmla="*/ 544846 h 1556330"/>
              <a:gd name="csX165" fmla="*/ 363600 w 715223"/>
              <a:gd name="csY165" fmla="*/ 605633 h 1556330"/>
              <a:gd name="csX166" fmla="*/ 496351 w 715223"/>
              <a:gd name="csY166" fmla="*/ 601466 h 1556330"/>
              <a:gd name="csX167" fmla="*/ 485068 w 715223"/>
              <a:gd name="csY167" fmla="*/ 579288 h 1556330"/>
              <a:gd name="csX168" fmla="*/ 466524 w 715223"/>
              <a:gd name="csY168" fmla="*/ 541026 h 1556330"/>
              <a:gd name="csX169" fmla="*/ 465000 w 715223"/>
              <a:gd name="csY169" fmla="*/ 536289 h 1556330"/>
              <a:gd name="csX170" fmla="*/ 451328 w 715223"/>
              <a:gd name="csY170" fmla="*/ 536316 h 1556330"/>
              <a:gd name="csX171" fmla="*/ 390140 w 715223"/>
              <a:gd name="csY171" fmla="*/ 538979 h 1556330"/>
              <a:gd name="csX172" fmla="*/ 374215 w 715223"/>
              <a:gd name="csY172" fmla="*/ 539303 h 1556330"/>
              <a:gd name="csX173" fmla="*/ 368682 w 715223"/>
              <a:gd name="csY173" fmla="*/ 544846 h 1556330"/>
              <a:gd name="csX174" fmla="*/ 453915 w 715223"/>
              <a:gd name="csY174" fmla="*/ 635267 h 1556330"/>
              <a:gd name="csX175" fmla="*/ 374200 w 715223"/>
              <a:gd name="csY175" fmla="*/ 639402 h 1556330"/>
              <a:gd name="csX176" fmla="*/ 374200 w 715223"/>
              <a:gd name="csY176" fmla="*/ 673206 h 1556330"/>
              <a:gd name="csX177" fmla="*/ 386639 w 715223"/>
              <a:gd name="csY177" fmla="*/ 673718 h 1556330"/>
              <a:gd name="csX178" fmla="*/ 521198 w 715223"/>
              <a:gd name="csY178" fmla="*/ 668541 h 1556330"/>
              <a:gd name="csX179" fmla="*/ 534198 w 715223"/>
              <a:gd name="csY179" fmla="*/ 665521 h 1556330"/>
              <a:gd name="csX180" fmla="*/ 538413 w 715223"/>
              <a:gd name="csY180" fmla="*/ 652526 h 1556330"/>
              <a:gd name="csX181" fmla="*/ 529377 w 715223"/>
              <a:gd name="csY181" fmla="*/ 642895 h 1556330"/>
              <a:gd name="csX182" fmla="*/ 502829 w 715223"/>
              <a:gd name="csY182" fmla="*/ 634808 h 1556330"/>
              <a:gd name="csX183" fmla="*/ 453915 w 715223"/>
              <a:gd name="csY183" fmla="*/ 635267 h 155633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  <a:cxn ang="0">
                <a:pos x="csX170" y="csY170"/>
              </a:cxn>
              <a:cxn ang="0">
                <a:pos x="csX171" y="csY171"/>
              </a:cxn>
              <a:cxn ang="0">
                <a:pos x="csX172" y="csY172"/>
              </a:cxn>
              <a:cxn ang="0">
                <a:pos x="csX173" y="csY173"/>
              </a:cxn>
              <a:cxn ang="0">
                <a:pos x="csX174" y="csY174"/>
              </a:cxn>
              <a:cxn ang="0">
                <a:pos x="csX175" y="csY175"/>
              </a:cxn>
              <a:cxn ang="0">
                <a:pos x="csX176" y="csY176"/>
              </a:cxn>
              <a:cxn ang="0">
                <a:pos x="csX177" y="csY177"/>
              </a:cxn>
              <a:cxn ang="0">
                <a:pos x="csX178" y="csY178"/>
              </a:cxn>
              <a:cxn ang="0">
                <a:pos x="csX179" y="csY179"/>
              </a:cxn>
              <a:cxn ang="0">
                <a:pos x="csX180" y="csY180"/>
              </a:cxn>
              <a:cxn ang="0">
                <a:pos x="csX181" y="csY181"/>
              </a:cxn>
              <a:cxn ang="0">
                <a:pos x="csX182" y="csY182"/>
              </a:cxn>
              <a:cxn ang="0">
                <a:pos x="csX183" y="csY183"/>
              </a:cxn>
            </a:cxnLst>
            <a:rect l="l" t="t" r="r" b="b"/>
            <a:pathLst>
              <a:path w="715223" h="1556330">
                <a:moveTo>
                  <a:pt x="466852" y="229083"/>
                </a:moveTo>
                <a:cubicBezTo>
                  <a:pt x="465344" y="233590"/>
                  <a:pt x="463836" y="238097"/>
                  <a:pt x="462328" y="242604"/>
                </a:cubicBezTo>
                <a:cubicBezTo>
                  <a:pt x="476604" y="232528"/>
                  <a:pt x="484219" y="216936"/>
                  <a:pt x="496944" y="204739"/>
                </a:cubicBezTo>
                <a:cubicBezTo>
                  <a:pt x="511903" y="225901"/>
                  <a:pt x="524807" y="247414"/>
                  <a:pt x="534359" y="270960"/>
                </a:cubicBezTo>
                <a:cubicBezTo>
                  <a:pt x="557740" y="328591"/>
                  <a:pt x="560223" y="386926"/>
                  <a:pt x="540589" y="445986"/>
                </a:cubicBezTo>
                <a:cubicBezTo>
                  <a:pt x="534197" y="465215"/>
                  <a:pt x="524450" y="482672"/>
                  <a:pt x="509727" y="496924"/>
                </a:cubicBezTo>
                <a:cubicBezTo>
                  <a:pt x="505277" y="501232"/>
                  <a:pt x="502734" y="505157"/>
                  <a:pt x="505366" y="511893"/>
                </a:cubicBezTo>
                <a:cubicBezTo>
                  <a:pt x="507828" y="518196"/>
                  <a:pt x="505953" y="524402"/>
                  <a:pt x="501982" y="530377"/>
                </a:cubicBezTo>
                <a:cubicBezTo>
                  <a:pt x="495613" y="539961"/>
                  <a:pt x="496865" y="548901"/>
                  <a:pt x="505678" y="556455"/>
                </a:cubicBezTo>
                <a:cubicBezTo>
                  <a:pt x="516748" y="565943"/>
                  <a:pt x="523694" y="577557"/>
                  <a:pt x="526115" y="591784"/>
                </a:cubicBezTo>
                <a:cubicBezTo>
                  <a:pt x="527758" y="601445"/>
                  <a:pt x="532593" y="608029"/>
                  <a:pt x="541579" y="612264"/>
                </a:cubicBezTo>
                <a:cubicBezTo>
                  <a:pt x="555150" y="618662"/>
                  <a:pt x="564081" y="629523"/>
                  <a:pt x="569572" y="643441"/>
                </a:cubicBezTo>
                <a:cubicBezTo>
                  <a:pt x="576413" y="660776"/>
                  <a:pt x="570996" y="678245"/>
                  <a:pt x="555234" y="688473"/>
                </a:cubicBezTo>
                <a:cubicBezTo>
                  <a:pt x="542486" y="696746"/>
                  <a:pt x="528127" y="699474"/>
                  <a:pt x="513278" y="700556"/>
                </a:cubicBezTo>
                <a:cubicBezTo>
                  <a:pt x="505590" y="701115"/>
                  <a:pt x="497922" y="701952"/>
                  <a:pt x="488559" y="702821"/>
                </a:cubicBezTo>
                <a:cubicBezTo>
                  <a:pt x="488559" y="708552"/>
                  <a:pt x="488653" y="713320"/>
                  <a:pt x="488544" y="718085"/>
                </a:cubicBezTo>
                <a:cubicBezTo>
                  <a:pt x="486284" y="817406"/>
                  <a:pt x="502313" y="914319"/>
                  <a:pt x="526561" y="1010212"/>
                </a:cubicBezTo>
                <a:cubicBezTo>
                  <a:pt x="538799" y="1058612"/>
                  <a:pt x="553050" y="1106345"/>
                  <a:pt x="569986" y="1153317"/>
                </a:cubicBezTo>
                <a:cubicBezTo>
                  <a:pt x="573328" y="1162590"/>
                  <a:pt x="578279" y="1168740"/>
                  <a:pt x="587389" y="1172173"/>
                </a:cubicBezTo>
                <a:cubicBezTo>
                  <a:pt x="593869" y="1174616"/>
                  <a:pt x="600289" y="1177449"/>
                  <a:pt x="606286" y="1180891"/>
                </a:cubicBezTo>
                <a:cubicBezTo>
                  <a:pt x="617185" y="1187146"/>
                  <a:pt x="618776" y="1192931"/>
                  <a:pt x="613400" y="1204260"/>
                </a:cubicBezTo>
                <a:cubicBezTo>
                  <a:pt x="611475" y="1208315"/>
                  <a:pt x="609140" y="1212177"/>
                  <a:pt x="605350" y="1216760"/>
                </a:cubicBezTo>
                <a:cubicBezTo>
                  <a:pt x="602514" y="1218347"/>
                  <a:pt x="600399" y="1219189"/>
                  <a:pt x="600268" y="1220273"/>
                </a:cubicBezTo>
                <a:cubicBezTo>
                  <a:pt x="598551" y="1234430"/>
                  <a:pt x="599473" y="1247881"/>
                  <a:pt x="610574" y="1258750"/>
                </a:cubicBezTo>
                <a:cubicBezTo>
                  <a:pt x="631265" y="1279009"/>
                  <a:pt x="651790" y="1299438"/>
                  <a:pt x="672371" y="1319810"/>
                </a:cubicBezTo>
                <a:cubicBezTo>
                  <a:pt x="673495" y="1320922"/>
                  <a:pt x="674892" y="1321987"/>
                  <a:pt x="675494" y="1323366"/>
                </a:cubicBezTo>
                <a:cubicBezTo>
                  <a:pt x="685626" y="1346558"/>
                  <a:pt x="694775" y="1370031"/>
                  <a:pt x="692949" y="1396068"/>
                </a:cubicBezTo>
                <a:cubicBezTo>
                  <a:pt x="692525" y="1402108"/>
                  <a:pt x="691276" y="1408087"/>
                  <a:pt x="690628" y="1414117"/>
                </a:cubicBezTo>
                <a:cubicBezTo>
                  <a:pt x="690241" y="1417713"/>
                  <a:pt x="691290" y="1420628"/>
                  <a:pt x="695588" y="1421035"/>
                </a:cubicBezTo>
                <a:cubicBezTo>
                  <a:pt x="695527" y="1422155"/>
                  <a:pt x="695467" y="1423274"/>
                  <a:pt x="694353" y="1425190"/>
                </a:cubicBezTo>
                <a:cubicBezTo>
                  <a:pt x="691901" y="1426894"/>
                  <a:pt x="690503" y="1427804"/>
                  <a:pt x="689106" y="1428714"/>
                </a:cubicBezTo>
                <a:cubicBezTo>
                  <a:pt x="691101" y="1428620"/>
                  <a:pt x="693098" y="1428527"/>
                  <a:pt x="695093" y="1428433"/>
                </a:cubicBezTo>
                <a:cubicBezTo>
                  <a:pt x="695976" y="1429430"/>
                  <a:pt x="696859" y="1430427"/>
                  <a:pt x="697643" y="1432864"/>
                </a:cubicBezTo>
                <a:cubicBezTo>
                  <a:pt x="697724" y="1436887"/>
                  <a:pt x="697087" y="1439912"/>
                  <a:pt x="698207" y="1441988"/>
                </a:cubicBezTo>
                <a:cubicBezTo>
                  <a:pt x="709464" y="1462853"/>
                  <a:pt x="715798" y="1484864"/>
                  <a:pt x="715183" y="1508752"/>
                </a:cubicBezTo>
                <a:cubicBezTo>
                  <a:pt x="714863" y="1521166"/>
                  <a:pt x="713458" y="1523372"/>
                  <a:pt x="701540" y="1526524"/>
                </a:cubicBezTo>
                <a:cubicBezTo>
                  <a:pt x="662165" y="1536936"/>
                  <a:pt x="622006" y="1543243"/>
                  <a:pt x="581715" y="1548559"/>
                </a:cubicBezTo>
                <a:cubicBezTo>
                  <a:pt x="561988" y="1551162"/>
                  <a:pt x="542052" y="1552457"/>
                  <a:pt x="522168" y="1553543"/>
                </a:cubicBezTo>
                <a:cubicBezTo>
                  <a:pt x="498138" y="1554856"/>
                  <a:pt x="474063" y="1556013"/>
                  <a:pt x="450008" y="1556019"/>
                </a:cubicBezTo>
                <a:cubicBezTo>
                  <a:pt x="381724" y="1556035"/>
                  <a:pt x="313415" y="1557550"/>
                  <a:pt x="245169" y="1553749"/>
                </a:cubicBezTo>
                <a:cubicBezTo>
                  <a:pt x="237413" y="1553317"/>
                  <a:pt x="229596" y="1553867"/>
                  <a:pt x="221854" y="1553306"/>
                </a:cubicBezTo>
                <a:cubicBezTo>
                  <a:pt x="204023" y="1552015"/>
                  <a:pt x="186231" y="1550202"/>
                  <a:pt x="168405" y="1548828"/>
                </a:cubicBezTo>
                <a:cubicBezTo>
                  <a:pt x="154605" y="1547764"/>
                  <a:pt x="140762" y="1547242"/>
                  <a:pt x="126970" y="1546091"/>
                </a:cubicBezTo>
                <a:cubicBezTo>
                  <a:pt x="119295" y="1545451"/>
                  <a:pt x="111668" y="1544132"/>
                  <a:pt x="104053" y="1542912"/>
                </a:cubicBezTo>
                <a:cubicBezTo>
                  <a:pt x="91223" y="1540858"/>
                  <a:pt x="78344" y="1539011"/>
                  <a:pt x="65625" y="1536401"/>
                </a:cubicBezTo>
                <a:cubicBezTo>
                  <a:pt x="47307" y="1532642"/>
                  <a:pt x="29006" y="1528694"/>
                  <a:pt x="10909" y="1524010"/>
                </a:cubicBezTo>
                <a:cubicBezTo>
                  <a:pt x="744" y="1521379"/>
                  <a:pt x="119" y="1519620"/>
                  <a:pt x="8" y="1509263"/>
                </a:cubicBezTo>
                <a:cubicBezTo>
                  <a:pt x="-283" y="1482004"/>
                  <a:pt x="7525" y="1456906"/>
                  <a:pt x="21158" y="1433611"/>
                </a:cubicBezTo>
                <a:cubicBezTo>
                  <a:pt x="24128" y="1428537"/>
                  <a:pt x="25100" y="1424162"/>
                  <a:pt x="23462" y="1418658"/>
                </a:cubicBezTo>
                <a:cubicBezTo>
                  <a:pt x="19938" y="1406814"/>
                  <a:pt x="19145" y="1394638"/>
                  <a:pt x="19643" y="1382324"/>
                </a:cubicBezTo>
                <a:cubicBezTo>
                  <a:pt x="20741" y="1355171"/>
                  <a:pt x="29461" y="1331114"/>
                  <a:pt x="49060" y="1311832"/>
                </a:cubicBezTo>
                <a:cubicBezTo>
                  <a:pt x="68866" y="1292344"/>
                  <a:pt x="89102" y="1273294"/>
                  <a:pt x="109176" y="1254078"/>
                </a:cubicBezTo>
                <a:cubicBezTo>
                  <a:pt x="120788" y="1242961"/>
                  <a:pt x="123122" y="1229673"/>
                  <a:pt x="118319" y="1214801"/>
                </a:cubicBezTo>
                <a:cubicBezTo>
                  <a:pt x="116817" y="1210150"/>
                  <a:pt x="114697" y="1205702"/>
                  <a:pt x="113082" y="1201084"/>
                </a:cubicBezTo>
                <a:cubicBezTo>
                  <a:pt x="109606" y="1191147"/>
                  <a:pt x="110855" y="1188189"/>
                  <a:pt x="120417" y="1183950"/>
                </a:cubicBezTo>
                <a:cubicBezTo>
                  <a:pt x="125262" y="1181801"/>
                  <a:pt x="130109" y="1179394"/>
                  <a:pt x="135209" y="1178138"/>
                </a:cubicBezTo>
                <a:cubicBezTo>
                  <a:pt x="146972" y="1175241"/>
                  <a:pt x="153194" y="1166910"/>
                  <a:pt x="156535" y="1156396"/>
                </a:cubicBezTo>
                <a:cubicBezTo>
                  <a:pt x="166535" y="1124919"/>
                  <a:pt x="176229" y="1093339"/>
                  <a:pt x="185647" y="1061682"/>
                </a:cubicBezTo>
                <a:cubicBezTo>
                  <a:pt x="191222" y="1042945"/>
                  <a:pt x="196570" y="1024108"/>
                  <a:pt x="201074" y="1005093"/>
                </a:cubicBezTo>
                <a:cubicBezTo>
                  <a:pt x="205941" y="984550"/>
                  <a:pt x="210000" y="963801"/>
                  <a:pt x="213864" y="943040"/>
                </a:cubicBezTo>
                <a:cubicBezTo>
                  <a:pt x="217503" y="923489"/>
                  <a:pt x="220701" y="903846"/>
                  <a:pt x="223580" y="884167"/>
                </a:cubicBezTo>
                <a:cubicBezTo>
                  <a:pt x="225754" y="869301"/>
                  <a:pt x="227195" y="854324"/>
                  <a:pt x="228827" y="839382"/>
                </a:cubicBezTo>
                <a:cubicBezTo>
                  <a:pt x="230459" y="824446"/>
                  <a:pt x="232880" y="809515"/>
                  <a:pt x="233251" y="794539"/>
                </a:cubicBezTo>
                <a:cubicBezTo>
                  <a:pt x="233961" y="765893"/>
                  <a:pt x="233499" y="737217"/>
                  <a:pt x="233413" y="708554"/>
                </a:cubicBezTo>
                <a:cubicBezTo>
                  <a:pt x="233404" y="705465"/>
                  <a:pt x="232667" y="702378"/>
                  <a:pt x="232253" y="699181"/>
                </a:cubicBezTo>
                <a:cubicBezTo>
                  <a:pt x="218443" y="697138"/>
                  <a:pt x="205461" y="695831"/>
                  <a:pt x="192775" y="693131"/>
                </a:cubicBezTo>
                <a:cubicBezTo>
                  <a:pt x="183686" y="691197"/>
                  <a:pt x="174549" y="688305"/>
                  <a:pt x="166222" y="684229"/>
                </a:cubicBezTo>
                <a:cubicBezTo>
                  <a:pt x="151266" y="676909"/>
                  <a:pt x="147247" y="664789"/>
                  <a:pt x="153485" y="649704"/>
                </a:cubicBezTo>
                <a:cubicBezTo>
                  <a:pt x="158693" y="637111"/>
                  <a:pt x="168160" y="628190"/>
                  <a:pt x="179302" y="621006"/>
                </a:cubicBezTo>
                <a:cubicBezTo>
                  <a:pt x="186548" y="616334"/>
                  <a:pt x="191317" y="611105"/>
                  <a:pt x="192182" y="601675"/>
                </a:cubicBezTo>
                <a:cubicBezTo>
                  <a:pt x="192878" y="594094"/>
                  <a:pt x="197099" y="587626"/>
                  <a:pt x="204894" y="583417"/>
                </a:cubicBezTo>
                <a:cubicBezTo>
                  <a:pt x="214873" y="578030"/>
                  <a:pt x="224643" y="571774"/>
                  <a:pt x="233213" y="564393"/>
                </a:cubicBezTo>
                <a:cubicBezTo>
                  <a:pt x="242623" y="556289"/>
                  <a:pt x="240441" y="544193"/>
                  <a:pt x="229725" y="538177"/>
                </a:cubicBezTo>
                <a:cubicBezTo>
                  <a:pt x="226159" y="536176"/>
                  <a:pt x="222483" y="534351"/>
                  <a:pt x="218771" y="532633"/>
                </a:cubicBezTo>
                <a:cubicBezTo>
                  <a:pt x="213503" y="530196"/>
                  <a:pt x="212651" y="526226"/>
                  <a:pt x="215183" y="521568"/>
                </a:cubicBezTo>
                <a:cubicBezTo>
                  <a:pt x="217485" y="517332"/>
                  <a:pt x="220405" y="513432"/>
                  <a:pt x="223368" y="508901"/>
                </a:cubicBezTo>
                <a:cubicBezTo>
                  <a:pt x="221781" y="505376"/>
                  <a:pt x="220809" y="501165"/>
                  <a:pt x="218372" y="498135"/>
                </a:cubicBezTo>
                <a:cubicBezTo>
                  <a:pt x="202366" y="478231"/>
                  <a:pt x="190774" y="455961"/>
                  <a:pt x="181440" y="432308"/>
                </a:cubicBezTo>
                <a:cubicBezTo>
                  <a:pt x="170959" y="405748"/>
                  <a:pt x="164933" y="378186"/>
                  <a:pt x="167535" y="349841"/>
                </a:cubicBezTo>
                <a:cubicBezTo>
                  <a:pt x="170341" y="319265"/>
                  <a:pt x="179208" y="289917"/>
                  <a:pt x="193488" y="262518"/>
                </a:cubicBezTo>
                <a:cubicBezTo>
                  <a:pt x="206512" y="237529"/>
                  <a:pt x="220831" y="213359"/>
                  <a:pt x="237748" y="190690"/>
                </a:cubicBezTo>
                <a:cubicBezTo>
                  <a:pt x="260421" y="160310"/>
                  <a:pt x="282602" y="129592"/>
                  <a:pt x="309459" y="102623"/>
                </a:cubicBezTo>
                <a:cubicBezTo>
                  <a:pt x="316627" y="95424"/>
                  <a:pt x="316261" y="87541"/>
                  <a:pt x="310459" y="78521"/>
                </a:cubicBezTo>
                <a:cubicBezTo>
                  <a:pt x="306309" y="72071"/>
                  <a:pt x="301695" y="65150"/>
                  <a:pt x="300267" y="57856"/>
                </a:cubicBezTo>
                <a:cubicBezTo>
                  <a:pt x="295286" y="32423"/>
                  <a:pt x="314502" y="10133"/>
                  <a:pt x="332242" y="4422"/>
                </a:cubicBezTo>
                <a:cubicBezTo>
                  <a:pt x="349540" y="-1148"/>
                  <a:pt x="367530" y="-2176"/>
                  <a:pt x="384904" y="5551"/>
                </a:cubicBezTo>
                <a:cubicBezTo>
                  <a:pt x="395271" y="10161"/>
                  <a:pt x="403310" y="17760"/>
                  <a:pt x="409773" y="26778"/>
                </a:cubicBezTo>
                <a:cubicBezTo>
                  <a:pt x="415168" y="34307"/>
                  <a:pt x="413749" y="41584"/>
                  <a:pt x="407026" y="46052"/>
                </a:cubicBezTo>
                <a:cubicBezTo>
                  <a:pt x="405624" y="40964"/>
                  <a:pt x="404503" y="35849"/>
                  <a:pt x="402771" y="30951"/>
                </a:cubicBezTo>
                <a:cubicBezTo>
                  <a:pt x="401450" y="27216"/>
                  <a:pt x="399383" y="28477"/>
                  <a:pt x="397038" y="30361"/>
                </a:cubicBezTo>
                <a:cubicBezTo>
                  <a:pt x="384440" y="15986"/>
                  <a:pt x="377037" y="14494"/>
                  <a:pt x="360694" y="22760"/>
                </a:cubicBezTo>
                <a:cubicBezTo>
                  <a:pt x="353707" y="22767"/>
                  <a:pt x="352275" y="27176"/>
                  <a:pt x="351669" y="31736"/>
                </a:cubicBezTo>
                <a:cubicBezTo>
                  <a:pt x="351136" y="35760"/>
                  <a:pt x="351383" y="39899"/>
                  <a:pt x="351426" y="43987"/>
                </a:cubicBezTo>
                <a:cubicBezTo>
                  <a:pt x="351648" y="64919"/>
                  <a:pt x="372389" y="78115"/>
                  <a:pt x="390968" y="68762"/>
                </a:cubicBezTo>
                <a:cubicBezTo>
                  <a:pt x="395158" y="66653"/>
                  <a:pt x="398534" y="62629"/>
                  <a:pt x="401770" y="59025"/>
                </a:cubicBezTo>
                <a:cubicBezTo>
                  <a:pt x="404045" y="56491"/>
                  <a:pt x="405661" y="53409"/>
                  <a:pt x="409619" y="55786"/>
                </a:cubicBezTo>
                <a:cubicBezTo>
                  <a:pt x="413544" y="58145"/>
                  <a:pt x="412176" y="61347"/>
                  <a:pt x="410427" y="64256"/>
                </a:cubicBezTo>
                <a:cubicBezTo>
                  <a:pt x="406872" y="70170"/>
                  <a:pt x="403244" y="76046"/>
                  <a:pt x="399453" y="81811"/>
                </a:cubicBezTo>
                <a:cubicBezTo>
                  <a:pt x="394663" y="89097"/>
                  <a:pt x="394382" y="94032"/>
                  <a:pt x="399346" y="98083"/>
                </a:cubicBezTo>
                <a:cubicBezTo>
                  <a:pt x="428062" y="121519"/>
                  <a:pt x="450822" y="150083"/>
                  <a:pt x="471592" y="180524"/>
                </a:cubicBezTo>
                <a:cubicBezTo>
                  <a:pt x="476398" y="187569"/>
                  <a:pt x="476844" y="193688"/>
                  <a:pt x="473550" y="200923"/>
                </a:cubicBezTo>
                <a:cubicBezTo>
                  <a:pt x="470171" y="208346"/>
                  <a:pt x="467091" y="215905"/>
                  <a:pt x="463677" y="223311"/>
                </a:cubicBezTo>
                <a:cubicBezTo>
                  <a:pt x="461993" y="226965"/>
                  <a:pt x="462995" y="228697"/>
                  <a:pt x="466852" y="229083"/>
                </a:cubicBezTo>
                <a:moveTo>
                  <a:pt x="474186" y="928382"/>
                </a:moveTo>
                <a:cubicBezTo>
                  <a:pt x="469297" y="891529"/>
                  <a:pt x="462961" y="854794"/>
                  <a:pt x="459927" y="817790"/>
                </a:cubicBezTo>
                <a:cubicBezTo>
                  <a:pt x="456905" y="780939"/>
                  <a:pt x="457197" y="743817"/>
                  <a:pt x="456025" y="706469"/>
                </a:cubicBezTo>
                <a:cubicBezTo>
                  <a:pt x="425780" y="707923"/>
                  <a:pt x="396554" y="709327"/>
                  <a:pt x="366863" y="710754"/>
                </a:cubicBezTo>
                <a:cubicBezTo>
                  <a:pt x="366546" y="714450"/>
                  <a:pt x="366201" y="716832"/>
                  <a:pt x="366159" y="719219"/>
                </a:cubicBezTo>
                <a:cubicBezTo>
                  <a:pt x="365479" y="757672"/>
                  <a:pt x="364935" y="796129"/>
                  <a:pt x="364159" y="834581"/>
                </a:cubicBezTo>
                <a:cubicBezTo>
                  <a:pt x="363450" y="869762"/>
                  <a:pt x="362581" y="904941"/>
                  <a:pt x="361633" y="940117"/>
                </a:cubicBezTo>
                <a:cubicBezTo>
                  <a:pt x="360619" y="977749"/>
                  <a:pt x="359431" y="1015376"/>
                  <a:pt x="358313" y="1053005"/>
                </a:cubicBezTo>
                <a:cubicBezTo>
                  <a:pt x="358265" y="1054641"/>
                  <a:pt x="358149" y="1056276"/>
                  <a:pt x="358081" y="1057912"/>
                </a:cubicBezTo>
                <a:cubicBezTo>
                  <a:pt x="356598" y="1093463"/>
                  <a:pt x="355081" y="1129014"/>
                  <a:pt x="353706" y="1164570"/>
                </a:cubicBezTo>
                <a:cubicBezTo>
                  <a:pt x="353604" y="1167221"/>
                  <a:pt x="354516" y="1169911"/>
                  <a:pt x="354951" y="1172547"/>
                </a:cubicBezTo>
                <a:cubicBezTo>
                  <a:pt x="416984" y="1173689"/>
                  <a:pt x="478158" y="1174816"/>
                  <a:pt x="540959" y="1175972"/>
                </a:cubicBezTo>
                <a:cubicBezTo>
                  <a:pt x="513162" y="1094194"/>
                  <a:pt x="489081" y="1013598"/>
                  <a:pt x="474186" y="928382"/>
                </a:cubicBezTo>
                <a:moveTo>
                  <a:pt x="513768" y="1417676"/>
                </a:moveTo>
                <a:cubicBezTo>
                  <a:pt x="515785" y="1417344"/>
                  <a:pt x="517792" y="1416889"/>
                  <a:pt x="519822" y="1416700"/>
                </a:cubicBezTo>
                <a:cubicBezTo>
                  <a:pt x="557234" y="1413220"/>
                  <a:pt x="594682" y="1410089"/>
                  <a:pt x="632041" y="1406122"/>
                </a:cubicBezTo>
                <a:cubicBezTo>
                  <a:pt x="643122" y="1404945"/>
                  <a:pt x="654730" y="1405292"/>
                  <a:pt x="665040" y="1400634"/>
                </a:cubicBezTo>
                <a:cubicBezTo>
                  <a:pt x="665352" y="1398517"/>
                  <a:pt x="665651" y="1397324"/>
                  <a:pt x="665677" y="1396126"/>
                </a:cubicBezTo>
                <a:cubicBezTo>
                  <a:pt x="665722" y="1394084"/>
                  <a:pt x="665674" y="1392032"/>
                  <a:pt x="665529" y="1389994"/>
                </a:cubicBezTo>
                <a:cubicBezTo>
                  <a:pt x="663118" y="1356121"/>
                  <a:pt x="650063" y="1327787"/>
                  <a:pt x="623046" y="1306238"/>
                </a:cubicBezTo>
                <a:cubicBezTo>
                  <a:pt x="613485" y="1298611"/>
                  <a:pt x="605001" y="1289635"/>
                  <a:pt x="596015" y="1281285"/>
                </a:cubicBezTo>
                <a:cubicBezTo>
                  <a:pt x="578506" y="1265018"/>
                  <a:pt x="567837" y="1245446"/>
                  <a:pt x="567683" y="1220059"/>
                </a:cubicBezTo>
                <a:cubicBezTo>
                  <a:pt x="558046" y="1220059"/>
                  <a:pt x="549136" y="1219649"/>
                  <a:pt x="540273" y="1220129"/>
                </a:cubicBezTo>
                <a:cubicBezTo>
                  <a:pt x="501512" y="1222229"/>
                  <a:pt x="462775" y="1224768"/>
                  <a:pt x="424010" y="1226781"/>
                </a:cubicBezTo>
                <a:cubicBezTo>
                  <a:pt x="401969" y="1227926"/>
                  <a:pt x="379889" y="1228330"/>
                  <a:pt x="357832" y="1229178"/>
                </a:cubicBezTo>
                <a:cubicBezTo>
                  <a:pt x="355938" y="1229251"/>
                  <a:pt x="354076" y="1230151"/>
                  <a:pt x="352386" y="1230616"/>
                </a:cubicBezTo>
                <a:cubicBezTo>
                  <a:pt x="353642" y="1262222"/>
                  <a:pt x="355769" y="1293219"/>
                  <a:pt x="355852" y="1324222"/>
                </a:cubicBezTo>
                <a:cubicBezTo>
                  <a:pt x="355936" y="1355438"/>
                  <a:pt x="353988" y="1386659"/>
                  <a:pt x="352930" y="1417867"/>
                </a:cubicBezTo>
                <a:cubicBezTo>
                  <a:pt x="406069" y="1417867"/>
                  <a:pt x="458771" y="1417867"/>
                  <a:pt x="513768" y="1417676"/>
                </a:cubicBezTo>
                <a:moveTo>
                  <a:pt x="387930" y="499741"/>
                </a:moveTo>
                <a:cubicBezTo>
                  <a:pt x="410797" y="498777"/>
                  <a:pt x="433665" y="497860"/>
                  <a:pt x="456529" y="496826"/>
                </a:cubicBezTo>
                <a:cubicBezTo>
                  <a:pt x="466656" y="496369"/>
                  <a:pt x="475418" y="493371"/>
                  <a:pt x="482355" y="485095"/>
                </a:cubicBezTo>
                <a:cubicBezTo>
                  <a:pt x="509188" y="453083"/>
                  <a:pt x="525387" y="416636"/>
                  <a:pt x="528016" y="374829"/>
                </a:cubicBezTo>
                <a:cubicBezTo>
                  <a:pt x="530547" y="334558"/>
                  <a:pt x="520095" y="297041"/>
                  <a:pt x="501375" y="261643"/>
                </a:cubicBezTo>
                <a:cubicBezTo>
                  <a:pt x="499379" y="257869"/>
                  <a:pt x="496654" y="254482"/>
                  <a:pt x="493534" y="249818"/>
                </a:cubicBezTo>
                <a:cubicBezTo>
                  <a:pt x="490233" y="254212"/>
                  <a:pt x="487883" y="256986"/>
                  <a:pt x="485920" y="260010"/>
                </a:cubicBezTo>
                <a:cubicBezTo>
                  <a:pt x="475010" y="276824"/>
                  <a:pt x="464300" y="293767"/>
                  <a:pt x="453305" y="310523"/>
                </a:cubicBezTo>
                <a:cubicBezTo>
                  <a:pt x="447028" y="320089"/>
                  <a:pt x="440916" y="329858"/>
                  <a:pt x="433678" y="338672"/>
                </a:cubicBezTo>
                <a:cubicBezTo>
                  <a:pt x="425909" y="348131"/>
                  <a:pt x="413084" y="349691"/>
                  <a:pt x="403713" y="343710"/>
                </a:cubicBezTo>
                <a:cubicBezTo>
                  <a:pt x="394358" y="337739"/>
                  <a:pt x="391675" y="327526"/>
                  <a:pt x="396427" y="315612"/>
                </a:cubicBezTo>
                <a:cubicBezTo>
                  <a:pt x="397334" y="313339"/>
                  <a:pt x="398595" y="311210"/>
                  <a:pt x="399663" y="309000"/>
                </a:cubicBezTo>
                <a:cubicBezTo>
                  <a:pt x="417094" y="272900"/>
                  <a:pt x="434331" y="236704"/>
                  <a:pt x="452097" y="200770"/>
                </a:cubicBezTo>
                <a:cubicBezTo>
                  <a:pt x="455910" y="193060"/>
                  <a:pt x="455310" y="187173"/>
                  <a:pt x="450118" y="180596"/>
                </a:cubicBezTo>
                <a:cubicBezTo>
                  <a:pt x="428273" y="152922"/>
                  <a:pt x="405805" y="125901"/>
                  <a:pt x="376545" y="105525"/>
                </a:cubicBezTo>
                <a:cubicBezTo>
                  <a:pt x="374483" y="104089"/>
                  <a:pt x="372013" y="103239"/>
                  <a:pt x="368791" y="101653"/>
                </a:cubicBezTo>
                <a:cubicBezTo>
                  <a:pt x="367942" y="116965"/>
                  <a:pt x="367019" y="130814"/>
                  <a:pt x="366449" y="144676"/>
                </a:cubicBezTo>
                <a:cubicBezTo>
                  <a:pt x="365912" y="157758"/>
                  <a:pt x="365593" y="170854"/>
                  <a:pt x="365447" y="183946"/>
                </a:cubicBezTo>
                <a:cubicBezTo>
                  <a:pt x="365020" y="221975"/>
                  <a:pt x="363367" y="260055"/>
                  <a:pt x="364738" y="298022"/>
                </a:cubicBezTo>
                <a:cubicBezTo>
                  <a:pt x="366329" y="342101"/>
                  <a:pt x="370336" y="386106"/>
                  <a:pt x="373865" y="430096"/>
                </a:cubicBezTo>
                <a:cubicBezTo>
                  <a:pt x="375530" y="450849"/>
                  <a:pt x="378387" y="471514"/>
                  <a:pt x="381088" y="492169"/>
                </a:cubicBezTo>
                <a:cubicBezTo>
                  <a:pt x="381433" y="494807"/>
                  <a:pt x="384102" y="497143"/>
                  <a:pt x="387930" y="499741"/>
                </a:cubicBezTo>
                <a:moveTo>
                  <a:pt x="455850" y="1521476"/>
                </a:moveTo>
                <a:cubicBezTo>
                  <a:pt x="533043" y="1519612"/>
                  <a:pt x="609810" y="1514084"/>
                  <a:pt x="685121" y="1496509"/>
                </a:cubicBezTo>
                <a:cubicBezTo>
                  <a:pt x="683922" y="1481705"/>
                  <a:pt x="679199" y="1467708"/>
                  <a:pt x="672999" y="1456665"/>
                </a:cubicBezTo>
                <a:cubicBezTo>
                  <a:pt x="669933" y="1451203"/>
                  <a:pt x="666057" y="1449329"/>
                  <a:pt x="660009" y="1450249"/>
                </a:cubicBezTo>
                <a:cubicBezTo>
                  <a:pt x="651125" y="1451601"/>
                  <a:pt x="642144" y="1452308"/>
                  <a:pt x="633248" y="1453589"/>
                </a:cubicBezTo>
                <a:cubicBezTo>
                  <a:pt x="572852" y="1462289"/>
                  <a:pt x="511993" y="1465134"/>
                  <a:pt x="451131" y="1467458"/>
                </a:cubicBezTo>
                <a:cubicBezTo>
                  <a:pt x="421697" y="1468582"/>
                  <a:pt x="392192" y="1467837"/>
                  <a:pt x="362719" y="1467934"/>
                </a:cubicBezTo>
                <a:cubicBezTo>
                  <a:pt x="358386" y="1467948"/>
                  <a:pt x="354052" y="1467936"/>
                  <a:pt x="349983" y="1467936"/>
                </a:cubicBezTo>
                <a:cubicBezTo>
                  <a:pt x="347592" y="1485362"/>
                  <a:pt x="348606" y="1509458"/>
                  <a:pt x="352220" y="1519140"/>
                </a:cubicBezTo>
                <a:cubicBezTo>
                  <a:pt x="385617" y="1519916"/>
                  <a:pt x="419507" y="1520703"/>
                  <a:pt x="455850" y="1521476"/>
                </a:cubicBezTo>
                <a:moveTo>
                  <a:pt x="368682" y="544846"/>
                </a:moveTo>
                <a:cubicBezTo>
                  <a:pt x="374258" y="564891"/>
                  <a:pt x="370074" y="584394"/>
                  <a:pt x="363600" y="605633"/>
                </a:cubicBezTo>
                <a:cubicBezTo>
                  <a:pt x="408859" y="604212"/>
                  <a:pt x="452263" y="602850"/>
                  <a:pt x="496351" y="601466"/>
                </a:cubicBezTo>
                <a:cubicBezTo>
                  <a:pt x="496109" y="591095"/>
                  <a:pt x="491408" y="584247"/>
                  <a:pt x="485068" y="579288"/>
                </a:cubicBezTo>
                <a:cubicBezTo>
                  <a:pt x="472414" y="569391"/>
                  <a:pt x="466934" y="556602"/>
                  <a:pt x="466524" y="541026"/>
                </a:cubicBezTo>
                <a:cubicBezTo>
                  <a:pt x="466485" y="539528"/>
                  <a:pt x="465591" y="538053"/>
                  <a:pt x="465000" y="536289"/>
                </a:cubicBezTo>
                <a:cubicBezTo>
                  <a:pt x="460209" y="536289"/>
                  <a:pt x="455761" y="536132"/>
                  <a:pt x="451328" y="536316"/>
                </a:cubicBezTo>
                <a:cubicBezTo>
                  <a:pt x="430930" y="537159"/>
                  <a:pt x="410538" y="538137"/>
                  <a:pt x="390140" y="538979"/>
                </a:cubicBezTo>
                <a:cubicBezTo>
                  <a:pt x="384834" y="539198"/>
                  <a:pt x="379484" y="538790"/>
                  <a:pt x="374215" y="539303"/>
                </a:cubicBezTo>
                <a:cubicBezTo>
                  <a:pt x="372259" y="539494"/>
                  <a:pt x="370480" y="541498"/>
                  <a:pt x="368682" y="544846"/>
                </a:cubicBezTo>
                <a:moveTo>
                  <a:pt x="453915" y="635267"/>
                </a:moveTo>
                <a:cubicBezTo>
                  <a:pt x="427589" y="636632"/>
                  <a:pt x="401262" y="637998"/>
                  <a:pt x="374200" y="639402"/>
                </a:cubicBezTo>
                <a:cubicBezTo>
                  <a:pt x="374200" y="651578"/>
                  <a:pt x="374200" y="661970"/>
                  <a:pt x="374200" y="673206"/>
                </a:cubicBezTo>
                <a:cubicBezTo>
                  <a:pt x="378672" y="673406"/>
                  <a:pt x="382666" y="673863"/>
                  <a:pt x="386639" y="673718"/>
                </a:cubicBezTo>
                <a:cubicBezTo>
                  <a:pt x="431495" y="672082"/>
                  <a:pt x="476352" y="670422"/>
                  <a:pt x="521198" y="668541"/>
                </a:cubicBezTo>
                <a:cubicBezTo>
                  <a:pt x="525584" y="668357"/>
                  <a:pt x="530162" y="667254"/>
                  <a:pt x="534198" y="665521"/>
                </a:cubicBezTo>
                <a:cubicBezTo>
                  <a:pt x="540213" y="662938"/>
                  <a:pt x="541802" y="658194"/>
                  <a:pt x="538413" y="652526"/>
                </a:cubicBezTo>
                <a:cubicBezTo>
                  <a:pt x="536192" y="648813"/>
                  <a:pt x="532979" y="645251"/>
                  <a:pt x="529377" y="642895"/>
                </a:cubicBezTo>
                <a:cubicBezTo>
                  <a:pt x="521426" y="637695"/>
                  <a:pt x="512576" y="634669"/>
                  <a:pt x="502829" y="634808"/>
                </a:cubicBezTo>
                <a:cubicBezTo>
                  <a:pt x="487311" y="635030"/>
                  <a:pt x="471791" y="635092"/>
                  <a:pt x="453915" y="635267"/>
                </a:cubicBezTo>
                <a:close/>
              </a:path>
            </a:pathLst>
          </a:custGeom>
          <a:solidFill>
            <a:srgbClr val="CDD9DF"/>
          </a:solidFill>
          <a:ln w="12700" cap="flat">
            <a:solidFill>
              <a:srgbClr val="CDD9DF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" name="Free-form: Shape 11">
            <a:extLst>
              <a:ext uri="{FF2B5EF4-FFF2-40B4-BE49-F238E27FC236}">
                <a16:creationId xmlns:a16="http://schemas.microsoft.com/office/drawing/2014/main" id="{8812EC1F-594E-21FE-23E2-B73DC878F3B8}"/>
              </a:ext>
            </a:extLst>
          </p:cNvPr>
          <p:cNvSpPr/>
          <p:nvPr/>
        </p:nvSpPr>
        <p:spPr>
          <a:xfrm>
            <a:off x="2741509" y="1453417"/>
            <a:ext cx="665488" cy="1428730"/>
          </a:xfrm>
          <a:custGeom>
            <a:avLst/>
            <a:gdLst>
              <a:gd name="csX0" fmla="*/ 406842 w 732037"/>
              <a:gd name="csY0" fmla="*/ 38347 h 1571603"/>
              <a:gd name="csX1" fmla="*/ 411944 w 732037"/>
              <a:gd name="csY1" fmla="*/ 38343 h 1571603"/>
              <a:gd name="csX2" fmla="*/ 416198 w 732037"/>
              <a:gd name="csY2" fmla="*/ 53444 h 1571603"/>
              <a:gd name="csX3" fmla="*/ 418945 w 732037"/>
              <a:gd name="csY3" fmla="*/ 34170 h 1571603"/>
              <a:gd name="csX4" fmla="*/ 394077 w 732037"/>
              <a:gd name="csY4" fmla="*/ 12943 h 1571603"/>
              <a:gd name="csX5" fmla="*/ 341415 w 732037"/>
              <a:gd name="csY5" fmla="*/ 11814 h 1571603"/>
              <a:gd name="csX6" fmla="*/ 309440 w 732037"/>
              <a:gd name="csY6" fmla="*/ 65249 h 1571603"/>
              <a:gd name="csX7" fmla="*/ 319632 w 732037"/>
              <a:gd name="csY7" fmla="*/ 85914 h 1571603"/>
              <a:gd name="csX8" fmla="*/ 318632 w 732037"/>
              <a:gd name="csY8" fmla="*/ 110015 h 1571603"/>
              <a:gd name="csX9" fmla="*/ 246921 w 732037"/>
              <a:gd name="csY9" fmla="*/ 198083 h 1571603"/>
              <a:gd name="csX10" fmla="*/ 202660 w 732037"/>
              <a:gd name="csY10" fmla="*/ 269911 h 1571603"/>
              <a:gd name="csX11" fmla="*/ 176707 w 732037"/>
              <a:gd name="csY11" fmla="*/ 357233 h 1571603"/>
              <a:gd name="csX12" fmla="*/ 190612 w 732037"/>
              <a:gd name="csY12" fmla="*/ 439700 h 1571603"/>
              <a:gd name="csX13" fmla="*/ 227544 w 732037"/>
              <a:gd name="csY13" fmla="*/ 505527 h 1571603"/>
              <a:gd name="csX14" fmla="*/ 232541 w 732037"/>
              <a:gd name="csY14" fmla="*/ 516294 h 1571603"/>
              <a:gd name="csX15" fmla="*/ 224356 w 732037"/>
              <a:gd name="csY15" fmla="*/ 528960 h 1571603"/>
              <a:gd name="csX16" fmla="*/ 227944 w 732037"/>
              <a:gd name="csY16" fmla="*/ 540026 h 1571603"/>
              <a:gd name="csX17" fmla="*/ 238897 w 732037"/>
              <a:gd name="csY17" fmla="*/ 545570 h 1571603"/>
              <a:gd name="csX18" fmla="*/ 242386 w 732037"/>
              <a:gd name="csY18" fmla="*/ 571785 h 1571603"/>
              <a:gd name="csX19" fmla="*/ 214067 w 732037"/>
              <a:gd name="csY19" fmla="*/ 590809 h 1571603"/>
              <a:gd name="csX20" fmla="*/ 201355 w 732037"/>
              <a:gd name="csY20" fmla="*/ 609067 h 1571603"/>
              <a:gd name="csX21" fmla="*/ 188474 w 732037"/>
              <a:gd name="csY21" fmla="*/ 628398 h 1571603"/>
              <a:gd name="csX22" fmla="*/ 162658 w 732037"/>
              <a:gd name="csY22" fmla="*/ 657096 h 1571603"/>
              <a:gd name="csX23" fmla="*/ 175395 w 732037"/>
              <a:gd name="csY23" fmla="*/ 691621 h 1571603"/>
              <a:gd name="csX24" fmla="*/ 201948 w 732037"/>
              <a:gd name="csY24" fmla="*/ 700523 h 1571603"/>
              <a:gd name="csX25" fmla="*/ 241426 w 732037"/>
              <a:gd name="csY25" fmla="*/ 706574 h 1571603"/>
              <a:gd name="csX26" fmla="*/ 242586 w 732037"/>
              <a:gd name="csY26" fmla="*/ 715946 h 1571603"/>
              <a:gd name="csX27" fmla="*/ 242424 w 732037"/>
              <a:gd name="csY27" fmla="*/ 801932 h 1571603"/>
              <a:gd name="csX28" fmla="*/ 238000 w 732037"/>
              <a:gd name="csY28" fmla="*/ 846774 h 1571603"/>
              <a:gd name="csX29" fmla="*/ 232752 w 732037"/>
              <a:gd name="csY29" fmla="*/ 891559 h 1571603"/>
              <a:gd name="csX30" fmla="*/ 223037 w 732037"/>
              <a:gd name="csY30" fmla="*/ 950433 h 1571603"/>
              <a:gd name="csX31" fmla="*/ 210247 w 732037"/>
              <a:gd name="csY31" fmla="*/ 1012485 h 1571603"/>
              <a:gd name="csX32" fmla="*/ 194820 w 732037"/>
              <a:gd name="csY32" fmla="*/ 1069074 h 1571603"/>
              <a:gd name="csX33" fmla="*/ 165707 w 732037"/>
              <a:gd name="csY33" fmla="*/ 1163788 h 1571603"/>
              <a:gd name="csX34" fmla="*/ 144382 w 732037"/>
              <a:gd name="csY34" fmla="*/ 1185530 h 1571603"/>
              <a:gd name="csX35" fmla="*/ 129590 w 732037"/>
              <a:gd name="csY35" fmla="*/ 1191342 h 1571603"/>
              <a:gd name="csX36" fmla="*/ 122255 w 732037"/>
              <a:gd name="csY36" fmla="*/ 1208476 h 1571603"/>
              <a:gd name="csX37" fmla="*/ 127491 w 732037"/>
              <a:gd name="csY37" fmla="*/ 1222193 h 1571603"/>
              <a:gd name="csX38" fmla="*/ 118348 w 732037"/>
              <a:gd name="csY38" fmla="*/ 1261470 h 1571603"/>
              <a:gd name="csX39" fmla="*/ 58232 w 732037"/>
              <a:gd name="csY39" fmla="*/ 1319224 h 1571603"/>
              <a:gd name="csX40" fmla="*/ 28815 w 732037"/>
              <a:gd name="csY40" fmla="*/ 1389717 h 1571603"/>
              <a:gd name="csX41" fmla="*/ 32634 w 732037"/>
              <a:gd name="csY41" fmla="*/ 1426050 h 1571603"/>
              <a:gd name="csX42" fmla="*/ 30331 w 732037"/>
              <a:gd name="csY42" fmla="*/ 1441003 h 1571603"/>
              <a:gd name="csX43" fmla="*/ 9180 w 732037"/>
              <a:gd name="csY43" fmla="*/ 1516655 h 1571603"/>
              <a:gd name="csX44" fmla="*/ 20082 w 732037"/>
              <a:gd name="csY44" fmla="*/ 1531402 h 1571603"/>
              <a:gd name="csX45" fmla="*/ 74798 w 732037"/>
              <a:gd name="csY45" fmla="*/ 1543794 h 1571603"/>
              <a:gd name="csX46" fmla="*/ 113225 w 732037"/>
              <a:gd name="csY46" fmla="*/ 1550305 h 1571603"/>
              <a:gd name="csX47" fmla="*/ 136142 w 732037"/>
              <a:gd name="csY47" fmla="*/ 1553484 h 1571603"/>
              <a:gd name="csX48" fmla="*/ 177578 w 732037"/>
              <a:gd name="csY48" fmla="*/ 1556220 h 1571603"/>
              <a:gd name="csX49" fmla="*/ 231027 w 732037"/>
              <a:gd name="csY49" fmla="*/ 1560698 h 1571603"/>
              <a:gd name="csX50" fmla="*/ 254342 w 732037"/>
              <a:gd name="csY50" fmla="*/ 1561142 h 1571603"/>
              <a:gd name="csX51" fmla="*/ 459180 w 732037"/>
              <a:gd name="csY51" fmla="*/ 1563411 h 1571603"/>
              <a:gd name="csX52" fmla="*/ 531340 w 732037"/>
              <a:gd name="csY52" fmla="*/ 1560936 h 1571603"/>
              <a:gd name="csX53" fmla="*/ 590888 w 732037"/>
              <a:gd name="csY53" fmla="*/ 1555951 h 1571603"/>
              <a:gd name="csX54" fmla="*/ 710712 w 732037"/>
              <a:gd name="csY54" fmla="*/ 1533916 h 1571603"/>
              <a:gd name="csX55" fmla="*/ 724356 w 732037"/>
              <a:gd name="csY55" fmla="*/ 1516144 h 1571603"/>
              <a:gd name="csX56" fmla="*/ 707380 w 732037"/>
              <a:gd name="csY56" fmla="*/ 1449380 h 1571603"/>
              <a:gd name="csX57" fmla="*/ 707050 w 732037"/>
              <a:gd name="csY57" fmla="*/ 1440881 h 1571603"/>
              <a:gd name="csX58" fmla="*/ 731479 w 732037"/>
              <a:gd name="csY58" fmla="*/ 1500017 h 1571603"/>
              <a:gd name="csX59" fmla="*/ 731163 w 732037"/>
              <a:gd name="csY59" fmla="*/ 1513759 h 1571603"/>
              <a:gd name="csX60" fmla="*/ 731650 w 732037"/>
              <a:gd name="csY60" fmla="*/ 1521766 h 1571603"/>
              <a:gd name="csX61" fmla="*/ 721896 w 732037"/>
              <a:gd name="csY61" fmla="*/ 1537319 h 1571603"/>
              <a:gd name="csX62" fmla="*/ 657740 w 732037"/>
              <a:gd name="csY62" fmla="*/ 1553265 h 1571603"/>
              <a:gd name="csX63" fmla="*/ 507791 w 732037"/>
              <a:gd name="csY63" fmla="*/ 1568943 h 1571603"/>
              <a:gd name="csX64" fmla="*/ 264676 w 732037"/>
              <a:gd name="csY64" fmla="*/ 1569724 h 1571603"/>
              <a:gd name="csX65" fmla="*/ 82743 w 732037"/>
              <a:gd name="csY65" fmla="*/ 1553254 h 1571603"/>
              <a:gd name="csX66" fmla="*/ 17072 w 732037"/>
              <a:gd name="csY66" fmla="*/ 1538153 h 1571603"/>
              <a:gd name="csX67" fmla="*/ 275 w 732037"/>
              <a:gd name="csY67" fmla="*/ 1513030 h 1571603"/>
              <a:gd name="csX68" fmla="*/ 20923 w 732037"/>
              <a:gd name="csY68" fmla="*/ 1441861 h 1571603"/>
              <a:gd name="csX69" fmla="*/ 23045 w 732037"/>
              <a:gd name="csY69" fmla="*/ 1423105 h 1571603"/>
              <a:gd name="csX70" fmla="*/ 30564 w 732037"/>
              <a:gd name="csY70" fmla="*/ 1346289 h 1571603"/>
              <a:gd name="csX71" fmla="*/ 71350 w 732037"/>
              <a:gd name="csY71" fmla="*/ 1295039 h 1571603"/>
              <a:gd name="csX72" fmla="*/ 112257 w 732037"/>
              <a:gd name="csY72" fmla="*/ 1255093 h 1571603"/>
              <a:gd name="csX73" fmla="*/ 115864 w 732037"/>
              <a:gd name="csY73" fmla="*/ 1217271 h 1571603"/>
              <a:gd name="csX74" fmla="*/ 112256 w 732037"/>
              <a:gd name="csY74" fmla="*/ 1210870 h 1571603"/>
              <a:gd name="csX75" fmla="*/ 121141 w 732037"/>
              <a:gd name="csY75" fmla="*/ 1186548 h 1571603"/>
              <a:gd name="csX76" fmla="*/ 136571 w 732037"/>
              <a:gd name="csY76" fmla="*/ 1179850 h 1571603"/>
              <a:gd name="csX77" fmla="*/ 158281 w 732037"/>
              <a:gd name="csY77" fmla="*/ 1157879 h 1571603"/>
              <a:gd name="csX78" fmla="*/ 187986 w 732037"/>
              <a:gd name="csY78" fmla="*/ 1059736 h 1571603"/>
              <a:gd name="csX79" fmla="*/ 217119 w 732037"/>
              <a:gd name="csY79" fmla="*/ 938896 h 1571603"/>
              <a:gd name="csX80" fmla="*/ 225792 w 732037"/>
              <a:gd name="csY80" fmla="*/ 893236 h 1571603"/>
              <a:gd name="csX81" fmla="*/ 226150 w 732037"/>
              <a:gd name="csY81" fmla="*/ 887970 h 1571603"/>
              <a:gd name="csX82" fmla="*/ 230782 w 732037"/>
              <a:gd name="csY82" fmla="*/ 853969 h 1571603"/>
              <a:gd name="csX83" fmla="*/ 230786 w 732037"/>
              <a:gd name="csY83" fmla="*/ 848558 h 1571603"/>
              <a:gd name="csX84" fmla="*/ 233315 w 732037"/>
              <a:gd name="csY84" fmla="*/ 824438 h 1571603"/>
              <a:gd name="csX85" fmla="*/ 233199 w 732037"/>
              <a:gd name="csY85" fmla="*/ 819050 h 1571603"/>
              <a:gd name="csX86" fmla="*/ 235848 w 732037"/>
              <a:gd name="csY86" fmla="*/ 782380 h 1571603"/>
              <a:gd name="csX87" fmla="*/ 237465 w 732037"/>
              <a:gd name="csY87" fmla="*/ 719113 h 1571603"/>
              <a:gd name="csX88" fmla="*/ 233057 w 732037"/>
              <a:gd name="csY88" fmla="*/ 713160 h 1571603"/>
              <a:gd name="csX89" fmla="*/ 203056 w 732037"/>
              <a:gd name="csY89" fmla="*/ 708405 h 1571603"/>
              <a:gd name="csX90" fmla="*/ 169628 w 732037"/>
              <a:gd name="csY90" fmla="*/ 698106 h 1571603"/>
              <a:gd name="csX91" fmla="*/ 153237 w 732037"/>
              <a:gd name="csY91" fmla="*/ 659111 h 1571603"/>
              <a:gd name="csX92" fmla="*/ 178365 w 732037"/>
              <a:gd name="csY92" fmla="*/ 626008 h 1571603"/>
              <a:gd name="csX93" fmla="*/ 191885 w 732037"/>
              <a:gd name="csY93" fmla="*/ 617513 h 1571603"/>
              <a:gd name="csX94" fmla="*/ 193681 w 732037"/>
              <a:gd name="csY94" fmla="*/ 610098 h 1571603"/>
              <a:gd name="csX95" fmla="*/ 213301 w 732037"/>
              <a:gd name="csY95" fmla="*/ 579885 h 1571603"/>
              <a:gd name="csX96" fmla="*/ 229635 w 732037"/>
              <a:gd name="csY96" fmla="*/ 571429 h 1571603"/>
              <a:gd name="csX97" fmla="*/ 237351 w 732037"/>
              <a:gd name="csY97" fmla="*/ 565882 h 1571603"/>
              <a:gd name="csX98" fmla="*/ 233673 w 732037"/>
              <a:gd name="csY98" fmla="*/ 550926 h 1571603"/>
              <a:gd name="csX99" fmla="*/ 226799 w 732037"/>
              <a:gd name="csY99" fmla="*/ 548359 h 1571603"/>
              <a:gd name="csX100" fmla="*/ 218639 w 732037"/>
              <a:gd name="csY100" fmla="*/ 522664 h 1571603"/>
              <a:gd name="csX101" fmla="*/ 218264 w 732037"/>
              <a:gd name="csY101" fmla="*/ 505463 h 1571603"/>
              <a:gd name="csX102" fmla="*/ 181762 w 732037"/>
              <a:gd name="csY102" fmla="*/ 437574 h 1571603"/>
              <a:gd name="csX103" fmla="*/ 185971 w 732037"/>
              <a:gd name="csY103" fmla="*/ 289069 h 1571603"/>
              <a:gd name="csX104" fmla="*/ 253787 w 732037"/>
              <a:gd name="csY104" fmla="*/ 175580 h 1571603"/>
              <a:gd name="csX105" fmla="*/ 309639 w 732037"/>
              <a:gd name="csY105" fmla="*/ 108695 h 1571603"/>
              <a:gd name="csX106" fmla="*/ 318061 w 732037"/>
              <a:gd name="csY106" fmla="*/ 98855 h 1571603"/>
              <a:gd name="csX107" fmla="*/ 304967 w 732037"/>
              <a:gd name="csY107" fmla="*/ 70056 h 1571603"/>
              <a:gd name="csX108" fmla="*/ 317012 w 732037"/>
              <a:gd name="csY108" fmla="*/ 19436 h 1571603"/>
              <a:gd name="csX109" fmla="*/ 415542 w 732037"/>
              <a:gd name="csY109" fmla="*/ 18221 h 1571603"/>
              <a:gd name="csX110" fmla="*/ 423203 w 732037"/>
              <a:gd name="csY110" fmla="*/ 82660 h 1571603"/>
              <a:gd name="csX111" fmla="*/ 413361 w 732037"/>
              <a:gd name="csY111" fmla="*/ 97975 h 1571603"/>
              <a:gd name="csX112" fmla="*/ 421654 w 732037"/>
              <a:gd name="csY112" fmla="*/ 106676 h 1571603"/>
              <a:gd name="csX113" fmla="*/ 487032 w 732037"/>
              <a:gd name="csY113" fmla="*/ 184632 h 1571603"/>
              <a:gd name="csX114" fmla="*/ 489213 w 732037"/>
              <a:gd name="csY114" fmla="*/ 208238 h 1571603"/>
              <a:gd name="csX115" fmla="*/ 476520 w 732037"/>
              <a:gd name="csY115" fmla="*/ 235738 h 1571603"/>
              <a:gd name="csX116" fmla="*/ 472850 w 732037"/>
              <a:gd name="csY116" fmla="*/ 230703 h 1571603"/>
              <a:gd name="csX117" fmla="*/ 482723 w 732037"/>
              <a:gd name="csY117" fmla="*/ 208315 h 1571603"/>
              <a:gd name="csX118" fmla="*/ 480764 w 732037"/>
              <a:gd name="csY118" fmla="*/ 187916 h 1571603"/>
              <a:gd name="csX119" fmla="*/ 408519 w 732037"/>
              <a:gd name="csY119" fmla="*/ 105475 h 1571603"/>
              <a:gd name="csX120" fmla="*/ 408625 w 732037"/>
              <a:gd name="csY120" fmla="*/ 89203 h 1571603"/>
              <a:gd name="csX121" fmla="*/ 419600 w 732037"/>
              <a:gd name="csY121" fmla="*/ 71648 h 1571603"/>
              <a:gd name="csX122" fmla="*/ 418792 w 732037"/>
              <a:gd name="csY122" fmla="*/ 63179 h 1571603"/>
              <a:gd name="csX123" fmla="*/ 410943 w 732037"/>
              <a:gd name="csY123" fmla="*/ 66417 h 1571603"/>
              <a:gd name="csX124" fmla="*/ 400140 w 732037"/>
              <a:gd name="csY124" fmla="*/ 76155 h 1571603"/>
              <a:gd name="csX125" fmla="*/ 360599 w 732037"/>
              <a:gd name="csY125" fmla="*/ 51379 h 1571603"/>
              <a:gd name="csX126" fmla="*/ 360842 w 732037"/>
              <a:gd name="csY126" fmla="*/ 39128 h 1571603"/>
              <a:gd name="csX127" fmla="*/ 369470 w 732037"/>
              <a:gd name="csY127" fmla="*/ 30960 h 1571603"/>
              <a:gd name="csX128" fmla="*/ 365613 w 732037"/>
              <a:gd name="csY128" fmla="*/ 49108 h 1571603"/>
              <a:gd name="csX129" fmla="*/ 389468 w 732037"/>
              <a:gd name="csY129" fmla="*/ 71608 h 1571603"/>
              <a:gd name="csX130" fmla="*/ 408822 w 732037"/>
              <a:gd name="csY130" fmla="*/ 46613 h 1571603"/>
              <a:gd name="csX131" fmla="*/ 406842 w 732037"/>
              <a:gd name="csY131" fmla="*/ 38347 h 157160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</a:cxnLst>
            <a:rect l="l" t="t" r="r" b="b"/>
            <a:pathLst>
              <a:path w="732037" h="1571603">
                <a:moveTo>
                  <a:pt x="406842" y="38347"/>
                </a:moveTo>
                <a:cubicBezTo>
                  <a:pt x="408555" y="35869"/>
                  <a:pt x="410622" y="34608"/>
                  <a:pt x="411944" y="38343"/>
                </a:cubicBezTo>
                <a:cubicBezTo>
                  <a:pt x="413676" y="43242"/>
                  <a:pt x="414797" y="48356"/>
                  <a:pt x="416198" y="53444"/>
                </a:cubicBezTo>
                <a:cubicBezTo>
                  <a:pt x="422922" y="48977"/>
                  <a:pt x="424340" y="41699"/>
                  <a:pt x="418945" y="34170"/>
                </a:cubicBezTo>
                <a:cubicBezTo>
                  <a:pt x="412483" y="25152"/>
                  <a:pt x="404444" y="17554"/>
                  <a:pt x="394077" y="12943"/>
                </a:cubicBezTo>
                <a:cubicBezTo>
                  <a:pt x="376702" y="5216"/>
                  <a:pt x="358713" y="6244"/>
                  <a:pt x="341415" y="11814"/>
                </a:cubicBezTo>
                <a:cubicBezTo>
                  <a:pt x="323675" y="17525"/>
                  <a:pt x="304459" y="39816"/>
                  <a:pt x="309440" y="65249"/>
                </a:cubicBezTo>
                <a:cubicBezTo>
                  <a:pt x="310868" y="72543"/>
                  <a:pt x="315482" y="79463"/>
                  <a:pt x="319632" y="85914"/>
                </a:cubicBezTo>
                <a:cubicBezTo>
                  <a:pt x="325434" y="94933"/>
                  <a:pt x="325800" y="102817"/>
                  <a:pt x="318632" y="110015"/>
                </a:cubicBezTo>
                <a:cubicBezTo>
                  <a:pt x="291775" y="136984"/>
                  <a:pt x="269594" y="167702"/>
                  <a:pt x="246921" y="198083"/>
                </a:cubicBezTo>
                <a:cubicBezTo>
                  <a:pt x="230003" y="220751"/>
                  <a:pt x="215685" y="244921"/>
                  <a:pt x="202660" y="269911"/>
                </a:cubicBezTo>
                <a:cubicBezTo>
                  <a:pt x="188381" y="297309"/>
                  <a:pt x="179513" y="326657"/>
                  <a:pt x="176707" y="357233"/>
                </a:cubicBezTo>
                <a:cubicBezTo>
                  <a:pt x="174106" y="385578"/>
                  <a:pt x="180131" y="413140"/>
                  <a:pt x="190612" y="439700"/>
                </a:cubicBezTo>
                <a:cubicBezTo>
                  <a:pt x="199946" y="463353"/>
                  <a:pt x="211538" y="485623"/>
                  <a:pt x="227544" y="505527"/>
                </a:cubicBezTo>
                <a:cubicBezTo>
                  <a:pt x="229982" y="508558"/>
                  <a:pt x="230954" y="512768"/>
                  <a:pt x="232541" y="516294"/>
                </a:cubicBezTo>
                <a:cubicBezTo>
                  <a:pt x="229578" y="520824"/>
                  <a:pt x="226658" y="524724"/>
                  <a:pt x="224356" y="528960"/>
                </a:cubicBezTo>
                <a:cubicBezTo>
                  <a:pt x="221823" y="533618"/>
                  <a:pt x="222675" y="537588"/>
                  <a:pt x="227944" y="540026"/>
                </a:cubicBezTo>
                <a:cubicBezTo>
                  <a:pt x="231656" y="541743"/>
                  <a:pt x="235331" y="543568"/>
                  <a:pt x="238897" y="545570"/>
                </a:cubicBezTo>
                <a:cubicBezTo>
                  <a:pt x="249613" y="551585"/>
                  <a:pt x="251795" y="563681"/>
                  <a:pt x="242386" y="571785"/>
                </a:cubicBezTo>
                <a:cubicBezTo>
                  <a:pt x="233816" y="579166"/>
                  <a:pt x="224045" y="585423"/>
                  <a:pt x="214067" y="590809"/>
                </a:cubicBezTo>
                <a:cubicBezTo>
                  <a:pt x="206271" y="595018"/>
                  <a:pt x="202051" y="601487"/>
                  <a:pt x="201355" y="609067"/>
                </a:cubicBezTo>
                <a:cubicBezTo>
                  <a:pt x="200489" y="618497"/>
                  <a:pt x="195720" y="623726"/>
                  <a:pt x="188474" y="628398"/>
                </a:cubicBezTo>
                <a:cubicBezTo>
                  <a:pt x="177332" y="635582"/>
                  <a:pt x="167866" y="644503"/>
                  <a:pt x="162658" y="657096"/>
                </a:cubicBezTo>
                <a:cubicBezTo>
                  <a:pt x="156420" y="672181"/>
                  <a:pt x="160439" y="684301"/>
                  <a:pt x="175395" y="691621"/>
                </a:cubicBezTo>
                <a:cubicBezTo>
                  <a:pt x="183722" y="695697"/>
                  <a:pt x="192859" y="698589"/>
                  <a:pt x="201948" y="700523"/>
                </a:cubicBezTo>
                <a:cubicBezTo>
                  <a:pt x="214634" y="703224"/>
                  <a:pt x="227616" y="704530"/>
                  <a:pt x="241426" y="706574"/>
                </a:cubicBezTo>
                <a:cubicBezTo>
                  <a:pt x="241839" y="709770"/>
                  <a:pt x="242576" y="712857"/>
                  <a:pt x="242586" y="715946"/>
                </a:cubicBezTo>
                <a:cubicBezTo>
                  <a:pt x="242672" y="744610"/>
                  <a:pt x="243133" y="773285"/>
                  <a:pt x="242424" y="801932"/>
                </a:cubicBezTo>
                <a:cubicBezTo>
                  <a:pt x="242053" y="816907"/>
                  <a:pt x="239631" y="831838"/>
                  <a:pt x="238000" y="846774"/>
                </a:cubicBezTo>
                <a:cubicBezTo>
                  <a:pt x="236368" y="861717"/>
                  <a:pt x="234927" y="876693"/>
                  <a:pt x="232752" y="891559"/>
                </a:cubicBezTo>
                <a:cubicBezTo>
                  <a:pt x="229873" y="911238"/>
                  <a:pt x="226675" y="930882"/>
                  <a:pt x="223037" y="950433"/>
                </a:cubicBezTo>
                <a:cubicBezTo>
                  <a:pt x="219173" y="971193"/>
                  <a:pt x="215113" y="991942"/>
                  <a:pt x="210247" y="1012485"/>
                </a:cubicBezTo>
                <a:cubicBezTo>
                  <a:pt x="205743" y="1031500"/>
                  <a:pt x="200395" y="1050337"/>
                  <a:pt x="194820" y="1069074"/>
                </a:cubicBezTo>
                <a:cubicBezTo>
                  <a:pt x="185401" y="1100731"/>
                  <a:pt x="175708" y="1132311"/>
                  <a:pt x="165707" y="1163788"/>
                </a:cubicBezTo>
                <a:cubicBezTo>
                  <a:pt x="162367" y="1174302"/>
                  <a:pt x="156145" y="1182634"/>
                  <a:pt x="144382" y="1185530"/>
                </a:cubicBezTo>
                <a:cubicBezTo>
                  <a:pt x="139281" y="1186787"/>
                  <a:pt x="134434" y="1189193"/>
                  <a:pt x="129590" y="1191342"/>
                </a:cubicBezTo>
                <a:cubicBezTo>
                  <a:pt x="120028" y="1195581"/>
                  <a:pt x="118779" y="1198539"/>
                  <a:pt x="122255" y="1208476"/>
                </a:cubicBezTo>
                <a:cubicBezTo>
                  <a:pt x="123870" y="1213094"/>
                  <a:pt x="125990" y="1217542"/>
                  <a:pt x="127491" y="1222193"/>
                </a:cubicBezTo>
                <a:cubicBezTo>
                  <a:pt x="132294" y="1237066"/>
                  <a:pt x="129961" y="1250353"/>
                  <a:pt x="118348" y="1261470"/>
                </a:cubicBezTo>
                <a:cubicBezTo>
                  <a:pt x="98275" y="1280686"/>
                  <a:pt x="78038" y="1299737"/>
                  <a:pt x="58232" y="1319224"/>
                </a:cubicBezTo>
                <a:cubicBezTo>
                  <a:pt x="38634" y="1338507"/>
                  <a:pt x="29913" y="1362564"/>
                  <a:pt x="28815" y="1389717"/>
                </a:cubicBezTo>
                <a:cubicBezTo>
                  <a:pt x="28318" y="1402031"/>
                  <a:pt x="29110" y="1414206"/>
                  <a:pt x="32634" y="1426050"/>
                </a:cubicBezTo>
                <a:cubicBezTo>
                  <a:pt x="34273" y="1431554"/>
                  <a:pt x="33300" y="1435929"/>
                  <a:pt x="30331" y="1441003"/>
                </a:cubicBezTo>
                <a:cubicBezTo>
                  <a:pt x="16698" y="1464298"/>
                  <a:pt x="8890" y="1489397"/>
                  <a:pt x="9180" y="1516655"/>
                </a:cubicBezTo>
                <a:cubicBezTo>
                  <a:pt x="9291" y="1527012"/>
                  <a:pt x="9917" y="1528771"/>
                  <a:pt x="20082" y="1531402"/>
                </a:cubicBezTo>
                <a:cubicBezTo>
                  <a:pt x="38179" y="1536086"/>
                  <a:pt x="56480" y="1540035"/>
                  <a:pt x="74798" y="1543794"/>
                </a:cubicBezTo>
                <a:cubicBezTo>
                  <a:pt x="87517" y="1546403"/>
                  <a:pt x="100396" y="1548250"/>
                  <a:pt x="113225" y="1550305"/>
                </a:cubicBezTo>
                <a:cubicBezTo>
                  <a:pt x="120841" y="1551524"/>
                  <a:pt x="128467" y="1552843"/>
                  <a:pt x="136142" y="1553484"/>
                </a:cubicBezTo>
                <a:cubicBezTo>
                  <a:pt x="149934" y="1554635"/>
                  <a:pt x="163778" y="1555156"/>
                  <a:pt x="177578" y="1556220"/>
                </a:cubicBezTo>
                <a:cubicBezTo>
                  <a:pt x="195403" y="1557595"/>
                  <a:pt x="213196" y="1559407"/>
                  <a:pt x="231027" y="1560698"/>
                </a:cubicBezTo>
                <a:cubicBezTo>
                  <a:pt x="238768" y="1561259"/>
                  <a:pt x="246585" y="1560709"/>
                  <a:pt x="254342" y="1561142"/>
                </a:cubicBezTo>
                <a:cubicBezTo>
                  <a:pt x="322588" y="1564942"/>
                  <a:pt x="390896" y="1563427"/>
                  <a:pt x="459180" y="1563411"/>
                </a:cubicBezTo>
                <a:cubicBezTo>
                  <a:pt x="483236" y="1563406"/>
                  <a:pt x="507311" y="1562248"/>
                  <a:pt x="531340" y="1560936"/>
                </a:cubicBezTo>
                <a:cubicBezTo>
                  <a:pt x="551225" y="1559849"/>
                  <a:pt x="571160" y="1558554"/>
                  <a:pt x="590888" y="1555951"/>
                </a:cubicBezTo>
                <a:cubicBezTo>
                  <a:pt x="631179" y="1550635"/>
                  <a:pt x="671338" y="1544328"/>
                  <a:pt x="710712" y="1533916"/>
                </a:cubicBezTo>
                <a:cubicBezTo>
                  <a:pt x="722630" y="1530764"/>
                  <a:pt x="724036" y="1528558"/>
                  <a:pt x="724356" y="1516144"/>
                </a:cubicBezTo>
                <a:cubicBezTo>
                  <a:pt x="724970" y="1492256"/>
                  <a:pt x="718637" y="1470245"/>
                  <a:pt x="707380" y="1449380"/>
                </a:cubicBezTo>
                <a:cubicBezTo>
                  <a:pt x="706259" y="1447304"/>
                  <a:pt x="706896" y="1444279"/>
                  <a:pt x="707050" y="1440881"/>
                </a:cubicBezTo>
                <a:cubicBezTo>
                  <a:pt x="722747" y="1457101"/>
                  <a:pt x="728653" y="1477963"/>
                  <a:pt x="731479" y="1500017"/>
                </a:cubicBezTo>
                <a:cubicBezTo>
                  <a:pt x="731992" y="1504029"/>
                  <a:pt x="731781" y="1508135"/>
                  <a:pt x="731163" y="1513759"/>
                </a:cubicBezTo>
                <a:cubicBezTo>
                  <a:pt x="730831" y="1517468"/>
                  <a:pt x="731241" y="1519618"/>
                  <a:pt x="731650" y="1521766"/>
                </a:cubicBezTo>
                <a:cubicBezTo>
                  <a:pt x="733191" y="1529956"/>
                  <a:pt x="730165" y="1535242"/>
                  <a:pt x="721896" y="1537319"/>
                </a:cubicBezTo>
                <a:cubicBezTo>
                  <a:pt x="700520" y="1542690"/>
                  <a:pt x="679367" y="1549248"/>
                  <a:pt x="657740" y="1553265"/>
                </a:cubicBezTo>
                <a:cubicBezTo>
                  <a:pt x="608220" y="1562464"/>
                  <a:pt x="558146" y="1566701"/>
                  <a:pt x="507791" y="1568943"/>
                </a:cubicBezTo>
                <a:cubicBezTo>
                  <a:pt x="426738" y="1572552"/>
                  <a:pt x="345677" y="1572161"/>
                  <a:pt x="264676" y="1569724"/>
                </a:cubicBezTo>
                <a:cubicBezTo>
                  <a:pt x="203800" y="1567891"/>
                  <a:pt x="142882" y="1563907"/>
                  <a:pt x="82743" y="1553254"/>
                </a:cubicBezTo>
                <a:cubicBezTo>
                  <a:pt x="60647" y="1549341"/>
                  <a:pt x="38739" y="1544032"/>
                  <a:pt x="17072" y="1538153"/>
                </a:cubicBezTo>
                <a:cubicBezTo>
                  <a:pt x="1381" y="1533894"/>
                  <a:pt x="-938" y="1529341"/>
                  <a:pt x="275" y="1513030"/>
                </a:cubicBezTo>
                <a:cubicBezTo>
                  <a:pt x="2146" y="1487871"/>
                  <a:pt x="7321" y="1463566"/>
                  <a:pt x="20923" y="1441861"/>
                </a:cubicBezTo>
                <a:cubicBezTo>
                  <a:pt x="24812" y="1435656"/>
                  <a:pt x="24566" y="1429699"/>
                  <a:pt x="23045" y="1423105"/>
                </a:cubicBezTo>
                <a:cubicBezTo>
                  <a:pt x="16952" y="1396684"/>
                  <a:pt x="19689" y="1370924"/>
                  <a:pt x="30564" y="1346289"/>
                </a:cubicBezTo>
                <a:cubicBezTo>
                  <a:pt x="39621" y="1325774"/>
                  <a:pt x="54481" y="1309709"/>
                  <a:pt x="71350" y="1295039"/>
                </a:cubicBezTo>
                <a:cubicBezTo>
                  <a:pt x="85712" y="1282550"/>
                  <a:pt x="99164" y="1268932"/>
                  <a:pt x="112257" y="1255093"/>
                </a:cubicBezTo>
                <a:cubicBezTo>
                  <a:pt x="122891" y="1243852"/>
                  <a:pt x="124955" y="1230879"/>
                  <a:pt x="115864" y="1217271"/>
                </a:cubicBezTo>
                <a:cubicBezTo>
                  <a:pt x="114506" y="1215239"/>
                  <a:pt x="113304" y="1213078"/>
                  <a:pt x="112256" y="1210870"/>
                </a:cubicBezTo>
                <a:cubicBezTo>
                  <a:pt x="106526" y="1198808"/>
                  <a:pt x="109052" y="1191969"/>
                  <a:pt x="121141" y="1186548"/>
                </a:cubicBezTo>
                <a:cubicBezTo>
                  <a:pt x="126274" y="1184246"/>
                  <a:pt x="131201" y="1180803"/>
                  <a:pt x="136571" y="1179850"/>
                </a:cubicBezTo>
                <a:cubicBezTo>
                  <a:pt x="149372" y="1177579"/>
                  <a:pt x="154892" y="1168948"/>
                  <a:pt x="158281" y="1157879"/>
                </a:cubicBezTo>
                <a:cubicBezTo>
                  <a:pt x="168288" y="1125194"/>
                  <a:pt x="179178" y="1092742"/>
                  <a:pt x="187986" y="1059736"/>
                </a:cubicBezTo>
                <a:cubicBezTo>
                  <a:pt x="198666" y="1019713"/>
                  <a:pt x="207813" y="979272"/>
                  <a:pt x="217119" y="938896"/>
                </a:cubicBezTo>
                <a:cubicBezTo>
                  <a:pt x="220491" y="924267"/>
                  <a:pt x="222410" y="909302"/>
                  <a:pt x="225792" y="893236"/>
                </a:cubicBezTo>
                <a:cubicBezTo>
                  <a:pt x="226444" y="890644"/>
                  <a:pt x="226297" y="889307"/>
                  <a:pt x="226150" y="887970"/>
                </a:cubicBezTo>
                <a:cubicBezTo>
                  <a:pt x="227450" y="877085"/>
                  <a:pt x="228750" y="866198"/>
                  <a:pt x="230782" y="853969"/>
                </a:cubicBezTo>
                <a:cubicBezTo>
                  <a:pt x="231271" y="851270"/>
                  <a:pt x="231029" y="849914"/>
                  <a:pt x="230786" y="848558"/>
                </a:cubicBezTo>
                <a:cubicBezTo>
                  <a:pt x="231390" y="840967"/>
                  <a:pt x="231993" y="833375"/>
                  <a:pt x="233315" y="824438"/>
                </a:cubicBezTo>
                <a:cubicBezTo>
                  <a:pt x="233755" y="821744"/>
                  <a:pt x="233477" y="820397"/>
                  <a:pt x="233199" y="819050"/>
                </a:cubicBezTo>
                <a:cubicBezTo>
                  <a:pt x="233786" y="807422"/>
                  <a:pt x="234374" y="795794"/>
                  <a:pt x="235848" y="782380"/>
                </a:cubicBezTo>
                <a:cubicBezTo>
                  <a:pt x="237047" y="760099"/>
                  <a:pt x="237488" y="739606"/>
                  <a:pt x="237465" y="719113"/>
                </a:cubicBezTo>
                <a:cubicBezTo>
                  <a:pt x="237463" y="717127"/>
                  <a:pt x="234595" y="715144"/>
                  <a:pt x="233057" y="713160"/>
                </a:cubicBezTo>
                <a:cubicBezTo>
                  <a:pt x="223043" y="711630"/>
                  <a:pt x="212881" y="710731"/>
                  <a:pt x="203056" y="708405"/>
                </a:cubicBezTo>
                <a:cubicBezTo>
                  <a:pt x="191716" y="705720"/>
                  <a:pt x="180144" y="702931"/>
                  <a:pt x="169628" y="698106"/>
                </a:cubicBezTo>
                <a:cubicBezTo>
                  <a:pt x="154505" y="691164"/>
                  <a:pt x="148867" y="675179"/>
                  <a:pt x="153237" y="659111"/>
                </a:cubicBezTo>
                <a:cubicBezTo>
                  <a:pt x="157196" y="644561"/>
                  <a:pt x="166649" y="634454"/>
                  <a:pt x="178365" y="626008"/>
                </a:cubicBezTo>
                <a:cubicBezTo>
                  <a:pt x="182258" y="623202"/>
                  <a:pt x="186579" y="620992"/>
                  <a:pt x="191885" y="617513"/>
                </a:cubicBezTo>
                <a:cubicBezTo>
                  <a:pt x="194882" y="614532"/>
                  <a:pt x="197062" y="612583"/>
                  <a:pt x="193681" y="610098"/>
                </a:cubicBezTo>
                <a:cubicBezTo>
                  <a:pt x="193381" y="595591"/>
                  <a:pt x="202034" y="586776"/>
                  <a:pt x="213301" y="579885"/>
                </a:cubicBezTo>
                <a:cubicBezTo>
                  <a:pt x="218517" y="576695"/>
                  <a:pt x="224270" y="574393"/>
                  <a:pt x="229635" y="571429"/>
                </a:cubicBezTo>
                <a:cubicBezTo>
                  <a:pt x="232401" y="569901"/>
                  <a:pt x="235344" y="568225"/>
                  <a:pt x="237351" y="565882"/>
                </a:cubicBezTo>
                <a:cubicBezTo>
                  <a:pt x="243193" y="559063"/>
                  <a:pt x="242021" y="554779"/>
                  <a:pt x="233673" y="550926"/>
                </a:cubicBezTo>
                <a:cubicBezTo>
                  <a:pt x="231458" y="549904"/>
                  <a:pt x="229049" y="549314"/>
                  <a:pt x="226799" y="548359"/>
                </a:cubicBezTo>
                <a:cubicBezTo>
                  <a:pt x="215108" y="543398"/>
                  <a:pt x="211118" y="532802"/>
                  <a:pt x="218639" y="522664"/>
                </a:cubicBezTo>
                <a:cubicBezTo>
                  <a:pt x="223647" y="515913"/>
                  <a:pt x="222661" y="511633"/>
                  <a:pt x="218264" y="505463"/>
                </a:cubicBezTo>
                <a:cubicBezTo>
                  <a:pt x="203255" y="484407"/>
                  <a:pt x="190650" y="461993"/>
                  <a:pt x="181762" y="437574"/>
                </a:cubicBezTo>
                <a:cubicBezTo>
                  <a:pt x="163530" y="387483"/>
                  <a:pt x="165826" y="338057"/>
                  <a:pt x="185971" y="289069"/>
                </a:cubicBezTo>
                <a:cubicBezTo>
                  <a:pt x="202921" y="247851"/>
                  <a:pt x="226229" y="210377"/>
                  <a:pt x="253787" y="175580"/>
                </a:cubicBezTo>
                <a:cubicBezTo>
                  <a:pt x="271814" y="152817"/>
                  <a:pt x="290973" y="130951"/>
                  <a:pt x="309639" y="108695"/>
                </a:cubicBezTo>
                <a:cubicBezTo>
                  <a:pt x="312744" y="104993"/>
                  <a:pt x="315922" y="101352"/>
                  <a:pt x="318061" y="98855"/>
                </a:cubicBezTo>
                <a:cubicBezTo>
                  <a:pt x="313257" y="88362"/>
                  <a:pt x="308695" y="79376"/>
                  <a:pt x="304967" y="70056"/>
                </a:cubicBezTo>
                <a:cubicBezTo>
                  <a:pt x="297146" y="50504"/>
                  <a:pt x="303366" y="33481"/>
                  <a:pt x="317012" y="19436"/>
                </a:cubicBezTo>
                <a:cubicBezTo>
                  <a:pt x="344741" y="-9105"/>
                  <a:pt x="393463" y="-3345"/>
                  <a:pt x="415542" y="18221"/>
                </a:cubicBezTo>
                <a:cubicBezTo>
                  <a:pt x="429559" y="31914"/>
                  <a:pt x="438373" y="56968"/>
                  <a:pt x="423203" y="82660"/>
                </a:cubicBezTo>
                <a:cubicBezTo>
                  <a:pt x="420306" y="87568"/>
                  <a:pt x="417047" y="92262"/>
                  <a:pt x="413361" y="97975"/>
                </a:cubicBezTo>
                <a:cubicBezTo>
                  <a:pt x="416167" y="100932"/>
                  <a:pt x="418781" y="103940"/>
                  <a:pt x="421654" y="106676"/>
                </a:cubicBezTo>
                <a:cubicBezTo>
                  <a:pt x="446372" y="130213"/>
                  <a:pt x="467902" y="156374"/>
                  <a:pt x="487032" y="184632"/>
                </a:cubicBezTo>
                <a:cubicBezTo>
                  <a:pt x="492374" y="192525"/>
                  <a:pt x="493990" y="199495"/>
                  <a:pt x="489213" y="208238"/>
                </a:cubicBezTo>
                <a:cubicBezTo>
                  <a:pt x="484525" y="216819"/>
                  <a:pt x="481033" y="226053"/>
                  <a:pt x="476520" y="235738"/>
                </a:cubicBezTo>
                <a:cubicBezTo>
                  <a:pt x="472168" y="236089"/>
                  <a:pt x="471165" y="234358"/>
                  <a:pt x="472850" y="230703"/>
                </a:cubicBezTo>
                <a:cubicBezTo>
                  <a:pt x="476263" y="223297"/>
                  <a:pt x="479344" y="215738"/>
                  <a:pt x="482723" y="208315"/>
                </a:cubicBezTo>
                <a:cubicBezTo>
                  <a:pt x="486016" y="201080"/>
                  <a:pt x="485571" y="194961"/>
                  <a:pt x="480764" y="187916"/>
                </a:cubicBezTo>
                <a:cubicBezTo>
                  <a:pt x="459995" y="157475"/>
                  <a:pt x="437234" y="128912"/>
                  <a:pt x="408519" y="105475"/>
                </a:cubicBezTo>
                <a:cubicBezTo>
                  <a:pt x="403555" y="101425"/>
                  <a:pt x="403835" y="96489"/>
                  <a:pt x="408625" y="89203"/>
                </a:cubicBezTo>
                <a:cubicBezTo>
                  <a:pt x="412416" y="83438"/>
                  <a:pt x="416045" y="77562"/>
                  <a:pt x="419600" y="71648"/>
                </a:cubicBezTo>
                <a:cubicBezTo>
                  <a:pt x="421349" y="68739"/>
                  <a:pt x="422717" y="65537"/>
                  <a:pt x="418792" y="63179"/>
                </a:cubicBezTo>
                <a:cubicBezTo>
                  <a:pt x="414834" y="60801"/>
                  <a:pt x="413218" y="63883"/>
                  <a:pt x="410943" y="66417"/>
                </a:cubicBezTo>
                <a:cubicBezTo>
                  <a:pt x="407706" y="70022"/>
                  <a:pt x="404330" y="74045"/>
                  <a:pt x="400140" y="76155"/>
                </a:cubicBezTo>
                <a:cubicBezTo>
                  <a:pt x="381561" y="85507"/>
                  <a:pt x="360821" y="72312"/>
                  <a:pt x="360599" y="51379"/>
                </a:cubicBezTo>
                <a:cubicBezTo>
                  <a:pt x="360556" y="47292"/>
                  <a:pt x="360308" y="43152"/>
                  <a:pt x="360842" y="39128"/>
                </a:cubicBezTo>
                <a:cubicBezTo>
                  <a:pt x="361447" y="34568"/>
                  <a:pt x="362880" y="30159"/>
                  <a:pt x="369470" y="30960"/>
                </a:cubicBezTo>
                <a:cubicBezTo>
                  <a:pt x="368501" y="37551"/>
                  <a:pt x="365745" y="43300"/>
                  <a:pt x="365613" y="49108"/>
                </a:cubicBezTo>
                <a:cubicBezTo>
                  <a:pt x="365328" y="61659"/>
                  <a:pt x="377498" y="72522"/>
                  <a:pt x="389468" y="71608"/>
                </a:cubicBezTo>
                <a:cubicBezTo>
                  <a:pt x="401478" y="70690"/>
                  <a:pt x="410127" y="59637"/>
                  <a:pt x="408822" y="46613"/>
                </a:cubicBezTo>
                <a:cubicBezTo>
                  <a:pt x="408542" y="43819"/>
                  <a:pt x="407521" y="41100"/>
                  <a:pt x="406842" y="38347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5" name="Free-form: Shape 14">
            <a:extLst>
              <a:ext uri="{FF2B5EF4-FFF2-40B4-BE49-F238E27FC236}">
                <a16:creationId xmlns:a16="http://schemas.microsoft.com/office/drawing/2014/main" id="{3AE7C754-B775-551A-589A-C8089C0FD5CB}"/>
              </a:ext>
            </a:extLst>
          </p:cNvPr>
          <p:cNvSpPr/>
          <p:nvPr/>
        </p:nvSpPr>
        <p:spPr>
          <a:xfrm>
            <a:off x="3294931" y="2566808"/>
            <a:ext cx="91545" cy="184495"/>
          </a:xfrm>
          <a:custGeom>
            <a:avLst/>
            <a:gdLst>
              <a:gd name="csX0" fmla="*/ 96534 w 100699"/>
              <a:gd name="csY0" fmla="*/ 202912 h 202945"/>
              <a:gd name="csX1" fmla="*/ 91036 w 100699"/>
              <a:gd name="csY1" fmla="*/ 196780 h 202945"/>
              <a:gd name="csX2" fmla="*/ 93357 w 100699"/>
              <a:gd name="csY2" fmla="*/ 178731 h 202945"/>
              <a:gd name="csX3" fmla="*/ 75903 w 100699"/>
              <a:gd name="csY3" fmla="*/ 106029 h 202945"/>
              <a:gd name="csX4" fmla="*/ 72780 w 100699"/>
              <a:gd name="csY4" fmla="*/ 102473 h 202945"/>
              <a:gd name="csX5" fmla="*/ 10982 w 100699"/>
              <a:gd name="csY5" fmla="*/ 41414 h 202945"/>
              <a:gd name="csX6" fmla="*/ 676 w 100699"/>
              <a:gd name="csY6" fmla="*/ 2936 h 202945"/>
              <a:gd name="csX7" fmla="*/ 5198 w 100699"/>
              <a:gd name="csY7" fmla="*/ 0 h 202945"/>
              <a:gd name="csX8" fmla="*/ 15435 w 100699"/>
              <a:gd name="csY8" fmla="*/ 35855 h 202945"/>
              <a:gd name="csX9" fmla="*/ 44498 w 100699"/>
              <a:gd name="csY9" fmla="*/ 63833 h 202945"/>
              <a:gd name="csX10" fmla="*/ 81385 w 100699"/>
              <a:gd name="csY10" fmla="*/ 106005 h 202945"/>
              <a:gd name="csX11" fmla="*/ 98950 w 100699"/>
              <a:gd name="csY11" fmla="*/ 190063 h 202945"/>
              <a:gd name="csX12" fmla="*/ 96534 w 100699"/>
              <a:gd name="csY12" fmla="*/ 202912 h 20294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</a:cxnLst>
            <a:rect l="l" t="t" r="r" b="b"/>
            <a:pathLst>
              <a:path w="100699" h="202945">
                <a:moveTo>
                  <a:pt x="96534" y="202912"/>
                </a:moveTo>
                <a:cubicBezTo>
                  <a:pt x="91699" y="203291"/>
                  <a:pt x="90650" y="200377"/>
                  <a:pt x="91036" y="196780"/>
                </a:cubicBezTo>
                <a:cubicBezTo>
                  <a:pt x="91685" y="190750"/>
                  <a:pt x="92933" y="184771"/>
                  <a:pt x="93357" y="178731"/>
                </a:cubicBezTo>
                <a:cubicBezTo>
                  <a:pt x="95183" y="152694"/>
                  <a:pt x="86034" y="129222"/>
                  <a:pt x="75903" y="106029"/>
                </a:cubicBezTo>
                <a:cubicBezTo>
                  <a:pt x="75300" y="104650"/>
                  <a:pt x="73904" y="103585"/>
                  <a:pt x="72780" y="102473"/>
                </a:cubicBezTo>
                <a:cubicBezTo>
                  <a:pt x="52199" y="82101"/>
                  <a:pt x="31673" y="61673"/>
                  <a:pt x="10982" y="41414"/>
                </a:cubicBezTo>
                <a:cubicBezTo>
                  <a:pt x="-119" y="30544"/>
                  <a:pt x="-1041" y="17093"/>
                  <a:pt x="676" y="2936"/>
                </a:cubicBezTo>
                <a:cubicBezTo>
                  <a:pt x="808" y="1852"/>
                  <a:pt x="2922" y="1010"/>
                  <a:pt x="5198" y="0"/>
                </a:cubicBezTo>
                <a:cubicBezTo>
                  <a:pt x="2043" y="13772"/>
                  <a:pt x="5665" y="25821"/>
                  <a:pt x="15435" y="35855"/>
                </a:cubicBezTo>
                <a:cubicBezTo>
                  <a:pt x="24811" y="45486"/>
                  <a:pt x="35301" y="54047"/>
                  <a:pt x="44498" y="63833"/>
                </a:cubicBezTo>
                <a:cubicBezTo>
                  <a:pt x="57293" y="77447"/>
                  <a:pt x="70760" y="90773"/>
                  <a:pt x="81385" y="106005"/>
                </a:cubicBezTo>
                <a:cubicBezTo>
                  <a:pt x="98896" y="131109"/>
                  <a:pt x="103759" y="159808"/>
                  <a:pt x="98950" y="190063"/>
                </a:cubicBezTo>
                <a:cubicBezTo>
                  <a:pt x="98311" y="194082"/>
                  <a:pt x="97697" y="198105"/>
                  <a:pt x="96534" y="202912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" name="Free-form: Shape 15">
            <a:extLst>
              <a:ext uri="{FF2B5EF4-FFF2-40B4-BE49-F238E27FC236}">
                <a16:creationId xmlns:a16="http://schemas.microsoft.com/office/drawing/2014/main" id="{6DA47536-E20F-913B-F033-201958F6FC47}"/>
              </a:ext>
            </a:extLst>
          </p:cNvPr>
          <p:cNvSpPr/>
          <p:nvPr/>
        </p:nvSpPr>
        <p:spPr>
          <a:xfrm>
            <a:off x="2953647" y="2102772"/>
            <a:ext cx="3739" cy="60936"/>
          </a:xfrm>
          <a:custGeom>
            <a:avLst/>
            <a:gdLst>
              <a:gd name="csX0" fmla="*/ 0 w 4113"/>
              <a:gd name="csY0" fmla="*/ 0 h 67029"/>
              <a:gd name="csX1" fmla="*/ 4113 w 4113"/>
              <a:gd name="csY1" fmla="*/ 4824 h 67029"/>
              <a:gd name="csX2" fmla="*/ 2662 w 4113"/>
              <a:gd name="csY2" fmla="*/ 67030 h 67029"/>
              <a:gd name="csX3" fmla="*/ 631 w 4113"/>
              <a:gd name="csY3" fmla="*/ 55883 h 67029"/>
              <a:gd name="csX4" fmla="*/ 0 w 4113"/>
              <a:gd name="csY4" fmla="*/ 0 h 6702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4113" h="67029">
                <a:moveTo>
                  <a:pt x="0" y="0"/>
                </a:moveTo>
                <a:cubicBezTo>
                  <a:pt x="1242" y="855"/>
                  <a:pt x="4111" y="2838"/>
                  <a:pt x="4113" y="4824"/>
                </a:cubicBezTo>
                <a:cubicBezTo>
                  <a:pt x="4135" y="25317"/>
                  <a:pt x="3695" y="45810"/>
                  <a:pt x="2662" y="67030"/>
                </a:cubicBezTo>
                <a:cubicBezTo>
                  <a:pt x="1483" y="63799"/>
                  <a:pt x="680" y="59846"/>
                  <a:pt x="631" y="55883"/>
                </a:cubicBezTo>
                <a:cubicBezTo>
                  <a:pt x="404" y="37633"/>
                  <a:pt x="388" y="19381"/>
                  <a:pt x="0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8" name="Free-form: Shape 17">
            <a:extLst>
              <a:ext uri="{FF2B5EF4-FFF2-40B4-BE49-F238E27FC236}">
                <a16:creationId xmlns:a16="http://schemas.microsoft.com/office/drawing/2014/main" id="{D6EA398D-D874-DA7A-F409-3F23F1953177}"/>
              </a:ext>
            </a:extLst>
          </p:cNvPr>
          <p:cNvSpPr/>
          <p:nvPr/>
        </p:nvSpPr>
        <p:spPr>
          <a:xfrm>
            <a:off x="3406036" y="2830572"/>
            <a:ext cx="1060" cy="5803"/>
          </a:xfrm>
          <a:custGeom>
            <a:avLst/>
            <a:gdLst>
              <a:gd name="csX0" fmla="*/ 1130 w 1165"/>
              <a:gd name="csY0" fmla="*/ 6385 h 6384"/>
              <a:gd name="csX1" fmla="*/ 49 w 1165"/>
              <a:gd name="csY1" fmla="*/ 0 h 6384"/>
              <a:gd name="csX2" fmla="*/ 1130 w 1165"/>
              <a:gd name="csY2" fmla="*/ 6385 h 638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165" h="6384">
                <a:moveTo>
                  <a:pt x="1130" y="6385"/>
                </a:moveTo>
                <a:cubicBezTo>
                  <a:pt x="260" y="4748"/>
                  <a:pt x="-149" y="2599"/>
                  <a:pt x="49" y="0"/>
                </a:cubicBezTo>
                <a:cubicBezTo>
                  <a:pt x="969" y="1658"/>
                  <a:pt x="1279" y="3765"/>
                  <a:pt x="1130" y="6385"/>
                </a:cubicBezTo>
                <a:close/>
              </a:path>
            </a:pathLst>
          </a:custGeom>
          <a:solidFill>
            <a:srgbClr val="939B9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" name="Free-form: Shape 19">
            <a:extLst>
              <a:ext uri="{FF2B5EF4-FFF2-40B4-BE49-F238E27FC236}">
                <a16:creationId xmlns:a16="http://schemas.microsoft.com/office/drawing/2014/main" id="{BC60C846-5096-7DD5-28B5-E75B3662EBE5}"/>
              </a:ext>
            </a:extLst>
          </p:cNvPr>
          <p:cNvSpPr/>
          <p:nvPr/>
        </p:nvSpPr>
        <p:spPr>
          <a:xfrm>
            <a:off x="3376307" y="2756477"/>
            <a:ext cx="5440" cy="2491"/>
          </a:xfrm>
          <a:custGeom>
            <a:avLst/>
            <a:gdLst>
              <a:gd name="csX0" fmla="*/ 5985 w 5984"/>
              <a:gd name="csY0" fmla="*/ 1832 h 2740"/>
              <a:gd name="csX1" fmla="*/ 0 w 5984"/>
              <a:gd name="csY1" fmla="*/ 2740 h 2740"/>
              <a:gd name="csX2" fmla="*/ 4930 w 5984"/>
              <a:gd name="csY2" fmla="*/ 0 h 2740"/>
              <a:gd name="csX3" fmla="*/ 5985 w 5984"/>
              <a:gd name="csY3" fmla="*/ 1832 h 274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</a:cxnLst>
            <a:rect l="l" t="t" r="r" b="b"/>
            <a:pathLst>
              <a:path w="5984" h="2740">
                <a:moveTo>
                  <a:pt x="5985" y="1832"/>
                </a:moveTo>
                <a:cubicBezTo>
                  <a:pt x="3992" y="2553"/>
                  <a:pt x="1996" y="2646"/>
                  <a:pt x="0" y="2740"/>
                </a:cubicBezTo>
                <a:cubicBezTo>
                  <a:pt x="1398" y="1830"/>
                  <a:pt x="2796" y="920"/>
                  <a:pt x="4930" y="0"/>
                </a:cubicBezTo>
                <a:cubicBezTo>
                  <a:pt x="5772" y="394"/>
                  <a:pt x="5877" y="799"/>
                  <a:pt x="5985" y="1832"/>
                </a:cubicBezTo>
                <a:close/>
              </a:path>
            </a:pathLst>
          </a:custGeom>
          <a:solidFill>
            <a:srgbClr val="8E9395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" name="Free-form: Shape 20">
            <a:extLst>
              <a:ext uri="{FF2B5EF4-FFF2-40B4-BE49-F238E27FC236}">
                <a16:creationId xmlns:a16="http://schemas.microsoft.com/office/drawing/2014/main" id="{A2007125-1214-8A55-C70F-6BBA6048BED4}"/>
              </a:ext>
            </a:extLst>
          </p:cNvPr>
          <p:cNvSpPr/>
          <p:nvPr/>
        </p:nvSpPr>
        <p:spPr>
          <a:xfrm>
            <a:off x="2916420" y="2008592"/>
            <a:ext cx="2645" cy="5625"/>
          </a:xfrm>
          <a:custGeom>
            <a:avLst/>
            <a:gdLst>
              <a:gd name="csX0" fmla="*/ 815 w 2910"/>
              <a:gd name="csY0" fmla="*/ 0 h 6187"/>
              <a:gd name="csX1" fmla="*/ 113 w 2910"/>
              <a:gd name="csY1" fmla="*/ 6187 h 6187"/>
              <a:gd name="csX2" fmla="*/ 815 w 2910"/>
              <a:gd name="csY2" fmla="*/ 0 h 618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2910" h="6187">
                <a:moveTo>
                  <a:pt x="815" y="0"/>
                </a:moveTo>
                <a:cubicBezTo>
                  <a:pt x="4660" y="1891"/>
                  <a:pt x="2480" y="3840"/>
                  <a:pt x="113" y="6187"/>
                </a:cubicBezTo>
                <a:cubicBezTo>
                  <a:pt x="-172" y="4565"/>
                  <a:pt x="89" y="2579"/>
                  <a:pt x="815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2" name="Free-form: Shape 21">
            <a:extLst>
              <a:ext uri="{FF2B5EF4-FFF2-40B4-BE49-F238E27FC236}">
                <a16:creationId xmlns:a16="http://schemas.microsoft.com/office/drawing/2014/main" id="{CCCF758A-7C8C-D8D9-A00D-6E57EE5616A1}"/>
              </a:ext>
            </a:extLst>
          </p:cNvPr>
          <p:cNvSpPr/>
          <p:nvPr/>
        </p:nvSpPr>
        <p:spPr>
          <a:xfrm>
            <a:off x="2950835" y="2225166"/>
            <a:ext cx="770" cy="3664"/>
          </a:xfrm>
          <a:custGeom>
            <a:avLst/>
            <a:gdLst>
              <a:gd name="csX0" fmla="*/ 106 w 847"/>
              <a:gd name="csY0" fmla="*/ 0 h 4030"/>
              <a:gd name="csX1" fmla="*/ 732 w 847"/>
              <a:gd name="csY1" fmla="*/ 4031 h 4030"/>
              <a:gd name="csX2" fmla="*/ 106 w 847"/>
              <a:gd name="csY2" fmla="*/ 0 h 403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7" h="4030">
                <a:moveTo>
                  <a:pt x="106" y="0"/>
                </a:moveTo>
                <a:cubicBezTo>
                  <a:pt x="770" y="990"/>
                  <a:pt x="1013" y="2346"/>
                  <a:pt x="732" y="4031"/>
                </a:cubicBezTo>
                <a:cubicBezTo>
                  <a:pt x="34" y="3029"/>
                  <a:pt x="-141" y="1697"/>
                  <a:pt x="106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3" name="Free-form: Shape 22">
            <a:extLst>
              <a:ext uri="{FF2B5EF4-FFF2-40B4-BE49-F238E27FC236}">
                <a16:creationId xmlns:a16="http://schemas.microsoft.com/office/drawing/2014/main" id="{2EA791A0-7AD7-4674-E34F-B53F430134DA}"/>
              </a:ext>
            </a:extLst>
          </p:cNvPr>
          <p:cNvSpPr/>
          <p:nvPr/>
        </p:nvSpPr>
        <p:spPr>
          <a:xfrm>
            <a:off x="2946511" y="2260960"/>
            <a:ext cx="703" cy="3631"/>
          </a:xfrm>
          <a:custGeom>
            <a:avLst/>
            <a:gdLst>
              <a:gd name="csX0" fmla="*/ 195 w 774"/>
              <a:gd name="csY0" fmla="*/ 0 h 3994"/>
              <a:gd name="csX1" fmla="*/ 575 w 774"/>
              <a:gd name="csY1" fmla="*/ 3994 h 3994"/>
              <a:gd name="csX2" fmla="*/ 195 w 774"/>
              <a:gd name="csY2" fmla="*/ 0 h 399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774" h="3994">
                <a:moveTo>
                  <a:pt x="195" y="0"/>
                </a:moveTo>
                <a:cubicBezTo>
                  <a:pt x="794" y="1011"/>
                  <a:pt x="941" y="2348"/>
                  <a:pt x="575" y="3994"/>
                </a:cubicBezTo>
                <a:cubicBezTo>
                  <a:pt x="-44" y="2978"/>
                  <a:pt x="-151" y="1652"/>
                  <a:pt x="195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4" name="Free-form: Shape 23">
            <a:extLst>
              <a:ext uri="{FF2B5EF4-FFF2-40B4-BE49-F238E27FC236}">
                <a16:creationId xmlns:a16="http://schemas.microsoft.com/office/drawing/2014/main" id="{330599E9-3FB4-8141-DB17-AF5F22C566BB}"/>
              </a:ext>
            </a:extLst>
          </p:cNvPr>
          <p:cNvSpPr/>
          <p:nvPr/>
        </p:nvSpPr>
        <p:spPr>
          <a:xfrm>
            <a:off x="2953088" y="2198356"/>
            <a:ext cx="787" cy="3631"/>
          </a:xfrm>
          <a:custGeom>
            <a:avLst/>
            <a:gdLst>
              <a:gd name="csX0" fmla="*/ 71 w 865"/>
              <a:gd name="csY0" fmla="*/ 0 h 3995"/>
              <a:gd name="csX1" fmla="*/ 783 w 865"/>
              <a:gd name="csY1" fmla="*/ 3996 h 3995"/>
              <a:gd name="csX2" fmla="*/ 71 w 865"/>
              <a:gd name="csY2" fmla="*/ 0 h 399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65" h="3995">
                <a:moveTo>
                  <a:pt x="71" y="0"/>
                </a:moveTo>
                <a:cubicBezTo>
                  <a:pt x="740" y="963"/>
                  <a:pt x="1018" y="2311"/>
                  <a:pt x="783" y="3996"/>
                </a:cubicBezTo>
                <a:cubicBezTo>
                  <a:pt x="73" y="3017"/>
                  <a:pt x="-124" y="1701"/>
                  <a:pt x="71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5" name="Free-form: Shape 24">
            <a:extLst>
              <a:ext uri="{FF2B5EF4-FFF2-40B4-BE49-F238E27FC236}">
                <a16:creationId xmlns:a16="http://schemas.microsoft.com/office/drawing/2014/main" id="{B18C805B-BC3B-CBA9-5D15-B1EDB1D63AE8}"/>
              </a:ext>
            </a:extLst>
          </p:cNvPr>
          <p:cNvSpPr/>
          <p:nvPr/>
        </p:nvSpPr>
        <p:spPr>
          <a:xfrm>
            <a:off x="3071392" y="2102382"/>
            <a:ext cx="170236" cy="426821"/>
          </a:xfrm>
          <a:custGeom>
            <a:avLst/>
            <a:gdLst>
              <a:gd name="csX0" fmla="*/ 120604 w 187260"/>
              <a:gd name="csY0" fmla="*/ 222968 h 469503"/>
              <a:gd name="csX1" fmla="*/ 187261 w 187260"/>
              <a:gd name="csY1" fmla="*/ 469503 h 469503"/>
              <a:gd name="csX2" fmla="*/ 1253 w 187260"/>
              <a:gd name="csY2" fmla="*/ 466078 h 469503"/>
              <a:gd name="csX3" fmla="*/ 8 w 187260"/>
              <a:gd name="csY3" fmla="*/ 458101 h 469503"/>
              <a:gd name="csX4" fmla="*/ 4383 w 187260"/>
              <a:gd name="csY4" fmla="*/ 351443 h 469503"/>
              <a:gd name="csX5" fmla="*/ 4615 w 187260"/>
              <a:gd name="csY5" fmla="*/ 346536 h 469503"/>
              <a:gd name="csX6" fmla="*/ 7935 w 187260"/>
              <a:gd name="csY6" fmla="*/ 233648 h 469503"/>
              <a:gd name="csX7" fmla="*/ 10461 w 187260"/>
              <a:gd name="csY7" fmla="*/ 128112 h 469503"/>
              <a:gd name="csX8" fmla="*/ 12461 w 187260"/>
              <a:gd name="csY8" fmla="*/ 12750 h 469503"/>
              <a:gd name="csX9" fmla="*/ 13165 w 187260"/>
              <a:gd name="csY9" fmla="*/ 4285 h 469503"/>
              <a:gd name="csX10" fmla="*/ 102327 w 187260"/>
              <a:gd name="csY10" fmla="*/ 0 h 469503"/>
              <a:gd name="csX11" fmla="*/ 106229 w 187260"/>
              <a:gd name="csY11" fmla="*/ 111321 h 469503"/>
              <a:gd name="csX12" fmla="*/ 120604 w 187260"/>
              <a:gd name="csY12" fmla="*/ 222968 h 46950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</a:cxnLst>
            <a:rect l="l" t="t" r="r" b="b"/>
            <a:pathLst>
              <a:path w="187260" h="469503">
                <a:moveTo>
                  <a:pt x="120604" y="222968"/>
                </a:moveTo>
                <a:cubicBezTo>
                  <a:pt x="135383" y="307129"/>
                  <a:pt x="159464" y="387725"/>
                  <a:pt x="187261" y="469503"/>
                </a:cubicBezTo>
                <a:cubicBezTo>
                  <a:pt x="124460" y="468347"/>
                  <a:pt x="63286" y="467220"/>
                  <a:pt x="1253" y="466078"/>
                </a:cubicBezTo>
                <a:cubicBezTo>
                  <a:pt x="818" y="463442"/>
                  <a:pt x="-95" y="460752"/>
                  <a:pt x="8" y="458101"/>
                </a:cubicBezTo>
                <a:cubicBezTo>
                  <a:pt x="1383" y="422545"/>
                  <a:pt x="2900" y="386994"/>
                  <a:pt x="4383" y="351443"/>
                </a:cubicBezTo>
                <a:cubicBezTo>
                  <a:pt x="4451" y="349807"/>
                  <a:pt x="4566" y="348172"/>
                  <a:pt x="4615" y="346536"/>
                </a:cubicBezTo>
                <a:cubicBezTo>
                  <a:pt x="5732" y="308907"/>
                  <a:pt x="6921" y="271280"/>
                  <a:pt x="7935" y="233648"/>
                </a:cubicBezTo>
                <a:cubicBezTo>
                  <a:pt x="8883" y="198472"/>
                  <a:pt x="9752" y="163293"/>
                  <a:pt x="10461" y="128112"/>
                </a:cubicBezTo>
                <a:cubicBezTo>
                  <a:pt x="11237" y="89660"/>
                  <a:pt x="11781" y="51204"/>
                  <a:pt x="12461" y="12750"/>
                </a:cubicBezTo>
                <a:cubicBezTo>
                  <a:pt x="12503" y="10363"/>
                  <a:pt x="12848" y="7981"/>
                  <a:pt x="13165" y="4285"/>
                </a:cubicBezTo>
                <a:cubicBezTo>
                  <a:pt x="42856" y="2858"/>
                  <a:pt x="72082" y="1454"/>
                  <a:pt x="102327" y="0"/>
                </a:cubicBezTo>
                <a:cubicBezTo>
                  <a:pt x="103499" y="37348"/>
                  <a:pt x="103207" y="74470"/>
                  <a:pt x="106229" y="111321"/>
                </a:cubicBezTo>
                <a:cubicBezTo>
                  <a:pt x="109263" y="148326"/>
                  <a:pt x="115599" y="185060"/>
                  <a:pt x="120604" y="222968"/>
                </a:cubicBezTo>
                <a:close/>
              </a:path>
            </a:pathLst>
          </a:custGeom>
          <a:solidFill>
            <a:srgbClr val="FDFDFD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6" name="Free-form: Shape 25">
            <a:extLst>
              <a:ext uri="{FF2B5EF4-FFF2-40B4-BE49-F238E27FC236}">
                <a16:creationId xmlns:a16="http://schemas.microsoft.com/office/drawing/2014/main" id="{4D304A00-1B0F-FD5F-EC4C-92C6BD7A155B}"/>
              </a:ext>
            </a:extLst>
          </p:cNvPr>
          <p:cNvSpPr/>
          <p:nvPr/>
        </p:nvSpPr>
        <p:spPr>
          <a:xfrm>
            <a:off x="3070199" y="2569134"/>
            <a:ext cx="284824" cy="179974"/>
          </a:xfrm>
          <a:custGeom>
            <a:avLst/>
            <a:gdLst>
              <a:gd name="csX0" fmla="*/ 160234 w 313306"/>
              <a:gd name="csY0" fmla="*/ 197876 h 197971"/>
              <a:gd name="csX1" fmla="*/ 544 w 313306"/>
              <a:gd name="csY1" fmla="*/ 197972 h 197971"/>
              <a:gd name="csX2" fmla="*/ 3466 w 313306"/>
              <a:gd name="csY2" fmla="*/ 104326 h 197971"/>
              <a:gd name="csX3" fmla="*/ 0 w 313306"/>
              <a:gd name="csY3" fmla="*/ 10720 h 197971"/>
              <a:gd name="csX4" fmla="*/ 5445 w 313306"/>
              <a:gd name="csY4" fmla="*/ 9282 h 197971"/>
              <a:gd name="csX5" fmla="*/ 71623 w 313306"/>
              <a:gd name="csY5" fmla="*/ 6885 h 197971"/>
              <a:gd name="csX6" fmla="*/ 187887 w 313306"/>
              <a:gd name="csY6" fmla="*/ 233 h 197971"/>
              <a:gd name="csX7" fmla="*/ 215297 w 313306"/>
              <a:gd name="csY7" fmla="*/ 163 h 197971"/>
              <a:gd name="csX8" fmla="*/ 243629 w 313306"/>
              <a:gd name="csY8" fmla="*/ 61389 h 197971"/>
              <a:gd name="csX9" fmla="*/ 270660 w 313306"/>
              <a:gd name="csY9" fmla="*/ 86342 h 197971"/>
              <a:gd name="csX10" fmla="*/ 313142 w 313306"/>
              <a:gd name="csY10" fmla="*/ 170098 h 197971"/>
              <a:gd name="csX11" fmla="*/ 313291 w 313306"/>
              <a:gd name="csY11" fmla="*/ 176231 h 197971"/>
              <a:gd name="csX12" fmla="*/ 312654 w 313306"/>
              <a:gd name="csY12" fmla="*/ 180738 h 197971"/>
              <a:gd name="csX13" fmla="*/ 279655 w 313306"/>
              <a:gd name="csY13" fmla="*/ 186226 h 197971"/>
              <a:gd name="csX14" fmla="*/ 167436 w 313306"/>
              <a:gd name="csY14" fmla="*/ 196805 h 197971"/>
              <a:gd name="csX15" fmla="*/ 160234 w 313306"/>
              <a:gd name="csY15" fmla="*/ 197876 h 19797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</a:cxnLst>
            <a:rect l="l" t="t" r="r" b="b"/>
            <a:pathLst>
              <a:path w="313306" h="197971">
                <a:moveTo>
                  <a:pt x="160234" y="197876"/>
                </a:moveTo>
                <a:cubicBezTo>
                  <a:pt x="106384" y="197972"/>
                  <a:pt x="53682" y="197972"/>
                  <a:pt x="544" y="197972"/>
                </a:cubicBezTo>
                <a:cubicBezTo>
                  <a:pt x="1602" y="166763"/>
                  <a:pt x="3550" y="135542"/>
                  <a:pt x="3466" y="104326"/>
                </a:cubicBezTo>
                <a:cubicBezTo>
                  <a:pt x="3383" y="73323"/>
                  <a:pt x="1255" y="42326"/>
                  <a:pt x="0" y="10720"/>
                </a:cubicBezTo>
                <a:cubicBezTo>
                  <a:pt x="1689" y="10255"/>
                  <a:pt x="3551" y="9355"/>
                  <a:pt x="5445" y="9282"/>
                </a:cubicBezTo>
                <a:cubicBezTo>
                  <a:pt x="27503" y="8435"/>
                  <a:pt x="49582" y="8030"/>
                  <a:pt x="71623" y="6885"/>
                </a:cubicBezTo>
                <a:cubicBezTo>
                  <a:pt x="110388" y="4872"/>
                  <a:pt x="149126" y="2333"/>
                  <a:pt x="187887" y="233"/>
                </a:cubicBezTo>
                <a:cubicBezTo>
                  <a:pt x="196749" y="-247"/>
                  <a:pt x="205660" y="163"/>
                  <a:pt x="215297" y="163"/>
                </a:cubicBezTo>
                <a:cubicBezTo>
                  <a:pt x="215450" y="25550"/>
                  <a:pt x="226120" y="45122"/>
                  <a:pt x="243629" y="61389"/>
                </a:cubicBezTo>
                <a:cubicBezTo>
                  <a:pt x="252615" y="69739"/>
                  <a:pt x="261099" y="78715"/>
                  <a:pt x="270660" y="86342"/>
                </a:cubicBezTo>
                <a:cubicBezTo>
                  <a:pt x="297676" y="107892"/>
                  <a:pt x="310731" y="136225"/>
                  <a:pt x="313142" y="170098"/>
                </a:cubicBezTo>
                <a:cubicBezTo>
                  <a:pt x="313287" y="172136"/>
                  <a:pt x="313335" y="174188"/>
                  <a:pt x="313291" y="176231"/>
                </a:cubicBezTo>
                <a:cubicBezTo>
                  <a:pt x="313265" y="177429"/>
                  <a:pt x="312966" y="178621"/>
                  <a:pt x="312654" y="180738"/>
                </a:cubicBezTo>
                <a:cubicBezTo>
                  <a:pt x="302343" y="185396"/>
                  <a:pt x="290736" y="185049"/>
                  <a:pt x="279655" y="186226"/>
                </a:cubicBezTo>
                <a:cubicBezTo>
                  <a:pt x="242295" y="190193"/>
                  <a:pt x="204847" y="193324"/>
                  <a:pt x="167436" y="196805"/>
                </a:cubicBezTo>
                <a:cubicBezTo>
                  <a:pt x="165405" y="196994"/>
                  <a:pt x="163399" y="197449"/>
                  <a:pt x="160234" y="197876"/>
                </a:cubicBezTo>
                <a:close/>
              </a:path>
            </a:pathLst>
          </a:custGeom>
          <a:solidFill>
            <a:srgbClr val="FDFEFE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7" name="Free-form: Shape 26">
            <a:extLst>
              <a:ext uri="{FF2B5EF4-FFF2-40B4-BE49-F238E27FC236}">
                <a16:creationId xmlns:a16="http://schemas.microsoft.com/office/drawing/2014/main" id="{82987A6B-5EE3-C2A7-09BD-7BFEE2DEFF43}"/>
              </a:ext>
            </a:extLst>
          </p:cNvPr>
          <p:cNvSpPr/>
          <p:nvPr/>
        </p:nvSpPr>
        <p:spPr>
          <a:xfrm>
            <a:off x="3080942" y="1552550"/>
            <a:ext cx="149260" cy="361842"/>
          </a:xfrm>
          <a:custGeom>
            <a:avLst/>
            <a:gdLst>
              <a:gd name="csX0" fmla="*/ 22609 w 164186"/>
              <a:gd name="csY0" fmla="*/ 398026 h 398026"/>
              <a:gd name="csX1" fmla="*/ 16884 w 164186"/>
              <a:gd name="csY1" fmla="*/ 390515 h 398026"/>
              <a:gd name="csX2" fmla="*/ 9661 w 164186"/>
              <a:gd name="csY2" fmla="*/ 328443 h 398026"/>
              <a:gd name="csX3" fmla="*/ 534 w 164186"/>
              <a:gd name="csY3" fmla="*/ 196369 h 398026"/>
              <a:gd name="csX4" fmla="*/ 1243 w 164186"/>
              <a:gd name="csY4" fmla="*/ 82293 h 398026"/>
              <a:gd name="csX5" fmla="*/ 2245 w 164186"/>
              <a:gd name="csY5" fmla="*/ 43023 h 398026"/>
              <a:gd name="csX6" fmla="*/ 4587 w 164186"/>
              <a:gd name="csY6" fmla="*/ 0 h 398026"/>
              <a:gd name="csX7" fmla="*/ 12341 w 164186"/>
              <a:gd name="csY7" fmla="*/ 3872 h 398026"/>
              <a:gd name="csX8" fmla="*/ 85914 w 164186"/>
              <a:gd name="csY8" fmla="*/ 78943 h 398026"/>
              <a:gd name="csX9" fmla="*/ 87893 w 164186"/>
              <a:gd name="csY9" fmla="*/ 99117 h 398026"/>
              <a:gd name="csX10" fmla="*/ 35459 w 164186"/>
              <a:gd name="csY10" fmla="*/ 207346 h 398026"/>
              <a:gd name="csX11" fmla="*/ 32223 w 164186"/>
              <a:gd name="csY11" fmla="*/ 213959 h 398026"/>
              <a:gd name="csX12" fmla="*/ 39509 w 164186"/>
              <a:gd name="csY12" fmla="*/ 242056 h 398026"/>
              <a:gd name="csX13" fmla="*/ 69474 w 164186"/>
              <a:gd name="csY13" fmla="*/ 237019 h 398026"/>
              <a:gd name="csX14" fmla="*/ 89101 w 164186"/>
              <a:gd name="csY14" fmla="*/ 208870 h 398026"/>
              <a:gd name="csX15" fmla="*/ 121716 w 164186"/>
              <a:gd name="csY15" fmla="*/ 158357 h 398026"/>
              <a:gd name="csX16" fmla="*/ 129330 w 164186"/>
              <a:gd name="csY16" fmla="*/ 148165 h 398026"/>
              <a:gd name="csX17" fmla="*/ 137171 w 164186"/>
              <a:gd name="csY17" fmla="*/ 159989 h 398026"/>
              <a:gd name="csX18" fmla="*/ 163812 w 164186"/>
              <a:gd name="csY18" fmla="*/ 273175 h 398026"/>
              <a:gd name="csX19" fmla="*/ 118151 w 164186"/>
              <a:gd name="csY19" fmla="*/ 383442 h 398026"/>
              <a:gd name="csX20" fmla="*/ 92325 w 164186"/>
              <a:gd name="csY20" fmla="*/ 395173 h 398026"/>
              <a:gd name="csX21" fmla="*/ 22609 w 164186"/>
              <a:gd name="csY21" fmla="*/ 398026 h 39802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</a:cxnLst>
            <a:rect l="l" t="t" r="r" b="b"/>
            <a:pathLst>
              <a:path w="164186" h="398026">
                <a:moveTo>
                  <a:pt x="22609" y="398026"/>
                </a:moveTo>
                <a:cubicBezTo>
                  <a:pt x="19898" y="395489"/>
                  <a:pt x="17229" y="393154"/>
                  <a:pt x="16884" y="390515"/>
                </a:cubicBezTo>
                <a:cubicBezTo>
                  <a:pt x="14183" y="369861"/>
                  <a:pt x="11326" y="349196"/>
                  <a:pt x="9661" y="328443"/>
                </a:cubicBezTo>
                <a:cubicBezTo>
                  <a:pt x="6132" y="284452"/>
                  <a:pt x="2125" y="240448"/>
                  <a:pt x="534" y="196369"/>
                </a:cubicBezTo>
                <a:cubicBezTo>
                  <a:pt x="-837" y="158401"/>
                  <a:pt x="816" y="120322"/>
                  <a:pt x="1243" y="82293"/>
                </a:cubicBezTo>
                <a:cubicBezTo>
                  <a:pt x="1389" y="69201"/>
                  <a:pt x="1708" y="56105"/>
                  <a:pt x="2245" y="43023"/>
                </a:cubicBezTo>
                <a:cubicBezTo>
                  <a:pt x="2815" y="29160"/>
                  <a:pt x="3738" y="15312"/>
                  <a:pt x="4587" y="0"/>
                </a:cubicBezTo>
                <a:cubicBezTo>
                  <a:pt x="7809" y="1586"/>
                  <a:pt x="10279" y="2436"/>
                  <a:pt x="12341" y="3872"/>
                </a:cubicBezTo>
                <a:cubicBezTo>
                  <a:pt x="41601" y="24248"/>
                  <a:pt x="64069" y="51269"/>
                  <a:pt x="85914" y="78943"/>
                </a:cubicBezTo>
                <a:cubicBezTo>
                  <a:pt x="91106" y="85520"/>
                  <a:pt x="91706" y="91406"/>
                  <a:pt x="87893" y="99117"/>
                </a:cubicBezTo>
                <a:cubicBezTo>
                  <a:pt x="70127" y="135051"/>
                  <a:pt x="52890" y="171246"/>
                  <a:pt x="35459" y="207346"/>
                </a:cubicBezTo>
                <a:cubicBezTo>
                  <a:pt x="34391" y="209557"/>
                  <a:pt x="33130" y="211686"/>
                  <a:pt x="32223" y="213959"/>
                </a:cubicBezTo>
                <a:cubicBezTo>
                  <a:pt x="27471" y="225873"/>
                  <a:pt x="30154" y="236086"/>
                  <a:pt x="39509" y="242056"/>
                </a:cubicBezTo>
                <a:cubicBezTo>
                  <a:pt x="48880" y="248038"/>
                  <a:pt x="61705" y="246477"/>
                  <a:pt x="69474" y="237019"/>
                </a:cubicBezTo>
                <a:cubicBezTo>
                  <a:pt x="76712" y="228205"/>
                  <a:pt x="82824" y="218436"/>
                  <a:pt x="89101" y="208870"/>
                </a:cubicBezTo>
                <a:cubicBezTo>
                  <a:pt x="100096" y="192114"/>
                  <a:pt x="110806" y="175170"/>
                  <a:pt x="121716" y="158357"/>
                </a:cubicBezTo>
                <a:cubicBezTo>
                  <a:pt x="123679" y="155333"/>
                  <a:pt x="126029" y="152559"/>
                  <a:pt x="129330" y="148165"/>
                </a:cubicBezTo>
                <a:cubicBezTo>
                  <a:pt x="132450" y="152828"/>
                  <a:pt x="135175" y="156216"/>
                  <a:pt x="137171" y="159989"/>
                </a:cubicBezTo>
                <a:cubicBezTo>
                  <a:pt x="155891" y="195388"/>
                  <a:pt x="166343" y="232905"/>
                  <a:pt x="163812" y="273175"/>
                </a:cubicBezTo>
                <a:cubicBezTo>
                  <a:pt x="161183" y="314982"/>
                  <a:pt x="144984" y="351430"/>
                  <a:pt x="118151" y="383442"/>
                </a:cubicBezTo>
                <a:cubicBezTo>
                  <a:pt x="111214" y="391718"/>
                  <a:pt x="102452" y="394716"/>
                  <a:pt x="92325" y="395173"/>
                </a:cubicBezTo>
                <a:cubicBezTo>
                  <a:pt x="69461" y="396207"/>
                  <a:pt x="46593" y="397123"/>
                  <a:pt x="22609" y="398026"/>
                </a:cubicBezTo>
                <a:close/>
              </a:path>
            </a:pathLst>
          </a:custGeom>
          <a:solidFill>
            <a:srgbClr val="FCFDFD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" name="Free-form: Shape 27">
            <a:extLst>
              <a:ext uri="{FF2B5EF4-FFF2-40B4-BE49-F238E27FC236}">
                <a16:creationId xmlns:a16="http://schemas.microsoft.com/office/drawing/2014/main" id="{ED44E759-6DF0-1F6A-ECBA-E83B3F2433B3}"/>
              </a:ext>
            </a:extLst>
          </p:cNvPr>
          <p:cNvSpPr/>
          <p:nvPr/>
        </p:nvSpPr>
        <p:spPr>
          <a:xfrm>
            <a:off x="3066835" y="2778341"/>
            <a:ext cx="305850" cy="64961"/>
          </a:xfrm>
          <a:custGeom>
            <a:avLst/>
            <a:gdLst>
              <a:gd name="csX0" fmla="*/ 105937 w 336434"/>
              <a:gd name="csY0" fmla="*/ 71458 h 71457"/>
              <a:gd name="csX1" fmla="*/ 3534 w 336434"/>
              <a:gd name="csY1" fmla="*/ 69115 h 71457"/>
              <a:gd name="csX2" fmla="*/ 1296 w 336434"/>
              <a:gd name="csY2" fmla="*/ 17910 h 71457"/>
              <a:gd name="csX3" fmla="*/ 14032 w 336434"/>
              <a:gd name="csY3" fmla="*/ 17908 h 71457"/>
              <a:gd name="csX4" fmla="*/ 102444 w 336434"/>
              <a:gd name="csY4" fmla="*/ 17433 h 71457"/>
              <a:gd name="csX5" fmla="*/ 284561 w 336434"/>
              <a:gd name="csY5" fmla="*/ 3564 h 71457"/>
              <a:gd name="csX6" fmla="*/ 311323 w 336434"/>
              <a:gd name="csY6" fmla="*/ 224 h 71457"/>
              <a:gd name="csX7" fmla="*/ 324313 w 336434"/>
              <a:gd name="csY7" fmla="*/ 6639 h 71457"/>
              <a:gd name="csX8" fmla="*/ 336434 w 336434"/>
              <a:gd name="csY8" fmla="*/ 46484 h 71457"/>
              <a:gd name="csX9" fmla="*/ 105937 w 336434"/>
              <a:gd name="csY9" fmla="*/ 71458 h 7145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336434" h="71457">
                <a:moveTo>
                  <a:pt x="105937" y="71458"/>
                </a:moveTo>
                <a:cubicBezTo>
                  <a:pt x="70820" y="70678"/>
                  <a:pt x="36930" y="69891"/>
                  <a:pt x="3534" y="69115"/>
                </a:cubicBezTo>
                <a:cubicBezTo>
                  <a:pt x="-81" y="59433"/>
                  <a:pt x="-1094" y="35337"/>
                  <a:pt x="1296" y="17910"/>
                </a:cubicBezTo>
                <a:cubicBezTo>
                  <a:pt x="5366" y="17910"/>
                  <a:pt x="9699" y="17923"/>
                  <a:pt x="14032" y="17908"/>
                </a:cubicBezTo>
                <a:cubicBezTo>
                  <a:pt x="43505" y="17812"/>
                  <a:pt x="73011" y="18557"/>
                  <a:pt x="102444" y="17433"/>
                </a:cubicBezTo>
                <a:cubicBezTo>
                  <a:pt x="163306" y="15109"/>
                  <a:pt x="224166" y="12264"/>
                  <a:pt x="284561" y="3564"/>
                </a:cubicBezTo>
                <a:cubicBezTo>
                  <a:pt x="293458" y="2283"/>
                  <a:pt x="302438" y="1575"/>
                  <a:pt x="311323" y="224"/>
                </a:cubicBezTo>
                <a:cubicBezTo>
                  <a:pt x="317371" y="-696"/>
                  <a:pt x="321247" y="1177"/>
                  <a:pt x="324313" y="6639"/>
                </a:cubicBezTo>
                <a:cubicBezTo>
                  <a:pt x="330512" y="17683"/>
                  <a:pt x="335236" y="31679"/>
                  <a:pt x="336434" y="46484"/>
                </a:cubicBezTo>
                <a:cubicBezTo>
                  <a:pt x="261124" y="64059"/>
                  <a:pt x="184356" y="69587"/>
                  <a:pt x="105937" y="71458"/>
                </a:cubicBezTo>
                <a:close/>
              </a:path>
            </a:pathLst>
          </a:custGeom>
          <a:solidFill>
            <a:srgbClr val="FCFCFC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9" name="Free-form: Shape 28">
            <a:extLst>
              <a:ext uri="{FF2B5EF4-FFF2-40B4-BE49-F238E27FC236}">
                <a16:creationId xmlns:a16="http://schemas.microsoft.com/office/drawing/2014/main" id="{F34AD58C-F6D3-3B3D-B058-3F5CA4627FFF}"/>
              </a:ext>
            </a:extLst>
          </p:cNvPr>
          <p:cNvSpPr/>
          <p:nvPr/>
        </p:nvSpPr>
        <p:spPr>
          <a:xfrm>
            <a:off x="3080392" y="1947617"/>
            <a:ext cx="120683" cy="63097"/>
          </a:xfrm>
          <a:custGeom>
            <a:avLst/>
            <a:gdLst>
              <a:gd name="csX0" fmla="*/ 5051 w 132751"/>
              <a:gd name="csY0" fmla="*/ 7534 h 69406"/>
              <a:gd name="csX1" fmla="*/ 10615 w 132751"/>
              <a:gd name="csY1" fmla="*/ 3077 h 69406"/>
              <a:gd name="csX2" fmla="*/ 26541 w 132751"/>
              <a:gd name="csY2" fmla="*/ 2752 h 69406"/>
              <a:gd name="csX3" fmla="*/ 87728 w 132751"/>
              <a:gd name="csY3" fmla="*/ 89 h 69406"/>
              <a:gd name="csX4" fmla="*/ 101400 w 132751"/>
              <a:gd name="csY4" fmla="*/ 62 h 69406"/>
              <a:gd name="csX5" fmla="*/ 102924 w 132751"/>
              <a:gd name="csY5" fmla="*/ 4800 h 69406"/>
              <a:gd name="csX6" fmla="*/ 121469 w 132751"/>
              <a:gd name="csY6" fmla="*/ 43062 h 69406"/>
              <a:gd name="csX7" fmla="*/ 132751 w 132751"/>
              <a:gd name="csY7" fmla="*/ 65240 h 69406"/>
              <a:gd name="csX8" fmla="*/ 0 w 132751"/>
              <a:gd name="csY8" fmla="*/ 69406 h 69406"/>
              <a:gd name="csX9" fmla="*/ 5051 w 132751"/>
              <a:gd name="csY9" fmla="*/ 7534 h 6940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132751" h="69406">
                <a:moveTo>
                  <a:pt x="5051" y="7534"/>
                </a:moveTo>
                <a:cubicBezTo>
                  <a:pt x="6880" y="5272"/>
                  <a:pt x="8659" y="3268"/>
                  <a:pt x="10615" y="3077"/>
                </a:cubicBezTo>
                <a:cubicBezTo>
                  <a:pt x="15884" y="2564"/>
                  <a:pt x="21234" y="2972"/>
                  <a:pt x="26541" y="2752"/>
                </a:cubicBezTo>
                <a:cubicBezTo>
                  <a:pt x="46938" y="1911"/>
                  <a:pt x="67330" y="933"/>
                  <a:pt x="87728" y="89"/>
                </a:cubicBezTo>
                <a:cubicBezTo>
                  <a:pt x="92161" y="-94"/>
                  <a:pt x="96609" y="62"/>
                  <a:pt x="101400" y="62"/>
                </a:cubicBezTo>
                <a:cubicBezTo>
                  <a:pt x="101991" y="1827"/>
                  <a:pt x="102885" y="3302"/>
                  <a:pt x="102924" y="4800"/>
                </a:cubicBezTo>
                <a:cubicBezTo>
                  <a:pt x="103334" y="20376"/>
                  <a:pt x="108815" y="33165"/>
                  <a:pt x="121469" y="43062"/>
                </a:cubicBezTo>
                <a:cubicBezTo>
                  <a:pt x="127809" y="48021"/>
                  <a:pt x="132509" y="54869"/>
                  <a:pt x="132751" y="65240"/>
                </a:cubicBezTo>
                <a:cubicBezTo>
                  <a:pt x="88663" y="66624"/>
                  <a:pt x="45259" y="67986"/>
                  <a:pt x="0" y="69406"/>
                </a:cubicBezTo>
                <a:cubicBezTo>
                  <a:pt x="6474" y="48167"/>
                  <a:pt x="10658" y="28665"/>
                  <a:pt x="5051" y="7534"/>
                </a:cubicBezTo>
                <a:close/>
              </a:path>
            </a:pathLst>
          </a:custGeom>
          <a:solidFill>
            <a:srgbClr val="FBFCFB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0" name="Free-form: Shape 29">
            <a:extLst>
              <a:ext uri="{FF2B5EF4-FFF2-40B4-BE49-F238E27FC236}">
                <a16:creationId xmlns:a16="http://schemas.microsoft.com/office/drawing/2014/main" id="{18F9F16D-7C73-F9A3-8C4C-2A245B00C9ED}"/>
              </a:ext>
            </a:extLst>
          </p:cNvPr>
          <p:cNvSpPr/>
          <p:nvPr/>
        </p:nvSpPr>
        <p:spPr>
          <a:xfrm>
            <a:off x="3090029" y="2037231"/>
            <a:ext cx="150878" cy="35402"/>
          </a:xfrm>
          <a:custGeom>
            <a:avLst/>
            <a:gdLst>
              <a:gd name="csX0" fmla="*/ 80894 w 165965"/>
              <a:gd name="csY0" fmla="*/ 440 h 38942"/>
              <a:gd name="csX1" fmla="*/ 128629 w 165965"/>
              <a:gd name="csY1" fmla="*/ 5 h 38942"/>
              <a:gd name="csX2" fmla="*/ 155177 w 165965"/>
              <a:gd name="csY2" fmla="*/ 8091 h 38942"/>
              <a:gd name="csX3" fmla="*/ 164213 w 165965"/>
              <a:gd name="csY3" fmla="*/ 17723 h 38942"/>
              <a:gd name="csX4" fmla="*/ 159998 w 165965"/>
              <a:gd name="csY4" fmla="*/ 30717 h 38942"/>
              <a:gd name="csX5" fmla="*/ 146998 w 165965"/>
              <a:gd name="csY5" fmla="*/ 33737 h 38942"/>
              <a:gd name="csX6" fmla="*/ 12439 w 165965"/>
              <a:gd name="csY6" fmla="*/ 38914 h 38942"/>
              <a:gd name="csX7" fmla="*/ 0 w 165965"/>
              <a:gd name="csY7" fmla="*/ 38402 h 38942"/>
              <a:gd name="csX8" fmla="*/ 0 w 165965"/>
              <a:gd name="csY8" fmla="*/ 4598 h 38942"/>
              <a:gd name="csX9" fmla="*/ 80894 w 165965"/>
              <a:gd name="csY9" fmla="*/ 440 h 3894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165965" h="38942">
                <a:moveTo>
                  <a:pt x="80894" y="440"/>
                </a:moveTo>
                <a:cubicBezTo>
                  <a:pt x="97591" y="288"/>
                  <a:pt x="113111" y="227"/>
                  <a:pt x="128629" y="5"/>
                </a:cubicBezTo>
                <a:cubicBezTo>
                  <a:pt x="138376" y="-135"/>
                  <a:pt x="147226" y="2891"/>
                  <a:pt x="155177" y="8091"/>
                </a:cubicBezTo>
                <a:cubicBezTo>
                  <a:pt x="158779" y="10447"/>
                  <a:pt x="161992" y="14009"/>
                  <a:pt x="164213" y="17723"/>
                </a:cubicBezTo>
                <a:cubicBezTo>
                  <a:pt x="167602" y="23390"/>
                  <a:pt x="166013" y="28134"/>
                  <a:pt x="159998" y="30717"/>
                </a:cubicBezTo>
                <a:cubicBezTo>
                  <a:pt x="155963" y="32450"/>
                  <a:pt x="151384" y="33554"/>
                  <a:pt x="146998" y="33737"/>
                </a:cubicBezTo>
                <a:cubicBezTo>
                  <a:pt x="102152" y="35619"/>
                  <a:pt x="57295" y="37279"/>
                  <a:pt x="12439" y="38914"/>
                </a:cubicBezTo>
                <a:cubicBezTo>
                  <a:pt x="8467" y="39059"/>
                  <a:pt x="4472" y="38602"/>
                  <a:pt x="0" y="38402"/>
                </a:cubicBezTo>
                <a:cubicBezTo>
                  <a:pt x="0" y="27166"/>
                  <a:pt x="0" y="16774"/>
                  <a:pt x="0" y="4598"/>
                </a:cubicBezTo>
                <a:cubicBezTo>
                  <a:pt x="27063" y="3194"/>
                  <a:pt x="53389" y="1829"/>
                  <a:pt x="80894" y="440"/>
                </a:cubicBezTo>
                <a:close/>
              </a:path>
            </a:pathLst>
          </a:custGeom>
          <a:solidFill>
            <a:srgbClr val="FBFCFB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A87A4D1F-4224-59D4-C7BC-33691093B2DE}"/>
              </a:ext>
            </a:extLst>
          </p:cNvPr>
          <p:cNvSpPr/>
          <p:nvPr/>
        </p:nvSpPr>
        <p:spPr>
          <a:xfrm>
            <a:off x="1332265" y="2791631"/>
            <a:ext cx="717698" cy="104135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" name="Free-form: Shape 31">
            <a:extLst>
              <a:ext uri="{FF2B5EF4-FFF2-40B4-BE49-F238E27FC236}">
                <a16:creationId xmlns:a16="http://schemas.microsoft.com/office/drawing/2014/main" id="{F2DC669F-2BFB-1178-DC43-24BD253F3B1F}"/>
              </a:ext>
            </a:extLst>
          </p:cNvPr>
          <p:cNvSpPr/>
          <p:nvPr/>
        </p:nvSpPr>
        <p:spPr>
          <a:xfrm>
            <a:off x="1427309" y="1597747"/>
            <a:ext cx="634942" cy="1266262"/>
          </a:xfrm>
          <a:custGeom>
            <a:avLst/>
            <a:gdLst>
              <a:gd name="csX0" fmla="*/ 703087 w 763849"/>
              <a:gd name="csY0" fmla="*/ 1241174 h 1523340"/>
              <a:gd name="csX1" fmla="*/ 732932 w 763849"/>
              <a:gd name="csY1" fmla="*/ 1359634 h 1523340"/>
              <a:gd name="csX2" fmla="*/ 735544 w 763849"/>
              <a:gd name="csY2" fmla="*/ 1377287 h 1523340"/>
              <a:gd name="csX3" fmla="*/ 756764 w 763849"/>
              <a:gd name="csY3" fmla="*/ 1458577 h 1523340"/>
              <a:gd name="csX4" fmla="*/ 757108 w 763849"/>
              <a:gd name="csY4" fmla="*/ 1465940 h 1523340"/>
              <a:gd name="csX5" fmla="*/ 744215 w 763849"/>
              <a:gd name="csY5" fmla="*/ 1488332 h 1523340"/>
              <a:gd name="csX6" fmla="*/ 712781 w 763849"/>
              <a:gd name="csY6" fmla="*/ 1498472 h 1523340"/>
              <a:gd name="csX7" fmla="*/ 625540 w 763849"/>
              <a:gd name="csY7" fmla="*/ 1511981 h 1523340"/>
              <a:gd name="csX8" fmla="*/ 488540 w 763849"/>
              <a:gd name="csY8" fmla="*/ 1522029 h 1523340"/>
              <a:gd name="csX9" fmla="*/ 306789 w 763849"/>
              <a:gd name="csY9" fmla="*/ 1523231 h 1523340"/>
              <a:gd name="csX10" fmla="*/ 200103 w 763849"/>
              <a:gd name="csY10" fmla="*/ 1518579 h 1523340"/>
              <a:gd name="csX11" fmla="*/ 31607 w 763849"/>
              <a:gd name="csY11" fmla="*/ 1493880 h 1523340"/>
              <a:gd name="csX12" fmla="*/ 5860 w 763849"/>
              <a:gd name="csY12" fmla="*/ 1482933 h 1523340"/>
              <a:gd name="csX13" fmla="*/ 32 w 763849"/>
              <a:gd name="csY13" fmla="*/ 1471774 h 1523340"/>
              <a:gd name="csX14" fmla="*/ 21295 w 763849"/>
              <a:gd name="csY14" fmla="*/ 1378237 h 1523340"/>
              <a:gd name="csX15" fmla="*/ 23169 w 763849"/>
              <a:gd name="csY15" fmla="*/ 1364271 h 1523340"/>
              <a:gd name="csX16" fmla="*/ 23871 w 763849"/>
              <a:gd name="csY16" fmla="*/ 1303132 h 1523340"/>
              <a:gd name="csX17" fmla="*/ 59740 w 763849"/>
              <a:gd name="csY17" fmla="*/ 1234649 h 1523340"/>
              <a:gd name="csX18" fmla="*/ 98899 w 763849"/>
              <a:gd name="csY18" fmla="*/ 1195619 h 1523340"/>
              <a:gd name="csX19" fmla="*/ 131493 w 763849"/>
              <a:gd name="csY19" fmla="*/ 1127593 h 1523340"/>
              <a:gd name="csX20" fmla="*/ 108213 w 763849"/>
              <a:gd name="csY20" fmla="*/ 1058723 h 1523340"/>
              <a:gd name="csX21" fmla="*/ 74370 w 763849"/>
              <a:gd name="csY21" fmla="*/ 1024929 h 1523340"/>
              <a:gd name="csX22" fmla="*/ 68137 w 763849"/>
              <a:gd name="csY22" fmla="*/ 987550 h 1523340"/>
              <a:gd name="csX23" fmla="*/ 86420 w 763849"/>
              <a:gd name="csY23" fmla="*/ 941991 h 1523340"/>
              <a:gd name="csX24" fmla="*/ 97082 w 763849"/>
              <a:gd name="csY24" fmla="*/ 828037 h 1523340"/>
              <a:gd name="csX25" fmla="*/ 61782 w 763849"/>
              <a:gd name="csY25" fmla="*/ 696973 h 1523340"/>
              <a:gd name="csX26" fmla="*/ 26901 w 763849"/>
              <a:gd name="csY26" fmla="*/ 547868 h 1523340"/>
              <a:gd name="csX27" fmla="*/ 20221 w 763849"/>
              <a:gd name="csY27" fmla="*/ 479529 h 1523340"/>
              <a:gd name="csX28" fmla="*/ 40808 w 763849"/>
              <a:gd name="csY28" fmla="*/ 334388 h 1523340"/>
              <a:gd name="csX29" fmla="*/ 65171 w 763849"/>
              <a:gd name="csY29" fmla="*/ 263707 h 1523340"/>
              <a:gd name="csX30" fmla="*/ 142827 w 763849"/>
              <a:gd name="csY30" fmla="*/ 171003 h 1523340"/>
              <a:gd name="csX31" fmla="*/ 172290 w 763849"/>
              <a:gd name="csY31" fmla="*/ 155872 h 1523340"/>
              <a:gd name="csX32" fmla="*/ 189008 w 763849"/>
              <a:gd name="csY32" fmla="*/ 148158 h 1523340"/>
              <a:gd name="csX33" fmla="*/ 212828 w 763849"/>
              <a:gd name="csY33" fmla="*/ 126123 h 1523340"/>
              <a:gd name="csX34" fmla="*/ 217217 w 763849"/>
              <a:gd name="csY34" fmla="*/ 118740 h 1523340"/>
              <a:gd name="csX35" fmla="*/ 253000 w 763849"/>
              <a:gd name="csY35" fmla="*/ 88998 h 1523340"/>
              <a:gd name="csX36" fmla="*/ 322085 w 763849"/>
              <a:gd name="csY36" fmla="*/ 72193 h 1523340"/>
              <a:gd name="csX37" fmla="*/ 330478 w 763849"/>
              <a:gd name="csY37" fmla="*/ 70387 h 1523340"/>
              <a:gd name="csX38" fmla="*/ 388016 w 763849"/>
              <a:gd name="csY38" fmla="*/ 35457 h 1523340"/>
              <a:gd name="csX39" fmla="*/ 421527 w 763849"/>
              <a:gd name="csY39" fmla="*/ 0 h 1523340"/>
              <a:gd name="csX40" fmla="*/ 424538 w 763849"/>
              <a:gd name="csY40" fmla="*/ 10833 h 1523340"/>
              <a:gd name="csX41" fmla="*/ 436339 w 763849"/>
              <a:gd name="csY41" fmla="*/ 121836 h 1523340"/>
              <a:gd name="csX42" fmla="*/ 449983 w 763849"/>
              <a:gd name="csY42" fmla="*/ 141450 h 1523340"/>
              <a:gd name="csX43" fmla="*/ 503299 w 763849"/>
              <a:gd name="csY43" fmla="*/ 169290 h 1523340"/>
              <a:gd name="csX44" fmla="*/ 551461 w 763849"/>
              <a:gd name="csY44" fmla="*/ 203111 h 1523340"/>
              <a:gd name="csX45" fmla="*/ 588803 w 763849"/>
              <a:gd name="csY45" fmla="*/ 252797 h 1523340"/>
              <a:gd name="csX46" fmla="*/ 634209 w 763849"/>
              <a:gd name="csY46" fmla="*/ 327081 h 1523340"/>
              <a:gd name="csX47" fmla="*/ 697923 w 763849"/>
              <a:gd name="csY47" fmla="*/ 384157 h 1523340"/>
              <a:gd name="csX48" fmla="*/ 729658 w 763849"/>
              <a:gd name="csY48" fmla="*/ 407288 h 1523340"/>
              <a:gd name="csX49" fmla="*/ 763354 w 763849"/>
              <a:gd name="csY49" fmla="*/ 471325 h 1523340"/>
              <a:gd name="csX50" fmla="*/ 757092 w 763849"/>
              <a:gd name="csY50" fmla="*/ 527116 h 1523340"/>
              <a:gd name="csX51" fmla="*/ 720673 w 763849"/>
              <a:gd name="csY51" fmla="*/ 570023 h 1523340"/>
              <a:gd name="csX52" fmla="*/ 704918 w 763849"/>
              <a:gd name="csY52" fmla="*/ 581294 h 1523340"/>
              <a:gd name="csX53" fmla="*/ 671960 w 763849"/>
              <a:gd name="csY53" fmla="*/ 595325 h 1523340"/>
              <a:gd name="csX54" fmla="*/ 633021 w 763849"/>
              <a:gd name="csY54" fmla="*/ 591397 h 1523340"/>
              <a:gd name="csX55" fmla="*/ 580696 w 763849"/>
              <a:gd name="csY55" fmla="*/ 556742 h 1523340"/>
              <a:gd name="csX56" fmla="*/ 545415 w 763849"/>
              <a:gd name="csY56" fmla="*/ 524617 h 1523340"/>
              <a:gd name="csX57" fmla="*/ 518889 w 763849"/>
              <a:gd name="csY57" fmla="*/ 516179 h 1523340"/>
              <a:gd name="csX58" fmla="*/ 472309 w 763849"/>
              <a:gd name="csY58" fmla="*/ 517812 h 1523340"/>
              <a:gd name="csX59" fmla="*/ 415953 w 763849"/>
              <a:gd name="csY59" fmla="*/ 517245 h 1523340"/>
              <a:gd name="csX60" fmla="*/ 403392 w 763849"/>
              <a:gd name="csY60" fmla="*/ 516539 h 1523340"/>
              <a:gd name="csX61" fmla="*/ 407957 w 763849"/>
              <a:gd name="csY61" fmla="*/ 542045 h 1523340"/>
              <a:gd name="csX62" fmla="*/ 434134 w 763849"/>
              <a:gd name="csY62" fmla="*/ 583349 h 1523340"/>
              <a:gd name="csX63" fmla="*/ 524267 w 763849"/>
              <a:gd name="csY63" fmla="*/ 683922 h 1523340"/>
              <a:gd name="csX64" fmla="*/ 614317 w 763849"/>
              <a:gd name="csY64" fmla="*/ 786085 h 1523340"/>
              <a:gd name="csX65" fmla="*/ 669590 w 763849"/>
              <a:gd name="csY65" fmla="*/ 921089 h 1523340"/>
              <a:gd name="csX66" fmla="*/ 647360 w 763849"/>
              <a:gd name="csY66" fmla="*/ 1057245 h 1523340"/>
              <a:gd name="csX67" fmla="*/ 627872 w 763849"/>
              <a:gd name="csY67" fmla="*/ 1102111 h 1523340"/>
              <a:gd name="csX68" fmla="*/ 642300 w 763849"/>
              <a:gd name="csY68" fmla="*/ 1175941 h 1523340"/>
              <a:gd name="csX69" fmla="*/ 668829 w 763849"/>
              <a:gd name="csY69" fmla="*/ 1206449 h 1523340"/>
              <a:gd name="csX70" fmla="*/ 703087 w 763849"/>
              <a:gd name="csY70" fmla="*/ 1241174 h 1523340"/>
              <a:gd name="csX71" fmla="*/ 648750 w 763849"/>
              <a:gd name="csY71" fmla="*/ 562343 h 1523340"/>
              <a:gd name="csX72" fmla="*/ 674049 w 763849"/>
              <a:gd name="csY72" fmla="*/ 562834 h 1523340"/>
              <a:gd name="csX73" fmla="*/ 660781 w 763849"/>
              <a:gd name="csY73" fmla="*/ 550178 h 1523340"/>
              <a:gd name="csX74" fmla="*/ 650911 w 763849"/>
              <a:gd name="csY74" fmla="*/ 534051 h 1523340"/>
              <a:gd name="csX75" fmla="*/ 660724 w 763849"/>
              <a:gd name="csY75" fmla="*/ 537605 h 1523340"/>
              <a:gd name="csX76" fmla="*/ 688133 w 763849"/>
              <a:gd name="csY76" fmla="*/ 543363 h 1523340"/>
              <a:gd name="csX77" fmla="*/ 731514 w 763849"/>
              <a:gd name="csY77" fmla="*/ 510767 h 1523340"/>
              <a:gd name="csX78" fmla="*/ 733611 w 763849"/>
              <a:gd name="csY78" fmla="*/ 466905 h 1523340"/>
              <a:gd name="csX79" fmla="*/ 708076 w 763849"/>
              <a:gd name="csY79" fmla="*/ 425975 h 1523340"/>
              <a:gd name="csX80" fmla="*/ 667538 w 763849"/>
              <a:gd name="csY80" fmla="*/ 398254 h 1523340"/>
              <a:gd name="csX81" fmla="*/ 601016 w 763849"/>
              <a:gd name="csY81" fmla="*/ 332127 h 1523340"/>
              <a:gd name="csX82" fmla="*/ 565354 w 763849"/>
              <a:gd name="csY82" fmla="*/ 270526 h 1523340"/>
              <a:gd name="csX83" fmla="*/ 490657 w 763849"/>
              <a:gd name="csY83" fmla="*/ 195121 h 1523340"/>
              <a:gd name="csX84" fmla="*/ 432834 w 763849"/>
              <a:gd name="csY84" fmla="*/ 165243 h 1523340"/>
              <a:gd name="csX85" fmla="*/ 407594 w 763849"/>
              <a:gd name="csY85" fmla="*/ 127852 h 1523340"/>
              <a:gd name="csX86" fmla="*/ 405020 w 763849"/>
              <a:gd name="csY86" fmla="*/ 69029 h 1523340"/>
              <a:gd name="csX87" fmla="*/ 403638 w 763849"/>
              <a:gd name="csY87" fmla="*/ 58130 h 1523340"/>
              <a:gd name="csX88" fmla="*/ 349776 w 763849"/>
              <a:gd name="csY88" fmla="*/ 133259 h 1523340"/>
              <a:gd name="csX89" fmla="*/ 326975 w 763849"/>
              <a:gd name="csY89" fmla="*/ 159669 h 1523340"/>
              <a:gd name="csX90" fmla="*/ 240374 w 763849"/>
              <a:gd name="csY90" fmla="*/ 221714 h 1523340"/>
              <a:gd name="csX91" fmla="*/ 171637 w 763849"/>
              <a:gd name="csY91" fmla="*/ 309087 h 1523340"/>
              <a:gd name="csX92" fmla="*/ 138048 w 763849"/>
              <a:gd name="csY92" fmla="*/ 516954 h 1523340"/>
              <a:gd name="csX93" fmla="*/ 163889 w 763849"/>
              <a:gd name="csY93" fmla="*/ 641780 h 1523340"/>
              <a:gd name="csX94" fmla="*/ 204800 w 763849"/>
              <a:gd name="csY94" fmla="*/ 787055 h 1523340"/>
              <a:gd name="csX95" fmla="*/ 218549 w 763849"/>
              <a:gd name="csY95" fmla="*/ 949545 h 1523340"/>
              <a:gd name="csX96" fmla="*/ 191487 w 763849"/>
              <a:gd name="csY96" fmla="*/ 1033064 h 1523340"/>
              <a:gd name="csX97" fmla="*/ 188729 w 763849"/>
              <a:gd name="csY97" fmla="*/ 1039835 h 1523340"/>
              <a:gd name="csX98" fmla="*/ 221417 w 763849"/>
              <a:gd name="csY98" fmla="*/ 1040799 h 1523340"/>
              <a:gd name="csX99" fmla="*/ 348895 w 763849"/>
              <a:gd name="csY99" fmla="*/ 1046759 h 1523340"/>
              <a:gd name="csX100" fmla="*/ 545369 w 763849"/>
              <a:gd name="csY100" fmla="*/ 1044456 h 1523340"/>
              <a:gd name="csX101" fmla="*/ 612424 w 763849"/>
              <a:gd name="csY101" fmla="*/ 1037365 h 1523340"/>
              <a:gd name="csX102" fmla="*/ 623169 w 763849"/>
              <a:gd name="csY102" fmla="*/ 1028873 h 1523340"/>
              <a:gd name="csX103" fmla="*/ 638508 w 763849"/>
              <a:gd name="csY103" fmla="*/ 959599 h 1523340"/>
              <a:gd name="csX104" fmla="*/ 609213 w 763849"/>
              <a:gd name="csY104" fmla="*/ 842075 h 1523340"/>
              <a:gd name="csX105" fmla="*/ 529367 w 763849"/>
              <a:gd name="csY105" fmla="*/ 735065 h 1523340"/>
              <a:gd name="csX106" fmla="*/ 403792 w 763849"/>
              <a:gd name="csY106" fmla="*/ 596993 h 1523340"/>
              <a:gd name="csX107" fmla="*/ 344708 w 763849"/>
              <a:gd name="csY107" fmla="*/ 511366 h 1523340"/>
              <a:gd name="csX108" fmla="*/ 324464 w 763849"/>
              <a:gd name="csY108" fmla="*/ 380084 h 1523340"/>
              <a:gd name="csX109" fmla="*/ 327688 w 763849"/>
              <a:gd name="csY109" fmla="*/ 373535 h 1523340"/>
              <a:gd name="csX110" fmla="*/ 330334 w 763849"/>
              <a:gd name="csY110" fmla="*/ 373641 h 1523340"/>
              <a:gd name="csX111" fmla="*/ 334272 w 763849"/>
              <a:gd name="csY111" fmla="*/ 384645 h 1523340"/>
              <a:gd name="csX112" fmla="*/ 365260 w 763849"/>
              <a:gd name="csY112" fmla="*/ 453955 h 1523340"/>
              <a:gd name="csX113" fmla="*/ 408246 w 763849"/>
              <a:gd name="csY113" fmla="*/ 483592 h 1523340"/>
              <a:gd name="csX114" fmla="*/ 464529 w 763849"/>
              <a:gd name="csY114" fmla="*/ 486187 h 1523340"/>
              <a:gd name="csX115" fmla="*/ 511119 w 763849"/>
              <a:gd name="csY115" fmla="*/ 484308 h 1523340"/>
              <a:gd name="csX116" fmla="*/ 567913 w 763849"/>
              <a:gd name="csY116" fmla="*/ 503736 h 1523340"/>
              <a:gd name="csX117" fmla="*/ 607611 w 763849"/>
              <a:gd name="csY117" fmla="*/ 540326 h 1523340"/>
              <a:gd name="csX118" fmla="*/ 648750 w 763849"/>
              <a:gd name="csY118" fmla="*/ 562343 h 1523340"/>
              <a:gd name="csX119" fmla="*/ 462594 w 763849"/>
              <a:gd name="csY119" fmla="*/ 1369008 h 1523340"/>
              <a:gd name="csX120" fmla="*/ 510357 w 763849"/>
              <a:gd name="csY120" fmla="*/ 1366345 h 1523340"/>
              <a:gd name="csX121" fmla="*/ 549434 w 763849"/>
              <a:gd name="csY121" fmla="*/ 1362956 h 1523340"/>
              <a:gd name="csX122" fmla="*/ 632369 w 763849"/>
              <a:gd name="csY122" fmla="*/ 1354439 h 1523340"/>
              <a:gd name="csX123" fmla="*/ 697252 w 763849"/>
              <a:gd name="csY123" fmla="*/ 1346424 h 1523340"/>
              <a:gd name="csX124" fmla="*/ 676674 w 763849"/>
              <a:gd name="csY124" fmla="*/ 1266396 h 1523340"/>
              <a:gd name="csX125" fmla="*/ 646594 w 763849"/>
              <a:gd name="csY125" fmla="*/ 1234108 h 1523340"/>
              <a:gd name="csX126" fmla="*/ 612063 w 763849"/>
              <a:gd name="csY126" fmla="*/ 1194382 h 1523340"/>
              <a:gd name="csX127" fmla="*/ 591616 w 763849"/>
              <a:gd name="csY127" fmla="*/ 1111541 h 1523340"/>
              <a:gd name="csX128" fmla="*/ 594320 w 763849"/>
              <a:gd name="csY128" fmla="*/ 1089609 h 1523340"/>
              <a:gd name="csX129" fmla="*/ 578634 w 763849"/>
              <a:gd name="csY129" fmla="*/ 1089642 h 1523340"/>
              <a:gd name="csX130" fmla="*/ 443931 w 763849"/>
              <a:gd name="csY130" fmla="*/ 1096700 h 1523340"/>
              <a:gd name="csX131" fmla="*/ 403417 w 763849"/>
              <a:gd name="csY131" fmla="*/ 1097156 h 1523340"/>
              <a:gd name="csX132" fmla="*/ 388348 w 763849"/>
              <a:gd name="csY132" fmla="*/ 1111502 h 1523340"/>
              <a:gd name="csX133" fmla="*/ 385048 w 763849"/>
              <a:gd name="csY133" fmla="*/ 1176431 h 1523340"/>
              <a:gd name="csX134" fmla="*/ 377687 w 763849"/>
              <a:gd name="csY134" fmla="*/ 1308672 h 1523340"/>
              <a:gd name="csX135" fmla="*/ 376823 w 763849"/>
              <a:gd name="csY135" fmla="*/ 1320897 h 1523340"/>
              <a:gd name="csX136" fmla="*/ 376781 w 763849"/>
              <a:gd name="csY136" fmla="*/ 1366151 h 1523340"/>
              <a:gd name="csX137" fmla="*/ 462594 w 763849"/>
              <a:gd name="csY137" fmla="*/ 1369008 h 1523340"/>
              <a:gd name="csX138" fmla="*/ 648494 w 763849"/>
              <a:gd name="csY138" fmla="*/ 1463981 h 1523340"/>
              <a:gd name="csX139" fmla="*/ 718746 w 763849"/>
              <a:gd name="csY139" fmla="*/ 1451892 h 1523340"/>
              <a:gd name="csX140" fmla="*/ 711827 w 763849"/>
              <a:gd name="csY140" fmla="*/ 1416835 h 1523340"/>
              <a:gd name="csX141" fmla="*/ 685812 w 763849"/>
              <a:gd name="csY141" fmla="*/ 1398502 h 1523340"/>
              <a:gd name="csX142" fmla="*/ 680924 w 763849"/>
              <a:gd name="csY142" fmla="*/ 1398973 h 1523340"/>
              <a:gd name="csX143" fmla="*/ 598278 w 763849"/>
              <a:gd name="csY143" fmla="*/ 1409218 h 1523340"/>
              <a:gd name="csX144" fmla="*/ 474765 w 763849"/>
              <a:gd name="csY144" fmla="*/ 1417945 h 1523340"/>
              <a:gd name="csX145" fmla="*/ 385143 w 763849"/>
              <a:gd name="csY145" fmla="*/ 1418978 h 1523340"/>
              <a:gd name="csX146" fmla="*/ 376639 w 763849"/>
              <a:gd name="csY146" fmla="*/ 1419613 h 1523340"/>
              <a:gd name="csX147" fmla="*/ 376639 w 763849"/>
              <a:gd name="csY147" fmla="*/ 1473939 h 1523340"/>
              <a:gd name="csX148" fmla="*/ 382089 w 763849"/>
              <a:gd name="csY148" fmla="*/ 1474854 h 1523340"/>
              <a:gd name="csX149" fmla="*/ 449536 w 763849"/>
              <a:gd name="csY149" fmla="*/ 1476855 h 1523340"/>
              <a:gd name="csX150" fmla="*/ 559930 w 763849"/>
              <a:gd name="csY150" fmla="*/ 1474307 h 1523340"/>
              <a:gd name="csX151" fmla="*/ 648494 w 763849"/>
              <a:gd name="csY151" fmla="*/ 1463981 h 152334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</a:cxnLst>
            <a:rect l="l" t="t" r="r" b="b"/>
            <a:pathLst>
              <a:path w="763849" h="1523340">
                <a:moveTo>
                  <a:pt x="703087" y="1241174"/>
                </a:moveTo>
                <a:cubicBezTo>
                  <a:pt x="732418" y="1276379"/>
                  <a:pt x="738825" y="1316526"/>
                  <a:pt x="732932" y="1359634"/>
                </a:cubicBezTo>
                <a:cubicBezTo>
                  <a:pt x="732067" y="1365959"/>
                  <a:pt x="732453" y="1371428"/>
                  <a:pt x="735544" y="1377287"/>
                </a:cubicBezTo>
                <a:cubicBezTo>
                  <a:pt x="748937" y="1402675"/>
                  <a:pt x="755318" y="1430010"/>
                  <a:pt x="756764" y="1458577"/>
                </a:cubicBezTo>
                <a:cubicBezTo>
                  <a:pt x="756887" y="1461031"/>
                  <a:pt x="756895" y="1463494"/>
                  <a:pt x="757108" y="1465940"/>
                </a:cubicBezTo>
                <a:cubicBezTo>
                  <a:pt x="758375" y="1480486"/>
                  <a:pt x="757802" y="1482498"/>
                  <a:pt x="744215" y="1488332"/>
                </a:cubicBezTo>
                <a:cubicBezTo>
                  <a:pt x="734126" y="1492664"/>
                  <a:pt x="723536" y="1496562"/>
                  <a:pt x="712781" y="1498472"/>
                </a:cubicBezTo>
                <a:cubicBezTo>
                  <a:pt x="683814" y="1503617"/>
                  <a:pt x="654674" y="1507832"/>
                  <a:pt x="625540" y="1511981"/>
                </a:cubicBezTo>
                <a:cubicBezTo>
                  <a:pt x="580114" y="1518449"/>
                  <a:pt x="534395" y="1521481"/>
                  <a:pt x="488540" y="1522029"/>
                </a:cubicBezTo>
                <a:cubicBezTo>
                  <a:pt x="427958" y="1522752"/>
                  <a:pt x="367367" y="1523658"/>
                  <a:pt x="306789" y="1523231"/>
                </a:cubicBezTo>
                <a:cubicBezTo>
                  <a:pt x="271215" y="1522980"/>
                  <a:pt x="235625" y="1520833"/>
                  <a:pt x="200103" y="1518579"/>
                </a:cubicBezTo>
                <a:cubicBezTo>
                  <a:pt x="143289" y="1514974"/>
                  <a:pt x="86915" y="1507766"/>
                  <a:pt x="31607" y="1493880"/>
                </a:cubicBezTo>
                <a:cubicBezTo>
                  <a:pt x="22666" y="1491635"/>
                  <a:pt x="14297" y="1486920"/>
                  <a:pt x="5860" y="1482933"/>
                </a:cubicBezTo>
                <a:cubicBezTo>
                  <a:pt x="1433" y="1480841"/>
                  <a:pt x="-262" y="1476934"/>
                  <a:pt x="32" y="1471774"/>
                </a:cubicBezTo>
                <a:cubicBezTo>
                  <a:pt x="1880" y="1439401"/>
                  <a:pt x="3993" y="1407192"/>
                  <a:pt x="21295" y="1378237"/>
                </a:cubicBezTo>
                <a:cubicBezTo>
                  <a:pt x="23526" y="1374504"/>
                  <a:pt x="23666" y="1368858"/>
                  <a:pt x="23169" y="1364271"/>
                </a:cubicBezTo>
                <a:cubicBezTo>
                  <a:pt x="20957" y="1343833"/>
                  <a:pt x="20482" y="1323540"/>
                  <a:pt x="23871" y="1303132"/>
                </a:cubicBezTo>
                <a:cubicBezTo>
                  <a:pt x="28332" y="1276267"/>
                  <a:pt x="41045" y="1253887"/>
                  <a:pt x="59740" y="1234649"/>
                </a:cubicBezTo>
                <a:cubicBezTo>
                  <a:pt x="72582" y="1221434"/>
                  <a:pt x="85657" y="1208434"/>
                  <a:pt x="98899" y="1195619"/>
                </a:cubicBezTo>
                <a:cubicBezTo>
                  <a:pt x="118216" y="1176926"/>
                  <a:pt x="130484" y="1154702"/>
                  <a:pt x="131493" y="1127593"/>
                </a:cubicBezTo>
                <a:cubicBezTo>
                  <a:pt x="132448" y="1101948"/>
                  <a:pt x="127125" y="1077868"/>
                  <a:pt x="108213" y="1058723"/>
                </a:cubicBezTo>
                <a:cubicBezTo>
                  <a:pt x="97010" y="1047381"/>
                  <a:pt x="85438" y="1036399"/>
                  <a:pt x="74370" y="1024929"/>
                </a:cubicBezTo>
                <a:cubicBezTo>
                  <a:pt x="63868" y="1014043"/>
                  <a:pt x="62267" y="1001475"/>
                  <a:pt x="68137" y="987550"/>
                </a:cubicBezTo>
                <a:cubicBezTo>
                  <a:pt x="74493" y="972473"/>
                  <a:pt x="80703" y="957319"/>
                  <a:pt x="86420" y="941991"/>
                </a:cubicBezTo>
                <a:cubicBezTo>
                  <a:pt x="100218" y="905001"/>
                  <a:pt x="99441" y="866690"/>
                  <a:pt x="97082" y="828037"/>
                </a:cubicBezTo>
                <a:cubicBezTo>
                  <a:pt x="94260" y="781809"/>
                  <a:pt x="76370" y="739899"/>
                  <a:pt x="61782" y="696973"/>
                </a:cubicBezTo>
                <a:cubicBezTo>
                  <a:pt x="45282" y="648419"/>
                  <a:pt x="33285" y="598770"/>
                  <a:pt x="26901" y="547868"/>
                </a:cubicBezTo>
                <a:cubicBezTo>
                  <a:pt x="24054" y="525160"/>
                  <a:pt x="21110" y="502364"/>
                  <a:pt x="20221" y="479529"/>
                </a:cubicBezTo>
                <a:cubicBezTo>
                  <a:pt x="18293" y="430013"/>
                  <a:pt x="26126" y="381610"/>
                  <a:pt x="40808" y="334388"/>
                </a:cubicBezTo>
                <a:cubicBezTo>
                  <a:pt x="48208" y="310588"/>
                  <a:pt x="55162" y="286441"/>
                  <a:pt x="65171" y="263707"/>
                </a:cubicBezTo>
                <a:cubicBezTo>
                  <a:pt x="81946" y="225606"/>
                  <a:pt x="106517" y="193071"/>
                  <a:pt x="142827" y="171003"/>
                </a:cubicBezTo>
                <a:cubicBezTo>
                  <a:pt x="152238" y="165283"/>
                  <a:pt x="162401" y="160787"/>
                  <a:pt x="172290" y="155872"/>
                </a:cubicBezTo>
                <a:cubicBezTo>
                  <a:pt x="177784" y="153142"/>
                  <a:pt x="183393" y="150635"/>
                  <a:pt x="189008" y="148158"/>
                </a:cubicBezTo>
                <a:cubicBezTo>
                  <a:pt x="199487" y="143534"/>
                  <a:pt x="207598" y="136426"/>
                  <a:pt x="212828" y="126123"/>
                </a:cubicBezTo>
                <a:cubicBezTo>
                  <a:pt x="214121" y="123575"/>
                  <a:pt x="215966" y="121304"/>
                  <a:pt x="217217" y="118740"/>
                </a:cubicBezTo>
                <a:cubicBezTo>
                  <a:pt x="224688" y="103433"/>
                  <a:pt x="237053" y="93440"/>
                  <a:pt x="253000" y="88998"/>
                </a:cubicBezTo>
                <a:cubicBezTo>
                  <a:pt x="275818" y="82642"/>
                  <a:pt x="299033" y="77711"/>
                  <a:pt x="322085" y="72193"/>
                </a:cubicBezTo>
                <a:cubicBezTo>
                  <a:pt x="324867" y="71527"/>
                  <a:pt x="327694" y="71045"/>
                  <a:pt x="330478" y="70387"/>
                </a:cubicBezTo>
                <a:cubicBezTo>
                  <a:pt x="364731" y="62297"/>
                  <a:pt x="364569" y="62151"/>
                  <a:pt x="388016" y="35457"/>
                </a:cubicBezTo>
                <a:cubicBezTo>
                  <a:pt x="398189" y="23875"/>
                  <a:pt x="409180" y="13010"/>
                  <a:pt x="421527" y="0"/>
                </a:cubicBezTo>
                <a:cubicBezTo>
                  <a:pt x="423000" y="5190"/>
                  <a:pt x="424219" y="7961"/>
                  <a:pt x="424538" y="10833"/>
                </a:cubicBezTo>
                <a:cubicBezTo>
                  <a:pt x="428638" y="47817"/>
                  <a:pt x="433030" y="84779"/>
                  <a:pt x="436339" y="121836"/>
                </a:cubicBezTo>
                <a:cubicBezTo>
                  <a:pt x="437236" y="131893"/>
                  <a:pt x="441545" y="137271"/>
                  <a:pt x="449983" y="141450"/>
                </a:cubicBezTo>
                <a:cubicBezTo>
                  <a:pt x="467954" y="150348"/>
                  <a:pt x="486187" y="158915"/>
                  <a:pt x="503299" y="169290"/>
                </a:cubicBezTo>
                <a:cubicBezTo>
                  <a:pt x="520041" y="179441"/>
                  <a:pt x="535883" y="191197"/>
                  <a:pt x="551461" y="203111"/>
                </a:cubicBezTo>
                <a:cubicBezTo>
                  <a:pt x="568416" y="216079"/>
                  <a:pt x="579195" y="234146"/>
                  <a:pt x="588803" y="252797"/>
                </a:cubicBezTo>
                <a:cubicBezTo>
                  <a:pt x="602134" y="278677"/>
                  <a:pt x="616556" y="303835"/>
                  <a:pt x="634209" y="327081"/>
                </a:cubicBezTo>
                <a:cubicBezTo>
                  <a:pt x="651797" y="350241"/>
                  <a:pt x="673980" y="368103"/>
                  <a:pt x="697923" y="384157"/>
                </a:cubicBezTo>
                <a:cubicBezTo>
                  <a:pt x="708787" y="391441"/>
                  <a:pt x="719007" y="399678"/>
                  <a:pt x="729658" y="407288"/>
                </a:cubicBezTo>
                <a:cubicBezTo>
                  <a:pt x="751657" y="423004"/>
                  <a:pt x="761259" y="445265"/>
                  <a:pt x="763354" y="471325"/>
                </a:cubicBezTo>
                <a:cubicBezTo>
                  <a:pt x="764877" y="490275"/>
                  <a:pt x="762919" y="509064"/>
                  <a:pt x="757092" y="527116"/>
                </a:cubicBezTo>
                <a:cubicBezTo>
                  <a:pt x="750932" y="546198"/>
                  <a:pt x="738296" y="560266"/>
                  <a:pt x="720673" y="570023"/>
                </a:cubicBezTo>
                <a:cubicBezTo>
                  <a:pt x="715048" y="573138"/>
                  <a:pt x="709487" y="576825"/>
                  <a:pt x="704918" y="581294"/>
                </a:cubicBezTo>
                <a:cubicBezTo>
                  <a:pt x="695625" y="590383"/>
                  <a:pt x="684728" y="595697"/>
                  <a:pt x="671960" y="595325"/>
                </a:cubicBezTo>
                <a:cubicBezTo>
                  <a:pt x="658939" y="594945"/>
                  <a:pt x="645743" y="594018"/>
                  <a:pt x="633021" y="591397"/>
                </a:cubicBezTo>
                <a:cubicBezTo>
                  <a:pt x="611233" y="586907"/>
                  <a:pt x="595034" y="572939"/>
                  <a:pt x="580696" y="556742"/>
                </a:cubicBezTo>
                <a:cubicBezTo>
                  <a:pt x="570081" y="544750"/>
                  <a:pt x="559052" y="533306"/>
                  <a:pt x="545415" y="524617"/>
                </a:cubicBezTo>
                <a:cubicBezTo>
                  <a:pt x="537261" y="519422"/>
                  <a:pt x="528551" y="515996"/>
                  <a:pt x="518889" y="516179"/>
                </a:cubicBezTo>
                <a:cubicBezTo>
                  <a:pt x="503357" y="516473"/>
                  <a:pt x="487839" y="517663"/>
                  <a:pt x="472309" y="517812"/>
                </a:cubicBezTo>
                <a:cubicBezTo>
                  <a:pt x="453527" y="517993"/>
                  <a:pt x="434738" y="517514"/>
                  <a:pt x="415953" y="517245"/>
                </a:cubicBezTo>
                <a:cubicBezTo>
                  <a:pt x="411976" y="517189"/>
                  <a:pt x="408003" y="516808"/>
                  <a:pt x="403392" y="516539"/>
                </a:cubicBezTo>
                <a:cubicBezTo>
                  <a:pt x="401207" y="526363"/>
                  <a:pt x="404857" y="534293"/>
                  <a:pt x="407957" y="542045"/>
                </a:cubicBezTo>
                <a:cubicBezTo>
                  <a:pt x="414092" y="557387"/>
                  <a:pt x="423168" y="571042"/>
                  <a:pt x="434134" y="583349"/>
                </a:cubicBezTo>
                <a:cubicBezTo>
                  <a:pt x="464083" y="616959"/>
                  <a:pt x="493980" y="650618"/>
                  <a:pt x="524267" y="683922"/>
                </a:cubicBezTo>
                <a:cubicBezTo>
                  <a:pt x="554818" y="717518"/>
                  <a:pt x="588291" y="748619"/>
                  <a:pt x="614317" y="786085"/>
                </a:cubicBezTo>
                <a:cubicBezTo>
                  <a:pt x="642656" y="826881"/>
                  <a:pt x="663974" y="871159"/>
                  <a:pt x="669590" y="921089"/>
                </a:cubicBezTo>
                <a:cubicBezTo>
                  <a:pt x="674894" y="968240"/>
                  <a:pt x="669774" y="1014226"/>
                  <a:pt x="647360" y="1057245"/>
                </a:cubicBezTo>
                <a:cubicBezTo>
                  <a:pt x="639830" y="1071697"/>
                  <a:pt x="630533" y="1085565"/>
                  <a:pt x="627872" y="1102111"/>
                </a:cubicBezTo>
                <a:cubicBezTo>
                  <a:pt x="623640" y="1128439"/>
                  <a:pt x="626183" y="1153784"/>
                  <a:pt x="642300" y="1175941"/>
                </a:cubicBezTo>
                <a:cubicBezTo>
                  <a:pt x="650201" y="1186801"/>
                  <a:pt x="659595" y="1196636"/>
                  <a:pt x="668829" y="1206449"/>
                </a:cubicBezTo>
                <a:cubicBezTo>
                  <a:pt x="679770" y="1218075"/>
                  <a:pt x="691267" y="1229177"/>
                  <a:pt x="703087" y="1241174"/>
                </a:cubicBezTo>
                <a:moveTo>
                  <a:pt x="648750" y="562343"/>
                </a:moveTo>
                <a:cubicBezTo>
                  <a:pt x="656729" y="562558"/>
                  <a:pt x="664698" y="567407"/>
                  <a:pt x="674049" y="562834"/>
                </a:cubicBezTo>
                <a:cubicBezTo>
                  <a:pt x="668990" y="558037"/>
                  <a:pt x="664729" y="554259"/>
                  <a:pt x="660781" y="550178"/>
                </a:cubicBezTo>
                <a:cubicBezTo>
                  <a:pt x="656713" y="545973"/>
                  <a:pt x="651493" y="542363"/>
                  <a:pt x="650911" y="534051"/>
                </a:cubicBezTo>
                <a:cubicBezTo>
                  <a:pt x="654940" y="535536"/>
                  <a:pt x="657753" y="536907"/>
                  <a:pt x="660724" y="537605"/>
                </a:cubicBezTo>
                <a:cubicBezTo>
                  <a:pt x="669824" y="539743"/>
                  <a:pt x="678915" y="542853"/>
                  <a:pt x="688133" y="543363"/>
                </a:cubicBezTo>
                <a:cubicBezTo>
                  <a:pt x="712019" y="544686"/>
                  <a:pt x="726964" y="534053"/>
                  <a:pt x="731514" y="510767"/>
                </a:cubicBezTo>
                <a:cubicBezTo>
                  <a:pt x="734296" y="496535"/>
                  <a:pt x="734146" y="481511"/>
                  <a:pt x="733611" y="466905"/>
                </a:cubicBezTo>
                <a:cubicBezTo>
                  <a:pt x="732951" y="448863"/>
                  <a:pt x="723348" y="435653"/>
                  <a:pt x="708076" y="425975"/>
                </a:cubicBezTo>
                <a:cubicBezTo>
                  <a:pt x="694258" y="417218"/>
                  <a:pt x="681056" y="407489"/>
                  <a:pt x="667538" y="398254"/>
                </a:cubicBezTo>
                <a:cubicBezTo>
                  <a:pt x="641278" y="380314"/>
                  <a:pt x="617580" y="359743"/>
                  <a:pt x="601016" y="332127"/>
                </a:cubicBezTo>
                <a:cubicBezTo>
                  <a:pt x="588810" y="311778"/>
                  <a:pt x="576093" y="291645"/>
                  <a:pt x="565354" y="270526"/>
                </a:cubicBezTo>
                <a:cubicBezTo>
                  <a:pt x="548401" y="237186"/>
                  <a:pt x="523821" y="212104"/>
                  <a:pt x="490657" y="195121"/>
                </a:cubicBezTo>
                <a:cubicBezTo>
                  <a:pt x="471346" y="185231"/>
                  <a:pt x="452394" y="174606"/>
                  <a:pt x="432834" y="165243"/>
                </a:cubicBezTo>
                <a:cubicBezTo>
                  <a:pt x="416725" y="157532"/>
                  <a:pt x="408325" y="145526"/>
                  <a:pt x="407594" y="127852"/>
                </a:cubicBezTo>
                <a:cubicBezTo>
                  <a:pt x="406783" y="108242"/>
                  <a:pt x="405935" y="88634"/>
                  <a:pt x="405020" y="69029"/>
                </a:cubicBezTo>
                <a:cubicBezTo>
                  <a:pt x="404882" y="66067"/>
                  <a:pt x="404287" y="63127"/>
                  <a:pt x="403638" y="58130"/>
                </a:cubicBezTo>
                <a:cubicBezTo>
                  <a:pt x="381792" y="82321"/>
                  <a:pt x="361650" y="104820"/>
                  <a:pt x="349776" y="133259"/>
                </a:cubicBezTo>
                <a:cubicBezTo>
                  <a:pt x="345032" y="144621"/>
                  <a:pt x="337822" y="153814"/>
                  <a:pt x="326975" y="159669"/>
                </a:cubicBezTo>
                <a:cubicBezTo>
                  <a:pt x="295461" y="176681"/>
                  <a:pt x="266610" y="197333"/>
                  <a:pt x="240374" y="221714"/>
                </a:cubicBezTo>
                <a:cubicBezTo>
                  <a:pt x="212881" y="247263"/>
                  <a:pt x="188313" y="275340"/>
                  <a:pt x="171637" y="309087"/>
                </a:cubicBezTo>
                <a:cubicBezTo>
                  <a:pt x="139180" y="374765"/>
                  <a:pt x="129692" y="444532"/>
                  <a:pt x="138048" y="516954"/>
                </a:cubicBezTo>
                <a:cubicBezTo>
                  <a:pt x="142936" y="559318"/>
                  <a:pt x="152518" y="600762"/>
                  <a:pt x="163889" y="641780"/>
                </a:cubicBezTo>
                <a:cubicBezTo>
                  <a:pt x="177329" y="690261"/>
                  <a:pt x="191989" y="738413"/>
                  <a:pt x="204800" y="787055"/>
                </a:cubicBezTo>
                <a:cubicBezTo>
                  <a:pt x="218820" y="840287"/>
                  <a:pt x="228587" y="894088"/>
                  <a:pt x="218549" y="949545"/>
                </a:cubicBezTo>
                <a:cubicBezTo>
                  <a:pt x="213279" y="978659"/>
                  <a:pt x="207130" y="1007359"/>
                  <a:pt x="191487" y="1033064"/>
                </a:cubicBezTo>
                <a:cubicBezTo>
                  <a:pt x="190499" y="1034686"/>
                  <a:pt x="190018" y="1036618"/>
                  <a:pt x="188729" y="1039835"/>
                </a:cubicBezTo>
                <a:cubicBezTo>
                  <a:pt x="200470" y="1040170"/>
                  <a:pt x="210952" y="1040298"/>
                  <a:pt x="221417" y="1040799"/>
                </a:cubicBezTo>
                <a:cubicBezTo>
                  <a:pt x="263912" y="1042835"/>
                  <a:pt x="306390" y="1046436"/>
                  <a:pt x="348895" y="1046759"/>
                </a:cubicBezTo>
                <a:cubicBezTo>
                  <a:pt x="414380" y="1047258"/>
                  <a:pt x="479896" y="1046092"/>
                  <a:pt x="545369" y="1044456"/>
                </a:cubicBezTo>
                <a:cubicBezTo>
                  <a:pt x="567764" y="1043897"/>
                  <a:pt x="590066" y="1039744"/>
                  <a:pt x="612424" y="1037365"/>
                </a:cubicBezTo>
                <a:cubicBezTo>
                  <a:pt x="617948" y="1036777"/>
                  <a:pt x="621342" y="1034139"/>
                  <a:pt x="623169" y="1028873"/>
                </a:cubicBezTo>
                <a:cubicBezTo>
                  <a:pt x="630975" y="1006370"/>
                  <a:pt x="637026" y="983472"/>
                  <a:pt x="638508" y="959599"/>
                </a:cubicBezTo>
                <a:cubicBezTo>
                  <a:pt x="641131" y="917363"/>
                  <a:pt x="628970" y="878727"/>
                  <a:pt x="609213" y="842075"/>
                </a:cubicBezTo>
                <a:cubicBezTo>
                  <a:pt x="587874" y="802491"/>
                  <a:pt x="559403" y="768169"/>
                  <a:pt x="529367" y="735065"/>
                </a:cubicBezTo>
                <a:cubicBezTo>
                  <a:pt x="487563" y="688992"/>
                  <a:pt x="445474" y="643176"/>
                  <a:pt x="403792" y="596993"/>
                </a:cubicBezTo>
                <a:cubicBezTo>
                  <a:pt x="380393" y="571066"/>
                  <a:pt x="360083" y="542922"/>
                  <a:pt x="344708" y="511366"/>
                </a:cubicBezTo>
                <a:cubicBezTo>
                  <a:pt x="324385" y="469655"/>
                  <a:pt x="317321" y="425966"/>
                  <a:pt x="324464" y="380084"/>
                </a:cubicBezTo>
                <a:cubicBezTo>
                  <a:pt x="324821" y="377789"/>
                  <a:pt x="326581" y="375713"/>
                  <a:pt x="327688" y="373535"/>
                </a:cubicBezTo>
                <a:cubicBezTo>
                  <a:pt x="328570" y="373570"/>
                  <a:pt x="329452" y="373606"/>
                  <a:pt x="330334" y="373641"/>
                </a:cubicBezTo>
                <a:cubicBezTo>
                  <a:pt x="331649" y="377308"/>
                  <a:pt x="333001" y="380963"/>
                  <a:pt x="334272" y="384645"/>
                </a:cubicBezTo>
                <a:cubicBezTo>
                  <a:pt x="342569" y="408660"/>
                  <a:pt x="351164" y="432573"/>
                  <a:pt x="365260" y="453955"/>
                </a:cubicBezTo>
                <a:cubicBezTo>
                  <a:pt x="375537" y="469544"/>
                  <a:pt x="388811" y="481767"/>
                  <a:pt x="408246" y="483592"/>
                </a:cubicBezTo>
                <a:cubicBezTo>
                  <a:pt x="426928" y="485346"/>
                  <a:pt x="445757" y="486037"/>
                  <a:pt x="464529" y="486187"/>
                </a:cubicBezTo>
                <a:cubicBezTo>
                  <a:pt x="480053" y="486311"/>
                  <a:pt x="495582" y="484792"/>
                  <a:pt x="511119" y="484308"/>
                </a:cubicBezTo>
                <a:cubicBezTo>
                  <a:pt x="532443" y="483644"/>
                  <a:pt x="551690" y="490014"/>
                  <a:pt x="567913" y="503736"/>
                </a:cubicBezTo>
                <a:cubicBezTo>
                  <a:pt x="581642" y="515348"/>
                  <a:pt x="594604" y="527888"/>
                  <a:pt x="607611" y="540326"/>
                </a:cubicBezTo>
                <a:cubicBezTo>
                  <a:pt x="618811" y="551038"/>
                  <a:pt x="631177" y="559300"/>
                  <a:pt x="648750" y="562343"/>
                </a:cubicBezTo>
                <a:moveTo>
                  <a:pt x="462594" y="1369008"/>
                </a:moveTo>
                <a:cubicBezTo>
                  <a:pt x="478517" y="1368137"/>
                  <a:pt x="494449" y="1367429"/>
                  <a:pt x="510357" y="1366345"/>
                </a:cubicBezTo>
                <a:cubicBezTo>
                  <a:pt x="523399" y="1365456"/>
                  <a:pt x="536424" y="1364247"/>
                  <a:pt x="549434" y="1362956"/>
                </a:cubicBezTo>
                <a:cubicBezTo>
                  <a:pt x="577089" y="1360213"/>
                  <a:pt x="604749" y="1357503"/>
                  <a:pt x="632369" y="1354439"/>
                </a:cubicBezTo>
                <a:cubicBezTo>
                  <a:pt x="653805" y="1352062"/>
                  <a:pt x="675183" y="1349170"/>
                  <a:pt x="697252" y="1346424"/>
                </a:cubicBezTo>
                <a:cubicBezTo>
                  <a:pt x="701148" y="1316348"/>
                  <a:pt x="695768" y="1289474"/>
                  <a:pt x="676674" y="1266396"/>
                </a:cubicBezTo>
                <a:cubicBezTo>
                  <a:pt x="667313" y="1255080"/>
                  <a:pt x="656878" y="1244625"/>
                  <a:pt x="646594" y="1234108"/>
                </a:cubicBezTo>
                <a:cubicBezTo>
                  <a:pt x="634298" y="1221533"/>
                  <a:pt x="621353" y="1209623"/>
                  <a:pt x="612063" y="1194382"/>
                </a:cubicBezTo>
                <a:cubicBezTo>
                  <a:pt x="596511" y="1168867"/>
                  <a:pt x="588079" y="1141707"/>
                  <a:pt x="591616" y="1111541"/>
                </a:cubicBezTo>
                <a:cubicBezTo>
                  <a:pt x="592450" y="1104432"/>
                  <a:pt x="593365" y="1097332"/>
                  <a:pt x="594320" y="1089609"/>
                </a:cubicBezTo>
                <a:cubicBezTo>
                  <a:pt x="588294" y="1089609"/>
                  <a:pt x="583452" y="1089392"/>
                  <a:pt x="578634" y="1089642"/>
                </a:cubicBezTo>
                <a:cubicBezTo>
                  <a:pt x="533732" y="1091976"/>
                  <a:pt x="488841" y="1094525"/>
                  <a:pt x="443931" y="1096700"/>
                </a:cubicBezTo>
                <a:cubicBezTo>
                  <a:pt x="430451" y="1097353"/>
                  <a:pt x="416923" y="1097005"/>
                  <a:pt x="403417" y="1097156"/>
                </a:cubicBezTo>
                <a:cubicBezTo>
                  <a:pt x="389337" y="1097313"/>
                  <a:pt x="388961" y="1097850"/>
                  <a:pt x="388348" y="1111502"/>
                </a:cubicBezTo>
                <a:cubicBezTo>
                  <a:pt x="387375" y="1133151"/>
                  <a:pt x="386231" y="1154793"/>
                  <a:pt x="385048" y="1176431"/>
                </a:cubicBezTo>
                <a:cubicBezTo>
                  <a:pt x="382637" y="1220514"/>
                  <a:pt x="380158" y="1264593"/>
                  <a:pt x="377687" y="1308672"/>
                </a:cubicBezTo>
                <a:cubicBezTo>
                  <a:pt x="377458" y="1312751"/>
                  <a:pt x="376852" y="1316821"/>
                  <a:pt x="376823" y="1320897"/>
                </a:cubicBezTo>
                <a:cubicBezTo>
                  <a:pt x="376717" y="1335880"/>
                  <a:pt x="376781" y="1350864"/>
                  <a:pt x="376781" y="1366151"/>
                </a:cubicBezTo>
                <a:cubicBezTo>
                  <a:pt x="404707" y="1370397"/>
                  <a:pt x="432477" y="1369351"/>
                  <a:pt x="462594" y="1369008"/>
                </a:cubicBezTo>
                <a:moveTo>
                  <a:pt x="648494" y="1463981"/>
                </a:moveTo>
                <a:cubicBezTo>
                  <a:pt x="671329" y="1460052"/>
                  <a:pt x="694163" y="1456122"/>
                  <a:pt x="718746" y="1451892"/>
                </a:cubicBezTo>
                <a:cubicBezTo>
                  <a:pt x="716257" y="1439067"/>
                  <a:pt x="714578" y="1427816"/>
                  <a:pt x="711827" y="1416835"/>
                </a:cubicBezTo>
                <a:cubicBezTo>
                  <a:pt x="707611" y="1400009"/>
                  <a:pt x="703502" y="1397423"/>
                  <a:pt x="685812" y="1398502"/>
                </a:cubicBezTo>
                <a:cubicBezTo>
                  <a:pt x="684179" y="1398602"/>
                  <a:pt x="682547" y="1398768"/>
                  <a:pt x="680924" y="1398973"/>
                </a:cubicBezTo>
                <a:cubicBezTo>
                  <a:pt x="653380" y="1402446"/>
                  <a:pt x="625911" y="1406752"/>
                  <a:pt x="598278" y="1409218"/>
                </a:cubicBezTo>
                <a:cubicBezTo>
                  <a:pt x="557171" y="1412886"/>
                  <a:pt x="515983" y="1415946"/>
                  <a:pt x="474765" y="1417945"/>
                </a:cubicBezTo>
                <a:cubicBezTo>
                  <a:pt x="444944" y="1419391"/>
                  <a:pt x="415021" y="1418680"/>
                  <a:pt x="385143" y="1418978"/>
                </a:cubicBezTo>
                <a:cubicBezTo>
                  <a:pt x="382419" y="1419005"/>
                  <a:pt x="379697" y="1419376"/>
                  <a:pt x="376639" y="1419613"/>
                </a:cubicBezTo>
                <a:cubicBezTo>
                  <a:pt x="376639" y="1438152"/>
                  <a:pt x="376639" y="1455909"/>
                  <a:pt x="376639" y="1473939"/>
                </a:cubicBezTo>
                <a:cubicBezTo>
                  <a:pt x="378971" y="1474343"/>
                  <a:pt x="380523" y="1474802"/>
                  <a:pt x="382089" y="1474854"/>
                </a:cubicBezTo>
                <a:cubicBezTo>
                  <a:pt x="404571" y="1475605"/>
                  <a:pt x="427058" y="1476986"/>
                  <a:pt x="449536" y="1476855"/>
                </a:cubicBezTo>
                <a:cubicBezTo>
                  <a:pt x="486344" y="1476639"/>
                  <a:pt x="523207" y="1476480"/>
                  <a:pt x="559930" y="1474307"/>
                </a:cubicBezTo>
                <a:cubicBezTo>
                  <a:pt x="588839" y="1472596"/>
                  <a:pt x="617570" y="1467884"/>
                  <a:pt x="648494" y="1463981"/>
                </a:cubicBez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" name="Free-form: Shape 32">
            <a:extLst>
              <a:ext uri="{FF2B5EF4-FFF2-40B4-BE49-F238E27FC236}">
                <a16:creationId xmlns:a16="http://schemas.microsoft.com/office/drawing/2014/main" id="{58F2EFD6-E58C-4A93-9500-45EB511CB5D6}"/>
              </a:ext>
            </a:extLst>
          </p:cNvPr>
          <p:cNvSpPr/>
          <p:nvPr/>
        </p:nvSpPr>
        <p:spPr>
          <a:xfrm>
            <a:off x="1539673" y="1646067"/>
            <a:ext cx="497702" cy="821885"/>
          </a:xfrm>
          <a:custGeom>
            <a:avLst/>
            <a:gdLst>
              <a:gd name="csX0" fmla="*/ 512604 w 598747"/>
              <a:gd name="csY0" fmla="*/ 503918 h 988745"/>
              <a:gd name="csX1" fmla="*/ 472435 w 598747"/>
              <a:gd name="csY1" fmla="*/ 482196 h 988745"/>
              <a:gd name="csX2" fmla="*/ 432737 w 598747"/>
              <a:gd name="csY2" fmla="*/ 445605 h 988745"/>
              <a:gd name="csX3" fmla="*/ 375943 w 598747"/>
              <a:gd name="csY3" fmla="*/ 426178 h 988745"/>
              <a:gd name="csX4" fmla="*/ 329354 w 598747"/>
              <a:gd name="csY4" fmla="*/ 428057 h 988745"/>
              <a:gd name="csX5" fmla="*/ 273070 w 598747"/>
              <a:gd name="csY5" fmla="*/ 425461 h 988745"/>
              <a:gd name="csX6" fmla="*/ 230084 w 598747"/>
              <a:gd name="csY6" fmla="*/ 395825 h 988745"/>
              <a:gd name="csX7" fmla="*/ 199097 w 598747"/>
              <a:gd name="csY7" fmla="*/ 326515 h 988745"/>
              <a:gd name="csX8" fmla="*/ 195158 w 598747"/>
              <a:gd name="csY8" fmla="*/ 315511 h 988745"/>
              <a:gd name="csX9" fmla="*/ 192512 w 598747"/>
              <a:gd name="csY9" fmla="*/ 315405 h 988745"/>
              <a:gd name="csX10" fmla="*/ 189288 w 598747"/>
              <a:gd name="csY10" fmla="*/ 321954 h 988745"/>
              <a:gd name="csX11" fmla="*/ 209532 w 598747"/>
              <a:gd name="csY11" fmla="*/ 453235 h 988745"/>
              <a:gd name="csX12" fmla="*/ 268616 w 598747"/>
              <a:gd name="csY12" fmla="*/ 538863 h 988745"/>
              <a:gd name="csX13" fmla="*/ 394191 w 598747"/>
              <a:gd name="csY13" fmla="*/ 676935 h 988745"/>
              <a:gd name="csX14" fmla="*/ 474037 w 598747"/>
              <a:gd name="csY14" fmla="*/ 783945 h 988745"/>
              <a:gd name="csX15" fmla="*/ 503332 w 598747"/>
              <a:gd name="csY15" fmla="*/ 901469 h 988745"/>
              <a:gd name="csX16" fmla="*/ 487993 w 598747"/>
              <a:gd name="csY16" fmla="*/ 970743 h 988745"/>
              <a:gd name="csX17" fmla="*/ 477248 w 598747"/>
              <a:gd name="csY17" fmla="*/ 979235 h 988745"/>
              <a:gd name="csX18" fmla="*/ 410194 w 598747"/>
              <a:gd name="csY18" fmla="*/ 986326 h 988745"/>
              <a:gd name="csX19" fmla="*/ 213720 w 598747"/>
              <a:gd name="csY19" fmla="*/ 988629 h 988745"/>
              <a:gd name="csX20" fmla="*/ 86242 w 598747"/>
              <a:gd name="csY20" fmla="*/ 982669 h 988745"/>
              <a:gd name="csX21" fmla="*/ 53553 w 598747"/>
              <a:gd name="csY21" fmla="*/ 981705 h 988745"/>
              <a:gd name="csX22" fmla="*/ 56311 w 598747"/>
              <a:gd name="csY22" fmla="*/ 974933 h 988745"/>
              <a:gd name="csX23" fmla="*/ 83373 w 598747"/>
              <a:gd name="csY23" fmla="*/ 891414 h 988745"/>
              <a:gd name="csX24" fmla="*/ 69625 w 598747"/>
              <a:gd name="csY24" fmla="*/ 728925 h 988745"/>
              <a:gd name="csX25" fmla="*/ 28713 w 598747"/>
              <a:gd name="csY25" fmla="*/ 583650 h 988745"/>
              <a:gd name="csX26" fmla="*/ 2872 w 598747"/>
              <a:gd name="csY26" fmla="*/ 458823 h 988745"/>
              <a:gd name="csX27" fmla="*/ 36461 w 598747"/>
              <a:gd name="csY27" fmla="*/ 250957 h 988745"/>
              <a:gd name="csX28" fmla="*/ 105198 w 598747"/>
              <a:gd name="csY28" fmla="*/ 163584 h 988745"/>
              <a:gd name="csX29" fmla="*/ 191800 w 598747"/>
              <a:gd name="csY29" fmla="*/ 101539 h 988745"/>
              <a:gd name="csX30" fmla="*/ 214600 w 598747"/>
              <a:gd name="csY30" fmla="*/ 75129 h 988745"/>
              <a:gd name="csX31" fmla="*/ 268462 w 598747"/>
              <a:gd name="csY31" fmla="*/ 0 h 988745"/>
              <a:gd name="csX32" fmla="*/ 269844 w 598747"/>
              <a:gd name="csY32" fmla="*/ 10898 h 988745"/>
              <a:gd name="csX33" fmla="*/ 272418 w 598747"/>
              <a:gd name="csY33" fmla="*/ 69722 h 988745"/>
              <a:gd name="csX34" fmla="*/ 297658 w 598747"/>
              <a:gd name="csY34" fmla="*/ 107113 h 988745"/>
              <a:gd name="csX35" fmla="*/ 355481 w 598747"/>
              <a:gd name="csY35" fmla="*/ 136991 h 988745"/>
              <a:gd name="csX36" fmla="*/ 430178 w 598747"/>
              <a:gd name="csY36" fmla="*/ 212396 h 988745"/>
              <a:gd name="csX37" fmla="*/ 465840 w 598747"/>
              <a:gd name="csY37" fmla="*/ 273997 h 988745"/>
              <a:gd name="csX38" fmla="*/ 532362 w 598747"/>
              <a:gd name="csY38" fmla="*/ 340124 h 988745"/>
              <a:gd name="csX39" fmla="*/ 572901 w 598747"/>
              <a:gd name="csY39" fmla="*/ 367845 h 988745"/>
              <a:gd name="csX40" fmla="*/ 598436 w 598747"/>
              <a:gd name="csY40" fmla="*/ 408775 h 988745"/>
              <a:gd name="csX41" fmla="*/ 596339 w 598747"/>
              <a:gd name="csY41" fmla="*/ 452637 h 988745"/>
              <a:gd name="csX42" fmla="*/ 552957 w 598747"/>
              <a:gd name="csY42" fmla="*/ 485233 h 988745"/>
              <a:gd name="csX43" fmla="*/ 525548 w 598747"/>
              <a:gd name="csY43" fmla="*/ 479475 h 988745"/>
              <a:gd name="csX44" fmla="*/ 515736 w 598747"/>
              <a:gd name="csY44" fmla="*/ 475921 h 988745"/>
              <a:gd name="csX45" fmla="*/ 525605 w 598747"/>
              <a:gd name="csY45" fmla="*/ 492048 h 988745"/>
              <a:gd name="csX46" fmla="*/ 538873 w 598747"/>
              <a:gd name="csY46" fmla="*/ 504704 h 988745"/>
              <a:gd name="csX47" fmla="*/ 512604 w 598747"/>
              <a:gd name="csY47" fmla="*/ 503918 h 988745"/>
              <a:gd name="csX48" fmla="*/ 332072 w 598747"/>
              <a:gd name="csY48" fmla="*/ 218143 h 988745"/>
              <a:gd name="csX49" fmla="*/ 334388 w 598747"/>
              <a:gd name="csY49" fmla="*/ 226400 h 988745"/>
              <a:gd name="csX50" fmla="*/ 372370 w 598747"/>
              <a:gd name="csY50" fmla="*/ 254505 h 988745"/>
              <a:gd name="csX51" fmla="*/ 405258 w 598747"/>
              <a:gd name="csY51" fmla="*/ 252089 h 988745"/>
              <a:gd name="csX52" fmla="*/ 409167 w 598747"/>
              <a:gd name="csY52" fmla="*/ 244359 h 988745"/>
              <a:gd name="csX53" fmla="*/ 396364 w 598747"/>
              <a:gd name="csY53" fmla="*/ 219471 h 988745"/>
              <a:gd name="csX54" fmla="*/ 365755 w 598747"/>
              <a:gd name="csY54" fmla="*/ 195821 h 988745"/>
              <a:gd name="csX55" fmla="*/ 333572 w 598747"/>
              <a:gd name="csY55" fmla="*/ 188536 h 988745"/>
              <a:gd name="csX56" fmla="*/ 322931 w 598747"/>
              <a:gd name="csY56" fmla="*/ 190843 h 988745"/>
              <a:gd name="csX57" fmla="*/ 329041 w 598747"/>
              <a:gd name="csY57" fmla="*/ 203001 h 988745"/>
              <a:gd name="csX58" fmla="*/ 332072 w 598747"/>
              <a:gd name="csY58" fmla="*/ 218143 h 98874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</a:cxnLst>
            <a:rect l="l" t="t" r="r" b="b"/>
            <a:pathLst>
              <a:path w="598747" h="988745">
                <a:moveTo>
                  <a:pt x="512604" y="503918"/>
                </a:moveTo>
                <a:cubicBezTo>
                  <a:pt x="496002" y="501170"/>
                  <a:pt x="483635" y="492907"/>
                  <a:pt x="472435" y="482196"/>
                </a:cubicBezTo>
                <a:cubicBezTo>
                  <a:pt x="459429" y="469758"/>
                  <a:pt x="446467" y="457218"/>
                  <a:pt x="432737" y="445605"/>
                </a:cubicBezTo>
                <a:cubicBezTo>
                  <a:pt x="416514" y="431883"/>
                  <a:pt x="397267" y="425513"/>
                  <a:pt x="375943" y="426178"/>
                </a:cubicBezTo>
                <a:cubicBezTo>
                  <a:pt x="360407" y="426662"/>
                  <a:pt x="344877" y="428180"/>
                  <a:pt x="329354" y="428057"/>
                </a:cubicBezTo>
                <a:cubicBezTo>
                  <a:pt x="310581" y="427907"/>
                  <a:pt x="291752" y="427215"/>
                  <a:pt x="273070" y="425461"/>
                </a:cubicBezTo>
                <a:cubicBezTo>
                  <a:pt x="253636" y="423637"/>
                  <a:pt x="240361" y="411413"/>
                  <a:pt x="230084" y="395825"/>
                </a:cubicBezTo>
                <a:cubicBezTo>
                  <a:pt x="215988" y="374443"/>
                  <a:pt x="207393" y="350530"/>
                  <a:pt x="199097" y="326515"/>
                </a:cubicBezTo>
                <a:cubicBezTo>
                  <a:pt x="197825" y="322833"/>
                  <a:pt x="196473" y="319178"/>
                  <a:pt x="195158" y="315511"/>
                </a:cubicBezTo>
                <a:cubicBezTo>
                  <a:pt x="194276" y="315475"/>
                  <a:pt x="193394" y="315440"/>
                  <a:pt x="192512" y="315405"/>
                </a:cubicBezTo>
                <a:cubicBezTo>
                  <a:pt x="191405" y="317583"/>
                  <a:pt x="189646" y="319659"/>
                  <a:pt x="189288" y="321954"/>
                </a:cubicBezTo>
                <a:cubicBezTo>
                  <a:pt x="182145" y="367836"/>
                  <a:pt x="189209" y="411525"/>
                  <a:pt x="209532" y="453235"/>
                </a:cubicBezTo>
                <a:cubicBezTo>
                  <a:pt x="224908" y="484792"/>
                  <a:pt x="245217" y="512936"/>
                  <a:pt x="268616" y="538863"/>
                </a:cubicBezTo>
                <a:cubicBezTo>
                  <a:pt x="310298" y="585046"/>
                  <a:pt x="352387" y="630861"/>
                  <a:pt x="394191" y="676935"/>
                </a:cubicBezTo>
                <a:cubicBezTo>
                  <a:pt x="424227" y="710039"/>
                  <a:pt x="452698" y="744360"/>
                  <a:pt x="474037" y="783945"/>
                </a:cubicBezTo>
                <a:cubicBezTo>
                  <a:pt x="493795" y="820596"/>
                  <a:pt x="505956" y="859233"/>
                  <a:pt x="503332" y="901469"/>
                </a:cubicBezTo>
                <a:cubicBezTo>
                  <a:pt x="501850" y="925342"/>
                  <a:pt x="495799" y="948239"/>
                  <a:pt x="487993" y="970743"/>
                </a:cubicBezTo>
                <a:cubicBezTo>
                  <a:pt x="486166" y="976009"/>
                  <a:pt x="482772" y="978647"/>
                  <a:pt x="477248" y="979235"/>
                </a:cubicBezTo>
                <a:cubicBezTo>
                  <a:pt x="454890" y="981614"/>
                  <a:pt x="432589" y="985767"/>
                  <a:pt x="410194" y="986326"/>
                </a:cubicBezTo>
                <a:cubicBezTo>
                  <a:pt x="344720" y="987961"/>
                  <a:pt x="279205" y="989128"/>
                  <a:pt x="213720" y="988629"/>
                </a:cubicBezTo>
                <a:cubicBezTo>
                  <a:pt x="171215" y="988306"/>
                  <a:pt x="128736" y="984705"/>
                  <a:pt x="86242" y="982669"/>
                </a:cubicBezTo>
                <a:cubicBezTo>
                  <a:pt x="75776" y="982167"/>
                  <a:pt x="65294" y="982040"/>
                  <a:pt x="53553" y="981705"/>
                </a:cubicBezTo>
                <a:cubicBezTo>
                  <a:pt x="54842" y="978488"/>
                  <a:pt x="55323" y="976556"/>
                  <a:pt x="56311" y="974933"/>
                </a:cubicBezTo>
                <a:cubicBezTo>
                  <a:pt x="71955" y="949229"/>
                  <a:pt x="78103" y="920529"/>
                  <a:pt x="83373" y="891414"/>
                </a:cubicBezTo>
                <a:cubicBezTo>
                  <a:pt x="93411" y="835958"/>
                  <a:pt x="83645" y="782156"/>
                  <a:pt x="69625" y="728925"/>
                </a:cubicBezTo>
                <a:cubicBezTo>
                  <a:pt x="56813" y="680283"/>
                  <a:pt x="42153" y="632130"/>
                  <a:pt x="28713" y="583650"/>
                </a:cubicBezTo>
                <a:cubicBezTo>
                  <a:pt x="17342" y="542631"/>
                  <a:pt x="7760" y="501188"/>
                  <a:pt x="2872" y="458823"/>
                </a:cubicBezTo>
                <a:cubicBezTo>
                  <a:pt x="-5484" y="386401"/>
                  <a:pt x="4005" y="316635"/>
                  <a:pt x="36461" y="250957"/>
                </a:cubicBezTo>
                <a:cubicBezTo>
                  <a:pt x="53137" y="217210"/>
                  <a:pt x="77705" y="189133"/>
                  <a:pt x="105198" y="163584"/>
                </a:cubicBezTo>
                <a:cubicBezTo>
                  <a:pt x="131434" y="139203"/>
                  <a:pt x="160285" y="118551"/>
                  <a:pt x="191800" y="101539"/>
                </a:cubicBezTo>
                <a:cubicBezTo>
                  <a:pt x="202646" y="95684"/>
                  <a:pt x="209856" y="86491"/>
                  <a:pt x="214600" y="75129"/>
                </a:cubicBezTo>
                <a:cubicBezTo>
                  <a:pt x="226474" y="46689"/>
                  <a:pt x="246616" y="24191"/>
                  <a:pt x="268462" y="0"/>
                </a:cubicBezTo>
                <a:cubicBezTo>
                  <a:pt x="269111" y="4997"/>
                  <a:pt x="269706" y="7937"/>
                  <a:pt x="269844" y="10898"/>
                </a:cubicBezTo>
                <a:cubicBezTo>
                  <a:pt x="270760" y="30504"/>
                  <a:pt x="271607" y="50112"/>
                  <a:pt x="272418" y="69722"/>
                </a:cubicBezTo>
                <a:cubicBezTo>
                  <a:pt x="273150" y="87396"/>
                  <a:pt x="281549" y="99401"/>
                  <a:pt x="297658" y="107113"/>
                </a:cubicBezTo>
                <a:cubicBezTo>
                  <a:pt x="317218" y="116476"/>
                  <a:pt x="336170" y="127101"/>
                  <a:pt x="355481" y="136991"/>
                </a:cubicBezTo>
                <a:cubicBezTo>
                  <a:pt x="388645" y="153974"/>
                  <a:pt x="413226" y="179056"/>
                  <a:pt x="430178" y="212396"/>
                </a:cubicBezTo>
                <a:cubicBezTo>
                  <a:pt x="440917" y="233515"/>
                  <a:pt x="453634" y="253647"/>
                  <a:pt x="465840" y="273997"/>
                </a:cubicBezTo>
                <a:cubicBezTo>
                  <a:pt x="482404" y="301613"/>
                  <a:pt x="506102" y="322183"/>
                  <a:pt x="532362" y="340124"/>
                </a:cubicBezTo>
                <a:cubicBezTo>
                  <a:pt x="545881" y="349359"/>
                  <a:pt x="559082" y="359088"/>
                  <a:pt x="572901" y="367845"/>
                </a:cubicBezTo>
                <a:cubicBezTo>
                  <a:pt x="588172" y="377523"/>
                  <a:pt x="597775" y="390733"/>
                  <a:pt x="598436" y="408775"/>
                </a:cubicBezTo>
                <a:cubicBezTo>
                  <a:pt x="598970" y="423381"/>
                  <a:pt x="599120" y="438404"/>
                  <a:pt x="596339" y="452637"/>
                </a:cubicBezTo>
                <a:cubicBezTo>
                  <a:pt x="591789" y="475923"/>
                  <a:pt x="576843" y="486555"/>
                  <a:pt x="552957" y="485233"/>
                </a:cubicBezTo>
                <a:cubicBezTo>
                  <a:pt x="543740" y="484722"/>
                  <a:pt x="534648" y="481613"/>
                  <a:pt x="525548" y="479475"/>
                </a:cubicBezTo>
                <a:cubicBezTo>
                  <a:pt x="522577" y="478776"/>
                  <a:pt x="519764" y="477405"/>
                  <a:pt x="515736" y="475921"/>
                </a:cubicBezTo>
                <a:cubicBezTo>
                  <a:pt x="516318" y="484233"/>
                  <a:pt x="521537" y="487842"/>
                  <a:pt x="525605" y="492048"/>
                </a:cubicBezTo>
                <a:cubicBezTo>
                  <a:pt x="529554" y="496129"/>
                  <a:pt x="533815" y="499907"/>
                  <a:pt x="538873" y="504704"/>
                </a:cubicBezTo>
                <a:cubicBezTo>
                  <a:pt x="529522" y="509277"/>
                  <a:pt x="521553" y="504428"/>
                  <a:pt x="512604" y="503918"/>
                </a:cubicBezTo>
                <a:moveTo>
                  <a:pt x="332072" y="218143"/>
                </a:moveTo>
                <a:cubicBezTo>
                  <a:pt x="332837" y="220898"/>
                  <a:pt x="333478" y="223695"/>
                  <a:pt x="334388" y="226400"/>
                </a:cubicBezTo>
                <a:cubicBezTo>
                  <a:pt x="341073" y="246268"/>
                  <a:pt x="351614" y="254460"/>
                  <a:pt x="372370" y="254505"/>
                </a:cubicBezTo>
                <a:cubicBezTo>
                  <a:pt x="383333" y="254529"/>
                  <a:pt x="394312" y="253121"/>
                  <a:pt x="405258" y="252089"/>
                </a:cubicBezTo>
                <a:cubicBezTo>
                  <a:pt x="409961" y="251646"/>
                  <a:pt x="411340" y="248568"/>
                  <a:pt x="409167" y="244359"/>
                </a:cubicBezTo>
                <a:cubicBezTo>
                  <a:pt x="404885" y="236068"/>
                  <a:pt x="400139" y="227985"/>
                  <a:pt x="396364" y="219471"/>
                </a:cubicBezTo>
                <a:cubicBezTo>
                  <a:pt x="390350" y="205908"/>
                  <a:pt x="379963" y="198663"/>
                  <a:pt x="365755" y="195821"/>
                </a:cubicBezTo>
                <a:cubicBezTo>
                  <a:pt x="354973" y="193665"/>
                  <a:pt x="344291" y="191003"/>
                  <a:pt x="333572" y="188536"/>
                </a:cubicBezTo>
                <a:cubicBezTo>
                  <a:pt x="329511" y="187602"/>
                  <a:pt x="325579" y="187007"/>
                  <a:pt x="322931" y="190843"/>
                </a:cubicBezTo>
                <a:cubicBezTo>
                  <a:pt x="325138" y="195129"/>
                  <a:pt x="327613" y="198884"/>
                  <a:pt x="329041" y="203001"/>
                </a:cubicBezTo>
                <a:cubicBezTo>
                  <a:pt x="330500" y="207204"/>
                  <a:pt x="330929" y="211764"/>
                  <a:pt x="332072" y="218143"/>
                </a:cubicBezTo>
                <a:close/>
              </a:path>
            </a:pathLst>
          </a:custGeom>
          <a:solidFill>
            <a:srgbClr val="FEFEFE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7" name="Free-form: Shape 36">
            <a:extLst>
              <a:ext uri="{FF2B5EF4-FFF2-40B4-BE49-F238E27FC236}">
                <a16:creationId xmlns:a16="http://schemas.microsoft.com/office/drawing/2014/main" id="{D973BF08-1B1F-8CFB-25B8-9410BBA399BE}"/>
              </a:ext>
            </a:extLst>
          </p:cNvPr>
          <p:cNvSpPr/>
          <p:nvPr/>
        </p:nvSpPr>
        <p:spPr>
          <a:xfrm>
            <a:off x="1740490" y="2503402"/>
            <a:ext cx="267393" cy="232628"/>
          </a:xfrm>
          <a:custGeom>
            <a:avLst/>
            <a:gdLst>
              <a:gd name="csX0" fmla="*/ 84645 w 321679"/>
              <a:gd name="csY0" fmla="*/ 279507 h 279857"/>
              <a:gd name="csX1" fmla="*/ 19 w 321679"/>
              <a:gd name="csY1" fmla="*/ 276629 h 279857"/>
              <a:gd name="csX2" fmla="*/ 61 w 321679"/>
              <a:gd name="csY2" fmla="*/ 231376 h 279857"/>
              <a:gd name="csX3" fmla="*/ 925 w 321679"/>
              <a:gd name="csY3" fmla="*/ 219150 h 279857"/>
              <a:gd name="csX4" fmla="*/ 8286 w 321679"/>
              <a:gd name="csY4" fmla="*/ 86910 h 279857"/>
              <a:gd name="csX5" fmla="*/ 11586 w 321679"/>
              <a:gd name="csY5" fmla="*/ 21981 h 279857"/>
              <a:gd name="csX6" fmla="*/ 26655 w 321679"/>
              <a:gd name="csY6" fmla="*/ 7635 h 279857"/>
              <a:gd name="csX7" fmla="*/ 67169 w 321679"/>
              <a:gd name="csY7" fmla="*/ 7178 h 279857"/>
              <a:gd name="csX8" fmla="*/ 201872 w 321679"/>
              <a:gd name="csY8" fmla="*/ 121 h 279857"/>
              <a:gd name="csX9" fmla="*/ 217558 w 321679"/>
              <a:gd name="csY9" fmla="*/ 87 h 279857"/>
              <a:gd name="csX10" fmla="*/ 214854 w 321679"/>
              <a:gd name="csY10" fmla="*/ 22019 h 279857"/>
              <a:gd name="csX11" fmla="*/ 235301 w 321679"/>
              <a:gd name="csY11" fmla="*/ 104861 h 279857"/>
              <a:gd name="csX12" fmla="*/ 269832 w 321679"/>
              <a:gd name="csY12" fmla="*/ 144587 h 279857"/>
              <a:gd name="csX13" fmla="*/ 299912 w 321679"/>
              <a:gd name="csY13" fmla="*/ 176874 h 279857"/>
              <a:gd name="csX14" fmla="*/ 320491 w 321679"/>
              <a:gd name="csY14" fmla="*/ 256903 h 279857"/>
              <a:gd name="csX15" fmla="*/ 255607 w 321679"/>
              <a:gd name="csY15" fmla="*/ 264918 h 279857"/>
              <a:gd name="csX16" fmla="*/ 172672 w 321679"/>
              <a:gd name="csY16" fmla="*/ 273435 h 279857"/>
              <a:gd name="csX17" fmla="*/ 133595 w 321679"/>
              <a:gd name="csY17" fmla="*/ 276823 h 279857"/>
              <a:gd name="csX18" fmla="*/ 84645 w 321679"/>
              <a:gd name="csY18" fmla="*/ 279507 h 27985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</a:cxnLst>
            <a:rect l="l" t="t" r="r" b="b"/>
            <a:pathLst>
              <a:path w="321679" h="279857">
                <a:moveTo>
                  <a:pt x="84645" y="279507"/>
                </a:moveTo>
                <a:cubicBezTo>
                  <a:pt x="55716" y="279830"/>
                  <a:pt x="27945" y="280875"/>
                  <a:pt x="19" y="276629"/>
                </a:cubicBezTo>
                <a:cubicBezTo>
                  <a:pt x="19" y="261343"/>
                  <a:pt x="-45" y="246359"/>
                  <a:pt x="61" y="231376"/>
                </a:cubicBezTo>
                <a:cubicBezTo>
                  <a:pt x="90" y="227299"/>
                  <a:pt x="696" y="223229"/>
                  <a:pt x="925" y="219150"/>
                </a:cubicBezTo>
                <a:cubicBezTo>
                  <a:pt x="3396" y="175071"/>
                  <a:pt x="5876" y="130992"/>
                  <a:pt x="8286" y="86910"/>
                </a:cubicBezTo>
                <a:cubicBezTo>
                  <a:pt x="9469" y="65271"/>
                  <a:pt x="10613" y="43630"/>
                  <a:pt x="11586" y="21981"/>
                </a:cubicBezTo>
                <a:cubicBezTo>
                  <a:pt x="12199" y="8328"/>
                  <a:pt x="12576" y="7792"/>
                  <a:pt x="26655" y="7635"/>
                </a:cubicBezTo>
                <a:cubicBezTo>
                  <a:pt x="40161" y="7484"/>
                  <a:pt x="53689" y="7831"/>
                  <a:pt x="67169" y="7178"/>
                </a:cubicBezTo>
                <a:cubicBezTo>
                  <a:pt x="112079" y="5004"/>
                  <a:pt x="156970" y="2455"/>
                  <a:pt x="201872" y="121"/>
                </a:cubicBezTo>
                <a:cubicBezTo>
                  <a:pt x="206690" y="-130"/>
                  <a:pt x="211533" y="87"/>
                  <a:pt x="217558" y="87"/>
                </a:cubicBezTo>
                <a:cubicBezTo>
                  <a:pt x="216603" y="7811"/>
                  <a:pt x="215688" y="14910"/>
                  <a:pt x="214854" y="22019"/>
                </a:cubicBezTo>
                <a:cubicBezTo>
                  <a:pt x="211318" y="52185"/>
                  <a:pt x="219749" y="79345"/>
                  <a:pt x="235301" y="104861"/>
                </a:cubicBezTo>
                <a:cubicBezTo>
                  <a:pt x="244591" y="120102"/>
                  <a:pt x="257536" y="132012"/>
                  <a:pt x="269832" y="144587"/>
                </a:cubicBezTo>
                <a:cubicBezTo>
                  <a:pt x="280116" y="155103"/>
                  <a:pt x="290551" y="165559"/>
                  <a:pt x="299912" y="176874"/>
                </a:cubicBezTo>
                <a:cubicBezTo>
                  <a:pt x="319006" y="199953"/>
                  <a:pt x="324386" y="226827"/>
                  <a:pt x="320491" y="256903"/>
                </a:cubicBezTo>
                <a:cubicBezTo>
                  <a:pt x="298421" y="259649"/>
                  <a:pt x="277043" y="262541"/>
                  <a:pt x="255607" y="264918"/>
                </a:cubicBezTo>
                <a:cubicBezTo>
                  <a:pt x="227987" y="267981"/>
                  <a:pt x="200327" y="270692"/>
                  <a:pt x="172672" y="273435"/>
                </a:cubicBezTo>
                <a:cubicBezTo>
                  <a:pt x="159662" y="274725"/>
                  <a:pt x="146637" y="275935"/>
                  <a:pt x="133595" y="276823"/>
                </a:cubicBezTo>
                <a:cubicBezTo>
                  <a:pt x="117688" y="277907"/>
                  <a:pt x="101755" y="278616"/>
                  <a:pt x="84645" y="279507"/>
                </a:cubicBezTo>
                <a:close/>
              </a:path>
            </a:pathLst>
          </a:custGeom>
          <a:solidFill>
            <a:srgbClr val="FDFEFE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8" name="Free-form: Shape 37">
            <a:extLst>
              <a:ext uri="{FF2B5EF4-FFF2-40B4-BE49-F238E27FC236}">
                <a16:creationId xmlns:a16="http://schemas.microsoft.com/office/drawing/2014/main" id="{BB2DE6CC-FBCE-7212-7F58-419412506513}"/>
              </a:ext>
            </a:extLst>
          </p:cNvPr>
          <p:cNvSpPr/>
          <p:nvPr/>
        </p:nvSpPr>
        <p:spPr>
          <a:xfrm>
            <a:off x="1740387" y="2760063"/>
            <a:ext cx="284373" cy="65313"/>
          </a:xfrm>
          <a:custGeom>
            <a:avLst/>
            <a:gdLst>
              <a:gd name="csX0" fmla="*/ 270798 w 342106"/>
              <a:gd name="csY0" fmla="*/ 65953 h 78573"/>
              <a:gd name="csX1" fmla="*/ 183290 w 342106"/>
              <a:gd name="csY1" fmla="*/ 76017 h 78573"/>
              <a:gd name="csX2" fmla="*/ 72897 w 342106"/>
              <a:gd name="csY2" fmla="*/ 78565 h 78573"/>
              <a:gd name="csX3" fmla="*/ 5450 w 342106"/>
              <a:gd name="csY3" fmla="*/ 76564 h 78573"/>
              <a:gd name="csX4" fmla="*/ 0 w 342106"/>
              <a:gd name="csY4" fmla="*/ 75649 h 78573"/>
              <a:gd name="csX5" fmla="*/ 0 w 342106"/>
              <a:gd name="csY5" fmla="*/ 21324 h 78573"/>
              <a:gd name="csX6" fmla="*/ 8504 w 342106"/>
              <a:gd name="csY6" fmla="*/ 20688 h 78573"/>
              <a:gd name="csX7" fmla="*/ 98126 w 342106"/>
              <a:gd name="csY7" fmla="*/ 19655 h 78573"/>
              <a:gd name="csX8" fmla="*/ 221639 w 342106"/>
              <a:gd name="csY8" fmla="*/ 10929 h 78573"/>
              <a:gd name="csX9" fmla="*/ 304285 w 342106"/>
              <a:gd name="csY9" fmla="*/ 683 h 78573"/>
              <a:gd name="csX10" fmla="*/ 309173 w 342106"/>
              <a:gd name="csY10" fmla="*/ 212 h 78573"/>
              <a:gd name="csX11" fmla="*/ 335187 w 342106"/>
              <a:gd name="csY11" fmla="*/ 18545 h 78573"/>
              <a:gd name="csX12" fmla="*/ 342106 w 342106"/>
              <a:gd name="csY12" fmla="*/ 53602 h 78573"/>
              <a:gd name="csX13" fmla="*/ 270798 w 342106"/>
              <a:gd name="csY13" fmla="*/ 65953 h 7857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</a:cxnLst>
            <a:rect l="l" t="t" r="r" b="b"/>
            <a:pathLst>
              <a:path w="342106" h="78573">
                <a:moveTo>
                  <a:pt x="270798" y="65953"/>
                </a:moveTo>
                <a:cubicBezTo>
                  <a:pt x="240931" y="69594"/>
                  <a:pt x="212199" y="74306"/>
                  <a:pt x="183290" y="76017"/>
                </a:cubicBezTo>
                <a:cubicBezTo>
                  <a:pt x="146568" y="78191"/>
                  <a:pt x="109704" y="78349"/>
                  <a:pt x="72897" y="78565"/>
                </a:cubicBezTo>
                <a:cubicBezTo>
                  <a:pt x="50419" y="78697"/>
                  <a:pt x="27931" y="77315"/>
                  <a:pt x="5450" y="76564"/>
                </a:cubicBezTo>
                <a:cubicBezTo>
                  <a:pt x="3884" y="76512"/>
                  <a:pt x="2332" y="76053"/>
                  <a:pt x="0" y="75649"/>
                </a:cubicBezTo>
                <a:cubicBezTo>
                  <a:pt x="0" y="57619"/>
                  <a:pt x="0" y="39863"/>
                  <a:pt x="0" y="21324"/>
                </a:cubicBezTo>
                <a:cubicBezTo>
                  <a:pt x="3058" y="21086"/>
                  <a:pt x="5779" y="20715"/>
                  <a:pt x="8504" y="20688"/>
                </a:cubicBezTo>
                <a:cubicBezTo>
                  <a:pt x="38382" y="20390"/>
                  <a:pt x="68305" y="21101"/>
                  <a:pt x="98126" y="19655"/>
                </a:cubicBezTo>
                <a:cubicBezTo>
                  <a:pt x="139343" y="17657"/>
                  <a:pt x="180532" y="14597"/>
                  <a:pt x="221639" y="10929"/>
                </a:cubicBezTo>
                <a:cubicBezTo>
                  <a:pt x="249272" y="8463"/>
                  <a:pt x="276741" y="4156"/>
                  <a:pt x="304285" y="683"/>
                </a:cubicBezTo>
                <a:cubicBezTo>
                  <a:pt x="305908" y="478"/>
                  <a:pt x="307539" y="312"/>
                  <a:pt x="309173" y="212"/>
                </a:cubicBezTo>
                <a:cubicBezTo>
                  <a:pt x="326863" y="-867"/>
                  <a:pt x="330972" y="1719"/>
                  <a:pt x="335187" y="18545"/>
                </a:cubicBezTo>
                <a:cubicBezTo>
                  <a:pt x="337939" y="29526"/>
                  <a:pt x="339618" y="40777"/>
                  <a:pt x="342106" y="53602"/>
                </a:cubicBezTo>
                <a:cubicBezTo>
                  <a:pt x="317523" y="57833"/>
                  <a:pt x="294689" y="61762"/>
                  <a:pt x="270798" y="65953"/>
                </a:cubicBezTo>
                <a:close/>
              </a:path>
            </a:pathLst>
          </a:custGeom>
          <a:solidFill>
            <a:srgbClr val="FCFCFC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9" name="Free-form: Shape 38">
            <a:extLst>
              <a:ext uri="{FF2B5EF4-FFF2-40B4-BE49-F238E27FC236}">
                <a16:creationId xmlns:a16="http://schemas.microsoft.com/office/drawing/2014/main" id="{11DC6605-A8FE-2A38-CBC8-578A95FE06BC}"/>
              </a:ext>
            </a:extLst>
          </p:cNvPr>
          <p:cNvSpPr/>
          <p:nvPr/>
        </p:nvSpPr>
        <p:spPr>
          <a:xfrm>
            <a:off x="1808106" y="1802207"/>
            <a:ext cx="72517" cy="55415"/>
          </a:xfrm>
          <a:custGeom>
            <a:avLst/>
            <a:gdLst>
              <a:gd name="csX0" fmla="*/ 9010 w 87239"/>
              <a:gd name="csY0" fmla="*/ 29316 h 66665"/>
              <a:gd name="csX1" fmla="*/ 6110 w 87239"/>
              <a:gd name="csY1" fmla="*/ 15162 h 66665"/>
              <a:gd name="csX2" fmla="*/ 0 w 87239"/>
              <a:gd name="csY2" fmla="*/ 3003 h 66665"/>
              <a:gd name="csX3" fmla="*/ 10641 w 87239"/>
              <a:gd name="csY3" fmla="*/ 697 h 66665"/>
              <a:gd name="csX4" fmla="*/ 42824 w 87239"/>
              <a:gd name="csY4" fmla="*/ 7981 h 66665"/>
              <a:gd name="csX5" fmla="*/ 73433 w 87239"/>
              <a:gd name="csY5" fmla="*/ 31631 h 66665"/>
              <a:gd name="csX6" fmla="*/ 86236 w 87239"/>
              <a:gd name="csY6" fmla="*/ 56519 h 66665"/>
              <a:gd name="csX7" fmla="*/ 82327 w 87239"/>
              <a:gd name="csY7" fmla="*/ 64249 h 66665"/>
              <a:gd name="csX8" fmla="*/ 49439 w 87239"/>
              <a:gd name="csY8" fmla="*/ 66665 h 66665"/>
              <a:gd name="csX9" fmla="*/ 11457 w 87239"/>
              <a:gd name="csY9" fmla="*/ 38560 h 66665"/>
              <a:gd name="csX10" fmla="*/ 9010 w 87239"/>
              <a:gd name="csY10" fmla="*/ 29316 h 6666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</a:cxnLst>
            <a:rect l="l" t="t" r="r" b="b"/>
            <a:pathLst>
              <a:path w="87239" h="66665">
                <a:moveTo>
                  <a:pt x="9010" y="29316"/>
                </a:moveTo>
                <a:cubicBezTo>
                  <a:pt x="7998" y="23924"/>
                  <a:pt x="7568" y="19365"/>
                  <a:pt x="6110" y="15162"/>
                </a:cubicBezTo>
                <a:cubicBezTo>
                  <a:pt x="4682" y="11044"/>
                  <a:pt x="2207" y="7289"/>
                  <a:pt x="0" y="3003"/>
                </a:cubicBezTo>
                <a:cubicBezTo>
                  <a:pt x="2648" y="-833"/>
                  <a:pt x="6580" y="-238"/>
                  <a:pt x="10641" y="697"/>
                </a:cubicBezTo>
                <a:cubicBezTo>
                  <a:pt x="21360" y="3163"/>
                  <a:pt x="32042" y="5825"/>
                  <a:pt x="42824" y="7981"/>
                </a:cubicBezTo>
                <a:cubicBezTo>
                  <a:pt x="57032" y="10823"/>
                  <a:pt x="67419" y="18068"/>
                  <a:pt x="73433" y="31631"/>
                </a:cubicBezTo>
                <a:cubicBezTo>
                  <a:pt x="77208" y="40146"/>
                  <a:pt x="81954" y="48228"/>
                  <a:pt x="86236" y="56519"/>
                </a:cubicBezTo>
                <a:cubicBezTo>
                  <a:pt x="88409" y="60728"/>
                  <a:pt x="87030" y="63806"/>
                  <a:pt x="82327" y="64249"/>
                </a:cubicBezTo>
                <a:cubicBezTo>
                  <a:pt x="71381" y="65282"/>
                  <a:pt x="60402" y="66689"/>
                  <a:pt x="49439" y="66665"/>
                </a:cubicBezTo>
                <a:cubicBezTo>
                  <a:pt x="28683" y="66620"/>
                  <a:pt x="18142" y="58428"/>
                  <a:pt x="11457" y="38560"/>
                </a:cubicBezTo>
                <a:cubicBezTo>
                  <a:pt x="10547" y="35855"/>
                  <a:pt x="9906" y="33058"/>
                  <a:pt x="9010" y="29316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EA41A936-807A-3D97-48EE-CF1898DFF44C}"/>
              </a:ext>
            </a:extLst>
          </p:cNvPr>
          <p:cNvCxnSpPr>
            <a:cxnSpLocks/>
          </p:cNvCxnSpPr>
          <p:nvPr/>
        </p:nvCxnSpPr>
        <p:spPr>
          <a:xfrm>
            <a:off x="563860" y="1410742"/>
            <a:ext cx="0" cy="2351636"/>
          </a:xfrm>
          <a:prstGeom prst="line">
            <a:avLst/>
          </a:prstGeom>
          <a:ln w="2857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7DB0A401-5BC1-3699-A65B-0F505542B42C}"/>
              </a:ext>
            </a:extLst>
          </p:cNvPr>
          <p:cNvCxnSpPr>
            <a:cxnSpLocks/>
          </p:cNvCxnSpPr>
          <p:nvPr/>
        </p:nvCxnSpPr>
        <p:spPr>
          <a:xfrm>
            <a:off x="-11643613" y="1407009"/>
            <a:ext cx="12207473" cy="0"/>
          </a:xfrm>
          <a:prstGeom prst="line">
            <a:avLst/>
          </a:prstGeom>
          <a:ln w="2857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asellaDiTesto 36">
            <a:extLst>
              <a:ext uri="{FF2B5EF4-FFF2-40B4-BE49-F238E27FC236}">
                <a16:creationId xmlns:a16="http://schemas.microsoft.com/office/drawing/2014/main" id="{F44E99A8-ED5D-D83D-8B49-E5512FB0569D}"/>
              </a:ext>
            </a:extLst>
          </p:cNvPr>
          <p:cNvSpPr txBox="1"/>
          <p:nvPr/>
        </p:nvSpPr>
        <p:spPr>
          <a:xfrm>
            <a:off x="2929831" y="5120284"/>
            <a:ext cx="2699870" cy="646331"/>
          </a:xfrm>
          <a:prstGeom prst="rect">
            <a:avLst/>
          </a:prstGeom>
          <a:solidFill>
            <a:schemeClr val="accent3"/>
          </a:solidFill>
          <a:ln w="28575"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Gr 1 CRS, no other relevant AEs</a:t>
            </a:r>
          </a:p>
        </p:txBody>
      </p:sp>
    </p:spTree>
    <p:extLst>
      <p:ext uri="{BB962C8B-B14F-4D97-AF65-F5344CB8AC3E}">
        <p14:creationId xmlns:p14="http://schemas.microsoft.com/office/powerpoint/2010/main" val="3966360005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CB072CB-ACDB-2239-296F-70576BC589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TextBox 39">
            <a:extLst>
              <a:ext uri="{FF2B5EF4-FFF2-40B4-BE49-F238E27FC236}">
                <a16:creationId xmlns:a16="http://schemas.microsoft.com/office/drawing/2014/main" id="{CF0C5F2F-2465-BAF4-8B06-BF1F41D3B7EA}"/>
              </a:ext>
            </a:extLst>
          </p:cNvPr>
          <p:cNvSpPr txBox="1"/>
          <p:nvPr/>
        </p:nvSpPr>
        <p:spPr>
          <a:xfrm>
            <a:off x="1264138" y="2847768"/>
            <a:ext cx="863983" cy="3927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-Pola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FF65C3D0-656E-098E-D671-866697DFD762}"/>
              </a:ext>
            </a:extLst>
          </p:cNvPr>
          <p:cNvCxnSpPr>
            <a:cxnSpLocks/>
          </p:cNvCxnSpPr>
          <p:nvPr/>
        </p:nvCxnSpPr>
        <p:spPr>
          <a:xfrm>
            <a:off x="577415" y="3737370"/>
            <a:ext cx="10907449" cy="0"/>
          </a:xfrm>
          <a:prstGeom prst="line">
            <a:avLst/>
          </a:prstGeom>
          <a:ln w="285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20B536AF-F0EE-6695-8097-62CF9CBA92D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70645" y="6096000"/>
            <a:ext cx="10440000" cy="623951"/>
          </a:xfrm>
        </p:spPr>
        <p:txBody>
          <a:bodyPr/>
          <a:lstStyle/>
          <a:p>
            <a:r>
              <a:rPr lang="en-GB"/>
              <a:t>3L, third line; 4L, fourth line; AE, adverse event; axi-cel, axicabtagene ciloleucel; BsAbs, bispecific antibodies; CAR-T, chimeric antigen receptor T-cell therapy; CR, complete response; CRS, cytokine release syndrome; Gr, grade; ICANS, immune effector cell-associated neurotoxicity syndrome; PR, partial response; R-Pola, rituximab plus polatuzumab vedotin.</a:t>
            </a:r>
          </a:p>
          <a:p>
            <a:r>
              <a:rPr lang="en-GB"/>
              <a:t>Patient case provided by Prof. Enrico </a:t>
            </a:r>
            <a:r>
              <a:rPr lang="en-GB" err="1"/>
              <a:t>Derenzini</a:t>
            </a:r>
            <a:r>
              <a:rPr lang="en-GB"/>
              <a:t>.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A56B206E-39B5-34A1-A787-AB3F1E33077B}"/>
              </a:ext>
            </a:extLst>
          </p:cNvPr>
          <p:cNvSpPr txBox="1">
            <a:spLocks/>
          </p:cNvSpPr>
          <p:nvPr/>
        </p:nvSpPr>
        <p:spPr>
          <a:xfrm>
            <a:off x="469900" y="311150"/>
            <a:ext cx="10317269" cy="643101"/>
          </a:xfrm>
          <a:prstGeom prst="rect">
            <a:avLst/>
          </a:prstGeom>
        </p:spPr>
        <p:txBody>
          <a:bodyPr vert="horz" lIns="90000" tIns="46800" rIns="90000" bIns="4680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400" b="0" i="0" kern="1200">
                <a:solidFill>
                  <a:schemeClr val="tx2"/>
                </a:solidFill>
                <a:latin typeface="Aptos" panose="020B000402020202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0B0004020202020204" pitchFamily="34" charset="0"/>
                <a:ea typeface="+mj-ea"/>
                <a:cs typeface="+mj-cs"/>
              </a:rPr>
              <a:t>Relapse after 3L CAR-T therapy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400" b="0" i="0" u="none" strike="noStrike" kern="1200" cap="none" spc="0" normalizeH="0" baseline="3000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j-ea"/>
              <a:cs typeface="+mj-cs"/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AFCBD604-A8B3-9942-27C2-99778F69B1B9}"/>
              </a:ext>
            </a:extLst>
          </p:cNvPr>
          <p:cNvSpPr/>
          <p:nvPr/>
        </p:nvSpPr>
        <p:spPr>
          <a:xfrm>
            <a:off x="1628725" y="3659635"/>
            <a:ext cx="159799" cy="159799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1" i="0" u="none" strike="noStrike" kern="1200" cap="none" spc="0" normalizeH="0" baseline="0" noProof="0">
              <a:ln>
                <a:noFill/>
              </a:ln>
              <a:solidFill>
                <a:srgbClr val="585854">
                  <a:lumMod val="20000"/>
                  <a:lumOff val="80000"/>
                </a:srgbClr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A3B812AE-97C3-1F09-7F7E-67B8A1105564}"/>
              </a:ext>
            </a:extLst>
          </p:cNvPr>
          <p:cNvCxnSpPr>
            <a:cxnSpLocks/>
            <a:stCxn id="13" idx="4"/>
          </p:cNvCxnSpPr>
          <p:nvPr/>
        </p:nvCxnSpPr>
        <p:spPr>
          <a:xfrm>
            <a:off x="1708625" y="3819434"/>
            <a:ext cx="0" cy="182159"/>
          </a:xfrm>
          <a:prstGeom prst="line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6876B9A6-1AD9-3661-532B-A835DB5B5F2F}"/>
              </a:ext>
            </a:extLst>
          </p:cNvPr>
          <p:cNvSpPr txBox="1"/>
          <p:nvPr/>
        </p:nvSpPr>
        <p:spPr>
          <a:xfrm>
            <a:off x="499145" y="4001593"/>
            <a:ext cx="2400300" cy="1323439"/>
          </a:xfrm>
          <a:prstGeom prst="rect">
            <a:avLst/>
          </a:prstGeom>
          <a:noFill/>
        </p:spPr>
        <p:txBody>
          <a:bodyPr wrap="square" lIns="45720" tIns="45720" rIns="4572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1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Lymphocyte apheresi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1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Bridging: </a:t>
            </a: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-Pola ×2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1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Outcome: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 to bridging treatment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75D7D6E9-482C-1A66-4021-12248CF6F36E}"/>
              </a:ext>
            </a:extLst>
          </p:cNvPr>
          <p:cNvSpPr/>
          <p:nvPr/>
        </p:nvSpPr>
        <p:spPr>
          <a:xfrm>
            <a:off x="2924125" y="3659635"/>
            <a:ext cx="159799" cy="159799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1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5FDBB994-91CF-6DC9-EDE1-EAB42F32EABB}"/>
              </a:ext>
            </a:extLst>
          </p:cNvPr>
          <p:cNvCxnSpPr>
            <a:cxnSpLocks/>
            <a:stCxn id="14" idx="4"/>
          </p:cNvCxnSpPr>
          <p:nvPr/>
        </p:nvCxnSpPr>
        <p:spPr>
          <a:xfrm>
            <a:off x="3004025" y="3819434"/>
            <a:ext cx="0" cy="182159"/>
          </a:xfrm>
          <a:prstGeom prst="line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!!TextBox 16">
            <a:extLst>
              <a:ext uri="{FF2B5EF4-FFF2-40B4-BE49-F238E27FC236}">
                <a16:creationId xmlns:a16="http://schemas.microsoft.com/office/drawing/2014/main" id="{EDD86D15-3571-6C79-080B-8D1B6B267BBE}"/>
              </a:ext>
            </a:extLst>
          </p:cNvPr>
          <p:cNvSpPr txBox="1"/>
          <p:nvPr/>
        </p:nvSpPr>
        <p:spPr>
          <a:xfrm>
            <a:off x="2899444" y="4001593"/>
            <a:ext cx="3044152" cy="830997"/>
          </a:xfrm>
          <a:prstGeom prst="rect">
            <a:avLst/>
          </a:prstGeom>
          <a:noFill/>
        </p:spPr>
        <p:txBody>
          <a:bodyPr wrap="square" lIns="45720" tIns="45720" rIns="4572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1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3L treatment: </a:t>
            </a: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nti CD19 </a:t>
            </a:r>
            <a:b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AR-T axi-ce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1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Outcome: </a:t>
            </a: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R (1 year)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A903BD00-4545-6496-160A-B3FC84AC268A}"/>
              </a:ext>
            </a:extLst>
          </p:cNvPr>
          <p:cNvSpPr txBox="1"/>
          <p:nvPr/>
        </p:nvSpPr>
        <p:spPr>
          <a:xfrm>
            <a:off x="1472311" y="3206182"/>
            <a:ext cx="455050" cy="3927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CB813"/>
              </a:buClr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June–July 2023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3C239086-12A3-376C-5295-9D135C5DACB2}"/>
              </a:ext>
            </a:extLst>
          </p:cNvPr>
          <p:cNvSpPr txBox="1"/>
          <p:nvPr/>
        </p:nvSpPr>
        <p:spPr>
          <a:xfrm>
            <a:off x="2805811" y="3206182"/>
            <a:ext cx="455050" cy="3927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CB813"/>
              </a:buClr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ug 2023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9003CF3-E322-6F35-6A37-51F2D92106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01CC8E-1CEF-6746-999E-CF29FF00B1D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82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8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08132AD-7D2F-314F-ED34-ADC9E7D0370F}"/>
              </a:ext>
            </a:extLst>
          </p:cNvPr>
          <p:cNvSpPr txBox="1"/>
          <p:nvPr/>
        </p:nvSpPr>
        <p:spPr>
          <a:xfrm>
            <a:off x="2316533" y="2878536"/>
            <a:ext cx="1434479" cy="3927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AR-T</a:t>
            </a:r>
          </a:p>
        </p:txBody>
      </p:sp>
      <p:sp>
        <p:nvSpPr>
          <p:cNvPr id="10" name="!!Oval 9">
            <a:extLst>
              <a:ext uri="{FF2B5EF4-FFF2-40B4-BE49-F238E27FC236}">
                <a16:creationId xmlns:a16="http://schemas.microsoft.com/office/drawing/2014/main" id="{B0EDD204-A63D-815A-B464-56F27DA9065D}"/>
              </a:ext>
            </a:extLst>
          </p:cNvPr>
          <p:cNvSpPr/>
          <p:nvPr/>
        </p:nvSpPr>
        <p:spPr>
          <a:xfrm>
            <a:off x="2669883" y="2761714"/>
            <a:ext cx="739960" cy="152189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" name="Free-form: Shape 10">
            <a:extLst>
              <a:ext uri="{FF2B5EF4-FFF2-40B4-BE49-F238E27FC236}">
                <a16:creationId xmlns:a16="http://schemas.microsoft.com/office/drawing/2014/main" id="{0501AFF5-38BA-03AE-5820-544C9A0CD9FB}"/>
              </a:ext>
            </a:extLst>
          </p:cNvPr>
          <p:cNvSpPr/>
          <p:nvPr/>
        </p:nvSpPr>
        <p:spPr>
          <a:xfrm>
            <a:off x="2749847" y="1460137"/>
            <a:ext cx="650203" cy="1414846"/>
          </a:xfrm>
          <a:custGeom>
            <a:avLst/>
            <a:gdLst>
              <a:gd name="csX0" fmla="*/ 466852 w 715223"/>
              <a:gd name="csY0" fmla="*/ 229083 h 1556330"/>
              <a:gd name="csX1" fmla="*/ 462328 w 715223"/>
              <a:gd name="csY1" fmla="*/ 242604 h 1556330"/>
              <a:gd name="csX2" fmla="*/ 496944 w 715223"/>
              <a:gd name="csY2" fmla="*/ 204739 h 1556330"/>
              <a:gd name="csX3" fmla="*/ 534359 w 715223"/>
              <a:gd name="csY3" fmla="*/ 270960 h 1556330"/>
              <a:gd name="csX4" fmla="*/ 540589 w 715223"/>
              <a:gd name="csY4" fmla="*/ 445986 h 1556330"/>
              <a:gd name="csX5" fmla="*/ 509727 w 715223"/>
              <a:gd name="csY5" fmla="*/ 496924 h 1556330"/>
              <a:gd name="csX6" fmla="*/ 505366 w 715223"/>
              <a:gd name="csY6" fmla="*/ 511893 h 1556330"/>
              <a:gd name="csX7" fmla="*/ 501982 w 715223"/>
              <a:gd name="csY7" fmla="*/ 530377 h 1556330"/>
              <a:gd name="csX8" fmla="*/ 505678 w 715223"/>
              <a:gd name="csY8" fmla="*/ 556455 h 1556330"/>
              <a:gd name="csX9" fmla="*/ 526115 w 715223"/>
              <a:gd name="csY9" fmla="*/ 591784 h 1556330"/>
              <a:gd name="csX10" fmla="*/ 541579 w 715223"/>
              <a:gd name="csY10" fmla="*/ 612264 h 1556330"/>
              <a:gd name="csX11" fmla="*/ 569572 w 715223"/>
              <a:gd name="csY11" fmla="*/ 643441 h 1556330"/>
              <a:gd name="csX12" fmla="*/ 555234 w 715223"/>
              <a:gd name="csY12" fmla="*/ 688473 h 1556330"/>
              <a:gd name="csX13" fmla="*/ 513278 w 715223"/>
              <a:gd name="csY13" fmla="*/ 700556 h 1556330"/>
              <a:gd name="csX14" fmla="*/ 488559 w 715223"/>
              <a:gd name="csY14" fmla="*/ 702821 h 1556330"/>
              <a:gd name="csX15" fmla="*/ 488544 w 715223"/>
              <a:gd name="csY15" fmla="*/ 718085 h 1556330"/>
              <a:gd name="csX16" fmla="*/ 526561 w 715223"/>
              <a:gd name="csY16" fmla="*/ 1010212 h 1556330"/>
              <a:gd name="csX17" fmla="*/ 569986 w 715223"/>
              <a:gd name="csY17" fmla="*/ 1153317 h 1556330"/>
              <a:gd name="csX18" fmla="*/ 587389 w 715223"/>
              <a:gd name="csY18" fmla="*/ 1172173 h 1556330"/>
              <a:gd name="csX19" fmla="*/ 606286 w 715223"/>
              <a:gd name="csY19" fmla="*/ 1180891 h 1556330"/>
              <a:gd name="csX20" fmla="*/ 613400 w 715223"/>
              <a:gd name="csY20" fmla="*/ 1204260 h 1556330"/>
              <a:gd name="csX21" fmla="*/ 605350 w 715223"/>
              <a:gd name="csY21" fmla="*/ 1216760 h 1556330"/>
              <a:gd name="csX22" fmla="*/ 600268 w 715223"/>
              <a:gd name="csY22" fmla="*/ 1220273 h 1556330"/>
              <a:gd name="csX23" fmla="*/ 610574 w 715223"/>
              <a:gd name="csY23" fmla="*/ 1258750 h 1556330"/>
              <a:gd name="csX24" fmla="*/ 672371 w 715223"/>
              <a:gd name="csY24" fmla="*/ 1319810 h 1556330"/>
              <a:gd name="csX25" fmla="*/ 675494 w 715223"/>
              <a:gd name="csY25" fmla="*/ 1323366 h 1556330"/>
              <a:gd name="csX26" fmla="*/ 692949 w 715223"/>
              <a:gd name="csY26" fmla="*/ 1396068 h 1556330"/>
              <a:gd name="csX27" fmla="*/ 690628 w 715223"/>
              <a:gd name="csY27" fmla="*/ 1414117 h 1556330"/>
              <a:gd name="csX28" fmla="*/ 695588 w 715223"/>
              <a:gd name="csY28" fmla="*/ 1421035 h 1556330"/>
              <a:gd name="csX29" fmla="*/ 694353 w 715223"/>
              <a:gd name="csY29" fmla="*/ 1425190 h 1556330"/>
              <a:gd name="csX30" fmla="*/ 689106 w 715223"/>
              <a:gd name="csY30" fmla="*/ 1428714 h 1556330"/>
              <a:gd name="csX31" fmla="*/ 695093 w 715223"/>
              <a:gd name="csY31" fmla="*/ 1428433 h 1556330"/>
              <a:gd name="csX32" fmla="*/ 697643 w 715223"/>
              <a:gd name="csY32" fmla="*/ 1432864 h 1556330"/>
              <a:gd name="csX33" fmla="*/ 698207 w 715223"/>
              <a:gd name="csY33" fmla="*/ 1441988 h 1556330"/>
              <a:gd name="csX34" fmla="*/ 715183 w 715223"/>
              <a:gd name="csY34" fmla="*/ 1508752 h 1556330"/>
              <a:gd name="csX35" fmla="*/ 701540 w 715223"/>
              <a:gd name="csY35" fmla="*/ 1526524 h 1556330"/>
              <a:gd name="csX36" fmla="*/ 581715 w 715223"/>
              <a:gd name="csY36" fmla="*/ 1548559 h 1556330"/>
              <a:gd name="csX37" fmla="*/ 522168 w 715223"/>
              <a:gd name="csY37" fmla="*/ 1553543 h 1556330"/>
              <a:gd name="csX38" fmla="*/ 450008 w 715223"/>
              <a:gd name="csY38" fmla="*/ 1556019 h 1556330"/>
              <a:gd name="csX39" fmla="*/ 245169 w 715223"/>
              <a:gd name="csY39" fmla="*/ 1553749 h 1556330"/>
              <a:gd name="csX40" fmla="*/ 221854 w 715223"/>
              <a:gd name="csY40" fmla="*/ 1553306 h 1556330"/>
              <a:gd name="csX41" fmla="*/ 168405 w 715223"/>
              <a:gd name="csY41" fmla="*/ 1548828 h 1556330"/>
              <a:gd name="csX42" fmla="*/ 126970 w 715223"/>
              <a:gd name="csY42" fmla="*/ 1546091 h 1556330"/>
              <a:gd name="csX43" fmla="*/ 104053 w 715223"/>
              <a:gd name="csY43" fmla="*/ 1542912 h 1556330"/>
              <a:gd name="csX44" fmla="*/ 65625 w 715223"/>
              <a:gd name="csY44" fmla="*/ 1536401 h 1556330"/>
              <a:gd name="csX45" fmla="*/ 10909 w 715223"/>
              <a:gd name="csY45" fmla="*/ 1524010 h 1556330"/>
              <a:gd name="csX46" fmla="*/ 8 w 715223"/>
              <a:gd name="csY46" fmla="*/ 1509263 h 1556330"/>
              <a:gd name="csX47" fmla="*/ 21158 w 715223"/>
              <a:gd name="csY47" fmla="*/ 1433611 h 1556330"/>
              <a:gd name="csX48" fmla="*/ 23462 w 715223"/>
              <a:gd name="csY48" fmla="*/ 1418658 h 1556330"/>
              <a:gd name="csX49" fmla="*/ 19643 w 715223"/>
              <a:gd name="csY49" fmla="*/ 1382324 h 1556330"/>
              <a:gd name="csX50" fmla="*/ 49060 w 715223"/>
              <a:gd name="csY50" fmla="*/ 1311832 h 1556330"/>
              <a:gd name="csX51" fmla="*/ 109176 w 715223"/>
              <a:gd name="csY51" fmla="*/ 1254078 h 1556330"/>
              <a:gd name="csX52" fmla="*/ 118319 w 715223"/>
              <a:gd name="csY52" fmla="*/ 1214801 h 1556330"/>
              <a:gd name="csX53" fmla="*/ 113082 w 715223"/>
              <a:gd name="csY53" fmla="*/ 1201084 h 1556330"/>
              <a:gd name="csX54" fmla="*/ 120417 w 715223"/>
              <a:gd name="csY54" fmla="*/ 1183950 h 1556330"/>
              <a:gd name="csX55" fmla="*/ 135209 w 715223"/>
              <a:gd name="csY55" fmla="*/ 1178138 h 1556330"/>
              <a:gd name="csX56" fmla="*/ 156535 w 715223"/>
              <a:gd name="csY56" fmla="*/ 1156396 h 1556330"/>
              <a:gd name="csX57" fmla="*/ 185647 w 715223"/>
              <a:gd name="csY57" fmla="*/ 1061682 h 1556330"/>
              <a:gd name="csX58" fmla="*/ 201074 w 715223"/>
              <a:gd name="csY58" fmla="*/ 1005093 h 1556330"/>
              <a:gd name="csX59" fmla="*/ 213864 w 715223"/>
              <a:gd name="csY59" fmla="*/ 943040 h 1556330"/>
              <a:gd name="csX60" fmla="*/ 223580 w 715223"/>
              <a:gd name="csY60" fmla="*/ 884167 h 1556330"/>
              <a:gd name="csX61" fmla="*/ 228827 w 715223"/>
              <a:gd name="csY61" fmla="*/ 839382 h 1556330"/>
              <a:gd name="csX62" fmla="*/ 233251 w 715223"/>
              <a:gd name="csY62" fmla="*/ 794539 h 1556330"/>
              <a:gd name="csX63" fmla="*/ 233413 w 715223"/>
              <a:gd name="csY63" fmla="*/ 708554 h 1556330"/>
              <a:gd name="csX64" fmla="*/ 232253 w 715223"/>
              <a:gd name="csY64" fmla="*/ 699181 h 1556330"/>
              <a:gd name="csX65" fmla="*/ 192775 w 715223"/>
              <a:gd name="csY65" fmla="*/ 693131 h 1556330"/>
              <a:gd name="csX66" fmla="*/ 166222 w 715223"/>
              <a:gd name="csY66" fmla="*/ 684229 h 1556330"/>
              <a:gd name="csX67" fmla="*/ 153485 w 715223"/>
              <a:gd name="csY67" fmla="*/ 649704 h 1556330"/>
              <a:gd name="csX68" fmla="*/ 179302 w 715223"/>
              <a:gd name="csY68" fmla="*/ 621006 h 1556330"/>
              <a:gd name="csX69" fmla="*/ 192182 w 715223"/>
              <a:gd name="csY69" fmla="*/ 601675 h 1556330"/>
              <a:gd name="csX70" fmla="*/ 204894 w 715223"/>
              <a:gd name="csY70" fmla="*/ 583417 h 1556330"/>
              <a:gd name="csX71" fmla="*/ 233213 w 715223"/>
              <a:gd name="csY71" fmla="*/ 564393 h 1556330"/>
              <a:gd name="csX72" fmla="*/ 229725 w 715223"/>
              <a:gd name="csY72" fmla="*/ 538177 h 1556330"/>
              <a:gd name="csX73" fmla="*/ 218771 w 715223"/>
              <a:gd name="csY73" fmla="*/ 532633 h 1556330"/>
              <a:gd name="csX74" fmla="*/ 215183 w 715223"/>
              <a:gd name="csY74" fmla="*/ 521568 h 1556330"/>
              <a:gd name="csX75" fmla="*/ 223368 w 715223"/>
              <a:gd name="csY75" fmla="*/ 508901 h 1556330"/>
              <a:gd name="csX76" fmla="*/ 218372 w 715223"/>
              <a:gd name="csY76" fmla="*/ 498135 h 1556330"/>
              <a:gd name="csX77" fmla="*/ 181440 w 715223"/>
              <a:gd name="csY77" fmla="*/ 432308 h 1556330"/>
              <a:gd name="csX78" fmla="*/ 167535 w 715223"/>
              <a:gd name="csY78" fmla="*/ 349841 h 1556330"/>
              <a:gd name="csX79" fmla="*/ 193488 w 715223"/>
              <a:gd name="csY79" fmla="*/ 262518 h 1556330"/>
              <a:gd name="csX80" fmla="*/ 237748 w 715223"/>
              <a:gd name="csY80" fmla="*/ 190690 h 1556330"/>
              <a:gd name="csX81" fmla="*/ 309459 w 715223"/>
              <a:gd name="csY81" fmla="*/ 102623 h 1556330"/>
              <a:gd name="csX82" fmla="*/ 310459 w 715223"/>
              <a:gd name="csY82" fmla="*/ 78521 h 1556330"/>
              <a:gd name="csX83" fmla="*/ 300267 w 715223"/>
              <a:gd name="csY83" fmla="*/ 57856 h 1556330"/>
              <a:gd name="csX84" fmla="*/ 332242 w 715223"/>
              <a:gd name="csY84" fmla="*/ 4422 h 1556330"/>
              <a:gd name="csX85" fmla="*/ 384904 w 715223"/>
              <a:gd name="csY85" fmla="*/ 5551 h 1556330"/>
              <a:gd name="csX86" fmla="*/ 409773 w 715223"/>
              <a:gd name="csY86" fmla="*/ 26778 h 1556330"/>
              <a:gd name="csX87" fmla="*/ 407026 w 715223"/>
              <a:gd name="csY87" fmla="*/ 46052 h 1556330"/>
              <a:gd name="csX88" fmla="*/ 402771 w 715223"/>
              <a:gd name="csY88" fmla="*/ 30951 h 1556330"/>
              <a:gd name="csX89" fmla="*/ 397038 w 715223"/>
              <a:gd name="csY89" fmla="*/ 30361 h 1556330"/>
              <a:gd name="csX90" fmla="*/ 360694 w 715223"/>
              <a:gd name="csY90" fmla="*/ 22760 h 1556330"/>
              <a:gd name="csX91" fmla="*/ 351669 w 715223"/>
              <a:gd name="csY91" fmla="*/ 31736 h 1556330"/>
              <a:gd name="csX92" fmla="*/ 351426 w 715223"/>
              <a:gd name="csY92" fmla="*/ 43987 h 1556330"/>
              <a:gd name="csX93" fmla="*/ 390968 w 715223"/>
              <a:gd name="csY93" fmla="*/ 68762 h 1556330"/>
              <a:gd name="csX94" fmla="*/ 401770 w 715223"/>
              <a:gd name="csY94" fmla="*/ 59025 h 1556330"/>
              <a:gd name="csX95" fmla="*/ 409619 w 715223"/>
              <a:gd name="csY95" fmla="*/ 55786 h 1556330"/>
              <a:gd name="csX96" fmla="*/ 410427 w 715223"/>
              <a:gd name="csY96" fmla="*/ 64256 h 1556330"/>
              <a:gd name="csX97" fmla="*/ 399453 w 715223"/>
              <a:gd name="csY97" fmla="*/ 81811 h 1556330"/>
              <a:gd name="csX98" fmla="*/ 399346 w 715223"/>
              <a:gd name="csY98" fmla="*/ 98083 h 1556330"/>
              <a:gd name="csX99" fmla="*/ 471592 w 715223"/>
              <a:gd name="csY99" fmla="*/ 180524 h 1556330"/>
              <a:gd name="csX100" fmla="*/ 473550 w 715223"/>
              <a:gd name="csY100" fmla="*/ 200923 h 1556330"/>
              <a:gd name="csX101" fmla="*/ 463677 w 715223"/>
              <a:gd name="csY101" fmla="*/ 223311 h 1556330"/>
              <a:gd name="csX102" fmla="*/ 466852 w 715223"/>
              <a:gd name="csY102" fmla="*/ 229083 h 1556330"/>
              <a:gd name="csX103" fmla="*/ 474186 w 715223"/>
              <a:gd name="csY103" fmla="*/ 928382 h 1556330"/>
              <a:gd name="csX104" fmla="*/ 459927 w 715223"/>
              <a:gd name="csY104" fmla="*/ 817790 h 1556330"/>
              <a:gd name="csX105" fmla="*/ 456025 w 715223"/>
              <a:gd name="csY105" fmla="*/ 706469 h 1556330"/>
              <a:gd name="csX106" fmla="*/ 366863 w 715223"/>
              <a:gd name="csY106" fmla="*/ 710754 h 1556330"/>
              <a:gd name="csX107" fmla="*/ 366159 w 715223"/>
              <a:gd name="csY107" fmla="*/ 719219 h 1556330"/>
              <a:gd name="csX108" fmla="*/ 364159 w 715223"/>
              <a:gd name="csY108" fmla="*/ 834581 h 1556330"/>
              <a:gd name="csX109" fmla="*/ 361633 w 715223"/>
              <a:gd name="csY109" fmla="*/ 940117 h 1556330"/>
              <a:gd name="csX110" fmla="*/ 358313 w 715223"/>
              <a:gd name="csY110" fmla="*/ 1053005 h 1556330"/>
              <a:gd name="csX111" fmla="*/ 358081 w 715223"/>
              <a:gd name="csY111" fmla="*/ 1057912 h 1556330"/>
              <a:gd name="csX112" fmla="*/ 353706 w 715223"/>
              <a:gd name="csY112" fmla="*/ 1164570 h 1556330"/>
              <a:gd name="csX113" fmla="*/ 354951 w 715223"/>
              <a:gd name="csY113" fmla="*/ 1172547 h 1556330"/>
              <a:gd name="csX114" fmla="*/ 540959 w 715223"/>
              <a:gd name="csY114" fmla="*/ 1175972 h 1556330"/>
              <a:gd name="csX115" fmla="*/ 474186 w 715223"/>
              <a:gd name="csY115" fmla="*/ 928382 h 1556330"/>
              <a:gd name="csX116" fmla="*/ 513768 w 715223"/>
              <a:gd name="csY116" fmla="*/ 1417676 h 1556330"/>
              <a:gd name="csX117" fmla="*/ 519822 w 715223"/>
              <a:gd name="csY117" fmla="*/ 1416700 h 1556330"/>
              <a:gd name="csX118" fmla="*/ 632041 w 715223"/>
              <a:gd name="csY118" fmla="*/ 1406122 h 1556330"/>
              <a:gd name="csX119" fmla="*/ 665040 w 715223"/>
              <a:gd name="csY119" fmla="*/ 1400634 h 1556330"/>
              <a:gd name="csX120" fmla="*/ 665677 w 715223"/>
              <a:gd name="csY120" fmla="*/ 1396126 h 1556330"/>
              <a:gd name="csX121" fmla="*/ 665529 w 715223"/>
              <a:gd name="csY121" fmla="*/ 1389994 h 1556330"/>
              <a:gd name="csX122" fmla="*/ 623046 w 715223"/>
              <a:gd name="csY122" fmla="*/ 1306238 h 1556330"/>
              <a:gd name="csX123" fmla="*/ 596015 w 715223"/>
              <a:gd name="csY123" fmla="*/ 1281285 h 1556330"/>
              <a:gd name="csX124" fmla="*/ 567683 w 715223"/>
              <a:gd name="csY124" fmla="*/ 1220059 h 1556330"/>
              <a:gd name="csX125" fmla="*/ 540273 w 715223"/>
              <a:gd name="csY125" fmla="*/ 1220129 h 1556330"/>
              <a:gd name="csX126" fmla="*/ 424010 w 715223"/>
              <a:gd name="csY126" fmla="*/ 1226781 h 1556330"/>
              <a:gd name="csX127" fmla="*/ 357832 w 715223"/>
              <a:gd name="csY127" fmla="*/ 1229178 h 1556330"/>
              <a:gd name="csX128" fmla="*/ 352386 w 715223"/>
              <a:gd name="csY128" fmla="*/ 1230616 h 1556330"/>
              <a:gd name="csX129" fmla="*/ 355852 w 715223"/>
              <a:gd name="csY129" fmla="*/ 1324222 h 1556330"/>
              <a:gd name="csX130" fmla="*/ 352930 w 715223"/>
              <a:gd name="csY130" fmla="*/ 1417867 h 1556330"/>
              <a:gd name="csX131" fmla="*/ 513768 w 715223"/>
              <a:gd name="csY131" fmla="*/ 1417676 h 1556330"/>
              <a:gd name="csX132" fmla="*/ 387930 w 715223"/>
              <a:gd name="csY132" fmla="*/ 499741 h 1556330"/>
              <a:gd name="csX133" fmla="*/ 456529 w 715223"/>
              <a:gd name="csY133" fmla="*/ 496826 h 1556330"/>
              <a:gd name="csX134" fmla="*/ 482355 w 715223"/>
              <a:gd name="csY134" fmla="*/ 485095 h 1556330"/>
              <a:gd name="csX135" fmla="*/ 528016 w 715223"/>
              <a:gd name="csY135" fmla="*/ 374829 h 1556330"/>
              <a:gd name="csX136" fmla="*/ 501375 w 715223"/>
              <a:gd name="csY136" fmla="*/ 261643 h 1556330"/>
              <a:gd name="csX137" fmla="*/ 493534 w 715223"/>
              <a:gd name="csY137" fmla="*/ 249818 h 1556330"/>
              <a:gd name="csX138" fmla="*/ 485920 w 715223"/>
              <a:gd name="csY138" fmla="*/ 260010 h 1556330"/>
              <a:gd name="csX139" fmla="*/ 453305 w 715223"/>
              <a:gd name="csY139" fmla="*/ 310523 h 1556330"/>
              <a:gd name="csX140" fmla="*/ 433678 w 715223"/>
              <a:gd name="csY140" fmla="*/ 338672 h 1556330"/>
              <a:gd name="csX141" fmla="*/ 403713 w 715223"/>
              <a:gd name="csY141" fmla="*/ 343710 h 1556330"/>
              <a:gd name="csX142" fmla="*/ 396427 w 715223"/>
              <a:gd name="csY142" fmla="*/ 315612 h 1556330"/>
              <a:gd name="csX143" fmla="*/ 399663 w 715223"/>
              <a:gd name="csY143" fmla="*/ 309000 h 1556330"/>
              <a:gd name="csX144" fmla="*/ 452097 w 715223"/>
              <a:gd name="csY144" fmla="*/ 200770 h 1556330"/>
              <a:gd name="csX145" fmla="*/ 450118 w 715223"/>
              <a:gd name="csY145" fmla="*/ 180596 h 1556330"/>
              <a:gd name="csX146" fmla="*/ 376545 w 715223"/>
              <a:gd name="csY146" fmla="*/ 105525 h 1556330"/>
              <a:gd name="csX147" fmla="*/ 368791 w 715223"/>
              <a:gd name="csY147" fmla="*/ 101653 h 1556330"/>
              <a:gd name="csX148" fmla="*/ 366449 w 715223"/>
              <a:gd name="csY148" fmla="*/ 144676 h 1556330"/>
              <a:gd name="csX149" fmla="*/ 365447 w 715223"/>
              <a:gd name="csY149" fmla="*/ 183946 h 1556330"/>
              <a:gd name="csX150" fmla="*/ 364738 w 715223"/>
              <a:gd name="csY150" fmla="*/ 298022 h 1556330"/>
              <a:gd name="csX151" fmla="*/ 373865 w 715223"/>
              <a:gd name="csY151" fmla="*/ 430096 h 1556330"/>
              <a:gd name="csX152" fmla="*/ 381088 w 715223"/>
              <a:gd name="csY152" fmla="*/ 492169 h 1556330"/>
              <a:gd name="csX153" fmla="*/ 387930 w 715223"/>
              <a:gd name="csY153" fmla="*/ 499741 h 1556330"/>
              <a:gd name="csX154" fmla="*/ 455850 w 715223"/>
              <a:gd name="csY154" fmla="*/ 1521476 h 1556330"/>
              <a:gd name="csX155" fmla="*/ 685121 w 715223"/>
              <a:gd name="csY155" fmla="*/ 1496509 h 1556330"/>
              <a:gd name="csX156" fmla="*/ 672999 w 715223"/>
              <a:gd name="csY156" fmla="*/ 1456665 h 1556330"/>
              <a:gd name="csX157" fmla="*/ 660009 w 715223"/>
              <a:gd name="csY157" fmla="*/ 1450249 h 1556330"/>
              <a:gd name="csX158" fmla="*/ 633248 w 715223"/>
              <a:gd name="csY158" fmla="*/ 1453589 h 1556330"/>
              <a:gd name="csX159" fmla="*/ 451131 w 715223"/>
              <a:gd name="csY159" fmla="*/ 1467458 h 1556330"/>
              <a:gd name="csX160" fmla="*/ 362719 w 715223"/>
              <a:gd name="csY160" fmla="*/ 1467934 h 1556330"/>
              <a:gd name="csX161" fmla="*/ 349983 w 715223"/>
              <a:gd name="csY161" fmla="*/ 1467936 h 1556330"/>
              <a:gd name="csX162" fmla="*/ 352220 w 715223"/>
              <a:gd name="csY162" fmla="*/ 1519140 h 1556330"/>
              <a:gd name="csX163" fmla="*/ 455850 w 715223"/>
              <a:gd name="csY163" fmla="*/ 1521476 h 1556330"/>
              <a:gd name="csX164" fmla="*/ 368682 w 715223"/>
              <a:gd name="csY164" fmla="*/ 544846 h 1556330"/>
              <a:gd name="csX165" fmla="*/ 363600 w 715223"/>
              <a:gd name="csY165" fmla="*/ 605633 h 1556330"/>
              <a:gd name="csX166" fmla="*/ 496351 w 715223"/>
              <a:gd name="csY166" fmla="*/ 601466 h 1556330"/>
              <a:gd name="csX167" fmla="*/ 485068 w 715223"/>
              <a:gd name="csY167" fmla="*/ 579288 h 1556330"/>
              <a:gd name="csX168" fmla="*/ 466524 w 715223"/>
              <a:gd name="csY168" fmla="*/ 541026 h 1556330"/>
              <a:gd name="csX169" fmla="*/ 465000 w 715223"/>
              <a:gd name="csY169" fmla="*/ 536289 h 1556330"/>
              <a:gd name="csX170" fmla="*/ 451328 w 715223"/>
              <a:gd name="csY170" fmla="*/ 536316 h 1556330"/>
              <a:gd name="csX171" fmla="*/ 390140 w 715223"/>
              <a:gd name="csY171" fmla="*/ 538979 h 1556330"/>
              <a:gd name="csX172" fmla="*/ 374215 w 715223"/>
              <a:gd name="csY172" fmla="*/ 539303 h 1556330"/>
              <a:gd name="csX173" fmla="*/ 368682 w 715223"/>
              <a:gd name="csY173" fmla="*/ 544846 h 1556330"/>
              <a:gd name="csX174" fmla="*/ 453915 w 715223"/>
              <a:gd name="csY174" fmla="*/ 635267 h 1556330"/>
              <a:gd name="csX175" fmla="*/ 374200 w 715223"/>
              <a:gd name="csY175" fmla="*/ 639402 h 1556330"/>
              <a:gd name="csX176" fmla="*/ 374200 w 715223"/>
              <a:gd name="csY176" fmla="*/ 673206 h 1556330"/>
              <a:gd name="csX177" fmla="*/ 386639 w 715223"/>
              <a:gd name="csY177" fmla="*/ 673718 h 1556330"/>
              <a:gd name="csX178" fmla="*/ 521198 w 715223"/>
              <a:gd name="csY178" fmla="*/ 668541 h 1556330"/>
              <a:gd name="csX179" fmla="*/ 534198 w 715223"/>
              <a:gd name="csY179" fmla="*/ 665521 h 1556330"/>
              <a:gd name="csX180" fmla="*/ 538413 w 715223"/>
              <a:gd name="csY180" fmla="*/ 652526 h 1556330"/>
              <a:gd name="csX181" fmla="*/ 529377 w 715223"/>
              <a:gd name="csY181" fmla="*/ 642895 h 1556330"/>
              <a:gd name="csX182" fmla="*/ 502829 w 715223"/>
              <a:gd name="csY182" fmla="*/ 634808 h 1556330"/>
              <a:gd name="csX183" fmla="*/ 453915 w 715223"/>
              <a:gd name="csY183" fmla="*/ 635267 h 155633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  <a:cxn ang="0">
                <a:pos x="csX170" y="csY170"/>
              </a:cxn>
              <a:cxn ang="0">
                <a:pos x="csX171" y="csY171"/>
              </a:cxn>
              <a:cxn ang="0">
                <a:pos x="csX172" y="csY172"/>
              </a:cxn>
              <a:cxn ang="0">
                <a:pos x="csX173" y="csY173"/>
              </a:cxn>
              <a:cxn ang="0">
                <a:pos x="csX174" y="csY174"/>
              </a:cxn>
              <a:cxn ang="0">
                <a:pos x="csX175" y="csY175"/>
              </a:cxn>
              <a:cxn ang="0">
                <a:pos x="csX176" y="csY176"/>
              </a:cxn>
              <a:cxn ang="0">
                <a:pos x="csX177" y="csY177"/>
              </a:cxn>
              <a:cxn ang="0">
                <a:pos x="csX178" y="csY178"/>
              </a:cxn>
              <a:cxn ang="0">
                <a:pos x="csX179" y="csY179"/>
              </a:cxn>
              <a:cxn ang="0">
                <a:pos x="csX180" y="csY180"/>
              </a:cxn>
              <a:cxn ang="0">
                <a:pos x="csX181" y="csY181"/>
              </a:cxn>
              <a:cxn ang="0">
                <a:pos x="csX182" y="csY182"/>
              </a:cxn>
              <a:cxn ang="0">
                <a:pos x="csX183" y="csY183"/>
              </a:cxn>
            </a:cxnLst>
            <a:rect l="l" t="t" r="r" b="b"/>
            <a:pathLst>
              <a:path w="715223" h="1556330">
                <a:moveTo>
                  <a:pt x="466852" y="229083"/>
                </a:moveTo>
                <a:cubicBezTo>
                  <a:pt x="465344" y="233590"/>
                  <a:pt x="463836" y="238097"/>
                  <a:pt x="462328" y="242604"/>
                </a:cubicBezTo>
                <a:cubicBezTo>
                  <a:pt x="476604" y="232528"/>
                  <a:pt x="484219" y="216936"/>
                  <a:pt x="496944" y="204739"/>
                </a:cubicBezTo>
                <a:cubicBezTo>
                  <a:pt x="511903" y="225901"/>
                  <a:pt x="524807" y="247414"/>
                  <a:pt x="534359" y="270960"/>
                </a:cubicBezTo>
                <a:cubicBezTo>
                  <a:pt x="557740" y="328591"/>
                  <a:pt x="560223" y="386926"/>
                  <a:pt x="540589" y="445986"/>
                </a:cubicBezTo>
                <a:cubicBezTo>
                  <a:pt x="534197" y="465215"/>
                  <a:pt x="524450" y="482672"/>
                  <a:pt x="509727" y="496924"/>
                </a:cubicBezTo>
                <a:cubicBezTo>
                  <a:pt x="505277" y="501232"/>
                  <a:pt x="502734" y="505157"/>
                  <a:pt x="505366" y="511893"/>
                </a:cubicBezTo>
                <a:cubicBezTo>
                  <a:pt x="507828" y="518196"/>
                  <a:pt x="505953" y="524402"/>
                  <a:pt x="501982" y="530377"/>
                </a:cubicBezTo>
                <a:cubicBezTo>
                  <a:pt x="495613" y="539961"/>
                  <a:pt x="496865" y="548901"/>
                  <a:pt x="505678" y="556455"/>
                </a:cubicBezTo>
                <a:cubicBezTo>
                  <a:pt x="516748" y="565943"/>
                  <a:pt x="523694" y="577557"/>
                  <a:pt x="526115" y="591784"/>
                </a:cubicBezTo>
                <a:cubicBezTo>
                  <a:pt x="527758" y="601445"/>
                  <a:pt x="532593" y="608029"/>
                  <a:pt x="541579" y="612264"/>
                </a:cubicBezTo>
                <a:cubicBezTo>
                  <a:pt x="555150" y="618662"/>
                  <a:pt x="564081" y="629523"/>
                  <a:pt x="569572" y="643441"/>
                </a:cubicBezTo>
                <a:cubicBezTo>
                  <a:pt x="576413" y="660776"/>
                  <a:pt x="570996" y="678245"/>
                  <a:pt x="555234" y="688473"/>
                </a:cubicBezTo>
                <a:cubicBezTo>
                  <a:pt x="542486" y="696746"/>
                  <a:pt x="528127" y="699474"/>
                  <a:pt x="513278" y="700556"/>
                </a:cubicBezTo>
                <a:cubicBezTo>
                  <a:pt x="505590" y="701115"/>
                  <a:pt x="497922" y="701952"/>
                  <a:pt x="488559" y="702821"/>
                </a:cubicBezTo>
                <a:cubicBezTo>
                  <a:pt x="488559" y="708552"/>
                  <a:pt x="488653" y="713320"/>
                  <a:pt x="488544" y="718085"/>
                </a:cubicBezTo>
                <a:cubicBezTo>
                  <a:pt x="486284" y="817406"/>
                  <a:pt x="502313" y="914319"/>
                  <a:pt x="526561" y="1010212"/>
                </a:cubicBezTo>
                <a:cubicBezTo>
                  <a:pt x="538799" y="1058612"/>
                  <a:pt x="553050" y="1106345"/>
                  <a:pt x="569986" y="1153317"/>
                </a:cubicBezTo>
                <a:cubicBezTo>
                  <a:pt x="573328" y="1162590"/>
                  <a:pt x="578279" y="1168740"/>
                  <a:pt x="587389" y="1172173"/>
                </a:cubicBezTo>
                <a:cubicBezTo>
                  <a:pt x="593869" y="1174616"/>
                  <a:pt x="600289" y="1177449"/>
                  <a:pt x="606286" y="1180891"/>
                </a:cubicBezTo>
                <a:cubicBezTo>
                  <a:pt x="617185" y="1187146"/>
                  <a:pt x="618776" y="1192931"/>
                  <a:pt x="613400" y="1204260"/>
                </a:cubicBezTo>
                <a:cubicBezTo>
                  <a:pt x="611475" y="1208315"/>
                  <a:pt x="609140" y="1212177"/>
                  <a:pt x="605350" y="1216760"/>
                </a:cubicBezTo>
                <a:cubicBezTo>
                  <a:pt x="602514" y="1218347"/>
                  <a:pt x="600399" y="1219189"/>
                  <a:pt x="600268" y="1220273"/>
                </a:cubicBezTo>
                <a:cubicBezTo>
                  <a:pt x="598551" y="1234430"/>
                  <a:pt x="599473" y="1247881"/>
                  <a:pt x="610574" y="1258750"/>
                </a:cubicBezTo>
                <a:cubicBezTo>
                  <a:pt x="631265" y="1279009"/>
                  <a:pt x="651790" y="1299438"/>
                  <a:pt x="672371" y="1319810"/>
                </a:cubicBezTo>
                <a:cubicBezTo>
                  <a:pt x="673495" y="1320922"/>
                  <a:pt x="674892" y="1321987"/>
                  <a:pt x="675494" y="1323366"/>
                </a:cubicBezTo>
                <a:cubicBezTo>
                  <a:pt x="685626" y="1346558"/>
                  <a:pt x="694775" y="1370031"/>
                  <a:pt x="692949" y="1396068"/>
                </a:cubicBezTo>
                <a:cubicBezTo>
                  <a:pt x="692525" y="1402108"/>
                  <a:pt x="691276" y="1408087"/>
                  <a:pt x="690628" y="1414117"/>
                </a:cubicBezTo>
                <a:cubicBezTo>
                  <a:pt x="690241" y="1417713"/>
                  <a:pt x="691290" y="1420628"/>
                  <a:pt x="695588" y="1421035"/>
                </a:cubicBezTo>
                <a:cubicBezTo>
                  <a:pt x="695527" y="1422155"/>
                  <a:pt x="695467" y="1423274"/>
                  <a:pt x="694353" y="1425190"/>
                </a:cubicBezTo>
                <a:cubicBezTo>
                  <a:pt x="691901" y="1426894"/>
                  <a:pt x="690503" y="1427804"/>
                  <a:pt x="689106" y="1428714"/>
                </a:cubicBezTo>
                <a:cubicBezTo>
                  <a:pt x="691101" y="1428620"/>
                  <a:pt x="693098" y="1428527"/>
                  <a:pt x="695093" y="1428433"/>
                </a:cubicBezTo>
                <a:cubicBezTo>
                  <a:pt x="695976" y="1429430"/>
                  <a:pt x="696859" y="1430427"/>
                  <a:pt x="697643" y="1432864"/>
                </a:cubicBezTo>
                <a:cubicBezTo>
                  <a:pt x="697724" y="1436887"/>
                  <a:pt x="697087" y="1439912"/>
                  <a:pt x="698207" y="1441988"/>
                </a:cubicBezTo>
                <a:cubicBezTo>
                  <a:pt x="709464" y="1462853"/>
                  <a:pt x="715798" y="1484864"/>
                  <a:pt x="715183" y="1508752"/>
                </a:cubicBezTo>
                <a:cubicBezTo>
                  <a:pt x="714863" y="1521166"/>
                  <a:pt x="713458" y="1523372"/>
                  <a:pt x="701540" y="1526524"/>
                </a:cubicBezTo>
                <a:cubicBezTo>
                  <a:pt x="662165" y="1536936"/>
                  <a:pt x="622006" y="1543243"/>
                  <a:pt x="581715" y="1548559"/>
                </a:cubicBezTo>
                <a:cubicBezTo>
                  <a:pt x="561988" y="1551162"/>
                  <a:pt x="542052" y="1552457"/>
                  <a:pt x="522168" y="1553543"/>
                </a:cubicBezTo>
                <a:cubicBezTo>
                  <a:pt x="498138" y="1554856"/>
                  <a:pt x="474063" y="1556013"/>
                  <a:pt x="450008" y="1556019"/>
                </a:cubicBezTo>
                <a:cubicBezTo>
                  <a:pt x="381724" y="1556035"/>
                  <a:pt x="313415" y="1557550"/>
                  <a:pt x="245169" y="1553749"/>
                </a:cubicBezTo>
                <a:cubicBezTo>
                  <a:pt x="237413" y="1553317"/>
                  <a:pt x="229596" y="1553867"/>
                  <a:pt x="221854" y="1553306"/>
                </a:cubicBezTo>
                <a:cubicBezTo>
                  <a:pt x="204023" y="1552015"/>
                  <a:pt x="186231" y="1550202"/>
                  <a:pt x="168405" y="1548828"/>
                </a:cubicBezTo>
                <a:cubicBezTo>
                  <a:pt x="154605" y="1547764"/>
                  <a:pt x="140762" y="1547242"/>
                  <a:pt x="126970" y="1546091"/>
                </a:cubicBezTo>
                <a:cubicBezTo>
                  <a:pt x="119295" y="1545451"/>
                  <a:pt x="111668" y="1544132"/>
                  <a:pt x="104053" y="1542912"/>
                </a:cubicBezTo>
                <a:cubicBezTo>
                  <a:pt x="91223" y="1540858"/>
                  <a:pt x="78344" y="1539011"/>
                  <a:pt x="65625" y="1536401"/>
                </a:cubicBezTo>
                <a:cubicBezTo>
                  <a:pt x="47307" y="1532642"/>
                  <a:pt x="29006" y="1528694"/>
                  <a:pt x="10909" y="1524010"/>
                </a:cubicBezTo>
                <a:cubicBezTo>
                  <a:pt x="744" y="1521379"/>
                  <a:pt x="119" y="1519620"/>
                  <a:pt x="8" y="1509263"/>
                </a:cubicBezTo>
                <a:cubicBezTo>
                  <a:pt x="-283" y="1482004"/>
                  <a:pt x="7525" y="1456906"/>
                  <a:pt x="21158" y="1433611"/>
                </a:cubicBezTo>
                <a:cubicBezTo>
                  <a:pt x="24128" y="1428537"/>
                  <a:pt x="25100" y="1424162"/>
                  <a:pt x="23462" y="1418658"/>
                </a:cubicBezTo>
                <a:cubicBezTo>
                  <a:pt x="19938" y="1406814"/>
                  <a:pt x="19145" y="1394638"/>
                  <a:pt x="19643" y="1382324"/>
                </a:cubicBezTo>
                <a:cubicBezTo>
                  <a:pt x="20741" y="1355171"/>
                  <a:pt x="29461" y="1331114"/>
                  <a:pt x="49060" y="1311832"/>
                </a:cubicBezTo>
                <a:cubicBezTo>
                  <a:pt x="68866" y="1292344"/>
                  <a:pt x="89102" y="1273294"/>
                  <a:pt x="109176" y="1254078"/>
                </a:cubicBezTo>
                <a:cubicBezTo>
                  <a:pt x="120788" y="1242961"/>
                  <a:pt x="123122" y="1229673"/>
                  <a:pt x="118319" y="1214801"/>
                </a:cubicBezTo>
                <a:cubicBezTo>
                  <a:pt x="116817" y="1210150"/>
                  <a:pt x="114697" y="1205702"/>
                  <a:pt x="113082" y="1201084"/>
                </a:cubicBezTo>
                <a:cubicBezTo>
                  <a:pt x="109606" y="1191147"/>
                  <a:pt x="110855" y="1188189"/>
                  <a:pt x="120417" y="1183950"/>
                </a:cubicBezTo>
                <a:cubicBezTo>
                  <a:pt x="125262" y="1181801"/>
                  <a:pt x="130109" y="1179394"/>
                  <a:pt x="135209" y="1178138"/>
                </a:cubicBezTo>
                <a:cubicBezTo>
                  <a:pt x="146972" y="1175241"/>
                  <a:pt x="153194" y="1166910"/>
                  <a:pt x="156535" y="1156396"/>
                </a:cubicBezTo>
                <a:cubicBezTo>
                  <a:pt x="166535" y="1124919"/>
                  <a:pt x="176229" y="1093339"/>
                  <a:pt x="185647" y="1061682"/>
                </a:cubicBezTo>
                <a:cubicBezTo>
                  <a:pt x="191222" y="1042945"/>
                  <a:pt x="196570" y="1024108"/>
                  <a:pt x="201074" y="1005093"/>
                </a:cubicBezTo>
                <a:cubicBezTo>
                  <a:pt x="205941" y="984550"/>
                  <a:pt x="210000" y="963801"/>
                  <a:pt x="213864" y="943040"/>
                </a:cubicBezTo>
                <a:cubicBezTo>
                  <a:pt x="217503" y="923489"/>
                  <a:pt x="220701" y="903846"/>
                  <a:pt x="223580" y="884167"/>
                </a:cubicBezTo>
                <a:cubicBezTo>
                  <a:pt x="225754" y="869301"/>
                  <a:pt x="227195" y="854324"/>
                  <a:pt x="228827" y="839382"/>
                </a:cubicBezTo>
                <a:cubicBezTo>
                  <a:pt x="230459" y="824446"/>
                  <a:pt x="232880" y="809515"/>
                  <a:pt x="233251" y="794539"/>
                </a:cubicBezTo>
                <a:cubicBezTo>
                  <a:pt x="233961" y="765893"/>
                  <a:pt x="233499" y="737217"/>
                  <a:pt x="233413" y="708554"/>
                </a:cubicBezTo>
                <a:cubicBezTo>
                  <a:pt x="233404" y="705465"/>
                  <a:pt x="232667" y="702378"/>
                  <a:pt x="232253" y="699181"/>
                </a:cubicBezTo>
                <a:cubicBezTo>
                  <a:pt x="218443" y="697138"/>
                  <a:pt x="205461" y="695831"/>
                  <a:pt x="192775" y="693131"/>
                </a:cubicBezTo>
                <a:cubicBezTo>
                  <a:pt x="183686" y="691197"/>
                  <a:pt x="174549" y="688305"/>
                  <a:pt x="166222" y="684229"/>
                </a:cubicBezTo>
                <a:cubicBezTo>
                  <a:pt x="151266" y="676909"/>
                  <a:pt x="147247" y="664789"/>
                  <a:pt x="153485" y="649704"/>
                </a:cubicBezTo>
                <a:cubicBezTo>
                  <a:pt x="158693" y="637111"/>
                  <a:pt x="168160" y="628190"/>
                  <a:pt x="179302" y="621006"/>
                </a:cubicBezTo>
                <a:cubicBezTo>
                  <a:pt x="186548" y="616334"/>
                  <a:pt x="191317" y="611105"/>
                  <a:pt x="192182" y="601675"/>
                </a:cubicBezTo>
                <a:cubicBezTo>
                  <a:pt x="192878" y="594094"/>
                  <a:pt x="197099" y="587626"/>
                  <a:pt x="204894" y="583417"/>
                </a:cubicBezTo>
                <a:cubicBezTo>
                  <a:pt x="214873" y="578030"/>
                  <a:pt x="224643" y="571774"/>
                  <a:pt x="233213" y="564393"/>
                </a:cubicBezTo>
                <a:cubicBezTo>
                  <a:pt x="242623" y="556289"/>
                  <a:pt x="240441" y="544193"/>
                  <a:pt x="229725" y="538177"/>
                </a:cubicBezTo>
                <a:cubicBezTo>
                  <a:pt x="226159" y="536176"/>
                  <a:pt x="222483" y="534351"/>
                  <a:pt x="218771" y="532633"/>
                </a:cubicBezTo>
                <a:cubicBezTo>
                  <a:pt x="213503" y="530196"/>
                  <a:pt x="212651" y="526226"/>
                  <a:pt x="215183" y="521568"/>
                </a:cubicBezTo>
                <a:cubicBezTo>
                  <a:pt x="217485" y="517332"/>
                  <a:pt x="220405" y="513432"/>
                  <a:pt x="223368" y="508901"/>
                </a:cubicBezTo>
                <a:cubicBezTo>
                  <a:pt x="221781" y="505376"/>
                  <a:pt x="220809" y="501165"/>
                  <a:pt x="218372" y="498135"/>
                </a:cubicBezTo>
                <a:cubicBezTo>
                  <a:pt x="202366" y="478231"/>
                  <a:pt x="190774" y="455961"/>
                  <a:pt x="181440" y="432308"/>
                </a:cubicBezTo>
                <a:cubicBezTo>
                  <a:pt x="170959" y="405748"/>
                  <a:pt x="164933" y="378186"/>
                  <a:pt x="167535" y="349841"/>
                </a:cubicBezTo>
                <a:cubicBezTo>
                  <a:pt x="170341" y="319265"/>
                  <a:pt x="179208" y="289917"/>
                  <a:pt x="193488" y="262518"/>
                </a:cubicBezTo>
                <a:cubicBezTo>
                  <a:pt x="206512" y="237529"/>
                  <a:pt x="220831" y="213359"/>
                  <a:pt x="237748" y="190690"/>
                </a:cubicBezTo>
                <a:cubicBezTo>
                  <a:pt x="260421" y="160310"/>
                  <a:pt x="282602" y="129592"/>
                  <a:pt x="309459" y="102623"/>
                </a:cubicBezTo>
                <a:cubicBezTo>
                  <a:pt x="316627" y="95424"/>
                  <a:pt x="316261" y="87541"/>
                  <a:pt x="310459" y="78521"/>
                </a:cubicBezTo>
                <a:cubicBezTo>
                  <a:pt x="306309" y="72071"/>
                  <a:pt x="301695" y="65150"/>
                  <a:pt x="300267" y="57856"/>
                </a:cubicBezTo>
                <a:cubicBezTo>
                  <a:pt x="295286" y="32423"/>
                  <a:pt x="314502" y="10133"/>
                  <a:pt x="332242" y="4422"/>
                </a:cubicBezTo>
                <a:cubicBezTo>
                  <a:pt x="349540" y="-1148"/>
                  <a:pt x="367530" y="-2176"/>
                  <a:pt x="384904" y="5551"/>
                </a:cubicBezTo>
                <a:cubicBezTo>
                  <a:pt x="395271" y="10161"/>
                  <a:pt x="403310" y="17760"/>
                  <a:pt x="409773" y="26778"/>
                </a:cubicBezTo>
                <a:cubicBezTo>
                  <a:pt x="415168" y="34307"/>
                  <a:pt x="413749" y="41584"/>
                  <a:pt x="407026" y="46052"/>
                </a:cubicBezTo>
                <a:cubicBezTo>
                  <a:pt x="405624" y="40964"/>
                  <a:pt x="404503" y="35849"/>
                  <a:pt x="402771" y="30951"/>
                </a:cubicBezTo>
                <a:cubicBezTo>
                  <a:pt x="401450" y="27216"/>
                  <a:pt x="399383" y="28477"/>
                  <a:pt x="397038" y="30361"/>
                </a:cubicBezTo>
                <a:cubicBezTo>
                  <a:pt x="384440" y="15986"/>
                  <a:pt x="377037" y="14494"/>
                  <a:pt x="360694" y="22760"/>
                </a:cubicBezTo>
                <a:cubicBezTo>
                  <a:pt x="353707" y="22767"/>
                  <a:pt x="352275" y="27176"/>
                  <a:pt x="351669" y="31736"/>
                </a:cubicBezTo>
                <a:cubicBezTo>
                  <a:pt x="351136" y="35760"/>
                  <a:pt x="351383" y="39899"/>
                  <a:pt x="351426" y="43987"/>
                </a:cubicBezTo>
                <a:cubicBezTo>
                  <a:pt x="351648" y="64919"/>
                  <a:pt x="372389" y="78115"/>
                  <a:pt x="390968" y="68762"/>
                </a:cubicBezTo>
                <a:cubicBezTo>
                  <a:pt x="395158" y="66653"/>
                  <a:pt x="398534" y="62629"/>
                  <a:pt x="401770" y="59025"/>
                </a:cubicBezTo>
                <a:cubicBezTo>
                  <a:pt x="404045" y="56491"/>
                  <a:pt x="405661" y="53409"/>
                  <a:pt x="409619" y="55786"/>
                </a:cubicBezTo>
                <a:cubicBezTo>
                  <a:pt x="413544" y="58145"/>
                  <a:pt x="412176" y="61347"/>
                  <a:pt x="410427" y="64256"/>
                </a:cubicBezTo>
                <a:cubicBezTo>
                  <a:pt x="406872" y="70170"/>
                  <a:pt x="403244" y="76046"/>
                  <a:pt x="399453" y="81811"/>
                </a:cubicBezTo>
                <a:cubicBezTo>
                  <a:pt x="394663" y="89097"/>
                  <a:pt x="394382" y="94032"/>
                  <a:pt x="399346" y="98083"/>
                </a:cubicBezTo>
                <a:cubicBezTo>
                  <a:pt x="428062" y="121519"/>
                  <a:pt x="450822" y="150083"/>
                  <a:pt x="471592" y="180524"/>
                </a:cubicBezTo>
                <a:cubicBezTo>
                  <a:pt x="476398" y="187569"/>
                  <a:pt x="476844" y="193688"/>
                  <a:pt x="473550" y="200923"/>
                </a:cubicBezTo>
                <a:cubicBezTo>
                  <a:pt x="470171" y="208346"/>
                  <a:pt x="467091" y="215905"/>
                  <a:pt x="463677" y="223311"/>
                </a:cubicBezTo>
                <a:cubicBezTo>
                  <a:pt x="461993" y="226965"/>
                  <a:pt x="462995" y="228697"/>
                  <a:pt x="466852" y="229083"/>
                </a:cubicBezTo>
                <a:moveTo>
                  <a:pt x="474186" y="928382"/>
                </a:moveTo>
                <a:cubicBezTo>
                  <a:pt x="469297" y="891529"/>
                  <a:pt x="462961" y="854794"/>
                  <a:pt x="459927" y="817790"/>
                </a:cubicBezTo>
                <a:cubicBezTo>
                  <a:pt x="456905" y="780939"/>
                  <a:pt x="457197" y="743817"/>
                  <a:pt x="456025" y="706469"/>
                </a:cubicBezTo>
                <a:cubicBezTo>
                  <a:pt x="425780" y="707923"/>
                  <a:pt x="396554" y="709327"/>
                  <a:pt x="366863" y="710754"/>
                </a:cubicBezTo>
                <a:cubicBezTo>
                  <a:pt x="366546" y="714450"/>
                  <a:pt x="366201" y="716832"/>
                  <a:pt x="366159" y="719219"/>
                </a:cubicBezTo>
                <a:cubicBezTo>
                  <a:pt x="365479" y="757672"/>
                  <a:pt x="364935" y="796129"/>
                  <a:pt x="364159" y="834581"/>
                </a:cubicBezTo>
                <a:cubicBezTo>
                  <a:pt x="363450" y="869762"/>
                  <a:pt x="362581" y="904941"/>
                  <a:pt x="361633" y="940117"/>
                </a:cubicBezTo>
                <a:cubicBezTo>
                  <a:pt x="360619" y="977749"/>
                  <a:pt x="359431" y="1015376"/>
                  <a:pt x="358313" y="1053005"/>
                </a:cubicBezTo>
                <a:cubicBezTo>
                  <a:pt x="358265" y="1054641"/>
                  <a:pt x="358149" y="1056276"/>
                  <a:pt x="358081" y="1057912"/>
                </a:cubicBezTo>
                <a:cubicBezTo>
                  <a:pt x="356598" y="1093463"/>
                  <a:pt x="355081" y="1129014"/>
                  <a:pt x="353706" y="1164570"/>
                </a:cubicBezTo>
                <a:cubicBezTo>
                  <a:pt x="353604" y="1167221"/>
                  <a:pt x="354516" y="1169911"/>
                  <a:pt x="354951" y="1172547"/>
                </a:cubicBezTo>
                <a:cubicBezTo>
                  <a:pt x="416984" y="1173689"/>
                  <a:pt x="478158" y="1174816"/>
                  <a:pt x="540959" y="1175972"/>
                </a:cubicBezTo>
                <a:cubicBezTo>
                  <a:pt x="513162" y="1094194"/>
                  <a:pt x="489081" y="1013598"/>
                  <a:pt x="474186" y="928382"/>
                </a:cubicBezTo>
                <a:moveTo>
                  <a:pt x="513768" y="1417676"/>
                </a:moveTo>
                <a:cubicBezTo>
                  <a:pt x="515785" y="1417344"/>
                  <a:pt x="517792" y="1416889"/>
                  <a:pt x="519822" y="1416700"/>
                </a:cubicBezTo>
                <a:cubicBezTo>
                  <a:pt x="557234" y="1413220"/>
                  <a:pt x="594682" y="1410089"/>
                  <a:pt x="632041" y="1406122"/>
                </a:cubicBezTo>
                <a:cubicBezTo>
                  <a:pt x="643122" y="1404945"/>
                  <a:pt x="654730" y="1405292"/>
                  <a:pt x="665040" y="1400634"/>
                </a:cubicBezTo>
                <a:cubicBezTo>
                  <a:pt x="665352" y="1398517"/>
                  <a:pt x="665651" y="1397324"/>
                  <a:pt x="665677" y="1396126"/>
                </a:cubicBezTo>
                <a:cubicBezTo>
                  <a:pt x="665722" y="1394084"/>
                  <a:pt x="665674" y="1392032"/>
                  <a:pt x="665529" y="1389994"/>
                </a:cubicBezTo>
                <a:cubicBezTo>
                  <a:pt x="663118" y="1356121"/>
                  <a:pt x="650063" y="1327787"/>
                  <a:pt x="623046" y="1306238"/>
                </a:cubicBezTo>
                <a:cubicBezTo>
                  <a:pt x="613485" y="1298611"/>
                  <a:pt x="605001" y="1289635"/>
                  <a:pt x="596015" y="1281285"/>
                </a:cubicBezTo>
                <a:cubicBezTo>
                  <a:pt x="578506" y="1265018"/>
                  <a:pt x="567837" y="1245446"/>
                  <a:pt x="567683" y="1220059"/>
                </a:cubicBezTo>
                <a:cubicBezTo>
                  <a:pt x="558046" y="1220059"/>
                  <a:pt x="549136" y="1219649"/>
                  <a:pt x="540273" y="1220129"/>
                </a:cubicBezTo>
                <a:cubicBezTo>
                  <a:pt x="501512" y="1222229"/>
                  <a:pt x="462775" y="1224768"/>
                  <a:pt x="424010" y="1226781"/>
                </a:cubicBezTo>
                <a:cubicBezTo>
                  <a:pt x="401969" y="1227926"/>
                  <a:pt x="379889" y="1228330"/>
                  <a:pt x="357832" y="1229178"/>
                </a:cubicBezTo>
                <a:cubicBezTo>
                  <a:pt x="355938" y="1229251"/>
                  <a:pt x="354076" y="1230151"/>
                  <a:pt x="352386" y="1230616"/>
                </a:cubicBezTo>
                <a:cubicBezTo>
                  <a:pt x="353642" y="1262222"/>
                  <a:pt x="355769" y="1293219"/>
                  <a:pt x="355852" y="1324222"/>
                </a:cubicBezTo>
                <a:cubicBezTo>
                  <a:pt x="355936" y="1355438"/>
                  <a:pt x="353988" y="1386659"/>
                  <a:pt x="352930" y="1417867"/>
                </a:cubicBezTo>
                <a:cubicBezTo>
                  <a:pt x="406069" y="1417867"/>
                  <a:pt x="458771" y="1417867"/>
                  <a:pt x="513768" y="1417676"/>
                </a:cubicBezTo>
                <a:moveTo>
                  <a:pt x="387930" y="499741"/>
                </a:moveTo>
                <a:cubicBezTo>
                  <a:pt x="410797" y="498777"/>
                  <a:pt x="433665" y="497860"/>
                  <a:pt x="456529" y="496826"/>
                </a:cubicBezTo>
                <a:cubicBezTo>
                  <a:pt x="466656" y="496369"/>
                  <a:pt x="475418" y="493371"/>
                  <a:pt x="482355" y="485095"/>
                </a:cubicBezTo>
                <a:cubicBezTo>
                  <a:pt x="509188" y="453083"/>
                  <a:pt x="525387" y="416636"/>
                  <a:pt x="528016" y="374829"/>
                </a:cubicBezTo>
                <a:cubicBezTo>
                  <a:pt x="530547" y="334558"/>
                  <a:pt x="520095" y="297041"/>
                  <a:pt x="501375" y="261643"/>
                </a:cubicBezTo>
                <a:cubicBezTo>
                  <a:pt x="499379" y="257869"/>
                  <a:pt x="496654" y="254482"/>
                  <a:pt x="493534" y="249818"/>
                </a:cubicBezTo>
                <a:cubicBezTo>
                  <a:pt x="490233" y="254212"/>
                  <a:pt x="487883" y="256986"/>
                  <a:pt x="485920" y="260010"/>
                </a:cubicBezTo>
                <a:cubicBezTo>
                  <a:pt x="475010" y="276824"/>
                  <a:pt x="464300" y="293767"/>
                  <a:pt x="453305" y="310523"/>
                </a:cubicBezTo>
                <a:cubicBezTo>
                  <a:pt x="447028" y="320089"/>
                  <a:pt x="440916" y="329858"/>
                  <a:pt x="433678" y="338672"/>
                </a:cubicBezTo>
                <a:cubicBezTo>
                  <a:pt x="425909" y="348131"/>
                  <a:pt x="413084" y="349691"/>
                  <a:pt x="403713" y="343710"/>
                </a:cubicBezTo>
                <a:cubicBezTo>
                  <a:pt x="394358" y="337739"/>
                  <a:pt x="391675" y="327526"/>
                  <a:pt x="396427" y="315612"/>
                </a:cubicBezTo>
                <a:cubicBezTo>
                  <a:pt x="397334" y="313339"/>
                  <a:pt x="398595" y="311210"/>
                  <a:pt x="399663" y="309000"/>
                </a:cubicBezTo>
                <a:cubicBezTo>
                  <a:pt x="417094" y="272900"/>
                  <a:pt x="434331" y="236704"/>
                  <a:pt x="452097" y="200770"/>
                </a:cubicBezTo>
                <a:cubicBezTo>
                  <a:pt x="455910" y="193060"/>
                  <a:pt x="455310" y="187173"/>
                  <a:pt x="450118" y="180596"/>
                </a:cubicBezTo>
                <a:cubicBezTo>
                  <a:pt x="428273" y="152922"/>
                  <a:pt x="405805" y="125901"/>
                  <a:pt x="376545" y="105525"/>
                </a:cubicBezTo>
                <a:cubicBezTo>
                  <a:pt x="374483" y="104089"/>
                  <a:pt x="372013" y="103239"/>
                  <a:pt x="368791" y="101653"/>
                </a:cubicBezTo>
                <a:cubicBezTo>
                  <a:pt x="367942" y="116965"/>
                  <a:pt x="367019" y="130814"/>
                  <a:pt x="366449" y="144676"/>
                </a:cubicBezTo>
                <a:cubicBezTo>
                  <a:pt x="365912" y="157758"/>
                  <a:pt x="365593" y="170854"/>
                  <a:pt x="365447" y="183946"/>
                </a:cubicBezTo>
                <a:cubicBezTo>
                  <a:pt x="365020" y="221975"/>
                  <a:pt x="363367" y="260055"/>
                  <a:pt x="364738" y="298022"/>
                </a:cubicBezTo>
                <a:cubicBezTo>
                  <a:pt x="366329" y="342101"/>
                  <a:pt x="370336" y="386106"/>
                  <a:pt x="373865" y="430096"/>
                </a:cubicBezTo>
                <a:cubicBezTo>
                  <a:pt x="375530" y="450849"/>
                  <a:pt x="378387" y="471514"/>
                  <a:pt x="381088" y="492169"/>
                </a:cubicBezTo>
                <a:cubicBezTo>
                  <a:pt x="381433" y="494807"/>
                  <a:pt x="384102" y="497143"/>
                  <a:pt x="387930" y="499741"/>
                </a:cubicBezTo>
                <a:moveTo>
                  <a:pt x="455850" y="1521476"/>
                </a:moveTo>
                <a:cubicBezTo>
                  <a:pt x="533043" y="1519612"/>
                  <a:pt x="609810" y="1514084"/>
                  <a:pt x="685121" y="1496509"/>
                </a:cubicBezTo>
                <a:cubicBezTo>
                  <a:pt x="683922" y="1481705"/>
                  <a:pt x="679199" y="1467708"/>
                  <a:pt x="672999" y="1456665"/>
                </a:cubicBezTo>
                <a:cubicBezTo>
                  <a:pt x="669933" y="1451203"/>
                  <a:pt x="666057" y="1449329"/>
                  <a:pt x="660009" y="1450249"/>
                </a:cubicBezTo>
                <a:cubicBezTo>
                  <a:pt x="651125" y="1451601"/>
                  <a:pt x="642144" y="1452308"/>
                  <a:pt x="633248" y="1453589"/>
                </a:cubicBezTo>
                <a:cubicBezTo>
                  <a:pt x="572852" y="1462289"/>
                  <a:pt x="511993" y="1465134"/>
                  <a:pt x="451131" y="1467458"/>
                </a:cubicBezTo>
                <a:cubicBezTo>
                  <a:pt x="421697" y="1468582"/>
                  <a:pt x="392192" y="1467837"/>
                  <a:pt x="362719" y="1467934"/>
                </a:cubicBezTo>
                <a:cubicBezTo>
                  <a:pt x="358386" y="1467948"/>
                  <a:pt x="354052" y="1467936"/>
                  <a:pt x="349983" y="1467936"/>
                </a:cubicBezTo>
                <a:cubicBezTo>
                  <a:pt x="347592" y="1485362"/>
                  <a:pt x="348606" y="1509458"/>
                  <a:pt x="352220" y="1519140"/>
                </a:cubicBezTo>
                <a:cubicBezTo>
                  <a:pt x="385617" y="1519916"/>
                  <a:pt x="419507" y="1520703"/>
                  <a:pt x="455850" y="1521476"/>
                </a:cubicBezTo>
                <a:moveTo>
                  <a:pt x="368682" y="544846"/>
                </a:moveTo>
                <a:cubicBezTo>
                  <a:pt x="374258" y="564891"/>
                  <a:pt x="370074" y="584394"/>
                  <a:pt x="363600" y="605633"/>
                </a:cubicBezTo>
                <a:cubicBezTo>
                  <a:pt x="408859" y="604212"/>
                  <a:pt x="452263" y="602850"/>
                  <a:pt x="496351" y="601466"/>
                </a:cubicBezTo>
                <a:cubicBezTo>
                  <a:pt x="496109" y="591095"/>
                  <a:pt x="491408" y="584247"/>
                  <a:pt x="485068" y="579288"/>
                </a:cubicBezTo>
                <a:cubicBezTo>
                  <a:pt x="472414" y="569391"/>
                  <a:pt x="466934" y="556602"/>
                  <a:pt x="466524" y="541026"/>
                </a:cubicBezTo>
                <a:cubicBezTo>
                  <a:pt x="466485" y="539528"/>
                  <a:pt x="465591" y="538053"/>
                  <a:pt x="465000" y="536289"/>
                </a:cubicBezTo>
                <a:cubicBezTo>
                  <a:pt x="460209" y="536289"/>
                  <a:pt x="455761" y="536132"/>
                  <a:pt x="451328" y="536316"/>
                </a:cubicBezTo>
                <a:cubicBezTo>
                  <a:pt x="430930" y="537159"/>
                  <a:pt x="410538" y="538137"/>
                  <a:pt x="390140" y="538979"/>
                </a:cubicBezTo>
                <a:cubicBezTo>
                  <a:pt x="384834" y="539198"/>
                  <a:pt x="379484" y="538790"/>
                  <a:pt x="374215" y="539303"/>
                </a:cubicBezTo>
                <a:cubicBezTo>
                  <a:pt x="372259" y="539494"/>
                  <a:pt x="370480" y="541498"/>
                  <a:pt x="368682" y="544846"/>
                </a:cubicBezTo>
                <a:moveTo>
                  <a:pt x="453915" y="635267"/>
                </a:moveTo>
                <a:cubicBezTo>
                  <a:pt x="427589" y="636632"/>
                  <a:pt x="401262" y="637998"/>
                  <a:pt x="374200" y="639402"/>
                </a:cubicBezTo>
                <a:cubicBezTo>
                  <a:pt x="374200" y="651578"/>
                  <a:pt x="374200" y="661970"/>
                  <a:pt x="374200" y="673206"/>
                </a:cubicBezTo>
                <a:cubicBezTo>
                  <a:pt x="378672" y="673406"/>
                  <a:pt x="382666" y="673863"/>
                  <a:pt x="386639" y="673718"/>
                </a:cubicBezTo>
                <a:cubicBezTo>
                  <a:pt x="431495" y="672082"/>
                  <a:pt x="476352" y="670422"/>
                  <a:pt x="521198" y="668541"/>
                </a:cubicBezTo>
                <a:cubicBezTo>
                  <a:pt x="525584" y="668357"/>
                  <a:pt x="530162" y="667254"/>
                  <a:pt x="534198" y="665521"/>
                </a:cubicBezTo>
                <a:cubicBezTo>
                  <a:pt x="540213" y="662938"/>
                  <a:pt x="541802" y="658194"/>
                  <a:pt x="538413" y="652526"/>
                </a:cubicBezTo>
                <a:cubicBezTo>
                  <a:pt x="536192" y="648813"/>
                  <a:pt x="532979" y="645251"/>
                  <a:pt x="529377" y="642895"/>
                </a:cubicBezTo>
                <a:cubicBezTo>
                  <a:pt x="521426" y="637695"/>
                  <a:pt x="512576" y="634669"/>
                  <a:pt x="502829" y="634808"/>
                </a:cubicBezTo>
                <a:cubicBezTo>
                  <a:pt x="487311" y="635030"/>
                  <a:pt x="471791" y="635092"/>
                  <a:pt x="453915" y="635267"/>
                </a:cubicBez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 w="12700" cap="flat">
            <a:solidFill>
              <a:schemeClr val="tx2">
                <a:lumMod val="20000"/>
                <a:lumOff val="80000"/>
              </a:schemeClr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" name="Free-form: Shape 11">
            <a:extLst>
              <a:ext uri="{FF2B5EF4-FFF2-40B4-BE49-F238E27FC236}">
                <a16:creationId xmlns:a16="http://schemas.microsoft.com/office/drawing/2014/main" id="{D249EDD6-63A7-7819-D9D7-E1B4753C3463}"/>
              </a:ext>
            </a:extLst>
          </p:cNvPr>
          <p:cNvSpPr/>
          <p:nvPr/>
        </p:nvSpPr>
        <p:spPr>
          <a:xfrm>
            <a:off x="2741509" y="1453417"/>
            <a:ext cx="665488" cy="1428730"/>
          </a:xfrm>
          <a:custGeom>
            <a:avLst/>
            <a:gdLst>
              <a:gd name="csX0" fmla="*/ 406842 w 732037"/>
              <a:gd name="csY0" fmla="*/ 38347 h 1571603"/>
              <a:gd name="csX1" fmla="*/ 411944 w 732037"/>
              <a:gd name="csY1" fmla="*/ 38343 h 1571603"/>
              <a:gd name="csX2" fmla="*/ 416198 w 732037"/>
              <a:gd name="csY2" fmla="*/ 53444 h 1571603"/>
              <a:gd name="csX3" fmla="*/ 418945 w 732037"/>
              <a:gd name="csY3" fmla="*/ 34170 h 1571603"/>
              <a:gd name="csX4" fmla="*/ 394077 w 732037"/>
              <a:gd name="csY4" fmla="*/ 12943 h 1571603"/>
              <a:gd name="csX5" fmla="*/ 341415 w 732037"/>
              <a:gd name="csY5" fmla="*/ 11814 h 1571603"/>
              <a:gd name="csX6" fmla="*/ 309440 w 732037"/>
              <a:gd name="csY6" fmla="*/ 65249 h 1571603"/>
              <a:gd name="csX7" fmla="*/ 319632 w 732037"/>
              <a:gd name="csY7" fmla="*/ 85914 h 1571603"/>
              <a:gd name="csX8" fmla="*/ 318632 w 732037"/>
              <a:gd name="csY8" fmla="*/ 110015 h 1571603"/>
              <a:gd name="csX9" fmla="*/ 246921 w 732037"/>
              <a:gd name="csY9" fmla="*/ 198083 h 1571603"/>
              <a:gd name="csX10" fmla="*/ 202660 w 732037"/>
              <a:gd name="csY10" fmla="*/ 269911 h 1571603"/>
              <a:gd name="csX11" fmla="*/ 176707 w 732037"/>
              <a:gd name="csY11" fmla="*/ 357233 h 1571603"/>
              <a:gd name="csX12" fmla="*/ 190612 w 732037"/>
              <a:gd name="csY12" fmla="*/ 439700 h 1571603"/>
              <a:gd name="csX13" fmla="*/ 227544 w 732037"/>
              <a:gd name="csY13" fmla="*/ 505527 h 1571603"/>
              <a:gd name="csX14" fmla="*/ 232541 w 732037"/>
              <a:gd name="csY14" fmla="*/ 516294 h 1571603"/>
              <a:gd name="csX15" fmla="*/ 224356 w 732037"/>
              <a:gd name="csY15" fmla="*/ 528960 h 1571603"/>
              <a:gd name="csX16" fmla="*/ 227944 w 732037"/>
              <a:gd name="csY16" fmla="*/ 540026 h 1571603"/>
              <a:gd name="csX17" fmla="*/ 238897 w 732037"/>
              <a:gd name="csY17" fmla="*/ 545570 h 1571603"/>
              <a:gd name="csX18" fmla="*/ 242386 w 732037"/>
              <a:gd name="csY18" fmla="*/ 571785 h 1571603"/>
              <a:gd name="csX19" fmla="*/ 214067 w 732037"/>
              <a:gd name="csY19" fmla="*/ 590809 h 1571603"/>
              <a:gd name="csX20" fmla="*/ 201355 w 732037"/>
              <a:gd name="csY20" fmla="*/ 609067 h 1571603"/>
              <a:gd name="csX21" fmla="*/ 188474 w 732037"/>
              <a:gd name="csY21" fmla="*/ 628398 h 1571603"/>
              <a:gd name="csX22" fmla="*/ 162658 w 732037"/>
              <a:gd name="csY22" fmla="*/ 657096 h 1571603"/>
              <a:gd name="csX23" fmla="*/ 175395 w 732037"/>
              <a:gd name="csY23" fmla="*/ 691621 h 1571603"/>
              <a:gd name="csX24" fmla="*/ 201948 w 732037"/>
              <a:gd name="csY24" fmla="*/ 700523 h 1571603"/>
              <a:gd name="csX25" fmla="*/ 241426 w 732037"/>
              <a:gd name="csY25" fmla="*/ 706574 h 1571603"/>
              <a:gd name="csX26" fmla="*/ 242586 w 732037"/>
              <a:gd name="csY26" fmla="*/ 715946 h 1571603"/>
              <a:gd name="csX27" fmla="*/ 242424 w 732037"/>
              <a:gd name="csY27" fmla="*/ 801932 h 1571603"/>
              <a:gd name="csX28" fmla="*/ 238000 w 732037"/>
              <a:gd name="csY28" fmla="*/ 846774 h 1571603"/>
              <a:gd name="csX29" fmla="*/ 232752 w 732037"/>
              <a:gd name="csY29" fmla="*/ 891559 h 1571603"/>
              <a:gd name="csX30" fmla="*/ 223037 w 732037"/>
              <a:gd name="csY30" fmla="*/ 950433 h 1571603"/>
              <a:gd name="csX31" fmla="*/ 210247 w 732037"/>
              <a:gd name="csY31" fmla="*/ 1012485 h 1571603"/>
              <a:gd name="csX32" fmla="*/ 194820 w 732037"/>
              <a:gd name="csY32" fmla="*/ 1069074 h 1571603"/>
              <a:gd name="csX33" fmla="*/ 165707 w 732037"/>
              <a:gd name="csY33" fmla="*/ 1163788 h 1571603"/>
              <a:gd name="csX34" fmla="*/ 144382 w 732037"/>
              <a:gd name="csY34" fmla="*/ 1185530 h 1571603"/>
              <a:gd name="csX35" fmla="*/ 129590 w 732037"/>
              <a:gd name="csY35" fmla="*/ 1191342 h 1571603"/>
              <a:gd name="csX36" fmla="*/ 122255 w 732037"/>
              <a:gd name="csY36" fmla="*/ 1208476 h 1571603"/>
              <a:gd name="csX37" fmla="*/ 127491 w 732037"/>
              <a:gd name="csY37" fmla="*/ 1222193 h 1571603"/>
              <a:gd name="csX38" fmla="*/ 118348 w 732037"/>
              <a:gd name="csY38" fmla="*/ 1261470 h 1571603"/>
              <a:gd name="csX39" fmla="*/ 58232 w 732037"/>
              <a:gd name="csY39" fmla="*/ 1319224 h 1571603"/>
              <a:gd name="csX40" fmla="*/ 28815 w 732037"/>
              <a:gd name="csY40" fmla="*/ 1389717 h 1571603"/>
              <a:gd name="csX41" fmla="*/ 32634 w 732037"/>
              <a:gd name="csY41" fmla="*/ 1426050 h 1571603"/>
              <a:gd name="csX42" fmla="*/ 30331 w 732037"/>
              <a:gd name="csY42" fmla="*/ 1441003 h 1571603"/>
              <a:gd name="csX43" fmla="*/ 9180 w 732037"/>
              <a:gd name="csY43" fmla="*/ 1516655 h 1571603"/>
              <a:gd name="csX44" fmla="*/ 20082 w 732037"/>
              <a:gd name="csY44" fmla="*/ 1531402 h 1571603"/>
              <a:gd name="csX45" fmla="*/ 74798 w 732037"/>
              <a:gd name="csY45" fmla="*/ 1543794 h 1571603"/>
              <a:gd name="csX46" fmla="*/ 113225 w 732037"/>
              <a:gd name="csY46" fmla="*/ 1550305 h 1571603"/>
              <a:gd name="csX47" fmla="*/ 136142 w 732037"/>
              <a:gd name="csY47" fmla="*/ 1553484 h 1571603"/>
              <a:gd name="csX48" fmla="*/ 177578 w 732037"/>
              <a:gd name="csY48" fmla="*/ 1556220 h 1571603"/>
              <a:gd name="csX49" fmla="*/ 231027 w 732037"/>
              <a:gd name="csY49" fmla="*/ 1560698 h 1571603"/>
              <a:gd name="csX50" fmla="*/ 254342 w 732037"/>
              <a:gd name="csY50" fmla="*/ 1561142 h 1571603"/>
              <a:gd name="csX51" fmla="*/ 459180 w 732037"/>
              <a:gd name="csY51" fmla="*/ 1563411 h 1571603"/>
              <a:gd name="csX52" fmla="*/ 531340 w 732037"/>
              <a:gd name="csY52" fmla="*/ 1560936 h 1571603"/>
              <a:gd name="csX53" fmla="*/ 590888 w 732037"/>
              <a:gd name="csY53" fmla="*/ 1555951 h 1571603"/>
              <a:gd name="csX54" fmla="*/ 710712 w 732037"/>
              <a:gd name="csY54" fmla="*/ 1533916 h 1571603"/>
              <a:gd name="csX55" fmla="*/ 724356 w 732037"/>
              <a:gd name="csY55" fmla="*/ 1516144 h 1571603"/>
              <a:gd name="csX56" fmla="*/ 707380 w 732037"/>
              <a:gd name="csY56" fmla="*/ 1449380 h 1571603"/>
              <a:gd name="csX57" fmla="*/ 707050 w 732037"/>
              <a:gd name="csY57" fmla="*/ 1440881 h 1571603"/>
              <a:gd name="csX58" fmla="*/ 731479 w 732037"/>
              <a:gd name="csY58" fmla="*/ 1500017 h 1571603"/>
              <a:gd name="csX59" fmla="*/ 731163 w 732037"/>
              <a:gd name="csY59" fmla="*/ 1513759 h 1571603"/>
              <a:gd name="csX60" fmla="*/ 731650 w 732037"/>
              <a:gd name="csY60" fmla="*/ 1521766 h 1571603"/>
              <a:gd name="csX61" fmla="*/ 721896 w 732037"/>
              <a:gd name="csY61" fmla="*/ 1537319 h 1571603"/>
              <a:gd name="csX62" fmla="*/ 657740 w 732037"/>
              <a:gd name="csY62" fmla="*/ 1553265 h 1571603"/>
              <a:gd name="csX63" fmla="*/ 507791 w 732037"/>
              <a:gd name="csY63" fmla="*/ 1568943 h 1571603"/>
              <a:gd name="csX64" fmla="*/ 264676 w 732037"/>
              <a:gd name="csY64" fmla="*/ 1569724 h 1571603"/>
              <a:gd name="csX65" fmla="*/ 82743 w 732037"/>
              <a:gd name="csY65" fmla="*/ 1553254 h 1571603"/>
              <a:gd name="csX66" fmla="*/ 17072 w 732037"/>
              <a:gd name="csY66" fmla="*/ 1538153 h 1571603"/>
              <a:gd name="csX67" fmla="*/ 275 w 732037"/>
              <a:gd name="csY67" fmla="*/ 1513030 h 1571603"/>
              <a:gd name="csX68" fmla="*/ 20923 w 732037"/>
              <a:gd name="csY68" fmla="*/ 1441861 h 1571603"/>
              <a:gd name="csX69" fmla="*/ 23045 w 732037"/>
              <a:gd name="csY69" fmla="*/ 1423105 h 1571603"/>
              <a:gd name="csX70" fmla="*/ 30564 w 732037"/>
              <a:gd name="csY70" fmla="*/ 1346289 h 1571603"/>
              <a:gd name="csX71" fmla="*/ 71350 w 732037"/>
              <a:gd name="csY71" fmla="*/ 1295039 h 1571603"/>
              <a:gd name="csX72" fmla="*/ 112257 w 732037"/>
              <a:gd name="csY72" fmla="*/ 1255093 h 1571603"/>
              <a:gd name="csX73" fmla="*/ 115864 w 732037"/>
              <a:gd name="csY73" fmla="*/ 1217271 h 1571603"/>
              <a:gd name="csX74" fmla="*/ 112256 w 732037"/>
              <a:gd name="csY74" fmla="*/ 1210870 h 1571603"/>
              <a:gd name="csX75" fmla="*/ 121141 w 732037"/>
              <a:gd name="csY75" fmla="*/ 1186548 h 1571603"/>
              <a:gd name="csX76" fmla="*/ 136571 w 732037"/>
              <a:gd name="csY76" fmla="*/ 1179850 h 1571603"/>
              <a:gd name="csX77" fmla="*/ 158281 w 732037"/>
              <a:gd name="csY77" fmla="*/ 1157879 h 1571603"/>
              <a:gd name="csX78" fmla="*/ 187986 w 732037"/>
              <a:gd name="csY78" fmla="*/ 1059736 h 1571603"/>
              <a:gd name="csX79" fmla="*/ 217119 w 732037"/>
              <a:gd name="csY79" fmla="*/ 938896 h 1571603"/>
              <a:gd name="csX80" fmla="*/ 225792 w 732037"/>
              <a:gd name="csY80" fmla="*/ 893236 h 1571603"/>
              <a:gd name="csX81" fmla="*/ 226150 w 732037"/>
              <a:gd name="csY81" fmla="*/ 887970 h 1571603"/>
              <a:gd name="csX82" fmla="*/ 230782 w 732037"/>
              <a:gd name="csY82" fmla="*/ 853969 h 1571603"/>
              <a:gd name="csX83" fmla="*/ 230786 w 732037"/>
              <a:gd name="csY83" fmla="*/ 848558 h 1571603"/>
              <a:gd name="csX84" fmla="*/ 233315 w 732037"/>
              <a:gd name="csY84" fmla="*/ 824438 h 1571603"/>
              <a:gd name="csX85" fmla="*/ 233199 w 732037"/>
              <a:gd name="csY85" fmla="*/ 819050 h 1571603"/>
              <a:gd name="csX86" fmla="*/ 235848 w 732037"/>
              <a:gd name="csY86" fmla="*/ 782380 h 1571603"/>
              <a:gd name="csX87" fmla="*/ 237465 w 732037"/>
              <a:gd name="csY87" fmla="*/ 719113 h 1571603"/>
              <a:gd name="csX88" fmla="*/ 233057 w 732037"/>
              <a:gd name="csY88" fmla="*/ 713160 h 1571603"/>
              <a:gd name="csX89" fmla="*/ 203056 w 732037"/>
              <a:gd name="csY89" fmla="*/ 708405 h 1571603"/>
              <a:gd name="csX90" fmla="*/ 169628 w 732037"/>
              <a:gd name="csY90" fmla="*/ 698106 h 1571603"/>
              <a:gd name="csX91" fmla="*/ 153237 w 732037"/>
              <a:gd name="csY91" fmla="*/ 659111 h 1571603"/>
              <a:gd name="csX92" fmla="*/ 178365 w 732037"/>
              <a:gd name="csY92" fmla="*/ 626008 h 1571603"/>
              <a:gd name="csX93" fmla="*/ 191885 w 732037"/>
              <a:gd name="csY93" fmla="*/ 617513 h 1571603"/>
              <a:gd name="csX94" fmla="*/ 193681 w 732037"/>
              <a:gd name="csY94" fmla="*/ 610098 h 1571603"/>
              <a:gd name="csX95" fmla="*/ 213301 w 732037"/>
              <a:gd name="csY95" fmla="*/ 579885 h 1571603"/>
              <a:gd name="csX96" fmla="*/ 229635 w 732037"/>
              <a:gd name="csY96" fmla="*/ 571429 h 1571603"/>
              <a:gd name="csX97" fmla="*/ 237351 w 732037"/>
              <a:gd name="csY97" fmla="*/ 565882 h 1571603"/>
              <a:gd name="csX98" fmla="*/ 233673 w 732037"/>
              <a:gd name="csY98" fmla="*/ 550926 h 1571603"/>
              <a:gd name="csX99" fmla="*/ 226799 w 732037"/>
              <a:gd name="csY99" fmla="*/ 548359 h 1571603"/>
              <a:gd name="csX100" fmla="*/ 218639 w 732037"/>
              <a:gd name="csY100" fmla="*/ 522664 h 1571603"/>
              <a:gd name="csX101" fmla="*/ 218264 w 732037"/>
              <a:gd name="csY101" fmla="*/ 505463 h 1571603"/>
              <a:gd name="csX102" fmla="*/ 181762 w 732037"/>
              <a:gd name="csY102" fmla="*/ 437574 h 1571603"/>
              <a:gd name="csX103" fmla="*/ 185971 w 732037"/>
              <a:gd name="csY103" fmla="*/ 289069 h 1571603"/>
              <a:gd name="csX104" fmla="*/ 253787 w 732037"/>
              <a:gd name="csY104" fmla="*/ 175580 h 1571603"/>
              <a:gd name="csX105" fmla="*/ 309639 w 732037"/>
              <a:gd name="csY105" fmla="*/ 108695 h 1571603"/>
              <a:gd name="csX106" fmla="*/ 318061 w 732037"/>
              <a:gd name="csY106" fmla="*/ 98855 h 1571603"/>
              <a:gd name="csX107" fmla="*/ 304967 w 732037"/>
              <a:gd name="csY107" fmla="*/ 70056 h 1571603"/>
              <a:gd name="csX108" fmla="*/ 317012 w 732037"/>
              <a:gd name="csY108" fmla="*/ 19436 h 1571603"/>
              <a:gd name="csX109" fmla="*/ 415542 w 732037"/>
              <a:gd name="csY109" fmla="*/ 18221 h 1571603"/>
              <a:gd name="csX110" fmla="*/ 423203 w 732037"/>
              <a:gd name="csY110" fmla="*/ 82660 h 1571603"/>
              <a:gd name="csX111" fmla="*/ 413361 w 732037"/>
              <a:gd name="csY111" fmla="*/ 97975 h 1571603"/>
              <a:gd name="csX112" fmla="*/ 421654 w 732037"/>
              <a:gd name="csY112" fmla="*/ 106676 h 1571603"/>
              <a:gd name="csX113" fmla="*/ 487032 w 732037"/>
              <a:gd name="csY113" fmla="*/ 184632 h 1571603"/>
              <a:gd name="csX114" fmla="*/ 489213 w 732037"/>
              <a:gd name="csY114" fmla="*/ 208238 h 1571603"/>
              <a:gd name="csX115" fmla="*/ 476520 w 732037"/>
              <a:gd name="csY115" fmla="*/ 235738 h 1571603"/>
              <a:gd name="csX116" fmla="*/ 472850 w 732037"/>
              <a:gd name="csY116" fmla="*/ 230703 h 1571603"/>
              <a:gd name="csX117" fmla="*/ 482723 w 732037"/>
              <a:gd name="csY117" fmla="*/ 208315 h 1571603"/>
              <a:gd name="csX118" fmla="*/ 480764 w 732037"/>
              <a:gd name="csY118" fmla="*/ 187916 h 1571603"/>
              <a:gd name="csX119" fmla="*/ 408519 w 732037"/>
              <a:gd name="csY119" fmla="*/ 105475 h 1571603"/>
              <a:gd name="csX120" fmla="*/ 408625 w 732037"/>
              <a:gd name="csY120" fmla="*/ 89203 h 1571603"/>
              <a:gd name="csX121" fmla="*/ 419600 w 732037"/>
              <a:gd name="csY121" fmla="*/ 71648 h 1571603"/>
              <a:gd name="csX122" fmla="*/ 418792 w 732037"/>
              <a:gd name="csY122" fmla="*/ 63179 h 1571603"/>
              <a:gd name="csX123" fmla="*/ 410943 w 732037"/>
              <a:gd name="csY123" fmla="*/ 66417 h 1571603"/>
              <a:gd name="csX124" fmla="*/ 400140 w 732037"/>
              <a:gd name="csY124" fmla="*/ 76155 h 1571603"/>
              <a:gd name="csX125" fmla="*/ 360599 w 732037"/>
              <a:gd name="csY125" fmla="*/ 51379 h 1571603"/>
              <a:gd name="csX126" fmla="*/ 360842 w 732037"/>
              <a:gd name="csY126" fmla="*/ 39128 h 1571603"/>
              <a:gd name="csX127" fmla="*/ 369470 w 732037"/>
              <a:gd name="csY127" fmla="*/ 30960 h 1571603"/>
              <a:gd name="csX128" fmla="*/ 365613 w 732037"/>
              <a:gd name="csY128" fmla="*/ 49108 h 1571603"/>
              <a:gd name="csX129" fmla="*/ 389468 w 732037"/>
              <a:gd name="csY129" fmla="*/ 71608 h 1571603"/>
              <a:gd name="csX130" fmla="*/ 408822 w 732037"/>
              <a:gd name="csY130" fmla="*/ 46613 h 1571603"/>
              <a:gd name="csX131" fmla="*/ 406842 w 732037"/>
              <a:gd name="csY131" fmla="*/ 38347 h 157160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</a:cxnLst>
            <a:rect l="l" t="t" r="r" b="b"/>
            <a:pathLst>
              <a:path w="732037" h="1571603">
                <a:moveTo>
                  <a:pt x="406842" y="38347"/>
                </a:moveTo>
                <a:cubicBezTo>
                  <a:pt x="408555" y="35869"/>
                  <a:pt x="410622" y="34608"/>
                  <a:pt x="411944" y="38343"/>
                </a:cubicBezTo>
                <a:cubicBezTo>
                  <a:pt x="413676" y="43242"/>
                  <a:pt x="414797" y="48356"/>
                  <a:pt x="416198" y="53444"/>
                </a:cubicBezTo>
                <a:cubicBezTo>
                  <a:pt x="422922" y="48977"/>
                  <a:pt x="424340" y="41699"/>
                  <a:pt x="418945" y="34170"/>
                </a:cubicBezTo>
                <a:cubicBezTo>
                  <a:pt x="412483" y="25152"/>
                  <a:pt x="404444" y="17554"/>
                  <a:pt x="394077" y="12943"/>
                </a:cubicBezTo>
                <a:cubicBezTo>
                  <a:pt x="376702" y="5216"/>
                  <a:pt x="358713" y="6244"/>
                  <a:pt x="341415" y="11814"/>
                </a:cubicBezTo>
                <a:cubicBezTo>
                  <a:pt x="323675" y="17525"/>
                  <a:pt x="304459" y="39816"/>
                  <a:pt x="309440" y="65249"/>
                </a:cubicBezTo>
                <a:cubicBezTo>
                  <a:pt x="310868" y="72543"/>
                  <a:pt x="315482" y="79463"/>
                  <a:pt x="319632" y="85914"/>
                </a:cubicBezTo>
                <a:cubicBezTo>
                  <a:pt x="325434" y="94933"/>
                  <a:pt x="325800" y="102817"/>
                  <a:pt x="318632" y="110015"/>
                </a:cubicBezTo>
                <a:cubicBezTo>
                  <a:pt x="291775" y="136984"/>
                  <a:pt x="269594" y="167702"/>
                  <a:pt x="246921" y="198083"/>
                </a:cubicBezTo>
                <a:cubicBezTo>
                  <a:pt x="230003" y="220751"/>
                  <a:pt x="215685" y="244921"/>
                  <a:pt x="202660" y="269911"/>
                </a:cubicBezTo>
                <a:cubicBezTo>
                  <a:pt x="188381" y="297309"/>
                  <a:pt x="179513" y="326657"/>
                  <a:pt x="176707" y="357233"/>
                </a:cubicBezTo>
                <a:cubicBezTo>
                  <a:pt x="174106" y="385578"/>
                  <a:pt x="180131" y="413140"/>
                  <a:pt x="190612" y="439700"/>
                </a:cubicBezTo>
                <a:cubicBezTo>
                  <a:pt x="199946" y="463353"/>
                  <a:pt x="211538" y="485623"/>
                  <a:pt x="227544" y="505527"/>
                </a:cubicBezTo>
                <a:cubicBezTo>
                  <a:pt x="229982" y="508558"/>
                  <a:pt x="230954" y="512768"/>
                  <a:pt x="232541" y="516294"/>
                </a:cubicBezTo>
                <a:cubicBezTo>
                  <a:pt x="229578" y="520824"/>
                  <a:pt x="226658" y="524724"/>
                  <a:pt x="224356" y="528960"/>
                </a:cubicBezTo>
                <a:cubicBezTo>
                  <a:pt x="221823" y="533618"/>
                  <a:pt x="222675" y="537588"/>
                  <a:pt x="227944" y="540026"/>
                </a:cubicBezTo>
                <a:cubicBezTo>
                  <a:pt x="231656" y="541743"/>
                  <a:pt x="235331" y="543568"/>
                  <a:pt x="238897" y="545570"/>
                </a:cubicBezTo>
                <a:cubicBezTo>
                  <a:pt x="249613" y="551585"/>
                  <a:pt x="251795" y="563681"/>
                  <a:pt x="242386" y="571785"/>
                </a:cubicBezTo>
                <a:cubicBezTo>
                  <a:pt x="233816" y="579166"/>
                  <a:pt x="224045" y="585423"/>
                  <a:pt x="214067" y="590809"/>
                </a:cubicBezTo>
                <a:cubicBezTo>
                  <a:pt x="206271" y="595018"/>
                  <a:pt x="202051" y="601487"/>
                  <a:pt x="201355" y="609067"/>
                </a:cubicBezTo>
                <a:cubicBezTo>
                  <a:pt x="200489" y="618497"/>
                  <a:pt x="195720" y="623726"/>
                  <a:pt x="188474" y="628398"/>
                </a:cubicBezTo>
                <a:cubicBezTo>
                  <a:pt x="177332" y="635582"/>
                  <a:pt x="167866" y="644503"/>
                  <a:pt x="162658" y="657096"/>
                </a:cubicBezTo>
                <a:cubicBezTo>
                  <a:pt x="156420" y="672181"/>
                  <a:pt x="160439" y="684301"/>
                  <a:pt x="175395" y="691621"/>
                </a:cubicBezTo>
                <a:cubicBezTo>
                  <a:pt x="183722" y="695697"/>
                  <a:pt x="192859" y="698589"/>
                  <a:pt x="201948" y="700523"/>
                </a:cubicBezTo>
                <a:cubicBezTo>
                  <a:pt x="214634" y="703224"/>
                  <a:pt x="227616" y="704530"/>
                  <a:pt x="241426" y="706574"/>
                </a:cubicBezTo>
                <a:cubicBezTo>
                  <a:pt x="241839" y="709770"/>
                  <a:pt x="242576" y="712857"/>
                  <a:pt x="242586" y="715946"/>
                </a:cubicBezTo>
                <a:cubicBezTo>
                  <a:pt x="242672" y="744610"/>
                  <a:pt x="243133" y="773285"/>
                  <a:pt x="242424" y="801932"/>
                </a:cubicBezTo>
                <a:cubicBezTo>
                  <a:pt x="242053" y="816907"/>
                  <a:pt x="239631" y="831838"/>
                  <a:pt x="238000" y="846774"/>
                </a:cubicBezTo>
                <a:cubicBezTo>
                  <a:pt x="236368" y="861717"/>
                  <a:pt x="234927" y="876693"/>
                  <a:pt x="232752" y="891559"/>
                </a:cubicBezTo>
                <a:cubicBezTo>
                  <a:pt x="229873" y="911238"/>
                  <a:pt x="226675" y="930882"/>
                  <a:pt x="223037" y="950433"/>
                </a:cubicBezTo>
                <a:cubicBezTo>
                  <a:pt x="219173" y="971193"/>
                  <a:pt x="215113" y="991942"/>
                  <a:pt x="210247" y="1012485"/>
                </a:cubicBezTo>
                <a:cubicBezTo>
                  <a:pt x="205743" y="1031500"/>
                  <a:pt x="200395" y="1050337"/>
                  <a:pt x="194820" y="1069074"/>
                </a:cubicBezTo>
                <a:cubicBezTo>
                  <a:pt x="185401" y="1100731"/>
                  <a:pt x="175708" y="1132311"/>
                  <a:pt x="165707" y="1163788"/>
                </a:cubicBezTo>
                <a:cubicBezTo>
                  <a:pt x="162367" y="1174302"/>
                  <a:pt x="156145" y="1182634"/>
                  <a:pt x="144382" y="1185530"/>
                </a:cubicBezTo>
                <a:cubicBezTo>
                  <a:pt x="139281" y="1186787"/>
                  <a:pt x="134434" y="1189193"/>
                  <a:pt x="129590" y="1191342"/>
                </a:cubicBezTo>
                <a:cubicBezTo>
                  <a:pt x="120028" y="1195581"/>
                  <a:pt x="118779" y="1198539"/>
                  <a:pt x="122255" y="1208476"/>
                </a:cubicBezTo>
                <a:cubicBezTo>
                  <a:pt x="123870" y="1213094"/>
                  <a:pt x="125990" y="1217542"/>
                  <a:pt x="127491" y="1222193"/>
                </a:cubicBezTo>
                <a:cubicBezTo>
                  <a:pt x="132294" y="1237066"/>
                  <a:pt x="129961" y="1250353"/>
                  <a:pt x="118348" y="1261470"/>
                </a:cubicBezTo>
                <a:cubicBezTo>
                  <a:pt x="98275" y="1280686"/>
                  <a:pt x="78038" y="1299737"/>
                  <a:pt x="58232" y="1319224"/>
                </a:cubicBezTo>
                <a:cubicBezTo>
                  <a:pt x="38634" y="1338507"/>
                  <a:pt x="29913" y="1362564"/>
                  <a:pt x="28815" y="1389717"/>
                </a:cubicBezTo>
                <a:cubicBezTo>
                  <a:pt x="28318" y="1402031"/>
                  <a:pt x="29110" y="1414206"/>
                  <a:pt x="32634" y="1426050"/>
                </a:cubicBezTo>
                <a:cubicBezTo>
                  <a:pt x="34273" y="1431554"/>
                  <a:pt x="33300" y="1435929"/>
                  <a:pt x="30331" y="1441003"/>
                </a:cubicBezTo>
                <a:cubicBezTo>
                  <a:pt x="16698" y="1464298"/>
                  <a:pt x="8890" y="1489397"/>
                  <a:pt x="9180" y="1516655"/>
                </a:cubicBezTo>
                <a:cubicBezTo>
                  <a:pt x="9291" y="1527012"/>
                  <a:pt x="9917" y="1528771"/>
                  <a:pt x="20082" y="1531402"/>
                </a:cubicBezTo>
                <a:cubicBezTo>
                  <a:pt x="38179" y="1536086"/>
                  <a:pt x="56480" y="1540035"/>
                  <a:pt x="74798" y="1543794"/>
                </a:cubicBezTo>
                <a:cubicBezTo>
                  <a:pt x="87517" y="1546403"/>
                  <a:pt x="100396" y="1548250"/>
                  <a:pt x="113225" y="1550305"/>
                </a:cubicBezTo>
                <a:cubicBezTo>
                  <a:pt x="120841" y="1551524"/>
                  <a:pt x="128467" y="1552843"/>
                  <a:pt x="136142" y="1553484"/>
                </a:cubicBezTo>
                <a:cubicBezTo>
                  <a:pt x="149934" y="1554635"/>
                  <a:pt x="163778" y="1555156"/>
                  <a:pt x="177578" y="1556220"/>
                </a:cubicBezTo>
                <a:cubicBezTo>
                  <a:pt x="195403" y="1557595"/>
                  <a:pt x="213196" y="1559407"/>
                  <a:pt x="231027" y="1560698"/>
                </a:cubicBezTo>
                <a:cubicBezTo>
                  <a:pt x="238768" y="1561259"/>
                  <a:pt x="246585" y="1560709"/>
                  <a:pt x="254342" y="1561142"/>
                </a:cubicBezTo>
                <a:cubicBezTo>
                  <a:pt x="322588" y="1564942"/>
                  <a:pt x="390896" y="1563427"/>
                  <a:pt x="459180" y="1563411"/>
                </a:cubicBezTo>
                <a:cubicBezTo>
                  <a:pt x="483236" y="1563406"/>
                  <a:pt x="507311" y="1562248"/>
                  <a:pt x="531340" y="1560936"/>
                </a:cubicBezTo>
                <a:cubicBezTo>
                  <a:pt x="551225" y="1559849"/>
                  <a:pt x="571160" y="1558554"/>
                  <a:pt x="590888" y="1555951"/>
                </a:cubicBezTo>
                <a:cubicBezTo>
                  <a:pt x="631179" y="1550635"/>
                  <a:pt x="671338" y="1544328"/>
                  <a:pt x="710712" y="1533916"/>
                </a:cubicBezTo>
                <a:cubicBezTo>
                  <a:pt x="722630" y="1530764"/>
                  <a:pt x="724036" y="1528558"/>
                  <a:pt x="724356" y="1516144"/>
                </a:cubicBezTo>
                <a:cubicBezTo>
                  <a:pt x="724970" y="1492256"/>
                  <a:pt x="718637" y="1470245"/>
                  <a:pt x="707380" y="1449380"/>
                </a:cubicBezTo>
                <a:cubicBezTo>
                  <a:pt x="706259" y="1447304"/>
                  <a:pt x="706896" y="1444279"/>
                  <a:pt x="707050" y="1440881"/>
                </a:cubicBezTo>
                <a:cubicBezTo>
                  <a:pt x="722747" y="1457101"/>
                  <a:pt x="728653" y="1477963"/>
                  <a:pt x="731479" y="1500017"/>
                </a:cubicBezTo>
                <a:cubicBezTo>
                  <a:pt x="731992" y="1504029"/>
                  <a:pt x="731781" y="1508135"/>
                  <a:pt x="731163" y="1513759"/>
                </a:cubicBezTo>
                <a:cubicBezTo>
                  <a:pt x="730831" y="1517468"/>
                  <a:pt x="731241" y="1519618"/>
                  <a:pt x="731650" y="1521766"/>
                </a:cubicBezTo>
                <a:cubicBezTo>
                  <a:pt x="733191" y="1529956"/>
                  <a:pt x="730165" y="1535242"/>
                  <a:pt x="721896" y="1537319"/>
                </a:cubicBezTo>
                <a:cubicBezTo>
                  <a:pt x="700520" y="1542690"/>
                  <a:pt x="679367" y="1549248"/>
                  <a:pt x="657740" y="1553265"/>
                </a:cubicBezTo>
                <a:cubicBezTo>
                  <a:pt x="608220" y="1562464"/>
                  <a:pt x="558146" y="1566701"/>
                  <a:pt x="507791" y="1568943"/>
                </a:cubicBezTo>
                <a:cubicBezTo>
                  <a:pt x="426738" y="1572552"/>
                  <a:pt x="345677" y="1572161"/>
                  <a:pt x="264676" y="1569724"/>
                </a:cubicBezTo>
                <a:cubicBezTo>
                  <a:pt x="203800" y="1567891"/>
                  <a:pt x="142882" y="1563907"/>
                  <a:pt x="82743" y="1553254"/>
                </a:cubicBezTo>
                <a:cubicBezTo>
                  <a:pt x="60647" y="1549341"/>
                  <a:pt x="38739" y="1544032"/>
                  <a:pt x="17072" y="1538153"/>
                </a:cubicBezTo>
                <a:cubicBezTo>
                  <a:pt x="1381" y="1533894"/>
                  <a:pt x="-938" y="1529341"/>
                  <a:pt x="275" y="1513030"/>
                </a:cubicBezTo>
                <a:cubicBezTo>
                  <a:pt x="2146" y="1487871"/>
                  <a:pt x="7321" y="1463566"/>
                  <a:pt x="20923" y="1441861"/>
                </a:cubicBezTo>
                <a:cubicBezTo>
                  <a:pt x="24812" y="1435656"/>
                  <a:pt x="24566" y="1429699"/>
                  <a:pt x="23045" y="1423105"/>
                </a:cubicBezTo>
                <a:cubicBezTo>
                  <a:pt x="16952" y="1396684"/>
                  <a:pt x="19689" y="1370924"/>
                  <a:pt x="30564" y="1346289"/>
                </a:cubicBezTo>
                <a:cubicBezTo>
                  <a:pt x="39621" y="1325774"/>
                  <a:pt x="54481" y="1309709"/>
                  <a:pt x="71350" y="1295039"/>
                </a:cubicBezTo>
                <a:cubicBezTo>
                  <a:pt x="85712" y="1282550"/>
                  <a:pt x="99164" y="1268932"/>
                  <a:pt x="112257" y="1255093"/>
                </a:cubicBezTo>
                <a:cubicBezTo>
                  <a:pt x="122891" y="1243852"/>
                  <a:pt x="124955" y="1230879"/>
                  <a:pt x="115864" y="1217271"/>
                </a:cubicBezTo>
                <a:cubicBezTo>
                  <a:pt x="114506" y="1215239"/>
                  <a:pt x="113304" y="1213078"/>
                  <a:pt x="112256" y="1210870"/>
                </a:cubicBezTo>
                <a:cubicBezTo>
                  <a:pt x="106526" y="1198808"/>
                  <a:pt x="109052" y="1191969"/>
                  <a:pt x="121141" y="1186548"/>
                </a:cubicBezTo>
                <a:cubicBezTo>
                  <a:pt x="126274" y="1184246"/>
                  <a:pt x="131201" y="1180803"/>
                  <a:pt x="136571" y="1179850"/>
                </a:cubicBezTo>
                <a:cubicBezTo>
                  <a:pt x="149372" y="1177579"/>
                  <a:pt x="154892" y="1168948"/>
                  <a:pt x="158281" y="1157879"/>
                </a:cubicBezTo>
                <a:cubicBezTo>
                  <a:pt x="168288" y="1125194"/>
                  <a:pt x="179178" y="1092742"/>
                  <a:pt x="187986" y="1059736"/>
                </a:cubicBezTo>
                <a:cubicBezTo>
                  <a:pt x="198666" y="1019713"/>
                  <a:pt x="207813" y="979272"/>
                  <a:pt x="217119" y="938896"/>
                </a:cubicBezTo>
                <a:cubicBezTo>
                  <a:pt x="220491" y="924267"/>
                  <a:pt x="222410" y="909302"/>
                  <a:pt x="225792" y="893236"/>
                </a:cubicBezTo>
                <a:cubicBezTo>
                  <a:pt x="226444" y="890644"/>
                  <a:pt x="226297" y="889307"/>
                  <a:pt x="226150" y="887970"/>
                </a:cubicBezTo>
                <a:cubicBezTo>
                  <a:pt x="227450" y="877085"/>
                  <a:pt x="228750" y="866198"/>
                  <a:pt x="230782" y="853969"/>
                </a:cubicBezTo>
                <a:cubicBezTo>
                  <a:pt x="231271" y="851270"/>
                  <a:pt x="231029" y="849914"/>
                  <a:pt x="230786" y="848558"/>
                </a:cubicBezTo>
                <a:cubicBezTo>
                  <a:pt x="231390" y="840967"/>
                  <a:pt x="231993" y="833375"/>
                  <a:pt x="233315" y="824438"/>
                </a:cubicBezTo>
                <a:cubicBezTo>
                  <a:pt x="233755" y="821744"/>
                  <a:pt x="233477" y="820397"/>
                  <a:pt x="233199" y="819050"/>
                </a:cubicBezTo>
                <a:cubicBezTo>
                  <a:pt x="233786" y="807422"/>
                  <a:pt x="234374" y="795794"/>
                  <a:pt x="235848" y="782380"/>
                </a:cubicBezTo>
                <a:cubicBezTo>
                  <a:pt x="237047" y="760099"/>
                  <a:pt x="237488" y="739606"/>
                  <a:pt x="237465" y="719113"/>
                </a:cubicBezTo>
                <a:cubicBezTo>
                  <a:pt x="237463" y="717127"/>
                  <a:pt x="234595" y="715144"/>
                  <a:pt x="233057" y="713160"/>
                </a:cubicBezTo>
                <a:cubicBezTo>
                  <a:pt x="223043" y="711630"/>
                  <a:pt x="212881" y="710731"/>
                  <a:pt x="203056" y="708405"/>
                </a:cubicBezTo>
                <a:cubicBezTo>
                  <a:pt x="191716" y="705720"/>
                  <a:pt x="180144" y="702931"/>
                  <a:pt x="169628" y="698106"/>
                </a:cubicBezTo>
                <a:cubicBezTo>
                  <a:pt x="154505" y="691164"/>
                  <a:pt x="148867" y="675179"/>
                  <a:pt x="153237" y="659111"/>
                </a:cubicBezTo>
                <a:cubicBezTo>
                  <a:pt x="157196" y="644561"/>
                  <a:pt x="166649" y="634454"/>
                  <a:pt x="178365" y="626008"/>
                </a:cubicBezTo>
                <a:cubicBezTo>
                  <a:pt x="182258" y="623202"/>
                  <a:pt x="186579" y="620992"/>
                  <a:pt x="191885" y="617513"/>
                </a:cubicBezTo>
                <a:cubicBezTo>
                  <a:pt x="194882" y="614532"/>
                  <a:pt x="197062" y="612583"/>
                  <a:pt x="193681" y="610098"/>
                </a:cubicBezTo>
                <a:cubicBezTo>
                  <a:pt x="193381" y="595591"/>
                  <a:pt x="202034" y="586776"/>
                  <a:pt x="213301" y="579885"/>
                </a:cubicBezTo>
                <a:cubicBezTo>
                  <a:pt x="218517" y="576695"/>
                  <a:pt x="224270" y="574393"/>
                  <a:pt x="229635" y="571429"/>
                </a:cubicBezTo>
                <a:cubicBezTo>
                  <a:pt x="232401" y="569901"/>
                  <a:pt x="235344" y="568225"/>
                  <a:pt x="237351" y="565882"/>
                </a:cubicBezTo>
                <a:cubicBezTo>
                  <a:pt x="243193" y="559063"/>
                  <a:pt x="242021" y="554779"/>
                  <a:pt x="233673" y="550926"/>
                </a:cubicBezTo>
                <a:cubicBezTo>
                  <a:pt x="231458" y="549904"/>
                  <a:pt x="229049" y="549314"/>
                  <a:pt x="226799" y="548359"/>
                </a:cubicBezTo>
                <a:cubicBezTo>
                  <a:pt x="215108" y="543398"/>
                  <a:pt x="211118" y="532802"/>
                  <a:pt x="218639" y="522664"/>
                </a:cubicBezTo>
                <a:cubicBezTo>
                  <a:pt x="223647" y="515913"/>
                  <a:pt x="222661" y="511633"/>
                  <a:pt x="218264" y="505463"/>
                </a:cubicBezTo>
                <a:cubicBezTo>
                  <a:pt x="203255" y="484407"/>
                  <a:pt x="190650" y="461993"/>
                  <a:pt x="181762" y="437574"/>
                </a:cubicBezTo>
                <a:cubicBezTo>
                  <a:pt x="163530" y="387483"/>
                  <a:pt x="165826" y="338057"/>
                  <a:pt x="185971" y="289069"/>
                </a:cubicBezTo>
                <a:cubicBezTo>
                  <a:pt x="202921" y="247851"/>
                  <a:pt x="226229" y="210377"/>
                  <a:pt x="253787" y="175580"/>
                </a:cubicBezTo>
                <a:cubicBezTo>
                  <a:pt x="271814" y="152817"/>
                  <a:pt x="290973" y="130951"/>
                  <a:pt x="309639" y="108695"/>
                </a:cubicBezTo>
                <a:cubicBezTo>
                  <a:pt x="312744" y="104993"/>
                  <a:pt x="315922" y="101352"/>
                  <a:pt x="318061" y="98855"/>
                </a:cubicBezTo>
                <a:cubicBezTo>
                  <a:pt x="313257" y="88362"/>
                  <a:pt x="308695" y="79376"/>
                  <a:pt x="304967" y="70056"/>
                </a:cubicBezTo>
                <a:cubicBezTo>
                  <a:pt x="297146" y="50504"/>
                  <a:pt x="303366" y="33481"/>
                  <a:pt x="317012" y="19436"/>
                </a:cubicBezTo>
                <a:cubicBezTo>
                  <a:pt x="344741" y="-9105"/>
                  <a:pt x="393463" y="-3345"/>
                  <a:pt x="415542" y="18221"/>
                </a:cubicBezTo>
                <a:cubicBezTo>
                  <a:pt x="429559" y="31914"/>
                  <a:pt x="438373" y="56968"/>
                  <a:pt x="423203" y="82660"/>
                </a:cubicBezTo>
                <a:cubicBezTo>
                  <a:pt x="420306" y="87568"/>
                  <a:pt x="417047" y="92262"/>
                  <a:pt x="413361" y="97975"/>
                </a:cubicBezTo>
                <a:cubicBezTo>
                  <a:pt x="416167" y="100932"/>
                  <a:pt x="418781" y="103940"/>
                  <a:pt x="421654" y="106676"/>
                </a:cubicBezTo>
                <a:cubicBezTo>
                  <a:pt x="446372" y="130213"/>
                  <a:pt x="467902" y="156374"/>
                  <a:pt x="487032" y="184632"/>
                </a:cubicBezTo>
                <a:cubicBezTo>
                  <a:pt x="492374" y="192525"/>
                  <a:pt x="493990" y="199495"/>
                  <a:pt x="489213" y="208238"/>
                </a:cubicBezTo>
                <a:cubicBezTo>
                  <a:pt x="484525" y="216819"/>
                  <a:pt x="481033" y="226053"/>
                  <a:pt x="476520" y="235738"/>
                </a:cubicBezTo>
                <a:cubicBezTo>
                  <a:pt x="472168" y="236089"/>
                  <a:pt x="471165" y="234358"/>
                  <a:pt x="472850" y="230703"/>
                </a:cubicBezTo>
                <a:cubicBezTo>
                  <a:pt x="476263" y="223297"/>
                  <a:pt x="479344" y="215738"/>
                  <a:pt x="482723" y="208315"/>
                </a:cubicBezTo>
                <a:cubicBezTo>
                  <a:pt x="486016" y="201080"/>
                  <a:pt x="485571" y="194961"/>
                  <a:pt x="480764" y="187916"/>
                </a:cubicBezTo>
                <a:cubicBezTo>
                  <a:pt x="459995" y="157475"/>
                  <a:pt x="437234" y="128912"/>
                  <a:pt x="408519" y="105475"/>
                </a:cubicBezTo>
                <a:cubicBezTo>
                  <a:pt x="403555" y="101425"/>
                  <a:pt x="403835" y="96489"/>
                  <a:pt x="408625" y="89203"/>
                </a:cubicBezTo>
                <a:cubicBezTo>
                  <a:pt x="412416" y="83438"/>
                  <a:pt x="416045" y="77562"/>
                  <a:pt x="419600" y="71648"/>
                </a:cubicBezTo>
                <a:cubicBezTo>
                  <a:pt x="421349" y="68739"/>
                  <a:pt x="422717" y="65537"/>
                  <a:pt x="418792" y="63179"/>
                </a:cubicBezTo>
                <a:cubicBezTo>
                  <a:pt x="414834" y="60801"/>
                  <a:pt x="413218" y="63883"/>
                  <a:pt x="410943" y="66417"/>
                </a:cubicBezTo>
                <a:cubicBezTo>
                  <a:pt x="407706" y="70022"/>
                  <a:pt x="404330" y="74045"/>
                  <a:pt x="400140" y="76155"/>
                </a:cubicBezTo>
                <a:cubicBezTo>
                  <a:pt x="381561" y="85507"/>
                  <a:pt x="360821" y="72312"/>
                  <a:pt x="360599" y="51379"/>
                </a:cubicBezTo>
                <a:cubicBezTo>
                  <a:pt x="360556" y="47292"/>
                  <a:pt x="360308" y="43152"/>
                  <a:pt x="360842" y="39128"/>
                </a:cubicBezTo>
                <a:cubicBezTo>
                  <a:pt x="361447" y="34568"/>
                  <a:pt x="362880" y="30159"/>
                  <a:pt x="369470" y="30960"/>
                </a:cubicBezTo>
                <a:cubicBezTo>
                  <a:pt x="368501" y="37551"/>
                  <a:pt x="365745" y="43300"/>
                  <a:pt x="365613" y="49108"/>
                </a:cubicBezTo>
                <a:cubicBezTo>
                  <a:pt x="365328" y="61659"/>
                  <a:pt x="377498" y="72522"/>
                  <a:pt x="389468" y="71608"/>
                </a:cubicBezTo>
                <a:cubicBezTo>
                  <a:pt x="401478" y="70690"/>
                  <a:pt x="410127" y="59637"/>
                  <a:pt x="408822" y="46613"/>
                </a:cubicBezTo>
                <a:cubicBezTo>
                  <a:pt x="408542" y="43819"/>
                  <a:pt x="407521" y="41100"/>
                  <a:pt x="406842" y="38347"/>
                </a:cubicBezTo>
                <a:close/>
              </a:path>
            </a:pathLst>
          </a:custGeom>
          <a:solidFill>
            <a:srgbClr val="CDD9DF"/>
          </a:solidFill>
          <a:ln w="1227" cap="flat">
            <a:solidFill>
              <a:schemeClr val="tx2">
                <a:lumMod val="20000"/>
                <a:lumOff val="80000"/>
              </a:schemeClr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5" name="Free-form: Shape 14">
            <a:extLst>
              <a:ext uri="{FF2B5EF4-FFF2-40B4-BE49-F238E27FC236}">
                <a16:creationId xmlns:a16="http://schemas.microsoft.com/office/drawing/2014/main" id="{28F6D5F3-810A-E531-E81C-9C8FDBA155C6}"/>
              </a:ext>
            </a:extLst>
          </p:cNvPr>
          <p:cNvSpPr/>
          <p:nvPr/>
        </p:nvSpPr>
        <p:spPr>
          <a:xfrm>
            <a:off x="3294931" y="2566808"/>
            <a:ext cx="91545" cy="184495"/>
          </a:xfrm>
          <a:custGeom>
            <a:avLst/>
            <a:gdLst>
              <a:gd name="csX0" fmla="*/ 96534 w 100699"/>
              <a:gd name="csY0" fmla="*/ 202912 h 202945"/>
              <a:gd name="csX1" fmla="*/ 91036 w 100699"/>
              <a:gd name="csY1" fmla="*/ 196780 h 202945"/>
              <a:gd name="csX2" fmla="*/ 93357 w 100699"/>
              <a:gd name="csY2" fmla="*/ 178731 h 202945"/>
              <a:gd name="csX3" fmla="*/ 75903 w 100699"/>
              <a:gd name="csY3" fmla="*/ 106029 h 202945"/>
              <a:gd name="csX4" fmla="*/ 72780 w 100699"/>
              <a:gd name="csY4" fmla="*/ 102473 h 202945"/>
              <a:gd name="csX5" fmla="*/ 10982 w 100699"/>
              <a:gd name="csY5" fmla="*/ 41414 h 202945"/>
              <a:gd name="csX6" fmla="*/ 676 w 100699"/>
              <a:gd name="csY6" fmla="*/ 2936 h 202945"/>
              <a:gd name="csX7" fmla="*/ 5198 w 100699"/>
              <a:gd name="csY7" fmla="*/ 0 h 202945"/>
              <a:gd name="csX8" fmla="*/ 15435 w 100699"/>
              <a:gd name="csY8" fmla="*/ 35855 h 202945"/>
              <a:gd name="csX9" fmla="*/ 44498 w 100699"/>
              <a:gd name="csY9" fmla="*/ 63833 h 202945"/>
              <a:gd name="csX10" fmla="*/ 81385 w 100699"/>
              <a:gd name="csY10" fmla="*/ 106005 h 202945"/>
              <a:gd name="csX11" fmla="*/ 98950 w 100699"/>
              <a:gd name="csY11" fmla="*/ 190063 h 202945"/>
              <a:gd name="csX12" fmla="*/ 96534 w 100699"/>
              <a:gd name="csY12" fmla="*/ 202912 h 20294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</a:cxnLst>
            <a:rect l="l" t="t" r="r" b="b"/>
            <a:pathLst>
              <a:path w="100699" h="202945">
                <a:moveTo>
                  <a:pt x="96534" y="202912"/>
                </a:moveTo>
                <a:cubicBezTo>
                  <a:pt x="91699" y="203291"/>
                  <a:pt x="90650" y="200377"/>
                  <a:pt x="91036" y="196780"/>
                </a:cubicBezTo>
                <a:cubicBezTo>
                  <a:pt x="91685" y="190750"/>
                  <a:pt x="92933" y="184771"/>
                  <a:pt x="93357" y="178731"/>
                </a:cubicBezTo>
                <a:cubicBezTo>
                  <a:pt x="95183" y="152694"/>
                  <a:pt x="86034" y="129222"/>
                  <a:pt x="75903" y="106029"/>
                </a:cubicBezTo>
                <a:cubicBezTo>
                  <a:pt x="75300" y="104650"/>
                  <a:pt x="73904" y="103585"/>
                  <a:pt x="72780" y="102473"/>
                </a:cubicBezTo>
                <a:cubicBezTo>
                  <a:pt x="52199" y="82101"/>
                  <a:pt x="31673" y="61673"/>
                  <a:pt x="10982" y="41414"/>
                </a:cubicBezTo>
                <a:cubicBezTo>
                  <a:pt x="-119" y="30544"/>
                  <a:pt x="-1041" y="17093"/>
                  <a:pt x="676" y="2936"/>
                </a:cubicBezTo>
                <a:cubicBezTo>
                  <a:pt x="808" y="1852"/>
                  <a:pt x="2922" y="1010"/>
                  <a:pt x="5198" y="0"/>
                </a:cubicBezTo>
                <a:cubicBezTo>
                  <a:pt x="2043" y="13772"/>
                  <a:pt x="5665" y="25821"/>
                  <a:pt x="15435" y="35855"/>
                </a:cubicBezTo>
                <a:cubicBezTo>
                  <a:pt x="24811" y="45486"/>
                  <a:pt x="35301" y="54047"/>
                  <a:pt x="44498" y="63833"/>
                </a:cubicBezTo>
                <a:cubicBezTo>
                  <a:pt x="57293" y="77447"/>
                  <a:pt x="70760" y="90773"/>
                  <a:pt x="81385" y="106005"/>
                </a:cubicBezTo>
                <a:cubicBezTo>
                  <a:pt x="98896" y="131109"/>
                  <a:pt x="103759" y="159808"/>
                  <a:pt x="98950" y="190063"/>
                </a:cubicBezTo>
                <a:cubicBezTo>
                  <a:pt x="98311" y="194082"/>
                  <a:pt x="97697" y="198105"/>
                  <a:pt x="96534" y="202912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" name="Free-form: Shape 15">
            <a:extLst>
              <a:ext uri="{FF2B5EF4-FFF2-40B4-BE49-F238E27FC236}">
                <a16:creationId xmlns:a16="http://schemas.microsoft.com/office/drawing/2014/main" id="{2A36BCF5-80CB-52C0-06FC-2F3F2144A9D2}"/>
              </a:ext>
            </a:extLst>
          </p:cNvPr>
          <p:cNvSpPr/>
          <p:nvPr/>
        </p:nvSpPr>
        <p:spPr>
          <a:xfrm>
            <a:off x="2953647" y="2102772"/>
            <a:ext cx="3739" cy="60936"/>
          </a:xfrm>
          <a:custGeom>
            <a:avLst/>
            <a:gdLst>
              <a:gd name="csX0" fmla="*/ 0 w 4113"/>
              <a:gd name="csY0" fmla="*/ 0 h 67029"/>
              <a:gd name="csX1" fmla="*/ 4113 w 4113"/>
              <a:gd name="csY1" fmla="*/ 4824 h 67029"/>
              <a:gd name="csX2" fmla="*/ 2662 w 4113"/>
              <a:gd name="csY2" fmla="*/ 67030 h 67029"/>
              <a:gd name="csX3" fmla="*/ 631 w 4113"/>
              <a:gd name="csY3" fmla="*/ 55883 h 67029"/>
              <a:gd name="csX4" fmla="*/ 0 w 4113"/>
              <a:gd name="csY4" fmla="*/ 0 h 6702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4113" h="67029">
                <a:moveTo>
                  <a:pt x="0" y="0"/>
                </a:moveTo>
                <a:cubicBezTo>
                  <a:pt x="1242" y="855"/>
                  <a:pt x="4111" y="2838"/>
                  <a:pt x="4113" y="4824"/>
                </a:cubicBezTo>
                <a:cubicBezTo>
                  <a:pt x="4135" y="25317"/>
                  <a:pt x="3695" y="45810"/>
                  <a:pt x="2662" y="67030"/>
                </a:cubicBezTo>
                <a:cubicBezTo>
                  <a:pt x="1483" y="63799"/>
                  <a:pt x="680" y="59846"/>
                  <a:pt x="631" y="55883"/>
                </a:cubicBezTo>
                <a:cubicBezTo>
                  <a:pt x="404" y="37633"/>
                  <a:pt x="388" y="19381"/>
                  <a:pt x="0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8" name="Free-form: Shape 17">
            <a:extLst>
              <a:ext uri="{FF2B5EF4-FFF2-40B4-BE49-F238E27FC236}">
                <a16:creationId xmlns:a16="http://schemas.microsoft.com/office/drawing/2014/main" id="{1F59CD11-E296-CCE4-860E-54AE956E4B8F}"/>
              </a:ext>
            </a:extLst>
          </p:cNvPr>
          <p:cNvSpPr/>
          <p:nvPr/>
        </p:nvSpPr>
        <p:spPr>
          <a:xfrm>
            <a:off x="3406036" y="2830572"/>
            <a:ext cx="1060" cy="5803"/>
          </a:xfrm>
          <a:custGeom>
            <a:avLst/>
            <a:gdLst>
              <a:gd name="csX0" fmla="*/ 1130 w 1165"/>
              <a:gd name="csY0" fmla="*/ 6385 h 6384"/>
              <a:gd name="csX1" fmla="*/ 49 w 1165"/>
              <a:gd name="csY1" fmla="*/ 0 h 6384"/>
              <a:gd name="csX2" fmla="*/ 1130 w 1165"/>
              <a:gd name="csY2" fmla="*/ 6385 h 638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165" h="6384">
                <a:moveTo>
                  <a:pt x="1130" y="6385"/>
                </a:moveTo>
                <a:cubicBezTo>
                  <a:pt x="260" y="4748"/>
                  <a:pt x="-149" y="2599"/>
                  <a:pt x="49" y="0"/>
                </a:cubicBezTo>
                <a:cubicBezTo>
                  <a:pt x="969" y="1658"/>
                  <a:pt x="1279" y="3765"/>
                  <a:pt x="1130" y="6385"/>
                </a:cubicBezTo>
                <a:close/>
              </a:path>
            </a:pathLst>
          </a:custGeom>
          <a:solidFill>
            <a:srgbClr val="939B9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" name="Free-form: Shape 19">
            <a:extLst>
              <a:ext uri="{FF2B5EF4-FFF2-40B4-BE49-F238E27FC236}">
                <a16:creationId xmlns:a16="http://schemas.microsoft.com/office/drawing/2014/main" id="{0E4F393F-FA2C-8A22-C06A-1478CF53133A}"/>
              </a:ext>
            </a:extLst>
          </p:cNvPr>
          <p:cNvSpPr/>
          <p:nvPr/>
        </p:nvSpPr>
        <p:spPr>
          <a:xfrm>
            <a:off x="3376307" y="2756477"/>
            <a:ext cx="5440" cy="2491"/>
          </a:xfrm>
          <a:custGeom>
            <a:avLst/>
            <a:gdLst>
              <a:gd name="csX0" fmla="*/ 5985 w 5984"/>
              <a:gd name="csY0" fmla="*/ 1832 h 2740"/>
              <a:gd name="csX1" fmla="*/ 0 w 5984"/>
              <a:gd name="csY1" fmla="*/ 2740 h 2740"/>
              <a:gd name="csX2" fmla="*/ 4930 w 5984"/>
              <a:gd name="csY2" fmla="*/ 0 h 2740"/>
              <a:gd name="csX3" fmla="*/ 5985 w 5984"/>
              <a:gd name="csY3" fmla="*/ 1832 h 274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</a:cxnLst>
            <a:rect l="l" t="t" r="r" b="b"/>
            <a:pathLst>
              <a:path w="5984" h="2740">
                <a:moveTo>
                  <a:pt x="5985" y="1832"/>
                </a:moveTo>
                <a:cubicBezTo>
                  <a:pt x="3992" y="2553"/>
                  <a:pt x="1996" y="2646"/>
                  <a:pt x="0" y="2740"/>
                </a:cubicBezTo>
                <a:cubicBezTo>
                  <a:pt x="1398" y="1830"/>
                  <a:pt x="2796" y="920"/>
                  <a:pt x="4930" y="0"/>
                </a:cubicBezTo>
                <a:cubicBezTo>
                  <a:pt x="5772" y="394"/>
                  <a:pt x="5877" y="799"/>
                  <a:pt x="5985" y="1832"/>
                </a:cubicBezTo>
                <a:close/>
              </a:path>
            </a:pathLst>
          </a:custGeom>
          <a:solidFill>
            <a:srgbClr val="8E9395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" name="Free-form: Shape 20">
            <a:extLst>
              <a:ext uri="{FF2B5EF4-FFF2-40B4-BE49-F238E27FC236}">
                <a16:creationId xmlns:a16="http://schemas.microsoft.com/office/drawing/2014/main" id="{D4F3209D-7048-3AA3-B30B-2673978FFA5E}"/>
              </a:ext>
            </a:extLst>
          </p:cNvPr>
          <p:cNvSpPr/>
          <p:nvPr/>
        </p:nvSpPr>
        <p:spPr>
          <a:xfrm>
            <a:off x="2916420" y="2008592"/>
            <a:ext cx="2645" cy="5625"/>
          </a:xfrm>
          <a:custGeom>
            <a:avLst/>
            <a:gdLst>
              <a:gd name="csX0" fmla="*/ 815 w 2910"/>
              <a:gd name="csY0" fmla="*/ 0 h 6187"/>
              <a:gd name="csX1" fmla="*/ 113 w 2910"/>
              <a:gd name="csY1" fmla="*/ 6187 h 6187"/>
              <a:gd name="csX2" fmla="*/ 815 w 2910"/>
              <a:gd name="csY2" fmla="*/ 0 h 618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2910" h="6187">
                <a:moveTo>
                  <a:pt x="815" y="0"/>
                </a:moveTo>
                <a:cubicBezTo>
                  <a:pt x="4660" y="1891"/>
                  <a:pt x="2480" y="3840"/>
                  <a:pt x="113" y="6187"/>
                </a:cubicBezTo>
                <a:cubicBezTo>
                  <a:pt x="-172" y="4565"/>
                  <a:pt x="89" y="2579"/>
                  <a:pt x="815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2" name="Free-form: Shape 21">
            <a:extLst>
              <a:ext uri="{FF2B5EF4-FFF2-40B4-BE49-F238E27FC236}">
                <a16:creationId xmlns:a16="http://schemas.microsoft.com/office/drawing/2014/main" id="{9A63D30B-E6D3-979B-B803-97A26F014C6E}"/>
              </a:ext>
            </a:extLst>
          </p:cNvPr>
          <p:cNvSpPr/>
          <p:nvPr/>
        </p:nvSpPr>
        <p:spPr>
          <a:xfrm>
            <a:off x="2950835" y="2225166"/>
            <a:ext cx="770" cy="3664"/>
          </a:xfrm>
          <a:custGeom>
            <a:avLst/>
            <a:gdLst>
              <a:gd name="csX0" fmla="*/ 106 w 847"/>
              <a:gd name="csY0" fmla="*/ 0 h 4030"/>
              <a:gd name="csX1" fmla="*/ 732 w 847"/>
              <a:gd name="csY1" fmla="*/ 4031 h 4030"/>
              <a:gd name="csX2" fmla="*/ 106 w 847"/>
              <a:gd name="csY2" fmla="*/ 0 h 403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7" h="4030">
                <a:moveTo>
                  <a:pt x="106" y="0"/>
                </a:moveTo>
                <a:cubicBezTo>
                  <a:pt x="770" y="990"/>
                  <a:pt x="1013" y="2346"/>
                  <a:pt x="732" y="4031"/>
                </a:cubicBezTo>
                <a:cubicBezTo>
                  <a:pt x="34" y="3029"/>
                  <a:pt x="-141" y="1697"/>
                  <a:pt x="106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3" name="Free-form: Shape 22">
            <a:extLst>
              <a:ext uri="{FF2B5EF4-FFF2-40B4-BE49-F238E27FC236}">
                <a16:creationId xmlns:a16="http://schemas.microsoft.com/office/drawing/2014/main" id="{16BDABB2-E5EC-A72B-BAD1-2FC598604B26}"/>
              </a:ext>
            </a:extLst>
          </p:cNvPr>
          <p:cNvSpPr/>
          <p:nvPr/>
        </p:nvSpPr>
        <p:spPr>
          <a:xfrm>
            <a:off x="2946511" y="2260960"/>
            <a:ext cx="703" cy="3631"/>
          </a:xfrm>
          <a:custGeom>
            <a:avLst/>
            <a:gdLst>
              <a:gd name="csX0" fmla="*/ 195 w 774"/>
              <a:gd name="csY0" fmla="*/ 0 h 3994"/>
              <a:gd name="csX1" fmla="*/ 575 w 774"/>
              <a:gd name="csY1" fmla="*/ 3994 h 3994"/>
              <a:gd name="csX2" fmla="*/ 195 w 774"/>
              <a:gd name="csY2" fmla="*/ 0 h 399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774" h="3994">
                <a:moveTo>
                  <a:pt x="195" y="0"/>
                </a:moveTo>
                <a:cubicBezTo>
                  <a:pt x="794" y="1011"/>
                  <a:pt x="941" y="2348"/>
                  <a:pt x="575" y="3994"/>
                </a:cubicBezTo>
                <a:cubicBezTo>
                  <a:pt x="-44" y="2978"/>
                  <a:pt x="-151" y="1652"/>
                  <a:pt x="195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4" name="Free-form: Shape 23">
            <a:extLst>
              <a:ext uri="{FF2B5EF4-FFF2-40B4-BE49-F238E27FC236}">
                <a16:creationId xmlns:a16="http://schemas.microsoft.com/office/drawing/2014/main" id="{AA44ACAF-1111-4FF1-662E-3634F8FD4CC2}"/>
              </a:ext>
            </a:extLst>
          </p:cNvPr>
          <p:cNvSpPr/>
          <p:nvPr/>
        </p:nvSpPr>
        <p:spPr>
          <a:xfrm>
            <a:off x="2953088" y="2198356"/>
            <a:ext cx="787" cy="3631"/>
          </a:xfrm>
          <a:custGeom>
            <a:avLst/>
            <a:gdLst>
              <a:gd name="csX0" fmla="*/ 71 w 865"/>
              <a:gd name="csY0" fmla="*/ 0 h 3995"/>
              <a:gd name="csX1" fmla="*/ 783 w 865"/>
              <a:gd name="csY1" fmla="*/ 3996 h 3995"/>
              <a:gd name="csX2" fmla="*/ 71 w 865"/>
              <a:gd name="csY2" fmla="*/ 0 h 399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65" h="3995">
                <a:moveTo>
                  <a:pt x="71" y="0"/>
                </a:moveTo>
                <a:cubicBezTo>
                  <a:pt x="740" y="963"/>
                  <a:pt x="1018" y="2311"/>
                  <a:pt x="783" y="3996"/>
                </a:cubicBezTo>
                <a:cubicBezTo>
                  <a:pt x="73" y="3017"/>
                  <a:pt x="-124" y="1701"/>
                  <a:pt x="71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5" name="Free-form: Shape 24">
            <a:extLst>
              <a:ext uri="{FF2B5EF4-FFF2-40B4-BE49-F238E27FC236}">
                <a16:creationId xmlns:a16="http://schemas.microsoft.com/office/drawing/2014/main" id="{06FF47A7-50EC-A2D9-0272-2A07AB2053AB}"/>
              </a:ext>
            </a:extLst>
          </p:cNvPr>
          <p:cNvSpPr/>
          <p:nvPr/>
        </p:nvSpPr>
        <p:spPr>
          <a:xfrm>
            <a:off x="3071392" y="2102382"/>
            <a:ext cx="170236" cy="426821"/>
          </a:xfrm>
          <a:custGeom>
            <a:avLst/>
            <a:gdLst>
              <a:gd name="csX0" fmla="*/ 120604 w 187260"/>
              <a:gd name="csY0" fmla="*/ 222968 h 469503"/>
              <a:gd name="csX1" fmla="*/ 187261 w 187260"/>
              <a:gd name="csY1" fmla="*/ 469503 h 469503"/>
              <a:gd name="csX2" fmla="*/ 1253 w 187260"/>
              <a:gd name="csY2" fmla="*/ 466078 h 469503"/>
              <a:gd name="csX3" fmla="*/ 8 w 187260"/>
              <a:gd name="csY3" fmla="*/ 458101 h 469503"/>
              <a:gd name="csX4" fmla="*/ 4383 w 187260"/>
              <a:gd name="csY4" fmla="*/ 351443 h 469503"/>
              <a:gd name="csX5" fmla="*/ 4615 w 187260"/>
              <a:gd name="csY5" fmla="*/ 346536 h 469503"/>
              <a:gd name="csX6" fmla="*/ 7935 w 187260"/>
              <a:gd name="csY6" fmla="*/ 233648 h 469503"/>
              <a:gd name="csX7" fmla="*/ 10461 w 187260"/>
              <a:gd name="csY7" fmla="*/ 128112 h 469503"/>
              <a:gd name="csX8" fmla="*/ 12461 w 187260"/>
              <a:gd name="csY8" fmla="*/ 12750 h 469503"/>
              <a:gd name="csX9" fmla="*/ 13165 w 187260"/>
              <a:gd name="csY9" fmla="*/ 4285 h 469503"/>
              <a:gd name="csX10" fmla="*/ 102327 w 187260"/>
              <a:gd name="csY10" fmla="*/ 0 h 469503"/>
              <a:gd name="csX11" fmla="*/ 106229 w 187260"/>
              <a:gd name="csY11" fmla="*/ 111321 h 469503"/>
              <a:gd name="csX12" fmla="*/ 120604 w 187260"/>
              <a:gd name="csY12" fmla="*/ 222968 h 46950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</a:cxnLst>
            <a:rect l="l" t="t" r="r" b="b"/>
            <a:pathLst>
              <a:path w="187260" h="469503">
                <a:moveTo>
                  <a:pt x="120604" y="222968"/>
                </a:moveTo>
                <a:cubicBezTo>
                  <a:pt x="135383" y="307129"/>
                  <a:pt x="159464" y="387725"/>
                  <a:pt x="187261" y="469503"/>
                </a:cubicBezTo>
                <a:cubicBezTo>
                  <a:pt x="124460" y="468347"/>
                  <a:pt x="63286" y="467220"/>
                  <a:pt x="1253" y="466078"/>
                </a:cubicBezTo>
                <a:cubicBezTo>
                  <a:pt x="818" y="463442"/>
                  <a:pt x="-95" y="460752"/>
                  <a:pt x="8" y="458101"/>
                </a:cubicBezTo>
                <a:cubicBezTo>
                  <a:pt x="1383" y="422545"/>
                  <a:pt x="2900" y="386994"/>
                  <a:pt x="4383" y="351443"/>
                </a:cubicBezTo>
                <a:cubicBezTo>
                  <a:pt x="4451" y="349807"/>
                  <a:pt x="4566" y="348172"/>
                  <a:pt x="4615" y="346536"/>
                </a:cubicBezTo>
                <a:cubicBezTo>
                  <a:pt x="5732" y="308907"/>
                  <a:pt x="6921" y="271280"/>
                  <a:pt x="7935" y="233648"/>
                </a:cubicBezTo>
                <a:cubicBezTo>
                  <a:pt x="8883" y="198472"/>
                  <a:pt x="9752" y="163293"/>
                  <a:pt x="10461" y="128112"/>
                </a:cubicBezTo>
                <a:cubicBezTo>
                  <a:pt x="11237" y="89660"/>
                  <a:pt x="11781" y="51204"/>
                  <a:pt x="12461" y="12750"/>
                </a:cubicBezTo>
                <a:cubicBezTo>
                  <a:pt x="12503" y="10363"/>
                  <a:pt x="12848" y="7981"/>
                  <a:pt x="13165" y="4285"/>
                </a:cubicBezTo>
                <a:cubicBezTo>
                  <a:pt x="42856" y="2858"/>
                  <a:pt x="72082" y="1454"/>
                  <a:pt x="102327" y="0"/>
                </a:cubicBezTo>
                <a:cubicBezTo>
                  <a:pt x="103499" y="37348"/>
                  <a:pt x="103207" y="74470"/>
                  <a:pt x="106229" y="111321"/>
                </a:cubicBezTo>
                <a:cubicBezTo>
                  <a:pt x="109263" y="148326"/>
                  <a:pt x="115599" y="185060"/>
                  <a:pt x="120604" y="222968"/>
                </a:cubicBezTo>
                <a:close/>
              </a:path>
            </a:pathLst>
          </a:custGeom>
          <a:solidFill>
            <a:srgbClr val="FDFDFD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6" name="Free-form: Shape 25">
            <a:extLst>
              <a:ext uri="{FF2B5EF4-FFF2-40B4-BE49-F238E27FC236}">
                <a16:creationId xmlns:a16="http://schemas.microsoft.com/office/drawing/2014/main" id="{3335E96F-7C73-6A3B-C813-A0447E7F4D32}"/>
              </a:ext>
            </a:extLst>
          </p:cNvPr>
          <p:cNvSpPr/>
          <p:nvPr/>
        </p:nvSpPr>
        <p:spPr>
          <a:xfrm>
            <a:off x="3070199" y="2569134"/>
            <a:ext cx="284824" cy="179974"/>
          </a:xfrm>
          <a:custGeom>
            <a:avLst/>
            <a:gdLst>
              <a:gd name="csX0" fmla="*/ 160234 w 313306"/>
              <a:gd name="csY0" fmla="*/ 197876 h 197971"/>
              <a:gd name="csX1" fmla="*/ 544 w 313306"/>
              <a:gd name="csY1" fmla="*/ 197972 h 197971"/>
              <a:gd name="csX2" fmla="*/ 3466 w 313306"/>
              <a:gd name="csY2" fmla="*/ 104326 h 197971"/>
              <a:gd name="csX3" fmla="*/ 0 w 313306"/>
              <a:gd name="csY3" fmla="*/ 10720 h 197971"/>
              <a:gd name="csX4" fmla="*/ 5445 w 313306"/>
              <a:gd name="csY4" fmla="*/ 9282 h 197971"/>
              <a:gd name="csX5" fmla="*/ 71623 w 313306"/>
              <a:gd name="csY5" fmla="*/ 6885 h 197971"/>
              <a:gd name="csX6" fmla="*/ 187887 w 313306"/>
              <a:gd name="csY6" fmla="*/ 233 h 197971"/>
              <a:gd name="csX7" fmla="*/ 215297 w 313306"/>
              <a:gd name="csY7" fmla="*/ 163 h 197971"/>
              <a:gd name="csX8" fmla="*/ 243629 w 313306"/>
              <a:gd name="csY8" fmla="*/ 61389 h 197971"/>
              <a:gd name="csX9" fmla="*/ 270660 w 313306"/>
              <a:gd name="csY9" fmla="*/ 86342 h 197971"/>
              <a:gd name="csX10" fmla="*/ 313142 w 313306"/>
              <a:gd name="csY10" fmla="*/ 170098 h 197971"/>
              <a:gd name="csX11" fmla="*/ 313291 w 313306"/>
              <a:gd name="csY11" fmla="*/ 176231 h 197971"/>
              <a:gd name="csX12" fmla="*/ 312654 w 313306"/>
              <a:gd name="csY12" fmla="*/ 180738 h 197971"/>
              <a:gd name="csX13" fmla="*/ 279655 w 313306"/>
              <a:gd name="csY13" fmla="*/ 186226 h 197971"/>
              <a:gd name="csX14" fmla="*/ 167436 w 313306"/>
              <a:gd name="csY14" fmla="*/ 196805 h 197971"/>
              <a:gd name="csX15" fmla="*/ 160234 w 313306"/>
              <a:gd name="csY15" fmla="*/ 197876 h 19797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</a:cxnLst>
            <a:rect l="l" t="t" r="r" b="b"/>
            <a:pathLst>
              <a:path w="313306" h="197971">
                <a:moveTo>
                  <a:pt x="160234" y="197876"/>
                </a:moveTo>
                <a:cubicBezTo>
                  <a:pt x="106384" y="197972"/>
                  <a:pt x="53682" y="197972"/>
                  <a:pt x="544" y="197972"/>
                </a:cubicBezTo>
                <a:cubicBezTo>
                  <a:pt x="1602" y="166763"/>
                  <a:pt x="3550" y="135542"/>
                  <a:pt x="3466" y="104326"/>
                </a:cubicBezTo>
                <a:cubicBezTo>
                  <a:pt x="3383" y="73323"/>
                  <a:pt x="1255" y="42326"/>
                  <a:pt x="0" y="10720"/>
                </a:cubicBezTo>
                <a:cubicBezTo>
                  <a:pt x="1689" y="10255"/>
                  <a:pt x="3551" y="9355"/>
                  <a:pt x="5445" y="9282"/>
                </a:cubicBezTo>
                <a:cubicBezTo>
                  <a:pt x="27503" y="8435"/>
                  <a:pt x="49582" y="8030"/>
                  <a:pt x="71623" y="6885"/>
                </a:cubicBezTo>
                <a:cubicBezTo>
                  <a:pt x="110388" y="4872"/>
                  <a:pt x="149126" y="2333"/>
                  <a:pt x="187887" y="233"/>
                </a:cubicBezTo>
                <a:cubicBezTo>
                  <a:pt x="196749" y="-247"/>
                  <a:pt x="205660" y="163"/>
                  <a:pt x="215297" y="163"/>
                </a:cubicBezTo>
                <a:cubicBezTo>
                  <a:pt x="215450" y="25550"/>
                  <a:pt x="226120" y="45122"/>
                  <a:pt x="243629" y="61389"/>
                </a:cubicBezTo>
                <a:cubicBezTo>
                  <a:pt x="252615" y="69739"/>
                  <a:pt x="261099" y="78715"/>
                  <a:pt x="270660" y="86342"/>
                </a:cubicBezTo>
                <a:cubicBezTo>
                  <a:pt x="297676" y="107892"/>
                  <a:pt x="310731" y="136225"/>
                  <a:pt x="313142" y="170098"/>
                </a:cubicBezTo>
                <a:cubicBezTo>
                  <a:pt x="313287" y="172136"/>
                  <a:pt x="313335" y="174188"/>
                  <a:pt x="313291" y="176231"/>
                </a:cubicBezTo>
                <a:cubicBezTo>
                  <a:pt x="313265" y="177429"/>
                  <a:pt x="312966" y="178621"/>
                  <a:pt x="312654" y="180738"/>
                </a:cubicBezTo>
                <a:cubicBezTo>
                  <a:pt x="302343" y="185396"/>
                  <a:pt x="290736" y="185049"/>
                  <a:pt x="279655" y="186226"/>
                </a:cubicBezTo>
                <a:cubicBezTo>
                  <a:pt x="242295" y="190193"/>
                  <a:pt x="204847" y="193324"/>
                  <a:pt x="167436" y="196805"/>
                </a:cubicBezTo>
                <a:cubicBezTo>
                  <a:pt x="165405" y="196994"/>
                  <a:pt x="163399" y="197449"/>
                  <a:pt x="160234" y="197876"/>
                </a:cubicBezTo>
                <a:close/>
              </a:path>
            </a:pathLst>
          </a:custGeom>
          <a:solidFill>
            <a:srgbClr val="FDFEFE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7" name="Free-form: Shape 26">
            <a:extLst>
              <a:ext uri="{FF2B5EF4-FFF2-40B4-BE49-F238E27FC236}">
                <a16:creationId xmlns:a16="http://schemas.microsoft.com/office/drawing/2014/main" id="{3F6261EC-34DE-DFA0-06E0-99158F034F96}"/>
              </a:ext>
            </a:extLst>
          </p:cNvPr>
          <p:cNvSpPr/>
          <p:nvPr/>
        </p:nvSpPr>
        <p:spPr>
          <a:xfrm>
            <a:off x="3080942" y="1552550"/>
            <a:ext cx="149260" cy="361842"/>
          </a:xfrm>
          <a:custGeom>
            <a:avLst/>
            <a:gdLst>
              <a:gd name="csX0" fmla="*/ 22609 w 164186"/>
              <a:gd name="csY0" fmla="*/ 398026 h 398026"/>
              <a:gd name="csX1" fmla="*/ 16884 w 164186"/>
              <a:gd name="csY1" fmla="*/ 390515 h 398026"/>
              <a:gd name="csX2" fmla="*/ 9661 w 164186"/>
              <a:gd name="csY2" fmla="*/ 328443 h 398026"/>
              <a:gd name="csX3" fmla="*/ 534 w 164186"/>
              <a:gd name="csY3" fmla="*/ 196369 h 398026"/>
              <a:gd name="csX4" fmla="*/ 1243 w 164186"/>
              <a:gd name="csY4" fmla="*/ 82293 h 398026"/>
              <a:gd name="csX5" fmla="*/ 2245 w 164186"/>
              <a:gd name="csY5" fmla="*/ 43023 h 398026"/>
              <a:gd name="csX6" fmla="*/ 4587 w 164186"/>
              <a:gd name="csY6" fmla="*/ 0 h 398026"/>
              <a:gd name="csX7" fmla="*/ 12341 w 164186"/>
              <a:gd name="csY7" fmla="*/ 3872 h 398026"/>
              <a:gd name="csX8" fmla="*/ 85914 w 164186"/>
              <a:gd name="csY8" fmla="*/ 78943 h 398026"/>
              <a:gd name="csX9" fmla="*/ 87893 w 164186"/>
              <a:gd name="csY9" fmla="*/ 99117 h 398026"/>
              <a:gd name="csX10" fmla="*/ 35459 w 164186"/>
              <a:gd name="csY10" fmla="*/ 207346 h 398026"/>
              <a:gd name="csX11" fmla="*/ 32223 w 164186"/>
              <a:gd name="csY11" fmla="*/ 213959 h 398026"/>
              <a:gd name="csX12" fmla="*/ 39509 w 164186"/>
              <a:gd name="csY12" fmla="*/ 242056 h 398026"/>
              <a:gd name="csX13" fmla="*/ 69474 w 164186"/>
              <a:gd name="csY13" fmla="*/ 237019 h 398026"/>
              <a:gd name="csX14" fmla="*/ 89101 w 164186"/>
              <a:gd name="csY14" fmla="*/ 208870 h 398026"/>
              <a:gd name="csX15" fmla="*/ 121716 w 164186"/>
              <a:gd name="csY15" fmla="*/ 158357 h 398026"/>
              <a:gd name="csX16" fmla="*/ 129330 w 164186"/>
              <a:gd name="csY16" fmla="*/ 148165 h 398026"/>
              <a:gd name="csX17" fmla="*/ 137171 w 164186"/>
              <a:gd name="csY17" fmla="*/ 159989 h 398026"/>
              <a:gd name="csX18" fmla="*/ 163812 w 164186"/>
              <a:gd name="csY18" fmla="*/ 273175 h 398026"/>
              <a:gd name="csX19" fmla="*/ 118151 w 164186"/>
              <a:gd name="csY19" fmla="*/ 383442 h 398026"/>
              <a:gd name="csX20" fmla="*/ 92325 w 164186"/>
              <a:gd name="csY20" fmla="*/ 395173 h 398026"/>
              <a:gd name="csX21" fmla="*/ 22609 w 164186"/>
              <a:gd name="csY21" fmla="*/ 398026 h 39802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</a:cxnLst>
            <a:rect l="l" t="t" r="r" b="b"/>
            <a:pathLst>
              <a:path w="164186" h="398026">
                <a:moveTo>
                  <a:pt x="22609" y="398026"/>
                </a:moveTo>
                <a:cubicBezTo>
                  <a:pt x="19898" y="395489"/>
                  <a:pt x="17229" y="393154"/>
                  <a:pt x="16884" y="390515"/>
                </a:cubicBezTo>
                <a:cubicBezTo>
                  <a:pt x="14183" y="369861"/>
                  <a:pt x="11326" y="349196"/>
                  <a:pt x="9661" y="328443"/>
                </a:cubicBezTo>
                <a:cubicBezTo>
                  <a:pt x="6132" y="284452"/>
                  <a:pt x="2125" y="240448"/>
                  <a:pt x="534" y="196369"/>
                </a:cubicBezTo>
                <a:cubicBezTo>
                  <a:pt x="-837" y="158401"/>
                  <a:pt x="816" y="120322"/>
                  <a:pt x="1243" y="82293"/>
                </a:cubicBezTo>
                <a:cubicBezTo>
                  <a:pt x="1389" y="69201"/>
                  <a:pt x="1708" y="56105"/>
                  <a:pt x="2245" y="43023"/>
                </a:cubicBezTo>
                <a:cubicBezTo>
                  <a:pt x="2815" y="29160"/>
                  <a:pt x="3738" y="15312"/>
                  <a:pt x="4587" y="0"/>
                </a:cubicBezTo>
                <a:cubicBezTo>
                  <a:pt x="7809" y="1586"/>
                  <a:pt x="10279" y="2436"/>
                  <a:pt x="12341" y="3872"/>
                </a:cubicBezTo>
                <a:cubicBezTo>
                  <a:pt x="41601" y="24248"/>
                  <a:pt x="64069" y="51269"/>
                  <a:pt x="85914" y="78943"/>
                </a:cubicBezTo>
                <a:cubicBezTo>
                  <a:pt x="91106" y="85520"/>
                  <a:pt x="91706" y="91406"/>
                  <a:pt x="87893" y="99117"/>
                </a:cubicBezTo>
                <a:cubicBezTo>
                  <a:pt x="70127" y="135051"/>
                  <a:pt x="52890" y="171246"/>
                  <a:pt x="35459" y="207346"/>
                </a:cubicBezTo>
                <a:cubicBezTo>
                  <a:pt x="34391" y="209557"/>
                  <a:pt x="33130" y="211686"/>
                  <a:pt x="32223" y="213959"/>
                </a:cubicBezTo>
                <a:cubicBezTo>
                  <a:pt x="27471" y="225873"/>
                  <a:pt x="30154" y="236086"/>
                  <a:pt x="39509" y="242056"/>
                </a:cubicBezTo>
                <a:cubicBezTo>
                  <a:pt x="48880" y="248038"/>
                  <a:pt x="61705" y="246477"/>
                  <a:pt x="69474" y="237019"/>
                </a:cubicBezTo>
                <a:cubicBezTo>
                  <a:pt x="76712" y="228205"/>
                  <a:pt x="82824" y="218436"/>
                  <a:pt x="89101" y="208870"/>
                </a:cubicBezTo>
                <a:cubicBezTo>
                  <a:pt x="100096" y="192114"/>
                  <a:pt x="110806" y="175170"/>
                  <a:pt x="121716" y="158357"/>
                </a:cubicBezTo>
                <a:cubicBezTo>
                  <a:pt x="123679" y="155333"/>
                  <a:pt x="126029" y="152559"/>
                  <a:pt x="129330" y="148165"/>
                </a:cubicBezTo>
                <a:cubicBezTo>
                  <a:pt x="132450" y="152828"/>
                  <a:pt x="135175" y="156216"/>
                  <a:pt x="137171" y="159989"/>
                </a:cubicBezTo>
                <a:cubicBezTo>
                  <a:pt x="155891" y="195388"/>
                  <a:pt x="166343" y="232905"/>
                  <a:pt x="163812" y="273175"/>
                </a:cubicBezTo>
                <a:cubicBezTo>
                  <a:pt x="161183" y="314982"/>
                  <a:pt x="144984" y="351430"/>
                  <a:pt x="118151" y="383442"/>
                </a:cubicBezTo>
                <a:cubicBezTo>
                  <a:pt x="111214" y="391718"/>
                  <a:pt x="102452" y="394716"/>
                  <a:pt x="92325" y="395173"/>
                </a:cubicBezTo>
                <a:cubicBezTo>
                  <a:pt x="69461" y="396207"/>
                  <a:pt x="46593" y="397123"/>
                  <a:pt x="22609" y="398026"/>
                </a:cubicBezTo>
                <a:close/>
              </a:path>
            </a:pathLst>
          </a:custGeom>
          <a:solidFill>
            <a:srgbClr val="FCFDFD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" name="Free-form: Shape 27">
            <a:extLst>
              <a:ext uri="{FF2B5EF4-FFF2-40B4-BE49-F238E27FC236}">
                <a16:creationId xmlns:a16="http://schemas.microsoft.com/office/drawing/2014/main" id="{14261508-943B-13C5-CE64-D4E433556D74}"/>
              </a:ext>
            </a:extLst>
          </p:cNvPr>
          <p:cNvSpPr/>
          <p:nvPr/>
        </p:nvSpPr>
        <p:spPr>
          <a:xfrm>
            <a:off x="3066835" y="2778341"/>
            <a:ext cx="305850" cy="64961"/>
          </a:xfrm>
          <a:custGeom>
            <a:avLst/>
            <a:gdLst>
              <a:gd name="csX0" fmla="*/ 105937 w 336434"/>
              <a:gd name="csY0" fmla="*/ 71458 h 71457"/>
              <a:gd name="csX1" fmla="*/ 3534 w 336434"/>
              <a:gd name="csY1" fmla="*/ 69115 h 71457"/>
              <a:gd name="csX2" fmla="*/ 1296 w 336434"/>
              <a:gd name="csY2" fmla="*/ 17910 h 71457"/>
              <a:gd name="csX3" fmla="*/ 14032 w 336434"/>
              <a:gd name="csY3" fmla="*/ 17908 h 71457"/>
              <a:gd name="csX4" fmla="*/ 102444 w 336434"/>
              <a:gd name="csY4" fmla="*/ 17433 h 71457"/>
              <a:gd name="csX5" fmla="*/ 284561 w 336434"/>
              <a:gd name="csY5" fmla="*/ 3564 h 71457"/>
              <a:gd name="csX6" fmla="*/ 311323 w 336434"/>
              <a:gd name="csY6" fmla="*/ 224 h 71457"/>
              <a:gd name="csX7" fmla="*/ 324313 w 336434"/>
              <a:gd name="csY7" fmla="*/ 6639 h 71457"/>
              <a:gd name="csX8" fmla="*/ 336434 w 336434"/>
              <a:gd name="csY8" fmla="*/ 46484 h 71457"/>
              <a:gd name="csX9" fmla="*/ 105937 w 336434"/>
              <a:gd name="csY9" fmla="*/ 71458 h 7145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336434" h="71457">
                <a:moveTo>
                  <a:pt x="105937" y="71458"/>
                </a:moveTo>
                <a:cubicBezTo>
                  <a:pt x="70820" y="70678"/>
                  <a:pt x="36930" y="69891"/>
                  <a:pt x="3534" y="69115"/>
                </a:cubicBezTo>
                <a:cubicBezTo>
                  <a:pt x="-81" y="59433"/>
                  <a:pt x="-1094" y="35337"/>
                  <a:pt x="1296" y="17910"/>
                </a:cubicBezTo>
                <a:cubicBezTo>
                  <a:pt x="5366" y="17910"/>
                  <a:pt x="9699" y="17923"/>
                  <a:pt x="14032" y="17908"/>
                </a:cubicBezTo>
                <a:cubicBezTo>
                  <a:pt x="43505" y="17812"/>
                  <a:pt x="73011" y="18557"/>
                  <a:pt x="102444" y="17433"/>
                </a:cubicBezTo>
                <a:cubicBezTo>
                  <a:pt x="163306" y="15109"/>
                  <a:pt x="224166" y="12264"/>
                  <a:pt x="284561" y="3564"/>
                </a:cubicBezTo>
                <a:cubicBezTo>
                  <a:pt x="293458" y="2283"/>
                  <a:pt x="302438" y="1575"/>
                  <a:pt x="311323" y="224"/>
                </a:cubicBezTo>
                <a:cubicBezTo>
                  <a:pt x="317371" y="-696"/>
                  <a:pt x="321247" y="1177"/>
                  <a:pt x="324313" y="6639"/>
                </a:cubicBezTo>
                <a:cubicBezTo>
                  <a:pt x="330512" y="17683"/>
                  <a:pt x="335236" y="31679"/>
                  <a:pt x="336434" y="46484"/>
                </a:cubicBezTo>
                <a:cubicBezTo>
                  <a:pt x="261124" y="64059"/>
                  <a:pt x="184356" y="69587"/>
                  <a:pt x="105937" y="71458"/>
                </a:cubicBezTo>
                <a:close/>
              </a:path>
            </a:pathLst>
          </a:custGeom>
          <a:solidFill>
            <a:srgbClr val="FCFCFC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9" name="Free-form: Shape 28">
            <a:extLst>
              <a:ext uri="{FF2B5EF4-FFF2-40B4-BE49-F238E27FC236}">
                <a16:creationId xmlns:a16="http://schemas.microsoft.com/office/drawing/2014/main" id="{44B3903A-B972-6D99-A065-6993A6B8D5AB}"/>
              </a:ext>
            </a:extLst>
          </p:cNvPr>
          <p:cNvSpPr/>
          <p:nvPr/>
        </p:nvSpPr>
        <p:spPr>
          <a:xfrm>
            <a:off x="3080392" y="1947617"/>
            <a:ext cx="120683" cy="63097"/>
          </a:xfrm>
          <a:custGeom>
            <a:avLst/>
            <a:gdLst>
              <a:gd name="csX0" fmla="*/ 5051 w 132751"/>
              <a:gd name="csY0" fmla="*/ 7534 h 69406"/>
              <a:gd name="csX1" fmla="*/ 10615 w 132751"/>
              <a:gd name="csY1" fmla="*/ 3077 h 69406"/>
              <a:gd name="csX2" fmla="*/ 26541 w 132751"/>
              <a:gd name="csY2" fmla="*/ 2752 h 69406"/>
              <a:gd name="csX3" fmla="*/ 87728 w 132751"/>
              <a:gd name="csY3" fmla="*/ 89 h 69406"/>
              <a:gd name="csX4" fmla="*/ 101400 w 132751"/>
              <a:gd name="csY4" fmla="*/ 62 h 69406"/>
              <a:gd name="csX5" fmla="*/ 102924 w 132751"/>
              <a:gd name="csY5" fmla="*/ 4800 h 69406"/>
              <a:gd name="csX6" fmla="*/ 121469 w 132751"/>
              <a:gd name="csY6" fmla="*/ 43062 h 69406"/>
              <a:gd name="csX7" fmla="*/ 132751 w 132751"/>
              <a:gd name="csY7" fmla="*/ 65240 h 69406"/>
              <a:gd name="csX8" fmla="*/ 0 w 132751"/>
              <a:gd name="csY8" fmla="*/ 69406 h 69406"/>
              <a:gd name="csX9" fmla="*/ 5051 w 132751"/>
              <a:gd name="csY9" fmla="*/ 7534 h 6940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132751" h="69406">
                <a:moveTo>
                  <a:pt x="5051" y="7534"/>
                </a:moveTo>
                <a:cubicBezTo>
                  <a:pt x="6880" y="5272"/>
                  <a:pt x="8659" y="3268"/>
                  <a:pt x="10615" y="3077"/>
                </a:cubicBezTo>
                <a:cubicBezTo>
                  <a:pt x="15884" y="2564"/>
                  <a:pt x="21234" y="2972"/>
                  <a:pt x="26541" y="2752"/>
                </a:cubicBezTo>
                <a:cubicBezTo>
                  <a:pt x="46938" y="1911"/>
                  <a:pt x="67330" y="933"/>
                  <a:pt x="87728" y="89"/>
                </a:cubicBezTo>
                <a:cubicBezTo>
                  <a:pt x="92161" y="-94"/>
                  <a:pt x="96609" y="62"/>
                  <a:pt x="101400" y="62"/>
                </a:cubicBezTo>
                <a:cubicBezTo>
                  <a:pt x="101991" y="1827"/>
                  <a:pt x="102885" y="3302"/>
                  <a:pt x="102924" y="4800"/>
                </a:cubicBezTo>
                <a:cubicBezTo>
                  <a:pt x="103334" y="20376"/>
                  <a:pt x="108815" y="33165"/>
                  <a:pt x="121469" y="43062"/>
                </a:cubicBezTo>
                <a:cubicBezTo>
                  <a:pt x="127809" y="48021"/>
                  <a:pt x="132509" y="54869"/>
                  <a:pt x="132751" y="65240"/>
                </a:cubicBezTo>
                <a:cubicBezTo>
                  <a:pt x="88663" y="66624"/>
                  <a:pt x="45259" y="67986"/>
                  <a:pt x="0" y="69406"/>
                </a:cubicBezTo>
                <a:cubicBezTo>
                  <a:pt x="6474" y="48167"/>
                  <a:pt x="10658" y="28665"/>
                  <a:pt x="5051" y="7534"/>
                </a:cubicBezTo>
                <a:close/>
              </a:path>
            </a:pathLst>
          </a:custGeom>
          <a:solidFill>
            <a:srgbClr val="FBFCFB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0" name="Free-form: Shape 29">
            <a:extLst>
              <a:ext uri="{FF2B5EF4-FFF2-40B4-BE49-F238E27FC236}">
                <a16:creationId xmlns:a16="http://schemas.microsoft.com/office/drawing/2014/main" id="{0E7DB196-9E9E-54D2-845C-5CFB05788A6F}"/>
              </a:ext>
            </a:extLst>
          </p:cNvPr>
          <p:cNvSpPr/>
          <p:nvPr/>
        </p:nvSpPr>
        <p:spPr>
          <a:xfrm>
            <a:off x="3090029" y="2037231"/>
            <a:ext cx="150878" cy="35402"/>
          </a:xfrm>
          <a:custGeom>
            <a:avLst/>
            <a:gdLst>
              <a:gd name="csX0" fmla="*/ 80894 w 165965"/>
              <a:gd name="csY0" fmla="*/ 440 h 38942"/>
              <a:gd name="csX1" fmla="*/ 128629 w 165965"/>
              <a:gd name="csY1" fmla="*/ 5 h 38942"/>
              <a:gd name="csX2" fmla="*/ 155177 w 165965"/>
              <a:gd name="csY2" fmla="*/ 8091 h 38942"/>
              <a:gd name="csX3" fmla="*/ 164213 w 165965"/>
              <a:gd name="csY3" fmla="*/ 17723 h 38942"/>
              <a:gd name="csX4" fmla="*/ 159998 w 165965"/>
              <a:gd name="csY4" fmla="*/ 30717 h 38942"/>
              <a:gd name="csX5" fmla="*/ 146998 w 165965"/>
              <a:gd name="csY5" fmla="*/ 33737 h 38942"/>
              <a:gd name="csX6" fmla="*/ 12439 w 165965"/>
              <a:gd name="csY6" fmla="*/ 38914 h 38942"/>
              <a:gd name="csX7" fmla="*/ 0 w 165965"/>
              <a:gd name="csY7" fmla="*/ 38402 h 38942"/>
              <a:gd name="csX8" fmla="*/ 0 w 165965"/>
              <a:gd name="csY8" fmla="*/ 4598 h 38942"/>
              <a:gd name="csX9" fmla="*/ 80894 w 165965"/>
              <a:gd name="csY9" fmla="*/ 440 h 3894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165965" h="38942">
                <a:moveTo>
                  <a:pt x="80894" y="440"/>
                </a:moveTo>
                <a:cubicBezTo>
                  <a:pt x="97591" y="288"/>
                  <a:pt x="113111" y="227"/>
                  <a:pt x="128629" y="5"/>
                </a:cubicBezTo>
                <a:cubicBezTo>
                  <a:pt x="138376" y="-135"/>
                  <a:pt x="147226" y="2891"/>
                  <a:pt x="155177" y="8091"/>
                </a:cubicBezTo>
                <a:cubicBezTo>
                  <a:pt x="158779" y="10447"/>
                  <a:pt x="161992" y="14009"/>
                  <a:pt x="164213" y="17723"/>
                </a:cubicBezTo>
                <a:cubicBezTo>
                  <a:pt x="167602" y="23390"/>
                  <a:pt x="166013" y="28134"/>
                  <a:pt x="159998" y="30717"/>
                </a:cubicBezTo>
                <a:cubicBezTo>
                  <a:pt x="155963" y="32450"/>
                  <a:pt x="151384" y="33554"/>
                  <a:pt x="146998" y="33737"/>
                </a:cubicBezTo>
                <a:cubicBezTo>
                  <a:pt x="102152" y="35619"/>
                  <a:pt x="57295" y="37279"/>
                  <a:pt x="12439" y="38914"/>
                </a:cubicBezTo>
                <a:cubicBezTo>
                  <a:pt x="8467" y="39059"/>
                  <a:pt x="4472" y="38602"/>
                  <a:pt x="0" y="38402"/>
                </a:cubicBezTo>
                <a:cubicBezTo>
                  <a:pt x="0" y="27166"/>
                  <a:pt x="0" y="16774"/>
                  <a:pt x="0" y="4598"/>
                </a:cubicBezTo>
                <a:cubicBezTo>
                  <a:pt x="27063" y="3194"/>
                  <a:pt x="53389" y="1829"/>
                  <a:pt x="80894" y="440"/>
                </a:cubicBezTo>
                <a:close/>
              </a:path>
            </a:pathLst>
          </a:custGeom>
          <a:solidFill>
            <a:srgbClr val="FBFCFB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1" name="!!Oval 30">
            <a:extLst>
              <a:ext uri="{FF2B5EF4-FFF2-40B4-BE49-F238E27FC236}">
                <a16:creationId xmlns:a16="http://schemas.microsoft.com/office/drawing/2014/main" id="{7B2BF16D-E65C-93F3-2D48-19DC85B21C14}"/>
              </a:ext>
            </a:extLst>
          </p:cNvPr>
          <p:cNvSpPr/>
          <p:nvPr/>
        </p:nvSpPr>
        <p:spPr>
          <a:xfrm>
            <a:off x="1332265" y="2791631"/>
            <a:ext cx="717698" cy="104135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" name="Free-form: Shape 31">
            <a:extLst>
              <a:ext uri="{FF2B5EF4-FFF2-40B4-BE49-F238E27FC236}">
                <a16:creationId xmlns:a16="http://schemas.microsoft.com/office/drawing/2014/main" id="{33E0297E-C935-92E9-2FCF-8F01603A17A2}"/>
              </a:ext>
            </a:extLst>
          </p:cNvPr>
          <p:cNvSpPr/>
          <p:nvPr/>
        </p:nvSpPr>
        <p:spPr>
          <a:xfrm>
            <a:off x="1427309" y="1597747"/>
            <a:ext cx="634942" cy="1266262"/>
          </a:xfrm>
          <a:custGeom>
            <a:avLst/>
            <a:gdLst>
              <a:gd name="csX0" fmla="*/ 703087 w 763849"/>
              <a:gd name="csY0" fmla="*/ 1241174 h 1523340"/>
              <a:gd name="csX1" fmla="*/ 732932 w 763849"/>
              <a:gd name="csY1" fmla="*/ 1359634 h 1523340"/>
              <a:gd name="csX2" fmla="*/ 735544 w 763849"/>
              <a:gd name="csY2" fmla="*/ 1377287 h 1523340"/>
              <a:gd name="csX3" fmla="*/ 756764 w 763849"/>
              <a:gd name="csY3" fmla="*/ 1458577 h 1523340"/>
              <a:gd name="csX4" fmla="*/ 757108 w 763849"/>
              <a:gd name="csY4" fmla="*/ 1465940 h 1523340"/>
              <a:gd name="csX5" fmla="*/ 744215 w 763849"/>
              <a:gd name="csY5" fmla="*/ 1488332 h 1523340"/>
              <a:gd name="csX6" fmla="*/ 712781 w 763849"/>
              <a:gd name="csY6" fmla="*/ 1498472 h 1523340"/>
              <a:gd name="csX7" fmla="*/ 625540 w 763849"/>
              <a:gd name="csY7" fmla="*/ 1511981 h 1523340"/>
              <a:gd name="csX8" fmla="*/ 488540 w 763849"/>
              <a:gd name="csY8" fmla="*/ 1522029 h 1523340"/>
              <a:gd name="csX9" fmla="*/ 306789 w 763849"/>
              <a:gd name="csY9" fmla="*/ 1523231 h 1523340"/>
              <a:gd name="csX10" fmla="*/ 200103 w 763849"/>
              <a:gd name="csY10" fmla="*/ 1518579 h 1523340"/>
              <a:gd name="csX11" fmla="*/ 31607 w 763849"/>
              <a:gd name="csY11" fmla="*/ 1493880 h 1523340"/>
              <a:gd name="csX12" fmla="*/ 5860 w 763849"/>
              <a:gd name="csY12" fmla="*/ 1482933 h 1523340"/>
              <a:gd name="csX13" fmla="*/ 32 w 763849"/>
              <a:gd name="csY13" fmla="*/ 1471774 h 1523340"/>
              <a:gd name="csX14" fmla="*/ 21295 w 763849"/>
              <a:gd name="csY14" fmla="*/ 1378237 h 1523340"/>
              <a:gd name="csX15" fmla="*/ 23169 w 763849"/>
              <a:gd name="csY15" fmla="*/ 1364271 h 1523340"/>
              <a:gd name="csX16" fmla="*/ 23871 w 763849"/>
              <a:gd name="csY16" fmla="*/ 1303132 h 1523340"/>
              <a:gd name="csX17" fmla="*/ 59740 w 763849"/>
              <a:gd name="csY17" fmla="*/ 1234649 h 1523340"/>
              <a:gd name="csX18" fmla="*/ 98899 w 763849"/>
              <a:gd name="csY18" fmla="*/ 1195619 h 1523340"/>
              <a:gd name="csX19" fmla="*/ 131493 w 763849"/>
              <a:gd name="csY19" fmla="*/ 1127593 h 1523340"/>
              <a:gd name="csX20" fmla="*/ 108213 w 763849"/>
              <a:gd name="csY20" fmla="*/ 1058723 h 1523340"/>
              <a:gd name="csX21" fmla="*/ 74370 w 763849"/>
              <a:gd name="csY21" fmla="*/ 1024929 h 1523340"/>
              <a:gd name="csX22" fmla="*/ 68137 w 763849"/>
              <a:gd name="csY22" fmla="*/ 987550 h 1523340"/>
              <a:gd name="csX23" fmla="*/ 86420 w 763849"/>
              <a:gd name="csY23" fmla="*/ 941991 h 1523340"/>
              <a:gd name="csX24" fmla="*/ 97082 w 763849"/>
              <a:gd name="csY24" fmla="*/ 828037 h 1523340"/>
              <a:gd name="csX25" fmla="*/ 61782 w 763849"/>
              <a:gd name="csY25" fmla="*/ 696973 h 1523340"/>
              <a:gd name="csX26" fmla="*/ 26901 w 763849"/>
              <a:gd name="csY26" fmla="*/ 547868 h 1523340"/>
              <a:gd name="csX27" fmla="*/ 20221 w 763849"/>
              <a:gd name="csY27" fmla="*/ 479529 h 1523340"/>
              <a:gd name="csX28" fmla="*/ 40808 w 763849"/>
              <a:gd name="csY28" fmla="*/ 334388 h 1523340"/>
              <a:gd name="csX29" fmla="*/ 65171 w 763849"/>
              <a:gd name="csY29" fmla="*/ 263707 h 1523340"/>
              <a:gd name="csX30" fmla="*/ 142827 w 763849"/>
              <a:gd name="csY30" fmla="*/ 171003 h 1523340"/>
              <a:gd name="csX31" fmla="*/ 172290 w 763849"/>
              <a:gd name="csY31" fmla="*/ 155872 h 1523340"/>
              <a:gd name="csX32" fmla="*/ 189008 w 763849"/>
              <a:gd name="csY32" fmla="*/ 148158 h 1523340"/>
              <a:gd name="csX33" fmla="*/ 212828 w 763849"/>
              <a:gd name="csY33" fmla="*/ 126123 h 1523340"/>
              <a:gd name="csX34" fmla="*/ 217217 w 763849"/>
              <a:gd name="csY34" fmla="*/ 118740 h 1523340"/>
              <a:gd name="csX35" fmla="*/ 253000 w 763849"/>
              <a:gd name="csY35" fmla="*/ 88998 h 1523340"/>
              <a:gd name="csX36" fmla="*/ 322085 w 763849"/>
              <a:gd name="csY36" fmla="*/ 72193 h 1523340"/>
              <a:gd name="csX37" fmla="*/ 330478 w 763849"/>
              <a:gd name="csY37" fmla="*/ 70387 h 1523340"/>
              <a:gd name="csX38" fmla="*/ 388016 w 763849"/>
              <a:gd name="csY38" fmla="*/ 35457 h 1523340"/>
              <a:gd name="csX39" fmla="*/ 421527 w 763849"/>
              <a:gd name="csY39" fmla="*/ 0 h 1523340"/>
              <a:gd name="csX40" fmla="*/ 424538 w 763849"/>
              <a:gd name="csY40" fmla="*/ 10833 h 1523340"/>
              <a:gd name="csX41" fmla="*/ 436339 w 763849"/>
              <a:gd name="csY41" fmla="*/ 121836 h 1523340"/>
              <a:gd name="csX42" fmla="*/ 449983 w 763849"/>
              <a:gd name="csY42" fmla="*/ 141450 h 1523340"/>
              <a:gd name="csX43" fmla="*/ 503299 w 763849"/>
              <a:gd name="csY43" fmla="*/ 169290 h 1523340"/>
              <a:gd name="csX44" fmla="*/ 551461 w 763849"/>
              <a:gd name="csY44" fmla="*/ 203111 h 1523340"/>
              <a:gd name="csX45" fmla="*/ 588803 w 763849"/>
              <a:gd name="csY45" fmla="*/ 252797 h 1523340"/>
              <a:gd name="csX46" fmla="*/ 634209 w 763849"/>
              <a:gd name="csY46" fmla="*/ 327081 h 1523340"/>
              <a:gd name="csX47" fmla="*/ 697923 w 763849"/>
              <a:gd name="csY47" fmla="*/ 384157 h 1523340"/>
              <a:gd name="csX48" fmla="*/ 729658 w 763849"/>
              <a:gd name="csY48" fmla="*/ 407288 h 1523340"/>
              <a:gd name="csX49" fmla="*/ 763354 w 763849"/>
              <a:gd name="csY49" fmla="*/ 471325 h 1523340"/>
              <a:gd name="csX50" fmla="*/ 757092 w 763849"/>
              <a:gd name="csY50" fmla="*/ 527116 h 1523340"/>
              <a:gd name="csX51" fmla="*/ 720673 w 763849"/>
              <a:gd name="csY51" fmla="*/ 570023 h 1523340"/>
              <a:gd name="csX52" fmla="*/ 704918 w 763849"/>
              <a:gd name="csY52" fmla="*/ 581294 h 1523340"/>
              <a:gd name="csX53" fmla="*/ 671960 w 763849"/>
              <a:gd name="csY53" fmla="*/ 595325 h 1523340"/>
              <a:gd name="csX54" fmla="*/ 633021 w 763849"/>
              <a:gd name="csY54" fmla="*/ 591397 h 1523340"/>
              <a:gd name="csX55" fmla="*/ 580696 w 763849"/>
              <a:gd name="csY55" fmla="*/ 556742 h 1523340"/>
              <a:gd name="csX56" fmla="*/ 545415 w 763849"/>
              <a:gd name="csY56" fmla="*/ 524617 h 1523340"/>
              <a:gd name="csX57" fmla="*/ 518889 w 763849"/>
              <a:gd name="csY57" fmla="*/ 516179 h 1523340"/>
              <a:gd name="csX58" fmla="*/ 472309 w 763849"/>
              <a:gd name="csY58" fmla="*/ 517812 h 1523340"/>
              <a:gd name="csX59" fmla="*/ 415953 w 763849"/>
              <a:gd name="csY59" fmla="*/ 517245 h 1523340"/>
              <a:gd name="csX60" fmla="*/ 403392 w 763849"/>
              <a:gd name="csY60" fmla="*/ 516539 h 1523340"/>
              <a:gd name="csX61" fmla="*/ 407957 w 763849"/>
              <a:gd name="csY61" fmla="*/ 542045 h 1523340"/>
              <a:gd name="csX62" fmla="*/ 434134 w 763849"/>
              <a:gd name="csY62" fmla="*/ 583349 h 1523340"/>
              <a:gd name="csX63" fmla="*/ 524267 w 763849"/>
              <a:gd name="csY63" fmla="*/ 683922 h 1523340"/>
              <a:gd name="csX64" fmla="*/ 614317 w 763849"/>
              <a:gd name="csY64" fmla="*/ 786085 h 1523340"/>
              <a:gd name="csX65" fmla="*/ 669590 w 763849"/>
              <a:gd name="csY65" fmla="*/ 921089 h 1523340"/>
              <a:gd name="csX66" fmla="*/ 647360 w 763849"/>
              <a:gd name="csY66" fmla="*/ 1057245 h 1523340"/>
              <a:gd name="csX67" fmla="*/ 627872 w 763849"/>
              <a:gd name="csY67" fmla="*/ 1102111 h 1523340"/>
              <a:gd name="csX68" fmla="*/ 642300 w 763849"/>
              <a:gd name="csY68" fmla="*/ 1175941 h 1523340"/>
              <a:gd name="csX69" fmla="*/ 668829 w 763849"/>
              <a:gd name="csY69" fmla="*/ 1206449 h 1523340"/>
              <a:gd name="csX70" fmla="*/ 703087 w 763849"/>
              <a:gd name="csY70" fmla="*/ 1241174 h 1523340"/>
              <a:gd name="csX71" fmla="*/ 648750 w 763849"/>
              <a:gd name="csY71" fmla="*/ 562343 h 1523340"/>
              <a:gd name="csX72" fmla="*/ 674049 w 763849"/>
              <a:gd name="csY72" fmla="*/ 562834 h 1523340"/>
              <a:gd name="csX73" fmla="*/ 660781 w 763849"/>
              <a:gd name="csY73" fmla="*/ 550178 h 1523340"/>
              <a:gd name="csX74" fmla="*/ 650911 w 763849"/>
              <a:gd name="csY74" fmla="*/ 534051 h 1523340"/>
              <a:gd name="csX75" fmla="*/ 660724 w 763849"/>
              <a:gd name="csY75" fmla="*/ 537605 h 1523340"/>
              <a:gd name="csX76" fmla="*/ 688133 w 763849"/>
              <a:gd name="csY76" fmla="*/ 543363 h 1523340"/>
              <a:gd name="csX77" fmla="*/ 731514 w 763849"/>
              <a:gd name="csY77" fmla="*/ 510767 h 1523340"/>
              <a:gd name="csX78" fmla="*/ 733611 w 763849"/>
              <a:gd name="csY78" fmla="*/ 466905 h 1523340"/>
              <a:gd name="csX79" fmla="*/ 708076 w 763849"/>
              <a:gd name="csY79" fmla="*/ 425975 h 1523340"/>
              <a:gd name="csX80" fmla="*/ 667538 w 763849"/>
              <a:gd name="csY80" fmla="*/ 398254 h 1523340"/>
              <a:gd name="csX81" fmla="*/ 601016 w 763849"/>
              <a:gd name="csY81" fmla="*/ 332127 h 1523340"/>
              <a:gd name="csX82" fmla="*/ 565354 w 763849"/>
              <a:gd name="csY82" fmla="*/ 270526 h 1523340"/>
              <a:gd name="csX83" fmla="*/ 490657 w 763849"/>
              <a:gd name="csY83" fmla="*/ 195121 h 1523340"/>
              <a:gd name="csX84" fmla="*/ 432834 w 763849"/>
              <a:gd name="csY84" fmla="*/ 165243 h 1523340"/>
              <a:gd name="csX85" fmla="*/ 407594 w 763849"/>
              <a:gd name="csY85" fmla="*/ 127852 h 1523340"/>
              <a:gd name="csX86" fmla="*/ 405020 w 763849"/>
              <a:gd name="csY86" fmla="*/ 69029 h 1523340"/>
              <a:gd name="csX87" fmla="*/ 403638 w 763849"/>
              <a:gd name="csY87" fmla="*/ 58130 h 1523340"/>
              <a:gd name="csX88" fmla="*/ 349776 w 763849"/>
              <a:gd name="csY88" fmla="*/ 133259 h 1523340"/>
              <a:gd name="csX89" fmla="*/ 326975 w 763849"/>
              <a:gd name="csY89" fmla="*/ 159669 h 1523340"/>
              <a:gd name="csX90" fmla="*/ 240374 w 763849"/>
              <a:gd name="csY90" fmla="*/ 221714 h 1523340"/>
              <a:gd name="csX91" fmla="*/ 171637 w 763849"/>
              <a:gd name="csY91" fmla="*/ 309087 h 1523340"/>
              <a:gd name="csX92" fmla="*/ 138048 w 763849"/>
              <a:gd name="csY92" fmla="*/ 516954 h 1523340"/>
              <a:gd name="csX93" fmla="*/ 163889 w 763849"/>
              <a:gd name="csY93" fmla="*/ 641780 h 1523340"/>
              <a:gd name="csX94" fmla="*/ 204800 w 763849"/>
              <a:gd name="csY94" fmla="*/ 787055 h 1523340"/>
              <a:gd name="csX95" fmla="*/ 218549 w 763849"/>
              <a:gd name="csY95" fmla="*/ 949545 h 1523340"/>
              <a:gd name="csX96" fmla="*/ 191487 w 763849"/>
              <a:gd name="csY96" fmla="*/ 1033064 h 1523340"/>
              <a:gd name="csX97" fmla="*/ 188729 w 763849"/>
              <a:gd name="csY97" fmla="*/ 1039835 h 1523340"/>
              <a:gd name="csX98" fmla="*/ 221417 w 763849"/>
              <a:gd name="csY98" fmla="*/ 1040799 h 1523340"/>
              <a:gd name="csX99" fmla="*/ 348895 w 763849"/>
              <a:gd name="csY99" fmla="*/ 1046759 h 1523340"/>
              <a:gd name="csX100" fmla="*/ 545369 w 763849"/>
              <a:gd name="csY100" fmla="*/ 1044456 h 1523340"/>
              <a:gd name="csX101" fmla="*/ 612424 w 763849"/>
              <a:gd name="csY101" fmla="*/ 1037365 h 1523340"/>
              <a:gd name="csX102" fmla="*/ 623169 w 763849"/>
              <a:gd name="csY102" fmla="*/ 1028873 h 1523340"/>
              <a:gd name="csX103" fmla="*/ 638508 w 763849"/>
              <a:gd name="csY103" fmla="*/ 959599 h 1523340"/>
              <a:gd name="csX104" fmla="*/ 609213 w 763849"/>
              <a:gd name="csY104" fmla="*/ 842075 h 1523340"/>
              <a:gd name="csX105" fmla="*/ 529367 w 763849"/>
              <a:gd name="csY105" fmla="*/ 735065 h 1523340"/>
              <a:gd name="csX106" fmla="*/ 403792 w 763849"/>
              <a:gd name="csY106" fmla="*/ 596993 h 1523340"/>
              <a:gd name="csX107" fmla="*/ 344708 w 763849"/>
              <a:gd name="csY107" fmla="*/ 511366 h 1523340"/>
              <a:gd name="csX108" fmla="*/ 324464 w 763849"/>
              <a:gd name="csY108" fmla="*/ 380084 h 1523340"/>
              <a:gd name="csX109" fmla="*/ 327688 w 763849"/>
              <a:gd name="csY109" fmla="*/ 373535 h 1523340"/>
              <a:gd name="csX110" fmla="*/ 330334 w 763849"/>
              <a:gd name="csY110" fmla="*/ 373641 h 1523340"/>
              <a:gd name="csX111" fmla="*/ 334272 w 763849"/>
              <a:gd name="csY111" fmla="*/ 384645 h 1523340"/>
              <a:gd name="csX112" fmla="*/ 365260 w 763849"/>
              <a:gd name="csY112" fmla="*/ 453955 h 1523340"/>
              <a:gd name="csX113" fmla="*/ 408246 w 763849"/>
              <a:gd name="csY113" fmla="*/ 483592 h 1523340"/>
              <a:gd name="csX114" fmla="*/ 464529 w 763849"/>
              <a:gd name="csY114" fmla="*/ 486187 h 1523340"/>
              <a:gd name="csX115" fmla="*/ 511119 w 763849"/>
              <a:gd name="csY115" fmla="*/ 484308 h 1523340"/>
              <a:gd name="csX116" fmla="*/ 567913 w 763849"/>
              <a:gd name="csY116" fmla="*/ 503736 h 1523340"/>
              <a:gd name="csX117" fmla="*/ 607611 w 763849"/>
              <a:gd name="csY117" fmla="*/ 540326 h 1523340"/>
              <a:gd name="csX118" fmla="*/ 648750 w 763849"/>
              <a:gd name="csY118" fmla="*/ 562343 h 1523340"/>
              <a:gd name="csX119" fmla="*/ 462594 w 763849"/>
              <a:gd name="csY119" fmla="*/ 1369008 h 1523340"/>
              <a:gd name="csX120" fmla="*/ 510357 w 763849"/>
              <a:gd name="csY120" fmla="*/ 1366345 h 1523340"/>
              <a:gd name="csX121" fmla="*/ 549434 w 763849"/>
              <a:gd name="csY121" fmla="*/ 1362956 h 1523340"/>
              <a:gd name="csX122" fmla="*/ 632369 w 763849"/>
              <a:gd name="csY122" fmla="*/ 1354439 h 1523340"/>
              <a:gd name="csX123" fmla="*/ 697252 w 763849"/>
              <a:gd name="csY123" fmla="*/ 1346424 h 1523340"/>
              <a:gd name="csX124" fmla="*/ 676674 w 763849"/>
              <a:gd name="csY124" fmla="*/ 1266396 h 1523340"/>
              <a:gd name="csX125" fmla="*/ 646594 w 763849"/>
              <a:gd name="csY125" fmla="*/ 1234108 h 1523340"/>
              <a:gd name="csX126" fmla="*/ 612063 w 763849"/>
              <a:gd name="csY126" fmla="*/ 1194382 h 1523340"/>
              <a:gd name="csX127" fmla="*/ 591616 w 763849"/>
              <a:gd name="csY127" fmla="*/ 1111541 h 1523340"/>
              <a:gd name="csX128" fmla="*/ 594320 w 763849"/>
              <a:gd name="csY128" fmla="*/ 1089609 h 1523340"/>
              <a:gd name="csX129" fmla="*/ 578634 w 763849"/>
              <a:gd name="csY129" fmla="*/ 1089642 h 1523340"/>
              <a:gd name="csX130" fmla="*/ 443931 w 763849"/>
              <a:gd name="csY130" fmla="*/ 1096700 h 1523340"/>
              <a:gd name="csX131" fmla="*/ 403417 w 763849"/>
              <a:gd name="csY131" fmla="*/ 1097156 h 1523340"/>
              <a:gd name="csX132" fmla="*/ 388348 w 763849"/>
              <a:gd name="csY132" fmla="*/ 1111502 h 1523340"/>
              <a:gd name="csX133" fmla="*/ 385048 w 763849"/>
              <a:gd name="csY133" fmla="*/ 1176431 h 1523340"/>
              <a:gd name="csX134" fmla="*/ 377687 w 763849"/>
              <a:gd name="csY134" fmla="*/ 1308672 h 1523340"/>
              <a:gd name="csX135" fmla="*/ 376823 w 763849"/>
              <a:gd name="csY135" fmla="*/ 1320897 h 1523340"/>
              <a:gd name="csX136" fmla="*/ 376781 w 763849"/>
              <a:gd name="csY136" fmla="*/ 1366151 h 1523340"/>
              <a:gd name="csX137" fmla="*/ 462594 w 763849"/>
              <a:gd name="csY137" fmla="*/ 1369008 h 1523340"/>
              <a:gd name="csX138" fmla="*/ 648494 w 763849"/>
              <a:gd name="csY138" fmla="*/ 1463981 h 1523340"/>
              <a:gd name="csX139" fmla="*/ 718746 w 763849"/>
              <a:gd name="csY139" fmla="*/ 1451892 h 1523340"/>
              <a:gd name="csX140" fmla="*/ 711827 w 763849"/>
              <a:gd name="csY140" fmla="*/ 1416835 h 1523340"/>
              <a:gd name="csX141" fmla="*/ 685812 w 763849"/>
              <a:gd name="csY141" fmla="*/ 1398502 h 1523340"/>
              <a:gd name="csX142" fmla="*/ 680924 w 763849"/>
              <a:gd name="csY142" fmla="*/ 1398973 h 1523340"/>
              <a:gd name="csX143" fmla="*/ 598278 w 763849"/>
              <a:gd name="csY143" fmla="*/ 1409218 h 1523340"/>
              <a:gd name="csX144" fmla="*/ 474765 w 763849"/>
              <a:gd name="csY144" fmla="*/ 1417945 h 1523340"/>
              <a:gd name="csX145" fmla="*/ 385143 w 763849"/>
              <a:gd name="csY145" fmla="*/ 1418978 h 1523340"/>
              <a:gd name="csX146" fmla="*/ 376639 w 763849"/>
              <a:gd name="csY146" fmla="*/ 1419613 h 1523340"/>
              <a:gd name="csX147" fmla="*/ 376639 w 763849"/>
              <a:gd name="csY147" fmla="*/ 1473939 h 1523340"/>
              <a:gd name="csX148" fmla="*/ 382089 w 763849"/>
              <a:gd name="csY148" fmla="*/ 1474854 h 1523340"/>
              <a:gd name="csX149" fmla="*/ 449536 w 763849"/>
              <a:gd name="csY149" fmla="*/ 1476855 h 1523340"/>
              <a:gd name="csX150" fmla="*/ 559930 w 763849"/>
              <a:gd name="csY150" fmla="*/ 1474307 h 1523340"/>
              <a:gd name="csX151" fmla="*/ 648494 w 763849"/>
              <a:gd name="csY151" fmla="*/ 1463981 h 152334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</a:cxnLst>
            <a:rect l="l" t="t" r="r" b="b"/>
            <a:pathLst>
              <a:path w="763849" h="1523340">
                <a:moveTo>
                  <a:pt x="703087" y="1241174"/>
                </a:moveTo>
                <a:cubicBezTo>
                  <a:pt x="732418" y="1276379"/>
                  <a:pt x="738825" y="1316526"/>
                  <a:pt x="732932" y="1359634"/>
                </a:cubicBezTo>
                <a:cubicBezTo>
                  <a:pt x="732067" y="1365959"/>
                  <a:pt x="732453" y="1371428"/>
                  <a:pt x="735544" y="1377287"/>
                </a:cubicBezTo>
                <a:cubicBezTo>
                  <a:pt x="748937" y="1402675"/>
                  <a:pt x="755318" y="1430010"/>
                  <a:pt x="756764" y="1458577"/>
                </a:cubicBezTo>
                <a:cubicBezTo>
                  <a:pt x="756887" y="1461031"/>
                  <a:pt x="756895" y="1463494"/>
                  <a:pt x="757108" y="1465940"/>
                </a:cubicBezTo>
                <a:cubicBezTo>
                  <a:pt x="758375" y="1480486"/>
                  <a:pt x="757802" y="1482498"/>
                  <a:pt x="744215" y="1488332"/>
                </a:cubicBezTo>
                <a:cubicBezTo>
                  <a:pt x="734126" y="1492664"/>
                  <a:pt x="723536" y="1496562"/>
                  <a:pt x="712781" y="1498472"/>
                </a:cubicBezTo>
                <a:cubicBezTo>
                  <a:pt x="683814" y="1503617"/>
                  <a:pt x="654674" y="1507832"/>
                  <a:pt x="625540" y="1511981"/>
                </a:cubicBezTo>
                <a:cubicBezTo>
                  <a:pt x="580114" y="1518449"/>
                  <a:pt x="534395" y="1521481"/>
                  <a:pt x="488540" y="1522029"/>
                </a:cubicBezTo>
                <a:cubicBezTo>
                  <a:pt x="427958" y="1522752"/>
                  <a:pt x="367367" y="1523658"/>
                  <a:pt x="306789" y="1523231"/>
                </a:cubicBezTo>
                <a:cubicBezTo>
                  <a:pt x="271215" y="1522980"/>
                  <a:pt x="235625" y="1520833"/>
                  <a:pt x="200103" y="1518579"/>
                </a:cubicBezTo>
                <a:cubicBezTo>
                  <a:pt x="143289" y="1514974"/>
                  <a:pt x="86915" y="1507766"/>
                  <a:pt x="31607" y="1493880"/>
                </a:cubicBezTo>
                <a:cubicBezTo>
                  <a:pt x="22666" y="1491635"/>
                  <a:pt x="14297" y="1486920"/>
                  <a:pt x="5860" y="1482933"/>
                </a:cubicBezTo>
                <a:cubicBezTo>
                  <a:pt x="1433" y="1480841"/>
                  <a:pt x="-262" y="1476934"/>
                  <a:pt x="32" y="1471774"/>
                </a:cubicBezTo>
                <a:cubicBezTo>
                  <a:pt x="1880" y="1439401"/>
                  <a:pt x="3993" y="1407192"/>
                  <a:pt x="21295" y="1378237"/>
                </a:cubicBezTo>
                <a:cubicBezTo>
                  <a:pt x="23526" y="1374504"/>
                  <a:pt x="23666" y="1368858"/>
                  <a:pt x="23169" y="1364271"/>
                </a:cubicBezTo>
                <a:cubicBezTo>
                  <a:pt x="20957" y="1343833"/>
                  <a:pt x="20482" y="1323540"/>
                  <a:pt x="23871" y="1303132"/>
                </a:cubicBezTo>
                <a:cubicBezTo>
                  <a:pt x="28332" y="1276267"/>
                  <a:pt x="41045" y="1253887"/>
                  <a:pt x="59740" y="1234649"/>
                </a:cubicBezTo>
                <a:cubicBezTo>
                  <a:pt x="72582" y="1221434"/>
                  <a:pt x="85657" y="1208434"/>
                  <a:pt x="98899" y="1195619"/>
                </a:cubicBezTo>
                <a:cubicBezTo>
                  <a:pt x="118216" y="1176926"/>
                  <a:pt x="130484" y="1154702"/>
                  <a:pt x="131493" y="1127593"/>
                </a:cubicBezTo>
                <a:cubicBezTo>
                  <a:pt x="132448" y="1101948"/>
                  <a:pt x="127125" y="1077868"/>
                  <a:pt x="108213" y="1058723"/>
                </a:cubicBezTo>
                <a:cubicBezTo>
                  <a:pt x="97010" y="1047381"/>
                  <a:pt x="85438" y="1036399"/>
                  <a:pt x="74370" y="1024929"/>
                </a:cubicBezTo>
                <a:cubicBezTo>
                  <a:pt x="63868" y="1014043"/>
                  <a:pt x="62267" y="1001475"/>
                  <a:pt x="68137" y="987550"/>
                </a:cubicBezTo>
                <a:cubicBezTo>
                  <a:pt x="74493" y="972473"/>
                  <a:pt x="80703" y="957319"/>
                  <a:pt x="86420" y="941991"/>
                </a:cubicBezTo>
                <a:cubicBezTo>
                  <a:pt x="100218" y="905001"/>
                  <a:pt x="99441" y="866690"/>
                  <a:pt x="97082" y="828037"/>
                </a:cubicBezTo>
                <a:cubicBezTo>
                  <a:pt x="94260" y="781809"/>
                  <a:pt x="76370" y="739899"/>
                  <a:pt x="61782" y="696973"/>
                </a:cubicBezTo>
                <a:cubicBezTo>
                  <a:pt x="45282" y="648419"/>
                  <a:pt x="33285" y="598770"/>
                  <a:pt x="26901" y="547868"/>
                </a:cubicBezTo>
                <a:cubicBezTo>
                  <a:pt x="24054" y="525160"/>
                  <a:pt x="21110" y="502364"/>
                  <a:pt x="20221" y="479529"/>
                </a:cubicBezTo>
                <a:cubicBezTo>
                  <a:pt x="18293" y="430013"/>
                  <a:pt x="26126" y="381610"/>
                  <a:pt x="40808" y="334388"/>
                </a:cubicBezTo>
                <a:cubicBezTo>
                  <a:pt x="48208" y="310588"/>
                  <a:pt x="55162" y="286441"/>
                  <a:pt x="65171" y="263707"/>
                </a:cubicBezTo>
                <a:cubicBezTo>
                  <a:pt x="81946" y="225606"/>
                  <a:pt x="106517" y="193071"/>
                  <a:pt x="142827" y="171003"/>
                </a:cubicBezTo>
                <a:cubicBezTo>
                  <a:pt x="152238" y="165283"/>
                  <a:pt x="162401" y="160787"/>
                  <a:pt x="172290" y="155872"/>
                </a:cubicBezTo>
                <a:cubicBezTo>
                  <a:pt x="177784" y="153142"/>
                  <a:pt x="183393" y="150635"/>
                  <a:pt x="189008" y="148158"/>
                </a:cubicBezTo>
                <a:cubicBezTo>
                  <a:pt x="199487" y="143534"/>
                  <a:pt x="207598" y="136426"/>
                  <a:pt x="212828" y="126123"/>
                </a:cubicBezTo>
                <a:cubicBezTo>
                  <a:pt x="214121" y="123575"/>
                  <a:pt x="215966" y="121304"/>
                  <a:pt x="217217" y="118740"/>
                </a:cubicBezTo>
                <a:cubicBezTo>
                  <a:pt x="224688" y="103433"/>
                  <a:pt x="237053" y="93440"/>
                  <a:pt x="253000" y="88998"/>
                </a:cubicBezTo>
                <a:cubicBezTo>
                  <a:pt x="275818" y="82642"/>
                  <a:pt x="299033" y="77711"/>
                  <a:pt x="322085" y="72193"/>
                </a:cubicBezTo>
                <a:cubicBezTo>
                  <a:pt x="324867" y="71527"/>
                  <a:pt x="327694" y="71045"/>
                  <a:pt x="330478" y="70387"/>
                </a:cubicBezTo>
                <a:cubicBezTo>
                  <a:pt x="364731" y="62297"/>
                  <a:pt x="364569" y="62151"/>
                  <a:pt x="388016" y="35457"/>
                </a:cubicBezTo>
                <a:cubicBezTo>
                  <a:pt x="398189" y="23875"/>
                  <a:pt x="409180" y="13010"/>
                  <a:pt x="421527" y="0"/>
                </a:cubicBezTo>
                <a:cubicBezTo>
                  <a:pt x="423000" y="5190"/>
                  <a:pt x="424219" y="7961"/>
                  <a:pt x="424538" y="10833"/>
                </a:cubicBezTo>
                <a:cubicBezTo>
                  <a:pt x="428638" y="47817"/>
                  <a:pt x="433030" y="84779"/>
                  <a:pt x="436339" y="121836"/>
                </a:cubicBezTo>
                <a:cubicBezTo>
                  <a:pt x="437236" y="131893"/>
                  <a:pt x="441545" y="137271"/>
                  <a:pt x="449983" y="141450"/>
                </a:cubicBezTo>
                <a:cubicBezTo>
                  <a:pt x="467954" y="150348"/>
                  <a:pt x="486187" y="158915"/>
                  <a:pt x="503299" y="169290"/>
                </a:cubicBezTo>
                <a:cubicBezTo>
                  <a:pt x="520041" y="179441"/>
                  <a:pt x="535883" y="191197"/>
                  <a:pt x="551461" y="203111"/>
                </a:cubicBezTo>
                <a:cubicBezTo>
                  <a:pt x="568416" y="216079"/>
                  <a:pt x="579195" y="234146"/>
                  <a:pt x="588803" y="252797"/>
                </a:cubicBezTo>
                <a:cubicBezTo>
                  <a:pt x="602134" y="278677"/>
                  <a:pt x="616556" y="303835"/>
                  <a:pt x="634209" y="327081"/>
                </a:cubicBezTo>
                <a:cubicBezTo>
                  <a:pt x="651797" y="350241"/>
                  <a:pt x="673980" y="368103"/>
                  <a:pt x="697923" y="384157"/>
                </a:cubicBezTo>
                <a:cubicBezTo>
                  <a:pt x="708787" y="391441"/>
                  <a:pt x="719007" y="399678"/>
                  <a:pt x="729658" y="407288"/>
                </a:cubicBezTo>
                <a:cubicBezTo>
                  <a:pt x="751657" y="423004"/>
                  <a:pt x="761259" y="445265"/>
                  <a:pt x="763354" y="471325"/>
                </a:cubicBezTo>
                <a:cubicBezTo>
                  <a:pt x="764877" y="490275"/>
                  <a:pt x="762919" y="509064"/>
                  <a:pt x="757092" y="527116"/>
                </a:cubicBezTo>
                <a:cubicBezTo>
                  <a:pt x="750932" y="546198"/>
                  <a:pt x="738296" y="560266"/>
                  <a:pt x="720673" y="570023"/>
                </a:cubicBezTo>
                <a:cubicBezTo>
                  <a:pt x="715048" y="573138"/>
                  <a:pt x="709487" y="576825"/>
                  <a:pt x="704918" y="581294"/>
                </a:cubicBezTo>
                <a:cubicBezTo>
                  <a:pt x="695625" y="590383"/>
                  <a:pt x="684728" y="595697"/>
                  <a:pt x="671960" y="595325"/>
                </a:cubicBezTo>
                <a:cubicBezTo>
                  <a:pt x="658939" y="594945"/>
                  <a:pt x="645743" y="594018"/>
                  <a:pt x="633021" y="591397"/>
                </a:cubicBezTo>
                <a:cubicBezTo>
                  <a:pt x="611233" y="586907"/>
                  <a:pt x="595034" y="572939"/>
                  <a:pt x="580696" y="556742"/>
                </a:cubicBezTo>
                <a:cubicBezTo>
                  <a:pt x="570081" y="544750"/>
                  <a:pt x="559052" y="533306"/>
                  <a:pt x="545415" y="524617"/>
                </a:cubicBezTo>
                <a:cubicBezTo>
                  <a:pt x="537261" y="519422"/>
                  <a:pt x="528551" y="515996"/>
                  <a:pt x="518889" y="516179"/>
                </a:cubicBezTo>
                <a:cubicBezTo>
                  <a:pt x="503357" y="516473"/>
                  <a:pt x="487839" y="517663"/>
                  <a:pt x="472309" y="517812"/>
                </a:cubicBezTo>
                <a:cubicBezTo>
                  <a:pt x="453527" y="517993"/>
                  <a:pt x="434738" y="517514"/>
                  <a:pt x="415953" y="517245"/>
                </a:cubicBezTo>
                <a:cubicBezTo>
                  <a:pt x="411976" y="517189"/>
                  <a:pt x="408003" y="516808"/>
                  <a:pt x="403392" y="516539"/>
                </a:cubicBezTo>
                <a:cubicBezTo>
                  <a:pt x="401207" y="526363"/>
                  <a:pt x="404857" y="534293"/>
                  <a:pt x="407957" y="542045"/>
                </a:cubicBezTo>
                <a:cubicBezTo>
                  <a:pt x="414092" y="557387"/>
                  <a:pt x="423168" y="571042"/>
                  <a:pt x="434134" y="583349"/>
                </a:cubicBezTo>
                <a:cubicBezTo>
                  <a:pt x="464083" y="616959"/>
                  <a:pt x="493980" y="650618"/>
                  <a:pt x="524267" y="683922"/>
                </a:cubicBezTo>
                <a:cubicBezTo>
                  <a:pt x="554818" y="717518"/>
                  <a:pt x="588291" y="748619"/>
                  <a:pt x="614317" y="786085"/>
                </a:cubicBezTo>
                <a:cubicBezTo>
                  <a:pt x="642656" y="826881"/>
                  <a:pt x="663974" y="871159"/>
                  <a:pt x="669590" y="921089"/>
                </a:cubicBezTo>
                <a:cubicBezTo>
                  <a:pt x="674894" y="968240"/>
                  <a:pt x="669774" y="1014226"/>
                  <a:pt x="647360" y="1057245"/>
                </a:cubicBezTo>
                <a:cubicBezTo>
                  <a:pt x="639830" y="1071697"/>
                  <a:pt x="630533" y="1085565"/>
                  <a:pt x="627872" y="1102111"/>
                </a:cubicBezTo>
                <a:cubicBezTo>
                  <a:pt x="623640" y="1128439"/>
                  <a:pt x="626183" y="1153784"/>
                  <a:pt x="642300" y="1175941"/>
                </a:cubicBezTo>
                <a:cubicBezTo>
                  <a:pt x="650201" y="1186801"/>
                  <a:pt x="659595" y="1196636"/>
                  <a:pt x="668829" y="1206449"/>
                </a:cubicBezTo>
                <a:cubicBezTo>
                  <a:pt x="679770" y="1218075"/>
                  <a:pt x="691267" y="1229177"/>
                  <a:pt x="703087" y="1241174"/>
                </a:cubicBezTo>
                <a:moveTo>
                  <a:pt x="648750" y="562343"/>
                </a:moveTo>
                <a:cubicBezTo>
                  <a:pt x="656729" y="562558"/>
                  <a:pt x="664698" y="567407"/>
                  <a:pt x="674049" y="562834"/>
                </a:cubicBezTo>
                <a:cubicBezTo>
                  <a:pt x="668990" y="558037"/>
                  <a:pt x="664729" y="554259"/>
                  <a:pt x="660781" y="550178"/>
                </a:cubicBezTo>
                <a:cubicBezTo>
                  <a:pt x="656713" y="545973"/>
                  <a:pt x="651493" y="542363"/>
                  <a:pt x="650911" y="534051"/>
                </a:cubicBezTo>
                <a:cubicBezTo>
                  <a:pt x="654940" y="535536"/>
                  <a:pt x="657753" y="536907"/>
                  <a:pt x="660724" y="537605"/>
                </a:cubicBezTo>
                <a:cubicBezTo>
                  <a:pt x="669824" y="539743"/>
                  <a:pt x="678915" y="542853"/>
                  <a:pt x="688133" y="543363"/>
                </a:cubicBezTo>
                <a:cubicBezTo>
                  <a:pt x="712019" y="544686"/>
                  <a:pt x="726964" y="534053"/>
                  <a:pt x="731514" y="510767"/>
                </a:cubicBezTo>
                <a:cubicBezTo>
                  <a:pt x="734296" y="496535"/>
                  <a:pt x="734146" y="481511"/>
                  <a:pt x="733611" y="466905"/>
                </a:cubicBezTo>
                <a:cubicBezTo>
                  <a:pt x="732951" y="448863"/>
                  <a:pt x="723348" y="435653"/>
                  <a:pt x="708076" y="425975"/>
                </a:cubicBezTo>
                <a:cubicBezTo>
                  <a:pt x="694258" y="417218"/>
                  <a:pt x="681056" y="407489"/>
                  <a:pt x="667538" y="398254"/>
                </a:cubicBezTo>
                <a:cubicBezTo>
                  <a:pt x="641278" y="380314"/>
                  <a:pt x="617580" y="359743"/>
                  <a:pt x="601016" y="332127"/>
                </a:cubicBezTo>
                <a:cubicBezTo>
                  <a:pt x="588810" y="311778"/>
                  <a:pt x="576093" y="291645"/>
                  <a:pt x="565354" y="270526"/>
                </a:cubicBezTo>
                <a:cubicBezTo>
                  <a:pt x="548401" y="237186"/>
                  <a:pt x="523821" y="212104"/>
                  <a:pt x="490657" y="195121"/>
                </a:cubicBezTo>
                <a:cubicBezTo>
                  <a:pt x="471346" y="185231"/>
                  <a:pt x="452394" y="174606"/>
                  <a:pt x="432834" y="165243"/>
                </a:cubicBezTo>
                <a:cubicBezTo>
                  <a:pt x="416725" y="157532"/>
                  <a:pt x="408325" y="145526"/>
                  <a:pt x="407594" y="127852"/>
                </a:cubicBezTo>
                <a:cubicBezTo>
                  <a:pt x="406783" y="108242"/>
                  <a:pt x="405935" y="88634"/>
                  <a:pt x="405020" y="69029"/>
                </a:cubicBezTo>
                <a:cubicBezTo>
                  <a:pt x="404882" y="66067"/>
                  <a:pt x="404287" y="63127"/>
                  <a:pt x="403638" y="58130"/>
                </a:cubicBezTo>
                <a:cubicBezTo>
                  <a:pt x="381792" y="82321"/>
                  <a:pt x="361650" y="104820"/>
                  <a:pt x="349776" y="133259"/>
                </a:cubicBezTo>
                <a:cubicBezTo>
                  <a:pt x="345032" y="144621"/>
                  <a:pt x="337822" y="153814"/>
                  <a:pt x="326975" y="159669"/>
                </a:cubicBezTo>
                <a:cubicBezTo>
                  <a:pt x="295461" y="176681"/>
                  <a:pt x="266610" y="197333"/>
                  <a:pt x="240374" y="221714"/>
                </a:cubicBezTo>
                <a:cubicBezTo>
                  <a:pt x="212881" y="247263"/>
                  <a:pt x="188313" y="275340"/>
                  <a:pt x="171637" y="309087"/>
                </a:cubicBezTo>
                <a:cubicBezTo>
                  <a:pt x="139180" y="374765"/>
                  <a:pt x="129692" y="444532"/>
                  <a:pt x="138048" y="516954"/>
                </a:cubicBezTo>
                <a:cubicBezTo>
                  <a:pt x="142936" y="559318"/>
                  <a:pt x="152518" y="600762"/>
                  <a:pt x="163889" y="641780"/>
                </a:cubicBezTo>
                <a:cubicBezTo>
                  <a:pt x="177329" y="690261"/>
                  <a:pt x="191989" y="738413"/>
                  <a:pt x="204800" y="787055"/>
                </a:cubicBezTo>
                <a:cubicBezTo>
                  <a:pt x="218820" y="840287"/>
                  <a:pt x="228587" y="894088"/>
                  <a:pt x="218549" y="949545"/>
                </a:cubicBezTo>
                <a:cubicBezTo>
                  <a:pt x="213279" y="978659"/>
                  <a:pt x="207130" y="1007359"/>
                  <a:pt x="191487" y="1033064"/>
                </a:cubicBezTo>
                <a:cubicBezTo>
                  <a:pt x="190499" y="1034686"/>
                  <a:pt x="190018" y="1036618"/>
                  <a:pt x="188729" y="1039835"/>
                </a:cubicBezTo>
                <a:cubicBezTo>
                  <a:pt x="200470" y="1040170"/>
                  <a:pt x="210952" y="1040298"/>
                  <a:pt x="221417" y="1040799"/>
                </a:cubicBezTo>
                <a:cubicBezTo>
                  <a:pt x="263912" y="1042835"/>
                  <a:pt x="306390" y="1046436"/>
                  <a:pt x="348895" y="1046759"/>
                </a:cubicBezTo>
                <a:cubicBezTo>
                  <a:pt x="414380" y="1047258"/>
                  <a:pt x="479896" y="1046092"/>
                  <a:pt x="545369" y="1044456"/>
                </a:cubicBezTo>
                <a:cubicBezTo>
                  <a:pt x="567764" y="1043897"/>
                  <a:pt x="590066" y="1039744"/>
                  <a:pt x="612424" y="1037365"/>
                </a:cubicBezTo>
                <a:cubicBezTo>
                  <a:pt x="617948" y="1036777"/>
                  <a:pt x="621342" y="1034139"/>
                  <a:pt x="623169" y="1028873"/>
                </a:cubicBezTo>
                <a:cubicBezTo>
                  <a:pt x="630975" y="1006370"/>
                  <a:pt x="637026" y="983472"/>
                  <a:pt x="638508" y="959599"/>
                </a:cubicBezTo>
                <a:cubicBezTo>
                  <a:pt x="641131" y="917363"/>
                  <a:pt x="628970" y="878727"/>
                  <a:pt x="609213" y="842075"/>
                </a:cubicBezTo>
                <a:cubicBezTo>
                  <a:pt x="587874" y="802491"/>
                  <a:pt x="559403" y="768169"/>
                  <a:pt x="529367" y="735065"/>
                </a:cubicBezTo>
                <a:cubicBezTo>
                  <a:pt x="487563" y="688992"/>
                  <a:pt x="445474" y="643176"/>
                  <a:pt x="403792" y="596993"/>
                </a:cubicBezTo>
                <a:cubicBezTo>
                  <a:pt x="380393" y="571066"/>
                  <a:pt x="360083" y="542922"/>
                  <a:pt x="344708" y="511366"/>
                </a:cubicBezTo>
                <a:cubicBezTo>
                  <a:pt x="324385" y="469655"/>
                  <a:pt x="317321" y="425966"/>
                  <a:pt x="324464" y="380084"/>
                </a:cubicBezTo>
                <a:cubicBezTo>
                  <a:pt x="324821" y="377789"/>
                  <a:pt x="326581" y="375713"/>
                  <a:pt x="327688" y="373535"/>
                </a:cubicBezTo>
                <a:cubicBezTo>
                  <a:pt x="328570" y="373570"/>
                  <a:pt x="329452" y="373606"/>
                  <a:pt x="330334" y="373641"/>
                </a:cubicBezTo>
                <a:cubicBezTo>
                  <a:pt x="331649" y="377308"/>
                  <a:pt x="333001" y="380963"/>
                  <a:pt x="334272" y="384645"/>
                </a:cubicBezTo>
                <a:cubicBezTo>
                  <a:pt x="342569" y="408660"/>
                  <a:pt x="351164" y="432573"/>
                  <a:pt x="365260" y="453955"/>
                </a:cubicBezTo>
                <a:cubicBezTo>
                  <a:pt x="375537" y="469544"/>
                  <a:pt x="388811" y="481767"/>
                  <a:pt x="408246" y="483592"/>
                </a:cubicBezTo>
                <a:cubicBezTo>
                  <a:pt x="426928" y="485346"/>
                  <a:pt x="445757" y="486037"/>
                  <a:pt x="464529" y="486187"/>
                </a:cubicBezTo>
                <a:cubicBezTo>
                  <a:pt x="480053" y="486311"/>
                  <a:pt x="495582" y="484792"/>
                  <a:pt x="511119" y="484308"/>
                </a:cubicBezTo>
                <a:cubicBezTo>
                  <a:pt x="532443" y="483644"/>
                  <a:pt x="551690" y="490014"/>
                  <a:pt x="567913" y="503736"/>
                </a:cubicBezTo>
                <a:cubicBezTo>
                  <a:pt x="581642" y="515348"/>
                  <a:pt x="594604" y="527888"/>
                  <a:pt x="607611" y="540326"/>
                </a:cubicBezTo>
                <a:cubicBezTo>
                  <a:pt x="618811" y="551038"/>
                  <a:pt x="631177" y="559300"/>
                  <a:pt x="648750" y="562343"/>
                </a:cubicBezTo>
                <a:moveTo>
                  <a:pt x="462594" y="1369008"/>
                </a:moveTo>
                <a:cubicBezTo>
                  <a:pt x="478517" y="1368137"/>
                  <a:pt x="494449" y="1367429"/>
                  <a:pt x="510357" y="1366345"/>
                </a:cubicBezTo>
                <a:cubicBezTo>
                  <a:pt x="523399" y="1365456"/>
                  <a:pt x="536424" y="1364247"/>
                  <a:pt x="549434" y="1362956"/>
                </a:cubicBezTo>
                <a:cubicBezTo>
                  <a:pt x="577089" y="1360213"/>
                  <a:pt x="604749" y="1357503"/>
                  <a:pt x="632369" y="1354439"/>
                </a:cubicBezTo>
                <a:cubicBezTo>
                  <a:pt x="653805" y="1352062"/>
                  <a:pt x="675183" y="1349170"/>
                  <a:pt x="697252" y="1346424"/>
                </a:cubicBezTo>
                <a:cubicBezTo>
                  <a:pt x="701148" y="1316348"/>
                  <a:pt x="695768" y="1289474"/>
                  <a:pt x="676674" y="1266396"/>
                </a:cubicBezTo>
                <a:cubicBezTo>
                  <a:pt x="667313" y="1255080"/>
                  <a:pt x="656878" y="1244625"/>
                  <a:pt x="646594" y="1234108"/>
                </a:cubicBezTo>
                <a:cubicBezTo>
                  <a:pt x="634298" y="1221533"/>
                  <a:pt x="621353" y="1209623"/>
                  <a:pt x="612063" y="1194382"/>
                </a:cubicBezTo>
                <a:cubicBezTo>
                  <a:pt x="596511" y="1168867"/>
                  <a:pt x="588079" y="1141707"/>
                  <a:pt x="591616" y="1111541"/>
                </a:cubicBezTo>
                <a:cubicBezTo>
                  <a:pt x="592450" y="1104432"/>
                  <a:pt x="593365" y="1097332"/>
                  <a:pt x="594320" y="1089609"/>
                </a:cubicBezTo>
                <a:cubicBezTo>
                  <a:pt x="588294" y="1089609"/>
                  <a:pt x="583452" y="1089392"/>
                  <a:pt x="578634" y="1089642"/>
                </a:cubicBezTo>
                <a:cubicBezTo>
                  <a:pt x="533732" y="1091976"/>
                  <a:pt x="488841" y="1094525"/>
                  <a:pt x="443931" y="1096700"/>
                </a:cubicBezTo>
                <a:cubicBezTo>
                  <a:pt x="430451" y="1097353"/>
                  <a:pt x="416923" y="1097005"/>
                  <a:pt x="403417" y="1097156"/>
                </a:cubicBezTo>
                <a:cubicBezTo>
                  <a:pt x="389337" y="1097313"/>
                  <a:pt x="388961" y="1097850"/>
                  <a:pt x="388348" y="1111502"/>
                </a:cubicBezTo>
                <a:cubicBezTo>
                  <a:pt x="387375" y="1133151"/>
                  <a:pt x="386231" y="1154793"/>
                  <a:pt x="385048" y="1176431"/>
                </a:cubicBezTo>
                <a:cubicBezTo>
                  <a:pt x="382637" y="1220514"/>
                  <a:pt x="380158" y="1264593"/>
                  <a:pt x="377687" y="1308672"/>
                </a:cubicBezTo>
                <a:cubicBezTo>
                  <a:pt x="377458" y="1312751"/>
                  <a:pt x="376852" y="1316821"/>
                  <a:pt x="376823" y="1320897"/>
                </a:cubicBezTo>
                <a:cubicBezTo>
                  <a:pt x="376717" y="1335880"/>
                  <a:pt x="376781" y="1350864"/>
                  <a:pt x="376781" y="1366151"/>
                </a:cubicBezTo>
                <a:cubicBezTo>
                  <a:pt x="404707" y="1370397"/>
                  <a:pt x="432477" y="1369351"/>
                  <a:pt x="462594" y="1369008"/>
                </a:cubicBezTo>
                <a:moveTo>
                  <a:pt x="648494" y="1463981"/>
                </a:moveTo>
                <a:cubicBezTo>
                  <a:pt x="671329" y="1460052"/>
                  <a:pt x="694163" y="1456122"/>
                  <a:pt x="718746" y="1451892"/>
                </a:cubicBezTo>
                <a:cubicBezTo>
                  <a:pt x="716257" y="1439067"/>
                  <a:pt x="714578" y="1427816"/>
                  <a:pt x="711827" y="1416835"/>
                </a:cubicBezTo>
                <a:cubicBezTo>
                  <a:pt x="707611" y="1400009"/>
                  <a:pt x="703502" y="1397423"/>
                  <a:pt x="685812" y="1398502"/>
                </a:cubicBezTo>
                <a:cubicBezTo>
                  <a:pt x="684179" y="1398602"/>
                  <a:pt x="682547" y="1398768"/>
                  <a:pt x="680924" y="1398973"/>
                </a:cubicBezTo>
                <a:cubicBezTo>
                  <a:pt x="653380" y="1402446"/>
                  <a:pt x="625911" y="1406752"/>
                  <a:pt x="598278" y="1409218"/>
                </a:cubicBezTo>
                <a:cubicBezTo>
                  <a:pt x="557171" y="1412886"/>
                  <a:pt x="515983" y="1415946"/>
                  <a:pt x="474765" y="1417945"/>
                </a:cubicBezTo>
                <a:cubicBezTo>
                  <a:pt x="444944" y="1419391"/>
                  <a:pt x="415021" y="1418680"/>
                  <a:pt x="385143" y="1418978"/>
                </a:cubicBezTo>
                <a:cubicBezTo>
                  <a:pt x="382419" y="1419005"/>
                  <a:pt x="379697" y="1419376"/>
                  <a:pt x="376639" y="1419613"/>
                </a:cubicBezTo>
                <a:cubicBezTo>
                  <a:pt x="376639" y="1438152"/>
                  <a:pt x="376639" y="1455909"/>
                  <a:pt x="376639" y="1473939"/>
                </a:cubicBezTo>
                <a:cubicBezTo>
                  <a:pt x="378971" y="1474343"/>
                  <a:pt x="380523" y="1474802"/>
                  <a:pt x="382089" y="1474854"/>
                </a:cubicBezTo>
                <a:cubicBezTo>
                  <a:pt x="404571" y="1475605"/>
                  <a:pt x="427058" y="1476986"/>
                  <a:pt x="449536" y="1476855"/>
                </a:cubicBezTo>
                <a:cubicBezTo>
                  <a:pt x="486344" y="1476639"/>
                  <a:pt x="523207" y="1476480"/>
                  <a:pt x="559930" y="1474307"/>
                </a:cubicBezTo>
                <a:cubicBezTo>
                  <a:pt x="588839" y="1472596"/>
                  <a:pt x="617570" y="1467884"/>
                  <a:pt x="648494" y="1463981"/>
                </a:cubicBez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" name="Free-form: Shape 32">
            <a:extLst>
              <a:ext uri="{FF2B5EF4-FFF2-40B4-BE49-F238E27FC236}">
                <a16:creationId xmlns:a16="http://schemas.microsoft.com/office/drawing/2014/main" id="{138F4CEB-F253-3731-0BC0-07BA8055D3FF}"/>
              </a:ext>
            </a:extLst>
          </p:cNvPr>
          <p:cNvSpPr/>
          <p:nvPr/>
        </p:nvSpPr>
        <p:spPr>
          <a:xfrm>
            <a:off x="1539673" y="1646067"/>
            <a:ext cx="497702" cy="821885"/>
          </a:xfrm>
          <a:custGeom>
            <a:avLst/>
            <a:gdLst>
              <a:gd name="csX0" fmla="*/ 512604 w 598747"/>
              <a:gd name="csY0" fmla="*/ 503918 h 988745"/>
              <a:gd name="csX1" fmla="*/ 472435 w 598747"/>
              <a:gd name="csY1" fmla="*/ 482196 h 988745"/>
              <a:gd name="csX2" fmla="*/ 432737 w 598747"/>
              <a:gd name="csY2" fmla="*/ 445605 h 988745"/>
              <a:gd name="csX3" fmla="*/ 375943 w 598747"/>
              <a:gd name="csY3" fmla="*/ 426178 h 988745"/>
              <a:gd name="csX4" fmla="*/ 329354 w 598747"/>
              <a:gd name="csY4" fmla="*/ 428057 h 988745"/>
              <a:gd name="csX5" fmla="*/ 273070 w 598747"/>
              <a:gd name="csY5" fmla="*/ 425461 h 988745"/>
              <a:gd name="csX6" fmla="*/ 230084 w 598747"/>
              <a:gd name="csY6" fmla="*/ 395825 h 988745"/>
              <a:gd name="csX7" fmla="*/ 199097 w 598747"/>
              <a:gd name="csY7" fmla="*/ 326515 h 988745"/>
              <a:gd name="csX8" fmla="*/ 195158 w 598747"/>
              <a:gd name="csY8" fmla="*/ 315511 h 988745"/>
              <a:gd name="csX9" fmla="*/ 192512 w 598747"/>
              <a:gd name="csY9" fmla="*/ 315405 h 988745"/>
              <a:gd name="csX10" fmla="*/ 189288 w 598747"/>
              <a:gd name="csY10" fmla="*/ 321954 h 988745"/>
              <a:gd name="csX11" fmla="*/ 209532 w 598747"/>
              <a:gd name="csY11" fmla="*/ 453235 h 988745"/>
              <a:gd name="csX12" fmla="*/ 268616 w 598747"/>
              <a:gd name="csY12" fmla="*/ 538863 h 988745"/>
              <a:gd name="csX13" fmla="*/ 394191 w 598747"/>
              <a:gd name="csY13" fmla="*/ 676935 h 988745"/>
              <a:gd name="csX14" fmla="*/ 474037 w 598747"/>
              <a:gd name="csY14" fmla="*/ 783945 h 988745"/>
              <a:gd name="csX15" fmla="*/ 503332 w 598747"/>
              <a:gd name="csY15" fmla="*/ 901469 h 988745"/>
              <a:gd name="csX16" fmla="*/ 487993 w 598747"/>
              <a:gd name="csY16" fmla="*/ 970743 h 988745"/>
              <a:gd name="csX17" fmla="*/ 477248 w 598747"/>
              <a:gd name="csY17" fmla="*/ 979235 h 988745"/>
              <a:gd name="csX18" fmla="*/ 410194 w 598747"/>
              <a:gd name="csY18" fmla="*/ 986326 h 988745"/>
              <a:gd name="csX19" fmla="*/ 213720 w 598747"/>
              <a:gd name="csY19" fmla="*/ 988629 h 988745"/>
              <a:gd name="csX20" fmla="*/ 86242 w 598747"/>
              <a:gd name="csY20" fmla="*/ 982669 h 988745"/>
              <a:gd name="csX21" fmla="*/ 53553 w 598747"/>
              <a:gd name="csY21" fmla="*/ 981705 h 988745"/>
              <a:gd name="csX22" fmla="*/ 56311 w 598747"/>
              <a:gd name="csY22" fmla="*/ 974933 h 988745"/>
              <a:gd name="csX23" fmla="*/ 83373 w 598747"/>
              <a:gd name="csY23" fmla="*/ 891414 h 988745"/>
              <a:gd name="csX24" fmla="*/ 69625 w 598747"/>
              <a:gd name="csY24" fmla="*/ 728925 h 988745"/>
              <a:gd name="csX25" fmla="*/ 28713 w 598747"/>
              <a:gd name="csY25" fmla="*/ 583650 h 988745"/>
              <a:gd name="csX26" fmla="*/ 2872 w 598747"/>
              <a:gd name="csY26" fmla="*/ 458823 h 988745"/>
              <a:gd name="csX27" fmla="*/ 36461 w 598747"/>
              <a:gd name="csY27" fmla="*/ 250957 h 988745"/>
              <a:gd name="csX28" fmla="*/ 105198 w 598747"/>
              <a:gd name="csY28" fmla="*/ 163584 h 988745"/>
              <a:gd name="csX29" fmla="*/ 191800 w 598747"/>
              <a:gd name="csY29" fmla="*/ 101539 h 988745"/>
              <a:gd name="csX30" fmla="*/ 214600 w 598747"/>
              <a:gd name="csY30" fmla="*/ 75129 h 988745"/>
              <a:gd name="csX31" fmla="*/ 268462 w 598747"/>
              <a:gd name="csY31" fmla="*/ 0 h 988745"/>
              <a:gd name="csX32" fmla="*/ 269844 w 598747"/>
              <a:gd name="csY32" fmla="*/ 10898 h 988745"/>
              <a:gd name="csX33" fmla="*/ 272418 w 598747"/>
              <a:gd name="csY33" fmla="*/ 69722 h 988745"/>
              <a:gd name="csX34" fmla="*/ 297658 w 598747"/>
              <a:gd name="csY34" fmla="*/ 107113 h 988745"/>
              <a:gd name="csX35" fmla="*/ 355481 w 598747"/>
              <a:gd name="csY35" fmla="*/ 136991 h 988745"/>
              <a:gd name="csX36" fmla="*/ 430178 w 598747"/>
              <a:gd name="csY36" fmla="*/ 212396 h 988745"/>
              <a:gd name="csX37" fmla="*/ 465840 w 598747"/>
              <a:gd name="csY37" fmla="*/ 273997 h 988745"/>
              <a:gd name="csX38" fmla="*/ 532362 w 598747"/>
              <a:gd name="csY38" fmla="*/ 340124 h 988745"/>
              <a:gd name="csX39" fmla="*/ 572901 w 598747"/>
              <a:gd name="csY39" fmla="*/ 367845 h 988745"/>
              <a:gd name="csX40" fmla="*/ 598436 w 598747"/>
              <a:gd name="csY40" fmla="*/ 408775 h 988745"/>
              <a:gd name="csX41" fmla="*/ 596339 w 598747"/>
              <a:gd name="csY41" fmla="*/ 452637 h 988745"/>
              <a:gd name="csX42" fmla="*/ 552957 w 598747"/>
              <a:gd name="csY42" fmla="*/ 485233 h 988745"/>
              <a:gd name="csX43" fmla="*/ 525548 w 598747"/>
              <a:gd name="csY43" fmla="*/ 479475 h 988745"/>
              <a:gd name="csX44" fmla="*/ 515736 w 598747"/>
              <a:gd name="csY44" fmla="*/ 475921 h 988745"/>
              <a:gd name="csX45" fmla="*/ 525605 w 598747"/>
              <a:gd name="csY45" fmla="*/ 492048 h 988745"/>
              <a:gd name="csX46" fmla="*/ 538873 w 598747"/>
              <a:gd name="csY46" fmla="*/ 504704 h 988745"/>
              <a:gd name="csX47" fmla="*/ 512604 w 598747"/>
              <a:gd name="csY47" fmla="*/ 503918 h 988745"/>
              <a:gd name="csX48" fmla="*/ 332072 w 598747"/>
              <a:gd name="csY48" fmla="*/ 218143 h 988745"/>
              <a:gd name="csX49" fmla="*/ 334388 w 598747"/>
              <a:gd name="csY49" fmla="*/ 226400 h 988745"/>
              <a:gd name="csX50" fmla="*/ 372370 w 598747"/>
              <a:gd name="csY50" fmla="*/ 254505 h 988745"/>
              <a:gd name="csX51" fmla="*/ 405258 w 598747"/>
              <a:gd name="csY51" fmla="*/ 252089 h 988745"/>
              <a:gd name="csX52" fmla="*/ 409167 w 598747"/>
              <a:gd name="csY52" fmla="*/ 244359 h 988745"/>
              <a:gd name="csX53" fmla="*/ 396364 w 598747"/>
              <a:gd name="csY53" fmla="*/ 219471 h 988745"/>
              <a:gd name="csX54" fmla="*/ 365755 w 598747"/>
              <a:gd name="csY54" fmla="*/ 195821 h 988745"/>
              <a:gd name="csX55" fmla="*/ 333572 w 598747"/>
              <a:gd name="csY55" fmla="*/ 188536 h 988745"/>
              <a:gd name="csX56" fmla="*/ 322931 w 598747"/>
              <a:gd name="csY56" fmla="*/ 190843 h 988745"/>
              <a:gd name="csX57" fmla="*/ 329041 w 598747"/>
              <a:gd name="csY57" fmla="*/ 203001 h 988745"/>
              <a:gd name="csX58" fmla="*/ 332072 w 598747"/>
              <a:gd name="csY58" fmla="*/ 218143 h 98874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</a:cxnLst>
            <a:rect l="l" t="t" r="r" b="b"/>
            <a:pathLst>
              <a:path w="598747" h="988745">
                <a:moveTo>
                  <a:pt x="512604" y="503918"/>
                </a:moveTo>
                <a:cubicBezTo>
                  <a:pt x="496002" y="501170"/>
                  <a:pt x="483635" y="492907"/>
                  <a:pt x="472435" y="482196"/>
                </a:cubicBezTo>
                <a:cubicBezTo>
                  <a:pt x="459429" y="469758"/>
                  <a:pt x="446467" y="457218"/>
                  <a:pt x="432737" y="445605"/>
                </a:cubicBezTo>
                <a:cubicBezTo>
                  <a:pt x="416514" y="431883"/>
                  <a:pt x="397267" y="425513"/>
                  <a:pt x="375943" y="426178"/>
                </a:cubicBezTo>
                <a:cubicBezTo>
                  <a:pt x="360407" y="426662"/>
                  <a:pt x="344877" y="428180"/>
                  <a:pt x="329354" y="428057"/>
                </a:cubicBezTo>
                <a:cubicBezTo>
                  <a:pt x="310581" y="427907"/>
                  <a:pt x="291752" y="427215"/>
                  <a:pt x="273070" y="425461"/>
                </a:cubicBezTo>
                <a:cubicBezTo>
                  <a:pt x="253636" y="423637"/>
                  <a:pt x="240361" y="411413"/>
                  <a:pt x="230084" y="395825"/>
                </a:cubicBezTo>
                <a:cubicBezTo>
                  <a:pt x="215988" y="374443"/>
                  <a:pt x="207393" y="350530"/>
                  <a:pt x="199097" y="326515"/>
                </a:cubicBezTo>
                <a:cubicBezTo>
                  <a:pt x="197825" y="322833"/>
                  <a:pt x="196473" y="319178"/>
                  <a:pt x="195158" y="315511"/>
                </a:cubicBezTo>
                <a:cubicBezTo>
                  <a:pt x="194276" y="315475"/>
                  <a:pt x="193394" y="315440"/>
                  <a:pt x="192512" y="315405"/>
                </a:cubicBezTo>
                <a:cubicBezTo>
                  <a:pt x="191405" y="317583"/>
                  <a:pt x="189646" y="319659"/>
                  <a:pt x="189288" y="321954"/>
                </a:cubicBezTo>
                <a:cubicBezTo>
                  <a:pt x="182145" y="367836"/>
                  <a:pt x="189209" y="411525"/>
                  <a:pt x="209532" y="453235"/>
                </a:cubicBezTo>
                <a:cubicBezTo>
                  <a:pt x="224908" y="484792"/>
                  <a:pt x="245217" y="512936"/>
                  <a:pt x="268616" y="538863"/>
                </a:cubicBezTo>
                <a:cubicBezTo>
                  <a:pt x="310298" y="585046"/>
                  <a:pt x="352387" y="630861"/>
                  <a:pt x="394191" y="676935"/>
                </a:cubicBezTo>
                <a:cubicBezTo>
                  <a:pt x="424227" y="710039"/>
                  <a:pt x="452698" y="744360"/>
                  <a:pt x="474037" y="783945"/>
                </a:cubicBezTo>
                <a:cubicBezTo>
                  <a:pt x="493795" y="820596"/>
                  <a:pt x="505956" y="859233"/>
                  <a:pt x="503332" y="901469"/>
                </a:cubicBezTo>
                <a:cubicBezTo>
                  <a:pt x="501850" y="925342"/>
                  <a:pt x="495799" y="948239"/>
                  <a:pt x="487993" y="970743"/>
                </a:cubicBezTo>
                <a:cubicBezTo>
                  <a:pt x="486166" y="976009"/>
                  <a:pt x="482772" y="978647"/>
                  <a:pt x="477248" y="979235"/>
                </a:cubicBezTo>
                <a:cubicBezTo>
                  <a:pt x="454890" y="981614"/>
                  <a:pt x="432589" y="985767"/>
                  <a:pt x="410194" y="986326"/>
                </a:cubicBezTo>
                <a:cubicBezTo>
                  <a:pt x="344720" y="987961"/>
                  <a:pt x="279205" y="989128"/>
                  <a:pt x="213720" y="988629"/>
                </a:cubicBezTo>
                <a:cubicBezTo>
                  <a:pt x="171215" y="988306"/>
                  <a:pt x="128736" y="984705"/>
                  <a:pt x="86242" y="982669"/>
                </a:cubicBezTo>
                <a:cubicBezTo>
                  <a:pt x="75776" y="982167"/>
                  <a:pt x="65294" y="982040"/>
                  <a:pt x="53553" y="981705"/>
                </a:cubicBezTo>
                <a:cubicBezTo>
                  <a:pt x="54842" y="978488"/>
                  <a:pt x="55323" y="976556"/>
                  <a:pt x="56311" y="974933"/>
                </a:cubicBezTo>
                <a:cubicBezTo>
                  <a:pt x="71955" y="949229"/>
                  <a:pt x="78103" y="920529"/>
                  <a:pt x="83373" y="891414"/>
                </a:cubicBezTo>
                <a:cubicBezTo>
                  <a:pt x="93411" y="835958"/>
                  <a:pt x="83645" y="782156"/>
                  <a:pt x="69625" y="728925"/>
                </a:cubicBezTo>
                <a:cubicBezTo>
                  <a:pt x="56813" y="680283"/>
                  <a:pt x="42153" y="632130"/>
                  <a:pt x="28713" y="583650"/>
                </a:cubicBezTo>
                <a:cubicBezTo>
                  <a:pt x="17342" y="542631"/>
                  <a:pt x="7760" y="501188"/>
                  <a:pt x="2872" y="458823"/>
                </a:cubicBezTo>
                <a:cubicBezTo>
                  <a:pt x="-5484" y="386401"/>
                  <a:pt x="4005" y="316635"/>
                  <a:pt x="36461" y="250957"/>
                </a:cubicBezTo>
                <a:cubicBezTo>
                  <a:pt x="53137" y="217210"/>
                  <a:pt x="77705" y="189133"/>
                  <a:pt x="105198" y="163584"/>
                </a:cubicBezTo>
                <a:cubicBezTo>
                  <a:pt x="131434" y="139203"/>
                  <a:pt x="160285" y="118551"/>
                  <a:pt x="191800" y="101539"/>
                </a:cubicBezTo>
                <a:cubicBezTo>
                  <a:pt x="202646" y="95684"/>
                  <a:pt x="209856" y="86491"/>
                  <a:pt x="214600" y="75129"/>
                </a:cubicBezTo>
                <a:cubicBezTo>
                  <a:pt x="226474" y="46689"/>
                  <a:pt x="246616" y="24191"/>
                  <a:pt x="268462" y="0"/>
                </a:cubicBezTo>
                <a:cubicBezTo>
                  <a:pt x="269111" y="4997"/>
                  <a:pt x="269706" y="7937"/>
                  <a:pt x="269844" y="10898"/>
                </a:cubicBezTo>
                <a:cubicBezTo>
                  <a:pt x="270760" y="30504"/>
                  <a:pt x="271607" y="50112"/>
                  <a:pt x="272418" y="69722"/>
                </a:cubicBezTo>
                <a:cubicBezTo>
                  <a:pt x="273150" y="87396"/>
                  <a:pt x="281549" y="99401"/>
                  <a:pt x="297658" y="107113"/>
                </a:cubicBezTo>
                <a:cubicBezTo>
                  <a:pt x="317218" y="116476"/>
                  <a:pt x="336170" y="127101"/>
                  <a:pt x="355481" y="136991"/>
                </a:cubicBezTo>
                <a:cubicBezTo>
                  <a:pt x="388645" y="153974"/>
                  <a:pt x="413226" y="179056"/>
                  <a:pt x="430178" y="212396"/>
                </a:cubicBezTo>
                <a:cubicBezTo>
                  <a:pt x="440917" y="233515"/>
                  <a:pt x="453634" y="253647"/>
                  <a:pt x="465840" y="273997"/>
                </a:cubicBezTo>
                <a:cubicBezTo>
                  <a:pt x="482404" y="301613"/>
                  <a:pt x="506102" y="322183"/>
                  <a:pt x="532362" y="340124"/>
                </a:cubicBezTo>
                <a:cubicBezTo>
                  <a:pt x="545881" y="349359"/>
                  <a:pt x="559082" y="359088"/>
                  <a:pt x="572901" y="367845"/>
                </a:cubicBezTo>
                <a:cubicBezTo>
                  <a:pt x="588172" y="377523"/>
                  <a:pt x="597775" y="390733"/>
                  <a:pt x="598436" y="408775"/>
                </a:cubicBezTo>
                <a:cubicBezTo>
                  <a:pt x="598970" y="423381"/>
                  <a:pt x="599120" y="438404"/>
                  <a:pt x="596339" y="452637"/>
                </a:cubicBezTo>
                <a:cubicBezTo>
                  <a:pt x="591789" y="475923"/>
                  <a:pt x="576843" y="486555"/>
                  <a:pt x="552957" y="485233"/>
                </a:cubicBezTo>
                <a:cubicBezTo>
                  <a:pt x="543740" y="484722"/>
                  <a:pt x="534648" y="481613"/>
                  <a:pt x="525548" y="479475"/>
                </a:cubicBezTo>
                <a:cubicBezTo>
                  <a:pt x="522577" y="478776"/>
                  <a:pt x="519764" y="477405"/>
                  <a:pt x="515736" y="475921"/>
                </a:cubicBezTo>
                <a:cubicBezTo>
                  <a:pt x="516318" y="484233"/>
                  <a:pt x="521537" y="487842"/>
                  <a:pt x="525605" y="492048"/>
                </a:cubicBezTo>
                <a:cubicBezTo>
                  <a:pt x="529554" y="496129"/>
                  <a:pt x="533815" y="499907"/>
                  <a:pt x="538873" y="504704"/>
                </a:cubicBezTo>
                <a:cubicBezTo>
                  <a:pt x="529522" y="509277"/>
                  <a:pt x="521553" y="504428"/>
                  <a:pt x="512604" y="503918"/>
                </a:cubicBezTo>
                <a:moveTo>
                  <a:pt x="332072" y="218143"/>
                </a:moveTo>
                <a:cubicBezTo>
                  <a:pt x="332837" y="220898"/>
                  <a:pt x="333478" y="223695"/>
                  <a:pt x="334388" y="226400"/>
                </a:cubicBezTo>
                <a:cubicBezTo>
                  <a:pt x="341073" y="246268"/>
                  <a:pt x="351614" y="254460"/>
                  <a:pt x="372370" y="254505"/>
                </a:cubicBezTo>
                <a:cubicBezTo>
                  <a:pt x="383333" y="254529"/>
                  <a:pt x="394312" y="253121"/>
                  <a:pt x="405258" y="252089"/>
                </a:cubicBezTo>
                <a:cubicBezTo>
                  <a:pt x="409961" y="251646"/>
                  <a:pt x="411340" y="248568"/>
                  <a:pt x="409167" y="244359"/>
                </a:cubicBezTo>
                <a:cubicBezTo>
                  <a:pt x="404885" y="236068"/>
                  <a:pt x="400139" y="227985"/>
                  <a:pt x="396364" y="219471"/>
                </a:cubicBezTo>
                <a:cubicBezTo>
                  <a:pt x="390350" y="205908"/>
                  <a:pt x="379963" y="198663"/>
                  <a:pt x="365755" y="195821"/>
                </a:cubicBezTo>
                <a:cubicBezTo>
                  <a:pt x="354973" y="193665"/>
                  <a:pt x="344291" y="191003"/>
                  <a:pt x="333572" y="188536"/>
                </a:cubicBezTo>
                <a:cubicBezTo>
                  <a:pt x="329511" y="187602"/>
                  <a:pt x="325579" y="187007"/>
                  <a:pt x="322931" y="190843"/>
                </a:cubicBezTo>
                <a:cubicBezTo>
                  <a:pt x="325138" y="195129"/>
                  <a:pt x="327613" y="198884"/>
                  <a:pt x="329041" y="203001"/>
                </a:cubicBezTo>
                <a:cubicBezTo>
                  <a:pt x="330500" y="207204"/>
                  <a:pt x="330929" y="211764"/>
                  <a:pt x="332072" y="218143"/>
                </a:cubicBezTo>
                <a:close/>
              </a:path>
            </a:pathLst>
          </a:custGeom>
          <a:solidFill>
            <a:srgbClr val="FEFEFE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7" name="Free-form: Shape 36">
            <a:extLst>
              <a:ext uri="{FF2B5EF4-FFF2-40B4-BE49-F238E27FC236}">
                <a16:creationId xmlns:a16="http://schemas.microsoft.com/office/drawing/2014/main" id="{6C43D69E-8C3A-52F1-8B61-78527B2D2304}"/>
              </a:ext>
            </a:extLst>
          </p:cNvPr>
          <p:cNvSpPr/>
          <p:nvPr/>
        </p:nvSpPr>
        <p:spPr>
          <a:xfrm>
            <a:off x="1740490" y="2503402"/>
            <a:ext cx="267393" cy="232628"/>
          </a:xfrm>
          <a:custGeom>
            <a:avLst/>
            <a:gdLst>
              <a:gd name="csX0" fmla="*/ 84645 w 321679"/>
              <a:gd name="csY0" fmla="*/ 279507 h 279857"/>
              <a:gd name="csX1" fmla="*/ 19 w 321679"/>
              <a:gd name="csY1" fmla="*/ 276629 h 279857"/>
              <a:gd name="csX2" fmla="*/ 61 w 321679"/>
              <a:gd name="csY2" fmla="*/ 231376 h 279857"/>
              <a:gd name="csX3" fmla="*/ 925 w 321679"/>
              <a:gd name="csY3" fmla="*/ 219150 h 279857"/>
              <a:gd name="csX4" fmla="*/ 8286 w 321679"/>
              <a:gd name="csY4" fmla="*/ 86910 h 279857"/>
              <a:gd name="csX5" fmla="*/ 11586 w 321679"/>
              <a:gd name="csY5" fmla="*/ 21981 h 279857"/>
              <a:gd name="csX6" fmla="*/ 26655 w 321679"/>
              <a:gd name="csY6" fmla="*/ 7635 h 279857"/>
              <a:gd name="csX7" fmla="*/ 67169 w 321679"/>
              <a:gd name="csY7" fmla="*/ 7178 h 279857"/>
              <a:gd name="csX8" fmla="*/ 201872 w 321679"/>
              <a:gd name="csY8" fmla="*/ 121 h 279857"/>
              <a:gd name="csX9" fmla="*/ 217558 w 321679"/>
              <a:gd name="csY9" fmla="*/ 87 h 279857"/>
              <a:gd name="csX10" fmla="*/ 214854 w 321679"/>
              <a:gd name="csY10" fmla="*/ 22019 h 279857"/>
              <a:gd name="csX11" fmla="*/ 235301 w 321679"/>
              <a:gd name="csY11" fmla="*/ 104861 h 279857"/>
              <a:gd name="csX12" fmla="*/ 269832 w 321679"/>
              <a:gd name="csY12" fmla="*/ 144587 h 279857"/>
              <a:gd name="csX13" fmla="*/ 299912 w 321679"/>
              <a:gd name="csY13" fmla="*/ 176874 h 279857"/>
              <a:gd name="csX14" fmla="*/ 320491 w 321679"/>
              <a:gd name="csY14" fmla="*/ 256903 h 279857"/>
              <a:gd name="csX15" fmla="*/ 255607 w 321679"/>
              <a:gd name="csY15" fmla="*/ 264918 h 279857"/>
              <a:gd name="csX16" fmla="*/ 172672 w 321679"/>
              <a:gd name="csY16" fmla="*/ 273435 h 279857"/>
              <a:gd name="csX17" fmla="*/ 133595 w 321679"/>
              <a:gd name="csY17" fmla="*/ 276823 h 279857"/>
              <a:gd name="csX18" fmla="*/ 84645 w 321679"/>
              <a:gd name="csY18" fmla="*/ 279507 h 27985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</a:cxnLst>
            <a:rect l="l" t="t" r="r" b="b"/>
            <a:pathLst>
              <a:path w="321679" h="279857">
                <a:moveTo>
                  <a:pt x="84645" y="279507"/>
                </a:moveTo>
                <a:cubicBezTo>
                  <a:pt x="55716" y="279830"/>
                  <a:pt x="27945" y="280875"/>
                  <a:pt x="19" y="276629"/>
                </a:cubicBezTo>
                <a:cubicBezTo>
                  <a:pt x="19" y="261343"/>
                  <a:pt x="-45" y="246359"/>
                  <a:pt x="61" y="231376"/>
                </a:cubicBezTo>
                <a:cubicBezTo>
                  <a:pt x="90" y="227299"/>
                  <a:pt x="696" y="223229"/>
                  <a:pt x="925" y="219150"/>
                </a:cubicBezTo>
                <a:cubicBezTo>
                  <a:pt x="3396" y="175071"/>
                  <a:pt x="5876" y="130992"/>
                  <a:pt x="8286" y="86910"/>
                </a:cubicBezTo>
                <a:cubicBezTo>
                  <a:pt x="9469" y="65271"/>
                  <a:pt x="10613" y="43630"/>
                  <a:pt x="11586" y="21981"/>
                </a:cubicBezTo>
                <a:cubicBezTo>
                  <a:pt x="12199" y="8328"/>
                  <a:pt x="12576" y="7792"/>
                  <a:pt x="26655" y="7635"/>
                </a:cubicBezTo>
                <a:cubicBezTo>
                  <a:pt x="40161" y="7484"/>
                  <a:pt x="53689" y="7831"/>
                  <a:pt x="67169" y="7178"/>
                </a:cubicBezTo>
                <a:cubicBezTo>
                  <a:pt x="112079" y="5004"/>
                  <a:pt x="156970" y="2455"/>
                  <a:pt x="201872" y="121"/>
                </a:cubicBezTo>
                <a:cubicBezTo>
                  <a:pt x="206690" y="-130"/>
                  <a:pt x="211533" y="87"/>
                  <a:pt x="217558" y="87"/>
                </a:cubicBezTo>
                <a:cubicBezTo>
                  <a:pt x="216603" y="7811"/>
                  <a:pt x="215688" y="14910"/>
                  <a:pt x="214854" y="22019"/>
                </a:cubicBezTo>
                <a:cubicBezTo>
                  <a:pt x="211318" y="52185"/>
                  <a:pt x="219749" y="79345"/>
                  <a:pt x="235301" y="104861"/>
                </a:cubicBezTo>
                <a:cubicBezTo>
                  <a:pt x="244591" y="120102"/>
                  <a:pt x="257536" y="132012"/>
                  <a:pt x="269832" y="144587"/>
                </a:cubicBezTo>
                <a:cubicBezTo>
                  <a:pt x="280116" y="155103"/>
                  <a:pt x="290551" y="165559"/>
                  <a:pt x="299912" y="176874"/>
                </a:cubicBezTo>
                <a:cubicBezTo>
                  <a:pt x="319006" y="199953"/>
                  <a:pt x="324386" y="226827"/>
                  <a:pt x="320491" y="256903"/>
                </a:cubicBezTo>
                <a:cubicBezTo>
                  <a:pt x="298421" y="259649"/>
                  <a:pt x="277043" y="262541"/>
                  <a:pt x="255607" y="264918"/>
                </a:cubicBezTo>
                <a:cubicBezTo>
                  <a:pt x="227987" y="267981"/>
                  <a:pt x="200327" y="270692"/>
                  <a:pt x="172672" y="273435"/>
                </a:cubicBezTo>
                <a:cubicBezTo>
                  <a:pt x="159662" y="274725"/>
                  <a:pt x="146637" y="275935"/>
                  <a:pt x="133595" y="276823"/>
                </a:cubicBezTo>
                <a:cubicBezTo>
                  <a:pt x="117688" y="277907"/>
                  <a:pt x="101755" y="278616"/>
                  <a:pt x="84645" y="279507"/>
                </a:cubicBezTo>
                <a:close/>
              </a:path>
            </a:pathLst>
          </a:custGeom>
          <a:solidFill>
            <a:srgbClr val="FDFEFE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8" name="Free-form: Shape 37">
            <a:extLst>
              <a:ext uri="{FF2B5EF4-FFF2-40B4-BE49-F238E27FC236}">
                <a16:creationId xmlns:a16="http://schemas.microsoft.com/office/drawing/2014/main" id="{8B1FCEA2-8257-9D57-F0CB-A2C4F8119985}"/>
              </a:ext>
            </a:extLst>
          </p:cNvPr>
          <p:cNvSpPr/>
          <p:nvPr/>
        </p:nvSpPr>
        <p:spPr>
          <a:xfrm>
            <a:off x="1740387" y="2760063"/>
            <a:ext cx="284373" cy="65313"/>
          </a:xfrm>
          <a:custGeom>
            <a:avLst/>
            <a:gdLst>
              <a:gd name="csX0" fmla="*/ 270798 w 342106"/>
              <a:gd name="csY0" fmla="*/ 65953 h 78573"/>
              <a:gd name="csX1" fmla="*/ 183290 w 342106"/>
              <a:gd name="csY1" fmla="*/ 76017 h 78573"/>
              <a:gd name="csX2" fmla="*/ 72897 w 342106"/>
              <a:gd name="csY2" fmla="*/ 78565 h 78573"/>
              <a:gd name="csX3" fmla="*/ 5450 w 342106"/>
              <a:gd name="csY3" fmla="*/ 76564 h 78573"/>
              <a:gd name="csX4" fmla="*/ 0 w 342106"/>
              <a:gd name="csY4" fmla="*/ 75649 h 78573"/>
              <a:gd name="csX5" fmla="*/ 0 w 342106"/>
              <a:gd name="csY5" fmla="*/ 21324 h 78573"/>
              <a:gd name="csX6" fmla="*/ 8504 w 342106"/>
              <a:gd name="csY6" fmla="*/ 20688 h 78573"/>
              <a:gd name="csX7" fmla="*/ 98126 w 342106"/>
              <a:gd name="csY7" fmla="*/ 19655 h 78573"/>
              <a:gd name="csX8" fmla="*/ 221639 w 342106"/>
              <a:gd name="csY8" fmla="*/ 10929 h 78573"/>
              <a:gd name="csX9" fmla="*/ 304285 w 342106"/>
              <a:gd name="csY9" fmla="*/ 683 h 78573"/>
              <a:gd name="csX10" fmla="*/ 309173 w 342106"/>
              <a:gd name="csY10" fmla="*/ 212 h 78573"/>
              <a:gd name="csX11" fmla="*/ 335187 w 342106"/>
              <a:gd name="csY11" fmla="*/ 18545 h 78573"/>
              <a:gd name="csX12" fmla="*/ 342106 w 342106"/>
              <a:gd name="csY12" fmla="*/ 53602 h 78573"/>
              <a:gd name="csX13" fmla="*/ 270798 w 342106"/>
              <a:gd name="csY13" fmla="*/ 65953 h 7857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</a:cxnLst>
            <a:rect l="l" t="t" r="r" b="b"/>
            <a:pathLst>
              <a:path w="342106" h="78573">
                <a:moveTo>
                  <a:pt x="270798" y="65953"/>
                </a:moveTo>
                <a:cubicBezTo>
                  <a:pt x="240931" y="69594"/>
                  <a:pt x="212199" y="74306"/>
                  <a:pt x="183290" y="76017"/>
                </a:cubicBezTo>
                <a:cubicBezTo>
                  <a:pt x="146568" y="78191"/>
                  <a:pt x="109704" y="78349"/>
                  <a:pt x="72897" y="78565"/>
                </a:cubicBezTo>
                <a:cubicBezTo>
                  <a:pt x="50419" y="78697"/>
                  <a:pt x="27931" y="77315"/>
                  <a:pt x="5450" y="76564"/>
                </a:cubicBezTo>
                <a:cubicBezTo>
                  <a:pt x="3884" y="76512"/>
                  <a:pt x="2332" y="76053"/>
                  <a:pt x="0" y="75649"/>
                </a:cubicBezTo>
                <a:cubicBezTo>
                  <a:pt x="0" y="57619"/>
                  <a:pt x="0" y="39863"/>
                  <a:pt x="0" y="21324"/>
                </a:cubicBezTo>
                <a:cubicBezTo>
                  <a:pt x="3058" y="21086"/>
                  <a:pt x="5779" y="20715"/>
                  <a:pt x="8504" y="20688"/>
                </a:cubicBezTo>
                <a:cubicBezTo>
                  <a:pt x="38382" y="20390"/>
                  <a:pt x="68305" y="21101"/>
                  <a:pt x="98126" y="19655"/>
                </a:cubicBezTo>
                <a:cubicBezTo>
                  <a:pt x="139343" y="17657"/>
                  <a:pt x="180532" y="14597"/>
                  <a:pt x="221639" y="10929"/>
                </a:cubicBezTo>
                <a:cubicBezTo>
                  <a:pt x="249272" y="8463"/>
                  <a:pt x="276741" y="4156"/>
                  <a:pt x="304285" y="683"/>
                </a:cubicBezTo>
                <a:cubicBezTo>
                  <a:pt x="305908" y="478"/>
                  <a:pt x="307539" y="312"/>
                  <a:pt x="309173" y="212"/>
                </a:cubicBezTo>
                <a:cubicBezTo>
                  <a:pt x="326863" y="-867"/>
                  <a:pt x="330972" y="1719"/>
                  <a:pt x="335187" y="18545"/>
                </a:cubicBezTo>
                <a:cubicBezTo>
                  <a:pt x="337939" y="29526"/>
                  <a:pt x="339618" y="40777"/>
                  <a:pt x="342106" y="53602"/>
                </a:cubicBezTo>
                <a:cubicBezTo>
                  <a:pt x="317523" y="57833"/>
                  <a:pt x="294689" y="61762"/>
                  <a:pt x="270798" y="65953"/>
                </a:cubicBezTo>
                <a:close/>
              </a:path>
            </a:pathLst>
          </a:custGeom>
          <a:solidFill>
            <a:srgbClr val="FCFCFC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9" name="Free-form: Shape 38">
            <a:extLst>
              <a:ext uri="{FF2B5EF4-FFF2-40B4-BE49-F238E27FC236}">
                <a16:creationId xmlns:a16="http://schemas.microsoft.com/office/drawing/2014/main" id="{A9F9B35F-6F8A-785E-478F-55315696C233}"/>
              </a:ext>
            </a:extLst>
          </p:cNvPr>
          <p:cNvSpPr/>
          <p:nvPr/>
        </p:nvSpPr>
        <p:spPr>
          <a:xfrm>
            <a:off x="1808106" y="1802207"/>
            <a:ext cx="72517" cy="55415"/>
          </a:xfrm>
          <a:custGeom>
            <a:avLst/>
            <a:gdLst>
              <a:gd name="csX0" fmla="*/ 9010 w 87239"/>
              <a:gd name="csY0" fmla="*/ 29316 h 66665"/>
              <a:gd name="csX1" fmla="*/ 6110 w 87239"/>
              <a:gd name="csY1" fmla="*/ 15162 h 66665"/>
              <a:gd name="csX2" fmla="*/ 0 w 87239"/>
              <a:gd name="csY2" fmla="*/ 3003 h 66665"/>
              <a:gd name="csX3" fmla="*/ 10641 w 87239"/>
              <a:gd name="csY3" fmla="*/ 697 h 66665"/>
              <a:gd name="csX4" fmla="*/ 42824 w 87239"/>
              <a:gd name="csY4" fmla="*/ 7981 h 66665"/>
              <a:gd name="csX5" fmla="*/ 73433 w 87239"/>
              <a:gd name="csY5" fmla="*/ 31631 h 66665"/>
              <a:gd name="csX6" fmla="*/ 86236 w 87239"/>
              <a:gd name="csY6" fmla="*/ 56519 h 66665"/>
              <a:gd name="csX7" fmla="*/ 82327 w 87239"/>
              <a:gd name="csY7" fmla="*/ 64249 h 66665"/>
              <a:gd name="csX8" fmla="*/ 49439 w 87239"/>
              <a:gd name="csY8" fmla="*/ 66665 h 66665"/>
              <a:gd name="csX9" fmla="*/ 11457 w 87239"/>
              <a:gd name="csY9" fmla="*/ 38560 h 66665"/>
              <a:gd name="csX10" fmla="*/ 9010 w 87239"/>
              <a:gd name="csY10" fmla="*/ 29316 h 6666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</a:cxnLst>
            <a:rect l="l" t="t" r="r" b="b"/>
            <a:pathLst>
              <a:path w="87239" h="66665">
                <a:moveTo>
                  <a:pt x="9010" y="29316"/>
                </a:moveTo>
                <a:cubicBezTo>
                  <a:pt x="7998" y="23924"/>
                  <a:pt x="7568" y="19365"/>
                  <a:pt x="6110" y="15162"/>
                </a:cubicBezTo>
                <a:cubicBezTo>
                  <a:pt x="4682" y="11044"/>
                  <a:pt x="2207" y="7289"/>
                  <a:pt x="0" y="3003"/>
                </a:cubicBezTo>
                <a:cubicBezTo>
                  <a:pt x="2648" y="-833"/>
                  <a:pt x="6580" y="-238"/>
                  <a:pt x="10641" y="697"/>
                </a:cubicBezTo>
                <a:cubicBezTo>
                  <a:pt x="21360" y="3163"/>
                  <a:pt x="32042" y="5825"/>
                  <a:pt x="42824" y="7981"/>
                </a:cubicBezTo>
                <a:cubicBezTo>
                  <a:pt x="57032" y="10823"/>
                  <a:pt x="67419" y="18068"/>
                  <a:pt x="73433" y="31631"/>
                </a:cubicBezTo>
                <a:cubicBezTo>
                  <a:pt x="77208" y="40146"/>
                  <a:pt x="81954" y="48228"/>
                  <a:pt x="86236" y="56519"/>
                </a:cubicBezTo>
                <a:cubicBezTo>
                  <a:pt x="88409" y="60728"/>
                  <a:pt x="87030" y="63806"/>
                  <a:pt x="82327" y="64249"/>
                </a:cubicBezTo>
                <a:cubicBezTo>
                  <a:pt x="71381" y="65282"/>
                  <a:pt x="60402" y="66689"/>
                  <a:pt x="49439" y="66665"/>
                </a:cubicBezTo>
                <a:cubicBezTo>
                  <a:pt x="28683" y="66620"/>
                  <a:pt x="18142" y="58428"/>
                  <a:pt x="11457" y="38560"/>
                </a:cubicBezTo>
                <a:cubicBezTo>
                  <a:pt x="10547" y="35855"/>
                  <a:pt x="9906" y="33058"/>
                  <a:pt x="9010" y="29316"/>
                </a:cubicBez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3D91F1D-F5B5-C8A3-981B-7F3D9F88750E}"/>
              </a:ext>
            </a:extLst>
          </p:cNvPr>
          <p:cNvSpPr txBox="1"/>
          <p:nvPr/>
        </p:nvSpPr>
        <p:spPr>
          <a:xfrm>
            <a:off x="6131275" y="3206182"/>
            <a:ext cx="1180282" cy="3927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CB813"/>
              </a:buClr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ep 2024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24EA6627-7DDE-E0BE-9D18-8A782A2B5664}"/>
              </a:ext>
            </a:extLst>
          </p:cNvPr>
          <p:cNvSpPr/>
          <p:nvPr/>
        </p:nvSpPr>
        <p:spPr>
          <a:xfrm>
            <a:off x="6641517" y="3659635"/>
            <a:ext cx="159799" cy="159799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1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8C4A34AD-4646-2D60-928A-EE94115863CD}"/>
              </a:ext>
            </a:extLst>
          </p:cNvPr>
          <p:cNvCxnSpPr>
            <a:cxnSpLocks/>
          </p:cNvCxnSpPr>
          <p:nvPr/>
        </p:nvCxnSpPr>
        <p:spPr>
          <a:xfrm>
            <a:off x="6715641" y="3819434"/>
            <a:ext cx="0" cy="182159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2" name="TextBox 41">
            <a:extLst>
              <a:ext uri="{FF2B5EF4-FFF2-40B4-BE49-F238E27FC236}">
                <a16:creationId xmlns:a16="http://schemas.microsoft.com/office/drawing/2014/main" id="{EB63FC1A-07B9-8258-C4D6-F9AE36EC1AA4}"/>
              </a:ext>
            </a:extLst>
          </p:cNvPr>
          <p:cNvSpPr txBox="1"/>
          <p:nvPr/>
        </p:nvSpPr>
        <p:spPr>
          <a:xfrm>
            <a:off x="6572284" y="4001593"/>
            <a:ext cx="3705404" cy="707886"/>
          </a:xfrm>
          <a:prstGeom prst="rect">
            <a:avLst/>
          </a:prstGeom>
          <a:noFill/>
        </p:spPr>
        <p:txBody>
          <a:bodyPr wrap="square" lIns="45720" tIns="45720" rIns="4572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1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D20</a:t>
            </a:r>
            <a:r>
              <a:rPr kumimoji="0" lang="en-GB" sz="2000" b="0" i="1" u="none" strike="noStrike" kern="1200" cap="none" spc="0" normalizeH="0" baseline="3000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+</a:t>
            </a:r>
            <a:r>
              <a:rPr kumimoji="0" lang="en-GB" sz="2000" b="0" i="1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relaps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1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4L treatment: </a:t>
            </a: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Epcoritamab ×8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67C0BA65-7583-FF6C-952B-0F091A9894AE}"/>
              </a:ext>
            </a:extLst>
          </p:cNvPr>
          <p:cNvSpPr txBox="1"/>
          <p:nvPr/>
        </p:nvSpPr>
        <p:spPr>
          <a:xfrm>
            <a:off x="5560519" y="2885256"/>
            <a:ext cx="2310243" cy="3927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D20×CD3 BsAbs</a:t>
            </a: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4DCDEB40-69BD-2B91-CE42-17751352CE1B}"/>
              </a:ext>
            </a:extLst>
          </p:cNvPr>
          <p:cNvSpPr/>
          <p:nvPr/>
        </p:nvSpPr>
        <p:spPr>
          <a:xfrm>
            <a:off x="6351751" y="2768434"/>
            <a:ext cx="739960" cy="152189"/>
          </a:xfrm>
          <a:prstGeom prst="ellipse">
            <a:avLst/>
          </a:prstGeom>
          <a:solidFill>
            <a:schemeClr val="tx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5" name="Free-form: Shape 44">
            <a:extLst>
              <a:ext uri="{FF2B5EF4-FFF2-40B4-BE49-F238E27FC236}">
                <a16:creationId xmlns:a16="http://schemas.microsoft.com/office/drawing/2014/main" id="{B9565417-5697-8D2F-5731-12666B3900D3}"/>
              </a:ext>
            </a:extLst>
          </p:cNvPr>
          <p:cNvSpPr/>
          <p:nvPr/>
        </p:nvSpPr>
        <p:spPr>
          <a:xfrm>
            <a:off x="6431715" y="1466857"/>
            <a:ext cx="650203" cy="1414846"/>
          </a:xfrm>
          <a:custGeom>
            <a:avLst/>
            <a:gdLst>
              <a:gd name="csX0" fmla="*/ 466852 w 715223"/>
              <a:gd name="csY0" fmla="*/ 229083 h 1556330"/>
              <a:gd name="csX1" fmla="*/ 462328 w 715223"/>
              <a:gd name="csY1" fmla="*/ 242604 h 1556330"/>
              <a:gd name="csX2" fmla="*/ 496944 w 715223"/>
              <a:gd name="csY2" fmla="*/ 204739 h 1556330"/>
              <a:gd name="csX3" fmla="*/ 534359 w 715223"/>
              <a:gd name="csY3" fmla="*/ 270960 h 1556330"/>
              <a:gd name="csX4" fmla="*/ 540589 w 715223"/>
              <a:gd name="csY4" fmla="*/ 445986 h 1556330"/>
              <a:gd name="csX5" fmla="*/ 509727 w 715223"/>
              <a:gd name="csY5" fmla="*/ 496924 h 1556330"/>
              <a:gd name="csX6" fmla="*/ 505366 w 715223"/>
              <a:gd name="csY6" fmla="*/ 511893 h 1556330"/>
              <a:gd name="csX7" fmla="*/ 501982 w 715223"/>
              <a:gd name="csY7" fmla="*/ 530377 h 1556330"/>
              <a:gd name="csX8" fmla="*/ 505678 w 715223"/>
              <a:gd name="csY8" fmla="*/ 556455 h 1556330"/>
              <a:gd name="csX9" fmla="*/ 526115 w 715223"/>
              <a:gd name="csY9" fmla="*/ 591784 h 1556330"/>
              <a:gd name="csX10" fmla="*/ 541579 w 715223"/>
              <a:gd name="csY10" fmla="*/ 612264 h 1556330"/>
              <a:gd name="csX11" fmla="*/ 569572 w 715223"/>
              <a:gd name="csY11" fmla="*/ 643441 h 1556330"/>
              <a:gd name="csX12" fmla="*/ 555234 w 715223"/>
              <a:gd name="csY12" fmla="*/ 688473 h 1556330"/>
              <a:gd name="csX13" fmla="*/ 513278 w 715223"/>
              <a:gd name="csY13" fmla="*/ 700556 h 1556330"/>
              <a:gd name="csX14" fmla="*/ 488559 w 715223"/>
              <a:gd name="csY14" fmla="*/ 702821 h 1556330"/>
              <a:gd name="csX15" fmla="*/ 488544 w 715223"/>
              <a:gd name="csY15" fmla="*/ 718085 h 1556330"/>
              <a:gd name="csX16" fmla="*/ 526561 w 715223"/>
              <a:gd name="csY16" fmla="*/ 1010212 h 1556330"/>
              <a:gd name="csX17" fmla="*/ 569986 w 715223"/>
              <a:gd name="csY17" fmla="*/ 1153317 h 1556330"/>
              <a:gd name="csX18" fmla="*/ 587389 w 715223"/>
              <a:gd name="csY18" fmla="*/ 1172173 h 1556330"/>
              <a:gd name="csX19" fmla="*/ 606286 w 715223"/>
              <a:gd name="csY19" fmla="*/ 1180891 h 1556330"/>
              <a:gd name="csX20" fmla="*/ 613400 w 715223"/>
              <a:gd name="csY20" fmla="*/ 1204260 h 1556330"/>
              <a:gd name="csX21" fmla="*/ 605350 w 715223"/>
              <a:gd name="csY21" fmla="*/ 1216760 h 1556330"/>
              <a:gd name="csX22" fmla="*/ 600268 w 715223"/>
              <a:gd name="csY22" fmla="*/ 1220273 h 1556330"/>
              <a:gd name="csX23" fmla="*/ 610574 w 715223"/>
              <a:gd name="csY23" fmla="*/ 1258750 h 1556330"/>
              <a:gd name="csX24" fmla="*/ 672371 w 715223"/>
              <a:gd name="csY24" fmla="*/ 1319810 h 1556330"/>
              <a:gd name="csX25" fmla="*/ 675494 w 715223"/>
              <a:gd name="csY25" fmla="*/ 1323366 h 1556330"/>
              <a:gd name="csX26" fmla="*/ 692949 w 715223"/>
              <a:gd name="csY26" fmla="*/ 1396068 h 1556330"/>
              <a:gd name="csX27" fmla="*/ 690628 w 715223"/>
              <a:gd name="csY27" fmla="*/ 1414117 h 1556330"/>
              <a:gd name="csX28" fmla="*/ 695588 w 715223"/>
              <a:gd name="csY28" fmla="*/ 1421035 h 1556330"/>
              <a:gd name="csX29" fmla="*/ 694353 w 715223"/>
              <a:gd name="csY29" fmla="*/ 1425190 h 1556330"/>
              <a:gd name="csX30" fmla="*/ 689106 w 715223"/>
              <a:gd name="csY30" fmla="*/ 1428714 h 1556330"/>
              <a:gd name="csX31" fmla="*/ 695093 w 715223"/>
              <a:gd name="csY31" fmla="*/ 1428433 h 1556330"/>
              <a:gd name="csX32" fmla="*/ 697643 w 715223"/>
              <a:gd name="csY32" fmla="*/ 1432864 h 1556330"/>
              <a:gd name="csX33" fmla="*/ 698207 w 715223"/>
              <a:gd name="csY33" fmla="*/ 1441988 h 1556330"/>
              <a:gd name="csX34" fmla="*/ 715183 w 715223"/>
              <a:gd name="csY34" fmla="*/ 1508752 h 1556330"/>
              <a:gd name="csX35" fmla="*/ 701540 w 715223"/>
              <a:gd name="csY35" fmla="*/ 1526524 h 1556330"/>
              <a:gd name="csX36" fmla="*/ 581715 w 715223"/>
              <a:gd name="csY36" fmla="*/ 1548559 h 1556330"/>
              <a:gd name="csX37" fmla="*/ 522168 w 715223"/>
              <a:gd name="csY37" fmla="*/ 1553543 h 1556330"/>
              <a:gd name="csX38" fmla="*/ 450008 w 715223"/>
              <a:gd name="csY38" fmla="*/ 1556019 h 1556330"/>
              <a:gd name="csX39" fmla="*/ 245169 w 715223"/>
              <a:gd name="csY39" fmla="*/ 1553749 h 1556330"/>
              <a:gd name="csX40" fmla="*/ 221854 w 715223"/>
              <a:gd name="csY40" fmla="*/ 1553306 h 1556330"/>
              <a:gd name="csX41" fmla="*/ 168405 w 715223"/>
              <a:gd name="csY41" fmla="*/ 1548828 h 1556330"/>
              <a:gd name="csX42" fmla="*/ 126970 w 715223"/>
              <a:gd name="csY42" fmla="*/ 1546091 h 1556330"/>
              <a:gd name="csX43" fmla="*/ 104053 w 715223"/>
              <a:gd name="csY43" fmla="*/ 1542912 h 1556330"/>
              <a:gd name="csX44" fmla="*/ 65625 w 715223"/>
              <a:gd name="csY44" fmla="*/ 1536401 h 1556330"/>
              <a:gd name="csX45" fmla="*/ 10909 w 715223"/>
              <a:gd name="csY45" fmla="*/ 1524010 h 1556330"/>
              <a:gd name="csX46" fmla="*/ 8 w 715223"/>
              <a:gd name="csY46" fmla="*/ 1509263 h 1556330"/>
              <a:gd name="csX47" fmla="*/ 21158 w 715223"/>
              <a:gd name="csY47" fmla="*/ 1433611 h 1556330"/>
              <a:gd name="csX48" fmla="*/ 23462 w 715223"/>
              <a:gd name="csY48" fmla="*/ 1418658 h 1556330"/>
              <a:gd name="csX49" fmla="*/ 19643 w 715223"/>
              <a:gd name="csY49" fmla="*/ 1382324 h 1556330"/>
              <a:gd name="csX50" fmla="*/ 49060 w 715223"/>
              <a:gd name="csY50" fmla="*/ 1311832 h 1556330"/>
              <a:gd name="csX51" fmla="*/ 109176 w 715223"/>
              <a:gd name="csY51" fmla="*/ 1254078 h 1556330"/>
              <a:gd name="csX52" fmla="*/ 118319 w 715223"/>
              <a:gd name="csY52" fmla="*/ 1214801 h 1556330"/>
              <a:gd name="csX53" fmla="*/ 113082 w 715223"/>
              <a:gd name="csY53" fmla="*/ 1201084 h 1556330"/>
              <a:gd name="csX54" fmla="*/ 120417 w 715223"/>
              <a:gd name="csY54" fmla="*/ 1183950 h 1556330"/>
              <a:gd name="csX55" fmla="*/ 135209 w 715223"/>
              <a:gd name="csY55" fmla="*/ 1178138 h 1556330"/>
              <a:gd name="csX56" fmla="*/ 156535 w 715223"/>
              <a:gd name="csY56" fmla="*/ 1156396 h 1556330"/>
              <a:gd name="csX57" fmla="*/ 185647 w 715223"/>
              <a:gd name="csY57" fmla="*/ 1061682 h 1556330"/>
              <a:gd name="csX58" fmla="*/ 201074 w 715223"/>
              <a:gd name="csY58" fmla="*/ 1005093 h 1556330"/>
              <a:gd name="csX59" fmla="*/ 213864 w 715223"/>
              <a:gd name="csY59" fmla="*/ 943040 h 1556330"/>
              <a:gd name="csX60" fmla="*/ 223580 w 715223"/>
              <a:gd name="csY60" fmla="*/ 884167 h 1556330"/>
              <a:gd name="csX61" fmla="*/ 228827 w 715223"/>
              <a:gd name="csY61" fmla="*/ 839382 h 1556330"/>
              <a:gd name="csX62" fmla="*/ 233251 w 715223"/>
              <a:gd name="csY62" fmla="*/ 794539 h 1556330"/>
              <a:gd name="csX63" fmla="*/ 233413 w 715223"/>
              <a:gd name="csY63" fmla="*/ 708554 h 1556330"/>
              <a:gd name="csX64" fmla="*/ 232253 w 715223"/>
              <a:gd name="csY64" fmla="*/ 699181 h 1556330"/>
              <a:gd name="csX65" fmla="*/ 192775 w 715223"/>
              <a:gd name="csY65" fmla="*/ 693131 h 1556330"/>
              <a:gd name="csX66" fmla="*/ 166222 w 715223"/>
              <a:gd name="csY66" fmla="*/ 684229 h 1556330"/>
              <a:gd name="csX67" fmla="*/ 153485 w 715223"/>
              <a:gd name="csY67" fmla="*/ 649704 h 1556330"/>
              <a:gd name="csX68" fmla="*/ 179302 w 715223"/>
              <a:gd name="csY68" fmla="*/ 621006 h 1556330"/>
              <a:gd name="csX69" fmla="*/ 192182 w 715223"/>
              <a:gd name="csY69" fmla="*/ 601675 h 1556330"/>
              <a:gd name="csX70" fmla="*/ 204894 w 715223"/>
              <a:gd name="csY70" fmla="*/ 583417 h 1556330"/>
              <a:gd name="csX71" fmla="*/ 233213 w 715223"/>
              <a:gd name="csY71" fmla="*/ 564393 h 1556330"/>
              <a:gd name="csX72" fmla="*/ 229725 w 715223"/>
              <a:gd name="csY72" fmla="*/ 538177 h 1556330"/>
              <a:gd name="csX73" fmla="*/ 218771 w 715223"/>
              <a:gd name="csY73" fmla="*/ 532633 h 1556330"/>
              <a:gd name="csX74" fmla="*/ 215183 w 715223"/>
              <a:gd name="csY74" fmla="*/ 521568 h 1556330"/>
              <a:gd name="csX75" fmla="*/ 223368 w 715223"/>
              <a:gd name="csY75" fmla="*/ 508901 h 1556330"/>
              <a:gd name="csX76" fmla="*/ 218372 w 715223"/>
              <a:gd name="csY76" fmla="*/ 498135 h 1556330"/>
              <a:gd name="csX77" fmla="*/ 181440 w 715223"/>
              <a:gd name="csY77" fmla="*/ 432308 h 1556330"/>
              <a:gd name="csX78" fmla="*/ 167535 w 715223"/>
              <a:gd name="csY78" fmla="*/ 349841 h 1556330"/>
              <a:gd name="csX79" fmla="*/ 193488 w 715223"/>
              <a:gd name="csY79" fmla="*/ 262518 h 1556330"/>
              <a:gd name="csX80" fmla="*/ 237748 w 715223"/>
              <a:gd name="csY80" fmla="*/ 190690 h 1556330"/>
              <a:gd name="csX81" fmla="*/ 309459 w 715223"/>
              <a:gd name="csY81" fmla="*/ 102623 h 1556330"/>
              <a:gd name="csX82" fmla="*/ 310459 w 715223"/>
              <a:gd name="csY82" fmla="*/ 78521 h 1556330"/>
              <a:gd name="csX83" fmla="*/ 300267 w 715223"/>
              <a:gd name="csY83" fmla="*/ 57856 h 1556330"/>
              <a:gd name="csX84" fmla="*/ 332242 w 715223"/>
              <a:gd name="csY84" fmla="*/ 4422 h 1556330"/>
              <a:gd name="csX85" fmla="*/ 384904 w 715223"/>
              <a:gd name="csY85" fmla="*/ 5551 h 1556330"/>
              <a:gd name="csX86" fmla="*/ 409773 w 715223"/>
              <a:gd name="csY86" fmla="*/ 26778 h 1556330"/>
              <a:gd name="csX87" fmla="*/ 407026 w 715223"/>
              <a:gd name="csY87" fmla="*/ 46052 h 1556330"/>
              <a:gd name="csX88" fmla="*/ 402771 w 715223"/>
              <a:gd name="csY88" fmla="*/ 30951 h 1556330"/>
              <a:gd name="csX89" fmla="*/ 397038 w 715223"/>
              <a:gd name="csY89" fmla="*/ 30361 h 1556330"/>
              <a:gd name="csX90" fmla="*/ 360694 w 715223"/>
              <a:gd name="csY90" fmla="*/ 22760 h 1556330"/>
              <a:gd name="csX91" fmla="*/ 351669 w 715223"/>
              <a:gd name="csY91" fmla="*/ 31736 h 1556330"/>
              <a:gd name="csX92" fmla="*/ 351426 w 715223"/>
              <a:gd name="csY92" fmla="*/ 43987 h 1556330"/>
              <a:gd name="csX93" fmla="*/ 390968 w 715223"/>
              <a:gd name="csY93" fmla="*/ 68762 h 1556330"/>
              <a:gd name="csX94" fmla="*/ 401770 w 715223"/>
              <a:gd name="csY94" fmla="*/ 59025 h 1556330"/>
              <a:gd name="csX95" fmla="*/ 409619 w 715223"/>
              <a:gd name="csY95" fmla="*/ 55786 h 1556330"/>
              <a:gd name="csX96" fmla="*/ 410427 w 715223"/>
              <a:gd name="csY96" fmla="*/ 64256 h 1556330"/>
              <a:gd name="csX97" fmla="*/ 399453 w 715223"/>
              <a:gd name="csY97" fmla="*/ 81811 h 1556330"/>
              <a:gd name="csX98" fmla="*/ 399346 w 715223"/>
              <a:gd name="csY98" fmla="*/ 98083 h 1556330"/>
              <a:gd name="csX99" fmla="*/ 471592 w 715223"/>
              <a:gd name="csY99" fmla="*/ 180524 h 1556330"/>
              <a:gd name="csX100" fmla="*/ 473550 w 715223"/>
              <a:gd name="csY100" fmla="*/ 200923 h 1556330"/>
              <a:gd name="csX101" fmla="*/ 463677 w 715223"/>
              <a:gd name="csY101" fmla="*/ 223311 h 1556330"/>
              <a:gd name="csX102" fmla="*/ 466852 w 715223"/>
              <a:gd name="csY102" fmla="*/ 229083 h 1556330"/>
              <a:gd name="csX103" fmla="*/ 474186 w 715223"/>
              <a:gd name="csY103" fmla="*/ 928382 h 1556330"/>
              <a:gd name="csX104" fmla="*/ 459927 w 715223"/>
              <a:gd name="csY104" fmla="*/ 817790 h 1556330"/>
              <a:gd name="csX105" fmla="*/ 456025 w 715223"/>
              <a:gd name="csY105" fmla="*/ 706469 h 1556330"/>
              <a:gd name="csX106" fmla="*/ 366863 w 715223"/>
              <a:gd name="csY106" fmla="*/ 710754 h 1556330"/>
              <a:gd name="csX107" fmla="*/ 366159 w 715223"/>
              <a:gd name="csY107" fmla="*/ 719219 h 1556330"/>
              <a:gd name="csX108" fmla="*/ 364159 w 715223"/>
              <a:gd name="csY108" fmla="*/ 834581 h 1556330"/>
              <a:gd name="csX109" fmla="*/ 361633 w 715223"/>
              <a:gd name="csY109" fmla="*/ 940117 h 1556330"/>
              <a:gd name="csX110" fmla="*/ 358313 w 715223"/>
              <a:gd name="csY110" fmla="*/ 1053005 h 1556330"/>
              <a:gd name="csX111" fmla="*/ 358081 w 715223"/>
              <a:gd name="csY111" fmla="*/ 1057912 h 1556330"/>
              <a:gd name="csX112" fmla="*/ 353706 w 715223"/>
              <a:gd name="csY112" fmla="*/ 1164570 h 1556330"/>
              <a:gd name="csX113" fmla="*/ 354951 w 715223"/>
              <a:gd name="csY113" fmla="*/ 1172547 h 1556330"/>
              <a:gd name="csX114" fmla="*/ 540959 w 715223"/>
              <a:gd name="csY114" fmla="*/ 1175972 h 1556330"/>
              <a:gd name="csX115" fmla="*/ 474186 w 715223"/>
              <a:gd name="csY115" fmla="*/ 928382 h 1556330"/>
              <a:gd name="csX116" fmla="*/ 513768 w 715223"/>
              <a:gd name="csY116" fmla="*/ 1417676 h 1556330"/>
              <a:gd name="csX117" fmla="*/ 519822 w 715223"/>
              <a:gd name="csY117" fmla="*/ 1416700 h 1556330"/>
              <a:gd name="csX118" fmla="*/ 632041 w 715223"/>
              <a:gd name="csY118" fmla="*/ 1406122 h 1556330"/>
              <a:gd name="csX119" fmla="*/ 665040 w 715223"/>
              <a:gd name="csY119" fmla="*/ 1400634 h 1556330"/>
              <a:gd name="csX120" fmla="*/ 665677 w 715223"/>
              <a:gd name="csY120" fmla="*/ 1396126 h 1556330"/>
              <a:gd name="csX121" fmla="*/ 665529 w 715223"/>
              <a:gd name="csY121" fmla="*/ 1389994 h 1556330"/>
              <a:gd name="csX122" fmla="*/ 623046 w 715223"/>
              <a:gd name="csY122" fmla="*/ 1306238 h 1556330"/>
              <a:gd name="csX123" fmla="*/ 596015 w 715223"/>
              <a:gd name="csY123" fmla="*/ 1281285 h 1556330"/>
              <a:gd name="csX124" fmla="*/ 567683 w 715223"/>
              <a:gd name="csY124" fmla="*/ 1220059 h 1556330"/>
              <a:gd name="csX125" fmla="*/ 540273 w 715223"/>
              <a:gd name="csY125" fmla="*/ 1220129 h 1556330"/>
              <a:gd name="csX126" fmla="*/ 424010 w 715223"/>
              <a:gd name="csY126" fmla="*/ 1226781 h 1556330"/>
              <a:gd name="csX127" fmla="*/ 357832 w 715223"/>
              <a:gd name="csY127" fmla="*/ 1229178 h 1556330"/>
              <a:gd name="csX128" fmla="*/ 352386 w 715223"/>
              <a:gd name="csY128" fmla="*/ 1230616 h 1556330"/>
              <a:gd name="csX129" fmla="*/ 355852 w 715223"/>
              <a:gd name="csY129" fmla="*/ 1324222 h 1556330"/>
              <a:gd name="csX130" fmla="*/ 352930 w 715223"/>
              <a:gd name="csY130" fmla="*/ 1417867 h 1556330"/>
              <a:gd name="csX131" fmla="*/ 513768 w 715223"/>
              <a:gd name="csY131" fmla="*/ 1417676 h 1556330"/>
              <a:gd name="csX132" fmla="*/ 387930 w 715223"/>
              <a:gd name="csY132" fmla="*/ 499741 h 1556330"/>
              <a:gd name="csX133" fmla="*/ 456529 w 715223"/>
              <a:gd name="csY133" fmla="*/ 496826 h 1556330"/>
              <a:gd name="csX134" fmla="*/ 482355 w 715223"/>
              <a:gd name="csY134" fmla="*/ 485095 h 1556330"/>
              <a:gd name="csX135" fmla="*/ 528016 w 715223"/>
              <a:gd name="csY135" fmla="*/ 374829 h 1556330"/>
              <a:gd name="csX136" fmla="*/ 501375 w 715223"/>
              <a:gd name="csY136" fmla="*/ 261643 h 1556330"/>
              <a:gd name="csX137" fmla="*/ 493534 w 715223"/>
              <a:gd name="csY137" fmla="*/ 249818 h 1556330"/>
              <a:gd name="csX138" fmla="*/ 485920 w 715223"/>
              <a:gd name="csY138" fmla="*/ 260010 h 1556330"/>
              <a:gd name="csX139" fmla="*/ 453305 w 715223"/>
              <a:gd name="csY139" fmla="*/ 310523 h 1556330"/>
              <a:gd name="csX140" fmla="*/ 433678 w 715223"/>
              <a:gd name="csY140" fmla="*/ 338672 h 1556330"/>
              <a:gd name="csX141" fmla="*/ 403713 w 715223"/>
              <a:gd name="csY141" fmla="*/ 343710 h 1556330"/>
              <a:gd name="csX142" fmla="*/ 396427 w 715223"/>
              <a:gd name="csY142" fmla="*/ 315612 h 1556330"/>
              <a:gd name="csX143" fmla="*/ 399663 w 715223"/>
              <a:gd name="csY143" fmla="*/ 309000 h 1556330"/>
              <a:gd name="csX144" fmla="*/ 452097 w 715223"/>
              <a:gd name="csY144" fmla="*/ 200770 h 1556330"/>
              <a:gd name="csX145" fmla="*/ 450118 w 715223"/>
              <a:gd name="csY145" fmla="*/ 180596 h 1556330"/>
              <a:gd name="csX146" fmla="*/ 376545 w 715223"/>
              <a:gd name="csY146" fmla="*/ 105525 h 1556330"/>
              <a:gd name="csX147" fmla="*/ 368791 w 715223"/>
              <a:gd name="csY147" fmla="*/ 101653 h 1556330"/>
              <a:gd name="csX148" fmla="*/ 366449 w 715223"/>
              <a:gd name="csY148" fmla="*/ 144676 h 1556330"/>
              <a:gd name="csX149" fmla="*/ 365447 w 715223"/>
              <a:gd name="csY149" fmla="*/ 183946 h 1556330"/>
              <a:gd name="csX150" fmla="*/ 364738 w 715223"/>
              <a:gd name="csY150" fmla="*/ 298022 h 1556330"/>
              <a:gd name="csX151" fmla="*/ 373865 w 715223"/>
              <a:gd name="csY151" fmla="*/ 430096 h 1556330"/>
              <a:gd name="csX152" fmla="*/ 381088 w 715223"/>
              <a:gd name="csY152" fmla="*/ 492169 h 1556330"/>
              <a:gd name="csX153" fmla="*/ 387930 w 715223"/>
              <a:gd name="csY153" fmla="*/ 499741 h 1556330"/>
              <a:gd name="csX154" fmla="*/ 455850 w 715223"/>
              <a:gd name="csY154" fmla="*/ 1521476 h 1556330"/>
              <a:gd name="csX155" fmla="*/ 685121 w 715223"/>
              <a:gd name="csY155" fmla="*/ 1496509 h 1556330"/>
              <a:gd name="csX156" fmla="*/ 672999 w 715223"/>
              <a:gd name="csY156" fmla="*/ 1456665 h 1556330"/>
              <a:gd name="csX157" fmla="*/ 660009 w 715223"/>
              <a:gd name="csY157" fmla="*/ 1450249 h 1556330"/>
              <a:gd name="csX158" fmla="*/ 633248 w 715223"/>
              <a:gd name="csY158" fmla="*/ 1453589 h 1556330"/>
              <a:gd name="csX159" fmla="*/ 451131 w 715223"/>
              <a:gd name="csY159" fmla="*/ 1467458 h 1556330"/>
              <a:gd name="csX160" fmla="*/ 362719 w 715223"/>
              <a:gd name="csY160" fmla="*/ 1467934 h 1556330"/>
              <a:gd name="csX161" fmla="*/ 349983 w 715223"/>
              <a:gd name="csY161" fmla="*/ 1467936 h 1556330"/>
              <a:gd name="csX162" fmla="*/ 352220 w 715223"/>
              <a:gd name="csY162" fmla="*/ 1519140 h 1556330"/>
              <a:gd name="csX163" fmla="*/ 455850 w 715223"/>
              <a:gd name="csY163" fmla="*/ 1521476 h 1556330"/>
              <a:gd name="csX164" fmla="*/ 368682 w 715223"/>
              <a:gd name="csY164" fmla="*/ 544846 h 1556330"/>
              <a:gd name="csX165" fmla="*/ 363600 w 715223"/>
              <a:gd name="csY165" fmla="*/ 605633 h 1556330"/>
              <a:gd name="csX166" fmla="*/ 496351 w 715223"/>
              <a:gd name="csY166" fmla="*/ 601466 h 1556330"/>
              <a:gd name="csX167" fmla="*/ 485068 w 715223"/>
              <a:gd name="csY167" fmla="*/ 579288 h 1556330"/>
              <a:gd name="csX168" fmla="*/ 466524 w 715223"/>
              <a:gd name="csY168" fmla="*/ 541026 h 1556330"/>
              <a:gd name="csX169" fmla="*/ 465000 w 715223"/>
              <a:gd name="csY169" fmla="*/ 536289 h 1556330"/>
              <a:gd name="csX170" fmla="*/ 451328 w 715223"/>
              <a:gd name="csY170" fmla="*/ 536316 h 1556330"/>
              <a:gd name="csX171" fmla="*/ 390140 w 715223"/>
              <a:gd name="csY171" fmla="*/ 538979 h 1556330"/>
              <a:gd name="csX172" fmla="*/ 374215 w 715223"/>
              <a:gd name="csY172" fmla="*/ 539303 h 1556330"/>
              <a:gd name="csX173" fmla="*/ 368682 w 715223"/>
              <a:gd name="csY173" fmla="*/ 544846 h 1556330"/>
              <a:gd name="csX174" fmla="*/ 453915 w 715223"/>
              <a:gd name="csY174" fmla="*/ 635267 h 1556330"/>
              <a:gd name="csX175" fmla="*/ 374200 w 715223"/>
              <a:gd name="csY175" fmla="*/ 639402 h 1556330"/>
              <a:gd name="csX176" fmla="*/ 374200 w 715223"/>
              <a:gd name="csY176" fmla="*/ 673206 h 1556330"/>
              <a:gd name="csX177" fmla="*/ 386639 w 715223"/>
              <a:gd name="csY177" fmla="*/ 673718 h 1556330"/>
              <a:gd name="csX178" fmla="*/ 521198 w 715223"/>
              <a:gd name="csY178" fmla="*/ 668541 h 1556330"/>
              <a:gd name="csX179" fmla="*/ 534198 w 715223"/>
              <a:gd name="csY179" fmla="*/ 665521 h 1556330"/>
              <a:gd name="csX180" fmla="*/ 538413 w 715223"/>
              <a:gd name="csY180" fmla="*/ 652526 h 1556330"/>
              <a:gd name="csX181" fmla="*/ 529377 w 715223"/>
              <a:gd name="csY181" fmla="*/ 642895 h 1556330"/>
              <a:gd name="csX182" fmla="*/ 502829 w 715223"/>
              <a:gd name="csY182" fmla="*/ 634808 h 1556330"/>
              <a:gd name="csX183" fmla="*/ 453915 w 715223"/>
              <a:gd name="csY183" fmla="*/ 635267 h 155633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  <a:cxn ang="0">
                <a:pos x="csX170" y="csY170"/>
              </a:cxn>
              <a:cxn ang="0">
                <a:pos x="csX171" y="csY171"/>
              </a:cxn>
              <a:cxn ang="0">
                <a:pos x="csX172" y="csY172"/>
              </a:cxn>
              <a:cxn ang="0">
                <a:pos x="csX173" y="csY173"/>
              </a:cxn>
              <a:cxn ang="0">
                <a:pos x="csX174" y="csY174"/>
              </a:cxn>
              <a:cxn ang="0">
                <a:pos x="csX175" y="csY175"/>
              </a:cxn>
              <a:cxn ang="0">
                <a:pos x="csX176" y="csY176"/>
              </a:cxn>
              <a:cxn ang="0">
                <a:pos x="csX177" y="csY177"/>
              </a:cxn>
              <a:cxn ang="0">
                <a:pos x="csX178" y="csY178"/>
              </a:cxn>
              <a:cxn ang="0">
                <a:pos x="csX179" y="csY179"/>
              </a:cxn>
              <a:cxn ang="0">
                <a:pos x="csX180" y="csY180"/>
              </a:cxn>
              <a:cxn ang="0">
                <a:pos x="csX181" y="csY181"/>
              </a:cxn>
              <a:cxn ang="0">
                <a:pos x="csX182" y="csY182"/>
              </a:cxn>
              <a:cxn ang="0">
                <a:pos x="csX183" y="csY183"/>
              </a:cxn>
            </a:cxnLst>
            <a:rect l="l" t="t" r="r" b="b"/>
            <a:pathLst>
              <a:path w="715223" h="1556330">
                <a:moveTo>
                  <a:pt x="466852" y="229083"/>
                </a:moveTo>
                <a:cubicBezTo>
                  <a:pt x="465344" y="233590"/>
                  <a:pt x="463836" y="238097"/>
                  <a:pt x="462328" y="242604"/>
                </a:cubicBezTo>
                <a:cubicBezTo>
                  <a:pt x="476604" y="232528"/>
                  <a:pt x="484219" y="216936"/>
                  <a:pt x="496944" y="204739"/>
                </a:cubicBezTo>
                <a:cubicBezTo>
                  <a:pt x="511903" y="225901"/>
                  <a:pt x="524807" y="247414"/>
                  <a:pt x="534359" y="270960"/>
                </a:cubicBezTo>
                <a:cubicBezTo>
                  <a:pt x="557740" y="328591"/>
                  <a:pt x="560223" y="386926"/>
                  <a:pt x="540589" y="445986"/>
                </a:cubicBezTo>
                <a:cubicBezTo>
                  <a:pt x="534197" y="465215"/>
                  <a:pt x="524450" y="482672"/>
                  <a:pt x="509727" y="496924"/>
                </a:cubicBezTo>
                <a:cubicBezTo>
                  <a:pt x="505277" y="501232"/>
                  <a:pt x="502734" y="505157"/>
                  <a:pt x="505366" y="511893"/>
                </a:cubicBezTo>
                <a:cubicBezTo>
                  <a:pt x="507828" y="518196"/>
                  <a:pt x="505953" y="524402"/>
                  <a:pt x="501982" y="530377"/>
                </a:cubicBezTo>
                <a:cubicBezTo>
                  <a:pt x="495613" y="539961"/>
                  <a:pt x="496865" y="548901"/>
                  <a:pt x="505678" y="556455"/>
                </a:cubicBezTo>
                <a:cubicBezTo>
                  <a:pt x="516748" y="565943"/>
                  <a:pt x="523694" y="577557"/>
                  <a:pt x="526115" y="591784"/>
                </a:cubicBezTo>
                <a:cubicBezTo>
                  <a:pt x="527758" y="601445"/>
                  <a:pt x="532593" y="608029"/>
                  <a:pt x="541579" y="612264"/>
                </a:cubicBezTo>
                <a:cubicBezTo>
                  <a:pt x="555150" y="618662"/>
                  <a:pt x="564081" y="629523"/>
                  <a:pt x="569572" y="643441"/>
                </a:cubicBezTo>
                <a:cubicBezTo>
                  <a:pt x="576413" y="660776"/>
                  <a:pt x="570996" y="678245"/>
                  <a:pt x="555234" y="688473"/>
                </a:cubicBezTo>
                <a:cubicBezTo>
                  <a:pt x="542486" y="696746"/>
                  <a:pt x="528127" y="699474"/>
                  <a:pt x="513278" y="700556"/>
                </a:cubicBezTo>
                <a:cubicBezTo>
                  <a:pt x="505590" y="701115"/>
                  <a:pt x="497922" y="701952"/>
                  <a:pt x="488559" y="702821"/>
                </a:cubicBezTo>
                <a:cubicBezTo>
                  <a:pt x="488559" y="708552"/>
                  <a:pt x="488653" y="713320"/>
                  <a:pt x="488544" y="718085"/>
                </a:cubicBezTo>
                <a:cubicBezTo>
                  <a:pt x="486284" y="817406"/>
                  <a:pt x="502313" y="914319"/>
                  <a:pt x="526561" y="1010212"/>
                </a:cubicBezTo>
                <a:cubicBezTo>
                  <a:pt x="538799" y="1058612"/>
                  <a:pt x="553050" y="1106345"/>
                  <a:pt x="569986" y="1153317"/>
                </a:cubicBezTo>
                <a:cubicBezTo>
                  <a:pt x="573328" y="1162590"/>
                  <a:pt x="578279" y="1168740"/>
                  <a:pt x="587389" y="1172173"/>
                </a:cubicBezTo>
                <a:cubicBezTo>
                  <a:pt x="593869" y="1174616"/>
                  <a:pt x="600289" y="1177449"/>
                  <a:pt x="606286" y="1180891"/>
                </a:cubicBezTo>
                <a:cubicBezTo>
                  <a:pt x="617185" y="1187146"/>
                  <a:pt x="618776" y="1192931"/>
                  <a:pt x="613400" y="1204260"/>
                </a:cubicBezTo>
                <a:cubicBezTo>
                  <a:pt x="611475" y="1208315"/>
                  <a:pt x="609140" y="1212177"/>
                  <a:pt x="605350" y="1216760"/>
                </a:cubicBezTo>
                <a:cubicBezTo>
                  <a:pt x="602514" y="1218347"/>
                  <a:pt x="600399" y="1219189"/>
                  <a:pt x="600268" y="1220273"/>
                </a:cubicBezTo>
                <a:cubicBezTo>
                  <a:pt x="598551" y="1234430"/>
                  <a:pt x="599473" y="1247881"/>
                  <a:pt x="610574" y="1258750"/>
                </a:cubicBezTo>
                <a:cubicBezTo>
                  <a:pt x="631265" y="1279009"/>
                  <a:pt x="651790" y="1299438"/>
                  <a:pt x="672371" y="1319810"/>
                </a:cubicBezTo>
                <a:cubicBezTo>
                  <a:pt x="673495" y="1320922"/>
                  <a:pt x="674892" y="1321987"/>
                  <a:pt x="675494" y="1323366"/>
                </a:cubicBezTo>
                <a:cubicBezTo>
                  <a:pt x="685626" y="1346558"/>
                  <a:pt x="694775" y="1370031"/>
                  <a:pt x="692949" y="1396068"/>
                </a:cubicBezTo>
                <a:cubicBezTo>
                  <a:pt x="692525" y="1402108"/>
                  <a:pt x="691276" y="1408087"/>
                  <a:pt x="690628" y="1414117"/>
                </a:cubicBezTo>
                <a:cubicBezTo>
                  <a:pt x="690241" y="1417713"/>
                  <a:pt x="691290" y="1420628"/>
                  <a:pt x="695588" y="1421035"/>
                </a:cubicBezTo>
                <a:cubicBezTo>
                  <a:pt x="695527" y="1422155"/>
                  <a:pt x="695467" y="1423274"/>
                  <a:pt x="694353" y="1425190"/>
                </a:cubicBezTo>
                <a:cubicBezTo>
                  <a:pt x="691901" y="1426894"/>
                  <a:pt x="690503" y="1427804"/>
                  <a:pt x="689106" y="1428714"/>
                </a:cubicBezTo>
                <a:cubicBezTo>
                  <a:pt x="691101" y="1428620"/>
                  <a:pt x="693098" y="1428527"/>
                  <a:pt x="695093" y="1428433"/>
                </a:cubicBezTo>
                <a:cubicBezTo>
                  <a:pt x="695976" y="1429430"/>
                  <a:pt x="696859" y="1430427"/>
                  <a:pt x="697643" y="1432864"/>
                </a:cubicBezTo>
                <a:cubicBezTo>
                  <a:pt x="697724" y="1436887"/>
                  <a:pt x="697087" y="1439912"/>
                  <a:pt x="698207" y="1441988"/>
                </a:cubicBezTo>
                <a:cubicBezTo>
                  <a:pt x="709464" y="1462853"/>
                  <a:pt x="715798" y="1484864"/>
                  <a:pt x="715183" y="1508752"/>
                </a:cubicBezTo>
                <a:cubicBezTo>
                  <a:pt x="714863" y="1521166"/>
                  <a:pt x="713458" y="1523372"/>
                  <a:pt x="701540" y="1526524"/>
                </a:cubicBezTo>
                <a:cubicBezTo>
                  <a:pt x="662165" y="1536936"/>
                  <a:pt x="622006" y="1543243"/>
                  <a:pt x="581715" y="1548559"/>
                </a:cubicBezTo>
                <a:cubicBezTo>
                  <a:pt x="561988" y="1551162"/>
                  <a:pt x="542052" y="1552457"/>
                  <a:pt x="522168" y="1553543"/>
                </a:cubicBezTo>
                <a:cubicBezTo>
                  <a:pt x="498138" y="1554856"/>
                  <a:pt x="474063" y="1556013"/>
                  <a:pt x="450008" y="1556019"/>
                </a:cubicBezTo>
                <a:cubicBezTo>
                  <a:pt x="381724" y="1556035"/>
                  <a:pt x="313415" y="1557550"/>
                  <a:pt x="245169" y="1553749"/>
                </a:cubicBezTo>
                <a:cubicBezTo>
                  <a:pt x="237413" y="1553317"/>
                  <a:pt x="229596" y="1553867"/>
                  <a:pt x="221854" y="1553306"/>
                </a:cubicBezTo>
                <a:cubicBezTo>
                  <a:pt x="204023" y="1552015"/>
                  <a:pt x="186231" y="1550202"/>
                  <a:pt x="168405" y="1548828"/>
                </a:cubicBezTo>
                <a:cubicBezTo>
                  <a:pt x="154605" y="1547764"/>
                  <a:pt x="140762" y="1547242"/>
                  <a:pt x="126970" y="1546091"/>
                </a:cubicBezTo>
                <a:cubicBezTo>
                  <a:pt x="119295" y="1545451"/>
                  <a:pt x="111668" y="1544132"/>
                  <a:pt x="104053" y="1542912"/>
                </a:cubicBezTo>
                <a:cubicBezTo>
                  <a:pt x="91223" y="1540858"/>
                  <a:pt x="78344" y="1539011"/>
                  <a:pt x="65625" y="1536401"/>
                </a:cubicBezTo>
                <a:cubicBezTo>
                  <a:pt x="47307" y="1532642"/>
                  <a:pt x="29006" y="1528694"/>
                  <a:pt x="10909" y="1524010"/>
                </a:cubicBezTo>
                <a:cubicBezTo>
                  <a:pt x="744" y="1521379"/>
                  <a:pt x="119" y="1519620"/>
                  <a:pt x="8" y="1509263"/>
                </a:cubicBezTo>
                <a:cubicBezTo>
                  <a:pt x="-283" y="1482004"/>
                  <a:pt x="7525" y="1456906"/>
                  <a:pt x="21158" y="1433611"/>
                </a:cubicBezTo>
                <a:cubicBezTo>
                  <a:pt x="24128" y="1428537"/>
                  <a:pt x="25100" y="1424162"/>
                  <a:pt x="23462" y="1418658"/>
                </a:cubicBezTo>
                <a:cubicBezTo>
                  <a:pt x="19938" y="1406814"/>
                  <a:pt x="19145" y="1394638"/>
                  <a:pt x="19643" y="1382324"/>
                </a:cubicBezTo>
                <a:cubicBezTo>
                  <a:pt x="20741" y="1355171"/>
                  <a:pt x="29461" y="1331114"/>
                  <a:pt x="49060" y="1311832"/>
                </a:cubicBezTo>
                <a:cubicBezTo>
                  <a:pt x="68866" y="1292344"/>
                  <a:pt x="89102" y="1273294"/>
                  <a:pt x="109176" y="1254078"/>
                </a:cubicBezTo>
                <a:cubicBezTo>
                  <a:pt x="120788" y="1242961"/>
                  <a:pt x="123122" y="1229673"/>
                  <a:pt x="118319" y="1214801"/>
                </a:cubicBezTo>
                <a:cubicBezTo>
                  <a:pt x="116817" y="1210150"/>
                  <a:pt x="114697" y="1205702"/>
                  <a:pt x="113082" y="1201084"/>
                </a:cubicBezTo>
                <a:cubicBezTo>
                  <a:pt x="109606" y="1191147"/>
                  <a:pt x="110855" y="1188189"/>
                  <a:pt x="120417" y="1183950"/>
                </a:cubicBezTo>
                <a:cubicBezTo>
                  <a:pt x="125262" y="1181801"/>
                  <a:pt x="130109" y="1179394"/>
                  <a:pt x="135209" y="1178138"/>
                </a:cubicBezTo>
                <a:cubicBezTo>
                  <a:pt x="146972" y="1175241"/>
                  <a:pt x="153194" y="1166910"/>
                  <a:pt x="156535" y="1156396"/>
                </a:cubicBezTo>
                <a:cubicBezTo>
                  <a:pt x="166535" y="1124919"/>
                  <a:pt x="176229" y="1093339"/>
                  <a:pt x="185647" y="1061682"/>
                </a:cubicBezTo>
                <a:cubicBezTo>
                  <a:pt x="191222" y="1042945"/>
                  <a:pt x="196570" y="1024108"/>
                  <a:pt x="201074" y="1005093"/>
                </a:cubicBezTo>
                <a:cubicBezTo>
                  <a:pt x="205941" y="984550"/>
                  <a:pt x="210000" y="963801"/>
                  <a:pt x="213864" y="943040"/>
                </a:cubicBezTo>
                <a:cubicBezTo>
                  <a:pt x="217503" y="923489"/>
                  <a:pt x="220701" y="903846"/>
                  <a:pt x="223580" y="884167"/>
                </a:cubicBezTo>
                <a:cubicBezTo>
                  <a:pt x="225754" y="869301"/>
                  <a:pt x="227195" y="854324"/>
                  <a:pt x="228827" y="839382"/>
                </a:cubicBezTo>
                <a:cubicBezTo>
                  <a:pt x="230459" y="824446"/>
                  <a:pt x="232880" y="809515"/>
                  <a:pt x="233251" y="794539"/>
                </a:cubicBezTo>
                <a:cubicBezTo>
                  <a:pt x="233961" y="765893"/>
                  <a:pt x="233499" y="737217"/>
                  <a:pt x="233413" y="708554"/>
                </a:cubicBezTo>
                <a:cubicBezTo>
                  <a:pt x="233404" y="705465"/>
                  <a:pt x="232667" y="702378"/>
                  <a:pt x="232253" y="699181"/>
                </a:cubicBezTo>
                <a:cubicBezTo>
                  <a:pt x="218443" y="697138"/>
                  <a:pt x="205461" y="695831"/>
                  <a:pt x="192775" y="693131"/>
                </a:cubicBezTo>
                <a:cubicBezTo>
                  <a:pt x="183686" y="691197"/>
                  <a:pt x="174549" y="688305"/>
                  <a:pt x="166222" y="684229"/>
                </a:cubicBezTo>
                <a:cubicBezTo>
                  <a:pt x="151266" y="676909"/>
                  <a:pt x="147247" y="664789"/>
                  <a:pt x="153485" y="649704"/>
                </a:cubicBezTo>
                <a:cubicBezTo>
                  <a:pt x="158693" y="637111"/>
                  <a:pt x="168160" y="628190"/>
                  <a:pt x="179302" y="621006"/>
                </a:cubicBezTo>
                <a:cubicBezTo>
                  <a:pt x="186548" y="616334"/>
                  <a:pt x="191317" y="611105"/>
                  <a:pt x="192182" y="601675"/>
                </a:cubicBezTo>
                <a:cubicBezTo>
                  <a:pt x="192878" y="594094"/>
                  <a:pt x="197099" y="587626"/>
                  <a:pt x="204894" y="583417"/>
                </a:cubicBezTo>
                <a:cubicBezTo>
                  <a:pt x="214873" y="578030"/>
                  <a:pt x="224643" y="571774"/>
                  <a:pt x="233213" y="564393"/>
                </a:cubicBezTo>
                <a:cubicBezTo>
                  <a:pt x="242623" y="556289"/>
                  <a:pt x="240441" y="544193"/>
                  <a:pt x="229725" y="538177"/>
                </a:cubicBezTo>
                <a:cubicBezTo>
                  <a:pt x="226159" y="536176"/>
                  <a:pt x="222483" y="534351"/>
                  <a:pt x="218771" y="532633"/>
                </a:cubicBezTo>
                <a:cubicBezTo>
                  <a:pt x="213503" y="530196"/>
                  <a:pt x="212651" y="526226"/>
                  <a:pt x="215183" y="521568"/>
                </a:cubicBezTo>
                <a:cubicBezTo>
                  <a:pt x="217485" y="517332"/>
                  <a:pt x="220405" y="513432"/>
                  <a:pt x="223368" y="508901"/>
                </a:cubicBezTo>
                <a:cubicBezTo>
                  <a:pt x="221781" y="505376"/>
                  <a:pt x="220809" y="501165"/>
                  <a:pt x="218372" y="498135"/>
                </a:cubicBezTo>
                <a:cubicBezTo>
                  <a:pt x="202366" y="478231"/>
                  <a:pt x="190774" y="455961"/>
                  <a:pt x="181440" y="432308"/>
                </a:cubicBezTo>
                <a:cubicBezTo>
                  <a:pt x="170959" y="405748"/>
                  <a:pt x="164933" y="378186"/>
                  <a:pt x="167535" y="349841"/>
                </a:cubicBezTo>
                <a:cubicBezTo>
                  <a:pt x="170341" y="319265"/>
                  <a:pt x="179208" y="289917"/>
                  <a:pt x="193488" y="262518"/>
                </a:cubicBezTo>
                <a:cubicBezTo>
                  <a:pt x="206512" y="237529"/>
                  <a:pt x="220831" y="213359"/>
                  <a:pt x="237748" y="190690"/>
                </a:cubicBezTo>
                <a:cubicBezTo>
                  <a:pt x="260421" y="160310"/>
                  <a:pt x="282602" y="129592"/>
                  <a:pt x="309459" y="102623"/>
                </a:cubicBezTo>
                <a:cubicBezTo>
                  <a:pt x="316627" y="95424"/>
                  <a:pt x="316261" y="87541"/>
                  <a:pt x="310459" y="78521"/>
                </a:cubicBezTo>
                <a:cubicBezTo>
                  <a:pt x="306309" y="72071"/>
                  <a:pt x="301695" y="65150"/>
                  <a:pt x="300267" y="57856"/>
                </a:cubicBezTo>
                <a:cubicBezTo>
                  <a:pt x="295286" y="32423"/>
                  <a:pt x="314502" y="10133"/>
                  <a:pt x="332242" y="4422"/>
                </a:cubicBezTo>
                <a:cubicBezTo>
                  <a:pt x="349540" y="-1148"/>
                  <a:pt x="367530" y="-2176"/>
                  <a:pt x="384904" y="5551"/>
                </a:cubicBezTo>
                <a:cubicBezTo>
                  <a:pt x="395271" y="10161"/>
                  <a:pt x="403310" y="17760"/>
                  <a:pt x="409773" y="26778"/>
                </a:cubicBezTo>
                <a:cubicBezTo>
                  <a:pt x="415168" y="34307"/>
                  <a:pt x="413749" y="41584"/>
                  <a:pt x="407026" y="46052"/>
                </a:cubicBezTo>
                <a:cubicBezTo>
                  <a:pt x="405624" y="40964"/>
                  <a:pt x="404503" y="35849"/>
                  <a:pt x="402771" y="30951"/>
                </a:cubicBezTo>
                <a:cubicBezTo>
                  <a:pt x="401450" y="27216"/>
                  <a:pt x="399383" y="28477"/>
                  <a:pt x="397038" y="30361"/>
                </a:cubicBezTo>
                <a:cubicBezTo>
                  <a:pt x="384440" y="15986"/>
                  <a:pt x="377037" y="14494"/>
                  <a:pt x="360694" y="22760"/>
                </a:cubicBezTo>
                <a:cubicBezTo>
                  <a:pt x="353707" y="22767"/>
                  <a:pt x="352275" y="27176"/>
                  <a:pt x="351669" y="31736"/>
                </a:cubicBezTo>
                <a:cubicBezTo>
                  <a:pt x="351136" y="35760"/>
                  <a:pt x="351383" y="39899"/>
                  <a:pt x="351426" y="43987"/>
                </a:cubicBezTo>
                <a:cubicBezTo>
                  <a:pt x="351648" y="64919"/>
                  <a:pt x="372389" y="78115"/>
                  <a:pt x="390968" y="68762"/>
                </a:cubicBezTo>
                <a:cubicBezTo>
                  <a:pt x="395158" y="66653"/>
                  <a:pt x="398534" y="62629"/>
                  <a:pt x="401770" y="59025"/>
                </a:cubicBezTo>
                <a:cubicBezTo>
                  <a:pt x="404045" y="56491"/>
                  <a:pt x="405661" y="53409"/>
                  <a:pt x="409619" y="55786"/>
                </a:cubicBezTo>
                <a:cubicBezTo>
                  <a:pt x="413544" y="58145"/>
                  <a:pt x="412176" y="61347"/>
                  <a:pt x="410427" y="64256"/>
                </a:cubicBezTo>
                <a:cubicBezTo>
                  <a:pt x="406872" y="70170"/>
                  <a:pt x="403244" y="76046"/>
                  <a:pt x="399453" y="81811"/>
                </a:cubicBezTo>
                <a:cubicBezTo>
                  <a:pt x="394663" y="89097"/>
                  <a:pt x="394382" y="94032"/>
                  <a:pt x="399346" y="98083"/>
                </a:cubicBezTo>
                <a:cubicBezTo>
                  <a:pt x="428062" y="121519"/>
                  <a:pt x="450822" y="150083"/>
                  <a:pt x="471592" y="180524"/>
                </a:cubicBezTo>
                <a:cubicBezTo>
                  <a:pt x="476398" y="187569"/>
                  <a:pt x="476844" y="193688"/>
                  <a:pt x="473550" y="200923"/>
                </a:cubicBezTo>
                <a:cubicBezTo>
                  <a:pt x="470171" y="208346"/>
                  <a:pt x="467091" y="215905"/>
                  <a:pt x="463677" y="223311"/>
                </a:cubicBezTo>
                <a:cubicBezTo>
                  <a:pt x="461993" y="226965"/>
                  <a:pt x="462995" y="228697"/>
                  <a:pt x="466852" y="229083"/>
                </a:cubicBezTo>
                <a:moveTo>
                  <a:pt x="474186" y="928382"/>
                </a:moveTo>
                <a:cubicBezTo>
                  <a:pt x="469297" y="891529"/>
                  <a:pt x="462961" y="854794"/>
                  <a:pt x="459927" y="817790"/>
                </a:cubicBezTo>
                <a:cubicBezTo>
                  <a:pt x="456905" y="780939"/>
                  <a:pt x="457197" y="743817"/>
                  <a:pt x="456025" y="706469"/>
                </a:cubicBezTo>
                <a:cubicBezTo>
                  <a:pt x="425780" y="707923"/>
                  <a:pt x="396554" y="709327"/>
                  <a:pt x="366863" y="710754"/>
                </a:cubicBezTo>
                <a:cubicBezTo>
                  <a:pt x="366546" y="714450"/>
                  <a:pt x="366201" y="716832"/>
                  <a:pt x="366159" y="719219"/>
                </a:cubicBezTo>
                <a:cubicBezTo>
                  <a:pt x="365479" y="757672"/>
                  <a:pt x="364935" y="796129"/>
                  <a:pt x="364159" y="834581"/>
                </a:cubicBezTo>
                <a:cubicBezTo>
                  <a:pt x="363450" y="869762"/>
                  <a:pt x="362581" y="904941"/>
                  <a:pt x="361633" y="940117"/>
                </a:cubicBezTo>
                <a:cubicBezTo>
                  <a:pt x="360619" y="977749"/>
                  <a:pt x="359431" y="1015376"/>
                  <a:pt x="358313" y="1053005"/>
                </a:cubicBezTo>
                <a:cubicBezTo>
                  <a:pt x="358265" y="1054641"/>
                  <a:pt x="358149" y="1056276"/>
                  <a:pt x="358081" y="1057912"/>
                </a:cubicBezTo>
                <a:cubicBezTo>
                  <a:pt x="356598" y="1093463"/>
                  <a:pt x="355081" y="1129014"/>
                  <a:pt x="353706" y="1164570"/>
                </a:cubicBezTo>
                <a:cubicBezTo>
                  <a:pt x="353604" y="1167221"/>
                  <a:pt x="354516" y="1169911"/>
                  <a:pt x="354951" y="1172547"/>
                </a:cubicBezTo>
                <a:cubicBezTo>
                  <a:pt x="416984" y="1173689"/>
                  <a:pt x="478158" y="1174816"/>
                  <a:pt x="540959" y="1175972"/>
                </a:cubicBezTo>
                <a:cubicBezTo>
                  <a:pt x="513162" y="1094194"/>
                  <a:pt x="489081" y="1013598"/>
                  <a:pt x="474186" y="928382"/>
                </a:cubicBezTo>
                <a:moveTo>
                  <a:pt x="513768" y="1417676"/>
                </a:moveTo>
                <a:cubicBezTo>
                  <a:pt x="515785" y="1417344"/>
                  <a:pt x="517792" y="1416889"/>
                  <a:pt x="519822" y="1416700"/>
                </a:cubicBezTo>
                <a:cubicBezTo>
                  <a:pt x="557234" y="1413220"/>
                  <a:pt x="594682" y="1410089"/>
                  <a:pt x="632041" y="1406122"/>
                </a:cubicBezTo>
                <a:cubicBezTo>
                  <a:pt x="643122" y="1404945"/>
                  <a:pt x="654730" y="1405292"/>
                  <a:pt x="665040" y="1400634"/>
                </a:cubicBezTo>
                <a:cubicBezTo>
                  <a:pt x="665352" y="1398517"/>
                  <a:pt x="665651" y="1397324"/>
                  <a:pt x="665677" y="1396126"/>
                </a:cubicBezTo>
                <a:cubicBezTo>
                  <a:pt x="665722" y="1394084"/>
                  <a:pt x="665674" y="1392032"/>
                  <a:pt x="665529" y="1389994"/>
                </a:cubicBezTo>
                <a:cubicBezTo>
                  <a:pt x="663118" y="1356121"/>
                  <a:pt x="650063" y="1327787"/>
                  <a:pt x="623046" y="1306238"/>
                </a:cubicBezTo>
                <a:cubicBezTo>
                  <a:pt x="613485" y="1298611"/>
                  <a:pt x="605001" y="1289635"/>
                  <a:pt x="596015" y="1281285"/>
                </a:cubicBezTo>
                <a:cubicBezTo>
                  <a:pt x="578506" y="1265018"/>
                  <a:pt x="567837" y="1245446"/>
                  <a:pt x="567683" y="1220059"/>
                </a:cubicBezTo>
                <a:cubicBezTo>
                  <a:pt x="558046" y="1220059"/>
                  <a:pt x="549136" y="1219649"/>
                  <a:pt x="540273" y="1220129"/>
                </a:cubicBezTo>
                <a:cubicBezTo>
                  <a:pt x="501512" y="1222229"/>
                  <a:pt x="462775" y="1224768"/>
                  <a:pt x="424010" y="1226781"/>
                </a:cubicBezTo>
                <a:cubicBezTo>
                  <a:pt x="401969" y="1227926"/>
                  <a:pt x="379889" y="1228330"/>
                  <a:pt x="357832" y="1229178"/>
                </a:cubicBezTo>
                <a:cubicBezTo>
                  <a:pt x="355938" y="1229251"/>
                  <a:pt x="354076" y="1230151"/>
                  <a:pt x="352386" y="1230616"/>
                </a:cubicBezTo>
                <a:cubicBezTo>
                  <a:pt x="353642" y="1262222"/>
                  <a:pt x="355769" y="1293219"/>
                  <a:pt x="355852" y="1324222"/>
                </a:cubicBezTo>
                <a:cubicBezTo>
                  <a:pt x="355936" y="1355438"/>
                  <a:pt x="353988" y="1386659"/>
                  <a:pt x="352930" y="1417867"/>
                </a:cubicBezTo>
                <a:cubicBezTo>
                  <a:pt x="406069" y="1417867"/>
                  <a:pt x="458771" y="1417867"/>
                  <a:pt x="513768" y="1417676"/>
                </a:cubicBezTo>
                <a:moveTo>
                  <a:pt x="387930" y="499741"/>
                </a:moveTo>
                <a:cubicBezTo>
                  <a:pt x="410797" y="498777"/>
                  <a:pt x="433665" y="497860"/>
                  <a:pt x="456529" y="496826"/>
                </a:cubicBezTo>
                <a:cubicBezTo>
                  <a:pt x="466656" y="496369"/>
                  <a:pt x="475418" y="493371"/>
                  <a:pt x="482355" y="485095"/>
                </a:cubicBezTo>
                <a:cubicBezTo>
                  <a:pt x="509188" y="453083"/>
                  <a:pt x="525387" y="416636"/>
                  <a:pt x="528016" y="374829"/>
                </a:cubicBezTo>
                <a:cubicBezTo>
                  <a:pt x="530547" y="334558"/>
                  <a:pt x="520095" y="297041"/>
                  <a:pt x="501375" y="261643"/>
                </a:cubicBezTo>
                <a:cubicBezTo>
                  <a:pt x="499379" y="257869"/>
                  <a:pt x="496654" y="254482"/>
                  <a:pt x="493534" y="249818"/>
                </a:cubicBezTo>
                <a:cubicBezTo>
                  <a:pt x="490233" y="254212"/>
                  <a:pt x="487883" y="256986"/>
                  <a:pt x="485920" y="260010"/>
                </a:cubicBezTo>
                <a:cubicBezTo>
                  <a:pt x="475010" y="276824"/>
                  <a:pt x="464300" y="293767"/>
                  <a:pt x="453305" y="310523"/>
                </a:cubicBezTo>
                <a:cubicBezTo>
                  <a:pt x="447028" y="320089"/>
                  <a:pt x="440916" y="329858"/>
                  <a:pt x="433678" y="338672"/>
                </a:cubicBezTo>
                <a:cubicBezTo>
                  <a:pt x="425909" y="348131"/>
                  <a:pt x="413084" y="349691"/>
                  <a:pt x="403713" y="343710"/>
                </a:cubicBezTo>
                <a:cubicBezTo>
                  <a:pt x="394358" y="337739"/>
                  <a:pt x="391675" y="327526"/>
                  <a:pt x="396427" y="315612"/>
                </a:cubicBezTo>
                <a:cubicBezTo>
                  <a:pt x="397334" y="313339"/>
                  <a:pt x="398595" y="311210"/>
                  <a:pt x="399663" y="309000"/>
                </a:cubicBezTo>
                <a:cubicBezTo>
                  <a:pt x="417094" y="272900"/>
                  <a:pt x="434331" y="236704"/>
                  <a:pt x="452097" y="200770"/>
                </a:cubicBezTo>
                <a:cubicBezTo>
                  <a:pt x="455910" y="193060"/>
                  <a:pt x="455310" y="187173"/>
                  <a:pt x="450118" y="180596"/>
                </a:cubicBezTo>
                <a:cubicBezTo>
                  <a:pt x="428273" y="152922"/>
                  <a:pt x="405805" y="125901"/>
                  <a:pt x="376545" y="105525"/>
                </a:cubicBezTo>
                <a:cubicBezTo>
                  <a:pt x="374483" y="104089"/>
                  <a:pt x="372013" y="103239"/>
                  <a:pt x="368791" y="101653"/>
                </a:cubicBezTo>
                <a:cubicBezTo>
                  <a:pt x="367942" y="116965"/>
                  <a:pt x="367019" y="130814"/>
                  <a:pt x="366449" y="144676"/>
                </a:cubicBezTo>
                <a:cubicBezTo>
                  <a:pt x="365912" y="157758"/>
                  <a:pt x="365593" y="170854"/>
                  <a:pt x="365447" y="183946"/>
                </a:cubicBezTo>
                <a:cubicBezTo>
                  <a:pt x="365020" y="221975"/>
                  <a:pt x="363367" y="260055"/>
                  <a:pt x="364738" y="298022"/>
                </a:cubicBezTo>
                <a:cubicBezTo>
                  <a:pt x="366329" y="342101"/>
                  <a:pt x="370336" y="386106"/>
                  <a:pt x="373865" y="430096"/>
                </a:cubicBezTo>
                <a:cubicBezTo>
                  <a:pt x="375530" y="450849"/>
                  <a:pt x="378387" y="471514"/>
                  <a:pt x="381088" y="492169"/>
                </a:cubicBezTo>
                <a:cubicBezTo>
                  <a:pt x="381433" y="494807"/>
                  <a:pt x="384102" y="497143"/>
                  <a:pt x="387930" y="499741"/>
                </a:cubicBezTo>
                <a:moveTo>
                  <a:pt x="455850" y="1521476"/>
                </a:moveTo>
                <a:cubicBezTo>
                  <a:pt x="533043" y="1519612"/>
                  <a:pt x="609810" y="1514084"/>
                  <a:pt x="685121" y="1496509"/>
                </a:cubicBezTo>
                <a:cubicBezTo>
                  <a:pt x="683922" y="1481705"/>
                  <a:pt x="679199" y="1467708"/>
                  <a:pt x="672999" y="1456665"/>
                </a:cubicBezTo>
                <a:cubicBezTo>
                  <a:pt x="669933" y="1451203"/>
                  <a:pt x="666057" y="1449329"/>
                  <a:pt x="660009" y="1450249"/>
                </a:cubicBezTo>
                <a:cubicBezTo>
                  <a:pt x="651125" y="1451601"/>
                  <a:pt x="642144" y="1452308"/>
                  <a:pt x="633248" y="1453589"/>
                </a:cubicBezTo>
                <a:cubicBezTo>
                  <a:pt x="572852" y="1462289"/>
                  <a:pt x="511993" y="1465134"/>
                  <a:pt x="451131" y="1467458"/>
                </a:cubicBezTo>
                <a:cubicBezTo>
                  <a:pt x="421697" y="1468582"/>
                  <a:pt x="392192" y="1467837"/>
                  <a:pt x="362719" y="1467934"/>
                </a:cubicBezTo>
                <a:cubicBezTo>
                  <a:pt x="358386" y="1467948"/>
                  <a:pt x="354052" y="1467936"/>
                  <a:pt x="349983" y="1467936"/>
                </a:cubicBezTo>
                <a:cubicBezTo>
                  <a:pt x="347592" y="1485362"/>
                  <a:pt x="348606" y="1509458"/>
                  <a:pt x="352220" y="1519140"/>
                </a:cubicBezTo>
                <a:cubicBezTo>
                  <a:pt x="385617" y="1519916"/>
                  <a:pt x="419507" y="1520703"/>
                  <a:pt x="455850" y="1521476"/>
                </a:cubicBezTo>
                <a:moveTo>
                  <a:pt x="368682" y="544846"/>
                </a:moveTo>
                <a:cubicBezTo>
                  <a:pt x="374258" y="564891"/>
                  <a:pt x="370074" y="584394"/>
                  <a:pt x="363600" y="605633"/>
                </a:cubicBezTo>
                <a:cubicBezTo>
                  <a:pt x="408859" y="604212"/>
                  <a:pt x="452263" y="602850"/>
                  <a:pt x="496351" y="601466"/>
                </a:cubicBezTo>
                <a:cubicBezTo>
                  <a:pt x="496109" y="591095"/>
                  <a:pt x="491408" y="584247"/>
                  <a:pt x="485068" y="579288"/>
                </a:cubicBezTo>
                <a:cubicBezTo>
                  <a:pt x="472414" y="569391"/>
                  <a:pt x="466934" y="556602"/>
                  <a:pt x="466524" y="541026"/>
                </a:cubicBezTo>
                <a:cubicBezTo>
                  <a:pt x="466485" y="539528"/>
                  <a:pt x="465591" y="538053"/>
                  <a:pt x="465000" y="536289"/>
                </a:cubicBezTo>
                <a:cubicBezTo>
                  <a:pt x="460209" y="536289"/>
                  <a:pt x="455761" y="536132"/>
                  <a:pt x="451328" y="536316"/>
                </a:cubicBezTo>
                <a:cubicBezTo>
                  <a:pt x="430930" y="537159"/>
                  <a:pt x="410538" y="538137"/>
                  <a:pt x="390140" y="538979"/>
                </a:cubicBezTo>
                <a:cubicBezTo>
                  <a:pt x="384834" y="539198"/>
                  <a:pt x="379484" y="538790"/>
                  <a:pt x="374215" y="539303"/>
                </a:cubicBezTo>
                <a:cubicBezTo>
                  <a:pt x="372259" y="539494"/>
                  <a:pt x="370480" y="541498"/>
                  <a:pt x="368682" y="544846"/>
                </a:cubicBezTo>
                <a:moveTo>
                  <a:pt x="453915" y="635267"/>
                </a:moveTo>
                <a:cubicBezTo>
                  <a:pt x="427589" y="636632"/>
                  <a:pt x="401262" y="637998"/>
                  <a:pt x="374200" y="639402"/>
                </a:cubicBezTo>
                <a:cubicBezTo>
                  <a:pt x="374200" y="651578"/>
                  <a:pt x="374200" y="661970"/>
                  <a:pt x="374200" y="673206"/>
                </a:cubicBezTo>
                <a:cubicBezTo>
                  <a:pt x="378672" y="673406"/>
                  <a:pt x="382666" y="673863"/>
                  <a:pt x="386639" y="673718"/>
                </a:cubicBezTo>
                <a:cubicBezTo>
                  <a:pt x="431495" y="672082"/>
                  <a:pt x="476352" y="670422"/>
                  <a:pt x="521198" y="668541"/>
                </a:cubicBezTo>
                <a:cubicBezTo>
                  <a:pt x="525584" y="668357"/>
                  <a:pt x="530162" y="667254"/>
                  <a:pt x="534198" y="665521"/>
                </a:cubicBezTo>
                <a:cubicBezTo>
                  <a:pt x="540213" y="662938"/>
                  <a:pt x="541802" y="658194"/>
                  <a:pt x="538413" y="652526"/>
                </a:cubicBezTo>
                <a:cubicBezTo>
                  <a:pt x="536192" y="648813"/>
                  <a:pt x="532979" y="645251"/>
                  <a:pt x="529377" y="642895"/>
                </a:cubicBezTo>
                <a:cubicBezTo>
                  <a:pt x="521426" y="637695"/>
                  <a:pt x="512576" y="634669"/>
                  <a:pt x="502829" y="634808"/>
                </a:cubicBezTo>
                <a:cubicBezTo>
                  <a:pt x="487311" y="635030"/>
                  <a:pt x="471791" y="635092"/>
                  <a:pt x="453915" y="635267"/>
                </a:cubicBezTo>
                <a:close/>
              </a:path>
            </a:pathLst>
          </a:custGeom>
          <a:solidFill>
            <a:srgbClr val="CDD9DF"/>
          </a:solidFill>
          <a:ln w="12700" cap="flat">
            <a:solidFill>
              <a:srgbClr val="CDD9DF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6" name="Free-form: Shape 45">
            <a:extLst>
              <a:ext uri="{FF2B5EF4-FFF2-40B4-BE49-F238E27FC236}">
                <a16:creationId xmlns:a16="http://schemas.microsoft.com/office/drawing/2014/main" id="{FEA60128-C98E-84BE-C98B-837F63ABCDED}"/>
              </a:ext>
            </a:extLst>
          </p:cNvPr>
          <p:cNvSpPr/>
          <p:nvPr/>
        </p:nvSpPr>
        <p:spPr>
          <a:xfrm>
            <a:off x="6423377" y="1460137"/>
            <a:ext cx="665488" cy="1428730"/>
          </a:xfrm>
          <a:custGeom>
            <a:avLst/>
            <a:gdLst>
              <a:gd name="csX0" fmla="*/ 406842 w 732037"/>
              <a:gd name="csY0" fmla="*/ 38347 h 1571603"/>
              <a:gd name="csX1" fmla="*/ 411944 w 732037"/>
              <a:gd name="csY1" fmla="*/ 38343 h 1571603"/>
              <a:gd name="csX2" fmla="*/ 416198 w 732037"/>
              <a:gd name="csY2" fmla="*/ 53444 h 1571603"/>
              <a:gd name="csX3" fmla="*/ 418945 w 732037"/>
              <a:gd name="csY3" fmla="*/ 34170 h 1571603"/>
              <a:gd name="csX4" fmla="*/ 394077 w 732037"/>
              <a:gd name="csY4" fmla="*/ 12943 h 1571603"/>
              <a:gd name="csX5" fmla="*/ 341415 w 732037"/>
              <a:gd name="csY5" fmla="*/ 11814 h 1571603"/>
              <a:gd name="csX6" fmla="*/ 309440 w 732037"/>
              <a:gd name="csY6" fmla="*/ 65249 h 1571603"/>
              <a:gd name="csX7" fmla="*/ 319632 w 732037"/>
              <a:gd name="csY7" fmla="*/ 85914 h 1571603"/>
              <a:gd name="csX8" fmla="*/ 318632 w 732037"/>
              <a:gd name="csY8" fmla="*/ 110015 h 1571603"/>
              <a:gd name="csX9" fmla="*/ 246921 w 732037"/>
              <a:gd name="csY9" fmla="*/ 198083 h 1571603"/>
              <a:gd name="csX10" fmla="*/ 202660 w 732037"/>
              <a:gd name="csY10" fmla="*/ 269911 h 1571603"/>
              <a:gd name="csX11" fmla="*/ 176707 w 732037"/>
              <a:gd name="csY11" fmla="*/ 357233 h 1571603"/>
              <a:gd name="csX12" fmla="*/ 190612 w 732037"/>
              <a:gd name="csY12" fmla="*/ 439700 h 1571603"/>
              <a:gd name="csX13" fmla="*/ 227544 w 732037"/>
              <a:gd name="csY13" fmla="*/ 505527 h 1571603"/>
              <a:gd name="csX14" fmla="*/ 232541 w 732037"/>
              <a:gd name="csY14" fmla="*/ 516294 h 1571603"/>
              <a:gd name="csX15" fmla="*/ 224356 w 732037"/>
              <a:gd name="csY15" fmla="*/ 528960 h 1571603"/>
              <a:gd name="csX16" fmla="*/ 227944 w 732037"/>
              <a:gd name="csY16" fmla="*/ 540026 h 1571603"/>
              <a:gd name="csX17" fmla="*/ 238897 w 732037"/>
              <a:gd name="csY17" fmla="*/ 545570 h 1571603"/>
              <a:gd name="csX18" fmla="*/ 242386 w 732037"/>
              <a:gd name="csY18" fmla="*/ 571785 h 1571603"/>
              <a:gd name="csX19" fmla="*/ 214067 w 732037"/>
              <a:gd name="csY19" fmla="*/ 590809 h 1571603"/>
              <a:gd name="csX20" fmla="*/ 201355 w 732037"/>
              <a:gd name="csY20" fmla="*/ 609067 h 1571603"/>
              <a:gd name="csX21" fmla="*/ 188474 w 732037"/>
              <a:gd name="csY21" fmla="*/ 628398 h 1571603"/>
              <a:gd name="csX22" fmla="*/ 162658 w 732037"/>
              <a:gd name="csY22" fmla="*/ 657096 h 1571603"/>
              <a:gd name="csX23" fmla="*/ 175395 w 732037"/>
              <a:gd name="csY23" fmla="*/ 691621 h 1571603"/>
              <a:gd name="csX24" fmla="*/ 201948 w 732037"/>
              <a:gd name="csY24" fmla="*/ 700523 h 1571603"/>
              <a:gd name="csX25" fmla="*/ 241426 w 732037"/>
              <a:gd name="csY25" fmla="*/ 706574 h 1571603"/>
              <a:gd name="csX26" fmla="*/ 242586 w 732037"/>
              <a:gd name="csY26" fmla="*/ 715946 h 1571603"/>
              <a:gd name="csX27" fmla="*/ 242424 w 732037"/>
              <a:gd name="csY27" fmla="*/ 801932 h 1571603"/>
              <a:gd name="csX28" fmla="*/ 238000 w 732037"/>
              <a:gd name="csY28" fmla="*/ 846774 h 1571603"/>
              <a:gd name="csX29" fmla="*/ 232752 w 732037"/>
              <a:gd name="csY29" fmla="*/ 891559 h 1571603"/>
              <a:gd name="csX30" fmla="*/ 223037 w 732037"/>
              <a:gd name="csY30" fmla="*/ 950433 h 1571603"/>
              <a:gd name="csX31" fmla="*/ 210247 w 732037"/>
              <a:gd name="csY31" fmla="*/ 1012485 h 1571603"/>
              <a:gd name="csX32" fmla="*/ 194820 w 732037"/>
              <a:gd name="csY32" fmla="*/ 1069074 h 1571603"/>
              <a:gd name="csX33" fmla="*/ 165707 w 732037"/>
              <a:gd name="csY33" fmla="*/ 1163788 h 1571603"/>
              <a:gd name="csX34" fmla="*/ 144382 w 732037"/>
              <a:gd name="csY34" fmla="*/ 1185530 h 1571603"/>
              <a:gd name="csX35" fmla="*/ 129590 w 732037"/>
              <a:gd name="csY35" fmla="*/ 1191342 h 1571603"/>
              <a:gd name="csX36" fmla="*/ 122255 w 732037"/>
              <a:gd name="csY36" fmla="*/ 1208476 h 1571603"/>
              <a:gd name="csX37" fmla="*/ 127491 w 732037"/>
              <a:gd name="csY37" fmla="*/ 1222193 h 1571603"/>
              <a:gd name="csX38" fmla="*/ 118348 w 732037"/>
              <a:gd name="csY38" fmla="*/ 1261470 h 1571603"/>
              <a:gd name="csX39" fmla="*/ 58232 w 732037"/>
              <a:gd name="csY39" fmla="*/ 1319224 h 1571603"/>
              <a:gd name="csX40" fmla="*/ 28815 w 732037"/>
              <a:gd name="csY40" fmla="*/ 1389717 h 1571603"/>
              <a:gd name="csX41" fmla="*/ 32634 w 732037"/>
              <a:gd name="csY41" fmla="*/ 1426050 h 1571603"/>
              <a:gd name="csX42" fmla="*/ 30331 w 732037"/>
              <a:gd name="csY42" fmla="*/ 1441003 h 1571603"/>
              <a:gd name="csX43" fmla="*/ 9180 w 732037"/>
              <a:gd name="csY43" fmla="*/ 1516655 h 1571603"/>
              <a:gd name="csX44" fmla="*/ 20082 w 732037"/>
              <a:gd name="csY44" fmla="*/ 1531402 h 1571603"/>
              <a:gd name="csX45" fmla="*/ 74798 w 732037"/>
              <a:gd name="csY45" fmla="*/ 1543794 h 1571603"/>
              <a:gd name="csX46" fmla="*/ 113225 w 732037"/>
              <a:gd name="csY46" fmla="*/ 1550305 h 1571603"/>
              <a:gd name="csX47" fmla="*/ 136142 w 732037"/>
              <a:gd name="csY47" fmla="*/ 1553484 h 1571603"/>
              <a:gd name="csX48" fmla="*/ 177578 w 732037"/>
              <a:gd name="csY48" fmla="*/ 1556220 h 1571603"/>
              <a:gd name="csX49" fmla="*/ 231027 w 732037"/>
              <a:gd name="csY49" fmla="*/ 1560698 h 1571603"/>
              <a:gd name="csX50" fmla="*/ 254342 w 732037"/>
              <a:gd name="csY50" fmla="*/ 1561142 h 1571603"/>
              <a:gd name="csX51" fmla="*/ 459180 w 732037"/>
              <a:gd name="csY51" fmla="*/ 1563411 h 1571603"/>
              <a:gd name="csX52" fmla="*/ 531340 w 732037"/>
              <a:gd name="csY52" fmla="*/ 1560936 h 1571603"/>
              <a:gd name="csX53" fmla="*/ 590888 w 732037"/>
              <a:gd name="csY53" fmla="*/ 1555951 h 1571603"/>
              <a:gd name="csX54" fmla="*/ 710712 w 732037"/>
              <a:gd name="csY54" fmla="*/ 1533916 h 1571603"/>
              <a:gd name="csX55" fmla="*/ 724356 w 732037"/>
              <a:gd name="csY55" fmla="*/ 1516144 h 1571603"/>
              <a:gd name="csX56" fmla="*/ 707380 w 732037"/>
              <a:gd name="csY56" fmla="*/ 1449380 h 1571603"/>
              <a:gd name="csX57" fmla="*/ 707050 w 732037"/>
              <a:gd name="csY57" fmla="*/ 1440881 h 1571603"/>
              <a:gd name="csX58" fmla="*/ 731479 w 732037"/>
              <a:gd name="csY58" fmla="*/ 1500017 h 1571603"/>
              <a:gd name="csX59" fmla="*/ 731163 w 732037"/>
              <a:gd name="csY59" fmla="*/ 1513759 h 1571603"/>
              <a:gd name="csX60" fmla="*/ 731650 w 732037"/>
              <a:gd name="csY60" fmla="*/ 1521766 h 1571603"/>
              <a:gd name="csX61" fmla="*/ 721896 w 732037"/>
              <a:gd name="csY61" fmla="*/ 1537319 h 1571603"/>
              <a:gd name="csX62" fmla="*/ 657740 w 732037"/>
              <a:gd name="csY62" fmla="*/ 1553265 h 1571603"/>
              <a:gd name="csX63" fmla="*/ 507791 w 732037"/>
              <a:gd name="csY63" fmla="*/ 1568943 h 1571603"/>
              <a:gd name="csX64" fmla="*/ 264676 w 732037"/>
              <a:gd name="csY64" fmla="*/ 1569724 h 1571603"/>
              <a:gd name="csX65" fmla="*/ 82743 w 732037"/>
              <a:gd name="csY65" fmla="*/ 1553254 h 1571603"/>
              <a:gd name="csX66" fmla="*/ 17072 w 732037"/>
              <a:gd name="csY66" fmla="*/ 1538153 h 1571603"/>
              <a:gd name="csX67" fmla="*/ 275 w 732037"/>
              <a:gd name="csY67" fmla="*/ 1513030 h 1571603"/>
              <a:gd name="csX68" fmla="*/ 20923 w 732037"/>
              <a:gd name="csY68" fmla="*/ 1441861 h 1571603"/>
              <a:gd name="csX69" fmla="*/ 23045 w 732037"/>
              <a:gd name="csY69" fmla="*/ 1423105 h 1571603"/>
              <a:gd name="csX70" fmla="*/ 30564 w 732037"/>
              <a:gd name="csY70" fmla="*/ 1346289 h 1571603"/>
              <a:gd name="csX71" fmla="*/ 71350 w 732037"/>
              <a:gd name="csY71" fmla="*/ 1295039 h 1571603"/>
              <a:gd name="csX72" fmla="*/ 112257 w 732037"/>
              <a:gd name="csY72" fmla="*/ 1255093 h 1571603"/>
              <a:gd name="csX73" fmla="*/ 115864 w 732037"/>
              <a:gd name="csY73" fmla="*/ 1217271 h 1571603"/>
              <a:gd name="csX74" fmla="*/ 112256 w 732037"/>
              <a:gd name="csY74" fmla="*/ 1210870 h 1571603"/>
              <a:gd name="csX75" fmla="*/ 121141 w 732037"/>
              <a:gd name="csY75" fmla="*/ 1186548 h 1571603"/>
              <a:gd name="csX76" fmla="*/ 136571 w 732037"/>
              <a:gd name="csY76" fmla="*/ 1179850 h 1571603"/>
              <a:gd name="csX77" fmla="*/ 158281 w 732037"/>
              <a:gd name="csY77" fmla="*/ 1157879 h 1571603"/>
              <a:gd name="csX78" fmla="*/ 187986 w 732037"/>
              <a:gd name="csY78" fmla="*/ 1059736 h 1571603"/>
              <a:gd name="csX79" fmla="*/ 217119 w 732037"/>
              <a:gd name="csY79" fmla="*/ 938896 h 1571603"/>
              <a:gd name="csX80" fmla="*/ 225792 w 732037"/>
              <a:gd name="csY80" fmla="*/ 893236 h 1571603"/>
              <a:gd name="csX81" fmla="*/ 226150 w 732037"/>
              <a:gd name="csY81" fmla="*/ 887970 h 1571603"/>
              <a:gd name="csX82" fmla="*/ 230782 w 732037"/>
              <a:gd name="csY82" fmla="*/ 853969 h 1571603"/>
              <a:gd name="csX83" fmla="*/ 230786 w 732037"/>
              <a:gd name="csY83" fmla="*/ 848558 h 1571603"/>
              <a:gd name="csX84" fmla="*/ 233315 w 732037"/>
              <a:gd name="csY84" fmla="*/ 824438 h 1571603"/>
              <a:gd name="csX85" fmla="*/ 233199 w 732037"/>
              <a:gd name="csY85" fmla="*/ 819050 h 1571603"/>
              <a:gd name="csX86" fmla="*/ 235848 w 732037"/>
              <a:gd name="csY86" fmla="*/ 782380 h 1571603"/>
              <a:gd name="csX87" fmla="*/ 237465 w 732037"/>
              <a:gd name="csY87" fmla="*/ 719113 h 1571603"/>
              <a:gd name="csX88" fmla="*/ 233057 w 732037"/>
              <a:gd name="csY88" fmla="*/ 713160 h 1571603"/>
              <a:gd name="csX89" fmla="*/ 203056 w 732037"/>
              <a:gd name="csY89" fmla="*/ 708405 h 1571603"/>
              <a:gd name="csX90" fmla="*/ 169628 w 732037"/>
              <a:gd name="csY90" fmla="*/ 698106 h 1571603"/>
              <a:gd name="csX91" fmla="*/ 153237 w 732037"/>
              <a:gd name="csY91" fmla="*/ 659111 h 1571603"/>
              <a:gd name="csX92" fmla="*/ 178365 w 732037"/>
              <a:gd name="csY92" fmla="*/ 626008 h 1571603"/>
              <a:gd name="csX93" fmla="*/ 191885 w 732037"/>
              <a:gd name="csY93" fmla="*/ 617513 h 1571603"/>
              <a:gd name="csX94" fmla="*/ 193681 w 732037"/>
              <a:gd name="csY94" fmla="*/ 610098 h 1571603"/>
              <a:gd name="csX95" fmla="*/ 213301 w 732037"/>
              <a:gd name="csY95" fmla="*/ 579885 h 1571603"/>
              <a:gd name="csX96" fmla="*/ 229635 w 732037"/>
              <a:gd name="csY96" fmla="*/ 571429 h 1571603"/>
              <a:gd name="csX97" fmla="*/ 237351 w 732037"/>
              <a:gd name="csY97" fmla="*/ 565882 h 1571603"/>
              <a:gd name="csX98" fmla="*/ 233673 w 732037"/>
              <a:gd name="csY98" fmla="*/ 550926 h 1571603"/>
              <a:gd name="csX99" fmla="*/ 226799 w 732037"/>
              <a:gd name="csY99" fmla="*/ 548359 h 1571603"/>
              <a:gd name="csX100" fmla="*/ 218639 w 732037"/>
              <a:gd name="csY100" fmla="*/ 522664 h 1571603"/>
              <a:gd name="csX101" fmla="*/ 218264 w 732037"/>
              <a:gd name="csY101" fmla="*/ 505463 h 1571603"/>
              <a:gd name="csX102" fmla="*/ 181762 w 732037"/>
              <a:gd name="csY102" fmla="*/ 437574 h 1571603"/>
              <a:gd name="csX103" fmla="*/ 185971 w 732037"/>
              <a:gd name="csY103" fmla="*/ 289069 h 1571603"/>
              <a:gd name="csX104" fmla="*/ 253787 w 732037"/>
              <a:gd name="csY104" fmla="*/ 175580 h 1571603"/>
              <a:gd name="csX105" fmla="*/ 309639 w 732037"/>
              <a:gd name="csY105" fmla="*/ 108695 h 1571603"/>
              <a:gd name="csX106" fmla="*/ 318061 w 732037"/>
              <a:gd name="csY106" fmla="*/ 98855 h 1571603"/>
              <a:gd name="csX107" fmla="*/ 304967 w 732037"/>
              <a:gd name="csY107" fmla="*/ 70056 h 1571603"/>
              <a:gd name="csX108" fmla="*/ 317012 w 732037"/>
              <a:gd name="csY108" fmla="*/ 19436 h 1571603"/>
              <a:gd name="csX109" fmla="*/ 415542 w 732037"/>
              <a:gd name="csY109" fmla="*/ 18221 h 1571603"/>
              <a:gd name="csX110" fmla="*/ 423203 w 732037"/>
              <a:gd name="csY110" fmla="*/ 82660 h 1571603"/>
              <a:gd name="csX111" fmla="*/ 413361 w 732037"/>
              <a:gd name="csY111" fmla="*/ 97975 h 1571603"/>
              <a:gd name="csX112" fmla="*/ 421654 w 732037"/>
              <a:gd name="csY112" fmla="*/ 106676 h 1571603"/>
              <a:gd name="csX113" fmla="*/ 487032 w 732037"/>
              <a:gd name="csY113" fmla="*/ 184632 h 1571603"/>
              <a:gd name="csX114" fmla="*/ 489213 w 732037"/>
              <a:gd name="csY114" fmla="*/ 208238 h 1571603"/>
              <a:gd name="csX115" fmla="*/ 476520 w 732037"/>
              <a:gd name="csY115" fmla="*/ 235738 h 1571603"/>
              <a:gd name="csX116" fmla="*/ 472850 w 732037"/>
              <a:gd name="csY116" fmla="*/ 230703 h 1571603"/>
              <a:gd name="csX117" fmla="*/ 482723 w 732037"/>
              <a:gd name="csY117" fmla="*/ 208315 h 1571603"/>
              <a:gd name="csX118" fmla="*/ 480764 w 732037"/>
              <a:gd name="csY118" fmla="*/ 187916 h 1571603"/>
              <a:gd name="csX119" fmla="*/ 408519 w 732037"/>
              <a:gd name="csY119" fmla="*/ 105475 h 1571603"/>
              <a:gd name="csX120" fmla="*/ 408625 w 732037"/>
              <a:gd name="csY120" fmla="*/ 89203 h 1571603"/>
              <a:gd name="csX121" fmla="*/ 419600 w 732037"/>
              <a:gd name="csY121" fmla="*/ 71648 h 1571603"/>
              <a:gd name="csX122" fmla="*/ 418792 w 732037"/>
              <a:gd name="csY122" fmla="*/ 63179 h 1571603"/>
              <a:gd name="csX123" fmla="*/ 410943 w 732037"/>
              <a:gd name="csY123" fmla="*/ 66417 h 1571603"/>
              <a:gd name="csX124" fmla="*/ 400140 w 732037"/>
              <a:gd name="csY124" fmla="*/ 76155 h 1571603"/>
              <a:gd name="csX125" fmla="*/ 360599 w 732037"/>
              <a:gd name="csY125" fmla="*/ 51379 h 1571603"/>
              <a:gd name="csX126" fmla="*/ 360842 w 732037"/>
              <a:gd name="csY126" fmla="*/ 39128 h 1571603"/>
              <a:gd name="csX127" fmla="*/ 369470 w 732037"/>
              <a:gd name="csY127" fmla="*/ 30960 h 1571603"/>
              <a:gd name="csX128" fmla="*/ 365613 w 732037"/>
              <a:gd name="csY128" fmla="*/ 49108 h 1571603"/>
              <a:gd name="csX129" fmla="*/ 389468 w 732037"/>
              <a:gd name="csY129" fmla="*/ 71608 h 1571603"/>
              <a:gd name="csX130" fmla="*/ 408822 w 732037"/>
              <a:gd name="csY130" fmla="*/ 46613 h 1571603"/>
              <a:gd name="csX131" fmla="*/ 406842 w 732037"/>
              <a:gd name="csY131" fmla="*/ 38347 h 157160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</a:cxnLst>
            <a:rect l="l" t="t" r="r" b="b"/>
            <a:pathLst>
              <a:path w="732037" h="1571603">
                <a:moveTo>
                  <a:pt x="406842" y="38347"/>
                </a:moveTo>
                <a:cubicBezTo>
                  <a:pt x="408555" y="35869"/>
                  <a:pt x="410622" y="34608"/>
                  <a:pt x="411944" y="38343"/>
                </a:cubicBezTo>
                <a:cubicBezTo>
                  <a:pt x="413676" y="43242"/>
                  <a:pt x="414797" y="48356"/>
                  <a:pt x="416198" y="53444"/>
                </a:cubicBezTo>
                <a:cubicBezTo>
                  <a:pt x="422922" y="48977"/>
                  <a:pt x="424340" y="41699"/>
                  <a:pt x="418945" y="34170"/>
                </a:cubicBezTo>
                <a:cubicBezTo>
                  <a:pt x="412483" y="25152"/>
                  <a:pt x="404444" y="17554"/>
                  <a:pt x="394077" y="12943"/>
                </a:cubicBezTo>
                <a:cubicBezTo>
                  <a:pt x="376702" y="5216"/>
                  <a:pt x="358713" y="6244"/>
                  <a:pt x="341415" y="11814"/>
                </a:cubicBezTo>
                <a:cubicBezTo>
                  <a:pt x="323675" y="17525"/>
                  <a:pt x="304459" y="39816"/>
                  <a:pt x="309440" y="65249"/>
                </a:cubicBezTo>
                <a:cubicBezTo>
                  <a:pt x="310868" y="72543"/>
                  <a:pt x="315482" y="79463"/>
                  <a:pt x="319632" y="85914"/>
                </a:cubicBezTo>
                <a:cubicBezTo>
                  <a:pt x="325434" y="94933"/>
                  <a:pt x="325800" y="102817"/>
                  <a:pt x="318632" y="110015"/>
                </a:cubicBezTo>
                <a:cubicBezTo>
                  <a:pt x="291775" y="136984"/>
                  <a:pt x="269594" y="167702"/>
                  <a:pt x="246921" y="198083"/>
                </a:cubicBezTo>
                <a:cubicBezTo>
                  <a:pt x="230003" y="220751"/>
                  <a:pt x="215685" y="244921"/>
                  <a:pt x="202660" y="269911"/>
                </a:cubicBezTo>
                <a:cubicBezTo>
                  <a:pt x="188381" y="297309"/>
                  <a:pt x="179513" y="326657"/>
                  <a:pt x="176707" y="357233"/>
                </a:cubicBezTo>
                <a:cubicBezTo>
                  <a:pt x="174106" y="385578"/>
                  <a:pt x="180131" y="413140"/>
                  <a:pt x="190612" y="439700"/>
                </a:cubicBezTo>
                <a:cubicBezTo>
                  <a:pt x="199946" y="463353"/>
                  <a:pt x="211538" y="485623"/>
                  <a:pt x="227544" y="505527"/>
                </a:cubicBezTo>
                <a:cubicBezTo>
                  <a:pt x="229982" y="508558"/>
                  <a:pt x="230954" y="512768"/>
                  <a:pt x="232541" y="516294"/>
                </a:cubicBezTo>
                <a:cubicBezTo>
                  <a:pt x="229578" y="520824"/>
                  <a:pt x="226658" y="524724"/>
                  <a:pt x="224356" y="528960"/>
                </a:cubicBezTo>
                <a:cubicBezTo>
                  <a:pt x="221823" y="533618"/>
                  <a:pt x="222675" y="537588"/>
                  <a:pt x="227944" y="540026"/>
                </a:cubicBezTo>
                <a:cubicBezTo>
                  <a:pt x="231656" y="541743"/>
                  <a:pt x="235331" y="543568"/>
                  <a:pt x="238897" y="545570"/>
                </a:cubicBezTo>
                <a:cubicBezTo>
                  <a:pt x="249613" y="551585"/>
                  <a:pt x="251795" y="563681"/>
                  <a:pt x="242386" y="571785"/>
                </a:cubicBezTo>
                <a:cubicBezTo>
                  <a:pt x="233816" y="579166"/>
                  <a:pt x="224045" y="585423"/>
                  <a:pt x="214067" y="590809"/>
                </a:cubicBezTo>
                <a:cubicBezTo>
                  <a:pt x="206271" y="595018"/>
                  <a:pt x="202051" y="601487"/>
                  <a:pt x="201355" y="609067"/>
                </a:cubicBezTo>
                <a:cubicBezTo>
                  <a:pt x="200489" y="618497"/>
                  <a:pt x="195720" y="623726"/>
                  <a:pt x="188474" y="628398"/>
                </a:cubicBezTo>
                <a:cubicBezTo>
                  <a:pt x="177332" y="635582"/>
                  <a:pt x="167866" y="644503"/>
                  <a:pt x="162658" y="657096"/>
                </a:cubicBezTo>
                <a:cubicBezTo>
                  <a:pt x="156420" y="672181"/>
                  <a:pt x="160439" y="684301"/>
                  <a:pt x="175395" y="691621"/>
                </a:cubicBezTo>
                <a:cubicBezTo>
                  <a:pt x="183722" y="695697"/>
                  <a:pt x="192859" y="698589"/>
                  <a:pt x="201948" y="700523"/>
                </a:cubicBezTo>
                <a:cubicBezTo>
                  <a:pt x="214634" y="703224"/>
                  <a:pt x="227616" y="704530"/>
                  <a:pt x="241426" y="706574"/>
                </a:cubicBezTo>
                <a:cubicBezTo>
                  <a:pt x="241839" y="709770"/>
                  <a:pt x="242576" y="712857"/>
                  <a:pt x="242586" y="715946"/>
                </a:cubicBezTo>
                <a:cubicBezTo>
                  <a:pt x="242672" y="744610"/>
                  <a:pt x="243133" y="773285"/>
                  <a:pt x="242424" y="801932"/>
                </a:cubicBezTo>
                <a:cubicBezTo>
                  <a:pt x="242053" y="816907"/>
                  <a:pt x="239631" y="831838"/>
                  <a:pt x="238000" y="846774"/>
                </a:cubicBezTo>
                <a:cubicBezTo>
                  <a:pt x="236368" y="861717"/>
                  <a:pt x="234927" y="876693"/>
                  <a:pt x="232752" y="891559"/>
                </a:cubicBezTo>
                <a:cubicBezTo>
                  <a:pt x="229873" y="911238"/>
                  <a:pt x="226675" y="930882"/>
                  <a:pt x="223037" y="950433"/>
                </a:cubicBezTo>
                <a:cubicBezTo>
                  <a:pt x="219173" y="971193"/>
                  <a:pt x="215113" y="991942"/>
                  <a:pt x="210247" y="1012485"/>
                </a:cubicBezTo>
                <a:cubicBezTo>
                  <a:pt x="205743" y="1031500"/>
                  <a:pt x="200395" y="1050337"/>
                  <a:pt x="194820" y="1069074"/>
                </a:cubicBezTo>
                <a:cubicBezTo>
                  <a:pt x="185401" y="1100731"/>
                  <a:pt x="175708" y="1132311"/>
                  <a:pt x="165707" y="1163788"/>
                </a:cubicBezTo>
                <a:cubicBezTo>
                  <a:pt x="162367" y="1174302"/>
                  <a:pt x="156145" y="1182634"/>
                  <a:pt x="144382" y="1185530"/>
                </a:cubicBezTo>
                <a:cubicBezTo>
                  <a:pt x="139281" y="1186787"/>
                  <a:pt x="134434" y="1189193"/>
                  <a:pt x="129590" y="1191342"/>
                </a:cubicBezTo>
                <a:cubicBezTo>
                  <a:pt x="120028" y="1195581"/>
                  <a:pt x="118779" y="1198539"/>
                  <a:pt x="122255" y="1208476"/>
                </a:cubicBezTo>
                <a:cubicBezTo>
                  <a:pt x="123870" y="1213094"/>
                  <a:pt x="125990" y="1217542"/>
                  <a:pt x="127491" y="1222193"/>
                </a:cubicBezTo>
                <a:cubicBezTo>
                  <a:pt x="132294" y="1237066"/>
                  <a:pt x="129961" y="1250353"/>
                  <a:pt x="118348" y="1261470"/>
                </a:cubicBezTo>
                <a:cubicBezTo>
                  <a:pt x="98275" y="1280686"/>
                  <a:pt x="78038" y="1299737"/>
                  <a:pt x="58232" y="1319224"/>
                </a:cubicBezTo>
                <a:cubicBezTo>
                  <a:pt x="38634" y="1338507"/>
                  <a:pt x="29913" y="1362564"/>
                  <a:pt x="28815" y="1389717"/>
                </a:cubicBezTo>
                <a:cubicBezTo>
                  <a:pt x="28318" y="1402031"/>
                  <a:pt x="29110" y="1414206"/>
                  <a:pt x="32634" y="1426050"/>
                </a:cubicBezTo>
                <a:cubicBezTo>
                  <a:pt x="34273" y="1431554"/>
                  <a:pt x="33300" y="1435929"/>
                  <a:pt x="30331" y="1441003"/>
                </a:cubicBezTo>
                <a:cubicBezTo>
                  <a:pt x="16698" y="1464298"/>
                  <a:pt x="8890" y="1489397"/>
                  <a:pt x="9180" y="1516655"/>
                </a:cubicBezTo>
                <a:cubicBezTo>
                  <a:pt x="9291" y="1527012"/>
                  <a:pt x="9917" y="1528771"/>
                  <a:pt x="20082" y="1531402"/>
                </a:cubicBezTo>
                <a:cubicBezTo>
                  <a:pt x="38179" y="1536086"/>
                  <a:pt x="56480" y="1540035"/>
                  <a:pt x="74798" y="1543794"/>
                </a:cubicBezTo>
                <a:cubicBezTo>
                  <a:pt x="87517" y="1546403"/>
                  <a:pt x="100396" y="1548250"/>
                  <a:pt x="113225" y="1550305"/>
                </a:cubicBezTo>
                <a:cubicBezTo>
                  <a:pt x="120841" y="1551524"/>
                  <a:pt x="128467" y="1552843"/>
                  <a:pt x="136142" y="1553484"/>
                </a:cubicBezTo>
                <a:cubicBezTo>
                  <a:pt x="149934" y="1554635"/>
                  <a:pt x="163778" y="1555156"/>
                  <a:pt x="177578" y="1556220"/>
                </a:cubicBezTo>
                <a:cubicBezTo>
                  <a:pt x="195403" y="1557595"/>
                  <a:pt x="213196" y="1559407"/>
                  <a:pt x="231027" y="1560698"/>
                </a:cubicBezTo>
                <a:cubicBezTo>
                  <a:pt x="238768" y="1561259"/>
                  <a:pt x="246585" y="1560709"/>
                  <a:pt x="254342" y="1561142"/>
                </a:cubicBezTo>
                <a:cubicBezTo>
                  <a:pt x="322588" y="1564942"/>
                  <a:pt x="390896" y="1563427"/>
                  <a:pt x="459180" y="1563411"/>
                </a:cubicBezTo>
                <a:cubicBezTo>
                  <a:pt x="483236" y="1563406"/>
                  <a:pt x="507311" y="1562248"/>
                  <a:pt x="531340" y="1560936"/>
                </a:cubicBezTo>
                <a:cubicBezTo>
                  <a:pt x="551225" y="1559849"/>
                  <a:pt x="571160" y="1558554"/>
                  <a:pt x="590888" y="1555951"/>
                </a:cubicBezTo>
                <a:cubicBezTo>
                  <a:pt x="631179" y="1550635"/>
                  <a:pt x="671338" y="1544328"/>
                  <a:pt x="710712" y="1533916"/>
                </a:cubicBezTo>
                <a:cubicBezTo>
                  <a:pt x="722630" y="1530764"/>
                  <a:pt x="724036" y="1528558"/>
                  <a:pt x="724356" y="1516144"/>
                </a:cubicBezTo>
                <a:cubicBezTo>
                  <a:pt x="724970" y="1492256"/>
                  <a:pt x="718637" y="1470245"/>
                  <a:pt x="707380" y="1449380"/>
                </a:cubicBezTo>
                <a:cubicBezTo>
                  <a:pt x="706259" y="1447304"/>
                  <a:pt x="706896" y="1444279"/>
                  <a:pt x="707050" y="1440881"/>
                </a:cubicBezTo>
                <a:cubicBezTo>
                  <a:pt x="722747" y="1457101"/>
                  <a:pt x="728653" y="1477963"/>
                  <a:pt x="731479" y="1500017"/>
                </a:cubicBezTo>
                <a:cubicBezTo>
                  <a:pt x="731992" y="1504029"/>
                  <a:pt x="731781" y="1508135"/>
                  <a:pt x="731163" y="1513759"/>
                </a:cubicBezTo>
                <a:cubicBezTo>
                  <a:pt x="730831" y="1517468"/>
                  <a:pt x="731241" y="1519618"/>
                  <a:pt x="731650" y="1521766"/>
                </a:cubicBezTo>
                <a:cubicBezTo>
                  <a:pt x="733191" y="1529956"/>
                  <a:pt x="730165" y="1535242"/>
                  <a:pt x="721896" y="1537319"/>
                </a:cubicBezTo>
                <a:cubicBezTo>
                  <a:pt x="700520" y="1542690"/>
                  <a:pt x="679367" y="1549248"/>
                  <a:pt x="657740" y="1553265"/>
                </a:cubicBezTo>
                <a:cubicBezTo>
                  <a:pt x="608220" y="1562464"/>
                  <a:pt x="558146" y="1566701"/>
                  <a:pt x="507791" y="1568943"/>
                </a:cubicBezTo>
                <a:cubicBezTo>
                  <a:pt x="426738" y="1572552"/>
                  <a:pt x="345677" y="1572161"/>
                  <a:pt x="264676" y="1569724"/>
                </a:cubicBezTo>
                <a:cubicBezTo>
                  <a:pt x="203800" y="1567891"/>
                  <a:pt x="142882" y="1563907"/>
                  <a:pt x="82743" y="1553254"/>
                </a:cubicBezTo>
                <a:cubicBezTo>
                  <a:pt x="60647" y="1549341"/>
                  <a:pt x="38739" y="1544032"/>
                  <a:pt x="17072" y="1538153"/>
                </a:cubicBezTo>
                <a:cubicBezTo>
                  <a:pt x="1381" y="1533894"/>
                  <a:pt x="-938" y="1529341"/>
                  <a:pt x="275" y="1513030"/>
                </a:cubicBezTo>
                <a:cubicBezTo>
                  <a:pt x="2146" y="1487871"/>
                  <a:pt x="7321" y="1463566"/>
                  <a:pt x="20923" y="1441861"/>
                </a:cubicBezTo>
                <a:cubicBezTo>
                  <a:pt x="24812" y="1435656"/>
                  <a:pt x="24566" y="1429699"/>
                  <a:pt x="23045" y="1423105"/>
                </a:cubicBezTo>
                <a:cubicBezTo>
                  <a:pt x="16952" y="1396684"/>
                  <a:pt x="19689" y="1370924"/>
                  <a:pt x="30564" y="1346289"/>
                </a:cubicBezTo>
                <a:cubicBezTo>
                  <a:pt x="39621" y="1325774"/>
                  <a:pt x="54481" y="1309709"/>
                  <a:pt x="71350" y="1295039"/>
                </a:cubicBezTo>
                <a:cubicBezTo>
                  <a:pt x="85712" y="1282550"/>
                  <a:pt x="99164" y="1268932"/>
                  <a:pt x="112257" y="1255093"/>
                </a:cubicBezTo>
                <a:cubicBezTo>
                  <a:pt x="122891" y="1243852"/>
                  <a:pt x="124955" y="1230879"/>
                  <a:pt x="115864" y="1217271"/>
                </a:cubicBezTo>
                <a:cubicBezTo>
                  <a:pt x="114506" y="1215239"/>
                  <a:pt x="113304" y="1213078"/>
                  <a:pt x="112256" y="1210870"/>
                </a:cubicBezTo>
                <a:cubicBezTo>
                  <a:pt x="106526" y="1198808"/>
                  <a:pt x="109052" y="1191969"/>
                  <a:pt x="121141" y="1186548"/>
                </a:cubicBezTo>
                <a:cubicBezTo>
                  <a:pt x="126274" y="1184246"/>
                  <a:pt x="131201" y="1180803"/>
                  <a:pt x="136571" y="1179850"/>
                </a:cubicBezTo>
                <a:cubicBezTo>
                  <a:pt x="149372" y="1177579"/>
                  <a:pt x="154892" y="1168948"/>
                  <a:pt x="158281" y="1157879"/>
                </a:cubicBezTo>
                <a:cubicBezTo>
                  <a:pt x="168288" y="1125194"/>
                  <a:pt x="179178" y="1092742"/>
                  <a:pt x="187986" y="1059736"/>
                </a:cubicBezTo>
                <a:cubicBezTo>
                  <a:pt x="198666" y="1019713"/>
                  <a:pt x="207813" y="979272"/>
                  <a:pt x="217119" y="938896"/>
                </a:cubicBezTo>
                <a:cubicBezTo>
                  <a:pt x="220491" y="924267"/>
                  <a:pt x="222410" y="909302"/>
                  <a:pt x="225792" y="893236"/>
                </a:cubicBezTo>
                <a:cubicBezTo>
                  <a:pt x="226444" y="890644"/>
                  <a:pt x="226297" y="889307"/>
                  <a:pt x="226150" y="887970"/>
                </a:cubicBezTo>
                <a:cubicBezTo>
                  <a:pt x="227450" y="877085"/>
                  <a:pt x="228750" y="866198"/>
                  <a:pt x="230782" y="853969"/>
                </a:cubicBezTo>
                <a:cubicBezTo>
                  <a:pt x="231271" y="851270"/>
                  <a:pt x="231029" y="849914"/>
                  <a:pt x="230786" y="848558"/>
                </a:cubicBezTo>
                <a:cubicBezTo>
                  <a:pt x="231390" y="840967"/>
                  <a:pt x="231993" y="833375"/>
                  <a:pt x="233315" y="824438"/>
                </a:cubicBezTo>
                <a:cubicBezTo>
                  <a:pt x="233755" y="821744"/>
                  <a:pt x="233477" y="820397"/>
                  <a:pt x="233199" y="819050"/>
                </a:cubicBezTo>
                <a:cubicBezTo>
                  <a:pt x="233786" y="807422"/>
                  <a:pt x="234374" y="795794"/>
                  <a:pt x="235848" y="782380"/>
                </a:cubicBezTo>
                <a:cubicBezTo>
                  <a:pt x="237047" y="760099"/>
                  <a:pt x="237488" y="739606"/>
                  <a:pt x="237465" y="719113"/>
                </a:cubicBezTo>
                <a:cubicBezTo>
                  <a:pt x="237463" y="717127"/>
                  <a:pt x="234595" y="715144"/>
                  <a:pt x="233057" y="713160"/>
                </a:cubicBezTo>
                <a:cubicBezTo>
                  <a:pt x="223043" y="711630"/>
                  <a:pt x="212881" y="710731"/>
                  <a:pt x="203056" y="708405"/>
                </a:cubicBezTo>
                <a:cubicBezTo>
                  <a:pt x="191716" y="705720"/>
                  <a:pt x="180144" y="702931"/>
                  <a:pt x="169628" y="698106"/>
                </a:cubicBezTo>
                <a:cubicBezTo>
                  <a:pt x="154505" y="691164"/>
                  <a:pt x="148867" y="675179"/>
                  <a:pt x="153237" y="659111"/>
                </a:cubicBezTo>
                <a:cubicBezTo>
                  <a:pt x="157196" y="644561"/>
                  <a:pt x="166649" y="634454"/>
                  <a:pt x="178365" y="626008"/>
                </a:cubicBezTo>
                <a:cubicBezTo>
                  <a:pt x="182258" y="623202"/>
                  <a:pt x="186579" y="620992"/>
                  <a:pt x="191885" y="617513"/>
                </a:cubicBezTo>
                <a:cubicBezTo>
                  <a:pt x="194882" y="614532"/>
                  <a:pt x="197062" y="612583"/>
                  <a:pt x="193681" y="610098"/>
                </a:cubicBezTo>
                <a:cubicBezTo>
                  <a:pt x="193381" y="595591"/>
                  <a:pt x="202034" y="586776"/>
                  <a:pt x="213301" y="579885"/>
                </a:cubicBezTo>
                <a:cubicBezTo>
                  <a:pt x="218517" y="576695"/>
                  <a:pt x="224270" y="574393"/>
                  <a:pt x="229635" y="571429"/>
                </a:cubicBezTo>
                <a:cubicBezTo>
                  <a:pt x="232401" y="569901"/>
                  <a:pt x="235344" y="568225"/>
                  <a:pt x="237351" y="565882"/>
                </a:cubicBezTo>
                <a:cubicBezTo>
                  <a:pt x="243193" y="559063"/>
                  <a:pt x="242021" y="554779"/>
                  <a:pt x="233673" y="550926"/>
                </a:cubicBezTo>
                <a:cubicBezTo>
                  <a:pt x="231458" y="549904"/>
                  <a:pt x="229049" y="549314"/>
                  <a:pt x="226799" y="548359"/>
                </a:cubicBezTo>
                <a:cubicBezTo>
                  <a:pt x="215108" y="543398"/>
                  <a:pt x="211118" y="532802"/>
                  <a:pt x="218639" y="522664"/>
                </a:cubicBezTo>
                <a:cubicBezTo>
                  <a:pt x="223647" y="515913"/>
                  <a:pt x="222661" y="511633"/>
                  <a:pt x="218264" y="505463"/>
                </a:cubicBezTo>
                <a:cubicBezTo>
                  <a:pt x="203255" y="484407"/>
                  <a:pt x="190650" y="461993"/>
                  <a:pt x="181762" y="437574"/>
                </a:cubicBezTo>
                <a:cubicBezTo>
                  <a:pt x="163530" y="387483"/>
                  <a:pt x="165826" y="338057"/>
                  <a:pt x="185971" y="289069"/>
                </a:cubicBezTo>
                <a:cubicBezTo>
                  <a:pt x="202921" y="247851"/>
                  <a:pt x="226229" y="210377"/>
                  <a:pt x="253787" y="175580"/>
                </a:cubicBezTo>
                <a:cubicBezTo>
                  <a:pt x="271814" y="152817"/>
                  <a:pt x="290973" y="130951"/>
                  <a:pt x="309639" y="108695"/>
                </a:cubicBezTo>
                <a:cubicBezTo>
                  <a:pt x="312744" y="104993"/>
                  <a:pt x="315922" y="101352"/>
                  <a:pt x="318061" y="98855"/>
                </a:cubicBezTo>
                <a:cubicBezTo>
                  <a:pt x="313257" y="88362"/>
                  <a:pt x="308695" y="79376"/>
                  <a:pt x="304967" y="70056"/>
                </a:cubicBezTo>
                <a:cubicBezTo>
                  <a:pt x="297146" y="50504"/>
                  <a:pt x="303366" y="33481"/>
                  <a:pt x="317012" y="19436"/>
                </a:cubicBezTo>
                <a:cubicBezTo>
                  <a:pt x="344741" y="-9105"/>
                  <a:pt x="393463" y="-3345"/>
                  <a:pt x="415542" y="18221"/>
                </a:cubicBezTo>
                <a:cubicBezTo>
                  <a:pt x="429559" y="31914"/>
                  <a:pt x="438373" y="56968"/>
                  <a:pt x="423203" y="82660"/>
                </a:cubicBezTo>
                <a:cubicBezTo>
                  <a:pt x="420306" y="87568"/>
                  <a:pt x="417047" y="92262"/>
                  <a:pt x="413361" y="97975"/>
                </a:cubicBezTo>
                <a:cubicBezTo>
                  <a:pt x="416167" y="100932"/>
                  <a:pt x="418781" y="103940"/>
                  <a:pt x="421654" y="106676"/>
                </a:cubicBezTo>
                <a:cubicBezTo>
                  <a:pt x="446372" y="130213"/>
                  <a:pt x="467902" y="156374"/>
                  <a:pt x="487032" y="184632"/>
                </a:cubicBezTo>
                <a:cubicBezTo>
                  <a:pt x="492374" y="192525"/>
                  <a:pt x="493990" y="199495"/>
                  <a:pt x="489213" y="208238"/>
                </a:cubicBezTo>
                <a:cubicBezTo>
                  <a:pt x="484525" y="216819"/>
                  <a:pt x="481033" y="226053"/>
                  <a:pt x="476520" y="235738"/>
                </a:cubicBezTo>
                <a:cubicBezTo>
                  <a:pt x="472168" y="236089"/>
                  <a:pt x="471165" y="234358"/>
                  <a:pt x="472850" y="230703"/>
                </a:cubicBezTo>
                <a:cubicBezTo>
                  <a:pt x="476263" y="223297"/>
                  <a:pt x="479344" y="215738"/>
                  <a:pt x="482723" y="208315"/>
                </a:cubicBezTo>
                <a:cubicBezTo>
                  <a:pt x="486016" y="201080"/>
                  <a:pt x="485571" y="194961"/>
                  <a:pt x="480764" y="187916"/>
                </a:cubicBezTo>
                <a:cubicBezTo>
                  <a:pt x="459995" y="157475"/>
                  <a:pt x="437234" y="128912"/>
                  <a:pt x="408519" y="105475"/>
                </a:cubicBezTo>
                <a:cubicBezTo>
                  <a:pt x="403555" y="101425"/>
                  <a:pt x="403835" y="96489"/>
                  <a:pt x="408625" y="89203"/>
                </a:cubicBezTo>
                <a:cubicBezTo>
                  <a:pt x="412416" y="83438"/>
                  <a:pt x="416045" y="77562"/>
                  <a:pt x="419600" y="71648"/>
                </a:cubicBezTo>
                <a:cubicBezTo>
                  <a:pt x="421349" y="68739"/>
                  <a:pt x="422717" y="65537"/>
                  <a:pt x="418792" y="63179"/>
                </a:cubicBezTo>
                <a:cubicBezTo>
                  <a:pt x="414834" y="60801"/>
                  <a:pt x="413218" y="63883"/>
                  <a:pt x="410943" y="66417"/>
                </a:cubicBezTo>
                <a:cubicBezTo>
                  <a:pt x="407706" y="70022"/>
                  <a:pt x="404330" y="74045"/>
                  <a:pt x="400140" y="76155"/>
                </a:cubicBezTo>
                <a:cubicBezTo>
                  <a:pt x="381561" y="85507"/>
                  <a:pt x="360821" y="72312"/>
                  <a:pt x="360599" y="51379"/>
                </a:cubicBezTo>
                <a:cubicBezTo>
                  <a:pt x="360556" y="47292"/>
                  <a:pt x="360308" y="43152"/>
                  <a:pt x="360842" y="39128"/>
                </a:cubicBezTo>
                <a:cubicBezTo>
                  <a:pt x="361447" y="34568"/>
                  <a:pt x="362880" y="30159"/>
                  <a:pt x="369470" y="30960"/>
                </a:cubicBezTo>
                <a:cubicBezTo>
                  <a:pt x="368501" y="37551"/>
                  <a:pt x="365745" y="43300"/>
                  <a:pt x="365613" y="49108"/>
                </a:cubicBezTo>
                <a:cubicBezTo>
                  <a:pt x="365328" y="61659"/>
                  <a:pt x="377498" y="72522"/>
                  <a:pt x="389468" y="71608"/>
                </a:cubicBezTo>
                <a:cubicBezTo>
                  <a:pt x="401478" y="70690"/>
                  <a:pt x="410127" y="59637"/>
                  <a:pt x="408822" y="46613"/>
                </a:cubicBezTo>
                <a:cubicBezTo>
                  <a:pt x="408542" y="43819"/>
                  <a:pt x="407521" y="41100"/>
                  <a:pt x="406842" y="38347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7" name="Free-form: Shape 46">
            <a:extLst>
              <a:ext uri="{FF2B5EF4-FFF2-40B4-BE49-F238E27FC236}">
                <a16:creationId xmlns:a16="http://schemas.microsoft.com/office/drawing/2014/main" id="{9826C235-7702-6208-474F-C05D245A2103}"/>
              </a:ext>
            </a:extLst>
          </p:cNvPr>
          <p:cNvSpPr/>
          <p:nvPr/>
        </p:nvSpPr>
        <p:spPr>
          <a:xfrm>
            <a:off x="6976799" y="2573528"/>
            <a:ext cx="91545" cy="184495"/>
          </a:xfrm>
          <a:custGeom>
            <a:avLst/>
            <a:gdLst>
              <a:gd name="csX0" fmla="*/ 96534 w 100699"/>
              <a:gd name="csY0" fmla="*/ 202912 h 202945"/>
              <a:gd name="csX1" fmla="*/ 91036 w 100699"/>
              <a:gd name="csY1" fmla="*/ 196780 h 202945"/>
              <a:gd name="csX2" fmla="*/ 93357 w 100699"/>
              <a:gd name="csY2" fmla="*/ 178731 h 202945"/>
              <a:gd name="csX3" fmla="*/ 75903 w 100699"/>
              <a:gd name="csY3" fmla="*/ 106029 h 202945"/>
              <a:gd name="csX4" fmla="*/ 72780 w 100699"/>
              <a:gd name="csY4" fmla="*/ 102473 h 202945"/>
              <a:gd name="csX5" fmla="*/ 10982 w 100699"/>
              <a:gd name="csY5" fmla="*/ 41414 h 202945"/>
              <a:gd name="csX6" fmla="*/ 676 w 100699"/>
              <a:gd name="csY6" fmla="*/ 2936 h 202945"/>
              <a:gd name="csX7" fmla="*/ 5198 w 100699"/>
              <a:gd name="csY7" fmla="*/ 0 h 202945"/>
              <a:gd name="csX8" fmla="*/ 15435 w 100699"/>
              <a:gd name="csY8" fmla="*/ 35855 h 202945"/>
              <a:gd name="csX9" fmla="*/ 44498 w 100699"/>
              <a:gd name="csY9" fmla="*/ 63833 h 202945"/>
              <a:gd name="csX10" fmla="*/ 81385 w 100699"/>
              <a:gd name="csY10" fmla="*/ 106005 h 202945"/>
              <a:gd name="csX11" fmla="*/ 98950 w 100699"/>
              <a:gd name="csY11" fmla="*/ 190063 h 202945"/>
              <a:gd name="csX12" fmla="*/ 96534 w 100699"/>
              <a:gd name="csY12" fmla="*/ 202912 h 20294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</a:cxnLst>
            <a:rect l="l" t="t" r="r" b="b"/>
            <a:pathLst>
              <a:path w="100699" h="202945">
                <a:moveTo>
                  <a:pt x="96534" y="202912"/>
                </a:moveTo>
                <a:cubicBezTo>
                  <a:pt x="91699" y="203291"/>
                  <a:pt x="90650" y="200377"/>
                  <a:pt x="91036" y="196780"/>
                </a:cubicBezTo>
                <a:cubicBezTo>
                  <a:pt x="91685" y="190750"/>
                  <a:pt x="92933" y="184771"/>
                  <a:pt x="93357" y="178731"/>
                </a:cubicBezTo>
                <a:cubicBezTo>
                  <a:pt x="95183" y="152694"/>
                  <a:pt x="86034" y="129222"/>
                  <a:pt x="75903" y="106029"/>
                </a:cubicBezTo>
                <a:cubicBezTo>
                  <a:pt x="75300" y="104650"/>
                  <a:pt x="73904" y="103585"/>
                  <a:pt x="72780" y="102473"/>
                </a:cubicBezTo>
                <a:cubicBezTo>
                  <a:pt x="52199" y="82101"/>
                  <a:pt x="31673" y="61673"/>
                  <a:pt x="10982" y="41414"/>
                </a:cubicBezTo>
                <a:cubicBezTo>
                  <a:pt x="-119" y="30544"/>
                  <a:pt x="-1041" y="17093"/>
                  <a:pt x="676" y="2936"/>
                </a:cubicBezTo>
                <a:cubicBezTo>
                  <a:pt x="808" y="1852"/>
                  <a:pt x="2922" y="1010"/>
                  <a:pt x="5198" y="0"/>
                </a:cubicBezTo>
                <a:cubicBezTo>
                  <a:pt x="2043" y="13772"/>
                  <a:pt x="5665" y="25821"/>
                  <a:pt x="15435" y="35855"/>
                </a:cubicBezTo>
                <a:cubicBezTo>
                  <a:pt x="24811" y="45486"/>
                  <a:pt x="35301" y="54047"/>
                  <a:pt x="44498" y="63833"/>
                </a:cubicBezTo>
                <a:cubicBezTo>
                  <a:pt x="57293" y="77447"/>
                  <a:pt x="70760" y="90773"/>
                  <a:pt x="81385" y="106005"/>
                </a:cubicBezTo>
                <a:cubicBezTo>
                  <a:pt x="98896" y="131109"/>
                  <a:pt x="103759" y="159808"/>
                  <a:pt x="98950" y="190063"/>
                </a:cubicBezTo>
                <a:cubicBezTo>
                  <a:pt x="98311" y="194082"/>
                  <a:pt x="97697" y="198105"/>
                  <a:pt x="96534" y="202912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8" name="Free-form: Shape 47">
            <a:extLst>
              <a:ext uri="{FF2B5EF4-FFF2-40B4-BE49-F238E27FC236}">
                <a16:creationId xmlns:a16="http://schemas.microsoft.com/office/drawing/2014/main" id="{5C76A7B3-FE0B-F2D6-E4BB-053A6DCD7948}"/>
              </a:ext>
            </a:extLst>
          </p:cNvPr>
          <p:cNvSpPr/>
          <p:nvPr/>
        </p:nvSpPr>
        <p:spPr>
          <a:xfrm>
            <a:off x="6635515" y="2109492"/>
            <a:ext cx="3739" cy="60936"/>
          </a:xfrm>
          <a:custGeom>
            <a:avLst/>
            <a:gdLst>
              <a:gd name="csX0" fmla="*/ 0 w 4113"/>
              <a:gd name="csY0" fmla="*/ 0 h 67029"/>
              <a:gd name="csX1" fmla="*/ 4113 w 4113"/>
              <a:gd name="csY1" fmla="*/ 4824 h 67029"/>
              <a:gd name="csX2" fmla="*/ 2662 w 4113"/>
              <a:gd name="csY2" fmla="*/ 67030 h 67029"/>
              <a:gd name="csX3" fmla="*/ 631 w 4113"/>
              <a:gd name="csY3" fmla="*/ 55883 h 67029"/>
              <a:gd name="csX4" fmla="*/ 0 w 4113"/>
              <a:gd name="csY4" fmla="*/ 0 h 6702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4113" h="67029">
                <a:moveTo>
                  <a:pt x="0" y="0"/>
                </a:moveTo>
                <a:cubicBezTo>
                  <a:pt x="1242" y="855"/>
                  <a:pt x="4111" y="2838"/>
                  <a:pt x="4113" y="4824"/>
                </a:cubicBezTo>
                <a:cubicBezTo>
                  <a:pt x="4135" y="25317"/>
                  <a:pt x="3695" y="45810"/>
                  <a:pt x="2662" y="67030"/>
                </a:cubicBezTo>
                <a:cubicBezTo>
                  <a:pt x="1483" y="63799"/>
                  <a:pt x="680" y="59846"/>
                  <a:pt x="631" y="55883"/>
                </a:cubicBezTo>
                <a:cubicBezTo>
                  <a:pt x="404" y="37633"/>
                  <a:pt x="388" y="19381"/>
                  <a:pt x="0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9" name="Free-form: Shape 48">
            <a:extLst>
              <a:ext uri="{FF2B5EF4-FFF2-40B4-BE49-F238E27FC236}">
                <a16:creationId xmlns:a16="http://schemas.microsoft.com/office/drawing/2014/main" id="{B356A0E9-FEFC-465A-0DDE-565A3503693B}"/>
              </a:ext>
            </a:extLst>
          </p:cNvPr>
          <p:cNvSpPr/>
          <p:nvPr/>
        </p:nvSpPr>
        <p:spPr>
          <a:xfrm>
            <a:off x="7087904" y="2837292"/>
            <a:ext cx="1060" cy="5803"/>
          </a:xfrm>
          <a:custGeom>
            <a:avLst/>
            <a:gdLst>
              <a:gd name="csX0" fmla="*/ 1130 w 1165"/>
              <a:gd name="csY0" fmla="*/ 6385 h 6384"/>
              <a:gd name="csX1" fmla="*/ 49 w 1165"/>
              <a:gd name="csY1" fmla="*/ 0 h 6384"/>
              <a:gd name="csX2" fmla="*/ 1130 w 1165"/>
              <a:gd name="csY2" fmla="*/ 6385 h 638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165" h="6384">
                <a:moveTo>
                  <a:pt x="1130" y="6385"/>
                </a:moveTo>
                <a:cubicBezTo>
                  <a:pt x="260" y="4748"/>
                  <a:pt x="-149" y="2599"/>
                  <a:pt x="49" y="0"/>
                </a:cubicBezTo>
                <a:cubicBezTo>
                  <a:pt x="969" y="1658"/>
                  <a:pt x="1279" y="3765"/>
                  <a:pt x="1130" y="6385"/>
                </a:cubicBezTo>
                <a:close/>
              </a:path>
            </a:pathLst>
          </a:custGeom>
          <a:solidFill>
            <a:srgbClr val="939B9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0" name="Free-form: Shape 49">
            <a:extLst>
              <a:ext uri="{FF2B5EF4-FFF2-40B4-BE49-F238E27FC236}">
                <a16:creationId xmlns:a16="http://schemas.microsoft.com/office/drawing/2014/main" id="{D7D523CB-A69C-13C7-2FF8-1AF5EF556FDF}"/>
              </a:ext>
            </a:extLst>
          </p:cNvPr>
          <p:cNvSpPr/>
          <p:nvPr/>
        </p:nvSpPr>
        <p:spPr>
          <a:xfrm>
            <a:off x="7058175" y="2763197"/>
            <a:ext cx="5440" cy="2491"/>
          </a:xfrm>
          <a:custGeom>
            <a:avLst/>
            <a:gdLst>
              <a:gd name="csX0" fmla="*/ 5985 w 5984"/>
              <a:gd name="csY0" fmla="*/ 1832 h 2740"/>
              <a:gd name="csX1" fmla="*/ 0 w 5984"/>
              <a:gd name="csY1" fmla="*/ 2740 h 2740"/>
              <a:gd name="csX2" fmla="*/ 4930 w 5984"/>
              <a:gd name="csY2" fmla="*/ 0 h 2740"/>
              <a:gd name="csX3" fmla="*/ 5985 w 5984"/>
              <a:gd name="csY3" fmla="*/ 1832 h 274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</a:cxnLst>
            <a:rect l="l" t="t" r="r" b="b"/>
            <a:pathLst>
              <a:path w="5984" h="2740">
                <a:moveTo>
                  <a:pt x="5985" y="1832"/>
                </a:moveTo>
                <a:cubicBezTo>
                  <a:pt x="3992" y="2553"/>
                  <a:pt x="1996" y="2646"/>
                  <a:pt x="0" y="2740"/>
                </a:cubicBezTo>
                <a:cubicBezTo>
                  <a:pt x="1398" y="1830"/>
                  <a:pt x="2796" y="920"/>
                  <a:pt x="4930" y="0"/>
                </a:cubicBezTo>
                <a:cubicBezTo>
                  <a:pt x="5772" y="394"/>
                  <a:pt x="5877" y="799"/>
                  <a:pt x="5985" y="1832"/>
                </a:cubicBezTo>
                <a:close/>
              </a:path>
            </a:pathLst>
          </a:custGeom>
          <a:solidFill>
            <a:srgbClr val="8E9395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1" name="Free-form: Shape 50">
            <a:extLst>
              <a:ext uri="{FF2B5EF4-FFF2-40B4-BE49-F238E27FC236}">
                <a16:creationId xmlns:a16="http://schemas.microsoft.com/office/drawing/2014/main" id="{A5A2C788-1E0A-258E-9C51-283747C45616}"/>
              </a:ext>
            </a:extLst>
          </p:cNvPr>
          <p:cNvSpPr/>
          <p:nvPr/>
        </p:nvSpPr>
        <p:spPr>
          <a:xfrm>
            <a:off x="6598288" y="2015312"/>
            <a:ext cx="2645" cy="5625"/>
          </a:xfrm>
          <a:custGeom>
            <a:avLst/>
            <a:gdLst>
              <a:gd name="csX0" fmla="*/ 815 w 2910"/>
              <a:gd name="csY0" fmla="*/ 0 h 6187"/>
              <a:gd name="csX1" fmla="*/ 113 w 2910"/>
              <a:gd name="csY1" fmla="*/ 6187 h 6187"/>
              <a:gd name="csX2" fmla="*/ 815 w 2910"/>
              <a:gd name="csY2" fmla="*/ 0 h 618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2910" h="6187">
                <a:moveTo>
                  <a:pt x="815" y="0"/>
                </a:moveTo>
                <a:cubicBezTo>
                  <a:pt x="4660" y="1891"/>
                  <a:pt x="2480" y="3840"/>
                  <a:pt x="113" y="6187"/>
                </a:cubicBezTo>
                <a:cubicBezTo>
                  <a:pt x="-172" y="4565"/>
                  <a:pt x="89" y="2579"/>
                  <a:pt x="815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2" name="Free-form: Shape 51">
            <a:extLst>
              <a:ext uri="{FF2B5EF4-FFF2-40B4-BE49-F238E27FC236}">
                <a16:creationId xmlns:a16="http://schemas.microsoft.com/office/drawing/2014/main" id="{EC60113D-057C-6D2C-5793-020E4F69FAAA}"/>
              </a:ext>
            </a:extLst>
          </p:cNvPr>
          <p:cNvSpPr/>
          <p:nvPr/>
        </p:nvSpPr>
        <p:spPr>
          <a:xfrm>
            <a:off x="6632703" y="2231886"/>
            <a:ext cx="770" cy="3664"/>
          </a:xfrm>
          <a:custGeom>
            <a:avLst/>
            <a:gdLst>
              <a:gd name="csX0" fmla="*/ 106 w 847"/>
              <a:gd name="csY0" fmla="*/ 0 h 4030"/>
              <a:gd name="csX1" fmla="*/ 732 w 847"/>
              <a:gd name="csY1" fmla="*/ 4031 h 4030"/>
              <a:gd name="csX2" fmla="*/ 106 w 847"/>
              <a:gd name="csY2" fmla="*/ 0 h 403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7" h="4030">
                <a:moveTo>
                  <a:pt x="106" y="0"/>
                </a:moveTo>
                <a:cubicBezTo>
                  <a:pt x="770" y="990"/>
                  <a:pt x="1013" y="2346"/>
                  <a:pt x="732" y="4031"/>
                </a:cubicBezTo>
                <a:cubicBezTo>
                  <a:pt x="34" y="3029"/>
                  <a:pt x="-141" y="1697"/>
                  <a:pt x="106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3" name="Free-form: Shape 52">
            <a:extLst>
              <a:ext uri="{FF2B5EF4-FFF2-40B4-BE49-F238E27FC236}">
                <a16:creationId xmlns:a16="http://schemas.microsoft.com/office/drawing/2014/main" id="{B4C28094-D4D3-EC20-A42C-08A836FEEE96}"/>
              </a:ext>
            </a:extLst>
          </p:cNvPr>
          <p:cNvSpPr/>
          <p:nvPr/>
        </p:nvSpPr>
        <p:spPr>
          <a:xfrm>
            <a:off x="6628379" y="2267680"/>
            <a:ext cx="703" cy="3631"/>
          </a:xfrm>
          <a:custGeom>
            <a:avLst/>
            <a:gdLst>
              <a:gd name="csX0" fmla="*/ 195 w 774"/>
              <a:gd name="csY0" fmla="*/ 0 h 3994"/>
              <a:gd name="csX1" fmla="*/ 575 w 774"/>
              <a:gd name="csY1" fmla="*/ 3994 h 3994"/>
              <a:gd name="csX2" fmla="*/ 195 w 774"/>
              <a:gd name="csY2" fmla="*/ 0 h 399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774" h="3994">
                <a:moveTo>
                  <a:pt x="195" y="0"/>
                </a:moveTo>
                <a:cubicBezTo>
                  <a:pt x="794" y="1011"/>
                  <a:pt x="941" y="2348"/>
                  <a:pt x="575" y="3994"/>
                </a:cubicBezTo>
                <a:cubicBezTo>
                  <a:pt x="-44" y="2978"/>
                  <a:pt x="-151" y="1652"/>
                  <a:pt x="195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4" name="Free-form: Shape 53">
            <a:extLst>
              <a:ext uri="{FF2B5EF4-FFF2-40B4-BE49-F238E27FC236}">
                <a16:creationId xmlns:a16="http://schemas.microsoft.com/office/drawing/2014/main" id="{F30BE605-7A88-2958-210F-20EC9656DECC}"/>
              </a:ext>
            </a:extLst>
          </p:cNvPr>
          <p:cNvSpPr/>
          <p:nvPr/>
        </p:nvSpPr>
        <p:spPr>
          <a:xfrm>
            <a:off x="6634956" y="2205076"/>
            <a:ext cx="787" cy="3631"/>
          </a:xfrm>
          <a:custGeom>
            <a:avLst/>
            <a:gdLst>
              <a:gd name="csX0" fmla="*/ 71 w 865"/>
              <a:gd name="csY0" fmla="*/ 0 h 3995"/>
              <a:gd name="csX1" fmla="*/ 783 w 865"/>
              <a:gd name="csY1" fmla="*/ 3996 h 3995"/>
              <a:gd name="csX2" fmla="*/ 71 w 865"/>
              <a:gd name="csY2" fmla="*/ 0 h 399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65" h="3995">
                <a:moveTo>
                  <a:pt x="71" y="0"/>
                </a:moveTo>
                <a:cubicBezTo>
                  <a:pt x="740" y="963"/>
                  <a:pt x="1018" y="2311"/>
                  <a:pt x="783" y="3996"/>
                </a:cubicBezTo>
                <a:cubicBezTo>
                  <a:pt x="73" y="3017"/>
                  <a:pt x="-124" y="1701"/>
                  <a:pt x="71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7" name="Free-form: Shape 56">
            <a:extLst>
              <a:ext uri="{FF2B5EF4-FFF2-40B4-BE49-F238E27FC236}">
                <a16:creationId xmlns:a16="http://schemas.microsoft.com/office/drawing/2014/main" id="{17DDE1FD-CADB-B1A2-0045-DA698E9DAD7D}"/>
              </a:ext>
            </a:extLst>
          </p:cNvPr>
          <p:cNvSpPr/>
          <p:nvPr/>
        </p:nvSpPr>
        <p:spPr>
          <a:xfrm>
            <a:off x="6753260" y="2109102"/>
            <a:ext cx="170236" cy="426821"/>
          </a:xfrm>
          <a:custGeom>
            <a:avLst/>
            <a:gdLst>
              <a:gd name="csX0" fmla="*/ 120604 w 187260"/>
              <a:gd name="csY0" fmla="*/ 222968 h 469503"/>
              <a:gd name="csX1" fmla="*/ 187261 w 187260"/>
              <a:gd name="csY1" fmla="*/ 469503 h 469503"/>
              <a:gd name="csX2" fmla="*/ 1253 w 187260"/>
              <a:gd name="csY2" fmla="*/ 466078 h 469503"/>
              <a:gd name="csX3" fmla="*/ 8 w 187260"/>
              <a:gd name="csY3" fmla="*/ 458101 h 469503"/>
              <a:gd name="csX4" fmla="*/ 4383 w 187260"/>
              <a:gd name="csY4" fmla="*/ 351443 h 469503"/>
              <a:gd name="csX5" fmla="*/ 4615 w 187260"/>
              <a:gd name="csY5" fmla="*/ 346536 h 469503"/>
              <a:gd name="csX6" fmla="*/ 7935 w 187260"/>
              <a:gd name="csY6" fmla="*/ 233648 h 469503"/>
              <a:gd name="csX7" fmla="*/ 10461 w 187260"/>
              <a:gd name="csY7" fmla="*/ 128112 h 469503"/>
              <a:gd name="csX8" fmla="*/ 12461 w 187260"/>
              <a:gd name="csY8" fmla="*/ 12750 h 469503"/>
              <a:gd name="csX9" fmla="*/ 13165 w 187260"/>
              <a:gd name="csY9" fmla="*/ 4285 h 469503"/>
              <a:gd name="csX10" fmla="*/ 102327 w 187260"/>
              <a:gd name="csY10" fmla="*/ 0 h 469503"/>
              <a:gd name="csX11" fmla="*/ 106229 w 187260"/>
              <a:gd name="csY11" fmla="*/ 111321 h 469503"/>
              <a:gd name="csX12" fmla="*/ 120604 w 187260"/>
              <a:gd name="csY12" fmla="*/ 222968 h 46950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</a:cxnLst>
            <a:rect l="l" t="t" r="r" b="b"/>
            <a:pathLst>
              <a:path w="187260" h="469503">
                <a:moveTo>
                  <a:pt x="120604" y="222968"/>
                </a:moveTo>
                <a:cubicBezTo>
                  <a:pt x="135383" y="307129"/>
                  <a:pt x="159464" y="387725"/>
                  <a:pt x="187261" y="469503"/>
                </a:cubicBezTo>
                <a:cubicBezTo>
                  <a:pt x="124460" y="468347"/>
                  <a:pt x="63286" y="467220"/>
                  <a:pt x="1253" y="466078"/>
                </a:cubicBezTo>
                <a:cubicBezTo>
                  <a:pt x="818" y="463442"/>
                  <a:pt x="-95" y="460752"/>
                  <a:pt x="8" y="458101"/>
                </a:cubicBezTo>
                <a:cubicBezTo>
                  <a:pt x="1383" y="422545"/>
                  <a:pt x="2900" y="386994"/>
                  <a:pt x="4383" y="351443"/>
                </a:cubicBezTo>
                <a:cubicBezTo>
                  <a:pt x="4451" y="349807"/>
                  <a:pt x="4566" y="348172"/>
                  <a:pt x="4615" y="346536"/>
                </a:cubicBezTo>
                <a:cubicBezTo>
                  <a:pt x="5732" y="308907"/>
                  <a:pt x="6921" y="271280"/>
                  <a:pt x="7935" y="233648"/>
                </a:cubicBezTo>
                <a:cubicBezTo>
                  <a:pt x="8883" y="198472"/>
                  <a:pt x="9752" y="163293"/>
                  <a:pt x="10461" y="128112"/>
                </a:cubicBezTo>
                <a:cubicBezTo>
                  <a:pt x="11237" y="89660"/>
                  <a:pt x="11781" y="51204"/>
                  <a:pt x="12461" y="12750"/>
                </a:cubicBezTo>
                <a:cubicBezTo>
                  <a:pt x="12503" y="10363"/>
                  <a:pt x="12848" y="7981"/>
                  <a:pt x="13165" y="4285"/>
                </a:cubicBezTo>
                <a:cubicBezTo>
                  <a:pt x="42856" y="2858"/>
                  <a:pt x="72082" y="1454"/>
                  <a:pt x="102327" y="0"/>
                </a:cubicBezTo>
                <a:cubicBezTo>
                  <a:pt x="103499" y="37348"/>
                  <a:pt x="103207" y="74470"/>
                  <a:pt x="106229" y="111321"/>
                </a:cubicBezTo>
                <a:cubicBezTo>
                  <a:pt x="109263" y="148326"/>
                  <a:pt x="115599" y="185060"/>
                  <a:pt x="120604" y="222968"/>
                </a:cubicBezTo>
                <a:close/>
              </a:path>
            </a:pathLst>
          </a:custGeom>
          <a:solidFill>
            <a:srgbClr val="FDFDFD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8" name="Free-form: Shape 57">
            <a:extLst>
              <a:ext uri="{FF2B5EF4-FFF2-40B4-BE49-F238E27FC236}">
                <a16:creationId xmlns:a16="http://schemas.microsoft.com/office/drawing/2014/main" id="{66D78456-7228-F2A8-C619-3D935C59E3C1}"/>
              </a:ext>
            </a:extLst>
          </p:cNvPr>
          <p:cNvSpPr/>
          <p:nvPr/>
        </p:nvSpPr>
        <p:spPr>
          <a:xfrm>
            <a:off x="6752067" y="2575854"/>
            <a:ext cx="284824" cy="179974"/>
          </a:xfrm>
          <a:custGeom>
            <a:avLst/>
            <a:gdLst>
              <a:gd name="csX0" fmla="*/ 160234 w 313306"/>
              <a:gd name="csY0" fmla="*/ 197876 h 197971"/>
              <a:gd name="csX1" fmla="*/ 544 w 313306"/>
              <a:gd name="csY1" fmla="*/ 197972 h 197971"/>
              <a:gd name="csX2" fmla="*/ 3466 w 313306"/>
              <a:gd name="csY2" fmla="*/ 104326 h 197971"/>
              <a:gd name="csX3" fmla="*/ 0 w 313306"/>
              <a:gd name="csY3" fmla="*/ 10720 h 197971"/>
              <a:gd name="csX4" fmla="*/ 5445 w 313306"/>
              <a:gd name="csY4" fmla="*/ 9282 h 197971"/>
              <a:gd name="csX5" fmla="*/ 71623 w 313306"/>
              <a:gd name="csY5" fmla="*/ 6885 h 197971"/>
              <a:gd name="csX6" fmla="*/ 187887 w 313306"/>
              <a:gd name="csY6" fmla="*/ 233 h 197971"/>
              <a:gd name="csX7" fmla="*/ 215297 w 313306"/>
              <a:gd name="csY7" fmla="*/ 163 h 197971"/>
              <a:gd name="csX8" fmla="*/ 243629 w 313306"/>
              <a:gd name="csY8" fmla="*/ 61389 h 197971"/>
              <a:gd name="csX9" fmla="*/ 270660 w 313306"/>
              <a:gd name="csY9" fmla="*/ 86342 h 197971"/>
              <a:gd name="csX10" fmla="*/ 313142 w 313306"/>
              <a:gd name="csY10" fmla="*/ 170098 h 197971"/>
              <a:gd name="csX11" fmla="*/ 313291 w 313306"/>
              <a:gd name="csY11" fmla="*/ 176231 h 197971"/>
              <a:gd name="csX12" fmla="*/ 312654 w 313306"/>
              <a:gd name="csY12" fmla="*/ 180738 h 197971"/>
              <a:gd name="csX13" fmla="*/ 279655 w 313306"/>
              <a:gd name="csY13" fmla="*/ 186226 h 197971"/>
              <a:gd name="csX14" fmla="*/ 167436 w 313306"/>
              <a:gd name="csY14" fmla="*/ 196805 h 197971"/>
              <a:gd name="csX15" fmla="*/ 160234 w 313306"/>
              <a:gd name="csY15" fmla="*/ 197876 h 19797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</a:cxnLst>
            <a:rect l="l" t="t" r="r" b="b"/>
            <a:pathLst>
              <a:path w="313306" h="197971">
                <a:moveTo>
                  <a:pt x="160234" y="197876"/>
                </a:moveTo>
                <a:cubicBezTo>
                  <a:pt x="106384" y="197972"/>
                  <a:pt x="53682" y="197972"/>
                  <a:pt x="544" y="197972"/>
                </a:cubicBezTo>
                <a:cubicBezTo>
                  <a:pt x="1602" y="166763"/>
                  <a:pt x="3550" y="135542"/>
                  <a:pt x="3466" y="104326"/>
                </a:cubicBezTo>
                <a:cubicBezTo>
                  <a:pt x="3383" y="73323"/>
                  <a:pt x="1255" y="42326"/>
                  <a:pt x="0" y="10720"/>
                </a:cubicBezTo>
                <a:cubicBezTo>
                  <a:pt x="1689" y="10255"/>
                  <a:pt x="3551" y="9355"/>
                  <a:pt x="5445" y="9282"/>
                </a:cubicBezTo>
                <a:cubicBezTo>
                  <a:pt x="27503" y="8435"/>
                  <a:pt x="49582" y="8030"/>
                  <a:pt x="71623" y="6885"/>
                </a:cubicBezTo>
                <a:cubicBezTo>
                  <a:pt x="110388" y="4872"/>
                  <a:pt x="149126" y="2333"/>
                  <a:pt x="187887" y="233"/>
                </a:cubicBezTo>
                <a:cubicBezTo>
                  <a:pt x="196749" y="-247"/>
                  <a:pt x="205660" y="163"/>
                  <a:pt x="215297" y="163"/>
                </a:cubicBezTo>
                <a:cubicBezTo>
                  <a:pt x="215450" y="25550"/>
                  <a:pt x="226120" y="45122"/>
                  <a:pt x="243629" y="61389"/>
                </a:cubicBezTo>
                <a:cubicBezTo>
                  <a:pt x="252615" y="69739"/>
                  <a:pt x="261099" y="78715"/>
                  <a:pt x="270660" y="86342"/>
                </a:cubicBezTo>
                <a:cubicBezTo>
                  <a:pt x="297676" y="107892"/>
                  <a:pt x="310731" y="136225"/>
                  <a:pt x="313142" y="170098"/>
                </a:cubicBezTo>
                <a:cubicBezTo>
                  <a:pt x="313287" y="172136"/>
                  <a:pt x="313335" y="174188"/>
                  <a:pt x="313291" y="176231"/>
                </a:cubicBezTo>
                <a:cubicBezTo>
                  <a:pt x="313265" y="177429"/>
                  <a:pt x="312966" y="178621"/>
                  <a:pt x="312654" y="180738"/>
                </a:cubicBezTo>
                <a:cubicBezTo>
                  <a:pt x="302343" y="185396"/>
                  <a:pt x="290736" y="185049"/>
                  <a:pt x="279655" y="186226"/>
                </a:cubicBezTo>
                <a:cubicBezTo>
                  <a:pt x="242295" y="190193"/>
                  <a:pt x="204847" y="193324"/>
                  <a:pt x="167436" y="196805"/>
                </a:cubicBezTo>
                <a:cubicBezTo>
                  <a:pt x="165405" y="196994"/>
                  <a:pt x="163399" y="197449"/>
                  <a:pt x="160234" y="197876"/>
                </a:cubicBezTo>
                <a:close/>
              </a:path>
            </a:pathLst>
          </a:custGeom>
          <a:solidFill>
            <a:srgbClr val="FDFEFE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9" name="Free-form: Shape 58">
            <a:extLst>
              <a:ext uri="{FF2B5EF4-FFF2-40B4-BE49-F238E27FC236}">
                <a16:creationId xmlns:a16="http://schemas.microsoft.com/office/drawing/2014/main" id="{B79A4933-24A6-EBAA-25E4-4104DD6D91EB}"/>
              </a:ext>
            </a:extLst>
          </p:cNvPr>
          <p:cNvSpPr/>
          <p:nvPr/>
        </p:nvSpPr>
        <p:spPr>
          <a:xfrm>
            <a:off x="6762810" y="1559270"/>
            <a:ext cx="149260" cy="361842"/>
          </a:xfrm>
          <a:custGeom>
            <a:avLst/>
            <a:gdLst>
              <a:gd name="csX0" fmla="*/ 22609 w 164186"/>
              <a:gd name="csY0" fmla="*/ 398026 h 398026"/>
              <a:gd name="csX1" fmla="*/ 16884 w 164186"/>
              <a:gd name="csY1" fmla="*/ 390515 h 398026"/>
              <a:gd name="csX2" fmla="*/ 9661 w 164186"/>
              <a:gd name="csY2" fmla="*/ 328443 h 398026"/>
              <a:gd name="csX3" fmla="*/ 534 w 164186"/>
              <a:gd name="csY3" fmla="*/ 196369 h 398026"/>
              <a:gd name="csX4" fmla="*/ 1243 w 164186"/>
              <a:gd name="csY4" fmla="*/ 82293 h 398026"/>
              <a:gd name="csX5" fmla="*/ 2245 w 164186"/>
              <a:gd name="csY5" fmla="*/ 43023 h 398026"/>
              <a:gd name="csX6" fmla="*/ 4587 w 164186"/>
              <a:gd name="csY6" fmla="*/ 0 h 398026"/>
              <a:gd name="csX7" fmla="*/ 12341 w 164186"/>
              <a:gd name="csY7" fmla="*/ 3872 h 398026"/>
              <a:gd name="csX8" fmla="*/ 85914 w 164186"/>
              <a:gd name="csY8" fmla="*/ 78943 h 398026"/>
              <a:gd name="csX9" fmla="*/ 87893 w 164186"/>
              <a:gd name="csY9" fmla="*/ 99117 h 398026"/>
              <a:gd name="csX10" fmla="*/ 35459 w 164186"/>
              <a:gd name="csY10" fmla="*/ 207346 h 398026"/>
              <a:gd name="csX11" fmla="*/ 32223 w 164186"/>
              <a:gd name="csY11" fmla="*/ 213959 h 398026"/>
              <a:gd name="csX12" fmla="*/ 39509 w 164186"/>
              <a:gd name="csY12" fmla="*/ 242056 h 398026"/>
              <a:gd name="csX13" fmla="*/ 69474 w 164186"/>
              <a:gd name="csY13" fmla="*/ 237019 h 398026"/>
              <a:gd name="csX14" fmla="*/ 89101 w 164186"/>
              <a:gd name="csY14" fmla="*/ 208870 h 398026"/>
              <a:gd name="csX15" fmla="*/ 121716 w 164186"/>
              <a:gd name="csY15" fmla="*/ 158357 h 398026"/>
              <a:gd name="csX16" fmla="*/ 129330 w 164186"/>
              <a:gd name="csY16" fmla="*/ 148165 h 398026"/>
              <a:gd name="csX17" fmla="*/ 137171 w 164186"/>
              <a:gd name="csY17" fmla="*/ 159989 h 398026"/>
              <a:gd name="csX18" fmla="*/ 163812 w 164186"/>
              <a:gd name="csY18" fmla="*/ 273175 h 398026"/>
              <a:gd name="csX19" fmla="*/ 118151 w 164186"/>
              <a:gd name="csY19" fmla="*/ 383442 h 398026"/>
              <a:gd name="csX20" fmla="*/ 92325 w 164186"/>
              <a:gd name="csY20" fmla="*/ 395173 h 398026"/>
              <a:gd name="csX21" fmla="*/ 22609 w 164186"/>
              <a:gd name="csY21" fmla="*/ 398026 h 39802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</a:cxnLst>
            <a:rect l="l" t="t" r="r" b="b"/>
            <a:pathLst>
              <a:path w="164186" h="398026">
                <a:moveTo>
                  <a:pt x="22609" y="398026"/>
                </a:moveTo>
                <a:cubicBezTo>
                  <a:pt x="19898" y="395489"/>
                  <a:pt x="17229" y="393154"/>
                  <a:pt x="16884" y="390515"/>
                </a:cubicBezTo>
                <a:cubicBezTo>
                  <a:pt x="14183" y="369861"/>
                  <a:pt x="11326" y="349196"/>
                  <a:pt x="9661" y="328443"/>
                </a:cubicBezTo>
                <a:cubicBezTo>
                  <a:pt x="6132" y="284452"/>
                  <a:pt x="2125" y="240448"/>
                  <a:pt x="534" y="196369"/>
                </a:cubicBezTo>
                <a:cubicBezTo>
                  <a:pt x="-837" y="158401"/>
                  <a:pt x="816" y="120322"/>
                  <a:pt x="1243" y="82293"/>
                </a:cubicBezTo>
                <a:cubicBezTo>
                  <a:pt x="1389" y="69201"/>
                  <a:pt x="1708" y="56105"/>
                  <a:pt x="2245" y="43023"/>
                </a:cubicBezTo>
                <a:cubicBezTo>
                  <a:pt x="2815" y="29160"/>
                  <a:pt x="3738" y="15312"/>
                  <a:pt x="4587" y="0"/>
                </a:cubicBezTo>
                <a:cubicBezTo>
                  <a:pt x="7809" y="1586"/>
                  <a:pt x="10279" y="2436"/>
                  <a:pt x="12341" y="3872"/>
                </a:cubicBezTo>
                <a:cubicBezTo>
                  <a:pt x="41601" y="24248"/>
                  <a:pt x="64069" y="51269"/>
                  <a:pt x="85914" y="78943"/>
                </a:cubicBezTo>
                <a:cubicBezTo>
                  <a:pt x="91106" y="85520"/>
                  <a:pt x="91706" y="91406"/>
                  <a:pt x="87893" y="99117"/>
                </a:cubicBezTo>
                <a:cubicBezTo>
                  <a:pt x="70127" y="135051"/>
                  <a:pt x="52890" y="171246"/>
                  <a:pt x="35459" y="207346"/>
                </a:cubicBezTo>
                <a:cubicBezTo>
                  <a:pt x="34391" y="209557"/>
                  <a:pt x="33130" y="211686"/>
                  <a:pt x="32223" y="213959"/>
                </a:cubicBezTo>
                <a:cubicBezTo>
                  <a:pt x="27471" y="225873"/>
                  <a:pt x="30154" y="236086"/>
                  <a:pt x="39509" y="242056"/>
                </a:cubicBezTo>
                <a:cubicBezTo>
                  <a:pt x="48880" y="248038"/>
                  <a:pt x="61705" y="246477"/>
                  <a:pt x="69474" y="237019"/>
                </a:cubicBezTo>
                <a:cubicBezTo>
                  <a:pt x="76712" y="228205"/>
                  <a:pt x="82824" y="218436"/>
                  <a:pt x="89101" y="208870"/>
                </a:cubicBezTo>
                <a:cubicBezTo>
                  <a:pt x="100096" y="192114"/>
                  <a:pt x="110806" y="175170"/>
                  <a:pt x="121716" y="158357"/>
                </a:cubicBezTo>
                <a:cubicBezTo>
                  <a:pt x="123679" y="155333"/>
                  <a:pt x="126029" y="152559"/>
                  <a:pt x="129330" y="148165"/>
                </a:cubicBezTo>
                <a:cubicBezTo>
                  <a:pt x="132450" y="152828"/>
                  <a:pt x="135175" y="156216"/>
                  <a:pt x="137171" y="159989"/>
                </a:cubicBezTo>
                <a:cubicBezTo>
                  <a:pt x="155891" y="195388"/>
                  <a:pt x="166343" y="232905"/>
                  <a:pt x="163812" y="273175"/>
                </a:cubicBezTo>
                <a:cubicBezTo>
                  <a:pt x="161183" y="314982"/>
                  <a:pt x="144984" y="351430"/>
                  <a:pt x="118151" y="383442"/>
                </a:cubicBezTo>
                <a:cubicBezTo>
                  <a:pt x="111214" y="391718"/>
                  <a:pt x="102452" y="394716"/>
                  <a:pt x="92325" y="395173"/>
                </a:cubicBezTo>
                <a:cubicBezTo>
                  <a:pt x="69461" y="396207"/>
                  <a:pt x="46593" y="397123"/>
                  <a:pt x="22609" y="398026"/>
                </a:cubicBezTo>
                <a:close/>
              </a:path>
            </a:pathLst>
          </a:custGeom>
          <a:solidFill>
            <a:srgbClr val="FCFDFD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0" name="Free-form: Shape 59">
            <a:extLst>
              <a:ext uri="{FF2B5EF4-FFF2-40B4-BE49-F238E27FC236}">
                <a16:creationId xmlns:a16="http://schemas.microsoft.com/office/drawing/2014/main" id="{495C0F8D-E0AC-1DC3-89B1-506BDECA6F72}"/>
              </a:ext>
            </a:extLst>
          </p:cNvPr>
          <p:cNvSpPr/>
          <p:nvPr/>
        </p:nvSpPr>
        <p:spPr>
          <a:xfrm>
            <a:off x="6748703" y="2785061"/>
            <a:ext cx="305850" cy="64961"/>
          </a:xfrm>
          <a:custGeom>
            <a:avLst/>
            <a:gdLst>
              <a:gd name="csX0" fmla="*/ 105937 w 336434"/>
              <a:gd name="csY0" fmla="*/ 71458 h 71457"/>
              <a:gd name="csX1" fmla="*/ 3534 w 336434"/>
              <a:gd name="csY1" fmla="*/ 69115 h 71457"/>
              <a:gd name="csX2" fmla="*/ 1296 w 336434"/>
              <a:gd name="csY2" fmla="*/ 17910 h 71457"/>
              <a:gd name="csX3" fmla="*/ 14032 w 336434"/>
              <a:gd name="csY3" fmla="*/ 17908 h 71457"/>
              <a:gd name="csX4" fmla="*/ 102444 w 336434"/>
              <a:gd name="csY4" fmla="*/ 17433 h 71457"/>
              <a:gd name="csX5" fmla="*/ 284561 w 336434"/>
              <a:gd name="csY5" fmla="*/ 3564 h 71457"/>
              <a:gd name="csX6" fmla="*/ 311323 w 336434"/>
              <a:gd name="csY6" fmla="*/ 224 h 71457"/>
              <a:gd name="csX7" fmla="*/ 324313 w 336434"/>
              <a:gd name="csY7" fmla="*/ 6639 h 71457"/>
              <a:gd name="csX8" fmla="*/ 336434 w 336434"/>
              <a:gd name="csY8" fmla="*/ 46484 h 71457"/>
              <a:gd name="csX9" fmla="*/ 105937 w 336434"/>
              <a:gd name="csY9" fmla="*/ 71458 h 7145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336434" h="71457">
                <a:moveTo>
                  <a:pt x="105937" y="71458"/>
                </a:moveTo>
                <a:cubicBezTo>
                  <a:pt x="70820" y="70678"/>
                  <a:pt x="36930" y="69891"/>
                  <a:pt x="3534" y="69115"/>
                </a:cubicBezTo>
                <a:cubicBezTo>
                  <a:pt x="-81" y="59433"/>
                  <a:pt x="-1094" y="35337"/>
                  <a:pt x="1296" y="17910"/>
                </a:cubicBezTo>
                <a:cubicBezTo>
                  <a:pt x="5366" y="17910"/>
                  <a:pt x="9699" y="17923"/>
                  <a:pt x="14032" y="17908"/>
                </a:cubicBezTo>
                <a:cubicBezTo>
                  <a:pt x="43505" y="17812"/>
                  <a:pt x="73011" y="18557"/>
                  <a:pt x="102444" y="17433"/>
                </a:cubicBezTo>
                <a:cubicBezTo>
                  <a:pt x="163306" y="15109"/>
                  <a:pt x="224166" y="12264"/>
                  <a:pt x="284561" y="3564"/>
                </a:cubicBezTo>
                <a:cubicBezTo>
                  <a:pt x="293458" y="2283"/>
                  <a:pt x="302438" y="1575"/>
                  <a:pt x="311323" y="224"/>
                </a:cubicBezTo>
                <a:cubicBezTo>
                  <a:pt x="317371" y="-696"/>
                  <a:pt x="321247" y="1177"/>
                  <a:pt x="324313" y="6639"/>
                </a:cubicBezTo>
                <a:cubicBezTo>
                  <a:pt x="330512" y="17683"/>
                  <a:pt x="335236" y="31679"/>
                  <a:pt x="336434" y="46484"/>
                </a:cubicBezTo>
                <a:cubicBezTo>
                  <a:pt x="261124" y="64059"/>
                  <a:pt x="184356" y="69587"/>
                  <a:pt x="105937" y="71458"/>
                </a:cubicBezTo>
                <a:close/>
              </a:path>
            </a:pathLst>
          </a:custGeom>
          <a:solidFill>
            <a:srgbClr val="FCFCFC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1" name="Free-form: Shape 60">
            <a:extLst>
              <a:ext uri="{FF2B5EF4-FFF2-40B4-BE49-F238E27FC236}">
                <a16:creationId xmlns:a16="http://schemas.microsoft.com/office/drawing/2014/main" id="{E2E117DE-36A2-521F-9F5E-24B8ABD66332}"/>
              </a:ext>
            </a:extLst>
          </p:cNvPr>
          <p:cNvSpPr/>
          <p:nvPr/>
        </p:nvSpPr>
        <p:spPr>
          <a:xfrm>
            <a:off x="6762260" y="1954337"/>
            <a:ext cx="120683" cy="63097"/>
          </a:xfrm>
          <a:custGeom>
            <a:avLst/>
            <a:gdLst>
              <a:gd name="csX0" fmla="*/ 5051 w 132751"/>
              <a:gd name="csY0" fmla="*/ 7534 h 69406"/>
              <a:gd name="csX1" fmla="*/ 10615 w 132751"/>
              <a:gd name="csY1" fmla="*/ 3077 h 69406"/>
              <a:gd name="csX2" fmla="*/ 26541 w 132751"/>
              <a:gd name="csY2" fmla="*/ 2752 h 69406"/>
              <a:gd name="csX3" fmla="*/ 87728 w 132751"/>
              <a:gd name="csY3" fmla="*/ 89 h 69406"/>
              <a:gd name="csX4" fmla="*/ 101400 w 132751"/>
              <a:gd name="csY4" fmla="*/ 62 h 69406"/>
              <a:gd name="csX5" fmla="*/ 102924 w 132751"/>
              <a:gd name="csY5" fmla="*/ 4800 h 69406"/>
              <a:gd name="csX6" fmla="*/ 121469 w 132751"/>
              <a:gd name="csY6" fmla="*/ 43062 h 69406"/>
              <a:gd name="csX7" fmla="*/ 132751 w 132751"/>
              <a:gd name="csY7" fmla="*/ 65240 h 69406"/>
              <a:gd name="csX8" fmla="*/ 0 w 132751"/>
              <a:gd name="csY8" fmla="*/ 69406 h 69406"/>
              <a:gd name="csX9" fmla="*/ 5051 w 132751"/>
              <a:gd name="csY9" fmla="*/ 7534 h 6940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132751" h="69406">
                <a:moveTo>
                  <a:pt x="5051" y="7534"/>
                </a:moveTo>
                <a:cubicBezTo>
                  <a:pt x="6880" y="5272"/>
                  <a:pt x="8659" y="3268"/>
                  <a:pt x="10615" y="3077"/>
                </a:cubicBezTo>
                <a:cubicBezTo>
                  <a:pt x="15884" y="2564"/>
                  <a:pt x="21234" y="2972"/>
                  <a:pt x="26541" y="2752"/>
                </a:cubicBezTo>
                <a:cubicBezTo>
                  <a:pt x="46938" y="1911"/>
                  <a:pt x="67330" y="933"/>
                  <a:pt x="87728" y="89"/>
                </a:cubicBezTo>
                <a:cubicBezTo>
                  <a:pt x="92161" y="-94"/>
                  <a:pt x="96609" y="62"/>
                  <a:pt x="101400" y="62"/>
                </a:cubicBezTo>
                <a:cubicBezTo>
                  <a:pt x="101991" y="1827"/>
                  <a:pt x="102885" y="3302"/>
                  <a:pt x="102924" y="4800"/>
                </a:cubicBezTo>
                <a:cubicBezTo>
                  <a:pt x="103334" y="20376"/>
                  <a:pt x="108815" y="33165"/>
                  <a:pt x="121469" y="43062"/>
                </a:cubicBezTo>
                <a:cubicBezTo>
                  <a:pt x="127809" y="48021"/>
                  <a:pt x="132509" y="54869"/>
                  <a:pt x="132751" y="65240"/>
                </a:cubicBezTo>
                <a:cubicBezTo>
                  <a:pt x="88663" y="66624"/>
                  <a:pt x="45259" y="67986"/>
                  <a:pt x="0" y="69406"/>
                </a:cubicBezTo>
                <a:cubicBezTo>
                  <a:pt x="6474" y="48167"/>
                  <a:pt x="10658" y="28665"/>
                  <a:pt x="5051" y="7534"/>
                </a:cubicBezTo>
                <a:close/>
              </a:path>
            </a:pathLst>
          </a:custGeom>
          <a:solidFill>
            <a:srgbClr val="FBFCFB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2" name="Free-form: Shape 61">
            <a:extLst>
              <a:ext uri="{FF2B5EF4-FFF2-40B4-BE49-F238E27FC236}">
                <a16:creationId xmlns:a16="http://schemas.microsoft.com/office/drawing/2014/main" id="{6FE5DB5A-0DC2-C502-509B-05D76F6A9E7A}"/>
              </a:ext>
            </a:extLst>
          </p:cNvPr>
          <p:cNvSpPr/>
          <p:nvPr/>
        </p:nvSpPr>
        <p:spPr>
          <a:xfrm>
            <a:off x="6771897" y="2043951"/>
            <a:ext cx="150878" cy="35402"/>
          </a:xfrm>
          <a:custGeom>
            <a:avLst/>
            <a:gdLst>
              <a:gd name="csX0" fmla="*/ 80894 w 165965"/>
              <a:gd name="csY0" fmla="*/ 440 h 38942"/>
              <a:gd name="csX1" fmla="*/ 128629 w 165965"/>
              <a:gd name="csY1" fmla="*/ 5 h 38942"/>
              <a:gd name="csX2" fmla="*/ 155177 w 165965"/>
              <a:gd name="csY2" fmla="*/ 8091 h 38942"/>
              <a:gd name="csX3" fmla="*/ 164213 w 165965"/>
              <a:gd name="csY3" fmla="*/ 17723 h 38942"/>
              <a:gd name="csX4" fmla="*/ 159998 w 165965"/>
              <a:gd name="csY4" fmla="*/ 30717 h 38942"/>
              <a:gd name="csX5" fmla="*/ 146998 w 165965"/>
              <a:gd name="csY5" fmla="*/ 33737 h 38942"/>
              <a:gd name="csX6" fmla="*/ 12439 w 165965"/>
              <a:gd name="csY6" fmla="*/ 38914 h 38942"/>
              <a:gd name="csX7" fmla="*/ 0 w 165965"/>
              <a:gd name="csY7" fmla="*/ 38402 h 38942"/>
              <a:gd name="csX8" fmla="*/ 0 w 165965"/>
              <a:gd name="csY8" fmla="*/ 4598 h 38942"/>
              <a:gd name="csX9" fmla="*/ 80894 w 165965"/>
              <a:gd name="csY9" fmla="*/ 440 h 3894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165965" h="38942">
                <a:moveTo>
                  <a:pt x="80894" y="440"/>
                </a:moveTo>
                <a:cubicBezTo>
                  <a:pt x="97591" y="288"/>
                  <a:pt x="113111" y="227"/>
                  <a:pt x="128629" y="5"/>
                </a:cubicBezTo>
                <a:cubicBezTo>
                  <a:pt x="138376" y="-135"/>
                  <a:pt x="147226" y="2891"/>
                  <a:pt x="155177" y="8091"/>
                </a:cubicBezTo>
                <a:cubicBezTo>
                  <a:pt x="158779" y="10447"/>
                  <a:pt x="161992" y="14009"/>
                  <a:pt x="164213" y="17723"/>
                </a:cubicBezTo>
                <a:cubicBezTo>
                  <a:pt x="167602" y="23390"/>
                  <a:pt x="166013" y="28134"/>
                  <a:pt x="159998" y="30717"/>
                </a:cubicBezTo>
                <a:cubicBezTo>
                  <a:pt x="155963" y="32450"/>
                  <a:pt x="151384" y="33554"/>
                  <a:pt x="146998" y="33737"/>
                </a:cubicBezTo>
                <a:cubicBezTo>
                  <a:pt x="102152" y="35619"/>
                  <a:pt x="57295" y="37279"/>
                  <a:pt x="12439" y="38914"/>
                </a:cubicBezTo>
                <a:cubicBezTo>
                  <a:pt x="8467" y="39059"/>
                  <a:pt x="4472" y="38602"/>
                  <a:pt x="0" y="38402"/>
                </a:cubicBezTo>
                <a:cubicBezTo>
                  <a:pt x="0" y="27166"/>
                  <a:pt x="0" y="16774"/>
                  <a:pt x="0" y="4598"/>
                </a:cubicBezTo>
                <a:cubicBezTo>
                  <a:pt x="27063" y="3194"/>
                  <a:pt x="53389" y="1829"/>
                  <a:pt x="80894" y="440"/>
                </a:cubicBezTo>
                <a:close/>
              </a:path>
            </a:pathLst>
          </a:custGeom>
          <a:solidFill>
            <a:srgbClr val="FBFCFB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81" name="Segnaposto contenuto 4">
            <a:extLst>
              <a:ext uri="{FF2B5EF4-FFF2-40B4-BE49-F238E27FC236}">
                <a16:creationId xmlns:a16="http://schemas.microsoft.com/office/drawing/2014/main" id="{21398237-96F4-DA72-1220-3893D4290E3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914311" y="8973661"/>
            <a:ext cx="2889478" cy="2254148"/>
          </a:xfrm>
          <a:prstGeom prst="rect">
            <a:avLst/>
          </a:prstGeom>
        </p:spPr>
      </p:pic>
      <p:pic>
        <p:nvPicPr>
          <p:cNvPr id="82" name="Immagine 27">
            <a:extLst>
              <a:ext uri="{FF2B5EF4-FFF2-40B4-BE49-F238E27FC236}">
                <a16:creationId xmlns:a16="http://schemas.microsoft.com/office/drawing/2014/main" id="{94301D36-5164-BCE4-E6AD-2CA890EDB31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981982" y="8979257"/>
            <a:ext cx="2889478" cy="2254148"/>
          </a:xfrm>
          <a:prstGeom prst="rect">
            <a:avLst/>
          </a:prstGeom>
        </p:spPr>
      </p:pic>
      <p:sp>
        <p:nvSpPr>
          <p:cNvPr id="83" name="CasellaDiTesto 29">
            <a:extLst>
              <a:ext uri="{FF2B5EF4-FFF2-40B4-BE49-F238E27FC236}">
                <a16:creationId xmlns:a16="http://schemas.microsoft.com/office/drawing/2014/main" id="{FDA364A9-AA48-FBF0-B4CF-DD57E6BB5EE5}"/>
              </a:ext>
            </a:extLst>
          </p:cNvPr>
          <p:cNvSpPr txBox="1"/>
          <p:nvPr/>
        </p:nvSpPr>
        <p:spPr>
          <a:xfrm>
            <a:off x="2278755" y="8522177"/>
            <a:ext cx="216059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Before epcoritamab</a:t>
            </a:r>
          </a:p>
        </p:txBody>
      </p:sp>
      <p:sp>
        <p:nvSpPr>
          <p:cNvPr id="84" name="CasellaDiTesto 30">
            <a:extLst>
              <a:ext uri="{FF2B5EF4-FFF2-40B4-BE49-F238E27FC236}">
                <a16:creationId xmlns:a16="http://schemas.microsoft.com/office/drawing/2014/main" id="{70BCE45D-588C-9128-3203-AACD36D41F86}"/>
              </a:ext>
            </a:extLst>
          </p:cNvPr>
          <p:cNvSpPr txBox="1"/>
          <p:nvPr/>
        </p:nvSpPr>
        <p:spPr>
          <a:xfrm>
            <a:off x="4879665" y="8522177"/>
            <a:ext cx="308738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fter 3 cycles of epcoritamab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DE160721-0B43-057C-176D-EEFE6F8070F3}"/>
              </a:ext>
            </a:extLst>
          </p:cNvPr>
          <p:cNvSpPr txBox="1"/>
          <p:nvPr/>
        </p:nvSpPr>
        <p:spPr>
          <a:xfrm>
            <a:off x="6572282" y="7777176"/>
            <a:ext cx="4495763" cy="400110"/>
          </a:xfrm>
          <a:prstGeom prst="rect">
            <a:avLst/>
          </a:prstGeom>
          <a:noFill/>
        </p:spPr>
        <p:txBody>
          <a:bodyPr wrap="square" lIns="45720" tIns="45720" rIns="4572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1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Outcome: </a:t>
            </a: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2C5E77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live in CR for 18 months</a:t>
            </a:r>
          </a:p>
        </p:txBody>
      </p:sp>
      <p:cxnSp>
        <p:nvCxnSpPr>
          <p:cNvPr id="88" name="!!Straight Connector 87">
            <a:extLst>
              <a:ext uri="{FF2B5EF4-FFF2-40B4-BE49-F238E27FC236}">
                <a16:creationId xmlns:a16="http://schemas.microsoft.com/office/drawing/2014/main" id="{94E76676-CE0D-9CE5-A351-97D651C9164F}"/>
              </a:ext>
            </a:extLst>
          </p:cNvPr>
          <p:cNvCxnSpPr>
            <a:cxnSpLocks/>
          </p:cNvCxnSpPr>
          <p:nvPr/>
        </p:nvCxnSpPr>
        <p:spPr>
          <a:xfrm>
            <a:off x="563860" y="1410742"/>
            <a:ext cx="0" cy="2351636"/>
          </a:xfrm>
          <a:prstGeom prst="line">
            <a:avLst/>
          </a:prstGeom>
          <a:ln w="2857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F400A990-6538-25B9-E367-C5F0D272AD4B}"/>
              </a:ext>
            </a:extLst>
          </p:cNvPr>
          <p:cNvCxnSpPr>
            <a:cxnSpLocks/>
          </p:cNvCxnSpPr>
          <p:nvPr/>
        </p:nvCxnSpPr>
        <p:spPr>
          <a:xfrm>
            <a:off x="-11643613" y="1407009"/>
            <a:ext cx="12207473" cy="0"/>
          </a:xfrm>
          <a:prstGeom prst="line">
            <a:avLst/>
          </a:prstGeom>
          <a:ln w="2857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CasellaDiTesto 36">
            <a:extLst>
              <a:ext uri="{FF2B5EF4-FFF2-40B4-BE49-F238E27FC236}">
                <a16:creationId xmlns:a16="http://schemas.microsoft.com/office/drawing/2014/main" id="{432F2236-8702-6259-E81D-E12591CB2948}"/>
              </a:ext>
            </a:extLst>
          </p:cNvPr>
          <p:cNvSpPr txBox="1"/>
          <p:nvPr/>
        </p:nvSpPr>
        <p:spPr>
          <a:xfrm>
            <a:off x="2929831" y="4860977"/>
            <a:ext cx="2052151" cy="584775"/>
          </a:xfrm>
          <a:prstGeom prst="rect">
            <a:avLst/>
          </a:prstGeom>
          <a:solidFill>
            <a:srgbClr val="DEDEDC"/>
          </a:solidFill>
          <a:ln w="28575"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Gr 1 CRS, no other relevant AEs</a:t>
            </a:r>
          </a:p>
        </p:txBody>
      </p:sp>
      <p:sp>
        <p:nvSpPr>
          <p:cNvPr id="64" name="CasellaDiTesto 36">
            <a:extLst>
              <a:ext uri="{FF2B5EF4-FFF2-40B4-BE49-F238E27FC236}">
                <a16:creationId xmlns:a16="http://schemas.microsoft.com/office/drawing/2014/main" id="{8AEDEF22-9A6E-FCED-311A-6FC6A7B4421F}"/>
              </a:ext>
            </a:extLst>
          </p:cNvPr>
          <p:cNvSpPr txBox="1"/>
          <p:nvPr/>
        </p:nvSpPr>
        <p:spPr>
          <a:xfrm>
            <a:off x="8117462" y="9483167"/>
            <a:ext cx="3173696" cy="1754326"/>
          </a:xfrm>
          <a:prstGeom prst="rect">
            <a:avLst/>
          </a:prstGeom>
          <a:solidFill>
            <a:schemeClr val="accent4"/>
          </a:solidFill>
          <a:ln w="28575">
            <a:noFill/>
          </a:ln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RS Gr 1, day 15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o ICAN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epeated pulmonary infections (epcoritamab discontinued after 8 months of therapy)</a:t>
            </a:r>
          </a:p>
        </p:txBody>
      </p:sp>
    </p:spTree>
    <p:extLst>
      <p:ext uri="{BB962C8B-B14F-4D97-AF65-F5344CB8AC3E}">
        <p14:creationId xmlns:p14="http://schemas.microsoft.com/office/powerpoint/2010/main" val="3103956534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8E3CC94-6B1D-AC55-2433-0624D594C9E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66C8A092-E52E-CE07-DEF6-95C3AD2E48CF}"/>
              </a:ext>
            </a:extLst>
          </p:cNvPr>
          <p:cNvSpPr txBox="1"/>
          <p:nvPr/>
        </p:nvSpPr>
        <p:spPr>
          <a:xfrm>
            <a:off x="1264138" y="-1295607"/>
            <a:ext cx="863983" cy="3927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-Pola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8DB317A-2AF6-53C1-48DC-69EFD346E9C8}"/>
              </a:ext>
            </a:extLst>
          </p:cNvPr>
          <p:cNvSpPr txBox="1"/>
          <p:nvPr/>
        </p:nvSpPr>
        <p:spPr>
          <a:xfrm>
            <a:off x="2316533" y="-1264839"/>
            <a:ext cx="1434479" cy="3927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AR-T</a:t>
            </a:r>
          </a:p>
        </p:txBody>
      </p:sp>
      <p:sp>
        <p:nvSpPr>
          <p:cNvPr id="10" name="!!Oval 9">
            <a:extLst>
              <a:ext uri="{FF2B5EF4-FFF2-40B4-BE49-F238E27FC236}">
                <a16:creationId xmlns:a16="http://schemas.microsoft.com/office/drawing/2014/main" id="{EB397BC9-4E7C-82A0-86AB-A4DB744AC1DB}"/>
              </a:ext>
            </a:extLst>
          </p:cNvPr>
          <p:cNvSpPr/>
          <p:nvPr/>
        </p:nvSpPr>
        <p:spPr>
          <a:xfrm>
            <a:off x="2669883" y="-1381661"/>
            <a:ext cx="739960" cy="152189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" name="Free-form: Shape 10">
            <a:extLst>
              <a:ext uri="{FF2B5EF4-FFF2-40B4-BE49-F238E27FC236}">
                <a16:creationId xmlns:a16="http://schemas.microsoft.com/office/drawing/2014/main" id="{B7A0B48A-CB1C-6C1D-17F8-D79F03F6887B}"/>
              </a:ext>
            </a:extLst>
          </p:cNvPr>
          <p:cNvSpPr/>
          <p:nvPr/>
        </p:nvSpPr>
        <p:spPr>
          <a:xfrm>
            <a:off x="2749847" y="-2683238"/>
            <a:ext cx="650203" cy="1414846"/>
          </a:xfrm>
          <a:custGeom>
            <a:avLst/>
            <a:gdLst>
              <a:gd name="csX0" fmla="*/ 466852 w 715223"/>
              <a:gd name="csY0" fmla="*/ 229083 h 1556330"/>
              <a:gd name="csX1" fmla="*/ 462328 w 715223"/>
              <a:gd name="csY1" fmla="*/ 242604 h 1556330"/>
              <a:gd name="csX2" fmla="*/ 496944 w 715223"/>
              <a:gd name="csY2" fmla="*/ 204739 h 1556330"/>
              <a:gd name="csX3" fmla="*/ 534359 w 715223"/>
              <a:gd name="csY3" fmla="*/ 270960 h 1556330"/>
              <a:gd name="csX4" fmla="*/ 540589 w 715223"/>
              <a:gd name="csY4" fmla="*/ 445986 h 1556330"/>
              <a:gd name="csX5" fmla="*/ 509727 w 715223"/>
              <a:gd name="csY5" fmla="*/ 496924 h 1556330"/>
              <a:gd name="csX6" fmla="*/ 505366 w 715223"/>
              <a:gd name="csY6" fmla="*/ 511893 h 1556330"/>
              <a:gd name="csX7" fmla="*/ 501982 w 715223"/>
              <a:gd name="csY7" fmla="*/ 530377 h 1556330"/>
              <a:gd name="csX8" fmla="*/ 505678 w 715223"/>
              <a:gd name="csY8" fmla="*/ 556455 h 1556330"/>
              <a:gd name="csX9" fmla="*/ 526115 w 715223"/>
              <a:gd name="csY9" fmla="*/ 591784 h 1556330"/>
              <a:gd name="csX10" fmla="*/ 541579 w 715223"/>
              <a:gd name="csY10" fmla="*/ 612264 h 1556330"/>
              <a:gd name="csX11" fmla="*/ 569572 w 715223"/>
              <a:gd name="csY11" fmla="*/ 643441 h 1556330"/>
              <a:gd name="csX12" fmla="*/ 555234 w 715223"/>
              <a:gd name="csY12" fmla="*/ 688473 h 1556330"/>
              <a:gd name="csX13" fmla="*/ 513278 w 715223"/>
              <a:gd name="csY13" fmla="*/ 700556 h 1556330"/>
              <a:gd name="csX14" fmla="*/ 488559 w 715223"/>
              <a:gd name="csY14" fmla="*/ 702821 h 1556330"/>
              <a:gd name="csX15" fmla="*/ 488544 w 715223"/>
              <a:gd name="csY15" fmla="*/ 718085 h 1556330"/>
              <a:gd name="csX16" fmla="*/ 526561 w 715223"/>
              <a:gd name="csY16" fmla="*/ 1010212 h 1556330"/>
              <a:gd name="csX17" fmla="*/ 569986 w 715223"/>
              <a:gd name="csY17" fmla="*/ 1153317 h 1556330"/>
              <a:gd name="csX18" fmla="*/ 587389 w 715223"/>
              <a:gd name="csY18" fmla="*/ 1172173 h 1556330"/>
              <a:gd name="csX19" fmla="*/ 606286 w 715223"/>
              <a:gd name="csY19" fmla="*/ 1180891 h 1556330"/>
              <a:gd name="csX20" fmla="*/ 613400 w 715223"/>
              <a:gd name="csY20" fmla="*/ 1204260 h 1556330"/>
              <a:gd name="csX21" fmla="*/ 605350 w 715223"/>
              <a:gd name="csY21" fmla="*/ 1216760 h 1556330"/>
              <a:gd name="csX22" fmla="*/ 600268 w 715223"/>
              <a:gd name="csY22" fmla="*/ 1220273 h 1556330"/>
              <a:gd name="csX23" fmla="*/ 610574 w 715223"/>
              <a:gd name="csY23" fmla="*/ 1258750 h 1556330"/>
              <a:gd name="csX24" fmla="*/ 672371 w 715223"/>
              <a:gd name="csY24" fmla="*/ 1319810 h 1556330"/>
              <a:gd name="csX25" fmla="*/ 675494 w 715223"/>
              <a:gd name="csY25" fmla="*/ 1323366 h 1556330"/>
              <a:gd name="csX26" fmla="*/ 692949 w 715223"/>
              <a:gd name="csY26" fmla="*/ 1396068 h 1556330"/>
              <a:gd name="csX27" fmla="*/ 690628 w 715223"/>
              <a:gd name="csY27" fmla="*/ 1414117 h 1556330"/>
              <a:gd name="csX28" fmla="*/ 695588 w 715223"/>
              <a:gd name="csY28" fmla="*/ 1421035 h 1556330"/>
              <a:gd name="csX29" fmla="*/ 694353 w 715223"/>
              <a:gd name="csY29" fmla="*/ 1425190 h 1556330"/>
              <a:gd name="csX30" fmla="*/ 689106 w 715223"/>
              <a:gd name="csY30" fmla="*/ 1428714 h 1556330"/>
              <a:gd name="csX31" fmla="*/ 695093 w 715223"/>
              <a:gd name="csY31" fmla="*/ 1428433 h 1556330"/>
              <a:gd name="csX32" fmla="*/ 697643 w 715223"/>
              <a:gd name="csY32" fmla="*/ 1432864 h 1556330"/>
              <a:gd name="csX33" fmla="*/ 698207 w 715223"/>
              <a:gd name="csY33" fmla="*/ 1441988 h 1556330"/>
              <a:gd name="csX34" fmla="*/ 715183 w 715223"/>
              <a:gd name="csY34" fmla="*/ 1508752 h 1556330"/>
              <a:gd name="csX35" fmla="*/ 701540 w 715223"/>
              <a:gd name="csY35" fmla="*/ 1526524 h 1556330"/>
              <a:gd name="csX36" fmla="*/ 581715 w 715223"/>
              <a:gd name="csY36" fmla="*/ 1548559 h 1556330"/>
              <a:gd name="csX37" fmla="*/ 522168 w 715223"/>
              <a:gd name="csY37" fmla="*/ 1553543 h 1556330"/>
              <a:gd name="csX38" fmla="*/ 450008 w 715223"/>
              <a:gd name="csY38" fmla="*/ 1556019 h 1556330"/>
              <a:gd name="csX39" fmla="*/ 245169 w 715223"/>
              <a:gd name="csY39" fmla="*/ 1553749 h 1556330"/>
              <a:gd name="csX40" fmla="*/ 221854 w 715223"/>
              <a:gd name="csY40" fmla="*/ 1553306 h 1556330"/>
              <a:gd name="csX41" fmla="*/ 168405 w 715223"/>
              <a:gd name="csY41" fmla="*/ 1548828 h 1556330"/>
              <a:gd name="csX42" fmla="*/ 126970 w 715223"/>
              <a:gd name="csY42" fmla="*/ 1546091 h 1556330"/>
              <a:gd name="csX43" fmla="*/ 104053 w 715223"/>
              <a:gd name="csY43" fmla="*/ 1542912 h 1556330"/>
              <a:gd name="csX44" fmla="*/ 65625 w 715223"/>
              <a:gd name="csY44" fmla="*/ 1536401 h 1556330"/>
              <a:gd name="csX45" fmla="*/ 10909 w 715223"/>
              <a:gd name="csY45" fmla="*/ 1524010 h 1556330"/>
              <a:gd name="csX46" fmla="*/ 8 w 715223"/>
              <a:gd name="csY46" fmla="*/ 1509263 h 1556330"/>
              <a:gd name="csX47" fmla="*/ 21158 w 715223"/>
              <a:gd name="csY47" fmla="*/ 1433611 h 1556330"/>
              <a:gd name="csX48" fmla="*/ 23462 w 715223"/>
              <a:gd name="csY48" fmla="*/ 1418658 h 1556330"/>
              <a:gd name="csX49" fmla="*/ 19643 w 715223"/>
              <a:gd name="csY49" fmla="*/ 1382324 h 1556330"/>
              <a:gd name="csX50" fmla="*/ 49060 w 715223"/>
              <a:gd name="csY50" fmla="*/ 1311832 h 1556330"/>
              <a:gd name="csX51" fmla="*/ 109176 w 715223"/>
              <a:gd name="csY51" fmla="*/ 1254078 h 1556330"/>
              <a:gd name="csX52" fmla="*/ 118319 w 715223"/>
              <a:gd name="csY52" fmla="*/ 1214801 h 1556330"/>
              <a:gd name="csX53" fmla="*/ 113082 w 715223"/>
              <a:gd name="csY53" fmla="*/ 1201084 h 1556330"/>
              <a:gd name="csX54" fmla="*/ 120417 w 715223"/>
              <a:gd name="csY54" fmla="*/ 1183950 h 1556330"/>
              <a:gd name="csX55" fmla="*/ 135209 w 715223"/>
              <a:gd name="csY55" fmla="*/ 1178138 h 1556330"/>
              <a:gd name="csX56" fmla="*/ 156535 w 715223"/>
              <a:gd name="csY56" fmla="*/ 1156396 h 1556330"/>
              <a:gd name="csX57" fmla="*/ 185647 w 715223"/>
              <a:gd name="csY57" fmla="*/ 1061682 h 1556330"/>
              <a:gd name="csX58" fmla="*/ 201074 w 715223"/>
              <a:gd name="csY58" fmla="*/ 1005093 h 1556330"/>
              <a:gd name="csX59" fmla="*/ 213864 w 715223"/>
              <a:gd name="csY59" fmla="*/ 943040 h 1556330"/>
              <a:gd name="csX60" fmla="*/ 223580 w 715223"/>
              <a:gd name="csY60" fmla="*/ 884167 h 1556330"/>
              <a:gd name="csX61" fmla="*/ 228827 w 715223"/>
              <a:gd name="csY61" fmla="*/ 839382 h 1556330"/>
              <a:gd name="csX62" fmla="*/ 233251 w 715223"/>
              <a:gd name="csY62" fmla="*/ 794539 h 1556330"/>
              <a:gd name="csX63" fmla="*/ 233413 w 715223"/>
              <a:gd name="csY63" fmla="*/ 708554 h 1556330"/>
              <a:gd name="csX64" fmla="*/ 232253 w 715223"/>
              <a:gd name="csY64" fmla="*/ 699181 h 1556330"/>
              <a:gd name="csX65" fmla="*/ 192775 w 715223"/>
              <a:gd name="csY65" fmla="*/ 693131 h 1556330"/>
              <a:gd name="csX66" fmla="*/ 166222 w 715223"/>
              <a:gd name="csY66" fmla="*/ 684229 h 1556330"/>
              <a:gd name="csX67" fmla="*/ 153485 w 715223"/>
              <a:gd name="csY67" fmla="*/ 649704 h 1556330"/>
              <a:gd name="csX68" fmla="*/ 179302 w 715223"/>
              <a:gd name="csY68" fmla="*/ 621006 h 1556330"/>
              <a:gd name="csX69" fmla="*/ 192182 w 715223"/>
              <a:gd name="csY69" fmla="*/ 601675 h 1556330"/>
              <a:gd name="csX70" fmla="*/ 204894 w 715223"/>
              <a:gd name="csY70" fmla="*/ 583417 h 1556330"/>
              <a:gd name="csX71" fmla="*/ 233213 w 715223"/>
              <a:gd name="csY71" fmla="*/ 564393 h 1556330"/>
              <a:gd name="csX72" fmla="*/ 229725 w 715223"/>
              <a:gd name="csY72" fmla="*/ 538177 h 1556330"/>
              <a:gd name="csX73" fmla="*/ 218771 w 715223"/>
              <a:gd name="csY73" fmla="*/ 532633 h 1556330"/>
              <a:gd name="csX74" fmla="*/ 215183 w 715223"/>
              <a:gd name="csY74" fmla="*/ 521568 h 1556330"/>
              <a:gd name="csX75" fmla="*/ 223368 w 715223"/>
              <a:gd name="csY75" fmla="*/ 508901 h 1556330"/>
              <a:gd name="csX76" fmla="*/ 218372 w 715223"/>
              <a:gd name="csY76" fmla="*/ 498135 h 1556330"/>
              <a:gd name="csX77" fmla="*/ 181440 w 715223"/>
              <a:gd name="csY77" fmla="*/ 432308 h 1556330"/>
              <a:gd name="csX78" fmla="*/ 167535 w 715223"/>
              <a:gd name="csY78" fmla="*/ 349841 h 1556330"/>
              <a:gd name="csX79" fmla="*/ 193488 w 715223"/>
              <a:gd name="csY79" fmla="*/ 262518 h 1556330"/>
              <a:gd name="csX80" fmla="*/ 237748 w 715223"/>
              <a:gd name="csY80" fmla="*/ 190690 h 1556330"/>
              <a:gd name="csX81" fmla="*/ 309459 w 715223"/>
              <a:gd name="csY81" fmla="*/ 102623 h 1556330"/>
              <a:gd name="csX82" fmla="*/ 310459 w 715223"/>
              <a:gd name="csY82" fmla="*/ 78521 h 1556330"/>
              <a:gd name="csX83" fmla="*/ 300267 w 715223"/>
              <a:gd name="csY83" fmla="*/ 57856 h 1556330"/>
              <a:gd name="csX84" fmla="*/ 332242 w 715223"/>
              <a:gd name="csY84" fmla="*/ 4422 h 1556330"/>
              <a:gd name="csX85" fmla="*/ 384904 w 715223"/>
              <a:gd name="csY85" fmla="*/ 5551 h 1556330"/>
              <a:gd name="csX86" fmla="*/ 409773 w 715223"/>
              <a:gd name="csY86" fmla="*/ 26778 h 1556330"/>
              <a:gd name="csX87" fmla="*/ 407026 w 715223"/>
              <a:gd name="csY87" fmla="*/ 46052 h 1556330"/>
              <a:gd name="csX88" fmla="*/ 402771 w 715223"/>
              <a:gd name="csY88" fmla="*/ 30951 h 1556330"/>
              <a:gd name="csX89" fmla="*/ 397038 w 715223"/>
              <a:gd name="csY89" fmla="*/ 30361 h 1556330"/>
              <a:gd name="csX90" fmla="*/ 360694 w 715223"/>
              <a:gd name="csY90" fmla="*/ 22760 h 1556330"/>
              <a:gd name="csX91" fmla="*/ 351669 w 715223"/>
              <a:gd name="csY91" fmla="*/ 31736 h 1556330"/>
              <a:gd name="csX92" fmla="*/ 351426 w 715223"/>
              <a:gd name="csY92" fmla="*/ 43987 h 1556330"/>
              <a:gd name="csX93" fmla="*/ 390968 w 715223"/>
              <a:gd name="csY93" fmla="*/ 68762 h 1556330"/>
              <a:gd name="csX94" fmla="*/ 401770 w 715223"/>
              <a:gd name="csY94" fmla="*/ 59025 h 1556330"/>
              <a:gd name="csX95" fmla="*/ 409619 w 715223"/>
              <a:gd name="csY95" fmla="*/ 55786 h 1556330"/>
              <a:gd name="csX96" fmla="*/ 410427 w 715223"/>
              <a:gd name="csY96" fmla="*/ 64256 h 1556330"/>
              <a:gd name="csX97" fmla="*/ 399453 w 715223"/>
              <a:gd name="csY97" fmla="*/ 81811 h 1556330"/>
              <a:gd name="csX98" fmla="*/ 399346 w 715223"/>
              <a:gd name="csY98" fmla="*/ 98083 h 1556330"/>
              <a:gd name="csX99" fmla="*/ 471592 w 715223"/>
              <a:gd name="csY99" fmla="*/ 180524 h 1556330"/>
              <a:gd name="csX100" fmla="*/ 473550 w 715223"/>
              <a:gd name="csY100" fmla="*/ 200923 h 1556330"/>
              <a:gd name="csX101" fmla="*/ 463677 w 715223"/>
              <a:gd name="csY101" fmla="*/ 223311 h 1556330"/>
              <a:gd name="csX102" fmla="*/ 466852 w 715223"/>
              <a:gd name="csY102" fmla="*/ 229083 h 1556330"/>
              <a:gd name="csX103" fmla="*/ 474186 w 715223"/>
              <a:gd name="csY103" fmla="*/ 928382 h 1556330"/>
              <a:gd name="csX104" fmla="*/ 459927 w 715223"/>
              <a:gd name="csY104" fmla="*/ 817790 h 1556330"/>
              <a:gd name="csX105" fmla="*/ 456025 w 715223"/>
              <a:gd name="csY105" fmla="*/ 706469 h 1556330"/>
              <a:gd name="csX106" fmla="*/ 366863 w 715223"/>
              <a:gd name="csY106" fmla="*/ 710754 h 1556330"/>
              <a:gd name="csX107" fmla="*/ 366159 w 715223"/>
              <a:gd name="csY107" fmla="*/ 719219 h 1556330"/>
              <a:gd name="csX108" fmla="*/ 364159 w 715223"/>
              <a:gd name="csY108" fmla="*/ 834581 h 1556330"/>
              <a:gd name="csX109" fmla="*/ 361633 w 715223"/>
              <a:gd name="csY109" fmla="*/ 940117 h 1556330"/>
              <a:gd name="csX110" fmla="*/ 358313 w 715223"/>
              <a:gd name="csY110" fmla="*/ 1053005 h 1556330"/>
              <a:gd name="csX111" fmla="*/ 358081 w 715223"/>
              <a:gd name="csY111" fmla="*/ 1057912 h 1556330"/>
              <a:gd name="csX112" fmla="*/ 353706 w 715223"/>
              <a:gd name="csY112" fmla="*/ 1164570 h 1556330"/>
              <a:gd name="csX113" fmla="*/ 354951 w 715223"/>
              <a:gd name="csY113" fmla="*/ 1172547 h 1556330"/>
              <a:gd name="csX114" fmla="*/ 540959 w 715223"/>
              <a:gd name="csY114" fmla="*/ 1175972 h 1556330"/>
              <a:gd name="csX115" fmla="*/ 474186 w 715223"/>
              <a:gd name="csY115" fmla="*/ 928382 h 1556330"/>
              <a:gd name="csX116" fmla="*/ 513768 w 715223"/>
              <a:gd name="csY116" fmla="*/ 1417676 h 1556330"/>
              <a:gd name="csX117" fmla="*/ 519822 w 715223"/>
              <a:gd name="csY117" fmla="*/ 1416700 h 1556330"/>
              <a:gd name="csX118" fmla="*/ 632041 w 715223"/>
              <a:gd name="csY118" fmla="*/ 1406122 h 1556330"/>
              <a:gd name="csX119" fmla="*/ 665040 w 715223"/>
              <a:gd name="csY119" fmla="*/ 1400634 h 1556330"/>
              <a:gd name="csX120" fmla="*/ 665677 w 715223"/>
              <a:gd name="csY120" fmla="*/ 1396126 h 1556330"/>
              <a:gd name="csX121" fmla="*/ 665529 w 715223"/>
              <a:gd name="csY121" fmla="*/ 1389994 h 1556330"/>
              <a:gd name="csX122" fmla="*/ 623046 w 715223"/>
              <a:gd name="csY122" fmla="*/ 1306238 h 1556330"/>
              <a:gd name="csX123" fmla="*/ 596015 w 715223"/>
              <a:gd name="csY123" fmla="*/ 1281285 h 1556330"/>
              <a:gd name="csX124" fmla="*/ 567683 w 715223"/>
              <a:gd name="csY124" fmla="*/ 1220059 h 1556330"/>
              <a:gd name="csX125" fmla="*/ 540273 w 715223"/>
              <a:gd name="csY125" fmla="*/ 1220129 h 1556330"/>
              <a:gd name="csX126" fmla="*/ 424010 w 715223"/>
              <a:gd name="csY126" fmla="*/ 1226781 h 1556330"/>
              <a:gd name="csX127" fmla="*/ 357832 w 715223"/>
              <a:gd name="csY127" fmla="*/ 1229178 h 1556330"/>
              <a:gd name="csX128" fmla="*/ 352386 w 715223"/>
              <a:gd name="csY128" fmla="*/ 1230616 h 1556330"/>
              <a:gd name="csX129" fmla="*/ 355852 w 715223"/>
              <a:gd name="csY129" fmla="*/ 1324222 h 1556330"/>
              <a:gd name="csX130" fmla="*/ 352930 w 715223"/>
              <a:gd name="csY130" fmla="*/ 1417867 h 1556330"/>
              <a:gd name="csX131" fmla="*/ 513768 w 715223"/>
              <a:gd name="csY131" fmla="*/ 1417676 h 1556330"/>
              <a:gd name="csX132" fmla="*/ 387930 w 715223"/>
              <a:gd name="csY132" fmla="*/ 499741 h 1556330"/>
              <a:gd name="csX133" fmla="*/ 456529 w 715223"/>
              <a:gd name="csY133" fmla="*/ 496826 h 1556330"/>
              <a:gd name="csX134" fmla="*/ 482355 w 715223"/>
              <a:gd name="csY134" fmla="*/ 485095 h 1556330"/>
              <a:gd name="csX135" fmla="*/ 528016 w 715223"/>
              <a:gd name="csY135" fmla="*/ 374829 h 1556330"/>
              <a:gd name="csX136" fmla="*/ 501375 w 715223"/>
              <a:gd name="csY136" fmla="*/ 261643 h 1556330"/>
              <a:gd name="csX137" fmla="*/ 493534 w 715223"/>
              <a:gd name="csY137" fmla="*/ 249818 h 1556330"/>
              <a:gd name="csX138" fmla="*/ 485920 w 715223"/>
              <a:gd name="csY138" fmla="*/ 260010 h 1556330"/>
              <a:gd name="csX139" fmla="*/ 453305 w 715223"/>
              <a:gd name="csY139" fmla="*/ 310523 h 1556330"/>
              <a:gd name="csX140" fmla="*/ 433678 w 715223"/>
              <a:gd name="csY140" fmla="*/ 338672 h 1556330"/>
              <a:gd name="csX141" fmla="*/ 403713 w 715223"/>
              <a:gd name="csY141" fmla="*/ 343710 h 1556330"/>
              <a:gd name="csX142" fmla="*/ 396427 w 715223"/>
              <a:gd name="csY142" fmla="*/ 315612 h 1556330"/>
              <a:gd name="csX143" fmla="*/ 399663 w 715223"/>
              <a:gd name="csY143" fmla="*/ 309000 h 1556330"/>
              <a:gd name="csX144" fmla="*/ 452097 w 715223"/>
              <a:gd name="csY144" fmla="*/ 200770 h 1556330"/>
              <a:gd name="csX145" fmla="*/ 450118 w 715223"/>
              <a:gd name="csY145" fmla="*/ 180596 h 1556330"/>
              <a:gd name="csX146" fmla="*/ 376545 w 715223"/>
              <a:gd name="csY146" fmla="*/ 105525 h 1556330"/>
              <a:gd name="csX147" fmla="*/ 368791 w 715223"/>
              <a:gd name="csY147" fmla="*/ 101653 h 1556330"/>
              <a:gd name="csX148" fmla="*/ 366449 w 715223"/>
              <a:gd name="csY148" fmla="*/ 144676 h 1556330"/>
              <a:gd name="csX149" fmla="*/ 365447 w 715223"/>
              <a:gd name="csY149" fmla="*/ 183946 h 1556330"/>
              <a:gd name="csX150" fmla="*/ 364738 w 715223"/>
              <a:gd name="csY150" fmla="*/ 298022 h 1556330"/>
              <a:gd name="csX151" fmla="*/ 373865 w 715223"/>
              <a:gd name="csY151" fmla="*/ 430096 h 1556330"/>
              <a:gd name="csX152" fmla="*/ 381088 w 715223"/>
              <a:gd name="csY152" fmla="*/ 492169 h 1556330"/>
              <a:gd name="csX153" fmla="*/ 387930 w 715223"/>
              <a:gd name="csY153" fmla="*/ 499741 h 1556330"/>
              <a:gd name="csX154" fmla="*/ 455850 w 715223"/>
              <a:gd name="csY154" fmla="*/ 1521476 h 1556330"/>
              <a:gd name="csX155" fmla="*/ 685121 w 715223"/>
              <a:gd name="csY155" fmla="*/ 1496509 h 1556330"/>
              <a:gd name="csX156" fmla="*/ 672999 w 715223"/>
              <a:gd name="csY156" fmla="*/ 1456665 h 1556330"/>
              <a:gd name="csX157" fmla="*/ 660009 w 715223"/>
              <a:gd name="csY157" fmla="*/ 1450249 h 1556330"/>
              <a:gd name="csX158" fmla="*/ 633248 w 715223"/>
              <a:gd name="csY158" fmla="*/ 1453589 h 1556330"/>
              <a:gd name="csX159" fmla="*/ 451131 w 715223"/>
              <a:gd name="csY159" fmla="*/ 1467458 h 1556330"/>
              <a:gd name="csX160" fmla="*/ 362719 w 715223"/>
              <a:gd name="csY160" fmla="*/ 1467934 h 1556330"/>
              <a:gd name="csX161" fmla="*/ 349983 w 715223"/>
              <a:gd name="csY161" fmla="*/ 1467936 h 1556330"/>
              <a:gd name="csX162" fmla="*/ 352220 w 715223"/>
              <a:gd name="csY162" fmla="*/ 1519140 h 1556330"/>
              <a:gd name="csX163" fmla="*/ 455850 w 715223"/>
              <a:gd name="csY163" fmla="*/ 1521476 h 1556330"/>
              <a:gd name="csX164" fmla="*/ 368682 w 715223"/>
              <a:gd name="csY164" fmla="*/ 544846 h 1556330"/>
              <a:gd name="csX165" fmla="*/ 363600 w 715223"/>
              <a:gd name="csY165" fmla="*/ 605633 h 1556330"/>
              <a:gd name="csX166" fmla="*/ 496351 w 715223"/>
              <a:gd name="csY166" fmla="*/ 601466 h 1556330"/>
              <a:gd name="csX167" fmla="*/ 485068 w 715223"/>
              <a:gd name="csY167" fmla="*/ 579288 h 1556330"/>
              <a:gd name="csX168" fmla="*/ 466524 w 715223"/>
              <a:gd name="csY168" fmla="*/ 541026 h 1556330"/>
              <a:gd name="csX169" fmla="*/ 465000 w 715223"/>
              <a:gd name="csY169" fmla="*/ 536289 h 1556330"/>
              <a:gd name="csX170" fmla="*/ 451328 w 715223"/>
              <a:gd name="csY170" fmla="*/ 536316 h 1556330"/>
              <a:gd name="csX171" fmla="*/ 390140 w 715223"/>
              <a:gd name="csY171" fmla="*/ 538979 h 1556330"/>
              <a:gd name="csX172" fmla="*/ 374215 w 715223"/>
              <a:gd name="csY172" fmla="*/ 539303 h 1556330"/>
              <a:gd name="csX173" fmla="*/ 368682 w 715223"/>
              <a:gd name="csY173" fmla="*/ 544846 h 1556330"/>
              <a:gd name="csX174" fmla="*/ 453915 w 715223"/>
              <a:gd name="csY174" fmla="*/ 635267 h 1556330"/>
              <a:gd name="csX175" fmla="*/ 374200 w 715223"/>
              <a:gd name="csY175" fmla="*/ 639402 h 1556330"/>
              <a:gd name="csX176" fmla="*/ 374200 w 715223"/>
              <a:gd name="csY176" fmla="*/ 673206 h 1556330"/>
              <a:gd name="csX177" fmla="*/ 386639 w 715223"/>
              <a:gd name="csY177" fmla="*/ 673718 h 1556330"/>
              <a:gd name="csX178" fmla="*/ 521198 w 715223"/>
              <a:gd name="csY178" fmla="*/ 668541 h 1556330"/>
              <a:gd name="csX179" fmla="*/ 534198 w 715223"/>
              <a:gd name="csY179" fmla="*/ 665521 h 1556330"/>
              <a:gd name="csX180" fmla="*/ 538413 w 715223"/>
              <a:gd name="csY180" fmla="*/ 652526 h 1556330"/>
              <a:gd name="csX181" fmla="*/ 529377 w 715223"/>
              <a:gd name="csY181" fmla="*/ 642895 h 1556330"/>
              <a:gd name="csX182" fmla="*/ 502829 w 715223"/>
              <a:gd name="csY182" fmla="*/ 634808 h 1556330"/>
              <a:gd name="csX183" fmla="*/ 453915 w 715223"/>
              <a:gd name="csY183" fmla="*/ 635267 h 155633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  <a:cxn ang="0">
                <a:pos x="csX170" y="csY170"/>
              </a:cxn>
              <a:cxn ang="0">
                <a:pos x="csX171" y="csY171"/>
              </a:cxn>
              <a:cxn ang="0">
                <a:pos x="csX172" y="csY172"/>
              </a:cxn>
              <a:cxn ang="0">
                <a:pos x="csX173" y="csY173"/>
              </a:cxn>
              <a:cxn ang="0">
                <a:pos x="csX174" y="csY174"/>
              </a:cxn>
              <a:cxn ang="0">
                <a:pos x="csX175" y="csY175"/>
              </a:cxn>
              <a:cxn ang="0">
                <a:pos x="csX176" y="csY176"/>
              </a:cxn>
              <a:cxn ang="0">
                <a:pos x="csX177" y="csY177"/>
              </a:cxn>
              <a:cxn ang="0">
                <a:pos x="csX178" y="csY178"/>
              </a:cxn>
              <a:cxn ang="0">
                <a:pos x="csX179" y="csY179"/>
              </a:cxn>
              <a:cxn ang="0">
                <a:pos x="csX180" y="csY180"/>
              </a:cxn>
              <a:cxn ang="0">
                <a:pos x="csX181" y="csY181"/>
              </a:cxn>
              <a:cxn ang="0">
                <a:pos x="csX182" y="csY182"/>
              </a:cxn>
              <a:cxn ang="0">
                <a:pos x="csX183" y="csY183"/>
              </a:cxn>
            </a:cxnLst>
            <a:rect l="l" t="t" r="r" b="b"/>
            <a:pathLst>
              <a:path w="715223" h="1556330">
                <a:moveTo>
                  <a:pt x="466852" y="229083"/>
                </a:moveTo>
                <a:cubicBezTo>
                  <a:pt x="465344" y="233590"/>
                  <a:pt x="463836" y="238097"/>
                  <a:pt x="462328" y="242604"/>
                </a:cubicBezTo>
                <a:cubicBezTo>
                  <a:pt x="476604" y="232528"/>
                  <a:pt x="484219" y="216936"/>
                  <a:pt x="496944" y="204739"/>
                </a:cubicBezTo>
                <a:cubicBezTo>
                  <a:pt x="511903" y="225901"/>
                  <a:pt x="524807" y="247414"/>
                  <a:pt x="534359" y="270960"/>
                </a:cubicBezTo>
                <a:cubicBezTo>
                  <a:pt x="557740" y="328591"/>
                  <a:pt x="560223" y="386926"/>
                  <a:pt x="540589" y="445986"/>
                </a:cubicBezTo>
                <a:cubicBezTo>
                  <a:pt x="534197" y="465215"/>
                  <a:pt x="524450" y="482672"/>
                  <a:pt x="509727" y="496924"/>
                </a:cubicBezTo>
                <a:cubicBezTo>
                  <a:pt x="505277" y="501232"/>
                  <a:pt x="502734" y="505157"/>
                  <a:pt x="505366" y="511893"/>
                </a:cubicBezTo>
                <a:cubicBezTo>
                  <a:pt x="507828" y="518196"/>
                  <a:pt x="505953" y="524402"/>
                  <a:pt x="501982" y="530377"/>
                </a:cubicBezTo>
                <a:cubicBezTo>
                  <a:pt x="495613" y="539961"/>
                  <a:pt x="496865" y="548901"/>
                  <a:pt x="505678" y="556455"/>
                </a:cubicBezTo>
                <a:cubicBezTo>
                  <a:pt x="516748" y="565943"/>
                  <a:pt x="523694" y="577557"/>
                  <a:pt x="526115" y="591784"/>
                </a:cubicBezTo>
                <a:cubicBezTo>
                  <a:pt x="527758" y="601445"/>
                  <a:pt x="532593" y="608029"/>
                  <a:pt x="541579" y="612264"/>
                </a:cubicBezTo>
                <a:cubicBezTo>
                  <a:pt x="555150" y="618662"/>
                  <a:pt x="564081" y="629523"/>
                  <a:pt x="569572" y="643441"/>
                </a:cubicBezTo>
                <a:cubicBezTo>
                  <a:pt x="576413" y="660776"/>
                  <a:pt x="570996" y="678245"/>
                  <a:pt x="555234" y="688473"/>
                </a:cubicBezTo>
                <a:cubicBezTo>
                  <a:pt x="542486" y="696746"/>
                  <a:pt x="528127" y="699474"/>
                  <a:pt x="513278" y="700556"/>
                </a:cubicBezTo>
                <a:cubicBezTo>
                  <a:pt x="505590" y="701115"/>
                  <a:pt x="497922" y="701952"/>
                  <a:pt x="488559" y="702821"/>
                </a:cubicBezTo>
                <a:cubicBezTo>
                  <a:pt x="488559" y="708552"/>
                  <a:pt x="488653" y="713320"/>
                  <a:pt x="488544" y="718085"/>
                </a:cubicBezTo>
                <a:cubicBezTo>
                  <a:pt x="486284" y="817406"/>
                  <a:pt x="502313" y="914319"/>
                  <a:pt x="526561" y="1010212"/>
                </a:cubicBezTo>
                <a:cubicBezTo>
                  <a:pt x="538799" y="1058612"/>
                  <a:pt x="553050" y="1106345"/>
                  <a:pt x="569986" y="1153317"/>
                </a:cubicBezTo>
                <a:cubicBezTo>
                  <a:pt x="573328" y="1162590"/>
                  <a:pt x="578279" y="1168740"/>
                  <a:pt x="587389" y="1172173"/>
                </a:cubicBezTo>
                <a:cubicBezTo>
                  <a:pt x="593869" y="1174616"/>
                  <a:pt x="600289" y="1177449"/>
                  <a:pt x="606286" y="1180891"/>
                </a:cubicBezTo>
                <a:cubicBezTo>
                  <a:pt x="617185" y="1187146"/>
                  <a:pt x="618776" y="1192931"/>
                  <a:pt x="613400" y="1204260"/>
                </a:cubicBezTo>
                <a:cubicBezTo>
                  <a:pt x="611475" y="1208315"/>
                  <a:pt x="609140" y="1212177"/>
                  <a:pt x="605350" y="1216760"/>
                </a:cubicBezTo>
                <a:cubicBezTo>
                  <a:pt x="602514" y="1218347"/>
                  <a:pt x="600399" y="1219189"/>
                  <a:pt x="600268" y="1220273"/>
                </a:cubicBezTo>
                <a:cubicBezTo>
                  <a:pt x="598551" y="1234430"/>
                  <a:pt x="599473" y="1247881"/>
                  <a:pt x="610574" y="1258750"/>
                </a:cubicBezTo>
                <a:cubicBezTo>
                  <a:pt x="631265" y="1279009"/>
                  <a:pt x="651790" y="1299438"/>
                  <a:pt x="672371" y="1319810"/>
                </a:cubicBezTo>
                <a:cubicBezTo>
                  <a:pt x="673495" y="1320922"/>
                  <a:pt x="674892" y="1321987"/>
                  <a:pt x="675494" y="1323366"/>
                </a:cubicBezTo>
                <a:cubicBezTo>
                  <a:pt x="685626" y="1346558"/>
                  <a:pt x="694775" y="1370031"/>
                  <a:pt x="692949" y="1396068"/>
                </a:cubicBezTo>
                <a:cubicBezTo>
                  <a:pt x="692525" y="1402108"/>
                  <a:pt x="691276" y="1408087"/>
                  <a:pt x="690628" y="1414117"/>
                </a:cubicBezTo>
                <a:cubicBezTo>
                  <a:pt x="690241" y="1417713"/>
                  <a:pt x="691290" y="1420628"/>
                  <a:pt x="695588" y="1421035"/>
                </a:cubicBezTo>
                <a:cubicBezTo>
                  <a:pt x="695527" y="1422155"/>
                  <a:pt x="695467" y="1423274"/>
                  <a:pt x="694353" y="1425190"/>
                </a:cubicBezTo>
                <a:cubicBezTo>
                  <a:pt x="691901" y="1426894"/>
                  <a:pt x="690503" y="1427804"/>
                  <a:pt x="689106" y="1428714"/>
                </a:cubicBezTo>
                <a:cubicBezTo>
                  <a:pt x="691101" y="1428620"/>
                  <a:pt x="693098" y="1428527"/>
                  <a:pt x="695093" y="1428433"/>
                </a:cubicBezTo>
                <a:cubicBezTo>
                  <a:pt x="695976" y="1429430"/>
                  <a:pt x="696859" y="1430427"/>
                  <a:pt x="697643" y="1432864"/>
                </a:cubicBezTo>
                <a:cubicBezTo>
                  <a:pt x="697724" y="1436887"/>
                  <a:pt x="697087" y="1439912"/>
                  <a:pt x="698207" y="1441988"/>
                </a:cubicBezTo>
                <a:cubicBezTo>
                  <a:pt x="709464" y="1462853"/>
                  <a:pt x="715798" y="1484864"/>
                  <a:pt x="715183" y="1508752"/>
                </a:cubicBezTo>
                <a:cubicBezTo>
                  <a:pt x="714863" y="1521166"/>
                  <a:pt x="713458" y="1523372"/>
                  <a:pt x="701540" y="1526524"/>
                </a:cubicBezTo>
                <a:cubicBezTo>
                  <a:pt x="662165" y="1536936"/>
                  <a:pt x="622006" y="1543243"/>
                  <a:pt x="581715" y="1548559"/>
                </a:cubicBezTo>
                <a:cubicBezTo>
                  <a:pt x="561988" y="1551162"/>
                  <a:pt x="542052" y="1552457"/>
                  <a:pt x="522168" y="1553543"/>
                </a:cubicBezTo>
                <a:cubicBezTo>
                  <a:pt x="498138" y="1554856"/>
                  <a:pt x="474063" y="1556013"/>
                  <a:pt x="450008" y="1556019"/>
                </a:cubicBezTo>
                <a:cubicBezTo>
                  <a:pt x="381724" y="1556035"/>
                  <a:pt x="313415" y="1557550"/>
                  <a:pt x="245169" y="1553749"/>
                </a:cubicBezTo>
                <a:cubicBezTo>
                  <a:pt x="237413" y="1553317"/>
                  <a:pt x="229596" y="1553867"/>
                  <a:pt x="221854" y="1553306"/>
                </a:cubicBezTo>
                <a:cubicBezTo>
                  <a:pt x="204023" y="1552015"/>
                  <a:pt x="186231" y="1550202"/>
                  <a:pt x="168405" y="1548828"/>
                </a:cubicBezTo>
                <a:cubicBezTo>
                  <a:pt x="154605" y="1547764"/>
                  <a:pt x="140762" y="1547242"/>
                  <a:pt x="126970" y="1546091"/>
                </a:cubicBezTo>
                <a:cubicBezTo>
                  <a:pt x="119295" y="1545451"/>
                  <a:pt x="111668" y="1544132"/>
                  <a:pt x="104053" y="1542912"/>
                </a:cubicBezTo>
                <a:cubicBezTo>
                  <a:pt x="91223" y="1540858"/>
                  <a:pt x="78344" y="1539011"/>
                  <a:pt x="65625" y="1536401"/>
                </a:cubicBezTo>
                <a:cubicBezTo>
                  <a:pt x="47307" y="1532642"/>
                  <a:pt x="29006" y="1528694"/>
                  <a:pt x="10909" y="1524010"/>
                </a:cubicBezTo>
                <a:cubicBezTo>
                  <a:pt x="744" y="1521379"/>
                  <a:pt x="119" y="1519620"/>
                  <a:pt x="8" y="1509263"/>
                </a:cubicBezTo>
                <a:cubicBezTo>
                  <a:pt x="-283" y="1482004"/>
                  <a:pt x="7525" y="1456906"/>
                  <a:pt x="21158" y="1433611"/>
                </a:cubicBezTo>
                <a:cubicBezTo>
                  <a:pt x="24128" y="1428537"/>
                  <a:pt x="25100" y="1424162"/>
                  <a:pt x="23462" y="1418658"/>
                </a:cubicBezTo>
                <a:cubicBezTo>
                  <a:pt x="19938" y="1406814"/>
                  <a:pt x="19145" y="1394638"/>
                  <a:pt x="19643" y="1382324"/>
                </a:cubicBezTo>
                <a:cubicBezTo>
                  <a:pt x="20741" y="1355171"/>
                  <a:pt x="29461" y="1331114"/>
                  <a:pt x="49060" y="1311832"/>
                </a:cubicBezTo>
                <a:cubicBezTo>
                  <a:pt x="68866" y="1292344"/>
                  <a:pt x="89102" y="1273294"/>
                  <a:pt x="109176" y="1254078"/>
                </a:cubicBezTo>
                <a:cubicBezTo>
                  <a:pt x="120788" y="1242961"/>
                  <a:pt x="123122" y="1229673"/>
                  <a:pt x="118319" y="1214801"/>
                </a:cubicBezTo>
                <a:cubicBezTo>
                  <a:pt x="116817" y="1210150"/>
                  <a:pt x="114697" y="1205702"/>
                  <a:pt x="113082" y="1201084"/>
                </a:cubicBezTo>
                <a:cubicBezTo>
                  <a:pt x="109606" y="1191147"/>
                  <a:pt x="110855" y="1188189"/>
                  <a:pt x="120417" y="1183950"/>
                </a:cubicBezTo>
                <a:cubicBezTo>
                  <a:pt x="125262" y="1181801"/>
                  <a:pt x="130109" y="1179394"/>
                  <a:pt x="135209" y="1178138"/>
                </a:cubicBezTo>
                <a:cubicBezTo>
                  <a:pt x="146972" y="1175241"/>
                  <a:pt x="153194" y="1166910"/>
                  <a:pt x="156535" y="1156396"/>
                </a:cubicBezTo>
                <a:cubicBezTo>
                  <a:pt x="166535" y="1124919"/>
                  <a:pt x="176229" y="1093339"/>
                  <a:pt x="185647" y="1061682"/>
                </a:cubicBezTo>
                <a:cubicBezTo>
                  <a:pt x="191222" y="1042945"/>
                  <a:pt x="196570" y="1024108"/>
                  <a:pt x="201074" y="1005093"/>
                </a:cubicBezTo>
                <a:cubicBezTo>
                  <a:pt x="205941" y="984550"/>
                  <a:pt x="210000" y="963801"/>
                  <a:pt x="213864" y="943040"/>
                </a:cubicBezTo>
                <a:cubicBezTo>
                  <a:pt x="217503" y="923489"/>
                  <a:pt x="220701" y="903846"/>
                  <a:pt x="223580" y="884167"/>
                </a:cubicBezTo>
                <a:cubicBezTo>
                  <a:pt x="225754" y="869301"/>
                  <a:pt x="227195" y="854324"/>
                  <a:pt x="228827" y="839382"/>
                </a:cubicBezTo>
                <a:cubicBezTo>
                  <a:pt x="230459" y="824446"/>
                  <a:pt x="232880" y="809515"/>
                  <a:pt x="233251" y="794539"/>
                </a:cubicBezTo>
                <a:cubicBezTo>
                  <a:pt x="233961" y="765893"/>
                  <a:pt x="233499" y="737217"/>
                  <a:pt x="233413" y="708554"/>
                </a:cubicBezTo>
                <a:cubicBezTo>
                  <a:pt x="233404" y="705465"/>
                  <a:pt x="232667" y="702378"/>
                  <a:pt x="232253" y="699181"/>
                </a:cubicBezTo>
                <a:cubicBezTo>
                  <a:pt x="218443" y="697138"/>
                  <a:pt x="205461" y="695831"/>
                  <a:pt x="192775" y="693131"/>
                </a:cubicBezTo>
                <a:cubicBezTo>
                  <a:pt x="183686" y="691197"/>
                  <a:pt x="174549" y="688305"/>
                  <a:pt x="166222" y="684229"/>
                </a:cubicBezTo>
                <a:cubicBezTo>
                  <a:pt x="151266" y="676909"/>
                  <a:pt x="147247" y="664789"/>
                  <a:pt x="153485" y="649704"/>
                </a:cubicBezTo>
                <a:cubicBezTo>
                  <a:pt x="158693" y="637111"/>
                  <a:pt x="168160" y="628190"/>
                  <a:pt x="179302" y="621006"/>
                </a:cubicBezTo>
                <a:cubicBezTo>
                  <a:pt x="186548" y="616334"/>
                  <a:pt x="191317" y="611105"/>
                  <a:pt x="192182" y="601675"/>
                </a:cubicBezTo>
                <a:cubicBezTo>
                  <a:pt x="192878" y="594094"/>
                  <a:pt x="197099" y="587626"/>
                  <a:pt x="204894" y="583417"/>
                </a:cubicBezTo>
                <a:cubicBezTo>
                  <a:pt x="214873" y="578030"/>
                  <a:pt x="224643" y="571774"/>
                  <a:pt x="233213" y="564393"/>
                </a:cubicBezTo>
                <a:cubicBezTo>
                  <a:pt x="242623" y="556289"/>
                  <a:pt x="240441" y="544193"/>
                  <a:pt x="229725" y="538177"/>
                </a:cubicBezTo>
                <a:cubicBezTo>
                  <a:pt x="226159" y="536176"/>
                  <a:pt x="222483" y="534351"/>
                  <a:pt x="218771" y="532633"/>
                </a:cubicBezTo>
                <a:cubicBezTo>
                  <a:pt x="213503" y="530196"/>
                  <a:pt x="212651" y="526226"/>
                  <a:pt x="215183" y="521568"/>
                </a:cubicBezTo>
                <a:cubicBezTo>
                  <a:pt x="217485" y="517332"/>
                  <a:pt x="220405" y="513432"/>
                  <a:pt x="223368" y="508901"/>
                </a:cubicBezTo>
                <a:cubicBezTo>
                  <a:pt x="221781" y="505376"/>
                  <a:pt x="220809" y="501165"/>
                  <a:pt x="218372" y="498135"/>
                </a:cubicBezTo>
                <a:cubicBezTo>
                  <a:pt x="202366" y="478231"/>
                  <a:pt x="190774" y="455961"/>
                  <a:pt x="181440" y="432308"/>
                </a:cubicBezTo>
                <a:cubicBezTo>
                  <a:pt x="170959" y="405748"/>
                  <a:pt x="164933" y="378186"/>
                  <a:pt x="167535" y="349841"/>
                </a:cubicBezTo>
                <a:cubicBezTo>
                  <a:pt x="170341" y="319265"/>
                  <a:pt x="179208" y="289917"/>
                  <a:pt x="193488" y="262518"/>
                </a:cubicBezTo>
                <a:cubicBezTo>
                  <a:pt x="206512" y="237529"/>
                  <a:pt x="220831" y="213359"/>
                  <a:pt x="237748" y="190690"/>
                </a:cubicBezTo>
                <a:cubicBezTo>
                  <a:pt x="260421" y="160310"/>
                  <a:pt x="282602" y="129592"/>
                  <a:pt x="309459" y="102623"/>
                </a:cubicBezTo>
                <a:cubicBezTo>
                  <a:pt x="316627" y="95424"/>
                  <a:pt x="316261" y="87541"/>
                  <a:pt x="310459" y="78521"/>
                </a:cubicBezTo>
                <a:cubicBezTo>
                  <a:pt x="306309" y="72071"/>
                  <a:pt x="301695" y="65150"/>
                  <a:pt x="300267" y="57856"/>
                </a:cubicBezTo>
                <a:cubicBezTo>
                  <a:pt x="295286" y="32423"/>
                  <a:pt x="314502" y="10133"/>
                  <a:pt x="332242" y="4422"/>
                </a:cubicBezTo>
                <a:cubicBezTo>
                  <a:pt x="349540" y="-1148"/>
                  <a:pt x="367530" y="-2176"/>
                  <a:pt x="384904" y="5551"/>
                </a:cubicBezTo>
                <a:cubicBezTo>
                  <a:pt x="395271" y="10161"/>
                  <a:pt x="403310" y="17760"/>
                  <a:pt x="409773" y="26778"/>
                </a:cubicBezTo>
                <a:cubicBezTo>
                  <a:pt x="415168" y="34307"/>
                  <a:pt x="413749" y="41584"/>
                  <a:pt x="407026" y="46052"/>
                </a:cubicBezTo>
                <a:cubicBezTo>
                  <a:pt x="405624" y="40964"/>
                  <a:pt x="404503" y="35849"/>
                  <a:pt x="402771" y="30951"/>
                </a:cubicBezTo>
                <a:cubicBezTo>
                  <a:pt x="401450" y="27216"/>
                  <a:pt x="399383" y="28477"/>
                  <a:pt x="397038" y="30361"/>
                </a:cubicBezTo>
                <a:cubicBezTo>
                  <a:pt x="384440" y="15986"/>
                  <a:pt x="377037" y="14494"/>
                  <a:pt x="360694" y="22760"/>
                </a:cubicBezTo>
                <a:cubicBezTo>
                  <a:pt x="353707" y="22767"/>
                  <a:pt x="352275" y="27176"/>
                  <a:pt x="351669" y="31736"/>
                </a:cubicBezTo>
                <a:cubicBezTo>
                  <a:pt x="351136" y="35760"/>
                  <a:pt x="351383" y="39899"/>
                  <a:pt x="351426" y="43987"/>
                </a:cubicBezTo>
                <a:cubicBezTo>
                  <a:pt x="351648" y="64919"/>
                  <a:pt x="372389" y="78115"/>
                  <a:pt x="390968" y="68762"/>
                </a:cubicBezTo>
                <a:cubicBezTo>
                  <a:pt x="395158" y="66653"/>
                  <a:pt x="398534" y="62629"/>
                  <a:pt x="401770" y="59025"/>
                </a:cubicBezTo>
                <a:cubicBezTo>
                  <a:pt x="404045" y="56491"/>
                  <a:pt x="405661" y="53409"/>
                  <a:pt x="409619" y="55786"/>
                </a:cubicBezTo>
                <a:cubicBezTo>
                  <a:pt x="413544" y="58145"/>
                  <a:pt x="412176" y="61347"/>
                  <a:pt x="410427" y="64256"/>
                </a:cubicBezTo>
                <a:cubicBezTo>
                  <a:pt x="406872" y="70170"/>
                  <a:pt x="403244" y="76046"/>
                  <a:pt x="399453" y="81811"/>
                </a:cubicBezTo>
                <a:cubicBezTo>
                  <a:pt x="394663" y="89097"/>
                  <a:pt x="394382" y="94032"/>
                  <a:pt x="399346" y="98083"/>
                </a:cubicBezTo>
                <a:cubicBezTo>
                  <a:pt x="428062" y="121519"/>
                  <a:pt x="450822" y="150083"/>
                  <a:pt x="471592" y="180524"/>
                </a:cubicBezTo>
                <a:cubicBezTo>
                  <a:pt x="476398" y="187569"/>
                  <a:pt x="476844" y="193688"/>
                  <a:pt x="473550" y="200923"/>
                </a:cubicBezTo>
                <a:cubicBezTo>
                  <a:pt x="470171" y="208346"/>
                  <a:pt x="467091" y="215905"/>
                  <a:pt x="463677" y="223311"/>
                </a:cubicBezTo>
                <a:cubicBezTo>
                  <a:pt x="461993" y="226965"/>
                  <a:pt x="462995" y="228697"/>
                  <a:pt x="466852" y="229083"/>
                </a:cubicBezTo>
                <a:moveTo>
                  <a:pt x="474186" y="928382"/>
                </a:moveTo>
                <a:cubicBezTo>
                  <a:pt x="469297" y="891529"/>
                  <a:pt x="462961" y="854794"/>
                  <a:pt x="459927" y="817790"/>
                </a:cubicBezTo>
                <a:cubicBezTo>
                  <a:pt x="456905" y="780939"/>
                  <a:pt x="457197" y="743817"/>
                  <a:pt x="456025" y="706469"/>
                </a:cubicBezTo>
                <a:cubicBezTo>
                  <a:pt x="425780" y="707923"/>
                  <a:pt x="396554" y="709327"/>
                  <a:pt x="366863" y="710754"/>
                </a:cubicBezTo>
                <a:cubicBezTo>
                  <a:pt x="366546" y="714450"/>
                  <a:pt x="366201" y="716832"/>
                  <a:pt x="366159" y="719219"/>
                </a:cubicBezTo>
                <a:cubicBezTo>
                  <a:pt x="365479" y="757672"/>
                  <a:pt x="364935" y="796129"/>
                  <a:pt x="364159" y="834581"/>
                </a:cubicBezTo>
                <a:cubicBezTo>
                  <a:pt x="363450" y="869762"/>
                  <a:pt x="362581" y="904941"/>
                  <a:pt x="361633" y="940117"/>
                </a:cubicBezTo>
                <a:cubicBezTo>
                  <a:pt x="360619" y="977749"/>
                  <a:pt x="359431" y="1015376"/>
                  <a:pt x="358313" y="1053005"/>
                </a:cubicBezTo>
                <a:cubicBezTo>
                  <a:pt x="358265" y="1054641"/>
                  <a:pt x="358149" y="1056276"/>
                  <a:pt x="358081" y="1057912"/>
                </a:cubicBezTo>
                <a:cubicBezTo>
                  <a:pt x="356598" y="1093463"/>
                  <a:pt x="355081" y="1129014"/>
                  <a:pt x="353706" y="1164570"/>
                </a:cubicBezTo>
                <a:cubicBezTo>
                  <a:pt x="353604" y="1167221"/>
                  <a:pt x="354516" y="1169911"/>
                  <a:pt x="354951" y="1172547"/>
                </a:cubicBezTo>
                <a:cubicBezTo>
                  <a:pt x="416984" y="1173689"/>
                  <a:pt x="478158" y="1174816"/>
                  <a:pt x="540959" y="1175972"/>
                </a:cubicBezTo>
                <a:cubicBezTo>
                  <a:pt x="513162" y="1094194"/>
                  <a:pt x="489081" y="1013598"/>
                  <a:pt x="474186" y="928382"/>
                </a:cubicBezTo>
                <a:moveTo>
                  <a:pt x="513768" y="1417676"/>
                </a:moveTo>
                <a:cubicBezTo>
                  <a:pt x="515785" y="1417344"/>
                  <a:pt x="517792" y="1416889"/>
                  <a:pt x="519822" y="1416700"/>
                </a:cubicBezTo>
                <a:cubicBezTo>
                  <a:pt x="557234" y="1413220"/>
                  <a:pt x="594682" y="1410089"/>
                  <a:pt x="632041" y="1406122"/>
                </a:cubicBezTo>
                <a:cubicBezTo>
                  <a:pt x="643122" y="1404945"/>
                  <a:pt x="654730" y="1405292"/>
                  <a:pt x="665040" y="1400634"/>
                </a:cubicBezTo>
                <a:cubicBezTo>
                  <a:pt x="665352" y="1398517"/>
                  <a:pt x="665651" y="1397324"/>
                  <a:pt x="665677" y="1396126"/>
                </a:cubicBezTo>
                <a:cubicBezTo>
                  <a:pt x="665722" y="1394084"/>
                  <a:pt x="665674" y="1392032"/>
                  <a:pt x="665529" y="1389994"/>
                </a:cubicBezTo>
                <a:cubicBezTo>
                  <a:pt x="663118" y="1356121"/>
                  <a:pt x="650063" y="1327787"/>
                  <a:pt x="623046" y="1306238"/>
                </a:cubicBezTo>
                <a:cubicBezTo>
                  <a:pt x="613485" y="1298611"/>
                  <a:pt x="605001" y="1289635"/>
                  <a:pt x="596015" y="1281285"/>
                </a:cubicBezTo>
                <a:cubicBezTo>
                  <a:pt x="578506" y="1265018"/>
                  <a:pt x="567837" y="1245446"/>
                  <a:pt x="567683" y="1220059"/>
                </a:cubicBezTo>
                <a:cubicBezTo>
                  <a:pt x="558046" y="1220059"/>
                  <a:pt x="549136" y="1219649"/>
                  <a:pt x="540273" y="1220129"/>
                </a:cubicBezTo>
                <a:cubicBezTo>
                  <a:pt x="501512" y="1222229"/>
                  <a:pt x="462775" y="1224768"/>
                  <a:pt x="424010" y="1226781"/>
                </a:cubicBezTo>
                <a:cubicBezTo>
                  <a:pt x="401969" y="1227926"/>
                  <a:pt x="379889" y="1228330"/>
                  <a:pt x="357832" y="1229178"/>
                </a:cubicBezTo>
                <a:cubicBezTo>
                  <a:pt x="355938" y="1229251"/>
                  <a:pt x="354076" y="1230151"/>
                  <a:pt x="352386" y="1230616"/>
                </a:cubicBezTo>
                <a:cubicBezTo>
                  <a:pt x="353642" y="1262222"/>
                  <a:pt x="355769" y="1293219"/>
                  <a:pt x="355852" y="1324222"/>
                </a:cubicBezTo>
                <a:cubicBezTo>
                  <a:pt x="355936" y="1355438"/>
                  <a:pt x="353988" y="1386659"/>
                  <a:pt x="352930" y="1417867"/>
                </a:cubicBezTo>
                <a:cubicBezTo>
                  <a:pt x="406069" y="1417867"/>
                  <a:pt x="458771" y="1417867"/>
                  <a:pt x="513768" y="1417676"/>
                </a:cubicBezTo>
                <a:moveTo>
                  <a:pt x="387930" y="499741"/>
                </a:moveTo>
                <a:cubicBezTo>
                  <a:pt x="410797" y="498777"/>
                  <a:pt x="433665" y="497860"/>
                  <a:pt x="456529" y="496826"/>
                </a:cubicBezTo>
                <a:cubicBezTo>
                  <a:pt x="466656" y="496369"/>
                  <a:pt x="475418" y="493371"/>
                  <a:pt x="482355" y="485095"/>
                </a:cubicBezTo>
                <a:cubicBezTo>
                  <a:pt x="509188" y="453083"/>
                  <a:pt x="525387" y="416636"/>
                  <a:pt x="528016" y="374829"/>
                </a:cubicBezTo>
                <a:cubicBezTo>
                  <a:pt x="530547" y="334558"/>
                  <a:pt x="520095" y="297041"/>
                  <a:pt x="501375" y="261643"/>
                </a:cubicBezTo>
                <a:cubicBezTo>
                  <a:pt x="499379" y="257869"/>
                  <a:pt x="496654" y="254482"/>
                  <a:pt x="493534" y="249818"/>
                </a:cubicBezTo>
                <a:cubicBezTo>
                  <a:pt x="490233" y="254212"/>
                  <a:pt x="487883" y="256986"/>
                  <a:pt x="485920" y="260010"/>
                </a:cubicBezTo>
                <a:cubicBezTo>
                  <a:pt x="475010" y="276824"/>
                  <a:pt x="464300" y="293767"/>
                  <a:pt x="453305" y="310523"/>
                </a:cubicBezTo>
                <a:cubicBezTo>
                  <a:pt x="447028" y="320089"/>
                  <a:pt x="440916" y="329858"/>
                  <a:pt x="433678" y="338672"/>
                </a:cubicBezTo>
                <a:cubicBezTo>
                  <a:pt x="425909" y="348131"/>
                  <a:pt x="413084" y="349691"/>
                  <a:pt x="403713" y="343710"/>
                </a:cubicBezTo>
                <a:cubicBezTo>
                  <a:pt x="394358" y="337739"/>
                  <a:pt x="391675" y="327526"/>
                  <a:pt x="396427" y="315612"/>
                </a:cubicBezTo>
                <a:cubicBezTo>
                  <a:pt x="397334" y="313339"/>
                  <a:pt x="398595" y="311210"/>
                  <a:pt x="399663" y="309000"/>
                </a:cubicBezTo>
                <a:cubicBezTo>
                  <a:pt x="417094" y="272900"/>
                  <a:pt x="434331" y="236704"/>
                  <a:pt x="452097" y="200770"/>
                </a:cubicBezTo>
                <a:cubicBezTo>
                  <a:pt x="455910" y="193060"/>
                  <a:pt x="455310" y="187173"/>
                  <a:pt x="450118" y="180596"/>
                </a:cubicBezTo>
                <a:cubicBezTo>
                  <a:pt x="428273" y="152922"/>
                  <a:pt x="405805" y="125901"/>
                  <a:pt x="376545" y="105525"/>
                </a:cubicBezTo>
                <a:cubicBezTo>
                  <a:pt x="374483" y="104089"/>
                  <a:pt x="372013" y="103239"/>
                  <a:pt x="368791" y="101653"/>
                </a:cubicBezTo>
                <a:cubicBezTo>
                  <a:pt x="367942" y="116965"/>
                  <a:pt x="367019" y="130814"/>
                  <a:pt x="366449" y="144676"/>
                </a:cubicBezTo>
                <a:cubicBezTo>
                  <a:pt x="365912" y="157758"/>
                  <a:pt x="365593" y="170854"/>
                  <a:pt x="365447" y="183946"/>
                </a:cubicBezTo>
                <a:cubicBezTo>
                  <a:pt x="365020" y="221975"/>
                  <a:pt x="363367" y="260055"/>
                  <a:pt x="364738" y="298022"/>
                </a:cubicBezTo>
                <a:cubicBezTo>
                  <a:pt x="366329" y="342101"/>
                  <a:pt x="370336" y="386106"/>
                  <a:pt x="373865" y="430096"/>
                </a:cubicBezTo>
                <a:cubicBezTo>
                  <a:pt x="375530" y="450849"/>
                  <a:pt x="378387" y="471514"/>
                  <a:pt x="381088" y="492169"/>
                </a:cubicBezTo>
                <a:cubicBezTo>
                  <a:pt x="381433" y="494807"/>
                  <a:pt x="384102" y="497143"/>
                  <a:pt x="387930" y="499741"/>
                </a:cubicBezTo>
                <a:moveTo>
                  <a:pt x="455850" y="1521476"/>
                </a:moveTo>
                <a:cubicBezTo>
                  <a:pt x="533043" y="1519612"/>
                  <a:pt x="609810" y="1514084"/>
                  <a:pt x="685121" y="1496509"/>
                </a:cubicBezTo>
                <a:cubicBezTo>
                  <a:pt x="683922" y="1481705"/>
                  <a:pt x="679199" y="1467708"/>
                  <a:pt x="672999" y="1456665"/>
                </a:cubicBezTo>
                <a:cubicBezTo>
                  <a:pt x="669933" y="1451203"/>
                  <a:pt x="666057" y="1449329"/>
                  <a:pt x="660009" y="1450249"/>
                </a:cubicBezTo>
                <a:cubicBezTo>
                  <a:pt x="651125" y="1451601"/>
                  <a:pt x="642144" y="1452308"/>
                  <a:pt x="633248" y="1453589"/>
                </a:cubicBezTo>
                <a:cubicBezTo>
                  <a:pt x="572852" y="1462289"/>
                  <a:pt x="511993" y="1465134"/>
                  <a:pt x="451131" y="1467458"/>
                </a:cubicBezTo>
                <a:cubicBezTo>
                  <a:pt x="421697" y="1468582"/>
                  <a:pt x="392192" y="1467837"/>
                  <a:pt x="362719" y="1467934"/>
                </a:cubicBezTo>
                <a:cubicBezTo>
                  <a:pt x="358386" y="1467948"/>
                  <a:pt x="354052" y="1467936"/>
                  <a:pt x="349983" y="1467936"/>
                </a:cubicBezTo>
                <a:cubicBezTo>
                  <a:pt x="347592" y="1485362"/>
                  <a:pt x="348606" y="1509458"/>
                  <a:pt x="352220" y="1519140"/>
                </a:cubicBezTo>
                <a:cubicBezTo>
                  <a:pt x="385617" y="1519916"/>
                  <a:pt x="419507" y="1520703"/>
                  <a:pt x="455850" y="1521476"/>
                </a:cubicBezTo>
                <a:moveTo>
                  <a:pt x="368682" y="544846"/>
                </a:moveTo>
                <a:cubicBezTo>
                  <a:pt x="374258" y="564891"/>
                  <a:pt x="370074" y="584394"/>
                  <a:pt x="363600" y="605633"/>
                </a:cubicBezTo>
                <a:cubicBezTo>
                  <a:pt x="408859" y="604212"/>
                  <a:pt x="452263" y="602850"/>
                  <a:pt x="496351" y="601466"/>
                </a:cubicBezTo>
                <a:cubicBezTo>
                  <a:pt x="496109" y="591095"/>
                  <a:pt x="491408" y="584247"/>
                  <a:pt x="485068" y="579288"/>
                </a:cubicBezTo>
                <a:cubicBezTo>
                  <a:pt x="472414" y="569391"/>
                  <a:pt x="466934" y="556602"/>
                  <a:pt x="466524" y="541026"/>
                </a:cubicBezTo>
                <a:cubicBezTo>
                  <a:pt x="466485" y="539528"/>
                  <a:pt x="465591" y="538053"/>
                  <a:pt x="465000" y="536289"/>
                </a:cubicBezTo>
                <a:cubicBezTo>
                  <a:pt x="460209" y="536289"/>
                  <a:pt x="455761" y="536132"/>
                  <a:pt x="451328" y="536316"/>
                </a:cubicBezTo>
                <a:cubicBezTo>
                  <a:pt x="430930" y="537159"/>
                  <a:pt x="410538" y="538137"/>
                  <a:pt x="390140" y="538979"/>
                </a:cubicBezTo>
                <a:cubicBezTo>
                  <a:pt x="384834" y="539198"/>
                  <a:pt x="379484" y="538790"/>
                  <a:pt x="374215" y="539303"/>
                </a:cubicBezTo>
                <a:cubicBezTo>
                  <a:pt x="372259" y="539494"/>
                  <a:pt x="370480" y="541498"/>
                  <a:pt x="368682" y="544846"/>
                </a:cubicBezTo>
                <a:moveTo>
                  <a:pt x="453915" y="635267"/>
                </a:moveTo>
                <a:cubicBezTo>
                  <a:pt x="427589" y="636632"/>
                  <a:pt x="401262" y="637998"/>
                  <a:pt x="374200" y="639402"/>
                </a:cubicBezTo>
                <a:cubicBezTo>
                  <a:pt x="374200" y="651578"/>
                  <a:pt x="374200" y="661970"/>
                  <a:pt x="374200" y="673206"/>
                </a:cubicBezTo>
                <a:cubicBezTo>
                  <a:pt x="378672" y="673406"/>
                  <a:pt x="382666" y="673863"/>
                  <a:pt x="386639" y="673718"/>
                </a:cubicBezTo>
                <a:cubicBezTo>
                  <a:pt x="431495" y="672082"/>
                  <a:pt x="476352" y="670422"/>
                  <a:pt x="521198" y="668541"/>
                </a:cubicBezTo>
                <a:cubicBezTo>
                  <a:pt x="525584" y="668357"/>
                  <a:pt x="530162" y="667254"/>
                  <a:pt x="534198" y="665521"/>
                </a:cubicBezTo>
                <a:cubicBezTo>
                  <a:pt x="540213" y="662938"/>
                  <a:pt x="541802" y="658194"/>
                  <a:pt x="538413" y="652526"/>
                </a:cubicBezTo>
                <a:cubicBezTo>
                  <a:pt x="536192" y="648813"/>
                  <a:pt x="532979" y="645251"/>
                  <a:pt x="529377" y="642895"/>
                </a:cubicBezTo>
                <a:cubicBezTo>
                  <a:pt x="521426" y="637695"/>
                  <a:pt x="512576" y="634669"/>
                  <a:pt x="502829" y="634808"/>
                </a:cubicBezTo>
                <a:cubicBezTo>
                  <a:pt x="487311" y="635030"/>
                  <a:pt x="471791" y="635092"/>
                  <a:pt x="453915" y="635267"/>
                </a:cubicBezTo>
                <a:close/>
              </a:path>
            </a:pathLst>
          </a:custGeom>
          <a:solidFill>
            <a:schemeClr val="bg1"/>
          </a:solidFill>
          <a:ln w="12700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" name="Free-form: Shape 11">
            <a:extLst>
              <a:ext uri="{FF2B5EF4-FFF2-40B4-BE49-F238E27FC236}">
                <a16:creationId xmlns:a16="http://schemas.microsoft.com/office/drawing/2014/main" id="{DC968D7A-67FA-FD92-39B5-4C678AB6FC4B}"/>
              </a:ext>
            </a:extLst>
          </p:cNvPr>
          <p:cNvSpPr/>
          <p:nvPr/>
        </p:nvSpPr>
        <p:spPr>
          <a:xfrm>
            <a:off x="2741509" y="-2689958"/>
            <a:ext cx="665488" cy="1428730"/>
          </a:xfrm>
          <a:custGeom>
            <a:avLst/>
            <a:gdLst>
              <a:gd name="csX0" fmla="*/ 406842 w 732037"/>
              <a:gd name="csY0" fmla="*/ 38347 h 1571603"/>
              <a:gd name="csX1" fmla="*/ 411944 w 732037"/>
              <a:gd name="csY1" fmla="*/ 38343 h 1571603"/>
              <a:gd name="csX2" fmla="*/ 416198 w 732037"/>
              <a:gd name="csY2" fmla="*/ 53444 h 1571603"/>
              <a:gd name="csX3" fmla="*/ 418945 w 732037"/>
              <a:gd name="csY3" fmla="*/ 34170 h 1571603"/>
              <a:gd name="csX4" fmla="*/ 394077 w 732037"/>
              <a:gd name="csY4" fmla="*/ 12943 h 1571603"/>
              <a:gd name="csX5" fmla="*/ 341415 w 732037"/>
              <a:gd name="csY5" fmla="*/ 11814 h 1571603"/>
              <a:gd name="csX6" fmla="*/ 309440 w 732037"/>
              <a:gd name="csY6" fmla="*/ 65249 h 1571603"/>
              <a:gd name="csX7" fmla="*/ 319632 w 732037"/>
              <a:gd name="csY7" fmla="*/ 85914 h 1571603"/>
              <a:gd name="csX8" fmla="*/ 318632 w 732037"/>
              <a:gd name="csY8" fmla="*/ 110015 h 1571603"/>
              <a:gd name="csX9" fmla="*/ 246921 w 732037"/>
              <a:gd name="csY9" fmla="*/ 198083 h 1571603"/>
              <a:gd name="csX10" fmla="*/ 202660 w 732037"/>
              <a:gd name="csY10" fmla="*/ 269911 h 1571603"/>
              <a:gd name="csX11" fmla="*/ 176707 w 732037"/>
              <a:gd name="csY11" fmla="*/ 357233 h 1571603"/>
              <a:gd name="csX12" fmla="*/ 190612 w 732037"/>
              <a:gd name="csY12" fmla="*/ 439700 h 1571603"/>
              <a:gd name="csX13" fmla="*/ 227544 w 732037"/>
              <a:gd name="csY13" fmla="*/ 505527 h 1571603"/>
              <a:gd name="csX14" fmla="*/ 232541 w 732037"/>
              <a:gd name="csY14" fmla="*/ 516294 h 1571603"/>
              <a:gd name="csX15" fmla="*/ 224356 w 732037"/>
              <a:gd name="csY15" fmla="*/ 528960 h 1571603"/>
              <a:gd name="csX16" fmla="*/ 227944 w 732037"/>
              <a:gd name="csY16" fmla="*/ 540026 h 1571603"/>
              <a:gd name="csX17" fmla="*/ 238897 w 732037"/>
              <a:gd name="csY17" fmla="*/ 545570 h 1571603"/>
              <a:gd name="csX18" fmla="*/ 242386 w 732037"/>
              <a:gd name="csY18" fmla="*/ 571785 h 1571603"/>
              <a:gd name="csX19" fmla="*/ 214067 w 732037"/>
              <a:gd name="csY19" fmla="*/ 590809 h 1571603"/>
              <a:gd name="csX20" fmla="*/ 201355 w 732037"/>
              <a:gd name="csY20" fmla="*/ 609067 h 1571603"/>
              <a:gd name="csX21" fmla="*/ 188474 w 732037"/>
              <a:gd name="csY21" fmla="*/ 628398 h 1571603"/>
              <a:gd name="csX22" fmla="*/ 162658 w 732037"/>
              <a:gd name="csY22" fmla="*/ 657096 h 1571603"/>
              <a:gd name="csX23" fmla="*/ 175395 w 732037"/>
              <a:gd name="csY23" fmla="*/ 691621 h 1571603"/>
              <a:gd name="csX24" fmla="*/ 201948 w 732037"/>
              <a:gd name="csY24" fmla="*/ 700523 h 1571603"/>
              <a:gd name="csX25" fmla="*/ 241426 w 732037"/>
              <a:gd name="csY25" fmla="*/ 706574 h 1571603"/>
              <a:gd name="csX26" fmla="*/ 242586 w 732037"/>
              <a:gd name="csY26" fmla="*/ 715946 h 1571603"/>
              <a:gd name="csX27" fmla="*/ 242424 w 732037"/>
              <a:gd name="csY27" fmla="*/ 801932 h 1571603"/>
              <a:gd name="csX28" fmla="*/ 238000 w 732037"/>
              <a:gd name="csY28" fmla="*/ 846774 h 1571603"/>
              <a:gd name="csX29" fmla="*/ 232752 w 732037"/>
              <a:gd name="csY29" fmla="*/ 891559 h 1571603"/>
              <a:gd name="csX30" fmla="*/ 223037 w 732037"/>
              <a:gd name="csY30" fmla="*/ 950433 h 1571603"/>
              <a:gd name="csX31" fmla="*/ 210247 w 732037"/>
              <a:gd name="csY31" fmla="*/ 1012485 h 1571603"/>
              <a:gd name="csX32" fmla="*/ 194820 w 732037"/>
              <a:gd name="csY32" fmla="*/ 1069074 h 1571603"/>
              <a:gd name="csX33" fmla="*/ 165707 w 732037"/>
              <a:gd name="csY33" fmla="*/ 1163788 h 1571603"/>
              <a:gd name="csX34" fmla="*/ 144382 w 732037"/>
              <a:gd name="csY34" fmla="*/ 1185530 h 1571603"/>
              <a:gd name="csX35" fmla="*/ 129590 w 732037"/>
              <a:gd name="csY35" fmla="*/ 1191342 h 1571603"/>
              <a:gd name="csX36" fmla="*/ 122255 w 732037"/>
              <a:gd name="csY36" fmla="*/ 1208476 h 1571603"/>
              <a:gd name="csX37" fmla="*/ 127491 w 732037"/>
              <a:gd name="csY37" fmla="*/ 1222193 h 1571603"/>
              <a:gd name="csX38" fmla="*/ 118348 w 732037"/>
              <a:gd name="csY38" fmla="*/ 1261470 h 1571603"/>
              <a:gd name="csX39" fmla="*/ 58232 w 732037"/>
              <a:gd name="csY39" fmla="*/ 1319224 h 1571603"/>
              <a:gd name="csX40" fmla="*/ 28815 w 732037"/>
              <a:gd name="csY40" fmla="*/ 1389717 h 1571603"/>
              <a:gd name="csX41" fmla="*/ 32634 w 732037"/>
              <a:gd name="csY41" fmla="*/ 1426050 h 1571603"/>
              <a:gd name="csX42" fmla="*/ 30331 w 732037"/>
              <a:gd name="csY42" fmla="*/ 1441003 h 1571603"/>
              <a:gd name="csX43" fmla="*/ 9180 w 732037"/>
              <a:gd name="csY43" fmla="*/ 1516655 h 1571603"/>
              <a:gd name="csX44" fmla="*/ 20082 w 732037"/>
              <a:gd name="csY44" fmla="*/ 1531402 h 1571603"/>
              <a:gd name="csX45" fmla="*/ 74798 w 732037"/>
              <a:gd name="csY45" fmla="*/ 1543794 h 1571603"/>
              <a:gd name="csX46" fmla="*/ 113225 w 732037"/>
              <a:gd name="csY46" fmla="*/ 1550305 h 1571603"/>
              <a:gd name="csX47" fmla="*/ 136142 w 732037"/>
              <a:gd name="csY47" fmla="*/ 1553484 h 1571603"/>
              <a:gd name="csX48" fmla="*/ 177578 w 732037"/>
              <a:gd name="csY48" fmla="*/ 1556220 h 1571603"/>
              <a:gd name="csX49" fmla="*/ 231027 w 732037"/>
              <a:gd name="csY49" fmla="*/ 1560698 h 1571603"/>
              <a:gd name="csX50" fmla="*/ 254342 w 732037"/>
              <a:gd name="csY50" fmla="*/ 1561142 h 1571603"/>
              <a:gd name="csX51" fmla="*/ 459180 w 732037"/>
              <a:gd name="csY51" fmla="*/ 1563411 h 1571603"/>
              <a:gd name="csX52" fmla="*/ 531340 w 732037"/>
              <a:gd name="csY52" fmla="*/ 1560936 h 1571603"/>
              <a:gd name="csX53" fmla="*/ 590888 w 732037"/>
              <a:gd name="csY53" fmla="*/ 1555951 h 1571603"/>
              <a:gd name="csX54" fmla="*/ 710712 w 732037"/>
              <a:gd name="csY54" fmla="*/ 1533916 h 1571603"/>
              <a:gd name="csX55" fmla="*/ 724356 w 732037"/>
              <a:gd name="csY55" fmla="*/ 1516144 h 1571603"/>
              <a:gd name="csX56" fmla="*/ 707380 w 732037"/>
              <a:gd name="csY56" fmla="*/ 1449380 h 1571603"/>
              <a:gd name="csX57" fmla="*/ 707050 w 732037"/>
              <a:gd name="csY57" fmla="*/ 1440881 h 1571603"/>
              <a:gd name="csX58" fmla="*/ 731479 w 732037"/>
              <a:gd name="csY58" fmla="*/ 1500017 h 1571603"/>
              <a:gd name="csX59" fmla="*/ 731163 w 732037"/>
              <a:gd name="csY59" fmla="*/ 1513759 h 1571603"/>
              <a:gd name="csX60" fmla="*/ 731650 w 732037"/>
              <a:gd name="csY60" fmla="*/ 1521766 h 1571603"/>
              <a:gd name="csX61" fmla="*/ 721896 w 732037"/>
              <a:gd name="csY61" fmla="*/ 1537319 h 1571603"/>
              <a:gd name="csX62" fmla="*/ 657740 w 732037"/>
              <a:gd name="csY62" fmla="*/ 1553265 h 1571603"/>
              <a:gd name="csX63" fmla="*/ 507791 w 732037"/>
              <a:gd name="csY63" fmla="*/ 1568943 h 1571603"/>
              <a:gd name="csX64" fmla="*/ 264676 w 732037"/>
              <a:gd name="csY64" fmla="*/ 1569724 h 1571603"/>
              <a:gd name="csX65" fmla="*/ 82743 w 732037"/>
              <a:gd name="csY65" fmla="*/ 1553254 h 1571603"/>
              <a:gd name="csX66" fmla="*/ 17072 w 732037"/>
              <a:gd name="csY66" fmla="*/ 1538153 h 1571603"/>
              <a:gd name="csX67" fmla="*/ 275 w 732037"/>
              <a:gd name="csY67" fmla="*/ 1513030 h 1571603"/>
              <a:gd name="csX68" fmla="*/ 20923 w 732037"/>
              <a:gd name="csY68" fmla="*/ 1441861 h 1571603"/>
              <a:gd name="csX69" fmla="*/ 23045 w 732037"/>
              <a:gd name="csY69" fmla="*/ 1423105 h 1571603"/>
              <a:gd name="csX70" fmla="*/ 30564 w 732037"/>
              <a:gd name="csY70" fmla="*/ 1346289 h 1571603"/>
              <a:gd name="csX71" fmla="*/ 71350 w 732037"/>
              <a:gd name="csY71" fmla="*/ 1295039 h 1571603"/>
              <a:gd name="csX72" fmla="*/ 112257 w 732037"/>
              <a:gd name="csY72" fmla="*/ 1255093 h 1571603"/>
              <a:gd name="csX73" fmla="*/ 115864 w 732037"/>
              <a:gd name="csY73" fmla="*/ 1217271 h 1571603"/>
              <a:gd name="csX74" fmla="*/ 112256 w 732037"/>
              <a:gd name="csY74" fmla="*/ 1210870 h 1571603"/>
              <a:gd name="csX75" fmla="*/ 121141 w 732037"/>
              <a:gd name="csY75" fmla="*/ 1186548 h 1571603"/>
              <a:gd name="csX76" fmla="*/ 136571 w 732037"/>
              <a:gd name="csY76" fmla="*/ 1179850 h 1571603"/>
              <a:gd name="csX77" fmla="*/ 158281 w 732037"/>
              <a:gd name="csY77" fmla="*/ 1157879 h 1571603"/>
              <a:gd name="csX78" fmla="*/ 187986 w 732037"/>
              <a:gd name="csY78" fmla="*/ 1059736 h 1571603"/>
              <a:gd name="csX79" fmla="*/ 217119 w 732037"/>
              <a:gd name="csY79" fmla="*/ 938896 h 1571603"/>
              <a:gd name="csX80" fmla="*/ 225792 w 732037"/>
              <a:gd name="csY80" fmla="*/ 893236 h 1571603"/>
              <a:gd name="csX81" fmla="*/ 226150 w 732037"/>
              <a:gd name="csY81" fmla="*/ 887970 h 1571603"/>
              <a:gd name="csX82" fmla="*/ 230782 w 732037"/>
              <a:gd name="csY82" fmla="*/ 853969 h 1571603"/>
              <a:gd name="csX83" fmla="*/ 230786 w 732037"/>
              <a:gd name="csY83" fmla="*/ 848558 h 1571603"/>
              <a:gd name="csX84" fmla="*/ 233315 w 732037"/>
              <a:gd name="csY84" fmla="*/ 824438 h 1571603"/>
              <a:gd name="csX85" fmla="*/ 233199 w 732037"/>
              <a:gd name="csY85" fmla="*/ 819050 h 1571603"/>
              <a:gd name="csX86" fmla="*/ 235848 w 732037"/>
              <a:gd name="csY86" fmla="*/ 782380 h 1571603"/>
              <a:gd name="csX87" fmla="*/ 237465 w 732037"/>
              <a:gd name="csY87" fmla="*/ 719113 h 1571603"/>
              <a:gd name="csX88" fmla="*/ 233057 w 732037"/>
              <a:gd name="csY88" fmla="*/ 713160 h 1571603"/>
              <a:gd name="csX89" fmla="*/ 203056 w 732037"/>
              <a:gd name="csY89" fmla="*/ 708405 h 1571603"/>
              <a:gd name="csX90" fmla="*/ 169628 w 732037"/>
              <a:gd name="csY90" fmla="*/ 698106 h 1571603"/>
              <a:gd name="csX91" fmla="*/ 153237 w 732037"/>
              <a:gd name="csY91" fmla="*/ 659111 h 1571603"/>
              <a:gd name="csX92" fmla="*/ 178365 w 732037"/>
              <a:gd name="csY92" fmla="*/ 626008 h 1571603"/>
              <a:gd name="csX93" fmla="*/ 191885 w 732037"/>
              <a:gd name="csY93" fmla="*/ 617513 h 1571603"/>
              <a:gd name="csX94" fmla="*/ 193681 w 732037"/>
              <a:gd name="csY94" fmla="*/ 610098 h 1571603"/>
              <a:gd name="csX95" fmla="*/ 213301 w 732037"/>
              <a:gd name="csY95" fmla="*/ 579885 h 1571603"/>
              <a:gd name="csX96" fmla="*/ 229635 w 732037"/>
              <a:gd name="csY96" fmla="*/ 571429 h 1571603"/>
              <a:gd name="csX97" fmla="*/ 237351 w 732037"/>
              <a:gd name="csY97" fmla="*/ 565882 h 1571603"/>
              <a:gd name="csX98" fmla="*/ 233673 w 732037"/>
              <a:gd name="csY98" fmla="*/ 550926 h 1571603"/>
              <a:gd name="csX99" fmla="*/ 226799 w 732037"/>
              <a:gd name="csY99" fmla="*/ 548359 h 1571603"/>
              <a:gd name="csX100" fmla="*/ 218639 w 732037"/>
              <a:gd name="csY100" fmla="*/ 522664 h 1571603"/>
              <a:gd name="csX101" fmla="*/ 218264 w 732037"/>
              <a:gd name="csY101" fmla="*/ 505463 h 1571603"/>
              <a:gd name="csX102" fmla="*/ 181762 w 732037"/>
              <a:gd name="csY102" fmla="*/ 437574 h 1571603"/>
              <a:gd name="csX103" fmla="*/ 185971 w 732037"/>
              <a:gd name="csY103" fmla="*/ 289069 h 1571603"/>
              <a:gd name="csX104" fmla="*/ 253787 w 732037"/>
              <a:gd name="csY104" fmla="*/ 175580 h 1571603"/>
              <a:gd name="csX105" fmla="*/ 309639 w 732037"/>
              <a:gd name="csY105" fmla="*/ 108695 h 1571603"/>
              <a:gd name="csX106" fmla="*/ 318061 w 732037"/>
              <a:gd name="csY106" fmla="*/ 98855 h 1571603"/>
              <a:gd name="csX107" fmla="*/ 304967 w 732037"/>
              <a:gd name="csY107" fmla="*/ 70056 h 1571603"/>
              <a:gd name="csX108" fmla="*/ 317012 w 732037"/>
              <a:gd name="csY108" fmla="*/ 19436 h 1571603"/>
              <a:gd name="csX109" fmla="*/ 415542 w 732037"/>
              <a:gd name="csY109" fmla="*/ 18221 h 1571603"/>
              <a:gd name="csX110" fmla="*/ 423203 w 732037"/>
              <a:gd name="csY110" fmla="*/ 82660 h 1571603"/>
              <a:gd name="csX111" fmla="*/ 413361 w 732037"/>
              <a:gd name="csY111" fmla="*/ 97975 h 1571603"/>
              <a:gd name="csX112" fmla="*/ 421654 w 732037"/>
              <a:gd name="csY112" fmla="*/ 106676 h 1571603"/>
              <a:gd name="csX113" fmla="*/ 487032 w 732037"/>
              <a:gd name="csY113" fmla="*/ 184632 h 1571603"/>
              <a:gd name="csX114" fmla="*/ 489213 w 732037"/>
              <a:gd name="csY114" fmla="*/ 208238 h 1571603"/>
              <a:gd name="csX115" fmla="*/ 476520 w 732037"/>
              <a:gd name="csY115" fmla="*/ 235738 h 1571603"/>
              <a:gd name="csX116" fmla="*/ 472850 w 732037"/>
              <a:gd name="csY116" fmla="*/ 230703 h 1571603"/>
              <a:gd name="csX117" fmla="*/ 482723 w 732037"/>
              <a:gd name="csY117" fmla="*/ 208315 h 1571603"/>
              <a:gd name="csX118" fmla="*/ 480764 w 732037"/>
              <a:gd name="csY118" fmla="*/ 187916 h 1571603"/>
              <a:gd name="csX119" fmla="*/ 408519 w 732037"/>
              <a:gd name="csY119" fmla="*/ 105475 h 1571603"/>
              <a:gd name="csX120" fmla="*/ 408625 w 732037"/>
              <a:gd name="csY120" fmla="*/ 89203 h 1571603"/>
              <a:gd name="csX121" fmla="*/ 419600 w 732037"/>
              <a:gd name="csY121" fmla="*/ 71648 h 1571603"/>
              <a:gd name="csX122" fmla="*/ 418792 w 732037"/>
              <a:gd name="csY122" fmla="*/ 63179 h 1571603"/>
              <a:gd name="csX123" fmla="*/ 410943 w 732037"/>
              <a:gd name="csY123" fmla="*/ 66417 h 1571603"/>
              <a:gd name="csX124" fmla="*/ 400140 w 732037"/>
              <a:gd name="csY124" fmla="*/ 76155 h 1571603"/>
              <a:gd name="csX125" fmla="*/ 360599 w 732037"/>
              <a:gd name="csY125" fmla="*/ 51379 h 1571603"/>
              <a:gd name="csX126" fmla="*/ 360842 w 732037"/>
              <a:gd name="csY126" fmla="*/ 39128 h 1571603"/>
              <a:gd name="csX127" fmla="*/ 369470 w 732037"/>
              <a:gd name="csY127" fmla="*/ 30960 h 1571603"/>
              <a:gd name="csX128" fmla="*/ 365613 w 732037"/>
              <a:gd name="csY128" fmla="*/ 49108 h 1571603"/>
              <a:gd name="csX129" fmla="*/ 389468 w 732037"/>
              <a:gd name="csY129" fmla="*/ 71608 h 1571603"/>
              <a:gd name="csX130" fmla="*/ 408822 w 732037"/>
              <a:gd name="csY130" fmla="*/ 46613 h 1571603"/>
              <a:gd name="csX131" fmla="*/ 406842 w 732037"/>
              <a:gd name="csY131" fmla="*/ 38347 h 157160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</a:cxnLst>
            <a:rect l="l" t="t" r="r" b="b"/>
            <a:pathLst>
              <a:path w="732037" h="1571603">
                <a:moveTo>
                  <a:pt x="406842" y="38347"/>
                </a:moveTo>
                <a:cubicBezTo>
                  <a:pt x="408555" y="35869"/>
                  <a:pt x="410622" y="34608"/>
                  <a:pt x="411944" y="38343"/>
                </a:cubicBezTo>
                <a:cubicBezTo>
                  <a:pt x="413676" y="43242"/>
                  <a:pt x="414797" y="48356"/>
                  <a:pt x="416198" y="53444"/>
                </a:cubicBezTo>
                <a:cubicBezTo>
                  <a:pt x="422922" y="48977"/>
                  <a:pt x="424340" y="41699"/>
                  <a:pt x="418945" y="34170"/>
                </a:cubicBezTo>
                <a:cubicBezTo>
                  <a:pt x="412483" y="25152"/>
                  <a:pt x="404444" y="17554"/>
                  <a:pt x="394077" y="12943"/>
                </a:cubicBezTo>
                <a:cubicBezTo>
                  <a:pt x="376702" y="5216"/>
                  <a:pt x="358713" y="6244"/>
                  <a:pt x="341415" y="11814"/>
                </a:cubicBezTo>
                <a:cubicBezTo>
                  <a:pt x="323675" y="17525"/>
                  <a:pt x="304459" y="39816"/>
                  <a:pt x="309440" y="65249"/>
                </a:cubicBezTo>
                <a:cubicBezTo>
                  <a:pt x="310868" y="72543"/>
                  <a:pt x="315482" y="79463"/>
                  <a:pt x="319632" y="85914"/>
                </a:cubicBezTo>
                <a:cubicBezTo>
                  <a:pt x="325434" y="94933"/>
                  <a:pt x="325800" y="102817"/>
                  <a:pt x="318632" y="110015"/>
                </a:cubicBezTo>
                <a:cubicBezTo>
                  <a:pt x="291775" y="136984"/>
                  <a:pt x="269594" y="167702"/>
                  <a:pt x="246921" y="198083"/>
                </a:cubicBezTo>
                <a:cubicBezTo>
                  <a:pt x="230003" y="220751"/>
                  <a:pt x="215685" y="244921"/>
                  <a:pt x="202660" y="269911"/>
                </a:cubicBezTo>
                <a:cubicBezTo>
                  <a:pt x="188381" y="297309"/>
                  <a:pt x="179513" y="326657"/>
                  <a:pt x="176707" y="357233"/>
                </a:cubicBezTo>
                <a:cubicBezTo>
                  <a:pt x="174106" y="385578"/>
                  <a:pt x="180131" y="413140"/>
                  <a:pt x="190612" y="439700"/>
                </a:cubicBezTo>
                <a:cubicBezTo>
                  <a:pt x="199946" y="463353"/>
                  <a:pt x="211538" y="485623"/>
                  <a:pt x="227544" y="505527"/>
                </a:cubicBezTo>
                <a:cubicBezTo>
                  <a:pt x="229982" y="508558"/>
                  <a:pt x="230954" y="512768"/>
                  <a:pt x="232541" y="516294"/>
                </a:cubicBezTo>
                <a:cubicBezTo>
                  <a:pt x="229578" y="520824"/>
                  <a:pt x="226658" y="524724"/>
                  <a:pt x="224356" y="528960"/>
                </a:cubicBezTo>
                <a:cubicBezTo>
                  <a:pt x="221823" y="533618"/>
                  <a:pt x="222675" y="537588"/>
                  <a:pt x="227944" y="540026"/>
                </a:cubicBezTo>
                <a:cubicBezTo>
                  <a:pt x="231656" y="541743"/>
                  <a:pt x="235331" y="543568"/>
                  <a:pt x="238897" y="545570"/>
                </a:cubicBezTo>
                <a:cubicBezTo>
                  <a:pt x="249613" y="551585"/>
                  <a:pt x="251795" y="563681"/>
                  <a:pt x="242386" y="571785"/>
                </a:cubicBezTo>
                <a:cubicBezTo>
                  <a:pt x="233816" y="579166"/>
                  <a:pt x="224045" y="585423"/>
                  <a:pt x="214067" y="590809"/>
                </a:cubicBezTo>
                <a:cubicBezTo>
                  <a:pt x="206271" y="595018"/>
                  <a:pt x="202051" y="601487"/>
                  <a:pt x="201355" y="609067"/>
                </a:cubicBezTo>
                <a:cubicBezTo>
                  <a:pt x="200489" y="618497"/>
                  <a:pt x="195720" y="623726"/>
                  <a:pt x="188474" y="628398"/>
                </a:cubicBezTo>
                <a:cubicBezTo>
                  <a:pt x="177332" y="635582"/>
                  <a:pt x="167866" y="644503"/>
                  <a:pt x="162658" y="657096"/>
                </a:cubicBezTo>
                <a:cubicBezTo>
                  <a:pt x="156420" y="672181"/>
                  <a:pt x="160439" y="684301"/>
                  <a:pt x="175395" y="691621"/>
                </a:cubicBezTo>
                <a:cubicBezTo>
                  <a:pt x="183722" y="695697"/>
                  <a:pt x="192859" y="698589"/>
                  <a:pt x="201948" y="700523"/>
                </a:cubicBezTo>
                <a:cubicBezTo>
                  <a:pt x="214634" y="703224"/>
                  <a:pt x="227616" y="704530"/>
                  <a:pt x="241426" y="706574"/>
                </a:cubicBezTo>
                <a:cubicBezTo>
                  <a:pt x="241839" y="709770"/>
                  <a:pt x="242576" y="712857"/>
                  <a:pt x="242586" y="715946"/>
                </a:cubicBezTo>
                <a:cubicBezTo>
                  <a:pt x="242672" y="744610"/>
                  <a:pt x="243133" y="773285"/>
                  <a:pt x="242424" y="801932"/>
                </a:cubicBezTo>
                <a:cubicBezTo>
                  <a:pt x="242053" y="816907"/>
                  <a:pt x="239631" y="831838"/>
                  <a:pt x="238000" y="846774"/>
                </a:cubicBezTo>
                <a:cubicBezTo>
                  <a:pt x="236368" y="861717"/>
                  <a:pt x="234927" y="876693"/>
                  <a:pt x="232752" y="891559"/>
                </a:cubicBezTo>
                <a:cubicBezTo>
                  <a:pt x="229873" y="911238"/>
                  <a:pt x="226675" y="930882"/>
                  <a:pt x="223037" y="950433"/>
                </a:cubicBezTo>
                <a:cubicBezTo>
                  <a:pt x="219173" y="971193"/>
                  <a:pt x="215113" y="991942"/>
                  <a:pt x="210247" y="1012485"/>
                </a:cubicBezTo>
                <a:cubicBezTo>
                  <a:pt x="205743" y="1031500"/>
                  <a:pt x="200395" y="1050337"/>
                  <a:pt x="194820" y="1069074"/>
                </a:cubicBezTo>
                <a:cubicBezTo>
                  <a:pt x="185401" y="1100731"/>
                  <a:pt x="175708" y="1132311"/>
                  <a:pt x="165707" y="1163788"/>
                </a:cubicBezTo>
                <a:cubicBezTo>
                  <a:pt x="162367" y="1174302"/>
                  <a:pt x="156145" y="1182634"/>
                  <a:pt x="144382" y="1185530"/>
                </a:cubicBezTo>
                <a:cubicBezTo>
                  <a:pt x="139281" y="1186787"/>
                  <a:pt x="134434" y="1189193"/>
                  <a:pt x="129590" y="1191342"/>
                </a:cubicBezTo>
                <a:cubicBezTo>
                  <a:pt x="120028" y="1195581"/>
                  <a:pt x="118779" y="1198539"/>
                  <a:pt x="122255" y="1208476"/>
                </a:cubicBezTo>
                <a:cubicBezTo>
                  <a:pt x="123870" y="1213094"/>
                  <a:pt x="125990" y="1217542"/>
                  <a:pt x="127491" y="1222193"/>
                </a:cubicBezTo>
                <a:cubicBezTo>
                  <a:pt x="132294" y="1237066"/>
                  <a:pt x="129961" y="1250353"/>
                  <a:pt x="118348" y="1261470"/>
                </a:cubicBezTo>
                <a:cubicBezTo>
                  <a:pt x="98275" y="1280686"/>
                  <a:pt x="78038" y="1299737"/>
                  <a:pt x="58232" y="1319224"/>
                </a:cubicBezTo>
                <a:cubicBezTo>
                  <a:pt x="38634" y="1338507"/>
                  <a:pt x="29913" y="1362564"/>
                  <a:pt x="28815" y="1389717"/>
                </a:cubicBezTo>
                <a:cubicBezTo>
                  <a:pt x="28318" y="1402031"/>
                  <a:pt x="29110" y="1414206"/>
                  <a:pt x="32634" y="1426050"/>
                </a:cubicBezTo>
                <a:cubicBezTo>
                  <a:pt x="34273" y="1431554"/>
                  <a:pt x="33300" y="1435929"/>
                  <a:pt x="30331" y="1441003"/>
                </a:cubicBezTo>
                <a:cubicBezTo>
                  <a:pt x="16698" y="1464298"/>
                  <a:pt x="8890" y="1489397"/>
                  <a:pt x="9180" y="1516655"/>
                </a:cubicBezTo>
                <a:cubicBezTo>
                  <a:pt x="9291" y="1527012"/>
                  <a:pt x="9917" y="1528771"/>
                  <a:pt x="20082" y="1531402"/>
                </a:cubicBezTo>
                <a:cubicBezTo>
                  <a:pt x="38179" y="1536086"/>
                  <a:pt x="56480" y="1540035"/>
                  <a:pt x="74798" y="1543794"/>
                </a:cubicBezTo>
                <a:cubicBezTo>
                  <a:pt x="87517" y="1546403"/>
                  <a:pt x="100396" y="1548250"/>
                  <a:pt x="113225" y="1550305"/>
                </a:cubicBezTo>
                <a:cubicBezTo>
                  <a:pt x="120841" y="1551524"/>
                  <a:pt x="128467" y="1552843"/>
                  <a:pt x="136142" y="1553484"/>
                </a:cubicBezTo>
                <a:cubicBezTo>
                  <a:pt x="149934" y="1554635"/>
                  <a:pt x="163778" y="1555156"/>
                  <a:pt x="177578" y="1556220"/>
                </a:cubicBezTo>
                <a:cubicBezTo>
                  <a:pt x="195403" y="1557595"/>
                  <a:pt x="213196" y="1559407"/>
                  <a:pt x="231027" y="1560698"/>
                </a:cubicBezTo>
                <a:cubicBezTo>
                  <a:pt x="238768" y="1561259"/>
                  <a:pt x="246585" y="1560709"/>
                  <a:pt x="254342" y="1561142"/>
                </a:cubicBezTo>
                <a:cubicBezTo>
                  <a:pt x="322588" y="1564942"/>
                  <a:pt x="390896" y="1563427"/>
                  <a:pt x="459180" y="1563411"/>
                </a:cubicBezTo>
                <a:cubicBezTo>
                  <a:pt x="483236" y="1563406"/>
                  <a:pt x="507311" y="1562248"/>
                  <a:pt x="531340" y="1560936"/>
                </a:cubicBezTo>
                <a:cubicBezTo>
                  <a:pt x="551225" y="1559849"/>
                  <a:pt x="571160" y="1558554"/>
                  <a:pt x="590888" y="1555951"/>
                </a:cubicBezTo>
                <a:cubicBezTo>
                  <a:pt x="631179" y="1550635"/>
                  <a:pt x="671338" y="1544328"/>
                  <a:pt x="710712" y="1533916"/>
                </a:cubicBezTo>
                <a:cubicBezTo>
                  <a:pt x="722630" y="1530764"/>
                  <a:pt x="724036" y="1528558"/>
                  <a:pt x="724356" y="1516144"/>
                </a:cubicBezTo>
                <a:cubicBezTo>
                  <a:pt x="724970" y="1492256"/>
                  <a:pt x="718637" y="1470245"/>
                  <a:pt x="707380" y="1449380"/>
                </a:cubicBezTo>
                <a:cubicBezTo>
                  <a:pt x="706259" y="1447304"/>
                  <a:pt x="706896" y="1444279"/>
                  <a:pt x="707050" y="1440881"/>
                </a:cubicBezTo>
                <a:cubicBezTo>
                  <a:pt x="722747" y="1457101"/>
                  <a:pt x="728653" y="1477963"/>
                  <a:pt x="731479" y="1500017"/>
                </a:cubicBezTo>
                <a:cubicBezTo>
                  <a:pt x="731992" y="1504029"/>
                  <a:pt x="731781" y="1508135"/>
                  <a:pt x="731163" y="1513759"/>
                </a:cubicBezTo>
                <a:cubicBezTo>
                  <a:pt x="730831" y="1517468"/>
                  <a:pt x="731241" y="1519618"/>
                  <a:pt x="731650" y="1521766"/>
                </a:cubicBezTo>
                <a:cubicBezTo>
                  <a:pt x="733191" y="1529956"/>
                  <a:pt x="730165" y="1535242"/>
                  <a:pt x="721896" y="1537319"/>
                </a:cubicBezTo>
                <a:cubicBezTo>
                  <a:pt x="700520" y="1542690"/>
                  <a:pt x="679367" y="1549248"/>
                  <a:pt x="657740" y="1553265"/>
                </a:cubicBezTo>
                <a:cubicBezTo>
                  <a:pt x="608220" y="1562464"/>
                  <a:pt x="558146" y="1566701"/>
                  <a:pt x="507791" y="1568943"/>
                </a:cubicBezTo>
                <a:cubicBezTo>
                  <a:pt x="426738" y="1572552"/>
                  <a:pt x="345677" y="1572161"/>
                  <a:pt x="264676" y="1569724"/>
                </a:cubicBezTo>
                <a:cubicBezTo>
                  <a:pt x="203800" y="1567891"/>
                  <a:pt x="142882" y="1563907"/>
                  <a:pt x="82743" y="1553254"/>
                </a:cubicBezTo>
                <a:cubicBezTo>
                  <a:pt x="60647" y="1549341"/>
                  <a:pt x="38739" y="1544032"/>
                  <a:pt x="17072" y="1538153"/>
                </a:cubicBezTo>
                <a:cubicBezTo>
                  <a:pt x="1381" y="1533894"/>
                  <a:pt x="-938" y="1529341"/>
                  <a:pt x="275" y="1513030"/>
                </a:cubicBezTo>
                <a:cubicBezTo>
                  <a:pt x="2146" y="1487871"/>
                  <a:pt x="7321" y="1463566"/>
                  <a:pt x="20923" y="1441861"/>
                </a:cubicBezTo>
                <a:cubicBezTo>
                  <a:pt x="24812" y="1435656"/>
                  <a:pt x="24566" y="1429699"/>
                  <a:pt x="23045" y="1423105"/>
                </a:cubicBezTo>
                <a:cubicBezTo>
                  <a:pt x="16952" y="1396684"/>
                  <a:pt x="19689" y="1370924"/>
                  <a:pt x="30564" y="1346289"/>
                </a:cubicBezTo>
                <a:cubicBezTo>
                  <a:pt x="39621" y="1325774"/>
                  <a:pt x="54481" y="1309709"/>
                  <a:pt x="71350" y="1295039"/>
                </a:cubicBezTo>
                <a:cubicBezTo>
                  <a:pt x="85712" y="1282550"/>
                  <a:pt x="99164" y="1268932"/>
                  <a:pt x="112257" y="1255093"/>
                </a:cubicBezTo>
                <a:cubicBezTo>
                  <a:pt x="122891" y="1243852"/>
                  <a:pt x="124955" y="1230879"/>
                  <a:pt x="115864" y="1217271"/>
                </a:cubicBezTo>
                <a:cubicBezTo>
                  <a:pt x="114506" y="1215239"/>
                  <a:pt x="113304" y="1213078"/>
                  <a:pt x="112256" y="1210870"/>
                </a:cubicBezTo>
                <a:cubicBezTo>
                  <a:pt x="106526" y="1198808"/>
                  <a:pt x="109052" y="1191969"/>
                  <a:pt x="121141" y="1186548"/>
                </a:cubicBezTo>
                <a:cubicBezTo>
                  <a:pt x="126274" y="1184246"/>
                  <a:pt x="131201" y="1180803"/>
                  <a:pt x="136571" y="1179850"/>
                </a:cubicBezTo>
                <a:cubicBezTo>
                  <a:pt x="149372" y="1177579"/>
                  <a:pt x="154892" y="1168948"/>
                  <a:pt x="158281" y="1157879"/>
                </a:cubicBezTo>
                <a:cubicBezTo>
                  <a:pt x="168288" y="1125194"/>
                  <a:pt x="179178" y="1092742"/>
                  <a:pt x="187986" y="1059736"/>
                </a:cubicBezTo>
                <a:cubicBezTo>
                  <a:pt x="198666" y="1019713"/>
                  <a:pt x="207813" y="979272"/>
                  <a:pt x="217119" y="938896"/>
                </a:cubicBezTo>
                <a:cubicBezTo>
                  <a:pt x="220491" y="924267"/>
                  <a:pt x="222410" y="909302"/>
                  <a:pt x="225792" y="893236"/>
                </a:cubicBezTo>
                <a:cubicBezTo>
                  <a:pt x="226444" y="890644"/>
                  <a:pt x="226297" y="889307"/>
                  <a:pt x="226150" y="887970"/>
                </a:cubicBezTo>
                <a:cubicBezTo>
                  <a:pt x="227450" y="877085"/>
                  <a:pt x="228750" y="866198"/>
                  <a:pt x="230782" y="853969"/>
                </a:cubicBezTo>
                <a:cubicBezTo>
                  <a:pt x="231271" y="851270"/>
                  <a:pt x="231029" y="849914"/>
                  <a:pt x="230786" y="848558"/>
                </a:cubicBezTo>
                <a:cubicBezTo>
                  <a:pt x="231390" y="840967"/>
                  <a:pt x="231993" y="833375"/>
                  <a:pt x="233315" y="824438"/>
                </a:cubicBezTo>
                <a:cubicBezTo>
                  <a:pt x="233755" y="821744"/>
                  <a:pt x="233477" y="820397"/>
                  <a:pt x="233199" y="819050"/>
                </a:cubicBezTo>
                <a:cubicBezTo>
                  <a:pt x="233786" y="807422"/>
                  <a:pt x="234374" y="795794"/>
                  <a:pt x="235848" y="782380"/>
                </a:cubicBezTo>
                <a:cubicBezTo>
                  <a:pt x="237047" y="760099"/>
                  <a:pt x="237488" y="739606"/>
                  <a:pt x="237465" y="719113"/>
                </a:cubicBezTo>
                <a:cubicBezTo>
                  <a:pt x="237463" y="717127"/>
                  <a:pt x="234595" y="715144"/>
                  <a:pt x="233057" y="713160"/>
                </a:cubicBezTo>
                <a:cubicBezTo>
                  <a:pt x="223043" y="711630"/>
                  <a:pt x="212881" y="710731"/>
                  <a:pt x="203056" y="708405"/>
                </a:cubicBezTo>
                <a:cubicBezTo>
                  <a:pt x="191716" y="705720"/>
                  <a:pt x="180144" y="702931"/>
                  <a:pt x="169628" y="698106"/>
                </a:cubicBezTo>
                <a:cubicBezTo>
                  <a:pt x="154505" y="691164"/>
                  <a:pt x="148867" y="675179"/>
                  <a:pt x="153237" y="659111"/>
                </a:cubicBezTo>
                <a:cubicBezTo>
                  <a:pt x="157196" y="644561"/>
                  <a:pt x="166649" y="634454"/>
                  <a:pt x="178365" y="626008"/>
                </a:cubicBezTo>
                <a:cubicBezTo>
                  <a:pt x="182258" y="623202"/>
                  <a:pt x="186579" y="620992"/>
                  <a:pt x="191885" y="617513"/>
                </a:cubicBezTo>
                <a:cubicBezTo>
                  <a:pt x="194882" y="614532"/>
                  <a:pt x="197062" y="612583"/>
                  <a:pt x="193681" y="610098"/>
                </a:cubicBezTo>
                <a:cubicBezTo>
                  <a:pt x="193381" y="595591"/>
                  <a:pt x="202034" y="586776"/>
                  <a:pt x="213301" y="579885"/>
                </a:cubicBezTo>
                <a:cubicBezTo>
                  <a:pt x="218517" y="576695"/>
                  <a:pt x="224270" y="574393"/>
                  <a:pt x="229635" y="571429"/>
                </a:cubicBezTo>
                <a:cubicBezTo>
                  <a:pt x="232401" y="569901"/>
                  <a:pt x="235344" y="568225"/>
                  <a:pt x="237351" y="565882"/>
                </a:cubicBezTo>
                <a:cubicBezTo>
                  <a:pt x="243193" y="559063"/>
                  <a:pt x="242021" y="554779"/>
                  <a:pt x="233673" y="550926"/>
                </a:cubicBezTo>
                <a:cubicBezTo>
                  <a:pt x="231458" y="549904"/>
                  <a:pt x="229049" y="549314"/>
                  <a:pt x="226799" y="548359"/>
                </a:cubicBezTo>
                <a:cubicBezTo>
                  <a:pt x="215108" y="543398"/>
                  <a:pt x="211118" y="532802"/>
                  <a:pt x="218639" y="522664"/>
                </a:cubicBezTo>
                <a:cubicBezTo>
                  <a:pt x="223647" y="515913"/>
                  <a:pt x="222661" y="511633"/>
                  <a:pt x="218264" y="505463"/>
                </a:cubicBezTo>
                <a:cubicBezTo>
                  <a:pt x="203255" y="484407"/>
                  <a:pt x="190650" y="461993"/>
                  <a:pt x="181762" y="437574"/>
                </a:cubicBezTo>
                <a:cubicBezTo>
                  <a:pt x="163530" y="387483"/>
                  <a:pt x="165826" y="338057"/>
                  <a:pt x="185971" y="289069"/>
                </a:cubicBezTo>
                <a:cubicBezTo>
                  <a:pt x="202921" y="247851"/>
                  <a:pt x="226229" y="210377"/>
                  <a:pt x="253787" y="175580"/>
                </a:cubicBezTo>
                <a:cubicBezTo>
                  <a:pt x="271814" y="152817"/>
                  <a:pt x="290973" y="130951"/>
                  <a:pt x="309639" y="108695"/>
                </a:cubicBezTo>
                <a:cubicBezTo>
                  <a:pt x="312744" y="104993"/>
                  <a:pt x="315922" y="101352"/>
                  <a:pt x="318061" y="98855"/>
                </a:cubicBezTo>
                <a:cubicBezTo>
                  <a:pt x="313257" y="88362"/>
                  <a:pt x="308695" y="79376"/>
                  <a:pt x="304967" y="70056"/>
                </a:cubicBezTo>
                <a:cubicBezTo>
                  <a:pt x="297146" y="50504"/>
                  <a:pt x="303366" y="33481"/>
                  <a:pt x="317012" y="19436"/>
                </a:cubicBezTo>
                <a:cubicBezTo>
                  <a:pt x="344741" y="-9105"/>
                  <a:pt x="393463" y="-3345"/>
                  <a:pt x="415542" y="18221"/>
                </a:cubicBezTo>
                <a:cubicBezTo>
                  <a:pt x="429559" y="31914"/>
                  <a:pt x="438373" y="56968"/>
                  <a:pt x="423203" y="82660"/>
                </a:cubicBezTo>
                <a:cubicBezTo>
                  <a:pt x="420306" y="87568"/>
                  <a:pt x="417047" y="92262"/>
                  <a:pt x="413361" y="97975"/>
                </a:cubicBezTo>
                <a:cubicBezTo>
                  <a:pt x="416167" y="100932"/>
                  <a:pt x="418781" y="103940"/>
                  <a:pt x="421654" y="106676"/>
                </a:cubicBezTo>
                <a:cubicBezTo>
                  <a:pt x="446372" y="130213"/>
                  <a:pt x="467902" y="156374"/>
                  <a:pt x="487032" y="184632"/>
                </a:cubicBezTo>
                <a:cubicBezTo>
                  <a:pt x="492374" y="192525"/>
                  <a:pt x="493990" y="199495"/>
                  <a:pt x="489213" y="208238"/>
                </a:cubicBezTo>
                <a:cubicBezTo>
                  <a:pt x="484525" y="216819"/>
                  <a:pt x="481033" y="226053"/>
                  <a:pt x="476520" y="235738"/>
                </a:cubicBezTo>
                <a:cubicBezTo>
                  <a:pt x="472168" y="236089"/>
                  <a:pt x="471165" y="234358"/>
                  <a:pt x="472850" y="230703"/>
                </a:cubicBezTo>
                <a:cubicBezTo>
                  <a:pt x="476263" y="223297"/>
                  <a:pt x="479344" y="215738"/>
                  <a:pt x="482723" y="208315"/>
                </a:cubicBezTo>
                <a:cubicBezTo>
                  <a:pt x="486016" y="201080"/>
                  <a:pt x="485571" y="194961"/>
                  <a:pt x="480764" y="187916"/>
                </a:cubicBezTo>
                <a:cubicBezTo>
                  <a:pt x="459995" y="157475"/>
                  <a:pt x="437234" y="128912"/>
                  <a:pt x="408519" y="105475"/>
                </a:cubicBezTo>
                <a:cubicBezTo>
                  <a:pt x="403555" y="101425"/>
                  <a:pt x="403835" y="96489"/>
                  <a:pt x="408625" y="89203"/>
                </a:cubicBezTo>
                <a:cubicBezTo>
                  <a:pt x="412416" y="83438"/>
                  <a:pt x="416045" y="77562"/>
                  <a:pt x="419600" y="71648"/>
                </a:cubicBezTo>
                <a:cubicBezTo>
                  <a:pt x="421349" y="68739"/>
                  <a:pt x="422717" y="65537"/>
                  <a:pt x="418792" y="63179"/>
                </a:cubicBezTo>
                <a:cubicBezTo>
                  <a:pt x="414834" y="60801"/>
                  <a:pt x="413218" y="63883"/>
                  <a:pt x="410943" y="66417"/>
                </a:cubicBezTo>
                <a:cubicBezTo>
                  <a:pt x="407706" y="70022"/>
                  <a:pt x="404330" y="74045"/>
                  <a:pt x="400140" y="76155"/>
                </a:cubicBezTo>
                <a:cubicBezTo>
                  <a:pt x="381561" y="85507"/>
                  <a:pt x="360821" y="72312"/>
                  <a:pt x="360599" y="51379"/>
                </a:cubicBezTo>
                <a:cubicBezTo>
                  <a:pt x="360556" y="47292"/>
                  <a:pt x="360308" y="43152"/>
                  <a:pt x="360842" y="39128"/>
                </a:cubicBezTo>
                <a:cubicBezTo>
                  <a:pt x="361447" y="34568"/>
                  <a:pt x="362880" y="30159"/>
                  <a:pt x="369470" y="30960"/>
                </a:cubicBezTo>
                <a:cubicBezTo>
                  <a:pt x="368501" y="37551"/>
                  <a:pt x="365745" y="43300"/>
                  <a:pt x="365613" y="49108"/>
                </a:cubicBezTo>
                <a:cubicBezTo>
                  <a:pt x="365328" y="61659"/>
                  <a:pt x="377498" y="72522"/>
                  <a:pt x="389468" y="71608"/>
                </a:cubicBezTo>
                <a:cubicBezTo>
                  <a:pt x="401478" y="70690"/>
                  <a:pt x="410127" y="59637"/>
                  <a:pt x="408822" y="46613"/>
                </a:cubicBezTo>
                <a:cubicBezTo>
                  <a:pt x="408542" y="43819"/>
                  <a:pt x="407521" y="41100"/>
                  <a:pt x="406842" y="38347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5" name="Free-form: Shape 14">
            <a:extLst>
              <a:ext uri="{FF2B5EF4-FFF2-40B4-BE49-F238E27FC236}">
                <a16:creationId xmlns:a16="http://schemas.microsoft.com/office/drawing/2014/main" id="{51EA4B6F-FCFD-7AE6-0906-D6C395191C5D}"/>
              </a:ext>
            </a:extLst>
          </p:cNvPr>
          <p:cNvSpPr/>
          <p:nvPr/>
        </p:nvSpPr>
        <p:spPr>
          <a:xfrm>
            <a:off x="3294931" y="-1576567"/>
            <a:ext cx="91545" cy="184495"/>
          </a:xfrm>
          <a:custGeom>
            <a:avLst/>
            <a:gdLst>
              <a:gd name="csX0" fmla="*/ 96534 w 100699"/>
              <a:gd name="csY0" fmla="*/ 202912 h 202945"/>
              <a:gd name="csX1" fmla="*/ 91036 w 100699"/>
              <a:gd name="csY1" fmla="*/ 196780 h 202945"/>
              <a:gd name="csX2" fmla="*/ 93357 w 100699"/>
              <a:gd name="csY2" fmla="*/ 178731 h 202945"/>
              <a:gd name="csX3" fmla="*/ 75903 w 100699"/>
              <a:gd name="csY3" fmla="*/ 106029 h 202945"/>
              <a:gd name="csX4" fmla="*/ 72780 w 100699"/>
              <a:gd name="csY4" fmla="*/ 102473 h 202945"/>
              <a:gd name="csX5" fmla="*/ 10982 w 100699"/>
              <a:gd name="csY5" fmla="*/ 41414 h 202945"/>
              <a:gd name="csX6" fmla="*/ 676 w 100699"/>
              <a:gd name="csY6" fmla="*/ 2936 h 202945"/>
              <a:gd name="csX7" fmla="*/ 5198 w 100699"/>
              <a:gd name="csY7" fmla="*/ 0 h 202945"/>
              <a:gd name="csX8" fmla="*/ 15435 w 100699"/>
              <a:gd name="csY8" fmla="*/ 35855 h 202945"/>
              <a:gd name="csX9" fmla="*/ 44498 w 100699"/>
              <a:gd name="csY9" fmla="*/ 63833 h 202945"/>
              <a:gd name="csX10" fmla="*/ 81385 w 100699"/>
              <a:gd name="csY10" fmla="*/ 106005 h 202945"/>
              <a:gd name="csX11" fmla="*/ 98950 w 100699"/>
              <a:gd name="csY11" fmla="*/ 190063 h 202945"/>
              <a:gd name="csX12" fmla="*/ 96534 w 100699"/>
              <a:gd name="csY12" fmla="*/ 202912 h 20294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</a:cxnLst>
            <a:rect l="l" t="t" r="r" b="b"/>
            <a:pathLst>
              <a:path w="100699" h="202945">
                <a:moveTo>
                  <a:pt x="96534" y="202912"/>
                </a:moveTo>
                <a:cubicBezTo>
                  <a:pt x="91699" y="203291"/>
                  <a:pt x="90650" y="200377"/>
                  <a:pt x="91036" y="196780"/>
                </a:cubicBezTo>
                <a:cubicBezTo>
                  <a:pt x="91685" y="190750"/>
                  <a:pt x="92933" y="184771"/>
                  <a:pt x="93357" y="178731"/>
                </a:cubicBezTo>
                <a:cubicBezTo>
                  <a:pt x="95183" y="152694"/>
                  <a:pt x="86034" y="129222"/>
                  <a:pt x="75903" y="106029"/>
                </a:cubicBezTo>
                <a:cubicBezTo>
                  <a:pt x="75300" y="104650"/>
                  <a:pt x="73904" y="103585"/>
                  <a:pt x="72780" y="102473"/>
                </a:cubicBezTo>
                <a:cubicBezTo>
                  <a:pt x="52199" y="82101"/>
                  <a:pt x="31673" y="61673"/>
                  <a:pt x="10982" y="41414"/>
                </a:cubicBezTo>
                <a:cubicBezTo>
                  <a:pt x="-119" y="30544"/>
                  <a:pt x="-1041" y="17093"/>
                  <a:pt x="676" y="2936"/>
                </a:cubicBezTo>
                <a:cubicBezTo>
                  <a:pt x="808" y="1852"/>
                  <a:pt x="2922" y="1010"/>
                  <a:pt x="5198" y="0"/>
                </a:cubicBezTo>
                <a:cubicBezTo>
                  <a:pt x="2043" y="13772"/>
                  <a:pt x="5665" y="25821"/>
                  <a:pt x="15435" y="35855"/>
                </a:cubicBezTo>
                <a:cubicBezTo>
                  <a:pt x="24811" y="45486"/>
                  <a:pt x="35301" y="54047"/>
                  <a:pt x="44498" y="63833"/>
                </a:cubicBezTo>
                <a:cubicBezTo>
                  <a:pt x="57293" y="77447"/>
                  <a:pt x="70760" y="90773"/>
                  <a:pt x="81385" y="106005"/>
                </a:cubicBezTo>
                <a:cubicBezTo>
                  <a:pt x="98896" y="131109"/>
                  <a:pt x="103759" y="159808"/>
                  <a:pt x="98950" y="190063"/>
                </a:cubicBezTo>
                <a:cubicBezTo>
                  <a:pt x="98311" y="194082"/>
                  <a:pt x="97697" y="198105"/>
                  <a:pt x="96534" y="202912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" name="Free-form: Shape 15">
            <a:extLst>
              <a:ext uri="{FF2B5EF4-FFF2-40B4-BE49-F238E27FC236}">
                <a16:creationId xmlns:a16="http://schemas.microsoft.com/office/drawing/2014/main" id="{4B9A5079-ADA9-C1FE-7CF0-3800A2BEB194}"/>
              </a:ext>
            </a:extLst>
          </p:cNvPr>
          <p:cNvSpPr/>
          <p:nvPr/>
        </p:nvSpPr>
        <p:spPr>
          <a:xfrm>
            <a:off x="2953647" y="-2040603"/>
            <a:ext cx="3739" cy="60936"/>
          </a:xfrm>
          <a:custGeom>
            <a:avLst/>
            <a:gdLst>
              <a:gd name="csX0" fmla="*/ 0 w 4113"/>
              <a:gd name="csY0" fmla="*/ 0 h 67029"/>
              <a:gd name="csX1" fmla="*/ 4113 w 4113"/>
              <a:gd name="csY1" fmla="*/ 4824 h 67029"/>
              <a:gd name="csX2" fmla="*/ 2662 w 4113"/>
              <a:gd name="csY2" fmla="*/ 67030 h 67029"/>
              <a:gd name="csX3" fmla="*/ 631 w 4113"/>
              <a:gd name="csY3" fmla="*/ 55883 h 67029"/>
              <a:gd name="csX4" fmla="*/ 0 w 4113"/>
              <a:gd name="csY4" fmla="*/ 0 h 6702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4113" h="67029">
                <a:moveTo>
                  <a:pt x="0" y="0"/>
                </a:moveTo>
                <a:cubicBezTo>
                  <a:pt x="1242" y="855"/>
                  <a:pt x="4111" y="2838"/>
                  <a:pt x="4113" y="4824"/>
                </a:cubicBezTo>
                <a:cubicBezTo>
                  <a:pt x="4135" y="25317"/>
                  <a:pt x="3695" y="45810"/>
                  <a:pt x="2662" y="67030"/>
                </a:cubicBezTo>
                <a:cubicBezTo>
                  <a:pt x="1483" y="63799"/>
                  <a:pt x="680" y="59846"/>
                  <a:pt x="631" y="55883"/>
                </a:cubicBezTo>
                <a:cubicBezTo>
                  <a:pt x="404" y="37633"/>
                  <a:pt x="388" y="19381"/>
                  <a:pt x="0" y="0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" name="Free-form: Shape 19">
            <a:extLst>
              <a:ext uri="{FF2B5EF4-FFF2-40B4-BE49-F238E27FC236}">
                <a16:creationId xmlns:a16="http://schemas.microsoft.com/office/drawing/2014/main" id="{01051C34-4CB1-39B6-8A55-21FBF593F259}"/>
              </a:ext>
            </a:extLst>
          </p:cNvPr>
          <p:cNvSpPr/>
          <p:nvPr/>
        </p:nvSpPr>
        <p:spPr>
          <a:xfrm>
            <a:off x="3406036" y="-1312803"/>
            <a:ext cx="1060" cy="5803"/>
          </a:xfrm>
          <a:custGeom>
            <a:avLst/>
            <a:gdLst>
              <a:gd name="csX0" fmla="*/ 1130 w 1165"/>
              <a:gd name="csY0" fmla="*/ 6385 h 6384"/>
              <a:gd name="csX1" fmla="*/ 49 w 1165"/>
              <a:gd name="csY1" fmla="*/ 0 h 6384"/>
              <a:gd name="csX2" fmla="*/ 1130 w 1165"/>
              <a:gd name="csY2" fmla="*/ 6385 h 638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165" h="6384">
                <a:moveTo>
                  <a:pt x="1130" y="6385"/>
                </a:moveTo>
                <a:cubicBezTo>
                  <a:pt x="260" y="4748"/>
                  <a:pt x="-149" y="2599"/>
                  <a:pt x="49" y="0"/>
                </a:cubicBezTo>
                <a:cubicBezTo>
                  <a:pt x="969" y="1658"/>
                  <a:pt x="1279" y="3765"/>
                  <a:pt x="1130" y="6385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" name="Free-form: Shape 20">
            <a:extLst>
              <a:ext uri="{FF2B5EF4-FFF2-40B4-BE49-F238E27FC236}">
                <a16:creationId xmlns:a16="http://schemas.microsoft.com/office/drawing/2014/main" id="{10CC0EC1-ECE2-E265-9545-D15C4EC23892}"/>
              </a:ext>
            </a:extLst>
          </p:cNvPr>
          <p:cNvSpPr/>
          <p:nvPr/>
        </p:nvSpPr>
        <p:spPr>
          <a:xfrm>
            <a:off x="3376307" y="-1386898"/>
            <a:ext cx="5440" cy="2491"/>
          </a:xfrm>
          <a:custGeom>
            <a:avLst/>
            <a:gdLst>
              <a:gd name="csX0" fmla="*/ 5985 w 5984"/>
              <a:gd name="csY0" fmla="*/ 1832 h 2740"/>
              <a:gd name="csX1" fmla="*/ 0 w 5984"/>
              <a:gd name="csY1" fmla="*/ 2740 h 2740"/>
              <a:gd name="csX2" fmla="*/ 4930 w 5984"/>
              <a:gd name="csY2" fmla="*/ 0 h 2740"/>
              <a:gd name="csX3" fmla="*/ 5985 w 5984"/>
              <a:gd name="csY3" fmla="*/ 1832 h 274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</a:cxnLst>
            <a:rect l="l" t="t" r="r" b="b"/>
            <a:pathLst>
              <a:path w="5984" h="2740">
                <a:moveTo>
                  <a:pt x="5985" y="1832"/>
                </a:moveTo>
                <a:cubicBezTo>
                  <a:pt x="3992" y="2553"/>
                  <a:pt x="1996" y="2646"/>
                  <a:pt x="0" y="2740"/>
                </a:cubicBezTo>
                <a:cubicBezTo>
                  <a:pt x="1398" y="1830"/>
                  <a:pt x="2796" y="920"/>
                  <a:pt x="4930" y="0"/>
                </a:cubicBezTo>
                <a:cubicBezTo>
                  <a:pt x="5772" y="394"/>
                  <a:pt x="5877" y="799"/>
                  <a:pt x="5985" y="1832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2" name="Free-form: Shape 21">
            <a:extLst>
              <a:ext uri="{FF2B5EF4-FFF2-40B4-BE49-F238E27FC236}">
                <a16:creationId xmlns:a16="http://schemas.microsoft.com/office/drawing/2014/main" id="{EF26FD18-C3EE-EFE5-EC48-C1829010E9DD}"/>
              </a:ext>
            </a:extLst>
          </p:cNvPr>
          <p:cNvSpPr/>
          <p:nvPr/>
        </p:nvSpPr>
        <p:spPr>
          <a:xfrm>
            <a:off x="2916420" y="-2134783"/>
            <a:ext cx="2645" cy="5625"/>
          </a:xfrm>
          <a:custGeom>
            <a:avLst/>
            <a:gdLst>
              <a:gd name="csX0" fmla="*/ 815 w 2910"/>
              <a:gd name="csY0" fmla="*/ 0 h 6187"/>
              <a:gd name="csX1" fmla="*/ 113 w 2910"/>
              <a:gd name="csY1" fmla="*/ 6187 h 6187"/>
              <a:gd name="csX2" fmla="*/ 815 w 2910"/>
              <a:gd name="csY2" fmla="*/ 0 h 618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2910" h="6187">
                <a:moveTo>
                  <a:pt x="815" y="0"/>
                </a:moveTo>
                <a:cubicBezTo>
                  <a:pt x="4660" y="1891"/>
                  <a:pt x="2480" y="3840"/>
                  <a:pt x="113" y="6187"/>
                </a:cubicBezTo>
                <a:cubicBezTo>
                  <a:pt x="-172" y="4565"/>
                  <a:pt x="89" y="2579"/>
                  <a:pt x="815" y="0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3" name="Free-form: Shape 22">
            <a:extLst>
              <a:ext uri="{FF2B5EF4-FFF2-40B4-BE49-F238E27FC236}">
                <a16:creationId xmlns:a16="http://schemas.microsoft.com/office/drawing/2014/main" id="{B971D639-701B-AA5E-F5C6-EB78AEC25372}"/>
              </a:ext>
            </a:extLst>
          </p:cNvPr>
          <p:cNvSpPr/>
          <p:nvPr/>
        </p:nvSpPr>
        <p:spPr>
          <a:xfrm>
            <a:off x="2950835" y="-1918209"/>
            <a:ext cx="770" cy="3664"/>
          </a:xfrm>
          <a:custGeom>
            <a:avLst/>
            <a:gdLst>
              <a:gd name="csX0" fmla="*/ 106 w 847"/>
              <a:gd name="csY0" fmla="*/ 0 h 4030"/>
              <a:gd name="csX1" fmla="*/ 732 w 847"/>
              <a:gd name="csY1" fmla="*/ 4031 h 4030"/>
              <a:gd name="csX2" fmla="*/ 106 w 847"/>
              <a:gd name="csY2" fmla="*/ 0 h 403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7" h="4030">
                <a:moveTo>
                  <a:pt x="106" y="0"/>
                </a:moveTo>
                <a:cubicBezTo>
                  <a:pt x="770" y="990"/>
                  <a:pt x="1013" y="2346"/>
                  <a:pt x="732" y="4031"/>
                </a:cubicBezTo>
                <a:cubicBezTo>
                  <a:pt x="34" y="3029"/>
                  <a:pt x="-141" y="1697"/>
                  <a:pt x="106" y="0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4" name="Free-form: Shape 23">
            <a:extLst>
              <a:ext uri="{FF2B5EF4-FFF2-40B4-BE49-F238E27FC236}">
                <a16:creationId xmlns:a16="http://schemas.microsoft.com/office/drawing/2014/main" id="{BF060944-6966-8FBB-3B72-70B59803FCD3}"/>
              </a:ext>
            </a:extLst>
          </p:cNvPr>
          <p:cNvSpPr/>
          <p:nvPr/>
        </p:nvSpPr>
        <p:spPr>
          <a:xfrm>
            <a:off x="2946511" y="-1882415"/>
            <a:ext cx="703" cy="3631"/>
          </a:xfrm>
          <a:custGeom>
            <a:avLst/>
            <a:gdLst>
              <a:gd name="csX0" fmla="*/ 195 w 774"/>
              <a:gd name="csY0" fmla="*/ 0 h 3994"/>
              <a:gd name="csX1" fmla="*/ 575 w 774"/>
              <a:gd name="csY1" fmla="*/ 3994 h 3994"/>
              <a:gd name="csX2" fmla="*/ 195 w 774"/>
              <a:gd name="csY2" fmla="*/ 0 h 399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774" h="3994">
                <a:moveTo>
                  <a:pt x="195" y="0"/>
                </a:moveTo>
                <a:cubicBezTo>
                  <a:pt x="794" y="1011"/>
                  <a:pt x="941" y="2348"/>
                  <a:pt x="575" y="3994"/>
                </a:cubicBezTo>
                <a:cubicBezTo>
                  <a:pt x="-44" y="2978"/>
                  <a:pt x="-151" y="1652"/>
                  <a:pt x="195" y="0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5" name="Free-form: Shape 24">
            <a:extLst>
              <a:ext uri="{FF2B5EF4-FFF2-40B4-BE49-F238E27FC236}">
                <a16:creationId xmlns:a16="http://schemas.microsoft.com/office/drawing/2014/main" id="{58FFCF76-FC12-C201-4D18-856453FBB0CB}"/>
              </a:ext>
            </a:extLst>
          </p:cNvPr>
          <p:cNvSpPr/>
          <p:nvPr/>
        </p:nvSpPr>
        <p:spPr>
          <a:xfrm>
            <a:off x="2953088" y="-1945019"/>
            <a:ext cx="787" cy="3631"/>
          </a:xfrm>
          <a:custGeom>
            <a:avLst/>
            <a:gdLst>
              <a:gd name="csX0" fmla="*/ 71 w 865"/>
              <a:gd name="csY0" fmla="*/ 0 h 3995"/>
              <a:gd name="csX1" fmla="*/ 783 w 865"/>
              <a:gd name="csY1" fmla="*/ 3996 h 3995"/>
              <a:gd name="csX2" fmla="*/ 71 w 865"/>
              <a:gd name="csY2" fmla="*/ 0 h 399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65" h="3995">
                <a:moveTo>
                  <a:pt x="71" y="0"/>
                </a:moveTo>
                <a:cubicBezTo>
                  <a:pt x="740" y="963"/>
                  <a:pt x="1018" y="2311"/>
                  <a:pt x="783" y="3996"/>
                </a:cubicBezTo>
                <a:cubicBezTo>
                  <a:pt x="73" y="3017"/>
                  <a:pt x="-124" y="1701"/>
                  <a:pt x="71" y="0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6" name="Free-form: Shape 25">
            <a:extLst>
              <a:ext uri="{FF2B5EF4-FFF2-40B4-BE49-F238E27FC236}">
                <a16:creationId xmlns:a16="http://schemas.microsoft.com/office/drawing/2014/main" id="{DB5A0145-965B-2D00-EEAE-545FD5EEC6B1}"/>
              </a:ext>
            </a:extLst>
          </p:cNvPr>
          <p:cNvSpPr/>
          <p:nvPr/>
        </p:nvSpPr>
        <p:spPr>
          <a:xfrm>
            <a:off x="3071392" y="-2040993"/>
            <a:ext cx="170236" cy="426821"/>
          </a:xfrm>
          <a:custGeom>
            <a:avLst/>
            <a:gdLst>
              <a:gd name="csX0" fmla="*/ 120604 w 187260"/>
              <a:gd name="csY0" fmla="*/ 222968 h 469503"/>
              <a:gd name="csX1" fmla="*/ 187261 w 187260"/>
              <a:gd name="csY1" fmla="*/ 469503 h 469503"/>
              <a:gd name="csX2" fmla="*/ 1253 w 187260"/>
              <a:gd name="csY2" fmla="*/ 466078 h 469503"/>
              <a:gd name="csX3" fmla="*/ 8 w 187260"/>
              <a:gd name="csY3" fmla="*/ 458101 h 469503"/>
              <a:gd name="csX4" fmla="*/ 4383 w 187260"/>
              <a:gd name="csY4" fmla="*/ 351443 h 469503"/>
              <a:gd name="csX5" fmla="*/ 4615 w 187260"/>
              <a:gd name="csY5" fmla="*/ 346536 h 469503"/>
              <a:gd name="csX6" fmla="*/ 7935 w 187260"/>
              <a:gd name="csY6" fmla="*/ 233648 h 469503"/>
              <a:gd name="csX7" fmla="*/ 10461 w 187260"/>
              <a:gd name="csY7" fmla="*/ 128112 h 469503"/>
              <a:gd name="csX8" fmla="*/ 12461 w 187260"/>
              <a:gd name="csY8" fmla="*/ 12750 h 469503"/>
              <a:gd name="csX9" fmla="*/ 13165 w 187260"/>
              <a:gd name="csY9" fmla="*/ 4285 h 469503"/>
              <a:gd name="csX10" fmla="*/ 102327 w 187260"/>
              <a:gd name="csY10" fmla="*/ 0 h 469503"/>
              <a:gd name="csX11" fmla="*/ 106229 w 187260"/>
              <a:gd name="csY11" fmla="*/ 111321 h 469503"/>
              <a:gd name="csX12" fmla="*/ 120604 w 187260"/>
              <a:gd name="csY12" fmla="*/ 222968 h 46950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</a:cxnLst>
            <a:rect l="l" t="t" r="r" b="b"/>
            <a:pathLst>
              <a:path w="187260" h="469503">
                <a:moveTo>
                  <a:pt x="120604" y="222968"/>
                </a:moveTo>
                <a:cubicBezTo>
                  <a:pt x="135383" y="307129"/>
                  <a:pt x="159464" y="387725"/>
                  <a:pt x="187261" y="469503"/>
                </a:cubicBezTo>
                <a:cubicBezTo>
                  <a:pt x="124460" y="468347"/>
                  <a:pt x="63286" y="467220"/>
                  <a:pt x="1253" y="466078"/>
                </a:cubicBezTo>
                <a:cubicBezTo>
                  <a:pt x="818" y="463442"/>
                  <a:pt x="-95" y="460752"/>
                  <a:pt x="8" y="458101"/>
                </a:cubicBezTo>
                <a:cubicBezTo>
                  <a:pt x="1383" y="422545"/>
                  <a:pt x="2900" y="386994"/>
                  <a:pt x="4383" y="351443"/>
                </a:cubicBezTo>
                <a:cubicBezTo>
                  <a:pt x="4451" y="349807"/>
                  <a:pt x="4566" y="348172"/>
                  <a:pt x="4615" y="346536"/>
                </a:cubicBezTo>
                <a:cubicBezTo>
                  <a:pt x="5732" y="308907"/>
                  <a:pt x="6921" y="271280"/>
                  <a:pt x="7935" y="233648"/>
                </a:cubicBezTo>
                <a:cubicBezTo>
                  <a:pt x="8883" y="198472"/>
                  <a:pt x="9752" y="163293"/>
                  <a:pt x="10461" y="128112"/>
                </a:cubicBezTo>
                <a:cubicBezTo>
                  <a:pt x="11237" y="89660"/>
                  <a:pt x="11781" y="51204"/>
                  <a:pt x="12461" y="12750"/>
                </a:cubicBezTo>
                <a:cubicBezTo>
                  <a:pt x="12503" y="10363"/>
                  <a:pt x="12848" y="7981"/>
                  <a:pt x="13165" y="4285"/>
                </a:cubicBezTo>
                <a:cubicBezTo>
                  <a:pt x="42856" y="2858"/>
                  <a:pt x="72082" y="1454"/>
                  <a:pt x="102327" y="0"/>
                </a:cubicBezTo>
                <a:cubicBezTo>
                  <a:pt x="103499" y="37348"/>
                  <a:pt x="103207" y="74470"/>
                  <a:pt x="106229" y="111321"/>
                </a:cubicBezTo>
                <a:cubicBezTo>
                  <a:pt x="109263" y="148326"/>
                  <a:pt x="115599" y="185060"/>
                  <a:pt x="120604" y="222968"/>
                </a:cubicBezTo>
                <a:close/>
              </a:path>
            </a:pathLst>
          </a:custGeom>
          <a:solidFill>
            <a:schemeClr val="bg1"/>
          </a:solidFill>
          <a:ln w="19050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7" name="Free-form: Shape 26">
            <a:extLst>
              <a:ext uri="{FF2B5EF4-FFF2-40B4-BE49-F238E27FC236}">
                <a16:creationId xmlns:a16="http://schemas.microsoft.com/office/drawing/2014/main" id="{E699E331-7891-BF24-00C3-A8473C52A8B6}"/>
              </a:ext>
            </a:extLst>
          </p:cNvPr>
          <p:cNvSpPr/>
          <p:nvPr/>
        </p:nvSpPr>
        <p:spPr>
          <a:xfrm>
            <a:off x="3070199" y="-1574241"/>
            <a:ext cx="284824" cy="179974"/>
          </a:xfrm>
          <a:custGeom>
            <a:avLst/>
            <a:gdLst>
              <a:gd name="csX0" fmla="*/ 160234 w 313306"/>
              <a:gd name="csY0" fmla="*/ 197876 h 197971"/>
              <a:gd name="csX1" fmla="*/ 544 w 313306"/>
              <a:gd name="csY1" fmla="*/ 197972 h 197971"/>
              <a:gd name="csX2" fmla="*/ 3466 w 313306"/>
              <a:gd name="csY2" fmla="*/ 104326 h 197971"/>
              <a:gd name="csX3" fmla="*/ 0 w 313306"/>
              <a:gd name="csY3" fmla="*/ 10720 h 197971"/>
              <a:gd name="csX4" fmla="*/ 5445 w 313306"/>
              <a:gd name="csY4" fmla="*/ 9282 h 197971"/>
              <a:gd name="csX5" fmla="*/ 71623 w 313306"/>
              <a:gd name="csY5" fmla="*/ 6885 h 197971"/>
              <a:gd name="csX6" fmla="*/ 187887 w 313306"/>
              <a:gd name="csY6" fmla="*/ 233 h 197971"/>
              <a:gd name="csX7" fmla="*/ 215297 w 313306"/>
              <a:gd name="csY7" fmla="*/ 163 h 197971"/>
              <a:gd name="csX8" fmla="*/ 243629 w 313306"/>
              <a:gd name="csY8" fmla="*/ 61389 h 197971"/>
              <a:gd name="csX9" fmla="*/ 270660 w 313306"/>
              <a:gd name="csY9" fmla="*/ 86342 h 197971"/>
              <a:gd name="csX10" fmla="*/ 313142 w 313306"/>
              <a:gd name="csY10" fmla="*/ 170098 h 197971"/>
              <a:gd name="csX11" fmla="*/ 313291 w 313306"/>
              <a:gd name="csY11" fmla="*/ 176231 h 197971"/>
              <a:gd name="csX12" fmla="*/ 312654 w 313306"/>
              <a:gd name="csY12" fmla="*/ 180738 h 197971"/>
              <a:gd name="csX13" fmla="*/ 279655 w 313306"/>
              <a:gd name="csY13" fmla="*/ 186226 h 197971"/>
              <a:gd name="csX14" fmla="*/ 167436 w 313306"/>
              <a:gd name="csY14" fmla="*/ 196805 h 197971"/>
              <a:gd name="csX15" fmla="*/ 160234 w 313306"/>
              <a:gd name="csY15" fmla="*/ 197876 h 19797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</a:cxnLst>
            <a:rect l="l" t="t" r="r" b="b"/>
            <a:pathLst>
              <a:path w="313306" h="197971">
                <a:moveTo>
                  <a:pt x="160234" y="197876"/>
                </a:moveTo>
                <a:cubicBezTo>
                  <a:pt x="106384" y="197972"/>
                  <a:pt x="53682" y="197972"/>
                  <a:pt x="544" y="197972"/>
                </a:cubicBezTo>
                <a:cubicBezTo>
                  <a:pt x="1602" y="166763"/>
                  <a:pt x="3550" y="135542"/>
                  <a:pt x="3466" y="104326"/>
                </a:cubicBezTo>
                <a:cubicBezTo>
                  <a:pt x="3383" y="73323"/>
                  <a:pt x="1255" y="42326"/>
                  <a:pt x="0" y="10720"/>
                </a:cubicBezTo>
                <a:cubicBezTo>
                  <a:pt x="1689" y="10255"/>
                  <a:pt x="3551" y="9355"/>
                  <a:pt x="5445" y="9282"/>
                </a:cubicBezTo>
                <a:cubicBezTo>
                  <a:pt x="27503" y="8435"/>
                  <a:pt x="49582" y="8030"/>
                  <a:pt x="71623" y="6885"/>
                </a:cubicBezTo>
                <a:cubicBezTo>
                  <a:pt x="110388" y="4872"/>
                  <a:pt x="149126" y="2333"/>
                  <a:pt x="187887" y="233"/>
                </a:cubicBezTo>
                <a:cubicBezTo>
                  <a:pt x="196749" y="-247"/>
                  <a:pt x="205660" y="163"/>
                  <a:pt x="215297" y="163"/>
                </a:cubicBezTo>
                <a:cubicBezTo>
                  <a:pt x="215450" y="25550"/>
                  <a:pt x="226120" y="45122"/>
                  <a:pt x="243629" y="61389"/>
                </a:cubicBezTo>
                <a:cubicBezTo>
                  <a:pt x="252615" y="69739"/>
                  <a:pt x="261099" y="78715"/>
                  <a:pt x="270660" y="86342"/>
                </a:cubicBezTo>
                <a:cubicBezTo>
                  <a:pt x="297676" y="107892"/>
                  <a:pt x="310731" y="136225"/>
                  <a:pt x="313142" y="170098"/>
                </a:cubicBezTo>
                <a:cubicBezTo>
                  <a:pt x="313287" y="172136"/>
                  <a:pt x="313335" y="174188"/>
                  <a:pt x="313291" y="176231"/>
                </a:cubicBezTo>
                <a:cubicBezTo>
                  <a:pt x="313265" y="177429"/>
                  <a:pt x="312966" y="178621"/>
                  <a:pt x="312654" y="180738"/>
                </a:cubicBezTo>
                <a:cubicBezTo>
                  <a:pt x="302343" y="185396"/>
                  <a:pt x="290736" y="185049"/>
                  <a:pt x="279655" y="186226"/>
                </a:cubicBezTo>
                <a:cubicBezTo>
                  <a:pt x="242295" y="190193"/>
                  <a:pt x="204847" y="193324"/>
                  <a:pt x="167436" y="196805"/>
                </a:cubicBezTo>
                <a:cubicBezTo>
                  <a:pt x="165405" y="196994"/>
                  <a:pt x="163399" y="197449"/>
                  <a:pt x="160234" y="197876"/>
                </a:cubicBezTo>
                <a:close/>
              </a:path>
            </a:pathLst>
          </a:custGeom>
          <a:solidFill>
            <a:schemeClr val="bg1"/>
          </a:solidFill>
          <a:ln w="38100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" name="Free-form: Shape 27">
            <a:extLst>
              <a:ext uri="{FF2B5EF4-FFF2-40B4-BE49-F238E27FC236}">
                <a16:creationId xmlns:a16="http://schemas.microsoft.com/office/drawing/2014/main" id="{5D3E68F1-2BF5-4A03-EA49-A855BAA3A769}"/>
              </a:ext>
            </a:extLst>
          </p:cNvPr>
          <p:cNvSpPr/>
          <p:nvPr/>
        </p:nvSpPr>
        <p:spPr>
          <a:xfrm>
            <a:off x="3080942" y="-2590825"/>
            <a:ext cx="149260" cy="361842"/>
          </a:xfrm>
          <a:custGeom>
            <a:avLst/>
            <a:gdLst>
              <a:gd name="csX0" fmla="*/ 22609 w 164186"/>
              <a:gd name="csY0" fmla="*/ 398026 h 398026"/>
              <a:gd name="csX1" fmla="*/ 16884 w 164186"/>
              <a:gd name="csY1" fmla="*/ 390515 h 398026"/>
              <a:gd name="csX2" fmla="*/ 9661 w 164186"/>
              <a:gd name="csY2" fmla="*/ 328443 h 398026"/>
              <a:gd name="csX3" fmla="*/ 534 w 164186"/>
              <a:gd name="csY3" fmla="*/ 196369 h 398026"/>
              <a:gd name="csX4" fmla="*/ 1243 w 164186"/>
              <a:gd name="csY4" fmla="*/ 82293 h 398026"/>
              <a:gd name="csX5" fmla="*/ 2245 w 164186"/>
              <a:gd name="csY5" fmla="*/ 43023 h 398026"/>
              <a:gd name="csX6" fmla="*/ 4587 w 164186"/>
              <a:gd name="csY6" fmla="*/ 0 h 398026"/>
              <a:gd name="csX7" fmla="*/ 12341 w 164186"/>
              <a:gd name="csY7" fmla="*/ 3872 h 398026"/>
              <a:gd name="csX8" fmla="*/ 85914 w 164186"/>
              <a:gd name="csY8" fmla="*/ 78943 h 398026"/>
              <a:gd name="csX9" fmla="*/ 87893 w 164186"/>
              <a:gd name="csY9" fmla="*/ 99117 h 398026"/>
              <a:gd name="csX10" fmla="*/ 35459 w 164186"/>
              <a:gd name="csY10" fmla="*/ 207346 h 398026"/>
              <a:gd name="csX11" fmla="*/ 32223 w 164186"/>
              <a:gd name="csY11" fmla="*/ 213959 h 398026"/>
              <a:gd name="csX12" fmla="*/ 39509 w 164186"/>
              <a:gd name="csY12" fmla="*/ 242056 h 398026"/>
              <a:gd name="csX13" fmla="*/ 69474 w 164186"/>
              <a:gd name="csY13" fmla="*/ 237019 h 398026"/>
              <a:gd name="csX14" fmla="*/ 89101 w 164186"/>
              <a:gd name="csY14" fmla="*/ 208870 h 398026"/>
              <a:gd name="csX15" fmla="*/ 121716 w 164186"/>
              <a:gd name="csY15" fmla="*/ 158357 h 398026"/>
              <a:gd name="csX16" fmla="*/ 129330 w 164186"/>
              <a:gd name="csY16" fmla="*/ 148165 h 398026"/>
              <a:gd name="csX17" fmla="*/ 137171 w 164186"/>
              <a:gd name="csY17" fmla="*/ 159989 h 398026"/>
              <a:gd name="csX18" fmla="*/ 163812 w 164186"/>
              <a:gd name="csY18" fmla="*/ 273175 h 398026"/>
              <a:gd name="csX19" fmla="*/ 118151 w 164186"/>
              <a:gd name="csY19" fmla="*/ 383442 h 398026"/>
              <a:gd name="csX20" fmla="*/ 92325 w 164186"/>
              <a:gd name="csY20" fmla="*/ 395173 h 398026"/>
              <a:gd name="csX21" fmla="*/ 22609 w 164186"/>
              <a:gd name="csY21" fmla="*/ 398026 h 39802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</a:cxnLst>
            <a:rect l="l" t="t" r="r" b="b"/>
            <a:pathLst>
              <a:path w="164186" h="398026">
                <a:moveTo>
                  <a:pt x="22609" y="398026"/>
                </a:moveTo>
                <a:cubicBezTo>
                  <a:pt x="19898" y="395489"/>
                  <a:pt x="17229" y="393154"/>
                  <a:pt x="16884" y="390515"/>
                </a:cubicBezTo>
                <a:cubicBezTo>
                  <a:pt x="14183" y="369861"/>
                  <a:pt x="11326" y="349196"/>
                  <a:pt x="9661" y="328443"/>
                </a:cubicBezTo>
                <a:cubicBezTo>
                  <a:pt x="6132" y="284452"/>
                  <a:pt x="2125" y="240448"/>
                  <a:pt x="534" y="196369"/>
                </a:cubicBezTo>
                <a:cubicBezTo>
                  <a:pt x="-837" y="158401"/>
                  <a:pt x="816" y="120322"/>
                  <a:pt x="1243" y="82293"/>
                </a:cubicBezTo>
                <a:cubicBezTo>
                  <a:pt x="1389" y="69201"/>
                  <a:pt x="1708" y="56105"/>
                  <a:pt x="2245" y="43023"/>
                </a:cubicBezTo>
                <a:cubicBezTo>
                  <a:pt x="2815" y="29160"/>
                  <a:pt x="3738" y="15312"/>
                  <a:pt x="4587" y="0"/>
                </a:cubicBezTo>
                <a:cubicBezTo>
                  <a:pt x="7809" y="1586"/>
                  <a:pt x="10279" y="2436"/>
                  <a:pt x="12341" y="3872"/>
                </a:cubicBezTo>
                <a:cubicBezTo>
                  <a:pt x="41601" y="24248"/>
                  <a:pt x="64069" y="51269"/>
                  <a:pt x="85914" y="78943"/>
                </a:cubicBezTo>
                <a:cubicBezTo>
                  <a:pt x="91106" y="85520"/>
                  <a:pt x="91706" y="91406"/>
                  <a:pt x="87893" y="99117"/>
                </a:cubicBezTo>
                <a:cubicBezTo>
                  <a:pt x="70127" y="135051"/>
                  <a:pt x="52890" y="171246"/>
                  <a:pt x="35459" y="207346"/>
                </a:cubicBezTo>
                <a:cubicBezTo>
                  <a:pt x="34391" y="209557"/>
                  <a:pt x="33130" y="211686"/>
                  <a:pt x="32223" y="213959"/>
                </a:cubicBezTo>
                <a:cubicBezTo>
                  <a:pt x="27471" y="225873"/>
                  <a:pt x="30154" y="236086"/>
                  <a:pt x="39509" y="242056"/>
                </a:cubicBezTo>
                <a:cubicBezTo>
                  <a:pt x="48880" y="248038"/>
                  <a:pt x="61705" y="246477"/>
                  <a:pt x="69474" y="237019"/>
                </a:cubicBezTo>
                <a:cubicBezTo>
                  <a:pt x="76712" y="228205"/>
                  <a:pt x="82824" y="218436"/>
                  <a:pt x="89101" y="208870"/>
                </a:cubicBezTo>
                <a:cubicBezTo>
                  <a:pt x="100096" y="192114"/>
                  <a:pt x="110806" y="175170"/>
                  <a:pt x="121716" y="158357"/>
                </a:cubicBezTo>
                <a:cubicBezTo>
                  <a:pt x="123679" y="155333"/>
                  <a:pt x="126029" y="152559"/>
                  <a:pt x="129330" y="148165"/>
                </a:cubicBezTo>
                <a:cubicBezTo>
                  <a:pt x="132450" y="152828"/>
                  <a:pt x="135175" y="156216"/>
                  <a:pt x="137171" y="159989"/>
                </a:cubicBezTo>
                <a:cubicBezTo>
                  <a:pt x="155891" y="195388"/>
                  <a:pt x="166343" y="232905"/>
                  <a:pt x="163812" y="273175"/>
                </a:cubicBezTo>
                <a:cubicBezTo>
                  <a:pt x="161183" y="314982"/>
                  <a:pt x="144984" y="351430"/>
                  <a:pt x="118151" y="383442"/>
                </a:cubicBezTo>
                <a:cubicBezTo>
                  <a:pt x="111214" y="391718"/>
                  <a:pt x="102452" y="394716"/>
                  <a:pt x="92325" y="395173"/>
                </a:cubicBezTo>
                <a:cubicBezTo>
                  <a:pt x="69461" y="396207"/>
                  <a:pt x="46593" y="397123"/>
                  <a:pt x="22609" y="398026"/>
                </a:cubicBezTo>
                <a:close/>
              </a:path>
            </a:pathLst>
          </a:custGeom>
          <a:solidFill>
            <a:schemeClr val="bg1"/>
          </a:solidFill>
          <a:ln w="38100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9" name="Free-form: Shape 28">
            <a:extLst>
              <a:ext uri="{FF2B5EF4-FFF2-40B4-BE49-F238E27FC236}">
                <a16:creationId xmlns:a16="http://schemas.microsoft.com/office/drawing/2014/main" id="{E63DB4CA-1977-6314-872D-83BDC7EB7C32}"/>
              </a:ext>
            </a:extLst>
          </p:cNvPr>
          <p:cNvSpPr/>
          <p:nvPr/>
        </p:nvSpPr>
        <p:spPr>
          <a:xfrm>
            <a:off x="3066835" y="-1365034"/>
            <a:ext cx="305850" cy="64961"/>
          </a:xfrm>
          <a:custGeom>
            <a:avLst/>
            <a:gdLst>
              <a:gd name="csX0" fmla="*/ 105937 w 336434"/>
              <a:gd name="csY0" fmla="*/ 71458 h 71457"/>
              <a:gd name="csX1" fmla="*/ 3534 w 336434"/>
              <a:gd name="csY1" fmla="*/ 69115 h 71457"/>
              <a:gd name="csX2" fmla="*/ 1296 w 336434"/>
              <a:gd name="csY2" fmla="*/ 17910 h 71457"/>
              <a:gd name="csX3" fmla="*/ 14032 w 336434"/>
              <a:gd name="csY3" fmla="*/ 17908 h 71457"/>
              <a:gd name="csX4" fmla="*/ 102444 w 336434"/>
              <a:gd name="csY4" fmla="*/ 17433 h 71457"/>
              <a:gd name="csX5" fmla="*/ 284561 w 336434"/>
              <a:gd name="csY5" fmla="*/ 3564 h 71457"/>
              <a:gd name="csX6" fmla="*/ 311323 w 336434"/>
              <a:gd name="csY6" fmla="*/ 224 h 71457"/>
              <a:gd name="csX7" fmla="*/ 324313 w 336434"/>
              <a:gd name="csY7" fmla="*/ 6639 h 71457"/>
              <a:gd name="csX8" fmla="*/ 336434 w 336434"/>
              <a:gd name="csY8" fmla="*/ 46484 h 71457"/>
              <a:gd name="csX9" fmla="*/ 105937 w 336434"/>
              <a:gd name="csY9" fmla="*/ 71458 h 7145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336434" h="71457">
                <a:moveTo>
                  <a:pt x="105937" y="71458"/>
                </a:moveTo>
                <a:cubicBezTo>
                  <a:pt x="70820" y="70678"/>
                  <a:pt x="36930" y="69891"/>
                  <a:pt x="3534" y="69115"/>
                </a:cubicBezTo>
                <a:cubicBezTo>
                  <a:pt x="-81" y="59433"/>
                  <a:pt x="-1094" y="35337"/>
                  <a:pt x="1296" y="17910"/>
                </a:cubicBezTo>
                <a:cubicBezTo>
                  <a:pt x="5366" y="17910"/>
                  <a:pt x="9699" y="17923"/>
                  <a:pt x="14032" y="17908"/>
                </a:cubicBezTo>
                <a:cubicBezTo>
                  <a:pt x="43505" y="17812"/>
                  <a:pt x="73011" y="18557"/>
                  <a:pt x="102444" y="17433"/>
                </a:cubicBezTo>
                <a:cubicBezTo>
                  <a:pt x="163306" y="15109"/>
                  <a:pt x="224166" y="12264"/>
                  <a:pt x="284561" y="3564"/>
                </a:cubicBezTo>
                <a:cubicBezTo>
                  <a:pt x="293458" y="2283"/>
                  <a:pt x="302438" y="1575"/>
                  <a:pt x="311323" y="224"/>
                </a:cubicBezTo>
                <a:cubicBezTo>
                  <a:pt x="317371" y="-696"/>
                  <a:pt x="321247" y="1177"/>
                  <a:pt x="324313" y="6639"/>
                </a:cubicBezTo>
                <a:cubicBezTo>
                  <a:pt x="330512" y="17683"/>
                  <a:pt x="335236" y="31679"/>
                  <a:pt x="336434" y="46484"/>
                </a:cubicBezTo>
                <a:cubicBezTo>
                  <a:pt x="261124" y="64059"/>
                  <a:pt x="184356" y="69587"/>
                  <a:pt x="105937" y="71458"/>
                </a:cubicBezTo>
                <a:close/>
              </a:path>
            </a:pathLst>
          </a:custGeom>
          <a:solidFill>
            <a:schemeClr val="bg1"/>
          </a:solidFill>
          <a:ln w="38100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0" name="Free-form: Shape 29">
            <a:extLst>
              <a:ext uri="{FF2B5EF4-FFF2-40B4-BE49-F238E27FC236}">
                <a16:creationId xmlns:a16="http://schemas.microsoft.com/office/drawing/2014/main" id="{A36A224F-750A-BF26-F83A-4291FEEDA2AD}"/>
              </a:ext>
            </a:extLst>
          </p:cNvPr>
          <p:cNvSpPr/>
          <p:nvPr/>
        </p:nvSpPr>
        <p:spPr>
          <a:xfrm>
            <a:off x="3080392" y="-2195758"/>
            <a:ext cx="120683" cy="63097"/>
          </a:xfrm>
          <a:custGeom>
            <a:avLst/>
            <a:gdLst>
              <a:gd name="csX0" fmla="*/ 5051 w 132751"/>
              <a:gd name="csY0" fmla="*/ 7534 h 69406"/>
              <a:gd name="csX1" fmla="*/ 10615 w 132751"/>
              <a:gd name="csY1" fmla="*/ 3077 h 69406"/>
              <a:gd name="csX2" fmla="*/ 26541 w 132751"/>
              <a:gd name="csY2" fmla="*/ 2752 h 69406"/>
              <a:gd name="csX3" fmla="*/ 87728 w 132751"/>
              <a:gd name="csY3" fmla="*/ 89 h 69406"/>
              <a:gd name="csX4" fmla="*/ 101400 w 132751"/>
              <a:gd name="csY4" fmla="*/ 62 h 69406"/>
              <a:gd name="csX5" fmla="*/ 102924 w 132751"/>
              <a:gd name="csY5" fmla="*/ 4800 h 69406"/>
              <a:gd name="csX6" fmla="*/ 121469 w 132751"/>
              <a:gd name="csY6" fmla="*/ 43062 h 69406"/>
              <a:gd name="csX7" fmla="*/ 132751 w 132751"/>
              <a:gd name="csY7" fmla="*/ 65240 h 69406"/>
              <a:gd name="csX8" fmla="*/ 0 w 132751"/>
              <a:gd name="csY8" fmla="*/ 69406 h 69406"/>
              <a:gd name="csX9" fmla="*/ 5051 w 132751"/>
              <a:gd name="csY9" fmla="*/ 7534 h 6940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132751" h="69406">
                <a:moveTo>
                  <a:pt x="5051" y="7534"/>
                </a:moveTo>
                <a:cubicBezTo>
                  <a:pt x="6880" y="5272"/>
                  <a:pt x="8659" y="3268"/>
                  <a:pt x="10615" y="3077"/>
                </a:cubicBezTo>
                <a:cubicBezTo>
                  <a:pt x="15884" y="2564"/>
                  <a:pt x="21234" y="2972"/>
                  <a:pt x="26541" y="2752"/>
                </a:cubicBezTo>
                <a:cubicBezTo>
                  <a:pt x="46938" y="1911"/>
                  <a:pt x="67330" y="933"/>
                  <a:pt x="87728" y="89"/>
                </a:cubicBezTo>
                <a:cubicBezTo>
                  <a:pt x="92161" y="-94"/>
                  <a:pt x="96609" y="62"/>
                  <a:pt x="101400" y="62"/>
                </a:cubicBezTo>
                <a:cubicBezTo>
                  <a:pt x="101991" y="1827"/>
                  <a:pt x="102885" y="3302"/>
                  <a:pt x="102924" y="4800"/>
                </a:cubicBezTo>
                <a:cubicBezTo>
                  <a:pt x="103334" y="20376"/>
                  <a:pt x="108815" y="33165"/>
                  <a:pt x="121469" y="43062"/>
                </a:cubicBezTo>
                <a:cubicBezTo>
                  <a:pt x="127809" y="48021"/>
                  <a:pt x="132509" y="54869"/>
                  <a:pt x="132751" y="65240"/>
                </a:cubicBezTo>
                <a:cubicBezTo>
                  <a:pt x="88663" y="66624"/>
                  <a:pt x="45259" y="67986"/>
                  <a:pt x="0" y="69406"/>
                </a:cubicBezTo>
                <a:cubicBezTo>
                  <a:pt x="6474" y="48167"/>
                  <a:pt x="10658" y="28665"/>
                  <a:pt x="5051" y="7534"/>
                </a:cubicBezTo>
                <a:close/>
              </a:path>
            </a:pathLst>
          </a:custGeom>
          <a:solidFill>
            <a:schemeClr val="bg1"/>
          </a:solidFill>
          <a:ln w="38100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1" name="Free-form: Shape 30">
            <a:extLst>
              <a:ext uri="{FF2B5EF4-FFF2-40B4-BE49-F238E27FC236}">
                <a16:creationId xmlns:a16="http://schemas.microsoft.com/office/drawing/2014/main" id="{D3D67EBC-83D4-BF3E-45DD-A4414517C003}"/>
              </a:ext>
            </a:extLst>
          </p:cNvPr>
          <p:cNvSpPr/>
          <p:nvPr/>
        </p:nvSpPr>
        <p:spPr>
          <a:xfrm>
            <a:off x="3090029" y="-2106144"/>
            <a:ext cx="150878" cy="35402"/>
          </a:xfrm>
          <a:custGeom>
            <a:avLst/>
            <a:gdLst>
              <a:gd name="csX0" fmla="*/ 80894 w 165965"/>
              <a:gd name="csY0" fmla="*/ 440 h 38942"/>
              <a:gd name="csX1" fmla="*/ 128629 w 165965"/>
              <a:gd name="csY1" fmla="*/ 5 h 38942"/>
              <a:gd name="csX2" fmla="*/ 155177 w 165965"/>
              <a:gd name="csY2" fmla="*/ 8091 h 38942"/>
              <a:gd name="csX3" fmla="*/ 164213 w 165965"/>
              <a:gd name="csY3" fmla="*/ 17723 h 38942"/>
              <a:gd name="csX4" fmla="*/ 159998 w 165965"/>
              <a:gd name="csY4" fmla="*/ 30717 h 38942"/>
              <a:gd name="csX5" fmla="*/ 146998 w 165965"/>
              <a:gd name="csY5" fmla="*/ 33737 h 38942"/>
              <a:gd name="csX6" fmla="*/ 12439 w 165965"/>
              <a:gd name="csY6" fmla="*/ 38914 h 38942"/>
              <a:gd name="csX7" fmla="*/ 0 w 165965"/>
              <a:gd name="csY7" fmla="*/ 38402 h 38942"/>
              <a:gd name="csX8" fmla="*/ 0 w 165965"/>
              <a:gd name="csY8" fmla="*/ 4598 h 38942"/>
              <a:gd name="csX9" fmla="*/ 80894 w 165965"/>
              <a:gd name="csY9" fmla="*/ 440 h 3894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165965" h="38942">
                <a:moveTo>
                  <a:pt x="80894" y="440"/>
                </a:moveTo>
                <a:cubicBezTo>
                  <a:pt x="97591" y="288"/>
                  <a:pt x="113111" y="227"/>
                  <a:pt x="128629" y="5"/>
                </a:cubicBezTo>
                <a:cubicBezTo>
                  <a:pt x="138376" y="-135"/>
                  <a:pt x="147226" y="2891"/>
                  <a:pt x="155177" y="8091"/>
                </a:cubicBezTo>
                <a:cubicBezTo>
                  <a:pt x="158779" y="10447"/>
                  <a:pt x="161992" y="14009"/>
                  <a:pt x="164213" y="17723"/>
                </a:cubicBezTo>
                <a:cubicBezTo>
                  <a:pt x="167602" y="23390"/>
                  <a:pt x="166013" y="28134"/>
                  <a:pt x="159998" y="30717"/>
                </a:cubicBezTo>
                <a:cubicBezTo>
                  <a:pt x="155963" y="32450"/>
                  <a:pt x="151384" y="33554"/>
                  <a:pt x="146998" y="33737"/>
                </a:cubicBezTo>
                <a:cubicBezTo>
                  <a:pt x="102152" y="35619"/>
                  <a:pt x="57295" y="37279"/>
                  <a:pt x="12439" y="38914"/>
                </a:cubicBezTo>
                <a:cubicBezTo>
                  <a:pt x="8467" y="39059"/>
                  <a:pt x="4472" y="38602"/>
                  <a:pt x="0" y="38402"/>
                </a:cubicBezTo>
                <a:cubicBezTo>
                  <a:pt x="0" y="27166"/>
                  <a:pt x="0" y="16774"/>
                  <a:pt x="0" y="4598"/>
                </a:cubicBezTo>
                <a:cubicBezTo>
                  <a:pt x="27063" y="3194"/>
                  <a:pt x="53389" y="1829"/>
                  <a:pt x="80894" y="440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" name="!!Oval 30">
            <a:extLst>
              <a:ext uri="{FF2B5EF4-FFF2-40B4-BE49-F238E27FC236}">
                <a16:creationId xmlns:a16="http://schemas.microsoft.com/office/drawing/2014/main" id="{4676BAC7-D6DD-A709-0562-128D275DDB60}"/>
              </a:ext>
            </a:extLst>
          </p:cNvPr>
          <p:cNvSpPr/>
          <p:nvPr/>
        </p:nvSpPr>
        <p:spPr>
          <a:xfrm>
            <a:off x="1332265" y="-1351744"/>
            <a:ext cx="717698" cy="10413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" name="Free-form: Shape 32">
            <a:extLst>
              <a:ext uri="{FF2B5EF4-FFF2-40B4-BE49-F238E27FC236}">
                <a16:creationId xmlns:a16="http://schemas.microsoft.com/office/drawing/2014/main" id="{A076C8D5-0F52-0B93-05F4-B9BA05A48E70}"/>
              </a:ext>
            </a:extLst>
          </p:cNvPr>
          <p:cNvSpPr/>
          <p:nvPr/>
        </p:nvSpPr>
        <p:spPr>
          <a:xfrm>
            <a:off x="1427309" y="-2545628"/>
            <a:ext cx="634942" cy="1266262"/>
          </a:xfrm>
          <a:custGeom>
            <a:avLst/>
            <a:gdLst>
              <a:gd name="csX0" fmla="*/ 703087 w 763849"/>
              <a:gd name="csY0" fmla="*/ 1241174 h 1523340"/>
              <a:gd name="csX1" fmla="*/ 732932 w 763849"/>
              <a:gd name="csY1" fmla="*/ 1359634 h 1523340"/>
              <a:gd name="csX2" fmla="*/ 735544 w 763849"/>
              <a:gd name="csY2" fmla="*/ 1377287 h 1523340"/>
              <a:gd name="csX3" fmla="*/ 756764 w 763849"/>
              <a:gd name="csY3" fmla="*/ 1458577 h 1523340"/>
              <a:gd name="csX4" fmla="*/ 757108 w 763849"/>
              <a:gd name="csY4" fmla="*/ 1465940 h 1523340"/>
              <a:gd name="csX5" fmla="*/ 744215 w 763849"/>
              <a:gd name="csY5" fmla="*/ 1488332 h 1523340"/>
              <a:gd name="csX6" fmla="*/ 712781 w 763849"/>
              <a:gd name="csY6" fmla="*/ 1498472 h 1523340"/>
              <a:gd name="csX7" fmla="*/ 625540 w 763849"/>
              <a:gd name="csY7" fmla="*/ 1511981 h 1523340"/>
              <a:gd name="csX8" fmla="*/ 488540 w 763849"/>
              <a:gd name="csY8" fmla="*/ 1522029 h 1523340"/>
              <a:gd name="csX9" fmla="*/ 306789 w 763849"/>
              <a:gd name="csY9" fmla="*/ 1523231 h 1523340"/>
              <a:gd name="csX10" fmla="*/ 200103 w 763849"/>
              <a:gd name="csY10" fmla="*/ 1518579 h 1523340"/>
              <a:gd name="csX11" fmla="*/ 31607 w 763849"/>
              <a:gd name="csY11" fmla="*/ 1493880 h 1523340"/>
              <a:gd name="csX12" fmla="*/ 5860 w 763849"/>
              <a:gd name="csY12" fmla="*/ 1482933 h 1523340"/>
              <a:gd name="csX13" fmla="*/ 32 w 763849"/>
              <a:gd name="csY13" fmla="*/ 1471774 h 1523340"/>
              <a:gd name="csX14" fmla="*/ 21295 w 763849"/>
              <a:gd name="csY14" fmla="*/ 1378237 h 1523340"/>
              <a:gd name="csX15" fmla="*/ 23169 w 763849"/>
              <a:gd name="csY15" fmla="*/ 1364271 h 1523340"/>
              <a:gd name="csX16" fmla="*/ 23871 w 763849"/>
              <a:gd name="csY16" fmla="*/ 1303132 h 1523340"/>
              <a:gd name="csX17" fmla="*/ 59740 w 763849"/>
              <a:gd name="csY17" fmla="*/ 1234649 h 1523340"/>
              <a:gd name="csX18" fmla="*/ 98899 w 763849"/>
              <a:gd name="csY18" fmla="*/ 1195619 h 1523340"/>
              <a:gd name="csX19" fmla="*/ 131493 w 763849"/>
              <a:gd name="csY19" fmla="*/ 1127593 h 1523340"/>
              <a:gd name="csX20" fmla="*/ 108213 w 763849"/>
              <a:gd name="csY20" fmla="*/ 1058723 h 1523340"/>
              <a:gd name="csX21" fmla="*/ 74370 w 763849"/>
              <a:gd name="csY21" fmla="*/ 1024929 h 1523340"/>
              <a:gd name="csX22" fmla="*/ 68137 w 763849"/>
              <a:gd name="csY22" fmla="*/ 987550 h 1523340"/>
              <a:gd name="csX23" fmla="*/ 86420 w 763849"/>
              <a:gd name="csY23" fmla="*/ 941991 h 1523340"/>
              <a:gd name="csX24" fmla="*/ 97082 w 763849"/>
              <a:gd name="csY24" fmla="*/ 828037 h 1523340"/>
              <a:gd name="csX25" fmla="*/ 61782 w 763849"/>
              <a:gd name="csY25" fmla="*/ 696973 h 1523340"/>
              <a:gd name="csX26" fmla="*/ 26901 w 763849"/>
              <a:gd name="csY26" fmla="*/ 547868 h 1523340"/>
              <a:gd name="csX27" fmla="*/ 20221 w 763849"/>
              <a:gd name="csY27" fmla="*/ 479529 h 1523340"/>
              <a:gd name="csX28" fmla="*/ 40808 w 763849"/>
              <a:gd name="csY28" fmla="*/ 334388 h 1523340"/>
              <a:gd name="csX29" fmla="*/ 65171 w 763849"/>
              <a:gd name="csY29" fmla="*/ 263707 h 1523340"/>
              <a:gd name="csX30" fmla="*/ 142827 w 763849"/>
              <a:gd name="csY30" fmla="*/ 171003 h 1523340"/>
              <a:gd name="csX31" fmla="*/ 172290 w 763849"/>
              <a:gd name="csY31" fmla="*/ 155872 h 1523340"/>
              <a:gd name="csX32" fmla="*/ 189008 w 763849"/>
              <a:gd name="csY32" fmla="*/ 148158 h 1523340"/>
              <a:gd name="csX33" fmla="*/ 212828 w 763849"/>
              <a:gd name="csY33" fmla="*/ 126123 h 1523340"/>
              <a:gd name="csX34" fmla="*/ 217217 w 763849"/>
              <a:gd name="csY34" fmla="*/ 118740 h 1523340"/>
              <a:gd name="csX35" fmla="*/ 253000 w 763849"/>
              <a:gd name="csY35" fmla="*/ 88998 h 1523340"/>
              <a:gd name="csX36" fmla="*/ 322085 w 763849"/>
              <a:gd name="csY36" fmla="*/ 72193 h 1523340"/>
              <a:gd name="csX37" fmla="*/ 330478 w 763849"/>
              <a:gd name="csY37" fmla="*/ 70387 h 1523340"/>
              <a:gd name="csX38" fmla="*/ 388016 w 763849"/>
              <a:gd name="csY38" fmla="*/ 35457 h 1523340"/>
              <a:gd name="csX39" fmla="*/ 421527 w 763849"/>
              <a:gd name="csY39" fmla="*/ 0 h 1523340"/>
              <a:gd name="csX40" fmla="*/ 424538 w 763849"/>
              <a:gd name="csY40" fmla="*/ 10833 h 1523340"/>
              <a:gd name="csX41" fmla="*/ 436339 w 763849"/>
              <a:gd name="csY41" fmla="*/ 121836 h 1523340"/>
              <a:gd name="csX42" fmla="*/ 449983 w 763849"/>
              <a:gd name="csY42" fmla="*/ 141450 h 1523340"/>
              <a:gd name="csX43" fmla="*/ 503299 w 763849"/>
              <a:gd name="csY43" fmla="*/ 169290 h 1523340"/>
              <a:gd name="csX44" fmla="*/ 551461 w 763849"/>
              <a:gd name="csY44" fmla="*/ 203111 h 1523340"/>
              <a:gd name="csX45" fmla="*/ 588803 w 763849"/>
              <a:gd name="csY45" fmla="*/ 252797 h 1523340"/>
              <a:gd name="csX46" fmla="*/ 634209 w 763849"/>
              <a:gd name="csY46" fmla="*/ 327081 h 1523340"/>
              <a:gd name="csX47" fmla="*/ 697923 w 763849"/>
              <a:gd name="csY47" fmla="*/ 384157 h 1523340"/>
              <a:gd name="csX48" fmla="*/ 729658 w 763849"/>
              <a:gd name="csY48" fmla="*/ 407288 h 1523340"/>
              <a:gd name="csX49" fmla="*/ 763354 w 763849"/>
              <a:gd name="csY49" fmla="*/ 471325 h 1523340"/>
              <a:gd name="csX50" fmla="*/ 757092 w 763849"/>
              <a:gd name="csY50" fmla="*/ 527116 h 1523340"/>
              <a:gd name="csX51" fmla="*/ 720673 w 763849"/>
              <a:gd name="csY51" fmla="*/ 570023 h 1523340"/>
              <a:gd name="csX52" fmla="*/ 704918 w 763849"/>
              <a:gd name="csY52" fmla="*/ 581294 h 1523340"/>
              <a:gd name="csX53" fmla="*/ 671960 w 763849"/>
              <a:gd name="csY53" fmla="*/ 595325 h 1523340"/>
              <a:gd name="csX54" fmla="*/ 633021 w 763849"/>
              <a:gd name="csY54" fmla="*/ 591397 h 1523340"/>
              <a:gd name="csX55" fmla="*/ 580696 w 763849"/>
              <a:gd name="csY55" fmla="*/ 556742 h 1523340"/>
              <a:gd name="csX56" fmla="*/ 545415 w 763849"/>
              <a:gd name="csY56" fmla="*/ 524617 h 1523340"/>
              <a:gd name="csX57" fmla="*/ 518889 w 763849"/>
              <a:gd name="csY57" fmla="*/ 516179 h 1523340"/>
              <a:gd name="csX58" fmla="*/ 472309 w 763849"/>
              <a:gd name="csY58" fmla="*/ 517812 h 1523340"/>
              <a:gd name="csX59" fmla="*/ 415953 w 763849"/>
              <a:gd name="csY59" fmla="*/ 517245 h 1523340"/>
              <a:gd name="csX60" fmla="*/ 403392 w 763849"/>
              <a:gd name="csY60" fmla="*/ 516539 h 1523340"/>
              <a:gd name="csX61" fmla="*/ 407957 w 763849"/>
              <a:gd name="csY61" fmla="*/ 542045 h 1523340"/>
              <a:gd name="csX62" fmla="*/ 434134 w 763849"/>
              <a:gd name="csY62" fmla="*/ 583349 h 1523340"/>
              <a:gd name="csX63" fmla="*/ 524267 w 763849"/>
              <a:gd name="csY63" fmla="*/ 683922 h 1523340"/>
              <a:gd name="csX64" fmla="*/ 614317 w 763849"/>
              <a:gd name="csY64" fmla="*/ 786085 h 1523340"/>
              <a:gd name="csX65" fmla="*/ 669590 w 763849"/>
              <a:gd name="csY65" fmla="*/ 921089 h 1523340"/>
              <a:gd name="csX66" fmla="*/ 647360 w 763849"/>
              <a:gd name="csY66" fmla="*/ 1057245 h 1523340"/>
              <a:gd name="csX67" fmla="*/ 627872 w 763849"/>
              <a:gd name="csY67" fmla="*/ 1102111 h 1523340"/>
              <a:gd name="csX68" fmla="*/ 642300 w 763849"/>
              <a:gd name="csY68" fmla="*/ 1175941 h 1523340"/>
              <a:gd name="csX69" fmla="*/ 668829 w 763849"/>
              <a:gd name="csY69" fmla="*/ 1206449 h 1523340"/>
              <a:gd name="csX70" fmla="*/ 703087 w 763849"/>
              <a:gd name="csY70" fmla="*/ 1241174 h 1523340"/>
              <a:gd name="csX71" fmla="*/ 648750 w 763849"/>
              <a:gd name="csY71" fmla="*/ 562343 h 1523340"/>
              <a:gd name="csX72" fmla="*/ 674049 w 763849"/>
              <a:gd name="csY72" fmla="*/ 562834 h 1523340"/>
              <a:gd name="csX73" fmla="*/ 660781 w 763849"/>
              <a:gd name="csY73" fmla="*/ 550178 h 1523340"/>
              <a:gd name="csX74" fmla="*/ 650911 w 763849"/>
              <a:gd name="csY74" fmla="*/ 534051 h 1523340"/>
              <a:gd name="csX75" fmla="*/ 660724 w 763849"/>
              <a:gd name="csY75" fmla="*/ 537605 h 1523340"/>
              <a:gd name="csX76" fmla="*/ 688133 w 763849"/>
              <a:gd name="csY76" fmla="*/ 543363 h 1523340"/>
              <a:gd name="csX77" fmla="*/ 731514 w 763849"/>
              <a:gd name="csY77" fmla="*/ 510767 h 1523340"/>
              <a:gd name="csX78" fmla="*/ 733611 w 763849"/>
              <a:gd name="csY78" fmla="*/ 466905 h 1523340"/>
              <a:gd name="csX79" fmla="*/ 708076 w 763849"/>
              <a:gd name="csY79" fmla="*/ 425975 h 1523340"/>
              <a:gd name="csX80" fmla="*/ 667538 w 763849"/>
              <a:gd name="csY80" fmla="*/ 398254 h 1523340"/>
              <a:gd name="csX81" fmla="*/ 601016 w 763849"/>
              <a:gd name="csY81" fmla="*/ 332127 h 1523340"/>
              <a:gd name="csX82" fmla="*/ 565354 w 763849"/>
              <a:gd name="csY82" fmla="*/ 270526 h 1523340"/>
              <a:gd name="csX83" fmla="*/ 490657 w 763849"/>
              <a:gd name="csY83" fmla="*/ 195121 h 1523340"/>
              <a:gd name="csX84" fmla="*/ 432834 w 763849"/>
              <a:gd name="csY84" fmla="*/ 165243 h 1523340"/>
              <a:gd name="csX85" fmla="*/ 407594 w 763849"/>
              <a:gd name="csY85" fmla="*/ 127852 h 1523340"/>
              <a:gd name="csX86" fmla="*/ 405020 w 763849"/>
              <a:gd name="csY86" fmla="*/ 69029 h 1523340"/>
              <a:gd name="csX87" fmla="*/ 403638 w 763849"/>
              <a:gd name="csY87" fmla="*/ 58130 h 1523340"/>
              <a:gd name="csX88" fmla="*/ 349776 w 763849"/>
              <a:gd name="csY88" fmla="*/ 133259 h 1523340"/>
              <a:gd name="csX89" fmla="*/ 326975 w 763849"/>
              <a:gd name="csY89" fmla="*/ 159669 h 1523340"/>
              <a:gd name="csX90" fmla="*/ 240374 w 763849"/>
              <a:gd name="csY90" fmla="*/ 221714 h 1523340"/>
              <a:gd name="csX91" fmla="*/ 171637 w 763849"/>
              <a:gd name="csY91" fmla="*/ 309087 h 1523340"/>
              <a:gd name="csX92" fmla="*/ 138048 w 763849"/>
              <a:gd name="csY92" fmla="*/ 516954 h 1523340"/>
              <a:gd name="csX93" fmla="*/ 163889 w 763849"/>
              <a:gd name="csY93" fmla="*/ 641780 h 1523340"/>
              <a:gd name="csX94" fmla="*/ 204800 w 763849"/>
              <a:gd name="csY94" fmla="*/ 787055 h 1523340"/>
              <a:gd name="csX95" fmla="*/ 218549 w 763849"/>
              <a:gd name="csY95" fmla="*/ 949545 h 1523340"/>
              <a:gd name="csX96" fmla="*/ 191487 w 763849"/>
              <a:gd name="csY96" fmla="*/ 1033064 h 1523340"/>
              <a:gd name="csX97" fmla="*/ 188729 w 763849"/>
              <a:gd name="csY97" fmla="*/ 1039835 h 1523340"/>
              <a:gd name="csX98" fmla="*/ 221417 w 763849"/>
              <a:gd name="csY98" fmla="*/ 1040799 h 1523340"/>
              <a:gd name="csX99" fmla="*/ 348895 w 763849"/>
              <a:gd name="csY99" fmla="*/ 1046759 h 1523340"/>
              <a:gd name="csX100" fmla="*/ 545369 w 763849"/>
              <a:gd name="csY100" fmla="*/ 1044456 h 1523340"/>
              <a:gd name="csX101" fmla="*/ 612424 w 763849"/>
              <a:gd name="csY101" fmla="*/ 1037365 h 1523340"/>
              <a:gd name="csX102" fmla="*/ 623169 w 763849"/>
              <a:gd name="csY102" fmla="*/ 1028873 h 1523340"/>
              <a:gd name="csX103" fmla="*/ 638508 w 763849"/>
              <a:gd name="csY103" fmla="*/ 959599 h 1523340"/>
              <a:gd name="csX104" fmla="*/ 609213 w 763849"/>
              <a:gd name="csY104" fmla="*/ 842075 h 1523340"/>
              <a:gd name="csX105" fmla="*/ 529367 w 763849"/>
              <a:gd name="csY105" fmla="*/ 735065 h 1523340"/>
              <a:gd name="csX106" fmla="*/ 403792 w 763849"/>
              <a:gd name="csY106" fmla="*/ 596993 h 1523340"/>
              <a:gd name="csX107" fmla="*/ 344708 w 763849"/>
              <a:gd name="csY107" fmla="*/ 511366 h 1523340"/>
              <a:gd name="csX108" fmla="*/ 324464 w 763849"/>
              <a:gd name="csY108" fmla="*/ 380084 h 1523340"/>
              <a:gd name="csX109" fmla="*/ 327688 w 763849"/>
              <a:gd name="csY109" fmla="*/ 373535 h 1523340"/>
              <a:gd name="csX110" fmla="*/ 330334 w 763849"/>
              <a:gd name="csY110" fmla="*/ 373641 h 1523340"/>
              <a:gd name="csX111" fmla="*/ 334272 w 763849"/>
              <a:gd name="csY111" fmla="*/ 384645 h 1523340"/>
              <a:gd name="csX112" fmla="*/ 365260 w 763849"/>
              <a:gd name="csY112" fmla="*/ 453955 h 1523340"/>
              <a:gd name="csX113" fmla="*/ 408246 w 763849"/>
              <a:gd name="csY113" fmla="*/ 483592 h 1523340"/>
              <a:gd name="csX114" fmla="*/ 464529 w 763849"/>
              <a:gd name="csY114" fmla="*/ 486187 h 1523340"/>
              <a:gd name="csX115" fmla="*/ 511119 w 763849"/>
              <a:gd name="csY115" fmla="*/ 484308 h 1523340"/>
              <a:gd name="csX116" fmla="*/ 567913 w 763849"/>
              <a:gd name="csY116" fmla="*/ 503736 h 1523340"/>
              <a:gd name="csX117" fmla="*/ 607611 w 763849"/>
              <a:gd name="csY117" fmla="*/ 540326 h 1523340"/>
              <a:gd name="csX118" fmla="*/ 648750 w 763849"/>
              <a:gd name="csY118" fmla="*/ 562343 h 1523340"/>
              <a:gd name="csX119" fmla="*/ 462594 w 763849"/>
              <a:gd name="csY119" fmla="*/ 1369008 h 1523340"/>
              <a:gd name="csX120" fmla="*/ 510357 w 763849"/>
              <a:gd name="csY120" fmla="*/ 1366345 h 1523340"/>
              <a:gd name="csX121" fmla="*/ 549434 w 763849"/>
              <a:gd name="csY121" fmla="*/ 1362956 h 1523340"/>
              <a:gd name="csX122" fmla="*/ 632369 w 763849"/>
              <a:gd name="csY122" fmla="*/ 1354439 h 1523340"/>
              <a:gd name="csX123" fmla="*/ 697252 w 763849"/>
              <a:gd name="csY123" fmla="*/ 1346424 h 1523340"/>
              <a:gd name="csX124" fmla="*/ 676674 w 763849"/>
              <a:gd name="csY124" fmla="*/ 1266396 h 1523340"/>
              <a:gd name="csX125" fmla="*/ 646594 w 763849"/>
              <a:gd name="csY125" fmla="*/ 1234108 h 1523340"/>
              <a:gd name="csX126" fmla="*/ 612063 w 763849"/>
              <a:gd name="csY126" fmla="*/ 1194382 h 1523340"/>
              <a:gd name="csX127" fmla="*/ 591616 w 763849"/>
              <a:gd name="csY127" fmla="*/ 1111541 h 1523340"/>
              <a:gd name="csX128" fmla="*/ 594320 w 763849"/>
              <a:gd name="csY128" fmla="*/ 1089609 h 1523340"/>
              <a:gd name="csX129" fmla="*/ 578634 w 763849"/>
              <a:gd name="csY129" fmla="*/ 1089642 h 1523340"/>
              <a:gd name="csX130" fmla="*/ 443931 w 763849"/>
              <a:gd name="csY130" fmla="*/ 1096700 h 1523340"/>
              <a:gd name="csX131" fmla="*/ 403417 w 763849"/>
              <a:gd name="csY131" fmla="*/ 1097156 h 1523340"/>
              <a:gd name="csX132" fmla="*/ 388348 w 763849"/>
              <a:gd name="csY132" fmla="*/ 1111502 h 1523340"/>
              <a:gd name="csX133" fmla="*/ 385048 w 763849"/>
              <a:gd name="csY133" fmla="*/ 1176431 h 1523340"/>
              <a:gd name="csX134" fmla="*/ 377687 w 763849"/>
              <a:gd name="csY134" fmla="*/ 1308672 h 1523340"/>
              <a:gd name="csX135" fmla="*/ 376823 w 763849"/>
              <a:gd name="csY135" fmla="*/ 1320897 h 1523340"/>
              <a:gd name="csX136" fmla="*/ 376781 w 763849"/>
              <a:gd name="csY136" fmla="*/ 1366151 h 1523340"/>
              <a:gd name="csX137" fmla="*/ 462594 w 763849"/>
              <a:gd name="csY137" fmla="*/ 1369008 h 1523340"/>
              <a:gd name="csX138" fmla="*/ 648494 w 763849"/>
              <a:gd name="csY138" fmla="*/ 1463981 h 1523340"/>
              <a:gd name="csX139" fmla="*/ 718746 w 763849"/>
              <a:gd name="csY139" fmla="*/ 1451892 h 1523340"/>
              <a:gd name="csX140" fmla="*/ 711827 w 763849"/>
              <a:gd name="csY140" fmla="*/ 1416835 h 1523340"/>
              <a:gd name="csX141" fmla="*/ 685812 w 763849"/>
              <a:gd name="csY141" fmla="*/ 1398502 h 1523340"/>
              <a:gd name="csX142" fmla="*/ 680924 w 763849"/>
              <a:gd name="csY142" fmla="*/ 1398973 h 1523340"/>
              <a:gd name="csX143" fmla="*/ 598278 w 763849"/>
              <a:gd name="csY143" fmla="*/ 1409218 h 1523340"/>
              <a:gd name="csX144" fmla="*/ 474765 w 763849"/>
              <a:gd name="csY144" fmla="*/ 1417945 h 1523340"/>
              <a:gd name="csX145" fmla="*/ 385143 w 763849"/>
              <a:gd name="csY145" fmla="*/ 1418978 h 1523340"/>
              <a:gd name="csX146" fmla="*/ 376639 w 763849"/>
              <a:gd name="csY146" fmla="*/ 1419613 h 1523340"/>
              <a:gd name="csX147" fmla="*/ 376639 w 763849"/>
              <a:gd name="csY147" fmla="*/ 1473939 h 1523340"/>
              <a:gd name="csX148" fmla="*/ 382089 w 763849"/>
              <a:gd name="csY148" fmla="*/ 1474854 h 1523340"/>
              <a:gd name="csX149" fmla="*/ 449536 w 763849"/>
              <a:gd name="csY149" fmla="*/ 1476855 h 1523340"/>
              <a:gd name="csX150" fmla="*/ 559930 w 763849"/>
              <a:gd name="csY150" fmla="*/ 1474307 h 1523340"/>
              <a:gd name="csX151" fmla="*/ 648494 w 763849"/>
              <a:gd name="csY151" fmla="*/ 1463981 h 152334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</a:cxnLst>
            <a:rect l="l" t="t" r="r" b="b"/>
            <a:pathLst>
              <a:path w="763849" h="1523340">
                <a:moveTo>
                  <a:pt x="703087" y="1241174"/>
                </a:moveTo>
                <a:cubicBezTo>
                  <a:pt x="732418" y="1276379"/>
                  <a:pt x="738825" y="1316526"/>
                  <a:pt x="732932" y="1359634"/>
                </a:cubicBezTo>
                <a:cubicBezTo>
                  <a:pt x="732067" y="1365959"/>
                  <a:pt x="732453" y="1371428"/>
                  <a:pt x="735544" y="1377287"/>
                </a:cubicBezTo>
                <a:cubicBezTo>
                  <a:pt x="748937" y="1402675"/>
                  <a:pt x="755318" y="1430010"/>
                  <a:pt x="756764" y="1458577"/>
                </a:cubicBezTo>
                <a:cubicBezTo>
                  <a:pt x="756887" y="1461031"/>
                  <a:pt x="756895" y="1463494"/>
                  <a:pt x="757108" y="1465940"/>
                </a:cubicBezTo>
                <a:cubicBezTo>
                  <a:pt x="758375" y="1480486"/>
                  <a:pt x="757802" y="1482498"/>
                  <a:pt x="744215" y="1488332"/>
                </a:cubicBezTo>
                <a:cubicBezTo>
                  <a:pt x="734126" y="1492664"/>
                  <a:pt x="723536" y="1496562"/>
                  <a:pt x="712781" y="1498472"/>
                </a:cubicBezTo>
                <a:cubicBezTo>
                  <a:pt x="683814" y="1503617"/>
                  <a:pt x="654674" y="1507832"/>
                  <a:pt x="625540" y="1511981"/>
                </a:cubicBezTo>
                <a:cubicBezTo>
                  <a:pt x="580114" y="1518449"/>
                  <a:pt x="534395" y="1521481"/>
                  <a:pt x="488540" y="1522029"/>
                </a:cubicBezTo>
                <a:cubicBezTo>
                  <a:pt x="427958" y="1522752"/>
                  <a:pt x="367367" y="1523658"/>
                  <a:pt x="306789" y="1523231"/>
                </a:cubicBezTo>
                <a:cubicBezTo>
                  <a:pt x="271215" y="1522980"/>
                  <a:pt x="235625" y="1520833"/>
                  <a:pt x="200103" y="1518579"/>
                </a:cubicBezTo>
                <a:cubicBezTo>
                  <a:pt x="143289" y="1514974"/>
                  <a:pt x="86915" y="1507766"/>
                  <a:pt x="31607" y="1493880"/>
                </a:cubicBezTo>
                <a:cubicBezTo>
                  <a:pt x="22666" y="1491635"/>
                  <a:pt x="14297" y="1486920"/>
                  <a:pt x="5860" y="1482933"/>
                </a:cubicBezTo>
                <a:cubicBezTo>
                  <a:pt x="1433" y="1480841"/>
                  <a:pt x="-262" y="1476934"/>
                  <a:pt x="32" y="1471774"/>
                </a:cubicBezTo>
                <a:cubicBezTo>
                  <a:pt x="1880" y="1439401"/>
                  <a:pt x="3993" y="1407192"/>
                  <a:pt x="21295" y="1378237"/>
                </a:cubicBezTo>
                <a:cubicBezTo>
                  <a:pt x="23526" y="1374504"/>
                  <a:pt x="23666" y="1368858"/>
                  <a:pt x="23169" y="1364271"/>
                </a:cubicBezTo>
                <a:cubicBezTo>
                  <a:pt x="20957" y="1343833"/>
                  <a:pt x="20482" y="1323540"/>
                  <a:pt x="23871" y="1303132"/>
                </a:cubicBezTo>
                <a:cubicBezTo>
                  <a:pt x="28332" y="1276267"/>
                  <a:pt x="41045" y="1253887"/>
                  <a:pt x="59740" y="1234649"/>
                </a:cubicBezTo>
                <a:cubicBezTo>
                  <a:pt x="72582" y="1221434"/>
                  <a:pt x="85657" y="1208434"/>
                  <a:pt x="98899" y="1195619"/>
                </a:cubicBezTo>
                <a:cubicBezTo>
                  <a:pt x="118216" y="1176926"/>
                  <a:pt x="130484" y="1154702"/>
                  <a:pt x="131493" y="1127593"/>
                </a:cubicBezTo>
                <a:cubicBezTo>
                  <a:pt x="132448" y="1101948"/>
                  <a:pt x="127125" y="1077868"/>
                  <a:pt x="108213" y="1058723"/>
                </a:cubicBezTo>
                <a:cubicBezTo>
                  <a:pt x="97010" y="1047381"/>
                  <a:pt x="85438" y="1036399"/>
                  <a:pt x="74370" y="1024929"/>
                </a:cubicBezTo>
                <a:cubicBezTo>
                  <a:pt x="63868" y="1014043"/>
                  <a:pt x="62267" y="1001475"/>
                  <a:pt x="68137" y="987550"/>
                </a:cubicBezTo>
                <a:cubicBezTo>
                  <a:pt x="74493" y="972473"/>
                  <a:pt x="80703" y="957319"/>
                  <a:pt x="86420" y="941991"/>
                </a:cubicBezTo>
                <a:cubicBezTo>
                  <a:pt x="100218" y="905001"/>
                  <a:pt x="99441" y="866690"/>
                  <a:pt x="97082" y="828037"/>
                </a:cubicBezTo>
                <a:cubicBezTo>
                  <a:pt x="94260" y="781809"/>
                  <a:pt x="76370" y="739899"/>
                  <a:pt x="61782" y="696973"/>
                </a:cubicBezTo>
                <a:cubicBezTo>
                  <a:pt x="45282" y="648419"/>
                  <a:pt x="33285" y="598770"/>
                  <a:pt x="26901" y="547868"/>
                </a:cubicBezTo>
                <a:cubicBezTo>
                  <a:pt x="24054" y="525160"/>
                  <a:pt x="21110" y="502364"/>
                  <a:pt x="20221" y="479529"/>
                </a:cubicBezTo>
                <a:cubicBezTo>
                  <a:pt x="18293" y="430013"/>
                  <a:pt x="26126" y="381610"/>
                  <a:pt x="40808" y="334388"/>
                </a:cubicBezTo>
                <a:cubicBezTo>
                  <a:pt x="48208" y="310588"/>
                  <a:pt x="55162" y="286441"/>
                  <a:pt x="65171" y="263707"/>
                </a:cubicBezTo>
                <a:cubicBezTo>
                  <a:pt x="81946" y="225606"/>
                  <a:pt x="106517" y="193071"/>
                  <a:pt x="142827" y="171003"/>
                </a:cubicBezTo>
                <a:cubicBezTo>
                  <a:pt x="152238" y="165283"/>
                  <a:pt x="162401" y="160787"/>
                  <a:pt x="172290" y="155872"/>
                </a:cubicBezTo>
                <a:cubicBezTo>
                  <a:pt x="177784" y="153142"/>
                  <a:pt x="183393" y="150635"/>
                  <a:pt x="189008" y="148158"/>
                </a:cubicBezTo>
                <a:cubicBezTo>
                  <a:pt x="199487" y="143534"/>
                  <a:pt x="207598" y="136426"/>
                  <a:pt x="212828" y="126123"/>
                </a:cubicBezTo>
                <a:cubicBezTo>
                  <a:pt x="214121" y="123575"/>
                  <a:pt x="215966" y="121304"/>
                  <a:pt x="217217" y="118740"/>
                </a:cubicBezTo>
                <a:cubicBezTo>
                  <a:pt x="224688" y="103433"/>
                  <a:pt x="237053" y="93440"/>
                  <a:pt x="253000" y="88998"/>
                </a:cubicBezTo>
                <a:cubicBezTo>
                  <a:pt x="275818" y="82642"/>
                  <a:pt x="299033" y="77711"/>
                  <a:pt x="322085" y="72193"/>
                </a:cubicBezTo>
                <a:cubicBezTo>
                  <a:pt x="324867" y="71527"/>
                  <a:pt x="327694" y="71045"/>
                  <a:pt x="330478" y="70387"/>
                </a:cubicBezTo>
                <a:cubicBezTo>
                  <a:pt x="364731" y="62297"/>
                  <a:pt x="364569" y="62151"/>
                  <a:pt x="388016" y="35457"/>
                </a:cubicBezTo>
                <a:cubicBezTo>
                  <a:pt x="398189" y="23875"/>
                  <a:pt x="409180" y="13010"/>
                  <a:pt x="421527" y="0"/>
                </a:cubicBezTo>
                <a:cubicBezTo>
                  <a:pt x="423000" y="5190"/>
                  <a:pt x="424219" y="7961"/>
                  <a:pt x="424538" y="10833"/>
                </a:cubicBezTo>
                <a:cubicBezTo>
                  <a:pt x="428638" y="47817"/>
                  <a:pt x="433030" y="84779"/>
                  <a:pt x="436339" y="121836"/>
                </a:cubicBezTo>
                <a:cubicBezTo>
                  <a:pt x="437236" y="131893"/>
                  <a:pt x="441545" y="137271"/>
                  <a:pt x="449983" y="141450"/>
                </a:cubicBezTo>
                <a:cubicBezTo>
                  <a:pt x="467954" y="150348"/>
                  <a:pt x="486187" y="158915"/>
                  <a:pt x="503299" y="169290"/>
                </a:cubicBezTo>
                <a:cubicBezTo>
                  <a:pt x="520041" y="179441"/>
                  <a:pt x="535883" y="191197"/>
                  <a:pt x="551461" y="203111"/>
                </a:cubicBezTo>
                <a:cubicBezTo>
                  <a:pt x="568416" y="216079"/>
                  <a:pt x="579195" y="234146"/>
                  <a:pt x="588803" y="252797"/>
                </a:cubicBezTo>
                <a:cubicBezTo>
                  <a:pt x="602134" y="278677"/>
                  <a:pt x="616556" y="303835"/>
                  <a:pt x="634209" y="327081"/>
                </a:cubicBezTo>
                <a:cubicBezTo>
                  <a:pt x="651797" y="350241"/>
                  <a:pt x="673980" y="368103"/>
                  <a:pt x="697923" y="384157"/>
                </a:cubicBezTo>
                <a:cubicBezTo>
                  <a:pt x="708787" y="391441"/>
                  <a:pt x="719007" y="399678"/>
                  <a:pt x="729658" y="407288"/>
                </a:cubicBezTo>
                <a:cubicBezTo>
                  <a:pt x="751657" y="423004"/>
                  <a:pt x="761259" y="445265"/>
                  <a:pt x="763354" y="471325"/>
                </a:cubicBezTo>
                <a:cubicBezTo>
                  <a:pt x="764877" y="490275"/>
                  <a:pt x="762919" y="509064"/>
                  <a:pt x="757092" y="527116"/>
                </a:cubicBezTo>
                <a:cubicBezTo>
                  <a:pt x="750932" y="546198"/>
                  <a:pt x="738296" y="560266"/>
                  <a:pt x="720673" y="570023"/>
                </a:cubicBezTo>
                <a:cubicBezTo>
                  <a:pt x="715048" y="573138"/>
                  <a:pt x="709487" y="576825"/>
                  <a:pt x="704918" y="581294"/>
                </a:cubicBezTo>
                <a:cubicBezTo>
                  <a:pt x="695625" y="590383"/>
                  <a:pt x="684728" y="595697"/>
                  <a:pt x="671960" y="595325"/>
                </a:cubicBezTo>
                <a:cubicBezTo>
                  <a:pt x="658939" y="594945"/>
                  <a:pt x="645743" y="594018"/>
                  <a:pt x="633021" y="591397"/>
                </a:cubicBezTo>
                <a:cubicBezTo>
                  <a:pt x="611233" y="586907"/>
                  <a:pt x="595034" y="572939"/>
                  <a:pt x="580696" y="556742"/>
                </a:cubicBezTo>
                <a:cubicBezTo>
                  <a:pt x="570081" y="544750"/>
                  <a:pt x="559052" y="533306"/>
                  <a:pt x="545415" y="524617"/>
                </a:cubicBezTo>
                <a:cubicBezTo>
                  <a:pt x="537261" y="519422"/>
                  <a:pt x="528551" y="515996"/>
                  <a:pt x="518889" y="516179"/>
                </a:cubicBezTo>
                <a:cubicBezTo>
                  <a:pt x="503357" y="516473"/>
                  <a:pt x="487839" y="517663"/>
                  <a:pt x="472309" y="517812"/>
                </a:cubicBezTo>
                <a:cubicBezTo>
                  <a:pt x="453527" y="517993"/>
                  <a:pt x="434738" y="517514"/>
                  <a:pt x="415953" y="517245"/>
                </a:cubicBezTo>
                <a:cubicBezTo>
                  <a:pt x="411976" y="517189"/>
                  <a:pt x="408003" y="516808"/>
                  <a:pt x="403392" y="516539"/>
                </a:cubicBezTo>
                <a:cubicBezTo>
                  <a:pt x="401207" y="526363"/>
                  <a:pt x="404857" y="534293"/>
                  <a:pt x="407957" y="542045"/>
                </a:cubicBezTo>
                <a:cubicBezTo>
                  <a:pt x="414092" y="557387"/>
                  <a:pt x="423168" y="571042"/>
                  <a:pt x="434134" y="583349"/>
                </a:cubicBezTo>
                <a:cubicBezTo>
                  <a:pt x="464083" y="616959"/>
                  <a:pt x="493980" y="650618"/>
                  <a:pt x="524267" y="683922"/>
                </a:cubicBezTo>
                <a:cubicBezTo>
                  <a:pt x="554818" y="717518"/>
                  <a:pt x="588291" y="748619"/>
                  <a:pt x="614317" y="786085"/>
                </a:cubicBezTo>
                <a:cubicBezTo>
                  <a:pt x="642656" y="826881"/>
                  <a:pt x="663974" y="871159"/>
                  <a:pt x="669590" y="921089"/>
                </a:cubicBezTo>
                <a:cubicBezTo>
                  <a:pt x="674894" y="968240"/>
                  <a:pt x="669774" y="1014226"/>
                  <a:pt x="647360" y="1057245"/>
                </a:cubicBezTo>
                <a:cubicBezTo>
                  <a:pt x="639830" y="1071697"/>
                  <a:pt x="630533" y="1085565"/>
                  <a:pt x="627872" y="1102111"/>
                </a:cubicBezTo>
                <a:cubicBezTo>
                  <a:pt x="623640" y="1128439"/>
                  <a:pt x="626183" y="1153784"/>
                  <a:pt x="642300" y="1175941"/>
                </a:cubicBezTo>
                <a:cubicBezTo>
                  <a:pt x="650201" y="1186801"/>
                  <a:pt x="659595" y="1196636"/>
                  <a:pt x="668829" y="1206449"/>
                </a:cubicBezTo>
                <a:cubicBezTo>
                  <a:pt x="679770" y="1218075"/>
                  <a:pt x="691267" y="1229177"/>
                  <a:pt x="703087" y="1241174"/>
                </a:cubicBezTo>
                <a:moveTo>
                  <a:pt x="648750" y="562343"/>
                </a:moveTo>
                <a:cubicBezTo>
                  <a:pt x="656729" y="562558"/>
                  <a:pt x="664698" y="567407"/>
                  <a:pt x="674049" y="562834"/>
                </a:cubicBezTo>
                <a:cubicBezTo>
                  <a:pt x="668990" y="558037"/>
                  <a:pt x="664729" y="554259"/>
                  <a:pt x="660781" y="550178"/>
                </a:cubicBezTo>
                <a:cubicBezTo>
                  <a:pt x="656713" y="545973"/>
                  <a:pt x="651493" y="542363"/>
                  <a:pt x="650911" y="534051"/>
                </a:cubicBezTo>
                <a:cubicBezTo>
                  <a:pt x="654940" y="535536"/>
                  <a:pt x="657753" y="536907"/>
                  <a:pt x="660724" y="537605"/>
                </a:cubicBezTo>
                <a:cubicBezTo>
                  <a:pt x="669824" y="539743"/>
                  <a:pt x="678915" y="542853"/>
                  <a:pt x="688133" y="543363"/>
                </a:cubicBezTo>
                <a:cubicBezTo>
                  <a:pt x="712019" y="544686"/>
                  <a:pt x="726964" y="534053"/>
                  <a:pt x="731514" y="510767"/>
                </a:cubicBezTo>
                <a:cubicBezTo>
                  <a:pt x="734296" y="496535"/>
                  <a:pt x="734146" y="481511"/>
                  <a:pt x="733611" y="466905"/>
                </a:cubicBezTo>
                <a:cubicBezTo>
                  <a:pt x="732951" y="448863"/>
                  <a:pt x="723348" y="435653"/>
                  <a:pt x="708076" y="425975"/>
                </a:cubicBezTo>
                <a:cubicBezTo>
                  <a:pt x="694258" y="417218"/>
                  <a:pt x="681056" y="407489"/>
                  <a:pt x="667538" y="398254"/>
                </a:cubicBezTo>
                <a:cubicBezTo>
                  <a:pt x="641278" y="380314"/>
                  <a:pt x="617580" y="359743"/>
                  <a:pt x="601016" y="332127"/>
                </a:cubicBezTo>
                <a:cubicBezTo>
                  <a:pt x="588810" y="311778"/>
                  <a:pt x="576093" y="291645"/>
                  <a:pt x="565354" y="270526"/>
                </a:cubicBezTo>
                <a:cubicBezTo>
                  <a:pt x="548401" y="237186"/>
                  <a:pt x="523821" y="212104"/>
                  <a:pt x="490657" y="195121"/>
                </a:cubicBezTo>
                <a:cubicBezTo>
                  <a:pt x="471346" y="185231"/>
                  <a:pt x="452394" y="174606"/>
                  <a:pt x="432834" y="165243"/>
                </a:cubicBezTo>
                <a:cubicBezTo>
                  <a:pt x="416725" y="157532"/>
                  <a:pt x="408325" y="145526"/>
                  <a:pt x="407594" y="127852"/>
                </a:cubicBezTo>
                <a:cubicBezTo>
                  <a:pt x="406783" y="108242"/>
                  <a:pt x="405935" y="88634"/>
                  <a:pt x="405020" y="69029"/>
                </a:cubicBezTo>
                <a:cubicBezTo>
                  <a:pt x="404882" y="66067"/>
                  <a:pt x="404287" y="63127"/>
                  <a:pt x="403638" y="58130"/>
                </a:cubicBezTo>
                <a:cubicBezTo>
                  <a:pt x="381792" y="82321"/>
                  <a:pt x="361650" y="104820"/>
                  <a:pt x="349776" y="133259"/>
                </a:cubicBezTo>
                <a:cubicBezTo>
                  <a:pt x="345032" y="144621"/>
                  <a:pt x="337822" y="153814"/>
                  <a:pt x="326975" y="159669"/>
                </a:cubicBezTo>
                <a:cubicBezTo>
                  <a:pt x="295461" y="176681"/>
                  <a:pt x="266610" y="197333"/>
                  <a:pt x="240374" y="221714"/>
                </a:cubicBezTo>
                <a:cubicBezTo>
                  <a:pt x="212881" y="247263"/>
                  <a:pt x="188313" y="275340"/>
                  <a:pt x="171637" y="309087"/>
                </a:cubicBezTo>
                <a:cubicBezTo>
                  <a:pt x="139180" y="374765"/>
                  <a:pt x="129692" y="444532"/>
                  <a:pt x="138048" y="516954"/>
                </a:cubicBezTo>
                <a:cubicBezTo>
                  <a:pt x="142936" y="559318"/>
                  <a:pt x="152518" y="600762"/>
                  <a:pt x="163889" y="641780"/>
                </a:cubicBezTo>
                <a:cubicBezTo>
                  <a:pt x="177329" y="690261"/>
                  <a:pt x="191989" y="738413"/>
                  <a:pt x="204800" y="787055"/>
                </a:cubicBezTo>
                <a:cubicBezTo>
                  <a:pt x="218820" y="840287"/>
                  <a:pt x="228587" y="894088"/>
                  <a:pt x="218549" y="949545"/>
                </a:cubicBezTo>
                <a:cubicBezTo>
                  <a:pt x="213279" y="978659"/>
                  <a:pt x="207130" y="1007359"/>
                  <a:pt x="191487" y="1033064"/>
                </a:cubicBezTo>
                <a:cubicBezTo>
                  <a:pt x="190499" y="1034686"/>
                  <a:pt x="190018" y="1036618"/>
                  <a:pt x="188729" y="1039835"/>
                </a:cubicBezTo>
                <a:cubicBezTo>
                  <a:pt x="200470" y="1040170"/>
                  <a:pt x="210952" y="1040298"/>
                  <a:pt x="221417" y="1040799"/>
                </a:cubicBezTo>
                <a:cubicBezTo>
                  <a:pt x="263912" y="1042835"/>
                  <a:pt x="306390" y="1046436"/>
                  <a:pt x="348895" y="1046759"/>
                </a:cubicBezTo>
                <a:cubicBezTo>
                  <a:pt x="414380" y="1047258"/>
                  <a:pt x="479896" y="1046092"/>
                  <a:pt x="545369" y="1044456"/>
                </a:cubicBezTo>
                <a:cubicBezTo>
                  <a:pt x="567764" y="1043897"/>
                  <a:pt x="590066" y="1039744"/>
                  <a:pt x="612424" y="1037365"/>
                </a:cubicBezTo>
                <a:cubicBezTo>
                  <a:pt x="617948" y="1036777"/>
                  <a:pt x="621342" y="1034139"/>
                  <a:pt x="623169" y="1028873"/>
                </a:cubicBezTo>
                <a:cubicBezTo>
                  <a:pt x="630975" y="1006370"/>
                  <a:pt x="637026" y="983472"/>
                  <a:pt x="638508" y="959599"/>
                </a:cubicBezTo>
                <a:cubicBezTo>
                  <a:pt x="641131" y="917363"/>
                  <a:pt x="628970" y="878727"/>
                  <a:pt x="609213" y="842075"/>
                </a:cubicBezTo>
                <a:cubicBezTo>
                  <a:pt x="587874" y="802491"/>
                  <a:pt x="559403" y="768169"/>
                  <a:pt x="529367" y="735065"/>
                </a:cubicBezTo>
                <a:cubicBezTo>
                  <a:pt x="487563" y="688992"/>
                  <a:pt x="445474" y="643176"/>
                  <a:pt x="403792" y="596993"/>
                </a:cubicBezTo>
                <a:cubicBezTo>
                  <a:pt x="380393" y="571066"/>
                  <a:pt x="360083" y="542922"/>
                  <a:pt x="344708" y="511366"/>
                </a:cubicBezTo>
                <a:cubicBezTo>
                  <a:pt x="324385" y="469655"/>
                  <a:pt x="317321" y="425966"/>
                  <a:pt x="324464" y="380084"/>
                </a:cubicBezTo>
                <a:cubicBezTo>
                  <a:pt x="324821" y="377789"/>
                  <a:pt x="326581" y="375713"/>
                  <a:pt x="327688" y="373535"/>
                </a:cubicBezTo>
                <a:cubicBezTo>
                  <a:pt x="328570" y="373570"/>
                  <a:pt x="329452" y="373606"/>
                  <a:pt x="330334" y="373641"/>
                </a:cubicBezTo>
                <a:cubicBezTo>
                  <a:pt x="331649" y="377308"/>
                  <a:pt x="333001" y="380963"/>
                  <a:pt x="334272" y="384645"/>
                </a:cubicBezTo>
                <a:cubicBezTo>
                  <a:pt x="342569" y="408660"/>
                  <a:pt x="351164" y="432573"/>
                  <a:pt x="365260" y="453955"/>
                </a:cubicBezTo>
                <a:cubicBezTo>
                  <a:pt x="375537" y="469544"/>
                  <a:pt x="388811" y="481767"/>
                  <a:pt x="408246" y="483592"/>
                </a:cubicBezTo>
                <a:cubicBezTo>
                  <a:pt x="426928" y="485346"/>
                  <a:pt x="445757" y="486037"/>
                  <a:pt x="464529" y="486187"/>
                </a:cubicBezTo>
                <a:cubicBezTo>
                  <a:pt x="480053" y="486311"/>
                  <a:pt x="495582" y="484792"/>
                  <a:pt x="511119" y="484308"/>
                </a:cubicBezTo>
                <a:cubicBezTo>
                  <a:pt x="532443" y="483644"/>
                  <a:pt x="551690" y="490014"/>
                  <a:pt x="567913" y="503736"/>
                </a:cubicBezTo>
                <a:cubicBezTo>
                  <a:pt x="581642" y="515348"/>
                  <a:pt x="594604" y="527888"/>
                  <a:pt x="607611" y="540326"/>
                </a:cubicBezTo>
                <a:cubicBezTo>
                  <a:pt x="618811" y="551038"/>
                  <a:pt x="631177" y="559300"/>
                  <a:pt x="648750" y="562343"/>
                </a:cubicBezTo>
                <a:moveTo>
                  <a:pt x="462594" y="1369008"/>
                </a:moveTo>
                <a:cubicBezTo>
                  <a:pt x="478517" y="1368137"/>
                  <a:pt x="494449" y="1367429"/>
                  <a:pt x="510357" y="1366345"/>
                </a:cubicBezTo>
                <a:cubicBezTo>
                  <a:pt x="523399" y="1365456"/>
                  <a:pt x="536424" y="1364247"/>
                  <a:pt x="549434" y="1362956"/>
                </a:cubicBezTo>
                <a:cubicBezTo>
                  <a:pt x="577089" y="1360213"/>
                  <a:pt x="604749" y="1357503"/>
                  <a:pt x="632369" y="1354439"/>
                </a:cubicBezTo>
                <a:cubicBezTo>
                  <a:pt x="653805" y="1352062"/>
                  <a:pt x="675183" y="1349170"/>
                  <a:pt x="697252" y="1346424"/>
                </a:cubicBezTo>
                <a:cubicBezTo>
                  <a:pt x="701148" y="1316348"/>
                  <a:pt x="695768" y="1289474"/>
                  <a:pt x="676674" y="1266396"/>
                </a:cubicBezTo>
                <a:cubicBezTo>
                  <a:pt x="667313" y="1255080"/>
                  <a:pt x="656878" y="1244625"/>
                  <a:pt x="646594" y="1234108"/>
                </a:cubicBezTo>
                <a:cubicBezTo>
                  <a:pt x="634298" y="1221533"/>
                  <a:pt x="621353" y="1209623"/>
                  <a:pt x="612063" y="1194382"/>
                </a:cubicBezTo>
                <a:cubicBezTo>
                  <a:pt x="596511" y="1168867"/>
                  <a:pt x="588079" y="1141707"/>
                  <a:pt x="591616" y="1111541"/>
                </a:cubicBezTo>
                <a:cubicBezTo>
                  <a:pt x="592450" y="1104432"/>
                  <a:pt x="593365" y="1097332"/>
                  <a:pt x="594320" y="1089609"/>
                </a:cubicBezTo>
                <a:cubicBezTo>
                  <a:pt x="588294" y="1089609"/>
                  <a:pt x="583452" y="1089392"/>
                  <a:pt x="578634" y="1089642"/>
                </a:cubicBezTo>
                <a:cubicBezTo>
                  <a:pt x="533732" y="1091976"/>
                  <a:pt x="488841" y="1094525"/>
                  <a:pt x="443931" y="1096700"/>
                </a:cubicBezTo>
                <a:cubicBezTo>
                  <a:pt x="430451" y="1097353"/>
                  <a:pt x="416923" y="1097005"/>
                  <a:pt x="403417" y="1097156"/>
                </a:cubicBezTo>
                <a:cubicBezTo>
                  <a:pt x="389337" y="1097313"/>
                  <a:pt x="388961" y="1097850"/>
                  <a:pt x="388348" y="1111502"/>
                </a:cubicBezTo>
                <a:cubicBezTo>
                  <a:pt x="387375" y="1133151"/>
                  <a:pt x="386231" y="1154793"/>
                  <a:pt x="385048" y="1176431"/>
                </a:cubicBezTo>
                <a:cubicBezTo>
                  <a:pt x="382637" y="1220514"/>
                  <a:pt x="380158" y="1264593"/>
                  <a:pt x="377687" y="1308672"/>
                </a:cubicBezTo>
                <a:cubicBezTo>
                  <a:pt x="377458" y="1312751"/>
                  <a:pt x="376852" y="1316821"/>
                  <a:pt x="376823" y="1320897"/>
                </a:cubicBezTo>
                <a:cubicBezTo>
                  <a:pt x="376717" y="1335880"/>
                  <a:pt x="376781" y="1350864"/>
                  <a:pt x="376781" y="1366151"/>
                </a:cubicBezTo>
                <a:cubicBezTo>
                  <a:pt x="404707" y="1370397"/>
                  <a:pt x="432477" y="1369351"/>
                  <a:pt x="462594" y="1369008"/>
                </a:cubicBezTo>
                <a:moveTo>
                  <a:pt x="648494" y="1463981"/>
                </a:moveTo>
                <a:cubicBezTo>
                  <a:pt x="671329" y="1460052"/>
                  <a:pt x="694163" y="1456122"/>
                  <a:pt x="718746" y="1451892"/>
                </a:cubicBezTo>
                <a:cubicBezTo>
                  <a:pt x="716257" y="1439067"/>
                  <a:pt x="714578" y="1427816"/>
                  <a:pt x="711827" y="1416835"/>
                </a:cubicBezTo>
                <a:cubicBezTo>
                  <a:pt x="707611" y="1400009"/>
                  <a:pt x="703502" y="1397423"/>
                  <a:pt x="685812" y="1398502"/>
                </a:cubicBezTo>
                <a:cubicBezTo>
                  <a:pt x="684179" y="1398602"/>
                  <a:pt x="682547" y="1398768"/>
                  <a:pt x="680924" y="1398973"/>
                </a:cubicBezTo>
                <a:cubicBezTo>
                  <a:pt x="653380" y="1402446"/>
                  <a:pt x="625911" y="1406752"/>
                  <a:pt x="598278" y="1409218"/>
                </a:cubicBezTo>
                <a:cubicBezTo>
                  <a:pt x="557171" y="1412886"/>
                  <a:pt x="515983" y="1415946"/>
                  <a:pt x="474765" y="1417945"/>
                </a:cubicBezTo>
                <a:cubicBezTo>
                  <a:pt x="444944" y="1419391"/>
                  <a:pt x="415021" y="1418680"/>
                  <a:pt x="385143" y="1418978"/>
                </a:cubicBezTo>
                <a:cubicBezTo>
                  <a:pt x="382419" y="1419005"/>
                  <a:pt x="379697" y="1419376"/>
                  <a:pt x="376639" y="1419613"/>
                </a:cubicBezTo>
                <a:cubicBezTo>
                  <a:pt x="376639" y="1438152"/>
                  <a:pt x="376639" y="1455909"/>
                  <a:pt x="376639" y="1473939"/>
                </a:cubicBezTo>
                <a:cubicBezTo>
                  <a:pt x="378971" y="1474343"/>
                  <a:pt x="380523" y="1474802"/>
                  <a:pt x="382089" y="1474854"/>
                </a:cubicBezTo>
                <a:cubicBezTo>
                  <a:pt x="404571" y="1475605"/>
                  <a:pt x="427058" y="1476986"/>
                  <a:pt x="449536" y="1476855"/>
                </a:cubicBezTo>
                <a:cubicBezTo>
                  <a:pt x="486344" y="1476639"/>
                  <a:pt x="523207" y="1476480"/>
                  <a:pt x="559930" y="1474307"/>
                </a:cubicBezTo>
                <a:cubicBezTo>
                  <a:pt x="588839" y="1472596"/>
                  <a:pt x="617570" y="1467884"/>
                  <a:pt x="648494" y="1463981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7" name="Free-form: Shape 36">
            <a:extLst>
              <a:ext uri="{FF2B5EF4-FFF2-40B4-BE49-F238E27FC236}">
                <a16:creationId xmlns:a16="http://schemas.microsoft.com/office/drawing/2014/main" id="{A18BF7C6-C8A2-8ABA-E811-33F18B3ECB3D}"/>
              </a:ext>
            </a:extLst>
          </p:cNvPr>
          <p:cNvSpPr/>
          <p:nvPr/>
        </p:nvSpPr>
        <p:spPr>
          <a:xfrm>
            <a:off x="1539673" y="-2497308"/>
            <a:ext cx="497702" cy="821885"/>
          </a:xfrm>
          <a:custGeom>
            <a:avLst/>
            <a:gdLst>
              <a:gd name="csX0" fmla="*/ 512604 w 598747"/>
              <a:gd name="csY0" fmla="*/ 503918 h 988745"/>
              <a:gd name="csX1" fmla="*/ 472435 w 598747"/>
              <a:gd name="csY1" fmla="*/ 482196 h 988745"/>
              <a:gd name="csX2" fmla="*/ 432737 w 598747"/>
              <a:gd name="csY2" fmla="*/ 445605 h 988745"/>
              <a:gd name="csX3" fmla="*/ 375943 w 598747"/>
              <a:gd name="csY3" fmla="*/ 426178 h 988745"/>
              <a:gd name="csX4" fmla="*/ 329354 w 598747"/>
              <a:gd name="csY4" fmla="*/ 428057 h 988745"/>
              <a:gd name="csX5" fmla="*/ 273070 w 598747"/>
              <a:gd name="csY5" fmla="*/ 425461 h 988745"/>
              <a:gd name="csX6" fmla="*/ 230084 w 598747"/>
              <a:gd name="csY6" fmla="*/ 395825 h 988745"/>
              <a:gd name="csX7" fmla="*/ 199097 w 598747"/>
              <a:gd name="csY7" fmla="*/ 326515 h 988745"/>
              <a:gd name="csX8" fmla="*/ 195158 w 598747"/>
              <a:gd name="csY8" fmla="*/ 315511 h 988745"/>
              <a:gd name="csX9" fmla="*/ 192512 w 598747"/>
              <a:gd name="csY9" fmla="*/ 315405 h 988745"/>
              <a:gd name="csX10" fmla="*/ 189288 w 598747"/>
              <a:gd name="csY10" fmla="*/ 321954 h 988745"/>
              <a:gd name="csX11" fmla="*/ 209532 w 598747"/>
              <a:gd name="csY11" fmla="*/ 453235 h 988745"/>
              <a:gd name="csX12" fmla="*/ 268616 w 598747"/>
              <a:gd name="csY12" fmla="*/ 538863 h 988745"/>
              <a:gd name="csX13" fmla="*/ 394191 w 598747"/>
              <a:gd name="csY13" fmla="*/ 676935 h 988745"/>
              <a:gd name="csX14" fmla="*/ 474037 w 598747"/>
              <a:gd name="csY14" fmla="*/ 783945 h 988745"/>
              <a:gd name="csX15" fmla="*/ 503332 w 598747"/>
              <a:gd name="csY15" fmla="*/ 901469 h 988745"/>
              <a:gd name="csX16" fmla="*/ 487993 w 598747"/>
              <a:gd name="csY16" fmla="*/ 970743 h 988745"/>
              <a:gd name="csX17" fmla="*/ 477248 w 598747"/>
              <a:gd name="csY17" fmla="*/ 979235 h 988745"/>
              <a:gd name="csX18" fmla="*/ 410194 w 598747"/>
              <a:gd name="csY18" fmla="*/ 986326 h 988745"/>
              <a:gd name="csX19" fmla="*/ 213720 w 598747"/>
              <a:gd name="csY19" fmla="*/ 988629 h 988745"/>
              <a:gd name="csX20" fmla="*/ 86242 w 598747"/>
              <a:gd name="csY20" fmla="*/ 982669 h 988745"/>
              <a:gd name="csX21" fmla="*/ 53553 w 598747"/>
              <a:gd name="csY21" fmla="*/ 981705 h 988745"/>
              <a:gd name="csX22" fmla="*/ 56311 w 598747"/>
              <a:gd name="csY22" fmla="*/ 974933 h 988745"/>
              <a:gd name="csX23" fmla="*/ 83373 w 598747"/>
              <a:gd name="csY23" fmla="*/ 891414 h 988745"/>
              <a:gd name="csX24" fmla="*/ 69625 w 598747"/>
              <a:gd name="csY24" fmla="*/ 728925 h 988745"/>
              <a:gd name="csX25" fmla="*/ 28713 w 598747"/>
              <a:gd name="csY25" fmla="*/ 583650 h 988745"/>
              <a:gd name="csX26" fmla="*/ 2872 w 598747"/>
              <a:gd name="csY26" fmla="*/ 458823 h 988745"/>
              <a:gd name="csX27" fmla="*/ 36461 w 598747"/>
              <a:gd name="csY27" fmla="*/ 250957 h 988745"/>
              <a:gd name="csX28" fmla="*/ 105198 w 598747"/>
              <a:gd name="csY28" fmla="*/ 163584 h 988745"/>
              <a:gd name="csX29" fmla="*/ 191800 w 598747"/>
              <a:gd name="csY29" fmla="*/ 101539 h 988745"/>
              <a:gd name="csX30" fmla="*/ 214600 w 598747"/>
              <a:gd name="csY30" fmla="*/ 75129 h 988745"/>
              <a:gd name="csX31" fmla="*/ 268462 w 598747"/>
              <a:gd name="csY31" fmla="*/ 0 h 988745"/>
              <a:gd name="csX32" fmla="*/ 269844 w 598747"/>
              <a:gd name="csY32" fmla="*/ 10898 h 988745"/>
              <a:gd name="csX33" fmla="*/ 272418 w 598747"/>
              <a:gd name="csY33" fmla="*/ 69722 h 988745"/>
              <a:gd name="csX34" fmla="*/ 297658 w 598747"/>
              <a:gd name="csY34" fmla="*/ 107113 h 988745"/>
              <a:gd name="csX35" fmla="*/ 355481 w 598747"/>
              <a:gd name="csY35" fmla="*/ 136991 h 988745"/>
              <a:gd name="csX36" fmla="*/ 430178 w 598747"/>
              <a:gd name="csY36" fmla="*/ 212396 h 988745"/>
              <a:gd name="csX37" fmla="*/ 465840 w 598747"/>
              <a:gd name="csY37" fmla="*/ 273997 h 988745"/>
              <a:gd name="csX38" fmla="*/ 532362 w 598747"/>
              <a:gd name="csY38" fmla="*/ 340124 h 988745"/>
              <a:gd name="csX39" fmla="*/ 572901 w 598747"/>
              <a:gd name="csY39" fmla="*/ 367845 h 988745"/>
              <a:gd name="csX40" fmla="*/ 598436 w 598747"/>
              <a:gd name="csY40" fmla="*/ 408775 h 988745"/>
              <a:gd name="csX41" fmla="*/ 596339 w 598747"/>
              <a:gd name="csY41" fmla="*/ 452637 h 988745"/>
              <a:gd name="csX42" fmla="*/ 552957 w 598747"/>
              <a:gd name="csY42" fmla="*/ 485233 h 988745"/>
              <a:gd name="csX43" fmla="*/ 525548 w 598747"/>
              <a:gd name="csY43" fmla="*/ 479475 h 988745"/>
              <a:gd name="csX44" fmla="*/ 515736 w 598747"/>
              <a:gd name="csY44" fmla="*/ 475921 h 988745"/>
              <a:gd name="csX45" fmla="*/ 525605 w 598747"/>
              <a:gd name="csY45" fmla="*/ 492048 h 988745"/>
              <a:gd name="csX46" fmla="*/ 538873 w 598747"/>
              <a:gd name="csY46" fmla="*/ 504704 h 988745"/>
              <a:gd name="csX47" fmla="*/ 512604 w 598747"/>
              <a:gd name="csY47" fmla="*/ 503918 h 988745"/>
              <a:gd name="csX48" fmla="*/ 332072 w 598747"/>
              <a:gd name="csY48" fmla="*/ 218143 h 988745"/>
              <a:gd name="csX49" fmla="*/ 334388 w 598747"/>
              <a:gd name="csY49" fmla="*/ 226400 h 988745"/>
              <a:gd name="csX50" fmla="*/ 372370 w 598747"/>
              <a:gd name="csY50" fmla="*/ 254505 h 988745"/>
              <a:gd name="csX51" fmla="*/ 405258 w 598747"/>
              <a:gd name="csY51" fmla="*/ 252089 h 988745"/>
              <a:gd name="csX52" fmla="*/ 409167 w 598747"/>
              <a:gd name="csY52" fmla="*/ 244359 h 988745"/>
              <a:gd name="csX53" fmla="*/ 396364 w 598747"/>
              <a:gd name="csY53" fmla="*/ 219471 h 988745"/>
              <a:gd name="csX54" fmla="*/ 365755 w 598747"/>
              <a:gd name="csY54" fmla="*/ 195821 h 988745"/>
              <a:gd name="csX55" fmla="*/ 333572 w 598747"/>
              <a:gd name="csY55" fmla="*/ 188536 h 988745"/>
              <a:gd name="csX56" fmla="*/ 322931 w 598747"/>
              <a:gd name="csY56" fmla="*/ 190843 h 988745"/>
              <a:gd name="csX57" fmla="*/ 329041 w 598747"/>
              <a:gd name="csY57" fmla="*/ 203001 h 988745"/>
              <a:gd name="csX58" fmla="*/ 332072 w 598747"/>
              <a:gd name="csY58" fmla="*/ 218143 h 98874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</a:cxnLst>
            <a:rect l="l" t="t" r="r" b="b"/>
            <a:pathLst>
              <a:path w="598747" h="988745">
                <a:moveTo>
                  <a:pt x="512604" y="503918"/>
                </a:moveTo>
                <a:cubicBezTo>
                  <a:pt x="496002" y="501170"/>
                  <a:pt x="483635" y="492907"/>
                  <a:pt x="472435" y="482196"/>
                </a:cubicBezTo>
                <a:cubicBezTo>
                  <a:pt x="459429" y="469758"/>
                  <a:pt x="446467" y="457218"/>
                  <a:pt x="432737" y="445605"/>
                </a:cubicBezTo>
                <a:cubicBezTo>
                  <a:pt x="416514" y="431883"/>
                  <a:pt x="397267" y="425513"/>
                  <a:pt x="375943" y="426178"/>
                </a:cubicBezTo>
                <a:cubicBezTo>
                  <a:pt x="360407" y="426662"/>
                  <a:pt x="344877" y="428180"/>
                  <a:pt x="329354" y="428057"/>
                </a:cubicBezTo>
                <a:cubicBezTo>
                  <a:pt x="310581" y="427907"/>
                  <a:pt x="291752" y="427215"/>
                  <a:pt x="273070" y="425461"/>
                </a:cubicBezTo>
                <a:cubicBezTo>
                  <a:pt x="253636" y="423637"/>
                  <a:pt x="240361" y="411413"/>
                  <a:pt x="230084" y="395825"/>
                </a:cubicBezTo>
                <a:cubicBezTo>
                  <a:pt x="215988" y="374443"/>
                  <a:pt x="207393" y="350530"/>
                  <a:pt x="199097" y="326515"/>
                </a:cubicBezTo>
                <a:cubicBezTo>
                  <a:pt x="197825" y="322833"/>
                  <a:pt x="196473" y="319178"/>
                  <a:pt x="195158" y="315511"/>
                </a:cubicBezTo>
                <a:cubicBezTo>
                  <a:pt x="194276" y="315475"/>
                  <a:pt x="193394" y="315440"/>
                  <a:pt x="192512" y="315405"/>
                </a:cubicBezTo>
                <a:cubicBezTo>
                  <a:pt x="191405" y="317583"/>
                  <a:pt x="189646" y="319659"/>
                  <a:pt x="189288" y="321954"/>
                </a:cubicBezTo>
                <a:cubicBezTo>
                  <a:pt x="182145" y="367836"/>
                  <a:pt x="189209" y="411525"/>
                  <a:pt x="209532" y="453235"/>
                </a:cubicBezTo>
                <a:cubicBezTo>
                  <a:pt x="224908" y="484792"/>
                  <a:pt x="245217" y="512936"/>
                  <a:pt x="268616" y="538863"/>
                </a:cubicBezTo>
                <a:cubicBezTo>
                  <a:pt x="310298" y="585046"/>
                  <a:pt x="352387" y="630861"/>
                  <a:pt x="394191" y="676935"/>
                </a:cubicBezTo>
                <a:cubicBezTo>
                  <a:pt x="424227" y="710039"/>
                  <a:pt x="452698" y="744360"/>
                  <a:pt x="474037" y="783945"/>
                </a:cubicBezTo>
                <a:cubicBezTo>
                  <a:pt x="493795" y="820596"/>
                  <a:pt x="505956" y="859233"/>
                  <a:pt x="503332" y="901469"/>
                </a:cubicBezTo>
                <a:cubicBezTo>
                  <a:pt x="501850" y="925342"/>
                  <a:pt x="495799" y="948239"/>
                  <a:pt x="487993" y="970743"/>
                </a:cubicBezTo>
                <a:cubicBezTo>
                  <a:pt x="486166" y="976009"/>
                  <a:pt x="482772" y="978647"/>
                  <a:pt x="477248" y="979235"/>
                </a:cubicBezTo>
                <a:cubicBezTo>
                  <a:pt x="454890" y="981614"/>
                  <a:pt x="432589" y="985767"/>
                  <a:pt x="410194" y="986326"/>
                </a:cubicBezTo>
                <a:cubicBezTo>
                  <a:pt x="344720" y="987961"/>
                  <a:pt x="279205" y="989128"/>
                  <a:pt x="213720" y="988629"/>
                </a:cubicBezTo>
                <a:cubicBezTo>
                  <a:pt x="171215" y="988306"/>
                  <a:pt x="128736" y="984705"/>
                  <a:pt x="86242" y="982669"/>
                </a:cubicBezTo>
                <a:cubicBezTo>
                  <a:pt x="75776" y="982167"/>
                  <a:pt x="65294" y="982040"/>
                  <a:pt x="53553" y="981705"/>
                </a:cubicBezTo>
                <a:cubicBezTo>
                  <a:pt x="54842" y="978488"/>
                  <a:pt x="55323" y="976556"/>
                  <a:pt x="56311" y="974933"/>
                </a:cubicBezTo>
                <a:cubicBezTo>
                  <a:pt x="71955" y="949229"/>
                  <a:pt x="78103" y="920529"/>
                  <a:pt x="83373" y="891414"/>
                </a:cubicBezTo>
                <a:cubicBezTo>
                  <a:pt x="93411" y="835958"/>
                  <a:pt x="83645" y="782156"/>
                  <a:pt x="69625" y="728925"/>
                </a:cubicBezTo>
                <a:cubicBezTo>
                  <a:pt x="56813" y="680283"/>
                  <a:pt x="42153" y="632130"/>
                  <a:pt x="28713" y="583650"/>
                </a:cubicBezTo>
                <a:cubicBezTo>
                  <a:pt x="17342" y="542631"/>
                  <a:pt x="7760" y="501188"/>
                  <a:pt x="2872" y="458823"/>
                </a:cubicBezTo>
                <a:cubicBezTo>
                  <a:pt x="-5484" y="386401"/>
                  <a:pt x="4005" y="316635"/>
                  <a:pt x="36461" y="250957"/>
                </a:cubicBezTo>
                <a:cubicBezTo>
                  <a:pt x="53137" y="217210"/>
                  <a:pt x="77705" y="189133"/>
                  <a:pt x="105198" y="163584"/>
                </a:cubicBezTo>
                <a:cubicBezTo>
                  <a:pt x="131434" y="139203"/>
                  <a:pt x="160285" y="118551"/>
                  <a:pt x="191800" y="101539"/>
                </a:cubicBezTo>
                <a:cubicBezTo>
                  <a:pt x="202646" y="95684"/>
                  <a:pt x="209856" y="86491"/>
                  <a:pt x="214600" y="75129"/>
                </a:cubicBezTo>
                <a:cubicBezTo>
                  <a:pt x="226474" y="46689"/>
                  <a:pt x="246616" y="24191"/>
                  <a:pt x="268462" y="0"/>
                </a:cubicBezTo>
                <a:cubicBezTo>
                  <a:pt x="269111" y="4997"/>
                  <a:pt x="269706" y="7937"/>
                  <a:pt x="269844" y="10898"/>
                </a:cubicBezTo>
                <a:cubicBezTo>
                  <a:pt x="270760" y="30504"/>
                  <a:pt x="271607" y="50112"/>
                  <a:pt x="272418" y="69722"/>
                </a:cubicBezTo>
                <a:cubicBezTo>
                  <a:pt x="273150" y="87396"/>
                  <a:pt x="281549" y="99401"/>
                  <a:pt x="297658" y="107113"/>
                </a:cubicBezTo>
                <a:cubicBezTo>
                  <a:pt x="317218" y="116476"/>
                  <a:pt x="336170" y="127101"/>
                  <a:pt x="355481" y="136991"/>
                </a:cubicBezTo>
                <a:cubicBezTo>
                  <a:pt x="388645" y="153974"/>
                  <a:pt x="413226" y="179056"/>
                  <a:pt x="430178" y="212396"/>
                </a:cubicBezTo>
                <a:cubicBezTo>
                  <a:pt x="440917" y="233515"/>
                  <a:pt x="453634" y="253647"/>
                  <a:pt x="465840" y="273997"/>
                </a:cubicBezTo>
                <a:cubicBezTo>
                  <a:pt x="482404" y="301613"/>
                  <a:pt x="506102" y="322183"/>
                  <a:pt x="532362" y="340124"/>
                </a:cubicBezTo>
                <a:cubicBezTo>
                  <a:pt x="545881" y="349359"/>
                  <a:pt x="559082" y="359088"/>
                  <a:pt x="572901" y="367845"/>
                </a:cubicBezTo>
                <a:cubicBezTo>
                  <a:pt x="588172" y="377523"/>
                  <a:pt x="597775" y="390733"/>
                  <a:pt x="598436" y="408775"/>
                </a:cubicBezTo>
                <a:cubicBezTo>
                  <a:pt x="598970" y="423381"/>
                  <a:pt x="599120" y="438404"/>
                  <a:pt x="596339" y="452637"/>
                </a:cubicBezTo>
                <a:cubicBezTo>
                  <a:pt x="591789" y="475923"/>
                  <a:pt x="576843" y="486555"/>
                  <a:pt x="552957" y="485233"/>
                </a:cubicBezTo>
                <a:cubicBezTo>
                  <a:pt x="543740" y="484722"/>
                  <a:pt x="534648" y="481613"/>
                  <a:pt x="525548" y="479475"/>
                </a:cubicBezTo>
                <a:cubicBezTo>
                  <a:pt x="522577" y="478776"/>
                  <a:pt x="519764" y="477405"/>
                  <a:pt x="515736" y="475921"/>
                </a:cubicBezTo>
                <a:cubicBezTo>
                  <a:pt x="516318" y="484233"/>
                  <a:pt x="521537" y="487842"/>
                  <a:pt x="525605" y="492048"/>
                </a:cubicBezTo>
                <a:cubicBezTo>
                  <a:pt x="529554" y="496129"/>
                  <a:pt x="533815" y="499907"/>
                  <a:pt x="538873" y="504704"/>
                </a:cubicBezTo>
                <a:cubicBezTo>
                  <a:pt x="529522" y="509277"/>
                  <a:pt x="521553" y="504428"/>
                  <a:pt x="512604" y="503918"/>
                </a:cubicBezTo>
                <a:moveTo>
                  <a:pt x="332072" y="218143"/>
                </a:moveTo>
                <a:cubicBezTo>
                  <a:pt x="332837" y="220898"/>
                  <a:pt x="333478" y="223695"/>
                  <a:pt x="334388" y="226400"/>
                </a:cubicBezTo>
                <a:cubicBezTo>
                  <a:pt x="341073" y="246268"/>
                  <a:pt x="351614" y="254460"/>
                  <a:pt x="372370" y="254505"/>
                </a:cubicBezTo>
                <a:cubicBezTo>
                  <a:pt x="383333" y="254529"/>
                  <a:pt x="394312" y="253121"/>
                  <a:pt x="405258" y="252089"/>
                </a:cubicBezTo>
                <a:cubicBezTo>
                  <a:pt x="409961" y="251646"/>
                  <a:pt x="411340" y="248568"/>
                  <a:pt x="409167" y="244359"/>
                </a:cubicBezTo>
                <a:cubicBezTo>
                  <a:pt x="404885" y="236068"/>
                  <a:pt x="400139" y="227985"/>
                  <a:pt x="396364" y="219471"/>
                </a:cubicBezTo>
                <a:cubicBezTo>
                  <a:pt x="390350" y="205908"/>
                  <a:pt x="379963" y="198663"/>
                  <a:pt x="365755" y="195821"/>
                </a:cubicBezTo>
                <a:cubicBezTo>
                  <a:pt x="354973" y="193665"/>
                  <a:pt x="344291" y="191003"/>
                  <a:pt x="333572" y="188536"/>
                </a:cubicBezTo>
                <a:cubicBezTo>
                  <a:pt x="329511" y="187602"/>
                  <a:pt x="325579" y="187007"/>
                  <a:pt x="322931" y="190843"/>
                </a:cubicBezTo>
                <a:cubicBezTo>
                  <a:pt x="325138" y="195129"/>
                  <a:pt x="327613" y="198884"/>
                  <a:pt x="329041" y="203001"/>
                </a:cubicBezTo>
                <a:cubicBezTo>
                  <a:pt x="330500" y="207204"/>
                  <a:pt x="330929" y="211764"/>
                  <a:pt x="332072" y="218143"/>
                </a:cubicBezTo>
                <a:close/>
              </a:path>
            </a:pathLst>
          </a:custGeom>
          <a:solidFill>
            <a:schemeClr val="bg1"/>
          </a:solidFill>
          <a:ln w="38100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8" name="Free-form: Shape 37">
            <a:extLst>
              <a:ext uri="{FF2B5EF4-FFF2-40B4-BE49-F238E27FC236}">
                <a16:creationId xmlns:a16="http://schemas.microsoft.com/office/drawing/2014/main" id="{D081D0A4-053B-B2D0-4CB6-212082BE5150}"/>
              </a:ext>
            </a:extLst>
          </p:cNvPr>
          <p:cNvSpPr/>
          <p:nvPr/>
        </p:nvSpPr>
        <p:spPr>
          <a:xfrm>
            <a:off x="1740490" y="-1639973"/>
            <a:ext cx="267393" cy="232628"/>
          </a:xfrm>
          <a:custGeom>
            <a:avLst/>
            <a:gdLst>
              <a:gd name="csX0" fmla="*/ 84645 w 321679"/>
              <a:gd name="csY0" fmla="*/ 279507 h 279857"/>
              <a:gd name="csX1" fmla="*/ 19 w 321679"/>
              <a:gd name="csY1" fmla="*/ 276629 h 279857"/>
              <a:gd name="csX2" fmla="*/ 61 w 321679"/>
              <a:gd name="csY2" fmla="*/ 231376 h 279857"/>
              <a:gd name="csX3" fmla="*/ 925 w 321679"/>
              <a:gd name="csY3" fmla="*/ 219150 h 279857"/>
              <a:gd name="csX4" fmla="*/ 8286 w 321679"/>
              <a:gd name="csY4" fmla="*/ 86910 h 279857"/>
              <a:gd name="csX5" fmla="*/ 11586 w 321679"/>
              <a:gd name="csY5" fmla="*/ 21981 h 279857"/>
              <a:gd name="csX6" fmla="*/ 26655 w 321679"/>
              <a:gd name="csY6" fmla="*/ 7635 h 279857"/>
              <a:gd name="csX7" fmla="*/ 67169 w 321679"/>
              <a:gd name="csY7" fmla="*/ 7178 h 279857"/>
              <a:gd name="csX8" fmla="*/ 201872 w 321679"/>
              <a:gd name="csY8" fmla="*/ 121 h 279857"/>
              <a:gd name="csX9" fmla="*/ 217558 w 321679"/>
              <a:gd name="csY9" fmla="*/ 87 h 279857"/>
              <a:gd name="csX10" fmla="*/ 214854 w 321679"/>
              <a:gd name="csY10" fmla="*/ 22019 h 279857"/>
              <a:gd name="csX11" fmla="*/ 235301 w 321679"/>
              <a:gd name="csY11" fmla="*/ 104861 h 279857"/>
              <a:gd name="csX12" fmla="*/ 269832 w 321679"/>
              <a:gd name="csY12" fmla="*/ 144587 h 279857"/>
              <a:gd name="csX13" fmla="*/ 299912 w 321679"/>
              <a:gd name="csY13" fmla="*/ 176874 h 279857"/>
              <a:gd name="csX14" fmla="*/ 320491 w 321679"/>
              <a:gd name="csY14" fmla="*/ 256903 h 279857"/>
              <a:gd name="csX15" fmla="*/ 255607 w 321679"/>
              <a:gd name="csY15" fmla="*/ 264918 h 279857"/>
              <a:gd name="csX16" fmla="*/ 172672 w 321679"/>
              <a:gd name="csY16" fmla="*/ 273435 h 279857"/>
              <a:gd name="csX17" fmla="*/ 133595 w 321679"/>
              <a:gd name="csY17" fmla="*/ 276823 h 279857"/>
              <a:gd name="csX18" fmla="*/ 84645 w 321679"/>
              <a:gd name="csY18" fmla="*/ 279507 h 27985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</a:cxnLst>
            <a:rect l="l" t="t" r="r" b="b"/>
            <a:pathLst>
              <a:path w="321679" h="279857">
                <a:moveTo>
                  <a:pt x="84645" y="279507"/>
                </a:moveTo>
                <a:cubicBezTo>
                  <a:pt x="55716" y="279830"/>
                  <a:pt x="27945" y="280875"/>
                  <a:pt x="19" y="276629"/>
                </a:cubicBezTo>
                <a:cubicBezTo>
                  <a:pt x="19" y="261343"/>
                  <a:pt x="-45" y="246359"/>
                  <a:pt x="61" y="231376"/>
                </a:cubicBezTo>
                <a:cubicBezTo>
                  <a:pt x="90" y="227299"/>
                  <a:pt x="696" y="223229"/>
                  <a:pt x="925" y="219150"/>
                </a:cubicBezTo>
                <a:cubicBezTo>
                  <a:pt x="3396" y="175071"/>
                  <a:pt x="5876" y="130992"/>
                  <a:pt x="8286" y="86910"/>
                </a:cubicBezTo>
                <a:cubicBezTo>
                  <a:pt x="9469" y="65271"/>
                  <a:pt x="10613" y="43630"/>
                  <a:pt x="11586" y="21981"/>
                </a:cubicBezTo>
                <a:cubicBezTo>
                  <a:pt x="12199" y="8328"/>
                  <a:pt x="12576" y="7792"/>
                  <a:pt x="26655" y="7635"/>
                </a:cubicBezTo>
                <a:cubicBezTo>
                  <a:pt x="40161" y="7484"/>
                  <a:pt x="53689" y="7831"/>
                  <a:pt x="67169" y="7178"/>
                </a:cubicBezTo>
                <a:cubicBezTo>
                  <a:pt x="112079" y="5004"/>
                  <a:pt x="156970" y="2455"/>
                  <a:pt x="201872" y="121"/>
                </a:cubicBezTo>
                <a:cubicBezTo>
                  <a:pt x="206690" y="-130"/>
                  <a:pt x="211533" y="87"/>
                  <a:pt x="217558" y="87"/>
                </a:cubicBezTo>
                <a:cubicBezTo>
                  <a:pt x="216603" y="7811"/>
                  <a:pt x="215688" y="14910"/>
                  <a:pt x="214854" y="22019"/>
                </a:cubicBezTo>
                <a:cubicBezTo>
                  <a:pt x="211318" y="52185"/>
                  <a:pt x="219749" y="79345"/>
                  <a:pt x="235301" y="104861"/>
                </a:cubicBezTo>
                <a:cubicBezTo>
                  <a:pt x="244591" y="120102"/>
                  <a:pt x="257536" y="132012"/>
                  <a:pt x="269832" y="144587"/>
                </a:cubicBezTo>
                <a:cubicBezTo>
                  <a:pt x="280116" y="155103"/>
                  <a:pt x="290551" y="165559"/>
                  <a:pt x="299912" y="176874"/>
                </a:cubicBezTo>
                <a:cubicBezTo>
                  <a:pt x="319006" y="199953"/>
                  <a:pt x="324386" y="226827"/>
                  <a:pt x="320491" y="256903"/>
                </a:cubicBezTo>
                <a:cubicBezTo>
                  <a:pt x="298421" y="259649"/>
                  <a:pt x="277043" y="262541"/>
                  <a:pt x="255607" y="264918"/>
                </a:cubicBezTo>
                <a:cubicBezTo>
                  <a:pt x="227987" y="267981"/>
                  <a:pt x="200327" y="270692"/>
                  <a:pt x="172672" y="273435"/>
                </a:cubicBezTo>
                <a:cubicBezTo>
                  <a:pt x="159662" y="274725"/>
                  <a:pt x="146637" y="275935"/>
                  <a:pt x="133595" y="276823"/>
                </a:cubicBezTo>
                <a:cubicBezTo>
                  <a:pt x="117688" y="277907"/>
                  <a:pt x="101755" y="278616"/>
                  <a:pt x="84645" y="279507"/>
                </a:cubicBezTo>
                <a:close/>
              </a:path>
            </a:pathLst>
          </a:custGeom>
          <a:solidFill>
            <a:schemeClr val="bg1"/>
          </a:solidFill>
          <a:ln w="38100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9" name="Free-form: Shape 38">
            <a:extLst>
              <a:ext uri="{FF2B5EF4-FFF2-40B4-BE49-F238E27FC236}">
                <a16:creationId xmlns:a16="http://schemas.microsoft.com/office/drawing/2014/main" id="{C9A96ABE-E35E-8FBE-0515-991AF47433C3}"/>
              </a:ext>
            </a:extLst>
          </p:cNvPr>
          <p:cNvSpPr/>
          <p:nvPr/>
        </p:nvSpPr>
        <p:spPr>
          <a:xfrm>
            <a:off x="1740387" y="-1383312"/>
            <a:ext cx="284373" cy="65313"/>
          </a:xfrm>
          <a:custGeom>
            <a:avLst/>
            <a:gdLst>
              <a:gd name="csX0" fmla="*/ 270798 w 342106"/>
              <a:gd name="csY0" fmla="*/ 65953 h 78573"/>
              <a:gd name="csX1" fmla="*/ 183290 w 342106"/>
              <a:gd name="csY1" fmla="*/ 76017 h 78573"/>
              <a:gd name="csX2" fmla="*/ 72897 w 342106"/>
              <a:gd name="csY2" fmla="*/ 78565 h 78573"/>
              <a:gd name="csX3" fmla="*/ 5450 w 342106"/>
              <a:gd name="csY3" fmla="*/ 76564 h 78573"/>
              <a:gd name="csX4" fmla="*/ 0 w 342106"/>
              <a:gd name="csY4" fmla="*/ 75649 h 78573"/>
              <a:gd name="csX5" fmla="*/ 0 w 342106"/>
              <a:gd name="csY5" fmla="*/ 21324 h 78573"/>
              <a:gd name="csX6" fmla="*/ 8504 w 342106"/>
              <a:gd name="csY6" fmla="*/ 20688 h 78573"/>
              <a:gd name="csX7" fmla="*/ 98126 w 342106"/>
              <a:gd name="csY7" fmla="*/ 19655 h 78573"/>
              <a:gd name="csX8" fmla="*/ 221639 w 342106"/>
              <a:gd name="csY8" fmla="*/ 10929 h 78573"/>
              <a:gd name="csX9" fmla="*/ 304285 w 342106"/>
              <a:gd name="csY9" fmla="*/ 683 h 78573"/>
              <a:gd name="csX10" fmla="*/ 309173 w 342106"/>
              <a:gd name="csY10" fmla="*/ 212 h 78573"/>
              <a:gd name="csX11" fmla="*/ 335187 w 342106"/>
              <a:gd name="csY11" fmla="*/ 18545 h 78573"/>
              <a:gd name="csX12" fmla="*/ 342106 w 342106"/>
              <a:gd name="csY12" fmla="*/ 53602 h 78573"/>
              <a:gd name="csX13" fmla="*/ 270798 w 342106"/>
              <a:gd name="csY13" fmla="*/ 65953 h 7857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</a:cxnLst>
            <a:rect l="l" t="t" r="r" b="b"/>
            <a:pathLst>
              <a:path w="342106" h="78573">
                <a:moveTo>
                  <a:pt x="270798" y="65953"/>
                </a:moveTo>
                <a:cubicBezTo>
                  <a:pt x="240931" y="69594"/>
                  <a:pt x="212199" y="74306"/>
                  <a:pt x="183290" y="76017"/>
                </a:cubicBezTo>
                <a:cubicBezTo>
                  <a:pt x="146568" y="78191"/>
                  <a:pt x="109704" y="78349"/>
                  <a:pt x="72897" y="78565"/>
                </a:cubicBezTo>
                <a:cubicBezTo>
                  <a:pt x="50419" y="78697"/>
                  <a:pt x="27931" y="77315"/>
                  <a:pt x="5450" y="76564"/>
                </a:cubicBezTo>
                <a:cubicBezTo>
                  <a:pt x="3884" y="76512"/>
                  <a:pt x="2332" y="76053"/>
                  <a:pt x="0" y="75649"/>
                </a:cubicBezTo>
                <a:cubicBezTo>
                  <a:pt x="0" y="57619"/>
                  <a:pt x="0" y="39863"/>
                  <a:pt x="0" y="21324"/>
                </a:cubicBezTo>
                <a:cubicBezTo>
                  <a:pt x="3058" y="21086"/>
                  <a:pt x="5779" y="20715"/>
                  <a:pt x="8504" y="20688"/>
                </a:cubicBezTo>
                <a:cubicBezTo>
                  <a:pt x="38382" y="20390"/>
                  <a:pt x="68305" y="21101"/>
                  <a:pt x="98126" y="19655"/>
                </a:cubicBezTo>
                <a:cubicBezTo>
                  <a:pt x="139343" y="17657"/>
                  <a:pt x="180532" y="14597"/>
                  <a:pt x="221639" y="10929"/>
                </a:cubicBezTo>
                <a:cubicBezTo>
                  <a:pt x="249272" y="8463"/>
                  <a:pt x="276741" y="4156"/>
                  <a:pt x="304285" y="683"/>
                </a:cubicBezTo>
                <a:cubicBezTo>
                  <a:pt x="305908" y="478"/>
                  <a:pt x="307539" y="312"/>
                  <a:pt x="309173" y="212"/>
                </a:cubicBezTo>
                <a:cubicBezTo>
                  <a:pt x="326863" y="-867"/>
                  <a:pt x="330972" y="1719"/>
                  <a:pt x="335187" y="18545"/>
                </a:cubicBezTo>
                <a:cubicBezTo>
                  <a:pt x="337939" y="29526"/>
                  <a:pt x="339618" y="40777"/>
                  <a:pt x="342106" y="53602"/>
                </a:cubicBezTo>
                <a:cubicBezTo>
                  <a:pt x="317523" y="57833"/>
                  <a:pt x="294689" y="61762"/>
                  <a:pt x="270798" y="65953"/>
                </a:cubicBezTo>
                <a:close/>
              </a:path>
            </a:pathLst>
          </a:custGeom>
          <a:solidFill>
            <a:schemeClr val="bg1"/>
          </a:solidFill>
          <a:ln w="38100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" name="Free-form: Shape 39">
            <a:extLst>
              <a:ext uri="{FF2B5EF4-FFF2-40B4-BE49-F238E27FC236}">
                <a16:creationId xmlns:a16="http://schemas.microsoft.com/office/drawing/2014/main" id="{9C3E0C41-92F9-906D-3358-702EF6AFDC12}"/>
              </a:ext>
            </a:extLst>
          </p:cNvPr>
          <p:cNvSpPr/>
          <p:nvPr/>
        </p:nvSpPr>
        <p:spPr>
          <a:xfrm>
            <a:off x="1808106" y="-2341168"/>
            <a:ext cx="72517" cy="55415"/>
          </a:xfrm>
          <a:custGeom>
            <a:avLst/>
            <a:gdLst>
              <a:gd name="csX0" fmla="*/ 9010 w 87239"/>
              <a:gd name="csY0" fmla="*/ 29316 h 66665"/>
              <a:gd name="csX1" fmla="*/ 6110 w 87239"/>
              <a:gd name="csY1" fmla="*/ 15162 h 66665"/>
              <a:gd name="csX2" fmla="*/ 0 w 87239"/>
              <a:gd name="csY2" fmla="*/ 3003 h 66665"/>
              <a:gd name="csX3" fmla="*/ 10641 w 87239"/>
              <a:gd name="csY3" fmla="*/ 697 h 66665"/>
              <a:gd name="csX4" fmla="*/ 42824 w 87239"/>
              <a:gd name="csY4" fmla="*/ 7981 h 66665"/>
              <a:gd name="csX5" fmla="*/ 73433 w 87239"/>
              <a:gd name="csY5" fmla="*/ 31631 h 66665"/>
              <a:gd name="csX6" fmla="*/ 86236 w 87239"/>
              <a:gd name="csY6" fmla="*/ 56519 h 66665"/>
              <a:gd name="csX7" fmla="*/ 82327 w 87239"/>
              <a:gd name="csY7" fmla="*/ 64249 h 66665"/>
              <a:gd name="csX8" fmla="*/ 49439 w 87239"/>
              <a:gd name="csY8" fmla="*/ 66665 h 66665"/>
              <a:gd name="csX9" fmla="*/ 11457 w 87239"/>
              <a:gd name="csY9" fmla="*/ 38560 h 66665"/>
              <a:gd name="csX10" fmla="*/ 9010 w 87239"/>
              <a:gd name="csY10" fmla="*/ 29316 h 6666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</a:cxnLst>
            <a:rect l="l" t="t" r="r" b="b"/>
            <a:pathLst>
              <a:path w="87239" h="66665">
                <a:moveTo>
                  <a:pt x="9010" y="29316"/>
                </a:moveTo>
                <a:cubicBezTo>
                  <a:pt x="7998" y="23924"/>
                  <a:pt x="7568" y="19365"/>
                  <a:pt x="6110" y="15162"/>
                </a:cubicBezTo>
                <a:cubicBezTo>
                  <a:pt x="4682" y="11044"/>
                  <a:pt x="2207" y="7289"/>
                  <a:pt x="0" y="3003"/>
                </a:cubicBezTo>
                <a:cubicBezTo>
                  <a:pt x="2648" y="-833"/>
                  <a:pt x="6580" y="-238"/>
                  <a:pt x="10641" y="697"/>
                </a:cubicBezTo>
                <a:cubicBezTo>
                  <a:pt x="21360" y="3163"/>
                  <a:pt x="32042" y="5825"/>
                  <a:pt x="42824" y="7981"/>
                </a:cubicBezTo>
                <a:cubicBezTo>
                  <a:pt x="57032" y="10823"/>
                  <a:pt x="67419" y="18068"/>
                  <a:pt x="73433" y="31631"/>
                </a:cubicBezTo>
                <a:cubicBezTo>
                  <a:pt x="77208" y="40146"/>
                  <a:pt x="81954" y="48228"/>
                  <a:pt x="86236" y="56519"/>
                </a:cubicBezTo>
                <a:cubicBezTo>
                  <a:pt x="88409" y="60728"/>
                  <a:pt x="87030" y="63806"/>
                  <a:pt x="82327" y="64249"/>
                </a:cubicBezTo>
                <a:cubicBezTo>
                  <a:pt x="71381" y="65282"/>
                  <a:pt x="60402" y="66689"/>
                  <a:pt x="49439" y="66665"/>
                </a:cubicBezTo>
                <a:cubicBezTo>
                  <a:pt x="28683" y="66620"/>
                  <a:pt x="18142" y="58428"/>
                  <a:pt x="11457" y="38560"/>
                </a:cubicBezTo>
                <a:cubicBezTo>
                  <a:pt x="10547" y="35855"/>
                  <a:pt x="9906" y="33058"/>
                  <a:pt x="9010" y="29316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251CAA06-B3FA-6246-1724-B0EAE781CDB6}"/>
              </a:ext>
            </a:extLst>
          </p:cNvPr>
          <p:cNvSpPr txBox="1"/>
          <p:nvPr/>
        </p:nvSpPr>
        <p:spPr>
          <a:xfrm>
            <a:off x="5560519" y="-1258119"/>
            <a:ext cx="2310243" cy="3927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D20×CD3 BsAbs</a:t>
            </a:r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338886EB-54E8-F449-4948-B64BBC73649D}"/>
              </a:ext>
            </a:extLst>
          </p:cNvPr>
          <p:cNvSpPr/>
          <p:nvPr/>
        </p:nvSpPr>
        <p:spPr>
          <a:xfrm>
            <a:off x="6351751" y="-1374941"/>
            <a:ext cx="739960" cy="152189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3" name="Free-form: Shape 42">
            <a:extLst>
              <a:ext uri="{FF2B5EF4-FFF2-40B4-BE49-F238E27FC236}">
                <a16:creationId xmlns:a16="http://schemas.microsoft.com/office/drawing/2014/main" id="{9D8B6033-EBF9-6CF5-CB01-A697ACF2B103}"/>
              </a:ext>
            </a:extLst>
          </p:cNvPr>
          <p:cNvSpPr/>
          <p:nvPr/>
        </p:nvSpPr>
        <p:spPr>
          <a:xfrm>
            <a:off x="6431715" y="-2676518"/>
            <a:ext cx="650203" cy="1414846"/>
          </a:xfrm>
          <a:custGeom>
            <a:avLst/>
            <a:gdLst>
              <a:gd name="csX0" fmla="*/ 466852 w 715223"/>
              <a:gd name="csY0" fmla="*/ 229083 h 1556330"/>
              <a:gd name="csX1" fmla="*/ 462328 w 715223"/>
              <a:gd name="csY1" fmla="*/ 242604 h 1556330"/>
              <a:gd name="csX2" fmla="*/ 496944 w 715223"/>
              <a:gd name="csY2" fmla="*/ 204739 h 1556330"/>
              <a:gd name="csX3" fmla="*/ 534359 w 715223"/>
              <a:gd name="csY3" fmla="*/ 270960 h 1556330"/>
              <a:gd name="csX4" fmla="*/ 540589 w 715223"/>
              <a:gd name="csY4" fmla="*/ 445986 h 1556330"/>
              <a:gd name="csX5" fmla="*/ 509727 w 715223"/>
              <a:gd name="csY5" fmla="*/ 496924 h 1556330"/>
              <a:gd name="csX6" fmla="*/ 505366 w 715223"/>
              <a:gd name="csY6" fmla="*/ 511893 h 1556330"/>
              <a:gd name="csX7" fmla="*/ 501982 w 715223"/>
              <a:gd name="csY7" fmla="*/ 530377 h 1556330"/>
              <a:gd name="csX8" fmla="*/ 505678 w 715223"/>
              <a:gd name="csY8" fmla="*/ 556455 h 1556330"/>
              <a:gd name="csX9" fmla="*/ 526115 w 715223"/>
              <a:gd name="csY9" fmla="*/ 591784 h 1556330"/>
              <a:gd name="csX10" fmla="*/ 541579 w 715223"/>
              <a:gd name="csY10" fmla="*/ 612264 h 1556330"/>
              <a:gd name="csX11" fmla="*/ 569572 w 715223"/>
              <a:gd name="csY11" fmla="*/ 643441 h 1556330"/>
              <a:gd name="csX12" fmla="*/ 555234 w 715223"/>
              <a:gd name="csY12" fmla="*/ 688473 h 1556330"/>
              <a:gd name="csX13" fmla="*/ 513278 w 715223"/>
              <a:gd name="csY13" fmla="*/ 700556 h 1556330"/>
              <a:gd name="csX14" fmla="*/ 488559 w 715223"/>
              <a:gd name="csY14" fmla="*/ 702821 h 1556330"/>
              <a:gd name="csX15" fmla="*/ 488544 w 715223"/>
              <a:gd name="csY15" fmla="*/ 718085 h 1556330"/>
              <a:gd name="csX16" fmla="*/ 526561 w 715223"/>
              <a:gd name="csY16" fmla="*/ 1010212 h 1556330"/>
              <a:gd name="csX17" fmla="*/ 569986 w 715223"/>
              <a:gd name="csY17" fmla="*/ 1153317 h 1556330"/>
              <a:gd name="csX18" fmla="*/ 587389 w 715223"/>
              <a:gd name="csY18" fmla="*/ 1172173 h 1556330"/>
              <a:gd name="csX19" fmla="*/ 606286 w 715223"/>
              <a:gd name="csY19" fmla="*/ 1180891 h 1556330"/>
              <a:gd name="csX20" fmla="*/ 613400 w 715223"/>
              <a:gd name="csY20" fmla="*/ 1204260 h 1556330"/>
              <a:gd name="csX21" fmla="*/ 605350 w 715223"/>
              <a:gd name="csY21" fmla="*/ 1216760 h 1556330"/>
              <a:gd name="csX22" fmla="*/ 600268 w 715223"/>
              <a:gd name="csY22" fmla="*/ 1220273 h 1556330"/>
              <a:gd name="csX23" fmla="*/ 610574 w 715223"/>
              <a:gd name="csY23" fmla="*/ 1258750 h 1556330"/>
              <a:gd name="csX24" fmla="*/ 672371 w 715223"/>
              <a:gd name="csY24" fmla="*/ 1319810 h 1556330"/>
              <a:gd name="csX25" fmla="*/ 675494 w 715223"/>
              <a:gd name="csY25" fmla="*/ 1323366 h 1556330"/>
              <a:gd name="csX26" fmla="*/ 692949 w 715223"/>
              <a:gd name="csY26" fmla="*/ 1396068 h 1556330"/>
              <a:gd name="csX27" fmla="*/ 690628 w 715223"/>
              <a:gd name="csY27" fmla="*/ 1414117 h 1556330"/>
              <a:gd name="csX28" fmla="*/ 695588 w 715223"/>
              <a:gd name="csY28" fmla="*/ 1421035 h 1556330"/>
              <a:gd name="csX29" fmla="*/ 694353 w 715223"/>
              <a:gd name="csY29" fmla="*/ 1425190 h 1556330"/>
              <a:gd name="csX30" fmla="*/ 689106 w 715223"/>
              <a:gd name="csY30" fmla="*/ 1428714 h 1556330"/>
              <a:gd name="csX31" fmla="*/ 695093 w 715223"/>
              <a:gd name="csY31" fmla="*/ 1428433 h 1556330"/>
              <a:gd name="csX32" fmla="*/ 697643 w 715223"/>
              <a:gd name="csY32" fmla="*/ 1432864 h 1556330"/>
              <a:gd name="csX33" fmla="*/ 698207 w 715223"/>
              <a:gd name="csY33" fmla="*/ 1441988 h 1556330"/>
              <a:gd name="csX34" fmla="*/ 715183 w 715223"/>
              <a:gd name="csY34" fmla="*/ 1508752 h 1556330"/>
              <a:gd name="csX35" fmla="*/ 701540 w 715223"/>
              <a:gd name="csY35" fmla="*/ 1526524 h 1556330"/>
              <a:gd name="csX36" fmla="*/ 581715 w 715223"/>
              <a:gd name="csY36" fmla="*/ 1548559 h 1556330"/>
              <a:gd name="csX37" fmla="*/ 522168 w 715223"/>
              <a:gd name="csY37" fmla="*/ 1553543 h 1556330"/>
              <a:gd name="csX38" fmla="*/ 450008 w 715223"/>
              <a:gd name="csY38" fmla="*/ 1556019 h 1556330"/>
              <a:gd name="csX39" fmla="*/ 245169 w 715223"/>
              <a:gd name="csY39" fmla="*/ 1553749 h 1556330"/>
              <a:gd name="csX40" fmla="*/ 221854 w 715223"/>
              <a:gd name="csY40" fmla="*/ 1553306 h 1556330"/>
              <a:gd name="csX41" fmla="*/ 168405 w 715223"/>
              <a:gd name="csY41" fmla="*/ 1548828 h 1556330"/>
              <a:gd name="csX42" fmla="*/ 126970 w 715223"/>
              <a:gd name="csY42" fmla="*/ 1546091 h 1556330"/>
              <a:gd name="csX43" fmla="*/ 104053 w 715223"/>
              <a:gd name="csY43" fmla="*/ 1542912 h 1556330"/>
              <a:gd name="csX44" fmla="*/ 65625 w 715223"/>
              <a:gd name="csY44" fmla="*/ 1536401 h 1556330"/>
              <a:gd name="csX45" fmla="*/ 10909 w 715223"/>
              <a:gd name="csY45" fmla="*/ 1524010 h 1556330"/>
              <a:gd name="csX46" fmla="*/ 8 w 715223"/>
              <a:gd name="csY46" fmla="*/ 1509263 h 1556330"/>
              <a:gd name="csX47" fmla="*/ 21158 w 715223"/>
              <a:gd name="csY47" fmla="*/ 1433611 h 1556330"/>
              <a:gd name="csX48" fmla="*/ 23462 w 715223"/>
              <a:gd name="csY48" fmla="*/ 1418658 h 1556330"/>
              <a:gd name="csX49" fmla="*/ 19643 w 715223"/>
              <a:gd name="csY49" fmla="*/ 1382324 h 1556330"/>
              <a:gd name="csX50" fmla="*/ 49060 w 715223"/>
              <a:gd name="csY50" fmla="*/ 1311832 h 1556330"/>
              <a:gd name="csX51" fmla="*/ 109176 w 715223"/>
              <a:gd name="csY51" fmla="*/ 1254078 h 1556330"/>
              <a:gd name="csX52" fmla="*/ 118319 w 715223"/>
              <a:gd name="csY52" fmla="*/ 1214801 h 1556330"/>
              <a:gd name="csX53" fmla="*/ 113082 w 715223"/>
              <a:gd name="csY53" fmla="*/ 1201084 h 1556330"/>
              <a:gd name="csX54" fmla="*/ 120417 w 715223"/>
              <a:gd name="csY54" fmla="*/ 1183950 h 1556330"/>
              <a:gd name="csX55" fmla="*/ 135209 w 715223"/>
              <a:gd name="csY55" fmla="*/ 1178138 h 1556330"/>
              <a:gd name="csX56" fmla="*/ 156535 w 715223"/>
              <a:gd name="csY56" fmla="*/ 1156396 h 1556330"/>
              <a:gd name="csX57" fmla="*/ 185647 w 715223"/>
              <a:gd name="csY57" fmla="*/ 1061682 h 1556330"/>
              <a:gd name="csX58" fmla="*/ 201074 w 715223"/>
              <a:gd name="csY58" fmla="*/ 1005093 h 1556330"/>
              <a:gd name="csX59" fmla="*/ 213864 w 715223"/>
              <a:gd name="csY59" fmla="*/ 943040 h 1556330"/>
              <a:gd name="csX60" fmla="*/ 223580 w 715223"/>
              <a:gd name="csY60" fmla="*/ 884167 h 1556330"/>
              <a:gd name="csX61" fmla="*/ 228827 w 715223"/>
              <a:gd name="csY61" fmla="*/ 839382 h 1556330"/>
              <a:gd name="csX62" fmla="*/ 233251 w 715223"/>
              <a:gd name="csY62" fmla="*/ 794539 h 1556330"/>
              <a:gd name="csX63" fmla="*/ 233413 w 715223"/>
              <a:gd name="csY63" fmla="*/ 708554 h 1556330"/>
              <a:gd name="csX64" fmla="*/ 232253 w 715223"/>
              <a:gd name="csY64" fmla="*/ 699181 h 1556330"/>
              <a:gd name="csX65" fmla="*/ 192775 w 715223"/>
              <a:gd name="csY65" fmla="*/ 693131 h 1556330"/>
              <a:gd name="csX66" fmla="*/ 166222 w 715223"/>
              <a:gd name="csY66" fmla="*/ 684229 h 1556330"/>
              <a:gd name="csX67" fmla="*/ 153485 w 715223"/>
              <a:gd name="csY67" fmla="*/ 649704 h 1556330"/>
              <a:gd name="csX68" fmla="*/ 179302 w 715223"/>
              <a:gd name="csY68" fmla="*/ 621006 h 1556330"/>
              <a:gd name="csX69" fmla="*/ 192182 w 715223"/>
              <a:gd name="csY69" fmla="*/ 601675 h 1556330"/>
              <a:gd name="csX70" fmla="*/ 204894 w 715223"/>
              <a:gd name="csY70" fmla="*/ 583417 h 1556330"/>
              <a:gd name="csX71" fmla="*/ 233213 w 715223"/>
              <a:gd name="csY71" fmla="*/ 564393 h 1556330"/>
              <a:gd name="csX72" fmla="*/ 229725 w 715223"/>
              <a:gd name="csY72" fmla="*/ 538177 h 1556330"/>
              <a:gd name="csX73" fmla="*/ 218771 w 715223"/>
              <a:gd name="csY73" fmla="*/ 532633 h 1556330"/>
              <a:gd name="csX74" fmla="*/ 215183 w 715223"/>
              <a:gd name="csY74" fmla="*/ 521568 h 1556330"/>
              <a:gd name="csX75" fmla="*/ 223368 w 715223"/>
              <a:gd name="csY75" fmla="*/ 508901 h 1556330"/>
              <a:gd name="csX76" fmla="*/ 218372 w 715223"/>
              <a:gd name="csY76" fmla="*/ 498135 h 1556330"/>
              <a:gd name="csX77" fmla="*/ 181440 w 715223"/>
              <a:gd name="csY77" fmla="*/ 432308 h 1556330"/>
              <a:gd name="csX78" fmla="*/ 167535 w 715223"/>
              <a:gd name="csY78" fmla="*/ 349841 h 1556330"/>
              <a:gd name="csX79" fmla="*/ 193488 w 715223"/>
              <a:gd name="csY79" fmla="*/ 262518 h 1556330"/>
              <a:gd name="csX80" fmla="*/ 237748 w 715223"/>
              <a:gd name="csY80" fmla="*/ 190690 h 1556330"/>
              <a:gd name="csX81" fmla="*/ 309459 w 715223"/>
              <a:gd name="csY81" fmla="*/ 102623 h 1556330"/>
              <a:gd name="csX82" fmla="*/ 310459 w 715223"/>
              <a:gd name="csY82" fmla="*/ 78521 h 1556330"/>
              <a:gd name="csX83" fmla="*/ 300267 w 715223"/>
              <a:gd name="csY83" fmla="*/ 57856 h 1556330"/>
              <a:gd name="csX84" fmla="*/ 332242 w 715223"/>
              <a:gd name="csY84" fmla="*/ 4422 h 1556330"/>
              <a:gd name="csX85" fmla="*/ 384904 w 715223"/>
              <a:gd name="csY85" fmla="*/ 5551 h 1556330"/>
              <a:gd name="csX86" fmla="*/ 409773 w 715223"/>
              <a:gd name="csY86" fmla="*/ 26778 h 1556330"/>
              <a:gd name="csX87" fmla="*/ 407026 w 715223"/>
              <a:gd name="csY87" fmla="*/ 46052 h 1556330"/>
              <a:gd name="csX88" fmla="*/ 402771 w 715223"/>
              <a:gd name="csY88" fmla="*/ 30951 h 1556330"/>
              <a:gd name="csX89" fmla="*/ 397038 w 715223"/>
              <a:gd name="csY89" fmla="*/ 30361 h 1556330"/>
              <a:gd name="csX90" fmla="*/ 360694 w 715223"/>
              <a:gd name="csY90" fmla="*/ 22760 h 1556330"/>
              <a:gd name="csX91" fmla="*/ 351669 w 715223"/>
              <a:gd name="csY91" fmla="*/ 31736 h 1556330"/>
              <a:gd name="csX92" fmla="*/ 351426 w 715223"/>
              <a:gd name="csY92" fmla="*/ 43987 h 1556330"/>
              <a:gd name="csX93" fmla="*/ 390968 w 715223"/>
              <a:gd name="csY93" fmla="*/ 68762 h 1556330"/>
              <a:gd name="csX94" fmla="*/ 401770 w 715223"/>
              <a:gd name="csY94" fmla="*/ 59025 h 1556330"/>
              <a:gd name="csX95" fmla="*/ 409619 w 715223"/>
              <a:gd name="csY95" fmla="*/ 55786 h 1556330"/>
              <a:gd name="csX96" fmla="*/ 410427 w 715223"/>
              <a:gd name="csY96" fmla="*/ 64256 h 1556330"/>
              <a:gd name="csX97" fmla="*/ 399453 w 715223"/>
              <a:gd name="csY97" fmla="*/ 81811 h 1556330"/>
              <a:gd name="csX98" fmla="*/ 399346 w 715223"/>
              <a:gd name="csY98" fmla="*/ 98083 h 1556330"/>
              <a:gd name="csX99" fmla="*/ 471592 w 715223"/>
              <a:gd name="csY99" fmla="*/ 180524 h 1556330"/>
              <a:gd name="csX100" fmla="*/ 473550 w 715223"/>
              <a:gd name="csY100" fmla="*/ 200923 h 1556330"/>
              <a:gd name="csX101" fmla="*/ 463677 w 715223"/>
              <a:gd name="csY101" fmla="*/ 223311 h 1556330"/>
              <a:gd name="csX102" fmla="*/ 466852 w 715223"/>
              <a:gd name="csY102" fmla="*/ 229083 h 1556330"/>
              <a:gd name="csX103" fmla="*/ 474186 w 715223"/>
              <a:gd name="csY103" fmla="*/ 928382 h 1556330"/>
              <a:gd name="csX104" fmla="*/ 459927 w 715223"/>
              <a:gd name="csY104" fmla="*/ 817790 h 1556330"/>
              <a:gd name="csX105" fmla="*/ 456025 w 715223"/>
              <a:gd name="csY105" fmla="*/ 706469 h 1556330"/>
              <a:gd name="csX106" fmla="*/ 366863 w 715223"/>
              <a:gd name="csY106" fmla="*/ 710754 h 1556330"/>
              <a:gd name="csX107" fmla="*/ 366159 w 715223"/>
              <a:gd name="csY107" fmla="*/ 719219 h 1556330"/>
              <a:gd name="csX108" fmla="*/ 364159 w 715223"/>
              <a:gd name="csY108" fmla="*/ 834581 h 1556330"/>
              <a:gd name="csX109" fmla="*/ 361633 w 715223"/>
              <a:gd name="csY109" fmla="*/ 940117 h 1556330"/>
              <a:gd name="csX110" fmla="*/ 358313 w 715223"/>
              <a:gd name="csY110" fmla="*/ 1053005 h 1556330"/>
              <a:gd name="csX111" fmla="*/ 358081 w 715223"/>
              <a:gd name="csY111" fmla="*/ 1057912 h 1556330"/>
              <a:gd name="csX112" fmla="*/ 353706 w 715223"/>
              <a:gd name="csY112" fmla="*/ 1164570 h 1556330"/>
              <a:gd name="csX113" fmla="*/ 354951 w 715223"/>
              <a:gd name="csY113" fmla="*/ 1172547 h 1556330"/>
              <a:gd name="csX114" fmla="*/ 540959 w 715223"/>
              <a:gd name="csY114" fmla="*/ 1175972 h 1556330"/>
              <a:gd name="csX115" fmla="*/ 474186 w 715223"/>
              <a:gd name="csY115" fmla="*/ 928382 h 1556330"/>
              <a:gd name="csX116" fmla="*/ 513768 w 715223"/>
              <a:gd name="csY116" fmla="*/ 1417676 h 1556330"/>
              <a:gd name="csX117" fmla="*/ 519822 w 715223"/>
              <a:gd name="csY117" fmla="*/ 1416700 h 1556330"/>
              <a:gd name="csX118" fmla="*/ 632041 w 715223"/>
              <a:gd name="csY118" fmla="*/ 1406122 h 1556330"/>
              <a:gd name="csX119" fmla="*/ 665040 w 715223"/>
              <a:gd name="csY119" fmla="*/ 1400634 h 1556330"/>
              <a:gd name="csX120" fmla="*/ 665677 w 715223"/>
              <a:gd name="csY120" fmla="*/ 1396126 h 1556330"/>
              <a:gd name="csX121" fmla="*/ 665529 w 715223"/>
              <a:gd name="csY121" fmla="*/ 1389994 h 1556330"/>
              <a:gd name="csX122" fmla="*/ 623046 w 715223"/>
              <a:gd name="csY122" fmla="*/ 1306238 h 1556330"/>
              <a:gd name="csX123" fmla="*/ 596015 w 715223"/>
              <a:gd name="csY123" fmla="*/ 1281285 h 1556330"/>
              <a:gd name="csX124" fmla="*/ 567683 w 715223"/>
              <a:gd name="csY124" fmla="*/ 1220059 h 1556330"/>
              <a:gd name="csX125" fmla="*/ 540273 w 715223"/>
              <a:gd name="csY125" fmla="*/ 1220129 h 1556330"/>
              <a:gd name="csX126" fmla="*/ 424010 w 715223"/>
              <a:gd name="csY126" fmla="*/ 1226781 h 1556330"/>
              <a:gd name="csX127" fmla="*/ 357832 w 715223"/>
              <a:gd name="csY127" fmla="*/ 1229178 h 1556330"/>
              <a:gd name="csX128" fmla="*/ 352386 w 715223"/>
              <a:gd name="csY128" fmla="*/ 1230616 h 1556330"/>
              <a:gd name="csX129" fmla="*/ 355852 w 715223"/>
              <a:gd name="csY129" fmla="*/ 1324222 h 1556330"/>
              <a:gd name="csX130" fmla="*/ 352930 w 715223"/>
              <a:gd name="csY130" fmla="*/ 1417867 h 1556330"/>
              <a:gd name="csX131" fmla="*/ 513768 w 715223"/>
              <a:gd name="csY131" fmla="*/ 1417676 h 1556330"/>
              <a:gd name="csX132" fmla="*/ 387930 w 715223"/>
              <a:gd name="csY132" fmla="*/ 499741 h 1556330"/>
              <a:gd name="csX133" fmla="*/ 456529 w 715223"/>
              <a:gd name="csY133" fmla="*/ 496826 h 1556330"/>
              <a:gd name="csX134" fmla="*/ 482355 w 715223"/>
              <a:gd name="csY134" fmla="*/ 485095 h 1556330"/>
              <a:gd name="csX135" fmla="*/ 528016 w 715223"/>
              <a:gd name="csY135" fmla="*/ 374829 h 1556330"/>
              <a:gd name="csX136" fmla="*/ 501375 w 715223"/>
              <a:gd name="csY136" fmla="*/ 261643 h 1556330"/>
              <a:gd name="csX137" fmla="*/ 493534 w 715223"/>
              <a:gd name="csY137" fmla="*/ 249818 h 1556330"/>
              <a:gd name="csX138" fmla="*/ 485920 w 715223"/>
              <a:gd name="csY138" fmla="*/ 260010 h 1556330"/>
              <a:gd name="csX139" fmla="*/ 453305 w 715223"/>
              <a:gd name="csY139" fmla="*/ 310523 h 1556330"/>
              <a:gd name="csX140" fmla="*/ 433678 w 715223"/>
              <a:gd name="csY140" fmla="*/ 338672 h 1556330"/>
              <a:gd name="csX141" fmla="*/ 403713 w 715223"/>
              <a:gd name="csY141" fmla="*/ 343710 h 1556330"/>
              <a:gd name="csX142" fmla="*/ 396427 w 715223"/>
              <a:gd name="csY142" fmla="*/ 315612 h 1556330"/>
              <a:gd name="csX143" fmla="*/ 399663 w 715223"/>
              <a:gd name="csY143" fmla="*/ 309000 h 1556330"/>
              <a:gd name="csX144" fmla="*/ 452097 w 715223"/>
              <a:gd name="csY144" fmla="*/ 200770 h 1556330"/>
              <a:gd name="csX145" fmla="*/ 450118 w 715223"/>
              <a:gd name="csY145" fmla="*/ 180596 h 1556330"/>
              <a:gd name="csX146" fmla="*/ 376545 w 715223"/>
              <a:gd name="csY146" fmla="*/ 105525 h 1556330"/>
              <a:gd name="csX147" fmla="*/ 368791 w 715223"/>
              <a:gd name="csY147" fmla="*/ 101653 h 1556330"/>
              <a:gd name="csX148" fmla="*/ 366449 w 715223"/>
              <a:gd name="csY148" fmla="*/ 144676 h 1556330"/>
              <a:gd name="csX149" fmla="*/ 365447 w 715223"/>
              <a:gd name="csY149" fmla="*/ 183946 h 1556330"/>
              <a:gd name="csX150" fmla="*/ 364738 w 715223"/>
              <a:gd name="csY150" fmla="*/ 298022 h 1556330"/>
              <a:gd name="csX151" fmla="*/ 373865 w 715223"/>
              <a:gd name="csY151" fmla="*/ 430096 h 1556330"/>
              <a:gd name="csX152" fmla="*/ 381088 w 715223"/>
              <a:gd name="csY152" fmla="*/ 492169 h 1556330"/>
              <a:gd name="csX153" fmla="*/ 387930 w 715223"/>
              <a:gd name="csY153" fmla="*/ 499741 h 1556330"/>
              <a:gd name="csX154" fmla="*/ 455850 w 715223"/>
              <a:gd name="csY154" fmla="*/ 1521476 h 1556330"/>
              <a:gd name="csX155" fmla="*/ 685121 w 715223"/>
              <a:gd name="csY155" fmla="*/ 1496509 h 1556330"/>
              <a:gd name="csX156" fmla="*/ 672999 w 715223"/>
              <a:gd name="csY156" fmla="*/ 1456665 h 1556330"/>
              <a:gd name="csX157" fmla="*/ 660009 w 715223"/>
              <a:gd name="csY157" fmla="*/ 1450249 h 1556330"/>
              <a:gd name="csX158" fmla="*/ 633248 w 715223"/>
              <a:gd name="csY158" fmla="*/ 1453589 h 1556330"/>
              <a:gd name="csX159" fmla="*/ 451131 w 715223"/>
              <a:gd name="csY159" fmla="*/ 1467458 h 1556330"/>
              <a:gd name="csX160" fmla="*/ 362719 w 715223"/>
              <a:gd name="csY160" fmla="*/ 1467934 h 1556330"/>
              <a:gd name="csX161" fmla="*/ 349983 w 715223"/>
              <a:gd name="csY161" fmla="*/ 1467936 h 1556330"/>
              <a:gd name="csX162" fmla="*/ 352220 w 715223"/>
              <a:gd name="csY162" fmla="*/ 1519140 h 1556330"/>
              <a:gd name="csX163" fmla="*/ 455850 w 715223"/>
              <a:gd name="csY163" fmla="*/ 1521476 h 1556330"/>
              <a:gd name="csX164" fmla="*/ 368682 w 715223"/>
              <a:gd name="csY164" fmla="*/ 544846 h 1556330"/>
              <a:gd name="csX165" fmla="*/ 363600 w 715223"/>
              <a:gd name="csY165" fmla="*/ 605633 h 1556330"/>
              <a:gd name="csX166" fmla="*/ 496351 w 715223"/>
              <a:gd name="csY166" fmla="*/ 601466 h 1556330"/>
              <a:gd name="csX167" fmla="*/ 485068 w 715223"/>
              <a:gd name="csY167" fmla="*/ 579288 h 1556330"/>
              <a:gd name="csX168" fmla="*/ 466524 w 715223"/>
              <a:gd name="csY168" fmla="*/ 541026 h 1556330"/>
              <a:gd name="csX169" fmla="*/ 465000 w 715223"/>
              <a:gd name="csY169" fmla="*/ 536289 h 1556330"/>
              <a:gd name="csX170" fmla="*/ 451328 w 715223"/>
              <a:gd name="csY170" fmla="*/ 536316 h 1556330"/>
              <a:gd name="csX171" fmla="*/ 390140 w 715223"/>
              <a:gd name="csY171" fmla="*/ 538979 h 1556330"/>
              <a:gd name="csX172" fmla="*/ 374215 w 715223"/>
              <a:gd name="csY172" fmla="*/ 539303 h 1556330"/>
              <a:gd name="csX173" fmla="*/ 368682 w 715223"/>
              <a:gd name="csY173" fmla="*/ 544846 h 1556330"/>
              <a:gd name="csX174" fmla="*/ 453915 w 715223"/>
              <a:gd name="csY174" fmla="*/ 635267 h 1556330"/>
              <a:gd name="csX175" fmla="*/ 374200 w 715223"/>
              <a:gd name="csY175" fmla="*/ 639402 h 1556330"/>
              <a:gd name="csX176" fmla="*/ 374200 w 715223"/>
              <a:gd name="csY176" fmla="*/ 673206 h 1556330"/>
              <a:gd name="csX177" fmla="*/ 386639 w 715223"/>
              <a:gd name="csY177" fmla="*/ 673718 h 1556330"/>
              <a:gd name="csX178" fmla="*/ 521198 w 715223"/>
              <a:gd name="csY178" fmla="*/ 668541 h 1556330"/>
              <a:gd name="csX179" fmla="*/ 534198 w 715223"/>
              <a:gd name="csY179" fmla="*/ 665521 h 1556330"/>
              <a:gd name="csX180" fmla="*/ 538413 w 715223"/>
              <a:gd name="csY180" fmla="*/ 652526 h 1556330"/>
              <a:gd name="csX181" fmla="*/ 529377 w 715223"/>
              <a:gd name="csY181" fmla="*/ 642895 h 1556330"/>
              <a:gd name="csX182" fmla="*/ 502829 w 715223"/>
              <a:gd name="csY182" fmla="*/ 634808 h 1556330"/>
              <a:gd name="csX183" fmla="*/ 453915 w 715223"/>
              <a:gd name="csY183" fmla="*/ 635267 h 155633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  <a:cxn ang="0">
                <a:pos x="csX170" y="csY170"/>
              </a:cxn>
              <a:cxn ang="0">
                <a:pos x="csX171" y="csY171"/>
              </a:cxn>
              <a:cxn ang="0">
                <a:pos x="csX172" y="csY172"/>
              </a:cxn>
              <a:cxn ang="0">
                <a:pos x="csX173" y="csY173"/>
              </a:cxn>
              <a:cxn ang="0">
                <a:pos x="csX174" y="csY174"/>
              </a:cxn>
              <a:cxn ang="0">
                <a:pos x="csX175" y="csY175"/>
              </a:cxn>
              <a:cxn ang="0">
                <a:pos x="csX176" y="csY176"/>
              </a:cxn>
              <a:cxn ang="0">
                <a:pos x="csX177" y="csY177"/>
              </a:cxn>
              <a:cxn ang="0">
                <a:pos x="csX178" y="csY178"/>
              </a:cxn>
              <a:cxn ang="0">
                <a:pos x="csX179" y="csY179"/>
              </a:cxn>
              <a:cxn ang="0">
                <a:pos x="csX180" y="csY180"/>
              </a:cxn>
              <a:cxn ang="0">
                <a:pos x="csX181" y="csY181"/>
              </a:cxn>
              <a:cxn ang="0">
                <a:pos x="csX182" y="csY182"/>
              </a:cxn>
              <a:cxn ang="0">
                <a:pos x="csX183" y="csY183"/>
              </a:cxn>
            </a:cxnLst>
            <a:rect l="l" t="t" r="r" b="b"/>
            <a:pathLst>
              <a:path w="715223" h="1556330">
                <a:moveTo>
                  <a:pt x="466852" y="229083"/>
                </a:moveTo>
                <a:cubicBezTo>
                  <a:pt x="465344" y="233590"/>
                  <a:pt x="463836" y="238097"/>
                  <a:pt x="462328" y="242604"/>
                </a:cubicBezTo>
                <a:cubicBezTo>
                  <a:pt x="476604" y="232528"/>
                  <a:pt x="484219" y="216936"/>
                  <a:pt x="496944" y="204739"/>
                </a:cubicBezTo>
                <a:cubicBezTo>
                  <a:pt x="511903" y="225901"/>
                  <a:pt x="524807" y="247414"/>
                  <a:pt x="534359" y="270960"/>
                </a:cubicBezTo>
                <a:cubicBezTo>
                  <a:pt x="557740" y="328591"/>
                  <a:pt x="560223" y="386926"/>
                  <a:pt x="540589" y="445986"/>
                </a:cubicBezTo>
                <a:cubicBezTo>
                  <a:pt x="534197" y="465215"/>
                  <a:pt x="524450" y="482672"/>
                  <a:pt x="509727" y="496924"/>
                </a:cubicBezTo>
                <a:cubicBezTo>
                  <a:pt x="505277" y="501232"/>
                  <a:pt x="502734" y="505157"/>
                  <a:pt x="505366" y="511893"/>
                </a:cubicBezTo>
                <a:cubicBezTo>
                  <a:pt x="507828" y="518196"/>
                  <a:pt x="505953" y="524402"/>
                  <a:pt x="501982" y="530377"/>
                </a:cubicBezTo>
                <a:cubicBezTo>
                  <a:pt x="495613" y="539961"/>
                  <a:pt x="496865" y="548901"/>
                  <a:pt x="505678" y="556455"/>
                </a:cubicBezTo>
                <a:cubicBezTo>
                  <a:pt x="516748" y="565943"/>
                  <a:pt x="523694" y="577557"/>
                  <a:pt x="526115" y="591784"/>
                </a:cubicBezTo>
                <a:cubicBezTo>
                  <a:pt x="527758" y="601445"/>
                  <a:pt x="532593" y="608029"/>
                  <a:pt x="541579" y="612264"/>
                </a:cubicBezTo>
                <a:cubicBezTo>
                  <a:pt x="555150" y="618662"/>
                  <a:pt x="564081" y="629523"/>
                  <a:pt x="569572" y="643441"/>
                </a:cubicBezTo>
                <a:cubicBezTo>
                  <a:pt x="576413" y="660776"/>
                  <a:pt x="570996" y="678245"/>
                  <a:pt x="555234" y="688473"/>
                </a:cubicBezTo>
                <a:cubicBezTo>
                  <a:pt x="542486" y="696746"/>
                  <a:pt x="528127" y="699474"/>
                  <a:pt x="513278" y="700556"/>
                </a:cubicBezTo>
                <a:cubicBezTo>
                  <a:pt x="505590" y="701115"/>
                  <a:pt x="497922" y="701952"/>
                  <a:pt x="488559" y="702821"/>
                </a:cubicBezTo>
                <a:cubicBezTo>
                  <a:pt x="488559" y="708552"/>
                  <a:pt x="488653" y="713320"/>
                  <a:pt x="488544" y="718085"/>
                </a:cubicBezTo>
                <a:cubicBezTo>
                  <a:pt x="486284" y="817406"/>
                  <a:pt x="502313" y="914319"/>
                  <a:pt x="526561" y="1010212"/>
                </a:cubicBezTo>
                <a:cubicBezTo>
                  <a:pt x="538799" y="1058612"/>
                  <a:pt x="553050" y="1106345"/>
                  <a:pt x="569986" y="1153317"/>
                </a:cubicBezTo>
                <a:cubicBezTo>
                  <a:pt x="573328" y="1162590"/>
                  <a:pt x="578279" y="1168740"/>
                  <a:pt x="587389" y="1172173"/>
                </a:cubicBezTo>
                <a:cubicBezTo>
                  <a:pt x="593869" y="1174616"/>
                  <a:pt x="600289" y="1177449"/>
                  <a:pt x="606286" y="1180891"/>
                </a:cubicBezTo>
                <a:cubicBezTo>
                  <a:pt x="617185" y="1187146"/>
                  <a:pt x="618776" y="1192931"/>
                  <a:pt x="613400" y="1204260"/>
                </a:cubicBezTo>
                <a:cubicBezTo>
                  <a:pt x="611475" y="1208315"/>
                  <a:pt x="609140" y="1212177"/>
                  <a:pt x="605350" y="1216760"/>
                </a:cubicBezTo>
                <a:cubicBezTo>
                  <a:pt x="602514" y="1218347"/>
                  <a:pt x="600399" y="1219189"/>
                  <a:pt x="600268" y="1220273"/>
                </a:cubicBezTo>
                <a:cubicBezTo>
                  <a:pt x="598551" y="1234430"/>
                  <a:pt x="599473" y="1247881"/>
                  <a:pt x="610574" y="1258750"/>
                </a:cubicBezTo>
                <a:cubicBezTo>
                  <a:pt x="631265" y="1279009"/>
                  <a:pt x="651790" y="1299438"/>
                  <a:pt x="672371" y="1319810"/>
                </a:cubicBezTo>
                <a:cubicBezTo>
                  <a:pt x="673495" y="1320922"/>
                  <a:pt x="674892" y="1321987"/>
                  <a:pt x="675494" y="1323366"/>
                </a:cubicBezTo>
                <a:cubicBezTo>
                  <a:pt x="685626" y="1346558"/>
                  <a:pt x="694775" y="1370031"/>
                  <a:pt x="692949" y="1396068"/>
                </a:cubicBezTo>
                <a:cubicBezTo>
                  <a:pt x="692525" y="1402108"/>
                  <a:pt x="691276" y="1408087"/>
                  <a:pt x="690628" y="1414117"/>
                </a:cubicBezTo>
                <a:cubicBezTo>
                  <a:pt x="690241" y="1417713"/>
                  <a:pt x="691290" y="1420628"/>
                  <a:pt x="695588" y="1421035"/>
                </a:cubicBezTo>
                <a:cubicBezTo>
                  <a:pt x="695527" y="1422155"/>
                  <a:pt x="695467" y="1423274"/>
                  <a:pt x="694353" y="1425190"/>
                </a:cubicBezTo>
                <a:cubicBezTo>
                  <a:pt x="691901" y="1426894"/>
                  <a:pt x="690503" y="1427804"/>
                  <a:pt x="689106" y="1428714"/>
                </a:cubicBezTo>
                <a:cubicBezTo>
                  <a:pt x="691101" y="1428620"/>
                  <a:pt x="693098" y="1428527"/>
                  <a:pt x="695093" y="1428433"/>
                </a:cubicBezTo>
                <a:cubicBezTo>
                  <a:pt x="695976" y="1429430"/>
                  <a:pt x="696859" y="1430427"/>
                  <a:pt x="697643" y="1432864"/>
                </a:cubicBezTo>
                <a:cubicBezTo>
                  <a:pt x="697724" y="1436887"/>
                  <a:pt x="697087" y="1439912"/>
                  <a:pt x="698207" y="1441988"/>
                </a:cubicBezTo>
                <a:cubicBezTo>
                  <a:pt x="709464" y="1462853"/>
                  <a:pt x="715798" y="1484864"/>
                  <a:pt x="715183" y="1508752"/>
                </a:cubicBezTo>
                <a:cubicBezTo>
                  <a:pt x="714863" y="1521166"/>
                  <a:pt x="713458" y="1523372"/>
                  <a:pt x="701540" y="1526524"/>
                </a:cubicBezTo>
                <a:cubicBezTo>
                  <a:pt x="662165" y="1536936"/>
                  <a:pt x="622006" y="1543243"/>
                  <a:pt x="581715" y="1548559"/>
                </a:cubicBezTo>
                <a:cubicBezTo>
                  <a:pt x="561988" y="1551162"/>
                  <a:pt x="542052" y="1552457"/>
                  <a:pt x="522168" y="1553543"/>
                </a:cubicBezTo>
                <a:cubicBezTo>
                  <a:pt x="498138" y="1554856"/>
                  <a:pt x="474063" y="1556013"/>
                  <a:pt x="450008" y="1556019"/>
                </a:cubicBezTo>
                <a:cubicBezTo>
                  <a:pt x="381724" y="1556035"/>
                  <a:pt x="313415" y="1557550"/>
                  <a:pt x="245169" y="1553749"/>
                </a:cubicBezTo>
                <a:cubicBezTo>
                  <a:pt x="237413" y="1553317"/>
                  <a:pt x="229596" y="1553867"/>
                  <a:pt x="221854" y="1553306"/>
                </a:cubicBezTo>
                <a:cubicBezTo>
                  <a:pt x="204023" y="1552015"/>
                  <a:pt x="186231" y="1550202"/>
                  <a:pt x="168405" y="1548828"/>
                </a:cubicBezTo>
                <a:cubicBezTo>
                  <a:pt x="154605" y="1547764"/>
                  <a:pt x="140762" y="1547242"/>
                  <a:pt x="126970" y="1546091"/>
                </a:cubicBezTo>
                <a:cubicBezTo>
                  <a:pt x="119295" y="1545451"/>
                  <a:pt x="111668" y="1544132"/>
                  <a:pt x="104053" y="1542912"/>
                </a:cubicBezTo>
                <a:cubicBezTo>
                  <a:pt x="91223" y="1540858"/>
                  <a:pt x="78344" y="1539011"/>
                  <a:pt x="65625" y="1536401"/>
                </a:cubicBezTo>
                <a:cubicBezTo>
                  <a:pt x="47307" y="1532642"/>
                  <a:pt x="29006" y="1528694"/>
                  <a:pt x="10909" y="1524010"/>
                </a:cubicBezTo>
                <a:cubicBezTo>
                  <a:pt x="744" y="1521379"/>
                  <a:pt x="119" y="1519620"/>
                  <a:pt x="8" y="1509263"/>
                </a:cubicBezTo>
                <a:cubicBezTo>
                  <a:pt x="-283" y="1482004"/>
                  <a:pt x="7525" y="1456906"/>
                  <a:pt x="21158" y="1433611"/>
                </a:cubicBezTo>
                <a:cubicBezTo>
                  <a:pt x="24128" y="1428537"/>
                  <a:pt x="25100" y="1424162"/>
                  <a:pt x="23462" y="1418658"/>
                </a:cubicBezTo>
                <a:cubicBezTo>
                  <a:pt x="19938" y="1406814"/>
                  <a:pt x="19145" y="1394638"/>
                  <a:pt x="19643" y="1382324"/>
                </a:cubicBezTo>
                <a:cubicBezTo>
                  <a:pt x="20741" y="1355171"/>
                  <a:pt x="29461" y="1331114"/>
                  <a:pt x="49060" y="1311832"/>
                </a:cubicBezTo>
                <a:cubicBezTo>
                  <a:pt x="68866" y="1292344"/>
                  <a:pt x="89102" y="1273294"/>
                  <a:pt x="109176" y="1254078"/>
                </a:cubicBezTo>
                <a:cubicBezTo>
                  <a:pt x="120788" y="1242961"/>
                  <a:pt x="123122" y="1229673"/>
                  <a:pt x="118319" y="1214801"/>
                </a:cubicBezTo>
                <a:cubicBezTo>
                  <a:pt x="116817" y="1210150"/>
                  <a:pt x="114697" y="1205702"/>
                  <a:pt x="113082" y="1201084"/>
                </a:cubicBezTo>
                <a:cubicBezTo>
                  <a:pt x="109606" y="1191147"/>
                  <a:pt x="110855" y="1188189"/>
                  <a:pt x="120417" y="1183950"/>
                </a:cubicBezTo>
                <a:cubicBezTo>
                  <a:pt x="125262" y="1181801"/>
                  <a:pt x="130109" y="1179394"/>
                  <a:pt x="135209" y="1178138"/>
                </a:cubicBezTo>
                <a:cubicBezTo>
                  <a:pt x="146972" y="1175241"/>
                  <a:pt x="153194" y="1166910"/>
                  <a:pt x="156535" y="1156396"/>
                </a:cubicBezTo>
                <a:cubicBezTo>
                  <a:pt x="166535" y="1124919"/>
                  <a:pt x="176229" y="1093339"/>
                  <a:pt x="185647" y="1061682"/>
                </a:cubicBezTo>
                <a:cubicBezTo>
                  <a:pt x="191222" y="1042945"/>
                  <a:pt x="196570" y="1024108"/>
                  <a:pt x="201074" y="1005093"/>
                </a:cubicBezTo>
                <a:cubicBezTo>
                  <a:pt x="205941" y="984550"/>
                  <a:pt x="210000" y="963801"/>
                  <a:pt x="213864" y="943040"/>
                </a:cubicBezTo>
                <a:cubicBezTo>
                  <a:pt x="217503" y="923489"/>
                  <a:pt x="220701" y="903846"/>
                  <a:pt x="223580" y="884167"/>
                </a:cubicBezTo>
                <a:cubicBezTo>
                  <a:pt x="225754" y="869301"/>
                  <a:pt x="227195" y="854324"/>
                  <a:pt x="228827" y="839382"/>
                </a:cubicBezTo>
                <a:cubicBezTo>
                  <a:pt x="230459" y="824446"/>
                  <a:pt x="232880" y="809515"/>
                  <a:pt x="233251" y="794539"/>
                </a:cubicBezTo>
                <a:cubicBezTo>
                  <a:pt x="233961" y="765893"/>
                  <a:pt x="233499" y="737217"/>
                  <a:pt x="233413" y="708554"/>
                </a:cubicBezTo>
                <a:cubicBezTo>
                  <a:pt x="233404" y="705465"/>
                  <a:pt x="232667" y="702378"/>
                  <a:pt x="232253" y="699181"/>
                </a:cubicBezTo>
                <a:cubicBezTo>
                  <a:pt x="218443" y="697138"/>
                  <a:pt x="205461" y="695831"/>
                  <a:pt x="192775" y="693131"/>
                </a:cubicBezTo>
                <a:cubicBezTo>
                  <a:pt x="183686" y="691197"/>
                  <a:pt x="174549" y="688305"/>
                  <a:pt x="166222" y="684229"/>
                </a:cubicBezTo>
                <a:cubicBezTo>
                  <a:pt x="151266" y="676909"/>
                  <a:pt x="147247" y="664789"/>
                  <a:pt x="153485" y="649704"/>
                </a:cubicBezTo>
                <a:cubicBezTo>
                  <a:pt x="158693" y="637111"/>
                  <a:pt x="168160" y="628190"/>
                  <a:pt x="179302" y="621006"/>
                </a:cubicBezTo>
                <a:cubicBezTo>
                  <a:pt x="186548" y="616334"/>
                  <a:pt x="191317" y="611105"/>
                  <a:pt x="192182" y="601675"/>
                </a:cubicBezTo>
                <a:cubicBezTo>
                  <a:pt x="192878" y="594094"/>
                  <a:pt x="197099" y="587626"/>
                  <a:pt x="204894" y="583417"/>
                </a:cubicBezTo>
                <a:cubicBezTo>
                  <a:pt x="214873" y="578030"/>
                  <a:pt x="224643" y="571774"/>
                  <a:pt x="233213" y="564393"/>
                </a:cubicBezTo>
                <a:cubicBezTo>
                  <a:pt x="242623" y="556289"/>
                  <a:pt x="240441" y="544193"/>
                  <a:pt x="229725" y="538177"/>
                </a:cubicBezTo>
                <a:cubicBezTo>
                  <a:pt x="226159" y="536176"/>
                  <a:pt x="222483" y="534351"/>
                  <a:pt x="218771" y="532633"/>
                </a:cubicBezTo>
                <a:cubicBezTo>
                  <a:pt x="213503" y="530196"/>
                  <a:pt x="212651" y="526226"/>
                  <a:pt x="215183" y="521568"/>
                </a:cubicBezTo>
                <a:cubicBezTo>
                  <a:pt x="217485" y="517332"/>
                  <a:pt x="220405" y="513432"/>
                  <a:pt x="223368" y="508901"/>
                </a:cubicBezTo>
                <a:cubicBezTo>
                  <a:pt x="221781" y="505376"/>
                  <a:pt x="220809" y="501165"/>
                  <a:pt x="218372" y="498135"/>
                </a:cubicBezTo>
                <a:cubicBezTo>
                  <a:pt x="202366" y="478231"/>
                  <a:pt x="190774" y="455961"/>
                  <a:pt x="181440" y="432308"/>
                </a:cubicBezTo>
                <a:cubicBezTo>
                  <a:pt x="170959" y="405748"/>
                  <a:pt x="164933" y="378186"/>
                  <a:pt x="167535" y="349841"/>
                </a:cubicBezTo>
                <a:cubicBezTo>
                  <a:pt x="170341" y="319265"/>
                  <a:pt x="179208" y="289917"/>
                  <a:pt x="193488" y="262518"/>
                </a:cubicBezTo>
                <a:cubicBezTo>
                  <a:pt x="206512" y="237529"/>
                  <a:pt x="220831" y="213359"/>
                  <a:pt x="237748" y="190690"/>
                </a:cubicBezTo>
                <a:cubicBezTo>
                  <a:pt x="260421" y="160310"/>
                  <a:pt x="282602" y="129592"/>
                  <a:pt x="309459" y="102623"/>
                </a:cubicBezTo>
                <a:cubicBezTo>
                  <a:pt x="316627" y="95424"/>
                  <a:pt x="316261" y="87541"/>
                  <a:pt x="310459" y="78521"/>
                </a:cubicBezTo>
                <a:cubicBezTo>
                  <a:pt x="306309" y="72071"/>
                  <a:pt x="301695" y="65150"/>
                  <a:pt x="300267" y="57856"/>
                </a:cubicBezTo>
                <a:cubicBezTo>
                  <a:pt x="295286" y="32423"/>
                  <a:pt x="314502" y="10133"/>
                  <a:pt x="332242" y="4422"/>
                </a:cubicBezTo>
                <a:cubicBezTo>
                  <a:pt x="349540" y="-1148"/>
                  <a:pt x="367530" y="-2176"/>
                  <a:pt x="384904" y="5551"/>
                </a:cubicBezTo>
                <a:cubicBezTo>
                  <a:pt x="395271" y="10161"/>
                  <a:pt x="403310" y="17760"/>
                  <a:pt x="409773" y="26778"/>
                </a:cubicBezTo>
                <a:cubicBezTo>
                  <a:pt x="415168" y="34307"/>
                  <a:pt x="413749" y="41584"/>
                  <a:pt x="407026" y="46052"/>
                </a:cubicBezTo>
                <a:cubicBezTo>
                  <a:pt x="405624" y="40964"/>
                  <a:pt x="404503" y="35849"/>
                  <a:pt x="402771" y="30951"/>
                </a:cubicBezTo>
                <a:cubicBezTo>
                  <a:pt x="401450" y="27216"/>
                  <a:pt x="399383" y="28477"/>
                  <a:pt x="397038" y="30361"/>
                </a:cubicBezTo>
                <a:cubicBezTo>
                  <a:pt x="384440" y="15986"/>
                  <a:pt x="377037" y="14494"/>
                  <a:pt x="360694" y="22760"/>
                </a:cubicBezTo>
                <a:cubicBezTo>
                  <a:pt x="353707" y="22767"/>
                  <a:pt x="352275" y="27176"/>
                  <a:pt x="351669" y="31736"/>
                </a:cubicBezTo>
                <a:cubicBezTo>
                  <a:pt x="351136" y="35760"/>
                  <a:pt x="351383" y="39899"/>
                  <a:pt x="351426" y="43987"/>
                </a:cubicBezTo>
                <a:cubicBezTo>
                  <a:pt x="351648" y="64919"/>
                  <a:pt x="372389" y="78115"/>
                  <a:pt x="390968" y="68762"/>
                </a:cubicBezTo>
                <a:cubicBezTo>
                  <a:pt x="395158" y="66653"/>
                  <a:pt x="398534" y="62629"/>
                  <a:pt x="401770" y="59025"/>
                </a:cubicBezTo>
                <a:cubicBezTo>
                  <a:pt x="404045" y="56491"/>
                  <a:pt x="405661" y="53409"/>
                  <a:pt x="409619" y="55786"/>
                </a:cubicBezTo>
                <a:cubicBezTo>
                  <a:pt x="413544" y="58145"/>
                  <a:pt x="412176" y="61347"/>
                  <a:pt x="410427" y="64256"/>
                </a:cubicBezTo>
                <a:cubicBezTo>
                  <a:pt x="406872" y="70170"/>
                  <a:pt x="403244" y="76046"/>
                  <a:pt x="399453" y="81811"/>
                </a:cubicBezTo>
                <a:cubicBezTo>
                  <a:pt x="394663" y="89097"/>
                  <a:pt x="394382" y="94032"/>
                  <a:pt x="399346" y="98083"/>
                </a:cubicBezTo>
                <a:cubicBezTo>
                  <a:pt x="428062" y="121519"/>
                  <a:pt x="450822" y="150083"/>
                  <a:pt x="471592" y="180524"/>
                </a:cubicBezTo>
                <a:cubicBezTo>
                  <a:pt x="476398" y="187569"/>
                  <a:pt x="476844" y="193688"/>
                  <a:pt x="473550" y="200923"/>
                </a:cubicBezTo>
                <a:cubicBezTo>
                  <a:pt x="470171" y="208346"/>
                  <a:pt x="467091" y="215905"/>
                  <a:pt x="463677" y="223311"/>
                </a:cubicBezTo>
                <a:cubicBezTo>
                  <a:pt x="461993" y="226965"/>
                  <a:pt x="462995" y="228697"/>
                  <a:pt x="466852" y="229083"/>
                </a:cubicBezTo>
                <a:moveTo>
                  <a:pt x="474186" y="928382"/>
                </a:moveTo>
                <a:cubicBezTo>
                  <a:pt x="469297" y="891529"/>
                  <a:pt x="462961" y="854794"/>
                  <a:pt x="459927" y="817790"/>
                </a:cubicBezTo>
                <a:cubicBezTo>
                  <a:pt x="456905" y="780939"/>
                  <a:pt x="457197" y="743817"/>
                  <a:pt x="456025" y="706469"/>
                </a:cubicBezTo>
                <a:cubicBezTo>
                  <a:pt x="425780" y="707923"/>
                  <a:pt x="396554" y="709327"/>
                  <a:pt x="366863" y="710754"/>
                </a:cubicBezTo>
                <a:cubicBezTo>
                  <a:pt x="366546" y="714450"/>
                  <a:pt x="366201" y="716832"/>
                  <a:pt x="366159" y="719219"/>
                </a:cubicBezTo>
                <a:cubicBezTo>
                  <a:pt x="365479" y="757672"/>
                  <a:pt x="364935" y="796129"/>
                  <a:pt x="364159" y="834581"/>
                </a:cubicBezTo>
                <a:cubicBezTo>
                  <a:pt x="363450" y="869762"/>
                  <a:pt x="362581" y="904941"/>
                  <a:pt x="361633" y="940117"/>
                </a:cubicBezTo>
                <a:cubicBezTo>
                  <a:pt x="360619" y="977749"/>
                  <a:pt x="359431" y="1015376"/>
                  <a:pt x="358313" y="1053005"/>
                </a:cubicBezTo>
                <a:cubicBezTo>
                  <a:pt x="358265" y="1054641"/>
                  <a:pt x="358149" y="1056276"/>
                  <a:pt x="358081" y="1057912"/>
                </a:cubicBezTo>
                <a:cubicBezTo>
                  <a:pt x="356598" y="1093463"/>
                  <a:pt x="355081" y="1129014"/>
                  <a:pt x="353706" y="1164570"/>
                </a:cubicBezTo>
                <a:cubicBezTo>
                  <a:pt x="353604" y="1167221"/>
                  <a:pt x="354516" y="1169911"/>
                  <a:pt x="354951" y="1172547"/>
                </a:cubicBezTo>
                <a:cubicBezTo>
                  <a:pt x="416984" y="1173689"/>
                  <a:pt x="478158" y="1174816"/>
                  <a:pt x="540959" y="1175972"/>
                </a:cubicBezTo>
                <a:cubicBezTo>
                  <a:pt x="513162" y="1094194"/>
                  <a:pt x="489081" y="1013598"/>
                  <a:pt x="474186" y="928382"/>
                </a:cubicBezTo>
                <a:moveTo>
                  <a:pt x="513768" y="1417676"/>
                </a:moveTo>
                <a:cubicBezTo>
                  <a:pt x="515785" y="1417344"/>
                  <a:pt x="517792" y="1416889"/>
                  <a:pt x="519822" y="1416700"/>
                </a:cubicBezTo>
                <a:cubicBezTo>
                  <a:pt x="557234" y="1413220"/>
                  <a:pt x="594682" y="1410089"/>
                  <a:pt x="632041" y="1406122"/>
                </a:cubicBezTo>
                <a:cubicBezTo>
                  <a:pt x="643122" y="1404945"/>
                  <a:pt x="654730" y="1405292"/>
                  <a:pt x="665040" y="1400634"/>
                </a:cubicBezTo>
                <a:cubicBezTo>
                  <a:pt x="665352" y="1398517"/>
                  <a:pt x="665651" y="1397324"/>
                  <a:pt x="665677" y="1396126"/>
                </a:cubicBezTo>
                <a:cubicBezTo>
                  <a:pt x="665722" y="1394084"/>
                  <a:pt x="665674" y="1392032"/>
                  <a:pt x="665529" y="1389994"/>
                </a:cubicBezTo>
                <a:cubicBezTo>
                  <a:pt x="663118" y="1356121"/>
                  <a:pt x="650063" y="1327787"/>
                  <a:pt x="623046" y="1306238"/>
                </a:cubicBezTo>
                <a:cubicBezTo>
                  <a:pt x="613485" y="1298611"/>
                  <a:pt x="605001" y="1289635"/>
                  <a:pt x="596015" y="1281285"/>
                </a:cubicBezTo>
                <a:cubicBezTo>
                  <a:pt x="578506" y="1265018"/>
                  <a:pt x="567837" y="1245446"/>
                  <a:pt x="567683" y="1220059"/>
                </a:cubicBezTo>
                <a:cubicBezTo>
                  <a:pt x="558046" y="1220059"/>
                  <a:pt x="549136" y="1219649"/>
                  <a:pt x="540273" y="1220129"/>
                </a:cubicBezTo>
                <a:cubicBezTo>
                  <a:pt x="501512" y="1222229"/>
                  <a:pt x="462775" y="1224768"/>
                  <a:pt x="424010" y="1226781"/>
                </a:cubicBezTo>
                <a:cubicBezTo>
                  <a:pt x="401969" y="1227926"/>
                  <a:pt x="379889" y="1228330"/>
                  <a:pt x="357832" y="1229178"/>
                </a:cubicBezTo>
                <a:cubicBezTo>
                  <a:pt x="355938" y="1229251"/>
                  <a:pt x="354076" y="1230151"/>
                  <a:pt x="352386" y="1230616"/>
                </a:cubicBezTo>
                <a:cubicBezTo>
                  <a:pt x="353642" y="1262222"/>
                  <a:pt x="355769" y="1293219"/>
                  <a:pt x="355852" y="1324222"/>
                </a:cubicBezTo>
                <a:cubicBezTo>
                  <a:pt x="355936" y="1355438"/>
                  <a:pt x="353988" y="1386659"/>
                  <a:pt x="352930" y="1417867"/>
                </a:cubicBezTo>
                <a:cubicBezTo>
                  <a:pt x="406069" y="1417867"/>
                  <a:pt x="458771" y="1417867"/>
                  <a:pt x="513768" y="1417676"/>
                </a:cubicBezTo>
                <a:moveTo>
                  <a:pt x="387930" y="499741"/>
                </a:moveTo>
                <a:cubicBezTo>
                  <a:pt x="410797" y="498777"/>
                  <a:pt x="433665" y="497860"/>
                  <a:pt x="456529" y="496826"/>
                </a:cubicBezTo>
                <a:cubicBezTo>
                  <a:pt x="466656" y="496369"/>
                  <a:pt x="475418" y="493371"/>
                  <a:pt x="482355" y="485095"/>
                </a:cubicBezTo>
                <a:cubicBezTo>
                  <a:pt x="509188" y="453083"/>
                  <a:pt x="525387" y="416636"/>
                  <a:pt x="528016" y="374829"/>
                </a:cubicBezTo>
                <a:cubicBezTo>
                  <a:pt x="530547" y="334558"/>
                  <a:pt x="520095" y="297041"/>
                  <a:pt x="501375" y="261643"/>
                </a:cubicBezTo>
                <a:cubicBezTo>
                  <a:pt x="499379" y="257869"/>
                  <a:pt x="496654" y="254482"/>
                  <a:pt x="493534" y="249818"/>
                </a:cubicBezTo>
                <a:cubicBezTo>
                  <a:pt x="490233" y="254212"/>
                  <a:pt x="487883" y="256986"/>
                  <a:pt x="485920" y="260010"/>
                </a:cubicBezTo>
                <a:cubicBezTo>
                  <a:pt x="475010" y="276824"/>
                  <a:pt x="464300" y="293767"/>
                  <a:pt x="453305" y="310523"/>
                </a:cubicBezTo>
                <a:cubicBezTo>
                  <a:pt x="447028" y="320089"/>
                  <a:pt x="440916" y="329858"/>
                  <a:pt x="433678" y="338672"/>
                </a:cubicBezTo>
                <a:cubicBezTo>
                  <a:pt x="425909" y="348131"/>
                  <a:pt x="413084" y="349691"/>
                  <a:pt x="403713" y="343710"/>
                </a:cubicBezTo>
                <a:cubicBezTo>
                  <a:pt x="394358" y="337739"/>
                  <a:pt x="391675" y="327526"/>
                  <a:pt x="396427" y="315612"/>
                </a:cubicBezTo>
                <a:cubicBezTo>
                  <a:pt x="397334" y="313339"/>
                  <a:pt x="398595" y="311210"/>
                  <a:pt x="399663" y="309000"/>
                </a:cubicBezTo>
                <a:cubicBezTo>
                  <a:pt x="417094" y="272900"/>
                  <a:pt x="434331" y="236704"/>
                  <a:pt x="452097" y="200770"/>
                </a:cubicBezTo>
                <a:cubicBezTo>
                  <a:pt x="455910" y="193060"/>
                  <a:pt x="455310" y="187173"/>
                  <a:pt x="450118" y="180596"/>
                </a:cubicBezTo>
                <a:cubicBezTo>
                  <a:pt x="428273" y="152922"/>
                  <a:pt x="405805" y="125901"/>
                  <a:pt x="376545" y="105525"/>
                </a:cubicBezTo>
                <a:cubicBezTo>
                  <a:pt x="374483" y="104089"/>
                  <a:pt x="372013" y="103239"/>
                  <a:pt x="368791" y="101653"/>
                </a:cubicBezTo>
                <a:cubicBezTo>
                  <a:pt x="367942" y="116965"/>
                  <a:pt x="367019" y="130814"/>
                  <a:pt x="366449" y="144676"/>
                </a:cubicBezTo>
                <a:cubicBezTo>
                  <a:pt x="365912" y="157758"/>
                  <a:pt x="365593" y="170854"/>
                  <a:pt x="365447" y="183946"/>
                </a:cubicBezTo>
                <a:cubicBezTo>
                  <a:pt x="365020" y="221975"/>
                  <a:pt x="363367" y="260055"/>
                  <a:pt x="364738" y="298022"/>
                </a:cubicBezTo>
                <a:cubicBezTo>
                  <a:pt x="366329" y="342101"/>
                  <a:pt x="370336" y="386106"/>
                  <a:pt x="373865" y="430096"/>
                </a:cubicBezTo>
                <a:cubicBezTo>
                  <a:pt x="375530" y="450849"/>
                  <a:pt x="378387" y="471514"/>
                  <a:pt x="381088" y="492169"/>
                </a:cubicBezTo>
                <a:cubicBezTo>
                  <a:pt x="381433" y="494807"/>
                  <a:pt x="384102" y="497143"/>
                  <a:pt x="387930" y="499741"/>
                </a:cubicBezTo>
                <a:moveTo>
                  <a:pt x="455850" y="1521476"/>
                </a:moveTo>
                <a:cubicBezTo>
                  <a:pt x="533043" y="1519612"/>
                  <a:pt x="609810" y="1514084"/>
                  <a:pt x="685121" y="1496509"/>
                </a:cubicBezTo>
                <a:cubicBezTo>
                  <a:pt x="683922" y="1481705"/>
                  <a:pt x="679199" y="1467708"/>
                  <a:pt x="672999" y="1456665"/>
                </a:cubicBezTo>
                <a:cubicBezTo>
                  <a:pt x="669933" y="1451203"/>
                  <a:pt x="666057" y="1449329"/>
                  <a:pt x="660009" y="1450249"/>
                </a:cubicBezTo>
                <a:cubicBezTo>
                  <a:pt x="651125" y="1451601"/>
                  <a:pt x="642144" y="1452308"/>
                  <a:pt x="633248" y="1453589"/>
                </a:cubicBezTo>
                <a:cubicBezTo>
                  <a:pt x="572852" y="1462289"/>
                  <a:pt x="511993" y="1465134"/>
                  <a:pt x="451131" y="1467458"/>
                </a:cubicBezTo>
                <a:cubicBezTo>
                  <a:pt x="421697" y="1468582"/>
                  <a:pt x="392192" y="1467837"/>
                  <a:pt x="362719" y="1467934"/>
                </a:cubicBezTo>
                <a:cubicBezTo>
                  <a:pt x="358386" y="1467948"/>
                  <a:pt x="354052" y="1467936"/>
                  <a:pt x="349983" y="1467936"/>
                </a:cubicBezTo>
                <a:cubicBezTo>
                  <a:pt x="347592" y="1485362"/>
                  <a:pt x="348606" y="1509458"/>
                  <a:pt x="352220" y="1519140"/>
                </a:cubicBezTo>
                <a:cubicBezTo>
                  <a:pt x="385617" y="1519916"/>
                  <a:pt x="419507" y="1520703"/>
                  <a:pt x="455850" y="1521476"/>
                </a:cubicBezTo>
                <a:moveTo>
                  <a:pt x="368682" y="544846"/>
                </a:moveTo>
                <a:cubicBezTo>
                  <a:pt x="374258" y="564891"/>
                  <a:pt x="370074" y="584394"/>
                  <a:pt x="363600" y="605633"/>
                </a:cubicBezTo>
                <a:cubicBezTo>
                  <a:pt x="408859" y="604212"/>
                  <a:pt x="452263" y="602850"/>
                  <a:pt x="496351" y="601466"/>
                </a:cubicBezTo>
                <a:cubicBezTo>
                  <a:pt x="496109" y="591095"/>
                  <a:pt x="491408" y="584247"/>
                  <a:pt x="485068" y="579288"/>
                </a:cubicBezTo>
                <a:cubicBezTo>
                  <a:pt x="472414" y="569391"/>
                  <a:pt x="466934" y="556602"/>
                  <a:pt x="466524" y="541026"/>
                </a:cubicBezTo>
                <a:cubicBezTo>
                  <a:pt x="466485" y="539528"/>
                  <a:pt x="465591" y="538053"/>
                  <a:pt x="465000" y="536289"/>
                </a:cubicBezTo>
                <a:cubicBezTo>
                  <a:pt x="460209" y="536289"/>
                  <a:pt x="455761" y="536132"/>
                  <a:pt x="451328" y="536316"/>
                </a:cubicBezTo>
                <a:cubicBezTo>
                  <a:pt x="430930" y="537159"/>
                  <a:pt x="410538" y="538137"/>
                  <a:pt x="390140" y="538979"/>
                </a:cubicBezTo>
                <a:cubicBezTo>
                  <a:pt x="384834" y="539198"/>
                  <a:pt x="379484" y="538790"/>
                  <a:pt x="374215" y="539303"/>
                </a:cubicBezTo>
                <a:cubicBezTo>
                  <a:pt x="372259" y="539494"/>
                  <a:pt x="370480" y="541498"/>
                  <a:pt x="368682" y="544846"/>
                </a:cubicBezTo>
                <a:moveTo>
                  <a:pt x="453915" y="635267"/>
                </a:moveTo>
                <a:cubicBezTo>
                  <a:pt x="427589" y="636632"/>
                  <a:pt x="401262" y="637998"/>
                  <a:pt x="374200" y="639402"/>
                </a:cubicBezTo>
                <a:cubicBezTo>
                  <a:pt x="374200" y="651578"/>
                  <a:pt x="374200" y="661970"/>
                  <a:pt x="374200" y="673206"/>
                </a:cubicBezTo>
                <a:cubicBezTo>
                  <a:pt x="378672" y="673406"/>
                  <a:pt x="382666" y="673863"/>
                  <a:pt x="386639" y="673718"/>
                </a:cubicBezTo>
                <a:cubicBezTo>
                  <a:pt x="431495" y="672082"/>
                  <a:pt x="476352" y="670422"/>
                  <a:pt x="521198" y="668541"/>
                </a:cubicBezTo>
                <a:cubicBezTo>
                  <a:pt x="525584" y="668357"/>
                  <a:pt x="530162" y="667254"/>
                  <a:pt x="534198" y="665521"/>
                </a:cubicBezTo>
                <a:cubicBezTo>
                  <a:pt x="540213" y="662938"/>
                  <a:pt x="541802" y="658194"/>
                  <a:pt x="538413" y="652526"/>
                </a:cubicBezTo>
                <a:cubicBezTo>
                  <a:pt x="536192" y="648813"/>
                  <a:pt x="532979" y="645251"/>
                  <a:pt x="529377" y="642895"/>
                </a:cubicBezTo>
                <a:cubicBezTo>
                  <a:pt x="521426" y="637695"/>
                  <a:pt x="512576" y="634669"/>
                  <a:pt x="502829" y="634808"/>
                </a:cubicBezTo>
                <a:cubicBezTo>
                  <a:pt x="487311" y="635030"/>
                  <a:pt x="471791" y="635092"/>
                  <a:pt x="453915" y="635267"/>
                </a:cubicBezTo>
                <a:close/>
              </a:path>
            </a:pathLst>
          </a:custGeom>
          <a:solidFill>
            <a:schemeClr val="bg1"/>
          </a:solidFill>
          <a:ln w="12700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5" name="Free-form: Shape 44">
            <a:extLst>
              <a:ext uri="{FF2B5EF4-FFF2-40B4-BE49-F238E27FC236}">
                <a16:creationId xmlns:a16="http://schemas.microsoft.com/office/drawing/2014/main" id="{B288A8AD-FA3A-9AA6-8C51-1AE523181A33}"/>
              </a:ext>
            </a:extLst>
          </p:cNvPr>
          <p:cNvSpPr/>
          <p:nvPr/>
        </p:nvSpPr>
        <p:spPr>
          <a:xfrm>
            <a:off x="6423377" y="-2683238"/>
            <a:ext cx="665488" cy="1428730"/>
          </a:xfrm>
          <a:custGeom>
            <a:avLst/>
            <a:gdLst>
              <a:gd name="csX0" fmla="*/ 406842 w 732037"/>
              <a:gd name="csY0" fmla="*/ 38347 h 1571603"/>
              <a:gd name="csX1" fmla="*/ 411944 w 732037"/>
              <a:gd name="csY1" fmla="*/ 38343 h 1571603"/>
              <a:gd name="csX2" fmla="*/ 416198 w 732037"/>
              <a:gd name="csY2" fmla="*/ 53444 h 1571603"/>
              <a:gd name="csX3" fmla="*/ 418945 w 732037"/>
              <a:gd name="csY3" fmla="*/ 34170 h 1571603"/>
              <a:gd name="csX4" fmla="*/ 394077 w 732037"/>
              <a:gd name="csY4" fmla="*/ 12943 h 1571603"/>
              <a:gd name="csX5" fmla="*/ 341415 w 732037"/>
              <a:gd name="csY5" fmla="*/ 11814 h 1571603"/>
              <a:gd name="csX6" fmla="*/ 309440 w 732037"/>
              <a:gd name="csY6" fmla="*/ 65249 h 1571603"/>
              <a:gd name="csX7" fmla="*/ 319632 w 732037"/>
              <a:gd name="csY7" fmla="*/ 85914 h 1571603"/>
              <a:gd name="csX8" fmla="*/ 318632 w 732037"/>
              <a:gd name="csY8" fmla="*/ 110015 h 1571603"/>
              <a:gd name="csX9" fmla="*/ 246921 w 732037"/>
              <a:gd name="csY9" fmla="*/ 198083 h 1571603"/>
              <a:gd name="csX10" fmla="*/ 202660 w 732037"/>
              <a:gd name="csY10" fmla="*/ 269911 h 1571603"/>
              <a:gd name="csX11" fmla="*/ 176707 w 732037"/>
              <a:gd name="csY11" fmla="*/ 357233 h 1571603"/>
              <a:gd name="csX12" fmla="*/ 190612 w 732037"/>
              <a:gd name="csY12" fmla="*/ 439700 h 1571603"/>
              <a:gd name="csX13" fmla="*/ 227544 w 732037"/>
              <a:gd name="csY13" fmla="*/ 505527 h 1571603"/>
              <a:gd name="csX14" fmla="*/ 232541 w 732037"/>
              <a:gd name="csY14" fmla="*/ 516294 h 1571603"/>
              <a:gd name="csX15" fmla="*/ 224356 w 732037"/>
              <a:gd name="csY15" fmla="*/ 528960 h 1571603"/>
              <a:gd name="csX16" fmla="*/ 227944 w 732037"/>
              <a:gd name="csY16" fmla="*/ 540026 h 1571603"/>
              <a:gd name="csX17" fmla="*/ 238897 w 732037"/>
              <a:gd name="csY17" fmla="*/ 545570 h 1571603"/>
              <a:gd name="csX18" fmla="*/ 242386 w 732037"/>
              <a:gd name="csY18" fmla="*/ 571785 h 1571603"/>
              <a:gd name="csX19" fmla="*/ 214067 w 732037"/>
              <a:gd name="csY19" fmla="*/ 590809 h 1571603"/>
              <a:gd name="csX20" fmla="*/ 201355 w 732037"/>
              <a:gd name="csY20" fmla="*/ 609067 h 1571603"/>
              <a:gd name="csX21" fmla="*/ 188474 w 732037"/>
              <a:gd name="csY21" fmla="*/ 628398 h 1571603"/>
              <a:gd name="csX22" fmla="*/ 162658 w 732037"/>
              <a:gd name="csY22" fmla="*/ 657096 h 1571603"/>
              <a:gd name="csX23" fmla="*/ 175395 w 732037"/>
              <a:gd name="csY23" fmla="*/ 691621 h 1571603"/>
              <a:gd name="csX24" fmla="*/ 201948 w 732037"/>
              <a:gd name="csY24" fmla="*/ 700523 h 1571603"/>
              <a:gd name="csX25" fmla="*/ 241426 w 732037"/>
              <a:gd name="csY25" fmla="*/ 706574 h 1571603"/>
              <a:gd name="csX26" fmla="*/ 242586 w 732037"/>
              <a:gd name="csY26" fmla="*/ 715946 h 1571603"/>
              <a:gd name="csX27" fmla="*/ 242424 w 732037"/>
              <a:gd name="csY27" fmla="*/ 801932 h 1571603"/>
              <a:gd name="csX28" fmla="*/ 238000 w 732037"/>
              <a:gd name="csY28" fmla="*/ 846774 h 1571603"/>
              <a:gd name="csX29" fmla="*/ 232752 w 732037"/>
              <a:gd name="csY29" fmla="*/ 891559 h 1571603"/>
              <a:gd name="csX30" fmla="*/ 223037 w 732037"/>
              <a:gd name="csY30" fmla="*/ 950433 h 1571603"/>
              <a:gd name="csX31" fmla="*/ 210247 w 732037"/>
              <a:gd name="csY31" fmla="*/ 1012485 h 1571603"/>
              <a:gd name="csX32" fmla="*/ 194820 w 732037"/>
              <a:gd name="csY32" fmla="*/ 1069074 h 1571603"/>
              <a:gd name="csX33" fmla="*/ 165707 w 732037"/>
              <a:gd name="csY33" fmla="*/ 1163788 h 1571603"/>
              <a:gd name="csX34" fmla="*/ 144382 w 732037"/>
              <a:gd name="csY34" fmla="*/ 1185530 h 1571603"/>
              <a:gd name="csX35" fmla="*/ 129590 w 732037"/>
              <a:gd name="csY35" fmla="*/ 1191342 h 1571603"/>
              <a:gd name="csX36" fmla="*/ 122255 w 732037"/>
              <a:gd name="csY36" fmla="*/ 1208476 h 1571603"/>
              <a:gd name="csX37" fmla="*/ 127491 w 732037"/>
              <a:gd name="csY37" fmla="*/ 1222193 h 1571603"/>
              <a:gd name="csX38" fmla="*/ 118348 w 732037"/>
              <a:gd name="csY38" fmla="*/ 1261470 h 1571603"/>
              <a:gd name="csX39" fmla="*/ 58232 w 732037"/>
              <a:gd name="csY39" fmla="*/ 1319224 h 1571603"/>
              <a:gd name="csX40" fmla="*/ 28815 w 732037"/>
              <a:gd name="csY40" fmla="*/ 1389717 h 1571603"/>
              <a:gd name="csX41" fmla="*/ 32634 w 732037"/>
              <a:gd name="csY41" fmla="*/ 1426050 h 1571603"/>
              <a:gd name="csX42" fmla="*/ 30331 w 732037"/>
              <a:gd name="csY42" fmla="*/ 1441003 h 1571603"/>
              <a:gd name="csX43" fmla="*/ 9180 w 732037"/>
              <a:gd name="csY43" fmla="*/ 1516655 h 1571603"/>
              <a:gd name="csX44" fmla="*/ 20082 w 732037"/>
              <a:gd name="csY44" fmla="*/ 1531402 h 1571603"/>
              <a:gd name="csX45" fmla="*/ 74798 w 732037"/>
              <a:gd name="csY45" fmla="*/ 1543794 h 1571603"/>
              <a:gd name="csX46" fmla="*/ 113225 w 732037"/>
              <a:gd name="csY46" fmla="*/ 1550305 h 1571603"/>
              <a:gd name="csX47" fmla="*/ 136142 w 732037"/>
              <a:gd name="csY47" fmla="*/ 1553484 h 1571603"/>
              <a:gd name="csX48" fmla="*/ 177578 w 732037"/>
              <a:gd name="csY48" fmla="*/ 1556220 h 1571603"/>
              <a:gd name="csX49" fmla="*/ 231027 w 732037"/>
              <a:gd name="csY49" fmla="*/ 1560698 h 1571603"/>
              <a:gd name="csX50" fmla="*/ 254342 w 732037"/>
              <a:gd name="csY50" fmla="*/ 1561142 h 1571603"/>
              <a:gd name="csX51" fmla="*/ 459180 w 732037"/>
              <a:gd name="csY51" fmla="*/ 1563411 h 1571603"/>
              <a:gd name="csX52" fmla="*/ 531340 w 732037"/>
              <a:gd name="csY52" fmla="*/ 1560936 h 1571603"/>
              <a:gd name="csX53" fmla="*/ 590888 w 732037"/>
              <a:gd name="csY53" fmla="*/ 1555951 h 1571603"/>
              <a:gd name="csX54" fmla="*/ 710712 w 732037"/>
              <a:gd name="csY54" fmla="*/ 1533916 h 1571603"/>
              <a:gd name="csX55" fmla="*/ 724356 w 732037"/>
              <a:gd name="csY55" fmla="*/ 1516144 h 1571603"/>
              <a:gd name="csX56" fmla="*/ 707380 w 732037"/>
              <a:gd name="csY56" fmla="*/ 1449380 h 1571603"/>
              <a:gd name="csX57" fmla="*/ 707050 w 732037"/>
              <a:gd name="csY57" fmla="*/ 1440881 h 1571603"/>
              <a:gd name="csX58" fmla="*/ 731479 w 732037"/>
              <a:gd name="csY58" fmla="*/ 1500017 h 1571603"/>
              <a:gd name="csX59" fmla="*/ 731163 w 732037"/>
              <a:gd name="csY59" fmla="*/ 1513759 h 1571603"/>
              <a:gd name="csX60" fmla="*/ 731650 w 732037"/>
              <a:gd name="csY60" fmla="*/ 1521766 h 1571603"/>
              <a:gd name="csX61" fmla="*/ 721896 w 732037"/>
              <a:gd name="csY61" fmla="*/ 1537319 h 1571603"/>
              <a:gd name="csX62" fmla="*/ 657740 w 732037"/>
              <a:gd name="csY62" fmla="*/ 1553265 h 1571603"/>
              <a:gd name="csX63" fmla="*/ 507791 w 732037"/>
              <a:gd name="csY63" fmla="*/ 1568943 h 1571603"/>
              <a:gd name="csX64" fmla="*/ 264676 w 732037"/>
              <a:gd name="csY64" fmla="*/ 1569724 h 1571603"/>
              <a:gd name="csX65" fmla="*/ 82743 w 732037"/>
              <a:gd name="csY65" fmla="*/ 1553254 h 1571603"/>
              <a:gd name="csX66" fmla="*/ 17072 w 732037"/>
              <a:gd name="csY66" fmla="*/ 1538153 h 1571603"/>
              <a:gd name="csX67" fmla="*/ 275 w 732037"/>
              <a:gd name="csY67" fmla="*/ 1513030 h 1571603"/>
              <a:gd name="csX68" fmla="*/ 20923 w 732037"/>
              <a:gd name="csY68" fmla="*/ 1441861 h 1571603"/>
              <a:gd name="csX69" fmla="*/ 23045 w 732037"/>
              <a:gd name="csY69" fmla="*/ 1423105 h 1571603"/>
              <a:gd name="csX70" fmla="*/ 30564 w 732037"/>
              <a:gd name="csY70" fmla="*/ 1346289 h 1571603"/>
              <a:gd name="csX71" fmla="*/ 71350 w 732037"/>
              <a:gd name="csY71" fmla="*/ 1295039 h 1571603"/>
              <a:gd name="csX72" fmla="*/ 112257 w 732037"/>
              <a:gd name="csY72" fmla="*/ 1255093 h 1571603"/>
              <a:gd name="csX73" fmla="*/ 115864 w 732037"/>
              <a:gd name="csY73" fmla="*/ 1217271 h 1571603"/>
              <a:gd name="csX74" fmla="*/ 112256 w 732037"/>
              <a:gd name="csY74" fmla="*/ 1210870 h 1571603"/>
              <a:gd name="csX75" fmla="*/ 121141 w 732037"/>
              <a:gd name="csY75" fmla="*/ 1186548 h 1571603"/>
              <a:gd name="csX76" fmla="*/ 136571 w 732037"/>
              <a:gd name="csY76" fmla="*/ 1179850 h 1571603"/>
              <a:gd name="csX77" fmla="*/ 158281 w 732037"/>
              <a:gd name="csY77" fmla="*/ 1157879 h 1571603"/>
              <a:gd name="csX78" fmla="*/ 187986 w 732037"/>
              <a:gd name="csY78" fmla="*/ 1059736 h 1571603"/>
              <a:gd name="csX79" fmla="*/ 217119 w 732037"/>
              <a:gd name="csY79" fmla="*/ 938896 h 1571603"/>
              <a:gd name="csX80" fmla="*/ 225792 w 732037"/>
              <a:gd name="csY80" fmla="*/ 893236 h 1571603"/>
              <a:gd name="csX81" fmla="*/ 226150 w 732037"/>
              <a:gd name="csY81" fmla="*/ 887970 h 1571603"/>
              <a:gd name="csX82" fmla="*/ 230782 w 732037"/>
              <a:gd name="csY82" fmla="*/ 853969 h 1571603"/>
              <a:gd name="csX83" fmla="*/ 230786 w 732037"/>
              <a:gd name="csY83" fmla="*/ 848558 h 1571603"/>
              <a:gd name="csX84" fmla="*/ 233315 w 732037"/>
              <a:gd name="csY84" fmla="*/ 824438 h 1571603"/>
              <a:gd name="csX85" fmla="*/ 233199 w 732037"/>
              <a:gd name="csY85" fmla="*/ 819050 h 1571603"/>
              <a:gd name="csX86" fmla="*/ 235848 w 732037"/>
              <a:gd name="csY86" fmla="*/ 782380 h 1571603"/>
              <a:gd name="csX87" fmla="*/ 237465 w 732037"/>
              <a:gd name="csY87" fmla="*/ 719113 h 1571603"/>
              <a:gd name="csX88" fmla="*/ 233057 w 732037"/>
              <a:gd name="csY88" fmla="*/ 713160 h 1571603"/>
              <a:gd name="csX89" fmla="*/ 203056 w 732037"/>
              <a:gd name="csY89" fmla="*/ 708405 h 1571603"/>
              <a:gd name="csX90" fmla="*/ 169628 w 732037"/>
              <a:gd name="csY90" fmla="*/ 698106 h 1571603"/>
              <a:gd name="csX91" fmla="*/ 153237 w 732037"/>
              <a:gd name="csY91" fmla="*/ 659111 h 1571603"/>
              <a:gd name="csX92" fmla="*/ 178365 w 732037"/>
              <a:gd name="csY92" fmla="*/ 626008 h 1571603"/>
              <a:gd name="csX93" fmla="*/ 191885 w 732037"/>
              <a:gd name="csY93" fmla="*/ 617513 h 1571603"/>
              <a:gd name="csX94" fmla="*/ 193681 w 732037"/>
              <a:gd name="csY94" fmla="*/ 610098 h 1571603"/>
              <a:gd name="csX95" fmla="*/ 213301 w 732037"/>
              <a:gd name="csY95" fmla="*/ 579885 h 1571603"/>
              <a:gd name="csX96" fmla="*/ 229635 w 732037"/>
              <a:gd name="csY96" fmla="*/ 571429 h 1571603"/>
              <a:gd name="csX97" fmla="*/ 237351 w 732037"/>
              <a:gd name="csY97" fmla="*/ 565882 h 1571603"/>
              <a:gd name="csX98" fmla="*/ 233673 w 732037"/>
              <a:gd name="csY98" fmla="*/ 550926 h 1571603"/>
              <a:gd name="csX99" fmla="*/ 226799 w 732037"/>
              <a:gd name="csY99" fmla="*/ 548359 h 1571603"/>
              <a:gd name="csX100" fmla="*/ 218639 w 732037"/>
              <a:gd name="csY100" fmla="*/ 522664 h 1571603"/>
              <a:gd name="csX101" fmla="*/ 218264 w 732037"/>
              <a:gd name="csY101" fmla="*/ 505463 h 1571603"/>
              <a:gd name="csX102" fmla="*/ 181762 w 732037"/>
              <a:gd name="csY102" fmla="*/ 437574 h 1571603"/>
              <a:gd name="csX103" fmla="*/ 185971 w 732037"/>
              <a:gd name="csY103" fmla="*/ 289069 h 1571603"/>
              <a:gd name="csX104" fmla="*/ 253787 w 732037"/>
              <a:gd name="csY104" fmla="*/ 175580 h 1571603"/>
              <a:gd name="csX105" fmla="*/ 309639 w 732037"/>
              <a:gd name="csY105" fmla="*/ 108695 h 1571603"/>
              <a:gd name="csX106" fmla="*/ 318061 w 732037"/>
              <a:gd name="csY106" fmla="*/ 98855 h 1571603"/>
              <a:gd name="csX107" fmla="*/ 304967 w 732037"/>
              <a:gd name="csY107" fmla="*/ 70056 h 1571603"/>
              <a:gd name="csX108" fmla="*/ 317012 w 732037"/>
              <a:gd name="csY108" fmla="*/ 19436 h 1571603"/>
              <a:gd name="csX109" fmla="*/ 415542 w 732037"/>
              <a:gd name="csY109" fmla="*/ 18221 h 1571603"/>
              <a:gd name="csX110" fmla="*/ 423203 w 732037"/>
              <a:gd name="csY110" fmla="*/ 82660 h 1571603"/>
              <a:gd name="csX111" fmla="*/ 413361 w 732037"/>
              <a:gd name="csY111" fmla="*/ 97975 h 1571603"/>
              <a:gd name="csX112" fmla="*/ 421654 w 732037"/>
              <a:gd name="csY112" fmla="*/ 106676 h 1571603"/>
              <a:gd name="csX113" fmla="*/ 487032 w 732037"/>
              <a:gd name="csY113" fmla="*/ 184632 h 1571603"/>
              <a:gd name="csX114" fmla="*/ 489213 w 732037"/>
              <a:gd name="csY114" fmla="*/ 208238 h 1571603"/>
              <a:gd name="csX115" fmla="*/ 476520 w 732037"/>
              <a:gd name="csY115" fmla="*/ 235738 h 1571603"/>
              <a:gd name="csX116" fmla="*/ 472850 w 732037"/>
              <a:gd name="csY116" fmla="*/ 230703 h 1571603"/>
              <a:gd name="csX117" fmla="*/ 482723 w 732037"/>
              <a:gd name="csY117" fmla="*/ 208315 h 1571603"/>
              <a:gd name="csX118" fmla="*/ 480764 w 732037"/>
              <a:gd name="csY118" fmla="*/ 187916 h 1571603"/>
              <a:gd name="csX119" fmla="*/ 408519 w 732037"/>
              <a:gd name="csY119" fmla="*/ 105475 h 1571603"/>
              <a:gd name="csX120" fmla="*/ 408625 w 732037"/>
              <a:gd name="csY120" fmla="*/ 89203 h 1571603"/>
              <a:gd name="csX121" fmla="*/ 419600 w 732037"/>
              <a:gd name="csY121" fmla="*/ 71648 h 1571603"/>
              <a:gd name="csX122" fmla="*/ 418792 w 732037"/>
              <a:gd name="csY122" fmla="*/ 63179 h 1571603"/>
              <a:gd name="csX123" fmla="*/ 410943 w 732037"/>
              <a:gd name="csY123" fmla="*/ 66417 h 1571603"/>
              <a:gd name="csX124" fmla="*/ 400140 w 732037"/>
              <a:gd name="csY124" fmla="*/ 76155 h 1571603"/>
              <a:gd name="csX125" fmla="*/ 360599 w 732037"/>
              <a:gd name="csY125" fmla="*/ 51379 h 1571603"/>
              <a:gd name="csX126" fmla="*/ 360842 w 732037"/>
              <a:gd name="csY126" fmla="*/ 39128 h 1571603"/>
              <a:gd name="csX127" fmla="*/ 369470 w 732037"/>
              <a:gd name="csY127" fmla="*/ 30960 h 1571603"/>
              <a:gd name="csX128" fmla="*/ 365613 w 732037"/>
              <a:gd name="csY128" fmla="*/ 49108 h 1571603"/>
              <a:gd name="csX129" fmla="*/ 389468 w 732037"/>
              <a:gd name="csY129" fmla="*/ 71608 h 1571603"/>
              <a:gd name="csX130" fmla="*/ 408822 w 732037"/>
              <a:gd name="csY130" fmla="*/ 46613 h 1571603"/>
              <a:gd name="csX131" fmla="*/ 406842 w 732037"/>
              <a:gd name="csY131" fmla="*/ 38347 h 157160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</a:cxnLst>
            <a:rect l="l" t="t" r="r" b="b"/>
            <a:pathLst>
              <a:path w="732037" h="1571603">
                <a:moveTo>
                  <a:pt x="406842" y="38347"/>
                </a:moveTo>
                <a:cubicBezTo>
                  <a:pt x="408555" y="35869"/>
                  <a:pt x="410622" y="34608"/>
                  <a:pt x="411944" y="38343"/>
                </a:cubicBezTo>
                <a:cubicBezTo>
                  <a:pt x="413676" y="43242"/>
                  <a:pt x="414797" y="48356"/>
                  <a:pt x="416198" y="53444"/>
                </a:cubicBezTo>
                <a:cubicBezTo>
                  <a:pt x="422922" y="48977"/>
                  <a:pt x="424340" y="41699"/>
                  <a:pt x="418945" y="34170"/>
                </a:cubicBezTo>
                <a:cubicBezTo>
                  <a:pt x="412483" y="25152"/>
                  <a:pt x="404444" y="17554"/>
                  <a:pt x="394077" y="12943"/>
                </a:cubicBezTo>
                <a:cubicBezTo>
                  <a:pt x="376702" y="5216"/>
                  <a:pt x="358713" y="6244"/>
                  <a:pt x="341415" y="11814"/>
                </a:cubicBezTo>
                <a:cubicBezTo>
                  <a:pt x="323675" y="17525"/>
                  <a:pt x="304459" y="39816"/>
                  <a:pt x="309440" y="65249"/>
                </a:cubicBezTo>
                <a:cubicBezTo>
                  <a:pt x="310868" y="72543"/>
                  <a:pt x="315482" y="79463"/>
                  <a:pt x="319632" y="85914"/>
                </a:cubicBezTo>
                <a:cubicBezTo>
                  <a:pt x="325434" y="94933"/>
                  <a:pt x="325800" y="102817"/>
                  <a:pt x="318632" y="110015"/>
                </a:cubicBezTo>
                <a:cubicBezTo>
                  <a:pt x="291775" y="136984"/>
                  <a:pt x="269594" y="167702"/>
                  <a:pt x="246921" y="198083"/>
                </a:cubicBezTo>
                <a:cubicBezTo>
                  <a:pt x="230003" y="220751"/>
                  <a:pt x="215685" y="244921"/>
                  <a:pt x="202660" y="269911"/>
                </a:cubicBezTo>
                <a:cubicBezTo>
                  <a:pt x="188381" y="297309"/>
                  <a:pt x="179513" y="326657"/>
                  <a:pt x="176707" y="357233"/>
                </a:cubicBezTo>
                <a:cubicBezTo>
                  <a:pt x="174106" y="385578"/>
                  <a:pt x="180131" y="413140"/>
                  <a:pt x="190612" y="439700"/>
                </a:cubicBezTo>
                <a:cubicBezTo>
                  <a:pt x="199946" y="463353"/>
                  <a:pt x="211538" y="485623"/>
                  <a:pt x="227544" y="505527"/>
                </a:cubicBezTo>
                <a:cubicBezTo>
                  <a:pt x="229982" y="508558"/>
                  <a:pt x="230954" y="512768"/>
                  <a:pt x="232541" y="516294"/>
                </a:cubicBezTo>
                <a:cubicBezTo>
                  <a:pt x="229578" y="520824"/>
                  <a:pt x="226658" y="524724"/>
                  <a:pt x="224356" y="528960"/>
                </a:cubicBezTo>
                <a:cubicBezTo>
                  <a:pt x="221823" y="533618"/>
                  <a:pt x="222675" y="537588"/>
                  <a:pt x="227944" y="540026"/>
                </a:cubicBezTo>
                <a:cubicBezTo>
                  <a:pt x="231656" y="541743"/>
                  <a:pt x="235331" y="543568"/>
                  <a:pt x="238897" y="545570"/>
                </a:cubicBezTo>
                <a:cubicBezTo>
                  <a:pt x="249613" y="551585"/>
                  <a:pt x="251795" y="563681"/>
                  <a:pt x="242386" y="571785"/>
                </a:cubicBezTo>
                <a:cubicBezTo>
                  <a:pt x="233816" y="579166"/>
                  <a:pt x="224045" y="585423"/>
                  <a:pt x="214067" y="590809"/>
                </a:cubicBezTo>
                <a:cubicBezTo>
                  <a:pt x="206271" y="595018"/>
                  <a:pt x="202051" y="601487"/>
                  <a:pt x="201355" y="609067"/>
                </a:cubicBezTo>
                <a:cubicBezTo>
                  <a:pt x="200489" y="618497"/>
                  <a:pt x="195720" y="623726"/>
                  <a:pt x="188474" y="628398"/>
                </a:cubicBezTo>
                <a:cubicBezTo>
                  <a:pt x="177332" y="635582"/>
                  <a:pt x="167866" y="644503"/>
                  <a:pt x="162658" y="657096"/>
                </a:cubicBezTo>
                <a:cubicBezTo>
                  <a:pt x="156420" y="672181"/>
                  <a:pt x="160439" y="684301"/>
                  <a:pt x="175395" y="691621"/>
                </a:cubicBezTo>
                <a:cubicBezTo>
                  <a:pt x="183722" y="695697"/>
                  <a:pt x="192859" y="698589"/>
                  <a:pt x="201948" y="700523"/>
                </a:cubicBezTo>
                <a:cubicBezTo>
                  <a:pt x="214634" y="703224"/>
                  <a:pt x="227616" y="704530"/>
                  <a:pt x="241426" y="706574"/>
                </a:cubicBezTo>
                <a:cubicBezTo>
                  <a:pt x="241839" y="709770"/>
                  <a:pt x="242576" y="712857"/>
                  <a:pt x="242586" y="715946"/>
                </a:cubicBezTo>
                <a:cubicBezTo>
                  <a:pt x="242672" y="744610"/>
                  <a:pt x="243133" y="773285"/>
                  <a:pt x="242424" y="801932"/>
                </a:cubicBezTo>
                <a:cubicBezTo>
                  <a:pt x="242053" y="816907"/>
                  <a:pt x="239631" y="831838"/>
                  <a:pt x="238000" y="846774"/>
                </a:cubicBezTo>
                <a:cubicBezTo>
                  <a:pt x="236368" y="861717"/>
                  <a:pt x="234927" y="876693"/>
                  <a:pt x="232752" y="891559"/>
                </a:cubicBezTo>
                <a:cubicBezTo>
                  <a:pt x="229873" y="911238"/>
                  <a:pt x="226675" y="930882"/>
                  <a:pt x="223037" y="950433"/>
                </a:cubicBezTo>
                <a:cubicBezTo>
                  <a:pt x="219173" y="971193"/>
                  <a:pt x="215113" y="991942"/>
                  <a:pt x="210247" y="1012485"/>
                </a:cubicBezTo>
                <a:cubicBezTo>
                  <a:pt x="205743" y="1031500"/>
                  <a:pt x="200395" y="1050337"/>
                  <a:pt x="194820" y="1069074"/>
                </a:cubicBezTo>
                <a:cubicBezTo>
                  <a:pt x="185401" y="1100731"/>
                  <a:pt x="175708" y="1132311"/>
                  <a:pt x="165707" y="1163788"/>
                </a:cubicBezTo>
                <a:cubicBezTo>
                  <a:pt x="162367" y="1174302"/>
                  <a:pt x="156145" y="1182634"/>
                  <a:pt x="144382" y="1185530"/>
                </a:cubicBezTo>
                <a:cubicBezTo>
                  <a:pt x="139281" y="1186787"/>
                  <a:pt x="134434" y="1189193"/>
                  <a:pt x="129590" y="1191342"/>
                </a:cubicBezTo>
                <a:cubicBezTo>
                  <a:pt x="120028" y="1195581"/>
                  <a:pt x="118779" y="1198539"/>
                  <a:pt x="122255" y="1208476"/>
                </a:cubicBezTo>
                <a:cubicBezTo>
                  <a:pt x="123870" y="1213094"/>
                  <a:pt x="125990" y="1217542"/>
                  <a:pt x="127491" y="1222193"/>
                </a:cubicBezTo>
                <a:cubicBezTo>
                  <a:pt x="132294" y="1237066"/>
                  <a:pt x="129961" y="1250353"/>
                  <a:pt x="118348" y="1261470"/>
                </a:cubicBezTo>
                <a:cubicBezTo>
                  <a:pt x="98275" y="1280686"/>
                  <a:pt x="78038" y="1299737"/>
                  <a:pt x="58232" y="1319224"/>
                </a:cubicBezTo>
                <a:cubicBezTo>
                  <a:pt x="38634" y="1338507"/>
                  <a:pt x="29913" y="1362564"/>
                  <a:pt x="28815" y="1389717"/>
                </a:cubicBezTo>
                <a:cubicBezTo>
                  <a:pt x="28318" y="1402031"/>
                  <a:pt x="29110" y="1414206"/>
                  <a:pt x="32634" y="1426050"/>
                </a:cubicBezTo>
                <a:cubicBezTo>
                  <a:pt x="34273" y="1431554"/>
                  <a:pt x="33300" y="1435929"/>
                  <a:pt x="30331" y="1441003"/>
                </a:cubicBezTo>
                <a:cubicBezTo>
                  <a:pt x="16698" y="1464298"/>
                  <a:pt x="8890" y="1489397"/>
                  <a:pt x="9180" y="1516655"/>
                </a:cubicBezTo>
                <a:cubicBezTo>
                  <a:pt x="9291" y="1527012"/>
                  <a:pt x="9917" y="1528771"/>
                  <a:pt x="20082" y="1531402"/>
                </a:cubicBezTo>
                <a:cubicBezTo>
                  <a:pt x="38179" y="1536086"/>
                  <a:pt x="56480" y="1540035"/>
                  <a:pt x="74798" y="1543794"/>
                </a:cubicBezTo>
                <a:cubicBezTo>
                  <a:pt x="87517" y="1546403"/>
                  <a:pt x="100396" y="1548250"/>
                  <a:pt x="113225" y="1550305"/>
                </a:cubicBezTo>
                <a:cubicBezTo>
                  <a:pt x="120841" y="1551524"/>
                  <a:pt x="128467" y="1552843"/>
                  <a:pt x="136142" y="1553484"/>
                </a:cubicBezTo>
                <a:cubicBezTo>
                  <a:pt x="149934" y="1554635"/>
                  <a:pt x="163778" y="1555156"/>
                  <a:pt x="177578" y="1556220"/>
                </a:cubicBezTo>
                <a:cubicBezTo>
                  <a:pt x="195403" y="1557595"/>
                  <a:pt x="213196" y="1559407"/>
                  <a:pt x="231027" y="1560698"/>
                </a:cubicBezTo>
                <a:cubicBezTo>
                  <a:pt x="238768" y="1561259"/>
                  <a:pt x="246585" y="1560709"/>
                  <a:pt x="254342" y="1561142"/>
                </a:cubicBezTo>
                <a:cubicBezTo>
                  <a:pt x="322588" y="1564942"/>
                  <a:pt x="390896" y="1563427"/>
                  <a:pt x="459180" y="1563411"/>
                </a:cubicBezTo>
                <a:cubicBezTo>
                  <a:pt x="483236" y="1563406"/>
                  <a:pt x="507311" y="1562248"/>
                  <a:pt x="531340" y="1560936"/>
                </a:cubicBezTo>
                <a:cubicBezTo>
                  <a:pt x="551225" y="1559849"/>
                  <a:pt x="571160" y="1558554"/>
                  <a:pt x="590888" y="1555951"/>
                </a:cubicBezTo>
                <a:cubicBezTo>
                  <a:pt x="631179" y="1550635"/>
                  <a:pt x="671338" y="1544328"/>
                  <a:pt x="710712" y="1533916"/>
                </a:cubicBezTo>
                <a:cubicBezTo>
                  <a:pt x="722630" y="1530764"/>
                  <a:pt x="724036" y="1528558"/>
                  <a:pt x="724356" y="1516144"/>
                </a:cubicBezTo>
                <a:cubicBezTo>
                  <a:pt x="724970" y="1492256"/>
                  <a:pt x="718637" y="1470245"/>
                  <a:pt x="707380" y="1449380"/>
                </a:cubicBezTo>
                <a:cubicBezTo>
                  <a:pt x="706259" y="1447304"/>
                  <a:pt x="706896" y="1444279"/>
                  <a:pt x="707050" y="1440881"/>
                </a:cubicBezTo>
                <a:cubicBezTo>
                  <a:pt x="722747" y="1457101"/>
                  <a:pt x="728653" y="1477963"/>
                  <a:pt x="731479" y="1500017"/>
                </a:cubicBezTo>
                <a:cubicBezTo>
                  <a:pt x="731992" y="1504029"/>
                  <a:pt x="731781" y="1508135"/>
                  <a:pt x="731163" y="1513759"/>
                </a:cubicBezTo>
                <a:cubicBezTo>
                  <a:pt x="730831" y="1517468"/>
                  <a:pt x="731241" y="1519618"/>
                  <a:pt x="731650" y="1521766"/>
                </a:cubicBezTo>
                <a:cubicBezTo>
                  <a:pt x="733191" y="1529956"/>
                  <a:pt x="730165" y="1535242"/>
                  <a:pt x="721896" y="1537319"/>
                </a:cubicBezTo>
                <a:cubicBezTo>
                  <a:pt x="700520" y="1542690"/>
                  <a:pt x="679367" y="1549248"/>
                  <a:pt x="657740" y="1553265"/>
                </a:cubicBezTo>
                <a:cubicBezTo>
                  <a:pt x="608220" y="1562464"/>
                  <a:pt x="558146" y="1566701"/>
                  <a:pt x="507791" y="1568943"/>
                </a:cubicBezTo>
                <a:cubicBezTo>
                  <a:pt x="426738" y="1572552"/>
                  <a:pt x="345677" y="1572161"/>
                  <a:pt x="264676" y="1569724"/>
                </a:cubicBezTo>
                <a:cubicBezTo>
                  <a:pt x="203800" y="1567891"/>
                  <a:pt x="142882" y="1563907"/>
                  <a:pt x="82743" y="1553254"/>
                </a:cubicBezTo>
                <a:cubicBezTo>
                  <a:pt x="60647" y="1549341"/>
                  <a:pt x="38739" y="1544032"/>
                  <a:pt x="17072" y="1538153"/>
                </a:cubicBezTo>
                <a:cubicBezTo>
                  <a:pt x="1381" y="1533894"/>
                  <a:pt x="-938" y="1529341"/>
                  <a:pt x="275" y="1513030"/>
                </a:cubicBezTo>
                <a:cubicBezTo>
                  <a:pt x="2146" y="1487871"/>
                  <a:pt x="7321" y="1463566"/>
                  <a:pt x="20923" y="1441861"/>
                </a:cubicBezTo>
                <a:cubicBezTo>
                  <a:pt x="24812" y="1435656"/>
                  <a:pt x="24566" y="1429699"/>
                  <a:pt x="23045" y="1423105"/>
                </a:cubicBezTo>
                <a:cubicBezTo>
                  <a:pt x="16952" y="1396684"/>
                  <a:pt x="19689" y="1370924"/>
                  <a:pt x="30564" y="1346289"/>
                </a:cubicBezTo>
                <a:cubicBezTo>
                  <a:pt x="39621" y="1325774"/>
                  <a:pt x="54481" y="1309709"/>
                  <a:pt x="71350" y="1295039"/>
                </a:cubicBezTo>
                <a:cubicBezTo>
                  <a:pt x="85712" y="1282550"/>
                  <a:pt x="99164" y="1268932"/>
                  <a:pt x="112257" y="1255093"/>
                </a:cubicBezTo>
                <a:cubicBezTo>
                  <a:pt x="122891" y="1243852"/>
                  <a:pt x="124955" y="1230879"/>
                  <a:pt x="115864" y="1217271"/>
                </a:cubicBezTo>
                <a:cubicBezTo>
                  <a:pt x="114506" y="1215239"/>
                  <a:pt x="113304" y="1213078"/>
                  <a:pt x="112256" y="1210870"/>
                </a:cubicBezTo>
                <a:cubicBezTo>
                  <a:pt x="106526" y="1198808"/>
                  <a:pt x="109052" y="1191969"/>
                  <a:pt x="121141" y="1186548"/>
                </a:cubicBezTo>
                <a:cubicBezTo>
                  <a:pt x="126274" y="1184246"/>
                  <a:pt x="131201" y="1180803"/>
                  <a:pt x="136571" y="1179850"/>
                </a:cubicBezTo>
                <a:cubicBezTo>
                  <a:pt x="149372" y="1177579"/>
                  <a:pt x="154892" y="1168948"/>
                  <a:pt x="158281" y="1157879"/>
                </a:cubicBezTo>
                <a:cubicBezTo>
                  <a:pt x="168288" y="1125194"/>
                  <a:pt x="179178" y="1092742"/>
                  <a:pt x="187986" y="1059736"/>
                </a:cubicBezTo>
                <a:cubicBezTo>
                  <a:pt x="198666" y="1019713"/>
                  <a:pt x="207813" y="979272"/>
                  <a:pt x="217119" y="938896"/>
                </a:cubicBezTo>
                <a:cubicBezTo>
                  <a:pt x="220491" y="924267"/>
                  <a:pt x="222410" y="909302"/>
                  <a:pt x="225792" y="893236"/>
                </a:cubicBezTo>
                <a:cubicBezTo>
                  <a:pt x="226444" y="890644"/>
                  <a:pt x="226297" y="889307"/>
                  <a:pt x="226150" y="887970"/>
                </a:cubicBezTo>
                <a:cubicBezTo>
                  <a:pt x="227450" y="877085"/>
                  <a:pt x="228750" y="866198"/>
                  <a:pt x="230782" y="853969"/>
                </a:cubicBezTo>
                <a:cubicBezTo>
                  <a:pt x="231271" y="851270"/>
                  <a:pt x="231029" y="849914"/>
                  <a:pt x="230786" y="848558"/>
                </a:cubicBezTo>
                <a:cubicBezTo>
                  <a:pt x="231390" y="840967"/>
                  <a:pt x="231993" y="833375"/>
                  <a:pt x="233315" y="824438"/>
                </a:cubicBezTo>
                <a:cubicBezTo>
                  <a:pt x="233755" y="821744"/>
                  <a:pt x="233477" y="820397"/>
                  <a:pt x="233199" y="819050"/>
                </a:cubicBezTo>
                <a:cubicBezTo>
                  <a:pt x="233786" y="807422"/>
                  <a:pt x="234374" y="795794"/>
                  <a:pt x="235848" y="782380"/>
                </a:cubicBezTo>
                <a:cubicBezTo>
                  <a:pt x="237047" y="760099"/>
                  <a:pt x="237488" y="739606"/>
                  <a:pt x="237465" y="719113"/>
                </a:cubicBezTo>
                <a:cubicBezTo>
                  <a:pt x="237463" y="717127"/>
                  <a:pt x="234595" y="715144"/>
                  <a:pt x="233057" y="713160"/>
                </a:cubicBezTo>
                <a:cubicBezTo>
                  <a:pt x="223043" y="711630"/>
                  <a:pt x="212881" y="710731"/>
                  <a:pt x="203056" y="708405"/>
                </a:cubicBezTo>
                <a:cubicBezTo>
                  <a:pt x="191716" y="705720"/>
                  <a:pt x="180144" y="702931"/>
                  <a:pt x="169628" y="698106"/>
                </a:cubicBezTo>
                <a:cubicBezTo>
                  <a:pt x="154505" y="691164"/>
                  <a:pt x="148867" y="675179"/>
                  <a:pt x="153237" y="659111"/>
                </a:cubicBezTo>
                <a:cubicBezTo>
                  <a:pt x="157196" y="644561"/>
                  <a:pt x="166649" y="634454"/>
                  <a:pt x="178365" y="626008"/>
                </a:cubicBezTo>
                <a:cubicBezTo>
                  <a:pt x="182258" y="623202"/>
                  <a:pt x="186579" y="620992"/>
                  <a:pt x="191885" y="617513"/>
                </a:cubicBezTo>
                <a:cubicBezTo>
                  <a:pt x="194882" y="614532"/>
                  <a:pt x="197062" y="612583"/>
                  <a:pt x="193681" y="610098"/>
                </a:cubicBezTo>
                <a:cubicBezTo>
                  <a:pt x="193381" y="595591"/>
                  <a:pt x="202034" y="586776"/>
                  <a:pt x="213301" y="579885"/>
                </a:cubicBezTo>
                <a:cubicBezTo>
                  <a:pt x="218517" y="576695"/>
                  <a:pt x="224270" y="574393"/>
                  <a:pt x="229635" y="571429"/>
                </a:cubicBezTo>
                <a:cubicBezTo>
                  <a:pt x="232401" y="569901"/>
                  <a:pt x="235344" y="568225"/>
                  <a:pt x="237351" y="565882"/>
                </a:cubicBezTo>
                <a:cubicBezTo>
                  <a:pt x="243193" y="559063"/>
                  <a:pt x="242021" y="554779"/>
                  <a:pt x="233673" y="550926"/>
                </a:cubicBezTo>
                <a:cubicBezTo>
                  <a:pt x="231458" y="549904"/>
                  <a:pt x="229049" y="549314"/>
                  <a:pt x="226799" y="548359"/>
                </a:cubicBezTo>
                <a:cubicBezTo>
                  <a:pt x="215108" y="543398"/>
                  <a:pt x="211118" y="532802"/>
                  <a:pt x="218639" y="522664"/>
                </a:cubicBezTo>
                <a:cubicBezTo>
                  <a:pt x="223647" y="515913"/>
                  <a:pt x="222661" y="511633"/>
                  <a:pt x="218264" y="505463"/>
                </a:cubicBezTo>
                <a:cubicBezTo>
                  <a:pt x="203255" y="484407"/>
                  <a:pt x="190650" y="461993"/>
                  <a:pt x="181762" y="437574"/>
                </a:cubicBezTo>
                <a:cubicBezTo>
                  <a:pt x="163530" y="387483"/>
                  <a:pt x="165826" y="338057"/>
                  <a:pt x="185971" y="289069"/>
                </a:cubicBezTo>
                <a:cubicBezTo>
                  <a:pt x="202921" y="247851"/>
                  <a:pt x="226229" y="210377"/>
                  <a:pt x="253787" y="175580"/>
                </a:cubicBezTo>
                <a:cubicBezTo>
                  <a:pt x="271814" y="152817"/>
                  <a:pt x="290973" y="130951"/>
                  <a:pt x="309639" y="108695"/>
                </a:cubicBezTo>
                <a:cubicBezTo>
                  <a:pt x="312744" y="104993"/>
                  <a:pt x="315922" y="101352"/>
                  <a:pt x="318061" y="98855"/>
                </a:cubicBezTo>
                <a:cubicBezTo>
                  <a:pt x="313257" y="88362"/>
                  <a:pt x="308695" y="79376"/>
                  <a:pt x="304967" y="70056"/>
                </a:cubicBezTo>
                <a:cubicBezTo>
                  <a:pt x="297146" y="50504"/>
                  <a:pt x="303366" y="33481"/>
                  <a:pt x="317012" y="19436"/>
                </a:cubicBezTo>
                <a:cubicBezTo>
                  <a:pt x="344741" y="-9105"/>
                  <a:pt x="393463" y="-3345"/>
                  <a:pt x="415542" y="18221"/>
                </a:cubicBezTo>
                <a:cubicBezTo>
                  <a:pt x="429559" y="31914"/>
                  <a:pt x="438373" y="56968"/>
                  <a:pt x="423203" y="82660"/>
                </a:cubicBezTo>
                <a:cubicBezTo>
                  <a:pt x="420306" y="87568"/>
                  <a:pt x="417047" y="92262"/>
                  <a:pt x="413361" y="97975"/>
                </a:cubicBezTo>
                <a:cubicBezTo>
                  <a:pt x="416167" y="100932"/>
                  <a:pt x="418781" y="103940"/>
                  <a:pt x="421654" y="106676"/>
                </a:cubicBezTo>
                <a:cubicBezTo>
                  <a:pt x="446372" y="130213"/>
                  <a:pt x="467902" y="156374"/>
                  <a:pt x="487032" y="184632"/>
                </a:cubicBezTo>
                <a:cubicBezTo>
                  <a:pt x="492374" y="192525"/>
                  <a:pt x="493990" y="199495"/>
                  <a:pt x="489213" y="208238"/>
                </a:cubicBezTo>
                <a:cubicBezTo>
                  <a:pt x="484525" y="216819"/>
                  <a:pt x="481033" y="226053"/>
                  <a:pt x="476520" y="235738"/>
                </a:cubicBezTo>
                <a:cubicBezTo>
                  <a:pt x="472168" y="236089"/>
                  <a:pt x="471165" y="234358"/>
                  <a:pt x="472850" y="230703"/>
                </a:cubicBezTo>
                <a:cubicBezTo>
                  <a:pt x="476263" y="223297"/>
                  <a:pt x="479344" y="215738"/>
                  <a:pt x="482723" y="208315"/>
                </a:cubicBezTo>
                <a:cubicBezTo>
                  <a:pt x="486016" y="201080"/>
                  <a:pt x="485571" y="194961"/>
                  <a:pt x="480764" y="187916"/>
                </a:cubicBezTo>
                <a:cubicBezTo>
                  <a:pt x="459995" y="157475"/>
                  <a:pt x="437234" y="128912"/>
                  <a:pt x="408519" y="105475"/>
                </a:cubicBezTo>
                <a:cubicBezTo>
                  <a:pt x="403555" y="101425"/>
                  <a:pt x="403835" y="96489"/>
                  <a:pt x="408625" y="89203"/>
                </a:cubicBezTo>
                <a:cubicBezTo>
                  <a:pt x="412416" y="83438"/>
                  <a:pt x="416045" y="77562"/>
                  <a:pt x="419600" y="71648"/>
                </a:cubicBezTo>
                <a:cubicBezTo>
                  <a:pt x="421349" y="68739"/>
                  <a:pt x="422717" y="65537"/>
                  <a:pt x="418792" y="63179"/>
                </a:cubicBezTo>
                <a:cubicBezTo>
                  <a:pt x="414834" y="60801"/>
                  <a:pt x="413218" y="63883"/>
                  <a:pt x="410943" y="66417"/>
                </a:cubicBezTo>
                <a:cubicBezTo>
                  <a:pt x="407706" y="70022"/>
                  <a:pt x="404330" y="74045"/>
                  <a:pt x="400140" y="76155"/>
                </a:cubicBezTo>
                <a:cubicBezTo>
                  <a:pt x="381561" y="85507"/>
                  <a:pt x="360821" y="72312"/>
                  <a:pt x="360599" y="51379"/>
                </a:cubicBezTo>
                <a:cubicBezTo>
                  <a:pt x="360556" y="47292"/>
                  <a:pt x="360308" y="43152"/>
                  <a:pt x="360842" y="39128"/>
                </a:cubicBezTo>
                <a:cubicBezTo>
                  <a:pt x="361447" y="34568"/>
                  <a:pt x="362880" y="30159"/>
                  <a:pt x="369470" y="30960"/>
                </a:cubicBezTo>
                <a:cubicBezTo>
                  <a:pt x="368501" y="37551"/>
                  <a:pt x="365745" y="43300"/>
                  <a:pt x="365613" y="49108"/>
                </a:cubicBezTo>
                <a:cubicBezTo>
                  <a:pt x="365328" y="61659"/>
                  <a:pt x="377498" y="72522"/>
                  <a:pt x="389468" y="71608"/>
                </a:cubicBezTo>
                <a:cubicBezTo>
                  <a:pt x="401478" y="70690"/>
                  <a:pt x="410127" y="59637"/>
                  <a:pt x="408822" y="46613"/>
                </a:cubicBezTo>
                <a:cubicBezTo>
                  <a:pt x="408542" y="43819"/>
                  <a:pt x="407521" y="41100"/>
                  <a:pt x="406842" y="38347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8" name="Free-form: Shape 47">
            <a:extLst>
              <a:ext uri="{FF2B5EF4-FFF2-40B4-BE49-F238E27FC236}">
                <a16:creationId xmlns:a16="http://schemas.microsoft.com/office/drawing/2014/main" id="{3216B3FD-D186-59F4-C78E-55D4AC4A5DEE}"/>
              </a:ext>
            </a:extLst>
          </p:cNvPr>
          <p:cNvSpPr/>
          <p:nvPr/>
        </p:nvSpPr>
        <p:spPr>
          <a:xfrm>
            <a:off x="6976799" y="-1569847"/>
            <a:ext cx="91545" cy="184495"/>
          </a:xfrm>
          <a:custGeom>
            <a:avLst/>
            <a:gdLst>
              <a:gd name="csX0" fmla="*/ 96534 w 100699"/>
              <a:gd name="csY0" fmla="*/ 202912 h 202945"/>
              <a:gd name="csX1" fmla="*/ 91036 w 100699"/>
              <a:gd name="csY1" fmla="*/ 196780 h 202945"/>
              <a:gd name="csX2" fmla="*/ 93357 w 100699"/>
              <a:gd name="csY2" fmla="*/ 178731 h 202945"/>
              <a:gd name="csX3" fmla="*/ 75903 w 100699"/>
              <a:gd name="csY3" fmla="*/ 106029 h 202945"/>
              <a:gd name="csX4" fmla="*/ 72780 w 100699"/>
              <a:gd name="csY4" fmla="*/ 102473 h 202945"/>
              <a:gd name="csX5" fmla="*/ 10982 w 100699"/>
              <a:gd name="csY5" fmla="*/ 41414 h 202945"/>
              <a:gd name="csX6" fmla="*/ 676 w 100699"/>
              <a:gd name="csY6" fmla="*/ 2936 h 202945"/>
              <a:gd name="csX7" fmla="*/ 5198 w 100699"/>
              <a:gd name="csY7" fmla="*/ 0 h 202945"/>
              <a:gd name="csX8" fmla="*/ 15435 w 100699"/>
              <a:gd name="csY8" fmla="*/ 35855 h 202945"/>
              <a:gd name="csX9" fmla="*/ 44498 w 100699"/>
              <a:gd name="csY9" fmla="*/ 63833 h 202945"/>
              <a:gd name="csX10" fmla="*/ 81385 w 100699"/>
              <a:gd name="csY10" fmla="*/ 106005 h 202945"/>
              <a:gd name="csX11" fmla="*/ 98950 w 100699"/>
              <a:gd name="csY11" fmla="*/ 190063 h 202945"/>
              <a:gd name="csX12" fmla="*/ 96534 w 100699"/>
              <a:gd name="csY12" fmla="*/ 202912 h 20294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</a:cxnLst>
            <a:rect l="l" t="t" r="r" b="b"/>
            <a:pathLst>
              <a:path w="100699" h="202945">
                <a:moveTo>
                  <a:pt x="96534" y="202912"/>
                </a:moveTo>
                <a:cubicBezTo>
                  <a:pt x="91699" y="203291"/>
                  <a:pt x="90650" y="200377"/>
                  <a:pt x="91036" y="196780"/>
                </a:cubicBezTo>
                <a:cubicBezTo>
                  <a:pt x="91685" y="190750"/>
                  <a:pt x="92933" y="184771"/>
                  <a:pt x="93357" y="178731"/>
                </a:cubicBezTo>
                <a:cubicBezTo>
                  <a:pt x="95183" y="152694"/>
                  <a:pt x="86034" y="129222"/>
                  <a:pt x="75903" y="106029"/>
                </a:cubicBezTo>
                <a:cubicBezTo>
                  <a:pt x="75300" y="104650"/>
                  <a:pt x="73904" y="103585"/>
                  <a:pt x="72780" y="102473"/>
                </a:cubicBezTo>
                <a:cubicBezTo>
                  <a:pt x="52199" y="82101"/>
                  <a:pt x="31673" y="61673"/>
                  <a:pt x="10982" y="41414"/>
                </a:cubicBezTo>
                <a:cubicBezTo>
                  <a:pt x="-119" y="30544"/>
                  <a:pt x="-1041" y="17093"/>
                  <a:pt x="676" y="2936"/>
                </a:cubicBezTo>
                <a:cubicBezTo>
                  <a:pt x="808" y="1852"/>
                  <a:pt x="2922" y="1010"/>
                  <a:pt x="5198" y="0"/>
                </a:cubicBezTo>
                <a:cubicBezTo>
                  <a:pt x="2043" y="13772"/>
                  <a:pt x="5665" y="25821"/>
                  <a:pt x="15435" y="35855"/>
                </a:cubicBezTo>
                <a:cubicBezTo>
                  <a:pt x="24811" y="45486"/>
                  <a:pt x="35301" y="54047"/>
                  <a:pt x="44498" y="63833"/>
                </a:cubicBezTo>
                <a:cubicBezTo>
                  <a:pt x="57293" y="77447"/>
                  <a:pt x="70760" y="90773"/>
                  <a:pt x="81385" y="106005"/>
                </a:cubicBezTo>
                <a:cubicBezTo>
                  <a:pt x="98896" y="131109"/>
                  <a:pt x="103759" y="159808"/>
                  <a:pt x="98950" y="190063"/>
                </a:cubicBezTo>
                <a:cubicBezTo>
                  <a:pt x="98311" y="194082"/>
                  <a:pt x="97697" y="198105"/>
                  <a:pt x="96534" y="202912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7" name="Free-form: Shape 56">
            <a:extLst>
              <a:ext uri="{FF2B5EF4-FFF2-40B4-BE49-F238E27FC236}">
                <a16:creationId xmlns:a16="http://schemas.microsoft.com/office/drawing/2014/main" id="{33D223EC-13B4-4A5C-27B3-881118097A26}"/>
              </a:ext>
            </a:extLst>
          </p:cNvPr>
          <p:cNvSpPr/>
          <p:nvPr/>
        </p:nvSpPr>
        <p:spPr>
          <a:xfrm>
            <a:off x="6635515" y="-2033883"/>
            <a:ext cx="3739" cy="60936"/>
          </a:xfrm>
          <a:custGeom>
            <a:avLst/>
            <a:gdLst>
              <a:gd name="csX0" fmla="*/ 0 w 4113"/>
              <a:gd name="csY0" fmla="*/ 0 h 67029"/>
              <a:gd name="csX1" fmla="*/ 4113 w 4113"/>
              <a:gd name="csY1" fmla="*/ 4824 h 67029"/>
              <a:gd name="csX2" fmla="*/ 2662 w 4113"/>
              <a:gd name="csY2" fmla="*/ 67030 h 67029"/>
              <a:gd name="csX3" fmla="*/ 631 w 4113"/>
              <a:gd name="csY3" fmla="*/ 55883 h 67029"/>
              <a:gd name="csX4" fmla="*/ 0 w 4113"/>
              <a:gd name="csY4" fmla="*/ 0 h 6702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4113" h="67029">
                <a:moveTo>
                  <a:pt x="0" y="0"/>
                </a:moveTo>
                <a:cubicBezTo>
                  <a:pt x="1242" y="855"/>
                  <a:pt x="4111" y="2838"/>
                  <a:pt x="4113" y="4824"/>
                </a:cubicBezTo>
                <a:cubicBezTo>
                  <a:pt x="4135" y="25317"/>
                  <a:pt x="3695" y="45810"/>
                  <a:pt x="2662" y="67030"/>
                </a:cubicBezTo>
                <a:cubicBezTo>
                  <a:pt x="1483" y="63799"/>
                  <a:pt x="680" y="59846"/>
                  <a:pt x="631" y="55883"/>
                </a:cubicBezTo>
                <a:cubicBezTo>
                  <a:pt x="404" y="37633"/>
                  <a:pt x="388" y="19381"/>
                  <a:pt x="0" y="0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8" name="Free-form: Shape 57">
            <a:extLst>
              <a:ext uri="{FF2B5EF4-FFF2-40B4-BE49-F238E27FC236}">
                <a16:creationId xmlns:a16="http://schemas.microsoft.com/office/drawing/2014/main" id="{E4953D89-2C5B-5686-7F17-A53487D7A1BC}"/>
              </a:ext>
            </a:extLst>
          </p:cNvPr>
          <p:cNvSpPr/>
          <p:nvPr/>
        </p:nvSpPr>
        <p:spPr>
          <a:xfrm>
            <a:off x="7087904" y="-1306083"/>
            <a:ext cx="1060" cy="5803"/>
          </a:xfrm>
          <a:custGeom>
            <a:avLst/>
            <a:gdLst>
              <a:gd name="csX0" fmla="*/ 1130 w 1165"/>
              <a:gd name="csY0" fmla="*/ 6385 h 6384"/>
              <a:gd name="csX1" fmla="*/ 49 w 1165"/>
              <a:gd name="csY1" fmla="*/ 0 h 6384"/>
              <a:gd name="csX2" fmla="*/ 1130 w 1165"/>
              <a:gd name="csY2" fmla="*/ 6385 h 638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165" h="6384">
                <a:moveTo>
                  <a:pt x="1130" y="6385"/>
                </a:moveTo>
                <a:cubicBezTo>
                  <a:pt x="260" y="4748"/>
                  <a:pt x="-149" y="2599"/>
                  <a:pt x="49" y="0"/>
                </a:cubicBezTo>
                <a:cubicBezTo>
                  <a:pt x="969" y="1658"/>
                  <a:pt x="1279" y="3765"/>
                  <a:pt x="1130" y="6385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9" name="Free-form: Shape 58">
            <a:extLst>
              <a:ext uri="{FF2B5EF4-FFF2-40B4-BE49-F238E27FC236}">
                <a16:creationId xmlns:a16="http://schemas.microsoft.com/office/drawing/2014/main" id="{C7050FF2-DA3C-1675-30B0-08FAE31037E4}"/>
              </a:ext>
            </a:extLst>
          </p:cNvPr>
          <p:cNvSpPr/>
          <p:nvPr/>
        </p:nvSpPr>
        <p:spPr>
          <a:xfrm>
            <a:off x="7058175" y="-1380178"/>
            <a:ext cx="5440" cy="2491"/>
          </a:xfrm>
          <a:custGeom>
            <a:avLst/>
            <a:gdLst>
              <a:gd name="csX0" fmla="*/ 5985 w 5984"/>
              <a:gd name="csY0" fmla="*/ 1832 h 2740"/>
              <a:gd name="csX1" fmla="*/ 0 w 5984"/>
              <a:gd name="csY1" fmla="*/ 2740 h 2740"/>
              <a:gd name="csX2" fmla="*/ 4930 w 5984"/>
              <a:gd name="csY2" fmla="*/ 0 h 2740"/>
              <a:gd name="csX3" fmla="*/ 5985 w 5984"/>
              <a:gd name="csY3" fmla="*/ 1832 h 274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</a:cxnLst>
            <a:rect l="l" t="t" r="r" b="b"/>
            <a:pathLst>
              <a:path w="5984" h="2740">
                <a:moveTo>
                  <a:pt x="5985" y="1832"/>
                </a:moveTo>
                <a:cubicBezTo>
                  <a:pt x="3992" y="2553"/>
                  <a:pt x="1996" y="2646"/>
                  <a:pt x="0" y="2740"/>
                </a:cubicBezTo>
                <a:cubicBezTo>
                  <a:pt x="1398" y="1830"/>
                  <a:pt x="2796" y="920"/>
                  <a:pt x="4930" y="0"/>
                </a:cubicBezTo>
                <a:cubicBezTo>
                  <a:pt x="5772" y="394"/>
                  <a:pt x="5877" y="799"/>
                  <a:pt x="5985" y="1832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0" name="Free-form: Shape 59">
            <a:extLst>
              <a:ext uri="{FF2B5EF4-FFF2-40B4-BE49-F238E27FC236}">
                <a16:creationId xmlns:a16="http://schemas.microsoft.com/office/drawing/2014/main" id="{6D90514E-2A56-B9CC-5598-ECF7F04EE3DB}"/>
              </a:ext>
            </a:extLst>
          </p:cNvPr>
          <p:cNvSpPr/>
          <p:nvPr/>
        </p:nvSpPr>
        <p:spPr>
          <a:xfrm>
            <a:off x="6598288" y="-2128063"/>
            <a:ext cx="2645" cy="5625"/>
          </a:xfrm>
          <a:custGeom>
            <a:avLst/>
            <a:gdLst>
              <a:gd name="csX0" fmla="*/ 815 w 2910"/>
              <a:gd name="csY0" fmla="*/ 0 h 6187"/>
              <a:gd name="csX1" fmla="*/ 113 w 2910"/>
              <a:gd name="csY1" fmla="*/ 6187 h 6187"/>
              <a:gd name="csX2" fmla="*/ 815 w 2910"/>
              <a:gd name="csY2" fmla="*/ 0 h 618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2910" h="6187">
                <a:moveTo>
                  <a:pt x="815" y="0"/>
                </a:moveTo>
                <a:cubicBezTo>
                  <a:pt x="4660" y="1891"/>
                  <a:pt x="2480" y="3840"/>
                  <a:pt x="113" y="6187"/>
                </a:cubicBezTo>
                <a:cubicBezTo>
                  <a:pt x="-172" y="4565"/>
                  <a:pt x="89" y="2579"/>
                  <a:pt x="815" y="0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1" name="Free-form: Shape 60">
            <a:extLst>
              <a:ext uri="{FF2B5EF4-FFF2-40B4-BE49-F238E27FC236}">
                <a16:creationId xmlns:a16="http://schemas.microsoft.com/office/drawing/2014/main" id="{7B59C262-40FC-4BD3-E984-9F294FA186ED}"/>
              </a:ext>
            </a:extLst>
          </p:cNvPr>
          <p:cNvSpPr/>
          <p:nvPr/>
        </p:nvSpPr>
        <p:spPr>
          <a:xfrm>
            <a:off x="6632703" y="-1911489"/>
            <a:ext cx="770" cy="3664"/>
          </a:xfrm>
          <a:custGeom>
            <a:avLst/>
            <a:gdLst>
              <a:gd name="csX0" fmla="*/ 106 w 847"/>
              <a:gd name="csY0" fmla="*/ 0 h 4030"/>
              <a:gd name="csX1" fmla="*/ 732 w 847"/>
              <a:gd name="csY1" fmla="*/ 4031 h 4030"/>
              <a:gd name="csX2" fmla="*/ 106 w 847"/>
              <a:gd name="csY2" fmla="*/ 0 h 403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7" h="4030">
                <a:moveTo>
                  <a:pt x="106" y="0"/>
                </a:moveTo>
                <a:cubicBezTo>
                  <a:pt x="770" y="990"/>
                  <a:pt x="1013" y="2346"/>
                  <a:pt x="732" y="4031"/>
                </a:cubicBezTo>
                <a:cubicBezTo>
                  <a:pt x="34" y="3029"/>
                  <a:pt x="-141" y="1697"/>
                  <a:pt x="106" y="0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2" name="Free-form: Shape 61">
            <a:extLst>
              <a:ext uri="{FF2B5EF4-FFF2-40B4-BE49-F238E27FC236}">
                <a16:creationId xmlns:a16="http://schemas.microsoft.com/office/drawing/2014/main" id="{5EA2E5D8-0A5A-6305-135B-1313BDCF1F7E}"/>
              </a:ext>
            </a:extLst>
          </p:cNvPr>
          <p:cNvSpPr/>
          <p:nvPr/>
        </p:nvSpPr>
        <p:spPr>
          <a:xfrm>
            <a:off x="6628379" y="-1875695"/>
            <a:ext cx="703" cy="3631"/>
          </a:xfrm>
          <a:custGeom>
            <a:avLst/>
            <a:gdLst>
              <a:gd name="csX0" fmla="*/ 195 w 774"/>
              <a:gd name="csY0" fmla="*/ 0 h 3994"/>
              <a:gd name="csX1" fmla="*/ 575 w 774"/>
              <a:gd name="csY1" fmla="*/ 3994 h 3994"/>
              <a:gd name="csX2" fmla="*/ 195 w 774"/>
              <a:gd name="csY2" fmla="*/ 0 h 399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774" h="3994">
                <a:moveTo>
                  <a:pt x="195" y="0"/>
                </a:moveTo>
                <a:cubicBezTo>
                  <a:pt x="794" y="1011"/>
                  <a:pt x="941" y="2348"/>
                  <a:pt x="575" y="3994"/>
                </a:cubicBezTo>
                <a:cubicBezTo>
                  <a:pt x="-44" y="2978"/>
                  <a:pt x="-151" y="1652"/>
                  <a:pt x="195" y="0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3" name="Free-form: Shape 62">
            <a:extLst>
              <a:ext uri="{FF2B5EF4-FFF2-40B4-BE49-F238E27FC236}">
                <a16:creationId xmlns:a16="http://schemas.microsoft.com/office/drawing/2014/main" id="{1F3E79B9-CCFA-D5A6-1970-4D6D1AD87085}"/>
              </a:ext>
            </a:extLst>
          </p:cNvPr>
          <p:cNvSpPr/>
          <p:nvPr/>
        </p:nvSpPr>
        <p:spPr>
          <a:xfrm>
            <a:off x="6634956" y="-1938299"/>
            <a:ext cx="787" cy="3631"/>
          </a:xfrm>
          <a:custGeom>
            <a:avLst/>
            <a:gdLst>
              <a:gd name="csX0" fmla="*/ 71 w 865"/>
              <a:gd name="csY0" fmla="*/ 0 h 3995"/>
              <a:gd name="csX1" fmla="*/ 783 w 865"/>
              <a:gd name="csY1" fmla="*/ 3996 h 3995"/>
              <a:gd name="csX2" fmla="*/ 71 w 865"/>
              <a:gd name="csY2" fmla="*/ 0 h 399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65" h="3995">
                <a:moveTo>
                  <a:pt x="71" y="0"/>
                </a:moveTo>
                <a:cubicBezTo>
                  <a:pt x="740" y="963"/>
                  <a:pt x="1018" y="2311"/>
                  <a:pt x="783" y="3996"/>
                </a:cubicBezTo>
                <a:cubicBezTo>
                  <a:pt x="73" y="3017"/>
                  <a:pt x="-124" y="1701"/>
                  <a:pt x="71" y="0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4" name="Free-form: Shape 63">
            <a:extLst>
              <a:ext uri="{FF2B5EF4-FFF2-40B4-BE49-F238E27FC236}">
                <a16:creationId xmlns:a16="http://schemas.microsoft.com/office/drawing/2014/main" id="{D3A75660-A4F0-F43E-2C3D-1EB6336DFF1E}"/>
              </a:ext>
            </a:extLst>
          </p:cNvPr>
          <p:cNvSpPr/>
          <p:nvPr/>
        </p:nvSpPr>
        <p:spPr>
          <a:xfrm>
            <a:off x="6753260" y="-2034273"/>
            <a:ext cx="170236" cy="426821"/>
          </a:xfrm>
          <a:custGeom>
            <a:avLst/>
            <a:gdLst>
              <a:gd name="csX0" fmla="*/ 120604 w 187260"/>
              <a:gd name="csY0" fmla="*/ 222968 h 469503"/>
              <a:gd name="csX1" fmla="*/ 187261 w 187260"/>
              <a:gd name="csY1" fmla="*/ 469503 h 469503"/>
              <a:gd name="csX2" fmla="*/ 1253 w 187260"/>
              <a:gd name="csY2" fmla="*/ 466078 h 469503"/>
              <a:gd name="csX3" fmla="*/ 8 w 187260"/>
              <a:gd name="csY3" fmla="*/ 458101 h 469503"/>
              <a:gd name="csX4" fmla="*/ 4383 w 187260"/>
              <a:gd name="csY4" fmla="*/ 351443 h 469503"/>
              <a:gd name="csX5" fmla="*/ 4615 w 187260"/>
              <a:gd name="csY5" fmla="*/ 346536 h 469503"/>
              <a:gd name="csX6" fmla="*/ 7935 w 187260"/>
              <a:gd name="csY6" fmla="*/ 233648 h 469503"/>
              <a:gd name="csX7" fmla="*/ 10461 w 187260"/>
              <a:gd name="csY7" fmla="*/ 128112 h 469503"/>
              <a:gd name="csX8" fmla="*/ 12461 w 187260"/>
              <a:gd name="csY8" fmla="*/ 12750 h 469503"/>
              <a:gd name="csX9" fmla="*/ 13165 w 187260"/>
              <a:gd name="csY9" fmla="*/ 4285 h 469503"/>
              <a:gd name="csX10" fmla="*/ 102327 w 187260"/>
              <a:gd name="csY10" fmla="*/ 0 h 469503"/>
              <a:gd name="csX11" fmla="*/ 106229 w 187260"/>
              <a:gd name="csY11" fmla="*/ 111321 h 469503"/>
              <a:gd name="csX12" fmla="*/ 120604 w 187260"/>
              <a:gd name="csY12" fmla="*/ 222968 h 46950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</a:cxnLst>
            <a:rect l="l" t="t" r="r" b="b"/>
            <a:pathLst>
              <a:path w="187260" h="469503">
                <a:moveTo>
                  <a:pt x="120604" y="222968"/>
                </a:moveTo>
                <a:cubicBezTo>
                  <a:pt x="135383" y="307129"/>
                  <a:pt x="159464" y="387725"/>
                  <a:pt x="187261" y="469503"/>
                </a:cubicBezTo>
                <a:cubicBezTo>
                  <a:pt x="124460" y="468347"/>
                  <a:pt x="63286" y="467220"/>
                  <a:pt x="1253" y="466078"/>
                </a:cubicBezTo>
                <a:cubicBezTo>
                  <a:pt x="818" y="463442"/>
                  <a:pt x="-95" y="460752"/>
                  <a:pt x="8" y="458101"/>
                </a:cubicBezTo>
                <a:cubicBezTo>
                  <a:pt x="1383" y="422545"/>
                  <a:pt x="2900" y="386994"/>
                  <a:pt x="4383" y="351443"/>
                </a:cubicBezTo>
                <a:cubicBezTo>
                  <a:pt x="4451" y="349807"/>
                  <a:pt x="4566" y="348172"/>
                  <a:pt x="4615" y="346536"/>
                </a:cubicBezTo>
                <a:cubicBezTo>
                  <a:pt x="5732" y="308907"/>
                  <a:pt x="6921" y="271280"/>
                  <a:pt x="7935" y="233648"/>
                </a:cubicBezTo>
                <a:cubicBezTo>
                  <a:pt x="8883" y="198472"/>
                  <a:pt x="9752" y="163293"/>
                  <a:pt x="10461" y="128112"/>
                </a:cubicBezTo>
                <a:cubicBezTo>
                  <a:pt x="11237" y="89660"/>
                  <a:pt x="11781" y="51204"/>
                  <a:pt x="12461" y="12750"/>
                </a:cubicBezTo>
                <a:cubicBezTo>
                  <a:pt x="12503" y="10363"/>
                  <a:pt x="12848" y="7981"/>
                  <a:pt x="13165" y="4285"/>
                </a:cubicBezTo>
                <a:cubicBezTo>
                  <a:pt x="42856" y="2858"/>
                  <a:pt x="72082" y="1454"/>
                  <a:pt x="102327" y="0"/>
                </a:cubicBezTo>
                <a:cubicBezTo>
                  <a:pt x="103499" y="37348"/>
                  <a:pt x="103207" y="74470"/>
                  <a:pt x="106229" y="111321"/>
                </a:cubicBezTo>
                <a:cubicBezTo>
                  <a:pt x="109263" y="148326"/>
                  <a:pt x="115599" y="185060"/>
                  <a:pt x="120604" y="222968"/>
                </a:cubicBezTo>
                <a:close/>
              </a:path>
            </a:pathLst>
          </a:custGeom>
          <a:solidFill>
            <a:schemeClr val="bg1"/>
          </a:solidFill>
          <a:ln w="19050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5" name="Free-form: Shape 64">
            <a:extLst>
              <a:ext uri="{FF2B5EF4-FFF2-40B4-BE49-F238E27FC236}">
                <a16:creationId xmlns:a16="http://schemas.microsoft.com/office/drawing/2014/main" id="{E2231C51-5B0E-625F-7487-14F61D2882BA}"/>
              </a:ext>
            </a:extLst>
          </p:cNvPr>
          <p:cNvSpPr/>
          <p:nvPr/>
        </p:nvSpPr>
        <p:spPr>
          <a:xfrm>
            <a:off x="6752067" y="-1567521"/>
            <a:ext cx="284824" cy="179974"/>
          </a:xfrm>
          <a:custGeom>
            <a:avLst/>
            <a:gdLst>
              <a:gd name="csX0" fmla="*/ 160234 w 313306"/>
              <a:gd name="csY0" fmla="*/ 197876 h 197971"/>
              <a:gd name="csX1" fmla="*/ 544 w 313306"/>
              <a:gd name="csY1" fmla="*/ 197972 h 197971"/>
              <a:gd name="csX2" fmla="*/ 3466 w 313306"/>
              <a:gd name="csY2" fmla="*/ 104326 h 197971"/>
              <a:gd name="csX3" fmla="*/ 0 w 313306"/>
              <a:gd name="csY3" fmla="*/ 10720 h 197971"/>
              <a:gd name="csX4" fmla="*/ 5445 w 313306"/>
              <a:gd name="csY4" fmla="*/ 9282 h 197971"/>
              <a:gd name="csX5" fmla="*/ 71623 w 313306"/>
              <a:gd name="csY5" fmla="*/ 6885 h 197971"/>
              <a:gd name="csX6" fmla="*/ 187887 w 313306"/>
              <a:gd name="csY6" fmla="*/ 233 h 197971"/>
              <a:gd name="csX7" fmla="*/ 215297 w 313306"/>
              <a:gd name="csY7" fmla="*/ 163 h 197971"/>
              <a:gd name="csX8" fmla="*/ 243629 w 313306"/>
              <a:gd name="csY8" fmla="*/ 61389 h 197971"/>
              <a:gd name="csX9" fmla="*/ 270660 w 313306"/>
              <a:gd name="csY9" fmla="*/ 86342 h 197971"/>
              <a:gd name="csX10" fmla="*/ 313142 w 313306"/>
              <a:gd name="csY10" fmla="*/ 170098 h 197971"/>
              <a:gd name="csX11" fmla="*/ 313291 w 313306"/>
              <a:gd name="csY11" fmla="*/ 176231 h 197971"/>
              <a:gd name="csX12" fmla="*/ 312654 w 313306"/>
              <a:gd name="csY12" fmla="*/ 180738 h 197971"/>
              <a:gd name="csX13" fmla="*/ 279655 w 313306"/>
              <a:gd name="csY13" fmla="*/ 186226 h 197971"/>
              <a:gd name="csX14" fmla="*/ 167436 w 313306"/>
              <a:gd name="csY14" fmla="*/ 196805 h 197971"/>
              <a:gd name="csX15" fmla="*/ 160234 w 313306"/>
              <a:gd name="csY15" fmla="*/ 197876 h 19797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</a:cxnLst>
            <a:rect l="l" t="t" r="r" b="b"/>
            <a:pathLst>
              <a:path w="313306" h="197971">
                <a:moveTo>
                  <a:pt x="160234" y="197876"/>
                </a:moveTo>
                <a:cubicBezTo>
                  <a:pt x="106384" y="197972"/>
                  <a:pt x="53682" y="197972"/>
                  <a:pt x="544" y="197972"/>
                </a:cubicBezTo>
                <a:cubicBezTo>
                  <a:pt x="1602" y="166763"/>
                  <a:pt x="3550" y="135542"/>
                  <a:pt x="3466" y="104326"/>
                </a:cubicBezTo>
                <a:cubicBezTo>
                  <a:pt x="3383" y="73323"/>
                  <a:pt x="1255" y="42326"/>
                  <a:pt x="0" y="10720"/>
                </a:cubicBezTo>
                <a:cubicBezTo>
                  <a:pt x="1689" y="10255"/>
                  <a:pt x="3551" y="9355"/>
                  <a:pt x="5445" y="9282"/>
                </a:cubicBezTo>
                <a:cubicBezTo>
                  <a:pt x="27503" y="8435"/>
                  <a:pt x="49582" y="8030"/>
                  <a:pt x="71623" y="6885"/>
                </a:cubicBezTo>
                <a:cubicBezTo>
                  <a:pt x="110388" y="4872"/>
                  <a:pt x="149126" y="2333"/>
                  <a:pt x="187887" y="233"/>
                </a:cubicBezTo>
                <a:cubicBezTo>
                  <a:pt x="196749" y="-247"/>
                  <a:pt x="205660" y="163"/>
                  <a:pt x="215297" y="163"/>
                </a:cubicBezTo>
                <a:cubicBezTo>
                  <a:pt x="215450" y="25550"/>
                  <a:pt x="226120" y="45122"/>
                  <a:pt x="243629" y="61389"/>
                </a:cubicBezTo>
                <a:cubicBezTo>
                  <a:pt x="252615" y="69739"/>
                  <a:pt x="261099" y="78715"/>
                  <a:pt x="270660" y="86342"/>
                </a:cubicBezTo>
                <a:cubicBezTo>
                  <a:pt x="297676" y="107892"/>
                  <a:pt x="310731" y="136225"/>
                  <a:pt x="313142" y="170098"/>
                </a:cubicBezTo>
                <a:cubicBezTo>
                  <a:pt x="313287" y="172136"/>
                  <a:pt x="313335" y="174188"/>
                  <a:pt x="313291" y="176231"/>
                </a:cubicBezTo>
                <a:cubicBezTo>
                  <a:pt x="313265" y="177429"/>
                  <a:pt x="312966" y="178621"/>
                  <a:pt x="312654" y="180738"/>
                </a:cubicBezTo>
                <a:cubicBezTo>
                  <a:pt x="302343" y="185396"/>
                  <a:pt x="290736" y="185049"/>
                  <a:pt x="279655" y="186226"/>
                </a:cubicBezTo>
                <a:cubicBezTo>
                  <a:pt x="242295" y="190193"/>
                  <a:pt x="204847" y="193324"/>
                  <a:pt x="167436" y="196805"/>
                </a:cubicBezTo>
                <a:cubicBezTo>
                  <a:pt x="165405" y="196994"/>
                  <a:pt x="163399" y="197449"/>
                  <a:pt x="160234" y="197876"/>
                </a:cubicBezTo>
                <a:close/>
              </a:path>
            </a:pathLst>
          </a:custGeom>
          <a:solidFill>
            <a:schemeClr val="bg1"/>
          </a:solidFill>
          <a:ln w="38100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6" name="Free-form: Shape 65">
            <a:extLst>
              <a:ext uri="{FF2B5EF4-FFF2-40B4-BE49-F238E27FC236}">
                <a16:creationId xmlns:a16="http://schemas.microsoft.com/office/drawing/2014/main" id="{DC1A44DA-40D5-B474-EB2F-B09720469877}"/>
              </a:ext>
            </a:extLst>
          </p:cNvPr>
          <p:cNvSpPr/>
          <p:nvPr/>
        </p:nvSpPr>
        <p:spPr>
          <a:xfrm>
            <a:off x="6762810" y="-2584105"/>
            <a:ext cx="149260" cy="361842"/>
          </a:xfrm>
          <a:custGeom>
            <a:avLst/>
            <a:gdLst>
              <a:gd name="csX0" fmla="*/ 22609 w 164186"/>
              <a:gd name="csY0" fmla="*/ 398026 h 398026"/>
              <a:gd name="csX1" fmla="*/ 16884 w 164186"/>
              <a:gd name="csY1" fmla="*/ 390515 h 398026"/>
              <a:gd name="csX2" fmla="*/ 9661 w 164186"/>
              <a:gd name="csY2" fmla="*/ 328443 h 398026"/>
              <a:gd name="csX3" fmla="*/ 534 w 164186"/>
              <a:gd name="csY3" fmla="*/ 196369 h 398026"/>
              <a:gd name="csX4" fmla="*/ 1243 w 164186"/>
              <a:gd name="csY4" fmla="*/ 82293 h 398026"/>
              <a:gd name="csX5" fmla="*/ 2245 w 164186"/>
              <a:gd name="csY5" fmla="*/ 43023 h 398026"/>
              <a:gd name="csX6" fmla="*/ 4587 w 164186"/>
              <a:gd name="csY6" fmla="*/ 0 h 398026"/>
              <a:gd name="csX7" fmla="*/ 12341 w 164186"/>
              <a:gd name="csY7" fmla="*/ 3872 h 398026"/>
              <a:gd name="csX8" fmla="*/ 85914 w 164186"/>
              <a:gd name="csY8" fmla="*/ 78943 h 398026"/>
              <a:gd name="csX9" fmla="*/ 87893 w 164186"/>
              <a:gd name="csY9" fmla="*/ 99117 h 398026"/>
              <a:gd name="csX10" fmla="*/ 35459 w 164186"/>
              <a:gd name="csY10" fmla="*/ 207346 h 398026"/>
              <a:gd name="csX11" fmla="*/ 32223 w 164186"/>
              <a:gd name="csY11" fmla="*/ 213959 h 398026"/>
              <a:gd name="csX12" fmla="*/ 39509 w 164186"/>
              <a:gd name="csY12" fmla="*/ 242056 h 398026"/>
              <a:gd name="csX13" fmla="*/ 69474 w 164186"/>
              <a:gd name="csY13" fmla="*/ 237019 h 398026"/>
              <a:gd name="csX14" fmla="*/ 89101 w 164186"/>
              <a:gd name="csY14" fmla="*/ 208870 h 398026"/>
              <a:gd name="csX15" fmla="*/ 121716 w 164186"/>
              <a:gd name="csY15" fmla="*/ 158357 h 398026"/>
              <a:gd name="csX16" fmla="*/ 129330 w 164186"/>
              <a:gd name="csY16" fmla="*/ 148165 h 398026"/>
              <a:gd name="csX17" fmla="*/ 137171 w 164186"/>
              <a:gd name="csY17" fmla="*/ 159989 h 398026"/>
              <a:gd name="csX18" fmla="*/ 163812 w 164186"/>
              <a:gd name="csY18" fmla="*/ 273175 h 398026"/>
              <a:gd name="csX19" fmla="*/ 118151 w 164186"/>
              <a:gd name="csY19" fmla="*/ 383442 h 398026"/>
              <a:gd name="csX20" fmla="*/ 92325 w 164186"/>
              <a:gd name="csY20" fmla="*/ 395173 h 398026"/>
              <a:gd name="csX21" fmla="*/ 22609 w 164186"/>
              <a:gd name="csY21" fmla="*/ 398026 h 39802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</a:cxnLst>
            <a:rect l="l" t="t" r="r" b="b"/>
            <a:pathLst>
              <a:path w="164186" h="398026">
                <a:moveTo>
                  <a:pt x="22609" y="398026"/>
                </a:moveTo>
                <a:cubicBezTo>
                  <a:pt x="19898" y="395489"/>
                  <a:pt x="17229" y="393154"/>
                  <a:pt x="16884" y="390515"/>
                </a:cubicBezTo>
                <a:cubicBezTo>
                  <a:pt x="14183" y="369861"/>
                  <a:pt x="11326" y="349196"/>
                  <a:pt x="9661" y="328443"/>
                </a:cubicBezTo>
                <a:cubicBezTo>
                  <a:pt x="6132" y="284452"/>
                  <a:pt x="2125" y="240448"/>
                  <a:pt x="534" y="196369"/>
                </a:cubicBezTo>
                <a:cubicBezTo>
                  <a:pt x="-837" y="158401"/>
                  <a:pt x="816" y="120322"/>
                  <a:pt x="1243" y="82293"/>
                </a:cubicBezTo>
                <a:cubicBezTo>
                  <a:pt x="1389" y="69201"/>
                  <a:pt x="1708" y="56105"/>
                  <a:pt x="2245" y="43023"/>
                </a:cubicBezTo>
                <a:cubicBezTo>
                  <a:pt x="2815" y="29160"/>
                  <a:pt x="3738" y="15312"/>
                  <a:pt x="4587" y="0"/>
                </a:cubicBezTo>
                <a:cubicBezTo>
                  <a:pt x="7809" y="1586"/>
                  <a:pt x="10279" y="2436"/>
                  <a:pt x="12341" y="3872"/>
                </a:cubicBezTo>
                <a:cubicBezTo>
                  <a:pt x="41601" y="24248"/>
                  <a:pt x="64069" y="51269"/>
                  <a:pt x="85914" y="78943"/>
                </a:cubicBezTo>
                <a:cubicBezTo>
                  <a:pt x="91106" y="85520"/>
                  <a:pt x="91706" y="91406"/>
                  <a:pt x="87893" y="99117"/>
                </a:cubicBezTo>
                <a:cubicBezTo>
                  <a:pt x="70127" y="135051"/>
                  <a:pt x="52890" y="171246"/>
                  <a:pt x="35459" y="207346"/>
                </a:cubicBezTo>
                <a:cubicBezTo>
                  <a:pt x="34391" y="209557"/>
                  <a:pt x="33130" y="211686"/>
                  <a:pt x="32223" y="213959"/>
                </a:cubicBezTo>
                <a:cubicBezTo>
                  <a:pt x="27471" y="225873"/>
                  <a:pt x="30154" y="236086"/>
                  <a:pt x="39509" y="242056"/>
                </a:cubicBezTo>
                <a:cubicBezTo>
                  <a:pt x="48880" y="248038"/>
                  <a:pt x="61705" y="246477"/>
                  <a:pt x="69474" y="237019"/>
                </a:cubicBezTo>
                <a:cubicBezTo>
                  <a:pt x="76712" y="228205"/>
                  <a:pt x="82824" y="218436"/>
                  <a:pt x="89101" y="208870"/>
                </a:cubicBezTo>
                <a:cubicBezTo>
                  <a:pt x="100096" y="192114"/>
                  <a:pt x="110806" y="175170"/>
                  <a:pt x="121716" y="158357"/>
                </a:cubicBezTo>
                <a:cubicBezTo>
                  <a:pt x="123679" y="155333"/>
                  <a:pt x="126029" y="152559"/>
                  <a:pt x="129330" y="148165"/>
                </a:cubicBezTo>
                <a:cubicBezTo>
                  <a:pt x="132450" y="152828"/>
                  <a:pt x="135175" y="156216"/>
                  <a:pt x="137171" y="159989"/>
                </a:cubicBezTo>
                <a:cubicBezTo>
                  <a:pt x="155891" y="195388"/>
                  <a:pt x="166343" y="232905"/>
                  <a:pt x="163812" y="273175"/>
                </a:cubicBezTo>
                <a:cubicBezTo>
                  <a:pt x="161183" y="314982"/>
                  <a:pt x="144984" y="351430"/>
                  <a:pt x="118151" y="383442"/>
                </a:cubicBezTo>
                <a:cubicBezTo>
                  <a:pt x="111214" y="391718"/>
                  <a:pt x="102452" y="394716"/>
                  <a:pt x="92325" y="395173"/>
                </a:cubicBezTo>
                <a:cubicBezTo>
                  <a:pt x="69461" y="396207"/>
                  <a:pt x="46593" y="397123"/>
                  <a:pt x="22609" y="398026"/>
                </a:cubicBezTo>
                <a:close/>
              </a:path>
            </a:pathLst>
          </a:custGeom>
          <a:solidFill>
            <a:schemeClr val="bg1"/>
          </a:solidFill>
          <a:ln w="38100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7" name="Free-form: Shape 66">
            <a:extLst>
              <a:ext uri="{FF2B5EF4-FFF2-40B4-BE49-F238E27FC236}">
                <a16:creationId xmlns:a16="http://schemas.microsoft.com/office/drawing/2014/main" id="{14BE2BB6-ADC4-A0B3-B727-0B1B3F1713B9}"/>
              </a:ext>
            </a:extLst>
          </p:cNvPr>
          <p:cNvSpPr/>
          <p:nvPr/>
        </p:nvSpPr>
        <p:spPr>
          <a:xfrm>
            <a:off x="6748703" y="-1358314"/>
            <a:ext cx="305850" cy="64961"/>
          </a:xfrm>
          <a:custGeom>
            <a:avLst/>
            <a:gdLst>
              <a:gd name="csX0" fmla="*/ 105937 w 336434"/>
              <a:gd name="csY0" fmla="*/ 71458 h 71457"/>
              <a:gd name="csX1" fmla="*/ 3534 w 336434"/>
              <a:gd name="csY1" fmla="*/ 69115 h 71457"/>
              <a:gd name="csX2" fmla="*/ 1296 w 336434"/>
              <a:gd name="csY2" fmla="*/ 17910 h 71457"/>
              <a:gd name="csX3" fmla="*/ 14032 w 336434"/>
              <a:gd name="csY3" fmla="*/ 17908 h 71457"/>
              <a:gd name="csX4" fmla="*/ 102444 w 336434"/>
              <a:gd name="csY4" fmla="*/ 17433 h 71457"/>
              <a:gd name="csX5" fmla="*/ 284561 w 336434"/>
              <a:gd name="csY5" fmla="*/ 3564 h 71457"/>
              <a:gd name="csX6" fmla="*/ 311323 w 336434"/>
              <a:gd name="csY6" fmla="*/ 224 h 71457"/>
              <a:gd name="csX7" fmla="*/ 324313 w 336434"/>
              <a:gd name="csY7" fmla="*/ 6639 h 71457"/>
              <a:gd name="csX8" fmla="*/ 336434 w 336434"/>
              <a:gd name="csY8" fmla="*/ 46484 h 71457"/>
              <a:gd name="csX9" fmla="*/ 105937 w 336434"/>
              <a:gd name="csY9" fmla="*/ 71458 h 7145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336434" h="71457">
                <a:moveTo>
                  <a:pt x="105937" y="71458"/>
                </a:moveTo>
                <a:cubicBezTo>
                  <a:pt x="70820" y="70678"/>
                  <a:pt x="36930" y="69891"/>
                  <a:pt x="3534" y="69115"/>
                </a:cubicBezTo>
                <a:cubicBezTo>
                  <a:pt x="-81" y="59433"/>
                  <a:pt x="-1094" y="35337"/>
                  <a:pt x="1296" y="17910"/>
                </a:cubicBezTo>
                <a:cubicBezTo>
                  <a:pt x="5366" y="17910"/>
                  <a:pt x="9699" y="17923"/>
                  <a:pt x="14032" y="17908"/>
                </a:cubicBezTo>
                <a:cubicBezTo>
                  <a:pt x="43505" y="17812"/>
                  <a:pt x="73011" y="18557"/>
                  <a:pt x="102444" y="17433"/>
                </a:cubicBezTo>
                <a:cubicBezTo>
                  <a:pt x="163306" y="15109"/>
                  <a:pt x="224166" y="12264"/>
                  <a:pt x="284561" y="3564"/>
                </a:cubicBezTo>
                <a:cubicBezTo>
                  <a:pt x="293458" y="2283"/>
                  <a:pt x="302438" y="1575"/>
                  <a:pt x="311323" y="224"/>
                </a:cubicBezTo>
                <a:cubicBezTo>
                  <a:pt x="317371" y="-696"/>
                  <a:pt x="321247" y="1177"/>
                  <a:pt x="324313" y="6639"/>
                </a:cubicBezTo>
                <a:cubicBezTo>
                  <a:pt x="330512" y="17683"/>
                  <a:pt x="335236" y="31679"/>
                  <a:pt x="336434" y="46484"/>
                </a:cubicBezTo>
                <a:cubicBezTo>
                  <a:pt x="261124" y="64059"/>
                  <a:pt x="184356" y="69587"/>
                  <a:pt x="105937" y="71458"/>
                </a:cubicBezTo>
                <a:close/>
              </a:path>
            </a:pathLst>
          </a:custGeom>
          <a:solidFill>
            <a:schemeClr val="bg1"/>
          </a:solidFill>
          <a:ln w="38100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8" name="Free-form: Shape 67">
            <a:extLst>
              <a:ext uri="{FF2B5EF4-FFF2-40B4-BE49-F238E27FC236}">
                <a16:creationId xmlns:a16="http://schemas.microsoft.com/office/drawing/2014/main" id="{FA127D96-9E56-E103-F03F-ABD76A939879}"/>
              </a:ext>
            </a:extLst>
          </p:cNvPr>
          <p:cNvSpPr/>
          <p:nvPr/>
        </p:nvSpPr>
        <p:spPr>
          <a:xfrm>
            <a:off x="6762260" y="-2189038"/>
            <a:ext cx="120683" cy="63097"/>
          </a:xfrm>
          <a:custGeom>
            <a:avLst/>
            <a:gdLst>
              <a:gd name="csX0" fmla="*/ 5051 w 132751"/>
              <a:gd name="csY0" fmla="*/ 7534 h 69406"/>
              <a:gd name="csX1" fmla="*/ 10615 w 132751"/>
              <a:gd name="csY1" fmla="*/ 3077 h 69406"/>
              <a:gd name="csX2" fmla="*/ 26541 w 132751"/>
              <a:gd name="csY2" fmla="*/ 2752 h 69406"/>
              <a:gd name="csX3" fmla="*/ 87728 w 132751"/>
              <a:gd name="csY3" fmla="*/ 89 h 69406"/>
              <a:gd name="csX4" fmla="*/ 101400 w 132751"/>
              <a:gd name="csY4" fmla="*/ 62 h 69406"/>
              <a:gd name="csX5" fmla="*/ 102924 w 132751"/>
              <a:gd name="csY5" fmla="*/ 4800 h 69406"/>
              <a:gd name="csX6" fmla="*/ 121469 w 132751"/>
              <a:gd name="csY6" fmla="*/ 43062 h 69406"/>
              <a:gd name="csX7" fmla="*/ 132751 w 132751"/>
              <a:gd name="csY7" fmla="*/ 65240 h 69406"/>
              <a:gd name="csX8" fmla="*/ 0 w 132751"/>
              <a:gd name="csY8" fmla="*/ 69406 h 69406"/>
              <a:gd name="csX9" fmla="*/ 5051 w 132751"/>
              <a:gd name="csY9" fmla="*/ 7534 h 6940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132751" h="69406">
                <a:moveTo>
                  <a:pt x="5051" y="7534"/>
                </a:moveTo>
                <a:cubicBezTo>
                  <a:pt x="6880" y="5272"/>
                  <a:pt x="8659" y="3268"/>
                  <a:pt x="10615" y="3077"/>
                </a:cubicBezTo>
                <a:cubicBezTo>
                  <a:pt x="15884" y="2564"/>
                  <a:pt x="21234" y="2972"/>
                  <a:pt x="26541" y="2752"/>
                </a:cubicBezTo>
                <a:cubicBezTo>
                  <a:pt x="46938" y="1911"/>
                  <a:pt x="67330" y="933"/>
                  <a:pt x="87728" y="89"/>
                </a:cubicBezTo>
                <a:cubicBezTo>
                  <a:pt x="92161" y="-94"/>
                  <a:pt x="96609" y="62"/>
                  <a:pt x="101400" y="62"/>
                </a:cubicBezTo>
                <a:cubicBezTo>
                  <a:pt x="101991" y="1827"/>
                  <a:pt x="102885" y="3302"/>
                  <a:pt x="102924" y="4800"/>
                </a:cubicBezTo>
                <a:cubicBezTo>
                  <a:pt x="103334" y="20376"/>
                  <a:pt x="108815" y="33165"/>
                  <a:pt x="121469" y="43062"/>
                </a:cubicBezTo>
                <a:cubicBezTo>
                  <a:pt x="127809" y="48021"/>
                  <a:pt x="132509" y="54869"/>
                  <a:pt x="132751" y="65240"/>
                </a:cubicBezTo>
                <a:cubicBezTo>
                  <a:pt x="88663" y="66624"/>
                  <a:pt x="45259" y="67986"/>
                  <a:pt x="0" y="69406"/>
                </a:cubicBezTo>
                <a:cubicBezTo>
                  <a:pt x="6474" y="48167"/>
                  <a:pt x="10658" y="28665"/>
                  <a:pt x="5051" y="7534"/>
                </a:cubicBezTo>
                <a:close/>
              </a:path>
            </a:pathLst>
          </a:custGeom>
          <a:solidFill>
            <a:schemeClr val="bg1"/>
          </a:solidFill>
          <a:ln w="38100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9" name="Free-form: Shape 68">
            <a:extLst>
              <a:ext uri="{FF2B5EF4-FFF2-40B4-BE49-F238E27FC236}">
                <a16:creationId xmlns:a16="http://schemas.microsoft.com/office/drawing/2014/main" id="{7B75DA5C-68EC-1E8E-B72A-0E73446B3CED}"/>
              </a:ext>
            </a:extLst>
          </p:cNvPr>
          <p:cNvSpPr/>
          <p:nvPr/>
        </p:nvSpPr>
        <p:spPr>
          <a:xfrm>
            <a:off x="6771897" y="-2099424"/>
            <a:ext cx="150878" cy="35402"/>
          </a:xfrm>
          <a:custGeom>
            <a:avLst/>
            <a:gdLst>
              <a:gd name="csX0" fmla="*/ 80894 w 165965"/>
              <a:gd name="csY0" fmla="*/ 440 h 38942"/>
              <a:gd name="csX1" fmla="*/ 128629 w 165965"/>
              <a:gd name="csY1" fmla="*/ 5 h 38942"/>
              <a:gd name="csX2" fmla="*/ 155177 w 165965"/>
              <a:gd name="csY2" fmla="*/ 8091 h 38942"/>
              <a:gd name="csX3" fmla="*/ 164213 w 165965"/>
              <a:gd name="csY3" fmla="*/ 17723 h 38942"/>
              <a:gd name="csX4" fmla="*/ 159998 w 165965"/>
              <a:gd name="csY4" fmla="*/ 30717 h 38942"/>
              <a:gd name="csX5" fmla="*/ 146998 w 165965"/>
              <a:gd name="csY5" fmla="*/ 33737 h 38942"/>
              <a:gd name="csX6" fmla="*/ 12439 w 165965"/>
              <a:gd name="csY6" fmla="*/ 38914 h 38942"/>
              <a:gd name="csX7" fmla="*/ 0 w 165965"/>
              <a:gd name="csY7" fmla="*/ 38402 h 38942"/>
              <a:gd name="csX8" fmla="*/ 0 w 165965"/>
              <a:gd name="csY8" fmla="*/ 4598 h 38942"/>
              <a:gd name="csX9" fmla="*/ 80894 w 165965"/>
              <a:gd name="csY9" fmla="*/ 440 h 3894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165965" h="38942">
                <a:moveTo>
                  <a:pt x="80894" y="440"/>
                </a:moveTo>
                <a:cubicBezTo>
                  <a:pt x="97591" y="288"/>
                  <a:pt x="113111" y="227"/>
                  <a:pt x="128629" y="5"/>
                </a:cubicBezTo>
                <a:cubicBezTo>
                  <a:pt x="138376" y="-135"/>
                  <a:pt x="147226" y="2891"/>
                  <a:pt x="155177" y="8091"/>
                </a:cubicBezTo>
                <a:cubicBezTo>
                  <a:pt x="158779" y="10447"/>
                  <a:pt x="161992" y="14009"/>
                  <a:pt x="164213" y="17723"/>
                </a:cubicBezTo>
                <a:cubicBezTo>
                  <a:pt x="167602" y="23390"/>
                  <a:pt x="166013" y="28134"/>
                  <a:pt x="159998" y="30717"/>
                </a:cubicBezTo>
                <a:cubicBezTo>
                  <a:pt x="155963" y="32450"/>
                  <a:pt x="151384" y="33554"/>
                  <a:pt x="146998" y="33737"/>
                </a:cubicBezTo>
                <a:cubicBezTo>
                  <a:pt x="102152" y="35619"/>
                  <a:pt x="57295" y="37279"/>
                  <a:pt x="12439" y="38914"/>
                </a:cubicBezTo>
                <a:cubicBezTo>
                  <a:pt x="8467" y="39059"/>
                  <a:pt x="4472" y="38602"/>
                  <a:pt x="0" y="38402"/>
                </a:cubicBezTo>
                <a:cubicBezTo>
                  <a:pt x="0" y="27166"/>
                  <a:pt x="0" y="16774"/>
                  <a:pt x="0" y="4598"/>
                </a:cubicBezTo>
                <a:cubicBezTo>
                  <a:pt x="27063" y="3194"/>
                  <a:pt x="53389" y="1829"/>
                  <a:pt x="80894" y="440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00D90517-1B46-1575-1983-BF06757C77FE}"/>
              </a:ext>
            </a:extLst>
          </p:cNvPr>
          <p:cNvCxnSpPr>
            <a:cxnSpLocks/>
          </p:cNvCxnSpPr>
          <p:nvPr/>
        </p:nvCxnSpPr>
        <p:spPr>
          <a:xfrm>
            <a:off x="577415" y="1407009"/>
            <a:ext cx="10907449" cy="0"/>
          </a:xfrm>
          <a:prstGeom prst="line">
            <a:avLst/>
          </a:prstGeom>
          <a:ln w="285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1B70BBDA-9F53-C3A3-357E-220D54749B2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70645" y="6291951"/>
            <a:ext cx="10440000" cy="428000"/>
          </a:xfrm>
        </p:spPr>
        <p:txBody>
          <a:bodyPr/>
          <a:lstStyle/>
          <a:p>
            <a:r>
              <a:rPr lang="en-GB"/>
              <a:t>3L, third line; 4L, fourth line; axi-cel, axicabtagene ciloleucel; CAR-T, chimeric antigen receptor T-cell therapy; CR, complete response; CRS, cytokine release syndrome; Gr, grade; ICANS, immune effector cell-associated neurotoxicity syndrome; PR, partial response; R-Pola, rituximab plus polatuzumab vedotin.</a:t>
            </a:r>
          </a:p>
          <a:p>
            <a:r>
              <a:rPr lang="en-GB"/>
              <a:t>Patient case provided by Prof. Enrico </a:t>
            </a:r>
            <a:r>
              <a:rPr lang="en-GB" err="1"/>
              <a:t>Derenzini</a:t>
            </a:r>
            <a:r>
              <a:rPr lang="en-GB"/>
              <a:t>.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915ABF43-9711-B3FC-23CC-C1C214E773C2}"/>
              </a:ext>
            </a:extLst>
          </p:cNvPr>
          <p:cNvSpPr txBox="1">
            <a:spLocks/>
          </p:cNvSpPr>
          <p:nvPr/>
        </p:nvSpPr>
        <p:spPr>
          <a:xfrm>
            <a:off x="469900" y="311150"/>
            <a:ext cx="10317269" cy="503987"/>
          </a:xfrm>
          <a:prstGeom prst="rect">
            <a:avLst/>
          </a:prstGeom>
        </p:spPr>
        <p:txBody>
          <a:bodyPr vert="horz" lIns="90000" tIns="46800" rIns="90000" bIns="4680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400" b="0" i="0" kern="1200">
                <a:solidFill>
                  <a:schemeClr val="tx2"/>
                </a:solidFill>
                <a:latin typeface="Aptos" panose="020B000402020202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0B0004020202020204" pitchFamily="34" charset="0"/>
                <a:ea typeface="+mj-ea"/>
                <a:cs typeface="+mj-cs"/>
              </a:rPr>
              <a:t>Relapse after 3L CAR-T therapy</a:t>
            </a:r>
            <a:endParaRPr kumimoji="0" lang="en-GB" sz="36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400" b="0" i="0" u="none" strike="noStrike" kern="1200" cap="none" spc="0" normalizeH="0" baseline="3000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j-ea"/>
              <a:cs typeface="+mj-cs"/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E1369C7D-4CAF-93FC-EA2C-D1C0756F0DF9}"/>
              </a:ext>
            </a:extLst>
          </p:cNvPr>
          <p:cNvSpPr/>
          <p:nvPr/>
        </p:nvSpPr>
        <p:spPr>
          <a:xfrm>
            <a:off x="1628725" y="1329274"/>
            <a:ext cx="159799" cy="159799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1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303D14AE-0BF7-95EE-71AD-282D165E5C15}"/>
              </a:ext>
            </a:extLst>
          </p:cNvPr>
          <p:cNvCxnSpPr>
            <a:cxnSpLocks/>
            <a:stCxn id="13" idx="4"/>
          </p:cNvCxnSpPr>
          <p:nvPr/>
        </p:nvCxnSpPr>
        <p:spPr>
          <a:xfrm>
            <a:off x="1708625" y="1489073"/>
            <a:ext cx="0" cy="182159"/>
          </a:xfrm>
          <a:prstGeom prst="line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Oval 13">
            <a:extLst>
              <a:ext uri="{FF2B5EF4-FFF2-40B4-BE49-F238E27FC236}">
                <a16:creationId xmlns:a16="http://schemas.microsoft.com/office/drawing/2014/main" id="{9A8A8072-E9E8-2830-9391-B0A653DB5000}"/>
              </a:ext>
            </a:extLst>
          </p:cNvPr>
          <p:cNvSpPr/>
          <p:nvPr/>
        </p:nvSpPr>
        <p:spPr>
          <a:xfrm>
            <a:off x="2924125" y="1329274"/>
            <a:ext cx="159799" cy="159799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1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6A343847-7398-6907-0834-B9203A991CB1}"/>
              </a:ext>
            </a:extLst>
          </p:cNvPr>
          <p:cNvCxnSpPr>
            <a:cxnSpLocks/>
            <a:stCxn id="14" idx="4"/>
          </p:cNvCxnSpPr>
          <p:nvPr/>
        </p:nvCxnSpPr>
        <p:spPr>
          <a:xfrm>
            <a:off x="3004025" y="1489073"/>
            <a:ext cx="0" cy="182159"/>
          </a:xfrm>
          <a:prstGeom prst="line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!!TextBox 16">
            <a:extLst>
              <a:ext uri="{FF2B5EF4-FFF2-40B4-BE49-F238E27FC236}">
                <a16:creationId xmlns:a16="http://schemas.microsoft.com/office/drawing/2014/main" id="{8C692D3F-FD5F-46F6-1ED1-190E4B94A719}"/>
              </a:ext>
            </a:extLst>
          </p:cNvPr>
          <p:cNvSpPr txBox="1"/>
          <p:nvPr/>
        </p:nvSpPr>
        <p:spPr>
          <a:xfrm>
            <a:off x="2899444" y="1671232"/>
            <a:ext cx="2889475" cy="830997"/>
          </a:xfrm>
          <a:prstGeom prst="rect">
            <a:avLst/>
          </a:prstGeom>
          <a:noFill/>
        </p:spPr>
        <p:txBody>
          <a:bodyPr wrap="square" lIns="45720" tIns="45720" rIns="4572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1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3L treatment: </a:t>
            </a: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nti CD19 </a:t>
            </a:r>
            <a:b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AR-T axi-ce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1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Outcome: </a:t>
            </a: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R (1 year)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E7C1D83-9898-3532-A76C-3BE336E19CEA}"/>
              </a:ext>
            </a:extLst>
          </p:cNvPr>
          <p:cNvSpPr txBox="1"/>
          <p:nvPr/>
        </p:nvSpPr>
        <p:spPr>
          <a:xfrm>
            <a:off x="6131275" y="875821"/>
            <a:ext cx="1180282" cy="3927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CB813"/>
              </a:buClr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ep 2024</a:t>
            </a: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E00F6F69-5C9C-6CD3-4AD3-D520330C2629}"/>
              </a:ext>
            </a:extLst>
          </p:cNvPr>
          <p:cNvSpPr/>
          <p:nvPr/>
        </p:nvSpPr>
        <p:spPr>
          <a:xfrm>
            <a:off x="6641517" y="1329274"/>
            <a:ext cx="159799" cy="159799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1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BD5A7ADB-9209-615F-B803-BCCC12402780}"/>
              </a:ext>
            </a:extLst>
          </p:cNvPr>
          <p:cNvCxnSpPr>
            <a:cxnSpLocks/>
          </p:cNvCxnSpPr>
          <p:nvPr/>
        </p:nvCxnSpPr>
        <p:spPr>
          <a:xfrm>
            <a:off x="6715641" y="1489073"/>
            <a:ext cx="0" cy="182159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7" name="TextBox 46">
            <a:extLst>
              <a:ext uri="{FF2B5EF4-FFF2-40B4-BE49-F238E27FC236}">
                <a16:creationId xmlns:a16="http://schemas.microsoft.com/office/drawing/2014/main" id="{225303F4-5CC7-6DE8-99DC-7B3B8C43DBEF}"/>
              </a:ext>
            </a:extLst>
          </p:cNvPr>
          <p:cNvSpPr txBox="1"/>
          <p:nvPr/>
        </p:nvSpPr>
        <p:spPr>
          <a:xfrm>
            <a:off x="6572283" y="1671232"/>
            <a:ext cx="4495763" cy="707886"/>
          </a:xfrm>
          <a:prstGeom prst="rect">
            <a:avLst/>
          </a:prstGeom>
          <a:noFill/>
        </p:spPr>
        <p:txBody>
          <a:bodyPr wrap="square" lIns="45720" tIns="45720" rIns="4572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1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D20</a:t>
            </a:r>
            <a:r>
              <a:rPr kumimoji="0" lang="en-GB" sz="2000" b="0" i="1" u="none" strike="noStrike" kern="1200" cap="none" spc="0" normalizeH="0" baseline="3000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+</a:t>
            </a:r>
            <a:r>
              <a:rPr kumimoji="0" lang="en-GB" sz="2000" b="0" i="1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relaps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1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4L treatment: </a:t>
            </a: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Epcoritamab ×8</a:t>
            </a:r>
          </a:p>
        </p:txBody>
      </p:sp>
      <p:pic>
        <p:nvPicPr>
          <p:cNvPr id="49" name="Segnaposto contenuto 4">
            <a:extLst>
              <a:ext uri="{FF2B5EF4-FFF2-40B4-BE49-F238E27FC236}">
                <a16:creationId xmlns:a16="http://schemas.microsoft.com/office/drawing/2014/main" id="{5D9ABBB2-3B80-2DF0-59E4-D7600BED890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914311" y="3715861"/>
            <a:ext cx="2889478" cy="2254148"/>
          </a:xfrm>
          <a:prstGeom prst="rect">
            <a:avLst/>
          </a:prstGeom>
        </p:spPr>
      </p:pic>
      <p:pic>
        <p:nvPicPr>
          <p:cNvPr id="50" name="Immagine 27">
            <a:extLst>
              <a:ext uri="{FF2B5EF4-FFF2-40B4-BE49-F238E27FC236}">
                <a16:creationId xmlns:a16="http://schemas.microsoft.com/office/drawing/2014/main" id="{015CB71E-2B86-186C-F85A-A3C6D7EEE0A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981982" y="3721457"/>
            <a:ext cx="2889478" cy="2254148"/>
          </a:xfrm>
          <a:prstGeom prst="rect">
            <a:avLst/>
          </a:prstGeom>
        </p:spPr>
      </p:pic>
      <p:sp>
        <p:nvSpPr>
          <p:cNvPr id="51" name="CasellaDiTesto 29">
            <a:extLst>
              <a:ext uri="{FF2B5EF4-FFF2-40B4-BE49-F238E27FC236}">
                <a16:creationId xmlns:a16="http://schemas.microsoft.com/office/drawing/2014/main" id="{B80643CE-8180-A822-2286-5E31FC3AABA3}"/>
              </a:ext>
            </a:extLst>
          </p:cNvPr>
          <p:cNvSpPr txBox="1"/>
          <p:nvPr/>
        </p:nvSpPr>
        <p:spPr>
          <a:xfrm>
            <a:off x="2278755" y="3264377"/>
            <a:ext cx="216059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Before epcoritamab</a:t>
            </a:r>
          </a:p>
        </p:txBody>
      </p:sp>
      <p:sp>
        <p:nvSpPr>
          <p:cNvPr id="52" name="CasellaDiTesto 30">
            <a:extLst>
              <a:ext uri="{FF2B5EF4-FFF2-40B4-BE49-F238E27FC236}">
                <a16:creationId xmlns:a16="http://schemas.microsoft.com/office/drawing/2014/main" id="{4CC6E33D-5164-3080-8A05-CB3E5F407B88}"/>
              </a:ext>
            </a:extLst>
          </p:cNvPr>
          <p:cNvSpPr txBox="1"/>
          <p:nvPr/>
        </p:nvSpPr>
        <p:spPr>
          <a:xfrm>
            <a:off x="4879665" y="3264377"/>
            <a:ext cx="308738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fter 3 cycles of epcoritamab</a:t>
            </a:r>
          </a:p>
        </p:txBody>
      </p:sp>
      <p:sp>
        <p:nvSpPr>
          <p:cNvPr id="53" name="CasellaDiTesto 36">
            <a:extLst>
              <a:ext uri="{FF2B5EF4-FFF2-40B4-BE49-F238E27FC236}">
                <a16:creationId xmlns:a16="http://schemas.microsoft.com/office/drawing/2014/main" id="{D5AEAD0E-AD9D-24D0-F291-29F156D4CF17}"/>
              </a:ext>
            </a:extLst>
          </p:cNvPr>
          <p:cNvSpPr txBox="1"/>
          <p:nvPr/>
        </p:nvSpPr>
        <p:spPr>
          <a:xfrm>
            <a:off x="8117462" y="4199967"/>
            <a:ext cx="3173696" cy="1754326"/>
          </a:xfrm>
          <a:prstGeom prst="rect">
            <a:avLst/>
          </a:prstGeom>
          <a:solidFill>
            <a:schemeClr val="accent4"/>
          </a:solidFill>
          <a:ln w="28575">
            <a:noFill/>
          </a:ln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RS Gr 1, day 15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o ICAN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epeated pulmonary infections (epcoritamab discontinued after 8 months of therapy)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D23C1339-49FD-DBEF-E196-3F69B2768DF3}"/>
              </a:ext>
            </a:extLst>
          </p:cNvPr>
          <p:cNvSpPr txBox="1"/>
          <p:nvPr/>
        </p:nvSpPr>
        <p:spPr>
          <a:xfrm>
            <a:off x="1472311" y="875821"/>
            <a:ext cx="455050" cy="3927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CB813"/>
              </a:buClr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June–July 2023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25C9FD4E-60D9-C3C6-FB50-A6228676151D}"/>
              </a:ext>
            </a:extLst>
          </p:cNvPr>
          <p:cNvSpPr txBox="1"/>
          <p:nvPr/>
        </p:nvSpPr>
        <p:spPr>
          <a:xfrm>
            <a:off x="2805811" y="875821"/>
            <a:ext cx="455050" cy="3927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CB813"/>
              </a:buClr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ug 2023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DE42361-4A89-A3B9-DA43-355652872DD1}"/>
              </a:ext>
            </a:extLst>
          </p:cNvPr>
          <p:cNvSpPr txBox="1"/>
          <p:nvPr/>
        </p:nvSpPr>
        <p:spPr>
          <a:xfrm>
            <a:off x="499145" y="1671232"/>
            <a:ext cx="2400300" cy="1323439"/>
          </a:xfrm>
          <a:prstGeom prst="rect">
            <a:avLst/>
          </a:prstGeom>
          <a:noFill/>
        </p:spPr>
        <p:txBody>
          <a:bodyPr wrap="square" lIns="45720" tIns="45720" rIns="4572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1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Lymphocyte apheresi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1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Bridging: </a:t>
            </a: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-Pola ×2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1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Outcome: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 to bridging treatmen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8990522-2DC7-D6B0-F9D5-0ED6D95514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01CC8E-1CEF-6746-999E-CF29FF00B1D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82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9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A94064D-1945-563B-F84C-F7ACE55C4523}"/>
              </a:ext>
            </a:extLst>
          </p:cNvPr>
          <p:cNvSpPr txBox="1"/>
          <p:nvPr/>
        </p:nvSpPr>
        <p:spPr>
          <a:xfrm>
            <a:off x="6572282" y="2290776"/>
            <a:ext cx="4495763" cy="400110"/>
          </a:xfrm>
          <a:prstGeom prst="rect">
            <a:avLst/>
          </a:prstGeom>
          <a:noFill/>
        </p:spPr>
        <p:txBody>
          <a:bodyPr wrap="square" lIns="45720" tIns="45720" rIns="4572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1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Outcome: </a:t>
            </a: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2C5E77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live in CR for 18 months</a:t>
            </a:r>
          </a:p>
        </p:txBody>
      </p:sp>
      <p:cxnSp>
        <p:nvCxnSpPr>
          <p:cNvPr id="70" name="!!Straight Connector 87">
            <a:extLst>
              <a:ext uri="{FF2B5EF4-FFF2-40B4-BE49-F238E27FC236}">
                <a16:creationId xmlns:a16="http://schemas.microsoft.com/office/drawing/2014/main" id="{FAB689A1-D056-180C-510D-7D78ED7D5575}"/>
              </a:ext>
            </a:extLst>
          </p:cNvPr>
          <p:cNvCxnSpPr>
            <a:cxnSpLocks/>
          </p:cNvCxnSpPr>
          <p:nvPr/>
        </p:nvCxnSpPr>
        <p:spPr>
          <a:xfrm>
            <a:off x="563860" y="-938758"/>
            <a:ext cx="0" cy="2351636"/>
          </a:xfrm>
          <a:prstGeom prst="line">
            <a:avLst/>
          </a:prstGeom>
          <a:ln w="28575"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EAF5E928-D138-69E6-5646-59AC7006C1B2}"/>
              </a:ext>
            </a:extLst>
          </p:cNvPr>
          <p:cNvCxnSpPr>
            <a:cxnSpLocks/>
          </p:cNvCxnSpPr>
          <p:nvPr/>
        </p:nvCxnSpPr>
        <p:spPr>
          <a:xfrm>
            <a:off x="-11643613" y="-942491"/>
            <a:ext cx="12207473" cy="0"/>
          </a:xfrm>
          <a:prstGeom prst="line">
            <a:avLst/>
          </a:prstGeom>
          <a:ln w="2857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CasellaDiTesto 36">
            <a:extLst>
              <a:ext uri="{FF2B5EF4-FFF2-40B4-BE49-F238E27FC236}">
                <a16:creationId xmlns:a16="http://schemas.microsoft.com/office/drawing/2014/main" id="{4ECC09FE-BD40-AA31-7D39-EAA390CD5E83}"/>
              </a:ext>
            </a:extLst>
          </p:cNvPr>
          <p:cNvSpPr txBox="1"/>
          <p:nvPr/>
        </p:nvSpPr>
        <p:spPr>
          <a:xfrm>
            <a:off x="2929831" y="2479443"/>
            <a:ext cx="2052151" cy="584775"/>
          </a:xfrm>
          <a:prstGeom prst="rect">
            <a:avLst/>
          </a:prstGeom>
          <a:solidFill>
            <a:srgbClr val="DEDEDC"/>
          </a:solidFill>
          <a:ln w="28575"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Gr 1 CRS, no other relevant AEs</a:t>
            </a:r>
          </a:p>
        </p:txBody>
      </p:sp>
    </p:spTree>
    <p:extLst>
      <p:ext uri="{BB962C8B-B14F-4D97-AF65-F5344CB8AC3E}">
        <p14:creationId xmlns:p14="http://schemas.microsoft.com/office/powerpoint/2010/main" val="401053397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CCCC3FE-4CE8-CA85-E36D-5334DCFF53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Get ready to interac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CF6E195-F0BA-9FD1-E999-B07D0F5219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06B0CF-28DA-4AF7-AD0B-CB9D5901F647}" type="slidenum">
              <a:rPr lang="en-GB" smtClean="0"/>
              <a:pPr/>
              <a:t>6</a:t>
            </a:fld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F5941A8-57DA-B131-66DC-528655CC890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CC7E1A0-F159-CB04-9329-BE7E6D28CAAB}"/>
              </a:ext>
            </a:extLst>
          </p:cNvPr>
          <p:cNvSpPr/>
          <p:nvPr/>
        </p:nvSpPr>
        <p:spPr>
          <a:xfrm>
            <a:off x="769940" y="2446691"/>
            <a:ext cx="601659" cy="601659"/>
          </a:xfrm>
          <a:prstGeom prst="ellipse">
            <a:avLst/>
          </a:prstGeom>
          <a:gradFill>
            <a:gsLst>
              <a:gs pos="100000">
                <a:srgbClr val="FCCF13"/>
              </a:gs>
              <a:gs pos="0">
                <a:srgbClr val="F3AD09"/>
              </a:gs>
            </a:gsLst>
            <a:lin ang="5400000" scaled="1"/>
          </a:gra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4000" b="1" dirty="0"/>
              <a:t>1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67E9B6E-D3C8-7A84-3892-03D9C26E60C2}"/>
              </a:ext>
            </a:extLst>
          </p:cNvPr>
          <p:cNvSpPr txBox="1"/>
          <p:nvPr/>
        </p:nvSpPr>
        <p:spPr>
          <a:xfrm>
            <a:off x="769940" y="3118754"/>
            <a:ext cx="2626402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b="1" dirty="0">
                <a:solidFill>
                  <a:schemeClr val="tx2"/>
                </a:solidFill>
              </a:rPr>
              <a:t>Scan the QR code at the bottom right of the screen </a:t>
            </a:r>
            <a:r>
              <a:rPr lang="en-GB" sz="2000" dirty="0">
                <a:solidFill>
                  <a:schemeClr val="tx2"/>
                </a:solidFill>
              </a:rPr>
              <a:t>using your phone or tablet devic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44ACEA3-74E0-B5DA-1703-11DCD2AD2EFC}"/>
              </a:ext>
            </a:extLst>
          </p:cNvPr>
          <p:cNvSpPr txBox="1"/>
          <p:nvPr/>
        </p:nvSpPr>
        <p:spPr>
          <a:xfrm>
            <a:off x="769941" y="4594757"/>
            <a:ext cx="262640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b="1" dirty="0">
                <a:solidFill>
                  <a:schemeClr val="tx2"/>
                </a:solidFill>
              </a:rPr>
              <a:t>Virtual attendees: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38B487E-F178-AA04-7D48-808BC3F8D463}"/>
              </a:ext>
            </a:extLst>
          </p:cNvPr>
          <p:cNvSpPr txBox="1"/>
          <p:nvPr/>
        </p:nvSpPr>
        <p:spPr>
          <a:xfrm>
            <a:off x="766762" y="1432507"/>
            <a:ext cx="244262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b="1" dirty="0">
                <a:solidFill>
                  <a:schemeClr val="tx2"/>
                </a:solidFill>
              </a:rPr>
              <a:t>In-person attendees:</a:t>
            </a:r>
            <a:endParaRPr lang="en-GB" sz="2000" dirty="0">
              <a:solidFill>
                <a:schemeClr val="tx2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46DD233-B8AB-F96F-6FED-3E5F8A1BE427}"/>
              </a:ext>
            </a:extLst>
          </p:cNvPr>
          <p:cNvSpPr txBox="1"/>
          <p:nvPr/>
        </p:nvSpPr>
        <p:spPr>
          <a:xfrm>
            <a:off x="769940" y="5103720"/>
            <a:ext cx="720565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dirty="0">
                <a:solidFill>
                  <a:schemeClr val="tx2"/>
                </a:solidFill>
              </a:rPr>
              <a:t>Use the </a:t>
            </a:r>
            <a:r>
              <a:rPr lang="it-IT" sz="2000" dirty="0">
                <a:solidFill>
                  <a:schemeClr val="tx2"/>
                </a:solidFill>
              </a:rPr>
              <a:t>‘Q&amp;A’ </a:t>
            </a:r>
            <a:r>
              <a:rPr lang="en-GB" sz="2000" dirty="0">
                <a:solidFill>
                  <a:schemeClr val="tx2"/>
                </a:solidFill>
              </a:rPr>
              <a:t>button </a:t>
            </a:r>
            <a:r>
              <a:rPr lang="en-GB" sz="2000" b="1" dirty="0">
                <a:solidFill>
                  <a:schemeClr val="tx2"/>
                </a:solidFill>
              </a:rPr>
              <a:t>to the right</a:t>
            </a:r>
            <a:r>
              <a:rPr lang="en-GB" sz="2000" dirty="0">
                <a:solidFill>
                  <a:schemeClr val="tx2"/>
                </a:solidFill>
              </a:rPr>
              <a:t> of your live stream video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1FC32809-D9DE-CAE6-08DF-E28B2B04F93E}"/>
              </a:ext>
            </a:extLst>
          </p:cNvPr>
          <p:cNvSpPr/>
          <p:nvPr/>
        </p:nvSpPr>
        <p:spPr>
          <a:xfrm>
            <a:off x="3915104" y="2446691"/>
            <a:ext cx="601659" cy="601659"/>
          </a:xfrm>
          <a:prstGeom prst="ellipse">
            <a:avLst/>
          </a:prstGeom>
          <a:gradFill>
            <a:gsLst>
              <a:gs pos="100000">
                <a:srgbClr val="FCCF13"/>
              </a:gs>
              <a:gs pos="0">
                <a:srgbClr val="F3AD09"/>
              </a:gs>
            </a:gsLst>
            <a:lin ang="5400000" scaled="1"/>
          </a:gra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4000" b="1" dirty="0"/>
              <a:t>2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4B986CE4-DB90-A3EB-4B23-BB5A8385AF56}"/>
              </a:ext>
            </a:extLst>
          </p:cNvPr>
          <p:cNvSpPr txBox="1"/>
          <p:nvPr/>
        </p:nvSpPr>
        <p:spPr>
          <a:xfrm>
            <a:off x="3915104" y="3118754"/>
            <a:ext cx="186657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b="1" dirty="0">
                <a:solidFill>
                  <a:schemeClr val="tx2"/>
                </a:solidFill>
              </a:rPr>
              <a:t>Select what you want to do</a:t>
            </a:r>
            <a:endParaRPr lang="en-GB" sz="2000" dirty="0">
              <a:solidFill>
                <a:schemeClr val="tx2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559D44E-E838-BDA1-F124-72812B778453}"/>
              </a:ext>
            </a:extLst>
          </p:cNvPr>
          <p:cNvSpPr txBox="1"/>
          <p:nvPr/>
        </p:nvSpPr>
        <p:spPr>
          <a:xfrm>
            <a:off x="7060268" y="2387280"/>
            <a:ext cx="332763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b="1" dirty="0">
                <a:solidFill>
                  <a:schemeClr val="tx2"/>
                </a:solidFill>
              </a:rPr>
              <a:t>Q&amp;A:</a:t>
            </a:r>
            <a:br>
              <a:rPr lang="en-GB" sz="2000" b="1" dirty="0">
                <a:solidFill>
                  <a:schemeClr val="tx2"/>
                </a:solidFill>
              </a:rPr>
            </a:br>
            <a:r>
              <a:rPr lang="en-GB" sz="2000" dirty="0">
                <a:solidFill>
                  <a:schemeClr val="tx2"/>
                </a:solidFill>
              </a:rPr>
              <a:t>‘Q&amp;A’ button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E8333576-B287-C958-D4D7-A8FD55440789}"/>
              </a:ext>
            </a:extLst>
          </p:cNvPr>
          <p:cNvCxnSpPr>
            <a:cxnSpLocks/>
          </p:cNvCxnSpPr>
          <p:nvPr/>
        </p:nvCxnSpPr>
        <p:spPr>
          <a:xfrm>
            <a:off x="766762" y="2146654"/>
            <a:ext cx="2370138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Oval 28">
            <a:extLst>
              <a:ext uri="{FF2B5EF4-FFF2-40B4-BE49-F238E27FC236}">
                <a16:creationId xmlns:a16="http://schemas.microsoft.com/office/drawing/2014/main" id="{5AD59921-C9C2-6CD3-DADD-70B41E97B14F}"/>
              </a:ext>
            </a:extLst>
          </p:cNvPr>
          <p:cNvSpPr/>
          <p:nvPr/>
        </p:nvSpPr>
        <p:spPr>
          <a:xfrm>
            <a:off x="6410327" y="2446691"/>
            <a:ext cx="601659" cy="601659"/>
          </a:xfrm>
          <a:prstGeom prst="ellipse">
            <a:avLst/>
          </a:prstGeom>
          <a:gradFill>
            <a:gsLst>
              <a:gs pos="100000">
                <a:srgbClr val="FCCF13"/>
              </a:gs>
              <a:gs pos="0">
                <a:srgbClr val="F3AD09"/>
              </a:gs>
            </a:gsLst>
            <a:lin ang="5400000" scaled="1"/>
          </a:gra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4000" b="1" dirty="0"/>
          </a:p>
        </p:txBody>
      </p:sp>
      <p:sp>
        <p:nvSpPr>
          <p:cNvPr id="30" name="Speech Bubble: Oval 29">
            <a:extLst>
              <a:ext uri="{FF2B5EF4-FFF2-40B4-BE49-F238E27FC236}">
                <a16:creationId xmlns:a16="http://schemas.microsoft.com/office/drawing/2014/main" id="{C8BA45FE-512B-2DCE-B638-01A65EBA99E4}"/>
              </a:ext>
            </a:extLst>
          </p:cNvPr>
          <p:cNvSpPr>
            <a:spLocks noChangeAspect="1"/>
          </p:cNvSpPr>
          <p:nvPr/>
        </p:nvSpPr>
        <p:spPr bwMode="auto">
          <a:xfrm>
            <a:off x="6514726" y="2579775"/>
            <a:ext cx="391423" cy="301452"/>
          </a:xfrm>
          <a:prstGeom prst="wedgeEllipseCallout">
            <a:avLst>
              <a:gd name="adj1" fmla="val -41885"/>
              <a:gd name="adj2" fmla="val 53609"/>
            </a:avLst>
          </a:prstGeom>
          <a:gradFill>
            <a:gsLst>
              <a:gs pos="100000">
                <a:srgbClr val="FCCF13"/>
              </a:gs>
              <a:gs pos="0">
                <a:srgbClr val="F3AD09"/>
              </a:gs>
            </a:gsLst>
            <a:lin ang="5400000" scaled="1"/>
          </a:gra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19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93" algn="l" defTabSz="45719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86" algn="l" defTabSz="45719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79" algn="l" defTabSz="45719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72" algn="l" defTabSz="45719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66" algn="l" defTabSz="45719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59" algn="l" defTabSz="45719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52" algn="l" defTabSz="45719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45" algn="l" defTabSz="45719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 sz="4000" b="1" dirty="0">
              <a:solidFill>
                <a:schemeClr val="lt1"/>
              </a:solidFill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4389A55-9789-2DB8-7B45-18CE3BB2A6D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407" b="407"/>
          <a:stretch/>
        </p:blipFill>
        <p:spPr>
          <a:xfrm>
            <a:off x="8466666" y="3408499"/>
            <a:ext cx="2550284" cy="2529515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29944D7-2E90-0987-D6F8-14141BF0F0D1}"/>
              </a:ext>
            </a:extLst>
          </p:cNvPr>
          <p:cNvCxnSpPr>
            <a:cxnSpLocks/>
          </p:cNvCxnSpPr>
          <p:nvPr/>
        </p:nvCxnSpPr>
        <p:spPr>
          <a:xfrm>
            <a:off x="766762" y="4994867"/>
            <a:ext cx="2370138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74910363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9F8ED7-0EA0-A113-672C-3E42750FA86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1" name="Straight Connector 4">
            <a:extLst>
              <a:ext uri="{FF2B5EF4-FFF2-40B4-BE49-F238E27FC236}">
                <a16:creationId xmlns:a16="http://schemas.microsoft.com/office/drawing/2014/main" id="{04A6D68A-01AD-A138-A6C1-0C67DC99CC73}"/>
              </a:ext>
            </a:extLst>
          </p:cNvPr>
          <p:cNvCxnSpPr>
            <a:cxnSpLocks/>
          </p:cNvCxnSpPr>
          <p:nvPr/>
        </p:nvCxnSpPr>
        <p:spPr>
          <a:xfrm>
            <a:off x="3582807" y="1251894"/>
            <a:ext cx="0" cy="4615506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5D813EE4-4BC7-F984-46C3-68F9699F17D2}"/>
              </a:ext>
            </a:extLst>
          </p:cNvPr>
          <p:cNvSpPr txBox="1">
            <a:spLocks/>
          </p:cNvSpPr>
          <p:nvPr/>
        </p:nvSpPr>
        <p:spPr>
          <a:xfrm>
            <a:off x="262890" y="3429000"/>
            <a:ext cx="3211825" cy="203194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400" b="0" i="1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ge: </a:t>
            </a:r>
            <a:r>
              <a:rPr kumimoji="0" lang="en-GB" sz="2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52 years old </a:t>
            </a:r>
            <a:br>
              <a:rPr kumimoji="0" lang="en-GB" sz="2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GB" sz="2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(at diagnosis)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400" b="0" i="1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ex: </a:t>
            </a:r>
            <a:r>
              <a:rPr kumimoji="0" lang="en-GB" sz="2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Female</a:t>
            </a:r>
          </a:p>
        </p:txBody>
      </p:sp>
      <p:sp>
        <p:nvSpPr>
          <p:cNvPr id="23" name="TextBox 9">
            <a:extLst>
              <a:ext uri="{FF2B5EF4-FFF2-40B4-BE49-F238E27FC236}">
                <a16:creationId xmlns:a16="http://schemas.microsoft.com/office/drawing/2014/main" id="{D58F8B83-0969-6CF0-1AD4-CFBD41237E68}"/>
              </a:ext>
            </a:extLst>
          </p:cNvPr>
          <p:cNvSpPr txBox="1"/>
          <p:nvPr/>
        </p:nvSpPr>
        <p:spPr>
          <a:xfrm>
            <a:off x="4198556" y="1895633"/>
            <a:ext cx="6185241" cy="1533368"/>
          </a:xfrm>
          <a:prstGeom prst="rect">
            <a:avLst/>
          </a:prstGeom>
          <a:noFill/>
        </p:spPr>
        <p:txBody>
          <a:bodyPr wrap="square" lIns="0" rIns="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8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iagnosis</a:t>
            </a: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EB92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iffuse large B-cell lymphoma diagnosed in J</a:t>
            </a:r>
            <a:r>
              <a: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nuary</a:t>
            </a: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2025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EB92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BC subtyp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EB92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tage IVEA</a:t>
            </a:r>
            <a:r>
              <a:rPr kumimoji="0" lang="en-CH" sz="16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([diffuse adenopathy, peritoneal disease], LDH, IPI 2)</a:t>
            </a:r>
          </a:p>
        </p:txBody>
      </p:sp>
      <p:sp>
        <p:nvSpPr>
          <p:cNvPr id="25" name="Oval 12">
            <a:extLst>
              <a:ext uri="{FF2B5EF4-FFF2-40B4-BE49-F238E27FC236}">
                <a16:creationId xmlns:a16="http://schemas.microsoft.com/office/drawing/2014/main" id="{7135EE33-4AAD-687C-0106-23FAA27DD450}"/>
              </a:ext>
            </a:extLst>
          </p:cNvPr>
          <p:cNvSpPr/>
          <p:nvPr/>
        </p:nvSpPr>
        <p:spPr>
          <a:xfrm>
            <a:off x="1331603" y="1907119"/>
            <a:ext cx="1296000" cy="1296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779791CF-FF19-EC82-2B8E-AA959730ACA9}"/>
              </a:ext>
            </a:extLst>
          </p:cNvPr>
          <p:cNvSpPr txBox="1">
            <a:spLocks/>
          </p:cNvSpPr>
          <p:nvPr/>
        </p:nvSpPr>
        <p:spPr>
          <a:xfrm>
            <a:off x="469900" y="311150"/>
            <a:ext cx="10317269" cy="930910"/>
          </a:xfrm>
          <a:prstGeom prst="rect">
            <a:avLst/>
          </a:prstGeom>
        </p:spPr>
        <p:txBody>
          <a:bodyPr vert="horz" lIns="90000" tIns="46800" rIns="90000" bIns="4680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400" b="0" i="0" kern="1200">
                <a:solidFill>
                  <a:schemeClr val="tx2"/>
                </a:solidFill>
                <a:latin typeface="Aptos" panose="020B000402020202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0B0004020202020204" pitchFamily="34" charset="0"/>
                <a:ea typeface="+mj-ea"/>
                <a:cs typeface="+mj-cs"/>
              </a:rPr>
              <a:t>Case 2: </a:t>
            </a:r>
            <a:r>
              <a:rPr kumimoji="0" lang="en-GB" sz="3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j-ea"/>
                <a:cs typeface="+mj-cs"/>
              </a:rPr>
              <a:t>Diagnosis and past medical history </a:t>
            </a:r>
            <a:endParaRPr kumimoji="0" lang="en-GB" sz="3400" b="0" i="0" u="none" strike="noStrike" kern="1200" cap="none" spc="0" normalizeH="0" baseline="3000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j-ea"/>
              <a:cs typeface="+mj-cs"/>
            </a:endParaRP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271BF052-A913-1D6B-DDBB-EC250604049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70645" y="6291951"/>
            <a:ext cx="10440000" cy="428000"/>
          </a:xfrm>
        </p:spPr>
        <p:txBody>
          <a:bodyPr/>
          <a:lstStyle/>
          <a:p>
            <a:r>
              <a:rPr lang="en-GB"/>
              <a:t>ABC, activated B-cell</a:t>
            </a:r>
            <a:r>
              <a:rPr lang="en-CH"/>
              <a:t>; IPI, International Prognostic Index; LDH, lactate dehydrogenase</a:t>
            </a:r>
            <a:r>
              <a:rPr lang="en-GB"/>
              <a:t>.</a:t>
            </a:r>
            <a:br>
              <a:rPr lang="en-GB"/>
            </a:br>
            <a:r>
              <a:rPr lang="en-GB"/>
              <a:t>Patient case provided by Prof. Enrico </a:t>
            </a:r>
            <a:r>
              <a:rPr lang="en-GB" err="1"/>
              <a:t>Derenzini</a:t>
            </a:r>
            <a:r>
              <a:rPr lang="en-GB"/>
              <a:t>.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734A604-D090-D9DC-2C2B-68A6A9DE2B75}"/>
              </a:ext>
            </a:extLst>
          </p:cNvPr>
          <p:cNvCxnSpPr>
            <a:cxnSpLocks/>
          </p:cNvCxnSpPr>
          <p:nvPr/>
        </p:nvCxnSpPr>
        <p:spPr>
          <a:xfrm>
            <a:off x="1753733" y="2881454"/>
            <a:ext cx="0" cy="77469"/>
          </a:xfrm>
          <a:prstGeom prst="line">
            <a:avLst/>
          </a:prstGeom>
          <a:ln w="12700" cap="rnd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9A3E57C-AE3C-57B2-A64C-C4A404252709}"/>
              </a:ext>
            </a:extLst>
          </p:cNvPr>
          <p:cNvCxnSpPr>
            <a:cxnSpLocks/>
          </p:cNvCxnSpPr>
          <p:nvPr/>
        </p:nvCxnSpPr>
        <p:spPr>
          <a:xfrm>
            <a:off x="2204412" y="2892507"/>
            <a:ext cx="0" cy="77469"/>
          </a:xfrm>
          <a:prstGeom prst="line">
            <a:avLst/>
          </a:prstGeom>
          <a:ln w="12700" cap="rnd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Arc 13">
            <a:extLst>
              <a:ext uri="{FF2B5EF4-FFF2-40B4-BE49-F238E27FC236}">
                <a16:creationId xmlns:a16="http://schemas.microsoft.com/office/drawing/2014/main" id="{A8F0E3C5-4EF8-0C3D-54FC-216880BF2E6C}"/>
              </a:ext>
            </a:extLst>
          </p:cNvPr>
          <p:cNvSpPr/>
          <p:nvPr/>
        </p:nvSpPr>
        <p:spPr bwMode="auto">
          <a:xfrm rot="10800000">
            <a:off x="1800692" y="2146132"/>
            <a:ext cx="342498" cy="405464"/>
          </a:xfrm>
          <a:prstGeom prst="arc">
            <a:avLst>
              <a:gd name="adj1" fmla="val 10172272"/>
              <a:gd name="adj2" fmla="val 2398834"/>
            </a:avLst>
          </a:prstGeom>
          <a:noFill/>
          <a:ln w="12700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5" name="Arc 14">
            <a:extLst>
              <a:ext uri="{FF2B5EF4-FFF2-40B4-BE49-F238E27FC236}">
                <a16:creationId xmlns:a16="http://schemas.microsoft.com/office/drawing/2014/main" id="{769D6F35-599D-9AB7-0555-C0884E2DCCDB}"/>
              </a:ext>
            </a:extLst>
          </p:cNvPr>
          <p:cNvSpPr/>
          <p:nvPr/>
        </p:nvSpPr>
        <p:spPr bwMode="auto">
          <a:xfrm rot="16200000">
            <a:off x="1545858" y="2207460"/>
            <a:ext cx="854201" cy="562415"/>
          </a:xfrm>
          <a:prstGeom prst="arc">
            <a:avLst>
              <a:gd name="adj1" fmla="val 16610348"/>
              <a:gd name="adj2" fmla="val 7133353"/>
            </a:avLst>
          </a:prstGeom>
          <a:noFill/>
          <a:ln w="12700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" name="Freeform 50">
            <a:extLst>
              <a:ext uri="{FF2B5EF4-FFF2-40B4-BE49-F238E27FC236}">
                <a16:creationId xmlns:a16="http://schemas.microsoft.com/office/drawing/2014/main" id="{6DCF262E-D548-C565-8C49-8AB2B844CBC5}"/>
              </a:ext>
            </a:extLst>
          </p:cNvPr>
          <p:cNvSpPr>
            <a:spLocks noChangeAspect="1"/>
          </p:cNvSpPr>
          <p:nvPr/>
        </p:nvSpPr>
        <p:spPr bwMode="auto">
          <a:xfrm rot="10157005">
            <a:off x="1839069" y="2202679"/>
            <a:ext cx="241600" cy="100304"/>
          </a:xfrm>
          <a:custGeom>
            <a:avLst/>
            <a:gdLst>
              <a:gd name="connsiteX0" fmla="*/ 0 w 1200912"/>
              <a:gd name="connsiteY0" fmla="*/ 640080 h 1091184"/>
              <a:gd name="connsiteX1" fmla="*/ 146304 w 1200912"/>
              <a:gd name="connsiteY1" fmla="*/ 341376 h 1091184"/>
              <a:gd name="connsiteX2" fmla="*/ 237744 w 1200912"/>
              <a:gd name="connsiteY2" fmla="*/ 475488 h 1091184"/>
              <a:gd name="connsiteX3" fmla="*/ 390144 w 1200912"/>
              <a:gd name="connsiteY3" fmla="*/ 0 h 1091184"/>
              <a:gd name="connsiteX4" fmla="*/ 512064 w 1200912"/>
              <a:gd name="connsiteY4" fmla="*/ 445008 h 1091184"/>
              <a:gd name="connsiteX5" fmla="*/ 670560 w 1200912"/>
              <a:gd name="connsiteY5" fmla="*/ 256032 h 1091184"/>
              <a:gd name="connsiteX6" fmla="*/ 932688 w 1200912"/>
              <a:gd name="connsiteY6" fmla="*/ 542544 h 1091184"/>
              <a:gd name="connsiteX7" fmla="*/ 1042416 w 1200912"/>
              <a:gd name="connsiteY7" fmla="*/ 426720 h 1091184"/>
              <a:gd name="connsiteX8" fmla="*/ 1200912 w 1200912"/>
              <a:gd name="connsiteY8" fmla="*/ 646176 h 1091184"/>
              <a:gd name="connsiteX9" fmla="*/ 652272 w 1200912"/>
              <a:gd name="connsiteY9" fmla="*/ 1091184 h 1091184"/>
              <a:gd name="connsiteX10" fmla="*/ 0 w 1200912"/>
              <a:gd name="connsiteY10" fmla="*/ 640080 h 1091184"/>
              <a:gd name="connsiteX0" fmla="*/ 0 w 1200912"/>
              <a:gd name="connsiteY0" fmla="*/ 505968 h 957072"/>
              <a:gd name="connsiteX1" fmla="*/ 146304 w 1200912"/>
              <a:gd name="connsiteY1" fmla="*/ 207264 h 957072"/>
              <a:gd name="connsiteX2" fmla="*/ 237744 w 1200912"/>
              <a:gd name="connsiteY2" fmla="*/ 341376 h 957072"/>
              <a:gd name="connsiteX3" fmla="*/ 377952 w 1200912"/>
              <a:gd name="connsiteY3" fmla="*/ 0 h 957072"/>
              <a:gd name="connsiteX4" fmla="*/ 512064 w 1200912"/>
              <a:gd name="connsiteY4" fmla="*/ 310896 h 957072"/>
              <a:gd name="connsiteX5" fmla="*/ 670560 w 1200912"/>
              <a:gd name="connsiteY5" fmla="*/ 121920 h 957072"/>
              <a:gd name="connsiteX6" fmla="*/ 932688 w 1200912"/>
              <a:gd name="connsiteY6" fmla="*/ 408432 h 957072"/>
              <a:gd name="connsiteX7" fmla="*/ 1042416 w 1200912"/>
              <a:gd name="connsiteY7" fmla="*/ 292608 h 957072"/>
              <a:gd name="connsiteX8" fmla="*/ 1200912 w 1200912"/>
              <a:gd name="connsiteY8" fmla="*/ 512064 h 957072"/>
              <a:gd name="connsiteX9" fmla="*/ 652272 w 1200912"/>
              <a:gd name="connsiteY9" fmla="*/ 957072 h 957072"/>
              <a:gd name="connsiteX10" fmla="*/ 0 w 1200912"/>
              <a:gd name="connsiteY10" fmla="*/ 505968 h 957072"/>
              <a:gd name="connsiteX0" fmla="*/ 0 w 1200912"/>
              <a:gd name="connsiteY0" fmla="*/ 505968 h 957072"/>
              <a:gd name="connsiteX1" fmla="*/ 146304 w 1200912"/>
              <a:gd name="connsiteY1" fmla="*/ 207264 h 957072"/>
              <a:gd name="connsiteX2" fmla="*/ 237744 w 1200912"/>
              <a:gd name="connsiteY2" fmla="*/ 341376 h 957072"/>
              <a:gd name="connsiteX3" fmla="*/ 377952 w 1200912"/>
              <a:gd name="connsiteY3" fmla="*/ 0 h 957072"/>
              <a:gd name="connsiteX4" fmla="*/ 542544 w 1200912"/>
              <a:gd name="connsiteY4" fmla="*/ 420624 h 957072"/>
              <a:gd name="connsiteX5" fmla="*/ 670560 w 1200912"/>
              <a:gd name="connsiteY5" fmla="*/ 121920 h 957072"/>
              <a:gd name="connsiteX6" fmla="*/ 932688 w 1200912"/>
              <a:gd name="connsiteY6" fmla="*/ 408432 h 957072"/>
              <a:gd name="connsiteX7" fmla="*/ 1042416 w 1200912"/>
              <a:gd name="connsiteY7" fmla="*/ 292608 h 957072"/>
              <a:gd name="connsiteX8" fmla="*/ 1200912 w 1200912"/>
              <a:gd name="connsiteY8" fmla="*/ 512064 h 957072"/>
              <a:gd name="connsiteX9" fmla="*/ 652272 w 1200912"/>
              <a:gd name="connsiteY9" fmla="*/ 957072 h 957072"/>
              <a:gd name="connsiteX10" fmla="*/ 0 w 1200912"/>
              <a:gd name="connsiteY10" fmla="*/ 505968 h 957072"/>
              <a:gd name="connsiteX0" fmla="*/ 0 w 1200912"/>
              <a:gd name="connsiteY0" fmla="*/ 505968 h 957072"/>
              <a:gd name="connsiteX1" fmla="*/ 146304 w 1200912"/>
              <a:gd name="connsiteY1" fmla="*/ 207264 h 957072"/>
              <a:gd name="connsiteX2" fmla="*/ 237744 w 1200912"/>
              <a:gd name="connsiteY2" fmla="*/ 341376 h 957072"/>
              <a:gd name="connsiteX3" fmla="*/ 377952 w 1200912"/>
              <a:gd name="connsiteY3" fmla="*/ 0 h 957072"/>
              <a:gd name="connsiteX4" fmla="*/ 542544 w 1200912"/>
              <a:gd name="connsiteY4" fmla="*/ 420624 h 957072"/>
              <a:gd name="connsiteX5" fmla="*/ 755904 w 1200912"/>
              <a:gd name="connsiteY5" fmla="*/ 213360 h 957072"/>
              <a:gd name="connsiteX6" fmla="*/ 932688 w 1200912"/>
              <a:gd name="connsiteY6" fmla="*/ 408432 h 957072"/>
              <a:gd name="connsiteX7" fmla="*/ 1042416 w 1200912"/>
              <a:gd name="connsiteY7" fmla="*/ 292608 h 957072"/>
              <a:gd name="connsiteX8" fmla="*/ 1200912 w 1200912"/>
              <a:gd name="connsiteY8" fmla="*/ 512064 h 957072"/>
              <a:gd name="connsiteX9" fmla="*/ 652272 w 1200912"/>
              <a:gd name="connsiteY9" fmla="*/ 957072 h 957072"/>
              <a:gd name="connsiteX10" fmla="*/ 0 w 1200912"/>
              <a:gd name="connsiteY10" fmla="*/ 505968 h 957072"/>
              <a:gd name="connsiteX0" fmla="*/ 0 w 1200912"/>
              <a:gd name="connsiteY0" fmla="*/ 505968 h 957072"/>
              <a:gd name="connsiteX1" fmla="*/ 146304 w 1200912"/>
              <a:gd name="connsiteY1" fmla="*/ 207264 h 957072"/>
              <a:gd name="connsiteX2" fmla="*/ 237744 w 1200912"/>
              <a:gd name="connsiteY2" fmla="*/ 341376 h 957072"/>
              <a:gd name="connsiteX3" fmla="*/ 377952 w 1200912"/>
              <a:gd name="connsiteY3" fmla="*/ 0 h 957072"/>
              <a:gd name="connsiteX4" fmla="*/ 542544 w 1200912"/>
              <a:gd name="connsiteY4" fmla="*/ 420624 h 957072"/>
              <a:gd name="connsiteX5" fmla="*/ 755904 w 1200912"/>
              <a:gd name="connsiteY5" fmla="*/ 213360 h 957072"/>
              <a:gd name="connsiteX6" fmla="*/ 932688 w 1200912"/>
              <a:gd name="connsiteY6" fmla="*/ 408432 h 957072"/>
              <a:gd name="connsiteX7" fmla="*/ 1078992 w 1200912"/>
              <a:gd name="connsiteY7" fmla="*/ 298704 h 957072"/>
              <a:gd name="connsiteX8" fmla="*/ 1200912 w 1200912"/>
              <a:gd name="connsiteY8" fmla="*/ 512064 h 957072"/>
              <a:gd name="connsiteX9" fmla="*/ 652272 w 1200912"/>
              <a:gd name="connsiteY9" fmla="*/ 957072 h 957072"/>
              <a:gd name="connsiteX10" fmla="*/ 0 w 1200912"/>
              <a:gd name="connsiteY10" fmla="*/ 505968 h 957072"/>
              <a:gd name="connsiteX0" fmla="*/ 0 w 1200912"/>
              <a:gd name="connsiteY0" fmla="*/ 505968 h 957072"/>
              <a:gd name="connsiteX1" fmla="*/ 146304 w 1200912"/>
              <a:gd name="connsiteY1" fmla="*/ 207264 h 957072"/>
              <a:gd name="connsiteX2" fmla="*/ 237744 w 1200912"/>
              <a:gd name="connsiteY2" fmla="*/ 341376 h 957072"/>
              <a:gd name="connsiteX3" fmla="*/ 377952 w 1200912"/>
              <a:gd name="connsiteY3" fmla="*/ 0 h 957072"/>
              <a:gd name="connsiteX4" fmla="*/ 542544 w 1200912"/>
              <a:gd name="connsiteY4" fmla="*/ 420624 h 957072"/>
              <a:gd name="connsiteX5" fmla="*/ 755904 w 1200912"/>
              <a:gd name="connsiteY5" fmla="*/ 213360 h 957072"/>
              <a:gd name="connsiteX6" fmla="*/ 932688 w 1200912"/>
              <a:gd name="connsiteY6" fmla="*/ 481584 h 957072"/>
              <a:gd name="connsiteX7" fmla="*/ 1078992 w 1200912"/>
              <a:gd name="connsiteY7" fmla="*/ 298704 h 957072"/>
              <a:gd name="connsiteX8" fmla="*/ 1200912 w 1200912"/>
              <a:gd name="connsiteY8" fmla="*/ 512064 h 957072"/>
              <a:gd name="connsiteX9" fmla="*/ 652272 w 1200912"/>
              <a:gd name="connsiteY9" fmla="*/ 957072 h 957072"/>
              <a:gd name="connsiteX10" fmla="*/ 0 w 1200912"/>
              <a:gd name="connsiteY10" fmla="*/ 505968 h 957072"/>
              <a:gd name="connsiteX0" fmla="*/ 0 w 1200912"/>
              <a:gd name="connsiteY0" fmla="*/ 505968 h 957072"/>
              <a:gd name="connsiteX1" fmla="*/ 146304 w 1200912"/>
              <a:gd name="connsiteY1" fmla="*/ 207264 h 957072"/>
              <a:gd name="connsiteX2" fmla="*/ 237744 w 1200912"/>
              <a:gd name="connsiteY2" fmla="*/ 341376 h 957072"/>
              <a:gd name="connsiteX3" fmla="*/ 377952 w 1200912"/>
              <a:gd name="connsiteY3" fmla="*/ 0 h 957072"/>
              <a:gd name="connsiteX4" fmla="*/ 737616 w 1200912"/>
              <a:gd name="connsiteY4" fmla="*/ 475488 h 957072"/>
              <a:gd name="connsiteX5" fmla="*/ 755904 w 1200912"/>
              <a:gd name="connsiteY5" fmla="*/ 213360 h 957072"/>
              <a:gd name="connsiteX6" fmla="*/ 932688 w 1200912"/>
              <a:gd name="connsiteY6" fmla="*/ 481584 h 957072"/>
              <a:gd name="connsiteX7" fmla="*/ 1078992 w 1200912"/>
              <a:gd name="connsiteY7" fmla="*/ 298704 h 957072"/>
              <a:gd name="connsiteX8" fmla="*/ 1200912 w 1200912"/>
              <a:gd name="connsiteY8" fmla="*/ 512064 h 957072"/>
              <a:gd name="connsiteX9" fmla="*/ 652272 w 1200912"/>
              <a:gd name="connsiteY9" fmla="*/ 957072 h 957072"/>
              <a:gd name="connsiteX10" fmla="*/ 0 w 1200912"/>
              <a:gd name="connsiteY10" fmla="*/ 505968 h 957072"/>
              <a:gd name="connsiteX0" fmla="*/ 0 w 1200912"/>
              <a:gd name="connsiteY0" fmla="*/ 505968 h 957072"/>
              <a:gd name="connsiteX1" fmla="*/ 146304 w 1200912"/>
              <a:gd name="connsiteY1" fmla="*/ 207264 h 957072"/>
              <a:gd name="connsiteX2" fmla="*/ 237744 w 1200912"/>
              <a:gd name="connsiteY2" fmla="*/ 341376 h 957072"/>
              <a:gd name="connsiteX3" fmla="*/ 377952 w 1200912"/>
              <a:gd name="connsiteY3" fmla="*/ 0 h 957072"/>
              <a:gd name="connsiteX4" fmla="*/ 737616 w 1200912"/>
              <a:gd name="connsiteY4" fmla="*/ 475488 h 957072"/>
              <a:gd name="connsiteX5" fmla="*/ 859536 w 1200912"/>
              <a:gd name="connsiteY5" fmla="*/ 280416 h 957072"/>
              <a:gd name="connsiteX6" fmla="*/ 932688 w 1200912"/>
              <a:gd name="connsiteY6" fmla="*/ 481584 h 957072"/>
              <a:gd name="connsiteX7" fmla="*/ 1078992 w 1200912"/>
              <a:gd name="connsiteY7" fmla="*/ 298704 h 957072"/>
              <a:gd name="connsiteX8" fmla="*/ 1200912 w 1200912"/>
              <a:gd name="connsiteY8" fmla="*/ 512064 h 957072"/>
              <a:gd name="connsiteX9" fmla="*/ 652272 w 1200912"/>
              <a:gd name="connsiteY9" fmla="*/ 957072 h 957072"/>
              <a:gd name="connsiteX10" fmla="*/ 0 w 1200912"/>
              <a:gd name="connsiteY10" fmla="*/ 505968 h 957072"/>
              <a:gd name="connsiteX0" fmla="*/ 0 w 1200912"/>
              <a:gd name="connsiteY0" fmla="*/ 512064 h 963168"/>
              <a:gd name="connsiteX1" fmla="*/ 146304 w 1200912"/>
              <a:gd name="connsiteY1" fmla="*/ 213360 h 963168"/>
              <a:gd name="connsiteX2" fmla="*/ 237744 w 1200912"/>
              <a:gd name="connsiteY2" fmla="*/ 347472 h 963168"/>
              <a:gd name="connsiteX3" fmla="*/ 518160 w 1200912"/>
              <a:gd name="connsiteY3" fmla="*/ 0 h 963168"/>
              <a:gd name="connsiteX4" fmla="*/ 737616 w 1200912"/>
              <a:gd name="connsiteY4" fmla="*/ 481584 h 963168"/>
              <a:gd name="connsiteX5" fmla="*/ 859536 w 1200912"/>
              <a:gd name="connsiteY5" fmla="*/ 286512 h 963168"/>
              <a:gd name="connsiteX6" fmla="*/ 932688 w 1200912"/>
              <a:gd name="connsiteY6" fmla="*/ 487680 h 963168"/>
              <a:gd name="connsiteX7" fmla="*/ 1078992 w 1200912"/>
              <a:gd name="connsiteY7" fmla="*/ 304800 h 963168"/>
              <a:gd name="connsiteX8" fmla="*/ 1200912 w 1200912"/>
              <a:gd name="connsiteY8" fmla="*/ 518160 h 963168"/>
              <a:gd name="connsiteX9" fmla="*/ 652272 w 1200912"/>
              <a:gd name="connsiteY9" fmla="*/ 963168 h 963168"/>
              <a:gd name="connsiteX10" fmla="*/ 0 w 1200912"/>
              <a:gd name="connsiteY10" fmla="*/ 512064 h 963168"/>
              <a:gd name="connsiteX0" fmla="*/ 0 w 1200912"/>
              <a:gd name="connsiteY0" fmla="*/ 512064 h 963168"/>
              <a:gd name="connsiteX1" fmla="*/ 146304 w 1200912"/>
              <a:gd name="connsiteY1" fmla="*/ 213360 h 963168"/>
              <a:gd name="connsiteX2" fmla="*/ 310896 w 1200912"/>
              <a:gd name="connsiteY2" fmla="*/ 396240 h 963168"/>
              <a:gd name="connsiteX3" fmla="*/ 518160 w 1200912"/>
              <a:gd name="connsiteY3" fmla="*/ 0 h 963168"/>
              <a:gd name="connsiteX4" fmla="*/ 737616 w 1200912"/>
              <a:gd name="connsiteY4" fmla="*/ 481584 h 963168"/>
              <a:gd name="connsiteX5" fmla="*/ 859536 w 1200912"/>
              <a:gd name="connsiteY5" fmla="*/ 286512 h 963168"/>
              <a:gd name="connsiteX6" fmla="*/ 932688 w 1200912"/>
              <a:gd name="connsiteY6" fmla="*/ 487680 h 963168"/>
              <a:gd name="connsiteX7" fmla="*/ 1078992 w 1200912"/>
              <a:gd name="connsiteY7" fmla="*/ 304800 h 963168"/>
              <a:gd name="connsiteX8" fmla="*/ 1200912 w 1200912"/>
              <a:gd name="connsiteY8" fmla="*/ 518160 h 963168"/>
              <a:gd name="connsiteX9" fmla="*/ 652272 w 1200912"/>
              <a:gd name="connsiteY9" fmla="*/ 963168 h 963168"/>
              <a:gd name="connsiteX10" fmla="*/ 0 w 1200912"/>
              <a:gd name="connsiteY10" fmla="*/ 512064 h 963168"/>
              <a:gd name="connsiteX0" fmla="*/ 0 w 1200912"/>
              <a:gd name="connsiteY0" fmla="*/ 627888 h 1078992"/>
              <a:gd name="connsiteX1" fmla="*/ 146304 w 1200912"/>
              <a:gd name="connsiteY1" fmla="*/ 329184 h 1078992"/>
              <a:gd name="connsiteX2" fmla="*/ 310896 w 1200912"/>
              <a:gd name="connsiteY2" fmla="*/ 512064 h 1078992"/>
              <a:gd name="connsiteX3" fmla="*/ 499872 w 1200912"/>
              <a:gd name="connsiteY3" fmla="*/ 0 h 1078992"/>
              <a:gd name="connsiteX4" fmla="*/ 737616 w 1200912"/>
              <a:gd name="connsiteY4" fmla="*/ 597408 h 1078992"/>
              <a:gd name="connsiteX5" fmla="*/ 859536 w 1200912"/>
              <a:gd name="connsiteY5" fmla="*/ 402336 h 1078992"/>
              <a:gd name="connsiteX6" fmla="*/ 932688 w 1200912"/>
              <a:gd name="connsiteY6" fmla="*/ 603504 h 1078992"/>
              <a:gd name="connsiteX7" fmla="*/ 1078992 w 1200912"/>
              <a:gd name="connsiteY7" fmla="*/ 420624 h 1078992"/>
              <a:gd name="connsiteX8" fmla="*/ 1200912 w 1200912"/>
              <a:gd name="connsiteY8" fmla="*/ 633984 h 1078992"/>
              <a:gd name="connsiteX9" fmla="*/ 652272 w 1200912"/>
              <a:gd name="connsiteY9" fmla="*/ 1078992 h 1078992"/>
              <a:gd name="connsiteX10" fmla="*/ 0 w 1200912"/>
              <a:gd name="connsiteY10" fmla="*/ 627888 h 1078992"/>
              <a:gd name="connsiteX0" fmla="*/ 0 w 1200912"/>
              <a:gd name="connsiteY0" fmla="*/ 627888 h 1078992"/>
              <a:gd name="connsiteX1" fmla="*/ 170688 w 1200912"/>
              <a:gd name="connsiteY1" fmla="*/ 377952 h 1078992"/>
              <a:gd name="connsiteX2" fmla="*/ 310896 w 1200912"/>
              <a:gd name="connsiteY2" fmla="*/ 512064 h 1078992"/>
              <a:gd name="connsiteX3" fmla="*/ 499872 w 1200912"/>
              <a:gd name="connsiteY3" fmla="*/ 0 h 1078992"/>
              <a:gd name="connsiteX4" fmla="*/ 737616 w 1200912"/>
              <a:gd name="connsiteY4" fmla="*/ 597408 h 1078992"/>
              <a:gd name="connsiteX5" fmla="*/ 859536 w 1200912"/>
              <a:gd name="connsiteY5" fmla="*/ 402336 h 1078992"/>
              <a:gd name="connsiteX6" fmla="*/ 932688 w 1200912"/>
              <a:gd name="connsiteY6" fmla="*/ 603504 h 1078992"/>
              <a:gd name="connsiteX7" fmla="*/ 1078992 w 1200912"/>
              <a:gd name="connsiteY7" fmla="*/ 420624 h 1078992"/>
              <a:gd name="connsiteX8" fmla="*/ 1200912 w 1200912"/>
              <a:gd name="connsiteY8" fmla="*/ 633984 h 1078992"/>
              <a:gd name="connsiteX9" fmla="*/ 652272 w 1200912"/>
              <a:gd name="connsiteY9" fmla="*/ 1078992 h 1078992"/>
              <a:gd name="connsiteX10" fmla="*/ 0 w 1200912"/>
              <a:gd name="connsiteY10" fmla="*/ 627888 h 1078992"/>
              <a:gd name="connsiteX0" fmla="*/ 0 w 1200912"/>
              <a:gd name="connsiteY0" fmla="*/ 420624 h 871728"/>
              <a:gd name="connsiteX1" fmla="*/ 170688 w 1200912"/>
              <a:gd name="connsiteY1" fmla="*/ 170688 h 871728"/>
              <a:gd name="connsiteX2" fmla="*/ 310896 w 1200912"/>
              <a:gd name="connsiteY2" fmla="*/ 304800 h 871728"/>
              <a:gd name="connsiteX3" fmla="*/ 530352 w 1200912"/>
              <a:gd name="connsiteY3" fmla="*/ 0 h 871728"/>
              <a:gd name="connsiteX4" fmla="*/ 737616 w 1200912"/>
              <a:gd name="connsiteY4" fmla="*/ 390144 h 871728"/>
              <a:gd name="connsiteX5" fmla="*/ 859536 w 1200912"/>
              <a:gd name="connsiteY5" fmla="*/ 195072 h 871728"/>
              <a:gd name="connsiteX6" fmla="*/ 932688 w 1200912"/>
              <a:gd name="connsiteY6" fmla="*/ 396240 h 871728"/>
              <a:gd name="connsiteX7" fmla="*/ 1078992 w 1200912"/>
              <a:gd name="connsiteY7" fmla="*/ 213360 h 871728"/>
              <a:gd name="connsiteX8" fmla="*/ 1200912 w 1200912"/>
              <a:gd name="connsiteY8" fmla="*/ 426720 h 871728"/>
              <a:gd name="connsiteX9" fmla="*/ 652272 w 1200912"/>
              <a:gd name="connsiteY9" fmla="*/ 871728 h 871728"/>
              <a:gd name="connsiteX10" fmla="*/ 0 w 1200912"/>
              <a:gd name="connsiteY10" fmla="*/ 420624 h 871728"/>
              <a:gd name="connsiteX0" fmla="*/ 0 w 1200912"/>
              <a:gd name="connsiteY0" fmla="*/ 475488 h 926592"/>
              <a:gd name="connsiteX1" fmla="*/ 170688 w 1200912"/>
              <a:gd name="connsiteY1" fmla="*/ 225552 h 926592"/>
              <a:gd name="connsiteX2" fmla="*/ 310896 w 1200912"/>
              <a:gd name="connsiteY2" fmla="*/ 359664 h 926592"/>
              <a:gd name="connsiteX3" fmla="*/ 512064 w 1200912"/>
              <a:gd name="connsiteY3" fmla="*/ 0 h 926592"/>
              <a:gd name="connsiteX4" fmla="*/ 737616 w 1200912"/>
              <a:gd name="connsiteY4" fmla="*/ 445008 h 926592"/>
              <a:gd name="connsiteX5" fmla="*/ 859536 w 1200912"/>
              <a:gd name="connsiteY5" fmla="*/ 249936 h 926592"/>
              <a:gd name="connsiteX6" fmla="*/ 932688 w 1200912"/>
              <a:gd name="connsiteY6" fmla="*/ 451104 h 926592"/>
              <a:gd name="connsiteX7" fmla="*/ 1078992 w 1200912"/>
              <a:gd name="connsiteY7" fmla="*/ 268224 h 926592"/>
              <a:gd name="connsiteX8" fmla="*/ 1200912 w 1200912"/>
              <a:gd name="connsiteY8" fmla="*/ 481584 h 926592"/>
              <a:gd name="connsiteX9" fmla="*/ 652272 w 1200912"/>
              <a:gd name="connsiteY9" fmla="*/ 926592 h 926592"/>
              <a:gd name="connsiteX10" fmla="*/ 0 w 1200912"/>
              <a:gd name="connsiteY10" fmla="*/ 475488 h 926592"/>
              <a:gd name="connsiteX0" fmla="*/ 0 w 1200912"/>
              <a:gd name="connsiteY0" fmla="*/ 475488 h 926592"/>
              <a:gd name="connsiteX1" fmla="*/ 170688 w 1200912"/>
              <a:gd name="connsiteY1" fmla="*/ 225552 h 926592"/>
              <a:gd name="connsiteX2" fmla="*/ 310896 w 1200912"/>
              <a:gd name="connsiteY2" fmla="*/ 359664 h 926592"/>
              <a:gd name="connsiteX3" fmla="*/ 512064 w 1200912"/>
              <a:gd name="connsiteY3" fmla="*/ 0 h 926592"/>
              <a:gd name="connsiteX4" fmla="*/ 737616 w 1200912"/>
              <a:gd name="connsiteY4" fmla="*/ 445008 h 926592"/>
              <a:gd name="connsiteX5" fmla="*/ 859536 w 1200912"/>
              <a:gd name="connsiteY5" fmla="*/ 249936 h 926592"/>
              <a:gd name="connsiteX6" fmla="*/ 932688 w 1200912"/>
              <a:gd name="connsiteY6" fmla="*/ 451104 h 926592"/>
              <a:gd name="connsiteX7" fmla="*/ 1078992 w 1200912"/>
              <a:gd name="connsiteY7" fmla="*/ 268224 h 926592"/>
              <a:gd name="connsiteX8" fmla="*/ 1200912 w 1200912"/>
              <a:gd name="connsiteY8" fmla="*/ 481584 h 926592"/>
              <a:gd name="connsiteX9" fmla="*/ 652272 w 1200912"/>
              <a:gd name="connsiteY9" fmla="*/ 926592 h 926592"/>
              <a:gd name="connsiteX10" fmla="*/ 0 w 1200912"/>
              <a:gd name="connsiteY10" fmla="*/ 475488 h 926592"/>
              <a:gd name="connsiteX0" fmla="*/ 0 w 1200912"/>
              <a:gd name="connsiteY0" fmla="*/ 475488 h 926592"/>
              <a:gd name="connsiteX1" fmla="*/ 170688 w 1200912"/>
              <a:gd name="connsiteY1" fmla="*/ 225552 h 926592"/>
              <a:gd name="connsiteX2" fmla="*/ 310896 w 1200912"/>
              <a:gd name="connsiteY2" fmla="*/ 359664 h 926592"/>
              <a:gd name="connsiteX3" fmla="*/ 512064 w 1200912"/>
              <a:gd name="connsiteY3" fmla="*/ 0 h 926592"/>
              <a:gd name="connsiteX4" fmla="*/ 737616 w 1200912"/>
              <a:gd name="connsiteY4" fmla="*/ 445008 h 926592"/>
              <a:gd name="connsiteX5" fmla="*/ 859536 w 1200912"/>
              <a:gd name="connsiteY5" fmla="*/ 249936 h 926592"/>
              <a:gd name="connsiteX6" fmla="*/ 932688 w 1200912"/>
              <a:gd name="connsiteY6" fmla="*/ 451104 h 926592"/>
              <a:gd name="connsiteX7" fmla="*/ 1078992 w 1200912"/>
              <a:gd name="connsiteY7" fmla="*/ 268224 h 926592"/>
              <a:gd name="connsiteX8" fmla="*/ 1200912 w 1200912"/>
              <a:gd name="connsiteY8" fmla="*/ 481584 h 926592"/>
              <a:gd name="connsiteX9" fmla="*/ 652272 w 1200912"/>
              <a:gd name="connsiteY9" fmla="*/ 926592 h 926592"/>
              <a:gd name="connsiteX10" fmla="*/ 0 w 1200912"/>
              <a:gd name="connsiteY10" fmla="*/ 475488 h 926592"/>
              <a:gd name="connsiteX0" fmla="*/ 0 w 1200912"/>
              <a:gd name="connsiteY0" fmla="*/ 475488 h 926592"/>
              <a:gd name="connsiteX1" fmla="*/ 170688 w 1200912"/>
              <a:gd name="connsiteY1" fmla="*/ 225552 h 926592"/>
              <a:gd name="connsiteX2" fmla="*/ 310896 w 1200912"/>
              <a:gd name="connsiteY2" fmla="*/ 359664 h 926592"/>
              <a:gd name="connsiteX3" fmla="*/ 512064 w 1200912"/>
              <a:gd name="connsiteY3" fmla="*/ 0 h 926592"/>
              <a:gd name="connsiteX4" fmla="*/ 737616 w 1200912"/>
              <a:gd name="connsiteY4" fmla="*/ 445008 h 926592"/>
              <a:gd name="connsiteX5" fmla="*/ 859536 w 1200912"/>
              <a:gd name="connsiteY5" fmla="*/ 249936 h 926592"/>
              <a:gd name="connsiteX6" fmla="*/ 932688 w 1200912"/>
              <a:gd name="connsiteY6" fmla="*/ 451104 h 926592"/>
              <a:gd name="connsiteX7" fmla="*/ 1078992 w 1200912"/>
              <a:gd name="connsiteY7" fmla="*/ 268224 h 926592"/>
              <a:gd name="connsiteX8" fmla="*/ 1200912 w 1200912"/>
              <a:gd name="connsiteY8" fmla="*/ 481584 h 926592"/>
              <a:gd name="connsiteX9" fmla="*/ 652272 w 1200912"/>
              <a:gd name="connsiteY9" fmla="*/ 926592 h 926592"/>
              <a:gd name="connsiteX10" fmla="*/ 0 w 1200912"/>
              <a:gd name="connsiteY10" fmla="*/ 475488 h 926592"/>
              <a:gd name="connsiteX0" fmla="*/ 0 w 1200912"/>
              <a:gd name="connsiteY0" fmla="*/ 475488 h 926592"/>
              <a:gd name="connsiteX1" fmla="*/ 170688 w 1200912"/>
              <a:gd name="connsiteY1" fmla="*/ 225552 h 926592"/>
              <a:gd name="connsiteX2" fmla="*/ 310896 w 1200912"/>
              <a:gd name="connsiteY2" fmla="*/ 359664 h 926592"/>
              <a:gd name="connsiteX3" fmla="*/ 512064 w 1200912"/>
              <a:gd name="connsiteY3" fmla="*/ 0 h 926592"/>
              <a:gd name="connsiteX4" fmla="*/ 737616 w 1200912"/>
              <a:gd name="connsiteY4" fmla="*/ 445008 h 926592"/>
              <a:gd name="connsiteX5" fmla="*/ 859536 w 1200912"/>
              <a:gd name="connsiteY5" fmla="*/ 249936 h 926592"/>
              <a:gd name="connsiteX6" fmla="*/ 932688 w 1200912"/>
              <a:gd name="connsiteY6" fmla="*/ 451104 h 926592"/>
              <a:gd name="connsiteX7" fmla="*/ 1078992 w 1200912"/>
              <a:gd name="connsiteY7" fmla="*/ 268224 h 926592"/>
              <a:gd name="connsiteX8" fmla="*/ 1200912 w 1200912"/>
              <a:gd name="connsiteY8" fmla="*/ 481584 h 926592"/>
              <a:gd name="connsiteX9" fmla="*/ 652272 w 1200912"/>
              <a:gd name="connsiteY9" fmla="*/ 926592 h 926592"/>
              <a:gd name="connsiteX10" fmla="*/ 0 w 1200912"/>
              <a:gd name="connsiteY10" fmla="*/ 475488 h 926592"/>
              <a:gd name="connsiteX0" fmla="*/ 0 w 1200912"/>
              <a:gd name="connsiteY0" fmla="*/ 475488 h 932688"/>
              <a:gd name="connsiteX1" fmla="*/ 170688 w 1200912"/>
              <a:gd name="connsiteY1" fmla="*/ 225552 h 932688"/>
              <a:gd name="connsiteX2" fmla="*/ 310896 w 1200912"/>
              <a:gd name="connsiteY2" fmla="*/ 359664 h 932688"/>
              <a:gd name="connsiteX3" fmla="*/ 512064 w 1200912"/>
              <a:gd name="connsiteY3" fmla="*/ 0 h 932688"/>
              <a:gd name="connsiteX4" fmla="*/ 737616 w 1200912"/>
              <a:gd name="connsiteY4" fmla="*/ 445008 h 932688"/>
              <a:gd name="connsiteX5" fmla="*/ 859536 w 1200912"/>
              <a:gd name="connsiteY5" fmla="*/ 249936 h 932688"/>
              <a:gd name="connsiteX6" fmla="*/ 932688 w 1200912"/>
              <a:gd name="connsiteY6" fmla="*/ 451104 h 932688"/>
              <a:gd name="connsiteX7" fmla="*/ 1078992 w 1200912"/>
              <a:gd name="connsiteY7" fmla="*/ 268224 h 932688"/>
              <a:gd name="connsiteX8" fmla="*/ 1200912 w 1200912"/>
              <a:gd name="connsiteY8" fmla="*/ 481584 h 932688"/>
              <a:gd name="connsiteX9" fmla="*/ 621792 w 1200912"/>
              <a:gd name="connsiteY9" fmla="*/ 932688 h 932688"/>
              <a:gd name="connsiteX10" fmla="*/ 0 w 1200912"/>
              <a:gd name="connsiteY10" fmla="*/ 475488 h 932688"/>
              <a:gd name="connsiteX0" fmla="*/ 0 w 1200912"/>
              <a:gd name="connsiteY0" fmla="*/ 475488 h 932688"/>
              <a:gd name="connsiteX1" fmla="*/ 170688 w 1200912"/>
              <a:gd name="connsiteY1" fmla="*/ 225552 h 932688"/>
              <a:gd name="connsiteX2" fmla="*/ 310896 w 1200912"/>
              <a:gd name="connsiteY2" fmla="*/ 359664 h 932688"/>
              <a:gd name="connsiteX3" fmla="*/ 512064 w 1200912"/>
              <a:gd name="connsiteY3" fmla="*/ 0 h 932688"/>
              <a:gd name="connsiteX4" fmla="*/ 737616 w 1200912"/>
              <a:gd name="connsiteY4" fmla="*/ 445008 h 932688"/>
              <a:gd name="connsiteX5" fmla="*/ 859536 w 1200912"/>
              <a:gd name="connsiteY5" fmla="*/ 249936 h 932688"/>
              <a:gd name="connsiteX6" fmla="*/ 932688 w 1200912"/>
              <a:gd name="connsiteY6" fmla="*/ 451104 h 932688"/>
              <a:gd name="connsiteX7" fmla="*/ 1078992 w 1200912"/>
              <a:gd name="connsiteY7" fmla="*/ 268224 h 932688"/>
              <a:gd name="connsiteX8" fmla="*/ 1200912 w 1200912"/>
              <a:gd name="connsiteY8" fmla="*/ 481584 h 932688"/>
              <a:gd name="connsiteX9" fmla="*/ 621792 w 1200912"/>
              <a:gd name="connsiteY9" fmla="*/ 932688 h 932688"/>
              <a:gd name="connsiteX10" fmla="*/ 0 w 1200912"/>
              <a:gd name="connsiteY10" fmla="*/ 475488 h 932688"/>
              <a:gd name="connsiteX0" fmla="*/ 0 w 1207008"/>
              <a:gd name="connsiteY0" fmla="*/ 493776 h 932688"/>
              <a:gd name="connsiteX1" fmla="*/ 176784 w 1207008"/>
              <a:gd name="connsiteY1" fmla="*/ 225552 h 932688"/>
              <a:gd name="connsiteX2" fmla="*/ 316992 w 1207008"/>
              <a:gd name="connsiteY2" fmla="*/ 359664 h 932688"/>
              <a:gd name="connsiteX3" fmla="*/ 518160 w 1207008"/>
              <a:gd name="connsiteY3" fmla="*/ 0 h 932688"/>
              <a:gd name="connsiteX4" fmla="*/ 743712 w 1207008"/>
              <a:gd name="connsiteY4" fmla="*/ 445008 h 932688"/>
              <a:gd name="connsiteX5" fmla="*/ 865632 w 1207008"/>
              <a:gd name="connsiteY5" fmla="*/ 249936 h 932688"/>
              <a:gd name="connsiteX6" fmla="*/ 938784 w 1207008"/>
              <a:gd name="connsiteY6" fmla="*/ 451104 h 932688"/>
              <a:gd name="connsiteX7" fmla="*/ 1085088 w 1207008"/>
              <a:gd name="connsiteY7" fmla="*/ 268224 h 932688"/>
              <a:gd name="connsiteX8" fmla="*/ 1207008 w 1207008"/>
              <a:gd name="connsiteY8" fmla="*/ 481584 h 932688"/>
              <a:gd name="connsiteX9" fmla="*/ 627888 w 1207008"/>
              <a:gd name="connsiteY9" fmla="*/ 932688 h 932688"/>
              <a:gd name="connsiteX10" fmla="*/ 0 w 1207008"/>
              <a:gd name="connsiteY10" fmla="*/ 493776 h 932688"/>
              <a:gd name="connsiteX0" fmla="*/ 0 w 1207008"/>
              <a:gd name="connsiteY0" fmla="*/ 493776 h 932688"/>
              <a:gd name="connsiteX1" fmla="*/ 176784 w 1207008"/>
              <a:gd name="connsiteY1" fmla="*/ 225552 h 932688"/>
              <a:gd name="connsiteX2" fmla="*/ 316992 w 1207008"/>
              <a:gd name="connsiteY2" fmla="*/ 359664 h 932688"/>
              <a:gd name="connsiteX3" fmla="*/ 518160 w 1207008"/>
              <a:gd name="connsiteY3" fmla="*/ 0 h 932688"/>
              <a:gd name="connsiteX4" fmla="*/ 743712 w 1207008"/>
              <a:gd name="connsiteY4" fmla="*/ 445008 h 932688"/>
              <a:gd name="connsiteX5" fmla="*/ 865632 w 1207008"/>
              <a:gd name="connsiteY5" fmla="*/ 249936 h 932688"/>
              <a:gd name="connsiteX6" fmla="*/ 938784 w 1207008"/>
              <a:gd name="connsiteY6" fmla="*/ 451104 h 932688"/>
              <a:gd name="connsiteX7" fmla="*/ 1085088 w 1207008"/>
              <a:gd name="connsiteY7" fmla="*/ 268224 h 932688"/>
              <a:gd name="connsiteX8" fmla="*/ 1207008 w 1207008"/>
              <a:gd name="connsiteY8" fmla="*/ 481584 h 932688"/>
              <a:gd name="connsiteX9" fmla="*/ 627888 w 1207008"/>
              <a:gd name="connsiteY9" fmla="*/ 932688 h 932688"/>
              <a:gd name="connsiteX10" fmla="*/ 0 w 1207008"/>
              <a:gd name="connsiteY10" fmla="*/ 493776 h 932688"/>
              <a:gd name="connsiteX0" fmla="*/ 0 w 1205103"/>
              <a:gd name="connsiteY0" fmla="*/ 489966 h 932688"/>
              <a:gd name="connsiteX1" fmla="*/ 174879 w 1205103"/>
              <a:gd name="connsiteY1" fmla="*/ 225552 h 932688"/>
              <a:gd name="connsiteX2" fmla="*/ 315087 w 1205103"/>
              <a:gd name="connsiteY2" fmla="*/ 359664 h 932688"/>
              <a:gd name="connsiteX3" fmla="*/ 516255 w 1205103"/>
              <a:gd name="connsiteY3" fmla="*/ 0 h 932688"/>
              <a:gd name="connsiteX4" fmla="*/ 741807 w 1205103"/>
              <a:gd name="connsiteY4" fmla="*/ 445008 h 932688"/>
              <a:gd name="connsiteX5" fmla="*/ 863727 w 1205103"/>
              <a:gd name="connsiteY5" fmla="*/ 249936 h 932688"/>
              <a:gd name="connsiteX6" fmla="*/ 936879 w 1205103"/>
              <a:gd name="connsiteY6" fmla="*/ 451104 h 932688"/>
              <a:gd name="connsiteX7" fmla="*/ 1083183 w 1205103"/>
              <a:gd name="connsiteY7" fmla="*/ 268224 h 932688"/>
              <a:gd name="connsiteX8" fmla="*/ 1205103 w 1205103"/>
              <a:gd name="connsiteY8" fmla="*/ 481584 h 932688"/>
              <a:gd name="connsiteX9" fmla="*/ 625983 w 1205103"/>
              <a:gd name="connsiteY9" fmla="*/ 932688 h 932688"/>
              <a:gd name="connsiteX10" fmla="*/ 0 w 1205103"/>
              <a:gd name="connsiteY10" fmla="*/ 489966 h 932688"/>
              <a:gd name="connsiteX0" fmla="*/ 0 w 1205103"/>
              <a:gd name="connsiteY0" fmla="*/ 489966 h 932688"/>
              <a:gd name="connsiteX1" fmla="*/ 174879 w 1205103"/>
              <a:gd name="connsiteY1" fmla="*/ 225552 h 932688"/>
              <a:gd name="connsiteX2" fmla="*/ 315087 w 1205103"/>
              <a:gd name="connsiteY2" fmla="*/ 359664 h 932688"/>
              <a:gd name="connsiteX3" fmla="*/ 516255 w 1205103"/>
              <a:gd name="connsiteY3" fmla="*/ 0 h 932688"/>
              <a:gd name="connsiteX4" fmla="*/ 741807 w 1205103"/>
              <a:gd name="connsiteY4" fmla="*/ 445008 h 932688"/>
              <a:gd name="connsiteX5" fmla="*/ 863727 w 1205103"/>
              <a:gd name="connsiteY5" fmla="*/ 249936 h 932688"/>
              <a:gd name="connsiteX6" fmla="*/ 936879 w 1205103"/>
              <a:gd name="connsiteY6" fmla="*/ 451104 h 932688"/>
              <a:gd name="connsiteX7" fmla="*/ 1083183 w 1205103"/>
              <a:gd name="connsiteY7" fmla="*/ 268224 h 932688"/>
              <a:gd name="connsiteX8" fmla="*/ 1205103 w 1205103"/>
              <a:gd name="connsiteY8" fmla="*/ 481584 h 932688"/>
              <a:gd name="connsiteX9" fmla="*/ 625983 w 1205103"/>
              <a:gd name="connsiteY9" fmla="*/ 932688 h 932688"/>
              <a:gd name="connsiteX10" fmla="*/ 0 w 1205103"/>
              <a:gd name="connsiteY10" fmla="*/ 489966 h 932688"/>
              <a:gd name="connsiteX0" fmla="*/ 0 w 1205103"/>
              <a:gd name="connsiteY0" fmla="*/ 489966 h 932688"/>
              <a:gd name="connsiteX1" fmla="*/ 174879 w 1205103"/>
              <a:gd name="connsiteY1" fmla="*/ 225552 h 932688"/>
              <a:gd name="connsiteX2" fmla="*/ 315087 w 1205103"/>
              <a:gd name="connsiteY2" fmla="*/ 359664 h 932688"/>
              <a:gd name="connsiteX3" fmla="*/ 516255 w 1205103"/>
              <a:gd name="connsiteY3" fmla="*/ 0 h 932688"/>
              <a:gd name="connsiteX4" fmla="*/ 741807 w 1205103"/>
              <a:gd name="connsiteY4" fmla="*/ 445008 h 932688"/>
              <a:gd name="connsiteX5" fmla="*/ 863727 w 1205103"/>
              <a:gd name="connsiteY5" fmla="*/ 249936 h 932688"/>
              <a:gd name="connsiteX6" fmla="*/ 936879 w 1205103"/>
              <a:gd name="connsiteY6" fmla="*/ 451104 h 932688"/>
              <a:gd name="connsiteX7" fmla="*/ 1083183 w 1205103"/>
              <a:gd name="connsiteY7" fmla="*/ 268224 h 932688"/>
              <a:gd name="connsiteX8" fmla="*/ 1205103 w 1205103"/>
              <a:gd name="connsiteY8" fmla="*/ 481584 h 932688"/>
              <a:gd name="connsiteX9" fmla="*/ 627888 w 1205103"/>
              <a:gd name="connsiteY9" fmla="*/ 932688 h 932688"/>
              <a:gd name="connsiteX10" fmla="*/ 0 w 1205103"/>
              <a:gd name="connsiteY10" fmla="*/ 489966 h 932688"/>
              <a:gd name="connsiteX0" fmla="*/ 0 w 1205103"/>
              <a:gd name="connsiteY0" fmla="*/ 489966 h 932688"/>
              <a:gd name="connsiteX1" fmla="*/ 174879 w 1205103"/>
              <a:gd name="connsiteY1" fmla="*/ 225552 h 932688"/>
              <a:gd name="connsiteX2" fmla="*/ 315087 w 1205103"/>
              <a:gd name="connsiteY2" fmla="*/ 359664 h 932688"/>
              <a:gd name="connsiteX3" fmla="*/ 516255 w 1205103"/>
              <a:gd name="connsiteY3" fmla="*/ 0 h 932688"/>
              <a:gd name="connsiteX4" fmla="*/ 741807 w 1205103"/>
              <a:gd name="connsiteY4" fmla="*/ 445008 h 932688"/>
              <a:gd name="connsiteX5" fmla="*/ 863727 w 1205103"/>
              <a:gd name="connsiteY5" fmla="*/ 249936 h 932688"/>
              <a:gd name="connsiteX6" fmla="*/ 936879 w 1205103"/>
              <a:gd name="connsiteY6" fmla="*/ 451104 h 932688"/>
              <a:gd name="connsiteX7" fmla="*/ 1083183 w 1205103"/>
              <a:gd name="connsiteY7" fmla="*/ 268224 h 932688"/>
              <a:gd name="connsiteX8" fmla="*/ 1205103 w 1205103"/>
              <a:gd name="connsiteY8" fmla="*/ 481584 h 932688"/>
              <a:gd name="connsiteX9" fmla="*/ 627888 w 1205103"/>
              <a:gd name="connsiteY9" fmla="*/ 932688 h 932688"/>
              <a:gd name="connsiteX10" fmla="*/ 0 w 1205103"/>
              <a:gd name="connsiteY10" fmla="*/ 489966 h 932688"/>
              <a:gd name="connsiteX0" fmla="*/ 0 w 1205103"/>
              <a:gd name="connsiteY0" fmla="*/ 489966 h 926973"/>
              <a:gd name="connsiteX1" fmla="*/ 174879 w 1205103"/>
              <a:gd name="connsiteY1" fmla="*/ 225552 h 926973"/>
              <a:gd name="connsiteX2" fmla="*/ 315087 w 1205103"/>
              <a:gd name="connsiteY2" fmla="*/ 359664 h 926973"/>
              <a:gd name="connsiteX3" fmla="*/ 516255 w 1205103"/>
              <a:gd name="connsiteY3" fmla="*/ 0 h 926973"/>
              <a:gd name="connsiteX4" fmla="*/ 741807 w 1205103"/>
              <a:gd name="connsiteY4" fmla="*/ 445008 h 926973"/>
              <a:gd name="connsiteX5" fmla="*/ 863727 w 1205103"/>
              <a:gd name="connsiteY5" fmla="*/ 249936 h 926973"/>
              <a:gd name="connsiteX6" fmla="*/ 936879 w 1205103"/>
              <a:gd name="connsiteY6" fmla="*/ 451104 h 926973"/>
              <a:gd name="connsiteX7" fmla="*/ 1083183 w 1205103"/>
              <a:gd name="connsiteY7" fmla="*/ 268224 h 926973"/>
              <a:gd name="connsiteX8" fmla="*/ 1205103 w 1205103"/>
              <a:gd name="connsiteY8" fmla="*/ 481584 h 926973"/>
              <a:gd name="connsiteX9" fmla="*/ 618363 w 1205103"/>
              <a:gd name="connsiteY9" fmla="*/ 926973 h 926973"/>
              <a:gd name="connsiteX10" fmla="*/ 0 w 1205103"/>
              <a:gd name="connsiteY10" fmla="*/ 489966 h 926973"/>
              <a:gd name="connsiteX0" fmla="*/ 0 w 1208913"/>
              <a:gd name="connsiteY0" fmla="*/ 489966 h 926973"/>
              <a:gd name="connsiteX1" fmla="*/ 174879 w 1208913"/>
              <a:gd name="connsiteY1" fmla="*/ 225552 h 926973"/>
              <a:gd name="connsiteX2" fmla="*/ 315087 w 1208913"/>
              <a:gd name="connsiteY2" fmla="*/ 359664 h 926973"/>
              <a:gd name="connsiteX3" fmla="*/ 516255 w 1208913"/>
              <a:gd name="connsiteY3" fmla="*/ 0 h 926973"/>
              <a:gd name="connsiteX4" fmla="*/ 741807 w 1208913"/>
              <a:gd name="connsiteY4" fmla="*/ 445008 h 926973"/>
              <a:gd name="connsiteX5" fmla="*/ 863727 w 1208913"/>
              <a:gd name="connsiteY5" fmla="*/ 249936 h 926973"/>
              <a:gd name="connsiteX6" fmla="*/ 936879 w 1208913"/>
              <a:gd name="connsiteY6" fmla="*/ 451104 h 926973"/>
              <a:gd name="connsiteX7" fmla="*/ 1083183 w 1208913"/>
              <a:gd name="connsiteY7" fmla="*/ 268224 h 926973"/>
              <a:gd name="connsiteX8" fmla="*/ 1208913 w 1208913"/>
              <a:gd name="connsiteY8" fmla="*/ 475869 h 926973"/>
              <a:gd name="connsiteX9" fmla="*/ 618363 w 1208913"/>
              <a:gd name="connsiteY9" fmla="*/ 926973 h 926973"/>
              <a:gd name="connsiteX10" fmla="*/ 0 w 1208913"/>
              <a:gd name="connsiteY10" fmla="*/ 489966 h 926973"/>
              <a:gd name="connsiteX0" fmla="*/ 0 w 1208913"/>
              <a:gd name="connsiteY0" fmla="*/ 489966 h 926973"/>
              <a:gd name="connsiteX1" fmla="*/ 174879 w 1208913"/>
              <a:gd name="connsiteY1" fmla="*/ 225552 h 926973"/>
              <a:gd name="connsiteX2" fmla="*/ 315087 w 1208913"/>
              <a:gd name="connsiteY2" fmla="*/ 359664 h 926973"/>
              <a:gd name="connsiteX3" fmla="*/ 516255 w 1208913"/>
              <a:gd name="connsiteY3" fmla="*/ 0 h 926973"/>
              <a:gd name="connsiteX4" fmla="*/ 741807 w 1208913"/>
              <a:gd name="connsiteY4" fmla="*/ 445008 h 926973"/>
              <a:gd name="connsiteX5" fmla="*/ 863727 w 1208913"/>
              <a:gd name="connsiteY5" fmla="*/ 249936 h 926973"/>
              <a:gd name="connsiteX6" fmla="*/ 936879 w 1208913"/>
              <a:gd name="connsiteY6" fmla="*/ 451104 h 926973"/>
              <a:gd name="connsiteX7" fmla="*/ 1083183 w 1208913"/>
              <a:gd name="connsiteY7" fmla="*/ 268224 h 926973"/>
              <a:gd name="connsiteX8" fmla="*/ 1208913 w 1208913"/>
              <a:gd name="connsiteY8" fmla="*/ 475869 h 926973"/>
              <a:gd name="connsiteX9" fmla="*/ 618363 w 1208913"/>
              <a:gd name="connsiteY9" fmla="*/ 926973 h 926973"/>
              <a:gd name="connsiteX10" fmla="*/ 0 w 1208913"/>
              <a:gd name="connsiteY10" fmla="*/ 489966 h 926973"/>
              <a:gd name="connsiteX0" fmla="*/ 0 w 1203198"/>
              <a:gd name="connsiteY0" fmla="*/ 488061 h 926973"/>
              <a:gd name="connsiteX1" fmla="*/ 169164 w 1203198"/>
              <a:gd name="connsiteY1" fmla="*/ 225552 h 926973"/>
              <a:gd name="connsiteX2" fmla="*/ 309372 w 1203198"/>
              <a:gd name="connsiteY2" fmla="*/ 359664 h 926973"/>
              <a:gd name="connsiteX3" fmla="*/ 510540 w 1203198"/>
              <a:gd name="connsiteY3" fmla="*/ 0 h 926973"/>
              <a:gd name="connsiteX4" fmla="*/ 736092 w 1203198"/>
              <a:gd name="connsiteY4" fmla="*/ 445008 h 926973"/>
              <a:gd name="connsiteX5" fmla="*/ 858012 w 1203198"/>
              <a:gd name="connsiteY5" fmla="*/ 249936 h 926973"/>
              <a:gd name="connsiteX6" fmla="*/ 931164 w 1203198"/>
              <a:gd name="connsiteY6" fmla="*/ 451104 h 926973"/>
              <a:gd name="connsiteX7" fmla="*/ 1077468 w 1203198"/>
              <a:gd name="connsiteY7" fmla="*/ 268224 h 926973"/>
              <a:gd name="connsiteX8" fmla="*/ 1203198 w 1203198"/>
              <a:gd name="connsiteY8" fmla="*/ 475869 h 926973"/>
              <a:gd name="connsiteX9" fmla="*/ 612648 w 1203198"/>
              <a:gd name="connsiteY9" fmla="*/ 926973 h 926973"/>
              <a:gd name="connsiteX10" fmla="*/ 0 w 1203198"/>
              <a:gd name="connsiteY10" fmla="*/ 488061 h 926973"/>
              <a:gd name="connsiteX0" fmla="*/ 0 w 1199388"/>
              <a:gd name="connsiteY0" fmla="*/ 486156 h 926973"/>
              <a:gd name="connsiteX1" fmla="*/ 165354 w 1199388"/>
              <a:gd name="connsiteY1" fmla="*/ 225552 h 926973"/>
              <a:gd name="connsiteX2" fmla="*/ 305562 w 1199388"/>
              <a:gd name="connsiteY2" fmla="*/ 359664 h 926973"/>
              <a:gd name="connsiteX3" fmla="*/ 506730 w 1199388"/>
              <a:gd name="connsiteY3" fmla="*/ 0 h 926973"/>
              <a:gd name="connsiteX4" fmla="*/ 732282 w 1199388"/>
              <a:gd name="connsiteY4" fmla="*/ 445008 h 926973"/>
              <a:gd name="connsiteX5" fmla="*/ 854202 w 1199388"/>
              <a:gd name="connsiteY5" fmla="*/ 249936 h 926973"/>
              <a:gd name="connsiteX6" fmla="*/ 927354 w 1199388"/>
              <a:gd name="connsiteY6" fmla="*/ 451104 h 926973"/>
              <a:gd name="connsiteX7" fmla="*/ 1073658 w 1199388"/>
              <a:gd name="connsiteY7" fmla="*/ 268224 h 926973"/>
              <a:gd name="connsiteX8" fmla="*/ 1199388 w 1199388"/>
              <a:gd name="connsiteY8" fmla="*/ 475869 h 926973"/>
              <a:gd name="connsiteX9" fmla="*/ 608838 w 1199388"/>
              <a:gd name="connsiteY9" fmla="*/ 926973 h 926973"/>
              <a:gd name="connsiteX10" fmla="*/ 0 w 1199388"/>
              <a:gd name="connsiteY10" fmla="*/ 486156 h 926973"/>
              <a:gd name="connsiteX0" fmla="*/ 0 w 1199388"/>
              <a:gd name="connsiteY0" fmla="*/ 486156 h 919353"/>
              <a:gd name="connsiteX1" fmla="*/ 165354 w 1199388"/>
              <a:gd name="connsiteY1" fmla="*/ 225552 h 919353"/>
              <a:gd name="connsiteX2" fmla="*/ 305562 w 1199388"/>
              <a:gd name="connsiteY2" fmla="*/ 359664 h 919353"/>
              <a:gd name="connsiteX3" fmla="*/ 506730 w 1199388"/>
              <a:gd name="connsiteY3" fmla="*/ 0 h 919353"/>
              <a:gd name="connsiteX4" fmla="*/ 732282 w 1199388"/>
              <a:gd name="connsiteY4" fmla="*/ 445008 h 919353"/>
              <a:gd name="connsiteX5" fmla="*/ 854202 w 1199388"/>
              <a:gd name="connsiteY5" fmla="*/ 249936 h 919353"/>
              <a:gd name="connsiteX6" fmla="*/ 927354 w 1199388"/>
              <a:gd name="connsiteY6" fmla="*/ 451104 h 919353"/>
              <a:gd name="connsiteX7" fmla="*/ 1073658 w 1199388"/>
              <a:gd name="connsiteY7" fmla="*/ 268224 h 919353"/>
              <a:gd name="connsiteX8" fmla="*/ 1199388 w 1199388"/>
              <a:gd name="connsiteY8" fmla="*/ 475869 h 919353"/>
              <a:gd name="connsiteX9" fmla="*/ 606933 w 1199388"/>
              <a:gd name="connsiteY9" fmla="*/ 919353 h 919353"/>
              <a:gd name="connsiteX10" fmla="*/ 0 w 1199388"/>
              <a:gd name="connsiteY10" fmla="*/ 486156 h 919353"/>
              <a:gd name="connsiteX0" fmla="*/ 0 w 1199388"/>
              <a:gd name="connsiteY0" fmla="*/ 486156 h 921258"/>
              <a:gd name="connsiteX1" fmla="*/ 165354 w 1199388"/>
              <a:gd name="connsiteY1" fmla="*/ 225552 h 921258"/>
              <a:gd name="connsiteX2" fmla="*/ 305562 w 1199388"/>
              <a:gd name="connsiteY2" fmla="*/ 359664 h 921258"/>
              <a:gd name="connsiteX3" fmla="*/ 506730 w 1199388"/>
              <a:gd name="connsiteY3" fmla="*/ 0 h 921258"/>
              <a:gd name="connsiteX4" fmla="*/ 732282 w 1199388"/>
              <a:gd name="connsiteY4" fmla="*/ 445008 h 921258"/>
              <a:gd name="connsiteX5" fmla="*/ 854202 w 1199388"/>
              <a:gd name="connsiteY5" fmla="*/ 249936 h 921258"/>
              <a:gd name="connsiteX6" fmla="*/ 927354 w 1199388"/>
              <a:gd name="connsiteY6" fmla="*/ 451104 h 921258"/>
              <a:gd name="connsiteX7" fmla="*/ 1073658 w 1199388"/>
              <a:gd name="connsiteY7" fmla="*/ 268224 h 921258"/>
              <a:gd name="connsiteX8" fmla="*/ 1199388 w 1199388"/>
              <a:gd name="connsiteY8" fmla="*/ 475869 h 921258"/>
              <a:gd name="connsiteX9" fmla="*/ 606933 w 1199388"/>
              <a:gd name="connsiteY9" fmla="*/ 921258 h 921258"/>
              <a:gd name="connsiteX10" fmla="*/ 0 w 1199388"/>
              <a:gd name="connsiteY10" fmla="*/ 486156 h 921258"/>
              <a:gd name="connsiteX0" fmla="*/ 0 w 1199388"/>
              <a:gd name="connsiteY0" fmla="*/ 486156 h 926973"/>
              <a:gd name="connsiteX1" fmla="*/ 165354 w 1199388"/>
              <a:gd name="connsiteY1" fmla="*/ 225552 h 926973"/>
              <a:gd name="connsiteX2" fmla="*/ 305562 w 1199388"/>
              <a:gd name="connsiteY2" fmla="*/ 359664 h 926973"/>
              <a:gd name="connsiteX3" fmla="*/ 506730 w 1199388"/>
              <a:gd name="connsiteY3" fmla="*/ 0 h 926973"/>
              <a:gd name="connsiteX4" fmla="*/ 732282 w 1199388"/>
              <a:gd name="connsiteY4" fmla="*/ 445008 h 926973"/>
              <a:gd name="connsiteX5" fmla="*/ 854202 w 1199388"/>
              <a:gd name="connsiteY5" fmla="*/ 249936 h 926973"/>
              <a:gd name="connsiteX6" fmla="*/ 927354 w 1199388"/>
              <a:gd name="connsiteY6" fmla="*/ 451104 h 926973"/>
              <a:gd name="connsiteX7" fmla="*/ 1073658 w 1199388"/>
              <a:gd name="connsiteY7" fmla="*/ 268224 h 926973"/>
              <a:gd name="connsiteX8" fmla="*/ 1199388 w 1199388"/>
              <a:gd name="connsiteY8" fmla="*/ 475869 h 926973"/>
              <a:gd name="connsiteX9" fmla="*/ 608838 w 1199388"/>
              <a:gd name="connsiteY9" fmla="*/ 926973 h 926973"/>
              <a:gd name="connsiteX10" fmla="*/ 0 w 1199388"/>
              <a:gd name="connsiteY10" fmla="*/ 486156 h 926973"/>
              <a:gd name="connsiteX0" fmla="*/ 0 w 1199388"/>
              <a:gd name="connsiteY0" fmla="*/ 486156 h 926973"/>
              <a:gd name="connsiteX1" fmla="*/ 165354 w 1199388"/>
              <a:gd name="connsiteY1" fmla="*/ 225552 h 926973"/>
              <a:gd name="connsiteX2" fmla="*/ 305562 w 1199388"/>
              <a:gd name="connsiteY2" fmla="*/ 359664 h 926973"/>
              <a:gd name="connsiteX3" fmla="*/ 506730 w 1199388"/>
              <a:gd name="connsiteY3" fmla="*/ 0 h 926973"/>
              <a:gd name="connsiteX4" fmla="*/ 732282 w 1199388"/>
              <a:gd name="connsiteY4" fmla="*/ 445008 h 926973"/>
              <a:gd name="connsiteX5" fmla="*/ 854202 w 1199388"/>
              <a:gd name="connsiteY5" fmla="*/ 249936 h 926973"/>
              <a:gd name="connsiteX6" fmla="*/ 927354 w 1199388"/>
              <a:gd name="connsiteY6" fmla="*/ 451104 h 926973"/>
              <a:gd name="connsiteX7" fmla="*/ 1073658 w 1199388"/>
              <a:gd name="connsiteY7" fmla="*/ 268224 h 926973"/>
              <a:gd name="connsiteX8" fmla="*/ 1199388 w 1199388"/>
              <a:gd name="connsiteY8" fmla="*/ 475869 h 926973"/>
              <a:gd name="connsiteX9" fmla="*/ 608838 w 1199388"/>
              <a:gd name="connsiteY9" fmla="*/ 926973 h 926973"/>
              <a:gd name="connsiteX10" fmla="*/ 173986 w 1199388"/>
              <a:gd name="connsiteY10" fmla="*/ 660142 h 926973"/>
              <a:gd name="connsiteX0" fmla="*/ 0 w 1199388"/>
              <a:gd name="connsiteY0" fmla="*/ 486156 h 926973"/>
              <a:gd name="connsiteX1" fmla="*/ 165354 w 1199388"/>
              <a:gd name="connsiteY1" fmla="*/ 225552 h 926973"/>
              <a:gd name="connsiteX2" fmla="*/ 305562 w 1199388"/>
              <a:gd name="connsiteY2" fmla="*/ 359664 h 926973"/>
              <a:gd name="connsiteX3" fmla="*/ 506730 w 1199388"/>
              <a:gd name="connsiteY3" fmla="*/ 0 h 926973"/>
              <a:gd name="connsiteX4" fmla="*/ 732282 w 1199388"/>
              <a:gd name="connsiteY4" fmla="*/ 445008 h 926973"/>
              <a:gd name="connsiteX5" fmla="*/ 854202 w 1199388"/>
              <a:gd name="connsiteY5" fmla="*/ 249936 h 926973"/>
              <a:gd name="connsiteX6" fmla="*/ 927354 w 1199388"/>
              <a:gd name="connsiteY6" fmla="*/ 451104 h 926973"/>
              <a:gd name="connsiteX7" fmla="*/ 1073658 w 1199388"/>
              <a:gd name="connsiteY7" fmla="*/ 268224 h 926973"/>
              <a:gd name="connsiteX8" fmla="*/ 1199388 w 1199388"/>
              <a:gd name="connsiteY8" fmla="*/ 475869 h 926973"/>
              <a:gd name="connsiteX9" fmla="*/ 608838 w 1199388"/>
              <a:gd name="connsiteY9" fmla="*/ 926973 h 926973"/>
              <a:gd name="connsiteX0" fmla="*/ 0 w 1199388"/>
              <a:gd name="connsiteY0" fmla="*/ 486156 h 486156"/>
              <a:gd name="connsiteX1" fmla="*/ 165354 w 1199388"/>
              <a:gd name="connsiteY1" fmla="*/ 225552 h 486156"/>
              <a:gd name="connsiteX2" fmla="*/ 305562 w 1199388"/>
              <a:gd name="connsiteY2" fmla="*/ 359664 h 486156"/>
              <a:gd name="connsiteX3" fmla="*/ 506730 w 1199388"/>
              <a:gd name="connsiteY3" fmla="*/ 0 h 486156"/>
              <a:gd name="connsiteX4" fmla="*/ 732282 w 1199388"/>
              <a:gd name="connsiteY4" fmla="*/ 445008 h 486156"/>
              <a:gd name="connsiteX5" fmla="*/ 854202 w 1199388"/>
              <a:gd name="connsiteY5" fmla="*/ 249936 h 486156"/>
              <a:gd name="connsiteX6" fmla="*/ 927354 w 1199388"/>
              <a:gd name="connsiteY6" fmla="*/ 451104 h 486156"/>
              <a:gd name="connsiteX7" fmla="*/ 1073658 w 1199388"/>
              <a:gd name="connsiteY7" fmla="*/ 268224 h 486156"/>
              <a:gd name="connsiteX8" fmla="*/ 1199388 w 1199388"/>
              <a:gd name="connsiteY8" fmla="*/ 475869 h 486156"/>
              <a:gd name="connsiteX0" fmla="*/ 0 w 1199388"/>
              <a:gd name="connsiteY0" fmla="*/ 486156 h 486156"/>
              <a:gd name="connsiteX1" fmla="*/ 165354 w 1199388"/>
              <a:gd name="connsiteY1" fmla="*/ 225552 h 486156"/>
              <a:gd name="connsiteX2" fmla="*/ 305562 w 1199388"/>
              <a:gd name="connsiteY2" fmla="*/ 359664 h 486156"/>
              <a:gd name="connsiteX3" fmla="*/ 506730 w 1199388"/>
              <a:gd name="connsiteY3" fmla="*/ 0 h 486156"/>
              <a:gd name="connsiteX4" fmla="*/ 732282 w 1199388"/>
              <a:gd name="connsiteY4" fmla="*/ 445008 h 486156"/>
              <a:gd name="connsiteX5" fmla="*/ 854202 w 1199388"/>
              <a:gd name="connsiteY5" fmla="*/ 249936 h 486156"/>
              <a:gd name="connsiteX6" fmla="*/ 927354 w 1199388"/>
              <a:gd name="connsiteY6" fmla="*/ 451104 h 486156"/>
              <a:gd name="connsiteX7" fmla="*/ 1073658 w 1199388"/>
              <a:gd name="connsiteY7" fmla="*/ 268224 h 486156"/>
              <a:gd name="connsiteX8" fmla="*/ 1199388 w 1199388"/>
              <a:gd name="connsiteY8" fmla="*/ 475869 h 486156"/>
              <a:gd name="connsiteX0" fmla="*/ 0 w 1199388"/>
              <a:gd name="connsiteY0" fmla="*/ 531371 h 531371"/>
              <a:gd name="connsiteX1" fmla="*/ 165354 w 1199388"/>
              <a:gd name="connsiteY1" fmla="*/ 270767 h 531371"/>
              <a:gd name="connsiteX2" fmla="*/ 305562 w 1199388"/>
              <a:gd name="connsiteY2" fmla="*/ 404879 h 531371"/>
              <a:gd name="connsiteX3" fmla="*/ 506730 w 1199388"/>
              <a:gd name="connsiteY3" fmla="*/ 45215 h 531371"/>
              <a:gd name="connsiteX4" fmla="*/ 732282 w 1199388"/>
              <a:gd name="connsiteY4" fmla="*/ 490223 h 531371"/>
              <a:gd name="connsiteX5" fmla="*/ 854202 w 1199388"/>
              <a:gd name="connsiteY5" fmla="*/ 295151 h 531371"/>
              <a:gd name="connsiteX6" fmla="*/ 927354 w 1199388"/>
              <a:gd name="connsiteY6" fmla="*/ 496319 h 531371"/>
              <a:gd name="connsiteX7" fmla="*/ 1073658 w 1199388"/>
              <a:gd name="connsiteY7" fmla="*/ 313439 h 531371"/>
              <a:gd name="connsiteX8" fmla="*/ 1199388 w 1199388"/>
              <a:gd name="connsiteY8" fmla="*/ 521084 h 531371"/>
              <a:gd name="connsiteX0" fmla="*/ 0 w 1199388"/>
              <a:gd name="connsiteY0" fmla="*/ 531371 h 531371"/>
              <a:gd name="connsiteX1" fmla="*/ 165354 w 1199388"/>
              <a:gd name="connsiteY1" fmla="*/ 270767 h 531371"/>
              <a:gd name="connsiteX2" fmla="*/ 305562 w 1199388"/>
              <a:gd name="connsiteY2" fmla="*/ 404879 h 531371"/>
              <a:gd name="connsiteX3" fmla="*/ 506730 w 1199388"/>
              <a:gd name="connsiteY3" fmla="*/ 45215 h 531371"/>
              <a:gd name="connsiteX4" fmla="*/ 732282 w 1199388"/>
              <a:gd name="connsiteY4" fmla="*/ 490223 h 531371"/>
              <a:gd name="connsiteX5" fmla="*/ 854202 w 1199388"/>
              <a:gd name="connsiteY5" fmla="*/ 295151 h 531371"/>
              <a:gd name="connsiteX6" fmla="*/ 927354 w 1199388"/>
              <a:gd name="connsiteY6" fmla="*/ 496319 h 531371"/>
              <a:gd name="connsiteX7" fmla="*/ 1073658 w 1199388"/>
              <a:gd name="connsiteY7" fmla="*/ 313439 h 531371"/>
              <a:gd name="connsiteX8" fmla="*/ 1199388 w 1199388"/>
              <a:gd name="connsiteY8" fmla="*/ 521084 h 531371"/>
              <a:gd name="connsiteX0" fmla="*/ 0 w 1199388"/>
              <a:gd name="connsiteY0" fmla="*/ 531371 h 531371"/>
              <a:gd name="connsiteX1" fmla="*/ 203038 w 1199388"/>
              <a:gd name="connsiteY1" fmla="*/ 179490 h 531371"/>
              <a:gd name="connsiteX2" fmla="*/ 305562 w 1199388"/>
              <a:gd name="connsiteY2" fmla="*/ 404879 h 531371"/>
              <a:gd name="connsiteX3" fmla="*/ 506730 w 1199388"/>
              <a:gd name="connsiteY3" fmla="*/ 45215 h 531371"/>
              <a:gd name="connsiteX4" fmla="*/ 732282 w 1199388"/>
              <a:gd name="connsiteY4" fmla="*/ 490223 h 531371"/>
              <a:gd name="connsiteX5" fmla="*/ 854202 w 1199388"/>
              <a:gd name="connsiteY5" fmla="*/ 295151 h 531371"/>
              <a:gd name="connsiteX6" fmla="*/ 927354 w 1199388"/>
              <a:gd name="connsiteY6" fmla="*/ 496319 h 531371"/>
              <a:gd name="connsiteX7" fmla="*/ 1073658 w 1199388"/>
              <a:gd name="connsiteY7" fmla="*/ 313439 h 531371"/>
              <a:gd name="connsiteX8" fmla="*/ 1199388 w 1199388"/>
              <a:gd name="connsiteY8" fmla="*/ 521084 h 531371"/>
              <a:gd name="connsiteX0" fmla="*/ 0 w 1199388"/>
              <a:gd name="connsiteY0" fmla="*/ 531371 h 531371"/>
              <a:gd name="connsiteX1" fmla="*/ 203038 w 1199388"/>
              <a:gd name="connsiteY1" fmla="*/ 179490 h 531371"/>
              <a:gd name="connsiteX2" fmla="*/ 305562 w 1199388"/>
              <a:gd name="connsiteY2" fmla="*/ 404879 h 531371"/>
              <a:gd name="connsiteX3" fmla="*/ 506730 w 1199388"/>
              <a:gd name="connsiteY3" fmla="*/ 45215 h 531371"/>
              <a:gd name="connsiteX4" fmla="*/ 732282 w 1199388"/>
              <a:gd name="connsiteY4" fmla="*/ 490223 h 531371"/>
              <a:gd name="connsiteX5" fmla="*/ 854202 w 1199388"/>
              <a:gd name="connsiteY5" fmla="*/ 295151 h 531371"/>
              <a:gd name="connsiteX6" fmla="*/ 927354 w 1199388"/>
              <a:gd name="connsiteY6" fmla="*/ 496319 h 531371"/>
              <a:gd name="connsiteX7" fmla="*/ 1073658 w 1199388"/>
              <a:gd name="connsiteY7" fmla="*/ 313439 h 531371"/>
              <a:gd name="connsiteX8" fmla="*/ 1199388 w 1199388"/>
              <a:gd name="connsiteY8" fmla="*/ 521084 h 531371"/>
              <a:gd name="connsiteX0" fmla="*/ 0 w 1199388"/>
              <a:gd name="connsiteY0" fmla="*/ 531371 h 531371"/>
              <a:gd name="connsiteX1" fmla="*/ 203038 w 1199388"/>
              <a:gd name="connsiteY1" fmla="*/ 179490 h 531371"/>
              <a:gd name="connsiteX2" fmla="*/ 305562 w 1199388"/>
              <a:gd name="connsiteY2" fmla="*/ 404879 h 531371"/>
              <a:gd name="connsiteX3" fmla="*/ 506730 w 1199388"/>
              <a:gd name="connsiteY3" fmla="*/ 45215 h 531371"/>
              <a:gd name="connsiteX4" fmla="*/ 732282 w 1199388"/>
              <a:gd name="connsiteY4" fmla="*/ 490223 h 531371"/>
              <a:gd name="connsiteX5" fmla="*/ 850461 w 1199388"/>
              <a:gd name="connsiteY5" fmla="*/ 181537 h 531371"/>
              <a:gd name="connsiteX6" fmla="*/ 927354 w 1199388"/>
              <a:gd name="connsiteY6" fmla="*/ 496319 h 531371"/>
              <a:gd name="connsiteX7" fmla="*/ 1073658 w 1199388"/>
              <a:gd name="connsiteY7" fmla="*/ 313439 h 531371"/>
              <a:gd name="connsiteX8" fmla="*/ 1199388 w 1199388"/>
              <a:gd name="connsiteY8" fmla="*/ 521084 h 531371"/>
              <a:gd name="connsiteX0" fmla="*/ 0 w 1199388"/>
              <a:gd name="connsiteY0" fmla="*/ 531371 h 531371"/>
              <a:gd name="connsiteX1" fmla="*/ 203038 w 1199388"/>
              <a:gd name="connsiteY1" fmla="*/ 179490 h 531371"/>
              <a:gd name="connsiteX2" fmla="*/ 305562 w 1199388"/>
              <a:gd name="connsiteY2" fmla="*/ 404879 h 531371"/>
              <a:gd name="connsiteX3" fmla="*/ 506730 w 1199388"/>
              <a:gd name="connsiteY3" fmla="*/ 45215 h 531371"/>
              <a:gd name="connsiteX4" fmla="*/ 732282 w 1199388"/>
              <a:gd name="connsiteY4" fmla="*/ 490223 h 531371"/>
              <a:gd name="connsiteX5" fmla="*/ 850461 w 1199388"/>
              <a:gd name="connsiteY5" fmla="*/ 181537 h 531371"/>
              <a:gd name="connsiteX6" fmla="*/ 927354 w 1199388"/>
              <a:gd name="connsiteY6" fmla="*/ 496319 h 531371"/>
              <a:gd name="connsiteX7" fmla="*/ 1073658 w 1199388"/>
              <a:gd name="connsiteY7" fmla="*/ 313439 h 531371"/>
              <a:gd name="connsiteX8" fmla="*/ 1199388 w 1199388"/>
              <a:gd name="connsiteY8" fmla="*/ 521084 h 531371"/>
              <a:gd name="connsiteX0" fmla="*/ 0 w 1199388"/>
              <a:gd name="connsiteY0" fmla="*/ 531371 h 531371"/>
              <a:gd name="connsiteX1" fmla="*/ 203038 w 1199388"/>
              <a:gd name="connsiteY1" fmla="*/ 179490 h 531371"/>
              <a:gd name="connsiteX2" fmla="*/ 305562 w 1199388"/>
              <a:gd name="connsiteY2" fmla="*/ 404879 h 531371"/>
              <a:gd name="connsiteX3" fmla="*/ 506730 w 1199388"/>
              <a:gd name="connsiteY3" fmla="*/ 45215 h 531371"/>
              <a:gd name="connsiteX4" fmla="*/ 732282 w 1199388"/>
              <a:gd name="connsiteY4" fmla="*/ 490223 h 531371"/>
              <a:gd name="connsiteX5" fmla="*/ 879325 w 1199388"/>
              <a:gd name="connsiteY5" fmla="*/ 234300 h 531371"/>
              <a:gd name="connsiteX6" fmla="*/ 927354 w 1199388"/>
              <a:gd name="connsiteY6" fmla="*/ 496319 h 531371"/>
              <a:gd name="connsiteX7" fmla="*/ 1073658 w 1199388"/>
              <a:gd name="connsiteY7" fmla="*/ 313439 h 531371"/>
              <a:gd name="connsiteX8" fmla="*/ 1199388 w 1199388"/>
              <a:gd name="connsiteY8" fmla="*/ 521084 h 531371"/>
              <a:gd name="connsiteX0" fmla="*/ 0 w 1199388"/>
              <a:gd name="connsiteY0" fmla="*/ 531371 h 531371"/>
              <a:gd name="connsiteX1" fmla="*/ 203038 w 1199388"/>
              <a:gd name="connsiteY1" fmla="*/ 179490 h 531371"/>
              <a:gd name="connsiteX2" fmla="*/ 305562 w 1199388"/>
              <a:gd name="connsiteY2" fmla="*/ 404879 h 531371"/>
              <a:gd name="connsiteX3" fmla="*/ 506730 w 1199388"/>
              <a:gd name="connsiteY3" fmla="*/ 45215 h 531371"/>
              <a:gd name="connsiteX4" fmla="*/ 732282 w 1199388"/>
              <a:gd name="connsiteY4" fmla="*/ 490223 h 531371"/>
              <a:gd name="connsiteX5" fmla="*/ 879325 w 1199388"/>
              <a:gd name="connsiteY5" fmla="*/ 234300 h 531371"/>
              <a:gd name="connsiteX6" fmla="*/ 927354 w 1199388"/>
              <a:gd name="connsiteY6" fmla="*/ 496319 h 531371"/>
              <a:gd name="connsiteX7" fmla="*/ 1041452 w 1199388"/>
              <a:gd name="connsiteY7" fmla="*/ 269928 h 531371"/>
              <a:gd name="connsiteX8" fmla="*/ 1199388 w 1199388"/>
              <a:gd name="connsiteY8" fmla="*/ 521084 h 531371"/>
              <a:gd name="connsiteX0" fmla="*/ 0 w 1199388"/>
              <a:gd name="connsiteY0" fmla="*/ 531371 h 531371"/>
              <a:gd name="connsiteX1" fmla="*/ 203038 w 1199388"/>
              <a:gd name="connsiteY1" fmla="*/ 179490 h 531371"/>
              <a:gd name="connsiteX2" fmla="*/ 305562 w 1199388"/>
              <a:gd name="connsiteY2" fmla="*/ 404879 h 531371"/>
              <a:gd name="connsiteX3" fmla="*/ 506730 w 1199388"/>
              <a:gd name="connsiteY3" fmla="*/ 45215 h 531371"/>
              <a:gd name="connsiteX4" fmla="*/ 732282 w 1199388"/>
              <a:gd name="connsiteY4" fmla="*/ 490223 h 531371"/>
              <a:gd name="connsiteX5" fmla="*/ 879325 w 1199388"/>
              <a:gd name="connsiteY5" fmla="*/ 234300 h 531371"/>
              <a:gd name="connsiteX6" fmla="*/ 927354 w 1199388"/>
              <a:gd name="connsiteY6" fmla="*/ 496319 h 531371"/>
              <a:gd name="connsiteX7" fmla="*/ 1041452 w 1199388"/>
              <a:gd name="connsiteY7" fmla="*/ 269928 h 531371"/>
              <a:gd name="connsiteX8" fmla="*/ 1199388 w 1199388"/>
              <a:gd name="connsiteY8" fmla="*/ 521084 h 531371"/>
              <a:gd name="connsiteX0" fmla="*/ 0 w 1199388"/>
              <a:gd name="connsiteY0" fmla="*/ 531371 h 531371"/>
              <a:gd name="connsiteX1" fmla="*/ 203038 w 1199388"/>
              <a:gd name="connsiteY1" fmla="*/ 179490 h 531371"/>
              <a:gd name="connsiteX2" fmla="*/ 305562 w 1199388"/>
              <a:gd name="connsiteY2" fmla="*/ 404879 h 531371"/>
              <a:gd name="connsiteX3" fmla="*/ 506730 w 1199388"/>
              <a:gd name="connsiteY3" fmla="*/ 45215 h 531371"/>
              <a:gd name="connsiteX4" fmla="*/ 732282 w 1199388"/>
              <a:gd name="connsiteY4" fmla="*/ 490223 h 531371"/>
              <a:gd name="connsiteX5" fmla="*/ 879325 w 1199388"/>
              <a:gd name="connsiteY5" fmla="*/ 234300 h 531371"/>
              <a:gd name="connsiteX6" fmla="*/ 927354 w 1199388"/>
              <a:gd name="connsiteY6" fmla="*/ 496319 h 531371"/>
              <a:gd name="connsiteX7" fmla="*/ 1041452 w 1199388"/>
              <a:gd name="connsiteY7" fmla="*/ 269928 h 531371"/>
              <a:gd name="connsiteX8" fmla="*/ 1199388 w 1199388"/>
              <a:gd name="connsiteY8" fmla="*/ 521084 h 531371"/>
              <a:gd name="connsiteX0" fmla="*/ 0 w 1199388"/>
              <a:gd name="connsiteY0" fmla="*/ 531371 h 531371"/>
              <a:gd name="connsiteX1" fmla="*/ 203038 w 1199388"/>
              <a:gd name="connsiteY1" fmla="*/ 179490 h 531371"/>
              <a:gd name="connsiteX2" fmla="*/ 305562 w 1199388"/>
              <a:gd name="connsiteY2" fmla="*/ 404879 h 531371"/>
              <a:gd name="connsiteX3" fmla="*/ 506730 w 1199388"/>
              <a:gd name="connsiteY3" fmla="*/ 45215 h 531371"/>
              <a:gd name="connsiteX4" fmla="*/ 732282 w 1199388"/>
              <a:gd name="connsiteY4" fmla="*/ 490223 h 531371"/>
              <a:gd name="connsiteX5" fmla="*/ 879325 w 1199388"/>
              <a:gd name="connsiteY5" fmla="*/ 234300 h 531371"/>
              <a:gd name="connsiteX6" fmla="*/ 927354 w 1199388"/>
              <a:gd name="connsiteY6" fmla="*/ 496319 h 531371"/>
              <a:gd name="connsiteX7" fmla="*/ 1041452 w 1199388"/>
              <a:gd name="connsiteY7" fmla="*/ 269928 h 531371"/>
              <a:gd name="connsiteX8" fmla="*/ 1199388 w 1199388"/>
              <a:gd name="connsiteY8" fmla="*/ 521084 h 531371"/>
              <a:gd name="connsiteX0" fmla="*/ 0 w 1199388"/>
              <a:gd name="connsiteY0" fmla="*/ 531371 h 531371"/>
              <a:gd name="connsiteX1" fmla="*/ 203038 w 1199388"/>
              <a:gd name="connsiteY1" fmla="*/ 179490 h 531371"/>
              <a:gd name="connsiteX2" fmla="*/ 305562 w 1199388"/>
              <a:gd name="connsiteY2" fmla="*/ 404879 h 531371"/>
              <a:gd name="connsiteX3" fmla="*/ 506730 w 1199388"/>
              <a:gd name="connsiteY3" fmla="*/ 45215 h 531371"/>
              <a:gd name="connsiteX4" fmla="*/ 732282 w 1199388"/>
              <a:gd name="connsiteY4" fmla="*/ 490223 h 531371"/>
              <a:gd name="connsiteX5" fmla="*/ 879325 w 1199388"/>
              <a:gd name="connsiteY5" fmla="*/ 234300 h 531371"/>
              <a:gd name="connsiteX6" fmla="*/ 927354 w 1199388"/>
              <a:gd name="connsiteY6" fmla="*/ 496319 h 531371"/>
              <a:gd name="connsiteX7" fmla="*/ 1041628 w 1199388"/>
              <a:gd name="connsiteY7" fmla="*/ 232473 h 531371"/>
              <a:gd name="connsiteX8" fmla="*/ 1199388 w 1199388"/>
              <a:gd name="connsiteY8" fmla="*/ 521084 h 531371"/>
              <a:gd name="connsiteX0" fmla="*/ 0 w 1199388"/>
              <a:gd name="connsiteY0" fmla="*/ 531371 h 531371"/>
              <a:gd name="connsiteX1" fmla="*/ 203038 w 1199388"/>
              <a:gd name="connsiteY1" fmla="*/ 179490 h 531371"/>
              <a:gd name="connsiteX2" fmla="*/ 305562 w 1199388"/>
              <a:gd name="connsiteY2" fmla="*/ 404879 h 531371"/>
              <a:gd name="connsiteX3" fmla="*/ 506730 w 1199388"/>
              <a:gd name="connsiteY3" fmla="*/ 45215 h 531371"/>
              <a:gd name="connsiteX4" fmla="*/ 732282 w 1199388"/>
              <a:gd name="connsiteY4" fmla="*/ 490223 h 531371"/>
              <a:gd name="connsiteX5" fmla="*/ 879325 w 1199388"/>
              <a:gd name="connsiteY5" fmla="*/ 234300 h 531371"/>
              <a:gd name="connsiteX6" fmla="*/ 927354 w 1199388"/>
              <a:gd name="connsiteY6" fmla="*/ 496319 h 531371"/>
              <a:gd name="connsiteX7" fmla="*/ 1041628 w 1199388"/>
              <a:gd name="connsiteY7" fmla="*/ 232473 h 531371"/>
              <a:gd name="connsiteX8" fmla="*/ 1199388 w 1199388"/>
              <a:gd name="connsiteY8" fmla="*/ 521084 h 531371"/>
              <a:gd name="connsiteX0" fmla="*/ 0 w 1199388"/>
              <a:gd name="connsiteY0" fmla="*/ 531371 h 531371"/>
              <a:gd name="connsiteX1" fmla="*/ 203038 w 1199388"/>
              <a:gd name="connsiteY1" fmla="*/ 179490 h 531371"/>
              <a:gd name="connsiteX2" fmla="*/ 305562 w 1199388"/>
              <a:gd name="connsiteY2" fmla="*/ 404879 h 531371"/>
              <a:gd name="connsiteX3" fmla="*/ 506730 w 1199388"/>
              <a:gd name="connsiteY3" fmla="*/ 45215 h 531371"/>
              <a:gd name="connsiteX4" fmla="*/ 732282 w 1199388"/>
              <a:gd name="connsiteY4" fmla="*/ 490223 h 531371"/>
              <a:gd name="connsiteX5" fmla="*/ 848619 w 1199388"/>
              <a:gd name="connsiteY5" fmla="*/ 160541 h 531371"/>
              <a:gd name="connsiteX6" fmla="*/ 927354 w 1199388"/>
              <a:gd name="connsiteY6" fmla="*/ 496319 h 531371"/>
              <a:gd name="connsiteX7" fmla="*/ 1041628 w 1199388"/>
              <a:gd name="connsiteY7" fmla="*/ 232473 h 531371"/>
              <a:gd name="connsiteX8" fmla="*/ 1199388 w 1199388"/>
              <a:gd name="connsiteY8" fmla="*/ 521084 h 531371"/>
              <a:gd name="connsiteX0" fmla="*/ 0 w 1199388"/>
              <a:gd name="connsiteY0" fmla="*/ 531371 h 531371"/>
              <a:gd name="connsiteX1" fmla="*/ 203038 w 1199388"/>
              <a:gd name="connsiteY1" fmla="*/ 179490 h 531371"/>
              <a:gd name="connsiteX2" fmla="*/ 305562 w 1199388"/>
              <a:gd name="connsiteY2" fmla="*/ 404879 h 531371"/>
              <a:gd name="connsiteX3" fmla="*/ 506730 w 1199388"/>
              <a:gd name="connsiteY3" fmla="*/ 45215 h 531371"/>
              <a:gd name="connsiteX4" fmla="*/ 732282 w 1199388"/>
              <a:gd name="connsiteY4" fmla="*/ 490223 h 531371"/>
              <a:gd name="connsiteX5" fmla="*/ 848619 w 1199388"/>
              <a:gd name="connsiteY5" fmla="*/ 160541 h 531371"/>
              <a:gd name="connsiteX6" fmla="*/ 927354 w 1199388"/>
              <a:gd name="connsiteY6" fmla="*/ 496319 h 531371"/>
              <a:gd name="connsiteX7" fmla="*/ 1041628 w 1199388"/>
              <a:gd name="connsiteY7" fmla="*/ 232473 h 531371"/>
              <a:gd name="connsiteX8" fmla="*/ 1199388 w 1199388"/>
              <a:gd name="connsiteY8" fmla="*/ 521084 h 531371"/>
              <a:gd name="connsiteX0" fmla="*/ 0 w 1199388"/>
              <a:gd name="connsiteY0" fmla="*/ 573047 h 573047"/>
              <a:gd name="connsiteX1" fmla="*/ 203038 w 1199388"/>
              <a:gd name="connsiteY1" fmla="*/ 221166 h 573047"/>
              <a:gd name="connsiteX2" fmla="*/ 305562 w 1199388"/>
              <a:gd name="connsiteY2" fmla="*/ 446555 h 573047"/>
              <a:gd name="connsiteX3" fmla="*/ 527703 w 1199388"/>
              <a:gd name="connsiteY3" fmla="*/ 41876 h 573047"/>
              <a:gd name="connsiteX4" fmla="*/ 732282 w 1199388"/>
              <a:gd name="connsiteY4" fmla="*/ 531899 h 573047"/>
              <a:gd name="connsiteX5" fmla="*/ 848619 w 1199388"/>
              <a:gd name="connsiteY5" fmla="*/ 202217 h 573047"/>
              <a:gd name="connsiteX6" fmla="*/ 927354 w 1199388"/>
              <a:gd name="connsiteY6" fmla="*/ 537995 h 573047"/>
              <a:gd name="connsiteX7" fmla="*/ 1041628 w 1199388"/>
              <a:gd name="connsiteY7" fmla="*/ 274149 h 573047"/>
              <a:gd name="connsiteX8" fmla="*/ 1199388 w 1199388"/>
              <a:gd name="connsiteY8" fmla="*/ 562760 h 573047"/>
              <a:gd name="connsiteX0" fmla="*/ 0 w 1199388"/>
              <a:gd name="connsiteY0" fmla="*/ 585127 h 585127"/>
              <a:gd name="connsiteX1" fmla="*/ 203038 w 1199388"/>
              <a:gd name="connsiteY1" fmla="*/ 233246 h 585127"/>
              <a:gd name="connsiteX2" fmla="*/ 305562 w 1199388"/>
              <a:gd name="connsiteY2" fmla="*/ 458635 h 585127"/>
              <a:gd name="connsiteX3" fmla="*/ 527703 w 1199388"/>
              <a:gd name="connsiteY3" fmla="*/ 53956 h 585127"/>
              <a:gd name="connsiteX4" fmla="*/ 732282 w 1199388"/>
              <a:gd name="connsiteY4" fmla="*/ 543979 h 585127"/>
              <a:gd name="connsiteX5" fmla="*/ 848619 w 1199388"/>
              <a:gd name="connsiteY5" fmla="*/ 214297 h 585127"/>
              <a:gd name="connsiteX6" fmla="*/ 927354 w 1199388"/>
              <a:gd name="connsiteY6" fmla="*/ 550075 h 585127"/>
              <a:gd name="connsiteX7" fmla="*/ 1041628 w 1199388"/>
              <a:gd name="connsiteY7" fmla="*/ 286229 h 585127"/>
              <a:gd name="connsiteX8" fmla="*/ 1199388 w 1199388"/>
              <a:gd name="connsiteY8" fmla="*/ 574840 h 585127"/>
              <a:gd name="connsiteX0" fmla="*/ 0 w 1199388"/>
              <a:gd name="connsiteY0" fmla="*/ 637329 h 637329"/>
              <a:gd name="connsiteX1" fmla="*/ 203038 w 1199388"/>
              <a:gd name="connsiteY1" fmla="*/ 285448 h 637329"/>
              <a:gd name="connsiteX2" fmla="*/ 305562 w 1199388"/>
              <a:gd name="connsiteY2" fmla="*/ 510837 h 637329"/>
              <a:gd name="connsiteX3" fmla="*/ 603067 w 1199388"/>
              <a:gd name="connsiteY3" fmla="*/ 49759 h 637329"/>
              <a:gd name="connsiteX4" fmla="*/ 732282 w 1199388"/>
              <a:gd name="connsiteY4" fmla="*/ 596181 h 637329"/>
              <a:gd name="connsiteX5" fmla="*/ 848619 w 1199388"/>
              <a:gd name="connsiteY5" fmla="*/ 266499 h 637329"/>
              <a:gd name="connsiteX6" fmla="*/ 927354 w 1199388"/>
              <a:gd name="connsiteY6" fmla="*/ 602277 h 637329"/>
              <a:gd name="connsiteX7" fmla="*/ 1041628 w 1199388"/>
              <a:gd name="connsiteY7" fmla="*/ 338431 h 637329"/>
              <a:gd name="connsiteX8" fmla="*/ 1199388 w 1199388"/>
              <a:gd name="connsiteY8" fmla="*/ 627042 h 637329"/>
              <a:gd name="connsiteX0" fmla="*/ 0 w 1199388"/>
              <a:gd name="connsiteY0" fmla="*/ 637329 h 637329"/>
              <a:gd name="connsiteX1" fmla="*/ 213756 w 1199388"/>
              <a:gd name="connsiteY1" fmla="*/ 234024 h 637329"/>
              <a:gd name="connsiteX2" fmla="*/ 305562 w 1199388"/>
              <a:gd name="connsiteY2" fmla="*/ 510837 h 637329"/>
              <a:gd name="connsiteX3" fmla="*/ 603067 w 1199388"/>
              <a:gd name="connsiteY3" fmla="*/ 49759 h 637329"/>
              <a:gd name="connsiteX4" fmla="*/ 732282 w 1199388"/>
              <a:gd name="connsiteY4" fmla="*/ 596181 h 637329"/>
              <a:gd name="connsiteX5" fmla="*/ 848619 w 1199388"/>
              <a:gd name="connsiteY5" fmla="*/ 266499 h 637329"/>
              <a:gd name="connsiteX6" fmla="*/ 927354 w 1199388"/>
              <a:gd name="connsiteY6" fmla="*/ 602277 h 637329"/>
              <a:gd name="connsiteX7" fmla="*/ 1041628 w 1199388"/>
              <a:gd name="connsiteY7" fmla="*/ 338431 h 637329"/>
              <a:gd name="connsiteX8" fmla="*/ 1199388 w 1199388"/>
              <a:gd name="connsiteY8" fmla="*/ 627042 h 637329"/>
              <a:gd name="connsiteX0" fmla="*/ 0 w 1199388"/>
              <a:gd name="connsiteY0" fmla="*/ 637329 h 637329"/>
              <a:gd name="connsiteX1" fmla="*/ 213756 w 1199388"/>
              <a:gd name="connsiteY1" fmla="*/ 234024 h 637329"/>
              <a:gd name="connsiteX2" fmla="*/ 305562 w 1199388"/>
              <a:gd name="connsiteY2" fmla="*/ 510837 h 637329"/>
              <a:gd name="connsiteX3" fmla="*/ 603067 w 1199388"/>
              <a:gd name="connsiteY3" fmla="*/ 49759 h 637329"/>
              <a:gd name="connsiteX4" fmla="*/ 732282 w 1199388"/>
              <a:gd name="connsiteY4" fmla="*/ 596181 h 637329"/>
              <a:gd name="connsiteX5" fmla="*/ 848619 w 1199388"/>
              <a:gd name="connsiteY5" fmla="*/ 266499 h 637329"/>
              <a:gd name="connsiteX6" fmla="*/ 927354 w 1199388"/>
              <a:gd name="connsiteY6" fmla="*/ 602277 h 637329"/>
              <a:gd name="connsiteX7" fmla="*/ 1041628 w 1199388"/>
              <a:gd name="connsiteY7" fmla="*/ 338431 h 637329"/>
              <a:gd name="connsiteX8" fmla="*/ 1199388 w 1199388"/>
              <a:gd name="connsiteY8" fmla="*/ 627042 h 637329"/>
              <a:gd name="connsiteX0" fmla="*/ 0 w 1199388"/>
              <a:gd name="connsiteY0" fmla="*/ 637329 h 637329"/>
              <a:gd name="connsiteX1" fmla="*/ 213756 w 1199388"/>
              <a:gd name="connsiteY1" fmla="*/ 234024 h 637329"/>
              <a:gd name="connsiteX2" fmla="*/ 305562 w 1199388"/>
              <a:gd name="connsiteY2" fmla="*/ 510837 h 637329"/>
              <a:gd name="connsiteX3" fmla="*/ 603067 w 1199388"/>
              <a:gd name="connsiteY3" fmla="*/ 49759 h 637329"/>
              <a:gd name="connsiteX4" fmla="*/ 732282 w 1199388"/>
              <a:gd name="connsiteY4" fmla="*/ 596181 h 637329"/>
              <a:gd name="connsiteX5" fmla="*/ 848619 w 1199388"/>
              <a:gd name="connsiteY5" fmla="*/ 266499 h 637329"/>
              <a:gd name="connsiteX6" fmla="*/ 927354 w 1199388"/>
              <a:gd name="connsiteY6" fmla="*/ 602277 h 637329"/>
              <a:gd name="connsiteX7" fmla="*/ 1041628 w 1199388"/>
              <a:gd name="connsiteY7" fmla="*/ 338431 h 637329"/>
              <a:gd name="connsiteX8" fmla="*/ 1199388 w 1199388"/>
              <a:gd name="connsiteY8" fmla="*/ 627042 h 637329"/>
              <a:gd name="connsiteX0" fmla="*/ 0 w 1199388"/>
              <a:gd name="connsiteY0" fmla="*/ 637329 h 637329"/>
              <a:gd name="connsiteX1" fmla="*/ 213756 w 1199388"/>
              <a:gd name="connsiteY1" fmla="*/ 234024 h 637329"/>
              <a:gd name="connsiteX2" fmla="*/ 305562 w 1199388"/>
              <a:gd name="connsiteY2" fmla="*/ 510837 h 637329"/>
              <a:gd name="connsiteX3" fmla="*/ 603067 w 1199388"/>
              <a:gd name="connsiteY3" fmla="*/ 49759 h 637329"/>
              <a:gd name="connsiteX4" fmla="*/ 732282 w 1199388"/>
              <a:gd name="connsiteY4" fmla="*/ 596181 h 637329"/>
              <a:gd name="connsiteX5" fmla="*/ 848619 w 1199388"/>
              <a:gd name="connsiteY5" fmla="*/ 266499 h 637329"/>
              <a:gd name="connsiteX6" fmla="*/ 927354 w 1199388"/>
              <a:gd name="connsiteY6" fmla="*/ 602277 h 637329"/>
              <a:gd name="connsiteX7" fmla="*/ 1041628 w 1199388"/>
              <a:gd name="connsiteY7" fmla="*/ 338431 h 637329"/>
              <a:gd name="connsiteX8" fmla="*/ 1199388 w 1199388"/>
              <a:gd name="connsiteY8" fmla="*/ 627042 h 637329"/>
              <a:gd name="connsiteX0" fmla="*/ 0 w 1199388"/>
              <a:gd name="connsiteY0" fmla="*/ 643823 h 643823"/>
              <a:gd name="connsiteX1" fmla="*/ 213756 w 1199388"/>
              <a:gd name="connsiteY1" fmla="*/ 240518 h 643823"/>
              <a:gd name="connsiteX2" fmla="*/ 305562 w 1199388"/>
              <a:gd name="connsiteY2" fmla="*/ 517331 h 643823"/>
              <a:gd name="connsiteX3" fmla="*/ 603067 w 1199388"/>
              <a:gd name="connsiteY3" fmla="*/ 56253 h 643823"/>
              <a:gd name="connsiteX4" fmla="*/ 732282 w 1199388"/>
              <a:gd name="connsiteY4" fmla="*/ 602675 h 643823"/>
              <a:gd name="connsiteX5" fmla="*/ 848619 w 1199388"/>
              <a:gd name="connsiteY5" fmla="*/ 272993 h 643823"/>
              <a:gd name="connsiteX6" fmla="*/ 927354 w 1199388"/>
              <a:gd name="connsiteY6" fmla="*/ 608771 h 643823"/>
              <a:gd name="connsiteX7" fmla="*/ 1041628 w 1199388"/>
              <a:gd name="connsiteY7" fmla="*/ 344925 h 643823"/>
              <a:gd name="connsiteX8" fmla="*/ 1199388 w 1199388"/>
              <a:gd name="connsiteY8" fmla="*/ 633536 h 643823"/>
              <a:gd name="connsiteX0" fmla="*/ 0 w 1199388"/>
              <a:gd name="connsiteY0" fmla="*/ 643823 h 643823"/>
              <a:gd name="connsiteX1" fmla="*/ 213756 w 1199388"/>
              <a:gd name="connsiteY1" fmla="*/ 240518 h 643823"/>
              <a:gd name="connsiteX2" fmla="*/ 305562 w 1199388"/>
              <a:gd name="connsiteY2" fmla="*/ 517331 h 643823"/>
              <a:gd name="connsiteX3" fmla="*/ 603067 w 1199388"/>
              <a:gd name="connsiteY3" fmla="*/ 56253 h 643823"/>
              <a:gd name="connsiteX4" fmla="*/ 732282 w 1199388"/>
              <a:gd name="connsiteY4" fmla="*/ 602675 h 643823"/>
              <a:gd name="connsiteX5" fmla="*/ 848619 w 1199388"/>
              <a:gd name="connsiteY5" fmla="*/ 272993 h 643823"/>
              <a:gd name="connsiteX6" fmla="*/ 927354 w 1199388"/>
              <a:gd name="connsiteY6" fmla="*/ 608771 h 643823"/>
              <a:gd name="connsiteX7" fmla="*/ 1041628 w 1199388"/>
              <a:gd name="connsiteY7" fmla="*/ 344925 h 643823"/>
              <a:gd name="connsiteX8" fmla="*/ 1199388 w 1199388"/>
              <a:gd name="connsiteY8" fmla="*/ 633536 h 643823"/>
              <a:gd name="connsiteX0" fmla="*/ 0 w 1199388"/>
              <a:gd name="connsiteY0" fmla="*/ 643823 h 643823"/>
              <a:gd name="connsiteX1" fmla="*/ 213756 w 1199388"/>
              <a:gd name="connsiteY1" fmla="*/ 240518 h 643823"/>
              <a:gd name="connsiteX2" fmla="*/ 305562 w 1199388"/>
              <a:gd name="connsiteY2" fmla="*/ 517331 h 643823"/>
              <a:gd name="connsiteX3" fmla="*/ 603067 w 1199388"/>
              <a:gd name="connsiteY3" fmla="*/ 56253 h 643823"/>
              <a:gd name="connsiteX4" fmla="*/ 732282 w 1199388"/>
              <a:gd name="connsiteY4" fmla="*/ 602675 h 643823"/>
              <a:gd name="connsiteX5" fmla="*/ 848619 w 1199388"/>
              <a:gd name="connsiteY5" fmla="*/ 272993 h 643823"/>
              <a:gd name="connsiteX6" fmla="*/ 927354 w 1199388"/>
              <a:gd name="connsiteY6" fmla="*/ 608771 h 643823"/>
              <a:gd name="connsiteX7" fmla="*/ 1041628 w 1199388"/>
              <a:gd name="connsiteY7" fmla="*/ 344925 h 643823"/>
              <a:gd name="connsiteX8" fmla="*/ 1199388 w 1199388"/>
              <a:gd name="connsiteY8" fmla="*/ 633536 h 643823"/>
              <a:gd name="connsiteX0" fmla="*/ 0 w 1199388"/>
              <a:gd name="connsiteY0" fmla="*/ 643823 h 643823"/>
              <a:gd name="connsiteX1" fmla="*/ 213756 w 1199388"/>
              <a:gd name="connsiteY1" fmla="*/ 240518 h 643823"/>
              <a:gd name="connsiteX2" fmla="*/ 305562 w 1199388"/>
              <a:gd name="connsiteY2" fmla="*/ 517331 h 643823"/>
              <a:gd name="connsiteX3" fmla="*/ 603067 w 1199388"/>
              <a:gd name="connsiteY3" fmla="*/ 56253 h 643823"/>
              <a:gd name="connsiteX4" fmla="*/ 732282 w 1199388"/>
              <a:gd name="connsiteY4" fmla="*/ 602675 h 643823"/>
              <a:gd name="connsiteX5" fmla="*/ 848619 w 1199388"/>
              <a:gd name="connsiteY5" fmla="*/ 272993 h 643823"/>
              <a:gd name="connsiteX6" fmla="*/ 927354 w 1199388"/>
              <a:gd name="connsiteY6" fmla="*/ 608771 h 643823"/>
              <a:gd name="connsiteX7" fmla="*/ 1041628 w 1199388"/>
              <a:gd name="connsiteY7" fmla="*/ 344925 h 643823"/>
              <a:gd name="connsiteX8" fmla="*/ 1199388 w 1199388"/>
              <a:gd name="connsiteY8" fmla="*/ 633536 h 643823"/>
              <a:gd name="connsiteX0" fmla="*/ 0 w 1199388"/>
              <a:gd name="connsiteY0" fmla="*/ 643823 h 643823"/>
              <a:gd name="connsiteX1" fmla="*/ 213756 w 1199388"/>
              <a:gd name="connsiteY1" fmla="*/ 240518 h 643823"/>
              <a:gd name="connsiteX2" fmla="*/ 305562 w 1199388"/>
              <a:gd name="connsiteY2" fmla="*/ 517331 h 643823"/>
              <a:gd name="connsiteX3" fmla="*/ 603067 w 1199388"/>
              <a:gd name="connsiteY3" fmla="*/ 56253 h 643823"/>
              <a:gd name="connsiteX4" fmla="*/ 732282 w 1199388"/>
              <a:gd name="connsiteY4" fmla="*/ 602675 h 643823"/>
              <a:gd name="connsiteX5" fmla="*/ 848619 w 1199388"/>
              <a:gd name="connsiteY5" fmla="*/ 272993 h 643823"/>
              <a:gd name="connsiteX6" fmla="*/ 927354 w 1199388"/>
              <a:gd name="connsiteY6" fmla="*/ 608771 h 643823"/>
              <a:gd name="connsiteX7" fmla="*/ 1041628 w 1199388"/>
              <a:gd name="connsiteY7" fmla="*/ 344925 h 643823"/>
              <a:gd name="connsiteX8" fmla="*/ 1199388 w 1199388"/>
              <a:gd name="connsiteY8" fmla="*/ 633536 h 643823"/>
              <a:gd name="connsiteX0" fmla="*/ 0 w 1199388"/>
              <a:gd name="connsiteY0" fmla="*/ 643823 h 643823"/>
              <a:gd name="connsiteX1" fmla="*/ 213756 w 1199388"/>
              <a:gd name="connsiteY1" fmla="*/ 240518 h 643823"/>
              <a:gd name="connsiteX2" fmla="*/ 305562 w 1199388"/>
              <a:gd name="connsiteY2" fmla="*/ 517331 h 643823"/>
              <a:gd name="connsiteX3" fmla="*/ 603067 w 1199388"/>
              <a:gd name="connsiteY3" fmla="*/ 56253 h 643823"/>
              <a:gd name="connsiteX4" fmla="*/ 732282 w 1199388"/>
              <a:gd name="connsiteY4" fmla="*/ 602675 h 643823"/>
              <a:gd name="connsiteX5" fmla="*/ 848619 w 1199388"/>
              <a:gd name="connsiteY5" fmla="*/ 272993 h 643823"/>
              <a:gd name="connsiteX6" fmla="*/ 927354 w 1199388"/>
              <a:gd name="connsiteY6" fmla="*/ 608771 h 643823"/>
              <a:gd name="connsiteX7" fmla="*/ 1041628 w 1199388"/>
              <a:gd name="connsiteY7" fmla="*/ 344925 h 643823"/>
              <a:gd name="connsiteX8" fmla="*/ 1199388 w 1199388"/>
              <a:gd name="connsiteY8" fmla="*/ 633536 h 643823"/>
              <a:gd name="connsiteX0" fmla="*/ 0 w 1199388"/>
              <a:gd name="connsiteY0" fmla="*/ 643823 h 643823"/>
              <a:gd name="connsiteX1" fmla="*/ 213756 w 1199388"/>
              <a:gd name="connsiteY1" fmla="*/ 240518 h 643823"/>
              <a:gd name="connsiteX2" fmla="*/ 305562 w 1199388"/>
              <a:gd name="connsiteY2" fmla="*/ 517331 h 643823"/>
              <a:gd name="connsiteX3" fmla="*/ 603067 w 1199388"/>
              <a:gd name="connsiteY3" fmla="*/ 56253 h 643823"/>
              <a:gd name="connsiteX4" fmla="*/ 732282 w 1199388"/>
              <a:gd name="connsiteY4" fmla="*/ 602675 h 643823"/>
              <a:gd name="connsiteX5" fmla="*/ 848619 w 1199388"/>
              <a:gd name="connsiteY5" fmla="*/ 272993 h 643823"/>
              <a:gd name="connsiteX6" fmla="*/ 927354 w 1199388"/>
              <a:gd name="connsiteY6" fmla="*/ 608771 h 643823"/>
              <a:gd name="connsiteX7" fmla="*/ 1041628 w 1199388"/>
              <a:gd name="connsiteY7" fmla="*/ 344925 h 643823"/>
              <a:gd name="connsiteX8" fmla="*/ 1199388 w 1199388"/>
              <a:gd name="connsiteY8" fmla="*/ 633536 h 643823"/>
              <a:gd name="connsiteX0" fmla="*/ 0 w 1199388"/>
              <a:gd name="connsiteY0" fmla="*/ 643823 h 643823"/>
              <a:gd name="connsiteX1" fmla="*/ 213756 w 1199388"/>
              <a:gd name="connsiteY1" fmla="*/ 240518 h 643823"/>
              <a:gd name="connsiteX2" fmla="*/ 305562 w 1199388"/>
              <a:gd name="connsiteY2" fmla="*/ 517331 h 643823"/>
              <a:gd name="connsiteX3" fmla="*/ 603067 w 1199388"/>
              <a:gd name="connsiteY3" fmla="*/ 56253 h 643823"/>
              <a:gd name="connsiteX4" fmla="*/ 732282 w 1199388"/>
              <a:gd name="connsiteY4" fmla="*/ 602675 h 643823"/>
              <a:gd name="connsiteX5" fmla="*/ 848619 w 1199388"/>
              <a:gd name="connsiteY5" fmla="*/ 272993 h 643823"/>
              <a:gd name="connsiteX6" fmla="*/ 927354 w 1199388"/>
              <a:gd name="connsiteY6" fmla="*/ 608771 h 643823"/>
              <a:gd name="connsiteX7" fmla="*/ 1041628 w 1199388"/>
              <a:gd name="connsiteY7" fmla="*/ 344925 h 643823"/>
              <a:gd name="connsiteX8" fmla="*/ 1199388 w 1199388"/>
              <a:gd name="connsiteY8" fmla="*/ 633536 h 643823"/>
              <a:gd name="connsiteX0" fmla="*/ 0 w 1199388"/>
              <a:gd name="connsiteY0" fmla="*/ 643823 h 643823"/>
              <a:gd name="connsiteX1" fmla="*/ 213756 w 1199388"/>
              <a:gd name="connsiteY1" fmla="*/ 240518 h 643823"/>
              <a:gd name="connsiteX2" fmla="*/ 305562 w 1199388"/>
              <a:gd name="connsiteY2" fmla="*/ 517331 h 643823"/>
              <a:gd name="connsiteX3" fmla="*/ 603067 w 1199388"/>
              <a:gd name="connsiteY3" fmla="*/ 56253 h 643823"/>
              <a:gd name="connsiteX4" fmla="*/ 732282 w 1199388"/>
              <a:gd name="connsiteY4" fmla="*/ 602675 h 643823"/>
              <a:gd name="connsiteX5" fmla="*/ 848619 w 1199388"/>
              <a:gd name="connsiteY5" fmla="*/ 272993 h 643823"/>
              <a:gd name="connsiteX6" fmla="*/ 927354 w 1199388"/>
              <a:gd name="connsiteY6" fmla="*/ 608771 h 643823"/>
              <a:gd name="connsiteX7" fmla="*/ 1041628 w 1199388"/>
              <a:gd name="connsiteY7" fmla="*/ 344925 h 643823"/>
              <a:gd name="connsiteX8" fmla="*/ 1199388 w 1199388"/>
              <a:gd name="connsiteY8" fmla="*/ 633536 h 643823"/>
              <a:gd name="connsiteX0" fmla="*/ 0 w 1139934"/>
              <a:gd name="connsiteY0" fmla="*/ 643823 h 643823"/>
              <a:gd name="connsiteX1" fmla="*/ 213756 w 1139934"/>
              <a:gd name="connsiteY1" fmla="*/ 240518 h 643823"/>
              <a:gd name="connsiteX2" fmla="*/ 305562 w 1139934"/>
              <a:gd name="connsiteY2" fmla="*/ 517331 h 643823"/>
              <a:gd name="connsiteX3" fmla="*/ 603067 w 1139934"/>
              <a:gd name="connsiteY3" fmla="*/ 56253 h 643823"/>
              <a:gd name="connsiteX4" fmla="*/ 732282 w 1139934"/>
              <a:gd name="connsiteY4" fmla="*/ 602675 h 643823"/>
              <a:gd name="connsiteX5" fmla="*/ 848619 w 1139934"/>
              <a:gd name="connsiteY5" fmla="*/ 272993 h 643823"/>
              <a:gd name="connsiteX6" fmla="*/ 927354 w 1139934"/>
              <a:gd name="connsiteY6" fmla="*/ 608771 h 643823"/>
              <a:gd name="connsiteX7" fmla="*/ 1041628 w 1139934"/>
              <a:gd name="connsiteY7" fmla="*/ 344925 h 643823"/>
              <a:gd name="connsiteX8" fmla="*/ 1139934 w 1139934"/>
              <a:gd name="connsiteY8" fmla="*/ 524097 h 643823"/>
              <a:gd name="connsiteX0" fmla="*/ 0 w 1139934"/>
              <a:gd name="connsiteY0" fmla="*/ 643823 h 643823"/>
              <a:gd name="connsiteX1" fmla="*/ 213756 w 1139934"/>
              <a:gd name="connsiteY1" fmla="*/ 240518 h 643823"/>
              <a:gd name="connsiteX2" fmla="*/ 305562 w 1139934"/>
              <a:gd name="connsiteY2" fmla="*/ 517331 h 643823"/>
              <a:gd name="connsiteX3" fmla="*/ 603067 w 1139934"/>
              <a:gd name="connsiteY3" fmla="*/ 56253 h 643823"/>
              <a:gd name="connsiteX4" fmla="*/ 732282 w 1139934"/>
              <a:gd name="connsiteY4" fmla="*/ 602675 h 643823"/>
              <a:gd name="connsiteX5" fmla="*/ 848619 w 1139934"/>
              <a:gd name="connsiteY5" fmla="*/ 272993 h 643823"/>
              <a:gd name="connsiteX6" fmla="*/ 927354 w 1139934"/>
              <a:gd name="connsiteY6" fmla="*/ 608771 h 643823"/>
              <a:gd name="connsiteX7" fmla="*/ 1026591 w 1139934"/>
              <a:gd name="connsiteY7" fmla="*/ 323482 h 643823"/>
              <a:gd name="connsiteX8" fmla="*/ 1139934 w 1139934"/>
              <a:gd name="connsiteY8" fmla="*/ 524097 h 643823"/>
              <a:gd name="connsiteX0" fmla="*/ 0 w 1139934"/>
              <a:gd name="connsiteY0" fmla="*/ 643823 h 643823"/>
              <a:gd name="connsiteX1" fmla="*/ 213756 w 1139934"/>
              <a:gd name="connsiteY1" fmla="*/ 240518 h 643823"/>
              <a:gd name="connsiteX2" fmla="*/ 305562 w 1139934"/>
              <a:gd name="connsiteY2" fmla="*/ 517331 h 643823"/>
              <a:gd name="connsiteX3" fmla="*/ 603067 w 1139934"/>
              <a:gd name="connsiteY3" fmla="*/ 56253 h 643823"/>
              <a:gd name="connsiteX4" fmla="*/ 732282 w 1139934"/>
              <a:gd name="connsiteY4" fmla="*/ 602675 h 643823"/>
              <a:gd name="connsiteX5" fmla="*/ 848619 w 1139934"/>
              <a:gd name="connsiteY5" fmla="*/ 272993 h 643823"/>
              <a:gd name="connsiteX6" fmla="*/ 927354 w 1139934"/>
              <a:gd name="connsiteY6" fmla="*/ 608771 h 643823"/>
              <a:gd name="connsiteX7" fmla="*/ 1026591 w 1139934"/>
              <a:gd name="connsiteY7" fmla="*/ 323482 h 643823"/>
              <a:gd name="connsiteX8" fmla="*/ 1139934 w 1139934"/>
              <a:gd name="connsiteY8" fmla="*/ 524097 h 643823"/>
              <a:gd name="connsiteX0" fmla="*/ 0 w 1139934"/>
              <a:gd name="connsiteY0" fmla="*/ 643823 h 643823"/>
              <a:gd name="connsiteX1" fmla="*/ 213756 w 1139934"/>
              <a:gd name="connsiteY1" fmla="*/ 240518 h 643823"/>
              <a:gd name="connsiteX2" fmla="*/ 305562 w 1139934"/>
              <a:gd name="connsiteY2" fmla="*/ 517331 h 643823"/>
              <a:gd name="connsiteX3" fmla="*/ 603067 w 1139934"/>
              <a:gd name="connsiteY3" fmla="*/ 56253 h 643823"/>
              <a:gd name="connsiteX4" fmla="*/ 732282 w 1139934"/>
              <a:gd name="connsiteY4" fmla="*/ 602675 h 643823"/>
              <a:gd name="connsiteX5" fmla="*/ 848619 w 1139934"/>
              <a:gd name="connsiteY5" fmla="*/ 272993 h 643823"/>
              <a:gd name="connsiteX6" fmla="*/ 927354 w 1139934"/>
              <a:gd name="connsiteY6" fmla="*/ 608771 h 643823"/>
              <a:gd name="connsiteX7" fmla="*/ 1046121 w 1139934"/>
              <a:gd name="connsiteY7" fmla="*/ 380337 h 643823"/>
              <a:gd name="connsiteX8" fmla="*/ 1139934 w 1139934"/>
              <a:gd name="connsiteY8" fmla="*/ 524097 h 643823"/>
              <a:gd name="connsiteX0" fmla="*/ 0 w 1139934"/>
              <a:gd name="connsiteY0" fmla="*/ 643823 h 643823"/>
              <a:gd name="connsiteX1" fmla="*/ 213756 w 1139934"/>
              <a:gd name="connsiteY1" fmla="*/ 240518 h 643823"/>
              <a:gd name="connsiteX2" fmla="*/ 305562 w 1139934"/>
              <a:gd name="connsiteY2" fmla="*/ 517331 h 643823"/>
              <a:gd name="connsiteX3" fmla="*/ 603067 w 1139934"/>
              <a:gd name="connsiteY3" fmla="*/ 56253 h 643823"/>
              <a:gd name="connsiteX4" fmla="*/ 732282 w 1139934"/>
              <a:gd name="connsiteY4" fmla="*/ 602675 h 643823"/>
              <a:gd name="connsiteX5" fmla="*/ 848619 w 1139934"/>
              <a:gd name="connsiteY5" fmla="*/ 272993 h 643823"/>
              <a:gd name="connsiteX6" fmla="*/ 927354 w 1139934"/>
              <a:gd name="connsiteY6" fmla="*/ 608771 h 643823"/>
              <a:gd name="connsiteX7" fmla="*/ 1046121 w 1139934"/>
              <a:gd name="connsiteY7" fmla="*/ 380337 h 643823"/>
              <a:gd name="connsiteX8" fmla="*/ 1139934 w 1139934"/>
              <a:gd name="connsiteY8" fmla="*/ 524097 h 643823"/>
              <a:gd name="connsiteX0" fmla="*/ 0 w 1139934"/>
              <a:gd name="connsiteY0" fmla="*/ 643823 h 643823"/>
              <a:gd name="connsiteX1" fmla="*/ 213756 w 1139934"/>
              <a:gd name="connsiteY1" fmla="*/ 240518 h 643823"/>
              <a:gd name="connsiteX2" fmla="*/ 305562 w 1139934"/>
              <a:gd name="connsiteY2" fmla="*/ 517331 h 643823"/>
              <a:gd name="connsiteX3" fmla="*/ 603067 w 1139934"/>
              <a:gd name="connsiteY3" fmla="*/ 56253 h 643823"/>
              <a:gd name="connsiteX4" fmla="*/ 732282 w 1139934"/>
              <a:gd name="connsiteY4" fmla="*/ 602675 h 643823"/>
              <a:gd name="connsiteX5" fmla="*/ 848619 w 1139934"/>
              <a:gd name="connsiteY5" fmla="*/ 272993 h 643823"/>
              <a:gd name="connsiteX6" fmla="*/ 927354 w 1139934"/>
              <a:gd name="connsiteY6" fmla="*/ 608771 h 643823"/>
              <a:gd name="connsiteX7" fmla="*/ 1046121 w 1139934"/>
              <a:gd name="connsiteY7" fmla="*/ 380337 h 643823"/>
              <a:gd name="connsiteX8" fmla="*/ 1139934 w 1139934"/>
              <a:gd name="connsiteY8" fmla="*/ 524097 h 643823"/>
              <a:gd name="connsiteX0" fmla="*/ 0 w 1139934"/>
              <a:gd name="connsiteY0" fmla="*/ 643823 h 643823"/>
              <a:gd name="connsiteX1" fmla="*/ 213756 w 1139934"/>
              <a:gd name="connsiteY1" fmla="*/ 240518 h 643823"/>
              <a:gd name="connsiteX2" fmla="*/ 305562 w 1139934"/>
              <a:gd name="connsiteY2" fmla="*/ 517331 h 643823"/>
              <a:gd name="connsiteX3" fmla="*/ 603067 w 1139934"/>
              <a:gd name="connsiteY3" fmla="*/ 56253 h 643823"/>
              <a:gd name="connsiteX4" fmla="*/ 732282 w 1139934"/>
              <a:gd name="connsiteY4" fmla="*/ 602675 h 643823"/>
              <a:gd name="connsiteX5" fmla="*/ 848619 w 1139934"/>
              <a:gd name="connsiteY5" fmla="*/ 272993 h 643823"/>
              <a:gd name="connsiteX6" fmla="*/ 927354 w 1139934"/>
              <a:gd name="connsiteY6" fmla="*/ 608771 h 643823"/>
              <a:gd name="connsiteX7" fmla="*/ 1046121 w 1139934"/>
              <a:gd name="connsiteY7" fmla="*/ 380337 h 643823"/>
              <a:gd name="connsiteX8" fmla="*/ 1139934 w 1139934"/>
              <a:gd name="connsiteY8" fmla="*/ 524097 h 643823"/>
              <a:gd name="connsiteX0" fmla="*/ 0 w 1139934"/>
              <a:gd name="connsiteY0" fmla="*/ 643823 h 643823"/>
              <a:gd name="connsiteX1" fmla="*/ 213756 w 1139934"/>
              <a:gd name="connsiteY1" fmla="*/ 240518 h 643823"/>
              <a:gd name="connsiteX2" fmla="*/ 305562 w 1139934"/>
              <a:gd name="connsiteY2" fmla="*/ 517331 h 643823"/>
              <a:gd name="connsiteX3" fmla="*/ 603067 w 1139934"/>
              <a:gd name="connsiteY3" fmla="*/ 56253 h 643823"/>
              <a:gd name="connsiteX4" fmla="*/ 732282 w 1139934"/>
              <a:gd name="connsiteY4" fmla="*/ 602675 h 643823"/>
              <a:gd name="connsiteX5" fmla="*/ 848619 w 1139934"/>
              <a:gd name="connsiteY5" fmla="*/ 272993 h 643823"/>
              <a:gd name="connsiteX6" fmla="*/ 927354 w 1139934"/>
              <a:gd name="connsiteY6" fmla="*/ 608771 h 643823"/>
              <a:gd name="connsiteX7" fmla="*/ 1046121 w 1139934"/>
              <a:gd name="connsiteY7" fmla="*/ 380337 h 643823"/>
              <a:gd name="connsiteX8" fmla="*/ 1139934 w 1139934"/>
              <a:gd name="connsiteY8" fmla="*/ 524097 h 643823"/>
              <a:gd name="connsiteX0" fmla="*/ 0 w 1139934"/>
              <a:gd name="connsiteY0" fmla="*/ 643823 h 643823"/>
              <a:gd name="connsiteX1" fmla="*/ 213756 w 1139934"/>
              <a:gd name="connsiteY1" fmla="*/ 240518 h 643823"/>
              <a:gd name="connsiteX2" fmla="*/ 305562 w 1139934"/>
              <a:gd name="connsiteY2" fmla="*/ 517331 h 643823"/>
              <a:gd name="connsiteX3" fmla="*/ 603067 w 1139934"/>
              <a:gd name="connsiteY3" fmla="*/ 56253 h 643823"/>
              <a:gd name="connsiteX4" fmla="*/ 732282 w 1139934"/>
              <a:gd name="connsiteY4" fmla="*/ 602675 h 643823"/>
              <a:gd name="connsiteX5" fmla="*/ 848619 w 1139934"/>
              <a:gd name="connsiteY5" fmla="*/ 272993 h 643823"/>
              <a:gd name="connsiteX6" fmla="*/ 927354 w 1139934"/>
              <a:gd name="connsiteY6" fmla="*/ 608771 h 643823"/>
              <a:gd name="connsiteX7" fmla="*/ 1041857 w 1139934"/>
              <a:gd name="connsiteY7" fmla="*/ 379091 h 643823"/>
              <a:gd name="connsiteX8" fmla="*/ 1139934 w 1139934"/>
              <a:gd name="connsiteY8" fmla="*/ 524097 h 643823"/>
              <a:gd name="connsiteX0" fmla="*/ 0 w 1139934"/>
              <a:gd name="connsiteY0" fmla="*/ 643823 h 643823"/>
              <a:gd name="connsiteX1" fmla="*/ 213756 w 1139934"/>
              <a:gd name="connsiteY1" fmla="*/ 240518 h 643823"/>
              <a:gd name="connsiteX2" fmla="*/ 305562 w 1139934"/>
              <a:gd name="connsiteY2" fmla="*/ 517331 h 643823"/>
              <a:gd name="connsiteX3" fmla="*/ 603067 w 1139934"/>
              <a:gd name="connsiteY3" fmla="*/ 56253 h 643823"/>
              <a:gd name="connsiteX4" fmla="*/ 732282 w 1139934"/>
              <a:gd name="connsiteY4" fmla="*/ 602675 h 643823"/>
              <a:gd name="connsiteX5" fmla="*/ 848619 w 1139934"/>
              <a:gd name="connsiteY5" fmla="*/ 272993 h 643823"/>
              <a:gd name="connsiteX6" fmla="*/ 927354 w 1139934"/>
              <a:gd name="connsiteY6" fmla="*/ 608771 h 643823"/>
              <a:gd name="connsiteX7" fmla="*/ 1041857 w 1139934"/>
              <a:gd name="connsiteY7" fmla="*/ 379091 h 643823"/>
              <a:gd name="connsiteX8" fmla="*/ 1139934 w 1139934"/>
              <a:gd name="connsiteY8" fmla="*/ 524097 h 643823"/>
              <a:gd name="connsiteX0" fmla="*/ 0 w 1139934"/>
              <a:gd name="connsiteY0" fmla="*/ 643823 h 643823"/>
              <a:gd name="connsiteX1" fmla="*/ 213756 w 1139934"/>
              <a:gd name="connsiteY1" fmla="*/ 240518 h 643823"/>
              <a:gd name="connsiteX2" fmla="*/ 305562 w 1139934"/>
              <a:gd name="connsiteY2" fmla="*/ 517331 h 643823"/>
              <a:gd name="connsiteX3" fmla="*/ 603067 w 1139934"/>
              <a:gd name="connsiteY3" fmla="*/ 56253 h 643823"/>
              <a:gd name="connsiteX4" fmla="*/ 732282 w 1139934"/>
              <a:gd name="connsiteY4" fmla="*/ 602675 h 643823"/>
              <a:gd name="connsiteX5" fmla="*/ 848619 w 1139934"/>
              <a:gd name="connsiteY5" fmla="*/ 272993 h 643823"/>
              <a:gd name="connsiteX6" fmla="*/ 927354 w 1139934"/>
              <a:gd name="connsiteY6" fmla="*/ 608771 h 643823"/>
              <a:gd name="connsiteX7" fmla="*/ 1041857 w 1139934"/>
              <a:gd name="connsiteY7" fmla="*/ 379091 h 643823"/>
              <a:gd name="connsiteX8" fmla="*/ 1139934 w 1139934"/>
              <a:gd name="connsiteY8" fmla="*/ 524097 h 643823"/>
              <a:gd name="connsiteX0" fmla="*/ 0 w 1139934"/>
              <a:gd name="connsiteY0" fmla="*/ 643823 h 643823"/>
              <a:gd name="connsiteX1" fmla="*/ 213756 w 1139934"/>
              <a:gd name="connsiteY1" fmla="*/ 240518 h 643823"/>
              <a:gd name="connsiteX2" fmla="*/ 305562 w 1139934"/>
              <a:gd name="connsiteY2" fmla="*/ 517331 h 643823"/>
              <a:gd name="connsiteX3" fmla="*/ 603067 w 1139934"/>
              <a:gd name="connsiteY3" fmla="*/ 56253 h 643823"/>
              <a:gd name="connsiteX4" fmla="*/ 732282 w 1139934"/>
              <a:gd name="connsiteY4" fmla="*/ 602675 h 643823"/>
              <a:gd name="connsiteX5" fmla="*/ 848619 w 1139934"/>
              <a:gd name="connsiteY5" fmla="*/ 272993 h 643823"/>
              <a:gd name="connsiteX6" fmla="*/ 927354 w 1139934"/>
              <a:gd name="connsiteY6" fmla="*/ 608771 h 643823"/>
              <a:gd name="connsiteX7" fmla="*/ 1041857 w 1139934"/>
              <a:gd name="connsiteY7" fmla="*/ 379091 h 643823"/>
              <a:gd name="connsiteX8" fmla="*/ 1139934 w 1139934"/>
              <a:gd name="connsiteY8" fmla="*/ 524097 h 643823"/>
              <a:gd name="connsiteX0" fmla="*/ 0 w 1041857"/>
              <a:gd name="connsiteY0" fmla="*/ 643823 h 643823"/>
              <a:gd name="connsiteX1" fmla="*/ 213756 w 1041857"/>
              <a:gd name="connsiteY1" fmla="*/ 240518 h 643823"/>
              <a:gd name="connsiteX2" fmla="*/ 305562 w 1041857"/>
              <a:gd name="connsiteY2" fmla="*/ 517331 h 643823"/>
              <a:gd name="connsiteX3" fmla="*/ 603067 w 1041857"/>
              <a:gd name="connsiteY3" fmla="*/ 56253 h 643823"/>
              <a:gd name="connsiteX4" fmla="*/ 732282 w 1041857"/>
              <a:gd name="connsiteY4" fmla="*/ 602675 h 643823"/>
              <a:gd name="connsiteX5" fmla="*/ 848619 w 1041857"/>
              <a:gd name="connsiteY5" fmla="*/ 272993 h 643823"/>
              <a:gd name="connsiteX6" fmla="*/ 927354 w 1041857"/>
              <a:gd name="connsiteY6" fmla="*/ 608771 h 643823"/>
              <a:gd name="connsiteX7" fmla="*/ 1041857 w 1041857"/>
              <a:gd name="connsiteY7" fmla="*/ 379091 h 643823"/>
              <a:gd name="connsiteX0" fmla="*/ 0 w 927355"/>
              <a:gd name="connsiteY0" fmla="*/ 643823 h 643823"/>
              <a:gd name="connsiteX1" fmla="*/ 213756 w 927355"/>
              <a:gd name="connsiteY1" fmla="*/ 240518 h 643823"/>
              <a:gd name="connsiteX2" fmla="*/ 305562 w 927355"/>
              <a:gd name="connsiteY2" fmla="*/ 517331 h 643823"/>
              <a:gd name="connsiteX3" fmla="*/ 603067 w 927355"/>
              <a:gd name="connsiteY3" fmla="*/ 56253 h 643823"/>
              <a:gd name="connsiteX4" fmla="*/ 732282 w 927355"/>
              <a:gd name="connsiteY4" fmla="*/ 602675 h 643823"/>
              <a:gd name="connsiteX5" fmla="*/ 848619 w 927355"/>
              <a:gd name="connsiteY5" fmla="*/ 272993 h 643823"/>
              <a:gd name="connsiteX6" fmla="*/ 927354 w 927355"/>
              <a:gd name="connsiteY6" fmla="*/ 608771 h 643823"/>
              <a:gd name="connsiteX0" fmla="*/ 0 w 848619"/>
              <a:gd name="connsiteY0" fmla="*/ 643823 h 643823"/>
              <a:gd name="connsiteX1" fmla="*/ 213756 w 848619"/>
              <a:gd name="connsiteY1" fmla="*/ 240518 h 643823"/>
              <a:gd name="connsiteX2" fmla="*/ 305562 w 848619"/>
              <a:gd name="connsiteY2" fmla="*/ 517331 h 643823"/>
              <a:gd name="connsiteX3" fmla="*/ 603067 w 848619"/>
              <a:gd name="connsiteY3" fmla="*/ 56253 h 643823"/>
              <a:gd name="connsiteX4" fmla="*/ 732282 w 848619"/>
              <a:gd name="connsiteY4" fmla="*/ 602675 h 643823"/>
              <a:gd name="connsiteX5" fmla="*/ 848619 w 848619"/>
              <a:gd name="connsiteY5" fmla="*/ 272993 h 643823"/>
              <a:gd name="connsiteX0" fmla="*/ 0 w 732282"/>
              <a:gd name="connsiteY0" fmla="*/ 643823 h 643823"/>
              <a:gd name="connsiteX1" fmla="*/ 213756 w 732282"/>
              <a:gd name="connsiteY1" fmla="*/ 240518 h 643823"/>
              <a:gd name="connsiteX2" fmla="*/ 305562 w 732282"/>
              <a:gd name="connsiteY2" fmla="*/ 517331 h 643823"/>
              <a:gd name="connsiteX3" fmla="*/ 603067 w 732282"/>
              <a:gd name="connsiteY3" fmla="*/ 56253 h 643823"/>
              <a:gd name="connsiteX4" fmla="*/ 732282 w 732282"/>
              <a:gd name="connsiteY4" fmla="*/ 602675 h 6438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32282" h="643823">
                <a:moveTo>
                  <a:pt x="0" y="643823"/>
                </a:moveTo>
                <a:cubicBezTo>
                  <a:pt x="40086" y="409352"/>
                  <a:pt x="213785" y="111640"/>
                  <a:pt x="213756" y="240518"/>
                </a:cubicBezTo>
                <a:cubicBezTo>
                  <a:pt x="213727" y="369396"/>
                  <a:pt x="255774" y="461505"/>
                  <a:pt x="305562" y="517331"/>
                </a:cubicBezTo>
                <a:cubicBezTo>
                  <a:pt x="368185" y="307495"/>
                  <a:pt x="595024" y="-161226"/>
                  <a:pt x="603067" y="56253"/>
                </a:cubicBezTo>
                <a:cubicBezTo>
                  <a:pt x="611110" y="273732"/>
                  <a:pt x="613945" y="428088"/>
                  <a:pt x="732282" y="602675"/>
                </a:cubicBezTo>
              </a:path>
            </a:pathLst>
          </a:custGeom>
          <a:noFill/>
          <a:ln w="12700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7" name="Freeform 53">
            <a:extLst>
              <a:ext uri="{FF2B5EF4-FFF2-40B4-BE49-F238E27FC236}">
                <a16:creationId xmlns:a16="http://schemas.microsoft.com/office/drawing/2014/main" id="{840BB9B1-3C1D-C188-AE3B-34FD22D6A301}"/>
              </a:ext>
            </a:extLst>
          </p:cNvPr>
          <p:cNvSpPr/>
          <p:nvPr/>
        </p:nvSpPr>
        <p:spPr>
          <a:xfrm>
            <a:off x="1613192" y="2590252"/>
            <a:ext cx="717498" cy="377551"/>
          </a:xfrm>
          <a:custGeom>
            <a:avLst/>
            <a:gdLst>
              <a:gd name="connsiteX0" fmla="*/ 0 w 2039816"/>
              <a:gd name="connsiteY0" fmla="*/ 1125415 h 1125415"/>
              <a:gd name="connsiteX1" fmla="*/ 130629 w 2039816"/>
              <a:gd name="connsiteY1" fmla="*/ 221064 h 1125415"/>
              <a:gd name="connsiteX2" fmla="*/ 653143 w 2039816"/>
              <a:gd name="connsiteY2" fmla="*/ 0 h 1125415"/>
              <a:gd name="connsiteX3" fmla="*/ 974691 w 2039816"/>
              <a:gd name="connsiteY3" fmla="*/ 622998 h 1125415"/>
              <a:gd name="connsiteX4" fmla="*/ 1095271 w 2039816"/>
              <a:gd name="connsiteY4" fmla="*/ 622998 h 1125415"/>
              <a:gd name="connsiteX5" fmla="*/ 1406770 w 2039816"/>
              <a:gd name="connsiteY5" fmla="*/ 40193 h 1125415"/>
              <a:gd name="connsiteX6" fmla="*/ 1939332 w 2039816"/>
              <a:gd name="connsiteY6" fmla="*/ 301450 h 1125415"/>
              <a:gd name="connsiteX7" fmla="*/ 2039816 w 2039816"/>
              <a:gd name="connsiteY7" fmla="*/ 1125415 h 1125415"/>
              <a:gd name="connsiteX0" fmla="*/ 0 w 2039816"/>
              <a:gd name="connsiteY0" fmla="*/ 1125415 h 1125415"/>
              <a:gd name="connsiteX1" fmla="*/ 130629 w 2039816"/>
              <a:gd name="connsiteY1" fmla="*/ 221064 h 1125415"/>
              <a:gd name="connsiteX2" fmla="*/ 653143 w 2039816"/>
              <a:gd name="connsiteY2" fmla="*/ 0 h 1125415"/>
              <a:gd name="connsiteX3" fmla="*/ 974691 w 2039816"/>
              <a:gd name="connsiteY3" fmla="*/ 622998 h 1125415"/>
              <a:gd name="connsiteX4" fmla="*/ 1095271 w 2039816"/>
              <a:gd name="connsiteY4" fmla="*/ 622998 h 1125415"/>
              <a:gd name="connsiteX5" fmla="*/ 1406770 w 2039816"/>
              <a:gd name="connsiteY5" fmla="*/ 40193 h 1125415"/>
              <a:gd name="connsiteX6" fmla="*/ 1939332 w 2039816"/>
              <a:gd name="connsiteY6" fmla="*/ 301450 h 1125415"/>
              <a:gd name="connsiteX7" fmla="*/ 2039816 w 2039816"/>
              <a:gd name="connsiteY7" fmla="*/ 1125415 h 1125415"/>
              <a:gd name="connsiteX0" fmla="*/ 0 w 2039816"/>
              <a:gd name="connsiteY0" fmla="*/ 1125415 h 1125415"/>
              <a:gd name="connsiteX1" fmla="*/ 130629 w 2039816"/>
              <a:gd name="connsiteY1" fmla="*/ 221064 h 1125415"/>
              <a:gd name="connsiteX2" fmla="*/ 653143 w 2039816"/>
              <a:gd name="connsiteY2" fmla="*/ 0 h 1125415"/>
              <a:gd name="connsiteX3" fmla="*/ 974691 w 2039816"/>
              <a:gd name="connsiteY3" fmla="*/ 622998 h 1125415"/>
              <a:gd name="connsiteX4" fmla="*/ 1095271 w 2039816"/>
              <a:gd name="connsiteY4" fmla="*/ 622998 h 1125415"/>
              <a:gd name="connsiteX5" fmla="*/ 1406770 w 2039816"/>
              <a:gd name="connsiteY5" fmla="*/ 40193 h 1125415"/>
              <a:gd name="connsiteX6" fmla="*/ 1939332 w 2039816"/>
              <a:gd name="connsiteY6" fmla="*/ 301450 h 1125415"/>
              <a:gd name="connsiteX7" fmla="*/ 2039816 w 2039816"/>
              <a:gd name="connsiteY7" fmla="*/ 1125415 h 1125415"/>
              <a:gd name="connsiteX0" fmla="*/ 0 w 2039816"/>
              <a:gd name="connsiteY0" fmla="*/ 1125415 h 1125415"/>
              <a:gd name="connsiteX1" fmla="*/ 130629 w 2039816"/>
              <a:gd name="connsiteY1" fmla="*/ 221064 h 1125415"/>
              <a:gd name="connsiteX2" fmla="*/ 653143 w 2039816"/>
              <a:gd name="connsiteY2" fmla="*/ 0 h 1125415"/>
              <a:gd name="connsiteX3" fmla="*/ 974691 w 2039816"/>
              <a:gd name="connsiteY3" fmla="*/ 622998 h 1125415"/>
              <a:gd name="connsiteX4" fmla="*/ 1095271 w 2039816"/>
              <a:gd name="connsiteY4" fmla="*/ 622998 h 1125415"/>
              <a:gd name="connsiteX5" fmla="*/ 1406770 w 2039816"/>
              <a:gd name="connsiteY5" fmla="*/ 40193 h 1125415"/>
              <a:gd name="connsiteX6" fmla="*/ 1939332 w 2039816"/>
              <a:gd name="connsiteY6" fmla="*/ 301450 h 1125415"/>
              <a:gd name="connsiteX7" fmla="*/ 2039816 w 2039816"/>
              <a:gd name="connsiteY7" fmla="*/ 1125415 h 1125415"/>
              <a:gd name="connsiteX0" fmla="*/ 0 w 2039816"/>
              <a:gd name="connsiteY0" fmla="*/ 1125807 h 1125807"/>
              <a:gd name="connsiteX1" fmla="*/ 130629 w 2039816"/>
              <a:gd name="connsiteY1" fmla="*/ 221456 h 1125807"/>
              <a:gd name="connsiteX2" fmla="*/ 653143 w 2039816"/>
              <a:gd name="connsiteY2" fmla="*/ 392 h 1125807"/>
              <a:gd name="connsiteX3" fmla="*/ 974691 w 2039816"/>
              <a:gd name="connsiteY3" fmla="*/ 623390 h 1125807"/>
              <a:gd name="connsiteX4" fmla="*/ 1095271 w 2039816"/>
              <a:gd name="connsiteY4" fmla="*/ 623390 h 1125807"/>
              <a:gd name="connsiteX5" fmla="*/ 1406770 w 2039816"/>
              <a:gd name="connsiteY5" fmla="*/ 40585 h 1125807"/>
              <a:gd name="connsiteX6" fmla="*/ 1939332 w 2039816"/>
              <a:gd name="connsiteY6" fmla="*/ 301842 h 1125807"/>
              <a:gd name="connsiteX7" fmla="*/ 2039816 w 2039816"/>
              <a:gd name="connsiteY7" fmla="*/ 1125807 h 1125807"/>
              <a:gd name="connsiteX0" fmla="*/ 0 w 2039816"/>
              <a:gd name="connsiteY0" fmla="*/ 1125767 h 1125767"/>
              <a:gd name="connsiteX1" fmla="*/ 130629 w 2039816"/>
              <a:gd name="connsiteY1" fmla="*/ 221416 h 1125767"/>
              <a:gd name="connsiteX2" fmla="*/ 653143 w 2039816"/>
              <a:gd name="connsiteY2" fmla="*/ 352 h 1125767"/>
              <a:gd name="connsiteX3" fmla="*/ 974691 w 2039816"/>
              <a:gd name="connsiteY3" fmla="*/ 623350 h 1125767"/>
              <a:gd name="connsiteX4" fmla="*/ 1095271 w 2039816"/>
              <a:gd name="connsiteY4" fmla="*/ 623350 h 1125767"/>
              <a:gd name="connsiteX5" fmla="*/ 1406770 w 2039816"/>
              <a:gd name="connsiteY5" fmla="*/ 40545 h 1125767"/>
              <a:gd name="connsiteX6" fmla="*/ 1939332 w 2039816"/>
              <a:gd name="connsiteY6" fmla="*/ 301802 h 1125767"/>
              <a:gd name="connsiteX7" fmla="*/ 2039816 w 2039816"/>
              <a:gd name="connsiteY7" fmla="*/ 1125767 h 1125767"/>
              <a:gd name="connsiteX0" fmla="*/ 0 w 2039816"/>
              <a:gd name="connsiteY0" fmla="*/ 1125767 h 1125767"/>
              <a:gd name="connsiteX1" fmla="*/ 130629 w 2039816"/>
              <a:gd name="connsiteY1" fmla="*/ 221416 h 1125767"/>
              <a:gd name="connsiteX2" fmla="*/ 653143 w 2039816"/>
              <a:gd name="connsiteY2" fmla="*/ 352 h 1125767"/>
              <a:gd name="connsiteX3" fmla="*/ 974691 w 2039816"/>
              <a:gd name="connsiteY3" fmla="*/ 623350 h 1125767"/>
              <a:gd name="connsiteX4" fmla="*/ 1095271 w 2039816"/>
              <a:gd name="connsiteY4" fmla="*/ 623350 h 1125767"/>
              <a:gd name="connsiteX5" fmla="*/ 1406770 w 2039816"/>
              <a:gd name="connsiteY5" fmla="*/ 40545 h 1125767"/>
              <a:gd name="connsiteX6" fmla="*/ 1939332 w 2039816"/>
              <a:gd name="connsiteY6" fmla="*/ 301802 h 1125767"/>
              <a:gd name="connsiteX7" fmla="*/ 2039816 w 2039816"/>
              <a:gd name="connsiteY7" fmla="*/ 1125767 h 1125767"/>
              <a:gd name="connsiteX0" fmla="*/ 0 w 2039816"/>
              <a:gd name="connsiteY0" fmla="*/ 1125767 h 1125767"/>
              <a:gd name="connsiteX1" fmla="*/ 130629 w 2039816"/>
              <a:gd name="connsiteY1" fmla="*/ 221416 h 1125767"/>
              <a:gd name="connsiteX2" fmla="*/ 653143 w 2039816"/>
              <a:gd name="connsiteY2" fmla="*/ 352 h 1125767"/>
              <a:gd name="connsiteX3" fmla="*/ 974691 w 2039816"/>
              <a:gd name="connsiteY3" fmla="*/ 623350 h 1125767"/>
              <a:gd name="connsiteX4" fmla="*/ 1095271 w 2039816"/>
              <a:gd name="connsiteY4" fmla="*/ 623350 h 1125767"/>
              <a:gd name="connsiteX5" fmla="*/ 1406770 w 2039816"/>
              <a:gd name="connsiteY5" fmla="*/ 40545 h 1125767"/>
              <a:gd name="connsiteX6" fmla="*/ 1939332 w 2039816"/>
              <a:gd name="connsiteY6" fmla="*/ 301802 h 1125767"/>
              <a:gd name="connsiteX7" fmla="*/ 2039816 w 2039816"/>
              <a:gd name="connsiteY7" fmla="*/ 1125767 h 1125767"/>
              <a:gd name="connsiteX0" fmla="*/ 0 w 2039816"/>
              <a:gd name="connsiteY0" fmla="*/ 1125767 h 1125767"/>
              <a:gd name="connsiteX1" fmla="*/ 130629 w 2039816"/>
              <a:gd name="connsiteY1" fmla="*/ 221416 h 1125767"/>
              <a:gd name="connsiteX2" fmla="*/ 653143 w 2039816"/>
              <a:gd name="connsiteY2" fmla="*/ 352 h 1125767"/>
              <a:gd name="connsiteX3" fmla="*/ 974691 w 2039816"/>
              <a:gd name="connsiteY3" fmla="*/ 623350 h 1125767"/>
              <a:gd name="connsiteX4" fmla="*/ 1095271 w 2039816"/>
              <a:gd name="connsiteY4" fmla="*/ 623350 h 1125767"/>
              <a:gd name="connsiteX5" fmla="*/ 1406770 w 2039816"/>
              <a:gd name="connsiteY5" fmla="*/ 40545 h 1125767"/>
              <a:gd name="connsiteX6" fmla="*/ 1939332 w 2039816"/>
              <a:gd name="connsiteY6" fmla="*/ 301802 h 1125767"/>
              <a:gd name="connsiteX7" fmla="*/ 2039816 w 2039816"/>
              <a:gd name="connsiteY7" fmla="*/ 1125767 h 1125767"/>
              <a:gd name="connsiteX0" fmla="*/ 0 w 2039816"/>
              <a:gd name="connsiteY0" fmla="*/ 1125766 h 1125766"/>
              <a:gd name="connsiteX1" fmla="*/ 130629 w 2039816"/>
              <a:gd name="connsiteY1" fmla="*/ 221415 h 1125766"/>
              <a:gd name="connsiteX2" fmla="*/ 653143 w 2039816"/>
              <a:gd name="connsiteY2" fmla="*/ 351 h 1125766"/>
              <a:gd name="connsiteX3" fmla="*/ 974691 w 2039816"/>
              <a:gd name="connsiteY3" fmla="*/ 623349 h 1125766"/>
              <a:gd name="connsiteX4" fmla="*/ 1095271 w 2039816"/>
              <a:gd name="connsiteY4" fmla="*/ 623349 h 1125766"/>
              <a:gd name="connsiteX5" fmla="*/ 1406770 w 2039816"/>
              <a:gd name="connsiteY5" fmla="*/ 40544 h 1125766"/>
              <a:gd name="connsiteX6" fmla="*/ 1939332 w 2039816"/>
              <a:gd name="connsiteY6" fmla="*/ 301801 h 1125766"/>
              <a:gd name="connsiteX7" fmla="*/ 2039816 w 2039816"/>
              <a:gd name="connsiteY7" fmla="*/ 1125766 h 1125766"/>
              <a:gd name="connsiteX0" fmla="*/ 0 w 2039816"/>
              <a:gd name="connsiteY0" fmla="*/ 1126058 h 1126058"/>
              <a:gd name="connsiteX1" fmla="*/ 130629 w 2039816"/>
              <a:gd name="connsiteY1" fmla="*/ 221707 h 1126058"/>
              <a:gd name="connsiteX2" fmla="*/ 653143 w 2039816"/>
              <a:gd name="connsiteY2" fmla="*/ 643 h 1126058"/>
              <a:gd name="connsiteX3" fmla="*/ 974691 w 2039816"/>
              <a:gd name="connsiteY3" fmla="*/ 623641 h 1126058"/>
              <a:gd name="connsiteX4" fmla="*/ 1095271 w 2039816"/>
              <a:gd name="connsiteY4" fmla="*/ 623641 h 1126058"/>
              <a:gd name="connsiteX5" fmla="*/ 1406770 w 2039816"/>
              <a:gd name="connsiteY5" fmla="*/ 40836 h 1126058"/>
              <a:gd name="connsiteX6" fmla="*/ 1939332 w 2039816"/>
              <a:gd name="connsiteY6" fmla="*/ 302093 h 1126058"/>
              <a:gd name="connsiteX7" fmla="*/ 2039816 w 2039816"/>
              <a:gd name="connsiteY7" fmla="*/ 1126058 h 1126058"/>
              <a:gd name="connsiteX0" fmla="*/ 0 w 2109542"/>
              <a:gd name="connsiteY0" fmla="*/ 1161570 h 1161570"/>
              <a:gd name="connsiteX1" fmla="*/ 200355 w 2109542"/>
              <a:gd name="connsiteY1" fmla="*/ 222356 h 1161570"/>
              <a:gd name="connsiteX2" fmla="*/ 722869 w 2109542"/>
              <a:gd name="connsiteY2" fmla="*/ 1292 h 1161570"/>
              <a:gd name="connsiteX3" fmla="*/ 1044417 w 2109542"/>
              <a:gd name="connsiteY3" fmla="*/ 624290 h 1161570"/>
              <a:gd name="connsiteX4" fmla="*/ 1164997 w 2109542"/>
              <a:gd name="connsiteY4" fmla="*/ 624290 h 1161570"/>
              <a:gd name="connsiteX5" fmla="*/ 1476496 w 2109542"/>
              <a:gd name="connsiteY5" fmla="*/ 41485 h 1161570"/>
              <a:gd name="connsiteX6" fmla="*/ 2009058 w 2109542"/>
              <a:gd name="connsiteY6" fmla="*/ 302742 h 1161570"/>
              <a:gd name="connsiteX7" fmla="*/ 2109542 w 2109542"/>
              <a:gd name="connsiteY7" fmla="*/ 1126707 h 1161570"/>
              <a:gd name="connsiteX0" fmla="*/ 0 w 2179268"/>
              <a:gd name="connsiteY0" fmla="*/ 1161570 h 1171531"/>
              <a:gd name="connsiteX1" fmla="*/ 200355 w 2179268"/>
              <a:gd name="connsiteY1" fmla="*/ 222356 h 1171531"/>
              <a:gd name="connsiteX2" fmla="*/ 722869 w 2179268"/>
              <a:gd name="connsiteY2" fmla="*/ 1292 h 1171531"/>
              <a:gd name="connsiteX3" fmla="*/ 1044417 w 2179268"/>
              <a:gd name="connsiteY3" fmla="*/ 624290 h 1171531"/>
              <a:gd name="connsiteX4" fmla="*/ 1164997 w 2179268"/>
              <a:gd name="connsiteY4" fmla="*/ 624290 h 1171531"/>
              <a:gd name="connsiteX5" fmla="*/ 1476496 w 2179268"/>
              <a:gd name="connsiteY5" fmla="*/ 41485 h 1171531"/>
              <a:gd name="connsiteX6" fmla="*/ 2009058 w 2179268"/>
              <a:gd name="connsiteY6" fmla="*/ 302742 h 1171531"/>
              <a:gd name="connsiteX7" fmla="*/ 2179268 w 2179268"/>
              <a:gd name="connsiteY7" fmla="*/ 1171531 h 1171531"/>
              <a:gd name="connsiteX0" fmla="*/ 0 w 2179268"/>
              <a:gd name="connsiteY0" fmla="*/ 1161570 h 1171531"/>
              <a:gd name="connsiteX1" fmla="*/ 200355 w 2179268"/>
              <a:gd name="connsiteY1" fmla="*/ 222356 h 1171531"/>
              <a:gd name="connsiteX2" fmla="*/ 722869 w 2179268"/>
              <a:gd name="connsiteY2" fmla="*/ 1292 h 1171531"/>
              <a:gd name="connsiteX3" fmla="*/ 1044417 w 2179268"/>
              <a:gd name="connsiteY3" fmla="*/ 624290 h 1171531"/>
              <a:gd name="connsiteX4" fmla="*/ 1179939 w 2179268"/>
              <a:gd name="connsiteY4" fmla="*/ 504759 h 1171531"/>
              <a:gd name="connsiteX5" fmla="*/ 1476496 w 2179268"/>
              <a:gd name="connsiteY5" fmla="*/ 41485 h 1171531"/>
              <a:gd name="connsiteX6" fmla="*/ 2009058 w 2179268"/>
              <a:gd name="connsiteY6" fmla="*/ 302742 h 1171531"/>
              <a:gd name="connsiteX7" fmla="*/ 2179268 w 2179268"/>
              <a:gd name="connsiteY7" fmla="*/ 1171531 h 1171531"/>
              <a:gd name="connsiteX0" fmla="*/ 0 w 2179268"/>
              <a:gd name="connsiteY0" fmla="*/ 1161570 h 1171531"/>
              <a:gd name="connsiteX1" fmla="*/ 200355 w 2179268"/>
              <a:gd name="connsiteY1" fmla="*/ 222356 h 1171531"/>
              <a:gd name="connsiteX2" fmla="*/ 722869 w 2179268"/>
              <a:gd name="connsiteY2" fmla="*/ 1292 h 1171531"/>
              <a:gd name="connsiteX3" fmla="*/ 1044417 w 2179268"/>
              <a:gd name="connsiteY3" fmla="*/ 624290 h 1171531"/>
              <a:gd name="connsiteX4" fmla="*/ 1476496 w 2179268"/>
              <a:gd name="connsiteY4" fmla="*/ 41485 h 1171531"/>
              <a:gd name="connsiteX5" fmla="*/ 2009058 w 2179268"/>
              <a:gd name="connsiteY5" fmla="*/ 302742 h 1171531"/>
              <a:gd name="connsiteX6" fmla="*/ 2179268 w 2179268"/>
              <a:gd name="connsiteY6" fmla="*/ 1171531 h 1171531"/>
              <a:gd name="connsiteX0" fmla="*/ 0 w 2179268"/>
              <a:gd name="connsiteY0" fmla="*/ 1161570 h 1171531"/>
              <a:gd name="connsiteX1" fmla="*/ 200355 w 2179268"/>
              <a:gd name="connsiteY1" fmla="*/ 222356 h 1171531"/>
              <a:gd name="connsiteX2" fmla="*/ 722869 w 2179268"/>
              <a:gd name="connsiteY2" fmla="*/ 1292 h 1171531"/>
              <a:gd name="connsiteX3" fmla="*/ 1084261 w 2179268"/>
              <a:gd name="connsiteY3" fmla="*/ 395189 h 1171531"/>
              <a:gd name="connsiteX4" fmla="*/ 1476496 w 2179268"/>
              <a:gd name="connsiteY4" fmla="*/ 41485 h 1171531"/>
              <a:gd name="connsiteX5" fmla="*/ 2009058 w 2179268"/>
              <a:gd name="connsiteY5" fmla="*/ 302742 h 1171531"/>
              <a:gd name="connsiteX6" fmla="*/ 2179268 w 2179268"/>
              <a:gd name="connsiteY6" fmla="*/ 1171531 h 1171531"/>
              <a:gd name="connsiteX0" fmla="*/ 0 w 2179268"/>
              <a:gd name="connsiteY0" fmla="*/ 1161570 h 1171531"/>
              <a:gd name="connsiteX1" fmla="*/ 200355 w 2179268"/>
              <a:gd name="connsiteY1" fmla="*/ 222356 h 1171531"/>
              <a:gd name="connsiteX2" fmla="*/ 722869 w 2179268"/>
              <a:gd name="connsiteY2" fmla="*/ 1292 h 1171531"/>
              <a:gd name="connsiteX3" fmla="*/ 1084261 w 2179268"/>
              <a:gd name="connsiteY3" fmla="*/ 395189 h 1171531"/>
              <a:gd name="connsiteX4" fmla="*/ 1476496 w 2179268"/>
              <a:gd name="connsiteY4" fmla="*/ 41485 h 1171531"/>
              <a:gd name="connsiteX5" fmla="*/ 2009058 w 2179268"/>
              <a:gd name="connsiteY5" fmla="*/ 302742 h 1171531"/>
              <a:gd name="connsiteX6" fmla="*/ 2179268 w 2179268"/>
              <a:gd name="connsiteY6" fmla="*/ 1171531 h 1171531"/>
              <a:gd name="connsiteX0" fmla="*/ 0 w 2179268"/>
              <a:gd name="connsiteY0" fmla="*/ 1161570 h 1171531"/>
              <a:gd name="connsiteX1" fmla="*/ 200355 w 2179268"/>
              <a:gd name="connsiteY1" fmla="*/ 222356 h 1171531"/>
              <a:gd name="connsiteX2" fmla="*/ 722869 w 2179268"/>
              <a:gd name="connsiteY2" fmla="*/ 1292 h 1171531"/>
              <a:gd name="connsiteX3" fmla="*/ 1084261 w 2179268"/>
              <a:gd name="connsiteY3" fmla="*/ 395189 h 1171531"/>
              <a:gd name="connsiteX4" fmla="*/ 1476496 w 2179268"/>
              <a:gd name="connsiteY4" fmla="*/ 41485 h 1171531"/>
              <a:gd name="connsiteX5" fmla="*/ 2009058 w 2179268"/>
              <a:gd name="connsiteY5" fmla="*/ 302742 h 1171531"/>
              <a:gd name="connsiteX6" fmla="*/ 2179268 w 2179268"/>
              <a:gd name="connsiteY6" fmla="*/ 1171531 h 1171531"/>
              <a:gd name="connsiteX0" fmla="*/ 0 w 2179268"/>
              <a:gd name="connsiteY0" fmla="*/ 1161570 h 1171531"/>
              <a:gd name="connsiteX1" fmla="*/ 200355 w 2179268"/>
              <a:gd name="connsiteY1" fmla="*/ 222356 h 1171531"/>
              <a:gd name="connsiteX2" fmla="*/ 722869 w 2179268"/>
              <a:gd name="connsiteY2" fmla="*/ 1292 h 1171531"/>
              <a:gd name="connsiteX3" fmla="*/ 1084261 w 2179268"/>
              <a:gd name="connsiteY3" fmla="*/ 395189 h 1171531"/>
              <a:gd name="connsiteX4" fmla="*/ 1476496 w 2179268"/>
              <a:gd name="connsiteY4" fmla="*/ 41485 h 1171531"/>
              <a:gd name="connsiteX5" fmla="*/ 2009058 w 2179268"/>
              <a:gd name="connsiteY5" fmla="*/ 302742 h 1171531"/>
              <a:gd name="connsiteX6" fmla="*/ 2179268 w 2179268"/>
              <a:gd name="connsiteY6" fmla="*/ 1171531 h 1171531"/>
              <a:gd name="connsiteX0" fmla="*/ 0 w 2179268"/>
              <a:gd name="connsiteY0" fmla="*/ 1161570 h 1171531"/>
              <a:gd name="connsiteX1" fmla="*/ 200355 w 2179268"/>
              <a:gd name="connsiteY1" fmla="*/ 222356 h 1171531"/>
              <a:gd name="connsiteX2" fmla="*/ 722869 w 2179268"/>
              <a:gd name="connsiteY2" fmla="*/ 1292 h 1171531"/>
              <a:gd name="connsiteX3" fmla="*/ 1084261 w 2179268"/>
              <a:gd name="connsiteY3" fmla="*/ 395189 h 1171531"/>
              <a:gd name="connsiteX4" fmla="*/ 1476496 w 2179268"/>
              <a:gd name="connsiteY4" fmla="*/ 41485 h 1171531"/>
              <a:gd name="connsiteX5" fmla="*/ 2009058 w 2179268"/>
              <a:gd name="connsiteY5" fmla="*/ 302742 h 1171531"/>
              <a:gd name="connsiteX6" fmla="*/ 2179268 w 2179268"/>
              <a:gd name="connsiteY6" fmla="*/ 1171531 h 1171531"/>
              <a:gd name="connsiteX0" fmla="*/ 0 w 2179268"/>
              <a:gd name="connsiteY0" fmla="*/ 1137367 h 1147328"/>
              <a:gd name="connsiteX1" fmla="*/ 200355 w 2179268"/>
              <a:gd name="connsiteY1" fmla="*/ 198153 h 1147328"/>
              <a:gd name="connsiteX2" fmla="*/ 727020 w 2179268"/>
              <a:gd name="connsiteY2" fmla="*/ 1991 h 1147328"/>
              <a:gd name="connsiteX3" fmla="*/ 1084261 w 2179268"/>
              <a:gd name="connsiteY3" fmla="*/ 370986 h 1147328"/>
              <a:gd name="connsiteX4" fmla="*/ 1476496 w 2179268"/>
              <a:gd name="connsiteY4" fmla="*/ 17282 h 1147328"/>
              <a:gd name="connsiteX5" fmla="*/ 2009058 w 2179268"/>
              <a:gd name="connsiteY5" fmla="*/ 278539 h 1147328"/>
              <a:gd name="connsiteX6" fmla="*/ 2179268 w 2179268"/>
              <a:gd name="connsiteY6" fmla="*/ 1147328 h 1147328"/>
              <a:gd name="connsiteX0" fmla="*/ 0 w 2179268"/>
              <a:gd name="connsiteY0" fmla="*/ 1137367 h 1147328"/>
              <a:gd name="connsiteX1" fmla="*/ 200355 w 2179268"/>
              <a:gd name="connsiteY1" fmla="*/ 198153 h 1147328"/>
              <a:gd name="connsiteX2" fmla="*/ 727020 w 2179268"/>
              <a:gd name="connsiteY2" fmla="*/ 1991 h 1147328"/>
              <a:gd name="connsiteX3" fmla="*/ 1084261 w 2179268"/>
              <a:gd name="connsiteY3" fmla="*/ 370986 h 1147328"/>
              <a:gd name="connsiteX4" fmla="*/ 1476496 w 2179268"/>
              <a:gd name="connsiteY4" fmla="*/ 17282 h 1147328"/>
              <a:gd name="connsiteX5" fmla="*/ 2009058 w 2179268"/>
              <a:gd name="connsiteY5" fmla="*/ 278539 h 1147328"/>
              <a:gd name="connsiteX6" fmla="*/ 2179268 w 2179268"/>
              <a:gd name="connsiteY6" fmla="*/ 1147328 h 1147328"/>
              <a:gd name="connsiteX0" fmla="*/ 0 w 2179268"/>
              <a:gd name="connsiteY0" fmla="*/ 1137367 h 1147328"/>
              <a:gd name="connsiteX1" fmla="*/ 200355 w 2179268"/>
              <a:gd name="connsiteY1" fmla="*/ 198153 h 1147328"/>
              <a:gd name="connsiteX2" fmla="*/ 727020 w 2179268"/>
              <a:gd name="connsiteY2" fmla="*/ 1991 h 1147328"/>
              <a:gd name="connsiteX3" fmla="*/ 1084261 w 2179268"/>
              <a:gd name="connsiteY3" fmla="*/ 370986 h 1147328"/>
              <a:gd name="connsiteX4" fmla="*/ 1476496 w 2179268"/>
              <a:gd name="connsiteY4" fmla="*/ 17282 h 1147328"/>
              <a:gd name="connsiteX5" fmla="*/ 2009058 w 2179268"/>
              <a:gd name="connsiteY5" fmla="*/ 278539 h 1147328"/>
              <a:gd name="connsiteX6" fmla="*/ 2179268 w 2179268"/>
              <a:gd name="connsiteY6" fmla="*/ 1147328 h 1147328"/>
              <a:gd name="connsiteX0" fmla="*/ 0 w 2179268"/>
              <a:gd name="connsiteY0" fmla="*/ 1136775 h 1146736"/>
              <a:gd name="connsiteX1" fmla="*/ 200355 w 2179268"/>
              <a:gd name="connsiteY1" fmla="*/ 214163 h 1146736"/>
              <a:gd name="connsiteX2" fmla="*/ 727020 w 2179268"/>
              <a:gd name="connsiteY2" fmla="*/ 1399 h 1146736"/>
              <a:gd name="connsiteX3" fmla="*/ 1084261 w 2179268"/>
              <a:gd name="connsiteY3" fmla="*/ 370394 h 1146736"/>
              <a:gd name="connsiteX4" fmla="*/ 1476496 w 2179268"/>
              <a:gd name="connsiteY4" fmla="*/ 16690 h 1146736"/>
              <a:gd name="connsiteX5" fmla="*/ 2009058 w 2179268"/>
              <a:gd name="connsiteY5" fmla="*/ 277947 h 1146736"/>
              <a:gd name="connsiteX6" fmla="*/ 2179268 w 2179268"/>
              <a:gd name="connsiteY6" fmla="*/ 1146736 h 11467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179268" h="1146736">
                <a:moveTo>
                  <a:pt x="0" y="1136775"/>
                </a:moveTo>
                <a:cubicBezTo>
                  <a:pt x="43543" y="835325"/>
                  <a:pt x="79185" y="403392"/>
                  <a:pt x="200355" y="214163"/>
                </a:cubicBezTo>
                <a:cubicBezTo>
                  <a:pt x="321525" y="24934"/>
                  <a:pt x="654913" y="-7840"/>
                  <a:pt x="727020" y="1399"/>
                </a:cubicBezTo>
                <a:cubicBezTo>
                  <a:pt x="754073" y="69513"/>
                  <a:pt x="772580" y="371995"/>
                  <a:pt x="1084261" y="370394"/>
                </a:cubicBezTo>
                <a:cubicBezTo>
                  <a:pt x="1395942" y="368793"/>
                  <a:pt x="1435399" y="104708"/>
                  <a:pt x="1476496" y="16690"/>
                </a:cubicBezTo>
                <a:cubicBezTo>
                  <a:pt x="1539195" y="20848"/>
                  <a:pt x="1891929" y="89606"/>
                  <a:pt x="2009058" y="277947"/>
                </a:cubicBezTo>
                <a:cubicBezTo>
                  <a:pt x="2126187" y="466288"/>
                  <a:pt x="2145773" y="872081"/>
                  <a:pt x="2179268" y="1146736"/>
                </a:cubicBezTo>
              </a:path>
            </a:pathLst>
          </a:custGeom>
          <a:noFill/>
          <a:ln w="12700" cap="rnd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8" name="Arc 17">
            <a:extLst>
              <a:ext uri="{FF2B5EF4-FFF2-40B4-BE49-F238E27FC236}">
                <a16:creationId xmlns:a16="http://schemas.microsoft.com/office/drawing/2014/main" id="{A46F865A-65BA-B8A2-7EED-91EEF0E56A89}"/>
              </a:ext>
            </a:extLst>
          </p:cNvPr>
          <p:cNvSpPr/>
          <p:nvPr/>
        </p:nvSpPr>
        <p:spPr bwMode="auto">
          <a:xfrm rot="16200000">
            <a:off x="1542091" y="2207460"/>
            <a:ext cx="854201" cy="562415"/>
          </a:xfrm>
          <a:prstGeom prst="arc">
            <a:avLst>
              <a:gd name="adj1" fmla="val 14561641"/>
              <a:gd name="adj2" fmla="val 15503840"/>
            </a:avLst>
          </a:prstGeom>
          <a:noFill/>
          <a:ln w="12700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9" name="Arc 18">
            <a:extLst>
              <a:ext uri="{FF2B5EF4-FFF2-40B4-BE49-F238E27FC236}">
                <a16:creationId xmlns:a16="http://schemas.microsoft.com/office/drawing/2014/main" id="{66021D13-FD3B-9451-F45F-82DE685478E9}"/>
              </a:ext>
            </a:extLst>
          </p:cNvPr>
          <p:cNvSpPr/>
          <p:nvPr/>
        </p:nvSpPr>
        <p:spPr bwMode="auto">
          <a:xfrm rot="10800000">
            <a:off x="1800692" y="2146132"/>
            <a:ext cx="342498" cy="405464"/>
          </a:xfrm>
          <a:prstGeom prst="arc">
            <a:avLst>
              <a:gd name="adj1" fmla="val 7210909"/>
              <a:gd name="adj2" fmla="val 8614742"/>
            </a:avLst>
          </a:prstGeom>
          <a:noFill/>
          <a:ln w="12700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8" name="Slide Number Placeholder 37">
            <a:extLst>
              <a:ext uri="{FF2B5EF4-FFF2-40B4-BE49-F238E27FC236}">
                <a16:creationId xmlns:a16="http://schemas.microsoft.com/office/drawing/2014/main" id="{3DBD6B5D-35CC-D280-09C0-ECB71BB0C9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01CC8E-1CEF-6746-999E-CF29FF00B1D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82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0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" name="TextBox 11">
            <a:extLst>
              <a:ext uri="{FF2B5EF4-FFF2-40B4-BE49-F238E27FC236}">
                <a16:creationId xmlns:a16="http://schemas.microsoft.com/office/drawing/2014/main" id="{5E10E038-3919-87CF-21E5-F4B33FBC130F}"/>
              </a:ext>
            </a:extLst>
          </p:cNvPr>
          <p:cNvSpPr txBox="1"/>
          <p:nvPr/>
        </p:nvSpPr>
        <p:spPr>
          <a:xfrm>
            <a:off x="4168076" y="3703520"/>
            <a:ext cx="6185241" cy="2033181"/>
          </a:xfrm>
          <a:prstGeom prst="rect">
            <a:avLst/>
          </a:prstGeom>
          <a:noFill/>
        </p:spPr>
        <p:txBody>
          <a:bodyPr wrap="square" lIns="0" rIns="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8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elevant medical history</a:t>
            </a: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EB92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one</a:t>
            </a:r>
          </a:p>
        </p:txBody>
      </p:sp>
    </p:spTree>
    <p:extLst>
      <p:ext uri="{BB962C8B-B14F-4D97-AF65-F5344CB8AC3E}">
        <p14:creationId xmlns:p14="http://schemas.microsoft.com/office/powerpoint/2010/main" val="1745422133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491870BC-BDAD-FEE2-5E2F-2341CD18EF6D}"/>
              </a:ext>
            </a:extLst>
          </p:cNvPr>
          <p:cNvCxnSpPr>
            <a:cxnSpLocks/>
          </p:cNvCxnSpPr>
          <p:nvPr/>
        </p:nvCxnSpPr>
        <p:spPr>
          <a:xfrm>
            <a:off x="577415" y="1381609"/>
            <a:ext cx="10907449" cy="0"/>
          </a:xfrm>
          <a:prstGeom prst="line">
            <a:avLst/>
          </a:prstGeom>
          <a:ln w="285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7CBC5564-84B5-A2FD-7D69-83B92A981A3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70645" y="6105333"/>
            <a:ext cx="10440000" cy="614618"/>
          </a:xfrm>
        </p:spPr>
        <p:txBody>
          <a:bodyPr/>
          <a:lstStyle/>
          <a:p>
            <a:r>
              <a:rPr lang="en-GB"/>
              <a:t>1L, first line; CHOP, cyclophosphamide, doxorubicin, vincristine and prednisone; PD, progressive disease; R, rituximab.</a:t>
            </a:r>
            <a:br>
              <a:rPr lang="en-GB"/>
            </a:br>
            <a:r>
              <a:rPr lang="en-GB"/>
              <a:t>Patient case provided by Prof. Enrico </a:t>
            </a:r>
            <a:r>
              <a:rPr lang="en-GB" err="1"/>
              <a:t>Derenzini</a:t>
            </a:r>
            <a:r>
              <a:rPr lang="en-GB"/>
              <a:t>.</a:t>
            </a: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AF09FEF9-5191-9D69-01A5-770C95C59DCA}"/>
              </a:ext>
            </a:extLst>
          </p:cNvPr>
          <p:cNvSpPr txBox="1">
            <a:spLocks/>
          </p:cNvSpPr>
          <p:nvPr/>
        </p:nvSpPr>
        <p:spPr>
          <a:xfrm>
            <a:off x="469900" y="311150"/>
            <a:ext cx="10317269" cy="930910"/>
          </a:xfrm>
          <a:prstGeom prst="rect">
            <a:avLst/>
          </a:prstGeom>
        </p:spPr>
        <p:txBody>
          <a:bodyPr vert="horz" lIns="90000" tIns="46800" rIns="90000" bIns="4680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400" b="0" i="0" kern="1200">
                <a:solidFill>
                  <a:schemeClr val="tx2"/>
                </a:solidFill>
                <a:latin typeface="Aptos" panose="020B000402020202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j-ea"/>
                <a:cs typeface="+mj-cs"/>
              </a:rPr>
              <a:t>A more challenging case: 1L therapy</a:t>
            </a:r>
            <a:endParaRPr kumimoji="0" lang="en-GB" sz="3400" b="0" i="0" u="none" strike="noStrike" kern="1200" cap="none" spc="0" normalizeH="0" baseline="3000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j-ea"/>
              <a:cs typeface="+mj-cs"/>
            </a:endParaRP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FCA1B64B-EF2E-5785-C354-D13E9BD1D119}"/>
              </a:ext>
            </a:extLst>
          </p:cNvPr>
          <p:cNvSpPr/>
          <p:nvPr/>
        </p:nvSpPr>
        <p:spPr>
          <a:xfrm>
            <a:off x="516205" y="1303874"/>
            <a:ext cx="159799" cy="159799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1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8FB7F50E-B21C-C34B-BAD0-AD5E491D6489}"/>
              </a:ext>
            </a:extLst>
          </p:cNvPr>
          <p:cNvCxnSpPr>
            <a:cxnSpLocks/>
            <a:stCxn id="31" idx="4"/>
          </p:cNvCxnSpPr>
          <p:nvPr/>
        </p:nvCxnSpPr>
        <p:spPr>
          <a:xfrm>
            <a:off x="596105" y="1463673"/>
            <a:ext cx="0" cy="182159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5" name="TextBox 34">
            <a:extLst>
              <a:ext uri="{FF2B5EF4-FFF2-40B4-BE49-F238E27FC236}">
                <a16:creationId xmlns:a16="http://schemas.microsoft.com/office/drawing/2014/main" id="{10DF9ACD-59A2-5313-E941-7BC782CAF782}"/>
              </a:ext>
            </a:extLst>
          </p:cNvPr>
          <p:cNvSpPr txBox="1"/>
          <p:nvPr/>
        </p:nvSpPr>
        <p:spPr>
          <a:xfrm>
            <a:off x="544865" y="1645832"/>
            <a:ext cx="2850214" cy="646331"/>
          </a:xfrm>
          <a:prstGeom prst="rect">
            <a:avLst/>
          </a:prstGeom>
          <a:noFill/>
        </p:spPr>
        <p:txBody>
          <a:bodyPr wrap="square" lIns="45720" tIns="45720" rIns="4572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1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L treatment: </a:t>
            </a: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-CHOP ×2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1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Outcome:</a:t>
            </a: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4CA1A6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F15922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D</a:t>
            </a:r>
          </a:p>
        </p:txBody>
      </p:sp>
      <p:sp>
        <p:nvSpPr>
          <p:cNvPr id="55" name="Slide Number Placeholder 54">
            <a:extLst>
              <a:ext uri="{FF2B5EF4-FFF2-40B4-BE49-F238E27FC236}">
                <a16:creationId xmlns:a16="http://schemas.microsoft.com/office/drawing/2014/main" id="{AA7758E3-4473-9E09-2638-D01BBCD296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01CC8E-1CEF-6746-999E-CF29FF00B1D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82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1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AF42050-D7AD-9019-E42E-80807E937619}"/>
              </a:ext>
            </a:extLst>
          </p:cNvPr>
          <p:cNvSpPr txBox="1"/>
          <p:nvPr/>
        </p:nvSpPr>
        <p:spPr>
          <a:xfrm>
            <a:off x="491363" y="831371"/>
            <a:ext cx="455050" cy="3927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CB813"/>
              </a:buClr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January 2025</a:t>
            </a:r>
          </a:p>
        </p:txBody>
      </p:sp>
      <p:pic>
        <p:nvPicPr>
          <p:cNvPr id="4" name="Immagine 4">
            <a:extLst>
              <a:ext uri="{FF2B5EF4-FFF2-40B4-BE49-F238E27FC236}">
                <a16:creationId xmlns:a16="http://schemas.microsoft.com/office/drawing/2014/main" id="{D3E3418A-3086-A844-A68D-D2AF50AFE09E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7415" y="3106772"/>
            <a:ext cx="4681552" cy="2519310"/>
          </a:xfrm>
          <a:prstGeom prst="rect">
            <a:avLst/>
          </a:prstGeom>
        </p:spPr>
      </p:pic>
      <p:pic>
        <p:nvPicPr>
          <p:cNvPr id="5" name="Immagine 5">
            <a:extLst>
              <a:ext uri="{FF2B5EF4-FFF2-40B4-BE49-F238E27FC236}">
                <a16:creationId xmlns:a16="http://schemas.microsoft.com/office/drawing/2014/main" id="{6D81CE81-1F0C-B499-EB70-89A2A81923F0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91088" y="2912318"/>
            <a:ext cx="2381728" cy="2713764"/>
          </a:xfrm>
          <a:prstGeom prst="rect">
            <a:avLst/>
          </a:prstGeom>
        </p:spPr>
      </p:pic>
      <p:sp>
        <p:nvSpPr>
          <p:cNvPr id="6" name="CasellaDiTesto 7">
            <a:extLst>
              <a:ext uri="{FF2B5EF4-FFF2-40B4-BE49-F238E27FC236}">
                <a16:creationId xmlns:a16="http://schemas.microsoft.com/office/drawing/2014/main" id="{5B96AFD6-DCDD-B726-32F5-489A45D9391B}"/>
              </a:ext>
            </a:extLst>
          </p:cNvPr>
          <p:cNvSpPr txBox="1"/>
          <p:nvPr/>
        </p:nvSpPr>
        <p:spPr>
          <a:xfrm>
            <a:off x="3676186" y="2797401"/>
            <a:ext cx="17363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Initial diagnosis</a:t>
            </a:r>
          </a:p>
        </p:txBody>
      </p:sp>
      <p:sp>
        <p:nvSpPr>
          <p:cNvPr id="7" name="CasellaDiTesto 8">
            <a:extLst>
              <a:ext uri="{FF2B5EF4-FFF2-40B4-BE49-F238E27FC236}">
                <a16:creationId xmlns:a16="http://schemas.microsoft.com/office/drawing/2014/main" id="{0DDA465E-0BEB-BDEE-F5A2-3DD9BF8A1564}"/>
              </a:ext>
            </a:extLst>
          </p:cNvPr>
          <p:cNvSpPr txBox="1"/>
          <p:nvPr/>
        </p:nvSpPr>
        <p:spPr>
          <a:xfrm>
            <a:off x="6384618" y="2797401"/>
            <a:ext cx="95667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First PD</a:t>
            </a:r>
          </a:p>
        </p:txBody>
      </p:sp>
    </p:spTree>
    <p:extLst>
      <p:ext uri="{BB962C8B-B14F-4D97-AF65-F5344CB8AC3E}">
        <p14:creationId xmlns:p14="http://schemas.microsoft.com/office/powerpoint/2010/main" val="3774909877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D15E98E-C04C-A60D-CECC-B4BB0DDB008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A8065F02-4751-2678-3550-2D95751680D8}"/>
              </a:ext>
            </a:extLst>
          </p:cNvPr>
          <p:cNvCxnSpPr>
            <a:cxnSpLocks/>
          </p:cNvCxnSpPr>
          <p:nvPr/>
        </p:nvCxnSpPr>
        <p:spPr>
          <a:xfrm>
            <a:off x="577415" y="1381609"/>
            <a:ext cx="10907449" cy="0"/>
          </a:xfrm>
          <a:prstGeom prst="line">
            <a:avLst/>
          </a:prstGeom>
          <a:ln w="285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9AADD2D2-4033-3A55-7FB8-E3507BF54A46}"/>
              </a:ext>
            </a:extLst>
          </p:cNvPr>
          <p:cNvCxnSpPr>
            <a:cxnSpLocks/>
          </p:cNvCxnSpPr>
          <p:nvPr/>
        </p:nvCxnSpPr>
        <p:spPr>
          <a:xfrm>
            <a:off x="577415" y="1381609"/>
            <a:ext cx="10907449" cy="0"/>
          </a:xfrm>
          <a:prstGeom prst="line">
            <a:avLst/>
          </a:prstGeom>
          <a:ln w="285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F18CAB50-957D-B469-4124-743E3BE4EE1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70645" y="6105333"/>
            <a:ext cx="10440000" cy="614618"/>
          </a:xfrm>
        </p:spPr>
        <p:txBody>
          <a:bodyPr/>
          <a:lstStyle/>
          <a:p>
            <a:r>
              <a:rPr lang="en-GB"/>
              <a:t>1L, first line; 2L, second line; CHOP, cyclophosphamide, doxorubicin, vincristine and prednisone; PD, progressive disease; R, rituximab; R-Pola, rituximab plus polatuzumab vedotin; RT, radiotherapy.</a:t>
            </a:r>
            <a:br>
              <a:rPr lang="en-GB"/>
            </a:br>
            <a:r>
              <a:rPr lang="en-GB"/>
              <a:t>Patient case provided by Prof. Enrico </a:t>
            </a:r>
            <a:r>
              <a:rPr lang="en-GB" err="1"/>
              <a:t>Derenzini</a:t>
            </a:r>
            <a:r>
              <a:rPr lang="en-GB"/>
              <a:t>.</a:t>
            </a: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858A502A-00E1-A143-F65E-DAF00CA8330B}"/>
              </a:ext>
            </a:extLst>
          </p:cNvPr>
          <p:cNvSpPr txBox="1">
            <a:spLocks/>
          </p:cNvSpPr>
          <p:nvPr/>
        </p:nvSpPr>
        <p:spPr>
          <a:xfrm>
            <a:off x="469900" y="311150"/>
            <a:ext cx="10317269" cy="450476"/>
          </a:xfrm>
          <a:prstGeom prst="rect">
            <a:avLst/>
          </a:prstGeom>
        </p:spPr>
        <p:txBody>
          <a:bodyPr vert="horz" lIns="90000" tIns="46800" rIns="90000" bIns="4680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400" b="0" i="0" kern="1200">
                <a:solidFill>
                  <a:schemeClr val="tx2"/>
                </a:solidFill>
                <a:latin typeface="Aptos" panose="020B000402020202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0B0004020202020204" pitchFamily="34" charset="0"/>
                <a:ea typeface="+mj-ea"/>
                <a:cs typeface="+mj-cs"/>
              </a:rPr>
              <a:t>2L therapy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A767CAD9-EF9D-E073-2CA8-790250AF4A38}"/>
              </a:ext>
            </a:extLst>
          </p:cNvPr>
          <p:cNvSpPr/>
          <p:nvPr/>
        </p:nvSpPr>
        <p:spPr>
          <a:xfrm>
            <a:off x="516205" y="1303874"/>
            <a:ext cx="159799" cy="159799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1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1EF53ED2-EA2C-63EA-BDF3-B3FE8541FE34}"/>
              </a:ext>
            </a:extLst>
          </p:cNvPr>
          <p:cNvCxnSpPr>
            <a:cxnSpLocks/>
            <a:stCxn id="31" idx="4"/>
          </p:cNvCxnSpPr>
          <p:nvPr/>
        </p:nvCxnSpPr>
        <p:spPr>
          <a:xfrm>
            <a:off x="596105" y="1463673"/>
            <a:ext cx="0" cy="182159"/>
          </a:xfrm>
          <a:prstGeom prst="line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5" name="TextBox 34">
            <a:extLst>
              <a:ext uri="{FF2B5EF4-FFF2-40B4-BE49-F238E27FC236}">
                <a16:creationId xmlns:a16="http://schemas.microsoft.com/office/drawing/2014/main" id="{FE77C861-88A1-7916-8734-67040F4E3B71}"/>
              </a:ext>
            </a:extLst>
          </p:cNvPr>
          <p:cNvSpPr txBox="1"/>
          <p:nvPr/>
        </p:nvSpPr>
        <p:spPr>
          <a:xfrm>
            <a:off x="544865" y="1645832"/>
            <a:ext cx="2850214" cy="584775"/>
          </a:xfrm>
          <a:prstGeom prst="rect">
            <a:avLst/>
          </a:prstGeom>
          <a:noFill/>
        </p:spPr>
        <p:txBody>
          <a:bodyPr wrap="square" lIns="45720" tIns="45720" rIns="4572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1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L treatment: </a:t>
            </a: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-CHOP ×2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1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Outcome: </a:t>
            </a: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D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D481DBDE-0ED9-5A7D-3883-C1CF35FE53E9}"/>
              </a:ext>
            </a:extLst>
          </p:cNvPr>
          <p:cNvSpPr txBox="1"/>
          <p:nvPr/>
        </p:nvSpPr>
        <p:spPr>
          <a:xfrm>
            <a:off x="8457779" y="1715569"/>
            <a:ext cx="3086522" cy="923330"/>
          </a:xfrm>
          <a:prstGeom prst="rect">
            <a:avLst/>
          </a:prstGeom>
          <a:noFill/>
        </p:spPr>
        <p:txBody>
          <a:bodyPr wrap="square" lIns="45720" tIns="45720" rIns="4572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1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L:</a:t>
            </a: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Lymphocyte apheresi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1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Bridging: </a:t>
            </a: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-Pola ×2 + R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1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Outcome:</a:t>
            </a:r>
            <a:r>
              <a:rPr kumimoji="0" lang="en-GB" sz="1800" b="1" i="1" u="none" strike="noStrike" kern="1200" cap="none" spc="0" normalizeH="0" baseline="0" noProof="0">
                <a:ln>
                  <a:noFill/>
                </a:ln>
                <a:solidFill>
                  <a:srgbClr val="F15922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F15922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D</a:t>
            </a:r>
          </a:p>
        </p:txBody>
      </p:sp>
      <p:pic>
        <p:nvPicPr>
          <p:cNvPr id="38" name="Immagine 4">
            <a:extLst>
              <a:ext uri="{FF2B5EF4-FFF2-40B4-BE49-F238E27FC236}">
                <a16:creationId xmlns:a16="http://schemas.microsoft.com/office/drawing/2014/main" id="{F6BB2055-0A9F-1520-EBCD-95A73EEF12EB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7415" y="3106772"/>
            <a:ext cx="4681552" cy="2519310"/>
          </a:xfrm>
          <a:prstGeom prst="rect">
            <a:avLst/>
          </a:prstGeom>
        </p:spPr>
      </p:pic>
      <p:pic>
        <p:nvPicPr>
          <p:cNvPr id="39" name="Immagine 5">
            <a:extLst>
              <a:ext uri="{FF2B5EF4-FFF2-40B4-BE49-F238E27FC236}">
                <a16:creationId xmlns:a16="http://schemas.microsoft.com/office/drawing/2014/main" id="{21A76608-9CA8-7FB8-D329-A745E473AA7C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91088" y="2912318"/>
            <a:ext cx="2381728" cy="2713764"/>
          </a:xfrm>
          <a:prstGeom prst="rect">
            <a:avLst/>
          </a:prstGeom>
        </p:spPr>
      </p:pic>
      <p:sp>
        <p:nvSpPr>
          <p:cNvPr id="41" name="CasellaDiTesto 7">
            <a:extLst>
              <a:ext uri="{FF2B5EF4-FFF2-40B4-BE49-F238E27FC236}">
                <a16:creationId xmlns:a16="http://schemas.microsoft.com/office/drawing/2014/main" id="{44C4754F-66A4-3605-E66B-0592A852B487}"/>
              </a:ext>
            </a:extLst>
          </p:cNvPr>
          <p:cNvSpPr txBox="1"/>
          <p:nvPr/>
        </p:nvSpPr>
        <p:spPr>
          <a:xfrm>
            <a:off x="3676186" y="2797401"/>
            <a:ext cx="17363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Initial diagnosis</a:t>
            </a:r>
          </a:p>
        </p:txBody>
      </p:sp>
      <p:sp>
        <p:nvSpPr>
          <p:cNvPr id="42" name="CasellaDiTesto 8">
            <a:extLst>
              <a:ext uri="{FF2B5EF4-FFF2-40B4-BE49-F238E27FC236}">
                <a16:creationId xmlns:a16="http://schemas.microsoft.com/office/drawing/2014/main" id="{3DCE8246-CFFB-B7AF-9A9C-61220DBBB754}"/>
              </a:ext>
            </a:extLst>
          </p:cNvPr>
          <p:cNvSpPr txBox="1"/>
          <p:nvPr/>
        </p:nvSpPr>
        <p:spPr>
          <a:xfrm>
            <a:off x="6384618" y="2797401"/>
            <a:ext cx="95667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First PD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4203098-BF51-20B5-F1F5-2281191DE6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01CC8E-1CEF-6746-999E-CF29FF00B1D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82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2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DEA84AC8-B4DA-3C71-B6B7-A8AA685577F7}"/>
              </a:ext>
            </a:extLst>
          </p:cNvPr>
          <p:cNvSpPr/>
          <p:nvPr/>
        </p:nvSpPr>
        <p:spPr>
          <a:xfrm>
            <a:off x="8451991" y="1303874"/>
            <a:ext cx="159799" cy="159799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1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347674FC-2DEA-4373-324C-4FC73D242FD7}"/>
              </a:ext>
            </a:extLst>
          </p:cNvPr>
          <p:cNvCxnSpPr>
            <a:cxnSpLocks/>
            <a:stCxn id="3" idx="4"/>
          </p:cNvCxnSpPr>
          <p:nvPr/>
        </p:nvCxnSpPr>
        <p:spPr>
          <a:xfrm>
            <a:off x="8531891" y="1463673"/>
            <a:ext cx="0" cy="182159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46515CFA-95E3-CFF3-C9CF-B5A05889FC1C}"/>
              </a:ext>
            </a:extLst>
          </p:cNvPr>
          <p:cNvSpPr txBox="1"/>
          <p:nvPr/>
        </p:nvSpPr>
        <p:spPr>
          <a:xfrm>
            <a:off x="8324897" y="831371"/>
            <a:ext cx="455050" cy="3927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CB813"/>
              </a:buClr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March 2025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2CEA64C-7BFD-84DE-6029-FA24A6219350}"/>
              </a:ext>
            </a:extLst>
          </p:cNvPr>
          <p:cNvSpPr txBox="1"/>
          <p:nvPr/>
        </p:nvSpPr>
        <p:spPr>
          <a:xfrm>
            <a:off x="491363" y="831371"/>
            <a:ext cx="455050" cy="3927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CB813"/>
              </a:buClr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January 2025</a:t>
            </a:r>
          </a:p>
        </p:txBody>
      </p:sp>
    </p:spTree>
    <p:extLst>
      <p:ext uri="{BB962C8B-B14F-4D97-AF65-F5344CB8AC3E}">
        <p14:creationId xmlns:p14="http://schemas.microsoft.com/office/powerpoint/2010/main" val="19926620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221CA96-B5A2-BB70-C2CC-37D2DEDBD8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20CA304B-A33A-32DB-08E4-0B93F2F22F4E}"/>
              </a:ext>
            </a:extLst>
          </p:cNvPr>
          <p:cNvCxnSpPr>
            <a:cxnSpLocks/>
          </p:cNvCxnSpPr>
          <p:nvPr/>
        </p:nvCxnSpPr>
        <p:spPr>
          <a:xfrm>
            <a:off x="577415" y="1381609"/>
            <a:ext cx="10907449" cy="0"/>
          </a:xfrm>
          <a:prstGeom prst="line">
            <a:avLst/>
          </a:prstGeom>
          <a:ln w="285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D39AF9BC-DB29-A9C3-45B4-13427DB36DF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70645" y="6112897"/>
            <a:ext cx="10440000" cy="607054"/>
          </a:xfrm>
        </p:spPr>
        <p:txBody>
          <a:bodyPr/>
          <a:lstStyle/>
          <a:p>
            <a:r>
              <a:rPr lang="en-GB"/>
              <a:t>1L, first line; 2L, second line; axi-cel, axicabtagene ciloleucel; CAR-T, chimeric antigen receptor T-cell therapy; CHOP, cyclophosphamide, doxorubicin, vincristine and prednisone; M, month; PD, progressive disease; R, rituximab; R-Pola, rituximab plus polatuzumab vedotin; RT, radiotherapy.</a:t>
            </a:r>
            <a:br>
              <a:rPr lang="en-GB"/>
            </a:br>
            <a:r>
              <a:rPr lang="en-GB"/>
              <a:t>Patient case provided by Prof. Enrico </a:t>
            </a:r>
            <a:r>
              <a:rPr lang="en-GB" err="1"/>
              <a:t>Derenzini</a:t>
            </a:r>
            <a:r>
              <a:rPr lang="en-GB"/>
              <a:t>.</a:t>
            </a: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6D1248AC-78E0-BE56-4E12-4A59ED39010E}"/>
              </a:ext>
            </a:extLst>
          </p:cNvPr>
          <p:cNvSpPr txBox="1">
            <a:spLocks/>
          </p:cNvSpPr>
          <p:nvPr/>
        </p:nvSpPr>
        <p:spPr>
          <a:xfrm>
            <a:off x="469900" y="311150"/>
            <a:ext cx="10317269" cy="930910"/>
          </a:xfrm>
          <a:prstGeom prst="rect">
            <a:avLst/>
          </a:prstGeom>
        </p:spPr>
        <p:txBody>
          <a:bodyPr vert="horz" lIns="90000" tIns="46800" rIns="90000" bIns="4680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400" b="0" i="0" kern="1200">
                <a:solidFill>
                  <a:schemeClr val="tx2"/>
                </a:solidFill>
                <a:latin typeface="Aptos" panose="020B000402020202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0B0004020202020204" pitchFamily="34" charset="0"/>
                <a:ea typeface="+mj-ea"/>
                <a:cs typeface="+mj-cs"/>
              </a:rPr>
              <a:t>Dual antigen loss after 2L CAR-T</a:t>
            </a:r>
            <a:endParaRPr kumimoji="0" lang="en-GB" sz="3400" b="0" i="0" u="none" strike="noStrike" kern="1200" cap="none" spc="0" normalizeH="0" baseline="3000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0B0004020202020204" pitchFamily="34" charset="0"/>
              <a:ea typeface="+mj-ea"/>
              <a:cs typeface="+mj-cs"/>
            </a:endParaRP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C2B908E8-2D9A-D9E9-F489-23ADD7A0A46D}"/>
              </a:ext>
            </a:extLst>
          </p:cNvPr>
          <p:cNvSpPr/>
          <p:nvPr/>
        </p:nvSpPr>
        <p:spPr>
          <a:xfrm>
            <a:off x="516205" y="1303874"/>
            <a:ext cx="159799" cy="159799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1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959EB0B5-D1F5-17D7-10D1-E5381207B7BF}"/>
              </a:ext>
            </a:extLst>
          </p:cNvPr>
          <p:cNvCxnSpPr>
            <a:cxnSpLocks/>
            <a:stCxn id="31" idx="4"/>
          </p:cNvCxnSpPr>
          <p:nvPr/>
        </p:nvCxnSpPr>
        <p:spPr>
          <a:xfrm>
            <a:off x="596105" y="1463673"/>
            <a:ext cx="0" cy="182159"/>
          </a:xfrm>
          <a:prstGeom prst="line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5" name="TextBox 34">
            <a:extLst>
              <a:ext uri="{FF2B5EF4-FFF2-40B4-BE49-F238E27FC236}">
                <a16:creationId xmlns:a16="http://schemas.microsoft.com/office/drawing/2014/main" id="{0121DAD8-83A4-9797-0458-72AA206EE1D8}"/>
              </a:ext>
            </a:extLst>
          </p:cNvPr>
          <p:cNvSpPr txBox="1"/>
          <p:nvPr/>
        </p:nvSpPr>
        <p:spPr>
          <a:xfrm>
            <a:off x="544865" y="1645832"/>
            <a:ext cx="2850214" cy="584775"/>
          </a:xfrm>
          <a:prstGeom prst="rect">
            <a:avLst/>
          </a:prstGeom>
          <a:noFill/>
        </p:spPr>
        <p:txBody>
          <a:bodyPr wrap="square" lIns="45720" tIns="45720" rIns="4572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1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L treatment: </a:t>
            </a: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-CHOP ×2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1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Outcome: </a:t>
            </a: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D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98D0C95E-2B14-2971-3361-6F62DAAAA082}"/>
              </a:ext>
            </a:extLst>
          </p:cNvPr>
          <p:cNvSpPr txBox="1"/>
          <p:nvPr/>
        </p:nvSpPr>
        <p:spPr>
          <a:xfrm>
            <a:off x="5082989" y="1695398"/>
            <a:ext cx="3522858" cy="830997"/>
          </a:xfrm>
          <a:prstGeom prst="rect">
            <a:avLst/>
          </a:prstGeom>
          <a:noFill/>
        </p:spPr>
        <p:txBody>
          <a:bodyPr wrap="square" lIns="45720" tIns="45720" rIns="45720" bIns="4572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1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L: </a:t>
            </a: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Lymphocyte apheresis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1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Bridging: </a:t>
            </a: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-Pola ×2 + RT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1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Outcome: </a:t>
            </a: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D</a:t>
            </a: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79E06051-0183-BA8B-42D5-63E143871F55}"/>
              </a:ext>
            </a:extLst>
          </p:cNvPr>
          <p:cNvSpPr/>
          <p:nvPr/>
        </p:nvSpPr>
        <p:spPr>
          <a:xfrm>
            <a:off x="9382015" y="1303874"/>
            <a:ext cx="159799" cy="159799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1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Arial" panose="020B0604020202020204" pitchFamily="34" charset="0"/>
            </a:endParaRPr>
          </a:p>
        </p:txBody>
      </p:sp>
      <p:pic>
        <p:nvPicPr>
          <p:cNvPr id="40" name="Immagine 6">
            <a:extLst>
              <a:ext uri="{FF2B5EF4-FFF2-40B4-BE49-F238E27FC236}">
                <a16:creationId xmlns:a16="http://schemas.microsoft.com/office/drawing/2014/main" id="{0E6ECF84-A10E-0FC1-EC42-8B63AB0D3C4E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98341" y="2878172"/>
            <a:ext cx="2505790" cy="3393475"/>
          </a:xfrm>
          <a:prstGeom prst="rect">
            <a:avLst/>
          </a:prstGeom>
        </p:spPr>
      </p:pic>
      <p:sp>
        <p:nvSpPr>
          <p:cNvPr id="43" name="CasellaDiTesto 9">
            <a:extLst>
              <a:ext uri="{FF2B5EF4-FFF2-40B4-BE49-F238E27FC236}">
                <a16:creationId xmlns:a16="http://schemas.microsoft.com/office/drawing/2014/main" id="{5F32A0D3-A498-5E28-9035-45B084F496F8}"/>
              </a:ext>
            </a:extLst>
          </p:cNvPr>
          <p:cNvSpPr txBox="1"/>
          <p:nvPr/>
        </p:nvSpPr>
        <p:spPr>
          <a:xfrm>
            <a:off x="8293424" y="2568801"/>
            <a:ext cx="216328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elapse after CAR-T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9FDB3A5D-5675-10B4-1BB0-0F5B40308450}"/>
              </a:ext>
            </a:extLst>
          </p:cNvPr>
          <p:cNvSpPr txBox="1"/>
          <p:nvPr/>
        </p:nvSpPr>
        <p:spPr>
          <a:xfrm>
            <a:off x="9164170" y="1695398"/>
            <a:ext cx="2856939" cy="923330"/>
          </a:xfrm>
          <a:prstGeom prst="rect">
            <a:avLst/>
          </a:prstGeom>
          <a:noFill/>
        </p:spPr>
        <p:txBody>
          <a:bodyPr wrap="square" lIns="45720" tIns="45720" rIns="4572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nti CD19 CAR-T axi-ce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1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Outcome: </a:t>
            </a: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F15922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Early relapse (+4M), CD19</a:t>
            </a:r>
            <a:r>
              <a:rPr kumimoji="0" lang="en-GB" sz="1800" b="1" i="0" u="none" strike="noStrike" kern="1200" cap="none" spc="0" normalizeH="0" baseline="30000" noProof="0">
                <a:ln>
                  <a:noFill/>
                </a:ln>
                <a:solidFill>
                  <a:srgbClr val="F15922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–</a:t>
            </a: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F15922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/CD20</a:t>
            </a:r>
            <a:r>
              <a:rPr kumimoji="0" lang="en-GB" sz="1800" b="1" i="0" u="none" strike="noStrike" kern="1200" cap="none" spc="0" normalizeH="0" baseline="30000" noProof="0">
                <a:ln>
                  <a:noFill/>
                </a:ln>
                <a:solidFill>
                  <a:srgbClr val="F15922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– </a:t>
            </a: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F15922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D</a:t>
            </a:r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00AAEA25-2765-04ED-51FF-2EA967B17E81}"/>
              </a:ext>
            </a:extLst>
          </p:cNvPr>
          <p:cNvCxnSpPr>
            <a:cxnSpLocks/>
          </p:cNvCxnSpPr>
          <p:nvPr/>
        </p:nvCxnSpPr>
        <p:spPr>
          <a:xfrm>
            <a:off x="9456139" y="1463673"/>
            <a:ext cx="0" cy="182159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9" name="CasellaDiTesto 25">
            <a:extLst>
              <a:ext uri="{FF2B5EF4-FFF2-40B4-BE49-F238E27FC236}">
                <a16:creationId xmlns:a16="http://schemas.microsoft.com/office/drawing/2014/main" id="{87EC4570-C881-2A0B-106C-A05093DE5F86}"/>
              </a:ext>
            </a:extLst>
          </p:cNvPr>
          <p:cNvSpPr txBox="1"/>
          <p:nvPr/>
        </p:nvSpPr>
        <p:spPr>
          <a:xfrm>
            <a:off x="10405283" y="2977577"/>
            <a:ext cx="1200225" cy="211911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wrap="square">
            <a:noAutofit/>
          </a:bodyPr>
          <a:lstStyle>
            <a:defPPr>
              <a:defRPr lang="sv-SE"/>
            </a:defPPr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ual CD19/</a:t>
            </a:r>
            <a:b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D20 los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onfirmed by flow cytometry (+ 3M)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F5D03F7-8C64-D219-3C21-245EDDAC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01CC8E-1CEF-6746-999E-CF29FF00B1D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82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3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8" name="Immagine 4">
            <a:extLst>
              <a:ext uri="{FF2B5EF4-FFF2-40B4-BE49-F238E27FC236}">
                <a16:creationId xmlns:a16="http://schemas.microsoft.com/office/drawing/2014/main" id="{C0C6FA8A-B471-FB4E-0719-25EAFF702885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7415" y="3106772"/>
            <a:ext cx="4681552" cy="2519310"/>
          </a:xfrm>
          <a:prstGeom prst="rect">
            <a:avLst/>
          </a:prstGeom>
        </p:spPr>
      </p:pic>
      <p:pic>
        <p:nvPicPr>
          <p:cNvPr id="9" name="Immagine 5">
            <a:extLst>
              <a:ext uri="{FF2B5EF4-FFF2-40B4-BE49-F238E27FC236}">
                <a16:creationId xmlns:a16="http://schemas.microsoft.com/office/drawing/2014/main" id="{DD28DFB1-F9CB-19A2-71C8-6F959798798D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91088" y="2912318"/>
            <a:ext cx="2381728" cy="2713764"/>
          </a:xfrm>
          <a:prstGeom prst="rect">
            <a:avLst/>
          </a:prstGeom>
        </p:spPr>
      </p:pic>
      <p:sp>
        <p:nvSpPr>
          <p:cNvPr id="10" name="CasellaDiTesto 7">
            <a:extLst>
              <a:ext uri="{FF2B5EF4-FFF2-40B4-BE49-F238E27FC236}">
                <a16:creationId xmlns:a16="http://schemas.microsoft.com/office/drawing/2014/main" id="{C82AF484-66D1-FE5E-9D20-359D319A55EA}"/>
              </a:ext>
            </a:extLst>
          </p:cNvPr>
          <p:cNvSpPr txBox="1"/>
          <p:nvPr/>
        </p:nvSpPr>
        <p:spPr>
          <a:xfrm>
            <a:off x="3676186" y="2797401"/>
            <a:ext cx="17363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Initial diagnosis</a:t>
            </a:r>
          </a:p>
        </p:txBody>
      </p:sp>
      <p:sp>
        <p:nvSpPr>
          <p:cNvPr id="11" name="CasellaDiTesto 8">
            <a:extLst>
              <a:ext uri="{FF2B5EF4-FFF2-40B4-BE49-F238E27FC236}">
                <a16:creationId xmlns:a16="http://schemas.microsoft.com/office/drawing/2014/main" id="{C76A53DF-D799-8E88-12A0-89242E02C725}"/>
              </a:ext>
            </a:extLst>
          </p:cNvPr>
          <p:cNvSpPr txBox="1"/>
          <p:nvPr/>
        </p:nvSpPr>
        <p:spPr>
          <a:xfrm>
            <a:off x="6384618" y="2797401"/>
            <a:ext cx="95667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First PD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28AF4C9-09CA-A829-E099-6B346252ACB8}"/>
              </a:ext>
            </a:extLst>
          </p:cNvPr>
          <p:cNvSpPr txBox="1"/>
          <p:nvPr/>
        </p:nvSpPr>
        <p:spPr>
          <a:xfrm>
            <a:off x="9448070" y="831371"/>
            <a:ext cx="455050" cy="3927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CB813"/>
              </a:buClr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pril 2025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4654206A-B0EE-D21D-2514-F5C5200720E9}"/>
              </a:ext>
            </a:extLst>
          </p:cNvPr>
          <p:cNvSpPr/>
          <p:nvPr/>
        </p:nvSpPr>
        <p:spPr>
          <a:xfrm>
            <a:off x="8449969" y="1303874"/>
            <a:ext cx="159799" cy="159799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1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1DDA16EB-A8CC-A1BA-7158-971E2D69ACCC}"/>
              </a:ext>
            </a:extLst>
          </p:cNvPr>
          <p:cNvCxnSpPr>
            <a:cxnSpLocks/>
            <a:stCxn id="16" idx="4"/>
          </p:cNvCxnSpPr>
          <p:nvPr/>
        </p:nvCxnSpPr>
        <p:spPr>
          <a:xfrm>
            <a:off x="8529869" y="1463673"/>
            <a:ext cx="0" cy="182159"/>
          </a:xfrm>
          <a:prstGeom prst="line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CE317E19-5CD1-DDB1-44DB-346C663ED153}"/>
              </a:ext>
            </a:extLst>
          </p:cNvPr>
          <p:cNvSpPr txBox="1"/>
          <p:nvPr/>
        </p:nvSpPr>
        <p:spPr>
          <a:xfrm>
            <a:off x="8298188" y="831371"/>
            <a:ext cx="455050" cy="3927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CB813"/>
              </a:buClr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March 2025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4B2AB18-9805-E701-43B9-5E5B719AE752}"/>
              </a:ext>
            </a:extLst>
          </p:cNvPr>
          <p:cNvSpPr txBox="1"/>
          <p:nvPr/>
        </p:nvSpPr>
        <p:spPr>
          <a:xfrm>
            <a:off x="491363" y="831371"/>
            <a:ext cx="455050" cy="3927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CB813"/>
              </a:buClr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January 2025</a:t>
            </a:r>
          </a:p>
        </p:txBody>
      </p:sp>
    </p:spTree>
    <p:extLst>
      <p:ext uri="{BB962C8B-B14F-4D97-AF65-F5344CB8AC3E}">
        <p14:creationId xmlns:p14="http://schemas.microsoft.com/office/powerpoint/2010/main" val="3893678386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7993566-63BC-CB45-FC37-74C9635C47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01CC8E-1CEF-6746-999E-CF29FF00B1D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82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4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E9E07CC-8FB9-FBD2-116A-13FB3202B54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70645" y="6291951"/>
            <a:ext cx="10440000" cy="428000"/>
          </a:xfrm>
        </p:spPr>
        <p:txBody>
          <a:bodyPr/>
          <a:lstStyle/>
          <a:p>
            <a:r>
              <a:rPr lang="en-GB"/>
              <a:t>BR, bendamustine, rituximab; BsAbs, bispecific antibodies; CAR-T, chimeric antigen receptor T-cell therapy; CHOP, cyclophosphamide, doxorubicin, vincristine and prednisone; </a:t>
            </a:r>
            <a:r>
              <a:rPr lang="en-GB" err="1"/>
              <a:t>DHAOx</a:t>
            </a:r>
            <a:r>
              <a:rPr lang="en-GB"/>
              <a:t>, dexamethasone, high-dose cytarabine, oxaliplatin; Len, lenalidomide; Pola, polatuzumab vedotin; R, rituximab; Tafa, tafasitamab.</a:t>
            </a:r>
          </a:p>
          <a:p>
            <a:r>
              <a:rPr lang="en-GB"/>
              <a:t>Patient case provided by Prof. Enrico </a:t>
            </a:r>
            <a:r>
              <a:rPr lang="en-GB" err="1"/>
              <a:t>Derenzini</a:t>
            </a:r>
            <a:r>
              <a:rPr lang="en-GB"/>
              <a:t>.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CBAAFBB-6CE0-15BB-3A62-3FF74948FF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0" y="311150"/>
            <a:ext cx="10317269" cy="930910"/>
          </a:xfrm>
        </p:spPr>
        <p:txBody>
          <a:bodyPr/>
          <a:lstStyle/>
          <a:p>
            <a:r>
              <a:rPr lang="en-GB">
                <a:latin typeface="+mn-lt"/>
              </a:rPr>
              <a:t>What treatment options are available for this patient? 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2ED002B0-70F7-36C4-0EB3-6D80755D2CBF}"/>
              </a:ext>
            </a:extLst>
          </p:cNvPr>
          <p:cNvSpPr/>
          <p:nvPr/>
        </p:nvSpPr>
        <p:spPr>
          <a:xfrm>
            <a:off x="4238718" y="1329588"/>
            <a:ext cx="1089478" cy="99043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CasellaDiTesto 4">
            <a:extLst>
              <a:ext uri="{FF2B5EF4-FFF2-40B4-BE49-F238E27FC236}">
                <a16:creationId xmlns:a16="http://schemas.microsoft.com/office/drawing/2014/main" id="{151E9937-F996-E9F7-900A-E7CB1D7CC216}"/>
              </a:ext>
            </a:extLst>
          </p:cNvPr>
          <p:cNvSpPr txBox="1"/>
          <p:nvPr/>
        </p:nvSpPr>
        <p:spPr>
          <a:xfrm>
            <a:off x="4053429" y="1277495"/>
            <a:ext cx="147035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July </a:t>
            </a:r>
            <a:b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025</a:t>
            </a:r>
          </a:p>
        </p:txBody>
      </p:sp>
      <p:sp>
        <p:nvSpPr>
          <p:cNvPr id="9" name="Rectangle: Single Corner Rounded 8">
            <a:extLst>
              <a:ext uri="{FF2B5EF4-FFF2-40B4-BE49-F238E27FC236}">
                <a16:creationId xmlns:a16="http://schemas.microsoft.com/office/drawing/2014/main" id="{D7CAD341-AC68-3B38-E182-17FBDDA88940}"/>
              </a:ext>
            </a:extLst>
          </p:cNvPr>
          <p:cNvSpPr/>
          <p:nvPr/>
        </p:nvSpPr>
        <p:spPr>
          <a:xfrm>
            <a:off x="4226739" y="1785182"/>
            <a:ext cx="7441005" cy="4163811"/>
          </a:xfrm>
          <a:prstGeom prst="round1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78A4516B-23E5-1699-F66F-73E20C74820D}"/>
              </a:ext>
            </a:extLst>
          </p:cNvPr>
          <p:cNvSpPr/>
          <p:nvPr/>
        </p:nvSpPr>
        <p:spPr>
          <a:xfrm>
            <a:off x="8890570" y="5054040"/>
            <a:ext cx="593138" cy="104135"/>
          </a:xfrm>
          <a:prstGeom prst="ellipse">
            <a:avLst/>
          </a:prstGeom>
          <a:solidFill>
            <a:schemeClr val="tx1">
              <a:alpha val="6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" name="Free-form: Shape 10">
            <a:extLst>
              <a:ext uri="{FF2B5EF4-FFF2-40B4-BE49-F238E27FC236}">
                <a16:creationId xmlns:a16="http://schemas.microsoft.com/office/drawing/2014/main" id="{36954044-145B-7ECE-8D3C-538E21DD9FBB}"/>
              </a:ext>
            </a:extLst>
          </p:cNvPr>
          <p:cNvSpPr/>
          <p:nvPr/>
        </p:nvSpPr>
        <p:spPr>
          <a:xfrm>
            <a:off x="8989236" y="4373389"/>
            <a:ext cx="433137" cy="770022"/>
          </a:xfrm>
          <a:custGeom>
            <a:avLst/>
            <a:gdLst>
              <a:gd name="csX0" fmla="*/ 581793 w 697572"/>
              <a:gd name="csY0" fmla="*/ 1234401 h 1240128"/>
              <a:gd name="csX1" fmla="*/ 577427 w 697572"/>
              <a:gd name="csY1" fmla="*/ 1234156 h 1240128"/>
              <a:gd name="csX2" fmla="*/ 559133 w 697572"/>
              <a:gd name="csY2" fmla="*/ 1230909 h 1240128"/>
              <a:gd name="csX3" fmla="*/ 516706 w 697572"/>
              <a:gd name="csY3" fmla="*/ 1235117 h 1240128"/>
              <a:gd name="csX4" fmla="*/ 475244 w 697572"/>
              <a:gd name="csY4" fmla="*/ 1237506 h 1240128"/>
              <a:gd name="csX5" fmla="*/ 371154 w 697572"/>
              <a:gd name="csY5" fmla="*/ 1239428 h 1240128"/>
              <a:gd name="csX6" fmla="*/ 276813 w 697572"/>
              <a:gd name="csY6" fmla="*/ 1237654 h 1240128"/>
              <a:gd name="csX7" fmla="*/ 268212 w 697572"/>
              <a:gd name="csY7" fmla="*/ 1237635 h 1240128"/>
              <a:gd name="csX8" fmla="*/ 262072 w 697572"/>
              <a:gd name="csY8" fmla="*/ 1237523 h 1240128"/>
              <a:gd name="csX9" fmla="*/ 195111 w 697572"/>
              <a:gd name="csY9" fmla="*/ 1232775 h 1240128"/>
              <a:gd name="csX10" fmla="*/ 145060 w 697572"/>
              <a:gd name="csY10" fmla="*/ 1230076 h 1240128"/>
              <a:gd name="csX11" fmla="*/ 114933 w 697572"/>
              <a:gd name="csY11" fmla="*/ 1225832 h 1240128"/>
              <a:gd name="csX12" fmla="*/ 72642 w 697572"/>
              <a:gd name="csY12" fmla="*/ 1220237 h 1240128"/>
              <a:gd name="csX13" fmla="*/ 10894 w 697572"/>
              <a:gd name="csY13" fmla="*/ 1205737 h 1240128"/>
              <a:gd name="csX14" fmla="*/ 5856 w 697572"/>
              <a:gd name="csY14" fmla="*/ 1202799 h 1240128"/>
              <a:gd name="csX15" fmla="*/ 40 w 697572"/>
              <a:gd name="csY15" fmla="*/ 1174450 h 1240128"/>
              <a:gd name="csX16" fmla="*/ 19831 w 697572"/>
              <a:gd name="csY16" fmla="*/ 1118410 h 1240128"/>
              <a:gd name="csX17" fmla="*/ 22004 w 697572"/>
              <a:gd name="csY17" fmla="*/ 1107240 h 1240128"/>
              <a:gd name="csX18" fmla="*/ 25947 w 697572"/>
              <a:gd name="csY18" fmla="*/ 1038650 h 1240128"/>
              <a:gd name="csX19" fmla="*/ 58234 w 697572"/>
              <a:gd name="csY19" fmla="*/ 988567 h 1240128"/>
              <a:gd name="csX20" fmla="*/ 118645 w 697572"/>
              <a:gd name="csY20" fmla="*/ 928298 h 1240128"/>
              <a:gd name="csX21" fmla="*/ 126320 w 697572"/>
              <a:gd name="csY21" fmla="*/ 892015 h 1240128"/>
              <a:gd name="csX22" fmla="*/ 120345 w 697572"/>
              <a:gd name="csY22" fmla="*/ 872258 h 1240128"/>
              <a:gd name="csX23" fmla="*/ 125668 w 697572"/>
              <a:gd name="csY23" fmla="*/ 861640 h 1240128"/>
              <a:gd name="csX24" fmla="*/ 154237 w 697572"/>
              <a:gd name="csY24" fmla="*/ 850716 h 1240128"/>
              <a:gd name="csX25" fmla="*/ 170248 w 697572"/>
              <a:gd name="csY25" fmla="*/ 836767 h 1240128"/>
              <a:gd name="csX26" fmla="*/ 187840 w 697572"/>
              <a:gd name="csY26" fmla="*/ 796341 h 1240128"/>
              <a:gd name="csX27" fmla="*/ 209346 w 697572"/>
              <a:gd name="csY27" fmla="*/ 743126 h 1240128"/>
              <a:gd name="csX28" fmla="*/ 210630 w 697572"/>
              <a:gd name="csY28" fmla="*/ 737219 h 1240128"/>
              <a:gd name="csX29" fmla="*/ 213836 w 697572"/>
              <a:gd name="csY29" fmla="*/ 720505 h 1240128"/>
              <a:gd name="csX30" fmla="*/ 227791 w 697572"/>
              <a:gd name="csY30" fmla="*/ 667353 h 1240128"/>
              <a:gd name="csX31" fmla="*/ 241013 w 697572"/>
              <a:gd name="csY31" fmla="*/ 599151 h 1240128"/>
              <a:gd name="csX32" fmla="*/ 247322 w 697572"/>
              <a:gd name="csY32" fmla="*/ 542242 h 1240128"/>
              <a:gd name="csX33" fmla="*/ 247948 w 697572"/>
              <a:gd name="csY33" fmla="*/ 499296 h 1240128"/>
              <a:gd name="csX34" fmla="*/ 247577 w 697572"/>
              <a:gd name="csY34" fmla="*/ 470384 h 1240128"/>
              <a:gd name="csX35" fmla="*/ 238877 w 697572"/>
              <a:gd name="csY35" fmla="*/ 460987 h 1240128"/>
              <a:gd name="csX36" fmla="*/ 222040 w 697572"/>
              <a:gd name="csY36" fmla="*/ 458353 h 1240128"/>
              <a:gd name="csX37" fmla="*/ 172193 w 697572"/>
              <a:gd name="csY37" fmla="*/ 433714 h 1240128"/>
              <a:gd name="csX38" fmla="*/ 168410 w 697572"/>
              <a:gd name="csY38" fmla="*/ 396591 h 1240128"/>
              <a:gd name="csX39" fmla="*/ 209826 w 697572"/>
              <a:gd name="csY39" fmla="*/ 367773 h 1240128"/>
              <a:gd name="csX40" fmla="*/ 250732 w 697572"/>
              <a:gd name="csY40" fmla="*/ 355208 h 1240128"/>
              <a:gd name="csX41" fmla="*/ 258289 w 697572"/>
              <a:gd name="csY41" fmla="*/ 350426 h 1240128"/>
              <a:gd name="csX42" fmla="*/ 233274 w 697572"/>
              <a:gd name="csY42" fmla="*/ 333513 h 1240128"/>
              <a:gd name="csX43" fmla="*/ 229677 w 697572"/>
              <a:gd name="csY43" fmla="*/ 333922 h 1240128"/>
              <a:gd name="csX44" fmla="*/ 230149 w 697572"/>
              <a:gd name="csY44" fmla="*/ 332979 h 1240128"/>
              <a:gd name="csX45" fmla="*/ 227053 w 697572"/>
              <a:gd name="csY45" fmla="*/ 327076 h 1240128"/>
              <a:gd name="csX46" fmla="*/ 196769 w 697572"/>
              <a:gd name="csY46" fmla="*/ 291380 h 1240128"/>
              <a:gd name="csX47" fmla="*/ 184389 w 697572"/>
              <a:gd name="csY47" fmla="*/ 264042 h 1240128"/>
              <a:gd name="csX48" fmla="*/ 180630 w 697572"/>
              <a:gd name="csY48" fmla="*/ 257839 h 1240128"/>
              <a:gd name="csX49" fmla="*/ 176231 w 697572"/>
              <a:gd name="csY49" fmla="*/ 250643 h 1240128"/>
              <a:gd name="csX50" fmla="*/ 170073 w 697572"/>
              <a:gd name="csY50" fmla="*/ 146723 h 1240128"/>
              <a:gd name="csX51" fmla="*/ 180929 w 697572"/>
              <a:gd name="csY51" fmla="*/ 114280 h 1240128"/>
              <a:gd name="csX52" fmla="*/ 180839 w 697572"/>
              <a:gd name="csY52" fmla="*/ 101501 h 1240128"/>
              <a:gd name="csX53" fmla="*/ 233536 w 697572"/>
              <a:gd name="csY53" fmla="*/ 39653 h 1240128"/>
              <a:gd name="csX54" fmla="*/ 347618 w 697572"/>
              <a:gd name="csY54" fmla="*/ 35 h 1240128"/>
              <a:gd name="csX55" fmla="*/ 437139 w 697572"/>
              <a:gd name="csY55" fmla="*/ 22396 h 1240128"/>
              <a:gd name="csX56" fmla="*/ 529052 w 697572"/>
              <a:gd name="csY56" fmla="*/ 131093 h 1240128"/>
              <a:gd name="csX57" fmla="*/ 518497 w 697572"/>
              <a:gd name="csY57" fmla="*/ 271517 h 1240128"/>
              <a:gd name="csX58" fmla="*/ 500808 w 697572"/>
              <a:gd name="csY58" fmla="*/ 287385 h 1240128"/>
              <a:gd name="csX59" fmla="*/ 472948 w 697572"/>
              <a:gd name="csY59" fmla="*/ 323290 h 1240128"/>
              <a:gd name="csX60" fmla="*/ 469385 w 697572"/>
              <a:gd name="csY60" fmla="*/ 331565 h 1240128"/>
              <a:gd name="csX61" fmla="*/ 468293 w 697572"/>
              <a:gd name="csY61" fmla="*/ 331320 h 1240128"/>
              <a:gd name="csX62" fmla="*/ 459542 w 697572"/>
              <a:gd name="csY62" fmla="*/ 338942 h 1240128"/>
              <a:gd name="csX63" fmla="*/ 458492 w 697572"/>
              <a:gd name="csY63" fmla="*/ 338671 h 1240128"/>
              <a:gd name="csX64" fmla="*/ 436978 w 697572"/>
              <a:gd name="csY64" fmla="*/ 352226 h 1240128"/>
              <a:gd name="csX65" fmla="*/ 472329 w 697572"/>
              <a:gd name="csY65" fmla="*/ 362890 h 1240128"/>
              <a:gd name="csX66" fmla="*/ 523779 w 697572"/>
              <a:gd name="csY66" fmla="*/ 391962 h 1240128"/>
              <a:gd name="csX67" fmla="*/ 527344 w 697572"/>
              <a:gd name="csY67" fmla="*/ 430096 h 1240128"/>
              <a:gd name="csX68" fmla="*/ 504112 w 697572"/>
              <a:gd name="csY68" fmla="*/ 449628 h 1240128"/>
              <a:gd name="csX69" fmla="*/ 459430 w 697572"/>
              <a:gd name="csY69" fmla="*/ 461116 h 1240128"/>
              <a:gd name="csX70" fmla="*/ 446666 w 697572"/>
              <a:gd name="csY70" fmla="*/ 474229 h 1240128"/>
              <a:gd name="csX71" fmla="*/ 449133 w 697572"/>
              <a:gd name="csY71" fmla="*/ 531639 h 1240128"/>
              <a:gd name="csX72" fmla="*/ 454546 w 697572"/>
              <a:gd name="csY72" fmla="*/ 588688 h 1240128"/>
              <a:gd name="csX73" fmla="*/ 466126 w 697572"/>
              <a:gd name="csY73" fmla="*/ 649736 h 1240128"/>
              <a:gd name="csX74" fmla="*/ 512154 w 697572"/>
              <a:gd name="csY74" fmla="*/ 794006 h 1240128"/>
              <a:gd name="csX75" fmla="*/ 525763 w 697572"/>
              <a:gd name="csY75" fmla="*/ 834323 h 1240128"/>
              <a:gd name="csX76" fmla="*/ 530555 w 697572"/>
              <a:gd name="csY76" fmla="*/ 845114 h 1240128"/>
              <a:gd name="csX77" fmla="*/ 554424 w 697572"/>
              <a:gd name="csY77" fmla="*/ 856618 h 1240128"/>
              <a:gd name="csX78" fmla="*/ 572880 w 697572"/>
              <a:gd name="csY78" fmla="*/ 862546 h 1240128"/>
              <a:gd name="csX79" fmla="*/ 578643 w 697572"/>
              <a:gd name="csY79" fmla="*/ 880396 h 1240128"/>
              <a:gd name="csX80" fmla="*/ 572188 w 697572"/>
              <a:gd name="csY80" fmla="*/ 899820 h 1240128"/>
              <a:gd name="csX81" fmla="*/ 582698 w 697572"/>
              <a:gd name="csY81" fmla="*/ 930382 h 1240128"/>
              <a:gd name="csX82" fmla="*/ 604747 w 697572"/>
              <a:gd name="csY82" fmla="*/ 960852 h 1240128"/>
              <a:gd name="csX83" fmla="*/ 613863 w 697572"/>
              <a:gd name="csY83" fmla="*/ 968311 h 1240128"/>
              <a:gd name="csX84" fmla="*/ 629435 w 697572"/>
              <a:gd name="csY84" fmla="*/ 981186 h 1240128"/>
              <a:gd name="csX85" fmla="*/ 633611 w 697572"/>
              <a:gd name="csY85" fmla="*/ 985609 h 1240128"/>
              <a:gd name="csX86" fmla="*/ 673790 w 697572"/>
              <a:gd name="csY86" fmla="*/ 1049348 h 1240128"/>
              <a:gd name="csX87" fmla="*/ 675873 w 697572"/>
              <a:gd name="csY87" fmla="*/ 1092839 h 1240128"/>
              <a:gd name="csX88" fmla="*/ 681668 w 697572"/>
              <a:gd name="csY88" fmla="*/ 1129292 h 1240128"/>
              <a:gd name="csX89" fmla="*/ 697338 w 697572"/>
              <a:gd name="csY89" fmla="*/ 1196079 h 1240128"/>
              <a:gd name="csX90" fmla="*/ 690637 w 697572"/>
              <a:gd name="csY90" fmla="*/ 1205035 h 1240128"/>
              <a:gd name="csX91" fmla="*/ 639777 w 697572"/>
              <a:gd name="csY91" fmla="*/ 1217994 h 1240128"/>
              <a:gd name="csX92" fmla="*/ 587072 w 697572"/>
              <a:gd name="csY92" fmla="*/ 1227761 h 1240128"/>
              <a:gd name="csX93" fmla="*/ 581793 w 697572"/>
              <a:gd name="csY93" fmla="*/ 1234401 h 1240128"/>
              <a:gd name="csX94" fmla="*/ 357446 w 697572"/>
              <a:gd name="csY94" fmla="*/ 903795 h 1240128"/>
              <a:gd name="csX95" fmla="*/ 344445 w 697572"/>
              <a:gd name="csY95" fmla="*/ 903795 h 1240128"/>
              <a:gd name="csX96" fmla="*/ 349212 w 697572"/>
              <a:gd name="csY96" fmla="*/ 950515 h 1240128"/>
              <a:gd name="csX97" fmla="*/ 349538 w 697572"/>
              <a:gd name="csY97" fmla="*/ 1069392 h 1240128"/>
              <a:gd name="csX98" fmla="*/ 349415 w 697572"/>
              <a:gd name="csY98" fmla="*/ 1108925 h 1240128"/>
              <a:gd name="csX99" fmla="*/ 647726 w 697572"/>
              <a:gd name="csY99" fmla="*/ 1089872 h 1240128"/>
              <a:gd name="csX100" fmla="*/ 647654 w 697572"/>
              <a:gd name="csY100" fmla="*/ 1076267 h 1240128"/>
              <a:gd name="csX101" fmla="*/ 610267 w 697572"/>
              <a:gd name="csY101" fmla="*/ 994126 h 1240128"/>
              <a:gd name="csX102" fmla="*/ 571459 w 697572"/>
              <a:gd name="csY102" fmla="*/ 956568 h 1240128"/>
              <a:gd name="csX103" fmla="*/ 541653 w 697572"/>
              <a:gd name="csY103" fmla="*/ 901544 h 1240128"/>
              <a:gd name="csX104" fmla="*/ 539477 w 697572"/>
              <a:gd name="csY104" fmla="*/ 895908 h 1240128"/>
              <a:gd name="csX105" fmla="*/ 357446 w 697572"/>
              <a:gd name="csY105" fmla="*/ 903795 h 1240128"/>
              <a:gd name="csX106" fmla="*/ 300108 w 697572"/>
              <a:gd name="csY106" fmla="*/ 85260 h 1240128"/>
              <a:gd name="csX107" fmla="*/ 290213 w 697572"/>
              <a:gd name="csY107" fmla="*/ 127888 h 1240128"/>
              <a:gd name="csX108" fmla="*/ 331056 w 697572"/>
              <a:gd name="csY108" fmla="*/ 214168 h 1240128"/>
              <a:gd name="csX109" fmla="*/ 424717 w 697572"/>
              <a:gd name="csY109" fmla="*/ 245160 h 1240128"/>
              <a:gd name="csX110" fmla="*/ 496752 w 697572"/>
              <a:gd name="csY110" fmla="*/ 141256 h 1240128"/>
              <a:gd name="csX111" fmla="*/ 390320 w 697572"/>
              <a:gd name="csY111" fmla="*/ 43995 h 1240128"/>
              <a:gd name="csX112" fmla="*/ 300108 w 697572"/>
              <a:gd name="csY112" fmla="*/ 85260 h 1240128"/>
              <a:gd name="csX113" fmla="*/ 343360 w 697572"/>
              <a:gd name="csY113" fmla="*/ 634332 h 1240128"/>
              <a:gd name="csX114" fmla="*/ 340877 w 697572"/>
              <a:gd name="csY114" fmla="*/ 732259 h 1240128"/>
              <a:gd name="csX115" fmla="*/ 338360 w 697572"/>
              <a:gd name="csY115" fmla="*/ 810538 h 1240128"/>
              <a:gd name="csX116" fmla="*/ 337115 w 697572"/>
              <a:gd name="csY116" fmla="*/ 817736 h 1240128"/>
              <a:gd name="csX117" fmla="*/ 336516 w 697572"/>
              <a:gd name="csY117" fmla="*/ 863022 h 1240128"/>
              <a:gd name="csX118" fmla="*/ 343436 w 697572"/>
              <a:gd name="csY118" fmla="*/ 864027 h 1240128"/>
              <a:gd name="csX119" fmla="*/ 406718 w 697572"/>
              <a:gd name="csY119" fmla="*/ 862982 h 1240128"/>
              <a:gd name="csX120" fmla="*/ 456888 w 697572"/>
              <a:gd name="csY120" fmla="*/ 861794 h 1240128"/>
              <a:gd name="csX121" fmla="*/ 495873 w 697572"/>
              <a:gd name="csY121" fmla="*/ 863963 h 1240128"/>
              <a:gd name="csX122" fmla="*/ 509286 w 697572"/>
              <a:gd name="csY122" fmla="*/ 863595 h 1240128"/>
              <a:gd name="csX123" fmla="*/ 516956 w 697572"/>
              <a:gd name="csY123" fmla="*/ 856791 h 1240128"/>
              <a:gd name="csX124" fmla="*/ 513920 w 697572"/>
              <a:gd name="csY124" fmla="*/ 848709 h 1240128"/>
              <a:gd name="csX125" fmla="*/ 506683 w 697572"/>
              <a:gd name="csY125" fmla="*/ 839054 h 1240128"/>
              <a:gd name="csX126" fmla="*/ 488629 w 697572"/>
              <a:gd name="csY126" fmla="*/ 799037 h 1240128"/>
              <a:gd name="csX127" fmla="*/ 456922 w 697572"/>
              <a:gd name="csY127" fmla="*/ 696297 h 1240128"/>
              <a:gd name="csX128" fmla="*/ 441346 w 697572"/>
              <a:gd name="csY128" fmla="*/ 619885 h 1240128"/>
              <a:gd name="csX129" fmla="*/ 435963 w 697572"/>
              <a:gd name="csY129" fmla="*/ 582529 h 1240128"/>
              <a:gd name="csX130" fmla="*/ 429497 w 697572"/>
              <a:gd name="csY130" fmla="*/ 521990 h 1240128"/>
              <a:gd name="csX131" fmla="*/ 426887 w 697572"/>
              <a:gd name="csY131" fmla="*/ 471989 h 1240128"/>
              <a:gd name="csX132" fmla="*/ 413744 w 697572"/>
              <a:gd name="csY132" fmla="*/ 461077 h 1240128"/>
              <a:gd name="csX133" fmla="*/ 353573 w 697572"/>
              <a:gd name="csY133" fmla="*/ 461120 h 1240128"/>
              <a:gd name="csX134" fmla="*/ 344160 w 697572"/>
              <a:gd name="csY134" fmla="*/ 462286 h 1240128"/>
              <a:gd name="csX135" fmla="*/ 343404 w 697572"/>
              <a:gd name="csY135" fmla="*/ 469192 h 1240128"/>
              <a:gd name="csX136" fmla="*/ 343469 w 697572"/>
              <a:gd name="csY136" fmla="*/ 574797 h 1240128"/>
              <a:gd name="csX137" fmla="*/ 345522 w 697572"/>
              <a:gd name="csY137" fmla="*/ 591669 h 1240128"/>
              <a:gd name="csX138" fmla="*/ 343360 w 697572"/>
              <a:gd name="csY138" fmla="*/ 634332 h 1240128"/>
              <a:gd name="csX139" fmla="*/ 416946 w 697572"/>
              <a:gd name="csY139" fmla="*/ 385943 h 1240128"/>
              <a:gd name="csX140" fmla="*/ 401091 w 697572"/>
              <a:gd name="csY140" fmla="*/ 387162 h 1240128"/>
              <a:gd name="csX141" fmla="*/ 369218 w 697572"/>
              <a:gd name="csY141" fmla="*/ 387708 h 1240128"/>
              <a:gd name="csX142" fmla="*/ 351833 w 697572"/>
              <a:gd name="csY142" fmla="*/ 398991 h 1240128"/>
              <a:gd name="csX143" fmla="*/ 349778 w 697572"/>
              <a:gd name="csY143" fmla="*/ 426021 h 1240128"/>
              <a:gd name="csX144" fmla="*/ 361839 w 697572"/>
              <a:gd name="csY144" fmla="*/ 426538 h 1240128"/>
              <a:gd name="csX145" fmla="*/ 455022 w 697572"/>
              <a:gd name="csY145" fmla="*/ 426922 h 1240128"/>
              <a:gd name="csX146" fmla="*/ 481958 w 697572"/>
              <a:gd name="csY146" fmla="*/ 426527 h 1240128"/>
              <a:gd name="csX147" fmla="*/ 499817 w 697572"/>
              <a:gd name="csY147" fmla="*/ 419888 h 1240128"/>
              <a:gd name="csX148" fmla="*/ 499439 w 697572"/>
              <a:gd name="csY148" fmla="*/ 400719 h 1240128"/>
              <a:gd name="csX149" fmla="*/ 468062 w 697572"/>
              <a:gd name="csY149" fmla="*/ 387775 h 1240128"/>
              <a:gd name="csX150" fmla="*/ 416946 w 697572"/>
              <a:gd name="csY150" fmla="*/ 385943 h 1240128"/>
              <a:gd name="csX151" fmla="*/ 636802 w 697572"/>
              <a:gd name="csY151" fmla="*/ 1190940 h 1240128"/>
              <a:gd name="csX152" fmla="*/ 666492 w 697572"/>
              <a:gd name="csY152" fmla="*/ 1184186 h 1240128"/>
              <a:gd name="csX153" fmla="*/ 674465 w 697572"/>
              <a:gd name="csY153" fmla="*/ 1170880 h 1240128"/>
              <a:gd name="csX154" fmla="*/ 662462 w 697572"/>
              <a:gd name="csY154" fmla="*/ 1141464 h 1240128"/>
              <a:gd name="csX155" fmla="*/ 645564 w 697572"/>
              <a:gd name="csY155" fmla="*/ 1131937 h 1240128"/>
              <a:gd name="csX156" fmla="*/ 627387 w 697572"/>
              <a:gd name="csY156" fmla="*/ 1133618 h 1240128"/>
              <a:gd name="csX157" fmla="*/ 583917 w 697572"/>
              <a:gd name="csY157" fmla="*/ 1139222 h 1240128"/>
              <a:gd name="csX158" fmla="*/ 543741 w 697572"/>
              <a:gd name="csY158" fmla="*/ 1141869 h 1240128"/>
              <a:gd name="csX159" fmla="*/ 512146 w 697572"/>
              <a:gd name="csY159" fmla="*/ 1144418 h 1240128"/>
              <a:gd name="csX160" fmla="*/ 447711 w 697572"/>
              <a:gd name="csY160" fmla="*/ 1148973 h 1240128"/>
              <a:gd name="csX161" fmla="*/ 351979 w 697572"/>
              <a:gd name="csY161" fmla="*/ 1149200 h 1240128"/>
              <a:gd name="csX162" fmla="*/ 338443 w 697572"/>
              <a:gd name="csY162" fmla="*/ 1150040 h 1240128"/>
              <a:gd name="csX163" fmla="*/ 338451 w 697572"/>
              <a:gd name="csY163" fmla="*/ 1190780 h 1240128"/>
              <a:gd name="csX164" fmla="*/ 351082 w 697572"/>
              <a:gd name="csY164" fmla="*/ 1207015 h 1240128"/>
              <a:gd name="csX165" fmla="*/ 358298 w 697572"/>
              <a:gd name="csY165" fmla="*/ 1208094 h 1240128"/>
              <a:gd name="csX166" fmla="*/ 521229 w 697572"/>
              <a:gd name="csY166" fmla="*/ 1205646 h 1240128"/>
              <a:gd name="csX167" fmla="*/ 523675 w 697572"/>
              <a:gd name="csY167" fmla="*/ 1205490 h 1240128"/>
              <a:gd name="csX168" fmla="*/ 580423 w 697572"/>
              <a:gd name="csY168" fmla="*/ 1198350 h 1240128"/>
              <a:gd name="csX169" fmla="*/ 636802 w 697572"/>
              <a:gd name="csY169" fmla="*/ 1190940 h 124012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</a:cxnLst>
            <a:rect l="l" t="t" r="r" b="b"/>
            <a:pathLst>
              <a:path w="697572" h="1240128">
                <a:moveTo>
                  <a:pt x="581793" y="1234401"/>
                </a:moveTo>
                <a:cubicBezTo>
                  <a:pt x="580693" y="1234661"/>
                  <a:pt x="579594" y="1234922"/>
                  <a:pt x="577427" y="1234156"/>
                </a:cubicBezTo>
                <a:cubicBezTo>
                  <a:pt x="571216" y="1227899"/>
                  <a:pt x="564912" y="1230441"/>
                  <a:pt x="559133" y="1230909"/>
                </a:cubicBezTo>
                <a:cubicBezTo>
                  <a:pt x="544971" y="1232056"/>
                  <a:pt x="530869" y="1233971"/>
                  <a:pt x="516706" y="1235117"/>
                </a:cubicBezTo>
                <a:cubicBezTo>
                  <a:pt x="502910" y="1236232"/>
                  <a:pt x="489077" y="1237097"/>
                  <a:pt x="475244" y="1237506"/>
                </a:cubicBezTo>
                <a:cubicBezTo>
                  <a:pt x="440539" y="1238535"/>
                  <a:pt x="405696" y="1241458"/>
                  <a:pt x="371154" y="1239428"/>
                </a:cubicBezTo>
                <a:cubicBezTo>
                  <a:pt x="339645" y="1237575"/>
                  <a:pt x="308239" y="1238753"/>
                  <a:pt x="276813" y="1237654"/>
                </a:cubicBezTo>
                <a:cubicBezTo>
                  <a:pt x="273949" y="1237553"/>
                  <a:pt x="271079" y="1237652"/>
                  <a:pt x="268212" y="1237635"/>
                </a:cubicBezTo>
                <a:cubicBezTo>
                  <a:pt x="266165" y="1237623"/>
                  <a:pt x="264111" y="1237668"/>
                  <a:pt x="262072" y="1237523"/>
                </a:cubicBezTo>
                <a:cubicBezTo>
                  <a:pt x="239751" y="1235944"/>
                  <a:pt x="217441" y="1234201"/>
                  <a:pt x="195111" y="1232775"/>
                </a:cubicBezTo>
                <a:cubicBezTo>
                  <a:pt x="178437" y="1231710"/>
                  <a:pt x="161712" y="1231378"/>
                  <a:pt x="145060" y="1230076"/>
                </a:cubicBezTo>
                <a:cubicBezTo>
                  <a:pt x="134969" y="1229287"/>
                  <a:pt x="124987" y="1227177"/>
                  <a:pt x="114933" y="1225832"/>
                </a:cubicBezTo>
                <a:cubicBezTo>
                  <a:pt x="100834" y="1223946"/>
                  <a:pt x="86554" y="1223022"/>
                  <a:pt x="72642" y="1220237"/>
                </a:cubicBezTo>
                <a:cubicBezTo>
                  <a:pt x="51920" y="1216091"/>
                  <a:pt x="31443" y="1210723"/>
                  <a:pt x="10894" y="1205737"/>
                </a:cubicBezTo>
                <a:cubicBezTo>
                  <a:pt x="9027" y="1205284"/>
                  <a:pt x="6196" y="1204140"/>
                  <a:pt x="5856" y="1202799"/>
                </a:cubicBezTo>
                <a:cubicBezTo>
                  <a:pt x="3474" y="1193418"/>
                  <a:pt x="-438" y="1183796"/>
                  <a:pt x="40" y="1174450"/>
                </a:cubicBezTo>
                <a:cubicBezTo>
                  <a:pt x="1079" y="1154149"/>
                  <a:pt x="9757" y="1135843"/>
                  <a:pt x="19831" y="1118410"/>
                </a:cubicBezTo>
                <a:cubicBezTo>
                  <a:pt x="21968" y="1114713"/>
                  <a:pt x="22970" y="1111858"/>
                  <a:pt x="22004" y="1107240"/>
                </a:cubicBezTo>
                <a:cubicBezTo>
                  <a:pt x="17168" y="1084118"/>
                  <a:pt x="17717" y="1061168"/>
                  <a:pt x="25947" y="1038650"/>
                </a:cubicBezTo>
                <a:cubicBezTo>
                  <a:pt x="32954" y="1019481"/>
                  <a:pt x="44478" y="1003118"/>
                  <a:pt x="58234" y="988567"/>
                </a:cubicBezTo>
                <a:cubicBezTo>
                  <a:pt x="77769" y="967902"/>
                  <a:pt x="97978" y="947832"/>
                  <a:pt x="118645" y="928298"/>
                </a:cubicBezTo>
                <a:cubicBezTo>
                  <a:pt x="130104" y="917467"/>
                  <a:pt x="131835" y="905961"/>
                  <a:pt x="126320" y="892015"/>
                </a:cubicBezTo>
                <a:cubicBezTo>
                  <a:pt x="123798" y="885637"/>
                  <a:pt x="122123" y="878904"/>
                  <a:pt x="120345" y="872258"/>
                </a:cubicBezTo>
                <a:cubicBezTo>
                  <a:pt x="119029" y="867341"/>
                  <a:pt x="120162" y="863613"/>
                  <a:pt x="125668" y="861640"/>
                </a:cubicBezTo>
                <a:cubicBezTo>
                  <a:pt x="135266" y="858201"/>
                  <a:pt x="144535" y="853788"/>
                  <a:pt x="154237" y="850716"/>
                </a:cubicBezTo>
                <a:cubicBezTo>
                  <a:pt x="161882" y="848296"/>
                  <a:pt x="167110" y="843897"/>
                  <a:pt x="170248" y="836767"/>
                </a:cubicBezTo>
                <a:cubicBezTo>
                  <a:pt x="176168" y="823316"/>
                  <a:pt x="182193" y="809907"/>
                  <a:pt x="187840" y="796341"/>
                </a:cubicBezTo>
                <a:cubicBezTo>
                  <a:pt x="195194" y="778679"/>
                  <a:pt x="202250" y="760894"/>
                  <a:pt x="209346" y="743126"/>
                </a:cubicBezTo>
                <a:cubicBezTo>
                  <a:pt x="210083" y="741280"/>
                  <a:pt x="210252" y="739200"/>
                  <a:pt x="210630" y="737219"/>
                </a:cubicBezTo>
                <a:cubicBezTo>
                  <a:pt x="211694" y="731645"/>
                  <a:pt x="212425" y="725987"/>
                  <a:pt x="213836" y="720505"/>
                </a:cubicBezTo>
                <a:cubicBezTo>
                  <a:pt x="218406" y="702764"/>
                  <a:pt x="223811" y="685219"/>
                  <a:pt x="227791" y="667353"/>
                </a:cubicBezTo>
                <a:cubicBezTo>
                  <a:pt x="232826" y="644755"/>
                  <a:pt x="237367" y="622009"/>
                  <a:pt x="241013" y="599151"/>
                </a:cubicBezTo>
                <a:cubicBezTo>
                  <a:pt x="244018" y="580319"/>
                  <a:pt x="246001" y="561272"/>
                  <a:pt x="247322" y="542242"/>
                </a:cubicBezTo>
                <a:cubicBezTo>
                  <a:pt x="248312" y="527975"/>
                  <a:pt x="246344" y="513451"/>
                  <a:pt x="247948" y="499296"/>
                </a:cubicBezTo>
                <a:cubicBezTo>
                  <a:pt x="249066" y="489432"/>
                  <a:pt x="247923" y="480014"/>
                  <a:pt x="247577" y="470384"/>
                </a:cubicBezTo>
                <a:cubicBezTo>
                  <a:pt x="247364" y="464453"/>
                  <a:pt x="245121" y="461397"/>
                  <a:pt x="238877" y="460987"/>
                </a:cubicBezTo>
                <a:cubicBezTo>
                  <a:pt x="233224" y="460615"/>
                  <a:pt x="227461" y="459920"/>
                  <a:pt x="222040" y="458353"/>
                </a:cubicBezTo>
                <a:cubicBezTo>
                  <a:pt x="203991" y="453134"/>
                  <a:pt x="185737" y="448229"/>
                  <a:pt x="172193" y="433714"/>
                </a:cubicBezTo>
                <a:cubicBezTo>
                  <a:pt x="162702" y="423544"/>
                  <a:pt x="160887" y="408134"/>
                  <a:pt x="168410" y="396591"/>
                </a:cubicBezTo>
                <a:cubicBezTo>
                  <a:pt x="178294" y="381428"/>
                  <a:pt x="193736" y="373793"/>
                  <a:pt x="209826" y="367773"/>
                </a:cubicBezTo>
                <a:cubicBezTo>
                  <a:pt x="223159" y="362784"/>
                  <a:pt x="237124" y="359493"/>
                  <a:pt x="250732" y="355208"/>
                </a:cubicBezTo>
                <a:cubicBezTo>
                  <a:pt x="253085" y="354467"/>
                  <a:pt x="255058" y="352518"/>
                  <a:pt x="258289" y="350426"/>
                </a:cubicBezTo>
                <a:cubicBezTo>
                  <a:pt x="250173" y="342610"/>
                  <a:pt x="241833" y="337880"/>
                  <a:pt x="233274" y="333513"/>
                </a:cubicBezTo>
                <a:cubicBezTo>
                  <a:pt x="232377" y="333055"/>
                  <a:pt x="230890" y="333758"/>
                  <a:pt x="229677" y="333922"/>
                </a:cubicBezTo>
                <a:cubicBezTo>
                  <a:pt x="229677" y="333922"/>
                  <a:pt x="230323" y="333834"/>
                  <a:pt x="230149" y="332979"/>
                </a:cubicBezTo>
                <a:cubicBezTo>
                  <a:pt x="229023" y="330409"/>
                  <a:pt x="228502" y="328059"/>
                  <a:pt x="227053" y="327076"/>
                </a:cubicBezTo>
                <a:cubicBezTo>
                  <a:pt x="213615" y="317962"/>
                  <a:pt x="204643" y="305332"/>
                  <a:pt x="196769" y="291380"/>
                </a:cubicBezTo>
                <a:cubicBezTo>
                  <a:pt x="191792" y="282564"/>
                  <a:pt x="185421" y="274665"/>
                  <a:pt x="184389" y="264042"/>
                </a:cubicBezTo>
                <a:cubicBezTo>
                  <a:pt x="184179" y="261874"/>
                  <a:pt x="181925" y="259908"/>
                  <a:pt x="180630" y="257839"/>
                </a:cubicBezTo>
                <a:cubicBezTo>
                  <a:pt x="179137" y="255454"/>
                  <a:pt x="177317" y="253204"/>
                  <a:pt x="176231" y="250643"/>
                </a:cubicBezTo>
                <a:cubicBezTo>
                  <a:pt x="161865" y="216749"/>
                  <a:pt x="159606" y="182060"/>
                  <a:pt x="170073" y="146723"/>
                </a:cubicBezTo>
                <a:cubicBezTo>
                  <a:pt x="173311" y="135795"/>
                  <a:pt x="177248" y="125074"/>
                  <a:pt x="180929" y="114280"/>
                </a:cubicBezTo>
                <a:cubicBezTo>
                  <a:pt x="182396" y="109981"/>
                  <a:pt x="183922" y="105742"/>
                  <a:pt x="180839" y="101501"/>
                </a:cubicBezTo>
                <a:cubicBezTo>
                  <a:pt x="192473" y="75833"/>
                  <a:pt x="211344" y="56271"/>
                  <a:pt x="233536" y="39653"/>
                </a:cubicBezTo>
                <a:cubicBezTo>
                  <a:pt x="267321" y="14353"/>
                  <a:pt x="305621" y="873"/>
                  <a:pt x="347618" y="35"/>
                </a:cubicBezTo>
                <a:cubicBezTo>
                  <a:pt x="379125" y="-593"/>
                  <a:pt x="409214" y="7172"/>
                  <a:pt x="437139" y="22396"/>
                </a:cubicBezTo>
                <a:cubicBezTo>
                  <a:pt x="481844" y="46766"/>
                  <a:pt x="514077" y="82116"/>
                  <a:pt x="529052" y="131093"/>
                </a:cubicBezTo>
                <a:cubicBezTo>
                  <a:pt x="543544" y="178495"/>
                  <a:pt x="541630" y="225548"/>
                  <a:pt x="518497" y="271517"/>
                </a:cubicBezTo>
                <a:cubicBezTo>
                  <a:pt x="511428" y="277096"/>
                  <a:pt x="503848" y="281136"/>
                  <a:pt x="500808" y="287385"/>
                </a:cubicBezTo>
                <a:cubicBezTo>
                  <a:pt x="493932" y="301522"/>
                  <a:pt x="483805" y="312513"/>
                  <a:pt x="472948" y="323290"/>
                </a:cubicBezTo>
                <a:cubicBezTo>
                  <a:pt x="470972" y="325253"/>
                  <a:pt x="470533" y="328767"/>
                  <a:pt x="469385" y="331565"/>
                </a:cubicBezTo>
                <a:cubicBezTo>
                  <a:pt x="469385" y="331565"/>
                  <a:pt x="469172" y="331584"/>
                  <a:pt x="468293" y="331320"/>
                </a:cubicBezTo>
                <a:cubicBezTo>
                  <a:pt x="461937" y="330836"/>
                  <a:pt x="458618" y="332772"/>
                  <a:pt x="459542" y="338942"/>
                </a:cubicBezTo>
                <a:cubicBezTo>
                  <a:pt x="459542" y="338942"/>
                  <a:pt x="459473" y="338913"/>
                  <a:pt x="458492" y="338671"/>
                </a:cubicBezTo>
                <a:cubicBezTo>
                  <a:pt x="450936" y="342653"/>
                  <a:pt x="440712" y="341355"/>
                  <a:pt x="436978" y="352226"/>
                </a:cubicBezTo>
                <a:cubicBezTo>
                  <a:pt x="449178" y="355911"/>
                  <a:pt x="460733" y="359469"/>
                  <a:pt x="472329" y="362890"/>
                </a:cubicBezTo>
                <a:cubicBezTo>
                  <a:pt x="491728" y="368613"/>
                  <a:pt x="510182" y="375784"/>
                  <a:pt x="523779" y="391962"/>
                </a:cubicBezTo>
                <a:cubicBezTo>
                  <a:pt x="535849" y="406326"/>
                  <a:pt x="534845" y="420076"/>
                  <a:pt x="527344" y="430096"/>
                </a:cubicBezTo>
                <a:cubicBezTo>
                  <a:pt x="521323" y="438139"/>
                  <a:pt x="513928" y="445333"/>
                  <a:pt x="504112" y="449628"/>
                </a:cubicBezTo>
                <a:cubicBezTo>
                  <a:pt x="489776" y="455901"/>
                  <a:pt x="475173" y="460486"/>
                  <a:pt x="459430" y="461116"/>
                </a:cubicBezTo>
                <a:cubicBezTo>
                  <a:pt x="448415" y="461557"/>
                  <a:pt x="446384" y="463369"/>
                  <a:pt x="446666" y="474229"/>
                </a:cubicBezTo>
                <a:cubicBezTo>
                  <a:pt x="447164" y="493376"/>
                  <a:pt x="447839" y="512533"/>
                  <a:pt x="449133" y="531639"/>
                </a:cubicBezTo>
                <a:cubicBezTo>
                  <a:pt x="450424" y="550696"/>
                  <a:pt x="451783" y="569809"/>
                  <a:pt x="454546" y="588688"/>
                </a:cubicBezTo>
                <a:cubicBezTo>
                  <a:pt x="457543" y="609164"/>
                  <a:pt x="462165" y="629403"/>
                  <a:pt x="466126" y="649736"/>
                </a:cubicBezTo>
                <a:cubicBezTo>
                  <a:pt x="475845" y="699621"/>
                  <a:pt x="493414" y="746980"/>
                  <a:pt x="512154" y="794006"/>
                </a:cubicBezTo>
                <a:cubicBezTo>
                  <a:pt x="517387" y="807138"/>
                  <a:pt x="525145" y="819463"/>
                  <a:pt x="525763" y="834323"/>
                </a:cubicBezTo>
                <a:cubicBezTo>
                  <a:pt x="525919" y="838081"/>
                  <a:pt x="527739" y="843335"/>
                  <a:pt x="530555" y="845114"/>
                </a:cubicBezTo>
                <a:cubicBezTo>
                  <a:pt x="537981" y="849801"/>
                  <a:pt x="546243" y="853278"/>
                  <a:pt x="554424" y="856618"/>
                </a:cubicBezTo>
                <a:cubicBezTo>
                  <a:pt x="560391" y="859054"/>
                  <a:pt x="567041" y="859887"/>
                  <a:pt x="572880" y="862546"/>
                </a:cubicBezTo>
                <a:cubicBezTo>
                  <a:pt x="581470" y="866458"/>
                  <a:pt x="582467" y="871415"/>
                  <a:pt x="578643" y="880396"/>
                </a:cubicBezTo>
                <a:cubicBezTo>
                  <a:pt x="575969" y="886677"/>
                  <a:pt x="572900" y="893182"/>
                  <a:pt x="572188" y="899820"/>
                </a:cubicBezTo>
                <a:cubicBezTo>
                  <a:pt x="570960" y="911271"/>
                  <a:pt x="576506" y="920944"/>
                  <a:pt x="582698" y="930382"/>
                </a:cubicBezTo>
                <a:cubicBezTo>
                  <a:pt x="589569" y="940856"/>
                  <a:pt x="600933" y="947930"/>
                  <a:pt x="604747" y="960852"/>
                </a:cubicBezTo>
                <a:cubicBezTo>
                  <a:pt x="605684" y="964030"/>
                  <a:pt x="610294" y="967128"/>
                  <a:pt x="613863" y="968311"/>
                </a:cubicBezTo>
                <a:cubicBezTo>
                  <a:pt x="620963" y="970665"/>
                  <a:pt x="625924" y="974774"/>
                  <a:pt x="629435" y="981186"/>
                </a:cubicBezTo>
                <a:cubicBezTo>
                  <a:pt x="630381" y="982913"/>
                  <a:pt x="631977" y="984459"/>
                  <a:pt x="633611" y="985609"/>
                </a:cubicBezTo>
                <a:cubicBezTo>
                  <a:pt x="655878" y="1001272"/>
                  <a:pt x="668032" y="1023762"/>
                  <a:pt x="673790" y="1049348"/>
                </a:cubicBezTo>
                <a:cubicBezTo>
                  <a:pt x="676936" y="1063327"/>
                  <a:pt x="679769" y="1077802"/>
                  <a:pt x="675873" y="1092839"/>
                </a:cubicBezTo>
                <a:cubicBezTo>
                  <a:pt x="672677" y="1105174"/>
                  <a:pt x="673042" y="1116963"/>
                  <a:pt x="681668" y="1129292"/>
                </a:cubicBezTo>
                <a:cubicBezTo>
                  <a:pt x="695321" y="1148802"/>
                  <a:pt x="698550" y="1172235"/>
                  <a:pt x="697338" y="1196079"/>
                </a:cubicBezTo>
                <a:cubicBezTo>
                  <a:pt x="697087" y="1201014"/>
                  <a:pt x="694979" y="1203886"/>
                  <a:pt x="690637" y="1205035"/>
                </a:cubicBezTo>
                <a:cubicBezTo>
                  <a:pt x="673723" y="1209511"/>
                  <a:pt x="656856" y="1214241"/>
                  <a:pt x="639777" y="1217994"/>
                </a:cubicBezTo>
                <a:cubicBezTo>
                  <a:pt x="622334" y="1221827"/>
                  <a:pt x="604691" y="1224790"/>
                  <a:pt x="587072" y="1227761"/>
                </a:cubicBezTo>
                <a:cubicBezTo>
                  <a:pt x="582708" y="1228497"/>
                  <a:pt x="581724" y="1230736"/>
                  <a:pt x="581793" y="1234401"/>
                </a:cubicBezTo>
                <a:moveTo>
                  <a:pt x="357446" y="903795"/>
                </a:moveTo>
                <a:cubicBezTo>
                  <a:pt x="353141" y="903795"/>
                  <a:pt x="348835" y="903795"/>
                  <a:pt x="344445" y="903795"/>
                </a:cubicBezTo>
                <a:cubicBezTo>
                  <a:pt x="346169" y="920562"/>
                  <a:pt x="347908" y="935520"/>
                  <a:pt x="349212" y="950515"/>
                </a:cubicBezTo>
                <a:cubicBezTo>
                  <a:pt x="352656" y="990125"/>
                  <a:pt x="351941" y="1029743"/>
                  <a:pt x="349538" y="1069392"/>
                </a:cubicBezTo>
                <a:cubicBezTo>
                  <a:pt x="348759" y="1082241"/>
                  <a:pt x="349415" y="1095176"/>
                  <a:pt x="349415" y="1108925"/>
                </a:cubicBezTo>
                <a:cubicBezTo>
                  <a:pt x="449467" y="1111953"/>
                  <a:pt x="548509" y="1104712"/>
                  <a:pt x="647726" y="1089872"/>
                </a:cubicBezTo>
                <a:cubicBezTo>
                  <a:pt x="647726" y="1084313"/>
                  <a:pt x="648180" y="1080225"/>
                  <a:pt x="647654" y="1076267"/>
                </a:cubicBezTo>
                <a:cubicBezTo>
                  <a:pt x="643515" y="1045124"/>
                  <a:pt x="633172" y="1016714"/>
                  <a:pt x="610267" y="994126"/>
                </a:cubicBezTo>
                <a:cubicBezTo>
                  <a:pt x="597451" y="981485"/>
                  <a:pt x="584392" y="969090"/>
                  <a:pt x="571459" y="956568"/>
                </a:cubicBezTo>
                <a:cubicBezTo>
                  <a:pt x="555751" y="941359"/>
                  <a:pt x="544836" y="923558"/>
                  <a:pt x="541653" y="901544"/>
                </a:cubicBezTo>
                <a:cubicBezTo>
                  <a:pt x="541430" y="900007"/>
                  <a:pt x="540528" y="898570"/>
                  <a:pt x="539477" y="895908"/>
                </a:cubicBezTo>
                <a:cubicBezTo>
                  <a:pt x="479736" y="901652"/>
                  <a:pt x="419815" y="904536"/>
                  <a:pt x="357446" y="903795"/>
                </a:cubicBezTo>
                <a:moveTo>
                  <a:pt x="300108" y="85260"/>
                </a:moveTo>
                <a:cubicBezTo>
                  <a:pt x="293656" y="98745"/>
                  <a:pt x="289202" y="113094"/>
                  <a:pt x="290213" y="127888"/>
                </a:cubicBezTo>
                <a:cubicBezTo>
                  <a:pt x="292527" y="161736"/>
                  <a:pt x="304185" y="191723"/>
                  <a:pt x="331056" y="214168"/>
                </a:cubicBezTo>
                <a:cubicBezTo>
                  <a:pt x="358172" y="236816"/>
                  <a:pt x="388435" y="249934"/>
                  <a:pt x="424717" y="245160"/>
                </a:cubicBezTo>
                <a:cubicBezTo>
                  <a:pt x="468593" y="239387"/>
                  <a:pt x="509574" y="203365"/>
                  <a:pt x="496752" y="141256"/>
                </a:cubicBezTo>
                <a:cubicBezTo>
                  <a:pt x="487021" y="94124"/>
                  <a:pt x="447261" y="51874"/>
                  <a:pt x="390320" y="43995"/>
                </a:cubicBezTo>
                <a:cubicBezTo>
                  <a:pt x="353241" y="38865"/>
                  <a:pt x="321136" y="48750"/>
                  <a:pt x="300108" y="85260"/>
                </a:cubicBezTo>
                <a:moveTo>
                  <a:pt x="343360" y="634332"/>
                </a:moveTo>
                <a:cubicBezTo>
                  <a:pt x="342539" y="666975"/>
                  <a:pt x="341785" y="699619"/>
                  <a:pt x="340877" y="732259"/>
                </a:cubicBezTo>
                <a:cubicBezTo>
                  <a:pt x="340151" y="758355"/>
                  <a:pt x="339265" y="784447"/>
                  <a:pt x="338360" y="810538"/>
                </a:cubicBezTo>
                <a:cubicBezTo>
                  <a:pt x="338277" y="812948"/>
                  <a:pt x="337465" y="815325"/>
                  <a:pt x="337115" y="817736"/>
                </a:cubicBezTo>
                <a:cubicBezTo>
                  <a:pt x="334935" y="832710"/>
                  <a:pt x="336026" y="847647"/>
                  <a:pt x="336516" y="863022"/>
                </a:cubicBezTo>
                <a:cubicBezTo>
                  <a:pt x="339537" y="863479"/>
                  <a:pt x="341490" y="864053"/>
                  <a:pt x="343436" y="864027"/>
                </a:cubicBezTo>
                <a:cubicBezTo>
                  <a:pt x="364531" y="863739"/>
                  <a:pt x="385626" y="863422"/>
                  <a:pt x="406718" y="862982"/>
                </a:cubicBezTo>
                <a:cubicBezTo>
                  <a:pt x="423444" y="862634"/>
                  <a:pt x="440168" y="861675"/>
                  <a:pt x="456888" y="861794"/>
                </a:cubicBezTo>
                <a:cubicBezTo>
                  <a:pt x="469887" y="861886"/>
                  <a:pt x="482872" y="863302"/>
                  <a:pt x="495873" y="863963"/>
                </a:cubicBezTo>
                <a:cubicBezTo>
                  <a:pt x="500358" y="864191"/>
                  <a:pt x="505108" y="864773"/>
                  <a:pt x="509286" y="863595"/>
                </a:cubicBezTo>
                <a:cubicBezTo>
                  <a:pt x="512346" y="862732"/>
                  <a:pt x="515714" y="859703"/>
                  <a:pt x="516956" y="856791"/>
                </a:cubicBezTo>
                <a:cubicBezTo>
                  <a:pt x="517783" y="854851"/>
                  <a:pt x="515475" y="851192"/>
                  <a:pt x="513920" y="848709"/>
                </a:cubicBezTo>
                <a:cubicBezTo>
                  <a:pt x="511791" y="845308"/>
                  <a:pt x="508393" y="842606"/>
                  <a:pt x="506683" y="839054"/>
                </a:cubicBezTo>
                <a:cubicBezTo>
                  <a:pt x="500331" y="825864"/>
                  <a:pt x="493224" y="812855"/>
                  <a:pt x="488629" y="799037"/>
                </a:cubicBezTo>
                <a:cubicBezTo>
                  <a:pt x="477322" y="765031"/>
                  <a:pt x="466537" y="730814"/>
                  <a:pt x="456922" y="696297"/>
                </a:cubicBezTo>
                <a:cubicBezTo>
                  <a:pt x="449953" y="671276"/>
                  <a:pt x="443477" y="646020"/>
                  <a:pt x="441346" y="619885"/>
                </a:cubicBezTo>
                <a:cubicBezTo>
                  <a:pt x="440327" y="607371"/>
                  <a:pt x="437466" y="595018"/>
                  <a:pt x="435963" y="582529"/>
                </a:cubicBezTo>
                <a:cubicBezTo>
                  <a:pt x="433539" y="562380"/>
                  <a:pt x="431154" y="542212"/>
                  <a:pt x="429497" y="521990"/>
                </a:cubicBezTo>
                <a:cubicBezTo>
                  <a:pt x="428135" y="505363"/>
                  <a:pt x="428437" y="488593"/>
                  <a:pt x="426887" y="471989"/>
                </a:cubicBezTo>
                <a:cubicBezTo>
                  <a:pt x="425874" y="461140"/>
                  <a:pt x="424983" y="461120"/>
                  <a:pt x="413744" y="461077"/>
                </a:cubicBezTo>
                <a:cubicBezTo>
                  <a:pt x="393687" y="461000"/>
                  <a:pt x="373630" y="461011"/>
                  <a:pt x="353573" y="461120"/>
                </a:cubicBezTo>
                <a:cubicBezTo>
                  <a:pt x="350472" y="461137"/>
                  <a:pt x="347374" y="461869"/>
                  <a:pt x="344160" y="462286"/>
                </a:cubicBezTo>
                <a:cubicBezTo>
                  <a:pt x="343828" y="465198"/>
                  <a:pt x="343406" y="467195"/>
                  <a:pt x="343404" y="469192"/>
                </a:cubicBezTo>
                <a:cubicBezTo>
                  <a:pt x="343360" y="504394"/>
                  <a:pt x="343267" y="539596"/>
                  <a:pt x="343469" y="574797"/>
                </a:cubicBezTo>
                <a:cubicBezTo>
                  <a:pt x="343501" y="580426"/>
                  <a:pt x="345652" y="586065"/>
                  <a:pt x="345522" y="591669"/>
                </a:cubicBezTo>
                <a:cubicBezTo>
                  <a:pt x="345214" y="605082"/>
                  <a:pt x="344131" y="618478"/>
                  <a:pt x="343360" y="634332"/>
                </a:cubicBezTo>
                <a:moveTo>
                  <a:pt x="416946" y="385943"/>
                </a:moveTo>
                <a:cubicBezTo>
                  <a:pt x="411661" y="386365"/>
                  <a:pt x="406384" y="387006"/>
                  <a:pt x="401091" y="387162"/>
                </a:cubicBezTo>
                <a:cubicBezTo>
                  <a:pt x="390470" y="387477"/>
                  <a:pt x="379841" y="387447"/>
                  <a:pt x="369218" y="387708"/>
                </a:cubicBezTo>
                <a:cubicBezTo>
                  <a:pt x="361167" y="387906"/>
                  <a:pt x="354429" y="391368"/>
                  <a:pt x="351833" y="398991"/>
                </a:cubicBezTo>
                <a:cubicBezTo>
                  <a:pt x="348989" y="407342"/>
                  <a:pt x="347050" y="416214"/>
                  <a:pt x="349778" y="426021"/>
                </a:cubicBezTo>
                <a:cubicBezTo>
                  <a:pt x="353876" y="426204"/>
                  <a:pt x="357857" y="426517"/>
                  <a:pt x="361839" y="426538"/>
                </a:cubicBezTo>
                <a:cubicBezTo>
                  <a:pt x="392900" y="426701"/>
                  <a:pt x="423961" y="426826"/>
                  <a:pt x="455022" y="426922"/>
                </a:cubicBezTo>
                <a:cubicBezTo>
                  <a:pt x="464013" y="426950"/>
                  <a:pt x="473106" y="427654"/>
                  <a:pt x="481958" y="426527"/>
                </a:cubicBezTo>
                <a:cubicBezTo>
                  <a:pt x="488144" y="425740"/>
                  <a:pt x="494821" y="423501"/>
                  <a:pt x="499817" y="419888"/>
                </a:cubicBezTo>
                <a:cubicBezTo>
                  <a:pt x="507869" y="414066"/>
                  <a:pt x="507286" y="406755"/>
                  <a:pt x="499439" y="400719"/>
                </a:cubicBezTo>
                <a:cubicBezTo>
                  <a:pt x="490179" y="393597"/>
                  <a:pt x="479486" y="388885"/>
                  <a:pt x="468062" y="387775"/>
                </a:cubicBezTo>
                <a:cubicBezTo>
                  <a:pt x="451873" y="386202"/>
                  <a:pt x="435520" y="386321"/>
                  <a:pt x="416946" y="385943"/>
                </a:cubicBezTo>
                <a:moveTo>
                  <a:pt x="636802" y="1190940"/>
                </a:moveTo>
                <a:cubicBezTo>
                  <a:pt x="646709" y="1188723"/>
                  <a:pt x="656705" y="1186841"/>
                  <a:pt x="666492" y="1184186"/>
                </a:cubicBezTo>
                <a:cubicBezTo>
                  <a:pt x="674710" y="1181958"/>
                  <a:pt x="676989" y="1178509"/>
                  <a:pt x="674465" y="1170880"/>
                </a:cubicBezTo>
                <a:cubicBezTo>
                  <a:pt x="671144" y="1160843"/>
                  <a:pt x="667026" y="1151009"/>
                  <a:pt x="662462" y="1141464"/>
                </a:cubicBezTo>
                <a:cubicBezTo>
                  <a:pt x="659273" y="1134795"/>
                  <a:pt x="653671" y="1130908"/>
                  <a:pt x="645564" y="1131937"/>
                </a:cubicBezTo>
                <a:cubicBezTo>
                  <a:pt x="639532" y="1132703"/>
                  <a:pt x="633423" y="1132867"/>
                  <a:pt x="627387" y="1133618"/>
                </a:cubicBezTo>
                <a:cubicBezTo>
                  <a:pt x="612888" y="1135421"/>
                  <a:pt x="598449" y="1137770"/>
                  <a:pt x="583917" y="1139222"/>
                </a:cubicBezTo>
                <a:cubicBezTo>
                  <a:pt x="570571" y="1140557"/>
                  <a:pt x="557130" y="1140930"/>
                  <a:pt x="543741" y="1141869"/>
                </a:cubicBezTo>
                <a:cubicBezTo>
                  <a:pt x="533202" y="1142610"/>
                  <a:pt x="522682" y="1143623"/>
                  <a:pt x="512146" y="1144418"/>
                </a:cubicBezTo>
                <a:cubicBezTo>
                  <a:pt x="490671" y="1146038"/>
                  <a:pt x="469214" y="1148450"/>
                  <a:pt x="447711" y="1148973"/>
                </a:cubicBezTo>
                <a:cubicBezTo>
                  <a:pt x="415817" y="1149749"/>
                  <a:pt x="383891" y="1149136"/>
                  <a:pt x="351979" y="1149200"/>
                </a:cubicBezTo>
                <a:cubicBezTo>
                  <a:pt x="347698" y="1149209"/>
                  <a:pt x="343419" y="1149717"/>
                  <a:pt x="338443" y="1150040"/>
                </a:cubicBezTo>
                <a:cubicBezTo>
                  <a:pt x="338443" y="1164651"/>
                  <a:pt x="338413" y="1177715"/>
                  <a:pt x="338451" y="1190780"/>
                </a:cubicBezTo>
                <a:cubicBezTo>
                  <a:pt x="338490" y="1204031"/>
                  <a:pt x="338512" y="1204062"/>
                  <a:pt x="351082" y="1207015"/>
                </a:cubicBezTo>
                <a:cubicBezTo>
                  <a:pt x="353445" y="1207570"/>
                  <a:pt x="355895" y="1208128"/>
                  <a:pt x="358298" y="1208094"/>
                </a:cubicBezTo>
                <a:cubicBezTo>
                  <a:pt x="412608" y="1207329"/>
                  <a:pt x="466919" y="1206484"/>
                  <a:pt x="521229" y="1205646"/>
                </a:cubicBezTo>
                <a:cubicBezTo>
                  <a:pt x="522045" y="1205634"/>
                  <a:pt x="522865" y="1205591"/>
                  <a:pt x="523675" y="1205490"/>
                </a:cubicBezTo>
                <a:cubicBezTo>
                  <a:pt x="542593" y="1203123"/>
                  <a:pt x="561519" y="1200820"/>
                  <a:pt x="580423" y="1198350"/>
                </a:cubicBezTo>
                <a:cubicBezTo>
                  <a:pt x="598523" y="1195985"/>
                  <a:pt x="616599" y="1193446"/>
                  <a:pt x="636802" y="1190940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" name="Free-form: Shape 11">
            <a:extLst>
              <a:ext uri="{FF2B5EF4-FFF2-40B4-BE49-F238E27FC236}">
                <a16:creationId xmlns:a16="http://schemas.microsoft.com/office/drawing/2014/main" id="{8A3C4F2B-A076-6E4F-CB3C-09B74A98AB74}"/>
              </a:ext>
            </a:extLst>
          </p:cNvPr>
          <p:cNvSpPr/>
          <p:nvPr/>
        </p:nvSpPr>
        <p:spPr>
          <a:xfrm>
            <a:off x="9241144" y="5144827"/>
            <a:ext cx="17183" cy="1817"/>
          </a:xfrm>
          <a:custGeom>
            <a:avLst/>
            <a:gdLst>
              <a:gd name="csX0" fmla="*/ 0 w 27674"/>
              <a:gd name="csY0" fmla="*/ 2915 h 2925"/>
              <a:gd name="csX1" fmla="*/ 27675 w 27674"/>
              <a:gd name="csY1" fmla="*/ 1550 h 2925"/>
              <a:gd name="csX2" fmla="*/ 0 w 27674"/>
              <a:gd name="csY2" fmla="*/ 2915 h 292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27674" h="2925">
                <a:moveTo>
                  <a:pt x="0" y="2915"/>
                </a:moveTo>
                <a:cubicBezTo>
                  <a:pt x="8211" y="-1939"/>
                  <a:pt x="17625" y="498"/>
                  <a:pt x="27675" y="1550"/>
                </a:cubicBezTo>
                <a:cubicBezTo>
                  <a:pt x="19225" y="2593"/>
                  <a:pt x="10029" y="2999"/>
                  <a:pt x="0" y="2915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3" name="Free-form: Shape 12">
            <a:extLst>
              <a:ext uri="{FF2B5EF4-FFF2-40B4-BE49-F238E27FC236}">
                <a16:creationId xmlns:a16="http://schemas.microsoft.com/office/drawing/2014/main" id="{226D2860-8157-2CC2-F7EC-EDF7FE52F4C9}"/>
              </a:ext>
            </a:extLst>
          </p:cNvPr>
          <p:cNvSpPr/>
          <p:nvPr/>
        </p:nvSpPr>
        <p:spPr>
          <a:xfrm>
            <a:off x="9193840" y="5145851"/>
            <a:ext cx="11179" cy="700"/>
          </a:xfrm>
          <a:custGeom>
            <a:avLst/>
            <a:gdLst>
              <a:gd name="csX0" fmla="*/ 0 w 18003"/>
              <a:gd name="csY0" fmla="*/ 1050 h 1128"/>
              <a:gd name="csX1" fmla="*/ 18004 w 18003"/>
              <a:gd name="csY1" fmla="*/ 93 h 1128"/>
              <a:gd name="csX2" fmla="*/ 0 w 18003"/>
              <a:gd name="csY2" fmla="*/ 1050 h 112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8003" h="1128">
                <a:moveTo>
                  <a:pt x="0" y="1050"/>
                </a:moveTo>
                <a:cubicBezTo>
                  <a:pt x="5276" y="182"/>
                  <a:pt x="11306" y="-189"/>
                  <a:pt x="18004" y="93"/>
                </a:cubicBezTo>
                <a:cubicBezTo>
                  <a:pt x="12699" y="1013"/>
                  <a:pt x="6726" y="1280"/>
                  <a:pt x="0" y="1050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4" name="Free-form: Shape 13">
            <a:extLst>
              <a:ext uri="{FF2B5EF4-FFF2-40B4-BE49-F238E27FC236}">
                <a16:creationId xmlns:a16="http://schemas.microsoft.com/office/drawing/2014/main" id="{C5D02746-AF89-1D1A-9BAA-156535A3E45B}"/>
              </a:ext>
            </a:extLst>
          </p:cNvPr>
          <p:cNvSpPr/>
          <p:nvPr/>
        </p:nvSpPr>
        <p:spPr>
          <a:xfrm>
            <a:off x="9274807" y="4579051"/>
            <a:ext cx="5257" cy="4867"/>
          </a:xfrm>
          <a:custGeom>
            <a:avLst/>
            <a:gdLst>
              <a:gd name="csX0" fmla="*/ 473 w 8466"/>
              <a:gd name="csY0" fmla="*/ 7839 h 7838"/>
              <a:gd name="csX1" fmla="*/ 8466 w 8466"/>
              <a:gd name="csY1" fmla="*/ 61 h 7838"/>
              <a:gd name="csX2" fmla="*/ 473 w 8466"/>
              <a:gd name="csY2" fmla="*/ 7839 h 783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66" h="7838">
                <a:moveTo>
                  <a:pt x="473" y="7839"/>
                </a:moveTo>
                <a:cubicBezTo>
                  <a:pt x="-1298" y="1550"/>
                  <a:pt x="2020" y="-386"/>
                  <a:pt x="8466" y="61"/>
                </a:cubicBezTo>
                <a:cubicBezTo>
                  <a:pt x="6730" y="2845"/>
                  <a:pt x="4026" y="5401"/>
                  <a:pt x="473" y="7839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5" name="Free-form: Shape 14">
            <a:extLst>
              <a:ext uri="{FF2B5EF4-FFF2-40B4-BE49-F238E27FC236}">
                <a16:creationId xmlns:a16="http://schemas.microsoft.com/office/drawing/2014/main" id="{760123C0-31B7-0FE8-298A-FBB73A2639F1}"/>
              </a:ext>
            </a:extLst>
          </p:cNvPr>
          <p:cNvSpPr/>
          <p:nvPr/>
        </p:nvSpPr>
        <p:spPr>
          <a:xfrm>
            <a:off x="9138811" y="5144337"/>
            <a:ext cx="5265" cy="618"/>
          </a:xfrm>
          <a:custGeom>
            <a:avLst/>
            <a:gdLst>
              <a:gd name="csX0" fmla="*/ 0 w 8480"/>
              <a:gd name="csY0" fmla="*/ 896 h 996"/>
              <a:gd name="csX1" fmla="*/ 8480 w 8480"/>
              <a:gd name="csY1" fmla="*/ 110 h 996"/>
              <a:gd name="csX2" fmla="*/ 0 w 8480"/>
              <a:gd name="csY2" fmla="*/ 896 h 99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80" h="996">
                <a:moveTo>
                  <a:pt x="0" y="896"/>
                </a:moveTo>
                <a:cubicBezTo>
                  <a:pt x="2285" y="115"/>
                  <a:pt x="5130" y="-182"/>
                  <a:pt x="8480" y="110"/>
                </a:cubicBezTo>
                <a:cubicBezTo>
                  <a:pt x="6177" y="927"/>
                  <a:pt x="3368" y="1153"/>
                  <a:pt x="0" y="896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" name="Free-form: Shape 15">
            <a:extLst>
              <a:ext uri="{FF2B5EF4-FFF2-40B4-BE49-F238E27FC236}">
                <a16:creationId xmlns:a16="http://schemas.microsoft.com/office/drawing/2014/main" id="{58391737-A26D-A287-4BD9-6F5A818614A3}"/>
              </a:ext>
            </a:extLst>
          </p:cNvPr>
          <p:cNvSpPr/>
          <p:nvPr/>
        </p:nvSpPr>
        <p:spPr>
          <a:xfrm>
            <a:off x="9425572" y="5117808"/>
            <a:ext cx="763" cy="4134"/>
          </a:xfrm>
          <a:custGeom>
            <a:avLst/>
            <a:gdLst>
              <a:gd name="csX0" fmla="*/ 132 w 1229"/>
              <a:gd name="csY0" fmla="*/ 6659 h 6658"/>
              <a:gd name="csX1" fmla="*/ 1107 w 1229"/>
              <a:gd name="csY1" fmla="*/ 0 h 6658"/>
              <a:gd name="csX2" fmla="*/ 132 w 1229"/>
              <a:gd name="csY2" fmla="*/ 6659 h 665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229" h="6658">
                <a:moveTo>
                  <a:pt x="132" y="6659"/>
                </a:moveTo>
                <a:cubicBezTo>
                  <a:pt x="-219" y="4616"/>
                  <a:pt x="139" y="2560"/>
                  <a:pt x="1107" y="0"/>
                </a:cubicBezTo>
                <a:cubicBezTo>
                  <a:pt x="1425" y="1879"/>
                  <a:pt x="1133" y="4263"/>
                  <a:pt x="132" y="6659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7" name="Free-form: Shape 16">
            <a:extLst>
              <a:ext uri="{FF2B5EF4-FFF2-40B4-BE49-F238E27FC236}">
                <a16:creationId xmlns:a16="http://schemas.microsoft.com/office/drawing/2014/main" id="{C180C18B-2CCC-7BC2-CF4B-6912C24F27AC}"/>
              </a:ext>
            </a:extLst>
          </p:cNvPr>
          <p:cNvSpPr/>
          <p:nvPr/>
        </p:nvSpPr>
        <p:spPr>
          <a:xfrm>
            <a:off x="9358376" y="5138085"/>
            <a:ext cx="2352" cy="847"/>
          </a:xfrm>
          <a:custGeom>
            <a:avLst/>
            <a:gdLst>
              <a:gd name="csX0" fmla="*/ 0 w 3788"/>
              <a:gd name="csY0" fmla="*/ 1364 h 1364"/>
              <a:gd name="csX1" fmla="*/ 3788 w 3788"/>
              <a:gd name="csY1" fmla="*/ 0 h 1364"/>
              <a:gd name="csX2" fmla="*/ 0 w 3788"/>
              <a:gd name="csY2" fmla="*/ 1364 h 136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788" h="1364">
                <a:moveTo>
                  <a:pt x="0" y="1364"/>
                </a:moveTo>
                <a:cubicBezTo>
                  <a:pt x="856" y="517"/>
                  <a:pt x="2126" y="39"/>
                  <a:pt x="3788" y="0"/>
                </a:cubicBezTo>
                <a:cubicBezTo>
                  <a:pt x="2925" y="870"/>
                  <a:pt x="1670" y="1303"/>
                  <a:pt x="0" y="1364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8" name="Free-form: Shape 17">
            <a:extLst>
              <a:ext uri="{FF2B5EF4-FFF2-40B4-BE49-F238E27FC236}">
                <a16:creationId xmlns:a16="http://schemas.microsoft.com/office/drawing/2014/main" id="{2296D74E-247D-1AC4-374C-DC59B6886956}"/>
              </a:ext>
            </a:extLst>
          </p:cNvPr>
          <p:cNvSpPr/>
          <p:nvPr/>
        </p:nvSpPr>
        <p:spPr>
          <a:xfrm>
            <a:off x="9086793" y="5141359"/>
            <a:ext cx="2478" cy="515"/>
          </a:xfrm>
          <a:custGeom>
            <a:avLst/>
            <a:gdLst>
              <a:gd name="csX0" fmla="*/ 0 w 3990"/>
              <a:gd name="csY0" fmla="*/ 719 h 829"/>
              <a:gd name="csX1" fmla="*/ 3990 w 3990"/>
              <a:gd name="csY1" fmla="*/ 119 h 829"/>
              <a:gd name="csX2" fmla="*/ 0 w 3990"/>
              <a:gd name="csY2" fmla="*/ 719 h 82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990" h="829">
                <a:moveTo>
                  <a:pt x="0" y="719"/>
                </a:moveTo>
                <a:cubicBezTo>
                  <a:pt x="982" y="66"/>
                  <a:pt x="2323" y="-163"/>
                  <a:pt x="3990" y="119"/>
                </a:cubicBezTo>
                <a:cubicBezTo>
                  <a:pt x="2998" y="800"/>
                  <a:pt x="1678" y="972"/>
                  <a:pt x="0" y="719"/>
                </a:cubicBezTo>
                <a:close/>
              </a:path>
            </a:pathLst>
          </a:custGeom>
          <a:solidFill>
            <a:srgbClr val="959DA0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9" name="Free-form: Shape 18">
            <a:extLst>
              <a:ext uri="{FF2B5EF4-FFF2-40B4-BE49-F238E27FC236}">
                <a16:creationId xmlns:a16="http://schemas.microsoft.com/office/drawing/2014/main" id="{A0788AB8-0B26-3FF9-BAEF-9CCFC38C050F}"/>
              </a:ext>
            </a:extLst>
          </p:cNvPr>
          <p:cNvSpPr/>
          <p:nvPr/>
        </p:nvSpPr>
        <p:spPr>
          <a:xfrm>
            <a:off x="9297341" y="5144315"/>
            <a:ext cx="2417" cy="705"/>
          </a:xfrm>
          <a:custGeom>
            <a:avLst/>
            <a:gdLst>
              <a:gd name="csX0" fmla="*/ 0 w 3893"/>
              <a:gd name="csY0" fmla="*/ 1133 h 1135"/>
              <a:gd name="csX1" fmla="*/ 3893 w 3893"/>
              <a:gd name="csY1" fmla="*/ 7 h 1135"/>
              <a:gd name="csX2" fmla="*/ 0 w 3893"/>
              <a:gd name="csY2" fmla="*/ 1133 h 113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893" h="1135">
                <a:moveTo>
                  <a:pt x="0" y="1133"/>
                </a:moveTo>
                <a:cubicBezTo>
                  <a:pt x="902" y="349"/>
                  <a:pt x="2213" y="-60"/>
                  <a:pt x="3893" y="7"/>
                </a:cubicBezTo>
                <a:cubicBezTo>
                  <a:pt x="2978" y="825"/>
                  <a:pt x="1693" y="1167"/>
                  <a:pt x="0" y="1133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" name="Free-form: Shape 19">
            <a:extLst>
              <a:ext uri="{FF2B5EF4-FFF2-40B4-BE49-F238E27FC236}">
                <a16:creationId xmlns:a16="http://schemas.microsoft.com/office/drawing/2014/main" id="{03FC2065-F7E8-623E-F053-78DD5E159044}"/>
              </a:ext>
            </a:extLst>
          </p:cNvPr>
          <p:cNvSpPr/>
          <p:nvPr/>
        </p:nvSpPr>
        <p:spPr>
          <a:xfrm>
            <a:off x="9197745" y="4659651"/>
            <a:ext cx="112588" cy="250407"/>
          </a:xfrm>
          <a:custGeom>
            <a:avLst/>
            <a:gdLst>
              <a:gd name="csX0" fmla="*/ 7554 w 181323"/>
              <a:gd name="csY0" fmla="*/ 172079 h 403282"/>
              <a:gd name="csX1" fmla="*/ 9716 w 181323"/>
              <a:gd name="csY1" fmla="*/ 130641 h 403282"/>
              <a:gd name="csX2" fmla="*/ 7663 w 181323"/>
              <a:gd name="csY2" fmla="*/ 113770 h 403282"/>
              <a:gd name="csX3" fmla="*/ 7598 w 181323"/>
              <a:gd name="csY3" fmla="*/ 8165 h 403282"/>
              <a:gd name="csX4" fmla="*/ 8353 w 181323"/>
              <a:gd name="csY4" fmla="*/ 1259 h 403282"/>
              <a:gd name="csX5" fmla="*/ 17767 w 181323"/>
              <a:gd name="csY5" fmla="*/ 93 h 403282"/>
              <a:gd name="csX6" fmla="*/ 77938 w 181323"/>
              <a:gd name="csY6" fmla="*/ 50 h 403282"/>
              <a:gd name="csX7" fmla="*/ 91081 w 181323"/>
              <a:gd name="csY7" fmla="*/ 10962 h 403282"/>
              <a:gd name="csX8" fmla="*/ 93691 w 181323"/>
              <a:gd name="csY8" fmla="*/ 60963 h 403282"/>
              <a:gd name="csX9" fmla="*/ 100157 w 181323"/>
              <a:gd name="csY9" fmla="*/ 121501 h 403282"/>
              <a:gd name="csX10" fmla="*/ 105540 w 181323"/>
              <a:gd name="csY10" fmla="*/ 158857 h 403282"/>
              <a:gd name="csX11" fmla="*/ 121116 w 181323"/>
              <a:gd name="csY11" fmla="*/ 235269 h 403282"/>
              <a:gd name="csX12" fmla="*/ 152823 w 181323"/>
              <a:gd name="csY12" fmla="*/ 338010 h 403282"/>
              <a:gd name="csX13" fmla="*/ 170877 w 181323"/>
              <a:gd name="csY13" fmla="*/ 378027 h 403282"/>
              <a:gd name="csX14" fmla="*/ 178114 w 181323"/>
              <a:gd name="csY14" fmla="*/ 387682 h 403282"/>
              <a:gd name="csX15" fmla="*/ 181150 w 181323"/>
              <a:gd name="csY15" fmla="*/ 395764 h 403282"/>
              <a:gd name="csX16" fmla="*/ 173480 w 181323"/>
              <a:gd name="csY16" fmla="*/ 402568 h 403282"/>
              <a:gd name="csX17" fmla="*/ 160067 w 181323"/>
              <a:gd name="csY17" fmla="*/ 402936 h 403282"/>
              <a:gd name="csX18" fmla="*/ 121081 w 181323"/>
              <a:gd name="csY18" fmla="*/ 400766 h 403282"/>
              <a:gd name="csX19" fmla="*/ 70912 w 181323"/>
              <a:gd name="csY19" fmla="*/ 401955 h 403282"/>
              <a:gd name="csX20" fmla="*/ 7630 w 181323"/>
              <a:gd name="csY20" fmla="*/ 402999 h 403282"/>
              <a:gd name="csX21" fmla="*/ 710 w 181323"/>
              <a:gd name="csY21" fmla="*/ 401995 h 403282"/>
              <a:gd name="csX22" fmla="*/ 1308 w 181323"/>
              <a:gd name="csY22" fmla="*/ 356708 h 403282"/>
              <a:gd name="csX23" fmla="*/ 2554 w 181323"/>
              <a:gd name="csY23" fmla="*/ 349510 h 403282"/>
              <a:gd name="csX24" fmla="*/ 5071 w 181323"/>
              <a:gd name="csY24" fmla="*/ 271231 h 403282"/>
              <a:gd name="csX25" fmla="*/ 7554 w 181323"/>
              <a:gd name="csY25" fmla="*/ 172079 h 403282"/>
              <a:gd name="csX26" fmla="*/ 98286 w 181323"/>
              <a:gd name="csY26" fmla="*/ 163566 h 403282"/>
              <a:gd name="csX27" fmla="*/ 83497 w 181323"/>
              <a:gd name="csY27" fmla="*/ 8289 h 403282"/>
              <a:gd name="csX28" fmla="*/ 15161 w 181323"/>
              <a:gd name="csY28" fmla="*/ 9148 h 403282"/>
              <a:gd name="csX29" fmla="*/ 15058 w 181323"/>
              <a:gd name="csY29" fmla="*/ 137939 h 403282"/>
              <a:gd name="csX30" fmla="*/ 12252 w 181323"/>
              <a:gd name="csY30" fmla="*/ 266862 h 403282"/>
              <a:gd name="csX31" fmla="*/ 7068 w 181323"/>
              <a:gd name="csY31" fmla="*/ 395996 h 403282"/>
              <a:gd name="csX32" fmla="*/ 171647 w 181323"/>
              <a:gd name="csY32" fmla="*/ 395996 h 403282"/>
              <a:gd name="csX33" fmla="*/ 119950 w 181323"/>
              <a:gd name="csY33" fmla="*/ 259496 h 403282"/>
              <a:gd name="csX34" fmla="*/ 98286 w 181323"/>
              <a:gd name="csY34" fmla="*/ 163566 h 40328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</a:cxnLst>
            <a:rect l="l" t="t" r="r" b="b"/>
            <a:pathLst>
              <a:path w="181323" h="403282">
                <a:moveTo>
                  <a:pt x="7554" y="172079"/>
                </a:moveTo>
                <a:cubicBezTo>
                  <a:pt x="8325" y="157451"/>
                  <a:pt x="9408" y="144055"/>
                  <a:pt x="9716" y="130641"/>
                </a:cubicBezTo>
                <a:cubicBezTo>
                  <a:pt x="9846" y="125037"/>
                  <a:pt x="7695" y="119399"/>
                  <a:pt x="7663" y="113770"/>
                </a:cubicBezTo>
                <a:cubicBezTo>
                  <a:pt x="7461" y="78569"/>
                  <a:pt x="7554" y="43367"/>
                  <a:pt x="7598" y="8165"/>
                </a:cubicBezTo>
                <a:cubicBezTo>
                  <a:pt x="7600" y="6167"/>
                  <a:pt x="8022" y="4170"/>
                  <a:pt x="8353" y="1259"/>
                </a:cubicBezTo>
                <a:cubicBezTo>
                  <a:pt x="11568" y="842"/>
                  <a:pt x="14666" y="109"/>
                  <a:pt x="17767" y="93"/>
                </a:cubicBezTo>
                <a:cubicBezTo>
                  <a:pt x="37824" y="-17"/>
                  <a:pt x="57881" y="-27"/>
                  <a:pt x="77938" y="50"/>
                </a:cubicBezTo>
                <a:cubicBezTo>
                  <a:pt x="89177" y="93"/>
                  <a:pt x="90068" y="113"/>
                  <a:pt x="91081" y="10962"/>
                </a:cubicBezTo>
                <a:cubicBezTo>
                  <a:pt x="92631" y="27565"/>
                  <a:pt x="92329" y="44335"/>
                  <a:pt x="93691" y="60963"/>
                </a:cubicBezTo>
                <a:cubicBezTo>
                  <a:pt x="95348" y="81184"/>
                  <a:pt x="97732" y="101353"/>
                  <a:pt x="100157" y="121501"/>
                </a:cubicBezTo>
                <a:cubicBezTo>
                  <a:pt x="101660" y="133990"/>
                  <a:pt x="104521" y="146343"/>
                  <a:pt x="105540" y="158857"/>
                </a:cubicBezTo>
                <a:cubicBezTo>
                  <a:pt x="107671" y="184993"/>
                  <a:pt x="114147" y="210249"/>
                  <a:pt x="121116" y="235269"/>
                </a:cubicBezTo>
                <a:cubicBezTo>
                  <a:pt x="130731" y="269786"/>
                  <a:pt x="141516" y="304004"/>
                  <a:pt x="152823" y="338010"/>
                </a:cubicBezTo>
                <a:cubicBezTo>
                  <a:pt x="157418" y="351828"/>
                  <a:pt x="164524" y="364837"/>
                  <a:pt x="170877" y="378027"/>
                </a:cubicBezTo>
                <a:cubicBezTo>
                  <a:pt x="172587" y="381579"/>
                  <a:pt x="175985" y="384280"/>
                  <a:pt x="178114" y="387682"/>
                </a:cubicBezTo>
                <a:cubicBezTo>
                  <a:pt x="179669" y="390165"/>
                  <a:pt x="181977" y="393824"/>
                  <a:pt x="181150" y="395764"/>
                </a:cubicBezTo>
                <a:cubicBezTo>
                  <a:pt x="179907" y="398676"/>
                  <a:pt x="176540" y="401705"/>
                  <a:pt x="173480" y="402568"/>
                </a:cubicBezTo>
                <a:cubicBezTo>
                  <a:pt x="169302" y="403746"/>
                  <a:pt x="164551" y="403164"/>
                  <a:pt x="160067" y="402936"/>
                </a:cubicBezTo>
                <a:cubicBezTo>
                  <a:pt x="147066" y="402274"/>
                  <a:pt x="134081" y="400859"/>
                  <a:pt x="121081" y="400766"/>
                </a:cubicBezTo>
                <a:cubicBezTo>
                  <a:pt x="104362" y="400647"/>
                  <a:pt x="87638" y="401607"/>
                  <a:pt x="70912" y="401955"/>
                </a:cubicBezTo>
                <a:cubicBezTo>
                  <a:pt x="49820" y="402394"/>
                  <a:pt x="28725" y="402712"/>
                  <a:pt x="7630" y="402999"/>
                </a:cubicBezTo>
                <a:cubicBezTo>
                  <a:pt x="5684" y="403026"/>
                  <a:pt x="3731" y="402452"/>
                  <a:pt x="710" y="401995"/>
                </a:cubicBezTo>
                <a:cubicBezTo>
                  <a:pt x="219" y="386620"/>
                  <a:pt x="-871" y="371682"/>
                  <a:pt x="1308" y="356708"/>
                </a:cubicBezTo>
                <a:cubicBezTo>
                  <a:pt x="1659" y="354298"/>
                  <a:pt x="2471" y="351920"/>
                  <a:pt x="2554" y="349510"/>
                </a:cubicBezTo>
                <a:cubicBezTo>
                  <a:pt x="3459" y="323419"/>
                  <a:pt x="4345" y="297328"/>
                  <a:pt x="5071" y="271231"/>
                </a:cubicBezTo>
                <a:cubicBezTo>
                  <a:pt x="5979" y="238591"/>
                  <a:pt x="6733" y="205947"/>
                  <a:pt x="7554" y="172079"/>
                </a:cubicBezTo>
                <a:moveTo>
                  <a:pt x="98286" y="163566"/>
                </a:moveTo>
                <a:cubicBezTo>
                  <a:pt x="89288" y="112116"/>
                  <a:pt x="86355" y="60033"/>
                  <a:pt x="83497" y="8289"/>
                </a:cubicBezTo>
                <a:cubicBezTo>
                  <a:pt x="65606" y="5845"/>
                  <a:pt x="24110" y="6470"/>
                  <a:pt x="15161" y="9148"/>
                </a:cubicBezTo>
                <a:cubicBezTo>
                  <a:pt x="15161" y="52045"/>
                  <a:pt x="15527" y="94996"/>
                  <a:pt x="15058" y="137939"/>
                </a:cubicBezTo>
                <a:cubicBezTo>
                  <a:pt x="14587" y="180919"/>
                  <a:pt x="13597" y="223900"/>
                  <a:pt x="12252" y="266862"/>
                </a:cubicBezTo>
                <a:cubicBezTo>
                  <a:pt x="10912" y="309638"/>
                  <a:pt x="8849" y="352391"/>
                  <a:pt x="7068" y="395996"/>
                </a:cubicBezTo>
                <a:cubicBezTo>
                  <a:pt x="62774" y="395996"/>
                  <a:pt x="116821" y="395996"/>
                  <a:pt x="171647" y="395996"/>
                </a:cubicBezTo>
                <a:cubicBezTo>
                  <a:pt x="148550" y="352016"/>
                  <a:pt x="132566" y="306307"/>
                  <a:pt x="119950" y="259496"/>
                </a:cubicBezTo>
                <a:cubicBezTo>
                  <a:pt x="111608" y="228543"/>
                  <a:pt x="105493" y="196989"/>
                  <a:pt x="98286" y="163566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" name="Free-form: Shape 20">
            <a:extLst>
              <a:ext uri="{FF2B5EF4-FFF2-40B4-BE49-F238E27FC236}">
                <a16:creationId xmlns:a16="http://schemas.microsoft.com/office/drawing/2014/main" id="{72D1758C-9F39-457D-B936-FB488ECAC945}"/>
              </a:ext>
            </a:extLst>
          </p:cNvPr>
          <p:cNvSpPr/>
          <p:nvPr/>
        </p:nvSpPr>
        <p:spPr>
          <a:xfrm>
            <a:off x="9199376" y="5076132"/>
            <a:ext cx="209255" cy="47389"/>
          </a:xfrm>
          <a:custGeom>
            <a:avLst/>
            <a:gdLst>
              <a:gd name="csX0" fmla="*/ 297312 w 337008"/>
              <a:gd name="csY0" fmla="*/ 59188 h 76321"/>
              <a:gd name="csX1" fmla="*/ 241991 w 337008"/>
              <a:gd name="csY1" fmla="*/ 66577 h 76321"/>
              <a:gd name="csX2" fmla="*/ 185243 w 337008"/>
              <a:gd name="csY2" fmla="*/ 73717 h 76321"/>
              <a:gd name="csX3" fmla="*/ 182797 w 337008"/>
              <a:gd name="csY3" fmla="*/ 73873 h 76321"/>
              <a:gd name="csX4" fmla="*/ 19866 w 337008"/>
              <a:gd name="csY4" fmla="*/ 76320 h 76321"/>
              <a:gd name="csX5" fmla="*/ 12650 w 337008"/>
              <a:gd name="csY5" fmla="*/ 75242 h 76321"/>
              <a:gd name="csX6" fmla="*/ 19 w 337008"/>
              <a:gd name="csY6" fmla="*/ 59006 h 76321"/>
              <a:gd name="csX7" fmla="*/ 11 w 337008"/>
              <a:gd name="csY7" fmla="*/ 18266 h 76321"/>
              <a:gd name="csX8" fmla="*/ 13547 w 337008"/>
              <a:gd name="csY8" fmla="*/ 17427 h 76321"/>
              <a:gd name="csX9" fmla="*/ 109279 w 337008"/>
              <a:gd name="csY9" fmla="*/ 17200 h 76321"/>
              <a:gd name="csX10" fmla="*/ 173714 w 337008"/>
              <a:gd name="csY10" fmla="*/ 12645 h 76321"/>
              <a:gd name="csX11" fmla="*/ 205309 w 337008"/>
              <a:gd name="csY11" fmla="*/ 10096 h 76321"/>
              <a:gd name="csX12" fmla="*/ 245485 w 337008"/>
              <a:gd name="csY12" fmla="*/ 7449 h 76321"/>
              <a:gd name="csX13" fmla="*/ 288955 w 337008"/>
              <a:gd name="csY13" fmla="*/ 1844 h 76321"/>
              <a:gd name="csX14" fmla="*/ 307132 w 337008"/>
              <a:gd name="csY14" fmla="*/ 164 h 76321"/>
              <a:gd name="csX15" fmla="*/ 324030 w 337008"/>
              <a:gd name="csY15" fmla="*/ 9691 h 76321"/>
              <a:gd name="csX16" fmla="*/ 336033 w 337008"/>
              <a:gd name="csY16" fmla="*/ 39107 h 76321"/>
              <a:gd name="csX17" fmla="*/ 328060 w 337008"/>
              <a:gd name="csY17" fmla="*/ 52413 h 76321"/>
              <a:gd name="csX18" fmla="*/ 297312 w 337008"/>
              <a:gd name="csY18" fmla="*/ 59188 h 76321"/>
              <a:gd name="csX19" fmla="*/ 207688 w 337008"/>
              <a:gd name="csY19" fmla="*/ 64284 h 76321"/>
              <a:gd name="csX20" fmla="*/ 330050 w 337008"/>
              <a:gd name="csY20" fmla="*/ 45606 h 76321"/>
              <a:gd name="csX21" fmla="*/ 317356 w 337008"/>
              <a:gd name="csY21" fmla="*/ 11297 h 76321"/>
              <a:gd name="csX22" fmla="*/ 304170 w 337008"/>
              <a:gd name="csY22" fmla="*/ 5545 h 76321"/>
              <a:gd name="csX23" fmla="*/ 273851 w 337008"/>
              <a:gd name="csY23" fmla="*/ 10014 h 76321"/>
              <a:gd name="csX24" fmla="*/ 163935 w 337008"/>
              <a:gd name="csY24" fmla="*/ 20274 h 76321"/>
              <a:gd name="csX25" fmla="*/ 17973 w 337008"/>
              <a:gd name="csY25" fmla="*/ 22950 h 76321"/>
              <a:gd name="csX26" fmla="*/ 7372 w 337008"/>
              <a:gd name="csY26" fmla="*/ 23601 h 76321"/>
              <a:gd name="csX27" fmla="*/ 7372 w 337008"/>
              <a:gd name="csY27" fmla="*/ 67898 h 76321"/>
              <a:gd name="csX28" fmla="*/ 207688 w 337008"/>
              <a:gd name="csY28" fmla="*/ 64284 h 7632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</a:cxnLst>
            <a:rect l="l" t="t" r="r" b="b"/>
            <a:pathLst>
              <a:path w="337008" h="76321">
                <a:moveTo>
                  <a:pt x="297312" y="59188"/>
                </a:moveTo>
                <a:cubicBezTo>
                  <a:pt x="278167" y="61672"/>
                  <a:pt x="260091" y="64212"/>
                  <a:pt x="241991" y="66577"/>
                </a:cubicBezTo>
                <a:cubicBezTo>
                  <a:pt x="223087" y="69047"/>
                  <a:pt x="204161" y="71350"/>
                  <a:pt x="185243" y="73717"/>
                </a:cubicBezTo>
                <a:cubicBezTo>
                  <a:pt x="184433" y="73818"/>
                  <a:pt x="183613" y="73861"/>
                  <a:pt x="182797" y="73873"/>
                </a:cubicBezTo>
                <a:cubicBezTo>
                  <a:pt x="128487" y="74710"/>
                  <a:pt x="74176" y="75556"/>
                  <a:pt x="19866" y="76320"/>
                </a:cubicBezTo>
                <a:cubicBezTo>
                  <a:pt x="17463" y="76354"/>
                  <a:pt x="15013" y="75797"/>
                  <a:pt x="12650" y="75242"/>
                </a:cubicBezTo>
                <a:cubicBezTo>
                  <a:pt x="80" y="72288"/>
                  <a:pt x="58" y="72258"/>
                  <a:pt x="19" y="59006"/>
                </a:cubicBezTo>
                <a:cubicBezTo>
                  <a:pt x="-19" y="45942"/>
                  <a:pt x="11" y="32877"/>
                  <a:pt x="11" y="18266"/>
                </a:cubicBezTo>
                <a:cubicBezTo>
                  <a:pt x="4987" y="17944"/>
                  <a:pt x="9266" y="17435"/>
                  <a:pt x="13547" y="17427"/>
                </a:cubicBezTo>
                <a:cubicBezTo>
                  <a:pt x="45459" y="17362"/>
                  <a:pt x="77385" y="17975"/>
                  <a:pt x="109279" y="17200"/>
                </a:cubicBezTo>
                <a:cubicBezTo>
                  <a:pt x="130782" y="16677"/>
                  <a:pt x="152239" y="14265"/>
                  <a:pt x="173714" y="12645"/>
                </a:cubicBezTo>
                <a:cubicBezTo>
                  <a:pt x="184250" y="11850"/>
                  <a:pt x="194770" y="10836"/>
                  <a:pt x="205309" y="10096"/>
                </a:cubicBezTo>
                <a:cubicBezTo>
                  <a:pt x="218698" y="9156"/>
                  <a:pt x="232139" y="8783"/>
                  <a:pt x="245485" y="7449"/>
                </a:cubicBezTo>
                <a:cubicBezTo>
                  <a:pt x="260017" y="5997"/>
                  <a:pt x="274456" y="3648"/>
                  <a:pt x="288955" y="1844"/>
                </a:cubicBezTo>
                <a:cubicBezTo>
                  <a:pt x="294991" y="1094"/>
                  <a:pt x="301100" y="930"/>
                  <a:pt x="307132" y="164"/>
                </a:cubicBezTo>
                <a:cubicBezTo>
                  <a:pt x="315239" y="-865"/>
                  <a:pt x="320841" y="3022"/>
                  <a:pt x="324030" y="9691"/>
                </a:cubicBezTo>
                <a:cubicBezTo>
                  <a:pt x="328594" y="19236"/>
                  <a:pt x="332712" y="29070"/>
                  <a:pt x="336033" y="39107"/>
                </a:cubicBezTo>
                <a:cubicBezTo>
                  <a:pt x="338557" y="46735"/>
                  <a:pt x="336278" y="50185"/>
                  <a:pt x="328060" y="52413"/>
                </a:cubicBezTo>
                <a:cubicBezTo>
                  <a:pt x="318273" y="55068"/>
                  <a:pt x="308277" y="56950"/>
                  <a:pt x="297312" y="59188"/>
                </a:cubicBezTo>
                <a:moveTo>
                  <a:pt x="207688" y="64284"/>
                </a:moveTo>
                <a:cubicBezTo>
                  <a:pt x="248681" y="60632"/>
                  <a:pt x="289317" y="54812"/>
                  <a:pt x="330050" y="45606"/>
                </a:cubicBezTo>
                <a:cubicBezTo>
                  <a:pt x="327603" y="32443"/>
                  <a:pt x="323777" y="21532"/>
                  <a:pt x="317356" y="11297"/>
                </a:cubicBezTo>
                <a:cubicBezTo>
                  <a:pt x="313908" y="5803"/>
                  <a:pt x="310145" y="4465"/>
                  <a:pt x="304170" y="5545"/>
                </a:cubicBezTo>
                <a:cubicBezTo>
                  <a:pt x="294121" y="7361"/>
                  <a:pt x="284007" y="9006"/>
                  <a:pt x="273851" y="10014"/>
                </a:cubicBezTo>
                <a:cubicBezTo>
                  <a:pt x="237233" y="13650"/>
                  <a:pt x="200632" y="17661"/>
                  <a:pt x="163935" y="20274"/>
                </a:cubicBezTo>
                <a:cubicBezTo>
                  <a:pt x="115360" y="23734"/>
                  <a:pt x="66701" y="25937"/>
                  <a:pt x="17973" y="22950"/>
                </a:cubicBezTo>
                <a:cubicBezTo>
                  <a:pt x="14492" y="22737"/>
                  <a:pt x="10959" y="23361"/>
                  <a:pt x="7372" y="23601"/>
                </a:cubicBezTo>
                <a:cubicBezTo>
                  <a:pt x="7372" y="38609"/>
                  <a:pt x="7372" y="52361"/>
                  <a:pt x="7372" y="67898"/>
                </a:cubicBezTo>
                <a:cubicBezTo>
                  <a:pt x="74001" y="69806"/>
                  <a:pt x="139746" y="71025"/>
                  <a:pt x="207688" y="64284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2" name="Free-form: Shape 21">
            <a:extLst>
              <a:ext uri="{FF2B5EF4-FFF2-40B4-BE49-F238E27FC236}">
                <a16:creationId xmlns:a16="http://schemas.microsoft.com/office/drawing/2014/main" id="{B5BE2C38-A569-1F70-24AC-C245519C6AB1}"/>
              </a:ext>
            </a:extLst>
          </p:cNvPr>
          <p:cNvSpPr/>
          <p:nvPr/>
        </p:nvSpPr>
        <p:spPr>
          <a:xfrm>
            <a:off x="9203109" y="4929678"/>
            <a:ext cx="188426" cy="132688"/>
          </a:xfrm>
          <a:custGeom>
            <a:avLst/>
            <a:gdLst>
              <a:gd name="csX0" fmla="*/ 14160 w 303463"/>
              <a:gd name="csY0" fmla="*/ 7889 h 213695"/>
              <a:gd name="csX1" fmla="*/ 195033 w 303463"/>
              <a:gd name="csY1" fmla="*/ 0 h 213695"/>
              <a:gd name="csX2" fmla="*/ 197208 w 303463"/>
              <a:gd name="csY2" fmla="*/ 5635 h 213695"/>
              <a:gd name="csX3" fmla="*/ 227014 w 303463"/>
              <a:gd name="csY3" fmla="*/ 60660 h 213695"/>
              <a:gd name="csX4" fmla="*/ 265823 w 303463"/>
              <a:gd name="csY4" fmla="*/ 98217 h 213695"/>
              <a:gd name="csX5" fmla="*/ 303210 w 303463"/>
              <a:gd name="csY5" fmla="*/ 180358 h 213695"/>
              <a:gd name="csX6" fmla="*/ 303282 w 303463"/>
              <a:gd name="csY6" fmla="*/ 193964 h 213695"/>
              <a:gd name="csX7" fmla="*/ 4971 w 303463"/>
              <a:gd name="csY7" fmla="*/ 213017 h 213695"/>
              <a:gd name="csX8" fmla="*/ 5093 w 303463"/>
              <a:gd name="csY8" fmla="*/ 173484 h 213695"/>
              <a:gd name="csX9" fmla="*/ 4767 w 303463"/>
              <a:gd name="csY9" fmla="*/ 54607 h 213695"/>
              <a:gd name="csX10" fmla="*/ 0 w 303463"/>
              <a:gd name="csY10" fmla="*/ 7887 h 213695"/>
              <a:gd name="csX11" fmla="*/ 14160 w 303463"/>
              <a:gd name="csY11" fmla="*/ 7889 h 21369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303463" h="213695">
                <a:moveTo>
                  <a:pt x="14160" y="7889"/>
                </a:moveTo>
                <a:cubicBezTo>
                  <a:pt x="75371" y="8627"/>
                  <a:pt x="135292" y="5744"/>
                  <a:pt x="195033" y="0"/>
                </a:cubicBezTo>
                <a:cubicBezTo>
                  <a:pt x="196084" y="2662"/>
                  <a:pt x="196986" y="4099"/>
                  <a:pt x="197208" y="5635"/>
                </a:cubicBezTo>
                <a:cubicBezTo>
                  <a:pt x="200391" y="27650"/>
                  <a:pt x="211307" y="45450"/>
                  <a:pt x="227014" y="60660"/>
                </a:cubicBezTo>
                <a:cubicBezTo>
                  <a:pt x="239947" y="73182"/>
                  <a:pt x="253006" y="85577"/>
                  <a:pt x="265823" y="98217"/>
                </a:cubicBezTo>
                <a:cubicBezTo>
                  <a:pt x="288727" y="120806"/>
                  <a:pt x="299071" y="149215"/>
                  <a:pt x="303210" y="180358"/>
                </a:cubicBezTo>
                <a:cubicBezTo>
                  <a:pt x="303735" y="184317"/>
                  <a:pt x="303282" y="188405"/>
                  <a:pt x="303282" y="193964"/>
                </a:cubicBezTo>
                <a:cubicBezTo>
                  <a:pt x="204065" y="208804"/>
                  <a:pt x="105022" y="216044"/>
                  <a:pt x="4971" y="213017"/>
                </a:cubicBezTo>
                <a:cubicBezTo>
                  <a:pt x="4971" y="199268"/>
                  <a:pt x="4314" y="186332"/>
                  <a:pt x="5093" y="173484"/>
                </a:cubicBezTo>
                <a:cubicBezTo>
                  <a:pt x="7497" y="133835"/>
                  <a:pt x="8211" y="94216"/>
                  <a:pt x="4767" y="54607"/>
                </a:cubicBezTo>
                <a:cubicBezTo>
                  <a:pt x="3464" y="39611"/>
                  <a:pt x="1725" y="24653"/>
                  <a:pt x="0" y="7887"/>
                </a:cubicBezTo>
                <a:cubicBezTo>
                  <a:pt x="4390" y="7887"/>
                  <a:pt x="8696" y="7887"/>
                  <a:pt x="14160" y="7889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3" name="Free-form: Shape 22">
            <a:extLst>
              <a:ext uri="{FF2B5EF4-FFF2-40B4-BE49-F238E27FC236}">
                <a16:creationId xmlns:a16="http://schemas.microsoft.com/office/drawing/2014/main" id="{B509EB74-FF5E-6F6F-6DC9-D64ED090B630}"/>
              </a:ext>
            </a:extLst>
          </p:cNvPr>
          <p:cNvSpPr/>
          <p:nvPr/>
        </p:nvSpPr>
        <p:spPr>
          <a:xfrm>
            <a:off x="9169347" y="4399922"/>
            <a:ext cx="129814" cy="126299"/>
          </a:xfrm>
          <a:custGeom>
            <a:avLst/>
            <a:gdLst>
              <a:gd name="csX0" fmla="*/ 10475 w 209067"/>
              <a:gd name="csY0" fmla="*/ 41718 h 203406"/>
              <a:gd name="csX1" fmla="*/ 100250 w 209067"/>
              <a:gd name="csY1" fmla="*/ 1265 h 203406"/>
              <a:gd name="csX2" fmla="*/ 206681 w 209067"/>
              <a:gd name="csY2" fmla="*/ 98526 h 203406"/>
              <a:gd name="csX3" fmla="*/ 134647 w 209067"/>
              <a:gd name="csY3" fmla="*/ 202431 h 203406"/>
              <a:gd name="csX4" fmla="*/ 40986 w 209067"/>
              <a:gd name="csY4" fmla="*/ 171438 h 203406"/>
              <a:gd name="csX5" fmla="*/ 143 w 209067"/>
              <a:gd name="csY5" fmla="*/ 85158 h 203406"/>
              <a:gd name="csX6" fmla="*/ 10475 w 209067"/>
              <a:gd name="csY6" fmla="*/ 41718 h 20340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</a:cxnLst>
            <a:rect l="l" t="t" r="r" b="b"/>
            <a:pathLst>
              <a:path w="209067" h="203406">
                <a:moveTo>
                  <a:pt x="10475" y="41718"/>
                </a:moveTo>
                <a:cubicBezTo>
                  <a:pt x="31065" y="6021"/>
                  <a:pt x="63171" y="-3865"/>
                  <a:pt x="100250" y="1265"/>
                </a:cubicBezTo>
                <a:cubicBezTo>
                  <a:pt x="157191" y="9144"/>
                  <a:pt x="196951" y="51394"/>
                  <a:pt x="206681" y="98526"/>
                </a:cubicBezTo>
                <a:cubicBezTo>
                  <a:pt x="219504" y="160635"/>
                  <a:pt x="178523" y="196657"/>
                  <a:pt x="134647" y="202431"/>
                </a:cubicBezTo>
                <a:cubicBezTo>
                  <a:pt x="98365" y="207204"/>
                  <a:pt x="68101" y="194086"/>
                  <a:pt x="40986" y="171438"/>
                </a:cubicBezTo>
                <a:cubicBezTo>
                  <a:pt x="14115" y="148994"/>
                  <a:pt x="2457" y="119007"/>
                  <a:pt x="143" y="85158"/>
                </a:cubicBezTo>
                <a:cubicBezTo>
                  <a:pt x="-869" y="70364"/>
                  <a:pt x="3586" y="56015"/>
                  <a:pt x="10475" y="41718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4" name="Free-form: Shape 23">
            <a:extLst>
              <a:ext uri="{FF2B5EF4-FFF2-40B4-BE49-F238E27FC236}">
                <a16:creationId xmlns:a16="http://schemas.microsoft.com/office/drawing/2014/main" id="{1E3EC9C3-084E-B9C6-E5B7-514DA854530F}"/>
              </a:ext>
            </a:extLst>
          </p:cNvPr>
          <p:cNvSpPr/>
          <p:nvPr/>
        </p:nvSpPr>
        <p:spPr>
          <a:xfrm>
            <a:off x="9205606" y="4612960"/>
            <a:ext cx="97564" cy="25665"/>
          </a:xfrm>
          <a:custGeom>
            <a:avLst/>
            <a:gdLst>
              <a:gd name="csX0" fmla="*/ 69625 w 157129"/>
              <a:gd name="csY0" fmla="*/ 0 h 41334"/>
              <a:gd name="csX1" fmla="*/ 119596 w 157129"/>
              <a:gd name="csY1" fmla="*/ 1945 h 41334"/>
              <a:gd name="csX2" fmla="*/ 150973 w 157129"/>
              <a:gd name="csY2" fmla="*/ 14889 h 41334"/>
              <a:gd name="csX3" fmla="*/ 151351 w 157129"/>
              <a:gd name="csY3" fmla="*/ 34058 h 41334"/>
              <a:gd name="csX4" fmla="*/ 133492 w 157129"/>
              <a:gd name="csY4" fmla="*/ 40697 h 41334"/>
              <a:gd name="csX5" fmla="*/ 106556 w 157129"/>
              <a:gd name="csY5" fmla="*/ 41092 h 41334"/>
              <a:gd name="csX6" fmla="*/ 13373 w 157129"/>
              <a:gd name="csY6" fmla="*/ 40708 h 41334"/>
              <a:gd name="csX7" fmla="*/ 1312 w 157129"/>
              <a:gd name="csY7" fmla="*/ 40191 h 41334"/>
              <a:gd name="csX8" fmla="*/ 3367 w 157129"/>
              <a:gd name="csY8" fmla="*/ 13162 h 41334"/>
              <a:gd name="csX9" fmla="*/ 20752 w 157129"/>
              <a:gd name="csY9" fmla="*/ 1879 h 41334"/>
              <a:gd name="csX10" fmla="*/ 52625 w 157129"/>
              <a:gd name="csY10" fmla="*/ 1332 h 41334"/>
              <a:gd name="csX11" fmla="*/ 69625 w 157129"/>
              <a:gd name="csY11" fmla="*/ 0 h 4133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157129" h="41334">
                <a:moveTo>
                  <a:pt x="69625" y="0"/>
                </a:moveTo>
                <a:cubicBezTo>
                  <a:pt x="87054" y="491"/>
                  <a:pt x="103407" y="373"/>
                  <a:pt x="119596" y="1945"/>
                </a:cubicBezTo>
                <a:cubicBezTo>
                  <a:pt x="131020" y="3055"/>
                  <a:pt x="141713" y="7767"/>
                  <a:pt x="150973" y="14889"/>
                </a:cubicBezTo>
                <a:cubicBezTo>
                  <a:pt x="158820" y="20925"/>
                  <a:pt x="159403" y="28236"/>
                  <a:pt x="151351" y="34058"/>
                </a:cubicBezTo>
                <a:cubicBezTo>
                  <a:pt x="146355" y="37671"/>
                  <a:pt x="139678" y="39910"/>
                  <a:pt x="133492" y="40697"/>
                </a:cubicBezTo>
                <a:cubicBezTo>
                  <a:pt x="124640" y="41824"/>
                  <a:pt x="115547" y="41120"/>
                  <a:pt x="106556" y="41092"/>
                </a:cubicBezTo>
                <a:cubicBezTo>
                  <a:pt x="75495" y="40996"/>
                  <a:pt x="44434" y="40872"/>
                  <a:pt x="13373" y="40708"/>
                </a:cubicBezTo>
                <a:cubicBezTo>
                  <a:pt x="9391" y="40687"/>
                  <a:pt x="5410" y="40374"/>
                  <a:pt x="1312" y="40191"/>
                </a:cubicBezTo>
                <a:cubicBezTo>
                  <a:pt x="-1416" y="30384"/>
                  <a:pt x="523" y="21512"/>
                  <a:pt x="3367" y="13162"/>
                </a:cubicBezTo>
                <a:cubicBezTo>
                  <a:pt x="5963" y="5538"/>
                  <a:pt x="12701" y="2077"/>
                  <a:pt x="20752" y="1879"/>
                </a:cubicBezTo>
                <a:cubicBezTo>
                  <a:pt x="31375" y="1617"/>
                  <a:pt x="42004" y="1647"/>
                  <a:pt x="52625" y="1332"/>
                </a:cubicBezTo>
                <a:cubicBezTo>
                  <a:pt x="57918" y="1176"/>
                  <a:pt x="63195" y="535"/>
                  <a:pt x="69625" y="0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5" name="Free-form: Shape 24">
            <a:extLst>
              <a:ext uri="{FF2B5EF4-FFF2-40B4-BE49-F238E27FC236}">
                <a16:creationId xmlns:a16="http://schemas.microsoft.com/office/drawing/2014/main" id="{5AB27725-E281-FEDC-2227-502B129EE8B7}"/>
              </a:ext>
            </a:extLst>
          </p:cNvPr>
          <p:cNvSpPr/>
          <p:nvPr/>
        </p:nvSpPr>
        <p:spPr>
          <a:xfrm>
            <a:off x="9202133" y="4663847"/>
            <a:ext cx="102191" cy="241686"/>
          </a:xfrm>
          <a:custGeom>
            <a:avLst/>
            <a:gdLst>
              <a:gd name="csX0" fmla="*/ 91265 w 164579"/>
              <a:gd name="csY0" fmla="*/ 157878 h 389238"/>
              <a:gd name="csX1" fmla="*/ 112882 w 164579"/>
              <a:gd name="csY1" fmla="*/ 252738 h 389238"/>
              <a:gd name="csX2" fmla="*/ 164579 w 164579"/>
              <a:gd name="csY2" fmla="*/ 389238 h 389238"/>
              <a:gd name="csX3" fmla="*/ 0 w 164579"/>
              <a:gd name="csY3" fmla="*/ 389238 h 389238"/>
              <a:gd name="csX4" fmla="*/ 5184 w 164579"/>
              <a:gd name="csY4" fmla="*/ 260105 h 389238"/>
              <a:gd name="csX5" fmla="*/ 7989 w 164579"/>
              <a:gd name="csY5" fmla="*/ 131182 h 389238"/>
              <a:gd name="csX6" fmla="*/ 8093 w 164579"/>
              <a:gd name="csY6" fmla="*/ 2390 h 389238"/>
              <a:gd name="csX7" fmla="*/ 76429 w 164579"/>
              <a:gd name="csY7" fmla="*/ 1531 h 389238"/>
              <a:gd name="csX8" fmla="*/ 91265 w 164579"/>
              <a:gd name="csY8" fmla="*/ 157878 h 38923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</a:cxnLst>
            <a:rect l="l" t="t" r="r" b="b"/>
            <a:pathLst>
              <a:path w="164579" h="389238">
                <a:moveTo>
                  <a:pt x="91265" y="157878"/>
                </a:moveTo>
                <a:cubicBezTo>
                  <a:pt x="98425" y="190232"/>
                  <a:pt x="104539" y="221785"/>
                  <a:pt x="112882" y="252738"/>
                </a:cubicBezTo>
                <a:cubicBezTo>
                  <a:pt x="125498" y="299549"/>
                  <a:pt x="141482" y="345258"/>
                  <a:pt x="164579" y="389238"/>
                </a:cubicBezTo>
                <a:cubicBezTo>
                  <a:pt x="109753" y="389238"/>
                  <a:pt x="55706" y="389238"/>
                  <a:pt x="0" y="389238"/>
                </a:cubicBezTo>
                <a:cubicBezTo>
                  <a:pt x="1781" y="345633"/>
                  <a:pt x="3844" y="302880"/>
                  <a:pt x="5184" y="260105"/>
                </a:cubicBezTo>
                <a:cubicBezTo>
                  <a:pt x="6529" y="217143"/>
                  <a:pt x="7519" y="174162"/>
                  <a:pt x="7989" y="131182"/>
                </a:cubicBezTo>
                <a:cubicBezTo>
                  <a:pt x="8459" y="88239"/>
                  <a:pt x="8093" y="45287"/>
                  <a:pt x="8093" y="2390"/>
                </a:cubicBezTo>
                <a:cubicBezTo>
                  <a:pt x="17041" y="-288"/>
                  <a:pt x="58537" y="-913"/>
                  <a:pt x="76429" y="1531"/>
                </a:cubicBezTo>
                <a:cubicBezTo>
                  <a:pt x="79287" y="53276"/>
                  <a:pt x="82219" y="105359"/>
                  <a:pt x="91265" y="157878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6" name="Free-form: Shape 25">
            <a:extLst>
              <a:ext uri="{FF2B5EF4-FFF2-40B4-BE49-F238E27FC236}">
                <a16:creationId xmlns:a16="http://schemas.microsoft.com/office/drawing/2014/main" id="{D10958F2-DF88-7B27-1E4B-DE6562961BF9}"/>
              </a:ext>
            </a:extLst>
          </p:cNvPr>
          <p:cNvSpPr/>
          <p:nvPr/>
        </p:nvSpPr>
        <p:spPr>
          <a:xfrm>
            <a:off x="9203952" y="5079360"/>
            <a:ext cx="200357" cy="39865"/>
          </a:xfrm>
          <a:custGeom>
            <a:avLst/>
            <a:gdLst>
              <a:gd name="csX0" fmla="*/ 199184 w 322677"/>
              <a:gd name="csY0" fmla="*/ 59136 h 64202"/>
              <a:gd name="csX1" fmla="*/ 0 w 322677"/>
              <a:gd name="csY1" fmla="*/ 62697 h 64202"/>
              <a:gd name="csX2" fmla="*/ 0 w 322677"/>
              <a:gd name="csY2" fmla="*/ 18400 h 64202"/>
              <a:gd name="csX3" fmla="*/ 10601 w 322677"/>
              <a:gd name="csY3" fmla="*/ 17750 h 64202"/>
              <a:gd name="csX4" fmla="*/ 156563 w 322677"/>
              <a:gd name="csY4" fmla="*/ 15074 h 64202"/>
              <a:gd name="csX5" fmla="*/ 266479 w 322677"/>
              <a:gd name="csY5" fmla="*/ 4814 h 64202"/>
              <a:gd name="csX6" fmla="*/ 296798 w 322677"/>
              <a:gd name="csY6" fmla="*/ 344 h 64202"/>
              <a:gd name="csX7" fmla="*/ 309983 w 322677"/>
              <a:gd name="csY7" fmla="*/ 6097 h 64202"/>
              <a:gd name="csX8" fmla="*/ 322678 w 322677"/>
              <a:gd name="csY8" fmla="*/ 40406 h 64202"/>
              <a:gd name="csX9" fmla="*/ 199184 w 322677"/>
              <a:gd name="csY9" fmla="*/ 59136 h 6420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322677" h="64202">
                <a:moveTo>
                  <a:pt x="199184" y="59136"/>
                </a:moveTo>
                <a:cubicBezTo>
                  <a:pt x="132374" y="65824"/>
                  <a:pt x="66629" y="64605"/>
                  <a:pt x="0" y="62697"/>
                </a:cubicBezTo>
                <a:cubicBezTo>
                  <a:pt x="0" y="47160"/>
                  <a:pt x="0" y="33409"/>
                  <a:pt x="0" y="18400"/>
                </a:cubicBezTo>
                <a:cubicBezTo>
                  <a:pt x="3587" y="18160"/>
                  <a:pt x="7120" y="17536"/>
                  <a:pt x="10601" y="17750"/>
                </a:cubicBezTo>
                <a:cubicBezTo>
                  <a:pt x="59329" y="20736"/>
                  <a:pt x="107987" y="18533"/>
                  <a:pt x="156563" y="15074"/>
                </a:cubicBezTo>
                <a:cubicBezTo>
                  <a:pt x="193260" y="12461"/>
                  <a:pt x="229860" y="8449"/>
                  <a:pt x="266479" y="4814"/>
                </a:cubicBezTo>
                <a:cubicBezTo>
                  <a:pt x="276635" y="3806"/>
                  <a:pt x="286748" y="2160"/>
                  <a:pt x="296798" y="344"/>
                </a:cubicBezTo>
                <a:cubicBezTo>
                  <a:pt x="302773" y="-735"/>
                  <a:pt x="306536" y="602"/>
                  <a:pt x="309983" y="6097"/>
                </a:cubicBezTo>
                <a:cubicBezTo>
                  <a:pt x="316405" y="16331"/>
                  <a:pt x="320231" y="27243"/>
                  <a:pt x="322678" y="40406"/>
                </a:cubicBezTo>
                <a:cubicBezTo>
                  <a:pt x="281944" y="49611"/>
                  <a:pt x="241309" y="55431"/>
                  <a:pt x="199184" y="59136"/>
                </a:cubicBezTo>
                <a:close/>
              </a:path>
            </a:pathLst>
          </a:custGeom>
          <a:solidFill>
            <a:schemeClr val="bg1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D749220-6073-26F8-B139-F907BBCFD895}"/>
              </a:ext>
            </a:extLst>
          </p:cNvPr>
          <p:cNvSpPr txBox="1"/>
          <p:nvPr/>
        </p:nvSpPr>
        <p:spPr>
          <a:xfrm>
            <a:off x="8752052" y="5294477"/>
            <a:ext cx="863983" cy="3927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(Tafa-Len)</a:t>
            </a: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37CCEDFA-67B0-49D2-46B1-94A87453DE98}"/>
              </a:ext>
            </a:extLst>
          </p:cNvPr>
          <p:cNvSpPr/>
          <p:nvPr/>
        </p:nvSpPr>
        <p:spPr>
          <a:xfrm>
            <a:off x="8768663" y="3318777"/>
            <a:ext cx="717698" cy="104135"/>
          </a:xfrm>
          <a:prstGeom prst="ellipse">
            <a:avLst/>
          </a:prstGeom>
          <a:solidFill>
            <a:schemeClr val="tx1">
              <a:alpha val="6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7" name="Free-form: Shape 46">
            <a:extLst>
              <a:ext uri="{FF2B5EF4-FFF2-40B4-BE49-F238E27FC236}">
                <a16:creationId xmlns:a16="http://schemas.microsoft.com/office/drawing/2014/main" id="{6CBFFA01-F79E-2562-848B-EC6647189F61}"/>
              </a:ext>
            </a:extLst>
          </p:cNvPr>
          <p:cNvSpPr/>
          <p:nvPr/>
        </p:nvSpPr>
        <p:spPr>
          <a:xfrm>
            <a:off x="8863707" y="2124893"/>
            <a:ext cx="634942" cy="1266262"/>
          </a:xfrm>
          <a:custGeom>
            <a:avLst/>
            <a:gdLst>
              <a:gd name="csX0" fmla="*/ 703087 w 763849"/>
              <a:gd name="csY0" fmla="*/ 1241174 h 1523340"/>
              <a:gd name="csX1" fmla="*/ 732932 w 763849"/>
              <a:gd name="csY1" fmla="*/ 1359634 h 1523340"/>
              <a:gd name="csX2" fmla="*/ 735544 w 763849"/>
              <a:gd name="csY2" fmla="*/ 1377287 h 1523340"/>
              <a:gd name="csX3" fmla="*/ 756764 w 763849"/>
              <a:gd name="csY3" fmla="*/ 1458577 h 1523340"/>
              <a:gd name="csX4" fmla="*/ 757108 w 763849"/>
              <a:gd name="csY4" fmla="*/ 1465940 h 1523340"/>
              <a:gd name="csX5" fmla="*/ 744215 w 763849"/>
              <a:gd name="csY5" fmla="*/ 1488332 h 1523340"/>
              <a:gd name="csX6" fmla="*/ 712781 w 763849"/>
              <a:gd name="csY6" fmla="*/ 1498472 h 1523340"/>
              <a:gd name="csX7" fmla="*/ 625540 w 763849"/>
              <a:gd name="csY7" fmla="*/ 1511981 h 1523340"/>
              <a:gd name="csX8" fmla="*/ 488540 w 763849"/>
              <a:gd name="csY8" fmla="*/ 1522029 h 1523340"/>
              <a:gd name="csX9" fmla="*/ 306789 w 763849"/>
              <a:gd name="csY9" fmla="*/ 1523231 h 1523340"/>
              <a:gd name="csX10" fmla="*/ 200103 w 763849"/>
              <a:gd name="csY10" fmla="*/ 1518579 h 1523340"/>
              <a:gd name="csX11" fmla="*/ 31607 w 763849"/>
              <a:gd name="csY11" fmla="*/ 1493880 h 1523340"/>
              <a:gd name="csX12" fmla="*/ 5860 w 763849"/>
              <a:gd name="csY12" fmla="*/ 1482933 h 1523340"/>
              <a:gd name="csX13" fmla="*/ 32 w 763849"/>
              <a:gd name="csY13" fmla="*/ 1471774 h 1523340"/>
              <a:gd name="csX14" fmla="*/ 21295 w 763849"/>
              <a:gd name="csY14" fmla="*/ 1378237 h 1523340"/>
              <a:gd name="csX15" fmla="*/ 23169 w 763849"/>
              <a:gd name="csY15" fmla="*/ 1364271 h 1523340"/>
              <a:gd name="csX16" fmla="*/ 23871 w 763849"/>
              <a:gd name="csY16" fmla="*/ 1303132 h 1523340"/>
              <a:gd name="csX17" fmla="*/ 59740 w 763849"/>
              <a:gd name="csY17" fmla="*/ 1234649 h 1523340"/>
              <a:gd name="csX18" fmla="*/ 98899 w 763849"/>
              <a:gd name="csY18" fmla="*/ 1195619 h 1523340"/>
              <a:gd name="csX19" fmla="*/ 131493 w 763849"/>
              <a:gd name="csY19" fmla="*/ 1127593 h 1523340"/>
              <a:gd name="csX20" fmla="*/ 108213 w 763849"/>
              <a:gd name="csY20" fmla="*/ 1058723 h 1523340"/>
              <a:gd name="csX21" fmla="*/ 74370 w 763849"/>
              <a:gd name="csY21" fmla="*/ 1024929 h 1523340"/>
              <a:gd name="csX22" fmla="*/ 68137 w 763849"/>
              <a:gd name="csY22" fmla="*/ 987550 h 1523340"/>
              <a:gd name="csX23" fmla="*/ 86420 w 763849"/>
              <a:gd name="csY23" fmla="*/ 941991 h 1523340"/>
              <a:gd name="csX24" fmla="*/ 97082 w 763849"/>
              <a:gd name="csY24" fmla="*/ 828037 h 1523340"/>
              <a:gd name="csX25" fmla="*/ 61782 w 763849"/>
              <a:gd name="csY25" fmla="*/ 696973 h 1523340"/>
              <a:gd name="csX26" fmla="*/ 26901 w 763849"/>
              <a:gd name="csY26" fmla="*/ 547868 h 1523340"/>
              <a:gd name="csX27" fmla="*/ 20221 w 763849"/>
              <a:gd name="csY27" fmla="*/ 479529 h 1523340"/>
              <a:gd name="csX28" fmla="*/ 40808 w 763849"/>
              <a:gd name="csY28" fmla="*/ 334388 h 1523340"/>
              <a:gd name="csX29" fmla="*/ 65171 w 763849"/>
              <a:gd name="csY29" fmla="*/ 263707 h 1523340"/>
              <a:gd name="csX30" fmla="*/ 142827 w 763849"/>
              <a:gd name="csY30" fmla="*/ 171003 h 1523340"/>
              <a:gd name="csX31" fmla="*/ 172290 w 763849"/>
              <a:gd name="csY31" fmla="*/ 155872 h 1523340"/>
              <a:gd name="csX32" fmla="*/ 189008 w 763849"/>
              <a:gd name="csY32" fmla="*/ 148158 h 1523340"/>
              <a:gd name="csX33" fmla="*/ 212828 w 763849"/>
              <a:gd name="csY33" fmla="*/ 126123 h 1523340"/>
              <a:gd name="csX34" fmla="*/ 217217 w 763849"/>
              <a:gd name="csY34" fmla="*/ 118740 h 1523340"/>
              <a:gd name="csX35" fmla="*/ 253000 w 763849"/>
              <a:gd name="csY35" fmla="*/ 88998 h 1523340"/>
              <a:gd name="csX36" fmla="*/ 322085 w 763849"/>
              <a:gd name="csY36" fmla="*/ 72193 h 1523340"/>
              <a:gd name="csX37" fmla="*/ 330478 w 763849"/>
              <a:gd name="csY37" fmla="*/ 70387 h 1523340"/>
              <a:gd name="csX38" fmla="*/ 388016 w 763849"/>
              <a:gd name="csY38" fmla="*/ 35457 h 1523340"/>
              <a:gd name="csX39" fmla="*/ 421527 w 763849"/>
              <a:gd name="csY39" fmla="*/ 0 h 1523340"/>
              <a:gd name="csX40" fmla="*/ 424538 w 763849"/>
              <a:gd name="csY40" fmla="*/ 10833 h 1523340"/>
              <a:gd name="csX41" fmla="*/ 436339 w 763849"/>
              <a:gd name="csY41" fmla="*/ 121836 h 1523340"/>
              <a:gd name="csX42" fmla="*/ 449983 w 763849"/>
              <a:gd name="csY42" fmla="*/ 141450 h 1523340"/>
              <a:gd name="csX43" fmla="*/ 503299 w 763849"/>
              <a:gd name="csY43" fmla="*/ 169290 h 1523340"/>
              <a:gd name="csX44" fmla="*/ 551461 w 763849"/>
              <a:gd name="csY44" fmla="*/ 203111 h 1523340"/>
              <a:gd name="csX45" fmla="*/ 588803 w 763849"/>
              <a:gd name="csY45" fmla="*/ 252797 h 1523340"/>
              <a:gd name="csX46" fmla="*/ 634209 w 763849"/>
              <a:gd name="csY46" fmla="*/ 327081 h 1523340"/>
              <a:gd name="csX47" fmla="*/ 697923 w 763849"/>
              <a:gd name="csY47" fmla="*/ 384157 h 1523340"/>
              <a:gd name="csX48" fmla="*/ 729658 w 763849"/>
              <a:gd name="csY48" fmla="*/ 407288 h 1523340"/>
              <a:gd name="csX49" fmla="*/ 763354 w 763849"/>
              <a:gd name="csY49" fmla="*/ 471325 h 1523340"/>
              <a:gd name="csX50" fmla="*/ 757092 w 763849"/>
              <a:gd name="csY50" fmla="*/ 527116 h 1523340"/>
              <a:gd name="csX51" fmla="*/ 720673 w 763849"/>
              <a:gd name="csY51" fmla="*/ 570023 h 1523340"/>
              <a:gd name="csX52" fmla="*/ 704918 w 763849"/>
              <a:gd name="csY52" fmla="*/ 581294 h 1523340"/>
              <a:gd name="csX53" fmla="*/ 671960 w 763849"/>
              <a:gd name="csY53" fmla="*/ 595325 h 1523340"/>
              <a:gd name="csX54" fmla="*/ 633021 w 763849"/>
              <a:gd name="csY54" fmla="*/ 591397 h 1523340"/>
              <a:gd name="csX55" fmla="*/ 580696 w 763849"/>
              <a:gd name="csY55" fmla="*/ 556742 h 1523340"/>
              <a:gd name="csX56" fmla="*/ 545415 w 763849"/>
              <a:gd name="csY56" fmla="*/ 524617 h 1523340"/>
              <a:gd name="csX57" fmla="*/ 518889 w 763849"/>
              <a:gd name="csY57" fmla="*/ 516179 h 1523340"/>
              <a:gd name="csX58" fmla="*/ 472309 w 763849"/>
              <a:gd name="csY58" fmla="*/ 517812 h 1523340"/>
              <a:gd name="csX59" fmla="*/ 415953 w 763849"/>
              <a:gd name="csY59" fmla="*/ 517245 h 1523340"/>
              <a:gd name="csX60" fmla="*/ 403392 w 763849"/>
              <a:gd name="csY60" fmla="*/ 516539 h 1523340"/>
              <a:gd name="csX61" fmla="*/ 407957 w 763849"/>
              <a:gd name="csY61" fmla="*/ 542045 h 1523340"/>
              <a:gd name="csX62" fmla="*/ 434134 w 763849"/>
              <a:gd name="csY62" fmla="*/ 583349 h 1523340"/>
              <a:gd name="csX63" fmla="*/ 524267 w 763849"/>
              <a:gd name="csY63" fmla="*/ 683922 h 1523340"/>
              <a:gd name="csX64" fmla="*/ 614317 w 763849"/>
              <a:gd name="csY64" fmla="*/ 786085 h 1523340"/>
              <a:gd name="csX65" fmla="*/ 669590 w 763849"/>
              <a:gd name="csY65" fmla="*/ 921089 h 1523340"/>
              <a:gd name="csX66" fmla="*/ 647360 w 763849"/>
              <a:gd name="csY66" fmla="*/ 1057245 h 1523340"/>
              <a:gd name="csX67" fmla="*/ 627872 w 763849"/>
              <a:gd name="csY67" fmla="*/ 1102111 h 1523340"/>
              <a:gd name="csX68" fmla="*/ 642300 w 763849"/>
              <a:gd name="csY68" fmla="*/ 1175941 h 1523340"/>
              <a:gd name="csX69" fmla="*/ 668829 w 763849"/>
              <a:gd name="csY69" fmla="*/ 1206449 h 1523340"/>
              <a:gd name="csX70" fmla="*/ 703087 w 763849"/>
              <a:gd name="csY70" fmla="*/ 1241174 h 1523340"/>
              <a:gd name="csX71" fmla="*/ 648750 w 763849"/>
              <a:gd name="csY71" fmla="*/ 562343 h 1523340"/>
              <a:gd name="csX72" fmla="*/ 674049 w 763849"/>
              <a:gd name="csY72" fmla="*/ 562834 h 1523340"/>
              <a:gd name="csX73" fmla="*/ 660781 w 763849"/>
              <a:gd name="csY73" fmla="*/ 550178 h 1523340"/>
              <a:gd name="csX74" fmla="*/ 650911 w 763849"/>
              <a:gd name="csY74" fmla="*/ 534051 h 1523340"/>
              <a:gd name="csX75" fmla="*/ 660724 w 763849"/>
              <a:gd name="csY75" fmla="*/ 537605 h 1523340"/>
              <a:gd name="csX76" fmla="*/ 688133 w 763849"/>
              <a:gd name="csY76" fmla="*/ 543363 h 1523340"/>
              <a:gd name="csX77" fmla="*/ 731514 w 763849"/>
              <a:gd name="csY77" fmla="*/ 510767 h 1523340"/>
              <a:gd name="csX78" fmla="*/ 733611 w 763849"/>
              <a:gd name="csY78" fmla="*/ 466905 h 1523340"/>
              <a:gd name="csX79" fmla="*/ 708076 w 763849"/>
              <a:gd name="csY79" fmla="*/ 425975 h 1523340"/>
              <a:gd name="csX80" fmla="*/ 667538 w 763849"/>
              <a:gd name="csY80" fmla="*/ 398254 h 1523340"/>
              <a:gd name="csX81" fmla="*/ 601016 w 763849"/>
              <a:gd name="csY81" fmla="*/ 332127 h 1523340"/>
              <a:gd name="csX82" fmla="*/ 565354 w 763849"/>
              <a:gd name="csY82" fmla="*/ 270526 h 1523340"/>
              <a:gd name="csX83" fmla="*/ 490657 w 763849"/>
              <a:gd name="csY83" fmla="*/ 195121 h 1523340"/>
              <a:gd name="csX84" fmla="*/ 432834 w 763849"/>
              <a:gd name="csY84" fmla="*/ 165243 h 1523340"/>
              <a:gd name="csX85" fmla="*/ 407594 w 763849"/>
              <a:gd name="csY85" fmla="*/ 127852 h 1523340"/>
              <a:gd name="csX86" fmla="*/ 405020 w 763849"/>
              <a:gd name="csY86" fmla="*/ 69029 h 1523340"/>
              <a:gd name="csX87" fmla="*/ 403638 w 763849"/>
              <a:gd name="csY87" fmla="*/ 58130 h 1523340"/>
              <a:gd name="csX88" fmla="*/ 349776 w 763849"/>
              <a:gd name="csY88" fmla="*/ 133259 h 1523340"/>
              <a:gd name="csX89" fmla="*/ 326975 w 763849"/>
              <a:gd name="csY89" fmla="*/ 159669 h 1523340"/>
              <a:gd name="csX90" fmla="*/ 240374 w 763849"/>
              <a:gd name="csY90" fmla="*/ 221714 h 1523340"/>
              <a:gd name="csX91" fmla="*/ 171637 w 763849"/>
              <a:gd name="csY91" fmla="*/ 309087 h 1523340"/>
              <a:gd name="csX92" fmla="*/ 138048 w 763849"/>
              <a:gd name="csY92" fmla="*/ 516954 h 1523340"/>
              <a:gd name="csX93" fmla="*/ 163889 w 763849"/>
              <a:gd name="csY93" fmla="*/ 641780 h 1523340"/>
              <a:gd name="csX94" fmla="*/ 204800 w 763849"/>
              <a:gd name="csY94" fmla="*/ 787055 h 1523340"/>
              <a:gd name="csX95" fmla="*/ 218549 w 763849"/>
              <a:gd name="csY95" fmla="*/ 949545 h 1523340"/>
              <a:gd name="csX96" fmla="*/ 191487 w 763849"/>
              <a:gd name="csY96" fmla="*/ 1033064 h 1523340"/>
              <a:gd name="csX97" fmla="*/ 188729 w 763849"/>
              <a:gd name="csY97" fmla="*/ 1039835 h 1523340"/>
              <a:gd name="csX98" fmla="*/ 221417 w 763849"/>
              <a:gd name="csY98" fmla="*/ 1040799 h 1523340"/>
              <a:gd name="csX99" fmla="*/ 348895 w 763849"/>
              <a:gd name="csY99" fmla="*/ 1046759 h 1523340"/>
              <a:gd name="csX100" fmla="*/ 545369 w 763849"/>
              <a:gd name="csY100" fmla="*/ 1044456 h 1523340"/>
              <a:gd name="csX101" fmla="*/ 612424 w 763849"/>
              <a:gd name="csY101" fmla="*/ 1037365 h 1523340"/>
              <a:gd name="csX102" fmla="*/ 623169 w 763849"/>
              <a:gd name="csY102" fmla="*/ 1028873 h 1523340"/>
              <a:gd name="csX103" fmla="*/ 638508 w 763849"/>
              <a:gd name="csY103" fmla="*/ 959599 h 1523340"/>
              <a:gd name="csX104" fmla="*/ 609213 w 763849"/>
              <a:gd name="csY104" fmla="*/ 842075 h 1523340"/>
              <a:gd name="csX105" fmla="*/ 529367 w 763849"/>
              <a:gd name="csY105" fmla="*/ 735065 h 1523340"/>
              <a:gd name="csX106" fmla="*/ 403792 w 763849"/>
              <a:gd name="csY106" fmla="*/ 596993 h 1523340"/>
              <a:gd name="csX107" fmla="*/ 344708 w 763849"/>
              <a:gd name="csY107" fmla="*/ 511366 h 1523340"/>
              <a:gd name="csX108" fmla="*/ 324464 w 763849"/>
              <a:gd name="csY108" fmla="*/ 380084 h 1523340"/>
              <a:gd name="csX109" fmla="*/ 327688 w 763849"/>
              <a:gd name="csY109" fmla="*/ 373535 h 1523340"/>
              <a:gd name="csX110" fmla="*/ 330334 w 763849"/>
              <a:gd name="csY110" fmla="*/ 373641 h 1523340"/>
              <a:gd name="csX111" fmla="*/ 334272 w 763849"/>
              <a:gd name="csY111" fmla="*/ 384645 h 1523340"/>
              <a:gd name="csX112" fmla="*/ 365260 w 763849"/>
              <a:gd name="csY112" fmla="*/ 453955 h 1523340"/>
              <a:gd name="csX113" fmla="*/ 408246 w 763849"/>
              <a:gd name="csY113" fmla="*/ 483592 h 1523340"/>
              <a:gd name="csX114" fmla="*/ 464529 w 763849"/>
              <a:gd name="csY114" fmla="*/ 486187 h 1523340"/>
              <a:gd name="csX115" fmla="*/ 511119 w 763849"/>
              <a:gd name="csY115" fmla="*/ 484308 h 1523340"/>
              <a:gd name="csX116" fmla="*/ 567913 w 763849"/>
              <a:gd name="csY116" fmla="*/ 503736 h 1523340"/>
              <a:gd name="csX117" fmla="*/ 607611 w 763849"/>
              <a:gd name="csY117" fmla="*/ 540326 h 1523340"/>
              <a:gd name="csX118" fmla="*/ 648750 w 763849"/>
              <a:gd name="csY118" fmla="*/ 562343 h 1523340"/>
              <a:gd name="csX119" fmla="*/ 462594 w 763849"/>
              <a:gd name="csY119" fmla="*/ 1369008 h 1523340"/>
              <a:gd name="csX120" fmla="*/ 510357 w 763849"/>
              <a:gd name="csY120" fmla="*/ 1366345 h 1523340"/>
              <a:gd name="csX121" fmla="*/ 549434 w 763849"/>
              <a:gd name="csY121" fmla="*/ 1362956 h 1523340"/>
              <a:gd name="csX122" fmla="*/ 632369 w 763849"/>
              <a:gd name="csY122" fmla="*/ 1354439 h 1523340"/>
              <a:gd name="csX123" fmla="*/ 697252 w 763849"/>
              <a:gd name="csY123" fmla="*/ 1346424 h 1523340"/>
              <a:gd name="csX124" fmla="*/ 676674 w 763849"/>
              <a:gd name="csY124" fmla="*/ 1266396 h 1523340"/>
              <a:gd name="csX125" fmla="*/ 646594 w 763849"/>
              <a:gd name="csY125" fmla="*/ 1234108 h 1523340"/>
              <a:gd name="csX126" fmla="*/ 612063 w 763849"/>
              <a:gd name="csY126" fmla="*/ 1194382 h 1523340"/>
              <a:gd name="csX127" fmla="*/ 591616 w 763849"/>
              <a:gd name="csY127" fmla="*/ 1111541 h 1523340"/>
              <a:gd name="csX128" fmla="*/ 594320 w 763849"/>
              <a:gd name="csY128" fmla="*/ 1089609 h 1523340"/>
              <a:gd name="csX129" fmla="*/ 578634 w 763849"/>
              <a:gd name="csY129" fmla="*/ 1089642 h 1523340"/>
              <a:gd name="csX130" fmla="*/ 443931 w 763849"/>
              <a:gd name="csY130" fmla="*/ 1096700 h 1523340"/>
              <a:gd name="csX131" fmla="*/ 403417 w 763849"/>
              <a:gd name="csY131" fmla="*/ 1097156 h 1523340"/>
              <a:gd name="csX132" fmla="*/ 388348 w 763849"/>
              <a:gd name="csY132" fmla="*/ 1111502 h 1523340"/>
              <a:gd name="csX133" fmla="*/ 385048 w 763849"/>
              <a:gd name="csY133" fmla="*/ 1176431 h 1523340"/>
              <a:gd name="csX134" fmla="*/ 377687 w 763849"/>
              <a:gd name="csY134" fmla="*/ 1308672 h 1523340"/>
              <a:gd name="csX135" fmla="*/ 376823 w 763849"/>
              <a:gd name="csY135" fmla="*/ 1320897 h 1523340"/>
              <a:gd name="csX136" fmla="*/ 376781 w 763849"/>
              <a:gd name="csY136" fmla="*/ 1366151 h 1523340"/>
              <a:gd name="csX137" fmla="*/ 462594 w 763849"/>
              <a:gd name="csY137" fmla="*/ 1369008 h 1523340"/>
              <a:gd name="csX138" fmla="*/ 648494 w 763849"/>
              <a:gd name="csY138" fmla="*/ 1463981 h 1523340"/>
              <a:gd name="csX139" fmla="*/ 718746 w 763849"/>
              <a:gd name="csY139" fmla="*/ 1451892 h 1523340"/>
              <a:gd name="csX140" fmla="*/ 711827 w 763849"/>
              <a:gd name="csY140" fmla="*/ 1416835 h 1523340"/>
              <a:gd name="csX141" fmla="*/ 685812 w 763849"/>
              <a:gd name="csY141" fmla="*/ 1398502 h 1523340"/>
              <a:gd name="csX142" fmla="*/ 680924 w 763849"/>
              <a:gd name="csY142" fmla="*/ 1398973 h 1523340"/>
              <a:gd name="csX143" fmla="*/ 598278 w 763849"/>
              <a:gd name="csY143" fmla="*/ 1409218 h 1523340"/>
              <a:gd name="csX144" fmla="*/ 474765 w 763849"/>
              <a:gd name="csY144" fmla="*/ 1417945 h 1523340"/>
              <a:gd name="csX145" fmla="*/ 385143 w 763849"/>
              <a:gd name="csY145" fmla="*/ 1418978 h 1523340"/>
              <a:gd name="csX146" fmla="*/ 376639 w 763849"/>
              <a:gd name="csY146" fmla="*/ 1419613 h 1523340"/>
              <a:gd name="csX147" fmla="*/ 376639 w 763849"/>
              <a:gd name="csY147" fmla="*/ 1473939 h 1523340"/>
              <a:gd name="csX148" fmla="*/ 382089 w 763849"/>
              <a:gd name="csY148" fmla="*/ 1474854 h 1523340"/>
              <a:gd name="csX149" fmla="*/ 449536 w 763849"/>
              <a:gd name="csY149" fmla="*/ 1476855 h 1523340"/>
              <a:gd name="csX150" fmla="*/ 559930 w 763849"/>
              <a:gd name="csY150" fmla="*/ 1474307 h 1523340"/>
              <a:gd name="csX151" fmla="*/ 648494 w 763849"/>
              <a:gd name="csY151" fmla="*/ 1463981 h 152334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</a:cxnLst>
            <a:rect l="l" t="t" r="r" b="b"/>
            <a:pathLst>
              <a:path w="763849" h="1523340">
                <a:moveTo>
                  <a:pt x="703087" y="1241174"/>
                </a:moveTo>
                <a:cubicBezTo>
                  <a:pt x="732418" y="1276379"/>
                  <a:pt x="738825" y="1316526"/>
                  <a:pt x="732932" y="1359634"/>
                </a:cubicBezTo>
                <a:cubicBezTo>
                  <a:pt x="732067" y="1365959"/>
                  <a:pt x="732453" y="1371428"/>
                  <a:pt x="735544" y="1377287"/>
                </a:cubicBezTo>
                <a:cubicBezTo>
                  <a:pt x="748937" y="1402675"/>
                  <a:pt x="755318" y="1430010"/>
                  <a:pt x="756764" y="1458577"/>
                </a:cubicBezTo>
                <a:cubicBezTo>
                  <a:pt x="756887" y="1461031"/>
                  <a:pt x="756895" y="1463494"/>
                  <a:pt x="757108" y="1465940"/>
                </a:cubicBezTo>
                <a:cubicBezTo>
                  <a:pt x="758375" y="1480486"/>
                  <a:pt x="757802" y="1482498"/>
                  <a:pt x="744215" y="1488332"/>
                </a:cubicBezTo>
                <a:cubicBezTo>
                  <a:pt x="734126" y="1492664"/>
                  <a:pt x="723536" y="1496562"/>
                  <a:pt x="712781" y="1498472"/>
                </a:cubicBezTo>
                <a:cubicBezTo>
                  <a:pt x="683814" y="1503617"/>
                  <a:pt x="654674" y="1507832"/>
                  <a:pt x="625540" y="1511981"/>
                </a:cubicBezTo>
                <a:cubicBezTo>
                  <a:pt x="580114" y="1518449"/>
                  <a:pt x="534395" y="1521481"/>
                  <a:pt x="488540" y="1522029"/>
                </a:cubicBezTo>
                <a:cubicBezTo>
                  <a:pt x="427958" y="1522752"/>
                  <a:pt x="367367" y="1523658"/>
                  <a:pt x="306789" y="1523231"/>
                </a:cubicBezTo>
                <a:cubicBezTo>
                  <a:pt x="271215" y="1522980"/>
                  <a:pt x="235625" y="1520833"/>
                  <a:pt x="200103" y="1518579"/>
                </a:cubicBezTo>
                <a:cubicBezTo>
                  <a:pt x="143289" y="1514974"/>
                  <a:pt x="86915" y="1507766"/>
                  <a:pt x="31607" y="1493880"/>
                </a:cubicBezTo>
                <a:cubicBezTo>
                  <a:pt x="22666" y="1491635"/>
                  <a:pt x="14297" y="1486920"/>
                  <a:pt x="5860" y="1482933"/>
                </a:cubicBezTo>
                <a:cubicBezTo>
                  <a:pt x="1433" y="1480841"/>
                  <a:pt x="-262" y="1476934"/>
                  <a:pt x="32" y="1471774"/>
                </a:cubicBezTo>
                <a:cubicBezTo>
                  <a:pt x="1880" y="1439401"/>
                  <a:pt x="3993" y="1407192"/>
                  <a:pt x="21295" y="1378237"/>
                </a:cubicBezTo>
                <a:cubicBezTo>
                  <a:pt x="23526" y="1374504"/>
                  <a:pt x="23666" y="1368858"/>
                  <a:pt x="23169" y="1364271"/>
                </a:cubicBezTo>
                <a:cubicBezTo>
                  <a:pt x="20957" y="1343833"/>
                  <a:pt x="20482" y="1323540"/>
                  <a:pt x="23871" y="1303132"/>
                </a:cubicBezTo>
                <a:cubicBezTo>
                  <a:pt x="28332" y="1276267"/>
                  <a:pt x="41045" y="1253887"/>
                  <a:pt x="59740" y="1234649"/>
                </a:cubicBezTo>
                <a:cubicBezTo>
                  <a:pt x="72582" y="1221434"/>
                  <a:pt x="85657" y="1208434"/>
                  <a:pt x="98899" y="1195619"/>
                </a:cubicBezTo>
                <a:cubicBezTo>
                  <a:pt x="118216" y="1176926"/>
                  <a:pt x="130484" y="1154702"/>
                  <a:pt x="131493" y="1127593"/>
                </a:cubicBezTo>
                <a:cubicBezTo>
                  <a:pt x="132448" y="1101948"/>
                  <a:pt x="127125" y="1077868"/>
                  <a:pt x="108213" y="1058723"/>
                </a:cubicBezTo>
                <a:cubicBezTo>
                  <a:pt x="97010" y="1047381"/>
                  <a:pt x="85438" y="1036399"/>
                  <a:pt x="74370" y="1024929"/>
                </a:cubicBezTo>
                <a:cubicBezTo>
                  <a:pt x="63868" y="1014043"/>
                  <a:pt x="62267" y="1001475"/>
                  <a:pt x="68137" y="987550"/>
                </a:cubicBezTo>
                <a:cubicBezTo>
                  <a:pt x="74493" y="972473"/>
                  <a:pt x="80703" y="957319"/>
                  <a:pt x="86420" y="941991"/>
                </a:cubicBezTo>
                <a:cubicBezTo>
                  <a:pt x="100218" y="905001"/>
                  <a:pt x="99441" y="866690"/>
                  <a:pt x="97082" y="828037"/>
                </a:cubicBezTo>
                <a:cubicBezTo>
                  <a:pt x="94260" y="781809"/>
                  <a:pt x="76370" y="739899"/>
                  <a:pt x="61782" y="696973"/>
                </a:cubicBezTo>
                <a:cubicBezTo>
                  <a:pt x="45282" y="648419"/>
                  <a:pt x="33285" y="598770"/>
                  <a:pt x="26901" y="547868"/>
                </a:cubicBezTo>
                <a:cubicBezTo>
                  <a:pt x="24054" y="525160"/>
                  <a:pt x="21110" y="502364"/>
                  <a:pt x="20221" y="479529"/>
                </a:cubicBezTo>
                <a:cubicBezTo>
                  <a:pt x="18293" y="430013"/>
                  <a:pt x="26126" y="381610"/>
                  <a:pt x="40808" y="334388"/>
                </a:cubicBezTo>
                <a:cubicBezTo>
                  <a:pt x="48208" y="310588"/>
                  <a:pt x="55162" y="286441"/>
                  <a:pt x="65171" y="263707"/>
                </a:cubicBezTo>
                <a:cubicBezTo>
                  <a:pt x="81946" y="225606"/>
                  <a:pt x="106517" y="193071"/>
                  <a:pt x="142827" y="171003"/>
                </a:cubicBezTo>
                <a:cubicBezTo>
                  <a:pt x="152238" y="165283"/>
                  <a:pt x="162401" y="160787"/>
                  <a:pt x="172290" y="155872"/>
                </a:cubicBezTo>
                <a:cubicBezTo>
                  <a:pt x="177784" y="153142"/>
                  <a:pt x="183393" y="150635"/>
                  <a:pt x="189008" y="148158"/>
                </a:cubicBezTo>
                <a:cubicBezTo>
                  <a:pt x="199487" y="143534"/>
                  <a:pt x="207598" y="136426"/>
                  <a:pt x="212828" y="126123"/>
                </a:cubicBezTo>
                <a:cubicBezTo>
                  <a:pt x="214121" y="123575"/>
                  <a:pt x="215966" y="121304"/>
                  <a:pt x="217217" y="118740"/>
                </a:cubicBezTo>
                <a:cubicBezTo>
                  <a:pt x="224688" y="103433"/>
                  <a:pt x="237053" y="93440"/>
                  <a:pt x="253000" y="88998"/>
                </a:cubicBezTo>
                <a:cubicBezTo>
                  <a:pt x="275818" y="82642"/>
                  <a:pt x="299033" y="77711"/>
                  <a:pt x="322085" y="72193"/>
                </a:cubicBezTo>
                <a:cubicBezTo>
                  <a:pt x="324867" y="71527"/>
                  <a:pt x="327694" y="71045"/>
                  <a:pt x="330478" y="70387"/>
                </a:cubicBezTo>
                <a:cubicBezTo>
                  <a:pt x="364731" y="62297"/>
                  <a:pt x="364569" y="62151"/>
                  <a:pt x="388016" y="35457"/>
                </a:cubicBezTo>
                <a:cubicBezTo>
                  <a:pt x="398189" y="23875"/>
                  <a:pt x="409180" y="13010"/>
                  <a:pt x="421527" y="0"/>
                </a:cubicBezTo>
                <a:cubicBezTo>
                  <a:pt x="423000" y="5190"/>
                  <a:pt x="424219" y="7961"/>
                  <a:pt x="424538" y="10833"/>
                </a:cubicBezTo>
                <a:cubicBezTo>
                  <a:pt x="428638" y="47817"/>
                  <a:pt x="433030" y="84779"/>
                  <a:pt x="436339" y="121836"/>
                </a:cubicBezTo>
                <a:cubicBezTo>
                  <a:pt x="437236" y="131893"/>
                  <a:pt x="441545" y="137271"/>
                  <a:pt x="449983" y="141450"/>
                </a:cubicBezTo>
                <a:cubicBezTo>
                  <a:pt x="467954" y="150348"/>
                  <a:pt x="486187" y="158915"/>
                  <a:pt x="503299" y="169290"/>
                </a:cubicBezTo>
                <a:cubicBezTo>
                  <a:pt x="520041" y="179441"/>
                  <a:pt x="535883" y="191197"/>
                  <a:pt x="551461" y="203111"/>
                </a:cubicBezTo>
                <a:cubicBezTo>
                  <a:pt x="568416" y="216079"/>
                  <a:pt x="579195" y="234146"/>
                  <a:pt x="588803" y="252797"/>
                </a:cubicBezTo>
                <a:cubicBezTo>
                  <a:pt x="602134" y="278677"/>
                  <a:pt x="616556" y="303835"/>
                  <a:pt x="634209" y="327081"/>
                </a:cubicBezTo>
                <a:cubicBezTo>
                  <a:pt x="651797" y="350241"/>
                  <a:pt x="673980" y="368103"/>
                  <a:pt x="697923" y="384157"/>
                </a:cubicBezTo>
                <a:cubicBezTo>
                  <a:pt x="708787" y="391441"/>
                  <a:pt x="719007" y="399678"/>
                  <a:pt x="729658" y="407288"/>
                </a:cubicBezTo>
                <a:cubicBezTo>
                  <a:pt x="751657" y="423004"/>
                  <a:pt x="761259" y="445265"/>
                  <a:pt x="763354" y="471325"/>
                </a:cubicBezTo>
                <a:cubicBezTo>
                  <a:pt x="764877" y="490275"/>
                  <a:pt x="762919" y="509064"/>
                  <a:pt x="757092" y="527116"/>
                </a:cubicBezTo>
                <a:cubicBezTo>
                  <a:pt x="750932" y="546198"/>
                  <a:pt x="738296" y="560266"/>
                  <a:pt x="720673" y="570023"/>
                </a:cubicBezTo>
                <a:cubicBezTo>
                  <a:pt x="715048" y="573138"/>
                  <a:pt x="709487" y="576825"/>
                  <a:pt x="704918" y="581294"/>
                </a:cubicBezTo>
                <a:cubicBezTo>
                  <a:pt x="695625" y="590383"/>
                  <a:pt x="684728" y="595697"/>
                  <a:pt x="671960" y="595325"/>
                </a:cubicBezTo>
                <a:cubicBezTo>
                  <a:pt x="658939" y="594945"/>
                  <a:pt x="645743" y="594018"/>
                  <a:pt x="633021" y="591397"/>
                </a:cubicBezTo>
                <a:cubicBezTo>
                  <a:pt x="611233" y="586907"/>
                  <a:pt x="595034" y="572939"/>
                  <a:pt x="580696" y="556742"/>
                </a:cubicBezTo>
                <a:cubicBezTo>
                  <a:pt x="570081" y="544750"/>
                  <a:pt x="559052" y="533306"/>
                  <a:pt x="545415" y="524617"/>
                </a:cubicBezTo>
                <a:cubicBezTo>
                  <a:pt x="537261" y="519422"/>
                  <a:pt x="528551" y="515996"/>
                  <a:pt x="518889" y="516179"/>
                </a:cubicBezTo>
                <a:cubicBezTo>
                  <a:pt x="503357" y="516473"/>
                  <a:pt x="487839" y="517663"/>
                  <a:pt x="472309" y="517812"/>
                </a:cubicBezTo>
                <a:cubicBezTo>
                  <a:pt x="453527" y="517993"/>
                  <a:pt x="434738" y="517514"/>
                  <a:pt x="415953" y="517245"/>
                </a:cubicBezTo>
                <a:cubicBezTo>
                  <a:pt x="411976" y="517189"/>
                  <a:pt x="408003" y="516808"/>
                  <a:pt x="403392" y="516539"/>
                </a:cubicBezTo>
                <a:cubicBezTo>
                  <a:pt x="401207" y="526363"/>
                  <a:pt x="404857" y="534293"/>
                  <a:pt x="407957" y="542045"/>
                </a:cubicBezTo>
                <a:cubicBezTo>
                  <a:pt x="414092" y="557387"/>
                  <a:pt x="423168" y="571042"/>
                  <a:pt x="434134" y="583349"/>
                </a:cubicBezTo>
                <a:cubicBezTo>
                  <a:pt x="464083" y="616959"/>
                  <a:pt x="493980" y="650618"/>
                  <a:pt x="524267" y="683922"/>
                </a:cubicBezTo>
                <a:cubicBezTo>
                  <a:pt x="554818" y="717518"/>
                  <a:pt x="588291" y="748619"/>
                  <a:pt x="614317" y="786085"/>
                </a:cubicBezTo>
                <a:cubicBezTo>
                  <a:pt x="642656" y="826881"/>
                  <a:pt x="663974" y="871159"/>
                  <a:pt x="669590" y="921089"/>
                </a:cubicBezTo>
                <a:cubicBezTo>
                  <a:pt x="674894" y="968240"/>
                  <a:pt x="669774" y="1014226"/>
                  <a:pt x="647360" y="1057245"/>
                </a:cubicBezTo>
                <a:cubicBezTo>
                  <a:pt x="639830" y="1071697"/>
                  <a:pt x="630533" y="1085565"/>
                  <a:pt x="627872" y="1102111"/>
                </a:cubicBezTo>
                <a:cubicBezTo>
                  <a:pt x="623640" y="1128439"/>
                  <a:pt x="626183" y="1153784"/>
                  <a:pt x="642300" y="1175941"/>
                </a:cubicBezTo>
                <a:cubicBezTo>
                  <a:pt x="650201" y="1186801"/>
                  <a:pt x="659595" y="1196636"/>
                  <a:pt x="668829" y="1206449"/>
                </a:cubicBezTo>
                <a:cubicBezTo>
                  <a:pt x="679770" y="1218075"/>
                  <a:pt x="691267" y="1229177"/>
                  <a:pt x="703087" y="1241174"/>
                </a:cubicBezTo>
                <a:moveTo>
                  <a:pt x="648750" y="562343"/>
                </a:moveTo>
                <a:cubicBezTo>
                  <a:pt x="656729" y="562558"/>
                  <a:pt x="664698" y="567407"/>
                  <a:pt x="674049" y="562834"/>
                </a:cubicBezTo>
                <a:cubicBezTo>
                  <a:pt x="668990" y="558037"/>
                  <a:pt x="664729" y="554259"/>
                  <a:pt x="660781" y="550178"/>
                </a:cubicBezTo>
                <a:cubicBezTo>
                  <a:pt x="656713" y="545973"/>
                  <a:pt x="651493" y="542363"/>
                  <a:pt x="650911" y="534051"/>
                </a:cubicBezTo>
                <a:cubicBezTo>
                  <a:pt x="654940" y="535536"/>
                  <a:pt x="657753" y="536907"/>
                  <a:pt x="660724" y="537605"/>
                </a:cubicBezTo>
                <a:cubicBezTo>
                  <a:pt x="669824" y="539743"/>
                  <a:pt x="678915" y="542853"/>
                  <a:pt x="688133" y="543363"/>
                </a:cubicBezTo>
                <a:cubicBezTo>
                  <a:pt x="712019" y="544686"/>
                  <a:pt x="726964" y="534053"/>
                  <a:pt x="731514" y="510767"/>
                </a:cubicBezTo>
                <a:cubicBezTo>
                  <a:pt x="734296" y="496535"/>
                  <a:pt x="734146" y="481511"/>
                  <a:pt x="733611" y="466905"/>
                </a:cubicBezTo>
                <a:cubicBezTo>
                  <a:pt x="732951" y="448863"/>
                  <a:pt x="723348" y="435653"/>
                  <a:pt x="708076" y="425975"/>
                </a:cubicBezTo>
                <a:cubicBezTo>
                  <a:pt x="694258" y="417218"/>
                  <a:pt x="681056" y="407489"/>
                  <a:pt x="667538" y="398254"/>
                </a:cubicBezTo>
                <a:cubicBezTo>
                  <a:pt x="641278" y="380314"/>
                  <a:pt x="617580" y="359743"/>
                  <a:pt x="601016" y="332127"/>
                </a:cubicBezTo>
                <a:cubicBezTo>
                  <a:pt x="588810" y="311778"/>
                  <a:pt x="576093" y="291645"/>
                  <a:pt x="565354" y="270526"/>
                </a:cubicBezTo>
                <a:cubicBezTo>
                  <a:pt x="548401" y="237186"/>
                  <a:pt x="523821" y="212104"/>
                  <a:pt x="490657" y="195121"/>
                </a:cubicBezTo>
                <a:cubicBezTo>
                  <a:pt x="471346" y="185231"/>
                  <a:pt x="452394" y="174606"/>
                  <a:pt x="432834" y="165243"/>
                </a:cubicBezTo>
                <a:cubicBezTo>
                  <a:pt x="416725" y="157532"/>
                  <a:pt x="408325" y="145526"/>
                  <a:pt x="407594" y="127852"/>
                </a:cubicBezTo>
                <a:cubicBezTo>
                  <a:pt x="406783" y="108242"/>
                  <a:pt x="405935" y="88634"/>
                  <a:pt x="405020" y="69029"/>
                </a:cubicBezTo>
                <a:cubicBezTo>
                  <a:pt x="404882" y="66067"/>
                  <a:pt x="404287" y="63127"/>
                  <a:pt x="403638" y="58130"/>
                </a:cubicBezTo>
                <a:cubicBezTo>
                  <a:pt x="381792" y="82321"/>
                  <a:pt x="361650" y="104820"/>
                  <a:pt x="349776" y="133259"/>
                </a:cubicBezTo>
                <a:cubicBezTo>
                  <a:pt x="345032" y="144621"/>
                  <a:pt x="337822" y="153814"/>
                  <a:pt x="326975" y="159669"/>
                </a:cubicBezTo>
                <a:cubicBezTo>
                  <a:pt x="295461" y="176681"/>
                  <a:pt x="266610" y="197333"/>
                  <a:pt x="240374" y="221714"/>
                </a:cubicBezTo>
                <a:cubicBezTo>
                  <a:pt x="212881" y="247263"/>
                  <a:pt x="188313" y="275340"/>
                  <a:pt x="171637" y="309087"/>
                </a:cubicBezTo>
                <a:cubicBezTo>
                  <a:pt x="139180" y="374765"/>
                  <a:pt x="129692" y="444532"/>
                  <a:pt x="138048" y="516954"/>
                </a:cubicBezTo>
                <a:cubicBezTo>
                  <a:pt x="142936" y="559318"/>
                  <a:pt x="152518" y="600762"/>
                  <a:pt x="163889" y="641780"/>
                </a:cubicBezTo>
                <a:cubicBezTo>
                  <a:pt x="177329" y="690261"/>
                  <a:pt x="191989" y="738413"/>
                  <a:pt x="204800" y="787055"/>
                </a:cubicBezTo>
                <a:cubicBezTo>
                  <a:pt x="218820" y="840287"/>
                  <a:pt x="228587" y="894088"/>
                  <a:pt x="218549" y="949545"/>
                </a:cubicBezTo>
                <a:cubicBezTo>
                  <a:pt x="213279" y="978659"/>
                  <a:pt x="207130" y="1007359"/>
                  <a:pt x="191487" y="1033064"/>
                </a:cubicBezTo>
                <a:cubicBezTo>
                  <a:pt x="190499" y="1034686"/>
                  <a:pt x="190018" y="1036618"/>
                  <a:pt x="188729" y="1039835"/>
                </a:cubicBezTo>
                <a:cubicBezTo>
                  <a:pt x="200470" y="1040170"/>
                  <a:pt x="210952" y="1040298"/>
                  <a:pt x="221417" y="1040799"/>
                </a:cubicBezTo>
                <a:cubicBezTo>
                  <a:pt x="263912" y="1042835"/>
                  <a:pt x="306390" y="1046436"/>
                  <a:pt x="348895" y="1046759"/>
                </a:cubicBezTo>
                <a:cubicBezTo>
                  <a:pt x="414380" y="1047258"/>
                  <a:pt x="479896" y="1046092"/>
                  <a:pt x="545369" y="1044456"/>
                </a:cubicBezTo>
                <a:cubicBezTo>
                  <a:pt x="567764" y="1043897"/>
                  <a:pt x="590066" y="1039744"/>
                  <a:pt x="612424" y="1037365"/>
                </a:cubicBezTo>
                <a:cubicBezTo>
                  <a:pt x="617948" y="1036777"/>
                  <a:pt x="621342" y="1034139"/>
                  <a:pt x="623169" y="1028873"/>
                </a:cubicBezTo>
                <a:cubicBezTo>
                  <a:pt x="630975" y="1006370"/>
                  <a:pt x="637026" y="983472"/>
                  <a:pt x="638508" y="959599"/>
                </a:cubicBezTo>
                <a:cubicBezTo>
                  <a:pt x="641131" y="917363"/>
                  <a:pt x="628970" y="878727"/>
                  <a:pt x="609213" y="842075"/>
                </a:cubicBezTo>
                <a:cubicBezTo>
                  <a:pt x="587874" y="802491"/>
                  <a:pt x="559403" y="768169"/>
                  <a:pt x="529367" y="735065"/>
                </a:cubicBezTo>
                <a:cubicBezTo>
                  <a:pt x="487563" y="688992"/>
                  <a:pt x="445474" y="643176"/>
                  <a:pt x="403792" y="596993"/>
                </a:cubicBezTo>
                <a:cubicBezTo>
                  <a:pt x="380393" y="571066"/>
                  <a:pt x="360083" y="542922"/>
                  <a:pt x="344708" y="511366"/>
                </a:cubicBezTo>
                <a:cubicBezTo>
                  <a:pt x="324385" y="469655"/>
                  <a:pt x="317321" y="425966"/>
                  <a:pt x="324464" y="380084"/>
                </a:cubicBezTo>
                <a:cubicBezTo>
                  <a:pt x="324821" y="377789"/>
                  <a:pt x="326581" y="375713"/>
                  <a:pt x="327688" y="373535"/>
                </a:cubicBezTo>
                <a:cubicBezTo>
                  <a:pt x="328570" y="373570"/>
                  <a:pt x="329452" y="373606"/>
                  <a:pt x="330334" y="373641"/>
                </a:cubicBezTo>
                <a:cubicBezTo>
                  <a:pt x="331649" y="377308"/>
                  <a:pt x="333001" y="380963"/>
                  <a:pt x="334272" y="384645"/>
                </a:cubicBezTo>
                <a:cubicBezTo>
                  <a:pt x="342569" y="408660"/>
                  <a:pt x="351164" y="432573"/>
                  <a:pt x="365260" y="453955"/>
                </a:cubicBezTo>
                <a:cubicBezTo>
                  <a:pt x="375537" y="469544"/>
                  <a:pt x="388811" y="481767"/>
                  <a:pt x="408246" y="483592"/>
                </a:cubicBezTo>
                <a:cubicBezTo>
                  <a:pt x="426928" y="485346"/>
                  <a:pt x="445757" y="486037"/>
                  <a:pt x="464529" y="486187"/>
                </a:cubicBezTo>
                <a:cubicBezTo>
                  <a:pt x="480053" y="486311"/>
                  <a:pt x="495582" y="484792"/>
                  <a:pt x="511119" y="484308"/>
                </a:cubicBezTo>
                <a:cubicBezTo>
                  <a:pt x="532443" y="483644"/>
                  <a:pt x="551690" y="490014"/>
                  <a:pt x="567913" y="503736"/>
                </a:cubicBezTo>
                <a:cubicBezTo>
                  <a:pt x="581642" y="515348"/>
                  <a:pt x="594604" y="527888"/>
                  <a:pt x="607611" y="540326"/>
                </a:cubicBezTo>
                <a:cubicBezTo>
                  <a:pt x="618811" y="551038"/>
                  <a:pt x="631177" y="559300"/>
                  <a:pt x="648750" y="562343"/>
                </a:cubicBezTo>
                <a:moveTo>
                  <a:pt x="462594" y="1369008"/>
                </a:moveTo>
                <a:cubicBezTo>
                  <a:pt x="478517" y="1368137"/>
                  <a:pt x="494449" y="1367429"/>
                  <a:pt x="510357" y="1366345"/>
                </a:cubicBezTo>
                <a:cubicBezTo>
                  <a:pt x="523399" y="1365456"/>
                  <a:pt x="536424" y="1364247"/>
                  <a:pt x="549434" y="1362956"/>
                </a:cubicBezTo>
                <a:cubicBezTo>
                  <a:pt x="577089" y="1360213"/>
                  <a:pt x="604749" y="1357503"/>
                  <a:pt x="632369" y="1354439"/>
                </a:cubicBezTo>
                <a:cubicBezTo>
                  <a:pt x="653805" y="1352062"/>
                  <a:pt x="675183" y="1349170"/>
                  <a:pt x="697252" y="1346424"/>
                </a:cubicBezTo>
                <a:cubicBezTo>
                  <a:pt x="701148" y="1316348"/>
                  <a:pt x="695768" y="1289474"/>
                  <a:pt x="676674" y="1266396"/>
                </a:cubicBezTo>
                <a:cubicBezTo>
                  <a:pt x="667313" y="1255080"/>
                  <a:pt x="656878" y="1244625"/>
                  <a:pt x="646594" y="1234108"/>
                </a:cubicBezTo>
                <a:cubicBezTo>
                  <a:pt x="634298" y="1221533"/>
                  <a:pt x="621353" y="1209623"/>
                  <a:pt x="612063" y="1194382"/>
                </a:cubicBezTo>
                <a:cubicBezTo>
                  <a:pt x="596511" y="1168867"/>
                  <a:pt x="588079" y="1141707"/>
                  <a:pt x="591616" y="1111541"/>
                </a:cubicBezTo>
                <a:cubicBezTo>
                  <a:pt x="592450" y="1104432"/>
                  <a:pt x="593365" y="1097332"/>
                  <a:pt x="594320" y="1089609"/>
                </a:cubicBezTo>
                <a:cubicBezTo>
                  <a:pt x="588294" y="1089609"/>
                  <a:pt x="583452" y="1089392"/>
                  <a:pt x="578634" y="1089642"/>
                </a:cubicBezTo>
                <a:cubicBezTo>
                  <a:pt x="533732" y="1091976"/>
                  <a:pt x="488841" y="1094525"/>
                  <a:pt x="443931" y="1096700"/>
                </a:cubicBezTo>
                <a:cubicBezTo>
                  <a:pt x="430451" y="1097353"/>
                  <a:pt x="416923" y="1097005"/>
                  <a:pt x="403417" y="1097156"/>
                </a:cubicBezTo>
                <a:cubicBezTo>
                  <a:pt x="389337" y="1097313"/>
                  <a:pt x="388961" y="1097850"/>
                  <a:pt x="388348" y="1111502"/>
                </a:cubicBezTo>
                <a:cubicBezTo>
                  <a:pt x="387375" y="1133151"/>
                  <a:pt x="386231" y="1154793"/>
                  <a:pt x="385048" y="1176431"/>
                </a:cubicBezTo>
                <a:cubicBezTo>
                  <a:pt x="382637" y="1220514"/>
                  <a:pt x="380158" y="1264593"/>
                  <a:pt x="377687" y="1308672"/>
                </a:cubicBezTo>
                <a:cubicBezTo>
                  <a:pt x="377458" y="1312751"/>
                  <a:pt x="376852" y="1316821"/>
                  <a:pt x="376823" y="1320897"/>
                </a:cubicBezTo>
                <a:cubicBezTo>
                  <a:pt x="376717" y="1335880"/>
                  <a:pt x="376781" y="1350864"/>
                  <a:pt x="376781" y="1366151"/>
                </a:cubicBezTo>
                <a:cubicBezTo>
                  <a:pt x="404707" y="1370397"/>
                  <a:pt x="432477" y="1369351"/>
                  <a:pt x="462594" y="1369008"/>
                </a:cubicBezTo>
                <a:moveTo>
                  <a:pt x="648494" y="1463981"/>
                </a:moveTo>
                <a:cubicBezTo>
                  <a:pt x="671329" y="1460052"/>
                  <a:pt x="694163" y="1456122"/>
                  <a:pt x="718746" y="1451892"/>
                </a:cubicBezTo>
                <a:cubicBezTo>
                  <a:pt x="716257" y="1439067"/>
                  <a:pt x="714578" y="1427816"/>
                  <a:pt x="711827" y="1416835"/>
                </a:cubicBezTo>
                <a:cubicBezTo>
                  <a:pt x="707611" y="1400009"/>
                  <a:pt x="703502" y="1397423"/>
                  <a:pt x="685812" y="1398502"/>
                </a:cubicBezTo>
                <a:cubicBezTo>
                  <a:pt x="684179" y="1398602"/>
                  <a:pt x="682547" y="1398768"/>
                  <a:pt x="680924" y="1398973"/>
                </a:cubicBezTo>
                <a:cubicBezTo>
                  <a:pt x="653380" y="1402446"/>
                  <a:pt x="625911" y="1406752"/>
                  <a:pt x="598278" y="1409218"/>
                </a:cubicBezTo>
                <a:cubicBezTo>
                  <a:pt x="557171" y="1412886"/>
                  <a:pt x="515983" y="1415946"/>
                  <a:pt x="474765" y="1417945"/>
                </a:cubicBezTo>
                <a:cubicBezTo>
                  <a:pt x="444944" y="1419391"/>
                  <a:pt x="415021" y="1418680"/>
                  <a:pt x="385143" y="1418978"/>
                </a:cubicBezTo>
                <a:cubicBezTo>
                  <a:pt x="382419" y="1419005"/>
                  <a:pt x="379697" y="1419376"/>
                  <a:pt x="376639" y="1419613"/>
                </a:cubicBezTo>
                <a:cubicBezTo>
                  <a:pt x="376639" y="1438152"/>
                  <a:pt x="376639" y="1455909"/>
                  <a:pt x="376639" y="1473939"/>
                </a:cubicBezTo>
                <a:cubicBezTo>
                  <a:pt x="378971" y="1474343"/>
                  <a:pt x="380523" y="1474802"/>
                  <a:pt x="382089" y="1474854"/>
                </a:cubicBezTo>
                <a:cubicBezTo>
                  <a:pt x="404571" y="1475605"/>
                  <a:pt x="427058" y="1476986"/>
                  <a:pt x="449536" y="1476855"/>
                </a:cubicBezTo>
                <a:cubicBezTo>
                  <a:pt x="486344" y="1476639"/>
                  <a:pt x="523207" y="1476480"/>
                  <a:pt x="559930" y="1474307"/>
                </a:cubicBezTo>
                <a:cubicBezTo>
                  <a:pt x="588839" y="1472596"/>
                  <a:pt x="617570" y="1467884"/>
                  <a:pt x="648494" y="1463981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8" name="Free-form: Shape 47">
            <a:extLst>
              <a:ext uri="{FF2B5EF4-FFF2-40B4-BE49-F238E27FC236}">
                <a16:creationId xmlns:a16="http://schemas.microsoft.com/office/drawing/2014/main" id="{CA428D0C-842D-3533-0231-57EE98E16158}"/>
              </a:ext>
            </a:extLst>
          </p:cNvPr>
          <p:cNvSpPr/>
          <p:nvPr/>
        </p:nvSpPr>
        <p:spPr>
          <a:xfrm>
            <a:off x="8976071" y="2173213"/>
            <a:ext cx="497702" cy="821885"/>
          </a:xfrm>
          <a:custGeom>
            <a:avLst/>
            <a:gdLst>
              <a:gd name="csX0" fmla="*/ 512604 w 598747"/>
              <a:gd name="csY0" fmla="*/ 503918 h 988745"/>
              <a:gd name="csX1" fmla="*/ 472435 w 598747"/>
              <a:gd name="csY1" fmla="*/ 482196 h 988745"/>
              <a:gd name="csX2" fmla="*/ 432737 w 598747"/>
              <a:gd name="csY2" fmla="*/ 445605 h 988745"/>
              <a:gd name="csX3" fmla="*/ 375943 w 598747"/>
              <a:gd name="csY3" fmla="*/ 426178 h 988745"/>
              <a:gd name="csX4" fmla="*/ 329354 w 598747"/>
              <a:gd name="csY4" fmla="*/ 428057 h 988745"/>
              <a:gd name="csX5" fmla="*/ 273070 w 598747"/>
              <a:gd name="csY5" fmla="*/ 425461 h 988745"/>
              <a:gd name="csX6" fmla="*/ 230084 w 598747"/>
              <a:gd name="csY6" fmla="*/ 395825 h 988745"/>
              <a:gd name="csX7" fmla="*/ 199097 w 598747"/>
              <a:gd name="csY7" fmla="*/ 326515 h 988745"/>
              <a:gd name="csX8" fmla="*/ 195158 w 598747"/>
              <a:gd name="csY8" fmla="*/ 315511 h 988745"/>
              <a:gd name="csX9" fmla="*/ 192512 w 598747"/>
              <a:gd name="csY9" fmla="*/ 315405 h 988745"/>
              <a:gd name="csX10" fmla="*/ 189288 w 598747"/>
              <a:gd name="csY10" fmla="*/ 321954 h 988745"/>
              <a:gd name="csX11" fmla="*/ 209532 w 598747"/>
              <a:gd name="csY11" fmla="*/ 453235 h 988745"/>
              <a:gd name="csX12" fmla="*/ 268616 w 598747"/>
              <a:gd name="csY12" fmla="*/ 538863 h 988745"/>
              <a:gd name="csX13" fmla="*/ 394191 w 598747"/>
              <a:gd name="csY13" fmla="*/ 676935 h 988745"/>
              <a:gd name="csX14" fmla="*/ 474037 w 598747"/>
              <a:gd name="csY14" fmla="*/ 783945 h 988745"/>
              <a:gd name="csX15" fmla="*/ 503332 w 598747"/>
              <a:gd name="csY15" fmla="*/ 901469 h 988745"/>
              <a:gd name="csX16" fmla="*/ 487993 w 598747"/>
              <a:gd name="csY16" fmla="*/ 970743 h 988745"/>
              <a:gd name="csX17" fmla="*/ 477248 w 598747"/>
              <a:gd name="csY17" fmla="*/ 979235 h 988745"/>
              <a:gd name="csX18" fmla="*/ 410194 w 598747"/>
              <a:gd name="csY18" fmla="*/ 986326 h 988745"/>
              <a:gd name="csX19" fmla="*/ 213720 w 598747"/>
              <a:gd name="csY19" fmla="*/ 988629 h 988745"/>
              <a:gd name="csX20" fmla="*/ 86242 w 598747"/>
              <a:gd name="csY20" fmla="*/ 982669 h 988745"/>
              <a:gd name="csX21" fmla="*/ 53553 w 598747"/>
              <a:gd name="csY21" fmla="*/ 981705 h 988745"/>
              <a:gd name="csX22" fmla="*/ 56311 w 598747"/>
              <a:gd name="csY22" fmla="*/ 974933 h 988745"/>
              <a:gd name="csX23" fmla="*/ 83373 w 598747"/>
              <a:gd name="csY23" fmla="*/ 891414 h 988745"/>
              <a:gd name="csX24" fmla="*/ 69625 w 598747"/>
              <a:gd name="csY24" fmla="*/ 728925 h 988745"/>
              <a:gd name="csX25" fmla="*/ 28713 w 598747"/>
              <a:gd name="csY25" fmla="*/ 583650 h 988745"/>
              <a:gd name="csX26" fmla="*/ 2872 w 598747"/>
              <a:gd name="csY26" fmla="*/ 458823 h 988745"/>
              <a:gd name="csX27" fmla="*/ 36461 w 598747"/>
              <a:gd name="csY27" fmla="*/ 250957 h 988745"/>
              <a:gd name="csX28" fmla="*/ 105198 w 598747"/>
              <a:gd name="csY28" fmla="*/ 163584 h 988745"/>
              <a:gd name="csX29" fmla="*/ 191800 w 598747"/>
              <a:gd name="csY29" fmla="*/ 101539 h 988745"/>
              <a:gd name="csX30" fmla="*/ 214600 w 598747"/>
              <a:gd name="csY30" fmla="*/ 75129 h 988745"/>
              <a:gd name="csX31" fmla="*/ 268462 w 598747"/>
              <a:gd name="csY31" fmla="*/ 0 h 988745"/>
              <a:gd name="csX32" fmla="*/ 269844 w 598747"/>
              <a:gd name="csY32" fmla="*/ 10898 h 988745"/>
              <a:gd name="csX33" fmla="*/ 272418 w 598747"/>
              <a:gd name="csY33" fmla="*/ 69722 h 988745"/>
              <a:gd name="csX34" fmla="*/ 297658 w 598747"/>
              <a:gd name="csY34" fmla="*/ 107113 h 988745"/>
              <a:gd name="csX35" fmla="*/ 355481 w 598747"/>
              <a:gd name="csY35" fmla="*/ 136991 h 988745"/>
              <a:gd name="csX36" fmla="*/ 430178 w 598747"/>
              <a:gd name="csY36" fmla="*/ 212396 h 988745"/>
              <a:gd name="csX37" fmla="*/ 465840 w 598747"/>
              <a:gd name="csY37" fmla="*/ 273997 h 988745"/>
              <a:gd name="csX38" fmla="*/ 532362 w 598747"/>
              <a:gd name="csY38" fmla="*/ 340124 h 988745"/>
              <a:gd name="csX39" fmla="*/ 572901 w 598747"/>
              <a:gd name="csY39" fmla="*/ 367845 h 988745"/>
              <a:gd name="csX40" fmla="*/ 598436 w 598747"/>
              <a:gd name="csY40" fmla="*/ 408775 h 988745"/>
              <a:gd name="csX41" fmla="*/ 596339 w 598747"/>
              <a:gd name="csY41" fmla="*/ 452637 h 988745"/>
              <a:gd name="csX42" fmla="*/ 552957 w 598747"/>
              <a:gd name="csY42" fmla="*/ 485233 h 988745"/>
              <a:gd name="csX43" fmla="*/ 525548 w 598747"/>
              <a:gd name="csY43" fmla="*/ 479475 h 988745"/>
              <a:gd name="csX44" fmla="*/ 515736 w 598747"/>
              <a:gd name="csY44" fmla="*/ 475921 h 988745"/>
              <a:gd name="csX45" fmla="*/ 525605 w 598747"/>
              <a:gd name="csY45" fmla="*/ 492048 h 988745"/>
              <a:gd name="csX46" fmla="*/ 538873 w 598747"/>
              <a:gd name="csY46" fmla="*/ 504704 h 988745"/>
              <a:gd name="csX47" fmla="*/ 512604 w 598747"/>
              <a:gd name="csY47" fmla="*/ 503918 h 988745"/>
              <a:gd name="csX48" fmla="*/ 332072 w 598747"/>
              <a:gd name="csY48" fmla="*/ 218143 h 988745"/>
              <a:gd name="csX49" fmla="*/ 334388 w 598747"/>
              <a:gd name="csY49" fmla="*/ 226400 h 988745"/>
              <a:gd name="csX50" fmla="*/ 372370 w 598747"/>
              <a:gd name="csY50" fmla="*/ 254505 h 988745"/>
              <a:gd name="csX51" fmla="*/ 405258 w 598747"/>
              <a:gd name="csY51" fmla="*/ 252089 h 988745"/>
              <a:gd name="csX52" fmla="*/ 409167 w 598747"/>
              <a:gd name="csY52" fmla="*/ 244359 h 988745"/>
              <a:gd name="csX53" fmla="*/ 396364 w 598747"/>
              <a:gd name="csY53" fmla="*/ 219471 h 988745"/>
              <a:gd name="csX54" fmla="*/ 365755 w 598747"/>
              <a:gd name="csY54" fmla="*/ 195821 h 988745"/>
              <a:gd name="csX55" fmla="*/ 333572 w 598747"/>
              <a:gd name="csY55" fmla="*/ 188536 h 988745"/>
              <a:gd name="csX56" fmla="*/ 322931 w 598747"/>
              <a:gd name="csY56" fmla="*/ 190843 h 988745"/>
              <a:gd name="csX57" fmla="*/ 329041 w 598747"/>
              <a:gd name="csY57" fmla="*/ 203001 h 988745"/>
              <a:gd name="csX58" fmla="*/ 332072 w 598747"/>
              <a:gd name="csY58" fmla="*/ 218143 h 98874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</a:cxnLst>
            <a:rect l="l" t="t" r="r" b="b"/>
            <a:pathLst>
              <a:path w="598747" h="988745">
                <a:moveTo>
                  <a:pt x="512604" y="503918"/>
                </a:moveTo>
                <a:cubicBezTo>
                  <a:pt x="496002" y="501170"/>
                  <a:pt x="483635" y="492907"/>
                  <a:pt x="472435" y="482196"/>
                </a:cubicBezTo>
                <a:cubicBezTo>
                  <a:pt x="459429" y="469758"/>
                  <a:pt x="446467" y="457218"/>
                  <a:pt x="432737" y="445605"/>
                </a:cubicBezTo>
                <a:cubicBezTo>
                  <a:pt x="416514" y="431883"/>
                  <a:pt x="397267" y="425513"/>
                  <a:pt x="375943" y="426178"/>
                </a:cubicBezTo>
                <a:cubicBezTo>
                  <a:pt x="360407" y="426662"/>
                  <a:pt x="344877" y="428180"/>
                  <a:pt x="329354" y="428057"/>
                </a:cubicBezTo>
                <a:cubicBezTo>
                  <a:pt x="310581" y="427907"/>
                  <a:pt x="291752" y="427215"/>
                  <a:pt x="273070" y="425461"/>
                </a:cubicBezTo>
                <a:cubicBezTo>
                  <a:pt x="253636" y="423637"/>
                  <a:pt x="240361" y="411413"/>
                  <a:pt x="230084" y="395825"/>
                </a:cubicBezTo>
                <a:cubicBezTo>
                  <a:pt x="215988" y="374443"/>
                  <a:pt x="207393" y="350530"/>
                  <a:pt x="199097" y="326515"/>
                </a:cubicBezTo>
                <a:cubicBezTo>
                  <a:pt x="197825" y="322833"/>
                  <a:pt x="196473" y="319178"/>
                  <a:pt x="195158" y="315511"/>
                </a:cubicBezTo>
                <a:cubicBezTo>
                  <a:pt x="194276" y="315475"/>
                  <a:pt x="193394" y="315440"/>
                  <a:pt x="192512" y="315405"/>
                </a:cubicBezTo>
                <a:cubicBezTo>
                  <a:pt x="191405" y="317583"/>
                  <a:pt x="189646" y="319659"/>
                  <a:pt x="189288" y="321954"/>
                </a:cubicBezTo>
                <a:cubicBezTo>
                  <a:pt x="182145" y="367836"/>
                  <a:pt x="189209" y="411525"/>
                  <a:pt x="209532" y="453235"/>
                </a:cubicBezTo>
                <a:cubicBezTo>
                  <a:pt x="224908" y="484792"/>
                  <a:pt x="245217" y="512936"/>
                  <a:pt x="268616" y="538863"/>
                </a:cubicBezTo>
                <a:cubicBezTo>
                  <a:pt x="310298" y="585046"/>
                  <a:pt x="352387" y="630861"/>
                  <a:pt x="394191" y="676935"/>
                </a:cubicBezTo>
                <a:cubicBezTo>
                  <a:pt x="424227" y="710039"/>
                  <a:pt x="452698" y="744360"/>
                  <a:pt x="474037" y="783945"/>
                </a:cubicBezTo>
                <a:cubicBezTo>
                  <a:pt x="493795" y="820596"/>
                  <a:pt x="505956" y="859233"/>
                  <a:pt x="503332" y="901469"/>
                </a:cubicBezTo>
                <a:cubicBezTo>
                  <a:pt x="501850" y="925342"/>
                  <a:pt x="495799" y="948239"/>
                  <a:pt x="487993" y="970743"/>
                </a:cubicBezTo>
                <a:cubicBezTo>
                  <a:pt x="486166" y="976009"/>
                  <a:pt x="482772" y="978647"/>
                  <a:pt x="477248" y="979235"/>
                </a:cubicBezTo>
                <a:cubicBezTo>
                  <a:pt x="454890" y="981614"/>
                  <a:pt x="432589" y="985767"/>
                  <a:pt x="410194" y="986326"/>
                </a:cubicBezTo>
                <a:cubicBezTo>
                  <a:pt x="344720" y="987961"/>
                  <a:pt x="279205" y="989128"/>
                  <a:pt x="213720" y="988629"/>
                </a:cubicBezTo>
                <a:cubicBezTo>
                  <a:pt x="171215" y="988306"/>
                  <a:pt x="128736" y="984705"/>
                  <a:pt x="86242" y="982669"/>
                </a:cubicBezTo>
                <a:cubicBezTo>
                  <a:pt x="75776" y="982167"/>
                  <a:pt x="65294" y="982040"/>
                  <a:pt x="53553" y="981705"/>
                </a:cubicBezTo>
                <a:cubicBezTo>
                  <a:pt x="54842" y="978488"/>
                  <a:pt x="55323" y="976556"/>
                  <a:pt x="56311" y="974933"/>
                </a:cubicBezTo>
                <a:cubicBezTo>
                  <a:pt x="71955" y="949229"/>
                  <a:pt x="78103" y="920529"/>
                  <a:pt x="83373" y="891414"/>
                </a:cubicBezTo>
                <a:cubicBezTo>
                  <a:pt x="93411" y="835958"/>
                  <a:pt x="83645" y="782156"/>
                  <a:pt x="69625" y="728925"/>
                </a:cubicBezTo>
                <a:cubicBezTo>
                  <a:pt x="56813" y="680283"/>
                  <a:pt x="42153" y="632130"/>
                  <a:pt x="28713" y="583650"/>
                </a:cubicBezTo>
                <a:cubicBezTo>
                  <a:pt x="17342" y="542631"/>
                  <a:pt x="7760" y="501188"/>
                  <a:pt x="2872" y="458823"/>
                </a:cubicBezTo>
                <a:cubicBezTo>
                  <a:pt x="-5484" y="386401"/>
                  <a:pt x="4005" y="316635"/>
                  <a:pt x="36461" y="250957"/>
                </a:cubicBezTo>
                <a:cubicBezTo>
                  <a:pt x="53137" y="217210"/>
                  <a:pt x="77705" y="189133"/>
                  <a:pt x="105198" y="163584"/>
                </a:cubicBezTo>
                <a:cubicBezTo>
                  <a:pt x="131434" y="139203"/>
                  <a:pt x="160285" y="118551"/>
                  <a:pt x="191800" y="101539"/>
                </a:cubicBezTo>
                <a:cubicBezTo>
                  <a:pt x="202646" y="95684"/>
                  <a:pt x="209856" y="86491"/>
                  <a:pt x="214600" y="75129"/>
                </a:cubicBezTo>
                <a:cubicBezTo>
                  <a:pt x="226474" y="46689"/>
                  <a:pt x="246616" y="24191"/>
                  <a:pt x="268462" y="0"/>
                </a:cubicBezTo>
                <a:cubicBezTo>
                  <a:pt x="269111" y="4997"/>
                  <a:pt x="269706" y="7937"/>
                  <a:pt x="269844" y="10898"/>
                </a:cubicBezTo>
                <a:cubicBezTo>
                  <a:pt x="270760" y="30504"/>
                  <a:pt x="271607" y="50112"/>
                  <a:pt x="272418" y="69722"/>
                </a:cubicBezTo>
                <a:cubicBezTo>
                  <a:pt x="273150" y="87396"/>
                  <a:pt x="281549" y="99401"/>
                  <a:pt x="297658" y="107113"/>
                </a:cubicBezTo>
                <a:cubicBezTo>
                  <a:pt x="317218" y="116476"/>
                  <a:pt x="336170" y="127101"/>
                  <a:pt x="355481" y="136991"/>
                </a:cubicBezTo>
                <a:cubicBezTo>
                  <a:pt x="388645" y="153974"/>
                  <a:pt x="413226" y="179056"/>
                  <a:pt x="430178" y="212396"/>
                </a:cubicBezTo>
                <a:cubicBezTo>
                  <a:pt x="440917" y="233515"/>
                  <a:pt x="453634" y="253647"/>
                  <a:pt x="465840" y="273997"/>
                </a:cubicBezTo>
                <a:cubicBezTo>
                  <a:pt x="482404" y="301613"/>
                  <a:pt x="506102" y="322183"/>
                  <a:pt x="532362" y="340124"/>
                </a:cubicBezTo>
                <a:cubicBezTo>
                  <a:pt x="545881" y="349359"/>
                  <a:pt x="559082" y="359088"/>
                  <a:pt x="572901" y="367845"/>
                </a:cubicBezTo>
                <a:cubicBezTo>
                  <a:pt x="588172" y="377523"/>
                  <a:pt x="597775" y="390733"/>
                  <a:pt x="598436" y="408775"/>
                </a:cubicBezTo>
                <a:cubicBezTo>
                  <a:pt x="598970" y="423381"/>
                  <a:pt x="599120" y="438404"/>
                  <a:pt x="596339" y="452637"/>
                </a:cubicBezTo>
                <a:cubicBezTo>
                  <a:pt x="591789" y="475923"/>
                  <a:pt x="576843" y="486555"/>
                  <a:pt x="552957" y="485233"/>
                </a:cubicBezTo>
                <a:cubicBezTo>
                  <a:pt x="543740" y="484722"/>
                  <a:pt x="534648" y="481613"/>
                  <a:pt x="525548" y="479475"/>
                </a:cubicBezTo>
                <a:cubicBezTo>
                  <a:pt x="522577" y="478776"/>
                  <a:pt x="519764" y="477405"/>
                  <a:pt x="515736" y="475921"/>
                </a:cubicBezTo>
                <a:cubicBezTo>
                  <a:pt x="516318" y="484233"/>
                  <a:pt x="521537" y="487842"/>
                  <a:pt x="525605" y="492048"/>
                </a:cubicBezTo>
                <a:cubicBezTo>
                  <a:pt x="529554" y="496129"/>
                  <a:pt x="533815" y="499907"/>
                  <a:pt x="538873" y="504704"/>
                </a:cubicBezTo>
                <a:cubicBezTo>
                  <a:pt x="529522" y="509277"/>
                  <a:pt x="521553" y="504428"/>
                  <a:pt x="512604" y="503918"/>
                </a:cubicBezTo>
                <a:moveTo>
                  <a:pt x="332072" y="218143"/>
                </a:moveTo>
                <a:cubicBezTo>
                  <a:pt x="332837" y="220898"/>
                  <a:pt x="333478" y="223695"/>
                  <a:pt x="334388" y="226400"/>
                </a:cubicBezTo>
                <a:cubicBezTo>
                  <a:pt x="341073" y="246268"/>
                  <a:pt x="351614" y="254460"/>
                  <a:pt x="372370" y="254505"/>
                </a:cubicBezTo>
                <a:cubicBezTo>
                  <a:pt x="383333" y="254529"/>
                  <a:pt x="394312" y="253121"/>
                  <a:pt x="405258" y="252089"/>
                </a:cubicBezTo>
                <a:cubicBezTo>
                  <a:pt x="409961" y="251646"/>
                  <a:pt x="411340" y="248568"/>
                  <a:pt x="409167" y="244359"/>
                </a:cubicBezTo>
                <a:cubicBezTo>
                  <a:pt x="404885" y="236068"/>
                  <a:pt x="400139" y="227985"/>
                  <a:pt x="396364" y="219471"/>
                </a:cubicBezTo>
                <a:cubicBezTo>
                  <a:pt x="390350" y="205908"/>
                  <a:pt x="379963" y="198663"/>
                  <a:pt x="365755" y="195821"/>
                </a:cubicBezTo>
                <a:cubicBezTo>
                  <a:pt x="354973" y="193665"/>
                  <a:pt x="344291" y="191003"/>
                  <a:pt x="333572" y="188536"/>
                </a:cubicBezTo>
                <a:cubicBezTo>
                  <a:pt x="329511" y="187602"/>
                  <a:pt x="325579" y="187007"/>
                  <a:pt x="322931" y="190843"/>
                </a:cubicBezTo>
                <a:cubicBezTo>
                  <a:pt x="325138" y="195129"/>
                  <a:pt x="327613" y="198884"/>
                  <a:pt x="329041" y="203001"/>
                </a:cubicBezTo>
                <a:cubicBezTo>
                  <a:pt x="330500" y="207204"/>
                  <a:pt x="330929" y="211764"/>
                  <a:pt x="332072" y="218143"/>
                </a:cubicBezTo>
                <a:close/>
              </a:path>
            </a:pathLst>
          </a:custGeom>
          <a:solidFill>
            <a:srgbClr val="FEFEFE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9" name="Free-form: Shape 48">
            <a:extLst>
              <a:ext uri="{FF2B5EF4-FFF2-40B4-BE49-F238E27FC236}">
                <a16:creationId xmlns:a16="http://schemas.microsoft.com/office/drawing/2014/main" id="{1D1B1698-670B-8FCB-2ACF-200E31582569}"/>
              </a:ext>
            </a:extLst>
          </p:cNvPr>
          <p:cNvSpPr/>
          <p:nvPr/>
        </p:nvSpPr>
        <p:spPr>
          <a:xfrm>
            <a:off x="9176888" y="3030548"/>
            <a:ext cx="267393" cy="232628"/>
          </a:xfrm>
          <a:custGeom>
            <a:avLst/>
            <a:gdLst>
              <a:gd name="csX0" fmla="*/ 84645 w 321679"/>
              <a:gd name="csY0" fmla="*/ 279507 h 279857"/>
              <a:gd name="csX1" fmla="*/ 19 w 321679"/>
              <a:gd name="csY1" fmla="*/ 276629 h 279857"/>
              <a:gd name="csX2" fmla="*/ 61 w 321679"/>
              <a:gd name="csY2" fmla="*/ 231376 h 279857"/>
              <a:gd name="csX3" fmla="*/ 925 w 321679"/>
              <a:gd name="csY3" fmla="*/ 219150 h 279857"/>
              <a:gd name="csX4" fmla="*/ 8286 w 321679"/>
              <a:gd name="csY4" fmla="*/ 86910 h 279857"/>
              <a:gd name="csX5" fmla="*/ 11586 w 321679"/>
              <a:gd name="csY5" fmla="*/ 21981 h 279857"/>
              <a:gd name="csX6" fmla="*/ 26655 w 321679"/>
              <a:gd name="csY6" fmla="*/ 7635 h 279857"/>
              <a:gd name="csX7" fmla="*/ 67169 w 321679"/>
              <a:gd name="csY7" fmla="*/ 7178 h 279857"/>
              <a:gd name="csX8" fmla="*/ 201872 w 321679"/>
              <a:gd name="csY8" fmla="*/ 121 h 279857"/>
              <a:gd name="csX9" fmla="*/ 217558 w 321679"/>
              <a:gd name="csY9" fmla="*/ 87 h 279857"/>
              <a:gd name="csX10" fmla="*/ 214854 w 321679"/>
              <a:gd name="csY10" fmla="*/ 22019 h 279857"/>
              <a:gd name="csX11" fmla="*/ 235301 w 321679"/>
              <a:gd name="csY11" fmla="*/ 104861 h 279857"/>
              <a:gd name="csX12" fmla="*/ 269832 w 321679"/>
              <a:gd name="csY12" fmla="*/ 144587 h 279857"/>
              <a:gd name="csX13" fmla="*/ 299912 w 321679"/>
              <a:gd name="csY13" fmla="*/ 176874 h 279857"/>
              <a:gd name="csX14" fmla="*/ 320491 w 321679"/>
              <a:gd name="csY14" fmla="*/ 256903 h 279857"/>
              <a:gd name="csX15" fmla="*/ 255607 w 321679"/>
              <a:gd name="csY15" fmla="*/ 264918 h 279857"/>
              <a:gd name="csX16" fmla="*/ 172672 w 321679"/>
              <a:gd name="csY16" fmla="*/ 273435 h 279857"/>
              <a:gd name="csX17" fmla="*/ 133595 w 321679"/>
              <a:gd name="csY17" fmla="*/ 276823 h 279857"/>
              <a:gd name="csX18" fmla="*/ 84645 w 321679"/>
              <a:gd name="csY18" fmla="*/ 279507 h 27985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</a:cxnLst>
            <a:rect l="l" t="t" r="r" b="b"/>
            <a:pathLst>
              <a:path w="321679" h="279857">
                <a:moveTo>
                  <a:pt x="84645" y="279507"/>
                </a:moveTo>
                <a:cubicBezTo>
                  <a:pt x="55716" y="279830"/>
                  <a:pt x="27945" y="280875"/>
                  <a:pt x="19" y="276629"/>
                </a:cubicBezTo>
                <a:cubicBezTo>
                  <a:pt x="19" y="261343"/>
                  <a:pt x="-45" y="246359"/>
                  <a:pt x="61" y="231376"/>
                </a:cubicBezTo>
                <a:cubicBezTo>
                  <a:pt x="90" y="227299"/>
                  <a:pt x="696" y="223229"/>
                  <a:pt x="925" y="219150"/>
                </a:cubicBezTo>
                <a:cubicBezTo>
                  <a:pt x="3396" y="175071"/>
                  <a:pt x="5876" y="130992"/>
                  <a:pt x="8286" y="86910"/>
                </a:cubicBezTo>
                <a:cubicBezTo>
                  <a:pt x="9469" y="65271"/>
                  <a:pt x="10613" y="43630"/>
                  <a:pt x="11586" y="21981"/>
                </a:cubicBezTo>
                <a:cubicBezTo>
                  <a:pt x="12199" y="8328"/>
                  <a:pt x="12576" y="7792"/>
                  <a:pt x="26655" y="7635"/>
                </a:cubicBezTo>
                <a:cubicBezTo>
                  <a:pt x="40161" y="7484"/>
                  <a:pt x="53689" y="7831"/>
                  <a:pt x="67169" y="7178"/>
                </a:cubicBezTo>
                <a:cubicBezTo>
                  <a:pt x="112079" y="5004"/>
                  <a:pt x="156970" y="2455"/>
                  <a:pt x="201872" y="121"/>
                </a:cubicBezTo>
                <a:cubicBezTo>
                  <a:pt x="206690" y="-130"/>
                  <a:pt x="211533" y="87"/>
                  <a:pt x="217558" y="87"/>
                </a:cubicBezTo>
                <a:cubicBezTo>
                  <a:pt x="216603" y="7811"/>
                  <a:pt x="215688" y="14910"/>
                  <a:pt x="214854" y="22019"/>
                </a:cubicBezTo>
                <a:cubicBezTo>
                  <a:pt x="211318" y="52185"/>
                  <a:pt x="219749" y="79345"/>
                  <a:pt x="235301" y="104861"/>
                </a:cubicBezTo>
                <a:cubicBezTo>
                  <a:pt x="244591" y="120102"/>
                  <a:pt x="257536" y="132012"/>
                  <a:pt x="269832" y="144587"/>
                </a:cubicBezTo>
                <a:cubicBezTo>
                  <a:pt x="280116" y="155103"/>
                  <a:pt x="290551" y="165559"/>
                  <a:pt x="299912" y="176874"/>
                </a:cubicBezTo>
                <a:cubicBezTo>
                  <a:pt x="319006" y="199953"/>
                  <a:pt x="324386" y="226827"/>
                  <a:pt x="320491" y="256903"/>
                </a:cubicBezTo>
                <a:cubicBezTo>
                  <a:pt x="298421" y="259649"/>
                  <a:pt x="277043" y="262541"/>
                  <a:pt x="255607" y="264918"/>
                </a:cubicBezTo>
                <a:cubicBezTo>
                  <a:pt x="227987" y="267981"/>
                  <a:pt x="200327" y="270692"/>
                  <a:pt x="172672" y="273435"/>
                </a:cubicBezTo>
                <a:cubicBezTo>
                  <a:pt x="159662" y="274725"/>
                  <a:pt x="146637" y="275935"/>
                  <a:pt x="133595" y="276823"/>
                </a:cubicBezTo>
                <a:cubicBezTo>
                  <a:pt x="117688" y="277907"/>
                  <a:pt x="101755" y="278616"/>
                  <a:pt x="84645" y="279507"/>
                </a:cubicBezTo>
                <a:close/>
              </a:path>
            </a:pathLst>
          </a:custGeom>
          <a:solidFill>
            <a:srgbClr val="FDFEFE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0" name="Free-form: Shape 49">
            <a:extLst>
              <a:ext uri="{FF2B5EF4-FFF2-40B4-BE49-F238E27FC236}">
                <a16:creationId xmlns:a16="http://schemas.microsoft.com/office/drawing/2014/main" id="{A4A96C13-A17E-1159-CA25-2BAF021371FF}"/>
              </a:ext>
            </a:extLst>
          </p:cNvPr>
          <p:cNvSpPr/>
          <p:nvPr/>
        </p:nvSpPr>
        <p:spPr>
          <a:xfrm>
            <a:off x="9176785" y="3287209"/>
            <a:ext cx="284373" cy="65313"/>
          </a:xfrm>
          <a:custGeom>
            <a:avLst/>
            <a:gdLst>
              <a:gd name="csX0" fmla="*/ 270798 w 342106"/>
              <a:gd name="csY0" fmla="*/ 65953 h 78573"/>
              <a:gd name="csX1" fmla="*/ 183290 w 342106"/>
              <a:gd name="csY1" fmla="*/ 76017 h 78573"/>
              <a:gd name="csX2" fmla="*/ 72897 w 342106"/>
              <a:gd name="csY2" fmla="*/ 78565 h 78573"/>
              <a:gd name="csX3" fmla="*/ 5450 w 342106"/>
              <a:gd name="csY3" fmla="*/ 76564 h 78573"/>
              <a:gd name="csX4" fmla="*/ 0 w 342106"/>
              <a:gd name="csY4" fmla="*/ 75649 h 78573"/>
              <a:gd name="csX5" fmla="*/ 0 w 342106"/>
              <a:gd name="csY5" fmla="*/ 21324 h 78573"/>
              <a:gd name="csX6" fmla="*/ 8504 w 342106"/>
              <a:gd name="csY6" fmla="*/ 20688 h 78573"/>
              <a:gd name="csX7" fmla="*/ 98126 w 342106"/>
              <a:gd name="csY7" fmla="*/ 19655 h 78573"/>
              <a:gd name="csX8" fmla="*/ 221639 w 342106"/>
              <a:gd name="csY8" fmla="*/ 10929 h 78573"/>
              <a:gd name="csX9" fmla="*/ 304285 w 342106"/>
              <a:gd name="csY9" fmla="*/ 683 h 78573"/>
              <a:gd name="csX10" fmla="*/ 309173 w 342106"/>
              <a:gd name="csY10" fmla="*/ 212 h 78573"/>
              <a:gd name="csX11" fmla="*/ 335187 w 342106"/>
              <a:gd name="csY11" fmla="*/ 18545 h 78573"/>
              <a:gd name="csX12" fmla="*/ 342106 w 342106"/>
              <a:gd name="csY12" fmla="*/ 53602 h 78573"/>
              <a:gd name="csX13" fmla="*/ 270798 w 342106"/>
              <a:gd name="csY13" fmla="*/ 65953 h 7857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</a:cxnLst>
            <a:rect l="l" t="t" r="r" b="b"/>
            <a:pathLst>
              <a:path w="342106" h="78573">
                <a:moveTo>
                  <a:pt x="270798" y="65953"/>
                </a:moveTo>
                <a:cubicBezTo>
                  <a:pt x="240931" y="69594"/>
                  <a:pt x="212199" y="74306"/>
                  <a:pt x="183290" y="76017"/>
                </a:cubicBezTo>
                <a:cubicBezTo>
                  <a:pt x="146568" y="78191"/>
                  <a:pt x="109704" y="78349"/>
                  <a:pt x="72897" y="78565"/>
                </a:cubicBezTo>
                <a:cubicBezTo>
                  <a:pt x="50419" y="78697"/>
                  <a:pt x="27931" y="77315"/>
                  <a:pt x="5450" y="76564"/>
                </a:cubicBezTo>
                <a:cubicBezTo>
                  <a:pt x="3884" y="76512"/>
                  <a:pt x="2332" y="76053"/>
                  <a:pt x="0" y="75649"/>
                </a:cubicBezTo>
                <a:cubicBezTo>
                  <a:pt x="0" y="57619"/>
                  <a:pt x="0" y="39863"/>
                  <a:pt x="0" y="21324"/>
                </a:cubicBezTo>
                <a:cubicBezTo>
                  <a:pt x="3058" y="21086"/>
                  <a:pt x="5779" y="20715"/>
                  <a:pt x="8504" y="20688"/>
                </a:cubicBezTo>
                <a:cubicBezTo>
                  <a:pt x="38382" y="20390"/>
                  <a:pt x="68305" y="21101"/>
                  <a:pt x="98126" y="19655"/>
                </a:cubicBezTo>
                <a:cubicBezTo>
                  <a:pt x="139343" y="17657"/>
                  <a:pt x="180532" y="14597"/>
                  <a:pt x="221639" y="10929"/>
                </a:cubicBezTo>
                <a:cubicBezTo>
                  <a:pt x="249272" y="8463"/>
                  <a:pt x="276741" y="4156"/>
                  <a:pt x="304285" y="683"/>
                </a:cubicBezTo>
                <a:cubicBezTo>
                  <a:pt x="305908" y="478"/>
                  <a:pt x="307539" y="312"/>
                  <a:pt x="309173" y="212"/>
                </a:cubicBezTo>
                <a:cubicBezTo>
                  <a:pt x="326863" y="-867"/>
                  <a:pt x="330972" y="1719"/>
                  <a:pt x="335187" y="18545"/>
                </a:cubicBezTo>
                <a:cubicBezTo>
                  <a:pt x="337939" y="29526"/>
                  <a:pt x="339618" y="40777"/>
                  <a:pt x="342106" y="53602"/>
                </a:cubicBezTo>
                <a:cubicBezTo>
                  <a:pt x="317523" y="57833"/>
                  <a:pt x="294689" y="61762"/>
                  <a:pt x="270798" y="65953"/>
                </a:cubicBezTo>
                <a:close/>
              </a:path>
            </a:pathLst>
          </a:custGeom>
          <a:solidFill>
            <a:srgbClr val="FCFCFC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1" name="Free-form: Shape 50">
            <a:extLst>
              <a:ext uri="{FF2B5EF4-FFF2-40B4-BE49-F238E27FC236}">
                <a16:creationId xmlns:a16="http://schemas.microsoft.com/office/drawing/2014/main" id="{980C824D-414E-DE7B-0911-05F0F06CF262}"/>
              </a:ext>
            </a:extLst>
          </p:cNvPr>
          <p:cNvSpPr/>
          <p:nvPr/>
        </p:nvSpPr>
        <p:spPr>
          <a:xfrm>
            <a:off x="9244504" y="2329353"/>
            <a:ext cx="72517" cy="55415"/>
          </a:xfrm>
          <a:custGeom>
            <a:avLst/>
            <a:gdLst>
              <a:gd name="csX0" fmla="*/ 9010 w 87239"/>
              <a:gd name="csY0" fmla="*/ 29316 h 66665"/>
              <a:gd name="csX1" fmla="*/ 6110 w 87239"/>
              <a:gd name="csY1" fmla="*/ 15162 h 66665"/>
              <a:gd name="csX2" fmla="*/ 0 w 87239"/>
              <a:gd name="csY2" fmla="*/ 3003 h 66665"/>
              <a:gd name="csX3" fmla="*/ 10641 w 87239"/>
              <a:gd name="csY3" fmla="*/ 697 h 66665"/>
              <a:gd name="csX4" fmla="*/ 42824 w 87239"/>
              <a:gd name="csY4" fmla="*/ 7981 h 66665"/>
              <a:gd name="csX5" fmla="*/ 73433 w 87239"/>
              <a:gd name="csY5" fmla="*/ 31631 h 66665"/>
              <a:gd name="csX6" fmla="*/ 86236 w 87239"/>
              <a:gd name="csY6" fmla="*/ 56519 h 66665"/>
              <a:gd name="csX7" fmla="*/ 82327 w 87239"/>
              <a:gd name="csY7" fmla="*/ 64249 h 66665"/>
              <a:gd name="csX8" fmla="*/ 49439 w 87239"/>
              <a:gd name="csY8" fmla="*/ 66665 h 66665"/>
              <a:gd name="csX9" fmla="*/ 11457 w 87239"/>
              <a:gd name="csY9" fmla="*/ 38560 h 66665"/>
              <a:gd name="csX10" fmla="*/ 9010 w 87239"/>
              <a:gd name="csY10" fmla="*/ 29316 h 6666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</a:cxnLst>
            <a:rect l="l" t="t" r="r" b="b"/>
            <a:pathLst>
              <a:path w="87239" h="66665">
                <a:moveTo>
                  <a:pt x="9010" y="29316"/>
                </a:moveTo>
                <a:cubicBezTo>
                  <a:pt x="7998" y="23924"/>
                  <a:pt x="7568" y="19365"/>
                  <a:pt x="6110" y="15162"/>
                </a:cubicBezTo>
                <a:cubicBezTo>
                  <a:pt x="4682" y="11044"/>
                  <a:pt x="2207" y="7289"/>
                  <a:pt x="0" y="3003"/>
                </a:cubicBezTo>
                <a:cubicBezTo>
                  <a:pt x="2648" y="-833"/>
                  <a:pt x="6580" y="-238"/>
                  <a:pt x="10641" y="697"/>
                </a:cubicBezTo>
                <a:cubicBezTo>
                  <a:pt x="21360" y="3163"/>
                  <a:pt x="32042" y="5825"/>
                  <a:pt x="42824" y="7981"/>
                </a:cubicBezTo>
                <a:cubicBezTo>
                  <a:pt x="57032" y="10823"/>
                  <a:pt x="67419" y="18068"/>
                  <a:pt x="73433" y="31631"/>
                </a:cubicBezTo>
                <a:cubicBezTo>
                  <a:pt x="77208" y="40146"/>
                  <a:pt x="81954" y="48228"/>
                  <a:pt x="86236" y="56519"/>
                </a:cubicBezTo>
                <a:cubicBezTo>
                  <a:pt x="88409" y="60728"/>
                  <a:pt x="87030" y="63806"/>
                  <a:pt x="82327" y="64249"/>
                </a:cubicBezTo>
                <a:cubicBezTo>
                  <a:pt x="71381" y="65282"/>
                  <a:pt x="60402" y="66689"/>
                  <a:pt x="49439" y="66665"/>
                </a:cubicBezTo>
                <a:cubicBezTo>
                  <a:pt x="28683" y="66620"/>
                  <a:pt x="18142" y="58428"/>
                  <a:pt x="11457" y="38560"/>
                </a:cubicBezTo>
                <a:cubicBezTo>
                  <a:pt x="10547" y="35855"/>
                  <a:pt x="9906" y="33058"/>
                  <a:pt x="9010" y="29316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08CCAD5C-746A-7B0D-9822-3CBB78215093}"/>
              </a:ext>
            </a:extLst>
          </p:cNvPr>
          <p:cNvSpPr txBox="1"/>
          <p:nvPr/>
        </p:nvSpPr>
        <p:spPr>
          <a:xfrm>
            <a:off x="8450346" y="3567325"/>
            <a:ext cx="1438002" cy="3927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Loncastuximab </a:t>
            </a:r>
            <a:b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esirine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B2F5C790-C450-F8D3-0FDB-F1FDFAB94ABA}"/>
              </a:ext>
            </a:extLst>
          </p:cNvPr>
          <p:cNvSpPr txBox="1"/>
          <p:nvPr/>
        </p:nvSpPr>
        <p:spPr>
          <a:xfrm>
            <a:off x="5866943" y="3567325"/>
            <a:ext cx="1710704" cy="3927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D20×CD3 </a:t>
            </a:r>
            <a:b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BsAbs</a:t>
            </a: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BD93FF3A-30D0-FDD2-1634-869E59859619}"/>
              </a:ext>
            </a:extLst>
          </p:cNvPr>
          <p:cNvSpPr/>
          <p:nvPr/>
        </p:nvSpPr>
        <p:spPr>
          <a:xfrm>
            <a:off x="6334593" y="3260057"/>
            <a:ext cx="739960" cy="152189"/>
          </a:xfrm>
          <a:prstGeom prst="ellipse">
            <a:avLst/>
          </a:prstGeom>
          <a:solidFill>
            <a:schemeClr val="tx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5" name="Free-form: Shape 54">
            <a:extLst>
              <a:ext uri="{FF2B5EF4-FFF2-40B4-BE49-F238E27FC236}">
                <a16:creationId xmlns:a16="http://schemas.microsoft.com/office/drawing/2014/main" id="{A3C7817A-B8C9-EF85-1C79-FCC7E4089BA8}"/>
              </a:ext>
            </a:extLst>
          </p:cNvPr>
          <p:cNvSpPr/>
          <p:nvPr/>
        </p:nvSpPr>
        <p:spPr>
          <a:xfrm>
            <a:off x="6414557" y="1958480"/>
            <a:ext cx="650203" cy="1414846"/>
          </a:xfrm>
          <a:custGeom>
            <a:avLst/>
            <a:gdLst>
              <a:gd name="csX0" fmla="*/ 466852 w 715223"/>
              <a:gd name="csY0" fmla="*/ 229083 h 1556330"/>
              <a:gd name="csX1" fmla="*/ 462328 w 715223"/>
              <a:gd name="csY1" fmla="*/ 242604 h 1556330"/>
              <a:gd name="csX2" fmla="*/ 496944 w 715223"/>
              <a:gd name="csY2" fmla="*/ 204739 h 1556330"/>
              <a:gd name="csX3" fmla="*/ 534359 w 715223"/>
              <a:gd name="csY3" fmla="*/ 270960 h 1556330"/>
              <a:gd name="csX4" fmla="*/ 540589 w 715223"/>
              <a:gd name="csY4" fmla="*/ 445986 h 1556330"/>
              <a:gd name="csX5" fmla="*/ 509727 w 715223"/>
              <a:gd name="csY5" fmla="*/ 496924 h 1556330"/>
              <a:gd name="csX6" fmla="*/ 505366 w 715223"/>
              <a:gd name="csY6" fmla="*/ 511893 h 1556330"/>
              <a:gd name="csX7" fmla="*/ 501982 w 715223"/>
              <a:gd name="csY7" fmla="*/ 530377 h 1556330"/>
              <a:gd name="csX8" fmla="*/ 505678 w 715223"/>
              <a:gd name="csY8" fmla="*/ 556455 h 1556330"/>
              <a:gd name="csX9" fmla="*/ 526115 w 715223"/>
              <a:gd name="csY9" fmla="*/ 591784 h 1556330"/>
              <a:gd name="csX10" fmla="*/ 541579 w 715223"/>
              <a:gd name="csY10" fmla="*/ 612264 h 1556330"/>
              <a:gd name="csX11" fmla="*/ 569572 w 715223"/>
              <a:gd name="csY11" fmla="*/ 643441 h 1556330"/>
              <a:gd name="csX12" fmla="*/ 555234 w 715223"/>
              <a:gd name="csY12" fmla="*/ 688473 h 1556330"/>
              <a:gd name="csX13" fmla="*/ 513278 w 715223"/>
              <a:gd name="csY13" fmla="*/ 700556 h 1556330"/>
              <a:gd name="csX14" fmla="*/ 488559 w 715223"/>
              <a:gd name="csY14" fmla="*/ 702821 h 1556330"/>
              <a:gd name="csX15" fmla="*/ 488544 w 715223"/>
              <a:gd name="csY15" fmla="*/ 718085 h 1556330"/>
              <a:gd name="csX16" fmla="*/ 526561 w 715223"/>
              <a:gd name="csY16" fmla="*/ 1010212 h 1556330"/>
              <a:gd name="csX17" fmla="*/ 569986 w 715223"/>
              <a:gd name="csY17" fmla="*/ 1153317 h 1556330"/>
              <a:gd name="csX18" fmla="*/ 587389 w 715223"/>
              <a:gd name="csY18" fmla="*/ 1172173 h 1556330"/>
              <a:gd name="csX19" fmla="*/ 606286 w 715223"/>
              <a:gd name="csY19" fmla="*/ 1180891 h 1556330"/>
              <a:gd name="csX20" fmla="*/ 613400 w 715223"/>
              <a:gd name="csY20" fmla="*/ 1204260 h 1556330"/>
              <a:gd name="csX21" fmla="*/ 605350 w 715223"/>
              <a:gd name="csY21" fmla="*/ 1216760 h 1556330"/>
              <a:gd name="csX22" fmla="*/ 600268 w 715223"/>
              <a:gd name="csY22" fmla="*/ 1220273 h 1556330"/>
              <a:gd name="csX23" fmla="*/ 610574 w 715223"/>
              <a:gd name="csY23" fmla="*/ 1258750 h 1556330"/>
              <a:gd name="csX24" fmla="*/ 672371 w 715223"/>
              <a:gd name="csY24" fmla="*/ 1319810 h 1556330"/>
              <a:gd name="csX25" fmla="*/ 675494 w 715223"/>
              <a:gd name="csY25" fmla="*/ 1323366 h 1556330"/>
              <a:gd name="csX26" fmla="*/ 692949 w 715223"/>
              <a:gd name="csY26" fmla="*/ 1396068 h 1556330"/>
              <a:gd name="csX27" fmla="*/ 690628 w 715223"/>
              <a:gd name="csY27" fmla="*/ 1414117 h 1556330"/>
              <a:gd name="csX28" fmla="*/ 695588 w 715223"/>
              <a:gd name="csY28" fmla="*/ 1421035 h 1556330"/>
              <a:gd name="csX29" fmla="*/ 694353 w 715223"/>
              <a:gd name="csY29" fmla="*/ 1425190 h 1556330"/>
              <a:gd name="csX30" fmla="*/ 689106 w 715223"/>
              <a:gd name="csY30" fmla="*/ 1428714 h 1556330"/>
              <a:gd name="csX31" fmla="*/ 695093 w 715223"/>
              <a:gd name="csY31" fmla="*/ 1428433 h 1556330"/>
              <a:gd name="csX32" fmla="*/ 697643 w 715223"/>
              <a:gd name="csY32" fmla="*/ 1432864 h 1556330"/>
              <a:gd name="csX33" fmla="*/ 698207 w 715223"/>
              <a:gd name="csY33" fmla="*/ 1441988 h 1556330"/>
              <a:gd name="csX34" fmla="*/ 715183 w 715223"/>
              <a:gd name="csY34" fmla="*/ 1508752 h 1556330"/>
              <a:gd name="csX35" fmla="*/ 701540 w 715223"/>
              <a:gd name="csY35" fmla="*/ 1526524 h 1556330"/>
              <a:gd name="csX36" fmla="*/ 581715 w 715223"/>
              <a:gd name="csY36" fmla="*/ 1548559 h 1556330"/>
              <a:gd name="csX37" fmla="*/ 522168 w 715223"/>
              <a:gd name="csY37" fmla="*/ 1553543 h 1556330"/>
              <a:gd name="csX38" fmla="*/ 450008 w 715223"/>
              <a:gd name="csY38" fmla="*/ 1556019 h 1556330"/>
              <a:gd name="csX39" fmla="*/ 245169 w 715223"/>
              <a:gd name="csY39" fmla="*/ 1553749 h 1556330"/>
              <a:gd name="csX40" fmla="*/ 221854 w 715223"/>
              <a:gd name="csY40" fmla="*/ 1553306 h 1556330"/>
              <a:gd name="csX41" fmla="*/ 168405 w 715223"/>
              <a:gd name="csY41" fmla="*/ 1548828 h 1556330"/>
              <a:gd name="csX42" fmla="*/ 126970 w 715223"/>
              <a:gd name="csY42" fmla="*/ 1546091 h 1556330"/>
              <a:gd name="csX43" fmla="*/ 104053 w 715223"/>
              <a:gd name="csY43" fmla="*/ 1542912 h 1556330"/>
              <a:gd name="csX44" fmla="*/ 65625 w 715223"/>
              <a:gd name="csY44" fmla="*/ 1536401 h 1556330"/>
              <a:gd name="csX45" fmla="*/ 10909 w 715223"/>
              <a:gd name="csY45" fmla="*/ 1524010 h 1556330"/>
              <a:gd name="csX46" fmla="*/ 8 w 715223"/>
              <a:gd name="csY46" fmla="*/ 1509263 h 1556330"/>
              <a:gd name="csX47" fmla="*/ 21158 w 715223"/>
              <a:gd name="csY47" fmla="*/ 1433611 h 1556330"/>
              <a:gd name="csX48" fmla="*/ 23462 w 715223"/>
              <a:gd name="csY48" fmla="*/ 1418658 h 1556330"/>
              <a:gd name="csX49" fmla="*/ 19643 w 715223"/>
              <a:gd name="csY49" fmla="*/ 1382324 h 1556330"/>
              <a:gd name="csX50" fmla="*/ 49060 w 715223"/>
              <a:gd name="csY50" fmla="*/ 1311832 h 1556330"/>
              <a:gd name="csX51" fmla="*/ 109176 w 715223"/>
              <a:gd name="csY51" fmla="*/ 1254078 h 1556330"/>
              <a:gd name="csX52" fmla="*/ 118319 w 715223"/>
              <a:gd name="csY52" fmla="*/ 1214801 h 1556330"/>
              <a:gd name="csX53" fmla="*/ 113082 w 715223"/>
              <a:gd name="csY53" fmla="*/ 1201084 h 1556330"/>
              <a:gd name="csX54" fmla="*/ 120417 w 715223"/>
              <a:gd name="csY54" fmla="*/ 1183950 h 1556330"/>
              <a:gd name="csX55" fmla="*/ 135209 w 715223"/>
              <a:gd name="csY55" fmla="*/ 1178138 h 1556330"/>
              <a:gd name="csX56" fmla="*/ 156535 w 715223"/>
              <a:gd name="csY56" fmla="*/ 1156396 h 1556330"/>
              <a:gd name="csX57" fmla="*/ 185647 w 715223"/>
              <a:gd name="csY57" fmla="*/ 1061682 h 1556330"/>
              <a:gd name="csX58" fmla="*/ 201074 w 715223"/>
              <a:gd name="csY58" fmla="*/ 1005093 h 1556330"/>
              <a:gd name="csX59" fmla="*/ 213864 w 715223"/>
              <a:gd name="csY59" fmla="*/ 943040 h 1556330"/>
              <a:gd name="csX60" fmla="*/ 223580 w 715223"/>
              <a:gd name="csY60" fmla="*/ 884167 h 1556330"/>
              <a:gd name="csX61" fmla="*/ 228827 w 715223"/>
              <a:gd name="csY61" fmla="*/ 839382 h 1556330"/>
              <a:gd name="csX62" fmla="*/ 233251 w 715223"/>
              <a:gd name="csY62" fmla="*/ 794539 h 1556330"/>
              <a:gd name="csX63" fmla="*/ 233413 w 715223"/>
              <a:gd name="csY63" fmla="*/ 708554 h 1556330"/>
              <a:gd name="csX64" fmla="*/ 232253 w 715223"/>
              <a:gd name="csY64" fmla="*/ 699181 h 1556330"/>
              <a:gd name="csX65" fmla="*/ 192775 w 715223"/>
              <a:gd name="csY65" fmla="*/ 693131 h 1556330"/>
              <a:gd name="csX66" fmla="*/ 166222 w 715223"/>
              <a:gd name="csY66" fmla="*/ 684229 h 1556330"/>
              <a:gd name="csX67" fmla="*/ 153485 w 715223"/>
              <a:gd name="csY67" fmla="*/ 649704 h 1556330"/>
              <a:gd name="csX68" fmla="*/ 179302 w 715223"/>
              <a:gd name="csY68" fmla="*/ 621006 h 1556330"/>
              <a:gd name="csX69" fmla="*/ 192182 w 715223"/>
              <a:gd name="csY69" fmla="*/ 601675 h 1556330"/>
              <a:gd name="csX70" fmla="*/ 204894 w 715223"/>
              <a:gd name="csY70" fmla="*/ 583417 h 1556330"/>
              <a:gd name="csX71" fmla="*/ 233213 w 715223"/>
              <a:gd name="csY71" fmla="*/ 564393 h 1556330"/>
              <a:gd name="csX72" fmla="*/ 229725 w 715223"/>
              <a:gd name="csY72" fmla="*/ 538177 h 1556330"/>
              <a:gd name="csX73" fmla="*/ 218771 w 715223"/>
              <a:gd name="csY73" fmla="*/ 532633 h 1556330"/>
              <a:gd name="csX74" fmla="*/ 215183 w 715223"/>
              <a:gd name="csY74" fmla="*/ 521568 h 1556330"/>
              <a:gd name="csX75" fmla="*/ 223368 w 715223"/>
              <a:gd name="csY75" fmla="*/ 508901 h 1556330"/>
              <a:gd name="csX76" fmla="*/ 218372 w 715223"/>
              <a:gd name="csY76" fmla="*/ 498135 h 1556330"/>
              <a:gd name="csX77" fmla="*/ 181440 w 715223"/>
              <a:gd name="csY77" fmla="*/ 432308 h 1556330"/>
              <a:gd name="csX78" fmla="*/ 167535 w 715223"/>
              <a:gd name="csY78" fmla="*/ 349841 h 1556330"/>
              <a:gd name="csX79" fmla="*/ 193488 w 715223"/>
              <a:gd name="csY79" fmla="*/ 262518 h 1556330"/>
              <a:gd name="csX80" fmla="*/ 237748 w 715223"/>
              <a:gd name="csY80" fmla="*/ 190690 h 1556330"/>
              <a:gd name="csX81" fmla="*/ 309459 w 715223"/>
              <a:gd name="csY81" fmla="*/ 102623 h 1556330"/>
              <a:gd name="csX82" fmla="*/ 310459 w 715223"/>
              <a:gd name="csY82" fmla="*/ 78521 h 1556330"/>
              <a:gd name="csX83" fmla="*/ 300267 w 715223"/>
              <a:gd name="csY83" fmla="*/ 57856 h 1556330"/>
              <a:gd name="csX84" fmla="*/ 332242 w 715223"/>
              <a:gd name="csY84" fmla="*/ 4422 h 1556330"/>
              <a:gd name="csX85" fmla="*/ 384904 w 715223"/>
              <a:gd name="csY85" fmla="*/ 5551 h 1556330"/>
              <a:gd name="csX86" fmla="*/ 409773 w 715223"/>
              <a:gd name="csY86" fmla="*/ 26778 h 1556330"/>
              <a:gd name="csX87" fmla="*/ 407026 w 715223"/>
              <a:gd name="csY87" fmla="*/ 46052 h 1556330"/>
              <a:gd name="csX88" fmla="*/ 402771 w 715223"/>
              <a:gd name="csY88" fmla="*/ 30951 h 1556330"/>
              <a:gd name="csX89" fmla="*/ 397038 w 715223"/>
              <a:gd name="csY89" fmla="*/ 30361 h 1556330"/>
              <a:gd name="csX90" fmla="*/ 360694 w 715223"/>
              <a:gd name="csY90" fmla="*/ 22760 h 1556330"/>
              <a:gd name="csX91" fmla="*/ 351669 w 715223"/>
              <a:gd name="csY91" fmla="*/ 31736 h 1556330"/>
              <a:gd name="csX92" fmla="*/ 351426 w 715223"/>
              <a:gd name="csY92" fmla="*/ 43987 h 1556330"/>
              <a:gd name="csX93" fmla="*/ 390968 w 715223"/>
              <a:gd name="csY93" fmla="*/ 68762 h 1556330"/>
              <a:gd name="csX94" fmla="*/ 401770 w 715223"/>
              <a:gd name="csY94" fmla="*/ 59025 h 1556330"/>
              <a:gd name="csX95" fmla="*/ 409619 w 715223"/>
              <a:gd name="csY95" fmla="*/ 55786 h 1556330"/>
              <a:gd name="csX96" fmla="*/ 410427 w 715223"/>
              <a:gd name="csY96" fmla="*/ 64256 h 1556330"/>
              <a:gd name="csX97" fmla="*/ 399453 w 715223"/>
              <a:gd name="csY97" fmla="*/ 81811 h 1556330"/>
              <a:gd name="csX98" fmla="*/ 399346 w 715223"/>
              <a:gd name="csY98" fmla="*/ 98083 h 1556330"/>
              <a:gd name="csX99" fmla="*/ 471592 w 715223"/>
              <a:gd name="csY99" fmla="*/ 180524 h 1556330"/>
              <a:gd name="csX100" fmla="*/ 473550 w 715223"/>
              <a:gd name="csY100" fmla="*/ 200923 h 1556330"/>
              <a:gd name="csX101" fmla="*/ 463677 w 715223"/>
              <a:gd name="csY101" fmla="*/ 223311 h 1556330"/>
              <a:gd name="csX102" fmla="*/ 466852 w 715223"/>
              <a:gd name="csY102" fmla="*/ 229083 h 1556330"/>
              <a:gd name="csX103" fmla="*/ 474186 w 715223"/>
              <a:gd name="csY103" fmla="*/ 928382 h 1556330"/>
              <a:gd name="csX104" fmla="*/ 459927 w 715223"/>
              <a:gd name="csY104" fmla="*/ 817790 h 1556330"/>
              <a:gd name="csX105" fmla="*/ 456025 w 715223"/>
              <a:gd name="csY105" fmla="*/ 706469 h 1556330"/>
              <a:gd name="csX106" fmla="*/ 366863 w 715223"/>
              <a:gd name="csY106" fmla="*/ 710754 h 1556330"/>
              <a:gd name="csX107" fmla="*/ 366159 w 715223"/>
              <a:gd name="csY107" fmla="*/ 719219 h 1556330"/>
              <a:gd name="csX108" fmla="*/ 364159 w 715223"/>
              <a:gd name="csY108" fmla="*/ 834581 h 1556330"/>
              <a:gd name="csX109" fmla="*/ 361633 w 715223"/>
              <a:gd name="csY109" fmla="*/ 940117 h 1556330"/>
              <a:gd name="csX110" fmla="*/ 358313 w 715223"/>
              <a:gd name="csY110" fmla="*/ 1053005 h 1556330"/>
              <a:gd name="csX111" fmla="*/ 358081 w 715223"/>
              <a:gd name="csY111" fmla="*/ 1057912 h 1556330"/>
              <a:gd name="csX112" fmla="*/ 353706 w 715223"/>
              <a:gd name="csY112" fmla="*/ 1164570 h 1556330"/>
              <a:gd name="csX113" fmla="*/ 354951 w 715223"/>
              <a:gd name="csY113" fmla="*/ 1172547 h 1556330"/>
              <a:gd name="csX114" fmla="*/ 540959 w 715223"/>
              <a:gd name="csY114" fmla="*/ 1175972 h 1556330"/>
              <a:gd name="csX115" fmla="*/ 474186 w 715223"/>
              <a:gd name="csY115" fmla="*/ 928382 h 1556330"/>
              <a:gd name="csX116" fmla="*/ 513768 w 715223"/>
              <a:gd name="csY116" fmla="*/ 1417676 h 1556330"/>
              <a:gd name="csX117" fmla="*/ 519822 w 715223"/>
              <a:gd name="csY117" fmla="*/ 1416700 h 1556330"/>
              <a:gd name="csX118" fmla="*/ 632041 w 715223"/>
              <a:gd name="csY118" fmla="*/ 1406122 h 1556330"/>
              <a:gd name="csX119" fmla="*/ 665040 w 715223"/>
              <a:gd name="csY119" fmla="*/ 1400634 h 1556330"/>
              <a:gd name="csX120" fmla="*/ 665677 w 715223"/>
              <a:gd name="csY120" fmla="*/ 1396126 h 1556330"/>
              <a:gd name="csX121" fmla="*/ 665529 w 715223"/>
              <a:gd name="csY121" fmla="*/ 1389994 h 1556330"/>
              <a:gd name="csX122" fmla="*/ 623046 w 715223"/>
              <a:gd name="csY122" fmla="*/ 1306238 h 1556330"/>
              <a:gd name="csX123" fmla="*/ 596015 w 715223"/>
              <a:gd name="csY123" fmla="*/ 1281285 h 1556330"/>
              <a:gd name="csX124" fmla="*/ 567683 w 715223"/>
              <a:gd name="csY124" fmla="*/ 1220059 h 1556330"/>
              <a:gd name="csX125" fmla="*/ 540273 w 715223"/>
              <a:gd name="csY125" fmla="*/ 1220129 h 1556330"/>
              <a:gd name="csX126" fmla="*/ 424010 w 715223"/>
              <a:gd name="csY126" fmla="*/ 1226781 h 1556330"/>
              <a:gd name="csX127" fmla="*/ 357832 w 715223"/>
              <a:gd name="csY127" fmla="*/ 1229178 h 1556330"/>
              <a:gd name="csX128" fmla="*/ 352386 w 715223"/>
              <a:gd name="csY128" fmla="*/ 1230616 h 1556330"/>
              <a:gd name="csX129" fmla="*/ 355852 w 715223"/>
              <a:gd name="csY129" fmla="*/ 1324222 h 1556330"/>
              <a:gd name="csX130" fmla="*/ 352930 w 715223"/>
              <a:gd name="csY130" fmla="*/ 1417867 h 1556330"/>
              <a:gd name="csX131" fmla="*/ 513768 w 715223"/>
              <a:gd name="csY131" fmla="*/ 1417676 h 1556330"/>
              <a:gd name="csX132" fmla="*/ 387930 w 715223"/>
              <a:gd name="csY132" fmla="*/ 499741 h 1556330"/>
              <a:gd name="csX133" fmla="*/ 456529 w 715223"/>
              <a:gd name="csY133" fmla="*/ 496826 h 1556330"/>
              <a:gd name="csX134" fmla="*/ 482355 w 715223"/>
              <a:gd name="csY134" fmla="*/ 485095 h 1556330"/>
              <a:gd name="csX135" fmla="*/ 528016 w 715223"/>
              <a:gd name="csY135" fmla="*/ 374829 h 1556330"/>
              <a:gd name="csX136" fmla="*/ 501375 w 715223"/>
              <a:gd name="csY136" fmla="*/ 261643 h 1556330"/>
              <a:gd name="csX137" fmla="*/ 493534 w 715223"/>
              <a:gd name="csY137" fmla="*/ 249818 h 1556330"/>
              <a:gd name="csX138" fmla="*/ 485920 w 715223"/>
              <a:gd name="csY138" fmla="*/ 260010 h 1556330"/>
              <a:gd name="csX139" fmla="*/ 453305 w 715223"/>
              <a:gd name="csY139" fmla="*/ 310523 h 1556330"/>
              <a:gd name="csX140" fmla="*/ 433678 w 715223"/>
              <a:gd name="csY140" fmla="*/ 338672 h 1556330"/>
              <a:gd name="csX141" fmla="*/ 403713 w 715223"/>
              <a:gd name="csY141" fmla="*/ 343710 h 1556330"/>
              <a:gd name="csX142" fmla="*/ 396427 w 715223"/>
              <a:gd name="csY142" fmla="*/ 315612 h 1556330"/>
              <a:gd name="csX143" fmla="*/ 399663 w 715223"/>
              <a:gd name="csY143" fmla="*/ 309000 h 1556330"/>
              <a:gd name="csX144" fmla="*/ 452097 w 715223"/>
              <a:gd name="csY144" fmla="*/ 200770 h 1556330"/>
              <a:gd name="csX145" fmla="*/ 450118 w 715223"/>
              <a:gd name="csY145" fmla="*/ 180596 h 1556330"/>
              <a:gd name="csX146" fmla="*/ 376545 w 715223"/>
              <a:gd name="csY146" fmla="*/ 105525 h 1556330"/>
              <a:gd name="csX147" fmla="*/ 368791 w 715223"/>
              <a:gd name="csY147" fmla="*/ 101653 h 1556330"/>
              <a:gd name="csX148" fmla="*/ 366449 w 715223"/>
              <a:gd name="csY148" fmla="*/ 144676 h 1556330"/>
              <a:gd name="csX149" fmla="*/ 365447 w 715223"/>
              <a:gd name="csY149" fmla="*/ 183946 h 1556330"/>
              <a:gd name="csX150" fmla="*/ 364738 w 715223"/>
              <a:gd name="csY150" fmla="*/ 298022 h 1556330"/>
              <a:gd name="csX151" fmla="*/ 373865 w 715223"/>
              <a:gd name="csY151" fmla="*/ 430096 h 1556330"/>
              <a:gd name="csX152" fmla="*/ 381088 w 715223"/>
              <a:gd name="csY152" fmla="*/ 492169 h 1556330"/>
              <a:gd name="csX153" fmla="*/ 387930 w 715223"/>
              <a:gd name="csY153" fmla="*/ 499741 h 1556330"/>
              <a:gd name="csX154" fmla="*/ 455850 w 715223"/>
              <a:gd name="csY154" fmla="*/ 1521476 h 1556330"/>
              <a:gd name="csX155" fmla="*/ 685121 w 715223"/>
              <a:gd name="csY155" fmla="*/ 1496509 h 1556330"/>
              <a:gd name="csX156" fmla="*/ 672999 w 715223"/>
              <a:gd name="csY156" fmla="*/ 1456665 h 1556330"/>
              <a:gd name="csX157" fmla="*/ 660009 w 715223"/>
              <a:gd name="csY157" fmla="*/ 1450249 h 1556330"/>
              <a:gd name="csX158" fmla="*/ 633248 w 715223"/>
              <a:gd name="csY158" fmla="*/ 1453589 h 1556330"/>
              <a:gd name="csX159" fmla="*/ 451131 w 715223"/>
              <a:gd name="csY159" fmla="*/ 1467458 h 1556330"/>
              <a:gd name="csX160" fmla="*/ 362719 w 715223"/>
              <a:gd name="csY160" fmla="*/ 1467934 h 1556330"/>
              <a:gd name="csX161" fmla="*/ 349983 w 715223"/>
              <a:gd name="csY161" fmla="*/ 1467936 h 1556330"/>
              <a:gd name="csX162" fmla="*/ 352220 w 715223"/>
              <a:gd name="csY162" fmla="*/ 1519140 h 1556330"/>
              <a:gd name="csX163" fmla="*/ 455850 w 715223"/>
              <a:gd name="csY163" fmla="*/ 1521476 h 1556330"/>
              <a:gd name="csX164" fmla="*/ 368682 w 715223"/>
              <a:gd name="csY164" fmla="*/ 544846 h 1556330"/>
              <a:gd name="csX165" fmla="*/ 363600 w 715223"/>
              <a:gd name="csY165" fmla="*/ 605633 h 1556330"/>
              <a:gd name="csX166" fmla="*/ 496351 w 715223"/>
              <a:gd name="csY166" fmla="*/ 601466 h 1556330"/>
              <a:gd name="csX167" fmla="*/ 485068 w 715223"/>
              <a:gd name="csY167" fmla="*/ 579288 h 1556330"/>
              <a:gd name="csX168" fmla="*/ 466524 w 715223"/>
              <a:gd name="csY168" fmla="*/ 541026 h 1556330"/>
              <a:gd name="csX169" fmla="*/ 465000 w 715223"/>
              <a:gd name="csY169" fmla="*/ 536289 h 1556330"/>
              <a:gd name="csX170" fmla="*/ 451328 w 715223"/>
              <a:gd name="csY170" fmla="*/ 536316 h 1556330"/>
              <a:gd name="csX171" fmla="*/ 390140 w 715223"/>
              <a:gd name="csY171" fmla="*/ 538979 h 1556330"/>
              <a:gd name="csX172" fmla="*/ 374215 w 715223"/>
              <a:gd name="csY172" fmla="*/ 539303 h 1556330"/>
              <a:gd name="csX173" fmla="*/ 368682 w 715223"/>
              <a:gd name="csY173" fmla="*/ 544846 h 1556330"/>
              <a:gd name="csX174" fmla="*/ 453915 w 715223"/>
              <a:gd name="csY174" fmla="*/ 635267 h 1556330"/>
              <a:gd name="csX175" fmla="*/ 374200 w 715223"/>
              <a:gd name="csY175" fmla="*/ 639402 h 1556330"/>
              <a:gd name="csX176" fmla="*/ 374200 w 715223"/>
              <a:gd name="csY176" fmla="*/ 673206 h 1556330"/>
              <a:gd name="csX177" fmla="*/ 386639 w 715223"/>
              <a:gd name="csY177" fmla="*/ 673718 h 1556330"/>
              <a:gd name="csX178" fmla="*/ 521198 w 715223"/>
              <a:gd name="csY178" fmla="*/ 668541 h 1556330"/>
              <a:gd name="csX179" fmla="*/ 534198 w 715223"/>
              <a:gd name="csY179" fmla="*/ 665521 h 1556330"/>
              <a:gd name="csX180" fmla="*/ 538413 w 715223"/>
              <a:gd name="csY180" fmla="*/ 652526 h 1556330"/>
              <a:gd name="csX181" fmla="*/ 529377 w 715223"/>
              <a:gd name="csY181" fmla="*/ 642895 h 1556330"/>
              <a:gd name="csX182" fmla="*/ 502829 w 715223"/>
              <a:gd name="csY182" fmla="*/ 634808 h 1556330"/>
              <a:gd name="csX183" fmla="*/ 453915 w 715223"/>
              <a:gd name="csY183" fmla="*/ 635267 h 155633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  <a:cxn ang="0">
                <a:pos x="csX170" y="csY170"/>
              </a:cxn>
              <a:cxn ang="0">
                <a:pos x="csX171" y="csY171"/>
              </a:cxn>
              <a:cxn ang="0">
                <a:pos x="csX172" y="csY172"/>
              </a:cxn>
              <a:cxn ang="0">
                <a:pos x="csX173" y="csY173"/>
              </a:cxn>
              <a:cxn ang="0">
                <a:pos x="csX174" y="csY174"/>
              </a:cxn>
              <a:cxn ang="0">
                <a:pos x="csX175" y="csY175"/>
              </a:cxn>
              <a:cxn ang="0">
                <a:pos x="csX176" y="csY176"/>
              </a:cxn>
              <a:cxn ang="0">
                <a:pos x="csX177" y="csY177"/>
              </a:cxn>
              <a:cxn ang="0">
                <a:pos x="csX178" y="csY178"/>
              </a:cxn>
              <a:cxn ang="0">
                <a:pos x="csX179" y="csY179"/>
              </a:cxn>
              <a:cxn ang="0">
                <a:pos x="csX180" y="csY180"/>
              </a:cxn>
              <a:cxn ang="0">
                <a:pos x="csX181" y="csY181"/>
              </a:cxn>
              <a:cxn ang="0">
                <a:pos x="csX182" y="csY182"/>
              </a:cxn>
              <a:cxn ang="0">
                <a:pos x="csX183" y="csY183"/>
              </a:cxn>
            </a:cxnLst>
            <a:rect l="l" t="t" r="r" b="b"/>
            <a:pathLst>
              <a:path w="715223" h="1556330">
                <a:moveTo>
                  <a:pt x="466852" y="229083"/>
                </a:moveTo>
                <a:cubicBezTo>
                  <a:pt x="465344" y="233590"/>
                  <a:pt x="463836" y="238097"/>
                  <a:pt x="462328" y="242604"/>
                </a:cubicBezTo>
                <a:cubicBezTo>
                  <a:pt x="476604" y="232528"/>
                  <a:pt x="484219" y="216936"/>
                  <a:pt x="496944" y="204739"/>
                </a:cubicBezTo>
                <a:cubicBezTo>
                  <a:pt x="511903" y="225901"/>
                  <a:pt x="524807" y="247414"/>
                  <a:pt x="534359" y="270960"/>
                </a:cubicBezTo>
                <a:cubicBezTo>
                  <a:pt x="557740" y="328591"/>
                  <a:pt x="560223" y="386926"/>
                  <a:pt x="540589" y="445986"/>
                </a:cubicBezTo>
                <a:cubicBezTo>
                  <a:pt x="534197" y="465215"/>
                  <a:pt x="524450" y="482672"/>
                  <a:pt x="509727" y="496924"/>
                </a:cubicBezTo>
                <a:cubicBezTo>
                  <a:pt x="505277" y="501232"/>
                  <a:pt x="502734" y="505157"/>
                  <a:pt x="505366" y="511893"/>
                </a:cubicBezTo>
                <a:cubicBezTo>
                  <a:pt x="507828" y="518196"/>
                  <a:pt x="505953" y="524402"/>
                  <a:pt x="501982" y="530377"/>
                </a:cubicBezTo>
                <a:cubicBezTo>
                  <a:pt x="495613" y="539961"/>
                  <a:pt x="496865" y="548901"/>
                  <a:pt x="505678" y="556455"/>
                </a:cubicBezTo>
                <a:cubicBezTo>
                  <a:pt x="516748" y="565943"/>
                  <a:pt x="523694" y="577557"/>
                  <a:pt x="526115" y="591784"/>
                </a:cubicBezTo>
                <a:cubicBezTo>
                  <a:pt x="527758" y="601445"/>
                  <a:pt x="532593" y="608029"/>
                  <a:pt x="541579" y="612264"/>
                </a:cubicBezTo>
                <a:cubicBezTo>
                  <a:pt x="555150" y="618662"/>
                  <a:pt x="564081" y="629523"/>
                  <a:pt x="569572" y="643441"/>
                </a:cubicBezTo>
                <a:cubicBezTo>
                  <a:pt x="576413" y="660776"/>
                  <a:pt x="570996" y="678245"/>
                  <a:pt x="555234" y="688473"/>
                </a:cubicBezTo>
                <a:cubicBezTo>
                  <a:pt x="542486" y="696746"/>
                  <a:pt x="528127" y="699474"/>
                  <a:pt x="513278" y="700556"/>
                </a:cubicBezTo>
                <a:cubicBezTo>
                  <a:pt x="505590" y="701115"/>
                  <a:pt x="497922" y="701952"/>
                  <a:pt x="488559" y="702821"/>
                </a:cubicBezTo>
                <a:cubicBezTo>
                  <a:pt x="488559" y="708552"/>
                  <a:pt x="488653" y="713320"/>
                  <a:pt x="488544" y="718085"/>
                </a:cubicBezTo>
                <a:cubicBezTo>
                  <a:pt x="486284" y="817406"/>
                  <a:pt x="502313" y="914319"/>
                  <a:pt x="526561" y="1010212"/>
                </a:cubicBezTo>
                <a:cubicBezTo>
                  <a:pt x="538799" y="1058612"/>
                  <a:pt x="553050" y="1106345"/>
                  <a:pt x="569986" y="1153317"/>
                </a:cubicBezTo>
                <a:cubicBezTo>
                  <a:pt x="573328" y="1162590"/>
                  <a:pt x="578279" y="1168740"/>
                  <a:pt x="587389" y="1172173"/>
                </a:cubicBezTo>
                <a:cubicBezTo>
                  <a:pt x="593869" y="1174616"/>
                  <a:pt x="600289" y="1177449"/>
                  <a:pt x="606286" y="1180891"/>
                </a:cubicBezTo>
                <a:cubicBezTo>
                  <a:pt x="617185" y="1187146"/>
                  <a:pt x="618776" y="1192931"/>
                  <a:pt x="613400" y="1204260"/>
                </a:cubicBezTo>
                <a:cubicBezTo>
                  <a:pt x="611475" y="1208315"/>
                  <a:pt x="609140" y="1212177"/>
                  <a:pt x="605350" y="1216760"/>
                </a:cubicBezTo>
                <a:cubicBezTo>
                  <a:pt x="602514" y="1218347"/>
                  <a:pt x="600399" y="1219189"/>
                  <a:pt x="600268" y="1220273"/>
                </a:cubicBezTo>
                <a:cubicBezTo>
                  <a:pt x="598551" y="1234430"/>
                  <a:pt x="599473" y="1247881"/>
                  <a:pt x="610574" y="1258750"/>
                </a:cubicBezTo>
                <a:cubicBezTo>
                  <a:pt x="631265" y="1279009"/>
                  <a:pt x="651790" y="1299438"/>
                  <a:pt x="672371" y="1319810"/>
                </a:cubicBezTo>
                <a:cubicBezTo>
                  <a:pt x="673495" y="1320922"/>
                  <a:pt x="674892" y="1321987"/>
                  <a:pt x="675494" y="1323366"/>
                </a:cubicBezTo>
                <a:cubicBezTo>
                  <a:pt x="685626" y="1346558"/>
                  <a:pt x="694775" y="1370031"/>
                  <a:pt x="692949" y="1396068"/>
                </a:cubicBezTo>
                <a:cubicBezTo>
                  <a:pt x="692525" y="1402108"/>
                  <a:pt x="691276" y="1408087"/>
                  <a:pt x="690628" y="1414117"/>
                </a:cubicBezTo>
                <a:cubicBezTo>
                  <a:pt x="690241" y="1417713"/>
                  <a:pt x="691290" y="1420628"/>
                  <a:pt x="695588" y="1421035"/>
                </a:cubicBezTo>
                <a:cubicBezTo>
                  <a:pt x="695527" y="1422155"/>
                  <a:pt x="695467" y="1423274"/>
                  <a:pt x="694353" y="1425190"/>
                </a:cubicBezTo>
                <a:cubicBezTo>
                  <a:pt x="691901" y="1426894"/>
                  <a:pt x="690503" y="1427804"/>
                  <a:pt x="689106" y="1428714"/>
                </a:cubicBezTo>
                <a:cubicBezTo>
                  <a:pt x="691101" y="1428620"/>
                  <a:pt x="693098" y="1428527"/>
                  <a:pt x="695093" y="1428433"/>
                </a:cubicBezTo>
                <a:cubicBezTo>
                  <a:pt x="695976" y="1429430"/>
                  <a:pt x="696859" y="1430427"/>
                  <a:pt x="697643" y="1432864"/>
                </a:cubicBezTo>
                <a:cubicBezTo>
                  <a:pt x="697724" y="1436887"/>
                  <a:pt x="697087" y="1439912"/>
                  <a:pt x="698207" y="1441988"/>
                </a:cubicBezTo>
                <a:cubicBezTo>
                  <a:pt x="709464" y="1462853"/>
                  <a:pt x="715798" y="1484864"/>
                  <a:pt x="715183" y="1508752"/>
                </a:cubicBezTo>
                <a:cubicBezTo>
                  <a:pt x="714863" y="1521166"/>
                  <a:pt x="713458" y="1523372"/>
                  <a:pt x="701540" y="1526524"/>
                </a:cubicBezTo>
                <a:cubicBezTo>
                  <a:pt x="662165" y="1536936"/>
                  <a:pt x="622006" y="1543243"/>
                  <a:pt x="581715" y="1548559"/>
                </a:cubicBezTo>
                <a:cubicBezTo>
                  <a:pt x="561988" y="1551162"/>
                  <a:pt x="542052" y="1552457"/>
                  <a:pt x="522168" y="1553543"/>
                </a:cubicBezTo>
                <a:cubicBezTo>
                  <a:pt x="498138" y="1554856"/>
                  <a:pt x="474063" y="1556013"/>
                  <a:pt x="450008" y="1556019"/>
                </a:cubicBezTo>
                <a:cubicBezTo>
                  <a:pt x="381724" y="1556035"/>
                  <a:pt x="313415" y="1557550"/>
                  <a:pt x="245169" y="1553749"/>
                </a:cubicBezTo>
                <a:cubicBezTo>
                  <a:pt x="237413" y="1553317"/>
                  <a:pt x="229596" y="1553867"/>
                  <a:pt x="221854" y="1553306"/>
                </a:cubicBezTo>
                <a:cubicBezTo>
                  <a:pt x="204023" y="1552015"/>
                  <a:pt x="186231" y="1550202"/>
                  <a:pt x="168405" y="1548828"/>
                </a:cubicBezTo>
                <a:cubicBezTo>
                  <a:pt x="154605" y="1547764"/>
                  <a:pt x="140762" y="1547242"/>
                  <a:pt x="126970" y="1546091"/>
                </a:cubicBezTo>
                <a:cubicBezTo>
                  <a:pt x="119295" y="1545451"/>
                  <a:pt x="111668" y="1544132"/>
                  <a:pt x="104053" y="1542912"/>
                </a:cubicBezTo>
                <a:cubicBezTo>
                  <a:pt x="91223" y="1540858"/>
                  <a:pt x="78344" y="1539011"/>
                  <a:pt x="65625" y="1536401"/>
                </a:cubicBezTo>
                <a:cubicBezTo>
                  <a:pt x="47307" y="1532642"/>
                  <a:pt x="29006" y="1528694"/>
                  <a:pt x="10909" y="1524010"/>
                </a:cubicBezTo>
                <a:cubicBezTo>
                  <a:pt x="744" y="1521379"/>
                  <a:pt x="119" y="1519620"/>
                  <a:pt x="8" y="1509263"/>
                </a:cubicBezTo>
                <a:cubicBezTo>
                  <a:pt x="-283" y="1482004"/>
                  <a:pt x="7525" y="1456906"/>
                  <a:pt x="21158" y="1433611"/>
                </a:cubicBezTo>
                <a:cubicBezTo>
                  <a:pt x="24128" y="1428537"/>
                  <a:pt x="25100" y="1424162"/>
                  <a:pt x="23462" y="1418658"/>
                </a:cubicBezTo>
                <a:cubicBezTo>
                  <a:pt x="19938" y="1406814"/>
                  <a:pt x="19145" y="1394638"/>
                  <a:pt x="19643" y="1382324"/>
                </a:cubicBezTo>
                <a:cubicBezTo>
                  <a:pt x="20741" y="1355171"/>
                  <a:pt x="29461" y="1331114"/>
                  <a:pt x="49060" y="1311832"/>
                </a:cubicBezTo>
                <a:cubicBezTo>
                  <a:pt x="68866" y="1292344"/>
                  <a:pt x="89102" y="1273294"/>
                  <a:pt x="109176" y="1254078"/>
                </a:cubicBezTo>
                <a:cubicBezTo>
                  <a:pt x="120788" y="1242961"/>
                  <a:pt x="123122" y="1229673"/>
                  <a:pt x="118319" y="1214801"/>
                </a:cubicBezTo>
                <a:cubicBezTo>
                  <a:pt x="116817" y="1210150"/>
                  <a:pt x="114697" y="1205702"/>
                  <a:pt x="113082" y="1201084"/>
                </a:cubicBezTo>
                <a:cubicBezTo>
                  <a:pt x="109606" y="1191147"/>
                  <a:pt x="110855" y="1188189"/>
                  <a:pt x="120417" y="1183950"/>
                </a:cubicBezTo>
                <a:cubicBezTo>
                  <a:pt x="125262" y="1181801"/>
                  <a:pt x="130109" y="1179394"/>
                  <a:pt x="135209" y="1178138"/>
                </a:cubicBezTo>
                <a:cubicBezTo>
                  <a:pt x="146972" y="1175241"/>
                  <a:pt x="153194" y="1166910"/>
                  <a:pt x="156535" y="1156396"/>
                </a:cubicBezTo>
                <a:cubicBezTo>
                  <a:pt x="166535" y="1124919"/>
                  <a:pt x="176229" y="1093339"/>
                  <a:pt x="185647" y="1061682"/>
                </a:cubicBezTo>
                <a:cubicBezTo>
                  <a:pt x="191222" y="1042945"/>
                  <a:pt x="196570" y="1024108"/>
                  <a:pt x="201074" y="1005093"/>
                </a:cubicBezTo>
                <a:cubicBezTo>
                  <a:pt x="205941" y="984550"/>
                  <a:pt x="210000" y="963801"/>
                  <a:pt x="213864" y="943040"/>
                </a:cubicBezTo>
                <a:cubicBezTo>
                  <a:pt x="217503" y="923489"/>
                  <a:pt x="220701" y="903846"/>
                  <a:pt x="223580" y="884167"/>
                </a:cubicBezTo>
                <a:cubicBezTo>
                  <a:pt x="225754" y="869301"/>
                  <a:pt x="227195" y="854324"/>
                  <a:pt x="228827" y="839382"/>
                </a:cubicBezTo>
                <a:cubicBezTo>
                  <a:pt x="230459" y="824446"/>
                  <a:pt x="232880" y="809515"/>
                  <a:pt x="233251" y="794539"/>
                </a:cubicBezTo>
                <a:cubicBezTo>
                  <a:pt x="233961" y="765893"/>
                  <a:pt x="233499" y="737217"/>
                  <a:pt x="233413" y="708554"/>
                </a:cubicBezTo>
                <a:cubicBezTo>
                  <a:pt x="233404" y="705465"/>
                  <a:pt x="232667" y="702378"/>
                  <a:pt x="232253" y="699181"/>
                </a:cubicBezTo>
                <a:cubicBezTo>
                  <a:pt x="218443" y="697138"/>
                  <a:pt x="205461" y="695831"/>
                  <a:pt x="192775" y="693131"/>
                </a:cubicBezTo>
                <a:cubicBezTo>
                  <a:pt x="183686" y="691197"/>
                  <a:pt x="174549" y="688305"/>
                  <a:pt x="166222" y="684229"/>
                </a:cubicBezTo>
                <a:cubicBezTo>
                  <a:pt x="151266" y="676909"/>
                  <a:pt x="147247" y="664789"/>
                  <a:pt x="153485" y="649704"/>
                </a:cubicBezTo>
                <a:cubicBezTo>
                  <a:pt x="158693" y="637111"/>
                  <a:pt x="168160" y="628190"/>
                  <a:pt x="179302" y="621006"/>
                </a:cubicBezTo>
                <a:cubicBezTo>
                  <a:pt x="186548" y="616334"/>
                  <a:pt x="191317" y="611105"/>
                  <a:pt x="192182" y="601675"/>
                </a:cubicBezTo>
                <a:cubicBezTo>
                  <a:pt x="192878" y="594094"/>
                  <a:pt x="197099" y="587626"/>
                  <a:pt x="204894" y="583417"/>
                </a:cubicBezTo>
                <a:cubicBezTo>
                  <a:pt x="214873" y="578030"/>
                  <a:pt x="224643" y="571774"/>
                  <a:pt x="233213" y="564393"/>
                </a:cubicBezTo>
                <a:cubicBezTo>
                  <a:pt x="242623" y="556289"/>
                  <a:pt x="240441" y="544193"/>
                  <a:pt x="229725" y="538177"/>
                </a:cubicBezTo>
                <a:cubicBezTo>
                  <a:pt x="226159" y="536176"/>
                  <a:pt x="222483" y="534351"/>
                  <a:pt x="218771" y="532633"/>
                </a:cubicBezTo>
                <a:cubicBezTo>
                  <a:pt x="213503" y="530196"/>
                  <a:pt x="212651" y="526226"/>
                  <a:pt x="215183" y="521568"/>
                </a:cubicBezTo>
                <a:cubicBezTo>
                  <a:pt x="217485" y="517332"/>
                  <a:pt x="220405" y="513432"/>
                  <a:pt x="223368" y="508901"/>
                </a:cubicBezTo>
                <a:cubicBezTo>
                  <a:pt x="221781" y="505376"/>
                  <a:pt x="220809" y="501165"/>
                  <a:pt x="218372" y="498135"/>
                </a:cubicBezTo>
                <a:cubicBezTo>
                  <a:pt x="202366" y="478231"/>
                  <a:pt x="190774" y="455961"/>
                  <a:pt x="181440" y="432308"/>
                </a:cubicBezTo>
                <a:cubicBezTo>
                  <a:pt x="170959" y="405748"/>
                  <a:pt x="164933" y="378186"/>
                  <a:pt x="167535" y="349841"/>
                </a:cubicBezTo>
                <a:cubicBezTo>
                  <a:pt x="170341" y="319265"/>
                  <a:pt x="179208" y="289917"/>
                  <a:pt x="193488" y="262518"/>
                </a:cubicBezTo>
                <a:cubicBezTo>
                  <a:pt x="206512" y="237529"/>
                  <a:pt x="220831" y="213359"/>
                  <a:pt x="237748" y="190690"/>
                </a:cubicBezTo>
                <a:cubicBezTo>
                  <a:pt x="260421" y="160310"/>
                  <a:pt x="282602" y="129592"/>
                  <a:pt x="309459" y="102623"/>
                </a:cubicBezTo>
                <a:cubicBezTo>
                  <a:pt x="316627" y="95424"/>
                  <a:pt x="316261" y="87541"/>
                  <a:pt x="310459" y="78521"/>
                </a:cubicBezTo>
                <a:cubicBezTo>
                  <a:pt x="306309" y="72071"/>
                  <a:pt x="301695" y="65150"/>
                  <a:pt x="300267" y="57856"/>
                </a:cubicBezTo>
                <a:cubicBezTo>
                  <a:pt x="295286" y="32423"/>
                  <a:pt x="314502" y="10133"/>
                  <a:pt x="332242" y="4422"/>
                </a:cubicBezTo>
                <a:cubicBezTo>
                  <a:pt x="349540" y="-1148"/>
                  <a:pt x="367530" y="-2176"/>
                  <a:pt x="384904" y="5551"/>
                </a:cubicBezTo>
                <a:cubicBezTo>
                  <a:pt x="395271" y="10161"/>
                  <a:pt x="403310" y="17760"/>
                  <a:pt x="409773" y="26778"/>
                </a:cubicBezTo>
                <a:cubicBezTo>
                  <a:pt x="415168" y="34307"/>
                  <a:pt x="413749" y="41584"/>
                  <a:pt x="407026" y="46052"/>
                </a:cubicBezTo>
                <a:cubicBezTo>
                  <a:pt x="405624" y="40964"/>
                  <a:pt x="404503" y="35849"/>
                  <a:pt x="402771" y="30951"/>
                </a:cubicBezTo>
                <a:cubicBezTo>
                  <a:pt x="401450" y="27216"/>
                  <a:pt x="399383" y="28477"/>
                  <a:pt x="397038" y="30361"/>
                </a:cubicBezTo>
                <a:cubicBezTo>
                  <a:pt x="384440" y="15986"/>
                  <a:pt x="377037" y="14494"/>
                  <a:pt x="360694" y="22760"/>
                </a:cubicBezTo>
                <a:cubicBezTo>
                  <a:pt x="353707" y="22767"/>
                  <a:pt x="352275" y="27176"/>
                  <a:pt x="351669" y="31736"/>
                </a:cubicBezTo>
                <a:cubicBezTo>
                  <a:pt x="351136" y="35760"/>
                  <a:pt x="351383" y="39899"/>
                  <a:pt x="351426" y="43987"/>
                </a:cubicBezTo>
                <a:cubicBezTo>
                  <a:pt x="351648" y="64919"/>
                  <a:pt x="372389" y="78115"/>
                  <a:pt x="390968" y="68762"/>
                </a:cubicBezTo>
                <a:cubicBezTo>
                  <a:pt x="395158" y="66653"/>
                  <a:pt x="398534" y="62629"/>
                  <a:pt x="401770" y="59025"/>
                </a:cubicBezTo>
                <a:cubicBezTo>
                  <a:pt x="404045" y="56491"/>
                  <a:pt x="405661" y="53409"/>
                  <a:pt x="409619" y="55786"/>
                </a:cubicBezTo>
                <a:cubicBezTo>
                  <a:pt x="413544" y="58145"/>
                  <a:pt x="412176" y="61347"/>
                  <a:pt x="410427" y="64256"/>
                </a:cubicBezTo>
                <a:cubicBezTo>
                  <a:pt x="406872" y="70170"/>
                  <a:pt x="403244" y="76046"/>
                  <a:pt x="399453" y="81811"/>
                </a:cubicBezTo>
                <a:cubicBezTo>
                  <a:pt x="394663" y="89097"/>
                  <a:pt x="394382" y="94032"/>
                  <a:pt x="399346" y="98083"/>
                </a:cubicBezTo>
                <a:cubicBezTo>
                  <a:pt x="428062" y="121519"/>
                  <a:pt x="450822" y="150083"/>
                  <a:pt x="471592" y="180524"/>
                </a:cubicBezTo>
                <a:cubicBezTo>
                  <a:pt x="476398" y="187569"/>
                  <a:pt x="476844" y="193688"/>
                  <a:pt x="473550" y="200923"/>
                </a:cubicBezTo>
                <a:cubicBezTo>
                  <a:pt x="470171" y="208346"/>
                  <a:pt x="467091" y="215905"/>
                  <a:pt x="463677" y="223311"/>
                </a:cubicBezTo>
                <a:cubicBezTo>
                  <a:pt x="461993" y="226965"/>
                  <a:pt x="462995" y="228697"/>
                  <a:pt x="466852" y="229083"/>
                </a:cubicBezTo>
                <a:moveTo>
                  <a:pt x="474186" y="928382"/>
                </a:moveTo>
                <a:cubicBezTo>
                  <a:pt x="469297" y="891529"/>
                  <a:pt x="462961" y="854794"/>
                  <a:pt x="459927" y="817790"/>
                </a:cubicBezTo>
                <a:cubicBezTo>
                  <a:pt x="456905" y="780939"/>
                  <a:pt x="457197" y="743817"/>
                  <a:pt x="456025" y="706469"/>
                </a:cubicBezTo>
                <a:cubicBezTo>
                  <a:pt x="425780" y="707923"/>
                  <a:pt x="396554" y="709327"/>
                  <a:pt x="366863" y="710754"/>
                </a:cubicBezTo>
                <a:cubicBezTo>
                  <a:pt x="366546" y="714450"/>
                  <a:pt x="366201" y="716832"/>
                  <a:pt x="366159" y="719219"/>
                </a:cubicBezTo>
                <a:cubicBezTo>
                  <a:pt x="365479" y="757672"/>
                  <a:pt x="364935" y="796129"/>
                  <a:pt x="364159" y="834581"/>
                </a:cubicBezTo>
                <a:cubicBezTo>
                  <a:pt x="363450" y="869762"/>
                  <a:pt x="362581" y="904941"/>
                  <a:pt x="361633" y="940117"/>
                </a:cubicBezTo>
                <a:cubicBezTo>
                  <a:pt x="360619" y="977749"/>
                  <a:pt x="359431" y="1015376"/>
                  <a:pt x="358313" y="1053005"/>
                </a:cubicBezTo>
                <a:cubicBezTo>
                  <a:pt x="358265" y="1054641"/>
                  <a:pt x="358149" y="1056276"/>
                  <a:pt x="358081" y="1057912"/>
                </a:cubicBezTo>
                <a:cubicBezTo>
                  <a:pt x="356598" y="1093463"/>
                  <a:pt x="355081" y="1129014"/>
                  <a:pt x="353706" y="1164570"/>
                </a:cubicBezTo>
                <a:cubicBezTo>
                  <a:pt x="353604" y="1167221"/>
                  <a:pt x="354516" y="1169911"/>
                  <a:pt x="354951" y="1172547"/>
                </a:cubicBezTo>
                <a:cubicBezTo>
                  <a:pt x="416984" y="1173689"/>
                  <a:pt x="478158" y="1174816"/>
                  <a:pt x="540959" y="1175972"/>
                </a:cubicBezTo>
                <a:cubicBezTo>
                  <a:pt x="513162" y="1094194"/>
                  <a:pt x="489081" y="1013598"/>
                  <a:pt x="474186" y="928382"/>
                </a:cubicBezTo>
                <a:moveTo>
                  <a:pt x="513768" y="1417676"/>
                </a:moveTo>
                <a:cubicBezTo>
                  <a:pt x="515785" y="1417344"/>
                  <a:pt x="517792" y="1416889"/>
                  <a:pt x="519822" y="1416700"/>
                </a:cubicBezTo>
                <a:cubicBezTo>
                  <a:pt x="557234" y="1413220"/>
                  <a:pt x="594682" y="1410089"/>
                  <a:pt x="632041" y="1406122"/>
                </a:cubicBezTo>
                <a:cubicBezTo>
                  <a:pt x="643122" y="1404945"/>
                  <a:pt x="654730" y="1405292"/>
                  <a:pt x="665040" y="1400634"/>
                </a:cubicBezTo>
                <a:cubicBezTo>
                  <a:pt x="665352" y="1398517"/>
                  <a:pt x="665651" y="1397324"/>
                  <a:pt x="665677" y="1396126"/>
                </a:cubicBezTo>
                <a:cubicBezTo>
                  <a:pt x="665722" y="1394084"/>
                  <a:pt x="665674" y="1392032"/>
                  <a:pt x="665529" y="1389994"/>
                </a:cubicBezTo>
                <a:cubicBezTo>
                  <a:pt x="663118" y="1356121"/>
                  <a:pt x="650063" y="1327787"/>
                  <a:pt x="623046" y="1306238"/>
                </a:cubicBezTo>
                <a:cubicBezTo>
                  <a:pt x="613485" y="1298611"/>
                  <a:pt x="605001" y="1289635"/>
                  <a:pt x="596015" y="1281285"/>
                </a:cubicBezTo>
                <a:cubicBezTo>
                  <a:pt x="578506" y="1265018"/>
                  <a:pt x="567837" y="1245446"/>
                  <a:pt x="567683" y="1220059"/>
                </a:cubicBezTo>
                <a:cubicBezTo>
                  <a:pt x="558046" y="1220059"/>
                  <a:pt x="549136" y="1219649"/>
                  <a:pt x="540273" y="1220129"/>
                </a:cubicBezTo>
                <a:cubicBezTo>
                  <a:pt x="501512" y="1222229"/>
                  <a:pt x="462775" y="1224768"/>
                  <a:pt x="424010" y="1226781"/>
                </a:cubicBezTo>
                <a:cubicBezTo>
                  <a:pt x="401969" y="1227926"/>
                  <a:pt x="379889" y="1228330"/>
                  <a:pt x="357832" y="1229178"/>
                </a:cubicBezTo>
                <a:cubicBezTo>
                  <a:pt x="355938" y="1229251"/>
                  <a:pt x="354076" y="1230151"/>
                  <a:pt x="352386" y="1230616"/>
                </a:cubicBezTo>
                <a:cubicBezTo>
                  <a:pt x="353642" y="1262222"/>
                  <a:pt x="355769" y="1293219"/>
                  <a:pt x="355852" y="1324222"/>
                </a:cubicBezTo>
                <a:cubicBezTo>
                  <a:pt x="355936" y="1355438"/>
                  <a:pt x="353988" y="1386659"/>
                  <a:pt x="352930" y="1417867"/>
                </a:cubicBezTo>
                <a:cubicBezTo>
                  <a:pt x="406069" y="1417867"/>
                  <a:pt x="458771" y="1417867"/>
                  <a:pt x="513768" y="1417676"/>
                </a:cubicBezTo>
                <a:moveTo>
                  <a:pt x="387930" y="499741"/>
                </a:moveTo>
                <a:cubicBezTo>
                  <a:pt x="410797" y="498777"/>
                  <a:pt x="433665" y="497860"/>
                  <a:pt x="456529" y="496826"/>
                </a:cubicBezTo>
                <a:cubicBezTo>
                  <a:pt x="466656" y="496369"/>
                  <a:pt x="475418" y="493371"/>
                  <a:pt x="482355" y="485095"/>
                </a:cubicBezTo>
                <a:cubicBezTo>
                  <a:pt x="509188" y="453083"/>
                  <a:pt x="525387" y="416636"/>
                  <a:pt x="528016" y="374829"/>
                </a:cubicBezTo>
                <a:cubicBezTo>
                  <a:pt x="530547" y="334558"/>
                  <a:pt x="520095" y="297041"/>
                  <a:pt x="501375" y="261643"/>
                </a:cubicBezTo>
                <a:cubicBezTo>
                  <a:pt x="499379" y="257869"/>
                  <a:pt x="496654" y="254482"/>
                  <a:pt x="493534" y="249818"/>
                </a:cubicBezTo>
                <a:cubicBezTo>
                  <a:pt x="490233" y="254212"/>
                  <a:pt x="487883" y="256986"/>
                  <a:pt x="485920" y="260010"/>
                </a:cubicBezTo>
                <a:cubicBezTo>
                  <a:pt x="475010" y="276824"/>
                  <a:pt x="464300" y="293767"/>
                  <a:pt x="453305" y="310523"/>
                </a:cubicBezTo>
                <a:cubicBezTo>
                  <a:pt x="447028" y="320089"/>
                  <a:pt x="440916" y="329858"/>
                  <a:pt x="433678" y="338672"/>
                </a:cubicBezTo>
                <a:cubicBezTo>
                  <a:pt x="425909" y="348131"/>
                  <a:pt x="413084" y="349691"/>
                  <a:pt x="403713" y="343710"/>
                </a:cubicBezTo>
                <a:cubicBezTo>
                  <a:pt x="394358" y="337739"/>
                  <a:pt x="391675" y="327526"/>
                  <a:pt x="396427" y="315612"/>
                </a:cubicBezTo>
                <a:cubicBezTo>
                  <a:pt x="397334" y="313339"/>
                  <a:pt x="398595" y="311210"/>
                  <a:pt x="399663" y="309000"/>
                </a:cubicBezTo>
                <a:cubicBezTo>
                  <a:pt x="417094" y="272900"/>
                  <a:pt x="434331" y="236704"/>
                  <a:pt x="452097" y="200770"/>
                </a:cubicBezTo>
                <a:cubicBezTo>
                  <a:pt x="455910" y="193060"/>
                  <a:pt x="455310" y="187173"/>
                  <a:pt x="450118" y="180596"/>
                </a:cubicBezTo>
                <a:cubicBezTo>
                  <a:pt x="428273" y="152922"/>
                  <a:pt x="405805" y="125901"/>
                  <a:pt x="376545" y="105525"/>
                </a:cubicBezTo>
                <a:cubicBezTo>
                  <a:pt x="374483" y="104089"/>
                  <a:pt x="372013" y="103239"/>
                  <a:pt x="368791" y="101653"/>
                </a:cubicBezTo>
                <a:cubicBezTo>
                  <a:pt x="367942" y="116965"/>
                  <a:pt x="367019" y="130814"/>
                  <a:pt x="366449" y="144676"/>
                </a:cubicBezTo>
                <a:cubicBezTo>
                  <a:pt x="365912" y="157758"/>
                  <a:pt x="365593" y="170854"/>
                  <a:pt x="365447" y="183946"/>
                </a:cubicBezTo>
                <a:cubicBezTo>
                  <a:pt x="365020" y="221975"/>
                  <a:pt x="363367" y="260055"/>
                  <a:pt x="364738" y="298022"/>
                </a:cubicBezTo>
                <a:cubicBezTo>
                  <a:pt x="366329" y="342101"/>
                  <a:pt x="370336" y="386106"/>
                  <a:pt x="373865" y="430096"/>
                </a:cubicBezTo>
                <a:cubicBezTo>
                  <a:pt x="375530" y="450849"/>
                  <a:pt x="378387" y="471514"/>
                  <a:pt x="381088" y="492169"/>
                </a:cubicBezTo>
                <a:cubicBezTo>
                  <a:pt x="381433" y="494807"/>
                  <a:pt x="384102" y="497143"/>
                  <a:pt x="387930" y="499741"/>
                </a:cubicBezTo>
                <a:moveTo>
                  <a:pt x="455850" y="1521476"/>
                </a:moveTo>
                <a:cubicBezTo>
                  <a:pt x="533043" y="1519612"/>
                  <a:pt x="609810" y="1514084"/>
                  <a:pt x="685121" y="1496509"/>
                </a:cubicBezTo>
                <a:cubicBezTo>
                  <a:pt x="683922" y="1481705"/>
                  <a:pt x="679199" y="1467708"/>
                  <a:pt x="672999" y="1456665"/>
                </a:cubicBezTo>
                <a:cubicBezTo>
                  <a:pt x="669933" y="1451203"/>
                  <a:pt x="666057" y="1449329"/>
                  <a:pt x="660009" y="1450249"/>
                </a:cubicBezTo>
                <a:cubicBezTo>
                  <a:pt x="651125" y="1451601"/>
                  <a:pt x="642144" y="1452308"/>
                  <a:pt x="633248" y="1453589"/>
                </a:cubicBezTo>
                <a:cubicBezTo>
                  <a:pt x="572852" y="1462289"/>
                  <a:pt x="511993" y="1465134"/>
                  <a:pt x="451131" y="1467458"/>
                </a:cubicBezTo>
                <a:cubicBezTo>
                  <a:pt x="421697" y="1468582"/>
                  <a:pt x="392192" y="1467837"/>
                  <a:pt x="362719" y="1467934"/>
                </a:cubicBezTo>
                <a:cubicBezTo>
                  <a:pt x="358386" y="1467948"/>
                  <a:pt x="354052" y="1467936"/>
                  <a:pt x="349983" y="1467936"/>
                </a:cubicBezTo>
                <a:cubicBezTo>
                  <a:pt x="347592" y="1485362"/>
                  <a:pt x="348606" y="1509458"/>
                  <a:pt x="352220" y="1519140"/>
                </a:cubicBezTo>
                <a:cubicBezTo>
                  <a:pt x="385617" y="1519916"/>
                  <a:pt x="419507" y="1520703"/>
                  <a:pt x="455850" y="1521476"/>
                </a:cubicBezTo>
                <a:moveTo>
                  <a:pt x="368682" y="544846"/>
                </a:moveTo>
                <a:cubicBezTo>
                  <a:pt x="374258" y="564891"/>
                  <a:pt x="370074" y="584394"/>
                  <a:pt x="363600" y="605633"/>
                </a:cubicBezTo>
                <a:cubicBezTo>
                  <a:pt x="408859" y="604212"/>
                  <a:pt x="452263" y="602850"/>
                  <a:pt x="496351" y="601466"/>
                </a:cubicBezTo>
                <a:cubicBezTo>
                  <a:pt x="496109" y="591095"/>
                  <a:pt x="491408" y="584247"/>
                  <a:pt x="485068" y="579288"/>
                </a:cubicBezTo>
                <a:cubicBezTo>
                  <a:pt x="472414" y="569391"/>
                  <a:pt x="466934" y="556602"/>
                  <a:pt x="466524" y="541026"/>
                </a:cubicBezTo>
                <a:cubicBezTo>
                  <a:pt x="466485" y="539528"/>
                  <a:pt x="465591" y="538053"/>
                  <a:pt x="465000" y="536289"/>
                </a:cubicBezTo>
                <a:cubicBezTo>
                  <a:pt x="460209" y="536289"/>
                  <a:pt x="455761" y="536132"/>
                  <a:pt x="451328" y="536316"/>
                </a:cubicBezTo>
                <a:cubicBezTo>
                  <a:pt x="430930" y="537159"/>
                  <a:pt x="410538" y="538137"/>
                  <a:pt x="390140" y="538979"/>
                </a:cubicBezTo>
                <a:cubicBezTo>
                  <a:pt x="384834" y="539198"/>
                  <a:pt x="379484" y="538790"/>
                  <a:pt x="374215" y="539303"/>
                </a:cubicBezTo>
                <a:cubicBezTo>
                  <a:pt x="372259" y="539494"/>
                  <a:pt x="370480" y="541498"/>
                  <a:pt x="368682" y="544846"/>
                </a:cubicBezTo>
                <a:moveTo>
                  <a:pt x="453915" y="635267"/>
                </a:moveTo>
                <a:cubicBezTo>
                  <a:pt x="427589" y="636632"/>
                  <a:pt x="401262" y="637998"/>
                  <a:pt x="374200" y="639402"/>
                </a:cubicBezTo>
                <a:cubicBezTo>
                  <a:pt x="374200" y="651578"/>
                  <a:pt x="374200" y="661970"/>
                  <a:pt x="374200" y="673206"/>
                </a:cubicBezTo>
                <a:cubicBezTo>
                  <a:pt x="378672" y="673406"/>
                  <a:pt x="382666" y="673863"/>
                  <a:pt x="386639" y="673718"/>
                </a:cubicBezTo>
                <a:cubicBezTo>
                  <a:pt x="431495" y="672082"/>
                  <a:pt x="476352" y="670422"/>
                  <a:pt x="521198" y="668541"/>
                </a:cubicBezTo>
                <a:cubicBezTo>
                  <a:pt x="525584" y="668357"/>
                  <a:pt x="530162" y="667254"/>
                  <a:pt x="534198" y="665521"/>
                </a:cubicBezTo>
                <a:cubicBezTo>
                  <a:pt x="540213" y="662938"/>
                  <a:pt x="541802" y="658194"/>
                  <a:pt x="538413" y="652526"/>
                </a:cubicBezTo>
                <a:cubicBezTo>
                  <a:pt x="536192" y="648813"/>
                  <a:pt x="532979" y="645251"/>
                  <a:pt x="529377" y="642895"/>
                </a:cubicBezTo>
                <a:cubicBezTo>
                  <a:pt x="521426" y="637695"/>
                  <a:pt x="512576" y="634669"/>
                  <a:pt x="502829" y="634808"/>
                </a:cubicBezTo>
                <a:cubicBezTo>
                  <a:pt x="487311" y="635030"/>
                  <a:pt x="471791" y="635092"/>
                  <a:pt x="453915" y="635267"/>
                </a:cubicBezTo>
                <a:close/>
              </a:path>
            </a:pathLst>
          </a:custGeom>
          <a:solidFill>
            <a:srgbClr val="CDD9DF"/>
          </a:solidFill>
          <a:ln w="12700" cap="flat">
            <a:solidFill>
              <a:srgbClr val="CDD9DF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6" name="Free-form: Shape 55">
            <a:extLst>
              <a:ext uri="{FF2B5EF4-FFF2-40B4-BE49-F238E27FC236}">
                <a16:creationId xmlns:a16="http://schemas.microsoft.com/office/drawing/2014/main" id="{9525CE1D-AE53-0256-7833-B908BA00A5A4}"/>
              </a:ext>
            </a:extLst>
          </p:cNvPr>
          <p:cNvSpPr/>
          <p:nvPr/>
        </p:nvSpPr>
        <p:spPr>
          <a:xfrm>
            <a:off x="6406219" y="1951760"/>
            <a:ext cx="665488" cy="1428730"/>
          </a:xfrm>
          <a:custGeom>
            <a:avLst/>
            <a:gdLst>
              <a:gd name="csX0" fmla="*/ 406842 w 732037"/>
              <a:gd name="csY0" fmla="*/ 38347 h 1571603"/>
              <a:gd name="csX1" fmla="*/ 411944 w 732037"/>
              <a:gd name="csY1" fmla="*/ 38343 h 1571603"/>
              <a:gd name="csX2" fmla="*/ 416198 w 732037"/>
              <a:gd name="csY2" fmla="*/ 53444 h 1571603"/>
              <a:gd name="csX3" fmla="*/ 418945 w 732037"/>
              <a:gd name="csY3" fmla="*/ 34170 h 1571603"/>
              <a:gd name="csX4" fmla="*/ 394077 w 732037"/>
              <a:gd name="csY4" fmla="*/ 12943 h 1571603"/>
              <a:gd name="csX5" fmla="*/ 341415 w 732037"/>
              <a:gd name="csY5" fmla="*/ 11814 h 1571603"/>
              <a:gd name="csX6" fmla="*/ 309440 w 732037"/>
              <a:gd name="csY6" fmla="*/ 65249 h 1571603"/>
              <a:gd name="csX7" fmla="*/ 319632 w 732037"/>
              <a:gd name="csY7" fmla="*/ 85914 h 1571603"/>
              <a:gd name="csX8" fmla="*/ 318632 w 732037"/>
              <a:gd name="csY8" fmla="*/ 110015 h 1571603"/>
              <a:gd name="csX9" fmla="*/ 246921 w 732037"/>
              <a:gd name="csY9" fmla="*/ 198083 h 1571603"/>
              <a:gd name="csX10" fmla="*/ 202660 w 732037"/>
              <a:gd name="csY10" fmla="*/ 269911 h 1571603"/>
              <a:gd name="csX11" fmla="*/ 176707 w 732037"/>
              <a:gd name="csY11" fmla="*/ 357233 h 1571603"/>
              <a:gd name="csX12" fmla="*/ 190612 w 732037"/>
              <a:gd name="csY12" fmla="*/ 439700 h 1571603"/>
              <a:gd name="csX13" fmla="*/ 227544 w 732037"/>
              <a:gd name="csY13" fmla="*/ 505527 h 1571603"/>
              <a:gd name="csX14" fmla="*/ 232541 w 732037"/>
              <a:gd name="csY14" fmla="*/ 516294 h 1571603"/>
              <a:gd name="csX15" fmla="*/ 224356 w 732037"/>
              <a:gd name="csY15" fmla="*/ 528960 h 1571603"/>
              <a:gd name="csX16" fmla="*/ 227944 w 732037"/>
              <a:gd name="csY16" fmla="*/ 540026 h 1571603"/>
              <a:gd name="csX17" fmla="*/ 238897 w 732037"/>
              <a:gd name="csY17" fmla="*/ 545570 h 1571603"/>
              <a:gd name="csX18" fmla="*/ 242386 w 732037"/>
              <a:gd name="csY18" fmla="*/ 571785 h 1571603"/>
              <a:gd name="csX19" fmla="*/ 214067 w 732037"/>
              <a:gd name="csY19" fmla="*/ 590809 h 1571603"/>
              <a:gd name="csX20" fmla="*/ 201355 w 732037"/>
              <a:gd name="csY20" fmla="*/ 609067 h 1571603"/>
              <a:gd name="csX21" fmla="*/ 188474 w 732037"/>
              <a:gd name="csY21" fmla="*/ 628398 h 1571603"/>
              <a:gd name="csX22" fmla="*/ 162658 w 732037"/>
              <a:gd name="csY22" fmla="*/ 657096 h 1571603"/>
              <a:gd name="csX23" fmla="*/ 175395 w 732037"/>
              <a:gd name="csY23" fmla="*/ 691621 h 1571603"/>
              <a:gd name="csX24" fmla="*/ 201948 w 732037"/>
              <a:gd name="csY24" fmla="*/ 700523 h 1571603"/>
              <a:gd name="csX25" fmla="*/ 241426 w 732037"/>
              <a:gd name="csY25" fmla="*/ 706574 h 1571603"/>
              <a:gd name="csX26" fmla="*/ 242586 w 732037"/>
              <a:gd name="csY26" fmla="*/ 715946 h 1571603"/>
              <a:gd name="csX27" fmla="*/ 242424 w 732037"/>
              <a:gd name="csY27" fmla="*/ 801932 h 1571603"/>
              <a:gd name="csX28" fmla="*/ 238000 w 732037"/>
              <a:gd name="csY28" fmla="*/ 846774 h 1571603"/>
              <a:gd name="csX29" fmla="*/ 232752 w 732037"/>
              <a:gd name="csY29" fmla="*/ 891559 h 1571603"/>
              <a:gd name="csX30" fmla="*/ 223037 w 732037"/>
              <a:gd name="csY30" fmla="*/ 950433 h 1571603"/>
              <a:gd name="csX31" fmla="*/ 210247 w 732037"/>
              <a:gd name="csY31" fmla="*/ 1012485 h 1571603"/>
              <a:gd name="csX32" fmla="*/ 194820 w 732037"/>
              <a:gd name="csY32" fmla="*/ 1069074 h 1571603"/>
              <a:gd name="csX33" fmla="*/ 165707 w 732037"/>
              <a:gd name="csY33" fmla="*/ 1163788 h 1571603"/>
              <a:gd name="csX34" fmla="*/ 144382 w 732037"/>
              <a:gd name="csY34" fmla="*/ 1185530 h 1571603"/>
              <a:gd name="csX35" fmla="*/ 129590 w 732037"/>
              <a:gd name="csY35" fmla="*/ 1191342 h 1571603"/>
              <a:gd name="csX36" fmla="*/ 122255 w 732037"/>
              <a:gd name="csY36" fmla="*/ 1208476 h 1571603"/>
              <a:gd name="csX37" fmla="*/ 127491 w 732037"/>
              <a:gd name="csY37" fmla="*/ 1222193 h 1571603"/>
              <a:gd name="csX38" fmla="*/ 118348 w 732037"/>
              <a:gd name="csY38" fmla="*/ 1261470 h 1571603"/>
              <a:gd name="csX39" fmla="*/ 58232 w 732037"/>
              <a:gd name="csY39" fmla="*/ 1319224 h 1571603"/>
              <a:gd name="csX40" fmla="*/ 28815 w 732037"/>
              <a:gd name="csY40" fmla="*/ 1389717 h 1571603"/>
              <a:gd name="csX41" fmla="*/ 32634 w 732037"/>
              <a:gd name="csY41" fmla="*/ 1426050 h 1571603"/>
              <a:gd name="csX42" fmla="*/ 30331 w 732037"/>
              <a:gd name="csY42" fmla="*/ 1441003 h 1571603"/>
              <a:gd name="csX43" fmla="*/ 9180 w 732037"/>
              <a:gd name="csY43" fmla="*/ 1516655 h 1571603"/>
              <a:gd name="csX44" fmla="*/ 20082 w 732037"/>
              <a:gd name="csY44" fmla="*/ 1531402 h 1571603"/>
              <a:gd name="csX45" fmla="*/ 74798 w 732037"/>
              <a:gd name="csY45" fmla="*/ 1543794 h 1571603"/>
              <a:gd name="csX46" fmla="*/ 113225 w 732037"/>
              <a:gd name="csY46" fmla="*/ 1550305 h 1571603"/>
              <a:gd name="csX47" fmla="*/ 136142 w 732037"/>
              <a:gd name="csY47" fmla="*/ 1553484 h 1571603"/>
              <a:gd name="csX48" fmla="*/ 177578 w 732037"/>
              <a:gd name="csY48" fmla="*/ 1556220 h 1571603"/>
              <a:gd name="csX49" fmla="*/ 231027 w 732037"/>
              <a:gd name="csY49" fmla="*/ 1560698 h 1571603"/>
              <a:gd name="csX50" fmla="*/ 254342 w 732037"/>
              <a:gd name="csY50" fmla="*/ 1561142 h 1571603"/>
              <a:gd name="csX51" fmla="*/ 459180 w 732037"/>
              <a:gd name="csY51" fmla="*/ 1563411 h 1571603"/>
              <a:gd name="csX52" fmla="*/ 531340 w 732037"/>
              <a:gd name="csY52" fmla="*/ 1560936 h 1571603"/>
              <a:gd name="csX53" fmla="*/ 590888 w 732037"/>
              <a:gd name="csY53" fmla="*/ 1555951 h 1571603"/>
              <a:gd name="csX54" fmla="*/ 710712 w 732037"/>
              <a:gd name="csY54" fmla="*/ 1533916 h 1571603"/>
              <a:gd name="csX55" fmla="*/ 724356 w 732037"/>
              <a:gd name="csY55" fmla="*/ 1516144 h 1571603"/>
              <a:gd name="csX56" fmla="*/ 707380 w 732037"/>
              <a:gd name="csY56" fmla="*/ 1449380 h 1571603"/>
              <a:gd name="csX57" fmla="*/ 707050 w 732037"/>
              <a:gd name="csY57" fmla="*/ 1440881 h 1571603"/>
              <a:gd name="csX58" fmla="*/ 731479 w 732037"/>
              <a:gd name="csY58" fmla="*/ 1500017 h 1571603"/>
              <a:gd name="csX59" fmla="*/ 731163 w 732037"/>
              <a:gd name="csY59" fmla="*/ 1513759 h 1571603"/>
              <a:gd name="csX60" fmla="*/ 731650 w 732037"/>
              <a:gd name="csY60" fmla="*/ 1521766 h 1571603"/>
              <a:gd name="csX61" fmla="*/ 721896 w 732037"/>
              <a:gd name="csY61" fmla="*/ 1537319 h 1571603"/>
              <a:gd name="csX62" fmla="*/ 657740 w 732037"/>
              <a:gd name="csY62" fmla="*/ 1553265 h 1571603"/>
              <a:gd name="csX63" fmla="*/ 507791 w 732037"/>
              <a:gd name="csY63" fmla="*/ 1568943 h 1571603"/>
              <a:gd name="csX64" fmla="*/ 264676 w 732037"/>
              <a:gd name="csY64" fmla="*/ 1569724 h 1571603"/>
              <a:gd name="csX65" fmla="*/ 82743 w 732037"/>
              <a:gd name="csY65" fmla="*/ 1553254 h 1571603"/>
              <a:gd name="csX66" fmla="*/ 17072 w 732037"/>
              <a:gd name="csY66" fmla="*/ 1538153 h 1571603"/>
              <a:gd name="csX67" fmla="*/ 275 w 732037"/>
              <a:gd name="csY67" fmla="*/ 1513030 h 1571603"/>
              <a:gd name="csX68" fmla="*/ 20923 w 732037"/>
              <a:gd name="csY68" fmla="*/ 1441861 h 1571603"/>
              <a:gd name="csX69" fmla="*/ 23045 w 732037"/>
              <a:gd name="csY69" fmla="*/ 1423105 h 1571603"/>
              <a:gd name="csX70" fmla="*/ 30564 w 732037"/>
              <a:gd name="csY70" fmla="*/ 1346289 h 1571603"/>
              <a:gd name="csX71" fmla="*/ 71350 w 732037"/>
              <a:gd name="csY71" fmla="*/ 1295039 h 1571603"/>
              <a:gd name="csX72" fmla="*/ 112257 w 732037"/>
              <a:gd name="csY72" fmla="*/ 1255093 h 1571603"/>
              <a:gd name="csX73" fmla="*/ 115864 w 732037"/>
              <a:gd name="csY73" fmla="*/ 1217271 h 1571603"/>
              <a:gd name="csX74" fmla="*/ 112256 w 732037"/>
              <a:gd name="csY74" fmla="*/ 1210870 h 1571603"/>
              <a:gd name="csX75" fmla="*/ 121141 w 732037"/>
              <a:gd name="csY75" fmla="*/ 1186548 h 1571603"/>
              <a:gd name="csX76" fmla="*/ 136571 w 732037"/>
              <a:gd name="csY76" fmla="*/ 1179850 h 1571603"/>
              <a:gd name="csX77" fmla="*/ 158281 w 732037"/>
              <a:gd name="csY77" fmla="*/ 1157879 h 1571603"/>
              <a:gd name="csX78" fmla="*/ 187986 w 732037"/>
              <a:gd name="csY78" fmla="*/ 1059736 h 1571603"/>
              <a:gd name="csX79" fmla="*/ 217119 w 732037"/>
              <a:gd name="csY79" fmla="*/ 938896 h 1571603"/>
              <a:gd name="csX80" fmla="*/ 225792 w 732037"/>
              <a:gd name="csY80" fmla="*/ 893236 h 1571603"/>
              <a:gd name="csX81" fmla="*/ 226150 w 732037"/>
              <a:gd name="csY81" fmla="*/ 887970 h 1571603"/>
              <a:gd name="csX82" fmla="*/ 230782 w 732037"/>
              <a:gd name="csY82" fmla="*/ 853969 h 1571603"/>
              <a:gd name="csX83" fmla="*/ 230786 w 732037"/>
              <a:gd name="csY83" fmla="*/ 848558 h 1571603"/>
              <a:gd name="csX84" fmla="*/ 233315 w 732037"/>
              <a:gd name="csY84" fmla="*/ 824438 h 1571603"/>
              <a:gd name="csX85" fmla="*/ 233199 w 732037"/>
              <a:gd name="csY85" fmla="*/ 819050 h 1571603"/>
              <a:gd name="csX86" fmla="*/ 235848 w 732037"/>
              <a:gd name="csY86" fmla="*/ 782380 h 1571603"/>
              <a:gd name="csX87" fmla="*/ 237465 w 732037"/>
              <a:gd name="csY87" fmla="*/ 719113 h 1571603"/>
              <a:gd name="csX88" fmla="*/ 233057 w 732037"/>
              <a:gd name="csY88" fmla="*/ 713160 h 1571603"/>
              <a:gd name="csX89" fmla="*/ 203056 w 732037"/>
              <a:gd name="csY89" fmla="*/ 708405 h 1571603"/>
              <a:gd name="csX90" fmla="*/ 169628 w 732037"/>
              <a:gd name="csY90" fmla="*/ 698106 h 1571603"/>
              <a:gd name="csX91" fmla="*/ 153237 w 732037"/>
              <a:gd name="csY91" fmla="*/ 659111 h 1571603"/>
              <a:gd name="csX92" fmla="*/ 178365 w 732037"/>
              <a:gd name="csY92" fmla="*/ 626008 h 1571603"/>
              <a:gd name="csX93" fmla="*/ 191885 w 732037"/>
              <a:gd name="csY93" fmla="*/ 617513 h 1571603"/>
              <a:gd name="csX94" fmla="*/ 193681 w 732037"/>
              <a:gd name="csY94" fmla="*/ 610098 h 1571603"/>
              <a:gd name="csX95" fmla="*/ 213301 w 732037"/>
              <a:gd name="csY95" fmla="*/ 579885 h 1571603"/>
              <a:gd name="csX96" fmla="*/ 229635 w 732037"/>
              <a:gd name="csY96" fmla="*/ 571429 h 1571603"/>
              <a:gd name="csX97" fmla="*/ 237351 w 732037"/>
              <a:gd name="csY97" fmla="*/ 565882 h 1571603"/>
              <a:gd name="csX98" fmla="*/ 233673 w 732037"/>
              <a:gd name="csY98" fmla="*/ 550926 h 1571603"/>
              <a:gd name="csX99" fmla="*/ 226799 w 732037"/>
              <a:gd name="csY99" fmla="*/ 548359 h 1571603"/>
              <a:gd name="csX100" fmla="*/ 218639 w 732037"/>
              <a:gd name="csY100" fmla="*/ 522664 h 1571603"/>
              <a:gd name="csX101" fmla="*/ 218264 w 732037"/>
              <a:gd name="csY101" fmla="*/ 505463 h 1571603"/>
              <a:gd name="csX102" fmla="*/ 181762 w 732037"/>
              <a:gd name="csY102" fmla="*/ 437574 h 1571603"/>
              <a:gd name="csX103" fmla="*/ 185971 w 732037"/>
              <a:gd name="csY103" fmla="*/ 289069 h 1571603"/>
              <a:gd name="csX104" fmla="*/ 253787 w 732037"/>
              <a:gd name="csY104" fmla="*/ 175580 h 1571603"/>
              <a:gd name="csX105" fmla="*/ 309639 w 732037"/>
              <a:gd name="csY105" fmla="*/ 108695 h 1571603"/>
              <a:gd name="csX106" fmla="*/ 318061 w 732037"/>
              <a:gd name="csY106" fmla="*/ 98855 h 1571603"/>
              <a:gd name="csX107" fmla="*/ 304967 w 732037"/>
              <a:gd name="csY107" fmla="*/ 70056 h 1571603"/>
              <a:gd name="csX108" fmla="*/ 317012 w 732037"/>
              <a:gd name="csY108" fmla="*/ 19436 h 1571603"/>
              <a:gd name="csX109" fmla="*/ 415542 w 732037"/>
              <a:gd name="csY109" fmla="*/ 18221 h 1571603"/>
              <a:gd name="csX110" fmla="*/ 423203 w 732037"/>
              <a:gd name="csY110" fmla="*/ 82660 h 1571603"/>
              <a:gd name="csX111" fmla="*/ 413361 w 732037"/>
              <a:gd name="csY111" fmla="*/ 97975 h 1571603"/>
              <a:gd name="csX112" fmla="*/ 421654 w 732037"/>
              <a:gd name="csY112" fmla="*/ 106676 h 1571603"/>
              <a:gd name="csX113" fmla="*/ 487032 w 732037"/>
              <a:gd name="csY113" fmla="*/ 184632 h 1571603"/>
              <a:gd name="csX114" fmla="*/ 489213 w 732037"/>
              <a:gd name="csY114" fmla="*/ 208238 h 1571603"/>
              <a:gd name="csX115" fmla="*/ 476520 w 732037"/>
              <a:gd name="csY115" fmla="*/ 235738 h 1571603"/>
              <a:gd name="csX116" fmla="*/ 472850 w 732037"/>
              <a:gd name="csY116" fmla="*/ 230703 h 1571603"/>
              <a:gd name="csX117" fmla="*/ 482723 w 732037"/>
              <a:gd name="csY117" fmla="*/ 208315 h 1571603"/>
              <a:gd name="csX118" fmla="*/ 480764 w 732037"/>
              <a:gd name="csY118" fmla="*/ 187916 h 1571603"/>
              <a:gd name="csX119" fmla="*/ 408519 w 732037"/>
              <a:gd name="csY119" fmla="*/ 105475 h 1571603"/>
              <a:gd name="csX120" fmla="*/ 408625 w 732037"/>
              <a:gd name="csY120" fmla="*/ 89203 h 1571603"/>
              <a:gd name="csX121" fmla="*/ 419600 w 732037"/>
              <a:gd name="csY121" fmla="*/ 71648 h 1571603"/>
              <a:gd name="csX122" fmla="*/ 418792 w 732037"/>
              <a:gd name="csY122" fmla="*/ 63179 h 1571603"/>
              <a:gd name="csX123" fmla="*/ 410943 w 732037"/>
              <a:gd name="csY123" fmla="*/ 66417 h 1571603"/>
              <a:gd name="csX124" fmla="*/ 400140 w 732037"/>
              <a:gd name="csY124" fmla="*/ 76155 h 1571603"/>
              <a:gd name="csX125" fmla="*/ 360599 w 732037"/>
              <a:gd name="csY125" fmla="*/ 51379 h 1571603"/>
              <a:gd name="csX126" fmla="*/ 360842 w 732037"/>
              <a:gd name="csY126" fmla="*/ 39128 h 1571603"/>
              <a:gd name="csX127" fmla="*/ 369470 w 732037"/>
              <a:gd name="csY127" fmla="*/ 30960 h 1571603"/>
              <a:gd name="csX128" fmla="*/ 365613 w 732037"/>
              <a:gd name="csY128" fmla="*/ 49108 h 1571603"/>
              <a:gd name="csX129" fmla="*/ 389468 w 732037"/>
              <a:gd name="csY129" fmla="*/ 71608 h 1571603"/>
              <a:gd name="csX130" fmla="*/ 408822 w 732037"/>
              <a:gd name="csY130" fmla="*/ 46613 h 1571603"/>
              <a:gd name="csX131" fmla="*/ 406842 w 732037"/>
              <a:gd name="csY131" fmla="*/ 38347 h 157160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</a:cxnLst>
            <a:rect l="l" t="t" r="r" b="b"/>
            <a:pathLst>
              <a:path w="732037" h="1571603">
                <a:moveTo>
                  <a:pt x="406842" y="38347"/>
                </a:moveTo>
                <a:cubicBezTo>
                  <a:pt x="408555" y="35869"/>
                  <a:pt x="410622" y="34608"/>
                  <a:pt x="411944" y="38343"/>
                </a:cubicBezTo>
                <a:cubicBezTo>
                  <a:pt x="413676" y="43242"/>
                  <a:pt x="414797" y="48356"/>
                  <a:pt x="416198" y="53444"/>
                </a:cubicBezTo>
                <a:cubicBezTo>
                  <a:pt x="422922" y="48977"/>
                  <a:pt x="424340" y="41699"/>
                  <a:pt x="418945" y="34170"/>
                </a:cubicBezTo>
                <a:cubicBezTo>
                  <a:pt x="412483" y="25152"/>
                  <a:pt x="404444" y="17554"/>
                  <a:pt x="394077" y="12943"/>
                </a:cubicBezTo>
                <a:cubicBezTo>
                  <a:pt x="376702" y="5216"/>
                  <a:pt x="358713" y="6244"/>
                  <a:pt x="341415" y="11814"/>
                </a:cubicBezTo>
                <a:cubicBezTo>
                  <a:pt x="323675" y="17525"/>
                  <a:pt x="304459" y="39816"/>
                  <a:pt x="309440" y="65249"/>
                </a:cubicBezTo>
                <a:cubicBezTo>
                  <a:pt x="310868" y="72543"/>
                  <a:pt x="315482" y="79463"/>
                  <a:pt x="319632" y="85914"/>
                </a:cubicBezTo>
                <a:cubicBezTo>
                  <a:pt x="325434" y="94933"/>
                  <a:pt x="325800" y="102817"/>
                  <a:pt x="318632" y="110015"/>
                </a:cubicBezTo>
                <a:cubicBezTo>
                  <a:pt x="291775" y="136984"/>
                  <a:pt x="269594" y="167702"/>
                  <a:pt x="246921" y="198083"/>
                </a:cubicBezTo>
                <a:cubicBezTo>
                  <a:pt x="230003" y="220751"/>
                  <a:pt x="215685" y="244921"/>
                  <a:pt x="202660" y="269911"/>
                </a:cubicBezTo>
                <a:cubicBezTo>
                  <a:pt x="188381" y="297309"/>
                  <a:pt x="179513" y="326657"/>
                  <a:pt x="176707" y="357233"/>
                </a:cubicBezTo>
                <a:cubicBezTo>
                  <a:pt x="174106" y="385578"/>
                  <a:pt x="180131" y="413140"/>
                  <a:pt x="190612" y="439700"/>
                </a:cubicBezTo>
                <a:cubicBezTo>
                  <a:pt x="199946" y="463353"/>
                  <a:pt x="211538" y="485623"/>
                  <a:pt x="227544" y="505527"/>
                </a:cubicBezTo>
                <a:cubicBezTo>
                  <a:pt x="229982" y="508558"/>
                  <a:pt x="230954" y="512768"/>
                  <a:pt x="232541" y="516294"/>
                </a:cubicBezTo>
                <a:cubicBezTo>
                  <a:pt x="229578" y="520824"/>
                  <a:pt x="226658" y="524724"/>
                  <a:pt x="224356" y="528960"/>
                </a:cubicBezTo>
                <a:cubicBezTo>
                  <a:pt x="221823" y="533618"/>
                  <a:pt x="222675" y="537588"/>
                  <a:pt x="227944" y="540026"/>
                </a:cubicBezTo>
                <a:cubicBezTo>
                  <a:pt x="231656" y="541743"/>
                  <a:pt x="235331" y="543568"/>
                  <a:pt x="238897" y="545570"/>
                </a:cubicBezTo>
                <a:cubicBezTo>
                  <a:pt x="249613" y="551585"/>
                  <a:pt x="251795" y="563681"/>
                  <a:pt x="242386" y="571785"/>
                </a:cubicBezTo>
                <a:cubicBezTo>
                  <a:pt x="233816" y="579166"/>
                  <a:pt x="224045" y="585423"/>
                  <a:pt x="214067" y="590809"/>
                </a:cubicBezTo>
                <a:cubicBezTo>
                  <a:pt x="206271" y="595018"/>
                  <a:pt x="202051" y="601487"/>
                  <a:pt x="201355" y="609067"/>
                </a:cubicBezTo>
                <a:cubicBezTo>
                  <a:pt x="200489" y="618497"/>
                  <a:pt x="195720" y="623726"/>
                  <a:pt x="188474" y="628398"/>
                </a:cubicBezTo>
                <a:cubicBezTo>
                  <a:pt x="177332" y="635582"/>
                  <a:pt x="167866" y="644503"/>
                  <a:pt x="162658" y="657096"/>
                </a:cubicBezTo>
                <a:cubicBezTo>
                  <a:pt x="156420" y="672181"/>
                  <a:pt x="160439" y="684301"/>
                  <a:pt x="175395" y="691621"/>
                </a:cubicBezTo>
                <a:cubicBezTo>
                  <a:pt x="183722" y="695697"/>
                  <a:pt x="192859" y="698589"/>
                  <a:pt x="201948" y="700523"/>
                </a:cubicBezTo>
                <a:cubicBezTo>
                  <a:pt x="214634" y="703224"/>
                  <a:pt x="227616" y="704530"/>
                  <a:pt x="241426" y="706574"/>
                </a:cubicBezTo>
                <a:cubicBezTo>
                  <a:pt x="241839" y="709770"/>
                  <a:pt x="242576" y="712857"/>
                  <a:pt x="242586" y="715946"/>
                </a:cubicBezTo>
                <a:cubicBezTo>
                  <a:pt x="242672" y="744610"/>
                  <a:pt x="243133" y="773285"/>
                  <a:pt x="242424" y="801932"/>
                </a:cubicBezTo>
                <a:cubicBezTo>
                  <a:pt x="242053" y="816907"/>
                  <a:pt x="239631" y="831838"/>
                  <a:pt x="238000" y="846774"/>
                </a:cubicBezTo>
                <a:cubicBezTo>
                  <a:pt x="236368" y="861717"/>
                  <a:pt x="234927" y="876693"/>
                  <a:pt x="232752" y="891559"/>
                </a:cubicBezTo>
                <a:cubicBezTo>
                  <a:pt x="229873" y="911238"/>
                  <a:pt x="226675" y="930882"/>
                  <a:pt x="223037" y="950433"/>
                </a:cubicBezTo>
                <a:cubicBezTo>
                  <a:pt x="219173" y="971193"/>
                  <a:pt x="215113" y="991942"/>
                  <a:pt x="210247" y="1012485"/>
                </a:cubicBezTo>
                <a:cubicBezTo>
                  <a:pt x="205743" y="1031500"/>
                  <a:pt x="200395" y="1050337"/>
                  <a:pt x="194820" y="1069074"/>
                </a:cubicBezTo>
                <a:cubicBezTo>
                  <a:pt x="185401" y="1100731"/>
                  <a:pt x="175708" y="1132311"/>
                  <a:pt x="165707" y="1163788"/>
                </a:cubicBezTo>
                <a:cubicBezTo>
                  <a:pt x="162367" y="1174302"/>
                  <a:pt x="156145" y="1182634"/>
                  <a:pt x="144382" y="1185530"/>
                </a:cubicBezTo>
                <a:cubicBezTo>
                  <a:pt x="139281" y="1186787"/>
                  <a:pt x="134434" y="1189193"/>
                  <a:pt x="129590" y="1191342"/>
                </a:cubicBezTo>
                <a:cubicBezTo>
                  <a:pt x="120028" y="1195581"/>
                  <a:pt x="118779" y="1198539"/>
                  <a:pt x="122255" y="1208476"/>
                </a:cubicBezTo>
                <a:cubicBezTo>
                  <a:pt x="123870" y="1213094"/>
                  <a:pt x="125990" y="1217542"/>
                  <a:pt x="127491" y="1222193"/>
                </a:cubicBezTo>
                <a:cubicBezTo>
                  <a:pt x="132294" y="1237066"/>
                  <a:pt x="129961" y="1250353"/>
                  <a:pt x="118348" y="1261470"/>
                </a:cubicBezTo>
                <a:cubicBezTo>
                  <a:pt x="98275" y="1280686"/>
                  <a:pt x="78038" y="1299737"/>
                  <a:pt x="58232" y="1319224"/>
                </a:cubicBezTo>
                <a:cubicBezTo>
                  <a:pt x="38634" y="1338507"/>
                  <a:pt x="29913" y="1362564"/>
                  <a:pt x="28815" y="1389717"/>
                </a:cubicBezTo>
                <a:cubicBezTo>
                  <a:pt x="28318" y="1402031"/>
                  <a:pt x="29110" y="1414206"/>
                  <a:pt x="32634" y="1426050"/>
                </a:cubicBezTo>
                <a:cubicBezTo>
                  <a:pt x="34273" y="1431554"/>
                  <a:pt x="33300" y="1435929"/>
                  <a:pt x="30331" y="1441003"/>
                </a:cubicBezTo>
                <a:cubicBezTo>
                  <a:pt x="16698" y="1464298"/>
                  <a:pt x="8890" y="1489397"/>
                  <a:pt x="9180" y="1516655"/>
                </a:cubicBezTo>
                <a:cubicBezTo>
                  <a:pt x="9291" y="1527012"/>
                  <a:pt x="9917" y="1528771"/>
                  <a:pt x="20082" y="1531402"/>
                </a:cubicBezTo>
                <a:cubicBezTo>
                  <a:pt x="38179" y="1536086"/>
                  <a:pt x="56480" y="1540035"/>
                  <a:pt x="74798" y="1543794"/>
                </a:cubicBezTo>
                <a:cubicBezTo>
                  <a:pt x="87517" y="1546403"/>
                  <a:pt x="100396" y="1548250"/>
                  <a:pt x="113225" y="1550305"/>
                </a:cubicBezTo>
                <a:cubicBezTo>
                  <a:pt x="120841" y="1551524"/>
                  <a:pt x="128467" y="1552843"/>
                  <a:pt x="136142" y="1553484"/>
                </a:cubicBezTo>
                <a:cubicBezTo>
                  <a:pt x="149934" y="1554635"/>
                  <a:pt x="163778" y="1555156"/>
                  <a:pt x="177578" y="1556220"/>
                </a:cubicBezTo>
                <a:cubicBezTo>
                  <a:pt x="195403" y="1557595"/>
                  <a:pt x="213196" y="1559407"/>
                  <a:pt x="231027" y="1560698"/>
                </a:cubicBezTo>
                <a:cubicBezTo>
                  <a:pt x="238768" y="1561259"/>
                  <a:pt x="246585" y="1560709"/>
                  <a:pt x="254342" y="1561142"/>
                </a:cubicBezTo>
                <a:cubicBezTo>
                  <a:pt x="322588" y="1564942"/>
                  <a:pt x="390896" y="1563427"/>
                  <a:pt x="459180" y="1563411"/>
                </a:cubicBezTo>
                <a:cubicBezTo>
                  <a:pt x="483236" y="1563406"/>
                  <a:pt x="507311" y="1562248"/>
                  <a:pt x="531340" y="1560936"/>
                </a:cubicBezTo>
                <a:cubicBezTo>
                  <a:pt x="551225" y="1559849"/>
                  <a:pt x="571160" y="1558554"/>
                  <a:pt x="590888" y="1555951"/>
                </a:cubicBezTo>
                <a:cubicBezTo>
                  <a:pt x="631179" y="1550635"/>
                  <a:pt x="671338" y="1544328"/>
                  <a:pt x="710712" y="1533916"/>
                </a:cubicBezTo>
                <a:cubicBezTo>
                  <a:pt x="722630" y="1530764"/>
                  <a:pt x="724036" y="1528558"/>
                  <a:pt x="724356" y="1516144"/>
                </a:cubicBezTo>
                <a:cubicBezTo>
                  <a:pt x="724970" y="1492256"/>
                  <a:pt x="718637" y="1470245"/>
                  <a:pt x="707380" y="1449380"/>
                </a:cubicBezTo>
                <a:cubicBezTo>
                  <a:pt x="706259" y="1447304"/>
                  <a:pt x="706896" y="1444279"/>
                  <a:pt x="707050" y="1440881"/>
                </a:cubicBezTo>
                <a:cubicBezTo>
                  <a:pt x="722747" y="1457101"/>
                  <a:pt x="728653" y="1477963"/>
                  <a:pt x="731479" y="1500017"/>
                </a:cubicBezTo>
                <a:cubicBezTo>
                  <a:pt x="731992" y="1504029"/>
                  <a:pt x="731781" y="1508135"/>
                  <a:pt x="731163" y="1513759"/>
                </a:cubicBezTo>
                <a:cubicBezTo>
                  <a:pt x="730831" y="1517468"/>
                  <a:pt x="731241" y="1519618"/>
                  <a:pt x="731650" y="1521766"/>
                </a:cubicBezTo>
                <a:cubicBezTo>
                  <a:pt x="733191" y="1529956"/>
                  <a:pt x="730165" y="1535242"/>
                  <a:pt x="721896" y="1537319"/>
                </a:cubicBezTo>
                <a:cubicBezTo>
                  <a:pt x="700520" y="1542690"/>
                  <a:pt x="679367" y="1549248"/>
                  <a:pt x="657740" y="1553265"/>
                </a:cubicBezTo>
                <a:cubicBezTo>
                  <a:pt x="608220" y="1562464"/>
                  <a:pt x="558146" y="1566701"/>
                  <a:pt x="507791" y="1568943"/>
                </a:cubicBezTo>
                <a:cubicBezTo>
                  <a:pt x="426738" y="1572552"/>
                  <a:pt x="345677" y="1572161"/>
                  <a:pt x="264676" y="1569724"/>
                </a:cubicBezTo>
                <a:cubicBezTo>
                  <a:pt x="203800" y="1567891"/>
                  <a:pt x="142882" y="1563907"/>
                  <a:pt x="82743" y="1553254"/>
                </a:cubicBezTo>
                <a:cubicBezTo>
                  <a:pt x="60647" y="1549341"/>
                  <a:pt x="38739" y="1544032"/>
                  <a:pt x="17072" y="1538153"/>
                </a:cubicBezTo>
                <a:cubicBezTo>
                  <a:pt x="1381" y="1533894"/>
                  <a:pt x="-938" y="1529341"/>
                  <a:pt x="275" y="1513030"/>
                </a:cubicBezTo>
                <a:cubicBezTo>
                  <a:pt x="2146" y="1487871"/>
                  <a:pt x="7321" y="1463566"/>
                  <a:pt x="20923" y="1441861"/>
                </a:cubicBezTo>
                <a:cubicBezTo>
                  <a:pt x="24812" y="1435656"/>
                  <a:pt x="24566" y="1429699"/>
                  <a:pt x="23045" y="1423105"/>
                </a:cubicBezTo>
                <a:cubicBezTo>
                  <a:pt x="16952" y="1396684"/>
                  <a:pt x="19689" y="1370924"/>
                  <a:pt x="30564" y="1346289"/>
                </a:cubicBezTo>
                <a:cubicBezTo>
                  <a:pt x="39621" y="1325774"/>
                  <a:pt x="54481" y="1309709"/>
                  <a:pt x="71350" y="1295039"/>
                </a:cubicBezTo>
                <a:cubicBezTo>
                  <a:pt x="85712" y="1282550"/>
                  <a:pt x="99164" y="1268932"/>
                  <a:pt x="112257" y="1255093"/>
                </a:cubicBezTo>
                <a:cubicBezTo>
                  <a:pt x="122891" y="1243852"/>
                  <a:pt x="124955" y="1230879"/>
                  <a:pt x="115864" y="1217271"/>
                </a:cubicBezTo>
                <a:cubicBezTo>
                  <a:pt x="114506" y="1215239"/>
                  <a:pt x="113304" y="1213078"/>
                  <a:pt x="112256" y="1210870"/>
                </a:cubicBezTo>
                <a:cubicBezTo>
                  <a:pt x="106526" y="1198808"/>
                  <a:pt x="109052" y="1191969"/>
                  <a:pt x="121141" y="1186548"/>
                </a:cubicBezTo>
                <a:cubicBezTo>
                  <a:pt x="126274" y="1184246"/>
                  <a:pt x="131201" y="1180803"/>
                  <a:pt x="136571" y="1179850"/>
                </a:cubicBezTo>
                <a:cubicBezTo>
                  <a:pt x="149372" y="1177579"/>
                  <a:pt x="154892" y="1168948"/>
                  <a:pt x="158281" y="1157879"/>
                </a:cubicBezTo>
                <a:cubicBezTo>
                  <a:pt x="168288" y="1125194"/>
                  <a:pt x="179178" y="1092742"/>
                  <a:pt x="187986" y="1059736"/>
                </a:cubicBezTo>
                <a:cubicBezTo>
                  <a:pt x="198666" y="1019713"/>
                  <a:pt x="207813" y="979272"/>
                  <a:pt x="217119" y="938896"/>
                </a:cubicBezTo>
                <a:cubicBezTo>
                  <a:pt x="220491" y="924267"/>
                  <a:pt x="222410" y="909302"/>
                  <a:pt x="225792" y="893236"/>
                </a:cubicBezTo>
                <a:cubicBezTo>
                  <a:pt x="226444" y="890644"/>
                  <a:pt x="226297" y="889307"/>
                  <a:pt x="226150" y="887970"/>
                </a:cubicBezTo>
                <a:cubicBezTo>
                  <a:pt x="227450" y="877085"/>
                  <a:pt x="228750" y="866198"/>
                  <a:pt x="230782" y="853969"/>
                </a:cubicBezTo>
                <a:cubicBezTo>
                  <a:pt x="231271" y="851270"/>
                  <a:pt x="231029" y="849914"/>
                  <a:pt x="230786" y="848558"/>
                </a:cubicBezTo>
                <a:cubicBezTo>
                  <a:pt x="231390" y="840967"/>
                  <a:pt x="231993" y="833375"/>
                  <a:pt x="233315" y="824438"/>
                </a:cubicBezTo>
                <a:cubicBezTo>
                  <a:pt x="233755" y="821744"/>
                  <a:pt x="233477" y="820397"/>
                  <a:pt x="233199" y="819050"/>
                </a:cubicBezTo>
                <a:cubicBezTo>
                  <a:pt x="233786" y="807422"/>
                  <a:pt x="234374" y="795794"/>
                  <a:pt x="235848" y="782380"/>
                </a:cubicBezTo>
                <a:cubicBezTo>
                  <a:pt x="237047" y="760099"/>
                  <a:pt x="237488" y="739606"/>
                  <a:pt x="237465" y="719113"/>
                </a:cubicBezTo>
                <a:cubicBezTo>
                  <a:pt x="237463" y="717127"/>
                  <a:pt x="234595" y="715144"/>
                  <a:pt x="233057" y="713160"/>
                </a:cubicBezTo>
                <a:cubicBezTo>
                  <a:pt x="223043" y="711630"/>
                  <a:pt x="212881" y="710731"/>
                  <a:pt x="203056" y="708405"/>
                </a:cubicBezTo>
                <a:cubicBezTo>
                  <a:pt x="191716" y="705720"/>
                  <a:pt x="180144" y="702931"/>
                  <a:pt x="169628" y="698106"/>
                </a:cubicBezTo>
                <a:cubicBezTo>
                  <a:pt x="154505" y="691164"/>
                  <a:pt x="148867" y="675179"/>
                  <a:pt x="153237" y="659111"/>
                </a:cubicBezTo>
                <a:cubicBezTo>
                  <a:pt x="157196" y="644561"/>
                  <a:pt x="166649" y="634454"/>
                  <a:pt x="178365" y="626008"/>
                </a:cubicBezTo>
                <a:cubicBezTo>
                  <a:pt x="182258" y="623202"/>
                  <a:pt x="186579" y="620992"/>
                  <a:pt x="191885" y="617513"/>
                </a:cubicBezTo>
                <a:cubicBezTo>
                  <a:pt x="194882" y="614532"/>
                  <a:pt x="197062" y="612583"/>
                  <a:pt x="193681" y="610098"/>
                </a:cubicBezTo>
                <a:cubicBezTo>
                  <a:pt x="193381" y="595591"/>
                  <a:pt x="202034" y="586776"/>
                  <a:pt x="213301" y="579885"/>
                </a:cubicBezTo>
                <a:cubicBezTo>
                  <a:pt x="218517" y="576695"/>
                  <a:pt x="224270" y="574393"/>
                  <a:pt x="229635" y="571429"/>
                </a:cubicBezTo>
                <a:cubicBezTo>
                  <a:pt x="232401" y="569901"/>
                  <a:pt x="235344" y="568225"/>
                  <a:pt x="237351" y="565882"/>
                </a:cubicBezTo>
                <a:cubicBezTo>
                  <a:pt x="243193" y="559063"/>
                  <a:pt x="242021" y="554779"/>
                  <a:pt x="233673" y="550926"/>
                </a:cubicBezTo>
                <a:cubicBezTo>
                  <a:pt x="231458" y="549904"/>
                  <a:pt x="229049" y="549314"/>
                  <a:pt x="226799" y="548359"/>
                </a:cubicBezTo>
                <a:cubicBezTo>
                  <a:pt x="215108" y="543398"/>
                  <a:pt x="211118" y="532802"/>
                  <a:pt x="218639" y="522664"/>
                </a:cubicBezTo>
                <a:cubicBezTo>
                  <a:pt x="223647" y="515913"/>
                  <a:pt x="222661" y="511633"/>
                  <a:pt x="218264" y="505463"/>
                </a:cubicBezTo>
                <a:cubicBezTo>
                  <a:pt x="203255" y="484407"/>
                  <a:pt x="190650" y="461993"/>
                  <a:pt x="181762" y="437574"/>
                </a:cubicBezTo>
                <a:cubicBezTo>
                  <a:pt x="163530" y="387483"/>
                  <a:pt x="165826" y="338057"/>
                  <a:pt x="185971" y="289069"/>
                </a:cubicBezTo>
                <a:cubicBezTo>
                  <a:pt x="202921" y="247851"/>
                  <a:pt x="226229" y="210377"/>
                  <a:pt x="253787" y="175580"/>
                </a:cubicBezTo>
                <a:cubicBezTo>
                  <a:pt x="271814" y="152817"/>
                  <a:pt x="290973" y="130951"/>
                  <a:pt x="309639" y="108695"/>
                </a:cubicBezTo>
                <a:cubicBezTo>
                  <a:pt x="312744" y="104993"/>
                  <a:pt x="315922" y="101352"/>
                  <a:pt x="318061" y="98855"/>
                </a:cubicBezTo>
                <a:cubicBezTo>
                  <a:pt x="313257" y="88362"/>
                  <a:pt x="308695" y="79376"/>
                  <a:pt x="304967" y="70056"/>
                </a:cubicBezTo>
                <a:cubicBezTo>
                  <a:pt x="297146" y="50504"/>
                  <a:pt x="303366" y="33481"/>
                  <a:pt x="317012" y="19436"/>
                </a:cubicBezTo>
                <a:cubicBezTo>
                  <a:pt x="344741" y="-9105"/>
                  <a:pt x="393463" y="-3345"/>
                  <a:pt x="415542" y="18221"/>
                </a:cubicBezTo>
                <a:cubicBezTo>
                  <a:pt x="429559" y="31914"/>
                  <a:pt x="438373" y="56968"/>
                  <a:pt x="423203" y="82660"/>
                </a:cubicBezTo>
                <a:cubicBezTo>
                  <a:pt x="420306" y="87568"/>
                  <a:pt x="417047" y="92262"/>
                  <a:pt x="413361" y="97975"/>
                </a:cubicBezTo>
                <a:cubicBezTo>
                  <a:pt x="416167" y="100932"/>
                  <a:pt x="418781" y="103940"/>
                  <a:pt x="421654" y="106676"/>
                </a:cubicBezTo>
                <a:cubicBezTo>
                  <a:pt x="446372" y="130213"/>
                  <a:pt x="467902" y="156374"/>
                  <a:pt x="487032" y="184632"/>
                </a:cubicBezTo>
                <a:cubicBezTo>
                  <a:pt x="492374" y="192525"/>
                  <a:pt x="493990" y="199495"/>
                  <a:pt x="489213" y="208238"/>
                </a:cubicBezTo>
                <a:cubicBezTo>
                  <a:pt x="484525" y="216819"/>
                  <a:pt x="481033" y="226053"/>
                  <a:pt x="476520" y="235738"/>
                </a:cubicBezTo>
                <a:cubicBezTo>
                  <a:pt x="472168" y="236089"/>
                  <a:pt x="471165" y="234358"/>
                  <a:pt x="472850" y="230703"/>
                </a:cubicBezTo>
                <a:cubicBezTo>
                  <a:pt x="476263" y="223297"/>
                  <a:pt x="479344" y="215738"/>
                  <a:pt x="482723" y="208315"/>
                </a:cubicBezTo>
                <a:cubicBezTo>
                  <a:pt x="486016" y="201080"/>
                  <a:pt x="485571" y="194961"/>
                  <a:pt x="480764" y="187916"/>
                </a:cubicBezTo>
                <a:cubicBezTo>
                  <a:pt x="459995" y="157475"/>
                  <a:pt x="437234" y="128912"/>
                  <a:pt x="408519" y="105475"/>
                </a:cubicBezTo>
                <a:cubicBezTo>
                  <a:pt x="403555" y="101425"/>
                  <a:pt x="403835" y="96489"/>
                  <a:pt x="408625" y="89203"/>
                </a:cubicBezTo>
                <a:cubicBezTo>
                  <a:pt x="412416" y="83438"/>
                  <a:pt x="416045" y="77562"/>
                  <a:pt x="419600" y="71648"/>
                </a:cubicBezTo>
                <a:cubicBezTo>
                  <a:pt x="421349" y="68739"/>
                  <a:pt x="422717" y="65537"/>
                  <a:pt x="418792" y="63179"/>
                </a:cubicBezTo>
                <a:cubicBezTo>
                  <a:pt x="414834" y="60801"/>
                  <a:pt x="413218" y="63883"/>
                  <a:pt x="410943" y="66417"/>
                </a:cubicBezTo>
                <a:cubicBezTo>
                  <a:pt x="407706" y="70022"/>
                  <a:pt x="404330" y="74045"/>
                  <a:pt x="400140" y="76155"/>
                </a:cubicBezTo>
                <a:cubicBezTo>
                  <a:pt x="381561" y="85507"/>
                  <a:pt x="360821" y="72312"/>
                  <a:pt x="360599" y="51379"/>
                </a:cubicBezTo>
                <a:cubicBezTo>
                  <a:pt x="360556" y="47292"/>
                  <a:pt x="360308" y="43152"/>
                  <a:pt x="360842" y="39128"/>
                </a:cubicBezTo>
                <a:cubicBezTo>
                  <a:pt x="361447" y="34568"/>
                  <a:pt x="362880" y="30159"/>
                  <a:pt x="369470" y="30960"/>
                </a:cubicBezTo>
                <a:cubicBezTo>
                  <a:pt x="368501" y="37551"/>
                  <a:pt x="365745" y="43300"/>
                  <a:pt x="365613" y="49108"/>
                </a:cubicBezTo>
                <a:cubicBezTo>
                  <a:pt x="365328" y="61659"/>
                  <a:pt x="377498" y="72522"/>
                  <a:pt x="389468" y="71608"/>
                </a:cubicBezTo>
                <a:cubicBezTo>
                  <a:pt x="401478" y="70690"/>
                  <a:pt x="410127" y="59637"/>
                  <a:pt x="408822" y="46613"/>
                </a:cubicBezTo>
                <a:cubicBezTo>
                  <a:pt x="408542" y="43819"/>
                  <a:pt x="407521" y="41100"/>
                  <a:pt x="406842" y="38347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7" name="Free-form: Shape 56">
            <a:extLst>
              <a:ext uri="{FF2B5EF4-FFF2-40B4-BE49-F238E27FC236}">
                <a16:creationId xmlns:a16="http://schemas.microsoft.com/office/drawing/2014/main" id="{556F7169-0BEA-96A2-CA1D-1506F673D947}"/>
              </a:ext>
            </a:extLst>
          </p:cNvPr>
          <p:cNvSpPr/>
          <p:nvPr/>
        </p:nvSpPr>
        <p:spPr>
          <a:xfrm>
            <a:off x="6959641" y="3065151"/>
            <a:ext cx="91545" cy="184495"/>
          </a:xfrm>
          <a:custGeom>
            <a:avLst/>
            <a:gdLst>
              <a:gd name="csX0" fmla="*/ 96534 w 100699"/>
              <a:gd name="csY0" fmla="*/ 202912 h 202945"/>
              <a:gd name="csX1" fmla="*/ 91036 w 100699"/>
              <a:gd name="csY1" fmla="*/ 196780 h 202945"/>
              <a:gd name="csX2" fmla="*/ 93357 w 100699"/>
              <a:gd name="csY2" fmla="*/ 178731 h 202945"/>
              <a:gd name="csX3" fmla="*/ 75903 w 100699"/>
              <a:gd name="csY3" fmla="*/ 106029 h 202945"/>
              <a:gd name="csX4" fmla="*/ 72780 w 100699"/>
              <a:gd name="csY4" fmla="*/ 102473 h 202945"/>
              <a:gd name="csX5" fmla="*/ 10982 w 100699"/>
              <a:gd name="csY5" fmla="*/ 41414 h 202945"/>
              <a:gd name="csX6" fmla="*/ 676 w 100699"/>
              <a:gd name="csY6" fmla="*/ 2936 h 202945"/>
              <a:gd name="csX7" fmla="*/ 5198 w 100699"/>
              <a:gd name="csY7" fmla="*/ 0 h 202945"/>
              <a:gd name="csX8" fmla="*/ 15435 w 100699"/>
              <a:gd name="csY8" fmla="*/ 35855 h 202945"/>
              <a:gd name="csX9" fmla="*/ 44498 w 100699"/>
              <a:gd name="csY9" fmla="*/ 63833 h 202945"/>
              <a:gd name="csX10" fmla="*/ 81385 w 100699"/>
              <a:gd name="csY10" fmla="*/ 106005 h 202945"/>
              <a:gd name="csX11" fmla="*/ 98950 w 100699"/>
              <a:gd name="csY11" fmla="*/ 190063 h 202945"/>
              <a:gd name="csX12" fmla="*/ 96534 w 100699"/>
              <a:gd name="csY12" fmla="*/ 202912 h 20294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</a:cxnLst>
            <a:rect l="l" t="t" r="r" b="b"/>
            <a:pathLst>
              <a:path w="100699" h="202945">
                <a:moveTo>
                  <a:pt x="96534" y="202912"/>
                </a:moveTo>
                <a:cubicBezTo>
                  <a:pt x="91699" y="203291"/>
                  <a:pt x="90650" y="200377"/>
                  <a:pt x="91036" y="196780"/>
                </a:cubicBezTo>
                <a:cubicBezTo>
                  <a:pt x="91685" y="190750"/>
                  <a:pt x="92933" y="184771"/>
                  <a:pt x="93357" y="178731"/>
                </a:cubicBezTo>
                <a:cubicBezTo>
                  <a:pt x="95183" y="152694"/>
                  <a:pt x="86034" y="129222"/>
                  <a:pt x="75903" y="106029"/>
                </a:cubicBezTo>
                <a:cubicBezTo>
                  <a:pt x="75300" y="104650"/>
                  <a:pt x="73904" y="103585"/>
                  <a:pt x="72780" y="102473"/>
                </a:cubicBezTo>
                <a:cubicBezTo>
                  <a:pt x="52199" y="82101"/>
                  <a:pt x="31673" y="61673"/>
                  <a:pt x="10982" y="41414"/>
                </a:cubicBezTo>
                <a:cubicBezTo>
                  <a:pt x="-119" y="30544"/>
                  <a:pt x="-1041" y="17093"/>
                  <a:pt x="676" y="2936"/>
                </a:cubicBezTo>
                <a:cubicBezTo>
                  <a:pt x="808" y="1852"/>
                  <a:pt x="2922" y="1010"/>
                  <a:pt x="5198" y="0"/>
                </a:cubicBezTo>
                <a:cubicBezTo>
                  <a:pt x="2043" y="13772"/>
                  <a:pt x="5665" y="25821"/>
                  <a:pt x="15435" y="35855"/>
                </a:cubicBezTo>
                <a:cubicBezTo>
                  <a:pt x="24811" y="45486"/>
                  <a:pt x="35301" y="54047"/>
                  <a:pt x="44498" y="63833"/>
                </a:cubicBezTo>
                <a:cubicBezTo>
                  <a:pt x="57293" y="77447"/>
                  <a:pt x="70760" y="90773"/>
                  <a:pt x="81385" y="106005"/>
                </a:cubicBezTo>
                <a:cubicBezTo>
                  <a:pt x="98896" y="131109"/>
                  <a:pt x="103759" y="159808"/>
                  <a:pt x="98950" y="190063"/>
                </a:cubicBezTo>
                <a:cubicBezTo>
                  <a:pt x="98311" y="194082"/>
                  <a:pt x="97697" y="198105"/>
                  <a:pt x="96534" y="202912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8" name="Free-form: Shape 57">
            <a:extLst>
              <a:ext uri="{FF2B5EF4-FFF2-40B4-BE49-F238E27FC236}">
                <a16:creationId xmlns:a16="http://schemas.microsoft.com/office/drawing/2014/main" id="{F42A6EC4-B581-6BCC-C6C8-FCAA229A1C77}"/>
              </a:ext>
            </a:extLst>
          </p:cNvPr>
          <p:cNvSpPr/>
          <p:nvPr/>
        </p:nvSpPr>
        <p:spPr>
          <a:xfrm>
            <a:off x="6618357" y="2601115"/>
            <a:ext cx="3739" cy="60936"/>
          </a:xfrm>
          <a:custGeom>
            <a:avLst/>
            <a:gdLst>
              <a:gd name="csX0" fmla="*/ 0 w 4113"/>
              <a:gd name="csY0" fmla="*/ 0 h 67029"/>
              <a:gd name="csX1" fmla="*/ 4113 w 4113"/>
              <a:gd name="csY1" fmla="*/ 4824 h 67029"/>
              <a:gd name="csX2" fmla="*/ 2662 w 4113"/>
              <a:gd name="csY2" fmla="*/ 67030 h 67029"/>
              <a:gd name="csX3" fmla="*/ 631 w 4113"/>
              <a:gd name="csY3" fmla="*/ 55883 h 67029"/>
              <a:gd name="csX4" fmla="*/ 0 w 4113"/>
              <a:gd name="csY4" fmla="*/ 0 h 6702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4113" h="67029">
                <a:moveTo>
                  <a:pt x="0" y="0"/>
                </a:moveTo>
                <a:cubicBezTo>
                  <a:pt x="1242" y="855"/>
                  <a:pt x="4111" y="2838"/>
                  <a:pt x="4113" y="4824"/>
                </a:cubicBezTo>
                <a:cubicBezTo>
                  <a:pt x="4135" y="25317"/>
                  <a:pt x="3695" y="45810"/>
                  <a:pt x="2662" y="67030"/>
                </a:cubicBezTo>
                <a:cubicBezTo>
                  <a:pt x="1483" y="63799"/>
                  <a:pt x="680" y="59846"/>
                  <a:pt x="631" y="55883"/>
                </a:cubicBezTo>
                <a:cubicBezTo>
                  <a:pt x="404" y="37633"/>
                  <a:pt x="388" y="19381"/>
                  <a:pt x="0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9" name="Free-form: Shape 58">
            <a:extLst>
              <a:ext uri="{FF2B5EF4-FFF2-40B4-BE49-F238E27FC236}">
                <a16:creationId xmlns:a16="http://schemas.microsoft.com/office/drawing/2014/main" id="{96285158-B2C8-A645-2F59-D14EBA6A6405}"/>
              </a:ext>
            </a:extLst>
          </p:cNvPr>
          <p:cNvSpPr/>
          <p:nvPr/>
        </p:nvSpPr>
        <p:spPr>
          <a:xfrm>
            <a:off x="7070746" y="3328915"/>
            <a:ext cx="1060" cy="5803"/>
          </a:xfrm>
          <a:custGeom>
            <a:avLst/>
            <a:gdLst>
              <a:gd name="csX0" fmla="*/ 1130 w 1165"/>
              <a:gd name="csY0" fmla="*/ 6385 h 6384"/>
              <a:gd name="csX1" fmla="*/ 49 w 1165"/>
              <a:gd name="csY1" fmla="*/ 0 h 6384"/>
              <a:gd name="csX2" fmla="*/ 1130 w 1165"/>
              <a:gd name="csY2" fmla="*/ 6385 h 638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165" h="6384">
                <a:moveTo>
                  <a:pt x="1130" y="6385"/>
                </a:moveTo>
                <a:cubicBezTo>
                  <a:pt x="260" y="4748"/>
                  <a:pt x="-149" y="2599"/>
                  <a:pt x="49" y="0"/>
                </a:cubicBezTo>
                <a:cubicBezTo>
                  <a:pt x="969" y="1658"/>
                  <a:pt x="1279" y="3765"/>
                  <a:pt x="1130" y="6385"/>
                </a:cubicBezTo>
                <a:close/>
              </a:path>
            </a:pathLst>
          </a:custGeom>
          <a:solidFill>
            <a:srgbClr val="939B9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0" name="Free-form: Shape 59">
            <a:extLst>
              <a:ext uri="{FF2B5EF4-FFF2-40B4-BE49-F238E27FC236}">
                <a16:creationId xmlns:a16="http://schemas.microsoft.com/office/drawing/2014/main" id="{264203DD-948F-1522-26B1-944771CF68F9}"/>
              </a:ext>
            </a:extLst>
          </p:cNvPr>
          <p:cNvSpPr/>
          <p:nvPr/>
        </p:nvSpPr>
        <p:spPr>
          <a:xfrm>
            <a:off x="7041017" y="3254820"/>
            <a:ext cx="5440" cy="2491"/>
          </a:xfrm>
          <a:custGeom>
            <a:avLst/>
            <a:gdLst>
              <a:gd name="csX0" fmla="*/ 5985 w 5984"/>
              <a:gd name="csY0" fmla="*/ 1832 h 2740"/>
              <a:gd name="csX1" fmla="*/ 0 w 5984"/>
              <a:gd name="csY1" fmla="*/ 2740 h 2740"/>
              <a:gd name="csX2" fmla="*/ 4930 w 5984"/>
              <a:gd name="csY2" fmla="*/ 0 h 2740"/>
              <a:gd name="csX3" fmla="*/ 5985 w 5984"/>
              <a:gd name="csY3" fmla="*/ 1832 h 274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</a:cxnLst>
            <a:rect l="l" t="t" r="r" b="b"/>
            <a:pathLst>
              <a:path w="5984" h="2740">
                <a:moveTo>
                  <a:pt x="5985" y="1832"/>
                </a:moveTo>
                <a:cubicBezTo>
                  <a:pt x="3992" y="2553"/>
                  <a:pt x="1996" y="2646"/>
                  <a:pt x="0" y="2740"/>
                </a:cubicBezTo>
                <a:cubicBezTo>
                  <a:pt x="1398" y="1830"/>
                  <a:pt x="2796" y="920"/>
                  <a:pt x="4930" y="0"/>
                </a:cubicBezTo>
                <a:cubicBezTo>
                  <a:pt x="5772" y="394"/>
                  <a:pt x="5877" y="799"/>
                  <a:pt x="5985" y="1832"/>
                </a:cubicBezTo>
                <a:close/>
              </a:path>
            </a:pathLst>
          </a:custGeom>
          <a:solidFill>
            <a:srgbClr val="8E9395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1" name="Free-form: Shape 60">
            <a:extLst>
              <a:ext uri="{FF2B5EF4-FFF2-40B4-BE49-F238E27FC236}">
                <a16:creationId xmlns:a16="http://schemas.microsoft.com/office/drawing/2014/main" id="{FD9870BB-EEA4-F0B6-01D2-B403FCAF9574}"/>
              </a:ext>
            </a:extLst>
          </p:cNvPr>
          <p:cNvSpPr/>
          <p:nvPr/>
        </p:nvSpPr>
        <p:spPr>
          <a:xfrm>
            <a:off x="6581130" y="2506935"/>
            <a:ext cx="2645" cy="5625"/>
          </a:xfrm>
          <a:custGeom>
            <a:avLst/>
            <a:gdLst>
              <a:gd name="csX0" fmla="*/ 815 w 2910"/>
              <a:gd name="csY0" fmla="*/ 0 h 6187"/>
              <a:gd name="csX1" fmla="*/ 113 w 2910"/>
              <a:gd name="csY1" fmla="*/ 6187 h 6187"/>
              <a:gd name="csX2" fmla="*/ 815 w 2910"/>
              <a:gd name="csY2" fmla="*/ 0 h 618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2910" h="6187">
                <a:moveTo>
                  <a:pt x="815" y="0"/>
                </a:moveTo>
                <a:cubicBezTo>
                  <a:pt x="4660" y="1891"/>
                  <a:pt x="2480" y="3840"/>
                  <a:pt x="113" y="6187"/>
                </a:cubicBezTo>
                <a:cubicBezTo>
                  <a:pt x="-172" y="4565"/>
                  <a:pt x="89" y="2579"/>
                  <a:pt x="815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2" name="Free-form: Shape 61">
            <a:extLst>
              <a:ext uri="{FF2B5EF4-FFF2-40B4-BE49-F238E27FC236}">
                <a16:creationId xmlns:a16="http://schemas.microsoft.com/office/drawing/2014/main" id="{3FC8D282-A08A-2DEA-7C48-D11151F84A02}"/>
              </a:ext>
            </a:extLst>
          </p:cNvPr>
          <p:cNvSpPr/>
          <p:nvPr/>
        </p:nvSpPr>
        <p:spPr>
          <a:xfrm>
            <a:off x="6615545" y="2723509"/>
            <a:ext cx="770" cy="3664"/>
          </a:xfrm>
          <a:custGeom>
            <a:avLst/>
            <a:gdLst>
              <a:gd name="csX0" fmla="*/ 106 w 847"/>
              <a:gd name="csY0" fmla="*/ 0 h 4030"/>
              <a:gd name="csX1" fmla="*/ 732 w 847"/>
              <a:gd name="csY1" fmla="*/ 4031 h 4030"/>
              <a:gd name="csX2" fmla="*/ 106 w 847"/>
              <a:gd name="csY2" fmla="*/ 0 h 403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7" h="4030">
                <a:moveTo>
                  <a:pt x="106" y="0"/>
                </a:moveTo>
                <a:cubicBezTo>
                  <a:pt x="770" y="990"/>
                  <a:pt x="1013" y="2346"/>
                  <a:pt x="732" y="4031"/>
                </a:cubicBezTo>
                <a:cubicBezTo>
                  <a:pt x="34" y="3029"/>
                  <a:pt x="-141" y="1697"/>
                  <a:pt x="106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3" name="Free-form: Shape 62">
            <a:extLst>
              <a:ext uri="{FF2B5EF4-FFF2-40B4-BE49-F238E27FC236}">
                <a16:creationId xmlns:a16="http://schemas.microsoft.com/office/drawing/2014/main" id="{F2F31012-2A27-A8E0-2F26-7862F3C8680B}"/>
              </a:ext>
            </a:extLst>
          </p:cNvPr>
          <p:cNvSpPr/>
          <p:nvPr/>
        </p:nvSpPr>
        <p:spPr>
          <a:xfrm>
            <a:off x="6611221" y="2759303"/>
            <a:ext cx="703" cy="3631"/>
          </a:xfrm>
          <a:custGeom>
            <a:avLst/>
            <a:gdLst>
              <a:gd name="csX0" fmla="*/ 195 w 774"/>
              <a:gd name="csY0" fmla="*/ 0 h 3994"/>
              <a:gd name="csX1" fmla="*/ 575 w 774"/>
              <a:gd name="csY1" fmla="*/ 3994 h 3994"/>
              <a:gd name="csX2" fmla="*/ 195 w 774"/>
              <a:gd name="csY2" fmla="*/ 0 h 399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774" h="3994">
                <a:moveTo>
                  <a:pt x="195" y="0"/>
                </a:moveTo>
                <a:cubicBezTo>
                  <a:pt x="794" y="1011"/>
                  <a:pt x="941" y="2348"/>
                  <a:pt x="575" y="3994"/>
                </a:cubicBezTo>
                <a:cubicBezTo>
                  <a:pt x="-44" y="2978"/>
                  <a:pt x="-151" y="1652"/>
                  <a:pt x="195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4" name="Free-form: Shape 63">
            <a:extLst>
              <a:ext uri="{FF2B5EF4-FFF2-40B4-BE49-F238E27FC236}">
                <a16:creationId xmlns:a16="http://schemas.microsoft.com/office/drawing/2014/main" id="{698A75CC-6763-B32E-8AC3-314EC75530A9}"/>
              </a:ext>
            </a:extLst>
          </p:cNvPr>
          <p:cNvSpPr/>
          <p:nvPr/>
        </p:nvSpPr>
        <p:spPr>
          <a:xfrm>
            <a:off x="6617798" y="2696699"/>
            <a:ext cx="787" cy="3631"/>
          </a:xfrm>
          <a:custGeom>
            <a:avLst/>
            <a:gdLst>
              <a:gd name="csX0" fmla="*/ 71 w 865"/>
              <a:gd name="csY0" fmla="*/ 0 h 3995"/>
              <a:gd name="csX1" fmla="*/ 783 w 865"/>
              <a:gd name="csY1" fmla="*/ 3996 h 3995"/>
              <a:gd name="csX2" fmla="*/ 71 w 865"/>
              <a:gd name="csY2" fmla="*/ 0 h 399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65" h="3995">
                <a:moveTo>
                  <a:pt x="71" y="0"/>
                </a:moveTo>
                <a:cubicBezTo>
                  <a:pt x="740" y="963"/>
                  <a:pt x="1018" y="2311"/>
                  <a:pt x="783" y="3996"/>
                </a:cubicBezTo>
                <a:cubicBezTo>
                  <a:pt x="73" y="3017"/>
                  <a:pt x="-124" y="1701"/>
                  <a:pt x="71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5" name="Free-form: Shape 64">
            <a:extLst>
              <a:ext uri="{FF2B5EF4-FFF2-40B4-BE49-F238E27FC236}">
                <a16:creationId xmlns:a16="http://schemas.microsoft.com/office/drawing/2014/main" id="{D1A879F7-5AB7-D4D2-F14C-75909654CC3D}"/>
              </a:ext>
            </a:extLst>
          </p:cNvPr>
          <p:cNvSpPr/>
          <p:nvPr/>
        </p:nvSpPr>
        <p:spPr>
          <a:xfrm>
            <a:off x="6736102" y="2600725"/>
            <a:ext cx="170236" cy="426821"/>
          </a:xfrm>
          <a:custGeom>
            <a:avLst/>
            <a:gdLst>
              <a:gd name="csX0" fmla="*/ 120604 w 187260"/>
              <a:gd name="csY0" fmla="*/ 222968 h 469503"/>
              <a:gd name="csX1" fmla="*/ 187261 w 187260"/>
              <a:gd name="csY1" fmla="*/ 469503 h 469503"/>
              <a:gd name="csX2" fmla="*/ 1253 w 187260"/>
              <a:gd name="csY2" fmla="*/ 466078 h 469503"/>
              <a:gd name="csX3" fmla="*/ 8 w 187260"/>
              <a:gd name="csY3" fmla="*/ 458101 h 469503"/>
              <a:gd name="csX4" fmla="*/ 4383 w 187260"/>
              <a:gd name="csY4" fmla="*/ 351443 h 469503"/>
              <a:gd name="csX5" fmla="*/ 4615 w 187260"/>
              <a:gd name="csY5" fmla="*/ 346536 h 469503"/>
              <a:gd name="csX6" fmla="*/ 7935 w 187260"/>
              <a:gd name="csY6" fmla="*/ 233648 h 469503"/>
              <a:gd name="csX7" fmla="*/ 10461 w 187260"/>
              <a:gd name="csY7" fmla="*/ 128112 h 469503"/>
              <a:gd name="csX8" fmla="*/ 12461 w 187260"/>
              <a:gd name="csY8" fmla="*/ 12750 h 469503"/>
              <a:gd name="csX9" fmla="*/ 13165 w 187260"/>
              <a:gd name="csY9" fmla="*/ 4285 h 469503"/>
              <a:gd name="csX10" fmla="*/ 102327 w 187260"/>
              <a:gd name="csY10" fmla="*/ 0 h 469503"/>
              <a:gd name="csX11" fmla="*/ 106229 w 187260"/>
              <a:gd name="csY11" fmla="*/ 111321 h 469503"/>
              <a:gd name="csX12" fmla="*/ 120604 w 187260"/>
              <a:gd name="csY12" fmla="*/ 222968 h 46950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</a:cxnLst>
            <a:rect l="l" t="t" r="r" b="b"/>
            <a:pathLst>
              <a:path w="187260" h="469503">
                <a:moveTo>
                  <a:pt x="120604" y="222968"/>
                </a:moveTo>
                <a:cubicBezTo>
                  <a:pt x="135383" y="307129"/>
                  <a:pt x="159464" y="387725"/>
                  <a:pt x="187261" y="469503"/>
                </a:cubicBezTo>
                <a:cubicBezTo>
                  <a:pt x="124460" y="468347"/>
                  <a:pt x="63286" y="467220"/>
                  <a:pt x="1253" y="466078"/>
                </a:cubicBezTo>
                <a:cubicBezTo>
                  <a:pt x="818" y="463442"/>
                  <a:pt x="-95" y="460752"/>
                  <a:pt x="8" y="458101"/>
                </a:cubicBezTo>
                <a:cubicBezTo>
                  <a:pt x="1383" y="422545"/>
                  <a:pt x="2900" y="386994"/>
                  <a:pt x="4383" y="351443"/>
                </a:cubicBezTo>
                <a:cubicBezTo>
                  <a:pt x="4451" y="349807"/>
                  <a:pt x="4566" y="348172"/>
                  <a:pt x="4615" y="346536"/>
                </a:cubicBezTo>
                <a:cubicBezTo>
                  <a:pt x="5732" y="308907"/>
                  <a:pt x="6921" y="271280"/>
                  <a:pt x="7935" y="233648"/>
                </a:cubicBezTo>
                <a:cubicBezTo>
                  <a:pt x="8883" y="198472"/>
                  <a:pt x="9752" y="163293"/>
                  <a:pt x="10461" y="128112"/>
                </a:cubicBezTo>
                <a:cubicBezTo>
                  <a:pt x="11237" y="89660"/>
                  <a:pt x="11781" y="51204"/>
                  <a:pt x="12461" y="12750"/>
                </a:cubicBezTo>
                <a:cubicBezTo>
                  <a:pt x="12503" y="10363"/>
                  <a:pt x="12848" y="7981"/>
                  <a:pt x="13165" y="4285"/>
                </a:cubicBezTo>
                <a:cubicBezTo>
                  <a:pt x="42856" y="2858"/>
                  <a:pt x="72082" y="1454"/>
                  <a:pt x="102327" y="0"/>
                </a:cubicBezTo>
                <a:cubicBezTo>
                  <a:pt x="103499" y="37348"/>
                  <a:pt x="103207" y="74470"/>
                  <a:pt x="106229" y="111321"/>
                </a:cubicBezTo>
                <a:cubicBezTo>
                  <a:pt x="109263" y="148326"/>
                  <a:pt x="115599" y="185060"/>
                  <a:pt x="120604" y="222968"/>
                </a:cubicBezTo>
                <a:close/>
              </a:path>
            </a:pathLst>
          </a:custGeom>
          <a:solidFill>
            <a:srgbClr val="FDFDFD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6" name="Free-form: Shape 65">
            <a:extLst>
              <a:ext uri="{FF2B5EF4-FFF2-40B4-BE49-F238E27FC236}">
                <a16:creationId xmlns:a16="http://schemas.microsoft.com/office/drawing/2014/main" id="{A75D2AE8-D5B8-6B2F-90B6-F9110ADB8AF5}"/>
              </a:ext>
            </a:extLst>
          </p:cNvPr>
          <p:cNvSpPr/>
          <p:nvPr/>
        </p:nvSpPr>
        <p:spPr>
          <a:xfrm>
            <a:off x="6734909" y="3067477"/>
            <a:ext cx="284824" cy="179974"/>
          </a:xfrm>
          <a:custGeom>
            <a:avLst/>
            <a:gdLst>
              <a:gd name="csX0" fmla="*/ 160234 w 313306"/>
              <a:gd name="csY0" fmla="*/ 197876 h 197971"/>
              <a:gd name="csX1" fmla="*/ 544 w 313306"/>
              <a:gd name="csY1" fmla="*/ 197972 h 197971"/>
              <a:gd name="csX2" fmla="*/ 3466 w 313306"/>
              <a:gd name="csY2" fmla="*/ 104326 h 197971"/>
              <a:gd name="csX3" fmla="*/ 0 w 313306"/>
              <a:gd name="csY3" fmla="*/ 10720 h 197971"/>
              <a:gd name="csX4" fmla="*/ 5445 w 313306"/>
              <a:gd name="csY4" fmla="*/ 9282 h 197971"/>
              <a:gd name="csX5" fmla="*/ 71623 w 313306"/>
              <a:gd name="csY5" fmla="*/ 6885 h 197971"/>
              <a:gd name="csX6" fmla="*/ 187887 w 313306"/>
              <a:gd name="csY6" fmla="*/ 233 h 197971"/>
              <a:gd name="csX7" fmla="*/ 215297 w 313306"/>
              <a:gd name="csY7" fmla="*/ 163 h 197971"/>
              <a:gd name="csX8" fmla="*/ 243629 w 313306"/>
              <a:gd name="csY8" fmla="*/ 61389 h 197971"/>
              <a:gd name="csX9" fmla="*/ 270660 w 313306"/>
              <a:gd name="csY9" fmla="*/ 86342 h 197971"/>
              <a:gd name="csX10" fmla="*/ 313142 w 313306"/>
              <a:gd name="csY10" fmla="*/ 170098 h 197971"/>
              <a:gd name="csX11" fmla="*/ 313291 w 313306"/>
              <a:gd name="csY11" fmla="*/ 176231 h 197971"/>
              <a:gd name="csX12" fmla="*/ 312654 w 313306"/>
              <a:gd name="csY12" fmla="*/ 180738 h 197971"/>
              <a:gd name="csX13" fmla="*/ 279655 w 313306"/>
              <a:gd name="csY13" fmla="*/ 186226 h 197971"/>
              <a:gd name="csX14" fmla="*/ 167436 w 313306"/>
              <a:gd name="csY14" fmla="*/ 196805 h 197971"/>
              <a:gd name="csX15" fmla="*/ 160234 w 313306"/>
              <a:gd name="csY15" fmla="*/ 197876 h 19797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</a:cxnLst>
            <a:rect l="l" t="t" r="r" b="b"/>
            <a:pathLst>
              <a:path w="313306" h="197971">
                <a:moveTo>
                  <a:pt x="160234" y="197876"/>
                </a:moveTo>
                <a:cubicBezTo>
                  <a:pt x="106384" y="197972"/>
                  <a:pt x="53682" y="197972"/>
                  <a:pt x="544" y="197972"/>
                </a:cubicBezTo>
                <a:cubicBezTo>
                  <a:pt x="1602" y="166763"/>
                  <a:pt x="3550" y="135542"/>
                  <a:pt x="3466" y="104326"/>
                </a:cubicBezTo>
                <a:cubicBezTo>
                  <a:pt x="3383" y="73323"/>
                  <a:pt x="1255" y="42326"/>
                  <a:pt x="0" y="10720"/>
                </a:cubicBezTo>
                <a:cubicBezTo>
                  <a:pt x="1689" y="10255"/>
                  <a:pt x="3551" y="9355"/>
                  <a:pt x="5445" y="9282"/>
                </a:cubicBezTo>
                <a:cubicBezTo>
                  <a:pt x="27503" y="8435"/>
                  <a:pt x="49582" y="8030"/>
                  <a:pt x="71623" y="6885"/>
                </a:cubicBezTo>
                <a:cubicBezTo>
                  <a:pt x="110388" y="4872"/>
                  <a:pt x="149126" y="2333"/>
                  <a:pt x="187887" y="233"/>
                </a:cubicBezTo>
                <a:cubicBezTo>
                  <a:pt x="196749" y="-247"/>
                  <a:pt x="205660" y="163"/>
                  <a:pt x="215297" y="163"/>
                </a:cubicBezTo>
                <a:cubicBezTo>
                  <a:pt x="215450" y="25550"/>
                  <a:pt x="226120" y="45122"/>
                  <a:pt x="243629" y="61389"/>
                </a:cubicBezTo>
                <a:cubicBezTo>
                  <a:pt x="252615" y="69739"/>
                  <a:pt x="261099" y="78715"/>
                  <a:pt x="270660" y="86342"/>
                </a:cubicBezTo>
                <a:cubicBezTo>
                  <a:pt x="297676" y="107892"/>
                  <a:pt x="310731" y="136225"/>
                  <a:pt x="313142" y="170098"/>
                </a:cubicBezTo>
                <a:cubicBezTo>
                  <a:pt x="313287" y="172136"/>
                  <a:pt x="313335" y="174188"/>
                  <a:pt x="313291" y="176231"/>
                </a:cubicBezTo>
                <a:cubicBezTo>
                  <a:pt x="313265" y="177429"/>
                  <a:pt x="312966" y="178621"/>
                  <a:pt x="312654" y="180738"/>
                </a:cubicBezTo>
                <a:cubicBezTo>
                  <a:pt x="302343" y="185396"/>
                  <a:pt x="290736" y="185049"/>
                  <a:pt x="279655" y="186226"/>
                </a:cubicBezTo>
                <a:cubicBezTo>
                  <a:pt x="242295" y="190193"/>
                  <a:pt x="204847" y="193324"/>
                  <a:pt x="167436" y="196805"/>
                </a:cubicBezTo>
                <a:cubicBezTo>
                  <a:pt x="165405" y="196994"/>
                  <a:pt x="163399" y="197449"/>
                  <a:pt x="160234" y="197876"/>
                </a:cubicBezTo>
                <a:close/>
              </a:path>
            </a:pathLst>
          </a:custGeom>
          <a:solidFill>
            <a:srgbClr val="FDFEFE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7" name="Free-form: Shape 66">
            <a:extLst>
              <a:ext uri="{FF2B5EF4-FFF2-40B4-BE49-F238E27FC236}">
                <a16:creationId xmlns:a16="http://schemas.microsoft.com/office/drawing/2014/main" id="{24B80872-A381-B7F2-3018-47CDE2F390C9}"/>
              </a:ext>
            </a:extLst>
          </p:cNvPr>
          <p:cNvSpPr/>
          <p:nvPr/>
        </p:nvSpPr>
        <p:spPr>
          <a:xfrm>
            <a:off x="6745652" y="2050893"/>
            <a:ext cx="149260" cy="361842"/>
          </a:xfrm>
          <a:custGeom>
            <a:avLst/>
            <a:gdLst>
              <a:gd name="csX0" fmla="*/ 22609 w 164186"/>
              <a:gd name="csY0" fmla="*/ 398026 h 398026"/>
              <a:gd name="csX1" fmla="*/ 16884 w 164186"/>
              <a:gd name="csY1" fmla="*/ 390515 h 398026"/>
              <a:gd name="csX2" fmla="*/ 9661 w 164186"/>
              <a:gd name="csY2" fmla="*/ 328443 h 398026"/>
              <a:gd name="csX3" fmla="*/ 534 w 164186"/>
              <a:gd name="csY3" fmla="*/ 196369 h 398026"/>
              <a:gd name="csX4" fmla="*/ 1243 w 164186"/>
              <a:gd name="csY4" fmla="*/ 82293 h 398026"/>
              <a:gd name="csX5" fmla="*/ 2245 w 164186"/>
              <a:gd name="csY5" fmla="*/ 43023 h 398026"/>
              <a:gd name="csX6" fmla="*/ 4587 w 164186"/>
              <a:gd name="csY6" fmla="*/ 0 h 398026"/>
              <a:gd name="csX7" fmla="*/ 12341 w 164186"/>
              <a:gd name="csY7" fmla="*/ 3872 h 398026"/>
              <a:gd name="csX8" fmla="*/ 85914 w 164186"/>
              <a:gd name="csY8" fmla="*/ 78943 h 398026"/>
              <a:gd name="csX9" fmla="*/ 87893 w 164186"/>
              <a:gd name="csY9" fmla="*/ 99117 h 398026"/>
              <a:gd name="csX10" fmla="*/ 35459 w 164186"/>
              <a:gd name="csY10" fmla="*/ 207346 h 398026"/>
              <a:gd name="csX11" fmla="*/ 32223 w 164186"/>
              <a:gd name="csY11" fmla="*/ 213959 h 398026"/>
              <a:gd name="csX12" fmla="*/ 39509 w 164186"/>
              <a:gd name="csY12" fmla="*/ 242056 h 398026"/>
              <a:gd name="csX13" fmla="*/ 69474 w 164186"/>
              <a:gd name="csY13" fmla="*/ 237019 h 398026"/>
              <a:gd name="csX14" fmla="*/ 89101 w 164186"/>
              <a:gd name="csY14" fmla="*/ 208870 h 398026"/>
              <a:gd name="csX15" fmla="*/ 121716 w 164186"/>
              <a:gd name="csY15" fmla="*/ 158357 h 398026"/>
              <a:gd name="csX16" fmla="*/ 129330 w 164186"/>
              <a:gd name="csY16" fmla="*/ 148165 h 398026"/>
              <a:gd name="csX17" fmla="*/ 137171 w 164186"/>
              <a:gd name="csY17" fmla="*/ 159989 h 398026"/>
              <a:gd name="csX18" fmla="*/ 163812 w 164186"/>
              <a:gd name="csY18" fmla="*/ 273175 h 398026"/>
              <a:gd name="csX19" fmla="*/ 118151 w 164186"/>
              <a:gd name="csY19" fmla="*/ 383442 h 398026"/>
              <a:gd name="csX20" fmla="*/ 92325 w 164186"/>
              <a:gd name="csY20" fmla="*/ 395173 h 398026"/>
              <a:gd name="csX21" fmla="*/ 22609 w 164186"/>
              <a:gd name="csY21" fmla="*/ 398026 h 39802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</a:cxnLst>
            <a:rect l="l" t="t" r="r" b="b"/>
            <a:pathLst>
              <a:path w="164186" h="398026">
                <a:moveTo>
                  <a:pt x="22609" y="398026"/>
                </a:moveTo>
                <a:cubicBezTo>
                  <a:pt x="19898" y="395489"/>
                  <a:pt x="17229" y="393154"/>
                  <a:pt x="16884" y="390515"/>
                </a:cubicBezTo>
                <a:cubicBezTo>
                  <a:pt x="14183" y="369861"/>
                  <a:pt x="11326" y="349196"/>
                  <a:pt x="9661" y="328443"/>
                </a:cubicBezTo>
                <a:cubicBezTo>
                  <a:pt x="6132" y="284452"/>
                  <a:pt x="2125" y="240448"/>
                  <a:pt x="534" y="196369"/>
                </a:cubicBezTo>
                <a:cubicBezTo>
                  <a:pt x="-837" y="158401"/>
                  <a:pt x="816" y="120322"/>
                  <a:pt x="1243" y="82293"/>
                </a:cubicBezTo>
                <a:cubicBezTo>
                  <a:pt x="1389" y="69201"/>
                  <a:pt x="1708" y="56105"/>
                  <a:pt x="2245" y="43023"/>
                </a:cubicBezTo>
                <a:cubicBezTo>
                  <a:pt x="2815" y="29160"/>
                  <a:pt x="3738" y="15312"/>
                  <a:pt x="4587" y="0"/>
                </a:cubicBezTo>
                <a:cubicBezTo>
                  <a:pt x="7809" y="1586"/>
                  <a:pt x="10279" y="2436"/>
                  <a:pt x="12341" y="3872"/>
                </a:cubicBezTo>
                <a:cubicBezTo>
                  <a:pt x="41601" y="24248"/>
                  <a:pt x="64069" y="51269"/>
                  <a:pt x="85914" y="78943"/>
                </a:cubicBezTo>
                <a:cubicBezTo>
                  <a:pt x="91106" y="85520"/>
                  <a:pt x="91706" y="91406"/>
                  <a:pt x="87893" y="99117"/>
                </a:cubicBezTo>
                <a:cubicBezTo>
                  <a:pt x="70127" y="135051"/>
                  <a:pt x="52890" y="171246"/>
                  <a:pt x="35459" y="207346"/>
                </a:cubicBezTo>
                <a:cubicBezTo>
                  <a:pt x="34391" y="209557"/>
                  <a:pt x="33130" y="211686"/>
                  <a:pt x="32223" y="213959"/>
                </a:cubicBezTo>
                <a:cubicBezTo>
                  <a:pt x="27471" y="225873"/>
                  <a:pt x="30154" y="236086"/>
                  <a:pt x="39509" y="242056"/>
                </a:cubicBezTo>
                <a:cubicBezTo>
                  <a:pt x="48880" y="248038"/>
                  <a:pt x="61705" y="246477"/>
                  <a:pt x="69474" y="237019"/>
                </a:cubicBezTo>
                <a:cubicBezTo>
                  <a:pt x="76712" y="228205"/>
                  <a:pt x="82824" y="218436"/>
                  <a:pt x="89101" y="208870"/>
                </a:cubicBezTo>
                <a:cubicBezTo>
                  <a:pt x="100096" y="192114"/>
                  <a:pt x="110806" y="175170"/>
                  <a:pt x="121716" y="158357"/>
                </a:cubicBezTo>
                <a:cubicBezTo>
                  <a:pt x="123679" y="155333"/>
                  <a:pt x="126029" y="152559"/>
                  <a:pt x="129330" y="148165"/>
                </a:cubicBezTo>
                <a:cubicBezTo>
                  <a:pt x="132450" y="152828"/>
                  <a:pt x="135175" y="156216"/>
                  <a:pt x="137171" y="159989"/>
                </a:cubicBezTo>
                <a:cubicBezTo>
                  <a:pt x="155891" y="195388"/>
                  <a:pt x="166343" y="232905"/>
                  <a:pt x="163812" y="273175"/>
                </a:cubicBezTo>
                <a:cubicBezTo>
                  <a:pt x="161183" y="314982"/>
                  <a:pt x="144984" y="351430"/>
                  <a:pt x="118151" y="383442"/>
                </a:cubicBezTo>
                <a:cubicBezTo>
                  <a:pt x="111214" y="391718"/>
                  <a:pt x="102452" y="394716"/>
                  <a:pt x="92325" y="395173"/>
                </a:cubicBezTo>
                <a:cubicBezTo>
                  <a:pt x="69461" y="396207"/>
                  <a:pt x="46593" y="397123"/>
                  <a:pt x="22609" y="398026"/>
                </a:cubicBezTo>
                <a:close/>
              </a:path>
            </a:pathLst>
          </a:custGeom>
          <a:solidFill>
            <a:srgbClr val="FCFDFD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8" name="Free-form: Shape 67">
            <a:extLst>
              <a:ext uri="{FF2B5EF4-FFF2-40B4-BE49-F238E27FC236}">
                <a16:creationId xmlns:a16="http://schemas.microsoft.com/office/drawing/2014/main" id="{3531FBF5-8A5F-D428-E46C-77DA10072087}"/>
              </a:ext>
            </a:extLst>
          </p:cNvPr>
          <p:cNvSpPr/>
          <p:nvPr/>
        </p:nvSpPr>
        <p:spPr>
          <a:xfrm>
            <a:off x="6731545" y="3276684"/>
            <a:ext cx="305850" cy="64961"/>
          </a:xfrm>
          <a:custGeom>
            <a:avLst/>
            <a:gdLst>
              <a:gd name="csX0" fmla="*/ 105937 w 336434"/>
              <a:gd name="csY0" fmla="*/ 71458 h 71457"/>
              <a:gd name="csX1" fmla="*/ 3534 w 336434"/>
              <a:gd name="csY1" fmla="*/ 69115 h 71457"/>
              <a:gd name="csX2" fmla="*/ 1296 w 336434"/>
              <a:gd name="csY2" fmla="*/ 17910 h 71457"/>
              <a:gd name="csX3" fmla="*/ 14032 w 336434"/>
              <a:gd name="csY3" fmla="*/ 17908 h 71457"/>
              <a:gd name="csX4" fmla="*/ 102444 w 336434"/>
              <a:gd name="csY4" fmla="*/ 17433 h 71457"/>
              <a:gd name="csX5" fmla="*/ 284561 w 336434"/>
              <a:gd name="csY5" fmla="*/ 3564 h 71457"/>
              <a:gd name="csX6" fmla="*/ 311323 w 336434"/>
              <a:gd name="csY6" fmla="*/ 224 h 71457"/>
              <a:gd name="csX7" fmla="*/ 324313 w 336434"/>
              <a:gd name="csY7" fmla="*/ 6639 h 71457"/>
              <a:gd name="csX8" fmla="*/ 336434 w 336434"/>
              <a:gd name="csY8" fmla="*/ 46484 h 71457"/>
              <a:gd name="csX9" fmla="*/ 105937 w 336434"/>
              <a:gd name="csY9" fmla="*/ 71458 h 7145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336434" h="71457">
                <a:moveTo>
                  <a:pt x="105937" y="71458"/>
                </a:moveTo>
                <a:cubicBezTo>
                  <a:pt x="70820" y="70678"/>
                  <a:pt x="36930" y="69891"/>
                  <a:pt x="3534" y="69115"/>
                </a:cubicBezTo>
                <a:cubicBezTo>
                  <a:pt x="-81" y="59433"/>
                  <a:pt x="-1094" y="35337"/>
                  <a:pt x="1296" y="17910"/>
                </a:cubicBezTo>
                <a:cubicBezTo>
                  <a:pt x="5366" y="17910"/>
                  <a:pt x="9699" y="17923"/>
                  <a:pt x="14032" y="17908"/>
                </a:cubicBezTo>
                <a:cubicBezTo>
                  <a:pt x="43505" y="17812"/>
                  <a:pt x="73011" y="18557"/>
                  <a:pt x="102444" y="17433"/>
                </a:cubicBezTo>
                <a:cubicBezTo>
                  <a:pt x="163306" y="15109"/>
                  <a:pt x="224166" y="12264"/>
                  <a:pt x="284561" y="3564"/>
                </a:cubicBezTo>
                <a:cubicBezTo>
                  <a:pt x="293458" y="2283"/>
                  <a:pt x="302438" y="1575"/>
                  <a:pt x="311323" y="224"/>
                </a:cubicBezTo>
                <a:cubicBezTo>
                  <a:pt x="317371" y="-696"/>
                  <a:pt x="321247" y="1177"/>
                  <a:pt x="324313" y="6639"/>
                </a:cubicBezTo>
                <a:cubicBezTo>
                  <a:pt x="330512" y="17683"/>
                  <a:pt x="335236" y="31679"/>
                  <a:pt x="336434" y="46484"/>
                </a:cubicBezTo>
                <a:cubicBezTo>
                  <a:pt x="261124" y="64059"/>
                  <a:pt x="184356" y="69587"/>
                  <a:pt x="105937" y="71458"/>
                </a:cubicBezTo>
                <a:close/>
              </a:path>
            </a:pathLst>
          </a:custGeom>
          <a:solidFill>
            <a:srgbClr val="FCFCFC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9" name="Free-form: Shape 68">
            <a:extLst>
              <a:ext uri="{FF2B5EF4-FFF2-40B4-BE49-F238E27FC236}">
                <a16:creationId xmlns:a16="http://schemas.microsoft.com/office/drawing/2014/main" id="{75B4D3B6-9172-CC5D-FC13-BCD01BB6955F}"/>
              </a:ext>
            </a:extLst>
          </p:cNvPr>
          <p:cNvSpPr/>
          <p:nvPr/>
        </p:nvSpPr>
        <p:spPr>
          <a:xfrm>
            <a:off x="6745102" y="2445960"/>
            <a:ext cx="120683" cy="63097"/>
          </a:xfrm>
          <a:custGeom>
            <a:avLst/>
            <a:gdLst>
              <a:gd name="csX0" fmla="*/ 5051 w 132751"/>
              <a:gd name="csY0" fmla="*/ 7534 h 69406"/>
              <a:gd name="csX1" fmla="*/ 10615 w 132751"/>
              <a:gd name="csY1" fmla="*/ 3077 h 69406"/>
              <a:gd name="csX2" fmla="*/ 26541 w 132751"/>
              <a:gd name="csY2" fmla="*/ 2752 h 69406"/>
              <a:gd name="csX3" fmla="*/ 87728 w 132751"/>
              <a:gd name="csY3" fmla="*/ 89 h 69406"/>
              <a:gd name="csX4" fmla="*/ 101400 w 132751"/>
              <a:gd name="csY4" fmla="*/ 62 h 69406"/>
              <a:gd name="csX5" fmla="*/ 102924 w 132751"/>
              <a:gd name="csY5" fmla="*/ 4800 h 69406"/>
              <a:gd name="csX6" fmla="*/ 121469 w 132751"/>
              <a:gd name="csY6" fmla="*/ 43062 h 69406"/>
              <a:gd name="csX7" fmla="*/ 132751 w 132751"/>
              <a:gd name="csY7" fmla="*/ 65240 h 69406"/>
              <a:gd name="csX8" fmla="*/ 0 w 132751"/>
              <a:gd name="csY8" fmla="*/ 69406 h 69406"/>
              <a:gd name="csX9" fmla="*/ 5051 w 132751"/>
              <a:gd name="csY9" fmla="*/ 7534 h 6940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132751" h="69406">
                <a:moveTo>
                  <a:pt x="5051" y="7534"/>
                </a:moveTo>
                <a:cubicBezTo>
                  <a:pt x="6880" y="5272"/>
                  <a:pt x="8659" y="3268"/>
                  <a:pt x="10615" y="3077"/>
                </a:cubicBezTo>
                <a:cubicBezTo>
                  <a:pt x="15884" y="2564"/>
                  <a:pt x="21234" y="2972"/>
                  <a:pt x="26541" y="2752"/>
                </a:cubicBezTo>
                <a:cubicBezTo>
                  <a:pt x="46938" y="1911"/>
                  <a:pt x="67330" y="933"/>
                  <a:pt x="87728" y="89"/>
                </a:cubicBezTo>
                <a:cubicBezTo>
                  <a:pt x="92161" y="-94"/>
                  <a:pt x="96609" y="62"/>
                  <a:pt x="101400" y="62"/>
                </a:cubicBezTo>
                <a:cubicBezTo>
                  <a:pt x="101991" y="1827"/>
                  <a:pt x="102885" y="3302"/>
                  <a:pt x="102924" y="4800"/>
                </a:cubicBezTo>
                <a:cubicBezTo>
                  <a:pt x="103334" y="20376"/>
                  <a:pt x="108815" y="33165"/>
                  <a:pt x="121469" y="43062"/>
                </a:cubicBezTo>
                <a:cubicBezTo>
                  <a:pt x="127809" y="48021"/>
                  <a:pt x="132509" y="54869"/>
                  <a:pt x="132751" y="65240"/>
                </a:cubicBezTo>
                <a:cubicBezTo>
                  <a:pt x="88663" y="66624"/>
                  <a:pt x="45259" y="67986"/>
                  <a:pt x="0" y="69406"/>
                </a:cubicBezTo>
                <a:cubicBezTo>
                  <a:pt x="6474" y="48167"/>
                  <a:pt x="10658" y="28665"/>
                  <a:pt x="5051" y="7534"/>
                </a:cubicBezTo>
                <a:close/>
              </a:path>
            </a:pathLst>
          </a:custGeom>
          <a:solidFill>
            <a:srgbClr val="FBFCFB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0" name="Free-form: Shape 69">
            <a:extLst>
              <a:ext uri="{FF2B5EF4-FFF2-40B4-BE49-F238E27FC236}">
                <a16:creationId xmlns:a16="http://schemas.microsoft.com/office/drawing/2014/main" id="{D7852831-01A0-3F88-90D0-943510ADE980}"/>
              </a:ext>
            </a:extLst>
          </p:cNvPr>
          <p:cNvSpPr/>
          <p:nvPr/>
        </p:nvSpPr>
        <p:spPr>
          <a:xfrm>
            <a:off x="6754739" y="2535574"/>
            <a:ext cx="150878" cy="35402"/>
          </a:xfrm>
          <a:custGeom>
            <a:avLst/>
            <a:gdLst>
              <a:gd name="csX0" fmla="*/ 80894 w 165965"/>
              <a:gd name="csY0" fmla="*/ 440 h 38942"/>
              <a:gd name="csX1" fmla="*/ 128629 w 165965"/>
              <a:gd name="csY1" fmla="*/ 5 h 38942"/>
              <a:gd name="csX2" fmla="*/ 155177 w 165965"/>
              <a:gd name="csY2" fmla="*/ 8091 h 38942"/>
              <a:gd name="csX3" fmla="*/ 164213 w 165965"/>
              <a:gd name="csY3" fmla="*/ 17723 h 38942"/>
              <a:gd name="csX4" fmla="*/ 159998 w 165965"/>
              <a:gd name="csY4" fmla="*/ 30717 h 38942"/>
              <a:gd name="csX5" fmla="*/ 146998 w 165965"/>
              <a:gd name="csY5" fmla="*/ 33737 h 38942"/>
              <a:gd name="csX6" fmla="*/ 12439 w 165965"/>
              <a:gd name="csY6" fmla="*/ 38914 h 38942"/>
              <a:gd name="csX7" fmla="*/ 0 w 165965"/>
              <a:gd name="csY7" fmla="*/ 38402 h 38942"/>
              <a:gd name="csX8" fmla="*/ 0 w 165965"/>
              <a:gd name="csY8" fmla="*/ 4598 h 38942"/>
              <a:gd name="csX9" fmla="*/ 80894 w 165965"/>
              <a:gd name="csY9" fmla="*/ 440 h 3894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165965" h="38942">
                <a:moveTo>
                  <a:pt x="80894" y="440"/>
                </a:moveTo>
                <a:cubicBezTo>
                  <a:pt x="97591" y="288"/>
                  <a:pt x="113111" y="227"/>
                  <a:pt x="128629" y="5"/>
                </a:cubicBezTo>
                <a:cubicBezTo>
                  <a:pt x="138376" y="-135"/>
                  <a:pt x="147226" y="2891"/>
                  <a:pt x="155177" y="8091"/>
                </a:cubicBezTo>
                <a:cubicBezTo>
                  <a:pt x="158779" y="10447"/>
                  <a:pt x="161992" y="14009"/>
                  <a:pt x="164213" y="17723"/>
                </a:cubicBezTo>
                <a:cubicBezTo>
                  <a:pt x="167602" y="23390"/>
                  <a:pt x="166013" y="28134"/>
                  <a:pt x="159998" y="30717"/>
                </a:cubicBezTo>
                <a:cubicBezTo>
                  <a:pt x="155963" y="32450"/>
                  <a:pt x="151384" y="33554"/>
                  <a:pt x="146998" y="33737"/>
                </a:cubicBezTo>
                <a:cubicBezTo>
                  <a:pt x="102152" y="35619"/>
                  <a:pt x="57295" y="37279"/>
                  <a:pt x="12439" y="38914"/>
                </a:cubicBezTo>
                <a:cubicBezTo>
                  <a:pt x="8467" y="39059"/>
                  <a:pt x="4472" y="38602"/>
                  <a:pt x="0" y="38402"/>
                </a:cubicBezTo>
                <a:cubicBezTo>
                  <a:pt x="0" y="27166"/>
                  <a:pt x="0" y="16774"/>
                  <a:pt x="0" y="4598"/>
                </a:cubicBezTo>
                <a:cubicBezTo>
                  <a:pt x="27063" y="3194"/>
                  <a:pt x="53389" y="1829"/>
                  <a:pt x="80894" y="440"/>
                </a:cubicBezTo>
                <a:close/>
              </a:path>
            </a:pathLst>
          </a:custGeom>
          <a:solidFill>
            <a:srgbClr val="FBFCFB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1" name="Free-form: Shape 70">
            <a:extLst>
              <a:ext uri="{FF2B5EF4-FFF2-40B4-BE49-F238E27FC236}">
                <a16:creationId xmlns:a16="http://schemas.microsoft.com/office/drawing/2014/main" id="{6BF7BCED-104E-7D2A-024E-9C057876D35A}"/>
              </a:ext>
            </a:extLst>
          </p:cNvPr>
          <p:cNvSpPr/>
          <p:nvPr/>
        </p:nvSpPr>
        <p:spPr>
          <a:xfrm>
            <a:off x="6738590" y="1974750"/>
            <a:ext cx="39402" cy="42156"/>
          </a:xfrm>
          <a:custGeom>
            <a:avLst/>
            <a:gdLst>
              <a:gd name="csX0" fmla="*/ 40602 w 43343"/>
              <a:gd name="csY0" fmla="*/ 12465 h 46372"/>
              <a:gd name="csX1" fmla="*/ 43214 w 43343"/>
              <a:gd name="csY1" fmla="*/ 21324 h 46372"/>
              <a:gd name="csX2" fmla="*/ 23859 w 43343"/>
              <a:gd name="csY2" fmla="*/ 46319 h 46372"/>
              <a:gd name="csX3" fmla="*/ 5 w 43343"/>
              <a:gd name="csY3" fmla="*/ 23820 h 46372"/>
              <a:gd name="csX4" fmla="*/ 4855 w 43343"/>
              <a:gd name="csY4" fmla="*/ 5679 h 46372"/>
              <a:gd name="csX5" fmla="*/ 40602 w 43343"/>
              <a:gd name="csY5" fmla="*/ 12465 h 4637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</a:cxnLst>
            <a:rect l="l" t="t" r="r" b="b"/>
            <a:pathLst>
              <a:path w="43343" h="46372">
                <a:moveTo>
                  <a:pt x="40602" y="12465"/>
                </a:moveTo>
                <a:cubicBezTo>
                  <a:pt x="41913" y="15811"/>
                  <a:pt x="42933" y="18530"/>
                  <a:pt x="43214" y="21324"/>
                </a:cubicBezTo>
                <a:cubicBezTo>
                  <a:pt x="44519" y="34348"/>
                  <a:pt x="35870" y="45401"/>
                  <a:pt x="23859" y="46319"/>
                </a:cubicBezTo>
                <a:cubicBezTo>
                  <a:pt x="11890" y="47233"/>
                  <a:pt x="-280" y="36371"/>
                  <a:pt x="5" y="23820"/>
                </a:cubicBezTo>
                <a:cubicBezTo>
                  <a:pt x="136" y="18011"/>
                  <a:pt x="2893" y="12263"/>
                  <a:pt x="4855" y="5679"/>
                </a:cubicBezTo>
                <a:cubicBezTo>
                  <a:pt x="20601" y="-3403"/>
                  <a:pt x="28004" y="-1910"/>
                  <a:pt x="40602" y="12465"/>
                </a:cubicBezTo>
                <a:close/>
              </a:path>
            </a:pathLst>
          </a:custGeom>
          <a:solidFill>
            <a:srgbClr val="FBFCFB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9" name="Oval 78">
            <a:extLst>
              <a:ext uri="{FF2B5EF4-FFF2-40B4-BE49-F238E27FC236}">
                <a16:creationId xmlns:a16="http://schemas.microsoft.com/office/drawing/2014/main" id="{C5F53266-662E-3F4E-EBE3-DB9EE2233D16}"/>
              </a:ext>
            </a:extLst>
          </p:cNvPr>
          <p:cNvSpPr/>
          <p:nvPr/>
        </p:nvSpPr>
        <p:spPr>
          <a:xfrm>
            <a:off x="6390402" y="5054040"/>
            <a:ext cx="593138" cy="104135"/>
          </a:xfrm>
          <a:prstGeom prst="ellipse">
            <a:avLst/>
          </a:prstGeom>
          <a:solidFill>
            <a:schemeClr val="tx1">
              <a:alpha val="6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0" name="Free-form: Shape 79">
            <a:extLst>
              <a:ext uri="{FF2B5EF4-FFF2-40B4-BE49-F238E27FC236}">
                <a16:creationId xmlns:a16="http://schemas.microsoft.com/office/drawing/2014/main" id="{886CD868-9F20-1B81-4C73-0BCA48F9F630}"/>
              </a:ext>
            </a:extLst>
          </p:cNvPr>
          <p:cNvSpPr/>
          <p:nvPr/>
        </p:nvSpPr>
        <p:spPr>
          <a:xfrm>
            <a:off x="6489068" y="4373389"/>
            <a:ext cx="433137" cy="770022"/>
          </a:xfrm>
          <a:custGeom>
            <a:avLst/>
            <a:gdLst>
              <a:gd name="csX0" fmla="*/ 581793 w 697572"/>
              <a:gd name="csY0" fmla="*/ 1234401 h 1240128"/>
              <a:gd name="csX1" fmla="*/ 577427 w 697572"/>
              <a:gd name="csY1" fmla="*/ 1234156 h 1240128"/>
              <a:gd name="csX2" fmla="*/ 559133 w 697572"/>
              <a:gd name="csY2" fmla="*/ 1230909 h 1240128"/>
              <a:gd name="csX3" fmla="*/ 516706 w 697572"/>
              <a:gd name="csY3" fmla="*/ 1235117 h 1240128"/>
              <a:gd name="csX4" fmla="*/ 475244 w 697572"/>
              <a:gd name="csY4" fmla="*/ 1237506 h 1240128"/>
              <a:gd name="csX5" fmla="*/ 371154 w 697572"/>
              <a:gd name="csY5" fmla="*/ 1239428 h 1240128"/>
              <a:gd name="csX6" fmla="*/ 276813 w 697572"/>
              <a:gd name="csY6" fmla="*/ 1237654 h 1240128"/>
              <a:gd name="csX7" fmla="*/ 268212 w 697572"/>
              <a:gd name="csY7" fmla="*/ 1237635 h 1240128"/>
              <a:gd name="csX8" fmla="*/ 262072 w 697572"/>
              <a:gd name="csY8" fmla="*/ 1237523 h 1240128"/>
              <a:gd name="csX9" fmla="*/ 195111 w 697572"/>
              <a:gd name="csY9" fmla="*/ 1232775 h 1240128"/>
              <a:gd name="csX10" fmla="*/ 145060 w 697572"/>
              <a:gd name="csY10" fmla="*/ 1230076 h 1240128"/>
              <a:gd name="csX11" fmla="*/ 114933 w 697572"/>
              <a:gd name="csY11" fmla="*/ 1225832 h 1240128"/>
              <a:gd name="csX12" fmla="*/ 72642 w 697572"/>
              <a:gd name="csY12" fmla="*/ 1220237 h 1240128"/>
              <a:gd name="csX13" fmla="*/ 10894 w 697572"/>
              <a:gd name="csY13" fmla="*/ 1205737 h 1240128"/>
              <a:gd name="csX14" fmla="*/ 5856 w 697572"/>
              <a:gd name="csY14" fmla="*/ 1202799 h 1240128"/>
              <a:gd name="csX15" fmla="*/ 40 w 697572"/>
              <a:gd name="csY15" fmla="*/ 1174450 h 1240128"/>
              <a:gd name="csX16" fmla="*/ 19831 w 697572"/>
              <a:gd name="csY16" fmla="*/ 1118410 h 1240128"/>
              <a:gd name="csX17" fmla="*/ 22004 w 697572"/>
              <a:gd name="csY17" fmla="*/ 1107240 h 1240128"/>
              <a:gd name="csX18" fmla="*/ 25947 w 697572"/>
              <a:gd name="csY18" fmla="*/ 1038650 h 1240128"/>
              <a:gd name="csX19" fmla="*/ 58234 w 697572"/>
              <a:gd name="csY19" fmla="*/ 988567 h 1240128"/>
              <a:gd name="csX20" fmla="*/ 118645 w 697572"/>
              <a:gd name="csY20" fmla="*/ 928298 h 1240128"/>
              <a:gd name="csX21" fmla="*/ 126320 w 697572"/>
              <a:gd name="csY21" fmla="*/ 892015 h 1240128"/>
              <a:gd name="csX22" fmla="*/ 120345 w 697572"/>
              <a:gd name="csY22" fmla="*/ 872258 h 1240128"/>
              <a:gd name="csX23" fmla="*/ 125668 w 697572"/>
              <a:gd name="csY23" fmla="*/ 861640 h 1240128"/>
              <a:gd name="csX24" fmla="*/ 154237 w 697572"/>
              <a:gd name="csY24" fmla="*/ 850716 h 1240128"/>
              <a:gd name="csX25" fmla="*/ 170248 w 697572"/>
              <a:gd name="csY25" fmla="*/ 836767 h 1240128"/>
              <a:gd name="csX26" fmla="*/ 187840 w 697572"/>
              <a:gd name="csY26" fmla="*/ 796341 h 1240128"/>
              <a:gd name="csX27" fmla="*/ 209346 w 697572"/>
              <a:gd name="csY27" fmla="*/ 743126 h 1240128"/>
              <a:gd name="csX28" fmla="*/ 210630 w 697572"/>
              <a:gd name="csY28" fmla="*/ 737219 h 1240128"/>
              <a:gd name="csX29" fmla="*/ 213836 w 697572"/>
              <a:gd name="csY29" fmla="*/ 720505 h 1240128"/>
              <a:gd name="csX30" fmla="*/ 227791 w 697572"/>
              <a:gd name="csY30" fmla="*/ 667353 h 1240128"/>
              <a:gd name="csX31" fmla="*/ 241013 w 697572"/>
              <a:gd name="csY31" fmla="*/ 599151 h 1240128"/>
              <a:gd name="csX32" fmla="*/ 247322 w 697572"/>
              <a:gd name="csY32" fmla="*/ 542242 h 1240128"/>
              <a:gd name="csX33" fmla="*/ 247948 w 697572"/>
              <a:gd name="csY33" fmla="*/ 499296 h 1240128"/>
              <a:gd name="csX34" fmla="*/ 247577 w 697572"/>
              <a:gd name="csY34" fmla="*/ 470384 h 1240128"/>
              <a:gd name="csX35" fmla="*/ 238877 w 697572"/>
              <a:gd name="csY35" fmla="*/ 460987 h 1240128"/>
              <a:gd name="csX36" fmla="*/ 222040 w 697572"/>
              <a:gd name="csY36" fmla="*/ 458353 h 1240128"/>
              <a:gd name="csX37" fmla="*/ 172193 w 697572"/>
              <a:gd name="csY37" fmla="*/ 433714 h 1240128"/>
              <a:gd name="csX38" fmla="*/ 168410 w 697572"/>
              <a:gd name="csY38" fmla="*/ 396591 h 1240128"/>
              <a:gd name="csX39" fmla="*/ 209826 w 697572"/>
              <a:gd name="csY39" fmla="*/ 367773 h 1240128"/>
              <a:gd name="csX40" fmla="*/ 250732 w 697572"/>
              <a:gd name="csY40" fmla="*/ 355208 h 1240128"/>
              <a:gd name="csX41" fmla="*/ 258289 w 697572"/>
              <a:gd name="csY41" fmla="*/ 350426 h 1240128"/>
              <a:gd name="csX42" fmla="*/ 233274 w 697572"/>
              <a:gd name="csY42" fmla="*/ 333513 h 1240128"/>
              <a:gd name="csX43" fmla="*/ 229677 w 697572"/>
              <a:gd name="csY43" fmla="*/ 333922 h 1240128"/>
              <a:gd name="csX44" fmla="*/ 230149 w 697572"/>
              <a:gd name="csY44" fmla="*/ 332979 h 1240128"/>
              <a:gd name="csX45" fmla="*/ 227053 w 697572"/>
              <a:gd name="csY45" fmla="*/ 327076 h 1240128"/>
              <a:gd name="csX46" fmla="*/ 196769 w 697572"/>
              <a:gd name="csY46" fmla="*/ 291380 h 1240128"/>
              <a:gd name="csX47" fmla="*/ 184389 w 697572"/>
              <a:gd name="csY47" fmla="*/ 264042 h 1240128"/>
              <a:gd name="csX48" fmla="*/ 180630 w 697572"/>
              <a:gd name="csY48" fmla="*/ 257839 h 1240128"/>
              <a:gd name="csX49" fmla="*/ 176231 w 697572"/>
              <a:gd name="csY49" fmla="*/ 250643 h 1240128"/>
              <a:gd name="csX50" fmla="*/ 170073 w 697572"/>
              <a:gd name="csY50" fmla="*/ 146723 h 1240128"/>
              <a:gd name="csX51" fmla="*/ 180929 w 697572"/>
              <a:gd name="csY51" fmla="*/ 114280 h 1240128"/>
              <a:gd name="csX52" fmla="*/ 180839 w 697572"/>
              <a:gd name="csY52" fmla="*/ 101501 h 1240128"/>
              <a:gd name="csX53" fmla="*/ 233536 w 697572"/>
              <a:gd name="csY53" fmla="*/ 39653 h 1240128"/>
              <a:gd name="csX54" fmla="*/ 347618 w 697572"/>
              <a:gd name="csY54" fmla="*/ 35 h 1240128"/>
              <a:gd name="csX55" fmla="*/ 437139 w 697572"/>
              <a:gd name="csY55" fmla="*/ 22396 h 1240128"/>
              <a:gd name="csX56" fmla="*/ 529052 w 697572"/>
              <a:gd name="csY56" fmla="*/ 131093 h 1240128"/>
              <a:gd name="csX57" fmla="*/ 518497 w 697572"/>
              <a:gd name="csY57" fmla="*/ 271517 h 1240128"/>
              <a:gd name="csX58" fmla="*/ 500808 w 697572"/>
              <a:gd name="csY58" fmla="*/ 287385 h 1240128"/>
              <a:gd name="csX59" fmla="*/ 472948 w 697572"/>
              <a:gd name="csY59" fmla="*/ 323290 h 1240128"/>
              <a:gd name="csX60" fmla="*/ 469385 w 697572"/>
              <a:gd name="csY60" fmla="*/ 331565 h 1240128"/>
              <a:gd name="csX61" fmla="*/ 468293 w 697572"/>
              <a:gd name="csY61" fmla="*/ 331320 h 1240128"/>
              <a:gd name="csX62" fmla="*/ 459542 w 697572"/>
              <a:gd name="csY62" fmla="*/ 338942 h 1240128"/>
              <a:gd name="csX63" fmla="*/ 458492 w 697572"/>
              <a:gd name="csY63" fmla="*/ 338671 h 1240128"/>
              <a:gd name="csX64" fmla="*/ 436978 w 697572"/>
              <a:gd name="csY64" fmla="*/ 352226 h 1240128"/>
              <a:gd name="csX65" fmla="*/ 472329 w 697572"/>
              <a:gd name="csY65" fmla="*/ 362890 h 1240128"/>
              <a:gd name="csX66" fmla="*/ 523779 w 697572"/>
              <a:gd name="csY66" fmla="*/ 391962 h 1240128"/>
              <a:gd name="csX67" fmla="*/ 527344 w 697572"/>
              <a:gd name="csY67" fmla="*/ 430096 h 1240128"/>
              <a:gd name="csX68" fmla="*/ 504112 w 697572"/>
              <a:gd name="csY68" fmla="*/ 449628 h 1240128"/>
              <a:gd name="csX69" fmla="*/ 459430 w 697572"/>
              <a:gd name="csY69" fmla="*/ 461116 h 1240128"/>
              <a:gd name="csX70" fmla="*/ 446666 w 697572"/>
              <a:gd name="csY70" fmla="*/ 474229 h 1240128"/>
              <a:gd name="csX71" fmla="*/ 449133 w 697572"/>
              <a:gd name="csY71" fmla="*/ 531639 h 1240128"/>
              <a:gd name="csX72" fmla="*/ 454546 w 697572"/>
              <a:gd name="csY72" fmla="*/ 588688 h 1240128"/>
              <a:gd name="csX73" fmla="*/ 466126 w 697572"/>
              <a:gd name="csY73" fmla="*/ 649736 h 1240128"/>
              <a:gd name="csX74" fmla="*/ 512154 w 697572"/>
              <a:gd name="csY74" fmla="*/ 794006 h 1240128"/>
              <a:gd name="csX75" fmla="*/ 525763 w 697572"/>
              <a:gd name="csY75" fmla="*/ 834323 h 1240128"/>
              <a:gd name="csX76" fmla="*/ 530555 w 697572"/>
              <a:gd name="csY76" fmla="*/ 845114 h 1240128"/>
              <a:gd name="csX77" fmla="*/ 554424 w 697572"/>
              <a:gd name="csY77" fmla="*/ 856618 h 1240128"/>
              <a:gd name="csX78" fmla="*/ 572880 w 697572"/>
              <a:gd name="csY78" fmla="*/ 862546 h 1240128"/>
              <a:gd name="csX79" fmla="*/ 578643 w 697572"/>
              <a:gd name="csY79" fmla="*/ 880396 h 1240128"/>
              <a:gd name="csX80" fmla="*/ 572188 w 697572"/>
              <a:gd name="csY80" fmla="*/ 899820 h 1240128"/>
              <a:gd name="csX81" fmla="*/ 582698 w 697572"/>
              <a:gd name="csY81" fmla="*/ 930382 h 1240128"/>
              <a:gd name="csX82" fmla="*/ 604747 w 697572"/>
              <a:gd name="csY82" fmla="*/ 960852 h 1240128"/>
              <a:gd name="csX83" fmla="*/ 613863 w 697572"/>
              <a:gd name="csY83" fmla="*/ 968311 h 1240128"/>
              <a:gd name="csX84" fmla="*/ 629435 w 697572"/>
              <a:gd name="csY84" fmla="*/ 981186 h 1240128"/>
              <a:gd name="csX85" fmla="*/ 633611 w 697572"/>
              <a:gd name="csY85" fmla="*/ 985609 h 1240128"/>
              <a:gd name="csX86" fmla="*/ 673790 w 697572"/>
              <a:gd name="csY86" fmla="*/ 1049348 h 1240128"/>
              <a:gd name="csX87" fmla="*/ 675873 w 697572"/>
              <a:gd name="csY87" fmla="*/ 1092839 h 1240128"/>
              <a:gd name="csX88" fmla="*/ 681668 w 697572"/>
              <a:gd name="csY88" fmla="*/ 1129292 h 1240128"/>
              <a:gd name="csX89" fmla="*/ 697338 w 697572"/>
              <a:gd name="csY89" fmla="*/ 1196079 h 1240128"/>
              <a:gd name="csX90" fmla="*/ 690637 w 697572"/>
              <a:gd name="csY90" fmla="*/ 1205035 h 1240128"/>
              <a:gd name="csX91" fmla="*/ 639777 w 697572"/>
              <a:gd name="csY91" fmla="*/ 1217994 h 1240128"/>
              <a:gd name="csX92" fmla="*/ 587072 w 697572"/>
              <a:gd name="csY92" fmla="*/ 1227761 h 1240128"/>
              <a:gd name="csX93" fmla="*/ 581793 w 697572"/>
              <a:gd name="csY93" fmla="*/ 1234401 h 1240128"/>
              <a:gd name="csX94" fmla="*/ 357446 w 697572"/>
              <a:gd name="csY94" fmla="*/ 903795 h 1240128"/>
              <a:gd name="csX95" fmla="*/ 344445 w 697572"/>
              <a:gd name="csY95" fmla="*/ 903795 h 1240128"/>
              <a:gd name="csX96" fmla="*/ 349212 w 697572"/>
              <a:gd name="csY96" fmla="*/ 950515 h 1240128"/>
              <a:gd name="csX97" fmla="*/ 349538 w 697572"/>
              <a:gd name="csY97" fmla="*/ 1069392 h 1240128"/>
              <a:gd name="csX98" fmla="*/ 349415 w 697572"/>
              <a:gd name="csY98" fmla="*/ 1108925 h 1240128"/>
              <a:gd name="csX99" fmla="*/ 647726 w 697572"/>
              <a:gd name="csY99" fmla="*/ 1089872 h 1240128"/>
              <a:gd name="csX100" fmla="*/ 647654 w 697572"/>
              <a:gd name="csY100" fmla="*/ 1076267 h 1240128"/>
              <a:gd name="csX101" fmla="*/ 610267 w 697572"/>
              <a:gd name="csY101" fmla="*/ 994126 h 1240128"/>
              <a:gd name="csX102" fmla="*/ 571459 w 697572"/>
              <a:gd name="csY102" fmla="*/ 956568 h 1240128"/>
              <a:gd name="csX103" fmla="*/ 541653 w 697572"/>
              <a:gd name="csY103" fmla="*/ 901544 h 1240128"/>
              <a:gd name="csX104" fmla="*/ 539477 w 697572"/>
              <a:gd name="csY104" fmla="*/ 895908 h 1240128"/>
              <a:gd name="csX105" fmla="*/ 357446 w 697572"/>
              <a:gd name="csY105" fmla="*/ 903795 h 1240128"/>
              <a:gd name="csX106" fmla="*/ 300108 w 697572"/>
              <a:gd name="csY106" fmla="*/ 85260 h 1240128"/>
              <a:gd name="csX107" fmla="*/ 290213 w 697572"/>
              <a:gd name="csY107" fmla="*/ 127888 h 1240128"/>
              <a:gd name="csX108" fmla="*/ 331056 w 697572"/>
              <a:gd name="csY108" fmla="*/ 214168 h 1240128"/>
              <a:gd name="csX109" fmla="*/ 424717 w 697572"/>
              <a:gd name="csY109" fmla="*/ 245160 h 1240128"/>
              <a:gd name="csX110" fmla="*/ 496752 w 697572"/>
              <a:gd name="csY110" fmla="*/ 141256 h 1240128"/>
              <a:gd name="csX111" fmla="*/ 390320 w 697572"/>
              <a:gd name="csY111" fmla="*/ 43995 h 1240128"/>
              <a:gd name="csX112" fmla="*/ 300108 w 697572"/>
              <a:gd name="csY112" fmla="*/ 85260 h 1240128"/>
              <a:gd name="csX113" fmla="*/ 343360 w 697572"/>
              <a:gd name="csY113" fmla="*/ 634332 h 1240128"/>
              <a:gd name="csX114" fmla="*/ 340877 w 697572"/>
              <a:gd name="csY114" fmla="*/ 732259 h 1240128"/>
              <a:gd name="csX115" fmla="*/ 338360 w 697572"/>
              <a:gd name="csY115" fmla="*/ 810538 h 1240128"/>
              <a:gd name="csX116" fmla="*/ 337115 w 697572"/>
              <a:gd name="csY116" fmla="*/ 817736 h 1240128"/>
              <a:gd name="csX117" fmla="*/ 336516 w 697572"/>
              <a:gd name="csY117" fmla="*/ 863022 h 1240128"/>
              <a:gd name="csX118" fmla="*/ 343436 w 697572"/>
              <a:gd name="csY118" fmla="*/ 864027 h 1240128"/>
              <a:gd name="csX119" fmla="*/ 406718 w 697572"/>
              <a:gd name="csY119" fmla="*/ 862982 h 1240128"/>
              <a:gd name="csX120" fmla="*/ 456888 w 697572"/>
              <a:gd name="csY120" fmla="*/ 861794 h 1240128"/>
              <a:gd name="csX121" fmla="*/ 495873 w 697572"/>
              <a:gd name="csY121" fmla="*/ 863963 h 1240128"/>
              <a:gd name="csX122" fmla="*/ 509286 w 697572"/>
              <a:gd name="csY122" fmla="*/ 863595 h 1240128"/>
              <a:gd name="csX123" fmla="*/ 516956 w 697572"/>
              <a:gd name="csY123" fmla="*/ 856791 h 1240128"/>
              <a:gd name="csX124" fmla="*/ 513920 w 697572"/>
              <a:gd name="csY124" fmla="*/ 848709 h 1240128"/>
              <a:gd name="csX125" fmla="*/ 506683 w 697572"/>
              <a:gd name="csY125" fmla="*/ 839054 h 1240128"/>
              <a:gd name="csX126" fmla="*/ 488629 w 697572"/>
              <a:gd name="csY126" fmla="*/ 799037 h 1240128"/>
              <a:gd name="csX127" fmla="*/ 456922 w 697572"/>
              <a:gd name="csY127" fmla="*/ 696297 h 1240128"/>
              <a:gd name="csX128" fmla="*/ 441346 w 697572"/>
              <a:gd name="csY128" fmla="*/ 619885 h 1240128"/>
              <a:gd name="csX129" fmla="*/ 435963 w 697572"/>
              <a:gd name="csY129" fmla="*/ 582529 h 1240128"/>
              <a:gd name="csX130" fmla="*/ 429497 w 697572"/>
              <a:gd name="csY130" fmla="*/ 521990 h 1240128"/>
              <a:gd name="csX131" fmla="*/ 426887 w 697572"/>
              <a:gd name="csY131" fmla="*/ 471989 h 1240128"/>
              <a:gd name="csX132" fmla="*/ 413744 w 697572"/>
              <a:gd name="csY132" fmla="*/ 461077 h 1240128"/>
              <a:gd name="csX133" fmla="*/ 353573 w 697572"/>
              <a:gd name="csY133" fmla="*/ 461120 h 1240128"/>
              <a:gd name="csX134" fmla="*/ 344160 w 697572"/>
              <a:gd name="csY134" fmla="*/ 462286 h 1240128"/>
              <a:gd name="csX135" fmla="*/ 343404 w 697572"/>
              <a:gd name="csY135" fmla="*/ 469192 h 1240128"/>
              <a:gd name="csX136" fmla="*/ 343469 w 697572"/>
              <a:gd name="csY136" fmla="*/ 574797 h 1240128"/>
              <a:gd name="csX137" fmla="*/ 345522 w 697572"/>
              <a:gd name="csY137" fmla="*/ 591669 h 1240128"/>
              <a:gd name="csX138" fmla="*/ 343360 w 697572"/>
              <a:gd name="csY138" fmla="*/ 634332 h 1240128"/>
              <a:gd name="csX139" fmla="*/ 416946 w 697572"/>
              <a:gd name="csY139" fmla="*/ 385943 h 1240128"/>
              <a:gd name="csX140" fmla="*/ 401091 w 697572"/>
              <a:gd name="csY140" fmla="*/ 387162 h 1240128"/>
              <a:gd name="csX141" fmla="*/ 369218 w 697572"/>
              <a:gd name="csY141" fmla="*/ 387708 h 1240128"/>
              <a:gd name="csX142" fmla="*/ 351833 w 697572"/>
              <a:gd name="csY142" fmla="*/ 398991 h 1240128"/>
              <a:gd name="csX143" fmla="*/ 349778 w 697572"/>
              <a:gd name="csY143" fmla="*/ 426021 h 1240128"/>
              <a:gd name="csX144" fmla="*/ 361839 w 697572"/>
              <a:gd name="csY144" fmla="*/ 426538 h 1240128"/>
              <a:gd name="csX145" fmla="*/ 455022 w 697572"/>
              <a:gd name="csY145" fmla="*/ 426922 h 1240128"/>
              <a:gd name="csX146" fmla="*/ 481958 w 697572"/>
              <a:gd name="csY146" fmla="*/ 426527 h 1240128"/>
              <a:gd name="csX147" fmla="*/ 499817 w 697572"/>
              <a:gd name="csY147" fmla="*/ 419888 h 1240128"/>
              <a:gd name="csX148" fmla="*/ 499439 w 697572"/>
              <a:gd name="csY148" fmla="*/ 400719 h 1240128"/>
              <a:gd name="csX149" fmla="*/ 468062 w 697572"/>
              <a:gd name="csY149" fmla="*/ 387775 h 1240128"/>
              <a:gd name="csX150" fmla="*/ 416946 w 697572"/>
              <a:gd name="csY150" fmla="*/ 385943 h 1240128"/>
              <a:gd name="csX151" fmla="*/ 636802 w 697572"/>
              <a:gd name="csY151" fmla="*/ 1190940 h 1240128"/>
              <a:gd name="csX152" fmla="*/ 666492 w 697572"/>
              <a:gd name="csY152" fmla="*/ 1184186 h 1240128"/>
              <a:gd name="csX153" fmla="*/ 674465 w 697572"/>
              <a:gd name="csY153" fmla="*/ 1170880 h 1240128"/>
              <a:gd name="csX154" fmla="*/ 662462 w 697572"/>
              <a:gd name="csY154" fmla="*/ 1141464 h 1240128"/>
              <a:gd name="csX155" fmla="*/ 645564 w 697572"/>
              <a:gd name="csY155" fmla="*/ 1131937 h 1240128"/>
              <a:gd name="csX156" fmla="*/ 627387 w 697572"/>
              <a:gd name="csY156" fmla="*/ 1133618 h 1240128"/>
              <a:gd name="csX157" fmla="*/ 583917 w 697572"/>
              <a:gd name="csY157" fmla="*/ 1139222 h 1240128"/>
              <a:gd name="csX158" fmla="*/ 543741 w 697572"/>
              <a:gd name="csY158" fmla="*/ 1141869 h 1240128"/>
              <a:gd name="csX159" fmla="*/ 512146 w 697572"/>
              <a:gd name="csY159" fmla="*/ 1144418 h 1240128"/>
              <a:gd name="csX160" fmla="*/ 447711 w 697572"/>
              <a:gd name="csY160" fmla="*/ 1148973 h 1240128"/>
              <a:gd name="csX161" fmla="*/ 351979 w 697572"/>
              <a:gd name="csY161" fmla="*/ 1149200 h 1240128"/>
              <a:gd name="csX162" fmla="*/ 338443 w 697572"/>
              <a:gd name="csY162" fmla="*/ 1150040 h 1240128"/>
              <a:gd name="csX163" fmla="*/ 338451 w 697572"/>
              <a:gd name="csY163" fmla="*/ 1190780 h 1240128"/>
              <a:gd name="csX164" fmla="*/ 351082 w 697572"/>
              <a:gd name="csY164" fmla="*/ 1207015 h 1240128"/>
              <a:gd name="csX165" fmla="*/ 358298 w 697572"/>
              <a:gd name="csY165" fmla="*/ 1208094 h 1240128"/>
              <a:gd name="csX166" fmla="*/ 521229 w 697572"/>
              <a:gd name="csY166" fmla="*/ 1205646 h 1240128"/>
              <a:gd name="csX167" fmla="*/ 523675 w 697572"/>
              <a:gd name="csY167" fmla="*/ 1205490 h 1240128"/>
              <a:gd name="csX168" fmla="*/ 580423 w 697572"/>
              <a:gd name="csY168" fmla="*/ 1198350 h 1240128"/>
              <a:gd name="csX169" fmla="*/ 636802 w 697572"/>
              <a:gd name="csY169" fmla="*/ 1190940 h 124012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</a:cxnLst>
            <a:rect l="l" t="t" r="r" b="b"/>
            <a:pathLst>
              <a:path w="697572" h="1240128">
                <a:moveTo>
                  <a:pt x="581793" y="1234401"/>
                </a:moveTo>
                <a:cubicBezTo>
                  <a:pt x="580693" y="1234661"/>
                  <a:pt x="579594" y="1234922"/>
                  <a:pt x="577427" y="1234156"/>
                </a:cubicBezTo>
                <a:cubicBezTo>
                  <a:pt x="571216" y="1227899"/>
                  <a:pt x="564912" y="1230441"/>
                  <a:pt x="559133" y="1230909"/>
                </a:cubicBezTo>
                <a:cubicBezTo>
                  <a:pt x="544971" y="1232056"/>
                  <a:pt x="530869" y="1233971"/>
                  <a:pt x="516706" y="1235117"/>
                </a:cubicBezTo>
                <a:cubicBezTo>
                  <a:pt x="502910" y="1236232"/>
                  <a:pt x="489077" y="1237097"/>
                  <a:pt x="475244" y="1237506"/>
                </a:cubicBezTo>
                <a:cubicBezTo>
                  <a:pt x="440539" y="1238535"/>
                  <a:pt x="405696" y="1241458"/>
                  <a:pt x="371154" y="1239428"/>
                </a:cubicBezTo>
                <a:cubicBezTo>
                  <a:pt x="339645" y="1237575"/>
                  <a:pt x="308239" y="1238753"/>
                  <a:pt x="276813" y="1237654"/>
                </a:cubicBezTo>
                <a:cubicBezTo>
                  <a:pt x="273949" y="1237553"/>
                  <a:pt x="271079" y="1237652"/>
                  <a:pt x="268212" y="1237635"/>
                </a:cubicBezTo>
                <a:cubicBezTo>
                  <a:pt x="266165" y="1237623"/>
                  <a:pt x="264111" y="1237668"/>
                  <a:pt x="262072" y="1237523"/>
                </a:cubicBezTo>
                <a:cubicBezTo>
                  <a:pt x="239751" y="1235944"/>
                  <a:pt x="217441" y="1234201"/>
                  <a:pt x="195111" y="1232775"/>
                </a:cubicBezTo>
                <a:cubicBezTo>
                  <a:pt x="178437" y="1231710"/>
                  <a:pt x="161712" y="1231378"/>
                  <a:pt x="145060" y="1230076"/>
                </a:cubicBezTo>
                <a:cubicBezTo>
                  <a:pt x="134969" y="1229287"/>
                  <a:pt x="124987" y="1227177"/>
                  <a:pt x="114933" y="1225832"/>
                </a:cubicBezTo>
                <a:cubicBezTo>
                  <a:pt x="100834" y="1223946"/>
                  <a:pt x="86554" y="1223022"/>
                  <a:pt x="72642" y="1220237"/>
                </a:cubicBezTo>
                <a:cubicBezTo>
                  <a:pt x="51920" y="1216091"/>
                  <a:pt x="31443" y="1210723"/>
                  <a:pt x="10894" y="1205737"/>
                </a:cubicBezTo>
                <a:cubicBezTo>
                  <a:pt x="9027" y="1205284"/>
                  <a:pt x="6196" y="1204140"/>
                  <a:pt x="5856" y="1202799"/>
                </a:cubicBezTo>
                <a:cubicBezTo>
                  <a:pt x="3474" y="1193418"/>
                  <a:pt x="-438" y="1183796"/>
                  <a:pt x="40" y="1174450"/>
                </a:cubicBezTo>
                <a:cubicBezTo>
                  <a:pt x="1079" y="1154149"/>
                  <a:pt x="9757" y="1135843"/>
                  <a:pt x="19831" y="1118410"/>
                </a:cubicBezTo>
                <a:cubicBezTo>
                  <a:pt x="21968" y="1114713"/>
                  <a:pt x="22970" y="1111858"/>
                  <a:pt x="22004" y="1107240"/>
                </a:cubicBezTo>
                <a:cubicBezTo>
                  <a:pt x="17168" y="1084118"/>
                  <a:pt x="17717" y="1061168"/>
                  <a:pt x="25947" y="1038650"/>
                </a:cubicBezTo>
                <a:cubicBezTo>
                  <a:pt x="32954" y="1019481"/>
                  <a:pt x="44478" y="1003118"/>
                  <a:pt x="58234" y="988567"/>
                </a:cubicBezTo>
                <a:cubicBezTo>
                  <a:pt x="77769" y="967902"/>
                  <a:pt x="97978" y="947832"/>
                  <a:pt x="118645" y="928298"/>
                </a:cubicBezTo>
                <a:cubicBezTo>
                  <a:pt x="130104" y="917467"/>
                  <a:pt x="131835" y="905961"/>
                  <a:pt x="126320" y="892015"/>
                </a:cubicBezTo>
                <a:cubicBezTo>
                  <a:pt x="123798" y="885637"/>
                  <a:pt x="122123" y="878904"/>
                  <a:pt x="120345" y="872258"/>
                </a:cubicBezTo>
                <a:cubicBezTo>
                  <a:pt x="119029" y="867341"/>
                  <a:pt x="120162" y="863613"/>
                  <a:pt x="125668" y="861640"/>
                </a:cubicBezTo>
                <a:cubicBezTo>
                  <a:pt x="135266" y="858201"/>
                  <a:pt x="144535" y="853788"/>
                  <a:pt x="154237" y="850716"/>
                </a:cubicBezTo>
                <a:cubicBezTo>
                  <a:pt x="161882" y="848296"/>
                  <a:pt x="167110" y="843897"/>
                  <a:pt x="170248" y="836767"/>
                </a:cubicBezTo>
                <a:cubicBezTo>
                  <a:pt x="176168" y="823316"/>
                  <a:pt x="182193" y="809907"/>
                  <a:pt x="187840" y="796341"/>
                </a:cubicBezTo>
                <a:cubicBezTo>
                  <a:pt x="195194" y="778679"/>
                  <a:pt x="202250" y="760894"/>
                  <a:pt x="209346" y="743126"/>
                </a:cubicBezTo>
                <a:cubicBezTo>
                  <a:pt x="210083" y="741280"/>
                  <a:pt x="210252" y="739200"/>
                  <a:pt x="210630" y="737219"/>
                </a:cubicBezTo>
                <a:cubicBezTo>
                  <a:pt x="211694" y="731645"/>
                  <a:pt x="212425" y="725987"/>
                  <a:pt x="213836" y="720505"/>
                </a:cubicBezTo>
                <a:cubicBezTo>
                  <a:pt x="218406" y="702764"/>
                  <a:pt x="223811" y="685219"/>
                  <a:pt x="227791" y="667353"/>
                </a:cubicBezTo>
                <a:cubicBezTo>
                  <a:pt x="232826" y="644755"/>
                  <a:pt x="237367" y="622009"/>
                  <a:pt x="241013" y="599151"/>
                </a:cubicBezTo>
                <a:cubicBezTo>
                  <a:pt x="244018" y="580319"/>
                  <a:pt x="246001" y="561272"/>
                  <a:pt x="247322" y="542242"/>
                </a:cubicBezTo>
                <a:cubicBezTo>
                  <a:pt x="248312" y="527975"/>
                  <a:pt x="246344" y="513451"/>
                  <a:pt x="247948" y="499296"/>
                </a:cubicBezTo>
                <a:cubicBezTo>
                  <a:pt x="249066" y="489432"/>
                  <a:pt x="247923" y="480014"/>
                  <a:pt x="247577" y="470384"/>
                </a:cubicBezTo>
                <a:cubicBezTo>
                  <a:pt x="247364" y="464453"/>
                  <a:pt x="245121" y="461397"/>
                  <a:pt x="238877" y="460987"/>
                </a:cubicBezTo>
                <a:cubicBezTo>
                  <a:pt x="233224" y="460615"/>
                  <a:pt x="227461" y="459920"/>
                  <a:pt x="222040" y="458353"/>
                </a:cubicBezTo>
                <a:cubicBezTo>
                  <a:pt x="203991" y="453134"/>
                  <a:pt x="185737" y="448229"/>
                  <a:pt x="172193" y="433714"/>
                </a:cubicBezTo>
                <a:cubicBezTo>
                  <a:pt x="162702" y="423544"/>
                  <a:pt x="160887" y="408134"/>
                  <a:pt x="168410" y="396591"/>
                </a:cubicBezTo>
                <a:cubicBezTo>
                  <a:pt x="178294" y="381428"/>
                  <a:pt x="193736" y="373793"/>
                  <a:pt x="209826" y="367773"/>
                </a:cubicBezTo>
                <a:cubicBezTo>
                  <a:pt x="223159" y="362784"/>
                  <a:pt x="237124" y="359493"/>
                  <a:pt x="250732" y="355208"/>
                </a:cubicBezTo>
                <a:cubicBezTo>
                  <a:pt x="253085" y="354467"/>
                  <a:pt x="255058" y="352518"/>
                  <a:pt x="258289" y="350426"/>
                </a:cubicBezTo>
                <a:cubicBezTo>
                  <a:pt x="250173" y="342610"/>
                  <a:pt x="241833" y="337880"/>
                  <a:pt x="233274" y="333513"/>
                </a:cubicBezTo>
                <a:cubicBezTo>
                  <a:pt x="232377" y="333055"/>
                  <a:pt x="230890" y="333758"/>
                  <a:pt x="229677" y="333922"/>
                </a:cubicBezTo>
                <a:cubicBezTo>
                  <a:pt x="229677" y="333922"/>
                  <a:pt x="230323" y="333834"/>
                  <a:pt x="230149" y="332979"/>
                </a:cubicBezTo>
                <a:cubicBezTo>
                  <a:pt x="229023" y="330409"/>
                  <a:pt x="228502" y="328059"/>
                  <a:pt x="227053" y="327076"/>
                </a:cubicBezTo>
                <a:cubicBezTo>
                  <a:pt x="213615" y="317962"/>
                  <a:pt x="204643" y="305332"/>
                  <a:pt x="196769" y="291380"/>
                </a:cubicBezTo>
                <a:cubicBezTo>
                  <a:pt x="191792" y="282564"/>
                  <a:pt x="185421" y="274665"/>
                  <a:pt x="184389" y="264042"/>
                </a:cubicBezTo>
                <a:cubicBezTo>
                  <a:pt x="184179" y="261874"/>
                  <a:pt x="181925" y="259908"/>
                  <a:pt x="180630" y="257839"/>
                </a:cubicBezTo>
                <a:cubicBezTo>
                  <a:pt x="179137" y="255454"/>
                  <a:pt x="177317" y="253204"/>
                  <a:pt x="176231" y="250643"/>
                </a:cubicBezTo>
                <a:cubicBezTo>
                  <a:pt x="161865" y="216749"/>
                  <a:pt x="159606" y="182060"/>
                  <a:pt x="170073" y="146723"/>
                </a:cubicBezTo>
                <a:cubicBezTo>
                  <a:pt x="173311" y="135795"/>
                  <a:pt x="177248" y="125074"/>
                  <a:pt x="180929" y="114280"/>
                </a:cubicBezTo>
                <a:cubicBezTo>
                  <a:pt x="182396" y="109981"/>
                  <a:pt x="183922" y="105742"/>
                  <a:pt x="180839" y="101501"/>
                </a:cubicBezTo>
                <a:cubicBezTo>
                  <a:pt x="192473" y="75833"/>
                  <a:pt x="211344" y="56271"/>
                  <a:pt x="233536" y="39653"/>
                </a:cubicBezTo>
                <a:cubicBezTo>
                  <a:pt x="267321" y="14353"/>
                  <a:pt x="305621" y="873"/>
                  <a:pt x="347618" y="35"/>
                </a:cubicBezTo>
                <a:cubicBezTo>
                  <a:pt x="379125" y="-593"/>
                  <a:pt x="409214" y="7172"/>
                  <a:pt x="437139" y="22396"/>
                </a:cubicBezTo>
                <a:cubicBezTo>
                  <a:pt x="481844" y="46766"/>
                  <a:pt x="514077" y="82116"/>
                  <a:pt x="529052" y="131093"/>
                </a:cubicBezTo>
                <a:cubicBezTo>
                  <a:pt x="543544" y="178495"/>
                  <a:pt x="541630" y="225548"/>
                  <a:pt x="518497" y="271517"/>
                </a:cubicBezTo>
                <a:cubicBezTo>
                  <a:pt x="511428" y="277096"/>
                  <a:pt x="503848" y="281136"/>
                  <a:pt x="500808" y="287385"/>
                </a:cubicBezTo>
                <a:cubicBezTo>
                  <a:pt x="493932" y="301522"/>
                  <a:pt x="483805" y="312513"/>
                  <a:pt x="472948" y="323290"/>
                </a:cubicBezTo>
                <a:cubicBezTo>
                  <a:pt x="470972" y="325253"/>
                  <a:pt x="470533" y="328767"/>
                  <a:pt x="469385" y="331565"/>
                </a:cubicBezTo>
                <a:cubicBezTo>
                  <a:pt x="469385" y="331565"/>
                  <a:pt x="469172" y="331584"/>
                  <a:pt x="468293" y="331320"/>
                </a:cubicBezTo>
                <a:cubicBezTo>
                  <a:pt x="461937" y="330836"/>
                  <a:pt x="458618" y="332772"/>
                  <a:pt x="459542" y="338942"/>
                </a:cubicBezTo>
                <a:cubicBezTo>
                  <a:pt x="459542" y="338942"/>
                  <a:pt x="459473" y="338913"/>
                  <a:pt x="458492" y="338671"/>
                </a:cubicBezTo>
                <a:cubicBezTo>
                  <a:pt x="450936" y="342653"/>
                  <a:pt x="440712" y="341355"/>
                  <a:pt x="436978" y="352226"/>
                </a:cubicBezTo>
                <a:cubicBezTo>
                  <a:pt x="449178" y="355911"/>
                  <a:pt x="460733" y="359469"/>
                  <a:pt x="472329" y="362890"/>
                </a:cubicBezTo>
                <a:cubicBezTo>
                  <a:pt x="491728" y="368613"/>
                  <a:pt x="510182" y="375784"/>
                  <a:pt x="523779" y="391962"/>
                </a:cubicBezTo>
                <a:cubicBezTo>
                  <a:pt x="535849" y="406326"/>
                  <a:pt x="534845" y="420076"/>
                  <a:pt x="527344" y="430096"/>
                </a:cubicBezTo>
                <a:cubicBezTo>
                  <a:pt x="521323" y="438139"/>
                  <a:pt x="513928" y="445333"/>
                  <a:pt x="504112" y="449628"/>
                </a:cubicBezTo>
                <a:cubicBezTo>
                  <a:pt x="489776" y="455901"/>
                  <a:pt x="475173" y="460486"/>
                  <a:pt x="459430" y="461116"/>
                </a:cubicBezTo>
                <a:cubicBezTo>
                  <a:pt x="448415" y="461557"/>
                  <a:pt x="446384" y="463369"/>
                  <a:pt x="446666" y="474229"/>
                </a:cubicBezTo>
                <a:cubicBezTo>
                  <a:pt x="447164" y="493376"/>
                  <a:pt x="447839" y="512533"/>
                  <a:pt x="449133" y="531639"/>
                </a:cubicBezTo>
                <a:cubicBezTo>
                  <a:pt x="450424" y="550696"/>
                  <a:pt x="451783" y="569809"/>
                  <a:pt x="454546" y="588688"/>
                </a:cubicBezTo>
                <a:cubicBezTo>
                  <a:pt x="457543" y="609164"/>
                  <a:pt x="462165" y="629403"/>
                  <a:pt x="466126" y="649736"/>
                </a:cubicBezTo>
                <a:cubicBezTo>
                  <a:pt x="475845" y="699621"/>
                  <a:pt x="493414" y="746980"/>
                  <a:pt x="512154" y="794006"/>
                </a:cubicBezTo>
                <a:cubicBezTo>
                  <a:pt x="517387" y="807138"/>
                  <a:pt x="525145" y="819463"/>
                  <a:pt x="525763" y="834323"/>
                </a:cubicBezTo>
                <a:cubicBezTo>
                  <a:pt x="525919" y="838081"/>
                  <a:pt x="527739" y="843335"/>
                  <a:pt x="530555" y="845114"/>
                </a:cubicBezTo>
                <a:cubicBezTo>
                  <a:pt x="537981" y="849801"/>
                  <a:pt x="546243" y="853278"/>
                  <a:pt x="554424" y="856618"/>
                </a:cubicBezTo>
                <a:cubicBezTo>
                  <a:pt x="560391" y="859054"/>
                  <a:pt x="567041" y="859887"/>
                  <a:pt x="572880" y="862546"/>
                </a:cubicBezTo>
                <a:cubicBezTo>
                  <a:pt x="581470" y="866458"/>
                  <a:pt x="582467" y="871415"/>
                  <a:pt x="578643" y="880396"/>
                </a:cubicBezTo>
                <a:cubicBezTo>
                  <a:pt x="575969" y="886677"/>
                  <a:pt x="572900" y="893182"/>
                  <a:pt x="572188" y="899820"/>
                </a:cubicBezTo>
                <a:cubicBezTo>
                  <a:pt x="570960" y="911271"/>
                  <a:pt x="576506" y="920944"/>
                  <a:pt x="582698" y="930382"/>
                </a:cubicBezTo>
                <a:cubicBezTo>
                  <a:pt x="589569" y="940856"/>
                  <a:pt x="600933" y="947930"/>
                  <a:pt x="604747" y="960852"/>
                </a:cubicBezTo>
                <a:cubicBezTo>
                  <a:pt x="605684" y="964030"/>
                  <a:pt x="610294" y="967128"/>
                  <a:pt x="613863" y="968311"/>
                </a:cubicBezTo>
                <a:cubicBezTo>
                  <a:pt x="620963" y="970665"/>
                  <a:pt x="625924" y="974774"/>
                  <a:pt x="629435" y="981186"/>
                </a:cubicBezTo>
                <a:cubicBezTo>
                  <a:pt x="630381" y="982913"/>
                  <a:pt x="631977" y="984459"/>
                  <a:pt x="633611" y="985609"/>
                </a:cubicBezTo>
                <a:cubicBezTo>
                  <a:pt x="655878" y="1001272"/>
                  <a:pt x="668032" y="1023762"/>
                  <a:pt x="673790" y="1049348"/>
                </a:cubicBezTo>
                <a:cubicBezTo>
                  <a:pt x="676936" y="1063327"/>
                  <a:pt x="679769" y="1077802"/>
                  <a:pt x="675873" y="1092839"/>
                </a:cubicBezTo>
                <a:cubicBezTo>
                  <a:pt x="672677" y="1105174"/>
                  <a:pt x="673042" y="1116963"/>
                  <a:pt x="681668" y="1129292"/>
                </a:cubicBezTo>
                <a:cubicBezTo>
                  <a:pt x="695321" y="1148802"/>
                  <a:pt x="698550" y="1172235"/>
                  <a:pt x="697338" y="1196079"/>
                </a:cubicBezTo>
                <a:cubicBezTo>
                  <a:pt x="697087" y="1201014"/>
                  <a:pt x="694979" y="1203886"/>
                  <a:pt x="690637" y="1205035"/>
                </a:cubicBezTo>
                <a:cubicBezTo>
                  <a:pt x="673723" y="1209511"/>
                  <a:pt x="656856" y="1214241"/>
                  <a:pt x="639777" y="1217994"/>
                </a:cubicBezTo>
                <a:cubicBezTo>
                  <a:pt x="622334" y="1221827"/>
                  <a:pt x="604691" y="1224790"/>
                  <a:pt x="587072" y="1227761"/>
                </a:cubicBezTo>
                <a:cubicBezTo>
                  <a:pt x="582708" y="1228497"/>
                  <a:pt x="581724" y="1230736"/>
                  <a:pt x="581793" y="1234401"/>
                </a:cubicBezTo>
                <a:moveTo>
                  <a:pt x="357446" y="903795"/>
                </a:moveTo>
                <a:cubicBezTo>
                  <a:pt x="353141" y="903795"/>
                  <a:pt x="348835" y="903795"/>
                  <a:pt x="344445" y="903795"/>
                </a:cubicBezTo>
                <a:cubicBezTo>
                  <a:pt x="346169" y="920562"/>
                  <a:pt x="347908" y="935520"/>
                  <a:pt x="349212" y="950515"/>
                </a:cubicBezTo>
                <a:cubicBezTo>
                  <a:pt x="352656" y="990125"/>
                  <a:pt x="351941" y="1029743"/>
                  <a:pt x="349538" y="1069392"/>
                </a:cubicBezTo>
                <a:cubicBezTo>
                  <a:pt x="348759" y="1082241"/>
                  <a:pt x="349415" y="1095176"/>
                  <a:pt x="349415" y="1108925"/>
                </a:cubicBezTo>
                <a:cubicBezTo>
                  <a:pt x="449467" y="1111953"/>
                  <a:pt x="548509" y="1104712"/>
                  <a:pt x="647726" y="1089872"/>
                </a:cubicBezTo>
                <a:cubicBezTo>
                  <a:pt x="647726" y="1084313"/>
                  <a:pt x="648180" y="1080225"/>
                  <a:pt x="647654" y="1076267"/>
                </a:cubicBezTo>
                <a:cubicBezTo>
                  <a:pt x="643515" y="1045124"/>
                  <a:pt x="633172" y="1016714"/>
                  <a:pt x="610267" y="994126"/>
                </a:cubicBezTo>
                <a:cubicBezTo>
                  <a:pt x="597451" y="981485"/>
                  <a:pt x="584392" y="969090"/>
                  <a:pt x="571459" y="956568"/>
                </a:cubicBezTo>
                <a:cubicBezTo>
                  <a:pt x="555751" y="941359"/>
                  <a:pt x="544836" y="923558"/>
                  <a:pt x="541653" y="901544"/>
                </a:cubicBezTo>
                <a:cubicBezTo>
                  <a:pt x="541430" y="900007"/>
                  <a:pt x="540528" y="898570"/>
                  <a:pt x="539477" y="895908"/>
                </a:cubicBezTo>
                <a:cubicBezTo>
                  <a:pt x="479736" y="901652"/>
                  <a:pt x="419815" y="904536"/>
                  <a:pt x="357446" y="903795"/>
                </a:cubicBezTo>
                <a:moveTo>
                  <a:pt x="300108" y="85260"/>
                </a:moveTo>
                <a:cubicBezTo>
                  <a:pt x="293656" y="98745"/>
                  <a:pt x="289202" y="113094"/>
                  <a:pt x="290213" y="127888"/>
                </a:cubicBezTo>
                <a:cubicBezTo>
                  <a:pt x="292527" y="161736"/>
                  <a:pt x="304185" y="191723"/>
                  <a:pt x="331056" y="214168"/>
                </a:cubicBezTo>
                <a:cubicBezTo>
                  <a:pt x="358172" y="236816"/>
                  <a:pt x="388435" y="249934"/>
                  <a:pt x="424717" y="245160"/>
                </a:cubicBezTo>
                <a:cubicBezTo>
                  <a:pt x="468593" y="239387"/>
                  <a:pt x="509574" y="203365"/>
                  <a:pt x="496752" y="141256"/>
                </a:cubicBezTo>
                <a:cubicBezTo>
                  <a:pt x="487021" y="94124"/>
                  <a:pt x="447261" y="51874"/>
                  <a:pt x="390320" y="43995"/>
                </a:cubicBezTo>
                <a:cubicBezTo>
                  <a:pt x="353241" y="38865"/>
                  <a:pt x="321136" y="48750"/>
                  <a:pt x="300108" y="85260"/>
                </a:cubicBezTo>
                <a:moveTo>
                  <a:pt x="343360" y="634332"/>
                </a:moveTo>
                <a:cubicBezTo>
                  <a:pt x="342539" y="666975"/>
                  <a:pt x="341785" y="699619"/>
                  <a:pt x="340877" y="732259"/>
                </a:cubicBezTo>
                <a:cubicBezTo>
                  <a:pt x="340151" y="758355"/>
                  <a:pt x="339265" y="784447"/>
                  <a:pt x="338360" y="810538"/>
                </a:cubicBezTo>
                <a:cubicBezTo>
                  <a:pt x="338277" y="812948"/>
                  <a:pt x="337465" y="815325"/>
                  <a:pt x="337115" y="817736"/>
                </a:cubicBezTo>
                <a:cubicBezTo>
                  <a:pt x="334935" y="832710"/>
                  <a:pt x="336026" y="847647"/>
                  <a:pt x="336516" y="863022"/>
                </a:cubicBezTo>
                <a:cubicBezTo>
                  <a:pt x="339537" y="863479"/>
                  <a:pt x="341490" y="864053"/>
                  <a:pt x="343436" y="864027"/>
                </a:cubicBezTo>
                <a:cubicBezTo>
                  <a:pt x="364531" y="863739"/>
                  <a:pt x="385626" y="863422"/>
                  <a:pt x="406718" y="862982"/>
                </a:cubicBezTo>
                <a:cubicBezTo>
                  <a:pt x="423444" y="862634"/>
                  <a:pt x="440168" y="861675"/>
                  <a:pt x="456888" y="861794"/>
                </a:cubicBezTo>
                <a:cubicBezTo>
                  <a:pt x="469887" y="861886"/>
                  <a:pt x="482872" y="863302"/>
                  <a:pt x="495873" y="863963"/>
                </a:cubicBezTo>
                <a:cubicBezTo>
                  <a:pt x="500358" y="864191"/>
                  <a:pt x="505108" y="864773"/>
                  <a:pt x="509286" y="863595"/>
                </a:cubicBezTo>
                <a:cubicBezTo>
                  <a:pt x="512346" y="862732"/>
                  <a:pt x="515714" y="859703"/>
                  <a:pt x="516956" y="856791"/>
                </a:cubicBezTo>
                <a:cubicBezTo>
                  <a:pt x="517783" y="854851"/>
                  <a:pt x="515475" y="851192"/>
                  <a:pt x="513920" y="848709"/>
                </a:cubicBezTo>
                <a:cubicBezTo>
                  <a:pt x="511791" y="845308"/>
                  <a:pt x="508393" y="842606"/>
                  <a:pt x="506683" y="839054"/>
                </a:cubicBezTo>
                <a:cubicBezTo>
                  <a:pt x="500331" y="825864"/>
                  <a:pt x="493224" y="812855"/>
                  <a:pt x="488629" y="799037"/>
                </a:cubicBezTo>
                <a:cubicBezTo>
                  <a:pt x="477322" y="765031"/>
                  <a:pt x="466537" y="730814"/>
                  <a:pt x="456922" y="696297"/>
                </a:cubicBezTo>
                <a:cubicBezTo>
                  <a:pt x="449953" y="671276"/>
                  <a:pt x="443477" y="646020"/>
                  <a:pt x="441346" y="619885"/>
                </a:cubicBezTo>
                <a:cubicBezTo>
                  <a:pt x="440327" y="607371"/>
                  <a:pt x="437466" y="595018"/>
                  <a:pt x="435963" y="582529"/>
                </a:cubicBezTo>
                <a:cubicBezTo>
                  <a:pt x="433539" y="562380"/>
                  <a:pt x="431154" y="542212"/>
                  <a:pt x="429497" y="521990"/>
                </a:cubicBezTo>
                <a:cubicBezTo>
                  <a:pt x="428135" y="505363"/>
                  <a:pt x="428437" y="488593"/>
                  <a:pt x="426887" y="471989"/>
                </a:cubicBezTo>
                <a:cubicBezTo>
                  <a:pt x="425874" y="461140"/>
                  <a:pt x="424983" y="461120"/>
                  <a:pt x="413744" y="461077"/>
                </a:cubicBezTo>
                <a:cubicBezTo>
                  <a:pt x="393687" y="461000"/>
                  <a:pt x="373630" y="461011"/>
                  <a:pt x="353573" y="461120"/>
                </a:cubicBezTo>
                <a:cubicBezTo>
                  <a:pt x="350472" y="461137"/>
                  <a:pt x="347374" y="461869"/>
                  <a:pt x="344160" y="462286"/>
                </a:cubicBezTo>
                <a:cubicBezTo>
                  <a:pt x="343828" y="465198"/>
                  <a:pt x="343406" y="467195"/>
                  <a:pt x="343404" y="469192"/>
                </a:cubicBezTo>
                <a:cubicBezTo>
                  <a:pt x="343360" y="504394"/>
                  <a:pt x="343267" y="539596"/>
                  <a:pt x="343469" y="574797"/>
                </a:cubicBezTo>
                <a:cubicBezTo>
                  <a:pt x="343501" y="580426"/>
                  <a:pt x="345652" y="586065"/>
                  <a:pt x="345522" y="591669"/>
                </a:cubicBezTo>
                <a:cubicBezTo>
                  <a:pt x="345214" y="605082"/>
                  <a:pt x="344131" y="618478"/>
                  <a:pt x="343360" y="634332"/>
                </a:cubicBezTo>
                <a:moveTo>
                  <a:pt x="416946" y="385943"/>
                </a:moveTo>
                <a:cubicBezTo>
                  <a:pt x="411661" y="386365"/>
                  <a:pt x="406384" y="387006"/>
                  <a:pt x="401091" y="387162"/>
                </a:cubicBezTo>
                <a:cubicBezTo>
                  <a:pt x="390470" y="387477"/>
                  <a:pt x="379841" y="387447"/>
                  <a:pt x="369218" y="387708"/>
                </a:cubicBezTo>
                <a:cubicBezTo>
                  <a:pt x="361167" y="387906"/>
                  <a:pt x="354429" y="391368"/>
                  <a:pt x="351833" y="398991"/>
                </a:cubicBezTo>
                <a:cubicBezTo>
                  <a:pt x="348989" y="407342"/>
                  <a:pt x="347050" y="416214"/>
                  <a:pt x="349778" y="426021"/>
                </a:cubicBezTo>
                <a:cubicBezTo>
                  <a:pt x="353876" y="426204"/>
                  <a:pt x="357857" y="426517"/>
                  <a:pt x="361839" y="426538"/>
                </a:cubicBezTo>
                <a:cubicBezTo>
                  <a:pt x="392900" y="426701"/>
                  <a:pt x="423961" y="426826"/>
                  <a:pt x="455022" y="426922"/>
                </a:cubicBezTo>
                <a:cubicBezTo>
                  <a:pt x="464013" y="426950"/>
                  <a:pt x="473106" y="427654"/>
                  <a:pt x="481958" y="426527"/>
                </a:cubicBezTo>
                <a:cubicBezTo>
                  <a:pt x="488144" y="425740"/>
                  <a:pt x="494821" y="423501"/>
                  <a:pt x="499817" y="419888"/>
                </a:cubicBezTo>
                <a:cubicBezTo>
                  <a:pt x="507869" y="414066"/>
                  <a:pt x="507286" y="406755"/>
                  <a:pt x="499439" y="400719"/>
                </a:cubicBezTo>
                <a:cubicBezTo>
                  <a:pt x="490179" y="393597"/>
                  <a:pt x="479486" y="388885"/>
                  <a:pt x="468062" y="387775"/>
                </a:cubicBezTo>
                <a:cubicBezTo>
                  <a:pt x="451873" y="386202"/>
                  <a:pt x="435520" y="386321"/>
                  <a:pt x="416946" y="385943"/>
                </a:cubicBezTo>
                <a:moveTo>
                  <a:pt x="636802" y="1190940"/>
                </a:moveTo>
                <a:cubicBezTo>
                  <a:pt x="646709" y="1188723"/>
                  <a:pt x="656705" y="1186841"/>
                  <a:pt x="666492" y="1184186"/>
                </a:cubicBezTo>
                <a:cubicBezTo>
                  <a:pt x="674710" y="1181958"/>
                  <a:pt x="676989" y="1178509"/>
                  <a:pt x="674465" y="1170880"/>
                </a:cubicBezTo>
                <a:cubicBezTo>
                  <a:pt x="671144" y="1160843"/>
                  <a:pt x="667026" y="1151009"/>
                  <a:pt x="662462" y="1141464"/>
                </a:cubicBezTo>
                <a:cubicBezTo>
                  <a:pt x="659273" y="1134795"/>
                  <a:pt x="653671" y="1130908"/>
                  <a:pt x="645564" y="1131937"/>
                </a:cubicBezTo>
                <a:cubicBezTo>
                  <a:pt x="639532" y="1132703"/>
                  <a:pt x="633423" y="1132867"/>
                  <a:pt x="627387" y="1133618"/>
                </a:cubicBezTo>
                <a:cubicBezTo>
                  <a:pt x="612888" y="1135421"/>
                  <a:pt x="598449" y="1137770"/>
                  <a:pt x="583917" y="1139222"/>
                </a:cubicBezTo>
                <a:cubicBezTo>
                  <a:pt x="570571" y="1140557"/>
                  <a:pt x="557130" y="1140930"/>
                  <a:pt x="543741" y="1141869"/>
                </a:cubicBezTo>
                <a:cubicBezTo>
                  <a:pt x="533202" y="1142610"/>
                  <a:pt x="522682" y="1143623"/>
                  <a:pt x="512146" y="1144418"/>
                </a:cubicBezTo>
                <a:cubicBezTo>
                  <a:pt x="490671" y="1146038"/>
                  <a:pt x="469214" y="1148450"/>
                  <a:pt x="447711" y="1148973"/>
                </a:cubicBezTo>
                <a:cubicBezTo>
                  <a:pt x="415817" y="1149749"/>
                  <a:pt x="383891" y="1149136"/>
                  <a:pt x="351979" y="1149200"/>
                </a:cubicBezTo>
                <a:cubicBezTo>
                  <a:pt x="347698" y="1149209"/>
                  <a:pt x="343419" y="1149717"/>
                  <a:pt x="338443" y="1150040"/>
                </a:cubicBezTo>
                <a:cubicBezTo>
                  <a:pt x="338443" y="1164651"/>
                  <a:pt x="338413" y="1177715"/>
                  <a:pt x="338451" y="1190780"/>
                </a:cubicBezTo>
                <a:cubicBezTo>
                  <a:pt x="338490" y="1204031"/>
                  <a:pt x="338512" y="1204062"/>
                  <a:pt x="351082" y="1207015"/>
                </a:cubicBezTo>
                <a:cubicBezTo>
                  <a:pt x="353445" y="1207570"/>
                  <a:pt x="355895" y="1208128"/>
                  <a:pt x="358298" y="1208094"/>
                </a:cubicBezTo>
                <a:cubicBezTo>
                  <a:pt x="412608" y="1207329"/>
                  <a:pt x="466919" y="1206484"/>
                  <a:pt x="521229" y="1205646"/>
                </a:cubicBezTo>
                <a:cubicBezTo>
                  <a:pt x="522045" y="1205634"/>
                  <a:pt x="522865" y="1205591"/>
                  <a:pt x="523675" y="1205490"/>
                </a:cubicBezTo>
                <a:cubicBezTo>
                  <a:pt x="542593" y="1203123"/>
                  <a:pt x="561519" y="1200820"/>
                  <a:pt x="580423" y="1198350"/>
                </a:cubicBezTo>
                <a:cubicBezTo>
                  <a:pt x="598523" y="1195985"/>
                  <a:pt x="616599" y="1193446"/>
                  <a:pt x="636802" y="1190940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1" name="Free-form: Shape 80">
            <a:extLst>
              <a:ext uri="{FF2B5EF4-FFF2-40B4-BE49-F238E27FC236}">
                <a16:creationId xmlns:a16="http://schemas.microsoft.com/office/drawing/2014/main" id="{FC55E3DA-F835-3653-18F5-5BF94A381F78}"/>
              </a:ext>
            </a:extLst>
          </p:cNvPr>
          <p:cNvSpPr/>
          <p:nvPr/>
        </p:nvSpPr>
        <p:spPr>
          <a:xfrm>
            <a:off x="6740976" y="5144827"/>
            <a:ext cx="17183" cy="1817"/>
          </a:xfrm>
          <a:custGeom>
            <a:avLst/>
            <a:gdLst>
              <a:gd name="csX0" fmla="*/ 0 w 27674"/>
              <a:gd name="csY0" fmla="*/ 2915 h 2925"/>
              <a:gd name="csX1" fmla="*/ 27675 w 27674"/>
              <a:gd name="csY1" fmla="*/ 1550 h 2925"/>
              <a:gd name="csX2" fmla="*/ 0 w 27674"/>
              <a:gd name="csY2" fmla="*/ 2915 h 292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27674" h="2925">
                <a:moveTo>
                  <a:pt x="0" y="2915"/>
                </a:moveTo>
                <a:cubicBezTo>
                  <a:pt x="8211" y="-1939"/>
                  <a:pt x="17625" y="498"/>
                  <a:pt x="27675" y="1550"/>
                </a:cubicBezTo>
                <a:cubicBezTo>
                  <a:pt x="19225" y="2593"/>
                  <a:pt x="10029" y="2999"/>
                  <a:pt x="0" y="2915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2" name="Free-form: Shape 81">
            <a:extLst>
              <a:ext uri="{FF2B5EF4-FFF2-40B4-BE49-F238E27FC236}">
                <a16:creationId xmlns:a16="http://schemas.microsoft.com/office/drawing/2014/main" id="{72976F7C-D419-703E-2037-38CC3380D6F6}"/>
              </a:ext>
            </a:extLst>
          </p:cNvPr>
          <p:cNvSpPr/>
          <p:nvPr/>
        </p:nvSpPr>
        <p:spPr>
          <a:xfrm>
            <a:off x="6693672" y="5145851"/>
            <a:ext cx="11179" cy="700"/>
          </a:xfrm>
          <a:custGeom>
            <a:avLst/>
            <a:gdLst>
              <a:gd name="csX0" fmla="*/ 0 w 18003"/>
              <a:gd name="csY0" fmla="*/ 1050 h 1128"/>
              <a:gd name="csX1" fmla="*/ 18004 w 18003"/>
              <a:gd name="csY1" fmla="*/ 93 h 1128"/>
              <a:gd name="csX2" fmla="*/ 0 w 18003"/>
              <a:gd name="csY2" fmla="*/ 1050 h 112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8003" h="1128">
                <a:moveTo>
                  <a:pt x="0" y="1050"/>
                </a:moveTo>
                <a:cubicBezTo>
                  <a:pt x="5276" y="182"/>
                  <a:pt x="11306" y="-189"/>
                  <a:pt x="18004" y="93"/>
                </a:cubicBezTo>
                <a:cubicBezTo>
                  <a:pt x="12699" y="1013"/>
                  <a:pt x="6726" y="1280"/>
                  <a:pt x="0" y="1050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3" name="Free-form: Shape 82">
            <a:extLst>
              <a:ext uri="{FF2B5EF4-FFF2-40B4-BE49-F238E27FC236}">
                <a16:creationId xmlns:a16="http://schemas.microsoft.com/office/drawing/2014/main" id="{6316177D-D77F-E452-C098-DF57A5F06BB5}"/>
              </a:ext>
            </a:extLst>
          </p:cNvPr>
          <p:cNvSpPr/>
          <p:nvPr/>
        </p:nvSpPr>
        <p:spPr>
          <a:xfrm>
            <a:off x="6774639" y="4579051"/>
            <a:ext cx="5257" cy="4867"/>
          </a:xfrm>
          <a:custGeom>
            <a:avLst/>
            <a:gdLst>
              <a:gd name="csX0" fmla="*/ 473 w 8466"/>
              <a:gd name="csY0" fmla="*/ 7839 h 7838"/>
              <a:gd name="csX1" fmla="*/ 8466 w 8466"/>
              <a:gd name="csY1" fmla="*/ 61 h 7838"/>
              <a:gd name="csX2" fmla="*/ 473 w 8466"/>
              <a:gd name="csY2" fmla="*/ 7839 h 783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66" h="7838">
                <a:moveTo>
                  <a:pt x="473" y="7839"/>
                </a:moveTo>
                <a:cubicBezTo>
                  <a:pt x="-1298" y="1550"/>
                  <a:pt x="2020" y="-386"/>
                  <a:pt x="8466" y="61"/>
                </a:cubicBezTo>
                <a:cubicBezTo>
                  <a:pt x="6730" y="2845"/>
                  <a:pt x="4026" y="5401"/>
                  <a:pt x="473" y="7839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4" name="Free-form: Shape 83">
            <a:extLst>
              <a:ext uri="{FF2B5EF4-FFF2-40B4-BE49-F238E27FC236}">
                <a16:creationId xmlns:a16="http://schemas.microsoft.com/office/drawing/2014/main" id="{B96FFC47-8DE5-4E40-2324-0D65E5BDBCBA}"/>
              </a:ext>
            </a:extLst>
          </p:cNvPr>
          <p:cNvSpPr/>
          <p:nvPr/>
        </p:nvSpPr>
        <p:spPr>
          <a:xfrm>
            <a:off x="6638643" y="5144337"/>
            <a:ext cx="5265" cy="618"/>
          </a:xfrm>
          <a:custGeom>
            <a:avLst/>
            <a:gdLst>
              <a:gd name="csX0" fmla="*/ 0 w 8480"/>
              <a:gd name="csY0" fmla="*/ 896 h 996"/>
              <a:gd name="csX1" fmla="*/ 8480 w 8480"/>
              <a:gd name="csY1" fmla="*/ 110 h 996"/>
              <a:gd name="csX2" fmla="*/ 0 w 8480"/>
              <a:gd name="csY2" fmla="*/ 896 h 99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80" h="996">
                <a:moveTo>
                  <a:pt x="0" y="896"/>
                </a:moveTo>
                <a:cubicBezTo>
                  <a:pt x="2285" y="115"/>
                  <a:pt x="5130" y="-182"/>
                  <a:pt x="8480" y="110"/>
                </a:cubicBezTo>
                <a:cubicBezTo>
                  <a:pt x="6177" y="927"/>
                  <a:pt x="3368" y="1153"/>
                  <a:pt x="0" y="896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5" name="Free-form: Shape 84">
            <a:extLst>
              <a:ext uri="{FF2B5EF4-FFF2-40B4-BE49-F238E27FC236}">
                <a16:creationId xmlns:a16="http://schemas.microsoft.com/office/drawing/2014/main" id="{029435B6-EEFF-DC77-56E1-1F0EA2691DB8}"/>
              </a:ext>
            </a:extLst>
          </p:cNvPr>
          <p:cNvSpPr/>
          <p:nvPr/>
        </p:nvSpPr>
        <p:spPr>
          <a:xfrm>
            <a:off x="6925404" y="5117808"/>
            <a:ext cx="763" cy="4134"/>
          </a:xfrm>
          <a:custGeom>
            <a:avLst/>
            <a:gdLst>
              <a:gd name="csX0" fmla="*/ 132 w 1229"/>
              <a:gd name="csY0" fmla="*/ 6659 h 6658"/>
              <a:gd name="csX1" fmla="*/ 1107 w 1229"/>
              <a:gd name="csY1" fmla="*/ 0 h 6658"/>
              <a:gd name="csX2" fmla="*/ 132 w 1229"/>
              <a:gd name="csY2" fmla="*/ 6659 h 665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229" h="6658">
                <a:moveTo>
                  <a:pt x="132" y="6659"/>
                </a:moveTo>
                <a:cubicBezTo>
                  <a:pt x="-219" y="4616"/>
                  <a:pt x="139" y="2560"/>
                  <a:pt x="1107" y="0"/>
                </a:cubicBezTo>
                <a:cubicBezTo>
                  <a:pt x="1425" y="1879"/>
                  <a:pt x="1133" y="4263"/>
                  <a:pt x="132" y="6659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6" name="Free-form: Shape 85">
            <a:extLst>
              <a:ext uri="{FF2B5EF4-FFF2-40B4-BE49-F238E27FC236}">
                <a16:creationId xmlns:a16="http://schemas.microsoft.com/office/drawing/2014/main" id="{9AC16E70-CE8C-F887-D870-1CC572C27969}"/>
              </a:ext>
            </a:extLst>
          </p:cNvPr>
          <p:cNvSpPr/>
          <p:nvPr/>
        </p:nvSpPr>
        <p:spPr>
          <a:xfrm>
            <a:off x="6858208" y="5138085"/>
            <a:ext cx="2352" cy="847"/>
          </a:xfrm>
          <a:custGeom>
            <a:avLst/>
            <a:gdLst>
              <a:gd name="csX0" fmla="*/ 0 w 3788"/>
              <a:gd name="csY0" fmla="*/ 1364 h 1364"/>
              <a:gd name="csX1" fmla="*/ 3788 w 3788"/>
              <a:gd name="csY1" fmla="*/ 0 h 1364"/>
              <a:gd name="csX2" fmla="*/ 0 w 3788"/>
              <a:gd name="csY2" fmla="*/ 1364 h 136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788" h="1364">
                <a:moveTo>
                  <a:pt x="0" y="1364"/>
                </a:moveTo>
                <a:cubicBezTo>
                  <a:pt x="856" y="517"/>
                  <a:pt x="2126" y="39"/>
                  <a:pt x="3788" y="0"/>
                </a:cubicBezTo>
                <a:cubicBezTo>
                  <a:pt x="2925" y="870"/>
                  <a:pt x="1670" y="1303"/>
                  <a:pt x="0" y="1364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7" name="Free-form: Shape 86">
            <a:extLst>
              <a:ext uri="{FF2B5EF4-FFF2-40B4-BE49-F238E27FC236}">
                <a16:creationId xmlns:a16="http://schemas.microsoft.com/office/drawing/2014/main" id="{99B6D2F0-1425-BBD1-1C53-CB4FAEB28856}"/>
              </a:ext>
            </a:extLst>
          </p:cNvPr>
          <p:cNvSpPr/>
          <p:nvPr/>
        </p:nvSpPr>
        <p:spPr>
          <a:xfrm>
            <a:off x="6586625" y="5141359"/>
            <a:ext cx="2478" cy="515"/>
          </a:xfrm>
          <a:custGeom>
            <a:avLst/>
            <a:gdLst>
              <a:gd name="csX0" fmla="*/ 0 w 3990"/>
              <a:gd name="csY0" fmla="*/ 719 h 829"/>
              <a:gd name="csX1" fmla="*/ 3990 w 3990"/>
              <a:gd name="csY1" fmla="*/ 119 h 829"/>
              <a:gd name="csX2" fmla="*/ 0 w 3990"/>
              <a:gd name="csY2" fmla="*/ 719 h 82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990" h="829">
                <a:moveTo>
                  <a:pt x="0" y="719"/>
                </a:moveTo>
                <a:cubicBezTo>
                  <a:pt x="982" y="66"/>
                  <a:pt x="2323" y="-163"/>
                  <a:pt x="3990" y="119"/>
                </a:cubicBezTo>
                <a:cubicBezTo>
                  <a:pt x="2998" y="800"/>
                  <a:pt x="1678" y="972"/>
                  <a:pt x="0" y="719"/>
                </a:cubicBezTo>
                <a:close/>
              </a:path>
            </a:pathLst>
          </a:custGeom>
          <a:solidFill>
            <a:srgbClr val="959DA0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8" name="Free-form: Shape 87">
            <a:extLst>
              <a:ext uri="{FF2B5EF4-FFF2-40B4-BE49-F238E27FC236}">
                <a16:creationId xmlns:a16="http://schemas.microsoft.com/office/drawing/2014/main" id="{5F3A8F14-E46D-5466-AB7E-C02C4429F861}"/>
              </a:ext>
            </a:extLst>
          </p:cNvPr>
          <p:cNvSpPr/>
          <p:nvPr/>
        </p:nvSpPr>
        <p:spPr>
          <a:xfrm>
            <a:off x="6797173" y="5144315"/>
            <a:ext cx="2417" cy="705"/>
          </a:xfrm>
          <a:custGeom>
            <a:avLst/>
            <a:gdLst>
              <a:gd name="csX0" fmla="*/ 0 w 3893"/>
              <a:gd name="csY0" fmla="*/ 1133 h 1135"/>
              <a:gd name="csX1" fmla="*/ 3893 w 3893"/>
              <a:gd name="csY1" fmla="*/ 7 h 1135"/>
              <a:gd name="csX2" fmla="*/ 0 w 3893"/>
              <a:gd name="csY2" fmla="*/ 1133 h 113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893" h="1135">
                <a:moveTo>
                  <a:pt x="0" y="1133"/>
                </a:moveTo>
                <a:cubicBezTo>
                  <a:pt x="902" y="349"/>
                  <a:pt x="2213" y="-60"/>
                  <a:pt x="3893" y="7"/>
                </a:cubicBezTo>
                <a:cubicBezTo>
                  <a:pt x="2978" y="825"/>
                  <a:pt x="1693" y="1167"/>
                  <a:pt x="0" y="1133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9" name="Free-form: Shape 88">
            <a:extLst>
              <a:ext uri="{FF2B5EF4-FFF2-40B4-BE49-F238E27FC236}">
                <a16:creationId xmlns:a16="http://schemas.microsoft.com/office/drawing/2014/main" id="{4937BAA3-0EB9-5533-9E12-3E183BA196B2}"/>
              </a:ext>
            </a:extLst>
          </p:cNvPr>
          <p:cNvSpPr/>
          <p:nvPr/>
        </p:nvSpPr>
        <p:spPr>
          <a:xfrm>
            <a:off x="6697577" y="4659651"/>
            <a:ext cx="112588" cy="250407"/>
          </a:xfrm>
          <a:custGeom>
            <a:avLst/>
            <a:gdLst>
              <a:gd name="csX0" fmla="*/ 7554 w 181323"/>
              <a:gd name="csY0" fmla="*/ 172079 h 403282"/>
              <a:gd name="csX1" fmla="*/ 9716 w 181323"/>
              <a:gd name="csY1" fmla="*/ 130641 h 403282"/>
              <a:gd name="csX2" fmla="*/ 7663 w 181323"/>
              <a:gd name="csY2" fmla="*/ 113770 h 403282"/>
              <a:gd name="csX3" fmla="*/ 7598 w 181323"/>
              <a:gd name="csY3" fmla="*/ 8165 h 403282"/>
              <a:gd name="csX4" fmla="*/ 8353 w 181323"/>
              <a:gd name="csY4" fmla="*/ 1259 h 403282"/>
              <a:gd name="csX5" fmla="*/ 17767 w 181323"/>
              <a:gd name="csY5" fmla="*/ 93 h 403282"/>
              <a:gd name="csX6" fmla="*/ 77938 w 181323"/>
              <a:gd name="csY6" fmla="*/ 50 h 403282"/>
              <a:gd name="csX7" fmla="*/ 91081 w 181323"/>
              <a:gd name="csY7" fmla="*/ 10962 h 403282"/>
              <a:gd name="csX8" fmla="*/ 93691 w 181323"/>
              <a:gd name="csY8" fmla="*/ 60963 h 403282"/>
              <a:gd name="csX9" fmla="*/ 100157 w 181323"/>
              <a:gd name="csY9" fmla="*/ 121501 h 403282"/>
              <a:gd name="csX10" fmla="*/ 105540 w 181323"/>
              <a:gd name="csY10" fmla="*/ 158857 h 403282"/>
              <a:gd name="csX11" fmla="*/ 121116 w 181323"/>
              <a:gd name="csY11" fmla="*/ 235269 h 403282"/>
              <a:gd name="csX12" fmla="*/ 152823 w 181323"/>
              <a:gd name="csY12" fmla="*/ 338010 h 403282"/>
              <a:gd name="csX13" fmla="*/ 170877 w 181323"/>
              <a:gd name="csY13" fmla="*/ 378027 h 403282"/>
              <a:gd name="csX14" fmla="*/ 178114 w 181323"/>
              <a:gd name="csY14" fmla="*/ 387682 h 403282"/>
              <a:gd name="csX15" fmla="*/ 181150 w 181323"/>
              <a:gd name="csY15" fmla="*/ 395764 h 403282"/>
              <a:gd name="csX16" fmla="*/ 173480 w 181323"/>
              <a:gd name="csY16" fmla="*/ 402568 h 403282"/>
              <a:gd name="csX17" fmla="*/ 160067 w 181323"/>
              <a:gd name="csY17" fmla="*/ 402936 h 403282"/>
              <a:gd name="csX18" fmla="*/ 121081 w 181323"/>
              <a:gd name="csY18" fmla="*/ 400766 h 403282"/>
              <a:gd name="csX19" fmla="*/ 70912 w 181323"/>
              <a:gd name="csY19" fmla="*/ 401955 h 403282"/>
              <a:gd name="csX20" fmla="*/ 7630 w 181323"/>
              <a:gd name="csY20" fmla="*/ 402999 h 403282"/>
              <a:gd name="csX21" fmla="*/ 710 w 181323"/>
              <a:gd name="csY21" fmla="*/ 401995 h 403282"/>
              <a:gd name="csX22" fmla="*/ 1308 w 181323"/>
              <a:gd name="csY22" fmla="*/ 356708 h 403282"/>
              <a:gd name="csX23" fmla="*/ 2554 w 181323"/>
              <a:gd name="csY23" fmla="*/ 349510 h 403282"/>
              <a:gd name="csX24" fmla="*/ 5071 w 181323"/>
              <a:gd name="csY24" fmla="*/ 271231 h 403282"/>
              <a:gd name="csX25" fmla="*/ 7554 w 181323"/>
              <a:gd name="csY25" fmla="*/ 172079 h 403282"/>
              <a:gd name="csX26" fmla="*/ 98286 w 181323"/>
              <a:gd name="csY26" fmla="*/ 163566 h 403282"/>
              <a:gd name="csX27" fmla="*/ 83497 w 181323"/>
              <a:gd name="csY27" fmla="*/ 8289 h 403282"/>
              <a:gd name="csX28" fmla="*/ 15161 w 181323"/>
              <a:gd name="csY28" fmla="*/ 9148 h 403282"/>
              <a:gd name="csX29" fmla="*/ 15058 w 181323"/>
              <a:gd name="csY29" fmla="*/ 137939 h 403282"/>
              <a:gd name="csX30" fmla="*/ 12252 w 181323"/>
              <a:gd name="csY30" fmla="*/ 266862 h 403282"/>
              <a:gd name="csX31" fmla="*/ 7068 w 181323"/>
              <a:gd name="csY31" fmla="*/ 395996 h 403282"/>
              <a:gd name="csX32" fmla="*/ 171647 w 181323"/>
              <a:gd name="csY32" fmla="*/ 395996 h 403282"/>
              <a:gd name="csX33" fmla="*/ 119950 w 181323"/>
              <a:gd name="csY33" fmla="*/ 259496 h 403282"/>
              <a:gd name="csX34" fmla="*/ 98286 w 181323"/>
              <a:gd name="csY34" fmla="*/ 163566 h 40328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</a:cxnLst>
            <a:rect l="l" t="t" r="r" b="b"/>
            <a:pathLst>
              <a:path w="181323" h="403282">
                <a:moveTo>
                  <a:pt x="7554" y="172079"/>
                </a:moveTo>
                <a:cubicBezTo>
                  <a:pt x="8325" y="157451"/>
                  <a:pt x="9408" y="144055"/>
                  <a:pt x="9716" y="130641"/>
                </a:cubicBezTo>
                <a:cubicBezTo>
                  <a:pt x="9846" y="125037"/>
                  <a:pt x="7695" y="119399"/>
                  <a:pt x="7663" y="113770"/>
                </a:cubicBezTo>
                <a:cubicBezTo>
                  <a:pt x="7461" y="78569"/>
                  <a:pt x="7554" y="43367"/>
                  <a:pt x="7598" y="8165"/>
                </a:cubicBezTo>
                <a:cubicBezTo>
                  <a:pt x="7600" y="6167"/>
                  <a:pt x="8022" y="4170"/>
                  <a:pt x="8353" y="1259"/>
                </a:cubicBezTo>
                <a:cubicBezTo>
                  <a:pt x="11568" y="842"/>
                  <a:pt x="14666" y="109"/>
                  <a:pt x="17767" y="93"/>
                </a:cubicBezTo>
                <a:cubicBezTo>
                  <a:pt x="37824" y="-17"/>
                  <a:pt x="57881" y="-27"/>
                  <a:pt x="77938" y="50"/>
                </a:cubicBezTo>
                <a:cubicBezTo>
                  <a:pt x="89177" y="93"/>
                  <a:pt x="90068" y="113"/>
                  <a:pt x="91081" y="10962"/>
                </a:cubicBezTo>
                <a:cubicBezTo>
                  <a:pt x="92631" y="27565"/>
                  <a:pt x="92329" y="44335"/>
                  <a:pt x="93691" y="60963"/>
                </a:cubicBezTo>
                <a:cubicBezTo>
                  <a:pt x="95348" y="81184"/>
                  <a:pt x="97732" y="101353"/>
                  <a:pt x="100157" y="121501"/>
                </a:cubicBezTo>
                <a:cubicBezTo>
                  <a:pt x="101660" y="133990"/>
                  <a:pt x="104521" y="146343"/>
                  <a:pt x="105540" y="158857"/>
                </a:cubicBezTo>
                <a:cubicBezTo>
                  <a:pt x="107671" y="184993"/>
                  <a:pt x="114147" y="210249"/>
                  <a:pt x="121116" y="235269"/>
                </a:cubicBezTo>
                <a:cubicBezTo>
                  <a:pt x="130731" y="269786"/>
                  <a:pt x="141516" y="304004"/>
                  <a:pt x="152823" y="338010"/>
                </a:cubicBezTo>
                <a:cubicBezTo>
                  <a:pt x="157418" y="351828"/>
                  <a:pt x="164524" y="364837"/>
                  <a:pt x="170877" y="378027"/>
                </a:cubicBezTo>
                <a:cubicBezTo>
                  <a:pt x="172587" y="381579"/>
                  <a:pt x="175985" y="384280"/>
                  <a:pt x="178114" y="387682"/>
                </a:cubicBezTo>
                <a:cubicBezTo>
                  <a:pt x="179669" y="390165"/>
                  <a:pt x="181977" y="393824"/>
                  <a:pt x="181150" y="395764"/>
                </a:cubicBezTo>
                <a:cubicBezTo>
                  <a:pt x="179907" y="398676"/>
                  <a:pt x="176540" y="401705"/>
                  <a:pt x="173480" y="402568"/>
                </a:cubicBezTo>
                <a:cubicBezTo>
                  <a:pt x="169302" y="403746"/>
                  <a:pt x="164551" y="403164"/>
                  <a:pt x="160067" y="402936"/>
                </a:cubicBezTo>
                <a:cubicBezTo>
                  <a:pt x="147066" y="402274"/>
                  <a:pt x="134081" y="400859"/>
                  <a:pt x="121081" y="400766"/>
                </a:cubicBezTo>
                <a:cubicBezTo>
                  <a:pt x="104362" y="400647"/>
                  <a:pt x="87638" y="401607"/>
                  <a:pt x="70912" y="401955"/>
                </a:cubicBezTo>
                <a:cubicBezTo>
                  <a:pt x="49820" y="402394"/>
                  <a:pt x="28725" y="402712"/>
                  <a:pt x="7630" y="402999"/>
                </a:cubicBezTo>
                <a:cubicBezTo>
                  <a:pt x="5684" y="403026"/>
                  <a:pt x="3731" y="402452"/>
                  <a:pt x="710" y="401995"/>
                </a:cubicBezTo>
                <a:cubicBezTo>
                  <a:pt x="219" y="386620"/>
                  <a:pt x="-871" y="371682"/>
                  <a:pt x="1308" y="356708"/>
                </a:cubicBezTo>
                <a:cubicBezTo>
                  <a:pt x="1659" y="354298"/>
                  <a:pt x="2471" y="351920"/>
                  <a:pt x="2554" y="349510"/>
                </a:cubicBezTo>
                <a:cubicBezTo>
                  <a:pt x="3459" y="323419"/>
                  <a:pt x="4345" y="297328"/>
                  <a:pt x="5071" y="271231"/>
                </a:cubicBezTo>
                <a:cubicBezTo>
                  <a:pt x="5979" y="238591"/>
                  <a:pt x="6733" y="205947"/>
                  <a:pt x="7554" y="172079"/>
                </a:cubicBezTo>
                <a:moveTo>
                  <a:pt x="98286" y="163566"/>
                </a:moveTo>
                <a:cubicBezTo>
                  <a:pt x="89288" y="112116"/>
                  <a:pt x="86355" y="60033"/>
                  <a:pt x="83497" y="8289"/>
                </a:cubicBezTo>
                <a:cubicBezTo>
                  <a:pt x="65606" y="5845"/>
                  <a:pt x="24110" y="6470"/>
                  <a:pt x="15161" y="9148"/>
                </a:cubicBezTo>
                <a:cubicBezTo>
                  <a:pt x="15161" y="52045"/>
                  <a:pt x="15527" y="94996"/>
                  <a:pt x="15058" y="137939"/>
                </a:cubicBezTo>
                <a:cubicBezTo>
                  <a:pt x="14587" y="180919"/>
                  <a:pt x="13597" y="223900"/>
                  <a:pt x="12252" y="266862"/>
                </a:cubicBezTo>
                <a:cubicBezTo>
                  <a:pt x="10912" y="309638"/>
                  <a:pt x="8849" y="352391"/>
                  <a:pt x="7068" y="395996"/>
                </a:cubicBezTo>
                <a:cubicBezTo>
                  <a:pt x="62774" y="395996"/>
                  <a:pt x="116821" y="395996"/>
                  <a:pt x="171647" y="395996"/>
                </a:cubicBezTo>
                <a:cubicBezTo>
                  <a:pt x="148550" y="352016"/>
                  <a:pt x="132566" y="306307"/>
                  <a:pt x="119950" y="259496"/>
                </a:cubicBezTo>
                <a:cubicBezTo>
                  <a:pt x="111608" y="228543"/>
                  <a:pt x="105493" y="196989"/>
                  <a:pt x="98286" y="163566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0" name="Free-form: Shape 89">
            <a:extLst>
              <a:ext uri="{FF2B5EF4-FFF2-40B4-BE49-F238E27FC236}">
                <a16:creationId xmlns:a16="http://schemas.microsoft.com/office/drawing/2014/main" id="{3D98FF06-5587-F9D5-6943-2A1DD5044785}"/>
              </a:ext>
            </a:extLst>
          </p:cNvPr>
          <p:cNvSpPr/>
          <p:nvPr/>
        </p:nvSpPr>
        <p:spPr>
          <a:xfrm>
            <a:off x="6699208" y="5076132"/>
            <a:ext cx="209255" cy="47389"/>
          </a:xfrm>
          <a:custGeom>
            <a:avLst/>
            <a:gdLst>
              <a:gd name="csX0" fmla="*/ 297312 w 337008"/>
              <a:gd name="csY0" fmla="*/ 59188 h 76321"/>
              <a:gd name="csX1" fmla="*/ 241991 w 337008"/>
              <a:gd name="csY1" fmla="*/ 66577 h 76321"/>
              <a:gd name="csX2" fmla="*/ 185243 w 337008"/>
              <a:gd name="csY2" fmla="*/ 73717 h 76321"/>
              <a:gd name="csX3" fmla="*/ 182797 w 337008"/>
              <a:gd name="csY3" fmla="*/ 73873 h 76321"/>
              <a:gd name="csX4" fmla="*/ 19866 w 337008"/>
              <a:gd name="csY4" fmla="*/ 76320 h 76321"/>
              <a:gd name="csX5" fmla="*/ 12650 w 337008"/>
              <a:gd name="csY5" fmla="*/ 75242 h 76321"/>
              <a:gd name="csX6" fmla="*/ 19 w 337008"/>
              <a:gd name="csY6" fmla="*/ 59006 h 76321"/>
              <a:gd name="csX7" fmla="*/ 11 w 337008"/>
              <a:gd name="csY7" fmla="*/ 18266 h 76321"/>
              <a:gd name="csX8" fmla="*/ 13547 w 337008"/>
              <a:gd name="csY8" fmla="*/ 17427 h 76321"/>
              <a:gd name="csX9" fmla="*/ 109279 w 337008"/>
              <a:gd name="csY9" fmla="*/ 17200 h 76321"/>
              <a:gd name="csX10" fmla="*/ 173714 w 337008"/>
              <a:gd name="csY10" fmla="*/ 12645 h 76321"/>
              <a:gd name="csX11" fmla="*/ 205309 w 337008"/>
              <a:gd name="csY11" fmla="*/ 10096 h 76321"/>
              <a:gd name="csX12" fmla="*/ 245485 w 337008"/>
              <a:gd name="csY12" fmla="*/ 7449 h 76321"/>
              <a:gd name="csX13" fmla="*/ 288955 w 337008"/>
              <a:gd name="csY13" fmla="*/ 1844 h 76321"/>
              <a:gd name="csX14" fmla="*/ 307132 w 337008"/>
              <a:gd name="csY14" fmla="*/ 164 h 76321"/>
              <a:gd name="csX15" fmla="*/ 324030 w 337008"/>
              <a:gd name="csY15" fmla="*/ 9691 h 76321"/>
              <a:gd name="csX16" fmla="*/ 336033 w 337008"/>
              <a:gd name="csY16" fmla="*/ 39107 h 76321"/>
              <a:gd name="csX17" fmla="*/ 328060 w 337008"/>
              <a:gd name="csY17" fmla="*/ 52413 h 76321"/>
              <a:gd name="csX18" fmla="*/ 297312 w 337008"/>
              <a:gd name="csY18" fmla="*/ 59188 h 76321"/>
              <a:gd name="csX19" fmla="*/ 207688 w 337008"/>
              <a:gd name="csY19" fmla="*/ 64284 h 76321"/>
              <a:gd name="csX20" fmla="*/ 330050 w 337008"/>
              <a:gd name="csY20" fmla="*/ 45606 h 76321"/>
              <a:gd name="csX21" fmla="*/ 317356 w 337008"/>
              <a:gd name="csY21" fmla="*/ 11297 h 76321"/>
              <a:gd name="csX22" fmla="*/ 304170 w 337008"/>
              <a:gd name="csY22" fmla="*/ 5545 h 76321"/>
              <a:gd name="csX23" fmla="*/ 273851 w 337008"/>
              <a:gd name="csY23" fmla="*/ 10014 h 76321"/>
              <a:gd name="csX24" fmla="*/ 163935 w 337008"/>
              <a:gd name="csY24" fmla="*/ 20274 h 76321"/>
              <a:gd name="csX25" fmla="*/ 17973 w 337008"/>
              <a:gd name="csY25" fmla="*/ 22950 h 76321"/>
              <a:gd name="csX26" fmla="*/ 7372 w 337008"/>
              <a:gd name="csY26" fmla="*/ 23601 h 76321"/>
              <a:gd name="csX27" fmla="*/ 7372 w 337008"/>
              <a:gd name="csY27" fmla="*/ 67898 h 76321"/>
              <a:gd name="csX28" fmla="*/ 207688 w 337008"/>
              <a:gd name="csY28" fmla="*/ 64284 h 7632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</a:cxnLst>
            <a:rect l="l" t="t" r="r" b="b"/>
            <a:pathLst>
              <a:path w="337008" h="76321">
                <a:moveTo>
                  <a:pt x="297312" y="59188"/>
                </a:moveTo>
                <a:cubicBezTo>
                  <a:pt x="278167" y="61672"/>
                  <a:pt x="260091" y="64212"/>
                  <a:pt x="241991" y="66577"/>
                </a:cubicBezTo>
                <a:cubicBezTo>
                  <a:pt x="223087" y="69047"/>
                  <a:pt x="204161" y="71350"/>
                  <a:pt x="185243" y="73717"/>
                </a:cubicBezTo>
                <a:cubicBezTo>
                  <a:pt x="184433" y="73818"/>
                  <a:pt x="183613" y="73861"/>
                  <a:pt x="182797" y="73873"/>
                </a:cubicBezTo>
                <a:cubicBezTo>
                  <a:pt x="128487" y="74710"/>
                  <a:pt x="74176" y="75556"/>
                  <a:pt x="19866" y="76320"/>
                </a:cubicBezTo>
                <a:cubicBezTo>
                  <a:pt x="17463" y="76354"/>
                  <a:pt x="15013" y="75797"/>
                  <a:pt x="12650" y="75242"/>
                </a:cubicBezTo>
                <a:cubicBezTo>
                  <a:pt x="80" y="72288"/>
                  <a:pt x="58" y="72258"/>
                  <a:pt x="19" y="59006"/>
                </a:cubicBezTo>
                <a:cubicBezTo>
                  <a:pt x="-19" y="45942"/>
                  <a:pt x="11" y="32877"/>
                  <a:pt x="11" y="18266"/>
                </a:cubicBezTo>
                <a:cubicBezTo>
                  <a:pt x="4987" y="17944"/>
                  <a:pt x="9266" y="17435"/>
                  <a:pt x="13547" y="17427"/>
                </a:cubicBezTo>
                <a:cubicBezTo>
                  <a:pt x="45459" y="17362"/>
                  <a:pt x="77385" y="17975"/>
                  <a:pt x="109279" y="17200"/>
                </a:cubicBezTo>
                <a:cubicBezTo>
                  <a:pt x="130782" y="16677"/>
                  <a:pt x="152239" y="14265"/>
                  <a:pt x="173714" y="12645"/>
                </a:cubicBezTo>
                <a:cubicBezTo>
                  <a:pt x="184250" y="11850"/>
                  <a:pt x="194770" y="10836"/>
                  <a:pt x="205309" y="10096"/>
                </a:cubicBezTo>
                <a:cubicBezTo>
                  <a:pt x="218698" y="9156"/>
                  <a:pt x="232139" y="8783"/>
                  <a:pt x="245485" y="7449"/>
                </a:cubicBezTo>
                <a:cubicBezTo>
                  <a:pt x="260017" y="5997"/>
                  <a:pt x="274456" y="3648"/>
                  <a:pt x="288955" y="1844"/>
                </a:cubicBezTo>
                <a:cubicBezTo>
                  <a:pt x="294991" y="1094"/>
                  <a:pt x="301100" y="930"/>
                  <a:pt x="307132" y="164"/>
                </a:cubicBezTo>
                <a:cubicBezTo>
                  <a:pt x="315239" y="-865"/>
                  <a:pt x="320841" y="3022"/>
                  <a:pt x="324030" y="9691"/>
                </a:cubicBezTo>
                <a:cubicBezTo>
                  <a:pt x="328594" y="19236"/>
                  <a:pt x="332712" y="29070"/>
                  <a:pt x="336033" y="39107"/>
                </a:cubicBezTo>
                <a:cubicBezTo>
                  <a:pt x="338557" y="46735"/>
                  <a:pt x="336278" y="50185"/>
                  <a:pt x="328060" y="52413"/>
                </a:cubicBezTo>
                <a:cubicBezTo>
                  <a:pt x="318273" y="55068"/>
                  <a:pt x="308277" y="56950"/>
                  <a:pt x="297312" y="59188"/>
                </a:cubicBezTo>
                <a:moveTo>
                  <a:pt x="207688" y="64284"/>
                </a:moveTo>
                <a:cubicBezTo>
                  <a:pt x="248681" y="60632"/>
                  <a:pt x="289317" y="54812"/>
                  <a:pt x="330050" y="45606"/>
                </a:cubicBezTo>
                <a:cubicBezTo>
                  <a:pt x="327603" y="32443"/>
                  <a:pt x="323777" y="21532"/>
                  <a:pt x="317356" y="11297"/>
                </a:cubicBezTo>
                <a:cubicBezTo>
                  <a:pt x="313908" y="5803"/>
                  <a:pt x="310145" y="4465"/>
                  <a:pt x="304170" y="5545"/>
                </a:cubicBezTo>
                <a:cubicBezTo>
                  <a:pt x="294121" y="7361"/>
                  <a:pt x="284007" y="9006"/>
                  <a:pt x="273851" y="10014"/>
                </a:cubicBezTo>
                <a:cubicBezTo>
                  <a:pt x="237233" y="13650"/>
                  <a:pt x="200632" y="17661"/>
                  <a:pt x="163935" y="20274"/>
                </a:cubicBezTo>
                <a:cubicBezTo>
                  <a:pt x="115360" y="23734"/>
                  <a:pt x="66701" y="25937"/>
                  <a:pt x="17973" y="22950"/>
                </a:cubicBezTo>
                <a:cubicBezTo>
                  <a:pt x="14492" y="22737"/>
                  <a:pt x="10959" y="23361"/>
                  <a:pt x="7372" y="23601"/>
                </a:cubicBezTo>
                <a:cubicBezTo>
                  <a:pt x="7372" y="38609"/>
                  <a:pt x="7372" y="52361"/>
                  <a:pt x="7372" y="67898"/>
                </a:cubicBezTo>
                <a:cubicBezTo>
                  <a:pt x="74001" y="69806"/>
                  <a:pt x="139746" y="71025"/>
                  <a:pt x="207688" y="64284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1" name="Free-form: Shape 90">
            <a:extLst>
              <a:ext uri="{FF2B5EF4-FFF2-40B4-BE49-F238E27FC236}">
                <a16:creationId xmlns:a16="http://schemas.microsoft.com/office/drawing/2014/main" id="{B168B0EA-ECEA-4A73-1C3D-8A6CAA86A003}"/>
              </a:ext>
            </a:extLst>
          </p:cNvPr>
          <p:cNvSpPr/>
          <p:nvPr/>
        </p:nvSpPr>
        <p:spPr>
          <a:xfrm>
            <a:off x="6702941" y="4929678"/>
            <a:ext cx="188426" cy="132688"/>
          </a:xfrm>
          <a:custGeom>
            <a:avLst/>
            <a:gdLst>
              <a:gd name="csX0" fmla="*/ 14160 w 303463"/>
              <a:gd name="csY0" fmla="*/ 7889 h 213695"/>
              <a:gd name="csX1" fmla="*/ 195033 w 303463"/>
              <a:gd name="csY1" fmla="*/ 0 h 213695"/>
              <a:gd name="csX2" fmla="*/ 197208 w 303463"/>
              <a:gd name="csY2" fmla="*/ 5635 h 213695"/>
              <a:gd name="csX3" fmla="*/ 227014 w 303463"/>
              <a:gd name="csY3" fmla="*/ 60660 h 213695"/>
              <a:gd name="csX4" fmla="*/ 265823 w 303463"/>
              <a:gd name="csY4" fmla="*/ 98217 h 213695"/>
              <a:gd name="csX5" fmla="*/ 303210 w 303463"/>
              <a:gd name="csY5" fmla="*/ 180358 h 213695"/>
              <a:gd name="csX6" fmla="*/ 303282 w 303463"/>
              <a:gd name="csY6" fmla="*/ 193964 h 213695"/>
              <a:gd name="csX7" fmla="*/ 4971 w 303463"/>
              <a:gd name="csY7" fmla="*/ 213017 h 213695"/>
              <a:gd name="csX8" fmla="*/ 5093 w 303463"/>
              <a:gd name="csY8" fmla="*/ 173484 h 213695"/>
              <a:gd name="csX9" fmla="*/ 4767 w 303463"/>
              <a:gd name="csY9" fmla="*/ 54607 h 213695"/>
              <a:gd name="csX10" fmla="*/ 0 w 303463"/>
              <a:gd name="csY10" fmla="*/ 7887 h 213695"/>
              <a:gd name="csX11" fmla="*/ 14160 w 303463"/>
              <a:gd name="csY11" fmla="*/ 7889 h 21369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303463" h="213695">
                <a:moveTo>
                  <a:pt x="14160" y="7889"/>
                </a:moveTo>
                <a:cubicBezTo>
                  <a:pt x="75371" y="8627"/>
                  <a:pt x="135292" y="5744"/>
                  <a:pt x="195033" y="0"/>
                </a:cubicBezTo>
                <a:cubicBezTo>
                  <a:pt x="196084" y="2662"/>
                  <a:pt x="196986" y="4099"/>
                  <a:pt x="197208" y="5635"/>
                </a:cubicBezTo>
                <a:cubicBezTo>
                  <a:pt x="200391" y="27650"/>
                  <a:pt x="211307" y="45450"/>
                  <a:pt x="227014" y="60660"/>
                </a:cubicBezTo>
                <a:cubicBezTo>
                  <a:pt x="239947" y="73182"/>
                  <a:pt x="253006" y="85577"/>
                  <a:pt x="265823" y="98217"/>
                </a:cubicBezTo>
                <a:cubicBezTo>
                  <a:pt x="288727" y="120806"/>
                  <a:pt x="299071" y="149215"/>
                  <a:pt x="303210" y="180358"/>
                </a:cubicBezTo>
                <a:cubicBezTo>
                  <a:pt x="303735" y="184317"/>
                  <a:pt x="303282" y="188405"/>
                  <a:pt x="303282" y="193964"/>
                </a:cubicBezTo>
                <a:cubicBezTo>
                  <a:pt x="204065" y="208804"/>
                  <a:pt x="105022" y="216044"/>
                  <a:pt x="4971" y="213017"/>
                </a:cubicBezTo>
                <a:cubicBezTo>
                  <a:pt x="4971" y="199268"/>
                  <a:pt x="4314" y="186332"/>
                  <a:pt x="5093" y="173484"/>
                </a:cubicBezTo>
                <a:cubicBezTo>
                  <a:pt x="7497" y="133835"/>
                  <a:pt x="8211" y="94216"/>
                  <a:pt x="4767" y="54607"/>
                </a:cubicBezTo>
                <a:cubicBezTo>
                  <a:pt x="3464" y="39611"/>
                  <a:pt x="1725" y="24653"/>
                  <a:pt x="0" y="7887"/>
                </a:cubicBezTo>
                <a:cubicBezTo>
                  <a:pt x="4390" y="7887"/>
                  <a:pt x="8696" y="7887"/>
                  <a:pt x="14160" y="7889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2" name="Free-form: Shape 91">
            <a:extLst>
              <a:ext uri="{FF2B5EF4-FFF2-40B4-BE49-F238E27FC236}">
                <a16:creationId xmlns:a16="http://schemas.microsoft.com/office/drawing/2014/main" id="{6F9F9BE6-512A-98EE-2899-9FA3269AFC67}"/>
              </a:ext>
            </a:extLst>
          </p:cNvPr>
          <p:cNvSpPr/>
          <p:nvPr/>
        </p:nvSpPr>
        <p:spPr>
          <a:xfrm>
            <a:off x="6669179" y="4399922"/>
            <a:ext cx="129814" cy="126299"/>
          </a:xfrm>
          <a:custGeom>
            <a:avLst/>
            <a:gdLst>
              <a:gd name="csX0" fmla="*/ 10475 w 209067"/>
              <a:gd name="csY0" fmla="*/ 41718 h 203406"/>
              <a:gd name="csX1" fmla="*/ 100250 w 209067"/>
              <a:gd name="csY1" fmla="*/ 1265 h 203406"/>
              <a:gd name="csX2" fmla="*/ 206681 w 209067"/>
              <a:gd name="csY2" fmla="*/ 98526 h 203406"/>
              <a:gd name="csX3" fmla="*/ 134647 w 209067"/>
              <a:gd name="csY3" fmla="*/ 202431 h 203406"/>
              <a:gd name="csX4" fmla="*/ 40986 w 209067"/>
              <a:gd name="csY4" fmla="*/ 171438 h 203406"/>
              <a:gd name="csX5" fmla="*/ 143 w 209067"/>
              <a:gd name="csY5" fmla="*/ 85158 h 203406"/>
              <a:gd name="csX6" fmla="*/ 10475 w 209067"/>
              <a:gd name="csY6" fmla="*/ 41718 h 20340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</a:cxnLst>
            <a:rect l="l" t="t" r="r" b="b"/>
            <a:pathLst>
              <a:path w="209067" h="203406">
                <a:moveTo>
                  <a:pt x="10475" y="41718"/>
                </a:moveTo>
                <a:cubicBezTo>
                  <a:pt x="31065" y="6021"/>
                  <a:pt x="63171" y="-3865"/>
                  <a:pt x="100250" y="1265"/>
                </a:cubicBezTo>
                <a:cubicBezTo>
                  <a:pt x="157191" y="9144"/>
                  <a:pt x="196951" y="51394"/>
                  <a:pt x="206681" y="98526"/>
                </a:cubicBezTo>
                <a:cubicBezTo>
                  <a:pt x="219504" y="160635"/>
                  <a:pt x="178523" y="196657"/>
                  <a:pt x="134647" y="202431"/>
                </a:cubicBezTo>
                <a:cubicBezTo>
                  <a:pt x="98365" y="207204"/>
                  <a:pt x="68101" y="194086"/>
                  <a:pt x="40986" y="171438"/>
                </a:cubicBezTo>
                <a:cubicBezTo>
                  <a:pt x="14115" y="148994"/>
                  <a:pt x="2457" y="119007"/>
                  <a:pt x="143" y="85158"/>
                </a:cubicBezTo>
                <a:cubicBezTo>
                  <a:pt x="-869" y="70364"/>
                  <a:pt x="3586" y="56015"/>
                  <a:pt x="10475" y="41718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3" name="Free-form: Shape 92">
            <a:extLst>
              <a:ext uri="{FF2B5EF4-FFF2-40B4-BE49-F238E27FC236}">
                <a16:creationId xmlns:a16="http://schemas.microsoft.com/office/drawing/2014/main" id="{5FD4174C-B041-F2AB-83DB-D2814B768FE3}"/>
              </a:ext>
            </a:extLst>
          </p:cNvPr>
          <p:cNvSpPr/>
          <p:nvPr/>
        </p:nvSpPr>
        <p:spPr>
          <a:xfrm>
            <a:off x="6705438" y="4612960"/>
            <a:ext cx="97564" cy="25665"/>
          </a:xfrm>
          <a:custGeom>
            <a:avLst/>
            <a:gdLst>
              <a:gd name="csX0" fmla="*/ 69625 w 157129"/>
              <a:gd name="csY0" fmla="*/ 0 h 41334"/>
              <a:gd name="csX1" fmla="*/ 119596 w 157129"/>
              <a:gd name="csY1" fmla="*/ 1945 h 41334"/>
              <a:gd name="csX2" fmla="*/ 150973 w 157129"/>
              <a:gd name="csY2" fmla="*/ 14889 h 41334"/>
              <a:gd name="csX3" fmla="*/ 151351 w 157129"/>
              <a:gd name="csY3" fmla="*/ 34058 h 41334"/>
              <a:gd name="csX4" fmla="*/ 133492 w 157129"/>
              <a:gd name="csY4" fmla="*/ 40697 h 41334"/>
              <a:gd name="csX5" fmla="*/ 106556 w 157129"/>
              <a:gd name="csY5" fmla="*/ 41092 h 41334"/>
              <a:gd name="csX6" fmla="*/ 13373 w 157129"/>
              <a:gd name="csY6" fmla="*/ 40708 h 41334"/>
              <a:gd name="csX7" fmla="*/ 1312 w 157129"/>
              <a:gd name="csY7" fmla="*/ 40191 h 41334"/>
              <a:gd name="csX8" fmla="*/ 3367 w 157129"/>
              <a:gd name="csY8" fmla="*/ 13162 h 41334"/>
              <a:gd name="csX9" fmla="*/ 20752 w 157129"/>
              <a:gd name="csY9" fmla="*/ 1879 h 41334"/>
              <a:gd name="csX10" fmla="*/ 52625 w 157129"/>
              <a:gd name="csY10" fmla="*/ 1332 h 41334"/>
              <a:gd name="csX11" fmla="*/ 69625 w 157129"/>
              <a:gd name="csY11" fmla="*/ 0 h 4133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157129" h="41334">
                <a:moveTo>
                  <a:pt x="69625" y="0"/>
                </a:moveTo>
                <a:cubicBezTo>
                  <a:pt x="87054" y="491"/>
                  <a:pt x="103407" y="373"/>
                  <a:pt x="119596" y="1945"/>
                </a:cubicBezTo>
                <a:cubicBezTo>
                  <a:pt x="131020" y="3055"/>
                  <a:pt x="141713" y="7767"/>
                  <a:pt x="150973" y="14889"/>
                </a:cubicBezTo>
                <a:cubicBezTo>
                  <a:pt x="158820" y="20925"/>
                  <a:pt x="159403" y="28236"/>
                  <a:pt x="151351" y="34058"/>
                </a:cubicBezTo>
                <a:cubicBezTo>
                  <a:pt x="146355" y="37671"/>
                  <a:pt x="139678" y="39910"/>
                  <a:pt x="133492" y="40697"/>
                </a:cubicBezTo>
                <a:cubicBezTo>
                  <a:pt x="124640" y="41824"/>
                  <a:pt x="115547" y="41120"/>
                  <a:pt x="106556" y="41092"/>
                </a:cubicBezTo>
                <a:cubicBezTo>
                  <a:pt x="75495" y="40996"/>
                  <a:pt x="44434" y="40872"/>
                  <a:pt x="13373" y="40708"/>
                </a:cubicBezTo>
                <a:cubicBezTo>
                  <a:pt x="9391" y="40687"/>
                  <a:pt x="5410" y="40374"/>
                  <a:pt x="1312" y="40191"/>
                </a:cubicBezTo>
                <a:cubicBezTo>
                  <a:pt x="-1416" y="30384"/>
                  <a:pt x="523" y="21512"/>
                  <a:pt x="3367" y="13162"/>
                </a:cubicBezTo>
                <a:cubicBezTo>
                  <a:pt x="5963" y="5538"/>
                  <a:pt x="12701" y="2077"/>
                  <a:pt x="20752" y="1879"/>
                </a:cubicBezTo>
                <a:cubicBezTo>
                  <a:pt x="31375" y="1617"/>
                  <a:pt x="42004" y="1647"/>
                  <a:pt x="52625" y="1332"/>
                </a:cubicBezTo>
                <a:cubicBezTo>
                  <a:pt x="57918" y="1176"/>
                  <a:pt x="63195" y="535"/>
                  <a:pt x="69625" y="0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4" name="Free-form: Shape 93">
            <a:extLst>
              <a:ext uri="{FF2B5EF4-FFF2-40B4-BE49-F238E27FC236}">
                <a16:creationId xmlns:a16="http://schemas.microsoft.com/office/drawing/2014/main" id="{8B88FC24-0EF9-A4C2-9C50-1E1AF1D9D820}"/>
              </a:ext>
            </a:extLst>
          </p:cNvPr>
          <p:cNvSpPr/>
          <p:nvPr/>
        </p:nvSpPr>
        <p:spPr>
          <a:xfrm>
            <a:off x="6701965" y="4663847"/>
            <a:ext cx="102191" cy="241686"/>
          </a:xfrm>
          <a:custGeom>
            <a:avLst/>
            <a:gdLst>
              <a:gd name="csX0" fmla="*/ 91265 w 164579"/>
              <a:gd name="csY0" fmla="*/ 157878 h 389238"/>
              <a:gd name="csX1" fmla="*/ 112882 w 164579"/>
              <a:gd name="csY1" fmla="*/ 252738 h 389238"/>
              <a:gd name="csX2" fmla="*/ 164579 w 164579"/>
              <a:gd name="csY2" fmla="*/ 389238 h 389238"/>
              <a:gd name="csX3" fmla="*/ 0 w 164579"/>
              <a:gd name="csY3" fmla="*/ 389238 h 389238"/>
              <a:gd name="csX4" fmla="*/ 5184 w 164579"/>
              <a:gd name="csY4" fmla="*/ 260105 h 389238"/>
              <a:gd name="csX5" fmla="*/ 7989 w 164579"/>
              <a:gd name="csY5" fmla="*/ 131182 h 389238"/>
              <a:gd name="csX6" fmla="*/ 8093 w 164579"/>
              <a:gd name="csY6" fmla="*/ 2390 h 389238"/>
              <a:gd name="csX7" fmla="*/ 76429 w 164579"/>
              <a:gd name="csY7" fmla="*/ 1531 h 389238"/>
              <a:gd name="csX8" fmla="*/ 91265 w 164579"/>
              <a:gd name="csY8" fmla="*/ 157878 h 38923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</a:cxnLst>
            <a:rect l="l" t="t" r="r" b="b"/>
            <a:pathLst>
              <a:path w="164579" h="389238">
                <a:moveTo>
                  <a:pt x="91265" y="157878"/>
                </a:moveTo>
                <a:cubicBezTo>
                  <a:pt x="98425" y="190232"/>
                  <a:pt x="104539" y="221785"/>
                  <a:pt x="112882" y="252738"/>
                </a:cubicBezTo>
                <a:cubicBezTo>
                  <a:pt x="125498" y="299549"/>
                  <a:pt x="141482" y="345258"/>
                  <a:pt x="164579" y="389238"/>
                </a:cubicBezTo>
                <a:cubicBezTo>
                  <a:pt x="109753" y="389238"/>
                  <a:pt x="55706" y="389238"/>
                  <a:pt x="0" y="389238"/>
                </a:cubicBezTo>
                <a:cubicBezTo>
                  <a:pt x="1781" y="345633"/>
                  <a:pt x="3844" y="302880"/>
                  <a:pt x="5184" y="260105"/>
                </a:cubicBezTo>
                <a:cubicBezTo>
                  <a:pt x="6529" y="217143"/>
                  <a:pt x="7519" y="174162"/>
                  <a:pt x="7989" y="131182"/>
                </a:cubicBezTo>
                <a:cubicBezTo>
                  <a:pt x="8459" y="88239"/>
                  <a:pt x="8093" y="45287"/>
                  <a:pt x="8093" y="2390"/>
                </a:cubicBezTo>
                <a:cubicBezTo>
                  <a:pt x="17041" y="-288"/>
                  <a:pt x="58537" y="-913"/>
                  <a:pt x="76429" y="1531"/>
                </a:cubicBezTo>
                <a:cubicBezTo>
                  <a:pt x="79287" y="53276"/>
                  <a:pt x="82219" y="105359"/>
                  <a:pt x="91265" y="157878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5" name="Free-form: Shape 94">
            <a:extLst>
              <a:ext uri="{FF2B5EF4-FFF2-40B4-BE49-F238E27FC236}">
                <a16:creationId xmlns:a16="http://schemas.microsoft.com/office/drawing/2014/main" id="{43635CFD-686C-48D9-5D81-0B919A0AF264}"/>
              </a:ext>
            </a:extLst>
          </p:cNvPr>
          <p:cNvSpPr/>
          <p:nvPr/>
        </p:nvSpPr>
        <p:spPr>
          <a:xfrm>
            <a:off x="6703784" y="5079360"/>
            <a:ext cx="200357" cy="39865"/>
          </a:xfrm>
          <a:custGeom>
            <a:avLst/>
            <a:gdLst>
              <a:gd name="csX0" fmla="*/ 199184 w 322677"/>
              <a:gd name="csY0" fmla="*/ 59136 h 64202"/>
              <a:gd name="csX1" fmla="*/ 0 w 322677"/>
              <a:gd name="csY1" fmla="*/ 62697 h 64202"/>
              <a:gd name="csX2" fmla="*/ 0 w 322677"/>
              <a:gd name="csY2" fmla="*/ 18400 h 64202"/>
              <a:gd name="csX3" fmla="*/ 10601 w 322677"/>
              <a:gd name="csY3" fmla="*/ 17750 h 64202"/>
              <a:gd name="csX4" fmla="*/ 156563 w 322677"/>
              <a:gd name="csY4" fmla="*/ 15074 h 64202"/>
              <a:gd name="csX5" fmla="*/ 266479 w 322677"/>
              <a:gd name="csY5" fmla="*/ 4814 h 64202"/>
              <a:gd name="csX6" fmla="*/ 296798 w 322677"/>
              <a:gd name="csY6" fmla="*/ 344 h 64202"/>
              <a:gd name="csX7" fmla="*/ 309983 w 322677"/>
              <a:gd name="csY7" fmla="*/ 6097 h 64202"/>
              <a:gd name="csX8" fmla="*/ 322678 w 322677"/>
              <a:gd name="csY8" fmla="*/ 40406 h 64202"/>
              <a:gd name="csX9" fmla="*/ 199184 w 322677"/>
              <a:gd name="csY9" fmla="*/ 59136 h 6420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322677" h="64202">
                <a:moveTo>
                  <a:pt x="199184" y="59136"/>
                </a:moveTo>
                <a:cubicBezTo>
                  <a:pt x="132374" y="65824"/>
                  <a:pt x="66629" y="64605"/>
                  <a:pt x="0" y="62697"/>
                </a:cubicBezTo>
                <a:cubicBezTo>
                  <a:pt x="0" y="47160"/>
                  <a:pt x="0" y="33409"/>
                  <a:pt x="0" y="18400"/>
                </a:cubicBezTo>
                <a:cubicBezTo>
                  <a:pt x="3587" y="18160"/>
                  <a:pt x="7120" y="17536"/>
                  <a:pt x="10601" y="17750"/>
                </a:cubicBezTo>
                <a:cubicBezTo>
                  <a:pt x="59329" y="20736"/>
                  <a:pt x="107987" y="18533"/>
                  <a:pt x="156563" y="15074"/>
                </a:cubicBezTo>
                <a:cubicBezTo>
                  <a:pt x="193260" y="12461"/>
                  <a:pt x="229860" y="8449"/>
                  <a:pt x="266479" y="4814"/>
                </a:cubicBezTo>
                <a:cubicBezTo>
                  <a:pt x="276635" y="3806"/>
                  <a:pt x="286748" y="2160"/>
                  <a:pt x="296798" y="344"/>
                </a:cubicBezTo>
                <a:cubicBezTo>
                  <a:pt x="302773" y="-735"/>
                  <a:pt x="306536" y="602"/>
                  <a:pt x="309983" y="6097"/>
                </a:cubicBezTo>
                <a:cubicBezTo>
                  <a:pt x="316405" y="16331"/>
                  <a:pt x="320231" y="27243"/>
                  <a:pt x="322678" y="40406"/>
                </a:cubicBezTo>
                <a:cubicBezTo>
                  <a:pt x="281944" y="49611"/>
                  <a:pt x="241309" y="55431"/>
                  <a:pt x="199184" y="59136"/>
                </a:cubicBezTo>
                <a:close/>
              </a:path>
            </a:pathLst>
          </a:custGeom>
          <a:solidFill>
            <a:schemeClr val="bg1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FF00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B7E4AA74-4344-9B9C-1FBD-76D5AE89BE1B}"/>
              </a:ext>
            </a:extLst>
          </p:cNvPr>
          <p:cNvSpPr txBox="1"/>
          <p:nvPr/>
        </p:nvSpPr>
        <p:spPr>
          <a:xfrm>
            <a:off x="6251884" y="5294477"/>
            <a:ext cx="863983" cy="3927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-</a:t>
            </a:r>
            <a:r>
              <a: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HAOx</a:t>
            </a: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06878415-0142-DE14-F075-410FE58A5A51}"/>
              </a:ext>
            </a:extLst>
          </p:cNvPr>
          <p:cNvSpPr txBox="1"/>
          <p:nvPr/>
        </p:nvSpPr>
        <p:spPr>
          <a:xfrm>
            <a:off x="524256" y="5300465"/>
            <a:ext cx="3409569" cy="646331"/>
          </a:xfrm>
          <a:prstGeom prst="rect">
            <a:avLst/>
          </a:prstGeom>
          <a:solidFill>
            <a:schemeClr val="accent1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ual CD19/20 loss</a:t>
            </a:r>
            <a:b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fter CAR-T</a:t>
            </a: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5E755E18-28CB-DAE5-8BFB-53B972212799}"/>
              </a:ext>
            </a:extLst>
          </p:cNvPr>
          <p:cNvSpPr txBox="1"/>
          <p:nvPr/>
        </p:nvSpPr>
        <p:spPr>
          <a:xfrm>
            <a:off x="524256" y="4906387"/>
            <a:ext cx="3369381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linical consideration</a:t>
            </a:r>
          </a:p>
        </p:txBody>
      </p:sp>
      <p:sp>
        <p:nvSpPr>
          <p:cNvPr id="99" name="Rectangle: Rounded Corners 98">
            <a:extLst>
              <a:ext uri="{FF2B5EF4-FFF2-40B4-BE49-F238E27FC236}">
                <a16:creationId xmlns:a16="http://schemas.microsoft.com/office/drawing/2014/main" id="{29030ED9-F328-DABF-AD1F-0DE07FEDEF22}"/>
              </a:ext>
            </a:extLst>
          </p:cNvPr>
          <p:cNvSpPr/>
          <p:nvPr/>
        </p:nvSpPr>
        <p:spPr>
          <a:xfrm>
            <a:off x="543122" y="1329588"/>
            <a:ext cx="3378180" cy="3518791"/>
          </a:xfrm>
          <a:prstGeom prst="roundRect">
            <a:avLst>
              <a:gd name="adj" fmla="val 4179"/>
            </a:avLst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0" name="Oval 99">
            <a:extLst>
              <a:ext uri="{FF2B5EF4-FFF2-40B4-BE49-F238E27FC236}">
                <a16:creationId xmlns:a16="http://schemas.microsoft.com/office/drawing/2014/main" id="{6CC685DB-74D5-677C-9412-7C14F90DFEB9}"/>
              </a:ext>
            </a:extLst>
          </p:cNvPr>
          <p:cNvSpPr/>
          <p:nvPr/>
        </p:nvSpPr>
        <p:spPr>
          <a:xfrm>
            <a:off x="1211997" y="2668760"/>
            <a:ext cx="593138" cy="104135"/>
          </a:xfrm>
          <a:prstGeom prst="ellipse">
            <a:avLst/>
          </a:prstGeom>
          <a:solidFill>
            <a:schemeClr val="tx1">
              <a:alpha val="6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1" name="Free-form: Shape 100">
            <a:extLst>
              <a:ext uri="{FF2B5EF4-FFF2-40B4-BE49-F238E27FC236}">
                <a16:creationId xmlns:a16="http://schemas.microsoft.com/office/drawing/2014/main" id="{D6887ED8-30B3-62C8-9FC0-315A46D01CC3}"/>
              </a:ext>
            </a:extLst>
          </p:cNvPr>
          <p:cNvSpPr/>
          <p:nvPr/>
        </p:nvSpPr>
        <p:spPr>
          <a:xfrm>
            <a:off x="1310663" y="1988109"/>
            <a:ext cx="433137" cy="770022"/>
          </a:xfrm>
          <a:custGeom>
            <a:avLst/>
            <a:gdLst>
              <a:gd name="csX0" fmla="*/ 581793 w 697572"/>
              <a:gd name="csY0" fmla="*/ 1234401 h 1240128"/>
              <a:gd name="csX1" fmla="*/ 577427 w 697572"/>
              <a:gd name="csY1" fmla="*/ 1234156 h 1240128"/>
              <a:gd name="csX2" fmla="*/ 559133 w 697572"/>
              <a:gd name="csY2" fmla="*/ 1230909 h 1240128"/>
              <a:gd name="csX3" fmla="*/ 516706 w 697572"/>
              <a:gd name="csY3" fmla="*/ 1235117 h 1240128"/>
              <a:gd name="csX4" fmla="*/ 475244 w 697572"/>
              <a:gd name="csY4" fmla="*/ 1237506 h 1240128"/>
              <a:gd name="csX5" fmla="*/ 371154 w 697572"/>
              <a:gd name="csY5" fmla="*/ 1239428 h 1240128"/>
              <a:gd name="csX6" fmla="*/ 276813 w 697572"/>
              <a:gd name="csY6" fmla="*/ 1237654 h 1240128"/>
              <a:gd name="csX7" fmla="*/ 268212 w 697572"/>
              <a:gd name="csY7" fmla="*/ 1237635 h 1240128"/>
              <a:gd name="csX8" fmla="*/ 262072 w 697572"/>
              <a:gd name="csY8" fmla="*/ 1237523 h 1240128"/>
              <a:gd name="csX9" fmla="*/ 195111 w 697572"/>
              <a:gd name="csY9" fmla="*/ 1232775 h 1240128"/>
              <a:gd name="csX10" fmla="*/ 145060 w 697572"/>
              <a:gd name="csY10" fmla="*/ 1230076 h 1240128"/>
              <a:gd name="csX11" fmla="*/ 114933 w 697572"/>
              <a:gd name="csY11" fmla="*/ 1225832 h 1240128"/>
              <a:gd name="csX12" fmla="*/ 72642 w 697572"/>
              <a:gd name="csY12" fmla="*/ 1220237 h 1240128"/>
              <a:gd name="csX13" fmla="*/ 10894 w 697572"/>
              <a:gd name="csY13" fmla="*/ 1205737 h 1240128"/>
              <a:gd name="csX14" fmla="*/ 5856 w 697572"/>
              <a:gd name="csY14" fmla="*/ 1202799 h 1240128"/>
              <a:gd name="csX15" fmla="*/ 40 w 697572"/>
              <a:gd name="csY15" fmla="*/ 1174450 h 1240128"/>
              <a:gd name="csX16" fmla="*/ 19831 w 697572"/>
              <a:gd name="csY16" fmla="*/ 1118410 h 1240128"/>
              <a:gd name="csX17" fmla="*/ 22004 w 697572"/>
              <a:gd name="csY17" fmla="*/ 1107240 h 1240128"/>
              <a:gd name="csX18" fmla="*/ 25947 w 697572"/>
              <a:gd name="csY18" fmla="*/ 1038650 h 1240128"/>
              <a:gd name="csX19" fmla="*/ 58234 w 697572"/>
              <a:gd name="csY19" fmla="*/ 988567 h 1240128"/>
              <a:gd name="csX20" fmla="*/ 118645 w 697572"/>
              <a:gd name="csY20" fmla="*/ 928298 h 1240128"/>
              <a:gd name="csX21" fmla="*/ 126320 w 697572"/>
              <a:gd name="csY21" fmla="*/ 892015 h 1240128"/>
              <a:gd name="csX22" fmla="*/ 120345 w 697572"/>
              <a:gd name="csY22" fmla="*/ 872258 h 1240128"/>
              <a:gd name="csX23" fmla="*/ 125668 w 697572"/>
              <a:gd name="csY23" fmla="*/ 861640 h 1240128"/>
              <a:gd name="csX24" fmla="*/ 154237 w 697572"/>
              <a:gd name="csY24" fmla="*/ 850716 h 1240128"/>
              <a:gd name="csX25" fmla="*/ 170248 w 697572"/>
              <a:gd name="csY25" fmla="*/ 836767 h 1240128"/>
              <a:gd name="csX26" fmla="*/ 187840 w 697572"/>
              <a:gd name="csY26" fmla="*/ 796341 h 1240128"/>
              <a:gd name="csX27" fmla="*/ 209346 w 697572"/>
              <a:gd name="csY27" fmla="*/ 743126 h 1240128"/>
              <a:gd name="csX28" fmla="*/ 210630 w 697572"/>
              <a:gd name="csY28" fmla="*/ 737219 h 1240128"/>
              <a:gd name="csX29" fmla="*/ 213836 w 697572"/>
              <a:gd name="csY29" fmla="*/ 720505 h 1240128"/>
              <a:gd name="csX30" fmla="*/ 227791 w 697572"/>
              <a:gd name="csY30" fmla="*/ 667353 h 1240128"/>
              <a:gd name="csX31" fmla="*/ 241013 w 697572"/>
              <a:gd name="csY31" fmla="*/ 599151 h 1240128"/>
              <a:gd name="csX32" fmla="*/ 247322 w 697572"/>
              <a:gd name="csY32" fmla="*/ 542242 h 1240128"/>
              <a:gd name="csX33" fmla="*/ 247948 w 697572"/>
              <a:gd name="csY33" fmla="*/ 499296 h 1240128"/>
              <a:gd name="csX34" fmla="*/ 247577 w 697572"/>
              <a:gd name="csY34" fmla="*/ 470384 h 1240128"/>
              <a:gd name="csX35" fmla="*/ 238877 w 697572"/>
              <a:gd name="csY35" fmla="*/ 460987 h 1240128"/>
              <a:gd name="csX36" fmla="*/ 222040 w 697572"/>
              <a:gd name="csY36" fmla="*/ 458353 h 1240128"/>
              <a:gd name="csX37" fmla="*/ 172193 w 697572"/>
              <a:gd name="csY37" fmla="*/ 433714 h 1240128"/>
              <a:gd name="csX38" fmla="*/ 168410 w 697572"/>
              <a:gd name="csY38" fmla="*/ 396591 h 1240128"/>
              <a:gd name="csX39" fmla="*/ 209826 w 697572"/>
              <a:gd name="csY39" fmla="*/ 367773 h 1240128"/>
              <a:gd name="csX40" fmla="*/ 250732 w 697572"/>
              <a:gd name="csY40" fmla="*/ 355208 h 1240128"/>
              <a:gd name="csX41" fmla="*/ 258289 w 697572"/>
              <a:gd name="csY41" fmla="*/ 350426 h 1240128"/>
              <a:gd name="csX42" fmla="*/ 233274 w 697572"/>
              <a:gd name="csY42" fmla="*/ 333513 h 1240128"/>
              <a:gd name="csX43" fmla="*/ 229677 w 697572"/>
              <a:gd name="csY43" fmla="*/ 333922 h 1240128"/>
              <a:gd name="csX44" fmla="*/ 230149 w 697572"/>
              <a:gd name="csY44" fmla="*/ 332979 h 1240128"/>
              <a:gd name="csX45" fmla="*/ 227053 w 697572"/>
              <a:gd name="csY45" fmla="*/ 327076 h 1240128"/>
              <a:gd name="csX46" fmla="*/ 196769 w 697572"/>
              <a:gd name="csY46" fmla="*/ 291380 h 1240128"/>
              <a:gd name="csX47" fmla="*/ 184389 w 697572"/>
              <a:gd name="csY47" fmla="*/ 264042 h 1240128"/>
              <a:gd name="csX48" fmla="*/ 180630 w 697572"/>
              <a:gd name="csY48" fmla="*/ 257839 h 1240128"/>
              <a:gd name="csX49" fmla="*/ 176231 w 697572"/>
              <a:gd name="csY49" fmla="*/ 250643 h 1240128"/>
              <a:gd name="csX50" fmla="*/ 170073 w 697572"/>
              <a:gd name="csY50" fmla="*/ 146723 h 1240128"/>
              <a:gd name="csX51" fmla="*/ 180929 w 697572"/>
              <a:gd name="csY51" fmla="*/ 114280 h 1240128"/>
              <a:gd name="csX52" fmla="*/ 180839 w 697572"/>
              <a:gd name="csY52" fmla="*/ 101501 h 1240128"/>
              <a:gd name="csX53" fmla="*/ 233536 w 697572"/>
              <a:gd name="csY53" fmla="*/ 39653 h 1240128"/>
              <a:gd name="csX54" fmla="*/ 347618 w 697572"/>
              <a:gd name="csY54" fmla="*/ 35 h 1240128"/>
              <a:gd name="csX55" fmla="*/ 437139 w 697572"/>
              <a:gd name="csY55" fmla="*/ 22396 h 1240128"/>
              <a:gd name="csX56" fmla="*/ 529052 w 697572"/>
              <a:gd name="csY56" fmla="*/ 131093 h 1240128"/>
              <a:gd name="csX57" fmla="*/ 518497 w 697572"/>
              <a:gd name="csY57" fmla="*/ 271517 h 1240128"/>
              <a:gd name="csX58" fmla="*/ 500808 w 697572"/>
              <a:gd name="csY58" fmla="*/ 287385 h 1240128"/>
              <a:gd name="csX59" fmla="*/ 472948 w 697572"/>
              <a:gd name="csY59" fmla="*/ 323290 h 1240128"/>
              <a:gd name="csX60" fmla="*/ 469385 w 697572"/>
              <a:gd name="csY60" fmla="*/ 331565 h 1240128"/>
              <a:gd name="csX61" fmla="*/ 468293 w 697572"/>
              <a:gd name="csY61" fmla="*/ 331320 h 1240128"/>
              <a:gd name="csX62" fmla="*/ 459542 w 697572"/>
              <a:gd name="csY62" fmla="*/ 338942 h 1240128"/>
              <a:gd name="csX63" fmla="*/ 458492 w 697572"/>
              <a:gd name="csY63" fmla="*/ 338671 h 1240128"/>
              <a:gd name="csX64" fmla="*/ 436978 w 697572"/>
              <a:gd name="csY64" fmla="*/ 352226 h 1240128"/>
              <a:gd name="csX65" fmla="*/ 472329 w 697572"/>
              <a:gd name="csY65" fmla="*/ 362890 h 1240128"/>
              <a:gd name="csX66" fmla="*/ 523779 w 697572"/>
              <a:gd name="csY66" fmla="*/ 391962 h 1240128"/>
              <a:gd name="csX67" fmla="*/ 527344 w 697572"/>
              <a:gd name="csY67" fmla="*/ 430096 h 1240128"/>
              <a:gd name="csX68" fmla="*/ 504112 w 697572"/>
              <a:gd name="csY68" fmla="*/ 449628 h 1240128"/>
              <a:gd name="csX69" fmla="*/ 459430 w 697572"/>
              <a:gd name="csY69" fmla="*/ 461116 h 1240128"/>
              <a:gd name="csX70" fmla="*/ 446666 w 697572"/>
              <a:gd name="csY70" fmla="*/ 474229 h 1240128"/>
              <a:gd name="csX71" fmla="*/ 449133 w 697572"/>
              <a:gd name="csY71" fmla="*/ 531639 h 1240128"/>
              <a:gd name="csX72" fmla="*/ 454546 w 697572"/>
              <a:gd name="csY72" fmla="*/ 588688 h 1240128"/>
              <a:gd name="csX73" fmla="*/ 466126 w 697572"/>
              <a:gd name="csY73" fmla="*/ 649736 h 1240128"/>
              <a:gd name="csX74" fmla="*/ 512154 w 697572"/>
              <a:gd name="csY74" fmla="*/ 794006 h 1240128"/>
              <a:gd name="csX75" fmla="*/ 525763 w 697572"/>
              <a:gd name="csY75" fmla="*/ 834323 h 1240128"/>
              <a:gd name="csX76" fmla="*/ 530555 w 697572"/>
              <a:gd name="csY76" fmla="*/ 845114 h 1240128"/>
              <a:gd name="csX77" fmla="*/ 554424 w 697572"/>
              <a:gd name="csY77" fmla="*/ 856618 h 1240128"/>
              <a:gd name="csX78" fmla="*/ 572880 w 697572"/>
              <a:gd name="csY78" fmla="*/ 862546 h 1240128"/>
              <a:gd name="csX79" fmla="*/ 578643 w 697572"/>
              <a:gd name="csY79" fmla="*/ 880396 h 1240128"/>
              <a:gd name="csX80" fmla="*/ 572188 w 697572"/>
              <a:gd name="csY80" fmla="*/ 899820 h 1240128"/>
              <a:gd name="csX81" fmla="*/ 582698 w 697572"/>
              <a:gd name="csY81" fmla="*/ 930382 h 1240128"/>
              <a:gd name="csX82" fmla="*/ 604747 w 697572"/>
              <a:gd name="csY82" fmla="*/ 960852 h 1240128"/>
              <a:gd name="csX83" fmla="*/ 613863 w 697572"/>
              <a:gd name="csY83" fmla="*/ 968311 h 1240128"/>
              <a:gd name="csX84" fmla="*/ 629435 w 697572"/>
              <a:gd name="csY84" fmla="*/ 981186 h 1240128"/>
              <a:gd name="csX85" fmla="*/ 633611 w 697572"/>
              <a:gd name="csY85" fmla="*/ 985609 h 1240128"/>
              <a:gd name="csX86" fmla="*/ 673790 w 697572"/>
              <a:gd name="csY86" fmla="*/ 1049348 h 1240128"/>
              <a:gd name="csX87" fmla="*/ 675873 w 697572"/>
              <a:gd name="csY87" fmla="*/ 1092839 h 1240128"/>
              <a:gd name="csX88" fmla="*/ 681668 w 697572"/>
              <a:gd name="csY88" fmla="*/ 1129292 h 1240128"/>
              <a:gd name="csX89" fmla="*/ 697338 w 697572"/>
              <a:gd name="csY89" fmla="*/ 1196079 h 1240128"/>
              <a:gd name="csX90" fmla="*/ 690637 w 697572"/>
              <a:gd name="csY90" fmla="*/ 1205035 h 1240128"/>
              <a:gd name="csX91" fmla="*/ 639777 w 697572"/>
              <a:gd name="csY91" fmla="*/ 1217994 h 1240128"/>
              <a:gd name="csX92" fmla="*/ 587072 w 697572"/>
              <a:gd name="csY92" fmla="*/ 1227761 h 1240128"/>
              <a:gd name="csX93" fmla="*/ 581793 w 697572"/>
              <a:gd name="csY93" fmla="*/ 1234401 h 1240128"/>
              <a:gd name="csX94" fmla="*/ 357446 w 697572"/>
              <a:gd name="csY94" fmla="*/ 903795 h 1240128"/>
              <a:gd name="csX95" fmla="*/ 344445 w 697572"/>
              <a:gd name="csY95" fmla="*/ 903795 h 1240128"/>
              <a:gd name="csX96" fmla="*/ 349212 w 697572"/>
              <a:gd name="csY96" fmla="*/ 950515 h 1240128"/>
              <a:gd name="csX97" fmla="*/ 349538 w 697572"/>
              <a:gd name="csY97" fmla="*/ 1069392 h 1240128"/>
              <a:gd name="csX98" fmla="*/ 349415 w 697572"/>
              <a:gd name="csY98" fmla="*/ 1108925 h 1240128"/>
              <a:gd name="csX99" fmla="*/ 647726 w 697572"/>
              <a:gd name="csY99" fmla="*/ 1089872 h 1240128"/>
              <a:gd name="csX100" fmla="*/ 647654 w 697572"/>
              <a:gd name="csY100" fmla="*/ 1076267 h 1240128"/>
              <a:gd name="csX101" fmla="*/ 610267 w 697572"/>
              <a:gd name="csY101" fmla="*/ 994126 h 1240128"/>
              <a:gd name="csX102" fmla="*/ 571459 w 697572"/>
              <a:gd name="csY102" fmla="*/ 956568 h 1240128"/>
              <a:gd name="csX103" fmla="*/ 541653 w 697572"/>
              <a:gd name="csY103" fmla="*/ 901544 h 1240128"/>
              <a:gd name="csX104" fmla="*/ 539477 w 697572"/>
              <a:gd name="csY104" fmla="*/ 895908 h 1240128"/>
              <a:gd name="csX105" fmla="*/ 357446 w 697572"/>
              <a:gd name="csY105" fmla="*/ 903795 h 1240128"/>
              <a:gd name="csX106" fmla="*/ 300108 w 697572"/>
              <a:gd name="csY106" fmla="*/ 85260 h 1240128"/>
              <a:gd name="csX107" fmla="*/ 290213 w 697572"/>
              <a:gd name="csY107" fmla="*/ 127888 h 1240128"/>
              <a:gd name="csX108" fmla="*/ 331056 w 697572"/>
              <a:gd name="csY108" fmla="*/ 214168 h 1240128"/>
              <a:gd name="csX109" fmla="*/ 424717 w 697572"/>
              <a:gd name="csY109" fmla="*/ 245160 h 1240128"/>
              <a:gd name="csX110" fmla="*/ 496752 w 697572"/>
              <a:gd name="csY110" fmla="*/ 141256 h 1240128"/>
              <a:gd name="csX111" fmla="*/ 390320 w 697572"/>
              <a:gd name="csY111" fmla="*/ 43995 h 1240128"/>
              <a:gd name="csX112" fmla="*/ 300108 w 697572"/>
              <a:gd name="csY112" fmla="*/ 85260 h 1240128"/>
              <a:gd name="csX113" fmla="*/ 343360 w 697572"/>
              <a:gd name="csY113" fmla="*/ 634332 h 1240128"/>
              <a:gd name="csX114" fmla="*/ 340877 w 697572"/>
              <a:gd name="csY114" fmla="*/ 732259 h 1240128"/>
              <a:gd name="csX115" fmla="*/ 338360 w 697572"/>
              <a:gd name="csY115" fmla="*/ 810538 h 1240128"/>
              <a:gd name="csX116" fmla="*/ 337115 w 697572"/>
              <a:gd name="csY116" fmla="*/ 817736 h 1240128"/>
              <a:gd name="csX117" fmla="*/ 336516 w 697572"/>
              <a:gd name="csY117" fmla="*/ 863022 h 1240128"/>
              <a:gd name="csX118" fmla="*/ 343436 w 697572"/>
              <a:gd name="csY118" fmla="*/ 864027 h 1240128"/>
              <a:gd name="csX119" fmla="*/ 406718 w 697572"/>
              <a:gd name="csY119" fmla="*/ 862982 h 1240128"/>
              <a:gd name="csX120" fmla="*/ 456888 w 697572"/>
              <a:gd name="csY120" fmla="*/ 861794 h 1240128"/>
              <a:gd name="csX121" fmla="*/ 495873 w 697572"/>
              <a:gd name="csY121" fmla="*/ 863963 h 1240128"/>
              <a:gd name="csX122" fmla="*/ 509286 w 697572"/>
              <a:gd name="csY122" fmla="*/ 863595 h 1240128"/>
              <a:gd name="csX123" fmla="*/ 516956 w 697572"/>
              <a:gd name="csY123" fmla="*/ 856791 h 1240128"/>
              <a:gd name="csX124" fmla="*/ 513920 w 697572"/>
              <a:gd name="csY124" fmla="*/ 848709 h 1240128"/>
              <a:gd name="csX125" fmla="*/ 506683 w 697572"/>
              <a:gd name="csY125" fmla="*/ 839054 h 1240128"/>
              <a:gd name="csX126" fmla="*/ 488629 w 697572"/>
              <a:gd name="csY126" fmla="*/ 799037 h 1240128"/>
              <a:gd name="csX127" fmla="*/ 456922 w 697572"/>
              <a:gd name="csY127" fmla="*/ 696297 h 1240128"/>
              <a:gd name="csX128" fmla="*/ 441346 w 697572"/>
              <a:gd name="csY128" fmla="*/ 619885 h 1240128"/>
              <a:gd name="csX129" fmla="*/ 435963 w 697572"/>
              <a:gd name="csY129" fmla="*/ 582529 h 1240128"/>
              <a:gd name="csX130" fmla="*/ 429497 w 697572"/>
              <a:gd name="csY130" fmla="*/ 521990 h 1240128"/>
              <a:gd name="csX131" fmla="*/ 426887 w 697572"/>
              <a:gd name="csY131" fmla="*/ 471989 h 1240128"/>
              <a:gd name="csX132" fmla="*/ 413744 w 697572"/>
              <a:gd name="csY132" fmla="*/ 461077 h 1240128"/>
              <a:gd name="csX133" fmla="*/ 353573 w 697572"/>
              <a:gd name="csY133" fmla="*/ 461120 h 1240128"/>
              <a:gd name="csX134" fmla="*/ 344160 w 697572"/>
              <a:gd name="csY134" fmla="*/ 462286 h 1240128"/>
              <a:gd name="csX135" fmla="*/ 343404 w 697572"/>
              <a:gd name="csY135" fmla="*/ 469192 h 1240128"/>
              <a:gd name="csX136" fmla="*/ 343469 w 697572"/>
              <a:gd name="csY136" fmla="*/ 574797 h 1240128"/>
              <a:gd name="csX137" fmla="*/ 345522 w 697572"/>
              <a:gd name="csY137" fmla="*/ 591669 h 1240128"/>
              <a:gd name="csX138" fmla="*/ 343360 w 697572"/>
              <a:gd name="csY138" fmla="*/ 634332 h 1240128"/>
              <a:gd name="csX139" fmla="*/ 416946 w 697572"/>
              <a:gd name="csY139" fmla="*/ 385943 h 1240128"/>
              <a:gd name="csX140" fmla="*/ 401091 w 697572"/>
              <a:gd name="csY140" fmla="*/ 387162 h 1240128"/>
              <a:gd name="csX141" fmla="*/ 369218 w 697572"/>
              <a:gd name="csY141" fmla="*/ 387708 h 1240128"/>
              <a:gd name="csX142" fmla="*/ 351833 w 697572"/>
              <a:gd name="csY142" fmla="*/ 398991 h 1240128"/>
              <a:gd name="csX143" fmla="*/ 349778 w 697572"/>
              <a:gd name="csY143" fmla="*/ 426021 h 1240128"/>
              <a:gd name="csX144" fmla="*/ 361839 w 697572"/>
              <a:gd name="csY144" fmla="*/ 426538 h 1240128"/>
              <a:gd name="csX145" fmla="*/ 455022 w 697572"/>
              <a:gd name="csY145" fmla="*/ 426922 h 1240128"/>
              <a:gd name="csX146" fmla="*/ 481958 w 697572"/>
              <a:gd name="csY146" fmla="*/ 426527 h 1240128"/>
              <a:gd name="csX147" fmla="*/ 499817 w 697572"/>
              <a:gd name="csY147" fmla="*/ 419888 h 1240128"/>
              <a:gd name="csX148" fmla="*/ 499439 w 697572"/>
              <a:gd name="csY148" fmla="*/ 400719 h 1240128"/>
              <a:gd name="csX149" fmla="*/ 468062 w 697572"/>
              <a:gd name="csY149" fmla="*/ 387775 h 1240128"/>
              <a:gd name="csX150" fmla="*/ 416946 w 697572"/>
              <a:gd name="csY150" fmla="*/ 385943 h 1240128"/>
              <a:gd name="csX151" fmla="*/ 636802 w 697572"/>
              <a:gd name="csY151" fmla="*/ 1190940 h 1240128"/>
              <a:gd name="csX152" fmla="*/ 666492 w 697572"/>
              <a:gd name="csY152" fmla="*/ 1184186 h 1240128"/>
              <a:gd name="csX153" fmla="*/ 674465 w 697572"/>
              <a:gd name="csY153" fmla="*/ 1170880 h 1240128"/>
              <a:gd name="csX154" fmla="*/ 662462 w 697572"/>
              <a:gd name="csY154" fmla="*/ 1141464 h 1240128"/>
              <a:gd name="csX155" fmla="*/ 645564 w 697572"/>
              <a:gd name="csY155" fmla="*/ 1131937 h 1240128"/>
              <a:gd name="csX156" fmla="*/ 627387 w 697572"/>
              <a:gd name="csY156" fmla="*/ 1133618 h 1240128"/>
              <a:gd name="csX157" fmla="*/ 583917 w 697572"/>
              <a:gd name="csY157" fmla="*/ 1139222 h 1240128"/>
              <a:gd name="csX158" fmla="*/ 543741 w 697572"/>
              <a:gd name="csY158" fmla="*/ 1141869 h 1240128"/>
              <a:gd name="csX159" fmla="*/ 512146 w 697572"/>
              <a:gd name="csY159" fmla="*/ 1144418 h 1240128"/>
              <a:gd name="csX160" fmla="*/ 447711 w 697572"/>
              <a:gd name="csY160" fmla="*/ 1148973 h 1240128"/>
              <a:gd name="csX161" fmla="*/ 351979 w 697572"/>
              <a:gd name="csY161" fmla="*/ 1149200 h 1240128"/>
              <a:gd name="csX162" fmla="*/ 338443 w 697572"/>
              <a:gd name="csY162" fmla="*/ 1150040 h 1240128"/>
              <a:gd name="csX163" fmla="*/ 338451 w 697572"/>
              <a:gd name="csY163" fmla="*/ 1190780 h 1240128"/>
              <a:gd name="csX164" fmla="*/ 351082 w 697572"/>
              <a:gd name="csY164" fmla="*/ 1207015 h 1240128"/>
              <a:gd name="csX165" fmla="*/ 358298 w 697572"/>
              <a:gd name="csY165" fmla="*/ 1208094 h 1240128"/>
              <a:gd name="csX166" fmla="*/ 521229 w 697572"/>
              <a:gd name="csY166" fmla="*/ 1205646 h 1240128"/>
              <a:gd name="csX167" fmla="*/ 523675 w 697572"/>
              <a:gd name="csY167" fmla="*/ 1205490 h 1240128"/>
              <a:gd name="csX168" fmla="*/ 580423 w 697572"/>
              <a:gd name="csY168" fmla="*/ 1198350 h 1240128"/>
              <a:gd name="csX169" fmla="*/ 636802 w 697572"/>
              <a:gd name="csY169" fmla="*/ 1190940 h 124012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</a:cxnLst>
            <a:rect l="l" t="t" r="r" b="b"/>
            <a:pathLst>
              <a:path w="697572" h="1240128">
                <a:moveTo>
                  <a:pt x="581793" y="1234401"/>
                </a:moveTo>
                <a:cubicBezTo>
                  <a:pt x="580693" y="1234661"/>
                  <a:pt x="579594" y="1234922"/>
                  <a:pt x="577427" y="1234156"/>
                </a:cubicBezTo>
                <a:cubicBezTo>
                  <a:pt x="571216" y="1227899"/>
                  <a:pt x="564912" y="1230441"/>
                  <a:pt x="559133" y="1230909"/>
                </a:cubicBezTo>
                <a:cubicBezTo>
                  <a:pt x="544971" y="1232056"/>
                  <a:pt x="530869" y="1233971"/>
                  <a:pt x="516706" y="1235117"/>
                </a:cubicBezTo>
                <a:cubicBezTo>
                  <a:pt x="502910" y="1236232"/>
                  <a:pt x="489077" y="1237097"/>
                  <a:pt x="475244" y="1237506"/>
                </a:cubicBezTo>
                <a:cubicBezTo>
                  <a:pt x="440539" y="1238535"/>
                  <a:pt x="405696" y="1241458"/>
                  <a:pt x="371154" y="1239428"/>
                </a:cubicBezTo>
                <a:cubicBezTo>
                  <a:pt x="339645" y="1237575"/>
                  <a:pt x="308239" y="1238753"/>
                  <a:pt x="276813" y="1237654"/>
                </a:cubicBezTo>
                <a:cubicBezTo>
                  <a:pt x="273949" y="1237553"/>
                  <a:pt x="271079" y="1237652"/>
                  <a:pt x="268212" y="1237635"/>
                </a:cubicBezTo>
                <a:cubicBezTo>
                  <a:pt x="266165" y="1237623"/>
                  <a:pt x="264111" y="1237668"/>
                  <a:pt x="262072" y="1237523"/>
                </a:cubicBezTo>
                <a:cubicBezTo>
                  <a:pt x="239751" y="1235944"/>
                  <a:pt x="217441" y="1234201"/>
                  <a:pt x="195111" y="1232775"/>
                </a:cubicBezTo>
                <a:cubicBezTo>
                  <a:pt x="178437" y="1231710"/>
                  <a:pt x="161712" y="1231378"/>
                  <a:pt x="145060" y="1230076"/>
                </a:cubicBezTo>
                <a:cubicBezTo>
                  <a:pt x="134969" y="1229287"/>
                  <a:pt x="124987" y="1227177"/>
                  <a:pt x="114933" y="1225832"/>
                </a:cubicBezTo>
                <a:cubicBezTo>
                  <a:pt x="100834" y="1223946"/>
                  <a:pt x="86554" y="1223022"/>
                  <a:pt x="72642" y="1220237"/>
                </a:cubicBezTo>
                <a:cubicBezTo>
                  <a:pt x="51920" y="1216091"/>
                  <a:pt x="31443" y="1210723"/>
                  <a:pt x="10894" y="1205737"/>
                </a:cubicBezTo>
                <a:cubicBezTo>
                  <a:pt x="9027" y="1205284"/>
                  <a:pt x="6196" y="1204140"/>
                  <a:pt x="5856" y="1202799"/>
                </a:cubicBezTo>
                <a:cubicBezTo>
                  <a:pt x="3474" y="1193418"/>
                  <a:pt x="-438" y="1183796"/>
                  <a:pt x="40" y="1174450"/>
                </a:cubicBezTo>
                <a:cubicBezTo>
                  <a:pt x="1079" y="1154149"/>
                  <a:pt x="9757" y="1135843"/>
                  <a:pt x="19831" y="1118410"/>
                </a:cubicBezTo>
                <a:cubicBezTo>
                  <a:pt x="21968" y="1114713"/>
                  <a:pt x="22970" y="1111858"/>
                  <a:pt x="22004" y="1107240"/>
                </a:cubicBezTo>
                <a:cubicBezTo>
                  <a:pt x="17168" y="1084118"/>
                  <a:pt x="17717" y="1061168"/>
                  <a:pt x="25947" y="1038650"/>
                </a:cubicBezTo>
                <a:cubicBezTo>
                  <a:pt x="32954" y="1019481"/>
                  <a:pt x="44478" y="1003118"/>
                  <a:pt x="58234" y="988567"/>
                </a:cubicBezTo>
                <a:cubicBezTo>
                  <a:pt x="77769" y="967902"/>
                  <a:pt x="97978" y="947832"/>
                  <a:pt x="118645" y="928298"/>
                </a:cubicBezTo>
                <a:cubicBezTo>
                  <a:pt x="130104" y="917467"/>
                  <a:pt x="131835" y="905961"/>
                  <a:pt x="126320" y="892015"/>
                </a:cubicBezTo>
                <a:cubicBezTo>
                  <a:pt x="123798" y="885637"/>
                  <a:pt x="122123" y="878904"/>
                  <a:pt x="120345" y="872258"/>
                </a:cubicBezTo>
                <a:cubicBezTo>
                  <a:pt x="119029" y="867341"/>
                  <a:pt x="120162" y="863613"/>
                  <a:pt x="125668" y="861640"/>
                </a:cubicBezTo>
                <a:cubicBezTo>
                  <a:pt x="135266" y="858201"/>
                  <a:pt x="144535" y="853788"/>
                  <a:pt x="154237" y="850716"/>
                </a:cubicBezTo>
                <a:cubicBezTo>
                  <a:pt x="161882" y="848296"/>
                  <a:pt x="167110" y="843897"/>
                  <a:pt x="170248" y="836767"/>
                </a:cubicBezTo>
                <a:cubicBezTo>
                  <a:pt x="176168" y="823316"/>
                  <a:pt x="182193" y="809907"/>
                  <a:pt x="187840" y="796341"/>
                </a:cubicBezTo>
                <a:cubicBezTo>
                  <a:pt x="195194" y="778679"/>
                  <a:pt x="202250" y="760894"/>
                  <a:pt x="209346" y="743126"/>
                </a:cubicBezTo>
                <a:cubicBezTo>
                  <a:pt x="210083" y="741280"/>
                  <a:pt x="210252" y="739200"/>
                  <a:pt x="210630" y="737219"/>
                </a:cubicBezTo>
                <a:cubicBezTo>
                  <a:pt x="211694" y="731645"/>
                  <a:pt x="212425" y="725987"/>
                  <a:pt x="213836" y="720505"/>
                </a:cubicBezTo>
                <a:cubicBezTo>
                  <a:pt x="218406" y="702764"/>
                  <a:pt x="223811" y="685219"/>
                  <a:pt x="227791" y="667353"/>
                </a:cubicBezTo>
                <a:cubicBezTo>
                  <a:pt x="232826" y="644755"/>
                  <a:pt x="237367" y="622009"/>
                  <a:pt x="241013" y="599151"/>
                </a:cubicBezTo>
                <a:cubicBezTo>
                  <a:pt x="244018" y="580319"/>
                  <a:pt x="246001" y="561272"/>
                  <a:pt x="247322" y="542242"/>
                </a:cubicBezTo>
                <a:cubicBezTo>
                  <a:pt x="248312" y="527975"/>
                  <a:pt x="246344" y="513451"/>
                  <a:pt x="247948" y="499296"/>
                </a:cubicBezTo>
                <a:cubicBezTo>
                  <a:pt x="249066" y="489432"/>
                  <a:pt x="247923" y="480014"/>
                  <a:pt x="247577" y="470384"/>
                </a:cubicBezTo>
                <a:cubicBezTo>
                  <a:pt x="247364" y="464453"/>
                  <a:pt x="245121" y="461397"/>
                  <a:pt x="238877" y="460987"/>
                </a:cubicBezTo>
                <a:cubicBezTo>
                  <a:pt x="233224" y="460615"/>
                  <a:pt x="227461" y="459920"/>
                  <a:pt x="222040" y="458353"/>
                </a:cubicBezTo>
                <a:cubicBezTo>
                  <a:pt x="203991" y="453134"/>
                  <a:pt x="185737" y="448229"/>
                  <a:pt x="172193" y="433714"/>
                </a:cubicBezTo>
                <a:cubicBezTo>
                  <a:pt x="162702" y="423544"/>
                  <a:pt x="160887" y="408134"/>
                  <a:pt x="168410" y="396591"/>
                </a:cubicBezTo>
                <a:cubicBezTo>
                  <a:pt x="178294" y="381428"/>
                  <a:pt x="193736" y="373793"/>
                  <a:pt x="209826" y="367773"/>
                </a:cubicBezTo>
                <a:cubicBezTo>
                  <a:pt x="223159" y="362784"/>
                  <a:pt x="237124" y="359493"/>
                  <a:pt x="250732" y="355208"/>
                </a:cubicBezTo>
                <a:cubicBezTo>
                  <a:pt x="253085" y="354467"/>
                  <a:pt x="255058" y="352518"/>
                  <a:pt x="258289" y="350426"/>
                </a:cubicBezTo>
                <a:cubicBezTo>
                  <a:pt x="250173" y="342610"/>
                  <a:pt x="241833" y="337880"/>
                  <a:pt x="233274" y="333513"/>
                </a:cubicBezTo>
                <a:cubicBezTo>
                  <a:pt x="232377" y="333055"/>
                  <a:pt x="230890" y="333758"/>
                  <a:pt x="229677" y="333922"/>
                </a:cubicBezTo>
                <a:cubicBezTo>
                  <a:pt x="229677" y="333922"/>
                  <a:pt x="230323" y="333834"/>
                  <a:pt x="230149" y="332979"/>
                </a:cubicBezTo>
                <a:cubicBezTo>
                  <a:pt x="229023" y="330409"/>
                  <a:pt x="228502" y="328059"/>
                  <a:pt x="227053" y="327076"/>
                </a:cubicBezTo>
                <a:cubicBezTo>
                  <a:pt x="213615" y="317962"/>
                  <a:pt x="204643" y="305332"/>
                  <a:pt x="196769" y="291380"/>
                </a:cubicBezTo>
                <a:cubicBezTo>
                  <a:pt x="191792" y="282564"/>
                  <a:pt x="185421" y="274665"/>
                  <a:pt x="184389" y="264042"/>
                </a:cubicBezTo>
                <a:cubicBezTo>
                  <a:pt x="184179" y="261874"/>
                  <a:pt x="181925" y="259908"/>
                  <a:pt x="180630" y="257839"/>
                </a:cubicBezTo>
                <a:cubicBezTo>
                  <a:pt x="179137" y="255454"/>
                  <a:pt x="177317" y="253204"/>
                  <a:pt x="176231" y="250643"/>
                </a:cubicBezTo>
                <a:cubicBezTo>
                  <a:pt x="161865" y="216749"/>
                  <a:pt x="159606" y="182060"/>
                  <a:pt x="170073" y="146723"/>
                </a:cubicBezTo>
                <a:cubicBezTo>
                  <a:pt x="173311" y="135795"/>
                  <a:pt x="177248" y="125074"/>
                  <a:pt x="180929" y="114280"/>
                </a:cubicBezTo>
                <a:cubicBezTo>
                  <a:pt x="182396" y="109981"/>
                  <a:pt x="183922" y="105742"/>
                  <a:pt x="180839" y="101501"/>
                </a:cubicBezTo>
                <a:cubicBezTo>
                  <a:pt x="192473" y="75833"/>
                  <a:pt x="211344" y="56271"/>
                  <a:pt x="233536" y="39653"/>
                </a:cubicBezTo>
                <a:cubicBezTo>
                  <a:pt x="267321" y="14353"/>
                  <a:pt x="305621" y="873"/>
                  <a:pt x="347618" y="35"/>
                </a:cubicBezTo>
                <a:cubicBezTo>
                  <a:pt x="379125" y="-593"/>
                  <a:pt x="409214" y="7172"/>
                  <a:pt x="437139" y="22396"/>
                </a:cubicBezTo>
                <a:cubicBezTo>
                  <a:pt x="481844" y="46766"/>
                  <a:pt x="514077" y="82116"/>
                  <a:pt x="529052" y="131093"/>
                </a:cubicBezTo>
                <a:cubicBezTo>
                  <a:pt x="543544" y="178495"/>
                  <a:pt x="541630" y="225548"/>
                  <a:pt x="518497" y="271517"/>
                </a:cubicBezTo>
                <a:cubicBezTo>
                  <a:pt x="511428" y="277096"/>
                  <a:pt x="503848" y="281136"/>
                  <a:pt x="500808" y="287385"/>
                </a:cubicBezTo>
                <a:cubicBezTo>
                  <a:pt x="493932" y="301522"/>
                  <a:pt x="483805" y="312513"/>
                  <a:pt x="472948" y="323290"/>
                </a:cubicBezTo>
                <a:cubicBezTo>
                  <a:pt x="470972" y="325253"/>
                  <a:pt x="470533" y="328767"/>
                  <a:pt x="469385" y="331565"/>
                </a:cubicBezTo>
                <a:cubicBezTo>
                  <a:pt x="469385" y="331565"/>
                  <a:pt x="469172" y="331584"/>
                  <a:pt x="468293" y="331320"/>
                </a:cubicBezTo>
                <a:cubicBezTo>
                  <a:pt x="461937" y="330836"/>
                  <a:pt x="458618" y="332772"/>
                  <a:pt x="459542" y="338942"/>
                </a:cubicBezTo>
                <a:cubicBezTo>
                  <a:pt x="459542" y="338942"/>
                  <a:pt x="459473" y="338913"/>
                  <a:pt x="458492" y="338671"/>
                </a:cubicBezTo>
                <a:cubicBezTo>
                  <a:pt x="450936" y="342653"/>
                  <a:pt x="440712" y="341355"/>
                  <a:pt x="436978" y="352226"/>
                </a:cubicBezTo>
                <a:cubicBezTo>
                  <a:pt x="449178" y="355911"/>
                  <a:pt x="460733" y="359469"/>
                  <a:pt x="472329" y="362890"/>
                </a:cubicBezTo>
                <a:cubicBezTo>
                  <a:pt x="491728" y="368613"/>
                  <a:pt x="510182" y="375784"/>
                  <a:pt x="523779" y="391962"/>
                </a:cubicBezTo>
                <a:cubicBezTo>
                  <a:pt x="535849" y="406326"/>
                  <a:pt x="534845" y="420076"/>
                  <a:pt x="527344" y="430096"/>
                </a:cubicBezTo>
                <a:cubicBezTo>
                  <a:pt x="521323" y="438139"/>
                  <a:pt x="513928" y="445333"/>
                  <a:pt x="504112" y="449628"/>
                </a:cubicBezTo>
                <a:cubicBezTo>
                  <a:pt x="489776" y="455901"/>
                  <a:pt x="475173" y="460486"/>
                  <a:pt x="459430" y="461116"/>
                </a:cubicBezTo>
                <a:cubicBezTo>
                  <a:pt x="448415" y="461557"/>
                  <a:pt x="446384" y="463369"/>
                  <a:pt x="446666" y="474229"/>
                </a:cubicBezTo>
                <a:cubicBezTo>
                  <a:pt x="447164" y="493376"/>
                  <a:pt x="447839" y="512533"/>
                  <a:pt x="449133" y="531639"/>
                </a:cubicBezTo>
                <a:cubicBezTo>
                  <a:pt x="450424" y="550696"/>
                  <a:pt x="451783" y="569809"/>
                  <a:pt x="454546" y="588688"/>
                </a:cubicBezTo>
                <a:cubicBezTo>
                  <a:pt x="457543" y="609164"/>
                  <a:pt x="462165" y="629403"/>
                  <a:pt x="466126" y="649736"/>
                </a:cubicBezTo>
                <a:cubicBezTo>
                  <a:pt x="475845" y="699621"/>
                  <a:pt x="493414" y="746980"/>
                  <a:pt x="512154" y="794006"/>
                </a:cubicBezTo>
                <a:cubicBezTo>
                  <a:pt x="517387" y="807138"/>
                  <a:pt x="525145" y="819463"/>
                  <a:pt x="525763" y="834323"/>
                </a:cubicBezTo>
                <a:cubicBezTo>
                  <a:pt x="525919" y="838081"/>
                  <a:pt x="527739" y="843335"/>
                  <a:pt x="530555" y="845114"/>
                </a:cubicBezTo>
                <a:cubicBezTo>
                  <a:pt x="537981" y="849801"/>
                  <a:pt x="546243" y="853278"/>
                  <a:pt x="554424" y="856618"/>
                </a:cubicBezTo>
                <a:cubicBezTo>
                  <a:pt x="560391" y="859054"/>
                  <a:pt x="567041" y="859887"/>
                  <a:pt x="572880" y="862546"/>
                </a:cubicBezTo>
                <a:cubicBezTo>
                  <a:pt x="581470" y="866458"/>
                  <a:pt x="582467" y="871415"/>
                  <a:pt x="578643" y="880396"/>
                </a:cubicBezTo>
                <a:cubicBezTo>
                  <a:pt x="575969" y="886677"/>
                  <a:pt x="572900" y="893182"/>
                  <a:pt x="572188" y="899820"/>
                </a:cubicBezTo>
                <a:cubicBezTo>
                  <a:pt x="570960" y="911271"/>
                  <a:pt x="576506" y="920944"/>
                  <a:pt x="582698" y="930382"/>
                </a:cubicBezTo>
                <a:cubicBezTo>
                  <a:pt x="589569" y="940856"/>
                  <a:pt x="600933" y="947930"/>
                  <a:pt x="604747" y="960852"/>
                </a:cubicBezTo>
                <a:cubicBezTo>
                  <a:pt x="605684" y="964030"/>
                  <a:pt x="610294" y="967128"/>
                  <a:pt x="613863" y="968311"/>
                </a:cubicBezTo>
                <a:cubicBezTo>
                  <a:pt x="620963" y="970665"/>
                  <a:pt x="625924" y="974774"/>
                  <a:pt x="629435" y="981186"/>
                </a:cubicBezTo>
                <a:cubicBezTo>
                  <a:pt x="630381" y="982913"/>
                  <a:pt x="631977" y="984459"/>
                  <a:pt x="633611" y="985609"/>
                </a:cubicBezTo>
                <a:cubicBezTo>
                  <a:pt x="655878" y="1001272"/>
                  <a:pt x="668032" y="1023762"/>
                  <a:pt x="673790" y="1049348"/>
                </a:cubicBezTo>
                <a:cubicBezTo>
                  <a:pt x="676936" y="1063327"/>
                  <a:pt x="679769" y="1077802"/>
                  <a:pt x="675873" y="1092839"/>
                </a:cubicBezTo>
                <a:cubicBezTo>
                  <a:pt x="672677" y="1105174"/>
                  <a:pt x="673042" y="1116963"/>
                  <a:pt x="681668" y="1129292"/>
                </a:cubicBezTo>
                <a:cubicBezTo>
                  <a:pt x="695321" y="1148802"/>
                  <a:pt x="698550" y="1172235"/>
                  <a:pt x="697338" y="1196079"/>
                </a:cubicBezTo>
                <a:cubicBezTo>
                  <a:pt x="697087" y="1201014"/>
                  <a:pt x="694979" y="1203886"/>
                  <a:pt x="690637" y="1205035"/>
                </a:cubicBezTo>
                <a:cubicBezTo>
                  <a:pt x="673723" y="1209511"/>
                  <a:pt x="656856" y="1214241"/>
                  <a:pt x="639777" y="1217994"/>
                </a:cubicBezTo>
                <a:cubicBezTo>
                  <a:pt x="622334" y="1221827"/>
                  <a:pt x="604691" y="1224790"/>
                  <a:pt x="587072" y="1227761"/>
                </a:cubicBezTo>
                <a:cubicBezTo>
                  <a:pt x="582708" y="1228497"/>
                  <a:pt x="581724" y="1230736"/>
                  <a:pt x="581793" y="1234401"/>
                </a:cubicBezTo>
                <a:moveTo>
                  <a:pt x="357446" y="903795"/>
                </a:moveTo>
                <a:cubicBezTo>
                  <a:pt x="353141" y="903795"/>
                  <a:pt x="348835" y="903795"/>
                  <a:pt x="344445" y="903795"/>
                </a:cubicBezTo>
                <a:cubicBezTo>
                  <a:pt x="346169" y="920562"/>
                  <a:pt x="347908" y="935520"/>
                  <a:pt x="349212" y="950515"/>
                </a:cubicBezTo>
                <a:cubicBezTo>
                  <a:pt x="352656" y="990125"/>
                  <a:pt x="351941" y="1029743"/>
                  <a:pt x="349538" y="1069392"/>
                </a:cubicBezTo>
                <a:cubicBezTo>
                  <a:pt x="348759" y="1082241"/>
                  <a:pt x="349415" y="1095176"/>
                  <a:pt x="349415" y="1108925"/>
                </a:cubicBezTo>
                <a:cubicBezTo>
                  <a:pt x="449467" y="1111953"/>
                  <a:pt x="548509" y="1104712"/>
                  <a:pt x="647726" y="1089872"/>
                </a:cubicBezTo>
                <a:cubicBezTo>
                  <a:pt x="647726" y="1084313"/>
                  <a:pt x="648180" y="1080225"/>
                  <a:pt x="647654" y="1076267"/>
                </a:cubicBezTo>
                <a:cubicBezTo>
                  <a:pt x="643515" y="1045124"/>
                  <a:pt x="633172" y="1016714"/>
                  <a:pt x="610267" y="994126"/>
                </a:cubicBezTo>
                <a:cubicBezTo>
                  <a:pt x="597451" y="981485"/>
                  <a:pt x="584392" y="969090"/>
                  <a:pt x="571459" y="956568"/>
                </a:cubicBezTo>
                <a:cubicBezTo>
                  <a:pt x="555751" y="941359"/>
                  <a:pt x="544836" y="923558"/>
                  <a:pt x="541653" y="901544"/>
                </a:cubicBezTo>
                <a:cubicBezTo>
                  <a:pt x="541430" y="900007"/>
                  <a:pt x="540528" y="898570"/>
                  <a:pt x="539477" y="895908"/>
                </a:cubicBezTo>
                <a:cubicBezTo>
                  <a:pt x="479736" y="901652"/>
                  <a:pt x="419815" y="904536"/>
                  <a:pt x="357446" y="903795"/>
                </a:cubicBezTo>
                <a:moveTo>
                  <a:pt x="300108" y="85260"/>
                </a:moveTo>
                <a:cubicBezTo>
                  <a:pt x="293656" y="98745"/>
                  <a:pt x="289202" y="113094"/>
                  <a:pt x="290213" y="127888"/>
                </a:cubicBezTo>
                <a:cubicBezTo>
                  <a:pt x="292527" y="161736"/>
                  <a:pt x="304185" y="191723"/>
                  <a:pt x="331056" y="214168"/>
                </a:cubicBezTo>
                <a:cubicBezTo>
                  <a:pt x="358172" y="236816"/>
                  <a:pt x="388435" y="249934"/>
                  <a:pt x="424717" y="245160"/>
                </a:cubicBezTo>
                <a:cubicBezTo>
                  <a:pt x="468593" y="239387"/>
                  <a:pt x="509574" y="203365"/>
                  <a:pt x="496752" y="141256"/>
                </a:cubicBezTo>
                <a:cubicBezTo>
                  <a:pt x="487021" y="94124"/>
                  <a:pt x="447261" y="51874"/>
                  <a:pt x="390320" y="43995"/>
                </a:cubicBezTo>
                <a:cubicBezTo>
                  <a:pt x="353241" y="38865"/>
                  <a:pt x="321136" y="48750"/>
                  <a:pt x="300108" y="85260"/>
                </a:cubicBezTo>
                <a:moveTo>
                  <a:pt x="343360" y="634332"/>
                </a:moveTo>
                <a:cubicBezTo>
                  <a:pt x="342539" y="666975"/>
                  <a:pt x="341785" y="699619"/>
                  <a:pt x="340877" y="732259"/>
                </a:cubicBezTo>
                <a:cubicBezTo>
                  <a:pt x="340151" y="758355"/>
                  <a:pt x="339265" y="784447"/>
                  <a:pt x="338360" y="810538"/>
                </a:cubicBezTo>
                <a:cubicBezTo>
                  <a:pt x="338277" y="812948"/>
                  <a:pt x="337465" y="815325"/>
                  <a:pt x="337115" y="817736"/>
                </a:cubicBezTo>
                <a:cubicBezTo>
                  <a:pt x="334935" y="832710"/>
                  <a:pt x="336026" y="847647"/>
                  <a:pt x="336516" y="863022"/>
                </a:cubicBezTo>
                <a:cubicBezTo>
                  <a:pt x="339537" y="863479"/>
                  <a:pt x="341490" y="864053"/>
                  <a:pt x="343436" y="864027"/>
                </a:cubicBezTo>
                <a:cubicBezTo>
                  <a:pt x="364531" y="863739"/>
                  <a:pt x="385626" y="863422"/>
                  <a:pt x="406718" y="862982"/>
                </a:cubicBezTo>
                <a:cubicBezTo>
                  <a:pt x="423444" y="862634"/>
                  <a:pt x="440168" y="861675"/>
                  <a:pt x="456888" y="861794"/>
                </a:cubicBezTo>
                <a:cubicBezTo>
                  <a:pt x="469887" y="861886"/>
                  <a:pt x="482872" y="863302"/>
                  <a:pt x="495873" y="863963"/>
                </a:cubicBezTo>
                <a:cubicBezTo>
                  <a:pt x="500358" y="864191"/>
                  <a:pt x="505108" y="864773"/>
                  <a:pt x="509286" y="863595"/>
                </a:cubicBezTo>
                <a:cubicBezTo>
                  <a:pt x="512346" y="862732"/>
                  <a:pt x="515714" y="859703"/>
                  <a:pt x="516956" y="856791"/>
                </a:cubicBezTo>
                <a:cubicBezTo>
                  <a:pt x="517783" y="854851"/>
                  <a:pt x="515475" y="851192"/>
                  <a:pt x="513920" y="848709"/>
                </a:cubicBezTo>
                <a:cubicBezTo>
                  <a:pt x="511791" y="845308"/>
                  <a:pt x="508393" y="842606"/>
                  <a:pt x="506683" y="839054"/>
                </a:cubicBezTo>
                <a:cubicBezTo>
                  <a:pt x="500331" y="825864"/>
                  <a:pt x="493224" y="812855"/>
                  <a:pt x="488629" y="799037"/>
                </a:cubicBezTo>
                <a:cubicBezTo>
                  <a:pt x="477322" y="765031"/>
                  <a:pt x="466537" y="730814"/>
                  <a:pt x="456922" y="696297"/>
                </a:cubicBezTo>
                <a:cubicBezTo>
                  <a:pt x="449953" y="671276"/>
                  <a:pt x="443477" y="646020"/>
                  <a:pt x="441346" y="619885"/>
                </a:cubicBezTo>
                <a:cubicBezTo>
                  <a:pt x="440327" y="607371"/>
                  <a:pt x="437466" y="595018"/>
                  <a:pt x="435963" y="582529"/>
                </a:cubicBezTo>
                <a:cubicBezTo>
                  <a:pt x="433539" y="562380"/>
                  <a:pt x="431154" y="542212"/>
                  <a:pt x="429497" y="521990"/>
                </a:cubicBezTo>
                <a:cubicBezTo>
                  <a:pt x="428135" y="505363"/>
                  <a:pt x="428437" y="488593"/>
                  <a:pt x="426887" y="471989"/>
                </a:cubicBezTo>
                <a:cubicBezTo>
                  <a:pt x="425874" y="461140"/>
                  <a:pt x="424983" y="461120"/>
                  <a:pt x="413744" y="461077"/>
                </a:cubicBezTo>
                <a:cubicBezTo>
                  <a:pt x="393687" y="461000"/>
                  <a:pt x="373630" y="461011"/>
                  <a:pt x="353573" y="461120"/>
                </a:cubicBezTo>
                <a:cubicBezTo>
                  <a:pt x="350472" y="461137"/>
                  <a:pt x="347374" y="461869"/>
                  <a:pt x="344160" y="462286"/>
                </a:cubicBezTo>
                <a:cubicBezTo>
                  <a:pt x="343828" y="465198"/>
                  <a:pt x="343406" y="467195"/>
                  <a:pt x="343404" y="469192"/>
                </a:cubicBezTo>
                <a:cubicBezTo>
                  <a:pt x="343360" y="504394"/>
                  <a:pt x="343267" y="539596"/>
                  <a:pt x="343469" y="574797"/>
                </a:cubicBezTo>
                <a:cubicBezTo>
                  <a:pt x="343501" y="580426"/>
                  <a:pt x="345652" y="586065"/>
                  <a:pt x="345522" y="591669"/>
                </a:cubicBezTo>
                <a:cubicBezTo>
                  <a:pt x="345214" y="605082"/>
                  <a:pt x="344131" y="618478"/>
                  <a:pt x="343360" y="634332"/>
                </a:cubicBezTo>
                <a:moveTo>
                  <a:pt x="416946" y="385943"/>
                </a:moveTo>
                <a:cubicBezTo>
                  <a:pt x="411661" y="386365"/>
                  <a:pt x="406384" y="387006"/>
                  <a:pt x="401091" y="387162"/>
                </a:cubicBezTo>
                <a:cubicBezTo>
                  <a:pt x="390470" y="387477"/>
                  <a:pt x="379841" y="387447"/>
                  <a:pt x="369218" y="387708"/>
                </a:cubicBezTo>
                <a:cubicBezTo>
                  <a:pt x="361167" y="387906"/>
                  <a:pt x="354429" y="391368"/>
                  <a:pt x="351833" y="398991"/>
                </a:cubicBezTo>
                <a:cubicBezTo>
                  <a:pt x="348989" y="407342"/>
                  <a:pt x="347050" y="416214"/>
                  <a:pt x="349778" y="426021"/>
                </a:cubicBezTo>
                <a:cubicBezTo>
                  <a:pt x="353876" y="426204"/>
                  <a:pt x="357857" y="426517"/>
                  <a:pt x="361839" y="426538"/>
                </a:cubicBezTo>
                <a:cubicBezTo>
                  <a:pt x="392900" y="426701"/>
                  <a:pt x="423961" y="426826"/>
                  <a:pt x="455022" y="426922"/>
                </a:cubicBezTo>
                <a:cubicBezTo>
                  <a:pt x="464013" y="426950"/>
                  <a:pt x="473106" y="427654"/>
                  <a:pt x="481958" y="426527"/>
                </a:cubicBezTo>
                <a:cubicBezTo>
                  <a:pt x="488144" y="425740"/>
                  <a:pt x="494821" y="423501"/>
                  <a:pt x="499817" y="419888"/>
                </a:cubicBezTo>
                <a:cubicBezTo>
                  <a:pt x="507869" y="414066"/>
                  <a:pt x="507286" y="406755"/>
                  <a:pt x="499439" y="400719"/>
                </a:cubicBezTo>
                <a:cubicBezTo>
                  <a:pt x="490179" y="393597"/>
                  <a:pt x="479486" y="388885"/>
                  <a:pt x="468062" y="387775"/>
                </a:cubicBezTo>
                <a:cubicBezTo>
                  <a:pt x="451873" y="386202"/>
                  <a:pt x="435520" y="386321"/>
                  <a:pt x="416946" y="385943"/>
                </a:cubicBezTo>
                <a:moveTo>
                  <a:pt x="636802" y="1190940"/>
                </a:moveTo>
                <a:cubicBezTo>
                  <a:pt x="646709" y="1188723"/>
                  <a:pt x="656705" y="1186841"/>
                  <a:pt x="666492" y="1184186"/>
                </a:cubicBezTo>
                <a:cubicBezTo>
                  <a:pt x="674710" y="1181958"/>
                  <a:pt x="676989" y="1178509"/>
                  <a:pt x="674465" y="1170880"/>
                </a:cubicBezTo>
                <a:cubicBezTo>
                  <a:pt x="671144" y="1160843"/>
                  <a:pt x="667026" y="1151009"/>
                  <a:pt x="662462" y="1141464"/>
                </a:cubicBezTo>
                <a:cubicBezTo>
                  <a:pt x="659273" y="1134795"/>
                  <a:pt x="653671" y="1130908"/>
                  <a:pt x="645564" y="1131937"/>
                </a:cubicBezTo>
                <a:cubicBezTo>
                  <a:pt x="639532" y="1132703"/>
                  <a:pt x="633423" y="1132867"/>
                  <a:pt x="627387" y="1133618"/>
                </a:cubicBezTo>
                <a:cubicBezTo>
                  <a:pt x="612888" y="1135421"/>
                  <a:pt x="598449" y="1137770"/>
                  <a:pt x="583917" y="1139222"/>
                </a:cubicBezTo>
                <a:cubicBezTo>
                  <a:pt x="570571" y="1140557"/>
                  <a:pt x="557130" y="1140930"/>
                  <a:pt x="543741" y="1141869"/>
                </a:cubicBezTo>
                <a:cubicBezTo>
                  <a:pt x="533202" y="1142610"/>
                  <a:pt x="522682" y="1143623"/>
                  <a:pt x="512146" y="1144418"/>
                </a:cubicBezTo>
                <a:cubicBezTo>
                  <a:pt x="490671" y="1146038"/>
                  <a:pt x="469214" y="1148450"/>
                  <a:pt x="447711" y="1148973"/>
                </a:cubicBezTo>
                <a:cubicBezTo>
                  <a:pt x="415817" y="1149749"/>
                  <a:pt x="383891" y="1149136"/>
                  <a:pt x="351979" y="1149200"/>
                </a:cubicBezTo>
                <a:cubicBezTo>
                  <a:pt x="347698" y="1149209"/>
                  <a:pt x="343419" y="1149717"/>
                  <a:pt x="338443" y="1150040"/>
                </a:cubicBezTo>
                <a:cubicBezTo>
                  <a:pt x="338443" y="1164651"/>
                  <a:pt x="338413" y="1177715"/>
                  <a:pt x="338451" y="1190780"/>
                </a:cubicBezTo>
                <a:cubicBezTo>
                  <a:pt x="338490" y="1204031"/>
                  <a:pt x="338512" y="1204062"/>
                  <a:pt x="351082" y="1207015"/>
                </a:cubicBezTo>
                <a:cubicBezTo>
                  <a:pt x="353445" y="1207570"/>
                  <a:pt x="355895" y="1208128"/>
                  <a:pt x="358298" y="1208094"/>
                </a:cubicBezTo>
                <a:cubicBezTo>
                  <a:pt x="412608" y="1207329"/>
                  <a:pt x="466919" y="1206484"/>
                  <a:pt x="521229" y="1205646"/>
                </a:cubicBezTo>
                <a:cubicBezTo>
                  <a:pt x="522045" y="1205634"/>
                  <a:pt x="522865" y="1205591"/>
                  <a:pt x="523675" y="1205490"/>
                </a:cubicBezTo>
                <a:cubicBezTo>
                  <a:pt x="542593" y="1203123"/>
                  <a:pt x="561519" y="1200820"/>
                  <a:pt x="580423" y="1198350"/>
                </a:cubicBezTo>
                <a:cubicBezTo>
                  <a:pt x="598523" y="1195985"/>
                  <a:pt x="616599" y="1193446"/>
                  <a:pt x="636802" y="1190940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2" name="Free-form: Shape 101">
            <a:extLst>
              <a:ext uri="{FF2B5EF4-FFF2-40B4-BE49-F238E27FC236}">
                <a16:creationId xmlns:a16="http://schemas.microsoft.com/office/drawing/2014/main" id="{E025055D-6996-E873-F34D-7433B9C599CC}"/>
              </a:ext>
            </a:extLst>
          </p:cNvPr>
          <p:cNvSpPr/>
          <p:nvPr/>
        </p:nvSpPr>
        <p:spPr>
          <a:xfrm>
            <a:off x="1562571" y="2759547"/>
            <a:ext cx="17183" cy="1817"/>
          </a:xfrm>
          <a:custGeom>
            <a:avLst/>
            <a:gdLst>
              <a:gd name="csX0" fmla="*/ 0 w 27674"/>
              <a:gd name="csY0" fmla="*/ 2915 h 2925"/>
              <a:gd name="csX1" fmla="*/ 27675 w 27674"/>
              <a:gd name="csY1" fmla="*/ 1550 h 2925"/>
              <a:gd name="csX2" fmla="*/ 0 w 27674"/>
              <a:gd name="csY2" fmla="*/ 2915 h 292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27674" h="2925">
                <a:moveTo>
                  <a:pt x="0" y="2915"/>
                </a:moveTo>
                <a:cubicBezTo>
                  <a:pt x="8211" y="-1939"/>
                  <a:pt x="17625" y="498"/>
                  <a:pt x="27675" y="1550"/>
                </a:cubicBezTo>
                <a:cubicBezTo>
                  <a:pt x="19225" y="2593"/>
                  <a:pt x="10029" y="2999"/>
                  <a:pt x="0" y="2915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3" name="Free-form: Shape 102">
            <a:extLst>
              <a:ext uri="{FF2B5EF4-FFF2-40B4-BE49-F238E27FC236}">
                <a16:creationId xmlns:a16="http://schemas.microsoft.com/office/drawing/2014/main" id="{51B503E8-46E4-BF53-F77A-68BABB16FA65}"/>
              </a:ext>
            </a:extLst>
          </p:cNvPr>
          <p:cNvSpPr/>
          <p:nvPr/>
        </p:nvSpPr>
        <p:spPr>
          <a:xfrm>
            <a:off x="1515267" y="2760571"/>
            <a:ext cx="11179" cy="700"/>
          </a:xfrm>
          <a:custGeom>
            <a:avLst/>
            <a:gdLst>
              <a:gd name="csX0" fmla="*/ 0 w 18003"/>
              <a:gd name="csY0" fmla="*/ 1050 h 1128"/>
              <a:gd name="csX1" fmla="*/ 18004 w 18003"/>
              <a:gd name="csY1" fmla="*/ 93 h 1128"/>
              <a:gd name="csX2" fmla="*/ 0 w 18003"/>
              <a:gd name="csY2" fmla="*/ 1050 h 112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8003" h="1128">
                <a:moveTo>
                  <a:pt x="0" y="1050"/>
                </a:moveTo>
                <a:cubicBezTo>
                  <a:pt x="5276" y="182"/>
                  <a:pt x="11306" y="-189"/>
                  <a:pt x="18004" y="93"/>
                </a:cubicBezTo>
                <a:cubicBezTo>
                  <a:pt x="12699" y="1013"/>
                  <a:pt x="6726" y="1280"/>
                  <a:pt x="0" y="1050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4" name="Free-form: Shape 103">
            <a:extLst>
              <a:ext uri="{FF2B5EF4-FFF2-40B4-BE49-F238E27FC236}">
                <a16:creationId xmlns:a16="http://schemas.microsoft.com/office/drawing/2014/main" id="{65128490-09E8-4AE8-C618-24D9E1DEACBD}"/>
              </a:ext>
            </a:extLst>
          </p:cNvPr>
          <p:cNvSpPr/>
          <p:nvPr/>
        </p:nvSpPr>
        <p:spPr>
          <a:xfrm>
            <a:off x="1596234" y="2193771"/>
            <a:ext cx="5257" cy="4867"/>
          </a:xfrm>
          <a:custGeom>
            <a:avLst/>
            <a:gdLst>
              <a:gd name="csX0" fmla="*/ 473 w 8466"/>
              <a:gd name="csY0" fmla="*/ 7839 h 7838"/>
              <a:gd name="csX1" fmla="*/ 8466 w 8466"/>
              <a:gd name="csY1" fmla="*/ 61 h 7838"/>
              <a:gd name="csX2" fmla="*/ 473 w 8466"/>
              <a:gd name="csY2" fmla="*/ 7839 h 783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66" h="7838">
                <a:moveTo>
                  <a:pt x="473" y="7839"/>
                </a:moveTo>
                <a:cubicBezTo>
                  <a:pt x="-1298" y="1550"/>
                  <a:pt x="2020" y="-386"/>
                  <a:pt x="8466" y="61"/>
                </a:cubicBezTo>
                <a:cubicBezTo>
                  <a:pt x="6730" y="2845"/>
                  <a:pt x="4026" y="5401"/>
                  <a:pt x="473" y="7839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5" name="Free-form: Shape 104">
            <a:extLst>
              <a:ext uri="{FF2B5EF4-FFF2-40B4-BE49-F238E27FC236}">
                <a16:creationId xmlns:a16="http://schemas.microsoft.com/office/drawing/2014/main" id="{D2D58114-BCDF-F069-EBFE-0D5C634551D8}"/>
              </a:ext>
            </a:extLst>
          </p:cNvPr>
          <p:cNvSpPr/>
          <p:nvPr/>
        </p:nvSpPr>
        <p:spPr>
          <a:xfrm>
            <a:off x="1460238" y="2759057"/>
            <a:ext cx="5265" cy="618"/>
          </a:xfrm>
          <a:custGeom>
            <a:avLst/>
            <a:gdLst>
              <a:gd name="csX0" fmla="*/ 0 w 8480"/>
              <a:gd name="csY0" fmla="*/ 896 h 996"/>
              <a:gd name="csX1" fmla="*/ 8480 w 8480"/>
              <a:gd name="csY1" fmla="*/ 110 h 996"/>
              <a:gd name="csX2" fmla="*/ 0 w 8480"/>
              <a:gd name="csY2" fmla="*/ 896 h 99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80" h="996">
                <a:moveTo>
                  <a:pt x="0" y="896"/>
                </a:moveTo>
                <a:cubicBezTo>
                  <a:pt x="2285" y="115"/>
                  <a:pt x="5130" y="-182"/>
                  <a:pt x="8480" y="110"/>
                </a:cubicBezTo>
                <a:cubicBezTo>
                  <a:pt x="6177" y="927"/>
                  <a:pt x="3368" y="1153"/>
                  <a:pt x="0" y="896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6" name="Free-form: Shape 105">
            <a:extLst>
              <a:ext uri="{FF2B5EF4-FFF2-40B4-BE49-F238E27FC236}">
                <a16:creationId xmlns:a16="http://schemas.microsoft.com/office/drawing/2014/main" id="{512B25C0-2E72-1029-298E-D358B1CCF931}"/>
              </a:ext>
            </a:extLst>
          </p:cNvPr>
          <p:cNvSpPr/>
          <p:nvPr/>
        </p:nvSpPr>
        <p:spPr>
          <a:xfrm>
            <a:off x="1678247" y="2732528"/>
            <a:ext cx="763" cy="4134"/>
          </a:xfrm>
          <a:custGeom>
            <a:avLst/>
            <a:gdLst>
              <a:gd name="csX0" fmla="*/ 132 w 1229"/>
              <a:gd name="csY0" fmla="*/ 6659 h 6658"/>
              <a:gd name="csX1" fmla="*/ 1107 w 1229"/>
              <a:gd name="csY1" fmla="*/ 0 h 6658"/>
              <a:gd name="csX2" fmla="*/ 132 w 1229"/>
              <a:gd name="csY2" fmla="*/ 6659 h 665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229" h="6658">
                <a:moveTo>
                  <a:pt x="132" y="6659"/>
                </a:moveTo>
                <a:cubicBezTo>
                  <a:pt x="-219" y="4616"/>
                  <a:pt x="139" y="2560"/>
                  <a:pt x="1107" y="0"/>
                </a:cubicBezTo>
                <a:cubicBezTo>
                  <a:pt x="1425" y="1879"/>
                  <a:pt x="1133" y="4263"/>
                  <a:pt x="132" y="6659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7" name="Free-form: Shape 106">
            <a:extLst>
              <a:ext uri="{FF2B5EF4-FFF2-40B4-BE49-F238E27FC236}">
                <a16:creationId xmlns:a16="http://schemas.microsoft.com/office/drawing/2014/main" id="{7BE489E3-6A5A-4180-5AD4-D671715EFBC6}"/>
              </a:ext>
            </a:extLst>
          </p:cNvPr>
          <p:cNvSpPr/>
          <p:nvPr/>
        </p:nvSpPr>
        <p:spPr>
          <a:xfrm>
            <a:off x="1679803" y="2752805"/>
            <a:ext cx="2352" cy="847"/>
          </a:xfrm>
          <a:custGeom>
            <a:avLst/>
            <a:gdLst>
              <a:gd name="csX0" fmla="*/ 0 w 3788"/>
              <a:gd name="csY0" fmla="*/ 1364 h 1364"/>
              <a:gd name="csX1" fmla="*/ 3788 w 3788"/>
              <a:gd name="csY1" fmla="*/ 0 h 1364"/>
              <a:gd name="csX2" fmla="*/ 0 w 3788"/>
              <a:gd name="csY2" fmla="*/ 1364 h 136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788" h="1364">
                <a:moveTo>
                  <a:pt x="0" y="1364"/>
                </a:moveTo>
                <a:cubicBezTo>
                  <a:pt x="856" y="517"/>
                  <a:pt x="2126" y="39"/>
                  <a:pt x="3788" y="0"/>
                </a:cubicBezTo>
                <a:cubicBezTo>
                  <a:pt x="2925" y="870"/>
                  <a:pt x="1670" y="1303"/>
                  <a:pt x="0" y="1364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8" name="Free-form: Shape 107">
            <a:extLst>
              <a:ext uri="{FF2B5EF4-FFF2-40B4-BE49-F238E27FC236}">
                <a16:creationId xmlns:a16="http://schemas.microsoft.com/office/drawing/2014/main" id="{EDC8C2CD-B736-BE61-D636-F9BA936E4904}"/>
              </a:ext>
            </a:extLst>
          </p:cNvPr>
          <p:cNvSpPr/>
          <p:nvPr/>
        </p:nvSpPr>
        <p:spPr>
          <a:xfrm>
            <a:off x="1408220" y="2756079"/>
            <a:ext cx="2478" cy="515"/>
          </a:xfrm>
          <a:custGeom>
            <a:avLst/>
            <a:gdLst>
              <a:gd name="csX0" fmla="*/ 0 w 3990"/>
              <a:gd name="csY0" fmla="*/ 719 h 829"/>
              <a:gd name="csX1" fmla="*/ 3990 w 3990"/>
              <a:gd name="csY1" fmla="*/ 119 h 829"/>
              <a:gd name="csX2" fmla="*/ 0 w 3990"/>
              <a:gd name="csY2" fmla="*/ 719 h 82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990" h="829">
                <a:moveTo>
                  <a:pt x="0" y="719"/>
                </a:moveTo>
                <a:cubicBezTo>
                  <a:pt x="982" y="66"/>
                  <a:pt x="2323" y="-163"/>
                  <a:pt x="3990" y="119"/>
                </a:cubicBezTo>
                <a:cubicBezTo>
                  <a:pt x="2998" y="800"/>
                  <a:pt x="1678" y="972"/>
                  <a:pt x="0" y="719"/>
                </a:cubicBezTo>
                <a:close/>
              </a:path>
            </a:pathLst>
          </a:custGeom>
          <a:solidFill>
            <a:srgbClr val="959DA0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9" name="Free-form: Shape 108">
            <a:extLst>
              <a:ext uri="{FF2B5EF4-FFF2-40B4-BE49-F238E27FC236}">
                <a16:creationId xmlns:a16="http://schemas.microsoft.com/office/drawing/2014/main" id="{CFA7EAFE-933F-687B-C9B2-EE4F0D330B75}"/>
              </a:ext>
            </a:extLst>
          </p:cNvPr>
          <p:cNvSpPr/>
          <p:nvPr/>
        </p:nvSpPr>
        <p:spPr>
          <a:xfrm>
            <a:off x="1618768" y="2759035"/>
            <a:ext cx="2417" cy="705"/>
          </a:xfrm>
          <a:custGeom>
            <a:avLst/>
            <a:gdLst>
              <a:gd name="csX0" fmla="*/ 0 w 3893"/>
              <a:gd name="csY0" fmla="*/ 1133 h 1135"/>
              <a:gd name="csX1" fmla="*/ 3893 w 3893"/>
              <a:gd name="csY1" fmla="*/ 7 h 1135"/>
              <a:gd name="csX2" fmla="*/ 0 w 3893"/>
              <a:gd name="csY2" fmla="*/ 1133 h 113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893" h="1135">
                <a:moveTo>
                  <a:pt x="0" y="1133"/>
                </a:moveTo>
                <a:cubicBezTo>
                  <a:pt x="902" y="349"/>
                  <a:pt x="2213" y="-60"/>
                  <a:pt x="3893" y="7"/>
                </a:cubicBezTo>
                <a:cubicBezTo>
                  <a:pt x="2978" y="825"/>
                  <a:pt x="1693" y="1167"/>
                  <a:pt x="0" y="1133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0" name="Free-form: Shape 109">
            <a:extLst>
              <a:ext uri="{FF2B5EF4-FFF2-40B4-BE49-F238E27FC236}">
                <a16:creationId xmlns:a16="http://schemas.microsoft.com/office/drawing/2014/main" id="{7F75D2F9-5019-15BA-650A-1340E772CA7C}"/>
              </a:ext>
            </a:extLst>
          </p:cNvPr>
          <p:cNvSpPr/>
          <p:nvPr/>
        </p:nvSpPr>
        <p:spPr>
          <a:xfrm>
            <a:off x="1519172" y="2274371"/>
            <a:ext cx="112588" cy="250407"/>
          </a:xfrm>
          <a:custGeom>
            <a:avLst/>
            <a:gdLst>
              <a:gd name="csX0" fmla="*/ 7554 w 181323"/>
              <a:gd name="csY0" fmla="*/ 172079 h 403282"/>
              <a:gd name="csX1" fmla="*/ 9716 w 181323"/>
              <a:gd name="csY1" fmla="*/ 130641 h 403282"/>
              <a:gd name="csX2" fmla="*/ 7663 w 181323"/>
              <a:gd name="csY2" fmla="*/ 113770 h 403282"/>
              <a:gd name="csX3" fmla="*/ 7598 w 181323"/>
              <a:gd name="csY3" fmla="*/ 8165 h 403282"/>
              <a:gd name="csX4" fmla="*/ 8353 w 181323"/>
              <a:gd name="csY4" fmla="*/ 1259 h 403282"/>
              <a:gd name="csX5" fmla="*/ 17767 w 181323"/>
              <a:gd name="csY5" fmla="*/ 93 h 403282"/>
              <a:gd name="csX6" fmla="*/ 77938 w 181323"/>
              <a:gd name="csY6" fmla="*/ 50 h 403282"/>
              <a:gd name="csX7" fmla="*/ 91081 w 181323"/>
              <a:gd name="csY7" fmla="*/ 10962 h 403282"/>
              <a:gd name="csX8" fmla="*/ 93691 w 181323"/>
              <a:gd name="csY8" fmla="*/ 60963 h 403282"/>
              <a:gd name="csX9" fmla="*/ 100157 w 181323"/>
              <a:gd name="csY9" fmla="*/ 121501 h 403282"/>
              <a:gd name="csX10" fmla="*/ 105540 w 181323"/>
              <a:gd name="csY10" fmla="*/ 158857 h 403282"/>
              <a:gd name="csX11" fmla="*/ 121116 w 181323"/>
              <a:gd name="csY11" fmla="*/ 235269 h 403282"/>
              <a:gd name="csX12" fmla="*/ 152823 w 181323"/>
              <a:gd name="csY12" fmla="*/ 338010 h 403282"/>
              <a:gd name="csX13" fmla="*/ 170877 w 181323"/>
              <a:gd name="csY13" fmla="*/ 378027 h 403282"/>
              <a:gd name="csX14" fmla="*/ 178114 w 181323"/>
              <a:gd name="csY14" fmla="*/ 387682 h 403282"/>
              <a:gd name="csX15" fmla="*/ 181150 w 181323"/>
              <a:gd name="csY15" fmla="*/ 395764 h 403282"/>
              <a:gd name="csX16" fmla="*/ 173480 w 181323"/>
              <a:gd name="csY16" fmla="*/ 402568 h 403282"/>
              <a:gd name="csX17" fmla="*/ 160067 w 181323"/>
              <a:gd name="csY17" fmla="*/ 402936 h 403282"/>
              <a:gd name="csX18" fmla="*/ 121081 w 181323"/>
              <a:gd name="csY18" fmla="*/ 400766 h 403282"/>
              <a:gd name="csX19" fmla="*/ 70912 w 181323"/>
              <a:gd name="csY19" fmla="*/ 401955 h 403282"/>
              <a:gd name="csX20" fmla="*/ 7630 w 181323"/>
              <a:gd name="csY20" fmla="*/ 402999 h 403282"/>
              <a:gd name="csX21" fmla="*/ 710 w 181323"/>
              <a:gd name="csY21" fmla="*/ 401995 h 403282"/>
              <a:gd name="csX22" fmla="*/ 1308 w 181323"/>
              <a:gd name="csY22" fmla="*/ 356708 h 403282"/>
              <a:gd name="csX23" fmla="*/ 2554 w 181323"/>
              <a:gd name="csY23" fmla="*/ 349510 h 403282"/>
              <a:gd name="csX24" fmla="*/ 5071 w 181323"/>
              <a:gd name="csY24" fmla="*/ 271231 h 403282"/>
              <a:gd name="csX25" fmla="*/ 7554 w 181323"/>
              <a:gd name="csY25" fmla="*/ 172079 h 403282"/>
              <a:gd name="csX26" fmla="*/ 98286 w 181323"/>
              <a:gd name="csY26" fmla="*/ 163566 h 403282"/>
              <a:gd name="csX27" fmla="*/ 83497 w 181323"/>
              <a:gd name="csY27" fmla="*/ 8289 h 403282"/>
              <a:gd name="csX28" fmla="*/ 15161 w 181323"/>
              <a:gd name="csY28" fmla="*/ 9148 h 403282"/>
              <a:gd name="csX29" fmla="*/ 15058 w 181323"/>
              <a:gd name="csY29" fmla="*/ 137939 h 403282"/>
              <a:gd name="csX30" fmla="*/ 12252 w 181323"/>
              <a:gd name="csY30" fmla="*/ 266862 h 403282"/>
              <a:gd name="csX31" fmla="*/ 7068 w 181323"/>
              <a:gd name="csY31" fmla="*/ 395996 h 403282"/>
              <a:gd name="csX32" fmla="*/ 171647 w 181323"/>
              <a:gd name="csY32" fmla="*/ 395996 h 403282"/>
              <a:gd name="csX33" fmla="*/ 119950 w 181323"/>
              <a:gd name="csY33" fmla="*/ 259496 h 403282"/>
              <a:gd name="csX34" fmla="*/ 98286 w 181323"/>
              <a:gd name="csY34" fmla="*/ 163566 h 40328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</a:cxnLst>
            <a:rect l="l" t="t" r="r" b="b"/>
            <a:pathLst>
              <a:path w="181323" h="403282">
                <a:moveTo>
                  <a:pt x="7554" y="172079"/>
                </a:moveTo>
                <a:cubicBezTo>
                  <a:pt x="8325" y="157451"/>
                  <a:pt x="9408" y="144055"/>
                  <a:pt x="9716" y="130641"/>
                </a:cubicBezTo>
                <a:cubicBezTo>
                  <a:pt x="9846" y="125037"/>
                  <a:pt x="7695" y="119399"/>
                  <a:pt x="7663" y="113770"/>
                </a:cubicBezTo>
                <a:cubicBezTo>
                  <a:pt x="7461" y="78569"/>
                  <a:pt x="7554" y="43367"/>
                  <a:pt x="7598" y="8165"/>
                </a:cubicBezTo>
                <a:cubicBezTo>
                  <a:pt x="7600" y="6167"/>
                  <a:pt x="8022" y="4170"/>
                  <a:pt x="8353" y="1259"/>
                </a:cubicBezTo>
                <a:cubicBezTo>
                  <a:pt x="11568" y="842"/>
                  <a:pt x="14666" y="109"/>
                  <a:pt x="17767" y="93"/>
                </a:cubicBezTo>
                <a:cubicBezTo>
                  <a:pt x="37824" y="-17"/>
                  <a:pt x="57881" y="-27"/>
                  <a:pt x="77938" y="50"/>
                </a:cubicBezTo>
                <a:cubicBezTo>
                  <a:pt x="89177" y="93"/>
                  <a:pt x="90068" y="113"/>
                  <a:pt x="91081" y="10962"/>
                </a:cubicBezTo>
                <a:cubicBezTo>
                  <a:pt x="92631" y="27565"/>
                  <a:pt x="92329" y="44335"/>
                  <a:pt x="93691" y="60963"/>
                </a:cubicBezTo>
                <a:cubicBezTo>
                  <a:pt x="95348" y="81184"/>
                  <a:pt x="97732" y="101353"/>
                  <a:pt x="100157" y="121501"/>
                </a:cubicBezTo>
                <a:cubicBezTo>
                  <a:pt x="101660" y="133990"/>
                  <a:pt x="104521" y="146343"/>
                  <a:pt x="105540" y="158857"/>
                </a:cubicBezTo>
                <a:cubicBezTo>
                  <a:pt x="107671" y="184993"/>
                  <a:pt x="114147" y="210249"/>
                  <a:pt x="121116" y="235269"/>
                </a:cubicBezTo>
                <a:cubicBezTo>
                  <a:pt x="130731" y="269786"/>
                  <a:pt x="141516" y="304004"/>
                  <a:pt x="152823" y="338010"/>
                </a:cubicBezTo>
                <a:cubicBezTo>
                  <a:pt x="157418" y="351828"/>
                  <a:pt x="164524" y="364837"/>
                  <a:pt x="170877" y="378027"/>
                </a:cubicBezTo>
                <a:cubicBezTo>
                  <a:pt x="172587" y="381579"/>
                  <a:pt x="175985" y="384280"/>
                  <a:pt x="178114" y="387682"/>
                </a:cubicBezTo>
                <a:cubicBezTo>
                  <a:pt x="179669" y="390165"/>
                  <a:pt x="181977" y="393824"/>
                  <a:pt x="181150" y="395764"/>
                </a:cubicBezTo>
                <a:cubicBezTo>
                  <a:pt x="179907" y="398676"/>
                  <a:pt x="176540" y="401705"/>
                  <a:pt x="173480" y="402568"/>
                </a:cubicBezTo>
                <a:cubicBezTo>
                  <a:pt x="169302" y="403746"/>
                  <a:pt x="164551" y="403164"/>
                  <a:pt x="160067" y="402936"/>
                </a:cubicBezTo>
                <a:cubicBezTo>
                  <a:pt x="147066" y="402274"/>
                  <a:pt x="134081" y="400859"/>
                  <a:pt x="121081" y="400766"/>
                </a:cubicBezTo>
                <a:cubicBezTo>
                  <a:pt x="104362" y="400647"/>
                  <a:pt x="87638" y="401607"/>
                  <a:pt x="70912" y="401955"/>
                </a:cubicBezTo>
                <a:cubicBezTo>
                  <a:pt x="49820" y="402394"/>
                  <a:pt x="28725" y="402712"/>
                  <a:pt x="7630" y="402999"/>
                </a:cubicBezTo>
                <a:cubicBezTo>
                  <a:pt x="5684" y="403026"/>
                  <a:pt x="3731" y="402452"/>
                  <a:pt x="710" y="401995"/>
                </a:cubicBezTo>
                <a:cubicBezTo>
                  <a:pt x="219" y="386620"/>
                  <a:pt x="-871" y="371682"/>
                  <a:pt x="1308" y="356708"/>
                </a:cubicBezTo>
                <a:cubicBezTo>
                  <a:pt x="1659" y="354298"/>
                  <a:pt x="2471" y="351920"/>
                  <a:pt x="2554" y="349510"/>
                </a:cubicBezTo>
                <a:cubicBezTo>
                  <a:pt x="3459" y="323419"/>
                  <a:pt x="4345" y="297328"/>
                  <a:pt x="5071" y="271231"/>
                </a:cubicBezTo>
                <a:cubicBezTo>
                  <a:pt x="5979" y="238591"/>
                  <a:pt x="6733" y="205947"/>
                  <a:pt x="7554" y="172079"/>
                </a:cubicBezTo>
                <a:moveTo>
                  <a:pt x="98286" y="163566"/>
                </a:moveTo>
                <a:cubicBezTo>
                  <a:pt x="89288" y="112116"/>
                  <a:pt x="86355" y="60033"/>
                  <a:pt x="83497" y="8289"/>
                </a:cubicBezTo>
                <a:cubicBezTo>
                  <a:pt x="65606" y="5845"/>
                  <a:pt x="24110" y="6470"/>
                  <a:pt x="15161" y="9148"/>
                </a:cubicBezTo>
                <a:cubicBezTo>
                  <a:pt x="15161" y="52045"/>
                  <a:pt x="15527" y="94996"/>
                  <a:pt x="15058" y="137939"/>
                </a:cubicBezTo>
                <a:cubicBezTo>
                  <a:pt x="14587" y="180919"/>
                  <a:pt x="13597" y="223900"/>
                  <a:pt x="12252" y="266862"/>
                </a:cubicBezTo>
                <a:cubicBezTo>
                  <a:pt x="10912" y="309638"/>
                  <a:pt x="8849" y="352391"/>
                  <a:pt x="7068" y="395996"/>
                </a:cubicBezTo>
                <a:cubicBezTo>
                  <a:pt x="62774" y="395996"/>
                  <a:pt x="116821" y="395996"/>
                  <a:pt x="171647" y="395996"/>
                </a:cubicBezTo>
                <a:cubicBezTo>
                  <a:pt x="148550" y="352016"/>
                  <a:pt x="132566" y="306307"/>
                  <a:pt x="119950" y="259496"/>
                </a:cubicBezTo>
                <a:cubicBezTo>
                  <a:pt x="111608" y="228543"/>
                  <a:pt x="105493" y="196989"/>
                  <a:pt x="98286" y="163566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1" name="Free-form: Shape 110">
            <a:extLst>
              <a:ext uri="{FF2B5EF4-FFF2-40B4-BE49-F238E27FC236}">
                <a16:creationId xmlns:a16="http://schemas.microsoft.com/office/drawing/2014/main" id="{5CAB90D5-86AF-A2F6-AB17-BC660E79497A}"/>
              </a:ext>
            </a:extLst>
          </p:cNvPr>
          <p:cNvSpPr/>
          <p:nvPr/>
        </p:nvSpPr>
        <p:spPr>
          <a:xfrm>
            <a:off x="1520803" y="2690852"/>
            <a:ext cx="209255" cy="47389"/>
          </a:xfrm>
          <a:custGeom>
            <a:avLst/>
            <a:gdLst>
              <a:gd name="csX0" fmla="*/ 297312 w 337008"/>
              <a:gd name="csY0" fmla="*/ 59188 h 76321"/>
              <a:gd name="csX1" fmla="*/ 241991 w 337008"/>
              <a:gd name="csY1" fmla="*/ 66577 h 76321"/>
              <a:gd name="csX2" fmla="*/ 185243 w 337008"/>
              <a:gd name="csY2" fmla="*/ 73717 h 76321"/>
              <a:gd name="csX3" fmla="*/ 182797 w 337008"/>
              <a:gd name="csY3" fmla="*/ 73873 h 76321"/>
              <a:gd name="csX4" fmla="*/ 19866 w 337008"/>
              <a:gd name="csY4" fmla="*/ 76320 h 76321"/>
              <a:gd name="csX5" fmla="*/ 12650 w 337008"/>
              <a:gd name="csY5" fmla="*/ 75242 h 76321"/>
              <a:gd name="csX6" fmla="*/ 19 w 337008"/>
              <a:gd name="csY6" fmla="*/ 59006 h 76321"/>
              <a:gd name="csX7" fmla="*/ 11 w 337008"/>
              <a:gd name="csY7" fmla="*/ 18266 h 76321"/>
              <a:gd name="csX8" fmla="*/ 13547 w 337008"/>
              <a:gd name="csY8" fmla="*/ 17427 h 76321"/>
              <a:gd name="csX9" fmla="*/ 109279 w 337008"/>
              <a:gd name="csY9" fmla="*/ 17200 h 76321"/>
              <a:gd name="csX10" fmla="*/ 173714 w 337008"/>
              <a:gd name="csY10" fmla="*/ 12645 h 76321"/>
              <a:gd name="csX11" fmla="*/ 205309 w 337008"/>
              <a:gd name="csY11" fmla="*/ 10096 h 76321"/>
              <a:gd name="csX12" fmla="*/ 245485 w 337008"/>
              <a:gd name="csY12" fmla="*/ 7449 h 76321"/>
              <a:gd name="csX13" fmla="*/ 288955 w 337008"/>
              <a:gd name="csY13" fmla="*/ 1844 h 76321"/>
              <a:gd name="csX14" fmla="*/ 307132 w 337008"/>
              <a:gd name="csY14" fmla="*/ 164 h 76321"/>
              <a:gd name="csX15" fmla="*/ 324030 w 337008"/>
              <a:gd name="csY15" fmla="*/ 9691 h 76321"/>
              <a:gd name="csX16" fmla="*/ 336033 w 337008"/>
              <a:gd name="csY16" fmla="*/ 39107 h 76321"/>
              <a:gd name="csX17" fmla="*/ 328060 w 337008"/>
              <a:gd name="csY17" fmla="*/ 52413 h 76321"/>
              <a:gd name="csX18" fmla="*/ 297312 w 337008"/>
              <a:gd name="csY18" fmla="*/ 59188 h 76321"/>
              <a:gd name="csX19" fmla="*/ 207688 w 337008"/>
              <a:gd name="csY19" fmla="*/ 64284 h 76321"/>
              <a:gd name="csX20" fmla="*/ 330050 w 337008"/>
              <a:gd name="csY20" fmla="*/ 45606 h 76321"/>
              <a:gd name="csX21" fmla="*/ 317356 w 337008"/>
              <a:gd name="csY21" fmla="*/ 11297 h 76321"/>
              <a:gd name="csX22" fmla="*/ 304170 w 337008"/>
              <a:gd name="csY22" fmla="*/ 5545 h 76321"/>
              <a:gd name="csX23" fmla="*/ 273851 w 337008"/>
              <a:gd name="csY23" fmla="*/ 10014 h 76321"/>
              <a:gd name="csX24" fmla="*/ 163935 w 337008"/>
              <a:gd name="csY24" fmla="*/ 20274 h 76321"/>
              <a:gd name="csX25" fmla="*/ 17973 w 337008"/>
              <a:gd name="csY25" fmla="*/ 22950 h 76321"/>
              <a:gd name="csX26" fmla="*/ 7372 w 337008"/>
              <a:gd name="csY26" fmla="*/ 23601 h 76321"/>
              <a:gd name="csX27" fmla="*/ 7372 w 337008"/>
              <a:gd name="csY27" fmla="*/ 67898 h 76321"/>
              <a:gd name="csX28" fmla="*/ 207688 w 337008"/>
              <a:gd name="csY28" fmla="*/ 64284 h 7632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</a:cxnLst>
            <a:rect l="l" t="t" r="r" b="b"/>
            <a:pathLst>
              <a:path w="337008" h="76321">
                <a:moveTo>
                  <a:pt x="297312" y="59188"/>
                </a:moveTo>
                <a:cubicBezTo>
                  <a:pt x="278167" y="61672"/>
                  <a:pt x="260091" y="64212"/>
                  <a:pt x="241991" y="66577"/>
                </a:cubicBezTo>
                <a:cubicBezTo>
                  <a:pt x="223087" y="69047"/>
                  <a:pt x="204161" y="71350"/>
                  <a:pt x="185243" y="73717"/>
                </a:cubicBezTo>
                <a:cubicBezTo>
                  <a:pt x="184433" y="73818"/>
                  <a:pt x="183613" y="73861"/>
                  <a:pt x="182797" y="73873"/>
                </a:cubicBezTo>
                <a:cubicBezTo>
                  <a:pt x="128487" y="74710"/>
                  <a:pt x="74176" y="75556"/>
                  <a:pt x="19866" y="76320"/>
                </a:cubicBezTo>
                <a:cubicBezTo>
                  <a:pt x="17463" y="76354"/>
                  <a:pt x="15013" y="75797"/>
                  <a:pt x="12650" y="75242"/>
                </a:cubicBezTo>
                <a:cubicBezTo>
                  <a:pt x="80" y="72288"/>
                  <a:pt x="58" y="72258"/>
                  <a:pt x="19" y="59006"/>
                </a:cubicBezTo>
                <a:cubicBezTo>
                  <a:pt x="-19" y="45942"/>
                  <a:pt x="11" y="32877"/>
                  <a:pt x="11" y="18266"/>
                </a:cubicBezTo>
                <a:cubicBezTo>
                  <a:pt x="4987" y="17944"/>
                  <a:pt x="9266" y="17435"/>
                  <a:pt x="13547" y="17427"/>
                </a:cubicBezTo>
                <a:cubicBezTo>
                  <a:pt x="45459" y="17362"/>
                  <a:pt x="77385" y="17975"/>
                  <a:pt x="109279" y="17200"/>
                </a:cubicBezTo>
                <a:cubicBezTo>
                  <a:pt x="130782" y="16677"/>
                  <a:pt x="152239" y="14265"/>
                  <a:pt x="173714" y="12645"/>
                </a:cubicBezTo>
                <a:cubicBezTo>
                  <a:pt x="184250" y="11850"/>
                  <a:pt x="194770" y="10836"/>
                  <a:pt x="205309" y="10096"/>
                </a:cubicBezTo>
                <a:cubicBezTo>
                  <a:pt x="218698" y="9156"/>
                  <a:pt x="232139" y="8783"/>
                  <a:pt x="245485" y="7449"/>
                </a:cubicBezTo>
                <a:cubicBezTo>
                  <a:pt x="260017" y="5997"/>
                  <a:pt x="274456" y="3648"/>
                  <a:pt x="288955" y="1844"/>
                </a:cubicBezTo>
                <a:cubicBezTo>
                  <a:pt x="294991" y="1094"/>
                  <a:pt x="301100" y="930"/>
                  <a:pt x="307132" y="164"/>
                </a:cubicBezTo>
                <a:cubicBezTo>
                  <a:pt x="315239" y="-865"/>
                  <a:pt x="320841" y="3022"/>
                  <a:pt x="324030" y="9691"/>
                </a:cubicBezTo>
                <a:cubicBezTo>
                  <a:pt x="328594" y="19236"/>
                  <a:pt x="332712" y="29070"/>
                  <a:pt x="336033" y="39107"/>
                </a:cubicBezTo>
                <a:cubicBezTo>
                  <a:pt x="338557" y="46735"/>
                  <a:pt x="336278" y="50185"/>
                  <a:pt x="328060" y="52413"/>
                </a:cubicBezTo>
                <a:cubicBezTo>
                  <a:pt x="318273" y="55068"/>
                  <a:pt x="308277" y="56950"/>
                  <a:pt x="297312" y="59188"/>
                </a:cubicBezTo>
                <a:moveTo>
                  <a:pt x="207688" y="64284"/>
                </a:moveTo>
                <a:cubicBezTo>
                  <a:pt x="248681" y="60632"/>
                  <a:pt x="289317" y="54812"/>
                  <a:pt x="330050" y="45606"/>
                </a:cubicBezTo>
                <a:cubicBezTo>
                  <a:pt x="327603" y="32443"/>
                  <a:pt x="323777" y="21532"/>
                  <a:pt x="317356" y="11297"/>
                </a:cubicBezTo>
                <a:cubicBezTo>
                  <a:pt x="313908" y="5803"/>
                  <a:pt x="310145" y="4465"/>
                  <a:pt x="304170" y="5545"/>
                </a:cubicBezTo>
                <a:cubicBezTo>
                  <a:pt x="294121" y="7361"/>
                  <a:pt x="284007" y="9006"/>
                  <a:pt x="273851" y="10014"/>
                </a:cubicBezTo>
                <a:cubicBezTo>
                  <a:pt x="237233" y="13650"/>
                  <a:pt x="200632" y="17661"/>
                  <a:pt x="163935" y="20274"/>
                </a:cubicBezTo>
                <a:cubicBezTo>
                  <a:pt x="115360" y="23734"/>
                  <a:pt x="66701" y="25937"/>
                  <a:pt x="17973" y="22950"/>
                </a:cubicBezTo>
                <a:cubicBezTo>
                  <a:pt x="14492" y="22737"/>
                  <a:pt x="10959" y="23361"/>
                  <a:pt x="7372" y="23601"/>
                </a:cubicBezTo>
                <a:cubicBezTo>
                  <a:pt x="7372" y="38609"/>
                  <a:pt x="7372" y="52361"/>
                  <a:pt x="7372" y="67898"/>
                </a:cubicBezTo>
                <a:cubicBezTo>
                  <a:pt x="74001" y="69806"/>
                  <a:pt x="139746" y="71025"/>
                  <a:pt x="207688" y="64284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2" name="Free-form: Shape 111">
            <a:extLst>
              <a:ext uri="{FF2B5EF4-FFF2-40B4-BE49-F238E27FC236}">
                <a16:creationId xmlns:a16="http://schemas.microsoft.com/office/drawing/2014/main" id="{4C532DC0-87A5-BCC5-E650-BD07F7C7AAD4}"/>
              </a:ext>
            </a:extLst>
          </p:cNvPr>
          <p:cNvSpPr/>
          <p:nvPr/>
        </p:nvSpPr>
        <p:spPr>
          <a:xfrm>
            <a:off x="1524536" y="2544398"/>
            <a:ext cx="188426" cy="132688"/>
          </a:xfrm>
          <a:custGeom>
            <a:avLst/>
            <a:gdLst>
              <a:gd name="csX0" fmla="*/ 14160 w 303463"/>
              <a:gd name="csY0" fmla="*/ 7889 h 213695"/>
              <a:gd name="csX1" fmla="*/ 195033 w 303463"/>
              <a:gd name="csY1" fmla="*/ 0 h 213695"/>
              <a:gd name="csX2" fmla="*/ 197208 w 303463"/>
              <a:gd name="csY2" fmla="*/ 5635 h 213695"/>
              <a:gd name="csX3" fmla="*/ 227014 w 303463"/>
              <a:gd name="csY3" fmla="*/ 60660 h 213695"/>
              <a:gd name="csX4" fmla="*/ 265823 w 303463"/>
              <a:gd name="csY4" fmla="*/ 98217 h 213695"/>
              <a:gd name="csX5" fmla="*/ 303210 w 303463"/>
              <a:gd name="csY5" fmla="*/ 180358 h 213695"/>
              <a:gd name="csX6" fmla="*/ 303282 w 303463"/>
              <a:gd name="csY6" fmla="*/ 193964 h 213695"/>
              <a:gd name="csX7" fmla="*/ 4971 w 303463"/>
              <a:gd name="csY7" fmla="*/ 213017 h 213695"/>
              <a:gd name="csX8" fmla="*/ 5093 w 303463"/>
              <a:gd name="csY8" fmla="*/ 173484 h 213695"/>
              <a:gd name="csX9" fmla="*/ 4767 w 303463"/>
              <a:gd name="csY9" fmla="*/ 54607 h 213695"/>
              <a:gd name="csX10" fmla="*/ 0 w 303463"/>
              <a:gd name="csY10" fmla="*/ 7887 h 213695"/>
              <a:gd name="csX11" fmla="*/ 14160 w 303463"/>
              <a:gd name="csY11" fmla="*/ 7889 h 21369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303463" h="213695">
                <a:moveTo>
                  <a:pt x="14160" y="7889"/>
                </a:moveTo>
                <a:cubicBezTo>
                  <a:pt x="75371" y="8627"/>
                  <a:pt x="135292" y="5744"/>
                  <a:pt x="195033" y="0"/>
                </a:cubicBezTo>
                <a:cubicBezTo>
                  <a:pt x="196084" y="2662"/>
                  <a:pt x="196986" y="4099"/>
                  <a:pt x="197208" y="5635"/>
                </a:cubicBezTo>
                <a:cubicBezTo>
                  <a:pt x="200391" y="27650"/>
                  <a:pt x="211307" y="45450"/>
                  <a:pt x="227014" y="60660"/>
                </a:cubicBezTo>
                <a:cubicBezTo>
                  <a:pt x="239947" y="73182"/>
                  <a:pt x="253006" y="85577"/>
                  <a:pt x="265823" y="98217"/>
                </a:cubicBezTo>
                <a:cubicBezTo>
                  <a:pt x="288727" y="120806"/>
                  <a:pt x="299071" y="149215"/>
                  <a:pt x="303210" y="180358"/>
                </a:cubicBezTo>
                <a:cubicBezTo>
                  <a:pt x="303735" y="184317"/>
                  <a:pt x="303282" y="188405"/>
                  <a:pt x="303282" y="193964"/>
                </a:cubicBezTo>
                <a:cubicBezTo>
                  <a:pt x="204065" y="208804"/>
                  <a:pt x="105022" y="216044"/>
                  <a:pt x="4971" y="213017"/>
                </a:cubicBezTo>
                <a:cubicBezTo>
                  <a:pt x="4971" y="199268"/>
                  <a:pt x="4314" y="186332"/>
                  <a:pt x="5093" y="173484"/>
                </a:cubicBezTo>
                <a:cubicBezTo>
                  <a:pt x="7497" y="133835"/>
                  <a:pt x="8211" y="94216"/>
                  <a:pt x="4767" y="54607"/>
                </a:cubicBezTo>
                <a:cubicBezTo>
                  <a:pt x="3464" y="39611"/>
                  <a:pt x="1725" y="24653"/>
                  <a:pt x="0" y="7887"/>
                </a:cubicBezTo>
                <a:cubicBezTo>
                  <a:pt x="4390" y="7887"/>
                  <a:pt x="8696" y="7887"/>
                  <a:pt x="14160" y="7889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3" name="Free-form: Shape 112">
            <a:extLst>
              <a:ext uri="{FF2B5EF4-FFF2-40B4-BE49-F238E27FC236}">
                <a16:creationId xmlns:a16="http://schemas.microsoft.com/office/drawing/2014/main" id="{3D263BD2-C1AD-472A-5A42-3D0F21FCB2A4}"/>
              </a:ext>
            </a:extLst>
          </p:cNvPr>
          <p:cNvSpPr/>
          <p:nvPr/>
        </p:nvSpPr>
        <p:spPr>
          <a:xfrm>
            <a:off x="1490774" y="2014642"/>
            <a:ext cx="129814" cy="126299"/>
          </a:xfrm>
          <a:custGeom>
            <a:avLst/>
            <a:gdLst>
              <a:gd name="csX0" fmla="*/ 10475 w 209067"/>
              <a:gd name="csY0" fmla="*/ 41718 h 203406"/>
              <a:gd name="csX1" fmla="*/ 100250 w 209067"/>
              <a:gd name="csY1" fmla="*/ 1265 h 203406"/>
              <a:gd name="csX2" fmla="*/ 206681 w 209067"/>
              <a:gd name="csY2" fmla="*/ 98526 h 203406"/>
              <a:gd name="csX3" fmla="*/ 134647 w 209067"/>
              <a:gd name="csY3" fmla="*/ 202431 h 203406"/>
              <a:gd name="csX4" fmla="*/ 40986 w 209067"/>
              <a:gd name="csY4" fmla="*/ 171438 h 203406"/>
              <a:gd name="csX5" fmla="*/ 143 w 209067"/>
              <a:gd name="csY5" fmla="*/ 85158 h 203406"/>
              <a:gd name="csX6" fmla="*/ 10475 w 209067"/>
              <a:gd name="csY6" fmla="*/ 41718 h 20340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</a:cxnLst>
            <a:rect l="l" t="t" r="r" b="b"/>
            <a:pathLst>
              <a:path w="209067" h="203406">
                <a:moveTo>
                  <a:pt x="10475" y="41718"/>
                </a:moveTo>
                <a:cubicBezTo>
                  <a:pt x="31065" y="6021"/>
                  <a:pt x="63171" y="-3865"/>
                  <a:pt x="100250" y="1265"/>
                </a:cubicBezTo>
                <a:cubicBezTo>
                  <a:pt x="157191" y="9144"/>
                  <a:pt x="196951" y="51394"/>
                  <a:pt x="206681" y="98526"/>
                </a:cubicBezTo>
                <a:cubicBezTo>
                  <a:pt x="219504" y="160635"/>
                  <a:pt x="178523" y="196657"/>
                  <a:pt x="134647" y="202431"/>
                </a:cubicBezTo>
                <a:cubicBezTo>
                  <a:pt x="98365" y="207204"/>
                  <a:pt x="68101" y="194086"/>
                  <a:pt x="40986" y="171438"/>
                </a:cubicBezTo>
                <a:cubicBezTo>
                  <a:pt x="14115" y="148994"/>
                  <a:pt x="2457" y="119007"/>
                  <a:pt x="143" y="85158"/>
                </a:cubicBezTo>
                <a:cubicBezTo>
                  <a:pt x="-869" y="70364"/>
                  <a:pt x="3586" y="56015"/>
                  <a:pt x="10475" y="41718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4" name="Free-form: Shape 113">
            <a:extLst>
              <a:ext uri="{FF2B5EF4-FFF2-40B4-BE49-F238E27FC236}">
                <a16:creationId xmlns:a16="http://schemas.microsoft.com/office/drawing/2014/main" id="{99DB892B-B82D-2957-FA57-DCBCE0DC8AAB}"/>
              </a:ext>
            </a:extLst>
          </p:cNvPr>
          <p:cNvSpPr/>
          <p:nvPr/>
        </p:nvSpPr>
        <p:spPr>
          <a:xfrm>
            <a:off x="1527033" y="2227680"/>
            <a:ext cx="97564" cy="25665"/>
          </a:xfrm>
          <a:custGeom>
            <a:avLst/>
            <a:gdLst>
              <a:gd name="csX0" fmla="*/ 69625 w 157129"/>
              <a:gd name="csY0" fmla="*/ 0 h 41334"/>
              <a:gd name="csX1" fmla="*/ 119596 w 157129"/>
              <a:gd name="csY1" fmla="*/ 1945 h 41334"/>
              <a:gd name="csX2" fmla="*/ 150973 w 157129"/>
              <a:gd name="csY2" fmla="*/ 14889 h 41334"/>
              <a:gd name="csX3" fmla="*/ 151351 w 157129"/>
              <a:gd name="csY3" fmla="*/ 34058 h 41334"/>
              <a:gd name="csX4" fmla="*/ 133492 w 157129"/>
              <a:gd name="csY4" fmla="*/ 40697 h 41334"/>
              <a:gd name="csX5" fmla="*/ 106556 w 157129"/>
              <a:gd name="csY5" fmla="*/ 41092 h 41334"/>
              <a:gd name="csX6" fmla="*/ 13373 w 157129"/>
              <a:gd name="csY6" fmla="*/ 40708 h 41334"/>
              <a:gd name="csX7" fmla="*/ 1312 w 157129"/>
              <a:gd name="csY7" fmla="*/ 40191 h 41334"/>
              <a:gd name="csX8" fmla="*/ 3367 w 157129"/>
              <a:gd name="csY8" fmla="*/ 13162 h 41334"/>
              <a:gd name="csX9" fmla="*/ 20752 w 157129"/>
              <a:gd name="csY9" fmla="*/ 1879 h 41334"/>
              <a:gd name="csX10" fmla="*/ 52625 w 157129"/>
              <a:gd name="csY10" fmla="*/ 1332 h 41334"/>
              <a:gd name="csX11" fmla="*/ 69625 w 157129"/>
              <a:gd name="csY11" fmla="*/ 0 h 4133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157129" h="41334">
                <a:moveTo>
                  <a:pt x="69625" y="0"/>
                </a:moveTo>
                <a:cubicBezTo>
                  <a:pt x="87054" y="491"/>
                  <a:pt x="103407" y="373"/>
                  <a:pt x="119596" y="1945"/>
                </a:cubicBezTo>
                <a:cubicBezTo>
                  <a:pt x="131020" y="3055"/>
                  <a:pt x="141713" y="7767"/>
                  <a:pt x="150973" y="14889"/>
                </a:cubicBezTo>
                <a:cubicBezTo>
                  <a:pt x="158820" y="20925"/>
                  <a:pt x="159403" y="28236"/>
                  <a:pt x="151351" y="34058"/>
                </a:cubicBezTo>
                <a:cubicBezTo>
                  <a:pt x="146355" y="37671"/>
                  <a:pt x="139678" y="39910"/>
                  <a:pt x="133492" y="40697"/>
                </a:cubicBezTo>
                <a:cubicBezTo>
                  <a:pt x="124640" y="41824"/>
                  <a:pt x="115547" y="41120"/>
                  <a:pt x="106556" y="41092"/>
                </a:cubicBezTo>
                <a:cubicBezTo>
                  <a:pt x="75495" y="40996"/>
                  <a:pt x="44434" y="40872"/>
                  <a:pt x="13373" y="40708"/>
                </a:cubicBezTo>
                <a:cubicBezTo>
                  <a:pt x="9391" y="40687"/>
                  <a:pt x="5410" y="40374"/>
                  <a:pt x="1312" y="40191"/>
                </a:cubicBezTo>
                <a:cubicBezTo>
                  <a:pt x="-1416" y="30384"/>
                  <a:pt x="523" y="21512"/>
                  <a:pt x="3367" y="13162"/>
                </a:cubicBezTo>
                <a:cubicBezTo>
                  <a:pt x="5963" y="5538"/>
                  <a:pt x="12701" y="2077"/>
                  <a:pt x="20752" y="1879"/>
                </a:cubicBezTo>
                <a:cubicBezTo>
                  <a:pt x="31375" y="1617"/>
                  <a:pt x="42004" y="1647"/>
                  <a:pt x="52625" y="1332"/>
                </a:cubicBezTo>
                <a:cubicBezTo>
                  <a:pt x="57918" y="1176"/>
                  <a:pt x="63195" y="535"/>
                  <a:pt x="69625" y="0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5" name="Free-form: Shape 114">
            <a:extLst>
              <a:ext uri="{FF2B5EF4-FFF2-40B4-BE49-F238E27FC236}">
                <a16:creationId xmlns:a16="http://schemas.microsoft.com/office/drawing/2014/main" id="{63A16DDC-32E5-10EA-EB46-FFE9622D8B6D}"/>
              </a:ext>
            </a:extLst>
          </p:cNvPr>
          <p:cNvSpPr/>
          <p:nvPr/>
        </p:nvSpPr>
        <p:spPr>
          <a:xfrm>
            <a:off x="1523560" y="2278567"/>
            <a:ext cx="102191" cy="241686"/>
          </a:xfrm>
          <a:custGeom>
            <a:avLst/>
            <a:gdLst>
              <a:gd name="csX0" fmla="*/ 91265 w 164579"/>
              <a:gd name="csY0" fmla="*/ 157878 h 389238"/>
              <a:gd name="csX1" fmla="*/ 112882 w 164579"/>
              <a:gd name="csY1" fmla="*/ 252738 h 389238"/>
              <a:gd name="csX2" fmla="*/ 164579 w 164579"/>
              <a:gd name="csY2" fmla="*/ 389238 h 389238"/>
              <a:gd name="csX3" fmla="*/ 0 w 164579"/>
              <a:gd name="csY3" fmla="*/ 389238 h 389238"/>
              <a:gd name="csX4" fmla="*/ 5184 w 164579"/>
              <a:gd name="csY4" fmla="*/ 260105 h 389238"/>
              <a:gd name="csX5" fmla="*/ 7989 w 164579"/>
              <a:gd name="csY5" fmla="*/ 131182 h 389238"/>
              <a:gd name="csX6" fmla="*/ 8093 w 164579"/>
              <a:gd name="csY6" fmla="*/ 2390 h 389238"/>
              <a:gd name="csX7" fmla="*/ 76429 w 164579"/>
              <a:gd name="csY7" fmla="*/ 1531 h 389238"/>
              <a:gd name="csX8" fmla="*/ 91265 w 164579"/>
              <a:gd name="csY8" fmla="*/ 157878 h 38923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</a:cxnLst>
            <a:rect l="l" t="t" r="r" b="b"/>
            <a:pathLst>
              <a:path w="164579" h="389238">
                <a:moveTo>
                  <a:pt x="91265" y="157878"/>
                </a:moveTo>
                <a:cubicBezTo>
                  <a:pt x="98425" y="190232"/>
                  <a:pt x="104539" y="221785"/>
                  <a:pt x="112882" y="252738"/>
                </a:cubicBezTo>
                <a:cubicBezTo>
                  <a:pt x="125498" y="299549"/>
                  <a:pt x="141482" y="345258"/>
                  <a:pt x="164579" y="389238"/>
                </a:cubicBezTo>
                <a:cubicBezTo>
                  <a:pt x="109753" y="389238"/>
                  <a:pt x="55706" y="389238"/>
                  <a:pt x="0" y="389238"/>
                </a:cubicBezTo>
                <a:cubicBezTo>
                  <a:pt x="1781" y="345633"/>
                  <a:pt x="3844" y="302880"/>
                  <a:pt x="5184" y="260105"/>
                </a:cubicBezTo>
                <a:cubicBezTo>
                  <a:pt x="6529" y="217143"/>
                  <a:pt x="7519" y="174162"/>
                  <a:pt x="7989" y="131182"/>
                </a:cubicBezTo>
                <a:cubicBezTo>
                  <a:pt x="8459" y="88239"/>
                  <a:pt x="8093" y="45287"/>
                  <a:pt x="8093" y="2390"/>
                </a:cubicBezTo>
                <a:cubicBezTo>
                  <a:pt x="17041" y="-288"/>
                  <a:pt x="58537" y="-913"/>
                  <a:pt x="76429" y="1531"/>
                </a:cubicBezTo>
                <a:cubicBezTo>
                  <a:pt x="79287" y="53276"/>
                  <a:pt x="82219" y="105359"/>
                  <a:pt x="91265" y="157878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6" name="Free-form: Shape 115">
            <a:extLst>
              <a:ext uri="{FF2B5EF4-FFF2-40B4-BE49-F238E27FC236}">
                <a16:creationId xmlns:a16="http://schemas.microsoft.com/office/drawing/2014/main" id="{732BD63B-A0ED-C9D6-A443-8E14E892491F}"/>
              </a:ext>
            </a:extLst>
          </p:cNvPr>
          <p:cNvSpPr/>
          <p:nvPr/>
        </p:nvSpPr>
        <p:spPr>
          <a:xfrm>
            <a:off x="1525379" y="2694080"/>
            <a:ext cx="200357" cy="39865"/>
          </a:xfrm>
          <a:custGeom>
            <a:avLst/>
            <a:gdLst>
              <a:gd name="csX0" fmla="*/ 199184 w 322677"/>
              <a:gd name="csY0" fmla="*/ 59136 h 64202"/>
              <a:gd name="csX1" fmla="*/ 0 w 322677"/>
              <a:gd name="csY1" fmla="*/ 62697 h 64202"/>
              <a:gd name="csX2" fmla="*/ 0 w 322677"/>
              <a:gd name="csY2" fmla="*/ 18400 h 64202"/>
              <a:gd name="csX3" fmla="*/ 10601 w 322677"/>
              <a:gd name="csY3" fmla="*/ 17750 h 64202"/>
              <a:gd name="csX4" fmla="*/ 156563 w 322677"/>
              <a:gd name="csY4" fmla="*/ 15074 h 64202"/>
              <a:gd name="csX5" fmla="*/ 266479 w 322677"/>
              <a:gd name="csY5" fmla="*/ 4814 h 64202"/>
              <a:gd name="csX6" fmla="*/ 296798 w 322677"/>
              <a:gd name="csY6" fmla="*/ 344 h 64202"/>
              <a:gd name="csX7" fmla="*/ 309983 w 322677"/>
              <a:gd name="csY7" fmla="*/ 6097 h 64202"/>
              <a:gd name="csX8" fmla="*/ 322678 w 322677"/>
              <a:gd name="csY8" fmla="*/ 40406 h 64202"/>
              <a:gd name="csX9" fmla="*/ 199184 w 322677"/>
              <a:gd name="csY9" fmla="*/ 59136 h 6420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322677" h="64202">
                <a:moveTo>
                  <a:pt x="199184" y="59136"/>
                </a:moveTo>
                <a:cubicBezTo>
                  <a:pt x="132374" y="65824"/>
                  <a:pt x="66629" y="64605"/>
                  <a:pt x="0" y="62697"/>
                </a:cubicBezTo>
                <a:cubicBezTo>
                  <a:pt x="0" y="47160"/>
                  <a:pt x="0" y="33409"/>
                  <a:pt x="0" y="18400"/>
                </a:cubicBezTo>
                <a:cubicBezTo>
                  <a:pt x="3587" y="18160"/>
                  <a:pt x="7120" y="17536"/>
                  <a:pt x="10601" y="17750"/>
                </a:cubicBezTo>
                <a:cubicBezTo>
                  <a:pt x="59329" y="20736"/>
                  <a:pt x="107987" y="18533"/>
                  <a:pt x="156563" y="15074"/>
                </a:cubicBezTo>
                <a:cubicBezTo>
                  <a:pt x="193260" y="12461"/>
                  <a:pt x="229860" y="8449"/>
                  <a:pt x="266479" y="4814"/>
                </a:cubicBezTo>
                <a:cubicBezTo>
                  <a:pt x="276635" y="3806"/>
                  <a:pt x="286748" y="2160"/>
                  <a:pt x="296798" y="344"/>
                </a:cubicBezTo>
                <a:cubicBezTo>
                  <a:pt x="302773" y="-735"/>
                  <a:pt x="306536" y="602"/>
                  <a:pt x="309983" y="6097"/>
                </a:cubicBezTo>
                <a:cubicBezTo>
                  <a:pt x="316405" y="16331"/>
                  <a:pt x="320231" y="27243"/>
                  <a:pt x="322678" y="40406"/>
                </a:cubicBezTo>
                <a:cubicBezTo>
                  <a:pt x="281944" y="49611"/>
                  <a:pt x="241309" y="55431"/>
                  <a:pt x="199184" y="59136"/>
                </a:cubicBezTo>
                <a:close/>
              </a:path>
            </a:pathLst>
          </a:custGeom>
          <a:solidFill>
            <a:schemeClr val="bg1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2904154E-B0E5-B6D5-0674-B9E824175D7B}"/>
              </a:ext>
            </a:extLst>
          </p:cNvPr>
          <p:cNvSpPr txBox="1"/>
          <p:nvPr/>
        </p:nvSpPr>
        <p:spPr>
          <a:xfrm>
            <a:off x="1117371" y="2748262"/>
            <a:ext cx="863983" cy="3927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-CHOP</a:t>
            </a:r>
          </a:p>
        </p:txBody>
      </p:sp>
      <p:sp>
        <p:nvSpPr>
          <p:cNvPr id="118" name="TextBox 117">
            <a:extLst>
              <a:ext uri="{FF2B5EF4-FFF2-40B4-BE49-F238E27FC236}">
                <a16:creationId xmlns:a16="http://schemas.microsoft.com/office/drawing/2014/main" id="{1FA62918-D033-75FA-C8BF-A56F8AE52CFF}"/>
              </a:ext>
            </a:extLst>
          </p:cNvPr>
          <p:cNvSpPr txBox="1"/>
          <p:nvPr/>
        </p:nvSpPr>
        <p:spPr>
          <a:xfrm>
            <a:off x="660471" y="1390325"/>
            <a:ext cx="3096950" cy="342451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rtlCol="0" anchor="t" anchorCtr="0">
            <a:noAutofit/>
          </a:bodyPr>
          <a:lstStyle>
            <a:defPPr>
              <a:defRPr lang="en-GB"/>
            </a:defPPr>
            <a:lvl1pPr algn="ctr">
              <a:defRPr sz="1600" b="1">
                <a:solidFill>
                  <a:schemeClr val="tx2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herapies already used</a:t>
            </a:r>
          </a:p>
        </p:txBody>
      </p:sp>
      <p:cxnSp>
        <p:nvCxnSpPr>
          <p:cNvPr id="119" name="Straight Arrow Connector 118">
            <a:extLst>
              <a:ext uri="{FF2B5EF4-FFF2-40B4-BE49-F238E27FC236}">
                <a16:creationId xmlns:a16="http://schemas.microsoft.com/office/drawing/2014/main" id="{E30EFE91-3CF9-DE72-17BB-2DAC9BA165A5}"/>
              </a:ext>
            </a:extLst>
          </p:cNvPr>
          <p:cNvCxnSpPr>
            <a:cxnSpLocks/>
          </p:cNvCxnSpPr>
          <p:nvPr/>
        </p:nvCxnSpPr>
        <p:spPr>
          <a:xfrm>
            <a:off x="756370" y="1835612"/>
            <a:ext cx="2807240" cy="0"/>
          </a:xfrm>
          <a:prstGeom prst="straightConnector1">
            <a:avLst/>
          </a:prstGeom>
          <a:ln>
            <a:solidFill>
              <a:schemeClr val="accent6">
                <a:lumMod val="40000"/>
                <a:lumOff val="60000"/>
              </a:schemeClr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0" name="Oval 119">
            <a:extLst>
              <a:ext uri="{FF2B5EF4-FFF2-40B4-BE49-F238E27FC236}">
                <a16:creationId xmlns:a16="http://schemas.microsoft.com/office/drawing/2014/main" id="{845B0CA2-2D6A-D9C7-4A93-824452E49258}"/>
              </a:ext>
            </a:extLst>
          </p:cNvPr>
          <p:cNvSpPr/>
          <p:nvPr/>
        </p:nvSpPr>
        <p:spPr>
          <a:xfrm>
            <a:off x="1055467" y="4324710"/>
            <a:ext cx="717698" cy="104135"/>
          </a:xfrm>
          <a:prstGeom prst="ellipse">
            <a:avLst/>
          </a:prstGeom>
          <a:solidFill>
            <a:schemeClr val="tx1">
              <a:alpha val="6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1" name="Free-form: Shape 120">
            <a:extLst>
              <a:ext uri="{FF2B5EF4-FFF2-40B4-BE49-F238E27FC236}">
                <a16:creationId xmlns:a16="http://schemas.microsoft.com/office/drawing/2014/main" id="{2C410047-D6F1-F76B-63C2-D8A766001E7D}"/>
              </a:ext>
            </a:extLst>
          </p:cNvPr>
          <p:cNvSpPr/>
          <p:nvPr/>
        </p:nvSpPr>
        <p:spPr>
          <a:xfrm>
            <a:off x="1150511" y="3130826"/>
            <a:ext cx="634942" cy="1266262"/>
          </a:xfrm>
          <a:custGeom>
            <a:avLst/>
            <a:gdLst>
              <a:gd name="csX0" fmla="*/ 703087 w 763849"/>
              <a:gd name="csY0" fmla="*/ 1241174 h 1523340"/>
              <a:gd name="csX1" fmla="*/ 732932 w 763849"/>
              <a:gd name="csY1" fmla="*/ 1359634 h 1523340"/>
              <a:gd name="csX2" fmla="*/ 735544 w 763849"/>
              <a:gd name="csY2" fmla="*/ 1377287 h 1523340"/>
              <a:gd name="csX3" fmla="*/ 756764 w 763849"/>
              <a:gd name="csY3" fmla="*/ 1458577 h 1523340"/>
              <a:gd name="csX4" fmla="*/ 757108 w 763849"/>
              <a:gd name="csY4" fmla="*/ 1465940 h 1523340"/>
              <a:gd name="csX5" fmla="*/ 744215 w 763849"/>
              <a:gd name="csY5" fmla="*/ 1488332 h 1523340"/>
              <a:gd name="csX6" fmla="*/ 712781 w 763849"/>
              <a:gd name="csY6" fmla="*/ 1498472 h 1523340"/>
              <a:gd name="csX7" fmla="*/ 625540 w 763849"/>
              <a:gd name="csY7" fmla="*/ 1511981 h 1523340"/>
              <a:gd name="csX8" fmla="*/ 488540 w 763849"/>
              <a:gd name="csY8" fmla="*/ 1522029 h 1523340"/>
              <a:gd name="csX9" fmla="*/ 306789 w 763849"/>
              <a:gd name="csY9" fmla="*/ 1523231 h 1523340"/>
              <a:gd name="csX10" fmla="*/ 200103 w 763849"/>
              <a:gd name="csY10" fmla="*/ 1518579 h 1523340"/>
              <a:gd name="csX11" fmla="*/ 31607 w 763849"/>
              <a:gd name="csY11" fmla="*/ 1493880 h 1523340"/>
              <a:gd name="csX12" fmla="*/ 5860 w 763849"/>
              <a:gd name="csY12" fmla="*/ 1482933 h 1523340"/>
              <a:gd name="csX13" fmla="*/ 32 w 763849"/>
              <a:gd name="csY13" fmla="*/ 1471774 h 1523340"/>
              <a:gd name="csX14" fmla="*/ 21295 w 763849"/>
              <a:gd name="csY14" fmla="*/ 1378237 h 1523340"/>
              <a:gd name="csX15" fmla="*/ 23169 w 763849"/>
              <a:gd name="csY15" fmla="*/ 1364271 h 1523340"/>
              <a:gd name="csX16" fmla="*/ 23871 w 763849"/>
              <a:gd name="csY16" fmla="*/ 1303132 h 1523340"/>
              <a:gd name="csX17" fmla="*/ 59740 w 763849"/>
              <a:gd name="csY17" fmla="*/ 1234649 h 1523340"/>
              <a:gd name="csX18" fmla="*/ 98899 w 763849"/>
              <a:gd name="csY18" fmla="*/ 1195619 h 1523340"/>
              <a:gd name="csX19" fmla="*/ 131493 w 763849"/>
              <a:gd name="csY19" fmla="*/ 1127593 h 1523340"/>
              <a:gd name="csX20" fmla="*/ 108213 w 763849"/>
              <a:gd name="csY20" fmla="*/ 1058723 h 1523340"/>
              <a:gd name="csX21" fmla="*/ 74370 w 763849"/>
              <a:gd name="csY21" fmla="*/ 1024929 h 1523340"/>
              <a:gd name="csX22" fmla="*/ 68137 w 763849"/>
              <a:gd name="csY22" fmla="*/ 987550 h 1523340"/>
              <a:gd name="csX23" fmla="*/ 86420 w 763849"/>
              <a:gd name="csY23" fmla="*/ 941991 h 1523340"/>
              <a:gd name="csX24" fmla="*/ 97082 w 763849"/>
              <a:gd name="csY24" fmla="*/ 828037 h 1523340"/>
              <a:gd name="csX25" fmla="*/ 61782 w 763849"/>
              <a:gd name="csY25" fmla="*/ 696973 h 1523340"/>
              <a:gd name="csX26" fmla="*/ 26901 w 763849"/>
              <a:gd name="csY26" fmla="*/ 547868 h 1523340"/>
              <a:gd name="csX27" fmla="*/ 20221 w 763849"/>
              <a:gd name="csY27" fmla="*/ 479529 h 1523340"/>
              <a:gd name="csX28" fmla="*/ 40808 w 763849"/>
              <a:gd name="csY28" fmla="*/ 334388 h 1523340"/>
              <a:gd name="csX29" fmla="*/ 65171 w 763849"/>
              <a:gd name="csY29" fmla="*/ 263707 h 1523340"/>
              <a:gd name="csX30" fmla="*/ 142827 w 763849"/>
              <a:gd name="csY30" fmla="*/ 171003 h 1523340"/>
              <a:gd name="csX31" fmla="*/ 172290 w 763849"/>
              <a:gd name="csY31" fmla="*/ 155872 h 1523340"/>
              <a:gd name="csX32" fmla="*/ 189008 w 763849"/>
              <a:gd name="csY32" fmla="*/ 148158 h 1523340"/>
              <a:gd name="csX33" fmla="*/ 212828 w 763849"/>
              <a:gd name="csY33" fmla="*/ 126123 h 1523340"/>
              <a:gd name="csX34" fmla="*/ 217217 w 763849"/>
              <a:gd name="csY34" fmla="*/ 118740 h 1523340"/>
              <a:gd name="csX35" fmla="*/ 253000 w 763849"/>
              <a:gd name="csY35" fmla="*/ 88998 h 1523340"/>
              <a:gd name="csX36" fmla="*/ 322085 w 763849"/>
              <a:gd name="csY36" fmla="*/ 72193 h 1523340"/>
              <a:gd name="csX37" fmla="*/ 330478 w 763849"/>
              <a:gd name="csY37" fmla="*/ 70387 h 1523340"/>
              <a:gd name="csX38" fmla="*/ 388016 w 763849"/>
              <a:gd name="csY38" fmla="*/ 35457 h 1523340"/>
              <a:gd name="csX39" fmla="*/ 421527 w 763849"/>
              <a:gd name="csY39" fmla="*/ 0 h 1523340"/>
              <a:gd name="csX40" fmla="*/ 424538 w 763849"/>
              <a:gd name="csY40" fmla="*/ 10833 h 1523340"/>
              <a:gd name="csX41" fmla="*/ 436339 w 763849"/>
              <a:gd name="csY41" fmla="*/ 121836 h 1523340"/>
              <a:gd name="csX42" fmla="*/ 449983 w 763849"/>
              <a:gd name="csY42" fmla="*/ 141450 h 1523340"/>
              <a:gd name="csX43" fmla="*/ 503299 w 763849"/>
              <a:gd name="csY43" fmla="*/ 169290 h 1523340"/>
              <a:gd name="csX44" fmla="*/ 551461 w 763849"/>
              <a:gd name="csY44" fmla="*/ 203111 h 1523340"/>
              <a:gd name="csX45" fmla="*/ 588803 w 763849"/>
              <a:gd name="csY45" fmla="*/ 252797 h 1523340"/>
              <a:gd name="csX46" fmla="*/ 634209 w 763849"/>
              <a:gd name="csY46" fmla="*/ 327081 h 1523340"/>
              <a:gd name="csX47" fmla="*/ 697923 w 763849"/>
              <a:gd name="csY47" fmla="*/ 384157 h 1523340"/>
              <a:gd name="csX48" fmla="*/ 729658 w 763849"/>
              <a:gd name="csY48" fmla="*/ 407288 h 1523340"/>
              <a:gd name="csX49" fmla="*/ 763354 w 763849"/>
              <a:gd name="csY49" fmla="*/ 471325 h 1523340"/>
              <a:gd name="csX50" fmla="*/ 757092 w 763849"/>
              <a:gd name="csY50" fmla="*/ 527116 h 1523340"/>
              <a:gd name="csX51" fmla="*/ 720673 w 763849"/>
              <a:gd name="csY51" fmla="*/ 570023 h 1523340"/>
              <a:gd name="csX52" fmla="*/ 704918 w 763849"/>
              <a:gd name="csY52" fmla="*/ 581294 h 1523340"/>
              <a:gd name="csX53" fmla="*/ 671960 w 763849"/>
              <a:gd name="csY53" fmla="*/ 595325 h 1523340"/>
              <a:gd name="csX54" fmla="*/ 633021 w 763849"/>
              <a:gd name="csY54" fmla="*/ 591397 h 1523340"/>
              <a:gd name="csX55" fmla="*/ 580696 w 763849"/>
              <a:gd name="csY55" fmla="*/ 556742 h 1523340"/>
              <a:gd name="csX56" fmla="*/ 545415 w 763849"/>
              <a:gd name="csY56" fmla="*/ 524617 h 1523340"/>
              <a:gd name="csX57" fmla="*/ 518889 w 763849"/>
              <a:gd name="csY57" fmla="*/ 516179 h 1523340"/>
              <a:gd name="csX58" fmla="*/ 472309 w 763849"/>
              <a:gd name="csY58" fmla="*/ 517812 h 1523340"/>
              <a:gd name="csX59" fmla="*/ 415953 w 763849"/>
              <a:gd name="csY59" fmla="*/ 517245 h 1523340"/>
              <a:gd name="csX60" fmla="*/ 403392 w 763849"/>
              <a:gd name="csY60" fmla="*/ 516539 h 1523340"/>
              <a:gd name="csX61" fmla="*/ 407957 w 763849"/>
              <a:gd name="csY61" fmla="*/ 542045 h 1523340"/>
              <a:gd name="csX62" fmla="*/ 434134 w 763849"/>
              <a:gd name="csY62" fmla="*/ 583349 h 1523340"/>
              <a:gd name="csX63" fmla="*/ 524267 w 763849"/>
              <a:gd name="csY63" fmla="*/ 683922 h 1523340"/>
              <a:gd name="csX64" fmla="*/ 614317 w 763849"/>
              <a:gd name="csY64" fmla="*/ 786085 h 1523340"/>
              <a:gd name="csX65" fmla="*/ 669590 w 763849"/>
              <a:gd name="csY65" fmla="*/ 921089 h 1523340"/>
              <a:gd name="csX66" fmla="*/ 647360 w 763849"/>
              <a:gd name="csY66" fmla="*/ 1057245 h 1523340"/>
              <a:gd name="csX67" fmla="*/ 627872 w 763849"/>
              <a:gd name="csY67" fmla="*/ 1102111 h 1523340"/>
              <a:gd name="csX68" fmla="*/ 642300 w 763849"/>
              <a:gd name="csY68" fmla="*/ 1175941 h 1523340"/>
              <a:gd name="csX69" fmla="*/ 668829 w 763849"/>
              <a:gd name="csY69" fmla="*/ 1206449 h 1523340"/>
              <a:gd name="csX70" fmla="*/ 703087 w 763849"/>
              <a:gd name="csY70" fmla="*/ 1241174 h 1523340"/>
              <a:gd name="csX71" fmla="*/ 648750 w 763849"/>
              <a:gd name="csY71" fmla="*/ 562343 h 1523340"/>
              <a:gd name="csX72" fmla="*/ 674049 w 763849"/>
              <a:gd name="csY72" fmla="*/ 562834 h 1523340"/>
              <a:gd name="csX73" fmla="*/ 660781 w 763849"/>
              <a:gd name="csY73" fmla="*/ 550178 h 1523340"/>
              <a:gd name="csX74" fmla="*/ 650911 w 763849"/>
              <a:gd name="csY74" fmla="*/ 534051 h 1523340"/>
              <a:gd name="csX75" fmla="*/ 660724 w 763849"/>
              <a:gd name="csY75" fmla="*/ 537605 h 1523340"/>
              <a:gd name="csX76" fmla="*/ 688133 w 763849"/>
              <a:gd name="csY76" fmla="*/ 543363 h 1523340"/>
              <a:gd name="csX77" fmla="*/ 731514 w 763849"/>
              <a:gd name="csY77" fmla="*/ 510767 h 1523340"/>
              <a:gd name="csX78" fmla="*/ 733611 w 763849"/>
              <a:gd name="csY78" fmla="*/ 466905 h 1523340"/>
              <a:gd name="csX79" fmla="*/ 708076 w 763849"/>
              <a:gd name="csY79" fmla="*/ 425975 h 1523340"/>
              <a:gd name="csX80" fmla="*/ 667538 w 763849"/>
              <a:gd name="csY80" fmla="*/ 398254 h 1523340"/>
              <a:gd name="csX81" fmla="*/ 601016 w 763849"/>
              <a:gd name="csY81" fmla="*/ 332127 h 1523340"/>
              <a:gd name="csX82" fmla="*/ 565354 w 763849"/>
              <a:gd name="csY82" fmla="*/ 270526 h 1523340"/>
              <a:gd name="csX83" fmla="*/ 490657 w 763849"/>
              <a:gd name="csY83" fmla="*/ 195121 h 1523340"/>
              <a:gd name="csX84" fmla="*/ 432834 w 763849"/>
              <a:gd name="csY84" fmla="*/ 165243 h 1523340"/>
              <a:gd name="csX85" fmla="*/ 407594 w 763849"/>
              <a:gd name="csY85" fmla="*/ 127852 h 1523340"/>
              <a:gd name="csX86" fmla="*/ 405020 w 763849"/>
              <a:gd name="csY86" fmla="*/ 69029 h 1523340"/>
              <a:gd name="csX87" fmla="*/ 403638 w 763849"/>
              <a:gd name="csY87" fmla="*/ 58130 h 1523340"/>
              <a:gd name="csX88" fmla="*/ 349776 w 763849"/>
              <a:gd name="csY88" fmla="*/ 133259 h 1523340"/>
              <a:gd name="csX89" fmla="*/ 326975 w 763849"/>
              <a:gd name="csY89" fmla="*/ 159669 h 1523340"/>
              <a:gd name="csX90" fmla="*/ 240374 w 763849"/>
              <a:gd name="csY90" fmla="*/ 221714 h 1523340"/>
              <a:gd name="csX91" fmla="*/ 171637 w 763849"/>
              <a:gd name="csY91" fmla="*/ 309087 h 1523340"/>
              <a:gd name="csX92" fmla="*/ 138048 w 763849"/>
              <a:gd name="csY92" fmla="*/ 516954 h 1523340"/>
              <a:gd name="csX93" fmla="*/ 163889 w 763849"/>
              <a:gd name="csY93" fmla="*/ 641780 h 1523340"/>
              <a:gd name="csX94" fmla="*/ 204800 w 763849"/>
              <a:gd name="csY94" fmla="*/ 787055 h 1523340"/>
              <a:gd name="csX95" fmla="*/ 218549 w 763849"/>
              <a:gd name="csY95" fmla="*/ 949545 h 1523340"/>
              <a:gd name="csX96" fmla="*/ 191487 w 763849"/>
              <a:gd name="csY96" fmla="*/ 1033064 h 1523340"/>
              <a:gd name="csX97" fmla="*/ 188729 w 763849"/>
              <a:gd name="csY97" fmla="*/ 1039835 h 1523340"/>
              <a:gd name="csX98" fmla="*/ 221417 w 763849"/>
              <a:gd name="csY98" fmla="*/ 1040799 h 1523340"/>
              <a:gd name="csX99" fmla="*/ 348895 w 763849"/>
              <a:gd name="csY99" fmla="*/ 1046759 h 1523340"/>
              <a:gd name="csX100" fmla="*/ 545369 w 763849"/>
              <a:gd name="csY100" fmla="*/ 1044456 h 1523340"/>
              <a:gd name="csX101" fmla="*/ 612424 w 763849"/>
              <a:gd name="csY101" fmla="*/ 1037365 h 1523340"/>
              <a:gd name="csX102" fmla="*/ 623169 w 763849"/>
              <a:gd name="csY102" fmla="*/ 1028873 h 1523340"/>
              <a:gd name="csX103" fmla="*/ 638508 w 763849"/>
              <a:gd name="csY103" fmla="*/ 959599 h 1523340"/>
              <a:gd name="csX104" fmla="*/ 609213 w 763849"/>
              <a:gd name="csY104" fmla="*/ 842075 h 1523340"/>
              <a:gd name="csX105" fmla="*/ 529367 w 763849"/>
              <a:gd name="csY105" fmla="*/ 735065 h 1523340"/>
              <a:gd name="csX106" fmla="*/ 403792 w 763849"/>
              <a:gd name="csY106" fmla="*/ 596993 h 1523340"/>
              <a:gd name="csX107" fmla="*/ 344708 w 763849"/>
              <a:gd name="csY107" fmla="*/ 511366 h 1523340"/>
              <a:gd name="csX108" fmla="*/ 324464 w 763849"/>
              <a:gd name="csY108" fmla="*/ 380084 h 1523340"/>
              <a:gd name="csX109" fmla="*/ 327688 w 763849"/>
              <a:gd name="csY109" fmla="*/ 373535 h 1523340"/>
              <a:gd name="csX110" fmla="*/ 330334 w 763849"/>
              <a:gd name="csY110" fmla="*/ 373641 h 1523340"/>
              <a:gd name="csX111" fmla="*/ 334272 w 763849"/>
              <a:gd name="csY111" fmla="*/ 384645 h 1523340"/>
              <a:gd name="csX112" fmla="*/ 365260 w 763849"/>
              <a:gd name="csY112" fmla="*/ 453955 h 1523340"/>
              <a:gd name="csX113" fmla="*/ 408246 w 763849"/>
              <a:gd name="csY113" fmla="*/ 483592 h 1523340"/>
              <a:gd name="csX114" fmla="*/ 464529 w 763849"/>
              <a:gd name="csY114" fmla="*/ 486187 h 1523340"/>
              <a:gd name="csX115" fmla="*/ 511119 w 763849"/>
              <a:gd name="csY115" fmla="*/ 484308 h 1523340"/>
              <a:gd name="csX116" fmla="*/ 567913 w 763849"/>
              <a:gd name="csY116" fmla="*/ 503736 h 1523340"/>
              <a:gd name="csX117" fmla="*/ 607611 w 763849"/>
              <a:gd name="csY117" fmla="*/ 540326 h 1523340"/>
              <a:gd name="csX118" fmla="*/ 648750 w 763849"/>
              <a:gd name="csY118" fmla="*/ 562343 h 1523340"/>
              <a:gd name="csX119" fmla="*/ 462594 w 763849"/>
              <a:gd name="csY119" fmla="*/ 1369008 h 1523340"/>
              <a:gd name="csX120" fmla="*/ 510357 w 763849"/>
              <a:gd name="csY120" fmla="*/ 1366345 h 1523340"/>
              <a:gd name="csX121" fmla="*/ 549434 w 763849"/>
              <a:gd name="csY121" fmla="*/ 1362956 h 1523340"/>
              <a:gd name="csX122" fmla="*/ 632369 w 763849"/>
              <a:gd name="csY122" fmla="*/ 1354439 h 1523340"/>
              <a:gd name="csX123" fmla="*/ 697252 w 763849"/>
              <a:gd name="csY123" fmla="*/ 1346424 h 1523340"/>
              <a:gd name="csX124" fmla="*/ 676674 w 763849"/>
              <a:gd name="csY124" fmla="*/ 1266396 h 1523340"/>
              <a:gd name="csX125" fmla="*/ 646594 w 763849"/>
              <a:gd name="csY125" fmla="*/ 1234108 h 1523340"/>
              <a:gd name="csX126" fmla="*/ 612063 w 763849"/>
              <a:gd name="csY126" fmla="*/ 1194382 h 1523340"/>
              <a:gd name="csX127" fmla="*/ 591616 w 763849"/>
              <a:gd name="csY127" fmla="*/ 1111541 h 1523340"/>
              <a:gd name="csX128" fmla="*/ 594320 w 763849"/>
              <a:gd name="csY128" fmla="*/ 1089609 h 1523340"/>
              <a:gd name="csX129" fmla="*/ 578634 w 763849"/>
              <a:gd name="csY129" fmla="*/ 1089642 h 1523340"/>
              <a:gd name="csX130" fmla="*/ 443931 w 763849"/>
              <a:gd name="csY130" fmla="*/ 1096700 h 1523340"/>
              <a:gd name="csX131" fmla="*/ 403417 w 763849"/>
              <a:gd name="csY131" fmla="*/ 1097156 h 1523340"/>
              <a:gd name="csX132" fmla="*/ 388348 w 763849"/>
              <a:gd name="csY132" fmla="*/ 1111502 h 1523340"/>
              <a:gd name="csX133" fmla="*/ 385048 w 763849"/>
              <a:gd name="csY133" fmla="*/ 1176431 h 1523340"/>
              <a:gd name="csX134" fmla="*/ 377687 w 763849"/>
              <a:gd name="csY134" fmla="*/ 1308672 h 1523340"/>
              <a:gd name="csX135" fmla="*/ 376823 w 763849"/>
              <a:gd name="csY135" fmla="*/ 1320897 h 1523340"/>
              <a:gd name="csX136" fmla="*/ 376781 w 763849"/>
              <a:gd name="csY136" fmla="*/ 1366151 h 1523340"/>
              <a:gd name="csX137" fmla="*/ 462594 w 763849"/>
              <a:gd name="csY137" fmla="*/ 1369008 h 1523340"/>
              <a:gd name="csX138" fmla="*/ 648494 w 763849"/>
              <a:gd name="csY138" fmla="*/ 1463981 h 1523340"/>
              <a:gd name="csX139" fmla="*/ 718746 w 763849"/>
              <a:gd name="csY139" fmla="*/ 1451892 h 1523340"/>
              <a:gd name="csX140" fmla="*/ 711827 w 763849"/>
              <a:gd name="csY140" fmla="*/ 1416835 h 1523340"/>
              <a:gd name="csX141" fmla="*/ 685812 w 763849"/>
              <a:gd name="csY141" fmla="*/ 1398502 h 1523340"/>
              <a:gd name="csX142" fmla="*/ 680924 w 763849"/>
              <a:gd name="csY142" fmla="*/ 1398973 h 1523340"/>
              <a:gd name="csX143" fmla="*/ 598278 w 763849"/>
              <a:gd name="csY143" fmla="*/ 1409218 h 1523340"/>
              <a:gd name="csX144" fmla="*/ 474765 w 763849"/>
              <a:gd name="csY144" fmla="*/ 1417945 h 1523340"/>
              <a:gd name="csX145" fmla="*/ 385143 w 763849"/>
              <a:gd name="csY145" fmla="*/ 1418978 h 1523340"/>
              <a:gd name="csX146" fmla="*/ 376639 w 763849"/>
              <a:gd name="csY146" fmla="*/ 1419613 h 1523340"/>
              <a:gd name="csX147" fmla="*/ 376639 w 763849"/>
              <a:gd name="csY147" fmla="*/ 1473939 h 1523340"/>
              <a:gd name="csX148" fmla="*/ 382089 w 763849"/>
              <a:gd name="csY148" fmla="*/ 1474854 h 1523340"/>
              <a:gd name="csX149" fmla="*/ 449536 w 763849"/>
              <a:gd name="csY149" fmla="*/ 1476855 h 1523340"/>
              <a:gd name="csX150" fmla="*/ 559930 w 763849"/>
              <a:gd name="csY150" fmla="*/ 1474307 h 1523340"/>
              <a:gd name="csX151" fmla="*/ 648494 w 763849"/>
              <a:gd name="csY151" fmla="*/ 1463981 h 152334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</a:cxnLst>
            <a:rect l="l" t="t" r="r" b="b"/>
            <a:pathLst>
              <a:path w="763849" h="1523340">
                <a:moveTo>
                  <a:pt x="703087" y="1241174"/>
                </a:moveTo>
                <a:cubicBezTo>
                  <a:pt x="732418" y="1276379"/>
                  <a:pt x="738825" y="1316526"/>
                  <a:pt x="732932" y="1359634"/>
                </a:cubicBezTo>
                <a:cubicBezTo>
                  <a:pt x="732067" y="1365959"/>
                  <a:pt x="732453" y="1371428"/>
                  <a:pt x="735544" y="1377287"/>
                </a:cubicBezTo>
                <a:cubicBezTo>
                  <a:pt x="748937" y="1402675"/>
                  <a:pt x="755318" y="1430010"/>
                  <a:pt x="756764" y="1458577"/>
                </a:cubicBezTo>
                <a:cubicBezTo>
                  <a:pt x="756887" y="1461031"/>
                  <a:pt x="756895" y="1463494"/>
                  <a:pt x="757108" y="1465940"/>
                </a:cubicBezTo>
                <a:cubicBezTo>
                  <a:pt x="758375" y="1480486"/>
                  <a:pt x="757802" y="1482498"/>
                  <a:pt x="744215" y="1488332"/>
                </a:cubicBezTo>
                <a:cubicBezTo>
                  <a:pt x="734126" y="1492664"/>
                  <a:pt x="723536" y="1496562"/>
                  <a:pt x="712781" y="1498472"/>
                </a:cubicBezTo>
                <a:cubicBezTo>
                  <a:pt x="683814" y="1503617"/>
                  <a:pt x="654674" y="1507832"/>
                  <a:pt x="625540" y="1511981"/>
                </a:cubicBezTo>
                <a:cubicBezTo>
                  <a:pt x="580114" y="1518449"/>
                  <a:pt x="534395" y="1521481"/>
                  <a:pt x="488540" y="1522029"/>
                </a:cubicBezTo>
                <a:cubicBezTo>
                  <a:pt x="427958" y="1522752"/>
                  <a:pt x="367367" y="1523658"/>
                  <a:pt x="306789" y="1523231"/>
                </a:cubicBezTo>
                <a:cubicBezTo>
                  <a:pt x="271215" y="1522980"/>
                  <a:pt x="235625" y="1520833"/>
                  <a:pt x="200103" y="1518579"/>
                </a:cubicBezTo>
                <a:cubicBezTo>
                  <a:pt x="143289" y="1514974"/>
                  <a:pt x="86915" y="1507766"/>
                  <a:pt x="31607" y="1493880"/>
                </a:cubicBezTo>
                <a:cubicBezTo>
                  <a:pt x="22666" y="1491635"/>
                  <a:pt x="14297" y="1486920"/>
                  <a:pt x="5860" y="1482933"/>
                </a:cubicBezTo>
                <a:cubicBezTo>
                  <a:pt x="1433" y="1480841"/>
                  <a:pt x="-262" y="1476934"/>
                  <a:pt x="32" y="1471774"/>
                </a:cubicBezTo>
                <a:cubicBezTo>
                  <a:pt x="1880" y="1439401"/>
                  <a:pt x="3993" y="1407192"/>
                  <a:pt x="21295" y="1378237"/>
                </a:cubicBezTo>
                <a:cubicBezTo>
                  <a:pt x="23526" y="1374504"/>
                  <a:pt x="23666" y="1368858"/>
                  <a:pt x="23169" y="1364271"/>
                </a:cubicBezTo>
                <a:cubicBezTo>
                  <a:pt x="20957" y="1343833"/>
                  <a:pt x="20482" y="1323540"/>
                  <a:pt x="23871" y="1303132"/>
                </a:cubicBezTo>
                <a:cubicBezTo>
                  <a:pt x="28332" y="1276267"/>
                  <a:pt x="41045" y="1253887"/>
                  <a:pt x="59740" y="1234649"/>
                </a:cubicBezTo>
                <a:cubicBezTo>
                  <a:pt x="72582" y="1221434"/>
                  <a:pt x="85657" y="1208434"/>
                  <a:pt x="98899" y="1195619"/>
                </a:cubicBezTo>
                <a:cubicBezTo>
                  <a:pt x="118216" y="1176926"/>
                  <a:pt x="130484" y="1154702"/>
                  <a:pt x="131493" y="1127593"/>
                </a:cubicBezTo>
                <a:cubicBezTo>
                  <a:pt x="132448" y="1101948"/>
                  <a:pt x="127125" y="1077868"/>
                  <a:pt x="108213" y="1058723"/>
                </a:cubicBezTo>
                <a:cubicBezTo>
                  <a:pt x="97010" y="1047381"/>
                  <a:pt x="85438" y="1036399"/>
                  <a:pt x="74370" y="1024929"/>
                </a:cubicBezTo>
                <a:cubicBezTo>
                  <a:pt x="63868" y="1014043"/>
                  <a:pt x="62267" y="1001475"/>
                  <a:pt x="68137" y="987550"/>
                </a:cubicBezTo>
                <a:cubicBezTo>
                  <a:pt x="74493" y="972473"/>
                  <a:pt x="80703" y="957319"/>
                  <a:pt x="86420" y="941991"/>
                </a:cubicBezTo>
                <a:cubicBezTo>
                  <a:pt x="100218" y="905001"/>
                  <a:pt x="99441" y="866690"/>
                  <a:pt x="97082" y="828037"/>
                </a:cubicBezTo>
                <a:cubicBezTo>
                  <a:pt x="94260" y="781809"/>
                  <a:pt x="76370" y="739899"/>
                  <a:pt x="61782" y="696973"/>
                </a:cubicBezTo>
                <a:cubicBezTo>
                  <a:pt x="45282" y="648419"/>
                  <a:pt x="33285" y="598770"/>
                  <a:pt x="26901" y="547868"/>
                </a:cubicBezTo>
                <a:cubicBezTo>
                  <a:pt x="24054" y="525160"/>
                  <a:pt x="21110" y="502364"/>
                  <a:pt x="20221" y="479529"/>
                </a:cubicBezTo>
                <a:cubicBezTo>
                  <a:pt x="18293" y="430013"/>
                  <a:pt x="26126" y="381610"/>
                  <a:pt x="40808" y="334388"/>
                </a:cubicBezTo>
                <a:cubicBezTo>
                  <a:pt x="48208" y="310588"/>
                  <a:pt x="55162" y="286441"/>
                  <a:pt x="65171" y="263707"/>
                </a:cubicBezTo>
                <a:cubicBezTo>
                  <a:pt x="81946" y="225606"/>
                  <a:pt x="106517" y="193071"/>
                  <a:pt x="142827" y="171003"/>
                </a:cubicBezTo>
                <a:cubicBezTo>
                  <a:pt x="152238" y="165283"/>
                  <a:pt x="162401" y="160787"/>
                  <a:pt x="172290" y="155872"/>
                </a:cubicBezTo>
                <a:cubicBezTo>
                  <a:pt x="177784" y="153142"/>
                  <a:pt x="183393" y="150635"/>
                  <a:pt x="189008" y="148158"/>
                </a:cubicBezTo>
                <a:cubicBezTo>
                  <a:pt x="199487" y="143534"/>
                  <a:pt x="207598" y="136426"/>
                  <a:pt x="212828" y="126123"/>
                </a:cubicBezTo>
                <a:cubicBezTo>
                  <a:pt x="214121" y="123575"/>
                  <a:pt x="215966" y="121304"/>
                  <a:pt x="217217" y="118740"/>
                </a:cubicBezTo>
                <a:cubicBezTo>
                  <a:pt x="224688" y="103433"/>
                  <a:pt x="237053" y="93440"/>
                  <a:pt x="253000" y="88998"/>
                </a:cubicBezTo>
                <a:cubicBezTo>
                  <a:pt x="275818" y="82642"/>
                  <a:pt x="299033" y="77711"/>
                  <a:pt x="322085" y="72193"/>
                </a:cubicBezTo>
                <a:cubicBezTo>
                  <a:pt x="324867" y="71527"/>
                  <a:pt x="327694" y="71045"/>
                  <a:pt x="330478" y="70387"/>
                </a:cubicBezTo>
                <a:cubicBezTo>
                  <a:pt x="364731" y="62297"/>
                  <a:pt x="364569" y="62151"/>
                  <a:pt x="388016" y="35457"/>
                </a:cubicBezTo>
                <a:cubicBezTo>
                  <a:pt x="398189" y="23875"/>
                  <a:pt x="409180" y="13010"/>
                  <a:pt x="421527" y="0"/>
                </a:cubicBezTo>
                <a:cubicBezTo>
                  <a:pt x="423000" y="5190"/>
                  <a:pt x="424219" y="7961"/>
                  <a:pt x="424538" y="10833"/>
                </a:cubicBezTo>
                <a:cubicBezTo>
                  <a:pt x="428638" y="47817"/>
                  <a:pt x="433030" y="84779"/>
                  <a:pt x="436339" y="121836"/>
                </a:cubicBezTo>
                <a:cubicBezTo>
                  <a:pt x="437236" y="131893"/>
                  <a:pt x="441545" y="137271"/>
                  <a:pt x="449983" y="141450"/>
                </a:cubicBezTo>
                <a:cubicBezTo>
                  <a:pt x="467954" y="150348"/>
                  <a:pt x="486187" y="158915"/>
                  <a:pt x="503299" y="169290"/>
                </a:cubicBezTo>
                <a:cubicBezTo>
                  <a:pt x="520041" y="179441"/>
                  <a:pt x="535883" y="191197"/>
                  <a:pt x="551461" y="203111"/>
                </a:cubicBezTo>
                <a:cubicBezTo>
                  <a:pt x="568416" y="216079"/>
                  <a:pt x="579195" y="234146"/>
                  <a:pt x="588803" y="252797"/>
                </a:cubicBezTo>
                <a:cubicBezTo>
                  <a:pt x="602134" y="278677"/>
                  <a:pt x="616556" y="303835"/>
                  <a:pt x="634209" y="327081"/>
                </a:cubicBezTo>
                <a:cubicBezTo>
                  <a:pt x="651797" y="350241"/>
                  <a:pt x="673980" y="368103"/>
                  <a:pt x="697923" y="384157"/>
                </a:cubicBezTo>
                <a:cubicBezTo>
                  <a:pt x="708787" y="391441"/>
                  <a:pt x="719007" y="399678"/>
                  <a:pt x="729658" y="407288"/>
                </a:cubicBezTo>
                <a:cubicBezTo>
                  <a:pt x="751657" y="423004"/>
                  <a:pt x="761259" y="445265"/>
                  <a:pt x="763354" y="471325"/>
                </a:cubicBezTo>
                <a:cubicBezTo>
                  <a:pt x="764877" y="490275"/>
                  <a:pt x="762919" y="509064"/>
                  <a:pt x="757092" y="527116"/>
                </a:cubicBezTo>
                <a:cubicBezTo>
                  <a:pt x="750932" y="546198"/>
                  <a:pt x="738296" y="560266"/>
                  <a:pt x="720673" y="570023"/>
                </a:cubicBezTo>
                <a:cubicBezTo>
                  <a:pt x="715048" y="573138"/>
                  <a:pt x="709487" y="576825"/>
                  <a:pt x="704918" y="581294"/>
                </a:cubicBezTo>
                <a:cubicBezTo>
                  <a:pt x="695625" y="590383"/>
                  <a:pt x="684728" y="595697"/>
                  <a:pt x="671960" y="595325"/>
                </a:cubicBezTo>
                <a:cubicBezTo>
                  <a:pt x="658939" y="594945"/>
                  <a:pt x="645743" y="594018"/>
                  <a:pt x="633021" y="591397"/>
                </a:cubicBezTo>
                <a:cubicBezTo>
                  <a:pt x="611233" y="586907"/>
                  <a:pt x="595034" y="572939"/>
                  <a:pt x="580696" y="556742"/>
                </a:cubicBezTo>
                <a:cubicBezTo>
                  <a:pt x="570081" y="544750"/>
                  <a:pt x="559052" y="533306"/>
                  <a:pt x="545415" y="524617"/>
                </a:cubicBezTo>
                <a:cubicBezTo>
                  <a:pt x="537261" y="519422"/>
                  <a:pt x="528551" y="515996"/>
                  <a:pt x="518889" y="516179"/>
                </a:cubicBezTo>
                <a:cubicBezTo>
                  <a:pt x="503357" y="516473"/>
                  <a:pt x="487839" y="517663"/>
                  <a:pt x="472309" y="517812"/>
                </a:cubicBezTo>
                <a:cubicBezTo>
                  <a:pt x="453527" y="517993"/>
                  <a:pt x="434738" y="517514"/>
                  <a:pt x="415953" y="517245"/>
                </a:cubicBezTo>
                <a:cubicBezTo>
                  <a:pt x="411976" y="517189"/>
                  <a:pt x="408003" y="516808"/>
                  <a:pt x="403392" y="516539"/>
                </a:cubicBezTo>
                <a:cubicBezTo>
                  <a:pt x="401207" y="526363"/>
                  <a:pt x="404857" y="534293"/>
                  <a:pt x="407957" y="542045"/>
                </a:cubicBezTo>
                <a:cubicBezTo>
                  <a:pt x="414092" y="557387"/>
                  <a:pt x="423168" y="571042"/>
                  <a:pt x="434134" y="583349"/>
                </a:cubicBezTo>
                <a:cubicBezTo>
                  <a:pt x="464083" y="616959"/>
                  <a:pt x="493980" y="650618"/>
                  <a:pt x="524267" y="683922"/>
                </a:cubicBezTo>
                <a:cubicBezTo>
                  <a:pt x="554818" y="717518"/>
                  <a:pt x="588291" y="748619"/>
                  <a:pt x="614317" y="786085"/>
                </a:cubicBezTo>
                <a:cubicBezTo>
                  <a:pt x="642656" y="826881"/>
                  <a:pt x="663974" y="871159"/>
                  <a:pt x="669590" y="921089"/>
                </a:cubicBezTo>
                <a:cubicBezTo>
                  <a:pt x="674894" y="968240"/>
                  <a:pt x="669774" y="1014226"/>
                  <a:pt x="647360" y="1057245"/>
                </a:cubicBezTo>
                <a:cubicBezTo>
                  <a:pt x="639830" y="1071697"/>
                  <a:pt x="630533" y="1085565"/>
                  <a:pt x="627872" y="1102111"/>
                </a:cubicBezTo>
                <a:cubicBezTo>
                  <a:pt x="623640" y="1128439"/>
                  <a:pt x="626183" y="1153784"/>
                  <a:pt x="642300" y="1175941"/>
                </a:cubicBezTo>
                <a:cubicBezTo>
                  <a:pt x="650201" y="1186801"/>
                  <a:pt x="659595" y="1196636"/>
                  <a:pt x="668829" y="1206449"/>
                </a:cubicBezTo>
                <a:cubicBezTo>
                  <a:pt x="679770" y="1218075"/>
                  <a:pt x="691267" y="1229177"/>
                  <a:pt x="703087" y="1241174"/>
                </a:cubicBezTo>
                <a:moveTo>
                  <a:pt x="648750" y="562343"/>
                </a:moveTo>
                <a:cubicBezTo>
                  <a:pt x="656729" y="562558"/>
                  <a:pt x="664698" y="567407"/>
                  <a:pt x="674049" y="562834"/>
                </a:cubicBezTo>
                <a:cubicBezTo>
                  <a:pt x="668990" y="558037"/>
                  <a:pt x="664729" y="554259"/>
                  <a:pt x="660781" y="550178"/>
                </a:cubicBezTo>
                <a:cubicBezTo>
                  <a:pt x="656713" y="545973"/>
                  <a:pt x="651493" y="542363"/>
                  <a:pt x="650911" y="534051"/>
                </a:cubicBezTo>
                <a:cubicBezTo>
                  <a:pt x="654940" y="535536"/>
                  <a:pt x="657753" y="536907"/>
                  <a:pt x="660724" y="537605"/>
                </a:cubicBezTo>
                <a:cubicBezTo>
                  <a:pt x="669824" y="539743"/>
                  <a:pt x="678915" y="542853"/>
                  <a:pt x="688133" y="543363"/>
                </a:cubicBezTo>
                <a:cubicBezTo>
                  <a:pt x="712019" y="544686"/>
                  <a:pt x="726964" y="534053"/>
                  <a:pt x="731514" y="510767"/>
                </a:cubicBezTo>
                <a:cubicBezTo>
                  <a:pt x="734296" y="496535"/>
                  <a:pt x="734146" y="481511"/>
                  <a:pt x="733611" y="466905"/>
                </a:cubicBezTo>
                <a:cubicBezTo>
                  <a:pt x="732951" y="448863"/>
                  <a:pt x="723348" y="435653"/>
                  <a:pt x="708076" y="425975"/>
                </a:cubicBezTo>
                <a:cubicBezTo>
                  <a:pt x="694258" y="417218"/>
                  <a:pt x="681056" y="407489"/>
                  <a:pt x="667538" y="398254"/>
                </a:cubicBezTo>
                <a:cubicBezTo>
                  <a:pt x="641278" y="380314"/>
                  <a:pt x="617580" y="359743"/>
                  <a:pt x="601016" y="332127"/>
                </a:cubicBezTo>
                <a:cubicBezTo>
                  <a:pt x="588810" y="311778"/>
                  <a:pt x="576093" y="291645"/>
                  <a:pt x="565354" y="270526"/>
                </a:cubicBezTo>
                <a:cubicBezTo>
                  <a:pt x="548401" y="237186"/>
                  <a:pt x="523821" y="212104"/>
                  <a:pt x="490657" y="195121"/>
                </a:cubicBezTo>
                <a:cubicBezTo>
                  <a:pt x="471346" y="185231"/>
                  <a:pt x="452394" y="174606"/>
                  <a:pt x="432834" y="165243"/>
                </a:cubicBezTo>
                <a:cubicBezTo>
                  <a:pt x="416725" y="157532"/>
                  <a:pt x="408325" y="145526"/>
                  <a:pt x="407594" y="127852"/>
                </a:cubicBezTo>
                <a:cubicBezTo>
                  <a:pt x="406783" y="108242"/>
                  <a:pt x="405935" y="88634"/>
                  <a:pt x="405020" y="69029"/>
                </a:cubicBezTo>
                <a:cubicBezTo>
                  <a:pt x="404882" y="66067"/>
                  <a:pt x="404287" y="63127"/>
                  <a:pt x="403638" y="58130"/>
                </a:cubicBezTo>
                <a:cubicBezTo>
                  <a:pt x="381792" y="82321"/>
                  <a:pt x="361650" y="104820"/>
                  <a:pt x="349776" y="133259"/>
                </a:cubicBezTo>
                <a:cubicBezTo>
                  <a:pt x="345032" y="144621"/>
                  <a:pt x="337822" y="153814"/>
                  <a:pt x="326975" y="159669"/>
                </a:cubicBezTo>
                <a:cubicBezTo>
                  <a:pt x="295461" y="176681"/>
                  <a:pt x="266610" y="197333"/>
                  <a:pt x="240374" y="221714"/>
                </a:cubicBezTo>
                <a:cubicBezTo>
                  <a:pt x="212881" y="247263"/>
                  <a:pt x="188313" y="275340"/>
                  <a:pt x="171637" y="309087"/>
                </a:cubicBezTo>
                <a:cubicBezTo>
                  <a:pt x="139180" y="374765"/>
                  <a:pt x="129692" y="444532"/>
                  <a:pt x="138048" y="516954"/>
                </a:cubicBezTo>
                <a:cubicBezTo>
                  <a:pt x="142936" y="559318"/>
                  <a:pt x="152518" y="600762"/>
                  <a:pt x="163889" y="641780"/>
                </a:cubicBezTo>
                <a:cubicBezTo>
                  <a:pt x="177329" y="690261"/>
                  <a:pt x="191989" y="738413"/>
                  <a:pt x="204800" y="787055"/>
                </a:cubicBezTo>
                <a:cubicBezTo>
                  <a:pt x="218820" y="840287"/>
                  <a:pt x="228587" y="894088"/>
                  <a:pt x="218549" y="949545"/>
                </a:cubicBezTo>
                <a:cubicBezTo>
                  <a:pt x="213279" y="978659"/>
                  <a:pt x="207130" y="1007359"/>
                  <a:pt x="191487" y="1033064"/>
                </a:cubicBezTo>
                <a:cubicBezTo>
                  <a:pt x="190499" y="1034686"/>
                  <a:pt x="190018" y="1036618"/>
                  <a:pt x="188729" y="1039835"/>
                </a:cubicBezTo>
                <a:cubicBezTo>
                  <a:pt x="200470" y="1040170"/>
                  <a:pt x="210952" y="1040298"/>
                  <a:pt x="221417" y="1040799"/>
                </a:cubicBezTo>
                <a:cubicBezTo>
                  <a:pt x="263912" y="1042835"/>
                  <a:pt x="306390" y="1046436"/>
                  <a:pt x="348895" y="1046759"/>
                </a:cubicBezTo>
                <a:cubicBezTo>
                  <a:pt x="414380" y="1047258"/>
                  <a:pt x="479896" y="1046092"/>
                  <a:pt x="545369" y="1044456"/>
                </a:cubicBezTo>
                <a:cubicBezTo>
                  <a:pt x="567764" y="1043897"/>
                  <a:pt x="590066" y="1039744"/>
                  <a:pt x="612424" y="1037365"/>
                </a:cubicBezTo>
                <a:cubicBezTo>
                  <a:pt x="617948" y="1036777"/>
                  <a:pt x="621342" y="1034139"/>
                  <a:pt x="623169" y="1028873"/>
                </a:cubicBezTo>
                <a:cubicBezTo>
                  <a:pt x="630975" y="1006370"/>
                  <a:pt x="637026" y="983472"/>
                  <a:pt x="638508" y="959599"/>
                </a:cubicBezTo>
                <a:cubicBezTo>
                  <a:pt x="641131" y="917363"/>
                  <a:pt x="628970" y="878727"/>
                  <a:pt x="609213" y="842075"/>
                </a:cubicBezTo>
                <a:cubicBezTo>
                  <a:pt x="587874" y="802491"/>
                  <a:pt x="559403" y="768169"/>
                  <a:pt x="529367" y="735065"/>
                </a:cubicBezTo>
                <a:cubicBezTo>
                  <a:pt x="487563" y="688992"/>
                  <a:pt x="445474" y="643176"/>
                  <a:pt x="403792" y="596993"/>
                </a:cubicBezTo>
                <a:cubicBezTo>
                  <a:pt x="380393" y="571066"/>
                  <a:pt x="360083" y="542922"/>
                  <a:pt x="344708" y="511366"/>
                </a:cubicBezTo>
                <a:cubicBezTo>
                  <a:pt x="324385" y="469655"/>
                  <a:pt x="317321" y="425966"/>
                  <a:pt x="324464" y="380084"/>
                </a:cubicBezTo>
                <a:cubicBezTo>
                  <a:pt x="324821" y="377789"/>
                  <a:pt x="326581" y="375713"/>
                  <a:pt x="327688" y="373535"/>
                </a:cubicBezTo>
                <a:cubicBezTo>
                  <a:pt x="328570" y="373570"/>
                  <a:pt x="329452" y="373606"/>
                  <a:pt x="330334" y="373641"/>
                </a:cubicBezTo>
                <a:cubicBezTo>
                  <a:pt x="331649" y="377308"/>
                  <a:pt x="333001" y="380963"/>
                  <a:pt x="334272" y="384645"/>
                </a:cubicBezTo>
                <a:cubicBezTo>
                  <a:pt x="342569" y="408660"/>
                  <a:pt x="351164" y="432573"/>
                  <a:pt x="365260" y="453955"/>
                </a:cubicBezTo>
                <a:cubicBezTo>
                  <a:pt x="375537" y="469544"/>
                  <a:pt x="388811" y="481767"/>
                  <a:pt x="408246" y="483592"/>
                </a:cubicBezTo>
                <a:cubicBezTo>
                  <a:pt x="426928" y="485346"/>
                  <a:pt x="445757" y="486037"/>
                  <a:pt x="464529" y="486187"/>
                </a:cubicBezTo>
                <a:cubicBezTo>
                  <a:pt x="480053" y="486311"/>
                  <a:pt x="495582" y="484792"/>
                  <a:pt x="511119" y="484308"/>
                </a:cubicBezTo>
                <a:cubicBezTo>
                  <a:pt x="532443" y="483644"/>
                  <a:pt x="551690" y="490014"/>
                  <a:pt x="567913" y="503736"/>
                </a:cubicBezTo>
                <a:cubicBezTo>
                  <a:pt x="581642" y="515348"/>
                  <a:pt x="594604" y="527888"/>
                  <a:pt x="607611" y="540326"/>
                </a:cubicBezTo>
                <a:cubicBezTo>
                  <a:pt x="618811" y="551038"/>
                  <a:pt x="631177" y="559300"/>
                  <a:pt x="648750" y="562343"/>
                </a:cubicBezTo>
                <a:moveTo>
                  <a:pt x="462594" y="1369008"/>
                </a:moveTo>
                <a:cubicBezTo>
                  <a:pt x="478517" y="1368137"/>
                  <a:pt x="494449" y="1367429"/>
                  <a:pt x="510357" y="1366345"/>
                </a:cubicBezTo>
                <a:cubicBezTo>
                  <a:pt x="523399" y="1365456"/>
                  <a:pt x="536424" y="1364247"/>
                  <a:pt x="549434" y="1362956"/>
                </a:cubicBezTo>
                <a:cubicBezTo>
                  <a:pt x="577089" y="1360213"/>
                  <a:pt x="604749" y="1357503"/>
                  <a:pt x="632369" y="1354439"/>
                </a:cubicBezTo>
                <a:cubicBezTo>
                  <a:pt x="653805" y="1352062"/>
                  <a:pt x="675183" y="1349170"/>
                  <a:pt x="697252" y="1346424"/>
                </a:cubicBezTo>
                <a:cubicBezTo>
                  <a:pt x="701148" y="1316348"/>
                  <a:pt x="695768" y="1289474"/>
                  <a:pt x="676674" y="1266396"/>
                </a:cubicBezTo>
                <a:cubicBezTo>
                  <a:pt x="667313" y="1255080"/>
                  <a:pt x="656878" y="1244625"/>
                  <a:pt x="646594" y="1234108"/>
                </a:cubicBezTo>
                <a:cubicBezTo>
                  <a:pt x="634298" y="1221533"/>
                  <a:pt x="621353" y="1209623"/>
                  <a:pt x="612063" y="1194382"/>
                </a:cubicBezTo>
                <a:cubicBezTo>
                  <a:pt x="596511" y="1168867"/>
                  <a:pt x="588079" y="1141707"/>
                  <a:pt x="591616" y="1111541"/>
                </a:cubicBezTo>
                <a:cubicBezTo>
                  <a:pt x="592450" y="1104432"/>
                  <a:pt x="593365" y="1097332"/>
                  <a:pt x="594320" y="1089609"/>
                </a:cubicBezTo>
                <a:cubicBezTo>
                  <a:pt x="588294" y="1089609"/>
                  <a:pt x="583452" y="1089392"/>
                  <a:pt x="578634" y="1089642"/>
                </a:cubicBezTo>
                <a:cubicBezTo>
                  <a:pt x="533732" y="1091976"/>
                  <a:pt x="488841" y="1094525"/>
                  <a:pt x="443931" y="1096700"/>
                </a:cubicBezTo>
                <a:cubicBezTo>
                  <a:pt x="430451" y="1097353"/>
                  <a:pt x="416923" y="1097005"/>
                  <a:pt x="403417" y="1097156"/>
                </a:cubicBezTo>
                <a:cubicBezTo>
                  <a:pt x="389337" y="1097313"/>
                  <a:pt x="388961" y="1097850"/>
                  <a:pt x="388348" y="1111502"/>
                </a:cubicBezTo>
                <a:cubicBezTo>
                  <a:pt x="387375" y="1133151"/>
                  <a:pt x="386231" y="1154793"/>
                  <a:pt x="385048" y="1176431"/>
                </a:cubicBezTo>
                <a:cubicBezTo>
                  <a:pt x="382637" y="1220514"/>
                  <a:pt x="380158" y="1264593"/>
                  <a:pt x="377687" y="1308672"/>
                </a:cubicBezTo>
                <a:cubicBezTo>
                  <a:pt x="377458" y="1312751"/>
                  <a:pt x="376852" y="1316821"/>
                  <a:pt x="376823" y="1320897"/>
                </a:cubicBezTo>
                <a:cubicBezTo>
                  <a:pt x="376717" y="1335880"/>
                  <a:pt x="376781" y="1350864"/>
                  <a:pt x="376781" y="1366151"/>
                </a:cubicBezTo>
                <a:cubicBezTo>
                  <a:pt x="404707" y="1370397"/>
                  <a:pt x="432477" y="1369351"/>
                  <a:pt x="462594" y="1369008"/>
                </a:cubicBezTo>
                <a:moveTo>
                  <a:pt x="648494" y="1463981"/>
                </a:moveTo>
                <a:cubicBezTo>
                  <a:pt x="671329" y="1460052"/>
                  <a:pt x="694163" y="1456122"/>
                  <a:pt x="718746" y="1451892"/>
                </a:cubicBezTo>
                <a:cubicBezTo>
                  <a:pt x="716257" y="1439067"/>
                  <a:pt x="714578" y="1427816"/>
                  <a:pt x="711827" y="1416835"/>
                </a:cubicBezTo>
                <a:cubicBezTo>
                  <a:pt x="707611" y="1400009"/>
                  <a:pt x="703502" y="1397423"/>
                  <a:pt x="685812" y="1398502"/>
                </a:cubicBezTo>
                <a:cubicBezTo>
                  <a:pt x="684179" y="1398602"/>
                  <a:pt x="682547" y="1398768"/>
                  <a:pt x="680924" y="1398973"/>
                </a:cubicBezTo>
                <a:cubicBezTo>
                  <a:pt x="653380" y="1402446"/>
                  <a:pt x="625911" y="1406752"/>
                  <a:pt x="598278" y="1409218"/>
                </a:cubicBezTo>
                <a:cubicBezTo>
                  <a:pt x="557171" y="1412886"/>
                  <a:pt x="515983" y="1415946"/>
                  <a:pt x="474765" y="1417945"/>
                </a:cubicBezTo>
                <a:cubicBezTo>
                  <a:pt x="444944" y="1419391"/>
                  <a:pt x="415021" y="1418680"/>
                  <a:pt x="385143" y="1418978"/>
                </a:cubicBezTo>
                <a:cubicBezTo>
                  <a:pt x="382419" y="1419005"/>
                  <a:pt x="379697" y="1419376"/>
                  <a:pt x="376639" y="1419613"/>
                </a:cubicBezTo>
                <a:cubicBezTo>
                  <a:pt x="376639" y="1438152"/>
                  <a:pt x="376639" y="1455909"/>
                  <a:pt x="376639" y="1473939"/>
                </a:cubicBezTo>
                <a:cubicBezTo>
                  <a:pt x="378971" y="1474343"/>
                  <a:pt x="380523" y="1474802"/>
                  <a:pt x="382089" y="1474854"/>
                </a:cubicBezTo>
                <a:cubicBezTo>
                  <a:pt x="404571" y="1475605"/>
                  <a:pt x="427058" y="1476986"/>
                  <a:pt x="449536" y="1476855"/>
                </a:cubicBezTo>
                <a:cubicBezTo>
                  <a:pt x="486344" y="1476639"/>
                  <a:pt x="523207" y="1476480"/>
                  <a:pt x="559930" y="1474307"/>
                </a:cubicBezTo>
                <a:cubicBezTo>
                  <a:pt x="588839" y="1472596"/>
                  <a:pt x="617570" y="1467884"/>
                  <a:pt x="648494" y="1463981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2" name="Free-form: Shape 121">
            <a:extLst>
              <a:ext uri="{FF2B5EF4-FFF2-40B4-BE49-F238E27FC236}">
                <a16:creationId xmlns:a16="http://schemas.microsoft.com/office/drawing/2014/main" id="{D3F05D41-6957-90C1-F4BE-A08BF95F5801}"/>
              </a:ext>
            </a:extLst>
          </p:cNvPr>
          <p:cNvSpPr/>
          <p:nvPr/>
        </p:nvSpPr>
        <p:spPr>
          <a:xfrm>
            <a:off x="1262875" y="3179146"/>
            <a:ext cx="497702" cy="821885"/>
          </a:xfrm>
          <a:custGeom>
            <a:avLst/>
            <a:gdLst>
              <a:gd name="csX0" fmla="*/ 512604 w 598747"/>
              <a:gd name="csY0" fmla="*/ 503918 h 988745"/>
              <a:gd name="csX1" fmla="*/ 472435 w 598747"/>
              <a:gd name="csY1" fmla="*/ 482196 h 988745"/>
              <a:gd name="csX2" fmla="*/ 432737 w 598747"/>
              <a:gd name="csY2" fmla="*/ 445605 h 988745"/>
              <a:gd name="csX3" fmla="*/ 375943 w 598747"/>
              <a:gd name="csY3" fmla="*/ 426178 h 988745"/>
              <a:gd name="csX4" fmla="*/ 329354 w 598747"/>
              <a:gd name="csY4" fmla="*/ 428057 h 988745"/>
              <a:gd name="csX5" fmla="*/ 273070 w 598747"/>
              <a:gd name="csY5" fmla="*/ 425461 h 988745"/>
              <a:gd name="csX6" fmla="*/ 230084 w 598747"/>
              <a:gd name="csY6" fmla="*/ 395825 h 988745"/>
              <a:gd name="csX7" fmla="*/ 199097 w 598747"/>
              <a:gd name="csY7" fmla="*/ 326515 h 988745"/>
              <a:gd name="csX8" fmla="*/ 195158 w 598747"/>
              <a:gd name="csY8" fmla="*/ 315511 h 988745"/>
              <a:gd name="csX9" fmla="*/ 192512 w 598747"/>
              <a:gd name="csY9" fmla="*/ 315405 h 988745"/>
              <a:gd name="csX10" fmla="*/ 189288 w 598747"/>
              <a:gd name="csY10" fmla="*/ 321954 h 988745"/>
              <a:gd name="csX11" fmla="*/ 209532 w 598747"/>
              <a:gd name="csY11" fmla="*/ 453235 h 988745"/>
              <a:gd name="csX12" fmla="*/ 268616 w 598747"/>
              <a:gd name="csY12" fmla="*/ 538863 h 988745"/>
              <a:gd name="csX13" fmla="*/ 394191 w 598747"/>
              <a:gd name="csY13" fmla="*/ 676935 h 988745"/>
              <a:gd name="csX14" fmla="*/ 474037 w 598747"/>
              <a:gd name="csY14" fmla="*/ 783945 h 988745"/>
              <a:gd name="csX15" fmla="*/ 503332 w 598747"/>
              <a:gd name="csY15" fmla="*/ 901469 h 988745"/>
              <a:gd name="csX16" fmla="*/ 487993 w 598747"/>
              <a:gd name="csY16" fmla="*/ 970743 h 988745"/>
              <a:gd name="csX17" fmla="*/ 477248 w 598747"/>
              <a:gd name="csY17" fmla="*/ 979235 h 988745"/>
              <a:gd name="csX18" fmla="*/ 410194 w 598747"/>
              <a:gd name="csY18" fmla="*/ 986326 h 988745"/>
              <a:gd name="csX19" fmla="*/ 213720 w 598747"/>
              <a:gd name="csY19" fmla="*/ 988629 h 988745"/>
              <a:gd name="csX20" fmla="*/ 86242 w 598747"/>
              <a:gd name="csY20" fmla="*/ 982669 h 988745"/>
              <a:gd name="csX21" fmla="*/ 53553 w 598747"/>
              <a:gd name="csY21" fmla="*/ 981705 h 988745"/>
              <a:gd name="csX22" fmla="*/ 56311 w 598747"/>
              <a:gd name="csY22" fmla="*/ 974933 h 988745"/>
              <a:gd name="csX23" fmla="*/ 83373 w 598747"/>
              <a:gd name="csY23" fmla="*/ 891414 h 988745"/>
              <a:gd name="csX24" fmla="*/ 69625 w 598747"/>
              <a:gd name="csY24" fmla="*/ 728925 h 988745"/>
              <a:gd name="csX25" fmla="*/ 28713 w 598747"/>
              <a:gd name="csY25" fmla="*/ 583650 h 988745"/>
              <a:gd name="csX26" fmla="*/ 2872 w 598747"/>
              <a:gd name="csY26" fmla="*/ 458823 h 988745"/>
              <a:gd name="csX27" fmla="*/ 36461 w 598747"/>
              <a:gd name="csY27" fmla="*/ 250957 h 988745"/>
              <a:gd name="csX28" fmla="*/ 105198 w 598747"/>
              <a:gd name="csY28" fmla="*/ 163584 h 988745"/>
              <a:gd name="csX29" fmla="*/ 191800 w 598747"/>
              <a:gd name="csY29" fmla="*/ 101539 h 988745"/>
              <a:gd name="csX30" fmla="*/ 214600 w 598747"/>
              <a:gd name="csY30" fmla="*/ 75129 h 988745"/>
              <a:gd name="csX31" fmla="*/ 268462 w 598747"/>
              <a:gd name="csY31" fmla="*/ 0 h 988745"/>
              <a:gd name="csX32" fmla="*/ 269844 w 598747"/>
              <a:gd name="csY32" fmla="*/ 10898 h 988745"/>
              <a:gd name="csX33" fmla="*/ 272418 w 598747"/>
              <a:gd name="csY33" fmla="*/ 69722 h 988745"/>
              <a:gd name="csX34" fmla="*/ 297658 w 598747"/>
              <a:gd name="csY34" fmla="*/ 107113 h 988745"/>
              <a:gd name="csX35" fmla="*/ 355481 w 598747"/>
              <a:gd name="csY35" fmla="*/ 136991 h 988745"/>
              <a:gd name="csX36" fmla="*/ 430178 w 598747"/>
              <a:gd name="csY36" fmla="*/ 212396 h 988745"/>
              <a:gd name="csX37" fmla="*/ 465840 w 598747"/>
              <a:gd name="csY37" fmla="*/ 273997 h 988745"/>
              <a:gd name="csX38" fmla="*/ 532362 w 598747"/>
              <a:gd name="csY38" fmla="*/ 340124 h 988745"/>
              <a:gd name="csX39" fmla="*/ 572901 w 598747"/>
              <a:gd name="csY39" fmla="*/ 367845 h 988745"/>
              <a:gd name="csX40" fmla="*/ 598436 w 598747"/>
              <a:gd name="csY40" fmla="*/ 408775 h 988745"/>
              <a:gd name="csX41" fmla="*/ 596339 w 598747"/>
              <a:gd name="csY41" fmla="*/ 452637 h 988745"/>
              <a:gd name="csX42" fmla="*/ 552957 w 598747"/>
              <a:gd name="csY42" fmla="*/ 485233 h 988745"/>
              <a:gd name="csX43" fmla="*/ 525548 w 598747"/>
              <a:gd name="csY43" fmla="*/ 479475 h 988745"/>
              <a:gd name="csX44" fmla="*/ 515736 w 598747"/>
              <a:gd name="csY44" fmla="*/ 475921 h 988745"/>
              <a:gd name="csX45" fmla="*/ 525605 w 598747"/>
              <a:gd name="csY45" fmla="*/ 492048 h 988745"/>
              <a:gd name="csX46" fmla="*/ 538873 w 598747"/>
              <a:gd name="csY46" fmla="*/ 504704 h 988745"/>
              <a:gd name="csX47" fmla="*/ 512604 w 598747"/>
              <a:gd name="csY47" fmla="*/ 503918 h 988745"/>
              <a:gd name="csX48" fmla="*/ 332072 w 598747"/>
              <a:gd name="csY48" fmla="*/ 218143 h 988745"/>
              <a:gd name="csX49" fmla="*/ 334388 w 598747"/>
              <a:gd name="csY49" fmla="*/ 226400 h 988745"/>
              <a:gd name="csX50" fmla="*/ 372370 w 598747"/>
              <a:gd name="csY50" fmla="*/ 254505 h 988745"/>
              <a:gd name="csX51" fmla="*/ 405258 w 598747"/>
              <a:gd name="csY51" fmla="*/ 252089 h 988745"/>
              <a:gd name="csX52" fmla="*/ 409167 w 598747"/>
              <a:gd name="csY52" fmla="*/ 244359 h 988745"/>
              <a:gd name="csX53" fmla="*/ 396364 w 598747"/>
              <a:gd name="csY53" fmla="*/ 219471 h 988745"/>
              <a:gd name="csX54" fmla="*/ 365755 w 598747"/>
              <a:gd name="csY54" fmla="*/ 195821 h 988745"/>
              <a:gd name="csX55" fmla="*/ 333572 w 598747"/>
              <a:gd name="csY55" fmla="*/ 188536 h 988745"/>
              <a:gd name="csX56" fmla="*/ 322931 w 598747"/>
              <a:gd name="csY56" fmla="*/ 190843 h 988745"/>
              <a:gd name="csX57" fmla="*/ 329041 w 598747"/>
              <a:gd name="csY57" fmla="*/ 203001 h 988745"/>
              <a:gd name="csX58" fmla="*/ 332072 w 598747"/>
              <a:gd name="csY58" fmla="*/ 218143 h 98874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</a:cxnLst>
            <a:rect l="l" t="t" r="r" b="b"/>
            <a:pathLst>
              <a:path w="598747" h="988745">
                <a:moveTo>
                  <a:pt x="512604" y="503918"/>
                </a:moveTo>
                <a:cubicBezTo>
                  <a:pt x="496002" y="501170"/>
                  <a:pt x="483635" y="492907"/>
                  <a:pt x="472435" y="482196"/>
                </a:cubicBezTo>
                <a:cubicBezTo>
                  <a:pt x="459429" y="469758"/>
                  <a:pt x="446467" y="457218"/>
                  <a:pt x="432737" y="445605"/>
                </a:cubicBezTo>
                <a:cubicBezTo>
                  <a:pt x="416514" y="431883"/>
                  <a:pt x="397267" y="425513"/>
                  <a:pt x="375943" y="426178"/>
                </a:cubicBezTo>
                <a:cubicBezTo>
                  <a:pt x="360407" y="426662"/>
                  <a:pt x="344877" y="428180"/>
                  <a:pt x="329354" y="428057"/>
                </a:cubicBezTo>
                <a:cubicBezTo>
                  <a:pt x="310581" y="427907"/>
                  <a:pt x="291752" y="427215"/>
                  <a:pt x="273070" y="425461"/>
                </a:cubicBezTo>
                <a:cubicBezTo>
                  <a:pt x="253636" y="423637"/>
                  <a:pt x="240361" y="411413"/>
                  <a:pt x="230084" y="395825"/>
                </a:cubicBezTo>
                <a:cubicBezTo>
                  <a:pt x="215988" y="374443"/>
                  <a:pt x="207393" y="350530"/>
                  <a:pt x="199097" y="326515"/>
                </a:cubicBezTo>
                <a:cubicBezTo>
                  <a:pt x="197825" y="322833"/>
                  <a:pt x="196473" y="319178"/>
                  <a:pt x="195158" y="315511"/>
                </a:cubicBezTo>
                <a:cubicBezTo>
                  <a:pt x="194276" y="315475"/>
                  <a:pt x="193394" y="315440"/>
                  <a:pt x="192512" y="315405"/>
                </a:cubicBezTo>
                <a:cubicBezTo>
                  <a:pt x="191405" y="317583"/>
                  <a:pt x="189646" y="319659"/>
                  <a:pt x="189288" y="321954"/>
                </a:cubicBezTo>
                <a:cubicBezTo>
                  <a:pt x="182145" y="367836"/>
                  <a:pt x="189209" y="411525"/>
                  <a:pt x="209532" y="453235"/>
                </a:cubicBezTo>
                <a:cubicBezTo>
                  <a:pt x="224908" y="484792"/>
                  <a:pt x="245217" y="512936"/>
                  <a:pt x="268616" y="538863"/>
                </a:cubicBezTo>
                <a:cubicBezTo>
                  <a:pt x="310298" y="585046"/>
                  <a:pt x="352387" y="630861"/>
                  <a:pt x="394191" y="676935"/>
                </a:cubicBezTo>
                <a:cubicBezTo>
                  <a:pt x="424227" y="710039"/>
                  <a:pt x="452698" y="744360"/>
                  <a:pt x="474037" y="783945"/>
                </a:cubicBezTo>
                <a:cubicBezTo>
                  <a:pt x="493795" y="820596"/>
                  <a:pt x="505956" y="859233"/>
                  <a:pt x="503332" y="901469"/>
                </a:cubicBezTo>
                <a:cubicBezTo>
                  <a:pt x="501850" y="925342"/>
                  <a:pt x="495799" y="948239"/>
                  <a:pt x="487993" y="970743"/>
                </a:cubicBezTo>
                <a:cubicBezTo>
                  <a:pt x="486166" y="976009"/>
                  <a:pt x="482772" y="978647"/>
                  <a:pt x="477248" y="979235"/>
                </a:cubicBezTo>
                <a:cubicBezTo>
                  <a:pt x="454890" y="981614"/>
                  <a:pt x="432589" y="985767"/>
                  <a:pt x="410194" y="986326"/>
                </a:cubicBezTo>
                <a:cubicBezTo>
                  <a:pt x="344720" y="987961"/>
                  <a:pt x="279205" y="989128"/>
                  <a:pt x="213720" y="988629"/>
                </a:cubicBezTo>
                <a:cubicBezTo>
                  <a:pt x="171215" y="988306"/>
                  <a:pt x="128736" y="984705"/>
                  <a:pt x="86242" y="982669"/>
                </a:cubicBezTo>
                <a:cubicBezTo>
                  <a:pt x="75776" y="982167"/>
                  <a:pt x="65294" y="982040"/>
                  <a:pt x="53553" y="981705"/>
                </a:cubicBezTo>
                <a:cubicBezTo>
                  <a:pt x="54842" y="978488"/>
                  <a:pt x="55323" y="976556"/>
                  <a:pt x="56311" y="974933"/>
                </a:cubicBezTo>
                <a:cubicBezTo>
                  <a:pt x="71955" y="949229"/>
                  <a:pt x="78103" y="920529"/>
                  <a:pt x="83373" y="891414"/>
                </a:cubicBezTo>
                <a:cubicBezTo>
                  <a:pt x="93411" y="835958"/>
                  <a:pt x="83645" y="782156"/>
                  <a:pt x="69625" y="728925"/>
                </a:cubicBezTo>
                <a:cubicBezTo>
                  <a:pt x="56813" y="680283"/>
                  <a:pt x="42153" y="632130"/>
                  <a:pt x="28713" y="583650"/>
                </a:cubicBezTo>
                <a:cubicBezTo>
                  <a:pt x="17342" y="542631"/>
                  <a:pt x="7760" y="501188"/>
                  <a:pt x="2872" y="458823"/>
                </a:cubicBezTo>
                <a:cubicBezTo>
                  <a:pt x="-5484" y="386401"/>
                  <a:pt x="4005" y="316635"/>
                  <a:pt x="36461" y="250957"/>
                </a:cubicBezTo>
                <a:cubicBezTo>
                  <a:pt x="53137" y="217210"/>
                  <a:pt x="77705" y="189133"/>
                  <a:pt x="105198" y="163584"/>
                </a:cubicBezTo>
                <a:cubicBezTo>
                  <a:pt x="131434" y="139203"/>
                  <a:pt x="160285" y="118551"/>
                  <a:pt x="191800" y="101539"/>
                </a:cubicBezTo>
                <a:cubicBezTo>
                  <a:pt x="202646" y="95684"/>
                  <a:pt x="209856" y="86491"/>
                  <a:pt x="214600" y="75129"/>
                </a:cubicBezTo>
                <a:cubicBezTo>
                  <a:pt x="226474" y="46689"/>
                  <a:pt x="246616" y="24191"/>
                  <a:pt x="268462" y="0"/>
                </a:cubicBezTo>
                <a:cubicBezTo>
                  <a:pt x="269111" y="4997"/>
                  <a:pt x="269706" y="7937"/>
                  <a:pt x="269844" y="10898"/>
                </a:cubicBezTo>
                <a:cubicBezTo>
                  <a:pt x="270760" y="30504"/>
                  <a:pt x="271607" y="50112"/>
                  <a:pt x="272418" y="69722"/>
                </a:cubicBezTo>
                <a:cubicBezTo>
                  <a:pt x="273150" y="87396"/>
                  <a:pt x="281549" y="99401"/>
                  <a:pt x="297658" y="107113"/>
                </a:cubicBezTo>
                <a:cubicBezTo>
                  <a:pt x="317218" y="116476"/>
                  <a:pt x="336170" y="127101"/>
                  <a:pt x="355481" y="136991"/>
                </a:cubicBezTo>
                <a:cubicBezTo>
                  <a:pt x="388645" y="153974"/>
                  <a:pt x="413226" y="179056"/>
                  <a:pt x="430178" y="212396"/>
                </a:cubicBezTo>
                <a:cubicBezTo>
                  <a:pt x="440917" y="233515"/>
                  <a:pt x="453634" y="253647"/>
                  <a:pt x="465840" y="273997"/>
                </a:cubicBezTo>
                <a:cubicBezTo>
                  <a:pt x="482404" y="301613"/>
                  <a:pt x="506102" y="322183"/>
                  <a:pt x="532362" y="340124"/>
                </a:cubicBezTo>
                <a:cubicBezTo>
                  <a:pt x="545881" y="349359"/>
                  <a:pt x="559082" y="359088"/>
                  <a:pt x="572901" y="367845"/>
                </a:cubicBezTo>
                <a:cubicBezTo>
                  <a:pt x="588172" y="377523"/>
                  <a:pt x="597775" y="390733"/>
                  <a:pt x="598436" y="408775"/>
                </a:cubicBezTo>
                <a:cubicBezTo>
                  <a:pt x="598970" y="423381"/>
                  <a:pt x="599120" y="438404"/>
                  <a:pt x="596339" y="452637"/>
                </a:cubicBezTo>
                <a:cubicBezTo>
                  <a:pt x="591789" y="475923"/>
                  <a:pt x="576843" y="486555"/>
                  <a:pt x="552957" y="485233"/>
                </a:cubicBezTo>
                <a:cubicBezTo>
                  <a:pt x="543740" y="484722"/>
                  <a:pt x="534648" y="481613"/>
                  <a:pt x="525548" y="479475"/>
                </a:cubicBezTo>
                <a:cubicBezTo>
                  <a:pt x="522577" y="478776"/>
                  <a:pt x="519764" y="477405"/>
                  <a:pt x="515736" y="475921"/>
                </a:cubicBezTo>
                <a:cubicBezTo>
                  <a:pt x="516318" y="484233"/>
                  <a:pt x="521537" y="487842"/>
                  <a:pt x="525605" y="492048"/>
                </a:cubicBezTo>
                <a:cubicBezTo>
                  <a:pt x="529554" y="496129"/>
                  <a:pt x="533815" y="499907"/>
                  <a:pt x="538873" y="504704"/>
                </a:cubicBezTo>
                <a:cubicBezTo>
                  <a:pt x="529522" y="509277"/>
                  <a:pt x="521553" y="504428"/>
                  <a:pt x="512604" y="503918"/>
                </a:cubicBezTo>
                <a:moveTo>
                  <a:pt x="332072" y="218143"/>
                </a:moveTo>
                <a:cubicBezTo>
                  <a:pt x="332837" y="220898"/>
                  <a:pt x="333478" y="223695"/>
                  <a:pt x="334388" y="226400"/>
                </a:cubicBezTo>
                <a:cubicBezTo>
                  <a:pt x="341073" y="246268"/>
                  <a:pt x="351614" y="254460"/>
                  <a:pt x="372370" y="254505"/>
                </a:cubicBezTo>
                <a:cubicBezTo>
                  <a:pt x="383333" y="254529"/>
                  <a:pt x="394312" y="253121"/>
                  <a:pt x="405258" y="252089"/>
                </a:cubicBezTo>
                <a:cubicBezTo>
                  <a:pt x="409961" y="251646"/>
                  <a:pt x="411340" y="248568"/>
                  <a:pt x="409167" y="244359"/>
                </a:cubicBezTo>
                <a:cubicBezTo>
                  <a:pt x="404885" y="236068"/>
                  <a:pt x="400139" y="227985"/>
                  <a:pt x="396364" y="219471"/>
                </a:cubicBezTo>
                <a:cubicBezTo>
                  <a:pt x="390350" y="205908"/>
                  <a:pt x="379963" y="198663"/>
                  <a:pt x="365755" y="195821"/>
                </a:cubicBezTo>
                <a:cubicBezTo>
                  <a:pt x="354973" y="193665"/>
                  <a:pt x="344291" y="191003"/>
                  <a:pt x="333572" y="188536"/>
                </a:cubicBezTo>
                <a:cubicBezTo>
                  <a:pt x="329511" y="187602"/>
                  <a:pt x="325579" y="187007"/>
                  <a:pt x="322931" y="190843"/>
                </a:cubicBezTo>
                <a:cubicBezTo>
                  <a:pt x="325138" y="195129"/>
                  <a:pt x="327613" y="198884"/>
                  <a:pt x="329041" y="203001"/>
                </a:cubicBezTo>
                <a:cubicBezTo>
                  <a:pt x="330500" y="207204"/>
                  <a:pt x="330929" y="211764"/>
                  <a:pt x="332072" y="218143"/>
                </a:cubicBezTo>
                <a:close/>
              </a:path>
            </a:pathLst>
          </a:custGeom>
          <a:solidFill>
            <a:srgbClr val="FEFEFE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3" name="Free-form: Shape 122">
            <a:extLst>
              <a:ext uri="{FF2B5EF4-FFF2-40B4-BE49-F238E27FC236}">
                <a16:creationId xmlns:a16="http://schemas.microsoft.com/office/drawing/2014/main" id="{D0115BA1-5012-290F-75CC-0DB8E363C464}"/>
              </a:ext>
            </a:extLst>
          </p:cNvPr>
          <p:cNvSpPr/>
          <p:nvPr/>
        </p:nvSpPr>
        <p:spPr>
          <a:xfrm>
            <a:off x="1463692" y="4036481"/>
            <a:ext cx="267393" cy="232628"/>
          </a:xfrm>
          <a:custGeom>
            <a:avLst/>
            <a:gdLst>
              <a:gd name="csX0" fmla="*/ 84645 w 321679"/>
              <a:gd name="csY0" fmla="*/ 279507 h 279857"/>
              <a:gd name="csX1" fmla="*/ 19 w 321679"/>
              <a:gd name="csY1" fmla="*/ 276629 h 279857"/>
              <a:gd name="csX2" fmla="*/ 61 w 321679"/>
              <a:gd name="csY2" fmla="*/ 231376 h 279857"/>
              <a:gd name="csX3" fmla="*/ 925 w 321679"/>
              <a:gd name="csY3" fmla="*/ 219150 h 279857"/>
              <a:gd name="csX4" fmla="*/ 8286 w 321679"/>
              <a:gd name="csY4" fmla="*/ 86910 h 279857"/>
              <a:gd name="csX5" fmla="*/ 11586 w 321679"/>
              <a:gd name="csY5" fmla="*/ 21981 h 279857"/>
              <a:gd name="csX6" fmla="*/ 26655 w 321679"/>
              <a:gd name="csY6" fmla="*/ 7635 h 279857"/>
              <a:gd name="csX7" fmla="*/ 67169 w 321679"/>
              <a:gd name="csY7" fmla="*/ 7178 h 279857"/>
              <a:gd name="csX8" fmla="*/ 201872 w 321679"/>
              <a:gd name="csY8" fmla="*/ 121 h 279857"/>
              <a:gd name="csX9" fmla="*/ 217558 w 321679"/>
              <a:gd name="csY9" fmla="*/ 87 h 279857"/>
              <a:gd name="csX10" fmla="*/ 214854 w 321679"/>
              <a:gd name="csY10" fmla="*/ 22019 h 279857"/>
              <a:gd name="csX11" fmla="*/ 235301 w 321679"/>
              <a:gd name="csY11" fmla="*/ 104861 h 279857"/>
              <a:gd name="csX12" fmla="*/ 269832 w 321679"/>
              <a:gd name="csY12" fmla="*/ 144587 h 279857"/>
              <a:gd name="csX13" fmla="*/ 299912 w 321679"/>
              <a:gd name="csY13" fmla="*/ 176874 h 279857"/>
              <a:gd name="csX14" fmla="*/ 320491 w 321679"/>
              <a:gd name="csY14" fmla="*/ 256903 h 279857"/>
              <a:gd name="csX15" fmla="*/ 255607 w 321679"/>
              <a:gd name="csY15" fmla="*/ 264918 h 279857"/>
              <a:gd name="csX16" fmla="*/ 172672 w 321679"/>
              <a:gd name="csY16" fmla="*/ 273435 h 279857"/>
              <a:gd name="csX17" fmla="*/ 133595 w 321679"/>
              <a:gd name="csY17" fmla="*/ 276823 h 279857"/>
              <a:gd name="csX18" fmla="*/ 84645 w 321679"/>
              <a:gd name="csY18" fmla="*/ 279507 h 27985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</a:cxnLst>
            <a:rect l="l" t="t" r="r" b="b"/>
            <a:pathLst>
              <a:path w="321679" h="279857">
                <a:moveTo>
                  <a:pt x="84645" y="279507"/>
                </a:moveTo>
                <a:cubicBezTo>
                  <a:pt x="55716" y="279830"/>
                  <a:pt x="27945" y="280875"/>
                  <a:pt x="19" y="276629"/>
                </a:cubicBezTo>
                <a:cubicBezTo>
                  <a:pt x="19" y="261343"/>
                  <a:pt x="-45" y="246359"/>
                  <a:pt x="61" y="231376"/>
                </a:cubicBezTo>
                <a:cubicBezTo>
                  <a:pt x="90" y="227299"/>
                  <a:pt x="696" y="223229"/>
                  <a:pt x="925" y="219150"/>
                </a:cubicBezTo>
                <a:cubicBezTo>
                  <a:pt x="3396" y="175071"/>
                  <a:pt x="5876" y="130992"/>
                  <a:pt x="8286" y="86910"/>
                </a:cubicBezTo>
                <a:cubicBezTo>
                  <a:pt x="9469" y="65271"/>
                  <a:pt x="10613" y="43630"/>
                  <a:pt x="11586" y="21981"/>
                </a:cubicBezTo>
                <a:cubicBezTo>
                  <a:pt x="12199" y="8328"/>
                  <a:pt x="12576" y="7792"/>
                  <a:pt x="26655" y="7635"/>
                </a:cubicBezTo>
                <a:cubicBezTo>
                  <a:pt x="40161" y="7484"/>
                  <a:pt x="53689" y="7831"/>
                  <a:pt x="67169" y="7178"/>
                </a:cubicBezTo>
                <a:cubicBezTo>
                  <a:pt x="112079" y="5004"/>
                  <a:pt x="156970" y="2455"/>
                  <a:pt x="201872" y="121"/>
                </a:cubicBezTo>
                <a:cubicBezTo>
                  <a:pt x="206690" y="-130"/>
                  <a:pt x="211533" y="87"/>
                  <a:pt x="217558" y="87"/>
                </a:cubicBezTo>
                <a:cubicBezTo>
                  <a:pt x="216603" y="7811"/>
                  <a:pt x="215688" y="14910"/>
                  <a:pt x="214854" y="22019"/>
                </a:cubicBezTo>
                <a:cubicBezTo>
                  <a:pt x="211318" y="52185"/>
                  <a:pt x="219749" y="79345"/>
                  <a:pt x="235301" y="104861"/>
                </a:cubicBezTo>
                <a:cubicBezTo>
                  <a:pt x="244591" y="120102"/>
                  <a:pt x="257536" y="132012"/>
                  <a:pt x="269832" y="144587"/>
                </a:cubicBezTo>
                <a:cubicBezTo>
                  <a:pt x="280116" y="155103"/>
                  <a:pt x="290551" y="165559"/>
                  <a:pt x="299912" y="176874"/>
                </a:cubicBezTo>
                <a:cubicBezTo>
                  <a:pt x="319006" y="199953"/>
                  <a:pt x="324386" y="226827"/>
                  <a:pt x="320491" y="256903"/>
                </a:cubicBezTo>
                <a:cubicBezTo>
                  <a:pt x="298421" y="259649"/>
                  <a:pt x="277043" y="262541"/>
                  <a:pt x="255607" y="264918"/>
                </a:cubicBezTo>
                <a:cubicBezTo>
                  <a:pt x="227987" y="267981"/>
                  <a:pt x="200327" y="270692"/>
                  <a:pt x="172672" y="273435"/>
                </a:cubicBezTo>
                <a:cubicBezTo>
                  <a:pt x="159662" y="274725"/>
                  <a:pt x="146637" y="275935"/>
                  <a:pt x="133595" y="276823"/>
                </a:cubicBezTo>
                <a:cubicBezTo>
                  <a:pt x="117688" y="277907"/>
                  <a:pt x="101755" y="278616"/>
                  <a:pt x="84645" y="279507"/>
                </a:cubicBezTo>
                <a:close/>
              </a:path>
            </a:pathLst>
          </a:custGeom>
          <a:solidFill>
            <a:srgbClr val="FDFEFE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4" name="Free-form: Shape 123">
            <a:extLst>
              <a:ext uri="{FF2B5EF4-FFF2-40B4-BE49-F238E27FC236}">
                <a16:creationId xmlns:a16="http://schemas.microsoft.com/office/drawing/2014/main" id="{0ACE82BA-EAB0-F52E-B013-0C120AB0E7BE}"/>
              </a:ext>
            </a:extLst>
          </p:cNvPr>
          <p:cNvSpPr/>
          <p:nvPr/>
        </p:nvSpPr>
        <p:spPr>
          <a:xfrm>
            <a:off x="1463589" y="4293142"/>
            <a:ext cx="284373" cy="65313"/>
          </a:xfrm>
          <a:custGeom>
            <a:avLst/>
            <a:gdLst>
              <a:gd name="csX0" fmla="*/ 270798 w 342106"/>
              <a:gd name="csY0" fmla="*/ 65953 h 78573"/>
              <a:gd name="csX1" fmla="*/ 183290 w 342106"/>
              <a:gd name="csY1" fmla="*/ 76017 h 78573"/>
              <a:gd name="csX2" fmla="*/ 72897 w 342106"/>
              <a:gd name="csY2" fmla="*/ 78565 h 78573"/>
              <a:gd name="csX3" fmla="*/ 5450 w 342106"/>
              <a:gd name="csY3" fmla="*/ 76564 h 78573"/>
              <a:gd name="csX4" fmla="*/ 0 w 342106"/>
              <a:gd name="csY4" fmla="*/ 75649 h 78573"/>
              <a:gd name="csX5" fmla="*/ 0 w 342106"/>
              <a:gd name="csY5" fmla="*/ 21324 h 78573"/>
              <a:gd name="csX6" fmla="*/ 8504 w 342106"/>
              <a:gd name="csY6" fmla="*/ 20688 h 78573"/>
              <a:gd name="csX7" fmla="*/ 98126 w 342106"/>
              <a:gd name="csY7" fmla="*/ 19655 h 78573"/>
              <a:gd name="csX8" fmla="*/ 221639 w 342106"/>
              <a:gd name="csY8" fmla="*/ 10929 h 78573"/>
              <a:gd name="csX9" fmla="*/ 304285 w 342106"/>
              <a:gd name="csY9" fmla="*/ 683 h 78573"/>
              <a:gd name="csX10" fmla="*/ 309173 w 342106"/>
              <a:gd name="csY10" fmla="*/ 212 h 78573"/>
              <a:gd name="csX11" fmla="*/ 335187 w 342106"/>
              <a:gd name="csY11" fmla="*/ 18545 h 78573"/>
              <a:gd name="csX12" fmla="*/ 342106 w 342106"/>
              <a:gd name="csY12" fmla="*/ 53602 h 78573"/>
              <a:gd name="csX13" fmla="*/ 270798 w 342106"/>
              <a:gd name="csY13" fmla="*/ 65953 h 7857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</a:cxnLst>
            <a:rect l="l" t="t" r="r" b="b"/>
            <a:pathLst>
              <a:path w="342106" h="78573">
                <a:moveTo>
                  <a:pt x="270798" y="65953"/>
                </a:moveTo>
                <a:cubicBezTo>
                  <a:pt x="240931" y="69594"/>
                  <a:pt x="212199" y="74306"/>
                  <a:pt x="183290" y="76017"/>
                </a:cubicBezTo>
                <a:cubicBezTo>
                  <a:pt x="146568" y="78191"/>
                  <a:pt x="109704" y="78349"/>
                  <a:pt x="72897" y="78565"/>
                </a:cubicBezTo>
                <a:cubicBezTo>
                  <a:pt x="50419" y="78697"/>
                  <a:pt x="27931" y="77315"/>
                  <a:pt x="5450" y="76564"/>
                </a:cubicBezTo>
                <a:cubicBezTo>
                  <a:pt x="3884" y="76512"/>
                  <a:pt x="2332" y="76053"/>
                  <a:pt x="0" y="75649"/>
                </a:cubicBezTo>
                <a:cubicBezTo>
                  <a:pt x="0" y="57619"/>
                  <a:pt x="0" y="39863"/>
                  <a:pt x="0" y="21324"/>
                </a:cubicBezTo>
                <a:cubicBezTo>
                  <a:pt x="3058" y="21086"/>
                  <a:pt x="5779" y="20715"/>
                  <a:pt x="8504" y="20688"/>
                </a:cubicBezTo>
                <a:cubicBezTo>
                  <a:pt x="38382" y="20390"/>
                  <a:pt x="68305" y="21101"/>
                  <a:pt x="98126" y="19655"/>
                </a:cubicBezTo>
                <a:cubicBezTo>
                  <a:pt x="139343" y="17657"/>
                  <a:pt x="180532" y="14597"/>
                  <a:pt x="221639" y="10929"/>
                </a:cubicBezTo>
                <a:cubicBezTo>
                  <a:pt x="249272" y="8463"/>
                  <a:pt x="276741" y="4156"/>
                  <a:pt x="304285" y="683"/>
                </a:cubicBezTo>
                <a:cubicBezTo>
                  <a:pt x="305908" y="478"/>
                  <a:pt x="307539" y="312"/>
                  <a:pt x="309173" y="212"/>
                </a:cubicBezTo>
                <a:cubicBezTo>
                  <a:pt x="326863" y="-867"/>
                  <a:pt x="330972" y="1719"/>
                  <a:pt x="335187" y="18545"/>
                </a:cubicBezTo>
                <a:cubicBezTo>
                  <a:pt x="337939" y="29526"/>
                  <a:pt x="339618" y="40777"/>
                  <a:pt x="342106" y="53602"/>
                </a:cubicBezTo>
                <a:cubicBezTo>
                  <a:pt x="317523" y="57833"/>
                  <a:pt x="294689" y="61762"/>
                  <a:pt x="270798" y="65953"/>
                </a:cubicBezTo>
                <a:close/>
              </a:path>
            </a:pathLst>
          </a:custGeom>
          <a:solidFill>
            <a:srgbClr val="FCFCFC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5" name="Free-form: Shape 124">
            <a:extLst>
              <a:ext uri="{FF2B5EF4-FFF2-40B4-BE49-F238E27FC236}">
                <a16:creationId xmlns:a16="http://schemas.microsoft.com/office/drawing/2014/main" id="{E80A93E7-968C-7BFA-24CE-95A5B60E85EE}"/>
              </a:ext>
            </a:extLst>
          </p:cNvPr>
          <p:cNvSpPr/>
          <p:nvPr/>
        </p:nvSpPr>
        <p:spPr>
          <a:xfrm>
            <a:off x="1531308" y="3335286"/>
            <a:ext cx="72517" cy="55415"/>
          </a:xfrm>
          <a:custGeom>
            <a:avLst/>
            <a:gdLst>
              <a:gd name="csX0" fmla="*/ 9010 w 87239"/>
              <a:gd name="csY0" fmla="*/ 29316 h 66665"/>
              <a:gd name="csX1" fmla="*/ 6110 w 87239"/>
              <a:gd name="csY1" fmla="*/ 15162 h 66665"/>
              <a:gd name="csX2" fmla="*/ 0 w 87239"/>
              <a:gd name="csY2" fmla="*/ 3003 h 66665"/>
              <a:gd name="csX3" fmla="*/ 10641 w 87239"/>
              <a:gd name="csY3" fmla="*/ 697 h 66665"/>
              <a:gd name="csX4" fmla="*/ 42824 w 87239"/>
              <a:gd name="csY4" fmla="*/ 7981 h 66665"/>
              <a:gd name="csX5" fmla="*/ 73433 w 87239"/>
              <a:gd name="csY5" fmla="*/ 31631 h 66665"/>
              <a:gd name="csX6" fmla="*/ 86236 w 87239"/>
              <a:gd name="csY6" fmla="*/ 56519 h 66665"/>
              <a:gd name="csX7" fmla="*/ 82327 w 87239"/>
              <a:gd name="csY7" fmla="*/ 64249 h 66665"/>
              <a:gd name="csX8" fmla="*/ 49439 w 87239"/>
              <a:gd name="csY8" fmla="*/ 66665 h 66665"/>
              <a:gd name="csX9" fmla="*/ 11457 w 87239"/>
              <a:gd name="csY9" fmla="*/ 38560 h 66665"/>
              <a:gd name="csX10" fmla="*/ 9010 w 87239"/>
              <a:gd name="csY10" fmla="*/ 29316 h 6666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</a:cxnLst>
            <a:rect l="l" t="t" r="r" b="b"/>
            <a:pathLst>
              <a:path w="87239" h="66665">
                <a:moveTo>
                  <a:pt x="9010" y="29316"/>
                </a:moveTo>
                <a:cubicBezTo>
                  <a:pt x="7998" y="23924"/>
                  <a:pt x="7568" y="19365"/>
                  <a:pt x="6110" y="15162"/>
                </a:cubicBezTo>
                <a:cubicBezTo>
                  <a:pt x="4682" y="11044"/>
                  <a:pt x="2207" y="7289"/>
                  <a:pt x="0" y="3003"/>
                </a:cubicBezTo>
                <a:cubicBezTo>
                  <a:pt x="2648" y="-833"/>
                  <a:pt x="6580" y="-238"/>
                  <a:pt x="10641" y="697"/>
                </a:cubicBezTo>
                <a:cubicBezTo>
                  <a:pt x="21360" y="3163"/>
                  <a:pt x="32042" y="5825"/>
                  <a:pt x="42824" y="7981"/>
                </a:cubicBezTo>
                <a:cubicBezTo>
                  <a:pt x="57032" y="10823"/>
                  <a:pt x="67419" y="18068"/>
                  <a:pt x="73433" y="31631"/>
                </a:cubicBezTo>
                <a:cubicBezTo>
                  <a:pt x="77208" y="40146"/>
                  <a:pt x="81954" y="48228"/>
                  <a:pt x="86236" y="56519"/>
                </a:cubicBezTo>
                <a:cubicBezTo>
                  <a:pt x="88409" y="60728"/>
                  <a:pt x="87030" y="63806"/>
                  <a:pt x="82327" y="64249"/>
                </a:cubicBezTo>
                <a:cubicBezTo>
                  <a:pt x="71381" y="65282"/>
                  <a:pt x="60402" y="66689"/>
                  <a:pt x="49439" y="66665"/>
                </a:cubicBezTo>
                <a:cubicBezTo>
                  <a:pt x="28683" y="66620"/>
                  <a:pt x="18142" y="58428"/>
                  <a:pt x="11457" y="38560"/>
                </a:cubicBezTo>
                <a:cubicBezTo>
                  <a:pt x="10547" y="35855"/>
                  <a:pt x="9906" y="33058"/>
                  <a:pt x="9010" y="29316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6" name="TextBox 125">
            <a:extLst>
              <a:ext uri="{FF2B5EF4-FFF2-40B4-BE49-F238E27FC236}">
                <a16:creationId xmlns:a16="http://schemas.microsoft.com/office/drawing/2014/main" id="{EB02AB31-696B-D1DD-CDE2-1A1EDEA2226C}"/>
              </a:ext>
            </a:extLst>
          </p:cNvPr>
          <p:cNvSpPr txBox="1"/>
          <p:nvPr/>
        </p:nvSpPr>
        <p:spPr>
          <a:xfrm>
            <a:off x="1057190" y="4380847"/>
            <a:ext cx="863983" cy="3927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ola-BR</a:t>
            </a:r>
          </a:p>
        </p:txBody>
      </p:sp>
      <p:sp>
        <p:nvSpPr>
          <p:cNvPr id="127" name="TextBox 126">
            <a:extLst>
              <a:ext uri="{FF2B5EF4-FFF2-40B4-BE49-F238E27FC236}">
                <a16:creationId xmlns:a16="http://schemas.microsoft.com/office/drawing/2014/main" id="{E0276746-625F-AA85-D7D1-6F4B45E4E0C6}"/>
              </a:ext>
            </a:extLst>
          </p:cNvPr>
          <p:cNvSpPr txBox="1"/>
          <p:nvPr/>
        </p:nvSpPr>
        <p:spPr>
          <a:xfrm>
            <a:off x="2183355" y="3848961"/>
            <a:ext cx="1434479" cy="3927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D19 CAR-T </a:t>
            </a:r>
          </a:p>
        </p:txBody>
      </p:sp>
      <p:sp>
        <p:nvSpPr>
          <p:cNvPr id="128" name="Oval 127">
            <a:extLst>
              <a:ext uri="{FF2B5EF4-FFF2-40B4-BE49-F238E27FC236}">
                <a16:creationId xmlns:a16="http://schemas.microsoft.com/office/drawing/2014/main" id="{9F3BDFB1-66B7-68B6-EE7B-C9C01A3E82EF}"/>
              </a:ext>
            </a:extLst>
          </p:cNvPr>
          <p:cNvSpPr/>
          <p:nvPr/>
        </p:nvSpPr>
        <p:spPr>
          <a:xfrm>
            <a:off x="2536705" y="3536117"/>
            <a:ext cx="739960" cy="152189"/>
          </a:xfrm>
          <a:prstGeom prst="ellipse">
            <a:avLst/>
          </a:prstGeom>
          <a:solidFill>
            <a:schemeClr val="tx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9" name="Free-form: Shape 128">
            <a:extLst>
              <a:ext uri="{FF2B5EF4-FFF2-40B4-BE49-F238E27FC236}">
                <a16:creationId xmlns:a16="http://schemas.microsoft.com/office/drawing/2014/main" id="{EDA41AC4-1714-D8D2-3B73-A2EDB588C838}"/>
              </a:ext>
            </a:extLst>
          </p:cNvPr>
          <p:cNvSpPr/>
          <p:nvPr/>
        </p:nvSpPr>
        <p:spPr>
          <a:xfrm>
            <a:off x="2616669" y="2234540"/>
            <a:ext cx="650203" cy="1414846"/>
          </a:xfrm>
          <a:custGeom>
            <a:avLst/>
            <a:gdLst>
              <a:gd name="csX0" fmla="*/ 466852 w 715223"/>
              <a:gd name="csY0" fmla="*/ 229083 h 1556330"/>
              <a:gd name="csX1" fmla="*/ 462328 w 715223"/>
              <a:gd name="csY1" fmla="*/ 242604 h 1556330"/>
              <a:gd name="csX2" fmla="*/ 496944 w 715223"/>
              <a:gd name="csY2" fmla="*/ 204739 h 1556330"/>
              <a:gd name="csX3" fmla="*/ 534359 w 715223"/>
              <a:gd name="csY3" fmla="*/ 270960 h 1556330"/>
              <a:gd name="csX4" fmla="*/ 540589 w 715223"/>
              <a:gd name="csY4" fmla="*/ 445986 h 1556330"/>
              <a:gd name="csX5" fmla="*/ 509727 w 715223"/>
              <a:gd name="csY5" fmla="*/ 496924 h 1556330"/>
              <a:gd name="csX6" fmla="*/ 505366 w 715223"/>
              <a:gd name="csY6" fmla="*/ 511893 h 1556330"/>
              <a:gd name="csX7" fmla="*/ 501982 w 715223"/>
              <a:gd name="csY7" fmla="*/ 530377 h 1556330"/>
              <a:gd name="csX8" fmla="*/ 505678 w 715223"/>
              <a:gd name="csY8" fmla="*/ 556455 h 1556330"/>
              <a:gd name="csX9" fmla="*/ 526115 w 715223"/>
              <a:gd name="csY9" fmla="*/ 591784 h 1556330"/>
              <a:gd name="csX10" fmla="*/ 541579 w 715223"/>
              <a:gd name="csY10" fmla="*/ 612264 h 1556330"/>
              <a:gd name="csX11" fmla="*/ 569572 w 715223"/>
              <a:gd name="csY11" fmla="*/ 643441 h 1556330"/>
              <a:gd name="csX12" fmla="*/ 555234 w 715223"/>
              <a:gd name="csY12" fmla="*/ 688473 h 1556330"/>
              <a:gd name="csX13" fmla="*/ 513278 w 715223"/>
              <a:gd name="csY13" fmla="*/ 700556 h 1556330"/>
              <a:gd name="csX14" fmla="*/ 488559 w 715223"/>
              <a:gd name="csY14" fmla="*/ 702821 h 1556330"/>
              <a:gd name="csX15" fmla="*/ 488544 w 715223"/>
              <a:gd name="csY15" fmla="*/ 718085 h 1556330"/>
              <a:gd name="csX16" fmla="*/ 526561 w 715223"/>
              <a:gd name="csY16" fmla="*/ 1010212 h 1556330"/>
              <a:gd name="csX17" fmla="*/ 569986 w 715223"/>
              <a:gd name="csY17" fmla="*/ 1153317 h 1556330"/>
              <a:gd name="csX18" fmla="*/ 587389 w 715223"/>
              <a:gd name="csY18" fmla="*/ 1172173 h 1556330"/>
              <a:gd name="csX19" fmla="*/ 606286 w 715223"/>
              <a:gd name="csY19" fmla="*/ 1180891 h 1556330"/>
              <a:gd name="csX20" fmla="*/ 613400 w 715223"/>
              <a:gd name="csY20" fmla="*/ 1204260 h 1556330"/>
              <a:gd name="csX21" fmla="*/ 605350 w 715223"/>
              <a:gd name="csY21" fmla="*/ 1216760 h 1556330"/>
              <a:gd name="csX22" fmla="*/ 600268 w 715223"/>
              <a:gd name="csY22" fmla="*/ 1220273 h 1556330"/>
              <a:gd name="csX23" fmla="*/ 610574 w 715223"/>
              <a:gd name="csY23" fmla="*/ 1258750 h 1556330"/>
              <a:gd name="csX24" fmla="*/ 672371 w 715223"/>
              <a:gd name="csY24" fmla="*/ 1319810 h 1556330"/>
              <a:gd name="csX25" fmla="*/ 675494 w 715223"/>
              <a:gd name="csY25" fmla="*/ 1323366 h 1556330"/>
              <a:gd name="csX26" fmla="*/ 692949 w 715223"/>
              <a:gd name="csY26" fmla="*/ 1396068 h 1556330"/>
              <a:gd name="csX27" fmla="*/ 690628 w 715223"/>
              <a:gd name="csY27" fmla="*/ 1414117 h 1556330"/>
              <a:gd name="csX28" fmla="*/ 695588 w 715223"/>
              <a:gd name="csY28" fmla="*/ 1421035 h 1556330"/>
              <a:gd name="csX29" fmla="*/ 694353 w 715223"/>
              <a:gd name="csY29" fmla="*/ 1425190 h 1556330"/>
              <a:gd name="csX30" fmla="*/ 689106 w 715223"/>
              <a:gd name="csY30" fmla="*/ 1428714 h 1556330"/>
              <a:gd name="csX31" fmla="*/ 695093 w 715223"/>
              <a:gd name="csY31" fmla="*/ 1428433 h 1556330"/>
              <a:gd name="csX32" fmla="*/ 697643 w 715223"/>
              <a:gd name="csY32" fmla="*/ 1432864 h 1556330"/>
              <a:gd name="csX33" fmla="*/ 698207 w 715223"/>
              <a:gd name="csY33" fmla="*/ 1441988 h 1556330"/>
              <a:gd name="csX34" fmla="*/ 715183 w 715223"/>
              <a:gd name="csY34" fmla="*/ 1508752 h 1556330"/>
              <a:gd name="csX35" fmla="*/ 701540 w 715223"/>
              <a:gd name="csY35" fmla="*/ 1526524 h 1556330"/>
              <a:gd name="csX36" fmla="*/ 581715 w 715223"/>
              <a:gd name="csY36" fmla="*/ 1548559 h 1556330"/>
              <a:gd name="csX37" fmla="*/ 522168 w 715223"/>
              <a:gd name="csY37" fmla="*/ 1553543 h 1556330"/>
              <a:gd name="csX38" fmla="*/ 450008 w 715223"/>
              <a:gd name="csY38" fmla="*/ 1556019 h 1556330"/>
              <a:gd name="csX39" fmla="*/ 245169 w 715223"/>
              <a:gd name="csY39" fmla="*/ 1553749 h 1556330"/>
              <a:gd name="csX40" fmla="*/ 221854 w 715223"/>
              <a:gd name="csY40" fmla="*/ 1553306 h 1556330"/>
              <a:gd name="csX41" fmla="*/ 168405 w 715223"/>
              <a:gd name="csY41" fmla="*/ 1548828 h 1556330"/>
              <a:gd name="csX42" fmla="*/ 126970 w 715223"/>
              <a:gd name="csY42" fmla="*/ 1546091 h 1556330"/>
              <a:gd name="csX43" fmla="*/ 104053 w 715223"/>
              <a:gd name="csY43" fmla="*/ 1542912 h 1556330"/>
              <a:gd name="csX44" fmla="*/ 65625 w 715223"/>
              <a:gd name="csY44" fmla="*/ 1536401 h 1556330"/>
              <a:gd name="csX45" fmla="*/ 10909 w 715223"/>
              <a:gd name="csY45" fmla="*/ 1524010 h 1556330"/>
              <a:gd name="csX46" fmla="*/ 8 w 715223"/>
              <a:gd name="csY46" fmla="*/ 1509263 h 1556330"/>
              <a:gd name="csX47" fmla="*/ 21158 w 715223"/>
              <a:gd name="csY47" fmla="*/ 1433611 h 1556330"/>
              <a:gd name="csX48" fmla="*/ 23462 w 715223"/>
              <a:gd name="csY48" fmla="*/ 1418658 h 1556330"/>
              <a:gd name="csX49" fmla="*/ 19643 w 715223"/>
              <a:gd name="csY49" fmla="*/ 1382324 h 1556330"/>
              <a:gd name="csX50" fmla="*/ 49060 w 715223"/>
              <a:gd name="csY50" fmla="*/ 1311832 h 1556330"/>
              <a:gd name="csX51" fmla="*/ 109176 w 715223"/>
              <a:gd name="csY51" fmla="*/ 1254078 h 1556330"/>
              <a:gd name="csX52" fmla="*/ 118319 w 715223"/>
              <a:gd name="csY52" fmla="*/ 1214801 h 1556330"/>
              <a:gd name="csX53" fmla="*/ 113082 w 715223"/>
              <a:gd name="csY53" fmla="*/ 1201084 h 1556330"/>
              <a:gd name="csX54" fmla="*/ 120417 w 715223"/>
              <a:gd name="csY54" fmla="*/ 1183950 h 1556330"/>
              <a:gd name="csX55" fmla="*/ 135209 w 715223"/>
              <a:gd name="csY55" fmla="*/ 1178138 h 1556330"/>
              <a:gd name="csX56" fmla="*/ 156535 w 715223"/>
              <a:gd name="csY56" fmla="*/ 1156396 h 1556330"/>
              <a:gd name="csX57" fmla="*/ 185647 w 715223"/>
              <a:gd name="csY57" fmla="*/ 1061682 h 1556330"/>
              <a:gd name="csX58" fmla="*/ 201074 w 715223"/>
              <a:gd name="csY58" fmla="*/ 1005093 h 1556330"/>
              <a:gd name="csX59" fmla="*/ 213864 w 715223"/>
              <a:gd name="csY59" fmla="*/ 943040 h 1556330"/>
              <a:gd name="csX60" fmla="*/ 223580 w 715223"/>
              <a:gd name="csY60" fmla="*/ 884167 h 1556330"/>
              <a:gd name="csX61" fmla="*/ 228827 w 715223"/>
              <a:gd name="csY61" fmla="*/ 839382 h 1556330"/>
              <a:gd name="csX62" fmla="*/ 233251 w 715223"/>
              <a:gd name="csY62" fmla="*/ 794539 h 1556330"/>
              <a:gd name="csX63" fmla="*/ 233413 w 715223"/>
              <a:gd name="csY63" fmla="*/ 708554 h 1556330"/>
              <a:gd name="csX64" fmla="*/ 232253 w 715223"/>
              <a:gd name="csY64" fmla="*/ 699181 h 1556330"/>
              <a:gd name="csX65" fmla="*/ 192775 w 715223"/>
              <a:gd name="csY65" fmla="*/ 693131 h 1556330"/>
              <a:gd name="csX66" fmla="*/ 166222 w 715223"/>
              <a:gd name="csY66" fmla="*/ 684229 h 1556330"/>
              <a:gd name="csX67" fmla="*/ 153485 w 715223"/>
              <a:gd name="csY67" fmla="*/ 649704 h 1556330"/>
              <a:gd name="csX68" fmla="*/ 179302 w 715223"/>
              <a:gd name="csY68" fmla="*/ 621006 h 1556330"/>
              <a:gd name="csX69" fmla="*/ 192182 w 715223"/>
              <a:gd name="csY69" fmla="*/ 601675 h 1556330"/>
              <a:gd name="csX70" fmla="*/ 204894 w 715223"/>
              <a:gd name="csY70" fmla="*/ 583417 h 1556330"/>
              <a:gd name="csX71" fmla="*/ 233213 w 715223"/>
              <a:gd name="csY71" fmla="*/ 564393 h 1556330"/>
              <a:gd name="csX72" fmla="*/ 229725 w 715223"/>
              <a:gd name="csY72" fmla="*/ 538177 h 1556330"/>
              <a:gd name="csX73" fmla="*/ 218771 w 715223"/>
              <a:gd name="csY73" fmla="*/ 532633 h 1556330"/>
              <a:gd name="csX74" fmla="*/ 215183 w 715223"/>
              <a:gd name="csY74" fmla="*/ 521568 h 1556330"/>
              <a:gd name="csX75" fmla="*/ 223368 w 715223"/>
              <a:gd name="csY75" fmla="*/ 508901 h 1556330"/>
              <a:gd name="csX76" fmla="*/ 218372 w 715223"/>
              <a:gd name="csY76" fmla="*/ 498135 h 1556330"/>
              <a:gd name="csX77" fmla="*/ 181440 w 715223"/>
              <a:gd name="csY77" fmla="*/ 432308 h 1556330"/>
              <a:gd name="csX78" fmla="*/ 167535 w 715223"/>
              <a:gd name="csY78" fmla="*/ 349841 h 1556330"/>
              <a:gd name="csX79" fmla="*/ 193488 w 715223"/>
              <a:gd name="csY79" fmla="*/ 262518 h 1556330"/>
              <a:gd name="csX80" fmla="*/ 237748 w 715223"/>
              <a:gd name="csY80" fmla="*/ 190690 h 1556330"/>
              <a:gd name="csX81" fmla="*/ 309459 w 715223"/>
              <a:gd name="csY81" fmla="*/ 102623 h 1556330"/>
              <a:gd name="csX82" fmla="*/ 310459 w 715223"/>
              <a:gd name="csY82" fmla="*/ 78521 h 1556330"/>
              <a:gd name="csX83" fmla="*/ 300267 w 715223"/>
              <a:gd name="csY83" fmla="*/ 57856 h 1556330"/>
              <a:gd name="csX84" fmla="*/ 332242 w 715223"/>
              <a:gd name="csY84" fmla="*/ 4422 h 1556330"/>
              <a:gd name="csX85" fmla="*/ 384904 w 715223"/>
              <a:gd name="csY85" fmla="*/ 5551 h 1556330"/>
              <a:gd name="csX86" fmla="*/ 409773 w 715223"/>
              <a:gd name="csY86" fmla="*/ 26778 h 1556330"/>
              <a:gd name="csX87" fmla="*/ 407026 w 715223"/>
              <a:gd name="csY87" fmla="*/ 46052 h 1556330"/>
              <a:gd name="csX88" fmla="*/ 402771 w 715223"/>
              <a:gd name="csY88" fmla="*/ 30951 h 1556330"/>
              <a:gd name="csX89" fmla="*/ 397038 w 715223"/>
              <a:gd name="csY89" fmla="*/ 30361 h 1556330"/>
              <a:gd name="csX90" fmla="*/ 360694 w 715223"/>
              <a:gd name="csY90" fmla="*/ 22760 h 1556330"/>
              <a:gd name="csX91" fmla="*/ 351669 w 715223"/>
              <a:gd name="csY91" fmla="*/ 31736 h 1556330"/>
              <a:gd name="csX92" fmla="*/ 351426 w 715223"/>
              <a:gd name="csY92" fmla="*/ 43987 h 1556330"/>
              <a:gd name="csX93" fmla="*/ 390968 w 715223"/>
              <a:gd name="csY93" fmla="*/ 68762 h 1556330"/>
              <a:gd name="csX94" fmla="*/ 401770 w 715223"/>
              <a:gd name="csY94" fmla="*/ 59025 h 1556330"/>
              <a:gd name="csX95" fmla="*/ 409619 w 715223"/>
              <a:gd name="csY95" fmla="*/ 55786 h 1556330"/>
              <a:gd name="csX96" fmla="*/ 410427 w 715223"/>
              <a:gd name="csY96" fmla="*/ 64256 h 1556330"/>
              <a:gd name="csX97" fmla="*/ 399453 w 715223"/>
              <a:gd name="csY97" fmla="*/ 81811 h 1556330"/>
              <a:gd name="csX98" fmla="*/ 399346 w 715223"/>
              <a:gd name="csY98" fmla="*/ 98083 h 1556330"/>
              <a:gd name="csX99" fmla="*/ 471592 w 715223"/>
              <a:gd name="csY99" fmla="*/ 180524 h 1556330"/>
              <a:gd name="csX100" fmla="*/ 473550 w 715223"/>
              <a:gd name="csY100" fmla="*/ 200923 h 1556330"/>
              <a:gd name="csX101" fmla="*/ 463677 w 715223"/>
              <a:gd name="csY101" fmla="*/ 223311 h 1556330"/>
              <a:gd name="csX102" fmla="*/ 466852 w 715223"/>
              <a:gd name="csY102" fmla="*/ 229083 h 1556330"/>
              <a:gd name="csX103" fmla="*/ 474186 w 715223"/>
              <a:gd name="csY103" fmla="*/ 928382 h 1556330"/>
              <a:gd name="csX104" fmla="*/ 459927 w 715223"/>
              <a:gd name="csY104" fmla="*/ 817790 h 1556330"/>
              <a:gd name="csX105" fmla="*/ 456025 w 715223"/>
              <a:gd name="csY105" fmla="*/ 706469 h 1556330"/>
              <a:gd name="csX106" fmla="*/ 366863 w 715223"/>
              <a:gd name="csY106" fmla="*/ 710754 h 1556330"/>
              <a:gd name="csX107" fmla="*/ 366159 w 715223"/>
              <a:gd name="csY107" fmla="*/ 719219 h 1556330"/>
              <a:gd name="csX108" fmla="*/ 364159 w 715223"/>
              <a:gd name="csY108" fmla="*/ 834581 h 1556330"/>
              <a:gd name="csX109" fmla="*/ 361633 w 715223"/>
              <a:gd name="csY109" fmla="*/ 940117 h 1556330"/>
              <a:gd name="csX110" fmla="*/ 358313 w 715223"/>
              <a:gd name="csY110" fmla="*/ 1053005 h 1556330"/>
              <a:gd name="csX111" fmla="*/ 358081 w 715223"/>
              <a:gd name="csY111" fmla="*/ 1057912 h 1556330"/>
              <a:gd name="csX112" fmla="*/ 353706 w 715223"/>
              <a:gd name="csY112" fmla="*/ 1164570 h 1556330"/>
              <a:gd name="csX113" fmla="*/ 354951 w 715223"/>
              <a:gd name="csY113" fmla="*/ 1172547 h 1556330"/>
              <a:gd name="csX114" fmla="*/ 540959 w 715223"/>
              <a:gd name="csY114" fmla="*/ 1175972 h 1556330"/>
              <a:gd name="csX115" fmla="*/ 474186 w 715223"/>
              <a:gd name="csY115" fmla="*/ 928382 h 1556330"/>
              <a:gd name="csX116" fmla="*/ 513768 w 715223"/>
              <a:gd name="csY116" fmla="*/ 1417676 h 1556330"/>
              <a:gd name="csX117" fmla="*/ 519822 w 715223"/>
              <a:gd name="csY117" fmla="*/ 1416700 h 1556330"/>
              <a:gd name="csX118" fmla="*/ 632041 w 715223"/>
              <a:gd name="csY118" fmla="*/ 1406122 h 1556330"/>
              <a:gd name="csX119" fmla="*/ 665040 w 715223"/>
              <a:gd name="csY119" fmla="*/ 1400634 h 1556330"/>
              <a:gd name="csX120" fmla="*/ 665677 w 715223"/>
              <a:gd name="csY120" fmla="*/ 1396126 h 1556330"/>
              <a:gd name="csX121" fmla="*/ 665529 w 715223"/>
              <a:gd name="csY121" fmla="*/ 1389994 h 1556330"/>
              <a:gd name="csX122" fmla="*/ 623046 w 715223"/>
              <a:gd name="csY122" fmla="*/ 1306238 h 1556330"/>
              <a:gd name="csX123" fmla="*/ 596015 w 715223"/>
              <a:gd name="csY123" fmla="*/ 1281285 h 1556330"/>
              <a:gd name="csX124" fmla="*/ 567683 w 715223"/>
              <a:gd name="csY124" fmla="*/ 1220059 h 1556330"/>
              <a:gd name="csX125" fmla="*/ 540273 w 715223"/>
              <a:gd name="csY125" fmla="*/ 1220129 h 1556330"/>
              <a:gd name="csX126" fmla="*/ 424010 w 715223"/>
              <a:gd name="csY126" fmla="*/ 1226781 h 1556330"/>
              <a:gd name="csX127" fmla="*/ 357832 w 715223"/>
              <a:gd name="csY127" fmla="*/ 1229178 h 1556330"/>
              <a:gd name="csX128" fmla="*/ 352386 w 715223"/>
              <a:gd name="csY128" fmla="*/ 1230616 h 1556330"/>
              <a:gd name="csX129" fmla="*/ 355852 w 715223"/>
              <a:gd name="csY129" fmla="*/ 1324222 h 1556330"/>
              <a:gd name="csX130" fmla="*/ 352930 w 715223"/>
              <a:gd name="csY130" fmla="*/ 1417867 h 1556330"/>
              <a:gd name="csX131" fmla="*/ 513768 w 715223"/>
              <a:gd name="csY131" fmla="*/ 1417676 h 1556330"/>
              <a:gd name="csX132" fmla="*/ 387930 w 715223"/>
              <a:gd name="csY132" fmla="*/ 499741 h 1556330"/>
              <a:gd name="csX133" fmla="*/ 456529 w 715223"/>
              <a:gd name="csY133" fmla="*/ 496826 h 1556330"/>
              <a:gd name="csX134" fmla="*/ 482355 w 715223"/>
              <a:gd name="csY134" fmla="*/ 485095 h 1556330"/>
              <a:gd name="csX135" fmla="*/ 528016 w 715223"/>
              <a:gd name="csY135" fmla="*/ 374829 h 1556330"/>
              <a:gd name="csX136" fmla="*/ 501375 w 715223"/>
              <a:gd name="csY136" fmla="*/ 261643 h 1556330"/>
              <a:gd name="csX137" fmla="*/ 493534 w 715223"/>
              <a:gd name="csY137" fmla="*/ 249818 h 1556330"/>
              <a:gd name="csX138" fmla="*/ 485920 w 715223"/>
              <a:gd name="csY138" fmla="*/ 260010 h 1556330"/>
              <a:gd name="csX139" fmla="*/ 453305 w 715223"/>
              <a:gd name="csY139" fmla="*/ 310523 h 1556330"/>
              <a:gd name="csX140" fmla="*/ 433678 w 715223"/>
              <a:gd name="csY140" fmla="*/ 338672 h 1556330"/>
              <a:gd name="csX141" fmla="*/ 403713 w 715223"/>
              <a:gd name="csY141" fmla="*/ 343710 h 1556330"/>
              <a:gd name="csX142" fmla="*/ 396427 w 715223"/>
              <a:gd name="csY142" fmla="*/ 315612 h 1556330"/>
              <a:gd name="csX143" fmla="*/ 399663 w 715223"/>
              <a:gd name="csY143" fmla="*/ 309000 h 1556330"/>
              <a:gd name="csX144" fmla="*/ 452097 w 715223"/>
              <a:gd name="csY144" fmla="*/ 200770 h 1556330"/>
              <a:gd name="csX145" fmla="*/ 450118 w 715223"/>
              <a:gd name="csY145" fmla="*/ 180596 h 1556330"/>
              <a:gd name="csX146" fmla="*/ 376545 w 715223"/>
              <a:gd name="csY146" fmla="*/ 105525 h 1556330"/>
              <a:gd name="csX147" fmla="*/ 368791 w 715223"/>
              <a:gd name="csY147" fmla="*/ 101653 h 1556330"/>
              <a:gd name="csX148" fmla="*/ 366449 w 715223"/>
              <a:gd name="csY148" fmla="*/ 144676 h 1556330"/>
              <a:gd name="csX149" fmla="*/ 365447 w 715223"/>
              <a:gd name="csY149" fmla="*/ 183946 h 1556330"/>
              <a:gd name="csX150" fmla="*/ 364738 w 715223"/>
              <a:gd name="csY150" fmla="*/ 298022 h 1556330"/>
              <a:gd name="csX151" fmla="*/ 373865 w 715223"/>
              <a:gd name="csY151" fmla="*/ 430096 h 1556330"/>
              <a:gd name="csX152" fmla="*/ 381088 w 715223"/>
              <a:gd name="csY152" fmla="*/ 492169 h 1556330"/>
              <a:gd name="csX153" fmla="*/ 387930 w 715223"/>
              <a:gd name="csY153" fmla="*/ 499741 h 1556330"/>
              <a:gd name="csX154" fmla="*/ 455850 w 715223"/>
              <a:gd name="csY154" fmla="*/ 1521476 h 1556330"/>
              <a:gd name="csX155" fmla="*/ 685121 w 715223"/>
              <a:gd name="csY155" fmla="*/ 1496509 h 1556330"/>
              <a:gd name="csX156" fmla="*/ 672999 w 715223"/>
              <a:gd name="csY156" fmla="*/ 1456665 h 1556330"/>
              <a:gd name="csX157" fmla="*/ 660009 w 715223"/>
              <a:gd name="csY157" fmla="*/ 1450249 h 1556330"/>
              <a:gd name="csX158" fmla="*/ 633248 w 715223"/>
              <a:gd name="csY158" fmla="*/ 1453589 h 1556330"/>
              <a:gd name="csX159" fmla="*/ 451131 w 715223"/>
              <a:gd name="csY159" fmla="*/ 1467458 h 1556330"/>
              <a:gd name="csX160" fmla="*/ 362719 w 715223"/>
              <a:gd name="csY160" fmla="*/ 1467934 h 1556330"/>
              <a:gd name="csX161" fmla="*/ 349983 w 715223"/>
              <a:gd name="csY161" fmla="*/ 1467936 h 1556330"/>
              <a:gd name="csX162" fmla="*/ 352220 w 715223"/>
              <a:gd name="csY162" fmla="*/ 1519140 h 1556330"/>
              <a:gd name="csX163" fmla="*/ 455850 w 715223"/>
              <a:gd name="csY163" fmla="*/ 1521476 h 1556330"/>
              <a:gd name="csX164" fmla="*/ 368682 w 715223"/>
              <a:gd name="csY164" fmla="*/ 544846 h 1556330"/>
              <a:gd name="csX165" fmla="*/ 363600 w 715223"/>
              <a:gd name="csY165" fmla="*/ 605633 h 1556330"/>
              <a:gd name="csX166" fmla="*/ 496351 w 715223"/>
              <a:gd name="csY166" fmla="*/ 601466 h 1556330"/>
              <a:gd name="csX167" fmla="*/ 485068 w 715223"/>
              <a:gd name="csY167" fmla="*/ 579288 h 1556330"/>
              <a:gd name="csX168" fmla="*/ 466524 w 715223"/>
              <a:gd name="csY168" fmla="*/ 541026 h 1556330"/>
              <a:gd name="csX169" fmla="*/ 465000 w 715223"/>
              <a:gd name="csY169" fmla="*/ 536289 h 1556330"/>
              <a:gd name="csX170" fmla="*/ 451328 w 715223"/>
              <a:gd name="csY170" fmla="*/ 536316 h 1556330"/>
              <a:gd name="csX171" fmla="*/ 390140 w 715223"/>
              <a:gd name="csY171" fmla="*/ 538979 h 1556330"/>
              <a:gd name="csX172" fmla="*/ 374215 w 715223"/>
              <a:gd name="csY172" fmla="*/ 539303 h 1556330"/>
              <a:gd name="csX173" fmla="*/ 368682 w 715223"/>
              <a:gd name="csY173" fmla="*/ 544846 h 1556330"/>
              <a:gd name="csX174" fmla="*/ 453915 w 715223"/>
              <a:gd name="csY174" fmla="*/ 635267 h 1556330"/>
              <a:gd name="csX175" fmla="*/ 374200 w 715223"/>
              <a:gd name="csY175" fmla="*/ 639402 h 1556330"/>
              <a:gd name="csX176" fmla="*/ 374200 w 715223"/>
              <a:gd name="csY176" fmla="*/ 673206 h 1556330"/>
              <a:gd name="csX177" fmla="*/ 386639 w 715223"/>
              <a:gd name="csY177" fmla="*/ 673718 h 1556330"/>
              <a:gd name="csX178" fmla="*/ 521198 w 715223"/>
              <a:gd name="csY178" fmla="*/ 668541 h 1556330"/>
              <a:gd name="csX179" fmla="*/ 534198 w 715223"/>
              <a:gd name="csY179" fmla="*/ 665521 h 1556330"/>
              <a:gd name="csX180" fmla="*/ 538413 w 715223"/>
              <a:gd name="csY180" fmla="*/ 652526 h 1556330"/>
              <a:gd name="csX181" fmla="*/ 529377 w 715223"/>
              <a:gd name="csY181" fmla="*/ 642895 h 1556330"/>
              <a:gd name="csX182" fmla="*/ 502829 w 715223"/>
              <a:gd name="csY182" fmla="*/ 634808 h 1556330"/>
              <a:gd name="csX183" fmla="*/ 453915 w 715223"/>
              <a:gd name="csY183" fmla="*/ 635267 h 155633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  <a:cxn ang="0">
                <a:pos x="csX170" y="csY170"/>
              </a:cxn>
              <a:cxn ang="0">
                <a:pos x="csX171" y="csY171"/>
              </a:cxn>
              <a:cxn ang="0">
                <a:pos x="csX172" y="csY172"/>
              </a:cxn>
              <a:cxn ang="0">
                <a:pos x="csX173" y="csY173"/>
              </a:cxn>
              <a:cxn ang="0">
                <a:pos x="csX174" y="csY174"/>
              </a:cxn>
              <a:cxn ang="0">
                <a:pos x="csX175" y="csY175"/>
              </a:cxn>
              <a:cxn ang="0">
                <a:pos x="csX176" y="csY176"/>
              </a:cxn>
              <a:cxn ang="0">
                <a:pos x="csX177" y="csY177"/>
              </a:cxn>
              <a:cxn ang="0">
                <a:pos x="csX178" y="csY178"/>
              </a:cxn>
              <a:cxn ang="0">
                <a:pos x="csX179" y="csY179"/>
              </a:cxn>
              <a:cxn ang="0">
                <a:pos x="csX180" y="csY180"/>
              </a:cxn>
              <a:cxn ang="0">
                <a:pos x="csX181" y="csY181"/>
              </a:cxn>
              <a:cxn ang="0">
                <a:pos x="csX182" y="csY182"/>
              </a:cxn>
              <a:cxn ang="0">
                <a:pos x="csX183" y="csY183"/>
              </a:cxn>
            </a:cxnLst>
            <a:rect l="l" t="t" r="r" b="b"/>
            <a:pathLst>
              <a:path w="715223" h="1556330">
                <a:moveTo>
                  <a:pt x="466852" y="229083"/>
                </a:moveTo>
                <a:cubicBezTo>
                  <a:pt x="465344" y="233590"/>
                  <a:pt x="463836" y="238097"/>
                  <a:pt x="462328" y="242604"/>
                </a:cubicBezTo>
                <a:cubicBezTo>
                  <a:pt x="476604" y="232528"/>
                  <a:pt x="484219" y="216936"/>
                  <a:pt x="496944" y="204739"/>
                </a:cubicBezTo>
                <a:cubicBezTo>
                  <a:pt x="511903" y="225901"/>
                  <a:pt x="524807" y="247414"/>
                  <a:pt x="534359" y="270960"/>
                </a:cubicBezTo>
                <a:cubicBezTo>
                  <a:pt x="557740" y="328591"/>
                  <a:pt x="560223" y="386926"/>
                  <a:pt x="540589" y="445986"/>
                </a:cubicBezTo>
                <a:cubicBezTo>
                  <a:pt x="534197" y="465215"/>
                  <a:pt x="524450" y="482672"/>
                  <a:pt x="509727" y="496924"/>
                </a:cubicBezTo>
                <a:cubicBezTo>
                  <a:pt x="505277" y="501232"/>
                  <a:pt x="502734" y="505157"/>
                  <a:pt x="505366" y="511893"/>
                </a:cubicBezTo>
                <a:cubicBezTo>
                  <a:pt x="507828" y="518196"/>
                  <a:pt x="505953" y="524402"/>
                  <a:pt x="501982" y="530377"/>
                </a:cubicBezTo>
                <a:cubicBezTo>
                  <a:pt x="495613" y="539961"/>
                  <a:pt x="496865" y="548901"/>
                  <a:pt x="505678" y="556455"/>
                </a:cubicBezTo>
                <a:cubicBezTo>
                  <a:pt x="516748" y="565943"/>
                  <a:pt x="523694" y="577557"/>
                  <a:pt x="526115" y="591784"/>
                </a:cubicBezTo>
                <a:cubicBezTo>
                  <a:pt x="527758" y="601445"/>
                  <a:pt x="532593" y="608029"/>
                  <a:pt x="541579" y="612264"/>
                </a:cubicBezTo>
                <a:cubicBezTo>
                  <a:pt x="555150" y="618662"/>
                  <a:pt x="564081" y="629523"/>
                  <a:pt x="569572" y="643441"/>
                </a:cubicBezTo>
                <a:cubicBezTo>
                  <a:pt x="576413" y="660776"/>
                  <a:pt x="570996" y="678245"/>
                  <a:pt x="555234" y="688473"/>
                </a:cubicBezTo>
                <a:cubicBezTo>
                  <a:pt x="542486" y="696746"/>
                  <a:pt x="528127" y="699474"/>
                  <a:pt x="513278" y="700556"/>
                </a:cubicBezTo>
                <a:cubicBezTo>
                  <a:pt x="505590" y="701115"/>
                  <a:pt x="497922" y="701952"/>
                  <a:pt x="488559" y="702821"/>
                </a:cubicBezTo>
                <a:cubicBezTo>
                  <a:pt x="488559" y="708552"/>
                  <a:pt x="488653" y="713320"/>
                  <a:pt x="488544" y="718085"/>
                </a:cubicBezTo>
                <a:cubicBezTo>
                  <a:pt x="486284" y="817406"/>
                  <a:pt x="502313" y="914319"/>
                  <a:pt x="526561" y="1010212"/>
                </a:cubicBezTo>
                <a:cubicBezTo>
                  <a:pt x="538799" y="1058612"/>
                  <a:pt x="553050" y="1106345"/>
                  <a:pt x="569986" y="1153317"/>
                </a:cubicBezTo>
                <a:cubicBezTo>
                  <a:pt x="573328" y="1162590"/>
                  <a:pt x="578279" y="1168740"/>
                  <a:pt x="587389" y="1172173"/>
                </a:cubicBezTo>
                <a:cubicBezTo>
                  <a:pt x="593869" y="1174616"/>
                  <a:pt x="600289" y="1177449"/>
                  <a:pt x="606286" y="1180891"/>
                </a:cubicBezTo>
                <a:cubicBezTo>
                  <a:pt x="617185" y="1187146"/>
                  <a:pt x="618776" y="1192931"/>
                  <a:pt x="613400" y="1204260"/>
                </a:cubicBezTo>
                <a:cubicBezTo>
                  <a:pt x="611475" y="1208315"/>
                  <a:pt x="609140" y="1212177"/>
                  <a:pt x="605350" y="1216760"/>
                </a:cubicBezTo>
                <a:cubicBezTo>
                  <a:pt x="602514" y="1218347"/>
                  <a:pt x="600399" y="1219189"/>
                  <a:pt x="600268" y="1220273"/>
                </a:cubicBezTo>
                <a:cubicBezTo>
                  <a:pt x="598551" y="1234430"/>
                  <a:pt x="599473" y="1247881"/>
                  <a:pt x="610574" y="1258750"/>
                </a:cubicBezTo>
                <a:cubicBezTo>
                  <a:pt x="631265" y="1279009"/>
                  <a:pt x="651790" y="1299438"/>
                  <a:pt x="672371" y="1319810"/>
                </a:cubicBezTo>
                <a:cubicBezTo>
                  <a:pt x="673495" y="1320922"/>
                  <a:pt x="674892" y="1321987"/>
                  <a:pt x="675494" y="1323366"/>
                </a:cubicBezTo>
                <a:cubicBezTo>
                  <a:pt x="685626" y="1346558"/>
                  <a:pt x="694775" y="1370031"/>
                  <a:pt x="692949" y="1396068"/>
                </a:cubicBezTo>
                <a:cubicBezTo>
                  <a:pt x="692525" y="1402108"/>
                  <a:pt x="691276" y="1408087"/>
                  <a:pt x="690628" y="1414117"/>
                </a:cubicBezTo>
                <a:cubicBezTo>
                  <a:pt x="690241" y="1417713"/>
                  <a:pt x="691290" y="1420628"/>
                  <a:pt x="695588" y="1421035"/>
                </a:cubicBezTo>
                <a:cubicBezTo>
                  <a:pt x="695527" y="1422155"/>
                  <a:pt x="695467" y="1423274"/>
                  <a:pt x="694353" y="1425190"/>
                </a:cubicBezTo>
                <a:cubicBezTo>
                  <a:pt x="691901" y="1426894"/>
                  <a:pt x="690503" y="1427804"/>
                  <a:pt x="689106" y="1428714"/>
                </a:cubicBezTo>
                <a:cubicBezTo>
                  <a:pt x="691101" y="1428620"/>
                  <a:pt x="693098" y="1428527"/>
                  <a:pt x="695093" y="1428433"/>
                </a:cubicBezTo>
                <a:cubicBezTo>
                  <a:pt x="695976" y="1429430"/>
                  <a:pt x="696859" y="1430427"/>
                  <a:pt x="697643" y="1432864"/>
                </a:cubicBezTo>
                <a:cubicBezTo>
                  <a:pt x="697724" y="1436887"/>
                  <a:pt x="697087" y="1439912"/>
                  <a:pt x="698207" y="1441988"/>
                </a:cubicBezTo>
                <a:cubicBezTo>
                  <a:pt x="709464" y="1462853"/>
                  <a:pt x="715798" y="1484864"/>
                  <a:pt x="715183" y="1508752"/>
                </a:cubicBezTo>
                <a:cubicBezTo>
                  <a:pt x="714863" y="1521166"/>
                  <a:pt x="713458" y="1523372"/>
                  <a:pt x="701540" y="1526524"/>
                </a:cubicBezTo>
                <a:cubicBezTo>
                  <a:pt x="662165" y="1536936"/>
                  <a:pt x="622006" y="1543243"/>
                  <a:pt x="581715" y="1548559"/>
                </a:cubicBezTo>
                <a:cubicBezTo>
                  <a:pt x="561988" y="1551162"/>
                  <a:pt x="542052" y="1552457"/>
                  <a:pt x="522168" y="1553543"/>
                </a:cubicBezTo>
                <a:cubicBezTo>
                  <a:pt x="498138" y="1554856"/>
                  <a:pt x="474063" y="1556013"/>
                  <a:pt x="450008" y="1556019"/>
                </a:cubicBezTo>
                <a:cubicBezTo>
                  <a:pt x="381724" y="1556035"/>
                  <a:pt x="313415" y="1557550"/>
                  <a:pt x="245169" y="1553749"/>
                </a:cubicBezTo>
                <a:cubicBezTo>
                  <a:pt x="237413" y="1553317"/>
                  <a:pt x="229596" y="1553867"/>
                  <a:pt x="221854" y="1553306"/>
                </a:cubicBezTo>
                <a:cubicBezTo>
                  <a:pt x="204023" y="1552015"/>
                  <a:pt x="186231" y="1550202"/>
                  <a:pt x="168405" y="1548828"/>
                </a:cubicBezTo>
                <a:cubicBezTo>
                  <a:pt x="154605" y="1547764"/>
                  <a:pt x="140762" y="1547242"/>
                  <a:pt x="126970" y="1546091"/>
                </a:cubicBezTo>
                <a:cubicBezTo>
                  <a:pt x="119295" y="1545451"/>
                  <a:pt x="111668" y="1544132"/>
                  <a:pt x="104053" y="1542912"/>
                </a:cubicBezTo>
                <a:cubicBezTo>
                  <a:pt x="91223" y="1540858"/>
                  <a:pt x="78344" y="1539011"/>
                  <a:pt x="65625" y="1536401"/>
                </a:cubicBezTo>
                <a:cubicBezTo>
                  <a:pt x="47307" y="1532642"/>
                  <a:pt x="29006" y="1528694"/>
                  <a:pt x="10909" y="1524010"/>
                </a:cubicBezTo>
                <a:cubicBezTo>
                  <a:pt x="744" y="1521379"/>
                  <a:pt x="119" y="1519620"/>
                  <a:pt x="8" y="1509263"/>
                </a:cubicBezTo>
                <a:cubicBezTo>
                  <a:pt x="-283" y="1482004"/>
                  <a:pt x="7525" y="1456906"/>
                  <a:pt x="21158" y="1433611"/>
                </a:cubicBezTo>
                <a:cubicBezTo>
                  <a:pt x="24128" y="1428537"/>
                  <a:pt x="25100" y="1424162"/>
                  <a:pt x="23462" y="1418658"/>
                </a:cubicBezTo>
                <a:cubicBezTo>
                  <a:pt x="19938" y="1406814"/>
                  <a:pt x="19145" y="1394638"/>
                  <a:pt x="19643" y="1382324"/>
                </a:cubicBezTo>
                <a:cubicBezTo>
                  <a:pt x="20741" y="1355171"/>
                  <a:pt x="29461" y="1331114"/>
                  <a:pt x="49060" y="1311832"/>
                </a:cubicBezTo>
                <a:cubicBezTo>
                  <a:pt x="68866" y="1292344"/>
                  <a:pt x="89102" y="1273294"/>
                  <a:pt x="109176" y="1254078"/>
                </a:cubicBezTo>
                <a:cubicBezTo>
                  <a:pt x="120788" y="1242961"/>
                  <a:pt x="123122" y="1229673"/>
                  <a:pt x="118319" y="1214801"/>
                </a:cubicBezTo>
                <a:cubicBezTo>
                  <a:pt x="116817" y="1210150"/>
                  <a:pt x="114697" y="1205702"/>
                  <a:pt x="113082" y="1201084"/>
                </a:cubicBezTo>
                <a:cubicBezTo>
                  <a:pt x="109606" y="1191147"/>
                  <a:pt x="110855" y="1188189"/>
                  <a:pt x="120417" y="1183950"/>
                </a:cubicBezTo>
                <a:cubicBezTo>
                  <a:pt x="125262" y="1181801"/>
                  <a:pt x="130109" y="1179394"/>
                  <a:pt x="135209" y="1178138"/>
                </a:cubicBezTo>
                <a:cubicBezTo>
                  <a:pt x="146972" y="1175241"/>
                  <a:pt x="153194" y="1166910"/>
                  <a:pt x="156535" y="1156396"/>
                </a:cubicBezTo>
                <a:cubicBezTo>
                  <a:pt x="166535" y="1124919"/>
                  <a:pt x="176229" y="1093339"/>
                  <a:pt x="185647" y="1061682"/>
                </a:cubicBezTo>
                <a:cubicBezTo>
                  <a:pt x="191222" y="1042945"/>
                  <a:pt x="196570" y="1024108"/>
                  <a:pt x="201074" y="1005093"/>
                </a:cubicBezTo>
                <a:cubicBezTo>
                  <a:pt x="205941" y="984550"/>
                  <a:pt x="210000" y="963801"/>
                  <a:pt x="213864" y="943040"/>
                </a:cubicBezTo>
                <a:cubicBezTo>
                  <a:pt x="217503" y="923489"/>
                  <a:pt x="220701" y="903846"/>
                  <a:pt x="223580" y="884167"/>
                </a:cubicBezTo>
                <a:cubicBezTo>
                  <a:pt x="225754" y="869301"/>
                  <a:pt x="227195" y="854324"/>
                  <a:pt x="228827" y="839382"/>
                </a:cubicBezTo>
                <a:cubicBezTo>
                  <a:pt x="230459" y="824446"/>
                  <a:pt x="232880" y="809515"/>
                  <a:pt x="233251" y="794539"/>
                </a:cubicBezTo>
                <a:cubicBezTo>
                  <a:pt x="233961" y="765893"/>
                  <a:pt x="233499" y="737217"/>
                  <a:pt x="233413" y="708554"/>
                </a:cubicBezTo>
                <a:cubicBezTo>
                  <a:pt x="233404" y="705465"/>
                  <a:pt x="232667" y="702378"/>
                  <a:pt x="232253" y="699181"/>
                </a:cubicBezTo>
                <a:cubicBezTo>
                  <a:pt x="218443" y="697138"/>
                  <a:pt x="205461" y="695831"/>
                  <a:pt x="192775" y="693131"/>
                </a:cubicBezTo>
                <a:cubicBezTo>
                  <a:pt x="183686" y="691197"/>
                  <a:pt x="174549" y="688305"/>
                  <a:pt x="166222" y="684229"/>
                </a:cubicBezTo>
                <a:cubicBezTo>
                  <a:pt x="151266" y="676909"/>
                  <a:pt x="147247" y="664789"/>
                  <a:pt x="153485" y="649704"/>
                </a:cubicBezTo>
                <a:cubicBezTo>
                  <a:pt x="158693" y="637111"/>
                  <a:pt x="168160" y="628190"/>
                  <a:pt x="179302" y="621006"/>
                </a:cubicBezTo>
                <a:cubicBezTo>
                  <a:pt x="186548" y="616334"/>
                  <a:pt x="191317" y="611105"/>
                  <a:pt x="192182" y="601675"/>
                </a:cubicBezTo>
                <a:cubicBezTo>
                  <a:pt x="192878" y="594094"/>
                  <a:pt x="197099" y="587626"/>
                  <a:pt x="204894" y="583417"/>
                </a:cubicBezTo>
                <a:cubicBezTo>
                  <a:pt x="214873" y="578030"/>
                  <a:pt x="224643" y="571774"/>
                  <a:pt x="233213" y="564393"/>
                </a:cubicBezTo>
                <a:cubicBezTo>
                  <a:pt x="242623" y="556289"/>
                  <a:pt x="240441" y="544193"/>
                  <a:pt x="229725" y="538177"/>
                </a:cubicBezTo>
                <a:cubicBezTo>
                  <a:pt x="226159" y="536176"/>
                  <a:pt x="222483" y="534351"/>
                  <a:pt x="218771" y="532633"/>
                </a:cubicBezTo>
                <a:cubicBezTo>
                  <a:pt x="213503" y="530196"/>
                  <a:pt x="212651" y="526226"/>
                  <a:pt x="215183" y="521568"/>
                </a:cubicBezTo>
                <a:cubicBezTo>
                  <a:pt x="217485" y="517332"/>
                  <a:pt x="220405" y="513432"/>
                  <a:pt x="223368" y="508901"/>
                </a:cubicBezTo>
                <a:cubicBezTo>
                  <a:pt x="221781" y="505376"/>
                  <a:pt x="220809" y="501165"/>
                  <a:pt x="218372" y="498135"/>
                </a:cubicBezTo>
                <a:cubicBezTo>
                  <a:pt x="202366" y="478231"/>
                  <a:pt x="190774" y="455961"/>
                  <a:pt x="181440" y="432308"/>
                </a:cubicBezTo>
                <a:cubicBezTo>
                  <a:pt x="170959" y="405748"/>
                  <a:pt x="164933" y="378186"/>
                  <a:pt x="167535" y="349841"/>
                </a:cubicBezTo>
                <a:cubicBezTo>
                  <a:pt x="170341" y="319265"/>
                  <a:pt x="179208" y="289917"/>
                  <a:pt x="193488" y="262518"/>
                </a:cubicBezTo>
                <a:cubicBezTo>
                  <a:pt x="206512" y="237529"/>
                  <a:pt x="220831" y="213359"/>
                  <a:pt x="237748" y="190690"/>
                </a:cubicBezTo>
                <a:cubicBezTo>
                  <a:pt x="260421" y="160310"/>
                  <a:pt x="282602" y="129592"/>
                  <a:pt x="309459" y="102623"/>
                </a:cubicBezTo>
                <a:cubicBezTo>
                  <a:pt x="316627" y="95424"/>
                  <a:pt x="316261" y="87541"/>
                  <a:pt x="310459" y="78521"/>
                </a:cubicBezTo>
                <a:cubicBezTo>
                  <a:pt x="306309" y="72071"/>
                  <a:pt x="301695" y="65150"/>
                  <a:pt x="300267" y="57856"/>
                </a:cubicBezTo>
                <a:cubicBezTo>
                  <a:pt x="295286" y="32423"/>
                  <a:pt x="314502" y="10133"/>
                  <a:pt x="332242" y="4422"/>
                </a:cubicBezTo>
                <a:cubicBezTo>
                  <a:pt x="349540" y="-1148"/>
                  <a:pt x="367530" y="-2176"/>
                  <a:pt x="384904" y="5551"/>
                </a:cubicBezTo>
                <a:cubicBezTo>
                  <a:pt x="395271" y="10161"/>
                  <a:pt x="403310" y="17760"/>
                  <a:pt x="409773" y="26778"/>
                </a:cubicBezTo>
                <a:cubicBezTo>
                  <a:pt x="415168" y="34307"/>
                  <a:pt x="413749" y="41584"/>
                  <a:pt x="407026" y="46052"/>
                </a:cubicBezTo>
                <a:cubicBezTo>
                  <a:pt x="405624" y="40964"/>
                  <a:pt x="404503" y="35849"/>
                  <a:pt x="402771" y="30951"/>
                </a:cubicBezTo>
                <a:cubicBezTo>
                  <a:pt x="401450" y="27216"/>
                  <a:pt x="399383" y="28477"/>
                  <a:pt x="397038" y="30361"/>
                </a:cubicBezTo>
                <a:cubicBezTo>
                  <a:pt x="384440" y="15986"/>
                  <a:pt x="377037" y="14494"/>
                  <a:pt x="360694" y="22760"/>
                </a:cubicBezTo>
                <a:cubicBezTo>
                  <a:pt x="353707" y="22767"/>
                  <a:pt x="352275" y="27176"/>
                  <a:pt x="351669" y="31736"/>
                </a:cubicBezTo>
                <a:cubicBezTo>
                  <a:pt x="351136" y="35760"/>
                  <a:pt x="351383" y="39899"/>
                  <a:pt x="351426" y="43987"/>
                </a:cubicBezTo>
                <a:cubicBezTo>
                  <a:pt x="351648" y="64919"/>
                  <a:pt x="372389" y="78115"/>
                  <a:pt x="390968" y="68762"/>
                </a:cubicBezTo>
                <a:cubicBezTo>
                  <a:pt x="395158" y="66653"/>
                  <a:pt x="398534" y="62629"/>
                  <a:pt x="401770" y="59025"/>
                </a:cubicBezTo>
                <a:cubicBezTo>
                  <a:pt x="404045" y="56491"/>
                  <a:pt x="405661" y="53409"/>
                  <a:pt x="409619" y="55786"/>
                </a:cubicBezTo>
                <a:cubicBezTo>
                  <a:pt x="413544" y="58145"/>
                  <a:pt x="412176" y="61347"/>
                  <a:pt x="410427" y="64256"/>
                </a:cubicBezTo>
                <a:cubicBezTo>
                  <a:pt x="406872" y="70170"/>
                  <a:pt x="403244" y="76046"/>
                  <a:pt x="399453" y="81811"/>
                </a:cubicBezTo>
                <a:cubicBezTo>
                  <a:pt x="394663" y="89097"/>
                  <a:pt x="394382" y="94032"/>
                  <a:pt x="399346" y="98083"/>
                </a:cubicBezTo>
                <a:cubicBezTo>
                  <a:pt x="428062" y="121519"/>
                  <a:pt x="450822" y="150083"/>
                  <a:pt x="471592" y="180524"/>
                </a:cubicBezTo>
                <a:cubicBezTo>
                  <a:pt x="476398" y="187569"/>
                  <a:pt x="476844" y="193688"/>
                  <a:pt x="473550" y="200923"/>
                </a:cubicBezTo>
                <a:cubicBezTo>
                  <a:pt x="470171" y="208346"/>
                  <a:pt x="467091" y="215905"/>
                  <a:pt x="463677" y="223311"/>
                </a:cubicBezTo>
                <a:cubicBezTo>
                  <a:pt x="461993" y="226965"/>
                  <a:pt x="462995" y="228697"/>
                  <a:pt x="466852" y="229083"/>
                </a:cubicBezTo>
                <a:moveTo>
                  <a:pt x="474186" y="928382"/>
                </a:moveTo>
                <a:cubicBezTo>
                  <a:pt x="469297" y="891529"/>
                  <a:pt x="462961" y="854794"/>
                  <a:pt x="459927" y="817790"/>
                </a:cubicBezTo>
                <a:cubicBezTo>
                  <a:pt x="456905" y="780939"/>
                  <a:pt x="457197" y="743817"/>
                  <a:pt x="456025" y="706469"/>
                </a:cubicBezTo>
                <a:cubicBezTo>
                  <a:pt x="425780" y="707923"/>
                  <a:pt x="396554" y="709327"/>
                  <a:pt x="366863" y="710754"/>
                </a:cubicBezTo>
                <a:cubicBezTo>
                  <a:pt x="366546" y="714450"/>
                  <a:pt x="366201" y="716832"/>
                  <a:pt x="366159" y="719219"/>
                </a:cubicBezTo>
                <a:cubicBezTo>
                  <a:pt x="365479" y="757672"/>
                  <a:pt x="364935" y="796129"/>
                  <a:pt x="364159" y="834581"/>
                </a:cubicBezTo>
                <a:cubicBezTo>
                  <a:pt x="363450" y="869762"/>
                  <a:pt x="362581" y="904941"/>
                  <a:pt x="361633" y="940117"/>
                </a:cubicBezTo>
                <a:cubicBezTo>
                  <a:pt x="360619" y="977749"/>
                  <a:pt x="359431" y="1015376"/>
                  <a:pt x="358313" y="1053005"/>
                </a:cubicBezTo>
                <a:cubicBezTo>
                  <a:pt x="358265" y="1054641"/>
                  <a:pt x="358149" y="1056276"/>
                  <a:pt x="358081" y="1057912"/>
                </a:cubicBezTo>
                <a:cubicBezTo>
                  <a:pt x="356598" y="1093463"/>
                  <a:pt x="355081" y="1129014"/>
                  <a:pt x="353706" y="1164570"/>
                </a:cubicBezTo>
                <a:cubicBezTo>
                  <a:pt x="353604" y="1167221"/>
                  <a:pt x="354516" y="1169911"/>
                  <a:pt x="354951" y="1172547"/>
                </a:cubicBezTo>
                <a:cubicBezTo>
                  <a:pt x="416984" y="1173689"/>
                  <a:pt x="478158" y="1174816"/>
                  <a:pt x="540959" y="1175972"/>
                </a:cubicBezTo>
                <a:cubicBezTo>
                  <a:pt x="513162" y="1094194"/>
                  <a:pt x="489081" y="1013598"/>
                  <a:pt x="474186" y="928382"/>
                </a:cubicBezTo>
                <a:moveTo>
                  <a:pt x="513768" y="1417676"/>
                </a:moveTo>
                <a:cubicBezTo>
                  <a:pt x="515785" y="1417344"/>
                  <a:pt x="517792" y="1416889"/>
                  <a:pt x="519822" y="1416700"/>
                </a:cubicBezTo>
                <a:cubicBezTo>
                  <a:pt x="557234" y="1413220"/>
                  <a:pt x="594682" y="1410089"/>
                  <a:pt x="632041" y="1406122"/>
                </a:cubicBezTo>
                <a:cubicBezTo>
                  <a:pt x="643122" y="1404945"/>
                  <a:pt x="654730" y="1405292"/>
                  <a:pt x="665040" y="1400634"/>
                </a:cubicBezTo>
                <a:cubicBezTo>
                  <a:pt x="665352" y="1398517"/>
                  <a:pt x="665651" y="1397324"/>
                  <a:pt x="665677" y="1396126"/>
                </a:cubicBezTo>
                <a:cubicBezTo>
                  <a:pt x="665722" y="1394084"/>
                  <a:pt x="665674" y="1392032"/>
                  <a:pt x="665529" y="1389994"/>
                </a:cubicBezTo>
                <a:cubicBezTo>
                  <a:pt x="663118" y="1356121"/>
                  <a:pt x="650063" y="1327787"/>
                  <a:pt x="623046" y="1306238"/>
                </a:cubicBezTo>
                <a:cubicBezTo>
                  <a:pt x="613485" y="1298611"/>
                  <a:pt x="605001" y="1289635"/>
                  <a:pt x="596015" y="1281285"/>
                </a:cubicBezTo>
                <a:cubicBezTo>
                  <a:pt x="578506" y="1265018"/>
                  <a:pt x="567837" y="1245446"/>
                  <a:pt x="567683" y="1220059"/>
                </a:cubicBezTo>
                <a:cubicBezTo>
                  <a:pt x="558046" y="1220059"/>
                  <a:pt x="549136" y="1219649"/>
                  <a:pt x="540273" y="1220129"/>
                </a:cubicBezTo>
                <a:cubicBezTo>
                  <a:pt x="501512" y="1222229"/>
                  <a:pt x="462775" y="1224768"/>
                  <a:pt x="424010" y="1226781"/>
                </a:cubicBezTo>
                <a:cubicBezTo>
                  <a:pt x="401969" y="1227926"/>
                  <a:pt x="379889" y="1228330"/>
                  <a:pt x="357832" y="1229178"/>
                </a:cubicBezTo>
                <a:cubicBezTo>
                  <a:pt x="355938" y="1229251"/>
                  <a:pt x="354076" y="1230151"/>
                  <a:pt x="352386" y="1230616"/>
                </a:cubicBezTo>
                <a:cubicBezTo>
                  <a:pt x="353642" y="1262222"/>
                  <a:pt x="355769" y="1293219"/>
                  <a:pt x="355852" y="1324222"/>
                </a:cubicBezTo>
                <a:cubicBezTo>
                  <a:pt x="355936" y="1355438"/>
                  <a:pt x="353988" y="1386659"/>
                  <a:pt x="352930" y="1417867"/>
                </a:cubicBezTo>
                <a:cubicBezTo>
                  <a:pt x="406069" y="1417867"/>
                  <a:pt x="458771" y="1417867"/>
                  <a:pt x="513768" y="1417676"/>
                </a:cubicBezTo>
                <a:moveTo>
                  <a:pt x="387930" y="499741"/>
                </a:moveTo>
                <a:cubicBezTo>
                  <a:pt x="410797" y="498777"/>
                  <a:pt x="433665" y="497860"/>
                  <a:pt x="456529" y="496826"/>
                </a:cubicBezTo>
                <a:cubicBezTo>
                  <a:pt x="466656" y="496369"/>
                  <a:pt x="475418" y="493371"/>
                  <a:pt x="482355" y="485095"/>
                </a:cubicBezTo>
                <a:cubicBezTo>
                  <a:pt x="509188" y="453083"/>
                  <a:pt x="525387" y="416636"/>
                  <a:pt x="528016" y="374829"/>
                </a:cubicBezTo>
                <a:cubicBezTo>
                  <a:pt x="530547" y="334558"/>
                  <a:pt x="520095" y="297041"/>
                  <a:pt x="501375" y="261643"/>
                </a:cubicBezTo>
                <a:cubicBezTo>
                  <a:pt x="499379" y="257869"/>
                  <a:pt x="496654" y="254482"/>
                  <a:pt x="493534" y="249818"/>
                </a:cubicBezTo>
                <a:cubicBezTo>
                  <a:pt x="490233" y="254212"/>
                  <a:pt x="487883" y="256986"/>
                  <a:pt x="485920" y="260010"/>
                </a:cubicBezTo>
                <a:cubicBezTo>
                  <a:pt x="475010" y="276824"/>
                  <a:pt x="464300" y="293767"/>
                  <a:pt x="453305" y="310523"/>
                </a:cubicBezTo>
                <a:cubicBezTo>
                  <a:pt x="447028" y="320089"/>
                  <a:pt x="440916" y="329858"/>
                  <a:pt x="433678" y="338672"/>
                </a:cubicBezTo>
                <a:cubicBezTo>
                  <a:pt x="425909" y="348131"/>
                  <a:pt x="413084" y="349691"/>
                  <a:pt x="403713" y="343710"/>
                </a:cubicBezTo>
                <a:cubicBezTo>
                  <a:pt x="394358" y="337739"/>
                  <a:pt x="391675" y="327526"/>
                  <a:pt x="396427" y="315612"/>
                </a:cubicBezTo>
                <a:cubicBezTo>
                  <a:pt x="397334" y="313339"/>
                  <a:pt x="398595" y="311210"/>
                  <a:pt x="399663" y="309000"/>
                </a:cubicBezTo>
                <a:cubicBezTo>
                  <a:pt x="417094" y="272900"/>
                  <a:pt x="434331" y="236704"/>
                  <a:pt x="452097" y="200770"/>
                </a:cubicBezTo>
                <a:cubicBezTo>
                  <a:pt x="455910" y="193060"/>
                  <a:pt x="455310" y="187173"/>
                  <a:pt x="450118" y="180596"/>
                </a:cubicBezTo>
                <a:cubicBezTo>
                  <a:pt x="428273" y="152922"/>
                  <a:pt x="405805" y="125901"/>
                  <a:pt x="376545" y="105525"/>
                </a:cubicBezTo>
                <a:cubicBezTo>
                  <a:pt x="374483" y="104089"/>
                  <a:pt x="372013" y="103239"/>
                  <a:pt x="368791" y="101653"/>
                </a:cubicBezTo>
                <a:cubicBezTo>
                  <a:pt x="367942" y="116965"/>
                  <a:pt x="367019" y="130814"/>
                  <a:pt x="366449" y="144676"/>
                </a:cubicBezTo>
                <a:cubicBezTo>
                  <a:pt x="365912" y="157758"/>
                  <a:pt x="365593" y="170854"/>
                  <a:pt x="365447" y="183946"/>
                </a:cubicBezTo>
                <a:cubicBezTo>
                  <a:pt x="365020" y="221975"/>
                  <a:pt x="363367" y="260055"/>
                  <a:pt x="364738" y="298022"/>
                </a:cubicBezTo>
                <a:cubicBezTo>
                  <a:pt x="366329" y="342101"/>
                  <a:pt x="370336" y="386106"/>
                  <a:pt x="373865" y="430096"/>
                </a:cubicBezTo>
                <a:cubicBezTo>
                  <a:pt x="375530" y="450849"/>
                  <a:pt x="378387" y="471514"/>
                  <a:pt x="381088" y="492169"/>
                </a:cubicBezTo>
                <a:cubicBezTo>
                  <a:pt x="381433" y="494807"/>
                  <a:pt x="384102" y="497143"/>
                  <a:pt x="387930" y="499741"/>
                </a:cubicBezTo>
                <a:moveTo>
                  <a:pt x="455850" y="1521476"/>
                </a:moveTo>
                <a:cubicBezTo>
                  <a:pt x="533043" y="1519612"/>
                  <a:pt x="609810" y="1514084"/>
                  <a:pt x="685121" y="1496509"/>
                </a:cubicBezTo>
                <a:cubicBezTo>
                  <a:pt x="683922" y="1481705"/>
                  <a:pt x="679199" y="1467708"/>
                  <a:pt x="672999" y="1456665"/>
                </a:cubicBezTo>
                <a:cubicBezTo>
                  <a:pt x="669933" y="1451203"/>
                  <a:pt x="666057" y="1449329"/>
                  <a:pt x="660009" y="1450249"/>
                </a:cubicBezTo>
                <a:cubicBezTo>
                  <a:pt x="651125" y="1451601"/>
                  <a:pt x="642144" y="1452308"/>
                  <a:pt x="633248" y="1453589"/>
                </a:cubicBezTo>
                <a:cubicBezTo>
                  <a:pt x="572852" y="1462289"/>
                  <a:pt x="511993" y="1465134"/>
                  <a:pt x="451131" y="1467458"/>
                </a:cubicBezTo>
                <a:cubicBezTo>
                  <a:pt x="421697" y="1468582"/>
                  <a:pt x="392192" y="1467837"/>
                  <a:pt x="362719" y="1467934"/>
                </a:cubicBezTo>
                <a:cubicBezTo>
                  <a:pt x="358386" y="1467948"/>
                  <a:pt x="354052" y="1467936"/>
                  <a:pt x="349983" y="1467936"/>
                </a:cubicBezTo>
                <a:cubicBezTo>
                  <a:pt x="347592" y="1485362"/>
                  <a:pt x="348606" y="1509458"/>
                  <a:pt x="352220" y="1519140"/>
                </a:cubicBezTo>
                <a:cubicBezTo>
                  <a:pt x="385617" y="1519916"/>
                  <a:pt x="419507" y="1520703"/>
                  <a:pt x="455850" y="1521476"/>
                </a:cubicBezTo>
                <a:moveTo>
                  <a:pt x="368682" y="544846"/>
                </a:moveTo>
                <a:cubicBezTo>
                  <a:pt x="374258" y="564891"/>
                  <a:pt x="370074" y="584394"/>
                  <a:pt x="363600" y="605633"/>
                </a:cubicBezTo>
                <a:cubicBezTo>
                  <a:pt x="408859" y="604212"/>
                  <a:pt x="452263" y="602850"/>
                  <a:pt x="496351" y="601466"/>
                </a:cubicBezTo>
                <a:cubicBezTo>
                  <a:pt x="496109" y="591095"/>
                  <a:pt x="491408" y="584247"/>
                  <a:pt x="485068" y="579288"/>
                </a:cubicBezTo>
                <a:cubicBezTo>
                  <a:pt x="472414" y="569391"/>
                  <a:pt x="466934" y="556602"/>
                  <a:pt x="466524" y="541026"/>
                </a:cubicBezTo>
                <a:cubicBezTo>
                  <a:pt x="466485" y="539528"/>
                  <a:pt x="465591" y="538053"/>
                  <a:pt x="465000" y="536289"/>
                </a:cubicBezTo>
                <a:cubicBezTo>
                  <a:pt x="460209" y="536289"/>
                  <a:pt x="455761" y="536132"/>
                  <a:pt x="451328" y="536316"/>
                </a:cubicBezTo>
                <a:cubicBezTo>
                  <a:pt x="430930" y="537159"/>
                  <a:pt x="410538" y="538137"/>
                  <a:pt x="390140" y="538979"/>
                </a:cubicBezTo>
                <a:cubicBezTo>
                  <a:pt x="384834" y="539198"/>
                  <a:pt x="379484" y="538790"/>
                  <a:pt x="374215" y="539303"/>
                </a:cubicBezTo>
                <a:cubicBezTo>
                  <a:pt x="372259" y="539494"/>
                  <a:pt x="370480" y="541498"/>
                  <a:pt x="368682" y="544846"/>
                </a:cubicBezTo>
                <a:moveTo>
                  <a:pt x="453915" y="635267"/>
                </a:moveTo>
                <a:cubicBezTo>
                  <a:pt x="427589" y="636632"/>
                  <a:pt x="401262" y="637998"/>
                  <a:pt x="374200" y="639402"/>
                </a:cubicBezTo>
                <a:cubicBezTo>
                  <a:pt x="374200" y="651578"/>
                  <a:pt x="374200" y="661970"/>
                  <a:pt x="374200" y="673206"/>
                </a:cubicBezTo>
                <a:cubicBezTo>
                  <a:pt x="378672" y="673406"/>
                  <a:pt x="382666" y="673863"/>
                  <a:pt x="386639" y="673718"/>
                </a:cubicBezTo>
                <a:cubicBezTo>
                  <a:pt x="431495" y="672082"/>
                  <a:pt x="476352" y="670422"/>
                  <a:pt x="521198" y="668541"/>
                </a:cubicBezTo>
                <a:cubicBezTo>
                  <a:pt x="525584" y="668357"/>
                  <a:pt x="530162" y="667254"/>
                  <a:pt x="534198" y="665521"/>
                </a:cubicBezTo>
                <a:cubicBezTo>
                  <a:pt x="540213" y="662938"/>
                  <a:pt x="541802" y="658194"/>
                  <a:pt x="538413" y="652526"/>
                </a:cubicBezTo>
                <a:cubicBezTo>
                  <a:pt x="536192" y="648813"/>
                  <a:pt x="532979" y="645251"/>
                  <a:pt x="529377" y="642895"/>
                </a:cubicBezTo>
                <a:cubicBezTo>
                  <a:pt x="521426" y="637695"/>
                  <a:pt x="512576" y="634669"/>
                  <a:pt x="502829" y="634808"/>
                </a:cubicBezTo>
                <a:cubicBezTo>
                  <a:pt x="487311" y="635030"/>
                  <a:pt x="471791" y="635092"/>
                  <a:pt x="453915" y="635267"/>
                </a:cubicBezTo>
                <a:close/>
              </a:path>
            </a:pathLst>
          </a:custGeom>
          <a:solidFill>
            <a:srgbClr val="CDD9DF"/>
          </a:solidFill>
          <a:ln w="12700" cap="flat">
            <a:solidFill>
              <a:srgbClr val="CDD9DF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30" name="Free-form: Shape 129">
            <a:extLst>
              <a:ext uri="{FF2B5EF4-FFF2-40B4-BE49-F238E27FC236}">
                <a16:creationId xmlns:a16="http://schemas.microsoft.com/office/drawing/2014/main" id="{E38CE4D3-7570-D310-76F9-D51162318063}"/>
              </a:ext>
            </a:extLst>
          </p:cNvPr>
          <p:cNvSpPr/>
          <p:nvPr/>
        </p:nvSpPr>
        <p:spPr>
          <a:xfrm>
            <a:off x="2608331" y="2227820"/>
            <a:ext cx="665488" cy="1428730"/>
          </a:xfrm>
          <a:custGeom>
            <a:avLst/>
            <a:gdLst>
              <a:gd name="csX0" fmla="*/ 406842 w 732037"/>
              <a:gd name="csY0" fmla="*/ 38347 h 1571603"/>
              <a:gd name="csX1" fmla="*/ 411944 w 732037"/>
              <a:gd name="csY1" fmla="*/ 38343 h 1571603"/>
              <a:gd name="csX2" fmla="*/ 416198 w 732037"/>
              <a:gd name="csY2" fmla="*/ 53444 h 1571603"/>
              <a:gd name="csX3" fmla="*/ 418945 w 732037"/>
              <a:gd name="csY3" fmla="*/ 34170 h 1571603"/>
              <a:gd name="csX4" fmla="*/ 394077 w 732037"/>
              <a:gd name="csY4" fmla="*/ 12943 h 1571603"/>
              <a:gd name="csX5" fmla="*/ 341415 w 732037"/>
              <a:gd name="csY5" fmla="*/ 11814 h 1571603"/>
              <a:gd name="csX6" fmla="*/ 309440 w 732037"/>
              <a:gd name="csY6" fmla="*/ 65249 h 1571603"/>
              <a:gd name="csX7" fmla="*/ 319632 w 732037"/>
              <a:gd name="csY7" fmla="*/ 85914 h 1571603"/>
              <a:gd name="csX8" fmla="*/ 318632 w 732037"/>
              <a:gd name="csY8" fmla="*/ 110015 h 1571603"/>
              <a:gd name="csX9" fmla="*/ 246921 w 732037"/>
              <a:gd name="csY9" fmla="*/ 198083 h 1571603"/>
              <a:gd name="csX10" fmla="*/ 202660 w 732037"/>
              <a:gd name="csY10" fmla="*/ 269911 h 1571603"/>
              <a:gd name="csX11" fmla="*/ 176707 w 732037"/>
              <a:gd name="csY11" fmla="*/ 357233 h 1571603"/>
              <a:gd name="csX12" fmla="*/ 190612 w 732037"/>
              <a:gd name="csY12" fmla="*/ 439700 h 1571603"/>
              <a:gd name="csX13" fmla="*/ 227544 w 732037"/>
              <a:gd name="csY13" fmla="*/ 505527 h 1571603"/>
              <a:gd name="csX14" fmla="*/ 232541 w 732037"/>
              <a:gd name="csY14" fmla="*/ 516294 h 1571603"/>
              <a:gd name="csX15" fmla="*/ 224356 w 732037"/>
              <a:gd name="csY15" fmla="*/ 528960 h 1571603"/>
              <a:gd name="csX16" fmla="*/ 227944 w 732037"/>
              <a:gd name="csY16" fmla="*/ 540026 h 1571603"/>
              <a:gd name="csX17" fmla="*/ 238897 w 732037"/>
              <a:gd name="csY17" fmla="*/ 545570 h 1571603"/>
              <a:gd name="csX18" fmla="*/ 242386 w 732037"/>
              <a:gd name="csY18" fmla="*/ 571785 h 1571603"/>
              <a:gd name="csX19" fmla="*/ 214067 w 732037"/>
              <a:gd name="csY19" fmla="*/ 590809 h 1571603"/>
              <a:gd name="csX20" fmla="*/ 201355 w 732037"/>
              <a:gd name="csY20" fmla="*/ 609067 h 1571603"/>
              <a:gd name="csX21" fmla="*/ 188474 w 732037"/>
              <a:gd name="csY21" fmla="*/ 628398 h 1571603"/>
              <a:gd name="csX22" fmla="*/ 162658 w 732037"/>
              <a:gd name="csY22" fmla="*/ 657096 h 1571603"/>
              <a:gd name="csX23" fmla="*/ 175395 w 732037"/>
              <a:gd name="csY23" fmla="*/ 691621 h 1571603"/>
              <a:gd name="csX24" fmla="*/ 201948 w 732037"/>
              <a:gd name="csY24" fmla="*/ 700523 h 1571603"/>
              <a:gd name="csX25" fmla="*/ 241426 w 732037"/>
              <a:gd name="csY25" fmla="*/ 706574 h 1571603"/>
              <a:gd name="csX26" fmla="*/ 242586 w 732037"/>
              <a:gd name="csY26" fmla="*/ 715946 h 1571603"/>
              <a:gd name="csX27" fmla="*/ 242424 w 732037"/>
              <a:gd name="csY27" fmla="*/ 801932 h 1571603"/>
              <a:gd name="csX28" fmla="*/ 238000 w 732037"/>
              <a:gd name="csY28" fmla="*/ 846774 h 1571603"/>
              <a:gd name="csX29" fmla="*/ 232752 w 732037"/>
              <a:gd name="csY29" fmla="*/ 891559 h 1571603"/>
              <a:gd name="csX30" fmla="*/ 223037 w 732037"/>
              <a:gd name="csY30" fmla="*/ 950433 h 1571603"/>
              <a:gd name="csX31" fmla="*/ 210247 w 732037"/>
              <a:gd name="csY31" fmla="*/ 1012485 h 1571603"/>
              <a:gd name="csX32" fmla="*/ 194820 w 732037"/>
              <a:gd name="csY32" fmla="*/ 1069074 h 1571603"/>
              <a:gd name="csX33" fmla="*/ 165707 w 732037"/>
              <a:gd name="csY33" fmla="*/ 1163788 h 1571603"/>
              <a:gd name="csX34" fmla="*/ 144382 w 732037"/>
              <a:gd name="csY34" fmla="*/ 1185530 h 1571603"/>
              <a:gd name="csX35" fmla="*/ 129590 w 732037"/>
              <a:gd name="csY35" fmla="*/ 1191342 h 1571603"/>
              <a:gd name="csX36" fmla="*/ 122255 w 732037"/>
              <a:gd name="csY36" fmla="*/ 1208476 h 1571603"/>
              <a:gd name="csX37" fmla="*/ 127491 w 732037"/>
              <a:gd name="csY37" fmla="*/ 1222193 h 1571603"/>
              <a:gd name="csX38" fmla="*/ 118348 w 732037"/>
              <a:gd name="csY38" fmla="*/ 1261470 h 1571603"/>
              <a:gd name="csX39" fmla="*/ 58232 w 732037"/>
              <a:gd name="csY39" fmla="*/ 1319224 h 1571603"/>
              <a:gd name="csX40" fmla="*/ 28815 w 732037"/>
              <a:gd name="csY40" fmla="*/ 1389717 h 1571603"/>
              <a:gd name="csX41" fmla="*/ 32634 w 732037"/>
              <a:gd name="csY41" fmla="*/ 1426050 h 1571603"/>
              <a:gd name="csX42" fmla="*/ 30331 w 732037"/>
              <a:gd name="csY42" fmla="*/ 1441003 h 1571603"/>
              <a:gd name="csX43" fmla="*/ 9180 w 732037"/>
              <a:gd name="csY43" fmla="*/ 1516655 h 1571603"/>
              <a:gd name="csX44" fmla="*/ 20082 w 732037"/>
              <a:gd name="csY44" fmla="*/ 1531402 h 1571603"/>
              <a:gd name="csX45" fmla="*/ 74798 w 732037"/>
              <a:gd name="csY45" fmla="*/ 1543794 h 1571603"/>
              <a:gd name="csX46" fmla="*/ 113225 w 732037"/>
              <a:gd name="csY46" fmla="*/ 1550305 h 1571603"/>
              <a:gd name="csX47" fmla="*/ 136142 w 732037"/>
              <a:gd name="csY47" fmla="*/ 1553484 h 1571603"/>
              <a:gd name="csX48" fmla="*/ 177578 w 732037"/>
              <a:gd name="csY48" fmla="*/ 1556220 h 1571603"/>
              <a:gd name="csX49" fmla="*/ 231027 w 732037"/>
              <a:gd name="csY49" fmla="*/ 1560698 h 1571603"/>
              <a:gd name="csX50" fmla="*/ 254342 w 732037"/>
              <a:gd name="csY50" fmla="*/ 1561142 h 1571603"/>
              <a:gd name="csX51" fmla="*/ 459180 w 732037"/>
              <a:gd name="csY51" fmla="*/ 1563411 h 1571603"/>
              <a:gd name="csX52" fmla="*/ 531340 w 732037"/>
              <a:gd name="csY52" fmla="*/ 1560936 h 1571603"/>
              <a:gd name="csX53" fmla="*/ 590888 w 732037"/>
              <a:gd name="csY53" fmla="*/ 1555951 h 1571603"/>
              <a:gd name="csX54" fmla="*/ 710712 w 732037"/>
              <a:gd name="csY54" fmla="*/ 1533916 h 1571603"/>
              <a:gd name="csX55" fmla="*/ 724356 w 732037"/>
              <a:gd name="csY55" fmla="*/ 1516144 h 1571603"/>
              <a:gd name="csX56" fmla="*/ 707380 w 732037"/>
              <a:gd name="csY56" fmla="*/ 1449380 h 1571603"/>
              <a:gd name="csX57" fmla="*/ 707050 w 732037"/>
              <a:gd name="csY57" fmla="*/ 1440881 h 1571603"/>
              <a:gd name="csX58" fmla="*/ 731479 w 732037"/>
              <a:gd name="csY58" fmla="*/ 1500017 h 1571603"/>
              <a:gd name="csX59" fmla="*/ 731163 w 732037"/>
              <a:gd name="csY59" fmla="*/ 1513759 h 1571603"/>
              <a:gd name="csX60" fmla="*/ 731650 w 732037"/>
              <a:gd name="csY60" fmla="*/ 1521766 h 1571603"/>
              <a:gd name="csX61" fmla="*/ 721896 w 732037"/>
              <a:gd name="csY61" fmla="*/ 1537319 h 1571603"/>
              <a:gd name="csX62" fmla="*/ 657740 w 732037"/>
              <a:gd name="csY62" fmla="*/ 1553265 h 1571603"/>
              <a:gd name="csX63" fmla="*/ 507791 w 732037"/>
              <a:gd name="csY63" fmla="*/ 1568943 h 1571603"/>
              <a:gd name="csX64" fmla="*/ 264676 w 732037"/>
              <a:gd name="csY64" fmla="*/ 1569724 h 1571603"/>
              <a:gd name="csX65" fmla="*/ 82743 w 732037"/>
              <a:gd name="csY65" fmla="*/ 1553254 h 1571603"/>
              <a:gd name="csX66" fmla="*/ 17072 w 732037"/>
              <a:gd name="csY66" fmla="*/ 1538153 h 1571603"/>
              <a:gd name="csX67" fmla="*/ 275 w 732037"/>
              <a:gd name="csY67" fmla="*/ 1513030 h 1571603"/>
              <a:gd name="csX68" fmla="*/ 20923 w 732037"/>
              <a:gd name="csY68" fmla="*/ 1441861 h 1571603"/>
              <a:gd name="csX69" fmla="*/ 23045 w 732037"/>
              <a:gd name="csY69" fmla="*/ 1423105 h 1571603"/>
              <a:gd name="csX70" fmla="*/ 30564 w 732037"/>
              <a:gd name="csY70" fmla="*/ 1346289 h 1571603"/>
              <a:gd name="csX71" fmla="*/ 71350 w 732037"/>
              <a:gd name="csY71" fmla="*/ 1295039 h 1571603"/>
              <a:gd name="csX72" fmla="*/ 112257 w 732037"/>
              <a:gd name="csY72" fmla="*/ 1255093 h 1571603"/>
              <a:gd name="csX73" fmla="*/ 115864 w 732037"/>
              <a:gd name="csY73" fmla="*/ 1217271 h 1571603"/>
              <a:gd name="csX74" fmla="*/ 112256 w 732037"/>
              <a:gd name="csY74" fmla="*/ 1210870 h 1571603"/>
              <a:gd name="csX75" fmla="*/ 121141 w 732037"/>
              <a:gd name="csY75" fmla="*/ 1186548 h 1571603"/>
              <a:gd name="csX76" fmla="*/ 136571 w 732037"/>
              <a:gd name="csY76" fmla="*/ 1179850 h 1571603"/>
              <a:gd name="csX77" fmla="*/ 158281 w 732037"/>
              <a:gd name="csY77" fmla="*/ 1157879 h 1571603"/>
              <a:gd name="csX78" fmla="*/ 187986 w 732037"/>
              <a:gd name="csY78" fmla="*/ 1059736 h 1571603"/>
              <a:gd name="csX79" fmla="*/ 217119 w 732037"/>
              <a:gd name="csY79" fmla="*/ 938896 h 1571603"/>
              <a:gd name="csX80" fmla="*/ 225792 w 732037"/>
              <a:gd name="csY80" fmla="*/ 893236 h 1571603"/>
              <a:gd name="csX81" fmla="*/ 226150 w 732037"/>
              <a:gd name="csY81" fmla="*/ 887970 h 1571603"/>
              <a:gd name="csX82" fmla="*/ 230782 w 732037"/>
              <a:gd name="csY82" fmla="*/ 853969 h 1571603"/>
              <a:gd name="csX83" fmla="*/ 230786 w 732037"/>
              <a:gd name="csY83" fmla="*/ 848558 h 1571603"/>
              <a:gd name="csX84" fmla="*/ 233315 w 732037"/>
              <a:gd name="csY84" fmla="*/ 824438 h 1571603"/>
              <a:gd name="csX85" fmla="*/ 233199 w 732037"/>
              <a:gd name="csY85" fmla="*/ 819050 h 1571603"/>
              <a:gd name="csX86" fmla="*/ 235848 w 732037"/>
              <a:gd name="csY86" fmla="*/ 782380 h 1571603"/>
              <a:gd name="csX87" fmla="*/ 237465 w 732037"/>
              <a:gd name="csY87" fmla="*/ 719113 h 1571603"/>
              <a:gd name="csX88" fmla="*/ 233057 w 732037"/>
              <a:gd name="csY88" fmla="*/ 713160 h 1571603"/>
              <a:gd name="csX89" fmla="*/ 203056 w 732037"/>
              <a:gd name="csY89" fmla="*/ 708405 h 1571603"/>
              <a:gd name="csX90" fmla="*/ 169628 w 732037"/>
              <a:gd name="csY90" fmla="*/ 698106 h 1571603"/>
              <a:gd name="csX91" fmla="*/ 153237 w 732037"/>
              <a:gd name="csY91" fmla="*/ 659111 h 1571603"/>
              <a:gd name="csX92" fmla="*/ 178365 w 732037"/>
              <a:gd name="csY92" fmla="*/ 626008 h 1571603"/>
              <a:gd name="csX93" fmla="*/ 191885 w 732037"/>
              <a:gd name="csY93" fmla="*/ 617513 h 1571603"/>
              <a:gd name="csX94" fmla="*/ 193681 w 732037"/>
              <a:gd name="csY94" fmla="*/ 610098 h 1571603"/>
              <a:gd name="csX95" fmla="*/ 213301 w 732037"/>
              <a:gd name="csY95" fmla="*/ 579885 h 1571603"/>
              <a:gd name="csX96" fmla="*/ 229635 w 732037"/>
              <a:gd name="csY96" fmla="*/ 571429 h 1571603"/>
              <a:gd name="csX97" fmla="*/ 237351 w 732037"/>
              <a:gd name="csY97" fmla="*/ 565882 h 1571603"/>
              <a:gd name="csX98" fmla="*/ 233673 w 732037"/>
              <a:gd name="csY98" fmla="*/ 550926 h 1571603"/>
              <a:gd name="csX99" fmla="*/ 226799 w 732037"/>
              <a:gd name="csY99" fmla="*/ 548359 h 1571603"/>
              <a:gd name="csX100" fmla="*/ 218639 w 732037"/>
              <a:gd name="csY100" fmla="*/ 522664 h 1571603"/>
              <a:gd name="csX101" fmla="*/ 218264 w 732037"/>
              <a:gd name="csY101" fmla="*/ 505463 h 1571603"/>
              <a:gd name="csX102" fmla="*/ 181762 w 732037"/>
              <a:gd name="csY102" fmla="*/ 437574 h 1571603"/>
              <a:gd name="csX103" fmla="*/ 185971 w 732037"/>
              <a:gd name="csY103" fmla="*/ 289069 h 1571603"/>
              <a:gd name="csX104" fmla="*/ 253787 w 732037"/>
              <a:gd name="csY104" fmla="*/ 175580 h 1571603"/>
              <a:gd name="csX105" fmla="*/ 309639 w 732037"/>
              <a:gd name="csY105" fmla="*/ 108695 h 1571603"/>
              <a:gd name="csX106" fmla="*/ 318061 w 732037"/>
              <a:gd name="csY106" fmla="*/ 98855 h 1571603"/>
              <a:gd name="csX107" fmla="*/ 304967 w 732037"/>
              <a:gd name="csY107" fmla="*/ 70056 h 1571603"/>
              <a:gd name="csX108" fmla="*/ 317012 w 732037"/>
              <a:gd name="csY108" fmla="*/ 19436 h 1571603"/>
              <a:gd name="csX109" fmla="*/ 415542 w 732037"/>
              <a:gd name="csY109" fmla="*/ 18221 h 1571603"/>
              <a:gd name="csX110" fmla="*/ 423203 w 732037"/>
              <a:gd name="csY110" fmla="*/ 82660 h 1571603"/>
              <a:gd name="csX111" fmla="*/ 413361 w 732037"/>
              <a:gd name="csY111" fmla="*/ 97975 h 1571603"/>
              <a:gd name="csX112" fmla="*/ 421654 w 732037"/>
              <a:gd name="csY112" fmla="*/ 106676 h 1571603"/>
              <a:gd name="csX113" fmla="*/ 487032 w 732037"/>
              <a:gd name="csY113" fmla="*/ 184632 h 1571603"/>
              <a:gd name="csX114" fmla="*/ 489213 w 732037"/>
              <a:gd name="csY114" fmla="*/ 208238 h 1571603"/>
              <a:gd name="csX115" fmla="*/ 476520 w 732037"/>
              <a:gd name="csY115" fmla="*/ 235738 h 1571603"/>
              <a:gd name="csX116" fmla="*/ 472850 w 732037"/>
              <a:gd name="csY116" fmla="*/ 230703 h 1571603"/>
              <a:gd name="csX117" fmla="*/ 482723 w 732037"/>
              <a:gd name="csY117" fmla="*/ 208315 h 1571603"/>
              <a:gd name="csX118" fmla="*/ 480764 w 732037"/>
              <a:gd name="csY118" fmla="*/ 187916 h 1571603"/>
              <a:gd name="csX119" fmla="*/ 408519 w 732037"/>
              <a:gd name="csY119" fmla="*/ 105475 h 1571603"/>
              <a:gd name="csX120" fmla="*/ 408625 w 732037"/>
              <a:gd name="csY120" fmla="*/ 89203 h 1571603"/>
              <a:gd name="csX121" fmla="*/ 419600 w 732037"/>
              <a:gd name="csY121" fmla="*/ 71648 h 1571603"/>
              <a:gd name="csX122" fmla="*/ 418792 w 732037"/>
              <a:gd name="csY122" fmla="*/ 63179 h 1571603"/>
              <a:gd name="csX123" fmla="*/ 410943 w 732037"/>
              <a:gd name="csY123" fmla="*/ 66417 h 1571603"/>
              <a:gd name="csX124" fmla="*/ 400140 w 732037"/>
              <a:gd name="csY124" fmla="*/ 76155 h 1571603"/>
              <a:gd name="csX125" fmla="*/ 360599 w 732037"/>
              <a:gd name="csY125" fmla="*/ 51379 h 1571603"/>
              <a:gd name="csX126" fmla="*/ 360842 w 732037"/>
              <a:gd name="csY126" fmla="*/ 39128 h 1571603"/>
              <a:gd name="csX127" fmla="*/ 369470 w 732037"/>
              <a:gd name="csY127" fmla="*/ 30960 h 1571603"/>
              <a:gd name="csX128" fmla="*/ 365613 w 732037"/>
              <a:gd name="csY128" fmla="*/ 49108 h 1571603"/>
              <a:gd name="csX129" fmla="*/ 389468 w 732037"/>
              <a:gd name="csY129" fmla="*/ 71608 h 1571603"/>
              <a:gd name="csX130" fmla="*/ 408822 w 732037"/>
              <a:gd name="csY130" fmla="*/ 46613 h 1571603"/>
              <a:gd name="csX131" fmla="*/ 406842 w 732037"/>
              <a:gd name="csY131" fmla="*/ 38347 h 157160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</a:cxnLst>
            <a:rect l="l" t="t" r="r" b="b"/>
            <a:pathLst>
              <a:path w="732037" h="1571603">
                <a:moveTo>
                  <a:pt x="406842" y="38347"/>
                </a:moveTo>
                <a:cubicBezTo>
                  <a:pt x="408555" y="35869"/>
                  <a:pt x="410622" y="34608"/>
                  <a:pt x="411944" y="38343"/>
                </a:cubicBezTo>
                <a:cubicBezTo>
                  <a:pt x="413676" y="43242"/>
                  <a:pt x="414797" y="48356"/>
                  <a:pt x="416198" y="53444"/>
                </a:cubicBezTo>
                <a:cubicBezTo>
                  <a:pt x="422922" y="48977"/>
                  <a:pt x="424340" y="41699"/>
                  <a:pt x="418945" y="34170"/>
                </a:cubicBezTo>
                <a:cubicBezTo>
                  <a:pt x="412483" y="25152"/>
                  <a:pt x="404444" y="17554"/>
                  <a:pt x="394077" y="12943"/>
                </a:cubicBezTo>
                <a:cubicBezTo>
                  <a:pt x="376702" y="5216"/>
                  <a:pt x="358713" y="6244"/>
                  <a:pt x="341415" y="11814"/>
                </a:cubicBezTo>
                <a:cubicBezTo>
                  <a:pt x="323675" y="17525"/>
                  <a:pt x="304459" y="39816"/>
                  <a:pt x="309440" y="65249"/>
                </a:cubicBezTo>
                <a:cubicBezTo>
                  <a:pt x="310868" y="72543"/>
                  <a:pt x="315482" y="79463"/>
                  <a:pt x="319632" y="85914"/>
                </a:cubicBezTo>
                <a:cubicBezTo>
                  <a:pt x="325434" y="94933"/>
                  <a:pt x="325800" y="102817"/>
                  <a:pt x="318632" y="110015"/>
                </a:cubicBezTo>
                <a:cubicBezTo>
                  <a:pt x="291775" y="136984"/>
                  <a:pt x="269594" y="167702"/>
                  <a:pt x="246921" y="198083"/>
                </a:cubicBezTo>
                <a:cubicBezTo>
                  <a:pt x="230003" y="220751"/>
                  <a:pt x="215685" y="244921"/>
                  <a:pt x="202660" y="269911"/>
                </a:cubicBezTo>
                <a:cubicBezTo>
                  <a:pt x="188381" y="297309"/>
                  <a:pt x="179513" y="326657"/>
                  <a:pt x="176707" y="357233"/>
                </a:cubicBezTo>
                <a:cubicBezTo>
                  <a:pt x="174106" y="385578"/>
                  <a:pt x="180131" y="413140"/>
                  <a:pt x="190612" y="439700"/>
                </a:cubicBezTo>
                <a:cubicBezTo>
                  <a:pt x="199946" y="463353"/>
                  <a:pt x="211538" y="485623"/>
                  <a:pt x="227544" y="505527"/>
                </a:cubicBezTo>
                <a:cubicBezTo>
                  <a:pt x="229982" y="508558"/>
                  <a:pt x="230954" y="512768"/>
                  <a:pt x="232541" y="516294"/>
                </a:cubicBezTo>
                <a:cubicBezTo>
                  <a:pt x="229578" y="520824"/>
                  <a:pt x="226658" y="524724"/>
                  <a:pt x="224356" y="528960"/>
                </a:cubicBezTo>
                <a:cubicBezTo>
                  <a:pt x="221823" y="533618"/>
                  <a:pt x="222675" y="537588"/>
                  <a:pt x="227944" y="540026"/>
                </a:cubicBezTo>
                <a:cubicBezTo>
                  <a:pt x="231656" y="541743"/>
                  <a:pt x="235331" y="543568"/>
                  <a:pt x="238897" y="545570"/>
                </a:cubicBezTo>
                <a:cubicBezTo>
                  <a:pt x="249613" y="551585"/>
                  <a:pt x="251795" y="563681"/>
                  <a:pt x="242386" y="571785"/>
                </a:cubicBezTo>
                <a:cubicBezTo>
                  <a:pt x="233816" y="579166"/>
                  <a:pt x="224045" y="585423"/>
                  <a:pt x="214067" y="590809"/>
                </a:cubicBezTo>
                <a:cubicBezTo>
                  <a:pt x="206271" y="595018"/>
                  <a:pt x="202051" y="601487"/>
                  <a:pt x="201355" y="609067"/>
                </a:cubicBezTo>
                <a:cubicBezTo>
                  <a:pt x="200489" y="618497"/>
                  <a:pt x="195720" y="623726"/>
                  <a:pt x="188474" y="628398"/>
                </a:cubicBezTo>
                <a:cubicBezTo>
                  <a:pt x="177332" y="635582"/>
                  <a:pt x="167866" y="644503"/>
                  <a:pt x="162658" y="657096"/>
                </a:cubicBezTo>
                <a:cubicBezTo>
                  <a:pt x="156420" y="672181"/>
                  <a:pt x="160439" y="684301"/>
                  <a:pt x="175395" y="691621"/>
                </a:cubicBezTo>
                <a:cubicBezTo>
                  <a:pt x="183722" y="695697"/>
                  <a:pt x="192859" y="698589"/>
                  <a:pt x="201948" y="700523"/>
                </a:cubicBezTo>
                <a:cubicBezTo>
                  <a:pt x="214634" y="703224"/>
                  <a:pt x="227616" y="704530"/>
                  <a:pt x="241426" y="706574"/>
                </a:cubicBezTo>
                <a:cubicBezTo>
                  <a:pt x="241839" y="709770"/>
                  <a:pt x="242576" y="712857"/>
                  <a:pt x="242586" y="715946"/>
                </a:cubicBezTo>
                <a:cubicBezTo>
                  <a:pt x="242672" y="744610"/>
                  <a:pt x="243133" y="773285"/>
                  <a:pt x="242424" y="801932"/>
                </a:cubicBezTo>
                <a:cubicBezTo>
                  <a:pt x="242053" y="816907"/>
                  <a:pt x="239631" y="831838"/>
                  <a:pt x="238000" y="846774"/>
                </a:cubicBezTo>
                <a:cubicBezTo>
                  <a:pt x="236368" y="861717"/>
                  <a:pt x="234927" y="876693"/>
                  <a:pt x="232752" y="891559"/>
                </a:cubicBezTo>
                <a:cubicBezTo>
                  <a:pt x="229873" y="911238"/>
                  <a:pt x="226675" y="930882"/>
                  <a:pt x="223037" y="950433"/>
                </a:cubicBezTo>
                <a:cubicBezTo>
                  <a:pt x="219173" y="971193"/>
                  <a:pt x="215113" y="991942"/>
                  <a:pt x="210247" y="1012485"/>
                </a:cubicBezTo>
                <a:cubicBezTo>
                  <a:pt x="205743" y="1031500"/>
                  <a:pt x="200395" y="1050337"/>
                  <a:pt x="194820" y="1069074"/>
                </a:cubicBezTo>
                <a:cubicBezTo>
                  <a:pt x="185401" y="1100731"/>
                  <a:pt x="175708" y="1132311"/>
                  <a:pt x="165707" y="1163788"/>
                </a:cubicBezTo>
                <a:cubicBezTo>
                  <a:pt x="162367" y="1174302"/>
                  <a:pt x="156145" y="1182634"/>
                  <a:pt x="144382" y="1185530"/>
                </a:cubicBezTo>
                <a:cubicBezTo>
                  <a:pt x="139281" y="1186787"/>
                  <a:pt x="134434" y="1189193"/>
                  <a:pt x="129590" y="1191342"/>
                </a:cubicBezTo>
                <a:cubicBezTo>
                  <a:pt x="120028" y="1195581"/>
                  <a:pt x="118779" y="1198539"/>
                  <a:pt x="122255" y="1208476"/>
                </a:cubicBezTo>
                <a:cubicBezTo>
                  <a:pt x="123870" y="1213094"/>
                  <a:pt x="125990" y="1217542"/>
                  <a:pt x="127491" y="1222193"/>
                </a:cubicBezTo>
                <a:cubicBezTo>
                  <a:pt x="132294" y="1237066"/>
                  <a:pt x="129961" y="1250353"/>
                  <a:pt x="118348" y="1261470"/>
                </a:cubicBezTo>
                <a:cubicBezTo>
                  <a:pt x="98275" y="1280686"/>
                  <a:pt x="78038" y="1299737"/>
                  <a:pt x="58232" y="1319224"/>
                </a:cubicBezTo>
                <a:cubicBezTo>
                  <a:pt x="38634" y="1338507"/>
                  <a:pt x="29913" y="1362564"/>
                  <a:pt x="28815" y="1389717"/>
                </a:cubicBezTo>
                <a:cubicBezTo>
                  <a:pt x="28318" y="1402031"/>
                  <a:pt x="29110" y="1414206"/>
                  <a:pt x="32634" y="1426050"/>
                </a:cubicBezTo>
                <a:cubicBezTo>
                  <a:pt x="34273" y="1431554"/>
                  <a:pt x="33300" y="1435929"/>
                  <a:pt x="30331" y="1441003"/>
                </a:cubicBezTo>
                <a:cubicBezTo>
                  <a:pt x="16698" y="1464298"/>
                  <a:pt x="8890" y="1489397"/>
                  <a:pt x="9180" y="1516655"/>
                </a:cubicBezTo>
                <a:cubicBezTo>
                  <a:pt x="9291" y="1527012"/>
                  <a:pt x="9917" y="1528771"/>
                  <a:pt x="20082" y="1531402"/>
                </a:cubicBezTo>
                <a:cubicBezTo>
                  <a:pt x="38179" y="1536086"/>
                  <a:pt x="56480" y="1540035"/>
                  <a:pt x="74798" y="1543794"/>
                </a:cubicBezTo>
                <a:cubicBezTo>
                  <a:pt x="87517" y="1546403"/>
                  <a:pt x="100396" y="1548250"/>
                  <a:pt x="113225" y="1550305"/>
                </a:cubicBezTo>
                <a:cubicBezTo>
                  <a:pt x="120841" y="1551524"/>
                  <a:pt x="128467" y="1552843"/>
                  <a:pt x="136142" y="1553484"/>
                </a:cubicBezTo>
                <a:cubicBezTo>
                  <a:pt x="149934" y="1554635"/>
                  <a:pt x="163778" y="1555156"/>
                  <a:pt x="177578" y="1556220"/>
                </a:cubicBezTo>
                <a:cubicBezTo>
                  <a:pt x="195403" y="1557595"/>
                  <a:pt x="213196" y="1559407"/>
                  <a:pt x="231027" y="1560698"/>
                </a:cubicBezTo>
                <a:cubicBezTo>
                  <a:pt x="238768" y="1561259"/>
                  <a:pt x="246585" y="1560709"/>
                  <a:pt x="254342" y="1561142"/>
                </a:cubicBezTo>
                <a:cubicBezTo>
                  <a:pt x="322588" y="1564942"/>
                  <a:pt x="390896" y="1563427"/>
                  <a:pt x="459180" y="1563411"/>
                </a:cubicBezTo>
                <a:cubicBezTo>
                  <a:pt x="483236" y="1563406"/>
                  <a:pt x="507311" y="1562248"/>
                  <a:pt x="531340" y="1560936"/>
                </a:cubicBezTo>
                <a:cubicBezTo>
                  <a:pt x="551225" y="1559849"/>
                  <a:pt x="571160" y="1558554"/>
                  <a:pt x="590888" y="1555951"/>
                </a:cubicBezTo>
                <a:cubicBezTo>
                  <a:pt x="631179" y="1550635"/>
                  <a:pt x="671338" y="1544328"/>
                  <a:pt x="710712" y="1533916"/>
                </a:cubicBezTo>
                <a:cubicBezTo>
                  <a:pt x="722630" y="1530764"/>
                  <a:pt x="724036" y="1528558"/>
                  <a:pt x="724356" y="1516144"/>
                </a:cubicBezTo>
                <a:cubicBezTo>
                  <a:pt x="724970" y="1492256"/>
                  <a:pt x="718637" y="1470245"/>
                  <a:pt x="707380" y="1449380"/>
                </a:cubicBezTo>
                <a:cubicBezTo>
                  <a:pt x="706259" y="1447304"/>
                  <a:pt x="706896" y="1444279"/>
                  <a:pt x="707050" y="1440881"/>
                </a:cubicBezTo>
                <a:cubicBezTo>
                  <a:pt x="722747" y="1457101"/>
                  <a:pt x="728653" y="1477963"/>
                  <a:pt x="731479" y="1500017"/>
                </a:cubicBezTo>
                <a:cubicBezTo>
                  <a:pt x="731992" y="1504029"/>
                  <a:pt x="731781" y="1508135"/>
                  <a:pt x="731163" y="1513759"/>
                </a:cubicBezTo>
                <a:cubicBezTo>
                  <a:pt x="730831" y="1517468"/>
                  <a:pt x="731241" y="1519618"/>
                  <a:pt x="731650" y="1521766"/>
                </a:cubicBezTo>
                <a:cubicBezTo>
                  <a:pt x="733191" y="1529956"/>
                  <a:pt x="730165" y="1535242"/>
                  <a:pt x="721896" y="1537319"/>
                </a:cubicBezTo>
                <a:cubicBezTo>
                  <a:pt x="700520" y="1542690"/>
                  <a:pt x="679367" y="1549248"/>
                  <a:pt x="657740" y="1553265"/>
                </a:cubicBezTo>
                <a:cubicBezTo>
                  <a:pt x="608220" y="1562464"/>
                  <a:pt x="558146" y="1566701"/>
                  <a:pt x="507791" y="1568943"/>
                </a:cubicBezTo>
                <a:cubicBezTo>
                  <a:pt x="426738" y="1572552"/>
                  <a:pt x="345677" y="1572161"/>
                  <a:pt x="264676" y="1569724"/>
                </a:cubicBezTo>
                <a:cubicBezTo>
                  <a:pt x="203800" y="1567891"/>
                  <a:pt x="142882" y="1563907"/>
                  <a:pt x="82743" y="1553254"/>
                </a:cubicBezTo>
                <a:cubicBezTo>
                  <a:pt x="60647" y="1549341"/>
                  <a:pt x="38739" y="1544032"/>
                  <a:pt x="17072" y="1538153"/>
                </a:cubicBezTo>
                <a:cubicBezTo>
                  <a:pt x="1381" y="1533894"/>
                  <a:pt x="-938" y="1529341"/>
                  <a:pt x="275" y="1513030"/>
                </a:cubicBezTo>
                <a:cubicBezTo>
                  <a:pt x="2146" y="1487871"/>
                  <a:pt x="7321" y="1463566"/>
                  <a:pt x="20923" y="1441861"/>
                </a:cubicBezTo>
                <a:cubicBezTo>
                  <a:pt x="24812" y="1435656"/>
                  <a:pt x="24566" y="1429699"/>
                  <a:pt x="23045" y="1423105"/>
                </a:cubicBezTo>
                <a:cubicBezTo>
                  <a:pt x="16952" y="1396684"/>
                  <a:pt x="19689" y="1370924"/>
                  <a:pt x="30564" y="1346289"/>
                </a:cubicBezTo>
                <a:cubicBezTo>
                  <a:pt x="39621" y="1325774"/>
                  <a:pt x="54481" y="1309709"/>
                  <a:pt x="71350" y="1295039"/>
                </a:cubicBezTo>
                <a:cubicBezTo>
                  <a:pt x="85712" y="1282550"/>
                  <a:pt x="99164" y="1268932"/>
                  <a:pt x="112257" y="1255093"/>
                </a:cubicBezTo>
                <a:cubicBezTo>
                  <a:pt x="122891" y="1243852"/>
                  <a:pt x="124955" y="1230879"/>
                  <a:pt x="115864" y="1217271"/>
                </a:cubicBezTo>
                <a:cubicBezTo>
                  <a:pt x="114506" y="1215239"/>
                  <a:pt x="113304" y="1213078"/>
                  <a:pt x="112256" y="1210870"/>
                </a:cubicBezTo>
                <a:cubicBezTo>
                  <a:pt x="106526" y="1198808"/>
                  <a:pt x="109052" y="1191969"/>
                  <a:pt x="121141" y="1186548"/>
                </a:cubicBezTo>
                <a:cubicBezTo>
                  <a:pt x="126274" y="1184246"/>
                  <a:pt x="131201" y="1180803"/>
                  <a:pt x="136571" y="1179850"/>
                </a:cubicBezTo>
                <a:cubicBezTo>
                  <a:pt x="149372" y="1177579"/>
                  <a:pt x="154892" y="1168948"/>
                  <a:pt x="158281" y="1157879"/>
                </a:cubicBezTo>
                <a:cubicBezTo>
                  <a:pt x="168288" y="1125194"/>
                  <a:pt x="179178" y="1092742"/>
                  <a:pt x="187986" y="1059736"/>
                </a:cubicBezTo>
                <a:cubicBezTo>
                  <a:pt x="198666" y="1019713"/>
                  <a:pt x="207813" y="979272"/>
                  <a:pt x="217119" y="938896"/>
                </a:cubicBezTo>
                <a:cubicBezTo>
                  <a:pt x="220491" y="924267"/>
                  <a:pt x="222410" y="909302"/>
                  <a:pt x="225792" y="893236"/>
                </a:cubicBezTo>
                <a:cubicBezTo>
                  <a:pt x="226444" y="890644"/>
                  <a:pt x="226297" y="889307"/>
                  <a:pt x="226150" y="887970"/>
                </a:cubicBezTo>
                <a:cubicBezTo>
                  <a:pt x="227450" y="877085"/>
                  <a:pt x="228750" y="866198"/>
                  <a:pt x="230782" y="853969"/>
                </a:cubicBezTo>
                <a:cubicBezTo>
                  <a:pt x="231271" y="851270"/>
                  <a:pt x="231029" y="849914"/>
                  <a:pt x="230786" y="848558"/>
                </a:cubicBezTo>
                <a:cubicBezTo>
                  <a:pt x="231390" y="840967"/>
                  <a:pt x="231993" y="833375"/>
                  <a:pt x="233315" y="824438"/>
                </a:cubicBezTo>
                <a:cubicBezTo>
                  <a:pt x="233755" y="821744"/>
                  <a:pt x="233477" y="820397"/>
                  <a:pt x="233199" y="819050"/>
                </a:cubicBezTo>
                <a:cubicBezTo>
                  <a:pt x="233786" y="807422"/>
                  <a:pt x="234374" y="795794"/>
                  <a:pt x="235848" y="782380"/>
                </a:cubicBezTo>
                <a:cubicBezTo>
                  <a:pt x="237047" y="760099"/>
                  <a:pt x="237488" y="739606"/>
                  <a:pt x="237465" y="719113"/>
                </a:cubicBezTo>
                <a:cubicBezTo>
                  <a:pt x="237463" y="717127"/>
                  <a:pt x="234595" y="715144"/>
                  <a:pt x="233057" y="713160"/>
                </a:cubicBezTo>
                <a:cubicBezTo>
                  <a:pt x="223043" y="711630"/>
                  <a:pt x="212881" y="710731"/>
                  <a:pt x="203056" y="708405"/>
                </a:cubicBezTo>
                <a:cubicBezTo>
                  <a:pt x="191716" y="705720"/>
                  <a:pt x="180144" y="702931"/>
                  <a:pt x="169628" y="698106"/>
                </a:cubicBezTo>
                <a:cubicBezTo>
                  <a:pt x="154505" y="691164"/>
                  <a:pt x="148867" y="675179"/>
                  <a:pt x="153237" y="659111"/>
                </a:cubicBezTo>
                <a:cubicBezTo>
                  <a:pt x="157196" y="644561"/>
                  <a:pt x="166649" y="634454"/>
                  <a:pt x="178365" y="626008"/>
                </a:cubicBezTo>
                <a:cubicBezTo>
                  <a:pt x="182258" y="623202"/>
                  <a:pt x="186579" y="620992"/>
                  <a:pt x="191885" y="617513"/>
                </a:cubicBezTo>
                <a:cubicBezTo>
                  <a:pt x="194882" y="614532"/>
                  <a:pt x="197062" y="612583"/>
                  <a:pt x="193681" y="610098"/>
                </a:cubicBezTo>
                <a:cubicBezTo>
                  <a:pt x="193381" y="595591"/>
                  <a:pt x="202034" y="586776"/>
                  <a:pt x="213301" y="579885"/>
                </a:cubicBezTo>
                <a:cubicBezTo>
                  <a:pt x="218517" y="576695"/>
                  <a:pt x="224270" y="574393"/>
                  <a:pt x="229635" y="571429"/>
                </a:cubicBezTo>
                <a:cubicBezTo>
                  <a:pt x="232401" y="569901"/>
                  <a:pt x="235344" y="568225"/>
                  <a:pt x="237351" y="565882"/>
                </a:cubicBezTo>
                <a:cubicBezTo>
                  <a:pt x="243193" y="559063"/>
                  <a:pt x="242021" y="554779"/>
                  <a:pt x="233673" y="550926"/>
                </a:cubicBezTo>
                <a:cubicBezTo>
                  <a:pt x="231458" y="549904"/>
                  <a:pt x="229049" y="549314"/>
                  <a:pt x="226799" y="548359"/>
                </a:cubicBezTo>
                <a:cubicBezTo>
                  <a:pt x="215108" y="543398"/>
                  <a:pt x="211118" y="532802"/>
                  <a:pt x="218639" y="522664"/>
                </a:cubicBezTo>
                <a:cubicBezTo>
                  <a:pt x="223647" y="515913"/>
                  <a:pt x="222661" y="511633"/>
                  <a:pt x="218264" y="505463"/>
                </a:cubicBezTo>
                <a:cubicBezTo>
                  <a:pt x="203255" y="484407"/>
                  <a:pt x="190650" y="461993"/>
                  <a:pt x="181762" y="437574"/>
                </a:cubicBezTo>
                <a:cubicBezTo>
                  <a:pt x="163530" y="387483"/>
                  <a:pt x="165826" y="338057"/>
                  <a:pt x="185971" y="289069"/>
                </a:cubicBezTo>
                <a:cubicBezTo>
                  <a:pt x="202921" y="247851"/>
                  <a:pt x="226229" y="210377"/>
                  <a:pt x="253787" y="175580"/>
                </a:cubicBezTo>
                <a:cubicBezTo>
                  <a:pt x="271814" y="152817"/>
                  <a:pt x="290973" y="130951"/>
                  <a:pt x="309639" y="108695"/>
                </a:cubicBezTo>
                <a:cubicBezTo>
                  <a:pt x="312744" y="104993"/>
                  <a:pt x="315922" y="101352"/>
                  <a:pt x="318061" y="98855"/>
                </a:cubicBezTo>
                <a:cubicBezTo>
                  <a:pt x="313257" y="88362"/>
                  <a:pt x="308695" y="79376"/>
                  <a:pt x="304967" y="70056"/>
                </a:cubicBezTo>
                <a:cubicBezTo>
                  <a:pt x="297146" y="50504"/>
                  <a:pt x="303366" y="33481"/>
                  <a:pt x="317012" y="19436"/>
                </a:cubicBezTo>
                <a:cubicBezTo>
                  <a:pt x="344741" y="-9105"/>
                  <a:pt x="393463" y="-3345"/>
                  <a:pt x="415542" y="18221"/>
                </a:cubicBezTo>
                <a:cubicBezTo>
                  <a:pt x="429559" y="31914"/>
                  <a:pt x="438373" y="56968"/>
                  <a:pt x="423203" y="82660"/>
                </a:cubicBezTo>
                <a:cubicBezTo>
                  <a:pt x="420306" y="87568"/>
                  <a:pt x="417047" y="92262"/>
                  <a:pt x="413361" y="97975"/>
                </a:cubicBezTo>
                <a:cubicBezTo>
                  <a:pt x="416167" y="100932"/>
                  <a:pt x="418781" y="103940"/>
                  <a:pt x="421654" y="106676"/>
                </a:cubicBezTo>
                <a:cubicBezTo>
                  <a:pt x="446372" y="130213"/>
                  <a:pt x="467902" y="156374"/>
                  <a:pt x="487032" y="184632"/>
                </a:cubicBezTo>
                <a:cubicBezTo>
                  <a:pt x="492374" y="192525"/>
                  <a:pt x="493990" y="199495"/>
                  <a:pt x="489213" y="208238"/>
                </a:cubicBezTo>
                <a:cubicBezTo>
                  <a:pt x="484525" y="216819"/>
                  <a:pt x="481033" y="226053"/>
                  <a:pt x="476520" y="235738"/>
                </a:cubicBezTo>
                <a:cubicBezTo>
                  <a:pt x="472168" y="236089"/>
                  <a:pt x="471165" y="234358"/>
                  <a:pt x="472850" y="230703"/>
                </a:cubicBezTo>
                <a:cubicBezTo>
                  <a:pt x="476263" y="223297"/>
                  <a:pt x="479344" y="215738"/>
                  <a:pt x="482723" y="208315"/>
                </a:cubicBezTo>
                <a:cubicBezTo>
                  <a:pt x="486016" y="201080"/>
                  <a:pt x="485571" y="194961"/>
                  <a:pt x="480764" y="187916"/>
                </a:cubicBezTo>
                <a:cubicBezTo>
                  <a:pt x="459995" y="157475"/>
                  <a:pt x="437234" y="128912"/>
                  <a:pt x="408519" y="105475"/>
                </a:cubicBezTo>
                <a:cubicBezTo>
                  <a:pt x="403555" y="101425"/>
                  <a:pt x="403835" y="96489"/>
                  <a:pt x="408625" y="89203"/>
                </a:cubicBezTo>
                <a:cubicBezTo>
                  <a:pt x="412416" y="83438"/>
                  <a:pt x="416045" y="77562"/>
                  <a:pt x="419600" y="71648"/>
                </a:cubicBezTo>
                <a:cubicBezTo>
                  <a:pt x="421349" y="68739"/>
                  <a:pt x="422717" y="65537"/>
                  <a:pt x="418792" y="63179"/>
                </a:cubicBezTo>
                <a:cubicBezTo>
                  <a:pt x="414834" y="60801"/>
                  <a:pt x="413218" y="63883"/>
                  <a:pt x="410943" y="66417"/>
                </a:cubicBezTo>
                <a:cubicBezTo>
                  <a:pt x="407706" y="70022"/>
                  <a:pt x="404330" y="74045"/>
                  <a:pt x="400140" y="76155"/>
                </a:cubicBezTo>
                <a:cubicBezTo>
                  <a:pt x="381561" y="85507"/>
                  <a:pt x="360821" y="72312"/>
                  <a:pt x="360599" y="51379"/>
                </a:cubicBezTo>
                <a:cubicBezTo>
                  <a:pt x="360556" y="47292"/>
                  <a:pt x="360308" y="43152"/>
                  <a:pt x="360842" y="39128"/>
                </a:cubicBezTo>
                <a:cubicBezTo>
                  <a:pt x="361447" y="34568"/>
                  <a:pt x="362880" y="30159"/>
                  <a:pt x="369470" y="30960"/>
                </a:cubicBezTo>
                <a:cubicBezTo>
                  <a:pt x="368501" y="37551"/>
                  <a:pt x="365745" y="43300"/>
                  <a:pt x="365613" y="49108"/>
                </a:cubicBezTo>
                <a:cubicBezTo>
                  <a:pt x="365328" y="61659"/>
                  <a:pt x="377498" y="72522"/>
                  <a:pt x="389468" y="71608"/>
                </a:cubicBezTo>
                <a:cubicBezTo>
                  <a:pt x="401478" y="70690"/>
                  <a:pt x="410127" y="59637"/>
                  <a:pt x="408822" y="46613"/>
                </a:cubicBezTo>
                <a:cubicBezTo>
                  <a:pt x="408542" y="43819"/>
                  <a:pt x="407521" y="41100"/>
                  <a:pt x="406842" y="38347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31" name="Free-form: Shape 130">
            <a:extLst>
              <a:ext uri="{FF2B5EF4-FFF2-40B4-BE49-F238E27FC236}">
                <a16:creationId xmlns:a16="http://schemas.microsoft.com/office/drawing/2014/main" id="{0A2F34EC-0FB8-1193-10B5-43FE2A76BC41}"/>
              </a:ext>
            </a:extLst>
          </p:cNvPr>
          <p:cNvSpPr/>
          <p:nvPr/>
        </p:nvSpPr>
        <p:spPr>
          <a:xfrm>
            <a:off x="3161753" y="3341211"/>
            <a:ext cx="91545" cy="184495"/>
          </a:xfrm>
          <a:custGeom>
            <a:avLst/>
            <a:gdLst>
              <a:gd name="csX0" fmla="*/ 96534 w 100699"/>
              <a:gd name="csY0" fmla="*/ 202912 h 202945"/>
              <a:gd name="csX1" fmla="*/ 91036 w 100699"/>
              <a:gd name="csY1" fmla="*/ 196780 h 202945"/>
              <a:gd name="csX2" fmla="*/ 93357 w 100699"/>
              <a:gd name="csY2" fmla="*/ 178731 h 202945"/>
              <a:gd name="csX3" fmla="*/ 75903 w 100699"/>
              <a:gd name="csY3" fmla="*/ 106029 h 202945"/>
              <a:gd name="csX4" fmla="*/ 72780 w 100699"/>
              <a:gd name="csY4" fmla="*/ 102473 h 202945"/>
              <a:gd name="csX5" fmla="*/ 10982 w 100699"/>
              <a:gd name="csY5" fmla="*/ 41414 h 202945"/>
              <a:gd name="csX6" fmla="*/ 676 w 100699"/>
              <a:gd name="csY6" fmla="*/ 2936 h 202945"/>
              <a:gd name="csX7" fmla="*/ 5198 w 100699"/>
              <a:gd name="csY7" fmla="*/ 0 h 202945"/>
              <a:gd name="csX8" fmla="*/ 15435 w 100699"/>
              <a:gd name="csY8" fmla="*/ 35855 h 202945"/>
              <a:gd name="csX9" fmla="*/ 44498 w 100699"/>
              <a:gd name="csY9" fmla="*/ 63833 h 202945"/>
              <a:gd name="csX10" fmla="*/ 81385 w 100699"/>
              <a:gd name="csY10" fmla="*/ 106005 h 202945"/>
              <a:gd name="csX11" fmla="*/ 98950 w 100699"/>
              <a:gd name="csY11" fmla="*/ 190063 h 202945"/>
              <a:gd name="csX12" fmla="*/ 96534 w 100699"/>
              <a:gd name="csY12" fmla="*/ 202912 h 20294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</a:cxnLst>
            <a:rect l="l" t="t" r="r" b="b"/>
            <a:pathLst>
              <a:path w="100699" h="202945">
                <a:moveTo>
                  <a:pt x="96534" y="202912"/>
                </a:moveTo>
                <a:cubicBezTo>
                  <a:pt x="91699" y="203291"/>
                  <a:pt x="90650" y="200377"/>
                  <a:pt x="91036" y="196780"/>
                </a:cubicBezTo>
                <a:cubicBezTo>
                  <a:pt x="91685" y="190750"/>
                  <a:pt x="92933" y="184771"/>
                  <a:pt x="93357" y="178731"/>
                </a:cubicBezTo>
                <a:cubicBezTo>
                  <a:pt x="95183" y="152694"/>
                  <a:pt x="86034" y="129222"/>
                  <a:pt x="75903" y="106029"/>
                </a:cubicBezTo>
                <a:cubicBezTo>
                  <a:pt x="75300" y="104650"/>
                  <a:pt x="73904" y="103585"/>
                  <a:pt x="72780" y="102473"/>
                </a:cubicBezTo>
                <a:cubicBezTo>
                  <a:pt x="52199" y="82101"/>
                  <a:pt x="31673" y="61673"/>
                  <a:pt x="10982" y="41414"/>
                </a:cubicBezTo>
                <a:cubicBezTo>
                  <a:pt x="-119" y="30544"/>
                  <a:pt x="-1041" y="17093"/>
                  <a:pt x="676" y="2936"/>
                </a:cubicBezTo>
                <a:cubicBezTo>
                  <a:pt x="808" y="1852"/>
                  <a:pt x="2922" y="1010"/>
                  <a:pt x="5198" y="0"/>
                </a:cubicBezTo>
                <a:cubicBezTo>
                  <a:pt x="2043" y="13772"/>
                  <a:pt x="5665" y="25821"/>
                  <a:pt x="15435" y="35855"/>
                </a:cubicBezTo>
                <a:cubicBezTo>
                  <a:pt x="24811" y="45486"/>
                  <a:pt x="35301" y="54047"/>
                  <a:pt x="44498" y="63833"/>
                </a:cubicBezTo>
                <a:cubicBezTo>
                  <a:pt x="57293" y="77447"/>
                  <a:pt x="70760" y="90773"/>
                  <a:pt x="81385" y="106005"/>
                </a:cubicBezTo>
                <a:cubicBezTo>
                  <a:pt x="98896" y="131109"/>
                  <a:pt x="103759" y="159808"/>
                  <a:pt x="98950" y="190063"/>
                </a:cubicBezTo>
                <a:cubicBezTo>
                  <a:pt x="98311" y="194082"/>
                  <a:pt x="97697" y="198105"/>
                  <a:pt x="96534" y="202912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32" name="Free-form: Shape 131">
            <a:extLst>
              <a:ext uri="{FF2B5EF4-FFF2-40B4-BE49-F238E27FC236}">
                <a16:creationId xmlns:a16="http://schemas.microsoft.com/office/drawing/2014/main" id="{E0A2BAB6-388C-0389-F98D-988797FC8D9C}"/>
              </a:ext>
            </a:extLst>
          </p:cNvPr>
          <p:cNvSpPr/>
          <p:nvPr/>
        </p:nvSpPr>
        <p:spPr>
          <a:xfrm>
            <a:off x="2820469" y="2877175"/>
            <a:ext cx="3739" cy="60936"/>
          </a:xfrm>
          <a:custGeom>
            <a:avLst/>
            <a:gdLst>
              <a:gd name="csX0" fmla="*/ 0 w 4113"/>
              <a:gd name="csY0" fmla="*/ 0 h 67029"/>
              <a:gd name="csX1" fmla="*/ 4113 w 4113"/>
              <a:gd name="csY1" fmla="*/ 4824 h 67029"/>
              <a:gd name="csX2" fmla="*/ 2662 w 4113"/>
              <a:gd name="csY2" fmla="*/ 67030 h 67029"/>
              <a:gd name="csX3" fmla="*/ 631 w 4113"/>
              <a:gd name="csY3" fmla="*/ 55883 h 67029"/>
              <a:gd name="csX4" fmla="*/ 0 w 4113"/>
              <a:gd name="csY4" fmla="*/ 0 h 6702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4113" h="67029">
                <a:moveTo>
                  <a:pt x="0" y="0"/>
                </a:moveTo>
                <a:cubicBezTo>
                  <a:pt x="1242" y="855"/>
                  <a:pt x="4111" y="2838"/>
                  <a:pt x="4113" y="4824"/>
                </a:cubicBezTo>
                <a:cubicBezTo>
                  <a:pt x="4135" y="25317"/>
                  <a:pt x="3695" y="45810"/>
                  <a:pt x="2662" y="67030"/>
                </a:cubicBezTo>
                <a:cubicBezTo>
                  <a:pt x="1483" y="63799"/>
                  <a:pt x="680" y="59846"/>
                  <a:pt x="631" y="55883"/>
                </a:cubicBezTo>
                <a:cubicBezTo>
                  <a:pt x="404" y="37633"/>
                  <a:pt x="388" y="19381"/>
                  <a:pt x="0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33" name="Free-form: Shape 132">
            <a:extLst>
              <a:ext uri="{FF2B5EF4-FFF2-40B4-BE49-F238E27FC236}">
                <a16:creationId xmlns:a16="http://schemas.microsoft.com/office/drawing/2014/main" id="{7607F06D-9186-84F8-B4B2-DFD8AEF05F66}"/>
              </a:ext>
            </a:extLst>
          </p:cNvPr>
          <p:cNvSpPr/>
          <p:nvPr/>
        </p:nvSpPr>
        <p:spPr>
          <a:xfrm>
            <a:off x="3272858" y="3604975"/>
            <a:ext cx="1060" cy="5803"/>
          </a:xfrm>
          <a:custGeom>
            <a:avLst/>
            <a:gdLst>
              <a:gd name="csX0" fmla="*/ 1130 w 1165"/>
              <a:gd name="csY0" fmla="*/ 6385 h 6384"/>
              <a:gd name="csX1" fmla="*/ 49 w 1165"/>
              <a:gd name="csY1" fmla="*/ 0 h 6384"/>
              <a:gd name="csX2" fmla="*/ 1130 w 1165"/>
              <a:gd name="csY2" fmla="*/ 6385 h 638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165" h="6384">
                <a:moveTo>
                  <a:pt x="1130" y="6385"/>
                </a:moveTo>
                <a:cubicBezTo>
                  <a:pt x="260" y="4748"/>
                  <a:pt x="-149" y="2599"/>
                  <a:pt x="49" y="0"/>
                </a:cubicBezTo>
                <a:cubicBezTo>
                  <a:pt x="969" y="1658"/>
                  <a:pt x="1279" y="3765"/>
                  <a:pt x="1130" y="6385"/>
                </a:cubicBezTo>
                <a:close/>
              </a:path>
            </a:pathLst>
          </a:custGeom>
          <a:solidFill>
            <a:srgbClr val="939B9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34" name="Free-form: Shape 133">
            <a:extLst>
              <a:ext uri="{FF2B5EF4-FFF2-40B4-BE49-F238E27FC236}">
                <a16:creationId xmlns:a16="http://schemas.microsoft.com/office/drawing/2014/main" id="{DCE125E7-A72A-AC6F-D298-F0F388464CA8}"/>
              </a:ext>
            </a:extLst>
          </p:cNvPr>
          <p:cNvSpPr/>
          <p:nvPr/>
        </p:nvSpPr>
        <p:spPr>
          <a:xfrm>
            <a:off x="3243129" y="3530880"/>
            <a:ext cx="5440" cy="2491"/>
          </a:xfrm>
          <a:custGeom>
            <a:avLst/>
            <a:gdLst>
              <a:gd name="csX0" fmla="*/ 5985 w 5984"/>
              <a:gd name="csY0" fmla="*/ 1832 h 2740"/>
              <a:gd name="csX1" fmla="*/ 0 w 5984"/>
              <a:gd name="csY1" fmla="*/ 2740 h 2740"/>
              <a:gd name="csX2" fmla="*/ 4930 w 5984"/>
              <a:gd name="csY2" fmla="*/ 0 h 2740"/>
              <a:gd name="csX3" fmla="*/ 5985 w 5984"/>
              <a:gd name="csY3" fmla="*/ 1832 h 274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</a:cxnLst>
            <a:rect l="l" t="t" r="r" b="b"/>
            <a:pathLst>
              <a:path w="5984" h="2740">
                <a:moveTo>
                  <a:pt x="5985" y="1832"/>
                </a:moveTo>
                <a:cubicBezTo>
                  <a:pt x="3992" y="2553"/>
                  <a:pt x="1996" y="2646"/>
                  <a:pt x="0" y="2740"/>
                </a:cubicBezTo>
                <a:cubicBezTo>
                  <a:pt x="1398" y="1830"/>
                  <a:pt x="2796" y="920"/>
                  <a:pt x="4930" y="0"/>
                </a:cubicBezTo>
                <a:cubicBezTo>
                  <a:pt x="5772" y="394"/>
                  <a:pt x="5877" y="799"/>
                  <a:pt x="5985" y="1832"/>
                </a:cubicBezTo>
                <a:close/>
              </a:path>
            </a:pathLst>
          </a:custGeom>
          <a:solidFill>
            <a:srgbClr val="8E9395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35" name="Free-form: Shape 134">
            <a:extLst>
              <a:ext uri="{FF2B5EF4-FFF2-40B4-BE49-F238E27FC236}">
                <a16:creationId xmlns:a16="http://schemas.microsoft.com/office/drawing/2014/main" id="{5A39B933-54E8-B781-066F-033AC4E740C5}"/>
              </a:ext>
            </a:extLst>
          </p:cNvPr>
          <p:cNvSpPr/>
          <p:nvPr/>
        </p:nvSpPr>
        <p:spPr>
          <a:xfrm>
            <a:off x="2783242" y="2782995"/>
            <a:ext cx="2645" cy="5625"/>
          </a:xfrm>
          <a:custGeom>
            <a:avLst/>
            <a:gdLst>
              <a:gd name="csX0" fmla="*/ 815 w 2910"/>
              <a:gd name="csY0" fmla="*/ 0 h 6187"/>
              <a:gd name="csX1" fmla="*/ 113 w 2910"/>
              <a:gd name="csY1" fmla="*/ 6187 h 6187"/>
              <a:gd name="csX2" fmla="*/ 815 w 2910"/>
              <a:gd name="csY2" fmla="*/ 0 h 618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2910" h="6187">
                <a:moveTo>
                  <a:pt x="815" y="0"/>
                </a:moveTo>
                <a:cubicBezTo>
                  <a:pt x="4660" y="1891"/>
                  <a:pt x="2480" y="3840"/>
                  <a:pt x="113" y="6187"/>
                </a:cubicBezTo>
                <a:cubicBezTo>
                  <a:pt x="-172" y="4565"/>
                  <a:pt x="89" y="2579"/>
                  <a:pt x="815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36" name="Free-form: Shape 135">
            <a:extLst>
              <a:ext uri="{FF2B5EF4-FFF2-40B4-BE49-F238E27FC236}">
                <a16:creationId xmlns:a16="http://schemas.microsoft.com/office/drawing/2014/main" id="{7F9ACCE4-16F4-786E-F7E4-DF97017C3872}"/>
              </a:ext>
            </a:extLst>
          </p:cNvPr>
          <p:cNvSpPr/>
          <p:nvPr/>
        </p:nvSpPr>
        <p:spPr>
          <a:xfrm>
            <a:off x="2817657" y="2999569"/>
            <a:ext cx="770" cy="3664"/>
          </a:xfrm>
          <a:custGeom>
            <a:avLst/>
            <a:gdLst>
              <a:gd name="csX0" fmla="*/ 106 w 847"/>
              <a:gd name="csY0" fmla="*/ 0 h 4030"/>
              <a:gd name="csX1" fmla="*/ 732 w 847"/>
              <a:gd name="csY1" fmla="*/ 4031 h 4030"/>
              <a:gd name="csX2" fmla="*/ 106 w 847"/>
              <a:gd name="csY2" fmla="*/ 0 h 403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7" h="4030">
                <a:moveTo>
                  <a:pt x="106" y="0"/>
                </a:moveTo>
                <a:cubicBezTo>
                  <a:pt x="770" y="990"/>
                  <a:pt x="1013" y="2346"/>
                  <a:pt x="732" y="4031"/>
                </a:cubicBezTo>
                <a:cubicBezTo>
                  <a:pt x="34" y="3029"/>
                  <a:pt x="-141" y="1697"/>
                  <a:pt x="106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37" name="Free-form: Shape 136">
            <a:extLst>
              <a:ext uri="{FF2B5EF4-FFF2-40B4-BE49-F238E27FC236}">
                <a16:creationId xmlns:a16="http://schemas.microsoft.com/office/drawing/2014/main" id="{86062DD6-787F-BE6A-4550-0A86DDFFB47C}"/>
              </a:ext>
            </a:extLst>
          </p:cNvPr>
          <p:cNvSpPr/>
          <p:nvPr/>
        </p:nvSpPr>
        <p:spPr>
          <a:xfrm>
            <a:off x="2813333" y="3035363"/>
            <a:ext cx="703" cy="3631"/>
          </a:xfrm>
          <a:custGeom>
            <a:avLst/>
            <a:gdLst>
              <a:gd name="csX0" fmla="*/ 195 w 774"/>
              <a:gd name="csY0" fmla="*/ 0 h 3994"/>
              <a:gd name="csX1" fmla="*/ 575 w 774"/>
              <a:gd name="csY1" fmla="*/ 3994 h 3994"/>
              <a:gd name="csX2" fmla="*/ 195 w 774"/>
              <a:gd name="csY2" fmla="*/ 0 h 399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774" h="3994">
                <a:moveTo>
                  <a:pt x="195" y="0"/>
                </a:moveTo>
                <a:cubicBezTo>
                  <a:pt x="794" y="1011"/>
                  <a:pt x="941" y="2348"/>
                  <a:pt x="575" y="3994"/>
                </a:cubicBezTo>
                <a:cubicBezTo>
                  <a:pt x="-44" y="2978"/>
                  <a:pt x="-151" y="1652"/>
                  <a:pt x="195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38" name="Free-form: Shape 137">
            <a:extLst>
              <a:ext uri="{FF2B5EF4-FFF2-40B4-BE49-F238E27FC236}">
                <a16:creationId xmlns:a16="http://schemas.microsoft.com/office/drawing/2014/main" id="{DDFBE7A7-3D1E-4E57-F97A-9C106B2EC0EF}"/>
              </a:ext>
            </a:extLst>
          </p:cNvPr>
          <p:cNvSpPr/>
          <p:nvPr/>
        </p:nvSpPr>
        <p:spPr>
          <a:xfrm>
            <a:off x="2819910" y="2972759"/>
            <a:ext cx="787" cy="3631"/>
          </a:xfrm>
          <a:custGeom>
            <a:avLst/>
            <a:gdLst>
              <a:gd name="csX0" fmla="*/ 71 w 865"/>
              <a:gd name="csY0" fmla="*/ 0 h 3995"/>
              <a:gd name="csX1" fmla="*/ 783 w 865"/>
              <a:gd name="csY1" fmla="*/ 3996 h 3995"/>
              <a:gd name="csX2" fmla="*/ 71 w 865"/>
              <a:gd name="csY2" fmla="*/ 0 h 399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65" h="3995">
                <a:moveTo>
                  <a:pt x="71" y="0"/>
                </a:moveTo>
                <a:cubicBezTo>
                  <a:pt x="740" y="963"/>
                  <a:pt x="1018" y="2311"/>
                  <a:pt x="783" y="3996"/>
                </a:cubicBezTo>
                <a:cubicBezTo>
                  <a:pt x="73" y="3017"/>
                  <a:pt x="-124" y="1701"/>
                  <a:pt x="71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39" name="Free-form: Shape 138">
            <a:extLst>
              <a:ext uri="{FF2B5EF4-FFF2-40B4-BE49-F238E27FC236}">
                <a16:creationId xmlns:a16="http://schemas.microsoft.com/office/drawing/2014/main" id="{9D0F6617-006E-7C89-7C2E-34D6CA170632}"/>
              </a:ext>
            </a:extLst>
          </p:cNvPr>
          <p:cNvSpPr/>
          <p:nvPr/>
        </p:nvSpPr>
        <p:spPr>
          <a:xfrm>
            <a:off x="2938214" y="2876785"/>
            <a:ext cx="170236" cy="426821"/>
          </a:xfrm>
          <a:custGeom>
            <a:avLst/>
            <a:gdLst>
              <a:gd name="csX0" fmla="*/ 120604 w 187260"/>
              <a:gd name="csY0" fmla="*/ 222968 h 469503"/>
              <a:gd name="csX1" fmla="*/ 187261 w 187260"/>
              <a:gd name="csY1" fmla="*/ 469503 h 469503"/>
              <a:gd name="csX2" fmla="*/ 1253 w 187260"/>
              <a:gd name="csY2" fmla="*/ 466078 h 469503"/>
              <a:gd name="csX3" fmla="*/ 8 w 187260"/>
              <a:gd name="csY3" fmla="*/ 458101 h 469503"/>
              <a:gd name="csX4" fmla="*/ 4383 w 187260"/>
              <a:gd name="csY4" fmla="*/ 351443 h 469503"/>
              <a:gd name="csX5" fmla="*/ 4615 w 187260"/>
              <a:gd name="csY5" fmla="*/ 346536 h 469503"/>
              <a:gd name="csX6" fmla="*/ 7935 w 187260"/>
              <a:gd name="csY6" fmla="*/ 233648 h 469503"/>
              <a:gd name="csX7" fmla="*/ 10461 w 187260"/>
              <a:gd name="csY7" fmla="*/ 128112 h 469503"/>
              <a:gd name="csX8" fmla="*/ 12461 w 187260"/>
              <a:gd name="csY8" fmla="*/ 12750 h 469503"/>
              <a:gd name="csX9" fmla="*/ 13165 w 187260"/>
              <a:gd name="csY9" fmla="*/ 4285 h 469503"/>
              <a:gd name="csX10" fmla="*/ 102327 w 187260"/>
              <a:gd name="csY10" fmla="*/ 0 h 469503"/>
              <a:gd name="csX11" fmla="*/ 106229 w 187260"/>
              <a:gd name="csY11" fmla="*/ 111321 h 469503"/>
              <a:gd name="csX12" fmla="*/ 120604 w 187260"/>
              <a:gd name="csY12" fmla="*/ 222968 h 46950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</a:cxnLst>
            <a:rect l="l" t="t" r="r" b="b"/>
            <a:pathLst>
              <a:path w="187260" h="469503">
                <a:moveTo>
                  <a:pt x="120604" y="222968"/>
                </a:moveTo>
                <a:cubicBezTo>
                  <a:pt x="135383" y="307129"/>
                  <a:pt x="159464" y="387725"/>
                  <a:pt x="187261" y="469503"/>
                </a:cubicBezTo>
                <a:cubicBezTo>
                  <a:pt x="124460" y="468347"/>
                  <a:pt x="63286" y="467220"/>
                  <a:pt x="1253" y="466078"/>
                </a:cubicBezTo>
                <a:cubicBezTo>
                  <a:pt x="818" y="463442"/>
                  <a:pt x="-95" y="460752"/>
                  <a:pt x="8" y="458101"/>
                </a:cubicBezTo>
                <a:cubicBezTo>
                  <a:pt x="1383" y="422545"/>
                  <a:pt x="2900" y="386994"/>
                  <a:pt x="4383" y="351443"/>
                </a:cubicBezTo>
                <a:cubicBezTo>
                  <a:pt x="4451" y="349807"/>
                  <a:pt x="4566" y="348172"/>
                  <a:pt x="4615" y="346536"/>
                </a:cubicBezTo>
                <a:cubicBezTo>
                  <a:pt x="5732" y="308907"/>
                  <a:pt x="6921" y="271280"/>
                  <a:pt x="7935" y="233648"/>
                </a:cubicBezTo>
                <a:cubicBezTo>
                  <a:pt x="8883" y="198472"/>
                  <a:pt x="9752" y="163293"/>
                  <a:pt x="10461" y="128112"/>
                </a:cubicBezTo>
                <a:cubicBezTo>
                  <a:pt x="11237" y="89660"/>
                  <a:pt x="11781" y="51204"/>
                  <a:pt x="12461" y="12750"/>
                </a:cubicBezTo>
                <a:cubicBezTo>
                  <a:pt x="12503" y="10363"/>
                  <a:pt x="12848" y="7981"/>
                  <a:pt x="13165" y="4285"/>
                </a:cubicBezTo>
                <a:cubicBezTo>
                  <a:pt x="42856" y="2858"/>
                  <a:pt x="72082" y="1454"/>
                  <a:pt x="102327" y="0"/>
                </a:cubicBezTo>
                <a:cubicBezTo>
                  <a:pt x="103499" y="37348"/>
                  <a:pt x="103207" y="74470"/>
                  <a:pt x="106229" y="111321"/>
                </a:cubicBezTo>
                <a:cubicBezTo>
                  <a:pt x="109263" y="148326"/>
                  <a:pt x="115599" y="185060"/>
                  <a:pt x="120604" y="222968"/>
                </a:cubicBezTo>
                <a:close/>
              </a:path>
            </a:pathLst>
          </a:custGeom>
          <a:solidFill>
            <a:srgbClr val="FDFDFD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40" name="Free-form: Shape 139">
            <a:extLst>
              <a:ext uri="{FF2B5EF4-FFF2-40B4-BE49-F238E27FC236}">
                <a16:creationId xmlns:a16="http://schemas.microsoft.com/office/drawing/2014/main" id="{60AD85AA-24D3-B07D-F051-E8C6F1F50A34}"/>
              </a:ext>
            </a:extLst>
          </p:cNvPr>
          <p:cNvSpPr/>
          <p:nvPr/>
        </p:nvSpPr>
        <p:spPr>
          <a:xfrm>
            <a:off x="2937021" y="3343537"/>
            <a:ext cx="284824" cy="179974"/>
          </a:xfrm>
          <a:custGeom>
            <a:avLst/>
            <a:gdLst>
              <a:gd name="csX0" fmla="*/ 160234 w 313306"/>
              <a:gd name="csY0" fmla="*/ 197876 h 197971"/>
              <a:gd name="csX1" fmla="*/ 544 w 313306"/>
              <a:gd name="csY1" fmla="*/ 197972 h 197971"/>
              <a:gd name="csX2" fmla="*/ 3466 w 313306"/>
              <a:gd name="csY2" fmla="*/ 104326 h 197971"/>
              <a:gd name="csX3" fmla="*/ 0 w 313306"/>
              <a:gd name="csY3" fmla="*/ 10720 h 197971"/>
              <a:gd name="csX4" fmla="*/ 5445 w 313306"/>
              <a:gd name="csY4" fmla="*/ 9282 h 197971"/>
              <a:gd name="csX5" fmla="*/ 71623 w 313306"/>
              <a:gd name="csY5" fmla="*/ 6885 h 197971"/>
              <a:gd name="csX6" fmla="*/ 187887 w 313306"/>
              <a:gd name="csY6" fmla="*/ 233 h 197971"/>
              <a:gd name="csX7" fmla="*/ 215297 w 313306"/>
              <a:gd name="csY7" fmla="*/ 163 h 197971"/>
              <a:gd name="csX8" fmla="*/ 243629 w 313306"/>
              <a:gd name="csY8" fmla="*/ 61389 h 197971"/>
              <a:gd name="csX9" fmla="*/ 270660 w 313306"/>
              <a:gd name="csY9" fmla="*/ 86342 h 197971"/>
              <a:gd name="csX10" fmla="*/ 313142 w 313306"/>
              <a:gd name="csY10" fmla="*/ 170098 h 197971"/>
              <a:gd name="csX11" fmla="*/ 313291 w 313306"/>
              <a:gd name="csY11" fmla="*/ 176231 h 197971"/>
              <a:gd name="csX12" fmla="*/ 312654 w 313306"/>
              <a:gd name="csY12" fmla="*/ 180738 h 197971"/>
              <a:gd name="csX13" fmla="*/ 279655 w 313306"/>
              <a:gd name="csY13" fmla="*/ 186226 h 197971"/>
              <a:gd name="csX14" fmla="*/ 167436 w 313306"/>
              <a:gd name="csY14" fmla="*/ 196805 h 197971"/>
              <a:gd name="csX15" fmla="*/ 160234 w 313306"/>
              <a:gd name="csY15" fmla="*/ 197876 h 19797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</a:cxnLst>
            <a:rect l="l" t="t" r="r" b="b"/>
            <a:pathLst>
              <a:path w="313306" h="197971">
                <a:moveTo>
                  <a:pt x="160234" y="197876"/>
                </a:moveTo>
                <a:cubicBezTo>
                  <a:pt x="106384" y="197972"/>
                  <a:pt x="53682" y="197972"/>
                  <a:pt x="544" y="197972"/>
                </a:cubicBezTo>
                <a:cubicBezTo>
                  <a:pt x="1602" y="166763"/>
                  <a:pt x="3550" y="135542"/>
                  <a:pt x="3466" y="104326"/>
                </a:cubicBezTo>
                <a:cubicBezTo>
                  <a:pt x="3383" y="73323"/>
                  <a:pt x="1255" y="42326"/>
                  <a:pt x="0" y="10720"/>
                </a:cubicBezTo>
                <a:cubicBezTo>
                  <a:pt x="1689" y="10255"/>
                  <a:pt x="3551" y="9355"/>
                  <a:pt x="5445" y="9282"/>
                </a:cubicBezTo>
                <a:cubicBezTo>
                  <a:pt x="27503" y="8435"/>
                  <a:pt x="49582" y="8030"/>
                  <a:pt x="71623" y="6885"/>
                </a:cubicBezTo>
                <a:cubicBezTo>
                  <a:pt x="110388" y="4872"/>
                  <a:pt x="149126" y="2333"/>
                  <a:pt x="187887" y="233"/>
                </a:cubicBezTo>
                <a:cubicBezTo>
                  <a:pt x="196749" y="-247"/>
                  <a:pt x="205660" y="163"/>
                  <a:pt x="215297" y="163"/>
                </a:cubicBezTo>
                <a:cubicBezTo>
                  <a:pt x="215450" y="25550"/>
                  <a:pt x="226120" y="45122"/>
                  <a:pt x="243629" y="61389"/>
                </a:cubicBezTo>
                <a:cubicBezTo>
                  <a:pt x="252615" y="69739"/>
                  <a:pt x="261099" y="78715"/>
                  <a:pt x="270660" y="86342"/>
                </a:cubicBezTo>
                <a:cubicBezTo>
                  <a:pt x="297676" y="107892"/>
                  <a:pt x="310731" y="136225"/>
                  <a:pt x="313142" y="170098"/>
                </a:cubicBezTo>
                <a:cubicBezTo>
                  <a:pt x="313287" y="172136"/>
                  <a:pt x="313335" y="174188"/>
                  <a:pt x="313291" y="176231"/>
                </a:cubicBezTo>
                <a:cubicBezTo>
                  <a:pt x="313265" y="177429"/>
                  <a:pt x="312966" y="178621"/>
                  <a:pt x="312654" y="180738"/>
                </a:cubicBezTo>
                <a:cubicBezTo>
                  <a:pt x="302343" y="185396"/>
                  <a:pt x="290736" y="185049"/>
                  <a:pt x="279655" y="186226"/>
                </a:cubicBezTo>
                <a:cubicBezTo>
                  <a:pt x="242295" y="190193"/>
                  <a:pt x="204847" y="193324"/>
                  <a:pt x="167436" y="196805"/>
                </a:cubicBezTo>
                <a:cubicBezTo>
                  <a:pt x="165405" y="196994"/>
                  <a:pt x="163399" y="197449"/>
                  <a:pt x="160234" y="197876"/>
                </a:cubicBezTo>
                <a:close/>
              </a:path>
            </a:pathLst>
          </a:custGeom>
          <a:solidFill>
            <a:srgbClr val="FDFEFE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41" name="Free-form: Shape 140">
            <a:extLst>
              <a:ext uri="{FF2B5EF4-FFF2-40B4-BE49-F238E27FC236}">
                <a16:creationId xmlns:a16="http://schemas.microsoft.com/office/drawing/2014/main" id="{7CF22813-4099-5EC9-2271-60FEEFD154DB}"/>
              </a:ext>
            </a:extLst>
          </p:cNvPr>
          <p:cNvSpPr/>
          <p:nvPr/>
        </p:nvSpPr>
        <p:spPr>
          <a:xfrm>
            <a:off x="2947764" y="2326953"/>
            <a:ext cx="149260" cy="361842"/>
          </a:xfrm>
          <a:custGeom>
            <a:avLst/>
            <a:gdLst>
              <a:gd name="csX0" fmla="*/ 22609 w 164186"/>
              <a:gd name="csY0" fmla="*/ 398026 h 398026"/>
              <a:gd name="csX1" fmla="*/ 16884 w 164186"/>
              <a:gd name="csY1" fmla="*/ 390515 h 398026"/>
              <a:gd name="csX2" fmla="*/ 9661 w 164186"/>
              <a:gd name="csY2" fmla="*/ 328443 h 398026"/>
              <a:gd name="csX3" fmla="*/ 534 w 164186"/>
              <a:gd name="csY3" fmla="*/ 196369 h 398026"/>
              <a:gd name="csX4" fmla="*/ 1243 w 164186"/>
              <a:gd name="csY4" fmla="*/ 82293 h 398026"/>
              <a:gd name="csX5" fmla="*/ 2245 w 164186"/>
              <a:gd name="csY5" fmla="*/ 43023 h 398026"/>
              <a:gd name="csX6" fmla="*/ 4587 w 164186"/>
              <a:gd name="csY6" fmla="*/ 0 h 398026"/>
              <a:gd name="csX7" fmla="*/ 12341 w 164186"/>
              <a:gd name="csY7" fmla="*/ 3872 h 398026"/>
              <a:gd name="csX8" fmla="*/ 85914 w 164186"/>
              <a:gd name="csY8" fmla="*/ 78943 h 398026"/>
              <a:gd name="csX9" fmla="*/ 87893 w 164186"/>
              <a:gd name="csY9" fmla="*/ 99117 h 398026"/>
              <a:gd name="csX10" fmla="*/ 35459 w 164186"/>
              <a:gd name="csY10" fmla="*/ 207346 h 398026"/>
              <a:gd name="csX11" fmla="*/ 32223 w 164186"/>
              <a:gd name="csY11" fmla="*/ 213959 h 398026"/>
              <a:gd name="csX12" fmla="*/ 39509 w 164186"/>
              <a:gd name="csY12" fmla="*/ 242056 h 398026"/>
              <a:gd name="csX13" fmla="*/ 69474 w 164186"/>
              <a:gd name="csY13" fmla="*/ 237019 h 398026"/>
              <a:gd name="csX14" fmla="*/ 89101 w 164186"/>
              <a:gd name="csY14" fmla="*/ 208870 h 398026"/>
              <a:gd name="csX15" fmla="*/ 121716 w 164186"/>
              <a:gd name="csY15" fmla="*/ 158357 h 398026"/>
              <a:gd name="csX16" fmla="*/ 129330 w 164186"/>
              <a:gd name="csY16" fmla="*/ 148165 h 398026"/>
              <a:gd name="csX17" fmla="*/ 137171 w 164186"/>
              <a:gd name="csY17" fmla="*/ 159989 h 398026"/>
              <a:gd name="csX18" fmla="*/ 163812 w 164186"/>
              <a:gd name="csY18" fmla="*/ 273175 h 398026"/>
              <a:gd name="csX19" fmla="*/ 118151 w 164186"/>
              <a:gd name="csY19" fmla="*/ 383442 h 398026"/>
              <a:gd name="csX20" fmla="*/ 92325 w 164186"/>
              <a:gd name="csY20" fmla="*/ 395173 h 398026"/>
              <a:gd name="csX21" fmla="*/ 22609 w 164186"/>
              <a:gd name="csY21" fmla="*/ 398026 h 39802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</a:cxnLst>
            <a:rect l="l" t="t" r="r" b="b"/>
            <a:pathLst>
              <a:path w="164186" h="398026">
                <a:moveTo>
                  <a:pt x="22609" y="398026"/>
                </a:moveTo>
                <a:cubicBezTo>
                  <a:pt x="19898" y="395489"/>
                  <a:pt x="17229" y="393154"/>
                  <a:pt x="16884" y="390515"/>
                </a:cubicBezTo>
                <a:cubicBezTo>
                  <a:pt x="14183" y="369861"/>
                  <a:pt x="11326" y="349196"/>
                  <a:pt x="9661" y="328443"/>
                </a:cubicBezTo>
                <a:cubicBezTo>
                  <a:pt x="6132" y="284452"/>
                  <a:pt x="2125" y="240448"/>
                  <a:pt x="534" y="196369"/>
                </a:cubicBezTo>
                <a:cubicBezTo>
                  <a:pt x="-837" y="158401"/>
                  <a:pt x="816" y="120322"/>
                  <a:pt x="1243" y="82293"/>
                </a:cubicBezTo>
                <a:cubicBezTo>
                  <a:pt x="1389" y="69201"/>
                  <a:pt x="1708" y="56105"/>
                  <a:pt x="2245" y="43023"/>
                </a:cubicBezTo>
                <a:cubicBezTo>
                  <a:pt x="2815" y="29160"/>
                  <a:pt x="3738" y="15312"/>
                  <a:pt x="4587" y="0"/>
                </a:cubicBezTo>
                <a:cubicBezTo>
                  <a:pt x="7809" y="1586"/>
                  <a:pt x="10279" y="2436"/>
                  <a:pt x="12341" y="3872"/>
                </a:cubicBezTo>
                <a:cubicBezTo>
                  <a:pt x="41601" y="24248"/>
                  <a:pt x="64069" y="51269"/>
                  <a:pt x="85914" y="78943"/>
                </a:cubicBezTo>
                <a:cubicBezTo>
                  <a:pt x="91106" y="85520"/>
                  <a:pt x="91706" y="91406"/>
                  <a:pt x="87893" y="99117"/>
                </a:cubicBezTo>
                <a:cubicBezTo>
                  <a:pt x="70127" y="135051"/>
                  <a:pt x="52890" y="171246"/>
                  <a:pt x="35459" y="207346"/>
                </a:cubicBezTo>
                <a:cubicBezTo>
                  <a:pt x="34391" y="209557"/>
                  <a:pt x="33130" y="211686"/>
                  <a:pt x="32223" y="213959"/>
                </a:cubicBezTo>
                <a:cubicBezTo>
                  <a:pt x="27471" y="225873"/>
                  <a:pt x="30154" y="236086"/>
                  <a:pt x="39509" y="242056"/>
                </a:cubicBezTo>
                <a:cubicBezTo>
                  <a:pt x="48880" y="248038"/>
                  <a:pt x="61705" y="246477"/>
                  <a:pt x="69474" y="237019"/>
                </a:cubicBezTo>
                <a:cubicBezTo>
                  <a:pt x="76712" y="228205"/>
                  <a:pt x="82824" y="218436"/>
                  <a:pt x="89101" y="208870"/>
                </a:cubicBezTo>
                <a:cubicBezTo>
                  <a:pt x="100096" y="192114"/>
                  <a:pt x="110806" y="175170"/>
                  <a:pt x="121716" y="158357"/>
                </a:cubicBezTo>
                <a:cubicBezTo>
                  <a:pt x="123679" y="155333"/>
                  <a:pt x="126029" y="152559"/>
                  <a:pt x="129330" y="148165"/>
                </a:cubicBezTo>
                <a:cubicBezTo>
                  <a:pt x="132450" y="152828"/>
                  <a:pt x="135175" y="156216"/>
                  <a:pt x="137171" y="159989"/>
                </a:cubicBezTo>
                <a:cubicBezTo>
                  <a:pt x="155891" y="195388"/>
                  <a:pt x="166343" y="232905"/>
                  <a:pt x="163812" y="273175"/>
                </a:cubicBezTo>
                <a:cubicBezTo>
                  <a:pt x="161183" y="314982"/>
                  <a:pt x="144984" y="351430"/>
                  <a:pt x="118151" y="383442"/>
                </a:cubicBezTo>
                <a:cubicBezTo>
                  <a:pt x="111214" y="391718"/>
                  <a:pt x="102452" y="394716"/>
                  <a:pt x="92325" y="395173"/>
                </a:cubicBezTo>
                <a:cubicBezTo>
                  <a:pt x="69461" y="396207"/>
                  <a:pt x="46593" y="397123"/>
                  <a:pt x="22609" y="398026"/>
                </a:cubicBezTo>
                <a:close/>
              </a:path>
            </a:pathLst>
          </a:custGeom>
          <a:solidFill>
            <a:srgbClr val="FCFDFD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42" name="Free-form: Shape 141">
            <a:extLst>
              <a:ext uri="{FF2B5EF4-FFF2-40B4-BE49-F238E27FC236}">
                <a16:creationId xmlns:a16="http://schemas.microsoft.com/office/drawing/2014/main" id="{E8E1836B-65BD-0B42-EDEA-FF4802228364}"/>
              </a:ext>
            </a:extLst>
          </p:cNvPr>
          <p:cNvSpPr/>
          <p:nvPr/>
        </p:nvSpPr>
        <p:spPr>
          <a:xfrm>
            <a:off x="2933657" y="3552744"/>
            <a:ext cx="305850" cy="64961"/>
          </a:xfrm>
          <a:custGeom>
            <a:avLst/>
            <a:gdLst>
              <a:gd name="csX0" fmla="*/ 105937 w 336434"/>
              <a:gd name="csY0" fmla="*/ 71458 h 71457"/>
              <a:gd name="csX1" fmla="*/ 3534 w 336434"/>
              <a:gd name="csY1" fmla="*/ 69115 h 71457"/>
              <a:gd name="csX2" fmla="*/ 1296 w 336434"/>
              <a:gd name="csY2" fmla="*/ 17910 h 71457"/>
              <a:gd name="csX3" fmla="*/ 14032 w 336434"/>
              <a:gd name="csY3" fmla="*/ 17908 h 71457"/>
              <a:gd name="csX4" fmla="*/ 102444 w 336434"/>
              <a:gd name="csY4" fmla="*/ 17433 h 71457"/>
              <a:gd name="csX5" fmla="*/ 284561 w 336434"/>
              <a:gd name="csY5" fmla="*/ 3564 h 71457"/>
              <a:gd name="csX6" fmla="*/ 311323 w 336434"/>
              <a:gd name="csY6" fmla="*/ 224 h 71457"/>
              <a:gd name="csX7" fmla="*/ 324313 w 336434"/>
              <a:gd name="csY7" fmla="*/ 6639 h 71457"/>
              <a:gd name="csX8" fmla="*/ 336434 w 336434"/>
              <a:gd name="csY8" fmla="*/ 46484 h 71457"/>
              <a:gd name="csX9" fmla="*/ 105937 w 336434"/>
              <a:gd name="csY9" fmla="*/ 71458 h 7145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336434" h="71457">
                <a:moveTo>
                  <a:pt x="105937" y="71458"/>
                </a:moveTo>
                <a:cubicBezTo>
                  <a:pt x="70820" y="70678"/>
                  <a:pt x="36930" y="69891"/>
                  <a:pt x="3534" y="69115"/>
                </a:cubicBezTo>
                <a:cubicBezTo>
                  <a:pt x="-81" y="59433"/>
                  <a:pt x="-1094" y="35337"/>
                  <a:pt x="1296" y="17910"/>
                </a:cubicBezTo>
                <a:cubicBezTo>
                  <a:pt x="5366" y="17910"/>
                  <a:pt x="9699" y="17923"/>
                  <a:pt x="14032" y="17908"/>
                </a:cubicBezTo>
                <a:cubicBezTo>
                  <a:pt x="43505" y="17812"/>
                  <a:pt x="73011" y="18557"/>
                  <a:pt x="102444" y="17433"/>
                </a:cubicBezTo>
                <a:cubicBezTo>
                  <a:pt x="163306" y="15109"/>
                  <a:pt x="224166" y="12264"/>
                  <a:pt x="284561" y="3564"/>
                </a:cubicBezTo>
                <a:cubicBezTo>
                  <a:pt x="293458" y="2283"/>
                  <a:pt x="302438" y="1575"/>
                  <a:pt x="311323" y="224"/>
                </a:cubicBezTo>
                <a:cubicBezTo>
                  <a:pt x="317371" y="-696"/>
                  <a:pt x="321247" y="1177"/>
                  <a:pt x="324313" y="6639"/>
                </a:cubicBezTo>
                <a:cubicBezTo>
                  <a:pt x="330512" y="17683"/>
                  <a:pt x="335236" y="31679"/>
                  <a:pt x="336434" y="46484"/>
                </a:cubicBezTo>
                <a:cubicBezTo>
                  <a:pt x="261124" y="64059"/>
                  <a:pt x="184356" y="69587"/>
                  <a:pt x="105937" y="71458"/>
                </a:cubicBezTo>
                <a:close/>
              </a:path>
            </a:pathLst>
          </a:custGeom>
          <a:solidFill>
            <a:srgbClr val="FCFCFC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43" name="Free-form: Shape 142">
            <a:extLst>
              <a:ext uri="{FF2B5EF4-FFF2-40B4-BE49-F238E27FC236}">
                <a16:creationId xmlns:a16="http://schemas.microsoft.com/office/drawing/2014/main" id="{7CA2FAA7-9474-5B09-DE8B-F4B5202D0747}"/>
              </a:ext>
            </a:extLst>
          </p:cNvPr>
          <p:cNvSpPr/>
          <p:nvPr/>
        </p:nvSpPr>
        <p:spPr>
          <a:xfrm>
            <a:off x="2947214" y="2722020"/>
            <a:ext cx="120683" cy="63097"/>
          </a:xfrm>
          <a:custGeom>
            <a:avLst/>
            <a:gdLst>
              <a:gd name="csX0" fmla="*/ 5051 w 132751"/>
              <a:gd name="csY0" fmla="*/ 7534 h 69406"/>
              <a:gd name="csX1" fmla="*/ 10615 w 132751"/>
              <a:gd name="csY1" fmla="*/ 3077 h 69406"/>
              <a:gd name="csX2" fmla="*/ 26541 w 132751"/>
              <a:gd name="csY2" fmla="*/ 2752 h 69406"/>
              <a:gd name="csX3" fmla="*/ 87728 w 132751"/>
              <a:gd name="csY3" fmla="*/ 89 h 69406"/>
              <a:gd name="csX4" fmla="*/ 101400 w 132751"/>
              <a:gd name="csY4" fmla="*/ 62 h 69406"/>
              <a:gd name="csX5" fmla="*/ 102924 w 132751"/>
              <a:gd name="csY5" fmla="*/ 4800 h 69406"/>
              <a:gd name="csX6" fmla="*/ 121469 w 132751"/>
              <a:gd name="csY6" fmla="*/ 43062 h 69406"/>
              <a:gd name="csX7" fmla="*/ 132751 w 132751"/>
              <a:gd name="csY7" fmla="*/ 65240 h 69406"/>
              <a:gd name="csX8" fmla="*/ 0 w 132751"/>
              <a:gd name="csY8" fmla="*/ 69406 h 69406"/>
              <a:gd name="csX9" fmla="*/ 5051 w 132751"/>
              <a:gd name="csY9" fmla="*/ 7534 h 6940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132751" h="69406">
                <a:moveTo>
                  <a:pt x="5051" y="7534"/>
                </a:moveTo>
                <a:cubicBezTo>
                  <a:pt x="6880" y="5272"/>
                  <a:pt x="8659" y="3268"/>
                  <a:pt x="10615" y="3077"/>
                </a:cubicBezTo>
                <a:cubicBezTo>
                  <a:pt x="15884" y="2564"/>
                  <a:pt x="21234" y="2972"/>
                  <a:pt x="26541" y="2752"/>
                </a:cubicBezTo>
                <a:cubicBezTo>
                  <a:pt x="46938" y="1911"/>
                  <a:pt x="67330" y="933"/>
                  <a:pt x="87728" y="89"/>
                </a:cubicBezTo>
                <a:cubicBezTo>
                  <a:pt x="92161" y="-94"/>
                  <a:pt x="96609" y="62"/>
                  <a:pt x="101400" y="62"/>
                </a:cubicBezTo>
                <a:cubicBezTo>
                  <a:pt x="101991" y="1827"/>
                  <a:pt x="102885" y="3302"/>
                  <a:pt x="102924" y="4800"/>
                </a:cubicBezTo>
                <a:cubicBezTo>
                  <a:pt x="103334" y="20376"/>
                  <a:pt x="108815" y="33165"/>
                  <a:pt x="121469" y="43062"/>
                </a:cubicBezTo>
                <a:cubicBezTo>
                  <a:pt x="127809" y="48021"/>
                  <a:pt x="132509" y="54869"/>
                  <a:pt x="132751" y="65240"/>
                </a:cubicBezTo>
                <a:cubicBezTo>
                  <a:pt x="88663" y="66624"/>
                  <a:pt x="45259" y="67986"/>
                  <a:pt x="0" y="69406"/>
                </a:cubicBezTo>
                <a:cubicBezTo>
                  <a:pt x="6474" y="48167"/>
                  <a:pt x="10658" y="28665"/>
                  <a:pt x="5051" y="7534"/>
                </a:cubicBezTo>
                <a:close/>
              </a:path>
            </a:pathLst>
          </a:custGeom>
          <a:solidFill>
            <a:srgbClr val="FBFCFB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44" name="Free-form: Shape 143">
            <a:extLst>
              <a:ext uri="{FF2B5EF4-FFF2-40B4-BE49-F238E27FC236}">
                <a16:creationId xmlns:a16="http://schemas.microsoft.com/office/drawing/2014/main" id="{F552AFD4-9F94-9C0E-B6C2-85A215102B7C}"/>
              </a:ext>
            </a:extLst>
          </p:cNvPr>
          <p:cNvSpPr/>
          <p:nvPr/>
        </p:nvSpPr>
        <p:spPr>
          <a:xfrm>
            <a:off x="2956851" y="2811634"/>
            <a:ext cx="150878" cy="35402"/>
          </a:xfrm>
          <a:custGeom>
            <a:avLst/>
            <a:gdLst>
              <a:gd name="csX0" fmla="*/ 80894 w 165965"/>
              <a:gd name="csY0" fmla="*/ 440 h 38942"/>
              <a:gd name="csX1" fmla="*/ 128629 w 165965"/>
              <a:gd name="csY1" fmla="*/ 5 h 38942"/>
              <a:gd name="csX2" fmla="*/ 155177 w 165965"/>
              <a:gd name="csY2" fmla="*/ 8091 h 38942"/>
              <a:gd name="csX3" fmla="*/ 164213 w 165965"/>
              <a:gd name="csY3" fmla="*/ 17723 h 38942"/>
              <a:gd name="csX4" fmla="*/ 159998 w 165965"/>
              <a:gd name="csY4" fmla="*/ 30717 h 38942"/>
              <a:gd name="csX5" fmla="*/ 146998 w 165965"/>
              <a:gd name="csY5" fmla="*/ 33737 h 38942"/>
              <a:gd name="csX6" fmla="*/ 12439 w 165965"/>
              <a:gd name="csY6" fmla="*/ 38914 h 38942"/>
              <a:gd name="csX7" fmla="*/ 0 w 165965"/>
              <a:gd name="csY7" fmla="*/ 38402 h 38942"/>
              <a:gd name="csX8" fmla="*/ 0 w 165965"/>
              <a:gd name="csY8" fmla="*/ 4598 h 38942"/>
              <a:gd name="csX9" fmla="*/ 80894 w 165965"/>
              <a:gd name="csY9" fmla="*/ 440 h 3894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165965" h="38942">
                <a:moveTo>
                  <a:pt x="80894" y="440"/>
                </a:moveTo>
                <a:cubicBezTo>
                  <a:pt x="97591" y="288"/>
                  <a:pt x="113111" y="227"/>
                  <a:pt x="128629" y="5"/>
                </a:cubicBezTo>
                <a:cubicBezTo>
                  <a:pt x="138376" y="-135"/>
                  <a:pt x="147226" y="2891"/>
                  <a:pt x="155177" y="8091"/>
                </a:cubicBezTo>
                <a:cubicBezTo>
                  <a:pt x="158779" y="10447"/>
                  <a:pt x="161992" y="14009"/>
                  <a:pt x="164213" y="17723"/>
                </a:cubicBezTo>
                <a:cubicBezTo>
                  <a:pt x="167602" y="23390"/>
                  <a:pt x="166013" y="28134"/>
                  <a:pt x="159998" y="30717"/>
                </a:cubicBezTo>
                <a:cubicBezTo>
                  <a:pt x="155963" y="32450"/>
                  <a:pt x="151384" y="33554"/>
                  <a:pt x="146998" y="33737"/>
                </a:cubicBezTo>
                <a:cubicBezTo>
                  <a:pt x="102152" y="35619"/>
                  <a:pt x="57295" y="37279"/>
                  <a:pt x="12439" y="38914"/>
                </a:cubicBezTo>
                <a:cubicBezTo>
                  <a:pt x="8467" y="39059"/>
                  <a:pt x="4472" y="38602"/>
                  <a:pt x="0" y="38402"/>
                </a:cubicBezTo>
                <a:cubicBezTo>
                  <a:pt x="0" y="27166"/>
                  <a:pt x="0" y="16774"/>
                  <a:pt x="0" y="4598"/>
                </a:cubicBezTo>
                <a:cubicBezTo>
                  <a:pt x="27063" y="3194"/>
                  <a:pt x="53389" y="1829"/>
                  <a:pt x="80894" y="440"/>
                </a:cubicBezTo>
                <a:close/>
              </a:path>
            </a:pathLst>
          </a:custGeom>
          <a:solidFill>
            <a:srgbClr val="FBFCFB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" name="Rettangolo 6">
            <a:extLst>
              <a:ext uri="{FF2B5EF4-FFF2-40B4-BE49-F238E27FC236}">
                <a16:creationId xmlns:a16="http://schemas.microsoft.com/office/drawing/2014/main" id="{EE8DE56C-D542-B3C3-8B20-44DD670480E0}"/>
              </a:ext>
            </a:extLst>
          </p:cNvPr>
          <p:cNvSpPr/>
          <p:nvPr/>
        </p:nvSpPr>
        <p:spPr>
          <a:xfrm>
            <a:off x="5869044" y="4127987"/>
            <a:ext cx="1620968" cy="1674761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27278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7E11A11-3472-10B4-40A8-C62CFB6D7A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7D04A94B-9001-6AD3-3D75-5DB028F3CEF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70645" y="6112897"/>
            <a:ext cx="10440000" cy="607054"/>
          </a:xfrm>
        </p:spPr>
        <p:txBody>
          <a:bodyPr/>
          <a:lstStyle/>
          <a:p>
            <a:r>
              <a:rPr lang="en-GB"/>
              <a:t>1L, first line; 2L, second line; 3L, third line; axi-cel, axicabtagene ciloleucel; CAR-T, chimeric antigen receptor T-cell therapy; CHOP, cyclophosphamide, doxorubicin, vincristine and prednisone; </a:t>
            </a:r>
            <a:r>
              <a:rPr lang="en-GB" err="1"/>
              <a:t>DHAOx</a:t>
            </a:r>
            <a:r>
              <a:rPr lang="en-GB"/>
              <a:t>, dexamethasone, high-dose cytarabine, oxaliplatin; DLBCL, diffuse large B-cell lymphoma; PD, progressive disease; R, rituximab; R-Pola, rituximab plus polatuzumab vedotin; RT, radiotherapy. </a:t>
            </a:r>
            <a:br>
              <a:rPr lang="en-GB"/>
            </a:br>
            <a:r>
              <a:rPr lang="en-GB"/>
              <a:t>Patient case provided by Prof. Enrico </a:t>
            </a:r>
            <a:r>
              <a:rPr lang="en-GB" err="1"/>
              <a:t>Derenzini</a:t>
            </a:r>
            <a:r>
              <a:rPr lang="en-GB"/>
              <a:t>.</a:t>
            </a: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C32295E2-A7E0-538F-2F59-8374D1FB261E}"/>
              </a:ext>
            </a:extLst>
          </p:cNvPr>
          <p:cNvSpPr txBox="1">
            <a:spLocks/>
          </p:cNvSpPr>
          <p:nvPr/>
        </p:nvSpPr>
        <p:spPr>
          <a:xfrm>
            <a:off x="469900" y="311150"/>
            <a:ext cx="10317269" cy="930910"/>
          </a:xfrm>
          <a:prstGeom prst="rect">
            <a:avLst/>
          </a:prstGeom>
        </p:spPr>
        <p:txBody>
          <a:bodyPr vert="horz" lIns="90000" tIns="46800" rIns="90000" bIns="4680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400" b="0" i="0" kern="1200">
                <a:solidFill>
                  <a:schemeClr val="tx2"/>
                </a:solidFill>
                <a:latin typeface="Aptos" panose="020B000402020202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j-ea"/>
                <a:cs typeface="+mj-cs"/>
              </a:rPr>
              <a:t>Treatment of 3L DLBCL with dual </a:t>
            </a:r>
            <a:r>
              <a:rPr kumimoji="0" lang="en-GB" sz="36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j-ea"/>
                <a:cs typeface="+mj-cs"/>
              </a:rPr>
              <a:t>CD19/20 loss </a:t>
            </a:r>
            <a:endParaRPr kumimoji="0" lang="en-GB" sz="34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j-ea"/>
              <a:cs typeface="+mj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E042B88-23D5-D6D5-DB96-BE4807DD00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01CC8E-1CEF-6746-999E-CF29FF00B1D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82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5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193E6E3-4A63-1ACF-AA48-3F2C795D0FCA}"/>
              </a:ext>
            </a:extLst>
          </p:cNvPr>
          <p:cNvSpPr/>
          <p:nvPr/>
        </p:nvSpPr>
        <p:spPr>
          <a:xfrm>
            <a:off x="1475310" y="3661926"/>
            <a:ext cx="9372600" cy="1200329"/>
          </a:xfrm>
          <a:prstGeom prst="rect">
            <a:avLst/>
          </a:prstGeom>
          <a:solidFill>
            <a:schemeClr val="accent1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ual antigen loss after immunotherapy and CAR-T cell therapy can become a major problem in DLBCL treatmen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Lack of effective treatment options for CD19/CD20 negative patients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B91D4DC-47D0-1887-FB95-1CFB15BEF8B2}"/>
              </a:ext>
            </a:extLst>
          </p:cNvPr>
          <p:cNvCxnSpPr>
            <a:cxnSpLocks/>
          </p:cNvCxnSpPr>
          <p:nvPr/>
        </p:nvCxnSpPr>
        <p:spPr>
          <a:xfrm>
            <a:off x="577415" y="1381609"/>
            <a:ext cx="10907449" cy="0"/>
          </a:xfrm>
          <a:prstGeom prst="line">
            <a:avLst/>
          </a:prstGeom>
          <a:ln w="285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Oval 9">
            <a:extLst>
              <a:ext uri="{FF2B5EF4-FFF2-40B4-BE49-F238E27FC236}">
                <a16:creationId xmlns:a16="http://schemas.microsoft.com/office/drawing/2014/main" id="{B834DB03-5012-9757-6FF4-F10E938D4D65}"/>
              </a:ext>
            </a:extLst>
          </p:cNvPr>
          <p:cNvSpPr/>
          <p:nvPr/>
        </p:nvSpPr>
        <p:spPr>
          <a:xfrm>
            <a:off x="516205" y="1303874"/>
            <a:ext cx="159799" cy="159799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1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4212E7D-B111-31E7-99BD-0D97AD8E1E6A}"/>
              </a:ext>
            </a:extLst>
          </p:cNvPr>
          <p:cNvCxnSpPr>
            <a:cxnSpLocks/>
            <a:stCxn id="10" idx="4"/>
          </p:cNvCxnSpPr>
          <p:nvPr/>
        </p:nvCxnSpPr>
        <p:spPr>
          <a:xfrm>
            <a:off x="596105" y="1463673"/>
            <a:ext cx="0" cy="182159"/>
          </a:xfrm>
          <a:prstGeom prst="line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91490DF8-FD25-B422-4F0C-F9733B8461C1}"/>
              </a:ext>
            </a:extLst>
          </p:cNvPr>
          <p:cNvSpPr txBox="1"/>
          <p:nvPr/>
        </p:nvSpPr>
        <p:spPr>
          <a:xfrm>
            <a:off x="544865" y="1645832"/>
            <a:ext cx="2850214" cy="584775"/>
          </a:xfrm>
          <a:prstGeom prst="rect">
            <a:avLst/>
          </a:prstGeom>
          <a:noFill/>
        </p:spPr>
        <p:txBody>
          <a:bodyPr wrap="square" lIns="45720" tIns="45720" rIns="4572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1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L treatment: </a:t>
            </a: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-CHOP ×2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1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Outcome: </a:t>
            </a: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D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ED4A89A-0ECF-7E8E-20AE-5ED4FE8ADE2C}"/>
              </a:ext>
            </a:extLst>
          </p:cNvPr>
          <p:cNvSpPr txBox="1"/>
          <p:nvPr/>
        </p:nvSpPr>
        <p:spPr>
          <a:xfrm>
            <a:off x="5082989" y="1695398"/>
            <a:ext cx="3522858" cy="830997"/>
          </a:xfrm>
          <a:prstGeom prst="rect">
            <a:avLst/>
          </a:prstGeom>
          <a:noFill/>
        </p:spPr>
        <p:txBody>
          <a:bodyPr wrap="square" lIns="45720" tIns="45720" rIns="45720" bIns="4572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1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L: </a:t>
            </a: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Lymphocyte apheresis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1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Bridging: </a:t>
            </a: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-Pola ×2 + RT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1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Outcome: </a:t>
            </a: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D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B4630AF-6EF0-00CB-2F4B-5F768F842A11}"/>
              </a:ext>
            </a:extLst>
          </p:cNvPr>
          <p:cNvSpPr txBox="1"/>
          <p:nvPr/>
        </p:nvSpPr>
        <p:spPr>
          <a:xfrm>
            <a:off x="8700247" y="1695398"/>
            <a:ext cx="1479177" cy="1569660"/>
          </a:xfrm>
          <a:prstGeom prst="rect">
            <a:avLst/>
          </a:prstGeom>
          <a:noFill/>
        </p:spPr>
        <p:txBody>
          <a:bodyPr wrap="square" lIns="45720" tIns="45720" rIns="4572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nti CD19 CAR-T axi-cel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1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Outcome: </a:t>
            </a: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Early relapse (+4M), CD19</a:t>
            </a:r>
            <a:r>
              <a:rPr kumimoji="0" lang="en-GB" sz="1600" b="1" i="0" u="none" strike="noStrike" kern="1200" cap="none" spc="0" normalizeH="0" baseline="3000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–</a:t>
            </a: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/CD20</a:t>
            </a:r>
            <a:r>
              <a:rPr kumimoji="0" lang="en-GB" sz="1600" b="1" i="0" u="none" strike="noStrike" kern="1200" cap="none" spc="0" normalizeH="0" baseline="3000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–</a:t>
            </a: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PD</a:t>
            </a: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D232D05B-0D0F-57E3-6115-A9B7FE6F6F4C}"/>
              </a:ext>
            </a:extLst>
          </p:cNvPr>
          <p:cNvSpPr/>
          <p:nvPr/>
        </p:nvSpPr>
        <p:spPr>
          <a:xfrm>
            <a:off x="8443246" y="1303874"/>
            <a:ext cx="159799" cy="159799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1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44EFE7DC-44FB-F678-3233-4674C5A6137C}"/>
              </a:ext>
            </a:extLst>
          </p:cNvPr>
          <p:cNvCxnSpPr>
            <a:cxnSpLocks/>
            <a:stCxn id="55" idx="4"/>
          </p:cNvCxnSpPr>
          <p:nvPr/>
        </p:nvCxnSpPr>
        <p:spPr>
          <a:xfrm>
            <a:off x="8523146" y="1463673"/>
            <a:ext cx="0" cy="182159"/>
          </a:xfrm>
          <a:prstGeom prst="line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7" name="TextBox 56">
            <a:extLst>
              <a:ext uri="{FF2B5EF4-FFF2-40B4-BE49-F238E27FC236}">
                <a16:creationId xmlns:a16="http://schemas.microsoft.com/office/drawing/2014/main" id="{C484721F-8466-7E57-694E-E851C23D8F33}"/>
              </a:ext>
            </a:extLst>
          </p:cNvPr>
          <p:cNvSpPr txBox="1"/>
          <p:nvPr/>
        </p:nvSpPr>
        <p:spPr>
          <a:xfrm>
            <a:off x="8345252" y="831371"/>
            <a:ext cx="455050" cy="3927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CB813"/>
              </a:buClr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March 2025</a:t>
            </a: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CF9ACCF7-8024-B9D5-E17A-BBE1241051A5}"/>
              </a:ext>
            </a:extLst>
          </p:cNvPr>
          <p:cNvSpPr/>
          <p:nvPr/>
        </p:nvSpPr>
        <p:spPr>
          <a:xfrm>
            <a:off x="10531752" y="1304621"/>
            <a:ext cx="159799" cy="159799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1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06AD593B-B85B-6AD7-CF4A-D355CFCDAA16}"/>
              </a:ext>
            </a:extLst>
          </p:cNvPr>
          <p:cNvCxnSpPr>
            <a:cxnSpLocks/>
          </p:cNvCxnSpPr>
          <p:nvPr/>
        </p:nvCxnSpPr>
        <p:spPr>
          <a:xfrm>
            <a:off x="10605876" y="1464420"/>
            <a:ext cx="0" cy="182159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8" name="TextBox 47">
            <a:extLst>
              <a:ext uri="{FF2B5EF4-FFF2-40B4-BE49-F238E27FC236}">
                <a16:creationId xmlns:a16="http://schemas.microsoft.com/office/drawing/2014/main" id="{7FFB3234-B165-5C12-111F-8D2A4D2488B2}"/>
              </a:ext>
            </a:extLst>
          </p:cNvPr>
          <p:cNvSpPr txBox="1"/>
          <p:nvPr/>
        </p:nvSpPr>
        <p:spPr>
          <a:xfrm>
            <a:off x="10340816" y="1696145"/>
            <a:ext cx="1660682" cy="1200329"/>
          </a:xfrm>
          <a:prstGeom prst="rect">
            <a:avLst/>
          </a:prstGeom>
          <a:noFill/>
        </p:spPr>
        <p:txBody>
          <a:bodyPr wrap="square" lIns="45720" tIns="45720" rIns="4572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1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3L treatment: </a:t>
            </a: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-</a:t>
            </a:r>
            <a:r>
              <a:rPr kumimoji="0" lang="en-GB" sz="1800" b="1" i="0" u="none" strike="noStrike" kern="1200" cap="none" spc="0" normalizeH="0" baseline="0" noProof="0" err="1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HAOx</a:t>
            </a: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with </a:t>
            </a: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F15922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D and death because of PD</a:t>
            </a:r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id="{9A6B444F-4EEB-62FA-8C2F-DF0D3A239661}"/>
              </a:ext>
            </a:extLst>
          </p:cNvPr>
          <p:cNvSpPr/>
          <p:nvPr/>
        </p:nvSpPr>
        <p:spPr>
          <a:xfrm>
            <a:off x="9377816" y="1303874"/>
            <a:ext cx="159799" cy="159799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1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496D3530-9456-817C-57DB-54D60A1EDD07}"/>
              </a:ext>
            </a:extLst>
          </p:cNvPr>
          <p:cNvCxnSpPr>
            <a:cxnSpLocks/>
            <a:stCxn id="64" idx="4"/>
          </p:cNvCxnSpPr>
          <p:nvPr/>
        </p:nvCxnSpPr>
        <p:spPr>
          <a:xfrm>
            <a:off x="9457716" y="1463673"/>
            <a:ext cx="0" cy="182159"/>
          </a:xfrm>
          <a:prstGeom prst="line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6" name="TextBox 65">
            <a:extLst>
              <a:ext uri="{FF2B5EF4-FFF2-40B4-BE49-F238E27FC236}">
                <a16:creationId xmlns:a16="http://schemas.microsoft.com/office/drawing/2014/main" id="{923EC4ED-9827-4446-327F-BB9E76D8BEA4}"/>
              </a:ext>
            </a:extLst>
          </p:cNvPr>
          <p:cNvSpPr txBox="1"/>
          <p:nvPr/>
        </p:nvSpPr>
        <p:spPr>
          <a:xfrm>
            <a:off x="9279822" y="831371"/>
            <a:ext cx="455050" cy="3927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CB813"/>
              </a:buClr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pril 2025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3F860600-B3F7-F950-7D52-E1B75C4EF062}"/>
              </a:ext>
            </a:extLst>
          </p:cNvPr>
          <p:cNvSpPr txBox="1"/>
          <p:nvPr/>
        </p:nvSpPr>
        <p:spPr>
          <a:xfrm>
            <a:off x="10620385" y="831371"/>
            <a:ext cx="455050" cy="3927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CB813"/>
              </a:buClr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July 2025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2F41A0E-B7C7-5856-41E7-EF74E8340636}"/>
              </a:ext>
            </a:extLst>
          </p:cNvPr>
          <p:cNvSpPr txBox="1"/>
          <p:nvPr/>
        </p:nvSpPr>
        <p:spPr>
          <a:xfrm>
            <a:off x="491363" y="831371"/>
            <a:ext cx="455050" cy="3927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CB813"/>
              </a:buClr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January 2025</a:t>
            </a:r>
          </a:p>
        </p:txBody>
      </p:sp>
    </p:spTree>
    <p:extLst>
      <p:ext uri="{BB962C8B-B14F-4D97-AF65-F5344CB8AC3E}">
        <p14:creationId xmlns:p14="http://schemas.microsoft.com/office/powerpoint/2010/main" val="2201545574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62616882-58B7-1010-7400-822BB317CBE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CH"/>
              <a:t>FLIPI, </a:t>
            </a:r>
            <a:r>
              <a:rPr lang="en-US"/>
              <a:t>Follicular Lymphoma International Prognostic Index</a:t>
            </a:r>
            <a:r>
              <a:rPr lang="en-CH"/>
              <a:t>.</a:t>
            </a:r>
          </a:p>
          <a:p>
            <a:r>
              <a:rPr lang="en-GB"/>
              <a:t>Patient case provided by Prof. Enrico </a:t>
            </a:r>
            <a:r>
              <a:rPr lang="en-GB" err="1"/>
              <a:t>Derenzini</a:t>
            </a:r>
            <a:r>
              <a:rPr lang="en-GB"/>
              <a:t>.</a:t>
            </a:r>
          </a:p>
        </p:txBody>
      </p:sp>
      <p:cxnSp>
        <p:nvCxnSpPr>
          <p:cNvPr id="21" name="Straight Connector 4">
            <a:extLst>
              <a:ext uri="{FF2B5EF4-FFF2-40B4-BE49-F238E27FC236}">
                <a16:creationId xmlns:a16="http://schemas.microsoft.com/office/drawing/2014/main" id="{A1C76777-340D-8385-707E-96642C96DE65}"/>
              </a:ext>
            </a:extLst>
          </p:cNvPr>
          <p:cNvCxnSpPr>
            <a:cxnSpLocks/>
          </p:cNvCxnSpPr>
          <p:nvPr/>
        </p:nvCxnSpPr>
        <p:spPr>
          <a:xfrm>
            <a:off x="3582807" y="1251894"/>
            <a:ext cx="0" cy="4615506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C6ED1543-9899-4F9E-41E8-9FE34B00371F}"/>
              </a:ext>
            </a:extLst>
          </p:cNvPr>
          <p:cNvSpPr txBox="1">
            <a:spLocks/>
          </p:cNvSpPr>
          <p:nvPr/>
        </p:nvSpPr>
        <p:spPr>
          <a:xfrm>
            <a:off x="262890" y="3429000"/>
            <a:ext cx="3211825" cy="203194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400" b="0" i="1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ge</a:t>
            </a:r>
            <a:r>
              <a:rPr kumimoji="0" lang="en-GB" sz="2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: 62 years old </a:t>
            </a:r>
            <a:br>
              <a:rPr kumimoji="0" lang="en-GB" sz="2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GB" sz="2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(at diagnosis)</a:t>
            </a:r>
            <a:endParaRPr kumimoji="0" lang="en-GB" sz="40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400" b="0" i="1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ex: </a:t>
            </a:r>
            <a:r>
              <a:rPr kumimoji="0" lang="en-GB" sz="2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Male </a:t>
            </a:r>
          </a:p>
        </p:txBody>
      </p:sp>
      <p:sp>
        <p:nvSpPr>
          <p:cNvPr id="23" name="TextBox 9">
            <a:extLst>
              <a:ext uri="{FF2B5EF4-FFF2-40B4-BE49-F238E27FC236}">
                <a16:creationId xmlns:a16="http://schemas.microsoft.com/office/drawing/2014/main" id="{28729F22-8210-4BB3-10C2-7250A9DFE9DC}"/>
              </a:ext>
            </a:extLst>
          </p:cNvPr>
          <p:cNvSpPr txBox="1"/>
          <p:nvPr/>
        </p:nvSpPr>
        <p:spPr>
          <a:xfrm>
            <a:off x="4198556" y="2115640"/>
            <a:ext cx="6185241" cy="930910"/>
          </a:xfrm>
          <a:prstGeom prst="rect">
            <a:avLst/>
          </a:prstGeom>
          <a:noFill/>
        </p:spPr>
        <p:txBody>
          <a:bodyPr wrap="square" lIns="0" rIns="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8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iagnosis</a:t>
            </a: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EB9200"/>
              </a:buClr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Follicular lymphoma </a:t>
            </a:r>
            <a:r>
              <a:rPr kumimoji="0" lang="en-CH" sz="16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tage IVAm (diffuse adenopathy, bone marrow), FLIPI 3, diagnosed in 2015</a:t>
            </a:r>
          </a:p>
        </p:txBody>
      </p:sp>
      <p:sp>
        <p:nvSpPr>
          <p:cNvPr id="24" name="TextBox 11">
            <a:extLst>
              <a:ext uri="{FF2B5EF4-FFF2-40B4-BE49-F238E27FC236}">
                <a16:creationId xmlns:a16="http://schemas.microsoft.com/office/drawing/2014/main" id="{1F2ED7F7-3AD5-9FF6-BDFB-62BD2A7A0C7F}"/>
              </a:ext>
            </a:extLst>
          </p:cNvPr>
          <p:cNvSpPr txBox="1"/>
          <p:nvPr/>
        </p:nvSpPr>
        <p:spPr>
          <a:xfrm>
            <a:off x="4168076" y="3306831"/>
            <a:ext cx="6185241" cy="2033181"/>
          </a:xfrm>
          <a:prstGeom prst="rect">
            <a:avLst/>
          </a:prstGeom>
          <a:noFill/>
        </p:spPr>
        <p:txBody>
          <a:bodyPr wrap="square" lIns="0" rIns="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8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elevant medical history</a:t>
            </a: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EB92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uppurative right </a:t>
            </a:r>
            <a:r>
              <a: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laterocervical</a:t>
            </a: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adenopathy diagnosed with </a:t>
            </a:r>
            <a:r>
              <a:rPr kumimoji="0" lang="en-GB" sz="1600" b="0" i="1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asteurella tularensis</a:t>
            </a: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infection (in 1991)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EB92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Hypertension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EB92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Gastric ulcer</a:t>
            </a:r>
          </a:p>
        </p:txBody>
      </p:sp>
      <p:sp>
        <p:nvSpPr>
          <p:cNvPr id="25" name="Oval 12">
            <a:extLst>
              <a:ext uri="{FF2B5EF4-FFF2-40B4-BE49-F238E27FC236}">
                <a16:creationId xmlns:a16="http://schemas.microsoft.com/office/drawing/2014/main" id="{2944A659-57C0-8A55-0067-CF478AE2E290}"/>
              </a:ext>
            </a:extLst>
          </p:cNvPr>
          <p:cNvSpPr/>
          <p:nvPr/>
        </p:nvSpPr>
        <p:spPr>
          <a:xfrm>
            <a:off x="1331603" y="1907119"/>
            <a:ext cx="1296000" cy="1296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6" name="Arc 14">
            <a:extLst>
              <a:ext uri="{FF2B5EF4-FFF2-40B4-BE49-F238E27FC236}">
                <a16:creationId xmlns:a16="http://schemas.microsoft.com/office/drawing/2014/main" id="{89743FA2-7473-B619-C1C4-57A1FFA30163}"/>
              </a:ext>
            </a:extLst>
          </p:cNvPr>
          <p:cNvSpPr/>
          <p:nvPr/>
        </p:nvSpPr>
        <p:spPr bwMode="auto">
          <a:xfrm rot="18861982">
            <a:off x="1686207" y="1812111"/>
            <a:ext cx="355726" cy="421125"/>
          </a:xfrm>
          <a:prstGeom prst="arc">
            <a:avLst>
              <a:gd name="adj1" fmla="val 4503400"/>
              <a:gd name="adj2" fmla="val 8614742"/>
            </a:avLst>
          </a:prstGeom>
          <a:noFill/>
          <a:ln w="12700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7" name="Straight Connector 16">
            <a:extLst>
              <a:ext uri="{FF2B5EF4-FFF2-40B4-BE49-F238E27FC236}">
                <a16:creationId xmlns:a16="http://schemas.microsoft.com/office/drawing/2014/main" id="{DA4A51F4-20CE-B597-364C-1D4CBC4F54C3}"/>
              </a:ext>
            </a:extLst>
          </p:cNvPr>
          <p:cNvCxnSpPr>
            <a:cxnSpLocks/>
          </p:cNvCxnSpPr>
          <p:nvPr/>
        </p:nvCxnSpPr>
        <p:spPr>
          <a:xfrm>
            <a:off x="1752967" y="2885054"/>
            <a:ext cx="0" cy="80462"/>
          </a:xfrm>
          <a:prstGeom prst="line">
            <a:avLst/>
          </a:prstGeom>
          <a:ln w="12700" cap="rnd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17">
            <a:extLst>
              <a:ext uri="{FF2B5EF4-FFF2-40B4-BE49-F238E27FC236}">
                <a16:creationId xmlns:a16="http://schemas.microsoft.com/office/drawing/2014/main" id="{49EA8791-FC6A-31F6-02CA-4CCA576662ED}"/>
              </a:ext>
            </a:extLst>
          </p:cNvPr>
          <p:cNvCxnSpPr>
            <a:cxnSpLocks/>
          </p:cNvCxnSpPr>
          <p:nvPr/>
        </p:nvCxnSpPr>
        <p:spPr>
          <a:xfrm>
            <a:off x="2221052" y="2896533"/>
            <a:ext cx="0" cy="80462"/>
          </a:xfrm>
          <a:prstGeom prst="line">
            <a:avLst/>
          </a:prstGeom>
          <a:ln w="12700" cap="rnd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Arc 18">
            <a:extLst>
              <a:ext uri="{FF2B5EF4-FFF2-40B4-BE49-F238E27FC236}">
                <a16:creationId xmlns:a16="http://schemas.microsoft.com/office/drawing/2014/main" id="{8E120B9E-64B9-3877-A4CC-A5E9BBC80B0E}"/>
              </a:ext>
            </a:extLst>
          </p:cNvPr>
          <p:cNvSpPr/>
          <p:nvPr/>
        </p:nvSpPr>
        <p:spPr bwMode="auto">
          <a:xfrm rot="10800000">
            <a:off x="1801739" y="2121330"/>
            <a:ext cx="355727" cy="421125"/>
          </a:xfrm>
          <a:prstGeom prst="arc">
            <a:avLst>
              <a:gd name="adj1" fmla="val 8581502"/>
              <a:gd name="adj2" fmla="val 2398834"/>
            </a:avLst>
          </a:prstGeom>
          <a:noFill/>
          <a:ln w="12700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0" name="Freeform 53">
            <a:extLst>
              <a:ext uri="{FF2B5EF4-FFF2-40B4-BE49-F238E27FC236}">
                <a16:creationId xmlns:a16="http://schemas.microsoft.com/office/drawing/2014/main" id="{D3D1575B-1D11-36C5-A369-9CCE25C8E8F7}"/>
              </a:ext>
            </a:extLst>
          </p:cNvPr>
          <p:cNvSpPr/>
          <p:nvPr/>
        </p:nvSpPr>
        <p:spPr>
          <a:xfrm>
            <a:off x="1606997" y="2582604"/>
            <a:ext cx="745211" cy="392133"/>
          </a:xfrm>
          <a:custGeom>
            <a:avLst/>
            <a:gdLst>
              <a:gd name="connsiteX0" fmla="*/ 0 w 2039816"/>
              <a:gd name="connsiteY0" fmla="*/ 1125415 h 1125415"/>
              <a:gd name="connsiteX1" fmla="*/ 130629 w 2039816"/>
              <a:gd name="connsiteY1" fmla="*/ 221064 h 1125415"/>
              <a:gd name="connsiteX2" fmla="*/ 653143 w 2039816"/>
              <a:gd name="connsiteY2" fmla="*/ 0 h 1125415"/>
              <a:gd name="connsiteX3" fmla="*/ 974691 w 2039816"/>
              <a:gd name="connsiteY3" fmla="*/ 622998 h 1125415"/>
              <a:gd name="connsiteX4" fmla="*/ 1095271 w 2039816"/>
              <a:gd name="connsiteY4" fmla="*/ 622998 h 1125415"/>
              <a:gd name="connsiteX5" fmla="*/ 1406770 w 2039816"/>
              <a:gd name="connsiteY5" fmla="*/ 40193 h 1125415"/>
              <a:gd name="connsiteX6" fmla="*/ 1939332 w 2039816"/>
              <a:gd name="connsiteY6" fmla="*/ 301450 h 1125415"/>
              <a:gd name="connsiteX7" fmla="*/ 2039816 w 2039816"/>
              <a:gd name="connsiteY7" fmla="*/ 1125415 h 1125415"/>
              <a:gd name="connsiteX0" fmla="*/ 0 w 2039816"/>
              <a:gd name="connsiteY0" fmla="*/ 1125415 h 1125415"/>
              <a:gd name="connsiteX1" fmla="*/ 130629 w 2039816"/>
              <a:gd name="connsiteY1" fmla="*/ 221064 h 1125415"/>
              <a:gd name="connsiteX2" fmla="*/ 653143 w 2039816"/>
              <a:gd name="connsiteY2" fmla="*/ 0 h 1125415"/>
              <a:gd name="connsiteX3" fmla="*/ 974691 w 2039816"/>
              <a:gd name="connsiteY3" fmla="*/ 622998 h 1125415"/>
              <a:gd name="connsiteX4" fmla="*/ 1095271 w 2039816"/>
              <a:gd name="connsiteY4" fmla="*/ 622998 h 1125415"/>
              <a:gd name="connsiteX5" fmla="*/ 1406770 w 2039816"/>
              <a:gd name="connsiteY5" fmla="*/ 40193 h 1125415"/>
              <a:gd name="connsiteX6" fmla="*/ 1939332 w 2039816"/>
              <a:gd name="connsiteY6" fmla="*/ 301450 h 1125415"/>
              <a:gd name="connsiteX7" fmla="*/ 2039816 w 2039816"/>
              <a:gd name="connsiteY7" fmla="*/ 1125415 h 1125415"/>
              <a:gd name="connsiteX0" fmla="*/ 0 w 2039816"/>
              <a:gd name="connsiteY0" fmla="*/ 1125415 h 1125415"/>
              <a:gd name="connsiteX1" fmla="*/ 130629 w 2039816"/>
              <a:gd name="connsiteY1" fmla="*/ 221064 h 1125415"/>
              <a:gd name="connsiteX2" fmla="*/ 653143 w 2039816"/>
              <a:gd name="connsiteY2" fmla="*/ 0 h 1125415"/>
              <a:gd name="connsiteX3" fmla="*/ 974691 w 2039816"/>
              <a:gd name="connsiteY3" fmla="*/ 622998 h 1125415"/>
              <a:gd name="connsiteX4" fmla="*/ 1095271 w 2039816"/>
              <a:gd name="connsiteY4" fmla="*/ 622998 h 1125415"/>
              <a:gd name="connsiteX5" fmla="*/ 1406770 w 2039816"/>
              <a:gd name="connsiteY5" fmla="*/ 40193 h 1125415"/>
              <a:gd name="connsiteX6" fmla="*/ 1939332 w 2039816"/>
              <a:gd name="connsiteY6" fmla="*/ 301450 h 1125415"/>
              <a:gd name="connsiteX7" fmla="*/ 2039816 w 2039816"/>
              <a:gd name="connsiteY7" fmla="*/ 1125415 h 1125415"/>
              <a:gd name="connsiteX0" fmla="*/ 0 w 2039816"/>
              <a:gd name="connsiteY0" fmla="*/ 1125415 h 1125415"/>
              <a:gd name="connsiteX1" fmla="*/ 130629 w 2039816"/>
              <a:gd name="connsiteY1" fmla="*/ 221064 h 1125415"/>
              <a:gd name="connsiteX2" fmla="*/ 653143 w 2039816"/>
              <a:gd name="connsiteY2" fmla="*/ 0 h 1125415"/>
              <a:gd name="connsiteX3" fmla="*/ 974691 w 2039816"/>
              <a:gd name="connsiteY3" fmla="*/ 622998 h 1125415"/>
              <a:gd name="connsiteX4" fmla="*/ 1095271 w 2039816"/>
              <a:gd name="connsiteY4" fmla="*/ 622998 h 1125415"/>
              <a:gd name="connsiteX5" fmla="*/ 1406770 w 2039816"/>
              <a:gd name="connsiteY5" fmla="*/ 40193 h 1125415"/>
              <a:gd name="connsiteX6" fmla="*/ 1939332 w 2039816"/>
              <a:gd name="connsiteY6" fmla="*/ 301450 h 1125415"/>
              <a:gd name="connsiteX7" fmla="*/ 2039816 w 2039816"/>
              <a:gd name="connsiteY7" fmla="*/ 1125415 h 1125415"/>
              <a:gd name="connsiteX0" fmla="*/ 0 w 2039816"/>
              <a:gd name="connsiteY0" fmla="*/ 1125807 h 1125807"/>
              <a:gd name="connsiteX1" fmla="*/ 130629 w 2039816"/>
              <a:gd name="connsiteY1" fmla="*/ 221456 h 1125807"/>
              <a:gd name="connsiteX2" fmla="*/ 653143 w 2039816"/>
              <a:gd name="connsiteY2" fmla="*/ 392 h 1125807"/>
              <a:gd name="connsiteX3" fmla="*/ 974691 w 2039816"/>
              <a:gd name="connsiteY3" fmla="*/ 623390 h 1125807"/>
              <a:gd name="connsiteX4" fmla="*/ 1095271 w 2039816"/>
              <a:gd name="connsiteY4" fmla="*/ 623390 h 1125807"/>
              <a:gd name="connsiteX5" fmla="*/ 1406770 w 2039816"/>
              <a:gd name="connsiteY5" fmla="*/ 40585 h 1125807"/>
              <a:gd name="connsiteX6" fmla="*/ 1939332 w 2039816"/>
              <a:gd name="connsiteY6" fmla="*/ 301842 h 1125807"/>
              <a:gd name="connsiteX7" fmla="*/ 2039816 w 2039816"/>
              <a:gd name="connsiteY7" fmla="*/ 1125807 h 1125807"/>
              <a:gd name="connsiteX0" fmla="*/ 0 w 2039816"/>
              <a:gd name="connsiteY0" fmla="*/ 1125767 h 1125767"/>
              <a:gd name="connsiteX1" fmla="*/ 130629 w 2039816"/>
              <a:gd name="connsiteY1" fmla="*/ 221416 h 1125767"/>
              <a:gd name="connsiteX2" fmla="*/ 653143 w 2039816"/>
              <a:gd name="connsiteY2" fmla="*/ 352 h 1125767"/>
              <a:gd name="connsiteX3" fmla="*/ 974691 w 2039816"/>
              <a:gd name="connsiteY3" fmla="*/ 623350 h 1125767"/>
              <a:gd name="connsiteX4" fmla="*/ 1095271 w 2039816"/>
              <a:gd name="connsiteY4" fmla="*/ 623350 h 1125767"/>
              <a:gd name="connsiteX5" fmla="*/ 1406770 w 2039816"/>
              <a:gd name="connsiteY5" fmla="*/ 40545 h 1125767"/>
              <a:gd name="connsiteX6" fmla="*/ 1939332 w 2039816"/>
              <a:gd name="connsiteY6" fmla="*/ 301802 h 1125767"/>
              <a:gd name="connsiteX7" fmla="*/ 2039816 w 2039816"/>
              <a:gd name="connsiteY7" fmla="*/ 1125767 h 1125767"/>
              <a:gd name="connsiteX0" fmla="*/ 0 w 2039816"/>
              <a:gd name="connsiteY0" fmla="*/ 1125767 h 1125767"/>
              <a:gd name="connsiteX1" fmla="*/ 130629 w 2039816"/>
              <a:gd name="connsiteY1" fmla="*/ 221416 h 1125767"/>
              <a:gd name="connsiteX2" fmla="*/ 653143 w 2039816"/>
              <a:gd name="connsiteY2" fmla="*/ 352 h 1125767"/>
              <a:gd name="connsiteX3" fmla="*/ 974691 w 2039816"/>
              <a:gd name="connsiteY3" fmla="*/ 623350 h 1125767"/>
              <a:gd name="connsiteX4" fmla="*/ 1095271 w 2039816"/>
              <a:gd name="connsiteY4" fmla="*/ 623350 h 1125767"/>
              <a:gd name="connsiteX5" fmla="*/ 1406770 w 2039816"/>
              <a:gd name="connsiteY5" fmla="*/ 40545 h 1125767"/>
              <a:gd name="connsiteX6" fmla="*/ 1939332 w 2039816"/>
              <a:gd name="connsiteY6" fmla="*/ 301802 h 1125767"/>
              <a:gd name="connsiteX7" fmla="*/ 2039816 w 2039816"/>
              <a:gd name="connsiteY7" fmla="*/ 1125767 h 1125767"/>
              <a:gd name="connsiteX0" fmla="*/ 0 w 2039816"/>
              <a:gd name="connsiteY0" fmla="*/ 1125767 h 1125767"/>
              <a:gd name="connsiteX1" fmla="*/ 130629 w 2039816"/>
              <a:gd name="connsiteY1" fmla="*/ 221416 h 1125767"/>
              <a:gd name="connsiteX2" fmla="*/ 653143 w 2039816"/>
              <a:gd name="connsiteY2" fmla="*/ 352 h 1125767"/>
              <a:gd name="connsiteX3" fmla="*/ 974691 w 2039816"/>
              <a:gd name="connsiteY3" fmla="*/ 623350 h 1125767"/>
              <a:gd name="connsiteX4" fmla="*/ 1095271 w 2039816"/>
              <a:gd name="connsiteY4" fmla="*/ 623350 h 1125767"/>
              <a:gd name="connsiteX5" fmla="*/ 1406770 w 2039816"/>
              <a:gd name="connsiteY5" fmla="*/ 40545 h 1125767"/>
              <a:gd name="connsiteX6" fmla="*/ 1939332 w 2039816"/>
              <a:gd name="connsiteY6" fmla="*/ 301802 h 1125767"/>
              <a:gd name="connsiteX7" fmla="*/ 2039816 w 2039816"/>
              <a:gd name="connsiteY7" fmla="*/ 1125767 h 1125767"/>
              <a:gd name="connsiteX0" fmla="*/ 0 w 2039816"/>
              <a:gd name="connsiteY0" fmla="*/ 1125767 h 1125767"/>
              <a:gd name="connsiteX1" fmla="*/ 130629 w 2039816"/>
              <a:gd name="connsiteY1" fmla="*/ 221416 h 1125767"/>
              <a:gd name="connsiteX2" fmla="*/ 653143 w 2039816"/>
              <a:gd name="connsiteY2" fmla="*/ 352 h 1125767"/>
              <a:gd name="connsiteX3" fmla="*/ 974691 w 2039816"/>
              <a:gd name="connsiteY3" fmla="*/ 623350 h 1125767"/>
              <a:gd name="connsiteX4" fmla="*/ 1095271 w 2039816"/>
              <a:gd name="connsiteY4" fmla="*/ 623350 h 1125767"/>
              <a:gd name="connsiteX5" fmla="*/ 1406770 w 2039816"/>
              <a:gd name="connsiteY5" fmla="*/ 40545 h 1125767"/>
              <a:gd name="connsiteX6" fmla="*/ 1939332 w 2039816"/>
              <a:gd name="connsiteY6" fmla="*/ 301802 h 1125767"/>
              <a:gd name="connsiteX7" fmla="*/ 2039816 w 2039816"/>
              <a:gd name="connsiteY7" fmla="*/ 1125767 h 1125767"/>
              <a:gd name="connsiteX0" fmla="*/ 0 w 2039816"/>
              <a:gd name="connsiteY0" fmla="*/ 1125766 h 1125766"/>
              <a:gd name="connsiteX1" fmla="*/ 130629 w 2039816"/>
              <a:gd name="connsiteY1" fmla="*/ 221415 h 1125766"/>
              <a:gd name="connsiteX2" fmla="*/ 653143 w 2039816"/>
              <a:gd name="connsiteY2" fmla="*/ 351 h 1125766"/>
              <a:gd name="connsiteX3" fmla="*/ 974691 w 2039816"/>
              <a:gd name="connsiteY3" fmla="*/ 623349 h 1125766"/>
              <a:gd name="connsiteX4" fmla="*/ 1095271 w 2039816"/>
              <a:gd name="connsiteY4" fmla="*/ 623349 h 1125766"/>
              <a:gd name="connsiteX5" fmla="*/ 1406770 w 2039816"/>
              <a:gd name="connsiteY5" fmla="*/ 40544 h 1125766"/>
              <a:gd name="connsiteX6" fmla="*/ 1939332 w 2039816"/>
              <a:gd name="connsiteY6" fmla="*/ 301801 h 1125766"/>
              <a:gd name="connsiteX7" fmla="*/ 2039816 w 2039816"/>
              <a:gd name="connsiteY7" fmla="*/ 1125766 h 1125766"/>
              <a:gd name="connsiteX0" fmla="*/ 0 w 2039816"/>
              <a:gd name="connsiteY0" fmla="*/ 1126058 h 1126058"/>
              <a:gd name="connsiteX1" fmla="*/ 130629 w 2039816"/>
              <a:gd name="connsiteY1" fmla="*/ 221707 h 1126058"/>
              <a:gd name="connsiteX2" fmla="*/ 653143 w 2039816"/>
              <a:gd name="connsiteY2" fmla="*/ 643 h 1126058"/>
              <a:gd name="connsiteX3" fmla="*/ 974691 w 2039816"/>
              <a:gd name="connsiteY3" fmla="*/ 623641 h 1126058"/>
              <a:gd name="connsiteX4" fmla="*/ 1095271 w 2039816"/>
              <a:gd name="connsiteY4" fmla="*/ 623641 h 1126058"/>
              <a:gd name="connsiteX5" fmla="*/ 1406770 w 2039816"/>
              <a:gd name="connsiteY5" fmla="*/ 40836 h 1126058"/>
              <a:gd name="connsiteX6" fmla="*/ 1939332 w 2039816"/>
              <a:gd name="connsiteY6" fmla="*/ 302093 h 1126058"/>
              <a:gd name="connsiteX7" fmla="*/ 2039816 w 2039816"/>
              <a:gd name="connsiteY7" fmla="*/ 1126058 h 1126058"/>
              <a:gd name="connsiteX0" fmla="*/ 0 w 2109542"/>
              <a:gd name="connsiteY0" fmla="*/ 1161570 h 1161570"/>
              <a:gd name="connsiteX1" fmla="*/ 200355 w 2109542"/>
              <a:gd name="connsiteY1" fmla="*/ 222356 h 1161570"/>
              <a:gd name="connsiteX2" fmla="*/ 722869 w 2109542"/>
              <a:gd name="connsiteY2" fmla="*/ 1292 h 1161570"/>
              <a:gd name="connsiteX3" fmla="*/ 1044417 w 2109542"/>
              <a:gd name="connsiteY3" fmla="*/ 624290 h 1161570"/>
              <a:gd name="connsiteX4" fmla="*/ 1164997 w 2109542"/>
              <a:gd name="connsiteY4" fmla="*/ 624290 h 1161570"/>
              <a:gd name="connsiteX5" fmla="*/ 1476496 w 2109542"/>
              <a:gd name="connsiteY5" fmla="*/ 41485 h 1161570"/>
              <a:gd name="connsiteX6" fmla="*/ 2009058 w 2109542"/>
              <a:gd name="connsiteY6" fmla="*/ 302742 h 1161570"/>
              <a:gd name="connsiteX7" fmla="*/ 2109542 w 2109542"/>
              <a:gd name="connsiteY7" fmla="*/ 1126707 h 1161570"/>
              <a:gd name="connsiteX0" fmla="*/ 0 w 2179268"/>
              <a:gd name="connsiteY0" fmla="*/ 1161570 h 1171531"/>
              <a:gd name="connsiteX1" fmla="*/ 200355 w 2179268"/>
              <a:gd name="connsiteY1" fmla="*/ 222356 h 1171531"/>
              <a:gd name="connsiteX2" fmla="*/ 722869 w 2179268"/>
              <a:gd name="connsiteY2" fmla="*/ 1292 h 1171531"/>
              <a:gd name="connsiteX3" fmla="*/ 1044417 w 2179268"/>
              <a:gd name="connsiteY3" fmla="*/ 624290 h 1171531"/>
              <a:gd name="connsiteX4" fmla="*/ 1164997 w 2179268"/>
              <a:gd name="connsiteY4" fmla="*/ 624290 h 1171531"/>
              <a:gd name="connsiteX5" fmla="*/ 1476496 w 2179268"/>
              <a:gd name="connsiteY5" fmla="*/ 41485 h 1171531"/>
              <a:gd name="connsiteX6" fmla="*/ 2009058 w 2179268"/>
              <a:gd name="connsiteY6" fmla="*/ 302742 h 1171531"/>
              <a:gd name="connsiteX7" fmla="*/ 2179268 w 2179268"/>
              <a:gd name="connsiteY7" fmla="*/ 1171531 h 1171531"/>
              <a:gd name="connsiteX0" fmla="*/ 0 w 2179268"/>
              <a:gd name="connsiteY0" fmla="*/ 1161570 h 1171531"/>
              <a:gd name="connsiteX1" fmla="*/ 200355 w 2179268"/>
              <a:gd name="connsiteY1" fmla="*/ 222356 h 1171531"/>
              <a:gd name="connsiteX2" fmla="*/ 722869 w 2179268"/>
              <a:gd name="connsiteY2" fmla="*/ 1292 h 1171531"/>
              <a:gd name="connsiteX3" fmla="*/ 1044417 w 2179268"/>
              <a:gd name="connsiteY3" fmla="*/ 624290 h 1171531"/>
              <a:gd name="connsiteX4" fmla="*/ 1179939 w 2179268"/>
              <a:gd name="connsiteY4" fmla="*/ 504759 h 1171531"/>
              <a:gd name="connsiteX5" fmla="*/ 1476496 w 2179268"/>
              <a:gd name="connsiteY5" fmla="*/ 41485 h 1171531"/>
              <a:gd name="connsiteX6" fmla="*/ 2009058 w 2179268"/>
              <a:gd name="connsiteY6" fmla="*/ 302742 h 1171531"/>
              <a:gd name="connsiteX7" fmla="*/ 2179268 w 2179268"/>
              <a:gd name="connsiteY7" fmla="*/ 1171531 h 1171531"/>
              <a:gd name="connsiteX0" fmla="*/ 0 w 2179268"/>
              <a:gd name="connsiteY0" fmla="*/ 1161570 h 1171531"/>
              <a:gd name="connsiteX1" fmla="*/ 200355 w 2179268"/>
              <a:gd name="connsiteY1" fmla="*/ 222356 h 1171531"/>
              <a:gd name="connsiteX2" fmla="*/ 722869 w 2179268"/>
              <a:gd name="connsiteY2" fmla="*/ 1292 h 1171531"/>
              <a:gd name="connsiteX3" fmla="*/ 1044417 w 2179268"/>
              <a:gd name="connsiteY3" fmla="*/ 624290 h 1171531"/>
              <a:gd name="connsiteX4" fmla="*/ 1476496 w 2179268"/>
              <a:gd name="connsiteY4" fmla="*/ 41485 h 1171531"/>
              <a:gd name="connsiteX5" fmla="*/ 2009058 w 2179268"/>
              <a:gd name="connsiteY5" fmla="*/ 302742 h 1171531"/>
              <a:gd name="connsiteX6" fmla="*/ 2179268 w 2179268"/>
              <a:gd name="connsiteY6" fmla="*/ 1171531 h 1171531"/>
              <a:gd name="connsiteX0" fmla="*/ 0 w 2179268"/>
              <a:gd name="connsiteY0" fmla="*/ 1161570 h 1171531"/>
              <a:gd name="connsiteX1" fmla="*/ 200355 w 2179268"/>
              <a:gd name="connsiteY1" fmla="*/ 222356 h 1171531"/>
              <a:gd name="connsiteX2" fmla="*/ 722869 w 2179268"/>
              <a:gd name="connsiteY2" fmla="*/ 1292 h 1171531"/>
              <a:gd name="connsiteX3" fmla="*/ 1084261 w 2179268"/>
              <a:gd name="connsiteY3" fmla="*/ 395189 h 1171531"/>
              <a:gd name="connsiteX4" fmla="*/ 1476496 w 2179268"/>
              <a:gd name="connsiteY4" fmla="*/ 41485 h 1171531"/>
              <a:gd name="connsiteX5" fmla="*/ 2009058 w 2179268"/>
              <a:gd name="connsiteY5" fmla="*/ 302742 h 1171531"/>
              <a:gd name="connsiteX6" fmla="*/ 2179268 w 2179268"/>
              <a:gd name="connsiteY6" fmla="*/ 1171531 h 1171531"/>
              <a:gd name="connsiteX0" fmla="*/ 0 w 2179268"/>
              <a:gd name="connsiteY0" fmla="*/ 1161570 h 1171531"/>
              <a:gd name="connsiteX1" fmla="*/ 200355 w 2179268"/>
              <a:gd name="connsiteY1" fmla="*/ 222356 h 1171531"/>
              <a:gd name="connsiteX2" fmla="*/ 722869 w 2179268"/>
              <a:gd name="connsiteY2" fmla="*/ 1292 h 1171531"/>
              <a:gd name="connsiteX3" fmla="*/ 1084261 w 2179268"/>
              <a:gd name="connsiteY3" fmla="*/ 395189 h 1171531"/>
              <a:gd name="connsiteX4" fmla="*/ 1476496 w 2179268"/>
              <a:gd name="connsiteY4" fmla="*/ 41485 h 1171531"/>
              <a:gd name="connsiteX5" fmla="*/ 2009058 w 2179268"/>
              <a:gd name="connsiteY5" fmla="*/ 302742 h 1171531"/>
              <a:gd name="connsiteX6" fmla="*/ 2179268 w 2179268"/>
              <a:gd name="connsiteY6" fmla="*/ 1171531 h 1171531"/>
              <a:gd name="connsiteX0" fmla="*/ 0 w 2179268"/>
              <a:gd name="connsiteY0" fmla="*/ 1161570 h 1171531"/>
              <a:gd name="connsiteX1" fmla="*/ 200355 w 2179268"/>
              <a:gd name="connsiteY1" fmla="*/ 222356 h 1171531"/>
              <a:gd name="connsiteX2" fmla="*/ 722869 w 2179268"/>
              <a:gd name="connsiteY2" fmla="*/ 1292 h 1171531"/>
              <a:gd name="connsiteX3" fmla="*/ 1084261 w 2179268"/>
              <a:gd name="connsiteY3" fmla="*/ 395189 h 1171531"/>
              <a:gd name="connsiteX4" fmla="*/ 1476496 w 2179268"/>
              <a:gd name="connsiteY4" fmla="*/ 41485 h 1171531"/>
              <a:gd name="connsiteX5" fmla="*/ 2009058 w 2179268"/>
              <a:gd name="connsiteY5" fmla="*/ 302742 h 1171531"/>
              <a:gd name="connsiteX6" fmla="*/ 2179268 w 2179268"/>
              <a:gd name="connsiteY6" fmla="*/ 1171531 h 1171531"/>
              <a:gd name="connsiteX0" fmla="*/ 0 w 2179268"/>
              <a:gd name="connsiteY0" fmla="*/ 1161570 h 1171531"/>
              <a:gd name="connsiteX1" fmla="*/ 200355 w 2179268"/>
              <a:gd name="connsiteY1" fmla="*/ 222356 h 1171531"/>
              <a:gd name="connsiteX2" fmla="*/ 722869 w 2179268"/>
              <a:gd name="connsiteY2" fmla="*/ 1292 h 1171531"/>
              <a:gd name="connsiteX3" fmla="*/ 1084261 w 2179268"/>
              <a:gd name="connsiteY3" fmla="*/ 395189 h 1171531"/>
              <a:gd name="connsiteX4" fmla="*/ 1476496 w 2179268"/>
              <a:gd name="connsiteY4" fmla="*/ 41485 h 1171531"/>
              <a:gd name="connsiteX5" fmla="*/ 2009058 w 2179268"/>
              <a:gd name="connsiteY5" fmla="*/ 302742 h 1171531"/>
              <a:gd name="connsiteX6" fmla="*/ 2179268 w 2179268"/>
              <a:gd name="connsiteY6" fmla="*/ 1171531 h 1171531"/>
              <a:gd name="connsiteX0" fmla="*/ 0 w 2179268"/>
              <a:gd name="connsiteY0" fmla="*/ 1161570 h 1171531"/>
              <a:gd name="connsiteX1" fmla="*/ 200355 w 2179268"/>
              <a:gd name="connsiteY1" fmla="*/ 222356 h 1171531"/>
              <a:gd name="connsiteX2" fmla="*/ 722869 w 2179268"/>
              <a:gd name="connsiteY2" fmla="*/ 1292 h 1171531"/>
              <a:gd name="connsiteX3" fmla="*/ 1084261 w 2179268"/>
              <a:gd name="connsiteY3" fmla="*/ 395189 h 1171531"/>
              <a:gd name="connsiteX4" fmla="*/ 1476496 w 2179268"/>
              <a:gd name="connsiteY4" fmla="*/ 41485 h 1171531"/>
              <a:gd name="connsiteX5" fmla="*/ 2009058 w 2179268"/>
              <a:gd name="connsiteY5" fmla="*/ 302742 h 1171531"/>
              <a:gd name="connsiteX6" fmla="*/ 2179268 w 2179268"/>
              <a:gd name="connsiteY6" fmla="*/ 1171531 h 1171531"/>
              <a:gd name="connsiteX0" fmla="*/ 0 w 2179268"/>
              <a:gd name="connsiteY0" fmla="*/ 1137367 h 1147328"/>
              <a:gd name="connsiteX1" fmla="*/ 200355 w 2179268"/>
              <a:gd name="connsiteY1" fmla="*/ 198153 h 1147328"/>
              <a:gd name="connsiteX2" fmla="*/ 727020 w 2179268"/>
              <a:gd name="connsiteY2" fmla="*/ 1991 h 1147328"/>
              <a:gd name="connsiteX3" fmla="*/ 1084261 w 2179268"/>
              <a:gd name="connsiteY3" fmla="*/ 370986 h 1147328"/>
              <a:gd name="connsiteX4" fmla="*/ 1476496 w 2179268"/>
              <a:gd name="connsiteY4" fmla="*/ 17282 h 1147328"/>
              <a:gd name="connsiteX5" fmla="*/ 2009058 w 2179268"/>
              <a:gd name="connsiteY5" fmla="*/ 278539 h 1147328"/>
              <a:gd name="connsiteX6" fmla="*/ 2179268 w 2179268"/>
              <a:gd name="connsiteY6" fmla="*/ 1147328 h 1147328"/>
              <a:gd name="connsiteX0" fmla="*/ 0 w 2179268"/>
              <a:gd name="connsiteY0" fmla="*/ 1137367 h 1147328"/>
              <a:gd name="connsiteX1" fmla="*/ 200355 w 2179268"/>
              <a:gd name="connsiteY1" fmla="*/ 198153 h 1147328"/>
              <a:gd name="connsiteX2" fmla="*/ 727020 w 2179268"/>
              <a:gd name="connsiteY2" fmla="*/ 1991 h 1147328"/>
              <a:gd name="connsiteX3" fmla="*/ 1084261 w 2179268"/>
              <a:gd name="connsiteY3" fmla="*/ 370986 h 1147328"/>
              <a:gd name="connsiteX4" fmla="*/ 1476496 w 2179268"/>
              <a:gd name="connsiteY4" fmla="*/ 17282 h 1147328"/>
              <a:gd name="connsiteX5" fmla="*/ 2009058 w 2179268"/>
              <a:gd name="connsiteY5" fmla="*/ 278539 h 1147328"/>
              <a:gd name="connsiteX6" fmla="*/ 2179268 w 2179268"/>
              <a:gd name="connsiteY6" fmla="*/ 1147328 h 1147328"/>
              <a:gd name="connsiteX0" fmla="*/ 0 w 2179268"/>
              <a:gd name="connsiteY0" fmla="*/ 1137367 h 1147328"/>
              <a:gd name="connsiteX1" fmla="*/ 200355 w 2179268"/>
              <a:gd name="connsiteY1" fmla="*/ 198153 h 1147328"/>
              <a:gd name="connsiteX2" fmla="*/ 727020 w 2179268"/>
              <a:gd name="connsiteY2" fmla="*/ 1991 h 1147328"/>
              <a:gd name="connsiteX3" fmla="*/ 1084261 w 2179268"/>
              <a:gd name="connsiteY3" fmla="*/ 370986 h 1147328"/>
              <a:gd name="connsiteX4" fmla="*/ 1476496 w 2179268"/>
              <a:gd name="connsiteY4" fmla="*/ 17282 h 1147328"/>
              <a:gd name="connsiteX5" fmla="*/ 2009058 w 2179268"/>
              <a:gd name="connsiteY5" fmla="*/ 278539 h 1147328"/>
              <a:gd name="connsiteX6" fmla="*/ 2179268 w 2179268"/>
              <a:gd name="connsiteY6" fmla="*/ 1147328 h 1147328"/>
              <a:gd name="connsiteX0" fmla="*/ 0 w 2179268"/>
              <a:gd name="connsiteY0" fmla="*/ 1136775 h 1146736"/>
              <a:gd name="connsiteX1" fmla="*/ 200355 w 2179268"/>
              <a:gd name="connsiteY1" fmla="*/ 214163 h 1146736"/>
              <a:gd name="connsiteX2" fmla="*/ 727020 w 2179268"/>
              <a:gd name="connsiteY2" fmla="*/ 1399 h 1146736"/>
              <a:gd name="connsiteX3" fmla="*/ 1084261 w 2179268"/>
              <a:gd name="connsiteY3" fmla="*/ 370394 h 1146736"/>
              <a:gd name="connsiteX4" fmla="*/ 1476496 w 2179268"/>
              <a:gd name="connsiteY4" fmla="*/ 16690 h 1146736"/>
              <a:gd name="connsiteX5" fmla="*/ 2009058 w 2179268"/>
              <a:gd name="connsiteY5" fmla="*/ 277947 h 1146736"/>
              <a:gd name="connsiteX6" fmla="*/ 2179268 w 2179268"/>
              <a:gd name="connsiteY6" fmla="*/ 1146736 h 11467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179268" h="1146736">
                <a:moveTo>
                  <a:pt x="0" y="1136775"/>
                </a:moveTo>
                <a:cubicBezTo>
                  <a:pt x="43543" y="835325"/>
                  <a:pt x="79185" y="403392"/>
                  <a:pt x="200355" y="214163"/>
                </a:cubicBezTo>
                <a:cubicBezTo>
                  <a:pt x="321525" y="24934"/>
                  <a:pt x="654913" y="-7840"/>
                  <a:pt x="727020" y="1399"/>
                </a:cubicBezTo>
                <a:cubicBezTo>
                  <a:pt x="754073" y="69513"/>
                  <a:pt x="772580" y="371995"/>
                  <a:pt x="1084261" y="370394"/>
                </a:cubicBezTo>
                <a:cubicBezTo>
                  <a:pt x="1395942" y="368793"/>
                  <a:pt x="1435399" y="104708"/>
                  <a:pt x="1476496" y="16690"/>
                </a:cubicBezTo>
                <a:cubicBezTo>
                  <a:pt x="1539195" y="20848"/>
                  <a:pt x="1891929" y="89606"/>
                  <a:pt x="2009058" y="277947"/>
                </a:cubicBezTo>
                <a:cubicBezTo>
                  <a:pt x="2126187" y="466288"/>
                  <a:pt x="2145773" y="872081"/>
                  <a:pt x="2179268" y="1146736"/>
                </a:cubicBezTo>
              </a:path>
            </a:pathLst>
          </a:custGeom>
          <a:noFill/>
          <a:ln w="12700" cap="rnd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1" name="Arc 104">
            <a:extLst>
              <a:ext uri="{FF2B5EF4-FFF2-40B4-BE49-F238E27FC236}">
                <a16:creationId xmlns:a16="http://schemas.microsoft.com/office/drawing/2014/main" id="{49F22017-6CDF-4540-F3EF-1623230A858A}"/>
              </a:ext>
            </a:extLst>
          </p:cNvPr>
          <p:cNvSpPr/>
          <p:nvPr/>
        </p:nvSpPr>
        <p:spPr bwMode="auto">
          <a:xfrm rot="8113193">
            <a:off x="1749342" y="2089196"/>
            <a:ext cx="318818" cy="210563"/>
          </a:xfrm>
          <a:custGeom>
            <a:avLst/>
            <a:gdLst>
              <a:gd name="connsiteX0" fmla="*/ 449810 w 500779"/>
              <a:gd name="connsiteY0" fmla="*/ 475673 h 592845"/>
              <a:gd name="connsiteX1" fmla="*/ 236096 w 500779"/>
              <a:gd name="connsiteY1" fmla="*/ 592362 h 592845"/>
              <a:gd name="connsiteX2" fmla="*/ 37891 w 500779"/>
              <a:gd name="connsiteY2" fmla="*/ 453209 h 592845"/>
              <a:gd name="connsiteX3" fmla="*/ 250390 w 500779"/>
              <a:gd name="connsiteY3" fmla="*/ 296423 h 592845"/>
              <a:gd name="connsiteX4" fmla="*/ 449810 w 500779"/>
              <a:gd name="connsiteY4" fmla="*/ 475673 h 592845"/>
              <a:gd name="connsiteX0" fmla="*/ 449810 w 500779"/>
              <a:gd name="connsiteY0" fmla="*/ 475673 h 592845"/>
              <a:gd name="connsiteX1" fmla="*/ 236096 w 500779"/>
              <a:gd name="connsiteY1" fmla="*/ 592362 h 592845"/>
              <a:gd name="connsiteX2" fmla="*/ 37891 w 500779"/>
              <a:gd name="connsiteY2" fmla="*/ 453209 h 592845"/>
              <a:gd name="connsiteX0" fmla="*/ 411919 w 448820"/>
              <a:gd name="connsiteY0" fmla="*/ 179250 h 296423"/>
              <a:gd name="connsiteX1" fmla="*/ 198205 w 448820"/>
              <a:gd name="connsiteY1" fmla="*/ 295939 h 296423"/>
              <a:gd name="connsiteX2" fmla="*/ 0 w 448820"/>
              <a:gd name="connsiteY2" fmla="*/ 156786 h 296423"/>
              <a:gd name="connsiteX3" fmla="*/ 212499 w 448820"/>
              <a:gd name="connsiteY3" fmla="*/ 0 h 296423"/>
              <a:gd name="connsiteX4" fmla="*/ 411919 w 448820"/>
              <a:gd name="connsiteY4" fmla="*/ 179250 h 296423"/>
              <a:gd name="connsiteX0" fmla="*/ 448820 w 448820"/>
              <a:gd name="connsiteY0" fmla="*/ 142065 h 296423"/>
              <a:gd name="connsiteX1" fmla="*/ 198205 w 448820"/>
              <a:gd name="connsiteY1" fmla="*/ 295939 h 296423"/>
              <a:gd name="connsiteX2" fmla="*/ 0 w 448820"/>
              <a:gd name="connsiteY2" fmla="*/ 156786 h 296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48820" h="296423" stroke="0" extrusionOk="0">
                <a:moveTo>
                  <a:pt x="411919" y="179250"/>
                </a:moveTo>
                <a:cubicBezTo>
                  <a:pt x="361523" y="257827"/>
                  <a:pt x="281407" y="301570"/>
                  <a:pt x="198205" y="295939"/>
                </a:cubicBezTo>
                <a:cubicBezTo>
                  <a:pt x="116961" y="290440"/>
                  <a:pt x="43043" y="238544"/>
                  <a:pt x="0" y="156786"/>
                </a:cubicBezTo>
                <a:lnTo>
                  <a:pt x="212499" y="0"/>
                </a:lnTo>
                <a:lnTo>
                  <a:pt x="411919" y="179250"/>
                </a:lnTo>
                <a:close/>
              </a:path>
              <a:path w="448820" h="296423" fill="none">
                <a:moveTo>
                  <a:pt x="448820" y="142065"/>
                </a:moveTo>
                <a:cubicBezTo>
                  <a:pt x="398424" y="220642"/>
                  <a:pt x="281407" y="301570"/>
                  <a:pt x="198205" y="295939"/>
                </a:cubicBezTo>
                <a:cubicBezTo>
                  <a:pt x="116961" y="290440"/>
                  <a:pt x="43043" y="238544"/>
                  <a:pt x="0" y="156786"/>
                </a:cubicBezTo>
              </a:path>
            </a:pathLst>
          </a:custGeom>
          <a:noFill/>
          <a:ln w="12700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" name="Arc 105">
            <a:extLst>
              <a:ext uri="{FF2B5EF4-FFF2-40B4-BE49-F238E27FC236}">
                <a16:creationId xmlns:a16="http://schemas.microsoft.com/office/drawing/2014/main" id="{8F0C6ECE-17CE-92FF-C216-BF16DD200E13}"/>
              </a:ext>
            </a:extLst>
          </p:cNvPr>
          <p:cNvSpPr/>
          <p:nvPr/>
        </p:nvSpPr>
        <p:spPr bwMode="auto">
          <a:xfrm rot="4849263" flipV="1">
            <a:off x="1980965" y="2079642"/>
            <a:ext cx="233660" cy="201591"/>
          </a:xfrm>
          <a:custGeom>
            <a:avLst/>
            <a:gdLst>
              <a:gd name="connsiteX0" fmla="*/ 272270 w 500779"/>
              <a:gd name="connsiteY0" fmla="*/ 591711 h 592845"/>
              <a:gd name="connsiteX1" fmla="*/ 5815 w 500779"/>
              <a:gd name="connsiteY1" fmla="*/ 359935 h 592845"/>
              <a:gd name="connsiteX2" fmla="*/ 250390 w 500779"/>
              <a:gd name="connsiteY2" fmla="*/ 296423 h 592845"/>
              <a:gd name="connsiteX3" fmla="*/ 272270 w 500779"/>
              <a:gd name="connsiteY3" fmla="*/ 591711 h 592845"/>
              <a:gd name="connsiteX0" fmla="*/ 272270 w 500779"/>
              <a:gd name="connsiteY0" fmla="*/ 591711 h 592845"/>
              <a:gd name="connsiteX1" fmla="*/ 5815 w 500779"/>
              <a:gd name="connsiteY1" fmla="*/ 359935 h 592845"/>
              <a:gd name="connsiteX0" fmla="*/ 266455 w 287827"/>
              <a:gd name="connsiteY0" fmla="*/ 295288 h 296434"/>
              <a:gd name="connsiteX1" fmla="*/ 0 w 287827"/>
              <a:gd name="connsiteY1" fmla="*/ 63512 h 296434"/>
              <a:gd name="connsiteX2" fmla="*/ 244575 w 287827"/>
              <a:gd name="connsiteY2" fmla="*/ 0 h 296434"/>
              <a:gd name="connsiteX3" fmla="*/ 266455 w 287827"/>
              <a:gd name="connsiteY3" fmla="*/ 295288 h 296434"/>
              <a:gd name="connsiteX0" fmla="*/ 287827 w 287827"/>
              <a:gd name="connsiteY0" fmla="*/ 248416 h 296434"/>
              <a:gd name="connsiteX1" fmla="*/ 0 w 287827"/>
              <a:gd name="connsiteY1" fmla="*/ 63512 h 296434"/>
              <a:gd name="connsiteX0" fmla="*/ 266455 w 326343"/>
              <a:gd name="connsiteY0" fmla="*/ 295288 h 296434"/>
              <a:gd name="connsiteX1" fmla="*/ 0 w 326343"/>
              <a:gd name="connsiteY1" fmla="*/ 63512 h 296434"/>
              <a:gd name="connsiteX2" fmla="*/ 244575 w 326343"/>
              <a:gd name="connsiteY2" fmla="*/ 0 h 296434"/>
              <a:gd name="connsiteX3" fmla="*/ 266455 w 326343"/>
              <a:gd name="connsiteY3" fmla="*/ 295288 h 296434"/>
              <a:gd name="connsiteX0" fmla="*/ 326343 w 326343"/>
              <a:gd name="connsiteY0" fmla="*/ 218071 h 296434"/>
              <a:gd name="connsiteX1" fmla="*/ 0 w 326343"/>
              <a:gd name="connsiteY1" fmla="*/ 63512 h 2964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26343" h="296434" stroke="0" extrusionOk="0">
                <a:moveTo>
                  <a:pt x="266455" y="295288"/>
                </a:moveTo>
                <a:cubicBezTo>
                  <a:pt x="141049" y="308311"/>
                  <a:pt x="26973" y="209082"/>
                  <a:pt x="0" y="63512"/>
                </a:cubicBezTo>
                <a:lnTo>
                  <a:pt x="244575" y="0"/>
                </a:lnTo>
                <a:lnTo>
                  <a:pt x="266455" y="295288"/>
                </a:lnTo>
                <a:close/>
              </a:path>
              <a:path w="326343" h="296434" fill="none">
                <a:moveTo>
                  <a:pt x="326343" y="218071"/>
                </a:moveTo>
                <a:cubicBezTo>
                  <a:pt x="200937" y="231094"/>
                  <a:pt x="26973" y="209082"/>
                  <a:pt x="0" y="63512"/>
                </a:cubicBezTo>
              </a:path>
            </a:pathLst>
          </a:custGeom>
          <a:noFill/>
          <a:ln w="12700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CDF07C2-0608-993A-1B1B-0EB809DFF282}"/>
              </a:ext>
            </a:extLst>
          </p:cNvPr>
          <p:cNvSpPr txBox="1">
            <a:spLocks/>
          </p:cNvSpPr>
          <p:nvPr/>
        </p:nvSpPr>
        <p:spPr>
          <a:xfrm>
            <a:off x="469900" y="311150"/>
            <a:ext cx="10317269" cy="930910"/>
          </a:xfrm>
          <a:prstGeom prst="rect">
            <a:avLst/>
          </a:prstGeom>
        </p:spPr>
        <p:txBody>
          <a:bodyPr vert="horz" lIns="90000" tIns="46800" rIns="90000" bIns="4680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400" b="0" i="0" kern="1200">
                <a:solidFill>
                  <a:schemeClr val="tx2"/>
                </a:solidFill>
                <a:latin typeface="Aptos" panose="020B000402020202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0B0004020202020204" pitchFamily="34" charset="0"/>
                <a:ea typeface="+mj-ea"/>
                <a:cs typeface="+mj-cs"/>
              </a:rPr>
              <a:t>Case 3: </a:t>
            </a:r>
            <a:r>
              <a:rPr kumimoji="0" lang="en-GB" sz="3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j-ea"/>
                <a:cs typeface="+mj-cs"/>
              </a:rPr>
              <a:t>Diagnosis and past medical history </a:t>
            </a:r>
            <a:endParaRPr kumimoji="0" lang="en-GB" sz="3400" b="0" i="0" u="none" strike="noStrike" kern="1200" cap="none" spc="0" normalizeH="0" baseline="3000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j-ea"/>
              <a:cs typeface="+mj-cs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3EB1A7A-81CF-5281-7CA9-CE2FBF83CA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01CC8E-1CEF-6746-999E-CF29FF00B1D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82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6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42598443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D970E0E-B2D5-33B2-6AF5-4E84B36F2BB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0D6974-6E6C-1878-3770-0C05C8F2FC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Treatment of 1L</a:t>
            </a:r>
            <a:r>
              <a:rPr lang="en-GB">
                <a:latin typeface="+mn-lt"/>
              </a:rPr>
              <a:t> follicular lymphoma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118EFA8-BF11-894B-7631-9276C9DD717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70645" y="6153157"/>
            <a:ext cx="10440000" cy="566794"/>
          </a:xfrm>
        </p:spPr>
        <p:txBody>
          <a:bodyPr/>
          <a:lstStyle/>
          <a:p>
            <a:r>
              <a:rPr lang="en-GB"/>
              <a:t>1L, first line; CHOP, cyclophosphamide, doxorubicin, vincristine and prednisone; CR, complete response; POD24, progression of disease within 24 months; R, rituximab.</a:t>
            </a:r>
          </a:p>
          <a:p>
            <a:r>
              <a:rPr lang="en-GB"/>
              <a:t>Patient case provided by Prof. Enrico </a:t>
            </a:r>
            <a:r>
              <a:rPr lang="en-GB" err="1"/>
              <a:t>Derenzini</a:t>
            </a:r>
            <a:r>
              <a:rPr lang="en-GB"/>
              <a:t>.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9A0551BE-F8C2-96EE-8C8F-37F56C3EC107}"/>
              </a:ext>
            </a:extLst>
          </p:cNvPr>
          <p:cNvCxnSpPr>
            <a:cxnSpLocks/>
          </p:cNvCxnSpPr>
          <p:nvPr/>
        </p:nvCxnSpPr>
        <p:spPr>
          <a:xfrm>
            <a:off x="577415" y="3748737"/>
            <a:ext cx="10907449" cy="0"/>
          </a:xfrm>
          <a:prstGeom prst="line">
            <a:avLst/>
          </a:prstGeom>
          <a:ln w="285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F83A6C3C-38E6-FC37-FB0F-AE5C7B40C468}"/>
              </a:ext>
            </a:extLst>
          </p:cNvPr>
          <p:cNvSpPr txBox="1"/>
          <p:nvPr/>
        </p:nvSpPr>
        <p:spPr>
          <a:xfrm>
            <a:off x="1481099" y="3217549"/>
            <a:ext cx="455050" cy="3927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CB813"/>
              </a:buClr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015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A7E28A21-87FC-4F52-D6CE-730FF291DEEC}"/>
              </a:ext>
            </a:extLst>
          </p:cNvPr>
          <p:cNvSpPr/>
          <p:nvPr/>
        </p:nvSpPr>
        <p:spPr>
          <a:xfrm>
            <a:off x="1628725" y="3671002"/>
            <a:ext cx="159799" cy="159799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A223C2FF-FA36-5561-55CB-327302331750}"/>
              </a:ext>
            </a:extLst>
          </p:cNvPr>
          <p:cNvCxnSpPr>
            <a:cxnSpLocks/>
            <a:stCxn id="10" idx="4"/>
          </p:cNvCxnSpPr>
          <p:nvPr/>
        </p:nvCxnSpPr>
        <p:spPr>
          <a:xfrm>
            <a:off x="1708625" y="3830801"/>
            <a:ext cx="0" cy="182159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B75DC34C-1973-9BFF-8B08-60A9818810C7}"/>
              </a:ext>
            </a:extLst>
          </p:cNvPr>
          <p:cNvSpPr txBox="1"/>
          <p:nvPr/>
        </p:nvSpPr>
        <p:spPr>
          <a:xfrm>
            <a:off x="758224" y="4012960"/>
            <a:ext cx="2899373" cy="1077218"/>
          </a:xfrm>
          <a:prstGeom prst="rect">
            <a:avLst/>
          </a:prstGeom>
          <a:noFill/>
        </p:spPr>
        <p:txBody>
          <a:bodyPr wrap="square" lIns="45720" tIns="45720" rIns="45720" bIns="45720" rtlCol="0">
            <a:spAutoFit/>
          </a:bodyPr>
          <a:lstStyle>
            <a:defPPr>
              <a:defRPr lang="sv-SE"/>
            </a:defPPr>
            <a:lvl1pPr>
              <a:defRPr sz="1600" i="1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1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L treatment: </a:t>
            </a: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-CHOP + R maintenanc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1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Outcome:</a:t>
            </a:r>
            <a:r>
              <a:rPr kumimoji="0" lang="en-GB" sz="1600" b="0" i="1" u="none" strike="noStrike" kern="1200" cap="none" spc="0" normalizeH="0" baseline="0" noProof="0">
                <a:ln>
                  <a:noFill/>
                </a:ln>
                <a:solidFill>
                  <a:srgbClr val="EB92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2C5E77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R </a:t>
            </a: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with </a:t>
            </a: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F15922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elapse after 18 months</a:t>
            </a: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(POD24)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C83D2448-FAC9-E002-6B54-493FE4526E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01CC8E-1CEF-6746-999E-CF29FF00B1D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82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7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4F86C047-4A0C-30CB-775B-6DE8B6836AD4}"/>
              </a:ext>
            </a:extLst>
          </p:cNvPr>
          <p:cNvSpPr/>
          <p:nvPr/>
        </p:nvSpPr>
        <p:spPr>
          <a:xfrm>
            <a:off x="1423738" y="2751699"/>
            <a:ext cx="593138" cy="104135"/>
          </a:xfrm>
          <a:prstGeom prst="ellipse">
            <a:avLst/>
          </a:prstGeom>
          <a:solidFill>
            <a:schemeClr val="tx1">
              <a:alpha val="6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" name="Free-form: Shape 5">
            <a:extLst>
              <a:ext uri="{FF2B5EF4-FFF2-40B4-BE49-F238E27FC236}">
                <a16:creationId xmlns:a16="http://schemas.microsoft.com/office/drawing/2014/main" id="{B2BB6354-9D15-5BCF-7DA2-EB6DDBC15A9A}"/>
              </a:ext>
            </a:extLst>
          </p:cNvPr>
          <p:cNvSpPr/>
          <p:nvPr/>
        </p:nvSpPr>
        <p:spPr>
          <a:xfrm>
            <a:off x="1522404" y="2071048"/>
            <a:ext cx="433137" cy="770022"/>
          </a:xfrm>
          <a:custGeom>
            <a:avLst/>
            <a:gdLst>
              <a:gd name="csX0" fmla="*/ 581793 w 697572"/>
              <a:gd name="csY0" fmla="*/ 1234401 h 1240128"/>
              <a:gd name="csX1" fmla="*/ 577427 w 697572"/>
              <a:gd name="csY1" fmla="*/ 1234156 h 1240128"/>
              <a:gd name="csX2" fmla="*/ 559133 w 697572"/>
              <a:gd name="csY2" fmla="*/ 1230909 h 1240128"/>
              <a:gd name="csX3" fmla="*/ 516706 w 697572"/>
              <a:gd name="csY3" fmla="*/ 1235117 h 1240128"/>
              <a:gd name="csX4" fmla="*/ 475244 w 697572"/>
              <a:gd name="csY4" fmla="*/ 1237506 h 1240128"/>
              <a:gd name="csX5" fmla="*/ 371154 w 697572"/>
              <a:gd name="csY5" fmla="*/ 1239428 h 1240128"/>
              <a:gd name="csX6" fmla="*/ 276813 w 697572"/>
              <a:gd name="csY6" fmla="*/ 1237654 h 1240128"/>
              <a:gd name="csX7" fmla="*/ 268212 w 697572"/>
              <a:gd name="csY7" fmla="*/ 1237635 h 1240128"/>
              <a:gd name="csX8" fmla="*/ 262072 w 697572"/>
              <a:gd name="csY8" fmla="*/ 1237523 h 1240128"/>
              <a:gd name="csX9" fmla="*/ 195111 w 697572"/>
              <a:gd name="csY9" fmla="*/ 1232775 h 1240128"/>
              <a:gd name="csX10" fmla="*/ 145060 w 697572"/>
              <a:gd name="csY10" fmla="*/ 1230076 h 1240128"/>
              <a:gd name="csX11" fmla="*/ 114933 w 697572"/>
              <a:gd name="csY11" fmla="*/ 1225832 h 1240128"/>
              <a:gd name="csX12" fmla="*/ 72642 w 697572"/>
              <a:gd name="csY12" fmla="*/ 1220237 h 1240128"/>
              <a:gd name="csX13" fmla="*/ 10894 w 697572"/>
              <a:gd name="csY13" fmla="*/ 1205737 h 1240128"/>
              <a:gd name="csX14" fmla="*/ 5856 w 697572"/>
              <a:gd name="csY14" fmla="*/ 1202799 h 1240128"/>
              <a:gd name="csX15" fmla="*/ 40 w 697572"/>
              <a:gd name="csY15" fmla="*/ 1174450 h 1240128"/>
              <a:gd name="csX16" fmla="*/ 19831 w 697572"/>
              <a:gd name="csY16" fmla="*/ 1118410 h 1240128"/>
              <a:gd name="csX17" fmla="*/ 22004 w 697572"/>
              <a:gd name="csY17" fmla="*/ 1107240 h 1240128"/>
              <a:gd name="csX18" fmla="*/ 25947 w 697572"/>
              <a:gd name="csY18" fmla="*/ 1038650 h 1240128"/>
              <a:gd name="csX19" fmla="*/ 58234 w 697572"/>
              <a:gd name="csY19" fmla="*/ 988567 h 1240128"/>
              <a:gd name="csX20" fmla="*/ 118645 w 697572"/>
              <a:gd name="csY20" fmla="*/ 928298 h 1240128"/>
              <a:gd name="csX21" fmla="*/ 126320 w 697572"/>
              <a:gd name="csY21" fmla="*/ 892015 h 1240128"/>
              <a:gd name="csX22" fmla="*/ 120345 w 697572"/>
              <a:gd name="csY22" fmla="*/ 872258 h 1240128"/>
              <a:gd name="csX23" fmla="*/ 125668 w 697572"/>
              <a:gd name="csY23" fmla="*/ 861640 h 1240128"/>
              <a:gd name="csX24" fmla="*/ 154237 w 697572"/>
              <a:gd name="csY24" fmla="*/ 850716 h 1240128"/>
              <a:gd name="csX25" fmla="*/ 170248 w 697572"/>
              <a:gd name="csY25" fmla="*/ 836767 h 1240128"/>
              <a:gd name="csX26" fmla="*/ 187840 w 697572"/>
              <a:gd name="csY26" fmla="*/ 796341 h 1240128"/>
              <a:gd name="csX27" fmla="*/ 209346 w 697572"/>
              <a:gd name="csY27" fmla="*/ 743126 h 1240128"/>
              <a:gd name="csX28" fmla="*/ 210630 w 697572"/>
              <a:gd name="csY28" fmla="*/ 737219 h 1240128"/>
              <a:gd name="csX29" fmla="*/ 213836 w 697572"/>
              <a:gd name="csY29" fmla="*/ 720505 h 1240128"/>
              <a:gd name="csX30" fmla="*/ 227791 w 697572"/>
              <a:gd name="csY30" fmla="*/ 667353 h 1240128"/>
              <a:gd name="csX31" fmla="*/ 241013 w 697572"/>
              <a:gd name="csY31" fmla="*/ 599151 h 1240128"/>
              <a:gd name="csX32" fmla="*/ 247322 w 697572"/>
              <a:gd name="csY32" fmla="*/ 542242 h 1240128"/>
              <a:gd name="csX33" fmla="*/ 247948 w 697572"/>
              <a:gd name="csY33" fmla="*/ 499296 h 1240128"/>
              <a:gd name="csX34" fmla="*/ 247577 w 697572"/>
              <a:gd name="csY34" fmla="*/ 470384 h 1240128"/>
              <a:gd name="csX35" fmla="*/ 238877 w 697572"/>
              <a:gd name="csY35" fmla="*/ 460987 h 1240128"/>
              <a:gd name="csX36" fmla="*/ 222040 w 697572"/>
              <a:gd name="csY36" fmla="*/ 458353 h 1240128"/>
              <a:gd name="csX37" fmla="*/ 172193 w 697572"/>
              <a:gd name="csY37" fmla="*/ 433714 h 1240128"/>
              <a:gd name="csX38" fmla="*/ 168410 w 697572"/>
              <a:gd name="csY38" fmla="*/ 396591 h 1240128"/>
              <a:gd name="csX39" fmla="*/ 209826 w 697572"/>
              <a:gd name="csY39" fmla="*/ 367773 h 1240128"/>
              <a:gd name="csX40" fmla="*/ 250732 w 697572"/>
              <a:gd name="csY40" fmla="*/ 355208 h 1240128"/>
              <a:gd name="csX41" fmla="*/ 258289 w 697572"/>
              <a:gd name="csY41" fmla="*/ 350426 h 1240128"/>
              <a:gd name="csX42" fmla="*/ 233274 w 697572"/>
              <a:gd name="csY42" fmla="*/ 333513 h 1240128"/>
              <a:gd name="csX43" fmla="*/ 229677 w 697572"/>
              <a:gd name="csY43" fmla="*/ 333922 h 1240128"/>
              <a:gd name="csX44" fmla="*/ 230149 w 697572"/>
              <a:gd name="csY44" fmla="*/ 332979 h 1240128"/>
              <a:gd name="csX45" fmla="*/ 227053 w 697572"/>
              <a:gd name="csY45" fmla="*/ 327076 h 1240128"/>
              <a:gd name="csX46" fmla="*/ 196769 w 697572"/>
              <a:gd name="csY46" fmla="*/ 291380 h 1240128"/>
              <a:gd name="csX47" fmla="*/ 184389 w 697572"/>
              <a:gd name="csY47" fmla="*/ 264042 h 1240128"/>
              <a:gd name="csX48" fmla="*/ 180630 w 697572"/>
              <a:gd name="csY48" fmla="*/ 257839 h 1240128"/>
              <a:gd name="csX49" fmla="*/ 176231 w 697572"/>
              <a:gd name="csY49" fmla="*/ 250643 h 1240128"/>
              <a:gd name="csX50" fmla="*/ 170073 w 697572"/>
              <a:gd name="csY50" fmla="*/ 146723 h 1240128"/>
              <a:gd name="csX51" fmla="*/ 180929 w 697572"/>
              <a:gd name="csY51" fmla="*/ 114280 h 1240128"/>
              <a:gd name="csX52" fmla="*/ 180839 w 697572"/>
              <a:gd name="csY52" fmla="*/ 101501 h 1240128"/>
              <a:gd name="csX53" fmla="*/ 233536 w 697572"/>
              <a:gd name="csY53" fmla="*/ 39653 h 1240128"/>
              <a:gd name="csX54" fmla="*/ 347618 w 697572"/>
              <a:gd name="csY54" fmla="*/ 35 h 1240128"/>
              <a:gd name="csX55" fmla="*/ 437139 w 697572"/>
              <a:gd name="csY55" fmla="*/ 22396 h 1240128"/>
              <a:gd name="csX56" fmla="*/ 529052 w 697572"/>
              <a:gd name="csY56" fmla="*/ 131093 h 1240128"/>
              <a:gd name="csX57" fmla="*/ 518497 w 697572"/>
              <a:gd name="csY57" fmla="*/ 271517 h 1240128"/>
              <a:gd name="csX58" fmla="*/ 500808 w 697572"/>
              <a:gd name="csY58" fmla="*/ 287385 h 1240128"/>
              <a:gd name="csX59" fmla="*/ 472948 w 697572"/>
              <a:gd name="csY59" fmla="*/ 323290 h 1240128"/>
              <a:gd name="csX60" fmla="*/ 469385 w 697572"/>
              <a:gd name="csY60" fmla="*/ 331565 h 1240128"/>
              <a:gd name="csX61" fmla="*/ 468293 w 697572"/>
              <a:gd name="csY61" fmla="*/ 331320 h 1240128"/>
              <a:gd name="csX62" fmla="*/ 459542 w 697572"/>
              <a:gd name="csY62" fmla="*/ 338942 h 1240128"/>
              <a:gd name="csX63" fmla="*/ 458492 w 697572"/>
              <a:gd name="csY63" fmla="*/ 338671 h 1240128"/>
              <a:gd name="csX64" fmla="*/ 436978 w 697572"/>
              <a:gd name="csY64" fmla="*/ 352226 h 1240128"/>
              <a:gd name="csX65" fmla="*/ 472329 w 697572"/>
              <a:gd name="csY65" fmla="*/ 362890 h 1240128"/>
              <a:gd name="csX66" fmla="*/ 523779 w 697572"/>
              <a:gd name="csY66" fmla="*/ 391962 h 1240128"/>
              <a:gd name="csX67" fmla="*/ 527344 w 697572"/>
              <a:gd name="csY67" fmla="*/ 430096 h 1240128"/>
              <a:gd name="csX68" fmla="*/ 504112 w 697572"/>
              <a:gd name="csY68" fmla="*/ 449628 h 1240128"/>
              <a:gd name="csX69" fmla="*/ 459430 w 697572"/>
              <a:gd name="csY69" fmla="*/ 461116 h 1240128"/>
              <a:gd name="csX70" fmla="*/ 446666 w 697572"/>
              <a:gd name="csY70" fmla="*/ 474229 h 1240128"/>
              <a:gd name="csX71" fmla="*/ 449133 w 697572"/>
              <a:gd name="csY71" fmla="*/ 531639 h 1240128"/>
              <a:gd name="csX72" fmla="*/ 454546 w 697572"/>
              <a:gd name="csY72" fmla="*/ 588688 h 1240128"/>
              <a:gd name="csX73" fmla="*/ 466126 w 697572"/>
              <a:gd name="csY73" fmla="*/ 649736 h 1240128"/>
              <a:gd name="csX74" fmla="*/ 512154 w 697572"/>
              <a:gd name="csY74" fmla="*/ 794006 h 1240128"/>
              <a:gd name="csX75" fmla="*/ 525763 w 697572"/>
              <a:gd name="csY75" fmla="*/ 834323 h 1240128"/>
              <a:gd name="csX76" fmla="*/ 530555 w 697572"/>
              <a:gd name="csY76" fmla="*/ 845114 h 1240128"/>
              <a:gd name="csX77" fmla="*/ 554424 w 697572"/>
              <a:gd name="csY77" fmla="*/ 856618 h 1240128"/>
              <a:gd name="csX78" fmla="*/ 572880 w 697572"/>
              <a:gd name="csY78" fmla="*/ 862546 h 1240128"/>
              <a:gd name="csX79" fmla="*/ 578643 w 697572"/>
              <a:gd name="csY79" fmla="*/ 880396 h 1240128"/>
              <a:gd name="csX80" fmla="*/ 572188 w 697572"/>
              <a:gd name="csY80" fmla="*/ 899820 h 1240128"/>
              <a:gd name="csX81" fmla="*/ 582698 w 697572"/>
              <a:gd name="csY81" fmla="*/ 930382 h 1240128"/>
              <a:gd name="csX82" fmla="*/ 604747 w 697572"/>
              <a:gd name="csY82" fmla="*/ 960852 h 1240128"/>
              <a:gd name="csX83" fmla="*/ 613863 w 697572"/>
              <a:gd name="csY83" fmla="*/ 968311 h 1240128"/>
              <a:gd name="csX84" fmla="*/ 629435 w 697572"/>
              <a:gd name="csY84" fmla="*/ 981186 h 1240128"/>
              <a:gd name="csX85" fmla="*/ 633611 w 697572"/>
              <a:gd name="csY85" fmla="*/ 985609 h 1240128"/>
              <a:gd name="csX86" fmla="*/ 673790 w 697572"/>
              <a:gd name="csY86" fmla="*/ 1049348 h 1240128"/>
              <a:gd name="csX87" fmla="*/ 675873 w 697572"/>
              <a:gd name="csY87" fmla="*/ 1092839 h 1240128"/>
              <a:gd name="csX88" fmla="*/ 681668 w 697572"/>
              <a:gd name="csY88" fmla="*/ 1129292 h 1240128"/>
              <a:gd name="csX89" fmla="*/ 697338 w 697572"/>
              <a:gd name="csY89" fmla="*/ 1196079 h 1240128"/>
              <a:gd name="csX90" fmla="*/ 690637 w 697572"/>
              <a:gd name="csY90" fmla="*/ 1205035 h 1240128"/>
              <a:gd name="csX91" fmla="*/ 639777 w 697572"/>
              <a:gd name="csY91" fmla="*/ 1217994 h 1240128"/>
              <a:gd name="csX92" fmla="*/ 587072 w 697572"/>
              <a:gd name="csY92" fmla="*/ 1227761 h 1240128"/>
              <a:gd name="csX93" fmla="*/ 581793 w 697572"/>
              <a:gd name="csY93" fmla="*/ 1234401 h 1240128"/>
              <a:gd name="csX94" fmla="*/ 357446 w 697572"/>
              <a:gd name="csY94" fmla="*/ 903795 h 1240128"/>
              <a:gd name="csX95" fmla="*/ 344445 w 697572"/>
              <a:gd name="csY95" fmla="*/ 903795 h 1240128"/>
              <a:gd name="csX96" fmla="*/ 349212 w 697572"/>
              <a:gd name="csY96" fmla="*/ 950515 h 1240128"/>
              <a:gd name="csX97" fmla="*/ 349538 w 697572"/>
              <a:gd name="csY97" fmla="*/ 1069392 h 1240128"/>
              <a:gd name="csX98" fmla="*/ 349415 w 697572"/>
              <a:gd name="csY98" fmla="*/ 1108925 h 1240128"/>
              <a:gd name="csX99" fmla="*/ 647726 w 697572"/>
              <a:gd name="csY99" fmla="*/ 1089872 h 1240128"/>
              <a:gd name="csX100" fmla="*/ 647654 w 697572"/>
              <a:gd name="csY100" fmla="*/ 1076267 h 1240128"/>
              <a:gd name="csX101" fmla="*/ 610267 w 697572"/>
              <a:gd name="csY101" fmla="*/ 994126 h 1240128"/>
              <a:gd name="csX102" fmla="*/ 571459 w 697572"/>
              <a:gd name="csY102" fmla="*/ 956568 h 1240128"/>
              <a:gd name="csX103" fmla="*/ 541653 w 697572"/>
              <a:gd name="csY103" fmla="*/ 901544 h 1240128"/>
              <a:gd name="csX104" fmla="*/ 539477 w 697572"/>
              <a:gd name="csY104" fmla="*/ 895908 h 1240128"/>
              <a:gd name="csX105" fmla="*/ 357446 w 697572"/>
              <a:gd name="csY105" fmla="*/ 903795 h 1240128"/>
              <a:gd name="csX106" fmla="*/ 300108 w 697572"/>
              <a:gd name="csY106" fmla="*/ 85260 h 1240128"/>
              <a:gd name="csX107" fmla="*/ 290213 w 697572"/>
              <a:gd name="csY107" fmla="*/ 127888 h 1240128"/>
              <a:gd name="csX108" fmla="*/ 331056 w 697572"/>
              <a:gd name="csY108" fmla="*/ 214168 h 1240128"/>
              <a:gd name="csX109" fmla="*/ 424717 w 697572"/>
              <a:gd name="csY109" fmla="*/ 245160 h 1240128"/>
              <a:gd name="csX110" fmla="*/ 496752 w 697572"/>
              <a:gd name="csY110" fmla="*/ 141256 h 1240128"/>
              <a:gd name="csX111" fmla="*/ 390320 w 697572"/>
              <a:gd name="csY111" fmla="*/ 43995 h 1240128"/>
              <a:gd name="csX112" fmla="*/ 300108 w 697572"/>
              <a:gd name="csY112" fmla="*/ 85260 h 1240128"/>
              <a:gd name="csX113" fmla="*/ 343360 w 697572"/>
              <a:gd name="csY113" fmla="*/ 634332 h 1240128"/>
              <a:gd name="csX114" fmla="*/ 340877 w 697572"/>
              <a:gd name="csY114" fmla="*/ 732259 h 1240128"/>
              <a:gd name="csX115" fmla="*/ 338360 w 697572"/>
              <a:gd name="csY115" fmla="*/ 810538 h 1240128"/>
              <a:gd name="csX116" fmla="*/ 337115 w 697572"/>
              <a:gd name="csY116" fmla="*/ 817736 h 1240128"/>
              <a:gd name="csX117" fmla="*/ 336516 w 697572"/>
              <a:gd name="csY117" fmla="*/ 863022 h 1240128"/>
              <a:gd name="csX118" fmla="*/ 343436 w 697572"/>
              <a:gd name="csY118" fmla="*/ 864027 h 1240128"/>
              <a:gd name="csX119" fmla="*/ 406718 w 697572"/>
              <a:gd name="csY119" fmla="*/ 862982 h 1240128"/>
              <a:gd name="csX120" fmla="*/ 456888 w 697572"/>
              <a:gd name="csY120" fmla="*/ 861794 h 1240128"/>
              <a:gd name="csX121" fmla="*/ 495873 w 697572"/>
              <a:gd name="csY121" fmla="*/ 863963 h 1240128"/>
              <a:gd name="csX122" fmla="*/ 509286 w 697572"/>
              <a:gd name="csY122" fmla="*/ 863595 h 1240128"/>
              <a:gd name="csX123" fmla="*/ 516956 w 697572"/>
              <a:gd name="csY123" fmla="*/ 856791 h 1240128"/>
              <a:gd name="csX124" fmla="*/ 513920 w 697572"/>
              <a:gd name="csY124" fmla="*/ 848709 h 1240128"/>
              <a:gd name="csX125" fmla="*/ 506683 w 697572"/>
              <a:gd name="csY125" fmla="*/ 839054 h 1240128"/>
              <a:gd name="csX126" fmla="*/ 488629 w 697572"/>
              <a:gd name="csY126" fmla="*/ 799037 h 1240128"/>
              <a:gd name="csX127" fmla="*/ 456922 w 697572"/>
              <a:gd name="csY127" fmla="*/ 696297 h 1240128"/>
              <a:gd name="csX128" fmla="*/ 441346 w 697572"/>
              <a:gd name="csY128" fmla="*/ 619885 h 1240128"/>
              <a:gd name="csX129" fmla="*/ 435963 w 697572"/>
              <a:gd name="csY129" fmla="*/ 582529 h 1240128"/>
              <a:gd name="csX130" fmla="*/ 429497 w 697572"/>
              <a:gd name="csY130" fmla="*/ 521990 h 1240128"/>
              <a:gd name="csX131" fmla="*/ 426887 w 697572"/>
              <a:gd name="csY131" fmla="*/ 471989 h 1240128"/>
              <a:gd name="csX132" fmla="*/ 413744 w 697572"/>
              <a:gd name="csY132" fmla="*/ 461077 h 1240128"/>
              <a:gd name="csX133" fmla="*/ 353573 w 697572"/>
              <a:gd name="csY133" fmla="*/ 461120 h 1240128"/>
              <a:gd name="csX134" fmla="*/ 344160 w 697572"/>
              <a:gd name="csY134" fmla="*/ 462286 h 1240128"/>
              <a:gd name="csX135" fmla="*/ 343404 w 697572"/>
              <a:gd name="csY135" fmla="*/ 469192 h 1240128"/>
              <a:gd name="csX136" fmla="*/ 343469 w 697572"/>
              <a:gd name="csY136" fmla="*/ 574797 h 1240128"/>
              <a:gd name="csX137" fmla="*/ 345522 w 697572"/>
              <a:gd name="csY137" fmla="*/ 591669 h 1240128"/>
              <a:gd name="csX138" fmla="*/ 343360 w 697572"/>
              <a:gd name="csY138" fmla="*/ 634332 h 1240128"/>
              <a:gd name="csX139" fmla="*/ 416946 w 697572"/>
              <a:gd name="csY139" fmla="*/ 385943 h 1240128"/>
              <a:gd name="csX140" fmla="*/ 401091 w 697572"/>
              <a:gd name="csY140" fmla="*/ 387162 h 1240128"/>
              <a:gd name="csX141" fmla="*/ 369218 w 697572"/>
              <a:gd name="csY141" fmla="*/ 387708 h 1240128"/>
              <a:gd name="csX142" fmla="*/ 351833 w 697572"/>
              <a:gd name="csY142" fmla="*/ 398991 h 1240128"/>
              <a:gd name="csX143" fmla="*/ 349778 w 697572"/>
              <a:gd name="csY143" fmla="*/ 426021 h 1240128"/>
              <a:gd name="csX144" fmla="*/ 361839 w 697572"/>
              <a:gd name="csY144" fmla="*/ 426538 h 1240128"/>
              <a:gd name="csX145" fmla="*/ 455022 w 697572"/>
              <a:gd name="csY145" fmla="*/ 426922 h 1240128"/>
              <a:gd name="csX146" fmla="*/ 481958 w 697572"/>
              <a:gd name="csY146" fmla="*/ 426527 h 1240128"/>
              <a:gd name="csX147" fmla="*/ 499817 w 697572"/>
              <a:gd name="csY147" fmla="*/ 419888 h 1240128"/>
              <a:gd name="csX148" fmla="*/ 499439 w 697572"/>
              <a:gd name="csY148" fmla="*/ 400719 h 1240128"/>
              <a:gd name="csX149" fmla="*/ 468062 w 697572"/>
              <a:gd name="csY149" fmla="*/ 387775 h 1240128"/>
              <a:gd name="csX150" fmla="*/ 416946 w 697572"/>
              <a:gd name="csY150" fmla="*/ 385943 h 1240128"/>
              <a:gd name="csX151" fmla="*/ 636802 w 697572"/>
              <a:gd name="csY151" fmla="*/ 1190940 h 1240128"/>
              <a:gd name="csX152" fmla="*/ 666492 w 697572"/>
              <a:gd name="csY152" fmla="*/ 1184186 h 1240128"/>
              <a:gd name="csX153" fmla="*/ 674465 w 697572"/>
              <a:gd name="csY153" fmla="*/ 1170880 h 1240128"/>
              <a:gd name="csX154" fmla="*/ 662462 w 697572"/>
              <a:gd name="csY154" fmla="*/ 1141464 h 1240128"/>
              <a:gd name="csX155" fmla="*/ 645564 w 697572"/>
              <a:gd name="csY155" fmla="*/ 1131937 h 1240128"/>
              <a:gd name="csX156" fmla="*/ 627387 w 697572"/>
              <a:gd name="csY156" fmla="*/ 1133618 h 1240128"/>
              <a:gd name="csX157" fmla="*/ 583917 w 697572"/>
              <a:gd name="csY157" fmla="*/ 1139222 h 1240128"/>
              <a:gd name="csX158" fmla="*/ 543741 w 697572"/>
              <a:gd name="csY158" fmla="*/ 1141869 h 1240128"/>
              <a:gd name="csX159" fmla="*/ 512146 w 697572"/>
              <a:gd name="csY159" fmla="*/ 1144418 h 1240128"/>
              <a:gd name="csX160" fmla="*/ 447711 w 697572"/>
              <a:gd name="csY160" fmla="*/ 1148973 h 1240128"/>
              <a:gd name="csX161" fmla="*/ 351979 w 697572"/>
              <a:gd name="csY161" fmla="*/ 1149200 h 1240128"/>
              <a:gd name="csX162" fmla="*/ 338443 w 697572"/>
              <a:gd name="csY162" fmla="*/ 1150040 h 1240128"/>
              <a:gd name="csX163" fmla="*/ 338451 w 697572"/>
              <a:gd name="csY163" fmla="*/ 1190780 h 1240128"/>
              <a:gd name="csX164" fmla="*/ 351082 w 697572"/>
              <a:gd name="csY164" fmla="*/ 1207015 h 1240128"/>
              <a:gd name="csX165" fmla="*/ 358298 w 697572"/>
              <a:gd name="csY165" fmla="*/ 1208094 h 1240128"/>
              <a:gd name="csX166" fmla="*/ 521229 w 697572"/>
              <a:gd name="csY166" fmla="*/ 1205646 h 1240128"/>
              <a:gd name="csX167" fmla="*/ 523675 w 697572"/>
              <a:gd name="csY167" fmla="*/ 1205490 h 1240128"/>
              <a:gd name="csX168" fmla="*/ 580423 w 697572"/>
              <a:gd name="csY168" fmla="*/ 1198350 h 1240128"/>
              <a:gd name="csX169" fmla="*/ 636802 w 697572"/>
              <a:gd name="csY169" fmla="*/ 1190940 h 124012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</a:cxnLst>
            <a:rect l="l" t="t" r="r" b="b"/>
            <a:pathLst>
              <a:path w="697572" h="1240128">
                <a:moveTo>
                  <a:pt x="581793" y="1234401"/>
                </a:moveTo>
                <a:cubicBezTo>
                  <a:pt x="580693" y="1234661"/>
                  <a:pt x="579594" y="1234922"/>
                  <a:pt x="577427" y="1234156"/>
                </a:cubicBezTo>
                <a:cubicBezTo>
                  <a:pt x="571216" y="1227899"/>
                  <a:pt x="564912" y="1230441"/>
                  <a:pt x="559133" y="1230909"/>
                </a:cubicBezTo>
                <a:cubicBezTo>
                  <a:pt x="544971" y="1232056"/>
                  <a:pt x="530869" y="1233971"/>
                  <a:pt x="516706" y="1235117"/>
                </a:cubicBezTo>
                <a:cubicBezTo>
                  <a:pt x="502910" y="1236232"/>
                  <a:pt x="489077" y="1237097"/>
                  <a:pt x="475244" y="1237506"/>
                </a:cubicBezTo>
                <a:cubicBezTo>
                  <a:pt x="440539" y="1238535"/>
                  <a:pt x="405696" y="1241458"/>
                  <a:pt x="371154" y="1239428"/>
                </a:cubicBezTo>
                <a:cubicBezTo>
                  <a:pt x="339645" y="1237575"/>
                  <a:pt x="308239" y="1238753"/>
                  <a:pt x="276813" y="1237654"/>
                </a:cubicBezTo>
                <a:cubicBezTo>
                  <a:pt x="273949" y="1237553"/>
                  <a:pt x="271079" y="1237652"/>
                  <a:pt x="268212" y="1237635"/>
                </a:cubicBezTo>
                <a:cubicBezTo>
                  <a:pt x="266165" y="1237623"/>
                  <a:pt x="264111" y="1237668"/>
                  <a:pt x="262072" y="1237523"/>
                </a:cubicBezTo>
                <a:cubicBezTo>
                  <a:pt x="239751" y="1235944"/>
                  <a:pt x="217441" y="1234201"/>
                  <a:pt x="195111" y="1232775"/>
                </a:cubicBezTo>
                <a:cubicBezTo>
                  <a:pt x="178437" y="1231710"/>
                  <a:pt x="161712" y="1231378"/>
                  <a:pt x="145060" y="1230076"/>
                </a:cubicBezTo>
                <a:cubicBezTo>
                  <a:pt x="134969" y="1229287"/>
                  <a:pt x="124987" y="1227177"/>
                  <a:pt x="114933" y="1225832"/>
                </a:cubicBezTo>
                <a:cubicBezTo>
                  <a:pt x="100834" y="1223946"/>
                  <a:pt x="86554" y="1223022"/>
                  <a:pt x="72642" y="1220237"/>
                </a:cubicBezTo>
                <a:cubicBezTo>
                  <a:pt x="51920" y="1216091"/>
                  <a:pt x="31443" y="1210723"/>
                  <a:pt x="10894" y="1205737"/>
                </a:cubicBezTo>
                <a:cubicBezTo>
                  <a:pt x="9027" y="1205284"/>
                  <a:pt x="6196" y="1204140"/>
                  <a:pt x="5856" y="1202799"/>
                </a:cubicBezTo>
                <a:cubicBezTo>
                  <a:pt x="3474" y="1193418"/>
                  <a:pt x="-438" y="1183796"/>
                  <a:pt x="40" y="1174450"/>
                </a:cubicBezTo>
                <a:cubicBezTo>
                  <a:pt x="1079" y="1154149"/>
                  <a:pt x="9757" y="1135843"/>
                  <a:pt x="19831" y="1118410"/>
                </a:cubicBezTo>
                <a:cubicBezTo>
                  <a:pt x="21968" y="1114713"/>
                  <a:pt x="22970" y="1111858"/>
                  <a:pt x="22004" y="1107240"/>
                </a:cubicBezTo>
                <a:cubicBezTo>
                  <a:pt x="17168" y="1084118"/>
                  <a:pt x="17717" y="1061168"/>
                  <a:pt x="25947" y="1038650"/>
                </a:cubicBezTo>
                <a:cubicBezTo>
                  <a:pt x="32954" y="1019481"/>
                  <a:pt x="44478" y="1003118"/>
                  <a:pt x="58234" y="988567"/>
                </a:cubicBezTo>
                <a:cubicBezTo>
                  <a:pt x="77769" y="967902"/>
                  <a:pt x="97978" y="947832"/>
                  <a:pt x="118645" y="928298"/>
                </a:cubicBezTo>
                <a:cubicBezTo>
                  <a:pt x="130104" y="917467"/>
                  <a:pt x="131835" y="905961"/>
                  <a:pt x="126320" y="892015"/>
                </a:cubicBezTo>
                <a:cubicBezTo>
                  <a:pt x="123798" y="885637"/>
                  <a:pt x="122123" y="878904"/>
                  <a:pt x="120345" y="872258"/>
                </a:cubicBezTo>
                <a:cubicBezTo>
                  <a:pt x="119029" y="867341"/>
                  <a:pt x="120162" y="863613"/>
                  <a:pt x="125668" y="861640"/>
                </a:cubicBezTo>
                <a:cubicBezTo>
                  <a:pt x="135266" y="858201"/>
                  <a:pt x="144535" y="853788"/>
                  <a:pt x="154237" y="850716"/>
                </a:cubicBezTo>
                <a:cubicBezTo>
                  <a:pt x="161882" y="848296"/>
                  <a:pt x="167110" y="843897"/>
                  <a:pt x="170248" y="836767"/>
                </a:cubicBezTo>
                <a:cubicBezTo>
                  <a:pt x="176168" y="823316"/>
                  <a:pt x="182193" y="809907"/>
                  <a:pt x="187840" y="796341"/>
                </a:cubicBezTo>
                <a:cubicBezTo>
                  <a:pt x="195194" y="778679"/>
                  <a:pt x="202250" y="760894"/>
                  <a:pt x="209346" y="743126"/>
                </a:cubicBezTo>
                <a:cubicBezTo>
                  <a:pt x="210083" y="741280"/>
                  <a:pt x="210252" y="739200"/>
                  <a:pt x="210630" y="737219"/>
                </a:cubicBezTo>
                <a:cubicBezTo>
                  <a:pt x="211694" y="731645"/>
                  <a:pt x="212425" y="725987"/>
                  <a:pt x="213836" y="720505"/>
                </a:cubicBezTo>
                <a:cubicBezTo>
                  <a:pt x="218406" y="702764"/>
                  <a:pt x="223811" y="685219"/>
                  <a:pt x="227791" y="667353"/>
                </a:cubicBezTo>
                <a:cubicBezTo>
                  <a:pt x="232826" y="644755"/>
                  <a:pt x="237367" y="622009"/>
                  <a:pt x="241013" y="599151"/>
                </a:cubicBezTo>
                <a:cubicBezTo>
                  <a:pt x="244018" y="580319"/>
                  <a:pt x="246001" y="561272"/>
                  <a:pt x="247322" y="542242"/>
                </a:cubicBezTo>
                <a:cubicBezTo>
                  <a:pt x="248312" y="527975"/>
                  <a:pt x="246344" y="513451"/>
                  <a:pt x="247948" y="499296"/>
                </a:cubicBezTo>
                <a:cubicBezTo>
                  <a:pt x="249066" y="489432"/>
                  <a:pt x="247923" y="480014"/>
                  <a:pt x="247577" y="470384"/>
                </a:cubicBezTo>
                <a:cubicBezTo>
                  <a:pt x="247364" y="464453"/>
                  <a:pt x="245121" y="461397"/>
                  <a:pt x="238877" y="460987"/>
                </a:cubicBezTo>
                <a:cubicBezTo>
                  <a:pt x="233224" y="460615"/>
                  <a:pt x="227461" y="459920"/>
                  <a:pt x="222040" y="458353"/>
                </a:cubicBezTo>
                <a:cubicBezTo>
                  <a:pt x="203991" y="453134"/>
                  <a:pt x="185737" y="448229"/>
                  <a:pt x="172193" y="433714"/>
                </a:cubicBezTo>
                <a:cubicBezTo>
                  <a:pt x="162702" y="423544"/>
                  <a:pt x="160887" y="408134"/>
                  <a:pt x="168410" y="396591"/>
                </a:cubicBezTo>
                <a:cubicBezTo>
                  <a:pt x="178294" y="381428"/>
                  <a:pt x="193736" y="373793"/>
                  <a:pt x="209826" y="367773"/>
                </a:cubicBezTo>
                <a:cubicBezTo>
                  <a:pt x="223159" y="362784"/>
                  <a:pt x="237124" y="359493"/>
                  <a:pt x="250732" y="355208"/>
                </a:cubicBezTo>
                <a:cubicBezTo>
                  <a:pt x="253085" y="354467"/>
                  <a:pt x="255058" y="352518"/>
                  <a:pt x="258289" y="350426"/>
                </a:cubicBezTo>
                <a:cubicBezTo>
                  <a:pt x="250173" y="342610"/>
                  <a:pt x="241833" y="337880"/>
                  <a:pt x="233274" y="333513"/>
                </a:cubicBezTo>
                <a:cubicBezTo>
                  <a:pt x="232377" y="333055"/>
                  <a:pt x="230890" y="333758"/>
                  <a:pt x="229677" y="333922"/>
                </a:cubicBezTo>
                <a:cubicBezTo>
                  <a:pt x="229677" y="333922"/>
                  <a:pt x="230323" y="333834"/>
                  <a:pt x="230149" y="332979"/>
                </a:cubicBezTo>
                <a:cubicBezTo>
                  <a:pt x="229023" y="330409"/>
                  <a:pt x="228502" y="328059"/>
                  <a:pt x="227053" y="327076"/>
                </a:cubicBezTo>
                <a:cubicBezTo>
                  <a:pt x="213615" y="317962"/>
                  <a:pt x="204643" y="305332"/>
                  <a:pt x="196769" y="291380"/>
                </a:cubicBezTo>
                <a:cubicBezTo>
                  <a:pt x="191792" y="282564"/>
                  <a:pt x="185421" y="274665"/>
                  <a:pt x="184389" y="264042"/>
                </a:cubicBezTo>
                <a:cubicBezTo>
                  <a:pt x="184179" y="261874"/>
                  <a:pt x="181925" y="259908"/>
                  <a:pt x="180630" y="257839"/>
                </a:cubicBezTo>
                <a:cubicBezTo>
                  <a:pt x="179137" y="255454"/>
                  <a:pt x="177317" y="253204"/>
                  <a:pt x="176231" y="250643"/>
                </a:cubicBezTo>
                <a:cubicBezTo>
                  <a:pt x="161865" y="216749"/>
                  <a:pt x="159606" y="182060"/>
                  <a:pt x="170073" y="146723"/>
                </a:cubicBezTo>
                <a:cubicBezTo>
                  <a:pt x="173311" y="135795"/>
                  <a:pt x="177248" y="125074"/>
                  <a:pt x="180929" y="114280"/>
                </a:cubicBezTo>
                <a:cubicBezTo>
                  <a:pt x="182396" y="109981"/>
                  <a:pt x="183922" y="105742"/>
                  <a:pt x="180839" y="101501"/>
                </a:cubicBezTo>
                <a:cubicBezTo>
                  <a:pt x="192473" y="75833"/>
                  <a:pt x="211344" y="56271"/>
                  <a:pt x="233536" y="39653"/>
                </a:cubicBezTo>
                <a:cubicBezTo>
                  <a:pt x="267321" y="14353"/>
                  <a:pt x="305621" y="873"/>
                  <a:pt x="347618" y="35"/>
                </a:cubicBezTo>
                <a:cubicBezTo>
                  <a:pt x="379125" y="-593"/>
                  <a:pt x="409214" y="7172"/>
                  <a:pt x="437139" y="22396"/>
                </a:cubicBezTo>
                <a:cubicBezTo>
                  <a:pt x="481844" y="46766"/>
                  <a:pt x="514077" y="82116"/>
                  <a:pt x="529052" y="131093"/>
                </a:cubicBezTo>
                <a:cubicBezTo>
                  <a:pt x="543544" y="178495"/>
                  <a:pt x="541630" y="225548"/>
                  <a:pt x="518497" y="271517"/>
                </a:cubicBezTo>
                <a:cubicBezTo>
                  <a:pt x="511428" y="277096"/>
                  <a:pt x="503848" y="281136"/>
                  <a:pt x="500808" y="287385"/>
                </a:cubicBezTo>
                <a:cubicBezTo>
                  <a:pt x="493932" y="301522"/>
                  <a:pt x="483805" y="312513"/>
                  <a:pt x="472948" y="323290"/>
                </a:cubicBezTo>
                <a:cubicBezTo>
                  <a:pt x="470972" y="325253"/>
                  <a:pt x="470533" y="328767"/>
                  <a:pt x="469385" y="331565"/>
                </a:cubicBezTo>
                <a:cubicBezTo>
                  <a:pt x="469385" y="331565"/>
                  <a:pt x="469172" y="331584"/>
                  <a:pt x="468293" y="331320"/>
                </a:cubicBezTo>
                <a:cubicBezTo>
                  <a:pt x="461937" y="330836"/>
                  <a:pt x="458618" y="332772"/>
                  <a:pt x="459542" y="338942"/>
                </a:cubicBezTo>
                <a:cubicBezTo>
                  <a:pt x="459542" y="338942"/>
                  <a:pt x="459473" y="338913"/>
                  <a:pt x="458492" y="338671"/>
                </a:cubicBezTo>
                <a:cubicBezTo>
                  <a:pt x="450936" y="342653"/>
                  <a:pt x="440712" y="341355"/>
                  <a:pt x="436978" y="352226"/>
                </a:cubicBezTo>
                <a:cubicBezTo>
                  <a:pt x="449178" y="355911"/>
                  <a:pt x="460733" y="359469"/>
                  <a:pt x="472329" y="362890"/>
                </a:cubicBezTo>
                <a:cubicBezTo>
                  <a:pt x="491728" y="368613"/>
                  <a:pt x="510182" y="375784"/>
                  <a:pt x="523779" y="391962"/>
                </a:cubicBezTo>
                <a:cubicBezTo>
                  <a:pt x="535849" y="406326"/>
                  <a:pt x="534845" y="420076"/>
                  <a:pt x="527344" y="430096"/>
                </a:cubicBezTo>
                <a:cubicBezTo>
                  <a:pt x="521323" y="438139"/>
                  <a:pt x="513928" y="445333"/>
                  <a:pt x="504112" y="449628"/>
                </a:cubicBezTo>
                <a:cubicBezTo>
                  <a:pt x="489776" y="455901"/>
                  <a:pt x="475173" y="460486"/>
                  <a:pt x="459430" y="461116"/>
                </a:cubicBezTo>
                <a:cubicBezTo>
                  <a:pt x="448415" y="461557"/>
                  <a:pt x="446384" y="463369"/>
                  <a:pt x="446666" y="474229"/>
                </a:cubicBezTo>
                <a:cubicBezTo>
                  <a:pt x="447164" y="493376"/>
                  <a:pt x="447839" y="512533"/>
                  <a:pt x="449133" y="531639"/>
                </a:cubicBezTo>
                <a:cubicBezTo>
                  <a:pt x="450424" y="550696"/>
                  <a:pt x="451783" y="569809"/>
                  <a:pt x="454546" y="588688"/>
                </a:cubicBezTo>
                <a:cubicBezTo>
                  <a:pt x="457543" y="609164"/>
                  <a:pt x="462165" y="629403"/>
                  <a:pt x="466126" y="649736"/>
                </a:cubicBezTo>
                <a:cubicBezTo>
                  <a:pt x="475845" y="699621"/>
                  <a:pt x="493414" y="746980"/>
                  <a:pt x="512154" y="794006"/>
                </a:cubicBezTo>
                <a:cubicBezTo>
                  <a:pt x="517387" y="807138"/>
                  <a:pt x="525145" y="819463"/>
                  <a:pt x="525763" y="834323"/>
                </a:cubicBezTo>
                <a:cubicBezTo>
                  <a:pt x="525919" y="838081"/>
                  <a:pt x="527739" y="843335"/>
                  <a:pt x="530555" y="845114"/>
                </a:cubicBezTo>
                <a:cubicBezTo>
                  <a:pt x="537981" y="849801"/>
                  <a:pt x="546243" y="853278"/>
                  <a:pt x="554424" y="856618"/>
                </a:cubicBezTo>
                <a:cubicBezTo>
                  <a:pt x="560391" y="859054"/>
                  <a:pt x="567041" y="859887"/>
                  <a:pt x="572880" y="862546"/>
                </a:cubicBezTo>
                <a:cubicBezTo>
                  <a:pt x="581470" y="866458"/>
                  <a:pt x="582467" y="871415"/>
                  <a:pt x="578643" y="880396"/>
                </a:cubicBezTo>
                <a:cubicBezTo>
                  <a:pt x="575969" y="886677"/>
                  <a:pt x="572900" y="893182"/>
                  <a:pt x="572188" y="899820"/>
                </a:cubicBezTo>
                <a:cubicBezTo>
                  <a:pt x="570960" y="911271"/>
                  <a:pt x="576506" y="920944"/>
                  <a:pt x="582698" y="930382"/>
                </a:cubicBezTo>
                <a:cubicBezTo>
                  <a:pt x="589569" y="940856"/>
                  <a:pt x="600933" y="947930"/>
                  <a:pt x="604747" y="960852"/>
                </a:cubicBezTo>
                <a:cubicBezTo>
                  <a:pt x="605684" y="964030"/>
                  <a:pt x="610294" y="967128"/>
                  <a:pt x="613863" y="968311"/>
                </a:cubicBezTo>
                <a:cubicBezTo>
                  <a:pt x="620963" y="970665"/>
                  <a:pt x="625924" y="974774"/>
                  <a:pt x="629435" y="981186"/>
                </a:cubicBezTo>
                <a:cubicBezTo>
                  <a:pt x="630381" y="982913"/>
                  <a:pt x="631977" y="984459"/>
                  <a:pt x="633611" y="985609"/>
                </a:cubicBezTo>
                <a:cubicBezTo>
                  <a:pt x="655878" y="1001272"/>
                  <a:pt x="668032" y="1023762"/>
                  <a:pt x="673790" y="1049348"/>
                </a:cubicBezTo>
                <a:cubicBezTo>
                  <a:pt x="676936" y="1063327"/>
                  <a:pt x="679769" y="1077802"/>
                  <a:pt x="675873" y="1092839"/>
                </a:cubicBezTo>
                <a:cubicBezTo>
                  <a:pt x="672677" y="1105174"/>
                  <a:pt x="673042" y="1116963"/>
                  <a:pt x="681668" y="1129292"/>
                </a:cubicBezTo>
                <a:cubicBezTo>
                  <a:pt x="695321" y="1148802"/>
                  <a:pt x="698550" y="1172235"/>
                  <a:pt x="697338" y="1196079"/>
                </a:cubicBezTo>
                <a:cubicBezTo>
                  <a:pt x="697087" y="1201014"/>
                  <a:pt x="694979" y="1203886"/>
                  <a:pt x="690637" y="1205035"/>
                </a:cubicBezTo>
                <a:cubicBezTo>
                  <a:pt x="673723" y="1209511"/>
                  <a:pt x="656856" y="1214241"/>
                  <a:pt x="639777" y="1217994"/>
                </a:cubicBezTo>
                <a:cubicBezTo>
                  <a:pt x="622334" y="1221827"/>
                  <a:pt x="604691" y="1224790"/>
                  <a:pt x="587072" y="1227761"/>
                </a:cubicBezTo>
                <a:cubicBezTo>
                  <a:pt x="582708" y="1228497"/>
                  <a:pt x="581724" y="1230736"/>
                  <a:pt x="581793" y="1234401"/>
                </a:cubicBezTo>
                <a:moveTo>
                  <a:pt x="357446" y="903795"/>
                </a:moveTo>
                <a:cubicBezTo>
                  <a:pt x="353141" y="903795"/>
                  <a:pt x="348835" y="903795"/>
                  <a:pt x="344445" y="903795"/>
                </a:cubicBezTo>
                <a:cubicBezTo>
                  <a:pt x="346169" y="920562"/>
                  <a:pt x="347908" y="935520"/>
                  <a:pt x="349212" y="950515"/>
                </a:cubicBezTo>
                <a:cubicBezTo>
                  <a:pt x="352656" y="990125"/>
                  <a:pt x="351941" y="1029743"/>
                  <a:pt x="349538" y="1069392"/>
                </a:cubicBezTo>
                <a:cubicBezTo>
                  <a:pt x="348759" y="1082241"/>
                  <a:pt x="349415" y="1095176"/>
                  <a:pt x="349415" y="1108925"/>
                </a:cubicBezTo>
                <a:cubicBezTo>
                  <a:pt x="449467" y="1111953"/>
                  <a:pt x="548509" y="1104712"/>
                  <a:pt x="647726" y="1089872"/>
                </a:cubicBezTo>
                <a:cubicBezTo>
                  <a:pt x="647726" y="1084313"/>
                  <a:pt x="648180" y="1080225"/>
                  <a:pt x="647654" y="1076267"/>
                </a:cubicBezTo>
                <a:cubicBezTo>
                  <a:pt x="643515" y="1045124"/>
                  <a:pt x="633172" y="1016714"/>
                  <a:pt x="610267" y="994126"/>
                </a:cubicBezTo>
                <a:cubicBezTo>
                  <a:pt x="597451" y="981485"/>
                  <a:pt x="584392" y="969090"/>
                  <a:pt x="571459" y="956568"/>
                </a:cubicBezTo>
                <a:cubicBezTo>
                  <a:pt x="555751" y="941359"/>
                  <a:pt x="544836" y="923558"/>
                  <a:pt x="541653" y="901544"/>
                </a:cubicBezTo>
                <a:cubicBezTo>
                  <a:pt x="541430" y="900007"/>
                  <a:pt x="540528" y="898570"/>
                  <a:pt x="539477" y="895908"/>
                </a:cubicBezTo>
                <a:cubicBezTo>
                  <a:pt x="479736" y="901652"/>
                  <a:pt x="419815" y="904536"/>
                  <a:pt x="357446" y="903795"/>
                </a:cubicBezTo>
                <a:moveTo>
                  <a:pt x="300108" y="85260"/>
                </a:moveTo>
                <a:cubicBezTo>
                  <a:pt x="293656" y="98745"/>
                  <a:pt x="289202" y="113094"/>
                  <a:pt x="290213" y="127888"/>
                </a:cubicBezTo>
                <a:cubicBezTo>
                  <a:pt x="292527" y="161736"/>
                  <a:pt x="304185" y="191723"/>
                  <a:pt x="331056" y="214168"/>
                </a:cubicBezTo>
                <a:cubicBezTo>
                  <a:pt x="358172" y="236816"/>
                  <a:pt x="388435" y="249934"/>
                  <a:pt x="424717" y="245160"/>
                </a:cubicBezTo>
                <a:cubicBezTo>
                  <a:pt x="468593" y="239387"/>
                  <a:pt x="509574" y="203365"/>
                  <a:pt x="496752" y="141256"/>
                </a:cubicBezTo>
                <a:cubicBezTo>
                  <a:pt x="487021" y="94124"/>
                  <a:pt x="447261" y="51874"/>
                  <a:pt x="390320" y="43995"/>
                </a:cubicBezTo>
                <a:cubicBezTo>
                  <a:pt x="353241" y="38865"/>
                  <a:pt x="321136" y="48750"/>
                  <a:pt x="300108" y="85260"/>
                </a:cubicBezTo>
                <a:moveTo>
                  <a:pt x="343360" y="634332"/>
                </a:moveTo>
                <a:cubicBezTo>
                  <a:pt x="342539" y="666975"/>
                  <a:pt x="341785" y="699619"/>
                  <a:pt x="340877" y="732259"/>
                </a:cubicBezTo>
                <a:cubicBezTo>
                  <a:pt x="340151" y="758355"/>
                  <a:pt x="339265" y="784447"/>
                  <a:pt x="338360" y="810538"/>
                </a:cubicBezTo>
                <a:cubicBezTo>
                  <a:pt x="338277" y="812948"/>
                  <a:pt x="337465" y="815325"/>
                  <a:pt x="337115" y="817736"/>
                </a:cubicBezTo>
                <a:cubicBezTo>
                  <a:pt x="334935" y="832710"/>
                  <a:pt x="336026" y="847647"/>
                  <a:pt x="336516" y="863022"/>
                </a:cubicBezTo>
                <a:cubicBezTo>
                  <a:pt x="339537" y="863479"/>
                  <a:pt x="341490" y="864053"/>
                  <a:pt x="343436" y="864027"/>
                </a:cubicBezTo>
                <a:cubicBezTo>
                  <a:pt x="364531" y="863739"/>
                  <a:pt x="385626" y="863422"/>
                  <a:pt x="406718" y="862982"/>
                </a:cubicBezTo>
                <a:cubicBezTo>
                  <a:pt x="423444" y="862634"/>
                  <a:pt x="440168" y="861675"/>
                  <a:pt x="456888" y="861794"/>
                </a:cubicBezTo>
                <a:cubicBezTo>
                  <a:pt x="469887" y="861886"/>
                  <a:pt x="482872" y="863302"/>
                  <a:pt x="495873" y="863963"/>
                </a:cubicBezTo>
                <a:cubicBezTo>
                  <a:pt x="500358" y="864191"/>
                  <a:pt x="505108" y="864773"/>
                  <a:pt x="509286" y="863595"/>
                </a:cubicBezTo>
                <a:cubicBezTo>
                  <a:pt x="512346" y="862732"/>
                  <a:pt x="515714" y="859703"/>
                  <a:pt x="516956" y="856791"/>
                </a:cubicBezTo>
                <a:cubicBezTo>
                  <a:pt x="517783" y="854851"/>
                  <a:pt x="515475" y="851192"/>
                  <a:pt x="513920" y="848709"/>
                </a:cubicBezTo>
                <a:cubicBezTo>
                  <a:pt x="511791" y="845308"/>
                  <a:pt x="508393" y="842606"/>
                  <a:pt x="506683" y="839054"/>
                </a:cubicBezTo>
                <a:cubicBezTo>
                  <a:pt x="500331" y="825864"/>
                  <a:pt x="493224" y="812855"/>
                  <a:pt x="488629" y="799037"/>
                </a:cubicBezTo>
                <a:cubicBezTo>
                  <a:pt x="477322" y="765031"/>
                  <a:pt x="466537" y="730814"/>
                  <a:pt x="456922" y="696297"/>
                </a:cubicBezTo>
                <a:cubicBezTo>
                  <a:pt x="449953" y="671276"/>
                  <a:pt x="443477" y="646020"/>
                  <a:pt x="441346" y="619885"/>
                </a:cubicBezTo>
                <a:cubicBezTo>
                  <a:pt x="440327" y="607371"/>
                  <a:pt x="437466" y="595018"/>
                  <a:pt x="435963" y="582529"/>
                </a:cubicBezTo>
                <a:cubicBezTo>
                  <a:pt x="433539" y="562380"/>
                  <a:pt x="431154" y="542212"/>
                  <a:pt x="429497" y="521990"/>
                </a:cubicBezTo>
                <a:cubicBezTo>
                  <a:pt x="428135" y="505363"/>
                  <a:pt x="428437" y="488593"/>
                  <a:pt x="426887" y="471989"/>
                </a:cubicBezTo>
                <a:cubicBezTo>
                  <a:pt x="425874" y="461140"/>
                  <a:pt x="424983" y="461120"/>
                  <a:pt x="413744" y="461077"/>
                </a:cubicBezTo>
                <a:cubicBezTo>
                  <a:pt x="393687" y="461000"/>
                  <a:pt x="373630" y="461011"/>
                  <a:pt x="353573" y="461120"/>
                </a:cubicBezTo>
                <a:cubicBezTo>
                  <a:pt x="350472" y="461137"/>
                  <a:pt x="347374" y="461869"/>
                  <a:pt x="344160" y="462286"/>
                </a:cubicBezTo>
                <a:cubicBezTo>
                  <a:pt x="343828" y="465198"/>
                  <a:pt x="343406" y="467195"/>
                  <a:pt x="343404" y="469192"/>
                </a:cubicBezTo>
                <a:cubicBezTo>
                  <a:pt x="343360" y="504394"/>
                  <a:pt x="343267" y="539596"/>
                  <a:pt x="343469" y="574797"/>
                </a:cubicBezTo>
                <a:cubicBezTo>
                  <a:pt x="343501" y="580426"/>
                  <a:pt x="345652" y="586065"/>
                  <a:pt x="345522" y="591669"/>
                </a:cubicBezTo>
                <a:cubicBezTo>
                  <a:pt x="345214" y="605082"/>
                  <a:pt x="344131" y="618478"/>
                  <a:pt x="343360" y="634332"/>
                </a:cubicBezTo>
                <a:moveTo>
                  <a:pt x="416946" y="385943"/>
                </a:moveTo>
                <a:cubicBezTo>
                  <a:pt x="411661" y="386365"/>
                  <a:pt x="406384" y="387006"/>
                  <a:pt x="401091" y="387162"/>
                </a:cubicBezTo>
                <a:cubicBezTo>
                  <a:pt x="390470" y="387477"/>
                  <a:pt x="379841" y="387447"/>
                  <a:pt x="369218" y="387708"/>
                </a:cubicBezTo>
                <a:cubicBezTo>
                  <a:pt x="361167" y="387906"/>
                  <a:pt x="354429" y="391368"/>
                  <a:pt x="351833" y="398991"/>
                </a:cubicBezTo>
                <a:cubicBezTo>
                  <a:pt x="348989" y="407342"/>
                  <a:pt x="347050" y="416214"/>
                  <a:pt x="349778" y="426021"/>
                </a:cubicBezTo>
                <a:cubicBezTo>
                  <a:pt x="353876" y="426204"/>
                  <a:pt x="357857" y="426517"/>
                  <a:pt x="361839" y="426538"/>
                </a:cubicBezTo>
                <a:cubicBezTo>
                  <a:pt x="392900" y="426701"/>
                  <a:pt x="423961" y="426826"/>
                  <a:pt x="455022" y="426922"/>
                </a:cubicBezTo>
                <a:cubicBezTo>
                  <a:pt x="464013" y="426950"/>
                  <a:pt x="473106" y="427654"/>
                  <a:pt x="481958" y="426527"/>
                </a:cubicBezTo>
                <a:cubicBezTo>
                  <a:pt x="488144" y="425740"/>
                  <a:pt x="494821" y="423501"/>
                  <a:pt x="499817" y="419888"/>
                </a:cubicBezTo>
                <a:cubicBezTo>
                  <a:pt x="507869" y="414066"/>
                  <a:pt x="507286" y="406755"/>
                  <a:pt x="499439" y="400719"/>
                </a:cubicBezTo>
                <a:cubicBezTo>
                  <a:pt x="490179" y="393597"/>
                  <a:pt x="479486" y="388885"/>
                  <a:pt x="468062" y="387775"/>
                </a:cubicBezTo>
                <a:cubicBezTo>
                  <a:pt x="451873" y="386202"/>
                  <a:pt x="435520" y="386321"/>
                  <a:pt x="416946" y="385943"/>
                </a:cubicBezTo>
                <a:moveTo>
                  <a:pt x="636802" y="1190940"/>
                </a:moveTo>
                <a:cubicBezTo>
                  <a:pt x="646709" y="1188723"/>
                  <a:pt x="656705" y="1186841"/>
                  <a:pt x="666492" y="1184186"/>
                </a:cubicBezTo>
                <a:cubicBezTo>
                  <a:pt x="674710" y="1181958"/>
                  <a:pt x="676989" y="1178509"/>
                  <a:pt x="674465" y="1170880"/>
                </a:cubicBezTo>
                <a:cubicBezTo>
                  <a:pt x="671144" y="1160843"/>
                  <a:pt x="667026" y="1151009"/>
                  <a:pt x="662462" y="1141464"/>
                </a:cubicBezTo>
                <a:cubicBezTo>
                  <a:pt x="659273" y="1134795"/>
                  <a:pt x="653671" y="1130908"/>
                  <a:pt x="645564" y="1131937"/>
                </a:cubicBezTo>
                <a:cubicBezTo>
                  <a:pt x="639532" y="1132703"/>
                  <a:pt x="633423" y="1132867"/>
                  <a:pt x="627387" y="1133618"/>
                </a:cubicBezTo>
                <a:cubicBezTo>
                  <a:pt x="612888" y="1135421"/>
                  <a:pt x="598449" y="1137770"/>
                  <a:pt x="583917" y="1139222"/>
                </a:cubicBezTo>
                <a:cubicBezTo>
                  <a:pt x="570571" y="1140557"/>
                  <a:pt x="557130" y="1140930"/>
                  <a:pt x="543741" y="1141869"/>
                </a:cubicBezTo>
                <a:cubicBezTo>
                  <a:pt x="533202" y="1142610"/>
                  <a:pt x="522682" y="1143623"/>
                  <a:pt x="512146" y="1144418"/>
                </a:cubicBezTo>
                <a:cubicBezTo>
                  <a:pt x="490671" y="1146038"/>
                  <a:pt x="469214" y="1148450"/>
                  <a:pt x="447711" y="1148973"/>
                </a:cubicBezTo>
                <a:cubicBezTo>
                  <a:pt x="415817" y="1149749"/>
                  <a:pt x="383891" y="1149136"/>
                  <a:pt x="351979" y="1149200"/>
                </a:cubicBezTo>
                <a:cubicBezTo>
                  <a:pt x="347698" y="1149209"/>
                  <a:pt x="343419" y="1149717"/>
                  <a:pt x="338443" y="1150040"/>
                </a:cubicBezTo>
                <a:cubicBezTo>
                  <a:pt x="338443" y="1164651"/>
                  <a:pt x="338413" y="1177715"/>
                  <a:pt x="338451" y="1190780"/>
                </a:cubicBezTo>
                <a:cubicBezTo>
                  <a:pt x="338490" y="1204031"/>
                  <a:pt x="338512" y="1204062"/>
                  <a:pt x="351082" y="1207015"/>
                </a:cubicBezTo>
                <a:cubicBezTo>
                  <a:pt x="353445" y="1207570"/>
                  <a:pt x="355895" y="1208128"/>
                  <a:pt x="358298" y="1208094"/>
                </a:cubicBezTo>
                <a:cubicBezTo>
                  <a:pt x="412608" y="1207329"/>
                  <a:pt x="466919" y="1206484"/>
                  <a:pt x="521229" y="1205646"/>
                </a:cubicBezTo>
                <a:cubicBezTo>
                  <a:pt x="522045" y="1205634"/>
                  <a:pt x="522865" y="1205591"/>
                  <a:pt x="523675" y="1205490"/>
                </a:cubicBezTo>
                <a:cubicBezTo>
                  <a:pt x="542593" y="1203123"/>
                  <a:pt x="561519" y="1200820"/>
                  <a:pt x="580423" y="1198350"/>
                </a:cubicBezTo>
                <a:cubicBezTo>
                  <a:pt x="598523" y="1195985"/>
                  <a:pt x="616599" y="1193446"/>
                  <a:pt x="636802" y="1190940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" name="Free-form: Shape 6">
            <a:extLst>
              <a:ext uri="{FF2B5EF4-FFF2-40B4-BE49-F238E27FC236}">
                <a16:creationId xmlns:a16="http://schemas.microsoft.com/office/drawing/2014/main" id="{141DA6C6-0336-3626-BEF4-090C02CE1C0A}"/>
              </a:ext>
            </a:extLst>
          </p:cNvPr>
          <p:cNvSpPr/>
          <p:nvPr/>
        </p:nvSpPr>
        <p:spPr>
          <a:xfrm>
            <a:off x="1774312" y="2842486"/>
            <a:ext cx="17183" cy="1817"/>
          </a:xfrm>
          <a:custGeom>
            <a:avLst/>
            <a:gdLst>
              <a:gd name="csX0" fmla="*/ 0 w 27674"/>
              <a:gd name="csY0" fmla="*/ 2915 h 2925"/>
              <a:gd name="csX1" fmla="*/ 27675 w 27674"/>
              <a:gd name="csY1" fmla="*/ 1550 h 2925"/>
              <a:gd name="csX2" fmla="*/ 0 w 27674"/>
              <a:gd name="csY2" fmla="*/ 2915 h 292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27674" h="2925">
                <a:moveTo>
                  <a:pt x="0" y="2915"/>
                </a:moveTo>
                <a:cubicBezTo>
                  <a:pt x="8211" y="-1939"/>
                  <a:pt x="17625" y="498"/>
                  <a:pt x="27675" y="1550"/>
                </a:cubicBezTo>
                <a:cubicBezTo>
                  <a:pt x="19225" y="2593"/>
                  <a:pt x="10029" y="2999"/>
                  <a:pt x="0" y="2915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" name="Free-form: Shape 10">
            <a:extLst>
              <a:ext uri="{FF2B5EF4-FFF2-40B4-BE49-F238E27FC236}">
                <a16:creationId xmlns:a16="http://schemas.microsoft.com/office/drawing/2014/main" id="{29764642-9D8D-7F5C-3405-655A628E9505}"/>
              </a:ext>
            </a:extLst>
          </p:cNvPr>
          <p:cNvSpPr/>
          <p:nvPr/>
        </p:nvSpPr>
        <p:spPr>
          <a:xfrm>
            <a:off x="1727008" y="2843510"/>
            <a:ext cx="11179" cy="700"/>
          </a:xfrm>
          <a:custGeom>
            <a:avLst/>
            <a:gdLst>
              <a:gd name="csX0" fmla="*/ 0 w 18003"/>
              <a:gd name="csY0" fmla="*/ 1050 h 1128"/>
              <a:gd name="csX1" fmla="*/ 18004 w 18003"/>
              <a:gd name="csY1" fmla="*/ 93 h 1128"/>
              <a:gd name="csX2" fmla="*/ 0 w 18003"/>
              <a:gd name="csY2" fmla="*/ 1050 h 112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8003" h="1128">
                <a:moveTo>
                  <a:pt x="0" y="1050"/>
                </a:moveTo>
                <a:cubicBezTo>
                  <a:pt x="5276" y="182"/>
                  <a:pt x="11306" y="-189"/>
                  <a:pt x="18004" y="93"/>
                </a:cubicBezTo>
                <a:cubicBezTo>
                  <a:pt x="12699" y="1013"/>
                  <a:pt x="6726" y="1280"/>
                  <a:pt x="0" y="1050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3" name="Free-form: Shape 12">
            <a:extLst>
              <a:ext uri="{FF2B5EF4-FFF2-40B4-BE49-F238E27FC236}">
                <a16:creationId xmlns:a16="http://schemas.microsoft.com/office/drawing/2014/main" id="{79F224D7-5635-1769-274B-BE16E95E2A21}"/>
              </a:ext>
            </a:extLst>
          </p:cNvPr>
          <p:cNvSpPr/>
          <p:nvPr/>
        </p:nvSpPr>
        <p:spPr>
          <a:xfrm>
            <a:off x="1807975" y="2276710"/>
            <a:ext cx="5257" cy="4867"/>
          </a:xfrm>
          <a:custGeom>
            <a:avLst/>
            <a:gdLst>
              <a:gd name="csX0" fmla="*/ 473 w 8466"/>
              <a:gd name="csY0" fmla="*/ 7839 h 7838"/>
              <a:gd name="csX1" fmla="*/ 8466 w 8466"/>
              <a:gd name="csY1" fmla="*/ 61 h 7838"/>
              <a:gd name="csX2" fmla="*/ 473 w 8466"/>
              <a:gd name="csY2" fmla="*/ 7839 h 783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66" h="7838">
                <a:moveTo>
                  <a:pt x="473" y="7839"/>
                </a:moveTo>
                <a:cubicBezTo>
                  <a:pt x="-1298" y="1550"/>
                  <a:pt x="2020" y="-386"/>
                  <a:pt x="8466" y="61"/>
                </a:cubicBezTo>
                <a:cubicBezTo>
                  <a:pt x="6730" y="2845"/>
                  <a:pt x="4026" y="5401"/>
                  <a:pt x="473" y="7839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4" name="Free-form: Shape 13">
            <a:extLst>
              <a:ext uri="{FF2B5EF4-FFF2-40B4-BE49-F238E27FC236}">
                <a16:creationId xmlns:a16="http://schemas.microsoft.com/office/drawing/2014/main" id="{C6DF2C2D-6717-CC64-5046-B0DB54F20385}"/>
              </a:ext>
            </a:extLst>
          </p:cNvPr>
          <p:cNvSpPr/>
          <p:nvPr/>
        </p:nvSpPr>
        <p:spPr>
          <a:xfrm>
            <a:off x="1671979" y="2841996"/>
            <a:ext cx="5265" cy="618"/>
          </a:xfrm>
          <a:custGeom>
            <a:avLst/>
            <a:gdLst>
              <a:gd name="csX0" fmla="*/ 0 w 8480"/>
              <a:gd name="csY0" fmla="*/ 896 h 996"/>
              <a:gd name="csX1" fmla="*/ 8480 w 8480"/>
              <a:gd name="csY1" fmla="*/ 110 h 996"/>
              <a:gd name="csX2" fmla="*/ 0 w 8480"/>
              <a:gd name="csY2" fmla="*/ 896 h 99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80" h="996">
                <a:moveTo>
                  <a:pt x="0" y="896"/>
                </a:moveTo>
                <a:cubicBezTo>
                  <a:pt x="2285" y="115"/>
                  <a:pt x="5130" y="-182"/>
                  <a:pt x="8480" y="110"/>
                </a:cubicBezTo>
                <a:cubicBezTo>
                  <a:pt x="6177" y="927"/>
                  <a:pt x="3368" y="1153"/>
                  <a:pt x="0" y="896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5" name="Free-form: Shape 14">
            <a:extLst>
              <a:ext uri="{FF2B5EF4-FFF2-40B4-BE49-F238E27FC236}">
                <a16:creationId xmlns:a16="http://schemas.microsoft.com/office/drawing/2014/main" id="{CD18FA9E-B6CB-FF60-34DF-AD5384B92E21}"/>
              </a:ext>
            </a:extLst>
          </p:cNvPr>
          <p:cNvSpPr/>
          <p:nvPr/>
        </p:nvSpPr>
        <p:spPr>
          <a:xfrm>
            <a:off x="1958740" y="2815467"/>
            <a:ext cx="763" cy="4134"/>
          </a:xfrm>
          <a:custGeom>
            <a:avLst/>
            <a:gdLst>
              <a:gd name="csX0" fmla="*/ 132 w 1229"/>
              <a:gd name="csY0" fmla="*/ 6659 h 6658"/>
              <a:gd name="csX1" fmla="*/ 1107 w 1229"/>
              <a:gd name="csY1" fmla="*/ 0 h 6658"/>
              <a:gd name="csX2" fmla="*/ 132 w 1229"/>
              <a:gd name="csY2" fmla="*/ 6659 h 665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229" h="6658">
                <a:moveTo>
                  <a:pt x="132" y="6659"/>
                </a:moveTo>
                <a:cubicBezTo>
                  <a:pt x="-219" y="4616"/>
                  <a:pt x="139" y="2560"/>
                  <a:pt x="1107" y="0"/>
                </a:cubicBezTo>
                <a:cubicBezTo>
                  <a:pt x="1425" y="1879"/>
                  <a:pt x="1133" y="4263"/>
                  <a:pt x="132" y="6659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" name="Free-form: Shape 15">
            <a:extLst>
              <a:ext uri="{FF2B5EF4-FFF2-40B4-BE49-F238E27FC236}">
                <a16:creationId xmlns:a16="http://schemas.microsoft.com/office/drawing/2014/main" id="{24720D70-712D-4DB3-2751-8DF2D09DC0FB}"/>
              </a:ext>
            </a:extLst>
          </p:cNvPr>
          <p:cNvSpPr/>
          <p:nvPr/>
        </p:nvSpPr>
        <p:spPr>
          <a:xfrm>
            <a:off x="1891544" y="2835744"/>
            <a:ext cx="2352" cy="847"/>
          </a:xfrm>
          <a:custGeom>
            <a:avLst/>
            <a:gdLst>
              <a:gd name="csX0" fmla="*/ 0 w 3788"/>
              <a:gd name="csY0" fmla="*/ 1364 h 1364"/>
              <a:gd name="csX1" fmla="*/ 3788 w 3788"/>
              <a:gd name="csY1" fmla="*/ 0 h 1364"/>
              <a:gd name="csX2" fmla="*/ 0 w 3788"/>
              <a:gd name="csY2" fmla="*/ 1364 h 136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788" h="1364">
                <a:moveTo>
                  <a:pt x="0" y="1364"/>
                </a:moveTo>
                <a:cubicBezTo>
                  <a:pt x="856" y="517"/>
                  <a:pt x="2126" y="39"/>
                  <a:pt x="3788" y="0"/>
                </a:cubicBezTo>
                <a:cubicBezTo>
                  <a:pt x="2925" y="870"/>
                  <a:pt x="1670" y="1303"/>
                  <a:pt x="0" y="1364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7" name="Free-form: Shape 16">
            <a:extLst>
              <a:ext uri="{FF2B5EF4-FFF2-40B4-BE49-F238E27FC236}">
                <a16:creationId xmlns:a16="http://schemas.microsoft.com/office/drawing/2014/main" id="{2C32BFF4-0D79-DD20-BD22-C89618DBA6F5}"/>
              </a:ext>
            </a:extLst>
          </p:cNvPr>
          <p:cNvSpPr/>
          <p:nvPr/>
        </p:nvSpPr>
        <p:spPr>
          <a:xfrm>
            <a:off x="1619961" y="2839018"/>
            <a:ext cx="2478" cy="515"/>
          </a:xfrm>
          <a:custGeom>
            <a:avLst/>
            <a:gdLst>
              <a:gd name="csX0" fmla="*/ 0 w 3990"/>
              <a:gd name="csY0" fmla="*/ 719 h 829"/>
              <a:gd name="csX1" fmla="*/ 3990 w 3990"/>
              <a:gd name="csY1" fmla="*/ 119 h 829"/>
              <a:gd name="csX2" fmla="*/ 0 w 3990"/>
              <a:gd name="csY2" fmla="*/ 719 h 82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990" h="829">
                <a:moveTo>
                  <a:pt x="0" y="719"/>
                </a:moveTo>
                <a:cubicBezTo>
                  <a:pt x="982" y="66"/>
                  <a:pt x="2323" y="-163"/>
                  <a:pt x="3990" y="119"/>
                </a:cubicBezTo>
                <a:cubicBezTo>
                  <a:pt x="2998" y="800"/>
                  <a:pt x="1678" y="972"/>
                  <a:pt x="0" y="719"/>
                </a:cubicBezTo>
                <a:close/>
              </a:path>
            </a:pathLst>
          </a:custGeom>
          <a:solidFill>
            <a:srgbClr val="959DA0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9" name="Free-form: Shape 18">
            <a:extLst>
              <a:ext uri="{FF2B5EF4-FFF2-40B4-BE49-F238E27FC236}">
                <a16:creationId xmlns:a16="http://schemas.microsoft.com/office/drawing/2014/main" id="{617E11EE-331C-1D36-E25D-D74104E5C52F}"/>
              </a:ext>
            </a:extLst>
          </p:cNvPr>
          <p:cNvSpPr/>
          <p:nvPr/>
        </p:nvSpPr>
        <p:spPr>
          <a:xfrm>
            <a:off x="1830509" y="2841974"/>
            <a:ext cx="2417" cy="705"/>
          </a:xfrm>
          <a:custGeom>
            <a:avLst/>
            <a:gdLst>
              <a:gd name="csX0" fmla="*/ 0 w 3893"/>
              <a:gd name="csY0" fmla="*/ 1133 h 1135"/>
              <a:gd name="csX1" fmla="*/ 3893 w 3893"/>
              <a:gd name="csY1" fmla="*/ 7 h 1135"/>
              <a:gd name="csX2" fmla="*/ 0 w 3893"/>
              <a:gd name="csY2" fmla="*/ 1133 h 113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893" h="1135">
                <a:moveTo>
                  <a:pt x="0" y="1133"/>
                </a:moveTo>
                <a:cubicBezTo>
                  <a:pt x="902" y="349"/>
                  <a:pt x="2213" y="-60"/>
                  <a:pt x="3893" y="7"/>
                </a:cubicBezTo>
                <a:cubicBezTo>
                  <a:pt x="2978" y="825"/>
                  <a:pt x="1693" y="1167"/>
                  <a:pt x="0" y="1133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" name="Free-form: Shape 19">
            <a:extLst>
              <a:ext uri="{FF2B5EF4-FFF2-40B4-BE49-F238E27FC236}">
                <a16:creationId xmlns:a16="http://schemas.microsoft.com/office/drawing/2014/main" id="{B323A4D7-2E61-D1EB-B35F-D967FDE29609}"/>
              </a:ext>
            </a:extLst>
          </p:cNvPr>
          <p:cNvSpPr/>
          <p:nvPr/>
        </p:nvSpPr>
        <p:spPr>
          <a:xfrm>
            <a:off x="1730913" y="2357310"/>
            <a:ext cx="112588" cy="250407"/>
          </a:xfrm>
          <a:custGeom>
            <a:avLst/>
            <a:gdLst>
              <a:gd name="csX0" fmla="*/ 7554 w 181323"/>
              <a:gd name="csY0" fmla="*/ 172079 h 403282"/>
              <a:gd name="csX1" fmla="*/ 9716 w 181323"/>
              <a:gd name="csY1" fmla="*/ 130641 h 403282"/>
              <a:gd name="csX2" fmla="*/ 7663 w 181323"/>
              <a:gd name="csY2" fmla="*/ 113770 h 403282"/>
              <a:gd name="csX3" fmla="*/ 7598 w 181323"/>
              <a:gd name="csY3" fmla="*/ 8165 h 403282"/>
              <a:gd name="csX4" fmla="*/ 8353 w 181323"/>
              <a:gd name="csY4" fmla="*/ 1259 h 403282"/>
              <a:gd name="csX5" fmla="*/ 17767 w 181323"/>
              <a:gd name="csY5" fmla="*/ 93 h 403282"/>
              <a:gd name="csX6" fmla="*/ 77938 w 181323"/>
              <a:gd name="csY6" fmla="*/ 50 h 403282"/>
              <a:gd name="csX7" fmla="*/ 91081 w 181323"/>
              <a:gd name="csY7" fmla="*/ 10962 h 403282"/>
              <a:gd name="csX8" fmla="*/ 93691 w 181323"/>
              <a:gd name="csY8" fmla="*/ 60963 h 403282"/>
              <a:gd name="csX9" fmla="*/ 100157 w 181323"/>
              <a:gd name="csY9" fmla="*/ 121501 h 403282"/>
              <a:gd name="csX10" fmla="*/ 105540 w 181323"/>
              <a:gd name="csY10" fmla="*/ 158857 h 403282"/>
              <a:gd name="csX11" fmla="*/ 121116 w 181323"/>
              <a:gd name="csY11" fmla="*/ 235269 h 403282"/>
              <a:gd name="csX12" fmla="*/ 152823 w 181323"/>
              <a:gd name="csY12" fmla="*/ 338010 h 403282"/>
              <a:gd name="csX13" fmla="*/ 170877 w 181323"/>
              <a:gd name="csY13" fmla="*/ 378027 h 403282"/>
              <a:gd name="csX14" fmla="*/ 178114 w 181323"/>
              <a:gd name="csY14" fmla="*/ 387682 h 403282"/>
              <a:gd name="csX15" fmla="*/ 181150 w 181323"/>
              <a:gd name="csY15" fmla="*/ 395764 h 403282"/>
              <a:gd name="csX16" fmla="*/ 173480 w 181323"/>
              <a:gd name="csY16" fmla="*/ 402568 h 403282"/>
              <a:gd name="csX17" fmla="*/ 160067 w 181323"/>
              <a:gd name="csY17" fmla="*/ 402936 h 403282"/>
              <a:gd name="csX18" fmla="*/ 121081 w 181323"/>
              <a:gd name="csY18" fmla="*/ 400766 h 403282"/>
              <a:gd name="csX19" fmla="*/ 70912 w 181323"/>
              <a:gd name="csY19" fmla="*/ 401955 h 403282"/>
              <a:gd name="csX20" fmla="*/ 7630 w 181323"/>
              <a:gd name="csY20" fmla="*/ 402999 h 403282"/>
              <a:gd name="csX21" fmla="*/ 710 w 181323"/>
              <a:gd name="csY21" fmla="*/ 401995 h 403282"/>
              <a:gd name="csX22" fmla="*/ 1308 w 181323"/>
              <a:gd name="csY22" fmla="*/ 356708 h 403282"/>
              <a:gd name="csX23" fmla="*/ 2554 w 181323"/>
              <a:gd name="csY23" fmla="*/ 349510 h 403282"/>
              <a:gd name="csX24" fmla="*/ 5071 w 181323"/>
              <a:gd name="csY24" fmla="*/ 271231 h 403282"/>
              <a:gd name="csX25" fmla="*/ 7554 w 181323"/>
              <a:gd name="csY25" fmla="*/ 172079 h 403282"/>
              <a:gd name="csX26" fmla="*/ 98286 w 181323"/>
              <a:gd name="csY26" fmla="*/ 163566 h 403282"/>
              <a:gd name="csX27" fmla="*/ 83497 w 181323"/>
              <a:gd name="csY27" fmla="*/ 8289 h 403282"/>
              <a:gd name="csX28" fmla="*/ 15161 w 181323"/>
              <a:gd name="csY28" fmla="*/ 9148 h 403282"/>
              <a:gd name="csX29" fmla="*/ 15058 w 181323"/>
              <a:gd name="csY29" fmla="*/ 137939 h 403282"/>
              <a:gd name="csX30" fmla="*/ 12252 w 181323"/>
              <a:gd name="csY30" fmla="*/ 266862 h 403282"/>
              <a:gd name="csX31" fmla="*/ 7068 w 181323"/>
              <a:gd name="csY31" fmla="*/ 395996 h 403282"/>
              <a:gd name="csX32" fmla="*/ 171647 w 181323"/>
              <a:gd name="csY32" fmla="*/ 395996 h 403282"/>
              <a:gd name="csX33" fmla="*/ 119950 w 181323"/>
              <a:gd name="csY33" fmla="*/ 259496 h 403282"/>
              <a:gd name="csX34" fmla="*/ 98286 w 181323"/>
              <a:gd name="csY34" fmla="*/ 163566 h 40328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</a:cxnLst>
            <a:rect l="l" t="t" r="r" b="b"/>
            <a:pathLst>
              <a:path w="181323" h="403282">
                <a:moveTo>
                  <a:pt x="7554" y="172079"/>
                </a:moveTo>
                <a:cubicBezTo>
                  <a:pt x="8325" y="157451"/>
                  <a:pt x="9408" y="144055"/>
                  <a:pt x="9716" y="130641"/>
                </a:cubicBezTo>
                <a:cubicBezTo>
                  <a:pt x="9846" y="125037"/>
                  <a:pt x="7695" y="119399"/>
                  <a:pt x="7663" y="113770"/>
                </a:cubicBezTo>
                <a:cubicBezTo>
                  <a:pt x="7461" y="78569"/>
                  <a:pt x="7554" y="43367"/>
                  <a:pt x="7598" y="8165"/>
                </a:cubicBezTo>
                <a:cubicBezTo>
                  <a:pt x="7600" y="6167"/>
                  <a:pt x="8022" y="4170"/>
                  <a:pt x="8353" y="1259"/>
                </a:cubicBezTo>
                <a:cubicBezTo>
                  <a:pt x="11568" y="842"/>
                  <a:pt x="14666" y="109"/>
                  <a:pt x="17767" y="93"/>
                </a:cubicBezTo>
                <a:cubicBezTo>
                  <a:pt x="37824" y="-17"/>
                  <a:pt x="57881" y="-27"/>
                  <a:pt x="77938" y="50"/>
                </a:cubicBezTo>
                <a:cubicBezTo>
                  <a:pt x="89177" y="93"/>
                  <a:pt x="90068" y="113"/>
                  <a:pt x="91081" y="10962"/>
                </a:cubicBezTo>
                <a:cubicBezTo>
                  <a:pt x="92631" y="27565"/>
                  <a:pt x="92329" y="44335"/>
                  <a:pt x="93691" y="60963"/>
                </a:cubicBezTo>
                <a:cubicBezTo>
                  <a:pt x="95348" y="81184"/>
                  <a:pt x="97732" y="101353"/>
                  <a:pt x="100157" y="121501"/>
                </a:cubicBezTo>
                <a:cubicBezTo>
                  <a:pt x="101660" y="133990"/>
                  <a:pt x="104521" y="146343"/>
                  <a:pt x="105540" y="158857"/>
                </a:cubicBezTo>
                <a:cubicBezTo>
                  <a:pt x="107671" y="184993"/>
                  <a:pt x="114147" y="210249"/>
                  <a:pt x="121116" y="235269"/>
                </a:cubicBezTo>
                <a:cubicBezTo>
                  <a:pt x="130731" y="269786"/>
                  <a:pt x="141516" y="304004"/>
                  <a:pt x="152823" y="338010"/>
                </a:cubicBezTo>
                <a:cubicBezTo>
                  <a:pt x="157418" y="351828"/>
                  <a:pt x="164524" y="364837"/>
                  <a:pt x="170877" y="378027"/>
                </a:cubicBezTo>
                <a:cubicBezTo>
                  <a:pt x="172587" y="381579"/>
                  <a:pt x="175985" y="384280"/>
                  <a:pt x="178114" y="387682"/>
                </a:cubicBezTo>
                <a:cubicBezTo>
                  <a:pt x="179669" y="390165"/>
                  <a:pt x="181977" y="393824"/>
                  <a:pt x="181150" y="395764"/>
                </a:cubicBezTo>
                <a:cubicBezTo>
                  <a:pt x="179907" y="398676"/>
                  <a:pt x="176540" y="401705"/>
                  <a:pt x="173480" y="402568"/>
                </a:cubicBezTo>
                <a:cubicBezTo>
                  <a:pt x="169302" y="403746"/>
                  <a:pt x="164551" y="403164"/>
                  <a:pt x="160067" y="402936"/>
                </a:cubicBezTo>
                <a:cubicBezTo>
                  <a:pt x="147066" y="402274"/>
                  <a:pt x="134081" y="400859"/>
                  <a:pt x="121081" y="400766"/>
                </a:cubicBezTo>
                <a:cubicBezTo>
                  <a:pt x="104362" y="400647"/>
                  <a:pt x="87638" y="401607"/>
                  <a:pt x="70912" y="401955"/>
                </a:cubicBezTo>
                <a:cubicBezTo>
                  <a:pt x="49820" y="402394"/>
                  <a:pt x="28725" y="402712"/>
                  <a:pt x="7630" y="402999"/>
                </a:cubicBezTo>
                <a:cubicBezTo>
                  <a:pt x="5684" y="403026"/>
                  <a:pt x="3731" y="402452"/>
                  <a:pt x="710" y="401995"/>
                </a:cubicBezTo>
                <a:cubicBezTo>
                  <a:pt x="219" y="386620"/>
                  <a:pt x="-871" y="371682"/>
                  <a:pt x="1308" y="356708"/>
                </a:cubicBezTo>
                <a:cubicBezTo>
                  <a:pt x="1659" y="354298"/>
                  <a:pt x="2471" y="351920"/>
                  <a:pt x="2554" y="349510"/>
                </a:cubicBezTo>
                <a:cubicBezTo>
                  <a:pt x="3459" y="323419"/>
                  <a:pt x="4345" y="297328"/>
                  <a:pt x="5071" y="271231"/>
                </a:cubicBezTo>
                <a:cubicBezTo>
                  <a:pt x="5979" y="238591"/>
                  <a:pt x="6733" y="205947"/>
                  <a:pt x="7554" y="172079"/>
                </a:cubicBezTo>
                <a:moveTo>
                  <a:pt x="98286" y="163566"/>
                </a:moveTo>
                <a:cubicBezTo>
                  <a:pt x="89288" y="112116"/>
                  <a:pt x="86355" y="60033"/>
                  <a:pt x="83497" y="8289"/>
                </a:cubicBezTo>
                <a:cubicBezTo>
                  <a:pt x="65606" y="5845"/>
                  <a:pt x="24110" y="6470"/>
                  <a:pt x="15161" y="9148"/>
                </a:cubicBezTo>
                <a:cubicBezTo>
                  <a:pt x="15161" y="52045"/>
                  <a:pt x="15527" y="94996"/>
                  <a:pt x="15058" y="137939"/>
                </a:cubicBezTo>
                <a:cubicBezTo>
                  <a:pt x="14587" y="180919"/>
                  <a:pt x="13597" y="223900"/>
                  <a:pt x="12252" y="266862"/>
                </a:cubicBezTo>
                <a:cubicBezTo>
                  <a:pt x="10912" y="309638"/>
                  <a:pt x="8849" y="352391"/>
                  <a:pt x="7068" y="395996"/>
                </a:cubicBezTo>
                <a:cubicBezTo>
                  <a:pt x="62774" y="395996"/>
                  <a:pt x="116821" y="395996"/>
                  <a:pt x="171647" y="395996"/>
                </a:cubicBezTo>
                <a:cubicBezTo>
                  <a:pt x="148550" y="352016"/>
                  <a:pt x="132566" y="306307"/>
                  <a:pt x="119950" y="259496"/>
                </a:cubicBezTo>
                <a:cubicBezTo>
                  <a:pt x="111608" y="228543"/>
                  <a:pt x="105493" y="196989"/>
                  <a:pt x="98286" y="163566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" name="Free-form: Shape 20">
            <a:extLst>
              <a:ext uri="{FF2B5EF4-FFF2-40B4-BE49-F238E27FC236}">
                <a16:creationId xmlns:a16="http://schemas.microsoft.com/office/drawing/2014/main" id="{563C0989-3340-5D0C-831B-42CC4E5E2212}"/>
              </a:ext>
            </a:extLst>
          </p:cNvPr>
          <p:cNvSpPr/>
          <p:nvPr/>
        </p:nvSpPr>
        <p:spPr>
          <a:xfrm>
            <a:off x="1732544" y="2773791"/>
            <a:ext cx="209255" cy="47389"/>
          </a:xfrm>
          <a:custGeom>
            <a:avLst/>
            <a:gdLst>
              <a:gd name="csX0" fmla="*/ 297312 w 337008"/>
              <a:gd name="csY0" fmla="*/ 59188 h 76321"/>
              <a:gd name="csX1" fmla="*/ 241991 w 337008"/>
              <a:gd name="csY1" fmla="*/ 66577 h 76321"/>
              <a:gd name="csX2" fmla="*/ 185243 w 337008"/>
              <a:gd name="csY2" fmla="*/ 73717 h 76321"/>
              <a:gd name="csX3" fmla="*/ 182797 w 337008"/>
              <a:gd name="csY3" fmla="*/ 73873 h 76321"/>
              <a:gd name="csX4" fmla="*/ 19866 w 337008"/>
              <a:gd name="csY4" fmla="*/ 76320 h 76321"/>
              <a:gd name="csX5" fmla="*/ 12650 w 337008"/>
              <a:gd name="csY5" fmla="*/ 75242 h 76321"/>
              <a:gd name="csX6" fmla="*/ 19 w 337008"/>
              <a:gd name="csY6" fmla="*/ 59006 h 76321"/>
              <a:gd name="csX7" fmla="*/ 11 w 337008"/>
              <a:gd name="csY7" fmla="*/ 18266 h 76321"/>
              <a:gd name="csX8" fmla="*/ 13547 w 337008"/>
              <a:gd name="csY8" fmla="*/ 17427 h 76321"/>
              <a:gd name="csX9" fmla="*/ 109279 w 337008"/>
              <a:gd name="csY9" fmla="*/ 17200 h 76321"/>
              <a:gd name="csX10" fmla="*/ 173714 w 337008"/>
              <a:gd name="csY10" fmla="*/ 12645 h 76321"/>
              <a:gd name="csX11" fmla="*/ 205309 w 337008"/>
              <a:gd name="csY11" fmla="*/ 10096 h 76321"/>
              <a:gd name="csX12" fmla="*/ 245485 w 337008"/>
              <a:gd name="csY12" fmla="*/ 7449 h 76321"/>
              <a:gd name="csX13" fmla="*/ 288955 w 337008"/>
              <a:gd name="csY13" fmla="*/ 1844 h 76321"/>
              <a:gd name="csX14" fmla="*/ 307132 w 337008"/>
              <a:gd name="csY14" fmla="*/ 164 h 76321"/>
              <a:gd name="csX15" fmla="*/ 324030 w 337008"/>
              <a:gd name="csY15" fmla="*/ 9691 h 76321"/>
              <a:gd name="csX16" fmla="*/ 336033 w 337008"/>
              <a:gd name="csY16" fmla="*/ 39107 h 76321"/>
              <a:gd name="csX17" fmla="*/ 328060 w 337008"/>
              <a:gd name="csY17" fmla="*/ 52413 h 76321"/>
              <a:gd name="csX18" fmla="*/ 297312 w 337008"/>
              <a:gd name="csY18" fmla="*/ 59188 h 76321"/>
              <a:gd name="csX19" fmla="*/ 207688 w 337008"/>
              <a:gd name="csY19" fmla="*/ 64284 h 76321"/>
              <a:gd name="csX20" fmla="*/ 330050 w 337008"/>
              <a:gd name="csY20" fmla="*/ 45606 h 76321"/>
              <a:gd name="csX21" fmla="*/ 317356 w 337008"/>
              <a:gd name="csY21" fmla="*/ 11297 h 76321"/>
              <a:gd name="csX22" fmla="*/ 304170 w 337008"/>
              <a:gd name="csY22" fmla="*/ 5545 h 76321"/>
              <a:gd name="csX23" fmla="*/ 273851 w 337008"/>
              <a:gd name="csY23" fmla="*/ 10014 h 76321"/>
              <a:gd name="csX24" fmla="*/ 163935 w 337008"/>
              <a:gd name="csY24" fmla="*/ 20274 h 76321"/>
              <a:gd name="csX25" fmla="*/ 17973 w 337008"/>
              <a:gd name="csY25" fmla="*/ 22950 h 76321"/>
              <a:gd name="csX26" fmla="*/ 7372 w 337008"/>
              <a:gd name="csY26" fmla="*/ 23601 h 76321"/>
              <a:gd name="csX27" fmla="*/ 7372 w 337008"/>
              <a:gd name="csY27" fmla="*/ 67898 h 76321"/>
              <a:gd name="csX28" fmla="*/ 207688 w 337008"/>
              <a:gd name="csY28" fmla="*/ 64284 h 7632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</a:cxnLst>
            <a:rect l="l" t="t" r="r" b="b"/>
            <a:pathLst>
              <a:path w="337008" h="76321">
                <a:moveTo>
                  <a:pt x="297312" y="59188"/>
                </a:moveTo>
                <a:cubicBezTo>
                  <a:pt x="278167" y="61672"/>
                  <a:pt x="260091" y="64212"/>
                  <a:pt x="241991" y="66577"/>
                </a:cubicBezTo>
                <a:cubicBezTo>
                  <a:pt x="223087" y="69047"/>
                  <a:pt x="204161" y="71350"/>
                  <a:pt x="185243" y="73717"/>
                </a:cubicBezTo>
                <a:cubicBezTo>
                  <a:pt x="184433" y="73818"/>
                  <a:pt x="183613" y="73861"/>
                  <a:pt x="182797" y="73873"/>
                </a:cubicBezTo>
                <a:cubicBezTo>
                  <a:pt x="128487" y="74710"/>
                  <a:pt x="74176" y="75556"/>
                  <a:pt x="19866" y="76320"/>
                </a:cubicBezTo>
                <a:cubicBezTo>
                  <a:pt x="17463" y="76354"/>
                  <a:pt x="15013" y="75797"/>
                  <a:pt x="12650" y="75242"/>
                </a:cubicBezTo>
                <a:cubicBezTo>
                  <a:pt x="80" y="72288"/>
                  <a:pt x="58" y="72258"/>
                  <a:pt x="19" y="59006"/>
                </a:cubicBezTo>
                <a:cubicBezTo>
                  <a:pt x="-19" y="45942"/>
                  <a:pt x="11" y="32877"/>
                  <a:pt x="11" y="18266"/>
                </a:cubicBezTo>
                <a:cubicBezTo>
                  <a:pt x="4987" y="17944"/>
                  <a:pt x="9266" y="17435"/>
                  <a:pt x="13547" y="17427"/>
                </a:cubicBezTo>
                <a:cubicBezTo>
                  <a:pt x="45459" y="17362"/>
                  <a:pt x="77385" y="17975"/>
                  <a:pt x="109279" y="17200"/>
                </a:cubicBezTo>
                <a:cubicBezTo>
                  <a:pt x="130782" y="16677"/>
                  <a:pt x="152239" y="14265"/>
                  <a:pt x="173714" y="12645"/>
                </a:cubicBezTo>
                <a:cubicBezTo>
                  <a:pt x="184250" y="11850"/>
                  <a:pt x="194770" y="10836"/>
                  <a:pt x="205309" y="10096"/>
                </a:cubicBezTo>
                <a:cubicBezTo>
                  <a:pt x="218698" y="9156"/>
                  <a:pt x="232139" y="8783"/>
                  <a:pt x="245485" y="7449"/>
                </a:cubicBezTo>
                <a:cubicBezTo>
                  <a:pt x="260017" y="5997"/>
                  <a:pt x="274456" y="3648"/>
                  <a:pt x="288955" y="1844"/>
                </a:cubicBezTo>
                <a:cubicBezTo>
                  <a:pt x="294991" y="1094"/>
                  <a:pt x="301100" y="930"/>
                  <a:pt x="307132" y="164"/>
                </a:cubicBezTo>
                <a:cubicBezTo>
                  <a:pt x="315239" y="-865"/>
                  <a:pt x="320841" y="3022"/>
                  <a:pt x="324030" y="9691"/>
                </a:cubicBezTo>
                <a:cubicBezTo>
                  <a:pt x="328594" y="19236"/>
                  <a:pt x="332712" y="29070"/>
                  <a:pt x="336033" y="39107"/>
                </a:cubicBezTo>
                <a:cubicBezTo>
                  <a:pt x="338557" y="46735"/>
                  <a:pt x="336278" y="50185"/>
                  <a:pt x="328060" y="52413"/>
                </a:cubicBezTo>
                <a:cubicBezTo>
                  <a:pt x="318273" y="55068"/>
                  <a:pt x="308277" y="56950"/>
                  <a:pt x="297312" y="59188"/>
                </a:cubicBezTo>
                <a:moveTo>
                  <a:pt x="207688" y="64284"/>
                </a:moveTo>
                <a:cubicBezTo>
                  <a:pt x="248681" y="60632"/>
                  <a:pt x="289317" y="54812"/>
                  <a:pt x="330050" y="45606"/>
                </a:cubicBezTo>
                <a:cubicBezTo>
                  <a:pt x="327603" y="32443"/>
                  <a:pt x="323777" y="21532"/>
                  <a:pt x="317356" y="11297"/>
                </a:cubicBezTo>
                <a:cubicBezTo>
                  <a:pt x="313908" y="5803"/>
                  <a:pt x="310145" y="4465"/>
                  <a:pt x="304170" y="5545"/>
                </a:cubicBezTo>
                <a:cubicBezTo>
                  <a:pt x="294121" y="7361"/>
                  <a:pt x="284007" y="9006"/>
                  <a:pt x="273851" y="10014"/>
                </a:cubicBezTo>
                <a:cubicBezTo>
                  <a:pt x="237233" y="13650"/>
                  <a:pt x="200632" y="17661"/>
                  <a:pt x="163935" y="20274"/>
                </a:cubicBezTo>
                <a:cubicBezTo>
                  <a:pt x="115360" y="23734"/>
                  <a:pt x="66701" y="25937"/>
                  <a:pt x="17973" y="22950"/>
                </a:cubicBezTo>
                <a:cubicBezTo>
                  <a:pt x="14492" y="22737"/>
                  <a:pt x="10959" y="23361"/>
                  <a:pt x="7372" y="23601"/>
                </a:cubicBezTo>
                <a:cubicBezTo>
                  <a:pt x="7372" y="38609"/>
                  <a:pt x="7372" y="52361"/>
                  <a:pt x="7372" y="67898"/>
                </a:cubicBezTo>
                <a:cubicBezTo>
                  <a:pt x="74001" y="69806"/>
                  <a:pt x="139746" y="71025"/>
                  <a:pt x="207688" y="64284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2" name="Free-form: Shape 21">
            <a:extLst>
              <a:ext uri="{FF2B5EF4-FFF2-40B4-BE49-F238E27FC236}">
                <a16:creationId xmlns:a16="http://schemas.microsoft.com/office/drawing/2014/main" id="{8251DAF2-CF77-52DD-469A-A97E13B608E5}"/>
              </a:ext>
            </a:extLst>
          </p:cNvPr>
          <p:cNvSpPr/>
          <p:nvPr/>
        </p:nvSpPr>
        <p:spPr>
          <a:xfrm>
            <a:off x="1736277" y="2627337"/>
            <a:ext cx="188426" cy="132688"/>
          </a:xfrm>
          <a:custGeom>
            <a:avLst/>
            <a:gdLst>
              <a:gd name="csX0" fmla="*/ 14160 w 303463"/>
              <a:gd name="csY0" fmla="*/ 7889 h 213695"/>
              <a:gd name="csX1" fmla="*/ 195033 w 303463"/>
              <a:gd name="csY1" fmla="*/ 0 h 213695"/>
              <a:gd name="csX2" fmla="*/ 197208 w 303463"/>
              <a:gd name="csY2" fmla="*/ 5635 h 213695"/>
              <a:gd name="csX3" fmla="*/ 227014 w 303463"/>
              <a:gd name="csY3" fmla="*/ 60660 h 213695"/>
              <a:gd name="csX4" fmla="*/ 265823 w 303463"/>
              <a:gd name="csY4" fmla="*/ 98217 h 213695"/>
              <a:gd name="csX5" fmla="*/ 303210 w 303463"/>
              <a:gd name="csY5" fmla="*/ 180358 h 213695"/>
              <a:gd name="csX6" fmla="*/ 303282 w 303463"/>
              <a:gd name="csY6" fmla="*/ 193964 h 213695"/>
              <a:gd name="csX7" fmla="*/ 4971 w 303463"/>
              <a:gd name="csY7" fmla="*/ 213017 h 213695"/>
              <a:gd name="csX8" fmla="*/ 5093 w 303463"/>
              <a:gd name="csY8" fmla="*/ 173484 h 213695"/>
              <a:gd name="csX9" fmla="*/ 4767 w 303463"/>
              <a:gd name="csY9" fmla="*/ 54607 h 213695"/>
              <a:gd name="csX10" fmla="*/ 0 w 303463"/>
              <a:gd name="csY10" fmla="*/ 7887 h 213695"/>
              <a:gd name="csX11" fmla="*/ 14160 w 303463"/>
              <a:gd name="csY11" fmla="*/ 7889 h 21369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303463" h="213695">
                <a:moveTo>
                  <a:pt x="14160" y="7889"/>
                </a:moveTo>
                <a:cubicBezTo>
                  <a:pt x="75371" y="8627"/>
                  <a:pt x="135292" y="5744"/>
                  <a:pt x="195033" y="0"/>
                </a:cubicBezTo>
                <a:cubicBezTo>
                  <a:pt x="196084" y="2662"/>
                  <a:pt x="196986" y="4099"/>
                  <a:pt x="197208" y="5635"/>
                </a:cubicBezTo>
                <a:cubicBezTo>
                  <a:pt x="200391" y="27650"/>
                  <a:pt x="211307" y="45450"/>
                  <a:pt x="227014" y="60660"/>
                </a:cubicBezTo>
                <a:cubicBezTo>
                  <a:pt x="239947" y="73182"/>
                  <a:pt x="253006" y="85577"/>
                  <a:pt x="265823" y="98217"/>
                </a:cubicBezTo>
                <a:cubicBezTo>
                  <a:pt x="288727" y="120806"/>
                  <a:pt x="299071" y="149215"/>
                  <a:pt x="303210" y="180358"/>
                </a:cubicBezTo>
                <a:cubicBezTo>
                  <a:pt x="303735" y="184317"/>
                  <a:pt x="303282" y="188405"/>
                  <a:pt x="303282" y="193964"/>
                </a:cubicBezTo>
                <a:cubicBezTo>
                  <a:pt x="204065" y="208804"/>
                  <a:pt x="105022" y="216044"/>
                  <a:pt x="4971" y="213017"/>
                </a:cubicBezTo>
                <a:cubicBezTo>
                  <a:pt x="4971" y="199268"/>
                  <a:pt x="4314" y="186332"/>
                  <a:pt x="5093" y="173484"/>
                </a:cubicBezTo>
                <a:cubicBezTo>
                  <a:pt x="7497" y="133835"/>
                  <a:pt x="8211" y="94216"/>
                  <a:pt x="4767" y="54607"/>
                </a:cubicBezTo>
                <a:cubicBezTo>
                  <a:pt x="3464" y="39611"/>
                  <a:pt x="1725" y="24653"/>
                  <a:pt x="0" y="7887"/>
                </a:cubicBezTo>
                <a:cubicBezTo>
                  <a:pt x="4390" y="7887"/>
                  <a:pt x="8696" y="7887"/>
                  <a:pt x="14160" y="7889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3" name="Free-form: Shape 22">
            <a:extLst>
              <a:ext uri="{FF2B5EF4-FFF2-40B4-BE49-F238E27FC236}">
                <a16:creationId xmlns:a16="http://schemas.microsoft.com/office/drawing/2014/main" id="{4D7160A1-6C66-1D64-18B9-42E11AE314AE}"/>
              </a:ext>
            </a:extLst>
          </p:cNvPr>
          <p:cNvSpPr/>
          <p:nvPr/>
        </p:nvSpPr>
        <p:spPr>
          <a:xfrm>
            <a:off x="1702515" y="2097581"/>
            <a:ext cx="129814" cy="126299"/>
          </a:xfrm>
          <a:custGeom>
            <a:avLst/>
            <a:gdLst>
              <a:gd name="csX0" fmla="*/ 10475 w 209067"/>
              <a:gd name="csY0" fmla="*/ 41718 h 203406"/>
              <a:gd name="csX1" fmla="*/ 100250 w 209067"/>
              <a:gd name="csY1" fmla="*/ 1265 h 203406"/>
              <a:gd name="csX2" fmla="*/ 206681 w 209067"/>
              <a:gd name="csY2" fmla="*/ 98526 h 203406"/>
              <a:gd name="csX3" fmla="*/ 134647 w 209067"/>
              <a:gd name="csY3" fmla="*/ 202431 h 203406"/>
              <a:gd name="csX4" fmla="*/ 40986 w 209067"/>
              <a:gd name="csY4" fmla="*/ 171438 h 203406"/>
              <a:gd name="csX5" fmla="*/ 143 w 209067"/>
              <a:gd name="csY5" fmla="*/ 85158 h 203406"/>
              <a:gd name="csX6" fmla="*/ 10475 w 209067"/>
              <a:gd name="csY6" fmla="*/ 41718 h 20340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</a:cxnLst>
            <a:rect l="l" t="t" r="r" b="b"/>
            <a:pathLst>
              <a:path w="209067" h="203406">
                <a:moveTo>
                  <a:pt x="10475" y="41718"/>
                </a:moveTo>
                <a:cubicBezTo>
                  <a:pt x="31065" y="6021"/>
                  <a:pt x="63171" y="-3865"/>
                  <a:pt x="100250" y="1265"/>
                </a:cubicBezTo>
                <a:cubicBezTo>
                  <a:pt x="157191" y="9144"/>
                  <a:pt x="196951" y="51394"/>
                  <a:pt x="206681" y="98526"/>
                </a:cubicBezTo>
                <a:cubicBezTo>
                  <a:pt x="219504" y="160635"/>
                  <a:pt x="178523" y="196657"/>
                  <a:pt x="134647" y="202431"/>
                </a:cubicBezTo>
                <a:cubicBezTo>
                  <a:pt x="98365" y="207204"/>
                  <a:pt x="68101" y="194086"/>
                  <a:pt x="40986" y="171438"/>
                </a:cubicBezTo>
                <a:cubicBezTo>
                  <a:pt x="14115" y="148994"/>
                  <a:pt x="2457" y="119007"/>
                  <a:pt x="143" y="85158"/>
                </a:cubicBezTo>
                <a:cubicBezTo>
                  <a:pt x="-869" y="70364"/>
                  <a:pt x="3586" y="56015"/>
                  <a:pt x="10475" y="41718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5" name="Free-form: Shape 24">
            <a:extLst>
              <a:ext uri="{FF2B5EF4-FFF2-40B4-BE49-F238E27FC236}">
                <a16:creationId xmlns:a16="http://schemas.microsoft.com/office/drawing/2014/main" id="{E0146FB1-96ED-BE81-C58B-2F7E51F8465D}"/>
              </a:ext>
            </a:extLst>
          </p:cNvPr>
          <p:cNvSpPr/>
          <p:nvPr/>
        </p:nvSpPr>
        <p:spPr>
          <a:xfrm>
            <a:off x="1738774" y="2310619"/>
            <a:ext cx="97564" cy="25665"/>
          </a:xfrm>
          <a:custGeom>
            <a:avLst/>
            <a:gdLst>
              <a:gd name="csX0" fmla="*/ 69625 w 157129"/>
              <a:gd name="csY0" fmla="*/ 0 h 41334"/>
              <a:gd name="csX1" fmla="*/ 119596 w 157129"/>
              <a:gd name="csY1" fmla="*/ 1945 h 41334"/>
              <a:gd name="csX2" fmla="*/ 150973 w 157129"/>
              <a:gd name="csY2" fmla="*/ 14889 h 41334"/>
              <a:gd name="csX3" fmla="*/ 151351 w 157129"/>
              <a:gd name="csY3" fmla="*/ 34058 h 41334"/>
              <a:gd name="csX4" fmla="*/ 133492 w 157129"/>
              <a:gd name="csY4" fmla="*/ 40697 h 41334"/>
              <a:gd name="csX5" fmla="*/ 106556 w 157129"/>
              <a:gd name="csY5" fmla="*/ 41092 h 41334"/>
              <a:gd name="csX6" fmla="*/ 13373 w 157129"/>
              <a:gd name="csY6" fmla="*/ 40708 h 41334"/>
              <a:gd name="csX7" fmla="*/ 1312 w 157129"/>
              <a:gd name="csY7" fmla="*/ 40191 h 41334"/>
              <a:gd name="csX8" fmla="*/ 3367 w 157129"/>
              <a:gd name="csY8" fmla="*/ 13162 h 41334"/>
              <a:gd name="csX9" fmla="*/ 20752 w 157129"/>
              <a:gd name="csY9" fmla="*/ 1879 h 41334"/>
              <a:gd name="csX10" fmla="*/ 52625 w 157129"/>
              <a:gd name="csY10" fmla="*/ 1332 h 41334"/>
              <a:gd name="csX11" fmla="*/ 69625 w 157129"/>
              <a:gd name="csY11" fmla="*/ 0 h 4133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157129" h="41334">
                <a:moveTo>
                  <a:pt x="69625" y="0"/>
                </a:moveTo>
                <a:cubicBezTo>
                  <a:pt x="87054" y="491"/>
                  <a:pt x="103407" y="373"/>
                  <a:pt x="119596" y="1945"/>
                </a:cubicBezTo>
                <a:cubicBezTo>
                  <a:pt x="131020" y="3055"/>
                  <a:pt x="141713" y="7767"/>
                  <a:pt x="150973" y="14889"/>
                </a:cubicBezTo>
                <a:cubicBezTo>
                  <a:pt x="158820" y="20925"/>
                  <a:pt x="159403" y="28236"/>
                  <a:pt x="151351" y="34058"/>
                </a:cubicBezTo>
                <a:cubicBezTo>
                  <a:pt x="146355" y="37671"/>
                  <a:pt x="139678" y="39910"/>
                  <a:pt x="133492" y="40697"/>
                </a:cubicBezTo>
                <a:cubicBezTo>
                  <a:pt x="124640" y="41824"/>
                  <a:pt x="115547" y="41120"/>
                  <a:pt x="106556" y="41092"/>
                </a:cubicBezTo>
                <a:cubicBezTo>
                  <a:pt x="75495" y="40996"/>
                  <a:pt x="44434" y="40872"/>
                  <a:pt x="13373" y="40708"/>
                </a:cubicBezTo>
                <a:cubicBezTo>
                  <a:pt x="9391" y="40687"/>
                  <a:pt x="5410" y="40374"/>
                  <a:pt x="1312" y="40191"/>
                </a:cubicBezTo>
                <a:cubicBezTo>
                  <a:pt x="-1416" y="30384"/>
                  <a:pt x="523" y="21512"/>
                  <a:pt x="3367" y="13162"/>
                </a:cubicBezTo>
                <a:cubicBezTo>
                  <a:pt x="5963" y="5538"/>
                  <a:pt x="12701" y="2077"/>
                  <a:pt x="20752" y="1879"/>
                </a:cubicBezTo>
                <a:cubicBezTo>
                  <a:pt x="31375" y="1617"/>
                  <a:pt x="42004" y="1647"/>
                  <a:pt x="52625" y="1332"/>
                </a:cubicBezTo>
                <a:cubicBezTo>
                  <a:pt x="57918" y="1176"/>
                  <a:pt x="63195" y="535"/>
                  <a:pt x="69625" y="0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6" name="Free-form: Shape 25">
            <a:extLst>
              <a:ext uri="{FF2B5EF4-FFF2-40B4-BE49-F238E27FC236}">
                <a16:creationId xmlns:a16="http://schemas.microsoft.com/office/drawing/2014/main" id="{DFC7D1A9-EF94-812D-2E84-39EEB78F33A7}"/>
              </a:ext>
            </a:extLst>
          </p:cNvPr>
          <p:cNvSpPr/>
          <p:nvPr/>
        </p:nvSpPr>
        <p:spPr>
          <a:xfrm>
            <a:off x="1735301" y="2361506"/>
            <a:ext cx="102191" cy="241686"/>
          </a:xfrm>
          <a:custGeom>
            <a:avLst/>
            <a:gdLst>
              <a:gd name="csX0" fmla="*/ 91265 w 164579"/>
              <a:gd name="csY0" fmla="*/ 157878 h 389238"/>
              <a:gd name="csX1" fmla="*/ 112882 w 164579"/>
              <a:gd name="csY1" fmla="*/ 252738 h 389238"/>
              <a:gd name="csX2" fmla="*/ 164579 w 164579"/>
              <a:gd name="csY2" fmla="*/ 389238 h 389238"/>
              <a:gd name="csX3" fmla="*/ 0 w 164579"/>
              <a:gd name="csY3" fmla="*/ 389238 h 389238"/>
              <a:gd name="csX4" fmla="*/ 5184 w 164579"/>
              <a:gd name="csY4" fmla="*/ 260105 h 389238"/>
              <a:gd name="csX5" fmla="*/ 7989 w 164579"/>
              <a:gd name="csY5" fmla="*/ 131182 h 389238"/>
              <a:gd name="csX6" fmla="*/ 8093 w 164579"/>
              <a:gd name="csY6" fmla="*/ 2390 h 389238"/>
              <a:gd name="csX7" fmla="*/ 76429 w 164579"/>
              <a:gd name="csY7" fmla="*/ 1531 h 389238"/>
              <a:gd name="csX8" fmla="*/ 91265 w 164579"/>
              <a:gd name="csY8" fmla="*/ 157878 h 38923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</a:cxnLst>
            <a:rect l="l" t="t" r="r" b="b"/>
            <a:pathLst>
              <a:path w="164579" h="389238">
                <a:moveTo>
                  <a:pt x="91265" y="157878"/>
                </a:moveTo>
                <a:cubicBezTo>
                  <a:pt x="98425" y="190232"/>
                  <a:pt x="104539" y="221785"/>
                  <a:pt x="112882" y="252738"/>
                </a:cubicBezTo>
                <a:cubicBezTo>
                  <a:pt x="125498" y="299549"/>
                  <a:pt x="141482" y="345258"/>
                  <a:pt x="164579" y="389238"/>
                </a:cubicBezTo>
                <a:cubicBezTo>
                  <a:pt x="109753" y="389238"/>
                  <a:pt x="55706" y="389238"/>
                  <a:pt x="0" y="389238"/>
                </a:cubicBezTo>
                <a:cubicBezTo>
                  <a:pt x="1781" y="345633"/>
                  <a:pt x="3844" y="302880"/>
                  <a:pt x="5184" y="260105"/>
                </a:cubicBezTo>
                <a:cubicBezTo>
                  <a:pt x="6529" y="217143"/>
                  <a:pt x="7519" y="174162"/>
                  <a:pt x="7989" y="131182"/>
                </a:cubicBezTo>
                <a:cubicBezTo>
                  <a:pt x="8459" y="88239"/>
                  <a:pt x="8093" y="45287"/>
                  <a:pt x="8093" y="2390"/>
                </a:cubicBezTo>
                <a:cubicBezTo>
                  <a:pt x="17041" y="-288"/>
                  <a:pt x="58537" y="-913"/>
                  <a:pt x="76429" y="1531"/>
                </a:cubicBezTo>
                <a:cubicBezTo>
                  <a:pt x="79287" y="53276"/>
                  <a:pt x="82219" y="105359"/>
                  <a:pt x="91265" y="157878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7" name="Free-form: Shape 26">
            <a:extLst>
              <a:ext uri="{FF2B5EF4-FFF2-40B4-BE49-F238E27FC236}">
                <a16:creationId xmlns:a16="http://schemas.microsoft.com/office/drawing/2014/main" id="{480CF7EA-58A8-7C21-D466-FDA37A226DEA}"/>
              </a:ext>
            </a:extLst>
          </p:cNvPr>
          <p:cNvSpPr/>
          <p:nvPr/>
        </p:nvSpPr>
        <p:spPr>
          <a:xfrm>
            <a:off x="1737120" y="2777019"/>
            <a:ext cx="200357" cy="39865"/>
          </a:xfrm>
          <a:custGeom>
            <a:avLst/>
            <a:gdLst>
              <a:gd name="csX0" fmla="*/ 199184 w 322677"/>
              <a:gd name="csY0" fmla="*/ 59136 h 64202"/>
              <a:gd name="csX1" fmla="*/ 0 w 322677"/>
              <a:gd name="csY1" fmla="*/ 62697 h 64202"/>
              <a:gd name="csX2" fmla="*/ 0 w 322677"/>
              <a:gd name="csY2" fmla="*/ 18400 h 64202"/>
              <a:gd name="csX3" fmla="*/ 10601 w 322677"/>
              <a:gd name="csY3" fmla="*/ 17750 h 64202"/>
              <a:gd name="csX4" fmla="*/ 156563 w 322677"/>
              <a:gd name="csY4" fmla="*/ 15074 h 64202"/>
              <a:gd name="csX5" fmla="*/ 266479 w 322677"/>
              <a:gd name="csY5" fmla="*/ 4814 h 64202"/>
              <a:gd name="csX6" fmla="*/ 296798 w 322677"/>
              <a:gd name="csY6" fmla="*/ 344 h 64202"/>
              <a:gd name="csX7" fmla="*/ 309983 w 322677"/>
              <a:gd name="csY7" fmla="*/ 6097 h 64202"/>
              <a:gd name="csX8" fmla="*/ 322678 w 322677"/>
              <a:gd name="csY8" fmla="*/ 40406 h 64202"/>
              <a:gd name="csX9" fmla="*/ 199184 w 322677"/>
              <a:gd name="csY9" fmla="*/ 59136 h 6420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322677" h="64202">
                <a:moveTo>
                  <a:pt x="199184" y="59136"/>
                </a:moveTo>
                <a:cubicBezTo>
                  <a:pt x="132374" y="65824"/>
                  <a:pt x="66629" y="64605"/>
                  <a:pt x="0" y="62697"/>
                </a:cubicBezTo>
                <a:cubicBezTo>
                  <a:pt x="0" y="47160"/>
                  <a:pt x="0" y="33409"/>
                  <a:pt x="0" y="18400"/>
                </a:cubicBezTo>
                <a:cubicBezTo>
                  <a:pt x="3587" y="18160"/>
                  <a:pt x="7120" y="17536"/>
                  <a:pt x="10601" y="17750"/>
                </a:cubicBezTo>
                <a:cubicBezTo>
                  <a:pt x="59329" y="20736"/>
                  <a:pt x="107987" y="18533"/>
                  <a:pt x="156563" y="15074"/>
                </a:cubicBezTo>
                <a:cubicBezTo>
                  <a:pt x="193260" y="12461"/>
                  <a:pt x="229860" y="8449"/>
                  <a:pt x="266479" y="4814"/>
                </a:cubicBezTo>
                <a:cubicBezTo>
                  <a:pt x="276635" y="3806"/>
                  <a:pt x="286748" y="2160"/>
                  <a:pt x="296798" y="344"/>
                </a:cubicBezTo>
                <a:cubicBezTo>
                  <a:pt x="302773" y="-735"/>
                  <a:pt x="306536" y="602"/>
                  <a:pt x="309983" y="6097"/>
                </a:cubicBezTo>
                <a:cubicBezTo>
                  <a:pt x="316405" y="16331"/>
                  <a:pt x="320231" y="27243"/>
                  <a:pt x="322678" y="40406"/>
                </a:cubicBezTo>
                <a:cubicBezTo>
                  <a:pt x="281944" y="49611"/>
                  <a:pt x="241309" y="55431"/>
                  <a:pt x="199184" y="59136"/>
                </a:cubicBezTo>
                <a:close/>
              </a:path>
            </a:pathLst>
          </a:custGeom>
          <a:solidFill>
            <a:schemeClr val="bg1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98861B5C-328F-5D38-0B25-8446112960DF}"/>
              </a:ext>
            </a:extLst>
          </p:cNvPr>
          <p:cNvSpPr txBox="1"/>
          <p:nvPr/>
        </p:nvSpPr>
        <p:spPr>
          <a:xfrm>
            <a:off x="1329112" y="2831201"/>
            <a:ext cx="863983" cy="3927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-CHOP</a:t>
            </a:r>
          </a:p>
        </p:txBody>
      </p:sp>
    </p:spTree>
    <p:extLst>
      <p:ext uri="{BB962C8B-B14F-4D97-AF65-F5344CB8AC3E}">
        <p14:creationId xmlns:p14="http://schemas.microsoft.com/office/powerpoint/2010/main" val="3391646731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0A732ED-BA49-3A17-94F6-51957F2658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067AAC-59E5-E7E8-8EE5-12E71FAE3B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DLBCL transformation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5A12184-D506-E578-D871-4C910D40824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70645" y="6272523"/>
            <a:ext cx="10440000" cy="447428"/>
          </a:xfrm>
        </p:spPr>
        <p:txBody>
          <a:bodyPr/>
          <a:lstStyle/>
          <a:p>
            <a:r>
              <a:rPr lang="en-GB"/>
              <a:t>1L, first line; 2L, second line; CHOP, cyclophosphamide, doxorubicin, vincristine and prednisone; CR, complete response; </a:t>
            </a:r>
            <a:r>
              <a:rPr lang="en-GB" err="1"/>
              <a:t>DHAOx</a:t>
            </a:r>
            <a:r>
              <a:rPr lang="en-GB"/>
              <a:t>, dexamethasone, high-dose cytarabine, oxaliplatin; DLBCL, diffuse large B-cell lymphoma; PD, progressive disease; POD24, progression of disease within 24 months; R, rituximab.</a:t>
            </a:r>
          </a:p>
          <a:p>
            <a:r>
              <a:rPr lang="en-GB"/>
              <a:t>Patient case provided by Prof. Enrico </a:t>
            </a:r>
            <a:r>
              <a:rPr lang="en-GB" err="1"/>
              <a:t>Derenzini</a:t>
            </a:r>
            <a:r>
              <a:rPr lang="en-GB"/>
              <a:t>.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E465F6BE-D2CD-7042-3890-F69A6B66D448}"/>
              </a:ext>
            </a:extLst>
          </p:cNvPr>
          <p:cNvCxnSpPr>
            <a:cxnSpLocks/>
          </p:cNvCxnSpPr>
          <p:nvPr/>
        </p:nvCxnSpPr>
        <p:spPr>
          <a:xfrm>
            <a:off x="577415" y="3748737"/>
            <a:ext cx="10907449" cy="0"/>
          </a:xfrm>
          <a:prstGeom prst="line">
            <a:avLst/>
          </a:prstGeom>
          <a:ln w="285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F10A80AE-614E-6E52-8631-B6C6AB67807F}"/>
              </a:ext>
            </a:extLst>
          </p:cNvPr>
          <p:cNvSpPr txBox="1"/>
          <p:nvPr/>
        </p:nvSpPr>
        <p:spPr>
          <a:xfrm>
            <a:off x="1481099" y="3217549"/>
            <a:ext cx="455050" cy="3927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CB813"/>
              </a:buClr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015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82FF2432-99BD-61AE-CEA3-A2046DD572FD}"/>
              </a:ext>
            </a:extLst>
          </p:cNvPr>
          <p:cNvSpPr/>
          <p:nvPr/>
        </p:nvSpPr>
        <p:spPr>
          <a:xfrm>
            <a:off x="1628725" y="3671002"/>
            <a:ext cx="159799" cy="159799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1" i="0" u="none" strike="noStrike" kern="1200" cap="none" spc="0" normalizeH="0" baseline="0" noProof="0">
              <a:ln>
                <a:noFill/>
              </a:ln>
              <a:solidFill>
                <a:srgbClr val="585854">
                  <a:lumMod val="20000"/>
                  <a:lumOff val="80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F75CFFF-114D-16CC-DEBD-6D16875DCE1E}"/>
              </a:ext>
            </a:extLst>
          </p:cNvPr>
          <p:cNvSpPr txBox="1"/>
          <p:nvPr/>
        </p:nvSpPr>
        <p:spPr>
          <a:xfrm>
            <a:off x="4148775" y="3217549"/>
            <a:ext cx="455050" cy="3927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CB813"/>
              </a:buClr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017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A7E960B2-CC43-F68D-690A-8CF487983190}"/>
              </a:ext>
            </a:extLst>
          </p:cNvPr>
          <p:cNvSpPr/>
          <p:nvPr/>
        </p:nvSpPr>
        <p:spPr>
          <a:xfrm>
            <a:off x="4296401" y="3671002"/>
            <a:ext cx="159799" cy="159799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EF6A3365-D20E-BC33-A3B5-68FAFAAD86C0}"/>
              </a:ext>
            </a:extLst>
          </p:cNvPr>
          <p:cNvCxnSpPr>
            <a:cxnSpLocks/>
            <a:stCxn id="10" idx="4"/>
          </p:cNvCxnSpPr>
          <p:nvPr/>
        </p:nvCxnSpPr>
        <p:spPr>
          <a:xfrm>
            <a:off x="1708625" y="3830801"/>
            <a:ext cx="0" cy="182159"/>
          </a:xfrm>
          <a:prstGeom prst="line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884B4822-0F4E-A759-7FEC-738231DBE858}"/>
              </a:ext>
            </a:extLst>
          </p:cNvPr>
          <p:cNvCxnSpPr>
            <a:cxnSpLocks/>
            <a:stCxn id="17" idx="4"/>
          </p:cNvCxnSpPr>
          <p:nvPr/>
        </p:nvCxnSpPr>
        <p:spPr>
          <a:xfrm>
            <a:off x="4376301" y="3830801"/>
            <a:ext cx="0" cy="509978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08E05758-CC60-7E25-E1DE-A5DCCA57C24F}"/>
              </a:ext>
            </a:extLst>
          </p:cNvPr>
          <p:cNvSpPr txBox="1"/>
          <p:nvPr/>
        </p:nvSpPr>
        <p:spPr>
          <a:xfrm>
            <a:off x="4145755" y="4367326"/>
            <a:ext cx="2924773" cy="830997"/>
          </a:xfrm>
          <a:prstGeom prst="rect">
            <a:avLst/>
          </a:prstGeom>
          <a:noFill/>
        </p:spPr>
        <p:txBody>
          <a:bodyPr wrap="square" lIns="45720" tIns="45720" rIns="45720" bIns="45720" rtlCol="0">
            <a:spAutoFit/>
          </a:bodyPr>
          <a:lstStyle>
            <a:defPPr>
              <a:defRPr lang="sv-SE"/>
            </a:defPPr>
            <a:lvl1pPr>
              <a:defRPr sz="1600" i="1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1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L treatment: </a:t>
            </a: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-</a:t>
            </a:r>
            <a:r>
              <a:rPr kumimoji="0" lang="en-GB" sz="1600" b="1" i="0" u="none" strike="noStrike" kern="1200" cap="none" spc="0" normalizeH="0" baseline="0" noProof="0" err="1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HAOx</a:t>
            </a:r>
            <a:endParaRPr kumimoji="0" lang="en-GB" sz="1600" b="1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1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Outcome: </a:t>
            </a: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F15922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D with transformation to DLBCL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871993B4-7589-8740-8A08-31E8F3FCDE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01CC8E-1CEF-6746-999E-CF29FF00B1D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82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8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F1C39BB-1ADA-8EC1-8BC2-881D37DFA6E1}"/>
              </a:ext>
            </a:extLst>
          </p:cNvPr>
          <p:cNvSpPr txBox="1"/>
          <p:nvPr/>
        </p:nvSpPr>
        <p:spPr>
          <a:xfrm>
            <a:off x="758224" y="4012960"/>
            <a:ext cx="2899373" cy="1077218"/>
          </a:xfrm>
          <a:prstGeom prst="rect">
            <a:avLst/>
          </a:prstGeom>
          <a:noFill/>
        </p:spPr>
        <p:txBody>
          <a:bodyPr wrap="square" lIns="45720" tIns="45720" rIns="45720" bIns="45720" rtlCol="0">
            <a:spAutoFit/>
          </a:bodyPr>
          <a:lstStyle>
            <a:defPPr>
              <a:defRPr lang="sv-SE"/>
            </a:defPPr>
            <a:lvl1pPr>
              <a:defRPr sz="1600" i="1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1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L treatment: </a:t>
            </a: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-CHOP + R maintenanc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1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Outcome: </a:t>
            </a: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R </a:t>
            </a: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with</a:t>
            </a: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relapse after 18 months </a:t>
            </a: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(POD24)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1D53E552-3BB3-8461-6744-BDA6886932BF}"/>
              </a:ext>
            </a:extLst>
          </p:cNvPr>
          <p:cNvSpPr/>
          <p:nvPr/>
        </p:nvSpPr>
        <p:spPr>
          <a:xfrm>
            <a:off x="1423738" y="2751699"/>
            <a:ext cx="593138" cy="104135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4" name="Free-form: Shape 13">
            <a:extLst>
              <a:ext uri="{FF2B5EF4-FFF2-40B4-BE49-F238E27FC236}">
                <a16:creationId xmlns:a16="http://schemas.microsoft.com/office/drawing/2014/main" id="{2BEE8160-13A6-70D2-6E52-AD3F48F923BD}"/>
              </a:ext>
            </a:extLst>
          </p:cNvPr>
          <p:cNvSpPr/>
          <p:nvPr/>
        </p:nvSpPr>
        <p:spPr>
          <a:xfrm>
            <a:off x="1522404" y="2071048"/>
            <a:ext cx="433137" cy="770022"/>
          </a:xfrm>
          <a:custGeom>
            <a:avLst/>
            <a:gdLst>
              <a:gd name="csX0" fmla="*/ 581793 w 697572"/>
              <a:gd name="csY0" fmla="*/ 1234401 h 1240128"/>
              <a:gd name="csX1" fmla="*/ 577427 w 697572"/>
              <a:gd name="csY1" fmla="*/ 1234156 h 1240128"/>
              <a:gd name="csX2" fmla="*/ 559133 w 697572"/>
              <a:gd name="csY2" fmla="*/ 1230909 h 1240128"/>
              <a:gd name="csX3" fmla="*/ 516706 w 697572"/>
              <a:gd name="csY3" fmla="*/ 1235117 h 1240128"/>
              <a:gd name="csX4" fmla="*/ 475244 w 697572"/>
              <a:gd name="csY4" fmla="*/ 1237506 h 1240128"/>
              <a:gd name="csX5" fmla="*/ 371154 w 697572"/>
              <a:gd name="csY5" fmla="*/ 1239428 h 1240128"/>
              <a:gd name="csX6" fmla="*/ 276813 w 697572"/>
              <a:gd name="csY6" fmla="*/ 1237654 h 1240128"/>
              <a:gd name="csX7" fmla="*/ 268212 w 697572"/>
              <a:gd name="csY7" fmla="*/ 1237635 h 1240128"/>
              <a:gd name="csX8" fmla="*/ 262072 w 697572"/>
              <a:gd name="csY8" fmla="*/ 1237523 h 1240128"/>
              <a:gd name="csX9" fmla="*/ 195111 w 697572"/>
              <a:gd name="csY9" fmla="*/ 1232775 h 1240128"/>
              <a:gd name="csX10" fmla="*/ 145060 w 697572"/>
              <a:gd name="csY10" fmla="*/ 1230076 h 1240128"/>
              <a:gd name="csX11" fmla="*/ 114933 w 697572"/>
              <a:gd name="csY11" fmla="*/ 1225832 h 1240128"/>
              <a:gd name="csX12" fmla="*/ 72642 w 697572"/>
              <a:gd name="csY12" fmla="*/ 1220237 h 1240128"/>
              <a:gd name="csX13" fmla="*/ 10894 w 697572"/>
              <a:gd name="csY13" fmla="*/ 1205737 h 1240128"/>
              <a:gd name="csX14" fmla="*/ 5856 w 697572"/>
              <a:gd name="csY14" fmla="*/ 1202799 h 1240128"/>
              <a:gd name="csX15" fmla="*/ 40 w 697572"/>
              <a:gd name="csY15" fmla="*/ 1174450 h 1240128"/>
              <a:gd name="csX16" fmla="*/ 19831 w 697572"/>
              <a:gd name="csY16" fmla="*/ 1118410 h 1240128"/>
              <a:gd name="csX17" fmla="*/ 22004 w 697572"/>
              <a:gd name="csY17" fmla="*/ 1107240 h 1240128"/>
              <a:gd name="csX18" fmla="*/ 25947 w 697572"/>
              <a:gd name="csY18" fmla="*/ 1038650 h 1240128"/>
              <a:gd name="csX19" fmla="*/ 58234 w 697572"/>
              <a:gd name="csY19" fmla="*/ 988567 h 1240128"/>
              <a:gd name="csX20" fmla="*/ 118645 w 697572"/>
              <a:gd name="csY20" fmla="*/ 928298 h 1240128"/>
              <a:gd name="csX21" fmla="*/ 126320 w 697572"/>
              <a:gd name="csY21" fmla="*/ 892015 h 1240128"/>
              <a:gd name="csX22" fmla="*/ 120345 w 697572"/>
              <a:gd name="csY22" fmla="*/ 872258 h 1240128"/>
              <a:gd name="csX23" fmla="*/ 125668 w 697572"/>
              <a:gd name="csY23" fmla="*/ 861640 h 1240128"/>
              <a:gd name="csX24" fmla="*/ 154237 w 697572"/>
              <a:gd name="csY24" fmla="*/ 850716 h 1240128"/>
              <a:gd name="csX25" fmla="*/ 170248 w 697572"/>
              <a:gd name="csY25" fmla="*/ 836767 h 1240128"/>
              <a:gd name="csX26" fmla="*/ 187840 w 697572"/>
              <a:gd name="csY26" fmla="*/ 796341 h 1240128"/>
              <a:gd name="csX27" fmla="*/ 209346 w 697572"/>
              <a:gd name="csY27" fmla="*/ 743126 h 1240128"/>
              <a:gd name="csX28" fmla="*/ 210630 w 697572"/>
              <a:gd name="csY28" fmla="*/ 737219 h 1240128"/>
              <a:gd name="csX29" fmla="*/ 213836 w 697572"/>
              <a:gd name="csY29" fmla="*/ 720505 h 1240128"/>
              <a:gd name="csX30" fmla="*/ 227791 w 697572"/>
              <a:gd name="csY30" fmla="*/ 667353 h 1240128"/>
              <a:gd name="csX31" fmla="*/ 241013 w 697572"/>
              <a:gd name="csY31" fmla="*/ 599151 h 1240128"/>
              <a:gd name="csX32" fmla="*/ 247322 w 697572"/>
              <a:gd name="csY32" fmla="*/ 542242 h 1240128"/>
              <a:gd name="csX33" fmla="*/ 247948 w 697572"/>
              <a:gd name="csY33" fmla="*/ 499296 h 1240128"/>
              <a:gd name="csX34" fmla="*/ 247577 w 697572"/>
              <a:gd name="csY34" fmla="*/ 470384 h 1240128"/>
              <a:gd name="csX35" fmla="*/ 238877 w 697572"/>
              <a:gd name="csY35" fmla="*/ 460987 h 1240128"/>
              <a:gd name="csX36" fmla="*/ 222040 w 697572"/>
              <a:gd name="csY36" fmla="*/ 458353 h 1240128"/>
              <a:gd name="csX37" fmla="*/ 172193 w 697572"/>
              <a:gd name="csY37" fmla="*/ 433714 h 1240128"/>
              <a:gd name="csX38" fmla="*/ 168410 w 697572"/>
              <a:gd name="csY38" fmla="*/ 396591 h 1240128"/>
              <a:gd name="csX39" fmla="*/ 209826 w 697572"/>
              <a:gd name="csY39" fmla="*/ 367773 h 1240128"/>
              <a:gd name="csX40" fmla="*/ 250732 w 697572"/>
              <a:gd name="csY40" fmla="*/ 355208 h 1240128"/>
              <a:gd name="csX41" fmla="*/ 258289 w 697572"/>
              <a:gd name="csY41" fmla="*/ 350426 h 1240128"/>
              <a:gd name="csX42" fmla="*/ 233274 w 697572"/>
              <a:gd name="csY42" fmla="*/ 333513 h 1240128"/>
              <a:gd name="csX43" fmla="*/ 229677 w 697572"/>
              <a:gd name="csY43" fmla="*/ 333922 h 1240128"/>
              <a:gd name="csX44" fmla="*/ 230149 w 697572"/>
              <a:gd name="csY44" fmla="*/ 332979 h 1240128"/>
              <a:gd name="csX45" fmla="*/ 227053 w 697572"/>
              <a:gd name="csY45" fmla="*/ 327076 h 1240128"/>
              <a:gd name="csX46" fmla="*/ 196769 w 697572"/>
              <a:gd name="csY46" fmla="*/ 291380 h 1240128"/>
              <a:gd name="csX47" fmla="*/ 184389 w 697572"/>
              <a:gd name="csY47" fmla="*/ 264042 h 1240128"/>
              <a:gd name="csX48" fmla="*/ 180630 w 697572"/>
              <a:gd name="csY48" fmla="*/ 257839 h 1240128"/>
              <a:gd name="csX49" fmla="*/ 176231 w 697572"/>
              <a:gd name="csY49" fmla="*/ 250643 h 1240128"/>
              <a:gd name="csX50" fmla="*/ 170073 w 697572"/>
              <a:gd name="csY50" fmla="*/ 146723 h 1240128"/>
              <a:gd name="csX51" fmla="*/ 180929 w 697572"/>
              <a:gd name="csY51" fmla="*/ 114280 h 1240128"/>
              <a:gd name="csX52" fmla="*/ 180839 w 697572"/>
              <a:gd name="csY52" fmla="*/ 101501 h 1240128"/>
              <a:gd name="csX53" fmla="*/ 233536 w 697572"/>
              <a:gd name="csY53" fmla="*/ 39653 h 1240128"/>
              <a:gd name="csX54" fmla="*/ 347618 w 697572"/>
              <a:gd name="csY54" fmla="*/ 35 h 1240128"/>
              <a:gd name="csX55" fmla="*/ 437139 w 697572"/>
              <a:gd name="csY55" fmla="*/ 22396 h 1240128"/>
              <a:gd name="csX56" fmla="*/ 529052 w 697572"/>
              <a:gd name="csY56" fmla="*/ 131093 h 1240128"/>
              <a:gd name="csX57" fmla="*/ 518497 w 697572"/>
              <a:gd name="csY57" fmla="*/ 271517 h 1240128"/>
              <a:gd name="csX58" fmla="*/ 500808 w 697572"/>
              <a:gd name="csY58" fmla="*/ 287385 h 1240128"/>
              <a:gd name="csX59" fmla="*/ 472948 w 697572"/>
              <a:gd name="csY59" fmla="*/ 323290 h 1240128"/>
              <a:gd name="csX60" fmla="*/ 469385 w 697572"/>
              <a:gd name="csY60" fmla="*/ 331565 h 1240128"/>
              <a:gd name="csX61" fmla="*/ 468293 w 697572"/>
              <a:gd name="csY61" fmla="*/ 331320 h 1240128"/>
              <a:gd name="csX62" fmla="*/ 459542 w 697572"/>
              <a:gd name="csY62" fmla="*/ 338942 h 1240128"/>
              <a:gd name="csX63" fmla="*/ 458492 w 697572"/>
              <a:gd name="csY63" fmla="*/ 338671 h 1240128"/>
              <a:gd name="csX64" fmla="*/ 436978 w 697572"/>
              <a:gd name="csY64" fmla="*/ 352226 h 1240128"/>
              <a:gd name="csX65" fmla="*/ 472329 w 697572"/>
              <a:gd name="csY65" fmla="*/ 362890 h 1240128"/>
              <a:gd name="csX66" fmla="*/ 523779 w 697572"/>
              <a:gd name="csY66" fmla="*/ 391962 h 1240128"/>
              <a:gd name="csX67" fmla="*/ 527344 w 697572"/>
              <a:gd name="csY67" fmla="*/ 430096 h 1240128"/>
              <a:gd name="csX68" fmla="*/ 504112 w 697572"/>
              <a:gd name="csY68" fmla="*/ 449628 h 1240128"/>
              <a:gd name="csX69" fmla="*/ 459430 w 697572"/>
              <a:gd name="csY69" fmla="*/ 461116 h 1240128"/>
              <a:gd name="csX70" fmla="*/ 446666 w 697572"/>
              <a:gd name="csY70" fmla="*/ 474229 h 1240128"/>
              <a:gd name="csX71" fmla="*/ 449133 w 697572"/>
              <a:gd name="csY71" fmla="*/ 531639 h 1240128"/>
              <a:gd name="csX72" fmla="*/ 454546 w 697572"/>
              <a:gd name="csY72" fmla="*/ 588688 h 1240128"/>
              <a:gd name="csX73" fmla="*/ 466126 w 697572"/>
              <a:gd name="csY73" fmla="*/ 649736 h 1240128"/>
              <a:gd name="csX74" fmla="*/ 512154 w 697572"/>
              <a:gd name="csY74" fmla="*/ 794006 h 1240128"/>
              <a:gd name="csX75" fmla="*/ 525763 w 697572"/>
              <a:gd name="csY75" fmla="*/ 834323 h 1240128"/>
              <a:gd name="csX76" fmla="*/ 530555 w 697572"/>
              <a:gd name="csY76" fmla="*/ 845114 h 1240128"/>
              <a:gd name="csX77" fmla="*/ 554424 w 697572"/>
              <a:gd name="csY77" fmla="*/ 856618 h 1240128"/>
              <a:gd name="csX78" fmla="*/ 572880 w 697572"/>
              <a:gd name="csY78" fmla="*/ 862546 h 1240128"/>
              <a:gd name="csX79" fmla="*/ 578643 w 697572"/>
              <a:gd name="csY79" fmla="*/ 880396 h 1240128"/>
              <a:gd name="csX80" fmla="*/ 572188 w 697572"/>
              <a:gd name="csY80" fmla="*/ 899820 h 1240128"/>
              <a:gd name="csX81" fmla="*/ 582698 w 697572"/>
              <a:gd name="csY81" fmla="*/ 930382 h 1240128"/>
              <a:gd name="csX82" fmla="*/ 604747 w 697572"/>
              <a:gd name="csY82" fmla="*/ 960852 h 1240128"/>
              <a:gd name="csX83" fmla="*/ 613863 w 697572"/>
              <a:gd name="csY83" fmla="*/ 968311 h 1240128"/>
              <a:gd name="csX84" fmla="*/ 629435 w 697572"/>
              <a:gd name="csY84" fmla="*/ 981186 h 1240128"/>
              <a:gd name="csX85" fmla="*/ 633611 w 697572"/>
              <a:gd name="csY85" fmla="*/ 985609 h 1240128"/>
              <a:gd name="csX86" fmla="*/ 673790 w 697572"/>
              <a:gd name="csY86" fmla="*/ 1049348 h 1240128"/>
              <a:gd name="csX87" fmla="*/ 675873 w 697572"/>
              <a:gd name="csY87" fmla="*/ 1092839 h 1240128"/>
              <a:gd name="csX88" fmla="*/ 681668 w 697572"/>
              <a:gd name="csY88" fmla="*/ 1129292 h 1240128"/>
              <a:gd name="csX89" fmla="*/ 697338 w 697572"/>
              <a:gd name="csY89" fmla="*/ 1196079 h 1240128"/>
              <a:gd name="csX90" fmla="*/ 690637 w 697572"/>
              <a:gd name="csY90" fmla="*/ 1205035 h 1240128"/>
              <a:gd name="csX91" fmla="*/ 639777 w 697572"/>
              <a:gd name="csY91" fmla="*/ 1217994 h 1240128"/>
              <a:gd name="csX92" fmla="*/ 587072 w 697572"/>
              <a:gd name="csY92" fmla="*/ 1227761 h 1240128"/>
              <a:gd name="csX93" fmla="*/ 581793 w 697572"/>
              <a:gd name="csY93" fmla="*/ 1234401 h 1240128"/>
              <a:gd name="csX94" fmla="*/ 357446 w 697572"/>
              <a:gd name="csY94" fmla="*/ 903795 h 1240128"/>
              <a:gd name="csX95" fmla="*/ 344445 w 697572"/>
              <a:gd name="csY95" fmla="*/ 903795 h 1240128"/>
              <a:gd name="csX96" fmla="*/ 349212 w 697572"/>
              <a:gd name="csY96" fmla="*/ 950515 h 1240128"/>
              <a:gd name="csX97" fmla="*/ 349538 w 697572"/>
              <a:gd name="csY97" fmla="*/ 1069392 h 1240128"/>
              <a:gd name="csX98" fmla="*/ 349415 w 697572"/>
              <a:gd name="csY98" fmla="*/ 1108925 h 1240128"/>
              <a:gd name="csX99" fmla="*/ 647726 w 697572"/>
              <a:gd name="csY99" fmla="*/ 1089872 h 1240128"/>
              <a:gd name="csX100" fmla="*/ 647654 w 697572"/>
              <a:gd name="csY100" fmla="*/ 1076267 h 1240128"/>
              <a:gd name="csX101" fmla="*/ 610267 w 697572"/>
              <a:gd name="csY101" fmla="*/ 994126 h 1240128"/>
              <a:gd name="csX102" fmla="*/ 571459 w 697572"/>
              <a:gd name="csY102" fmla="*/ 956568 h 1240128"/>
              <a:gd name="csX103" fmla="*/ 541653 w 697572"/>
              <a:gd name="csY103" fmla="*/ 901544 h 1240128"/>
              <a:gd name="csX104" fmla="*/ 539477 w 697572"/>
              <a:gd name="csY104" fmla="*/ 895908 h 1240128"/>
              <a:gd name="csX105" fmla="*/ 357446 w 697572"/>
              <a:gd name="csY105" fmla="*/ 903795 h 1240128"/>
              <a:gd name="csX106" fmla="*/ 300108 w 697572"/>
              <a:gd name="csY106" fmla="*/ 85260 h 1240128"/>
              <a:gd name="csX107" fmla="*/ 290213 w 697572"/>
              <a:gd name="csY107" fmla="*/ 127888 h 1240128"/>
              <a:gd name="csX108" fmla="*/ 331056 w 697572"/>
              <a:gd name="csY108" fmla="*/ 214168 h 1240128"/>
              <a:gd name="csX109" fmla="*/ 424717 w 697572"/>
              <a:gd name="csY109" fmla="*/ 245160 h 1240128"/>
              <a:gd name="csX110" fmla="*/ 496752 w 697572"/>
              <a:gd name="csY110" fmla="*/ 141256 h 1240128"/>
              <a:gd name="csX111" fmla="*/ 390320 w 697572"/>
              <a:gd name="csY111" fmla="*/ 43995 h 1240128"/>
              <a:gd name="csX112" fmla="*/ 300108 w 697572"/>
              <a:gd name="csY112" fmla="*/ 85260 h 1240128"/>
              <a:gd name="csX113" fmla="*/ 343360 w 697572"/>
              <a:gd name="csY113" fmla="*/ 634332 h 1240128"/>
              <a:gd name="csX114" fmla="*/ 340877 w 697572"/>
              <a:gd name="csY114" fmla="*/ 732259 h 1240128"/>
              <a:gd name="csX115" fmla="*/ 338360 w 697572"/>
              <a:gd name="csY115" fmla="*/ 810538 h 1240128"/>
              <a:gd name="csX116" fmla="*/ 337115 w 697572"/>
              <a:gd name="csY116" fmla="*/ 817736 h 1240128"/>
              <a:gd name="csX117" fmla="*/ 336516 w 697572"/>
              <a:gd name="csY117" fmla="*/ 863022 h 1240128"/>
              <a:gd name="csX118" fmla="*/ 343436 w 697572"/>
              <a:gd name="csY118" fmla="*/ 864027 h 1240128"/>
              <a:gd name="csX119" fmla="*/ 406718 w 697572"/>
              <a:gd name="csY119" fmla="*/ 862982 h 1240128"/>
              <a:gd name="csX120" fmla="*/ 456888 w 697572"/>
              <a:gd name="csY120" fmla="*/ 861794 h 1240128"/>
              <a:gd name="csX121" fmla="*/ 495873 w 697572"/>
              <a:gd name="csY121" fmla="*/ 863963 h 1240128"/>
              <a:gd name="csX122" fmla="*/ 509286 w 697572"/>
              <a:gd name="csY122" fmla="*/ 863595 h 1240128"/>
              <a:gd name="csX123" fmla="*/ 516956 w 697572"/>
              <a:gd name="csY123" fmla="*/ 856791 h 1240128"/>
              <a:gd name="csX124" fmla="*/ 513920 w 697572"/>
              <a:gd name="csY124" fmla="*/ 848709 h 1240128"/>
              <a:gd name="csX125" fmla="*/ 506683 w 697572"/>
              <a:gd name="csY125" fmla="*/ 839054 h 1240128"/>
              <a:gd name="csX126" fmla="*/ 488629 w 697572"/>
              <a:gd name="csY126" fmla="*/ 799037 h 1240128"/>
              <a:gd name="csX127" fmla="*/ 456922 w 697572"/>
              <a:gd name="csY127" fmla="*/ 696297 h 1240128"/>
              <a:gd name="csX128" fmla="*/ 441346 w 697572"/>
              <a:gd name="csY128" fmla="*/ 619885 h 1240128"/>
              <a:gd name="csX129" fmla="*/ 435963 w 697572"/>
              <a:gd name="csY129" fmla="*/ 582529 h 1240128"/>
              <a:gd name="csX130" fmla="*/ 429497 w 697572"/>
              <a:gd name="csY130" fmla="*/ 521990 h 1240128"/>
              <a:gd name="csX131" fmla="*/ 426887 w 697572"/>
              <a:gd name="csY131" fmla="*/ 471989 h 1240128"/>
              <a:gd name="csX132" fmla="*/ 413744 w 697572"/>
              <a:gd name="csY132" fmla="*/ 461077 h 1240128"/>
              <a:gd name="csX133" fmla="*/ 353573 w 697572"/>
              <a:gd name="csY133" fmla="*/ 461120 h 1240128"/>
              <a:gd name="csX134" fmla="*/ 344160 w 697572"/>
              <a:gd name="csY134" fmla="*/ 462286 h 1240128"/>
              <a:gd name="csX135" fmla="*/ 343404 w 697572"/>
              <a:gd name="csY135" fmla="*/ 469192 h 1240128"/>
              <a:gd name="csX136" fmla="*/ 343469 w 697572"/>
              <a:gd name="csY136" fmla="*/ 574797 h 1240128"/>
              <a:gd name="csX137" fmla="*/ 345522 w 697572"/>
              <a:gd name="csY137" fmla="*/ 591669 h 1240128"/>
              <a:gd name="csX138" fmla="*/ 343360 w 697572"/>
              <a:gd name="csY138" fmla="*/ 634332 h 1240128"/>
              <a:gd name="csX139" fmla="*/ 416946 w 697572"/>
              <a:gd name="csY139" fmla="*/ 385943 h 1240128"/>
              <a:gd name="csX140" fmla="*/ 401091 w 697572"/>
              <a:gd name="csY140" fmla="*/ 387162 h 1240128"/>
              <a:gd name="csX141" fmla="*/ 369218 w 697572"/>
              <a:gd name="csY141" fmla="*/ 387708 h 1240128"/>
              <a:gd name="csX142" fmla="*/ 351833 w 697572"/>
              <a:gd name="csY142" fmla="*/ 398991 h 1240128"/>
              <a:gd name="csX143" fmla="*/ 349778 w 697572"/>
              <a:gd name="csY143" fmla="*/ 426021 h 1240128"/>
              <a:gd name="csX144" fmla="*/ 361839 w 697572"/>
              <a:gd name="csY144" fmla="*/ 426538 h 1240128"/>
              <a:gd name="csX145" fmla="*/ 455022 w 697572"/>
              <a:gd name="csY145" fmla="*/ 426922 h 1240128"/>
              <a:gd name="csX146" fmla="*/ 481958 w 697572"/>
              <a:gd name="csY146" fmla="*/ 426527 h 1240128"/>
              <a:gd name="csX147" fmla="*/ 499817 w 697572"/>
              <a:gd name="csY147" fmla="*/ 419888 h 1240128"/>
              <a:gd name="csX148" fmla="*/ 499439 w 697572"/>
              <a:gd name="csY148" fmla="*/ 400719 h 1240128"/>
              <a:gd name="csX149" fmla="*/ 468062 w 697572"/>
              <a:gd name="csY149" fmla="*/ 387775 h 1240128"/>
              <a:gd name="csX150" fmla="*/ 416946 w 697572"/>
              <a:gd name="csY150" fmla="*/ 385943 h 1240128"/>
              <a:gd name="csX151" fmla="*/ 636802 w 697572"/>
              <a:gd name="csY151" fmla="*/ 1190940 h 1240128"/>
              <a:gd name="csX152" fmla="*/ 666492 w 697572"/>
              <a:gd name="csY152" fmla="*/ 1184186 h 1240128"/>
              <a:gd name="csX153" fmla="*/ 674465 w 697572"/>
              <a:gd name="csY153" fmla="*/ 1170880 h 1240128"/>
              <a:gd name="csX154" fmla="*/ 662462 w 697572"/>
              <a:gd name="csY154" fmla="*/ 1141464 h 1240128"/>
              <a:gd name="csX155" fmla="*/ 645564 w 697572"/>
              <a:gd name="csY155" fmla="*/ 1131937 h 1240128"/>
              <a:gd name="csX156" fmla="*/ 627387 w 697572"/>
              <a:gd name="csY156" fmla="*/ 1133618 h 1240128"/>
              <a:gd name="csX157" fmla="*/ 583917 w 697572"/>
              <a:gd name="csY157" fmla="*/ 1139222 h 1240128"/>
              <a:gd name="csX158" fmla="*/ 543741 w 697572"/>
              <a:gd name="csY158" fmla="*/ 1141869 h 1240128"/>
              <a:gd name="csX159" fmla="*/ 512146 w 697572"/>
              <a:gd name="csY159" fmla="*/ 1144418 h 1240128"/>
              <a:gd name="csX160" fmla="*/ 447711 w 697572"/>
              <a:gd name="csY160" fmla="*/ 1148973 h 1240128"/>
              <a:gd name="csX161" fmla="*/ 351979 w 697572"/>
              <a:gd name="csY161" fmla="*/ 1149200 h 1240128"/>
              <a:gd name="csX162" fmla="*/ 338443 w 697572"/>
              <a:gd name="csY162" fmla="*/ 1150040 h 1240128"/>
              <a:gd name="csX163" fmla="*/ 338451 w 697572"/>
              <a:gd name="csY163" fmla="*/ 1190780 h 1240128"/>
              <a:gd name="csX164" fmla="*/ 351082 w 697572"/>
              <a:gd name="csY164" fmla="*/ 1207015 h 1240128"/>
              <a:gd name="csX165" fmla="*/ 358298 w 697572"/>
              <a:gd name="csY165" fmla="*/ 1208094 h 1240128"/>
              <a:gd name="csX166" fmla="*/ 521229 w 697572"/>
              <a:gd name="csY166" fmla="*/ 1205646 h 1240128"/>
              <a:gd name="csX167" fmla="*/ 523675 w 697572"/>
              <a:gd name="csY167" fmla="*/ 1205490 h 1240128"/>
              <a:gd name="csX168" fmla="*/ 580423 w 697572"/>
              <a:gd name="csY168" fmla="*/ 1198350 h 1240128"/>
              <a:gd name="csX169" fmla="*/ 636802 w 697572"/>
              <a:gd name="csY169" fmla="*/ 1190940 h 124012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</a:cxnLst>
            <a:rect l="l" t="t" r="r" b="b"/>
            <a:pathLst>
              <a:path w="697572" h="1240128">
                <a:moveTo>
                  <a:pt x="581793" y="1234401"/>
                </a:moveTo>
                <a:cubicBezTo>
                  <a:pt x="580693" y="1234661"/>
                  <a:pt x="579594" y="1234922"/>
                  <a:pt x="577427" y="1234156"/>
                </a:cubicBezTo>
                <a:cubicBezTo>
                  <a:pt x="571216" y="1227899"/>
                  <a:pt x="564912" y="1230441"/>
                  <a:pt x="559133" y="1230909"/>
                </a:cubicBezTo>
                <a:cubicBezTo>
                  <a:pt x="544971" y="1232056"/>
                  <a:pt x="530869" y="1233971"/>
                  <a:pt x="516706" y="1235117"/>
                </a:cubicBezTo>
                <a:cubicBezTo>
                  <a:pt x="502910" y="1236232"/>
                  <a:pt x="489077" y="1237097"/>
                  <a:pt x="475244" y="1237506"/>
                </a:cubicBezTo>
                <a:cubicBezTo>
                  <a:pt x="440539" y="1238535"/>
                  <a:pt x="405696" y="1241458"/>
                  <a:pt x="371154" y="1239428"/>
                </a:cubicBezTo>
                <a:cubicBezTo>
                  <a:pt x="339645" y="1237575"/>
                  <a:pt x="308239" y="1238753"/>
                  <a:pt x="276813" y="1237654"/>
                </a:cubicBezTo>
                <a:cubicBezTo>
                  <a:pt x="273949" y="1237553"/>
                  <a:pt x="271079" y="1237652"/>
                  <a:pt x="268212" y="1237635"/>
                </a:cubicBezTo>
                <a:cubicBezTo>
                  <a:pt x="266165" y="1237623"/>
                  <a:pt x="264111" y="1237668"/>
                  <a:pt x="262072" y="1237523"/>
                </a:cubicBezTo>
                <a:cubicBezTo>
                  <a:pt x="239751" y="1235944"/>
                  <a:pt x="217441" y="1234201"/>
                  <a:pt x="195111" y="1232775"/>
                </a:cubicBezTo>
                <a:cubicBezTo>
                  <a:pt x="178437" y="1231710"/>
                  <a:pt x="161712" y="1231378"/>
                  <a:pt x="145060" y="1230076"/>
                </a:cubicBezTo>
                <a:cubicBezTo>
                  <a:pt x="134969" y="1229287"/>
                  <a:pt x="124987" y="1227177"/>
                  <a:pt x="114933" y="1225832"/>
                </a:cubicBezTo>
                <a:cubicBezTo>
                  <a:pt x="100834" y="1223946"/>
                  <a:pt x="86554" y="1223022"/>
                  <a:pt x="72642" y="1220237"/>
                </a:cubicBezTo>
                <a:cubicBezTo>
                  <a:pt x="51920" y="1216091"/>
                  <a:pt x="31443" y="1210723"/>
                  <a:pt x="10894" y="1205737"/>
                </a:cubicBezTo>
                <a:cubicBezTo>
                  <a:pt x="9027" y="1205284"/>
                  <a:pt x="6196" y="1204140"/>
                  <a:pt x="5856" y="1202799"/>
                </a:cubicBezTo>
                <a:cubicBezTo>
                  <a:pt x="3474" y="1193418"/>
                  <a:pt x="-438" y="1183796"/>
                  <a:pt x="40" y="1174450"/>
                </a:cubicBezTo>
                <a:cubicBezTo>
                  <a:pt x="1079" y="1154149"/>
                  <a:pt x="9757" y="1135843"/>
                  <a:pt x="19831" y="1118410"/>
                </a:cubicBezTo>
                <a:cubicBezTo>
                  <a:pt x="21968" y="1114713"/>
                  <a:pt x="22970" y="1111858"/>
                  <a:pt x="22004" y="1107240"/>
                </a:cubicBezTo>
                <a:cubicBezTo>
                  <a:pt x="17168" y="1084118"/>
                  <a:pt x="17717" y="1061168"/>
                  <a:pt x="25947" y="1038650"/>
                </a:cubicBezTo>
                <a:cubicBezTo>
                  <a:pt x="32954" y="1019481"/>
                  <a:pt x="44478" y="1003118"/>
                  <a:pt x="58234" y="988567"/>
                </a:cubicBezTo>
                <a:cubicBezTo>
                  <a:pt x="77769" y="967902"/>
                  <a:pt x="97978" y="947832"/>
                  <a:pt x="118645" y="928298"/>
                </a:cubicBezTo>
                <a:cubicBezTo>
                  <a:pt x="130104" y="917467"/>
                  <a:pt x="131835" y="905961"/>
                  <a:pt x="126320" y="892015"/>
                </a:cubicBezTo>
                <a:cubicBezTo>
                  <a:pt x="123798" y="885637"/>
                  <a:pt x="122123" y="878904"/>
                  <a:pt x="120345" y="872258"/>
                </a:cubicBezTo>
                <a:cubicBezTo>
                  <a:pt x="119029" y="867341"/>
                  <a:pt x="120162" y="863613"/>
                  <a:pt x="125668" y="861640"/>
                </a:cubicBezTo>
                <a:cubicBezTo>
                  <a:pt x="135266" y="858201"/>
                  <a:pt x="144535" y="853788"/>
                  <a:pt x="154237" y="850716"/>
                </a:cubicBezTo>
                <a:cubicBezTo>
                  <a:pt x="161882" y="848296"/>
                  <a:pt x="167110" y="843897"/>
                  <a:pt x="170248" y="836767"/>
                </a:cubicBezTo>
                <a:cubicBezTo>
                  <a:pt x="176168" y="823316"/>
                  <a:pt x="182193" y="809907"/>
                  <a:pt x="187840" y="796341"/>
                </a:cubicBezTo>
                <a:cubicBezTo>
                  <a:pt x="195194" y="778679"/>
                  <a:pt x="202250" y="760894"/>
                  <a:pt x="209346" y="743126"/>
                </a:cubicBezTo>
                <a:cubicBezTo>
                  <a:pt x="210083" y="741280"/>
                  <a:pt x="210252" y="739200"/>
                  <a:pt x="210630" y="737219"/>
                </a:cubicBezTo>
                <a:cubicBezTo>
                  <a:pt x="211694" y="731645"/>
                  <a:pt x="212425" y="725987"/>
                  <a:pt x="213836" y="720505"/>
                </a:cubicBezTo>
                <a:cubicBezTo>
                  <a:pt x="218406" y="702764"/>
                  <a:pt x="223811" y="685219"/>
                  <a:pt x="227791" y="667353"/>
                </a:cubicBezTo>
                <a:cubicBezTo>
                  <a:pt x="232826" y="644755"/>
                  <a:pt x="237367" y="622009"/>
                  <a:pt x="241013" y="599151"/>
                </a:cubicBezTo>
                <a:cubicBezTo>
                  <a:pt x="244018" y="580319"/>
                  <a:pt x="246001" y="561272"/>
                  <a:pt x="247322" y="542242"/>
                </a:cubicBezTo>
                <a:cubicBezTo>
                  <a:pt x="248312" y="527975"/>
                  <a:pt x="246344" y="513451"/>
                  <a:pt x="247948" y="499296"/>
                </a:cubicBezTo>
                <a:cubicBezTo>
                  <a:pt x="249066" y="489432"/>
                  <a:pt x="247923" y="480014"/>
                  <a:pt x="247577" y="470384"/>
                </a:cubicBezTo>
                <a:cubicBezTo>
                  <a:pt x="247364" y="464453"/>
                  <a:pt x="245121" y="461397"/>
                  <a:pt x="238877" y="460987"/>
                </a:cubicBezTo>
                <a:cubicBezTo>
                  <a:pt x="233224" y="460615"/>
                  <a:pt x="227461" y="459920"/>
                  <a:pt x="222040" y="458353"/>
                </a:cubicBezTo>
                <a:cubicBezTo>
                  <a:pt x="203991" y="453134"/>
                  <a:pt x="185737" y="448229"/>
                  <a:pt x="172193" y="433714"/>
                </a:cubicBezTo>
                <a:cubicBezTo>
                  <a:pt x="162702" y="423544"/>
                  <a:pt x="160887" y="408134"/>
                  <a:pt x="168410" y="396591"/>
                </a:cubicBezTo>
                <a:cubicBezTo>
                  <a:pt x="178294" y="381428"/>
                  <a:pt x="193736" y="373793"/>
                  <a:pt x="209826" y="367773"/>
                </a:cubicBezTo>
                <a:cubicBezTo>
                  <a:pt x="223159" y="362784"/>
                  <a:pt x="237124" y="359493"/>
                  <a:pt x="250732" y="355208"/>
                </a:cubicBezTo>
                <a:cubicBezTo>
                  <a:pt x="253085" y="354467"/>
                  <a:pt x="255058" y="352518"/>
                  <a:pt x="258289" y="350426"/>
                </a:cubicBezTo>
                <a:cubicBezTo>
                  <a:pt x="250173" y="342610"/>
                  <a:pt x="241833" y="337880"/>
                  <a:pt x="233274" y="333513"/>
                </a:cubicBezTo>
                <a:cubicBezTo>
                  <a:pt x="232377" y="333055"/>
                  <a:pt x="230890" y="333758"/>
                  <a:pt x="229677" y="333922"/>
                </a:cubicBezTo>
                <a:cubicBezTo>
                  <a:pt x="229677" y="333922"/>
                  <a:pt x="230323" y="333834"/>
                  <a:pt x="230149" y="332979"/>
                </a:cubicBezTo>
                <a:cubicBezTo>
                  <a:pt x="229023" y="330409"/>
                  <a:pt x="228502" y="328059"/>
                  <a:pt x="227053" y="327076"/>
                </a:cubicBezTo>
                <a:cubicBezTo>
                  <a:pt x="213615" y="317962"/>
                  <a:pt x="204643" y="305332"/>
                  <a:pt x="196769" y="291380"/>
                </a:cubicBezTo>
                <a:cubicBezTo>
                  <a:pt x="191792" y="282564"/>
                  <a:pt x="185421" y="274665"/>
                  <a:pt x="184389" y="264042"/>
                </a:cubicBezTo>
                <a:cubicBezTo>
                  <a:pt x="184179" y="261874"/>
                  <a:pt x="181925" y="259908"/>
                  <a:pt x="180630" y="257839"/>
                </a:cubicBezTo>
                <a:cubicBezTo>
                  <a:pt x="179137" y="255454"/>
                  <a:pt x="177317" y="253204"/>
                  <a:pt x="176231" y="250643"/>
                </a:cubicBezTo>
                <a:cubicBezTo>
                  <a:pt x="161865" y="216749"/>
                  <a:pt x="159606" y="182060"/>
                  <a:pt x="170073" y="146723"/>
                </a:cubicBezTo>
                <a:cubicBezTo>
                  <a:pt x="173311" y="135795"/>
                  <a:pt x="177248" y="125074"/>
                  <a:pt x="180929" y="114280"/>
                </a:cubicBezTo>
                <a:cubicBezTo>
                  <a:pt x="182396" y="109981"/>
                  <a:pt x="183922" y="105742"/>
                  <a:pt x="180839" y="101501"/>
                </a:cubicBezTo>
                <a:cubicBezTo>
                  <a:pt x="192473" y="75833"/>
                  <a:pt x="211344" y="56271"/>
                  <a:pt x="233536" y="39653"/>
                </a:cubicBezTo>
                <a:cubicBezTo>
                  <a:pt x="267321" y="14353"/>
                  <a:pt x="305621" y="873"/>
                  <a:pt x="347618" y="35"/>
                </a:cubicBezTo>
                <a:cubicBezTo>
                  <a:pt x="379125" y="-593"/>
                  <a:pt x="409214" y="7172"/>
                  <a:pt x="437139" y="22396"/>
                </a:cubicBezTo>
                <a:cubicBezTo>
                  <a:pt x="481844" y="46766"/>
                  <a:pt x="514077" y="82116"/>
                  <a:pt x="529052" y="131093"/>
                </a:cubicBezTo>
                <a:cubicBezTo>
                  <a:pt x="543544" y="178495"/>
                  <a:pt x="541630" y="225548"/>
                  <a:pt x="518497" y="271517"/>
                </a:cubicBezTo>
                <a:cubicBezTo>
                  <a:pt x="511428" y="277096"/>
                  <a:pt x="503848" y="281136"/>
                  <a:pt x="500808" y="287385"/>
                </a:cubicBezTo>
                <a:cubicBezTo>
                  <a:pt x="493932" y="301522"/>
                  <a:pt x="483805" y="312513"/>
                  <a:pt x="472948" y="323290"/>
                </a:cubicBezTo>
                <a:cubicBezTo>
                  <a:pt x="470972" y="325253"/>
                  <a:pt x="470533" y="328767"/>
                  <a:pt x="469385" y="331565"/>
                </a:cubicBezTo>
                <a:cubicBezTo>
                  <a:pt x="469385" y="331565"/>
                  <a:pt x="469172" y="331584"/>
                  <a:pt x="468293" y="331320"/>
                </a:cubicBezTo>
                <a:cubicBezTo>
                  <a:pt x="461937" y="330836"/>
                  <a:pt x="458618" y="332772"/>
                  <a:pt x="459542" y="338942"/>
                </a:cubicBezTo>
                <a:cubicBezTo>
                  <a:pt x="459542" y="338942"/>
                  <a:pt x="459473" y="338913"/>
                  <a:pt x="458492" y="338671"/>
                </a:cubicBezTo>
                <a:cubicBezTo>
                  <a:pt x="450936" y="342653"/>
                  <a:pt x="440712" y="341355"/>
                  <a:pt x="436978" y="352226"/>
                </a:cubicBezTo>
                <a:cubicBezTo>
                  <a:pt x="449178" y="355911"/>
                  <a:pt x="460733" y="359469"/>
                  <a:pt x="472329" y="362890"/>
                </a:cubicBezTo>
                <a:cubicBezTo>
                  <a:pt x="491728" y="368613"/>
                  <a:pt x="510182" y="375784"/>
                  <a:pt x="523779" y="391962"/>
                </a:cubicBezTo>
                <a:cubicBezTo>
                  <a:pt x="535849" y="406326"/>
                  <a:pt x="534845" y="420076"/>
                  <a:pt x="527344" y="430096"/>
                </a:cubicBezTo>
                <a:cubicBezTo>
                  <a:pt x="521323" y="438139"/>
                  <a:pt x="513928" y="445333"/>
                  <a:pt x="504112" y="449628"/>
                </a:cubicBezTo>
                <a:cubicBezTo>
                  <a:pt x="489776" y="455901"/>
                  <a:pt x="475173" y="460486"/>
                  <a:pt x="459430" y="461116"/>
                </a:cubicBezTo>
                <a:cubicBezTo>
                  <a:pt x="448415" y="461557"/>
                  <a:pt x="446384" y="463369"/>
                  <a:pt x="446666" y="474229"/>
                </a:cubicBezTo>
                <a:cubicBezTo>
                  <a:pt x="447164" y="493376"/>
                  <a:pt x="447839" y="512533"/>
                  <a:pt x="449133" y="531639"/>
                </a:cubicBezTo>
                <a:cubicBezTo>
                  <a:pt x="450424" y="550696"/>
                  <a:pt x="451783" y="569809"/>
                  <a:pt x="454546" y="588688"/>
                </a:cubicBezTo>
                <a:cubicBezTo>
                  <a:pt x="457543" y="609164"/>
                  <a:pt x="462165" y="629403"/>
                  <a:pt x="466126" y="649736"/>
                </a:cubicBezTo>
                <a:cubicBezTo>
                  <a:pt x="475845" y="699621"/>
                  <a:pt x="493414" y="746980"/>
                  <a:pt x="512154" y="794006"/>
                </a:cubicBezTo>
                <a:cubicBezTo>
                  <a:pt x="517387" y="807138"/>
                  <a:pt x="525145" y="819463"/>
                  <a:pt x="525763" y="834323"/>
                </a:cubicBezTo>
                <a:cubicBezTo>
                  <a:pt x="525919" y="838081"/>
                  <a:pt x="527739" y="843335"/>
                  <a:pt x="530555" y="845114"/>
                </a:cubicBezTo>
                <a:cubicBezTo>
                  <a:pt x="537981" y="849801"/>
                  <a:pt x="546243" y="853278"/>
                  <a:pt x="554424" y="856618"/>
                </a:cubicBezTo>
                <a:cubicBezTo>
                  <a:pt x="560391" y="859054"/>
                  <a:pt x="567041" y="859887"/>
                  <a:pt x="572880" y="862546"/>
                </a:cubicBezTo>
                <a:cubicBezTo>
                  <a:pt x="581470" y="866458"/>
                  <a:pt x="582467" y="871415"/>
                  <a:pt x="578643" y="880396"/>
                </a:cubicBezTo>
                <a:cubicBezTo>
                  <a:pt x="575969" y="886677"/>
                  <a:pt x="572900" y="893182"/>
                  <a:pt x="572188" y="899820"/>
                </a:cubicBezTo>
                <a:cubicBezTo>
                  <a:pt x="570960" y="911271"/>
                  <a:pt x="576506" y="920944"/>
                  <a:pt x="582698" y="930382"/>
                </a:cubicBezTo>
                <a:cubicBezTo>
                  <a:pt x="589569" y="940856"/>
                  <a:pt x="600933" y="947930"/>
                  <a:pt x="604747" y="960852"/>
                </a:cubicBezTo>
                <a:cubicBezTo>
                  <a:pt x="605684" y="964030"/>
                  <a:pt x="610294" y="967128"/>
                  <a:pt x="613863" y="968311"/>
                </a:cubicBezTo>
                <a:cubicBezTo>
                  <a:pt x="620963" y="970665"/>
                  <a:pt x="625924" y="974774"/>
                  <a:pt x="629435" y="981186"/>
                </a:cubicBezTo>
                <a:cubicBezTo>
                  <a:pt x="630381" y="982913"/>
                  <a:pt x="631977" y="984459"/>
                  <a:pt x="633611" y="985609"/>
                </a:cubicBezTo>
                <a:cubicBezTo>
                  <a:pt x="655878" y="1001272"/>
                  <a:pt x="668032" y="1023762"/>
                  <a:pt x="673790" y="1049348"/>
                </a:cubicBezTo>
                <a:cubicBezTo>
                  <a:pt x="676936" y="1063327"/>
                  <a:pt x="679769" y="1077802"/>
                  <a:pt x="675873" y="1092839"/>
                </a:cubicBezTo>
                <a:cubicBezTo>
                  <a:pt x="672677" y="1105174"/>
                  <a:pt x="673042" y="1116963"/>
                  <a:pt x="681668" y="1129292"/>
                </a:cubicBezTo>
                <a:cubicBezTo>
                  <a:pt x="695321" y="1148802"/>
                  <a:pt x="698550" y="1172235"/>
                  <a:pt x="697338" y="1196079"/>
                </a:cubicBezTo>
                <a:cubicBezTo>
                  <a:pt x="697087" y="1201014"/>
                  <a:pt x="694979" y="1203886"/>
                  <a:pt x="690637" y="1205035"/>
                </a:cubicBezTo>
                <a:cubicBezTo>
                  <a:pt x="673723" y="1209511"/>
                  <a:pt x="656856" y="1214241"/>
                  <a:pt x="639777" y="1217994"/>
                </a:cubicBezTo>
                <a:cubicBezTo>
                  <a:pt x="622334" y="1221827"/>
                  <a:pt x="604691" y="1224790"/>
                  <a:pt x="587072" y="1227761"/>
                </a:cubicBezTo>
                <a:cubicBezTo>
                  <a:pt x="582708" y="1228497"/>
                  <a:pt x="581724" y="1230736"/>
                  <a:pt x="581793" y="1234401"/>
                </a:cubicBezTo>
                <a:moveTo>
                  <a:pt x="357446" y="903795"/>
                </a:moveTo>
                <a:cubicBezTo>
                  <a:pt x="353141" y="903795"/>
                  <a:pt x="348835" y="903795"/>
                  <a:pt x="344445" y="903795"/>
                </a:cubicBezTo>
                <a:cubicBezTo>
                  <a:pt x="346169" y="920562"/>
                  <a:pt x="347908" y="935520"/>
                  <a:pt x="349212" y="950515"/>
                </a:cubicBezTo>
                <a:cubicBezTo>
                  <a:pt x="352656" y="990125"/>
                  <a:pt x="351941" y="1029743"/>
                  <a:pt x="349538" y="1069392"/>
                </a:cubicBezTo>
                <a:cubicBezTo>
                  <a:pt x="348759" y="1082241"/>
                  <a:pt x="349415" y="1095176"/>
                  <a:pt x="349415" y="1108925"/>
                </a:cubicBezTo>
                <a:cubicBezTo>
                  <a:pt x="449467" y="1111953"/>
                  <a:pt x="548509" y="1104712"/>
                  <a:pt x="647726" y="1089872"/>
                </a:cubicBezTo>
                <a:cubicBezTo>
                  <a:pt x="647726" y="1084313"/>
                  <a:pt x="648180" y="1080225"/>
                  <a:pt x="647654" y="1076267"/>
                </a:cubicBezTo>
                <a:cubicBezTo>
                  <a:pt x="643515" y="1045124"/>
                  <a:pt x="633172" y="1016714"/>
                  <a:pt x="610267" y="994126"/>
                </a:cubicBezTo>
                <a:cubicBezTo>
                  <a:pt x="597451" y="981485"/>
                  <a:pt x="584392" y="969090"/>
                  <a:pt x="571459" y="956568"/>
                </a:cubicBezTo>
                <a:cubicBezTo>
                  <a:pt x="555751" y="941359"/>
                  <a:pt x="544836" y="923558"/>
                  <a:pt x="541653" y="901544"/>
                </a:cubicBezTo>
                <a:cubicBezTo>
                  <a:pt x="541430" y="900007"/>
                  <a:pt x="540528" y="898570"/>
                  <a:pt x="539477" y="895908"/>
                </a:cubicBezTo>
                <a:cubicBezTo>
                  <a:pt x="479736" y="901652"/>
                  <a:pt x="419815" y="904536"/>
                  <a:pt x="357446" y="903795"/>
                </a:cubicBezTo>
                <a:moveTo>
                  <a:pt x="300108" y="85260"/>
                </a:moveTo>
                <a:cubicBezTo>
                  <a:pt x="293656" y="98745"/>
                  <a:pt x="289202" y="113094"/>
                  <a:pt x="290213" y="127888"/>
                </a:cubicBezTo>
                <a:cubicBezTo>
                  <a:pt x="292527" y="161736"/>
                  <a:pt x="304185" y="191723"/>
                  <a:pt x="331056" y="214168"/>
                </a:cubicBezTo>
                <a:cubicBezTo>
                  <a:pt x="358172" y="236816"/>
                  <a:pt x="388435" y="249934"/>
                  <a:pt x="424717" y="245160"/>
                </a:cubicBezTo>
                <a:cubicBezTo>
                  <a:pt x="468593" y="239387"/>
                  <a:pt x="509574" y="203365"/>
                  <a:pt x="496752" y="141256"/>
                </a:cubicBezTo>
                <a:cubicBezTo>
                  <a:pt x="487021" y="94124"/>
                  <a:pt x="447261" y="51874"/>
                  <a:pt x="390320" y="43995"/>
                </a:cubicBezTo>
                <a:cubicBezTo>
                  <a:pt x="353241" y="38865"/>
                  <a:pt x="321136" y="48750"/>
                  <a:pt x="300108" y="85260"/>
                </a:cubicBezTo>
                <a:moveTo>
                  <a:pt x="343360" y="634332"/>
                </a:moveTo>
                <a:cubicBezTo>
                  <a:pt x="342539" y="666975"/>
                  <a:pt x="341785" y="699619"/>
                  <a:pt x="340877" y="732259"/>
                </a:cubicBezTo>
                <a:cubicBezTo>
                  <a:pt x="340151" y="758355"/>
                  <a:pt x="339265" y="784447"/>
                  <a:pt x="338360" y="810538"/>
                </a:cubicBezTo>
                <a:cubicBezTo>
                  <a:pt x="338277" y="812948"/>
                  <a:pt x="337465" y="815325"/>
                  <a:pt x="337115" y="817736"/>
                </a:cubicBezTo>
                <a:cubicBezTo>
                  <a:pt x="334935" y="832710"/>
                  <a:pt x="336026" y="847647"/>
                  <a:pt x="336516" y="863022"/>
                </a:cubicBezTo>
                <a:cubicBezTo>
                  <a:pt x="339537" y="863479"/>
                  <a:pt x="341490" y="864053"/>
                  <a:pt x="343436" y="864027"/>
                </a:cubicBezTo>
                <a:cubicBezTo>
                  <a:pt x="364531" y="863739"/>
                  <a:pt x="385626" y="863422"/>
                  <a:pt x="406718" y="862982"/>
                </a:cubicBezTo>
                <a:cubicBezTo>
                  <a:pt x="423444" y="862634"/>
                  <a:pt x="440168" y="861675"/>
                  <a:pt x="456888" y="861794"/>
                </a:cubicBezTo>
                <a:cubicBezTo>
                  <a:pt x="469887" y="861886"/>
                  <a:pt x="482872" y="863302"/>
                  <a:pt x="495873" y="863963"/>
                </a:cubicBezTo>
                <a:cubicBezTo>
                  <a:pt x="500358" y="864191"/>
                  <a:pt x="505108" y="864773"/>
                  <a:pt x="509286" y="863595"/>
                </a:cubicBezTo>
                <a:cubicBezTo>
                  <a:pt x="512346" y="862732"/>
                  <a:pt x="515714" y="859703"/>
                  <a:pt x="516956" y="856791"/>
                </a:cubicBezTo>
                <a:cubicBezTo>
                  <a:pt x="517783" y="854851"/>
                  <a:pt x="515475" y="851192"/>
                  <a:pt x="513920" y="848709"/>
                </a:cubicBezTo>
                <a:cubicBezTo>
                  <a:pt x="511791" y="845308"/>
                  <a:pt x="508393" y="842606"/>
                  <a:pt x="506683" y="839054"/>
                </a:cubicBezTo>
                <a:cubicBezTo>
                  <a:pt x="500331" y="825864"/>
                  <a:pt x="493224" y="812855"/>
                  <a:pt x="488629" y="799037"/>
                </a:cubicBezTo>
                <a:cubicBezTo>
                  <a:pt x="477322" y="765031"/>
                  <a:pt x="466537" y="730814"/>
                  <a:pt x="456922" y="696297"/>
                </a:cubicBezTo>
                <a:cubicBezTo>
                  <a:pt x="449953" y="671276"/>
                  <a:pt x="443477" y="646020"/>
                  <a:pt x="441346" y="619885"/>
                </a:cubicBezTo>
                <a:cubicBezTo>
                  <a:pt x="440327" y="607371"/>
                  <a:pt x="437466" y="595018"/>
                  <a:pt x="435963" y="582529"/>
                </a:cubicBezTo>
                <a:cubicBezTo>
                  <a:pt x="433539" y="562380"/>
                  <a:pt x="431154" y="542212"/>
                  <a:pt x="429497" y="521990"/>
                </a:cubicBezTo>
                <a:cubicBezTo>
                  <a:pt x="428135" y="505363"/>
                  <a:pt x="428437" y="488593"/>
                  <a:pt x="426887" y="471989"/>
                </a:cubicBezTo>
                <a:cubicBezTo>
                  <a:pt x="425874" y="461140"/>
                  <a:pt x="424983" y="461120"/>
                  <a:pt x="413744" y="461077"/>
                </a:cubicBezTo>
                <a:cubicBezTo>
                  <a:pt x="393687" y="461000"/>
                  <a:pt x="373630" y="461011"/>
                  <a:pt x="353573" y="461120"/>
                </a:cubicBezTo>
                <a:cubicBezTo>
                  <a:pt x="350472" y="461137"/>
                  <a:pt x="347374" y="461869"/>
                  <a:pt x="344160" y="462286"/>
                </a:cubicBezTo>
                <a:cubicBezTo>
                  <a:pt x="343828" y="465198"/>
                  <a:pt x="343406" y="467195"/>
                  <a:pt x="343404" y="469192"/>
                </a:cubicBezTo>
                <a:cubicBezTo>
                  <a:pt x="343360" y="504394"/>
                  <a:pt x="343267" y="539596"/>
                  <a:pt x="343469" y="574797"/>
                </a:cubicBezTo>
                <a:cubicBezTo>
                  <a:pt x="343501" y="580426"/>
                  <a:pt x="345652" y="586065"/>
                  <a:pt x="345522" y="591669"/>
                </a:cubicBezTo>
                <a:cubicBezTo>
                  <a:pt x="345214" y="605082"/>
                  <a:pt x="344131" y="618478"/>
                  <a:pt x="343360" y="634332"/>
                </a:cubicBezTo>
                <a:moveTo>
                  <a:pt x="416946" y="385943"/>
                </a:moveTo>
                <a:cubicBezTo>
                  <a:pt x="411661" y="386365"/>
                  <a:pt x="406384" y="387006"/>
                  <a:pt x="401091" y="387162"/>
                </a:cubicBezTo>
                <a:cubicBezTo>
                  <a:pt x="390470" y="387477"/>
                  <a:pt x="379841" y="387447"/>
                  <a:pt x="369218" y="387708"/>
                </a:cubicBezTo>
                <a:cubicBezTo>
                  <a:pt x="361167" y="387906"/>
                  <a:pt x="354429" y="391368"/>
                  <a:pt x="351833" y="398991"/>
                </a:cubicBezTo>
                <a:cubicBezTo>
                  <a:pt x="348989" y="407342"/>
                  <a:pt x="347050" y="416214"/>
                  <a:pt x="349778" y="426021"/>
                </a:cubicBezTo>
                <a:cubicBezTo>
                  <a:pt x="353876" y="426204"/>
                  <a:pt x="357857" y="426517"/>
                  <a:pt x="361839" y="426538"/>
                </a:cubicBezTo>
                <a:cubicBezTo>
                  <a:pt x="392900" y="426701"/>
                  <a:pt x="423961" y="426826"/>
                  <a:pt x="455022" y="426922"/>
                </a:cubicBezTo>
                <a:cubicBezTo>
                  <a:pt x="464013" y="426950"/>
                  <a:pt x="473106" y="427654"/>
                  <a:pt x="481958" y="426527"/>
                </a:cubicBezTo>
                <a:cubicBezTo>
                  <a:pt x="488144" y="425740"/>
                  <a:pt x="494821" y="423501"/>
                  <a:pt x="499817" y="419888"/>
                </a:cubicBezTo>
                <a:cubicBezTo>
                  <a:pt x="507869" y="414066"/>
                  <a:pt x="507286" y="406755"/>
                  <a:pt x="499439" y="400719"/>
                </a:cubicBezTo>
                <a:cubicBezTo>
                  <a:pt x="490179" y="393597"/>
                  <a:pt x="479486" y="388885"/>
                  <a:pt x="468062" y="387775"/>
                </a:cubicBezTo>
                <a:cubicBezTo>
                  <a:pt x="451873" y="386202"/>
                  <a:pt x="435520" y="386321"/>
                  <a:pt x="416946" y="385943"/>
                </a:cubicBezTo>
                <a:moveTo>
                  <a:pt x="636802" y="1190940"/>
                </a:moveTo>
                <a:cubicBezTo>
                  <a:pt x="646709" y="1188723"/>
                  <a:pt x="656705" y="1186841"/>
                  <a:pt x="666492" y="1184186"/>
                </a:cubicBezTo>
                <a:cubicBezTo>
                  <a:pt x="674710" y="1181958"/>
                  <a:pt x="676989" y="1178509"/>
                  <a:pt x="674465" y="1170880"/>
                </a:cubicBezTo>
                <a:cubicBezTo>
                  <a:pt x="671144" y="1160843"/>
                  <a:pt x="667026" y="1151009"/>
                  <a:pt x="662462" y="1141464"/>
                </a:cubicBezTo>
                <a:cubicBezTo>
                  <a:pt x="659273" y="1134795"/>
                  <a:pt x="653671" y="1130908"/>
                  <a:pt x="645564" y="1131937"/>
                </a:cubicBezTo>
                <a:cubicBezTo>
                  <a:pt x="639532" y="1132703"/>
                  <a:pt x="633423" y="1132867"/>
                  <a:pt x="627387" y="1133618"/>
                </a:cubicBezTo>
                <a:cubicBezTo>
                  <a:pt x="612888" y="1135421"/>
                  <a:pt x="598449" y="1137770"/>
                  <a:pt x="583917" y="1139222"/>
                </a:cubicBezTo>
                <a:cubicBezTo>
                  <a:pt x="570571" y="1140557"/>
                  <a:pt x="557130" y="1140930"/>
                  <a:pt x="543741" y="1141869"/>
                </a:cubicBezTo>
                <a:cubicBezTo>
                  <a:pt x="533202" y="1142610"/>
                  <a:pt x="522682" y="1143623"/>
                  <a:pt x="512146" y="1144418"/>
                </a:cubicBezTo>
                <a:cubicBezTo>
                  <a:pt x="490671" y="1146038"/>
                  <a:pt x="469214" y="1148450"/>
                  <a:pt x="447711" y="1148973"/>
                </a:cubicBezTo>
                <a:cubicBezTo>
                  <a:pt x="415817" y="1149749"/>
                  <a:pt x="383891" y="1149136"/>
                  <a:pt x="351979" y="1149200"/>
                </a:cubicBezTo>
                <a:cubicBezTo>
                  <a:pt x="347698" y="1149209"/>
                  <a:pt x="343419" y="1149717"/>
                  <a:pt x="338443" y="1150040"/>
                </a:cubicBezTo>
                <a:cubicBezTo>
                  <a:pt x="338443" y="1164651"/>
                  <a:pt x="338413" y="1177715"/>
                  <a:pt x="338451" y="1190780"/>
                </a:cubicBezTo>
                <a:cubicBezTo>
                  <a:pt x="338490" y="1204031"/>
                  <a:pt x="338512" y="1204062"/>
                  <a:pt x="351082" y="1207015"/>
                </a:cubicBezTo>
                <a:cubicBezTo>
                  <a:pt x="353445" y="1207570"/>
                  <a:pt x="355895" y="1208128"/>
                  <a:pt x="358298" y="1208094"/>
                </a:cubicBezTo>
                <a:cubicBezTo>
                  <a:pt x="412608" y="1207329"/>
                  <a:pt x="466919" y="1206484"/>
                  <a:pt x="521229" y="1205646"/>
                </a:cubicBezTo>
                <a:cubicBezTo>
                  <a:pt x="522045" y="1205634"/>
                  <a:pt x="522865" y="1205591"/>
                  <a:pt x="523675" y="1205490"/>
                </a:cubicBezTo>
                <a:cubicBezTo>
                  <a:pt x="542593" y="1203123"/>
                  <a:pt x="561519" y="1200820"/>
                  <a:pt x="580423" y="1198350"/>
                </a:cubicBezTo>
                <a:cubicBezTo>
                  <a:pt x="598523" y="1195985"/>
                  <a:pt x="616599" y="1193446"/>
                  <a:pt x="636802" y="1190940"/>
                </a:cubicBez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5" name="Free-form: Shape 14">
            <a:extLst>
              <a:ext uri="{FF2B5EF4-FFF2-40B4-BE49-F238E27FC236}">
                <a16:creationId xmlns:a16="http://schemas.microsoft.com/office/drawing/2014/main" id="{F563BAE5-E20E-C7FF-2910-C70A944247AA}"/>
              </a:ext>
            </a:extLst>
          </p:cNvPr>
          <p:cNvSpPr/>
          <p:nvPr/>
        </p:nvSpPr>
        <p:spPr>
          <a:xfrm>
            <a:off x="1774312" y="2842486"/>
            <a:ext cx="17183" cy="1817"/>
          </a:xfrm>
          <a:custGeom>
            <a:avLst/>
            <a:gdLst>
              <a:gd name="csX0" fmla="*/ 0 w 27674"/>
              <a:gd name="csY0" fmla="*/ 2915 h 2925"/>
              <a:gd name="csX1" fmla="*/ 27675 w 27674"/>
              <a:gd name="csY1" fmla="*/ 1550 h 2925"/>
              <a:gd name="csX2" fmla="*/ 0 w 27674"/>
              <a:gd name="csY2" fmla="*/ 2915 h 292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27674" h="2925">
                <a:moveTo>
                  <a:pt x="0" y="2915"/>
                </a:moveTo>
                <a:cubicBezTo>
                  <a:pt x="8211" y="-1939"/>
                  <a:pt x="17625" y="498"/>
                  <a:pt x="27675" y="1550"/>
                </a:cubicBezTo>
                <a:cubicBezTo>
                  <a:pt x="19225" y="2593"/>
                  <a:pt x="10029" y="2999"/>
                  <a:pt x="0" y="2915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" name="Free-form: Shape 15">
            <a:extLst>
              <a:ext uri="{FF2B5EF4-FFF2-40B4-BE49-F238E27FC236}">
                <a16:creationId xmlns:a16="http://schemas.microsoft.com/office/drawing/2014/main" id="{0AE2A6E3-C0C3-6426-5A03-8AFFD76FDD08}"/>
              </a:ext>
            </a:extLst>
          </p:cNvPr>
          <p:cNvSpPr/>
          <p:nvPr/>
        </p:nvSpPr>
        <p:spPr>
          <a:xfrm>
            <a:off x="1727008" y="2843510"/>
            <a:ext cx="11179" cy="700"/>
          </a:xfrm>
          <a:custGeom>
            <a:avLst/>
            <a:gdLst>
              <a:gd name="csX0" fmla="*/ 0 w 18003"/>
              <a:gd name="csY0" fmla="*/ 1050 h 1128"/>
              <a:gd name="csX1" fmla="*/ 18004 w 18003"/>
              <a:gd name="csY1" fmla="*/ 93 h 1128"/>
              <a:gd name="csX2" fmla="*/ 0 w 18003"/>
              <a:gd name="csY2" fmla="*/ 1050 h 112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8003" h="1128">
                <a:moveTo>
                  <a:pt x="0" y="1050"/>
                </a:moveTo>
                <a:cubicBezTo>
                  <a:pt x="5276" y="182"/>
                  <a:pt x="11306" y="-189"/>
                  <a:pt x="18004" y="93"/>
                </a:cubicBezTo>
                <a:cubicBezTo>
                  <a:pt x="12699" y="1013"/>
                  <a:pt x="6726" y="1280"/>
                  <a:pt x="0" y="1050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9" name="Free-form: Shape 18">
            <a:extLst>
              <a:ext uri="{FF2B5EF4-FFF2-40B4-BE49-F238E27FC236}">
                <a16:creationId xmlns:a16="http://schemas.microsoft.com/office/drawing/2014/main" id="{1417515D-91AC-9067-9665-C640400FBA9C}"/>
              </a:ext>
            </a:extLst>
          </p:cNvPr>
          <p:cNvSpPr/>
          <p:nvPr/>
        </p:nvSpPr>
        <p:spPr>
          <a:xfrm>
            <a:off x="1807975" y="2276710"/>
            <a:ext cx="5257" cy="4867"/>
          </a:xfrm>
          <a:custGeom>
            <a:avLst/>
            <a:gdLst>
              <a:gd name="csX0" fmla="*/ 473 w 8466"/>
              <a:gd name="csY0" fmla="*/ 7839 h 7838"/>
              <a:gd name="csX1" fmla="*/ 8466 w 8466"/>
              <a:gd name="csY1" fmla="*/ 61 h 7838"/>
              <a:gd name="csX2" fmla="*/ 473 w 8466"/>
              <a:gd name="csY2" fmla="*/ 7839 h 783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66" h="7838">
                <a:moveTo>
                  <a:pt x="473" y="7839"/>
                </a:moveTo>
                <a:cubicBezTo>
                  <a:pt x="-1298" y="1550"/>
                  <a:pt x="2020" y="-386"/>
                  <a:pt x="8466" y="61"/>
                </a:cubicBezTo>
                <a:cubicBezTo>
                  <a:pt x="6730" y="2845"/>
                  <a:pt x="4026" y="5401"/>
                  <a:pt x="473" y="7839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" name="Free-form: Shape 19">
            <a:extLst>
              <a:ext uri="{FF2B5EF4-FFF2-40B4-BE49-F238E27FC236}">
                <a16:creationId xmlns:a16="http://schemas.microsoft.com/office/drawing/2014/main" id="{4F98D2CC-B281-A3D8-FDFB-57380191DA67}"/>
              </a:ext>
            </a:extLst>
          </p:cNvPr>
          <p:cNvSpPr/>
          <p:nvPr/>
        </p:nvSpPr>
        <p:spPr>
          <a:xfrm>
            <a:off x="1671979" y="2841996"/>
            <a:ext cx="5265" cy="618"/>
          </a:xfrm>
          <a:custGeom>
            <a:avLst/>
            <a:gdLst>
              <a:gd name="csX0" fmla="*/ 0 w 8480"/>
              <a:gd name="csY0" fmla="*/ 896 h 996"/>
              <a:gd name="csX1" fmla="*/ 8480 w 8480"/>
              <a:gd name="csY1" fmla="*/ 110 h 996"/>
              <a:gd name="csX2" fmla="*/ 0 w 8480"/>
              <a:gd name="csY2" fmla="*/ 896 h 99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80" h="996">
                <a:moveTo>
                  <a:pt x="0" y="896"/>
                </a:moveTo>
                <a:cubicBezTo>
                  <a:pt x="2285" y="115"/>
                  <a:pt x="5130" y="-182"/>
                  <a:pt x="8480" y="110"/>
                </a:cubicBezTo>
                <a:cubicBezTo>
                  <a:pt x="6177" y="927"/>
                  <a:pt x="3368" y="1153"/>
                  <a:pt x="0" y="896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" name="Free-form: Shape 20">
            <a:extLst>
              <a:ext uri="{FF2B5EF4-FFF2-40B4-BE49-F238E27FC236}">
                <a16:creationId xmlns:a16="http://schemas.microsoft.com/office/drawing/2014/main" id="{700E7EBB-9060-F092-091D-90AD10F4E29E}"/>
              </a:ext>
            </a:extLst>
          </p:cNvPr>
          <p:cNvSpPr/>
          <p:nvPr/>
        </p:nvSpPr>
        <p:spPr>
          <a:xfrm>
            <a:off x="1958740" y="2815467"/>
            <a:ext cx="763" cy="4134"/>
          </a:xfrm>
          <a:custGeom>
            <a:avLst/>
            <a:gdLst>
              <a:gd name="csX0" fmla="*/ 132 w 1229"/>
              <a:gd name="csY0" fmla="*/ 6659 h 6658"/>
              <a:gd name="csX1" fmla="*/ 1107 w 1229"/>
              <a:gd name="csY1" fmla="*/ 0 h 6658"/>
              <a:gd name="csX2" fmla="*/ 132 w 1229"/>
              <a:gd name="csY2" fmla="*/ 6659 h 665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229" h="6658">
                <a:moveTo>
                  <a:pt x="132" y="6659"/>
                </a:moveTo>
                <a:cubicBezTo>
                  <a:pt x="-219" y="4616"/>
                  <a:pt x="139" y="2560"/>
                  <a:pt x="1107" y="0"/>
                </a:cubicBezTo>
                <a:cubicBezTo>
                  <a:pt x="1425" y="1879"/>
                  <a:pt x="1133" y="4263"/>
                  <a:pt x="132" y="6659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2" name="Free-form: Shape 21">
            <a:extLst>
              <a:ext uri="{FF2B5EF4-FFF2-40B4-BE49-F238E27FC236}">
                <a16:creationId xmlns:a16="http://schemas.microsoft.com/office/drawing/2014/main" id="{18486848-7172-22A1-9E9A-88D8121D205C}"/>
              </a:ext>
            </a:extLst>
          </p:cNvPr>
          <p:cNvSpPr/>
          <p:nvPr/>
        </p:nvSpPr>
        <p:spPr>
          <a:xfrm>
            <a:off x="1891544" y="2835744"/>
            <a:ext cx="2352" cy="847"/>
          </a:xfrm>
          <a:custGeom>
            <a:avLst/>
            <a:gdLst>
              <a:gd name="csX0" fmla="*/ 0 w 3788"/>
              <a:gd name="csY0" fmla="*/ 1364 h 1364"/>
              <a:gd name="csX1" fmla="*/ 3788 w 3788"/>
              <a:gd name="csY1" fmla="*/ 0 h 1364"/>
              <a:gd name="csX2" fmla="*/ 0 w 3788"/>
              <a:gd name="csY2" fmla="*/ 1364 h 136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788" h="1364">
                <a:moveTo>
                  <a:pt x="0" y="1364"/>
                </a:moveTo>
                <a:cubicBezTo>
                  <a:pt x="856" y="517"/>
                  <a:pt x="2126" y="39"/>
                  <a:pt x="3788" y="0"/>
                </a:cubicBezTo>
                <a:cubicBezTo>
                  <a:pt x="2925" y="870"/>
                  <a:pt x="1670" y="1303"/>
                  <a:pt x="0" y="1364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4" name="Free-form: Shape 23">
            <a:extLst>
              <a:ext uri="{FF2B5EF4-FFF2-40B4-BE49-F238E27FC236}">
                <a16:creationId xmlns:a16="http://schemas.microsoft.com/office/drawing/2014/main" id="{1AFBABE6-2AAB-71FE-DC74-095422E341DE}"/>
              </a:ext>
            </a:extLst>
          </p:cNvPr>
          <p:cNvSpPr/>
          <p:nvPr/>
        </p:nvSpPr>
        <p:spPr>
          <a:xfrm>
            <a:off x="1619961" y="2839018"/>
            <a:ext cx="2478" cy="515"/>
          </a:xfrm>
          <a:custGeom>
            <a:avLst/>
            <a:gdLst>
              <a:gd name="csX0" fmla="*/ 0 w 3990"/>
              <a:gd name="csY0" fmla="*/ 719 h 829"/>
              <a:gd name="csX1" fmla="*/ 3990 w 3990"/>
              <a:gd name="csY1" fmla="*/ 119 h 829"/>
              <a:gd name="csX2" fmla="*/ 0 w 3990"/>
              <a:gd name="csY2" fmla="*/ 719 h 82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990" h="829">
                <a:moveTo>
                  <a:pt x="0" y="719"/>
                </a:moveTo>
                <a:cubicBezTo>
                  <a:pt x="982" y="66"/>
                  <a:pt x="2323" y="-163"/>
                  <a:pt x="3990" y="119"/>
                </a:cubicBezTo>
                <a:cubicBezTo>
                  <a:pt x="2998" y="800"/>
                  <a:pt x="1678" y="972"/>
                  <a:pt x="0" y="719"/>
                </a:cubicBezTo>
                <a:close/>
              </a:path>
            </a:pathLst>
          </a:custGeom>
          <a:solidFill>
            <a:srgbClr val="959DA0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5" name="Free-form: Shape 24">
            <a:extLst>
              <a:ext uri="{FF2B5EF4-FFF2-40B4-BE49-F238E27FC236}">
                <a16:creationId xmlns:a16="http://schemas.microsoft.com/office/drawing/2014/main" id="{771EFF04-93D5-494A-A866-CA59F5C8E444}"/>
              </a:ext>
            </a:extLst>
          </p:cNvPr>
          <p:cNvSpPr/>
          <p:nvPr/>
        </p:nvSpPr>
        <p:spPr>
          <a:xfrm>
            <a:off x="1830509" y="2841974"/>
            <a:ext cx="2417" cy="705"/>
          </a:xfrm>
          <a:custGeom>
            <a:avLst/>
            <a:gdLst>
              <a:gd name="csX0" fmla="*/ 0 w 3893"/>
              <a:gd name="csY0" fmla="*/ 1133 h 1135"/>
              <a:gd name="csX1" fmla="*/ 3893 w 3893"/>
              <a:gd name="csY1" fmla="*/ 7 h 1135"/>
              <a:gd name="csX2" fmla="*/ 0 w 3893"/>
              <a:gd name="csY2" fmla="*/ 1133 h 113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893" h="1135">
                <a:moveTo>
                  <a:pt x="0" y="1133"/>
                </a:moveTo>
                <a:cubicBezTo>
                  <a:pt x="902" y="349"/>
                  <a:pt x="2213" y="-60"/>
                  <a:pt x="3893" y="7"/>
                </a:cubicBezTo>
                <a:cubicBezTo>
                  <a:pt x="2978" y="825"/>
                  <a:pt x="1693" y="1167"/>
                  <a:pt x="0" y="1133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6" name="Free-form: Shape 25">
            <a:extLst>
              <a:ext uri="{FF2B5EF4-FFF2-40B4-BE49-F238E27FC236}">
                <a16:creationId xmlns:a16="http://schemas.microsoft.com/office/drawing/2014/main" id="{2FCE49FC-8DE5-DD26-5278-1544CC5FD559}"/>
              </a:ext>
            </a:extLst>
          </p:cNvPr>
          <p:cNvSpPr/>
          <p:nvPr/>
        </p:nvSpPr>
        <p:spPr>
          <a:xfrm>
            <a:off x="1730913" y="2357310"/>
            <a:ext cx="112588" cy="250407"/>
          </a:xfrm>
          <a:custGeom>
            <a:avLst/>
            <a:gdLst>
              <a:gd name="csX0" fmla="*/ 7554 w 181323"/>
              <a:gd name="csY0" fmla="*/ 172079 h 403282"/>
              <a:gd name="csX1" fmla="*/ 9716 w 181323"/>
              <a:gd name="csY1" fmla="*/ 130641 h 403282"/>
              <a:gd name="csX2" fmla="*/ 7663 w 181323"/>
              <a:gd name="csY2" fmla="*/ 113770 h 403282"/>
              <a:gd name="csX3" fmla="*/ 7598 w 181323"/>
              <a:gd name="csY3" fmla="*/ 8165 h 403282"/>
              <a:gd name="csX4" fmla="*/ 8353 w 181323"/>
              <a:gd name="csY4" fmla="*/ 1259 h 403282"/>
              <a:gd name="csX5" fmla="*/ 17767 w 181323"/>
              <a:gd name="csY5" fmla="*/ 93 h 403282"/>
              <a:gd name="csX6" fmla="*/ 77938 w 181323"/>
              <a:gd name="csY6" fmla="*/ 50 h 403282"/>
              <a:gd name="csX7" fmla="*/ 91081 w 181323"/>
              <a:gd name="csY7" fmla="*/ 10962 h 403282"/>
              <a:gd name="csX8" fmla="*/ 93691 w 181323"/>
              <a:gd name="csY8" fmla="*/ 60963 h 403282"/>
              <a:gd name="csX9" fmla="*/ 100157 w 181323"/>
              <a:gd name="csY9" fmla="*/ 121501 h 403282"/>
              <a:gd name="csX10" fmla="*/ 105540 w 181323"/>
              <a:gd name="csY10" fmla="*/ 158857 h 403282"/>
              <a:gd name="csX11" fmla="*/ 121116 w 181323"/>
              <a:gd name="csY11" fmla="*/ 235269 h 403282"/>
              <a:gd name="csX12" fmla="*/ 152823 w 181323"/>
              <a:gd name="csY12" fmla="*/ 338010 h 403282"/>
              <a:gd name="csX13" fmla="*/ 170877 w 181323"/>
              <a:gd name="csY13" fmla="*/ 378027 h 403282"/>
              <a:gd name="csX14" fmla="*/ 178114 w 181323"/>
              <a:gd name="csY14" fmla="*/ 387682 h 403282"/>
              <a:gd name="csX15" fmla="*/ 181150 w 181323"/>
              <a:gd name="csY15" fmla="*/ 395764 h 403282"/>
              <a:gd name="csX16" fmla="*/ 173480 w 181323"/>
              <a:gd name="csY16" fmla="*/ 402568 h 403282"/>
              <a:gd name="csX17" fmla="*/ 160067 w 181323"/>
              <a:gd name="csY17" fmla="*/ 402936 h 403282"/>
              <a:gd name="csX18" fmla="*/ 121081 w 181323"/>
              <a:gd name="csY18" fmla="*/ 400766 h 403282"/>
              <a:gd name="csX19" fmla="*/ 70912 w 181323"/>
              <a:gd name="csY19" fmla="*/ 401955 h 403282"/>
              <a:gd name="csX20" fmla="*/ 7630 w 181323"/>
              <a:gd name="csY20" fmla="*/ 402999 h 403282"/>
              <a:gd name="csX21" fmla="*/ 710 w 181323"/>
              <a:gd name="csY21" fmla="*/ 401995 h 403282"/>
              <a:gd name="csX22" fmla="*/ 1308 w 181323"/>
              <a:gd name="csY22" fmla="*/ 356708 h 403282"/>
              <a:gd name="csX23" fmla="*/ 2554 w 181323"/>
              <a:gd name="csY23" fmla="*/ 349510 h 403282"/>
              <a:gd name="csX24" fmla="*/ 5071 w 181323"/>
              <a:gd name="csY24" fmla="*/ 271231 h 403282"/>
              <a:gd name="csX25" fmla="*/ 7554 w 181323"/>
              <a:gd name="csY25" fmla="*/ 172079 h 403282"/>
              <a:gd name="csX26" fmla="*/ 98286 w 181323"/>
              <a:gd name="csY26" fmla="*/ 163566 h 403282"/>
              <a:gd name="csX27" fmla="*/ 83497 w 181323"/>
              <a:gd name="csY27" fmla="*/ 8289 h 403282"/>
              <a:gd name="csX28" fmla="*/ 15161 w 181323"/>
              <a:gd name="csY28" fmla="*/ 9148 h 403282"/>
              <a:gd name="csX29" fmla="*/ 15058 w 181323"/>
              <a:gd name="csY29" fmla="*/ 137939 h 403282"/>
              <a:gd name="csX30" fmla="*/ 12252 w 181323"/>
              <a:gd name="csY30" fmla="*/ 266862 h 403282"/>
              <a:gd name="csX31" fmla="*/ 7068 w 181323"/>
              <a:gd name="csY31" fmla="*/ 395996 h 403282"/>
              <a:gd name="csX32" fmla="*/ 171647 w 181323"/>
              <a:gd name="csY32" fmla="*/ 395996 h 403282"/>
              <a:gd name="csX33" fmla="*/ 119950 w 181323"/>
              <a:gd name="csY33" fmla="*/ 259496 h 403282"/>
              <a:gd name="csX34" fmla="*/ 98286 w 181323"/>
              <a:gd name="csY34" fmla="*/ 163566 h 40328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</a:cxnLst>
            <a:rect l="l" t="t" r="r" b="b"/>
            <a:pathLst>
              <a:path w="181323" h="403282">
                <a:moveTo>
                  <a:pt x="7554" y="172079"/>
                </a:moveTo>
                <a:cubicBezTo>
                  <a:pt x="8325" y="157451"/>
                  <a:pt x="9408" y="144055"/>
                  <a:pt x="9716" y="130641"/>
                </a:cubicBezTo>
                <a:cubicBezTo>
                  <a:pt x="9846" y="125037"/>
                  <a:pt x="7695" y="119399"/>
                  <a:pt x="7663" y="113770"/>
                </a:cubicBezTo>
                <a:cubicBezTo>
                  <a:pt x="7461" y="78569"/>
                  <a:pt x="7554" y="43367"/>
                  <a:pt x="7598" y="8165"/>
                </a:cubicBezTo>
                <a:cubicBezTo>
                  <a:pt x="7600" y="6167"/>
                  <a:pt x="8022" y="4170"/>
                  <a:pt x="8353" y="1259"/>
                </a:cubicBezTo>
                <a:cubicBezTo>
                  <a:pt x="11568" y="842"/>
                  <a:pt x="14666" y="109"/>
                  <a:pt x="17767" y="93"/>
                </a:cubicBezTo>
                <a:cubicBezTo>
                  <a:pt x="37824" y="-17"/>
                  <a:pt x="57881" y="-27"/>
                  <a:pt x="77938" y="50"/>
                </a:cubicBezTo>
                <a:cubicBezTo>
                  <a:pt x="89177" y="93"/>
                  <a:pt x="90068" y="113"/>
                  <a:pt x="91081" y="10962"/>
                </a:cubicBezTo>
                <a:cubicBezTo>
                  <a:pt x="92631" y="27565"/>
                  <a:pt x="92329" y="44335"/>
                  <a:pt x="93691" y="60963"/>
                </a:cubicBezTo>
                <a:cubicBezTo>
                  <a:pt x="95348" y="81184"/>
                  <a:pt x="97732" y="101353"/>
                  <a:pt x="100157" y="121501"/>
                </a:cubicBezTo>
                <a:cubicBezTo>
                  <a:pt x="101660" y="133990"/>
                  <a:pt x="104521" y="146343"/>
                  <a:pt x="105540" y="158857"/>
                </a:cubicBezTo>
                <a:cubicBezTo>
                  <a:pt x="107671" y="184993"/>
                  <a:pt x="114147" y="210249"/>
                  <a:pt x="121116" y="235269"/>
                </a:cubicBezTo>
                <a:cubicBezTo>
                  <a:pt x="130731" y="269786"/>
                  <a:pt x="141516" y="304004"/>
                  <a:pt x="152823" y="338010"/>
                </a:cubicBezTo>
                <a:cubicBezTo>
                  <a:pt x="157418" y="351828"/>
                  <a:pt x="164524" y="364837"/>
                  <a:pt x="170877" y="378027"/>
                </a:cubicBezTo>
                <a:cubicBezTo>
                  <a:pt x="172587" y="381579"/>
                  <a:pt x="175985" y="384280"/>
                  <a:pt x="178114" y="387682"/>
                </a:cubicBezTo>
                <a:cubicBezTo>
                  <a:pt x="179669" y="390165"/>
                  <a:pt x="181977" y="393824"/>
                  <a:pt x="181150" y="395764"/>
                </a:cubicBezTo>
                <a:cubicBezTo>
                  <a:pt x="179907" y="398676"/>
                  <a:pt x="176540" y="401705"/>
                  <a:pt x="173480" y="402568"/>
                </a:cubicBezTo>
                <a:cubicBezTo>
                  <a:pt x="169302" y="403746"/>
                  <a:pt x="164551" y="403164"/>
                  <a:pt x="160067" y="402936"/>
                </a:cubicBezTo>
                <a:cubicBezTo>
                  <a:pt x="147066" y="402274"/>
                  <a:pt x="134081" y="400859"/>
                  <a:pt x="121081" y="400766"/>
                </a:cubicBezTo>
                <a:cubicBezTo>
                  <a:pt x="104362" y="400647"/>
                  <a:pt x="87638" y="401607"/>
                  <a:pt x="70912" y="401955"/>
                </a:cubicBezTo>
                <a:cubicBezTo>
                  <a:pt x="49820" y="402394"/>
                  <a:pt x="28725" y="402712"/>
                  <a:pt x="7630" y="402999"/>
                </a:cubicBezTo>
                <a:cubicBezTo>
                  <a:pt x="5684" y="403026"/>
                  <a:pt x="3731" y="402452"/>
                  <a:pt x="710" y="401995"/>
                </a:cubicBezTo>
                <a:cubicBezTo>
                  <a:pt x="219" y="386620"/>
                  <a:pt x="-871" y="371682"/>
                  <a:pt x="1308" y="356708"/>
                </a:cubicBezTo>
                <a:cubicBezTo>
                  <a:pt x="1659" y="354298"/>
                  <a:pt x="2471" y="351920"/>
                  <a:pt x="2554" y="349510"/>
                </a:cubicBezTo>
                <a:cubicBezTo>
                  <a:pt x="3459" y="323419"/>
                  <a:pt x="4345" y="297328"/>
                  <a:pt x="5071" y="271231"/>
                </a:cubicBezTo>
                <a:cubicBezTo>
                  <a:pt x="5979" y="238591"/>
                  <a:pt x="6733" y="205947"/>
                  <a:pt x="7554" y="172079"/>
                </a:cubicBezTo>
                <a:moveTo>
                  <a:pt x="98286" y="163566"/>
                </a:moveTo>
                <a:cubicBezTo>
                  <a:pt x="89288" y="112116"/>
                  <a:pt x="86355" y="60033"/>
                  <a:pt x="83497" y="8289"/>
                </a:cubicBezTo>
                <a:cubicBezTo>
                  <a:pt x="65606" y="5845"/>
                  <a:pt x="24110" y="6470"/>
                  <a:pt x="15161" y="9148"/>
                </a:cubicBezTo>
                <a:cubicBezTo>
                  <a:pt x="15161" y="52045"/>
                  <a:pt x="15527" y="94996"/>
                  <a:pt x="15058" y="137939"/>
                </a:cubicBezTo>
                <a:cubicBezTo>
                  <a:pt x="14587" y="180919"/>
                  <a:pt x="13597" y="223900"/>
                  <a:pt x="12252" y="266862"/>
                </a:cubicBezTo>
                <a:cubicBezTo>
                  <a:pt x="10912" y="309638"/>
                  <a:pt x="8849" y="352391"/>
                  <a:pt x="7068" y="395996"/>
                </a:cubicBezTo>
                <a:cubicBezTo>
                  <a:pt x="62774" y="395996"/>
                  <a:pt x="116821" y="395996"/>
                  <a:pt x="171647" y="395996"/>
                </a:cubicBezTo>
                <a:cubicBezTo>
                  <a:pt x="148550" y="352016"/>
                  <a:pt x="132566" y="306307"/>
                  <a:pt x="119950" y="259496"/>
                </a:cubicBezTo>
                <a:cubicBezTo>
                  <a:pt x="111608" y="228543"/>
                  <a:pt x="105493" y="196989"/>
                  <a:pt x="98286" y="163566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7" name="Free-form: Shape 26">
            <a:extLst>
              <a:ext uri="{FF2B5EF4-FFF2-40B4-BE49-F238E27FC236}">
                <a16:creationId xmlns:a16="http://schemas.microsoft.com/office/drawing/2014/main" id="{7AD586D4-1B0C-C896-1F59-D31F961CC651}"/>
              </a:ext>
            </a:extLst>
          </p:cNvPr>
          <p:cNvSpPr/>
          <p:nvPr/>
        </p:nvSpPr>
        <p:spPr>
          <a:xfrm>
            <a:off x="1732544" y="2773791"/>
            <a:ext cx="209255" cy="47389"/>
          </a:xfrm>
          <a:custGeom>
            <a:avLst/>
            <a:gdLst>
              <a:gd name="csX0" fmla="*/ 297312 w 337008"/>
              <a:gd name="csY0" fmla="*/ 59188 h 76321"/>
              <a:gd name="csX1" fmla="*/ 241991 w 337008"/>
              <a:gd name="csY1" fmla="*/ 66577 h 76321"/>
              <a:gd name="csX2" fmla="*/ 185243 w 337008"/>
              <a:gd name="csY2" fmla="*/ 73717 h 76321"/>
              <a:gd name="csX3" fmla="*/ 182797 w 337008"/>
              <a:gd name="csY3" fmla="*/ 73873 h 76321"/>
              <a:gd name="csX4" fmla="*/ 19866 w 337008"/>
              <a:gd name="csY4" fmla="*/ 76320 h 76321"/>
              <a:gd name="csX5" fmla="*/ 12650 w 337008"/>
              <a:gd name="csY5" fmla="*/ 75242 h 76321"/>
              <a:gd name="csX6" fmla="*/ 19 w 337008"/>
              <a:gd name="csY6" fmla="*/ 59006 h 76321"/>
              <a:gd name="csX7" fmla="*/ 11 w 337008"/>
              <a:gd name="csY7" fmla="*/ 18266 h 76321"/>
              <a:gd name="csX8" fmla="*/ 13547 w 337008"/>
              <a:gd name="csY8" fmla="*/ 17427 h 76321"/>
              <a:gd name="csX9" fmla="*/ 109279 w 337008"/>
              <a:gd name="csY9" fmla="*/ 17200 h 76321"/>
              <a:gd name="csX10" fmla="*/ 173714 w 337008"/>
              <a:gd name="csY10" fmla="*/ 12645 h 76321"/>
              <a:gd name="csX11" fmla="*/ 205309 w 337008"/>
              <a:gd name="csY11" fmla="*/ 10096 h 76321"/>
              <a:gd name="csX12" fmla="*/ 245485 w 337008"/>
              <a:gd name="csY12" fmla="*/ 7449 h 76321"/>
              <a:gd name="csX13" fmla="*/ 288955 w 337008"/>
              <a:gd name="csY13" fmla="*/ 1844 h 76321"/>
              <a:gd name="csX14" fmla="*/ 307132 w 337008"/>
              <a:gd name="csY14" fmla="*/ 164 h 76321"/>
              <a:gd name="csX15" fmla="*/ 324030 w 337008"/>
              <a:gd name="csY15" fmla="*/ 9691 h 76321"/>
              <a:gd name="csX16" fmla="*/ 336033 w 337008"/>
              <a:gd name="csY16" fmla="*/ 39107 h 76321"/>
              <a:gd name="csX17" fmla="*/ 328060 w 337008"/>
              <a:gd name="csY17" fmla="*/ 52413 h 76321"/>
              <a:gd name="csX18" fmla="*/ 297312 w 337008"/>
              <a:gd name="csY18" fmla="*/ 59188 h 76321"/>
              <a:gd name="csX19" fmla="*/ 207688 w 337008"/>
              <a:gd name="csY19" fmla="*/ 64284 h 76321"/>
              <a:gd name="csX20" fmla="*/ 330050 w 337008"/>
              <a:gd name="csY20" fmla="*/ 45606 h 76321"/>
              <a:gd name="csX21" fmla="*/ 317356 w 337008"/>
              <a:gd name="csY21" fmla="*/ 11297 h 76321"/>
              <a:gd name="csX22" fmla="*/ 304170 w 337008"/>
              <a:gd name="csY22" fmla="*/ 5545 h 76321"/>
              <a:gd name="csX23" fmla="*/ 273851 w 337008"/>
              <a:gd name="csY23" fmla="*/ 10014 h 76321"/>
              <a:gd name="csX24" fmla="*/ 163935 w 337008"/>
              <a:gd name="csY24" fmla="*/ 20274 h 76321"/>
              <a:gd name="csX25" fmla="*/ 17973 w 337008"/>
              <a:gd name="csY25" fmla="*/ 22950 h 76321"/>
              <a:gd name="csX26" fmla="*/ 7372 w 337008"/>
              <a:gd name="csY26" fmla="*/ 23601 h 76321"/>
              <a:gd name="csX27" fmla="*/ 7372 w 337008"/>
              <a:gd name="csY27" fmla="*/ 67898 h 76321"/>
              <a:gd name="csX28" fmla="*/ 207688 w 337008"/>
              <a:gd name="csY28" fmla="*/ 64284 h 7632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</a:cxnLst>
            <a:rect l="l" t="t" r="r" b="b"/>
            <a:pathLst>
              <a:path w="337008" h="76321">
                <a:moveTo>
                  <a:pt x="297312" y="59188"/>
                </a:moveTo>
                <a:cubicBezTo>
                  <a:pt x="278167" y="61672"/>
                  <a:pt x="260091" y="64212"/>
                  <a:pt x="241991" y="66577"/>
                </a:cubicBezTo>
                <a:cubicBezTo>
                  <a:pt x="223087" y="69047"/>
                  <a:pt x="204161" y="71350"/>
                  <a:pt x="185243" y="73717"/>
                </a:cubicBezTo>
                <a:cubicBezTo>
                  <a:pt x="184433" y="73818"/>
                  <a:pt x="183613" y="73861"/>
                  <a:pt x="182797" y="73873"/>
                </a:cubicBezTo>
                <a:cubicBezTo>
                  <a:pt x="128487" y="74710"/>
                  <a:pt x="74176" y="75556"/>
                  <a:pt x="19866" y="76320"/>
                </a:cubicBezTo>
                <a:cubicBezTo>
                  <a:pt x="17463" y="76354"/>
                  <a:pt x="15013" y="75797"/>
                  <a:pt x="12650" y="75242"/>
                </a:cubicBezTo>
                <a:cubicBezTo>
                  <a:pt x="80" y="72288"/>
                  <a:pt x="58" y="72258"/>
                  <a:pt x="19" y="59006"/>
                </a:cubicBezTo>
                <a:cubicBezTo>
                  <a:pt x="-19" y="45942"/>
                  <a:pt x="11" y="32877"/>
                  <a:pt x="11" y="18266"/>
                </a:cubicBezTo>
                <a:cubicBezTo>
                  <a:pt x="4987" y="17944"/>
                  <a:pt x="9266" y="17435"/>
                  <a:pt x="13547" y="17427"/>
                </a:cubicBezTo>
                <a:cubicBezTo>
                  <a:pt x="45459" y="17362"/>
                  <a:pt x="77385" y="17975"/>
                  <a:pt x="109279" y="17200"/>
                </a:cubicBezTo>
                <a:cubicBezTo>
                  <a:pt x="130782" y="16677"/>
                  <a:pt x="152239" y="14265"/>
                  <a:pt x="173714" y="12645"/>
                </a:cubicBezTo>
                <a:cubicBezTo>
                  <a:pt x="184250" y="11850"/>
                  <a:pt x="194770" y="10836"/>
                  <a:pt x="205309" y="10096"/>
                </a:cubicBezTo>
                <a:cubicBezTo>
                  <a:pt x="218698" y="9156"/>
                  <a:pt x="232139" y="8783"/>
                  <a:pt x="245485" y="7449"/>
                </a:cubicBezTo>
                <a:cubicBezTo>
                  <a:pt x="260017" y="5997"/>
                  <a:pt x="274456" y="3648"/>
                  <a:pt x="288955" y="1844"/>
                </a:cubicBezTo>
                <a:cubicBezTo>
                  <a:pt x="294991" y="1094"/>
                  <a:pt x="301100" y="930"/>
                  <a:pt x="307132" y="164"/>
                </a:cubicBezTo>
                <a:cubicBezTo>
                  <a:pt x="315239" y="-865"/>
                  <a:pt x="320841" y="3022"/>
                  <a:pt x="324030" y="9691"/>
                </a:cubicBezTo>
                <a:cubicBezTo>
                  <a:pt x="328594" y="19236"/>
                  <a:pt x="332712" y="29070"/>
                  <a:pt x="336033" y="39107"/>
                </a:cubicBezTo>
                <a:cubicBezTo>
                  <a:pt x="338557" y="46735"/>
                  <a:pt x="336278" y="50185"/>
                  <a:pt x="328060" y="52413"/>
                </a:cubicBezTo>
                <a:cubicBezTo>
                  <a:pt x="318273" y="55068"/>
                  <a:pt x="308277" y="56950"/>
                  <a:pt x="297312" y="59188"/>
                </a:cubicBezTo>
                <a:moveTo>
                  <a:pt x="207688" y="64284"/>
                </a:moveTo>
                <a:cubicBezTo>
                  <a:pt x="248681" y="60632"/>
                  <a:pt x="289317" y="54812"/>
                  <a:pt x="330050" y="45606"/>
                </a:cubicBezTo>
                <a:cubicBezTo>
                  <a:pt x="327603" y="32443"/>
                  <a:pt x="323777" y="21532"/>
                  <a:pt x="317356" y="11297"/>
                </a:cubicBezTo>
                <a:cubicBezTo>
                  <a:pt x="313908" y="5803"/>
                  <a:pt x="310145" y="4465"/>
                  <a:pt x="304170" y="5545"/>
                </a:cubicBezTo>
                <a:cubicBezTo>
                  <a:pt x="294121" y="7361"/>
                  <a:pt x="284007" y="9006"/>
                  <a:pt x="273851" y="10014"/>
                </a:cubicBezTo>
                <a:cubicBezTo>
                  <a:pt x="237233" y="13650"/>
                  <a:pt x="200632" y="17661"/>
                  <a:pt x="163935" y="20274"/>
                </a:cubicBezTo>
                <a:cubicBezTo>
                  <a:pt x="115360" y="23734"/>
                  <a:pt x="66701" y="25937"/>
                  <a:pt x="17973" y="22950"/>
                </a:cubicBezTo>
                <a:cubicBezTo>
                  <a:pt x="14492" y="22737"/>
                  <a:pt x="10959" y="23361"/>
                  <a:pt x="7372" y="23601"/>
                </a:cubicBezTo>
                <a:cubicBezTo>
                  <a:pt x="7372" y="38609"/>
                  <a:pt x="7372" y="52361"/>
                  <a:pt x="7372" y="67898"/>
                </a:cubicBezTo>
                <a:cubicBezTo>
                  <a:pt x="74001" y="69806"/>
                  <a:pt x="139746" y="71025"/>
                  <a:pt x="207688" y="64284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9" name="Free-form: Shape 28">
            <a:extLst>
              <a:ext uri="{FF2B5EF4-FFF2-40B4-BE49-F238E27FC236}">
                <a16:creationId xmlns:a16="http://schemas.microsoft.com/office/drawing/2014/main" id="{809CC229-D72D-53E0-F9F5-0CCCEE9E1E49}"/>
              </a:ext>
            </a:extLst>
          </p:cNvPr>
          <p:cNvSpPr/>
          <p:nvPr/>
        </p:nvSpPr>
        <p:spPr>
          <a:xfrm>
            <a:off x="1736277" y="2627337"/>
            <a:ext cx="188426" cy="132688"/>
          </a:xfrm>
          <a:custGeom>
            <a:avLst/>
            <a:gdLst>
              <a:gd name="csX0" fmla="*/ 14160 w 303463"/>
              <a:gd name="csY0" fmla="*/ 7889 h 213695"/>
              <a:gd name="csX1" fmla="*/ 195033 w 303463"/>
              <a:gd name="csY1" fmla="*/ 0 h 213695"/>
              <a:gd name="csX2" fmla="*/ 197208 w 303463"/>
              <a:gd name="csY2" fmla="*/ 5635 h 213695"/>
              <a:gd name="csX3" fmla="*/ 227014 w 303463"/>
              <a:gd name="csY3" fmla="*/ 60660 h 213695"/>
              <a:gd name="csX4" fmla="*/ 265823 w 303463"/>
              <a:gd name="csY4" fmla="*/ 98217 h 213695"/>
              <a:gd name="csX5" fmla="*/ 303210 w 303463"/>
              <a:gd name="csY5" fmla="*/ 180358 h 213695"/>
              <a:gd name="csX6" fmla="*/ 303282 w 303463"/>
              <a:gd name="csY6" fmla="*/ 193964 h 213695"/>
              <a:gd name="csX7" fmla="*/ 4971 w 303463"/>
              <a:gd name="csY7" fmla="*/ 213017 h 213695"/>
              <a:gd name="csX8" fmla="*/ 5093 w 303463"/>
              <a:gd name="csY8" fmla="*/ 173484 h 213695"/>
              <a:gd name="csX9" fmla="*/ 4767 w 303463"/>
              <a:gd name="csY9" fmla="*/ 54607 h 213695"/>
              <a:gd name="csX10" fmla="*/ 0 w 303463"/>
              <a:gd name="csY10" fmla="*/ 7887 h 213695"/>
              <a:gd name="csX11" fmla="*/ 14160 w 303463"/>
              <a:gd name="csY11" fmla="*/ 7889 h 21369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303463" h="213695">
                <a:moveTo>
                  <a:pt x="14160" y="7889"/>
                </a:moveTo>
                <a:cubicBezTo>
                  <a:pt x="75371" y="8627"/>
                  <a:pt x="135292" y="5744"/>
                  <a:pt x="195033" y="0"/>
                </a:cubicBezTo>
                <a:cubicBezTo>
                  <a:pt x="196084" y="2662"/>
                  <a:pt x="196986" y="4099"/>
                  <a:pt x="197208" y="5635"/>
                </a:cubicBezTo>
                <a:cubicBezTo>
                  <a:pt x="200391" y="27650"/>
                  <a:pt x="211307" y="45450"/>
                  <a:pt x="227014" y="60660"/>
                </a:cubicBezTo>
                <a:cubicBezTo>
                  <a:pt x="239947" y="73182"/>
                  <a:pt x="253006" y="85577"/>
                  <a:pt x="265823" y="98217"/>
                </a:cubicBezTo>
                <a:cubicBezTo>
                  <a:pt x="288727" y="120806"/>
                  <a:pt x="299071" y="149215"/>
                  <a:pt x="303210" y="180358"/>
                </a:cubicBezTo>
                <a:cubicBezTo>
                  <a:pt x="303735" y="184317"/>
                  <a:pt x="303282" y="188405"/>
                  <a:pt x="303282" y="193964"/>
                </a:cubicBezTo>
                <a:cubicBezTo>
                  <a:pt x="204065" y="208804"/>
                  <a:pt x="105022" y="216044"/>
                  <a:pt x="4971" y="213017"/>
                </a:cubicBezTo>
                <a:cubicBezTo>
                  <a:pt x="4971" y="199268"/>
                  <a:pt x="4314" y="186332"/>
                  <a:pt x="5093" y="173484"/>
                </a:cubicBezTo>
                <a:cubicBezTo>
                  <a:pt x="7497" y="133835"/>
                  <a:pt x="8211" y="94216"/>
                  <a:pt x="4767" y="54607"/>
                </a:cubicBezTo>
                <a:cubicBezTo>
                  <a:pt x="3464" y="39611"/>
                  <a:pt x="1725" y="24653"/>
                  <a:pt x="0" y="7887"/>
                </a:cubicBezTo>
                <a:cubicBezTo>
                  <a:pt x="4390" y="7887"/>
                  <a:pt x="8696" y="7887"/>
                  <a:pt x="14160" y="7889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0" name="Free-form: Shape 29">
            <a:extLst>
              <a:ext uri="{FF2B5EF4-FFF2-40B4-BE49-F238E27FC236}">
                <a16:creationId xmlns:a16="http://schemas.microsoft.com/office/drawing/2014/main" id="{E30F0D12-4BD7-1269-1997-BDA385E8EFFD}"/>
              </a:ext>
            </a:extLst>
          </p:cNvPr>
          <p:cNvSpPr/>
          <p:nvPr/>
        </p:nvSpPr>
        <p:spPr>
          <a:xfrm>
            <a:off x="1702515" y="2097581"/>
            <a:ext cx="129814" cy="126299"/>
          </a:xfrm>
          <a:custGeom>
            <a:avLst/>
            <a:gdLst>
              <a:gd name="csX0" fmla="*/ 10475 w 209067"/>
              <a:gd name="csY0" fmla="*/ 41718 h 203406"/>
              <a:gd name="csX1" fmla="*/ 100250 w 209067"/>
              <a:gd name="csY1" fmla="*/ 1265 h 203406"/>
              <a:gd name="csX2" fmla="*/ 206681 w 209067"/>
              <a:gd name="csY2" fmla="*/ 98526 h 203406"/>
              <a:gd name="csX3" fmla="*/ 134647 w 209067"/>
              <a:gd name="csY3" fmla="*/ 202431 h 203406"/>
              <a:gd name="csX4" fmla="*/ 40986 w 209067"/>
              <a:gd name="csY4" fmla="*/ 171438 h 203406"/>
              <a:gd name="csX5" fmla="*/ 143 w 209067"/>
              <a:gd name="csY5" fmla="*/ 85158 h 203406"/>
              <a:gd name="csX6" fmla="*/ 10475 w 209067"/>
              <a:gd name="csY6" fmla="*/ 41718 h 20340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</a:cxnLst>
            <a:rect l="l" t="t" r="r" b="b"/>
            <a:pathLst>
              <a:path w="209067" h="203406">
                <a:moveTo>
                  <a:pt x="10475" y="41718"/>
                </a:moveTo>
                <a:cubicBezTo>
                  <a:pt x="31065" y="6021"/>
                  <a:pt x="63171" y="-3865"/>
                  <a:pt x="100250" y="1265"/>
                </a:cubicBezTo>
                <a:cubicBezTo>
                  <a:pt x="157191" y="9144"/>
                  <a:pt x="196951" y="51394"/>
                  <a:pt x="206681" y="98526"/>
                </a:cubicBezTo>
                <a:cubicBezTo>
                  <a:pt x="219504" y="160635"/>
                  <a:pt x="178523" y="196657"/>
                  <a:pt x="134647" y="202431"/>
                </a:cubicBezTo>
                <a:cubicBezTo>
                  <a:pt x="98365" y="207204"/>
                  <a:pt x="68101" y="194086"/>
                  <a:pt x="40986" y="171438"/>
                </a:cubicBezTo>
                <a:cubicBezTo>
                  <a:pt x="14115" y="148994"/>
                  <a:pt x="2457" y="119007"/>
                  <a:pt x="143" y="85158"/>
                </a:cubicBezTo>
                <a:cubicBezTo>
                  <a:pt x="-869" y="70364"/>
                  <a:pt x="3586" y="56015"/>
                  <a:pt x="10475" y="41718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1" name="Free-form: Shape 30">
            <a:extLst>
              <a:ext uri="{FF2B5EF4-FFF2-40B4-BE49-F238E27FC236}">
                <a16:creationId xmlns:a16="http://schemas.microsoft.com/office/drawing/2014/main" id="{5ADAD5BE-3D7C-FD24-61B2-F9FF34853E5C}"/>
              </a:ext>
            </a:extLst>
          </p:cNvPr>
          <p:cNvSpPr/>
          <p:nvPr/>
        </p:nvSpPr>
        <p:spPr>
          <a:xfrm>
            <a:off x="1738774" y="2310619"/>
            <a:ext cx="97564" cy="25665"/>
          </a:xfrm>
          <a:custGeom>
            <a:avLst/>
            <a:gdLst>
              <a:gd name="csX0" fmla="*/ 69625 w 157129"/>
              <a:gd name="csY0" fmla="*/ 0 h 41334"/>
              <a:gd name="csX1" fmla="*/ 119596 w 157129"/>
              <a:gd name="csY1" fmla="*/ 1945 h 41334"/>
              <a:gd name="csX2" fmla="*/ 150973 w 157129"/>
              <a:gd name="csY2" fmla="*/ 14889 h 41334"/>
              <a:gd name="csX3" fmla="*/ 151351 w 157129"/>
              <a:gd name="csY3" fmla="*/ 34058 h 41334"/>
              <a:gd name="csX4" fmla="*/ 133492 w 157129"/>
              <a:gd name="csY4" fmla="*/ 40697 h 41334"/>
              <a:gd name="csX5" fmla="*/ 106556 w 157129"/>
              <a:gd name="csY5" fmla="*/ 41092 h 41334"/>
              <a:gd name="csX6" fmla="*/ 13373 w 157129"/>
              <a:gd name="csY6" fmla="*/ 40708 h 41334"/>
              <a:gd name="csX7" fmla="*/ 1312 w 157129"/>
              <a:gd name="csY7" fmla="*/ 40191 h 41334"/>
              <a:gd name="csX8" fmla="*/ 3367 w 157129"/>
              <a:gd name="csY8" fmla="*/ 13162 h 41334"/>
              <a:gd name="csX9" fmla="*/ 20752 w 157129"/>
              <a:gd name="csY9" fmla="*/ 1879 h 41334"/>
              <a:gd name="csX10" fmla="*/ 52625 w 157129"/>
              <a:gd name="csY10" fmla="*/ 1332 h 41334"/>
              <a:gd name="csX11" fmla="*/ 69625 w 157129"/>
              <a:gd name="csY11" fmla="*/ 0 h 4133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157129" h="41334">
                <a:moveTo>
                  <a:pt x="69625" y="0"/>
                </a:moveTo>
                <a:cubicBezTo>
                  <a:pt x="87054" y="491"/>
                  <a:pt x="103407" y="373"/>
                  <a:pt x="119596" y="1945"/>
                </a:cubicBezTo>
                <a:cubicBezTo>
                  <a:pt x="131020" y="3055"/>
                  <a:pt x="141713" y="7767"/>
                  <a:pt x="150973" y="14889"/>
                </a:cubicBezTo>
                <a:cubicBezTo>
                  <a:pt x="158820" y="20925"/>
                  <a:pt x="159403" y="28236"/>
                  <a:pt x="151351" y="34058"/>
                </a:cubicBezTo>
                <a:cubicBezTo>
                  <a:pt x="146355" y="37671"/>
                  <a:pt x="139678" y="39910"/>
                  <a:pt x="133492" y="40697"/>
                </a:cubicBezTo>
                <a:cubicBezTo>
                  <a:pt x="124640" y="41824"/>
                  <a:pt x="115547" y="41120"/>
                  <a:pt x="106556" y="41092"/>
                </a:cubicBezTo>
                <a:cubicBezTo>
                  <a:pt x="75495" y="40996"/>
                  <a:pt x="44434" y="40872"/>
                  <a:pt x="13373" y="40708"/>
                </a:cubicBezTo>
                <a:cubicBezTo>
                  <a:pt x="9391" y="40687"/>
                  <a:pt x="5410" y="40374"/>
                  <a:pt x="1312" y="40191"/>
                </a:cubicBezTo>
                <a:cubicBezTo>
                  <a:pt x="-1416" y="30384"/>
                  <a:pt x="523" y="21512"/>
                  <a:pt x="3367" y="13162"/>
                </a:cubicBezTo>
                <a:cubicBezTo>
                  <a:pt x="5963" y="5538"/>
                  <a:pt x="12701" y="2077"/>
                  <a:pt x="20752" y="1879"/>
                </a:cubicBezTo>
                <a:cubicBezTo>
                  <a:pt x="31375" y="1617"/>
                  <a:pt x="42004" y="1647"/>
                  <a:pt x="52625" y="1332"/>
                </a:cubicBezTo>
                <a:cubicBezTo>
                  <a:pt x="57918" y="1176"/>
                  <a:pt x="63195" y="535"/>
                  <a:pt x="69625" y="0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" name="Free-form: Shape 31">
            <a:extLst>
              <a:ext uri="{FF2B5EF4-FFF2-40B4-BE49-F238E27FC236}">
                <a16:creationId xmlns:a16="http://schemas.microsoft.com/office/drawing/2014/main" id="{19F78BB7-A389-8464-C0FE-A6150BF35784}"/>
              </a:ext>
            </a:extLst>
          </p:cNvPr>
          <p:cNvSpPr/>
          <p:nvPr/>
        </p:nvSpPr>
        <p:spPr>
          <a:xfrm>
            <a:off x="1735301" y="2361506"/>
            <a:ext cx="102191" cy="241686"/>
          </a:xfrm>
          <a:custGeom>
            <a:avLst/>
            <a:gdLst>
              <a:gd name="csX0" fmla="*/ 91265 w 164579"/>
              <a:gd name="csY0" fmla="*/ 157878 h 389238"/>
              <a:gd name="csX1" fmla="*/ 112882 w 164579"/>
              <a:gd name="csY1" fmla="*/ 252738 h 389238"/>
              <a:gd name="csX2" fmla="*/ 164579 w 164579"/>
              <a:gd name="csY2" fmla="*/ 389238 h 389238"/>
              <a:gd name="csX3" fmla="*/ 0 w 164579"/>
              <a:gd name="csY3" fmla="*/ 389238 h 389238"/>
              <a:gd name="csX4" fmla="*/ 5184 w 164579"/>
              <a:gd name="csY4" fmla="*/ 260105 h 389238"/>
              <a:gd name="csX5" fmla="*/ 7989 w 164579"/>
              <a:gd name="csY5" fmla="*/ 131182 h 389238"/>
              <a:gd name="csX6" fmla="*/ 8093 w 164579"/>
              <a:gd name="csY6" fmla="*/ 2390 h 389238"/>
              <a:gd name="csX7" fmla="*/ 76429 w 164579"/>
              <a:gd name="csY7" fmla="*/ 1531 h 389238"/>
              <a:gd name="csX8" fmla="*/ 91265 w 164579"/>
              <a:gd name="csY8" fmla="*/ 157878 h 38923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</a:cxnLst>
            <a:rect l="l" t="t" r="r" b="b"/>
            <a:pathLst>
              <a:path w="164579" h="389238">
                <a:moveTo>
                  <a:pt x="91265" y="157878"/>
                </a:moveTo>
                <a:cubicBezTo>
                  <a:pt x="98425" y="190232"/>
                  <a:pt x="104539" y="221785"/>
                  <a:pt x="112882" y="252738"/>
                </a:cubicBezTo>
                <a:cubicBezTo>
                  <a:pt x="125498" y="299549"/>
                  <a:pt x="141482" y="345258"/>
                  <a:pt x="164579" y="389238"/>
                </a:cubicBezTo>
                <a:cubicBezTo>
                  <a:pt x="109753" y="389238"/>
                  <a:pt x="55706" y="389238"/>
                  <a:pt x="0" y="389238"/>
                </a:cubicBezTo>
                <a:cubicBezTo>
                  <a:pt x="1781" y="345633"/>
                  <a:pt x="3844" y="302880"/>
                  <a:pt x="5184" y="260105"/>
                </a:cubicBezTo>
                <a:cubicBezTo>
                  <a:pt x="6529" y="217143"/>
                  <a:pt x="7519" y="174162"/>
                  <a:pt x="7989" y="131182"/>
                </a:cubicBezTo>
                <a:cubicBezTo>
                  <a:pt x="8459" y="88239"/>
                  <a:pt x="8093" y="45287"/>
                  <a:pt x="8093" y="2390"/>
                </a:cubicBezTo>
                <a:cubicBezTo>
                  <a:pt x="17041" y="-288"/>
                  <a:pt x="58537" y="-913"/>
                  <a:pt x="76429" y="1531"/>
                </a:cubicBezTo>
                <a:cubicBezTo>
                  <a:pt x="79287" y="53276"/>
                  <a:pt x="82219" y="105359"/>
                  <a:pt x="91265" y="157878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" name="Free-form: Shape 32">
            <a:extLst>
              <a:ext uri="{FF2B5EF4-FFF2-40B4-BE49-F238E27FC236}">
                <a16:creationId xmlns:a16="http://schemas.microsoft.com/office/drawing/2014/main" id="{B8CADFE8-A71E-F3F5-DCA5-EBF055018C4A}"/>
              </a:ext>
            </a:extLst>
          </p:cNvPr>
          <p:cNvSpPr/>
          <p:nvPr/>
        </p:nvSpPr>
        <p:spPr>
          <a:xfrm>
            <a:off x="1737120" y="2777019"/>
            <a:ext cx="200357" cy="39865"/>
          </a:xfrm>
          <a:custGeom>
            <a:avLst/>
            <a:gdLst>
              <a:gd name="csX0" fmla="*/ 199184 w 322677"/>
              <a:gd name="csY0" fmla="*/ 59136 h 64202"/>
              <a:gd name="csX1" fmla="*/ 0 w 322677"/>
              <a:gd name="csY1" fmla="*/ 62697 h 64202"/>
              <a:gd name="csX2" fmla="*/ 0 w 322677"/>
              <a:gd name="csY2" fmla="*/ 18400 h 64202"/>
              <a:gd name="csX3" fmla="*/ 10601 w 322677"/>
              <a:gd name="csY3" fmla="*/ 17750 h 64202"/>
              <a:gd name="csX4" fmla="*/ 156563 w 322677"/>
              <a:gd name="csY4" fmla="*/ 15074 h 64202"/>
              <a:gd name="csX5" fmla="*/ 266479 w 322677"/>
              <a:gd name="csY5" fmla="*/ 4814 h 64202"/>
              <a:gd name="csX6" fmla="*/ 296798 w 322677"/>
              <a:gd name="csY6" fmla="*/ 344 h 64202"/>
              <a:gd name="csX7" fmla="*/ 309983 w 322677"/>
              <a:gd name="csY7" fmla="*/ 6097 h 64202"/>
              <a:gd name="csX8" fmla="*/ 322678 w 322677"/>
              <a:gd name="csY8" fmla="*/ 40406 h 64202"/>
              <a:gd name="csX9" fmla="*/ 199184 w 322677"/>
              <a:gd name="csY9" fmla="*/ 59136 h 6420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322677" h="64202">
                <a:moveTo>
                  <a:pt x="199184" y="59136"/>
                </a:moveTo>
                <a:cubicBezTo>
                  <a:pt x="132374" y="65824"/>
                  <a:pt x="66629" y="64605"/>
                  <a:pt x="0" y="62697"/>
                </a:cubicBezTo>
                <a:cubicBezTo>
                  <a:pt x="0" y="47160"/>
                  <a:pt x="0" y="33409"/>
                  <a:pt x="0" y="18400"/>
                </a:cubicBezTo>
                <a:cubicBezTo>
                  <a:pt x="3587" y="18160"/>
                  <a:pt x="7120" y="17536"/>
                  <a:pt x="10601" y="17750"/>
                </a:cubicBezTo>
                <a:cubicBezTo>
                  <a:pt x="59329" y="20736"/>
                  <a:pt x="107987" y="18533"/>
                  <a:pt x="156563" y="15074"/>
                </a:cubicBezTo>
                <a:cubicBezTo>
                  <a:pt x="193260" y="12461"/>
                  <a:pt x="229860" y="8449"/>
                  <a:pt x="266479" y="4814"/>
                </a:cubicBezTo>
                <a:cubicBezTo>
                  <a:pt x="276635" y="3806"/>
                  <a:pt x="286748" y="2160"/>
                  <a:pt x="296798" y="344"/>
                </a:cubicBezTo>
                <a:cubicBezTo>
                  <a:pt x="302773" y="-735"/>
                  <a:pt x="306536" y="602"/>
                  <a:pt x="309983" y="6097"/>
                </a:cubicBezTo>
                <a:cubicBezTo>
                  <a:pt x="316405" y="16331"/>
                  <a:pt x="320231" y="27243"/>
                  <a:pt x="322678" y="40406"/>
                </a:cubicBezTo>
                <a:cubicBezTo>
                  <a:pt x="281944" y="49611"/>
                  <a:pt x="241309" y="55431"/>
                  <a:pt x="199184" y="59136"/>
                </a:cubicBezTo>
                <a:close/>
              </a:path>
            </a:pathLst>
          </a:custGeom>
          <a:solidFill>
            <a:schemeClr val="bg1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E39BF5B6-6DBF-40F4-8057-BBD66F8CC6EA}"/>
              </a:ext>
            </a:extLst>
          </p:cNvPr>
          <p:cNvSpPr txBox="1"/>
          <p:nvPr/>
        </p:nvSpPr>
        <p:spPr>
          <a:xfrm>
            <a:off x="1329112" y="2831201"/>
            <a:ext cx="863983" cy="3927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-CHOP</a:t>
            </a: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06803C64-3E1D-D864-0B09-4D3359A94F2A}"/>
              </a:ext>
            </a:extLst>
          </p:cNvPr>
          <p:cNvSpPr/>
          <p:nvPr/>
        </p:nvSpPr>
        <p:spPr>
          <a:xfrm>
            <a:off x="4118834" y="2751699"/>
            <a:ext cx="593138" cy="104135"/>
          </a:xfrm>
          <a:prstGeom prst="ellipse">
            <a:avLst/>
          </a:prstGeom>
          <a:solidFill>
            <a:schemeClr val="tx1">
              <a:alpha val="6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4" name="Free-form: Shape 53">
            <a:extLst>
              <a:ext uri="{FF2B5EF4-FFF2-40B4-BE49-F238E27FC236}">
                <a16:creationId xmlns:a16="http://schemas.microsoft.com/office/drawing/2014/main" id="{D11C5920-3466-56E5-8D94-EAA0E131DD42}"/>
              </a:ext>
            </a:extLst>
          </p:cNvPr>
          <p:cNvSpPr/>
          <p:nvPr/>
        </p:nvSpPr>
        <p:spPr>
          <a:xfrm>
            <a:off x="4217500" y="2071048"/>
            <a:ext cx="433137" cy="770022"/>
          </a:xfrm>
          <a:custGeom>
            <a:avLst/>
            <a:gdLst>
              <a:gd name="csX0" fmla="*/ 581793 w 697572"/>
              <a:gd name="csY0" fmla="*/ 1234401 h 1240128"/>
              <a:gd name="csX1" fmla="*/ 577427 w 697572"/>
              <a:gd name="csY1" fmla="*/ 1234156 h 1240128"/>
              <a:gd name="csX2" fmla="*/ 559133 w 697572"/>
              <a:gd name="csY2" fmla="*/ 1230909 h 1240128"/>
              <a:gd name="csX3" fmla="*/ 516706 w 697572"/>
              <a:gd name="csY3" fmla="*/ 1235117 h 1240128"/>
              <a:gd name="csX4" fmla="*/ 475244 w 697572"/>
              <a:gd name="csY4" fmla="*/ 1237506 h 1240128"/>
              <a:gd name="csX5" fmla="*/ 371154 w 697572"/>
              <a:gd name="csY5" fmla="*/ 1239428 h 1240128"/>
              <a:gd name="csX6" fmla="*/ 276813 w 697572"/>
              <a:gd name="csY6" fmla="*/ 1237654 h 1240128"/>
              <a:gd name="csX7" fmla="*/ 268212 w 697572"/>
              <a:gd name="csY7" fmla="*/ 1237635 h 1240128"/>
              <a:gd name="csX8" fmla="*/ 262072 w 697572"/>
              <a:gd name="csY8" fmla="*/ 1237523 h 1240128"/>
              <a:gd name="csX9" fmla="*/ 195111 w 697572"/>
              <a:gd name="csY9" fmla="*/ 1232775 h 1240128"/>
              <a:gd name="csX10" fmla="*/ 145060 w 697572"/>
              <a:gd name="csY10" fmla="*/ 1230076 h 1240128"/>
              <a:gd name="csX11" fmla="*/ 114933 w 697572"/>
              <a:gd name="csY11" fmla="*/ 1225832 h 1240128"/>
              <a:gd name="csX12" fmla="*/ 72642 w 697572"/>
              <a:gd name="csY12" fmla="*/ 1220237 h 1240128"/>
              <a:gd name="csX13" fmla="*/ 10894 w 697572"/>
              <a:gd name="csY13" fmla="*/ 1205737 h 1240128"/>
              <a:gd name="csX14" fmla="*/ 5856 w 697572"/>
              <a:gd name="csY14" fmla="*/ 1202799 h 1240128"/>
              <a:gd name="csX15" fmla="*/ 40 w 697572"/>
              <a:gd name="csY15" fmla="*/ 1174450 h 1240128"/>
              <a:gd name="csX16" fmla="*/ 19831 w 697572"/>
              <a:gd name="csY16" fmla="*/ 1118410 h 1240128"/>
              <a:gd name="csX17" fmla="*/ 22004 w 697572"/>
              <a:gd name="csY17" fmla="*/ 1107240 h 1240128"/>
              <a:gd name="csX18" fmla="*/ 25947 w 697572"/>
              <a:gd name="csY18" fmla="*/ 1038650 h 1240128"/>
              <a:gd name="csX19" fmla="*/ 58234 w 697572"/>
              <a:gd name="csY19" fmla="*/ 988567 h 1240128"/>
              <a:gd name="csX20" fmla="*/ 118645 w 697572"/>
              <a:gd name="csY20" fmla="*/ 928298 h 1240128"/>
              <a:gd name="csX21" fmla="*/ 126320 w 697572"/>
              <a:gd name="csY21" fmla="*/ 892015 h 1240128"/>
              <a:gd name="csX22" fmla="*/ 120345 w 697572"/>
              <a:gd name="csY22" fmla="*/ 872258 h 1240128"/>
              <a:gd name="csX23" fmla="*/ 125668 w 697572"/>
              <a:gd name="csY23" fmla="*/ 861640 h 1240128"/>
              <a:gd name="csX24" fmla="*/ 154237 w 697572"/>
              <a:gd name="csY24" fmla="*/ 850716 h 1240128"/>
              <a:gd name="csX25" fmla="*/ 170248 w 697572"/>
              <a:gd name="csY25" fmla="*/ 836767 h 1240128"/>
              <a:gd name="csX26" fmla="*/ 187840 w 697572"/>
              <a:gd name="csY26" fmla="*/ 796341 h 1240128"/>
              <a:gd name="csX27" fmla="*/ 209346 w 697572"/>
              <a:gd name="csY27" fmla="*/ 743126 h 1240128"/>
              <a:gd name="csX28" fmla="*/ 210630 w 697572"/>
              <a:gd name="csY28" fmla="*/ 737219 h 1240128"/>
              <a:gd name="csX29" fmla="*/ 213836 w 697572"/>
              <a:gd name="csY29" fmla="*/ 720505 h 1240128"/>
              <a:gd name="csX30" fmla="*/ 227791 w 697572"/>
              <a:gd name="csY30" fmla="*/ 667353 h 1240128"/>
              <a:gd name="csX31" fmla="*/ 241013 w 697572"/>
              <a:gd name="csY31" fmla="*/ 599151 h 1240128"/>
              <a:gd name="csX32" fmla="*/ 247322 w 697572"/>
              <a:gd name="csY32" fmla="*/ 542242 h 1240128"/>
              <a:gd name="csX33" fmla="*/ 247948 w 697572"/>
              <a:gd name="csY33" fmla="*/ 499296 h 1240128"/>
              <a:gd name="csX34" fmla="*/ 247577 w 697572"/>
              <a:gd name="csY34" fmla="*/ 470384 h 1240128"/>
              <a:gd name="csX35" fmla="*/ 238877 w 697572"/>
              <a:gd name="csY35" fmla="*/ 460987 h 1240128"/>
              <a:gd name="csX36" fmla="*/ 222040 w 697572"/>
              <a:gd name="csY36" fmla="*/ 458353 h 1240128"/>
              <a:gd name="csX37" fmla="*/ 172193 w 697572"/>
              <a:gd name="csY37" fmla="*/ 433714 h 1240128"/>
              <a:gd name="csX38" fmla="*/ 168410 w 697572"/>
              <a:gd name="csY38" fmla="*/ 396591 h 1240128"/>
              <a:gd name="csX39" fmla="*/ 209826 w 697572"/>
              <a:gd name="csY39" fmla="*/ 367773 h 1240128"/>
              <a:gd name="csX40" fmla="*/ 250732 w 697572"/>
              <a:gd name="csY40" fmla="*/ 355208 h 1240128"/>
              <a:gd name="csX41" fmla="*/ 258289 w 697572"/>
              <a:gd name="csY41" fmla="*/ 350426 h 1240128"/>
              <a:gd name="csX42" fmla="*/ 233274 w 697572"/>
              <a:gd name="csY42" fmla="*/ 333513 h 1240128"/>
              <a:gd name="csX43" fmla="*/ 229677 w 697572"/>
              <a:gd name="csY43" fmla="*/ 333922 h 1240128"/>
              <a:gd name="csX44" fmla="*/ 230149 w 697572"/>
              <a:gd name="csY44" fmla="*/ 332979 h 1240128"/>
              <a:gd name="csX45" fmla="*/ 227053 w 697572"/>
              <a:gd name="csY45" fmla="*/ 327076 h 1240128"/>
              <a:gd name="csX46" fmla="*/ 196769 w 697572"/>
              <a:gd name="csY46" fmla="*/ 291380 h 1240128"/>
              <a:gd name="csX47" fmla="*/ 184389 w 697572"/>
              <a:gd name="csY47" fmla="*/ 264042 h 1240128"/>
              <a:gd name="csX48" fmla="*/ 180630 w 697572"/>
              <a:gd name="csY48" fmla="*/ 257839 h 1240128"/>
              <a:gd name="csX49" fmla="*/ 176231 w 697572"/>
              <a:gd name="csY49" fmla="*/ 250643 h 1240128"/>
              <a:gd name="csX50" fmla="*/ 170073 w 697572"/>
              <a:gd name="csY50" fmla="*/ 146723 h 1240128"/>
              <a:gd name="csX51" fmla="*/ 180929 w 697572"/>
              <a:gd name="csY51" fmla="*/ 114280 h 1240128"/>
              <a:gd name="csX52" fmla="*/ 180839 w 697572"/>
              <a:gd name="csY52" fmla="*/ 101501 h 1240128"/>
              <a:gd name="csX53" fmla="*/ 233536 w 697572"/>
              <a:gd name="csY53" fmla="*/ 39653 h 1240128"/>
              <a:gd name="csX54" fmla="*/ 347618 w 697572"/>
              <a:gd name="csY54" fmla="*/ 35 h 1240128"/>
              <a:gd name="csX55" fmla="*/ 437139 w 697572"/>
              <a:gd name="csY55" fmla="*/ 22396 h 1240128"/>
              <a:gd name="csX56" fmla="*/ 529052 w 697572"/>
              <a:gd name="csY56" fmla="*/ 131093 h 1240128"/>
              <a:gd name="csX57" fmla="*/ 518497 w 697572"/>
              <a:gd name="csY57" fmla="*/ 271517 h 1240128"/>
              <a:gd name="csX58" fmla="*/ 500808 w 697572"/>
              <a:gd name="csY58" fmla="*/ 287385 h 1240128"/>
              <a:gd name="csX59" fmla="*/ 472948 w 697572"/>
              <a:gd name="csY59" fmla="*/ 323290 h 1240128"/>
              <a:gd name="csX60" fmla="*/ 469385 w 697572"/>
              <a:gd name="csY60" fmla="*/ 331565 h 1240128"/>
              <a:gd name="csX61" fmla="*/ 468293 w 697572"/>
              <a:gd name="csY61" fmla="*/ 331320 h 1240128"/>
              <a:gd name="csX62" fmla="*/ 459542 w 697572"/>
              <a:gd name="csY62" fmla="*/ 338942 h 1240128"/>
              <a:gd name="csX63" fmla="*/ 458492 w 697572"/>
              <a:gd name="csY63" fmla="*/ 338671 h 1240128"/>
              <a:gd name="csX64" fmla="*/ 436978 w 697572"/>
              <a:gd name="csY64" fmla="*/ 352226 h 1240128"/>
              <a:gd name="csX65" fmla="*/ 472329 w 697572"/>
              <a:gd name="csY65" fmla="*/ 362890 h 1240128"/>
              <a:gd name="csX66" fmla="*/ 523779 w 697572"/>
              <a:gd name="csY66" fmla="*/ 391962 h 1240128"/>
              <a:gd name="csX67" fmla="*/ 527344 w 697572"/>
              <a:gd name="csY67" fmla="*/ 430096 h 1240128"/>
              <a:gd name="csX68" fmla="*/ 504112 w 697572"/>
              <a:gd name="csY68" fmla="*/ 449628 h 1240128"/>
              <a:gd name="csX69" fmla="*/ 459430 w 697572"/>
              <a:gd name="csY69" fmla="*/ 461116 h 1240128"/>
              <a:gd name="csX70" fmla="*/ 446666 w 697572"/>
              <a:gd name="csY70" fmla="*/ 474229 h 1240128"/>
              <a:gd name="csX71" fmla="*/ 449133 w 697572"/>
              <a:gd name="csY71" fmla="*/ 531639 h 1240128"/>
              <a:gd name="csX72" fmla="*/ 454546 w 697572"/>
              <a:gd name="csY72" fmla="*/ 588688 h 1240128"/>
              <a:gd name="csX73" fmla="*/ 466126 w 697572"/>
              <a:gd name="csY73" fmla="*/ 649736 h 1240128"/>
              <a:gd name="csX74" fmla="*/ 512154 w 697572"/>
              <a:gd name="csY74" fmla="*/ 794006 h 1240128"/>
              <a:gd name="csX75" fmla="*/ 525763 w 697572"/>
              <a:gd name="csY75" fmla="*/ 834323 h 1240128"/>
              <a:gd name="csX76" fmla="*/ 530555 w 697572"/>
              <a:gd name="csY76" fmla="*/ 845114 h 1240128"/>
              <a:gd name="csX77" fmla="*/ 554424 w 697572"/>
              <a:gd name="csY77" fmla="*/ 856618 h 1240128"/>
              <a:gd name="csX78" fmla="*/ 572880 w 697572"/>
              <a:gd name="csY78" fmla="*/ 862546 h 1240128"/>
              <a:gd name="csX79" fmla="*/ 578643 w 697572"/>
              <a:gd name="csY79" fmla="*/ 880396 h 1240128"/>
              <a:gd name="csX80" fmla="*/ 572188 w 697572"/>
              <a:gd name="csY80" fmla="*/ 899820 h 1240128"/>
              <a:gd name="csX81" fmla="*/ 582698 w 697572"/>
              <a:gd name="csY81" fmla="*/ 930382 h 1240128"/>
              <a:gd name="csX82" fmla="*/ 604747 w 697572"/>
              <a:gd name="csY82" fmla="*/ 960852 h 1240128"/>
              <a:gd name="csX83" fmla="*/ 613863 w 697572"/>
              <a:gd name="csY83" fmla="*/ 968311 h 1240128"/>
              <a:gd name="csX84" fmla="*/ 629435 w 697572"/>
              <a:gd name="csY84" fmla="*/ 981186 h 1240128"/>
              <a:gd name="csX85" fmla="*/ 633611 w 697572"/>
              <a:gd name="csY85" fmla="*/ 985609 h 1240128"/>
              <a:gd name="csX86" fmla="*/ 673790 w 697572"/>
              <a:gd name="csY86" fmla="*/ 1049348 h 1240128"/>
              <a:gd name="csX87" fmla="*/ 675873 w 697572"/>
              <a:gd name="csY87" fmla="*/ 1092839 h 1240128"/>
              <a:gd name="csX88" fmla="*/ 681668 w 697572"/>
              <a:gd name="csY88" fmla="*/ 1129292 h 1240128"/>
              <a:gd name="csX89" fmla="*/ 697338 w 697572"/>
              <a:gd name="csY89" fmla="*/ 1196079 h 1240128"/>
              <a:gd name="csX90" fmla="*/ 690637 w 697572"/>
              <a:gd name="csY90" fmla="*/ 1205035 h 1240128"/>
              <a:gd name="csX91" fmla="*/ 639777 w 697572"/>
              <a:gd name="csY91" fmla="*/ 1217994 h 1240128"/>
              <a:gd name="csX92" fmla="*/ 587072 w 697572"/>
              <a:gd name="csY92" fmla="*/ 1227761 h 1240128"/>
              <a:gd name="csX93" fmla="*/ 581793 w 697572"/>
              <a:gd name="csY93" fmla="*/ 1234401 h 1240128"/>
              <a:gd name="csX94" fmla="*/ 357446 w 697572"/>
              <a:gd name="csY94" fmla="*/ 903795 h 1240128"/>
              <a:gd name="csX95" fmla="*/ 344445 w 697572"/>
              <a:gd name="csY95" fmla="*/ 903795 h 1240128"/>
              <a:gd name="csX96" fmla="*/ 349212 w 697572"/>
              <a:gd name="csY96" fmla="*/ 950515 h 1240128"/>
              <a:gd name="csX97" fmla="*/ 349538 w 697572"/>
              <a:gd name="csY97" fmla="*/ 1069392 h 1240128"/>
              <a:gd name="csX98" fmla="*/ 349415 w 697572"/>
              <a:gd name="csY98" fmla="*/ 1108925 h 1240128"/>
              <a:gd name="csX99" fmla="*/ 647726 w 697572"/>
              <a:gd name="csY99" fmla="*/ 1089872 h 1240128"/>
              <a:gd name="csX100" fmla="*/ 647654 w 697572"/>
              <a:gd name="csY100" fmla="*/ 1076267 h 1240128"/>
              <a:gd name="csX101" fmla="*/ 610267 w 697572"/>
              <a:gd name="csY101" fmla="*/ 994126 h 1240128"/>
              <a:gd name="csX102" fmla="*/ 571459 w 697572"/>
              <a:gd name="csY102" fmla="*/ 956568 h 1240128"/>
              <a:gd name="csX103" fmla="*/ 541653 w 697572"/>
              <a:gd name="csY103" fmla="*/ 901544 h 1240128"/>
              <a:gd name="csX104" fmla="*/ 539477 w 697572"/>
              <a:gd name="csY104" fmla="*/ 895908 h 1240128"/>
              <a:gd name="csX105" fmla="*/ 357446 w 697572"/>
              <a:gd name="csY105" fmla="*/ 903795 h 1240128"/>
              <a:gd name="csX106" fmla="*/ 300108 w 697572"/>
              <a:gd name="csY106" fmla="*/ 85260 h 1240128"/>
              <a:gd name="csX107" fmla="*/ 290213 w 697572"/>
              <a:gd name="csY107" fmla="*/ 127888 h 1240128"/>
              <a:gd name="csX108" fmla="*/ 331056 w 697572"/>
              <a:gd name="csY108" fmla="*/ 214168 h 1240128"/>
              <a:gd name="csX109" fmla="*/ 424717 w 697572"/>
              <a:gd name="csY109" fmla="*/ 245160 h 1240128"/>
              <a:gd name="csX110" fmla="*/ 496752 w 697572"/>
              <a:gd name="csY110" fmla="*/ 141256 h 1240128"/>
              <a:gd name="csX111" fmla="*/ 390320 w 697572"/>
              <a:gd name="csY111" fmla="*/ 43995 h 1240128"/>
              <a:gd name="csX112" fmla="*/ 300108 w 697572"/>
              <a:gd name="csY112" fmla="*/ 85260 h 1240128"/>
              <a:gd name="csX113" fmla="*/ 343360 w 697572"/>
              <a:gd name="csY113" fmla="*/ 634332 h 1240128"/>
              <a:gd name="csX114" fmla="*/ 340877 w 697572"/>
              <a:gd name="csY114" fmla="*/ 732259 h 1240128"/>
              <a:gd name="csX115" fmla="*/ 338360 w 697572"/>
              <a:gd name="csY115" fmla="*/ 810538 h 1240128"/>
              <a:gd name="csX116" fmla="*/ 337115 w 697572"/>
              <a:gd name="csY116" fmla="*/ 817736 h 1240128"/>
              <a:gd name="csX117" fmla="*/ 336516 w 697572"/>
              <a:gd name="csY117" fmla="*/ 863022 h 1240128"/>
              <a:gd name="csX118" fmla="*/ 343436 w 697572"/>
              <a:gd name="csY118" fmla="*/ 864027 h 1240128"/>
              <a:gd name="csX119" fmla="*/ 406718 w 697572"/>
              <a:gd name="csY119" fmla="*/ 862982 h 1240128"/>
              <a:gd name="csX120" fmla="*/ 456888 w 697572"/>
              <a:gd name="csY120" fmla="*/ 861794 h 1240128"/>
              <a:gd name="csX121" fmla="*/ 495873 w 697572"/>
              <a:gd name="csY121" fmla="*/ 863963 h 1240128"/>
              <a:gd name="csX122" fmla="*/ 509286 w 697572"/>
              <a:gd name="csY122" fmla="*/ 863595 h 1240128"/>
              <a:gd name="csX123" fmla="*/ 516956 w 697572"/>
              <a:gd name="csY123" fmla="*/ 856791 h 1240128"/>
              <a:gd name="csX124" fmla="*/ 513920 w 697572"/>
              <a:gd name="csY124" fmla="*/ 848709 h 1240128"/>
              <a:gd name="csX125" fmla="*/ 506683 w 697572"/>
              <a:gd name="csY125" fmla="*/ 839054 h 1240128"/>
              <a:gd name="csX126" fmla="*/ 488629 w 697572"/>
              <a:gd name="csY126" fmla="*/ 799037 h 1240128"/>
              <a:gd name="csX127" fmla="*/ 456922 w 697572"/>
              <a:gd name="csY127" fmla="*/ 696297 h 1240128"/>
              <a:gd name="csX128" fmla="*/ 441346 w 697572"/>
              <a:gd name="csY128" fmla="*/ 619885 h 1240128"/>
              <a:gd name="csX129" fmla="*/ 435963 w 697572"/>
              <a:gd name="csY129" fmla="*/ 582529 h 1240128"/>
              <a:gd name="csX130" fmla="*/ 429497 w 697572"/>
              <a:gd name="csY130" fmla="*/ 521990 h 1240128"/>
              <a:gd name="csX131" fmla="*/ 426887 w 697572"/>
              <a:gd name="csY131" fmla="*/ 471989 h 1240128"/>
              <a:gd name="csX132" fmla="*/ 413744 w 697572"/>
              <a:gd name="csY132" fmla="*/ 461077 h 1240128"/>
              <a:gd name="csX133" fmla="*/ 353573 w 697572"/>
              <a:gd name="csY133" fmla="*/ 461120 h 1240128"/>
              <a:gd name="csX134" fmla="*/ 344160 w 697572"/>
              <a:gd name="csY134" fmla="*/ 462286 h 1240128"/>
              <a:gd name="csX135" fmla="*/ 343404 w 697572"/>
              <a:gd name="csY135" fmla="*/ 469192 h 1240128"/>
              <a:gd name="csX136" fmla="*/ 343469 w 697572"/>
              <a:gd name="csY136" fmla="*/ 574797 h 1240128"/>
              <a:gd name="csX137" fmla="*/ 345522 w 697572"/>
              <a:gd name="csY137" fmla="*/ 591669 h 1240128"/>
              <a:gd name="csX138" fmla="*/ 343360 w 697572"/>
              <a:gd name="csY138" fmla="*/ 634332 h 1240128"/>
              <a:gd name="csX139" fmla="*/ 416946 w 697572"/>
              <a:gd name="csY139" fmla="*/ 385943 h 1240128"/>
              <a:gd name="csX140" fmla="*/ 401091 w 697572"/>
              <a:gd name="csY140" fmla="*/ 387162 h 1240128"/>
              <a:gd name="csX141" fmla="*/ 369218 w 697572"/>
              <a:gd name="csY141" fmla="*/ 387708 h 1240128"/>
              <a:gd name="csX142" fmla="*/ 351833 w 697572"/>
              <a:gd name="csY142" fmla="*/ 398991 h 1240128"/>
              <a:gd name="csX143" fmla="*/ 349778 w 697572"/>
              <a:gd name="csY143" fmla="*/ 426021 h 1240128"/>
              <a:gd name="csX144" fmla="*/ 361839 w 697572"/>
              <a:gd name="csY144" fmla="*/ 426538 h 1240128"/>
              <a:gd name="csX145" fmla="*/ 455022 w 697572"/>
              <a:gd name="csY145" fmla="*/ 426922 h 1240128"/>
              <a:gd name="csX146" fmla="*/ 481958 w 697572"/>
              <a:gd name="csY146" fmla="*/ 426527 h 1240128"/>
              <a:gd name="csX147" fmla="*/ 499817 w 697572"/>
              <a:gd name="csY147" fmla="*/ 419888 h 1240128"/>
              <a:gd name="csX148" fmla="*/ 499439 w 697572"/>
              <a:gd name="csY148" fmla="*/ 400719 h 1240128"/>
              <a:gd name="csX149" fmla="*/ 468062 w 697572"/>
              <a:gd name="csY149" fmla="*/ 387775 h 1240128"/>
              <a:gd name="csX150" fmla="*/ 416946 w 697572"/>
              <a:gd name="csY150" fmla="*/ 385943 h 1240128"/>
              <a:gd name="csX151" fmla="*/ 636802 w 697572"/>
              <a:gd name="csY151" fmla="*/ 1190940 h 1240128"/>
              <a:gd name="csX152" fmla="*/ 666492 w 697572"/>
              <a:gd name="csY152" fmla="*/ 1184186 h 1240128"/>
              <a:gd name="csX153" fmla="*/ 674465 w 697572"/>
              <a:gd name="csY153" fmla="*/ 1170880 h 1240128"/>
              <a:gd name="csX154" fmla="*/ 662462 w 697572"/>
              <a:gd name="csY154" fmla="*/ 1141464 h 1240128"/>
              <a:gd name="csX155" fmla="*/ 645564 w 697572"/>
              <a:gd name="csY155" fmla="*/ 1131937 h 1240128"/>
              <a:gd name="csX156" fmla="*/ 627387 w 697572"/>
              <a:gd name="csY156" fmla="*/ 1133618 h 1240128"/>
              <a:gd name="csX157" fmla="*/ 583917 w 697572"/>
              <a:gd name="csY157" fmla="*/ 1139222 h 1240128"/>
              <a:gd name="csX158" fmla="*/ 543741 w 697572"/>
              <a:gd name="csY158" fmla="*/ 1141869 h 1240128"/>
              <a:gd name="csX159" fmla="*/ 512146 w 697572"/>
              <a:gd name="csY159" fmla="*/ 1144418 h 1240128"/>
              <a:gd name="csX160" fmla="*/ 447711 w 697572"/>
              <a:gd name="csY160" fmla="*/ 1148973 h 1240128"/>
              <a:gd name="csX161" fmla="*/ 351979 w 697572"/>
              <a:gd name="csY161" fmla="*/ 1149200 h 1240128"/>
              <a:gd name="csX162" fmla="*/ 338443 w 697572"/>
              <a:gd name="csY162" fmla="*/ 1150040 h 1240128"/>
              <a:gd name="csX163" fmla="*/ 338451 w 697572"/>
              <a:gd name="csY163" fmla="*/ 1190780 h 1240128"/>
              <a:gd name="csX164" fmla="*/ 351082 w 697572"/>
              <a:gd name="csY164" fmla="*/ 1207015 h 1240128"/>
              <a:gd name="csX165" fmla="*/ 358298 w 697572"/>
              <a:gd name="csY165" fmla="*/ 1208094 h 1240128"/>
              <a:gd name="csX166" fmla="*/ 521229 w 697572"/>
              <a:gd name="csY166" fmla="*/ 1205646 h 1240128"/>
              <a:gd name="csX167" fmla="*/ 523675 w 697572"/>
              <a:gd name="csY167" fmla="*/ 1205490 h 1240128"/>
              <a:gd name="csX168" fmla="*/ 580423 w 697572"/>
              <a:gd name="csY168" fmla="*/ 1198350 h 1240128"/>
              <a:gd name="csX169" fmla="*/ 636802 w 697572"/>
              <a:gd name="csY169" fmla="*/ 1190940 h 124012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</a:cxnLst>
            <a:rect l="l" t="t" r="r" b="b"/>
            <a:pathLst>
              <a:path w="697572" h="1240128">
                <a:moveTo>
                  <a:pt x="581793" y="1234401"/>
                </a:moveTo>
                <a:cubicBezTo>
                  <a:pt x="580693" y="1234661"/>
                  <a:pt x="579594" y="1234922"/>
                  <a:pt x="577427" y="1234156"/>
                </a:cubicBezTo>
                <a:cubicBezTo>
                  <a:pt x="571216" y="1227899"/>
                  <a:pt x="564912" y="1230441"/>
                  <a:pt x="559133" y="1230909"/>
                </a:cubicBezTo>
                <a:cubicBezTo>
                  <a:pt x="544971" y="1232056"/>
                  <a:pt x="530869" y="1233971"/>
                  <a:pt x="516706" y="1235117"/>
                </a:cubicBezTo>
                <a:cubicBezTo>
                  <a:pt x="502910" y="1236232"/>
                  <a:pt x="489077" y="1237097"/>
                  <a:pt x="475244" y="1237506"/>
                </a:cubicBezTo>
                <a:cubicBezTo>
                  <a:pt x="440539" y="1238535"/>
                  <a:pt x="405696" y="1241458"/>
                  <a:pt x="371154" y="1239428"/>
                </a:cubicBezTo>
                <a:cubicBezTo>
                  <a:pt x="339645" y="1237575"/>
                  <a:pt x="308239" y="1238753"/>
                  <a:pt x="276813" y="1237654"/>
                </a:cubicBezTo>
                <a:cubicBezTo>
                  <a:pt x="273949" y="1237553"/>
                  <a:pt x="271079" y="1237652"/>
                  <a:pt x="268212" y="1237635"/>
                </a:cubicBezTo>
                <a:cubicBezTo>
                  <a:pt x="266165" y="1237623"/>
                  <a:pt x="264111" y="1237668"/>
                  <a:pt x="262072" y="1237523"/>
                </a:cubicBezTo>
                <a:cubicBezTo>
                  <a:pt x="239751" y="1235944"/>
                  <a:pt x="217441" y="1234201"/>
                  <a:pt x="195111" y="1232775"/>
                </a:cubicBezTo>
                <a:cubicBezTo>
                  <a:pt x="178437" y="1231710"/>
                  <a:pt x="161712" y="1231378"/>
                  <a:pt x="145060" y="1230076"/>
                </a:cubicBezTo>
                <a:cubicBezTo>
                  <a:pt x="134969" y="1229287"/>
                  <a:pt x="124987" y="1227177"/>
                  <a:pt x="114933" y="1225832"/>
                </a:cubicBezTo>
                <a:cubicBezTo>
                  <a:pt x="100834" y="1223946"/>
                  <a:pt x="86554" y="1223022"/>
                  <a:pt x="72642" y="1220237"/>
                </a:cubicBezTo>
                <a:cubicBezTo>
                  <a:pt x="51920" y="1216091"/>
                  <a:pt x="31443" y="1210723"/>
                  <a:pt x="10894" y="1205737"/>
                </a:cubicBezTo>
                <a:cubicBezTo>
                  <a:pt x="9027" y="1205284"/>
                  <a:pt x="6196" y="1204140"/>
                  <a:pt x="5856" y="1202799"/>
                </a:cubicBezTo>
                <a:cubicBezTo>
                  <a:pt x="3474" y="1193418"/>
                  <a:pt x="-438" y="1183796"/>
                  <a:pt x="40" y="1174450"/>
                </a:cubicBezTo>
                <a:cubicBezTo>
                  <a:pt x="1079" y="1154149"/>
                  <a:pt x="9757" y="1135843"/>
                  <a:pt x="19831" y="1118410"/>
                </a:cubicBezTo>
                <a:cubicBezTo>
                  <a:pt x="21968" y="1114713"/>
                  <a:pt x="22970" y="1111858"/>
                  <a:pt x="22004" y="1107240"/>
                </a:cubicBezTo>
                <a:cubicBezTo>
                  <a:pt x="17168" y="1084118"/>
                  <a:pt x="17717" y="1061168"/>
                  <a:pt x="25947" y="1038650"/>
                </a:cubicBezTo>
                <a:cubicBezTo>
                  <a:pt x="32954" y="1019481"/>
                  <a:pt x="44478" y="1003118"/>
                  <a:pt x="58234" y="988567"/>
                </a:cubicBezTo>
                <a:cubicBezTo>
                  <a:pt x="77769" y="967902"/>
                  <a:pt x="97978" y="947832"/>
                  <a:pt x="118645" y="928298"/>
                </a:cubicBezTo>
                <a:cubicBezTo>
                  <a:pt x="130104" y="917467"/>
                  <a:pt x="131835" y="905961"/>
                  <a:pt x="126320" y="892015"/>
                </a:cubicBezTo>
                <a:cubicBezTo>
                  <a:pt x="123798" y="885637"/>
                  <a:pt x="122123" y="878904"/>
                  <a:pt x="120345" y="872258"/>
                </a:cubicBezTo>
                <a:cubicBezTo>
                  <a:pt x="119029" y="867341"/>
                  <a:pt x="120162" y="863613"/>
                  <a:pt x="125668" y="861640"/>
                </a:cubicBezTo>
                <a:cubicBezTo>
                  <a:pt x="135266" y="858201"/>
                  <a:pt x="144535" y="853788"/>
                  <a:pt x="154237" y="850716"/>
                </a:cubicBezTo>
                <a:cubicBezTo>
                  <a:pt x="161882" y="848296"/>
                  <a:pt x="167110" y="843897"/>
                  <a:pt x="170248" y="836767"/>
                </a:cubicBezTo>
                <a:cubicBezTo>
                  <a:pt x="176168" y="823316"/>
                  <a:pt x="182193" y="809907"/>
                  <a:pt x="187840" y="796341"/>
                </a:cubicBezTo>
                <a:cubicBezTo>
                  <a:pt x="195194" y="778679"/>
                  <a:pt x="202250" y="760894"/>
                  <a:pt x="209346" y="743126"/>
                </a:cubicBezTo>
                <a:cubicBezTo>
                  <a:pt x="210083" y="741280"/>
                  <a:pt x="210252" y="739200"/>
                  <a:pt x="210630" y="737219"/>
                </a:cubicBezTo>
                <a:cubicBezTo>
                  <a:pt x="211694" y="731645"/>
                  <a:pt x="212425" y="725987"/>
                  <a:pt x="213836" y="720505"/>
                </a:cubicBezTo>
                <a:cubicBezTo>
                  <a:pt x="218406" y="702764"/>
                  <a:pt x="223811" y="685219"/>
                  <a:pt x="227791" y="667353"/>
                </a:cubicBezTo>
                <a:cubicBezTo>
                  <a:pt x="232826" y="644755"/>
                  <a:pt x="237367" y="622009"/>
                  <a:pt x="241013" y="599151"/>
                </a:cubicBezTo>
                <a:cubicBezTo>
                  <a:pt x="244018" y="580319"/>
                  <a:pt x="246001" y="561272"/>
                  <a:pt x="247322" y="542242"/>
                </a:cubicBezTo>
                <a:cubicBezTo>
                  <a:pt x="248312" y="527975"/>
                  <a:pt x="246344" y="513451"/>
                  <a:pt x="247948" y="499296"/>
                </a:cubicBezTo>
                <a:cubicBezTo>
                  <a:pt x="249066" y="489432"/>
                  <a:pt x="247923" y="480014"/>
                  <a:pt x="247577" y="470384"/>
                </a:cubicBezTo>
                <a:cubicBezTo>
                  <a:pt x="247364" y="464453"/>
                  <a:pt x="245121" y="461397"/>
                  <a:pt x="238877" y="460987"/>
                </a:cubicBezTo>
                <a:cubicBezTo>
                  <a:pt x="233224" y="460615"/>
                  <a:pt x="227461" y="459920"/>
                  <a:pt x="222040" y="458353"/>
                </a:cubicBezTo>
                <a:cubicBezTo>
                  <a:pt x="203991" y="453134"/>
                  <a:pt x="185737" y="448229"/>
                  <a:pt x="172193" y="433714"/>
                </a:cubicBezTo>
                <a:cubicBezTo>
                  <a:pt x="162702" y="423544"/>
                  <a:pt x="160887" y="408134"/>
                  <a:pt x="168410" y="396591"/>
                </a:cubicBezTo>
                <a:cubicBezTo>
                  <a:pt x="178294" y="381428"/>
                  <a:pt x="193736" y="373793"/>
                  <a:pt x="209826" y="367773"/>
                </a:cubicBezTo>
                <a:cubicBezTo>
                  <a:pt x="223159" y="362784"/>
                  <a:pt x="237124" y="359493"/>
                  <a:pt x="250732" y="355208"/>
                </a:cubicBezTo>
                <a:cubicBezTo>
                  <a:pt x="253085" y="354467"/>
                  <a:pt x="255058" y="352518"/>
                  <a:pt x="258289" y="350426"/>
                </a:cubicBezTo>
                <a:cubicBezTo>
                  <a:pt x="250173" y="342610"/>
                  <a:pt x="241833" y="337880"/>
                  <a:pt x="233274" y="333513"/>
                </a:cubicBezTo>
                <a:cubicBezTo>
                  <a:pt x="232377" y="333055"/>
                  <a:pt x="230890" y="333758"/>
                  <a:pt x="229677" y="333922"/>
                </a:cubicBezTo>
                <a:cubicBezTo>
                  <a:pt x="229677" y="333922"/>
                  <a:pt x="230323" y="333834"/>
                  <a:pt x="230149" y="332979"/>
                </a:cubicBezTo>
                <a:cubicBezTo>
                  <a:pt x="229023" y="330409"/>
                  <a:pt x="228502" y="328059"/>
                  <a:pt x="227053" y="327076"/>
                </a:cubicBezTo>
                <a:cubicBezTo>
                  <a:pt x="213615" y="317962"/>
                  <a:pt x="204643" y="305332"/>
                  <a:pt x="196769" y="291380"/>
                </a:cubicBezTo>
                <a:cubicBezTo>
                  <a:pt x="191792" y="282564"/>
                  <a:pt x="185421" y="274665"/>
                  <a:pt x="184389" y="264042"/>
                </a:cubicBezTo>
                <a:cubicBezTo>
                  <a:pt x="184179" y="261874"/>
                  <a:pt x="181925" y="259908"/>
                  <a:pt x="180630" y="257839"/>
                </a:cubicBezTo>
                <a:cubicBezTo>
                  <a:pt x="179137" y="255454"/>
                  <a:pt x="177317" y="253204"/>
                  <a:pt x="176231" y="250643"/>
                </a:cubicBezTo>
                <a:cubicBezTo>
                  <a:pt x="161865" y="216749"/>
                  <a:pt x="159606" y="182060"/>
                  <a:pt x="170073" y="146723"/>
                </a:cubicBezTo>
                <a:cubicBezTo>
                  <a:pt x="173311" y="135795"/>
                  <a:pt x="177248" y="125074"/>
                  <a:pt x="180929" y="114280"/>
                </a:cubicBezTo>
                <a:cubicBezTo>
                  <a:pt x="182396" y="109981"/>
                  <a:pt x="183922" y="105742"/>
                  <a:pt x="180839" y="101501"/>
                </a:cubicBezTo>
                <a:cubicBezTo>
                  <a:pt x="192473" y="75833"/>
                  <a:pt x="211344" y="56271"/>
                  <a:pt x="233536" y="39653"/>
                </a:cubicBezTo>
                <a:cubicBezTo>
                  <a:pt x="267321" y="14353"/>
                  <a:pt x="305621" y="873"/>
                  <a:pt x="347618" y="35"/>
                </a:cubicBezTo>
                <a:cubicBezTo>
                  <a:pt x="379125" y="-593"/>
                  <a:pt x="409214" y="7172"/>
                  <a:pt x="437139" y="22396"/>
                </a:cubicBezTo>
                <a:cubicBezTo>
                  <a:pt x="481844" y="46766"/>
                  <a:pt x="514077" y="82116"/>
                  <a:pt x="529052" y="131093"/>
                </a:cubicBezTo>
                <a:cubicBezTo>
                  <a:pt x="543544" y="178495"/>
                  <a:pt x="541630" y="225548"/>
                  <a:pt x="518497" y="271517"/>
                </a:cubicBezTo>
                <a:cubicBezTo>
                  <a:pt x="511428" y="277096"/>
                  <a:pt x="503848" y="281136"/>
                  <a:pt x="500808" y="287385"/>
                </a:cubicBezTo>
                <a:cubicBezTo>
                  <a:pt x="493932" y="301522"/>
                  <a:pt x="483805" y="312513"/>
                  <a:pt x="472948" y="323290"/>
                </a:cubicBezTo>
                <a:cubicBezTo>
                  <a:pt x="470972" y="325253"/>
                  <a:pt x="470533" y="328767"/>
                  <a:pt x="469385" y="331565"/>
                </a:cubicBezTo>
                <a:cubicBezTo>
                  <a:pt x="469385" y="331565"/>
                  <a:pt x="469172" y="331584"/>
                  <a:pt x="468293" y="331320"/>
                </a:cubicBezTo>
                <a:cubicBezTo>
                  <a:pt x="461937" y="330836"/>
                  <a:pt x="458618" y="332772"/>
                  <a:pt x="459542" y="338942"/>
                </a:cubicBezTo>
                <a:cubicBezTo>
                  <a:pt x="459542" y="338942"/>
                  <a:pt x="459473" y="338913"/>
                  <a:pt x="458492" y="338671"/>
                </a:cubicBezTo>
                <a:cubicBezTo>
                  <a:pt x="450936" y="342653"/>
                  <a:pt x="440712" y="341355"/>
                  <a:pt x="436978" y="352226"/>
                </a:cubicBezTo>
                <a:cubicBezTo>
                  <a:pt x="449178" y="355911"/>
                  <a:pt x="460733" y="359469"/>
                  <a:pt x="472329" y="362890"/>
                </a:cubicBezTo>
                <a:cubicBezTo>
                  <a:pt x="491728" y="368613"/>
                  <a:pt x="510182" y="375784"/>
                  <a:pt x="523779" y="391962"/>
                </a:cubicBezTo>
                <a:cubicBezTo>
                  <a:pt x="535849" y="406326"/>
                  <a:pt x="534845" y="420076"/>
                  <a:pt x="527344" y="430096"/>
                </a:cubicBezTo>
                <a:cubicBezTo>
                  <a:pt x="521323" y="438139"/>
                  <a:pt x="513928" y="445333"/>
                  <a:pt x="504112" y="449628"/>
                </a:cubicBezTo>
                <a:cubicBezTo>
                  <a:pt x="489776" y="455901"/>
                  <a:pt x="475173" y="460486"/>
                  <a:pt x="459430" y="461116"/>
                </a:cubicBezTo>
                <a:cubicBezTo>
                  <a:pt x="448415" y="461557"/>
                  <a:pt x="446384" y="463369"/>
                  <a:pt x="446666" y="474229"/>
                </a:cubicBezTo>
                <a:cubicBezTo>
                  <a:pt x="447164" y="493376"/>
                  <a:pt x="447839" y="512533"/>
                  <a:pt x="449133" y="531639"/>
                </a:cubicBezTo>
                <a:cubicBezTo>
                  <a:pt x="450424" y="550696"/>
                  <a:pt x="451783" y="569809"/>
                  <a:pt x="454546" y="588688"/>
                </a:cubicBezTo>
                <a:cubicBezTo>
                  <a:pt x="457543" y="609164"/>
                  <a:pt x="462165" y="629403"/>
                  <a:pt x="466126" y="649736"/>
                </a:cubicBezTo>
                <a:cubicBezTo>
                  <a:pt x="475845" y="699621"/>
                  <a:pt x="493414" y="746980"/>
                  <a:pt x="512154" y="794006"/>
                </a:cubicBezTo>
                <a:cubicBezTo>
                  <a:pt x="517387" y="807138"/>
                  <a:pt x="525145" y="819463"/>
                  <a:pt x="525763" y="834323"/>
                </a:cubicBezTo>
                <a:cubicBezTo>
                  <a:pt x="525919" y="838081"/>
                  <a:pt x="527739" y="843335"/>
                  <a:pt x="530555" y="845114"/>
                </a:cubicBezTo>
                <a:cubicBezTo>
                  <a:pt x="537981" y="849801"/>
                  <a:pt x="546243" y="853278"/>
                  <a:pt x="554424" y="856618"/>
                </a:cubicBezTo>
                <a:cubicBezTo>
                  <a:pt x="560391" y="859054"/>
                  <a:pt x="567041" y="859887"/>
                  <a:pt x="572880" y="862546"/>
                </a:cubicBezTo>
                <a:cubicBezTo>
                  <a:pt x="581470" y="866458"/>
                  <a:pt x="582467" y="871415"/>
                  <a:pt x="578643" y="880396"/>
                </a:cubicBezTo>
                <a:cubicBezTo>
                  <a:pt x="575969" y="886677"/>
                  <a:pt x="572900" y="893182"/>
                  <a:pt x="572188" y="899820"/>
                </a:cubicBezTo>
                <a:cubicBezTo>
                  <a:pt x="570960" y="911271"/>
                  <a:pt x="576506" y="920944"/>
                  <a:pt x="582698" y="930382"/>
                </a:cubicBezTo>
                <a:cubicBezTo>
                  <a:pt x="589569" y="940856"/>
                  <a:pt x="600933" y="947930"/>
                  <a:pt x="604747" y="960852"/>
                </a:cubicBezTo>
                <a:cubicBezTo>
                  <a:pt x="605684" y="964030"/>
                  <a:pt x="610294" y="967128"/>
                  <a:pt x="613863" y="968311"/>
                </a:cubicBezTo>
                <a:cubicBezTo>
                  <a:pt x="620963" y="970665"/>
                  <a:pt x="625924" y="974774"/>
                  <a:pt x="629435" y="981186"/>
                </a:cubicBezTo>
                <a:cubicBezTo>
                  <a:pt x="630381" y="982913"/>
                  <a:pt x="631977" y="984459"/>
                  <a:pt x="633611" y="985609"/>
                </a:cubicBezTo>
                <a:cubicBezTo>
                  <a:pt x="655878" y="1001272"/>
                  <a:pt x="668032" y="1023762"/>
                  <a:pt x="673790" y="1049348"/>
                </a:cubicBezTo>
                <a:cubicBezTo>
                  <a:pt x="676936" y="1063327"/>
                  <a:pt x="679769" y="1077802"/>
                  <a:pt x="675873" y="1092839"/>
                </a:cubicBezTo>
                <a:cubicBezTo>
                  <a:pt x="672677" y="1105174"/>
                  <a:pt x="673042" y="1116963"/>
                  <a:pt x="681668" y="1129292"/>
                </a:cubicBezTo>
                <a:cubicBezTo>
                  <a:pt x="695321" y="1148802"/>
                  <a:pt x="698550" y="1172235"/>
                  <a:pt x="697338" y="1196079"/>
                </a:cubicBezTo>
                <a:cubicBezTo>
                  <a:pt x="697087" y="1201014"/>
                  <a:pt x="694979" y="1203886"/>
                  <a:pt x="690637" y="1205035"/>
                </a:cubicBezTo>
                <a:cubicBezTo>
                  <a:pt x="673723" y="1209511"/>
                  <a:pt x="656856" y="1214241"/>
                  <a:pt x="639777" y="1217994"/>
                </a:cubicBezTo>
                <a:cubicBezTo>
                  <a:pt x="622334" y="1221827"/>
                  <a:pt x="604691" y="1224790"/>
                  <a:pt x="587072" y="1227761"/>
                </a:cubicBezTo>
                <a:cubicBezTo>
                  <a:pt x="582708" y="1228497"/>
                  <a:pt x="581724" y="1230736"/>
                  <a:pt x="581793" y="1234401"/>
                </a:cubicBezTo>
                <a:moveTo>
                  <a:pt x="357446" y="903795"/>
                </a:moveTo>
                <a:cubicBezTo>
                  <a:pt x="353141" y="903795"/>
                  <a:pt x="348835" y="903795"/>
                  <a:pt x="344445" y="903795"/>
                </a:cubicBezTo>
                <a:cubicBezTo>
                  <a:pt x="346169" y="920562"/>
                  <a:pt x="347908" y="935520"/>
                  <a:pt x="349212" y="950515"/>
                </a:cubicBezTo>
                <a:cubicBezTo>
                  <a:pt x="352656" y="990125"/>
                  <a:pt x="351941" y="1029743"/>
                  <a:pt x="349538" y="1069392"/>
                </a:cubicBezTo>
                <a:cubicBezTo>
                  <a:pt x="348759" y="1082241"/>
                  <a:pt x="349415" y="1095176"/>
                  <a:pt x="349415" y="1108925"/>
                </a:cubicBezTo>
                <a:cubicBezTo>
                  <a:pt x="449467" y="1111953"/>
                  <a:pt x="548509" y="1104712"/>
                  <a:pt x="647726" y="1089872"/>
                </a:cubicBezTo>
                <a:cubicBezTo>
                  <a:pt x="647726" y="1084313"/>
                  <a:pt x="648180" y="1080225"/>
                  <a:pt x="647654" y="1076267"/>
                </a:cubicBezTo>
                <a:cubicBezTo>
                  <a:pt x="643515" y="1045124"/>
                  <a:pt x="633172" y="1016714"/>
                  <a:pt x="610267" y="994126"/>
                </a:cubicBezTo>
                <a:cubicBezTo>
                  <a:pt x="597451" y="981485"/>
                  <a:pt x="584392" y="969090"/>
                  <a:pt x="571459" y="956568"/>
                </a:cubicBezTo>
                <a:cubicBezTo>
                  <a:pt x="555751" y="941359"/>
                  <a:pt x="544836" y="923558"/>
                  <a:pt x="541653" y="901544"/>
                </a:cubicBezTo>
                <a:cubicBezTo>
                  <a:pt x="541430" y="900007"/>
                  <a:pt x="540528" y="898570"/>
                  <a:pt x="539477" y="895908"/>
                </a:cubicBezTo>
                <a:cubicBezTo>
                  <a:pt x="479736" y="901652"/>
                  <a:pt x="419815" y="904536"/>
                  <a:pt x="357446" y="903795"/>
                </a:cubicBezTo>
                <a:moveTo>
                  <a:pt x="300108" y="85260"/>
                </a:moveTo>
                <a:cubicBezTo>
                  <a:pt x="293656" y="98745"/>
                  <a:pt x="289202" y="113094"/>
                  <a:pt x="290213" y="127888"/>
                </a:cubicBezTo>
                <a:cubicBezTo>
                  <a:pt x="292527" y="161736"/>
                  <a:pt x="304185" y="191723"/>
                  <a:pt x="331056" y="214168"/>
                </a:cubicBezTo>
                <a:cubicBezTo>
                  <a:pt x="358172" y="236816"/>
                  <a:pt x="388435" y="249934"/>
                  <a:pt x="424717" y="245160"/>
                </a:cubicBezTo>
                <a:cubicBezTo>
                  <a:pt x="468593" y="239387"/>
                  <a:pt x="509574" y="203365"/>
                  <a:pt x="496752" y="141256"/>
                </a:cubicBezTo>
                <a:cubicBezTo>
                  <a:pt x="487021" y="94124"/>
                  <a:pt x="447261" y="51874"/>
                  <a:pt x="390320" y="43995"/>
                </a:cubicBezTo>
                <a:cubicBezTo>
                  <a:pt x="353241" y="38865"/>
                  <a:pt x="321136" y="48750"/>
                  <a:pt x="300108" y="85260"/>
                </a:cubicBezTo>
                <a:moveTo>
                  <a:pt x="343360" y="634332"/>
                </a:moveTo>
                <a:cubicBezTo>
                  <a:pt x="342539" y="666975"/>
                  <a:pt x="341785" y="699619"/>
                  <a:pt x="340877" y="732259"/>
                </a:cubicBezTo>
                <a:cubicBezTo>
                  <a:pt x="340151" y="758355"/>
                  <a:pt x="339265" y="784447"/>
                  <a:pt x="338360" y="810538"/>
                </a:cubicBezTo>
                <a:cubicBezTo>
                  <a:pt x="338277" y="812948"/>
                  <a:pt x="337465" y="815325"/>
                  <a:pt x="337115" y="817736"/>
                </a:cubicBezTo>
                <a:cubicBezTo>
                  <a:pt x="334935" y="832710"/>
                  <a:pt x="336026" y="847647"/>
                  <a:pt x="336516" y="863022"/>
                </a:cubicBezTo>
                <a:cubicBezTo>
                  <a:pt x="339537" y="863479"/>
                  <a:pt x="341490" y="864053"/>
                  <a:pt x="343436" y="864027"/>
                </a:cubicBezTo>
                <a:cubicBezTo>
                  <a:pt x="364531" y="863739"/>
                  <a:pt x="385626" y="863422"/>
                  <a:pt x="406718" y="862982"/>
                </a:cubicBezTo>
                <a:cubicBezTo>
                  <a:pt x="423444" y="862634"/>
                  <a:pt x="440168" y="861675"/>
                  <a:pt x="456888" y="861794"/>
                </a:cubicBezTo>
                <a:cubicBezTo>
                  <a:pt x="469887" y="861886"/>
                  <a:pt x="482872" y="863302"/>
                  <a:pt x="495873" y="863963"/>
                </a:cubicBezTo>
                <a:cubicBezTo>
                  <a:pt x="500358" y="864191"/>
                  <a:pt x="505108" y="864773"/>
                  <a:pt x="509286" y="863595"/>
                </a:cubicBezTo>
                <a:cubicBezTo>
                  <a:pt x="512346" y="862732"/>
                  <a:pt x="515714" y="859703"/>
                  <a:pt x="516956" y="856791"/>
                </a:cubicBezTo>
                <a:cubicBezTo>
                  <a:pt x="517783" y="854851"/>
                  <a:pt x="515475" y="851192"/>
                  <a:pt x="513920" y="848709"/>
                </a:cubicBezTo>
                <a:cubicBezTo>
                  <a:pt x="511791" y="845308"/>
                  <a:pt x="508393" y="842606"/>
                  <a:pt x="506683" y="839054"/>
                </a:cubicBezTo>
                <a:cubicBezTo>
                  <a:pt x="500331" y="825864"/>
                  <a:pt x="493224" y="812855"/>
                  <a:pt x="488629" y="799037"/>
                </a:cubicBezTo>
                <a:cubicBezTo>
                  <a:pt x="477322" y="765031"/>
                  <a:pt x="466537" y="730814"/>
                  <a:pt x="456922" y="696297"/>
                </a:cubicBezTo>
                <a:cubicBezTo>
                  <a:pt x="449953" y="671276"/>
                  <a:pt x="443477" y="646020"/>
                  <a:pt x="441346" y="619885"/>
                </a:cubicBezTo>
                <a:cubicBezTo>
                  <a:pt x="440327" y="607371"/>
                  <a:pt x="437466" y="595018"/>
                  <a:pt x="435963" y="582529"/>
                </a:cubicBezTo>
                <a:cubicBezTo>
                  <a:pt x="433539" y="562380"/>
                  <a:pt x="431154" y="542212"/>
                  <a:pt x="429497" y="521990"/>
                </a:cubicBezTo>
                <a:cubicBezTo>
                  <a:pt x="428135" y="505363"/>
                  <a:pt x="428437" y="488593"/>
                  <a:pt x="426887" y="471989"/>
                </a:cubicBezTo>
                <a:cubicBezTo>
                  <a:pt x="425874" y="461140"/>
                  <a:pt x="424983" y="461120"/>
                  <a:pt x="413744" y="461077"/>
                </a:cubicBezTo>
                <a:cubicBezTo>
                  <a:pt x="393687" y="461000"/>
                  <a:pt x="373630" y="461011"/>
                  <a:pt x="353573" y="461120"/>
                </a:cubicBezTo>
                <a:cubicBezTo>
                  <a:pt x="350472" y="461137"/>
                  <a:pt x="347374" y="461869"/>
                  <a:pt x="344160" y="462286"/>
                </a:cubicBezTo>
                <a:cubicBezTo>
                  <a:pt x="343828" y="465198"/>
                  <a:pt x="343406" y="467195"/>
                  <a:pt x="343404" y="469192"/>
                </a:cubicBezTo>
                <a:cubicBezTo>
                  <a:pt x="343360" y="504394"/>
                  <a:pt x="343267" y="539596"/>
                  <a:pt x="343469" y="574797"/>
                </a:cubicBezTo>
                <a:cubicBezTo>
                  <a:pt x="343501" y="580426"/>
                  <a:pt x="345652" y="586065"/>
                  <a:pt x="345522" y="591669"/>
                </a:cubicBezTo>
                <a:cubicBezTo>
                  <a:pt x="345214" y="605082"/>
                  <a:pt x="344131" y="618478"/>
                  <a:pt x="343360" y="634332"/>
                </a:cubicBezTo>
                <a:moveTo>
                  <a:pt x="416946" y="385943"/>
                </a:moveTo>
                <a:cubicBezTo>
                  <a:pt x="411661" y="386365"/>
                  <a:pt x="406384" y="387006"/>
                  <a:pt x="401091" y="387162"/>
                </a:cubicBezTo>
                <a:cubicBezTo>
                  <a:pt x="390470" y="387477"/>
                  <a:pt x="379841" y="387447"/>
                  <a:pt x="369218" y="387708"/>
                </a:cubicBezTo>
                <a:cubicBezTo>
                  <a:pt x="361167" y="387906"/>
                  <a:pt x="354429" y="391368"/>
                  <a:pt x="351833" y="398991"/>
                </a:cubicBezTo>
                <a:cubicBezTo>
                  <a:pt x="348989" y="407342"/>
                  <a:pt x="347050" y="416214"/>
                  <a:pt x="349778" y="426021"/>
                </a:cubicBezTo>
                <a:cubicBezTo>
                  <a:pt x="353876" y="426204"/>
                  <a:pt x="357857" y="426517"/>
                  <a:pt x="361839" y="426538"/>
                </a:cubicBezTo>
                <a:cubicBezTo>
                  <a:pt x="392900" y="426701"/>
                  <a:pt x="423961" y="426826"/>
                  <a:pt x="455022" y="426922"/>
                </a:cubicBezTo>
                <a:cubicBezTo>
                  <a:pt x="464013" y="426950"/>
                  <a:pt x="473106" y="427654"/>
                  <a:pt x="481958" y="426527"/>
                </a:cubicBezTo>
                <a:cubicBezTo>
                  <a:pt x="488144" y="425740"/>
                  <a:pt x="494821" y="423501"/>
                  <a:pt x="499817" y="419888"/>
                </a:cubicBezTo>
                <a:cubicBezTo>
                  <a:pt x="507869" y="414066"/>
                  <a:pt x="507286" y="406755"/>
                  <a:pt x="499439" y="400719"/>
                </a:cubicBezTo>
                <a:cubicBezTo>
                  <a:pt x="490179" y="393597"/>
                  <a:pt x="479486" y="388885"/>
                  <a:pt x="468062" y="387775"/>
                </a:cubicBezTo>
                <a:cubicBezTo>
                  <a:pt x="451873" y="386202"/>
                  <a:pt x="435520" y="386321"/>
                  <a:pt x="416946" y="385943"/>
                </a:cubicBezTo>
                <a:moveTo>
                  <a:pt x="636802" y="1190940"/>
                </a:moveTo>
                <a:cubicBezTo>
                  <a:pt x="646709" y="1188723"/>
                  <a:pt x="656705" y="1186841"/>
                  <a:pt x="666492" y="1184186"/>
                </a:cubicBezTo>
                <a:cubicBezTo>
                  <a:pt x="674710" y="1181958"/>
                  <a:pt x="676989" y="1178509"/>
                  <a:pt x="674465" y="1170880"/>
                </a:cubicBezTo>
                <a:cubicBezTo>
                  <a:pt x="671144" y="1160843"/>
                  <a:pt x="667026" y="1151009"/>
                  <a:pt x="662462" y="1141464"/>
                </a:cubicBezTo>
                <a:cubicBezTo>
                  <a:pt x="659273" y="1134795"/>
                  <a:pt x="653671" y="1130908"/>
                  <a:pt x="645564" y="1131937"/>
                </a:cubicBezTo>
                <a:cubicBezTo>
                  <a:pt x="639532" y="1132703"/>
                  <a:pt x="633423" y="1132867"/>
                  <a:pt x="627387" y="1133618"/>
                </a:cubicBezTo>
                <a:cubicBezTo>
                  <a:pt x="612888" y="1135421"/>
                  <a:pt x="598449" y="1137770"/>
                  <a:pt x="583917" y="1139222"/>
                </a:cubicBezTo>
                <a:cubicBezTo>
                  <a:pt x="570571" y="1140557"/>
                  <a:pt x="557130" y="1140930"/>
                  <a:pt x="543741" y="1141869"/>
                </a:cubicBezTo>
                <a:cubicBezTo>
                  <a:pt x="533202" y="1142610"/>
                  <a:pt x="522682" y="1143623"/>
                  <a:pt x="512146" y="1144418"/>
                </a:cubicBezTo>
                <a:cubicBezTo>
                  <a:pt x="490671" y="1146038"/>
                  <a:pt x="469214" y="1148450"/>
                  <a:pt x="447711" y="1148973"/>
                </a:cubicBezTo>
                <a:cubicBezTo>
                  <a:pt x="415817" y="1149749"/>
                  <a:pt x="383891" y="1149136"/>
                  <a:pt x="351979" y="1149200"/>
                </a:cubicBezTo>
                <a:cubicBezTo>
                  <a:pt x="347698" y="1149209"/>
                  <a:pt x="343419" y="1149717"/>
                  <a:pt x="338443" y="1150040"/>
                </a:cubicBezTo>
                <a:cubicBezTo>
                  <a:pt x="338443" y="1164651"/>
                  <a:pt x="338413" y="1177715"/>
                  <a:pt x="338451" y="1190780"/>
                </a:cubicBezTo>
                <a:cubicBezTo>
                  <a:pt x="338490" y="1204031"/>
                  <a:pt x="338512" y="1204062"/>
                  <a:pt x="351082" y="1207015"/>
                </a:cubicBezTo>
                <a:cubicBezTo>
                  <a:pt x="353445" y="1207570"/>
                  <a:pt x="355895" y="1208128"/>
                  <a:pt x="358298" y="1208094"/>
                </a:cubicBezTo>
                <a:cubicBezTo>
                  <a:pt x="412608" y="1207329"/>
                  <a:pt x="466919" y="1206484"/>
                  <a:pt x="521229" y="1205646"/>
                </a:cubicBezTo>
                <a:cubicBezTo>
                  <a:pt x="522045" y="1205634"/>
                  <a:pt x="522865" y="1205591"/>
                  <a:pt x="523675" y="1205490"/>
                </a:cubicBezTo>
                <a:cubicBezTo>
                  <a:pt x="542593" y="1203123"/>
                  <a:pt x="561519" y="1200820"/>
                  <a:pt x="580423" y="1198350"/>
                </a:cubicBezTo>
                <a:cubicBezTo>
                  <a:pt x="598523" y="1195985"/>
                  <a:pt x="616599" y="1193446"/>
                  <a:pt x="636802" y="1190940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5" name="Free-form: Shape 54">
            <a:extLst>
              <a:ext uri="{FF2B5EF4-FFF2-40B4-BE49-F238E27FC236}">
                <a16:creationId xmlns:a16="http://schemas.microsoft.com/office/drawing/2014/main" id="{48704CD6-1EA1-A432-B14E-C6F3B6A374F8}"/>
              </a:ext>
            </a:extLst>
          </p:cNvPr>
          <p:cNvSpPr/>
          <p:nvPr/>
        </p:nvSpPr>
        <p:spPr>
          <a:xfrm>
            <a:off x="4469408" y="2842486"/>
            <a:ext cx="17183" cy="1817"/>
          </a:xfrm>
          <a:custGeom>
            <a:avLst/>
            <a:gdLst>
              <a:gd name="csX0" fmla="*/ 0 w 27674"/>
              <a:gd name="csY0" fmla="*/ 2915 h 2925"/>
              <a:gd name="csX1" fmla="*/ 27675 w 27674"/>
              <a:gd name="csY1" fmla="*/ 1550 h 2925"/>
              <a:gd name="csX2" fmla="*/ 0 w 27674"/>
              <a:gd name="csY2" fmla="*/ 2915 h 292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27674" h="2925">
                <a:moveTo>
                  <a:pt x="0" y="2915"/>
                </a:moveTo>
                <a:cubicBezTo>
                  <a:pt x="8211" y="-1939"/>
                  <a:pt x="17625" y="498"/>
                  <a:pt x="27675" y="1550"/>
                </a:cubicBezTo>
                <a:cubicBezTo>
                  <a:pt x="19225" y="2593"/>
                  <a:pt x="10029" y="2999"/>
                  <a:pt x="0" y="2915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6" name="Free-form: Shape 55">
            <a:extLst>
              <a:ext uri="{FF2B5EF4-FFF2-40B4-BE49-F238E27FC236}">
                <a16:creationId xmlns:a16="http://schemas.microsoft.com/office/drawing/2014/main" id="{3C3F74F5-4BC6-50AE-3330-F8C983CF6978}"/>
              </a:ext>
            </a:extLst>
          </p:cNvPr>
          <p:cNvSpPr/>
          <p:nvPr/>
        </p:nvSpPr>
        <p:spPr>
          <a:xfrm>
            <a:off x="4422104" y="2843510"/>
            <a:ext cx="11179" cy="700"/>
          </a:xfrm>
          <a:custGeom>
            <a:avLst/>
            <a:gdLst>
              <a:gd name="csX0" fmla="*/ 0 w 18003"/>
              <a:gd name="csY0" fmla="*/ 1050 h 1128"/>
              <a:gd name="csX1" fmla="*/ 18004 w 18003"/>
              <a:gd name="csY1" fmla="*/ 93 h 1128"/>
              <a:gd name="csX2" fmla="*/ 0 w 18003"/>
              <a:gd name="csY2" fmla="*/ 1050 h 112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8003" h="1128">
                <a:moveTo>
                  <a:pt x="0" y="1050"/>
                </a:moveTo>
                <a:cubicBezTo>
                  <a:pt x="5276" y="182"/>
                  <a:pt x="11306" y="-189"/>
                  <a:pt x="18004" y="93"/>
                </a:cubicBezTo>
                <a:cubicBezTo>
                  <a:pt x="12699" y="1013"/>
                  <a:pt x="6726" y="1280"/>
                  <a:pt x="0" y="1050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7" name="Free-form: Shape 56">
            <a:extLst>
              <a:ext uri="{FF2B5EF4-FFF2-40B4-BE49-F238E27FC236}">
                <a16:creationId xmlns:a16="http://schemas.microsoft.com/office/drawing/2014/main" id="{3B47F59B-8282-2766-F306-CDA58A133F36}"/>
              </a:ext>
            </a:extLst>
          </p:cNvPr>
          <p:cNvSpPr/>
          <p:nvPr/>
        </p:nvSpPr>
        <p:spPr>
          <a:xfrm>
            <a:off x="4503071" y="2276710"/>
            <a:ext cx="5257" cy="4867"/>
          </a:xfrm>
          <a:custGeom>
            <a:avLst/>
            <a:gdLst>
              <a:gd name="csX0" fmla="*/ 473 w 8466"/>
              <a:gd name="csY0" fmla="*/ 7839 h 7838"/>
              <a:gd name="csX1" fmla="*/ 8466 w 8466"/>
              <a:gd name="csY1" fmla="*/ 61 h 7838"/>
              <a:gd name="csX2" fmla="*/ 473 w 8466"/>
              <a:gd name="csY2" fmla="*/ 7839 h 783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66" h="7838">
                <a:moveTo>
                  <a:pt x="473" y="7839"/>
                </a:moveTo>
                <a:cubicBezTo>
                  <a:pt x="-1298" y="1550"/>
                  <a:pt x="2020" y="-386"/>
                  <a:pt x="8466" y="61"/>
                </a:cubicBezTo>
                <a:cubicBezTo>
                  <a:pt x="6730" y="2845"/>
                  <a:pt x="4026" y="5401"/>
                  <a:pt x="473" y="7839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8" name="Free-form: Shape 57">
            <a:extLst>
              <a:ext uri="{FF2B5EF4-FFF2-40B4-BE49-F238E27FC236}">
                <a16:creationId xmlns:a16="http://schemas.microsoft.com/office/drawing/2014/main" id="{DF334F79-1BCF-1F41-1A0C-7E1435CD89FB}"/>
              </a:ext>
            </a:extLst>
          </p:cNvPr>
          <p:cNvSpPr/>
          <p:nvPr/>
        </p:nvSpPr>
        <p:spPr>
          <a:xfrm>
            <a:off x="4367075" y="2841996"/>
            <a:ext cx="5265" cy="618"/>
          </a:xfrm>
          <a:custGeom>
            <a:avLst/>
            <a:gdLst>
              <a:gd name="csX0" fmla="*/ 0 w 8480"/>
              <a:gd name="csY0" fmla="*/ 896 h 996"/>
              <a:gd name="csX1" fmla="*/ 8480 w 8480"/>
              <a:gd name="csY1" fmla="*/ 110 h 996"/>
              <a:gd name="csX2" fmla="*/ 0 w 8480"/>
              <a:gd name="csY2" fmla="*/ 896 h 99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80" h="996">
                <a:moveTo>
                  <a:pt x="0" y="896"/>
                </a:moveTo>
                <a:cubicBezTo>
                  <a:pt x="2285" y="115"/>
                  <a:pt x="5130" y="-182"/>
                  <a:pt x="8480" y="110"/>
                </a:cubicBezTo>
                <a:cubicBezTo>
                  <a:pt x="6177" y="927"/>
                  <a:pt x="3368" y="1153"/>
                  <a:pt x="0" y="896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9" name="Free-form: Shape 58">
            <a:extLst>
              <a:ext uri="{FF2B5EF4-FFF2-40B4-BE49-F238E27FC236}">
                <a16:creationId xmlns:a16="http://schemas.microsoft.com/office/drawing/2014/main" id="{22B4B41E-1C04-DD38-39CA-26AD16712176}"/>
              </a:ext>
            </a:extLst>
          </p:cNvPr>
          <p:cNvSpPr/>
          <p:nvPr/>
        </p:nvSpPr>
        <p:spPr>
          <a:xfrm>
            <a:off x="4653836" y="2815467"/>
            <a:ext cx="763" cy="4134"/>
          </a:xfrm>
          <a:custGeom>
            <a:avLst/>
            <a:gdLst>
              <a:gd name="csX0" fmla="*/ 132 w 1229"/>
              <a:gd name="csY0" fmla="*/ 6659 h 6658"/>
              <a:gd name="csX1" fmla="*/ 1107 w 1229"/>
              <a:gd name="csY1" fmla="*/ 0 h 6658"/>
              <a:gd name="csX2" fmla="*/ 132 w 1229"/>
              <a:gd name="csY2" fmla="*/ 6659 h 665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229" h="6658">
                <a:moveTo>
                  <a:pt x="132" y="6659"/>
                </a:moveTo>
                <a:cubicBezTo>
                  <a:pt x="-219" y="4616"/>
                  <a:pt x="139" y="2560"/>
                  <a:pt x="1107" y="0"/>
                </a:cubicBezTo>
                <a:cubicBezTo>
                  <a:pt x="1425" y="1879"/>
                  <a:pt x="1133" y="4263"/>
                  <a:pt x="132" y="6659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0" name="Free-form: Shape 59">
            <a:extLst>
              <a:ext uri="{FF2B5EF4-FFF2-40B4-BE49-F238E27FC236}">
                <a16:creationId xmlns:a16="http://schemas.microsoft.com/office/drawing/2014/main" id="{87701146-B8A6-A1B6-02D2-E67F47F26D37}"/>
              </a:ext>
            </a:extLst>
          </p:cNvPr>
          <p:cNvSpPr/>
          <p:nvPr/>
        </p:nvSpPr>
        <p:spPr>
          <a:xfrm>
            <a:off x="4586640" y="2835744"/>
            <a:ext cx="2352" cy="847"/>
          </a:xfrm>
          <a:custGeom>
            <a:avLst/>
            <a:gdLst>
              <a:gd name="csX0" fmla="*/ 0 w 3788"/>
              <a:gd name="csY0" fmla="*/ 1364 h 1364"/>
              <a:gd name="csX1" fmla="*/ 3788 w 3788"/>
              <a:gd name="csY1" fmla="*/ 0 h 1364"/>
              <a:gd name="csX2" fmla="*/ 0 w 3788"/>
              <a:gd name="csY2" fmla="*/ 1364 h 136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788" h="1364">
                <a:moveTo>
                  <a:pt x="0" y="1364"/>
                </a:moveTo>
                <a:cubicBezTo>
                  <a:pt x="856" y="517"/>
                  <a:pt x="2126" y="39"/>
                  <a:pt x="3788" y="0"/>
                </a:cubicBezTo>
                <a:cubicBezTo>
                  <a:pt x="2925" y="870"/>
                  <a:pt x="1670" y="1303"/>
                  <a:pt x="0" y="1364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1" name="Free-form: Shape 60">
            <a:extLst>
              <a:ext uri="{FF2B5EF4-FFF2-40B4-BE49-F238E27FC236}">
                <a16:creationId xmlns:a16="http://schemas.microsoft.com/office/drawing/2014/main" id="{5C879C17-33E9-9704-38CC-376C4A9361CE}"/>
              </a:ext>
            </a:extLst>
          </p:cNvPr>
          <p:cNvSpPr/>
          <p:nvPr/>
        </p:nvSpPr>
        <p:spPr>
          <a:xfrm>
            <a:off x="4315057" y="2839018"/>
            <a:ext cx="2478" cy="515"/>
          </a:xfrm>
          <a:custGeom>
            <a:avLst/>
            <a:gdLst>
              <a:gd name="csX0" fmla="*/ 0 w 3990"/>
              <a:gd name="csY0" fmla="*/ 719 h 829"/>
              <a:gd name="csX1" fmla="*/ 3990 w 3990"/>
              <a:gd name="csY1" fmla="*/ 119 h 829"/>
              <a:gd name="csX2" fmla="*/ 0 w 3990"/>
              <a:gd name="csY2" fmla="*/ 719 h 82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990" h="829">
                <a:moveTo>
                  <a:pt x="0" y="719"/>
                </a:moveTo>
                <a:cubicBezTo>
                  <a:pt x="982" y="66"/>
                  <a:pt x="2323" y="-163"/>
                  <a:pt x="3990" y="119"/>
                </a:cubicBezTo>
                <a:cubicBezTo>
                  <a:pt x="2998" y="800"/>
                  <a:pt x="1678" y="972"/>
                  <a:pt x="0" y="719"/>
                </a:cubicBezTo>
                <a:close/>
              </a:path>
            </a:pathLst>
          </a:custGeom>
          <a:solidFill>
            <a:srgbClr val="959DA0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2" name="Free-form: Shape 61">
            <a:extLst>
              <a:ext uri="{FF2B5EF4-FFF2-40B4-BE49-F238E27FC236}">
                <a16:creationId xmlns:a16="http://schemas.microsoft.com/office/drawing/2014/main" id="{D6363BCB-DD95-D198-DE3F-F8D162BAAD33}"/>
              </a:ext>
            </a:extLst>
          </p:cNvPr>
          <p:cNvSpPr/>
          <p:nvPr/>
        </p:nvSpPr>
        <p:spPr>
          <a:xfrm>
            <a:off x="4525605" y="2841974"/>
            <a:ext cx="2417" cy="705"/>
          </a:xfrm>
          <a:custGeom>
            <a:avLst/>
            <a:gdLst>
              <a:gd name="csX0" fmla="*/ 0 w 3893"/>
              <a:gd name="csY0" fmla="*/ 1133 h 1135"/>
              <a:gd name="csX1" fmla="*/ 3893 w 3893"/>
              <a:gd name="csY1" fmla="*/ 7 h 1135"/>
              <a:gd name="csX2" fmla="*/ 0 w 3893"/>
              <a:gd name="csY2" fmla="*/ 1133 h 113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893" h="1135">
                <a:moveTo>
                  <a:pt x="0" y="1133"/>
                </a:moveTo>
                <a:cubicBezTo>
                  <a:pt x="902" y="349"/>
                  <a:pt x="2213" y="-60"/>
                  <a:pt x="3893" y="7"/>
                </a:cubicBezTo>
                <a:cubicBezTo>
                  <a:pt x="2978" y="825"/>
                  <a:pt x="1693" y="1167"/>
                  <a:pt x="0" y="1133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3" name="Free-form: Shape 62">
            <a:extLst>
              <a:ext uri="{FF2B5EF4-FFF2-40B4-BE49-F238E27FC236}">
                <a16:creationId xmlns:a16="http://schemas.microsoft.com/office/drawing/2014/main" id="{B5C2A42F-5EDC-79A7-2BEC-BD3DC4DB246E}"/>
              </a:ext>
            </a:extLst>
          </p:cNvPr>
          <p:cNvSpPr/>
          <p:nvPr/>
        </p:nvSpPr>
        <p:spPr>
          <a:xfrm>
            <a:off x="4426009" y="2357310"/>
            <a:ext cx="112588" cy="250407"/>
          </a:xfrm>
          <a:custGeom>
            <a:avLst/>
            <a:gdLst>
              <a:gd name="csX0" fmla="*/ 7554 w 181323"/>
              <a:gd name="csY0" fmla="*/ 172079 h 403282"/>
              <a:gd name="csX1" fmla="*/ 9716 w 181323"/>
              <a:gd name="csY1" fmla="*/ 130641 h 403282"/>
              <a:gd name="csX2" fmla="*/ 7663 w 181323"/>
              <a:gd name="csY2" fmla="*/ 113770 h 403282"/>
              <a:gd name="csX3" fmla="*/ 7598 w 181323"/>
              <a:gd name="csY3" fmla="*/ 8165 h 403282"/>
              <a:gd name="csX4" fmla="*/ 8353 w 181323"/>
              <a:gd name="csY4" fmla="*/ 1259 h 403282"/>
              <a:gd name="csX5" fmla="*/ 17767 w 181323"/>
              <a:gd name="csY5" fmla="*/ 93 h 403282"/>
              <a:gd name="csX6" fmla="*/ 77938 w 181323"/>
              <a:gd name="csY6" fmla="*/ 50 h 403282"/>
              <a:gd name="csX7" fmla="*/ 91081 w 181323"/>
              <a:gd name="csY7" fmla="*/ 10962 h 403282"/>
              <a:gd name="csX8" fmla="*/ 93691 w 181323"/>
              <a:gd name="csY8" fmla="*/ 60963 h 403282"/>
              <a:gd name="csX9" fmla="*/ 100157 w 181323"/>
              <a:gd name="csY9" fmla="*/ 121501 h 403282"/>
              <a:gd name="csX10" fmla="*/ 105540 w 181323"/>
              <a:gd name="csY10" fmla="*/ 158857 h 403282"/>
              <a:gd name="csX11" fmla="*/ 121116 w 181323"/>
              <a:gd name="csY11" fmla="*/ 235269 h 403282"/>
              <a:gd name="csX12" fmla="*/ 152823 w 181323"/>
              <a:gd name="csY12" fmla="*/ 338010 h 403282"/>
              <a:gd name="csX13" fmla="*/ 170877 w 181323"/>
              <a:gd name="csY13" fmla="*/ 378027 h 403282"/>
              <a:gd name="csX14" fmla="*/ 178114 w 181323"/>
              <a:gd name="csY14" fmla="*/ 387682 h 403282"/>
              <a:gd name="csX15" fmla="*/ 181150 w 181323"/>
              <a:gd name="csY15" fmla="*/ 395764 h 403282"/>
              <a:gd name="csX16" fmla="*/ 173480 w 181323"/>
              <a:gd name="csY16" fmla="*/ 402568 h 403282"/>
              <a:gd name="csX17" fmla="*/ 160067 w 181323"/>
              <a:gd name="csY17" fmla="*/ 402936 h 403282"/>
              <a:gd name="csX18" fmla="*/ 121081 w 181323"/>
              <a:gd name="csY18" fmla="*/ 400766 h 403282"/>
              <a:gd name="csX19" fmla="*/ 70912 w 181323"/>
              <a:gd name="csY19" fmla="*/ 401955 h 403282"/>
              <a:gd name="csX20" fmla="*/ 7630 w 181323"/>
              <a:gd name="csY20" fmla="*/ 402999 h 403282"/>
              <a:gd name="csX21" fmla="*/ 710 w 181323"/>
              <a:gd name="csY21" fmla="*/ 401995 h 403282"/>
              <a:gd name="csX22" fmla="*/ 1308 w 181323"/>
              <a:gd name="csY22" fmla="*/ 356708 h 403282"/>
              <a:gd name="csX23" fmla="*/ 2554 w 181323"/>
              <a:gd name="csY23" fmla="*/ 349510 h 403282"/>
              <a:gd name="csX24" fmla="*/ 5071 w 181323"/>
              <a:gd name="csY24" fmla="*/ 271231 h 403282"/>
              <a:gd name="csX25" fmla="*/ 7554 w 181323"/>
              <a:gd name="csY25" fmla="*/ 172079 h 403282"/>
              <a:gd name="csX26" fmla="*/ 98286 w 181323"/>
              <a:gd name="csY26" fmla="*/ 163566 h 403282"/>
              <a:gd name="csX27" fmla="*/ 83497 w 181323"/>
              <a:gd name="csY27" fmla="*/ 8289 h 403282"/>
              <a:gd name="csX28" fmla="*/ 15161 w 181323"/>
              <a:gd name="csY28" fmla="*/ 9148 h 403282"/>
              <a:gd name="csX29" fmla="*/ 15058 w 181323"/>
              <a:gd name="csY29" fmla="*/ 137939 h 403282"/>
              <a:gd name="csX30" fmla="*/ 12252 w 181323"/>
              <a:gd name="csY30" fmla="*/ 266862 h 403282"/>
              <a:gd name="csX31" fmla="*/ 7068 w 181323"/>
              <a:gd name="csY31" fmla="*/ 395996 h 403282"/>
              <a:gd name="csX32" fmla="*/ 171647 w 181323"/>
              <a:gd name="csY32" fmla="*/ 395996 h 403282"/>
              <a:gd name="csX33" fmla="*/ 119950 w 181323"/>
              <a:gd name="csY33" fmla="*/ 259496 h 403282"/>
              <a:gd name="csX34" fmla="*/ 98286 w 181323"/>
              <a:gd name="csY34" fmla="*/ 163566 h 40328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</a:cxnLst>
            <a:rect l="l" t="t" r="r" b="b"/>
            <a:pathLst>
              <a:path w="181323" h="403282">
                <a:moveTo>
                  <a:pt x="7554" y="172079"/>
                </a:moveTo>
                <a:cubicBezTo>
                  <a:pt x="8325" y="157451"/>
                  <a:pt x="9408" y="144055"/>
                  <a:pt x="9716" y="130641"/>
                </a:cubicBezTo>
                <a:cubicBezTo>
                  <a:pt x="9846" y="125037"/>
                  <a:pt x="7695" y="119399"/>
                  <a:pt x="7663" y="113770"/>
                </a:cubicBezTo>
                <a:cubicBezTo>
                  <a:pt x="7461" y="78569"/>
                  <a:pt x="7554" y="43367"/>
                  <a:pt x="7598" y="8165"/>
                </a:cubicBezTo>
                <a:cubicBezTo>
                  <a:pt x="7600" y="6167"/>
                  <a:pt x="8022" y="4170"/>
                  <a:pt x="8353" y="1259"/>
                </a:cubicBezTo>
                <a:cubicBezTo>
                  <a:pt x="11568" y="842"/>
                  <a:pt x="14666" y="109"/>
                  <a:pt x="17767" y="93"/>
                </a:cubicBezTo>
                <a:cubicBezTo>
                  <a:pt x="37824" y="-17"/>
                  <a:pt x="57881" y="-27"/>
                  <a:pt x="77938" y="50"/>
                </a:cubicBezTo>
                <a:cubicBezTo>
                  <a:pt x="89177" y="93"/>
                  <a:pt x="90068" y="113"/>
                  <a:pt x="91081" y="10962"/>
                </a:cubicBezTo>
                <a:cubicBezTo>
                  <a:pt x="92631" y="27565"/>
                  <a:pt x="92329" y="44335"/>
                  <a:pt x="93691" y="60963"/>
                </a:cubicBezTo>
                <a:cubicBezTo>
                  <a:pt x="95348" y="81184"/>
                  <a:pt x="97732" y="101353"/>
                  <a:pt x="100157" y="121501"/>
                </a:cubicBezTo>
                <a:cubicBezTo>
                  <a:pt x="101660" y="133990"/>
                  <a:pt x="104521" y="146343"/>
                  <a:pt x="105540" y="158857"/>
                </a:cubicBezTo>
                <a:cubicBezTo>
                  <a:pt x="107671" y="184993"/>
                  <a:pt x="114147" y="210249"/>
                  <a:pt x="121116" y="235269"/>
                </a:cubicBezTo>
                <a:cubicBezTo>
                  <a:pt x="130731" y="269786"/>
                  <a:pt x="141516" y="304004"/>
                  <a:pt x="152823" y="338010"/>
                </a:cubicBezTo>
                <a:cubicBezTo>
                  <a:pt x="157418" y="351828"/>
                  <a:pt x="164524" y="364837"/>
                  <a:pt x="170877" y="378027"/>
                </a:cubicBezTo>
                <a:cubicBezTo>
                  <a:pt x="172587" y="381579"/>
                  <a:pt x="175985" y="384280"/>
                  <a:pt x="178114" y="387682"/>
                </a:cubicBezTo>
                <a:cubicBezTo>
                  <a:pt x="179669" y="390165"/>
                  <a:pt x="181977" y="393824"/>
                  <a:pt x="181150" y="395764"/>
                </a:cubicBezTo>
                <a:cubicBezTo>
                  <a:pt x="179907" y="398676"/>
                  <a:pt x="176540" y="401705"/>
                  <a:pt x="173480" y="402568"/>
                </a:cubicBezTo>
                <a:cubicBezTo>
                  <a:pt x="169302" y="403746"/>
                  <a:pt x="164551" y="403164"/>
                  <a:pt x="160067" y="402936"/>
                </a:cubicBezTo>
                <a:cubicBezTo>
                  <a:pt x="147066" y="402274"/>
                  <a:pt x="134081" y="400859"/>
                  <a:pt x="121081" y="400766"/>
                </a:cubicBezTo>
                <a:cubicBezTo>
                  <a:pt x="104362" y="400647"/>
                  <a:pt x="87638" y="401607"/>
                  <a:pt x="70912" y="401955"/>
                </a:cubicBezTo>
                <a:cubicBezTo>
                  <a:pt x="49820" y="402394"/>
                  <a:pt x="28725" y="402712"/>
                  <a:pt x="7630" y="402999"/>
                </a:cubicBezTo>
                <a:cubicBezTo>
                  <a:pt x="5684" y="403026"/>
                  <a:pt x="3731" y="402452"/>
                  <a:pt x="710" y="401995"/>
                </a:cubicBezTo>
                <a:cubicBezTo>
                  <a:pt x="219" y="386620"/>
                  <a:pt x="-871" y="371682"/>
                  <a:pt x="1308" y="356708"/>
                </a:cubicBezTo>
                <a:cubicBezTo>
                  <a:pt x="1659" y="354298"/>
                  <a:pt x="2471" y="351920"/>
                  <a:pt x="2554" y="349510"/>
                </a:cubicBezTo>
                <a:cubicBezTo>
                  <a:pt x="3459" y="323419"/>
                  <a:pt x="4345" y="297328"/>
                  <a:pt x="5071" y="271231"/>
                </a:cubicBezTo>
                <a:cubicBezTo>
                  <a:pt x="5979" y="238591"/>
                  <a:pt x="6733" y="205947"/>
                  <a:pt x="7554" y="172079"/>
                </a:cubicBezTo>
                <a:moveTo>
                  <a:pt x="98286" y="163566"/>
                </a:moveTo>
                <a:cubicBezTo>
                  <a:pt x="89288" y="112116"/>
                  <a:pt x="86355" y="60033"/>
                  <a:pt x="83497" y="8289"/>
                </a:cubicBezTo>
                <a:cubicBezTo>
                  <a:pt x="65606" y="5845"/>
                  <a:pt x="24110" y="6470"/>
                  <a:pt x="15161" y="9148"/>
                </a:cubicBezTo>
                <a:cubicBezTo>
                  <a:pt x="15161" y="52045"/>
                  <a:pt x="15527" y="94996"/>
                  <a:pt x="15058" y="137939"/>
                </a:cubicBezTo>
                <a:cubicBezTo>
                  <a:pt x="14587" y="180919"/>
                  <a:pt x="13597" y="223900"/>
                  <a:pt x="12252" y="266862"/>
                </a:cubicBezTo>
                <a:cubicBezTo>
                  <a:pt x="10912" y="309638"/>
                  <a:pt x="8849" y="352391"/>
                  <a:pt x="7068" y="395996"/>
                </a:cubicBezTo>
                <a:cubicBezTo>
                  <a:pt x="62774" y="395996"/>
                  <a:pt x="116821" y="395996"/>
                  <a:pt x="171647" y="395996"/>
                </a:cubicBezTo>
                <a:cubicBezTo>
                  <a:pt x="148550" y="352016"/>
                  <a:pt x="132566" y="306307"/>
                  <a:pt x="119950" y="259496"/>
                </a:cubicBezTo>
                <a:cubicBezTo>
                  <a:pt x="111608" y="228543"/>
                  <a:pt x="105493" y="196989"/>
                  <a:pt x="98286" y="163566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4" name="Free-form: Shape 63">
            <a:extLst>
              <a:ext uri="{FF2B5EF4-FFF2-40B4-BE49-F238E27FC236}">
                <a16:creationId xmlns:a16="http://schemas.microsoft.com/office/drawing/2014/main" id="{8F5D439B-82C1-FB65-0077-CC2CD89DE29B}"/>
              </a:ext>
            </a:extLst>
          </p:cNvPr>
          <p:cNvSpPr/>
          <p:nvPr/>
        </p:nvSpPr>
        <p:spPr>
          <a:xfrm>
            <a:off x="4427640" y="2773791"/>
            <a:ext cx="209255" cy="47389"/>
          </a:xfrm>
          <a:custGeom>
            <a:avLst/>
            <a:gdLst>
              <a:gd name="csX0" fmla="*/ 297312 w 337008"/>
              <a:gd name="csY0" fmla="*/ 59188 h 76321"/>
              <a:gd name="csX1" fmla="*/ 241991 w 337008"/>
              <a:gd name="csY1" fmla="*/ 66577 h 76321"/>
              <a:gd name="csX2" fmla="*/ 185243 w 337008"/>
              <a:gd name="csY2" fmla="*/ 73717 h 76321"/>
              <a:gd name="csX3" fmla="*/ 182797 w 337008"/>
              <a:gd name="csY3" fmla="*/ 73873 h 76321"/>
              <a:gd name="csX4" fmla="*/ 19866 w 337008"/>
              <a:gd name="csY4" fmla="*/ 76320 h 76321"/>
              <a:gd name="csX5" fmla="*/ 12650 w 337008"/>
              <a:gd name="csY5" fmla="*/ 75242 h 76321"/>
              <a:gd name="csX6" fmla="*/ 19 w 337008"/>
              <a:gd name="csY6" fmla="*/ 59006 h 76321"/>
              <a:gd name="csX7" fmla="*/ 11 w 337008"/>
              <a:gd name="csY7" fmla="*/ 18266 h 76321"/>
              <a:gd name="csX8" fmla="*/ 13547 w 337008"/>
              <a:gd name="csY8" fmla="*/ 17427 h 76321"/>
              <a:gd name="csX9" fmla="*/ 109279 w 337008"/>
              <a:gd name="csY9" fmla="*/ 17200 h 76321"/>
              <a:gd name="csX10" fmla="*/ 173714 w 337008"/>
              <a:gd name="csY10" fmla="*/ 12645 h 76321"/>
              <a:gd name="csX11" fmla="*/ 205309 w 337008"/>
              <a:gd name="csY11" fmla="*/ 10096 h 76321"/>
              <a:gd name="csX12" fmla="*/ 245485 w 337008"/>
              <a:gd name="csY12" fmla="*/ 7449 h 76321"/>
              <a:gd name="csX13" fmla="*/ 288955 w 337008"/>
              <a:gd name="csY13" fmla="*/ 1844 h 76321"/>
              <a:gd name="csX14" fmla="*/ 307132 w 337008"/>
              <a:gd name="csY14" fmla="*/ 164 h 76321"/>
              <a:gd name="csX15" fmla="*/ 324030 w 337008"/>
              <a:gd name="csY15" fmla="*/ 9691 h 76321"/>
              <a:gd name="csX16" fmla="*/ 336033 w 337008"/>
              <a:gd name="csY16" fmla="*/ 39107 h 76321"/>
              <a:gd name="csX17" fmla="*/ 328060 w 337008"/>
              <a:gd name="csY17" fmla="*/ 52413 h 76321"/>
              <a:gd name="csX18" fmla="*/ 297312 w 337008"/>
              <a:gd name="csY18" fmla="*/ 59188 h 76321"/>
              <a:gd name="csX19" fmla="*/ 207688 w 337008"/>
              <a:gd name="csY19" fmla="*/ 64284 h 76321"/>
              <a:gd name="csX20" fmla="*/ 330050 w 337008"/>
              <a:gd name="csY20" fmla="*/ 45606 h 76321"/>
              <a:gd name="csX21" fmla="*/ 317356 w 337008"/>
              <a:gd name="csY21" fmla="*/ 11297 h 76321"/>
              <a:gd name="csX22" fmla="*/ 304170 w 337008"/>
              <a:gd name="csY22" fmla="*/ 5545 h 76321"/>
              <a:gd name="csX23" fmla="*/ 273851 w 337008"/>
              <a:gd name="csY23" fmla="*/ 10014 h 76321"/>
              <a:gd name="csX24" fmla="*/ 163935 w 337008"/>
              <a:gd name="csY24" fmla="*/ 20274 h 76321"/>
              <a:gd name="csX25" fmla="*/ 17973 w 337008"/>
              <a:gd name="csY25" fmla="*/ 22950 h 76321"/>
              <a:gd name="csX26" fmla="*/ 7372 w 337008"/>
              <a:gd name="csY26" fmla="*/ 23601 h 76321"/>
              <a:gd name="csX27" fmla="*/ 7372 w 337008"/>
              <a:gd name="csY27" fmla="*/ 67898 h 76321"/>
              <a:gd name="csX28" fmla="*/ 207688 w 337008"/>
              <a:gd name="csY28" fmla="*/ 64284 h 7632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</a:cxnLst>
            <a:rect l="l" t="t" r="r" b="b"/>
            <a:pathLst>
              <a:path w="337008" h="76321">
                <a:moveTo>
                  <a:pt x="297312" y="59188"/>
                </a:moveTo>
                <a:cubicBezTo>
                  <a:pt x="278167" y="61672"/>
                  <a:pt x="260091" y="64212"/>
                  <a:pt x="241991" y="66577"/>
                </a:cubicBezTo>
                <a:cubicBezTo>
                  <a:pt x="223087" y="69047"/>
                  <a:pt x="204161" y="71350"/>
                  <a:pt x="185243" y="73717"/>
                </a:cubicBezTo>
                <a:cubicBezTo>
                  <a:pt x="184433" y="73818"/>
                  <a:pt x="183613" y="73861"/>
                  <a:pt x="182797" y="73873"/>
                </a:cubicBezTo>
                <a:cubicBezTo>
                  <a:pt x="128487" y="74710"/>
                  <a:pt x="74176" y="75556"/>
                  <a:pt x="19866" y="76320"/>
                </a:cubicBezTo>
                <a:cubicBezTo>
                  <a:pt x="17463" y="76354"/>
                  <a:pt x="15013" y="75797"/>
                  <a:pt x="12650" y="75242"/>
                </a:cubicBezTo>
                <a:cubicBezTo>
                  <a:pt x="80" y="72288"/>
                  <a:pt x="58" y="72258"/>
                  <a:pt x="19" y="59006"/>
                </a:cubicBezTo>
                <a:cubicBezTo>
                  <a:pt x="-19" y="45942"/>
                  <a:pt x="11" y="32877"/>
                  <a:pt x="11" y="18266"/>
                </a:cubicBezTo>
                <a:cubicBezTo>
                  <a:pt x="4987" y="17944"/>
                  <a:pt x="9266" y="17435"/>
                  <a:pt x="13547" y="17427"/>
                </a:cubicBezTo>
                <a:cubicBezTo>
                  <a:pt x="45459" y="17362"/>
                  <a:pt x="77385" y="17975"/>
                  <a:pt x="109279" y="17200"/>
                </a:cubicBezTo>
                <a:cubicBezTo>
                  <a:pt x="130782" y="16677"/>
                  <a:pt x="152239" y="14265"/>
                  <a:pt x="173714" y="12645"/>
                </a:cubicBezTo>
                <a:cubicBezTo>
                  <a:pt x="184250" y="11850"/>
                  <a:pt x="194770" y="10836"/>
                  <a:pt x="205309" y="10096"/>
                </a:cubicBezTo>
                <a:cubicBezTo>
                  <a:pt x="218698" y="9156"/>
                  <a:pt x="232139" y="8783"/>
                  <a:pt x="245485" y="7449"/>
                </a:cubicBezTo>
                <a:cubicBezTo>
                  <a:pt x="260017" y="5997"/>
                  <a:pt x="274456" y="3648"/>
                  <a:pt x="288955" y="1844"/>
                </a:cubicBezTo>
                <a:cubicBezTo>
                  <a:pt x="294991" y="1094"/>
                  <a:pt x="301100" y="930"/>
                  <a:pt x="307132" y="164"/>
                </a:cubicBezTo>
                <a:cubicBezTo>
                  <a:pt x="315239" y="-865"/>
                  <a:pt x="320841" y="3022"/>
                  <a:pt x="324030" y="9691"/>
                </a:cubicBezTo>
                <a:cubicBezTo>
                  <a:pt x="328594" y="19236"/>
                  <a:pt x="332712" y="29070"/>
                  <a:pt x="336033" y="39107"/>
                </a:cubicBezTo>
                <a:cubicBezTo>
                  <a:pt x="338557" y="46735"/>
                  <a:pt x="336278" y="50185"/>
                  <a:pt x="328060" y="52413"/>
                </a:cubicBezTo>
                <a:cubicBezTo>
                  <a:pt x="318273" y="55068"/>
                  <a:pt x="308277" y="56950"/>
                  <a:pt x="297312" y="59188"/>
                </a:cubicBezTo>
                <a:moveTo>
                  <a:pt x="207688" y="64284"/>
                </a:moveTo>
                <a:cubicBezTo>
                  <a:pt x="248681" y="60632"/>
                  <a:pt x="289317" y="54812"/>
                  <a:pt x="330050" y="45606"/>
                </a:cubicBezTo>
                <a:cubicBezTo>
                  <a:pt x="327603" y="32443"/>
                  <a:pt x="323777" y="21532"/>
                  <a:pt x="317356" y="11297"/>
                </a:cubicBezTo>
                <a:cubicBezTo>
                  <a:pt x="313908" y="5803"/>
                  <a:pt x="310145" y="4465"/>
                  <a:pt x="304170" y="5545"/>
                </a:cubicBezTo>
                <a:cubicBezTo>
                  <a:pt x="294121" y="7361"/>
                  <a:pt x="284007" y="9006"/>
                  <a:pt x="273851" y="10014"/>
                </a:cubicBezTo>
                <a:cubicBezTo>
                  <a:pt x="237233" y="13650"/>
                  <a:pt x="200632" y="17661"/>
                  <a:pt x="163935" y="20274"/>
                </a:cubicBezTo>
                <a:cubicBezTo>
                  <a:pt x="115360" y="23734"/>
                  <a:pt x="66701" y="25937"/>
                  <a:pt x="17973" y="22950"/>
                </a:cubicBezTo>
                <a:cubicBezTo>
                  <a:pt x="14492" y="22737"/>
                  <a:pt x="10959" y="23361"/>
                  <a:pt x="7372" y="23601"/>
                </a:cubicBezTo>
                <a:cubicBezTo>
                  <a:pt x="7372" y="38609"/>
                  <a:pt x="7372" y="52361"/>
                  <a:pt x="7372" y="67898"/>
                </a:cubicBezTo>
                <a:cubicBezTo>
                  <a:pt x="74001" y="69806"/>
                  <a:pt x="139746" y="71025"/>
                  <a:pt x="207688" y="64284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5" name="Free-form: Shape 64">
            <a:extLst>
              <a:ext uri="{FF2B5EF4-FFF2-40B4-BE49-F238E27FC236}">
                <a16:creationId xmlns:a16="http://schemas.microsoft.com/office/drawing/2014/main" id="{E7991F80-CD63-E770-51D7-61F09FAFDE73}"/>
              </a:ext>
            </a:extLst>
          </p:cNvPr>
          <p:cNvSpPr/>
          <p:nvPr/>
        </p:nvSpPr>
        <p:spPr>
          <a:xfrm>
            <a:off x="4431373" y="2627337"/>
            <a:ext cx="188426" cy="132688"/>
          </a:xfrm>
          <a:custGeom>
            <a:avLst/>
            <a:gdLst>
              <a:gd name="csX0" fmla="*/ 14160 w 303463"/>
              <a:gd name="csY0" fmla="*/ 7889 h 213695"/>
              <a:gd name="csX1" fmla="*/ 195033 w 303463"/>
              <a:gd name="csY1" fmla="*/ 0 h 213695"/>
              <a:gd name="csX2" fmla="*/ 197208 w 303463"/>
              <a:gd name="csY2" fmla="*/ 5635 h 213695"/>
              <a:gd name="csX3" fmla="*/ 227014 w 303463"/>
              <a:gd name="csY3" fmla="*/ 60660 h 213695"/>
              <a:gd name="csX4" fmla="*/ 265823 w 303463"/>
              <a:gd name="csY4" fmla="*/ 98217 h 213695"/>
              <a:gd name="csX5" fmla="*/ 303210 w 303463"/>
              <a:gd name="csY5" fmla="*/ 180358 h 213695"/>
              <a:gd name="csX6" fmla="*/ 303282 w 303463"/>
              <a:gd name="csY6" fmla="*/ 193964 h 213695"/>
              <a:gd name="csX7" fmla="*/ 4971 w 303463"/>
              <a:gd name="csY7" fmla="*/ 213017 h 213695"/>
              <a:gd name="csX8" fmla="*/ 5093 w 303463"/>
              <a:gd name="csY8" fmla="*/ 173484 h 213695"/>
              <a:gd name="csX9" fmla="*/ 4767 w 303463"/>
              <a:gd name="csY9" fmla="*/ 54607 h 213695"/>
              <a:gd name="csX10" fmla="*/ 0 w 303463"/>
              <a:gd name="csY10" fmla="*/ 7887 h 213695"/>
              <a:gd name="csX11" fmla="*/ 14160 w 303463"/>
              <a:gd name="csY11" fmla="*/ 7889 h 21369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303463" h="213695">
                <a:moveTo>
                  <a:pt x="14160" y="7889"/>
                </a:moveTo>
                <a:cubicBezTo>
                  <a:pt x="75371" y="8627"/>
                  <a:pt x="135292" y="5744"/>
                  <a:pt x="195033" y="0"/>
                </a:cubicBezTo>
                <a:cubicBezTo>
                  <a:pt x="196084" y="2662"/>
                  <a:pt x="196986" y="4099"/>
                  <a:pt x="197208" y="5635"/>
                </a:cubicBezTo>
                <a:cubicBezTo>
                  <a:pt x="200391" y="27650"/>
                  <a:pt x="211307" y="45450"/>
                  <a:pt x="227014" y="60660"/>
                </a:cubicBezTo>
                <a:cubicBezTo>
                  <a:pt x="239947" y="73182"/>
                  <a:pt x="253006" y="85577"/>
                  <a:pt x="265823" y="98217"/>
                </a:cubicBezTo>
                <a:cubicBezTo>
                  <a:pt x="288727" y="120806"/>
                  <a:pt x="299071" y="149215"/>
                  <a:pt x="303210" y="180358"/>
                </a:cubicBezTo>
                <a:cubicBezTo>
                  <a:pt x="303735" y="184317"/>
                  <a:pt x="303282" y="188405"/>
                  <a:pt x="303282" y="193964"/>
                </a:cubicBezTo>
                <a:cubicBezTo>
                  <a:pt x="204065" y="208804"/>
                  <a:pt x="105022" y="216044"/>
                  <a:pt x="4971" y="213017"/>
                </a:cubicBezTo>
                <a:cubicBezTo>
                  <a:pt x="4971" y="199268"/>
                  <a:pt x="4314" y="186332"/>
                  <a:pt x="5093" y="173484"/>
                </a:cubicBezTo>
                <a:cubicBezTo>
                  <a:pt x="7497" y="133835"/>
                  <a:pt x="8211" y="94216"/>
                  <a:pt x="4767" y="54607"/>
                </a:cubicBezTo>
                <a:cubicBezTo>
                  <a:pt x="3464" y="39611"/>
                  <a:pt x="1725" y="24653"/>
                  <a:pt x="0" y="7887"/>
                </a:cubicBezTo>
                <a:cubicBezTo>
                  <a:pt x="4390" y="7887"/>
                  <a:pt x="8696" y="7887"/>
                  <a:pt x="14160" y="7889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6" name="Free-form: Shape 65">
            <a:extLst>
              <a:ext uri="{FF2B5EF4-FFF2-40B4-BE49-F238E27FC236}">
                <a16:creationId xmlns:a16="http://schemas.microsoft.com/office/drawing/2014/main" id="{72857E68-5B94-B541-5D79-43B5C9691B28}"/>
              </a:ext>
            </a:extLst>
          </p:cNvPr>
          <p:cNvSpPr/>
          <p:nvPr/>
        </p:nvSpPr>
        <p:spPr>
          <a:xfrm>
            <a:off x="4397611" y="2097581"/>
            <a:ext cx="129814" cy="126299"/>
          </a:xfrm>
          <a:custGeom>
            <a:avLst/>
            <a:gdLst>
              <a:gd name="csX0" fmla="*/ 10475 w 209067"/>
              <a:gd name="csY0" fmla="*/ 41718 h 203406"/>
              <a:gd name="csX1" fmla="*/ 100250 w 209067"/>
              <a:gd name="csY1" fmla="*/ 1265 h 203406"/>
              <a:gd name="csX2" fmla="*/ 206681 w 209067"/>
              <a:gd name="csY2" fmla="*/ 98526 h 203406"/>
              <a:gd name="csX3" fmla="*/ 134647 w 209067"/>
              <a:gd name="csY3" fmla="*/ 202431 h 203406"/>
              <a:gd name="csX4" fmla="*/ 40986 w 209067"/>
              <a:gd name="csY4" fmla="*/ 171438 h 203406"/>
              <a:gd name="csX5" fmla="*/ 143 w 209067"/>
              <a:gd name="csY5" fmla="*/ 85158 h 203406"/>
              <a:gd name="csX6" fmla="*/ 10475 w 209067"/>
              <a:gd name="csY6" fmla="*/ 41718 h 20340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</a:cxnLst>
            <a:rect l="l" t="t" r="r" b="b"/>
            <a:pathLst>
              <a:path w="209067" h="203406">
                <a:moveTo>
                  <a:pt x="10475" y="41718"/>
                </a:moveTo>
                <a:cubicBezTo>
                  <a:pt x="31065" y="6021"/>
                  <a:pt x="63171" y="-3865"/>
                  <a:pt x="100250" y="1265"/>
                </a:cubicBezTo>
                <a:cubicBezTo>
                  <a:pt x="157191" y="9144"/>
                  <a:pt x="196951" y="51394"/>
                  <a:pt x="206681" y="98526"/>
                </a:cubicBezTo>
                <a:cubicBezTo>
                  <a:pt x="219504" y="160635"/>
                  <a:pt x="178523" y="196657"/>
                  <a:pt x="134647" y="202431"/>
                </a:cubicBezTo>
                <a:cubicBezTo>
                  <a:pt x="98365" y="207204"/>
                  <a:pt x="68101" y="194086"/>
                  <a:pt x="40986" y="171438"/>
                </a:cubicBezTo>
                <a:cubicBezTo>
                  <a:pt x="14115" y="148994"/>
                  <a:pt x="2457" y="119007"/>
                  <a:pt x="143" y="85158"/>
                </a:cubicBezTo>
                <a:cubicBezTo>
                  <a:pt x="-869" y="70364"/>
                  <a:pt x="3586" y="56015"/>
                  <a:pt x="10475" y="41718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7" name="Free-form: Shape 66">
            <a:extLst>
              <a:ext uri="{FF2B5EF4-FFF2-40B4-BE49-F238E27FC236}">
                <a16:creationId xmlns:a16="http://schemas.microsoft.com/office/drawing/2014/main" id="{F1C91A90-7213-6C5E-5747-81C8BD8BBAA5}"/>
              </a:ext>
            </a:extLst>
          </p:cNvPr>
          <p:cNvSpPr/>
          <p:nvPr/>
        </p:nvSpPr>
        <p:spPr>
          <a:xfrm>
            <a:off x="4433870" y="2310619"/>
            <a:ext cx="97564" cy="25665"/>
          </a:xfrm>
          <a:custGeom>
            <a:avLst/>
            <a:gdLst>
              <a:gd name="csX0" fmla="*/ 69625 w 157129"/>
              <a:gd name="csY0" fmla="*/ 0 h 41334"/>
              <a:gd name="csX1" fmla="*/ 119596 w 157129"/>
              <a:gd name="csY1" fmla="*/ 1945 h 41334"/>
              <a:gd name="csX2" fmla="*/ 150973 w 157129"/>
              <a:gd name="csY2" fmla="*/ 14889 h 41334"/>
              <a:gd name="csX3" fmla="*/ 151351 w 157129"/>
              <a:gd name="csY3" fmla="*/ 34058 h 41334"/>
              <a:gd name="csX4" fmla="*/ 133492 w 157129"/>
              <a:gd name="csY4" fmla="*/ 40697 h 41334"/>
              <a:gd name="csX5" fmla="*/ 106556 w 157129"/>
              <a:gd name="csY5" fmla="*/ 41092 h 41334"/>
              <a:gd name="csX6" fmla="*/ 13373 w 157129"/>
              <a:gd name="csY6" fmla="*/ 40708 h 41334"/>
              <a:gd name="csX7" fmla="*/ 1312 w 157129"/>
              <a:gd name="csY7" fmla="*/ 40191 h 41334"/>
              <a:gd name="csX8" fmla="*/ 3367 w 157129"/>
              <a:gd name="csY8" fmla="*/ 13162 h 41334"/>
              <a:gd name="csX9" fmla="*/ 20752 w 157129"/>
              <a:gd name="csY9" fmla="*/ 1879 h 41334"/>
              <a:gd name="csX10" fmla="*/ 52625 w 157129"/>
              <a:gd name="csY10" fmla="*/ 1332 h 41334"/>
              <a:gd name="csX11" fmla="*/ 69625 w 157129"/>
              <a:gd name="csY11" fmla="*/ 0 h 4133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157129" h="41334">
                <a:moveTo>
                  <a:pt x="69625" y="0"/>
                </a:moveTo>
                <a:cubicBezTo>
                  <a:pt x="87054" y="491"/>
                  <a:pt x="103407" y="373"/>
                  <a:pt x="119596" y="1945"/>
                </a:cubicBezTo>
                <a:cubicBezTo>
                  <a:pt x="131020" y="3055"/>
                  <a:pt x="141713" y="7767"/>
                  <a:pt x="150973" y="14889"/>
                </a:cubicBezTo>
                <a:cubicBezTo>
                  <a:pt x="158820" y="20925"/>
                  <a:pt x="159403" y="28236"/>
                  <a:pt x="151351" y="34058"/>
                </a:cubicBezTo>
                <a:cubicBezTo>
                  <a:pt x="146355" y="37671"/>
                  <a:pt x="139678" y="39910"/>
                  <a:pt x="133492" y="40697"/>
                </a:cubicBezTo>
                <a:cubicBezTo>
                  <a:pt x="124640" y="41824"/>
                  <a:pt x="115547" y="41120"/>
                  <a:pt x="106556" y="41092"/>
                </a:cubicBezTo>
                <a:cubicBezTo>
                  <a:pt x="75495" y="40996"/>
                  <a:pt x="44434" y="40872"/>
                  <a:pt x="13373" y="40708"/>
                </a:cubicBezTo>
                <a:cubicBezTo>
                  <a:pt x="9391" y="40687"/>
                  <a:pt x="5410" y="40374"/>
                  <a:pt x="1312" y="40191"/>
                </a:cubicBezTo>
                <a:cubicBezTo>
                  <a:pt x="-1416" y="30384"/>
                  <a:pt x="523" y="21512"/>
                  <a:pt x="3367" y="13162"/>
                </a:cubicBezTo>
                <a:cubicBezTo>
                  <a:pt x="5963" y="5538"/>
                  <a:pt x="12701" y="2077"/>
                  <a:pt x="20752" y="1879"/>
                </a:cubicBezTo>
                <a:cubicBezTo>
                  <a:pt x="31375" y="1617"/>
                  <a:pt x="42004" y="1647"/>
                  <a:pt x="52625" y="1332"/>
                </a:cubicBezTo>
                <a:cubicBezTo>
                  <a:pt x="57918" y="1176"/>
                  <a:pt x="63195" y="535"/>
                  <a:pt x="69625" y="0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8" name="Free-form: Shape 67">
            <a:extLst>
              <a:ext uri="{FF2B5EF4-FFF2-40B4-BE49-F238E27FC236}">
                <a16:creationId xmlns:a16="http://schemas.microsoft.com/office/drawing/2014/main" id="{C2FC2B99-85D8-14AA-15AC-C644B85A1B5C}"/>
              </a:ext>
            </a:extLst>
          </p:cNvPr>
          <p:cNvSpPr/>
          <p:nvPr/>
        </p:nvSpPr>
        <p:spPr>
          <a:xfrm>
            <a:off x="4430397" y="2361506"/>
            <a:ext cx="102191" cy="241686"/>
          </a:xfrm>
          <a:custGeom>
            <a:avLst/>
            <a:gdLst>
              <a:gd name="csX0" fmla="*/ 91265 w 164579"/>
              <a:gd name="csY0" fmla="*/ 157878 h 389238"/>
              <a:gd name="csX1" fmla="*/ 112882 w 164579"/>
              <a:gd name="csY1" fmla="*/ 252738 h 389238"/>
              <a:gd name="csX2" fmla="*/ 164579 w 164579"/>
              <a:gd name="csY2" fmla="*/ 389238 h 389238"/>
              <a:gd name="csX3" fmla="*/ 0 w 164579"/>
              <a:gd name="csY3" fmla="*/ 389238 h 389238"/>
              <a:gd name="csX4" fmla="*/ 5184 w 164579"/>
              <a:gd name="csY4" fmla="*/ 260105 h 389238"/>
              <a:gd name="csX5" fmla="*/ 7989 w 164579"/>
              <a:gd name="csY5" fmla="*/ 131182 h 389238"/>
              <a:gd name="csX6" fmla="*/ 8093 w 164579"/>
              <a:gd name="csY6" fmla="*/ 2390 h 389238"/>
              <a:gd name="csX7" fmla="*/ 76429 w 164579"/>
              <a:gd name="csY7" fmla="*/ 1531 h 389238"/>
              <a:gd name="csX8" fmla="*/ 91265 w 164579"/>
              <a:gd name="csY8" fmla="*/ 157878 h 38923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</a:cxnLst>
            <a:rect l="l" t="t" r="r" b="b"/>
            <a:pathLst>
              <a:path w="164579" h="389238">
                <a:moveTo>
                  <a:pt x="91265" y="157878"/>
                </a:moveTo>
                <a:cubicBezTo>
                  <a:pt x="98425" y="190232"/>
                  <a:pt x="104539" y="221785"/>
                  <a:pt x="112882" y="252738"/>
                </a:cubicBezTo>
                <a:cubicBezTo>
                  <a:pt x="125498" y="299549"/>
                  <a:pt x="141482" y="345258"/>
                  <a:pt x="164579" y="389238"/>
                </a:cubicBezTo>
                <a:cubicBezTo>
                  <a:pt x="109753" y="389238"/>
                  <a:pt x="55706" y="389238"/>
                  <a:pt x="0" y="389238"/>
                </a:cubicBezTo>
                <a:cubicBezTo>
                  <a:pt x="1781" y="345633"/>
                  <a:pt x="3844" y="302880"/>
                  <a:pt x="5184" y="260105"/>
                </a:cubicBezTo>
                <a:cubicBezTo>
                  <a:pt x="6529" y="217143"/>
                  <a:pt x="7519" y="174162"/>
                  <a:pt x="7989" y="131182"/>
                </a:cubicBezTo>
                <a:cubicBezTo>
                  <a:pt x="8459" y="88239"/>
                  <a:pt x="8093" y="45287"/>
                  <a:pt x="8093" y="2390"/>
                </a:cubicBezTo>
                <a:cubicBezTo>
                  <a:pt x="17041" y="-288"/>
                  <a:pt x="58537" y="-913"/>
                  <a:pt x="76429" y="1531"/>
                </a:cubicBezTo>
                <a:cubicBezTo>
                  <a:pt x="79287" y="53276"/>
                  <a:pt x="82219" y="105359"/>
                  <a:pt x="91265" y="157878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9" name="Free-form: Shape 68">
            <a:extLst>
              <a:ext uri="{FF2B5EF4-FFF2-40B4-BE49-F238E27FC236}">
                <a16:creationId xmlns:a16="http://schemas.microsoft.com/office/drawing/2014/main" id="{F69844BB-8F41-27FE-9695-975A0935150A}"/>
              </a:ext>
            </a:extLst>
          </p:cNvPr>
          <p:cNvSpPr/>
          <p:nvPr/>
        </p:nvSpPr>
        <p:spPr>
          <a:xfrm>
            <a:off x="4432216" y="2777019"/>
            <a:ext cx="200357" cy="39865"/>
          </a:xfrm>
          <a:custGeom>
            <a:avLst/>
            <a:gdLst>
              <a:gd name="csX0" fmla="*/ 199184 w 322677"/>
              <a:gd name="csY0" fmla="*/ 59136 h 64202"/>
              <a:gd name="csX1" fmla="*/ 0 w 322677"/>
              <a:gd name="csY1" fmla="*/ 62697 h 64202"/>
              <a:gd name="csX2" fmla="*/ 0 w 322677"/>
              <a:gd name="csY2" fmla="*/ 18400 h 64202"/>
              <a:gd name="csX3" fmla="*/ 10601 w 322677"/>
              <a:gd name="csY3" fmla="*/ 17750 h 64202"/>
              <a:gd name="csX4" fmla="*/ 156563 w 322677"/>
              <a:gd name="csY4" fmla="*/ 15074 h 64202"/>
              <a:gd name="csX5" fmla="*/ 266479 w 322677"/>
              <a:gd name="csY5" fmla="*/ 4814 h 64202"/>
              <a:gd name="csX6" fmla="*/ 296798 w 322677"/>
              <a:gd name="csY6" fmla="*/ 344 h 64202"/>
              <a:gd name="csX7" fmla="*/ 309983 w 322677"/>
              <a:gd name="csY7" fmla="*/ 6097 h 64202"/>
              <a:gd name="csX8" fmla="*/ 322678 w 322677"/>
              <a:gd name="csY8" fmla="*/ 40406 h 64202"/>
              <a:gd name="csX9" fmla="*/ 199184 w 322677"/>
              <a:gd name="csY9" fmla="*/ 59136 h 6420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322677" h="64202">
                <a:moveTo>
                  <a:pt x="199184" y="59136"/>
                </a:moveTo>
                <a:cubicBezTo>
                  <a:pt x="132374" y="65824"/>
                  <a:pt x="66629" y="64605"/>
                  <a:pt x="0" y="62697"/>
                </a:cubicBezTo>
                <a:cubicBezTo>
                  <a:pt x="0" y="47160"/>
                  <a:pt x="0" y="33409"/>
                  <a:pt x="0" y="18400"/>
                </a:cubicBezTo>
                <a:cubicBezTo>
                  <a:pt x="3587" y="18160"/>
                  <a:pt x="7120" y="17536"/>
                  <a:pt x="10601" y="17750"/>
                </a:cubicBezTo>
                <a:cubicBezTo>
                  <a:pt x="59329" y="20736"/>
                  <a:pt x="107987" y="18533"/>
                  <a:pt x="156563" y="15074"/>
                </a:cubicBezTo>
                <a:cubicBezTo>
                  <a:pt x="193260" y="12461"/>
                  <a:pt x="229860" y="8449"/>
                  <a:pt x="266479" y="4814"/>
                </a:cubicBezTo>
                <a:cubicBezTo>
                  <a:pt x="276635" y="3806"/>
                  <a:pt x="286748" y="2160"/>
                  <a:pt x="296798" y="344"/>
                </a:cubicBezTo>
                <a:cubicBezTo>
                  <a:pt x="302773" y="-735"/>
                  <a:pt x="306536" y="602"/>
                  <a:pt x="309983" y="6097"/>
                </a:cubicBezTo>
                <a:cubicBezTo>
                  <a:pt x="316405" y="16331"/>
                  <a:pt x="320231" y="27243"/>
                  <a:pt x="322678" y="40406"/>
                </a:cubicBezTo>
                <a:cubicBezTo>
                  <a:pt x="281944" y="49611"/>
                  <a:pt x="241309" y="55431"/>
                  <a:pt x="199184" y="59136"/>
                </a:cubicBezTo>
                <a:close/>
              </a:path>
            </a:pathLst>
          </a:custGeom>
          <a:solidFill>
            <a:schemeClr val="bg1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5B07EEF2-05FB-7E55-6FE0-485F10B5D2D5}"/>
              </a:ext>
            </a:extLst>
          </p:cNvPr>
          <p:cNvSpPr txBox="1"/>
          <p:nvPr/>
        </p:nvSpPr>
        <p:spPr>
          <a:xfrm>
            <a:off x="4024208" y="2831201"/>
            <a:ext cx="863983" cy="3927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-</a:t>
            </a:r>
            <a:r>
              <a: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HAOx</a:t>
            </a: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20161110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8" name="Rectangle: Rounded Corners 317">
            <a:extLst>
              <a:ext uri="{FF2B5EF4-FFF2-40B4-BE49-F238E27FC236}">
                <a16:creationId xmlns:a16="http://schemas.microsoft.com/office/drawing/2014/main" id="{21BBE596-B6AE-B084-575D-4F0FAAD0DAFF}"/>
              </a:ext>
            </a:extLst>
          </p:cNvPr>
          <p:cNvSpPr/>
          <p:nvPr/>
        </p:nvSpPr>
        <p:spPr>
          <a:xfrm>
            <a:off x="469900" y="1321594"/>
            <a:ext cx="2128838" cy="3306101"/>
          </a:xfrm>
          <a:prstGeom prst="roundRect">
            <a:avLst>
              <a:gd name="adj" fmla="val 8126"/>
            </a:avLst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B952E57-4841-3CBB-F103-96036EAD78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0" y="311150"/>
            <a:ext cx="10317269" cy="930910"/>
          </a:xfrm>
        </p:spPr>
        <p:txBody>
          <a:bodyPr/>
          <a:lstStyle/>
          <a:p>
            <a:r>
              <a:rPr lang="en-GB">
                <a:latin typeface="+mn-lt"/>
              </a:rPr>
              <a:t>How to choose our next move?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9E9487D-9E31-DEEA-ED1B-F1D498C0612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70645" y="6287923"/>
            <a:ext cx="10440000" cy="432027"/>
          </a:xfrm>
        </p:spPr>
        <p:txBody>
          <a:bodyPr/>
          <a:lstStyle/>
          <a:p>
            <a:r>
              <a:rPr lang="en-GB"/>
              <a:t>CHOP, cyclophosphamide, doxorubicin, vincristine and prednisone; </a:t>
            </a:r>
            <a:r>
              <a:rPr lang="en-GB" err="1"/>
              <a:t>DHAOx</a:t>
            </a:r>
            <a:r>
              <a:rPr lang="en-GB"/>
              <a:t>, dexamethasone, high-dose cytarabine and oxaliplatin; R, rituximab.</a:t>
            </a:r>
          </a:p>
          <a:p>
            <a:r>
              <a:rPr lang="en-GB"/>
              <a:t>Patient case provided by Prof. Enrico </a:t>
            </a:r>
            <a:r>
              <a:rPr lang="en-GB" err="1"/>
              <a:t>Derenzini</a:t>
            </a:r>
            <a:r>
              <a:rPr lang="en-GB"/>
              <a:t>.</a:t>
            </a:r>
          </a:p>
        </p:txBody>
      </p:sp>
      <p:sp>
        <p:nvSpPr>
          <p:cNvPr id="276" name="Oval 275">
            <a:extLst>
              <a:ext uri="{FF2B5EF4-FFF2-40B4-BE49-F238E27FC236}">
                <a16:creationId xmlns:a16="http://schemas.microsoft.com/office/drawing/2014/main" id="{16E59201-C941-1539-FA37-6C36F4C8366F}"/>
              </a:ext>
            </a:extLst>
          </p:cNvPr>
          <p:cNvSpPr/>
          <p:nvPr/>
        </p:nvSpPr>
        <p:spPr>
          <a:xfrm>
            <a:off x="1204662" y="4071076"/>
            <a:ext cx="593138" cy="104135"/>
          </a:xfrm>
          <a:prstGeom prst="ellipse">
            <a:avLst/>
          </a:prstGeom>
          <a:solidFill>
            <a:schemeClr val="tx1">
              <a:alpha val="6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77" name="Free-form: Shape 276">
            <a:extLst>
              <a:ext uri="{FF2B5EF4-FFF2-40B4-BE49-F238E27FC236}">
                <a16:creationId xmlns:a16="http://schemas.microsoft.com/office/drawing/2014/main" id="{5C328462-417B-DE73-B3FA-922A2F9FCAC3}"/>
              </a:ext>
            </a:extLst>
          </p:cNvPr>
          <p:cNvSpPr/>
          <p:nvPr/>
        </p:nvSpPr>
        <p:spPr>
          <a:xfrm>
            <a:off x="1303328" y="3390425"/>
            <a:ext cx="433137" cy="770022"/>
          </a:xfrm>
          <a:custGeom>
            <a:avLst/>
            <a:gdLst>
              <a:gd name="csX0" fmla="*/ 581793 w 697572"/>
              <a:gd name="csY0" fmla="*/ 1234401 h 1240128"/>
              <a:gd name="csX1" fmla="*/ 577427 w 697572"/>
              <a:gd name="csY1" fmla="*/ 1234156 h 1240128"/>
              <a:gd name="csX2" fmla="*/ 559133 w 697572"/>
              <a:gd name="csY2" fmla="*/ 1230909 h 1240128"/>
              <a:gd name="csX3" fmla="*/ 516706 w 697572"/>
              <a:gd name="csY3" fmla="*/ 1235117 h 1240128"/>
              <a:gd name="csX4" fmla="*/ 475244 w 697572"/>
              <a:gd name="csY4" fmla="*/ 1237506 h 1240128"/>
              <a:gd name="csX5" fmla="*/ 371154 w 697572"/>
              <a:gd name="csY5" fmla="*/ 1239428 h 1240128"/>
              <a:gd name="csX6" fmla="*/ 276813 w 697572"/>
              <a:gd name="csY6" fmla="*/ 1237654 h 1240128"/>
              <a:gd name="csX7" fmla="*/ 268212 w 697572"/>
              <a:gd name="csY7" fmla="*/ 1237635 h 1240128"/>
              <a:gd name="csX8" fmla="*/ 262072 w 697572"/>
              <a:gd name="csY8" fmla="*/ 1237523 h 1240128"/>
              <a:gd name="csX9" fmla="*/ 195111 w 697572"/>
              <a:gd name="csY9" fmla="*/ 1232775 h 1240128"/>
              <a:gd name="csX10" fmla="*/ 145060 w 697572"/>
              <a:gd name="csY10" fmla="*/ 1230076 h 1240128"/>
              <a:gd name="csX11" fmla="*/ 114933 w 697572"/>
              <a:gd name="csY11" fmla="*/ 1225832 h 1240128"/>
              <a:gd name="csX12" fmla="*/ 72642 w 697572"/>
              <a:gd name="csY12" fmla="*/ 1220237 h 1240128"/>
              <a:gd name="csX13" fmla="*/ 10894 w 697572"/>
              <a:gd name="csY13" fmla="*/ 1205737 h 1240128"/>
              <a:gd name="csX14" fmla="*/ 5856 w 697572"/>
              <a:gd name="csY14" fmla="*/ 1202799 h 1240128"/>
              <a:gd name="csX15" fmla="*/ 40 w 697572"/>
              <a:gd name="csY15" fmla="*/ 1174450 h 1240128"/>
              <a:gd name="csX16" fmla="*/ 19831 w 697572"/>
              <a:gd name="csY16" fmla="*/ 1118410 h 1240128"/>
              <a:gd name="csX17" fmla="*/ 22004 w 697572"/>
              <a:gd name="csY17" fmla="*/ 1107240 h 1240128"/>
              <a:gd name="csX18" fmla="*/ 25947 w 697572"/>
              <a:gd name="csY18" fmla="*/ 1038650 h 1240128"/>
              <a:gd name="csX19" fmla="*/ 58234 w 697572"/>
              <a:gd name="csY19" fmla="*/ 988567 h 1240128"/>
              <a:gd name="csX20" fmla="*/ 118645 w 697572"/>
              <a:gd name="csY20" fmla="*/ 928298 h 1240128"/>
              <a:gd name="csX21" fmla="*/ 126320 w 697572"/>
              <a:gd name="csY21" fmla="*/ 892015 h 1240128"/>
              <a:gd name="csX22" fmla="*/ 120345 w 697572"/>
              <a:gd name="csY22" fmla="*/ 872258 h 1240128"/>
              <a:gd name="csX23" fmla="*/ 125668 w 697572"/>
              <a:gd name="csY23" fmla="*/ 861640 h 1240128"/>
              <a:gd name="csX24" fmla="*/ 154237 w 697572"/>
              <a:gd name="csY24" fmla="*/ 850716 h 1240128"/>
              <a:gd name="csX25" fmla="*/ 170248 w 697572"/>
              <a:gd name="csY25" fmla="*/ 836767 h 1240128"/>
              <a:gd name="csX26" fmla="*/ 187840 w 697572"/>
              <a:gd name="csY26" fmla="*/ 796341 h 1240128"/>
              <a:gd name="csX27" fmla="*/ 209346 w 697572"/>
              <a:gd name="csY27" fmla="*/ 743126 h 1240128"/>
              <a:gd name="csX28" fmla="*/ 210630 w 697572"/>
              <a:gd name="csY28" fmla="*/ 737219 h 1240128"/>
              <a:gd name="csX29" fmla="*/ 213836 w 697572"/>
              <a:gd name="csY29" fmla="*/ 720505 h 1240128"/>
              <a:gd name="csX30" fmla="*/ 227791 w 697572"/>
              <a:gd name="csY30" fmla="*/ 667353 h 1240128"/>
              <a:gd name="csX31" fmla="*/ 241013 w 697572"/>
              <a:gd name="csY31" fmla="*/ 599151 h 1240128"/>
              <a:gd name="csX32" fmla="*/ 247322 w 697572"/>
              <a:gd name="csY32" fmla="*/ 542242 h 1240128"/>
              <a:gd name="csX33" fmla="*/ 247948 w 697572"/>
              <a:gd name="csY33" fmla="*/ 499296 h 1240128"/>
              <a:gd name="csX34" fmla="*/ 247577 w 697572"/>
              <a:gd name="csY34" fmla="*/ 470384 h 1240128"/>
              <a:gd name="csX35" fmla="*/ 238877 w 697572"/>
              <a:gd name="csY35" fmla="*/ 460987 h 1240128"/>
              <a:gd name="csX36" fmla="*/ 222040 w 697572"/>
              <a:gd name="csY36" fmla="*/ 458353 h 1240128"/>
              <a:gd name="csX37" fmla="*/ 172193 w 697572"/>
              <a:gd name="csY37" fmla="*/ 433714 h 1240128"/>
              <a:gd name="csX38" fmla="*/ 168410 w 697572"/>
              <a:gd name="csY38" fmla="*/ 396591 h 1240128"/>
              <a:gd name="csX39" fmla="*/ 209826 w 697572"/>
              <a:gd name="csY39" fmla="*/ 367773 h 1240128"/>
              <a:gd name="csX40" fmla="*/ 250732 w 697572"/>
              <a:gd name="csY40" fmla="*/ 355208 h 1240128"/>
              <a:gd name="csX41" fmla="*/ 258289 w 697572"/>
              <a:gd name="csY41" fmla="*/ 350426 h 1240128"/>
              <a:gd name="csX42" fmla="*/ 233274 w 697572"/>
              <a:gd name="csY42" fmla="*/ 333513 h 1240128"/>
              <a:gd name="csX43" fmla="*/ 229677 w 697572"/>
              <a:gd name="csY43" fmla="*/ 333922 h 1240128"/>
              <a:gd name="csX44" fmla="*/ 230149 w 697572"/>
              <a:gd name="csY44" fmla="*/ 332979 h 1240128"/>
              <a:gd name="csX45" fmla="*/ 227053 w 697572"/>
              <a:gd name="csY45" fmla="*/ 327076 h 1240128"/>
              <a:gd name="csX46" fmla="*/ 196769 w 697572"/>
              <a:gd name="csY46" fmla="*/ 291380 h 1240128"/>
              <a:gd name="csX47" fmla="*/ 184389 w 697572"/>
              <a:gd name="csY47" fmla="*/ 264042 h 1240128"/>
              <a:gd name="csX48" fmla="*/ 180630 w 697572"/>
              <a:gd name="csY48" fmla="*/ 257839 h 1240128"/>
              <a:gd name="csX49" fmla="*/ 176231 w 697572"/>
              <a:gd name="csY49" fmla="*/ 250643 h 1240128"/>
              <a:gd name="csX50" fmla="*/ 170073 w 697572"/>
              <a:gd name="csY50" fmla="*/ 146723 h 1240128"/>
              <a:gd name="csX51" fmla="*/ 180929 w 697572"/>
              <a:gd name="csY51" fmla="*/ 114280 h 1240128"/>
              <a:gd name="csX52" fmla="*/ 180839 w 697572"/>
              <a:gd name="csY52" fmla="*/ 101501 h 1240128"/>
              <a:gd name="csX53" fmla="*/ 233536 w 697572"/>
              <a:gd name="csY53" fmla="*/ 39653 h 1240128"/>
              <a:gd name="csX54" fmla="*/ 347618 w 697572"/>
              <a:gd name="csY54" fmla="*/ 35 h 1240128"/>
              <a:gd name="csX55" fmla="*/ 437139 w 697572"/>
              <a:gd name="csY55" fmla="*/ 22396 h 1240128"/>
              <a:gd name="csX56" fmla="*/ 529052 w 697572"/>
              <a:gd name="csY56" fmla="*/ 131093 h 1240128"/>
              <a:gd name="csX57" fmla="*/ 518497 w 697572"/>
              <a:gd name="csY57" fmla="*/ 271517 h 1240128"/>
              <a:gd name="csX58" fmla="*/ 500808 w 697572"/>
              <a:gd name="csY58" fmla="*/ 287385 h 1240128"/>
              <a:gd name="csX59" fmla="*/ 472948 w 697572"/>
              <a:gd name="csY59" fmla="*/ 323290 h 1240128"/>
              <a:gd name="csX60" fmla="*/ 469385 w 697572"/>
              <a:gd name="csY60" fmla="*/ 331565 h 1240128"/>
              <a:gd name="csX61" fmla="*/ 468293 w 697572"/>
              <a:gd name="csY61" fmla="*/ 331320 h 1240128"/>
              <a:gd name="csX62" fmla="*/ 459542 w 697572"/>
              <a:gd name="csY62" fmla="*/ 338942 h 1240128"/>
              <a:gd name="csX63" fmla="*/ 458492 w 697572"/>
              <a:gd name="csY63" fmla="*/ 338671 h 1240128"/>
              <a:gd name="csX64" fmla="*/ 436978 w 697572"/>
              <a:gd name="csY64" fmla="*/ 352226 h 1240128"/>
              <a:gd name="csX65" fmla="*/ 472329 w 697572"/>
              <a:gd name="csY65" fmla="*/ 362890 h 1240128"/>
              <a:gd name="csX66" fmla="*/ 523779 w 697572"/>
              <a:gd name="csY66" fmla="*/ 391962 h 1240128"/>
              <a:gd name="csX67" fmla="*/ 527344 w 697572"/>
              <a:gd name="csY67" fmla="*/ 430096 h 1240128"/>
              <a:gd name="csX68" fmla="*/ 504112 w 697572"/>
              <a:gd name="csY68" fmla="*/ 449628 h 1240128"/>
              <a:gd name="csX69" fmla="*/ 459430 w 697572"/>
              <a:gd name="csY69" fmla="*/ 461116 h 1240128"/>
              <a:gd name="csX70" fmla="*/ 446666 w 697572"/>
              <a:gd name="csY70" fmla="*/ 474229 h 1240128"/>
              <a:gd name="csX71" fmla="*/ 449133 w 697572"/>
              <a:gd name="csY71" fmla="*/ 531639 h 1240128"/>
              <a:gd name="csX72" fmla="*/ 454546 w 697572"/>
              <a:gd name="csY72" fmla="*/ 588688 h 1240128"/>
              <a:gd name="csX73" fmla="*/ 466126 w 697572"/>
              <a:gd name="csY73" fmla="*/ 649736 h 1240128"/>
              <a:gd name="csX74" fmla="*/ 512154 w 697572"/>
              <a:gd name="csY74" fmla="*/ 794006 h 1240128"/>
              <a:gd name="csX75" fmla="*/ 525763 w 697572"/>
              <a:gd name="csY75" fmla="*/ 834323 h 1240128"/>
              <a:gd name="csX76" fmla="*/ 530555 w 697572"/>
              <a:gd name="csY76" fmla="*/ 845114 h 1240128"/>
              <a:gd name="csX77" fmla="*/ 554424 w 697572"/>
              <a:gd name="csY77" fmla="*/ 856618 h 1240128"/>
              <a:gd name="csX78" fmla="*/ 572880 w 697572"/>
              <a:gd name="csY78" fmla="*/ 862546 h 1240128"/>
              <a:gd name="csX79" fmla="*/ 578643 w 697572"/>
              <a:gd name="csY79" fmla="*/ 880396 h 1240128"/>
              <a:gd name="csX80" fmla="*/ 572188 w 697572"/>
              <a:gd name="csY80" fmla="*/ 899820 h 1240128"/>
              <a:gd name="csX81" fmla="*/ 582698 w 697572"/>
              <a:gd name="csY81" fmla="*/ 930382 h 1240128"/>
              <a:gd name="csX82" fmla="*/ 604747 w 697572"/>
              <a:gd name="csY82" fmla="*/ 960852 h 1240128"/>
              <a:gd name="csX83" fmla="*/ 613863 w 697572"/>
              <a:gd name="csY83" fmla="*/ 968311 h 1240128"/>
              <a:gd name="csX84" fmla="*/ 629435 w 697572"/>
              <a:gd name="csY84" fmla="*/ 981186 h 1240128"/>
              <a:gd name="csX85" fmla="*/ 633611 w 697572"/>
              <a:gd name="csY85" fmla="*/ 985609 h 1240128"/>
              <a:gd name="csX86" fmla="*/ 673790 w 697572"/>
              <a:gd name="csY86" fmla="*/ 1049348 h 1240128"/>
              <a:gd name="csX87" fmla="*/ 675873 w 697572"/>
              <a:gd name="csY87" fmla="*/ 1092839 h 1240128"/>
              <a:gd name="csX88" fmla="*/ 681668 w 697572"/>
              <a:gd name="csY88" fmla="*/ 1129292 h 1240128"/>
              <a:gd name="csX89" fmla="*/ 697338 w 697572"/>
              <a:gd name="csY89" fmla="*/ 1196079 h 1240128"/>
              <a:gd name="csX90" fmla="*/ 690637 w 697572"/>
              <a:gd name="csY90" fmla="*/ 1205035 h 1240128"/>
              <a:gd name="csX91" fmla="*/ 639777 w 697572"/>
              <a:gd name="csY91" fmla="*/ 1217994 h 1240128"/>
              <a:gd name="csX92" fmla="*/ 587072 w 697572"/>
              <a:gd name="csY92" fmla="*/ 1227761 h 1240128"/>
              <a:gd name="csX93" fmla="*/ 581793 w 697572"/>
              <a:gd name="csY93" fmla="*/ 1234401 h 1240128"/>
              <a:gd name="csX94" fmla="*/ 357446 w 697572"/>
              <a:gd name="csY94" fmla="*/ 903795 h 1240128"/>
              <a:gd name="csX95" fmla="*/ 344445 w 697572"/>
              <a:gd name="csY95" fmla="*/ 903795 h 1240128"/>
              <a:gd name="csX96" fmla="*/ 349212 w 697572"/>
              <a:gd name="csY96" fmla="*/ 950515 h 1240128"/>
              <a:gd name="csX97" fmla="*/ 349538 w 697572"/>
              <a:gd name="csY97" fmla="*/ 1069392 h 1240128"/>
              <a:gd name="csX98" fmla="*/ 349415 w 697572"/>
              <a:gd name="csY98" fmla="*/ 1108925 h 1240128"/>
              <a:gd name="csX99" fmla="*/ 647726 w 697572"/>
              <a:gd name="csY99" fmla="*/ 1089872 h 1240128"/>
              <a:gd name="csX100" fmla="*/ 647654 w 697572"/>
              <a:gd name="csY100" fmla="*/ 1076267 h 1240128"/>
              <a:gd name="csX101" fmla="*/ 610267 w 697572"/>
              <a:gd name="csY101" fmla="*/ 994126 h 1240128"/>
              <a:gd name="csX102" fmla="*/ 571459 w 697572"/>
              <a:gd name="csY102" fmla="*/ 956568 h 1240128"/>
              <a:gd name="csX103" fmla="*/ 541653 w 697572"/>
              <a:gd name="csY103" fmla="*/ 901544 h 1240128"/>
              <a:gd name="csX104" fmla="*/ 539477 w 697572"/>
              <a:gd name="csY104" fmla="*/ 895908 h 1240128"/>
              <a:gd name="csX105" fmla="*/ 357446 w 697572"/>
              <a:gd name="csY105" fmla="*/ 903795 h 1240128"/>
              <a:gd name="csX106" fmla="*/ 300108 w 697572"/>
              <a:gd name="csY106" fmla="*/ 85260 h 1240128"/>
              <a:gd name="csX107" fmla="*/ 290213 w 697572"/>
              <a:gd name="csY107" fmla="*/ 127888 h 1240128"/>
              <a:gd name="csX108" fmla="*/ 331056 w 697572"/>
              <a:gd name="csY108" fmla="*/ 214168 h 1240128"/>
              <a:gd name="csX109" fmla="*/ 424717 w 697572"/>
              <a:gd name="csY109" fmla="*/ 245160 h 1240128"/>
              <a:gd name="csX110" fmla="*/ 496752 w 697572"/>
              <a:gd name="csY110" fmla="*/ 141256 h 1240128"/>
              <a:gd name="csX111" fmla="*/ 390320 w 697572"/>
              <a:gd name="csY111" fmla="*/ 43995 h 1240128"/>
              <a:gd name="csX112" fmla="*/ 300108 w 697572"/>
              <a:gd name="csY112" fmla="*/ 85260 h 1240128"/>
              <a:gd name="csX113" fmla="*/ 343360 w 697572"/>
              <a:gd name="csY113" fmla="*/ 634332 h 1240128"/>
              <a:gd name="csX114" fmla="*/ 340877 w 697572"/>
              <a:gd name="csY114" fmla="*/ 732259 h 1240128"/>
              <a:gd name="csX115" fmla="*/ 338360 w 697572"/>
              <a:gd name="csY115" fmla="*/ 810538 h 1240128"/>
              <a:gd name="csX116" fmla="*/ 337115 w 697572"/>
              <a:gd name="csY116" fmla="*/ 817736 h 1240128"/>
              <a:gd name="csX117" fmla="*/ 336516 w 697572"/>
              <a:gd name="csY117" fmla="*/ 863022 h 1240128"/>
              <a:gd name="csX118" fmla="*/ 343436 w 697572"/>
              <a:gd name="csY118" fmla="*/ 864027 h 1240128"/>
              <a:gd name="csX119" fmla="*/ 406718 w 697572"/>
              <a:gd name="csY119" fmla="*/ 862982 h 1240128"/>
              <a:gd name="csX120" fmla="*/ 456888 w 697572"/>
              <a:gd name="csY120" fmla="*/ 861794 h 1240128"/>
              <a:gd name="csX121" fmla="*/ 495873 w 697572"/>
              <a:gd name="csY121" fmla="*/ 863963 h 1240128"/>
              <a:gd name="csX122" fmla="*/ 509286 w 697572"/>
              <a:gd name="csY122" fmla="*/ 863595 h 1240128"/>
              <a:gd name="csX123" fmla="*/ 516956 w 697572"/>
              <a:gd name="csY123" fmla="*/ 856791 h 1240128"/>
              <a:gd name="csX124" fmla="*/ 513920 w 697572"/>
              <a:gd name="csY124" fmla="*/ 848709 h 1240128"/>
              <a:gd name="csX125" fmla="*/ 506683 w 697572"/>
              <a:gd name="csY125" fmla="*/ 839054 h 1240128"/>
              <a:gd name="csX126" fmla="*/ 488629 w 697572"/>
              <a:gd name="csY126" fmla="*/ 799037 h 1240128"/>
              <a:gd name="csX127" fmla="*/ 456922 w 697572"/>
              <a:gd name="csY127" fmla="*/ 696297 h 1240128"/>
              <a:gd name="csX128" fmla="*/ 441346 w 697572"/>
              <a:gd name="csY128" fmla="*/ 619885 h 1240128"/>
              <a:gd name="csX129" fmla="*/ 435963 w 697572"/>
              <a:gd name="csY129" fmla="*/ 582529 h 1240128"/>
              <a:gd name="csX130" fmla="*/ 429497 w 697572"/>
              <a:gd name="csY130" fmla="*/ 521990 h 1240128"/>
              <a:gd name="csX131" fmla="*/ 426887 w 697572"/>
              <a:gd name="csY131" fmla="*/ 471989 h 1240128"/>
              <a:gd name="csX132" fmla="*/ 413744 w 697572"/>
              <a:gd name="csY132" fmla="*/ 461077 h 1240128"/>
              <a:gd name="csX133" fmla="*/ 353573 w 697572"/>
              <a:gd name="csY133" fmla="*/ 461120 h 1240128"/>
              <a:gd name="csX134" fmla="*/ 344160 w 697572"/>
              <a:gd name="csY134" fmla="*/ 462286 h 1240128"/>
              <a:gd name="csX135" fmla="*/ 343404 w 697572"/>
              <a:gd name="csY135" fmla="*/ 469192 h 1240128"/>
              <a:gd name="csX136" fmla="*/ 343469 w 697572"/>
              <a:gd name="csY136" fmla="*/ 574797 h 1240128"/>
              <a:gd name="csX137" fmla="*/ 345522 w 697572"/>
              <a:gd name="csY137" fmla="*/ 591669 h 1240128"/>
              <a:gd name="csX138" fmla="*/ 343360 w 697572"/>
              <a:gd name="csY138" fmla="*/ 634332 h 1240128"/>
              <a:gd name="csX139" fmla="*/ 416946 w 697572"/>
              <a:gd name="csY139" fmla="*/ 385943 h 1240128"/>
              <a:gd name="csX140" fmla="*/ 401091 w 697572"/>
              <a:gd name="csY140" fmla="*/ 387162 h 1240128"/>
              <a:gd name="csX141" fmla="*/ 369218 w 697572"/>
              <a:gd name="csY141" fmla="*/ 387708 h 1240128"/>
              <a:gd name="csX142" fmla="*/ 351833 w 697572"/>
              <a:gd name="csY142" fmla="*/ 398991 h 1240128"/>
              <a:gd name="csX143" fmla="*/ 349778 w 697572"/>
              <a:gd name="csY143" fmla="*/ 426021 h 1240128"/>
              <a:gd name="csX144" fmla="*/ 361839 w 697572"/>
              <a:gd name="csY144" fmla="*/ 426538 h 1240128"/>
              <a:gd name="csX145" fmla="*/ 455022 w 697572"/>
              <a:gd name="csY145" fmla="*/ 426922 h 1240128"/>
              <a:gd name="csX146" fmla="*/ 481958 w 697572"/>
              <a:gd name="csY146" fmla="*/ 426527 h 1240128"/>
              <a:gd name="csX147" fmla="*/ 499817 w 697572"/>
              <a:gd name="csY147" fmla="*/ 419888 h 1240128"/>
              <a:gd name="csX148" fmla="*/ 499439 w 697572"/>
              <a:gd name="csY148" fmla="*/ 400719 h 1240128"/>
              <a:gd name="csX149" fmla="*/ 468062 w 697572"/>
              <a:gd name="csY149" fmla="*/ 387775 h 1240128"/>
              <a:gd name="csX150" fmla="*/ 416946 w 697572"/>
              <a:gd name="csY150" fmla="*/ 385943 h 1240128"/>
              <a:gd name="csX151" fmla="*/ 636802 w 697572"/>
              <a:gd name="csY151" fmla="*/ 1190940 h 1240128"/>
              <a:gd name="csX152" fmla="*/ 666492 w 697572"/>
              <a:gd name="csY152" fmla="*/ 1184186 h 1240128"/>
              <a:gd name="csX153" fmla="*/ 674465 w 697572"/>
              <a:gd name="csY153" fmla="*/ 1170880 h 1240128"/>
              <a:gd name="csX154" fmla="*/ 662462 w 697572"/>
              <a:gd name="csY154" fmla="*/ 1141464 h 1240128"/>
              <a:gd name="csX155" fmla="*/ 645564 w 697572"/>
              <a:gd name="csY155" fmla="*/ 1131937 h 1240128"/>
              <a:gd name="csX156" fmla="*/ 627387 w 697572"/>
              <a:gd name="csY156" fmla="*/ 1133618 h 1240128"/>
              <a:gd name="csX157" fmla="*/ 583917 w 697572"/>
              <a:gd name="csY157" fmla="*/ 1139222 h 1240128"/>
              <a:gd name="csX158" fmla="*/ 543741 w 697572"/>
              <a:gd name="csY158" fmla="*/ 1141869 h 1240128"/>
              <a:gd name="csX159" fmla="*/ 512146 w 697572"/>
              <a:gd name="csY159" fmla="*/ 1144418 h 1240128"/>
              <a:gd name="csX160" fmla="*/ 447711 w 697572"/>
              <a:gd name="csY160" fmla="*/ 1148973 h 1240128"/>
              <a:gd name="csX161" fmla="*/ 351979 w 697572"/>
              <a:gd name="csY161" fmla="*/ 1149200 h 1240128"/>
              <a:gd name="csX162" fmla="*/ 338443 w 697572"/>
              <a:gd name="csY162" fmla="*/ 1150040 h 1240128"/>
              <a:gd name="csX163" fmla="*/ 338451 w 697572"/>
              <a:gd name="csY163" fmla="*/ 1190780 h 1240128"/>
              <a:gd name="csX164" fmla="*/ 351082 w 697572"/>
              <a:gd name="csY164" fmla="*/ 1207015 h 1240128"/>
              <a:gd name="csX165" fmla="*/ 358298 w 697572"/>
              <a:gd name="csY165" fmla="*/ 1208094 h 1240128"/>
              <a:gd name="csX166" fmla="*/ 521229 w 697572"/>
              <a:gd name="csY166" fmla="*/ 1205646 h 1240128"/>
              <a:gd name="csX167" fmla="*/ 523675 w 697572"/>
              <a:gd name="csY167" fmla="*/ 1205490 h 1240128"/>
              <a:gd name="csX168" fmla="*/ 580423 w 697572"/>
              <a:gd name="csY168" fmla="*/ 1198350 h 1240128"/>
              <a:gd name="csX169" fmla="*/ 636802 w 697572"/>
              <a:gd name="csY169" fmla="*/ 1190940 h 124012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</a:cxnLst>
            <a:rect l="l" t="t" r="r" b="b"/>
            <a:pathLst>
              <a:path w="697572" h="1240128">
                <a:moveTo>
                  <a:pt x="581793" y="1234401"/>
                </a:moveTo>
                <a:cubicBezTo>
                  <a:pt x="580693" y="1234661"/>
                  <a:pt x="579594" y="1234922"/>
                  <a:pt x="577427" y="1234156"/>
                </a:cubicBezTo>
                <a:cubicBezTo>
                  <a:pt x="571216" y="1227899"/>
                  <a:pt x="564912" y="1230441"/>
                  <a:pt x="559133" y="1230909"/>
                </a:cubicBezTo>
                <a:cubicBezTo>
                  <a:pt x="544971" y="1232056"/>
                  <a:pt x="530869" y="1233971"/>
                  <a:pt x="516706" y="1235117"/>
                </a:cubicBezTo>
                <a:cubicBezTo>
                  <a:pt x="502910" y="1236232"/>
                  <a:pt x="489077" y="1237097"/>
                  <a:pt x="475244" y="1237506"/>
                </a:cubicBezTo>
                <a:cubicBezTo>
                  <a:pt x="440539" y="1238535"/>
                  <a:pt x="405696" y="1241458"/>
                  <a:pt x="371154" y="1239428"/>
                </a:cubicBezTo>
                <a:cubicBezTo>
                  <a:pt x="339645" y="1237575"/>
                  <a:pt x="308239" y="1238753"/>
                  <a:pt x="276813" y="1237654"/>
                </a:cubicBezTo>
                <a:cubicBezTo>
                  <a:pt x="273949" y="1237553"/>
                  <a:pt x="271079" y="1237652"/>
                  <a:pt x="268212" y="1237635"/>
                </a:cubicBezTo>
                <a:cubicBezTo>
                  <a:pt x="266165" y="1237623"/>
                  <a:pt x="264111" y="1237668"/>
                  <a:pt x="262072" y="1237523"/>
                </a:cubicBezTo>
                <a:cubicBezTo>
                  <a:pt x="239751" y="1235944"/>
                  <a:pt x="217441" y="1234201"/>
                  <a:pt x="195111" y="1232775"/>
                </a:cubicBezTo>
                <a:cubicBezTo>
                  <a:pt x="178437" y="1231710"/>
                  <a:pt x="161712" y="1231378"/>
                  <a:pt x="145060" y="1230076"/>
                </a:cubicBezTo>
                <a:cubicBezTo>
                  <a:pt x="134969" y="1229287"/>
                  <a:pt x="124987" y="1227177"/>
                  <a:pt x="114933" y="1225832"/>
                </a:cubicBezTo>
                <a:cubicBezTo>
                  <a:pt x="100834" y="1223946"/>
                  <a:pt x="86554" y="1223022"/>
                  <a:pt x="72642" y="1220237"/>
                </a:cubicBezTo>
                <a:cubicBezTo>
                  <a:pt x="51920" y="1216091"/>
                  <a:pt x="31443" y="1210723"/>
                  <a:pt x="10894" y="1205737"/>
                </a:cubicBezTo>
                <a:cubicBezTo>
                  <a:pt x="9027" y="1205284"/>
                  <a:pt x="6196" y="1204140"/>
                  <a:pt x="5856" y="1202799"/>
                </a:cubicBezTo>
                <a:cubicBezTo>
                  <a:pt x="3474" y="1193418"/>
                  <a:pt x="-438" y="1183796"/>
                  <a:pt x="40" y="1174450"/>
                </a:cubicBezTo>
                <a:cubicBezTo>
                  <a:pt x="1079" y="1154149"/>
                  <a:pt x="9757" y="1135843"/>
                  <a:pt x="19831" y="1118410"/>
                </a:cubicBezTo>
                <a:cubicBezTo>
                  <a:pt x="21968" y="1114713"/>
                  <a:pt x="22970" y="1111858"/>
                  <a:pt x="22004" y="1107240"/>
                </a:cubicBezTo>
                <a:cubicBezTo>
                  <a:pt x="17168" y="1084118"/>
                  <a:pt x="17717" y="1061168"/>
                  <a:pt x="25947" y="1038650"/>
                </a:cubicBezTo>
                <a:cubicBezTo>
                  <a:pt x="32954" y="1019481"/>
                  <a:pt x="44478" y="1003118"/>
                  <a:pt x="58234" y="988567"/>
                </a:cubicBezTo>
                <a:cubicBezTo>
                  <a:pt x="77769" y="967902"/>
                  <a:pt x="97978" y="947832"/>
                  <a:pt x="118645" y="928298"/>
                </a:cubicBezTo>
                <a:cubicBezTo>
                  <a:pt x="130104" y="917467"/>
                  <a:pt x="131835" y="905961"/>
                  <a:pt x="126320" y="892015"/>
                </a:cubicBezTo>
                <a:cubicBezTo>
                  <a:pt x="123798" y="885637"/>
                  <a:pt x="122123" y="878904"/>
                  <a:pt x="120345" y="872258"/>
                </a:cubicBezTo>
                <a:cubicBezTo>
                  <a:pt x="119029" y="867341"/>
                  <a:pt x="120162" y="863613"/>
                  <a:pt x="125668" y="861640"/>
                </a:cubicBezTo>
                <a:cubicBezTo>
                  <a:pt x="135266" y="858201"/>
                  <a:pt x="144535" y="853788"/>
                  <a:pt x="154237" y="850716"/>
                </a:cubicBezTo>
                <a:cubicBezTo>
                  <a:pt x="161882" y="848296"/>
                  <a:pt x="167110" y="843897"/>
                  <a:pt x="170248" y="836767"/>
                </a:cubicBezTo>
                <a:cubicBezTo>
                  <a:pt x="176168" y="823316"/>
                  <a:pt x="182193" y="809907"/>
                  <a:pt x="187840" y="796341"/>
                </a:cubicBezTo>
                <a:cubicBezTo>
                  <a:pt x="195194" y="778679"/>
                  <a:pt x="202250" y="760894"/>
                  <a:pt x="209346" y="743126"/>
                </a:cubicBezTo>
                <a:cubicBezTo>
                  <a:pt x="210083" y="741280"/>
                  <a:pt x="210252" y="739200"/>
                  <a:pt x="210630" y="737219"/>
                </a:cubicBezTo>
                <a:cubicBezTo>
                  <a:pt x="211694" y="731645"/>
                  <a:pt x="212425" y="725987"/>
                  <a:pt x="213836" y="720505"/>
                </a:cubicBezTo>
                <a:cubicBezTo>
                  <a:pt x="218406" y="702764"/>
                  <a:pt x="223811" y="685219"/>
                  <a:pt x="227791" y="667353"/>
                </a:cubicBezTo>
                <a:cubicBezTo>
                  <a:pt x="232826" y="644755"/>
                  <a:pt x="237367" y="622009"/>
                  <a:pt x="241013" y="599151"/>
                </a:cubicBezTo>
                <a:cubicBezTo>
                  <a:pt x="244018" y="580319"/>
                  <a:pt x="246001" y="561272"/>
                  <a:pt x="247322" y="542242"/>
                </a:cubicBezTo>
                <a:cubicBezTo>
                  <a:pt x="248312" y="527975"/>
                  <a:pt x="246344" y="513451"/>
                  <a:pt x="247948" y="499296"/>
                </a:cubicBezTo>
                <a:cubicBezTo>
                  <a:pt x="249066" y="489432"/>
                  <a:pt x="247923" y="480014"/>
                  <a:pt x="247577" y="470384"/>
                </a:cubicBezTo>
                <a:cubicBezTo>
                  <a:pt x="247364" y="464453"/>
                  <a:pt x="245121" y="461397"/>
                  <a:pt x="238877" y="460987"/>
                </a:cubicBezTo>
                <a:cubicBezTo>
                  <a:pt x="233224" y="460615"/>
                  <a:pt x="227461" y="459920"/>
                  <a:pt x="222040" y="458353"/>
                </a:cubicBezTo>
                <a:cubicBezTo>
                  <a:pt x="203991" y="453134"/>
                  <a:pt x="185737" y="448229"/>
                  <a:pt x="172193" y="433714"/>
                </a:cubicBezTo>
                <a:cubicBezTo>
                  <a:pt x="162702" y="423544"/>
                  <a:pt x="160887" y="408134"/>
                  <a:pt x="168410" y="396591"/>
                </a:cubicBezTo>
                <a:cubicBezTo>
                  <a:pt x="178294" y="381428"/>
                  <a:pt x="193736" y="373793"/>
                  <a:pt x="209826" y="367773"/>
                </a:cubicBezTo>
                <a:cubicBezTo>
                  <a:pt x="223159" y="362784"/>
                  <a:pt x="237124" y="359493"/>
                  <a:pt x="250732" y="355208"/>
                </a:cubicBezTo>
                <a:cubicBezTo>
                  <a:pt x="253085" y="354467"/>
                  <a:pt x="255058" y="352518"/>
                  <a:pt x="258289" y="350426"/>
                </a:cubicBezTo>
                <a:cubicBezTo>
                  <a:pt x="250173" y="342610"/>
                  <a:pt x="241833" y="337880"/>
                  <a:pt x="233274" y="333513"/>
                </a:cubicBezTo>
                <a:cubicBezTo>
                  <a:pt x="232377" y="333055"/>
                  <a:pt x="230890" y="333758"/>
                  <a:pt x="229677" y="333922"/>
                </a:cubicBezTo>
                <a:cubicBezTo>
                  <a:pt x="229677" y="333922"/>
                  <a:pt x="230323" y="333834"/>
                  <a:pt x="230149" y="332979"/>
                </a:cubicBezTo>
                <a:cubicBezTo>
                  <a:pt x="229023" y="330409"/>
                  <a:pt x="228502" y="328059"/>
                  <a:pt x="227053" y="327076"/>
                </a:cubicBezTo>
                <a:cubicBezTo>
                  <a:pt x="213615" y="317962"/>
                  <a:pt x="204643" y="305332"/>
                  <a:pt x="196769" y="291380"/>
                </a:cubicBezTo>
                <a:cubicBezTo>
                  <a:pt x="191792" y="282564"/>
                  <a:pt x="185421" y="274665"/>
                  <a:pt x="184389" y="264042"/>
                </a:cubicBezTo>
                <a:cubicBezTo>
                  <a:pt x="184179" y="261874"/>
                  <a:pt x="181925" y="259908"/>
                  <a:pt x="180630" y="257839"/>
                </a:cubicBezTo>
                <a:cubicBezTo>
                  <a:pt x="179137" y="255454"/>
                  <a:pt x="177317" y="253204"/>
                  <a:pt x="176231" y="250643"/>
                </a:cubicBezTo>
                <a:cubicBezTo>
                  <a:pt x="161865" y="216749"/>
                  <a:pt x="159606" y="182060"/>
                  <a:pt x="170073" y="146723"/>
                </a:cubicBezTo>
                <a:cubicBezTo>
                  <a:pt x="173311" y="135795"/>
                  <a:pt x="177248" y="125074"/>
                  <a:pt x="180929" y="114280"/>
                </a:cubicBezTo>
                <a:cubicBezTo>
                  <a:pt x="182396" y="109981"/>
                  <a:pt x="183922" y="105742"/>
                  <a:pt x="180839" y="101501"/>
                </a:cubicBezTo>
                <a:cubicBezTo>
                  <a:pt x="192473" y="75833"/>
                  <a:pt x="211344" y="56271"/>
                  <a:pt x="233536" y="39653"/>
                </a:cubicBezTo>
                <a:cubicBezTo>
                  <a:pt x="267321" y="14353"/>
                  <a:pt x="305621" y="873"/>
                  <a:pt x="347618" y="35"/>
                </a:cubicBezTo>
                <a:cubicBezTo>
                  <a:pt x="379125" y="-593"/>
                  <a:pt x="409214" y="7172"/>
                  <a:pt x="437139" y="22396"/>
                </a:cubicBezTo>
                <a:cubicBezTo>
                  <a:pt x="481844" y="46766"/>
                  <a:pt x="514077" y="82116"/>
                  <a:pt x="529052" y="131093"/>
                </a:cubicBezTo>
                <a:cubicBezTo>
                  <a:pt x="543544" y="178495"/>
                  <a:pt x="541630" y="225548"/>
                  <a:pt x="518497" y="271517"/>
                </a:cubicBezTo>
                <a:cubicBezTo>
                  <a:pt x="511428" y="277096"/>
                  <a:pt x="503848" y="281136"/>
                  <a:pt x="500808" y="287385"/>
                </a:cubicBezTo>
                <a:cubicBezTo>
                  <a:pt x="493932" y="301522"/>
                  <a:pt x="483805" y="312513"/>
                  <a:pt x="472948" y="323290"/>
                </a:cubicBezTo>
                <a:cubicBezTo>
                  <a:pt x="470972" y="325253"/>
                  <a:pt x="470533" y="328767"/>
                  <a:pt x="469385" y="331565"/>
                </a:cubicBezTo>
                <a:cubicBezTo>
                  <a:pt x="469385" y="331565"/>
                  <a:pt x="469172" y="331584"/>
                  <a:pt x="468293" y="331320"/>
                </a:cubicBezTo>
                <a:cubicBezTo>
                  <a:pt x="461937" y="330836"/>
                  <a:pt x="458618" y="332772"/>
                  <a:pt x="459542" y="338942"/>
                </a:cubicBezTo>
                <a:cubicBezTo>
                  <a:pt x="459542" y="338942"/>
                  <a:pt x="459473" y="338913"/>
                  <a:pt x="458492" y="338671"/>
                </a:cubicBezTo>
                <a:cubicBezTo>
                  <a:pt x="450936" y="342653"/>
                  <a:pt x="440712" y="341355"/>
                  <a:pt x="436978" y="352226"/>
                </a:cubicBezTo>
                <a:cubicBezTo>
                  <a:pt x="449178" y="355911"/>
                  <a:pt x="460733" y="359469"/>
                  <a:pt x="472329" y="362890"/>
                </a:cubicBezTo>
                <a:cubicBezTo>
                  <a:pt x="491728" y="368613"/>
                  <a:pt x="510182" y="375784"/>
                  <a:pt x="523779" y="391962"/>
                </a:cubicBezTo>
                <a:cubicBezTo>
                  <a:pt x="535849" y="406326"/>
                  <a:pt x="534845" y="420076"/>
                  <a:pt x="527344" y="430096"/>
                </a:cubicBezTo>
                <a:cubicBezTo>
                  <a:pt x="521323" y="438139"/>
                  <a:pt x="513928" y="445333"/>
                  <a:pt x="504112" y="449628"/>
                </a:cubicBezTo>
                <a:cubicBezTo>
                  <a:pt x="489776" y="455901"/>
                  <a:pt x="475173" y="460486"/>
                  <a:pt x="459430" y="461116"/>
                </a:cubicBezTo>
                <a:cubicBezTo>
                  <a:pt x="448415" y="461557"/>
                  <a:pt x="446384" y="463369"/>
                  <a:pt x="446666" y="474229"/>
                </a:cubicBezTo>
                <a:cubicBezTo>
                  <a:pt x="447164" y="493376"/>
                  <a:pt x="447839" y="512533"/>
                  <a:pt x="449133" y="531639"/>
                </a:cubicBezTo>
                <a:cubicBezTo>
                  <a:pt x="450424" y="550696"/>
                  <a:pt x="451783" y="569809"/>
                  <a:pt x="454546" y="588688"/>
                </a:cubicBezTo>
                <a:cubicBezTo>
                  <a:pt x="457543" y="609164"/>
                  <a:pt x="462165" y="629403"/>
                  <a:pt x="466126" y="649736"/>
                </a:cubicBezTo>
                <a:cubicBezTo>
                  <a:pt x="475845" y="699621"/>
                  <a:pt x="493414" y="746980"/>
                  <a:pt x="512154" y="794006"/>
                </a:cubicBezTo>
                <a:cubicBezTo>
                  <a:pt x="517387" y="807138"/>
                  <a:pt x="525145" y="819463"/>
                  <a:pt x="525763" y="834323"/>
                </a:cubicBezTo>
                <a:cubicBezTo>
                  <a:pt x="525919" y="838081"/>
                  <a:pt x="527739" y="843335"/>
                  <a:pt x="530555" y="845114"/>
                </a:cubicBezTo>
                <a:cubicBezTo>
                  <a:pt x="537981" y="849801"/>
                  <a:pt x="546243" y="853278"/>
                  <a:pt x="554424" y="856618"/>
                </a:cubicBezTo>
                <a:cubicBezTo>
                  <a:pt x="560391" y="859054"/>
                  <a:pt x="567041" y="859887"/>
                  <a:pt x="572880" y="862546"/>
                </a:cubicBezTo>
                <a:cubicBezTo>
                  <a:pt x="581470" y="866458"/>
                  <a:pt x="582467" y="871415"/>
                  <a:pt x="578643" y="880396"/>
                </a:cubicBezTo>
                <a:cubicBezTo>
                  <a:pt x="575969" y="886677"/>
                  <a:pt x="572900" y="893182"/>
                  <a:pt x="572188" y="899820"/>
                </a:cubicBezTo>
                <a:cubicBezTo>
                  <a:pt x="570960" y="911271"/>
                  <a:pt x="576506" y="920944"/>
                  <a:pt x="582698" y="930382"/>
                </a:cubicBezTo>
                <a:cubicBezTo>
                  <a:pt x="589569" y="940856"/>
                  <a:pt x="600933" y="947930"/>
                  <a:pt x="604747" y="960852"/>
                </a:cubicBezTo>
                <a:cubicBezTo>
                  <a:pt x="605684" y="964030"/>
                  <a:pt x="610294" y="967128"/>
                  <a:pt x="613863" y="968311"/>
                </a:cubicBezTo>
                <a:cubicBezTo>
                  <a:pt x="620963" y="970665"/>
                  <a:pt x="625924" y="974774"/>
                  <a:pt x="629435" y="981186"/>
                </a:cubicBezTo>
                <a:cubicBezTo>
                  <a:pt x="630381" y="982913"/>
                  <a:pt x="631977" y="984459"/>
                  <a:pt x="633611" y="985609"/>
                </a:cubicBezTo>
                <a:cubicBezTo>
                  <a:pt x="655878" y="1001272"/>
                  <a:pt x="668032" y="1023762"/>
                  <a:pt x="673790" y="1049348"/>
                </a:cubicBezTo>
                <a:cubicBezTo>
                  <a:pt x="676936" y="1063327"/>
                  <a:pt x="679769" y="1077802"/>
                  <a:pt x="675873" y="1092839"/>
                </a:cubicBezTo>
                <a:cubicBezTo>
                  <a:pt x="672677" y="1105174"/>
                  <a:pt x="673042" y="1116963"/>
                  <a:pt x="681668" y="1129292"/>
                </a:cubicBezTo>
                <a:cubicBezTo>
                  <a:pt x="695321" y="1148802"/>
                  <a:pt x="698550" y="1172235"/>
                  <a:pt x="697338" y="1196079"/>
                </a:cubicBezTo>
                <a:cubicBezTo>
                  <a:pt x="697087" y="1201014"/>
                  <a:pt x="694979" y="1203886"/>
                  <a:pt x="690637" y="1205035"/>
                </a:cubicBezTo>
                <a:cubicBezTo>
                  <a:pt x="673723" y="1209511"/>
                  <a:pt x="656856" y="1214241"/>
                  <a:pt x="639777" y="1217994"/>
                </a:cubicBezTo>
                <a:cubicBezTo>
                  <a:pt x="622334" y="1221827"/>
                  <a:pt x="604691" y="1224790"/>
                  <a:pt x="587072" y="1227761"/>
                </a:cubicBezTo>
                <a:cubicBezTo>
                  <a:pt x="582708" y="1228497"/>
                  <a:pt x="581724" y="1230736"/>
                  <a:pt x="581793" y="1234401"/>
                </a:cubicBezTo>
                <a:moveTo>
                  <a:pt x="357446" y="903795"/>
                </a:moveTo>
                <a:cubicBezTo>
                  <a:pt x="353141" y="903795"/>
                  <a:pt x="348835" y="903795"/>
                  <a:pt x="344445" y="903795"/>
                </a:cubicBezTo>
                <a:cubicBezTo>
                  <a:pt x="346169" y="920562"/>
                  <a:pt x="347908" y="935520"/>
                  <a:pt x="349212" y="950515"/>
                </a:cubicBezTo>
                <a:cubicBezTo>
                  <a:pt x="352656" y="990125"/>
                  <a:pt x="351941" y="1029743"/>
                  <a:pt x="349538" y="1069392"/>
                </a:cubicBezTo>
                <a:cubicBezTo>
                  <a:pt x="348759" y="1082241"/>
                  <a:pt x="349415" y="1095176"/>
                  <a:pt x="349415" y="1108925"/>
                </a:cubicBezTo>
                <a:cubicBezTo>
                  <a:pt x="449467" y="1111953"/>
                  <a:pt x="548509" y="1104712"/>
                  <a:pt x="647726" y="1089872"/>
                </a:cubicBezTo>
                <a:cubicBezTo>
                  <a:pt x="647726" y="1084313"/>
                  <a:pt x="648180" y="1080225"/>
                  <a:pt x="647654" y="1076267"/>
                </a:cubicBezTo>
                <a:cubicBezTo>
                  <a:pt x="643515" y="1045124"/>
                  <a:pt x="633172" y="1016714"/>
                  <a:pt x="610267" y="994126"/>
                </a:cubicBezTo>
                <a:cubicBezTo>
                  <a:pt x="597451" y="981485"/>
                  <a:pt x="584392" y="969090"/>
                  <a:pt x="571459" y="956568"/>
                </a:cubicBezTo>
                <a:cubicBezTo>
                  <a:pt x="555751" y="941359"/>
                  <a:pt x="544836" y="923558"/>
                  <a:pt x="541653" y="901544"/>
                </a:cubicBezTo>
                <a:cubicBezTo>
                  <a:pt x="541430" y="900007"/>
                  <a:pt x="540528" y="898570"/>
                  <a:pt x="539477" y="895908"/>
                </a:cubicBezTo>
                <a:cubicBezTo>
                  <a:pt x="479736" y="901652"/>
                  <a:pt x="419815" y="904536"/>
                  <a:pt x="357446" y="903795"/>
                </a:cubicBezTo>
                <a:moveTo>
                  <a:pt x="300108" y="85260"/>
                </a:moveTo>
                <a:cubicBezTo>
                  <a:pt x="293656" y="98745"/>
                  <a:pt x="289202" y="113094"/>
                  <a:pt x="290213" y="127888"/>
                </a:cubicBezTo>
                <a:cubicBezTo>
                  <a:pt x="292527" y="161736"/>
                  <a:pt x="304185" y="191723"/>
                  <a:pt x="331056" y="214168"/>
                </a:cubicBezTo>
                <a:cubicBezTo>
                  <a:pt x="358172" y="236816"/>
                  <a:pt x="388435" y="249934"/>
                  <a:pt x="424717" y="245160"/>
                </a:cubicBezTo>
                <a:cubicBezTo>
                  <a:pt x="468593" y="239387"/>
                  <a:pt x="509574" y="203365"/>
                  <a:pt x="496752" y="141256"/>
                </a:cubicBezTo>
                <a:cubicBezTo>
                  <a:pt x="487021" y="94124"/>
                  <a:pt x="447261" y="51874"/>
                  <a:pt x="390320" y="43995"/>
                </a:cubicBezTo>
                <a:cubicBezTo>
                  <a:pt x="353241" y="38865"/>
                  <a:pt x="321136" y="48750"/>
                  <a:pt x="300108" y="85260"/>
                </a:cubicBezTo>
                <a:moveTo>
                  <a:pt x="343360" y="634332"/>
                </a:moveTo>
                <a:cubicBezTo>
                  <a:pt x="342539" y="666975"/>
                  <a:pt x="341785" y="699619"/>
                  <a:pt x="340877" y="732259"/>
                </a:cubicBezTo>
                <a:cubicBezTo>
                  <a:pt x="340151" y="758355"/>
                  <a:pt x="339265" y="784447"/>
                  <a:pt x="338360" y="810538"/>
                </a:cubicBezTo>
                <a:cubicBezTo>
                  <a:pt x="338277" y="812948"/>
                  <a:pt x="337465" y="815325"/>
                  <a:pt x="337115" y="817736"/>
                </a:cubicBezTo>
                <a:cubicBezTo>
                  <a:pt x="334935" y="832710"/>
                  <a:pt x="336026" y="847647"/>
                  <a:pt x="336516" y="863022"/>
                </a:cubicBezTo>
                <a:cubicBezTo>
                  <a:pt x="339537" y="863479"/>
                  <a:pt x="341490" y="864053"/>
                  <a:pt x="343436" y="864027"/>
                </a:cubicBezTo>
                <a:cubicBezTo>
                  <a:pt x="364531" y="863739"/>
                  <a:pt x="385626" y="863422"/>
                  <a:pt x="406718" y="862982"/>
                </a:cubicBezTo>
                <a:cubicBezTo>
                  <a:pt x="423444" y="862634"/>
                  <a:pt x="440168" y="861675"/>
                  <a:pt x="456888" y="861794"/>
                </a:cubicBezTo>
                <a:cubicBezTo>
                  <a:pt x="469887" y="861886"/>
                  <a:pt x="482872" y="863302"/>
                  <a:pt x="495873" y="863963"/>
                </a:cubicBezTo>
                <a:cubicBezTo>
                  <a:pt x="500358" y="864191"/>
                  <a:pt x="505108" y="864773"/>
                  <a:pt x="509286" y="863595"/>
                </a:cubicBezTo>
                <a:cubicBezTo>
                  <a:pt x="512346" y="862732"/>
                  <a:pt x="515714" y="859703"/>
                  <a:pt x="516956" y="856791"/>
                </a:cubicBezTo>
                <a:cubicBezTo>
                  <a:pt x="517783" y="854851"/>
                  <a:pt x="515475" y="851192"/>
                  <a:pt x="513920" y="848709"/>
                </a:cubicBezTo>
                <a:cubicBezTo>
                  <a:pt x="511791" y="845308"/>
                  <a:pt x="508393" y="842606"/>
                  <a:pt x="506683" y="839054"/>
                </a:cubicBezTo>
                <a:cubicBezTo>
                  <a:pt x="500331" y="825864"/>
                  <a:pt x="493224" y="812855"/>
                  <a:pt x="488629" y="799037"/>
                </a:cubicBezTo>
                <a:cubicBezTo>
                  <a:pt x="477322" y="765031"/>
                  <a:pt x="466537" y="730814"/>
                  <a:pt x="456922" y="696297"/>
                </a:cubicBezTo>
                <a:cubicBezTo>
                  <a:pt x="449953" y="671276"/>
                  <a:pt x="443477" y="646020"/>
                  <a:pt x="441346" y="619885"/>
                </a:cubicBezTo>
                <a:cubicBezTo>
                  <a:pt x="440327" y="607371"/>
                  <a:pt x="437466" y="595018"/>
                  <a:pt x="435963" y="582529"/>
                </a:cubicBezTo>
                <a:cubicBezTo>
                  <a:pt x="433539" y="562380"/>
                  <a:pt x="431154" y="542212"/>
                  <a:pt x="429497" y="521990"/>
                </a:cubicBezTo>
                <a:cubicBezTo>
                  <a:pt x="428135" y="505363"/>
                  <a:pt x="428437" y="488593"/>
                  <a:pt x="426887" y="471989"/>
                </a:cubicBezTo>
                <a:cubicBezTo>
                  <a:pt x="425874" y="461140"/>
                  <a:pt x="424983" y="461120"/>
                  <a:pt x="413744" y="461077"/>
                </a:cubicBezTo>
                <a:cubicBezTo>
                  <a:pt x="393687" y="461000"/>
                  <a:pt x="373630" y="461011"/>
                  <a:pt x="353573" y="461120"/>
                </a:cubicBezTo>
                <a:cubicBezTo>
                  <a:pt x="350472" y="461137"/>
                  <a:pt x="347374" y="461869"/>
                  <a:pt x="344160" y="462286"/>
                </a:cubicBezTo>
                <a:cubicBezTo>
                  <a:pt x="343828" y="465198"/>
                  <a:pt x="343406" y="467195"/>
                  <a:pt x="343404" y="469192"/>
                </a:cubicBezTo>
                <a:cubicBezTo>
                  <a:pt x="343360" y="504394"/>
                  <a:pt x="343267" y="539596"/>
                  <a:pt x="343469" y="574797"/>
                </a:cubicBezTo>
                <a:cubicBezTo>
                  <a:pt x="343501" y="580426"/>
                  <a:pt x="345652" y="586065"/>
                  <a:pt x="345522" y="591669"/>
                </a:cubicBezTo>
                <a:cubicBezTo>
                  <a:pt x="345214" y="605082"/>
                  <a:pt x="344131" y="618478"/>
                  <a:pt x="343360" y="634332"/>
                </a:cubicBezTo>
                <a:moveTo>
                  <a:pt x="416946" y="385943"/>
                </a:moveTo>
                <a:cubicBezTo>
                  <a:pt x="411661" y="386365"/>
                  <a:pt x="406384" y="387006"/>
                  <a:pt x="401091" y="387162"/>
                </a:cubicBezTo>
                <a:cubicBezTo>
                  <a:pt x="390470" y="387477"/>
                  <a:pt x="379841" y="387447"/>
                  <a:pt x="369218" y="387708"/>
                </a:cubicBezTo>
                <a:cubicBezTo>
                  <a:pt x="361167" y="387906"/>
                  <a:pt x="354429" y="391368"/>
                  <a:pt x="351833" y="398991"/>
                </a:cubicBezTo>
                <a:cubicBezTo>
                  <a:pt x="348989" y="407342"/>
                  <a:pt x="347050" y="416214"/>
                  <a:pt x="349778" y="426021"/>
                </a:cubicBezTo>
                <a:cubicBezTo>
                  <a:pt x="353876" y="426204"/>
                  <a:pt x="357857" y="426517"/>
                  <a:pt x="361839" y="426538"/>
                </a:cubicBezTo>
                <a:cubicBezTo>
                  <a:pt x="392900" y="426701"/>
                  <a:pt x="423961" y="426826"/>
                  <a:pt x="455022" y="426922"/>
                </a:cubicBezTo>
                <a:cubicBezTo>
                  <a:pt x="464013" y="426950"/>
                  <a:pt x="473106" y="427654"/>
                  <a:pt x="481958" y="426527"/>
                </a:cubicBezTo>
                <a:cubicBezTo>
                  <a:pt x="488144" y="425740"/>
                  <a:pt x="494821" y="423501"/>
                  <a:pt x="499817" y="419888"/>
                </a:cubicBezTo>
                <a:cubicBezTo>
                  <a:pt x="507869" y="414066"/>
                  <a:pt x="507286" y="406755"/>
                  <a:pt x="499439" y="400719"/>
                </a:cubicBezTo>
                <a:cubicBezTo>
                  <a:pt x="490179" y="393597"/>
                  <a:pt x="479486" y="388885"/>
                  <a:pt x="468062" y="387775"/>
                </a:cubicBezTo>
                <a:cubicBezTo>
                  <a:pt x="451873" y="386202"/>
                  <a:pt x="435520" y="386321"/>
                  <a:pt x="416946" y="385943"/>
                </a:cubicBezTo>
                <a:moveTo>
                  <a:pt x="636802" y="1190940"/>
                </a:moveTo>
                <a:cubicBezTo>
                  <a:pt x="646709" y="1188723"/>
                  <a:pt x="656705" y="1186841"/>
                  <a:pt x="666492" y="1184186"/>
                </a:cubicBezTo>
                <a:cubicBezTo>
                  <a:pt x="674710" y="1181958"/>
                  <a:pt x="676989" y="1178509"/>
                  <a:pt x="674465" y="1170880"/>
                </a:cubicBezTo>
                <a:cubicBezTo>
                  <a:pt x="671144" y="1160843"/>
                  <a:pt x="667026" y="1151009"/>
                  <a:pt x="662462" y="1141464"/>
                </a:cubicBezTo>
                <a:cubicBezTo>
                  <a:pt x="659273" y="1134795"/>
                  <a:pt x="653671" y="1130908"/>
                  <a:pt x="645564" y="1131937"/>
                </a:cubicBezTo>
                <a:cubicBezTo>
                  <a:pt x="639532" y="1132703"/>
                  <a:pt x="633423" y="1132867"/>
                  <a:pt x="627387" y="1133618"/>
                </a:cubicBezTo>
                <a:cubicBezTo>
                  <a:pt x="612888" y="1135421"/>
                  <a:pt x="598449" y="1137770"/>
                  <a:pt x="583917" y="1139222"/>
                </a:cubicBezTo>
                <a:cubicBezTo>
                  <a:pt x="570571" y="1140557"/>
                  <a:pt x="557130" y="1140930"/>
                  <a:pt x="543741" y="1141869"/>
                </a:cubicBezTo>
                <a:cubicBezTo>
                  <a:pt x="533202" y="1142610"/>
                  <a:pt x="522682" y="1143623"/>
                  <a:pt x="512146" y="1144418"/>
                </a:cubicBezTo>
                <a:cubicBezTo>
                  <a:pt x="490671" y="1146038"/>
                  <a:pt x="469214" y="1148450"/>
                  <a:pt x="447711" y="1148973"/>
                </a:cubicBezTo>
                <a:cubicBezTo>
                  <a:pt x="415817" y="1149749"/>
                  <a:pt x="383891" y="1149136"/>
                  <a:pt x="351979" y="1149200"/>
                </a:cubicBezTo>
                <a:cubicBezTo>
                  <a:pt x="347698" y="1149209"/>
                  <a:pt x="343419" y="1149717"/>
                  <a:pt x="338443" y="1150040"/>
                </a:cubicBezTo>
                <a:cubicBezTo>
                  <a:pt x="338443" y="1164651"/>
                  <a:pt x="338413" y="1177715"/>
                  <a:pt x="338451" y="1190780"/>
                </a:cubicBezTo>
                <a:cubicBezTo>
                  <a:pt x="338490" y="1204031"/>
                  <a:pt x="338512" y="1204062"/>
                  <a:pt x="351082" y="1207015"/>
                </a:cubicBezTo>
                <a:cubicBezTo>
                  <a:pt x="353445" y="1207570"/>
                  <a:pt x="355895" y="1208128"/>
                  <a:pt x="358298" y="1208094"/>
                </a:cubicBezTo>
                <a:cubicBezTo>
                  <a:pt x="412608" y="1207329"/>
                  <a:pt x="466919" y="1206484"/>
                  <a:pt x="521229" y="1205646"/>
                </a:cubicBezTo>
                <a:cubicBezTo>
                  <a:pt x="522045" y="1205634"/>
                  <a:pt x="522865" y="1205591"/>
                  <a:pt x="523675" y="1205490"/>
                </a:cubicBezTo>
                <a:cubicBezTo>
                  <a:pt x="542593" y="1203123"/>
                  <a:pt x="561519" y="1200820"/>
                  <a:pt x="580423" y="1198350"/>
                </a:cubicBezTo>
                <a:cubicBezTo>
                  <a:pt x="598523" y="1195985"/>
                  <a:pt x="616599" y="1193446"/>
                  <a:pt x="636802" y="1190940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78" name="Free-form: Shape 277">
            <a:extLst>
              <a:ext uri="{FF2B5EF4-FFF2-40B4-BE49-F238E27FC236}">
                <a16:creationId xmlns:a16="http://schemas.microsoft.com/office/drawing/2014/main" id="{CBB88FD6-6AF2-6D54-A300-30A59F6EA4B8}"/>
              </a:ext>
            </a:extLst>
          </p:cNvPr>
          <p:cNvSpPr/>
          <p:nvPr/>
        </p:nvSpPr>
        <p:spPr>
          <a:xfrm>
            <a:off x="1555236" y="4161863"/>
            <a:ext cx="17183" cy="1817"/>
          </a:xfrm>
          <a:custGeom>
            <a:avLst/>
            <a:gdLst>
              <a:gd name="csX0" fmla="*/ 0 w 27674"/>
              <a:gd name="csY0" fmla="*/ 2915 h 2925"/>
              <a:gd name="csX1" fmla="*/ 27675 w 27674"/>
              <a:gd name="csY1" fmla="*/ 1550 h 2925"/>
              <a:gd name="csX2" fmla="*/ 0 w 27674"/>
              <a:gd name="csY2" fmla="*/ 2915 h 292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27674" h="2925">
                <a:moveTo>
                  <a:pt x="0" y="2915"/>
                </a:moveTo>
                <a:cubicBezTo>
                  <a:pt x="8211" y="-1939"/>
                  <a:pt x="17625" y="498"/>
                  <a:pt x="27675" y="1550"/>
                </a:cubicBezTo>
                <a:cubicBezTo>
                  <a:pt x="19225" y="2593"/>
                  <a:pt x="10029" y="2999"/>
                  <a:pt x="0" y="2915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79" name="Free-form: Shape 278">
            <a:extLst>
              <a:ext uri="{FF2B5EF4-FFF2-40B4-BE49-F238E27FC236}">
                <a16:creationId xmlns:a16="http://schemas.microsoft.com/office/drawing/2014/main" id="{1092E5FD-2E23-D147-9F1B-AC62599AC1AC}"/>
              </a:ext>
            </a:extLst>
          </p:cNvPr>
          <p:cNvSpPr/>
          <p:nvPr/>
        </p:nvSpPr>
        <p:spPr>
          <a:xfrm>
            <a:off x="1507932" y="4162887"/>
            <a:ext cx="11179" cy="700"/>
          </a:xfrm>
          <a:custGeom>
            <a:avLst/>
            <a:gdLst>
              <a:gd name="csX0" fmla="*/ 0 w 18003"/>
              <a:gd name="csY0" fmla="*/ 1050 h 1128"/>
              <a:gd name="csX1" fmla="*/ 18004 w 18003"/>
              <a:gd name="csY1" fmla="*/ 93 h 1128"/>
              <a:gd name="csX2" fmla="*/ 0 w 18003"/>
              <a:gd name="csY2" fmla="*/ 1050 h 112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8003" h="1128">
                <a:moveTo>
                  <a:pt x="0" y="1050"/>
                </a:moveTo>
                <a:cubicBezTo>
                  <a:pt x="5276" y="182"/>
                  <a:pt x="11306" y="-189"/>
                  <a:pt x="18004" y="93"/>
                </a:cubicBezTo>
                <a:cubicBezTo>
                  <a:pt x="12699" y="1013"/>
                  <a:pt x="6726" y="1280"/>
                  <a:pt x="0" y="1050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0" name="Free-form: Shape 279">
            <a:extLst>
              <a:ext uri="{FF2B5EF4-FFF2-40B4-BE49-F238E27FC236}">
                <a16:creationId xmlns:a16="http://schemas.microsoft.com/office/drawing/2014/main" id="{DA83EC1B-54B2-7889-73F3-B3A9BAA8436F}"/>
              </a:ext>
            </a:extLst>
          </p:cNvPr>
          <p:cNvSpPr/>
          <p:nvPr/>
        </p:nvSpPr>
        <p:spPr>
          <a:xfrm>
            <a:off x="1588899" y="3596087"/>
            <a:ext cx="5257" cy="4867"/>
          </a:xfrm>
          <a:custGeom>
            <a:avLst/>
            <a:gdLst>
              <a:gd name="csX0" fmla="*/ 473 w 8466"/>
              <a:gd name="csY0" fmla="*/ 7839 h 7838"/>
              <a:gd name="csX1" fmla="*/ 8466 w 8466"/>
              <a:gd name="csY1" fmla="*/ 61 h 7838"/>
              <a:gd name="csX2" fmla="*/ 473 w 8466"/>
              <a:gd name="csY2" fmla="*/ 7839 h 783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66" h="7838">
                <a:moveTo>
                  <a:pt x="473" y="7839"/>
                </a:moveTo>
                <a:cubicBezTo>
                  <a:pt x="-1298" y="1550"/>
                  <a:pt x="2020" y="-386"/>
                  <a:pt x="8466" y="61"/>
                </a:cubicBezTo>
                <a:cubicBezTo>
                  <a:pt x="6730" y="2845"/>
                  <a:pt x="4026" y="5401"/>
                  <a:pt x="473" y="7839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1" name="Free-form: Shape 280">
            <a:extLst>
              <a:ext uri="{FF2B5EF4-FFF2-40B4-BE49-F238E27FC236}">
                <a16:creationId xmlns:a16="http://schemas.microsoft.com/office/drawing/2014/main" id="{E952AD30-EE26-DC3F-24EB-A76BDB64CF32}"/>
              </a:ext>
            </a:extLst>
          </p:cNvPr>
          <p:cNvSpPr/>
          <p:nvPr/>
        </p:nvSpPr>
        <p:spPr>
          <a:xfrm>
            <a:off x="1452903" y="4161373"/>
            <a:ext cx="5265" cy="618"/>
          </a:xfrm>
          <a:custGeom>
            <a:avLst/>
            <a:gdLst>
              <a:gd name="csX0" fmla="*/ 0 w 8480"/>
              <a:gd name="csY0" fmla="*/ 896 h 996"/>
              <a:gd name="csX1" fmla="*/ 8480 w 8480"/>
              <a:gd name="csY1" fmla="*/ 110 h 996"/>
              <a:gd name="csX2" fmla="*/ 0 w 8480"/>
              <a:gd name="csY2" fmla="*/ 896 h 99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80" h="996">
                <a:moveTo>
                  <a:pt x="0" y="896"/>
                </a:moveTo>
                <a:cubicBezTo>
                  <a:pt x="2285" y="115"/>
                  <a:pt x="5130" y="-182"/>
                  <a:pt x="8480" y="110"/>
                </a:cubicBezTo>
                <a:cubicBezTo>
                  <a:pt x="6177" y="927"/>
                  <a:pt x="3368" y="1153"/>
                  <a:pt x="0" y="896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2" name="Free-form: Shape 281">
            <a:extLst>
              <a:ext uri="{FF2B5EF4-FFF2-40B4-BE49-F238E27FC236}">
                <a16:creationId xmlns:a16="http://schemas.microsoft.com/office/drawing/2014/main" id="{8C839261-CFAF-5E84-422B-ED1EF675DF50}"/>
              </a:ext>
            </a:extLst>
          </p:cNvPr>
          <p:cNvSpPr/>
          <p:nvPr/>
        </p:nvSpPr>
        <p:spPr>
          <a:xfrm>
            <a:off x="1739664" y="4134844"/>
            <a:ext cx="763" cy="4134"/>
          </a:xfrm>
          <a:custGeom>
            <a:avLst/>
            <a:gdLst>
              <a:gd name="csX0" fmla="*/ 132 w 1229"/>
              <a:gd name="csY0" fmla="*/ 6659 h 6658"/>
              <a:gd name="csX1" fmla="*/ 1107 w 1229"/>
              <a:gd name="csY1" fmla="*/ 0 h 6658"/>
              <a:gd name="csX2" fmla="*/ 132 w 1229"/>
              <a:gd name="csY2" fmla="*/ 6659 h 665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229" h="6658">
                <a:moveTo>
                  <a:pt x="132" y="6659"/>
                </a:moveTo>
                <a:cubicBezTo>
                  <a:pt x="-219" y="4616"/>
                  <a:pt x="139" y="2560"/>
                  <a:pt x="1107" y="0"/>
                </a:cubicBezTo>
                <a:cubicBezTo>
                  <a:pt x="1425" y="1879"/>
                  <a:pt x="1133" y="4263"/>
                  <a:pt x="132" y="6659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3" name="Free-form: Shape 282">
            <a:extLst>
              <a:ext uri="{FF2B5EF4-FFF2-40B4-BE49-F238E27FC236}">
                <a16:creationId xmlns:a16="http://schemas.microsoft.com/office/drawing/2014/main" id="{A7500313-3B0C-D0EF-0AB1-B3B8EB18A82A}"/>
              </a:ext>
            </a:extLst>
          </p:cNvPr>
          <p:cNvSpPr/>
          <p:nvPr/>
        </p:nvSpPr>
        <p:spPr>
          <a:xfrm>
            <a:off x="1672468" y="4155121"/>
            <a:ext cx="2352" cy="847"/>
          </a:xfrm>
          <a:custGeom>
            <a:avLst/>
            <a:gdLst>
              <a:gd name="csX0" fmla="*/ 0 w 3788"/>
              <a:gd name="csY0" fmla="*/ 1364 h 1364"/>
              <a:gd name="csX1" fmla="*/ 3788 w 3788"/>
              <a:gd name="csY1" fmla="*/ 0 h 1364"/>
              <a:gd name="csX2" fmla="*/ 0 w 3788"/>
              <a:gd name="csY2" fmla="*/ 1364 h 136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788" h="1364">
                <a:moveTo>
                  <a:pt x="0" y="1364"/>
                </a:moveTo>
                <a:cubicBezTo>
                  <a:pt x="856" y="517"/>
                  <a:pt x="2126" y="39"/>
                  <a:pt x="3788" y="0"/>
                </a:cubicBezTo>
                <a:cubicBezTo>
                  <a:pt x="2925" y="870"/>
                  <a:pt x="1670" y="1303"/>
                  <a:pt x="0" y="1364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4" name="Free-form: Shape 283">
            <a:extLst>
              <a:ext uri="{FF2B5EF4-FFF2-40B4-BE49-F238E27FC236}">
                <a16:creationId xmlns:a16="http://schemas.microsoft.com/office/drawing/2014/main" id="{A7BB561B-F68D-A2D9-6960-CDDE9FB019AB}"/>
              </a:ext>
            </a:extLst>
          </p:cNvPr>
          <p:cNvSpPr/>
          <p:nvPr/>
        </p:nvSpPr>
        <p:spPr>
          <a:xfrm>
            <a:off x="1400885" y="4158395"/>
            <a:ext cx="2478" cy="515"/>
          </a:xfrm>
          <a:custGeom>
            <a:avLst/>
            <a:gdLst>
              <a:gd name="csX0" fmla="*/ 0 w 3990"/>
              <a:gd name="csY0" fmla="*/ 719 h 829"/>
              <a:gd name="csX1" fmla="*/ 3990 w 3990"/>
              <a:gd name="csY1" fmla="*/ 119 h 829"/>
              <a:gd name="csX2" fmla="*/ 0 w 3990"/>
              <a:gd name="csY2" fmla="*/ 719 h 82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990" h="829">
                <a:moveTo>
                  <a:pt x="0" y="719"/>
                </a:moveTo>
                <a:cubicBezTo>
                  <a:pt x="982" y="66"/>
                  <a:pt x="2323" y="-163"/>
                  <a:pt x="3990" y="119"/>
                </a:cubicBezTo>
                <a:cubicBezTo>
                  <a:pt x="2998" y="800"/>
                  <a:pt x="1678" y="972"/>
                  <a:pt x="0" y="719"/>
                </a:cubicBezTo>
                <a:close/>
              </a:path>
            </a:pathLst>
          </a:custGeom>
          <a:solidFill>
            <a:srgbClr val="959DA0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5" name="Free-form: Shape 284">
            <a:extLst>
              <a:ext uri="{FF2B5EF4-FFF2-40B4-BE49-F238E27FC236}">
                <a16:creationId xmlns:a16="http://schemas.microsoft.com/office/drawing/2014/main" id="{A4204CE9-0CFF-9B34-6476-64939C5DD3FD}"/>
              </a:ext>
            </a:extLst>
          </p:cNvPr>
          <p:cNvSpPr/>
          <p:nvPr/>
        </p:nvSpPr>
        <p:spPr>
          <a:xfrm>
            <a:off x="1611433" y="4161351"/>
            <a:ext cx="2417" cy="705"/>
          </a:xfrm>
          <a:custGeom>
            <a:avLst/>
            <a:gdLst>
              <a:gd name="csX0" fmla="*/ 0 w 3893"/>
              <a:gd name="csY0" fmla="*/ 1133 h 1135"/>
              <a:gd name="csX1" fmla="*/ 3893 w 3893"/>
              <a:gd name="csY1" fmla="*/ 7 h 1135"/>
              <a:gd name="csX2" fmla="*/ 0 w 3893"/>
              <a:gd name="csY2" fmla="*/ 1133 h 113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893" h="1135">
                <a:moveTo>
                  <a:pt x="0" y="1133"/>
                </a:moveTo>
                <a:cubicBezTo>
                  <a:pt x="902" y="349"/>
                  <a:pt x="2213" y="-60"/>
                  <a:pt x="3893" y="7"/>
                </a:cubicBezTo>
                <a:cubicBezTo>
                  <a:pt x="2978" y="825"/>
                  <a:pt x="1693" y="1167"/>
                  <a:pt x="0" y="1133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6" name="Free-form: Shape 285">
            <a:extLst>
              <a:ext uri="{FF2B5EF4-FFF2-40B4-BE49-F238E27FC236}">
                <a16:creationId xmlns:a16="http://schemas.microsoft.com/office/drawing/2014/main" id="{54F4703A-B666-01E3-32E3-490234B94D81}"/>
              </a:ext>
            </a:extLst>
          </p:cNvPr>
          <p:cNvSpPr/>
          <p:nvPr/>
        </p:nvSpPr>
        <p:spPr>
          <a:xfrm>
            <a:off x="1511837" y="3676687"/>
            <a:ext cx="112588" cy="250407"/>
          </a:xfrm>
          <a:custGeom>
            <a:avLst/>
            <a:gdLst>
              <a:gd name="csX0" fmla="*/ 7554 w 181323"/>
              <a:gd name="csY0" fmla="*/ 172079 h 403282"/>
              <a:gd name="csX1" fmla="*/ 9716 w 181323"/>
              <a:gd name="csY1" fmla="*/ 130641 h 403282"/>
              <a:gd name="csX2" fmla="*/ 7663 w 181323"/>
              <a:gd name="csY2" fmla="*/ 113770 h 403282"/>
              <a:gd name="csX3" fmla="*/ 7598 w 181323"/>
              <a:gd name="csY3" fmla="*/ 8165 h 403282"/>
              <a:gd name="csX4" fmla="*/ 8353 w 181323"/>
              <a:gd name="csY4" fmla="*/ 1259 h 403282"/>
              <a:gd name="csX5" fmla="*/ 17767 w 181323"/>
              <a:gd name="csY5" fmla="*/ 93 h 403282"/>
              <a:gd name="csX6" fmla="*/ 77938 w 181323"/>
              <a:gd name="csY6" fmla="*/ 50 h 403282"/>
              <a:gd name="csX7" fmla="*/ 91081 w 181323"/>
              <a:gd name="csY7" fmla="*/ 10962 h 403282"/>
              <a:gd name="csX8" fmla="*/ 93691 w 181323"/>
              <a:gd name="csY8" fmla="*/ 60963 h 403282"/>
              <a:gd name="csX9" fmla="*/ 100157 w 181323"/>
              <a:gd name="csY9" fmla="*/ 121501 h 403282"/>
              <a:gd name="csX10" fmla="*/ 105540 w 181323"/>
              <a:gd name="csY10" fmla="*/ 158857 h 403282"/>
              <a:gd name="csX11" fmla="*/ 121116 w 181323"/>
              <a:gd name="csY11" fmla="*/ 235269 h 403282"/>
              <a:gd name="csX12" fmla="*/ 152823 w 181323"/>
              <a:gd name="csY12" fmla="*/ 338010 h 403282"/>
              <a:gd name="csX13" fmla="*/ 170877 w 181323"/>
              <a:gd name="csY13" fmla="*/ 378027 h 403282"/>
              <a:gd name="csX14" fmla="*/ 178114 w 181323"/>
              <a:gd name="csY14" fmla="*/ 387682 h 403282"/>
              <a:gd name="csX15" fmla="*/ 181150 w 181323"/>
              <a:gd name="csY15" fmla="*/ 395764 h 403282"/>
              <a:gd name="csX16" fmla="*/ 173480 w 181323"/>
              <a:gd name="csY16" fmla="*/ 402568 h 403282"/>
              <a:gd name="csX17" fmla="*/ 160067 w 181323"/>
              <a:gd name="csY17" fmla="*/ 402936 h 403282"/>
              <a:gd name="csX18" fmla="*/ 121081 w 181323"/>
              <a:gd name="csY18" fmla="*/ 400766 h 403282"/>
              <a:gd name="csX19" fmla="*/ 70912 w 181323"/>
              <a:gd name="csY19" fmla="*/ 401955 h 403282"/>
              <a:gd name="csX20" fmla="*/ 7630 w 181323"/>
              <a:gd name="csY20" fmla="*/ 402999 h 403282"/>
              <a:gd name="csX21" fmla="*/ 710 w 181323"/>
              <a:gd name="csY21" fmla="*/ 401995 h 403282"/>
              <a:gd name="csX22" fmla="*/ 1308 w 181323"/>
              <a:gd name="csY22" fmla="*/ 356708 h 403282"/>
              <a:gd name="csX23" fmla="*/ 2554 w 181323"/>
              <a:gd name="csY23" fmla="*/ 349510 h 403282"/>
              <a:gd name="csX24" fmla="*/ 5071 w 181323"/>
              <a:gd name="csY24" fmla="*/ 271231 h 403282"/>
              <a:gd name="csX25" fmla="*/ 7554 w 181323"/>
              <a:gd name="csY25" fmla="*/ 172079 h 403282"/>
              <a:gd name="csX26" fmla="*/ 98286 w 181323"/>
              <a:gd name="csY26" fmla="*/ 163566 h 403282"/>
              <a:gd name="csX27" fmla="*/ 83497 w 181323"/>
              <a:gd name="csY27" fmla="*/ 8289 h 403282"/>
              <a:gd name="csX28" fmla="*/ 15161 w 181323"/>
              <a:gd name="csY28" fmla="*/ 9148 h 403282"/>
              <a:gd name="csX29" fmla="*/ 15058 w 181323"/>
              <a:gd name="csY29" fmla="*/ 137939 h 403282"/>
              <a:gd name="csX30" fmla="*/ 12252 w 181323"/>
              <a:gd name="csY30" fmla="*/ 266862 h 403282"/>
              <a:gd name="csX31" fmla="*/ 7068 w 181323"/>
              <a:gd name="csY31" fmla="*/ 395996 h 403282"/>
              <a:gd name="csX32" fmla="*/ 171647 w 181323"/>
              <a:gd name="csY32" fmla="*/ 395996 h 403282"/>
              <a:gd name="csX33" fmla="*/ 119950 w 181323"/>
              <a:gd name="csY33" fmla="*/ 259496 h 403282"/>
              <a:gd name="csX34" fmla="*/ 98286 w 181323"/>
              <a:gd name="csY34" fmla="*/ 163566 h 40328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</a:cxnLst>
            <a:rect l="l" t="t" r="r" b="b"/>
            <a:pathLst>
              <a:path w="181323" h="403282">
                <a:moveTo>
                  <a:pt x="7554" y="172079"/>
                </a:moveTo>
                <a:cubicBezTo>
                  <a:pt x="8325" y="157451"/>
                  <a:pt x="9408" y="144055"/>
                  <a:pt x="9716" y="130641"/>
                </a:cubicBezTo>
                <a:cubicBezTo>
                  <a:pt x="9846" y="125037"/>
                  <a:pt x="7695" y="119399"/>
                  <a:pt x="7663" y="113770"/>
                </a:cubicBezTo>
                <a:cubicBezTo>
                  <a:pt x="7461" y="78569"/>
                  <a:pt x="7554" y="43367"/>
                  <a:pt x="7598" y="8165"/>
                </a:cubicBezTo>
                <a:cubicBezTo>
                  <a:pt x="7600" y="6167"/>
                  <a:pt x="8022" y="4170"/>
                  <a:pt x="8353" y="1259"/>
                </a:cubicBezTo>
                <a:cubicBezTo>
                  <a:pt x="11568" y="842"/>
                  <a:pt x="14666" y="109"/>
                  <a:pt x="17767" y="93"/>
                </a:cubicBezTo>
                <a:cubicBezTo>
                  <a:pt x="37824" y="-17"/>
                  <a:pt x="57881" y="-27"/>
                  <a:pt x="77938" y="50"/>
                </a:cubicBezTo>
                <a:cubicBezTo>
                  <a:pt x="89177" y="93"/>
                  <a:pt x="90068" y="113"/>
                  <a:pt x="91081" y="10962"/>
                </a:cubicBezTo>
                <a:cubicBezTo>
                  <a:pt x="92631" y="27565"/>
                  <a:pt x="92329" y="44335"/>
                  <a:pt x="93691" y="60963"/>
                </a:cubicBezTo>
                <a:cubicBezTo>
                  <a:pt x="95348" y="81184"/>
                  <a:pt x="97732" y="101353"/>
                  <a:pt x="100157" y="121501"/>
                </a:cubicBezTo>
                <a:cubicBezTo>
                  <a:pt x="101660" y="133990"/>
                  <a:pt x="104521" y="146343"/>
                  <a:pt x="105540" y="158857"/>
                </a:cubicBezTo>
                <a:cubicBezTo>
                  <a:pt x="107671" y="184993"/>
                  <a:pt x="114147" y="210249"/>
                  <a:pt x="121116" y="235269"/>
                </a:cubicBezTo>
                <a:cubicBezTo>
                  <a:pt x="130731" y="269786"/>
                  <a:pt x="141516" y="304004"/>
                  <a:pt x="152823" y="338010"/>
                </a:cubicBezTo>
                <a:cubicBezTo>
                  <a:pt x="157418" y="351828"/>
                  <a:pt x="164524" y="364837"/>
                  <a:pt x="170877" y="378027"/>
                </a:cubicBezTo>
                <a:cubicBezTo>
                  <a:pt x="172587" y="381579"/>
                  <a:pt x="175985" y="384280"/>
                  <a:pt x="178114" y="387682"/>
                </a:cubicBezTo>
                <a:cubicBezTo>
                  <a:pt x="179669" y="390165"/>
                  <a:pt x="181977" y="393824"/>
                  <a:pt x="181150" y="395764"/>
                </a:cubicBezTo>
                <a:cubicBezTo>
                  <a:pt x="179907" y="398676"/>
                  <a:pt x="176540" y="401705"/>
                  <a:pt x="173480" y="402568"/>
                </a:cubicBezTo>
                <a:cubicBezTo>
                  <a:pt x="169302" y="403746"/>
                  <a:pt x="164551" y="403164"/>
                  <a:pt x="160067" y="402936"/>
                </a:cubicBezTo>
                <a:cubicBezTo>
                  <a:pt x="147066" y="402274"/>
                  <a:pt x="134081" y="400859"/>
                  <a:pt x="121081" y="400766"/>
                </a:cubicBezTo>
                <a:cubicBezTo>
                  <a:pt x="104362" y="400647"/>
                  <a:pt x="87638" y="401607"/>
                  <a:pt x="70912" y="401955"/>
                </a:cubicBezTo>
                <a:cubicBezTo>
                  <a:pt x="49820" y="402394"/>
                  <a:pt x="28725" y="402712"/>
                  <a:pt x="7630" y="402999"/>
                </a:cubicBezTo>
                <a:cubicBezTo>
                  <a:pt x="5684" y="403026"/>
                  <a:pt x="3731" y="402452"/>
                  <a:pt x="710" y="401995"/>
                </a:cubicBezTo>
                <a:cubicBezTo>
                  <a:pt x="219" y="386620"/>
                  <a:pt x="-871" y="371682"/>
                  <a:pt x="1308" y="356708"/>
                </a:cubicBezTo>
                <a:cubicBezTo>
                  <a:pt x="1659" y="354298"/>
                  <a:pt x="2471" y="351920"/>
                  <a:pt x="2554" y="349510"/>
                </a:cubicBezTo>
                <a:cubicBezTo>
                  <a:pt x="3459" y="323419"/>
                  <a:pt x="4345" y="297328"/>
                  <a:pt x="5071" y="271231"/>
                </a:cubicBezTo>
                <a:cubicBezTo>
                  <a:pt x="5979" y="238591"/>
                  <a:pt x="6733" y="205947"/>
                  <a:pt x="7554" y="172079"/>
                </a:cubicBezTo>
                <a:moveTo>
                  <a:pt x="98286" y="163566"/>
                </a:moveTo>
                <a:cubicBezTo>
                  <a:pt x="89288" y="112116"/>
                  <a:pt x="86355" y="60033"/>
                  <a:pt x="83497" y="8289"/>
                </a:cubicBezTo>
                <a:cubicBezTo>
                  <a:pt x="65606" y="5845"/>
                  <a:pt x="24110" y="6470"/>
                  <a:pt x="15161" y="9148"/>
                </a:cubicBezTo>
                <a:cubicBezTo>
                  <a:pt x="15161" y="52045"/>
                  <a:pt x="15527" y="94996"/>
                  <a:pt x="15058" y="137939"/>
                </a:cubicBezTo>
                <a:cubicBezTo>
                  <a:pt x="14587" y="180919"/>
                  <a:pt x="13597" y="223900"/>
                  <a:pt x="12252" y="266862"/>
                </a:cubicBezTo>
                <a:cubicBezTo>
                  <a:pt x="10912" y="309638"/>
                  <a:pt x="8849" y="352391"/>
                  <a:pt x="7068" y="395996"/>
                </a:cubicBezTo>
                <a:cubicBezTo>
                  <a:pt x="62774" y="395996"/>
                  <a:pt x="116821" y="395996"/>
                  <a:pt x="171647" y="395996"/>
                </a:cubicBezTo>
                <a:cubicBezTo>
                  <a:pt x="148550" y="352016"/>
                  <a:pt x="132566" y="306307"/>
                  <a:pt x="119950" y="259496"/>
                </a:cubicBezTo>
                <a:cubicBezTo>
                  <a:pt x="111608" y="228543"/>
                  <a:pt x="105493" y="196989"/>
                  <a:pt x="98286" y="163566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7" name="Free-form: Shape 286">
            <a:extLst>
              <a:ext uri="{FF2B5EF4-FFF2-40B4-BE49-F238E27FC236}">
                <a16:creationId xmlns:a16="http://schemas.microsoft.com/office/drawing/2014/main" id="{4F8ADF3E-DD53-906D-FEE1-59A1D13D1AFC}"/>
              </a:ext>
            </a:extLst>
          </p:cNvPr>
          <p:cNvSpPr/>
          <p:nvPr/>
        </p:nvSpPr>
        <p:spPr>
          <a:xfrm>
            <a:off x="1513468" y="4093168"/>
            <a:ext cx="209255" cy="47389"/>
          </a:xfrm>
          <a:custGeom>
            <a:avLst/>
            <a:gdLst>
              <a:gd name="csX0" fmla="*/ 297312 w 337008"/>
              <a:gd name="csY0" fmla="*/ 59188 h 76321"/>
              <a:gd name="csX1" fmla="*/ 241991 w 337008"/>
              <a:gd name="csY1" fmla="*/ 66577 h 76321"/>
              <a:gd name="csX2" fmla="*/ 185243 w 337008"/>
              <a:gd name="csY2" fmla="*/ 73717 h 76321"/>
              <a:gd name="csX3" fmla="*/ 182797 w 337008"/>
              <a:gd name="csY3" fmla="*/ 73873 h 76321"/>
              <a:gd name="csX4" fmla="*/ 19866 w 337008"/>
              <a:gd name="csY4" fmla="*/ 76320 h 76321"/>
              <a:gd name="csX5" fmla="*/ 12650 w 337008"/>
              <a:gd name="csY5" fmla="*/ 75242 h 76321"/>
              <a:gd name="csX6" fmla="*/ 19 w 337008"/>
              <a:gd name="csY6" fmla="*/ 59006 h 76321"/>
              <a:gd name="csX7" fmla="*/ 11 w 337008"/>
              <a:gd name="csY7" fmla="*/ 18266 h 76321"/>
              <a:gd name="csX8" fmla="*/ 13547 w 337008"/>
              <a:gd name="csY8" fmla="*/ 17427 h 76321"/>
              <a:gd name="csX9" fmla="*/ 109279 w 337008"/>
              <a:gd name="csY9" fmla="*/ 17200 h 76321"/>
              <a:gd name="csX10" fmla="*/ 173714 w 337008"/>
              <a:gd name="csY10" fmla="*/ 12645 h 76321"/>
              <a:gd name="csX11" fmla="*/ 205309 w 337008"/>
              <a:gd name="csY11" fmla="*/ 10096 h 76321"/>
              <a:gd name="csX12" fmla="*/ 245485 w 337008"/>
              <a:gd name="csY12" fmla="*/ 7449 h 76321"/>
              <a:gd name="csX13" fmla="*/ 288955 w 337008"/>
              <a:gd name="csY13" fmla="*/ 1844 h 76321"/>
              <a:gd name="csX14" fmla="*/ 307132 w 337008"/>
              <a:gd name="csY14" fmla="*/ 164 h 76321"/>
              <a:gd name="csX15" fmla="*/ 324030 w 337008"/>
              <a:gd name="csY15" fmla="*/ 9691 h 76321"/>
              <a:gd name="csX16" fmla="*/ 336033 w 337008"/>
              <a:gd name="csY16" fmla="*/ 39107 h 76321"/>
              <a:gd name="csX17" fmla="*/ 328060 w 337008"/>
              <a:gd name="csY17" fmla="*/ 52413 h 76321"/>
              <a:gd name="csX18" fmla="*/ 297312 w 337008"/>
              <a:gd name="csY18" fmla="*/ 59188 h 76321"/>
              <a:gd name="csX19" fmla="*/ 207688 w 337008"/>
              <a:gd name="csY19" fmla="*/ 64284 h 76321"/>
              <a:gd name="csX20" fmla="*/ 330050 w 337008"/>
              <a:gd name="csY20" fmla="*/ 45606 h 76321"/>
              <a:gd name="csX21" fmla="*/ 317356 w 337008"/>
              <a:gd name="csY21" fmla="*/ 11297 h 76321"/>
              <a:gd name="csX22" fmla="*/ 304170 w 337008"/>
              <a:gd name="csY22" fmla="*/ 5545 h 76321"/>
              <a:gd name="csX23" fmla="*/ 273851 w 337008"/>
              <a:gd name="csY23" fmla="*/ 10014 h 76321"/>
              <a:gd name="csX24" fmla="*/ 163935 w 337008"/>
              <a:gd name="csY24" fmla="*/ 20274 h 76321"/>
              <a:gd name="csX25" fmla="*/ 17973 w 337008"/>
              <a:gd name="csY25" fmla="*/ 22950 h 76321"/>
              <a:gd name="csX26" fmla="*/ 7372 w 337008"/>
              <a:gd name="csY26" fmla="*/ 23601 h 76321"/>
              <a:gd name="csX27" fmla="*/ 7372 w 337008"/>
              <a:gd name="csY27" fmla="*/ 67898 h 76321"/>
              <a:gd name="csX28" fmla="*/ 207688 w 337008"/>
              <a:gd name="csY28" fmla="*/ 64284 h 7632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</a:cxnLst>
            <a:rect l="l" t="t" r="r" b="b"/>
            <a:pathLst>
              <a:path w="337008" h="76321">
                <a:moveTo>
                  <a:pt x="297312" y="59188"/>
                </a:moveTo>
                <a:cubicBezTo>
                  <a:pt x="278167" y="61672"/>
                  <a:pt x="260091" y="64212"/>
                  <a:pt x="241991" y="66577"/>
                </a:cubicBezTo>
                <a:cubicBezTo>
                  <a:pt x="223087" y="69047"/>
                  <a:pt x="204161" y="71350"/>
                  <a:pt x="185243" y="73717"/>
                </a:cubicBezTo>
                <a:cubicBezTo>
                  <a:pt x="184433" y="73818"/>
                  <a:pt x="183613" y="73861"/>
                  <a:pt x="182797" y="73873"/>
                </a:cubicBezTo>
                <a:cubicBezTo>
                  <a:pt x="128487" y="74710"/>
                  <a:pt x="74176" y="75556"/>
                  <a:pt x="19866" y="76320"/>
                </a:cubicBezTo>
                <a:cubicBezTo>
                  <a:pt x="17463" y="76354"/>
                  <a:pt x="15013" y="75797"/>
                  <a:pt x="12650" y="75242"/>
                </a:cubicBezTo>
                <a:cubicBezTo>
                  <a:pt x="80" y="72288"/>
                  <a:pt x="58" y="72258"/>
                  <a:pt x="19" y="59006"/>
                </a:cubicBezTo>
                <a:cubicBezTo>
                  <a:pt x="-19" y="45942"/>
                  <a:pt x="11" y="32877"/>
                  <a:pt x="11" y="18266"/>
                </a:cubicBezTo>
                <a:cubicBezTo>
                  <a:pt x="4987" y="17944"/>
                  <a:pt x="9266" y="17435"/>
                  <a:pt x="13547" y="17427"/>
                </a:cubicBezTo>
                <a:cubicBezTo>
                  <a:pt x="45459" y="17362"/>
                  <a:pt x="77385" y="17975"/>
                  <a:pt x="109279" y="17200"/>
                </a:cubicBezTo>
                <a:cubicBezTo>
                  <a:pt x="130782" y="16677"/>
                  <a:pt x="152239" y="14265"/>
                  <a:pt x="173714" y="12645"/>
                </a:cubicBezTo>
                <a:cubicBezTo>
                  <a:pt x="184250" y="11850"/>
                  <a:pt x="194770" y="10836"/>
                  <a:pt x="205309" y="10096"/>
                </a:cubicBezTo>
                <a:cubicBezTo>
                  <a:pt x="218698" y="9156"/>
                  <a:pt x="232139" y="8783"/>
                  <a:pt x="245485" y="7449"/>
                </a:cubicBezTo>
                <a:cubicBezTo>
                  <a:pt x="260017" y="5997"/>
                  <a:pt x="274456" y="3648"/>
                  <a:pt x="288955" y="1844"/>
                </a:cubicBezTo>
                <a:cubicBezTo>
                  <a:pt x="294991" y="1094"/>
                  <a:pt x="301100" y="930"/>
                  <a:pt x="307132" y="164"/>
                </a:cubicBezTo>
                <a:cubicBezTo>
                  <a:pt x="315239" y="-865"/>
                  <a:pt x="320841" y="3022"/>
                  <a:pt x="324030" y="9691"/>
                </a:cubicBezTo>
                <a:cubicBezTo>
                  <a:pt x="328594" y="19236"/>
                  <a:pt x="332712" y="29070"/>
                  <a:pt x="336033" y="39107"/>
                </a:cubicBezTo>
                <a:cubicBezTo>
                  <a:pt x="338557" y="46735"/>
                  <a:pt x="336278" y="50185"/>
                  <a:pt x="328060" y="52413"/>
                </a:cubicBezTo>
                <a:cubicBezTo>
                  <a:pt x="318273" y="55068"/>
                  <a:pt x="308277" y="56950"/>
                  <a:pt x="297312" y="59188"/>
                </a:cubicBezTo>
                <a:moveTo>
                  <a:pt x="207688" y="64284"/>
                </a:moveTo>
                <a:cubicBezTo>
                  <a:pt x="248681" y="60632"/>
                  <a:pt x="289317" y="54812"/>
                  <a:pt x="330050" y="45606"/>
                </a:cubicBezTo>
                <a:cubicBezTo>
                  <a:pt x="327603" y="32443"/>
                  <a:pt x="323777" y="21532"/>
                  <a:pt x="317356" y="11297"/>
                </a:cubicBezTo>
                <a:cubicBezTo>
                  <a:pt x="313908" y="5803"/>
                  <a:pt x="310145" y="4465"/>
                  <a:pt x="304170" y="5545"/>
                </a:cubicBezTo>
                <a:cubicBezTo>
                  <a:pt x="294121" y="7361"/>
                  <a:pt x="284007" y="9006"/>
                  <a:pt x="273851" y="10014"/>
                </a:cubicBezTo>
                <a:cubicBezTo>
                  <a:pt x="237233" y="13650"/>
                  <a:pt x="200632" y="17661"/>
                  <a:pt x="163935" y="20274"/>
                </a:cubicBezTo>
                <a:cubicBezTo>
                  <a:pt x="115360" y="23734"/>
                  <a:pt x="66701" y="25937"/>
                  <a:pt x="17973" y="22950"/>
                </a:cubicBezTo>
                <a:cubicBezTo>
                  <a:pt x="14492" y="22737"/>
                  <a:pt x="10959" y="23361"/>
                  <a:pt x="7372" y="23601"/>
                </a:cubicBezTo>
                <a:cubicBezTo>
                  <a:pt x="7372" y="38609"/>
                  <a:pt x="7372" y="52361"/>
                  <a:pt x="7372" y="67898"/>
                </a:cubicBezTo>
                <a:cubicBezTo>
                  <a:pt x="74001" y="69806"/>
                  <a:pt x="139746" y="71025"/>
                  <a:pt x="207688" y="64284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8" name="Free-form: Shape 287">
            <a:extLst>
              <a:ext uri="{FF2B5EF4-FFF2-40B4-BE49-F238E27FC236}">
                <a16:creationId xmlns:a16="http://schemas.microsoft.com/office/drawing/2014/main" id="{54BF305B-80B0-E852-DEFC-C79D9CA05A23}"/>
              </a:ext>
            </a:extLst>
          </p:cNvPr>
          <p:cNvSpPr/>
          <p:nvPr/>
        </p:nvSpPr>
        <p:spPr>
          <a:xfrm>
            <a:off x="1517201" y="3946714"/>
            <a:ext cx="188426" cy="132688"/>
          </a:xfrm>
          <a:custGeom>
            <a:avLst/>
            <a:gdLst>
              <a:gd name="csX0" fmla="*/ 14160 w 303463"/>
              <a:gd name="csY0" fmla="*/ 7889 h 213695"/>
              <a:gd name="csX1" fmla="*/ 195033 w 303463"/>
              <a:gd name="csY1" fmla="*/ 0 h 213695"/>
              <a:gd name="csX2" fmla="*/ 197208 w 303463"/>
              <a:gd name="csY2" fmla="*/ 5635 h 213695"/>
              <a:gd name="csX3" fmla="*/ 227014 w 303463"/>
              <a:gd name="csY3" fmla="*/ 60660 h 213695"/>
              <a:gd name="csX4" fmla="*/ 265823 w 303463"/>
              <a:gd name="csY4" fmla="*/ 98217 h 213695"/>
              <a:gd name="csX5" fmla="*/ 303210 w 303463"/>
              <a:gd name="csY5" fmla="*/ 180358 h 213695"/>
              <a:gd name="csX6" fmla="*/ 303282 w 303463"/>
              <a:gd name="csY6" fmla="*/ 193964 h 213695"/>
              <a:gd name="csX7" fmla="*/ 4971 w 303463"/>
              <a:gd name="csY7" fmla="*/ 213017 h 213695"/>
              <a:gd name="csX8" fmla="*/ 5093 w 303463"/>
              <a:gd name="csY8" fmla="*/ 173484 h 213695"/>
              <a:gd name="csX9" fmla="*/ 4767 w 303463"/>
              <a:gd name="csY9" fmla="*/ 54607 h 213695"/>
              <a:gd name="csX10" fmla="*/ 0 w 303463"/>
              <a:gd name="csY10" fmla="*/ 7887 h 213695"/>
              <a:gd name="csX11" fmla="*/ 14160 w 303463"/>
              <a:gd name="csY11" fmla="*/ 7889 h 21369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303463" h="213695">
                <a:moveTo>
                  <a:pt x="14160" y="7889"/>
                </a:moveTo>
                <a:cubicBezTo>
                  <a:pt x="75371" y="8627"/>
                  <a:pt x="135292" y="5744"/>
                  <a:pt x="195033" y="0"/>
                </a:cubicBezTo>
                <a:cubicBezTo>
                  <a:pt x="196084" y="2662"/>
                  <a:pt x="196986" y="4099"/>
                  <a:pt x="197208" y="5635"/>
                </a:cubicBezTo>
                <a:cubicBezTo>
                  <a:pt x="200391" y="27650"/>
                  <a:pt x="211307" y="45450"/>
                  <a:pt x="227014" y="60660"/>
                </a:cubicBezTo>
                <a:cubicBezTo>
                  <a:pt x="239947" y="73182"/>
                  <a:pt x="253006" y="85577"/>
                  <a:pt x="265823" y="98217"/>
                </a:cubicBezTo>
                <a:cubicBezTo>
                  <a:pt x="288727" y="120806"/>
                  <a:pt x="299071" y="149215"/>
                  <a:pt x="303210" y="180358"/>
                </a:cubicBezTo>
                <a:cubicBezTo>
                  <a:pt x="303735" y="184317"/>
                  <a:pt x="303282" y="188405"/>
                  <a:pt x="303282" y="193964"/>
                </a:cubicBezTo>
                <a:cubicBezTo>
                  <a:pt x="204065" y="208804"/>
                  <a:pt x="105022" y="216044"/>
                  <a:pt x="4971" y="213017"/>
                </a:cubicBezTo>
                <a:cubicBezTo>
                  <a:pt x="4971" y="199268"/>
                  <a:pt x="4314" y="186332"/>
                  <a:pt x="5093" y="173484"/>
                </a:cubicBezTo>
                <a:cubicBezTo>
                  <a:pt x="7497" y="133835"/>
                  <a:pt x="8211" y="94216"/>
                  <a:pt x="4767" y="54607"/>
                </a:cubicBezTo>
                <a:cubicBezTo>
                  <a:pt x="3464" y="39611"/>
                  <a:pt x="1725" y="24653"/>
                  <a:pt x="0" y="7887"/>
                </a:cubicBezTo>
                <a:cubicBezTo>
                  <a:pt x="4390" y="7887"/>
                  <a:pt x="8696" y="7887"/>
                  <a:pt x="14160" y="7889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9" name="Free-form: Shape 288">
            <a:extLst>
              <a:ext uri="{FF2B5EF4-FFF2-40B4-BE49-F238E27FC236}">
                <a16:creationId xmlns:a16="http://schemas.microsoft.com/office/drawing/2014/main" id="{F17F3F3B-8698-EAA3-373F-E8D55AE3E8B8}"/>
              </a:ext>
            </a:extLst>
          </p:cNvPr>
          <p:cNvSpPr/>
          <p:nvPr/>
        </p:nvSpPr>
        <p:spPr>
          <a:xfrm>
            <a:off x="1483439" y="3416958"/>
            <a:ext cx="129814" cy="126299"/>
          </a:xfrm>
          <a:custGeom>
            <a:avLst/>
            <a:gdLst>
              <a:gd name="csX0" fmla="*/ 10475 w 209067"/>
              <a:gd name="csY0" fmla="*/ 41718 h 203406"/>
              <a:gd name="csX1" fmla="*/ 100250 w 209067"/>
              <a:gd name="csY1" fmla="*/ 1265 h 203406"/>
              <a:gd name="csX2" fmla="*/ 206681 w 209067"/>
              <a:gd name="csY2" fmla="*/ 98526 h 203406"/>
              <a:gd name="csX3" fmla="*/ 134647 w 209067"/>
              <a:gd name="csY3" fmla="*/ 202431 h 203406"/>
              <a:gd name="csX4" fmla="*/ 40986 w 209067"/>
              <a:gd name="csY4" fmla="*/ 171438 h 203406"/>
              <a:gd name="csX5" fmla="*/ 143 w 209067"/>
              <a:gd name="csY5" fmla="*/ 85158 h 203406"/>
              <a:gd name="csX6" fmla="*/ 10475 w 209067"/>
              <a:gd name="csY6" fmla="*/ 41718 h 20340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</a:cxnLst>
            <a:rect l="l" t="t" r="r" b="b"/>
            <a:pathLst>
              <a:path w="209067" h="203406">
                <a:moveTo>
                  <a:pt x="10475" y="41718"/>
                </a:moveTo>
                <a:cubicBezTo>
                  <a:pt x="31065" y="6021"/>
                  <a:pt x="63171" y="-3865"/>
                  <a:pt x="100250" y="1265"/>
                </a:cubicBezTo>
                <a:cubicBezTo>
                  <a:pt x="157191" y="9144"/>
                  <a:pt x="196951" y="51394"/>
                  <a:pt x="206681" y="98526"/>
                </a:cubicBezTo>
                <a:cubicBezTo>
                  <a:pt x="219504" y="160635"/>
                  <a:pt x="178523" y="196657"/>
                  <a:pt x="134647" y="202431"/>
                </a:cubicBezTo>
                <a:cubicBezTo>
                  <a:pt x="98365" y="207204"/>
                  <a:pt x="68101" y="194086"/>
                  <a:pt x="40986" y="171438"/>
                </a:cubicBezTo>
                <a:cubicBezTo>
                  <a:pt x="14115" y="148994"/>
                  <a:pt x="2457" y="119007"/>
                  <a:pt x="143" y="85158"/>
                </a:cubicBezTo>
                <a:cubicBezTo>
                  <a:pt x="-869" y="70364"/>
                  <a:pt x="3586" y="56015"/>
                  <a:pt x="10475" y="41718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90" name="Free-form: Shape 289">
            <a:extLst>
              <a:ext uri="{FF2B5EF4-FFF2-40B4-BE49-F238E27FC236}">
                <a16:creationId xmlns:a16="http://schemas.microsoft.com/office/drawing/2014/main" id="{F3EE6731-9CF9-B7CB-9631-55E9A29BEA72}"/>
              </a:ext>
            </a:extLst>
          </p:cNvPr>
          <p:cNvSpPr/>
          <p:nvPr/>
        </p:nvSpPr>
        <p:spPr>
          <a:xfrm>
            <a:off x="1519698" y="3629996"/>
            <a:ext cx="97564" cy="25665"/>
          </a:xfrm>
          <a:custGeom>
            <a:avLst/>
            <a:gdLst>
              <a:gd name="csX0" fmla="*/ 69625 w 157129"/>
              <a:gd name="csY0" fmla="*/ 0 h 41334"/>
              <a:gd name="csX1" fmla="*/ 119596 w 157129"/>
              <a:gd name="csY1" fmla="*/ 1945 h 41334"/>
              <a:gd name="csX2" fmla="*/ 150973 w 157129"/>
              <a:gd name="csY2" fmla="*/ 14889 h 41334"/>
              <a:gd name="csX3" fmla="*/ 151351 w 157129"/>
              <a:gd name="csY3" fmla="*/ 34058 h 41334"/>
              <a:gd name="csX4" fmla="*/ 133492 w 157129"/>
              <a:gd name="csY4" fmla="*/ 40697 h 41334"/>
              <a:gd name="csX5" fmla="*/ 106556 w 157129"/>
              <a:gd name="csY5" fmla="*/ 41092 h 41334"/>
              <a:gd name="csX6" fmla="*/ 13373 w 157129"/>
              <a:gd name="csY6" fmla="*/ 40708 h 41334"/>
              <a:gd name="csX7" fmla="*/ 1312 w 157129"/>
              <a:gd name="csY7" fmla="*/ 40191 h 41334"/>
              <a:gd name="csX8" fmla="*/ 3367 w 157129"/>
              <a:gd name="csY8" fmla="*/ 13162 h 41334"/>
              <a:gd name="csX9" fmla="*/ 20752 w 157129"/>
              <a:gd name="csY9" fmla="*/ 1879 h 41334"/>
              <a:gd name="csX10" fmla="*/ 52625 w 157129"/>
              <a:gd name="csY10" fmla="*/ 1332 h 41334"/>
              <a:gd name="csX11" fmla="*/ 69625 w 157129"/>
              <a:gd name="csY11" fmla="*/ 0 h 4133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157129" h="41334">
                <a:moveTo>
                  <a:pt x="69625" y="0"/>
                </a:moveTo>
                <a:cubicBezTo>
                  <a:pt x="87054" y="491"/>
                  <a:pt x="103407" y="373"/>
                  <a:pt x="119596" y="1945"/>
                </a:cubicBezTo>
                <a:cubicBezTo>
                  <a:pt x="131020" y="3055"/>
                  <a:pt x="141713" y="7767"/>
                  <a:pt x="150973" y="14889"/>
                </a:cubicBezTo>
                <a:cubicBezTo>
                  <a:pt x="158820" y="20925"/>
                  <a:pt x="159403" y="28236"/>
                  <a:pt x="151351" y="34058"/>
                </a:cubicBezTo>
                <a:cubicBezTo>
                  <a:pt x="146355" y="37671"/>
                  <a:pt x="139678" y="39910"/>
                  <a:pt x="133492" y="40697"/>
                </a:cubicBezTo>
                <a:cubicBezTo>
                  <a:pt x="124640" y="41824"/>
                  <a:pt x="115547" y="41120"/>
                  <a:pt x="106556" y="41092"/>
                </a:cubicBezTo>
                <a:cubicBezTo>
                  <a:pt x="75495" y="40996"/>
                  <a:pt x="44434" y="40872"/>
                  <a:pt x="13373" y="40708"/>
                </a:cubicBezTo>
                <a:cubicBezTo>
                  <a:pt x="9391" y="40687"/>
                  <a:pt x="5410" y="40374"/>
                  <a:pt x="1312" y="40191"/>
                </a:cubicBezTo>
                <a:cubicBezTo>
                  <a:pt x="-1416" y="30384"/>
                  <a:pt x="523" y="21512"/>
                  <a:pt x="3367" y="13162"/>
                </a:cubicBezTo>
                <a:cubicBezTo>
                  <a:pt x="5963" y="5538"/>
                  <a:pt x="12701" y="2077"/>
                  <a:pt x="20752" y="1879"/>
                </a:cubicBezTo>
                <a:cubicBezTo>
                  <a:pt x="31375" y="1617"/>
                  <a:pt x="42004" y="1647"/>
                  <a:pt x="52625" y="1332"/>
                </a:cubicBezTo>
                <a:cubicBezTo>
                  <a:pt x="57918" y="1176"/>
                  <a:pt x="63195" y="535"/>
                  <a:pt x="69625" y="0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91" name="Free-form: Shape 290">
            <a:extLst>
              <a:ext uri="{FF2B5EF4-FFF2-40B4-BE49-F238E27FC236}">
                <a16:creationId xmlns:a16="http://schemas.microsoft.com/office/drawing/2014/main" id="{76508682-85A9-1EAD-4249-AF1D20D82311}"/>
              </a:ext>
            </a:extLst>
          </p:cNvPr>
          <p:cNvSpPr/>
          <p:nvPr/>
        </p:nvSpPr>
        <p:spPr>
          <a:xfrm>
            <a:off x="1516225" y="3680883"/>
            <a:ext cx="102191" cy="241686"/>
          </a:xfrm>
          <a:custGeom>
            <a:avLst/>
            <a:gdLst>
              <a:gd name="csX0" fmla="*/ 91265 w 164579"/>
              <a:gd name="csY0" fmla="*/ 157878 h 389238"/>
              <a:gd name="csX1" fmla="*/ 112882 w 164579"/>
              <a:gd name="csY1" fmla="*/ 252738 h 389238"/>
              <a:gd name="csX2" fmla="*/ 164579 w 164579"/>
              <a:gd name="csY2" fmla="*/ 389238 h 389238"/>
              <a:gd name="csX3" fmla="*/ 0 w 164579"/>
              <a:gd name="csY3" fmla="*/ 389238 h 389238"/>
              <a:gd name="csX4" fmla="*/ 5184 w 164579"/>
              <a:gd name="csY4" fmla="*/ 260105 h 389238"/>
              <a:gd name="csX5" fmla="*/ 7989 w 164579"/>
              <a:gd name="csY5" fmla="*/ 131182 h 389238"/>
              <a:gd name="csX6" fmla="*/ 8093 w 164579"/>
              <a:gd name="csY6" fmla="*/ 2390 h 389238"/>
              <a:gd name="csX7" fmla="*/ 76429 w 164579"/>
              <a:gd name="csY7" fmla="*/ 1531 h 389238"/>
              <a:gd name="csX8" fmla="*/ 91265 w 164579"/>
              <a:gd name="csY8" fmla="*/ 157878 h 38923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</a:cxnLst>
            <a:rect l="l" t="t" r="r" b="b"/>
            <a:pathLst>
              <a:path w="164579" h="389238">
                <a:moveTo>
                  <a:pt x="91265" y="157878"/>
                </a:moveTo>
                <a:cubicBezTo>
                  <a:pt x="98425" y="190232"/>
                  <a:pt x="104539" y="221785"/>
                  <a:pt x="112882" y="252738"/>
                </a:cubicBezTo>
                <a:cubicBezTo>
                  <a:pt x="125498" y="299549"/>
                  <a:pt x="141482" y="345258"/>
                  <a:pt x="164579" y="389238"/>
                </a:cubicBezTo>
                <a:cubicBezTo>
                  <a:pt x="109753" y="389238"/>
                  <a:pt x="55706" y="389238"/>
                  <a:pt x="0" y="389238"/>
                </a:cubicBezTo>
                <a:cubicBezTo>
                  <a:pt x="1781" y="345633"/>
                  <a:pt x="3844" y="302880"/>
                  <a:pt x="5184" y="260105"/>
                </a:cubicBezTo>
                <a:cubicBezTo>
                  <a:pt x="6529" y="217143"/>
                  <a:pt x="7519" y="174162"/>
                  <a:pt x="7989" y="131182"/>
                </a:cubicBezTo>
                <a:cubicBezTo>
                  <a:pt x="8459" y="88239"/>
                  <a:pt x="8093" y="45287"/>
                  <a:pt x="8093" y="2390"/>
                </a:cubicBezTo>
                <a:cubicBezTo>
                  <a:pt x="17041" y="-288"/>
                  <a:pt x="58537" y="-913"/>
                  <a:pt x="76429" y="1531"/>
                </a:cubicBezTo>
                <a:cubicBezTo>
                  <a:pt x="79287" y="53276"/>
                  <a:pt x="82219" y="105359"/>
                  <a:pt x="91265" y="157878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92" name="Free-form: Shape 291">
            <a:extLst>
              <a:ext uri="{FF2B5EF4-FFF2-40B4-BE49-F238E27FC236}">
                <a16:creationId xmlns:a16="http://schemas.microsoft.com/office/drawing/2014/main" id="{3A52772E-5BC4-BC41-6BF3-0BEBC9B4AB6C}"/>
              </a:ext>
            </a:extLst>
          </p:cNvPr>
          <p:cNvSpPr/>
          <p:nvPr/>
        </p:nvSpPr>
        <p:spPr>
          <a:xfrm>
            <a:off x="1518044" y="4096396"/>
            <a:ext cx="200357" cy="39865"/>
          </a:xfrm>
          <a:custGeom>
            <a:avLst/>
            <a:gdLst>
              <a:gd name="csX0" fmla="*/ 199184 w 322677"/>
              <a:gd name="csY0" fmla="*/ 59136 h 64202"/>
              <a:gd name="csX1" fmla="*/ 0 w 322677"/>
              <a:gd name="csY1" fmla="*/ 62697 h 64202"/>
              <a:gd name="csX2" fmla="*/ 0 w 322677"/>
              <a:gd name="csY2" fmla="*/ 18400 h 64202"/>
              <a:gd name="csX3" fmla="*/ 10601 w 322677"/>
              <a:gd name="csY3" fmla="*/ 17750 h 64202"/>
              <a:gd name="csX4" fmla="*/ 156563 w 322677"/>
              <a:gd name="csY4" fmla="*/ 15074 h 64202"/>
              <a:gd name="csX5" fmla="*/ 266479 w 322677"/>
              <a:gd name="csY5" fmla="*/ 4814 h 64202"/>
              <a:gd name="csX6" fmla="*/ 296798 w 322677"/>
              <a:gd name="csY6" fmla="*/ 344 h 64202"/>
              <a:gd name="csX7" fmla="*/ 309983 w 322677"/>
              <a:gd name="csY7" fmla="*/ 6097 h 64202"/>
              <a:gd name="csX8" fmla="*/ 322678 w 322677"/>
              <a:gd name="csY8" fmla="*/ 40406 h 64202"/>
              <a:gd name="csX9" fmla="*/ 199184 w 322677"/>
              <a:gd name="csY9" fmla="*/ 59136 h 6420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322677" h="64202">
                <a:moveTo>
                  <a:pt x="199184" y="59136"/>
                </a:moveTo>
                <a:cubicBezTo>
                  <a:pt x="132374" y="65824"/>
                  <a:pt x="66629" y="64605"/>
                  <a:pt x="0" y="62697"/>
                </a:cubicBezTo>
                <a:cubicBezTo>
                  <a:pt x="0" y="47160"/>
                  <a:pt x="0" y="33409"/>
                  <a:pt x="0" y="18400"/>
                </a:cubicBezTo>
                <a:cubicBezTo>
                  <a:pt x="3587" y="18160"/>
                  <a:pt x="7120" y="17536"/>
                  <a:pt x="10601" y="17750"/>
                </a:cubicBezTo>
                <a:cubicBezTo>
                  <a:pt x="59329" y="20736"/>
                  <a:pt x="107987" y="18533"/>
                  <a:pt x="156563" y="15074"/>
                </a:cubicBezTo>
                <a:cubicBezTo>
                  <a:pt x="193260" y="12461"/>
                  <a:pt x="229860" y="8449"/>
                  <a:pt x="266479" y="4814"/>
                </a:cubicBezTo>
                <a:cubicBezTo>
                  <a:pt x="276635" y="3806"/>
                  <a:pt x="286748" y="2160"/>
                  <a:pt x="296798" y="344"/>
                </a:cubicBezTo>
                <a:cubicBezTo>
                  <a:pt x="302773" y="-735"/>
                  <a:pt x="306536" y="602"/>
                  <a:pt x="309983" y="6097"/>
                </a:cubicBezTo>
                <a:cubicBezTo>
                  <a:pt x="316405" y="16331"/>
                  <a:pt x="320231" y="27243"/>
                  <a:pt x="322678" y="40406"/>
                </a:cubicBezTo>
                <a:cubicBezTo>
                  <a:pt x="281944" y="49611"/>
                  <a:pt x="241309" y="55431"/>
                  <a:pt x="199184" y="59136"/>
                </a:cubicBezTo>
                <a:close/>
              </a:path>
            </a:pathLst>
          </a:custGeom>
          <a:solidFill>
            <a:schemeClr val="bg1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93" name="TextBox 292">
            <a:extLst>
              <a:ext uri="{FF2B5EF4-FFF2-40B4-BE49-F238E27FC236}">
                <a16:creationId xmlns:a16="http://schemas.microsoft.com/office/drawing/2014/main" id="{4DBF8050-907A-FA2B-11C4-75399D04A1A7}"/>
              </a:ext>
            </a:extLst>
          </p:cNvPr>
          <p:cNvSpPr txBox="1"/>
          <p:nvPr/>
        </p:nvSpPr>
        <p:spPr>
          <a:xfrm>
            <a:off x="1110036" y="4150578"/>
            <a:ext cx="863983" cy="3927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-</a:t>
            </a:r>
            <a:r>
              <a: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HAOx</a:t>
            </a: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16" name="TextBox 315">
            <a:extLst>
              <a:ext uri="{FF2B5EF4-FFF2-40B4-BE49-F238E27FC236}">
                <a16:creationId xmlns:a16="http://schemas.microsoft.com/office/drawing/2014/main" id="{D1C0B363-9BDA-D06B-E037-164EDBFD01EF}"/>
              </a:ext>
            </a:extLst>
          </p:cNvPr>
          <p:cNvSpPr txBox="1"/>
          <p:nvPr/>
        </p:nvSpPr>
        <p:spPr>
          <a:xfrm>
            <a:off x="592727" y="1343701"/>
            <a:ext cx="1953472" cy="723367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rtlCol="0" anchor="t" anchorCtr="0">
            <a:noAutofit/>
          </a:bodyPr>
          <a:lstStyle>
            <a:defPPr>
              <a:defRPr lang="en-GB"/>
            </a:defPPr>
            <a:lvl1pPr algn="ctr">
              <a:defRPr sz="1600" b="1">
                <a:solidFill>
                  <a:schemeClr val="tx2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herapies already used</a:t>
            </a:r>
          </a:p>
        </p:txBody>
      </p:sp>
      <p:cxnSp>
        <p:nvCxnSpPr>
          <p:cNvPr id="321" name="Straight Arrow Connector 320">
            <a:extLst>
              <a:ext uri="{FF2B5EF4-FFF2-40B4-BE49-F238E27FC236}">
                <a16:creationId xmlns:a16="http://schemas.microsoft.com/office/drawing/2014/main" id="{CF320379-2E97-E1D3-E111-016E72D247D5}"/>
              </a:ext>
            </a:extLst>
          </p:cNvPr>
          <p:cNvCxnSpPr>
            <a:cxnSpLocks/>
          </p:cNvCxnSpPr>
          <p:nvPr/>
        </p:nvCxnSpPr>
        <p:spPr>
          <a:xfrm>
            <a:off x="634206" y="2067987"/>
            <a:ext cx="1743075" cy="0"/>
          </a:xfrm>
          <a:prstGeom prst="straightConnector1">
            <a:avLst/>
          </a:prstGeom>
          <a:ln>
            <a:solidFill>
              <a:schemeClr val="accent6">
                <a:lumMod val="40000"/>
                <a:lumOff val="60000"/>
              </a:schemeClr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962" name="Oval 8961">
            <a:extLst>
              <a:ext uri="{FF2B5EF4-FFF2-40B4-BE49-F238E27FC236}">
                <a16:creationId xmlns:a16="http://schemas.microsoft.com/office/drawing/2014/main" id="{0F58CF0D-81F2-DCBF-04AB-9769D737A137}"/>
              </a:ext>
            </a:extLst>
          </p:cNvPr>
          <p:cNvSpPr/>
          <p:nvPr/>
        </p:nvSpPr>
        <p:spPr>
          <a:xfrm>
            <a:off x="1204662" y="2878699"/>
            <a:ext cx="593138" cy="104135"/>
          </a:xfrm>
          <a:prstGeom prst="ellipse">
            <a:avLst/>
          </a:prstGeom>
          <a:solidFill>
            <a:schemeClr val="tx1">
              <a:alpha val="6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963" name="Free-form: Shape 8962">
            <a:extLst>
              <a:ext uri="{FF2B5EF4-FFF2-40B4-BE49-F238E27FC236}">
                <a16:creationId xmlns:a16="http://schemas.microsoft.com/office/drawing/2014/main" id="{88D35263-2875-0ADC-00F5-A9B5D304C0BC}"/>
              </a:ext>
            </a:extLst>
          </p:cNvPr>
          <p:cNvSpPr/>
          <p:nvPr/>
        </p:nvSpPr>
        <p:spPr>
          <a:xfrm>
            <a:off x="1303328" y="2198048"/>
            <a:ext cx="433137" cy="770022"/>
          </a:xfrm>
          <a:custGeom>
            <a:avLst/>
            <a:gdLst>
              <a:gd name="csX0" fmla="*/ 581793 w 697572"/>
              <a:gd name="csY0" fmla="*/ 1234401 h 1240128"/>
              <a:gd name="csX1" fmla="*/ 577427 w 697572"/>
              <a:gd name="csY1" fmla="*/ 1234156 h 1240128"/>
              <a:gd name="csX2" fmla="*/ 559133 w 697572"/>
              <a:gd name="csY2" fmla="*/ 1230909 h 1240128"/>
              <a:gd name="csX3" fmla="*/ 516706 w 697572"/>
              <a:gd name="csY3" fmla="*/ 1235117 h 1240128"/>
              <a:gd name="csX4" fmla="*/ 475244 w 697572"/>
              <a:gd name="csY4" fmla="*/ 1237506 h 1240128"/>
              <a:gd name="csX5" fmla="*/ 371154 w 697572"/>
              <a:gd name="csY5" fmla="*/ 1239428 h 1240128"/>
              <a:gd name="csX6" fmla="*/ 276813 w 697572"/>
              <a:gd name="csY6" fmla="*/ 1237654 h 1240128"/>
              <a:gd name="csX7" fmla="*/ 268212 w 697572"/>
              <a:gd name="csY7" fmla="*/ 1237635 h 1240128"/>
              <a:gd name="csX8" fmla="*/ 262072 w 697572"/>
              <a:gd name="csY8" fmla="*/ 1237523 h 1240128"/>
              <a:gd name="csX9" fmla="*/ 195111 w 697572"/>
              <a:gd name="csY9" fmla="*/ 1232775 h 1240128"/>
              <a:gd name="csX10" fmla="*/ 145060 w 697572"/>
              <a:gd name="csY10" fmla="*/ 1230076 h 1240128"/>
              <a:gd name="csX11" fmla="*/ 114933 w 697572"/>
              <a:gd name="csY11" fmla="*/ 1225832 h 1240128"/>
              <a:gd name="csX12" fmla="*/ 72642 w 697572"/>
              <a:gd name="csY12" fmla="*/ 1220237 h 1240128"/>
              <a:gd name="csX13" fmla="*/ 10894 w 697572"/>
              <a:gd name="csY13" fmla="*/ 1205737 h 1240128"/>
              <a:gd name="csX14" fmla="*/ 5856 w 697572"/>
              <a:gd name="csY14" fmla="*/ 1202799 h 1240128"/>
              <a:gd name="csX15" fmla="*/ 40 w 697572"/>
              <a:gd name="csY15" fmla="*/ 1174450 h 1240128"/>
              <a:gd name="csX16" fmla="*/ 19831 w 697572"/>
              <a:gd name="csY16" fmla="*/ 1118410 h 1240128"/>
              <a:gd name="csX17" fmla="*/ 22004 w 697572"/>
              <a:gd name="csY17" fmla="*/ 1107240 h 1240128"/>
              <a:gd name="csX18" fmla="*/ 25947 w 697572"/>
              <a:gd name="csY18" fmla="*/ 1038650 h 1240128"/>
              <a:gd name="csX19" fmla="*/ 58234 w 697572"/>
              <a:gd name="csY19" fmla="*/ 988567 h 1240128"/>
              <a:gd name="csX20" fmla="*/ 118645 w 697572"/>
              <a:gd name="csY20" fmla="*/ 928298 h 1240128"/>
              <a:gd name="csX21" fmla="*/ 126320 w 697572"/>
              <a:gd name="csY21" fmla="*/ 892015 h 1240128"/>
              <a:gd name="csX22" fmla="*/ 120345 w 697572"/>
              <a:gd name="csY22" fmla="*/ 872258 h 1240128"/>
              <a:gd name="csX23" fmla="*/ 125668 w 697572"/>
              <a:gd name="csY23" fmla="*/ 861640 h 1240128"/>
              <a:gd name="csX24" fmla="*/ 154237 w 697572"/>
              <a:gd name="csY24" fmla="*/ 850716 h 1240128"/>
              <a:gd name="csX25" fmla="*/ 170248 w 697572"/>
              <a:gd name="csY25" fmla="*/ 836767 h 1240128"/>
              <a:gd name="csX26" fmla="*/ 187840 w 697572"/>
              <a:gd name="csY26" fmla="*/ 796341 h 1240128"/>
              <a:gd name="csX27" fmla="*/ 209346 w 697572"/>
              <a:gd name="csY27" fmla="*/ 743126 h 1240128"/>
              <a:gd name="csX28" fmla="*/ 210630 w 697572"/>
              <a:gd name="csY28" fmla="*/ 737219 h 1240128"/>
              <a:gd name="csX29" fmla="*/ 213836 w 697572"/>
              <a:gd name="csY29" fmla="*/ 720505 h 1240128"/>
              <a:gd name="csX30" fmla="*/ 227791 w 697572"/>
              <a:gd name="csY30" fmla="*/ 667353 h 1240128"/>
              <a:gd name="csX31" fmla="*/ 241013 w 697572"/>
              <a:gd name="csY31" fmla="*/ 599151 h 1240128"/>
              <a:gd name="csX32" fmla="*/ 247322 w 697572"/>
              <a:gd name="csY32" fmla="*/ 542242 h 1240128"/>
              <a:gd name="csX33" fmla="*/ 247948 w 697572"/>
              <a:gd name="csY33" fmla="*/ 499296 h 1240128"/>
              <a:gd name="csX34" fmla="*/ 247577 w 697572"/>
              <a:gd name="csY34" fmla="*/ 470384 h 1240128"/>
              <a:gd name="csX35" fmla="*/ 238877 w 697572"/>
              <a:gd name="csY35" fmla="*/ 460987 h 1240128"/>
              <a:gd name="csX36" fmla="*/ 222040 w 697572"/>
              <a:gd name="csY36" fmla="*/ 458353 h 1240128"/>
              <a:gd name="csX37" fmla="*/ 172193 w 697572"/>
              <a:gd name="csY37" fmla="*/ 433714 h 1240128"/>
              <a:gd name="csX38" fmla="*/ 168410 w 697572"/>
              <a:gd name="csY38" fmla="*/ 396591 h 1240128"/>
              <a:gd name="csX39" fmla="*/ 209826 w 697572"/>
              <a:gd name="csY39" fmla="*/ 367773 h 1240128"/>
              <a:gd name="csX40" fmla="*/ 250732 w 697572"/>
              <a:gd name="csY40" fmla="*/ 355208 h 1240128"/>
              <a:gd name="csX41" fmla="*/ 258289 w 697572"/>
              <a:gd name="csY41" fmla="*/ 350426 h 1240128"/>
              <a:gd name="csX42" fmla="*/ 233274 w 697572"/>
              <a:gd name="csY42" fmla="*/ 333513 h 1240128"/>
              <a:gd name="csX43" fmla="*/ 229677 w 697572"/>
              <a:gd name="csY43" fmla="*/ 333922 h 1240128"/>
              <a:gd name="csX44" fmla="*/ 230149 w 697572"/>
              <a:gd name="csY44" fmla="*/ 332979 h 1240128"/>
              <a:gd name="csX45" fmla="*/ 227053 w 697572"/>
              <a:gd name="csY45" fmla="*/ 327076 h 1240128"/>
              <a:gd name="csX46" fmla="*/ 196769 w 697572"/>
              <a:gd name="csY46" fmla="*/ 291380 h 1240128"/>
              <a:gd name="csX47" fmla="*/ 184389 w 697572"/>
              <a:gd name="csY47" fmla="*/ 264042 h 1240128"/>
              <a:gd name="csX48" fmla="*/ 180630 w 697572"/>
              <a:gd name="csY48" fmla="*/ 257839 h 1240128"/>
              <a:gd name="csX49" fmla="*/ 176231 w 697572"/>
              <a:gd name="csY49" fmla="*/ 250643 h 1240128"/>
              <a:gd name="csX50" fmla="*/ 170073 w 697572"/>
              <a:gd name="csY50" fmla="*/ 146723 h 1240128"/>
              <a:gd name="csX51" fmla="*/ 180929 w 697572"/>
              <a:gd name="csY51" fmla="*/ 114280 h 1240128"/>
              <a:gd name="csX52" fmla="*/ 180839 w 697572"/>
              <a:gd name="csY52" fmla="*/ 101501 h 1240128"/>
              <a:gd name="csX53" fmla="*/ 233536 w 697572"/>
              <a:gd name="csY53" fmla="*/ 39653 h 1240128"/>
              <a:gd name="csX54" fmla="*/ 347618 w 697572"/>
              <a:gd name="csY54" fmla="*/ 35 h 1240128"/>
              <a:gd name="csX55" fmla="*/ 437139 w 697572"/>
              <a:gd name="csY55" fmla="*/ 22396 h 1240128"/>
              <a:gd name="csX56" fmla="*/ 529052 w 697572"/>
              <a:gd name="csY56" fmla="*/ 131093 h 1240128"/>
              <a:gd name="csX57" fmla="*/ 518497 w 697572"/>
              <a:gd name="csY57" fmla="*/ 271517 h 1240128"/>
              <a:gd name="csX58" fmla="*/ 500808 w 697572"/>
              <a:gd name="csY58" fmla="*/ 287385 h 1240128"/>
              <a:gd name="csX59" fmla="*/ 472948 w 697572"/>
              <a:gd name="csY59" fmla="*/ 323290 h 1240128"/>
              <a:gd name="csX60" fmla="*/ 469385 w 697572"/>
              <a:gd name="csY60" fmla="*/ 331565 h 1240128"/>
              <a:gd name="csX61" fmla="*/ 468293 w 697572"/>
              <a:gd name="csY61" fmla="*/ 331320 h 1240128"/>
              <a:gd name="csX62" fmla="*/ 459542 w 697572"/>
              <a:gd name="csY62" fmla="*/ 338942 h 1240128"/>
              <a:gd name="csX63" fmla="*/ 458492 w 697572"/>
              <a:gd name="csY63" fmla="*/ 338671 h 1240128"/>
              <a:gd name="csX64" fmla="*/ 436978 w 697572"/>
              <a:gd name="csY64" fmla="*/ 352226 h 1240128"/>
              <a:gd name="csX65" fmla="*/ 472329 w 697572"/>
              <a:gd name="csY65" fmla="*/ 362890 h 1240128"/>
              <a:gd name="csX66" fmla="*/ 523779 w 697572"/>
              <a:gd name="csY66" fmla="*/ 391962 h 1240128"/>
              <a:gd name="csX67" fmla="*/ 527344 w 697572"/>
              <a:gd name="csY67" fmla="*/ 430096 h 1240128"/>
              <a:gd name="csX68" fmla="*/ 504112 w 697572"/>
              <a:gd name="csY68" fmla="*/ 449628 h 1240128"/>
              <a:gd name="csX69" fmla="*/ 459430 w 697572"/>
              <a:gd name="csY69" fmla="*/ 461116 h 1240128"/>
              <a:gd name="csX70" fmla="*/ 446666 w 697572"/>
              <a:gd name="csY70" fmla="*/ 474229 h 1240128"/>
              <a:gd name="csX71" fmla="*/ 449133 w 697572"/>
              <a:gd name="csY71" fmla="*/ 531639 h 1240128"/>
              <a:gd name="csX72" fmla="*/ 454546 w 697572"/>
              <a:gd name="csY72" fmla="*/ 588688 h 1240128"/>
              <a:gd name="csX73" fmla="*/ 466126 w 697572"/>
              <a:gd name="csY73" fmla="*/ 649736 h 1240128"/>
              <a:gd name="csX74" fmla="*/ 512154 w 697572"/>
              <a:gd name="csY74" fmla="*/ 794006 h 1240128"/>
              <a:gd name="csX75" fmla="*/ 525763 w 697572"/>
              <a:gd name="csY75" fmla="*/ 834323 h 1240128"/>
              <a:gd name="csX76" fmla="*/ 530555 w 697572"/>
              <a:gd name="csY76" fmla="*/ 845114 h 1240128"/>
              <a:gd name="csX77" fmla="*/ 554424 w 697572"/>
              <a:gd name="csY77" fmla="*/ 856618 h 1240128"/>
              <a:gd name="csX78" fmla="*/ 572880 w 697572"/>
              <a:gd name="csY78" fmla="*/ 862546 h 1240128"/>
              <a:gd name="csX79" fmla="*/ 578643 w 697572"/>
              <a:gd name="csY79" fmla="*/ 880396 h 1240128"/>
              <a:gd name="csX80" fmla="*/ 572188 w 697572"/>
              <a:gd name="csY80" fmla="*/ 899820 h 1240128"/>
              <a:gd name="csX81" fmla="*/ 582698 w 697572"/>
              <a:gd name="csY81" fmla="*/ 930382 h 1240128"/>
              <a:gd name="csX82" fmla="*/ 604747 w 697572"/>
              <a:gd name="csY82" fmla="*/ 960852 h 1240128"/>
              <a:gd name="csX83" fmla="*/ 613863 w 697572"/>
              <a:gd name="csY83" fmla="*/ 968311 h 1240128"/>
              <a:gd name="csX84" fmla="*/ 629435 w 697572"/>
              <a:gd name="csY84" fmla="*/ 981186 h 1240128"/>
              <a:gd name="csX85" fmla="*/ 633611 w 697572"/>
              <a:gd name="csY85" fmla="*/ 985609 h 1240128"/>
              <a:gd name="csX86" fmla="*/ 673790 w 697572"/>
              <a:gd name="csY86" fmla="*/ 1049348 h 1240128"/>
              <a:gd name="csX87" fmla="*/ 675873 w 697572"/>
              <a:gd name="csY87" fmla="*/ 1092839 h 1240128"/>
              <a:gd name="csX88" fmla="*/ 681668 w 697572"/>
              <a:gd name="csY88" fmla="*/ 1129292 h 1240128"/>
              <a:gd name="csX89" fmla="*/ 697338 w 697572"/>
              <a:gd name="csY89" fmla="*/ 1196079 h 1240128"/>
              <a:gd name="csX90" fmla="*/ 690637 w 697572"/>
              <a:gd name="csY90" fmla="*/ 1205035 h 1240128"/>
              <a:gd name="csX91" fmla="*/ 639777 w 697572"/>
              <a:gd name="csY91" fmla="*/ 1217994 h 1240128"/>
              <a:gd name="csX92" fmla="*/ 587072 w 697572"/>
              <a:gd name="csY92" fmla="*/ 1227761 h 1240128"/>
              <a:gd name="csX93" fmla="*/ 581793 w 697572"/>
              <a:gd name="csY93" fmla="*/ 1234401 h 1240128"/>
              <a:gd name="csX94" fmla="*/ 357446 w 697572"/>
              <a:gd name="csY94" fmla="*/ 903795 h 1240128"/>
              <a:gd name="csX95" fmla="*/ 344445 w 697572"/>
              <a:gd name="csY95" fmla="*/ 903795 h 1240128"/>
              <a:gd name="csX96" fmla="*/ 349212 w 697572"/>
              <a:gd name="csY96" fmla="*/ 950515 h 1240128"/>
              <a:gd name="csX97" fmla="*/ 349538 w 697572"/>
              <a:gd name="csY97" fmla="*/ 1069392 h 1240128"/>
              <a:gd name="csX98" fmla="*/ 349415 w 697572"/>
              <a:gd name="csY98" fmla="*/ 1108925 h 1240128"/>
              <a:gd name="csX99" fmla="*/ 647726 w 697572"/>
              <a:gd name="csY99" fmla="*/ 1089872 h 1240128"/>
              <a:gd name="csX100" fmla="*/ 647654 w 697572"/>
              <a:gd name="csY100" fmla="*/ 1076267 h 1240128"/>
              <a:gd name="csX101" fmla="*/ 610267 w 697572"/>
              <a:gd name="csY101" fmla="*/ 994126 h 1240128"/>
              <a:gd name="csX102" fmla="*/ 571459 w 697572"/>
              <a:gd name="csY102" fmla="*/ 956568 h 1240128"/>
              <a:gd name="csX103" fmla="*/ 541653 w 697572"/>
              <a:gd name="csY103" fmla="*/ 901544 h 1240128"/>
              <a:gd name="csX104" fmla="*/ 539477 w 697572"/>
              <a:gd name="csY104" fmla="*/ 895908 h 1240128"/>
              <a:gd name="csX105" fmla="*/ 357446 w 697572"/>
              <a:gd name="csY105" fmla="*/ 903795 h 1240128"/>
              <a:gd name="csX106" fmla="*/ 300108 w 697572"/>
              <a:gd name="csY106" fmla="*/ 85260 h 1240128"/>
              <a:gd name="csX107" fmla="*/ 290213 w 697572"/>
              <a:gd name="csY107" fmla="*/ 127888 h 1240128"/>
              <a:gd name="csX108" fmla="*/ 331056 w 697572"/>
              <a:gd name="csY108" fmla="*/ 214168 h 1240128"/>
              <a:gd name="csX109" fmla="*/ 424717 w 697572"/>
              <a:gd name="csY109" fmla="*/ 245160 h 1240128"/>
              <a:gd name="csX110" fmla="*/ 496752 w 697572"/>
              <a:gd name="csY110" fmla="*/ 141256 h 1240128"/>
              <a:gd name="csX111" fmla="*/ 390320 w 697572"/>
              <a:gd name="csY111" fmla="*/ 43995 h 1240128"/>
              <a:gd name="csX112" fmla="*/ 300108 w 697572"/>
              <a:gd name="csY112" fmla="*/ 85260 h 1240128"/>
              <a:gd name="csX113" fmla="*/ 343360 w 697572"/>
              <a:gd name="csY113" fmla="*/ 634332 h 1240128"/>
              <a:gd name="csX114" fmla="*/ 340877 w 697572"/>
              <a:gd name="csY114" fmla="*/ 732259 h 1240128"/>
              <a:gd name="csX115" fmla="*/ 338360 w 697572"/>
              <a:gd name="csY115" fmla="*/ 810538 h 1240128"/>
              <a:gd name="csX116" fmla="*/ 337115 w 697572"/>
              <a:gd name="csY116" fmla="*/ 817736 h 1240128"/>
              <a:gd name="csX117" fmla="*/ 336516 w 697572"/>
              <a:gd name="csY117" fmla="*/ 863022 h 1240128"/>
              <a:gd name="csX118" fmla="*/ 343436 w 697572"/>
              <a:gd name="csY118" fmla="*/ 864027 h 1240128"/>
              <a:gd name="csX119" fmla="*/ 406718 w 697572"/>
              <a:gd name="csY119" fmla="*/ 862982 h 1240128"/>
              <a:gd name="csX120" fmla="*/ 456888 w 697572"/>
              <a:gd name="csY120" fmla="*/ 861794 h 1240128"/>
              <a:gd name="csX121" fmla="*/ 495873 w 697572"/>
              <a:gd name="csY121" fmla="*/ 863963 h 1240128"/>
              <a:gd name="csX122" fmla="*/ 509286 w 697572"/>
              <a:gd name="csY122" fmla="*/ 863595 h 1240128"/>
              <a:gd name="csX123" fmla="*/ 516956 w 697572"/>
              <a:gd name="csY123" fmla="*/ 856791 h 1240128"/>
              <a:gd name="csX124" fmla="*/ 513920 w 697572"/>
              <a:gd name="csY124" fmla="*/ 848709 h 1240128"/>
              <a:gd name="csX125" fmla="*/ 506683 w 697572"/>
              <a:gd name="csY125" fmla="*/ 839054 h 1240128"/>
              <a:gd name="csX126" fmla="*/ 488629 w 697572"/>
              <a:gd name="csY126" fmla="*/ 799037 h 1240128"/>
              <a:gd name="csX127" fmla="*/ 456922 w 697572"/>
              <a:gd name="csY127" fmla="*/ 696297 h 1240128"/>
              <a:gd name="csX128" fmla="*/ 441346 w 697572"/>
              <a:gd name="csY128" fmla="*/ 619885 h 1240128"/>
              <a:gd name="csX129" fmla="*/ 435963 w 697572"/>
              <a:gd name="csY129" fmla="*/ 582529 h 1240128"/>
              <a:gd name="csX130" fmla="*/ 429497 w 697572"/>
              <a:gd name="csY130" fmla="*/ 521990 h 1240128"/>
              <a:gd name="csX131" fmla="*/ 426887 w 697572"/>
              <a:gd name="csY131" fmla="*/ 471989 h 1240128"/>
              <a:gd name="csX132" fmla="*/ 413744 w 697572"/>
              <a:gd name="csY132" fmla="*/ 461077 h 1240128"/>
              <a:gd name="csX133" fmla="*/ 353573 w 697572"/>
              <a:gd name="csY133" fmla="*/ 461120 h 1240128"/>
              <a:gd name="csX134" fmla="*/ 344160 w 697572"/>
              <a:gd name="csY134" fmla="*/ 462286 h 1240128"/>
              <a:gd name="csX135" fmla="*/ 343404 w 697572"/>
              <a:gd name="csY135" fmla="*/ 469192 h 1240128"/>
              <a:gd name="csX136" fmla="*/ 343469 w 697572"/>
              <a:gd name="csY136" fmla="*/ 574797 h 1240128"/>
              <a:gd name="csX137" fmla="*/ 345522 w 697572"/>
              <a:gd name="csY137" fmla="*/ 591669 h 1240128"/>
              <a:gd name="csX138" fmla="*/ 343360 w 697572"/>
              <a:gd name="csY138" fmla="*/ 634332 h 1240128"/>
              <a:gd name="csX139" fmla="*/ 416946 w 697572"/>
              <a:gd name="csY139" fmla="*/ 385943 h 1240128"/>
              <a:gd name="csX140" fmla="*/ 401091 w 697572"/>
              <a:gd name="csY140" fmla="*/ 387162 h 1240128"/>
              <a:gd name="csX141" fmla="*/ 369218 w 697572"/>
              <a:gd name="csY141" fmla="*/ 387708 h 1240128"/>
              <a:gd name="csX142" fmla="*/ 351833 w 697572"/>
              <a:gd name="csY142" fmla="*/ 398991 h 1240128"/>
              <a:gd name="csX143" fmla="*/ 349778 w 697572"/>
              <a:gd name="csY143" fmla="*/ 426021 h 1240128"/>
              <a:gd name="csX144" fmla="*/ 361839 w 697572"/>
              <a:gd name="csY144" fmla="*/ 426538 h 1240128"/>
              <a:gd name="csX145" fmla="*/ 455022 w 697572"/>
              <a:gd name="csY145" fmla="*/ 426922 h 1240128"/>
              <a:gd name="csX146" fmla="*/ 481958 w 697572"/>
              <a:gd name="csY146" fmla="*/ 426527 h 1240128"/>
              <a:gd name="csX147" fmla="*/ 499817 w 697572"/>
              <a:gd name="csY147" fmla="*/ 419888 h 1240128"/>
              <a:gd name="csX148" fmla="*/ 499439 w 697572"/>
              <a:gd name="csY148" fmla="*/ 400719 h 1240128"/>
              <a:gd name="csX149" fmla="*/ 468062 w 697572"/>
              <a:gd name="csY149" fmla="*/ 387775 h 1240128"/>
              <a:gd name="csX150" fmla="*/ 416946 w 697572"/>
              <a:gd name="csY150" fmla="*/ 385943 h 1240128"/>
              <a:gd name="csX151" fmla="*/ 636802 w 697572"/>
              <a:gd name="csY151" fmla="*/ 1190940 h 1240128"/>
              <a:gd name="csX152" fmla="*/ 666492 w 697572"/>
              <a:gd name="csY152" fmla="*/ 1184186 h 1240128"/>
              <a:gd name="csX153" fmla="*/ 674465 w 697572"/>
              <a:gd name="csY153" fmla="*/ 1170880 h 1240128"/>
              <a:gd name="csX154" fmla="*/ 662462 w 697572"/>
              <a:gd name="csY154" fmla="*/ 1141464 h 1240128"/>
              <a:gd name="csX155" fmla="*/ 645564 w 697572"/>
              <a:gd name="csY155" fmla="*/ 1131937 h 1240128"/>
              <a:gd name="csX156" fmla="*/ 627387 w 697572"/>
              <a:gd name="csY156" fmla="*/ 1133618 h 1240128"/>
              <a:gd name="csX157" fmla="*/ 583917 w 697572"/>
              <a:gd name="csY157" fmla="*/ 1139222 h 1240128"/>
              <a:gd name="csX158" fmla="*/ 543741 w 697572"/>
              <a:gd name="csY158" fmla="*/ 1141869 h 1240128"/>
              <a:gd name="csX159" fmla="*/ 512146 w 697572"/>
              <a:gd name="csY159" fmla="*/ 1144418 h 1240128"/>
              <a:gd name="csX160" fmla="*/ 447711 w 697572"/>
              <a:gd name="csY160" fmla="*/ 1148973 h 1240128"/>
              <a:gd name="csX161" fmla="*/ 351979 w 697572"/>
              <a:gd name="csY161" fmla="*/ 1149200 h 1240128"/>
              <a:gd name="csX162" fmla="*/ 338443 w 697572"/>
              <a:gd name="csY162" fmla="*/ 1150040 h 1240128"/>
              <a:gd name="csX163" fmla="*/ 338451 w 697572"/>
              <a:gd name="csY163" fmla="*/ 1190780 h 1240128"/>
              <a:gd name="csX164" fmla="*/ 351082 w 697572"/>
              <a:gd name="csY164" fmla="*/ 1207015 h 1240128"/>
              <a:gd name="csX165" fmla="*/ 358298 w 697572"/>
              <a:gd name="csY165" fmla="*/ 1208094 h 1240128"/>
              <a:gd name="csX166" fmla="*/ 521229 w 697572"/>
              <a:gd name="csY166" fmla="*/ 1205646 h 1240128"/>
              <a:gd name="csX167" fmla="*/ 523675 w 697572"/>
              <a:gd name="csY167" fmla="*/ 1205490 h 1240128"/>
              <a:gd name="csX168" fmla="*/ 580423 w 697572"/>
              <a:gd name="csY168" fmla="*/ 1198350 h 1240128"/>
              <a:gd name="csX169" fmla="*/ 636802 w 697572"/>
              <a:gd name="csY169" fmla="*/ 1190940 h 124012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</a:cxnLst>
            <a:rect l="l" t="t" r="r" b="b"/>
            <a:pathLst>
              <a:path w="697572" h="1240128">
                <a:moveTo>
                  <a:pt x="581793" y="1234401"/>
                </a:moveTo>
                <a:cubicBezTo>
                  <a:pt x="580693" y="1234661"/>
                  <a:pt x="579594" y="1234922"/>
                  <a:pt x="577427" y="1234156"/>
                </a:cubicBezTo>
                <a:cubicBezTo>
                  <a:pt x="571216" y="1227899"/>
                  <a:pt x="564912" y="1230441"/>
                  <a:pt x="559133" y="1230909"/>
                </a:cubicBezTo>
                <a:cubicBezTo>
                  <a:pt x="544971" y="1232056"/>
                  <a:pt x="530869" y="1233971"/>
                  <a:pt x="516706" y="1235117"/>
                </a:cubicBezTo>
                <a:cubicBezTo>
                  <a:pt x="502910" y="1236232"/>
                  <a:pt x="489077" y="1237097"/>
                  <a:pt x="475244" y="1237506"/>
                </a:cubicBezTo>
                <a:cubicBezTo>
                  <a:pt x="440539" y="1238535"/>
                  <a:pt x="405696" y="1241458"/>
                  <a:pt x="371154" y="1239428"/>
                </a:cubicBezTo>
                <a:cubicBezTo>
                  <a:pt x="339645" y="1237575"/>
                  <a:pt x="308239" y="1238753"/>
                  <a:pt x="276813" y="1237654"/>
                </a:cubicBezTo>
                <a:cubicBezTo>
                  <a:pt x="273949" y="1237553"/>
                  <a:pt x="271079" y="1237652"/>
                  <a:pt x="268212" y="1237635"/>
                </a:cubicBezTo>
                <a:cubicBezTo>
                  <a:pt x="266165" y="1237623"/>
                  <a:pt x="264111" y="1237668"/>
                  <a:pt x="262072" y="1237523"/>
                </a:cubicBezTo>
                <a:cubicBezTo>
                  <a:pt x="239751" y="1235944"/>
                  <a:pt x="217441" y="1234201"/>
                  <a:pt x="195111" y="1232775"/>
                </a:cubicBezTo>
                <a:cubicBezTo>
                  <a:pt x="178437" y="1231710"/>
                  <a:pt x="161712" y="1231378"/>
                  <a:pt x="145060" y="1230076"/>
                </a:cubicBezTo>
                <a:cubicBezTo>
                  <a:pt x="134969" y="1229287"/>
                  <a:pt x="124987" y="1227177"/>
                  <a:pt x="114933" y="1225832"/>
                </a:cubicBezTo>
                <a:cubicBezTo>
                  <a:pt x="100834" y="1223946"/>
                  <a:pt x="86554" y="1223022"/>
                  <a:pt x="72642" y="1220237"/>
                </a:cubicBezTo>
                <a:cubicBezTo>
                  <a:pt x="51920" y="1216091"/>
                  <a:pt x="31443" y="1210723"/>
                  <a:pt x="10894" y="1205737"/>
                </a:cubicBezTo>
                <a:cubicBezTo>
                  <a:pt x="9027" y="1205284"/>
                  <a:pt x="6196" y="1204140"/>
                  <a:pt x="5856" y="1202799"/>
                </a:cubicBezTo>
                <a:cubicBezTo>
                  <a:pt x="3474" y="1193418"/>
                  <a:pt x="-438" y="1183796"/>
                  <a:pt x="40" y="1174450"/>
                </a:cubicBezTo>
                <a:cubicBezTo>
                  <a:pt x="1079" y="1154149"/>
                  <a:pt x="9757" y="1135843"/>
                  <a:pt x="19831" y="1118410"/>
                </a:cubicBezTo>
                <a:cubicBezTo>
                  <a:pt x="21968" y="1114713"/>
                  <a:pt x="22970" y="1111858"/>
                  <a:pt x="22004" y="1107240"/>
                </a:cubicBezTo>
                <a:cubicBezTo>
                  <a:pt x="17168" y="1084118"/>
                  <a:pt x="17717" y="1061168"/>
                  <a:pt x="25947" y="1038650"/>
                </a:cubicBezTo>
                <a:cubicBezTo>
                  <a:pt x="32954" y="1019481"/>
                  <a:pt x="44478" y="1003118"/>
                  <a:pt x="58234" y="988567"/>
                </a:cubicBezTo>
                <a:cubicBezTo>
                  <a:pt x="77769" y="967902"/>
                  <a:pt x="97978" y="947832"/>
                  <a:pt x="118645" y="928298"/>
                </a:cubicBezTo>
                <a:cubicBezTo>
                  <a:pt x="130104" y="917467"/>
                  <a:pt x="131835" y="905961"/>
                  <a:pt x="126320" y="892015"/>
                </a:cubicBezTo>
                <a:cubicBezTo>
                  <a:pt x="123798" y="885637"/>
                  <a:pt x="122123" y="878904"/>
                  <a:pt x="120345" y="872258"/>
                </a:cubicBezTo>
                <a:cubicBezTo>
                  <a:pt x="119029" y="867341"/>
                  <a:pt x="120162" y="863613"/>
                  <a:pt x="125668" y="861640"/>
                </a:cubicBezTo>
                <a:cubicBezTo>
                  <a:pt x="135266" y="858201"/>
                  <a:pt x="144535" y="853788"/>
                  <a:pt x="154237" y="850716"/>
                </a:cubicBezTo>
                <a:cubicBezTo>
                  <a:pt x="161882" y="848296"/>
                  <a:pt x="167110" y="843897"/>
                  <a:pt x="170248" y="836767"/>
                </a:cubicBezTo>
                <a:cubicBezTo>
                  <a:pt x="176168" y="823316"/>
                  <a:pt x="182193" y="809907"/>
                  <a:pt x="187840" y="796341"/>
                </a:cubicBezTo>
                <a:cubicBezTo>
                  <a:pt x="195194" y="778679"/>
                  <a:pt x="202250" y="760894"/>
                  <a:pt x="209346" y="743126"/>
                </a:cubicBezTo>
                <a:cubicBezTo>
                  <a:pt x="210083" y="741280"/>
                  <a:pt x="210252" y="739200"/>
                  <a:pt x="210630" y="737219"/>
                </a:cubicBezTo>
                <a:cubicBezTo>
                  <a:pt x="211694" y="731645"/>
                  <a:pt x="212425" y="725987"/>
                  <a:pt x="213836" y="720505"/>
                </a:cubicBezTo>
                <a:cubicBezTo>
                  <a:pt x="218406" y="702764"/>
                  <a:pt x="223811" y="685219"/>
                  <a:pt x="227791" y="667353"/>
                </a:cubicBezTo>
                <a:cubicBezTo>
                  <a:pt x="232826" y="644755"/>
                  <a:pt x="237367" y="622009"/>
                  <a:pt x="241013" y="599151"/>
                </a:cubicBezTo>
                <a:cubicBezTo>
                  <a:pt x="244018" y="580319"/>
                  <a:pt x="246001" y="561272"/>
                  <a:pt x="247322" y="542242"/>
                </a:cubicBezTo>
                <a:cubicBezTo>
                  <a:pt x="248312" y="527975"/>
                  <a:pt x="246344" y="513451"/>
                  <a:pt x="247948" y="499296"/>
                </a:cubicBezTo>
                <a:cubicBezTo>
                  <a:pt x="249066" y="489432"/>
                  <a:pt x="247923" y="480014"/>
                  <a:pt x="247577" y="470384"/>
                </a:cubicBezTo>
                <a:cubicBezTo>
                  <a:pt x="247364" y="464453"/>
                  <a:pt x="245121" y="461397"/>
                  <a:pt x="238877" y="460987"/>
                </a:cubicBezTo>
                <a:cubicBezTo>
                  <a:pt x="233224" y="460615"/>
                  <a:pt x="227461" y="459920"/>
                  <a:pt x="222040" y="458353"/>
                </a:cubicBezTo>
                <a:cubicBezTo>
                  <a:pt x="203991" y="453134"/>
                  <a:pt x="185737" y="448229"/>
                  <a:pt x="172193" y="433714"/>
                </a:cubicBezTo>
                <a:cubicBezTo>
                  <a:pt x="162702" y="423544"/>
                  <a:pt x="160887" y="408134"/>
                  <a:pt x="168410" y="396591"/>
                </a:cubicBezTo>
                <a:cubicBezTo>
                  <a:pt x="178294" y="381428"/>
                  <a:pt x="193736" y="373793"/>
                  <a:pt x="209826" y="367773"/>
                </a:cubicBezTo>
                <a:cubicBezTo>
                  <a:pt x="223159" y="362784"/>
                  <a:pt x="237124" y="359493"/>
                  <a:pt x="250732" y="355208"/>
                </a:cubicBezTo>
                <a:cubicBezTo>
                  <a:pt x="253085" y="354467"/>
                  <a:pt x="255058" y="352518"/>
                  <a:pt x="258289" y="350426"/>
                </a:cubicBezTo>
                <a:cubicBezTo>
                  <a:pt x="250173" y="342610"/>
                  <a:pt x="241833" y="337880"/>
                  <a:pt x="233274" y="333513"/>
                </a:cubicBezTo>
                <a:cubicBezTo>
                  <a:pt x="232377" y="333055"/>
                  <a:pt x="230890" y="333758"/>
                  <a:pt x="229677" y="333922"/>
                </a:cubicBezTo>
                <a:cubicBezTo>
                  <a:pt x="229677" y="333922"/>
                  <a:pt x="230323" y="333834"/>
                  <a:pt x="230149" y="332979"/>
                </a:cubicBezTo>
                <a:cubicBezTo>
                  <a:pt x="229023" y="330409"/>
                  <a:pt x="228502" y="328059"/>
                  <a:pt x="227053" y="327076"/>
                </a:cubicBezTo>
                <a:cubicBezTo>
                  <a:pt x="213615" y="317962"/>
                  <a:pt x="204643" y="305332"/>
                  <a:pt x="196769" y="291380"/>
                </a:cubicBezTo>
                <a:cubicBezTo>
                  <a:pt x="191792" y="282564"/>
                  <a:pt x="185421" y="274665"/>
                  <a:pt x="184389" y="264042"/>
                </a:cubicBezTo>
                <a:cubicBezTo>
                  <a:pt x="184179" y="261874"/>
                  <a:pt x="181925" y="259908"/>
                  <a:pt x="180630" y="257839"/>
                </a:cubicBezTo>
                <a:cubicBezTo>
                  <a:pt x="179137" y="255454"/>
                  <a:pt x="177317" y="253204"/>
                  <a:pt x="176231" y="250643"/>
                </a:cubicBezTo>
                <a:cubicBezTo>
                  <a:pt x="161865" y="216749"/>
                  <a:pt x="159606" y="182060"/>
                  <a:pt x="170073" y="146723"/>
                </a:cubicBezTo>
                <a:cubicBezTo>
                  <a:pt x="173311" y="135795"/>
                  <a:pt x="177248" y="125074"/>
                  <a:pt x="180929" y="114280"/>
                </a:cubicBezTo>
                <a:cubicBezTo>
                  <a:pt x="182396" y="109981"/>
                  <a:pt x="183922" y="105742"/>
                  <a:pt x="180839" y="101501"/>
                </a:cubicBezTo>
                <a:cubicBezTo>
                  <a:pt x="192473" y="75833"/>
                  <a:pt x="211344" y="56271"/>
                  <a:pt x="233536" y="39653"/>
                </a:cubicBezTo>
                <a:cubicBezTo>
                  <a:pt x="267321" y="14353"/>
                  <a:pt x="305621" y="873"/>
                  <a:pt x="347618" y="35"/>
                </a:cubicBezTo>
                <a:cubicBezTo>
                  <a:pt x="379125" y="-593"/>
                  <a:pt x="409214" y="7172"/>
                  <a:pt x="437139" y="22396"/>
                </a:cubicBezTo>
                <a:cubicBezTo>
                  <a:pt x="481844" y="46766"/>
                  <a:pt x="514077" y="82116"/>
                  <a:pt x="529052" y="131093"/>
                </a:cubicBezTo>
                <a:cubicBezTo>
                  <a:pt x="543544" y="178495"/>
                  <a:pt x="541630" y="225548"/>
                  <a:pt x="518497" y="271517"/>
                </a:cubicBezTo>
                <a:cubicBezTo>
                  <a:pt x="511428" y="277096"/>
                  <a:pt x="503848" y="281136"/>
                  <a:pt x="500808" y="287385"/>
                </a:cubicBezTo>
                <a:cubicBezTo>
                  <a:pt x="493932" y="301522"/>
                  <a:pt x="483805" y="312513"/>
                  <a:pt x="472948" y="323290"/>
                </a:cubicBezTo>
                <a:cubicBezTo>
                  <a:pt x="470972" y="325253"/>
                  <a:pt x="470533" y="328767"/>
                  <a:pt x="469385" y="331565"/>
                </a:cubicBezTo>
                <a:cubicBezTo>
                  <a:pt x="469385" y="331565"/>
                  <a:pt x="469172" y="331584"/>
                  <a:pt x="468293" y="331320"/>
                </a:cubicBezTo>
                <a:cubicBezTo>
                  <a:pt x="461937" y="330836"/>
                  <a:pt x="458618" y="332772"/>
                  <a:pt x="459542" y="338942"/>
                </a:cubicBezTo>
                <a:cubicBezTo>
                  <a:pt x="459542" y="338942"/>
                  <a:pt x="459473" y="338913"/>
                  <a:pt x="458492" y="338671"/>
                </a:cubicBezTo>
                <a:cubicBezTo>
                  <a:pt x="450936" y="342653"/>
                  <a:pt x="440712" y="341355"/>
                  <a:pt x="436978" y="352226"/>
                </a:cubicBezTo>
                <a:cubicBezTo>
                  <a:pt x="449178" y="355911"/>
                  <a:pt x="460733" y="359469"/>
                  <a:pt x="472329" y="362890"/>
                </a:cubicBezTo>
                <a:cubicBezTo>
                  <a:pt x="491728" y="368613"/>
                  <a:pt x="510182" y="375784"/>
                  <a:pt x="523779" y="391962"/>
                </a:cubicBezTo>
                <a:cubicBezTo>
                  <a:pt x="535849" y="406326"/>
                  <a:pt x="534845" y="420076"/>
                  <a:pt x="527344" y="430096"/>
                </a:cubicBezTo>
                <a:cubicBezTo>
                  <a:pt x="521323" y="438139"/>
                  <a:pt x="513928" y="445333"/>
                  <a:pt x="504112" y="449628"/>
                </a:cubicBezTo>
                <a:cubicBezTo>
                  <a:pt x="489776" y="455901"/>
                  <a:pt x="475173" y="460486"/>
                  <a:pt x="459430" y="461116"/>
                </a:cubicBezTo>
                <a:cubicBezTo>
                  <a:pt x="448415" y="461557"/>
                  <a:pt x="446384" y="463369"/>
                  <a:pt x="446666" y="474229"/>
                </a:cubicBezTo>
                <a:cubicBezTo>
                  <a:pt x="447164" y="493376"/>
                  <a:pt x="447839" y="512533"/>
                  <a:pt x="449133" y="531639"/>
                </a:cubicBezTo>
                <a:cubicBezTo>
                  <a:pt x="450424" y="550696"/>
                  <a:pt x="451783" y="569809"/>
                  <a:pt x="454546" y="588688"/>
                </a:cubicBezTo>
                <a:cubicBezTo>
                  <a:pt x="457543" y="609164"/>
                  <a:pt x="462165" y="629403"/>
                  <a:pt x="466126" y="649736"/>
                </a:cubicBezTo>
                <a:cubicBezTo>
                  <a:pt x="475845" y="699621"/>
                  <a:pt x="493414" y="746980"/>
                  <a:pt x="512154" y="794006"/>
                </a:cubicBezTo>
                <a:cubicBezTo>
                  <a:pt x="517387" y="807138"/>
                  <a:pt x="525145" y="819463"/>
                  <a:pt x="525763" y="834323"/>
                </a:cubicBezTo>
                <a:cubicBezTo>
                  <a:pt x="525919" y="838081"/>
                  <a:pt x="527739" y="843335"/>
                  <a:pt x="530555" y="845114"/>
                </a:cubicBezTo>
                <a:cubicBezTo>
                  <a:pt x="537981" y="849801"/>
                  <a:pt x="546243" y="853278"/>
                  <a:pt x="554424" y="856618"/>
                </a:cubicBezTo>
                <a:cubicBezTo>
                  <a:pt x="560391" y="859054"/>
                  <a:pt x="567041" y="859887"/>
                  <a:pt x="572880" y="862546"/>
                </a:cubicBezTo>
                <a:cubicBezTo>
                  <a:pt x="581470" y="866458"/>
                  <a:pt x="582467" y="871415"/>
                  <a:pt x="578643" y="880396"/>
                </a:cubicBezTo>
                <a:cubicBezTo>
                  <a:pt x="575969" y="886677"/>
                  <a:pt x="572900" y="893182"/>
                  <a:pt x="572188" y="899820"/>
                </a:cubicBezTo>
                <a:cubicBezTo>
                  <a:pt x="570960" y="911271"/>
                  <a:pt x="576506" y="920944"/>
                  <a:pt x="582698" y="930382"/>
                </a:cubicBezTo>
                <a:cubicBezTo>
                  <a:pt x="589569" y="940856"/>
                  <a:pt x="600933" y="947930"/>
                  <a:pt x="604747" y="960852"/>
                </a:cubicBezTo>
                <a:cubicBezTo>
                  <a:pt x="605684" y="964030"/>
                  <a:pt x="610294" y="967128"/>
                  <a:pt x="613863" y="968311"/>
                </a:cubicBezTo>
                <a:cubicBezTo>
                  <a:pt x="620963" y="970665"/>
                  <a:pt x="625924" y="974774"/>
                  <a:pt x="629435" y="981186"/>
                </a:cubicBezTo>
                <a:cubicBezTo>
                  <a:pt x="630381" y="982913"/>
                  <a:pt x="631977" y="984459"/>
                  <a:pt x="633611" y="985609"/>
                </a:cubicBezTo>
                <a:cubicBezTo>
                  <a:pt x="655878" y="1001272"/>
                  <a:pt x="668032" y="1023762"/>
                  <a:pt x="673790" y="1049348"/>
                </a:cubicBezTo>
                <a:cubicBezTo>
                  <a:pt x="676936" y="1063327"/>
                  <a:pt x="679769" y="1077802"/>
                  <a:pt x="675873" y="1092839"/>
                </a:cubicBezTo>
                <a:cubicBezTo>
                  <a:pt x="672677" y="1105174"/>
                  <a:pt x="673042" y="1116963"/>
                  <a:pt x="681668" y="1129292"/>
                </a:cubicBezTo>
                <a:cubicBezTo>
                  <a:pt x="695321" y="1148802"/>
                  <a:pt x="698550" y="1172235"/>
                  <a:pt x="697338" y="1196079"/>
                </a:cubicBezTo>
                <a:cubicBezTo>
                  <a:pt x="697087" y="1201014"/>
                  <a:pt x="694979" y="1203886"/>
                  <a:pt x="690637" y="1205035"/>
                </a:cubicBezTo>
                <a:cubicBezTo>
                  <a:pt x="673723" y="1209511"/>
                  <a:pt x="656856" y="1214241"/>
                  <a:pt x="639777" y="1217994"/>
                </a:cubicBezTo>
                <a:cubicBezTo>
                  <a:pt x="622334" y="1221827"/>
                  <a:pt x="604691" y="1224790"/>
                  <a:pt x="587072" y="1227761"/>
                </a:cubicBezTo>
                <a:cubicBezTo>
                  <a:pt x="582708" y="1228497"/>
                  <a:pt x="581724" y="1230736"/>
                  <a:pt x="581793" y="1234401"/>
                </a:cubicBezTo>
                <a:moveTo>
                  <a:pt x="357446" y="903795"/>
                </a:moveTo>
                <a:cubicBezTo>
                  <a:pt x="353141" y="903795"/>
                  <a:pt x="348835" y="903795"/>
                  <a:pt x="344445" y="903795"/>
                </a:cubicBezTo>
                <a:cubicBezTo>
                  <a:pt x="346169" y="920562"/>
                  <a:pt x="347908" y="935520"/>
                  <a:pt x="349212" y="950515"/>
                </a:cubicBezTo>
                <a:cubicBezTo>
                  <a:pt x="352656" y="990125"/>
                  <a:pt x="351941" y="1029743"/>
                  <a:pt x="349538" y="1069392"/>
                </a:cubicBezTo>
                <a:cubicBezTo>
                  <a:pt x="348759" y="1082241"/>
                  <a:pt x="349415" y="1095176"/>
                  <a:pt x="349415" y="1108925"/>
                </a:cubicBezTo>
                <a:cubicBezTo>
                  <a:pt x="449467" y="1111953"/>
                  <a:pt x="548509" y="1104712"/>
                  <a:pt x="647726" y="1089872"/>
                </a:cubicBezTo>
                <a:cubicBezTo>
                  <a:pt x="647726" y="1084313"/>
                  <a:pt x="648180" y="1080225"/>
                  <a:pt x="647654" y="1076267"/>
                </a:cubicBezTo>
                <a:cubicBezTo>
                  <a:pt x="643515" y="1045124"/>
                  <a:pt x="633172" y="1016714"/>
                  <a:pt x="610267" y="994126"/>
                </a:cubicBezTo>
                <a:cubicBezTo>
                  <a:pt x="597451" y="981485"/>
                  <a:pt x="584392" y="969090"/>
                  <a:pt x="571459" y="956568"/>
                </a:cubicBezTo>
                <a:cubicBezTo>
                  <a:pt x="555751" y="941359"/>
                  <a:pt x="544836" y="923558"/>
                  <a:pt x="541653" y="901544"/>
                </a:cubicBezTo>
                <a:cubicBezTo>
                  <a:pt x="541430" y="900007"/>
                  <a:pt x="540528" y="898570"/>
                  <a:pt x="539477" y="895908"/>
                </a:cubicBezTo>
                <a:cubicBezTo>
                  <a:pt x="479736" y="901652"/>
                  <a:pt x="419815" y="904536"/>
                  <a:pt x="357446" y="903795"/>
                </a:cubicBezTo>
                <a:moveTo>
                  <a:pt x="300108" y="85260"/>
                </a:moveTo>
                <a:cubicBezTo>
                  <a:pt x="293656" y="98745"/>
                  <a:pt x="289202" y="113094"/>
                  <a:pt x="290213" y="127888"/>
                </a:cubicBezTo>
                <a:cubicBezTo>
                  <a:pt x="292527" y="161736"/>
                  <a:pt x="304185" y="191723"/>
                  <a:pt x="331056" y="214168"/>
                </a:cubicBezTo>
                <a:cubicBezTo>
                  <a:pt x="358172" y="236816"/>
                  <a:pt x="388435" y="249934"/>
                  <a:pt x="424717" y="245160"/>
                </a:cubicBezTo>
                <a:cubicBezTo>
                  <a:pt x="468593" y="239387"/>
                  <a:pt x="509574" y="203365"/>
                  <a:pt x="496752" y="141256"/>
                </a:cubicBezTo>
                <a:cubicBezTo>
                  <a:pt x="487021" y="94124"/>
                  <a:pt x="447261" y="51874"/>
                  <a:pt x="390320" y="43995"/>
                </a:cubicBezTo>
                <a:cubicBezTo>
                  <a:pt x="353241" y="38865"/>
                  <a:pt x="321136" y="48750"/>
                  <a:pt x="300108" y="85260"/>
                </a:cubicBezTo>
                <a:moveTo>
                  <a:pt x="343360" y="634332"/>
                </a:moveTo>
                <a:cubicBezTo>
                  <a:pt x="342539" y="666975"/>
                  <a:pt x="341785" y="699619"/>
                  <a:pt x="340877" y="732259"/>
                </a:cubicBezTo>
                <a:cubicBezTo>
                  <a:pt x="340151" y="758355"/>
                  <a:pt x="339265" y="784447"/>
                  <a:pt x="338360" y="810538"/>
                </a:cubicBezTo>
                <a:cubicBezTo>
                  <a:pt x="338277" y="812948"/>
                  <a:pt x="337465" y="815325"/>
                  <a:pt x="337115" y="817736"/>
                </a:cubicBezTo>
                <a:cubicBezTo>
                  <a:pt x="334935" y="832710"/>
                  <a:pt x="336026" y="847647"/>
                  <a:pt x="336516" y="863022"/>
                </a:cubicBezTo>
                <a:cubicBezTo>
                  <a:pt x="339537" y="863479"/>
                  <a:pt x="341490" y="864053"/>
                  <a:pt x="343436" y="864027"/>
                </a:cubicBezTo>
                <a:cubicBezTo>
                  <a:pt x="364531" y="863739"/>
                  <a:pt x="385626" y="863422"/>
                  <a:pt x="406718" y="862982"/>
                </a:cubicBezTo>
                <a:cubicBezTo>
                  <a:pt x="423444" y="862634"/>
                  <a:pt x="440168" y="861675"/>
                  <a:pt x="456888" y="861794"/>
                </a:cubicBezTo>
                <a:cubicBezTo>
                  <a:pt x="469887" y="861886"/>
                  <a:pt x="482872" y="863302"/>
                  <a:pt x="495873" y="863963"/>
                </a:cubicBezTo>
                <a:cubicBezTo>
                  <a:pt x="500358" y="864191"/>
                  <a:pt x="505108" y="864773"/>
                  <a:pt x="509286" y="863595"/>
                </a:cubicBezTo>
                <a:cubicBezTo>
                  <a:pt x="512346" y="862732"/>
                  <a:pt x="515714" y="859703"/>
                  <a:pt x="516956" y="856791"/>
                </a:cubicBezTo>
                <a:cubicBezTo>
                  <a:pt x="517783" y="854851"/>
                  <a:pt x="515475" y="851192"/>
                  <a:pt x="513920" y="848709"/>
                </a:cubicBezTo>
                <a:cubicBezTo>
                  <a:pt x="511791" y="845308"/>
                  <a:pt x="508393" y="842606"/>
                  <a:pt x="506683" y="839054"/>
                </a:cubicBezTo>
                <a:cubicBezTo>
                  <a:pt x="500331" y="825864"/>
                  <a:pt x="493224" y="812855"/>
                  <a:pt x="488629" y="799037"/>
                </a:cubicBezTo>
                <a:cubicBezTo>
                  <a:pt x="477322" y="765031"/>
                  <a:pt x="466537" y="730814"/>
                  <a:pt x="456922" y="696297"/>
                </a:cubicBezTo>
                <a:cubicBezTo>
                  <a:pt x="449953" y="671276"/>
                  <a:pt x="443477" y="646020"/>
                  <a:pt x="441346" y="619885"/>
                </a:cubicBezTo>
                <a:cubicBezTo>
                  <a:pt x="440327" y="607371"/>
                  <a:pt x="437466" y="595018"/>
                  <a:pt x="435963" y="582529"/>
                </a:cubicBezTo>
                <a:cubicBezTo>
                  <a:pt x="433539" y="562380"/>
                  <a:pt x="431154" y="542212"/>
                  <a:pt x="429497" y="521990"/>
                </a:cubicBezTo>
                <a:cubicBezTo>
                  <a:pt x="428135" y="505363"/>
                  <a:pt x="428437" y="488593"/>
                  <a:pt x="426887" y="471989"/>
                </a:cubicBezTo>
                <a:cubicBezTo>
                  <a:pt x="425874" y="461140"/>
                  <a:pt x="424983" y="461120"/>
                  <a:pt x="413744" y="461077"/>
                </a:cubicBezTo>
                <a:cubicBezTo>
                  <a:pt x="393687" y="461000"/>
                  <a:pt x="373630" y="461011"/>
                  <a:pt x="353573" y="461120"/>
                </a:cubicBezTo>
                <a:cubicBezTo>
                  <a:pt x="350472" y="461137"/>
                  <a:pt x="347374" y="461869"/>
                  <a:pt x="344160" y="462286"/>
                </a:cubicBezTo>
                <a:cubicBezTo>
                  <a:pt x="343828" y="465198"/>
                  <a:pt x="343406" y="467195"/>
                  <a:pt x="343404" y="469192"/>
                </a:cubicBezTo>
                <a:cubicBezTo>
                  <a:pt x="343360" y="504394"/>
                  <a:pt x="343267" y="539596"/>
                  <a:pt x="343469" y="574797"/>
                </a:cubicBezTo>
                <a:cubicBezTo>
                  <a:pt x="343501" y="580426"/>
                  <a:pt x="345652" y="586065"/>
                  <a:pt x="345522" y="591669"/>
                </a:cubicBezTo>
                <a:cubicBezTo>
                  <a:pt x="345214" y="605082"/>
                  <a:pt x="344131" y="618478"/>
                  <a:pt x="343360" y="634332"/>
                </a:cubicBezTo>
                <a:moveTo>
                  <a:pt x="416946" y="385943"/>
                </a:moveTo>
                <a:cubicBezTo>
                  <a:pt x="411661" y="386365"/>
                  <a:pt x="406384" y="387006"/>
                  <a:pt x="401091" y="387162"/>
                </a:cubicBezTo>
                <a:cubicBezTo>
                  <a:pt x="390470" y="387477"/>
                  <a:pt x="379841" y="387447"/>
                  <a:pt x="369218" y="387708"/>
                </a:cubicBezTo>
                <a:cubicBezTo>
                  <a:pt x="361167" y="387906"/>
                  <a:pt x="354429" y="391368"/>
                  <a:pt x="351833" y="398991"/>
                </a:cubicBezTo>
                <a:cubicBezTo>
                  <a:pt x="348989" y="407342"/>
                  <a:pt x="347050" y="416214"/>
                  <a:pt x="349778" y="426021"/>
                </a:cubicBezTo>
                <a:cubicBezTo>
                  <a:pt x="353876" y="426204"/>
                  <a:pt x="357857" y="426517"/>
                  <a:pt x="361839" y="426538"/>
                </a:cubicBezTo>
                <a:cubicBezTo>
                  <a:pt x="392900" y="426701"/>
                  <a:pt x="423961" y="426826"/>
                  <a:pt x="455022" y="426922"/>
                </a:cubicBezTo>
                <a:cubicBezTo>
                  <a:pt x="464013" y="426950"/>
                  <a:pt x="473106" y="427654"/>
                  <a:pt x="481958" y="426527"/>
                </a:cubicBezTo>
                <a:cubicBezTo>
                  <a:pt x="488144" y="425740"/>
                  <a:pt x="494821" y="423501"/>
                  <a:pt x="499817" y="419888"/>
                </a:cubicBezTo>
                <a:cubicBezTo>
                  <a:pt x="507869" y="414066"/>
                  <a:pt x="507286" y="406755"/>
                  <a:pt x="499439" y="400719"/>
                </a:cubicBezTo>
                <a:cubicBezTo>
                  <a:pt x="490179" y="393597"/>
                  <a:pt x="479486" y="388885"/>
                  <a:pt x="468062" y="387775"/>
                </a:cubicBezTo>
                <a:cubicBezTo>
                  <a:pt x="451873" y="386202"/>
                  <a:pt x="435520" y="386321"/>
                  <a:pt x="416946" y="385943"/>
                </a:cubicBezTo>
                <a:moveTo>
                  <a:pt x="636802" y="1190940"/>
                </a:moveTo>
                <a:cubicBezTo>
                  <a:pt x="646709" y="1188723"/>
                  <a:pt x="656705" y="1186841"/>
                  <a:pt x="666492" y="1184186"/>
                </a:cubicBezTo>
                <a:cubicBezTo>
                  <a:pt x="674710" y="1181958"/>
                  <a:pt x="676989" y="1178509"/>
                  <a:pt x="674465" y="1170880"/>
                </a:cubicBezTo>
                <a:cubicBezTo>
                  <a:pt x="671144" y="1160843"/>
                  <a:pt x="667026" y="1151009"/>
                  <a:pt x="662462" y="1141464"/>
                </a:cubicBezTo>
                <a:cubicBezTo>
                  <a:pt x="659273" y="1134795"/>
                  <a:pt x="653671" y="1130908"/>
                  <a:pt x="645564" y="1131937"/>
                </a:cubicBezTo>
                <a:cubicBezTo>
                  <a:pt x="639532" y="1132703"/>
                  <a:pt x="633423" y="1132867"/>
                  <a:pt x="627387" y="1133618"/>
                </a:cubicBezTo>
                <a:cubicBezTo>
                  <a:pt x="612888" y="1135421"/>
                  <a:pt x="598449" y="1137770"/>
                  <a:pt x="583917" y="1139222"/>
                </a:cubicBezTo>
                <a:cubicBezTo>
                  <a:pt x="570571" y="1140557"/>
                  <a:pt x="557130" y="1140930"/>
                  <a:pt x="543741" y="1141869"/>
                </a:cubicBezTo>
                <a:cubicBezTo>
                  <a:pt x="533202" y="1142610"/>
                  <a:pt x="522682" y="1143623"/>
                  <a:pt x="512146" y="1144418"/>
                </a:cubicBezTo>
                <a:cubicBezTo>
                  <a:pt x="490671" y="1146038"/>
                  <a:pt x="469214" y="1148450"/>
                  <a:pt x="447711" y="1148973"/>
                </a:cubicBezTo>
                <a:cubicBezTo>
                  <a:pt x="415817" y="1149749"/>
                  <a:pt x="383891" y="1149136"/>
                  <a:pt x="351979" y="1149200"/>
                </a:cubicBezTo>
                <a:cubicBezTo>
                  <a:pt x="347698" y="1149209"/>
                  <a:pt x="343419" y="1149717"/>
                  <a:pt x="338443" y="1150040"/>
                </a:cubicBezTo>
                <a:cubicBezTo>
                  <a:pt x="338443" y="1164651"/>
                  <a:pt x="338413" y="1177715"/>
                  <a:pt x="338451" y="1190780"/>
                </a:cubicBezTo>
                <a:cubicBezTo>
                  <a:pt x="338490" y="1204031"/>
                  <a:pt x="338512" y="1204062"/>
                  <a:pt x="351082" y="1207015"/>
                </a:cubicBezTo>
                <a:cubicBezTo>
                  <a:pt x="353445" y="1207570"/>
                  <a:pt x="355895" y="1208128"/>
                  <a:pt x="358298" y="1208094"/>
                </a:cubicBezTo>
                <a:cubicBezTo>
                  <a:pt x="412608" y="1207329"/>
                  <a:pt x="466919" y="1206484"/>
                  <a:pt x="521229" y="1205646"/>
                </a:cubicBezTo>
                <a:cubicBezTo>
                  <a:pt x="522045" y="1205634"/>
                  <a:pt x="522865" y="1205591"/>
                  <a:pt x="523675" y="1205490"/>
                </a:cubicBezTo>
                <a:cubicBezTo>
                  <a:pt x="542593" y="1203123"/>
                  <a:pt x="561519" y="1200820"/>
                  <a:pt x="580423" y="1198350"/>
                </a:cubicBezTo>
                <a:cubicBezTo>
                  <a:pt x="598523" y="1195985"/>
                  <a:pt x="616599" y="1193446"/>
                  <a:pt x="636802" y="1190940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964" name="Free-form: Shape 8963">
            <a:extLst>
              <a:ext uri="{FF2B5EF4-FFF2-40B4-BE49-F238E27FC236}">
                <a16:creationId xmlns:a16="http://schemas.microsoft.com/office/drawing/2014/main" id="{20033F6D-5EAB-050F-488F-4A9048A10A03}"/>
              </a:ext>
            </a:extLst>
          </p:cNvPr>
          <p:cNvSpPr/>
          <p:nvPr/>
        </p:nvSpPr>
        <p:spPr>
          <a:xfrm>
            <a:off x="1555236" y="2969486"/>
            <a:ext cx="17183" cy="1817"/>
          </a:xfrm>
          <a:custGeom>
            <a:avLst/>
            <a:gdLst>
              <a:gd name="csX0" fmla="*/ 0 w 27674"/>
              <a:gd name="csY0" fmla="*/ 2915 h 2925"/>
              <a:gd name="csX1" fmla="*/ 27675 w 27674"/>
              <a:gd name="csY1" fmla="*/ 1550 h 2925"/>
              <a:gd name="csX2" fmla="*/ 0 w 27674"/>
              <a:gd name="csY2" fmla="*/ 2915 h 292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27674" h="2925">
                <a:moveTo>
                  <a:pt x="0" y="2915"/>
                </a:moveTo>
                <a:cubicBezTo>
                  <a:pt x="8211" y="-1939"/>
                  <a:pt x="17625" y="498"/>
                  <a:pt x="27675" y="1550"/>
                </a:cubicBezTo>
                <a:cubicBezTo>
                  <a:pt x="19225" y="2593"/>
                  <a:pt x="10029" y="2999"/>
                  <a:pt x="0" y="2915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965" name="Free-form: Shape 8964">
            <a:extLst>
              <a:ext uri="{FF2B5EF4-FFF2-40B4-BE49-F238E27FC236}">
                <a16:creationId xmlns:a16="http://schemas.microsoft.com/office/drawing/2014/main" id="{68F57352-7967-8228-A317-96FC0AB376F0}"/>
              </a:ext>
            </a:extLst>
          </p:cNvPr>
          <p:cNvSpPr/>
          <p:nvPr/>
        </p:nvSpPr>
        <p:spPr>
          <a:xfrm>
            <a:off x="1507932" y="2970510"/>
            <a:ext cx="11179" cy="700"/>
          </a:xfrm>
          <a:custGeom>
            <a:avLst/>
            <a:gdLst>
              <a:gd name="csX0" fmla="*/ 0 w 18003"/>
              <a:gd name="csY0" fmla="*/ 1050 h 1128"/>
              <a:gd name="csX1" fmla="*/ 18004 w 18003"/>
              <a:gd name="csY1" fmla="*/ 93 h 1128"/>
              <a:gd name="csX2" fmla="*/ 0 w 18003"/>
              <a:gd name="csY2" fmla="*/ 1050 h 112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8003" h="1128">
                <a:moveTo>
                  <a:pt x="0" y="1050"/>
                </a:moveTo>
                <a:cubicBezTo>
                  <a:pt x="5276" y="182"/>
                  <a:pt x="11306" y="-189"/>
                  <a:pt x="18004" y="93"/>
                </a:cubicBezTo>
                <a:cubicBezTo>
                  <a:pt x="12699" y="1013"/>
                  <a:pt x="6726" y="1280"/>
                  <a:pt x="0" y="1050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966" name="Free-form: Shape 8965">
            <a:extLst>
              <a:ext uri="{FF2B5EF4-FFF2-40B4-BE49-F238E27FC236}">
                <a16:creationId xmlns:a16="http://schemas.microsoft.com/office/drawing/2014/main" id="{49B69AD7-E17A-21E2-2675-5E16D276478A}"/>
              </a:ext>
            </a:extLst>
          </p:cNvPr>
          <p:cNvSpPr/>
          <p:nvPr/>
        </p:nvSpPr>
        <p:spPr>
          <a:xfrm>
            <a:off x="1588899" y="2403710"/>
            <a:ext cx="5257" cy="4867"/>
          </a:xfrm>
          <a:custGeom>
            <a:avLst/>
            <a:gdLst>
              <a:gd name="csX0" fmla="*/ 473 w 8466"/>
              <a:gd name="csY0" fmla="*/ 7839 h 7838"/>
              <a:gd name="csX1" fmla="*/ 8466 w 8466"/>
              <a:gd name="csY1" fmla="*/ 61 h 7838"/>
              <a:gd name="csX2" fmla="*/ 473 w 8466"/>
              <a:gd name="csY2" fmla="*/ 7839 h 783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66" h="7838">
                <a:moveTo>
                  <a:pt x="473" y="7839"/>
                </a:moveTo>
                <a:cubicBezTo>
                  <a:pt x="-1298" y="1550"/>
                  <a:pt x="2020" y="-386"/>
                  <a:pt x="8466" y="61"/>
                </a:cubicBezTo>
                <a:cubicBezTo>
                  <a:pt x="6730" y="2845"/>
                  <a:pt x="4026" y="5401"/>
                  <a:pt x="473" y="7839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967" name="Free-form: Shape 8966">
            <a:extLst>
              <a:ext uri="{FF2B5EF4-FFF2-40B4-BE49-F238E27FC236}">
                <a16:creationId xmlns:a16="http://schemas.microsoft.com/office/drawing/2014/main" id="{68A77C09-3475-0B53-725D-50F5294EBD9E}"/>
              </a:ext>
            </a:extLst>
          </p:cNvPr>
          <p:cNvSpPr/>
          <p:nvPr/>
        </p:nvSpPr>
        <p:spPr>
          <a:xfrm>
            <a:off x="1452903" y="2968996"/>
            <a:ext cx="5265" cy="618"/>
          </a:xfrm>
          <a:custGeom>
            <a:avLst/>
            <a:gdLst>
              <a:gd name="csX0" fmla="*/ 0 w 8480"/>
              <a:gd name="csY0" fmla="*/ 896 h 996"/>
              <a:gd name="csX1" fmla="*/ 8480 w 8480"/>
              <a:gd name="csY1" fmla="*/ 110 h 996"/>
              <a:gd name="csX2" fmla="*/ 0 w 8480"/>
              <a:gd name="csY2" fmla="*/ 896 h 99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80" h="996">
                <a:moveTo>
                  <a:pt x="0" y="896"/>
                </a:moveTo>
                <a:cubicBezTo>
                  <a:pt x="2285" y="115"/>
                  <a:pt x="5130" y="-182"/>
                  <a:pt x="8480" y="110"/>
                </a:cubicBezTo>
                <a:cubicBezTo>
                  <a:pt x="6177" y="927"/>
                  <a:pt x="3368" y="1153"/>
                  <a:pt x="0" y="896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968" name="Free-form: Shape 8967">
            <a:extLst>
              <a:ext uri="{FF2B5EF4-FFF2-40B4-BE49-F238E27FC236}">
                <a16:creationId xmlns:a16="http://schemas.microsoft.com/office/drawing/2014/main" id="{676FECF6-ADC6-7E1D-A89B-22E7314E81AC}"/>
              </a:ext>
            </a:extLst>
          </p:cNvPr>
          <p:cNvSpPr/>
          <p:nvPr/>
        </p:nvSpPr>
        <p:spPr>
          <a:xfrm>
            <a:off x="1739664" y="2942467"/>
            <a:ext cx="763" cy="4134"/>
          </a:xfrm>
          <a:custGeom>
            <a:avLst/>
            <a:gdLst>
              <a:gd name="csX0" fmla="*/ 132 w 1229"/>
              <a:gd name="csY0" fmla="*/ 6659 h 6658"/>
              <a:gd name="csX1" fmla="*/ 1107 w 1229"/>
              <a:gd name="csY1" fmla="*/ 0 h 6658"/>
              <a:gd name="csX2" fmla="*/ 132 w 1229"/>
              <a:gd name="csY2" fmla="*/ 6659 h 665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229" h="6658">
                <a:moveTo>
                  <a:pt x="132" y="6659"/>
                </a:moveTo>
                <a:cubicBezTo>
                  <a:pt x="-219" y="4616"/>
                  <a:pt x="139" y="2560"/>
                  <a:pt x="1107" y="0"/>
                </a:cubicBezTo>
                <a:cubicBezTo>
                  <a:pt x="1425" y="1879"/>
                  <a:pt x="1133" y="4263"/>
                  <a:pt x="132" y="6659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969" name="Free-form: Shape 8968">
            <a:extLst>
              <a:ext uri="{FF2B5EF4-FFF2-40B4-BE49-F238E27FC236}">
                <a16:creationId xmlns:a16="http://schemas.microsoft.com/office/drawing/2014/main" id="{EFEF60A1-B4CB-B583-DF21-CB90A57B0753}"/>
              </a:ext>
            </a:extLst>
          </p:cNvPr>
          <p:cNvSpPr/>
          <p:nvPr/>
        </p:nvSpPr>
        <p:spPr>
          <a:xfrm>
            <a:off x="1672468" y="2962744"/>
            <a:ext cx="2352" cy="847"/>
          </a:xfrm>
          <a:custGeom>
            <a:avLst/>
            <a:gdLst>
              <a:gd name="csX0" fmla="*/ 0 w 3788"/>
              <a:gd name="csY0" fmla="*/ 1364 h 1364"/>
              <a:gd name="csX1" fmla="*/ 3788 w 3788"/>
              <a:gd name="csY1" fmla="*/ 0 h 1364"/>
              <a:gd name="csX2" fmla="*/ 0 w 3788"/>
              <a:gd name="csY2" fmla="*/ 1364 h 136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788" h="1364">
                <a:moveTo>
                  <a:pt x="0" y="1364"/>
                </a:moveTo>
                <a:cubicBezTo>
                  <a:pt x="856" y="517"/>
                  <a:pt x="2126" y="39"/>
                  <a:pt x="3788" y="0"/>
                </a:cubicBezTo>
                <a:cubicBezTo>
                  <a:pt x="2925" y="870"/>
                  <a:pt x="1670" y="1303"/>
                  <a:pt x="0" y="1364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970" name="Free-form: Shape 8969">
            <a:extLst>
              <a:ext uri="{FF2B5EF4-FFF2-40B4-BE49-F238E27FC236}">
                <a16:creationId xmlns:a16="http://schemas.microsoft.com/office/drawing/2014/main" id="{AB47C384-5FFF-BA02-A75B-5EF63854D77D}"/>
              </a:ext>
            </a:extLst>
          </p:cNvPr>
          <p:cNvSpPr/>
          <p:nvPr/>
        </p:nvSpPr>
        <p:spPr>
          <a:xfrm>
            <a:off x="1400885" y="2966018"/>
            <a:ext cx="2478" cy="515"/>
          </a:xfrm>
          <a:custGeom>
            <a:avLst/>
            <a:gdLst>
              <a:gd name="csX0" fmla="*/ 0 w 3990"/>
              <a:gd name="csY0" fmla="*/ 719 h 829"/>
              <a:gd name="csX1" fmla="*/ 3990 w 3990"/>
              <a:gd name="csY1" fmla="*/ 119 h 829"/>
              <a:gd name="csX2" fmla="*/ 0 w 3990"/>
              <a:gd name="csY2" fmla="*/ 719 h 82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990" h="829">
                <a:moveTo>
                  <a:pt x="0" y="719"/>
                </a:moveTo>
                <a:cubicBezTo>
                  <a:pt x="982" y="66"/>
                  <a:pt x="2323" y="-163"/>
                  <a:pt x="3990" y="119"/>
                </a:cubicBezTo>
                <a:cubicBezTo>
                  <a:pt x="2998" y="800"/>
                  <a:pt x="1678" y="972"/>
                  <a:pt x="0" y="719"/>
                </a:cubicBezTo>
                <a:close/>
              </a:path>
            </a:pathLst>
          </a:custGeom>
          <a:solidFill>
            <a:srgbClr val="959DA0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971" name="Free-form: Shape 8970">
            <a:extLst>
              <a:ext uri="{FF2B5EF4-FFF2-40B4-BE49-F238E27FC236}">
                <a16:creationId xmlns:a16="http://schemas.microsoft.com/office/drawing/2014/main" id="{557F26A9-24BB-E52A-E505-5D84359565F0}"/>
              </a:ext>
            </a:extLst>
          </p:cNvPr>
          <p:cNvSpPr/>
          <p:nvPr/>
        </p:nvSpPr>
        <p:spPr>
          <a:xfrm>
            <a:off x="1611433" y="2968974"/>
            <a:ext cx="2417" cy="705"/>
          </a:xfrm>
          <a:custGeom>
            <a:avLst/>
            <a:gdLst>
              <a:gd name="csX0" fmla="*/ 0 w 3893"/>
              <a:gd name="csY0" fmla="*/ 1133 h 1135"/>
              <a:gd name="csX1" fmla="*/ 3893 w 3893"/>
              <a:gd name="csY1" fmla="*/ 7 h 1135"/>
              <a:gd name="csX2" fmla="*/ 0 w 3893"/>
              <a:gd name="csY2" fmla="*/ 1133 h 113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893" h="1135">
                <a:moveTo>
                  <a:pt x="0" y="1133"/>
                </a:moveTo>
                <a:cubicBezTo>
                  <a:pt x="902" y="349"/>
                  <a:pt x="2213" y="-60"/>
                  <a:pt x="3893" y="7"/>
                </a:cubicBezTo>
                <a:cubicBezTo>
                  <a:pt x="2978" y="825"/>
                  <a:pt x="1693" y="1167"/>
                  <a:pt x="0" y="1133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972" name="Free-form: Shape 8971">
            <a:extLst>
              <a:ext uri="{FF2B5EF4-FFF2-40B4-BE49-F238E27FC236}">
                <a16:creationId xmlns:a16="http://schemas.microsoft.com/office/drawing/2014/main" id="{2F5EDDD7-CD93-BB32-A890-E2E2209A1130}"/>
              </a:ext>
            </a:extLst>
          </p:cNvPr>
          <p:cNvSpPr/>
          <p:nvPr/>
        </p:nvSpPr>
        <p:spPr>
          <a:xfrm>
            <a:off x="1511837" y="2484310"/>
            <a:ext cx="112588" cy="250407"/>
          </a:xfrm>
          <a:custGeom>
            <a:avLst/>
            <a:gdLst>
              <a:gd name="csX0" fmla="*/ 7554 w 181323"/>
              <a:gd name="csY0" fmla="*/ 172079 h 403282"/>
              <a:gd name="csX1" fmla="*/ 9716 w 181323"/>
              <a:gd name="csY1" fmla="*/ 130641 h 403282"/>
              <a:gd name="csX2" fmla="*/ 7663 w 181323"/>
              <a:gd name="csY2" fmla="*/ 113770 h 403282"/>
              <a:gd name="csX3" fmla="*/ 7598 w 181323"/>
              <a:gd name="csY3" fmla="*/ 8165 h 403282"/>
              <a:gd name="csX4" fmla="*/ 8353 w 181323"/>
              <a:gd name="csY4" fmla="*/ 1259 h 403282"/>
              <a:gd name="csX5" fmla="*/ 17767 w 181323"/>
              <a:gd name="csY5" fmla="*/ 93 h 403282"/>
              <a:gd name="csX6" fmla="*/ 77938 w 181323"/>
              <a:gd name="csY6" fmla="*/ 50 h 403282"/>
              <a:gd name="csX7" fmla="*/ 91081 w 181323"/>
              <a:gd name="csY7" fmla="*/ 10962 h 403282"/>
              <a:gd name="csX8" fmla="*/ 93691 w 181323"/>
              <a:gd name="csY8" fmla="*/ 60963 h 403282"/>
              <a:gd name="csX9" fmla="*/ 100157 w 181323"/>
              <a:gd name="csY9" fmla="*/ 121501 h 403282"/>
              <a:gd name="csX10" fmla="*/ 105540 w 181323"/>
              <a:gd name="csY10" fmla="*/ 158857 h 403282"/>
              <a:gd name="csX11" fmla="*/ 121116 w 181323"/>
              <a:gd name="csY11" fmla="*/ 235269 h 403282"/>
              <a:gd name="csX12" fmla="*/ 152823 w 181323"/>
              <a:gd name="csY12" fmla="*/ 338010 h 403282"/>
              <a:gd name="csX13" fmla="*/ 170877 w 181323"/>
              <a:gd name="csY13" fmla="*/ 378027 h 403282"/>
              <a:gd name="csX14" fmla="*/ 178114 w 181323"/>
              <a:gd name="csY14" fmla="*/ 387682 h 403282"/>
              <a:gd name="csX15" fmla="*/ 181150 w 181323"/>
              <a:gd name="csY15" fmla="*/ 395764 h 403282"/>
              <a:gd name="csX16" fmla="*/ 173480 w 181323"/>
              <a:gd name="csY16" fmla="*/ 402568 h 403282"/>
              <a:gd name="csX17" fmla="*/ 160067 w 181323"/>
              <a:gd name="csY17" fmla="*/ 402936 h 403282"/>
              <a:gd name="csX18" fmla="*/ 121081 w 181323"/>
              <a:gd name="csY18" fmla="*/ 400766 h 403282"/>
              <a:gd name="csX19" fmla="*/ 70912 w 181323"/>
              <a:gd name="csY19" fmla="*/ 401955 h 403282"/>
              <a:gd name="csX20" fmla="*/ 7630 w 181323"/>
              <a:gd name="csY20" fmla="*/ 402999 h 403282"/>
              <a:gd name="csX21" fmla="*/ 710 w 181323"/>
              <a:gd name="csY21" fmla="*/ 401995 h 403282"/>
              <a:gd name="csX22" fmla="*/ 1308 w 181323"/>
              <a:gd name="csY22" fmla="*/ 356708 h 403282"/>
              <a:gd name="csX23" fmla="*/ 2554 w 181323"/>
              <a:gd name="csY23" fmla="*/ 349510 h 403282"/>
              <a:gd name="csX24" fmla="*/ 5071 w 181323"/>
              <a:gd name="csY24" fmla="*/ 271231 h 403282"/>
              <a:gd name="csX25" fmla="*/ 7554 w 181323"/>
              <a:gd name="csY25" fmla="*/ 172079 h 403282"/>
              <a:gd name="csX26" fmla="*/ 98286 w 181323"/>
              <a:gd name="csY26" fmla="*/ 163566 h 403282"/>
              <a:gd name="csX27" fmla="*/ 83497 w 181323"/>
              <a:gd name="csY27" fmla="*/ 8289 h 403282"/>
              <a:gd name="csX28" fmla="*/ 15161 w 181323"/>
              <a:gd name="csY28" fmla="*/ 9148 h 403282"/>
              <a:gd name="csX29" fmla="*/ 15058 w 181323"/>
              <a:gd name="csY29" fmla="*/ 137939 h 403282"/>
              <a:gd name="csX30" fmla="*/ 12252 w 181323"/>
              <a:gd name="csY30" fmla="*/ 266862 h 403282"/>
              <a:gd name="csX31" fmla="*/ 7068 w 181323"/>
              <a:gd name="csY31" fmla="*/ 395996 h 403282"/>
              <a:gd name="csX32" fmla="*/ 171647 w 181323"/>
              <a:gd name="csY32" fmla="*/ 395996 h 403282"/>
              <a:gd name="csX33" fmla="*/ 119950 w 181323"/>
              <a:gd name="csY33" fmla="*/ 259496 h 403282"/>
              <a:gd name="csX34" fmla="*/ 98286 w 181323"/>
              <a:gd name="csY34" fmla="*/ 163566 h 40328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</a:cxnLst>
            <a:rect l="l" t="t" r="r" b="b"/>
            <a:pathLst>
              <a:path w="181323" h="403282">
                <a:moveTo>
                  <a:pt x="7554" y="172079"/>
                </a:moveTo>
                <a:cubicBezTo>
                  <a:pt x="8325" y="157451"/>
                  <a:pt x="9408" y="144055"/>
                  <a:pt x="9716" y="130641"/>
                </a:cubicBezTo>
                <a:cubicBezTo>
                  <a:pt x="9846" y="125037"/>
                  <a:pt x="7695" y="119399"/>
                  <a:pt x="7663" y="113770"/>
                </a:cubicBezTo>
                <a:cubicBezTo>
                  <a:pt x="7461" y="78569"/>
                  <a:pt x="7554" y="43367"/>
                  <a:pt x="7598" y="8165"/>
                </a:cubicBezTo>
                <a:cubicBezTo>
                  <a:pt x="7600" y="6167"/>
                  <a:pt x="8022" y="4170"/>
                  <a:pt x="8353" y="1259"/>
                </a:cubicBezTo>
                <a:cubicBezTo>
                  <a:pt x="11568" y="842"/>
                  <a:pt x="14666" y="109"/>
                  <a:pt x="17767" y="93"/>
                </a:cubicBezTo>
                <a:cubicBezTo>
                  <a:pt x="37824" y="-17"/>
                  <a:pt x="57881" y="-27"/>
                  <a:pt x="77938" y="50"/>
                </a:cubicBezTo>
                <a:cubicBezTo>
                  <a:pt x="89177" y="93"/>
                  <a:pt x="90068" y="113"/>
                  <a:pt x="91081" y="10962"/>
                </a:cubicBezTo>
                <a:cubicBezTo>
                  <a:pt x="92631" y="27565"/>
                  <a:pt x="92329" y="44335"/>
                  <a:pt x="93691" y="60963"/>
                </a:cubicBezTo>
                <a:cubicBezTo>
                  <a:pt x="95348" y="81184"/>
                  <a:pt x="97732" y="101353"/>
                  <a:pt x="100157" y="121501"/>
                </a:cubicBezTo>
                <a:cubicBezTo>
                  <a:pt x="101660" y="133990"/>
                  <a:pt x="104521" y="146343"/>
                  <a:pt x="105540" y="158857"/>
                </a:cubicBezTo>
                <a:cubicBezTo>
                  <a:pt x="107671" y="184993"/>
                  <a:pt x="114147" y="210249"/>
                  <a:pt x="121116" y="235269"/>
                </a:cubicBezTo>
                <a:cubicBezTo>
                  <a:pt x="130731" y="269786"/>
                  <a:pt x="141516" y="304004"/>
                  <a:pt x="152823" y="338010"/>
                </a:cubicBezTo>
                <a:cubicBezTo>
                  <a:pt x="157418" y="351828"/>
                  <a:pt x="164524" y="364837"/>
                  <a:pt x="170877" y="378027"/>
                </a:cubicBezTo>
                <a:cubicBezTo>
                  <a:pt x="172587" y="381579"/>
                  <a:pt x="175985" y="384280"/>
                  <a:pt x="178114" y="387682"/>
                </a:cubicBezTo>
                <a:cubicBezTo>
                  <a:pt x="179669" y="390165"/>
                  <a:pt x="181977" y="393824"/>
                  <a:pt x="181150" y="395764"/>
                </a:cubicBezTo>
                <a:cubicBezTo>
                  <a:pt x="179907" y="398676"/>
                  <a:pt x="176540" y="401705"/>
                  <a:pt x="173480" y="402568"/>
                </a:cubicBezTo>
                <a:cubicBezTo>
                  <a:pt x="169302" y="403746"/>
                  <a:pt x="164551" y="403164"/>
                  <a:pt x="160067" y="402936"/>
                </a:cubicBezTo>
                <a:cubicBezTo>
                  <a:pt x="147066" y="402274"/>
                  <a:pt x="134081" y="400859"/>
                  <a:pt x="121081" y="400766"/>
                </a:cubicBezTo>
                <a:cubicBezTo>
                  <a:pt x="104362" y="400647"/>
                  <a:pt x="87638" y="401607"/>
                  <a:pt x="70912" y="401955"/>
                </a:cubicBezTo>
                <a:cubicBezTo>
                  <a:pt x="49820" y="402394"/>
                  <a:pt x="28725" y="402712"/>
                  <a:pt x="7630" y="402999"/>
                </a:cubicBezTo>
                <a:cubicBezTo>
                  <a:pt x="5684" y="403026"/>
                  <a:pt x="3731" y="402452"/>
                  <a:pt x="710" y="401995"/>
                </a:cubicBezTo>
                <a:cubicBezTo>
                  <a:pt x="219" y="386620"/>
                  <a:pt x="-871" y="371682"/>
                  <a:pt x="1308" y="356708"/>
                </a:cubicBezTo>
                <a:cubicBezTo>
                  <a:pt x="1659" y="354298"/>
                  <a:pt x="2471" y="351920"/>
                  <a:pt x="2554" y="349510"/>
                </a:cubicBezTo>
                <a:cubicBezTo>
                  <a:pt x="3459" y="323419"/>
                  <a:pt x="4345" y="297328"/>
                  <a:pt x="5071" y="271231"/>
                </a:cubicBezTo>
                <a:cubicBezTo>
                  <a:pt x="5979" y="238591"/>
                  <a:pt x="6733" y="205947"/>
                  <a:pt x="7554" y="172079"/>
                </a:cubicBezTo>
                <a:moveTo>
                  <a:pt x="98286" y="163566"/>
                </a:moveTo>
                <a:cubicBezTo>
                  <a:pt x="89288" y="112116"/>
                  <a:pt x="86355" y="60033"/>
                  <a:pt x="83497" y="8289"/>
                </a:cubicBezTo>
                <a:cubicBezTo>
                  <a:pt x="65606" y="5845"/>
                  <a:pt x="24110" y="6470"/>
                  <a:pt x="15161" y="9148"/>
                </a:cubicBezTo>
                <a:cubicBezTo>
                  <a:pt x="15161" y="52045"/>
                  <a:pt x="15527" y="94996"/>
                  <a:pt x="15058" y="137939"/>
                </a:cubicBezTo>
                <a:cubicBezTo>
                  <a:pt x="14587" y="180919"/>
                  <a:pt x="13597" y="223900"/>
                  <a:pt x="12252" y="266862"/>
                </a:cubicBezTo>
                <a:cubicBezTo>
                  <a:pt x="10912" y="309638"/>
                  <a:pt x="8849" y="352391"/>
                  <a:pt x="7068" y="395996"/>
                </a:cubicBezTo>
                <a:cubicBezTo>
                  <a:pt x="62774" y="395996"/>
                  <a:pt x="116821" y="395996"/>
                  <a:pt x="171647" y="395996"/>
                </a:cubicBezTo>
                <a:cubicBezTo>
                  <a:pt x="148550" y="352016"/>
                  <a:pt x="132566" y="306307"/>
                  <a:pt x="119950" y="259496"/>
                </a:cubicBezTo>
                <a:cubicBezTo>
                  <a:pt x="111608" y="228543"/>
                  <a:pt x="105493" y="196989"/>
                  <a:pt x="98286" y="163566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973" name="Free-form: Shape 8972">
            <a:extLst>
              <a:ext uri="{FF2B5EF4-FFF2-40B4-BE49-F238E27FC236}">
                <a16:creationId xmlns:a16="http://schemas.microsoft.com/office/drawing/2014/main" id="{7C208E25-9B62-C9A4-63F3-710A36F4FBDE}"/>
              </a:ext>
            </a:extLst>
          </p:cNvPr>
          <p:cNvSpPr/>
          <p:nvPr/>
        </p:nvSpPr>
        <p:spPr>
          <a:xfrm>
            <a:off x="1513468" y="2900791"/>
            <a:ext cx="209255" cy="47389"/>
          </a:xfrm>
          <a:custGeom>
            <a:avLst/>
            <a:gdLst>
              <a:gd name="csX0" fmla="*/ 297312 w 337008"/>
              <a:gd name="csY0" fmla="*/ 59188 h 76321"/>
              <a:gd name="csX1" fmla="*/ 241991 w 337008"/>
              <a:gd name="csY1" fmla="*/ 66577 h 76321"/>
              <a:gd name="csX2" fmla="*/ 185243 w 337008"/>
              <a:gd name="csY2" fmla="*/ 73717 h 76321"/>
              <a:gd name="csX3" fmla="*/ 182797 w 337008"/>
              <a:gd name="csY3" fmla="*/ 73873 h 76321"/>
              <a:gd name="csX4" fmla="*/ 19866 w 337008"/>
              <a:gd name="csY4" fmla="*/ 76320 h 76321"/>
              <a:gd name="csX5" fmla="*/ 12650 w 337008"/>
              <a:gd name="csY5" fmla="*/ 75242 h 76321"/>
              <a:gd name="csX6" fmla="*/ 19 w 337008"/>
              <a:gd name="csY6" fmla="*/ 59006 h 76321"/>
              <a:gd name="csX7" fmla="*/ 11 w 337008"/>
              <a:gd name="csY7" fmla="*/ 18266 h 76321"/>
              <a:gd name="csX8" fmla="*/ 13547 w 337008"/>
              <a:gd name="csY8" fmla="*/ 17427 h 76321"/>
              <a:gd name="csX9" fmla="*/ 109279 w 337008"/>
              <a:gd name="csY9" fmla="*/ 17200 h 76321"/>
              <a:gd name="csX10" fmla="*/ 173714 w 337008"/>
              <a:gd name="csY10" fmla="*/ 12645 h 76321"/>
              <a:gd name="csX11" fmla="*/ 205309 w 337008"/>
              <a:gd name="csY11" fmla="*/ 10096 h 76321"/>
              <a:gd name="csX12" fmla="*/ 245485 w 337008"/>
              <a:gd name="csY12" fmla="*/ 7449 h 76321"/>
              <a:gd name="csX13" fmla="*/ 288955 w 337008"/>
              <a:gd name="csY13" fmla="*/ 1844 h 76321"/>
              <a:gd name="csX14" fmla="*/ 307132 w 337008"/>
              <a:gd name="csY14" fmla="*/ 164 h 76321"/>
              <a:gd name="csX15" fmla="*/ 324030 w 337008"/>
              <a:gd name="csY15" fmla="*/ 9691 h 76321"/>
              <a:gd name="csX16" fmla="*/ 336033 w 337008"/>
              <a:gd name="csY16" fmla="*/ 39107 h 76321"/>
              <a:gd name="csX17" fmla="*/ 328060 w 337008"/>
              <a:gd name="csY17" fmla="*/ 52413 h 76321"/>
              <a:gd name="csX18" fmla="*/ 297312 w 337008"/>
              <a:gd name="csY18" fmla="*/ 59188 h 76321"/>
              <a:gd name="csX19" fmla="*/ 207688 w 337008"/>
              <a:gd name="csY19" fmla="*/ 64284 h 76321"/>
              <a:gd name="csX20" fmla="*/ 330050 w 337008"/>
              <a:gd name="csY20" fmla="*/ 45606 h 76321"/>
              <a:gd name="csX21" fmla="*/ 317356 w 337008"/>
              <a:gd name="csY21" fmla="*/ 11297 h 76321"/>
              <a:gd name="csX22" fmla="*/ 304170 w 337008"/>
              <a:gd name="csY22" fmla="*/ 5545 h 76321"/>
              <a:gd name="csX23" fmla="*/ 273851 w 337008"/>
              <a:gd name="csY23" fmla="*/ 10014 h 76321"/>
              <a:gd name="csX24" fmla="*/ 163935 w 337008"/>
              <a:gd name="csY24" fmla="*/ 20274 h 76321"/>
              <a:gd name="csX25" fmla="*/ 17973 w 337008"/>
              <a:gd name="csY25" fmla="*/ 22950 h 76321"/>
              <a:gd name="csX26" fmla="*/ 7372 w 337008"/>
              <a:gd name="csY26" fmla="*/ 23601 h 76321"/>
              <a:gd name="csX27" fmla="*/ 7372 w 337008"/>
              <a:gd name="csY27" fmla="*/ 67898 h 76321"/>
              <a:gd name="csX28" fmla="*/ 207688 w 337008"/>
              <a:gd name="csY28" fmla="*/ 64284 h 7632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</a:cxnLst>
            <a:rect l="l" t="t" r="r" b="b"/>
            <a:pathLst>
              <a:path w="337008" h="76321">
                <a:moveTo>
                  <a:pt x="297312" y="59188"/>
                </a:moveTo>
                <a:cubicBezTo>
                  <a:pt x="278167" y="61672"/>
                  <a:pt x="260091" y="64212"/>
                  <a:pt x="241991" y="66577"/>
                </a:cubicBezTo>
                <a:cubicBezTo>
                  <a:pt x="223087" y="69047"/>
                  <a:pt x="204161" y="71350"/>
                  <a:pt x="185243" y="73717"/>
                </a:cubicBezTo>
                <a:cubicBezTo>
                  <a:pt x="184433" y="73818"/>
                  <a:pt x="183613" y="73861"/>
                  <a:pt x="182797" y="73873"/>
                </a:cubicBezTo>
                <a:cubicBezTo>
                  <a:pt x="128487" y="74710"/>
                  <a:pt x="74176" y="75556"/>
                  <a:pt x="19866" y="76320"/>
                </a:cubicBezTo>
                <a:cubicBezTo>
                  <a:pt x="17463" y="76354"/>
                  <a:pt x="15013" y="75797"/>
                  <a:pt x="12650" y="75242"/>
                </a:cubicBezTo>
                <a:cubicBezTo>
                  <a:pt x="80" y="72288"/>
                  <a:pt x="58" y="72258"/>
                  <a:pt x="19" y="59006"/>
                </a:cubicBezTo>
                <a:cubicBezTo>
                  <a:pt x="-19" y="45942"/>
                  <a:pt x="11" y="32877"/>
                  <a:pt x="11" y="18266"/>
                </a:cubicBezTo>
                <a:cubicBezTo>
                  <a:pt x="4987" y="17944"/>
                  <a:pt x="9266" y="17435"/>
                  <a:pt x="13547" y="17427"/>
                </a:cubicBezTo>
                <a:cubicBezTo>
                  <a:pt x="45459" y="17362"/>
                  <a:pt x="77385" y="17975"/>
                  <a:pt x="109279" y="17200"/>
                </a:cubicBezTo>
                <a:cubicBezTo>
                  <a:pt x="130782" y="16677"/>
                  <a:pt x="152239" y="14265"/>
                  <a:pt x="173714" y="12645"/>
                </a:cubicBezTo>
                <a:cubicBezTo>
                  <a:pt x="184250" y="11850"/>
                  <a:pt x="194770" y="10836"/>
                  <a:pt x="205309" y="10096"/>
                </a:cubicBezTo>
                <a:cubicBezTo>
                  <a:pt x="218698" y="9156"/>
                  <a:pt x="232139" y="8783"/>
                  <a:pt x="245485" y="7449"/>
                </a:cubicBezTo>
                <a:cubicBezTo>
                  <a:pt x="260017" y="5997"/>
                  <a:pt x="274456" y="3648"/>
                  <a:pt x="288955" y="1844"/>
                </a:cubicBezTo>
                <a:cubicBezTo>
                  <a:pt x="294991" y="1094"/>
                  <a:pt x="301100" y="930"/>
                  <a:pt x="307132" y="164"/>
                </a:cubicBezTo>
                <a:cubicBezTo>
                  <a:pt x="315239" y="-865"/>
                  <a:pt x="320841" y="3022"/>
                  <a:pt x="324030" y="9691"/>
                </a:cubicBezTo>
                <a:cubicBezTo>
                  <a:pt x="328594" y="19236"/>
                  <a:pt x="332712" y="29070"/>
                  <a:pt x="336033" y="39107"/>
                </a:cubicBezTo>
                <a:cubicBezTo>
                  <a:pt x="338557" y="46735"/>
                  <a:pt x="336278" y="50185"/>
                  <a:pt x="328060" y="52413"/>
                </a:cubicBezTo>
                <a:cubicBezTo>
                  <a:pt x="318273" y="55068"/>
                  <a:pt x="308277" y="56950"/>
                  <a:pt x="297312" y="59188"/>
                </a:cubicBezTo>
                <a:moveTo>
                  <a:pt x="207688" y="64284"/>
                </a:moveTo>
                <a:cubicBezTo>
                  <a:pt x="248681" y="60632"/>
                  <a:pt x="289317" y="54812"/>
                  <a:pt x="330050" y="45606"/>
                </a:cubicBezTo>
                <a:cubicBezTo>
                  <a:pt x="327603" y="32443"/>
                  <a:pt x="323777" y="21532"/>
                  <a:pt x="317356" y="11297"/>
                </a:cubicBezTo>
                <a:cubicBezTo>
                  <a:pt x="313908" y="5803"/>
                  <a:pt x="310145" y="4465"/>
                  <a:pt x="304170" y="5545"/>
                </a:cubicBezTo>
                <a:cubicBezTo>
                  <a:pt x="294121" y="7361"/>
                  <a:pt x="284007" y="9006"/>
                  <a:pt x="273851" y="10014"/>
                </a:cubicBezTo>
                <a:cubicBezTo>
                  <a:pt x="237233" y="13650"/>
                  <a:pt x="200632" y="17661"/>
                  <a:pt x="163935" y="20274"/>
                </a:cubicBezTo>
                <a:cubicBezTo>
                  <a:pt x="115360" y="23734"/>
                  <a:pt x="66701" y="25937"/>
                  <a:pt x="17973" y="22950"/>
                </a:cubicBezTo>
                <a:cubicBezTo>
                  <a:pt x="14492" y="22737"/>
                  <a:pt x="10959" y="23361"/>
                  <a:pt x="7372" y="23601"/>
                </a:cubicBezTo>
                <a:cubicBezTo>
                  <a:pt x="7372" y="38609"/>
                  <a:pt x="7372" y="52361"/>
                  <a:pt x="7372" y="67898"/>
                </a:cubicBezTo>
                <a:cubicBezTo>
                  <a:pt x="74001" y="69806"/>
                  <a:pt x="139746" y="71025"/>
                  <a:pt x="207688" y="64284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974" name="Free-form: Shape 8973">
            <a:extLst>
              <a:ext uri="{FF2B5EF4-FFF2-40B4-BE49-F238E27FC236}">
                <a16:creationId xmlns:a16="http://schemas.microsoft.com/office/drawing/2014/main" id="{F9591C81-2CBF-114F-5021-4959E739A95E}"/>
              </a:ext>
            </a:extLst>
          </p:cNvPr>
          <p:cNvSpPr/>
          <p:nvPr/>
        </p:nvSpPr>
        <p:spPr>
          <a:xfrm>
            <a:off x="1517201" y="2754337"/>
            <a:ext cx="188426" cy="132688"/>
          </a:xfrm>
          <a:custGeom>
            <a:avLst/>
            <a:gdLst>
              <a:gd name="csX0" fmla="*/ 14160 w 303463"/>
              <a:gd name="csY0" fmla="*/ 7889 h 213695"/>
              <a:gd name="csX1" fmla="*/ 195033 w 303463"/>
              <a:gd name="csY1" fmla="*/ 0 h 213695"/>
              <a:gd name="csX2" fmla="*/ 197208 w 303463"/>
              <a:gd name="csY2" fmla="*/ 5635 h 213695"/>
              <a:gd name="csX3" fmla="*/ 227014 w 303463"/>
              <a:gd name="csY3" fmla="*/ 60660 h 213695"/>
              <a:gd name="csX4" fmla="*/ 265823 w 303463"/>
              <a:gd name="csY4" fmla="*/ 98217 h 213695"/>
              <a:gd name="csX5" fmla="*/ 303210 w 303463"/>
              <a:gd name="csY5" fmla="*/ 180358 h 213695"/>
              <a:gd name="csX6" fmla="*/ 303282 w 303463"/>
              <a:gd name="csY6" fmla="*/ 193964 h 213695"/>
              <a:gd name="csX7" fmla="*/ 4971 w 303463"/>
              <a:gd name="csY7" fmla="*/ 213017 h 213695"/>
              <a:gd name="csX8" fmla="*/ 5093 w 303463"/>
              <a:gd name="csY8" fmla="*/ 173484 h 213695"/>
              <a:gd name="csX9" fmla="*/ 4767 w 303463"/>
              <a:gd name="csY9" fmla="*/ 54607 h 213695"/>
              <a:gd name="csX10" fmla="*/ 0 w 303463"/>
              <a:gd name="csY10" fmla="*/ 7887 h 213695"/>
              <a:gd name="csX11" fmla="*/ 14160 w 303463"/>
              <a:gd name="csY11" fmla="*/ 7889 h 21369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303463" h="213695">
                <a:moveTo>
                  <a:pt x="14160" y="7889"/>
                </a:moveTo>
                <a:cubicBezTo>
                  <a:pt x="75371" y="8627"/>
                  <a:pt x="135292" y="5744"/>
                  <a:pt x="195033" y="0"/>
                </a:cubicBezTo>
                <a:cubicBezTo>
                  <a:pt x="196084" y="2662"/>
                  <a:pt x="196986" y="4099"/>
                  <a:pt x="197208" y="5635"/>
                </a:cubicBezTo>
                <a:cubicBezTo>
                  <a:pt x="200391" y="27650"/>
                  <a:pt x="211307" y="45450"/>
                  <a:pt x="227014" y="60660"/>
                </a:cubicBezTo>
                <a:cubicBezTo>
                  <a:pt x="239947" y="73182"/>
                  <a:pt x="253006" y="85577"/>
                  <a:pt x="265823" y="98217"/>
                </a:cubicBezTo>
                <a:cubicBezTo>
                  <a:pt x="288727" y="120806"/>
                  <a:pt x="299071" y="149215"/>
                  <a:pt x="303210" y="180358"/>
                </a:cubicBezTo>
                <a:cubicBezTo>
                  <a:pt x="303735" y="184317"/>
                  <a:pt x="303282" y="188405"/>
                  <a:pt x="303282" y="193964"/>
                </a:cubicBezTo>
                <a:cubicBezTo>
                  <a:pt x="204065" y="208804"/>
                  <a:pt x="105022" y="216044"/>
                  <a:pt x="4971" y="213017"/>
                </a:cubicBezTo>
                <a:cubicBezTo>
                  <a:pt x="4971" y="199268"/>
                  <a:pt x="4314" y="186332"/>
                  <a:pt x="5093" y="173484"/>
                </a:cubicBezTo>
                <a:cubicBezTo>
                  <a:pt x="7497" y="133835"/>
                  <a:pt x="8211" y="94216"/>
                  <a:pt x="4767" y="54607"/>
                </a:cubicBezTo>
                <a:cubicBezTo>
                  <a:pt x="3464" y="39611"/>
                  <a:pt x="1725" y="24653"/>
                  <a:pt x="0" y="7887"/>
                </a:cubicBezTo>
                <a:cubicBezTo>
                  <a:pt x="4390" y="7887"/>
                  <a:pt x="8696" y="7887"/>
                  <a:pt x="14160" y="7889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975" name="Free-form: Shape 8974">
            <a:extLst>
              <a:ext uri="{FF2B5EF4-FFF2-40B4-BE49-F238E27FC236}">
                <a16:creationId xmlns:a16="http://schemas.microsoft.com/office/drawing/2014/main" id="{5076C329-2C9F-DBA2-3282-46C82B772B16}"/>
              </a:ext>
            </a:extLst>
          </p:cNvPr>
          <p:cNvSpPr/>
          <p:nvPr/>
        </p:nvSpPr>
        <p:spPr>
          <a:xfrm>
            <a:off x="1483439" y="2224581"/>
            <a:ext cx="129814" cy="126299"/>
          </a:xfrm>
          <a:custGeom>
            <a:avLst/>
            <a:gdLst>
              <a:gd name="csX0" fmla="*/ 10475 w 209067"/>
              <a:gd name="csY0" fmla="*/ 41718 h 203406"/>
              <a:gd name="csX1" fmla="*/ 100250 w 209067"/>
              <a:gd name="csY1" fmla="*/ 1265 h 203406"/>
              <a:gd name="csX2" fmla="*/ 206681 w 209067"/>
              <a:gd name="csY2" fmla="*/ 98526 h 203406"/>
              <a:gd name="csX3" fmla="*/ 134647 w 209067"/>
              <a:gd name="csY3" fmla="*/ 202431 h 203406"/>
              <a:gd name="csX4" fmla="*/ 40986 w 209067"/>
              <a:gd name="csY4" fmla="*/ 171438 h 203406"/>
              <a:gd name="csX5" fmla="*/ 143 w 209067"/>
              <a:gd name="csY5" fmla="*/ 85158 h 203406"/>
              <a:gd name="csX6" fmla="*/ 10475 w 209067"/>
              <a:gd name="csY6" fmla="*/ 41718 h 20340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</a:cxnLst>
            <a:rect l="l" t="t" r="r" b="b"/>
            <a:pathLst>
              <a:path w="209067" h="203406">
                <a:moveTo>
                  <a:pt x="10475" y="41718"/>
                </a:moveTo>
                <a:cubicBezTo>
                  <a:pt x="31065" y="6021"/>
                  <a:pt x="63171" y="-3865"/>
                  <a:pt x="100250" y="1265"/>
                </a:cubicBezTo>
                <a:cubicBezTo>
                  <a:pt x="157191" y="9144"/>
                  <a:pt x="196951" y="51394"/>
                  <a:pt x="206681" y="98526"/>
                </a:cubicBezTo>
                <a:cubicBezTo>
                  <a:pt x="219504" y="160635"/>
                  <a:pt x="178523" y="196657"/>
                  <a:pt x="134647" y="202431"/>
                </a:cubicBezTo>
                <a:cubicBezTo>
                  <a:pt x="98365" y="207204"/>
                  <a:pt x="68101" y="194086"/>
                  <a:pt x="40986" y="171438"/>
                </a:cubicBezTo>
                <a:cubicBezTo>
                  <a:pt x="14115" y="148994"/>
                  <a:pt x="2457" y="119007"/>
                  <a:pt x="143" y="85158"/>
                </a:cubicBezTo>
                <a:cubicBezTo>
                  <a:pt x="-869" y="70364"/>
                  <a:pt x="3586" y="56015"/>
                  <a:pt x="10475" y="41718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976" name="Free-form: Shape 8975">
            <a:extLst>
              <a:ext uri="{FF2B5EF4-FFF2-40B4-BE49-F238E27FC236}">
                <a16:creationId xmlns:a16="http://schemas.microsoft.com/office/drawing/2014/main" id="{121F87A9-C969-16B6-EECD-B59C8BB027DD}"/>
              </a:ext>
            </a:extLst>
          </p:cNvPr>
          <p:cNvSpPr/>
          <p:nvPr/>
        </p:nvSpPr>
        <p:spPr>
          <a:xfrm>
            <a:off x="1519698" y="2437619"/>
            <a:ext cx="97564" cy="25665"/>
          </a:xfrm>
          <a:custGeom>
            <a:avLst/>
            <a:gdLst>
              <a:gd name="csX0" fmla="*/ 69625 w 157129"/>
              <a:gd name="csY0" fmla="*/ 0 h 41334"/>
              <a:gd name="csX1" fmla="*/ 119596 w 157129"/>
              <a:gd name="csY1" fmla="*/ 1945 h 41334"/>
              <a:gd name="csX2" fmla="*/ 150973 w 157129"/>
              <a:gd name="csY2" fmla="*/ 14889 h 41334"/>
              <a:gd name="csX3" fmla="*/ 151351 w 157129"/>
              <a:gd name="csY3" fmla="*/ 34058 h 41334"/>
              <a:gd name="csX4" fmla="*/ 133492 w 157129"/>
              <a:gd name="csY4" fmla="*/ 40697 h 41334"/>
              <a:gd name="csX5" fmla="*/ 106556 w 157129"/>
              <a:gd name="csY5" fmla="*/ 41092 h 41334"/>
              <a:gd name="csX6" fmla="*/ 13373 w 157129"/>
              <a:gd name="csY6" fmla="*/ 40708 h 41334"/>
              <a:gd name="csX7" fmla="*/ 1312 w 157129"/>
              <a:gd name="csY7" fmla="*/ 40191 h 41334"/>
              <a:gd name="csX8" fmla="*/ 3367 w 157129"/>
              <a:gd name="csY8" fmla="*/ 13162 h 41334"/>
              <a:gd name="csX9" fmla="*/ 20752 w 157129"/>
              <a:gd name="csY9" fmla="*/ 1879 h 41334"/>
              <a:gd name="csX10" fmla="*/ 52625 w 157129"/>
              <a:gd name="csY10" fmla="*/ 1332 h 41334"/>
              <a:gd name="csX11" fmla="*/ 69625 w 157129"/>
              <a:gd name="csY11" fmla="*/ 0 h 4133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157129" h="41334">
                <a:moveTo>
                  <a:pt x="69625" y="0"/>
                </a:moveTo>
                <a:cubicBezTo>
                  <a:pt x="87054" y="491"/>
                  <a:pt x="103407" y="373"/>
                  <a:pt x="119596" y="1945"/>
                </a:cubicBezTo>
                <a:cubicBezTo>
                  <a:pt x="131020" y="3055"/>
                  <a:pt x="141713" y="7767"/>
                  <a:pt x="150973" y="14889"/>
                </a:cubicBezTo>
                <a:cubicBezTo>
                  <a:pt x="158820" y="20925"/>
                  <a:pt x="159403" y="28236"/>
                  <a:pt x="151351" y="34058"/>
                </a:cubicBezTo>
                <a:cubicBezTo>
                  <a:pt x="146355" y="37671"/>
                  <a:pt x="139678" y="39910"/>
                  <a:pt x="133492" y="40697"/>
                </a:cubicBezTo>
                <a:cubicBezTo>
                  <a:pt x="124640" y="41824"/>
                  <a:pt x="115547" y="41120"/>
                  <a:pt x="106556" y="41092"/>
                </a:cubicBezTo>
                <a:cubicBezTo>
                  <a:pt x="75495" y="40996"/>
                  <a:pt x="44434" y="40872"/>
                  <a:pt x="13373" y="40708"/>
                </a:cubicBezTo>
                <a:cubicBezTo>
                  <a:pt x="9391" y="40687"/>
                  <a:pt x="5410" y="40374"/>
                  <a:pt x="1312" y="40191"/>
                </a:cubicBezTo>
                <a:cubicBezTo>
                  <a:pt x="-1416" y="30384"/>
                  <a:pt x="523" y="21512"/>
                  <a:pt x="3367" y="13162"/>
                </a:cubicBezTo>
                <a:cubicBezTo>
                  <a:pt x="5963" y="5538"/>
                  <a:pt x="12701" y="2077"/>
                  <a:pt x="20752" y="1879"/>
                </a:cubicBezTo>
                <a:cubicBezTo>
                  <a:pt x="31375" y="1617"/>
                  <a:pt x="42004" y="1647"/>
                  <a:pt x="52625" y="1332"/>
                </a:cubicBezTo>
                <a:cubicBezTo>
                  <a:pt x="57918" y="1176"/>
                  <a:pt x="63195" y="535"/>
                  <a:pt x="69625" y="0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977" name="Free-form: Shape 8976">
            <a:extLst>
              <a:ext uri="{FF2B5EF4-FFF2-40B4-BE49-F238E27FC236}">
                <a16:creationId xmlns:a16="http://schemas.microsoft.com/office/drawing/2014/main" id="{3659E16F-0692-F634-53BF-BA51D3ED7472}"/>
              </a:ext>
            </a:extLst>
          </p:cNvPr>
          <p:cNvSpPr/>
          <p:nvPr/>
        </p:nvSpPr>
        <p:spPr>
          <a:xfrm>
            <a:off x="1516225" y="2488506"/>
            <a:ext cx="102191" cy="241686"/>
          </a:xfrm>
          <a:custGeom>
            <a:avLst/>
            <a:gdLst>
              <a:gd name="csX0" fmla="*/ 91265 w 164579"/>
              <a:gd name="csY0" fmla="*/ 157878 h 389238"/>
              <a:gd name="csX1" fmla="*/ 112882 w 164579"/>
              <a:gd name="csY1" fmla="*/ 252738 h 389238"/>
              <a:gd name="csX2" fmla="*/ 164579 w 164579"/>
              <a:gd name="csY2" fmla="*/ 389238 h 389238"/>
              <a:gd name="csX3" fmla="*/ 0 w 164579"/>
              <a:gd name="csY3" fmla="*/ 389238 h 389238"/>
              <a:gd name="csX4" fmla="*/ 5184 w 164579"/>
              <a:gd name="csY4" fmla="*/ 260105 h 389238"/>
              <a:gd name="csX5" fmla="*/ 7989 w 164579"/>
              <a:gd name="csY5" fmla="*/ 131182 h 389238"/>
              <a:gd name="csX6" fmla="*/ 8093 w 164579"/>
              <a:gd name="csY6" fmla="*/ 2390 h 389238"/>
              <a:gd name="csX7" fmla="*/ 76429 w 164579"/>
              <a:gd name="csY7" fmla="*/ 1531 h 389238"/>
              <a:gd name="csX8" fmla="*/ 91265 w 164579"/>
              <a:gd name="csY8" fmla="*/ 157878 h 38923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</a:cxnLst>
            <a:rect l="l" t="t" r="r" b="b"/>
            <a:pathLst>
              <a:path w="164579" h="389238">
                <a:moveTo>
                  <a:pt x="91265" y="157878"/>
                </a:moveTo>
                <a:cubicBezTo>
                  <a:pt x="98425" y="190232"/>
                  <a:pt x="104539" y="221785"/>
                  <a:pt x="112882" y="252738"/>
                </a:cubicBezTo>
                <a:cubicBezTo>
                  <a:pt x="125498" y="299549"/>
                  <a:pt x="141482" y="345258"/>
                  <a:pt x="164579" y="389238"/>
                </a:cubicBezTo>
                <a:cubicBezTo>
                  <a:pt x="109753" y="389238"/>
                  <a:pt x="55706" y="389238"/>
                  <a:pt x="0" y="389238"/>
                </a:cubicBezTo>
                <a:cubicBezTo>
                  <a:pt x="1781" y="345633"/>
                  <a:pt x="3844" y="302880"/>
                  <a:pt x="5184" y="260105"/>
                </a:cubicBezTo>
                <a:cubicBezTo>
                  <a:pt x="6529" y="217143"/>
                  <a:pt x="7519" y="174162"/>
                  <a:pt x="7989" y="131182"/>
                </a:cubicBezTo>
                <a:cubicBezTo>
                  <a:pt x="8459" y="88239"/>
                  <a:pt x="8093" y="45287"/>
                  <a:pt x="8093" y="2390"/>
                </a:cubicBezTo>
                <a:cubicBezTo>
                  <a:pt x="17041" y="-288"/>
                  <a:pt x="58537" y="-913"/>
                  <a:pt x="76429" y="1531"/>
                </a:cubicBezTo>
                <a:cubicBezTo>
                  <a:pt x="79287" y="53276"/>
                  <a:pt x="82219" y="105359"/>
                  <a:pt x="91265" y="157878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978" name="Free-form: Shape 8977">
            <a:extLst>
              <a:ext uri="{FF2B5EF4-FFF2-40B4-BE49-F238E27FC236}">
                <a16:creationId xmlns:a16="http://schemas.microsoft.com/office/drawing/2014/main" id="{3FDFC038-CA61-C07E-F1FC-DA735C912C53}"/>
              </a:ext>
            </a:extLst>
          </p:cNvPr>
          <p:cNvSpPr/>
          <p:nvPr/>
        </p:nvSpPr>
        <p:spPr>
          <a:xfrm>
            <a:off x="1518044" y="2904019"/>
            <a:ext cx="200357" cy="39865"/>
          </a:xfrm>
          <a:custGeom>
            <a:avLst/>
            <a:gdLst>
              <a:gd name="csX0" fmla="*/ 199184 w 322677"/>
              <a:gd name="csY0" fmla="*/ 59136 h 64202"/>
              <a:gd name="csX1" fmla="*/ 0 w 322677"/>
              <a:gd name="csY1" fmla="*/ 62697 h 64202"/>
              <a:gd name="csX2" fmla="*/ 0 w 322677"/>
              <a:gd name="csY2" fmla="*/ 18400 h 64202"/>
              <a:gd name="csX3" fmla="*/ 10601 w 322677"/>
              <a:gd name="csY3" fmla="*/ 17750 h 64202"/>
              <a:gd name="csX4" fmla="*/ 156563 w 322677"/>
              <a:gd name="csY4" fmla="*/ 15074 h 64202"/>
              <a:gd name="csX5" fmla="*/ 266479 w 322677"/>
              <a:gd name="csY5" fmla="*/ 4814 h 64202"/>
              <a:gd name="csX6" fmla="*/ 296798 w 322677"/>
              <a:gd name="csY6" fmla="*/ 344 h 64202"/>
              <a:gd name="csX7" fmla="*/ 309983 w 322677"/>
              <a:gd name="csY7" fmla="*/ 6097 h 64202"/>
              <a:gd name="csX8" fmla="*/ 322678 w 322677"/>
              <a:gd name="csY8" fmla="*/ 40406 h 64202"/>
              <a:gd name="csX9" fmla="*/ 199184 w 322677"/>
              <a:gd name="csY9" fmla="*/ 59136 h 6420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322677" h="64202">
                <a:moveTo>
                  <a:pt x="199184" y="59136"/>
                </a:moveTo>
                <a:cubicBezTo>
                  <a:pt x="132374" y="65824"/>
                  <a:pt x="66629" y="64605"/>
                  <a:pt x="0" y="62697"/>
                </a:cubicBezTo>
                <a:cubicBezTo>
                  <a:pt x="0" y="47160"/>
                  <a:pt x="0" y="33409"/>
                  <a:pt x="0" y="18400"/>
                </a:cubicBezTo>
                <a:cubicBezTo>
                  <a:pt x="3587" y="18160"/>
                  <a:pt x="7120" y="17536"/>
                  <a:pt x="10601" y="17750"/>
                </a:cubicBezTo>
                <a:cubicBezTo>
                  <a:pt x="59329" y="20736"/>
                  <a:pt x="107987" y="18533"/>
                  <a:pt x="156563" y="15074"/>
                </a:cubicBezTo>
                <a:cubicBezTo>
                  <a:pt x="193260" y="12461"/>
                  <a:pt x="229860" y="8449"/>
                  <a:pt x="266479" y="4814"/>
                </a:cubicBezTo>
                <a:cubicBezTo>
                  <a:pt x="276635" y="3806"/>
                  <a:pt x="286748" y="2160"/>
                  <a:pt x="296798" y="344"/>
                </a:cubicBezTo>
                <a:cubicBezTo>
                  <a:pt x="302773" y="-735"/>
                  <a:pt x="306536" y="602"/>
                  <a:pt x="309983" y="6097"/>
                </a:cubicBezTo>
                <a:cubicBezTo>
                  <a:pt x="316405" y="16331"/>
                  <a:pt x="320231" y="27243"/>
                  <a:pt x="322678" y="40406"/>
                </a:cubicBezTo>
                <a:cubicBezTo>
                  <a:pt x="281944" y="49611"/>
                  <a:pt x="241309" y="55431"/>
                  <a:pt x="199184" y="59136"/>
                </a:cubicBezTo>
                <a:close/>
              </a:path>
            </a:pathLst>
          </a:custGeom>
          <a:solidFill>
            <a:schemeClr val="bg1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979" name="TextBox 8978">
            <a:extLst>
              <a:ext uri="{FF2B5EF4-FFF2-40B4-BE49-F238E27FC236}">
                <a16:creationId xmlns:a16="http://schemas.microsoft.com/office/drawing/2014/main" id="{06036489-4EBB-31F7-2336-1F4E5893CDC1}"/>
              </a:ext>
            </a:extLst>
          </p:cNvPr>
          <p:cNvSpPr txBox="1"/>
          <p:nvPr/>
        </p:nvSpPr>
        <p:spPr>
          <a:xfrm>
            <a:off x="1110036" y="2958201"/>
            <a:ext cx="863983" cy="3927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-CHOP</a:t>
            </a:r>
          </a:p>
        </p:txBody>
      </p:sp>
      <p:sp>
        <p:nvSpPr>
          <p:cNvPr id="8961" name="Slide Number Placeholder 8960">
            <a:extLst>
              <a:ext uri="{FF2B5EF4-FFF2-40B4-BE49-F238E27FC236}">
                <a16:creationId xmlns:a16="http://schemas.microsoft.com/office/drawing/2014/main" id="{1B84F54F-F9F6-FEC2-DAF7-143442E16D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01CC8E-1CEF-6746-999E-CF29FF00B1D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82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9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" name="Free-form: Shape 20">
            <a:extLst>
              <a:ext uri="{FF2B5EF4-FFF2-40B4-BE49-F238E27FC236}">
                <a16:creationId xmlns:a16="http://schemas.microsoft.com/office/drawing/2014/main" id="{AF1F70F2-886D-4A6A-2F6B-DA574AA90827}"/>
              </a:ext>
            </a:extLst>
          </p:cNvPr>
          <p:cNvSpPr/>
          <p:nvPr/>
        </p:nvSpPr>
        <p:spPr>
          <a:xfrm>
            <a:off x="2955393" y="4742453"/>
            <a:ext cx="1273326" cy="314908"/>
          </a:xfrm>
          <a:custGeom>
            <a:avLst/>
            <a:gdLst>
              <a:gd name="csX0" fmla="*/ 433404 w 1540725"/>
              <a:gd name="csY0" fmla="*/ 0 h 381039"/>
              <a:gd name="csX1" fmla="*/ 1540725 w 1540725"/>
              <a:gd name="csY1" fmla="*/ 0 h 381039"/>
              <a:gd name="csX2" fmla="*/ 1222293 w 1540725"/>
              <a:gd name="csY2" fmla="*/ 381039 h 381039"/>
              <a:gd name="csX3" fmla="*/ 0 w 1540725"/>
              <a:gd name="csY3" fmla="*/ 381039 h 381039"/>
              <a:gd name="csX4" fmla="*/ 433404 w 1540725"/>
              <a:gd name="csY4" fmla="*/ 0 h 38103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540725" h="381039">
                <a:moveTo>
                  <a:pt x="433404" y="0"/>
                </a:moveTo>
                <a:lnTo>
                  <a:pt x="1540725" y="0"/>
                </a:lnTo>
                <a:lnTo>
                  <a:pt x="1222293" y="381039"/>
                </a:lnTo>
                <a:lnTo>
                  <a:pt x="0" y="381039"/>
                </a:lnTo>
                <a:lnTo>
                  <a:pt x="433404" y="0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980" name="Free-form: Shape 8979">
            <a:extLst>
              <a:ext uri="{FF2B5EF4-FFF2-40B4-BE49-F238E27FC236}">
                <a16:creationId xmlns:a16="http://schemas.microsoft.com/office/drawing/2014/main" id="{D0E8B419-345D-9587-8584-097C02D94D22}"/>
              </a:ext>
            </a:extLst>
          </p:cNvPr>
          <p:cNvSpPr/>
          <p:nvPr/>
        </p:nvSpPr>
        <p:spPr>
          <a:xfrm>
            <a:off x="6280606" y="3764022"/>
            <a:ext cx="697225" cy="142291"/>
          </a:xfrm>
          <a:custGeom>
            <a:avLst/>
            <a:gdLst>
              <a:gd name="csX0" fmla="*/ 47178 w 843642"/>
              <a:gd name="csY0" fmla="*/ 0 h 172172"/>
              <a:gd name="csX1" fmla="*/ 843642 w 843642"/>
              <a:gd name="csY1" fmla="*/ 0 h 172172"/>
              <a:gd name="csX2" fmla="*/ 842652 w 843642"/>
              <a:gd name="csY2" fmla="*/ 172172 h 172172"/>
              <a:gd name="csX3" fmla="*/ 0 w 843642"/>
              <a:gd name="csY3" fmla="*/ 172172 h 172172"/>
              <a:gd name="csX4" fmla="*/ 47178 w 843642"/>
              <a:gd name="csY4" fmla="*/ 0 h 17217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843642" h="172172">
                <a:moveTo>
                  <a:pt x="47178" y="0"/>
                </a:moveTo>
                <a:lnTo>
                  <a:pt x="843642" y="0"/>
                </a:lnTo>
                <a:lnTo>
                  <a:pt x="842652" y="172172"/>
                </a:lnTo>
                <a:lnTo>
                  <a:pt x="0" y="172172"/>
                </a:lnTo>
                <a:lnTo>
                  <a:pt x="47178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981" name="Free-form: Shape 8980">
            <a:extLst>
              <a:ext uri="{FF2B5EF4-FFF2-40B4-BE49-F238E27FC236}">
                <a16:creationId xmlns:a16="http://schemas.microsoft.com/office/drawing/2014/main" id="{6956915E-EE5D-3560-F0BE-1B4D7380836A}"/>
              </a:ext>
            </a:extLst>
          </p:cNvPr>
          <p:cNvSpPr/>
          <p:nvPr/>
        </p:nvSpPr>
        <p:spPr>
          <a:xfrm>
            <a:off x="5487328" y="3908342"/>
            <a:ext cx="792722" cy="173778"/>
          </a:xfrm>
          <a:custGeom>
            <a:avLst/>
            <a:gdLst>
              <a:gd name="csX0" fmla="*/ 116817 w 959194"/>
              <a:gd name="csY0" fmla="*/ 0 h 210271"/>
              <a:gd name="csX1" fmla="*/ 959194 w 959194"/>
              <a:gd name="csY1" fmla="*/ 0 h 210271"/>
              <a:gd name="csX2" fmla="*/ 901577 w 959194"/>
              <a:gd name="csY2" fmla="*/ 210271 h 210271"/>
              <a:gd name="csX3" fmla="*/ 0 w 959194"/>
              <a:gd name="csY3" fmla="*/ 210271 h 210271"/>
              <a:gd name="csX4" fmla="*/ 116817 w 959194"/>
              <a:gd name="csY4" fmla="*/ 0 h 21027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959194" h="210271">
                <a:moveTo>
                  <a:pt x="116817" y="0"/>
                </a:moveTo>
                <a:lnTo>
                  <a:pt x="959194" y="0"/>
                </a:lnTo>
                <a:lnTo>
                  <a:pt x="901577" y="210271"/>
                </a:lnTo>
                <a:lnTo>
                  <a:pt x="0" y="210271"/>
                </a:lnTo>
                <a:lnTo>
                  <a:pt x="116817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982" name="Free-form: Shape 8981">
            <a:extLst>
              <a:ext uri="{FF2B5EF4-FFF2-40B4-BE49-F238E27FC236}">
                <a16:creationId xmlns:a16="http://schemas.microsoft.com/office/drawing/2014/main" id="{1F1340FD-1B5A-D3C4-EA10-3208417140FC}"/>
              </a:ext>
            </a:extLst>
          </p:cNvPr>
          <p:cNvSpPr/>
          <p:nvPr/>
        </p:nvSpPr>
        <p:spPr>
          <a:xfrm>
            <a:off x="6976002" y="3908342"/>
            <a:ext cx="718291" cy="173778"/>
          </a:xfrm>
          <a:custGeom>
            <a:avLst/>
            <a:gdLst>
              <a:gd name="csX0" fmla="*/ 1208 w 869132"/>
              <a:gd name="csY0" fmla="*/ 0 h 210271"/>
              <a:gd name="csX1" fmla="*/ 809226 w 869132"/>
              <a:gd name="csY1" fmla="*/ 0 h 210271"/>
              <a:gd name="csX2" fmla="*/ 869132 w 869132"/>
              <a:gd name="csY2" fmla="*/ 210271 h 210271"/>
              <a:gd name="csX3" fmla="*/ 0 w 869132"/>
              <a:gd name="csY3" fmla="*/ 210271 h 210271"/>
              <a:gd name="csX4" fmla="*/ 1208 w 869132"/>
              <a:gd name="csY4" fmla="*/ 0 h 21027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869132" h="210271">
                <a:moveTo>
                  <a:pt x="1208" y="0"/>
                </a:moveTo>
                <a:lnTo>
                  <a:pt x="809226" y="0"/>
                </a:lnTo>
                <a:lnTo>
                  <a:pt x="869132" y="210271"/>
                </a:lnTo>
                <a:lnTo>
                  <a:pt x="0" y="210271"/>
                </a:lnTo>
                <a:lnTo>
                  <a:pt x="1208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983" name="Free-form: Shape 8982">
            <a:extLst>
              <a:ext uri="{FF2B5EF4-FFF2-40B4-BE49-F238E27FC236}">
                <a16:creationId xmlns:a16="http://schemas.microsoft.com/office/drawing/2014/main" id="{D5CF3756-E9CC-8A7E-1353-98CDCC743720}"/>
              </a:ext>
            </a:extLst>
          </p:cNvPr>
          <p:cNvSpPr/>
          <p:nvPr/>
        </p:nvSpPr>
        <p:spPr>
          <a:xfrm>
            <a:off x="6180665" y="4082119"/>
            <a:ext cx="795337" cy="188926"/>
          </a:xfrm>
          <a:custGeom>
            <a:avLst/>
            <a:gdLst>
              <a:gd name="csX0" fmla="*/ 62639 w 962358"/>
              <a:gd name="csY0" fmla="*/ 0 h 228600"/>
              <a:gd name="csX1" fmla="*/ 962358 w 962358"/>
              <a:gd name="csY1" fmla="*/ 0 h 228600"/>
              <a:gd name="csX2" fmla="*/ 961044 w 962358"/>
              <a:gd name="csY2" fmla="*/ 228600 h 228600"/>
              <a:gd name="csX3" fmla="*/ 0 w 962358"/>
              <a:gd name="csY3" fmla="*/ 228600 h 228600"/>
              <a:gd name="csX4" fmla="*/ 62639 w 962358"/>
              <a:gd name="csY4" fmla="*/ 0 h 22860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962358" h="228600">
                <a:moveTo>
                  <a:pt x="62639" y="0"/>
                </a:moveTo>
                <a:lnTo>
                  <a:pt x="962358" y="0"/>
                </a:lnTo>
                <a:lnTo>
                  <a:pt x="961044" y="228600"/>
                </a:lnTo>
                <a:lnTo>
                  <a:pt x="0" y="228600"/>
                </a:lnTo>
                <a:lnTo>
                  <a:pt x="62639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984" name="Free-form: Shape 8983">
            <a:extLst>
              <a:ext uri="{FF2B5EF4-FFF2-40B4-BE49-F238E27FC236}">
                <a16:creationId xmlns:a16="http://schemas.microsoft.com/office/drawing/2014/main" id="{325B3D46-E8F5-32FA-32F4-A5F23B1E7FAD}"/>
              </a:ext>
            </a:extLst>
          </p:cNvPr>
          <p:cNvSpPr/>
          <p:nvPr/>
        </p:nvSpPr>
        <p:spPr>
          <a:xfrm>
            <a:off x="7813155" y="4499329"/>
            <a:ext cx="989864" cy="248679"/>
          </a:xfrm>
          <a:custGeom>
            <a:avLst/>
            <a:gdLst>
              <a:gd name="csX0" fmla="*/ 0 w 1197736"/>
              <a:gd name="csY0" fmla="*/ 0 h 300901"/>
              <a:gd name="csX1" fmla="*/ 1030091 w 1197736"/>
              <a:gd name="csY1" fmla="*/ 0 h 300901"/>
              <a:gd name="csX2" fmla="*/ 1197736 w 1197736"/>
              <a:gd name="csY2" fmla="*/ 300901 h 300901"/>
              <a:gd name="csX3" fmla="*/ 85727 w 1197736"/>
              <a:gd name="csY3" fmla="*/ 300901 h 300901"/>
              <a:gd name="csX4" fmla="*/ 0 w 1197736"/>
              <a:gd name="csY4" fmla="*/ 0 h 30090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197736" h="300901">
                <a:moveTo>
                  <a:pt x="0" y="0"/>
                </a:moveTo>
                <a:lnTo>
                  <a:pt x="1030091" y="0"/>
                </a:lnTo>
                <a:lnTo>
                  <a:pt x="1197736" y="300901"/>
                </a:lnTo>
                <a:lnTo>
                  <a:pt x="85727" y="300901"/>
                </a:lnTo>
                <a:lnTo>
                  <a:pt x="0" y="0"/>
                </a:lnTo>
                <a:close/>
              </a:path>
            </a:pathLst>
          </a:custGeom>
          <a:solidFill>
            <a:srgbClr val="DDE5E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985" name="Free-form: Shape 8984">
            <a:extLst>
              <a:ext uri="{FF2B5EF4-FFF2-40B4-BE49-F238E27FC236}">
                <a16:creationId xmlns:a16="http://schemas.microsoft.com/office/drawing/2014/main" id="{45048F27-FED3-459F-372B-6841569D800D}"/>
              </a:ext>
            </a:extLst>
          </p:cNvPr>
          <p:cNvSpPr/>
          <p:nvPr/>
        </p:nvSpPr>
        <p:spPr>
          <a:xfrm>
            <a:off x="4067009" y="3908340"/>
            <a:ext cx="859446" cy="173779"/>
          </a:xfrm>
          <a:custGeom>
            <a:avLst/>
            <a:gdLst>
              <a:gd name="csX0" fmla="*/ 239169 w 1039930"/>
              <a:gd name="csY0" fmla="*/ 0 h 210272"/>
              <a:gd name="csX1" fmla="*/ 239170 w 1039930"/>
              <a:gd name="csY1" fmla="*/ 0 h 210272"/>
              <a:gd name="csX2" fmla="*/ 239169 w 1039930"/>
              <a:gd name="csY2" fmla="*/ 1 h 210272"/>
              <a:gd name="csX3" fmla="*/ 1039930 w 1039930"/>
              <a:gd name="csY3" fmla="*/ 1 h 210272"/>
              <a:gd name="csX4" fmla="*/ 864208 w 1039930"/>
              <a:gd name="csY4" fmla="*/ 210272 h 210272"/>
              <a:gd name="csX5" fmla="*/ 0 w 1039930"/>
              <a:gd name="csY5" fmla="*/ 210272 h 210272"/>
              <a:gd name="csX6" fmla="*/ 239169 w 1039930"/>
              <a:gd name="csY6" fmla="*/ 0 h 21027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</a:cxnLst>
            <a:rect l="l" t="t" r="r" b="b"/>
            <a:pathLst>
              <a:path w="1039930" h="210272">
                <a:moveTo>
                  <a:pt x="239169" y="0"/>
                </a:moveTo>
                <a:lnTo>
                  <a:pt x="239170" y="0"/>
                </a:lnTo>
                <a:lnTo>
                  <a:pt x="239169" y="1"/>
                </a:lnTo>
                <a:lnTo>
                  <a:pt x="1039930" y="1"/>
                </a:lnTo>
                <a:lnTo>
                  <a:pt x="864208" y="210272"/>
                </a:lnTo>
                <a:lnTo>
                  <a:pt x="0" y="210272"/>
                </a:lnTo>
                <a:lnTo>
                  <a:pt x="239169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986" name="Free-form: Shape 8985">
            <a:extLst>
              <a:ext uri="{FF2B5EF4-FFF2-40B4-BE49-F238E27FC236}">
                <a16:creationId xmlns:a16="http://schemas.microsoft.com/office/drawing/2014/main" id="{CF0759C4-EB63-6461-6538-9BC8AFCC927A}"/>
              </a:ext>
            </a:extLst>
          </p:cNvPr>
          <p:cNvSpPr/>
          <p:nvPr/>
        </p:nvSpPr>
        <p:spPr>
          <a:xfrm>
            <a:off x="3592464" y="4271045"/>
            <a:ext cx="1030881" cy="228284"/>
          </a:xfrm>
          <a:custGeom>
            <a:avLst/>
            <a:gdLst>
              <a:gd name="csX0" fmla="*/ 314185 w 1247366"/>
              <a:gd name="csY0" fmla="*/ 0 h 276224"/>
              <a:gd name="csX1" fmla="*/ 1247366 w 1247366"/>
              <a:gd name="csY1" fmla="*/ 0 h 276224"/>
              <a:gd name="csX2" fmla="*/ 1016527 w 1247366"/>
              <a:gd name="csY2" fmla="*/ 276224 h 276224"/>
              <a:gd name="csX3" fmla="*/ 0 w 1247366"/>
              <a:gd name="csY3" fmla="*/ 276224 h 276224"/>
              <a:gd name="csX4" fmla="*/ 314185 w 1247366"/>
              <a:gd name="csY4" fmla="*/ 0 h 27622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247366" h="276224">
                <a:moveTo>
                  <a:pt x="314185" y="0"/>
                </a:moveTo>
                <a:lnTo>
                  <a:pt x="1247366" y="0"/>
                </a:lnTo>
                <a:lnTo>
                  <a:pt x="1016527" y="276224"/>
                </a:lnTo>
                <a:lnTo>
                  <a:pt x="0" y="276224"/>
                </a:lnTo>
                <a:lnTo>
                  <a:pt x="314185" y="0"/>
                </a:lnTo>
                <a:close/>
              </a:path>
            </a:pathLst>
          </a:custGeom>
          <a:solidFill>
            <a:srgbClr val="DDE5E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987" name="Free-form: Shape 8986">
            <a:extLst>
              <a:ext uri="{FF2B5EF4-FFF2-40B4-BE49-F238E27FC236}">
                <a16:creationId xmlns:a16="http://schemas.microsoft.com/office/drawing/2014/main" id="{D20250E7-67BF-403B-498D-AD6E5FC13C52}"/>
              </a:ext>
            </a:extLst>
          </p:cNvPr>
          <p:cNvSpPr/>
          <p:nvPr/>
        </p:nvSpPr>
        <p:spPr>
          <a:xfrm>
            <a:off x="4224750" y="4499329"/>
            <a:ext cx="1030793" cy="248679"/>
          </a:xfrm>
          <a:custGeom>
            <a:avLst/>
            <a:gdLst>
              <a:gd name="csX0" fmla="*/ 251461 w 1247260"/>
              <a:gd name="csY0" fmla="*/ 0 h 300901"/>
              <a:gd name="csX1" fmla="*/ 1247260 w 1247260"/>
              <a:gd name="csY1" fmla="*/ 0 h 300901"/>
              <a:gd name="csX2" fmla="*/ 1080093 w 1247260"/>
              <a:gd name="csY2" fmla="*/ 300901 h 300901"/>
              <a:gd name="csX3" fmla="*/ 0 w 1247260"/>
              <a:gd name="csY3" fmla="*/ 300901 h 300901"/>
              <a:gd name="csX4" fmla="*/ 251461 w 1247260"/>
              <a:gd name="csY4" fmla="*/ 0 h 30090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247260" h="300901">
                <a:moveTo>
                  <a:pt x="251461" y="0"/>
                </a:moveTo>
                <a:lnTo>
                  <a:pt x="1247260" y="0"/>
                </a:lnTo>
                <a:lnTo>
                  <a:pt x="1080093" y="300901"/>
                </a:lnTo>
                <a:lnTo>
                  <a:pt x="0" y="300901"/>
                </a:lnTo>
                <a:lnTo>
                  <a:pt x="251461" y="0"/>
                </a:lnTo>
                <a:close/>
              </a:path>
            </a:pathLst>
          </a:custGeom>
          <a:solidFill>
            <a:srgbClr val="F79B7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988" name="Free-form: Shape 8987">
            <a:extLst>
              <a:ext uri="{FF2B5EF4-FFF2-40B4-BE49-F238E27FC236}">
                <a16:creationId xmlns:a16="http://schemas.microsoft.com/office/drawing/2014/main" id="{DEF348F4-3B78-45E9-72FD-296E72E39500}"/>
              </a:ext>
            </a:extLst>
          </p:cNvPr>
          <p:cNvSpPr/>
          <p:nvPr/>
        </p:nvSpPr>
        <p:spPr>
          <a:xfrm>
            <a:off x="6049972" y="4499329"/>
            <a:ext cx="923632" cy="248679"/>
          </a:xfrm>
          <a:custGeom>
            <a:avLst/>
            <a:gdLst>
              <a:gd name="csX0" fmla="*/ 82451 w 1117595"/>
              <a:gd name="csY0" fmla="*/ 0 h 300902"/>
              <a:gd name="csX1" fmla="*/ 1117595 w 1117595"/>
              <a:gd name="csY1" fmla="*/ 0 h 300902"/>
              <a:gd name="csX2" fmla="*/ 1115866 w 1117595"/>
              <a:gd name="csY2" fmla="*/ 300902 h 300902"/>
              <a:gd name="csX3" fmla="*/ 0 w 1117595"/>
              <a:gd name="csY3" fmla="*/ 300902 h 300902"/>
              <a:gd name="csX4" fmla="*/ 82451 w 1117595"/>
              <a:gd name="csY4" fmla="*/ 0 h 30090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117595" h="300902">
                <a:moveTo>
                  <a:pt x="82451" y="0"/>
                </a:moveTo>
                <a:lnTo>
                  <a:pt x="1117595" y="0"/>
                </a:lnTo>
                <a:lnTo>
                  <a:pt x="1115866" y="300902"/>
                </a:lnTo>
                <a:lnTo>
                  <a:pt x="0" y="300902"/>
                </a:lnTo>
                <a:lnTo>
                  <a:pt x="82451" y="0"/>
                </a:lnTo>
                <a:close/>
              </a:path>
            </a:pathLst>
          </a:custGeom>
          <a:solidFill>
            <a:srgbClr val="DDE5E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989" name="Free-form: Shape 8988">
            <a:extLst>
              <a:ext uri="{FF2B5EF4-FFF2-40B4-BE49-F238E27FC236}">
                <a16:creationId xmlns:a16="http://schemas.microsoft.com/office/drawing/2014/main" id="{AF1F133E-09BC-F013-3C97-5843BD0915ED}"/>
              </a:ext>
            </a:extLst>
          </p:cNvPr>
          <p:cNvSpPr/>
          <p:nvPr/>
        </p:nvSpPr>
        <p:spPr>
          <a:xfrm>
            <a:off x="7973721" y="5062916"/>
            <a:ext cx="1225011" cy="395346"/>
          </a:xfrm>
          <a:custGeom>
            <a:avLst/>
            <a:gdLst>
              <a:gd name="csX0" fmla="*/ 0 w 1482263"/>
              <a:gd name="csY0" fmla="*/ 0 h 478368"/>
              <a:gd name="csX1" fmla="*/ 1215744 w 1482263"/>
              <a:gd name="csY1" fmla="*/ 0 h 478368"/>
              <a:gd name="csX2" fmla="*/ 1482263 w 1482263"/>
              <a:gd name="csY2" fmla="*/ 478368 h 478368"/>
              <a:gd name="csX3" fmla="*/ 136287 w 1482263"/>
              <a:gd name="csY3" fmla="*/ 478368 h 478368"/>
              <a:gd name="csX4" fmla="*/ 0 w 1482263"/>
              <a:gd name="csY4" fmla="*/ 0 h 47836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482263" h="478368">
                <a:moveTo>
                  <a:pt x="0" y="0"/>
                </a:moveTo>
                <a:lnTo>
                  <a:pt x="1215744" y="0"/>
                </a:lnTo>
                <a:lnTo>
                  <a:pt x="1482263" y="478368"/>
                </a:lnTo>
                <a:lnTo>
                  <a:pt x="136287" y="478368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990" name="Oval 8989">
            <a:extLst>
              <a:ext uri="{FF2B5EF4-FFF2-40B4-BE49-F238E27FC236}">
                <a16:creationId xmlns:a16="http://schemas.microsoft.com/office/drawing/2014/main" id="{7E4CBD17-DA94-206E-9CC6-5276FD7BDED2}"/>
              </a:ext>
            </a:extLst>
          </p:cNvPr>
          <p:cNvSpPr/>
          <p:nvPr/>
        </p:nvSpPr>
        <p:spPr>
          <a:xfrm>
            <a:off x="8146265" y="5200216"/>
            <a:ext cx="593138" cy="114548"/>
          </a:xfrm>
          <a:prstGeom prst="ellipse">
            <a:avLst/>
          </a:prstGeom>
          <a:solidFill>
            <a:schemeClr val="tx1">
              <a:alpha val="6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991" name="Free-form: Shape 8990">
            <a:extLst>
              <a:ext uri="{FF2B5EF4-FFF2-40B4-BE49-F238E27FC236}">
                <a16:creationId xmlns:a16="http://schemas.microsoft.com/office/drawing/2014/main" id="{4178B197-8F75-748A-0862-9231E211CEDE}"/>
              </a:ext>
            </a:extLst>
          </p:cNvPr>
          <p:cNvSpPr/>
          <p:nvPr/>
        </p:nvSpPr>
        <p:spPr>
          <a:xfrm>
            <a:off x="8244931" y="4451500"/>
            <a:ext cx="433137" cy="847024"/>
          </a:xfrm>
          <a:custGeom>
            <a:avLst/>
            <a:gdLst>
              <a:gd name="csX0" fmla="*/ 581793 w 697572"/>
              <a:gd name="csY0" fmla="*/ 1234401 h 1240128"/>
              <a:gd name="csX1" fmla="*/ 577427 w 697572"/>
              <a:gd name="csY1" fmla="*/ 1234156 h 1240128"/>
              <a:gd name="csX2" fmla="*/ 559133 w 697572"/>
              <a:gd name="csY2" fmla="*/ 1230909 h 1240128"/>
              <a:gd name="csX3" fmla="*/ 516706 w 697572"/>
              <a:gd name="csY3" fmla="*/ 1235117 h 1240128"/>
              <a:gd name="csX4" fmla="*/ 475244 w 697572"/>
              <a:gd name="csY4" fmla="*/ 1237506 h 1240128"/>
              <a:gd name="csX5" fmla="*/ 371154 w 697572"/>
              <a:gd name="csY5" fmla="*/ 1239428 h 1240128"/>
              <a:gd name="csX6" fmla="*/ 276813 w 697572"/>
              <a:gd name="csY6" fmla="*/ 1237654 h 1240128"/>
              <a:gd name="csX7" fmla="*/ 268212 w 697572"/>
              <a:gd name="csY7" fmla="*/ 1237635 h 1240128"/>
              <a:gd name="csX8" fmla="*/ 262072 w 697572"/>
              <a:gd name="csY8" fmla="*/ 1237523 h 1240128"/>
              <a:gd name="csX9" fmla="*/ 195111 w 697572"/>
              <a:gd name="csY9" fmla="*/ 1232775 h 1240128"/>
              <a:gd name="csX10" fmla="*/ 145060 w 697572"/>
              <a:gd name="csY10" fmla="*/ 1230076 h 1240128"/>
              <a:gd name="csX11" fmla="*/ 114933 w 697572"/>
              <a:gd name="csY11" fmla="*/ 1225832 h 1240128"/>
              <a:gd name="csX12" fmla="*/ 72642 w 697572"/>
              <a:gd name="csY12" fmla="*/ 1220237 h 1240128"/>
              <a:gd name="csX13" fmla="*/ 10894 w 697572"/>
              <a:gd name="csY13" fmla="*/ 1205737 h 1240128"/>
              <a:gd name="csX14" fmla="*/ 5856 w 697572"/>
              <a:gd name="csY14" fmla="*/ 1202799 h 1240128"/>
              <a:gd name="csX15" fmla="*/ 40 w 697572"/>
              <a:gd name="csY15" fmla="*/ 1174450 h 1240128"/>
              <a:gd name="csX16" fmla="*/ 19831 w 697572"/>
              <a:gd name="csY16" fmla="*/ 1118410 h 1240128"/>
              <a:gd name="csX17" fmla="*/ 22004 w 697572"/>
              <a:gd name="csY17" fmla="*/ 1107240 h 1240128"/>
              <a:gd name="csX18" fmla="*/ 25947 w 697572"/>
              <a:gd name="csY18" fmla="*/ 1038650 h 1240128"/>
              <a:gd name="csX19" fmla="*/ 58234 w 697572"/>
              <a:gd name="csY19" fmla="*/ 988567 h 1240128"/>
              <a:gd name="csX20" fmla="*/ 118645 w 697572"/>
              <a:gd name="csY20" fmla="*/ 928298 h 1240128"/>
              <a:gd name="csX21" fmla="*/ 126320 w 697572"/>
              <a:gd name="csY21" fmla="*/ 892015 h 1240128"/>
              <a:gd name="csX22" fmla="*/ 120345 w 697572"/>
              <a:gd name="csY22" fmla="*/ 872258 h 1240128"/>
              <a:gd name="csX23" fmla="*/ 125668 w 697572"/>
              <a:gd name="csY23" fmla="*/ 861640 h 1240128"/>
              <a:gd name="csX24" fmla="*/ 154237 w 697572"/>
              <a:gd name="csY24" fmla="*/ 850716 h 1240128"/>
              <a:gd name="csX25" fmla="*/ 170248 w 697572"/>
              <a:gd name="csY25" fmla="*/ 836767 h 1240128"/>
              <a:gd name="csX26" fmla="*/ 187840 w 697572"/>
              <a:gd name="csY26" fmla="*/ 796341 h 1240128"/>
              <a:gd name="csX27" fmla="*/ 209346 w 697572"/>
              <a:gd name="csY27" fmla="*/ 743126 h 1240128"/>
              <a:gd name="csX28" fmla="*/ 210630 w 697572"/>
              <a:gd name="csY28" fmla="*/ 737219 h 1240128"/>
              <a:gd name="csX29" fmla="*/ 213836 w 697572"/>
              <a:gd name="csY29" fmla="*/ 720505 h 1240128"/>
              <a:gd name="csX30" fmla="*/ 227791 w 697572"/>
              <a:gd name="csY30" fmla="*/ 667353 h 1240128"/>
              <a:gd name="csX31" fmla="*/ 241013 w 697572"/>
              <a:gd name="csY31" fmla="*/ 599151 h 1240128"/>
              <a:gd name="csX32" fmla="*/ 247322 w 697572"/>
              <a:gd name="csY32" fmla="*/ 542242 h 1240128"/>
              <a:gd name="csX33" fmla="*/ 247948 w 697572"/>
              <a:gd name="csY33" fmla="*/ 499296 h 1240128"/>
              <a:gd name="csX34" fmla="*/ 247577 w 697572"/>
              <a:gd name="csY34" fmla="*/ 470384 h 1240128"/>
              <a:gd name="csX35" fmla="*/ 238877 w 697572"/>
              <a:gd name="csY35" fmla="*/ 460987 h 1240128"/>
              <a:gd name="csX36" fmla="*/ 222040 w 697572"/>
              <a:gd name="csY36" fmla="*/ 458353 h 1240128"/>
              <a:gd name="csX37" fmla="*/ 172193 w 697572"/>
              <a:gd name="csY37" fmla="*/ 433714 h 1240128"/>
              <a:gd name="csX38" fmla="*/ 168410 w 697572"/>
              <a:gd name="csY38" fmla="*/ 396591 h 1240128"/>
              <a:gd name="csX39" fmla="*/ 209826 w 697572"/>
              <a:gd name="csY39" fmla="*/ 367773 h 1240128"/>
              <a:gd name="csX40" fmla="*/ 250732 w 697572"/>
              <a:gd name="csY40" fmla="*/ 355208 h 1240128"/>
              <a:gd name="csX41" fmla="*/ 258289 w 697572"/>
              <a:gd name="csY41" fmla="*/ 350426 h 1240128"/>
              <a:gd name="csX42" fmla="*/ 233274 w 697572"/>
              <a:gd name="csY42" fmla="*/ 333513 h 1240128"/>
              <a:gd name="csX43" fmla="*/ 229677 w 697572"/>
              <a:gd name="csY43" fmla="*/ 333922 h 1240128"/>
              <a:gd name="csX44" fmla="*/ 230149 w 697572"/>
              <a:gd name="csY44" fmla="*/ 332979 h 1240128"/>
              <a:gd name="csX45" fmla="*/ 227053 w 697572"/>
              <a:gd name="csY45" fmla="*/ 327076 h 1240128"/>
              <a:gd name="csX46" fmla="*/ 196769 w 697572"/>
              <a:gd name="csY46" fmla="*/ 291380 h 1240128"/>
              <a:gd name="csX47" fmla="*/ 184389 w 697572"/>
              <a:gd name="csY47" fmla="*/ 264042 h 1240128"/>
              <a:gd name="csX48" fmla="*/ 180630 w 697572"/>
              <a:gd name="csY48" fmla="*/ 257839 h 1240128"/>
              <a:gd name="csX49" fmla="*/ 176231 w 697572"/>
              <a:gd name="csY49" fmla="*/ 250643 h 1240128"/>
              <a:gd name="csX50" fmla="*/ 170073 w 697572"/>
              <a:gd name="csY50" fmla="*/ 146723 h 1240128"/>
              <a:gd name="csX51" fmla="*/ 180929 w 697572"/>
              <a:gd name="csY51" fmla="*/ 114280 h 1240128"/>
              <a:gd name="csX52" fmla="*/ 180839 w 697572"/>
              <a:gd name="csY52" fmla="*/ 101501 h 1240128"/>
              <a:gd name="csX53" fmla="*/ 233536 w 697572"/>
              <a:gd name="csY53" fmla="*/ 39653 h 1240128"/>
              <a:gd name="csX54" fmla="*/ 347618 w 697572"/>
              <a:gd name="csY54" fmla="*/ 35 h 1240128"/>
              <a:gd name="csX55" fmla="*/ 437139 w 697572"/>
              <a:gd name="csY55" fmla="*/ 22396 h 1240128"/>
              <a:gd name="csX56" fmla="*/ 529052 w 697572"/>
              <a:gd name="csY56" fmla="*/ 131093 h 1240128"/>
              <a:gd name="csX57" fmla="*/ 518497 w 697572"/>
              <a:gd name="csY57" fmla="*/ 271517 h 1240128"/>
              <a:gd name="csX58" fmla="*/ 500808 w 697572"/>
              <a:gd name="csY58" fmla="*/ 287385 h 1240128"/>
              <a:gd name="csX59" fmla="*/ 472948 w 697572"/>
              <a:gd name="csY59" fmla="*/ 323290 h 1240128"/>
              <a:gd name="csX60" fmla="*/ 469385 w 697572"/>
              <a:gd name="csY60" fmla="*/ 331565 h 1240128"/>
              <a:gd name="csX61" fmla="*/ 468293 w 697572"/>
              <a:gd name="csY61" fmla="*/ 331320 h 1240128"/>
              <a:gd name="csX62" fmla="*/ 459542 w 697572"/>
              <a:gd name="csY62" fmla="*/ 338942 h 1240128"/>
              <a:gd name="csX63" fmla="*/ 458492 w 697572"/>
              <a:gd name="csY63" fmla="*/ 338671 h 1240128"/>
              <a:gd name="csX64" fmla="*/ 436978 w 697572"/>
              <a:gd name="csY64" fmla="*/ 352226 h 1240128"/>
              <a:gd name="csX65" fmla="*/ 472329 w 697572"/>
              <a:gd name="csY65" fmla="*/ 362890 h 1240128"/>
              <a:gd name="csX66" fmla="*/ 523779 w 697572"/>
              <a:gd name="csY66" fmla="*/ 391962 h 1240128"/>
              <a:gd name="csX67" fmla="*/ 527344 w 697572"/>
              <a:gd name="csY67" fmla="*/ 430096 h 1240128"/>
              <a:gd name="csX68" fmla="*/ 504112 w 697572"/>
              <a:gd name="csY68" fmla="*/ 449628 h 1240128"/>
              <a:gd name="csX69" fmla="*/ 459430 w 697572"/>
              <a:gd name="csY69" fmla="*/ 461116 h 1240128"/>
              <a:gd name="csX70" fmla="*/ 446666 w 697572"/>
              <a:gd name="csY70" fmla="*/ 474229 h 1240128"/>
              <a:gd name="csX71" fmla="*/ 449133 w 697572"/>
              <a:gd name="csY71" fmla="*/ 531639 h 1240128"/>
              <a:gd name="csX72" fmla="*/ 454546 w 697572"/>
              <a:gd name="csY72" fmla="*/ 588688 h 1240128"/>
              <a:gd name="csX73" fmla="*/ 466126 w 697572"/>
              <a:gd name="csY73" fmla="*/ 649736 h 1240128"/>
              <a:gd name="csX74" fmla="*/ 512154 w 697572"/>
              <a:gd name="csY74" fmla="*/ 794006 h 1240128"/>
              <a:gd name="csX75" fmla="*/ 525763 w 697572"/>
              <a:gd name="csY75" fmla="*/ 834323 h 1240128"/>
              <a:gd name="csX76" fmla="*/ 530555 w 697572"/>
              <a:gd name="csY76" fmla="*/ 845114 h 1240128"/>
              <a:gd name="csX77" fmla="*/ 554424 w 697572"/>
              <a:gd name="csY77" fmla="*/ 856618 h 1240128"/>
              <a:gd name="csX78" fmla="*/ 572880 w 697572"/>
              <a:gd name="csY78" fmla="*/ 862546 h 1240128"/>
              <a:gd name="csX79" fmla="*/ 578643 w 697572"/>
              <a:gd name="csY79" fmla="*/ 880396 h 1240128"/>
              <a:gd name="csX80" fmla="*/ 572188 w 697572"/>
              <a:gd name="csY80" fmla="*/ 899820 h 1240128"/>
              <a:gd name="csX81" fmla="*/ 582698 w 697572"/>
              <a:gd name="csY81" fmla="*/ 930382 h 1240128"/>
              <a:gd name="csX82" fmla="*/ 604747 w 697572"/>
              <a:gd name="csY82" fmla="*/ 960852 h 1240128"/>
              <a:gd name="csX83" fmla="*/ 613863 w 697572"/>
              <a:gd name="csY83" fmla="*/ 968311 h 1240128"/>
              <a:gd name="csX84" fmla="*/ 629435 w 697572"/>
              <a:gd name="csY84" fmla="*/ 981186 h 1240128"/>
              <a:gd name="csX85" fmla="*/ 633611 w 697572"/>
              <a:gd name="csY85" fmla="*/ 985609 h 1240128"/>
              <a:gd name="csX86" fmla="*/ 673790 w 697572"/>
              <a:gd name="csY86" fmla="*/ 1049348 h 1240128"/>
              <a:gd name="csX87" fmla="*/ 675873 w 697572"/>
              <a:gd name="csY87" fmla="*/ 1092839 h 1240128"/>
              <a:gd name="csX88" fmla="*/ 681668 w 697572"/>
              <a:gd name="csY88" fmla="*/ 1129292 h 1240128"/>
              <a:gd name="csX89" fmla="*/ 697338 w 697572"/>
              <a:gd name="csY89" fmla="*/ 1196079 h 1240128"/>
              <a:gd name="csX90" fmla="*/ 690637 w 697572"/>
              <a:gd name="csY90" fmla="*/ 1205035 h 1240128"/>
              <a:gd name="csX91" fmla="*/ 639777 w 697572"/>
              <a:gd name="csY91" fmla="*/ 1217994 h 1240128"/>
              <a:gd name="csX92" fmla="*/ 587072 w 697572"/>
              <a:gd name="csY92" fmla="*/ 1227761 h 1240128"/>
              <a:gd name="csX93" fmla="*/ 581793 w 697572"/>
              <a:gd name="csY93" fmla="*/ 1234401 h 1240128"/>
              <a:gd name="csX94" fmla="*/ 357446 w 697572"/>
              <a:gd name="csY94" fmla="*/ 903795 h 1240128"/>
              <a:gd name="csX95" fmla="*/ 344445 w 697572"/>
              <a:gd name="csY95" fmla="*/ 903795 h 1240128"/>
              <a:gd name="csX96" fmla="*/ 349212 w 697572"/>
              <a:gd name="csY96" fmla="*/ 950515 h 1240128"/>
              <a:gd name="csX97" fmla="*/ 349538 w 697572"/>
              <a:gd name="csY97" fmla="*/ 1069392 h 1240128"/>
              <a:gd name="csX98" fmla="*/ 349415 w 697572"/>
              <a:gd name="csY98" fmla="*/ 1108925 h 1240128"/>
              <a:gd name="csX99" fmla="*/ 647726 w 697572"/>
              <a:gd name="csY99" fmla="*/ 1089872 h 1240128"/>
              <a:gd name="csX100" fmla="*/ 647654 w 697572"/>
              <a:gd name="csY100" fmla="*/ 1076267 h 1240128"/>
              <a:gd name="csX101" fmla="*/ 610267 w 697572"/>
              <a:gd name="csY101" fmla="*/ 994126 h 1240128"/>
              <a:gd name="csX102" fmla="*/ 571459 w 697572"/>
              <a:gd name="csY102" fmla="*/ 956568 h 1240128"/>
              <a:gd name="csX103" fmla="*/ 541653 w 697572"/>
              <a:gd name="csY103" fmla="*/ 901544 h 1240128"/>
              <a:gd name="csX104" fmla="*/ 539477 w 697572"/>
              <a:gd name="csY104" fmla="*/ 895908 h 1240128"/>
              <a:gd name="csX105" fmla="*/ 357446 w 697572"/>
              <a:gd name="csY105" fmla="*/ 903795 h 1240128"/>
              <a:gd name="csX106" fmla="*/ 300108 w 697572"/>
              <a:gd name="csY106" fmla="*/ 85260 h 1240128"/>
              <a:gd name="csX107" fmla="*/ 290213 w 697572"/>
              <a:gd name="csY107" fmla="*/ 127888 h 1240128"/>
              <a:gd name="csX108" fmla="*/ 331056 w 697572"/>
              <a:gd name="csY108" fmla="*/ 214168 h 1240128"/>
              <a:gd name="csX109" fmla="*/ 424717 w 697572"/>
              <a:gd name="csY109" fmla="*/ 245160 h 1240128"/>
              <a:gd name="csX110" fmla="*/ 496752 w 697572"/>
              <a:gd name="csY110" fmla="*/ 141256 h 1240128"/>
              <a:gd name="csX111" fmla="*/ 390320 w 697572"/>
              <a:gd name="csY111" fmla="*/ 43995 h 1240128"/>
              <a:gd name="csX112" fmla="*/ 300108 w 697572"/>
              <a:gd name="csY112" fmla="*/ 85260 h 1240128"/>
              <a:gd name="csX113" fmla="*/ 343360 w 697572"/>
              <a:gd name="csY113" fmla="*/ 634332 h 1240128"/>
              <a:gd name="csX114" fmla="*/ 340877 w 697572"/>
              <a:gd name="csY114" fmla="*/ 732259 h 1240128"/>
              <a:gd name="csX115" fmla="*/ 338360 w 697572"/>
              <a:gd name="csY115" fmla="*/ 810538 h 1240128"/>
              <a:gd name="csX116" fmla="*/ 337115 w 697572"/>
              <a:gd name="csY116" fmla="*/ 817736 h 1240128"/>
              <a:gd name="csX117" fmla="*/ 336516 w 697572"/>
              <a:gd name="csY117" fmla="*/ 863022 h 1240128"/>
              <a:gd name="csX118" fmla="*/ 343436 w 697572"/>
              <a:gd name="csY118" fmla="*/ 864027 h 1240128"/>
              <a:gd name="csX119" fmla="*/ 406718 w 697572"/>
              <a:gd name="csY119" fmla="*/ 862982 h 1240128"/>
              <a:gd name="csX120" fmla="*/ 456888 w 697572"/>
              <a:gd name="csY120" fmla="*/ 861794 h 1240128"/>
              <a:gd name="csX121" fmla="*/ 495873 w 697572"/>
              <a:gd name="csY121" fmla="*/ 863963 h 1240128"/>
              <a:gd name="csX122" fmla="*/ 509286 w 697572"/>
              <a:gd name="csY122" fmla="*/ 863595 h 1240128"/>
              <a:gd name="csX123" fmla="*/ 516956 w 697572"/>
              <a:gd name="csY123" fmla="*/ 856791 h 1240128"/>
              <a:gd name="csX124" fmla="*/ 513920 w 697572"/>
              <a:gd name="csY124" fmla="*/ 848709 h 1240128"/>
              <a:gd name="csX125" fmla="*/ 506683 w 697572"/>
              <a:gd name="csY125" fmla="*/ 839054 h 1240128"/>
              <a:gd name="csX126" fmla="*/ 488629 w 697572"/>
              <a:gd name="csY126" fmla="*/ 799037 h 1240128"/>
              <a:gd name="csX127" fmla="*/ 456922 w 697572"/>
              <a:gd name="csY127" fmla="*/ 696297 h 1240128"/>
              <a:gd name="csX128" fmla="*/ 441346 w 697572"/>
              <a:gd name="csY128" fmla="*/ 619885 h 1240128"/>
              <a:gd name="csX129" fmla="*/ 435963 w 697572"/>
              <a:gd name="csY129" fmla="*/ 582529 h 1240128"/>
              <a:gd name="csX130" fmla="*/ 429497 w 697572"/>
              <a:gd name="csY130" fmla="*/ 521990 h 1240128"/>
              <a:gd name="csX131" fmla="*/ 426887 w 697572"/>
              <a:gd name="csY131" fmla="*/ 471989 h 1240128"/>
              <a:gd name="csX132" fmla="*/ 413744 w 697572"/>
              <a:gd name="csY132" fmla="*/ 461077 h 1240128"/>
              <a:gd name="csX133" fmla="*/ 353573 w 697572"/>
              <a:gd name="csY133" fmla="*/ 461120 h 1240128"/>
              <a:gd name="csX134" fmla="*/ 344160 w 697572"/>
              <a:gd name="csY134" fmla="*/ 462286 h 1240128"/>
              <a:gd name="csX135" fmla="*/ 343404 w 697572"/>
              <a:gd name="csY135" fmla="*/ 469192 h 1240128"/>
              <a:gd name="csX136" fmla="*/ 343469 w 697572"/>
              <a:gd name="csY136" fmla="*/ 574797 h 1240128"/>
              <a:gd name="csX137" fmla="*/ 345522 w 697572"/>
              <a:gd name="csY137" fmla="*/ 591669 h 1240128"/>
              <a:gd name="csX138" fmla="*/ 343360 w 697572"/>
              <a:gd name="csY138" fmla="*/ 634332 h 1240128"/>
              <a:gd name="csX139" fmla="*/ 416946 w 697572"/>
              <a:gd name="csY139" fmla="*/ 385943 h 1240128"/>
              <a:gd name="csX140" fmla="*/ 401091 w 697572"/>
              <a:gd name="csY140" fmla="*/ 387162 h 1240128"/>
              <a:gd name="csX141" fmla="*/ 369218 w 697572"/>
              <a:gd name="csY141" fmla="*/ 387708 h 1240128"/>
              <a:gd name="csX142" fmla="*/ 351833 w 697572"/>
              <a:gd name="csY142" fmla="*/ 398991 h 1240128"/>
              <a:gd name="csX143" fmla="*/ 349778 w 697572"/>
              <a:gd name="csY143" fmla="*/ 426021 h 1240128"/>
              <a:gd name="csX144" fmla="*/ 361839 w 697572"/>
              <a:gd name="csY144" fmla="*/ 426538 h 1240128"/>
              <a:gd name="csX145" fmla="*/ 455022 w 697572"/>
              <a:gd name="csY145" fmla="*/ 426922 h 1240128"/>
              <a:gd name="csX146" fmla="*/ 481958 w 697572"/>
              <a:gd name="csY146" fmla="*/ 426527 h 1240128"/>
              <a:gd name="csX147" fmla="*/ 499817 w 697572"/>
              <a:gd name="csY147" fmla="*/ 419888 h 1240128"/>
              <a:gd name="csX148" fmla="*/ 499439 w 697572"/>
              <a:gd name="csY148" fmla="*/ 400719 h 1240128"/>
              <a:gd name="csX149" fmla="*/ 468062 w 697572"/>
              <a:gd name="csY149" fmla="*/ 387775 h 1240128"/>
              <a:gd name="csX150" fmla="*/ 416946 w 697572"/>
              <a:gd name="csY150" fmla="*/ 385943 h 1240128"/>
              <a:gd name="csX151" fmla="*/ 636802 w 697572"/>
              <a:gd name="csY151" fmla="*/ 1190940 h 1240128"/>
              <a:gd name="csX152" fmla="*/ 666492 w 697572"/>
              <a:gd name="csY152" fmla="*/ 1184186 h 1240128"/>
              <a:gd name="csX153" fmla="*/ 674465 w 697572"/>
              <a:gd name="csY153" fmla="*/ 1170880 h 1240128"/>
              <a:gd name="csX154" fmla="*/ 662462 w 697572"/>
              <a:gd name="csY154" fmla="*/ 1141464 h 1240128"/>
              <a:gd name="csX155" fmla="*/ 645564 w 697572"/>
              <a:gd name="csY155" fmla="*/ 1131937 h 1240128"/>
              <a:gd name="csX156" fmla="*/ 627387 w 697572"/>
              <a:gd name="csY156" fmla="*/ 1133618 h 1240128"/>
              <a:gd name="csX157" fmla="*/ 583917 w 697572"/>
              <a:gd name="csY157" fmla="*/ 1139222 h 1240128"/>
              <a:gd name="csX158" fmla="*/ 543741 w 697572"/>
              <a:gd name="csY158" fmla="*/ 1141869 h 1240128"/>
              <a:gd name="csX159" fmla="*/ 512146 w 697572"/>
              <a:gd name="csY159" fmla="*/ 1144418 h 1240128"/>
              <a:gd name="csX160" fmla="*/ 447711 w 697572"/>
              <a:gd name="csY160" fmla="*/ 1148973 h 1240128"/>
              <a:gd name="csX161" fmla="*/ 351979 w 697572"/>
              <a:gd name="csY161" fmla="*/ 1149200 h 1240128"/>
              <a:gd name="csX162" fmla="*/ 338443 w 697572"/>
              <a:gd name="csY162" fmla="*/ 1150040 h 1240128"/>
              <a:gd name="csX163" fmla="*/ 338451 w 697572"/>
              <a:gd name="csY163" fmla="*/ 1190780 h 1240128"/>
              <a:gd name="csX164" fmla="*/ 351082 w 697572"/>
              <a:gd name="csY164" fmla="*/ 1207015 h 1240128"/>
              <a:gd name="csX165" fmla="*/ 358298 w 697572"/>
              <a:gd name="csY165" fmla="*/ 1208094 h 1240128"/>
              <a:gd name="csX166" fmla="*/ 521229 w 697572"/>
              <a:gd name="csY166" fmla="*/ 1205646 h 1240128"/>
              <a:gd name="csX167" fmla="*/ 523675 w 697572"/>
              <a:gd name="csY167" fmla="*/ 1205490 h 1240128"/>
              <a:gd name="csX168" fmla="*/ 580423 w 697572"/>
              <a:gd name="csY168" fmla="*/ 1198350 h 1240128"/>
              <a:gd name="csX169" fmla="*/ 636802 w 697572"/>
              <a:gd name="csY169" fmla="*/ 1190940 h 124012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</a:cxnLst>
            <a:rect l="l" t="t" r="r" b="b"/>
            <a:pathLst>
              <a:path w="697572" h="1240128">
                <a:moveTo>
                  <a:pt x="581793" y="1234401"/>
                </a:moveTo>
                <a:cubicBezTo>
                  <a:pt x="580693" y="1234661"/>
                  <a:pt x="579594" y="1234922"/>
                  <a:pt x="577427" y="1234156"/>
                </a:cubicBezTo>
                <a:cubicBezTo>
                  <a:pt x="571216" y="1227899"/>
                  <a:pt x="564912" y="1230441"/>
                  <a:pt x="559133" y="1230909"/>
                </a:cubicBezTo>
                <a:cubicBezTo>
                  <a:pt x="544971" y="1232056"/>
                  <a:pt x="530869" y="1233971"/>
                  <a:pt x="516706" y="1235117"/>
                </a:cubicBezTo>
                <a:cubicBezTo>
                  <a:pt x="502910" y="1236232"/>
                  <a:pt x="489077" y="1237097"/>
                  <a:pt x="475244" y="1237506"/>
                </a:cubicBezTo>
                <a:cubicBezTo>
                  <a:pt x="440539" y="1238535"/>
                  <a:pt x="405696" y="1241458"/>
                  <a:pt x="371154" y="1239428"/>
                </a:cubicBezTo>
                <a:cubicBezTo>
                  <a:pt x="339645" y="1237575"/>
                  <a:pt x="308239" y="1238753"/>
                  <a:pt x="276813" y="1237654"/>
                </a:cubicBezTo>
                <a:cubicBezTo>
                  <a:pt x="273949" y="1237553"/>
                  <a:pt x="271079" y="1237652"/>
                  <a:pt x="268212" y="1237635"/>
                </a:cubicBezTo>
                <a:cubicBezTo>
                  <a:pt x="266165" y="1237623"/>
                  <a:pt x="264111" y="1237668"/>
                  <a:pt x="262072" y="1237523"/>
                </a:cubicBezTo>
                <a:cubicBezTo>
                  <a:pt x="239751" y="1235944"/>
                  <a:pt x="217441" y="1234201"/>
                  <a:pt x="195111" y="1232775"/>
                </a:cubicBezTo>
                <a:cubicBezTo>
                  <a:pt x="178437" y="1231710"/>
                  <a:pt x="161712" y="1231378"/>
                  <a:pt x="145060" y="1230076"/>
                </a:cubicBezTo>
                <a:cubicBezTo>
                  <a:pt x="134969" y="1229287"/>
                  <a:pt x="124987" y="1227177"/>
                  <a:pt x="114933" y="1225832"/>
                </a:cubicBezTo>
                <a:cubicBezTo>
                  <a:pt x="100834" y="1223946"/>
                  <a:pt x="86554" y="1223022"/>
                  <a:pt x="72642" y="1220237"/>
                </a:cubicBezTo>
                <a:cubicBezTo>
                  <a:pt x="51920" y="1216091"/>
                  <a:pt x="31443" y="1210723"/>
                  <a:pt x="10894" y="1205737"/>
                </a:cubicBezTo>
                <a:cubicBezTo>
                  <a:pt x="9027" y="1205284"/>
                  <a:pt x="6196" y="1204140"/>
                  <a:pt x="5856" y="1202799"/>
                </a:cubicBezTo>
                <a:cubicBezTo>
                  <a:pt x="3474" y="1193418"/>
                  <a:pt x="-438" y="1183796"/>
                  <a:pt x="40" y="1174450"/>
                </a:cubicBezTo>
                <a:cubicBezTo>
                  <a:pt x="1079" y="1154149"/>
                  <a:pt x="9757" y="1135843"/>
                  <a:pt x="19831" y="1118410"/>
                </a:cubicBezTo>
                <a:cubicBezTo>
                  <a:pt x="21968" y="1114713"/>
                  <a:pt x="22970" y="1111858"/>
                  <a:pt x="22004" y="1107240"/>
                </a:cubicBezTo>
                <a:cubicBezTo>
                  <a:pt x="17168" y="1084118"/>
                  <a:pt x="17717" y="1061168"/>
                  <a:pt x="25947" y="1038650"/>
                </a:cubicBezTo>
                <a:cubicBezTo>
                  <a:pt x="32954" y="1019481"/>
                  <a:pt x="44478" y="1003118"/>
                  <a:pt x="58234" y="988567"/>
                </a:cubicBezTo>
                <a:cubicBezTo>
                  <a:pt x="77769" y="967902"/>
                  <a:pt x="97978" y="947832"/>
                  <a:pt x="118645" y="928298"/>
                </a:cubicBezTo>
                <a:cubicBezTo>
                  <a:pt x="130104" y="917467"/>
                  <a:pt x="131835" y="905961"/>
                  <a:pt x="126320" y="892015"/>
                </a:cubicBezTo>
                <a:cubicBezTo>
                  <a:pt x="123798" y="885637"/>
                  <a:pt x="122123" y="878904"/>
                  <a:pt x="120345" y="872258"/>
                </a:cubicBezTo>
                <a:cubicBezTo>
                  <a:pt x="119029" y="867341"/>
                  <a:pt x="120162" y="863613"/>
                  <a:pt x="125668" y="861640"/>
                </a:cubicBezTo>
                <a:cubicBezTo>
                  <a:pt x="135266" y="858201"/>
                  <a:pt x="144535" y="853788"/>
                  <a:pt x="154237" y="850716"/>
                </a:cubicBezTo>
                <a:cubicBezTo>
                  <a:pt x="161882" y="848296"/>
                  <a:pt x="167110" y="843897"/>
                  <a:pt x="170248" y="836767"/>
                </a:cubicBezTo>
                <a:cubicBezTo>
                  <a:pt x="176168" y="823316"/>
                  <a:pt x="182193" y="809907"/>
                  <a:pt x="187840" y="796341"/>
                </a:cubicBezTo>
                <a:cubicBezTo>
                  <a:pt x="195194" y="778679"/>
                  <a:pt x="202250" y="760894"/>
                  <a:pt x="209346" y="743126"/>
                </a:cubicBezTo>
                <a:cubicBezTo>
                  <a:pt x="210083" y="741280"/>
                  <a:pt x="210252" y="739200"/>
                  <a:pt x="210630" y="737219"/>
                </a:cubicBezTo>
                <a:cubicBezTo>
                  <a:pt x="211694" y="731645"/>
                  <a:pt x="212425" y="725987"/>
                  <a:pt x="213836" y="720505"/>
                </a:cubicBezTo>
                <a:cubicBezTo>
                  <a:pt x="218406" y="702764"/>
                  <a:pt x="223811" y="685219"/>
                  <a:pt x="227791" y="667353"/>
                </a:cubicBezTo>
                <a:cubicBezTo>
                  <a:pt x="232826" y="644755"/>
                  <a:pt x="237367" y="622009"/>
                  <a:pt x="241013" y="599151"/>
                </a:cubicBezTo>
                <a:cubicBezTo>
                  <a:pt x="244018" y="580319"/>
                  <a:pt x="246001" y="561272"/>
                  <a:pt x="247322" y="542242"/>
                </a:cubicBezTo>
                <a:cubicBezTo>
                  <a:pt x="248312" y="527975"/>
                  <a:pt x="246344" y="513451"/>
                  <a:pt x="247948" y="499296"/>
                </a:cubicBezTo>
                <a:cubicBezTo>
                  <a:pt x="249066" y="489432"/>
                  <a:pt x="247923" y="480014"/>
                  <a:pt x="247577" y="470384"/>
                </a:cubicBezTo>
                <a:cubicBezTo>
                  <a:pt x="247364" y="464453"/>
                  <a:pt x="245121" y="461397"/>
                  <a:pt x="238877" y="460987"/>
                </a:cubicBezTo>
                <a:cubicBezTo>
                  <a:pt x="233224" y="460615"/>
                  <a:pt x="227461" y="459920"/>
                  <a:pt x="222040" y="458353"/>
                </a:cubicBezTo>
                <a:cubicBezTo>
                  <a:pt x="203991" y="453134"/>
                  <a:pt x="185737" y="448229"/>
                  <a:pt x="172193" y="433714"/>
                </a:cubicBezTo>
                <a:cubicBezTo>
                  <a:pt x="162702" y="423544"/>
                  <a:pt x="160887" y="408134"/>
                  <a:pt x="168410" y="396591"/>
                </a:cubicBezTo>
                <a:cubicBezTo>
                  <a:pt x="178294" y="381428"/>
                  <a:pt x="193736" y="373793"/>
                  <a:pt x="209826" y="367773"/>
                </a:cubicBezTo>
                <a:cubicBezTo>
                  <a:pt x="223159" y="362784"/>
                  <a:pt x="237124" y="359493"/>
                  <a:pt x="250732" y="355208"/>
                </a:cubicBezTo>
                <a:cubicBezTo>
                  <a:pt x="253085" y="354467"/>
                  <a:pt x="255058" y="352518"/>
                  <a:pt x="258289" y="350426"/>
                </a:cubicBezTo>
                <a:cubicBezTo>
                  <a:pt x="250173" y="342610"/>
                  <a:pt x="241833" y="337880"/>
                  <a:pt x="233274" y="333513"/>
                </a:cubicBezTo>
                <a:cubicBezTo>
                  <a:pt x="232377" y="333055"/>
                  <a:pt x="230890" y="333758"/>
                  <a:pt x="229677" y="333922"/>
                </a:cubicBezTo>
                <a:cubicBezTo>
                  <a:pt x="229677" y="333922"/>
                  <a:pt x="230323" y="333834"/>
                  <a:pt x="230149" y="332979"/>
                </a:cubicBezTo>
                <a:cubicBezTo>
                  <a:pt x="229023" y="330409"/>
                  <a:pt x="228502" y="328059"/>
                  <a:pt x="227053" y="327076"/>
                </a:cubicBezTo>
                <a:cubicBezTo>
                  <a:pt x="213615" y="317962"/>
                  <a:pt x="204643" y="305332"/>
                  <a:pt x="196769" y="291380"/>
                </a:cubicBezTo>
                <a:cubicBezTo>
                  <a:pt x="191792" y="282564"/>
                  <a:pt x="185421" y="274665"/>
                  <a:pt x="184389" y="264042"/>
                </a:cubicBezTo>
                <a:cubicBezTo>
                  <a:pt x="184179" y="261874"/>
                  <a:pt x="181925" y="259908"/>
                  <a:pt x="180630" y="257839"/>
                </a:cubicBezTo>
                <a:cubicBezTo>
                  <a:pt x="179137" y="255454"/>
                  <a:pt x="177317" y="253204"/>
                  <a:pt x="176231" y="250643"/>
                </a:cubicBezTo>
                <a:cubicBezTo>
                  <a:pt x="161865" y="216749"/>
                  <a:pt x="159606" y="182060"/>
                  <a:pt x="170073" y="146723"/>
                </a:cubicBezTo>
                <a:cubicBezTo>
                  <a:pt x="173311" y="135795"/>
                  <a:pt x="177248" y="125074"/>
                  <a:pt x="180929" y="114280"/>
                </a:cubicBezTo>
                <a:cubicBezTo>
                  <a:pt x="182396" y="109981"/>
                  <a:pt x="183922" y="105742"/>
                  <a:pt x="180839" y="101501"/>
                </a:cubicBezTo>
                <a:cubicBezTo>
                  <a:pt x="192473" y="75833"/>
                  <a:pt x="211344" y="56271"/>
                  <a:pt x="233536" y="39653"/>
                </a:cubicBezTo>
                <a:cubicBezTo>
                  <a:pt x="267321" y="14353"/>
                  <a:pt x="305621" y="873"/>
                  <a:pt x="347618" y="35"/>
                </a:cubicBezTo>
                <a:cubicBezTo>
                  <a:pt x="379125" y="-593"/>
                  <a:pt x="409214" y="7172"/>
                  <a:pt x="437139" y="22396"/>
                </a:cubicBezTo>
                <a:cubicBezTo>
                  <a:pt x="481844" y="46766"/>
                  <a:pt x="514077" y="82116"/>
                  <a:pt x="529052" y="131093"/>
                </a:cubicBezTo>
                <a:cubicBezTo>
                  <a:pt x="543544" y="178495"/>
                  <a:pt x="541630" y="225548"/>
                  <a:pt x="518497" y="271517"/>
                </a:cubicBezTo>
                <a:cubicBezTo>
                  <a:pt x="511428" y="277096"/>
                  <a:pt x="503848" y="281136"/>
                  <a:pt x="500808" y="287385"/>
                </a:cubicBezTo>
                <a:cubicBezTo>
                  <a:pt x="493932" y="301522"/>
                  <a:pt x="483805" y="312513"/>
                  <a:pt x="472948" y="323290"/>
                </a:cubicBezTo>
                <a:cubicBezTo>
                  <a:pt x="470972" y="325253"/>
                  <a:pt x="470533" y="328767"/>
                  <a:pt x="469385" y="331565"/>
                </a:cubicBezTo>
                <a:cubicBezTo>
                  <a:pt x="469385" y="331565"/>
                  <a:pt x="469172" y="331584"/>
                  <a:pt x="468293" y="331320"/>
                </a:cubicBezTo>
                <a:cubicBezTo>
                  <a:pt x="461937" y="330836"/>
                  <a:pt x="458618" y="332772"/>
                  <a:pt x="459542" y="338942"/>
                </a:cubicBezTo>
                <a:cubicBezTo>
                  <a:pt x="459542" y="338942"/>
                  <a:pt x="459473" y="338913"/>
                  <a:pt x="458492" y="338671"/>
                </a:cubicBezTo>
                <a:cubicBezTo>
                  <a:pt x="450936" y="342653"/>
                  <a:pt x="440712" y="341355"/>
                  <a:pt x="436978" y="352226"/>
                </a:cubicBezTo>
                <a:cubicBezTo>
                  <a:pt x="449178" y="355911"/>
                  <a:pt x="460733" y="359469"/>
                  <a:pt x="472329" y="362890"/>
                </a:cubicBezTo>
                <a:cubicBezTo>
                  <a:pt x="491728" y="368613"/>
                  <a:pt x="510182" y="375784"/>
                  <a:pt x="523779" y="391962"/>
                </a:cubicBezTo>
                <a:cubicBezTo>
                  <a:pt x="535849" y="406326"/>
                  <a:pt x="534845" y="420076"/>
                  <a:pt x="527344" y="430096"/>
                </a:cubicBezTo>
                <a:cubicBezTo>
                  <a:pt x="521323" y="438139"/>
                  <a:pt x="513928" y="445333"/>
                  <a:pt x="504112" y="449628"/>
                </a:cubicBezTo>
                <a:cubicBezTo>
                  <a:pt x="489776" y="455901"/>
                  <a:pt x="475173" y="460486"/>
                  <a:pt x="459430" y="461116"/>
                </a:cubicBezTo>
                <a:cubicBezTo>
                  <a:pt x="448415" y="461557"/>
                  <a:pt x="446384" y="463369"/>
                  <a:pt x="446666" y="474229"/>
                </a:cubicBezTo>
                <a:cubicBezTo>
                  <a:pt x="447164" y="493376"/>
                  <a:pt x="447839" y="512533"/>
                  <a:pt x="449133" y="531639"/>
                </a:cubicBezTo>
                <a:cubicBezTo>
                  <a:pt x="450424" y="550696"/>
                  <a:pt x="451783" y="569809"/>
                  <a:pt x="454546" y="588688"/>
                </a:cubicBezTo>
                <a:cubicBezTo>
                  <a:pt x="457543" y="609164"/>
                  <a:pt x="462165" y="629403"/>
                  <a:pt x="466126" y="649736"/>
                </a:cubicBezTo>
                <a:cubicBezTo>
                  <a:pt x="475845" y="699621"/>
                  <a:pt x="493414" y="746980"/>
                  <a:pt x="512154" y="794006"/>
                </a:cubicBezTo>
                <a:cubicBezTo>
                  <a:pt x="517387" y="807138"/>
                  <a:pt x="525145" y="819463"/>
                  <a:pt x="525763" y="834323"/>
                </a:cubicBezTo>
                <a:cubicBezTo>
                  <a:pt x="525919" y="838081"/>
                  <a:pt x="527739" y="843335"/>
                  <a:pt x="530555" y="845114"/>
                </a:cubicBezTo>
                <a:cubicBezTo>
                  <a:pt x="537981" y="849801"/>
                  <a:pt x="546243" y="853278"/>
                  <a:pt x="554424" y="856618"/>
                </a:cubicBezTo>
                <a:cubicBezTo>
                  <a:pt x="560391" y="859054"/>
                  <a:pt x="567041" y="859887"/>
                  <a:pt x="572880" y="862546"/>
                </a:cubicBezTo>
                <a:cubicBezTo>
                  <a:pt x="581470" y="866458"/>
                  <a:pt x="582467" y="871415"/>
                  <a:pt x="578643" y="880396"/>
                </a:cubicBezTo>
                <a:cubicBezTo>
                  <a:pt x="575969" y="886677"/>
                  <a:pt x="572900" y="893182"/>
                  <a:pt x="572188" y="899820"/>
                </a:cubicBezTo>
                <a:cubicBezTo>
                  <a:pt x="570960" y="911271"/>
                  <a:pt x="576506" y="920944"/>
                  <a:pt x="582698" y="930382"/>
                </a:cubicBezTo>
                <a:cubicBezTo>
                  <a:pt x="589569" y="940856"/>
                  <a:pt x="600933" y="947930"/>
                  <a:pt x="604747" y="960852"/>
                </a:cubicBezTo>
                <a:cubicBezTo>
                  <a:pt x="605684" y="964030"/>
                  <a:pt x="610294" y="967128"/>
                  <a:pt x="613863" y="968311"/>
                </a:cubicBezTo>
                <a:cubicBezTo>
                  <a:pt x="620963" y="970665"/>
                  <a:pt x="625924" y="974774"/>
                  <a:pt x="629435" y="981186"/>
                </a:cubicBezTo>
                <a:cubicBezTo>
                  <a:pt x="630381" y="982913"/>
                  <a:pt x="631977" y="984459"/>
                  <a:pt x="633611" y="985609"/>
                </a:cubicBezTo>
                <a:cubicBezTo>
                  <a:pt x="655878" y="1001272"/>
                  <a:pt x="668032" y="1023762"/>
                  <a:pt x="673790" y="1049348"/>
                </a:cubicBezTo>
                <a:cubicBezTo>
                  <a:pt x="676936" y="1063327"/>
                  <a:pt x="679769" y="1077802"/>
                  <a:pt x="675873" y="1092839"/>
                </a:cubicBezTo>
                <a:cubicBezTo>
                  <a:pt x="672677" y="1105174"/>
                  <a:pt x="673042" y="1116963"/>
                  <a:pt x="681668" y="1129292"/>
                </a:cubicBezTo>
                <a:cubicBezTo>
                  <a:pt x="695321" y="1148802"/>
                  <a:pt x="698550" y="1172235"/>
                  <a:pt x="697338" y="1196079"/>
                </a:cubicBezTo>
                <a:cubicBezTo>
                  <a:pt x="697087" y="1201014"/>
                  <a:pt x="694979" y="1203886"/>
                  <a:pt x="690637" y="1205035"/>
                </a:cubicBezTo>
                <a:cubicBezTo>
                  <a:pt x="673723" y="1209511"/>
                  <a:pt x="656856" y="1214241"/>
                  <a:pt x="639777" y="1217994"/>
                </a:cubicBezTo>
                <a:cubicBezTo>
                  <a:pt x="622334" y="1221827"/>
                  <a:pt x="604691" y="1224790"/>
                  <a:pt x="587072" y="1227761"/>
                </a:cubicBezTo>
                <a:cubicBezTo>
                  <a:pt x="582708" y="1228497"/>
                  <a:pt x="581724" y="1230736"/>
                  <a:pt x="581793" y="1234401"/>
                </a:cubicBezTo>
                <a:moveTo>
                  <a:pt x="357446" y="903795"/>
                </a:moveTo>
                <a:cubicBezTo>
                  <a:pt x="353141" y="903795"/>
                  <a:pt x="348835" y="903795"/>
                  <a:pt x="344445" y="903795"/>
                </a:cubicBezTo>
                <a:cubicBezTo>
                  <a:pt x="346169" y="920562"/>
                  <a:pt x="347908" y="935520"/>
                  <a:pt x="349212" y="950515"/>
                </a:cubicBezTo>
                <a:cubicBezTo>
                  <a:pt x="352656" y="990125"/>
                  <a:pt x="351941" y="1029743"/>
                  <a:pt x="349538" y="1069392"/>
                </a:cubicBezTo>
                <a:cubicBezTo>
                  <a:pt x="348759" y="1082241"/>
                  <a:pt x="349415" y="1095176"/>
                  <a:pt x="349415" y="1108925"/>
                </a:cubicBezTo>
                <a:cubicBezTo>
                  <a:pt x="449467" y="1111953"/>
                  <a:pt x="548509" y="1104712"/>
                  <a:pt x="647726" y="1089872"/>
                </a:cubicBezTo>
                <a:cubicBezTo>
                  <a:pt x="647726" y="1084313"/>
                  <a:pt x="648180" y="1080225"/>
                  <a:pt x="647654" y="1076267"/>
                </a:cubicBezTo>
                <a:cubicBezTo>
                  <a:pt x="643515" y="1045124"/>
                  <a:pt x="633172" y="1016714"/>
                  <a:pt x="610267" y="994126"/>
                </a:cubicBezTo>
                <a:cubicBezTo>
                  <a:pt x="597451" y="981485"/>
                  <a:pt x="584392" y="969090"/>
                  <a:pt x="571459" y="956568"/>
                </a:cubicBezTo>
                <a:cubicBezTo>
                  <a:pt x="555751" y="941359"/>
                  <a:pt x="544836" y="923558"/>
                  <a:pt x="541653" y="901544"/>
                </a:cubicBezTo>
                <a:cubicBezTo>
                  <a:pt x="541430" y="900007"/>
                  <a:pt x="540528" y="898570"/>
                  <a:pt x="539477" y="895908"/>
                </a:cubicBezTo>
                <a:cubicBezTo>
                  <a:pt x="479736" y="901652"/>
                  <a:pt x="419815" y="904536"/>
                  <a:pt x="357446" y="903795"/>
                </a:cubicBezTo>
                <a:moveTo>
                  <a:pt x="300108" y="85260"/>
                </a:moveTo>
                <a:cubicBezTo>
                  <a:pt x="293656" y="98745"/>
                  <a:pt x="289202" y="113094"/>
                  <a:pt x="290213" y="127888"/>
                </a:cubicBezTo>
                <a:cubicBezTo>
                  <a:pt x="292527" y="161736"/>
                  <a:pt x="304185" y="191723"/>
                  <a:pt x="331056" y="214168"/>
                </a:cubicBezTo>
                <a:cubicBezTo>
                  <a:pt x="358172" y="236816"/>
                  <a:pt x="388435" y="249934"/>
                  <a:pt x="424717" y="245160"/>
                </a:cubicBezTo>
                <a:cubicBezTo>
                  <a:pt x="468593" y="239387"/>
                  <a:pt x="509574" y="203365"/>
                  <a:pt x="496752" y="141256"/>
                </a:cubicBezTo>
                <a:cubicBezTo>
                  <a:pt x="487021" y="94124"/>
                  <a:pt x="447261" y="51874"/>
                  <a:pt x="390320" y="43995"/>
                </a:cubicBezTo>
                <a:cubicBezTo>
                  <a:pt x="353241" y="38865"/>
                  <a:pt x="321136" y="48750"/>
                  <a:pt x="300108" y="85260"/>
                </a:cubicBezTo>
                <a:moveTo>
                  <a:pt x="343360" y="634332"/>
                </a:moveTo>
                <a:cubicBezTo>
                  <a:pt x="342539" y="666975"/>
                  <a:pt x="341785" y="699619"/>
                  <a:pt x="340877" y="732259"/>
                </a:cubicBezTo>
                <a:cubicBezTo>
                  <a:pt x="340151" y="758355"/>
                  <a:pt x="339265" y="784447"/>
                  <a:pt x="338360" y="810538"/>
                </a:cubicBezTo>
                <a:cubicBezTo>
                  <a:pt x="338277" y="812948"/>
                  <a:pt x="337465" y="815325"/>
                  <a:pt x="337115" y="817736"/>
                </a:cubicBezTo>
                <a:cubicBezTo>
                  <a:pt x="334935" y="832710"/>
                  <a:pt x="336026" y="847647"/>
                  <a:pt x="336516" y="863022"/>
                </a:cubicBezTo>
                <a:cubicBezTo>
                  <a:pt x="339537" y="863479"/>
                  <a:pt x="341490" y="864053"/>
                  <a:pt x="343436" y="864027"/>
                </a:cubicBezTo>
                <a:cubicBezTo>
                  <a:pt x="364531" y="863739"/>
                  <a:pt x="385626" y="863422"/>
                  <a:pt x="406718" y="862982"/>
                </a:cubicBezTo>
                <a:cubicBezTo>
                  <a:pt x="423444" y="862634"/>
                  <a:pt x="440168" y="861675"/>
                  <a:pt x="456888" y="861794"/>
                </a:cubicBezTo>
                <a:cubicBezTo>
                  <a:pt x="469887" y="861886"/>
                  <a:pt x="482872" y="863302"/>
                  <a:pt x="495873" y="863963"/>
                </a:cubicBezTo>
                <a:cubicBezTo>
                  <a:pt x="500358" y="864191"/>
                  <a:pt x="505108" y="864773"/>
                  <a:pt x="509286" y="863595"/>
                </a:cubicBezTo>
                <a:cubicBezTo>
                  <a:pt x="512346" y="862732"/>
                  <a:pt x="515714" y="859703"/>
                  <a:pt x="516956" y="856791"/>
                </a:cubicBezTo>
                <a:cubicBezTo>
                  <a:pt x="517783" y="854851"/>
                  <a:pt x="515475" y="851192"/>
                  <a:pt x="513920" y="848709"/>
                </a:cubicBezTo>
                <a:cubicBezTo>
                  <a:pt x="511791" y="845308"/>
                  <a:pt x="508393" y="842606"/>
                  <a:pt x="506683" y="839054"/>
                </a:cubicBezTo>
                <a:cubicBezTo>
                  <a:pt x="500331" y="825864"/>
                  <a:pt x="493224" y="812855"/>
                  <a:pt x="488629" y="799037"/>
                </a:cubicBezTo>
                <a:cubicBezTo>
                  <a:pt x="477322" y="765031"/>
                  <a:pt x="466537" y="730814"/>
                  <a:pt x="456922" y="696297"/>
                </a:cubicBezTo>
                <a:cubicBezTo>
                  <a:pt x="449953" y="671276"/>
                  <a:pt x="443477" y="646020"/>
                  <a:pt x="441346" y="619885"/>
                </a:cubicBezTo>
                <a:cubicBezTo>
                  <a:pt x="440327" y="607371"/>
                  <a:pt x="437466" y="595018"/>
                  <a:pt x="435963" y="582529"/>
                </a:cubicBezTo>
                <a:cubicBezTo>
                  <a:pt x="433539" y="562380"/>
                  <a:pt x="431154" y="542212"/>
                  <a:pt x="429497" y="521990"/>
                </a:cubicBezTo>
                <a:cubicBezTo>
                  <a:pt x="428135" y="505363"/>
                  <a:pt x="428437" y="488593"/>
                  <a:pt x="426887" y="471989"/>
                </a:cubicBezTo>
                <a:cubicBezTo>
                  <a:pt x="425874" y="461140"/>
                  <a:pt x="424983" y="461120"/>
                  <a:pt x="413744" y="461077"/>
                </a:cubicBezTo>
                <a:cubicBezTo>
                  <a:pt x="393687" y="461000"/>
                  <a:pt x="373630" y="461011"/>
                  <a:pt x="353573" y="461120"/>
                </a:cubicBezTo>
                <a:cubicBezTo>
                  <a:pt x="350472" y="461137"/>
                  <a:pt x="347374" y="461869"/>
                  <a:pt x="344160" y="462286"/>
                </a:cubicBezTo>
                <a:cubicBezTo>
                  <a:pt x="343828" y="465198"/>
                  <a:pt x="343406" y="467195"/>
                  <a:pt x="343404" y="469192"/>
                </a:cubicBezTo>
                <a:cubicBezTo>
                  <a:pt x="343360" y="504394"/>
                  <a:pt x="343267" y="539596"/>
                  <a:pt x="343469" y="574797"/>
                </a:cubicBezTo>
                <a:cubicBezTo>
                  <a:pt x="343501" y="580426"/>
                  <a:pt x="345652" y="586065"/>
                  <a:pt x="345522" y="591669"/>
                </a:cubicBezTo>
                <a:cubicBezTo>
                  <a:pt x="345214" y="605082"/>
                  <a:pt x="344131" y="618478"/>
                  <a:pt x="343360" y="634332"/>
                </a:cubicBezTo>
                <a:moveTo>
                  <a:pt x="416946" y="385943"/>
                </a:moveTo>
                <a:cubicBezTo>
                  <a:pt x="411661" y="386365"/>
                  <a:pt x="406384" y="387006"/>
                  <a:pt x="401091" y="387162"/>
                </a:cubicBezTo>
                <a:cubicBezTo>
                  <a:pt x="390470" y="387477"/>
                  <a:pt x="379841" y="387447"/>
                  <a:pt x="369218" y="387708"/>
                </a:cubicBezTo>
                <a:cubicBezTo>
                  <a:pt x="361167" y="387906"/>
                  <a:pt x="354429" y="391368"/>
                  <a:pt x="351833" y="398991"/>
                </a:cubicBezTo>
                <a:cubicBezTo>
                  <a:pt x="348989" y="407342"/>
                  <a:pt x="347050" y="416214"/>
                  <a:pt x="349778" y="426021"/>
                </a:cubicBezTo>
                <a:cubicBezTo>
                  <a:pt x="353876" y="426204"/>
                  <a:pt x="357857" y="426517"/>
                  <a:pt x="361839" y="426538"/>
                </a:cubicBezTo>
                <a:cubicBezTo>
                  <a:pt x="392900" y="426701"/>
                  <a:pt x="423961" y="426826"/>
                  <a:pt x="455022" y="426922"/>
                </a:cubicBezTo>
                <a:cubicBezTo>
                  <a:pt x="464013" y="426950"/>
                  <a:pt x="473106" y="427654"/>
                  <a:pt x="481958" y="426527"/>
                </a:cubicBezTo>
                <a:cubicBezTo>
                  <a:pt x="488144" y="425740"/>
                  <a:pt x="494821" y="423501"/>
                  <a:pt x="499817" y="419888"/>
                </a:cubicBezTo>
                <a:cubicBezTo>
                  <a:pt x="507869" y="414066"/>
                  <a:pt x="507286" y="406755"/>
                  <a:pt x="499439" y="400719"/>
                </a:cubicBezTo>
                <a:cubicBezTo>
                  <a:pt x="490179" y="393597"/>
                  <a:pt x="479486" y="388885"/>
                  <a:pt x="468062" y="387775"/>
                </a:cubicBezTo>
                <a:cubicBezTo>
                  <a:pt x="451873" y="386202"/>
                  <a:pt x="435520" y="386321"/>
                  <a:pt x="416946" y="385943"/>
                </a:cubicBezTo>
                <a:moveTo>
                  <a:pt x="636802" y="1190940"/>
                </a:moveTo>
                <a:cubicBezTo>
                  <a:pt x="646709" y="1188723"/>
                  <a:pt x="656705" y="1186841"/>
                  <a:pt x="666492" y="1184186"/>
                </a:cubicBezTo>
                <a:cubicBezTo>
                  <a:pt x="674710" y="1181958"/>
                  <a:pt x="676989" y="1178509"/>
                  <a:pt x="674465" y="1170880"/>
                </a:cubicBezTo>
                <a:cubicBezTo>
                  <a:pt x="671144" y="1160843"/>
                  <a:pt x="667026" y="1151009"/>
                  <a:pt x="662462" y="1141464"/>
                </a:cubicBezTo>
                <a:cubicBezTo>
                  <a:pt x="659273" y="1134795"/>
                  <a:pt x="653671" y="1130908"/>
                  <a:pt x="645564" y="1131937"/>
                </a:cubicBezTo>
                <a:cubicBezTo>
                  <a:pt x="639532" y="1132703"/>
                  <a:pt x="633423" y="1132867"/>
                  <a:pt x="627387" y="1133618"/>
                </a:cubicBezTo>
                <a:cubicBezTo>
                  <a:pt x="612888" y="1135421"/>
                  <a:pt x="598449" y="1137770"/>
                  <a:pt x="583917" y="1139222"/>
                </a:cubicBezTo>
                <a:cubicBezTo>
                  <a:pt x="570571" y="1140557"/>
                  <a:pt x="557130" y="1140930"/>
                  <a:pt x="543741" y="1141869"/>
                </a:cubicBezTo>
                <a:cubicBezTo>
                  <a:pt x="533202" y="1142610"/>
                  <a:pt x="522682" y="1143623"/>
                  <a:pt x="512146" y="1144418"/>
                </a:cubicBezTo>
                <a:cubicBezTo>
                  <a:pt x="490671" y="1146038"/>
                  <a:pt x="469214" y="1148450"/>
                  <a:pt x="447711" y="1148973"/>
                </a:cubicBezTo>
                <a:cubicBezTo>
                  <a:pt x="415817" y="1149749"/>
                  <a:pt x="383891" y="1149136"/>
                  <a:pt x="351979" y="1149200"/>
                </a:cubicBezTo>
                <a:cubicBezTo>
                  <a:pt x="347698" y="1149209"/>
                  <a:pt x="343419" y="1149717"/>
                  <a:pt x="338443" y="1150040"/>
                </a:cubicBezTo>
                <a:cubicBezTo>
                  <a:pt x="338443" y="1164651"/>
                  <a:pt x="338413" y="1177715"/>
                  <a:pt x="338451" y="1190780"/>
                </a:cubicBezTo>
                <a:cubicBezTo>
                  <a:pt x="338490" y="1204031"/>
                  <a:pt x="338512" y="1204062"/>
                  <a:pt x="351082" y="1207015"/>
                </a:cubicBezTo>
                <a:cubicBezTo>
                  <a:pt x="353445" y="1207570"/>
                  <a:pt x="355895" y="1208128"/>
                  <a:pt x="358298" y="1208094"/>
                </a:cubicBezTo>
                <a:cubicBezTo>
                  <a:pt x="412608" y="1207329"/>
                  <a:pt x="466919" y="1206484"/>
                  <a:pt x="521229" y="1205646"/>
                </a:cubicBezTo>
                <a:cubicBezTo>
                  <a:pt x="522045" y="1205634"/>
                  <a:pt x="522865" y="1205591"/>
                  <a:pt x="523675" y="1205490"/>
                </a:cubicBezTo>
                <a:cubicBezTo>
                  <a:pt x="542593" y="1203123"/>
                  <a:pt x="561519" y="1200820"/>
                  <a:pt x="580423" y="1198350"/>
                </a:cubicBezTo>
                <a:cubicBezTo>
                  <a:pt x="598523" y="1195985"/>
                  <a:pt x="616599" y="1193446"/>
                  <a:pt x="636802" y="1190940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992" name="Free-form: Shape 8991">
            <a:extLst>
              <a:ext uri="{FF2B5EF4-FFF2-40B4-BE49-F238E27FC236}">
                <a16:creationId xmlns:a16="http://schemas.microsoft.com/office/drawing/2014/main" id="{E389AE2C-0E1C-F221-D041-7CC527F31FB1}"/>
              </a:ext>
            </a:extLst>
          </p:cNvPr>
          <p:cNvSpPr/>
          <p:nvPr/>
        </p:nvSpPr>
        <p:spPr>
          <a:xfrm>
            <a:off x="8496839" y="5300081"/>
            <a:ext cx="17183" cy="1998"/>
          </a:xfrm>
          <a:custGeom>
            <a:avLst/>
            <a:gdLst>
              <a:gd name="csX0" fmla="*/ 0 w 27674"/>
              <a:gd name="csY0" fmla="*/ 2915 h 2925"/>
              <a:gd name="csX1" fmla="*/ 27675 w 27674"/>
              <a:gd name="csY1" fmla="*/ 1550 h 2925"/>
              <a:gd name="csX2" fmla="*/ 0 w 27674"/>
              <a:gd name="csY2" fmla="*/ 2915 h 292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27674" h="2925">
                <a:moveTo>
                  <a:pt x="0" y="2915"/>
                </a:moveTo>
                <a:cubicBezTo>
                  <a:pt x="8211" y="-1939"/>
                  <a:pt x="17625" y="498"/>
                  <a:pt x="27675" y="1550"/>
                </a:cubicBezTo>
                <a:cubicBezTo>
                  <a:pt x="19225" y="2593"/>
                  <a:pt x="10029" y="2999"/>
                  <a:pt x="0" y="2915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993" name="Free-form: Shape 8992">
            <a:extLst>
              <a:ext uri="{FF2B5EF4-FFF2-40B4-BE49-F238E27FC236}">
                <a16:creationId xmlns:a16="http://schemas.microsoft.com/office/drawing/2014/main" id="{CC725C04-6C9A-B8DC-AFD5-E3B48B59D680}"/>
              </a:ext>
            </a:extLst>
          </p:cNvPr>
          <p:cNvSpPr/>
          <p:nvPr/>
        </p:nvSpPr>
        <p:spPr>
          <a:xfrm>
            <a:off x="8449535" y="5301208"/>
            <a:ext cx="11179" cy="770"/>
          </a:xfrm>
          <a:custGeom>
            <a:avLst/>
            <a:gdLst>
              <a:gd name="csX0" fmla="*/ 0 w 18003"/>
              <a:gd name="csY0" fmla="*/ 1050 h 1128"/>
              <a:gd name="csX1" fmla="*/ 18004 w 18003"/>
              <a:gd name="csY1" fmla="*/ 93 h 1128"/>
              <a:gd name="csX2" fmla="*/ 0 w 18003"/>
              <a:gd name="csY2" fmla="*/ 1050 h 112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8003" h="1128">
                <a:moveTo>
                  <a:pt x="0" y="1050"/>
                </a:moveTo>
                <a:cubicBezTo>
                  <a:pt x="5276" y="182"/>
                  <a:pt x="11306" y="-189"/>
                  <a:pt x="18004" y="93"/>
                </a:cubicBezTo>
                <a:cubicBezTo>
                  <a:pt x="12699" y="1013"/>
                  <a:pt x="6726" y="1280"/>
                  <a:pt x="0" y="1050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994" name="Free-form: Shape 8993">
            <a:extLst>
              <a:ext uri="{FF2B5EF4-FFF2-40B4-BE49-F238E27FC236}">
                <a16:creationId xmlns:a16="http://schemas.microsoft.com/office/drawing/2014/main" id="{696D06BF-4B8A-8B4F-E0A1-A44276783D26}"/>
              </a:ext>
            </a:extLst>
          </p:cNvPr>
          <p:cNvSpPr/>
          <p:nvPr/>
        </p:nvSpPr>
        <p:spPr>
          <a:xfrm>
            <a:off x="8530502" y="4677728"/>
            <a:ext cx="5257" cy="5354"/>
          </a:xfrm>
          <a:custGeom>
            <a:avLst/>
            <a:gdLst>
              <a:gd name="csX0" fmla="*/ 473 w 8466"/>
              <a:gd name="csY0" fmla="*/ 7839 h 7838"/>
              <a:gd name="csX1" fmla="*/ 8466 w 8466"/>
              <a:gd name="csY1" fmla="*/ 61 h 7838"/>
              <a:gd name="csX2" fmla="*/ 473 w 8466"/>
              <a:gd name="csY2" fmla="*/ 7839 h 783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66" h="7838">
                <a:moveTo>
                  <a:pt x="473" y="7839"/>
                </a:moveTo>
                <a:cubicBezTo>
                  <a:pt x="-1298" y="1550"/>
                  <a:pt x="2020" y="-386"/>
                  <a:pt x="8466" y="61"/>
                </a:cubicBezTo>
                <a:cubicBezTo>
                  <a:pt x="6730" y="2845"/>
                  <a:pt x="4026" y="5401"/>
                  <a:pt x="473" y="7839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995" name="Free-form: Shape 8994">
            <a:extLst>
              <a:ext uri="{FF2B5EF4-FFF2-40B4-BE49-F238E27FC236}">
                <a16:creationId xmlns:a16="http://schemas.microsoft.com/office/drawing/2014/main" id="{368FD51B-599C-0AED-0350-801DEB4F720F}"/>
              </a:ext>
            </a:extLst>
          </p:cNvPr>
          <p:cNvSpPr/>
          <p:nvPr/>
        </p:nvSpPr>
        <p:spPr>
          <a:xfrm>
            <a:off x="8394506" y="5299542"/>
            <a:ext cx="5265" cy="680"/>
          </a:xfrm>
          <a:custGeom>
            <a:avLst/>
            <a:gdLst>
              <a:gd name="csX0" fmla="*/ 0 w 8480"/>
              <a:gd name="csY0" fmla="*/ 896 h 996"/>
              <a:gd name="csX1" fmla="*/ 8480 w 8480"/>
              <a:gd name="csY1" fmla="*/ 110 h 996"/>
              <a:gd name="csX2" fmla="*/ 0 w 8480"/>
              <a:gd name="csY2" fmla="*/ 896 h 99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80" h="996">
                <a:moveTo>
                  <a:pt x="0" y="896"/>
                </a:moveTo>
                <a:cubicBezTo>
                  <a:pt x="2285" y="115"/>
                  <a:pt x="5130" y="-182"/>
                  <a:pt x="8480" y="110"/>
                </a:cubicBezTo>
                <a:cubicBezTo>
                  <a:pt x="6177" y="927"/>
                  <a:pt x="3368" y="1153"/>
                  <a:pt x="0" y="896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996" name="Free-form: Shape 8995">
            <a:extLst>
              <a:ext uri="{FF2B5EF4-FFF2-40B4-BE49-F238E27FC236}">
                <a16:creationId xmlns:a16="http://schemas.microsoft.com/office/drawing/2014/main" id="{F8C3D3D2-DAB1-BAB9-095A-D14E919441CB}"/>
              </a:ext>
            </a:extLst>
          </p:cNvPr>
          <p:cNvSpPr/>
          <p:nvPr/>
        </p:nvSpPr>
        <p:spPr>
          <a:xfrm>
            <a:off x="8681267" y="5270361"/>
            <a:ext cx="763" cy="4547"/>
          </a:xfrm>
          <a:custGeom>
            <a:avLst/>
            <a:gdLst>
              <a:gd name="csX0" fmla="*/ 132 w 1229"/>
              <a:gd name="csY0" fmla="*/ 6659 h 6658"/>
              <a:gd name="csX1" fmla="*/ 1107 w 1229"/>
              <a:gd name="csY1" fmla="*/ 0 h 6658"/>
              <a:gd name="csX2" fmla="*/ 132 w 1229"/>
              <a:gd name="csY2" fmla="*/ 6659 h 665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229" h="6658">
                <a:moveTo>
                  <a:pt x="132" y="6659"/>
                </a:moveTo>
                <a:cubicBezTo>
                  <a:pt x="-219" y="4616"/>
                  <a:pt x="139" y="2560"/>
                  <a:pt x="1107" y="0"/>
                </a:cubicBezTo>
                <a:cubicBezTo>
                  <a:pt x="1425" y="1879"/>
                  <a:pt x="1133" y="4263"/>
                  <a:pt x="132" y="6659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997" name="Free-form: Shape 8996">
            <a:extLst>
              <a:ext uri="{FF2B5EF4-FFF2-40B4-BE49-F238E27FC236}">
                <a16:creationId xmlns:a16="http://schemas.microsoft.com/office/drawing/2014/main" id="{4D923EE3-96AB-8FFC-AE0F-E1A1AD05A2BC}"/>
              </a:ext>
            </a:extLst>
          </p:cNvPr>
          <p:cNvSpPr/>
          <p:nvPr/>
        </p:nvSpPr>
        <p:spPr>
          <a:xfrm>
            <a:off x="8614071" y="5292666"/>
            <a:ext cx="2352" cy="932"/>
          </a:xfrm>
          <a:custGeom>
            <a:avLst/>
            <a:gdLst>
              <a:gd name="csX0" fmla="*/ 0 w 3788"/>
              <a:gd name="csY0" fmla="*/ 1364 h 1364"/>
              <a:gd name="csX1" fmla="*/ 3788 w 3788"/>
              <a:gd name="csY1" fmla="*/ 0 h 1364"/>
              <a:gd name="csX2" fmla="*/ 0 w 3788"/>
              <a:gd name="csY2" fmla="*/ 1364 h 136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788" h="1364">
                <a:moveTo>
                  <a:pt x="0" y="1364"/>
                </a:moveTo>
                <a:cubicBezTo>
                  <a:pt x="856" y="517"/>
                  <a:pt x="2126" y="39"/>
                  <a:pt x="3788" y="0"/>
                </a:cubicBezTo>
                <a:cubicBezTo>
                  <a:pt x="2925" y="870"/>
                  <a:pt x="1670" y="1303"/>
                  <a:pt x="0" y="1364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998" name="Free-form: Shape 8997">
            <a:extLst>
              <a:ext uri="{FF2B5EF4-FFF2-40B4-BE49-F238E27FC236}">
                <a16:creationId xmlns:a16="http://schemas.microsoft.com/office/drawing/2014/main" id="{07B7E2A9-5883-1437-E54C-0A0B5483821D}"/>
              </a:ext>
            </a:extLst>
          </p:cNvPr>
          <p:cNvSpPr/>
          <p:nvPr/>
        </p:nvSpPr>
        <p:spPr>
          <a:xfrm>
            <a:off x="8342488" y="5296267"/>
            <a:ext cx="2478" cy="566"/>
          </a:xfrm>
          <a:custGeom>
            <a:avLst/>
            <a:gdLst>
              <a:gd name="csX0" fmla="*/ 0 w 3990"/>
              <a:gd name="csY0" fmla="*/ 719 h 829"/>
              <a:gd name="csX1" fmla="*/ 3990 w 3990"/>
              <a:gd name="csY1" fmla="*/ 119 h 829"/>
              <a:gd name="csX2" fmla="*/ 0 w 3990"/>
              <a:gd name="csY2" fmla="*/ 719 h 82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990" h="829">
                <a:moveTo>
                  <a:pt x="0" y="719"/>
                </a:moveTo>
                <a:cubicBezTo>
                  <a:pt x="982" y="66"/>
                  <a:pt x="2323" y="-163"/>
                  <a:pt x="3990" y="119"/>
                </a:cubicBezTo>
                <a:cubicBezTo>
                  <a:pt x="2998" y="800"/>
                  <a:pt x="1678" y="972"/>
                  <a:pt x="0" y="719"/>
                </a:cubicBezTo>
                <a:close/>
              </a:path>
            </a:pathLst>
          </a:custGeom>
          <a:solidFill>
            <a:srgbClr val="959DA0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999" name="Free-form: Shape 8998">
            <a:extLst>
              <a:ext uri="{FF2B5EF4-FFF2-40B4-BE49-F238E27FC236}">
                <a16:creationId xmlns:a16="http://schemas.microsoft.com/office/drawing/2014/main" id="{1E25AD93-F018-3283-5EBB-DBF298FA60BD}"/>
              </a:ext>
            </a:extLst>
          </p:cNvPr>
          <p:cNvSpPr/>
          <p:nvPr/>
        </p:nvSpPr>
        <p:spPr>
          <a:xfrm>
            <a:off x="8553036" y="5299519"/>
            <a:ext cx="2417" cy="775"/>
          </a:xfrm>
          <a:custGeom>
            <a:avLst/>
            <a:gdLst>
              <a:gd name="csX0" fmla="*/ 0 w 3893"/>
              <a:gd name="csY0" fmla="*/ 1133 h 1135"/>
              <a:gd name="csX1" fmla="*/ 3893 w 3893"/>
              <a:gd name="csY1" fmla="*/ 7 h 1135"/>
              <a:gd name="csX2" fmla="*/ 0 w 3893"/>
              <a:gd name="csY2" fmla="*/ 1133 h 113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893" h="1135">
                <a:moveTo>
                  <a:pt x="0" y="1133"/>
                </a:moveTo>
                <a:cubicBezTo>
                  <a:pt x="902" y="349"/>
                  <a:pt x="2213" y="-60"/>
                  <a:pt x="3893" y="7"/>
                </a:cubicBezTo>
                <a:cubicBezTo>
                  <a:pt x="2978" y="825"/>
                  <a:pt x="1693" y="1167"/>
                  <a:pt x="0" y="1133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000" name="Free-form: Shape 8999">
            <a:extLst>
              <a:ext uri="{FF2B5EF4-FFF2-40B4-BE49-F238E27FC236}">
                <a16:creationId xmlns:a16="http://schemas.microsoft.com/office/drawing/2014/main" id="{BC112B93-C638-5F70-7F54-516C1834F850}"/>
              </a:ext>
            </a:extLst>
          </p:cNvPr>
          <p:cNvSpPr/>
          <p:nvPr/>
        </p:nvSpPr>
        <p:spPr>
          <a:xfrm>
            <a:off x="8453440" y="4766387"/>
            <a:ext cx="112588" cy="275447"/>
          </a:xfrm>
          <a:custGeom>
            <a:avLst/>
            <a:gdLst>
              <a:gd name="csX0" fmla="*/ 7554 w 181323"/>
              <a:gd name="csY0" fmla="*/ 172079 h 403282"/>
              <a:gd name="csX1" fmla="*/ 9716 w 181323"/>
              <a:gd name="csY1" fmla="*/ 130641 h 403282"/>
              <a:gd name="csX2" fmla="*/ 7663 w 181323"/>
              <a:gd name="csY2" fmla="*/ 113770 h 403282"/>
              <a:gd name="csX3" fmla="*/ 7598 w 181323"/>
              <a:gd name="csY3" fmla="*/ 8165 h 403282"/>
              <a:gd name="csX4" fmla="*/ 8353 w 181323"/>
              <a:gd name="csY4" fmla="*/ 1259 h 403282"/>
              <a:gd name="csX5" fmla="*/ 17767 w 181323"/>
              <a:gd name="csY5" fmla="*/ 93 h 403282"/>
              <a:gd name="csX6" fmla="*/ 77938 w 181323"/>
              <a:gd name="csY6" fmla="*/ 50 h 403282"/>
              <a:gd name="csX7" fmla="*/ 91081 w 181323"/>
              <a:gd name="csY7" fmla="*/ 10962 h 403282"/>
              <a:gd name="csX8" fmla="*/ 93691 w 181323"/>
              <a:gd name="csY8" fmla="*/ 60963 h 403282"/>
              <a:gd name="csX9" fmla="*/ 100157 w 181323"/>
              <a:gd name="csY9" fmla="*/ 121501 h 403282"/>
              <a:gd name="csX10" fmla="*/ 105540 w 181323"/>
              <a:gd name="csY10" fmla="*/ 158857 h 403282"/>
              <a:gd name="csX11" fmla="*/ 121116 w 181323"/>
              <a:gd name="csY11" fmla="*/ 235269 h 403282"/>
              <a:gd name="csX12" fmla="*/ 152823 w 181323"/>
              <a:gd name="csY12" fmla="*/ 338010 h 403282"/>
              <a:gd name="csX13" fmla="*/ 170877 w 181323"/>
              <a:gd name="csY13" fmla="*/ 378027 h 403282"/>
              <a:gd name="csX14" fmla="*/ 178114 w 181323"/>
              <a:gd name="csY14" fmla="*/ 387682 h 403282"/>
              <a:gd name="csX15" fmla="*/ 181150 w 181323"/>
              <a:gd name="csY15" fmla="*/ 395764 h 403282"/>
              <a:gd name="csX16" fmla="*/ 173480 w 181323"/>
              <a:gd name="csY16" fmla="*/ 402568 h 403282"/>
              <a:gd name="csX17" fmla="*/ 160067 w 181323"/>
              <a:gd name="csY17" fmla="*/ 402936 h 403282"/>
              <a:gd name="csX18" fmla="*/ 121081 w 181323"/>
              <a:gd name="csY18" fmla="*/ 400766 h 403282"/>
              <a:gd name="csX19" fmla="*/ 70912 w 181323"/>
              <a:gd name="csY19" fmla="*/ 401955 h 403282"/>
              <a:gd name="csX20" fmla="*/ 7630 w 181323"/>
              <a:gd name="csY20" fmla="*/ 402999 h 403282"/>
              <a:gd name="csX21" fmla="*/ 710 w 181323"/>
              <a:gd name="csY21" fmla="*/ 401995 h 403282"/>
              <a:gd name="csX22" fmla="*/ 1308 w 181323"/>
              <a:gd name="csY22" fmla="*/ 356708 h 403282"/>
              <a:gd name="csX23" fmla="*/ 2554 w 181323"/>
              <a:gd name="csY23" fmla="*/ 349510 h 403282"/>
              <a:gd name="csX24" fmla="*/ 5071 w 181323"/>
              <a:gd name="csY24" fmla="*/ 271231 h 403282"/>
              <a:gd name="csX25" fmla="*/ 7554 w 181323"/>
              <a:gd name="csY25" fmla="*/ 172079 h 403282"/>
              <a:gd name="csX26" fmla="*/ 98286 w 181323"/>
              <a:gd name="csY26" fmla="*/ 163566 h 403282"/>
              <a:gd name="csX27" fmla="*/ 83497 w 181323"/>
              <a:gd name="csY27" fmla="*/ 8289 h 403282"/>
              <a:gd name="csX28" fmla="*/ 15161 w 181323"/>
              <a:gd name="csY28" fmla="*/ 9148 h 403282"/>
              <a:gd name="csX29" fmla="*/ 15058 w 181323"/>
              <a:gd name="csY29" fmla="*/ 137939 h 403282"/>
              <a:gd name="csX30" fmla="*/ 12252 w 181323"/>
              <a:gd name="csY30" fmla="*/ 266862 h 403282"/>
              <a:gd name="csX31" fmla="*/ 7068 w 181323"/>
              <a:gd name="csY31" fmla="*/ 395996 h 403282"/>
              <a:gd name="csX32" fmla="*/ 171647 w 181323"/>
              <a:gd name="csY32" fmla="*/ 395996 h 403282"/>
              <a:gd name="csX33" fmla="*/ 119950 w 181323"/>
              <a:gd name="csY33" fmla="*/ 259496 h 403282"/>
              <a:gd name="csX34" fmla="*/ 98286 w 181323"/>
              <a:gd name="csY34" fmla="*/ 163566 h 40328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</a:cxnLst>
            <a:rect l="l" t="t" r="r" b="b"/>
            <a:pathLst>
              <a:path w="181323" h="403282">
                <a:moveTo>
                  <a:pt x="7554" y="172079"/>
                </a:moveTo>
                <a:cubicBezTo>
                  <a:pt x="8325" y="157451"/>
                  <a:pt x="9408" y="144055"/>
                  <a:pt x="9716" y="130641"/>
                </a:cubicBezTo>
                <a:cubicBezTo>
                  <a:pt x="9846" y="125037"/>
                  <a:pt x="7695" y="119399"/>
                  <a:pt x="7663" y="113770"/>
                </a:cubicBezTo>
                <a:cubicBezTo>
                  <a:pt x="7461" y="78569"/>
                  <a:pt x="7554" y="43367"/>
                  <a:pt x="7598" y="8165"/>
                </a:cubicBezTo>
                <a:cubicBezTo>
                  <a:pt x="7600" y="6167"/>
                  <a:pt x="8022" y="4170"/>
                  <a:pt x="8353" y="1259"/>
                </a:cubicBezTo>
                <a:cubicBezTo>
                  <a:pt x="11568" y="842"/>
                  <a:pt x="14666" y="109"/>
                  <a:pt x="17767" y="93"/>
                </a:cubicBezTo>
                <a:cubicBezTo>
                  <a:pt x="37824" y="-17"/>
                  <a:pt x="57881" y="-27"/>
                  <a:pt x="77938" y="50"/>
                </a:cubicBezTo>
                <a:cubicBezTo>
                  <a:pt x="89177" y="93"/>
                  <a:pt x="90068" y="113"/>
                  <a:pt x="91081" y="10962"/>
                </a:cubicBezTo>
                <a:cubicBezTo>
                  <a:pt x="92631" y="27565"/>
                  <a:pt x="92329" y="44335"/>
                  <a:pt x="93691" y="60963"/>
                </a:cubicBezTo>
                <a:cubicBezTo>
                  <a:pt x="95348" y="81184"/>
                  <a:pt x="97732" y="101353"/>
                  <a:pt x="100157" y="121501"/>
                </a:cubicBezTo>
                <a:cubicBezTo>
                  <a:pt x="101660" y="133990"/>
                  <a:pt x="104521" y="146343"/>
                  <a:pt x="105540" y="158857"/>
                </a:cubicBezTo>
                <a:cubicBezTo>
                  <a:pt x="107671" y="184993"/>
                  <a:pt x="114147" y="210249"/>
                  <a:pt x="121116" y="235269"/>
                </a:cubicBezTo>
                <a:cubicBezTo>
                  <a:pt x="130731" y="269786"/>
                  <a:pt x="141516" y="304004"/>
                  <a:pt x="152823" y="338010"/>
                </a:cubicBezTo>
                <a:cubicBezTo>
                  <a:pt x="157418" y="351828"/>
                  <a:pt x="164524" y="364837"/>
                  <a:pt x="170877" y="378027"/>
                </a:cubicBezTo>
                <a:cubicBezTo>
                  <a:pt x="172587" y="381579"/>
                  <a:pt x="175985" y="384280"/>
                  <a:pt x="178114" y="387682"/>
                </a:cubicBezTo>
                <a:cubicBezTo>
                  <a:pt x="179669" y="390165"/>
                  <a:pt x="181977" y="393824"/>
                  <a:pt x="181150" y="395764"/>
                </a:cubicBezTo>
                <a:cubicBezTo>
                  <a:pt x="179907" y="398676"/>
                  <a:pt x="176540" y="401705"/>
                  <a:pt x="173480" y="402568"/>
                </a:cubicBezTo>
                <a:cubicBezTo>
                  <a:pt x="169302" y="403746"/>
                  <a:pt x="164551" y="403164"/>
                  <a:pt x="160067" y="402936"/>
                </a:cubicBezTo>
                <a:cubicBezTo>
                  <a:pt x="147066" y="402274"/>
                  <a:pt x="134081" y="400859"/>
                  <a:pt x="121081" y="400766"/>
                </a:cubicBezTo>
                <a:cubicBezTo>
                  <a:pt x="104362" y="400647"/>
                  <a:pt x="87638" y="401607"/>
                  <a:pt x="70912" y="401955"/>
                </a:cubicBezTo>
                <a:cubicBezTo>
                  <a:pt x="49820" y="402394"/>
                  <a:pt x="28725" y="402712"/>
                  <a:pt x="7630" y="402999"/>
                </a:cubicBezTo>
                <a:cubicBezTo>
                  <a:pt x="5684" y="403026"/>
                  <a:pt x="3731" y="402452"/>
                  <a:pt x="710" y="401995"/>
                </a:cubicBezTo>
                <a:cubicBezTo>
                  <a:pt x="219" y="386620"/>
                  <a:pt x="-871" y="371682"/>
                  <a:pt x="1308" y="356708"/>
                </a:cubicBezTo>
                <a:cubicBezTo>
                  <a:pt x="1659" y="354298"/>
                  <a:pt x="2471" y="351920"/>
                  <a:pt x="2554" y="349510"/>
                </a:cubicBezTo>
                <a:cubicBezTo>
                  <a:pt x="3459" y="323419"/>
                  <a:pt x="4345" y="297328"/>
                  <a:pt x="5071" y="271231"/>
                </a:cubicBezTo>
                <a:cubicBezTo>
                  <a:pt x="5979" y="238591"/>
                  <a:pt x="6733" y="205947"/>
                  <a:pt x="7554" y="172079"/>
                </a:cubicBezTo>
                <a:moveTo>
                  <a:pt x="98286" y="163566"/>
                </a:moveTo>
                <a:cubicBezTo>
                  <a:pt x="89288" y="112116"/>
                  <a:pt x="86355" y="60033"/>
                  <a:pt x="83497" y="8289"/>
                </a:cubicBezTo>
                <a:cubicBezTo>
                  <a:pt x="65606" y="5845"/>
                  <a:pt x="24110" y="6470"/>
                  <a:pt x="15161" y="9148"/>
                </a:cubicBezTo>
                <a:cubicBezTo>
                  <a:pt x="15161" y="52045"/>
                  <a:pt x="15527" y="94996"/>
                  <a:pt x="15058" y="137939"/>
                </a:cubicBezTo>
                <a:cubicBezTo>
                  <a:pt x="14587" y="180919"/>
                  <a:pt x="13597" y="223900"/>
                  <a:pt x="12252" y="266862"/>
                </a:cubicBezTo>
                <a:cubicBezTo>
                  <a:pt x="10912" y="309638"/>
                  <a:pt x="8849" y="352391"/>
                  <a:pt x="7068" y="395996"/>
                </a:cubicBezTo>
                <a:cubicBezTo>
                  <a:pt x="62774" y="395996"/>
                  <a:pt x="116821" y="395996"/>
                  <a:pt x="171647" y="395996"/>
                </a:cubicBezTo>
                <a:cubicBezTo>
                  <a:pt x="148550" y="352016"/>
                  <a:pt x="132566" y="306307"/>
                  <a:pt x="119950" y="259496"/>
                </a:cubicBezTo>
                <a:cubicBezTo>
                  <a:pt x="111608" y="228543"/>
                  <a:pt x="105493" y="196989"/>
                  <a:pt x="98286" y="163566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001" name="Free-form: Shape 9000">
            <a:extLst>
              <a:ext uri="{FF2B5EF4-FFF2-40B4-BE49-F238E27FC236}">
                <a16:creationId xmlns:a16="http://schemas.microsoft.com/office/drawing/2014/main" id="{67AC9558-791A-805D-FB65-48DC15E741CE}"/>
              </a:ext>
            </a:extLst>
          </p:cNvPr>
          <p:cNvSpPr/>
          <p:nvPr/>
        </p:nvSpPr>
        <p:spPr>
          <a:xfrm>
            <a:off x="8455071" y="5224517"/>
            <a:ext cx="209255" cy="52128"/>
          </a:xfrm>
          <a:custGeom>
            <a:avLst/>
            <a:gdLst>
              <a:gd name="csX0" fmla="*/ 297312 w 337008"/>
              <a:gd name="csY0" fmla="*/ 59188 h 76321"/>
              <a:gd name="csX1" fmla="*/ 241991 w 337008"/>
              <a:gd name="csY1" fmla="*/ 66577 h 76321"/>
              <a:gd name="csX2" fmla="*/ 185243 w 337008"/>
              <a:gd name="csY2" fmla="*/ 73717 h 76321"/>
              <a:gd name="csX3" fmla="*/ 182797 w 337008"/>
              <a:gd name="csY3" fmla="*/ 73873 h 76321"/>
              <a:gd name="csX4" fmla="*/ 19866 w 337008"/>
              <a:gd name="csY4" fmla="*/ 76320 h 76321"/>
              <a:gd name="csX5" fmla="*/ 12650 w 337008"/>
              <a:gd name="csY5" fmla="*/ 75242 h 76321"/>
              <a:gd name="csX6" fmla="*/ 19 w 337008"/>
              <a:gd name="csY6" fmla="*/ 59006 h 76321"/>
              <a:gd name="csX7" fmla="*/ 11 w 337008"/>
              <a:gd name="csY7" fmla="*/ 18266 h 76321"/>
              <a:gd name="csX8" fmla="*/ 13547 w 337008"/>
              <a:gd name="csY8" fmla="*/ 17427 h 76321"/>
              <a:gd name="csX9" fmla="*/ 109279 w 337008"/>
              <a:gd name="csY9" fmla="*/ 17200 h 76321"/>
              <a:gd name="csX10" fmla="*/ 173714 w 337008"/>
              <a:gd name="csY10" fmla="*/ 12645 h 76321"/>
              <a:gd name="csX11" fmla="*/ 205309 w 337008"/>
              <a:gd name="csY11" fmla="*/ 10096 h 76321"/>
              <a:gd name="csX12" fmla="*/ 245485 w 337008"/>
              <a:gd name="csY12" fmla="*/ 7449 h 76321"/>
              <a:gd name="csX13" fmla="*/ 288955 w 337008"/>
              <a:gd name="csY13" fmla="*/ 1844 h 76321"/>
              <a:gd name="csX14" fmla="*/ 307132 w 337008"/>
              <a:gd name="csY14" fmla="*/ 164 h 76321"/>
              <a:gd name="csX15" fmla="*/ 324030 w 337008"/>
              <a:gd name="csY15" fmla="*/ 9691 h 76321"/>
              <a:gd name="csX16" fmla="*/ 336033 w 337008"/>
              <a:gd name="csY16" fmla="*/ 39107 h 76321"/>
              <a:gd name="csX17" fmla="*/ 328060 w 337008"/>
              <a:gd name="csY17" fmla="*/ 52413 h 76321"/>
              <a:gd name="csX18" fmla="*/ 297312 w 337008"/>
              <a:gd name="csY18" fmla="*/ 59188 h 76321"/>
              <a:gd name="csX19" fmla="*/ 207688 w 337008"/>
              <a:gd name="csY19" fmla="*/ 64284 h 76321"/>
              <a:gd name="csX20" fmla="*/ 330050 w 337008"/>
              <a:gd name="csY20" fmla="*/ 45606 h 76321"/>
              <a:gd name="csX21" fmla="*/ 317356 w 337008"/>
              <a:gd name="csY21" fmla="*/ 11297 h 76321"/>
              <a:gd name="csX22" fmla="*/ 304170 w 337008"/>
              <a:gd name="csY22" fmla="*/ 5545 h 76321"/>
              <a:gd name="csX23" fmla="*/ 273851 w 337008"/>
              <a:gd name="csY23" fmla="*/ 10014 h 76321"/>
              <a:gd name="csX24" fmla="*/ 163935 w 337008"/>
              <a:gd name="csY24" fmla="*/ 20274 h 76321"/>
              <a:gd name="csX25" fmla="*/ 17973 w 337008"/>
              <a:gd name="csY25" fmla="*/ 22950 h 76321"/>
              <a:gd name="csX26" fmla="*/ 7372 w 337008"/>
              <a:gd name="csY26" fmla="*/ 23601 h 76321"/>
              <a:gd name="csX27" fmla="*/ 7372 w 337008"/>
              <a:gd name="csY27" fmla="*/ 67898 h 76321"/>
              <a:gd name="csX28" fmla="*/ 207688 w 337008"/>
              <a:gd name="csY28" fmla="*/ 64284 h 7632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</a:cxnLst>
            <a:rect l="l" t="t" r="r" b="b"/>
            <a:pathLst>
              <a:path w="337008" h="76321">
                <a:moveTo>
                  <a:pt x="297312" y="59188"/>
                </a:moveTo>
                <a:cubicBezTo>
                  <a:pt x="278167" y="61672"/>
                  <a:pt x="260091" y="64212"/>
                  <a:pt x="241991" y="66577"/>
                </a:cubicBezTo>
                <a:cubicBezTo>
                  <a:pt x="223087" y="69047"/>
                  <a:pt x="204161" y="71350"/>
                  <a:pt x="185243" y="73717"/>
                </a:cubicBezTo>
                <a:cubicBezTo>
                  <a:pt x="184433" y="73818"/>
                  <a:pt x="183613" y="73861"/>
                  <a:pt x="182797" y="73873"/>
                </a:cubicBezTo>
                <a:cubicBezTo>
                  <a:pt x="128487" y="74710"/>
                  <a:pt x="74176" y="75556"/>
                  <a:pt x="19866" y="76320"/>
                </a:cubicBezTo>
                <a:cubicBezTo>
                  <a:pt x="17463" y="76354"/>
                  <a:pt x="15013" y="75797"/>
                  <a:pt x="12650" y="75242"/>
                </a:cubicBezTo>
                <a:cubicBezTo>
                  <a:pt x="80" y="72288"/>
                  <a:pt x="58" y="72258"/>
                  <a:pt x="19" y="59006"/>
                </a:cubicBezTo>
                <a:cubicBezTo>
                  <a:pt x="-19" y="45942"/>
                  <a:pt x="11" y="32877"/>
                  <a:pt x="11" y="18266"/>
                </a:cubicBezTo>
                <a:cubicBezTo>
                  <a:pt x="4987" y="17944"/>
                  <a:pt x="9266" y="17435"/>
                  <a:pt x="13547" y="17427"/>
                </a:cubicBezTo>
                <a:cubicBezTo>
                  <a:pt x="45459" y="17362"/>
                  <a:pt x="77385" y="17975"/>
                  <a:pt x="109279" y="17200"/>
                </a:cubicBezTo>
                <a:cubicBezTo>
                  <a:pt x="130782" y="16677"/>
                  <a:pt x="152239" y="14265"/>
                  <a:pt x="173714" y="12645"/>
                </a:cubicBezTo>
                <a:cubicBezTo>
                  <a:pt x="184250" y="11850"/>
                  <a:pt x="194770" y="10836"/>
                  <a:pt x="205309" y="10096"/>
                </a:cubicBezTo>
                <a:cubicBezTo>
                  <a:pt x="218698" y="9156"/>
                  <a:pt x="232139" y="8783"/>
                  <a:pt x="245485" y="7449"/>
                </a:cubicBezTo>
                <a:cubicBezTo>
                  <a:pt x="260017" y="5997"/>
                  <a:pt x="274456" y="3648"/>
                  <a:pt x="288955" y="1844"/>
                </a:cubicBezTo>
                <a:cubicBezTo>
                  <a:pt x="294991" y="1094"/>
                  <a:pt x="301100" y="930"/>
                  <a:pt x="307132" y="164"/>
                </a:cubicBezTo>
                <a:cubicBezTo>
                  <a:pt x="315239" y="-865"/>
                  <a:pt x="320841" y="3022"/>
                  <a:pt x="324030" y="9691"/>
                </a:cubicBezTo>
                <a:cubicBezTo>
                  <a:pt x="328594" y="19236"/>
                  <a:pt x="332712" y="29070"/>
                  <a:pt x="336033" y="39107"/>
                </a:cubicBezTo>
                <a:cubicBezTo>
                  <a:pt x="338557" y="46735"/>
                  <a:pt x="336278" y="50185"/>
                  <a:pt x="328060" y="52413"/>
                </a:cubicBezTo>
                <a:cubicBezTo>
                  <a:pt x="318273" y="55068"/>
                  <a:pt x="308277" y="56950"/>
                  <a:pt x="297312" y="59188"/>
                </a:cubicBezTo>
                <a:moveTo>
                  <a:pt x="207688" y="64284"/>
                </a:moveTo>
                <a:cubicBezTo>
                  <a:pt x="248681" y="60632"/>
                  <a:pt x="289317" y="54812"/>
                  <a:pt x="330050" y="45606"/>
                </a:cubicBezTo>
                <a:cubicBezTo>
                  <a:pt x="327603" y="32443"/>
                  <a:pt x="323777" y="21532"/>
                  <a:pt x="317356" y="11297"/>
                </a:cubicBezTo>
                <a:cubicBezTo>
                  <a:pt x="313908" y="5803"/>
                  <a:pt x="310145" y="4465"/>
                  <a:pt x="304170" y="5545"/>
                </a:cubicBezTo>
                <a:cubicBezTo>
                  <a:pt x="294121" y="7361"/>
                  <a:pt x="284007" y="9006"/>
                  <a:pt x="273851" y="10014"/>
                </a:cubicBezTo>
                <a:cubicBezTo>
                  <a:pt x="237233" y="13650"/>
                  <a:pt x="200632" y="17661"/>
                  <a:pt x="163935" y="20274"/>
                </a:cubicBezTo>
                <a:cubicBezTo>
                  <a:pt x="115360" y="23734"/>
                  <a:pt x="66701" y="25937"/>
                  <a:pt x="17973" y="22950"/>
                </a:cubicBezTo>
                <a:cubicBezTo>
                  <a:pt x="14492" y="22737"/>
                  <a:pt x="10959" y="23361"/>
                  <a:pt x="7372" y="23601"/>
                </a:cubicBezTo>
                <a:cubicBezTo>
                  <a:pt x="7372" y="38609"/>
                  <a:pt x="7372" y="52361"/>
                  <a:pt x="7372" y="67898"/>
                </a:cubicBezTo>
                <a:cubicBezTo>
                  <a:pt x="74001" y="69806"/>
                  <a:pt x="139746" y="71025"/>
                  <a:pt x="207688" y="64284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002" name="Free-form: Shape 9001">
            <a:extLst>
              <a:ext uri="{FF2B5EF4-FFF2-40B4-BE49-F238E27FC236}">
                <a16:creationId xmlns:a16="http://schemas.microsoft.com/office/drawing/2014/main" id="{CB4F22CB-CBA3-371E-63F6-D39E784837EB}"/>
              </a:ext>
            </a:extLst>
          </p:cNvPr>
          <p:cNvSpPr/>
          <p:nvPr/>
        </p:nvSpPr>
        <p:spPr>
          <a:xfrm>
            <a:off x="8458804" y="5063418"/>
            <a:ext cx="188426" cy="145956"/>
          </a:xfrm>
          <a:custGeom>
            <a:avLst/>
            <a:gdLst>
              <a:gd name="csX0" fmla="*/ 14160 w 303463"/>
              <a:gd name="csY0" fmla="*/ 7889 h 213695"/>
              <a:gd name="csX1" fmla="*/ 195033 w 303463"/>
              <a:gd name="csY1" fmla="*/ 0 h 213695"/>
              <a:gd name="csX2" fmla="*/ 197208 w 303463"/>
              <a:gd name="csY2" fmla="*/ 5635 h 213695"/>
              <a:gd name="csX3" fmla="*/ 227014 w 303463"/>
              <a:gd name="csY3" fmla="*/ 60660 h 213695"/>
              <a:gd name="csX4" fmla="*/ 265823 w 303463"/>
              <a:gd name="csY4" fmla="*/ 98217 h 213695"/>
              <a:gd name="csX5" fmla="*/ 303210 w 303463"/>
              <a:gd name="csY5" fmla="*/ 180358 h 213695"/>
              <a:gd name="csX6" fmla="*/ 303282 w 303463"/>
              <a:gd name="csY6" fmla="*/ 193964 h 213695"/>
              <a:gd name="csX7" fmla="*/ 4971 w 303463"/>
              <a:gd name="csY7" fmla="*/ 213017 h 213695"/>
              <a:gd name="csX8" fmla="*/ 5093 w 303463"/>
              <a:gd name="csY8" fmla="*/ 173484 h 213695"/>
              <a:gd name="csX9" fmla="*/ 4767 w 303463"/>
              <a:gd name="csY9" fmla="*/ 54607 h 213695"/>
              <a:gd name="csX10" fmla="*/ 0 w 303463"/>
              <a:gd name="csY10" fmla="*/ 7887 h 213695"/>
              <a:gd name="csX11" fmla="*/ 14160 w 303463"/>
              <a:gd name="csY11" fmla="*/ 7889 h 21369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303463" h="213695">
                <a:moveTo>
                  <a:pt x="14160" y="7889"/>
                </a:moveTo>
                <a:cubicBezTo>
                  <a:pt x="75371" y="8627"/>
                  <a:pt x="135292" y="5744"/>
                  <a:pt x="195033" y="0"/>
                </a:cubicBezTo>
                <a:cubicBezTo>
                  <a:pt x="196084" y="2662"/>
                  <a:pt x="196986" y="4099"/>
                  <a:pt x="197208" y="5635"/>
                </a:cubicBezTo>
                <a:cubicBezTo>
                  <a:pt x="200391" y="27650"/>
                  <a:pt x="211307" y="45450"/>
                  <a:pt x="227014" y="60660"/>
                </a:cubicBezTo>
                <a:cubicBezTo>
                  <a:pt x="239947" y="73182"/>
                  <a:pt x="253006" y="85577"/>
                  <a:pt x="265823" y="98217"/>
                </a:cubicBezTo>
                <a:cubicBezTo>
                  <a:pt x="288727" y="120806"/>
                  <a:pt x="299071" y="149215"/>
                  <a:pt x="303210" y="180358"/>
                </a:cubicBezTo>
                <a:cubicBezTo>
                  <a:pt x="303735" y="184317"/>
                  <a:pt x="303282" y="188405"/>
                  <a:pt x="303282" y="193964"/>
                </a:cubicBezTo>
                <a:cubicBezTo>
                  <a:pt x="204065" y="208804"/>
                  <a:pt x="105022" y="216044"/>
                  <a:pt x="4971" y="213017"/>
                </a:cubicBezTo>
                <a:cubicBezTo>
                  <a:pt x="4971" y="199268"/>
                  <a:pt x="4314" y="186332"/>
                  <a:pt x="5093" y="173484"/>
                </a:cubicBezTo>
                <a:cubicBezTo>
                  <a:pt x="7497" y="133835"/>
                  <a:pt x="8211" y="94216"/>
                  <a:pt x="4767" y="54607"/>
                </a:cubicBezTo>
                <a:cubicBezTo>
                  <a:pt x="3464" y="39611"/>
                  <a:pt x="1725" y="24653"/>
                  <a:pt x="0" y="7887"/>
                </a:cubicBezTo>
                <a:cubicBezTo>
                  <a:pt x="4390" y="7887"/>
                  <a:pt x="8696" y="7887"/>
                  <a:pt x="14160" y="7889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003" name="Free-form: Shape 9002">
            <a:extLst>
              <a:ext uri="{FF2B5EF4-FFF2-40B4-BE49-F238E27FC236}">
                <a16:creationId xmlns:a16="http://schemas.microsoft.com/office/drawing/2014/main" id="{A42AF524-8931-84B5-D5D8-D7303B4EA329}"/>
              </a:ext>
            </a:extLst>
          </p:cNvPr>
          <p:cNvSpPr/>
          <p:nvPr/>
        </p:nvSpPr>
        <p:spPr>
          <a:xfrm>
            <a:off x="8425042" y="4480685"/>
            <a:ext cx="129814" cy="138929"/>
          </a:xfrm>
          <a:custGeom>
            <a:avLst/>
            <a:gdLst>
              <a:gd name="csX0" fmla="*/ 10475 w 209067"/>
              <a:gd name="csY0" fmla="*/ 41718 h 203406"/>
              <a:gd name="csX1" fmla="*/ 100250 w 209067"/>
              <a:gd name="csY1" fmla="*/ 1265 h 203406"/>
              <a:gd name="csX2" fmla="*/ 206681 w 209067"/>
              <a:gd name="csY2" fmla="*/ 98526 h 203406"/>
              <a:gd name="csX3" fmla="*/ 134647 w 209067"/>
              <a:gd name="csY3" fmla="*/ 202431 h 203406"/>
              <a:gd name="csX4" fmla="*/ 40986 w 209067"/>
              <a:gd name="csY4" fmla="*/ 171438 h 203406"/>
              <a:gd name="csX5" fmla="*/ 143 w 209067"/>
              <a:gd name="csY5" fmla="*/ 85158 h 203406"/>
              <a:gd name="csX6" fmla="*/ 10475 w 209067"/>
              <a:gd name="csY6" fmla="*/ 41718 h 20340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</a:cxnLst>
            <a:rect l="l" t="t" r="r" b="b"/>
            <a:pathLst>
              <a:path w="209067" h="203406">
                <a:moveTo>
                  <a:pt x="10475" y="41718"/>
                </a:moveTo>
                <a:cubicBezTo>
                  <a:pt x="31065" y="6021"/>
                  <a:pt x="63171" y="-3865"/>
                  <a:pt x="100250" y="1265"/>
                </a:cubicBezTo>
                <a:cubicBezTo>
                  <a:pt x="157191" y="9144"/>
                  <a:pt x="196951" y="51394"/>
                  <a:pt x="206681" y="98526"/>
                </a:cubicBezTo>
                <a:cubicBezTo>
                  <a:pt x="219504" y="160635"/>
                  <a:pt x="178523" y="196657"/>
                  <a:pt x="134647" y="202431"/>
                </a:cubicBezTo>
                <a:cubicBezTo>
                  <a:pt x="98365" y="207204"/>
                  <a:pt x="68101" y="194086"/>
                  <a:pt x="40986" y="171438"/>
                </a:cubicBezTo>
                <a:cubicBezTo>
                  <a:pt x="14115" y="148994"/>
                  <a:pt x="2457" y="119007"/>
                  <a:pt x="143" y="85158"/>
                </a:cubicBezTo>
                <a:cubicBezTo>
                  <a:pt x="-869" y="70364"/>
                  <a:pt x="3586" y="56015"/>
                  <a:pt x="10475" y="41718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004" name="Free-form: Shape 9003">
            <a:extLst>
              <a:ext uri="{FF2B5EF4-FFF2-40B4-BE49-F238E27FC236}">
                <a16:creationId xmlns:a16="http://schemas.microsoft.com/office/drawing/2014/main" id="{3AAA581D-7BAA-F1D9-2327-D0B66962B5B2}"/>
              </a:ext>
            </a:extLst>
          </p:cNvPr>
          <p:cNvSpPr/>
          <p:nvPr/>
        </p:nvSpPr>
        <p:spPr>
          <a:xfrm>
            <a:off x="8461301" y="4715027"/>
            <a:ext cx="97564" cy="28232"/>
          </a:xfrm>
          <a:custGeom>
            <a:avLst/>
            <a:gdLst>
              <a:gd name="csX0" fmla="*/ 69625 w 157129"/>
              <a:gd name="csY0" fmla="*/ 0 h 41334"/>
              <a:gd name="csX1" fmla="*/ 119596 w 157129"/>
              <a:gd name="csY1" fmla="*/ 1945 h 41334"/>
              <a:gd name="csX2" fmla="*/ 150973 w 157129"/>
              <a:gd name="csY2" fmla="*/ 14889 h 41334"/>
              <a:gd name="csX3" fmla="*/ 151351 w 157129"/>
              <a:gd name="csY3" fmla="*/ 34058 h 41334"/>
              <a:gd name="csX4" fmla="*/ 133492 w 157129"/>
              <a:gd name="csY4" fmla="*/ 40697 h 41334"/>
              <a:gd name="csX5" fmla="*/ 106556 w 157129"/>
              <a:gd name="csY5" fmla="*/ 41092 h 41334"/>
              <a:gd name="csX6" fmla="*/ 13373 w 157129"/>
              <a:gd name="csY6" fmla="*/ 40708 h 41334"/>
              <a:gd name="csX7" fmla="*/ 1312 w 157129"/>
              <a:gd name="csY7" fmla="*/ 40191 h 41334"/>
              <a:gd name="csX8" fmla="*/ 3367 w 157129"/>
              <a:gd name="csY8" fmla="*/ 13162 h 41334"/>
              <a:gd name="csX9" fmla="*/ 20752 w 157129"/>
              <a:gd name="csY9" fmla="*/ 1879 h 41334"/>
              <a:gd name="csX10" fmla="*/ 52625 w 157129"/>
              <a:gd name="csY10" fmla="*/ 1332 h 41334"/>
              <a:gd name="csX11" fmla="*/ 69625 w 157129"/>
              <a:gd name="csY11" fmla="*/ 0 h 4133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157129" h="41334">
                <a:moveTo>
                  <a:pt x="69625" y="0"/>
                </a:moveTo>
                <a:cubicBezTo>
                  <a:pt x="87054" y="491"/>
                  <a:pt x="103407" y="373"/>
                  <a:pt x="119596" y="1945"/>
                </a:cubicBezTo>
                <a:cubicBezTo>
                  <a:pt x="131020" y="3055"/>
                  <a:pt x="141713" y="7767"/>
                  <a:pt x="150973" y="14889"/>
                </a:cubicBezTo>
                <a:cubicBezTo>
                  <a:pt x="158820" y="20925"/>
                  <a:pt x="159403" y="28236"/>
                  <a:pt x="151351" y="34058"/>
                </a:cubicBezTo>
                <a:cubicBezTo>
                  <a:pt x="146355" y="37671"/>
                  <a:pt x="139678" y="39910"/>
                  <a:pt x="133492" y="40697"/>
                </a:cubicBezTo>
                <a:cubicBezTo>
                  <a:pt x="124640" y="41824"/>
                  <a:pt x="115547" y="41120"/>
                  <a:pt x="106556" y="41092"/>
                </a:cubicBezTo>
                <a:cubicBezTo>
                  <a:pt x="75495" y="40996"/>
                  <a:pt x="44434" y="40872"/>
                  <a:pt x="13373" y="40708"/>
                </a:cubicBezTo>
                <a:cubicBezTo>
                  <a:pt x="9391" y="40687"/>
                  <a:pt x="5410" y="40374"/>
                  <a:pt x="1312" y="40191"/>
                </a:cubicBezTo>
                <a:cubicBezTo>
                  <a:pt x="-1416" y="30384"/>
                  <a:pt x="523" y="21512"/>
                  <a:pt x="3367" y="13162"/>
                </a:cubicBezTo>
                <a:cubicBezTo>
                  <a:pt x="5963" y="5538"/>
                  <a:pt x="12701" y="2077"/>
                  <a:pt x="20752" y="1879"/>
                </a:cubicBezTo>
                <a:cubicBezTo>
                  <a:pt x="31375" y="1617"/>
                  <a:pt x="42004" y="1647"/>
                  <a:pt x="52625" y="1332"/>
                </a:cubicBezTo>
                <a:cubicBezTo>
                  <a:pt x="57918" y="1176"/>
                  <a:pt x="63195" y="535"/>
                  <a:pt x="69625" y="0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005" name="Free-form: Shape 9004">
            <a:extLst>
              <a:ext uri="{FF2B5EF4-FFF2-40B4-BE49-F238E27FC236}">
                <a16:creationId xmlns:a16="http://schemas.microsoft.com/office/drawing/2014/main" id="{96CA97DB-F72C-83D4-3863-6730F45C915D}"/>
              </a:ext>
            </a:extLst>
          </p:cNvPr>
          <p:cNvSpPr/>
          <p:nvPr/>
        </p:nvSpPr>
        <p:spPr>
          <a:xfrm>
            <a:off x="8457829" y="4771004"/>
            <a:ext cx="102191" cy="265855"/>
          </a:xfrm>
          <a:custGeom>
            <a:avLst/>
            <a:gdLst>
              <a:gd name="csX0" fmla="*/ 91265 w 164579"/>
              <a:gd name="csY0" fmla="*/ 157878 h 389238"/>
              <a:gd name="csX1" fmla="*/ 112882 w 164579"/>
              <a:gd name="csY1" fmla="*/ 252738 h 389238"/>
              <a:gd name="csX2" fmla="*/ 164579 w 164579"/>
              <a:gd name="csY2" fmla="*/ 389238 h 389238"/>
              <a:gd name="csX3" fmla="*/ 0 w 164579"/>
              <a:gd name="csY3" fmla="*/ 389238 h 389238"/>
              <a:gd name="csX4" fmla="*/ 5184 w 164579"/>
              <a:gd name="csY4" fmla="*/ 260105 h 389238"/>
              <a:gd name="csX5" fmla="*/ 7989 w 164579"/>
              <a:gd name="csY5" fmla="*/ 131182 h 389238"/>
              <a:gd name="csX6" fmla="*/ 8093 w 164579"/>
              <a:gd name="csY6" fmla="*/ 2390 h 389238"/>
              <a:gd name="csX7" fmla="*/ 76429 w 164579"/>
              <a:gd name="csY7" fmla="*/ 1531 h 389238"/>
              <a:gd name="csX8" fmla="*/ 91265 w 164579"/>
              <a:gd name="csY8" fmla="*/ 157878 h 38923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</a:cxnLst>
            <a:rect l="l" t="t" r="r" b="b"/>
            <a:pathLst>
              <a:path w="164579" h="389238">
                <a:moveTo>
                  <a:pt x="91265" y="157878"/>
                </a:moveTo>
                <a:cubicBezTo>
                  <a:pt x="98425" y="190232"/>
                  <a:pt x="104539" y="221785"/>
                  <a:pt x="112882" y="252738"/>
                </a:cubicBezTo>
                <a:cubicBezTo>
                  <a:pt x="125498" y="299549"/>
                  <a:pt x="141482" y="345258"/>
                  <a:pt x="164579" y="389238"/>
                </a:cubicBezTo>
                <a:cubicBezTo>
                  <a:pt x="109753" y="389238"/>
                  <a:pt x="55706" y="389238"/>
                  <a:pt x="0" y="389238"/>
                </a:cubicBezTo>
                <a:cubicBezTo>
                  <a:pt x="1781" y="345633"/>
                  <a:pt x="3844" y="302880"/>
                  <a:pt x="5184" y="260105"/>
                </a:cubicBezTo>
                <a:cubicBezTo>
                  <a:pt x="6529" y="217143"/>
                  <a:pt x="7519" y="174162"/>
                  <a:pt x="7989" y="131182"/>
                </a:cubicBezTo>
                <a:cubicBezTo>
                  <a:pt x="8459" y="88239"/>
                  <a:pt x="8093" y="45287"/>
                  <a:pt x="8093" y="2390"/>
                </a:cubicBezTo>
                <a:cubicBezTo>
                  <a:pt x="17041" y="-288"/>
                  <a:pt x="58537" y="-913"/>
                  <a:pt x="76429" y="1531"/>
                </a:cubicBezTo>
                <a:cubicBezTo>
                  <a:pt x="79287" y="53276"/>
                  <a:pt x="82219" y="105359"/>
                  <a:pt x="91265" y="157878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006" name="Free-form: Shape 9005">
            <a:extLst>
              <a:ext uri="{FF2B5EF4-FFF2-40B4-BE49-F238E27FC236}">
                <a16:creationId xmlns:a16="http://schemas.microsoft.com/office/drawing/2014/main" id="{5EB04CCF-B6FB-34E0-E88E-0D98F0C983EB}"/>
              </a:ext>
            </a:extLst>
          </p:cNvPr>
          <p:cNvSpPr/>
          <p:nvPr/>
        </p:nvSpPr>
        <p:spPr>
          <a:xfrm>
            <a:off x="8459648" y="5228068"/>
            <a:ext cx="200357" cy="43852"/>
          </a:xfrm>
          <a:custGeom>
            <a:avLst/>
            <a:gdLst>
              <a:gd name="csX0" fmla="*/ 199184 w 322677"/>
              <a:gd name="csY0" fmla="*/ 59136 h 64202"/>
              <a:gd name="csX1" fmla="*/ 0 w 322677"/>
              <a:gd name="csY1" fmla="*/ 62697 h 64202"/>
              <a:gd name="csX2" fmla="*/ 0 w 322677"/>
              <a:gd name="csY2" fmla="*/ 18400 h 64202"/>
              <a:gd name="csX3" fmla="*/ 10601 w 322677"/>
              <a:gd name="csY3" fmla="*/ 17750 h 64202"/>
              <a:gd name="csX4" fmla="*/ 156563 w 322677"/>
              <a:gd name="csY4" fmla="*/ 15074 h 64202"/>
              <a:gd name="csX5" fmla="*/ 266479 w 322677"/>
              <a:gd name="csY5" fmla="*/ 4814 h 64202"/>
              <a:gd name="csX6" fmla="*/ 296798 w 322677"/>
              <a:gd name="csY6" fmla="*/ 344 h 64202"/>
              <a:gd name="csX7" fmla="*/ 309983 w 322677"/>
              <a:gd name="csY7" fmla="*/ 6097 h 64202"/>
              <a:gd name="csX8" fmla="*/ 322678 w 322677"/>
              <a:gd name="csY8" fmla="*/ 40406 h 64202"/>
              <a:gd name="csX9" fmla="*/ 199184 w 322677"/>
              <a:gd name="csY9" fmla="*/ 59136 h 6420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322677" h="64202">
                <a:moveTo>
                  <a:pt x="199184" y="59136"/>
                </a:moveTo>
                <a:cubicBezTo>
                  <a:pt x="132374" y="65824"/>
                  <a:pt x="66629" y="64605"/>
                  <a:pt x="0" y="62697"/>
                </a:cubicBezTo>
                <a:cubicBezTo>
                  <a:pt x="0" y="47160"/>
                  <a:pt x="0" y="33409"/>
                  <a:pt x="0" y="18400"/>
                </a:cubicBezTo>
                <a:cubicBezTo>
                  <a:pt x="3587" y="18160"/>
                  <a:pt x="7120" y="17536"/>
                  <a:pt x="10601" y="17750"/>
                </a:cubicBezTo>
                <a:cubicBezTo>
                  <a:pt x="59329" y="20736"/>
                  <a:pt x="107987" y="18533"/>
                  <a:pt x="156563" y="15074"/>
                </a:cubicBezTo>
                <a:cubicBezTo>
                  <a:pt x="193260" y="12461"/>
                  <a:pt x="229860" y="8449"/>
                  <a:pt x="266479" y="4814"/>
                </a:cubicBezTo>
                <a:cubicBezTo>
                  <a:pt x="276635" y="3806"/>
                  <a:pt x="286748" y="2160"/>
                  <a:pt x="296798" y="344"/>
                </a:cubicBezTo>
                <a:cubicBezTo>
                  <a:pt x="302773" y="-735"/>
                  <a:pt x="306536" y="602"/>
                  <a:pt x="309983" y="6097"/>
                </a:cubicBezTo>
                <a:cubicBezTo>
                  <a:pt x="316405" y="16331"/>
                  <a:pt x="320231" y="27243"/>
                  <a:pt x="322678" y="40406"/>
                </a:cubicBezTo>
                <a:cubicBezTo>
                  <a:pt x="281944" y="49611"/>
                  <a:pt x="241309" y="55431"/>
                  <a:pt x="199184" y="59136"/>
                </a:cubicBezTo>
                <a:close/>
              </a:path>
            </a:pathLst>
          </a:custGeom>
          <a:solidFill>
            <a:schemeClr val="bg1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007" name="Free-form: Shape 9006">
            <a:extLst>
              <a:ext uri="{FF2B5EF4-FFF2-40B4-BE49-F238E27FC236}">
                <a16:creationId xmlns:a16="http://schemas.microsoft.com/office/drawing/2014/main" id="{D618E575-CF43-9519-019B-1A3941CB5AB3}"/>
              </a:ext>
            </a:extLst>
          </p:cNvPr>
          <p:cNvSpPr/>
          <p:nvPr/>
        </p:nvSpPr>
        <p:spPr>
          <a:xfrm>
            <a:off x="8673736" y="5225719"/>
            <a:ext cx="2645" cy="6187"/>
          </a:xfrm>
          <a:custGeom>
            <a:avLst/>
            <a:gdLst>
              <a:gd name="csX0" fmla="*/ 815 w 2910"/>
              <a:gd name="csY0" fmla="*/ 0 h 6187"/>
              <a:gd name="csX1" fmla="*/ 113 w 2910"/>
              <a:gd name="csY1" fmla="*/ 6187 h 6187"/>
              <a:gd name="csX2" fmla="*/ 815 w 2910"/>
              <a:gd name="csY2" fmla="*/ 0 h 618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2910" h="6187">
                <a:moveTo>
                  <a:pt x="815" y="0"/>
                </a:moveTo>
                <a:cubicBezTo>
                  <a:pt x="4660" y="1891"/>
                  <a:pt x="2480" y="3840"/>
                  <a:pt x="113" y="6187"/>
                </a:cubicBezTo>
                <a:cubicBezTo>
                  <a:pt x="-172" y="4565"/>
                  <a:pt x="89" y="2579"/>
                  <a:pt x="815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008" name="Free-form: Shape 9007">
            <a:extLst>
              <a:ext uri="{FF2B5EF4-FFF2-40B4-BE49-F238E27FC236}">
                <a16:creationId xmlns:a16="http://schemas.microsoft.com/office/drawing/2014/main" id="{9212243B-E849-C55C-BCB6-EDAE82A5EB8B}"/>
              </a:ext>
            </a:extLst>
          </p:cNvPr>
          <p:cNvSpPr/>
          <p:nvPr/>
        </p:nvSpPr>
        <p:spPr>
          <a:xfrm>
            <a:off x="4904111" y="3760908"/>
            <a:ext cx="777434" cy="153278"/>
          </a:xfrm>
          <a:custGeom>
            <a:avLst/>
            <a:gdLst>
              <a:gd name="csX0" fmla="*/ 191041 w 1045419"/>
              <a:gd name="csY0" fmla="*/ 0 h 228601"/>
              <a:gd name="csX1" fmla="*/ 1045419 w 1045419"/>
              <a:gd name="csY1" fmla="*/ 0 h 228601"/>
              <a:gd name="csX2" fmla="*/ 918418 w 1045419"/>
              <a:gd name="csY2" fmla="*/ 228601 h 228601"/>
              <a:gd name="csX3" fmla="*/ 0 w 1045419"/>
              <a:gd name="csY3" fmla="*/ 228601 h 228601"/>
              <a:gd name="csX4" fmla="*/ 191041 w 1045419"/>
              <a:gd name="csY4" fmla="*/ 0 h 22860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045419" h="228601">
                <a:moveTo>
                  <a:pt x="191041" y="0"/>
                </a:moveTo>
                <a:lnTo>
                  <a:pt x="1045419" y="0"/>
                </a:lnTo>
                <a:lnTo>
                  <a:pt x="918418" y="228601"/>
                </a:lnTo>
                <a:lnTo>
                  <a:pt x="0" y="228601"/>
                </a:lnTo>
                <a:lnTo>
                  <a:pt x="191041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009" name="Free-form: Shape 9008">
            <a:extLst>
              <a:ext uri="{FF2B5EF4-FFF2-40B4-BE49-F238E27FC236}">
                <a16:creationId xmlns:a16="http://schemas.microsoft.com/office/drawing/2014/main" id="{66C390D6-6D39-5842-6EF9-C78AE585E6AF}"/>
              </a:ext>
            </a:extLst>
          </p:cNvPr>
          <p:cNvSpPr/>
          <p:nvPr/>
        </p:nvSpPr>
        <p:spPr>
          <a:xfrm>
            <a:off x="1984375" y="5458262"/>
            <a:ext cx="1646821" cy="454861"/>
          </a:xfrm>
          <a:custGeom>
            <a:avLst/>
            <a:gdLst>
              <a:gd name="csX0" fmla="*/ 626019 w 1992654"/>
              <a:gd name="csY0" fmla="*/ 0 h 550382"/>
              <a:gd name="csX1" fmla="*/ 1992654 w 1992654"/>
              <a:gd name="csY1" fmla="*/ 0 h 550382"/>
              <a:gd name="csX2" fmla="*/ 1532703 w 1992654"/>
              <a:gd name="csY2" fmla="*/ 550382 h 550382"/>
              <a:gd name="csX3" fmla="*/ 0 w 1992654"/>
              <a:gd name="csY3" fmla="*/ 550382 h 550382"/>
              <a:gd name="csX4" fmla="*/ 626019 w 1992654"/>
              <a:gd name="csY4" fmla="*/ 0 h 55038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992654" h="550382">
                <a:moveTo>
                  <a:pt x="626019" y="0"/>
                </a:moveTo>
                <a:lnTo>
                  <a:pt x="1992654" y="0"/>
                </a:lnTo>
                <a:lnTo>
                  <a:pt x="1532703" y="550382"/>
                </a:lnTo>
                <a:lnTo>
                  <a:pt x="0" y="550382"/>
                </a:lnTo>
                <a:lnTo>
                  <a:pt x="626019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010" name="Free-form: Shape 9009">
            <a:extLst>
              <a:ext uri="{FF2B5EF4-FFF2-40B4-BE49-F238E27FC236}">
                <a16:creationId xmlns:a16="http://schemas.microsoft.com/office/drawing/2014/main" id="{C9B77402-1425-A48B-EA0E-38C9BE0CE34C}"/>
              </a:ext>
            </a:extLst>
          </p:cNvPr>
          <p:cNvSpPr/>
          <p:nvPr/>
        </p:nvSpPr>
        <p:spPr>
          <a:xfrm>
            <a:off x="4286828" y="5458262"/>
            <a:ext cx="1568526" cy="454861"/>
          </a:xfrm>
          <a:custGeom>
            <a:avLst/>
            <a:gdLst>
              <a:gd name="csX0" fmla="*/ 527533 w 1897917"/>
              <a:gd name="csY0" fmla="*/ 0 h 550382"/>
              <a:gd name="csX1" fmla="*/ 1897917 w 1897917"/>
              <a:gd name="csY1" fmla="*/ 0 h 550382"/>
              <a:gd name="csX2" fmla="*/ 1747106 w 1897917"/>
              <a:gd name="csY2" fmla="*/ 550382 h 550382"/>
              <a:gd name="csX3" fmla="*/ 0 w 1897917"/>
              <a:gd name="csY3" fmla="*/ 550382 h 550382"/>
              <a:gd name="csX4" fmla="*/ 223004 w 1897917"/>
              <a:gd name="csY4" fmla="*/ 548152 h 550382"/>
              <a:gd name="csX5" fmla="*/ 527533 w 1897917"/>
              <a:gd name="csY5" fmla="*/ 0 h 55038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</a:cxnLst>
            <a:rect l="l" t="t" r="r" b="b"/>
            <a:pathLst>
              <a:path w="1897917" h="550382">
                <a:moveTo>
                  <a:pt x="527533" y="0"/>
                </a:moveTo>
                <a:lnTo>
                  <a:pt x="1897917" y="0"/>
                </a:lnTo>
                <a:lnTo>
                  <a:pt x="1747106" y="550382"/>
                </a:lnTo>
                <a:lnTo>
                  <a:pt x="0" y="550382"/>
                </a:lnTo>
                <a:lnTo>
                  <a:pt x="223004" y="548152"/>
                </a:lnTo>
                <a:lnTo>
                  <a:pt x="527533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011" name="Free-form: Shape 9010">
            <a:extLst>
              <a:ext uri="{FF2B5EF4-FFF2-40B4-BE49-F238E27FC236}">
                <a16:creationId xmlns:a16="http://schemas.microsoft.com/office/drawing/2014/main" id="{CF93213D-3F90-10B3-9939-2E276A51A3DA}"/>
              </a:ext>
            </a:extLst>
          </p:cNvPr>
          <p:cNvSpPr/>
          <p:nvPr/>
        </p:nvSpPr>
        <p:spPr>
          <a:xfrm>
            <a:off x="6965560" y="5458262"/>
            <a:ext cx="1247364" cy="444260"/>
          </a:xfrm>
          <a:custGeom>
            <a:avLst/>
            <a:gdLst>
              <a:gd name="csX0" fmla="*/ 3065 w 1509311"/>
              <a:gd name="csY0" fmla="*/ 0 h 537554"/>
              <a:gd name="csX1" fmla="*/ 1356162 w 1509311"/>
              <a:gd name="csY1" fmla="*/ 0 h 537554"/>
              <a:gd name="csX2" fmla="*/ 1509311 w 1509311"/>
              <a:gd name="csY2" fmla="*/ 537554 h 537554"/>
              <a:gd name="csX3" fmla="*/ 0 w 1509311"/>
              <a:gd name="csY3" fmla="*/ 533283 h 537554"/>
              <a:gd name="csX4" fmla="*/ 3065 w 1509311"/>
              <a:gd name="csY4" fmla="*/ 0 h 53755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509311" h="537554">
                <a:moveTo>
                  <a:pt x="3065" y="0"/>
                </a:moveTo>
                <a:lnTo>
                  <a:pt x="1356162" y="0"/>
                </a:lnTo>
                <a:lnTo>
                  <a:pt x="1509311" y="537554"/>
                </a:lnTo>
                <a:lnTo>
                  <a:pt x="0" y="533283"/>
                </a:lnTo>
                <a:cubicBezTo>
                  <a:pt x="1022" y="355522"/>
                  <a:pt x="2043" y="177761"/>
                  <a:pt x="3065" y="0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012" name="Free-form: Shape 9011">
            <a:extLst>
              <a:ext uri="{FF2B5EF4-FFF2-40B4-BE49-F238E27FC236}">
                <a16:creationId xmlns:a16="http://schemas.microsoft.com/office/drawing/2014/main" id="{E875634E-9277-CCDD-F93E-5CE7DB0B2929}"/>
              </a:ext>
            </a:extLst>
          </p:cNvPr>
          <p:cNvSpPr/>
          <p:nvPr/>
        </p:nvSpPr>
        <p:spPr>
          <a:xfrm>
            <a:off x="9198732" y="5458263"/>
            <a:ext cx="1478271" cy="451232"/>
          </a:xfrm>
          <a:custGeom>
            <a:avLst/>
            <a:gdLst>
              <a:gd name="csX0" fmla="*/ 0 w 1788708"/>
              <a:gd name="csY0" fmla="*/ 0 h 545991"/>
              <a:gd name="csX1" fmla="*/ 1331921 w 1788708"/>
              <a:gd name="csY1" fmla="*/ 0 h 545991"/>
              <a:gd name="csX2" fmla="*/ 1788708 w 1788708"/>
              <a:gd name="csY2" fmla="*/ 545991 h 545991"/>
              <a:gd name="csX3" fmla="*/ 241609 w 1788708"/>
              <a:gd name="csY3" fmla="*/ 541613 h 545991"/>
              <a:gd name="csX4" fmla="*/ 301257 w 1788708"/>
              <a:gd name="csY4" fmla="*/ 540718 h 545991"/>
              <a:gd name="csX5" fmla="*/ 0 w 1788708"/>
              <a:gd name="csY5" fmla="*/ 0 h 54599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</a:cxnLst>
            <a:rect l="l" t="t" r="r" b="b"/>
            <a:pathLst>
              <a:path w="1788708" h="545991">
                <a:moveTo>
                  <a:pt x="0" y="0"/>
                </a:moveTo>
                <a:lnTo>
                  <a:pt x="1331921" y="0"/>
                </a:lnTo>
                <a:lnTo>
                  <a:pt x="1788708" y="545991"/>
                </a:lnTo>
                <a:lnTo>
                  <a:pt x="241609" y="541613"/>
                </a:lnTo>
                <a:lnTo>
                  <a:pt x="301257" y="540718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013" name="Free-form: Shape 9012">
            <a:extLst>
              <a:ext uri="{FF2B5EF4-FFF2-40B4-BE49-F238E27FC236}">
                <a16:creationId xmlns:a16="http://schemas.microsoft.com/office/drawing/2014/main" id="{545C42F9-2F99-9B83-97ED-D9770293EB5F}"/>
              </a:ext>
            </a:extLst>
          </p:cNvPr>
          <p:cNvSpPr/>
          <p:nvPr/>
        </p:nvSpPr>
        <p:spPr>
          <a:xfrm>
            <a:off x="3631196" y="5062916"/>
            <a:ext cx="1311245" cy="395346"/>
          </a:xfrm>
          <a:custGeom>
            <a:avLst/>
            <a:gdLst>
              <a:gd name="csX0" fmla="*/ 399769 w 1586606"/>
              <a:gd name="csY0" fmla="*/ 0 h 478368"/>
              <a:gd name="csX1" fmla="*/ 1586606 w 1586606"/>
              <a:gd name="csY1" fmla="*/ 0 h 478368"/>
              <a:gd name="csX2" fmla="*/ 1320846 w 1586606"/>
              <a:gd name="csY2" fmla="*/ 478368 h 478368"/>
              <a:gd name="csX3" fmla="*/ 0 w 1586606"/>
              <a:gd name="csY3" fmla="*/ 478368 h 478368"/>
              <a:gd name="csX4" fmla="*/ 399769 w 1586606"/>
              <a:gd name="csY4" fmla="*/ 0 h 47836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586606" h="478368">
                <a:moveTo>
                  <a:pt x="399769" y="0"/>
                </a:moveTo>
                <a:lnTo>
                  <a:pt x="1586606" y="0"/>
                </a:lnTo>
                <a:lnTo>
                  <a:pt x="1320846" y="478368"/>
                </a:lnTo>
                <a:lnTo>
                  <a:pt x="0" y="478368"/>
                </a:lnTo>
                <a:lnTo>
                  <a:pt x="399769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014" name="Free-form: Shape 9013">
            <a:extLst>
              <a:ext uri="{FF2B5EF4-FFF2-40B4-BE49-F238E27FC236}">
                <a16:creationId xmlns:a16="http://schemas.microsoft.com/office/drawing/2014/main" id="{D3D256A1-7D27-9499-9703-93CE34965FC8}"/>
              </a:ext>
            </a:extLst>
          </p:cNvPr>
          <p:cNvSpPr/>
          <p:nvPr/>
        </p:nvSpPr>
        <p:spPr>
          <a:xfrm>
            <a:off x="5855354" y="5062916"/>
            <a:ext cx="1115011" cy="395346"/>
          </a:xfrm>
          <a:custGeom>
            <a:avLst/>
            <a:gdLst>
              <a:gd name="csX0" fmla="*/ 131078 w 1349163"/>
              <a:gd name="csY0" fmla="*/ 0 h 478368"/>
              <a:gd name="csX1" fmla="*/ 1349163 w 1349163"/>
              <a:gd name="csY1" fmla="*/ 0 h 478368"/>
              <a:gd name="csX2" fmla="*/ 1346414 w 1349163"/>
              <a:gd name="csY2" fmla="*/ 478368 h 478368"/>
              <a:gd name="csX3" fmla="*/ 0 w 1349163"/>
              <a:gd name="csY3" fmla="*/ 478368 h 478368"/>
              <a:gd name="csX4" fmla="*/ 131078 w 1349163"/>
              <a:gd name="csY4" fmla="*/ 0 h 47836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349163" h="478368">
                <a:moveTo>
                  <a:pt x="131078" y="0"/>
                </a:moveTo>
                <a:lnTo>
                  <a:pt x="1349163" y="0"/>
                </a:lnTo>
                <a:lnTo>
                  <a:pt x="1346414" y="478368"/>
                </a:lnTo>
                <a:lnTo>
                  <a:pt x="0" y="478368"/>
                </a:lnTo>
                <a:lnTo>
                  <a:pt x="131078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015" name="Free-form: Shape 9014">
            <a:extLst>
              <a:ext uri="{FF2B5EF4-FFF2-40B4-BE49-F238E27FC236}">
                <a16:creationId xmlns:a16="http://schemas.microsoft.com/office/drawing/2014/main" id="{3CCE622D-525A-D615-1B41-DCF4AF467058}"/>
              </a:ext>
            </a:extLst>
          </p:cNvPr>
          <p:cNvSpPr/>
          <p:nvPr/>
        </p:nvSpPr>
        <p:spPr>
          <a:xfrm>
            <a:off x="9968740" y="5062916"/>
            <a:ext cx="1462821" cy="395346"/>
          </a:xfrm>
          <a:custGeom>
            <a:avLst/>
            <a:gdLst>
              <a:gd name="csX0" fmla="*/ 0 w 1770014"/>
              <a:gd name="csY0" fmla="*/ 0 h 478368"/>
              <a:gd name="csX1" fmla="*/ 1231679 w 1770014"/>
              <a:gd name="csY1" fmla="*/ 0 h 478368"/>
              <a:gd name="csX2" fmla="*/ 1770014 w 1770014"/>
              <a:gd name="csY2" fmla="*/ 478368 h 478368"/>
              <a:gd name="csX3" fmla="*/ 400212 w 1770014"/>
              <a:gd name="csY3" fmla="*/ 478368 h 478368"/>
              <a:gd name="csX4" fmla="*/ 0 w 1770014"/>
              <a:gd name="csY4" fmla="*/ 0 h 47836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770014" h="478368">
                <a:moveTo>
                  <a:pt x="0" y="0"/>
                </a:moveTo>
                <a:lnTo>
                  <a:pt x="1231679" y="0"/>
                </a:lnTo>
                <a:lnTo>
                  <a:pt x="1770014" y="478368"/>
                </a:lnTo>
                <a:lnTo>
                  <a:pt x="400212" y="478368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016" name="Free-form: Shape 9015">
            <a:extLst>
              <a:ext uri="{FF2B5EF4-FFF2-40B4-BE49-F238E27FC236}">
                <a16:creationId xmlns:a16="http://schemas.microsoft.com/office/drawing/2014/main" id="{F3C7EEFC-ED35-09F8-FCB0-CA6AD3BCE718}"/>
              </a:ext>
            </a:extLst>
          </p:cNvPr>
          <p:cNvSpPr/>
          <p:nvPr/>
        </p:nvSpPr>
        <p:spPr>
          <a:xfrm>
            <a:off x="8913616" y="3760909"/>
            <a:ext cx="1718658" cy="987102"/>
          </a:xfrm>
          <a:custGeom>
            <a:avLst/>
            <a:gdLst>
              <a:gd name="csX0" fmla="*/ 1734208 w 2079576"/>
              <a:gd name="csY0" fmla="*/ 893490 h 1194393"/>
              <a:gd name="csX1" fmla="*/ 1740954 w 2079576"/>
              <a:gd name="csY1" fmla="*/ 893490 h 1194393"/>
              <a:gd name="csX2" fmla="*/ 2079576 w 2079576"/>
              <a:gd name="csY2" fmla="*/ 1194392 h 1194393"/>
              <a:gd name="csX3" fmla="*/ 1492572 w 2079576"/>
              <a:gd name="csY3" fmla="*/ 1194392 h 1194393"/>
              <a:gd name="csX4" fmla="*/ 1492573 w 2079576"/>
              <a:gd name="csY4" fmla="*/ 1194393 h 1194393"/>
              <a:gd name="csX5" fmla="*/ 957918 w 2079576"/>
              <a:gd name="csY5" fmla="*/ 1194393 h 1194393"/>
              <a:gd name="csX6" fmla="*/ 706177 w 2079576"/>
              <a:gd name="csY6" fmla="*/ 893491 h 1194393"/>
              <a:gd name="csX7" fmla="*/ 1734209 w 2079576"/>
              <a:gd name="csY7" fmla="*/ 893491 h 1194393"/>
              <a:gd name="csX8" fmla="*/ 1428628 w 2079576"/>
              <a:gd name="csY8" fmla="*/ 612504 h 1194393"/>
              <a:gd name="csX9" fmla="*/ 1433390 w 2079576"/>
              <a:gd name="csY9" fmla="*/ 617266 h 1194393"/>
              <a:gd name="csX10" fmla="*/ 1430104 w 2079576"/>
              <a:gd name="csY10" fmla="*/ 617266 h 1194393"/>
              <a:gd name="csX11" fmla="*/ 1424767 w 2079576"/>
              <a:gd name="csY11" fmla="*/ 612523 h 1194393"/>
              <a:gd name="csX12" fmla="*/ 283831 w 2079576"/>
              <a:gd name="csY12" fmla="*/ 388666 h 1194393"/>
              <a:gd name="csX13" fmla="*/ 631714 w 2079576"/>
              <a:gd name="csY13" fmla="*/ 388666 h 1194393"/>
              <a:gd name="csX14" fmla="*/ 1158324 w 2079576"/>
              <a:gd name="csY14" fmla="*/ 388666 h 1194393"/>
              <a:gd name="csX15" fmla="*/ 1172848 w 2079576"/>
              <a:gd name="csY15" fmla="*/ 388666 h 1194393"/>
              <a:gd name="csX16" fmla="*/ 1424767 w 2079576"/>
              <a:gd name="csY16" fmla="*/ 612523 h 1194393"/>
              <a:gd name="csX17" fmla="*/ 475083 w 2079576"/>
              <a:gd name="csY17" fmla="*/ 617267 h 1194393"/>
              <a:gd name="csX18" fmla="*/ 735460 w 2079576"/>
              <a:gd name="csY18" fmla="*/ 0 h 1194393"/>
              <a:gd name="csX19" fmla="*/ 936218 w 2079576"/>
              <a:gd name="csY19" fmla="*/ 178395 h 1194393"/>
              <a:gd name="csX20" fmla="*/ 918454 w 2079576"/>
              <a:gd name="csY20" fmla="*/ 178395 h 1194393"/>
              <a:gd name="csX21" fmla="*/ 918453 w 2079576"/>
              <a:gd name="csY21" fmla="*/ 178394 h 1194393"/>
              <a:gd name="csX22" fmla="*/ 918452 w 2079576"/>
              <a:gd name="csY22" fmla="*/ 178394 h 1194393"/>
              <a:gd name="csX23" fmla="*/ 105862 w 2079576"/>
              <a:gd name="csY23" fmla="*/ 175942 h 1194393"/>
              <a:gd name="csX24" fmla="*/ 0 w 2079576"/>
              <a:gd name="csY24" fmla="*/ 7665 h 119439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</a:cxnLst>
            <a:rect l="l" t="t" r="r" b="b"/>
            <a:pathLst>
              <a:path w="2079576" h="1194393">
                <a:moveTo>
                  <a:pt x="1734208" y="893490"/>
                </a:moveTo>
                <a:lnTo>
                  <a:pt x="1740954" y="893490"/>
                </a:lnTo>
                <a:lnTo>
                  <a:pt x="2079576" y="1194392"/>
                </a:lnTo>
                <a:lnTo>
                  <a:pt x="1492572" y="1194392"/>
                </a:lnTo>
                <a:lnTo>
                  <a:pt x="1492573" y="1194393"/>
                </a:lnTo>
                <a:lnTo>
                  <a:pt x="957918" y="1194393"/>
                </a:lnTo>
                <a:lnTo>
                  <a:pt x="706177" y="893491"/>
                </a:lnTo>
                <a:lnTo>
                  <a:pt x="1734209" y="893491"/>
                </a:lnTo>
                <a:close/>
                <a:moveTo>
                  <a:pt x="1428628" y="612504"/>
                </a:moveTo>
                <a:lnTo>
                  <a:pt x="1433390" y="617266"/>
                </a:lnTo>
                <a:lnTo>
                  <a:pt x="1430104" y="617266"/>
                </a:lnTo>
                <a:lnTo>
                  <a:pt x="1424767" y="612523"/>
                </a:lnTo>
                <a:close/>
                <a:moveTo>
                  <a:pt x="283831" y="388666"/>
                </a:moveTo>
                <a:lnTo>
                  <a:pt x="631714" y="388666"/>
                </a:lnTo>
                <a:lnTo>
                  <a:pt x="1158324" y="388666"/>
                </a:lnTo>
                <a:lnTo>
                  <a:pt x="1172848" y="388666"/>
                </a:lnTo>
                <a:lnTo>
                  <a:pt x="1424767" y="612523"/>
                </a:lnTo>
                <a:lnTo>
                  <a:pt x="475083" y="617267"/>
                </a:lnTo>
                <a:close/>
                <a:moveTo>
                  <a:pt x="735460" y="0"/>
                </a:moveTo>
                <a:lnTo>
                  <a:pt x="936218" y="178395"/>
                </a:lnTo>
                <a:lnTo>
                  <a:pt x="918454" y="178395"/>
                </a:lnTo>
                <a:lnTo>
                  <a:pt x="918453" y="178394"/>
                </a:lnTo>
                <a:lnTo>
                  <a:pt x="918452" y="178394"/>
                </a:lnTo>
                <a:lnTo>
                  <a:pt x="105862" y="175942"/>
                </a:lnTo>
                <a:lnTo>
                  <a:pt x="0" y="7665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017" name="Free-form: Shape 9016">
            <a:extLst>
              <a:ext uri="{FF2B5EF4-FFF2-40B4-BE49-F238E27FC236}">
                <a16:creationId xmlns:a16="http://schemas.microsoft.com/office/drawing/2014/main" id="{A79B6222-220F-D85A-C0A3-19782EBB594E}"/>
              </a:ext>
            </a:extLst>
          </p:cNvPr>
          <p:cNvSpPr/>
          <p:nvPr/>
        </p:nvSpPr>
        <p:spPr>
          <a:xfrm>
            <a:off x="8335207" y="3908342"/>
            <a:ext cx="812979" cy="173778"/>
          </a:xfrm>
          <a:custGeom>
            <a:avLst/>
            <a:gdLst>
              <a:gd name="csX0" fmla="*/ 0 w 983705"/>
              <a:gd name="csY0" fmla="*/ 0 h 210271"/>
              <a:gd name="csX1" fmla="*/ 807788 w 983705"/>
              <a:gd name="csY1" fmla="*/ 0 h 210271"/>
              <a:gd name="csX2" fmla="*/ 983705 w 983705"/>
              <a:gd name="csY2" fmla="*/ 210271 h 210271"/>
              <a:gd name="csX3" fmla="*/ 117151 w 983705"/>
              <a:gd name="csY3" fmla="*/ 210271 h 210271"/>
              <a:gd name="csX4" fmla="*/ 0 w 983705"/>
              <a:gd name="csY4" fmla="*/ 0 h 21027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983705" h="210271">
                <a:moveTo>
                  <a:pt x="0" y="0"/>
                </a:moveTo>
                <a:lnTo>
                  <a:pt x="807788" y="0"/>
                </a:lnTo>
                <a:lnTo>
                  <a:pt x="983705" y="210271"/>
                </a:lnTo>
                <a:lnTo>
                  <a:pt x="117151" y="21027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018" name="Free-form: Shape 9017">
            <a:extLst>
              <a:ext uri="{FF2B5EF4-FFF2-40B4-BE49-F238E27FC236}">
                <a16:creationId xmlns:a16="http://schemas.microsoft.com/office/drawing/2014/main" id="{90745ADC-F61A-8009-DCBE-2E6E8ECE2276}"/>
              </a:ext>
            </a:extLst>
          </p:cNvPr>
          <p:cNvSpPr/>
          <p:nvPr/>
        </p:nvSpPr>
        <p:spPr>
          <a:xfrm>
            <a:off x="4623346" y="4082119"/>
            <a:ext cx="863983" cy="188926"/>
          </a:xfrm>
          <a:custGeom>
            <a:avLst/>
            <a:gdLst>
              <a:gd name="csX0" fmla="*/ 191041 w 1045419"/>
              <a:gd name="csY0" fmla="*/ 0 h 228601"/>
              <a:gd name="csX1" fmla="*/ 1045419 w 1045419"/>
              <a:gd name="csY1" fmla="*/ 0 h 228601"/>
              <a:gd name="csX2" fmla="*/ 918418 w 1045419"/>
              <a:gd name="csY2" fmla="*/ 228601 h 228601"/>
              <a:gd name="csX3" fmla="*/ 0 w 1045419"/>
              <a:gd name="csY3" fmla="*/ 228601 h 228601"/>
              <a:gd name="csX4" fmla="*/ 191041 w 1045419"/>
              <a:gd name="csY4" fmla="*/ 0 h 22860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045419" h="228601">
                <a:moveTo>
                  <a:pt x="191041" y="0"/>
                </a:moveTo>
                <a:lnTo>
                  <a:pt x="1045419" y="0"/>
                </a:lnTo>
                <a:lnTo>
                  <a:pt x="918418" y="228601"/>
                </a:lnTo>
                <a:lnTo>
                  <a:pt x="0" y="228601"/>
                </a:lnTo>
                <a:lnTo>
                  <a:pt x="191041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019" name="Free-form: Shape 9018">
            <a:extLst>
              <a:ext uri="{FF2B5EF4-FFF2-40B4-BE49-F238E27FC236}">
                <a16:creationId xmlns:a16="http://schemas.microsoft.com/office/drawing/2014/main" id="{3E117271-DCEA-7A56-87BB-618363E5A08A}"/>
              </a:ext>
            </a:extLst>
          </p:cNvPr>
          <p:cNvSpPr/>
          <p:nvPr/>
        </p:nvSpPr>
        <p:spPr>
          <a:xfrm>
            <a:off x="5255544" y="4271045"/>
            <a:ext cx="925121" cy="228284"/>
          </a:xfrm>
          <a:custGeom>
            <a:avLst/>
            <a:gdLst>
              <a:gd name="csX0" fmla="*/ 153458 w 1119397"/>
              <a:gd name="csY0" fmla="*/ 0 h 276224"/>
              <a:gd name="csX1" fmla="*/ 1119397 w 1119397"/>
              <a:gd name="csY1" fmla="*/ 0 h 276224"/>
              <a:gd name="csX2" fmla="*/ 1043709 w 1119397"/>
              <a:gd name="csY2" fmla="*/ 276224 h 276224"/>
              <a:gd name="csX3" fmla="*/ 0 w 1119397"/>
              <a:gd name="csY3" fmla="*/ 276224 h 276224"/>
              <a:gd name="csX4" fmla="*/ 153458 w 1119397"/>
              <a:gd name="csY4" fmla="*/ 0 h 27622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119397" h="276224">
                <a:moveTo>
                  <a:pt x="153458" y="0"/>
                </a:moveTo>
                <a:lnTo>
                  <a:pt x="1119397" y="0"/>
                </a:lnTo>
                <a:lnTo>
                  <a:pt x="1043709" y="276224"/>
                </a:lnTo>
                <a:lnTo>
                  <a:pt x="0" y="276224"/>
                </a:lnTo>
                <a:lnTo>
                  <a:pt x="153458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020" name="Free-form: Shape 9019">
            <a:extLst>
              <a:ext uri="{FF2B5EF4-FFF2-40B4-BE49-F238E27FC236}">
                <a16:creationId xmlns:a16="http://schemas.microsoft.com/office/drawing/2014/main" id="{04A8BA8C-DFC3-0067-8EAF-DD0428905EDC}"/>
              </a:ext>
            </a:extLst>
          </p:cNvPr>
          <p:cNvSpPr/>
          <p:nvPr/>
        </p:nvSpPr>
        <p:spPr>
          <a:xfrm>
            <a:off x="6973604" y="4271045"/>
            <a:ext cx="839552" cy="228284"/>
          </a:xfrm>
          <a:custGeom>
            <a:avLst/>
            <a:gdLst>
              <a:gd name="csX0" fmla="*/ 1588 w 1015858"/>
              <a:gd name="csY0" fmla="*/ 0 h 276224"/>
              <a:gd name="csX1" fmla="*/ 937162 w 1015858"/>
              <a:gd name="csY1" fmla="*/ 0 h 276224"/>
              <a:gd name="csX2" fmla="*/ 1015858 w 1015858"/>
              <a:gd name="csY2" fmla="*/ 276224 h 276224"/>
              <a:gd name="csX3" fmla="*/ 0 w 1015858"/>
              <a:gd name="csY3" fmla="*/ 276224 h 276224"/>
              <a:gd name="csX4" fmla="*/ 1588 w 1015858"/>
              <a:gd name="csY4" fmla="*/ 0 h 27622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015858" h="276224">
                <a:moveTo>
                  <a:pt x="1588" y="0"/>
                </a:moveTo>
                <a:lnTo>
                  <a:pt x="937162" y="0"/>
                </a:lnTo>
                <a:lnTo>
                  <a:pt x="1015858" y="276224"/>
                </a:lnTo>
                <a:lnTo>
                  <a:pt x="0" y="276224"/>
                </a:lnTo>
                <a:lnTo>
                  <a:pt x="1588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021" name="Free-form: Shape 9020">
            <a:extLst>
              <a:ext uri="{FF2B5EF4-FFF2-40B4-BE49-F238E27FC236}">
                <a16:creationId xmlns:a16="http://schemas.microsoft.com/office/drawing/2014/main" id="{B548354A-B278-0DBF-4B5A-D60D3EEE1961}"/>
              </a:ext>
            </a:extLst>
          </p:cNvPr>
          <p:cNvSpPr/>
          <p:nvPr/>
        </p:nvSpPr>
        <p:spPr>
          <a:xfrm>
            <a:off x="8537283" y="4271045"/>
            <a:ext cx="959949" cy="228284"/>
          </a:xfrm>
          <a:custGeom>
            <a:avLst/>
            <a:gdLst>
              <a:gd name="csX0" fmla="*/ 0 w 1161538"/>
              <a:gd name="csY0" fmla="*/ 0 h 276224"/>
              <a:gd name="csX1" fmla="*/ 930444 w 1161538"/>
              <a:gd name="csY1" fmla="*/ 0 h 276224"/>
              <a:gd name="csX2" fmla="*/ 1161538 w 1161538"/>
              <a:gd name="csY2" fmla="*/ 276224 h 276224"/>
              <a:gd name="csX3" fmla="*/ 153896 w 1161538"/>
              <a:gd name="csY3" fmla="*/ 276224 h 276224"/>
              <a:gd name="csX4" fmla="*/ 0 w 1161538"/>
              <a:gd name="csY4" fmla="*/ 0 h 27622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161538" h="276224">
                <a:moveTo>
                  <a:pt x="0" y="0"/>
                </a:moveTo>
                <a:lnTo>
                  <a:pt x="930444" y="0"/>
                </a:lnTo>
                <a:lnTo>
                  <a:pt x="1161538" y="276224"/>
                </a:lnTo>
                <a:lnTo>
                  <a:pt x="153896" y="276224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022" name="Free-form: Shape 9021">
            <a:extLst>
              <a:ext uri="{FF2B5EF4-FFF2-40B4-BE49-F238E27FC236}">
                <a16:creationId xmlns:a16="http://schemas.microsoft.com/office/drawing/2014/main" id="{6750F796-581C-3744-0BAD-C17B64C2A931}"/>
              </a:ext>
            </a:extLst>
          </p:cNvPr>
          <p:cNvSpPr/>
          <p:nvPr/>
        </p:nvSpPr>
        <p:spPr>
          <a:xfrm>
            <a:off x="4942440" y="4748009"/>
            <a:ext cx="1107531" cy="314908"/>
          </a:xfrm>
          <a:custGeom>
            <a:avLst/>
            <a:gdLst>
              <a:gd name="csX0" fmla="*/ 211688 w 1340113"/>
              <a:gd name="csY0" fmla="*/ 0 h 381039"/>
              <a:gd name="csX1" fmla="*/ 1340113 w 1340113"/>
              <a:gd name="csY1" fmla="*/ 0 h 381039"/>
              <a:gd name="csX2" fmla="*/ 1235704 w 1340113"/>
              <a:gd name="csY2" fmla="*/ 381039 h 381039"/>
              <a:gd name="csX3" fmla="*/ 0 w 1340113"/>
              <a:gd name="csY3" fmla="*/ 381039 h 381039"/>
              <a:gd name="csX4" fmla="*/ 211688 w 1340113"/>
              <a:gd name="csY4" fmla="*/ 0 h 38103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340113" h="381039">
                <a:moveTo>
                  <a:pt x="211688" y="0"/>
                </a:moveTo>
                <a:lnTo>
                  <a:pt x="1340113" y="0"/>
                </a:lnTo>
                <a:lnTo>
                  <a:pt x="1235704" y="381039"/>
                </a:lnTo>
                <a:lnTo>
                  <a:pt x="0" y="381039"/>
                </a:lnTo>
                <a:lnTo>
                  <a:pt x="211688" y="0"/>
                </a:lnTo>
                <a:close/>
              </a:path>
            </a:pathLst>
          </a:custGeom>
          <a:solidFill>
            <a:srgbClr val="DDE5E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023" name="Free-form: Shape 9022">
            <a:extLst>
              <a:ext uri="{FF2B5EF4-FFF2-40B4-BE49-F238E27FC236}">
                <a16:creationId xmlns:a16="http://schemas.microsoft.com/office/drawing/2014/main" id="{D38D1080-A9E7-10F8-B599-C040A91C2B07}"/>
              </a:ext>
            </a:extLst>
          </p:cNvPr>
          <p:cNvSpPr/>
          <p:nvPr/>
        </p:nvSpPr>
        <p:spPr>
          <a:xfrm>
            <a:off x="6970366" y="4748009"/>
            <a:ext cx="1003356" cy="314908"/>
          </a:xfrm>
          <a:custGeom>
            <a:avLst/>
            <a:gdLst>
              <a:gd name="csX0" fmla="*/ 2190 w 1214061"/>
              <a:gd name="csY0" fmla="*/ 0 h 381039"/>
              <a:gd name="csX1" fmla="*/ 1105503 w 1214061"/>
              <a:gd name="csY1" fmla="*/ 0 h 381039"/>
              <a:gd name="csX2" fmla="*/ 1214061 w 1214061"/>
              <a:gd name="csY2" fmla="*/ 381039 h 381039"/>
              <a:gd name="csX3" fmla="*/ 0 w 1214061"/>
              <a:gd name="csY3" fmla="*/ 381039 h 381039"/>
              <a:gd name="csX4" fmla="*/ 2190 w 1214061"/>
              <a:gd name="csY4" fmla="*/ 0 h 38103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214061" h="381039">
                <a:moveTo>
                  <a:pt x="2190" y="0"/>
                </a:moveTo>
                <a:lnTo>
                  <a:pt x="1105503" y="0"/>
                </a:lnTo>
                <a:lnTo>
                  <a:pt x="1214061" y="381039"/>
                </a:lnTo>
                <a:lnTo>
                  <a:pt x="0" y="381039"/>
                </a:lnTo>
                <a:lnTo>
                  <a:pt x="2190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1" name="Free-form: Shape 70">
            <a:extLst>
              <a:ext uri="{FF2B5EF4-FFF2-40B4-BE49-F238E27FC236}">
                <a16:creationId xmlns:a16="http://schemas.microsoft.com/office/drawing/2014/main" id="{3D4498E5-7879-9CE9-CE63-D4CAF817450E}"/>
              </a:ext>
            </a:extLst>
          </p:cNvPr>
          <p:cNvSpPr/>
          <p:nvPr/>
        </p:nvSpPr>
        <p:spPr>
          <a:xfrm>
            <a:off x="8803020" y="4748009"/>
            <a:ext cx="1165721" cy="314908"/>
          </a:xfrm>
          <a:custGeom>
            <a:avLst/>
            <a:gdLst>
              <a:gd name="csX0" fmla="*/ 0 w 1410522"/>
              <a:gd name="csY0" fmla="*/ 0 h 381039"/>
              <a:gd name="csX1" fmla="*/ 1091737 w 1410522"/>
              <a:gd name="csY1" fmla="*/ 0 h 381039"/>
              <a:gd name="csX2" fmla="*/ 1410522 w 1410522"/>
              <a:gd name="csY2" fmla="*/ 381039 h 381039"/>
              <a:gd name="csX3" fmla="*/ 212293 w 1410522"/>
              <a:gd name="csY3" fmla="*/ 381039 h 381039"/>
              <a:gd name="csX4" fmla="*/ 0 w 1410522"/>
              <a:gd name="csY4" fmla="*/ 0 h 38103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410522" h="381039">
                <a:moveTo>
                  <a:pt x="0" y="0"/>
                </a:moveTo>
                <a:lnTo>
                  <a:pt x="1091737" y="0"/>
                </a:lnTo>
                <a:lnTo>
                  <a:pt x="1410522" y="381039"/>
                </a:lnTo>
                <a:lnTo>
                  <a:pt x="212293" y="381039"/>
                </a:lnTo>
                <a:lnTo>
                  <a:pt x="0" y="0"/>
                </a:lnTo>
                <a:close/>
              </a:path>
            </a:pathLst>
          </a:custGeom>
          <a:solidFill>
            <a:srgbClr val="DDE5E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2" name="Oval 71">
            <a:extLst>
              <a:ext uri="{FF2B5EF4-FFF2-40B4-BE49-F238E27FC236}">
                <a16:creationId xmlns:a16="http://schemas.microsoft.com/office/drawing/2014/main" id="{FFDFDC5A-DF07-A4B9-4667-78EFFA34E1C1}"/>
              </a:ext>
            </a:extLst>
          </p:cNvPr>
          <p:cNvSpPr/>
          <p:nvPr/>
        </p:nvSpPr>
        <p:spPr>
          <a:xfrm>
            <a:off x="4317914" y="3740938"/>
            <a:ext cx="656485" cy="147620"/>
          </a:xfrm>
          <a:prstGeom prst="ellipse">
            <a:avLst/>
          </a:prstGeom>
          <a:solidFill>
            <a:schemeClr val="tx1">
              <a:alpha val="5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3" name="Free-form: Shape 72">
            <a:extLst>
              <a:ext uri="{FF2B5EF4-FFF2-40B4-BE49-F238E27FC236}">
                <a16:creationId xmlns:a16="http://schemas.microsoft.com/office/drawing/2014/main" id="{BB76AE18-DA65-5E1D-732C-039308DDE98D}"/>
              </a:ext>
            </a:extLst>
          </p:cNvPr>
          <p:cNvSpPr/>
          <p:nvPr/>
        </p:nvSpPr>
        <p:spPr>
          <a:xfrm>
            <a:off x="4231935" y="2993658"/>
            <a:ext cx="880396" cy="841622"/>
          </a:xfrm>
          <a:custGeom>
            <a:avLst/>
            <a:gdLst>
              <a:gd name="csX0" fmla="*/ 401579 w 1609516"/>
              <a:gd name="csY0" fmla="*/ 1495809 h 1538630"/>
              <a:gd name="csX1" fmla="*/ 400190 w 1609516"/>
              <a:gd name="csY1" fmla="*/ 1496004 h 1538630"/>
              <a:gd name="csX2" fmla="*/ 401224 w 1609516"/>
              <a:gd name="csY2" fmla="*/ 1496470 h 1538630"/>
              <a:gd name="csX3" fmla="*/ 401224 w 1609516"/>
              <a:gd name="csY3" fmla="*/ 1498590 h 1538630"/>
              <a:gd name="csX4" fmla="*/ 401579 w 1609516"/>
              <a:gd name="csY4" fmla="*/ 1498628 h 1538630"/>
              <a:gd name="csX5" fmla="*/ 401579 w 1609516"/>
              <a:gd name="csY5" fmla="*/ 1495809 h 1538630"/>
              <a:gd name="csX6" fmla="*/ 368755 w 1609516"/>
              <a:gd name="csY6" fmla="*/ 1486512 h 1538630"/>
              <a:gd name="csX7" fmla="*/ 364089 w 1609516"/>
              <a:gd name="csY7" fmla="*/ 1487354 h 1538630"/>
              <a:gd name="csX8" fmla="*/ 364089 w 1609516"/>
              <a:gd name="csY8" fmla="*/ 1487908 h 1538630"/>
              <a:gd name="csX9" fmla="*/ 1049801 w 1609516"/>
              <a:gd name="csY9" fmla="*/ 1484562 h 1538630"/>
              <a:gd name="csX10" fmla="*/ 1046735 w 1609516"/>
              <a:gd name="csY10" fmla="*/ 1485945 h 1538630"/>
              <a:gd name="csX11" fmla="*/ 1046955 w 1609516"/>
              <a:gd name="csY11" fmla="*/ 1486045 h 1538630"/>
              <a:gd name="csX12" fmla="*/ 1049801 w 1609516"/>
              <a:gd name="csY12" fmla="*/ 1485188 h 1538630"/>
              <a:gd name="csX13" fmla="*/ 351234 w 1609516"/>
              <a:gd name="csY13" fmla="*/ 1444508 h 1538630"/>
              <a:gd name="csX14" fmla="*/ 351234 w 1609516"/>
              <a:gd name="csY14" fmla="*/ 1444997 h 1538630"/>
              <a:gd name="csX15" fmla="*/ 351592 w 1609516"/>
              <a:gd name="csY15" fmla="*/ 1445078 h 1538630"/>
              <a:gd name="csX16" fmla="*/ 351908 w 1609516"/>
              <a:gd name="csY16" fmla="*/ 1431206 h 1538630"/>
              <a:gd name="csX17" fmla="*/ 351234 w 1609516"/>
              <a:gd name="csY17" fmla="*/ 1431611 h 1538630"/>
              <a:gd name="csX18" fmla="*/ 351234 w 1609516"/>
              <a:gd name="csY18" fmla="*/ 1432274 h 1538630"/>
              <a:gd name="csX19" fmla="*/ 358162 w 1609516"/>
              <a:gd name="csY19" fmla="*/ 1421494 h 1538630"/>
              <a:gd name="csX20" fmla="*/ 355921 w 1609516"/>
              <a:gd name="csY20" fmla="*/ 1423156 h 1538630"/>
              <a:gd name="csX21" fmla="*/ 355921 w 1609516"/>
              <a:gd name="csY21" fmla="*/ 1423548 h 1538630"/>
              <a:gd name="csX22" fmla="*/ 376098 w 1609516"/>
              <a:gd name="csY22" fmla="*/ 1408347 h 1538630"/>
              <a:gd name="csX23" fmla="*/ 370750 w 1609516"/>
              <a:gd name="csY23" fmla="*/ 1412245 h 1538630"/>
              <a:gd name="csX24" fmla="*/ 375023 w 1609516"/>
              <a:gd name="csY24" fmla="*/ 1411256 h 1538630"/>
              <a:gd name="csX25" fmla="*/ 421956 w 1609516"/>
              <a:gd name="csY25" fmla="*/ 1365623 h 1538630"/>
              <a:gd name="csX26" fmla="*/ 421765 w 1609516"/>
              <a:gd name="csY26" fmla="*/ 1366161 h 1538630"/>
              <a:gd name="csX27" fmla="*/ 421887 w 1609516"/>
              <a:gd name="csY27" fmla="*/ 1366161 h 1538630"/>
              <a:gd name="csX28" fmla="*/ 754553 w 1609516"/>
              <a:gd name="csY28" fmla="*/ 1360575 h 1538630"/>
              <a:gd name="csX29" fmla="*/ 754089 w 1609516"/>
              <a:gd name="csY29" fmla="*/ 1361433 h 1538630"/>
              <a:gd name="csX30" fmla="*/ 754431 w 1609516"/>
              <a:gd name="csY30" fmla="*/ 1361125 h 1538630"/>
              <a:gd name="csX31" fmla="*/ 1277973 w 1609516"/>
              <a:gd name="csY31" fmla="*/ 1332923 h 1538630"/>
              <a:gd name="csX32" fmla="*/ 1277944 w 1609516"/>
              <a:gd name="csY32" fmla="*/ 1332936 h 1538630"/>
              <a:gd name="csX33" fmla="*/ 1277949 w 1609516"/>
              <a:gd name="csY33" fmla="*/ 1333139 h 1538630"/>
              <a:gd name="csX34" fmla="*/ 1268556 w 1609516"/>
              <a:gd name="csY34" fmla="*/ 1321066 h 1538630"/>
              <a:gd name="csX35" fmla="*/ 1268556 w 1609516"/>
              <a:gd name="csY35" fmla="*/ 1325294 h 1538630"/>
              <a:gd name="csX36" fmla="*/ 1265432 w 1609516"/>
              <a:gd name="csY36" fmla="*/ 1325294 h 1538630"/>
              <a:gd name="csX37" fmla="*/ 1265432 w 1609516"/>
              <a:gd name="csY37" fmla="*/ 1340795 h 1538630"/>
              <a:gd name="csX38" fmla="*/ 1265476 w 1609516"/>
              <a:gd name="csY38" fmla="*/ 1340714 h 1538630"/>
              <a:gd name="csX39" fmla="*/ 1265476 w 1609516"/>
              <a:gd name="csY39" fmla="*/ 1325877 h 1538630"/>
              <a:gd name="csX40" fmla="*/ 1268600 w 1609516"/>
              <a:gd name="csY40" fmla="*/ 1325877 h 1538630"/>
              <a:gd name="csX41" fmla="*/ 1268600 w 1609516"/>
              <a:gd name="csY41" fmla="*/ 1321649 h 1538630"/>
              <a:gd name="csX42" fmla="*/ 1273286 w 1609516"/>
              <a:gd name="csY42" fmla="*/ 1321649 h 1538630"/>
              <a:gd name="csX43" fmla="*/ 1273227 w 1609516"/>
              <a:gd name="csY43" fmla="*/ 1321066 h 1538630"/>
              <a:gd name="csX44" fmla="*/ 827891 w 1609516"/>
              <a:gd name="csY44" fmla="*/ 1291474 h 1538630"/>
              <a:gd name="csX45" fmla="*/ 822601 w 1609516"/>
              <a:gd name="csY45" fmla="*/ 1291544 h 1538630"/>
              <a:gd name="csX46" fmla="*/ 818272 w 1609516"/>
              <a:gd name="csY46" fmla="*/ 1292220 h 1538630"/>
              <a:gd name="csX47" fmla="*/ 827891 w 1609516"/>
              <a:gd name="csY47" fmla="*/ 1292047 h 1538630"/>
              <a:gd name="csX48" fmla="*/ 856397 w 1609516"/>
              <a:gd name="csY48" fmla="*/ 1288691 h 1538630"/>
              <a:gd name="csX49" fmla="*/ 865903 w 1609516"/>
              <a:gd name="csY49" fmla="*/ 1290590 h 1538630"/>
              <a:gd name="csX50" fmla="*/ 859999 w 1609516"/>
              <a:gd name="csY50" fmla="*/ 1288752 h 1538630"/>
              <a:gd name="csX51" fmla="*/ 834694 w 1609516"/>
              <a:gd name="csY51" fmla="*/ 1288572 h 1538630"/>
              <a:gd name="csX52" fmla="*/ 828038 w 1609516"/>
              <a:gd name="csY52" fmla="*/ 1288654 h 1538630"/>
              <a:gd name="csX53" fmla="*/ 828038 w 1609516"/>
              <a:gd name="csY53" fmla="*/ 1289214 h 1538630"/>
              <a:gd name="csX54" fmla="*/ 229746 w 1609516"/>
              <a:gd name="csY54" fmla="*/ 1191418 h 1538630"/>
              <a:gd name="csX55" fmla="*/ 227402 w 1609516"/>
              <a:gd name="csY55" fmla="*/ 1191947 h 1538630"/>
              <a:gd name="csX56" fmla="*/ 229315 w 1609516"/>
              <a:gd name="csY56" fmla="*/ 1191947 h 1538630"/>
              <a:gd name="csX57" fmla="*/ 229315 w 1609516"/>
              <a:gd name="csY57" fmla="*/ 1194765 h 1538630"/>
              <a:gd name="csX58" fmla="*/ 231321 w 1609516"/>
              <a:gd name="csY58" fmla="*/ 1194765 h 1538630"/>
              <a:gd name="csX59" fmla="*/ 229746 w 1609516"/>
              <a:gd name="csY59" fmla="*/ 1194236 h 1538630"/>
              <a:gd name="csX60" fmla="*/ 229746 w 1609516"/>
              <a:gd name="csY60" fmla="*/ 1191418 h 1538630"/>
              <a:gd name="csX61" fmla="*/ 215687 w 1609516"/>
              <a:gd name="csY61" fmla="*/ 1187190 h 1538630"/>
              <a:gd name="csX62" fmla="*/ 215198 w 1609516"/>
              <a:gd name="csY62" fmla="*/ 1187720 h 1538630"/>
              <a:gd name="csX63" fmla="*/ 215256 w 1609516"/>
              <a:gd name="csY63" fmla="*/ 1187720 h 1538630"/>
              <a:gd name="csX64" fmla="*/ 215256 w 1609516"/>
              <a:gd name="csY64" fmla="*/ 1191947 h 1538630"/>
              <a:gd name="csX65" fmla="*/ 222721 w 1609516"/>
              <a:gd name="csY65" fmla="*/ 1191947 h 1538630"/>
              <a:gd name="csX66" fmla="*/ 215687 w 1609516"/>
              <a:gd name="csY66" fmla="*/ 1191418 h 1538630"/>
              <a:gd name="csX67" fmla="*/ 215687 w 1609516"/>
              <a:gd name="csY67" fmla="*/ 1187190 h 1538630"/>
              <a:gd name="csX68" fmla="*/ 1279678 w 1609516"/>
              <a:gd name="csY68" fmla="*/ 1082356 h 1538630"/>
              <a:gd name="csX69" fmla="*/ 1271680 w 1609516"/>
              <a:gd name="csY69" fmla="*/ 1084589 h 1538630"/>
              <a:gd name="csX70" fmla="*/ 1282181 w 1609516"/>
              <a:gd name="csY70" fmla="*/ 1082544 h 1538630"/>
              <a:gd name="csX71" fmla="*/ 117703 w 1609516"/>
              <a:gd name="csY71" fmla="*/ 941507 h 1538630"/>
              <a:gd name="csX72" fmla="*/ 112587 w 1609516"/>
              <a:gd name="csY72" fmla="*/ 941985 h 1538630"/>
              <a:gd name="csX73" fmla="*/ 112565 w 1609516"/>
              <a:gd name="csY73" fmla="*/ 942333 h 1538630"/>
              <a:gd name="csX74" fmla="*/ 115665 w 1609516"/>
              <a:gd name="csY74" fmla="*/ 941837 h 1538630"/>
              <a:gd name="csX75" fmla="*/ 144268 w 1609516"/>
              <a:gd name="csY75" fmla="*/ 939395 h 1538630"/>
              <a:gd name="csX76" fmla="*/ 143354 w 1609516"/>
              <a:gd name="csY76" fmla="*/ 939580 h 1538630"/>
              <a:gd name="csX77" fmla="*/ 144077 w 1609516"/>
              <a:gd name="csY77" fmla="*/ 939739 h 1538630"/>
              <a:gd name="csX78" fmla="*/ 162575 w 1609516"/>
              <a:gd name="csY78" fmla="*/ 933530 h 1538630"/>
              <a:gd name="csX79" fmla="*/ 161704 w 1609516"/>
              <a:gd name="csY79" fmla="*/ 935101 h 1538630"/>
              <a:gd name="csX80" fmla="*/ 170045 w 1609516"/>
              <a:gd name="csY80" fmla="*/ 933585 h 1538630"/>
              <a:gd name="csX81" fmla="*/ 1321645 w 1609516"/>
              <a:gd name="csY81" fmla="*/ 918415 h 1538630"/>
              <a:gd name="csX82" fmla="*/ 1321534 w 1609516"/>
              <a:gd name="csY82" fmla="*/ 920177 h 1538630"/>
              <a:gd name="csX83" fmla="*/ 1321740 w 1609516"/>
              <a:gd name="csY83" fmla="*/ 918415 h 1538630"/>
              <a:gd name="csX84" fmla="*/ 1319333 w 1609516"/>
              <a:gd name="csY84" fmla="*/ 915183 h 1538630"/>
              <a:gd name="csX85" fmla="*/ 1318544 w 1609516"/>
              <a:gd name="csY85" fmla="*/ 918029 h 1538630"/>
              <a:gd name="csX86" fmla="*/ 1318702 w 1609516"/>
              <a:gd name="csY86" fmla="*/ 918029 h 1538630"/>
              <a:gd name="csX87" fmla="*/ 1326355 w 1609516"/>
              <a:gd name="csY87" fmla="*/ 907109 h 1538630"/>
              <a:gd name="csX88" fmla="*/ 1326355 w 1609516"/>
              <a:gd name="csY88" fmla="*/ 910983 h 1538630"/>
              <a:gd name="csX89" fmla="*/ 1325831 w 1609516"/>
              <a:gd name="csY89" fmla="*/ 911101 h 1538630"/>
              <a:gd name="csX90" fmla="*/ 1326426 w 1609516"/>
              <a:gd name="csY90" fmla="*/ 911369 h 1538630"/>
              <a:gd name="csX91" fmla="*/ 1326426 w 1609516"/>
              <a:gd name="csY91" fmla="*/ 907141 h 1538630"/>
              <a:gd name="csX92" fmla="*/ 1328144 w 1609516"/>
              <a:gd name="csY92" fmla="*/ 892192 h 1538630"/>
              <a:gd name="csX93" fmla="*/ 1327667 w 1609516"/>
              <a:gd name="csY93" fmla="*/ 893446 h 1538630"/>
              <a:gd name="csX94" fmla="*/ 1327989 w 1609516"/>
              <a:gd name="csY94" fmla="*/ 893049 h 1538630"/>
              <a:gd name="csX95" fmla="*/ 49605 w 1609516"/>
              <a:gd name="csY95" fmla="*/ 887420 h 1538630"/>
              <a:gd name="csX96" fmla="*/ 48549 w 1609516"/>
              <a:gd name="csY96" fmla="*/ 891229 h 1538630"/>
              <a:gd name="csX97" fmla="*/ 49956 w 1609516"/>
              <a:gd name="csY97" fmla="*/ 887420 h 1538630"/>
              <a:gd name="csX98" fmla="*/ 1332266 w 1609516"/>
              <a:gd name="csY98" fmla="*/ 883369 h 1538630"/>
              <a:gd name="csX99" fmla="*/ 1329479 w 1609516"/>
              <a:gd name="csY99" fmla="*/ 884207 h 1538630"/>
              <a:gd name="csX100" fmla="*/ 1329509 w 1609516"/>
              <a:gd name="csY100" fmla="*/ 884816 h 1538630"/>
              <a:gd name="csX101" fmla="*/ 1329551 w 1609516"/>
              <a:gd name="csY101" fmla="*/ 884594 h 1538630"/>
              <a:gd name="csX102" fmla="*/ 1555987 w 1609516"/>
              <a:gd name="csY102" fmla="*/ 821766 h 1538630"/>
              <a:gd name="csX103" fmla="*/ 1555987 w 1609516"/>
              <a:gd name="csY103" fmla="*/ 822201 h 1538630"/>
              <a:gd name="csX104" fmla="*/ 1556081 w 1609516"/>
              <a:gd name="csY104" fmla="*/ 822189 h 1538630"/>
              <a:gd name="csX105" fmla="*/ 1565360 w 1609516"/>
              <a:gd name="csY105" fmla="*/ 810928 h 1538630"/>
              <a:gd name="csX106" fmla="*/ 1564871 w 1609516"/>
              <a:gd name="csY106" fmla="*/ 811809 h 1538630"/>
              <a:gd name="csX107" fmla="*/ 1567314 w 1609516"/>
              <a:gd name="csY107" fmla="*/ 810928 h 1538630"/>
              <a:gd name="csX108" fmla="*/ 1563797 w 1609516"/>
              <a:gd name="csY108" fmla="*/ 810928 h 1538630"/>
              <a:gd name="csX109" fmla="*/ 1556762 w 1609516"/>
              <a:gd name="csY109" fmla="*/ 814736 h 1538630"/>
              <a:gd name="csX110" fmla="*/ 1563797 w 1609516"/>
              <a:gd name="csY110" fmla="*/ 812197 h 1538630"/>
              <a:gd name="csX111" fmla="*/ 265833 w 1609516"/>
              <a:gd name="csY111" fmla="*/ 806020 h 1538630"/>
              <a:gd name="csX112" fmla="*/ 263704 w 1609516"/>
              <a:gd name="csY112" fmla="*/ 809861 h 1538630"/>
              <a:gd name="csX113" fmla="*/ 263704 w 1609516"/>
              <a:gd name="csY113" fmla="*/ 816750 h 1538630"/>
              <a:gd name="csX114" fmla="*/ 264113 w 1609516"/>
              <a:gd name="csY114" fmla="*/ 816565 h 1538630"/>
              <a:gd name="csX115" fmla="*/ 263918 w 1609516"/>
              <a:gd name="csY115" fmla="*/ 812777 h 1538630"/>
              <a:gd name="csX116" fmla="*/ 263774 w 1609516"/>
              <a:gd name="csY116" fmla="*/ 779374 h 1538630"/>
              <a:gd name="csX117" fmla="*/ 263704 w 1609516"/>
              <a:gd name="csY117" fmla="*/ 783086 h 1538630"/>
              <a:gd name="csX118" fmla="*/ 264484 w 1609516"/>
              <a:gd name="csY118" fmla="*/ 785816 h 1538630"/>
              <a:gd name="csX119" fmla="*/ 265265 w 1609516"/>
              <a:gd name="csY119" fmla="*/ 794448 h 1538630"/>
              <a:gd name="csX120" fmla="*/ 265217 w 1609516"/>
              <a:gd name="csY120" fmla="*/ 799730 h 1538630"/>
              <a:gd name="csX121" fmla="*/ 266556 w 1609516"/>
              <a:gd name="csY121" fmla="*/ 803466 h 1538630"/>
              <a:gd name="csX122" fmla="*/ 267237 w 1609516"/>
              <a:gd name="csY122" fmla="*/ 801063 h 1538630"/>
              <a:gd name="csX123" fmla="*/ 265675 w 1609516"/>
              <a:gd name="csY123" fmla="*/ 799654 h 1538630"/>
              <a:gd name="csX124" fmla="*/ 265675 w 1609516"/>
              <a:gd name="csY124" fmla="*/ 793841 h 1538630"/>
              <a:gd name="csX125" fmla="*/ 260988 w 1609516"/>
              <a:gd name="csY125" fmla="*/ 770061 h 1538630"/>
              <a:gd name="csX126" fmla="*/ 260988 w 1609516"/>
              <a:gd name="csY126" fmla="*/ 771364 h 1538630"/>
              <a:gd name="csX127" fmla="*/ 263497 w 1609516"/>
              <a:gd name="csY127" fmla="*/ 777263 h 1538630"/>
              <a:gd name="csX128" fmla="*/ 262551 w 1609516"/>
              <a:gd name="csY128" fmla="*/ 770061 h 1538630"/>
              <a:gd name="csX129" fmla="*/ 260988 w 1609516"/>
              <a:gd name="csY129" fmla="*/ 770061 h 1538630"/>
              <a:gd name="csX130" fmla="*/ 157888 w 1609516"/>
              <a:gd name="csY130" fmla="*/ 651686 h 1538630"/>
              <a:gd name="csX131" fmla="*/ 157415 w 1609516"/>
              <a:gd name="csY131" fmla="*/ 651764 h 1538630"/>
              <a:gd name="csX132" fmla="*/ 160373 w 1609516"/>
              <a:gd name="csY132" fmla="*/ 652274 h 1538630"/>
              <a:gd name="csX133" fmla="*/ 267237 w 1609516"/>
              <a:gd name="csY133" fmla="*/ 426537 h 1538630"/>
              <a:gd name="csX134" fmla="*/ 267237 w 1609516"/>
              <a:gd name="csY134" fmla="*/ 427619 h 1538630"/>
              <a:gd name="csX135" fmla="*/ 270380 w 1609516"/>
              <a:gd name="csY135" fmla="*/ 428137 h 1538630"/>
              <a:gd name="csX136" fmla="*/ 273548 w 1609516"/>
              <a:gd name="csY136" fmla="*/ 428680 h 1538630"/>
              <a:gd name="csX137" fmla="*/ 37605 w 1609516"/>
              <a:gd name="csY137" fmla="*/ 359270 h 1538630"/>
              <a:gd name="csX138" fmla="*/ 37103 w 1609516"/>
              <a:gd name="csY138" fmla="*/ 361533 h 1538630"/>
              <a:gd name="csX139" fmla="*/ 37605 w 1609516"/>
              <a:gd name="csY139" fmla="*/ 361382 h 1538630"/>
              <a:gd name="csX140" fmla="*/ 52477 w 1609516"/>
              <a:gd name="csY140" fmla="*/ 337570 h 1538630"/>
              <a:gd name="csX141" fmla="*/ 47288 w 1609516"/>
              <a:gd name="csY141" fmla="*/ 342340 h 1538630"/>
              <a:gd name="csX142" fmla="*/ 45805 w 1609516"/>
              <a:gd name="csY142" fmla="*/ 345093 h 1538630"/>
              <a:gd name="csX143" fmla="*/ 104291 w 1609516"/>
              <a:gd name="csY143" fmla="*/ 336166 h 1538630"/>
              <a:gd name="csX144" fmla="*/ 103776 w 1609516"/>
              <a:gd name="csY144" fmla="*/ 337559 h 1538630"/>
              <a:gd name="csX145" fmla="*/ 108925 w 1609516"/>
              <a:gd name="csY145" fmla="*/ 336166 h 1538630"/>
              <a:gd name="csX146" fmla="*/ 1309237 w 1609516"/>
              <a:gd name="csY146" fmla="*/ 322954 h 1538630"/>
              <a:gd name="csX147" fmla="*/ 1309180 w 1609516"/>
              <a:gd name="csY147" fmla="*/ 330559 h 1538630"/>
              <a:gd name="csX148" fmla="*/ 1309237 w 1609516"/>
              <a:gd name="csY148" fmla="*/ 330520 h 1538630"/>
              <a:gd name="csX149" fmla="*/ 1308964 w 1609516"/>
              <a:gd name="csY149" fmla="*/ 317715 h 1538630"/>
              <a:gd name="csX150" fmla="*/ 1309237 w 1609516"/>
              <a:gd name="csY150" fmla="*/ 318569 h 1538630"/>
              <a:gd name="csX151" fmla="*/ 1309237 w 1609516"/>
              <a:gd name="csY151" fmla="*/ 317838 h 1538630"/>
              <a:gd name="csX152" fmla="*/ 1310087 w 1609516"/>
              <a:gd name="csY152" fmla="*/ 313153 h 1538630"/>
              <a:gd name="csX153" fmla="*/ 1307609 w 1609516"/>
              <a:gd name="csY153" fmla="*/ 313473 h 1538630"/>
              <a:gd name="csX154" fmla="*/ 1308045 w 1609516"/>
              <a:gd name="csY154" fmla="*/ 314836 h 1538630"/>
              <a:gd name="csX155" fmla="*/ 1318544 w 1609516"/>
              <a:gd name="csY155" fmla="*/ 312064 h 1538630"/>
              <a:gd name="csX156" fmla="*/ 1316298 w 1609516"/>
              <a:gd name="csY156" fmla="*/ 312353 h 1538630"/>
              <a:gd name="csX157" fmla="*/ 1318544 w 1609516"/>
              <a:gd name="csY157" fmla="*/ 312205 h 1538630"/>
              <a:gd name="csX158" fmla="*/ 1084622 w 1609516"/>
              <a:gd name="csY158" fmla="*/ 267674 h 1538630"/>
              <a:gd name="csX159" fmla="*/ 1084227 w 1609516"/>
              <a:gd name="csY159" fmla="*/ 268378 h 1538630"/>
              <a:gd name="csX160" fmla="*/ 1079540 w 1609516"/>
              <a:gd name="csY160" fmla="*/ 268378 h 1538630"/>
              <a:gd name="csX161" fmla="*/ 1079603 w 1609516"/>
              <a:gd name="csY161" fmla="*/ 268477 h 1538630"/>
              <a:gd name="csX162" fmla="*/ 1084192 w 1609516"/>
              <a:gd name="csY162" fmla="*/ 268477 h 1538630"/>
              <a:gd name="csX163" fmla="*/ 956410 w 1609516"/>
              <a:gd name="csY163" fmla="*/ 266968 h 1538630"/>
              <a:gd name="csX164" fmla="*/ 957576 w 1609516"/>
              <a:gd name="csY164" fmla="*/ 267083 h 1538630"/>
              <a:gd name="csX165" fmla="*/ 957576 w 1609516"/>
              <a:gd name="csY165" fmla="*/ 269776 h 1538630"/>
              <a:gd name="csX166" fmla="*/ 957694 w 1609516"/>
              <a:gd name="csY166" fmla="*/ 269787 h 1538630"/>
              <a:gd name="csX167" fmla="*/ 957694 w 1609516"/>
              <a:gd name="csY167" fmla="*/ 266968 h 1538630"/>
              <a:gd name="csX168" fmla="*/ 1089372 w 1609516"/>
              <a:gd name="csY168" fmla="*/ 259220 h 1538630"/>
              <a:gd name="csX169" fmla="*/ 1085856 w 1609516"/>
              <a:gd name="csY169" fmla="*/ 265479 h 1538630"/>
              <a:gd name="csX170" fmla="*/ 1088878 w 1609516"/>
              <a:gd name="csY170" fmla="*/ 261431 h 1538630"/>
              <a:gd name="csX171" fmla="*/ 1018517 w 1609516"/>
              <a:gd name="csY171" fmla="*/ 223356 h 1538630"/>
              <a:gd name="csX172" fmla="*/ 1013866 w 1609516"/>
              <a:gd name="csY172" fmla="*/ 226190 h 1538630"/>
              <a:gd name="csX173" fmla="*/ 1013024 w 1609516"/>
              <a:gd name="csY173" fmla="*/ 227709 h 1538630"/>
              <a:gd name="csX174" fmla="*/ 1017055 w 1609516"/>
              <a:gd name="csY174" fmla="*/ 224692 h 1538630"/>
              <a:gd name="csX175" fmla="*/ 850645 w 1609516"/>
              <a:gd name="csY175" fmla="*/ 220099 h 1538630"/>
              <a:gd name="csX176" fmla="*/ 850897 w 1609516"/>
              <a:gd name="csY176" fmla="*/ 221488 h 1538630"/>
              <a:gd name="csX177" fmla="*/ 851470 w 1609516"/>
              <a:gd name="csY177" fmla="*/ 224692 h 1538630"/>
              <a:gd name="csX178" fmla="*/ 852860 w 1609516"/>
              <a:gd name="csY178" fmla="*/ 224692 h 1538630"/>
              <a:gd name="csX179" fmla="*/ 1155019 w 1609516"/>
              <a:gd name="csY179" fmla="*/ 35 h 1538630"/>
              <a:gd name="csX180" fmla="*/ 1174829 w 1609516"/>
              <a:gd name="csY180" fmla="*/ 4853 h 1538630"/>
              <a:gd name="csX181" fmla="*/ 1179418 w 1609516"/>
              <a:gd name="csY181" fmla="*/ 5998 h 1538630"/>
              <a:gd name="csX182" fmla="*/ 1201385 w 1609516"/>
              <a:gd name="csY182" fmla="*/ 22997 h 1538630"/>
              <a:gd name="csX183" fmla="*/ 1201678 w 1609516"/>
              <a:gd name="csY183" fmla="*/ 62191 h 1538630"/>
              <a:gd name="csX184" fmla="*/ 1198261 w 1609516"/>
              <a:gd name="csY184" fmla="*/ 68268 h 1538630"/>
              <a:gd name="csX185" fmla="*/ 1195723 w 1609516"/>
              <a:gd name="csY185" fmla="*/ 72672 h 1538630"/>
              <a:gd name="csX186" fmla="*/ 1193575 w 1609516"/>
              <a:gd name="csY186" fmla="*/ 75314 h 1538630"/>
              <a:gd name="csX187" fmla="*/ 1190450 w 1609516"/>
              <a:gd name="csY187" fmla="*/ 75314 h 1538630"/>
              <a:gd name="csX188" fmla="*/ 1189474 w 1609516"/>
              <a:gd name="csY188" fmla="*/ 79366 h 1538630"/>
              <a:gd name="csX189" fmla="*/ 1182445 w 1609516"/>
              <a:gd name="csY189" fmla="*/ 85707 h 1538630"/>
              <a:gd name="csX190" fmla="*/ 1177953 w 1609516"/>
              <a:gd name="csY190" fmla="*/ 86588 h 1538630"/>
              <a:gd name="csX191" fmla="*/ 1177953 w 1609516"/>
              <a:gd name="csY191" fmla="*/ 89406 h 1538630"/>
              <a:gd name="csX192" fmla="*/ 1170045 w 1609516"/>
              <a:gd name="csY192" fmla="*/ 94251 h 1538630"/>
              <a:gd name="csX193" fmla="*/ 1143806 w 1609516"/>
              <a:gd name="csY193" fmla="*/ 132828 h 1538630"/>
              <a:gd name="csX194" fmla="*/ 1137338 w 1609516"/>
              <a:gd name="csY194" fmla="*/ 141548 h 1538630"/>
              <a:gd name="csX195" fmla="*/ 1133970 w 1609516"/>
              <a:gd name="csY195" fmla="*/ 149403 h 1538630"/>
              <a:gd name="csX196" fmla="*/ 1127965 w 1609516"/>
              <a:gd name="csY196" fmla="*/ 164095 h 1538630"/>
              <a:gd name="csX197" fmla="*/ 1124762 w 1609516"/>
              <a:gd name="csY197" fmla="*/ 171802 h 1538630"/>
              <a:gd name="csX198" fmla="*/ 1119359 w 1609516"/>
              <a:gd name="csY198" fmla="*/ 184798 h 1538630"/>
              <a:gd name="csX199" fmla="*/ 1111014 w 1609516"/>
              <a:gd name="csY199" fmla="*/ 204941 h 1538630"/>
              <a:gd name="csX200" fmla="*/ 1109729 w 1609516"/>
              <a:gd name="csY200" fmla="*/ 208059 h 1538630"/>
              <a:gd name="csX201" fmla="*/ 1106395 w 1609516"/>
              <a:gd name="csY201" fmla="*/ 216170 h 1538630"/>
              <a:gd name="csX202" fmla="*/ 1102147 w 1609516"/>
              <a:gd name="csY202" fmla="*/ 224810 h 1538630"/>
              <a:gd name="csX203" fmla="*/ 1098261 w 1609516"/>
              <a:gd name="csY203" fmla="*/ 227262 h 1538630"/>
              <a:gd name="csX204" fmla="*/ 1098367 w 1609516"/>
              <a:gd name="csY204" fmla="*/ 238475 h 1538630"/>
              <a:gd name="csX205" fmla="*/ 1097331 w 1609516"/>
              <a:gd name="csY205" fmla="*/ 242358 h 1538630"/>
              <a:gd name="csX206" fmla="*/ 1096201 w 1609516"/>
              <a:gd name="csY206" fmla="*/ 246458 h 1538630"/>
              <a:gd name="csX207" fmla="*/ 1089440 w 1609516"/>
              <a:gd name="csY207" fmla="*/ 279206 h 1538630"/>
              <a:gd name="csX208" fmla="*/ 1087316 w 1609516"/>
              <a:gd name="csY208" fmla="*/ 283978 h 1538630"/>
              <a:gd name="csX209" fmla="*/ 1086822 w 1609516"/>
              <a:gd name="csY209" fmla="*/ 291822 h 1538630"/>
              <a:gd name="csX210" fmla="*/ 1086623 w 1609516"/>
              <a:gd name="csY210" fmla="*/ 296625 h 1538630"/>
              <a:gd name="csX211" fmla="*/ 1086437 w 1609516"/>
              <a:gd name="csY211" fmla="*/ 301681 h 1538630"/>
              <a:gd name="csX212" fmla="*/ 1086233 w 1609516"/>
              <a:gd name="csY212" fmla="*/ 306754 h 1538630"/>
              <a:gd name="csX213" fmla="*/ 1086007 w 1609516"/>
              <a:gd name="csY213" fmla="*/ 312619 h 1538630"/>
              <a:gd name="csX214" fmla="*/ 1087470 w 1609516"/>
              <a:gd name="csY214" fmla="*/ 320554 h 1538630"/>
              <a:gd name="csX215" fmla="*/ 1098285 w 1609516"/>
              <a:gd name="csY215" fmla="*/ 334611 h 1538630"/>
              <a:gd name="csX216" fmla="*/ 1102607 w 1609516"/>
              <a:gd name="csY216" fmla="*/ 337679 h 1538630"/>
              <a:gd name="csX217" fmla="*/ 1106095 w 1609516"/>
              <a:gd name="csY217" fmla="*/ 340248 h 1538630"/>
              <a:gd name="csX218" fmla="*/ 1106095 w 1609516"/>
              <a:gd name="csY218" fmla="*/ 343066 h 1538630"/>
              <a:gd name="csX219" fmla="*/ 1109220 w 1609516"/>
              <a:gd name="csY219" fmla="*/ 343419 h 1538630"/>
              <a:gd name="csX220" fmla="*/ 1126403 w 1609516"/>
              <a:gd name="csY220" fmla="*/ 350112 h 1538630"/>
              <a:gd name="csX221" fmla="*/ 1131871 w 1609516"/>
              <a:gd name="csY221" fmla="*/ 352579 h 1538630"/>
              <a:gd name="csX222" fmla="*/ 1135776 w 1609516"/>
              <a:gd name="csY222" fmla="*/ 354340 h 1538630"/>
              <a:gd name="csX223" fmla="*/ 1135776 w 1609516"/>
              <a:gd name="csY223" fmla="*/ 357158 h 1538630"/>
              <a:gd name="csX224" fmla="*/ 1170143 w 1609516"/>
              <a:gd name="csY224" fmla="*/ 354340 h 1538630"/>
              <a:gd name="csX225" fmla="*/ 1174634 w 1609516"/>
              <a:gd name="csY225" fmla="*/ 352579 h 1538630"/>
              <a:gd name="csX226" fmla="*/ 1190890 w 1609516"/>
              <a:gd name="csY226" fmla="*/ 342907 h 1538630"/>
              <a:gd name="csX227" fmla="*/ 1204021 w 1609516"/>
              <a:gd name="csY227" fmla="*/ 335404 h 1538630"/>
              <a:gd name="csX228" fmla="*/ 1223255 w 1609516"/>
              <a:gd name="csY228" fmla="*/ 319110 h 1538630"/>
              <a:gd name="csX229" fmla="*/ 1226868 w 1609516"/>
              <a:gd name="csY229" fmla="*/ 315587 h 1538630"/>
              <a:gd name="csX230" fmla="*/ 1231859 w 1609516"/>
              <a:gd name="csY230" fmla="*/ 303559 h 1538630"/>
              <a:gd name="csX231" fmla="*/ 1234178 w 1609516"/>
              <a:gd name="csY231" fmla="*/ 298059 h 1538630"/>
              <a:gd name="csX232" fmla="*/ 1237314 w 1609516"/>
              <a:gd name="csY232" fmla="*/ 288195 h 1538630"/>
              <a:gd name="csX233" fmla="*/ 1249811 w 1609516"/>
              <a:gd name="csY233" fmla="*/ 265559 h 1538630"/>
              <a:gd name="csX234" fmla="*/ 1252935 w 1609516"/>
              <a:gd name="csY234" fmla="*/ 265559 h 1538630"/>
              <a:gd name="csX235" fmla="*/ 1252935 w 1609516"/>
              <a:gd name="csY235" fmla="*/ 262741 h 1538630"/>
              <a:gd name="csX236" fmla="*/ 1296675 w 1609516"/>
              <a:gd name="csY236" fmla="*/ 252876 h 1538630"/>
              <a:gd name="csX237" fmla="*/ 1307609 w 1609516"/>
              <a:gd name="csY237" fmla="*/ 255695 h 1538630"/>
              <a:gd name="csX238" fmla="*/ 1307609 w 1609516"/>
              <a:gd name="csY238" fmla="*/ 258513 h 1538630"/>
              <a:gd name="csX239" fmla="*/ 1311887 w 1609516"/>
              <a:gd name="csY239" fmla="*/ 258832 h 1538630"/>
              <a:gd name="csX240" fmla="*/ 1326715 w 1609516"/>
              <a:gd name="csY240" fmla="*/ 269969 h 1538630"/>
              <a:gd name="csX241" fmla="*/ 1334165 w 1609516"/>
              <a:gd name="csY241" fmla="*/ 307836 h 1538630"/>
              <a:gd name="csX242" fmla="*/ 1329479 w 1609516"/>
              <a:gd name="csY242" fmla="*/ 314882 h 1538630"/>
              <a:gd name="csX243" fmla="*/ 1323231 w 1609516"/>
              <a:gd name="csY243" fmla="*/ 314882 h 1538630"/>
              <a:gd name="csX244" fmla="*/ 1323231 w 1609516"/>
              <a:gd name="csY244" fmla="*/ 317700 h 1538630"/>
              <a:gd name="csX245" fmla="*/ 1322774 w 1609516"/>
              <a:gd name="csY245" fmla="*/ 317838 h 1538630"/>
              <a:gd name="csX246" fmla="*/ 1323295 w 1609516"/>
              <a:gd name="csY246" fmla="*/ 317838 h 1538630"/>
              <a:gd name="csX247" fmla="*/ 1323295 w 1609516"/>
              <a:gd name="csY247" fmla="*/ 315019 h 1538630"/>
              <a:gd name="csX248" fmla="*/ 1327982 w 1609516"/>
              <a:gd name="csY248" fmla="*/ 315019 h 1538630"/>
              <a:gd name="csX249" fmla="*/ 1317047 w 1609516"/>
              <a:gd name="csY249" fmla="*/ 327702 h 1538630"/>
              <a:gd name="csX250" fmla="*/ 1315484 w 1609516"/>
              <a:gd name="csY250" fmla="*/ 331930 h 1538630"/>
              <a:gd name="csX251" fmla="*/ 1309139 w 1609516"/>
              <a:gd name="csY251" fmla="*/ 333603 h 1538630"/>
              <a:gd name="csX252" fmla="*/ 1305666 w 1609516"/>
              <a:gd name="csY252" fmla="*/ 334280 h 1538630"/>
              <a:gd name="csX253" fmla="*/ 1302988 w 1609516"/>
              <a:gd name="csY253" fmla="*/ 334748 h 1538630"/>
              <a:gd name="csX254" fmla="*/ 1305905 w 1609516"/>
              <a:gd name="csY254" fmla="*/ 332775 h 1538630"/>
              <a:gd name="csX255" fmla="*/ 1304485 w 1609516"/>
              <a:gd name="csY255" fmla="*/ 333202 h 1538630"/>
              <a:gd name="csX256" fmla="*/ 1301459 w 1609516"/>
              <a:gd name="csY256" fmla="*/ 336108 h 1538630"/>
              <a:gd name="csX257" fmla="*/ 1291989 w 1609516"/>
              <a:gd name="csY257" fmla="*/ 338839 h 1538630"/>
              <a:gd name="csX258" fmla="*/ 1290426 w 1609516"/>
              <a:gd name="csY258" fmla="*/ 343066 h 1538630"/>
              <a:gd name="csX259" fmla="*/ 1285740 w 1609516"/>
              <a:gd name="csY259" fmla="*/ 344123 h 1538630"/>
              <a:gd name="csX260" fmla="*/ 1237314 w 1609516"/>
              <a:gd name="csY260" fmla="*/ 382525 h 1538630"/>
              <a:gd name="csX261" fmla="*/ 1232628 w 1609516"/>
              <a:gd name="csY261" fmla="*/ 392389 h 1538630"/>
              <a:gd name="csX262" fmla="*/ 1228625 w 1609516"/>
              <a:gd name="csY262" fmla="*/ 398731 h 1538630"/>
              <a:gd name="csX263" fmla="*/ 1222822 w 1609516"/>
              <a:gd name="csY263" fmla="*/ 434798 h 1538630"/>
              <a:gd name="csX264" fmla="*/ 1260746 w 1609516"/>
              <a:gd name="csY264" fmla="*/ 485398 h 1538630"/>
              <a:gd name="csX265" fmla="*/ 1268556 w 1609516"/>
              <a:gd name="csY265" fmla="*/ 488216 h 1538630"/>
              <a:gd name="csX266" fmla="*/ 1268556 w 1609516"/>
              <a:gd name="csY266" fmla="*/ 491034 h 1538630"/>
              <a:gd name="csX267" fmla="*/ 1338852 w 1609516"/>
              <a:gd name="csY267" fmla="*/ 489625 h 1538630"/>
              <a:gd name="csX268" fmla="*/ 1347444 w 1609516"/>
              <a:gd name="csY268" fmla="*/ 488480 h 1538630"/>
              <a:gd name="csX269" fmla="*/ 1369362 w 1609516"/>
              <a:gd name="csY269" fmla="*/ 482513 h 1538630"/>
              <a:gd name="csX270" fmla="*/ 1388840 w 1609516"/>
              <a:gd name="csY270" fmla="*/ 478351 h 1538630"/>
              <a:gd name="csX271" fmla="*/ 1388840 w 1609516"/>
              <a:gd name="csY271" fmla="*/ 475533 h 1538630"/>
              <a:gd name="csX272" fmla="*/ 1395576 w 1609516"/>
              <a:gd name="csY272" fmla="*/ 473419 h 1538630"/>
              <a:gd name="csX273" fmla="*/ 1399365 w 1609516"/>
              <a:gd name="csY273" fmla="*/ 472230 h 1538630"/>
              <a:gd name="csX274" fmla="*/ 1407585 w 1609516"/>
              <a:gd name="csY274" fmla="*/ 471305 h 1538630"/>
              <a:gd name="csX275" fmla="*/ 1409147 w 1609516"/>
              <a:gd name="csY275" fmla="*/ 467078 h 1538630"/>
              <a:gd name="csX276" fmla="*/ 1416470 w 1609516"/>
              <a:gd name="csY276" fmla="*/ 464259 h 1538630"/>
              <a:gd name="csX277" fmla="*/ 1437949 w 1609516"/>
              <a:gd name="csY277" fmla="*/ 455011 h 1538630"/>
              <a:gd name="csX278" fmla="*/ 1452887 w 1609516"/>
              <a:gd name="csY278" fmla="*/ 450167 h 1538630"/>
              <a:gd name="csX279" fmla="*/ 1452887 w 1609516"/>
              <a:gd name="csY279" fmla="*/ 447349 h 1538630"/>
              <a:gd name="csX280" fmla="*/ 1455394 w 1609516"/>
              <a:gd name="csY280" fmla="*/ 446122 h 1538630"/>
              <a:gd name="csX281" fmla="*/ 1466653 w 1609516"/>
              <a:gd name="csY281" fmla="*/ 440567 h 1538630"/>
              <a:gd name="csX282" fmla="*/ 1470598 w 1609516"/>
              <a:gd name="csY282" fmla="*/ 438637 h 1538630"/>
              <a:gd name="csX283" fmla="*/ 1474397 w 1609516"/>
              <a:gd name="csY283" fmla="*/ 436752 h 1538630"/>
              <a:gd name="csX284" fmla="*/ 1477892 w 1609516"/>
              <a:gd name="csY284" fmla="*/ 435030 h 1538630"/>
              <a:gd name="csX285" fmla="*/ 1485691 w 1609516"/>
              <a:gd name="csY285" fmla="*/ 429029 h 1538630"/>
              <a:gd name="csX286" fmla="*/ 1488858 w 1609516"/>
              <a:gd name="csY286" fmla="*/ 427653 h 1538630"/>
              <a:gd name="csX287" fmla="*/ 1495943 w 1609516"/>
              <a:gd name="csY287" fmla="*/ 421454 h 1538630"/>
              <a:gd name="csX288" fmla="*/ 1538608 w 1609516"/>
              <a:gd name="csY288" fmla="*/ 388338 h 1538630"/>
              <a:gd name="csX289" fmla="*/ 1543490 w 1609516"/>
              <a:gd name="csY289" fmla="*/ 388161 h 1538630"/>
              <a:gd name="csX290" fmla="*/ 1547621 w 1609516"/>
              <a:gd name="csY290" fmla="*/ 387804 h 1538630"/>
              <a:gd name="csX291" fmla="*/ 1579418 w 1609516"/>
              <a:gd name="csY291" fmla="*/ 396617 h 1538630"/>
              <a:gd name="csX292" fmla="*/ 1583342 w 1609516"/>
              <a:gd name="csY292" fmla="*/ 398780 h 1538630"/>
              <a:gd name="csX293" fmla="*/ 1601288 w 1609516"/>
              <a:gd name="csY293" fmla="*/ 423392 h 1538630"/>
              <a:gd name="csX294" fmla="*/ 1594484 w 1609516"/>
              <a:gd name="csY294" fmla="*/ 460159 h 1538630"/>
              <a:gd name="csX295" fmla="*/ 1574732 w 1609516"/>
              <a:gd name="csY295" fmla="*/ 475533 h 1538630"/>
              <a:gd name="csX296" fmla="*/ 1572097 w 1609516"/>
              <a:gd name="csY296" fmla="*/ 477078 h 1538630"/>
              <a:gd name="csX297" fmla="*/ 1556066 w 1609516"/>
              <a:gd name="csY297" fmla="*/ 478737 h 1538630"/>
              <a:gd name="csX298" fmla="*/ 1548631 w 1609516"/>
              <a:gd name="csY298" fmla="*/ 478825 h 1538630"/>
              <a:gd name="csX299" fmla="*/ 1536991 w 1609516"/>
              <a:gd name="csY299" fmla="*/ 478889 h 1538630"/>
              <a:gd name="csX300" fmla="*/ 1498188 w 1609516"/>
              <a:gd name="csY300" fmla="*/ 485398 h 1538630"/>
              <a:gd name="csX301" fmla="*/ 1493892 w 1609516"/>
              <a:gd name="csY301" fmla="*/ 487600 h 1538630"/>
              <a:gd name="csX302" fmla="*/ 1490377 w 1609516"/>
              <a:gd name="csY302" fmla="*/ 489625 h 1538630"/>
              <a:gd name="csX303" fmla="*/ 1471650 w 1609516"/>
              <a:gd name="csY303" fmla="*/ 498185 h 1538630"/>
              <a:gd name="csX304" fmla="*/ 1459135 w 1609516"/>
              <a:gd name="csY304" fmla="*/ 505127 h 1538630"/>
              <a:gd name="csX305" fmla="*/ 1452594 w 1609516"/>
              <a:gd name="csY305" fmla="*/ 508033 h 1538630"/>
              <a:gd name="csX306" fmla="*/ 1427795 w 1609516"/>
              <a:gd name="csY306" fmla="*/ 520100 h 1538630"/>
              <a:gd name="csX307" fmla="*/ 1423733 w 1609516"/>
              <a:gd name="csY307" fmla="*/ 522148 h 1538630"/>
              <a:gd name="csX308" fmla="*/ 1419929 w 1609516"/>
              <a:gd name="csY308" fmla="*/ 524118 h 1538630"/>
              <a:gd name="csX309" fmla="*/ 1416487 w 1609516"/>
              <a:gd name="csY309" fmla="*/ 525883 h 1538630"/>
              <a:gd name="csX310" fmla="*/ 1412271 w 1609516"/>
              <a:gd name="csY310" fmla="*/ 531902 h 1538630"/>
              <a:gd name="csX311" fmla="*/ 1396650 w 1609516"/>
              <a:gd name="csY311" fmla="*/ 537539 h 1538630"/>
              <a:gd name="csX312" fmla="*/ 1396650 w 1609516"/>
              <a:gd name="csY312" fmla="*/ 540357 h 1538630"/>
              <a:gd name="csX313" fmla="*/ 1393495 w 1609516"/>
              <a:gd name="csY313" fmla="*/ 541502 h 1538630"/>
              <a:gd name="csX314" fmla="*/ 1362284 w 1609516"/>
              <a:gd name="csY314" fmla="*/ 558678 h 1538630"/>
              <a:gd name="csX315" fmla="*/ 1355937 w 1609516"/>
              <a:gd name="csY315" fmla="*/ 562905 h 1538630"/>
              <a:gd name="csX316" fmla="*/ 1334165 w 1609516"/>
              <a:gd name="csY316" fmla="*/ 578406 h 1538630"/>
              <a:gd name="csX317" fmla="*/ 1331200 w 1609516"/>
              <a:gd name="csY317" fmla="*/ 580559 h 1538630"/>
              <a:gd name="csX318" fmla="*/ 1322175 w 1609516"/>
              <a:gd name="csY318" fmla="*/ 596793 h 1538630"/>
              <a:gd name="csX319" fmla="*/ 1320106 w 1609516"/>
              <a:gd name="csY319" fmla="*/ 602363 h 1538630"/>
              <a:gd name="csX320" fmla="*/ 1328015 w 1609516"/>
              <a:gd name="csY320" fmla="*/ 647640 h 1538630"/>
              <a:gd name="csX321" fmla="*/ 1332604 w 1609516"/>
              <a:gd name="csY321" fmla="*/ 675643 h 1538630"/>
              <a:gd name="csX322" fmla="*/ 1335727 w 1609516"/>
              <a:gd name="csY322" fmla="*/ 675643 h 1538630"/>
              <a:gd name="csX323" fmla="*/ 1337741 w 1609516"/>
              <a:gd name="csY323" fmla="*/ 690059 h 1538630"/>
              <a:gd name="csX324" fmla="*/ 1338003 w 1609516"/>
              <a:gd name="csY324" fmla="*/ 696222 h 1538630"/>
              <a:gd name="csX325" fmla="*/ 1338340 w 1609516"/>
              <a:gd name="csY325" fmla="*/ 705887 h 1538630"/>
              <a:gd name="csX326" fmla="*/ 1345277 w 1609516"/>
              <a:gd name="csY326" fmla="*/ 733245 h 1538630"/>
              <a:gd name="csX327" fmla="*/ 1363162 w 1609516"/>
              <a:gd name="csY327" fmla="*/ 741612 h 1538630"/>
              <a:gd name="csX328" fmla="*/ 1384154 w 1609516"/>
              <a:gd name="csY328" fmla="*/ 748922 h 1538630"/>
              <a:gd name="csX329" fmla="*/ 1391476 w 1609516"/>
              <a:gd name="csY329" fmla="*/ 750419 h 1538630"/>
              <a:gd name="csX330" fmla="*/ 1395564 w 1609516"/>
              <a:gd name="csY330" fmla="*/ 751080 h 1538630"/>
              <a:gd name="csX331" fmla="*/ 1399775 w 1609516"/>
              <a:gd name="csY331" fmla="*/ 751740 h 1538630"/>
              <a:gd name="csX332" fmla="*/ 1403887 w 1609516"/>
              <a:gd name="csY332" fmla="*/ 752489 h 1538630"/>
              <a:gd name="csX333" fmla="*/ 1465383 w 1609516"/>
              <a:gd name="csY333" fmla="*/ 755969 h 1538630"/>
              <a:gd name="csX334" fmla="*/ 1470339 w 1609516"/>
              <a:gd name="csY334" fmla="*/ 755897 h 1538630"/>
              <a:gd name="csX335" fmla="*/ 1496809 w 1609516"/>
              <a:gd name="csY335" fmla="*/ 749313 h 1538630"/>
              <a:gd name="csX336" fmla="*/ 1515371 w 1609516"/>
              <a:gd name="csY336" fmla="*/ 743285 h 1538630"/>
              <a:gd name="csX337" fmla="*/ 1515371 w 1609516"/>
              <a:gd name="csY337" fmla="*/ 740467 h 1538630"/>
              <a:gd name="csX338" fmla="*/ 1537632 w 1609516"/>
              <a:gd name="csY338" fmla="*/ 737120 h 1538630"/>
              <a:gd name="csX339" fmla="*/ 1541657 w 1609516"/>
              <a:gd name="csY339" fmla="*/ 737127 h 1538630"/>
              <a:gd name="csX340" fmla="*/ 1574732 w 1609516"/>
              <a:gd name="csY340" fmla="*/ 748922 h 1538630"/>
              <a:gd name="csX341" fmla="*/ 1588791 w 1609516"/>
              <a:gd name="csY341" fmla="*/ 792608 h 1538630"/>
              <a:gd name="csX342" fmla="*/ 1584105 w 1609516"/>
              <a:gd name="csY342" fmla="*/ 805291 h 1538630"/>
              <a:gd name="csX343" fmla="*/ 1580981 w 1609516"/>
              <a:gd name="csY343" fmla="*/ 806700 h 1538630"/>
              <a:gd name="csX344" fmla="*/ 1578735 w 1609516"/>
              <a:gd name="csY344" fmla="*/ 810311 h 1538630"/>
              <a:gd name="csX345" fmla="*/ 1576295 w 1609516"/>
              <a:gd name="csY345" fmla="*/ 813746 h 1538630"/>
              <a:gd name="csX346" fmla="*/ 1571652 w 1609516"/>
              <a:gd name="csY346" fmla="*/ 813746 h 1538630"/>
              <a:gd name="csX347" fmla="*/ 1571785 w 1609516"/>
              <a:gd name="csY347" fmla="*/ 814106 h 1538630"/>
              <a:gd name="csX348" fmla="*/ 1574909 w 1609516"/>
              <a:gd name="csY348" fmla="*/ 815515 h 1538630"/>
              <a:gd name="csX349" fmla="*/ 1565463 w 1609516"/>
              <a:gd name="csY349" fmla="*/ 821839 h 1538630"/>
              <a:gd name="csX350" fmla="*/ 1562085 w 1609516"/>
              <a:gd name="csY350" fmla="*/ 822101 h 1538630"/>
              <a:gd name="csX351" fmla="*/ 1551301 w 1609516"/>
              <a:gd name="csY351" fmla="*/ 825020 h 1538630"/>
              <a:gd name="csX352" fmla="*/ 1551301 w 1609516"/>
              <a:gd name="csY352" fmla="*/ 827838 h 1538630"/>
              <a:gd name="csX353" fmla="*/ 1485380 w 1609516"/>
              <a:gd name="csY353" fmla="*/ 815007 h 1538630"/>
              <a:gd name="csX354" fmla="*/ 1431603 w 1609516"/>
              <a:gd name="csY354" fmla="*/ 808726 h 1538630"/>
              <a:gd name="csX355" fmla="*/ 1424140 w 1609516"/>
              <a:gd name="csY355" fmla="*/ 808542 h 1538630"/>
              <a:gd name="csX356" fmla="*/ 1406023 w 1609516"/>
              <a:gd name="csY356" fmla="*/ 808109 h 1538630"/>
              <a:gd name="csX357" fmla="*/ 1406023 w 1609516"/>
              <a:gd name="csY357" fmla="*/ 810928 h 1538630"/>
              <a:gd name="csX358" fmla="*/ 1403383 w 1609516"/>
              <a:gd name="csY358" fmla="*/ 811311 h 1538630"/>
              <a:gd name="csX359" fmla="*/ 1345442 w 1609516"/>
              <a:gd name="csY359" fmla="*/ 828907 h 1538630"/>
              <a:gd name="csX360" fmla="*/ 1337875 w 1609516"/>
              <a:gd name="csY360" fmla="*/ 856639 h 1538630"/>
              <a:gd name="csX361" fmla="*/ 1337692 w 1609516"/>
              <a:gd name="csY361" fmla="*/ 860171 h 1538630"/>
              <a:gd name="csX362" fmla="*/ 1337290 w 1609516"/>
              <a:gd name="csY362" fmla="*/ 868706 h 1538630"/>
              <a:gd name="csX363" fmla="*/ 1334165 w 1609516"/>
              <a:gd name="csY363" fmla="*/ 868706 h 1538630"/>
              <a:gd name="csX364" fmla="*/ 1334165 w 1609516"/>
              <a:gd name="csY364" fmla="*/ 870034 h 1538630"/>
              <a:gd name="csX365" fmla="*/ 1334237 w 1609516"/>
              <a:gd name="csY365" fmla="*/ 869093 h 1538630"/>
              <a:gd name="csX366" fmla="*/ 1335800 w 1609516"/>
              <a:gd name="csY366" fmla="*/ 869093 h 1538630"/>
              <a:gd name="csX367" fmla="*/ 1335995 w 1609516"/>
              <a:gd name="csY367" fmla="*/ 876491 h 1538630"/>
              <a:gd name="csX368" fmla="*/ 1336105 w 1609516"/>
              <a:gd name="csY368" fmla="*/ 880653 h 1538630"/>
              <a:gd name="csX369" fmla="*/ 1334294 w 1609516"/>
              <a:gd name="csY369" fmla="*/ 887271 h 1538630"/>
              <a:gd name="csX370" fmla="*/ 1331455 w 1609516"/>
              <a:gd name="csY370" fmla="*/ 896440 h 1538630"/>
              <a:gd name="csX371" fmla="*/ 1330887 w 1609516"/>
              <a:gd name="csY371" fmla="*/ 899969 h 1538630"/>
              <a:gd name="csX372" fmla="*/ 1330332 w 1609516"/>
              <a:gd name="csY372" fmla="*/ 903618 h 1538630"/>
              <a:gd name="csX373" fmla="*/ 1329209 w 1609516"/>
              <a:gd name="csY373" fmla="*/ 910797 h 1538630"/>
              <a:gd name="csX374" fmla="*/ 1328724 w 1609516"/>
              <a:gd name="csY374" fmla="*/ 913998 h 1538630"/>
              <a:gd name="csX375" fmla="*/ 1324865 w 1609516"/>
              <a:gd name="csY375" fmla="*/ 922643 h 1538630"/>
              <a:gd name="csX376" fmla="*/ 1322619 w 1609516"/>
              <a:gd name="csY376" fmla="*/ 937979 h 1538630"/>
              <a:gd name="csX377" fmla="*/ 1318744 w 1609516"/>
              <a:gd name="csY377" fmla="*/ 944961 h 1538630"/>
              <a:gd name="csX378" fmla="*/ 1318544 w 1609516"/>
              <a:gd name="csY378" fmla="*/ 946213 h 1538630"/>
              <a:gd name="csX379" fmla="*/ 1318251 w 1609516"/>
              <a:gd name="csY379" fmla="*/ 955285 h 1538630"/>
              <a:gd name="csX380" fmla="*/ 1318184 w 1609516"/>
              <a:gd name="csY380" fmla="*/ 960036 h 1538630"/>
              <a:gd name="csX381" fmla="*/ 1324024 w 1609516"/>
              <a:gd name="csY381" fmla="*/ 973660 h 1538630"/>
              <a:gd name="csX382" fmla="*/ 1329284 w 1609516"/>
              <a:gd name="csY382" fmla="*/ 983382 h 1538630"/>
              <a:gd name="csX383" fmla="*/ 1340414 w 1609516"/>
              <a:gd name="csY383" fmla="*/ 998354 h 1538630"/>
              <a:gd name="csX384" fmla="*/ 1346272 w 1609516"/>
              <a:gd name="csY384" fmla="*/ 1005048 h 1538630"/>
              <a:gd name="csX385" fmla="*/ 1394716 w 1609516"/>
              <a:gd name="csY385" fmla="*/ 1042740 h 1538630"/>
              <a:gd name="csX386" fmla="*/ 1401953 w 1609516"/>
              <a:gd name="csY386" fmla="*/ 1047374 h 1538630"/>
              <a:gd name="csX387" fmla="*/ 1427197 w 1609516"/>
              <a:gd name="csY387" fmla="*/ 1059061 h 1538630"/>
              <a:gd name="csX388" fmla="*/ 1437265 w 1609516"/>
              <a:gd name="csY388" fmla="*/ 1064588 h 1538630"/>
              <a:gd name="csX389" fmla="*/ 1437265 w 1609516"/>
              <a:gd name="csY389" fmla="*/ 1067406 h 1538630"/>
              <a:gd name="csX390" fmla="*/ 1440878 w 1609516"/>
              <a:gd name="csY390" fmla="*/ 1067847 h 1538630"/>
              <a:gd name="csX391" fmla="*/ 1447175 w 1609516"/>
              <a:gd name="csY391" fmla="*/ 1070753 h 1538630"/>
              <a:gd name="csX392" fmla="*/ 1457866 w 1609516"/>
              <a:gd name="csY392" fmla="*/ 1076830 h 1538630"/>
              <a:gd name="csX393" fmla="*/ 1462132 w 1609516"/>
              <a:gd name="csY393" fmla="*/ 1078696 h 1538630"/>
              <a:gd name="csX394" fmla="*/ 1465383 w 1609516"/>
              <a:gd name="csY394" fmla="*/ 1080089 h 1538630"/>
              <a:gd name="csX395" fmla="*/ 1465383 w 1609516"/>
              <a:gd name="csY395" fmla="*/ 1082908 h 1538630"/>
              <a:gd name="csX396" fmla="*/ 1468758 w 1609516"/>
              <a:gd name="csY396" fmla="*/ 1083975 h 1538630"/>
              <a:gd name="csX397" fmla="*/ 1481688 w 1609516"/>
              <a:gd name="csY397" fmla="*/ 1091187 h 1538630"/>
              <a:gd name="csX398" fmla="*/ 1486283 w 1609516"/>
              <a:gd name="csY398" fmla="*/ 1094236 h 1538630"/>
              <a:gd name="csX399" fmla="*/ 1494869 w 1609516"/>
              <a:gd name="csY399" fmla="*/ 1100171 h 1538630"/>
              <a:gd name="csX400" fmla="*/ 1544335 w 1609516"/>
              <a:gd name="csY400" fmla="*/ 1109518 h 1538630"/>
              <a:gd name="csX401" fmla="*/ 1593477 w 1609516"/>
              <a:gd name="csY401" fmla="*/ 1119900 h 1538630"/>
              <a:gd name="csX402" fmla="*/ 1605975 w 1609516"/>
              <a:gd name="csY402" fmla="*/ 1144913 h 1538630"/>
              <a:gd name="csX403" fmla="*/ 1609099 w 1609516"/>
              <a:gd name="csY403" fmla="*/ 1144913 h 1538630"/>
              <a:gd name="csX404" fmla="*/ 1609392 w 1609516"/>
              <a:gd name="csY404" fmla="*/ 1156892 h 1538630"/>
              <a:gd name="csX405" fmla="*/ 1609511 w 1609516"/>
              <a:gd name="csY405" fmla="*/ 1160272 h 1538630"/>
              <a:gd name="csX406" fmla="*/ 1604412 w 1609516"/>
              <a:gd name="csY406" fmla="*/ 1181553 h 1538630"/>
              <a:gd name="csX407" fmla="*/ 1601288 w 1609516"/>
              <a:gd name="csY407" fmla="*/ 1190009 h 1538630"/>
              <a:gd name="csX408" fmla="*/ 1598164 w 1609516"/>
              <a:gd name="csY408" fmla="*/ 1190009 h 1538630"/>
              <a:gd name="csX409" fmla="*/ 1597187 w 1609516"/>
              <a:gd name="csY409" fmla="*/ 1192739 h 1538630"/>
              <a:gd name="csX410" fmla="*/ 1595040 w 1609516"/>
              <a:gd name="csY410" fmla="*/ 1195645 h 1538630"/>
              <a:gd name="csX411" fmla="*/ 1585667 w 1609516"/>
              <a:gd name="csY411" fmla="*/ 1197055 h 1538630"/>
              <a:gd name="csX412" fmla="*/ 1582543 w 1609516"/>
              <a:gd name="csY412" fmla="*/ 1202691 h 1538630"/>
              <a:gd name="csX413" fmla="*/ 1562431 w 1609516"/>
              <a:gd name="csY413" fmla="*/ 1204365 h 1538630"/>
              <a:gd name="csX414" fmla="*/ 1558690 w 1609516"/>
              <a:gd name="csY414" fmla="*/ 1204417 h 1538630"/>
              <a:gd name="csX415" fmla="*/ 1521102 w 1609516"/>
              <a:gd name="csY415" fmla="*/ 1189585 h 1538630"/>
              <a:gd name="csX416" fmla="*/ 1505022 w 1609516"/>
              <a:gd name="csY416" fmla="*/ 1172041 h 1538630"/>
              <a:gd name="csX417" fmla="*/ 1457573 w 1609516"/>
              <a:gd name="csY417" fmla="*/ 1140686 h 1538630"/>
              <a:gd name="csX418" fmla="*/ 1457573 w 1609516"/>
              <a:gd name="csY418" fmla="*/ 1137867 h 1538630"/>
              <a:gd name="csX419" fmla="*/ 1452985 w 1609516"/>
              <a:gd name="csY419" fmla="*/ 1137339 h 1538630"/>
              <a:gd name="csX420" fmla="*/ 1448200 w 1609516"/>
              <a:gd name="csY420" fmla="*/ 1136458 h 1538630"/>
              <a:gd name="csX421" fmla="*/ 1446638 w 1609516"/>
              <a:gd name="csY421" fmla="*/ 1133640 h 1538630"/>
              <a:gd name="csX422" fmla="*/ 1438937 w 1609516"/>
              <a:gd name="csY422" fmla="*/ 1130601 h 1538630"/>
              <a:gd name="csX423" fmla="*/ 1429260 w 1609516"/>
              <a:gd name="csY423" fmla="*/ 1126770 h 1538630"/>
              <a:gd name="csX424" fmla="*/ 1411393 w 1609516"/>
              <a:gd name="csY424" fmla="*/ 1120340 h 1538630"/>
              <a:gd name="csX425" fmla="*/ 1391427 w 1609516"/>
              <a:gd name="csY425" fmla="*/ 1111191 h 1538630"/>
              <a:gd name="csX426" fmla="*/ 1381029 w 1609516"/>
              <a:gd name="csY426" fmla="*/ 1106865 h 1538630"/>
              <a:gd name="csX427" fmla="*/ 1381029 w 1609516"/>
              <a:gd name="csY427" fmla="*/ 1104046 h 1538630"/>
              <a:gd name="csX428" fmla="*/ 1377221 w 1609516"/>
              <a:gd name="csY428" fmla="*/ 1103605 h 1538630"/>
              <a:gd name="csX429" fmla="*/ 1357597 w 1609516"/>
              <a:gd name="csY429" fmla="*/ 1098409 h 1538630"/>
              <a:gd name="csX430" fmla="*/ 1352032 w 1609516"/>
              <a:gd name="csY430" fmla="*/ 1096736 h 1538630"/>
              <a:gd name="csX431" fmla="*/ 1348225 w 1609516"/>
              <a:gd name="csY431" fmla="*/ 1095590 h 1538630"/>
              <a:gd name="csX432" fmla="*/ 1348225 w 1609516"/>
              <a:gd name="csY432" fmla="*/ 1092772 h 1538630"/>
              <a:gd name="csX433" fmla="*/ 1337290 w 1609516"/>
              <a:gd name="csY433" fmla="*/ 1091363 h 1538630"/>
              <a:gd name="csX434" fmla="*/ 1337290 w 1609516"/>
              <a:gd name="csY434" fmla="*/ 1088544 h 1538630"/>
              <a:gd name="csX435" fmla="*/ 1331529 w 1609516"/>
              <a:gd name="csY435" fmla="*/ 1088104 h 1538630"/>
              <a:gd name="csX436" fmla="*/ 1323297 w 1609516"/>
              <a:gd name="csY436" fmla="*/ 1086611 h 1538630"/>
              <a:gd name="csX437" fmla="*/ 1323297 w 1609516"/>
              <a:gd name="csY437" fmla="*/ 1087618 h 1538630"/>
              <a:gd name="csX438" fmla="*/ 1319789 w 1609516"/>
              <a:gd name="csY438" fmla="*/ 1087310 h 1538630"/>
              <a:gd name="csX439" fmla="*/ 1262375 w 1609516"/>
              <a:gd name="csY439" fmla="*/ 1089028 h 1538630"/>
              <a:gd name="csX440" fmla="*/ 1258728 w 1609516"/>
              <a:gd name="csY440" fmla="*/ 1088205 h 1538630"/>
              <a:gd name="csX441" fmla="*/ 1246964 w 1609516"/>
              <a:gd name="csY441" fmla="*/ 1091489 h 1538630"/>
              <a:gd name="csX442" fmla="*/ 1223224 w 1609516"/>
              <a:gd name="csY442" fmla="*/ 1112865 h 1538630"/>
              <a:gd name="csX443" fmla="*/ 1213883 w 1609516"/>
              <a:gd name="csY443" fmla="*/ 1122366 h 1538630"/>
              <a:gd name="csX444" fmla="*/ 1212505 w 1609516"/>
              <a:gd name="csY444" fmla="*/ 1125708 h 1538630"/>
              <a:gd name="csX445" fmla="*/ 1204180 w 1609516"/>
              <a:gd name="csY445" fmla="*/ 1135561 h 1538630"/>
              <a:gd name="csX446" fmla="*/ 1200238 w 1609516"/>
              <a:gd name="csY446" fmla="*/ 1138999 h 1538630"/>
              <a:gd name="csX447" fmla="*/ 1192025 w 1609516"/>
              <a:gd name="csY447" fmla="*/ 1146022 h 1538630"/>
              <a:gd name="csX448" fmla="*/ 1173945 w 1609516"/>
              <a:gd name="csY448" fmla="*/ 1174749 h 1538630"/>
              <a:gd name="csX449" fmla="*/ 1173950 w 1609516"/>
              <a:gd name="csY449" fmla="*/ 1182610 h 1538630"/>
              <a:gd name="csX450" fmla="*/ 1173989 w 1609516"/>
              <a:gd name="csY450" fmla="*/ 1186765 h 1538630"/>
              <a:gd name="csX451" fmla="*/ 1182640 w 1609516"/>
              <a:gd name="csY451" fmla="*/ 1215374 h 1538630"/>
              <a:gd name="csX452" fmla="*/ 1185764 w 1609516"/>
              <a:gd name="csY452" fmla="*/ 1221804 h 1538630"/>
              <a:gd name="csX453" fmla="*/ 1187301 w 1609516"/>
              <a:gd name="csY453" fmla="*/ 1224859 h 1538630"/>
              <a:gd name="csX454" fmla="*/ 1190573 w 1609516"/>
              <a:gd name="csY454" fmla="*/ 1231740 h 1538630"/>
              <a:gd name="csX455" fmla="*/ 1205925 w 1609516"/>
              <a:gd name="csY455" fmla="*/ 1255163 h 1538630"/>
              <a:gd name="csX456" fmla="*/ 1212174 w 1609516"/>
              <a:gd name="csY456" fmla="*/ 1263134 h 1538630"/>
              <a:gd name="csX457" fmla="*/ 1235556 w 1609516"/>
              <a:gd name="csY457" fmla="*/ 1282538 h 1538630"/>
              <a:gd name="csX458" fmla="*/ 1238876 w 1609516"/>
              <a:gd name="csY458" fmla="*/ 1284426 h 1538630"/>
              <a:gd name="csX459" fmla="*/ 1238876 w 1609516"/>
              <a:gd name="csY459" fmla="*/ 1287245 h 1538630"/>
              <a:gd name="csX460" fmla="*/ 1242245 w 1609516"/>
              <a:gd name="csY460" fmla="*/ 1287663 h 1538630"/>
              <a:gd name="csX461" fmla="*/ 1271681 w 1609516"/>
              <a:gd name="csY461" fmla="*/ 1305565 h 1538630"/>
              <a:gd name="csX462" fmla="*/ 1271742 w 1609516"/>
              <a:gd name="csY462" fmla="*/ 1306172 h 1538630"/>
              <a:gd name="csX463" fmla="*/ 1278525 w 1609516"/>
              <a:gd name="csY463" fmla="*/ 1315767 h 1538630"/>
              <a:gd name="csX464" fmla="*/ 1281097 w 1609516"/>
              <a:gd name="csY464" fmla="*/ 1327286 h 1538630"/>
              <a:gd name="csX465" fmla="*/ 1277973 w 1609516"/>
              <a:gd name="csY465" fmla="*/ 1355470 h 1538630"/>
              <a:gd name="csX466" fmla="*/ 1277460 w 1609516"/>
              <a:gd name="csY466" fmla="*/ 1347025 h 1538630"/>
              <a:gd name="csX467" fmla="*/ 1273531 w 1609516"/>
              <a:gd name="csY467" fmla="*/ 1357991 h 1538630"/>
              <a:gd name="csX468" fmla="*/ 1263870 w 1609516"/>
              <a:gd name="csY468" fmla="*/ 1368980 h 1538630"/>
              <a:gd name="csX469" fmla="*/ 1246686 w 1609516"/>
              <a:gd name="csY469" fmla="*/ 1376026 h 1538630"/>
              <a:gd name="csX470" fmla="*/ 1246686 w 1609516"/>
              <a:gd name="csY470" fmla="*/ 1378844 h 1538630"/>
              <a:gd name="csX471" fmla="*/ 1231651 w 1609516"/>
              <a:gd name="csY471" fmla="*/ 1379196 h 1538630"/>
              <a:gd name="csX472" fmla="*/ 1227373 w 1609516"/>
              <a:gd name="csY472" fmla="*/ 1379340 h 1538630"/>
              <a:gd name="csX473" fmla="*/ 1206071 w 1609516"/>
              <a:gd name="csY473" fmla="*/ 1373207 h 1538630"/>
              <a:gd name="csX474" fmla="*/ 1202069 w 1609516"/>
              <a:gd name="csY474" fmla="*/ 1371798 h 1538630"/>
              <a:gd name="csX475" fmla="*/ 1184104 w 1609516"/>
              <a:gd name="csY475" fmla="*/ 1356176 h 1538630"/>
              <a:gd name="csX476" fmla="*/ 1177270 w 1609516"/>
              <a:gd name="csY476" fmla="*/ 1335247 h 1538630"/>
              <a:gd name="csX477" fmla="*/ 1169002 w 1609516"/>
              <a:gd name="csY477" fmla="*/ 1313464 h 1538630"/>
              <a:gd name="csX478" fmla="*/ 1163504 w 1609516"/>
              <a:gd name="csY478" fmla="*/ 1302130 h 1538630"/>
              <a:gd name="csX479" fmla="*/ 1162015 w 1609516"/>
              <a:gd name="csY479" fmla="*/ 1298788 h 1538630"/>
              <a:gd name="csX480" fmla="*/ 1160111 w 1609516"/>
              <a:gd name="csY480" fmla="*/ 1292656 h 1538630"/>
              <a:gd name="csX481" fmla="*/ 1154522 w 1609516"/>
              <a:gd name="csY481" fmla="*/ 1287245 h 1538630"/>
              <a:gd name="csX482" fmla="*/ 1151398 w 1609516"/>
              <a:gd name="csY482" fmla="*/ 1280199 h 1538630"/>
              <a:gd name="csX483" fmla="*/ 1144173 w 1609516"/>
              <a:gd name="csY483" fmla="*/ 1270774 h 1538630"/>
              <a:gd name="csX484" fmla="*/ 1142065 w 1609516"/>
              <a:gd name="csY484" fmla="*/ 1268160 h 1538630"/>
              <a:gd name="csX485" fmla="*/ 1135776 w 1609516"/>
              <a:gd name="csY485" fmla="*/ 1260470 h 1538630"/>
              <a:gd name="csX486" fmla="*/ 1132353 w 1609516"/>
              <a:gd name="csY486" fmla="*/ 1256247 h 1538630"/>
              <a:gd name="csX487" fmla="*/ 1112344 w 1609516"/>
              <a:gd name="csY487" fmla="*/ 1240741 h 1538630"/>
              <a:gd name="csX488" fmla="*/ 1106193 w 1609516"/>
              <a:gd name="csY488" fmla="*/ 1237570 h 1538630"/>
              <a:gd name="csX489" fmla="*/ 1101409 w 1609516"/>
              <a:gd name="csY489" fmla="*/ 1235104 h 1538630"/>
              <a:gd name="csX490" fmla="*/ 1101409 w 1609516"/>
              <a:gd name="csY490" fmla="*/ 1230876 h 1538630"/>
              <a:gd name="csX491" fmla="*/ 1065480 w 1609516"/>
              <a:gd name="csY491" fmla="*/ 1230876 h 1538630"/>
              <a:gd name="csX492" fmla="*/ 1063919 w 1609516"/>
              <a:gd name="csY492" fmla="*/ 1235104 h 1538630"/>
              <a:gd name="csX493" fmla="*/ 1059232 w 1609516"/>
              <a:gd name="csY493" fmla="*/ 1235104 h 1538630"/>
              <a:gd name="csX494" fmla="*/ 1059232 w 1609516"/>
              <a:gd name="csY494" fmla="*/ 1237922 h 1538630"/>
              <a:gd name="csX495" fmla="*/ 1040194 w 1609516"/>
              <a:gd name="csY495" fmla="*/ 1245761 h 1538630"/>
              <a:gd name="csX496" fmla="*/ 1030333 w 1609516"/>
              <a:gd name="csY496" fmla="*/ 1249901 h 1538630"/>
              <a:gd name="csX497" fmla="*/ 1013931 w 1609516"/>
              <a:gd name="csY497" fmla="*/ 1256242 h 1538630"/>
              <a:gd name="csX498" fmla="*/ 1005925 w 1609516"/>
              <a:gd name="csY498" fmla="*/ 1261615 h 1538630"/>
              <a:gd name="csX499" fmla="*/ 1004558 w 1609516"/>
              <a:gd name="csY499" fmla="*/ 1264697 h 1538630"/>
              <a:gd name="csX500" fmla="*/ 1002959 w 1609516"/>
              <a:gd name="csY500" fmla="*/ 1267961 h 1538630"/>
              <a:gd name="csX501" fmla="*/ 1000653 w 1609516"/>
              <a:gd name="csY501" fmla="*/ 1278965 h 1538630"/>
              <a:gd name="csX502" fmla="*/ 998297 w 1609516"/>
              <a:gd name="csY502" fmla="*/ 1294137 h 1538630"/>
              <a:gd name="csX503" fmla="*/ 996162 w 1609516"/>
              <a:gd name="csY503" fmla="*/ 1324765 h 1538630"/>
              <a:gd name="csX504" fmla="*/ 996164 w 1609516"/>
              <a:gd name="csY504" fmla="*/ 1327846 h 1538630"/>
              <a:gd name="csX505" fmla="*/ 1007780 w 1609516"/>
              <a:gd name="csY505" fmla="*/ 1403329 h 1538630"/>
              <a:gd name="csX506" fmla="*/ 1008940 w 1609516"/>
              <a:gd name="csY506" fmla="*/ 1407701 h 1538630"/>
              <a:gd name="csX507" fmla="*/ 1010080 w 1609516"/>
              <a:gd name="csY507" fmla="*/ 1411730 h 1538630"/>
              <a:gd name="csX508" fmla="*/ 1011075 w 1609516"/>
              <a:gd name="csY508" fmla="*/ 1415277 h 1538630"/>
              <a:gd name="csX509" fmla="*/ 1017055 w 1609516"/>
              <a:gd name="csY509" fmla="*/ 1422530 h 1538630"/>
              <a:gd name="csX510" fmla="*/ 1020277 w 1609516"/>
              <a:gd name="csY510" fmla="*/ 1427991 h 1538630"/>
              <a:gd name="csX511" fmla="*/ 1021796 w 1609516"/>
              <a:gd name="csY511" fmla="*/ 1430798 h 1538630"/>
              <a:gd name="csX512" fmla="*/ 1024579 w 1609516"/>
              <a:gd name="csY512" fmla="*/ 1437239 h 1538630"/>
              <a:gd name="csX513" fmla="*/ 1034043 w 1609516"/>
              <a:gd name="csY513" fmla="*/ 1448072 h 1538630"/>
              <a:gd name="csX514" fmla="*/ 1043782 w 1609516"/>
              <a:gd name="csY514" fmla="*/ 1464320 h 1538630"/>
              <a:gd name="csX515" fmla="*/ 1050458 w 1609516"/>
              <a:gd name="csY515" fmla="*/ 1472189 h 1538630"/>
              <a:gd name="csX516" fmla="*/ 1052926 w 1609516"/>
              <a:gd name="csY516" fmla="*/ 1482370 h 1538630"/>
              <a:gd name="csX517" fmla="*/ 1053316 w 1609516"/>
              <a:gd name="csY517" fmla="*/ 1496903 h 1538630"/>
              <a:gd name="csX518" fmla="*/ 1053352 w 1609516"/>
              <a:gd name="csY518" fmla="*/ 1500660 h 1538630"/>
              <a:gd name="csX519" fmla="*/ 1053341 w 1609516"/>
              <a:gd name="csY519" fmla="*/ 1504285 h 1538630"/>
              <a:gd name="csX520" fmla="*/ 1053329 w 1609516"/>
              <a:gd name="csY520" fmla="*/ 1507529 h 1538630"/>
              <a:gd name="csX521" fmla="*/ 1049801 w 1609516"/>
              <a:gd name="csY521" fmla="*/ 1516192 h 1538630"/>
              <a:gd name="csX522" fmla="*/ 1047312 w 1609516"/>
              <a:gd name="csY522" fmla="*/ 1516192 h 1538630"/>
              <a:gd name="csX523" fmla="*/ 1043611 w 1609516"/>
              <a:gd name="csY523" fmla="*/ 1522585 h 1538630"/>
              <a:gd name="csX524" fmla="*/ 1029552 w 1609516"/>
              <a:gd name="csY524" fmla="*/ 1529631 h 1538630"/>
              <a:gd name="csX525" fmla="*/ 1028771 w 1609516"/>
              <a:gd name="csY525" fmla="*/ 1532273 h 1538630"/>
              <a:gd name="csX526" fmla="*/ 1018013 w 1609516"/>
              <a:gd name="csY526" fmla="*/ 1537640 h 1538630"/>
              <a:gd name="csX527" fmla="*/ 981126 w 1609516"/>
              <a:gd name="csY527" fmla="*/ 1533859 h 1538630"/>
              <a:gd name="csX528" fmla="*/ 977227 w 1609516"/>
              <a:gd name="csY528" fmla="*/ 1531943 h 1538630"/>
              <a:gd name="csX529" fmla="*/ 955376 w 1609516"/>
              <a:gd name="csY529" fmla="*/ 1508751 h 1538630"/>
              <a:gd name="csX530" fmla="*/ 954571 w 1609516"/>
              <a:gd name="csY530" fmla="*/ 1500037 h 1538630"/>
              <a:gd name="csX531" fmla="*/ 951446 w 1609516"/>
              <a:gd name="csY531" fmla="*/ 1500037 h 1538630"/>
              <a:gd name="csX532" fmla="*/ 951251 w 1609516"/>
              <a:gd name="csY532" fmla="*/ 1487883 h 1538630"/>
              <a:gd name="csX533" fmla="*/ 951171 w 1609516"/>
              <a:gd name="csY533" fmla="*/ 1484431 h 1538630"/>
              <a:gd name="csX534" fmla="*/ 954571 w 1609516"/>
              <a:gd name="csY534" fmla="*/ 1466216 h 1538630"/>
              <a:gd name="csX535" fmla="*/ 954961 w 1609516"/>
              <a:gd name="csY535" fmla="*/ 1455118 h 1538630"/>
              <a:gd name="csX536" fmla="*/ 954932 w 1609516"/>
              <a:gd name="csY536" fmla="*/ 1451972 h 1538630"/>
              <a:gd name="csX537" fmla="*/ 945099 w 1609516"/>
              <a:gd name="csY537" fmla="*/ 1403594 h 1538630"/>
              <a:gd name="csX538" fmla="*/ 942366 w 1609516"/>
              <a:gd name="csY538" fmla="*/ 1393553 h 1538630"/>
              <a:gd name="csX539" fmla="*/ 934451 w 1609516"/>
              <a:gd name="csY539" fmla="*/ 1372734 h 1538630"/>
              <a:gd name="csX540" fmla="*/ 931974 w 1609516"/>
              <a:gd name="csY540" fmla="*/ 1365754 h 1538630"/>
              <a:gd name="csX541" fmla="*/ 931138 w 1609516"/>
              <a:gd name="csY541" fmla="*/ 1363343 h 1538630"/>
              <a:gd name="csX542" fmla="*/ 926452 w 1609516"/>
              <a:gd name="csY542" fmla="*/ 1361933 h 1538630"/>
              <a:gd name="csX543" fmla="*/ 918641 w 1609516"/>
              <a:gd name="csY543" fmla="*/ 1340795 h 1538630"/>
              <a:gd name="csX544" fmla="*/ 917079 w 1609516"/>
              <a:gd name="csY544" fmla="*/ 1335158 h 1538630"/>
              <a:gd name="csX545" fmla="*/ 913955 w 1609516"/>
              <a:gd name="csY545" fmla="*/ 1335158 h 1538630"/>
              <a:gd name="csX546" fmla="*/ 912057 w 1609516"/>
              <a:gd name="csY546" fmla="*/ 1330793 h 1538630"/>
              <a:gd name="csX547" fmla="*/ 902142 w 1609516"/>
              <a:gd name="csY547" fmla="*/ 1316222 h 1538630"/>
              <a:gd name="csX548" fmla="*/ 900091 w 1609516"/>
              <a:gd name="csY548" fmla="*/ 1313828 h 1538630"/>
              <a:gd name="csX549" fmla="*/ 878026 w 1609516"/>
              <a:gd name="csY549" fmla="*/ 1295700 h 1538630"/>
              <a:gd name="csX550" fmla="*/ 875134 w 1609516"/>
              <a:gd name="csY550" fmla="*/ 1293465 h 1538630"/>
              <a:gd name="csX551" fmla="*/ 869869 w 1609516"/>
              <a:gd name="csY551" fmla="*/ 1291826 h 1538630"/>
              <a:gd name="csX552" fmla="*/ 862384 w 1609516"/>
              <a:gd name="csY552" fmla="*/ 1291327 h 1538630"/>
              <a:gd name="csX553" fmla="*/ 844390 w 1609516"/>
              <a:gd name="csY553" fmla="*/ 1290461 h 1538630"/>
              <a:gd name="csX554" fmla="*/ 840476 w 1609516"/>
              <a:gd name="csY554" fmla="*/ 1290500 h 1538630"/>
              <a:gd name="csX555" fmla="*/ 831015 w 1609516"/>
              <a:gd name="csY555" fmla="*/ 1290637 h 1538630"/>
              <a:gd name="csX556" fmla="*/ 831015 w 1609516"/>
              <a:gd name="csY556" fmla="*/ 1293456 h 1538630"/>
              <a:gd name="csX557" fmla="*/ 818225 w 1609516"/>
              <a:gd name="csY557" fmla="*/ 1295570 h 1538630"/>
              <a:gd name="csX558" fmla="*/ 796774 w 1609516"/>
              <a:gd name="csY558" fmla="*/ 1297671 h 1538630"/>
              <a:gd name="csX559" fmla="*/ 783646 w 1609516"/>
              <a:gd name="csY559" fmla="*/ 1305736 h 1538630"/>
              <a:gd name="csX560" fmla="*/ 769263 w 1609516"/>
              <a:gd name="csY560" fmla="*/ 1327143 h 1538630"/>
              <a:gd name="csX561" fmla="*/ 764797 w 1609516"/>
              <a:gd name="csY561" fmla="*/ 1334360 h 1538630"/>
              <a:gd name="csX562" fmla="*/ 757875 w 1609516"/>
              <a:gd name="csY562" fmla="*/ 1353503 h 1538630"/>
              <a:gd name="csX563" fmla="*/ 755676 w 1609516"/>
              <a:gd name="csY563" fmla="*/ 1367455 h 1538630"/>
              <a:gd name="csX564" fmla="*/ 750558 w 1609516"/>
              <a:gd name="csY564" fmla="*/ 1399690 h 1538630"/>
              <a:gd name="csX565" fmla="*/ 753057 w 1609516"/>
              <a:gd name="csY565" fmla="*/ 1411256 h 1538630"/>
              <a:gd name="csX566" fmla="*/ 753057 w 1609516"/>
              <a:gd name="csY566" fmla="*/ 1416893 h 1538630"/>
              <a:gd name="csX567" fmla="*/ 756181 w 1609516"/>
              <a:gd name="csY567" fmla="*/ 1416893 h 1538630"/>
              <a:gd name="csX568" fmla="*/ 758133 w 1609516"/>
              <a:gd name="csY568" fmla="*/ 1436182 h 1538630"/>
              <a:gd name="csX569" fmla="*/ 758231 w 1609516"/>
              <a:gd name="csY569" fmla="*/ 1440781 h 1538630"/>
              <a:gd name="csX570" fmla="*/ 750713 w 1609516"/>
              <a:gd name="csY570" fmla="*/ 1465704 h 1538630"/>
              <a:gd name="csX571" fmla="*/ 748370 w 1609516"/>
              <a:gd name="csY571" fmla="*/ 1467185 h 1538630"/>
              <a:gd name="csX572" fmla="*/ 741633 w 1609516"/>
              <a:gd name="csY572" fmla="*/ 1473526 h 1538630"/>
              <a:gd name="csX573" fmla="*/ 728154 w 1609516"/>
              <a:gd name="csY573" fmla="*/ 1478343 h 1538630"/>
              <a:gd name="csX574" fmla="*/ 721814 w 1609516"/>
              <a:gd name="csY574" fmla="*/ 1480308 h 1538630"/>
              <a:gd name="csX575" fmla="*/ 708341 w 1609516"/>
              <a:gd name="csY575" fmla="*/ 1480661 h 1538630"/>
              <a:gd name="csX576" fmla="*/ 704637 w 1609516"/>
              <a:gd name="csY576" fmla="*/ 1480748 h 1538630"/>
              <a:gd name="csX577" fmla="*/ 668507 w 1609516"/>
              <a:gd name="csY577" fmla="*/ 1468418 h 1538630"/>
              <a:gd name="csX578" fmla="*/ 660178 w 1609516"/>
              <a:gd name="csY578" fmla="*/ 1450027 h 1538630"/>
              <a:gd name="csX579" fmla="*/ 657767 w 1609516"/>
              <a:gd name="csY579" fmla="*/ 1445078 h 1538630"/>
              <a:gd name="csX580" fmla="*/ 663369 w 1609516"/>
              <a:gd name="csY580" fmla="*/ 1409390 h 1538630"/>
              <a:gd name="csX581" fmla="*/ 671826 w 1609516"/>
              <a:gd name="csY581" fmla="*/ 1401392 h 1538630"/>
              <a:gd name="csX582" fmla="*/ 678075 w 1609516"/>
              <a:gd name="csY582" fmla="*/ 1390118 h 1538630"/>
              <a:gd name="csX583" fmla="*/ 684323 w 1609516"/>
              <a:gd name="csY583" fmla="*/ 1388709 h 1538630"/>
              <a:gd name="csX584" fmla="*/ 685293 w 1609516"/>
              <a:gd name="csY584" fmla="*/ 1384233 h 1538630"/>
              <a:gd name="csX585" fmla="*/ 686569 w 1609516"/>
              <a:gd name="csY585" fmla="*/ 1378404 h 1538630"/>
              <a:gd name="csX586" fmla="*/ 687207 w 1609516"/>
              <a:gd name="csY586" fmla="*/ 1375456 h 1538630"/>
              <a:gd name="csX587" fmla="*/ 690572 w 1609516"/>
              <a:gd name="csY587" fmla="*/ 1363343 h 1538630"/>
              <a:gd name="csX588" fmla="*/ 692495 w 1609516"/>
              <a:gd name="csY588" fmla="*/ 1323376 h 1538630"/>
              <a:gd name="csX589" fmla="*/ 692625 w 1609516"/>
              <a:gd name="csY589" fmla="*/ 1315006 h 1538630"/>
              <a:gd name="csX590" fmla="*/ 687447 w 1609516"/>
              <a:gd name="csY590" fmla="*/ 1287245 h 1538630"/>
              <a:gd name="csX591" fmla="*/ 682761 w 1609516"/>
              <a:gd name="csY591" fmla="*/ 1285835 h 1538630"/>
              <a:gd name="csX592" fmla="*/ 678954 w 1609516"/>
              <a:gd name="csY592" fmla="*/ 1281608 h 1538630"/>
              <a:gd name="csX593" fmla="*/ 668702 w 1609516"/>
              <a:gd name="csY593" fmla="*/ 1275971 h 1538630"/>
              <a:gd name="csX594" fmla="*/ 662454 w 1609516"/>
              <a:gd name="csY594" fmla="*/ 1270334 h 1538630"/>
              <a:gd name="csX595" fmla="*/ 654643 w 1609516"/>
              <a:gd name="csY595" fmla="*/ 1267516 h 1538630"/>
              <a:gd name="csX596" fmla="*/ 654643 w 1609516"/>
              <a:gd name="csY596" fmla="*/ 1264697 h 1538630"/>
              <a:gd name="csX597" fmla="*/ 650152 w 1609516"/>
              <a:gd name="csY597" fmla="*/ 1264345 h 1538630"/>
              <a:gd name="csX598" fmla="*/ 628087 w 1609516"/>
              <a:gd name="csY598" fmla="*/ 1257651 h 1538630"/>
              <a:gd name="csX599" fmla="*/ 628087 w 1609516"/>
              <a:gd name="csY599" fmla="*/ 1254833 h 1538630"/>
              <a:gd name="csX600" fmla="*/ 625121 w 1609516"/>
              <a:gd name="csY600" fmla="*/ 1254315 h 1538630"/>
              <a:gd name="csX601" fmla="*/ 621252 w 1609516"/>
              <a:gd name="csY601" fmla="*/ 1253600 h 1538630"/>
              <a:gd name="csX602" fmla="*/ 617409 w 1609516"/>
              <a:gd name="csY602" fmla="*/ 1252906 h 1538630"/>
              <a:gd name="csX603" fmla="*/ 610904 w 1609516"/>
              <a:gd name="csY603" fmla="*/ 1249196 h 1538630"/>
              <a:gd name="csX604" fmla="*/ 565739 w 1609516"/>
              <a:gd name="csY604" fmla="*/ 1271742 h 1538630"/>
              <a:gd name="csX605" fmla="*/ 546924 w 1609516"/>
              <a:gd name="csY605" fmla="*/ 1290829 h 1538630"/>
              <a:gd name="csX606" fmla="*/ 543635 w 1609516"/>
              <a:gd name="csY606" fmla="*/ 1294643 h 1538630"/>
              <a:gd name="csX607" fmla="*/ 540651 w 1609516"/>
              <a:gd name="csY607" fmla="*/ 1298188 h 1538630"/>
              <a:gd name="csX608" fmla="*/ 529673 w 1609516"/>
              <a:gd name="csY608" fmla="*/ 1305565 h 1538630"/>
              <a:gd name="csX609" fmla="*/ 526549 w 1609516"/>
              <a:gd name="csY609" fmla="*/ 1311202 h 1538630"/>
              <a:gd name="csX610" fmla="*/ 523425 w 1609516"/>
              <a:gd name="csY610" fmla="*/ 1311202 h 1538630"/>
              <a:gd name="csX611" fmla="*/ 523230 w 1609516"/>
              <a:gd name="csY611" fmla="*/ 1313580 h 1538630"/>
              <a:gd name="csX612" fmla="*/ 517732 w 1609516"/>
              <a:gd name="csY612" fmla="*/ 1319739 h 1538630"/>
              <a:gd name="csX613" fmla="*/ 502239 w 1609516"/>
              <a:gd name="csY613" fmla="*/ 1337096 h 1538630"/>
              <a:gd name="csX614" fmla="*/ 497058 w 1609516"/>
              <a:gd name="csY614" fmla="*/ 1344087 h 1538630"/>
              <a:gd name="csX615" fmla="*/ 494572 w 1609516"/>
              <a:gd name="csY615" fmla="*/ 1347465 h 1538630"/>
              <a:gd name="csX616" fmla="*/ 487776 w 1609516"/>
              <a:gd name="csY616" fmla="*/ 1356181 h 1538630"/>
              <a:gd name="csX617" fmla="*/ 481248 w 1609516"/>
              <a:gd name="csY617" fmla="*/ 1367571 h 1538630"/>
              <a:gd name="csX618" fmla="*/ 478123 w 1609516"/>
              <a:gd name="csY618" fmla="*/ 1367571 h 1538630"/>
              <a:gd name="csX619" fmla="*/ 477635 w 1609516"/>
              <a:gd name="csY619" fmla="*/ 1370565 h 1538630"/>
              <a:gd name="csX620" fmla="*/ 465626 w 1609516"/>
              <a:gd name="csY620" fmla="*/ 1388709 h 1538630"/>
              <a:gd name="csX621" fmla="*/ 461233 w 1609516"/>
              <a:gd name="csY621" fmla="*/ 1397340 h 1538630"/>
              <a:gd name="csX622" fmla="*/ 455765 w 1609516"/>
              <a:gd name="csY622" fmla="*/ 1408086 h 1538630"/>
              <a:gd name="csX623" fmla="*/ 439070 w 1609516"/>
              <a:gd name="csY623" fmla="*/ 1477490 h 1538630"/>
              <a:gd name="csX624" fmla="*/ 434384 w 1609516"/>
              <a:gd name="csY624" fmla="*/ 1478899 h 1538630"/>
              <a:gd name="csX625" fmla="*/ 432431 w 1609516"/>
              <a:gd name="csY625" fmla="*/ 1481982 h 1538630"/>
              <a:gd name="csX626" fmla="*/ 418763 w 1609516"/>
              <a:gd name="csY626" fmla="*/ 1494401 h 1538630"/>
              <a:gd name="csX627" fmla="*/ 415639 w 1609516"/>
              <a:gd name="csY627" fmla="*/ 1494401 h 1538630"/>
              <a:gd name="csX628" fmla="*/ 415639 w 1609516"/>
              <a:gd name="csY628" fmla="*/ 1497219 h 1538630"/>
              <a:gd name="csX629" fmla="*/ 406265 w 1609516"/>
              <a:gd name="csY629" fmla="*/ 1498628 h 1538630"/>
              <a:gd name="csX630" fmla="*/ 406265 w 1609516"/>
              <a:gd name="csY630" fmla="*/ 1501447 h 1538630"/>
              <a:gd name="csX631" fmla="*/ 375023 w 1609516"/>
              <a:gd name="csY631" fmla="*/ 1501447 h 1538630"/>
              <a:gd name="csX632" fmla="*/ 375023 w 1609516"/>
              <a:gd name="csY632" fmla="*/ 1499438 h 1538630"/>
              <a:gd name="csX633" fmla="*/ 374964 w 1609516"/>
              <a:gd name="csY633" fmla="*/ 1499436 h 1538630"/>
              <a:gd name="csX634" fmla="*/ 373179 w 1609516"/>
              <a:gd name="csY634" fmla="*/ 1498628 h 1538630"/>
              <a:gd name="csX635" fmla="*/ 365650 w 1609516"/>
              <a:gd name="csY635" fmla="*/ 1498628 h 1538630"/>
              <a:gd name="csX636" fmla="*/ 363134 w 1609516"/>
              <a:gd name="csY636" fmla="*/ 1494087 h 1538630"/>
              <a:gd name="csX637" fmla="*/ 362171 w 1609516"/>
              <a:gd name="csY637" fmla="*/ 1493651 h 1538630"/>
              <a:gd name="csX638" fmla="*/ 360609 w 1609516"/>
              <a:gd name="csY638" fmla="*/ 1490833 h 1538630"/>
              <a:gd name="csX639" fmla="*/ 363733 w 1609516"/>
              <a:gd name="csY639" fmla="*/ 1490833 h 1538630"/>
              <a:gd name="csX640" fmla="*/ 363733 w 1609516"/>
              <a:gd name="csY640" fmla="*/ 1489980 h 1538630"/>
              <a:gd name="csX641" fmla="*/ 348467 w 1609516"/>
              <a:gd name="csY641" fmla="*/ 1481717 h 1538630"/>
              <a:gd name="csX642" fmla="*/ 343872 w 1609516"/>
              <a:gd name="csY642" fmla="*/ 1461078 h 1538630"/>
              <a:gd name="csX643" fmla="*/ 343656 w 1609516"/>
              <a:gd name="csY643" fmla="*/ 1463649 h 1538630"/>
              <a:gd name="csX644" fmla="*/ 343424 w 1609516"/>
              <a:gd name="csY644" fmla="*/ 1466842 h 1538630"/>
              <a:gd name="csX645" fmla="*/ 341861 w 1609516"/>
              <a:gd name="csY645" fmla="*/ 1466842 h 1538630"/>
              <a:gd name="csX646" fmla="*/ 354143 w 1609516"/>
              <a:gd name="csY646" fmla="*/ 1420549 h 1538630"/>
              <a:gd name="csX647" fmla="*/ 376229 w 1609516"/>
              <a:gd name="csY647" fmla="*/ 1403427 h 1538630"/>
              <a:gd name="csX648" fmla="*/ 379491 w 1609516"/>
              <a:gd name="csY648" fmla="*/ 1404408 h 1538630"/>
              <a:gd name="csX649" fmla="*/ 379710 w 1609516"/>
              <a:gd name="csY649" fmla="*/ 1404210 h 1538630"/>
              <a:gd name="csX650" fmla="*/ 380882 w 1609516"/>
              <a:gd name="csY650" fmla="*/ 1401568 h 1538630"/>
              <a:gd name="csX651" fmla="*/ 392207 w 1609516"/>
              <a:gd name="csY651" fmla="*/ 1392936 h 1538630"/>
              <a:gd name="csX652" fmla="*/ 399542 w 1609516"/>
              <a:gd name="csY652" fmla="*/ 1386774 h 1538630"/>
              <a:gd name="csX653" fmla="*/ 405485 w 1609516"/>
              <a:gd name="csY653" fmla="*/ 1378917 h 1538630"/>
              <a:gd name="csX654" fmla="*/ 412008 w 1609516"/>
              <a:gd name="csY654" fmla="*/ 1369481 h 1538630"/>
              <a:gd name="csX655" fmla="*/ 421130 w 1609516"/>
              <a:gd name="csY655" fmla="*/ 1357057 h 1538630"/>
              <a:gd name="csX656" fmla="*/ 424676 w 1609516"/>
              <a:gd name="csY656" fmla="*/ 1348443 h 1538630"/>
              <a:gd name="csX657" fmla="*/ 427275 w 1609516"/>
              <a:gd name="csY657" fmla="*/ 1348443 h 1538630"/>
              <a:gd name="csX658" fmla="*/ 428135 w 1609516"/>
              <a:gd name="csY658" fmla="*/ 1345727 h 1538630"/>
              <a:gd name="csX659" fmla="*/ 432822 w 1609516"/>
              <a:gd name="csY659" fmla="*/ 1335158 h 1538630"/>
              <a:gd name="csX660" fmla="*/ 435946 w 1609516"/>
              <a:gd name="csY660" fmla="*/ 1335158 h 1538630"/>
              <a:gd name="csX661" fmla="*/ 437704 w 1609516"/>
              <a:gd name="csY661" fmla="*/ 1329786 h 1538630"/>
              <a:gd name="csX662" fmla="*/ 447394 w 1609516"/>
              <a:gd name="csY662" fmla="*/ 1311196 h 1538630"/>
              <a:gd name="csX663" fmla="*/ 469287 w 1609516"/>
              <a:gd name="csY663" fmla="*/ 1265964 h 1538630"/>
              <a:gd name="csX664" fmla="*/ 478178 w 1609516"/>
              <a:gd name="csY664" fmla="*/ 1246787 h 1538630"/>
              <a:gd name="csX665" fmla="*/ 480179 w 1609516"/>
              <a:gd name="csY665" fmla="*/ 1225768 h 1538630"/>
              <a:gd name="csX666" fmla="*/ 480250 w 1609516"/>
              <a:gd name="csY666" fmla="*/ 1217149 h 1538630"/>
              <a:gd name="csX667" fmla="*/ 462972 w 1609516"/>
              <a:gd name="csY667" fmla="*/ 1174827 h 1538630"/>
              <a:gd name="csX668" fmla="*/ 457468 w 1609516"/>
              <a:gd name="csY668" fmla="*/ 1169949 h 1538630"/>
              <a:gd name="csX669" fmla="*/ 440657 w 1609516"/>
              <a:gd name="csY669" fmla="*/ 1152570 h 1538630"/>
              <a:gd name="csX670" fmla="*/ 403142 w 1609516"/>
              <a:gd name="csY670" fmla="*/ 1122366 h 1538630"/>
              <a:gd name="csX671" fmla="*/ 401579 w 1609516"/>
              <a:gd name="csY671" fmla="*/ 1119547 h 1538630"/>
              <a:gd name="csX672" fmla="*/ 364564 w 1609516"/>
              <a:gd name="csY672" fmla="*/ 1118209 h 1538630"/>
              <a:gd name="csX673" fmla="*/ 357822 w 1609516"/>
              <a:gd name="csY673" fmla="*/ 1122041 h 1538630"/>
              <a:gd name="csX674" fmla="*/ 348077 w 1609516"/>
              <a:gd name="csY674" fmla="*/ 1125273 h 1538630"/>
              <a:gd name="csX675" fmla="*/ 334408 w 1609516"/>
              <a:gd name="csY675" fmla="*/ 1132230 h 1538630"/>
              <a:gd name="csX676" fmla="*/ 327964 w 1609516"/>
              <a:gd name="csY676" fmla="*/ 1134080 h 1538630"/>
              <a:gd name="csX677" fmla="*/ 279734 w 1609516"/>
              <a:gd name="csY677" fmla="*/ 1166051 h 1538630"/>
              <a:gd name="csX678" fmla="*/ 276609 w 1609516"/>
              <a:gd name="csY678" fmla="*/ 1173098 h 1538630"/>
              <a:gd name="csX679" fmla="*/ 260988 w 1609516"/>
              <a:gd name="csY679" fmla="*/ 1188599 h 1538630"/>
              <a:gd name="csX680" fmla="*/ 257956 w 1609516"/>
              <a:gd name="csY680" fmla="*/ 1191132 h 1538630"/>
              <a:gd name="csX681" fmla="*/ 243805 w 1609516"/>
              <a:gd name="csY681" fmla="*/ 1196629 h 1538630"/>
              <a:gd name="csX682" fmla="*/ 243805 w 1609516"/>
              <a:gd name="csY682" fmla="*/ 1194236 h 1538630"/>
              <a:gd name="csX683" fmla="*/ 240288 w 1609516"/>
              <a:gd name="csY683" fmla="*/ 1194765 h 1538630"/>
              <a:gd name="csX684" fmla="*/ 243374 w 1609516"/>
              <a:gd name="csY684" fmla="*/ 1194765 h 1538630"/>
              <a:gd name="csX685" fmla="*/ 243374 w 1609516"/>
              <a:gd name="csY685" fmla="*/ 1196797 h 1538630"/>
              <a:gd name="csX686" fmla="*/ 243805 w 1609516"/>
              <a:gd name="csY686" fmla="*/ 1196629 h 1538630"/>
              <a:gd name="csX687" fmla="*/ 243805 w 1609516"/>
              <a:gd name="csY687" fmla="*/ 1197055 h 1538630"/>
              <a:gd name="csX688" fmla="*/ 243374 w 1609516"/>
              <a:gd name="csY688" fmla="*/ 1197055 h 1538630"/>
              <a:gd name="csX689" fmla="*/ 243374 w 1609516"/>
              <a:gd name="csY689" fmla="*/ 1197584 h 1538630"/>
              <a:gd name="csX690" fmla="*/ 241319 w 1609516"/>
              <a:gd name="csY690" fmla="*/ 1197595 h 1538630"/>
              <a:gd name="csX691" fmla="*/ 238009 w 1609516"/>
              <a:gd name="csY691" fmla="*/ 1198881 h 1538630"/>
              <a:gd name="csX692" fmla="*/ 215687 w 1609516"/>
              <a:gd name="csY692" fmla="*/ 1198464 h 1538630"/>
              <a:gd name="csX693" fmla="*/ 215687 w 1609516"/>
              <a:gd name="csY693" fmla="*/ 1197734 h 1538630"/>
              <a:gd name="csX694" fmla="*/ 213936 w 1609516"/>
              <a:gd name="csY694" fmla="*/ 1197744 h 1538630"/>
              <a:gd name="csX695" fmla="*/ 207446 w 1609516"/>
              <a:gd name="csY695" fmla="*/ 1196175 h 1538630"/>
              <a:gd name="csX696" fmla="*/ 207822 w 1609516"/>
              <a:gd name="csY696" fmla="*/ 1195610 h 1538630"/>
              <a:gd name="csX697" fmla="*/ 184737 w 1609516"/>
              <a:gd name="csY697" fmla="*/ 1180936 h 1538630"/>
              <a:gd name="csX698" fmla="*/ 179270 w 1609516"/>
              <a:gd name="csY698" fmla="*/ 1154866 h 1538630"/>
              <a:gd name="csX699" fmla="*/ 179194 w 1609516"/>
              <a:gd name="csY699" fmla="*/ 1151621 h 1538630"/>
              <a:gd name="csX700" fmla="*/ 193195 w 1609516"/>
              <a:gd name="csY700" fmla="*/ 1120065 h 1538630"/>
              <a:gd name="csX701" fmla="*/ 229551 w 1609516"/>
              <a:gd name="csY701" fmla="*/ 1110299 h 1538630"/>
              <a:gd name="csX702" fmla="*/ 260988 w 1609516"/>
              <a:gd name="csY702" fmla="*/ 1108274 h 1538630"/>
              <a:gd name="csX703" fmla="*/ 260988 w 1609516"/>
              <a:gd name="csY703" fmla="*/ 1105455 h 1538630"/>
              <a:gd name="csX704" fmla="*/ 263911 w 1609516"/>
              <a:gd name="csY704" fmla="*/ 1104310 h 1538630"/>
              <a:gd name="csX705" fmla="*/ 286995 w 1609516"/>
              <a:gd name="csY705" fmla="*/ 1090185 h 1538630"/>
              <a:gd name="csX706" fmla="*/ 299358 w 1609516"/>
              <a:gd name="csY706" fmla="*/ 1080970 h 1538630"/>
              <a:gd name="csX707" fmla="*/ 317762 w 1609516"/>
              <a:gd name="csY707" fmla="*/ 1063272 h 1538630"/>
              <a:gd name="csX708" fmla="*/ 325035 w 1609516"/>
              <a:gd name="csY708" fmla="*/ 1057542 h 1538630"/>
              <a:gd name="csX709" fmla="*/ 325328 w 1609516"/>
              <a:gd name="csY709" fmla="*/ 1023104 h 1538630"/>
              <a:gd name="csX710" fmla="*/ 324544 w 1609516"/>
              <a:gd name="csY710" fmla="*/ 1019247 h 1538630"/>
              <a:gd name="csX711" fmla="*/ 317225 w 1609516"/>
              <a:gd name="csY711" fmla="*/ 996945 h 1538630"/>
              <a:gd name="csX712" fmla="*/ 315388 w 1609516"/>
              <a:gd name="csY712" fmla="*/ 992690 h 1538630"/>
              <a:gd name="csX713" fmla="*/ 276232 w 1609516"/>
              <a:gd name="csY713" fmla="*/ 950666 h 1538630"/>
              <a:gd name="csX714" fmla="*/ 271923 w 1609516"/>
              <a:gd name="csY714" fmla="*/ 949031 h 1538630"/>
              <a:gd name="csX715" fmla="*/ 268299 w 1609516"/>
              <a:gd name="csY715" fmla="*/ 947441 h 1538630"/>
              <a:gd name="csX716" fmla="*/ 199187 w 1609516"/>
              <a:gd name="csY716" fmla="*/ 938991 h 1538630"/>
              <a:gd name="csX717" fmla="*/ 193719 w 1609516"/>
              <a:gd name="csY717" fmla="*/ 938971 h 1538630"/>
              <a:gd name="csX718" fmla="*/ 188539 w 1609516"/>
              <a:gd name="csY718" fmla="*/ 938980 h 1538630"/>
              <a:gd name="csX719" fmla="*/ 183874 w 1609516"/>
              <a:gd name="csY719" fmla="*/ 938985 h 1538630"/>
              <a:gd name="csX720" fmla="*/ 173509 w 1609516"/>
              <a:gd name="csY720" fmla="*/ 940576 h 1538630"/>
              <a:gd name="csX721" fmla="*/ 161403 w 1609516"/>
              <a:gd name="csY721" fmla="*/ 940664 h 1538630"/>
              <a:gd name="csX722" fmla="*/ 158102 w 1609516"/>
              <a:gd name="csY722" fmla="*/ 940645 h 1538630"/>
              <a:gd name="csX723" fmla="*/ 150875 w 1609516"/>
              <a:gd name="csY723" fmla="*/ 940583 h 1538630"/>
              <a:gd name="csX724" fmla="*/ 148425 w 1609516"/>
              <a:gd name="csY724" fmla="*/ 940717 h 1538630"/>
              <a:gd name="csX725" fmla="*/ 149617 w 1609516"/>
              <a:gd name="csY725" fmla="*/ 940995 h 1538630"/>
              <a:gd name="csX726" fmla="*/ 149617 w 1609516"/>
              <a:gd name="csY726" fmla="*/ 942404 h 1538630"/>
              <a:gd name="csX727" fmla="*/ 146627 w 1609516"/>
              <a:gd name="csY727" fmla="*/ 942871 h 1538630"/>
              <a:gd name="csX728" fmla="*/ 110564 w 1609516"/>
              <a:gd name="csY728" fmla="*/ 949449 h 1538630"/>
              <a:gd name="csX729" fmla="*/ 111283 w 1609516"/>
              <a:gd name="csY729" fmla="*/ 946205 h 1538630"/>
              <a:gd name="csX730" fmla="*/ 101652 w 1609516"/>
              <a:gd name="csY730" fmla="*/ 956078 h 1538630"/>
              <a:gd name="csX731" fmla="*/ 98052 w 1609516"/>
              <a:gd name="csY731" fmla="*/ 958467 h 1538630"/>
              <a:gd name="csX732" fmla="*/ 67286 w 1609516"/>
              <a:gd name="csY732" fmla="*/ 972989 h 1538630"/>
              <a:gd name="csX733" fmla="*/ 67286 w 1609516"/>
              <a:gd name="csY733" fmla="*/ 975807 h 1538630"/>
              <a:gd name="csX734" fmla="*/ 31942 w 1609516"/>
              <a:gd name="csY734" fmla="*/ 976423 h 1538630"/>
              <a:gd name="csX735" fmla="*/ 5673 w 1609516"/>
              <a:gd name="csY735" fmla="*/ 953419 h 1538630"/>
              <a:gd name="csX736" fmla="*/ 4801 w 1609516"/>
              <a:gd name="csY736" fmla="*/ 944804 h 1538630"/>
              <a:gd name="csX737" fmla="*/ 1676 w 1609516"/>
              <a:gd name="csY737" fmla="*/ 944804 h 1538630"/>
              <a:gd name="csX738" fmla="*/ 17 w 1609516"/>
              <a:gd name="csY738" fmla="*/ 931857 h 1538630"/>
              <a:gd name="csX739" fmla="*/ 59 w 1609516"/>
              <a:gd name="csY739" fmla="*/ 927216 h 1538630"/>
              <a:gd name="csX740" fmla="*/ 115 w 1609516"/>
              <a:gd name="csY740" fmla="*/ 923666 h 1538630"/>
              <a:gd name="csX741" fmla="*/ 3238 w 1609516"/>
              <a:gd name="csY741" fmla="*/ 923666 h 1538630"/>
              <a:gd name="csX742" fmla="*/ 3238 w 1609516"/>
              <a:gd name="csY742" fmla="*/ 918029 h 1538630"/>
              <a:gd name="csX743" fmla="*/ 6363 w 1609516"/>
              <a:gd name="csY743" fmla="*/ 918029 h 1538630"/>
              <a:gd name="csX744" fmla="*/ 6656 w 1609516"/>
              <a:gd name="csY744" fmla="*/ 912832 h 1538630"/>
              <a:gd name="csX745" fmla="*/ 15736 w 1609516"/>
              <a:gd name="csY745" fmla="*/ 899709 h 1538630"/>
              <a:gd name="csX746" fmla="*/ 17243 w 1609516"/>
              <a:gd name="csY746" fmla="*/ 898894 h 1538630"/>
              <a:gd name="csX747" fmla="*/ 16800 w 1609516"/>
              <a:gd name="csY747" fmla="*/ 898694 h 1538630"/>
              <a:gd name="csX748" fmla="*/ 24988 w 1609516"/>
              <a:gd name="csY748" fmla="*/ 894101 h 1538630"/>
              <a:gd name="csX749" fmla="*/ 26768 w 1609516"/>
              <a:gd name="csY749" fmla="*/ 892399 h 1538630"/>
              <a:gd name="csX750" fmla="*/ 30198 w 1609516"/>
              <a:gd name="csY750" fmla="*/ 890164 h 1538630"/>
              <a:gd name="csX751" fmla="*/ 32204 w 1609516"/>
              <a:gd name="csY751" fmla="*/ 890054 h 1538630"/>
              <a:gd name="csX752" fmla="*/ 38914 w 1609516"/>
              <a:gd name="csY752" fmla="*/ 886291 h 1538630"/>
              <a:gd name="csX753" fmla="*/ 63664 w 1609516"/>
              <a:gd name="csY753" fmla="*/ 886011 h 1538630"/>
              <a:gd name="csX754" fmla="*/ 63664 w 1609516"/>
              <a:gd name="csY754" fmla="*/ 886531 h 1538630"/>
              <a:gd name="csX755" fmla="*/ 70784 w 1609516"/>
              <a:gd name="csY755" fmla="*/ 886647 h 1538630"/>
              <a:gd name="csX756" fmla="*/ 82126 w 1609516"/>
              <a:gd name="csY756" fmla="*/ 889845 h 1538630"/>
              <a:gd name="csX757" fmla="*/ 114149 w 1609516"/>
              <a:gd name="csY757" fmla="*/ 892663 h 1538630"/>
              <a:gd name="csX758" fmla="*/ 118836 w 1609516"/>
              <a:gd name="csY758" fmla="*/ 889845 h 1538630"/>
              <a:gd name="csX759" fmla="*/ 131626 w 1609516"/>
              <a:gd name="csY759" fmla="*/ 887114 h 1538630"/>
              <a:gd name="csX760" fmla="*/ 155116 w 1609516"/>
              <a:gd name="csY760" fmla="*/ 880913 h 1538630"/>
              <a:gd name="csX761" fmla="*/ 165406 w 1609516"/>
              <a:gd name="csY761" fmla="*/ 878483 h 1538630"/>
              <a:gd name="csX762" fmla="*/ 176634 w 1609516"/>
              <a:gd name="csY762" fmla="*/ 874343 h 1538630"/>
              <a:gd name="csX763" fmla="*/ 186397 w 1609516"/>
              <a:gd name="csY763" fmla="*/ 871524 h 1538630"/>
              <a:gd name="csX764" fmla="*/ 191871 w 1609516"/>
              <a:gd name="csY764" fmla="*/ 870033 h 1538630"/>
              <a:gd name="csX765" fmla="*/ 203483 w 1609516"/>
              <a:gd name="csY765" fmla="*/ 867208 h 1538630"/>
              <a:gd name="csX766" fmla="*/ 211001 w 1609516"/>
              <a:gd name="csY766" fmla="*/ 861660 h 1538630"/>
              <a:gd name="csX767" fmla="*/ 218031 w 1609516"/>
              <a:gd name="csY767" fmla="*/ 858577 h 1538630"/>
              <a:gd name="csX768" fmla="*/ 254740 w 1609516"/>
              <a:gd name="csY768" fmla="*/ 825020 h 1538630"/>
              <a:gd name="csX769" fmla="*/ 257864 w 1609516"/>
              <a:gd name="csY769" fmla="*/ 820792 h 1538630"/>
              <a:gd name="csX770" fmla="*/ 258318 w 1609516"/>
              <a:gd name="csY770" fmla="*/ 813810 h 1538630"/>
              <a:gd name="csX771" fmla="*/ 258378 w 1609516"/>
              <a:gd name="csY771" fmla="*/ 809502 h 1538630"/>
              <a:gd name="csX772" fmla="*/ 258389 w 1609516"/>
              <a:gd name="csY772" fmla="*/ 804845 h 1538630"/>
              <a:gd name="csX773" fmla="*/ 258420 w 1609516"/>
              <a:gd name="csY773" fmla="*/ 800036 h 1538630"/>
              <a:gd name="csX774" fmla="*/ 258443 w 1609516"/>
              <a:gd name="csY774" fmla="*/ 789939 h 1538630"/>
              <a:gd name="csX775" fmla="*/ 258566 w 1609516"/>
              <a:gd name="csY775" fmla="*/ 774594 h 1538630"/>
              <a:gd name="csX776" fmla="*/ 258584 w 1609516"/>
              <a:gd name="csY776" fmla="*/ 764771 h 1538630"/>
              <a:gd name="csX777" fmla="*/ 258652 w 1609516"/>
              <a:gd name="csY777" fmla="*/ 760174 h 1538630"/>
              <a:gd name="csX778" fmla="*/ 251616 w 1609516"/>
              <a:gd name="csY778" fmla="*/ 733421 h 1538630"/>
              <a:gd name="csX779" fmla="*/ 247613 w 1609516"/>
              <a:gd name="csY779" fmla="*/ 721883 h 1538630"/>
              <a:gd name="csX780" fmla="*/ 241291 w 1609516"/>
              <a:gd name="csY780" fmla="*/ 705644 h 1538630"/>
              <a:gd name="csX781" fmla="*/ 237557 w 1609516"/>
              <a:gd name="csY781" fmla="*/ 689735 h 1538630"/>
              <a:gd name="csX782" fmla="*/ 248492 w 1609516"/>
              <a:gd name="csY782" fmla="*/ 685507 h 1538630"/>
              <a:gd name="csX783" fmla="*/ 248492 w 1609516"/>
              <a:gd name="csY783" fmla="*/ 681279 h 1538630"/>
              <a:gd name="csX784" fmla="*/ 240681 w 1609516"/>
              <a:gd name="csY784" fmla="*/ 679870 h 1538630"/>
              <a:gd name="csX785" fmla="*/ 240681 w 1609516"/>
              <a:gd name="csY785" fmla="*/ 677052 h 1538630"/>
              <a:gd name="csX786" fmla="*/ 238094 w 1609516"/>
              <a:gd name="csY786" fmla="*/ 676645 h 1538630"/>
              <a:gd name="csX787" fmla="*/ 225841 w 1609516"/>
              <a:gd name="csY787" fmla="*/ 670886 h 1538630"/>
              <a:gd name="csX788" fmla="*/ 201531 w 1609516"/>
              <a:gd name="csY788" fmla="*/ 662508 h 1538630"/>
              <a:gd name="csX789" fmla="*/ 188252 w 1609516"/>
              <a:gd name="csY789" fmla="*/ 658644 h 1538630"/>
              <a:gd name="csX790" fmla="*/ 182431 w 1609516"/>
              <a:gd name="csY790" fmla="*/ 657327 h 1538630"/>
              <a:gd name="csX791" fmla="*/ 182431 w 1609516"/>
              <a:gd name="csY791" fmla="*/ 657613 h 1538630"/>
              <a:gd name="csX792" fmla="*/ 146503 w 1609516"/>
              <a:gd name="csY792" fmla="*/ 656204 h 1538630"/>
              <a:gd name="csX793" fmla="*/ 146503 w 1609516"/>
              <a:gd name="csY793" fmla="*/ 659022 h 1538630"/>
              <a:gd name="csX794" fmla="*/ 110378 w 1609516"/>
              <a:gd name="csY794" fmla="*/ 663778 h 1538630"/>
              <a:gd name="csX795" fmla="*/ 106453 w 1609516"/>
              <a:gd name="csY795" fmla="*/ 663836 h 1538630"/>
              <a:gd name="csX796" fmla="*/ 102751 w 1609516"/>
              <a:gd name="csY796" fmla="*/ 663811 h 1538630"/>
              <a:gd name="csX797" fmla="*/ 99449 w 1609516"/>
              <a:gd name="csY797" fmla="*/ 663797 h 1538630"/>
              <a:gd name="csX798" fmla="*/ 91828 w 1609516"/>
              <a:gd name="csY798" fmla="*/ 659022 h 1538630"/>
              <a:gd name="csX799" fmla="*/ 98077 w 1609516"/>
              <a:gd name="csY799" fmla="*/ 659022 h 1538630"/>
              <a:gd name="csX800" fmla="*/ 98077 w 1609516"/>
              <a:gd name="csY800" fmla="*/ 661841 h 1538630"/>
              <a:gd name="csX801" fmla="*/ 119023 w 1609516"/>
              <a:gd name="csY801" fmla="*/ 661357 h 1538630"/>
              <a:gd name="csX802" fmla="*/ 119536 w 1609516"/>
              <a:gd name="csY802" fmla="*/ 661197 h 1538630"/>
              <a:gd name="csX803" fmla="*/ 109853 w 1609516"/>
              <a:gd name="csY803" fmla="*/ 661639 h 1538630"/>
              <a:gd name="csX804" fmla="*/ 106552 w 1609516"/>
              <a:gd name="csY804" fmla="*/ 661619 h 1538630"/>
              <a:gd name="csX805" fmla="*/ 98528 w 1609516"/>
              <a:gd name="csY805" fmla="*/ 661550 h 1538630"/>
              <a:gd name="csX806" fmla="*/ 98528 w 1609516"/>
              <a:gd name="csY806" fmla="*/ 658732 h 1538630"/>
              <a:gd name="csX807" fmla="*/ 89155 w 1609516"/>
              <a:gd name="csY807" fmla="*/ 657323 h 1538630"/>
              <a:gd name="csX808" fmla="*/ 89155 w 1609516"/>
              <a:gd name="csY808" fmla="*/ 654504 h 1538630"/>
              <a:gd name="csX809" fmla="*/ 86397 w 1609516"/>
              <a:gd name="csY809" fmla="*/ 653442 h 1538630"/>
              <a:gd name="csX810" fmla="*/ 77049 w 1609516"/>
              <a:gd name="csY810" fmla="*/ 646137 h 1538630"/>
              <a:gd name="csX811" fmla="*/ 74145 w 1609516"/>
              <a:gd name="csY811" fmla="*/ 643192 h 1538630"/>
              <a:gd name="csX812" fmla="*/ 71972 w 1609516"/>
              <a:gd name="csY812" fmla="*/ 636185 h 1538630"/>
              <a:gd name="csX813" fmla="*/ 68848 w 1609516"/>
              <a:gd name="csY813" fmla="*/ 636185 h 1538630"/>
              <a:gd name="csX814" fmla="*/ 70410 w 1609516"/>
              <a:gd name="csY814" fmla="*/ 595317 h 1538630"/>
              <a:gd name="csX815" fmla="*/ 79782 w 1609516"/>
              <a:gd name="csY815" fmla="*/ 584043 h 1538630"/>
              <a:gd name="csX816" fmla="*/ 82656 w 1609516"/>
              <a:gd name="csY816" fmla="*/ 581115 h 1538630"/>
              <a:gd name="csX817" fmla="*/ 116694 w 1609516"/>
              <a:gd name="csY817" fmla="*/ 572323 h 1538630"/>
              <a:gd name="csX818" fmla="*/ 152031 w 1609516"/>
              <a:gd name="csY818" fmla="*/ 590385 h 1538630"/>
              <a:gd name="csX819" fmla="*/ 191474 w 1609516"/>
              <a:gd name="csY819" fmla="*/ 605886 h 1538630"/>
              <a:gd name="csX820" fmla="*/ 206314 w 1609516"/>
              <a:gd name="csY820" fmla="*/ 608000 h 1538630"/>
              <a:gd name="csX821" fmla="*/ 206314 w 1609516"/>
              <a:gd name="csY821" fmla="*/ 610818 h 1538630"/>
              <a:gd name="csX822" fmla="*/ 234433 w 1609516"/>
              <a:gd name="csY822" fmla="*/ 610818 h 1538630"/>
              <a:gd name="csX823" fmla="*/ 239522 w 1609516"/>
              <a:gd name="csY823" fmla="*/ 610802 h 1538630"/>
              <a:gd name="csX824" fmla="*/ 268799 w 1609516"/>
              <a:gd name="csY824" fmla="*/ 600954 h 1538630"/>
              <a:gd name="csX825" fmla="*/ 271740 w 1609516"/>
              <a:gd name="csY825" fmla="*/ 599325 h 1538630"/>
              <a:gd name="csX826" fmla="*/ 284420 w 1609516"/>
              <a:gd name="csY826" fmla="*/ 579816 h 1538630"/>
              <a:gd name="csX827" fmla="*/ 289399 w 1609516"/>
              <a:gd name="csY827" fmla="*/ 568630 h 1538630"/>
              <a:gd name="csX828" fmla="*/ 293958 w 1609516"/>
              <a:gd name="csY828" fmla="*/ 535838 h 1538630"/>
              <a:gd name="csX829" fmla="*/ 289107 w 1609516"/>
              <a:gd name="csY829" fmla="*/ 529084 h 1538630"/>
              <a:gd name="csX830" fmla="*/ 289107 w 1609516"/>
              <a:gd name="csY830" fmla="*/ 526265 h 1538630"/>
              <a:gd name="csX831" fmla="*/ 284420 w 1609516"/>
              <a:gd name="csY831" fmla="*/ 524856 h 1538630"/>
              <a:gd name="csX832" fmla="*/ 282858 w 1609516"/>
              <a:gd name="csY832" fmla="*/ 520628 h 1538630"/>
              <a:gd name="csX833" fmla="*/ 277977 w 1609516"/>
              <a:gd name="csY833" fmla="*/ 516577 h 1538630"/>
              <a:gd name="csX834" fmla="*/ 264925 w 1609516"/>
              <a:gd name="csY834" fmla="*/ 506443 h 1538630"/>
              <a:gd name="csX835" fmla="*/ 229746 w 1609516"/>
              <a:gd name="csY835" fmla="*/ 481170 h 1538630"/>
              <a:gd name="csX836" fmla="*/ 221057 w 1609516"/>
              <a:gd name="csY836" fmla="*/ 475445 h 1538630"/>
              <a:gd name="csX837" fmla="*/ 212563 w 1609516"/>
              <a:gd name="csY837" fmla="*/ 469896 h 1538630"/>
              <a:gd name="csX838" fmla="*/ 208889 w 1609516"/>
              <a:gd name="csY838" fmla="*/ 467491 h 1538630"/>
              <a:gd name="csX839" fmla="*/ 190406 w 1609516"/>
              <a:gd name="csY839" fmla="*/ 456382 h 1538630"/>
              <a:gd name="csX840" fmla="*/ 186942 w 1609516"/>
              <a:gd name="csY840" fmla="*/ 454460 h 1538630"/>
              <a:gd name="csX841" fmla="*/ 180041 w 1609516"/>
              <a:gd name="csY841" fmla="*/ 450696 h 1538630"/>
              <a:gd name="csX842" fmla="*/ 171948 w 1609516"/>
              <a:gd name="csY842" fmla="*/ 445940 h 1538630"/>
              <a:gd name="csX843" fmla="*/ 171948 w 1609516"/>
              <a:gd name="csY843" fmla="*/ 443121 h 1538630"/>
              <a:gd name="csX844" fmla="*/ 168482 w 1609516"/>
              <a:gd name="csY844" fmla="*/ 442708 h 1538630"/>
              <a:gd name="csX845" fmla="*/ 157107 w 1609516"/>
              <a:gd name="csY845" fmla="*/ 437044 h 1538630"/>
              <a:gd name="csX846" fmla="*/ 132559 w 1609516"/>
              <a:gd name="csY846" fmla="*/ 427510 h 1538630"/>
              <a:gd name="csX847" fmla="*/ 123522 w 1609516"/>
              <a:gd name="csY847" fmla="*/ 421983 h 1538630"/>
              <a:gd name="csX848" fmla="*/ 107986 w 1609516"/>
              <a:gd name="csY848" fmla="*/ 418730 h 1538630"/>
              <a:gd name="csX849" fmla="*/ 102494 w 1609516"/>
              <a:gd name="csY849" fmla="*/ 418622 h 1538630"/>
              <a:gd name="csX850" fmla="*/ 91157 w 1609516"/>
              <a:gd name="csY850" fmla="*/ 418490 h 1538630"/>
              <a:gd name="csX851" fmla="*/ 55277 w 1609516"/>
              <a:gd name="csY851" fmla="*/ 410445 h 1538630"/>
              <a:gd name="csX852" fmla="*/ 51665 w 1609516"/>
              <a:gd name="csY852" fmla="*/ 406481 h 1538630"/>
              <a:gd name="csX853" fmla="*/ 45904 w 1609516"/>
              <a:gd name="csY853" fmla="*/ 400492 h 1538630"/>
              <a:gd name="csX854" fmla="*/ 43152 w 1609516"/>
              <a:gd name="csY854" fmla="*/ 397564 h 1538630"/>
              <a:gd name="csX855" fmla="*/ 37605 w 1609516"/>
              <a:gd name="csY855" fmla="*/ 393798 h 1538630"/>
              <a:gd name="csX856" fmla="*/ 38995 w 1609516"/>
              <a:gd name="csY856" fmla="*/ 368712 h 1538630"/>
              <a:gd name="csX857" fmla="*/ 38666 w 1609516"/>
              <a:gd name="csY857" fmla="*/ 369724 h 1538630"/>
              <a:gd name="csX858" fmla="*/ 35542 w 1609516"/>
              <a:gd name="csY858" fmla="*/ 384081 h 1538630"/>
              <a:gd name="csX859" fmla="*/ 33326 w 1609516"/>
              <a:gd name="csY859" fmla="*/ 357791 h 1538630"/>
              <a:gd name="csX860" fmla="*/ 52725 w 1609516"/>
              <a:gd name="csY860" fmla="*/ 333349 h 1538630"/>
              <a:gd name="csX861" fmla="*/ 55222 w 1609516"/>
              <a:gd name="csY861" fmla="*/ 334475 h 1538630"/>
              <a:gd name="csX862" fmla="*/ 56222 w 1609516"/>
              <a:gd name="csY862" fmla="*/ 333347 h 1538630"/>
              <a:gd name="csX863" fmla="*/ 55871 w 1609516"/>
              <a:gd name="csY863" fmla="*/ 333347 h 1538630"/>
              <a:gd name="csX864" fmla="*/ 56346 w 1609516"/>
              <a:gd name="csY864" fmla="*/ 333207 h 1538630"/>
              <a:gd name="csX865" fmla="*/ 56351 w 1609516"/>
              <a:gd name="csY865" fmla="*/ 333202 h 1538630"/>
              <a:gd name="csX866" fmla="*/ 56365 w 1609516"/>
              <a:gd name="csY866" fmla="*/ 333202 h 1538630"/>
              <a:gd name="csX867" fmla="*/ 79571 w 1609516"/>
              <a:gd name="csY867" fmla="*/ 326360 h 1538630"/>
              <a:gd name="csX868" fmla="*/ 104297 w 1609516"/>
              <a:gd name="csY868" fmla="*/ 330529 h 1538630"/>
              <a:gd name="csX869" fmla="*/ 107170 w 1609516"/>
              <a:gd name="csY869" fmla="*/ 334417 h 1538630"/>
              <a:gd name="csX870" fmla="*/ 109366 w 1609516"/>
              <a:gd name="csY870" fmla="*/ 336046 h 1538630"/>
              <a:gd name="csX871" fmla="*/ 109463 w 1609516"/>
              <a:gd name="csY871" fmla="*/ 336020 h 1538630"/>
              <a:gd name="csX872" fmla="*/ 109463 w 1609516"/>
              <a:gd name="csY872" fmla="*/ 336118 h 1538630"/>
              <a:gd name="csX873" fmla="*/ 115226 w 1609516"/>
              <a:gd name="csY873" fmla="*/ 340394 h 1538630"/>
              <a:gd name="csX874" fmla="*/ 114010 w 1609516"/>
              <a:gd name="csY874" fmla="*/ 340120 h 1538630"/>
              <a:gd name="csX875" fmla="*/ 133285 w 1609516"/>
              <a:gd name="csY875" fmla="*/ 357423 h 1538630"/>
              <a:gd name="csX876" fmla="*/ 173509 w 1609516"/>
              <a:gd name="csY876" fmla="*/ 389571 h 1538630"/>
              <a:gd name="csX877" fmla="*/ 181711 w 1609516"/>
              <a:gd name="csY877" fmla="*/ 393270 h 1538630"/>
              <a:gd name="csX878" fmla="*/ 185507 w 1609516"/>
              <a:gd name="csY878" fmla="*/ 394976 h 1538630"/>
              <a:gd name="csX879" fmla="*/ 192658 w 1609516"/>
              <a:gd name="csY879" fmla="*/ 398257 h 1538630"/>
              <a:gd name="csX880" fmla="*/ 195966 w 1609516"/>
              <a:gd name="csY880" fmla="*/ 399788 h 1538630"/>
              <a:gd name="csX881" fmla="*/ 198833 w 1609516"/>
              <a:gd name="csY881" fmla="*/ 401131 h 1538630"/>
              <a:gd name="csX882" fmla="*/ 207877 w 1609516"/>
              <a:gd name="csY882" fmla="*/ 403663 h 1538630"/>
              <a:gd name="csX883" fmla="*/ 207877 w 1609516"/>
              <a:gd name="csY883" fmla="*/ 406481 h 1538630"/>
              <a:gd name="csX884" fmla="*/ 248492 w 1609516"/>
              <a:gd name="csY884" fmla="*/ 419428 h 1538630"/>
              <a:gd name="csX885" fmla="*/ 253965 w 1609516"/>
              <a:gd name="csY885" fmla="*/ 421000 h 1538630"/>
              <a:gd name="csX886" fmla="*/ 267237 w 1609516"/>
              <a:gd name="csY886" fmla="*/ 424801 h 1538630"/>
              <a:gd name="csX887" fmla="*/ 267237 w 1609516"/>
              <a:gd name="csY887" fmla="*/ 426451 h 1538630"/>
              <a:gd name="csX888" fmla="*/ 288701 w 1609516"/>
              <a:gd name="csY888" fmla="*/ 429217 h 1538630"/>
              <a:gd name="csX889" fmla="*/ 288701 w 1609516"/>
              <a:gd name="csY889" fmla="*/ 432036 h 1538630"/>
              <a:gd name="csX890" fmla="*/ 327010 w 1609516"/>
              <a:gd name="csY890" fmla="*/ 433628 h 1538630"/>
              <a:gd name="csX891" fmla="*/ 337486 w 1609516"/>
              <a:gd name="csY891" fmla="*/ 433637 h 1538630"/>
              <a:gd name="csX892" fmla="*/ 344229 w 1609516"/>
              <a:gd name="csY892" fmla="*/ 433632 h 1538630"/>
              <a:gd name="csX893" fmla="*/ 350323 w 1609516"/>
              <a:gd name="csY893" fmla="*/ 433627 h 1538630"/>
              <a:gd name="csX894" fmla="*/ 365245 w 1609516"/>
              <a:gd name="csY894" fmla="*/ 432036 h 1538630"/>
              <a:gd name="csX895" fmla="*/ 360797 w 1609516"/>
              <a:gd name="csY895" fmla="*/ 433759 h 1538630"/>
              <a:gd name="csX896" fmla="*/ 365650 w 1609516"/>
              <a:gd name="csY896" fmla="*/ 433257 h 1538630"/>
              <a:gd name="csX897" fmla="*/ 367213 w 1609516"/>
              <a:gd name="csY897" fmla="*/ 429029 h 1538630"/>
              <a:gd name="csX898" fmla="*/ 375188 w 1609516"/>
              <a:gd name="csY898" fmla="*/ 424906 h 1538630"/>
              <a:gd name="csX899" fmla="*/ 404704 w 1609516"/>
              <a:gd name="csY899" fmla="*/ 389571 h 1538630"/>
              <a:gd name="csX900" fmla="*/ 406265 w 1609516"/>
              <a:gd name="csY900" fmla="*/ 388161 h 1538630"/>
              <a:gd name="csX901" fmla="*/ 406559 w 1609516"/>
              <a:gd name="csY901" fmla="*/ 370106 h 1538630"/>
              <a:gd name="csX902" fmla="*/ 406617 w 1609516"/>
              <a:gd name="csY902" fmla="*/ 364973 h 1538630"/>
              <a:gd name="csX903" fmla="*/ 406626 w 1609516"/>
              <a:gd name="csY903" fmla="*/ 360038 h 1538630"/>
              <a:gd name="csX904" fmla="*/ 406645 w 1609516"/>
              <a:gd name="csY904" fmla="*/ 355503 h 1538630"/>
              <a:gd name="csX905" fmla="*/ 403142 w 1609516"/>
              <a:gd name="csY905" fmla="*/ 345885 h 1538630"/>
              <a:gd name="csX906" fmla="*/ 401579 w 1609516"/>
              <a:gd name="csY906" fmla="*/ 338663 h 1538630"/>
              <a:gd name="csX907" fmla="*/ 390938 w 1609516"/>
              <a:gd name="csY907" fmla="*/ 315939 h 1538630"/>
              <a:gd name="csX908" fmla="*/ 388976 w 1609516"/>
              <a:gd name="csY908" fmla="*/ 312762 h 1538630"/>
              <a:gd name="csX909" fmla="*/ 377934 w 1609516"/>
              <a:gd name="csY909" fmla="*/ 297817 h 1538630"/>
              <a:gd name="csX910" fmla="*/ 368775 w 1609516"/>
              <a:gd name="csY910" fmla="*/ 282470 h 1538630"/>
              <a:gd name="csX911" fmla="*/ 359890 w 1609516"/>
              <a:gd name="csY911" fmla="*/ 271284 h 1538630"/>
              <a:gd name="csX912" fmla="*/ 357374 w 1609516"/>
              <a:gd name="csY912" fmla="*/ 268288 h 1538630"/>
              <a:gd name="csX913" fmla="*/ 337533 w 1609516"/>
              <a:gd name="csY913" fmla="*/ 248649 h 1538630"/>
              <a:gd name="csX914" fmla="*/ 335214 w 1609516"/>
              <a:gd name="csY914" fmla="*/ 246369 h 1538630"/>
              <a:gd name="csX915" fmla="*/ 327085 w 1609516"/>
              <a:gd name="csY915" fmla="*/ 242571 h 1538630"/>
              <a:gd name="csX916" fmla="*/ 288785 w 1609516"/>
              <a:gd name="csY916" fmla="*/ 207968 h 1538630"/>
              <a:gd name="csX917" fmla="*/ 286373 w 1609516"/>
              <a:gd name="csY917" fmla="*/ 192544 h 1538630"/>
              <a:gd name="csX918" fmla="*/ 286385 w 1609516"/>
              <a:gd name="csY918" fmla="*/ 189190 h 1538630"/>
              <a:gd name="csX919" fmla="*/ 300042 w 1609516"/>
              <a:gd name="csY919" fmla="*/ 164095 h 1538630"/>
              <a:gd name="csX920" fmla="*/ 302757 w 1609516"/>
              <a:gd name="csY920" fmla="*/ 161381 h 1538630"/>
              <a:gd name="csX921" fmla="*/ 338411 w 1609516"/>
              <a:gd name="csY921" fmla="*/ 152293 h 1538630"/>
              <a:gd name="csX922" fmla="*/ 368482 w 1609516"/>
              <a:gd name="csY922" fmla="*/ 161893 h 1538630"/>
              <a:gd name="csX923" fmla="*/ 371899 w 1609516"/>
              <a:gd name="csY923" fmla="*/ 165505 h 1538630"/>
              <a:gd name="csX924" fmla="*/ 375121 w 1609516"/>
              <a:gd name="csY924" fmla="*/ 168587 h 1538630"/>
              <a:gd name="csX925" fmla="*/ 384982 w 1609516"/>
              <a:gd name="csY925" fmla="*/ 193777 h 1538630"/>
              <a:gd name="csX926" fmla="*/ 390352 w 1609516"/>
              <a:gd name="csY926" fmla="*/ 214563 h 1538630"/>
              <a:gd name="csX927" fmla="*/ 391529 w 1609516"/>
              <a:gd name="csY927" fmla="*/ 217626 h 1538630"/>
              <a:gd name="csX928" fmla="*/ 401579 w 1609516"/>
              <a:gd name="csY928" fmla="*/ 234556 h 1538630"/>
              <a:gd name="csX929" fmla="*/ 401579 w 1609516"/>
              <a:gd name="csY929" fmla="*/ 238784 h 1538630"/>
              <a:gd name="csX930" fmla="*/ 404215 w 1609516"/>
              <a:gd name="csY930" fmla="*/ 239753 h 1538630"/>
              <a:gd name="csX931" fmla="*/ 417811 w 1609516"/>
              <a:gd name="csY931" fmla="*/ 251996 h 1538630"/>
              <a:gd name="csX932" fmla="*/ 426866 w 1609516"/>
              <a:gd name="csY932" fmla="*/ 262300 h 1538630"/>
              <a:gd name="csX933" fmla="*/ 450097 w 1609516"/>
              <a:gd name="csY933" fmla="*/ 287628 h 1538630"/>
              <a:gd name="csX934" fmla="*/ 457425 w 1609516"/>
              <a:gd name="csY934" fmla="*/ 293920 h 1538630"/>
              <a:gd name="csX935" fmla="*/ 460940 w 1609516"/>
              <a:gd name="csY935" fmla="*/ 296562 h 1538630"/>
              <a:gd name="csX936" fmla="*/ 460940 w 1609516"/>
              <a:gd name="csY936" fmla="*/ 300790 h 1538630"/>
              <a:gd name="csX937" fmla="*/ 473437 w 1609516"/>
              <a:gd name="csY937" fmla="*/ 305018 h 1538630"/>
              <a:gd name="csX938" fmla="*/ 473437 w 1609516"/>
              <a:gd name="csY938" fmla="*/ 307836 h 1538630"/>
              <a:gd name="csX939" fmla="*/ 479881 w 1609516"/>
              <a:gd name="csY939" fmla="*/ 309862 h 1538630"/>
              <a:gd name="csX940" fmla="*/ 483505 w 1609516"/>
              <a:gd name="csY940" fmla="*/ 311001 h 1538630"/>
              <a:gd name="csX941" fmla="*/ 548419 w 1609516"/>
              <a:gd name="csY941" fmla="*/ 306427 h 1538630"/>
              <a:gd name="csX942" fmla="*/ 551842 w 1609516"/>
              <a:gd name="csY942" fmla="*/ 305127 h 1538630"/>
              <a:gd name="csX943" fmla="*/ 560232 w 1609516"/>
              <a:gd name="csY943" fmla="*/ 298148 h 1538630"/>
              <a:gd name="csX944" fmla="*/ 562972 w 1609516"/>
              <a:gd name="csY944" fmla="*/ 295252 h 1538630"/>
              <a:gd name="csX945" fmla="*/ 568086 w 1609516"/>
              <a:gd name="csY945" fmla="*/ 289152 h 1538630"/>
              <a:gd name="csX946" fmla="*/ 570289 w 1609516"/>
              <a:gd name="csY946" fmla="*/ 286697 h 1538630"/>
              <a:gd name="csX947" fmla="*/ 573413 w 1609516"/>
              <a:gd name="csY947" fmla="*/ 286697 h 1538630"/>
              <a:gd name="csX948" fmla="*/ 577220 w 1609516"/>
              <a:gd name="csY948" fmla="*/ 257016 h 1538630"/>
              <a:gd name="csX949" fmla="*/ 577235 w 1609516"/>
              <a:gd name="csY949" fmla="*/ 254206 h 1538630"/>
              <a:gd name="csX950" fmla="*/ 569443 w 1609516"/>
              <a:gd name="csY950" fmla="*/ 206049 h 1538630"/>
              <a:gd name="csX951" fmla="*/ 568726 w 1609516"/>
              <a:gd name="csY951" fmla="*/ 200735 h 1538630"/>
              <a:gd name="csX952" fmla="*/ 565602 w 1609516"/>
              <a:gd name="csY952" fmla="*/ 200735 h 1538630"/>
              <a:gd name="csX953" fmla="*/ 559549 w 1609516"/>
              <a:gd name="csY953" fmla="*/ 184441 h 1538630"/>
              <a:gd name="csX954" fmla="*/ 537484 w 1609516"/>
              <a:gd name="csY954" fmla="*/ 159867 h 1538630"/>
              <a:gd name="csX955" fmla="*/ 531235 w 1609516"/>
              <a:gd name="csY955" fmla="*/ 154230 h 1538630"/>
              <a:gd name="csX956" fmla="*/ 531235 w 1609516"/>
              <a:gd name="csY956" fmla="*/ 151412 h 1538630"/>
              <a:gd name="csX957" fmla="*/ 526549 w 1609516"/>
              <a:gd name="csY957" fmla="*/ 150003 h 1538630"/>
              <a:gd name="csX958" fmla="*/ 524304 w 1609516"/>
              <a:gd name="csY958" fmla="*/ 107198 h 1538630"/>
              <a:gd name="csX959" fmla="*/ 547052 w 1609516"/>
              <a:gd name="csY959" fmla="*/ 85972 h 1538630"/>
              <a:gd name="csX960" fmla="*/ 588460 w 1609516"/>
              <a:gd name="csY960" fmla="*/ 83538 h 1538630"/>
              <a:gd name="csX961" fmla="*/ 617152 w 1609516"/>
              <a:gd name="csY961" fmla="*/ 111954 h 1538630"/>
              <a:gd name="csX962" fmla="*/ 617884 w 1609516"/>
              <a:gd name="csY962" fmla="*/ 124175 h 1538630"/>
              <a:gd name="csX963" fmla="*/ 617917 w 1609516"/>
              <a:gd name="csY963" fmla="*/ 127607 h 1538630"/>
              <a:gd name="csX964" fmla="*/ 617919 w 1609516"/>
              <a:gd name="csY964" fmla="*/ 141969 h 1538630"/>
              <a:gd name="csX965" fmla="*/ 630625 w 1609516"/>
              <a:gd name="csY965" fmla="*/ 191311 h 1538630"/>
              <a:gd name="csX966" fmla="*/ 637850 w 1609516"/>
              <a:gd name="csY966" fmla="*/ 205139 h 1538630"/>
              <a:gd name="csX967" fmla="*/ 643708 w 1609516"/>
              <a:gd name="csY967" fmla="*/ 212009 h 1538630"/>
              <a:gd name="csX968" fmla="*/ 647027 w 1609516"/>
              <a:gd name="csY968" fmla="*/ 217645 h 1538630"/>
              <a:gd name="csX969" fmla="*/ 670264 w 1609516"/>
              <a:gd name="csY969" fmla="*/ 241603 h 1538630"/>
              <a:gd name="csX970" fmla="*/ 670264 w 1609516"/>
              <a:gd name="csY970" fmla="*/ 244421 h 1538630"/>
              <a:gd name="csX971" fmla="*/ 675634 w 1609516"/>
              <a:gd name="csY971" fmla="*/ 245742 h 1538630"/>
              <a:gd name="csX972" fmla="*/ 682761 w 1609516"/>
              <a:gd name="csY972" fmla="*/ 248649 h 1538630"/>
              <a:gd name="csX973" fmla="*/ 752092 w 1609516"/>
              <a:gd name="csY973" fmla="*/ 245076 h 1538630"/>
              <a:gd name="csX974" fmla="*/ 758433 w 1609516"/>
              <a:gd name="csY974" fmla="*/ 240485 h 1538630"/>
              <a:gd name="csX975" fmla="*/ 763991 w 1609516"/>
              <a:gd name="csY975" fmla="*/ 238784 h 1538630"/>
              <a:gd name="csX976" fmla="*/ 765315 w 1609516"/>
              <a:gd name="csY976" fmla="*/ 235778 h 1538630"/>
              <a:gd name="csX977" fmla="*/ 770923 w 1609516"/>
              <a:gd name="csY977" fmla="*/ 223459 h 1538630"/>
              <a:gd name="csX978" fmla="*/ 772998 w 1609516"/>
              <a:gd name="csY978" fmla="*/ 218934 h 1538630"/>
              <a:gd name="csX979" fmla="*/ 777562 w 1609516"/>
              <a:gd name="csY979" fmla="*/ 209895 h 1538630"/>
              <a:gd name="csX980" fmla="*/ 781175 w 1609516"/>
              <a:gd name="csY980" fmla="*/ 124637 h 1538630"/>
              <a:gd name="csX981" fmla="*/ 778051 w 1609516"/>
              <a:gd name="csY981" fmla="*/ 124637 h 1538630"/>
              <a:gd name="csX982" fmla="*/ 767116 w 1609516"/>
              <a:gd name="csY982" fmla="*/ 79542 h 1538630"/>
              <a:gd name="csX983" fmla="*/ 793379 w 1609516"/>
              <a:gd name="csY983" fmla="*/ 54000 h 1538630"/>
              <a:gd name="csX984" fmla="*/ 840688 w 1609516"/>
              <a:gd name="csY984" fmla="*/ 55503 h 1538630"/>
              <a:gd name="csX985" fmla="*/ 851470 w 1609516"/>
              <a:gd name="csY985" fmla="*/ 64040 h 1538630"/>
              <a:gd name="csX986" fmla="*/ 853997 w 1609516"/>
              <a:gd name="csY986" fmla="*/ 66529 h 1538630"/>
              <a:gd name="csX987" fmla="*/ 861488 w 1609516"/>
              <a:gd name="csY987" fmla="*/ 82057 h 1538630"/>
              <a:gd name="csX988" fmla="*/ 861937 w 1609516"/>
              <a:gd name="csY988" fmla="*/ 90492 h 1538630"/>
              <a:gd name="csX989" fmla="*/ 863826 w 1609516"/>
              <a:gd name="csY989" fmla="*/ 100715 h 1538630"/>
              <a:gd name="csX990" fmla="*/ 857577 w 1609516"/>
              <a:gd name="csY990" fmla="*/ 121853 h 1538630"/>
              <a:gd name="csX991" fmla="*/ 856015 w 1609516"/>
              <a:gd name="csY991" fmla="*/ 121853 h 1538630"/>
              <a:gd name="csX992" fmla="*/ 855442 w 1609516"/>
              <a:gd name="csY992" fmla="*/ 118919 h 1538630"/>
              <a:gd name="csX993" fmla="*/ 855417 w 1609516"/>
              <a:gd name="csY993" fmla="*/ 118798 h 1538630"/>
              <a:gd name="csX994" fmla="*/ 856157 w 1609516"/>
              <a:gd name="csY994" fmla="*/ 124637 h 1538630"/>
              <a:gd name="csX995" fmla="*/ 850623 w 1609516"/>
              <a:gd name="csY995" fmla="*/ 134701 h 1538630"/>
              <a:gd name="csX996" fmla="*/ 851325 w 1609516"/>
              <a:gd name="csY996" fmla="*/ 135968 h 1538630"/>
              <a:gd name="csX997" fmla="*/ 849886 w 1609516"/>
              <a:gd name="csY997" fmla="*/ 139843 h 1538630"/>
              <a:gd name="csX998" fmla="*/ 847786 w 1609516"/>
              <a:gd name="csY998" fmla="*/ 152889 h 1538630"/>
              <a:gd name="csX999" fmla="*/ 847767 w 1609516"/>
              <a:gd name="csY999" fmla="*/ 157768 h 1538630"/>
              <a:gd name="csX1000" fmla="*/ 847810 w 1609516"/>
              <a:gd name="csY1000" fmla="*/ 162919 h 1538630"/>
              <a:gd name="csX1001" fmla="*/ 847832 w 1609516"/>
              <a:gd name="csY1001" fmla="*/ 168227 h 1538630"/>
              <a:gd name="csX1002" fmla="*/ 850903 w 1609516"/>
              <a:gd name="csY1002" fmla="*/ 209013 h 1538630"/>
              <a:gd name="csX1003" fmla="*/ 852880 w 1609516"/>
              <a:gd name="csY1003" fmla="*/ 224692 h 1538630"/>
              <a:gd name="csX1004" fmla="*/ 854595 w 1609516"/>
              <a:gd name="csY1004" fmla="*/ 224692 h 1538630"/>
              <a:gd name="csX1005" fmla="*/ 856083 w 1609516"/>
              <a:gd name="csY1005" fmla="*/ 227268 h 1538630"/>
              <a:gd name="csX1006" fmla="*/ 879588 w 1609516"/>
              <a:gd name="csY1006" fmla="*/ 247239 h 1538630"/>
              <a:gd name="csX1007" fmla="*/ 885739 w 1609516"/>
              <a:gd name="csY1007" fmla="*/ 249618 h 1538630"/>
              <a:gd name="csX1008" fmla="*/ 890523 w 1609516"/>
              <a:gd name="csY1008" fmla="*/ 251467 h 1538630"/>
              <a:gd name="csX1009" fmla="*/ 890523 w 1609516"/>
              <a:gd name="csY1009" fmla="*/ 254285 h 1538630"/>
              <a:gd name="csX1010" fmla="*/ 920203 w 1609516"/>
              <a:gd name="csY1010" fmla="*/ 261332 h 1538630"/>
              <a:gd name="csX1011" fmla="*/ 920203 w 1609516"/>
              <a:gd name="csY1011" fmla="*/ 262741 h 1538630"/>
              <a:gd name="csX1012" fmla="*/ 910831 w 1609516"/>
              <a:gd name="csY1012" fmla="*/ 262741 h 1538630"/>
              <a:gd name="csX1013" fmla="*/ 910831 w 1609516"/>
              <a:gd name="csY1013" fmla="*/ 262864 h 1538630"/>
              <a:gd name="csX1014" fmla="*/ 927993 w 1609516"/>
              <a:gd name="csY1014" fmla="*/ 264177 h 1538630"/>
              <a:gd name="csX1015" fmla="*/ 939273 w 1609516"/>
              <a:gd name="csY1015" fmla="*/ 265285 h 1538630"/>
              <a:gd name="csX1016" fmla="*/ 940456 w 1609516"/>
              <a:gd name="csY1016" fmla="*/ 265191 h 1538630"/>
              <a:gd name="csX1017" fmla="*/ 991622 w 1609516"/>
              <a:gd name="csY1017" fmla="*/ 242329 h 1538630"/>
              <a:gd name="csX1018" fmla="*/ 1000803 w 1609516"/>
              <a:gd name="csY1018" fmla="*/ 236505 h 1538630"/>
              <a:gd name="csX1019" fmla="*/ 999806 w 1609516"/>
              <a:gd name="csY1019" fmla="*/ 236055 h 1538630"/>
              <a:gd name="csX1020" fmla="*/ 1003126 w 1609516"/>
              <a:gd name="csY1020" fmla="*/ 232851 h 1538630"/>
              <a:gd name="csX1021" fmla="*/ 1029487 w 1609516"/>
              <a:gd name="csY1021" fmla="*/ 205052 h 1538630"/>
              <a:gd name="csX1022" fmla="*/ 1029872 w 1609516"/>
              <a:gd name="csY1022" fmla="*/ 206442 h 1538630"/>
              <a:gd name="csX1023" fmla="*/ 1031614 w 1609516"/>
              <a:gd name="csY1023" fmla="*/ 203719 h 1538630"/>
              <a:gd name="csX1024" fmla="*/ 1038924 w 1609516"/>
              <a:gd name="csY1024" fmla="*/ 192280 h 1538630"/>
              <a:gd name="csX1025" fmla="*/ 1042049 w 1609516"/>
              <a:gd name="csY1025" fmla="*/ 190870 h 1538630"/>
              <a:gd name="csX1026" fmla="*/ 1044294 w 1609516"/>
              <a:gd name="csY1026" fmla="*/ 186026 h 1538630"/>
              <a:gd name="csX1027" fmla="*/ 1051422 w 1609516"/>
              <a:gd name="csY1027" fmla="*/ 178188 h 1538630"/>
              <a:gd name="csX1028" fmla="*/ 1052984 w 1609516"/>
              <a:gd name="csY1028" fmla="*/ 172551 h 1538630"/>
              <a:gd name="csX1029" fmla="*/ 1056108 w 1609516"/>
              <a:gd name="csY1029" fmla="*/ 172551 h 1538630"/>
              <a:gd name="csX1030" fmla="*/ 1059232 w 1609516"/>
              <a:gd name="csY1030" fmla="*/ 162686 h 1538630"/>
              <a:gd name="csX1031" fmla="*/ 1062357 w 1609516"/>
              <a:gd name="csY1031" fmla="*/ 162686 h 1538630"/>
              <a:gd name="csX1032" fmla="*/ 1063162 w 1609516"/>
              <a:gd name="csY1032" fmla="*/ 160258 h 1538630"/>
              <a:gd name="csX1033" fmla="*/ 1073292 w 1609516"/>
              <a:gd name="csY1033" fmla="*/ 140138 h 1538630"/>
              <a:gd name="csX1034" fmla="*/ 1076415 w 1609516"/>
              <a:gd name="csY1034" fmla="*/ 140138 h 1538630"/>
              <a:gd name="csX1035" fmla="*/ 1085294 w 1609516"/>
              <a:gd name="csY1035" fmla="*/ 117569 h 1538630"/>
              <a:gd name="csX1036" fmla="*/ 1087350 w 1609516"/>
              <a:gd name="csY1036" fmla="*/ 113363 h 1538630"/>
              <a:gd name="csX1037" fmla="*/ 1092037 w 1609516"/>
              <a:gd name="csY1037" fmla="*/ 111954 h 1538630"/>
              <a:gd name="csX1038" fmla="*/ 1092623 w 1609516"/>
              <a:gd name="csY1038" fmla="*/ 108695 h 1538630"/>
              <a:gd name="csX1039" fmla="*/ 1096723 w 1609516"/>
              <a:gd name="csY1039" fmla="*/ 100680 h 1538630"/>
              <a:gd name="csX1040" fmla="*/ 1098188 w 1609516"/>
              <a:gd name="csY1040" fmla="*/ 96013 h 1538630"/>
              <a:gd name="csX1041" fmla="*/ 1102288 w 1609516"/>
              <a:gd name="csY1041" fmla="*/ 87029 h 1538630"/>
              <a:gd name="csX1042" fmla="*/ 1104534 w 1609516"/>
              <a:gd name="csY1042" fmla="*/ 61222 h 1538630"/>
              <a:gd name="csX1043" fmla="*/ 1104381 w 1609516"/>
              <a:gd name="csY1043" fmla="*/ 55569 h 1538630"/>
              <a:gd name="csX1044" fmla="*/ 1104397 w 1609516"/>
              <a:gd name="csY1044" fmla="*/ 52335 h 1538630"/>
              <a:gd name="csX1045" fmla="*/ 1104436 w 1609516"/>
              <a:gd name="csY1045" fmla="*/ 48979 h 1538630"/>
              <a:gd name="csX1046" fmla="*/ 1104457 w 1609516"/>
              <a:gd name="csY1046" fmla="*/ 45575 h 1538630"/>
              <a:gd name="csX1047" fmla="*/ 1104534 w 1609516"/>
              <a:gd name="csY1047" fmla="*/ 37265 h 1538630"/>
              <a:gd name="csX1048" fmla="*/ 1107658 w 1609516"/>
              <a:gd name="csY1048" fmla="*/ 37265 h 1538630"/>
              <a:gd name="csX1049" fmla="*/ 1107463 w 1609516"/>
              <a:gd name="csY1049" fmla="*/ 31805 h 1538630"/>
              <a:gd name="csX1050" fmla="*/ 1107658 w 1609516"/>
              <a:gd name="csY1050" fmla="*/ 25991 h 1538630"/>
              <a:gd name="csX1051" fmla="*/ 1110782 w 1609516"/>
              <a:gd name="csY1051" fmla="*/ 23173 h 1538630"/>
              <a:gd name="csX1052" fmla="*/ 1111759 w 1609516"/>
              <a:gd name="csY1052" fmla="*/ 20091 h 1538630"/>
              <a:gd name="csX1053" fmla="*/ 1134507 w 1609516"/>
              <a:gd name="csY1053" fmla="*/ 2828 h 1538630"/>
              <a:gd name="csX1054" fmla="*/ 1155019 w 1609516"/>
              <a:gd name="csY1054" fmla="*/ 35 h 153863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  <a:cxn ang="0">
                <a:pos x="csX170" y="csY170"/>
              </a:cxn>
              <a:cxn ang="0">
                <a:pos x="csX171" y="csY171"/>
              </a:cxn>
              <a:cxn ang="0">
                <a:pos x="csX172" y="csY172"/>
              </a:cxn>
              <a:cxn ang="0">
                <a:pos x="csX173" y="csY173"/>
              </a:cxn>
              <a:cxn ang="0">
                <a:pos x="csX174" y="csY174"/>
              </a:cxn>
              <a:cxn ang="0">
                <a:pos x="csX175" y="csY175"/>
              </a:cxn>
              <a:cxn ang="0">
                <a:pos x="csX176" y="csY176"/>
              </a:cxn>
              <a:cxn ang="0">
                <a:pos x="csX177" y="csY177"/>
              </a:cxn>
              <a:cxn ang="0">
                <a:pos x="csX178" y="csY178"/>
              </a:cxn>
              <a:cxn ang="0">
                <a:pos x="csX179" y="csY179"/>
              </a:cxn>
              <a:cxn ang="0">
                <a:pos x="csX180" y="csY180"/>
              </a:cxn>
              <a:cxn ang="0">
                <a:pos x="csX181" y="csY181"/>
              </a:cxn>
              <a:cxn ang="0">
                <a:pos x="csX182" y="csY182"/>
              </a:cxn>
              <a:cxn ang="0">
                <a:pos x="csX183" y="csY183"/>
              </a:cxn>
              <a:cxn ang="0">
                <a:pos x="csX184" y="csY184"/>
              </a:cxn>
              <a:cxn ang="0">
                <a:pos x="csX185" y="csY185"/>
              </a:cxn>
              <a:cxn ang="0">
                <a:pos x="csX186" y="csY186"/>
              </a:cxn>
              <a:cxn ang="0">
                <a:pos x="csX187" y="csY187"/>
              </a:cxn>
              <a:cxn ang="0">
                <a:pos x="csX188" y="csY188"/>
              </a:cxn>
              <a:cxn ang="0">
                <a:pos x="csX189" y="csY189"/>
              </a:cxn>
              <a:cxn ang="0">
                <a:pos x="csX190" y="csY190"/>
              </a:cxn>
              <a:cxn ang="0">
                <a:pos x="csX191" y="csY191"/>
              </a:cxn>
              <a:cxn ang="0">
                <a:pos x="csX192" y="csY192"/>
              </a:cxn>
              <a:cxn ang="0">
                <a:pos x="csX193" y="csY193"/>
              </a:cxn>
              <a:cxn ang="0">
                <a:pos x="csX194" y="csY194"/>
              </a:cxn>
              <a:cxn ang="0">
                <a:pos x="csX195" y="csY195"/>
              </a:cxn>
              <a:cxn ang="0">
                <a:pos x="csX196" y="csY196"/>
              </a:cxn>
              <a:cxn ang="0">
                <a:pos x="csX197" y="csY197"/>
              </a:cxn>
              <a:cxn ang="0">
                <a:pos x="csX198" y="csY198"/>
              </a:cxn>
              <a:cxn ang="0">
                <a:pos x="csX199" y="csY199"/>
              </a:cxn>
              <a:cxn ang="0">
                <a:pos x="csX200" y="csY200"/>
              </a:cxn>
              <a:cxn ang="0">
                <a:pos x="csX201" y="csY201"/>
              </a:cxn>
              <a:cxn ang="0">
                <a:pos x="csX202" y="csY202"/>
              </a:cxn>
              <a:cxn ang="0">
                <a:pos x="csX203" y="csY203"/>
              </a:cxn>
              <a:cxn ang="0">
                <a:pos x="csX204" y="csY204"/>
              </a:cxn>
              <a:cxn ang="0">
                <a:pos x="csX205" y="csY205"/>
              </a:cxn>
              <a:cxn ang="0">
                <a:pos x="csX206" y="csY206"/>
              </a:cxn>
              <a:cxn ang="0">
                <a:pos x="csX207" y="csY207"/>
              </a:cxn>
              <a:cxn ang="0">
                <a:pos x="csX208" y="csY208"/>
              </a:cxn>
              <a:cxn ang="0">
                <a:pos x="csX209" y="csY209"/>
              </a:cxn>
              <a:cxn ang="0">
                <a:pos x="csX210" y="csY210"/>
              </a:cxn>
              <a:cxn ang="0">
                <a:pos x="csX211" y="csY211"/>
              </a:cxn>
              <a:cxn ang="0">
                <a:pos x="csX212" y="csY212"/>
              </a:cxn>
              <a:cxn ang="0">
                <a:pos x="csX213" y="csY213"/>
              </a:cxn>
              <a:cxn ang="0">
                <a:pos x="csX214" y="csY214"/>
              </a:cxn>
              <a:cxn ang="0">
                <a:pos x="csX215" y="csY215"/>
              </a:cxn>
              <a:cxn ang="0">
                <a:pos x="csX216" y="csY216"/>
              </a:cxn>
              <a:cxn ang="0">
                <a:pos x="csX217" y="csY217"/>
              </a:cxn>
              <a:cxn ang="0">
                <a:pos x="csX218" y="csY218"/>
              </a:cxn>
              <a:cxn ang="0">
                <a:pos x="csX219" y="csY219"/>
              </a:cxn>
              <a:cxn ang="0">
                <a:pos x="csX220" y="csY220"/>
              </a:cxn>
              <a:cxn ang="0">
                <a:pos x="csX221" y="csY221"/>
              </a:cxn>
              <a:cxn ang="0">
                <a:pos x="csX222" y="csY222"/>
              </a:cxn>
              <a:cxn ang="0">
                <a:pos x="csX223" y="csY223"/>
              </a:cxn>
              <a:cxn ang="0">
                <a:pos x="csX224" y="csY224"/>
              </a:cxn>
              <a:cxn ang="0">
                <a:pos x="csX225" y="csY225"/>
              </a:cxn>
              <a:cxn ang="0">
                <a:pos x="csX226" y="csY226"/>
              </a:cxn>
              <a:cxn ang="0">
                <a:pos x="csX227" y="csY227"/>
              </a:cxn>
              <a:cxn ang="0">
                <a:pos x="csX228" y="csY228"/>
              </a:cxn>
              <a:cxn ang="0">
                <a:pos x="csX229" y="csY229"/>
              </a:cxn>
              <a:cxn ang="0">
                <a:pos x="csX230" y="csY230"/>
              </a:cxn>
              <a:cxn ang="0">
                <a:pos x="csX231" y="csY231"/>
              </a:cxn>
              <a:cxn ang="0">
                <a:pos x="csX232" y="csY232"/>
              </a:cxn>
              <a:cxn ang="0">
                <a:pos x="csX233" y="csY233"/>
              </a:cxn>
              <a:cxn ang="0">
                <a:pos x="csX234" y="csY234"/>
              </a:cxn>
              <a:cxn ang="0">
                <a:pos x="csX235" y="csY235"/>
              </a:cxn>
              <a:cxn ang="0">
                <a:pos x="csX236" y="csY236"/>
              </a:cxn>
              <a:cxn ang="0">
                <a:pos x="csX237" y="csY237"/>
              </a:cxn>
              <a:cxn ang="0">
                <a:pos x="csX238" y="csY238"/>
              </a:cxn>
              <a:cxn ang="0">
                <a:pos x="csX239" y="csY239"/>
              </a:cxn>
              <a:cxn ang="0">
                <a:pos x="csX240" y="csY240"/>
              </a:cxn>
              <a:cxn ang="0">
                <a:pos x="csX241" y="csY241"/>
              </a:cxn>
              <a:cxn ang="0">
                <a:pos x="csX242" y="csY242"/>
              </a:cxn>
              <a:cxn ang="0">
                <a:pos x="csX243" y="csY243"/>
              </a:cxn>
              <a:cxn ang="0">
                <a:pos x="csX244" y="csY244"/>
              </a:cxn>
              <a:cxn ang="0">
                <a:pos x="csX245" y="csY245"/>
              </a:cxn>
              <a:cxn ang="0">
                <a:pos x="csX246" y="csY246"/>
              </a:cxn>
              <a:cxn ang="0">
                <a:pos x="csX247" y="csY247"/>
              </a:cxn>
              <a:cxn ang="0">
                <a:pos x="csX248" y="csY248"/>
              </a:cxn>
              <a:cxn ang="0">
                <a:pos x="csX249" y="csY249"/>
              </a:cxn>
              <a:cxn ang="0">
                <a:pos x="csX250" y="csY250"/>
              </a:cxn>
              <a:cxn ang="0">
                <a:pos x="csX251" y="csY251"/>
              </a:cxn>
              <a:cxn ang="0">
                <a:pos x="csX252" y="csY252"/>
              </a:cxn>
              <a:cxn ang="0">
                <a:pos x="csX253" y="csY253"/>
              </a:cxn>
              <a:cxn ang="0">
                <a:pos x="csX254" y="csY254"/>
              </a:cxn>
              <a:cxn ang="0">
                <a:pos x="csX255" y="csY255"/>
              </a:cxn>
              <a:cxn ang="0">
                <a:pos x="csX256" y="csY256"/>
              </a:cxn>
              <a:cxn ang="0">
                <a:pos x="csX257" y="csY257"/>
              </a:cxn>
              <a:cxn ang="0">
                <a:pos x="csX258" y="csY258"/>
              </a:cxn>
              <a:cxn ang="0">
                <a:pos x="csX259" y="csY259"/>
              </a:cxn>
              <a:cxn ang="0">
                <a:pos x="csX260" y="csY260"/>
              </a:cxn>
              <a:cxn ang="0">
                <a:pos x="csX261" y="csY261"/>
              </a:cxn>
              <a:cxn ang="0">
                <a:pos x="csX262" y="csY262"/>
              </a:cxn>
              <a:cxn ang="0">
                <a:pos x="csX263" y="csY263"/>
              </a:cxn>
              <a:cxn ang="0">
                <a:pos x="csX264" y="csY264"/>
              </a:cxn>
              <a:cxn ang="0">
                <a:pos x="csX265" y="csY265"/>
              </a:cxn>
              <a:cxn ang="0">
                <a:pos x="csX266" y="csY266"/>
              </a:cxn>
              <a:cxn ang="0">
                <a:pos x="csX267" y="csY267"/>
              </a:cxn>
              <a:cxn ang="0">
                <a:pos x="csX268" y="csY268"/>
              </a:cxn>
              <a:cxn ang="0">
                <a:pos x="csX269" y="csY269"/>
              </a:cxn>
              <a:cxn ang="0">
                <a:pos x="csX270" y="csY270"/>
              </a:cxn>
              <a:cxn ang="0">
                <a:pos x="csX271" y="csY271"/>
              </a:cxn>
              <a:cxn ang="0">
                <a:pos x="csX272" y="csY272"/>
              </a:cxn>
              <a:cxn ang="0">
                <a:pos x="csX273" y="csY273"/>
              </a:cxn>
              <a:cxn ang="0">
                <a:pos x="csX274" y="csY274"/>
              </a:cxn>
              <a:cxn ang="0">
                <a:pos x="csX275" y="csY275"/>
              </a:cxn>
              <a:cxn ang="0">
                <a:pos x="csX276" y="csY276"/>
              </a:cxn>
              <a:cxn ang="0">
                <a:pos x="csX277" y="csY277"/>
              </a:cxn>
              <a:cxn ang="0">
                <a:pos x="csX278" y="csY278"/>
              </a:cxn>
              <a:cxn ang="0">
                <a:pos x="csX279" y="csY279"/>
              </a:cxn>
              <a:cxn ang="0">
                <a:pos x="csX280" y="csY280"/>
              </a:cxn>
              <a:cxn ang="0">
                <a:pos x="csX281" y="csY281"/>
              </a:cxn>
              <a:cxn ang="0">
                <a:pos x="csX282" y="csY282"/>
              </a:cxn>
              <a:cxn ang="0">
                <a:pos x="csX283" y="csY283"/>
              </a:cxn>
              <a:cxn ang="0">
                <a:pos x="csX284" y="csY284"/>
              </a:cxn>
              <a:cxn ang="0">
                <a:pos x="csX285" y="csY285"/>
              </a:cxn>
              <a:cxn ang="0">
                <a:pos x="csX286" y="csY286"/>
              </a:cxn>
              <a:cxn ang="0">
                <a:pos x="csX287" y="csY287"/>
              </a:cxn>
              <a:cxn ang="0">
                <a:pos x="csX288" y="csY288"/>
              </a:cxn>
              <a:cxn ang="0">
                <a:pos x="csX289" y="csY289"/>
              </a:cxn>
              <a:cxn ang="0">
                <a:pos x="csX290" y="csY290"/>
              </a:cxn>
              <a:cxn ang="0">
                <a:pos x="csX291" y="csY291"/>
              </a:cxn>
              <a:cxn ang="0">
                <a:pos x="csX292" y="csY292"/>
              </a:cxn>
              <a:cxn ang="0">
                <a:pos x="csX293" y="csY293"/>
              </a:cxn>
              <a:cxn ang="0">
                <a:pos x="csX294" y="csY294"/>
              </a:cxn>
              <a:cxn ang="0">
                <a:pos x="csX295" y="csY295"/>
              </a:cxn>
              <a:cxn ang="0">
                <a:pos x="csX296" y="csY296"/>
              </a:cxn>
              <a:cxn ang="0">
                <a:pos x="csX297" y="csY297"/>
              </a:cxn>
              <a:cxn ang="0">
                <a:pos x="csX298" y="csY298"/>
              </a:cxn>
              <a:cxn ang="0">
                <a:pos x="csX299" y="csY299"/>
              </a:cxn>
              <a:cxn ang="0">
                <a:pos x="csX300" y="csY300"/>
              </a:cxn>
              <a:cxn ang="0">
                <a:pos x="csX301" y="csY301"/>
              </a:cxn>
              <a:cxn ang="0">
                <a:pos x="csX302" y="csY302"/>
              </a:cxn>
              <a:cxn ang="0">
                <a:pos x="csX303" y="csY303"/>
              </a:cxn>
              <a:cxn ang="0">
                <a:pos x="csX304" y="csY304"/>
              </a:cxn>
              <a:cxn ang="0">
                <a:pos x="csX305" y="csY305"/>
              </a:cxn>
              <a:cxn ang="0">
                <a:pos x="csX306" y="csY306"/>
              </a:cxn>
              <a:cxn ang="0">
                <a:pos x="csX307" y="csY307"/>
              </a:cxn>
              <a:cxn ang="0">
                <a:pos x="csX308" y="csY308"/>
              </a:cxn>
              <a:cxn ang="0">
                <a:pos x="csX309" y="csY309"/>
              </a:cxn>
              <a:cxn ang="0">
                <a:pos x="csX310" y="csY310"/>
              </a:cxn>
              <a:cxn ang="0">
                <a:pos x="csX311" y="csY311"/>
              </a:cxn>
              <a:cxn ang="0">
                <a:pos x="csX312" y="csY312"/>
              </a:cxn>
              <a:cxn ang="0">
                <a:pos x="csX313" y="csY313"/>
              </a:cxn>
              <a:cxn ang="0">
                <a:pos x="csX314" y="csY314"/>
              </a:cxn>
              <a:cxn ang="0">
                <a:pos x="csX315" y="csY315"/>
              </a:cxn>
              <a:cxn ang="0">
                <a:pos x="csX316" y="csY316"/>
              </a:cxn>
              <a:cxn ang="0">
                <a:pos x="csX317" y="csY317"/>
              </a:cxn>
              <a:cxn ang="0">
                <a:pos x="csX318" y="csY318"/>
              </a:cxn>
              <a:cxn ang="0">
                <a:pos x="csX319" y="csY319"/>
              </a:cxn>
              <a:cxn ang="0">
                <a:pos x="csX320" y="csY320"/>
              </a:cxn>
              <a:cxn ang="0">
                <a:pos x="csX321" y="csY321"/>
              </a:cxn>
              <a:cxn ang="0">
                <a:pos x="csX322" y="csY322"/>
              </a:cxn>
              <a:cxn ang="0">
                <a:pos x="csX323" y="csY323"/>
              </a:cxn>
              <a:cxn ang="0">
                <a:pos x="csX324" y="csY324"/>
              </a:cxn>
              <a:cxn ang="0">
                <a:pos x="csX325" y="csY325"/>
              </a:cxn>
              <a:cxn ang="0">
                <a:pos x="csX326" y="csY326"/>
              </a:cxn>
              <a:cxn ang="0">
                <a:pos x="csX327" y="csY327"/>
              </a:cxn>
              <a:cxn ang="0">
                <a:pos x="csX328" y="csY328"/>
              </a:cxn>
              <a:cxn ang="0">
                <a:pos x="csX329" y="csY329"/>
              </a:cxn>
              <a:cxn ang="0">
                <a:pos x="csX330" y="csY330"/>
              </a:cxn>
              <a:cxn ang="0">
                <a:pos x="csX331" y="csY331"/>
              </a:cxn>
              <a:cxn ang="0">
                <a:pos x="csX332" y="csY332"/>
              </a:cxn>
              <a:cxn ang="0">
                <a:pos x="csX333" y="csY333"/>
              </a:cxn>
              <a:cxn ang="0">
                <a:pos x="csX334" y="csY334"/>
              </a:cxn>
              <a:cxn ang="0">
                <a:pos x="csX335" y="csY335"/>
              </a:cxn>
              <a:cxn ang="0">
                <a:pos x="csX336" y="csY336"/>
              </a:cxn>
              <a:cxn ang="0">
                <a:pos x="csX337" y="csY337"/>
              </a:cxn>
              <a:cxn ang="0">
                <a:pos x="csX338" y="csY338"/>
              </a:cxn>
              <a:cxn ang="0">
                <a:pos x="csX339" y="csY339"/>
              </a:cxn>
              <a:cxn ang="0">
                <a:pos x="csX340" y="csY340"/>
              </a:cxn>
              <a:cxn ang="0">
                <a:pos x="csX341" y="csY341"/>
              </a:cxn>
              <a:cxn ang="0">
                <a:pos x="csX342" y="csY342"/>
              </a:cxn>
              <a:cxn ang="0">
                <a:pos x="csX343" y="csY343"/>
              </a:cxn>
              <a:cxn ang="0">
                <a:pos x="csX344" y="csY344"/>
              </a:cxn>
              <a:cxn ang="0">
                <a:pos x="csX345" y="csY345"/>
              </a:cxn>
              <a:cxn ang="0">
                <a:pos x="csX346" y="csY346"/>
              </a:cxn>
              <a:cxn ang="0">
                <a:pos x="csX347" y="csY347"/>
              </a:cxn>
              <a:cxn ang="0">
                <a:pos x="csX348" y="csY348"/>
              </a:cxn>
              <a:cxn ang="0">
                <a:pos x="csX349" y="csY349"/>
              </a:cxn>
              <a:cxn ang="0">
                <a:pos x="csX350" y="csY350"/>
              </a:cxn>
              <a:cxn ang="0">
                <a:pos x="csX351" y="csY351"/>
              </a:cxn>
              <a:cxn ang="0">
                <a:pos x="csX352" y="csY352"/>
              </a:cxn>
              <a:cxn ang="0">
                <a:pos x="csX353" y="csY353"/>
              </a:cxn>
              <a:cxn ang="0">
                <a:pos x="csX354" y="csY354"/>
              </a:cxn>
              <a:cxn ang="0">
                <a:pos x="csX355" y="csY355"/>
              </a:cxn>
              <a:cxn ang="0">
                <a:pos x="csX356" y="csY356"/>
              </a:cxn>
              <a:cxn ang="0">
                <a:pos x="csX357" y="csY357"/>
              </a:cxn>
              <a:cxn ang="0">
                <a:pos x="csX358" y="csY358"/>
              </a:cxn>
              <a:cxn ang="0">
                <a:pos x="csX359" y="csY359"/>
              </a:cxn>
              <a:cxn ang="0">
                <a:pos x="csX360" y="csY360"/>
              </a:cxn>
              <a:cxn ang="0">
                <a:pos x="csX361" y="csY361"/>
              </a:cxn>
              <a:cxn ang="0">
                <a:pos x="csX362" y="csY362"/>
              </a:cxn>
              <a:cxn ang="0">
                <a:pos x="csX363" y="csY363"/>
              </a:cxn>
              <a:cxn ang="0">
                <a:pos x="csX364" y="csY364"/>
              </a:cxn>
              <a:cxn ang="0">
                <a:pos x="csX365" y="csY365"/>
              </a:cxn>
              <a:cxn ang="0">
                <a:pos x="csX366" y="csY366"/>
              </a:cxn>
              <a:cxn ang="0">
                <a:pos x="csX367" y="csY367"/>
              </a:cxn>
              <a:cxn ang="0">
                <a:pos x="csX368" y="csY368"/>
              </a:cxn>
              <a:cxn ang="0">
                <a:pos x="csX369" y="csY369"/>
              </a:cxn>
              <a:cxn ang="0">
                <a:pos x="csX370" y="csY370"/>
              </a:cxn>
              <a:cxn ang="0">
                <a:pos x="csX371" y="csY371"/>
              </a:cxn>
              <a:cxn ang="0">
                <a:pos x="csX372" y="csY372"/>
              </a:cxn>
              <a:cxn ang="0">
                <a:pos x="csX373" y="csY373"/>
              </a:cxn>
              <a:cxn ang="0">
                <a:pos x="csX374" y="csY374"/>
              </a:cxn>
              <a:cxn ang="0">
                <a:pos x="csX375" y="csY375"/>
              </a:cxn>
              <a:cxn ang="0">
                <a:pos x="csX376" y="csY376"/>
              </a:cxn>
              <a:cxn ang="0">
                <a:pos x="csX377" y="csY377"/>
              </a:cxn>
              <a:cxn ang="0">
                <a:pos x="csX378" y="csY378"/>
              </a:cxn>
              <a:cxn ang="0">
                <a:pos x="csX379" y="csY379"/>
              </a:cxn>
              <a:cxn ang="0">
                <a:pos x="csX380" y="csY380"/>
              </a:cxn>
              <a:cxn ang="0">
                <a:pos x="csX381" y="csY381"/>
              </a:cxn>
              <a:cxn ang="0">
                <a:pos x="csX382" y="csY382"/>
              </a:cxn>
              <a:cxn ang="0">
                <a:pos x="csX383" y="csY383"/>
              </a:cxn>
              <a:cxn ang="0">
                <a:pos x="csX384" y="csY384"/>
              </a:cxn>
              <a:cxn ang="0">
                <a:pos x="csX385" y="csY385"/>
              </a:cxn>
              <a:cxn ang="0">
                <a:pos x="csX386" y="csY386"/>
              </a:cxn>
              <a:cxn ang="0">
                <a:pos x="csX387" y="csY387"/>
              </a:cxn>
              <a:cxn ang="0">
                <a:pos x="csX388" y="csY388"/>
              </a:cxn>
              <a:cxn ang="0">
                <a:pos x="csX389" y="csY389"/>
              </a:cxn>
              <a:cxn ang="0">
                <a:pos x="csX390" y="csY390"/>
              </a:cxn>
              <a:cxn ang="0">
                <a:pos x="csX391" y="csY391"/>
              </a:cxn>
              <a:cxn ang="0">
                <a:pos x="csX392" y="csY392"/>
              </a:cxn>
              <a:cxn ang="0">
                <a:pos x="csX393" y="csY393"/>
              </a:cxn>
              <a:cxn ang="0">
                <a:pos x="csX394" y="csY394"/>
              </a:cxn>
              <a:cxn ang="0">
                <a:pos x="csX395" y="csY395"/>
              </a:cxn>
              <a:cxn ang="0">
                <a:pos x="csX396" y="csY396"/>
              </a:cxn>
              <a:cxn ang="0">
                <a:pos x="csX397" y="csY397"/>
              </a:cxn>
              <a:cxn ang="0">
                <a:pos x="csX398" y="csY398"/>
              </a:cxn>
              <a:cxn ang="0">
                <a:pos x="csX399" y="csY399"/>
              </a:cxn>
              <a:cxn ang="0">
                <a:pos x="csX400" y="csY400"/>
              </a:cxn>
              <a:cxn ang="0">
                <a:pos x="csX401" y="csY401"/>
              </a:cxn>
              <a:cxn ang="0">
                <a:pos x="csX402" y="csY402"/>
              </a:cxn>
              <a:cxn ang="0">
                <a:pos x="csX403" y="csY403"/>
              </a:cxn>
              <a:cxn ang="0">
                <a:pos x="csX404" y="csY404"/>
              </a:cxn>
              <a:cxn ang="0">
                <a:pos x="csX405" y="csY405"/>
              </a:cxn>
              <a:cxn ang="0">
                <a:pos x="csX406" y="csY406"/>
              </a:cxn>
              <a:cxn ang="0">
                <a:pos x="csX407" y="csY407"/>
              </a:cxn>
              <a:cxn ang="0">
                <a:pos x="csX408" y="csY408"/>
              </a:cxn>
              <a:cxn ang="0">
                <a:pos x="csX409" y="csY409"/>
              </a:cxn>
              <a:cxn ang="0">
                <a:pos x="csX410" y="csY410"/>
              </a:cxn>
              <a:cxn ang="0">
                <a:pos x="csX411" y="csY411"/>
              </a:cxn>
              <a:cxn ang="0">
                <a:pos x="csX412" y="csY412"/>
              </a:cxn>
              <a:cxn ang="0">
                <a:pos x="csX413" y="csY413"/>
              </a:cxn>
              <a:cxn ang="0">
                <a:pos x="csX414" y="csY414"/>
              </a:cxn>
              <a:cxn ang="0">
                <a:pos x="csX415" y="csY415"/>
              </a:cxn>
              <a:cxn ang="0">
                <a:pos x="csX416" y="csY416"/>
              </a:cxn>
              <a:cxn ang="0">
                <a:pos x="csX417" y="csY417"/>
              </a:cxn>
              <a:cxn ang="0">
                <a:pos x="csX418" y="csY418"/>
              </a:cxn>
              <a:cxn ang="0">
                <a:pos x="csX419" y="csY419"/>
              </a:cxn>
              <a:cxn ang="0">
                <a:pos x="csX420" y="csY420"/>
              </a:cxn>
              <a:cxn ang="0">
                <a:pos x="csX421" y="csY421"/>
              </a:cxn>
              <a:cxn ang="0">
                <a:pos x="csX422" y="csY422"/>
              </a:cxn>
              <a:cxn ang="0">
                <a:pos x="csX423" y="csY423"/>
              </a:cxn>
              <a:cxn ang="0">
                <a:pos x="csX424" y="csY424"/>
              </a:cxn>
              <a:cxn ang="0">
                <a:pos x="csX425" y="csY425"/>
              </a:cxn>
              <a:cxn ang="0">
                <a:pos x="csX426" y="csY426"/>
              </a:cxn>
              <a:cxn ang="0">
                <a:pos x="csX427" y="csY427"/>
              </a:cxn>
              <a:cxn ang="0">
                <a:pos x="csX428" y="csY428"/>
              </a:cxn>
              <a:cxn ang="0">
                <a:pos x="csX429" y="csY429"/>
              </a:cxn>
              <a:cxn ang="0">
                <a:pos x="csX430" y="csY430"/>
              </a:cxn>
              <a:cxn ang="0">
                <a:pos x="csX431" y="csY431"/>
              </a:cxn>
              <a:cxn ang="0">
                <a:pos x="csX432" y="csY432"/>
              </a:cxn>
              <a:cxn ang="0">
                <a:pos x="csX433" y="csY433"/>
              </a:cxn>
              <a:cxn ang="0">
                <a:pos x="csX434" y="csY434"/>
              </a:cxn>
              <a:cxn ang="0">
                <a:pos x="csX435" y="csY435"/>
              </a:cxn>
              <a:cxn ang="0">
                <a:pos x="csX436" y="csY436"/>
              </a:cxn>
              <a:cxn ang="0">
                <a:pos x="csX437" y="csY437"/>
              </a:cxn>
              <a:cxn ang="0">
                <a:pos x="csX438" y="csY438"/>
              </a:cxn>
              <a:cxn ang="0">
                <a:pos x="csX439" y="csY439"/>
              </a:cxn>
              <a:cxn ang="0">
                <a:pos x="csX440" y="csY440"/>
              </a:cxn>
              <a:cxn ang="0">
                <a:pos x="csX441" y="csY441"/>
              </a:cxn>
              <a:cxn ang="0">
                <a:pos x="csX442" y="csY442"/>
              </a:cxn>
              <a:cxn ang="0">
                <a:pos x="csX443" y="csY443"/>
              </a:cxn>
              <a:cxn ang="0">
                <a:pos x="csX444" y="csY444"/>
              </a:cxn>
              <a:cxn ang="0">
                <a:pos x="csX445" y="csY445"/>
              </a:cxn>
              <a:cxn ang="0">
                <a:pos x="csX446" y="csY446"/>
              </a:cxn>
              <a:cxn ang="0">
                <a:pos x="csX447" y="csY447"/>
              </a:cxn>
              <a:cxn ang="0">
                <a:pos x="csX448" y="csY448"/>
              </a:cxn>
              <a:cxn ang="0">
                <a:pos x="csX449" y="csY449"/>
              </a:cxn>
              <a:cxn ang="0">
                <a:pos x="csX450" y="csY450"/>
              </a:cxn>
              <a:cxn ang="0">
                <a:pos x="csX451" y="csY451"/>
              </a:cxn>
              <a:cxn ang="0">
                <a:pos x="csX452" y="csY452"/>
              </a:cxn>
              <a:cxn ang="0">
                <a:pos x="csX453" y="csY453"/>
              </a:cxn>
              <a:cxn ang="0">
                <a:pos x="csX454" y="csY454"/>
              </a:cxn>
              <a:cxn ang="0">
                <a:pos x="csX455" y="csY455"/>
              </a:cxn>
              <a:cxn ang="0">
                <a:pos x="csX456" y="csY456"/>
              </a:cxn>
              <a:cxn ang="0">
                <a:pos x="csX457" y="csY457"/>
              </a:cxn>
              <a:cxn ang="0">
                <a:pos x="csX458" y="csY458"/>
              </a:cxn>
              <a:cxn ang="0">
                <a:pos x="csX459" y="csY459"/>
              </a:cxn>
              <a:cxn ang="0">
                <a:pos x="csX460" y="csY460"/>
              </a:cxn>
              <a:cxn ang="0">
                <a:pos x="csX461" y="csY461"/>
              </a:cxn>
              <a:cxn ang="0">
                <a:pos x="csX462" y="csY462"/>
              </a:cxn>
              <a:cxn ang="0">
                <a:pos x="csX463" y="csY463"/>
              </a:cxn>
              <a:cxn ang="0">
                <a:pos x="csX464" y="csY464"/>
              </a:cxn>
              <a:cxn ang="0">
                <a:pos x="csX465" y="csY465"/>
              </a:cxn>
              <a:cxn ang="0">
                <a:pos x="csX466" y="csY466"/>
              </a:cxn>
              <a:cxn ang="0">
                <a:pos x="csX467" y="csY467"/>
              </a:cxn>
              <a:cxn ang="0">
                <a:pos x="csX468" y="csY468"/>
              </a:cxn>
              <a:cxn ang="0">
                <a:pos x="csX469" y="csY469"/>
              </a:cxn>
              <a:cxn ang="0">
                <a:pos x="csX470" y="csY470"/>
              </a:cxn>
              <a:cxn ang="0">
                <a:pos x="csX471" y="csY471"/>
              </a:cxn>
              <a:cxn ang="0">
                <a:pos x="csX472" y="csY472"/>
              </a:cxn>
              <a:cxn ang="0">
                <a:pos x="csX473" y="csY473"/>
              </a:cxn>
              <a:cxn ang="0">
                <a:pos x="csX474" y="csY474"/>
              </a:cxn>
              <a:cxn ang="0">
                <a:pos x="csX475" y="csY475"/>
              </a:cxn>
              <a:cxn ang="0">
                <a:pos x="csX476" y="csY476"/>
              </a:cxn>
              <a:cxn ang="0">
                <a:pos x="csX477" y="csY477"/>
              </a:cxn>
              <a:cxn ang="0">
                <a:pos x="csX478" y="csY478"/>
              </a:cxn>
              <a:cxn ang="0">
                <a:pos x="csX479" y="csY479"/>
              </a:cxn>
              <a:cxn ang="0">
                <a:pos x="csX480" y="csY480"/>
              </a:cxn>
              <a:cxn ang="0">
                <a:pos x="csX481" y="csY481"/>
              </a:cxn>
              <a:cxn ang="0">
                <a:pos x="csX482" y="csY482"/>
              </a:cxn>
              <a:cxn ang="0">
                <a:pos x="csX483" y="csY483"/>
              </a:cxn>
              <a:cxn ang="0">
                <a:pos x="csX484" y="csY484"/>
              </a:cxn>
              <a:cxn ang="0">
                <a:pos x="csX485" y="csY485"/>
              </a:cxn>
              <a:cxn ang="0">
                <a:pos x="csX486" y="csY486"/>
              </a:cxn>
              <a:cxn ang="0">
                <a:pos x="csX487" y="csY487"/>
              </a:cxn>
              <a:cxn ang="0">
                <a:pos x="csX488" y="csY488"/>
              </a:cxn>
              <a:cxn ang="0">
                <a:pos x="csX489" y="csY489"/>
              </a:cxn>
              <a:cxn ang="0">
                <a:pos x="csX490" y="csY490"/>
              </a:cxn>
              <a:cxn ang="0">
                <a:pos x="csX491" y="csY491"/>
              </a:cxn>
              <a:cxn ang="0">
                <a:pos x="csX492" y="csY492"/>
              </a:cxn>
              <a:cxn ang="0">
                <a:pos x="csX493" y="csY493"/>
              </a:cxn>
              <a:cxn ang="0">
                <a:pos x="csX494" y="csY494"/>
              </a:cxn>
              <a:cxn ang="0">
                <a:pos x="csX495" y="csY495"/>
              </a:cxn>
              <a:cxn ang="0">
                <a:pos x="csX496" y="csY496"/>
              </a:cxn>
              <a:cxn ang="0">
                <a:pos x="csX497" y="csY497"/>
              </a:cxn>
              <a:cxn ang="0">
                <a:pos x="csX498" y="csY498"/>
              </a:cxn>
              <a:cxn ang="0">
                <a:pos x="csX499" y="csY499"/>
              </a:cxn>
              <a:cxn ang="0">
                <a:pos x="csX500" y="csY500"/>
              </a:cxn>
              <a:cxn ang="0">
                <a:pos x="csX501" y="csY501"/>
              </a:cxn>
              <a:cxn ang="0">
                <a:pos x="csX502" y="csY502"/>
              </a:cxn>
              <a:cxn ang="0">
                <a:pos x="csX503" y="csY503"/>
              </a:cxn>
              <a:cxn ang="0">
                <a:pos x="csX504" y="csY504"/>
              </a:cxn>
              <a:cxn ang="0">
                <a:pos x="csX505" y="csY505"/>
              </a:cxn>
              <a:cxn ang="0">
                <a:pos x="csX506" y="csY506"/>
              </a:cxn>
              <a:cxn ang="0">
                <a:pos x="csX507" y="csY507"/>
              </a:cxn>
              <a:cxn ang="0">
                <a:pos x="csX508" y="csY508"/>
              </a:cxn>
              <a:cxn ang="0">
                <a:pos x="csX509" y="csY509"/>
              </a:cxn>
              <a:cxn ang="0">
                <a:pos x="csX510" y="csY510"/>
              </a:cxn>
              <a:cxn ang="0">
                <a:pos x="csX511" y="csY511"/>
              </a:cxn>
              <a:cxn ang="0">
                <a:pos x="csX512" y="csY512"/>
              </a:cxn>
              <a:cxn ang="0">
                <a:pos x="csX513" y="csY513"/>
              </a:cxn>
              <a:cxn ang="0">
                <a:pos x="csX514" y="csY514"/>
              </a:cxn>
              <a:cxn ang="0">
                <a:pos x="csX515" y="csY515"/>
              </a:cxn>
              <a:cxn ang="0">
                <a:pos x="csX516" y="csY516"/>
              </a:cxn>
              <a:cxn ang="0">
                <a:pos x="csX517" y="csY517"/>
              </a:cxn>
              <a:cxn ang="0">
                <a:pos x="csX518" y="csY518"/>
              </a:cxn>
              <a:cxn ang="0">
                <a:pos x="csX519" y="csY519"/>
              </a:cxn>
              <a:cxn ang="0">
                <a:pos x="csX520" y="csY520"/>
              </a:cxn>
              <a:cxn ang="0">
                <a:pos x="csX521" y="csY521"/>
              </a:cxn>
              <a:cxn ang="0">
                <a:pos x="csX522" y="csY522"/>
              </a:cxn>
              <a:cxn ang="0">
                <a:pos x="csX523" y="csY523"/>
              </a:cxn>
              <a:cxn ang="0">
                <a:pos x="csX524" y="csY524"/>
              </a:cxn>
              <a:cxn ang="0">
                <a:pos x="csX525" y="csY525"/>
              </a:cxn>
              <a:cxn ang="0">
                <a:pos x="csX526" y="csY526"/>
              </a:cxn>
              <a:cxn ang="0">
                <a:pos x="csX527" y="csY527"/>
              </a:cxn>
              <a:cxn ang="0">
                <a:pos x="csX528" y="csY528"/>
              </a:cxn>
              <a:cxn ang="0">
                <a:pos x="csX529" y="csY529"/>
              </a:cxn>
              <a:cxn ang="0">
                <a:pos x="csX530" y="csY530"/>
              </a:cxn>
              <a:cxn ang="0">
                <a:pos x="csX531" y="csY531"/>
              </a:cxn>
              <a:cxn ang="0">
                <a:pos x="csX532" y="csY532"/>
              </a:cxn>
              <a:cxn ang="0">
                <a:pos x="csX533" y="csY533"/>
              </a:cxn>
              <a:cxn ang="0">
                <a:pos x="csX534" y="csY534"/>
              </a:cxn>
              <a:cxn ang="0">
                <a:pos x="csX535" y="csY535"/>
              </a:cxn>
              <a:cxn ang="0">
                <a:pos x="csX536" y="csY536"/>
              </a:cxn>
              <a:cxn ang="0">
                <a:pos x="csX537" y="csY537"/>
              </a:cxn>
              <a:cxn ang="0">
                <a:pos x="csX538" y="csY538"/>
              </a:cxn>
              <a:cxn ang="0">
                <a:pos x="csX539" y="csY539"/>
              </a:cxn>
              <a:cxn ang="0">
                <a:pos x="csX540" y="csY540"/>
              </a:cxn>
              <a:cxn ang="0">
                <a:pos x="csX541" y="csY541"/>
              </a:cxn>
              <a:cxn ang="0">
                <a:pos x="csX542" y="csY542"/>
              </a:cxn>
              <a:cxn ang="0">
                <a:pos x="csX543" y="csY543"/>
              </a:cxn>
              <a:cxn ang="0">
                <a:pos x="csX544" y="csY544"/>
              </a:cxn>
              <a:cxn ang="0">
                <a:pos x="csX545" y="csY545"/>
              </a:cxn>
              <a:cxn ang="0">
                <a:pos x="csX546" y="csY546"/>
              </a:cxn>
              <a:cxn ang="0">
                <a:pos x="csX547" y="csY547"/>
              </a:cxn>
              <a:cxn ang="0">
                <a:pos x="csX548" y="csY548"/>
              </a:cxn>
              <a:cxn ang="0">
                <a:pos x="csX549" y="csY549"/>
              </a:cxn>
              <a:cxn ang="0">
                <a:pos x="csX550" y="csY550"/>
              </a:cxn>
              <a:cxn ang="0">
                <a:pos x="csX551" y="csY551"/>
              </a:cxn>
              <a:cxn ang="0">
                <a:pos x="csX552" y="csY552"/>
              </a:cxn>
              <a:cxn ang="0">
                <a:pos x="csX553" y="csY553"/>
              </a:cxn>
              <a:cxn ang="0">
                <a:pos x="csX554" y="csY554"/>
              </a:cxn>
              <a:cxn ang="0">
                <a:pos x="csX555" y="csY555"/>
              </a:cxn>
              <a:cxn ang="0">
                <a:pos x="csX556" y="csY556"/>
              </a:cxn>
              <a:cxn ang="0">
                <a:pos x="csX557" y="csY557"/>
              </a:cxn>
              <a:cxn ang="0">
                <a:pos x="csX558" y="csY558"/>
              </a:cxn>
              <a:cxn ang="0">
                <a:pos x="csX559" y="csY559"/>
              </a:cxn>
              <a:cxn ang="0">
                <a:pos x="csX560" y="csY560"/>
              </a:cxn>
              <a:cxn ang="0">
                <a:pos x="csX561" y="csY561"/>
              </a:cxn>
              <a:cxn ang="0">
                <a:pos x="csX562" y="csY562"/>
              </a:cxn>
              <a:cxn ang="0">
                <a:pos x="csX563" y="csY563"/>
              </a:cxn>
              <a:cxn ang="0">
                <a:pos x="csX564" y="csY564"/>
              </a:cxn>
              <a:cxn ang="0">
                <a:pos x="csX565" y="csY565"/>
              </a:cxn>
              <a:cxn ang="0">
                <a:pos x="csX566" y="csY566"/>
              </a:cxn>
              <a:cxn ang="0">
                <a:pos x="csX567" y="csY567"/>
              </a:cxn>
              <a:cxn ang="0">
                <a:pos x="csX568" y="csY568"/>
              </a:cxn>
              <a:cxn ang="0">
                <a:pos x="csX569" y="csY569"/>
              </a:cxn>
              <a:cxn ang="0">
                <a:pos x="csX570" y="csY570"/>
              </a:cxn>
              <a:cxn ang="0">
                <a:pos x="csX571" y="csY571"/>
              </a:cxn>
              <a:cxn ang="0">
                <a:pos x="csX572" y="csY572"/>
              </a:cxn>
              <a:cxn ang="0">
                <a:pos x="csX573" y="csY573"/>
              </a:cxn>
              <a:cxn ang="0">
                <a:pos x="csX574" y="csY574"/>
              </a:cxn>
              <a:cxn ang="0">
                <a:pos x="csX575" y="csY575"/>
              </a:cxn>
              <a:cxn ang="0">
                <a:pos x="csX576" y="csY576"/>
              </a:cxn>
              <a:cxn ang="0">
                <a:pos x="csX577" y="csY577"/>
              </a:cxn>
              <a:cxn ang="0">
                <a:pos x="csX578" y="csY578"/>
              </a:cxn>
              <a:cxn ang="0">
                <a:pos x="csX579" y="csY579"/>
              </a:cxn>
              <a:cxn ang="0">
                <a:pos x="csX580" y="csY580"/>
              </a:cxn>
              <a:cxn ang="0">
                <a:pos x="csX581" y="csY581"/>
              </a:cxn>
              <a:cxn ang="0">
                <a:pos x="csX582" y="csY582"/>
              </a:cxn>
              <a:cxn ang="0">
                <a:pos x="csX583" y="csY583"/>
              </a:cxn>
              <a:cxn ang="0">
                <a:pos x="csX584" y="csY584"/>
              </a:cxn>
              <a:cxn ang="0">
                <a:pos x="csX585" y="csY585"/>
              </a:cxn>
              <a:cxn ang="0">
                <a:pos x="csX586" y="csY586"/>
              </a:cxn>
              <a:cxn ang="0">
                <a:pos x="csX587" y="csY587"/>
              </a:cxn>
              <a:cxn ang="0">
                <a:pos x="csX588" y="csY588"/>
              </a:cxn>
              <a:cxn ang="0">
                <a:pos x="csX589" y="csY589"/>
              </a:cxn>
              <a:cxn ang="0">
                <a:pos x="csX590" y="csY590"/>
              </a:cxn>
              <a:cxn ang="0">
                <a:pos x="csX591" y="csY591"/>
              </a:cxn>
              <a:cxn ang="0">
                <a:pos x="csX592" y="csY592"/>
              </a:cxn>
              <a:cxn ang="0">
                <a:pos x="csX593" y="csY593"/>
              </a:cxn>
              <a:cxn ang="0">
                <a:pos x="csX594" y="csY594"/>
              </a:cxn>
              <a:cxn ang="0">
                <a:pos x="csX595" y="csY595"/>
              </a:cxn>
              <a:cxn ang="0">
                <a:pos x="csX596" y="csY596"/>
              </a:cxn>
              <a:cxn ang="0">
                <a:pos x="csX597" y="csY597"/>
              </a:cxn>
              <a:cxn ang="0">
                <a:pos x="csX598" y="csY598"/>
              </a:cxn>
              <a:cxn ang="0">
                <a:pos x="csX599" y="csY599"/>
              </a:cxn>
              <a:cxn ang="0">
                <a:pos x="csX600" y="csY600"/>
              </a:cxn>
              <a:cxn ang="0">
                <a:pos x="csX601" y="csY601"/>
              </a:cxn>
              <a:cxn ang="0">
                <a:pos x="csX602" y="csY602"/>
              </a:cxn>
              <a:cxn ang="0">
                <a:pos x="csX603" y="csY603"/>
              </a:cxn>
              <a:cxn ang="0">
                <a:pos x="csX604" y="csY604"/>
              </a:cxn>
              <a:cxn ang="0">
                <a:pos x="csX605" y="csY605"/>
              </a:cxn>
              <a:cxn ang="0">
                <a:pos x="csX606" y="csY606"/>
              </a:cxn>
              <a:cxn ang="0">
                <a:pos x="csX607" y="csY607"/>
              </a:cxn>
              <a:cxn ang="0">
                <a:pos x="csX608" y="csY608"/>
              </a:cxn>
              <a:cxn ang="0">
                <a:pos x="csX609" y="csY609"/>
              </a:cxn>
              <a:cxn ang="0">
                <a:pos x="csX610" y="csY610"/>
              </a:cxn>
              <a:cxn ang="0">
                <a:pos x="csX611" y="csY611"/>
              </a:cxn>
              <a:cxn ang="0">
                <a:pos x="csX612" y="csY612"/>
              </a:cxn>
              <a:cxn ang="0">
                <a:pos x="csX613" y="csY613"/>
              </a:cxn>
              <a:cxn ang="0">
                <a:pos x="csX614" y="csY614"/>
              </a:cxn>
              <a:cxn ang="0">
                <a:pos x="csX615" y="csY615"/>
              </a:cxn>
              <a:cxn ang="0">
                <a:pos x="csX616" y="csY616"/>
              </a:cxn>
              <a:cxn ang="0">
                <a:pos x="csX617" y="csY617"/>
              </a:cxn>
              <a:cxn ang="0">
                <a:pos x="csX618" y="csY618"/>
              </a:cxn>
              <a:cxn ang="0">
                <a:pos x="csX619" y="csY619"/>
              </a:cxn>
              <a:cxn ang="0">
                <a:pos x="csX620" y="csY620"/>
              </a:cxn>
              <a:cxn ang="0">
                <a:pos x="csX621" y="csY621"/>
              </a:cxn>
              <a:cxn ang="0">
                <a:pos x="csX622" y="csY622"/>
              </a:cxn>
              <a:cxn ang="0">
                <a:pos x="csX623" y="csY623"/>
              </a:cxn>
              <a:cxn ang="0">
                <a:pos x="csX624" y="csY624"/>
              </a:cxn>
              <a:cxn ang="0">
                <a:pos x="csX625" y="csY625"/>
              </a:cxn>
              <a:cxn ang="0">
                <a:pos x="csX626" y="csY626"/>
              </a:cxn>
              <a:cxn ang="0">
                <a:pos x="csX627" y="csY627"/>
              </a:cxn>
              <a:cxn ang="0">
                <a:pos x="csX628" y="csY628"/>
              </a:cxn>
              <a:cxn ang="0">
                <a:pos x="csX629" y="csY629"/>
              </a:cxn>
              <a:cxn ang="0">
                <a:pos x="csX630" y="csY630"/>
              </a:cxn>
              <a:cxn ang="0">
                <a:pos x="csX631" y="csY631"/>
              </a:cxn>
              <a:cxn ang="0">
                <a:pos x="csX632" y="csY632"/>
              </a:cxn>
              <a:cxn ang="0">
                <a:pos x="csX633" y="csY633"/>
              </a:cxn>
              <a:cxn ang="0">
                <a:pos x="csX634" y="csY634"/>
              </a:cxn>
              <a:cxn ang="0">
                <a:pos x="csX635" y="csY635"/>
              </a:cxn>
              <a:cxn ang="0">
                <a:pos x="csX636" y="csY636"/>
              </a:cxn>
              <a:cxn ang="0">
                <a:pos x="csX637" y="csY637"/>
              </a:cxn>
              <a:cxn ang="0">
                <a:pos x="csX638" y="csY638"/>
              </a:cxn>
              <a:cxn ang="0">
                <a:pos x="csX639" y="csY639"/>
              </a:cxn>
              <a:cxn ang="0">
                <a:pos x="csX640" y="csY640"/>
              </a:cxn>
              <a:cxn ang="0">
                <a:pos x="csX641" y="csY641"/>
              </a:cxn>
              <a:cxn ang="0">
                <a:pos x="csX642" y="csY642"/>
              </a:cxn>
              <a:cxn ang="0">
                <a:pos x="csX643" y="csY643"/>
              </a:cxn>
              <a:cxn ang="0">
                <a:pos x="csX644" y="csY644"/>
              </a:cxn>
              <a:cxn ang="0">
                <a:pos x="csX645" y="csY645"/>
              </a:cxn>
              <a:cxn ang="0">
                <a:pos x="csX646" y="csY646"/>
              </a:cxn>
              <a:cxn ang="0">
                <a:pos x="csX647" y="csY647"/>
              </a:cxn>
              <a:cxn ang="0">
                <a:pos x="csX648" y="csY648"/>
              </a:cxn>
              <a:cxn ang="0">
                <a:pos x="csX649" y="csY649"/>
              </a:cxn>
              <a:cxn ang="0">
                <a:pos x="csX650" y="csY650"/>
              </a:cxn>
              <a:cxn ang="0">
                <a:pos x="csX651" y="csY651"/>
              </a:cxn>
              <a:cxn ang="0">
                <a:pos x="csX652" y="csY652"/>
              </a:cxn>
              <a:cxn ang="0">
                <a:pos x="csX653" y="csY653"/>
              </a:cxn>
              <a:cxn ang="0">
                <a:pos x="csX654" y="csY654"/>
              </a:cxn>
              <a:cxn ang="0">
                <a:pos x="csX655" y="csY655"/>
              </a:cxn>
              <a:cxn ang="0">
                <a:pos x="csX656" y="csY656"/>
              </a:cxn>
              <a:cxn ang="0">
                <a:pos x="csX657" y="csY657"/>
              </a:cxn>
              <a:cxn ang="0">
                <a:pos x="csX658" y="csY658"/>
              </a:cxn>
              <a:cxn ang="0">
                <a:pos x="csX659" y="csY659"/>
              </a:cxn>
              <a:cxn ang="0">
                <a:pos x="csX660" y="csY660"/>
              </a:cxn>
              <a:cxn ang="0">
                <a:pos x="csX661" y="csY661"/>
              </a:cxn>
              <a:cxn ang="0">
                <a:pos x="csX662" y="csY662"/>
              </a:cxn>
              <a:cxn ang="0">
                <a:pos x="csX663" y="csY663"/>
              </a:cxn>
              <a:cxn ang="0">
                <a:pos x="csX664" y="csY664"/>
              </a:cxn>
              <a:cxn ang="0">
                <a:pos x="csX665" y="csY665"/>
              </a:cxn>
              <a:cxn ang="0">
                <a:pos x="csX666" y="csY666"/>
              </a:cxn>
              <a:cxn ang="0">
                <a:pos x="csX667" y="csY667"/>
              </a:cxn>
              <a:cxn ang="0">
                <a:pos x="csX668" y="csY668"/>
              </a:cxn>
              <a:cxn ang="0">
                <a:pos x="csX669" y="csY669"/>
              </a:cxn>
              <a:cxn ang="0">
                <a:pos x="csX670" y="csY670"/>
              </a:cxn>
              <a:cxn ang="0">
                <a:pos x="csX671" y="csY671"/>
              </a:cxn>
              <a:cxn ang="0">
                <a:pos x="csX672" y="csY672"/>
              </a:cxn>
              <a:cxn ang="0">
                <a:pos x="csX673" y="csY673"/>
              </a:cxn>
              <a:cxn ang="0">
                <a:pos x="csX674" y="csY674"/>
              </a:cxn>
              <a:cxn ang="0">
                <a:pos x="csX675" y="csY675"/>
              </a:cxn>
              <a:cxn ang="0">
                <a:pos x="csX676" y="csY676"/>
              </a:cxn>
              <a:cxn ang="0">
                <a:pos x="csX677" y="csY677"/>
              </a:cxn>
              <a:cxn ang="0">
                <a:pos x="csX678" y="csY678"/>
              </a:cxn>
              <a:cxn ang="0">
                <a:pos x="csX679" y="csY679"/>
              </a:cxn>
              <a:cxn ang="0">
                <a:pos x="csX680" y="csY680"/>
              </a:cxn>
              <a:cxn ang="0">
                <a:pos x="csX681" y="csY681"/>
              </a:cxn>
              <a:cxn ang="0">
                <a:pos x="csX682" y="csY682"/>
              </a:cxn>
              <a:cxn ang="0">
                <a:pos x="csX683" y="csY683"/>
              </a:cxn>
              <a:cxn ang="0">
                <a:pos x="csX684" y="csY684"/>
              </a:cxn>
              <a:cxn ang="0">
                <a:pos x="csX685" y="csY685"/>
              </a:cxn>
              <a:cxn ang="0">
                <a:pos x="csX686" y="csY686"/>
              </a:cxn>
              <a:cxn ang="0">
                <a:pos x="csX687" y="csY687"/>
              </a:cxn>
              <a:cxn ang="0">
                <a:pos x="csX688" y="csY688"/>
              </a:cxn>
              <a:cxn ang="0">
                <a:pos x="csX689" y="csY689"/>
              </a:cxn>
              <a:cxn ang="0">
                <a:pos x="csX690" y="csY690"/>
              </a:cxn>
              <a:cxn ang="0">
                <a:pos x="csX691" y="csY691"/>
              </a:cxn>
              <a:cxn ang="0">
                <a:pos x="csX692" y="csY692"/>
              </a:cxn>
              <a:cxn ang="0">
                <a:pos x="csX693" y="csY693"/>
              </a:cxn>
              <a:cxn ang="0">
                <a:pos x="csX694" y="csY694"/>
              </a:cxn>
              <a:cxn ang="0">
                <a:pos x="csX695" y="csY695"/>
              </a:cxn>
              <a:cxn ang="0">
                <a:pos x="csX696" y="csY696"/>
              </a:cxn>
              <a:cxn ang="0">
                <a:pos x="csX697" y="csY697"/>
              </a:cxn>
              <a:cxn ang="0">
                <a:pos x="csX698" y="csY698"/>
              </a:cxn>
              <a:cxn ang="0">
                <a:pos x="csX699" y="csY699"/>
              </a:cxn>
              <a:cxn ang="0">
                <a:pos x="csX700" y="csY700"/>
              </a:cxn>
              <a:cxn ang="0">
                <a:pos x="csX701" y="csY701"/>
              </a:cxn>
              <a:cxn ang="0">
                <a:pos x="csX702" y="csY702"/>
              </a:cxn>
              <a:cxn ang="0">
                <a:pos x="csX703" y="csY703"/>
              </a:cxn>
              <a:cxn ang="0">
                <a:pos x="csX704" y="csY704"/>
              </a:cxn>
              <a:cxn ang="0">
                <a:pos x="csX705" y="csY705"/>
              </a:cxn>
              <a:cxn ang="0">
                <a:pos x="csX706" y="csY706"/>
              </a:cxn>
              <a:cxn ang="0">
                <a:pos x="csX707" y="csY707"/>
              </a:cxn>
              <a:cxn ang="0">
                <a:pos x="csX708" y="csY708"/>
              </a:cxn>
              <a:cxn ang="0">
                <a:pos x="csX709" y="csY709"/>
              </a:cxn>
              <a:cxn ang="0">
                <a:pos x="csX710" y="csY710"/>
              </a:cxn>
              <a:cxn ang="0">
                <a:pos x="csX711" y="csY711"/>
              </a:cxn>
              <a:cxn ang="0">
                <a:pos x="csX712" y="csY712"/>
              </a:cxn>
              <a:cxn ang="0">
                <a:pos x="csX713" y="csY713"/>
              </a:cxn>
              <a:cxn ang="0">
                <a:pos x="csX714" y="csY714"/>
              </a:cxn>
              <a:cxn ang="0">
                <a:pos x="csX715" y="csY715"/>
              </a:cxn>
              <a:cxn ang="0">
                <a:pos x="csX716" y="csY716"/>
              </a:cxn>
              <a:cxn ang="0">
                <a:pos x="csX717" y="csY717"/>
              </a:cxn>
              <a:cxn ang="0">
                <a:pos x="csX718" y="csY718"/>
              </a:cxn>
              <a:cxn ang="0">
                <a:pos x="csX719" y="csY719"/>
              </a:cxn>
              <a:cxn ang="0">
                <a:pos x="csX720" y="csY720"/>
              </a:cxn>
              <a:cxn ang="0">
                <a:pos x="csX721" y="csY721"/>
              </a:cxn>
              <a:cxn ang="0">
                <a:pos x="csX722" y="csY722"/>
              </a:cxn>
              <a:cxn ang="0">
                <a:pos x="csX723" y="csY723"/>
              </a:cxn>
              <a:cxn ang="0">
                <a:pos x="csX724" y="csY724"/>
              </a:cxn>
              <a:cxn ang="0">
                <a:pos x="csX725" y="csY725"/>
              </a:cxn>
              <a:cxn ang="0">
                <a:pos x="csX726" y="csY726"/>
              </a:cxn>
              <a:cxn ang="0">
                <a:pos x="csX727" y="csY727"/>
              </a:cxn>
              <a:cxn ang="0">
                <a:pos x="csX728" y="csY728"/>
              </a:cxn>
              <a:cxn ang="0">
                <a:pos x="csX729" y="csY729"/>
              </a:cxn>
              <a:cxn ang="0">
                <a:pos x="csX730" y="csY730"/>
              </a:cxn>
              <a:cxn ang="0">
                <a:pos x="csX731" y="csY731"/>
              </a:cxn>
              <a:cxn ang="0">
                <a:pos x="csX732" y="csY732"/>
              </a:cxn>
              <a:cxn ang="0">
                <a:pos x="csX733" y="csY733"/>
              </a:cxn>
              <a:cxn ang="0">
                <a:pos x="csX734" y="csY734"/>
              </a:cxn>
              <a:cxn ang="0">
                <a:pos x="csX735" y="csY735"/>
              </a:cxn>
              <a:cxn ang="0">
                <a:pos x="csX736" y="csY736"/>
              </a:cxn>
              <a:cxn ang="0">
                <a:pos x="csX737" y="csY737"/>
              </a:cxn>
              <a:cxn ang="0">
                <a:pos x="csX738" y="csY738"/>
              </a:cxn>
              <a:cxn ang="0">
                <a:pos x="csX739" y="csY739"/>
              </a:cxn>
              <a:cxn ang="0">
                <a:pos x="csX740" y="csY740"/>
              </a:cxn>
              <a:cxn ang="0">
                <a:pos x="csX741" y="csY741"/>
              </a:cxn>
              <a:cxn ang="0">
                <a:pos x="csX742" y="csY742"/>
              </a:cxn>
              <a:cxn ang="0">
                <a:pos x="csX743" y="csY743"/>
              </a:cxn>
              <a:cxn ang="0">
                <a:pos x="csX744" y="csY744"/>
              </a:cxn>
              <a:cxn ang="0">
                <a:pos x="csX745" y="csY745"/>
              </a:cxn>
              <a:cxn ang="0">
                <a:pos x="csX746" y="csY746"/>
              </a:cxn>
              <a:cxn ang="0">
                <a:pos x="csX747" y="csY747"/>
              </a:cxn>
              <a:cxn ang="0">
                <a:pos x="csX748" y="csY748"/>
              </a:cxn>
              <a:cxn ang="0">
                <a:pos x="csX749" y="csY749"/>
              </a:cxn>
              <a:cxn ang="0">
                <a:pos x="csX750" y="csY750"/>
              </a:cxn>
              <a:cxn ang="0">
                <a:pos x="csX751" y="csY751"/>
              </a:cxn>
              <a:cxn ang="0">
                <a:pos x="csX752" y="csY752"/>
              </a:cxn>
              <a:cxn ang="0">
                <a:pos x="csX753" y="csY753"/>
              </a:cxn>
              <a:cxn ang="0">
                <a:pos x="csX754" y="csY754"/>
              </a:cxn>
              <a:cxn ang="0">
                <a:pos x="csX755" y="csY755"/>
              </a:cxn>
              <a:cxn ang="0">
                <a:pos x="csX756" y="csY756"/>
              </a:cxn>
              <a:cxn ang="0">
                <a:pos x="csX757" y="csY757"/>
              </a:cxn>
              <a:cxn ang="0">
                <a:pos x="csX758" y="csY758"/>
              </a:cxn>
              <a:cxn ang="0">
                <a:pos x="csX759" y="csY759"/>
              </a:cxn>
              <a:cxn ang="0">
                <a:pos x="csX760" y="csY760"/>
              </a:cxn>
              <a:cxn ang="0">
                <a:pos x="csX761" y="csY761"/>
              </a:cxn>
              <a:cxn ang="0">
                <a:pos x="csX762" y="csY762"/>
              </a:cxn>
              <a:cxn ang="0">
                <a:pos x="csX763" y="csY763"/>
              </a:cxn>
              <a:cxn ang="0">
                <a:pos x="csX764" y="csY764"/>
              </a:cxn>
              <a:cxn ang="0">
                <a:pos x="csX765" y="csY765"/>
              </a:cxn>
              <a:cxn ang="0">
                <a:pos x="csX766" y="csY766"/>
              </a:cxn>
              <a:cxn ang="0">
                <a:pos x="csX767" y="csY767"/>
              </a:cxn>
              <a:cxn ang="0">
                <a:pos x="csX768" y="csY768"/>
              </a:cxn>
              <a:cxn ang="0">
                <a:pos x="csX769" y="csY769"/>
              </a:cxn>
              <a:cxn ang="0">
                <a:pos x="csX770" y="csY770"/>
              </a:cxn>
              <a:cxn ang="0">
                <a:pos x="csX771" y="csY771"/>
              </a:cxn>
              <a:cxn ang="0">
                <a:pos x="csX772" y="csY772"/>
              </a:cxn>
              <a:cxn ang="0">
                <a:pos x="csX773" y="csY773"/>
              </a:cxn>
              <a:cxn ang="0">
                <a:pos x="csX774" y="csY774"/>
              </a:cxn>
              <a:cxn ang="0">
                <a:pos x="csX775" y="csY775"/>
              </a:cxn>
              <a:cxn ang="0">
                <a:pos x="csX776" y="csY776"/>
              </a:cxn>
              <a:cxn ang="0">
                <a:pos x="csX777" y="csY777"/>
              </a:cxn>
              <a:cxn ang="0">
                <a:pos x="csX778" y="csY778"/>
              </a:cxn>
              <a:cxn ang="0">
                <a:pos x="csX779" y="csY779"/>
              </a:cxn>
              <a:cxn ang="0">
                <a:pos x="csX780" y="csY780"/>
              </a:cxn>
              <a:cxn ang="0">
                <a:pos x="csX781" y="csY781"/>
              </a:cxn>
              <a:cxn ang="0">
                <a:pos x="csX782" y="csY782"/>
              </a:cxn>
              <a:cxn ang="0">
                <a:pos x="csX783" y="csY783"/>
              </a:cxn>
              <a:cxn ang="0">
                <a:pos x="csX784" y="csY784"/>
              </a:cxn>
              <a:cxn ang="0">
                <a:pos x="csX785" y="csY785"/>
              </a:cxn>
              <a:cxn ang="0">
                <a:pos x="csX786" y="csY786"/>
              </a:cxn>
              <a:cxn ang="0">
                <a:pos x="csX787" y="csY787"/>
              </a:cxn>
              <a:cxn ang="0">
                <a:pos x="csX788" y="csY788"/>
              </a:cxn>
              <a:cxn ang="0">
                <a:pos x="csX789" y="csY789"/>
              </a:cxn>
              <a:cxn ang="0">
                <a:pos x="csX790" y="csY790"/>
              </a:cxn>
              <a:cxn ang="0">
                <a:pos x="csX791" y="csY791"/>
              </a:cxn>
              <a:cxn ang="0">
                <a:pos x="csX792" y="csY792"/>
              </a:cxn>
              <a:cxn ang="0">
                <a:pos x="csX793" y="csY793"/>
              </a:cxn>
              <a:cxn ang="0">
                <a:pos x="csX794" y="csY794"/>
              </a:cxn>
              <a:cxn ang="0">
                <a:pos x="csX795" y="csY795"/>
              </a:cxn>
              <a:cxn ang="0">
                <a:pos x="csX796" y="csY796"/>
              </a:cxn>
              <a:cxn ang="0">
                <a:pos x="csX797" y="csY797"/>
              </a:cxn>
              <a:cxn ang="0">
                <a:pos x="csX798" y="csY798"/>
              </a:cxn>
              <a:cxn ang="0">
                <a:pos x="csX799" y="csY799"/>
              </a:cxn>
              <a:cxn ang="0">
                <a:pos x="csX800" y="csY800"/>
              </a:cxn>
              <a:cxn ang="0">
                <a:pos x="csX801" y="csY801"/>
              </a:cxn>
              <a:cxn ang="0">
                <a:pos x="csX802" y="csY802"/>
              </a:cxn>
              <a:cxn ang="0">
                <a:pos x="csX803" y="csY803"/>
              </a:cxn>
              <a:cxn ang="0">
                <a:pos x="csX804" y="csY804"/>
              </a:cxn>
              <a:cxn ang="0">
                <a:pos x="csX805" y="csY805"/>
              </a:cxn>
              <a:cxn ang="0">
                <a:pos x="csX806" y="csY806"/>
              </a:cxn>
              <a:cxn ang="0">
                <a:pos x="csX807" y="csY807"/>
              </a:cxn>
              <a:cxn ang="0">
                <a:pos x="csX808" y="csY808"/>
              </a:cxn>
              <a:cxn ang="0">
                <a:pos x="csX809" y="csY809"/>
              </a:cxn>
              <a:cxn ang="0">
                <a:pos x="csX810" y="csY810"/>
              </a:cxn>
              <a:cxn ang="0">
                <a:pos x="csX811" y="csY811"/>
              </a:cxn>
              <a:cxn ang="0">
                <a:pos x="csX812" y="csY812"/>
              </a:cxn>
              <a:cxn ang="0">
                <a:pos x="csX813" y="csY813"/>
              </a:cxn>
              <a:cxn ang="0">
                <a:pos x="csX814" y="csY814"/>
              </a:cxn>
              <a:cxn ang="0">
                <a:pos x="csX815" y="csY815"/>
              </a:cxn>
              <a:cxn ang="0">
                <a:pos x="csX816" y="csY816"/>
              </a:cxn>
              <a:cxn ang="0">
                <a:pos x="csX817" y="csY817"/>
              </a:cxn>
              <a:cxn ang="0">
                <a:pos x="csX818" y="csY818"/>
              </a:cxn>
              <a:cxn ang="0">
                <a:pos x="csX819" y="csY819"/>
              </a:cxn>
              <a:cxn ang="0">
                <a:pos x="csX820" y="csY820"/>
              </a:cxn>
              <a:cxn ang="0">
                <a:pos x="csX821" y="csY821"/>
              </a:cxn>
              <a:cxn ang="0">
                <a:pos x="csX822" y="csY822"/>
              </a:cxn>
              <a:cxn ang="0">
                <a:pos x="csX823" y="csY823"/>
              </a:cxn>
              <a:cxn ang="0">
                <a:pos x="csX824" y="csY824"/>
              </a:cxn>
              <a:cxn ang="0">
                <a:pos x="csX825" y="csY825"/>
              </a:cxn>
              <a:cxn ang="0">
                <a:pos x="csX826" y="csY826"/>
              </a:cxn>
              <a:cxn ang="0">
                <a:pos x="csX827" y="csY827"/>
              </a:cxn>
              <a:cxn ang="0">
                <a:pos x="csX828" y="csY828"/>
              </a:cxn>
              <a:cxn ang="0">
                <a:pos x="csX829" y="csY829"/>
              </a:cxn>
              <a:cxn ang="0">
                <a:pos x="csX830" y="csY830"/>
              </a:cxn>
              <a:cxn ang="0">
                <a:pos x="csX831" y="csY831"/>
              </a:cxn>
              <a:cxn ang="0">
                <a:pos x="csX832" y="csY832"/>
              </a:cxn>
              <a:cxn ang="0">
                <a:pos x="csX833" y="csY833"/>
              </a:cxn>
              <a:cxn ang="0">
                <a:pos x="csX834" y="csY834"/>
              </a:cxn>
              <a:cxn ang="0">
                <a:pos x="csX835" y="csY835"/>
              </a:cxn>
              <a:cxn ang="0">
                <a:pos x="csX836" y="csY836"/>
              </a:cxn>
              <a:cxn ang="0">
                <a:pos x="csX837" y="csY837"/>
              </a:cxn>
              <a:cxn ang="0">
                <a:pos x="csX838" y="csY838"/>
              </a:cxn>
              <a:cxn ang="0">
                <a:pos x="csX839" y="csY839"/>
              </a:cxn>
              <a:cxn ang="0">
                <a:pos x="csX840" y="csY840"/>
              </a:cxn>
              <a:cxn ang="0">
                <a:pos x="csX841" y="csY841"/>
              </a:cxn>
              <a:cxn ang="0">
                <a:pos x="csX842" y="csY842"/>
              </a:cxn>
              <a:cxn ang="0">
                <a:pos x="csX843" y="csY843"/>
              </a:cxn>
              <a:cxn ang="0">
                <a:pos x="csX844" y="csY844"/>
              </a:cxn>
              <a:cxn ang="0">
                <a:pos x="csX845" y="csY845"/>
              </a:cxn>
              <a:cxn ang="0">
                <a:pos x="csX846" y="csY846"/>
              </a:cxn>
              <a:cxn ang="0">
                <a:pos x="csX847" y="csY847"/>
              </a:cxn>
              <a:cxn ang="0">
                <a:pos x="csX848" y="csY848"/>
              </a:cxn>
              <a:cxn ang="0">
                <a:pos x="csX849" y="csY849"/>
              </a:cxn>
              <a:cxn ang="0">
                <a:pos x="csX850" y="csY850"/>
              </a:cxn>
              <a:cxn ang="0">
                <a:pos x="csX851" y="csY851"/>
              </a:cxn>
              <a:cxn ang="0">
                <a:pos x="csX852" y="csY852"/>
              </a:cxn>
              <a:cxn ang="0">
                <a:pos x="csX853" y="csY853"/>
              </a:cxn>
              <a:cxn ang="0">
                <a:pos x="csX854" y="csY854"/>
              </a:cxn>
              <a:cxn ang="0">
                <a:pos x="csX855" y="csY855"/>
              </a:cxn>
              <a:cxn ang="0">
                <a:pos x="csX856" y="csY856"/>
              </a:cxn>
              <a:cxn ang="0">
                <a:pos x="csX857" y="csY857"/>
              </a:cxn>
              <a:cxn ang="0">
                <a:pos x="csX858" y="csY858"/>
              </a:cxn>
              <a:cxn ang="0">
                <a:pos x="csX859" y="csY859"/>
              </a:cxn>
              <a:cxn ang="0">
                <a:pos x="csX860" y="csY860"/>
              </a:cxn>
              <a:cxn ang="0">
                <a:pos x="csX861" y="csY861"/>
              </a:cxn>
              <a:cxn ang="0">
                <a:pos x="csX862" y="csY862"/>
              </a:cxn>
              <a:cxn ang="0">
                <a:pos x="csX863" y="csY863"/>
              </a:cxn>
              <a:cxn ang="0">
                <a:pos x="csX864" y="csY864"/>
              </a:cxn>
              <a:cxn ang="0">
                <a:pos x="csX865" y="csY865"/>
              </a:cxn>
              <a:cxn ang="0">
                <a:pos x="csX866" y="csY866"/>
              </a:cxn>
              <a:cxn ang="0">
                <a:pos x="csX867" y="csY867"/>
              </a:cxn>
              <a:cxn ang="0">
                <a:pos x="csX868" y="csY868"/>
              </a:cxn>
              <a:cxn ang="0">
                <a:pos x="csX869" y="csY869"/>
              </a:cxn>
              <a:cxn ang="0">
                <a:pos x="csX870" y="csY870"/>
              </a:cxn>
              <a:cxn ang="0">
                <a:pos x="csX871" y="csY871"/>
              </a:cxn>
              <a:cxn ang="0">
                <a:pos x="csX872" y="csY872"/>
              </a:cxn>
              <a:cxn ang="0">
                <a:pos x="csX873" y="csY873"/>
              </a:cxn>
              <a:cxn ang="0">
                <a:pos x="csX874" y="csY874"/>
              </a:cxn>
              <a:cxn ang="0">
                <a:pos x="csX875" y="csY875"/>
              </a:cxn>
              <a:cxn ang="0">
                <a:pos x="csX876" y="csY876"/>
              </a:cxn>
              <a:cxn ang="0">
                <a:pos x="csX877" y="csY877"/>
              </a:cxn>
              <a:cxn ang="0">
                <a:pos x="csX878" y="csY878"/>
              </a:cxn>
              <a:cxn ang="0">
                <a:pos x="csX879" y="csY879"/>
              </a:cxn>
              <a:cxn ang="0">
                <a:pos x="csX880" y="csY880"/>
              </a:cxn>
              <a:cxn ang="0">
                <a:pos x="csX881" y="csY881"/>
              </a:cxn>
              <a:cxn ang="0">
                <a:pos x="csX882" y="csY882"/>
              </a:cxn>
              <a:cxn ang="0">
                <a:pos x="csX883" y="csY883"/>
              </a:cxn>
              <a:cxn ang="0">
                <a:pos x="csX884" y="csY884"/>
              </a:cxn>
              <a:cxn ang="0">
                <a:pos x="csX885" y="csY885"/>
              </a:cxn>
              <a:cxn ang="0">
                <a:pos x="csX886" y="csY886"/>
              </a:cxn>
              <a:cxn ang="0">
                <a:pos x="csX887" y="csY887"/>
              </a:cxn>
              <a:cxn ang="0">
                <a:pos x="csX888" y="csY888"/>
              </a:cxn>
              <a:cxn ang="0">
                <a:pos x="csX889" y="csY889"/>
              </a:cxn>
              <a:cxn ang="0">
                <a:pos x="csX890" y="csY890"/>
              </a:cxn>
              <a:cxn ang="0">
                <a:pos x="csX891" y="csY891"/>
              </a:cxn>
              <a:cxn ang="0">
                <a:pos x="csX892" y="csY892"/>
              </a:cxn>
              <a:cxn ang="0">
                <a:pos x="csX893" y="csY893"/>
              </a:cxn>
              <a:cxn ang="0">
                <a:pos x="csX894" y="csY894"/>
              </a:cxn>
              <a:cxn ang="0">
                <a:pos x="csX895" y="csY895"/>
              </a:cxn>
              <a:cxn ang="0">
                <a:pos x="csX896" y="csY896"/>
              </a:cxn>
              <a:cxn ang="0">
                <a:pos x="csX897" y="csY897"/>
              </a:cxn>
              <a:cxn ang="0">
                <a:pos x="csX898" y="csY898"/>
              </a:cxn>
              <a:cxn ang="0">
                <a:pos x="csX899" y="csY899"/>
              </a:cxn>
              <a:cxn ang="0">
                <a:pos x="csX900" y="csY900"/>
              </a:cxn>
              <a:cxn ang="0">
                <a:pos x="csX901" y="csY901"/>
              </a:cxn>
              <a:cxn ang="0">
                <a:pos x="csX902" y="csY902"/>
              </a:cxn>
              <a:cxn ang="0">
                <a:pos x="csX903" y="csY903"/>
              </a:cxn>
              <a:cxn ang="0">
                <a:pos x="csX904" y="csY904"/>
              </a:cxn>
              <a:cxn ang="0">
                <a:pos x="csX905" y="csY905"/>
              </a:cxn>
              <a:cxn ang="0">
                <a:pos x="csX906" y="csY906"/>
              </a:cxn>
              <a:cxn ang="0">
                <a:pos x="csX907" y="csY907"/>
              </a:cxn>
              <a:cxn ang="0">
                <a:pos x="csX908" y="csY908"/>
              </a:cxn>
              <a:cxn ang="0">
                <a:pos x="csX909" y="csY909"/>
              </a:cxn>
              <a:cxn ang="0">
                <a:pos x="csX910" y="csY910"/>
              </a:cxn>
              <a:cxn ang="0">
                <a:pos x="csX911" y="csY911"/>
              </a:cxn>
              <a:cxn ang="0">
                <a:pos x="csX912" y="csY912"/>
              </a:cxn>
              <a:cxn ang="0">
                <a:pos x="csX913" y="csY913"/>
              </a:cxn>
              <a:cxn ang="0">
                <a:pos x="csX914" y="csY914"/>
              </a:cxn>
              <a:cxn ang="0">
                <a:pos x="csX915" y="csY915"/>
              </a:cxn>
              <a:cxn ang="0">
                <a:pos x="csX916" y="csY916"/>
              </a:cxn>
              <a:cxn ang="0">
                <a:pos x="csX917" y="csY917"/>
              </a:cxn>
              <a:cxn ang="0">
                <a:pos x="csX918" y="csY918"/>
              </a:cxn>
              <a:cxn ang="0">
                <a:pos x="csX919" y="csY919"/>
              </a:cxn>
              <a:cxn ang="0">
                <a:pos x="csX920" y="csY920"/>
              </a:cxn>
              <a:cxn ang="0">
                <a:pos x="csX921" y="csY921"/>
              </a:cxn>
              <a:cxn ang="0">
                <a:pos x="csX922" y="csY922"/>
              </a:cxn>
              <a:cxn ang="0">
                <a:pos x="csX923" y="csY923"/>
              </a:cxn>
              <a:cxn ang="0">
                <a:pos x="csX924" y="csY924"/>
              </a:cxn>
              <a:cxn ang="0">
                <a:pos x="csX925" y="csY925"/>
              </a:cxn>
              <a:cxn ang="0">
                <a:pos x="csX926" y="csY926"/>
              </a:cxn>
              <a:cxn ang="0">
                <a:pos x="csX927" y="csY927"/>
              </a:cxn>
              <a:cxn ang="0">
                <a:pos x="csX928" y="csY928"/>
              </a:cxn>
              <a:cxn ang="0">
                <a:pos x="csX929" y="csY929"/>
              </a:cxn>
              <a:cxn ang="0">
                <a:pos x="csX930" y="csY930"/>
              </a:cxn>
              <a:cxn ang="0">
                <a:pos x="csX931" y="csY931"/>
              </a:cxn>
              <a:cxn ang="0">
                <a:pos x="csX932" y="csY932"/>
              </a:cxn>
              <a:cxn ang="0">
                <a:pos x="csX933" y="csY933"/>
              </a:cxn>
              <a:cxn ang="0">
                <a:pos x="csX934" y="csY934"/>
              </a:cxn>
              <a:cxn ang="0">
                <a:pos x="csX935" y="csY935"/>
              </a:cxn>
              <a:cxn ang="0">
                <a:pos x="csX936" y="csY936"/>
              </a:cxn>
              <a:cxn ang="0">
                <a:pos x="csX937" y="csY937"/>
              </a:cxn>
              <a:cxn ang="0">
                <a:pos x="csX938" y="csY938"/>
              </a:cxn>
              <a:cxn ang="0">
                <a:pos x="csX939" y="csY939"/>
              </a:cxn>
              <a:cxn ang="0">
                <a:pos x="csX940" y="csY940"/>
              </a:cxn>
              <a:cxn ang="0">
                <a:pos x="csX941" y="csY941"/>
              </a:cxn>
              <a:cxn ang="0">
                <a:pos x="csX942" y="csY942"/>
              </a:cxn>
              <a:cxn ang="0">
                <a:pos x="csX943" y="csY943"/>
              </a:cxn>
              <a:cxn ang="0">
                <a:pos x="csX944" y="csY944"/>
              </a:cxn>
              <a:cxn ang="0">
                <a:pos x="csX945" y="csY945"/>
              </a:cxn>
              <a:cxn ang="0">
                <a:pos x="csX946" y="csY946"/>
              </a:cxn>
              <a:cxn ang="0">
                <a:pos x="csX947" y="csY947"/>
              </a:cxn>
              <a:cxn ang="0">
                <a:pos x="csX948" y="csY948"/>
              </a:cxn>
              <a:cxn ang="0">
                <a:pos x="csX949" y="csY949"/>
              </a:cxn>
              <a:cxn ang="0">
                <a:pos x="csX950" y="csY950"/>
              </a:cxn>
              <a:cxn ang="0">
                <a:pos x="csX951" y="csY951"/>
              </a:cxn>
              <a:cxn ang="0">
                <a:pos x="csX952" y="csY952"/>
              </a:cxn>
              <a:cxn ang="0">
                <a:pos x="csX953" y="csY953"/>
              </a:cxn>
              <a:cxn ang="0">
                <a:pos x="csX954" y="csY954"/>
              </a:cxn>
              <a:cxn ang="0">
                <a:pos x="csX955" y="csY955"/>
              </a:cxn>
              <a:cxn ang="0">
                <a:pos x="csX956" y="csY956"/>
              </a:cxn>
              <a:cxn ang="0">
                <a:pos x="csX957" y="csY957"/>
              </a:cxn>
              <a:cxn ang="0">
                <a:pos x="csX958" y="csY958"/>
              </a:cxn>
              <a:cxn ang="0">
                <a:pos x="csX959" y="csY959"/>
              </a:cxn>
              <a:cxn ang="0">
                <a:pos x="csX960" y="csY960"/>
              </a:cxn>
              <a:cxn ang="0">
                <a:pos x="csX961" y="csY961"/>
              </a:cxn>
              <a:cxn ang="0">
                <a:pos x="csX962" y="csY962"/>
              </a:cxn>
              <a:cxn ang="0">
                <a:pos x="csX963" y="csY963"/>
              </a:cxn>
              <a:cxn ang="0">
                <a:pos x="csX964" y="csY964"/>
              </a:cxn>
              <a:cxn ang="0">
                <a:pos x="csX965" y="csY965"/>
              </a:cxn>
              <a:cxn ang="0">
                <a:pos x="csX966" y="csY966"/>
              </a:cxn>
              <a:cxn ang="0">
                <a:pos x="csX967" y="csY967"/>
              </a:cxn>
              <a:cxn ang="0">
                <a:pos x="csX968" y="csY968"/>
              </a:cxn>
              <a:cxn ang="0">
                <a:pos x="csX969" y="csY969"/>
              </a:cxn>
              <a:cxn ang="0">
                <a:pos x="csX970" y="csY970"/>
              </a:cxn>
              <a:cxn ang="0">
                <a:pos x="csX971" y="csY971"/>
              </a:cxn>
              <a:cxn ang="0">
                <a:pos x="csX972" y="csY972"/>
              </a:cxn>
              <a:cxn ang="0">
                <a:pos x="csX973" y="csY973"/>
              </a:cxn>
              <a:cxn ang="0">
                <a:pos x="csX974" y="csY974"/>
              </a:cxn>
              <a:cxn ang="0">
                <a:pos x="csX975" y="csY975"/>
              </a:cxn>
              <a:cxn ang="0">
                <a:pos x="csX976" y="csY976"/>
              </a:cxn>
              <a:cxn ang="0">
                <a:pos x="csX977" y="csY977"/>
              </a:cxn>
              <a:cxn ang="0">
                <a:pos x="csX978" y="csY978"/>
              </a:cxn>
              <a:cxn ang="0">
                <a:pos x="csX979" y="csY979"/>
              </a:cxn>
              <a:cxn ang="0">
                <a:pos x="csX980" y="csY980"/>
              </a:cxn>
              <a:cxn ang="0">
                <a:pos x="csX981" y="csY981"/>
              </a:cxn>
              <a:cxn ang="0">
                <a:pos x="csX982" y="csY982"/>
              </a:cxn>
              <a:cxn ang="0">
                <a:pos x="csX983" y="csY983"/>
              </a:cxn>
              <a:cxn ang="0">
                <a:pos x="csX984" y="csY984"/>
              </a:cxn>
              <a:cxn ang="0">
                <a:pos x="csX985" y="csY985"/>
              </a:cxn>
              <a:cxn ang="0">
                <a:pos x="csX986" y="csY986"/>
              </a:cxn>
              <a:cxn ang="0">
                <a:pos x="csX987" y="csY987"/>
              </a:cxn>
              <a:cxn ang="0">
                <a:pos x="csX988" y="csY988"/>
              </a:cxn>
              <a:cxn ang="0">
                <a:pos x="csX989" y="csY989"/>
              </a:cxn>
              <a:cxn ang="0">
                <a:pos x="csX990" y="csY990"/>
              </a:cxn>
              <a:cxn ang="0">
                <a:pos x="csX991" y="csY991"/>
              </a:cxn>
              <a:cxn ang="0">
                <a:pos x="csX992" y="csY992"/>
              </a:cxn>
              <a:cxn ang="0">
                <a:pos x="csX993" y="csY993"/>
              </a:cxn>
              <a:cxn ang="0">
                <a:pos x="csX994" y="csY994"/>
              </a:cxn>
              <a:cxn ang="0">
                <a:pos x="csX995" y="csY995"/>
              </a:cxn>
              <a:cxn ang="0">
                <a:pos x="csX996" y="csY996"/>
              </a:cxn>
              <a:cxn ang="0">
                <a:pos x="csX997" y="csY997"/>
              </a:cxn>
              <a:cxn ang="0">
                <a:pos x="csX998" y="csY998"/>
              </a:cxn>
              <a:cxn ang="0">
                <a:pos x="csX999" y="csY999"/>
              </a:cxn>
              <a:cxn ang="0">
                <a:pos x="csX1000" y="csY1000"/>
              </a:cxn>
              <a:cxn ang="0">
                <a:pos x="csX1001" y="csY1001"/>
              </a:cxn>
              <a:cxn ang="0">
                <a:pos x="csX1002" y="csY1002"/>
              </a:cxn>
              <a:cxn ang="0">
                <a:pos x="csX1003" y="csY1003"/>
              </a:cxn>
              <a:cxn ang="0">
                <a:pos x="csX1004" y="csY1004"/>
              </a:cxn>
              <a:cxn ang="0">
                <a:pos x="csX1005" y="csY1005"/>
              </a:cxn>
              <a:cxn ang="0">
                <a:pos x="csX1006" y="csY1006"/>
              </a:cxn>
              <a:cxn ang="0">
                <a:pos x="csX1007" y="csY1007"/>
              </a:cxn>
              <a:cxn ang="0">
                <a:pos x="csX1008" y="csY1008"/>
              </a:cxn>
              <a:cxn ang="0">
                <a:pos x="csX1009" y="csY1009"/>
              </a:cxn>
              <a:cxn ang="0">
                <a:pos x="csX1010" y="csY1010"/>
              </a:cxn>
              <a:cxn ang="0">
                <a:pos x="csX1011" y="csY1011"/>
              </a:cxn>
              <a:cxn ang="0">
                <a:pos x="csX1012" y="csY1012"/>
              </a:cxn>
              <a:cxn ang="0">
                <a:pos x="csX1013" y="csY1013"/>
              </a:cxn>
              <a:cxn ang="0">
                <a:pos x="csX1014" y="csY1014"/>
              </a:cxn>
              <a:cxn ang="0">
                <a:pos x="csX1015" y="csY1015"/>
              </a:cxn>
              <a:cxn ang="0">
                <a:pos x="csX1016" y="csY1016"/>
              </a:cxn>
              <a:cxn ang="0">
                <a:pos x="csX1017" y="csY1017"/>
              </a:cxn>
              <a:cxn ang="0">
                <a:pos x="csX1018" y="csY1018"/>
              </a:cxn>
              <a:cxn ang="0">
                <a:pos x="csX1019" y="csY1019"/>
              </a:cxn>
              <a:cxn ang="0">
                <a:pos x="csX1020" y="csY1020"/>
              </a:cxn>
              <a:cxn ang="0">
                <a:pos x="csX1021" y="csY1021"/>
              </a:cxn>
              <a:cxn ang="0">
                <a:pos x="csX1022" y="csY1022"/>
              </a:cxn>
              <a:cxn ang="0">
                <a:pos x="csX1023" y="csY1023"/>
              </a:cxn>
              <a:cxn ang="0">
                <a:pos x="csX1024" y="csY1024"/>
              </a:cxn>
              <a:cxn ang="0">
                <a:pos x="csX1025" y="csY1025"/>
              </a:cxn>
              <a:cxn ang="0">
                <a:pos x="csX1026" y="csY1026"/>
              </a:cxn>
              <a:cxn ang="0">
                <a:pos x="csX1027" y="csY1027"/>
              </a:cxn>
              <a:cxn ang="0">
                <a:pos x="csX1028" y="csY1028"/>
              </a:cxn>
              <a:cxn ang="0">
                <a:pos x="csX1029" y="csY1029"/>
              </a:cxn>
              <a:cxn ang="0">
                <a:pos x="csX1030" y="csY1030"/>
              </a:cxn>
              <a:cxn ang="0">
                <a:pos x="csX1031" y="csY1031"/>
              </a:cxn>
              <a:cxn ang="0">
                <a:pos x="csX1032" y="csY1032"/>
              </a:cxn>
              <a:cxn ang="0">
                <a:pos x="csX1033" y="csY1033"/>
              </a:cxn>
              <a:cxn ang="0">
                <a:pos x="csX1034" y="csY1034"/>
              </a:cxn>
              <a:cxn ang="0">
                <a:pos x="csX1035" y="csY1035"/>
              </a:cxn>
              <a:cxn ang="0">
                <a:pos x="csX1036" y="csY1036"/>
              </a:cxn>
              <a:cxn ang="0">
                <a:pos x="csX1037" y="csY1037"/>
              </a:cxn>
              <a:cxn ang="0">
                <a:pos x="csX1038" y="csY1038"/>
              </a:cxn>
              <a:cxn ang="0">
                <a:pos x="csX1039" y="csY1039"/>
              </a:cxn>
              <a:cxn ang="0">
                <a:pos x="csX1040" y="csY1040"/>
              </a:cxn>
              <a:cxn ang="0">
                <a:pos x="csX1041" y="csY1041"/>
              </a:cxn>
              <a:cxn ang="0">
                <a:pos x="csX1042" y="csY1042"/>
              </a:cxn>
              <a:cxn ang="0">
                <a:pos x="csX1043" y="csY1043"/>
              </a:cxn>
              <a:cxn ang="0">
                <a:pos x="csX1044" y="csY1044"/>
              </a:cxn>
              <a:cxn ang="0">
                <a:pos x="csX1045" y="csY1045"/>
              </a:cxn>
              <a:cxn ang="0">
                <a:pos x="csX1046" y="csY1046"/>
              </a:cxn>
              <a:cxn ang="0">
                <a:pos x="csX1047" y="csY1047"/>
              </a:cxn>
              <a:cxn ang="0">
                <a:pos x="csX1048" y="csY1048"/>
              </a:cxn>
              <a:cxn ang="0">
                <a:pos x="csX1049" y="csY1049"/>
              </a:cxn>
              <a:cxn ang="0">
                <a:pos x="csX1050" y="csY1050"/>
              </a:cxn>
              <a:cxn ang="0">
                <a:pos x="csX1051" y="csY1051"/>
              </a:cxn>
              <a:cxn ang="0">
                <a:pos x="csX1052" y="csY1052"/>
              </a:cxn>
              <a:cxn ang="0">
                <a:pos x="csX1053" y="csY1053"/>
              </a:cxn>
              <a:cxn ang="0">
                <a:pos x="csX1054" y="csY1054"/>
              </a:cxn>
            </a:cxnLst>
            <a:rect l="l" t="t" r="r" b="b"/>
            <a:pathLst>
              <a:path w="1609516" h="1538630">
                <a:moveTo>
                  <a:pt x="401579" y="1495809"/>
                </a:moveTo>
                <a:lnTo>
                  <a:pt x="400190" y="1496004"/>
                </a:lnTo>
                <a:lnTo>
                  <a:pt x="401224" y="1496470"/>
                </a:lnTo>
                <a:lnTo>
                  <a:pt x="401224" y="1498590"/>
                </a:lnTo>
                <a:lnTo>
                  <a:pt x="401579" y="1498628"/>
                </a:lnTo>
                <a:cubicBezTo>
                  <a:pt x="401579" y="1497698"/>
                  <a:pt x="401579" y="1496768"/>
                  <a:pt x="401579" y="1495809"/>
                </a:cubicBezTo>
                <a:close/>
                <a:moveTo>
                  <a:pt x="368755" y="1486512"/>
                </a:moveTo>
                <a:lnTo>
                  <a:pt x="364089" y="1487354"/>
                </a:lnTo>
                <a:lnTo>
                  <a:pt x="364089" y="1487908"/>
                </a:lnTo>
                <a:close/>
                <a:moveTo>
                  <a:pt x="1049801" y="1484562"/>
                </a:moveTo>
                <a:lnTo>
                  <a:pt x="1046735" y="1485945"/>
                </a:lnTo>
                <a:lnTo>
                  <a:pt x="1046955" y="1486045"/>
                </a:lnTo>
                <a:lnTo>
                  <a:pt x="1049801" y="1485188"/>
                </a:lnTo>
                <a:close/>
                <a:moveTo>
                  <a:pt x="351234" y="1444508"/>
                </a:moveTo>
                <a:lnTo>
                  <a:pt x="351234" y="1444997"/>
                </a:lnTo>
                <a:lnTo>
                  <a:pt x="351592" y="1445078"/>
                </a:lnTo>
                <a:close/>
                <a:moveTo>
                  <a:pt x="351908" y="1431206"/>
                </a:moveTo>
                <a:lnTo>
                  <a:pt x="351234" y="1431611"/>
                </a:lnTo>
                <a:lnTo>
                  <a:pt x="351234" y="1432274"/>
                </a:lnTo>
                <a:close/>
                <a:moveTo>
                  <a:pt x="358162" y="1421494"/>
                </a:moveTo>
                <a:lnTo>
                  <a:pt x="355921" y="1423156"/>
                </a:lnTo>
                <a:lnTo>
                  <a:pt x="355921" y="1423548"/>
                </a:lnTo>
                <a:close/>
                <a:moveTo>
                  <a:pt x="376098" y="1408347"/>
                </a:moveTo>
                <a:lnTo>
                  <a:pt x="370750" y="1412245"/>
                </a:lnTo>
                <a:lnTo>
                  <a:pt x="375023" y="1411256"/>
                </a:lnTo>
                <a:close/>
                <a:moveTo>
                  <a:pt x="421956" y="1365623"/>
                </a:moveTo>
                <a:lnTo>
                  <a:pt x="421765" y="1366161"/>
                </a:lnTo>
                <a:lnTo>
                  <a:pt x="421887" y="1366161"/>
                </a:lnTo>
                <a:close/>
                <a:moveTo>
                  <a:pt x="754553" y="1360575"/>
                </a:moveTo>
                <a:lnTo>
                  <a:pt x="754089" y="1361433"/>
                </a:lnTo>
                <a:lnTo>
                  <a:pt x="754431" y="1361125"/>
                </a:lnTo>
                <a:close/>
                <a:moveTo>
                  <a:pt x="1277973" y="1332923"/>
                </a:moveTo>
                <a:lnTo>
                  <a:pt x="1277944" y="1332936"/>
                </a:lnTo>
                <a:lnTo>
                  <a:pt x="1277949" y="1333139"/>
                </a:lnTo>
                <a:close/>
                <a:moveTo>
                  <a:pt x="1268556" y="1321066"/>
                </a:moveTo>
                <a:cubicBezTo>
                  <a:pt x="1268556" y="1322461"/>
                  <a:pt x="1268556" y="1323856"/>
                  <a:pt x="1268556" y="1325294"/>
                </a:cubicBezTo>
                <a:cubicBezTo>
                  <a:pt x="1267525" y="1325294"/>
                  <a:pt x="1266495" y="1325294"/>
                  <a:pt x="1265432" y="1325294"/>
                </a:cubicBezTo>
                <a:cubicBezTo>
                  <a:pt x="1265432" y="1330409"/>
                  <a:pt x="1265432" y="1335525"/>
                  <a:pt x="1265432" y="1340795"/>
                </a:cubicBezTo>
                <a:lnTo>
                  <a:pt x="1265476" y="1340714"/>
                </a:lnTo>
                <a:lnTo>
                  <a:pt x="1265476" y="1325877"/>
                </a:lnTo>
                <a:cubicBezTo>
                  <a:pt x="1266507" y="1325877"/>
                  <a:pt x="1267538" y="1325877"/>
                  <a:pt x="1268600" y="1325877"/>
                </a:cubicBezTo>
                <a:cubicBezTo>
                  <a:pt x="1268600" y="1324482"/>
                  <a:pt x="1268600" y="1323086"/>
                  <a:pt x="1268600" y="1321649"/>
                </a:cubicBezTo>
                <a:cubicBezTo>
                  <a:pt x="1270147" y="1321649"/>
                  <a:pt x="1271693" y="1321649"/>
                  <a:pt x="1273286" y="1321649"/>
                </a:cubicBezTo>
                <a:lnTo>
                  <a:pt x="1273227" y="1321066"/>
                </a:lnTo>
                <a:close/>
                <a:moveTo>
                  <a:pt x="827891" y="1291474"/>
                </a:moveTo>
                <a:lnTo>
                  <a:pt x="822601" y="1291544"/>
                </a:lnTo>
                <a:lnTo>
                  <a:pt x="818272" y="1292220"/>
                </a:lnTo>
                <a:lnTo>
                  <a:pt x="827891" y="1292047"/>
                </a:lnTo>
                <a:close/>
                <a:moveTo>
                  <a:pt x="856397" y="1288691"/>
                </a:moveTo>
                <a:lnTo>
                  <a:pt x="865903" y="1290590"/>
                </a:lnTo>
                <a:lnTo>
                  <a:pt x="859999" y="1288752"/>
                </a:lnTo>
                <a:close/>
                <a:moveTo>
                  <a:pt x="834694" y="1288572"/>
                </a:moveTo>
                <a:lnTo>
                  <a:pt x="828038" y="1288654"/>
                </a:lnTo>
                <a:lnTo>
                  <a:pt x="828038" y="1289214"/>
                </a:lnTo>
                <a:close/>
                <a:moveTo>
                  <a:pt x="229746" y="1191418"/>
                </a:moveTo>
                <a:lnTo>
                  <a:pt x="227402" y="1191947"/>
                </a:lnTo>
                <a:lnTo>
                  <a:pt x="229315" y="1191947"/>
                </a:lnTo>
                <a:cubicBezTo>
                  <a:pt x="229315" y="1192877"/>
                  <a:pt x="229315" y="1193807"/>
                  <a:pt x="229315" y="1194765"/>
                </a:cubicBezTo>
                <a:lnTo>
                  <a:pt x="231321" y="1194765"/>
                </a:lnTo>
                <a:lnTo>
                  <a:pt x="229746" y="1194236"/>
                </a:lnTo>
                <a:cubicBezTo>
                  <a:pt x="229746" y="1193306"/>
                  <a:pt x="229746" y="1192376"/>
                  <a:pt x="229746" y="1191418"/>
                </a:cubicBezTo>
                <a:close/>
                <a:moveTo>
                  <a:pt x="215687" y="1187190"/>
                </a:moveTo>
                <a:lnTo>
                  <a:pt x="215198" y="1187720"/>
                </a:lnTo>
                <a:lnTo>
                  <a:pt x="215256" y="1187720"/>
                </a:lnTo>
                <a:cubicBezTo>
                  <a:pt x="215256" y="1189115"/>
                  <a:pt x="215256" y="1190510"/>
                  <a:pt x="215256" y="1191947"/>
                </a:cubicBezTo>
                <a:lnTo>
                  <a:pt x="222721" y="1191947"/>
                </a:lnTo>
                <a:lnTo>
                  <a:pt x="215687" y="1191418"/>
                </a:lnTo>
                <a:cubicBezTo>
                  <a:pt x="215687" y="1190023"/>
                  <a:pt x="215687" y="1188628"/>
                  <a:pt x="215687" y="1187190"/>
                </a:cubicBezTo>
                <a:close/>
                <a:moveTo>
                  <a:pt x="1279678" y="1082356"/>
                </a:moveTo>
                <a:lnTo>
                  <a:pt x="1271680" y="1084589"/>
                </a:lnTo>
                <a:lnTo>
                  <a:pt x="1282181" y="1082544"/>
                </a:lnTo>
                <a:close/>
                <a:moveTo>
                  <a:pt x="117703" y="941507"/>
                </a:moveTo>
                <a:lnTo>
                  <a:pt x="112587" y="941985"/>
                </a:lnTo>
                <a:lnTo>
                  <a:pt x="112565" y="942333"/>
                </a:lnTo>
                <a:lnTo>
                  <a:pt x="115665" y="941837"/>
                </a:lnTo>
                <a:close/>
                <a:moveTo>
                  <a:pt x="144268" y="939395"/>
                </a:moveTo>
                <a:lnTo>
                  <a:pt x="143354" y="939580"/>
                </a:lnTo>
                <a:lnTo>
                  <a:pt x="144077" y="939739"/>
                </a:lnTo>
                <a:close/>
                <a:moveTo>
                  <a:pt x="162575" y="933530"/>
                </a:moveTo>
                <a:lnTo>
                  <a:pt x="161704" y="935101"/>
                </a:lnTo>
                <a:lnTo>
                  <a:pt x="170045" y="933585"/>
                </a:lnTo>
                <a:close/>
                <a:moveTo>
                  <a:pt x="1321645" y="918415"/>
                </a:moveTo>
                <a:lnTo>
                  <a:pt x="1321534" y="920177"/>
                </a:lnTo>
                <a:lnTo>
                  <a:pt x="1321740" y="918415"/>
                </a:lnTo>
                <a:close/>
                <a:moveTo>
                  <a:pt x="1319333" y="915183"/>
                </a:moveTo>
                <a:lnTo>
                  <a:pt x="1318544" y="918029"/>
                </a:lnTo>
                <a:lnTo>
                  <a:pt x="1318702" y="918029"/>
                </a:lnTo>
                <a:close/>
                <a:moveTo>
                  <a:pt x="1326355" y="907109"/>
                </a:moveTo>
                <a:lnTo>
                  <a:pt x="1326355" y="910983"/>
                </a:lnTo>
                <a:lnTo>
                  <a:pt x="1325831" y="911101"/>
                </a:lnTo>
                <a:lnTo>
                  <a:pt x="1326426" y="911369"/>
                </a:lnTo>
                <a:cubicBezTo>
                  <a:pt x="1326426" y="909974"/>
                  <a:pt x="1326426" y="908579"/>
                  <a:pt x="1326426" y="907141"/>
                </a:cubicBezTo>
                <a:close/>
                <a:moveTo>
                  <a:pt x="1328144" y="892192"/>
                </a:moveTo>
                <a:lnTo>
                  <a:pt x="1327667" y="893446"/>
                </a:lnTo>
                <a:lnTo>
                  <a:pt x="1327989" y="893049"/>
                </a:lnTo>
                <a:close/>
                <a:moveTo>
                  <a:pt x="49605" y="887420"/>
                </a:moveTo>
                <a:lnTo>
                  <a:pt x="48549" y="891229"/>
                </a:lnTo>
                <a:lnTo>
                  <a:pt x="49956" y="887420"/>
                </a:lnTo>
                <a:close/>
                <a:moveTo>
                  <a:pt x="1332266" y="883369"/>
                </a:moveTo>
                <a:lnTo>
                  <a:pt x="1329479" y="884207"/>
                </a:lnTo>
                <a:lnTo>
                  <a:pt x="1329509" y="884816"/>
                </a:lnTo>
                <a:lnTo>
                  <a:pt x="1329551" y="884594"/>
                </a:lnTo>
                <a:close/>
                <a:moveTo>
                  <a:pt x="1555987" y="821766"/>
                </a:moveTo>
                <a:lnTo>
                  <a:pt x="1555987" y="822201"/>
                </a:lnTo>
                <a:lnTo>
                  <a:pt x="1556081" y="822189"/>
                </a:lnTo>
                <a:close/>
                <a:moveTo>
                  <a:pt x="1565360" y="810928"/>
                </a:moveTo>
                <a:lnTo>
                  <a:pt x="1564871" y="811809"/>
                </a:lnTo>
                <a:lnTo>
                  <a:pt x="1567314" y="810928"/>
                </a:lnTo>
                <a:close/>
                <a:moveTo>
                  <a:pt x="1563797" y="810928"/>
                </a:moveTo>
                <a:lnTo>
                  <a:pt x="1556762" y="814736"/>
                </a:lnTo>
                <a:lnTo>
                  <a:pt x="1563797" y="812197"/>
                </a:lnTo>
                <a:close/>
                <a:moveTo>
                  <a:pt x="265833" y="806020"/>
                </a:moveTo>
                <a:lnTo>
                  <a:pt x="263704" y="809861"/>
                </a:lnTo>
                <a:lnTo>
                  <a:pt x="263704" y="816750"/>
                </a:lnTo>
                <a:lnTo>
                  <a:pt x="264113" y="816565"/>
                </a:lnTo>
                <a:cubicBezTo>
                  <a:pt x="264048" y="815315"/>
                  <a:pt x="263984" y="814065"/>
                  <a:pt x="263918" y="812777"/>
                </a:cubicBezTo>
                <a:close/>
                <a:moveTo>
                  <a:pt x="263774" y="779374"/>
                </a:moveTo>
                <a:lnTo>
                  <a:pt x="263704" y="783086"/>
                </a:lnTo>
                <a:cubicBezTo>
                  <a:pt x="263961" y="783987"/>
                  <a:pt x="264219" y="784888"/>
                  <a:pt x="264484" y="785816"/>
                </a:cubicBezTo>
                <a:cubicBezTo>
                  <a:pt x="265299" y="788846"/>
                  <a:pt x="265316" y="791337"/>
                  <a:pt x="265265" y="794448"/>
                </a:cubicBezTo>
                <a:cubicBezTo>
                  <a:pt x="265103" y="797155"/>
                  <a:pt x="265022" y="798508"/>
                  <a:pt x="265217" y="799730"/>
                </a:cubicBezTo>
                <a:lnTo>
                  <a:pt x="266556" y="803466"/>
                </a:lnTo>
                <a:lnTo>
                  <a:pt x="267237" y="801063"/>
                </a:lnTo>
                <a:cubicBezTo>
                  <a:pt x="266721" y="800598"/>
                  <a:pt x="266206" y="800133"/>
                  <a:pt x="265675" y="799654"/>
                </a:cubicBezTo>
                <a:cubicBezTo>
                  <a:pt x="265601" y="797718"/>
                  <a:pt x="265617" y="795778"/>
                  <a:pt x="265675" y="793841"/>
                </a:cubicBezTo>
                <a:close/>
                <a:moveTo>
                  <a:pt x="260988" y="770061"/>
                </a:moveTo>
                <a:lnTo>
                  <a:pt x="260988" y="771364"/>
                </a:lnTo>
                <a:lnTo>
                  <a:pt x="263497" y="777263"/>
                </a:lnTo>
                <a:lnTo>
                  <a:pt x="262551" y="770061"/>
                </a:lnTo>
                <a:cubicBezTo>
                  <a:pt x="262035" y="770061"/>
                  <a:pt x="261520" y="770061"/>
                  <a:pt x="260988" y="770061"/>
                </a:cubicBezTo>
                <a:close/>
                <a:moveTo>
                  <a:pt x="157888" y="651686"/>
                </a:moveTo>
                <a:lnTo>
                  <a:pt x="157415" y="651764"/>
                </a:lnTo>
                <a:lnTo>
                  <a:pt x="160373" y="652274"/>
                </a:lnTo>
                <a:close/>
                <a:moveTo>
                  <a:pt x="267237" y="426537"/>
                </a:moveTo>
                <a:lnTo>
                  <a:pt x="267237" y="427619"/>
                </a:lnTo>
                <a:cubicBezTo>
                  <a:pt x="268274" y="427791"/>
                  <a:pt x="269311" y="427961"/>
                  <a:pt x="270380" y="428137"/>
                </a:cubicBezTo>
                <a:lnTo>
                  <a:pt x="273548" y="428680"/>
                </a:lnTo>
                <a:close/>
                <a:moveTo>
                  <a:pt x="37605" y="359270"/>
                </a:moveTo>
                <a:lnTo>
                  <a:pt x="37103" y="361533"/>
                </a:lnTo>
                <a:lnTo>
                  <a:pt x="37605" y="361382"/>
                </a:lnTo>
                <a:close/>
                <a:moveTo>
                  <a:pt x="52477" y="337570"/>
                </a:moveTo>
                <a:lnTo>
                  <a:pt x="47288" y="342340"/>
                </a:lnTo>
                <a:lnTo>
                  <a:pt x="45805" y="345093"/>
                </a:lnTo>
                <a:close/>
                <a:moveTo>
                  <a:pt x="104291" y="336166"/>
                </a:moveTo>
                <a:lnTo>
                  <a:pt x="103776" y="337559"/>
                </a:lnTo>
                <a:lnTo>
                  <a:pt x="108925" y="336166"/>
                </a:lnTo>
                <a:close/>
                <a:moveTo>
                  <a:pt x="1309237" y="322954"/>
                </a:moveTo>
                <a:lnTo>
                  <a:pt x="1309180" y="330559"/>
                </a:lnTo>
                <a:lnTo>
                  <a:pt x="1309237" y="330520"/>
                </a:lnTo>
                <a:close/>
                <a:moveTo>
                  <a:pt x="1308964" y="317715"/>
                </a:moveTo>
                <a:lnTo>
                  <a:pt x="1309237" y="318569"/>
                </a:lnTo>
                <a:lnTo>
                  <a:pt x="1309237" y="317838"/>
                </a:lnTo>
                <a:close/>
                <a:moveTo>
                  <a:pt x="1310087" y="313153"/>
                </a:moveTo>
                <a:lnTo>
                  <a:pt x="1307609" y="313473"/>
                </a:lnTo>
                <a:lnTo>
                  <a:pt x="1308045" y="314836"/>
                </a:lnTo>
                <a:close/>
                <a:moveTo>
                  <a:pt x="1318544" y="312064"/>
                </a:moveTo>
                <a:lnTo>
                  <a:pt x="1316298" y="312353"/>
                </a:lnTo>
                <a:lnTo>
                  <a:pt x="1318544" y="312205"/>
                </a:lnTo>
                <a:close/>
                <a:moveTo>
                  <a:pt x="1084622" y="267674"/>
                </a:moveTo>
                <a:lnTo>
                  <a:pt x="1084227" y="268378"/>
                </a:lnTo>
                <a:cubicBezTo>
                  <a:pt x="1082679" y="268378"/>
                  <a:pt x="1081133" y="268378"/>
                  <a:pt x="1079540" y="268378"/>
                </a:cubicBezTo>
                <a:lnTo>
                  <a:pt x="1079603" y="268477"/>
                </a:lnTo>
                <a:lnTo>
                  <a:pt x="1084192" y="268477"/>
                </a:lnTo>
                <a:close/>
                <a:moveTo>
                  <a:pt x="956410" y="266968"/>
                </a:moveTo>
                <a:lnTo>
                  <a:pt x="957576" y="267083"/>
                </a:lnTo>
                <a:lnTo>
                  <a:pt x="957576" y="269776"/>
                </a:lnTo>
                <a:lnTo>
                  <a:pt x="957694" y="269787"/>
                </a:lnTo>
                <a:cubicBezTo>
                  <a:pt x="957694" y="268857"/>
                  <a:pt x="957694" y="267927"/>
                  <a:pt x="957694" y="266968"/>
                </a:cubicBezTo>
                <a:close/>
                <a:moveTo>
                  <a:pt x="1089372" y="259220"/>
                </a:moveTo>
                <a:lnTo>
                  <a:pt x="1085856" y="265479"/>
                </a:lnTo>
                <a:lnTo>
                  <a:pt x="1088878" y="261431"/>
                </a:lnTo>
                <a:close/>
                <a:moveTo>
                  <a:pt x="1018517" y="223356"/>
                </a:moveTo>
                <a:lnTo>
                  <a:pt x="1013866" y="226190"/>
                </a:lnTo>
                <a:lnTo>
                  <a:pt x="1013024" y="227709"/>
                </a:lnTo>
                <a:lnTo>
                  <a:pt x="1017055" y="224692"/>
                </a:lnTo>
                <a:close/>
                <a:moveTo>
                  <a:pt x="850645" y="220099"/>
                </a:moveTo>
                <a:lnTo>
                  <a:pt x="850897" y="221488"/>
                </a:lnTo>
                <a:cubicBezTo>
                  <a:pt x="851086" y="222545"/>
                  <a:pt x="851275" y="223602"/>
                  <a:pt x="851470" y="224692"/>
                </a:cubicBezTo>
                <a:lnTo>
                  <a:pt x="852860" y="224692"/>
                </a:lnTo>
                <a:close/>
                <a:moveTo>
                  <a:pt x="1155019" y="35"/>
                </a:moveTo>
                <a:cubicBezTo>
                  <a:pt x="1161775" y="275"/>
                  <a:pt x="1168415" y="1783"/>
                  <a:pt x="1174829" y="4853"/>
                </a:cubicBezTo>
                <a:cubicBezTo>
                  <a:pt x="1176343" y="5231"/>
                  <a:pt x="1177858" y="5609"/>
                  <a:pt x="1179418" y="5998"/>
                </a:cubicBezTo>
                <a:cubicBezTo>
                  <a:pt x="1189392" y="9487"/>
                  <a:pt x="1196322" y="14392"/>
                  <a:pt x="1201385" y="22997"/>
                </a:cubicBezTo>
                <a:cubicBezTo>
                  <a:pt x="1206849" y="35244"/>
                  <a:pt x="1206940" y="49865"/>
                  <a:pt x="1201678" y="62191"/>
                </a:cubicBezTo>
                <a:cubicBezTo>
                  <a:pt x="1200594" y="64241"/>
                  <a:pt x="1199461" y="66271"/>
                  <a:pt x="1198261" y="68268"/>
                </a:cubicBezTo>
                <a:cubicBezTo>
                  <a:pt x="1197423" y="69721"/>
                  <a:pt x="1196586" y="71175"/>
                  <a:pt x="1195723" y="72672"/>
                </a:cubicBezTo>
                <a:cubicBezTo>
                  <a:pt x="1194659" y="73980"/>
                  <a:pt x="1194659" y="73980"/>
                  <a:pt x="1193575" y="75314"/>
                </a:cubicBezTo>
                <a:cubicBezTo>
                  <a:pt x="1192544" y="75314"/>
                  <a:pt x="1191512" y="75314"/>
                  <a:pt x="1190450" y="75314"/>
                </a:cubicBezTo>
                <a:cubicBezTo>
                  <a:pt x="1190128" y="76651"/>
                  <a:pt x="1189806" y="77988"/>
                  <a:pt x="1189474" y="79366"/>
                </a:cubicBezTo>
                <a:cubicBezTo>
                  <a:pt x="1187326" y="83769"/>
                  <a:pt x="1187326" y="83769"/>
                  <a:pt x="1182445" y="85707"/>
                </a:cubicBezTo>
                <a:cubicBezTo>
                  <a:pt x="1180962" y="85998"/>
                  <a:pt x="1179480" y="86289"/>
                  <a:pt x="1177953" y="86588"/>
                </a:cubicBezTo>
                <a:cubicBezTo>
                  <a:pt x="1177953" y="87518"/>
                  <a:pt x="1177953" y="88448"/>
                  <a:pt x="1177953" y="89406"/>
                </a:cubicBezTo>
                <a:cubicBezTo>
                  <a:pt x="1175369" y="91088"/>
                  <a:pt x="1172720" y="92688"/>
                  <a:pt x="1170045" y="94251"/>
                </a:cubicBezTo>
                <a:cubicBezTo>
                  <a:pt x="1154651" y="104199"/>
                  <a:pt x="1148918" y="116979"/>
                  <a:pt x="1143806" y="132828"/>
                </a:cubicBezTo>
                <a:cubicBezTo>
                  <a:pt x="1142095" y="137144"/>
                  <a:pt x="1140989" y="138617"/>
                  <a:pt x="1137338" y="141548"/>
                </a:cubicBezTo>
                <a:cubicBezTo>
                  <a:pt x="1136166" y="144148"/>
                  <a:pt x="1134992" y="146751"/>
                  <a:pt x="1133970" y="149403"/>
                </a:cubicBezTo>
                <a:cubicBezTo>
                  <a:pt x="1132069" y="154334"/>
                  <a:pt x="1130006" y="159210"/>
                  <a:pt x="1127965" y="164095"/>
                </a:cubicBezTo>
                <a:cubicBezTo>
                  <a:pt x="1126897" y="166664"/>
                  <a:pt x="1125830" y="169233"/>
                  <a:pt x="1124762" y="171802"/>
                </a:cubicBezTo>
                <a:cubicBezTo>
                  <a:pt x="1122961" y="176134"/>
                  <a:pt x="1121160" y="180466"/>
                  <a:pt x="1119359" y="184798"/>
                </a:cubicBezTo>
                <a:cubicBezTo>
                  <a:pt x="1116567" y="191508"/>
                  <a:pt x="1113778" y="198220"/>
                  <a:pt x="1111014" y="204941"/>
                </a:cubicBezTo>
                <a:cubicBezTo>
                  <a:pt x="1110590" y="205970"/>
                  <a:pt x="1110165" y="206999"/>
                  <a:pt x="1109729" y="208059"/>
                </a:cubicBezTo>
                <a:cubicBezTo>
                  <a:pt x="1108615" y="210762"/>
                  <a:pt x="1107505" y="213466"/>
                  <a:pt x="1106395" y="216170"/>
                </a:cubicBezTo>
                <a:cubicBezTo>
                  <a:pt x="1104320" y="220956"/>
                  <a:pt x="1103283" y="223349"/>
                  <a:pt x="1102147" y="224810"/>
                </a:cubicBezTo>
                <a:lnTo>
                  <a:pt x="1098261" y="227262"/>
                </a:lnTo>
                <a:lnTo>
                  <a:pt x="1098367" y="238475"/>
                </a:lnTo>
                <a:cubicBezTo>
                  <a:pt x="1098025" y="239757"/>
                  <a:pt x="1097684" y="241038"/>
                  <a:pt x="1097331" y="242358"/>
                </a:cubicBezTo>
                <a:cubicBezTo>
                  <a:pt x="1096958" y="243711"/>
                  <a:pt x="1096585" y="245064"/>
                  <a:pt x="1096201" y="246458"/>
                </a:cubicBezTo>
                <a:cubicBezTo>
                  <a:pt x="1093302" y="257363"/>
                  <a:pt x="1090901" y="268062"/>
                  <a:pt x="1089440" y="279206"/>
                </a:cubicBezTo>
                <a:cubicBezTo>
                  <a:pt x="1088878" y="282569"/>
                  <a:pt x="1088878" y="282569"/>
                  <a:pt x="1087316" y="283978"/>
                </a:cubicBezTo>
                <a:cubicBezTo>
                  <a:pt x="1087070" y="286587"/>
                  <a:pt x="1086924" y="289205"/>
                  <a:pt x="1086822" y="291822"/>
                </a:cubicBezTo>
                <a:cubicBezTo>
                  <a:pt x="1086756" y="293408"/>
                  <a:pt x="1086691" y="294993"/>
                  <a:pt x="1086623" y="296625"/>
                </a:cubicBezTo>
                <a:cubicBezTo>
                  <a:pt x="1086562" y="298294"/>
                  <a:pt x="1086501" y="299962"/>
                  <a:pt x="1086437" y="301681"/>
                </a:cubicBezTo>
                <a:cubicBezTo>
                  <a:pt x="1086336" y="304192"/>
                  <a:pt x="1086336" y="304192"/>
                  <a:pt x="1086233" y="306754"/>
                </a:cubicBezTo>
                <a:lnTo>
                  <a:pt x="1086007" y="312619"/>
                </a:lnTo>
                <a:lnTo>
                  <a:pt x="1087470" y="320554"/>
                </a:lnTo>
                <a:cubicBezTo>
                  <a:pt x="1089648" y="325409"/>
                  <a:pt x="1093111" y="329799"/>
                  <a:pt x="1098285" y="334611"/>
                </a:cubicBezTo>
                <a:cubicBezTo>
                  <a:pt x="1100424" y="336130"/>
                  <a:pt x="1100424" y="336130"/>
                  <a:pt x="1102607" y="337679"/>
                </a:cubicBezTo>
                <a:cubicBezTo>
                  <a:pt x="1104334" y="338951"/>
                  <a:pt x="1104334" y="338951"/>
                  <a:pt x="1106095" y="340248"/>
                </a:cubicBezTo>
                <a:cubicBezTo>
                  <a:pt x="1106095" y="341178"/>
                  <a:pt x="1106095" y="342108"/>
                  <a:pt x="1106095" y="343066"/>
                </a:cubicBezTo>
                <a:cubicBezTo>
                  <a:pt x="1107127" y="343183"/>
                  <a:pt x="1108158" y="343299"/>
                  <a:pt x="1109220" y="343419"/>
                </a:cubicBezTo>
                <a:cubicBezTo>
                  <a:pt x="1115473" y="344829"/>
                  <a:pt x="1120724" y="347416"/>
                  <a:pt x="1126403" y="350112"/>
                </a:cubicBezTo>
                <a:cubicBezTo>
                  <a:pt x="1128207" y="350926"/>
                  <a:pt x="1130012" y="351740"/>
                  <a:pt x="1131871" y="352579"/>
                </a:cubicBezTo>
                <a:cubicBezTo>
                  <a:pt x="1133159" y="353160"/>
                  <a:pt x="1134448" y="353741"/>
                  <a:pt x="1135776" y="354340"/>
                </a:cubicBezTo>
                <a:cubicBezTo>
                  <a:pt x="1135776" y="355270"/>
                  <a:pt x="1135776" y="356200"/>
                  <a:pt x="1135776" y="357158"/>
                </a:cubicBezTo>
                <a:cubicBezTo>
                  <a:pt x="1148107" y="360029"/>
                  <a:pt x="1158679" y="359101"/>
                  <a:pt x="1170143" y="354340"/>
                </a:cubicBezTo>
                <a:cubicBezTo>
                  <a:pt x="1172366" y="353468"/>
                  <a:pt x="1172366" y="353468"/>
                  <a:pt x="1174634" y="352579"/>
                </a:cubicBezTo>
                <a:cubicBezTo>
                  <a:pt x="1180354" y="349689"/>
                  <a:pt x="1185568" y="346355"/>
                  <a:pt x="1190890" y="342907"/>
                </a:cubicBezTo>
                <a:cubicBezTo>
                  <a:pt x="1195169" y="340228"/>
                  <a:pt x="1199557" y="337821"/>
                  <a:pt x="1204021" y="335404"/>
                </a:cubicBezTo>
                <a:cubicBezTo>
                  <a:pt x="1211989" y="330886"/>
                  <a:pt x="1217509" y="325766"/>
                  <a:pt x="1223255" y="319110"/>
                </a:cubicBezTo>
                <a:cubicBezTo>
                  <a:pt x="1224447" y="317947"/>
                  <a:pt x="1225639" y="316784"/>
                  <a:pt x="1226868" y="315587"/>
                </a:cubicBezTo>
                <a:cubicBezTo>
                  <a:pt x="1229855" y="311593"/>
                  <a:pt x="1230852" y="308240"/>
                  <a:pt x="1231859" y="303559"/>
                </a:cubicBezTo>
                <a:cubicBezTo>
                  <a:pt x="1232628" y="300790"/>
                  <a:pt x="1232628" y="300790"/>
                  <a:pt x="1234178" y="298059"/>
                </a:cubicBezTo>
                <a:cubicBezTo>
                  <a:pt x="1235964" y="294761"/>
                  <a:pt x="1236623" y="291807"/>
                  <a:pt x="1237314" y="288195"/>
                </a:cubicBezTo>
                <a:cubicBezTo>
                  <a:pt x="1239360" y="278571"/>
                  <a:pt x="1242414" y="272733"/>
                  <a:pt x="1249811" y="265559"/>
                </a:cubicBezTo>
                <a:cubicBezTo>
                  <a:pt x="1250842" y="265559"/>
                  <a:pt x="1251873" y="265559"/>
                  <a:pt x="1252935" y="265559"/>
                </a:cubicBezTo>
                <a:cubicBezTo>
                  <a:pt x="1252935" y="264629"/>
                  <a:pt x="1252935" y="263699"/>
                  <a:pt x="1252935" y="262741"/>
                </a:cubicBezTo>
                <a:cubicBezTo>
                  <a:pt x="1265591" y="253427"/>
                  <a:pt x="1280762" y="251648"/>
                  <a:pt x="1296675" y="252876"/>
                </a:cubicBezTo>
                <a:cubicBezTo>
                  <a:pt x="1300535" y="253563"/>
                  <a:pt x="1303901" y="254478"/>
                  <a:pt x="1307609" y="255695"/>
                </a:cubicBezTo>
                <a:cubicBezTo>
                  <a:pt x="1307609" y="256625"/>
                  <a:pt x="1307609" y="257555"/>
                  <a:pt x="1307609" y="258513"/>
                </a:cubicBezTo>
                <a:cubicBezTo>
                  <a:pt x="1309021" y="258619"/>
                  <a:pt x="1310432" y="258723"/>
                  <a:pt x="1311887" y="258832"/>
                </a:cubicBezTo>
                <a:cubicBezTo>
                  <a:pt x="1319573" y="260476"/>
                  <a:pt x="1322149" y="264416"/>
                  <a:pt x="1326715" y="269969"/>
                </a:cubicBezTo>
                <a:cubicBezTo>
                  <a:pt x="1334402" y="281220"/>
                  <a:pt x="1336114" y="294839"/>
                  <a:pt x="1334165" y="307836"/>
                </a:cubicBezTo>
                <a:cubicBezTo>
                  <a:pt x="1332176" y="311898"/>
                  <a:pt x="1332176" y="311898"/>
                  <a:pt x="1329479" y="314882"/>
                </a:cubicBezTo>
                <a:cubicBezTo>
                  <a:pt x="1327417" y="314882"/>
                  <a:pt x="1325355" y="314882"/>
                  <a:pt x="1323231" y="314882"/>
                </a:cubicBezTo>
                <a:cubicBezTo>
                  <a:pt x="1323231" y="315812"/>
                  <a:pt x="1323231" y="316742"/>
                  <a:pt x="1323231" y="317700"/>
                </a:cubicBezTo>
                <a:lnTo>
                  <a:pt x="1322774" y="317838"/>
                </a:lnTo>
                <a:lnTo>
                  <a:pt x="1323295" y="317838"/>
                </a:lnTo>
                <a:cubicBezTo>
                  <a:pt x="1323295" y="316907"/>
                  <a:pt x="1323295" y="315977"/>
                  <a:pt x="1323295" y="315019"/>
                </a:cubicBezTo>
                <a:cubicBezTo>
                  <a:pt x="1324842" y="315019"/>
                  <a:pt x="1326388" y="315019"/>
                  <a:pt x="1327982" y="315019"/>
                </a:cubicBezTo>
                <a:cubicBezTo>
                  <a:pt x="1325845" y="321328"/>
                  <a:pt x="1322753" y="323742"/>
                  <a:pt x="1317047" y="327702"/>
                </a:cubicBezTo>
                <a:cubicBezTo>
                  <a:pt x="1316531" y="329097"/>
                  <a:pt x="1316016" y="330492"/>
                  <a:pt x="1315484" y="331930"/>
                </a:cubicBezTo>
                <a:cubicBezTo>
                  <a:pt x="1312599" y="332959"/>
                  <a:pt x="1312599" y="332959"/>
                  <a:pt x="1309139" y="333603"/>
                </a:cubicBezTo>
                <a:cubicBezTo>
                  <a:pt x="1307993" y="333827"/>
                  <a:pt x="1306847" y="334050"/>
                  <a:pt x="1305666" y="334280"/>
                </a:cubicBezTo>
                <a:cubicBezTo>
                  <a:pt x="1304783" y="334434"/>
                  <a:pt x="1303899" y="334589"/>
                  <a:pt x="1302988" y="334748"/>
                </a:cubicBezTo>
                <a:lnTo>
                  <a:pt x="1305905" y="332775"/>
                </a:lnTo>
                <a:lnTo>
                  <a:pt x="1304485" y="333202"/>
                </a:lnTo>
                <a:cubicBezTo>
                  <a:pt x="1302987" y="334640"/>
                  <a:pt x="1302987" y="334640"/>
                  <a:pt x="1301459" y="336108"/>
                </a:cubicBezTo>
                <a:cubicBezTo>
                  <a:pt x="1298237" y="338839"/>
                  <a:pt x="1298237" y="338839"/>
                  <a:pt x="1291989" y="338839"/>
                </a:cubicBezTo>
                <a:cubicBezTo>
                  <a:pt x="1291473" y="340234"/>
                  <a:pt x="1290957" y="341629"/>
                  <a:pt x="1290426" y="343066"/>
                </a:cubicBezTo>
                <a:cubicBezTo>
                  <a:pt x="1288879" y="343415"/>
                  <a:pt x="1287333" y="343764"/>
                  <a:pt x="1285740" y="344123"/>
                </a:cubicBezTo>
                <a:cubicBezTo>
                  <a:pt x="1266905" y="348491"/>
                  <a:pt x="1249005" y="369098"/>
                  <a:pt x="1237314" y="382525"/>
                </a:cubicBezTo>
                <a:cubicBezTo>
                  <a:pt x="1235678" y="385783"/>
                  <a:pt x="1234122" y="389075"/>
                  <a:pt x="1232628" y="392389"/>
                </a:cubicBezTo>
                <a:cubicBezTo>
                  <a:pt x="1231317" y="394515"/>
                  <a:pt x="1229981" y="396629"/>
                  <a:pt x="1228625" y="398731"/>
                </a:cubicBezTo>
                <a:cubicBezTo>
                  <a:pt x="1221457" y="410300"/>
                  <a:pt x="1219465" y="421836"/>
                  <a:pt x="1222822" y="434798"/>
                </a:cubicBezTo>
                <a:cubicBezTo>
                  <a:pt x="1229360" y="453710"/>
                  <a:pt x="1244088" y="472467"/>
                  <a:pt x="1260746" y="485398"/>
                </a:cubicBezTo>
                <a:cubicBezTo>
                  <a:pt x="1264961" y="487349"/>
                  <a:pt x="1264961" y="487349"/>
                  <a:pt x="1268556" y="488216"/>
                </a:cubicBezTo>
                <a:cubicBezTo>
                  <a:pt x="1268556" y="489146"/>
                  <a:pt x="1268556" y="490076"/>
                  <a:pt x="1268556" y="491034"/>
                </a:cubicBezTo>
                <a:cubicBezTo>
                  <a:pt x="1288790" y="497071"/>
                  <a:pt x="1319055" y="498555"/>
                  <a:pt x="1338852" y="489625"/>
                </a:cubicBezTo>
                <a:cubicBezTo>
                  <a:pt x="1341711" y="489213"/>
                  <a:pt x="1344575" y="488837"/>
                  <a:pt x="1347444" y="488480"/>
                </a:cubicBezTo>
                <a:cubicBezTo>
                  <a:pt x="1355372" y="487345"/>
                  <a:pt x="1362033" y="485390"/>
                  <a:pt x="1369362" y="482513"/>
                </a:cubicBezTo>
                <a:cubicBezTo>
                  <a:pt x="1375665" y="480318"/>
                  <a:pt x="1382189" y="479322"/>
                  <a:pt x="1388840" y="478351"/>
                </a:cubicBezTo>
                <a:cubicBezTo>
                  <a:pt x="1388840" y="477421"/>
                  <a:pt x="1388840" y="476492"/>
                  <a:pt x="1388840" y="475533"/>
                </a:cubicBezTo>
                <a:cubicBezTo>
                  <a:pt x="1391083" y="474821"/>
                  <a:pt x="1393329" y="474118"/>
                  <a:pt x="1395576" y="473419"/>
                </a:cubicBezTo>
                <a:cubicBezTo>
                  <a:pt x="1396827" y="473027"/>
                  <a:pt x="1398077" y="472635"/>
                  <a:pt x="1399365" y="472230"/>
                </a:cubicBezTo>
                <a:cubicBezTo>
                  <a:pt x="1402899" y="471305"/>
                  <a:pt x="1402899" y="471305"/>
                  <a:pt x="1407585" y="471305"/>
                </a:cubicBezTo>
                <a:cubicBezTo>
                  <a:pt x="1408101" y="469910"/>
                  <a:pt x="1408616" y="468515"/>
                  <a:pt x="1409147" y="467078"/>
                </a:cubicBezTo>
                <a:cubicBezTo>
                  <a:pt x="1412388" y="465580"/>
                  <a:pt x="1412388" y="465580"/>
                  <a:pt x="1416470" y="464259"/>
                </a:cubicBezTo>
                <a:cubicBezTo>
                  <a:pt x="1424029" y="461705"/>
                  <a:pt x="1431130" y="458955"/>
                  <a:pt x="1437949" y="455011"/>
                </a:cubicBezTo>
                <a:cubicBezTo>
                  <a:pt x="1442765" y="452574"/>
                  <a:pt x="1447553" y="451394"/>
                  <a:pt x="1452887" y="450167"/>
                </a:cubicBezTo>
                <a:cubicBezTo>
                  <a:pt x="1452887" y="449237"/>
                  <a:pt x="1452887" y="448307"/>
                  <a:pt x="1452887" y="447349"/>
                </a:cubicBezTo>
                <a:cubicBezTo>
                  <a:pt x="1453714" y="446944"/>
                  <a:pt x="1454541" y="446539"/>
                  <a:pt x="1455394" y="446122"/>
                </a:cubicBezTo>
                <a:cubicBezTo>
                  <a:pt x="1459151" y="444278"/>
                  <a:pt x="1462902" y="442422"/>
                  <a:pt x="1466653" y="440567"/>
                </a:cubicBezTo>
                <a:cubicBezTo>
                  <a:pt x="1467955" y="439930"/>
                  <a:pt x="1469256" y="439293"/>
                  <a:pt x="1470598" y="438637"/>
                </a:cubicBezTo>
                <a:cubicBezTo>
                  <a:pt x="1471852" y="438016"/>
                  <a:pt x="1473105" y="437393"/>
                  <a:pt x="1474397" y="436752"/>
                </a:cubicBezTo>
                <a:cubicBezTo>
                  <a:pt x="1475550" y="436184"/>
                  <a:pt x="1476703" y="435616"/>
                  <a:pt x="1477892" y="435030"/>
                </a:cubicBezTo>
                <a:cubicBezTo>
                  <a:pt x="1480966" y="433279"/>
                  <a:pt x="1483173" y="431373"/>
                  <a:pt x="1485691" y="429029"/>
                </a:cubicBezTo>
                <a:cubicBezTo>
                  <a:pt x="1486737" y="428575"/>
                  <a:pt x="1487781" y="428121"/>
                  <a:pt x="1488858" y="427653"/>
                </a:cubicBezTo>
                <a:cubicBezTo>
                  <a:pt x="1492438" y="425977"/>
                  <a:pt x="1493705" y="424453"/>
                  <a:pt x="1495943" y="421454"/>
                </a:cubicBezTo>
                <a:cubicBezTo>
                  <a:pt x="1507114" y="407544"/>
                  <a:pt x="1519758" y="393513"/>
                  <a:pt x="1538608" y="388338"/>
                </a:cubicBezTo>
                <a:cubicBezTo>
                  <a:pt x="1541025" y="388250"/>
                  <a:pt x="1541025" y="388250"/>
                  <a:pt x="1543490" y="388161"/>
                </a:cubicBezTo>
                <a:cubicBezTo>
                  <a:pt x="1545535" y="387984"/>
                  <a:pt x="1545535" y="387984"/>
                  <a:pt x="1547621" y="387804"/>
                </a:cubicBezTo>
                <a:cubicBezTo>
                  <a:pt x="1560659" y="387094"/>
                  <a:pt x="1568716" y="390117"/>
                  <a:pt x="1579418" y="396617"/>
                </a:cubicBezTo>
                <a:cubicBezTo>
                  <a:pt x="1581361" y="397687"/>
                  <a:pt x="1581361" y="397687"/>
                  <a:pt x="1583342" y="398780"/>
                </a:cubicBezTo>
                <a:cubicBezTo>
                  <a:pt x="1593703" y="405068"/>
                  <a:pt x="1598513" y="412459"/>
                  <a:pt x="1601288" y="423392"/>
                </a:cubicBezTo>
                <a:cubicBezTo>
                  <a:pt x="1603295" y="436596"/>
                  <a:pt x="1603517" y="449033"/>
                  <a:pt x="1594484" y="460159"/>
                </a:cubicBezTo>
                <a:cubicBezTo>
                  <a:pt x="1588468" y="466462"/>
                  <a:pt x="1582607" y="471150"/>
                  <a:pt x="1574732" y="475533"/>
                </a:cubicBezTo>
                <a:cubicBezTo>
                  <a:pt x="1573862" y="476043"/>
                  <a:pt x="1572993" y="476553"/>
                  <a:pt x="1572097" y="477078"/>
                </a:cubicBezTo>
                <a:cubicBezTo>
                  <a:pt x="1566828" y="478935"/>
                  <a:pt x="1561641" y="478744"/>
                  <a:pt x="1556066" y="478737"/>
                </a:cubicBezTo>
                <a:cubicBezTo>
                  <a:pt x="1553587" y="478765"/>
                  <a:pt x="1551109" y="478795"/>
                  <a:pt x="1548631" y="478825"/>
                </a:cubicBezTo>
                <a:cubicBezTo>
                  <a:pt x="1544751" y="478857"/>
                  <a:pt x="1540871" y="478880"/>
                  <a:pt x="1536991" y="478889"/>
                </a:cubicBezTo>
                <a:cubicBezTo>
                  <a:pt x="1516714" y="478693"/>
                  <a:pt x="1516714" y="478693"/>
                  <a:pt x="1498188" y="485398"/>
                </a:cubicBezTo>
                <a:cubicBezTo>
                  <a:pt x="1496062" y="486488"/>
                  <a:pt x="1496062" y="486488"/>
                  <a:pt x="1493892" y="487600"/>
                </a:cubicBezTo>
                <a:cubicBezTo>
                  <a:pt x="1492733" y="488268"/>
                  <a:pt x="1491573" y="488937"/>
                  <a:pt x="1490377" y="489625"/>
                </a:cubicBezTo>
                <a:cubicBezTo>
                  <a:pt x="1484304" y="493012"/>
                  <a:pt x="1478212" y="495675"/>
                  <a:pt x="1471650" y="498185"/>
                </a:cubicBezTo>
                <a:cubicBezTo>
                  <a:pt x="1467148" y="500054"/>
                  <a:pt x="1463242" y="502632"/>
                  <a:pt x="1459135" y="505127"/>
                </a:cubicBezTo>
                <a:cubicBezTo>
                  <a:pt x="1456968" y="506120"/>
                  <a:pt x="1454786" y="507086"/>
                  <a:pt x="1452594" y="508033"/>
                </a:cubicBezTo>
                <a:cubicBezTo>
                  <a:pt x="1444148" y="511772"/>
                  <a:pt x="1435969" y="515903"/>
                  <a:pt x="1427795" y="520100"/>
                </a:cubicBezTo>
                <a:cubicBezTo>
                  <a:pt x="1425784" y="521114"/>
                  <a:pt x="1425784" y="521114"/>
                  <a:pt x="1423733" y="522148"/>
                </a:cubicBezTo>
                <a:cubicBezTo>
                  <a:pt x="1422478" y="522798"/>
                  <a:pt x="1421223" y="523449"/>
                  <a:pt x="1419929" y="524118"/>
                </a:cubicBezTo>
                <a:cubicBezTo>
                  <a:pt x="1418794" y="524701"/>
                  <a:pt x="1417658" y="525283"/>
                  <a:pt x="1416487" y="525883"/>
                </a:cubicBezTo>
                <a:cubicBezTo>
                  <a:pt x="1413349" y="527646"/>
                  <a:pt x="1413349" y="527646"/>
                  <a:pt x="1412271" y="531902"/>
                </a:cubicBezTo>
                <a:cubicBezTo>
                  <a:pt x="1407205" y="535203"/>
                  <a:pt x="1402819" y="536744"/>
                  <a:pt x="1396650" y="537539"/>
                </a:cubicBezTo>
                <a:cubicBezTo>
                  <a:pt x="1396650" y="538469"/>
                  <a:pt x="1396650" y="539399"/>
                  <a:pt x="1396650" y="540357"/>
                </a:cubicBezTo>
                <a:cubicBezTo>
                  <a:pt x="1395609" y="540735"/>
                  <a:pt x="1394568" y="541113"/>
                  <a:pt x="1393495" y="541502"/>
                </a:cubicBezTo>
                <a:cubicBezTo>
                  <a:pt x="1381840" y="545973"/>
                  <a:pt x="1372279" y="551715"/>
                  <a:pt x="1362284" y="558678"/>
                </a:cubicBezTo>
                <a:cubicBezTo>
                  <a:pt x="1360170" y="560088"/>
                  <a:pt x="1358055" y="561497"/>
                  <a:pt x="1355937" y="562905"/>
                </a:cubicBezTo>
                <a:cubicBezTo>
                  <a:pt x="1348556" y="567937"/>
                  <a:pt x="1341292" y="573085"/>
                  <a:pt x="1334165" y="578406"/>
                </a:cubicBezTo>
                <a:cubicBezTo>
                  <a:pt x="1332697" y="579472"/>
                  <a:pt x="1332697" y="579472"/>
                  <a:pt x="1331200" y="580559"/>
                </a:cubicBezTo>
                <a:cubicBezTo>
                  <a:pt x="1325067" y="585430"/>
                  <a:pt x="1323406" y="589771"/>
                  <a:pt x="1322175" y="596793"/>
                </a:cubicBezTo>
                <a:cubicBezTo>
                  <a:pt x="1321669" y="599545"/>
                  <a:pt x="1321669" y="599545"/>
                  <a:pt x="1320106" y="602363"/>
                </a:cubicBezTo>
                <a:cubicBezTo>
                  <a:pt x="1318419" y="618189"/>
                  <a:pt x="1322416" y="632767"/>
                  <a:pt x="1328015" y="647640"/>
                </a:cubicBezTo>
                <a:cubicBezTo>
                  <a:pt x="1331267" y="656625"/>
                  <a:pt x="1333170" y="666179"/>
                  <a:pt x="1332604" y="675643"/>
                </a:cubicBezTo>
                <a:cubicBezTo>
                  <a:pt x="1333634" y="675643"/>
                  <a:pt x="1334665" y="675643"/>
                  <a:pt x="1335727" y="675643"/>
                </a:cubicBezTo>
                <a:cubicBezTo>
                  <a:pt x="1337571" y="680632"/>
                  <a:pt x="1337591" y="684795"/>
                  <a:pt x="1337741" y="690059"/>
                </a:cubicBezTo>
                <a:cubicBezTo>
                  <a:pt x="1337826" y="692114"/>
                  <a:pt x="1337913" y="694168"/>
                  <a:pt x="1338003" y="696222"/>
                </a:cubicBezTo>
                <a:cubicBezTo>
                  <a:pt x="1338142" y="699444"/>
                  <a:pt x="1338266" y="702664"/>
                  <a:pt x="1338340" y="705887"/>
                </a:cubicBezTo>
                <a:cubicBezTo>
                  <a:pt x="1338372" y="720474"/>
                  <a:pt x="1338372" y="720474"/>
                  <a:pt x="1345277" y="733245"/>
                </a:cubicBezTo>
                <a:cubicBezTo>
                  <a:pt x="1350822" y="737861"/>
                  <a:pt x="1355921" y="739823"/>
                  <a:pt x="1363162" y="741612"/>
                </a:cubicBezTo>
                <a:cubicBezTo>
                  <a:pt x="1370672" y="743533"/>
                  <a:pt x="1377197" y="745750"/>
                  <a:pt x="1384154" y="748922"/>
                </a:cubicBezTo>
                <a:cubicBezTo>
                  <a:pt x="1387833" y="749898"/>
                  <a:pt x="1387833" y="749898"/>
                  <a:pt x="1391476" y="750419"/>
                </a:cubicBezTo>
                <a:cubicBezTo>
                  <a:pt x="1393499" y="750747"/>
                  <a:pt x="1393499" y="750747"/>
                  <a:pt x="1395564" y="751080"/>
                </a:cubicBezTo>
                <a:cubicBezTo>
                  <a:pt x="1397648" y="751407"/>
                  <a:pt x="1397648" y="751407"/>
                  <a:pt x="1399775" y="751740"/>
                </a:cubicBezTo>
                <a:cubicBezTo>
                  <a:pt x="1401810" y="752111"/>
                  <a:pt x="1401810" y="752111"/>
                  <a:pt x="1403887" y="752489"/>
                </a:cubicBezTo>
                <a:cubicBezTo>
                  <a:pt x="1424247" y="756131"/>
                  <a:pt x="1444708" y="756350"/>
                  <a:pt x="1465383" y="755969"/>
                </a:cubicBezTo>
                <a:cubicBezTo>
                  <a:pt x="1467019" y="755945"/>
                  <a:pt x="1468654" y="755921"/>
                  <a:pt x="1470339" y="755897"/>
                </a:cubicBezTo>
                <a:cubicBezTo>
                  <a:pt x="1480128" y="755450"/>
                  <a:pt x="1487899" y="752933"/>
                  <a:pt x="1496809" y="749313"/>
                </a:cubicBezTo>
                <a:cubicBezTo>
                  <a:pt x="1502876" y="746888"/>
                  <a:pt x="1509049" y="745091"/>
                  <a:pt x="1515371" y="743285"/>
                </a:cubicBezTo>
                <a:cubicBezTo>
                  <a:pt x="1515371" y="742356"/>
                  <a:pt x="1515371" y="741425"/>
                  <a:pt x="1515371" y="740467"/>
                </a:cubicBezTo>
                <a:cubicBezTo>
                  <a:pt x="1522710" y="737103"/>
                  <a:pt x="1529583" y="737106"/>
                  <a:pt x="1537632" y="737120"/>
                </a:cubicBezTo>
                <a:cubicBezTo>
                  <a:pt x="1538960" y="737122"/>
                  <a:pt x="1540289" y="737124"/>
                  <a:pt x="1541657" y="737127"/>
                </a:cubicBezTo>
                <a:cubicBezTo>
                  <a:pt x="1555502" y="737372"/>
                  <a:pt x="1564314" y="740697"/>
                  <a:pt x="1574732" y="748922"/>
                </a:cubicBezTo>
                <a:cubicBezTo>
                  <a:pt x="1586507" y="762822"/>
                  <a:pt x="1590347" y="775219"/>
                  <a:pt x="1588791" y="792608"/>
                </a:cubicBezTo>
                <a:cubicBezTo>
                  <a:pt x="1587728" y="797050"/>
                  <a:pt x="1586468" y="801261"/>
                  <a:pt x="1584105" y="805291"/>
                </a:cubicBezTo>
                <a:cubicBezTo>
                  <a:pt x="1583074" y="805756"/>
                  <a:pt x="1582043" y="806221"/>
                  <a:pt x="1580981" y="806700"/>
                </a:cubicBezTo>
                <a:cubicBezTo>
                  <a:pt x="1580240" y="807892"/>
                  <a:pt x="1579499" y="809083"/>
                  <a:pt x="1578735" y="810311"/>
                </a:cubicBezTo>
                <a:cubicBezTo>
                  <a:pt x="1577930" y="811445"/>
                  <a:pt x="1577124" y="812579"/>
                  <a:pt x="1576295" y="813746"/>
                </a:cubicBezTo>
                <a:lnTo>
                  <a:pt x="1571652" y="813746"/>
                </a:lnTo>
                <a:lnTo>
                  <a:pt x="1571785" y="814106"/>
                </a:lnTo>
                <a:cubicBezTo>
                  <a:pt x="1572816" y="814571"/>
                  <a:pt x="1573846" y="815036"/>
                  <a:pt x="1574909" y="815515"/>
                </a:cubicBezTo>
                <a:cubicBezTo>
                  <a:pt x="1572126" y="818758"/>
                  <a:pt x="1569968" y="820871"/>
                  <a:pt x="1565463" y="821839"/>
                </a:cubicBezTo>
                <a:lnTo>
                  <a:pt x="1562085" y="822101"/>
                </a:lnTo>
                <a:lnTo>
                  <a:pt x="1551301" y="825020"/>
                </a:lnTo>
                <a:cubicBezTo>
                  <a:pt x="1551301" y="825950"/>
                  <a:pt x="1551301" y="826880"/>
                  <a:pt x="1551301" y="827838"/>
                </a:cubicBezTo>
                <a:cubicBezTo>
                  <a:pt x="1526697" y="828735"/>
                  <a:pt x="1507496" y="825036"/>
                  <a:pt x="1485380" y="815007"/>
                </a:cubicBezTo>
                <a:cubicBezTo>
                  <a:pt x="1468723" y="807743"/>
                  <a:pt x="1449749" y="809144"/>
                  <a:pt x="1431603" y="808726"/>
                </a:cubicBezTo>
                <a:cubicBezTo>
                  <a:pt x="1429115" y="808665"/>
                  <a:pt x="1426627" y="808604"/>
                  <a:pt x="1424140" y="808542"/>
                </a:cubicBezTo>
                <a:cubicBezTo>
                  <a:pt x="1418101" y="808392"/>
                  <a:pt x="1412062" y="808249"/>
                  <a:pt x="1406023" y="808109"/>
                </a:cubicBezTo>
                <a:cubicBezTo>
                  <a:pt x="1406023" y="809040"/>
                  <a:pt x="1406023" y="809970"/>
                  <a:pt x="1406023" y="810928"/>
                </a:cubicBezTo>
                <a:cubicBezTo>
                  <a:pt x="1404716" y="811118"/>
                  <a:pt x="1404716" y="811118"/>
                  <a:pt x="1403383" y="811311"/>
                </a:cubicBezTo>
                <a:cubicBezTo>
                  <a:pt x="1372054" y="815110"/>
                  <a:pt x="1372054" y="815110"/>
                  <a:pt x="1345442" y="828907"/>
                </a:cubicBezTo>
                <a:cubicBezTo>
                  <a:pt x="1338843" y="837605"/>
                  <a:pt x="1338313" y="846434"/>
                  <a:pt x="1337875" y="856639"/>
                </a:cubicBezTo>
                <a:cubicBezTo>
                  <a:pt x="1337815" y="857805"/>
                  <a:pt x="1337754" y="858970"/>
                  <a:pt x="1337692" y="860171"/>
                </a:cubicBezTo>
                <a:cubicBezTo>
                  <a:pt x="1337547" y="863016"/>
                  <a:pt x="1337417" y="865861"/>
                  <a:pt x="1337290" y="868706"/>
                </a:cubicBezTo>
                <a:cubicBezTo>
                  <a:pt x="1336258" y="868706"/>
                  <a:pt x="1335228" y="868706"/>
                  <a:pt x="1334165" y="868706"/>
                </a:cubicBezTo>
                <a:lnTo>
                  <a:pt x="1334165" y="870034"/>
                </a:lnTo>
                <a:lnTo>
                  <a:pt x="1334237" y="869093"/>
                </a:lnTo>
                <a:cubicBezTo>
                  <a:pt x="1334753" y="869093"/>
                  <a:pt x="1335268" y="869093"/>
                  <a:pt x="1335800" y="869093"/>
                </a:cubicBezTo>
                <a:cubicBezTo>
                  <a:pt x="1335884" y="871559"/>
                  <a:pt x="1335944" y="874025"/>
                  <a:pt x="1335995" y="876491"/>
                </a:cubicBezTo>
                <a:cubicBezTo>
                  <a:pt x="1336030" y="877865"/>
                  <a:pt x="1336067" y="879238"/>
                  <a:pt x="1336105" y="880653"/>
                </a:cubicBezTo>
                <a:cubicBezTo>
                  <a:pt x="1335800" y="884594"/>
                  <a:pt x="1335800" y="884594"/>
                  <a:pt x="1334294" y="887271"/>
                </a:cubicBezTo>
                <a:cubicBezTo>
                  <a:pt x="1332567" y="890428"/>
                  <a:pt x="1331982" y="892964"/>
                  <a:pt x="1331455" y="896440"/>
                </a:cubicBezTo>
                <a:cubicBezTo>
                  <a:pt x="1331267" y="897605"/>
                  <a:pt x="1331080" y="898769"/>
                  <a:pt x="1330887" y="899969"/>
                </a:cubicBezTo>
                <a:cubicBezTo>
                  <a:pt x="1330704" y="901174"/>
                  <a:pt x="1330521" y="902378"/>
                  <a:pt x="1330332" y="903618"/>
                </a:cubicBezTo>
                <a:cubicBezTo>
                  <a:pt x="1329968" y="906013"/>
                  <a:pt x="1329594" y="908405"/>
                  <a:pt x="1329209" y="910797"/>
                </a:cubicBezTo>
                <a:cubicBezTo>
                  <a:pt x="1329049" y="911853"/>
                  <a:pt x="1328889" y="912910"/>
                  <a:pt x="1328724" y="913998"/>
                </a:cubicBezTo>
                <a:cubicBezTo>
                  <a:pt x="1327933" y="917233"/>
                  <a:pt x="1326525" y="919703"/>
                  <a:pt x="1324865" y="922643"/>
                </a:cubicBezTo>
                <a:cubicBezTo>
                  <a:pt x="1323924" y="927743"/>
                  <a:pt x="1323282" y="932845"/>
                  <a:pt x="1322619" y="937979"/>
                </a:cubicBezTo>
                <a:lnTo>
                  <a:pt x="1318744" y="944961"/>
                </a:lnTo>
                <a:lnTo>
                  <a:pt x="1318544" y="946213"/>
                </a:lnTo>
                <a:cubicBezTo>
                  <a:pt x="1318360" y="949234"/>
                  <a:pt x="1318271" y="952260"/>
                  <a:pt x="1318251" y="955285"/>
                </a:cubicBezTo>
                <a:cubicBezTo>
                  <a:pt x="1318218" y="957637"/>
                  <a:pt x="1318218" y="957637"/>
                  <a:pt x="1318184" y="960036"/>
                </a:cubicBezTo>
                <a:cubicBezTo>
                  <a:pt x="1318624" y="965530"/>
                  <a:pt x="1319569" y="969724"/>
                  <a:pt x="1324024" y="973660"/>
                </a:cubicBezTo>
                <a:cubicBezTo>
                  <a:pt x="1327197" y="976583"/>
                  <a:pt x="1327950" y="979494"/>
                  <a:pt x="1329284" y="983382"/>
                </a:cubicBezTo>
                <a:cubicBezTo>
                  <a:pt x="1331875" y="990106"/>
                  <a:pt x="1334445" y="993582"/>
                  <a:pt x="1340414" y="998354"/>
                </a:cubicBezTo>
                <a:cubicBezTo>
                  <a:pt x="1342397" y="1000564"/>
                  <a:pt x="1344347" y="1002798"/>
                  <a:pt x="1346272" y="1005048"/>
                </a:cubicBezTo>
                <a:cubicBezTo>
                  <a:pt x="1360055" y="1020713"/>
                  <a:pt x="1376247" y="1031879"/>
                  <a:pt x="1394716" y="1042740"/>
                </a:cubicBezTo>
                <a:cubicBezTo>
                  <a:pt x="1397172" y="1044228"/>
                  <a:pt x="1399581" y="1045779"/>
                  <a:pt x="1401953" y="1047374"/>
                </a:cubicBezTo>
                <a:cubicBezTo>
                  <a:pt x="1410065" y="1052802"/>
                  <a:pt x="1417529" y="1056366"/>
                  <a:pt x="1427197" y="1059061"/>
                </a:cubicBezTo>
                <a:cubicBezTo>
                  <a:pt x="1431243" y="1060437"/>
                  <a:pt x="1434061" y="1061979"/>
                  <a:pt x="1437265" y="1064588"/>
                </a:cubicBezTo>
                <a:cubicBezTo>
                  <a:pt x="1437265" y="1065518"/>
                  <a:pt x="1437265" y="1066448"/>
                  <a:pt x="1437265" y="1067406"/>
                </a:cubicBezTo>
                <a:cubicBezTo>
                  <a:pt x="1439053" y="1067624"/>
                  <a:pt x="1439053" y="1067624"/>
                  <a:pt x="1440878" y="1067847"/>
                </a:cubicBezTo>
                <a:cubicBezTo>
                  <a:pt x="1445076" y="1068815"/>
                  <a:pt x="1445076" y="1068815"/>
                  <a:pt x="1447175" y="1070753"/>
                </a:cubicBezTo>
                <a:cubicBezTo>
                  <a:pt x="1450417" y="1073622"/>
                  <a:pt x="1453781" y="1075060"/>
                  <a:pt x="1457866" y="1076830"/>
                </a:cubicBezTo>
                <a:cubicBezTo>
                  <a:pt x="1459274" y="1077446"/>
                  <a:pt x="1460681" y="1078062"/>
                  <a:pt x="1462132" y="1078696"/>
                </a:cubicBezTo>
                <a:cubicBezTo>
                  <a:pt x="1463204" y="1079156"/>
                  <a:pt x="1464278" y="1079616"/>
                  <a:pt x="1465383" y="1080089"/>
                </a:cubicBezTo>
                <a:cubicBezTo>
                  <a:pt x="1465383" y="1081019"/>
                  <a:pt x="1465383" y="1081949"/>
                  <a:pt x="1465383" y="1082908"/>
                </a:cubicBezTo>
                <a:cubicBezTo>
                  <a:pt x="1466497" y="1083260"/>
                  <a:pt x="1467611" y="1083612"/>
                  <a:pt x="1468758" y="1083975"/>
                </a:cubicBezTo>
                <a:cubicBezTo>
                  <a:pt x="1473648" y="1085905"/>
                  <a:pt x="1477426" y="1088296"/>
                  <a:pt x="1481688" y="1091187"/>
                </a:cubicBezTo>
                <a:cubicBezTo>
                  <a:pt x="1483204" y="1092193"/>
                  <a:pt x="1484721" y="1093200"/>
                  <a:pt x="1486283" y="1094236"/>
                </a:cubicBezTo>
                <a:cubicBezTo>
                  <a:pt x="1489170" y="1096185"/>
                  <a:pt x="1492029" y="1098166"/>
                  <a:pt x="1494869" y="1100171"/>
                </a:cubicBezTo>
                <a:cubicBezTo>
                  <a:pt x="1510181" y="1107906"/>
                  <a:pt x="1527080" y="1109898"/>
                  <a:pt x="1544335" y="1109518"/>
                </a:cubicBezTo>
                <a:cubicBezTo>
                  <a:pt x="1579932" y="1108798"/>
                  <a:pt x="1579932" y="1108798"/>
                  <a:pt x="1593477" y="1119900"/>
                </a:cubicBezTo>
                <a:cubicBezTo>
                  <a:pt x="1600636" y="1127255"/>
                  <a:pt x="1604889" y="1135120"/>
                  <a:pt x="1605975" y="1144913"/>
                </a:cubicBezTo>
                <a:cubicBezTo>
                  <a:pt x="1607006" y="1144913"/>
                  <a:pt x="1608036" y="1144913"/>
                  <a:pt x="1609099" y="1144913"/>
                </a:cubicBezTo>
                <a:cubicBezTo>
                  <a:pt x="1609227" y="1148907"/>
                  <a:pt x="1609319" y="1152897"/>
                  <a:pt x="1609392" y="1156892"/>
                </a:cubicBezTo>
                <a:cubicBezTo>
                  <a:pt x="1609451" y="1158565"/>
                  <a:pt x="1609451" y="1158565"/>
                  <a:pt x="1609511" y="1160272"/>
                </a:cubicBezTo>
                <a:cubicBezTo>
                  <a:pt x="1609621" y="1168378"/>
                  <a:pt x="1607970" y="1174108"/>
                  <a:pt x="1604412" y="1181553"/>
                </a:cubicBezTo>
                <a:cubicBezTo>
                  <a:pt x="1603354" y="1184367"/>
                  <a:pt x="1602306" y="1187183"/>
                  <a:pt x="1601288" y="1190009"/>
                </a:cubicBezTo>
                <a:cubicBezTo>
                  <a:pt x="1600257" y="1190009"/>
                  <a:pt x="1599226" y="1190009"/>
                  <a:pt x="1598164" y="1190009"/>
                </a:cubicBezTo>
                <a:cubicBezTo>
                  <a:pt x="1597842" y="1190910"/>
                  <a:pt x="1597520" y="1191810"/>
                  <a:pt x="1597187" y="1192739"/>
                </a:cubicBezTo>
                <a:cubicBezTo>
                  <a:pt x="1596479" y="1193698"/>
                  <a:pt x="1595770" y="1194657"/>
                  <a:pt x="1595040" y="1195645"/>
                </a:cubicBezTo>
                <a:cubicBezTo>
                  <a:pt x="1591916" y="1196115"/>
                  <a:pt x="1588791" y="1196585"/>
                  <a:pt x="1585667" y="1197055"/>
                </a:cubicBezTo>
                <a:cubicBezTo>
                  <a:pt x="1583871" y="1199826"/>
                  <a:pt x="1583871" y="1199826"/>
                  <a:pt x="1582543" y="1202691"/>
                </a:cubicBezTo>
                <a:cubicBezTo>
                  <a:pt x="1575997" y="1204710"/>
                  <a:pt x="1569266" y="1204360"/>
                  <a:pt x="1562431" y="1204365"/>
                </a:cubicBezTo>
                <a:cubicBezTo>
                  <a:pt x="1561196" y="1204382"/>
                  <a:pt x="1559962" y="1204399"/>
                  <a:pt x="1558690" y="1204417"/>
                </a:cubicBezTo>
                <a:cubicBezTo>
                  <a:pt x="1543339" y="1204452"/>
                  <a:pt x="1531981" y="1199267"/>
                  <a:pt x="1521102" y="1189585"/>
                </a:cubicBezTo>
                <a:cubicBezTo>
                  <a:pt x="1515403" y="1183953"/>
                  <a:pt x="1510116" y="1178123"/>
                  <a:pt x="1505022" y="1172041"/>
                </a:cubicBezTo>
                <a:cubicBezTo>
                  <a:pt x="1493200" y="1158177"/>
                  <a:pt x="1475492" y="1147115"/>
                  <a:pt x="1457573" y="1140686"/>
                </a:cubicBezTo>
                <a:cubicBezTo>
                  <a:pt x="1457573" y="1139755"/>
                  <a:pt x="1457573" y="1138826"/>
                  <a:pt x="1457573" y="1137867"/>
                </a:cubicBezTo>
                <a:cubicBezTo>
                  <a:pt x="1456059" y="1137693"/>
                  <a:pt x="1454544" y="1137518"/>
                  <a:pt x="1452985" y="1137339"/>
                </a:cubicBezTo>
                <a:cubicBezTo>
                  <a:pt x="1451406" y="1137048"/>
                  <a:pt x="1449827" y="1136758"/>
                  <a:pt x="1448200" y="1136458"/>
                </a:cubicBezTo>
                <a:cubicBezTo>
                  <a:pt x="1447685" y="1135528"/>
                  <a:pt x="1447169" y="1134598"/>
                  <a:pt x="1446638" y="1133640"/>
                </a:cubicBezTo>
                <a:cubicBezTo>
                  <a:pt x="1444091" y="1132586"/>
                  <a:pt x="1441535" y="1131550"/>
                  <a:pt x="1438937" y="1130601"/>
                </a:cubicBezTo>
                <a:cubicBezTo>
                  <a:pt x="1435668" y="1129399"/>
                  <a:pt x="1432469" y="1128095"/>
                  <a:pt x="1429260" y="1126770"/>
                </a:cubicBezTo>
                <a:cubicBezTo>
                  <a:pt x="1423389" y="1124389"/>
                  <a:pt x="1417431" y="1122349"/>
                  <a:pt x="1411393" y="1120340"/>
                </a:cubicBezTo>
                <a:cubicBezTo>
                  <a:pt x="1404143" y="1117867"/>
                  <a:pt x="1397842" y="1115090"/>
                  <a:pt x="1391427" y="1111191"/>
                </a:cubicBezTo>
                <a:cubicBezTo>
                  <a:pt x="1388139" y="1109274"/>
                  <a:pt x="1384723" y="1108010"/>
                  <a:pt x="1381029" y="1106865"/>
                </a:cubicBezTo>
                <a:cubicBezTo>
                  <a:pt x="1381029" y="1105934"/>
                  <a:pt x="1381029" y="1105004"/>
                  <a:pt x="1381029" y="1104046"/>
                </a:cubicBezTo>
                <a:cubicBezTo>
                  <a:pt x="1379773" y="1103901"/>
                  <a:pt x="1378516" y="1103755"/>
                  <a:pt x="1377221" y="1103605"/>
                </a:cubicBezTo>
                <a:cubicBezTo>
                  <a:pt x="1370425" y="1102422"/>
                  <a:pt x="1364120" y="1100465"/>
                  <a:pt x="1357597" y="1098409"/>
                </a:cubicBezTo>
                <a:cubicBezTo>
                  <a:pt x="1355761" y="1097857"/>
                  <a:pt x="1353924" y="1097304"/>
                  <a:pt x="1352032" y="1096736"/>
                </a:cubicBezTo>
                <a:cubicBezTo>
                  <a:pt x="1350776" y="1096358"/>
                  <a:pt x="1349519" y="1095980"/>
                  <a:pt x="1348225" y="1095590"/>
                </a:cubicBezTo>
                <a:cubicBezTo>
                  <a:pt x="1348225" y="1094661"/>
                  <a:pt x="1348225" y="1093730"/>
                  <a:pt x="1348225" y="1092772"/>
                </a:cubicBezTo>
                <a:cubicBezTo>
                  <a:pt x="1344616" y="1092307"/>
                  <a:pt x="1341007" y="1091842"/>
                  <a:pt x="1337290" y="1091363"/>
                </a:cubicBezTo>
                <a:cubicBezTo>
                  <a:pt x="1337290" y="1090433"/>
                  <a:pt x="1337290" y="1089503"/>
                  <a:pt x="1337290" y="1088544"/>
                </a:cubicBezTo>
                <a:cubicBezTo>
                  <a:pt x="1334438" y="1088327"/>
                  <a:pt x="1334438" y="1088327"/>
                  <a:pt x="1331529" y="1088104"/>
                </a:cubicBezTo>
                <a:lnTo>
                  <a:pt x="1323297" y="1086611"/>
                </a:lnTo>
                <a:lnTo>
                  <a:pt x="1323297" y="1087618"/>
                </a:lnTo>
                <a:cubicBezTo>
                  <a:pt x="1322139" y="1087517"/>
                  <a:pt x="1320982" y="1087415"/>
                  <a:pt x="1319789" y="1087310"/>
                </a:cubicBezTo>
                <a:cubicBezTo>
                  <a:pt x="1300429" y="1085771"/>
                  <a:pt x="1281330" y="1084680"/>
                  <a:pt x="1262375" y="1089028"/>
                </a:cubicBezTo>
                <a:lnTo>
                  <a:pt x="1258728" y="1088205"/>
                </a:lnTo>
                <a:lnTo>
                  <a:pt x="1246964" y="1091489"/>
                </a:lnTo>
                <a:cubicBezTo>
                  <a:pt x="1237239" y="1097222"/>
                  <a:pt x="1228703" y="1103434"/>
                  <a:pt x="1223224" y="1112865"/>
                </a:cubicBezTo>
                <a:cubicBezTo>
                  <a:pt x="1220867" y="1116643"/>
                  <a:pt x="1217262" y="1119317"/>
                  <a:pt x="1213883" y="1122366"/>
                </a:cubicBezTo>
                <a:cubicBezTo>
                  <a:pt x="1213428" y="1123469"/>
                  <a:pt x="1212973" y="1124572"/>
                  <a:pt x="1212505" y="1125708"/>
                </a:cubicBezTo>
                <a:cubicBezTo>
                  <a:pt x="1210449" y="1130067"/>
                  <a:pt x="1207984" y="1132315"/>
                  <a:pt x="1204180" y="1135561"/>
                </a:cubicBezTo>
                <a:cubicBezTo>
                  <a:pt x="1202879" y="1136695"/>
                  <a:pt x="1201578" y="1137829"/>
                  <a:pt x="1200238" y="1138999"/>
                </a:cubicBezTo>
                <a:cubicBezTo>
                  <a:pt x="1197504" y="1141343"/>
                  <a:pt x="1194765" y="1143684"/>
                  <a:pt x="1192025" y="1146022"/>
                </a:cubicBezTo>
                <a:cubicBezTo>
                  <a:pt x="1181899" y="1154869"/>
                  <a:pt x="1174983" y="1161763"/>
                  <a:pt x="1173945" y="1174749"/>
                </a:cubicBezTo>
                <a:cubicBezTo>
                  <a:pt x="1173902" y="1177369"/>
                  <a:pt x="1173905" y="1179990"/>
                  <a:pt x="1173950" y="1182610"/>
                </a:cubicBezTo>
                <a:cubicBezTo>
                  <a:pt x="1173963" y="1183981"/>
                  <a:pt x="1173975" y="1185352"/>
                  <a:pt x="1173989" y="1186765"/>
                </a:cubicBezTo>
                <a:cubicBezTo>
                  <a:pt x="1174321" y="1197573"/>
                  <a:pt x="1176809" y="1205883"/>
                  <a:pt x="1182640" y="1215374"/>
                </a:cubicBezTo>
                <a:cubicBezTo>
                  <a:pt x="1183703" y="1217509"/>
                  <a:pt x="1184746" y="1219652"/>
                  <a:pt x="1185764" y="1221804"/>
                </a:cubicBezTo>
                <a:cubicBezTo>
                  <a:pt x="1186271" y="1222812"/>
                  <a:pt x="1186779" y="1223821"/>
                  <a:pt x="1187301" y="1224859"/>
                </a:cubicBezTo>
                <a:cubicBezTo>
                  <a:pt x="1188431" y="1227137"/>
                  <a:pt x="1189517" y="1229433"/>
                  <a:pt x="1190573" y="1231740"/>
                </a:cubicBezTo>
                <a:cubicBezTo>
                  <a:pt x="1194650" y="1240409"/>
                  <a:pt x="1199581" y="1247688"/>
                  <a:pt x="1205925" y="1255163"/>
                </a:cubicBezTo>
                <a:cubicBezTo>
                  <a:pt x="1208103" y="1257757"/>
                  <a:pt x="1210188" y="1260417"/>
                  <a:pt x="1212174" y="1263134"/>
                </a:cubicBezTo>
                <a:cubicBezTo>
                  <a:pt x="1218757" y="1272043"/>
                  <a:pt x="1225157" y="1277324"/>
                  <a:pt x="1235556" y="1282538"/>
                </a:cubicBezTo>
                <a:cubicBezTo>
                  <a:pt x="1236652" y="1283161"/>
                  <a:pt x="1237747" y="1283784"/>
                  <a:pt x="1238876" y="1284426"/>
                </a:cubicBezTo>
                <a:cubicBezTo>
                  <a:pt x="1238876" y="1285356"/>
                  <a:pt x="1238876" y="1286287"/>
                  <a:pt x="1238876" y="1287245"/>
                </a:cubicBezTo>
                <a:cubicBezTo>
                  <a:pt x="1239988" y="1287383"/>
                  <a:pt x="1241099" y="1287521"/>
                  <a:pt x="1242245" y="1287663"/>
                </a:cubicBezTo>
                <a:cubicBezTo>
                  <a:pt x="1253043" y="1290072"/>
                  <a:pt x="1264916" y="1297690"/>
                  <a:pt x="1271681" y="1305565"/>
                </a:cubicBezTo>
                <a:lnTo>
                  <a:pt x="1271742" y="1306172"/>
                </a:lnTo>
                <a:lnTo>
                  <a:pt x="1278525" y="1315767"/>
                </a:lnTo>
                <a:cubicBezTo>
                  <a:pt x="1279797" y="1319398"/>
                  <a:pt x="1280365" y="1323346"/>
                  <a:pt x="1281097" y="1327286"/>
                </a:cubicBezTo>
                <a:cubicBezTo>
                  <a:pt x="1281916" y="1337121"/>
                  <a:pt x="1281807" y="1346176"/>
                  <a:pt x="1277973" y="1355470"/>
                </a:cubicBezTo>
                <a:lnTo>
                  <a:pt x="1277460" y="1347025"/>
                </a:lnTo>
                <a:lnTo>
                  <a:pt x="1273531" y="1357991"/>
                </a:lnTo>
                <a:cubicBezTo>
                  <a:pt x="1270940" y="1361892"/>
                  <a:pt x="1267521" y="1365435"/>
                  <a:pt x="1263870" y="1368980"/>
                </a:cubicBezTo>
                <a:cubicBezTo>
                  <a:pt x="1258351" y="1372929"/>
                  <a:pt x="1253850" y="1376026"/>
                  <a:pt x="1246686" y="1376026"/>
                </a:cubicBezTo>
                <a:cubicBezTo>
                  <a:pt x="1246686" y="1376956"/>
                  <a:pt x="1246686" y="1377886"/>
                  <a:pt x="1246686" y="1378844"/>
                </a:cubicBezTo>
                <a:cubicBezTo>
                  <a:pt x="1241676" y="1379009"/>
                  <a:pt x="1236665" y="1379109"/>
                  <a:pt x="1231651" y="1379196"/>
                </a:cubicBezTo>
                <a:cubicBezTo>
                  <a:pt x="1230240" y="1379244"/>
                  <a:pt x="1228828" y="1379291"/>
                  <a:pt x="1227373" y="1379340"/>
                </a:cubicBezTo>
                <a:cubicBezTo>
                  <a:pt x="1218287" y="1379460"/>
                  <a:pt x="1213363" y="1378568"/>
                  <a:pt x="1206071" y="1373207"/>
                </a:cubicBezTo>
                <a:cubicBezTo>
                  <a:pt x="1204751" y="1372742"/>
                  <a:pt x="1203430" y="1372277"/>
                  <a:pt x="1202069" y="1371798"/>
                </a:cubicBezTo>
                <a:cubicBezTo>
                  <a:pt x="1193777" y="1368730"/>
                  <a:pt x="1188124" y="1363294"/>
                  <a:pt x="1184104" y="1356176"/>
                </a:cubicBezTo>
                <a:cubicBezTo>
                  <a:pt x="1180965" y="1349259"/>
                  <a:pt x="1178852" y="1342590"/>
                  <a:pt x="1177270" y="1335247"/>
                </a:cubicBezTo>
                <a:cubicBezTo>
                  <a:pt x="1175525" y="1327352"/>
                  <a:pt x="1172911" y="1320677"/>
                  <a:pt x="1169002" y="1313464"/>
                </a:cubicBezTo>
                <a:cubicBezTo>
                  <a:pt x="1166989" y="1309737"/>
                  <a:pt x="1165215" y="1305976"/>
                  <a:pt x="1163504" y="1302130"/>
                </a:cubicBezTo>
                <a:cubicBezTo>
                  <a:pt x="1163013" y="1301027"/>
                  <a:pt x="1162521" y="1299924"/>
                  <a:pt x="1162015" y="1298788"/>
                </a:cubicBezTo>
                <a:cubicBezTo>
                  <a:pt x="1160770" y="1295700"/>
                  <a:pt x="1160770" y="1295700"/>
                  <a:pt x="1160111" y="1292656"/>
                </a:cubicBezTo>
                <a:cubicBezTo>
                  <a:pt x="1159345" y="1289507"/>
                  <a:pt x="1159345" y="1289507"/>
                  <a:pt x="1154522" y="1287245"/>
                </a:cubicBezTo>
                <a:cubicBezTo>
                  <a:pt x="1153465" y="1284902"/>
                  <a:pt x="1152426" y="1282552"/>
                  <a:pt x="1151398" y="1280199"/>
                </a:cubicBezTo>
                <a:cubicBezTo>
                  <a:pt x="1149056" y="1276983"/>
                  <a:pt x="1146686" y="1273874"/>
                  <a:pt x="1144173" y="1270774"/>
                </a:cubicBezTo>
                <a:cubicBezTo>
                  <a:pt x="1143477" y="1269912"/>
                  <a:pt x="1142782" y="1269049"/>
                  <a:pt x="1142065" y="1268160"/>
                </a:cubicBezTo>
                <a:cubicBezTo>
                  <a:pt x="1139981" y="1265589"/>
                  <a:pt x="1137880" y="1263029"/>
                  <a:pt x="1135776" y="1260470"/>
                </a:cubicBezTo>
                <a:cubicBezTo>
                  <a:pt x="1134647" y="1259076"/>
                  <a:pt x="1133517" y="1257683"/>
                  <a:pt x="1132353" y="1256247"/>
                </a:cubicBezTo>
                <a:cubicBezTo>
                  <a:pt x="1126291" y="1249045"/>
                  <a:pt x="1121408" y="1244606"/>
                  <a:pt x="1112344" y="1240741"/>
                </a:cubicBezTo>
                <a:cubicBezTo>
                  <a:pt x="1110285" y="1239698"/>
                  <a:pt x="1108234" y="1238642"/>
                  <a:pt x="1106193" y="1237570"/>
                </a:cubicBezTo>
                <a:cubicBezTo>
                  <a:pt x="1104615" y="1236756"/>
                  <a:pt x="1103036" y="1235942"/>
                  <a:pt x="1101409" y="1235104"/>
                </a:cubicBezTo>
                <a:cubicBezTo>
                  <a:pt x="1101409" y="1233708"/>
                  <a:pt x="1101409" y="1232313"/>
                  <a:pt x="1101409" y="1230876"/>
                </a:cubicBezTo>
                <a:cubicBezTo>
                  <a:pt x="1089553" y="1230876"/>
                  <a:pt x="1077697" y="1230876"/>
                  <a:pt x="1065480" y="1230876"/>
                </a:cubicBezTo>
                <a:cubicBezTo>
                  <a:pt x="1064965" y="1232271"/>
                  <a:pt x="1064450" y="1233666"/>
                  <a:pt x="1063919" y="1235104"/>
                </a:cubicBezTo>
                <a:cubicBezTo>
                  <a:pt x="1062372" y="1235104"/>
                  <a:pt x="1060826" y="1235104"/>
                  <a:pt x="1059232" y="1235104"/>
                </a:cubicBezTo>
                <a:cubicBezTo>
                  <a:pt x="1059232" y="1236033"/>
                  <a:pt x="1059232" y="1236964"/>
                  <a:pt x="1059232" y="1237922"/>
                </a:cubicBezTo>
                <a:cubicBezTo>
                  <a:pt x="1052964" y="1240850"/>
                  <a:pt x="1046842" y="1243613"/>
                  <a:pt x="1040194" y="1245761"/>
                </a:cubicBezTo>
                <a:cubicBezTo>
                  <a:pt x="1036552" y="1246941"/>
                  <a:pt x="1033682" y="1248088"/>
                  <a:pt x="1030333" y="1249901"/>
                </a:cubicBezTo>
                <a:cubicBezTo>
                  <a:pt x="1025129" y="1252717"/>
                  <a:pt x="1019615" y="1254371"/>
                  <a:pt x="1013931" y="1256242"/>
                </a:cubicBezTo>
                <a:cubicBezTo>
                  <a:pt x="1009870" y="1257688"/>
                  <a:pt x="1008221" y="1258277"/>
                  <a:pt x="1005925" y="1261615"/>
                </a:cubicBezTo>
                <a:cubicBezTo>
                  <a:pt x="1005474" y="1262632"/>
                  <a:pt x="1005023" y="1263649"/>
                  <a:pt x="1004558" y="1264697"/>
                </a:cubicBezTo>
                <a:cubicBezTo>
                  <a:pt x="1004030" y="1265774"/>
                  <a:pt x="1003503" y="1266852"/>
                  <a:pt x="1002959" y="1267961"/>
                </a:cubicBezTo>
                <a:cubicBezTo>
                  <a:pt x="1001408" y="1271808"/>
                  <a:pt x="1000922" y="1274896"/>
                  <a:pt x="1000653" y="1278965"/>
                </a:cubicBezTo>
                <a:cubicBezTo>
                  <a:pt x="1000303" y="1284158"/>
                  <a:pt x="999467" y="1289055"/>
                  <a:pt x="998297" y="1294137"/>
                </a:cubicBezTo>
                <a:cubicBezTo>
                  <a:pt x="996204" y="1304306"/>
                  <a:pt x="996129" y="1314460"/>
                  <a:pt x="996162" y="1324765"/>
                </a:cubicBezTo>
                <a:cubicBezTo>
                  <a:pt x="996163" y="1325782"/>
                  <a:pt x="996163" y="1326799"/>
                  <a:pt x="996164" y="1327846"/>
                </a:cubicBezTo>
                <a:cubicBezTo>
                  <a:pt x="996263" y="1353742"/>
                  <a:pt x="1001081" y="1378188"/>
                  <a:pt x="1007780" y="1403329"/>
                </a:cubicBezTo>
                <a:cubicBezTo>
                  <a:pt x="1008163" y="1404772"/>
                  <a:pt x="1008546" y="1406215"/>
                  <a:pt x="1008940" y="1407701"/>
                </a:cubicBezTo>
                <a:cubicBezTo>
                  <a:pt x="1009316" y="1409030"/>
                  <a:pt x="1009693" y="1410360"/>
                  <a:pt x="1010080" y="1411730"/>
                </a:cubicBezTo>
                <a:cubicBezTo>
                  <a:pt x="1010409" y="1412900"/>
                  <a:pt x="1010737" y="1414071"/>
                  <a:pt x="1011075" y="1415277"/>
                </a:cubicBezTo>
                <a:cubicBezTo>
                  <a:pt x="1012501" y="1418612"/>
                  <a:pt x="1014136" y="1420168"/>
                  <a:pt x="1017055" y="1422530"/>
                </a:cubicBezTo>
                <a:cubicBezTo>
                  <a:pt x="1018770" y="1425162"/>
                  <a:pt x="1018770" y="1425162"/>
                  <a:pt x="1020277" y="1427991"/>
                </a:cubicBezTo>
                <a:cubicBezTo>
                  <a:pt x="1020778" y="1428917"/>
                  <a:pt x="1021280" y="1429844"/>
                  <a:pt x="1021796" y="1430798"/>
                </a:cubicBezTo>
                <a:cubicBezTo>
                  <a:pt x="1023303" y="1433804"/>
                  <a:pt x="1023303" y="1433804"/>
                  <a:pt x="1024579" y="1437239"/>
                </a:cubicBezTo>
                <a:cubicBezTo>
                  <a:pt x="1026915" y="1441803"/>
                  <a:pt x="1030098" y="1444534"/>
                  <a:pt x="1034043" y="1448072"/>
                </a:cubicBezTo>
                <a:lnTo>
                  <a:pt x="1043782" y="1464320"/>
                </a:lnTo>
                <a:lnTo>
                  <a:pt x="1050458" y="1472189"/>
                </a:lnTo>
                <a:cubicBezTo>
                  <a:pt x="1051737" y="1475181"/>
                  <a:pt x="1052277" y="1478513"/>
                  <a:pt x="1052926" y="1482370"/>
                </a:cubicBezTo>
                <a:cubicBezTo>
                  <a:pt x="1053325" y="1487224"/>
                  <a:pt x="1053364" y="1492038"/>
                  <a:pt x="1053316" y="1496903"/>
                </a:cubicBezTo>
                <a:cubicBezTo>
                  <a:pt x="1053328" y="1498142"/>
                  <a:pt x="1053340" y="1499382"/>
                  <a:pt x="1053352" y="1500660"/>
                </a:cubicBezTo>
                <a:cubicBezTo>
                  <a:pt x="1053348" y="1501856"/>
                  <a:pt x="1053344" y="1503052"/>
                  <a:pt x="1053341" y="1504285"/>
                </a:cubicBezTo>
                <a:cubicBezTo>
                  <a:pt x="1053336" y="1505355"/>
                  <a:pt x="1053333" y="1506426"/>
                  <a:pt x="1053329" y="1507529"/>
                </a:cubicBezTo>
                <a:cubicBezTo>
                  <a:pt x="1052876" y="1510927"/>
                  <a:pt x="1051672" y="1513237"/>
                  <a:pt x="1049801" y="1516192"/>
                </a:cubicBezTo>
                <a:lnTo>
                  <a:pt x="1047312" y="1516192"/>
                </a:lnTo>
                <a:lnTo>
                  <a:pt x="1043611" y="1522585"/>
                </a:lnTo>
                <a:cubicBezTo>
                  <a:pt x="1035301" y="1529631"/>
                  <a:pt x="1035301" y="1529631"/>
                  <a:pt x="1029552" y="1529631"/>
                </a:cubicBezTo>
                <a:cubicBezTo>
                  <a:pt x="1029294" y="1530503"/>
                  <a:pt x="1029036" y="1531375"/>
                  <a:pt x="1028771" y="1532273"/>
                </a:cubicBezTo>
                <a:cubicBezTo>
                  <a:pt x="1025795" y="1536076"/>
                  <a:pt x="1022970" y="1536733"/>
                  <a:pt x="1018013" y="1537640"/>
                </a:cubicBezTo>
                <a:cubicBezTo>
                  <a:pt x="1005216" y="1539038"/>
                  <a:pt x="992573" y="1539816"/>
                  <a:pt x="981126" y="1533859"/>
                </a:cubicBezTo>
                <a:cubicBezTo>
                  <a:pt x="979840" y="1533226"/>
                  <a:pt x="978553" y="1532594"/>
                  <a:pt x="977227" y="1531943"/>
                </a:cubicBezTo>
                <a:cubicBezTo>
                  <a:pt x="965286" y="1525877"/>
                  <a:pt x="959626" y="1520520"/>
                  <a:pt x="955376" y="1508751"/>
                </a:cubicBezTo>
                <a:cubicBezTo>
                  <a:pt x="954571" y="1505674"/>
                  <a:pt x="954571" y="1505674"/>
                  <a:pt x="954571" y="1500037"/>
                </a:cubicBezTo>
                <a:cubicBezTo>
                  <a:pt x="953539" y="1500037"/>
                  <a:pt x="952508" y="1500037"/>
                  <a:pt x="951446" y="1500037"/>
                </a:cubicBezTo>
                <a:cubicBezTo>
                  <a:pt x="951361" y="1495986"/>
                  <a:pt x="951299" y="1491935"/>
                  <a:pt x="951251" y="1487883"/>
                </a:cubicBezTo>
                <a:cubicBezTo>
                  <a:pt x="951224" y="1486744"/>
                  <a:pt x="951198" y="1485605"/>
                  <a:pt x="951171" y="1484431"/>
                </a:cubicBezTo>
                <a:cubicBezTo>
                  <a:pt x="951110" y="1477657"/>
                  <a:pt x="952093" y="1472660"/>
                  <a:pt x="954571" y="1466216"/>
                </a:cubicBezTo>
                <a:cubicBezTo>
                  <a:pt x="954867" y="1462451"/>
                  <a:pt x="955016" y="1458876"/>
                  <a:pt x="954961" y="1455118"/>
                </a:cubicBezTo>
                <a:cubicBezTo>
                  <a:pt x="954951" y="1454080"/>
                  <a:pt x="954942" y="1453042"/>
                  <a:pt x="954932" y="1451972"/>
                </a:cubicBezTo>
                <a:cubicBezTo>
                  <a:pt x="954606" y="1435235"/>
                  <a:pt x="952568" y="1419050"/>
                  <a:pt x="945099" y="1403594"/>
                </a:cubicBezTo>
                <a:cubicBezTo>
                  <a:pt x="943714" y="1400177"/>
                  <a:pt x="943046" y="1397128"/>
                  <a:pt x="942366" y="1393553"/>
                </a:cubicBezTo>
                <a:cubicBezTo>
                  <a:pt x="940837" y="1386134"/>
                  <a:pt x="937840" y="1379609"/>
                  <a:pt x="934451" y="1372734"/>
                </a:cubicBezTo>
                <a:cubicBezTo>
                  <a:pt x="932701" y="1368980"/>
                  <a:pt x="932701" y="1368980"/>
                  <a:pt x="931974" y="1365754"/>
                </a:cubicBezTo>
                <a:cubicBezTo>
                  <a:pt x="931699" y="1364958"/>
                  <a:pt x="931422" y="1364162"/>
                  <a:pt x="931138" y="1363343"/>
                </a:cubicBezTo>
                <a:cubicBezTo>
                  <a:pt x="929592" y="1362878"/>
                  <a:pt x="928045" y="1362413"/>
                  <a:pt x="926452" y="1361933"/>
                </a:cubicBezTo>
                <a:cubicBezTo>
                  <a:pt x="921830" y="1355261"/>
                  <a:pt x="920323" y="1348382"/>
                  <a:pt x="918641" y="1340795"/>
                </a:cubicBezTo>
                <a:cubicBezTo>
                  <a:pt x="918133" y="1338914"/>
                  <a:pt x="917616" y="1337034"/>
                  <a:pt x="917079" y="1335158"/>
                </a:cubicBezTo>
                <a:cubicBezTo>
                  <a:pt x="916048" y="1335158"/>
                  <a:pt x="915018" y="1335158"/>
                  <a:pt x="913955" y="1335158"/>
                </a:cubicBezTo>
                <a:cubicBezTo>
                  <a:pt x="913329" y="1333718"/>
                  <a:pt x="912703" y="1332277"/>
                  <a:pt x="912057" y="1330793"/>
                </a:cubicBezTo>
                <a:cubicBezTo>
                  <a:pt x="909497" y="1325424"/>
                  <a:pt x="906114" y="1320822"/>
                  <a:pt x="902142" y="1316222"/>
                </a:cubicBezTo>
                <a:cubicBezTo>
                  <a:pt x="901465" y="1315432"/>
                  <a:pt x="900788" y="1314642"/>
                  <a:pt x="900091" y="1313828"/>
                </a:cubicBezTo>
                <a:cubicBezTo>
                  <a:pt x="893705" y="1306618"/>
                  <a:pt x="886350" y="1301049"/>
                  <a:pt x="878026" y="1295700"/>
                </a:cubicBezTo>
                <a:cubicBezTo>
                  <a:pt x="876595" y="1294594"/>
                  <a:pt x="876595" y="1294594"/>
                  <a:pt x="875134" y="1293465"/>
                </a:cubicBezTo>
                <a:lnTo>
                  <a:pt x="869869" y="1291826"/>
                </a:lnTo>
                <a:lnTo>
                  <a:pt x="862384" y="1291327"/>
                </a:lnTo>
                <a:cubicBezTo>
                  <a:pt x="856441" y="1290067"/>
                  <a:pt x="850461" y="1290346"/>
                  <a:pt x="844390" y="1290461"/>
                </a:cubicBezTo>
                <a:cubicBezTo>
                  <a:pt x="842453" y="1290480"/>
                  <a:pt x="842453" y="1290480"/>
                  <a:pt x="840476" y="1290500"/>
                </a:cubicBezTo>
                <a:cubicBezTo>
                  <a:pt x="837322" y="1290532"/>
                  <a:pt x="834169" y="1290583"/>
                  <a:pt x="831015" y="1290637"/>
                </a:cubicBezTo>
                <a:cubicBezTo>
                  <a:pt x="831015" y="1291568"/>
                  <a:pt x="831015" y="1292498"/>
                  <a:pt x="831015" y="1293456"/>
                </a:cubicBezTo>
                <a:cubicBezTo>
                  <a:pt x="826519" y="1294808"/>
                  <a:pt x="822922" y="1295235"/>
                  <a:pt x="818225" y="1295570"/>
                </a:cubicBezTo>
                <a:lnTo>
                  <a:pt x="796774" y="1297671"/>
                </a:lnTo>
                <a:lnTo>
                  <a:pt x="783646" y="1305736"/>
                </a:lnTo>
                <a:cubicBezTo>
                  <a:pt x="776915" y="1312506"/>
                  <a:pt x="772692" y="1318638"/>
                  <a:pt x="769263" y="1327143"/>
                </a:cubicBezTo>
                <a:cubicBezTo>
                  <a:pt x="767116" y="1332340"/>
                  <a:pt x="767116" y="1332340"/>
                  <a:pt x="764797" y="1334360"/>
                </a:cubicBezTo>
                <a:lnTo>
                  <a:pt x="757875" y="1353503"/>
                </a:lnTo>
                <a:lnTo>
                  <a:pt x="755676" y="1367455"/>
                </a:lnTo>
                <a:lnTo>
                  <a:pt x="750558" y="1399690"/>
                </a:lnTo>
                <a:lnTo>
                  <a:pt x="753057" y="1411256"/>
                </a:lnTo>
                <a:cubicBezTo>
                  <a:pt x="753057" y="1413117"/>
                  <a:pt x="753057" y="1414976"/>
                  <a:pt x="753057" y="1416893"/>
                </a:cubicBezTo>
                <a:cubicBezTo>
                  <a:pt x="754087" y="1416893"/>
                  <a:pt x="755119" y="1416893"/>
                  <a:pt x="756181" y="1416893"/>
                </a:cubicBezTo>
                <a:cubicBezTo>
                  <a:pt x="759348" y="1422607"/>
                  <a:pt x="758101" y="1429902"/>
                  <a:pt x="758133" y="1436182"/>
                </a:cubicBezTo>
                <a:cubicBezTo>
                  <a:pt x="758182" y="1438458"/>
                  <a:pt x="758182" y="1438458"/>
                  <a:pt x="758231" y="1440781"/>
                </a:cubicBezTo>
                <a:cubicBezTo>
                  <a:pt x="758283" y="1450271"/>
                  <a:pt x="758174" y="1458360"/>
                  <a:pt x="750713" y="1465704"/>
                </a:cubicBezTo>
                <a:cubicBezTo>
                  <a:pt x="749940" y="1466193"/>
                  <a:pt x="749167" y="1466681"/>
                  <a:pt x="748370" y="1467185"/>
                </a:cubicBezTo>
                <a:cubicBezTo>
                  <a:pt x="743665" y="1470047"/>
                  <a:pt x="743665" y="1470047"/>
                  <a:pt x="741633" y="1473526"/>
                </a:cubicBezTo>
                <a:cubicBezTo>
                  <a:pt x="737793" y="1477248"/>
                  <a:pt x="733582" y="1477483"/>
                  <a:pt x="728154" y="1478343"/>
                </a:cubicBezTo>
                <a:cubicBezTo>
                  <a:pt x="724855" y="1478778"/>
                  <a:pt x="724855" y="1478778"/>
                  <a:pt x="721814" y="1480308"/>
                </a:cubicBezTo>
                <a:cubicBezTo>
                  <a:pt x="717303" y="1480523"/>
                  <a:pt x="712854" y="1480634"/>
                  <a:pt x="708341" y="1480661"/>
                </a:cubicBezTo>
                <a:cubicBezTo>
                  <a:pt x="707118" y="1480690"/>
                  <a:pt x="705896" y="1480719"/>
                  <a:pt x="704637" y="1480748"/>
                </a:cubicBezTo>
                <a:cubicBezTo>
                  <a:pt x="690446" y="1480834"/>
                  <a:pt x="679632" y="1476246"/>
                  <a:pt x="668507" y="1468418"/>
                </a:cubicBezTo>
                <a:cubicBezTo>
                  <a:pt x="662823" y="1463224"/>
                  <a:pt x="661745" y="1456995"/>
                  <a:pt x="660178" y="1450027"/>
                </a:cubicBezTo>
                <a:cubicBezTo>
                  <a:pt x="659725" y="1446589"/>
                  <a:pt x="659725" y="1446589"/>
                  <a:pt x="657767" y="1445078"/>
                </a:cubicBezTo>
                <a:cubicBezTo>
                  <a:pt x="656859" y="1433686"/>
                  <a:pt x="655965" y="1419178"/>
                  <a:pt x="663369" y="1409390"/>
                </a:cubicBezTo>
                <a:cubicBezTo>
                  <a:pt x="666078" y="1406601"/>
                  <a:pt x="668921" y="1404013"/>
                  <a:pt x="671826" y="1401392"/>
                </a:cubicBezTo>
                <a:cubicBezTo>
                  <a:pt x="675197" y="1397623"/>
                  <a:pt x="677125" y="1394916"/>
                  <a:pt x="678075" y="1390118"/>
                </a:cubicBezTo>
                <a:cubicBezTo>
                  <a:pt x="680137" y="1389653"/>
                  <a:pt x="682199" y="1389188"/>
                  <a:pt x="684323" y="1388709"/>
                </a:cubicBezTo>
                <a:cubicBezTo>
                  <a:pt x="684643" y="1387232"/>
                  <a:pt x="684964" y="1385755"/>
                  <a:pt x="685293" y="1384233"/>
                </a:cubicBezTo>
                <a:cubicBezTo>
                  <a:pt x="685718" y="1382290"/>
                  <a:pt x="686144" y="1380347"/>
                  <a:pt x="686569" y="1378404"/>
                </a:cubicBezTo>
                <a:cubicBezTo>
                  <a:pt x="686885" y="1376945"/>
                  <a:pt x="686885" y="1376945"/>
                  <a:pt x="687207" y="1375456"/>
                </a:cubicBezTo>
                <a:cubicBezTo>
                  <a:pt x="688115" y="1371315"/>
                  <a:pt x="689090" y="1367353"/>
                  <a:pt x="690572" y="1363343"/>
                </a:cubicBezTo>
                <a:cubicBezTo>
                  <a:pt x="692411" y="1350128"/>
                  <a:pt x="692374" y="1336672"/>
                  <a:pt x="692495" y="1323376"/>
                </a:cubicBezTo>
                <a:cubicBezTo>
                  <a:pt x="692524" y="1320586"/>
                  <a:pt x="692574" y="1317796"/>
                  <a:pt x="692625" y="1315006"/>
                </a:cubicBezTo>
                <a:cubicBezTo>
                  <a:pt x="692853" y="1300589"/>
                  <a:pt x="692853" y="1300589"/>
                  <a:pt x="687447" y="1287245"/>
                </a:cubicBezTo>
                <a:cubicBezTo>
                  <a:pt x="685901" y="1286780"/>
                  <a:pt x="684354" y="1286315"/>
                  <a:pt x="682761" y="1285835"/>
                </a:cubicBezTo>
                <a:cubicBezTo>
                  <a:pt x="680876" y="1283743"/>
                  <a:pt x="680876" y="1283743"/>
                  <a:pt x="678954" y="1281608"/>
                </a:cubicBezTo>
                <a:cubicBezTo>
                  <a:pt x="674854" y="1277278"/>
                  <a:pt x="674356" y="1276958"/>
                  <a:pt x="668702" y="1275971"/>
                </a:cubicBezTo>
                <a:cubicBezTo>
                  <a:pt x="666619" y="1274092"/>
                  <a:pt x="664536" y="1272213"/>
                  <a:pt x="662454" y="1270334"/>
                </a:cubicBezTo>
                <a:cubicBezTo>
                  <a:pt x="658341" y="1268566"/>
                  <a:pt x="658341" y="1268566"/>
                  <a:pt x="654643" y="1267516"/>
                </a:cubicBezTo>
                <a:cubicBezTo>
                  <a:pt x="654643" y="1266585"/>
                  <a:pt x="654643" y="1265656"/>
                  <a:pt x="654643" y="1264697"/>
                </a:cubicBezTo>
                <a:cubicBezTo>
                  <a:pt x="653161" y="1264581"/>
                  <a:pt x="651679" y="1264465"/>
                  <a:pt x="650152" y="1264345"/>
                </a:cubicBezTo>
                <a:cubicBezTo>
                  <a:pt x="642318" y="1263373"/>
                  <a:pt x="635297" y="1260465"/>
                  <a:pt x="628087" y="1257651"/>
                </a:cubicBezTo>
                <a:cubicBezTo>
                  <a:pt x="628087" y="1256721"/>
                  <a:pt x="628087" y="1255791"/>
                  <a:pt x="628087" y="1254833"/>
                </a:cubicBezTo>
                <a:cubicBezTo>
                  <a:pt x="627108" y="1254662"/>
                  <a:pt x="626129" y="1254491"/>
                  <a:pt x="625121" y="1254315"/>
                </a:cubicBezTo>
                <a:cubicBezTo>
                  <a:pt x="623845" y="1254079"/>
                  <a:pt x="622568" y="1253843"/>
                  <a:pt x="621252" y="1253600"/>
                </a:cubicBezTo>
                <a:cubicBezTo>
                  <a:pt x="619984" y="1253371"/>
                  <a:pt x="618716" y="1253142"/>
                  <a:pt x="617409" y="1252906"/>
                </a:cubicBezTo>
                <a:cubicBezTo>
                  <a:pt x="614027" y="1252014"/>
                  <a:pt x="614027" y="1252014"/>
                  <a:pt x="610904" y="1249196"/>
                </a:cubicBezTo>
                <a:cubicBezTo>
                  <a:pt x="592259" y="1248653"/>
                  <a:pt x="578635" y="1260869"/>
                  <a:pt x="565739" y="1271742"/>
                </a:cubicBezTo>
                <a:cubicBezTo>
                  <a:pt x="558808" y="1277725"/>
                  <a:pt x="552763" y="1283983"/>
                  <a:pt x="546924" y="1290829"/>
                </a:cubicBezTo>
                <a:cubicBezTo>
                  <a:pt x="545838" y="1292087"/>
                  <a:pt x="544753" y="1293346"/>
                  <a:pt x="543635" y="1294643"/>
                </a:cubicBezTo>
                <a:cubicBezTo>
                  <a:pt x="542650" y="1295813"/>
                  <a:pt x="541666" y="1296983"/>
                  <a:pt x="540651" y="1298188"/>
                </a:cubicBezTo>
                <a:cubicBezTo>
                  <a:pt x="537294" y="1301526"/>
                  <a:pt x="533978" y="1303337"/>
                  <a:pt x="529673" y="1305565"/>
                </a:cubicBezTo>
                <a:cubicBezTo>
                  <a:pt x="527599" y="1308478"/>
                  <a:pt x="527599" y="1308478"/>
                  <a:pt x="526549" y="1311202"/>
                </a:cubicBezTo>
                <a:cubicBezTo>
                  <a:pt x="525518" y="1311202"/>
                  <a:pt x="524487" y="1311202"/>
                  <a:pt x="523425" y="1311202"/>
                </a:cubicBezTo>
                <a:cubicBezTo>
                  <a:pt x="523360" y="1311986"/>
                  <a:pt x="523296" y="1312771"/>
                  <a:pt x="523230" y="1313580"/>
                </a:cubicBezTo>
                <a:cubicBezTo>
                  <a:pt x="521863" y="1316839"/>
                  <a:pt x="521863" y="1316839"/>
                  <a:pt x="517732" y="1319739"/>
                </a:cubicBezTo>
                <a:cubicBezTo>
                  <a:pt x="511111" y="1324565"/>
                  <a:pt x="506875" y="1330731"/>
                  <a:pt x="502239" y="1337096"/>
                </a:cubicBezTo>
                <a:cubicBezTo>
                  <a:pt x="500512" y="1339427"/>
                  <a:pt x="498785" y="1341757"/>
                  <a:pt x="497058" y="1344087"/>
                </a:cubicBezTo>
                <a:cubicBezTo>
                  <a:pt x="495827" y="1345760"/>
                  <a:pt x="495827" y="1345760"/>
                  <a:pt x="494572" y="1347465"/>
                </a:cubicBezTo>
                <a:cubicBezTo>
                  <a:pt x="492366" y="1350414"/>
                  <a:pt x="490094" y="1353304"/>
                  <a:pt x="487776" y="1356181"/>
                </a:cubicBezTo>
                <a:cubicBezTo>
                  <a:pt x="484805" y="1359972"/>
                  <a:pt x="482865" y="1363193"/>
                  <a:pt x="481248" y="1367571"/>
                </a:cubicBezTo>
                <a:cubicBezTo>
                  <a:pt x="480216" y="1367571"/>
                  <a:pt x="479186" y="1367571"/>
                  <a:pt x="478123" y="1367571"/>
                </a:cubicBezTo>
                <a:cubicBezTo>
                  <a:pt x="477963" y="1368558"/>
                  <a:pt x="477801" y="1369547"/>
                  <a:pt x="477635" y="1370565"/>
                </a:cubicBezTo>
                <a:cubicBezTo>
                  <a:pt x="475602" y="1378236"/>
                  <a:pt x="471952" y="1383371"/>
                  <a:pt x="465626" y="1388709"/>
                </a:cubicBezTo>
                <a:cubicBezTo>
                  <a:pt x="462272" y="1392748"/>
                  <a:pt x="462272" y="1392748"/>
                  <a:pt x="461233" y="1397340"/>
                </a:cubicBezTo>
                <a:cubicBezTo>
                  <a:pt x="460030" y="1401461"/>
                  <a:pt x="458298" y="1404501"/>
                  <a:pt x="455765" y="1408086"/>
                </a:cubicBezTo>
                <a:cubicBezTo>
                  <a:pt x="442829" y="1428603"/>
                  <a:pt x="441572" y="1454548"/>
                  <a:pt x="439070" y="1477490"/>
                </a:cubicBezTo>
                <a:cubicBezTo>
                  <a:pt x="437524" y="1477955"/>
                  <a:pt x="435977" y="1478420"/>
                  <a:pt x="434384" y="1478899"/>
                </a:cubicBezTo>
                <a:cubicBezTo>
                  <a:pt x="433739" y="1479916"/>
                  <a:pt x="433095" y="1480933"/>
                  <a:pt x="432431" y="1481982"/>
                </a:cubicBezTo>
                <a:cubicBezTo>
                  <a:pt x="428860" y="1487159"/>
                  <a:pt x="424291" y="1490903"/>
                  <a:pt x="418763" y="1494401"/>
                </a:cubicBezTo>
                <a:cubicBezTo>
                  <a:pt x="417731" y="1494401"/>
                  <a:pt x="416701" y="1494401"/>
                  <a:pt x="415639" y="1494401"/>
                </a:cubicBezTo>
                <a:cubicBezTo>
                  <a:pt x="415639" y="1495330"/>
                  <a:pt x="415639" y="1496260"/>
                  <a:pt x="415639" y="1497219"/>
                </a:cubicBezTo>
                <a:cubicBezTo>
                  <a:pt x="412546" y="1497684"/>
                  <a:pt x="409453" y="1498149"/>
                  <a:pt x="406265" y="1498628"/>
                </a:cubicBezTo>
                <a:cubicBezTo>
                  <a:pt x="406265" y="1499559"/>
                  <a:pt x="406265" y="1500488"/>
                  <a:pt x="406265" y="1501447"/>
                </a:cubicBezTo>
                <a:cubicBezTo>
                  <a:pt x="395955" y="1501447"/>
                  <a:pt x="385645" y="1501447"/>
                  <a:pt x="375023" y="1501447"/>
                </a:cubicBezTo>
                <a:lnTo>
                  <a:pt x="375023" y="1499438"/>
                </a:lnTo>
                <a:lnTo>
                  <a:pt x="374964" y="1499436"/>
                </a:lnTo>
                <a:lnTo>
                  <a:pt x="373179" y="1498628"/>
                </a:lnTo>
                <a:lnTo>
                  <a:pt x="365650" y="1498628"/>
                </a:lnTo>
                <a:lnTo>
                  <a:pt x="363134" y="1494087"/>
                </a:lnTo>
                <a:lnTo>
                  <a:pt x="362171" y="1493651"/>
                </a:lnTo>
                <a:cubicBezTo>
                  <a:pt x="361656" y="1492722"/>
                  <a:pt x="361140" y="1491791"/>
                  <a:pt x="360609" y="1490833"/>
                </a:cubicBezTo>
                <a:cubicBezTo>
                  <a:pt x="361640" y="1490833"/>
                  <a:pt x="362671" y="1490833"/>
                  <a:pt x="363733" y="1490833"/>
                </a:cubicBezTo>
                <a:lnTo>
                  <a:pt x="363733" y="1489980"/>
                </a:lnTo>
                <a:lnTo>
                  <a:pt x="348467" y="1481717"/>
                </a:lnTo>
                <a:lnTo>
                  <a:pt x="343872" y="1461078"/>
                </a:lnTo>
                <a:lnTo>
                  <a:pt x="343656" y="1463649"/>
                </a:lnTo>
                <a:cubicBezTo>
                  <a:pt x="343541" y="1465230"/>
                  <a:pt x="343541" y="1465230"/>
                  <a:pt x="343424" y="1466842"/>
                </a:cubicBezTo>
                <a:cubicBezTo>
                  <a:pt x="342908" y="1466842"/>
                  <a:pt x="342393" y="1466842"/>
                  <a:pt x="341861" y="1466842"/>
                </a:cubicBezTo>
                <a:cubicBezTo>
                  <a:pt x="340987" y="1449564"/>
                  <a:pt x="340999" y="1434331"/>
                  <a:pt x="354143" y="1420549"/>
                </a:cubicBezTo>
                <a:cubicBezTo>
                  <a:pt x="360765" y="1414011"/>
                  <a:pt x="367631" y="1407790"/>
                  <a:pt x="376229" y="1403427"/>
                </a:cubicBezTo>
                <a:lnTo>
                  <a:pt x="379491" y="1404408"/>
                </a:lnTo>
                <a:lnTo>
                  <a:pt x="379710" y="1404210"/>
                </a:lnTo>
                <a:cubicBezTo>
                  <a:pt x="380290" y="1402902"/>
                  <a:pt x="380290" y="1402902"/>
                  <a:pt x="380882" y="1401568"/>
                </a:cubicBezTo>
                <a:cubicBezTo>
                  <a:pt x="383675" y="1397284"/>
                  <a:pt x="387587" y="1395610"/>
                  <a:pt x="392207" y="1392936"/>
                </a:cubicBezTo>
                <a:lnTo>
                  <a:pt x="399542" y="1386774"/>
                </a:lnTo>
                <a:lnTo>
                  <a:pt x="405485" y="1378917"/>
                </a:lnTo>
                <a:cubicBezTo>
                  <a:pt x="408065" y="1375974"/>
                  <a:pt x="410029" y="1372774"/>
                  <a:pt x="412008" y="1369481"/>
                </a:cubicBezTo>
                <a:cubicBezTo>
                  <a:pt x="414759" y="1365166"/>
                  <a:pt x="417963" y="1361131"/>
                  <a:pt x="421130" y="1357057"/>
                </a:cubicBezTo>
                <a:cubicBezTo>
                  <a:pt x="423073" y="1354140"/>
                  <a:pt x="423985" y="1351767"/>
                  <a:pt x="424676" y="1348443"/>
                </a:cubicBezTo>
                <a:lnTo>
                  <a:pt x="427275" y="1348443"/>
                </a:lnTo>
                <a:lnTo>
                  <a:pt x="428135" y="1345727"/>
                </a:lnTo>
                <a:cubicBezTo>
                  <a:pt x="429370" y="1341828"/>
                  <a:pt x="430645" y="1338666"/>
                  <a:pt x="432822" y="1335158"/>
                </a:cubicBezTo>
                <a:cubicBezTo>
                  <a:pt x="433853" y="1335158"/>
                  <a:pt x="434884" y="1335158"/>
                  <a:pt x="435946" y="1335158"/>
                </a:cubicBezTo>
                <a:cubicBezTo>
                  <a:pt x="436526" y="1333385"/>
                  <a:pt x="437106" y="1331613"/>
                  <a:pt x="437704" y="1329786"/>
                </a:cubicBezTo>
                <a:cubicBezTo>
                  <a:pt x="440162" y="1323132"/>
                  <a:pt x="443602" y="1317301"/>
                  <a:pt x="447394" y="1311196"/>
                </a:cubicBezTo>
                <a:cubicBezTo>
                  <a:pt x="456493" y="1296485"/>
                  <a:pt x="463325" y="1281864"/>
                  <a:pt x="469287" y="1265964"/>
                </a:cubicBezTo>
                <a:cubicBezTo>
                  <a:pt x="474589" y="1252134"/>
                  <a:pt x="474589" y="1252134"/>
                  <a:pt x="478178" y="1246787"/>
                </a:cubicBezTo>
                <a:cubicBezTo>
                  <a:pt x="481232" y="1240246"/>
                  <a:pt x="480204" y="1232766"/>
                  <a:pt x="480179" y="1225768"/>
                </a:cubicBezTo>
                <a:cubicBezTo>
                  <a:pt x="480174" y="1222894"/>
                  <a:pt x="480210" y="1220023"/>
                  <a:pt x="480250" y="1217149"/>
                </a:cubicBezTo>
                <a:cubicBezTo>
                  <a:pt x="480260" y="1199291"/>
                  <a:pt x="476718" y="1187768"/>
                  <a:pt x="462972" y="1174827"/>
                </a:cubicBezTo>
                <a:cubicBezTo>
                  <a:pt x="461148" y="1173192"/>
                  <a:pt x="459312" y="1171566"/>
                  <a:pt x="457468" y="1169949"/>
                </a:cubicBezTo>
                <a:cubicBezTo>
                  <a:pt x="451412" y="1164522"/>
                  <a:pt x="445876" y="1158660"/>
                  <a:pt x="440657" y="1152570"/>
                </a:cubicBezTo>
                <a:cubicBezTo>
                  <a:pt x="430474" y="1140786"/>
                  <a:pt x="418230" y="1128998"/>
                  <a:pt x="403142" y="1122366"/>
                </a:cubicBezTo>
                <a:cubicBezTo>
                  <a:pt x="402626" y="1121436"/>
                  <a:pt x="402110" y="1120506"/>
                  <a:pt x="401579" y="1119547"/>
                </a:cubicBezTo>
                <a:cubicBezTo>
                  <a:pt x="390472" y="1115326"/>
                  <a:pt x="375918" y="1114217"/>
                  <a:pt x="364564" y="1118209"/>
                </a:cubicBezTo>
                <a:cubicBezTo>
                  <a:pt x="362278" y="1119428"/>
                  <a:pt x="360026" y="1120704"/>
                  <a:pt x="357822" y="1122041"/>
                </a:cubicBezTo>
                <a:cubicBezTo>
                  <a:pt x="354521" y="1123884"/>
                  <a:pt x="351862" y="1124582"/>
                  <a:pt x="348077" y="1125273"/>
                </a:cubicBezTo>
                <a:cubicBezTo>
                  <a:pt x="341765" y="1126696"/>
                  <a:pt x="339382" y="1128619"/>
                  <a:pt x="334408" y="1132230"/>
                </a:cubicBezTo>
                <a:cubicBezTo>
                  <a:pt x="332284" y="1132909"/>
                  <a:pt x="330131" y="1133519"/>
                  <a:pt x="327964" y="1134080"/>
                </a:cubicBezTo>
                <a:cubicBezTo>
                  <a:pt x="309975" y="1139067"/>
                  <a:pt x="290592" y="1152117"/>
                  <a:pt x="279734" y="1166051"/>
                </a:cubicBezTo>
                <a:cubicBezTo>
                  <a:pt x="277929" y="1169534"/>
                  <a:pt x="277929" y="1169534"/>
                  <a:pt x="276609" y="1173098"/>
                </a:cubicBezTo>
                <a:cubicBezTo>
                  <a:pt x="272413" y="1180804"/>
                  <a:pt x="269322" y="1184144"/>
                  <a:pt x="260988" y="1188599"/>
                </a:cubicBezTo>
                <a:cubicBezTo>
                  <a:pt x="259988" y="1189435"/>
                  <a:pt x="258987" y="1190271"/>
                  <a:pt x="257956" y="1191132"/>
                </a:cubicBezTo>
                <a:lnTo>
                  <a:pt x="243805" y="1196629"/>
                </a:lnTo>
                <a:lnTo>
                  <a:pt x="243805" y="1194236"/>
                </a:lnTo>
                <a:lnTo>
                  <a:pt x="240288" y="1194765"/>
                </a:lnTo>
                <a:lnTo>
                  <a:pt x="243374" y="1194765"/>
                </a:lnTo>
                <a:lnTo>
                  <a:pt x="243374" y="1196797"/>
                </a:lnTo>
                <a:lnTo>
                  <a:pt x="243805" y="1196629"/>
                </a:lnTo>
                <a:lnTo>
                  <a:pt x="243805" y="1197055"/>
                </a:lnTo>
                <a:lnTo>
                  <a:pt x="243374" y="1197055"/>
                </a:lnTo>
                <a:lnTo>
                  <a:pt x="243374" y="1197584"/>
                </a:lnTo>
                <a:lnTo>
                  <a:pt x="241319" y="1197595"/>
                </a:lnTo>
                <a:lnTo>
                  <a:pt x="238009" y="1198881"/>
                </a:lnTo>
                <a:cubicBezTo>
                  <a:pt x="231012" y="1199584"/>
                  <a:pt x="223620" y="1198927"/>
                  <a:pt x="215687" y="1198464"/>
                </a:cubicBezTo>
                <a:lnTo>
                  <a:pt x="215687" y="1197734"/>
                </a:lnTo>
                <a:lnTo>
                  <a:pt x="213936" y="1197744"/>
                </a:lnTo>
                <a:cubicBezTo>
                  <a:pt x="210570" y="1197584"/>
                  <a:pt x="210570" y="1197584"/>
                  <a:pt x="207446" y="1196175"/>
                </a:cubicBezTo>
                <a:lnTo>
                  <a:pt x="207822" y="1195610"/>
                </a:lnTo>
                <a:lnTo>
                  <a:pt x="184737" y="1180936"/>
                </a:lnTo>
                <a:cubicBezTo>
                  <a:pt x="180258" y="1172216"/>
                  <a:pt x="179226" y="1164355"/>
                  <a:pt x="179270" y="1154866"/>
                </a:cubicBezTo>
                <a:cubicBezTo>
                  <a:pt x="179233" y="1153260"/>
                  <a:pt x="179233" y="1153260"/>
                  <a:pt x="179194" y="1151621"/>
                </a:cubicBezTo>
                <a:cubicBezTo>
                  <a:pt x="179182" y="1139523"/>
                  <a:pt x="183658" y="1128837"/>
                  <a:pt x="193195" y="1120065"/>
                </a:cubicBezTo>
                <a:cubicBezTo>
                  <a:pt x="204265" y="1110959"/>
                  <a:pt x="215062" y="1110626"/>
                  <a:pt x="229551" y="1110299"/>
                </a:cubicBezTo>
                <a:cubicBezTo>
                  <a:pt x="240132" y="1110024"/>
                  <a:pt x="250506" y="1109652"/>
                  <a:pt x="260988" y="1108274"/>
                </a:cubicBezTo>
                <a:cubicBezTo>
                  <a:pt x="260988" y="1107344"/>
                  <a:pt x="260988" y="1106413"/>
                  <a:pt x="260988" y="1105455"/>
                </a:cubicBezTo>
                <a:cubicBezTo>
                  <a:pt x="261953" y="1105078"/>
                  <a:pt x="262918" y="1104699"/>
                  <a:pt x="263911" y="1104310"/>
                </a:cubicBezTo>
                <a:cubicBezTo>
                  <a:pt x="272903" y="1100557"/>
                  <a:pt x="279802" y="1096307"/>
                  <a:pt x="286995" y="1090185"/>
                </a:cubicBezTo>
                <a:cubicBezTo>
                  <a:pt x="290956" y="1086897"/>
                  <a:pt x="295114" y="1083955"/>
                  <a:pt x="299358" y="1080970"/>
                </a:cubicBezTo>
                <a:cubicBezTo>
                  <a:pt x="306613" y="1075692"/>
                  <a:pt x="312234" y="1070023"/>
                  <a:pt x="317762" y="1063272"/>
                </a:cubicBezTo>
                <a:cubicBezTo>
                  <a:pt x="320349" y="1060360"/>
                  <a:pt x="320349" y="1060360"/>
                  <a:pt x="325035" y="1057542"/>
                </a:cubicBezTo>
                <a:cubicBezTo>
                  <a:pt x="329912" y="1045734"/>
                  <a:pt x="327928" y="1035103"/>
                  <a:pt x="325328" y="1023104"/>
                </a:cubicBezTo>
                <a:cubicBezTo>
                  <a:pt x="325069" y="1021831"/>
                  <a:pt x="324811" y="1020559"/>
                  <a:pt x="324544" y="1019247"/>
                </a:cubicBezTo>
                <a:cubicBezTo>
                  <a:pt x="322876" y="1011407"/>
                  <a:pt x="320562" y="1004340"/>
                  <a:pt x="317225" y="996945"/>
                </a:cubicBezTo>
                <a:cubicBezTo>
                  <a:pt x="316619" y="995541"/>
                  <a:pt x="316013" y="994137"/>
                  <a:pt x="315388" y="992690"/>
                </a:cubicBezTo>
                <a:cubicBezTo>
                  <a:pt x="306307" y="972561"/>
                  <a:pt x="298931" y="959343"/>
                  <a:pt x="276232" y="950666"/>
                </a:cubicBezTo>
                <a:cubicBezTo>
                  <a:pt x="274810" y="950127"/>
                  <a:pt x="273388" y="949587"/>
                  <a:pt x="271923" y="949031"/>
                </a:cubicBezTo>
                <a:cubicBezTo>
                  <a:pt x="270129" y="948244"/>
                  <a:pt x="270129" y="948244"/>
                  <a:pt x="268299" y="947441"/>
                </a:cubicBezTo>
                <a:cubicBezTo>
                  <a:pt x="247071" y="938140"/>
                  <a:pt x="222259" y="939051"/>
                  <a:pt x="199187" y="938991"/>
                </a:cubicBezTo>
                <a:cubicBezTo>
                  <a:pt x="197383" y="938984"/>
                  <a:pt x="195579" y="938978"/>
                  <a:pt x="193719" y="938971"/>
                </a:cubicBezTo>
                <a:cubicBezTo>
                  <a:pt x="192010" y="938974"/>
                  <a:pt x="190300" y="938977"/>
                  <a:pt x="188539" y="938980"/>
                </a:cubicBezTo>
                <a:cubicBezTo>
                  <a:pt x="187000" y="938981"/>
                  <a:pt x="185460" y="938983"/>
                  <a:pt x="183874" y="938985"/>
                </a:cubicBezTo>
                <a:cubicBezTo>
                  <a:pt x="180148" y="939150"/>
                  <a:pt x="177092" y="939720"/>
                  <a:pt x="173509" y="940576"/>
                </a:cubicBezTo>
                <a:cubicBezTo>
                  <a:pt x="169458" y="940674"/>
                  <a:pt x="165452" y="940710"/>
                  <a:pt x="161403" y="940664"/>
                </a:cubicBezTo>
                <a:cubicBezTo>
                  <a:pt x="160314" y="940658"/>
                  <a:pt x="159224" y="940651"/>
                  <a:pt x="158102" y="940645"/>
                </a:cubicBezTo>
                <a:lnTo>
                  <a:pt x="150875" y="940583"/>
                </a:lnTo>
                <a:lnTo>
                  <a:pt x="148425" y="940717"/>
                </a:lnTo>
                <a:lnTo>
                  <a:pt x="149617" y="940995"/>
                </a:lnTo>
                <a:cubicBezTo>
                  <a:pt x="149617" y="941459"/>
                  <a:pt x="149617" y="941924"/>
                  <a:pt x="149617" y="942404"/>
                </a:cubicBezTo>
                <a:cubicBezTo>
                  <a:pt x="148630" y="942558"/>
                  <a:pt x="147643" y="942712"/>
                  <a:pt x="146627" y="942871"/>
                </a:cubicBezTo>
                <a:cubicBezTo>
                  <a:pt x="134541" y="944804"/>
                  <a:pt x="122553" y="947081"/>
                  <a:pt x="110564" y="949449"/>
                </a:cubicBezTo>
                <a:lnTo>
                  <a:pt x="111283" y="946205"/>
                </a:lnTo>
                <a:lnTo>
                  <a:pt x="101652" y="956078"/>
                </a:lnTo>
                <a:cubicBezTo>
                  <a:pt x="99870" y="957260"/>
                  <a:pt x="99870" y="957260"/>
                  <a:pt x="98052" y="958467"/>
                </a:cubicBezTo>
                <a:cubicBezTo>
                  <a:pt x="75683" y="972989"/>
                  <a:pt x="75683" y="972989"/>
                  <a:pt x="67286" y="972989"/>
                </a:cubicBezTo>
                <a:cubicBezTo>
                  <a:pt x="67286" y="973918"/>
                  <a:pt x="67286" y="974848"/>
                  <a:pt x="67286" y="975807"/>
                </a:cubicBezTo>
                <a:cubicBezTo>
                  <a:pt x="55713" y="979519"/>
                  <a:pt x="43549" y="980689"/>
                  <a:pt x="31942" y="976423"/>
                </a:cubicBezTo>
                <a:cubicBezTo>
                  <a:pt x="19953" y="970870"/>
                  <a:pt x="10774" y="964932"/>
                  <a:pt x="5673" y="953419"/>
                </a:cubicBezTo>
                <a:cubicBezTo>
                  <a:pt x="4801" y="950441"/>
                  <a:pt x="4801" y="950441"/>
                  <a:pt x="4801" y="944804"/>
                </a:cubicBezTo>
                <a:cubicBezTo>
                  <a:pt x="3770" y="944804"/>
                  <a:pt x="2739" y="944804"/>
                  <a:pt x="1676" y="944804"/>
                </a:cubicBezTo>
                <a:cubicBezTo>
                  <a:pt x="-34" y="940174"/>
                  <a:pt x="-41" y="936720"/>
                  <a:pt x="17" y="931857"/>
                </a:cubicBezTo>
                <a:cubicBezTo>
                  <a:pt x="31" y="930325"/>
                  <a:pt x="45" y="928794"/>
                  <a:pt x="59" y="927216"/>
                </a:cubicBezTo>
                <a:cubicBezTo>
                  <a:pt x="78" y="926044"/>
                  <a:pt x="96" y="924873"/>
                  <a:pt x="115" y="923666"/>
                </a:cubicBezTo>
                <a:cubicBezTo>
                  <a:pt x="1145" y="923666"/>
                  <a:pt x="2176" y="923666"/>
                  <a:pt x="3238" y="923666"/>
                </a:cubicBezTo>
                <a:cubicBezTo>
                  <a:pt x="3238" y="921805"/>
                  <a:pt x="3238" y="919945"/>
                  <a:pt x="3238" y="918029"/>
                </a:cubicBezTo>
                <a:cubicBezTo>
                  <a:pt x="4270" y="918029"/>
                  <a:pt x="5300" y="918029"/>
                  <a:pt x="6363" y="918029"/>
                </a:cubicBezTo>
                <a:cubicBezTo>
                  <a:pt x="6459" y="916314"/>
                  <a:pt x="6556" y="914599"/>
                  <a:pt x="6656" y="912832"/>
                </a:cubicBezTo>
                <a:cubicBezTo>
                  <a:pt x="7542" y="906455"/>
                  <a:pt x="10104" y="903750"/>
                  <a:pt x="15736" y="899709"/>
                </a:cubicBezTo>
                <a:lnTo>
                  <a:pt x="17243" y="898894"/>
                </a:lnTo>
                <a:lnTo>
                  <a:pt x="16800" y="898694"/>
                </a:lnTo>
                <a:lnTo>
                  <a:pt x="24988" y="894101"/>
                </a:lnTo>
                <a:lnTo>
                  <a:pt x="26768" y="892399"/>
                </a:lnTo>
                <a:cubicBezTo>
                  <a:pt x="28282" y="891122"/>
                  <a:pt x="29038" y="890483"/>
                  <a:pt x="30198" y="890164"/>
                </a:cubicBezTo>
                <a:lnTo>
                  <a:pt x="32204" y="890054"/>
                </a:lnTo>
                <a:lnTo>
                  <a:pt x="38914" y="886291"/>
                </a:lnTo>
                <a:cubicBezTo>
                  <a:pt x="47169" y="885770"/>
                  <a:pt x="55396" y="885800"/>
                  <a:pt x="63664" y="886011"/>
                </a:cubicBezTo>
                <a:lnTo>
                  <a:pt x="63664" y="886531"/>
                </a:lnTo>
                <a:lnTo>
                  <a:pt x="70784" y="886647"/>
                </a:lnTo>
                <a:cubicBezTo>
                  <a:pt x="74787" y="887000"/>
                  <a:pt x="77233" y="887948"/>
                  <a:pt x="82126" y="889845"/>
                </a:cubicBezTo>
                <a:cubicBezTo>
                  <a:pt x="92427" y="893791"/>
                  <a:pt x="103139" y="893710"/>
                  <a:pt x="114149" y="892663"/>
                </a:cubicBezTo>
                <a:cubicBezTo>
                  <a:pt x="115696" y="891733"/>
                  <a:pt x="117242" y="890803"/>
                  <a:pt x="118836" y="889845"/>
                </a:cubicBezTo>
                <a:cubicBezTo>
                  <a:pt x="123097" y="888850"/>
                  <a:pt x="127325" y="887944"/>
                  <a:pt x="131626" y="887114"/>
                </a:cubicBezTo>
                <a:cubicBezTo>
                  <a:pt x="139750" y="885542"/>
                  <a:pt x="147376" y="883653"/>
                  <a:pt x="155116" y="880913"/>
                </a:cubicBezTo>
                <a:cubicBezTo>
                  <a:pt x="158498" y="879775"/>
                  <a:pt x="161861" y="879076"/>
                  <a:pt x="165406" y="878483"/>
                </a:cubicBezTo>
                <a:cubicBezTo>
                  <a:pt x="170342" y="877655"/>
                  <a:pt x="172265" y="876971"/>
                  <a:pt x="176634" y="874343"/>
                </a:cubicBezTo>
                <a:cubicBezTo>
                  <a:pt x="179863" y="873335"/>
                  <a:pt x="183123" y="872404"/>
                  <a:pt x="186397" y="871524"/>
                </a:cubicBezTo>
                <a:cubicBezTo>
                  <a:pt x="189107" y="870786"/>
                  <a:pt x="189107" y="870786"/>
                  <a:pt x="191871" y="870033"/>
                </a:cubicBezTo>
                <a:cubicBezTo>
                  <a:pt x="195731" y="869023"/>
                  <a:pt x="199587" y="868093"/>
                  <a:pt x="203483" y="867208"/>
                </a:cubicBezTo>
                <a:cubicBezTo>
                  <a:pt x="208339" y="866199"/>
                  <a:pt x="208339" y="866199"/>
                  <a:pt x="211001" y="861660"/>
                </a:cubicBezTo>
                <a:cubicBezTo>
                  <a:pt x="214174" y="860102"/>
                  <a:pt x="214174" y="860102"/>
                  <a:pt x="218031" y="858577"/>
                </a:cubicBezTo>
                <a:cubicBezTo>
                  <a:pt x="236068" y="850629"/>
                  <a:pt x="245199" y="840442"/>
                  <a:pt x="254740" y="825020"/>
                </a:cubicBezTo>
                <a:cubicBezTo>
                  <a:pt x="255771" y="823625"/>
                  <a:pt x="256802" y="822230"/>
                  <a:pt x="257864" y="820792"/>
                </a:cubicBezTo>
                <a:cubicBezTo>
                  <a:pt x="258359" y="817506"/>
                  <a:pt x="258359" y="817506"/>
                  <a:pt x="258318" y="813810"/>
                </a:cubicBezTo>
                <a:cubicBezTo>
                  <a:pt x="258338" y="812388"/>
                  <a:pt x="258358" y="810967"/>
                  <a:pt x="258378" y="809502"/>
                </a:cubicBezTo>
                <a:cubicBezTo>
                  <a:pt x="258382" y="807965"/>
                  <a:pt x="258385" y="806429"/>
                  <a:pt x="258389" y="804845"/>
                </a:cubicBezTo>
                <a:cubicBezTo>
                  <a:pt x="258399" y="803258"/>
                  <a:pt x="258410" y="801671"/>
                  <a:pt x="258420" y="800036"/>
                </a:cubicBezTo>
                <a:cubicBezTo>
                  <a:pt x="258436" y="796670"/>
                  <a:pt x="258443" y="793305"/>
                  <a:pt x="258443" y="789939"/>
                </a:cubicBezTo>
                <a:cubicBezTo>
                  <a:pt x="258450" y="784823"/>
                  <a:pt x="258506" y="779709"/>
                  <a:pt x="258566" y="774594"/>
                </a:cubicBezTo>
                <a:cubicBezTo>
                  <a:pt x="258575" y="771319"/>
                  <a:pt x="258581" y="768045"/>
                  <a:pt x="258584" y="764771"/>
                </a:cubicBezTo>
                <a:cubicBezTo>
                  <a:pt x="258618" y="762495"/>
                  <a:pt x="258618" y="762495"/>
                  <a:pt x="258652" y="760174"/>
                </a:cubicBezTo>
                <a:cubicBezTo>
                  <a:pt x="258586" y="750030"/>
                  <a:pt x="256266" y="742584"/>
                  <a:pt x="251616" y="733421"/>
                </a:cubicBezTo>
                <a:cubicBezTo>
                  <a:pt x="250163" y="729605"/>
                  <a:pt x="248880" y="725752"/>
                  <a:pt x="247613" y="721883"/>
                </a:cubicBezTo>
                <a:cubicBezTo>
                  <a:pt x="245789" y="716328"/>
                  <a:pt x="243913" y="710939"/>
                  <a:pt x="241291" y="705644"/>
                </a:cubicBezTo>
                <a:cubicBezTo>
                  <a:pt x="238691" y="700096"/>
                  <a:pt x="238136" y="695685"/>
                  <a:pt x="237557" y="689735"/>
                </a:cubicBezTo>
                <a:cubicBezTo>
                  <a:pt x="244977" y="685507"/>
                  <a:pt x="244977" y="685507"/>
                  <a:pt x="248492" y="685507"/>
                </a:cubicBezTo>
                <a:cubicBezTo>
                  <a:pt x="248492" y="684112"/>
                  <a:pt x="248492" y="682717"/>
                  <a:pt x="248492" y="681279"/>
                </a:cubicBezTo>
                <a:cubicBezTo>
                  <a:pt x="245914" y="680815"/>
                  <a:pt x="243337" y="680350"/>
                  <a:pt x="240681" y="679870"/>
                </a:cubicBezTo>
                <a:cubicBezTo>
                  <a:pt x="240681" y="678940"/>
                  <a:pt x="240681" y="678010"/>
                  <a:pt x="240681" y="677052"/>
                </a:cubicBezTo>
                <a:cubicBezTo>
                  <a:pt x="239827" y="676917"/>
                  <a:pt x="238973" y="676783"/>
                  <a:pt x="238094" y="676645"/>
                </a:cubicBezTo>
                <a:cubicBezTo>
                  <a:pt x="233442" y="675371"/>
                  <a:pt x="229939" y="673242"/>
                  <a:pt x="225841" y="670886"/>
                </a:cubicBezTo>
                <a:cubicBezTo>
                  <a:pt x="217808" y="666564"/>
                  <a:pt x="210635" y="664241"/>
                  <a:pt x="201531" y="662508"/>
                </a:cubicBezTo>
                <a:cubicBezTo>
                  <a:pt x="196896" y="661541"/>
                  <a:pt x="192682" y="660199"/>
                  <a:pt x="188252" y="658644"/>
                </a:cubicBezTo>
                <a:lnTo>
                  <a:pt x="182431" y="657327"/>
                </a:lnTo>
                <a:lnTo>
                  <a:pt x="182431" y="657613"/>
                </a:lnTo>
                <a:cubicBezTo>
                  <a:pt x="170575" y="657148"/>
                  <a:pt x="158718" y="656683"/>
                  <a:pt x="146503" y="656204"/>
                </a:cubicBezTo>
                <a:cubicBezTo>
                  <a:pt x="146503" y="657133"/>
                  <a:pt x="146503" y="658064"/>
                  <a:pt x="146503" y="659022"/>
                </a:cubicBezTo>
                <a:cubicBezTo>
                  <a:pt x="134359" y="662326"/>
                  <a:pt x="123013" y="663700"/>
                  <a:pt x="110378" y="663778"/>
                </a:cubicBezTo>
                <a:cubicBezTo>
                  <a:pt x="108435" y="663806"/>
                  <a:pt x="108435" y="663806"/>
                  <a:pt x="106453" y="663836"/>
                </a:cubicBezTo>
                <a:cubicBezTo>
                  <a:pt x="105231" y="663828"/>
                  <a:pt x="104009" y="663820"/>
                  <a:pt x="102751" y="663811"/>
                </a:cubicBezTo>
                <a:cubicBezTo>
                  <a:pt x="101117" y="663804"/>
                  <a:pt x="101117" y="663804"/>
                  <a:pt x="99449" y="663797"/>
                </a:cubicBezTo>
                <a:cubicBezTo>
                  <a:pt x="95696" y="663097"/>
                  <a:pt x="94265" y="661615"/>
                  <a:pt x="91828" y="659022"/>
                </a:cubicBezTo>
                <a:cubicBezTo>
                  <a:pt x="93890" y="659022"/>
                  <a:pt x="95953" y="659022"/>
                  <a:pt x="98077" y="659022"/>
                </a:cubicBezTo>
                <a:cubicBezTo>
                  <a:pt x="98077" y="659952"/>
                  <a:pt x="98077" y="660882"/>
                  <a:pt x="98077" y="661841"/>
                </a:cubicBezTo>
                <a:cubicBezTo>
                  <a:pt x="108735" y="662045"/>
                  <a:pt x="114063" y="662148"/>
                  <a:pt x="119023" y="661357"/>
                </a:cubicBezTo>
                <a:lnTo>
                  <a:pt x="119536" y="661197"/>
                </a:lnTo>
                <a:lnTo>
                  <a:pt x="109853" y="661639"/>
                </a:lnTo>
                <a:cubicBezTo>
                  <a:pt x="108764" y="661632"/>
                  <a:pt x="107675" y="661626"/>
                  <a:pt x="106552" y="661619"/>
                </a:cubicBezTo>
                <a:cubicBezTo>
                  <a:pt x="103877" y="661603"/>
                  <a:pt x="101203" y="661577"/>
                  <a:pt x="98528" y="661550"/>
                </a:cubicBezTo>
                <a:cubicBezTo>
                  <a:pt x="98528" y="660620"/>
                  <a:pt x="98528" y="659691"/>
                  <a:pt x="98528" y="658732"/>
                </a:cubicBezTo>
                <a:cubicBezTo>
                  <a:pt x="95435" y="658267"/>
                  <a:pt x="92342" y="657802"/>
                  <a:pt x="89155" y="657323"/>
                </a:cubicBezTo>
                <a:cubicBezTo>
                  <a:pt x="89155" y="656393"/>
                  <a:pt x="89155" y="655462"/>
                  <a:pt x="89155" y="654504"/>
                </a:cubicBezTo>
                <a:cubicBezTo>
                  <a:pt x="87790" y="653978"/>
                  <a:pt x="87790" y="653978"/>
                  <a:pt x="86397" y="653442"/>
                </a:cubicBezTo>
                <a:cubicBezTo>
                  <a:pt x="82415" y="651438"/>
                  <a:pt x="80039" y="649232"/>
                  <a:pt x="77049" y="646137"/>
                </a:cubicBezTo>
                <a:cubicBezTo>
                  <a:pt x="75611" y="644679"/>
                  <a:pt x="75611" y="644679"/>
                  <a:pt x="74145" y="643192"/>
                </a:cubicBezTo>
                <a:cubicBezTo>
                  <a:pt x="71972" y="640412"/>
                  <a:pt x="71972" y="640412"/>
                  <a:pt x="71972" y="636185"/>
                </a:cubicBezTo>
                <a:cubicBezTo>
                  <a:pt x="70941" y="636185"/>
                  <a:pt x="69910" y="636185"/>
                  <a:pt x="68848" y="636185"/>
                </a:cubicBezTo>
                <a:cubicBezTo>
                  <a:pt x="64250" y="621928"/>
                  <a:pt x="64695" y="609404"/>
                  <a:pt x="70410" y="595317"/>
                </a:cubicBezTo>
                <a:cubicBezTo>
                  <a:pt x="73096" y="591142"/>
                  <a:pt x="76144" y="587574"/>
                  <a:pt x="79782" y="584043"/>
                </a:cubicBezTo>
                <a:cubicBezTo>
                  <a:pt x="81205" y="582594"/>
                  <a:pt x="81205" y="582594"/>
                  <a:pt x="82656" y="581115"/>
                </a:cubicBezTo>
                <a:cubicBezTo>
                  <a:pt x="91488" y="574027"/>
                  <a:pt x="105133" y="571806"/>
                  <a:pt x="116694" y="572323"/>
                </a:cubicBezTo>
                <a:cubicBezTo>
                  <a:pt x="131556" y="574113"/>
                  <a:pt x="142046" y="580551"/>
                  <a:pt x="152031" y="590385"/>
                </a:cubicBezTo>
                <a:cubicBezTo>
                  <a:pt x="162272" y="600009"/>
                  <a:pt x="176992" y="605062"/>
                  <a:pt x="191474" y="605886"/>
                </a:cubicBezTo>
                <a:cubicBezTo>
                  <a:pt x="196845" y="606192"/>
                  <a:pt x="201203" y="606463"/>
                  <a:pt x="206314" y="608000"/>
                </a:cubicBezTo>
                <a:cubicBezTo>
                  <a:pt x="206314" y="608930"/>
                  <a:pt x="206314" y="609860"/>
                  <a:pt x="206314" y="610818"/>
                </a:cubicBezTo>
                <a:cubicBezTo>
                  <a:pt x="215689" y="610902"/>
                  <a:pt x="225058" y="610898"/>
                  <a:pt x="234433" y="610818"/>
                </a:cubicBezTo>
                <a:cubicBezTo>
                  <a:pt x="236112" y="610813"/>
                  <a:pt x="237791" y="610808"/>
                  <a:pt x="239522" y="610802"/>
                </a:cubicBezTo>
                <a:cubicBezTo>
                  <a:pt x="251005" y="610364"/>
                  <a:pt x="259257" y="606564"/>
                  <a:pt x="268799" y="600954"/>
                </a:cubicBezTo>
                <a:cubicBezTo>
                  <a:pt x="269770" y="600416"/>
                  <a:pt x="270740" y="599879"/>
                  <a:pt x="271740" y="599325"/>
                </a:cubicBezTo>
                <a:cubicBezTo>
                  <a:pt x="279452" y="594430"/>
                  <a:pt x="281420" y="587464"/>
                  <a:pt x="284420" y="579816"/>
                </a:cubicBezTo>
                <a:cubicBezTo>
                  <a:pt x="286047" y="576075"/>
                  <a:pt x="287725" y="572353"/>
                  <a:pt x="289399" y="568630"/>
                </a:cubicBezTo>
                <a:cubicBezTo>
                  <a:pt x="294095" y="558121"/>
                  <a:pt x="299004" y="547070"/>
                  <a:pt x="293958" y="535838"/>
                </a:cubicBezTo>
                <a:cubicBezTo>
                  <a:pt x="292436" y="533533"/>
                  <a:pt x="290781" y="531301"/>
                  <a:pt x="289107" y="529084"/>
                </a:cubicBezTo>
                <a:cubicBezTo>
                  <a:pt x="289107" y="528153"/>
                  <a:pt x="289107" y="527223"/>
                  <a:pt x="289107" y="526265"/>
                </a:cubicBezTo>
                <a:cubicBezTo>
                  <a:pt x="287560" y="525800"/>
                  <a:pt x="286014" y="525335"/>
                  <a:pt x="284420" y="524856"/>
                </a:cubicBezTo>
                <a:cubicBezTo>
                  <a:pt x="283905" y="523461"/>
                  <a:pt x="283389" y="522066"/>
                  <a:pt x="282858" y="520628"/>
                </a:cubicBezTo>
                <a:cubicBezTo>
                  <a:pt x="280750" y="518590"/>
                  <a:pt x="280750" y="518590"/>
                  <a:pt x="277977" y="516577"/>
                </a:cubicBezTo>
                <a:cubicBezTo>
                  <a:pt x="273591" y="513232"/>
                  <a:pt x="269227" y="509874"/>
                  <a:pt x="264925" y="506443"/>
                </a:cubicBezTo>
                <a:cubicBezTo>
                  <a:pt x="253596" y="497433"/>
                  <a:pt x="242132" y="488987"/>
                  <a:pt x="229746" y="481170"/>
                </a:cubicBezTo>
                <a:cubicBezTo>
                  <a:pt x="226846" y="479266"/>
                  <a:pt x="223950" y="477358"/>
                  <a:pt x="221057" y="475445"/>
                </a:cubicBezTo>
                <a:cubicBezTo>
                  <a:pt x="218227" y="473594"/>
                  <a:pt x="215396" y="471744"/>
                  <a:pt x="212563" y="469896"/>
                </a:cubicBezTo>
                <a:cubicBezTo>
                  <a:pt x="211351" y="469102"/>
                  <a:pt x="210138" y="468309"/>
                  <a:pt x="208889" y="467491"/>
                </a:cubicBezTo>
                <a:cubicBezTo>
                  <a:pt x="202848" y="463599"/>
                  <a:pt x="196732" y="459888"/>
                  <a:pt x="190406" y="456382"/>
                </a:cubicBezTo>
                <a:cubicBezTo>
                  <a:pt x="189263" y="455748"/>
                  <a:pt x="188119" y="455114"/>
                  <a:pt x="186942" y="454460"/>
                </a:cubicBezTo>
                <a:cubicBezTo>
                  <a:pt x="184648" y="453196"/>
                  <a:pt x="182348" y="451941"/>
                  <a:pt x="180041" y="450696"/>
                </a:cubicBezTo>
                <a:cubicBezTo>
                  <a:pt x="177292" y="449185"/>
                  <a:pt x="174612" y="447571"/>
                  <a:pt x="171948" y="445940"/>
                </a:cubicBezTo>
                <a:cubicBezTo>
                  <a:pt x="171948" y="445009"/>
                  <a:pt x="171948" y="444079"/>
                  <a:pt x="171948" y="443121"/>
                </a:cubicBezTo>
                <a:cubicBezTo>
                  <a:pt x="170804" y="442985"/>
                  <a:pt x="169660" y="442848"/>
                  <a:pt x="168482" y="442708"/>
                </a:cubicBezTo>
                <a:cubicBezTo>
                  <a:pt x="163547" y="441576"/>
                  <a:pt x="161063" y="439897"/>
                  <a:pt x="157107" y="437044"/>
                </a:cubicBezTo>
                <a:cubicBezTo>
                  <a:pt x="149345" y="431895"/>
                  <a:pt x="141843" y="429626"/>
                  <a:pt x="132559" y="427510"/>
                </a:cubicBezTo>
                <a:cubicBezTo>
                  <a:pt x="128067" y="426168"/>
                  <a:pt x="126607" y="425060"/>
                  <a:pt x="123522" y="421983"/>
                </a:cubicBezTo>
                <a:cubicBezTo>
                  <a:pt x="118310" y="419033"/>
                  <a:pt x="114076" y="418794"/>
                  <a:pt x="107986" y="418730"/>
                </a:cubicBezTo>
                <a:cubicBezTo>
                  <a:pt x="106174" y="418694"/>
                  <a:pt x="104362" y="418659"/>
                  <a:pt x="102494" y="418622"/>
                </a:cubicBezTo>
                <a:cubicBezTo>
                  <a:pt x="98715" y="418573"/>
                  <a:pt x="94936" y="418529"/>
                  <a:pt x="91157" y="418490"/>
                </a:cubicBezTo>
                <a:cubicBezTo>
                  <a:pt x="78470" y="418231"/>
                  <a:pt x="65485" y="417940"/>
                  <a:pt x="55277" y="410445"/>
                </a:cubicBezTo>
                <a:cubicBezTo>
                  <a:pt x="54084" y="409137"/>
                  <a:pt x="52893" y="407829"/>
                  <a:pt x="51665" y="406481"/>
                </a:cubicBezTo>
                <a:cubicBezTo>
                  <a:pt x="49752" y="404480"/>
                  <a:pt x="47831" y="402483"/>
                  <a:pt x="45904" y="400492"/>
                </a:cubicBezTo>
                <a:cubicBezTo>
                  <a:pt x="44996" y="399526"/>
                  <a:pt x="44088" y="398559"/>
                  <a:pt x="43152" y="397564"/>
                </a:cubicBezTo>
                <a:cubicBezTo>
                  <a:pt x="40865" y="395062"/>
                  <a:pt x="40865" y="395062"/>
                  <a:pt x="37605" y="393798"/>
                </a:cubicBezTo>
                <a:lnTo>
                  <a:pt x="38995" y="368712"/>
                </a:lnTo>
                <a:lnTo>
                  <a:pt x="38666" y="369724"/>
                </a:lnTo>
                <a:cubicBezTo>
                  <a:pt x="37003" y="374506"/>
                  <a:pt x="36202" y="379113"/>
                  <a:pt x="35542" y="384081"/>
                </a:cubicBezTo>
                <a:cubicBezTo>
                  <a:pt x="30313" y="376119"/>
                  <a:pt x="31188" y="366593"/>
                  <a:pt x="33326" y="357791"/>
                </a:cubicBezTo>
                <a:cubicBezTo>
                  <a:pt x="37176" y="347767"/>
                  <a:pt x="44536" y="340769"/>
                  <a:pt x="52725" y="333349"/>
                </a:cubicBezTo>
                <a:lnTo>
                  <a:pt x="55222" y="334475"/>
                </a:lnTo>
                <a:lnTo>
                  <a:pt x="56222" y="333347"/>
                </a:lnTo>
                <a:lnTo>
                  <a:pt x="55871" y="333347"/>
                </a:lnTo>
                <a:lnTo>
                  <a:pt x="56346" y="333207"/>
                </a:lnTo>
                <a:lnTo>
                  <a:pt x="56351" y="333202"/>
                </a:lnTo>
                <a:lnTo>
                  <a:pt x="56365" y="333202"/>
                </a:lnTo>
                <a:lnTo>
                  <a:pt x="79571" y="326360"/>
                </a:lnTo>
                <a:cubicBezTo>
                  <a:pt x="87782" y="326037"/>
                  <a:pt x="96164" y="327572"/>
                  <a:pt x="104297" y="330529"/>
                </a:cubicBezTo>
                <a:lnTo>
                  <a:pt x="107170" y="334417"/>
                </a:lnTo>
                <a:lnTo>
                  <a:pt x="109366" y="336046"/>
                </a:lnTo>
                <a:lnTo>
                  <a:pt x="109463" y="336020"/>
                </a:lnTo>
                <a:lnTo>
                  <a:pt x="109463" y="336118"/>
                </a:lnTo>
                <a:lnTo>
                  <a:pt x="115226" y="340394"/>
                </a:lnTo>
                <a:lnTo>
                  <a:pt x="114010" y="340120"/>
                </a:lnTo>
                <a:lnTo>
                  <a:pt x="133285" y="357423"/>
                </a:lnTo>
                <a:cubicBezTo>
                  <a:pt x="142471" y="373187"/>
                  <a:pt x="155564" y="382744"/>
                  <a:pt x="173509" y="389571"/>
                </a:cubicBezTo>
                <a:cubicBezTo>
                  <a:pt x="176254" y="390785"/>
                  <a:pt x="178988" y="392017"/>
                  <a:pt x="181711" y="393270"/>
                </a:cubicBezTo>
                <a:cubicBezTo>
                  <a:pt x="182964" y="393833"/>
                  <a:pt x="184216" y="394396"/>
                  <a:pt x="185507" y="394976"/>
                </a:cubicBezTo>
                <a:cubicBezTo>
                  <a:pt x="187897" y="396058"/>
                  <a:pt x="190281" y="397151"/>
                  <a:pt x="192658" y="398257"/>
                </a:cubicBezTo>
                <a:cubicBezTo>
                  <a:pt x="193749" y="398762"/>
                  <a:pt x="194841" y="399267"/>
                  <a:pt x="195966" y="399788"/>
                </a:cubicBezTo>
                <a:cubicBezTo>
                  <a:pt x="196912" y="400231"/>
                  <a:pt x="197858" y="400674"/>
                  <a:pt x="198833" y="401131"/>
                </a:cubicBezTo>
                <a:cubicBezTo>
                  <a:pt x="201808" y="402326"/>
                  <a:pt x="204701" y="403032"/>
                  <a:pt x="207877" y="403663"/>
                </a:cubicBezTo>
                <a:cubicBezTo>
                  <a:pt x="207877" y="404593"/>
                  <a:pt x="207877" y="405523"/>
                  <a:pt x="207877" y="406481"/>
                </a:cubicBezTo>
                <a:cubicBezTo>
                  <a:pt x="221233" y="411377"/>
                  <a:pt x="234752" y="415503"/>
                  <a:pt x="248492" y="419428"/>
                </a:cubicBezTo>
                <a:cubicBezTo>
                  <a:pt x="250298" y="419947"/>
                  <a:pt x="252104" y="420466"/>
                  <a:pt x="253965" y="421000"/>
                </a:cubicBezTo>
                <a:cubicBezTo>
                  <a:pt x="258388" y="422270"/>
                  <a:pt x="262812" y="423537"/>
                  <a:pt x="267237" y="424801"/>
                </a:cubicBezTo>
                <a:lnTo>
                  <a:pt x="267237" y="426451"/>
                </a:lnTo>
                <a:lnTo>
                  <a:pt x="288701" y="429217"/>
                </a:lnTo>
                <a:cubicBezTo>
                  <a:pt x="288701" y="430147"/>
                  <a:pt x="288701" y="431078"/>
                  <a:pt x="288701" y="432036"/>
                </a:cubicBezTo>
                <a:cubicBezTo>
                  <a:pt x="301487" y="433472"/>
                  <a:pt x="314148" y="433662"/>
                  <a:pt x="327010" y="433628"/>
                </a:cubicBezTo>
                <a:cubicBezTo>
                  <a:pt x="330502" y="433621"/>
                  <a:pt x="333994" y="433628"/>
                  <a:pt x="337486" y="433637"/>
                </a:cubicBezTo>
                <a:cubicBezTo>
                  <a:pt x="339734" y="433637"/>
                  <a:pt x="341982" y="433635"/>
                  <a:pt x="344229" y="433632"/>
                </a:cubicBezTo>
                <a:cubicBezTo>
                  <a:pt x="347246" y="433630"/>
                  <a:pt x="347246" y="433630"/>
                  <a:pt x="350323" y="433627"/>
                </a:cubicBezTo>
                <a:cubicBezTo>
                  <a:pt x="355445" y="433459"/>
                  <a:pt x="360220" y="432915"/>
                  <a:pt x="365245" y="432036"/>
                </a:cubicBezTo>
                <a:lnTo>
                  <a:pt x="360797" y="433759"/>
                </a:lnTo>
                <a:lnTo>
                  <a:pt x="365650" y="433257"/>
                </a:lnTo>
                <a:cubicBezTo>
                  <a:pt x="366166" y="431861"/>
                  <a:pt x="366682" y="430466"/>
                  <a:pt x="367213" y="429029"/>
                </a:cubicBezTo>
                <a:cubicBezTo>
                  <a:pt x="369854" y="427628"/>
                  <a:pt x="372501" y="426234"/>
                  <a:pt x="375188" y="424906"/>
                </a:cubicBezTo>
                <a:cubicBezTo>
                  <a:pt x="390245" y="417204"/>
                  <a:pt x="397438" y="403183"/>
                  <a:pt x="404704" y="389571"/>
                </a:cubicBezTo>
                <a:cubicBezTo>
                  <a:pt x="405219" y="389105"/>
                  <a:pt x="405734" y="388641"/>
                  <a:pt x="406265" y="388161"/>
                </a:cubicBezTo>
                <a:cubicBezTo>
                  <a:pt x="406663" y="382152"/>
                  <a:pt x="406555" y="376125"/>
                  <a:pt x="406559" y="370106"/>
                </a:cubicBezTo>
                <a:cubicBezTo>
                  <a:pt x="406578" y="368412"/>
                  <a:pt x="406597" y="366718"/>
                  <a:pt x="406617" y="364973"/>
                </a:cubicBezTo>
                <a:cubicBezTo>
                  <a:pt x="406620" y="363344"/>
                  <a:pt x="406622" y="361715"/>
                  <a:pt x="406626" y="360038"/>
                </a:cubicBezTo>
                <a:cubicBezTo>
                  <a:pt x="406632" y="358541"/>
                  <a:pt x="406638" y="357045"/>
                  <a:pt x="406645" y="355503"/>
                </a:cubicBezTo>
                <a:cubicBezTo>
                  <a:pt x="406264" y="351503"/>
                  <a:pt x="405326" y="349318"/>
                  <a:pt x="403142" y="345885"/>
                </a:cubicBezTo>
                <a:cubicBezTo>
                  <a:pt x="402583" y="343484"/>
                  <a:pt x="402067" y="341075"/>
                  <a:pt x="401579" y="338663"/>
                </a:cubicBezTo>
                <a:cubicBezTo>
                  <a:pt x="399365" y="330323"/>
                  <a:pt x="395538" y="323370"/>
                  <a:pt x="390938" y="315939"/>
                </a:cubicBezTo>
                <a:cubicBezTo>
                  <a:pt x="390290" y="314890"/>
                  <a:pt x="389642" y="313842"/>
                  <a:pt x="388976" y="312762"/>
                </a:cubicBezTo>
                <a:cubicBezTo>
                  <a:pt x="385623" y="307500"/>
                  <a:pt x="382070" y="302607"/>
                  <a:pt x="377934" y="297817"/>
                </a:cubicBezTo>
                <a:cubicBezTo>
                  <a:pt x="373788" y="292978"/>
                  <a:pt x="371423" y="288111"/>
                  <a:pt x="368775" y="282470"/>
                </a:cubicBezTo>
                <a:cubicBezTo>
                  <a:pt x="366035" y="278585"/>
                  <a:pt x="362994" y="274937"/>
                  <a:pt x="359890" y="271284"/>
                </a:cubicBezTo>
                <a:cubicBezTo>
                  <a:pt x="359059" y="270296"/>
                  <a:pt x="358230" y="269307"/>
                  <a:pt x="357374" y="268288"/>
                </a:cubicBezTo>
                <a:cubicBezTo>
                  <a:pt x="351312" y="261177"/>
                  <a:pt x="344882" y="254704"/>
                  <a:pt x="337533" y="248649"/>
                </a:cubicBezTo>
                <a:cubicBezTo>
                  <a:pt x="336767" y="247896"/>
                  <a:pt x="336002" y="247144"/>
                  <a:pt x="335214" y="246369"/>
                </a:cubicBezTo>
                <a:cubicBezTo>
                  <a:pt x="332597" y="243963"/>
                  <a:pt x="332597" y="243963"/>
                  <a:pt x="327085" y="242571"/>
                </a:cubicBezTo>
                <a:cubicBezTo>
                  <a:pt x="309670" y="236923"/>
                  <a:pt x="296614" y="222751"/>
                  <a:pt x="288785" y="207968"/>
                </a:cubicBezTo>
                <a:cubicBezTo>
                  <a:pt x="286673" y="202851"/>
                  <a:pt x="286348" y="197968"/>
                  <a:pt x="286373" y="192544"/>
                </a:cubicBezTo>
                <a:cubicBezTo>
                  <a:pt x="286377" y="191437"/>
                  <a:pt x="286381" y="190330"/>
                  <a:pt x="286385" y="189190"/>
                </a:cubicBezTo>
                <a:cubicBezTo>
                  <a:pt x="286881" y="178340"/>
                  <a:pt x="291581" y="171728"/>
                  <a:pt x="300042" y="164095"/>
                </a:cubicBezTo>
                <a:cubicBezTo>
                  <a:pt x="301386" y="162752"/>
                  <a:pt x="301386" y="162752"/>
                  <a:pt x="302757" y="161381"/>
                </a:cubicBezTo>
                <a:cubicBezTo>
                  <a:pt x="312597" y="152504"/>
                  <a:pt x="325185" y="152675"/>
                  <a:pt x="338411" y="152293"/>
                </a:cubicBezTo>
                <a:cubicBezTo>
                  <a:pt x="350839" y="152463"/>
                  <a:pt x="359094" y="154554"/>
                  <a:pt x="368482" y="161893"/>
                </a:cubicBezTo>
                <a:cubicBezTo>
                  <a:pt x="369609" y="163085"/>
                  <a:pt x="370737" y="164277"/>
                  <a:pt x="371899" y="165505"/>
                </a:cubicBezTo>
                <a:cubicBezTo>
                  <a:pt x="372962" y="166522"/>
                  <a:pt x="374026" y="167539"/>
                  <a:pt x="375121" y="168587"/>
                </a:cubicBezTo>
                <a:cubicBezTo>
                  <a:pt x="381050" y="176351"/>
                  <a:pt x="384520" y="184328"/>
                  <a:pt x="384982" y="193777"/>
                </a:cubicBezTo>
                <a:cubicBezTo>
                  <a:pt x="385464" y="201192"/>
                  <a:pt x="387638" y="207607"/>
                  <a:pt x="390352" y="214563"/>
                </a:cubicBezTo>
                <a:cubicBezTo>
                  <a:pt x="390934" y="216079"/>
                  <a:pt x="390934" y="216079"/>
                  <a:pt x="391529" y="217626"/>
                </a:cubicBezTo>
                <a:cubicBezTo>
                  <a:pt x="394082" y="223926"/>
                  <a:pt x="397412" y="228969"/>
                  <a:pt x="401579" y="234556"/>
                </a:cubicBezTo>
                <a:cubicBezTo>
                  <a:pt x="401579" y="235952"/>
                  <a:pt x="401579" y="237347"/>
                  <a:pt x="401579" y="238784"/>
                </a:cubicBezTo>
                <a:cubicBezTo>
                  <a:pt x="402884" y="239263"/>
                  <a:pt x="402884" y="239263"/>
                  <a:pt x="404215" y="239753"/>
                </a:cubicBezTo>
                <a:cubicBezTo>
                  <a:pt x="410099" y="242765"/>
                  <a:pt x="414395" y="246733"/>
                  <a:pt x="417811" y="251996"/>
                </a:cubicBezTo>
                <a:cubicBezTo>
                  <a:pt x="420462" y="255897"/>
                  <a:pt x="423407" y="258959"/>
                  <a:pt x="426866" y="262300"/>
                </a:cubicBezTo>
                <a:cubicBezTo>
                  <a:pt x="435101" y="270407"/>
                  <a:pt x="442641" y="278936"/>
                  <a:pt x="450097" y="287628"/>
                </a:cubicBezTo>
                <a:cubicBezTo>
                  <a:pt x="453081" y="291117"/>
                  <a:pt x="453081" y="291117"/>
                  <a:pt x="457425" y="293920"/>
                </a:cubicBezTo>
                <a:cubicBezTo>
                  <a:pt x="458585" y="294792"/>
                  <a:pt x="459745" y="295664"/>
                  <a:pt x="460940" y="296562"/>
                </a:cubicBezTo>
                <a:cubicBezTo>
                  <a:pt x="460940" y="297957"/>
                  <a:pt x="460940" y="299352"/>
                  <a:pt x="460940" y="300790"/>
                </a:cubicBezTo>
                <a:cubicBezTo>
                  <a:pt x="465063" y="302782"/>
                  <a:pt x="468862" y="304133"/>
                  <a:pt x="473437" y="305018"/>
                </a:cubicBezTo>
                <a:cubicBezTo>
                  <a:pt x="473437" y="305947"/>
                  <a:pt x="473437" y="306877"/>
                  <a:pt x="473437" y="307836"/>
                </a:cubicBezTo>
                <a:cubicBezTo>
                  <a:pt x="475581" y="308519"/>
                  <a:pt x="477730" y="309193"/>
                  <a:pt x="479881" y="309862"/>
                </a:cubicBezTo>
                <a:cubicBezTo>
                  <a:pt x="481077" y="310237"/>
                  <a:pt x="482273" y="310614"/>
                  <a:pt x="483505" y="311001"/>
                </a:cubicBezTo>
                <a:cubicBezTo>
                  <a:pt x="505448" y="316843"/>
                  <a:pt x="527690" y="314359"/>
                  <a:pt x="548419" y="306427"/>
                </a:cubicBezTo>
                <a:cubicBezTo>
                  <a:pt x="549548" y="305998"/>
                  <a:pt x="550678" y="305569"/>
                  <a:pt x="551842" y="305127"/>
                </a:cubicBezTo>
                <a:cubicBezTo>
                  <a:pt x="555376" y="303227"/>
                  <a:pt x="557584" y="300980"/>
                  <a:pt x="560232" y="298148"/>
                </a:cubicBezTo>
                <a:cubicBezTo>
                  <a:pt x="561137" y="297192"/>
                  <a:pt x="562041" y="296236"/>
                  <a:pt x="562972" y="295252"/>
                </a:cubicBezTo>
                <a:cubicBezTo>
                  <a:pt x="564755" y="293274"/>
                  <a:pt x="566459" y="291237"/>
                  <a:pt x="568086" y="289152"/>
                </a:cubicBezTo>
                <a:cubicBezTo>
                  <a:pt x="568813" y="288342"/>
                  <a:pt x="569539" y="287532"/>
                  <a:pt x="570289" y="286697"/>
                </a:cubicBezTo>
                <a:cubicBezTo>
                  <a:pt x="571319" y="286697"/>
                  <a:pt x="572350" y="286697"/>
                  <a:pt x="573413" y="286697"/>
                </a:cubicBezTo>
                <a:cubicBezTo>
                  <a:pt x="577408" y="276984"/>
                  <a:pt x="577197" y="267284"/>
                  <a:pt x="577220" y="257016"/>
                </a:cubicBezTo>
                <a:cubicBezTo>
                  <a:pt x="577227" y="255625"/>
                  <a:pt x="577227" y="255625"/>
                  <a:pt x="577235" y="254206"/>
                </a:cubicBezTo>
                <a:cubicBezTo>
                  <a:pt x="577257" y="237553"/>
                  <a:pt x="574604" y="222055"/>
                  <a:pt x="569443" y="206049"/>
                </a:cubicBezTo>
                <a:cubicBezTo>
                  <a:pt x="568726" y="203553"/>
                  <a:pt x="568726" y="203553"/>
                  <a:pt x="568726" y="200735"/>
                </a:cubicBezTo>
                <a:cubicBezTo>
                  <a:pt x="567695" y="200735"/>
                  <a:pt x="566664" y="200735"/>
                  <a:pt x="565602" y="200735"/>
                </a:cubicBezTo>
                <a:cubicBezTo>
                  <a:pt x="563274" y="195295"/>
                  <a:pt x="561092" y="190108"/>
                  <a:pt x="559549" y="184441"/>
                </a:cubicBezTo>
                <a:cubicBezTo>
                  <a:pt x="555572" y="173477"/>
                  <a:pt x="547043" y="167105"/>
                  <a:pt x="537484" y="159867"/>
                </a:cubicBezTo>
                <a:cubicBezTo>
                  <a:pt x="533579" y="156609"/>
                  <a:pt x="533579" y="156609"/>
                  <a:pt x="531235" y="154230"/>
                </a:cubicBezTo>
                <a:cubicBezTo>
                  <a:pt x="531235" y="153301"/>
                  <a:pt x="531235" y="152371"/>
                  <a:pt x="531235" y="151412"/>
                </a:cubicBezTo>
                <a:cubicBezTo>
                  <a:pt x="529689" y="150947"/>
                  <a:pt x="528143" y="150482"/>
                  <a:pt x="526549" y="150003"/>
                </a:cubicBezTo>
                <a:cubicBezTo>
                  <a:pt x="519904" y="137298"/>
                  <a:pt x="519105" y="120357"/>
                  <a:pt x="524304" y="107198"/>
                </a:cubicBezTo>
                <a:cubicBezTo>
                  <a:pt x="529443" y="97376"/>
                  <a:pt x="535781" y="90193"/>
                  <a:pt x="547052" y="85972"/>
                </a:cubicBezTo>
                <a:cubicBezTo>
                  <a:pt x="559924" y="81835"/>
                  <a:pt x="575221" y="79746"/>
                  <a:pt x="588460" y="83538"/>
                </a:cubicBezTo>
                <a:cubicBezTo>
                  <a:pt x="601643" y="89713"/>
                  <a:pt x="611835" y="99450"/>
                  <a:pt x="617152" y="111954"/>
                </a:cubicBezTo>
                <a:cubicBezTo>
                  <a:pt x="617935" y="116052"/>
                  <a:pt x="617954" y="120024"/>
                  <a:pt x="617884" y="124175"/>
                </a:cubicBezTo>
                <a:cubicBezTo>
                  <a:pt x="617896" y="125307"/>
                  <a:pt x="617906" y="126440"/>
                  <a:pt x="617917" y="127607"/>
                </a:cubicBezTo>
                <a:cubicBezTo>
                  <a:pt x="617963" y="132394"/>
                  <a:pt x="617938" y="137181"/>
                  <a:pt x="617919" y="141969"/>
                </a:cubicBezTo>
                <a:cubicBezTo>
                  <a:pt x="617899" y="160184"/>
                  <a:pt x="619422" y="175572"/>
                  <a:pt x="630625" y="191311"/>
                </a:cubicBezTo>
                <a:cubicBezTo>
                  <a:pt x="633753" y="195891"/>
                  <a:pt x="636431" y="199900"/>
                  <a:pt x="637850" y="205139"/>
                </a:cubicBezTo>
                <a:cubicBezTo>
                  <a:pt x="638615" y="209623"/>
                  <a:pt x="638615" y="209623"/>
                  <a:pt x="643708" y="212009"/>
                </a:cubicBezTo>
                <a:cubicBezTo>
                  <a:pt x="645380" y="214563"/>
                  <a:pt x="645380" y="214563"/>
                  <a:pt x="647027" y="217645"/>
                </a:cubicBezTo>
                <a:cubicBezTo>
                  <a:pt x="652549" y="227016"/>
                  <a:pt x="660443" y="235696"/>
                  <a:pt x="670264" y="241603"/>
                </a:cubicBezTo>
                <a:cubicBezTo>
                  <a:pt x="670264" y="242532"/>
                  <a:pt x="670264" y="243462"/>
                  <a:pt x="670264" y="244421"/>
                </a:cubicBezTo>
                <a:cubicBezTo>
                  <a:pt x="672036" y="244857"/>
                  <a:pt x="673808" y="245293"/>
                  <a:pt x="675634" y="245742"/>
                </a:cubicBezTo>
                <a:cubicBezTo>
                  <a:pt x="681199" y="247239"/>
                  <a:pt x="681199" y="247239"/>
                  <a:pt x="682761" y="248649"/>
                </a:cubicBezTo>
                <a:cubicBezTo>
                  <a:pt x="704487" y="252065"/>
                  <a:pt x="732606" y="256402"/>
                  <a:pt x="752092" y="245076"/>
                </a:cubicBezTo>
                <a:cubicBezTo>
                  <a:pt x="754252" y="243599"/>
                  <a:pt x="756372" y="242073"/>
                  <a:pt x="758433" y="240485"/>
                </a:cubicBezTo>
                <a:cubicBezTo>
                  <a:pt x="760867" y="238784"/>
                  <a:pt x="760867" y="238784"/>
                  <a:pt x="763991" y="238784"/>
                </a:cubicBezTo>
                <a:cubicBezTo>
                  <a:pt x="764647" y="237296"/>
                  <a:pt x="764647" y="237296"/>
                  <a:pt x="765315" y="235778"/>
                </a:cubicBezTo>
                <a:cubicBezTo>
                  <a:pt x="767151" y="231659"/>
                  <a:pt x="769030" y="227557"/>
                  <a:pt x="770923" y="223459"/>
                </a:cubicBezTo>
                <a:cubicBezTo>
                  <a:pt x="771608" y="221966"/>
                  <a:pt x="772292" y="220472"/>
                  <a:pt x="772998" y="218934"/>
                </a:cubicBezTo>
                <a:cubicBezTo>
                  <a:pt x="774429" y="215885"/>
                  <a:pt x="775968" y="212878"/>
                  <a:pt x="777562" y="209895"/>
                </a:cubicBezTo>
                <a:cubicBezTo>
                  <a:pt x="787607" y="185732"/>
                  <a:pt x="788559" y="149501"/>
                  <a:pt x="781175" y="124637"/>
                </a:cubicBezTo>
                <a:cubicBezTo>
                  <a:pt x="780144" y="124637"/>
                  <a:pt x="779113" y="124637"/>
                  <a:pt x="778051" y="124637"/>
                </a:cubicBezTo>
                <a:cubicBezTo>
                  <a:pt x="768501" y="110080"/>
                  <a:pt x="762898" y="96653"/>
                  <a:pt x="767116" y="79542"/>
                </a:cubicBezTo>
                <a:cubicBezTo>
                  <a:pt x="772286" y="69057"/>
                  <a:pt x="781456" y="58252"/>
                  <a:pt x="793379" y="54000"/>
                </a:cubicBezTo>
                <a:cubicBezTo>
                  <a:pt x="808369" y="49250"/>
                  <a:pt x="826058" y="49579"/>
                  <a:pt x="840688" y="55503"/>
                </a:cubicBezTo>
                <a:cubicBezTo>
                  <a:pt x="845183" y="57759"/>
                  <a:pt x="848037" y="60575"/>
                  <a:pt x="851470" y="64040"/>
                </a:cubicBezTo>
                <a:cubicBezTo>
                  <a:pt x="852721" y="65272"/>
                  <a:pt x="852721" y="65272"/>
                  <a:pt x="853997" y="66529"/>
                </a:cubicBezTo>
                <a:cubicBezTo>
                  <a:pt x="858396" y="71505"/>
                  <a:pt x="860490" y="76640"/>
                  <a:pt x="861488" y="82057"/>
                </a:cubicBezTo>
                <a:lnTo>
                  <a:pt x="861937" y="90492"/>
                </a:lnTo>
                <a:lnTo>
                  <a:pt x="863826" y="100715"/>
                </a:lnTo>
                <a:cubicBezTo>
                  <a:pt x="862141" y="107853"/>
                  <a:pt x="859866" y="114857"/>
                  <a:pt x="857577" y="121853"/>
                </a:cubicBezTo>
                <a:cubicBezTo>
                  <a:pt x="857062" y="121853"/>
                  <a:pt x="856547" y="121853"/>
                  <a:pt x="856015" y="121853"/>
                </a:cubicBezTo>
                <a:cubicBezTo>
                  <a:pt x="855731" y="120401"/>
                  <a:pt x="855731" y="120401"/>
                  <a:pt x="855442" y="118919"/>
                </a:cubicBezTo>
                <a:lnTo>
                  <a:pt x="855417" y="118798"/>
                </a:lnTo>
                <a:lnTo>
                  <a:pt x="856157" y="124637"/>
                </a:lnTo>
                <a:lnTo>
                  <a:pt x="850623" y="134701"/>
                </a:lnTo>
                <a:lnTo>
                  <a:pt x="851325" y="135968"/>
                </a:lnTo>
                <a:cubicBezTo>
                  <a:pt x="850851" y="137246"/>
                  <a:pt x="850376" y="138525"/>
                  <a:pt x="849886" y="139843"/>
                </a:cubicBezTo>
                <a:cubicBezTo>
                  <a:pt x="848171" y="144505"/>
                  <a:pt x="847798" y="148002"/>
                  <a:pt x="847786" y="152889"/>
                </a:cubicBezTo>
                <a:cubicBezTo>
                  <a:pt x="847779" y="154500"/>
                  <a:pt x="847773" y="156109"/>
                  <a:pt x="847767" y="157768"/>
                </a:cubicBezTo>
                <a:cubicBezTo>
                  <a:pt x="847782" y="159468"/>
                  <a:pt x="847796" y="161167"/>
                  <a:pt x="847810" y="162919"/>
                </a:cubicBezTo>
                <a:cubicBezTo>
                  <a:pt x="847821" y="165546"/>
                  <a:pt x="847821" y="165546"/>
                  <a:pt x="847832" y="168227"/>
                </a:cubicBezTo>
                <a:cubicBezTo>
                  <a:pt x="847980" y="181934"/>
                  <a:pt x="849003" y="195419"/>
                  <a:pt x="850903" y="209013"/>
                </a:cubicBezTo>
                <a:lnTo>
                  <a:pt x="852880" y="224692"/>
                </a:lnTo>
                <a:lnTo>
                  <a:pt x="854595" y="224692"/>
                </a:lnTo>
                <a:cubicBezTo>
                  <a:pt x="855086" y="225542"/>
                  <a:pt x="855577" y="226392"/>
                  <a:pt x="856083" y="227268"/>
                </a:cubicBezTo>
                <a:cubicBezTo>
                  <a:pt x="862358" y="237839"/>
                  <a:pt x="866924" y="242785"/>
                  <a:pt x="879588" y="247239"/>
                </a:cubicBezTo>
                <a:cubicBezTo>
                  <a:pt x="881642" y="248025"/>
                  <a:pt x="883692" y="248817"/>
                  <a:pt x="885739" y="249618"/>
                </a:cubicBezTo>
                <a:cubicBezTo>
                  <a:pt x="887318" y="250227"/>
                  <a:pt x="888897" y="250838"/>
                  <a:pt x="890523" y="251467"/>
                </a:cubicBezTo>
                <a:cubicBezTo>
                  <a:pt x="890523" y="252397"/>
                  <a:pt x="890523" y="253327"/>
                  <a:pt x="890523" y="254285"/>
                </a:cubicBezTo>
                <a:cubicBezTo>
                  <a:pt x="900347" y="257061"/>
                  <a:pt x="910127" y="259425"/>
                  <a:pt x="920203" y="261332"/>
                </a:cubicBezTo>
                <a:cubicBezTo>
                  <a:pt x="920203" y="261796"/>
                  <a:pt x="920203" y="262262"/>
                  <a:pt x="920203" y="262741"/>
                </a:cubicBezTo>
                <a:cubicBezTo>
                  <a:pt x="917111" y="262741"/>
                  <a:pt x="914018" y="262741"/>
                  <a:pt x="910831" y="262741"/>
                </a:cubicBezTo>
                <a:lnTo>
                  <a:pt x="910831" y="262864"/>
                </a:lnTo>
                <a:lnTo>
                  <a:pt x="927993" y="264177"/>
                </a:lnTo>
                <a:lnTo>
                  <a:pt x="939273" y="265285"/>
                </a:lnTo>
                <a:lnTo>
                  <a:pt x="940456" y="265191"/>
                </a:lnTo>
                <a:cubicBezTo>
                  <a:pt x="962552" y="263054"/>
                  <a:pt x="974979" y="255295"/>
                  <a:pt x="991622" y="242329"/>
                </a:cubicBezTo>
                <a:lnTo>
                  <a:pt x="1000803" y="236505"/>
                </a:lnTo>
                <a:lnTo>
                  <a:pt x="999806" y="236055"/>
                </a:lnTo>
                <a:cubicBezTo>
                  <a:pt x="1000902" y="234997"/>
                  <a:pt x="1001997" y="233941"/>
                  <a:pt x="1003126" y="232851"/>
                </a:cubicBezTo>
                <a:cubicBezTo>
                  <a:pt x="1012364" y="223880"/>
                  <a:pt x="1021184" y="214752"/>
                  <a:pt x="1029487" y="205052"/>
                </a:cubicBezTo>
                <a:lnTo>
                  <a:pt x="1029872" y="206442"/>
                </a:lnTo>
                <a:lnTo>
                  <a:pt x="1031614" y="203719"/>
                </a:lnTo>
                <a:cubicBezTo>
                  <a:pt x="1033221" y="199204"/>
                  <a:pt x="1035713" y="196017"/>
                  <a:pt x="1038924" y="192280"/>
                </a:cubicBezTo>
                <a:cubicBezTo>
                  <a:pt x="1039956" y="191815"/>
                  <a:pt x="1040987" y="191349"/>
                  <a:pt x="1042049" y="190870"/>
                </a:cubicBezTo>
                <a:cubicBezTo>
                  <a:pt x="1043161" y="188473"/>
                  <a:pt x="1043161" y="188473"/>
                  <a:pt x="1044294" y="186026"/>
                </a:cubicBezTo>
                <a:cubicBezTo>
                  <a:pt x="1046735" y="181006"/>
                  <a:pt x="1046735" y="181006"/>
                  <a:pt x="1051422" y="178188"/>
                </a:cubicBezTo>
                <a:cubicBezTo>
                  <a:pt x="1052553" y="175286"/>
                  <a:pt x="1052553" y="175286"/>
                  <a:pt x="1052984" y="172551"/>
                </a:cubicBezTo>
                <a:cubicBezTo>
                  <a:pt x="1054014" y="172551"/>
                  <a:pt x="1055046" y="172551"/>
                  <a:pt x="1056108" y="172551"/>
                </a:cubicBezTo>
                <a:cubicBezTo>
                  <a:pt x="1057139" y="169295"/>
                  <a:pt x="1058170" y="166040"/>
                  <a:pt x="1059232" y="162686"/>
                </a:cubicBezTo>
                <a:cubicBezTo>
                  <a:pt x="1060263" y="162686"/>
                  <a:pt x="1061295" y="162686"/>
                  <a:pt x="1062357" y="162686"/>
                </a:cubicBezTo>
                <a:cubicBezTo>
                  <a:pt x="1062755" y="161484"/>
                  <a:pt x="1062755" y="161484"/>
                  <a:pt x="1063162" y="160258"/>
                </a:cubicBezTo>
                <a:cubicBezTo>
                  <a:pt x="1065716" y="152917"/>
                  <a:pt x="1068813" y="146686"/>
                  <a:pt x="1073292" y="140138"/>
                </a:cubicBezTo>
                <a:cubicBezTo>
                  <a:pt x="1074322" y="140138"/>
                  <a:pt x="1075353" y="140138"/>
                  <a:pt x="1076415" y="140138"/>
                </a:cubicBezTo>
                <a:cubicBezTo>
                  <a:pt x="1079808" y="132748"/>
                  <a:pt x="1082509" y="125160"/>
                  <a:pt x="1085294" y="117569"/>
                </a:cubicBezTo>
                <a:cubicBezTo>
                  <a:pt x="1085972" y="116181"/>
                  <a:pt x="1086651" y="114793"/>
                  <a:pt x="1087350" y="113363"/>
                </a:cubicBezTo>
                <a:cubicBezTo>
                  <a:pt x="1089671" y="112666"/>
                  <a:pt x="1089671" y="112666"/>
                  <a:pt x="1092037" y="111954"/>
                </a:cubicBezTo>
                <a:cubicBezTo>
                  <a:pt x="1092230" y="110879"/>
                  <a:pt x="1092423" y="109803"/>
                  <a:pt x="1092623" y="108695"/>
                </a:cubicBezTo>
                <a:cubicBezTo>
                  <a:pt x="1093599" y="104908"/>
                  <a:pt x="1093599" y="104908"/>
                  <a:pt x="1096723" y="100680"/>
                </a:cubicBezTo>
                <a:cubicBezTo>
                  <a:pt x="1097207" y="99140"/>
                  <a:pt x="1097689" y="97599"/>
                  <a:pt x="1098188" y="96013"/>
                </a:cubicBezTo>
                <a:cubicBezTo>
                  <a:pt x="1099847" y="90815"/>
                  <a:pt x="1099847" y="90815"/>
                  <a:pt x="1102288" y="87029"/>
                </a:cubicBezTo>
                <a:cubicBezTo>
                  <a:pt x="1106061" y="79186"/>
                  <a:pt x="1107564" y="69424"/>
                  <a:pt x="1104534" y="61222"/>
                </a:cubicBezTo>
                <a:cubicBezTo>
                  <a:pt x="1104409" y="59341"/>
                  <a:pt x="1104366" y="57454"/>
                  <a:pt x="1104381" y="55569"/>
                </a:cubicBezTo>
                <a:cubicBezTo>
                  <a:pt x="1104386" y="54501"/>
                  <a:pt x="1104391" y="53434"/>
                  <a:pt x="1104397" y="52335"/>
                </a:cubicBezTo>
                <a:cubicBezTo>
                  <a:pt x="1104410" y="51228"/>
                  <a:pt x="1104423" y="50120"/>
                  <a:pt x="1104436" y="48979"/>
                </a:cubicBezTo>
                <a:cubicBezTo>
                  <a:pt x="1104443" y="47856"/>
                  <a:pt x="1104451" y="46733"/>
                  <a:pt x="1104457" y="45575"/>
                </a:cubicBezTo>
                <a:cubicBezTo>
                  <a:pt x="1104476" y="42805"/>
                  <a:pt x="1104504" y="40035"/>
                  <a:pt x="1104534" y="37265"/>
                </a:cubicBezTo>
                <a:cubicBezTo>
                  <a:pt x="1105565" y="37265"/>
                  <a:pt x="1106596" y="37265"/>
                  <a:pt x="1107658" y="37265"/>
                </a:cubicBezTo>
                <a:cubicBezTo>
                  <a:pt x="1107561" y="34562"/>
                  <a:pt x="1107561" y="34562"/>
                  <a:pt x="1107463" y="31805"/>
                </a:cubicBezTo>
                <a:cubicBezTo>
                  <a:pt x="1107353" y="28733"/>
                  <a:pt x="1107353" y="28733"/>
                  <a:pt x="1107658" y="25991"/>
                </a:cubicBezTo>
                <a:cubicBezTo>
                  <a:pt x="1108689" y="25062"/>
                  <a:pt x="1109720" y="24131"/>
                  <a:pt x="1110782" y="23173"/>
                </a:cubicBezTo>
                <a:cubicBezTo>
                  <a:pt x="1111104" y="22156"/>
                  <a:pt x="1111427" y="21138"/>
                  <a:pt x="1111759" y="20091"/>
                </a:cubicBezTo>
                <a:cubicBezTo>
                  <a:pt x="1116393" y="11539"/>
                  <a:pt x="1124927" y="6390"/>
                  <a:pt x="1134507" y="2828"/>
                </a:cubicBezTo>
                <a:cubicBezTo>
                  <a:pt x="1141389" y="825"/>
                  <a:pt x="1148262" y="-204"/>
                  <a:pt x="1155019" y="35"/>
                </a:cubicBezTo>
                <a:close/>
              </a:path>
            </a:pathLst>
          </a:custGeom>
          <a:solidFill>
            <a:schemeClr val="accent3"/>
          </a:solidFill>
          <a:ln w="2232" cap="flat">
            <a:noFill/>
            <a:prstDash val="solid"/>
            <a:miter/>
          </a:ln>
          <a:effectLst>
            <a:innerShdw blurRad="63500" dist="190500" dir="8100000">
              <a:schemeClr val="accent3">
                <a:lumMod val="75000"/>
                <a:alpha val="50000"/>
              </a:schemeClr>
            </a:innerShdw>
          </a:effectLst>
        </p:spPr>
        <p:txBody>
          <a:bodyPr wrap="squar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4" name="Oval 73">
            <a:extLst>
              <a:ext uri="{FF2B5EF4-FFF2-40B4-BE49-F238E27FC236}">
                <a16:creationId xmlns:a16="http://schemas.microsoft.com/office/drawing/2014/main" id="{CCA3FC98-E40B-4B06-4DFB-16819017A6D7}"/>
              </a:ext>
            </a:extLst>
          </p:cNvPr>
          <p:cNvSpPr/>
          <p:nvPr/>
        </p:nvSpPr>
        <p:spPr>
          <a:xfrm>
            <a:off x="4551183" y="3226737"/>
            <a:ext cx="96793" cy="96793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5" name="Oval 74">
            <a:extLst>
              <a:ext uri="{FF2B5EF4-FFF2-40B4-BE49-F238E27FC236}">
                <a16:creationId xmlns:a16="http://schemas.microsoft.com/office/drawing/2014/main" id="{456C0EFD-D6CF-634D-FBD4-4F2CFC92EC9E}"/>
              </a:ext>
            </a:extLst>
          </p:cNvPr>
          <p:cNvSpPr/>
          <p:nvPr/>
        </p:nvSpPr>
        <p:spPr>
          <a:xfrm>
            <a:off x="4680395" y="3311489"/>
            <a:ext cx="96793" cy="96793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6" name="Oval 75">
            <a:extLst>
              <a:ext uri="{FF2B5EF4-FFF2-40B4-BE49-F238E27FC236}">
                <a16:creationId xmlns:a16="http://schemas.microsoft.com/office/drawing/2014/main" id="{BFBFC131-2912-C49C-03C5-4BB6EA5EBC7B}"/>
              </a:ext>
            </a:extLst>
          </p:cNvPr>
          <p:cNvSpPr/>
          <p:nvPr/>
        </p:nvSpPr>
        <p:spPr>
          <a:xfrm>
            <a:off x="4586612" y="3469181"/>
            <a:ext cx="75769" cy="75769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C68FCECF-714A-23B0-9DEC-B2F5871A72FA}"/>
              </a:ext>
            </a:extLst>
          </p:cNvPr>
          <p:cNvSpPr/>
          <p:nvPr/>
        </p:nvSpPr>
        <p:spPr>
          <a:xfrm>
            <a:off x="4788765" y="3451814"/>
            <a:ext cx="96793" cy="96793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8" name="Oval 77">
            <a:extLst>
              <a:ext uri="{FF2B5EF4-FFF2-40B4-BE49-F238E27FC236}">
                <a16:creationId xmlns:a16="http://schemas.microsoft.com/office/drawing/2014/main" id="{2FB15936-3C19-F07A-69AF-0253F2A44CB3}"/>
              </a:ext>
            </a:extLst>
          </p:cNvPr>
          <p:cNvSpPr/>
          <p:nvPr/>
        </p:nvSpPr>
        <p:spPr>
          <a:xfrm>
            <a:off x="4820025" y="3250356"/>
            <a:ext cx="65532" cy="65532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9" name="Free-form: Shape 78">
            <a:extLst>
              <a:ext uri="{FF2B5EF4-FFF2-40B4-BE49-F238E27FC236}">
                <a16:creationId xmlns:a16="http://schemas.microsoft.com/office/drawing/2014/main" id="{C2AF7C8C-C266-1201-0821-5E53A291CDF1}"/>
              </a:ext>
            </a:extLst>
          </p:cNvPr>
          <p:cNvSpPr/>
          <p:nvPr/>
        </p:nvSpPr>
        <p:spPr>
          <a:xfrm>
            <a:off x="7597039" y="3760908"/>
            <a:ext cx="744826" cy="151965"/>
          </a:xfrm>
          <a:custGeom>
            <a:avLst/>
            <a:gdLst>
              <a:gd name="csX0" fmla="*/ 0 w 1020019"/>
              <a:gd name="csY0" fmla="*/ 0 h 228600"/>
              <a:gd name="csX1" fmla="*/ 892656 w 1020019"/>
              <a:gd name="csY1" fmla="*/ 0 h 228600"/>
              <a:gd name="csX2" fmla="*/ 1020019 w 1020019"/>
              <a:gd name="csY2" fmla="*/ 228600 h 228600"/>
              <a:gd name="csX3" fmla="*/ 65128 w 1020019"/>
              <a:gd name="csY3" fmla="*/ 228600 h 228600"/>
              <a:gd name="csX4" fmla="*/ 0 w 1020019"/>
              <a:gd name="csY4" fmla="*/ 0 h 22860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020019" h="228600">
                <a:moveTo>
                  <a:pt x="0" y="0"/>
                </a:moveTo>
                <a:lnTo>
                  <a:pt x="892656" y="0"/>
                </a:lnTo>
                <a:lnTo>
                  <a:pt x="1020019" y="228600"/>
                </a:lnTo>
                <a:lnTo>
                  <a:pt x="65128" y="2286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0" name="Free-form: Shape 79">
            <a:extLst>
              <a:ext uri="{FF2B5EF4-FFF2-40B4-BE49-F238E27FC236}">
                <a16:creationId xmlns:a16="http://schemas.microsoft.com/office/drawing/2014/main" id="{20A1C645-DA5C-9475-0DE3-EAB6EE224984}"/>
              </a:ext>
            </a:extLst>
          </p:cNvPr>
          <p:cNvSpPr/>
          <p:nvPr/>
        </p:nvSpPr>
        <p:spPr>
          <a:xfrm>
            <a:off x="7688878" y="4075784"/>
            <a:ext cx="856070" cy="205101"/>
          </a:xfrm>
          <a:custGeom>
            <a:avLst/>
            <a:gdLst>
              <a:gd name="csX0" fmla="*/ 0 w 1020019"/>
              <a:gd name="csY0" fmla="*/ 0 h 228600"/>
              <a:gd name="csX1" fmla="*/ 892656 w 1020019"/>
              <a:gd name="csY1" fmla="*/ 0 h 228600"/>
              <a:gd name="csX2" fmla="*/ 1020019 w 1020019"/>
              <a:gd name="csY2" fmla="*/ 228600 h 228600"/>
              <a:gd name="csX3" fmla="*/ 65128 w 1020019"/>
              <a:gd name="csY3" fmla="*/ 228600 h 228600"/>
              <a:gd name="csX4" fmla="*/ 0 w 1020019"/>
              <a:gd name="csY4" fmla="*/ 0 h 228600"/>
              <a:gd name="csX0" fmla="*/ 0 w 1020019"/>
              <a:gd name="csY0" fmla="*/ 0 h 230815"/>
              <a:gd name="csX1" fmla="*/ 892656 w 1020019"/>
              <a:gd name="csY1" fmla="*/ 0 h 230815"/>
              <a:gd name="csX2" fmla="*/ 1020019 w 1020019"/>
              <a:gd name="csY2" fmla="*/ 228600 h 230815"/>
              <a:gd name="csX3" fmla="*/ 67512 w 1020019"/>
              <a:gd name="csY3" fmla="*/ 230815 h 230815"/>
              <a:gd name="csX4" fmla="*/ 0 w 1020019"/>
              <a:gd name="csY4" fmla="*/ 0 h 230815"/>
              <a:gd name="csX0" fmla="*/ 0 w 1036702"/>
              <a:gd name="csY0" fmla="*/ 0 h 230815"/>
              <a:gd name="csX1" fmla="*/ 892656 w 1036702"/>
              <a:gd name="csY1" fmla="*/ 0 h 230815"/>
              <a:gd name="csX2" fmla="*/ 1036702 w 1036702"/>
              <a:gd name="csY2" fmla="*/ 226385 h 230815"/>
              <a:gd name="csX3" fmla="*/ 67512 w 1036702"/>
              <a:gd name="csY3" fmla="*/ 230815 h 230815"/>
              <a:gd name="csX4" fmla="*/ 0 w 1036702"/>
              <a:gd name="csY4" fmla="*/ 0 h 23081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036702" h="230815">
                <a:moveTo>
                  <a:pt x="0" y="0"/>
                </a:moveTo>
                <a:lnTo>
                  <a:pt x="892656" y="0"/>
                </a:lnTo>
                <a:lnTo>
                  <a:pt x="1036702" y="226385"/>
                </a:lnTo>
                <a:lnTo>
                  <a:pt x="67512" y="23081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1" name="Oval 80">
            <a:extLst>
              <a:ext uri="{FF2B5EF4-FFF2-40B4-BE49-F238E27FC236}">
                <a16:creationId xmlns:a16="http://schemas.microsoft.com/office/drawing/2014/main" id="{FD3F5883-DD4E-B03C-ABAA-B601C015B395}"/>
              </a:ext>
            </a:extLst>
          </p:cNvPr>
          <p:cNvSpPr/>
          <p:nvPr/>
        </p:nvSpPr>
        <p:spPr>
          <a:xfrm>
            <a:off x="7175594" y="5714986"/>
            <a:ext cx="717698" cy="104135"/>
          </a:xfrm>
          <a:prstGeom prst="ellipse">
            <a:avLst/>
          </a:prstGeom>
          <a:solidFill>
            <a:schemeClr val="tx1">
              <a:alpha val="6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2" name="Oval 81">
            <a:extLst>
              <a:ext uri="{FF2B5EF4-FFF2-40B4-BE49-F238E27FC236}">
                <a16:creationId xmlns:a16="http://schemas.microsoft.com/office/drawing/2014/main" id="{9D246B6F-AD66-95DC-7C43-5E398782E2BA}"/>
              </a:ext>
            </a:extLst>
          </p:cNvPr>
          <p:cNvSpPr/>
          <p:nvPr/>
        </p:nvSpPr>
        <p:spPr>
          <a:xfrm>
            <a:off x="2426342" y="5714986"/>
            <a:ext cx="717698" cy="104135"/>
          </a:xfrm>
          <a:prstGeom prst="ellipse">
            <a:avLst/>
          </a:prstGeom>
          <a:solidFill>
            <a:schemeClr val="tx1">
              <a:alpha val="6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3" name="Oval 82">
            <a:extLst>
              <a:ext uri="{FF2B5EF4-FFF2-40B4-BE49-F238E27FC236}">
                <a16:creationId xmlns:a16="http://schemas.microsoft.com/office/drawing/2014/main" id="{70CB1AC5-06DD-2185-1F98-F39153468F8B}"/>
              </a:ext>
            </a:extLst>
          </p:cNvPr>
          <p:cNvSpPr/>
          <p:nvPr/>
        </p:nvSpPr>
        <p:spPr>
          <a:xfrm>
            <a:off x="10689917" y="5714986"/>
            <a:ext cx="717698" cy="104135"/>
          </a:xfrm>
          <a:prstGeom prst="ellipse">
            <a:avLst/>
          </a:prstGeom>
          <a:solidFill>
            <a:schemeClr val="tx1">
              <a:alpha val="6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4" name="Oval 83">
            <a:extLst>
              <a:ext uri="{FF2B5EF4-FFF2-40B4-BE49-F238E27FC236}">
                <a16:creationId xmlns:a16="http://schemas.microsoft.com/office/drawing/2014/main" id="{F01CA420-0C45-7DC6-ED20-3D8EDF59D2CA}"/>
              </a:ext>
            </a:extLst>
          </p:cNvPr>
          <p:cNvSpPr/>
          <p:nvPr/>
        </p:nvSpPr>
        <p:spPr>
          <a:xfrm>
            <a:off x="3612119" y="5714986"/>
            <a:ext cx="717698" cy="104135"/>
          </a:xfrm>
          <a:prstGeom prst="ellipse">
            <a:avLst/>
          </a:prstGeom>
          <a:solidFill>
            <a:schemeClr val="tx1">
              <a:alpha val="6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5" name="Free-form: Shape 84">
            <a:extLst>
              <a:ext uri="{FF2B5EF4-FFF2-40B4-BE49-F238E27FC236}">
                <a16:creationId xmlns:a16="http://schemas.microsoft.com/office/drawing/2014/main" id="{71A50697-25CC-142A-003F-FC0B20AA8D32}"/>
              </a:ext>
            </a:extLst>
          </p:cNvPr>
          <p:cNvSpPr/>
          <p:nvPr/>
        </p:nvSpPr>
        <p:spPr>
          <a:xfrm>
            <a:off x="6557036" y="4949924"/>
            <a:ext cx="17183" cy="1817"/>
          </a:xfrm>
          <a:custGeom>
            <a:avLst/>
            <a:gdLst>
              <a:gd name="csX0" fmla="*/ 0 w 27674"/>
              <a:gd name="csY0" fmla="*/ 2915 h 2925"/>
              <a:gd name="csX1" fmla="*/ 27675 w 27674"/>
              <a:gd name="csY1" fmla="*/ 1550 h 2925"/>
              <a:gd name="csX2" fmla="*/ 0 w 27674"/>
              <a:gd name="csY2" fmla="*/ 2915 h 292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27674" h="2925">
                <a:moveTo>
                  <a:pt x="0" y="2915"/>
                </a:moveTo>
                <a:cubicBezTo>
                  <a:pt x="8211" y="-1939"/>
                  <a:pt x="17625" y="498"/>
                  <a:pt x="27675" y="1550"/>
                </a:cubicBezTo>
                <a:cubicBezTo>
                  <a:pt x="19225" y="2593"/>
                  <a:pt x="10029" y="2999"/>
                  <a:pt x="0" y="2915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6" name="Free-form: Shape 85">
            <a:extLst>
              <a:ext uri="{FF2B5EF4-FFF2-40B4-BE49-F238E27FC236}">
                <a16:creationId xmlns:a16="http://schemas.microsoft.com/office/drawing/2014/main" id="{4BF66158-6C26-AFA9-732E-591324BB80CE}"/>
              </a:ext>
            </a:extLst>
          </p:cNvPr>
          <p:cNvSpPr/>
          <p:nvPr/>
        </p:nvSpPr>
        <p:spPr>
          <a:xfrm>
            <a:off x="6509732" y="4950948"/>
            <a:ext cx="11179" cy="700"/>
          </a:xfrm>
          <a:custGeom>
            <a:avLst/>
            <a:gdLst>
              <a:gd name="csX0" fmla="*/ 0 w 18003"/>
              <a:gd name="csY0" fmla="*/ 1050 h 1128"/>
              <a:gd name="csX1" fmla="*/ 18004 w 18003"/>
              <a:gd name="csY1" fmla="*/ 93 h 1128"/>
              <a:gd name="csX2" fmla="*/ 0 w 18003"/>
              <a:gd name="csY2" fmla="*/ 1050 h 112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8003" h="1128">
                <a:moveTo>
                  <a:pt x="0" y="1050"/>
                </a:moveTo>
                <a:cubicBezTo>
                  <a:pt x="5276" y="182"/>
                  <a:pt x="11306" y="-189"/>
                  <a:pt x="18004" y="93"/>
                </a:cubicBezTo>
                <a:cubicBezTo>
                  <a:pt x="12699" y="1013"/>
                  <a:pt x="6726" y="1280"/>
                  <a:pt x="0" y="1050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7" name="Free-form: Shape 86">
            <a:extLst>
              <a:ext uri="{FF2B5EF4-FFF2-40B4-BE49-F238E27FC236}">
                <a16:creationId xmlns:a16="http://schemas.microsoft.com/office/drawing/2014/main" id="{703CD1D9-E182-554B-5463-CFCDAD960BF8}"/>
              </a:ext>
            </a:extLst>
          </p:cNvPr>
          <p:cNvSpPr/>
          <p:nvPr/>
        </p:nvSpPr>
        <p:spPr>
          <a:xfrm>
            <a:off x="6590699" y="4384148"/>
            <a:ext cx="5257" cy="4867"/>
          </a:xfrm>
          <a:custGeom>
            <a:avLst/>
            <a:gdLst>
              <a:gd name="csX0" fmla="*/ 473 w 8466"/>
              <a:gd name="csY0" fmla="*/ 7839 h 7838"/>
              <a:gd name="csX1" fmla="*/ 8466 w 8466"/>
              <a:gd name="csY1" fmla="*/ 61 h 7838"/>
              <a:gd name="csX2" fmla="*/ 473 w 8466"/>
              <a:gd name="csY2" fmla="*/ 7839 h 783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66" h="7838">
                <a:moveTo>
                  <a:pt x="473" y="7839"/>
                </a:moveTo>
                <a:cubicBezTo>
                  <a:pt x="-1298" y="1550"/>
                  <a:pt x="2020" y="-386"/>
                  <a:pt x="8466" y="61"/>
                </a:cubicBezTo>
                <a:cubicBezTo>
                  <a:pt x="6730" y="2845"/>
                  <a:pt x="4026" y="5401"/>
                  <a:pt x="473" y="7839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8" name="Free-form: Shape 87">
            <a:extLst>
              <a:ext uri="{FF2B5EF4-FFF2-40B4-BE49-F238E27FC236}">
                <a16:creationId xmlns:a16="http://schemas.microsoft.com/office/drawing/2014/main" id="{774F8BC5-C3F2-156B-2471-47E42011665E}"/>
              </a:ext>
            </a:extLst>
          </p:cNvPr>
          <p:cNvSpPr/>
          <p:nvPr/>
        </p:nvSpPr>
        <p:spPr>
          <a:xfrm>
            <a:off x="6454703" y="4949434"/>
            <a:ext cx="5265" cy="618"/>
          </a:xfrm>
          <a:custGeom>
            <a:avLst/>
            <a:gdLst>
              <a:gd name="csX0" fmla="*/ 0 w 8480"/>
              <a:gd name="csY0" fmla="*/ 896 h 996"/>
              <a:gd name="csX1" fmla="*/ 8480 w 8480"/>
              <a:gd name="csY1" fmla="*/ 110 h 996"/>
              <a:gd name="csX2" fmla="*/ 0 w 8480"/>
              <a:gd name="csY2" fmla="*/ 896 h 99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80" h="996">
                <a:moveTo>
                  <a:pt x="0" y="896"/>
                </a:moveTo>
                <a:cubicBezTo>
                  <a:pt x="2285" y="115"/>
                  <a:pt x="5130" y="-182"/>
                  <a:pt x="8480" y="110"/>
                </a:cubicBezTo>
                <a:cubicBezTo>
                  <a:pt x="6177" y="927"/>
                  <a:pt x="3368" y="1153"/>
                  <a:pt x="0" y="896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9" name="Free-form: Shape 88">
            <a:extLst>
              <a:ext uri="{FF2B5EF4-FFF2-40B4-BE49-F238E27FC236}">
                <a16:creationId xmlns:a16="http://schemas.microsoft.com/office/drawing/2014/main" id="{1FEA433D-A7F9-CC77-EC25-950C81BF933F}"/>
              </a:ext>
            </a:extLst>
          </p:cNvPr>
          <p:cNvSpPr/>
          <p:nvPr/>
        </p:nvSpPr>
        <p:spPr>
          <a:xfrm>
            <a:off x="6741464" y="4922905"/>
            <a:ext cx="763" cy="4134"/>
          </a:xfrm>
          <a:custGeom>
            <a:avLst/>
            <a:gdLst>
              <a:gd name="csX0" fmla="*/ 132 w 1229"/>
              <a:gd name="csY0" fmla="*/ 6659 h 6658"/>
              <a:gd name="csX1" fmla="*/ 1107 w 1229"/>
              <a:gd name="csY1" fmla="*/ 0 h 6658"/>
              <a:gd name="csX2" fmla="*/ 132 w 1229"/>
              <a:gd name="csY2" fmla="*/ 6659 h 665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229" h="6658">
                <a:moveTo>
                  <a:pt x="132" y="6659"/>
                </a:moveTo>
                <a:cubicBezTo>
                  <a:pt x="-219" y="4616"/>
                  <a:pt x="139" y="2560"/>
                  <a:pt x="1107" y="0"/>
                </a:cubicBezTo>
                <a:cubicBezTo>
                  <a:pt x="1425" y="1879"/>
                  <a:pt x="1133" y="4263"/>
                  <a:pt x="132" y="6659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8" name="Free-form: Shape 97">
            <a:extLst>
              <a:ext uri="{FF2B5EF4-FFF2-40B4-BE49-F238E27FC236}">
                <a16:creationId xmlns:a16="http://schemas.microsoft.com/office/drawing/2014/main" id="{6B83F15D-C644-A741-521B-029B676B7E6F}"/>
              </a:ext>
            </a:extLst>
          </p:cNvPr>
          <p:cNvSpPr/>
          <p:nvPr/>
        </p:nvSpPr>
        <p:spPr>
          <a:xfrm>
            <a:off x="6674268" y="4943182"/>
            <a:ext cx="2352" cy="847"/>
          </a:xfrm>
          <a:custGeom>
            <a:avLst/>
            <a:gdLst>
              <a:gd name="csX0" fmla="*/ 0 w 3788"/>
              <a:gd name="csY0" fmla="*/ 1364 h 1364"/>
              <a:gd name="csX1" fmla="*/ 3788 w 3788"/>
              <a:gd name="csY1" fmla="*/ 0 h 1364"/>
              <a:gd name="csX2" fmla="*/ 0 w 3788"/>
              <a:gd name="csY2" fmla="*/ 1364 h 136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788" h="1364">
                <a:moveTo>
                  <a:pt x="0" y="1364"/>
                </a:moveTo>
                <a:cubicBezTo>
                  <a:pt x="856" y="517"/>
                  <a:pt x="2126" y="39"/>
                  <a:pt x="3788" y="0"/>
                </a:cubicBezTo>
                <a:cubicBezTo>
                  <a:pt x="2925" y="870"/>
                  <a:pt x="1670" y="1303"/>
                  <a:pt x="0" y="1364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9" name="Free-form: Shape 98">
            <a:extLst>
              <a:ext uri="{FF2B5EF4-FFF2-40B4-BE49-F238E27FC236}">
                <a16:creationId xmlns:a16="http://schemas.microsoft.com/office/drawing/2014/main" id="{5713F6EC-593A-4ECA-BFB6-AAC63A7A89B7}"/>
              </a:ext>
            </a:extLst>
          </p:cNvPr>
          <p:cNvSpPr/>
          <p:nvPr/>
        </p:nvSpPr>
        <p:spPr>
          <a:xfrm>
            <a:off x="6402685" y="4946456"/>
            <a:ext cx="2478" cy="515"/>
          </a:xfrm>
          <a:custGeom>
            <a:avLst/>
            <a:gdLst>
              <a:gd name="csX0" fmla="*/ 0 w 3990"/>
              <a:gd name="csY0" fmla="*/ 719 h 829"/>
              <a:gd name="csX1" fmla="*/ 3990 w 3990"/>
              <a:gd name="csY1" fmla="*/ 119 h 829"/>
              <a:gd name="csX2" fmla="*/ 0 w 3990"/>
              <a:gd name="csY2" fmla="*/ 719 h 82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990" h="829">
                <a:moveTo>
                  <a:pt x="0" y="719"/>
                </a:moveTo>
                <a:cubicBezTo>
                  <a:pt x="982" y="66"/>
                  <a:pt x="2323" y="-163"/>
                  <a:pt x="3990" y="119"/>
                </a:cubicBezTo>
                <a:cubicBezTo>
                  <a:pt x="2998" y="800"/>
                  <a:pt x="1678" y="972"/>
                  <a:pt x="0" y="719"/>
                </a:cubicBezTo>
                <a:close/>
              </a:path>
            </a:pathLst>
          </a:custGeom>
          <a:solidFill>
            <a:srgbClr val="959DA0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0" name="Free-form: Shape 99">
            <a:extLst>
              <a:ext uri="{FF2B5EF4-FFF2-40B4-BE49-F238E27FC236}">
                <a16:creationId xmlns:a16="http://schemas.microsoft.com/office/drawing/2014/main" id="{18830980-1A11-724B-3AD1-F994BBE39524}"/>
              </a:ext>
            </a:extLst>
          </p:cNvPr>
          <p:cNvSpPr/>
          <p:nvPr/>
        </p:nvSpPr>
        <p:spPr>
          <a:xfrm>
            <a:off x="6613233" y="4949412"/>
            <a:ext cx="2417" cy="705"/>
          </a:xfrm>
          <a:custGeom>
            <a:avLst/>
            <a:gdLst>
              <a:gd name="csX0" fmla="*/ 0 w 3893"/>
              <a:gd name="csY0" fmla="*/ 1133 h 1135"/>
              <a:gd name="csX1" fmla="*/ 3893 w 3893"/>
              <a:gd name="csY1" fmla="*/ 7 h 1135"/>
              <a:gd name="csX2" fmla="*/ 0 w 3893"/>
              <a:gd name="csY2" fmla="*/ 1133 h 113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893" h="1135">
                <a:moveTo>
                  <a:pt x="0" y="1133"/>
                </a:moveTo>
                <a:cubicBezTo>
                  <a:pt x="902" y="349"/>
                  <a:pt x="2213" y="-60"/>
                  <a:pt x="3893" y="7"/>
                </a:cubicBezTo>
                <a:cubicBezTo>
                  <a:pt x="2978" y="825"/>
                  <a:pt x="1693" y="1167"/>
                  <a:pt x="0" y="1133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1" name="Free-form: Shape 100">
            <a:extLst>
              <a:ext uri="{FF2B5EF4-FFF2-40B4-BE49-F238E27FC236}">
                <a16:creationId xmlns:a16="http://schemas.microsoft.com/office/drawing/2014/main" id="{3B032589-2252-8822-04AA-EF2B9482A22F}"/>
              </a:ext>
            </a:extLst>
          </p:cNvPr>
          <p:cNvSpPr/>
          <p:nvPr/>
        </p:nvSpPr>
        <p:spPr>
          <a:xfrm>
            <a:off x="6521498" y="4418057"/>
            <a:ext cx="97564" cy="25665"/>
          </a:xfrm>
          <a:custGeom>
            <a:avLst/>
            <a:gdLst>
              <a:gd name="csX0" fmla="*/ 69625 w 157129"/>
              <a:gd name="csY0" fmla="*/ 0 h 41334"/>
              <a:gd name="csX1" fmla="*/ 119596 w 157129"/>
              <a:gd name="csY1" fmla="*/ 1945 h 41334"/>
              <a:gd name="csX2" fmla="*/ 150973 w 157129"/>
              <a:gd name="csY2" fmla="*/ 14889 h 41334"/>
              <a:gd name="csX3" fmla="*/ 151351 w 157129"/>
              <a:gd name="csY3" fmla="*/ 34058 h 41334"/>
              <a:gd name="csX4" fmla="*/ 133492 w 157129"/>
              <a:gd name="csY4" fmla="*/ 40697 h 41334"/>
              <a:gd name="csX5" fmla="*/ 106556 w 157129"/>
              <a:gd name="csY5" fmla="*/ 41092 h 41334"/>
              <a:gd name="csX6" fmla="*/ 13373 w 157129"/>
              <a:gd name="csY6" fmla="*/ 40708 h 41334"/>
              <a:gd name="csX7" fmla="*/ 1312 w 157129"/>
              <a:gd name="csY7" fmla="*/ 40191 h 41334"/>
              <a:gd name="csX8" fmla="*/ 3367 w 157129"/>
              <a:gd name="csY8" fmla="*/ 13162 h 41334"/>
              <a:gd name="csX9" fmla="*/ 20752 w 157129"/>
              <a:gd name="csY9" fmla="*/ 1879 h 41334"/>
              <a:gd name="csX10" fmla="*/ 52625 w 157129"/>
              <a:gd name="csY10" fmla="*/ 1332 h 41334"/>
              <a:gd name="csX11" fmla="*/ 69625 w 157129"/>
              <a:gd name="csY11" fmla="*/ 0 h 4133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157129" h="41334">
                <a:moveTo>
                  <a:pt x="69625" y="0"/>
                </a:moveTo>
                <a:cubicBezTo>
                  <a:pt x="87054" y="491"/>
                  <a:pt x="103407" y="373"/>
                  <a:pt x="119596" y="1945"/>
                </a:cubicBezTo>
                <a:cubicBezTo>
                  <a:pt x="131020" y="3055"/>
                  <a:pt x="141713" y="7767"/>
                  <a:pt x="150973" y="14889"/>
                </a:cubicBezTo>
                <a:cubicBezTo>
                  <a:pt x="158820" y="20925"/>
                  <a:pt x="159403" y="28236"/>
                  <a:pt x="151351" y="34058"/>
                </a:cubicBezTo>
                <a:cubicBezTo>
                  <a:pt x="146355" y="37671"/>
                  <a:pt x="139678" y="39910"/>
                  <a:pt x="133492" y="40697"/>
                </a:cubicBezTo>
                <a:cubicBezTo>
                  <a:pt x="124640" y="41824"/>
                  <a:pt x="115547" y="41120"/>
                  <a:pt x="106556" y="41092"/>
                </a:cubicBezTo>
                <a:cubicBezTo>
                  <a:pt x="75495" y="40996"/>
                  <a:pt x="44434" y="40872"/>
                  <a:pt x="13373" y="40708"/>
                </a:cubicBezTo>
                <a:cubicBezTo>
                  <a:pt x="9391" y="40687"/>
                  <a:pt x="5410" y="40374"/>
                  <a:pt x="1312" y="40191"/>
                </a:cubicBezTo>
                <a:cubicBezTo>
                  <a:pt x="-1416" y="30384"/>
                  <a:pt x="523" y="21512"/>
                  <a:pt x="3367" y="13162"/>
                </a:cubicBezTo>
                <a:cubicBezTo>
                  <a:pt x="5963" y="5538"/>
                  <a:pt x="12701" y="2077"/>
                  <a:pt x="20752" y="1879"/>
                </a:cubicBezTo>
                <a:cubicBezTo>
                  <a:pt x="31375" y="1617"/>
                  <a:pt x="42004" y="1647"/>
                  <a:pt x="52625" y="1332"/>
                </a:cubicBezTo>
                <a:cubicBezTo>
                  <a:pt x="57918" y="1176"/>
                  <a:pt x="63195" y="535"/>
                  <a:pt x="69625" y="0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3" name="Free-form: Shape 102">
            <a:extLst>
              <a:ext uri="{FF2B5EF4-FFF2-40B4-BE49-F238E27FC236}">
                <a16:creationId xmlns:a16="http://schemas.microsoft.com/office/drawing/2014/main" id="{F31061D7-6B8D-9CEC-79E0-CBCAD91E98DA}"/>
              </a:ext>
            </a:extLst>
          </p:cNvPr>
          <p:cNvSpPr/>
          <p:nvPr/>
        </p:nvSpPr>
        <p:spPr>
          <a:xfrm>
            <a:off x="7518630" y="5259199"/>
            <a:ext cx="18902" cy="1998"/>
          </a:xfrm>
          <a:custGeom>
            <a:avLst/>
            <a:gdLst>
              <a:gd name="csX0" fmla="*/ 0 w 27674"/>
              <a:gd name="csY0" fmla="*/ 2915 h 2925"/>
              <a:gd name="csX1" fmla="*/ 27675 w 27674"/>
              <a:gd name="csY1" fmla="*/ 1550 h 2925"/>
              <a:gd name="csX2" fmla="*/ 0 w 27674"/>
              <a:gd name="csY2" fmla="*/ 2915 h 292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27674" h="2925">
                <a:moveTo>
                  <a:pt x="0" y="2915"/>
                </a:moveTo>
                <a:cubicBezTo>
                  <a:pt x="8211" y="-1939"/>
                  <a:pt x="17625" y="498"/>
                  <a:pt x="27675" y="1550"/>
                </a:cubicBezTo>
                <a:cubicBezTo>
                  <a:pt x="19225" y="2593"/>
                  <a:pt x="10029" y="2999"/>
                  <a:pt x="0" y="2915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4" name="Free-form: Shape 103">
            <a:extLst>
              <a:ext uri="{FF2B5EF4-FFF2-40B4-BE49-F238E27FC236}">
                <a16:creationId xmlns:a16="http://schemas.microsoft.com/office/drawing/2014/main" id="{6384EC3F-8D3A-E0CB-3E59-66F06252CE5D}"/>
              </a:ext>
            </a:extLst>
          </p:cNvPr>
          <p:cNvSpPr/>
          <p:nvPr/>
        </p:nvSpPr>
        <p:spPr>
          <a:xfrm>
            <a:off x="7466595" y="5260325"/>
            <a:ext cx="12297" cy="770"/>
          </a:xfrm>
          <a:custGeom>
            <a:avLst/>
            <a:gdLst>
              <a:gd name="csX0" fmla="*/ 0 w 18003"/>
              <a:gd name="csY0" fmla="*/ 1050 h 1128"/>
              <a:gd name="csX1" fmla="*/ 18004 w 18003"/>
              <a:gd name="csY1" fmla="*/ 93 h 1128"/>
              <a:gd name="csX2" fmla="*/ 0 w 18003"/>
              <a:gd name="csY2" fmla="*/ 1050 h 112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8003" h="1128">
                <a:moveTo>
                  <a:pt x="0" y="1050"/>
                </a:moveTo>
                <a:cubicBezTo>
                  <a:pt x="5276" y="182"/>
                  <a:pt x="11306" y="-189"/>
                  <a:pt x="18004" y="93"/>
                </a:cubicBezTo>
                <a:cubicBezTo>
                  <a:pt x="12699" y="1013"/>
                  <a:pt x="6726" y="1280"/>
                  <a:pt x="0" y="1050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5" name="Free-form: Shape 104">
            <a:extLst>
              <a:ext uri="{FF2B5EF4-FFF2-40B4-BE49-F238E27FC236}">
                <a16:creationId xmlns:a16="http://schemas.microsoft.com/office/drawing/2014/main" id="{84B8EFA9-72CB-02E0-6FB8-11E92ADDE583}"/>
              </a:ext>
            </a:extLst>
          </p:cNvPr>
          <p:cNvSpPr/>
          <p:nvPr/>
        </p:nvSpPr>
        <p:spPr>
          <a:xfrm>
            <a:off x="7555659" y="4636845"/>
            <a:ext cx="5783" cy="5354"/>
          </a:xfrm>
          <a:custGeom>
            <a:avLst/>
            <a:gdLst>
              <a:gd name="csX0" fmla="*/ 473 w 8466"/>
              <a:gd name="csY0" fmla="*/ 7839 h 7838"/>
              <a:gd name="csX1" fmla="*/ 8466 w 8466"/>
              <a:gd name="csY1" fmla="*/ 61 h 7838"/>
              <a:gd name="csX2" fmla="*/ 473 w 8466"/>
              <a:gd name="csY2" fmla="*/ 7839 h 783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66" h="7838">
                <a:moveTo>
                  <a:pt x="473" y="7839"/>
                </a:moveTo>
                <a:cubicBezTo>
                  <a:pt x="-1298" y="1550"/>
                  <a:pt x="2020" y="-386"/>
                  <a:pt x="8466" y="61"/>
                </a:cubicBezTo>
                <a:cubicBezTo>
                  <a:pt x="6730" y="2845"/>
                  <a:pt x="4026" y="5401"/>
                  <a:pt x="473" y="7839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6" name="Free-form: Shape 105">
            <a:extLst>
              <a:ext uri="{FF2B5EF4-FFF2-40B4-BE49-F238E27FC236}">
                <a16:creationId xmlns:a16="http://schemas.microsoft.com/office/drawing/2014/main" id="{6DD532F5-C85D-5F82-029E-661372A61BD0}"/>
              </a:ext>
            </a:extLst>
          </p:cNvPr>
          <p:cNvSpPr/>
          <p:nvPr/>
        </p:nvSpPr>
        <p:spPr>
          <a:xfrm>
            <a:off x="7406063" y="5258659"/>
            <a:ext cx="5792" cy="680"/>
          </a:xfrm>
          <a:custGeom>
            <a:avLst/>
            <a:gdLst>
              <a:gd name="csX0" fmla="*/ 0 w 8480"/>
              <a:gd name="csY0" fmla="*/ 896 h 996"/>
              <a:gd name="csX1" fmla="*/ 8480 w 8480"/>
              <a:gd name="csY1" fmla="*/ 110 h 996"/>
              <a:gd name="csX2" fmla="*/ 0 w 8480"/>
              <a:gd name="csY2" fmla="*/ 896 h 99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80" h="996">
                <a:moveTo>
                  <a:pt x="0" y="896"/>
                </a:moveTo>
                <a:cubicBezTo>
                  <a:pt x="2285" y="115"/>
                  <a:pt x="5130" y="-182"/>
                  <a:pt x="8480" y="110"/>
                </a:cubicBezTo>
                <a:cubicBezTo>
                  <a:pt x="6177" y="927"/>
                  <a:pt x="3368" y="1153"/>
                  <a:pt x="0" y="896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8" name="Free-form: Shape 117">
            <a:extLst>
              <a:ext uri="{FF2B5EF4-FFF2-40B4-BE49-F238E27FC236}">
                <a16:creationId xmlns:a16="http://schemas.microsoft.com/office/drawing/2014/main" id="{74DC2BA8-FF04-23DE-16D0-259FDB9247C0}"/>
              </a:ext>
            </a:extLst>
          </p:cNvPr>
          <p:cNvSpPr/>
          <p:nvPr/>
        </p:nvSpPr>
        <p:spPr>
          <a:xfrm>
            <a:off x="7721500" y="5229478"/>
            <a:ext cx="840" cy="4547"/>
          </a:xfrm>
          <a:custGeom>
            <a:avLst/>
            <a:gdLst>
              <a:gd name="csX0" fmla="*/ 132 w 1229"/>
              <a:gd name="csY0" fmla="*/ 6659 h 6658"/>
              <a:gd name="csX1" fmla="*/ 1107 w 1229"/>
              <a:gd name="csY1" fmla="*/ 0 h 6658"/>
              <a:gd name="csX2" fmla="*/ 132 w 1229"/>
              <a:gd name="csY2" fmla="*/ 6659 h 665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229" h="6658">
                <a:moveTo>
                  <a:pt x="132" y="6659"/>
                </a:moveTo>
                <a:cubicBezTo>
                  <a:pt x="-219" y="4616"/>
                  <a:pt x="139" y="2560"/>
                  <a:pt x="1107" y="0"/>
                </a:cubicBezTo>
                <a:cubicBezTo>
                  <a:pt x="1425" y="1879"/>
                  <a:pt x="1133" y="4263"/>
                  <a:pt x="132" y="6659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0" name="Free-form: Shape 209">
            <a:extLst>
              <a:ext uri="{FF2B5EF4-FFF2-40B4-BE49-F238E27FC236}">
                <a16:creationId xmlns:a16="http://schemas.microsoft.com/office/drawing/2014/main" id="{1CC59606-432B-0E6A-8D87-EF8850E3FFA7}"/>
              </a:ext>
            </a:extLst>
          </p:cNvPr>
          <p:cNvSpPr/>
          <p:nvPr/>
        </p:nvSpPr>
        <p:spPr>
          <a:xfrm>
            <a:off x="7647584" y="5251783"/>
            <a:ext cx="2588" cy="931"/>
          </a:xfrm>
          <a:custGeom>
            <a:avLst/>
            <a:gdLst>
              <a:gd name="csX0" fmla="*/ 0 w 3788"/>
              <a:gd name="csY0" fmla="*/ 1364 h 1364"/>
              <a:gd name="csX1" fmla="*/ 3788 w 3788"/>
              <a:gd name="csY1" fmla="*/ 0 h 1364"/>
              <a:gd name="csX2" fmla="*/ 0 w 3788"/>
              <a:gd name="csY2" fmla="*/ 1364 h 136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788" h="1364">
                <a:moveTo>
                  <a:pt x="0" y="1364"/>
                </a:moveTo>
                <a:cubicBezTo>
                  <a:pt x="856" y="517"/>
                  <a:pt x="2126" y="39"/>
                  <a:pt x="3788" y="0"/>
                </a:cubicBezTo>
                <a:cubicBezTo>
                  <a:pt x="2925" y="870"/>
                  <a:pt x="1670" y="1303"/>
                  <a:pt x="0" y="1364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8" name="Free-form: Shape 217">
            <a:extLst>
              <a:ext uri="{FF2B5EF4-FFF2-40B4-BE49-F238E27FC236}">
                <a16:creationId xmlns:a16="http://schemas.microsoft.com/office/drawing/2014/main" id="{A10C2301-311C-A12C-0522-1AC91A575B64}"/>
              </a:ext>
            </a:extLst>
          </p:cNvPr>
          <p:cNvSpPr/>
          <p:nvPr/>
        </p:nvSpPr>
        <p:spPr>
          <a:xfrm>
            <a:off x="7348844" y="5255383"/>
            <a:ext cx="2726" cy="566"/>
          </a:xfrm>
          <a:custGeom>
            <a:avLst/>
            <a:gdLst>
              <a:gd name="csX0" fmla="*/ 0 w 3990"/>
              <a:gd name="csY0" fmla="*/ 719 h 829"/>
              <a:gd name="csX1" fmla="*/ 3990 w 3990"/>
              <a:gd name="csY1" fmla="*/ 119 h 829"/>
              <a:gd name="csX2" fmla="*/ 0 w 3990"/>
              <a:gd name="csY2" fmla="*/ 719 h 82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990" h="829">
                <a:moveTo>
                  <a:pt x="0" y="719"/>
                </a:moveTo>
                <a:cubicBezTo>
                  <a:pt x="982" y="66"/>
                  <a:pt x="2323" y="-163"/>
                  <a:pt x="3990" y="119"/>
                </a:cubicBezTo>
                <a:cubicBezTo>
                  <a:pt x="2998" y="800"/>
                  <a:pt x="1678" y="972"/>
                  <a:pt x="0" y="719"/>
                </a:cubicBezTo>
                <a:close/>
              </a:path>
            </a:pathLst>
          </a:custGeom>
          <a:solidFill>
            <a:srgbClr val="959DA0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26" name="Free-form: Shape 225">
            <a:extLst>
              <a:ext uri="{FF2B5EF4-FFF2-40B4-BE49-F238E27FC236}">
                <a16:creationId xmlns:a16="http://schemas.microsoft.com/office/drawing/2014/main" id="{713E2083-2DE0-B1A5-5AAE-51BB1D538E2D}"/>
              </a:ext>
            </a:extLst>
          </p:cNvPr>
          <p:cNvSpPr/>
          <p:nvPr/>
        </p:nvSpPr>
        <p:spPr>
          <a:xfrm>
            <a:off x="7580446" y="5258636"/>
            <a:ext cx="2659" cy="775"/>
          </a:xfrm>
          <a:custGeom>
            <a:avLst/>
            <a:gdLst>
              <a:gd name="csX0" fmla="*/ 0 w 3893"/>
              <a:gd name="csY0" fmla="*/ 1133 h 1135"/>
              <a:gd name="csX1" fmla="*/ 3893 w 3893"/>
              <a:gd name="csY1" fmla="*/ 7 h 1135"/>
              <a:gd name="csX2" fmla="*/ 0 w 3893"/>
              <a:gd name="csY2" fmla="*/ 1133 h 113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893" h="1135">
                <a:moveTo>
                  <a:pt x="0" y="1133"/>
                </a:moveTo>
                <a:cubicBezTo>
                  <a:pt x="902" y="349"/>
                  <a:pt x="2213" y="-60"/>
                  <a:pt x="3893" y="7"/>
                </a:cubicBezTo>
                <a:cubicBezTo>
                  <a:pt x="2978" y="825"/>
                  <a:pt x="1693" y="1167"/>
                  <a:pt x="0" y="1133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27" name="Free-form: Shape 226">
            <a:extLst>
              <a:ext uri="{FF2B5EF4-FFF2-40B4-BE49-F238E27FC236}">
                <a16:creationId xmlns:a16="http://schemas.microsoft.com/office/drawing/2014/main" id="{1A12FB7C-58C9-C958-4B6B-54D8DF1E7F34}"/>
              </a:ext>
            </a:extLst>
          </p:cNvPr>
          <p:cNvSpPr/>
          <p:nvPr/>
        </p:nvSpPr>
        <p:spPr>
          <a:xfrm>
            <a:off x="7470890" y="4725505"/>
            <a:ext cx="123846" cy="275447"/>
          </a:xfrm>
          <a:custGeom>
            <a:avLst/>
            <a:gdLst>
              <a:gd name="csX0" fmla="*/ 7554 w 181323"/>
              <a:gd name="csY0" fmla="*/ 172079 h 403282"/>
              <a:gd name="csX1" fmla="*/ 9716 w 181323"/>
              <a:gd name="csY1" fmla="*/ 130641 h 403282"/>
              <a:gd name="csX2" fmla="*/ 7663 w 181323"/>
              <a:gd name="csY2" fmla="*/ 113770 h 403282"/>
              <a:gd name="csX3" fmla="*/ 7598 w 181323"/>
              <a:gd name="csY3" fmla="*/ 8165 h 403282"/>
              <a:gd name="csX4" fmla="*/ 8353 w 181323"/>
              <a:gd name="csY4" fmla="*/ 1259 h 403282"/>
              <a:gd name="csX5" fmla="*/ 17767 w 181323"/>
              <a:gd name="csY5" fmla="*/ 93 h 403282"/>
              <a:gd name="csX6" fmla="*/ 77938 w 181323"/>
              <a:gd name="csY6" fmla="*/ 50 h 403282"/>
              <a:gd name="csX7" fmla="*/ 91081 w 181323"/>
              <a:gd name="csY7" fmla="*/ 10962 h 403282"/>
              <a:gd name="csX8" fmla="*/ 93691 w 181323"/>
              <a:gd name="csY8" fmla="*/ 60963 h 403282"/>
              <a:gd name="csX9" fmla="*/ 100157 w 181323"/>
              <a:gd name="csY9" fmla="*/ 121501 h 403282"/>
              <a:gd name="csX10" fmla="*/ 105540 w 181323"/>
              <a:gd name="csY10" fmla="*/ 158857 h 403282"/>
              <a:gd name="csX11" fmla="*/ 121116 w 181323"/>
              <a:gd name="csY11" fmla="*/ 235269 h 403282"/>
              <a:gd name="csX12" fmla="*/ 152823 w 181323"/>
              <a:gd name="csY12" fmla="*/ 338010 h 403282"/>
              <a:gd name="csX13" fmla="*/ 170877 w 181323"/>
              <a:gd name="csY13" fmla="*/ 378027 h 403282"/>
              <a:gd name="csX14" fmla="*/ 178114 w 181323"/>
              <a:gd name="csY14" fmla="*/ 387682 h 403282"/>
              <a:gd name="csX15" fmla="*/ 181150 w 181323"/>
              <a:gd name="csY15" fmla="*/ 395764 h 403282"/>
              <a:gd name="csX16" fmla="*/ 173480 w 181323"/>
              <a:gd name="csY16" fmla="*/ 402568 h 403282"/>
              <a:gd name="csX17" fmla="*/ 160067 w 181323"/>
              <a:gd name="csY17" fmla="*/ 402936 h 403282"/>
              <a:gd name="csX18" fmla="*/ 121081 w 181323"/>
              <a:gd name="csY18" fmla="*/ 400766 h 403282"/>
              <a:gd name="csX19" fmla="*/ 70912 w 181323"/>
              <a:gd name="csY19" fmla="*/ 401955 h 403282"/>
              <a:gd name="csX20" fmla="*/ 7630 w 181323"/>
              <a:gd name="csY20" fmla="*/ 402999 h 403282"/>
              <a:gd name="csX21" fmla="*/ 710 w 181323"/>
              <a:gd name="csY21" fmla="*/ 401995 h 403282"/>
              <a:gd name="csX22" fmla="*/ 1308 w 181323"/>
              <a:gd name="csY22" fmla="*/ 356708 h 403282"/>
              <a:gd name="csX23" fmla="*/ 2554 w 181323"/>
              <a:gd name="csY23" fmla="*/ 349510 h 403282"/>
              <a:gd name="csX24" fmla="*/ 5071 w 181323"/>
              <a:gd name="csY24" fmla="*/ 271231 h 403282"/>
              <a:gd name="csX25" fmla="*/ 7554 w 181323"/>
              <a:gd name="csY25" fmla="*/ 172079 h 403282"/>
              <a:gd name="csX26" fmla="*/ 98286 w 181323"/>
              <a:gd name="csY26" fmla="*/ 163566 h 403282"/>
              <a:gd name="csX27" fmla="*/ 83497 w 181323"/>
              <a:gd name="csY27" fmla="*/ 8289 h 403282"/>
              <a:gd name="csX28" fmla="*/ 15161 w 181323"/>
              <a:gd name="csY28" fmla="*/ 9148 h 403282"/>
              <a:gd name="csX29" fmla="*/ 15058 w 181323"/>
              <a:gd name="csY29" fmla="*/ 137939 h 403282"/>
              <a:gd name="csX30" fmla="*/ 12252 w 181323"/>
              <a:gd name="csY30" fmla="*/ 266862 h 403282"/>
              <a:gd name="csX31" fmla="*/ 7068 w 181323"/>
              <a:gd name="csY31" fmla="*/ 395996 h 403282"/>
              <a:gd name="csX32" fmla="*/ 171647 w 181323"/>
              <a:gd name="csY32" fmla="*/ 395996 h 403282"/>
              <a:gd name="csX33" fmla="*/ 119950 w 181323"/>
              <a:gd name="csY33" fmla="*/ 259496 h 403282"/>
              <a:gd name="csX34" fmla="*/ 98286 w 181323"/>
              <a:gd name="csY34" fmla="*/ 163566 h 40328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</a:cxnLst>
            <a:rect l="l" t="t" r="r" b="b"/>
            <a:pathLst>
              <a:path w="181323" h="403282">
                <a:moveTo>
                  <a:pt x="7554" y="172079"/>
                </a:moveTo>
                <a:cubicBezTo>
                  <a:pt x="8325" y="157451"/>
                  <a:pt x="9408" y="144055"/>
                  <a:pt x="9716" y="130641"/>
                </a:cubicBezTo>
                <a:cubicBezTo>
                  <a:pt x="9846" y="125037"/>
                  <a:pt x="7695" y="119399"/>
                  <a:pt x="7663" y="113770"/>
                </a:cubicBezTo>
                <a:cubicBezTo>
                  <a:pt x="7461" y="78569"/>
                  <a:pt x="7554" y="43367"/>
                  <a:pt x="7598" y="8165"/>
                </a:cubicBezTo>
                <a:cubicBezTo>
                  <a:pt x="7600" y="6167"/>
                  <a:pt x="8022" y="4170"/>
                  <a:pt x="8353" y="1259"/>
                </a:cubicBezTo>
                <a:cubicBezTo>
                  <a:pt x="11568" y="842"/>
                  <a:pt x="14666" y="109"/>
                  <a:pt x="17767" y="93"/>
                </a:cubicBezTo>
                <a:cubicBezTo>
                  <a:pt x="37824" y="-17"/>
                  <a:pt x="57881" y="-27"/>
                  <a:pt x="77938" y="50"/>
                </a:cubicBezTo>
                <a:cubicBezTo>
                  <a:pt x="89177" y="93"/>
                  <a:pt x="90068" y="113"/>
                  <a:pt x="91081" y="10962"/>
                </a:cubicBezTo>
                <a:cubicBezTo>
                  <a:pt x="92631" y="27565"/>
                  <a:pt x="92329" y="44335"/>
                  <a:pt x="93691" y="60963"/>
                </a:cubicBezTo>
                <a:cubicBezTo>
                  <a:pt x="95348" y="81184"/>
                  <a:pt x="97732" y="101353"/>
                  <a:pt x="100157" y="121501"/>
                </a:cubicBezTo>
                <a:cubicBezTo>
                  <a:pt x="101660" y="133990"/>
                  <a:pt x="104521" y="146343"/>
                  <a:pt x="105540" y="158857"/>
                </a:cubicBezTo>
                <a:cubicBezTo>
                  <a:pt x="107671" y="184993"/>
                  <a:pt x="114147" y="210249"/>
                  <a:pt x="121116" y="235269"/>
                </a:cubicBezTo>
                <a:cubicBezTo>
                  <a:pt x="130731" y="269786"/>
                  <a:pt x="141516" y="304004"/>
                  <a:pt x="152823" y="338010"/>
                </a:cubicBezTo>
                <a:cubicBezTo>
                  <a:pt x="157418" y="351828"/>
                  <a:pt x="164524" y="364837"/>
                  <a:pt x="170877" y="378027"/>
                </a:cubicBezTo>
                <a:cubicBezTo>
                  <a:pt x="172587" y="381579"/>
                  <a:pt x="175985" y="384280"/>
                  <a:pt x="178114" y="387682"/>
                </a:cubicBezTo>
                <a:cubicBezTo>
                  <a:pt x="179669" y="390165"/>
                  <a:pt x="181977" y="393824"/>
                  <a:pt x="181150" y="395764"/>
                </a:cubicBezTo>
                <a:cubicBezTo>
                  <a:pt x="179907" y="398676"/>
                  <a:pt x="176540" y="401705"/>
                  <a:pt x="173480" y="402568"/>
                </a:cubicBezTo>
                <a:cubicBezTo>
                  <a:pt x="169302" y="403746"/>
                  <a:pt x="164551" y="403164"/>
                  <a:pt x="160067" y="402936"/>
                </a:cubicBezTo>
                <a:cubicBezTo>
                  <a:pt x="147066" y="402274"/>
                  <a:pt x="134081" y="400859"/>
                  <a:pt x="121081" y="400766"/>
                </a:cubicBezTo>
                <a:cubicBezTo>
                  <a:pt x="104362" y="400647"/>
                  <a:pt x="87638" y="401607"/>
                  <a:pt x="70912" y="401955"/>
                </a:cubicBezTo>
                <a:cubicBezTo>
                  <a:pt x="49820" y="402394"/>
                  <a:pt x="28725" y="402712"/>
                  <a:pt x="7630" y="402999"/>
                </a:cubicBezTo>
                <a:cubicBezTo>
                  <a:pt x="5684" y="403026"/>
                  <a:pt x="3731" y="402452"/>
                  <a:pt x="710" y="401995"/>
                </a:cubicBezTo>
                <a:cubicBezTo>
                  <a:pt x="219" y="386620"/>
                  <a:pt x="-871" y="371682"/>
                  <a:pt x="1308" y="356708"/>
                </a:cubicBezTo>
                <a:cubicBezTo>
                  <a:pt x="1659" y="354298"/>
                  <a:pt x="2471" y="351920"/>
                  <a:pt x="2554" y="349510"/>
                </a:cubicBezTo>
                <a:cubicBezTo>
                  <a:pt x="3459" y="323419"/>
                  <a:pt x="4345" y="297328"/>
                  <a:pt x="5071" y="271231"/>
                </a:cubicBezTo>
                <a:cubicBezTo>
                  <a:pt x="5979" y="238591"/>
                  <a:pt x="6733" y="205947"/>
                  <a:pt x="7554" y="172079"/>
                </a:cubicBezTo>
                <a:moveTo>
                  <a:pt x="98286" y="163566"/>
                </a:moveTo>
                <a:cubicBezTo>
                  <a:pt x="89288" y="112116"/>
                  <a:pt x="86355" y="60033"/>
                  <a:pt x="83497" y="8289"/>
                </a:cubicBezTo>
                <a:cubicBezTo>
                  <a:pt x="65606" y="5845"/>
                  <a:pt x="24110" y="6470"/>
                  <a:pt x="15161" y="9148"/>
                </a:cubicBezTo>
                <a:cubicBezTo>
                  <a:pt x="15161" y="52045"/>
                  <a:pt x="15527" y="94996"/>
                  <a:pt x="15058" y="137939"/>
                </a:cubicBezTo>
                <a:cubicBezTo>
                  <a:pt x="14587" y="180919"/>
                  <a:pt x="13597" y="223900"/>
                  <a:pt x="12252" y="266862"/>
                </a:cubicBezTo>
                <a:cubicBezTo>
                  <a:pt x="10912" y="309638"/>
                  <a:pt x="8849" y="352391"/>
                  <a:pt x="7068" y="395996"/>
                </a:cubicBezTo>
                <a:cubicBezTo>
                  <a:pt x="62774" y="395996"/>
                  <a:pt x="116821" y="395996"/>
                  <a:pt x="171647" y="395996"/>
                </a:cubicBezTo>
                <a:cubicBezTo>
                  <a:pt x="148550" y="352016"/>
                  <a:pt x="132566" y="306307"/>
                  <a:pt x="119950" y="259496"/>
                </a:cubicBezTo>
                <a:cubicBezTo>
                  <a:pt x="111608" y="228543"/>
                  <a:pt x="105493" y="196989"/>
                  <a:pt x="98286" y="163566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28" name="Free-form: Shape 227">
            <a:extLst>
              <a:ext uri="{FF2B5EF4-FFF2-40B4-BE49-F238E27FC236}">
                <a16:creationId xmlns:a16="http://schemas.microsoft.com/office/drawing/2014/main" id="{464E8BDB-4CA1-F0B8-D6BB-F5738658C1A0}"/>
              </a:ext>
            </a:extLst>
          </p:cNvPr>
          <p:cNvSpPr/>
          <p:nvPr/>
        </p:nvSpPr>
        <p:spPr>
          <a:xfrm>
            <a:off x="7472684" y="5183634"/>
            <a:ext cx="230181" cy="52128"/>
          </a:xfrm>
          <a:custGeom>
            <a:avLst/>
            <a:gdLst>
              <a:gd name="csX0" fmla="*/ 297312 w 337008"/>
              <a:gd name="csY0" fmla="*/ 59188 h 76321"/>
              <a:gd name="csX1" fmla="*/ 241991 w 337008"/>
              <a:gd name="csY1" fmla="*/ 66577 h 76321"/>
              <a:gd name="csX2" fmla="*/ 185243 w 337008"/>
              <a:gd name="csY2" fmla="*/ 73717 h 76321"/>
              <a:gd name="csX3" fmla="*/ 182797 w 337008"/>
              <a:gd name="csY3" fmla="*/ 73873 h 76321"/>
              <a:gd name="csX4" fmla="*/ 19866 w 337008"/>
              <a:gd name="csY4" fmla="*/ 76320 h 76321"/>
              <a:gd name="csX5" fmla="*/ 12650 w 337008"/>
              <a:gd name="csY5" fmla="*/ 75242 h 76321"/>
              <a:gd name="csX6" fmla="*/ 19 w 337008"/>
              <a:gd name="csY6" fmla="*/ 59006 h 76321"/>
              <a:gd name="csX7" fmla="*/ 11 w 337008"/>
              <a:gd name="csY7" fmla="*/ 18266 h 76321"/>
              <a:gd name="csX8" fmla="*/ 13547 w 337008"/>
              <a:gd name="csY8" fmla="*/ 17427 h 76321"/>
              <a:gd name="csX9" fmla="*/ 109279 w 337008"/>
              <a:gd name="csY9" fmla="*/ 17200 h 76321"/>
              <a:gd name="csX10" fmla="*/ 173714 w 337008"/>
              <a:gd name="csY10" fmla="*/ 12645 h 76321"/>
              <a:gd name="csX11" fmla="*/ 205309 w 337008"/>
              <a:gd name="csY11" fmla="*/ 10096 h 76321"/>
              <a:gd name="csX12" fmla="*/ 245485 w 337008"/>
              <a:gd name="csY12" fmla="*/ 7449 h 76321"/>
              <a:gd name="csX13" fmla="*/ 288955 w 337008"/>
              <a:gd name="csY13" fmla="*/ 1844 h 76321"/>
              <a:gd name="csX14" fmla="*/ 307132 w 337008"/>
              <a:gd name="csY14" fmla="*/ 164 h 76321"/>
              <a:gd name="csX15" fmla="*/ 324030 w 337008"/>
              <a:gd name="csY15" fmla="*/ 9691 h 76321"/>
              <a:gd name="csX16" fmla="*/ 336033 w 337008"/>
              <a:gd name="csY16" fmla="*/ 39107 h 76321"/>
              <a:gd name="csX17" fmla="*/ 328060 w 337008"/>
              <a:gd name="csY17" fmla="*/ 52413 h 76321"/>
              <a:gd name="csX18" fmla="*/ 297312 w 337008"/>
              <a:gd name="csY18" fmla="*/ 59188 h 76321"/>
              <a:gd name="csX19" fmla="*/ 207688 w 337008"/>
              <a:gd name="csY19" fmla="*/ 64284 h 76321"/>
              <a:gd name="csX20" fmla="*/ 330050 w 337008"/>
              <a:gd name="csY20" fmla="*/ 45606 h 76321"/>
              <a:gd name="csX21" fmla="*/ 317356 w 337008"/>
              <a:gd name="csY21" fmla="*/ 11297 h 76321"/>
              <a:gd name="csX22" fmla="*/ 304170 w 337008"/>
              <a:gd name="csY22" fmla="*/ 5545 h 76321"/>
              <a:gd name="csX23" fmla="*/ 273851 w 337008"/>
              <a:gd name="csY23" fmla="*/ 10014 h 76321"/>
              <a:gd name="csX24" fmla="*/ 163935 w 337008"/>
              <a:gd name="csY24" fmla="*/ 20274 h 76321"/>
              <a:gd name="csX25" fmla="*/ 17973 w 337008"/>
              <a:gd name="csY25" fmla="*/ 22950 h 76321"/>
              <a:gd name="csX26" fmla="*/ 7372 w 337008"/>
              <a:gd name="csY26" fmla="*/ 23601 h 76321"/>
              <a:gd name="csX27" fmla="*/ 7372 w 337008"/>
              <a:gd name="csY27" fmla="*/ 67898 h 76321"/>
              <a:gd name="csX28" fmla="*/ 207688 w 337008"/>
              <a:gd name="csY28" fmla="*/ 64284 h 7632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</a:cxnLst>
            <a:rect l="l" t="t" r="r" b="b"/>
            <a:pathLst>
              <a:path w="337008" h="76321">
                <a:moveTo>
                  <a:pt x="297312" y="59188"/>
                </a:moveTo>
                <a:cubicBezTo>
                  <a:pt x="278167" y="61672"/>
                  <a:pt x="260091" y="64212"/>
                  <a:pt x="241991" y="66577"/>
                </a:cubicBezTo>
                <a:cubicBezTo>
                  <a:pt x="223087" y="69047"/>
                  <a:pt x="204161" y="71350"/>
                  <a:pt x="185243" y="73717"/>
                </a:cubicBezTo>
                <a:cubicBezTo>
                  <a:pt x="184433" y="73818"/>
                  <a:pt x="183613" y="73861"/>
                  <a:pt x="182797" y="73873"/>
                </a:cubicBezTo>
                <a:cubicBezTo>
                  <a:pt x="128487" y="74710"/>
                  <a:pt x="74176" y="75556"/>
                  <a:pt x="19866" y="76320"/>
                </a:cubicBezTo>
                <a:cubicBezTo>
                  <a:pt x="17463" y="76354"/>
                  <a:pt x="15013" y="75797"/>
                  <a:pt x="12650" y="75242"/>
                </a:cubicBezTo>
                <a:cubicBezTo>
                  <a:pt x="80" y="72288"/>
                  <a:pt x="58" y="72258"/>
                  <a:pt x="19" y="59006"/>
                </a:cubicBezTo>
                <a:cubicBezTo>
                  <a:pt x="-19" y="45942"/>
                  <a:pt x="11" y="32877"/>
                  <a:pt x="11" y="18266"/>
                </a:cubicBezTo>
                <a:cubicBezTo>
                  <a:pt x="4987" y="17944"/>
                  <a:pt x="9266" y="17435"/>
                  <a:pt x="13547" y="17427"/>
                </a:cubicBezTo>
                <a:cubicBezTo>
                  <a:pt x="45459" y="17362"/>
                  <a:pt x="77385" y="17975"/>
                  <a:pt x="109279" y="17200"/>
                </a:cubicBezTo>
                <a:cubicBezTo>
                  <a:pt x="130782" y="16677"/>
                  <a:pt x="152239" y="14265"/>
                  <a:pt x="173714" y="12645"/>
                </a:cubicBezTo>
                <a:cubicBezTo>
                  <a:pt x="184250" y="11850"/>
                  <a:pt x="194770" y="10836"/>
                  <a:pt x="205309" y="10096"/>
                </a:cubicBezTo>
                <a:cubicBezTo>
                  <a:pt x="218698" y="9156"/>
                  <a:pt x="232139" y="8783"/>
                  <a:pt x="245485" y="7449"/>
                </a:cubicBezTo>
                <a:cubicBezTo>
                  <a:pt x="260017" y="5997"/>
                  <a:pt x="274456" y="3648"/>
                  <a:pt x="288955" y="1844"/>
                </a:cubicBezTo>
                <a:cubicBezTo>
                  <a:pt x="294991" y="1094"/>
                  <a:pt x="301100" y="930"/>
                  <a:pt x="307132" y="164"/>
                </a:cubicBezTo>
                <a:cubicBezTo>
                  <a:pt x="315239" y="-865"/>
                  <a:pt x="320841" y="3022"/>
                  <a:pt x="324030" y="9691"/>
                </a:cubicBezTo>
                <a:cubicBezTo>
                  <a:pt x="328594" y="19236"/>
                  <a:pt x="332712" y="29070"/>
                  <a:pt x="336033" y="39107"/>
                </a:cubicBezTo>
                <a:cubicBezTo>
                  <a:pt x="338557" y="46735"/>
                  <a:pt x="336278" y="50185"/>
                  <a:pt x="328060" y="52413"/>
                </a:cubicBezTo>
                <a:cubicBezTo>
                  <a:pt x="318273" y="55068"/>
                  <a:pt x="308277" y="56950"/>
                  <a:pt x="297312" y="59188"/>
                </a:cubicBezTo>
                <a:moveTo>
                  <a:pt x="207688" y="64284"/>
                </a:moveTo>
                <a:cubicBezTo>
                  <a:pt x="248681" y="60632"/>
                  <a:pt x="289317" y="54812"/>
                  <a:pt x="330050" y="45606"/>
                </a:cubicBezTo>
                <a:cubicBezTo>
                  <a:pt x="327603" y="32443"/>
                  <a:pt x="323777" y="21532"/>
                  <a:pt x="317356" y="11297"/>
                </a:cubicBezTo>
                <a:cubicBezTo>
                  <a:pt x="313908" y="5803"/>
                  <a:pt x="310145" y="4465"/>
                  <a:pt x="304170" y="5545"/>
                </a:cubicBezTo>
                <a:cubicBezTo>
                  <a:pt x="294121" y="7361"/>
                  <a:pt x="284007" y="9006"/>
                  <a:pt x="273851" y="10014"/>
                </a:cubicBezTo>
                <a:cubicBezTo>
                  <a:pt x="237233" y="13650"/>
                  <a:pt x="200632" y="17661"/>
                  <a:pt x="163935" y="20274"/>
                </a:cubicBezTo>
                <a:cubicBezTo>
                  <a:pt x="115360" y="23734"/>
                  <a:pt x="66701" y="25937"/>
                  <a:pt x="17973" y="22950"/>
                </a:cubicBezTo>
                <a:cubicBezTo>
                  <a:pt x="14492" y="22737"/>
                  <a:pt x="10959" y="23361"/>
                  <a:pt x="7372" y="23601"/>
                </a:cubicBezTo>
                <a:cubicBezTo>
                  <a:pt x="7372" y="38609"/>
                  <a:pt x="7372" y="52361"/>
                  <a:pt x="7372" y="67898"/>
                </a:cubicBezTo>
                <a:cubicBezTo>
                  <a:pt x="74001" y="69806"/>
                  <a:pt x="139746" y="71025"/>
                  <a:pt x="207688" y="64284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29" name="Free-form: Shape 228">
            <a:extLst>
              <a:ext uri="{FF2B5EF4-FFF2-40B4-BE49-F238E27FC236}">
                <a16:creationId xmlns:a16="http://schemas.microsoft.com/office/drawing/2014/main" id="{A5472ED4-5759-BDDC-01F2-F4A8287158F1}"/>
              </a:ext>
            </a:extLst>
          </p:cNvPr>
          <p:cNvSpPr/>
          <p:nvPr/>
        </p:nvSpPr>
        <p:spPr>
          <a:xfrm>
            <a:off x="7476790" y="5022534"/>
            <a:ext cx="207269" cy="145956"/>
          </a:xfrm>
          <a:custGeom>
            <a:avLst/>
            <a:gdLst>
              <a:gd name="csX0" fmla="*/ 14160 w 303463"/>
              <a:gd name="csY0" fmla="*/ 7889 h 213695"/>
              <a:gd name="csX1" fmla="*/ 195033 w 303463"/>
              <a:gd name="csY1" fmla="*/ 0 h 213695"/>
              <a:gd name="csX2" fmla="*/ 197208 w 303463"/>
              <a:gd name="csY2" fmla="*/ 5635 h 213695"/>
              <a:gd name="csX3" fmla="*/ 227014 w 303463"/>
              <a:gd name="csY3" fmla="*/ 60660 h 213695"/>
              <a:gd name="csX4" fmla="*/ 265823 w 303463"/>
              <a:gd name="csY4" fmla="*/ 98217 h 213695"/>
              <a:gd name="csX5" fmla="*/ 303210 w 303463"/>
              <a:gd name="csY5" fmla="*/ 180358 h 213695"/>
              <a:gd name="csX6" fmla="*/ 303282 w 303463"/>
              <a:gd name="csY6" fmla="*/ 193964 h 213695"/>
              <a:gd name="csX7" fmla="*/ 4971 w 303463"/>
              <a:gd name="csY7" fmla="*/ 213017 h 213695"/>
              <a:gd name="csX8" fmla="*/ 5093 w 303463"/>
              <a:gd name="csY8" fmla="*/ 173484 h 213695"/>
              <a:gd name="csX9" fmla="*/ 4767 w 303463"/>
              <a:gd name="csY9" fmla="*/ 54607 h 213695"/>
              <a:gd name="csX10" fmla="*/ 0 w 303463"/>
              <a:gd name="csY10" fmla="*/ 7887 h 213695"/>
              <a:gd name="csX11" fmla="*/ 14160 w 303463"/>
              <a:gd name="csY11" fmla="*/ 7889 h 21369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303463" h="213695">
                <a:moveTo>
                  <a:pt x="14160" y="7889"/>
                </a:moveTo>
                <a:cubicBezTo>
                  <a:pt x="75371" y="8627"/>
                  <a:pt x="135292" y="5744"/>
                  <a:pt x="195033" y="0"/>
                </a:cubicBezTo>
                <a:cubicBezTo>
                  <a:pt x="196084" y="2662"/>
                  <a:pt x="196986" y="4099"/>
                  <a:pt x="197208" y="5635"/>
                </a:cubicBezTo>
                <a:cubicBezTo>
                  <a:pt x="200391" y="27650"/>
                  <a:pt x="211307" y="45450"/>
                  <a:pt x="227014" y="60660"/>
                </a:cubicBezTo>
                <a:cubicBezTo>
                  <a:pt x="239947" y="73182"/>
                  <a:pt x="253006" y="85577"/>
                  <a:pt x="265823" y="98217"/>
                </a:cubicBezTo>
                <a:cubicBezTo>
                  <a:pt x="288727" y="120806"/>
                  <a:pt x="299071" y="149215"/>
                  <a:pt x="303210" y="180358"/>
                </a:cubicBezTo>
                <a:cubicBezTo>
                  <a:pt x="303735" y="184317"/>
                  <a:pt x="303282" y="188405"/>
                  <a:pt x="303282" y="193964"/>
                </a:cubicBezTo>
                <a:cubicBezTo>
                  <a:pt x="204065" y="208804"/>
                  <a:pt x="105022" y="216044"/>
                  <a:pt x="4971" y="213017"/>
                </a:cubicBezTo>
                <a:cubicBezTo>
                  <a:pt x="4971" y="199268"/>
                  <a:pt x="4314" y="186332"/>
                  <a:pt x="5093" y="173484"/>
                </a:cubicBezTo>
                <a:cubicBezTo>
                  <a:pt x="7497" y="133835"/>
                  <a:pt x="8211" y="94216"/>
                  <a:pt x="4767" y="54607"/>
                </a:cubicBezTo>
                <a:cubicBezTo>
                  <a:pt x="3464" y="39611"/>
                  <a:pt x="1725" y="24653"/>
                  <a:pt x="0" y="7887"/>
                </a:cubicBezTo>
                <a:cubicBezTo>
                  <a:pt x="4390" y="7887"/>
                  <a:pt x="8696" y="7887"/>
                  <a:pt x="14160" y="7889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30" name="Free-form: Shape 229">
            <a:extLst>
              <a:ext uri="{FF2B5EF4-FFF2-40B4-BE49-F238E27FC236}">
                <a16:creationId xmlns:a16="http://schemas.microsoft.com/office/drawing/2014/main" id="{B41C6F97-5A21-4B25-DF62-17F7A60A17CF}"/>
              </a:ext>
            </a:extLst>
          </p:cNvPr>
          <p:cNvSpPr/>
          <p:nvPr/>
        </p:nvSpPr>
        <p:spPr>
          <a:xfrm>
            <a:off x="7479537" y="4674144"/>
            <a:ext cx="107321" cy="28231"/>
          </a:xfrm>
          <a:custGeom>
            <a:avLst/>
            <a:gdLst>
              <a:gd name="csX0" fmla="*/ 69625 w 157129"/>
              <a:gd name="csY0" fmla="*/ 0 h 41334"/>
              <a:gd name="csX1" fmla="*/ 119596 w 157129"/>
              <a:gd name="csY1" fmla="*/ 1945 h 41334"/>
              <a:gd name="csX2" fmla="*/ 150973 w 157129"/>
              <a:gd name="csY2" fmla="*/ 14889 h 41334"/>
              <a:gd name="csX3" fmla="*/ 151351 w 157129"/>
              <a:gd name="csY3" fmla="*/ 34058 h 41334"/>
              <a:gd name="csX4" fmla="*/ 133492 w 157129"/>
              <a:gd name="csY4" fmla="*/ 40697 h 41334"/>
              <a:gd name="csX5" fmla="*/ 106556 w 157129"/>
              <a:gd name="csY5" fmla="*/ 41092 h 41334"/>
              <a:gd name="csX6" fmla="*/ 13373 w 157129"/>
              <a:gd name="csY6" fmla="*/ 40708 h 41334"/>
              <a:gd name="csX7" fmla="*/ 1312 w 157129"/>
              <a:gd name="csY7" fmla="*/ 40191 h 41334"/>
              <a:gd name="csX8" fmla="*/ 3367 w 157129"/>
              <a:gd name="csY8" fmla="*/ 13162 h 41334"/>
              <a:gd name="csX9" fmla="*/ 20752 w 157129"/>
              <a:gd name="csY9" fmla="*/ 1879 h 41334"/>
              <a:gd name="csX10" fmla="*/ 52625 w 157129"/>
              <a:gd name="csY10" fmla="*/ 1332 h 41334"/>
              <a:gd name="csX11" fmla="*/ 69625 w 157129"/>
              <a:gd name="csY11" fmla="*/ 0 h 4133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157129" h="41334">
                <a:moveTo>
                  <a:pt x="69625" y="0"/>
                </a:moveTo>
                <a:cubicBezTo>
                  <a:pt x="87054" y="491"/>
                  <a:pt x="103407" y="373"/>
                  <a:pt x="119596" y="1945"/>
                </a:cubicBezTo>
                <a:cubicBezTo>
                  <a:pt x="131020" y="3055"/>
                  <a:pt x="141713" y="7767"/>
                  <a:pt x="150973" y="14889"/>
                </a:cubicBezTo>
                <a:cubicBezTo>
                  <a:pt x="158820" y="20925"/>
                  <a:pt x="159403" y="28236"/>
                  <a:pt x="151351" y="34058"/>
                </a:cubicBezTo>
                <a:cubicBezTo>
                  <a:pt x="146355" y="37671"/>
                  <a:pt x="139678" y="39910"/>
                  <a:pt x="133492" y="40697"/>
                </a:cubicBezTo>
                <a:cubicBezTo>
                  <a:pt x="124640" y="41824"/>
                  <a:pt x="115547" y="41120"/>
                  <a:pt x="106556" y="41092"/>
                </a:cubicBezTo>
                <a:cubicBezTo>
                  <a:pt x="75495" y="40996"/>
                  <a:pt x="44434" y="40872"/>
                  <a:pt x="13373" y="40708"/>
                </a:cubicBezTo>
                <a:cubicBezTo>
                  <a:pt x="9391" y="40687"/>
                  <a:pt x="5410" y="40374"/>
                  <a:pt x="1312" y="40191"/>
                </a:cubicBezTo>
                <a:cubicBezTo>
                  <a:pt x="-1416" y="30384"/>
                  <a:pt x="523" y="21512"/>
                  <a:pt x="3367" y="13162"/>
                </a:cubicBezTo>
                <a:cubicBezTo>
                  <a:pt x="5963" y="5538"/>
                  <a:pt x="12701" y="2077"/>
                  <a:pt x="20752" y="1879"/>
                </a:cubicBezTo>
                <a:cubicBezTo>
                  <a:pt x="31375" y="1617"/>
                  <a:pt x="42004" y="1647"/>
                  <a:pt x="52625" y="1332"/>
                </a:cubicBezTo>
                <a:cubicBezTo>
                  <a:pt x="57918" y="1176"/>
                  <a:pt x="63195" y="535"/>
                  <a:pt x="69625" y="0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31" name="Free-form: Shape 230">
            <a:extLst>
              <a:ext uri="{FF2B5EF4-FFF2-40B4-BE49-F238E27FC236}">
                <a16:creationId xmlns:a16="http://schemas.microsoft.com/office/drawing/2014/main" id="{69578274-C557-054C-802D-90E63E3B4C23}"/>
              </a:ext>
            </a:extLst>
          </p:cNvPr>
          <p:cNvSpPr/>
          <p:nvPr/>
        </p:nvSpPr>
        <p:spPr>
          <a:xfrm>
            <a:off x="7475718" y="4730120"/>
            <a:ext cx="112410" cy="265855"/>
          </a:xfrm>
          <a:custGeom>
            <a:avLst/>
            <a:gdLst>
              <a:gd name="csX0" fmla="*/ 91265 w 164579"/>
              <a:gd name="csY0" fmla="*/ 157878 h 389238"/>
              <a:gd name="csX1" fmla="*/ 112882 w 164579"/>
              <a:gd name="csY1" fmla="*/ 252738 h 389238"/>
              <a:gd name="csX2" fmla="*/ 164579 w 164579"/>
              <a:gd name="csY2" fmla="*/ 389238 h 389238"/>
              <a:gd name="csX3" fmla="*/ 0 w 164579"/>
              <a:gd name="csY3" fmla="*/ 389238 h 389238"/>
              <a:gd name="csX4" fmla="*/ 5184 w 164579"/>
              <a:gd name="csY4" fmla="*/ 260105 h 389238"/>
              <a:gd name="csX5" fmla="*/ 7989 w 164579"/>
              <a:gd name="csY5" fmla="*/ 131182 h 389238"/>
              <a:gd name="csX6" fmla="*/ 8093 w 164579"/>
              <a:gd name="csY6" fmla="*/ 2390 h 389238"/>
              <a:gd name="csX7" fmla="*/ 76429 w 164579"/>
              <a:gd name="csY7" fmla="*/ 1531 h 389238"/>
              <a:gd name="csX8" fmla="*/ 91265 w 164579"/>
              <a:gd name="csY8" fmla="*/ 157878 h 38923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</a:cxnLst>
            <a:rect l="l" t="t" r="r" b="b"/>
            <a:pathLst>
              <a:path w="164579" h="389238">
                <a:moveTo>
                  <a:pt x="91265" y="157878"/>
                </a:moveTo>
                <a:cubicBezTo>
                  <a:pt x="98425" y="190232"/>
                  <a:pt x="104539" y="221785"/>
                  <a:pt x="112882" y="252738"/>
                </a:cubicBezTo>
                <a:cubicBezTo>
                  <a:pt x="125498" y="299549"/>
                  <a:pt x="141482" y="345258"/>
                  <a:pt x="164579" y="389238"/>
                </a:cubicBezTo>
                <a:cubicBezTo>
                  <a:pt x="109753" y="389238"/>
                  <a:pt x="55706" y="389238"/>
                  <a:pt x="0" y="389238"/>
                </a:cubicBezTo>
                <a:cubicBezTo>
                  <a:pt x="1781" y="345633"/>
                  <a:pt x="3844" y="302880"/>
                  <a:pt x="5184" y="260105"/>
                </a:cubicBezTo>
                <a:cubicBezTo>
                  <a:pt x="6529" y="217143"/>
                  <a:pt x="7519" y="174162"/>
                  <a:pt x="7989" y="131182"/>
                </a:cubicBezTo>
                <a:cubicBezTo>
                  <a:pt x="8459" y="88239"/>
                  <a:pt x="8093" y="45287"/>
                  <a:pt x="8093" y="2390"/>
                </a:cubicBezTo>
                <a:cubicBezTo>
                  <a:pt x="17041" y="-288"/>
                  <a:pt x="58537" y="-913"/>
                  <a:pt x="76429" y="1531"/>
                </a:cubicBezTo>
                <a:cubicBezTo>
                  <a:pt x="79287" y="53276"/>
                  <a:pt x="82219" y="105359"/>
                  <a:pt x="91265" y="157878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32" name="Free-form: Shape 231">
            <a:extLst>
              <a:ext uri="{FF2B5EF4-FFF2-40B4-BE49-F238E27FC236}">
                <a16:creationId xmlns:a16="http://schemas.microsoft.com/office/drawing/2014/main" id="{F9752E80-AB6F-C0E6-5F03-58C06E5BF5CD}"/>
              </a:ext>
            </a:extLst>
          </p:cNvPr>
          <p:cNvSpPr/>
          <p:nvPr/>
        </p:nvSpPr>
        <p:spPr>
          <a:xfrm>
            <a:off x="7477718" y="5187184"/>
            <a:ext cx="220393" cy="43851"/>
          </a:xfrm>
          <a:custGeom>
            <a:avLst/>
            <a:gdLst>
              <a:gd name="csX0" fmla="*/ 199184 w 322677"/>
              <a:gd name="csY0" fmla="*/ 59136 h 64202"/>
              <a:gd name="csX1" fmla="*/ 0 w 322677"/>
              <a:gd name="csY1" fmla="*/ 62697 h 64202"/>
              <a:gd name="csX2" fmla="*/ 0 w 322677"/>
              <a:gd name="csY2" fmla="*/ 18400 h 64202"/>
              <a:gd name="csX3" fmla="*/ 10601 w 322677"/>
              <a:gd name="csY3" fmla="*/ 17750 h 64202"/>
              <a:gd name="csX4" fmla="*/ 156563 w 322677"/>
              <a:gd name="csY4" fmla="*/ 15074 h 64202"/>
              <a:gd name="csX5" fmla="*/ 266479 w 322677"/>
              <a:gd name="csY5" fmla="*/ 4814 h 64202"/>
              <a:gd name="csX6" fmla="*/ 296798 w 322677"/>
              <a:gd name="csY6" fmla="*/ 344 h 64202"/>
              <a:gd name="csX7" fmla="*/ 309983 w 322677"/>
              <a:gd name="csY7" fmla="*/ 6097 h 64202"/>
              <a:gd name="csX8" fmla="*/ 322678 w 322677"/>
              <a:gd name="csY8" fmla="*/ 40406 h 64202"/>
              <a:gd name="csX9" fmla="*/ 199184 w 322677"/>
              <a:gd name="csY9" fmla="*/ 59136 h 6420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322677" h="64202">
                <a:moveTo>
                  <a:pt x="199184" y="59136"/>
                </a:moveTo>
                <a:cubicBezTo>
                  <a:pt x="132374" y="65824"/>
                  <a:pt x="66629" y="64605"/>
                  <a:pt x="0" y="62697"/>
                </a:cubicBezTo>
                <a:cubicBezTo>
                  <a:pt x="0" y="47160"/>
                  <a:pt x="0" y="33409"/>
                  <a:pt x="0" y="18400"/>
                </a:cubicBezTo>
                <a:cubicBezTo>
                  <a:pt x="3587" y="18160"/>
                  <a:pt x="7120" y="17536"/>
                  <a:pt x="10601" y="17750"/>
                </a:cubicBezTo>
                <a:cubicBezTo>
                  <a:pt x="59329" y="20736"/>
                  <a:pt x="107987" y="18533"/>
                  <a:pt x="156563" y="15074"/>
                </a:cubicBezTo>
                <a:cubicBezTo>
                  <a:pt x="193260" y="12461"/>
                  <a:pt x="229860" y="8449"/>
                  <a:pt x="266479" y="4814"/>
                </a:cubicBezTo>
                <a:cubicBezTo>
                  <a:pt x="276635" y="3806"/>
                  <a:pt x="286748" y="2160"/>
                  <a:pt x="296798" y="344"/>
                </a:cubicBezTo>
                <a:cubicBezTo>
                  <a:pt x="302773" y="-735"/>
                  <a:pt x="306536" y="602"/>
                  <a:pt x="309983" y="6097"/>
                </a:cubicBezTo>
                <a:cubicBezTo>
                  <a:pt x="316405" y="16331"/>
                  <a:pt x="320231" y="27243"/>
                  <a:pt x="322678" y="40406"/>
                </a:cubicBezTo>
                <a:cubicBezTo>
                  <a:pt x="281944" y="49611"/>
                  <a:pt x="241309" y="55431"/>
                  <a:pt x="199184" y="59136"/>
                </a:cubicBezTo>
                <a:close/>
              </a:path>
            </a:pathLst>
          </a:custGeom>
          <a:solidFill>
            <a:schemeClr val="bg1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33" name="Free-form: Shape 232">
            <a:extLst>
              <a:ext uri="{FF2B5EF4-FFF2-40B4-BE49-F238E27FC236}">
                <a16:creationId xmlns:a16="http://schemas.microsoft.com/office/drawing/2014/main" id="{D52A5F34-645A-2EE7-B421-77DCA98D167F}"/>
              </a:ext>
            </a:extLst>
          </p:cNvPr>
          <p:cNvSpPr/>
          <p:nvPr/>
        </p:nvSpPr>
        <p:spPr>
          <a:xfrm>
            <a:off x="7558694" y="4470003"/>
            <a:ext cx="61317" cy="24570"/>
          </a:xfrm>
          <a:custGeom>
            <a:avLst/>
            <a:gdLst>
              <a:gd name="csX0" fmla="*/ 94424 w 144688"/>
              <a:gd name="csY0" fmla="*/ 9299 h 52707"/>
              <a:gd name="csX1" fmla="*/ 121261 w 144688"/>
              <a:gd name="csY1" fmla="*/ 16460 h 52707"/>
              <a:gd name="csX2" fmla="*/ 143563 w 144688"/>
              <a:gd name="csY2" fmla="*/ 43347 h 52707"/>
              <a:gd name="csX3" fmla="*/ 144689 w 144688"/>
              <a:gd name="csY3" fmla="*/ 52708 h 52707"/>
              <a:gd name="csX4" fmla="*/ 349 w 144688"/>
              <a:gd name="csY4" fmla="*/ 52708 h 52707"/>
              <a:gd name="csX5" fmla="*/ 738 w 144688"/>
              <a:gd name="csY5" fmla="*/ 572 h 52707"/>
              <a:gd name="csX6" fmla="*/ 94424 w 144688"/>
              <a:gd name="csY6" fmla="*/ 9299 h 5270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</a:cxnLst>
            <a:rect l="l" t="t" r="r" b="b"/>
            <a:pathLst>
              <a:path w="144688" h="52707">
                <a:moveTo>
                  <a:pt x="94424" y="9299"/>
                </a:moveTo>
                <a:cubicBezTo>
                  <a:pt x="104138" y="11826"/>
                  <a:pt x="112739" y="14007"/>
                  <a:pt x="121261" y="16460"/>
                </a:cubicBezTo>
                <a:cubicBezTo>
                  <a:pt x="134742" y="20340"/>
                  <a:pt x="143121" y="28544"/>
                  <a:pt x="143563" y="43347"/>
                </a:cubicBezTo>
                <a:cubicBezTo>
                  <a:pt x="143645" y="46090"/>
                  <a:pt x="144206" y="48818"/>
                  <a:pt x="144689" y="52708"/>
                </a:cubicBezTo>
                <a:cubicBezTo>
                  <a:pt x="96675" y="52708"/>
                  <a:pt x="49316" y="52708"/>
                  <a:pt x="349" y="52708"/>
                </a:cubicBezTo>
                <a:cubicBezTo>
                  <a:pt x="-379" y="35695"/>
                  <a:pt x="172" y="18742"/>
                  <a:pt x="738" y="572"/>
                </a:cubicBezTo>
                <a:cubicBezTo>
                  <a:pt x="32910" y="-1712"/>
                  <a:pt x="63133" y="3179"/>
                  <a:pt x="94424" y="9299"/>
                </a:cubicBezTo>
                <a:close/>
              </a:path>
            </a:pathLst>
          </a:custGeom>
          <a:solidFill>
            <a:srgbClr val="FBFCFB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34" name="Free-form: Shape 233">
            <a:extLst>
              <a:ext uri="{FF2B5EF4-FFF2-40B4-BE49-F238E27FC236}">
                <a16:creationId xmlns:a16="http://schemas.microsoft.com/office/drawing/2014/main" id="{481283C0-BDA8-D882-0D83-1EB66CC08D16}"/>
              </a:ext>
            </a:extLst>
          </p:cNvPr>
          <p:cNvSpPr/>
          <p:nvPr/>
        </p:nvSpPr>
        <p:spPr>
          <a:xfrm>
            <a:off x="7557211" y="4980451"/>
            <a:ext cx="149086" cy="475360"/>
          </a:xfrm>
          <a:custGeom>
            <a:avLst/>
            <a:gdLst>
              <a:gd name="csX0" fmla="*/ 0 w 351791"/>
              <a:gd name="csY0" fmla="*/ 975370 h 1019713"/>
              <a:gd name="csX1" fmla="*/ 2187 w 351791"/>
              <a:gd name="csY1" fmla="*/ 923083 h 1019713"/>
              <a:gd name="csX2" fmla="*/ 2287 w 351791"/>
              <a:gd name="csY2" fmla="*/ 897079 h 1019713"/>
              <a:gd name="csX3" fmla="*/ 2799 w 351791"/>
              <a:gd name="csY3" fmla="*/ 849144 h 1019713"/>
              <a:gd name="csX4" fmla="*/ 5052 w 351791"/>
              <a:gd name="csY4" fmla="*/ 773650 h 1019713"/>
              <a:gd name="csX5" fmla="*/ 7113 w 351791"/>
              <a:gd name="csY5" fmla="*/ 630071 h 1019713"/>
              <a:gd name="csX6" fmla="*/ 9133 w 351791"/>
              <a:gd name="csY6" fmla="*/ 528600 h 1019713"/>
              <a:gd name="csX7" fmla="*/ 9163 w 351791"/>
              <a:gd name="csY7" fmla="*/ 497413 h 1019713"/>
              <a:gd name="csX8" fmla="*/ 11812 w 351791"/>
              <a:gd name="csY8" fmla="*/ 379910 h 1019713"/>
              <a:gd name="csX9" fmla="*/ 12024 w 351791"/>
              <a:gd name="csY9" fmla="*/ 348726 h 1019713"/>
              <a:gd name="csX10" fmla="*/ 14645 w 351791"/>
              <a:gd name="csY10" fmla="*/ 239691 h 1019713"/>
              <a:gd name="csX11" fmla="*/ 14784 w 351791"/>
              <a:gd name="csY11" fmla="*/ 214091 h 1019713"/>
              <a:gd name="csX12" fmla="*/ 17570 w 351791"/>
              <a:gd name="csY12" fmla="*/ 88165 h 1019713"/>
              <a:gd name="csX13" fmla="*/ 17615 w 351791"/>
              <a:gd name="csY13" fmla="*/ 37421 h 1019713"/>
              <a:gd name="csX14" fmla="*/ 18182 w 351791"/>
              <a:gd name="csY14" fmla="*/ 15484 h 1019713"/>
              <a:gd name="csX15" fmla="*/ 22091 w 351791"/>
              <a:gd name="csY15" fmla="*/ 2787 h 1019713"/>
              <a:gd name="csX16" fmla="*/ 54703 w 351791"/>
              <a:gd name="csY16" fmla="*/ 2968 h 1019713"/>
              <a:gd name="csX17" fmla="*/ 102677 w 351791"/>
              <a:gd name="csY17" fmla="*/ 2086 h 1019713"/>
              <a:gd name="csX18" fmla="*/ 175262 w 351791"/>
              <a:gd name="csY18" fmla="*/ 0 h 1019713"/>
              <a:gd name="csX19" fmla="*/ 189022 w 351791"/>
              <a:gd name="csY19" fmla="*/ 1595 h 1019713"/>
              <a:gd name="csX20" fmla="*/ 190628 w 351791"/>
              <a:gd name="csY20" fmla="*/ 112461 h 1019713"/>
              <a:gd name="csX21" fmla="*/ 191584 w 351791"/>
              <a:gd name="csY21" fmla="*/ 129605 h 1019713"/>
              <a:gd name="csX22" fmla="*/ 193429 w 351791"/>
              <a:gd name="csY22" fmla="*/ 173943 h 1019713"/>
              <a:gd name="csX23" fmla="*/ 194215 w 351791"/>
              <a:gd name="csY23" fmla="*/ 182908 h 1019713"/>
              <a:gd name="csX24" fmla="*/ 196316 w 351791"/>
              <a:gd name="csY24" fmla="*/ 215902 h 1019713"/>
              <a:gd name="csX25" fmla="*/ 196980 w 351791"/>
              <a:gd name="csY25" fmla="*/ 222182 h 1019713"/>
              <a:gd name="csX26" fmla="*/ 198972 w 351791"/>
              <a:gd name="csY26" fmla="*/ 249680 h 1019713"/>
              <a:gd name="csX27" fmla="*/ 199949 w 351791"/>
              <a:gd name="csY27" fmla="*/ 258553 h 1019713"/>
              <a:gd name="csX28" fmla="*/ 201912 w 351791"/>
              <a:gd name="csY28" fmla="*/ 280418 h 1019713"/>
              <a:gd name="csX29" fmla="*/ 202686 w 351791"/>
              <a:gd name="csY29" fmla="*/ 286632 h 1019713"/>
              <a:gd name="csX30" fmla="*/ 204600 w 351791"/>
              <a:gd name="csY30" fmla="*/ 308453 h 1019713"/>
              <a:gd name="csX31" fmla="*/ 205443 w 351791"/>
              <a:gd name="csY31" fmla="*/ 314650 h 1019713"/>
              <a:gd name="csX32" fmla="*/ 207431 w 351791"/>
              <a:gd name="csY32" fmla="*/ 333707 h 1019713"/>
              <a:gd name="csX33" fmla="*/ 208345 w 351791"/>
              <a:gd name="csY33" fmla="*/ 339842 h 1019713"/>
              <a:gd name="csX34" fmla="*/ 210218 w 351791"/>
              <a:gd name="csY34" fmla="*/ 356144 h 1019713"/>
              <a:gd name="csX35" fmla="*/ 211157 w 351791"/>
              <a:gd name="csY35" fmla="*/ 362375 h 1019713"/>
              <a:gd name="csX36" fmla="*/ 215820 w 351791"/>
              <a:gd name="csY36" fmla="*/ 398224 h 1019713"/>
              <a:gd name="csX37" fmla="*/ 216821 w 351791"/>
              <a:gd name="csY37" fmla="*/ 404425 h 1019713"/>
              <a:gd name="csX38" fmla="*/ 224187 w 351791"/>
              <a:gd name="csY38" fmla="*/ 451440 h 1019713"/>
              <a:gd name="csX39" fmla="*/ 225295 w 351791"/>
              <a:gd name="csY39" fmla="*/ 457691 h 1019713"/>
              <a:gd name="csX40" fmla="*/ 226831 w 351791"/>
              <a:gd name="csY40" fmla="*/ 468268 h 1019713"/>
              <a:gd name="csX41" fmla="*/ 228069 w 351791"/>
              <a:gd name="csY41" fmla="*/ 474360 h 1019713"/>
              <a:gd name="csX42" fmla="*/ 229778 w 351791"/>
              <a:gd name="csY42" fmla="*/ 485181 h 1019713"/>
              <a:gd name="csX43" fmla="*/ 230932 w 351791"/>
              <a:gd name="csY43" fmla="*/ 491348 h 1019713"/>
              <a:gd name="csX44" fmla="*/ 238095 w 351791"/>
              <a:gd name="csY44" fmla="*/ 532855 h 1019713"/>
              <a:gd name="csX45" fmla="*/ 239424 w 351791"/>
              <a:gd name="csY45" fmla="*/ 539021 h 1019713"/>
              <a:gd name="csX46" fmla="*/ 252120 w 351791"/>
              <a:gd name="csY46" fmla="*/ 605725 h 1019713"/>
              <a:gd name="csX47" fmla="*/ 253460 w 351791"/>
              <a:gd name="csY47" fmla="*/ 611945 h 1019713"/>
              <a:gd name="csX48" fmla="*/ 258622 w 351791"/>
              <a:gd name="csY48" fmla="*/ 639154 h 1019713"/>
              <a:gd name="csX49" fmla="*/ 285765 w 351791"/>
              <a:gd name="csY49" fmla="*/ 762817 h 1019713"/>
              <a:gd name="csX50" fmla="*/ 287284 w 351791"/>
              <a:gd name="csY50" fmla="*/ 768970 h 1019713"/>
              <a:gd name="csX51" fmla="*/ 351792 w 351791"/>
              <a:gd name="csY51" fmla="*/ 1017474 h 1019713"/>
              <a:gd name="csX52" fmla="*/ 308062 w 351791"/>
              <a:gd name="csY52" fmla="*/ 1016918 h 1019713"/>
              <a:gd name="csX53" fmla="*/ 241358 w 351791"/>
              <a:gd name="csY53" fmla="*/ 1016276 h 1019713"/>
              <a:gd name="csX54" fmla="*/ 229231 w 351791"/>
              <a:gd name="csY54" fmla="*/ 1017881 h 1019713"/>
              <a:gd name="csX55" fmla="*/ 0 w 351791"/>
              <a:gd name="csY55" fmla="*/ 1019714 h 1019713"/>
              <a:gd name="csX56" fmla="*/ 0 w 351791"/>
              <a:gd name="csY56" fmla="*/ 975370 h 101971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</a:cxnLst>
            <a:rect l="l" t="t" r="r" b="b"/>
            <a:pathLst>
              <a:path w="351791" h="1019713">
                <a:moveTo>
                  <a:pt x="0" y="975370"/>
                </a:moveTo>
                <a:cubicBezTo>
                  <a:pt x="743" y="957941"/>
                  <a:pt x="1582" y="940516"/>
                  <a:pt x="2187" y="923083"/>
                </a:cubicBezTo>
                <a:cubicBezTo>
                  <a:pt x="2458" y="915260"/>
                  <a:pt x="2262" y="907422"/>
                  <a:pt x="2287" y="897079"/>
                </a:cubicBezTo>
                <a:cubicBezTo>
                  <a:pt x="2463" y="879425"/>
                  <a:pt x="2631" y="864284"/>
                  <a:pt x="2799" y="849144"/>
                </a:cubicBezTo>
                <a:cubicBezTo>
                  <a:pt x="3544" y="824817"/>
                  <a:pt x="4289" y="800489"/>
                  <a:pt x="5052" y="773650"/>
                </a:cubicBezTo>
                <a:cubicBezTo>
                  <a:pt x="5751" y="724115"/>
                  <a:pt x="6432" y="677093"/>
                  <a:pt x="7113" y="630071"/>
                </a:cubicBezTo>
                <a:cubicBezTo>
                  <a:pt x="7598" y="596560"/>
                  <a:pt x="8084" y="563050"/>
                  <a:pt x="9133" y="528600"/>
                </a:cubicBezTo>
                <a:cubicBezTo>
                  <a:pt x="9465" y="518010"/>
                  <a:pt x="9234" y="508360"/>
                  <a:pt x="9163" y="497413"/>
                </a:cubicBezTo>
                <a:cubicBezTo>
                  <a:pt x="9957" y="457690"/>
                  <a:pt x="10592" y="419261"/>
                  <a:pt x="11812" y="379910"/>
                </a:cubicBezTo>
                <a:cubicBezTo>
                  <a:pt x="12221" y="369334"/>
                  <a:pt x="12045" y="359680"/>
                  <a:pt x="12024" y="348726"/>
                </a:cubicBezTo>
                <a:cubicBezTo>
                  <a:pt x="12813" y="311813"/>
                  <a:pt x="13446" y="276201"/>
                  <a:pt x="14645" y="239691"/>
                </a:cubicBezTo>
                <a:cubicBezTo>
                  <a:pt x="15021" y="230992"/>
                  <a:pt x="14832" y="223190"/>
                  <a:pt x="14784" y="214091"/>
                </a:cubicBezTo>
                <a:cubicBezTo>
                  <a:pt x="15615" y="171575"/>
                  <a:pt x="16305" y="130355"/>
                  <a:pt x="17570" y="88165"/>
                </a:cubicBezTo>
                <a:cubicBezTo>
                  <a:pt x="17924" y="71015"/>
                  <a:pt x="17703" y="54835"/>
                  <a:pt x="17615" y="37421"/>
                </a:cubicBezTo>
                <a:cubicBezTo>
                  <a:pt x="17715" y="29569"/>
                  <a:pt x="17682" y="22951"/>
                  <a:pt x="18182" y="15484"/>
                </a:cubicBezTo>
                <a:cubicBezTo>
                  <a:pt x="19427" y="10639"/>
                  <a:pt x="20141" y="6642"/>
                  <a:pt x="22091" y="2787"/>
                </a:cubicBezTo>
                <a:cubicBezTo>
                  <a:pt x="33455" y="2760"/>
                  <a:pt x="43581" y="2592"/>
                  <a:pt x="54703" y="2968"/>
                </a:cubicBezTo>
                <a:cubicBezTo>
                  <a:pt x="70921" y="2997"/>
                  <a:pt x="86144" y="2480"/>
                  <a:pt x="102677" y="2086"/>
                </a:cubicBezTo>
                <a:cubicBezTo>
                  <a:pt x="127444" y="1303"/>
                  <a:pt x="150901" y="399"/>
                  <a:pt x="175262" y="0"/>
                </a:cubicBezTo>
                <a:cubicBezTo>
                  <a:pt x="180415" y="388"/>
                  <a:pt x="184664" y="270"/>
                  <a:pt x="189022" y="1595"/>
                </a:cubicBezTo>
                <a:cubicBezTo>
                  <a:pt x="189796" y="39233"/>
                  <a:pt x="190459" y="75430"/>
                  <a:pt x="190628" y="112461"/>
                </a:cubicBezTo>
                <a:cubicBezTo>
                  <a:pt x="190659" y="118310"/>
                  <a:pt x="191185" y="123324"/>
                  <a:pt x="191584" y="129605"/>
                </a:cubicBezTo>
                <a:cubicBezTo>
                  <a:pt x="192268" y="145024"/>
                  <a:pt x="193079" y="159176"/>
                  <a:pt x="193429" y="173943"/>
                </a:cubicBezTo>
                <a:cubicBezTo>
                  <a:pt x="193407" y="176938"/>
                  <a:pt x="193846" y="179318"/>
                  <a:pt x="194215" y="182908"/>
                </a:cubicBezTo>
                <a:cubicBezTo>
                  <a:pt x="195008" y="194551"/>
                  <a:pt x="195871" y="204983"/>
                  <a:pt x="196316" y="215902"/>
                </a:cubicBezTo>
                <a:cubicBezTo>
                  <a:pt x="196287" y="217918"/>
                  <a:pt x="196676" y="219447"/>
                  <a:pt x="196980" y="222182"/>
                </a:cubicBezTo>
                <a:cubicBezTo>
                  <a:pt x="197737" y="231943"/>
                  <a:pt x="198578" y="240498"/>
                  <a:pt x="198972" y="249680"/>
                </a:cubicBezTo>
                <a:cubicBezTo>
                  <a:pt x="199023" y="252674"/>
                  <a:pt x="199521" y="255040"/>
                  <a:pt x="199949" y="258553"/>
                </a:cubicBezTo>
                <a:cubicBezTo>
                  <a:pt x="200695" y="266443"/>
                  <a:pt x="201512" y="273186"/>
                  <a:pt x="201912" y="280418"/>
                </a:cubicBezTo>
                <a:cubicBezTo>
                  <a:pt x="201915" y="282431"/>
                  <a:pt x="202335" y="283954"/>
                  <a:pt x="202686" y="286632"/>
                </a:cubicBezTo>
                <a:cubicBezTo>
                  <a:pt x="203420" y="294511"/>
                  <a:pt x="204221" y="301235"/>
                  <a:pt x="204600" y="308453"/>
                </a:cubicBezTo>
                <a:cubicBezTo>
                  <a:pt x="204617" y="310478"/>
                  <a:pt x="205056" y="312010"/>
                  <a:pt x="205443" y="314650"/>
                </a:cubicBezTo>
                <a:cubicBezTo>
                  <a:pt x="206209" y="321575"/>
                  <a:pt x="207026" y="327392"/>
                  <a:pt x="207431" y="333707"/>
                </a:cubicBezTo>
                <a:cubicBezTo>
                  <a:pt x="207477" y="335726"/>
                  <a:pt x="207935" y="337248"/>
                  <a:pt x="208345" y="339842"/>
                </a:cubicBezTo>
                <a:cubicBezTo>
                  <a:pt x="209075" y="345825"/>
                  <a:pt x="209853" y="350735"/>
                  <a:pt x="210218" y="356144"/>
                </a:cubicBezTo>
                <a:cubicBezTo>
                  <a:pt x="210268" y="358165"/>
                  <a:pt x="210732" y="359689"/>
                  <a:pt x="211157" y="362375"/>
                </a:cubicBezTo>
                <a:cubicBezTo>
                  <a:pt x="212820" y="374932"/>
                  <a:pt x="214522" y="386326"/>
                  <a:pt x="215820" y="398224"/>
                </a:cubicBezTo>
                <a:cubicBezTo>
                  <a:pt x="215896" y="400245"/>
                  <a:pt x="216376" y="401761"/>
                  <a:pt x="216821" y="404425"/>
                </a:cubicBezTo>
                <a:cubicBezTo>
                  <a:pt x="219381" y="420620"/>
                  <a:pt x="221974" y="435667"/>
                  <a:pt x="224187" y="451440"/>
                </a:cubicBezTo>
                <a:cubicBezTo>
                  <a:pt x="224310" y="453633"/>
                  <a:pt x="224814" y="455099"/>
                  <a:pt x="225295" y="457691"/>
                </a:cubicBezTo>
                <a:cubicBezTo>
                  <a:pt x="225916" y="461722"/>
                  <a:pt x="226560" y="464628"/>
                  <a:pt x="226831" y="468268"/>
                </a:cubicBezTo>
                <a:cubicBezTo>
                  <a:pt x="227002" y="470469"/>
                  <a:pt x="227545" y="471935"/>
                  <a:pt x="228069" y="474360"/>
                </a:cubicBezTo>
                <a:cubicBezTo>
                  <a:pt x="228757" y="478435"/>
                  <a:pt x="229465" y="481551"/>
                  <a:pt x="229778" y="485181"/>
                </a:cubicBezTo>
                <a:cubicBezTo>
                  <a:pt x="229895" y="487205"/>
                  <a:pt x="230405" y="488717"/>
                  <a:pt x="230932" y="491348"/>
                </a:cubicBezTo>
                <a:cubicBezTo>
                  <a:pt x="233462" y="505758"/>
                  <a:pt x="235976" y="519047"/>
                  <a:pt x="238095" y="532855"/>
                </a:cubicBezTo>
                <a:cubicBezTo>
                  <a:pt x="238266" y="534884"/>
                  <a:pt x="238832" y="536393"/>
                  <a:pt x="239424" y="539021"/>
                </a:cubicBezTo>
                <a:cubicBezTo>
                  <a:pt x="243794" y="561754"/>
                  <a:pt x="248139" y="583369"/>
                  <a:pt x="252120" y="605725"/>
                </a:cubicBezTo>
                <a:cubicBezTo>
                  <a:pt x="252314" y="607922"/>
                  <a:pt x="252872" y="609379"/>
                  <a:pt x="253460" y="611945"/>
                </a:cubicBezTo>
                <a:cubicBezTo>
                  <a:pt x="255190" y="621757"/>
                  <a:pt x="256700" y="630501"/>
                  <a:pt x="258622" y="639154"/>
                </a:cubicBezTo>
                <a:cubicBezTo>
                  <a:pt x="267724" y="680139"/>
                  <a:pt x="276939" y="721098"/>
                  <a:pt x="285765" y="762817"/>
                </a:cubicBezTo>
                <a:cubicBezTo>
                  <a:pt x="286023" y="765009"/>
                  <a:pt x="286629" y="766448"/>
                  <a:pt x="287284" y="768970"/>
                </a:cubicBezTo>
                <a:cubicBezTo>
                  <a:pt x="306160" y="852474"/>
                  <a:pt x="325237" y="934833"/>
                  <a:pt x="351792" y="1017474"/>
                </a:cubicBezTo>
                <a:cubicBezTo>
                  <a:pt x="335905" y="1017474"/>
                  <a:pt x="322480" y="1017474"/>
                  <a:pt x="308062" y="1016918"/>
                </a:cubicBezTo>
                <a:cubicBezTo>
                  <a:pt x="285165" y="1016306"/>
                  <a:pt x="263261" y="1016166"/>
                  <a:pt x="241358" y="1016276"/>
                </a:cubicBezTo>
                <a:cubicBezTo>
                  <a:pt x="237751" y="1016294"/>
                  <a:pt x="234149" y="1017408"/>
                  <a:pt x="229231" y="1017881"/>
                </a:cubicBezTo>
                <a:cubicBezTo>
                  <a:pt x="152375" y="1018399"/>
                  <a:pt x="76832" y="1019051"/>
                  <a:pt x="0" y="1019714"/>
                </a:cubicBezTo>
                <a:cubicBezTo>
                  <a:pt x="0" y="1004040"/>
                  <a:pt x="0" y="989705"/>
                  <a:pt x="0" y="975370"/>
                </a:cubicBezTo>
                <a:close/>
              </a:path>
            </a:pathLst>
          </a:custGeom>
          <a:solidFill>
            <a:srgbClr val="FEFEFD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35" name="Free-form: Shape 234">
            <a:extLst>
              <a:ext uri="{FF2B5EF4-FFF2-40B4-BE49-F238E27FC236}">
                <a16:creationId xmlns:a16="http://schemas.microsoft.com/office/drawing/2014/main" id="{BA1C79AA-3858-7566-600C-DA9F863E36D4}"/>
              </a:ext>
            </a:extLst>
          </p:cNvPr>
          <p:cNvSpPr/>
          <p:nvPr/>
        </p:nvSpPr>
        <p:spPr>
          <a:xfrm>
            <a:off x="7557096" y="5492258"/>
            <a:ext cx="242745" cy="166660"/>
          </a:xfrm>
          <a:custGeom>
            <a:avLst/>
            <a:gdLst>
              <a:gd name="csX0" fmla="*/ 344821 w 572791"/>
              <a:gd name="csY0" fmla="*/ 351014 h 357509"/>
              <a:gd name="csX1" fmla="*/ 0 w 572791"/>
              <a:gd name="csY1" fmla="*/ 355669 h 357509"/>
              <a:gd name="csX2" fmla="*/ 1306 w 572791"/>
              <a:gd name="csY2" fmla="*/ 18915 h 357509"/>
              <a:gd name="csX3" fmla="*/ 12212 w 572791"/>
              <a:gd name="csY3" fmla="*/ 17740 h 357509"/>
              <a:gd name="csX4" fmla="*/ 132738 w 572791"/>
              <a:gd name="csY4" fmla="*/ 15715 h 357509"/>
              <a:gd name="csX5" fmla="*/ 364924 w 572791"/>
              <a:gd name="csY5" fmla="*/ 2198 h 357509"/>
              <a:gd name="csX6" fmla="*/ 402207 w 572791"/>
              <a:gd name="csY6" fmla="*/ 0 h 357509"/>
              <a:gd name="csX7" fmla="*/ 403816 w 572791"/>
              <a:gd name="csY7" fmla="*/ 4817 h 357509"/>
              <a:gd name="csX8" fmla="*/ 443486 w 572791"/>
              <a:gd name="csY8" fmla="*/ 95035 h 357509"/>
              <a:gd name="csX9" fmla="*/ 503695 w 572791"/>
              <a:gd name="csY9" fmla="*/ 157671 h 357509"/>
              <a:gd name="csX10" fmla="*/ 544964 w 572791"/>
              <a:gd name="csY10" fmla="*/ 208741 h 357509"/>
              <a:gd name="csX11" fmla="*/ 572752 w 572791"/>
              <a:gd name="csY11" fmla="*/ 314190 h 357509"/>
              <a:gd name="csX12" fmla="*/ 571373 w 572791"/>
              <a:gd name="csY12" fmla="*/ 324914 h 357509"/>
              <a:gd name="csX13" fmla="*/ 344821 w 572791"/>
              <a:gd name="csY13" fmla="*/ 351014 h 35750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</a:cxnLst>
            <a:rect l="l" t="t" r="r" b="b"/>
            <a:pathLst>
              <a:path w="572791" h="357509">
                <a:moveTo>
                  <a:pt x="344821" y="351014"/>
                </a:moveTo>
                <a:cubicBezTo>
                  <a:pt x="229704" y="359270"/>
                  <a:pt x="115810" y="358215"/>
                  <a:pt x="0" y="355669"/>
                </a:cubicBezTo>
                <a:cubicBezTo>
                  <a:pt x="6641" y="242789"/>
                  <a:pt x="11423" y="131403"/>
                  <a:pt x="1306" y="18915"/>
                </a:cubicBezTo>
                <a:cubicBezTo>
                  <a:pt x="5142" y="18486"/>
                  <a:pt x="8671" y="17803"/>
                  <a:pt x="12212" y="17740"/>
                </a:cubicBezTo>
                <a:cubicBezTo>
                  <a:pt x="52386" y="17019"/>
                  <a:pt x="92565" y="16532"/>
                  <a:pt x="132738" y="15715"/>
                </a:cubicBezTo>
                <a:cubicBezTo>
                  <a:pt x="210300" y="14136"/>
                  <a:pt x="287658" y="8969"/>
                  <a:pt x="364924" y="2198"/>
                </a:cubicBezTo>
                <a:cubicBezTo>
                  <a:pt x="377346" y="1110"/>
                  <a:pt x="389829" y="713"/>
                  <a:pt x="402207" y="0"/>
                </a:cubicBezTo>
                <a:cubicBezTo>
                  <a:pt x="402989" y="2261"/>
                  <a:pt x="403828" y="3543"/>
                  <a:pt x="403816" y="4817"/>
                </a:cubicBezTo>
                <a:cubicBezTo>
                  <a:pt x="403458" y="40866"/>
                  <a:pt x="420668" y="69493"/>
                  <a:pt x="443486" y="95035"/>
                </a:cubicBezTo>
                <a:cubicBezTo>
                  <a:pt x="462767" y="116618"/>
                  <a:pt x="484228" y="136244"/>
                  <a:pt x="503695" y="157671"/>
                </a:cubicBezTo>
                <a:cubicBezTo>
                  <a:pt x="518401" y="173858"/>
                  <a:pt x="532941" y="190557"/>
                  <a:pt x="544964" y="208741"/>
                </a:cubicBezTo>
                <a:cubicBezTo>
                  <a:pt x="565917" y="240429"/>
                  <a:pt x="573411" y="276430"/>
                  <a:pt x="572752" y="314190"/>
                </a:cubicBezTo>
                <a:cubicBezTo>
                  <a:pt x="572696" y="317365"/>
                  <a:pt x="571957" y="320529"/>
                  <a:pt x="571373" y="324914"/>
                </a:cubicBezTo>
                <a:cubicBezTo>
                  <a:pt x="496226" y="334583"/>
                  <a:pt x="421404" y="344621"/>
                  <a:pt x="344821" y="351014"/>
                </a:cubicBezTo>
                <a:close/>
              </a:path>
            </a:pathLst>
          </a:custGeom>
          <a:solidFill>
            <a:srgbClr val="FEFEFD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36" name="Free-form: Shape 235">
            <a:extLst>
              <a:ext uri="{FF2B5EF4-FFF2-40B4-BE49-F238E27FC236}">
                <a16:creationId xmlns:a16="http://schemas.microsoft.com/office/drawing/2014/main" id="{4527C4A7-C34F-8783-FB9A-40EB0A0752BC}"/>
              </a:ext>
            </a:extLst>
          </p:cNvPr>
          <p:cNvSpPr/>
          <p:nvPr/>
        </p:nvSpPr>
        <p:spPr>
          <a:xfrm>
            <a:off x="7556207" y="5684978"/>
            <a:ext cx="259324" cy="66477"/>
          </a:xfrm>
          <a:custGeom>
            <a:avLst/>
            <a:gdLst>
              <a:gd name="csX0" fmla="*/ 298270 w 611913"/>
              <a:gd name="csY0" fmla="*/ 29215 h 142602"/>
              <a:gd name="csX1" fmla="*/ 512796 w 611913"/>
              <a:gd name="csY1" fmla="*/ 6951 h 142602"/>
              <a:gd name="csX2" fmla="*/ 567029 w 611913"/>
              <a:gd name="csY2" fmla="*/ 256 h 142602"/>
              <a:gd name="csX3" fmla="*/ 586840 w 611913"/>
              <a:gd name="csY3" fmla="*/ 10038 h 142602"/>
              <a:gd name="csX4" fmla="*/ 593324 w 611913"/>
              <a:gd name="csY4" fmla="*/ 20837 h 142602"/>
              <a:gd name="csX5" fmla="*/ 611914 w 611913"/>
              <a:gd name="csY5" fmla="*/ 96596 h 142602"/>
              <a:gd name="csX6" fmla="*/ 598468 w 611913"/>
              <a:gd name="csY6" fmla="*/ 100799 h 142602"/>
              <a:gd name="csX7" fmla="*/ 410669 w 611913"/>
              <a:gd name="csY7" fmla="*/ 132209 h 142602"/>
              <a:gd name="csX8" fmla="*/ 125026 w 611913"/>
              <a:gd name="csY8" fmla="*/ 141814 h 142602"/>
              <a:gd name="csX9" fmla="*/ 11546 w 611913"/>
              <a:gd name="csY9" fmla="*/ 137848 h 142602"/>
              <a:gd name="csX10" fmla="*/ 0 w 611913"/>
              <a:gd name="csY10" fmla="*/ 136841 h 142602"/>
              <a:gd name="csX11" fmla="*/ 6226 w 611913"/>
              <a:gd name="csY11" fmla="*/ 34049 h 142602"/>
              <a:gd name="csX12" fmla="*/ 25148 w 611913"/>
              <a:gd name="csY12" fmla="*/ 34049 h 142602"/>
              <a:gd name="csX13" fmla="*/ 203168 w 611913"/>
              <a:gd name="csY13" fmla="*/ 33784 h 142602"/>
              <a:gd name="csX14" fmla="*/ 298270 w 611913"/>
              <a:gd name="csY14" fmla="*/ 29215 h 14260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</a:cxnLst>
            <a:rect l="l" t="t" r="r" b="b"/>
            <a:pathLst>
              <a:path w="611913" h="142602">
                <a:moveTo>
                  <a:pt x="298270" y="29215"/>
                </a:moveTo>
                <a:cubicBezTo>
                  <a:pt x="370954" y="24666"/>
                  <a:pt x="441996" y="17008"/>
                  <a:pt x="512796" y="6951"/>
                </a:cubicBezTo>
                <a:cubicBezTo>
                  <a:pt x="530827" y="4390"/>
                  <a:pt x="548992" y="2783"/>
                  <a:pt x="567029" y="256"/>
                </a:cubicBezTo>
                <a:cubicBezTo>
                  <a:pt x="576202" y="-1030"/>
                  <a:pt x="582311" y="2575"/>
                  <a:pt x="586840" y="10038"/>
                </a:cubicBezTo>
                <a:cubicBezTo>
                  <a:pt x="589020" y="13630"/>
                  <a:pt x="591618" y="17033"/>
                  <a:pt x="593324" y="20837"/>
                </a:cubicBezTo>
                <a:cubicBezTo>
                  <a:pt x="603952" y="44539"/>
                  <a:pt x="608111" y="69801"/>
                  <a:pt x="611914" y="96596"/>
                </a:cubicBezTo>
                <a:cubicBezTo>
                  <a:pt x="607052" y="98130"/>
                  <a:pt x="602824" y="99720"/>
                  <a:pt x="598468" y="100799"/>
                </a:cubicBezTo>
                <a:cubicBezTo>
                  <a:pt x="536680" y="116108"/>
                  <a:pt x="473961" y="125773"/>
                  <a:pt x="410669" y="132209"/>
                </a:cubicBezTo>
                <a:cubicBezTo>
                  <a:pt x="315660" y="141870"/>
                  <a:pt x="220411" y="144010"/>
                  <a:pt x="125026" y="141814"/>
                </a:cubicBezTo>
                <a:cubicBezTo>
                  <a:pt x="87189" y="140943"/>
                  <a:pt x="49371" y="139223"/>
                  <a:pt x="11546" y="137848"/>
                </a:cubicBezTo>
                <a:cubicBezTo>
                  <a:pt x="8331" y="137731"/>
                  <a:pt x="5128" y="137299"/>
                  <a:pt x="0" y="136841"/>
                </a:cubicBezTo>
                <a:cubicBezTo>
                  <a:pt x="917" y="102718"/>
                  <a:pt x="4600" y="69125"/>
                  <a:pt x="6226" y="34049"/>
                </a:cubicBezTo>
                <a:cubicBezTo>
                  <a:pt x="13237" y="34049"/>
                  <a:pt x="19192" y="34051"/>
                  <a:pt x="25148" y="34049"/>
                </a:cubicBezTo>
                <a:cubicBezTo>
                  <a:pt x="84488" y="34030"/>
                  <a:pt x="143836" y="34519"/>
                  <a:pt x="203168" y="33784"/>
                </a:cubicBezTo>
                <a:cubicBezTo>
                  <a:pt x="234447" y="33397"/>
                  <a:pt x="265701" y="30872"/>
                  <a:pt x="298270" y="29215"/>
                </a:cubicBezTo>
                <a:close/>
              </a:path>
            </a:pathLst>
          </a:custGeom>
          <a:solidFill>
            <a:srgbClr val="FEFDFB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37" name="Free-form: Shape 236">
            <a:extLst>
              <a:ext uri="{FF2B5EF4-FFF2-40B4-BE49-F238E27FC236}">
                <a16:creationId xmlns:a16="http://schemas.microsoft.com/office/drawing/2014/main" id="{A113FE78-1EAF-B483-0F9B-42C00152C2C2}"/>
              </a:ext>
            </a:extLst>
          </p:cNvPr>
          <p:cNvSpPr/>
          <p:nvPr/>
        </p:nvSpPr>
        <p:spPr>
          <a:xfrm>
            <a:off x="7565097" y="4918059"/>
            <a:ext cx="130728" cy="33077"/>
          </a:xfrm>
          <a:custGeom>
            <a:avLst/>
            <a:gdLst>
              <a:gd name="csX0" fmla="*/ 113686 w 308472"/>
              <a:gd name="csY0" fmla="*/ 4708 h 70954"/>
              <a:gd name="csX1" fmla="*/ 238304 w 308472"/>
              <a:gd name="csY1" fmla="*/ 79 h 70954"/>
              <a:gd name="csX2" fmla="*/ 293684 w 308472"/>
              <a:gd name="csY2" fmla="*/ 16423 h 70954"/>
              <a:gd name="csX3" fmla="*/ 308469 w 308472"/>
              <a:gd name="csY3" fmla="*/ 46566 h 70954"/>
              <a:gd name="csX4" fmla="*/ 296679 w 308472"/>
              <a:gd name="csY4" fmla="*/ 60539 h 70954"/>
              <a:gd name="csX5" fmla="*/ 281393 w 308472"/>
              <a:gd name="csY5" fmla="*/ 62359 h 70954"/>
              <a:gd name="csX6" fmla="*/ 13891 w 308472"/>
              <a:gd name="csY6" fmla="*/ 70892 h 70954"/>
              <a:gd name="csX7" fmla="*/ 0 w 308472"/>
              <a:gd name="csY7" fmla="*/ 70909 h 70954"/>
              <a:gd name="csX8" fmla="*/ 4414 w 308472"/>
              <a:gd name="csY8" fmla="*/ 8877 h 70954"/>
              <a:gd name="csX9" fmla="*/ 59085 w 308472"/>
              <a:gd name="csY9" fmla="*/ 6769 h 70954"/>
              <a:gd name="csX10" fmla="*/ 113686 w 308472"/>
              <a:gd name="csY10" fmla="*/ 4708 h 7095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</a:cxnLst>
            <a:rect l="l" t="t" r="r" b="b"/>
            <a:pathLst>
              <a:path w="308472" h="70954">
                <a:moveTo>
                  <a:pt x="113686" y="4708"/>
                </a:moveTo>
                <a:cubicBezTo>
                  <a:pt x="156156" y="3151"/>
                  <a:pt x="197235" y="1744"/>
                  <a:pt x="238304" y="79"/>
                </a:cubicBezTo>
                <a:cubicBezTo>
                  <a:pt x="258693" y="-748"/>
                  <a:pt x="277061" y="4922"/>
                  <a:pt x="293684" y="16423"/>
                </a:cubicBezTo>
                <a:cubicBezTo>
                  <a:pt x="304119" y="23641"/>
                  <a:pt x="308615" y="34077"/>
                  <a:pt x="308469" y="46566"/>
                </a:cubicBezTo>
                <a:cubicBezTo>
                  <a:pt x="308355" y="56359"/>
                  <a:pt x="306312" y="58808"/>
                  <a:pt x="296679" y="60539"/>
                </a:cubicBezTo>
                <a:cubicBezTo>
                  <a:pt x="291635" y="61446"/>
                  <a:pt x="286506" y="62192"/>
                  <a:pt x="281393" y="62359"/>
                </a:cubicBezTo>
                <a:cubicBezTo>
                  <a:pt x="192228" y="65269"/>
                  <a:pt x="103059" y="68083"/>
                  <a:pt x="13891" y="70892"/>
                </a:cubicBezTo>
                <a:cubicBezTo>
                  <a:pt x="9772" y="71022"/>
                  <a:pt x="5645" y="70909"/>
                  <a:pt x="0" y="70909"/>
                </a:cubicBezTo>
                <a:cubicBezTo>
                  <a:pt x="1487" y="50015"/>
                  <a:pt x="2892" y="30265"/>
                  <a:pt x="4414" y="8877"/>
                </a:cubicBezTo>
                <a:cubicBezTo>
                  <a:pt x="23034" y="7159"/>
                  <a:pt x="41075" y="7283"/>
                  <a:pt x="59085" y="6769"/>
                </a:cubicBezTo>
                <a:cubicBezTo>
                  <a:pt x="76825" y="6262"/>
                  <a:pt x="94556" y="5438"/>
                  <a:pt x="113686" y="4708"/>
                </a:cubicBezTo>
                <a:close/>
              </a:path>
            </a:pathLst>
          </a:custGeom>
          <a:solidFill>
            <a:srgbClr val="FEFDFB"/>
          </a:solidFill>
          <a:ln w="1401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38" name="Free-form: Shape 237">
            <a:extLst>
              <a:ext uri="{FF2B5EF4-FFF2-40B4-BE49-F238E27FC236}">
                <a16:creationId xmlns:a16="http://schemas.microsoft.com/office/drawing/2014/main" id="{E1F0F1B2-2878-870E-AF5F-5EE9A0DDB412}"/>
              </a:ext>
            </a:extLst>
          </p:cNvPr>
          <p:cNvSpPr/>
          <p:nvPr/>
        </p:nvSpPr>
        <p:spPr>
          <a:xfrm>
            <a:off x="7557254" y="4517692"/>
            <a:ext cx="162064" cy="275701"/>
          </a:xfrm>
          <a:custGeom>
            <a:avLst/>
            <a:gdLst>
              <a:gd name="csX0" fmla="*/ 14188 w 382415"/>
              <a:gd name="csY0" fmla="*/ 447946 h 591415"/>
              <a:gd name="csX1" fmla="*/ 12298 w 382415"/>
              <a:gd name="csY1" fmla="*/ 381038 h 591415"/>
              <a:gd name="csX2" fmla="*/ 11200 w 382415"/>
              <a:gd name="csY2" fmla="*/ 363835 h 591415"/>
              <a:gd name="csX3" fmla="*/ 9378 w 382415"/>
              <a:gd name="csY3" fmla="*/ 305508 h 591415"/>
              <a:gd name="csX4" fmla="*/ 8516 w 382415"/>
              <a:gd name="csY4" fmla="*/ 296482 h 591415"/>
              <a:gd name="csX5" fmla="*/ 6728 w 382415"/>
              <a:gd name="csY5" fmla="*/ 223958 h 591415"/>
              <a:gd name="csX6" fmla="*/ 5645 w 382415"/>
              <a:gd name="csY6" fmla="*/ 206735 h 591415"/>
              <a:gd name="csX7" fmla="*/ 3964 w 382415"/>
              <a:gd name="csY7" fmla="*/ 137053 h 591415"/>
              <a:gd name="csX8" fmla="*/ 2902 w 382415"/>
              <a:gd name="csY8" fmla="*/ 122565 h 591415"/>
              <a:gd name="csX9" fmla="*/ 1011 w 382415"/>
              <a:gd name="csY9" fmla="*/ 47301 h 591415"/>
              <a:gd name="csX10" fmla="*/ 20 w 382415"/>
              <a:gd name="csY10" fmla="*/ 32821 h 591415"/>
              <a:gd name="csX11" fmla="*/ 512 w 382415"/>
              <a:gd name="csY11" fmla="*/ 4394 h 591415"/>
              <a:gd name="csX12" fmla="*/ 2417 w 382415"/>
              <a:gd name="csY12" fmla="*/ 1592 h 591415"/>
              <a:gd name="csX13" fmla="*/ 115794 w 382415"/>
              <a:gd name="csY13" fmla="*/ 4 h 591415"/>
              <a:gd name="csX14" fmla="*/ 162265 w 382415"/>
              <a:gd name="csY14" fmla="*/ 2117 h 591415"/>
              <a:gd name="csX15" fmla="*/ 168630 w 382415"/>
              <a:gd name="csY15" fmla="*/ 1773 h 591415"/>
              <a:gd name="csX16" fmla="*/ 314663 w 382415"/>
              <a:gd name="csY16" fmla="*/ 18731 h 591415"/>
              <a:gd name="csX17" fmla="*/ 367127 w 382415"/>
              <a:gd name="csY17" fmla="*/ 32924 h 591415"/>
              <a:gd name="csX18" fmla="*/ 382384 w 382415"/>
              <a:gd name="csY18" fmla="*/ 56466 h 591415"/>
              <a:gd name="csX19" fmla="*/ 368394 w 382415"/>
              <a:gd name="csY19" fmla="*/ 120544 h 591415"/>
              <a:gd name="csX20" fmla="*/ 314675 w 382415"/>
              <a:gd name="csY20" fmla="*/ 270961 h 591415"/>
              <a:gd name="csX21" fmla="*/ 213644 w 382415"/>
              <a:gd name="csY21" fmla="*/ 563667 h 591415"/>
              <a:gd name="csX22" fmla="*/ 205897 w 382415"/>
              <a:gd name="csY22" fmla="*/ 585758 h 591415"/>
              <a:gd name="csX23" fmla="*/ 138249 w 382415"/>
              <a:gd name="csY23" fmla="*/ 587362 h 591415"/>
              <a:gd name="csX24" fmla="*/ 118197 w 382415"/>
              <a:gd name="csY24" fmla="*/ 588344 h 591415"/>
              <a:gd name="csX25" fmla="*/ 59707 w 382415"/>
              <a:gd name="csY25" fmla="*/ 590000 h 591415"/>
              <a:gd name="csX26" fmla="*/ 42516 w 382415"/>
              <a:gd name="csY26" fmla="*/ 591416 h 591415"/>
              <a:gd name="csX27" fmla="*/ 20811 w 382415"/>
              <a:gd name="csY27" fmla="*/ 591416 h 591415"/>
              <a:gd name="csX28" fmla="*/ 17902 w 382415"/>
              <a:gd name="csY28" fmla="*/ 546518 h 591415"/>
              <a:gd name="csX29" fmla="*/ 16779 w 382415"/>
              <a:gd name="csY29" fmla="*/ 526538 h 591415"/>
              <a:gd name="csX30" fmla="*/ 15163 w 382415"/>
              <a:gd name="csY30" fmla="*/ 459741 h 591415"/>
              <a:gd name="csX31" fmla="*/ 14188 w 382415"/>
              <a:gd name="csY31" fmla="*/ 447946 h 59141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</a:cxnLst>
            <a:rect l="l" t="t" r="r" b="b"/>
            <a:pathLst>
              <a:path w="382415" h="591415">
                <a:moveTo>
                  <a:pt x="14188" y="447946"/>
                </a:moveTo>
                <a:cubicBezTo>
                  <a:pt x="13448" y="426344"/>
                  <a:pt x="12708" y="404741"/>
                  <a:pt x="12298" y="381038"/>
                </a:cubicBezTo>
                <a:cubicBezTo>
                  <a:pt x="12152" y="373904"/>
                  <a:pt x="11676" y="368869"/>
                  <a:pt x="11200" y="363835"/>
                </a:cubicBezTo>
                <a:cubicBezTo>
                  <a:pt x="10498" y="345020"/>
                  <a:pt x="9796" y="326206"/>
                  <a:pt x="9378" y="305508"/>
                </a:cubicBezTo>
                <a:cubicBezTo>
                  <a:pt x="9280" y="301244"/>
                  <a:pt x="8898" y="298863"/>
                  <a:pt x="8516" y="296482"/>
                </a:cubicBezTo>
                <a:cubicBezTo>
                  <a:pt x="7809" y="273008"/>
                  <a:pt x="7102" y="249535"/>
                  <a:pt x="6728" y="223958"/>
                </a:cubicBezTo>
                <a:cubicBezTo>
                  <a:pt x="6589" y="216815"/>
                  <a:pt x="6117" y="211775"/>
                  <a:pt x="5645" y="206735"/>
                </a:cubicBezTo>
                <a:cubicBezTo>
                  <a:pt x="4976" y="184187"/>
                  <a:pt x="4307" y="161639"/>
                  <a:pt x="3964" y="137053"/>
                </a:cubicBezTo>
                <a:cubicBezTo>
                  <a:pt x="3828" y="130865"/>
                  <a:pt x="3365" y="126715"/>
                  <a:pt x="2902" y="122565"/>
                </a:cubicBezTo>
                <a:cubicBezTo>
                  <a:pt x="2158" y="98167"/>
                  <a:pt x="1414" y="73768"/>
                  <a:pt x="1011" y="47301"/>
                </a:cubicBezTo>
                <a:cubicBezTo>
                  <a:pt x="908" y="41095"/>
                  <a:pt x="464" y="36958"/>
                  <a:pt x="20" y="32821"/>
                </a:cubicBezTo>
                <a:cubicBezTo>
                  <a:pt x="-19" y="23766"/>
                  <a:pt x="-59" y="14711"/>
                  <a:pt x="512" y="4394"/>
                </a:cubicBezTo>
                <a:cubicBezTo>
                  <a:pt x="1883" y="2894"/>
                  <a:pt x="2314" y="2381"/>
                  <a:pt x="2417" y="1592"/>
                </a:cubicBezTo>
                <a:cubicBezTo>
                  <a:pt x="40209" y="1024"/>
                  <a:pt x="78000" y="223"/>
                  <a:pt x="115794" y="4"/>
                </a:cubicBezTo>
                <a:cubicBezTo>
                  <a:pt x="130708" y="-82"/>
                  <a:pt x="145630" y="1128"/>
                  <a:pt x="162265" y="2117"/>
                </a:cubicBezTo>
                <a:cubicBezTo>
                  <a:pt x="165531" y="2247"/>
                  <a:pt x="167081" y="2010"/>
                  <a:pt x="168630" y="1773"/>
                </a:cubicBezTo>
                <a:cubicBezTo>
                  <a:pt x="217325" y="7297"/>
                  <a:pt x="266121" y="12088"/>
                  <a:pt x="314663" y="18731"/>
                </a:cubicBezTo>
                <a:cubicBezTo>
                  <a:pt x="332471" y="21168"/>
                  <a:pt x="349777" y="27666"/>
                  <a:pt x="367127" y="32924"/>
                </a:cubicBezTo>
                <a:cubicBezTo>
                  <a:pt x="378391" y="36339"/>
                  <a:pt x="382842" y="44413"/>
                  <a:pt x="382384" y="56466"/>
                </a:cubicBezTo>
                <a:cubicBezTo>
                  <a:pt x="381538" y="78749"/>
                  <a:pt x="375716" y="99822"/>
                  <a:pt x="368394" y="120544"/>
                </a:cubicBezTo>
                <a:cubicBezTo>
                  <a:pt x="350655" y="170742"/>
                  <a:pt x="332173" y="220680"/>
                  <a:pt x="314675" y="270961"/>
                </a:cubicBezTo>
                <a:cubicBezTo>
                  <a:pt x="280751" y="368444"/>
                  <a:pt x="247300" y="466091"/>
                  <a:pt x="213644" y="563667"/>
                </a:cubicBezTo>
                <a:cubicBezTo>
                  <a:pt x="211232" y="570661"/>
                  <a:pt x="208750" y="577629"/>
                  <a:pt x="205897" y="585758"/>
                </a:cubicBezTo>
                <a:cubicBezTo>
                  <a:pt x="184079" y="586417"/>
                  <a:pt x="162247" y="587077"/>
                  <a:pt x="138249" y="587362"/>
                </a:cubicBezTo>
                <a:cubicBezTo>
                  <a:pt x="130120" y="587439"/>
                  <a:pt x="124159" y="587891"/>
                  <a:pt x="118197" y="588344"/>
                </a:cubicBezTo>
                <a:cubicBezTo>
                  <a:pt x="99397" y="589004"/>
                  <a:pt x="80596" y="589663"/>
                  <a:pt x="59707" y="590000"/>
                </a:cubicBezTo>
                <a:cubicBezTo>
                  <a:pt x="52584" y="590258"/>
                  <a:pt x="47550" y="590837"/>
                  <a:pt x="42516" y="591416"/>
                </a:cubicBezTo>
                <a:cubicBezTo>
                  <a:pt x="35565" y="591416"/>
                  <a:pt x="28614" y="591416"/>
                  <a:pt x="20811" y="591416"/>
                </a:cubicBezTo>
                <a:cubicBezTo>
                  <a:pt x="16891" y="577297"/>
                  <a:pt x="18678" y="562841"/>
                  <a:pt x="17902" y="546518"/>
                </a:cubicBezTo>
                <a:cubicBezTo>
                  <a:pt x="17764" y="538425"/>
                  <a:pt x="17271" y="532482"/>
                  <a:pt x="16779" y="526538"/>
                </a:cubicBezTo>
                <a:cubicBezTo>
                  <a:pt x="16131" y="504937"/>
                  <a:pt x="15482" y="483336"/>
                  <a:pt x="15163" y="459741"/>
                </a:cubicBezTo>
                <a:cubicBezTo>
                  <a:pt x="15057" y="454480"/>
                  <a:pt x="14622" y="451213"/>
                  <a:pt x="14188" y="447946"/>
                </a:cubicBezTo>
                <a:close/>
              </a:path>
            </a:pathLst>
          </a:custGeom>
          <a:solidFill>
            <a:srgbClr val="FEFEFD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39" name="Free-form: Shape 238">
            <a:extLst>
              <a:ext uri="{FF2B5EF4-FFF2-40B4-BE49-F238E27FC236}">
                <a16:creationId xmlns:a16="http://schemas.microsoft.com/office/drawing/2014/main" id="{3688D54E-9825-E4E8-DD91-5A858AC40A86}"/>
              </a:ext>
            </a:extLst>
          </p:cNvPr>
          <p:cNvSpPr/>
          <p:nvPr/>
        </p:nvSpPr>
        <p:spPr>
          <a:xfrm>
            <a:off x="7565442" y="4828404"/>
            <a:ext cx="100308" cy="62743"/>
          </a:xfrm>
          <a:custGeom>
            <a:avLst/>
            <a:gdLst>
              <a:gd name="csX0" fmla="*/ 105130 w 236692"/>
              <a:gd name="csY0" fmla="*/ 130054 h 134592"/>
              <a:gd name="csX1" fmla="*/ 4609 w 236692"/>
              <a:gd name="csY1" fmla="*/ 134592 h 134592"/>
              <a:gd name="csX2" fmla="*/ 3775 w 236692"/>
              <a:gd name="csY2" fmla="*/ 121667 h 134592"/>
              <a:gd name="csX3" fmla="*/ 3868 w 236692"/>
              <a:gd name="csY3" fmla="*/ 51573 h 134592"/>
              <a:gd name="csX4" fmla="*/ 0 w 236692"/>
              <a:gd name="csY4" fmla="*/ 9673 h 134592"/>
              <a:gd name="csX5" fmla="*/ 184850 w 236692"/>
              <a:gd name="csY5" fmla="*/ 471 h 134592"/>
              <a:gd name="csX6" fmla="*/ 185564 w 236692"/>
              <a:gd name="csY6" fmla="*/ 15071 h 134592"/>
              <a:gd name="csX7" fmla="*/ 204819 w 236692"/>
              <a:gd name="csY7" fmla="*/ 54944 h 134592"/>
              <a:gd name="csX8" fmla="*/ 236693 w 236692"/>
              <a:gd name="csY8" fmla="*/ 123534 h 134592"/>
              <a:gd name="csX9" fmla="*/ 170865 w 236692"/>
              <a:gd name="csY9" fmla="*/ 126995 h 134592"/>
              <a:gd name="csX10" fmla="*/ 105130 w 236692"/>
              <a:gd name="csY10" fmla="*/ 130054 h 13459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</a:cxnLst>
            <a:rect l="l" t="t" r="r" b="b"/>
            <a:pathLst>
              <a:path w="236692" h="134592">
                <a:moveTo>
                  <a:pt x="105130" y="130054"/>
                </a:moveTo>
                <a:cubicBezTo>
                  <a:pt x="71180" y="131586"/>
                  <a:pt x="38558" y="133059"/>
                  <a:pt x="4609" y="134592"/>
                </a:cubicBezTo>
                <a:cubicBezTo>
                  <a:pt x="4277" y="129680"/>
                  <a:pt x="3770" y="125673"/>
                  <a:pt x="3775" y="121667"/>
                </a:cubicBezTo>
                <a:cubicBezTo>
                  <a:pt x="3800" y="98301"/>
                  <a:pt x="4430" y="74923"/>
                  <a:pt x="3868" y="51573"/>
                </a:cubicBezTo>
                <a:cubicBezTo>
                  <a:pt x="3536" y="37759"/>
                  <a:pt x="1384" y="23989"/>
                  <a:pt x="0" y="9673"/>
                </a:cubicBezTo>
                <a:cubicBezTo>
                  <a:pt x="9728" y="5925"/>
                  <a:pt x="156314" y="-2008"/>
                  <a:pt x="184850" y="471"/>
                </a:cubicBezTo>
                <a:cubicBezTo>
                  <a:pt x="185096" y="5177"/>
                  <a:pt x="185626" y="10128"/>
                  <a:pt x="185564" y="15071"/>
                </a:cubicBezTo>
                <a:cubicBezTo>
                  <a:pt x="185359" y="31609"/>
                  <a:pt x="191283" y="44787"/>
                  <a:pt x="204819" y="54944"/>
                </a:cubicBezTo>
                <a:cubicBezTo>
                  <a:pt x="227073" y="71641"/>
                  <a:pt x="235149" y="95272"/>
                  <a:pt x="236693" y="123534"/>
                </a:cubicBezTo>
                <a:cubicBezTo>
                  <a:pt x="214423" y="127191"/>
                  <a:pt x="192555" y="125928"/>
                  <a:pt x="170865" y="126995"/>
                </a:cubicBezTo>
                <a:cubicBezTo>
                  <a:pt x="149400" y="128051"/>
                  <a:pt x="127929" y="128999"/>
                  <a:pt x="105130" y="130054"/>
                </a:cubicBezTo>
                <a:close/>
              </a:path>
            </a:pathLst>
          </a:custGeom>
          <a:solidFill>
            <a:srgbClr val="FEFDFB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40" name="Free-form: Shape 239">
            <a:extLst>
              <a:ext uri="{FF2B5EF4-FFF2-40B4-BE49-F238E27FC236}">
                <a16:creationId xmlns:a16="http://schemas.microsoft.com/office/drawing/2014/main" id="{B83D5403-BBB6-79B7-6117-B7A8BE5C066D}"/>
              </a:ext>
            </a:extLst>
          </p:cNvPr>
          <p:cNvSpPr/>
          <p:nvPr/>
        </p:nvSpPr>
        <p:spPr>
          <a:xfrm>
            <a:off x="2562825" y="4505549"/>
            <a:ext cx="593502" cy="1281815"/>
          </a:xfrm>
          <a:custGeom>
            <a:avLst/>
            <a:gdLst>
              <a:gd name="csX0" fmla="*/ 576414 w 768725"/>
              <a:gd name="csY0" fmla="*/ 893042 h 1509319"/>
              <a:gd name="csX1" fmla="*/ 613047 w 768725"/>
              <a:gd name="csY1" fmla="*/ 1059329 h 1509319"/>
              <a:gd name="csX2" fmla="*/ 623337 w 768725"/>
              <a:gd name="csY2" fmla="*/ 1071825 h 1509319"/>
              <a:gd name="csX3" fmla="*/ 639863 w 768725"/>
              <a:gd name="csY3" fmla="*/ 1079946 h 1509319"/>
              <a:gd name="csX4" fmla="*/ 652266 w 768725"/>
              <a:gd name="csY4" fmla="*/ 1109045 h 1509319"/>
              <a:gd name="csX5" fmla="*/ 645501 w 768725"/>
              <a:gd name="csY5" fmla="*/ 1127466 h 1509319"/>
              <a:gd name="csX6" fmla="*/ 645547 w 768725"/>
              <a:gd name="csY6" fmla="*/ 1144138 h 1509319"/>
              <a:gd name="csX7" fmla="*/ 664589 w 768725"/>
              <a:gd name="csY7" fmla="*/ 1175322 h 1509319"/>
              <a:gd name="csX8" fmla="*/ 712015 w 768725"/>
              <a:gd name="csY8" fmla="*/ 1225118 h 1509319"/>
              <a:gd name="csX9" fmla="*/ 744465 w 768725"/>
              <a:gd name="csY9" fmla="*/ 1300385 h 1509319"/>
              <a:gd name="csX10" fmla="*/ 743270 w 768725"/>
              <a:gd name="csY10" fmla="*/ 1350524 h 1509319"/>
              <a:gd name="csX11" fmla="*/ 745429 w 768725"/>
              <a:gd name="csY11" fmla="*/ 1363274 h 1509319"/>
              <a:gd name="csX12" fmla="*/ 768672 w 768725"/>
              <a:gd name="csY12" fmla="*/ 1456512 h 1509319"/>
              <a:gd name="csX13" fmla="*/ 758521 w 768725"/>
              <a:gd name="csY13" fmla="*/ 1472434 h 1509319"/>
              <a:gd name="csX14" fmla="*/ 730455 w 768725"/>
              <a:gd name="csY14" fmla="*/ 1481228 h 1509319"/>
              <a:gd name="csX15" fmla="*/ 594867 w 768725"/>
              <a:gd name="csY15" fmla="*/ 1502210 h 1509319"/>
              <a:gd name="csX16" fmla="*/ 320018 w 768725"/>
              <a:gd name="csY16" fmla="*/ 1508300 h 1509319"/>
              <a:gd name="csX17" fmla="*/ 186464 w 768725"/>
              <a:gd name="csY17" fmla="*/ 1501258 h 1509319"/>
              <a:gd name="csX18" fmla="*/ 26582 w 768725"/>
              <a:gd name="csY18" fmla="*/ 1477021 h 1509319"/>
              <a:gd name="csX19" fmla="*/ 3929 w 768725"/>
              <a:gd name="csY19" fmla="*/ 1465652 h 1509319"/>
              <a:gd name="csX20" fmla="*/ 18 w 768725"/>
              <a:gd name="csY20" fmla="*/ 1456203 h 1509319"/>
              <a:gd name="csX21" fmla="*/ 4393 w 768725"/>
              <a:gd name="csY21" fmla="*/ 1417235 h 1509319"/>
              <a:gd name="csX22" fmla="*/ 19158 w 768725"/>
              <a:gd name="csY22" fmla="*/ 1370678 h 1509319"/>
              <a:gd name="csX23" fmla="*/ 23255 w 768725"/>
              <a:gd name="csY23" fmla="*/ 1342388 h 1509319"/>
              <a:gd name="csX24" fmla="*/ 38705 w 768725"/>
              <a:gd name="csY24" fmla="*/ 1247261 h 1509319"/>
              <a:gd name="csX25" fmla="*/ 58454 w 768725"/>
              <a:gd name="csY25" fmla="*/ 1220807 h 1509319"/>
              <a:gd name="csX26" fmla="*/ 103638 w 768725"/>
              <a:gd name="csY26" fmla="*/ 1175667 h 1509319"/>
              <a:gd name="csX27" fmla="*/ 122996 w 768725"/>
              <a:gd name="csY27" fmla="*/ 1146131 h 1509319"/>
              <a:gd name="csX28" fmla="*/ 122689 w 768725"/>
              <a:gd name="csY28" fmla="*/ 1128316 h 1509319"/>
              <a:gd name="csX29" fmla="*/ 116576 w 768725"/>
              <a:gd name="csY29" fmla="*/ 1113575 h 1509319"/>
              <a:gd name="csX30" fmla="*/ 127479 w 768725"/>
              <a:gd name="csY30" fmla="*/ 1081076 h 1509319"/>
              <a:gd name="csX31" fmla="*/ 137480 w 768725"/>
              <a:gd name="csY31" fmla="*/ 1076482 h 1509319"/>
              <a:gd name="csX32" fmla="*/ 157312 w 768725"/>
              <a:gd name="csY32" fmla="*/ 1053855 h 1509319"/>
              <a:gd name="csX33" fmla="*/ 178876 w 768725"/>
              <a:gd name="csY33" fmla="*/ 958120 h 1509319"/>
              <a:gd name="csX34" fmla="*/ 210165 w 768725"/>
              <a:gd name="csY34" fmla="*/ 781849 h 1509319"/>
              <a:gd name="csX35" fmla="*/ 223295 w 768725"/>
              <a:gd name="csY35" fmla="*/ 674755 h 1509319"/>
              <a:gd name="csX36" fmla="*/ 231121 w 768725"/>
              <a:gd name="csY36" fmla="*/ 564636 h 1509319"/>
              <a:gd name="csX37" fmla="*/ 235173 w 768725"/>
              <a:gd name="csY37" fmla="*/ 453038 h 1509319"/>
              <a:gd name="csX38" fmla="*/ 235001 w 768725"/>
              <a:gd name="csY38" fmla="*/ 443215 h 1509319"/>
              <a:gd name="csX39" fmla="*/ 224321 w 768725"/>
              <a:gd name="csY39" fmla="*/ 428479 h 1509319"/>
              <a:gd name="csX40" fmla="*/ 204712 w 768725"/>
              <a:gd name="csY40" fmla="*/ 418450 h 1509319"/>
              <a:gd name="csX41" fmla="*/ 184069 w 768725"/>
              <a:gd name="csY41" fmla="*/ 366060 h 1509319"/>
              <a:gd name="csX42" fmla="*/ 206519 w 768725"/>
              <a:gd name="csY42" fmla="*/ 338181 h 1509319"/>
              <a:gd name="csX43" fmla="*/ 226643 w 768725"/>
              <a:gd name="csY43" fmla="*/ 329113 h 1509319"/>
              <a:gd name="csX44" fmla="*/ 232085 w 768725"/>
              <a:gd name="csY44" fmla="*/ 311135 h 1509319"/>
              <a:gd name="csX45" fmla="*/ 221280 w 768725"/>
              <a:gd name="csY45" fmla="*/ 299552 h 1509319"/>
              <a:gd name="csX46" fmla="*/ 173478 w 768725"/>
              <a:gd name="csY46" fmla="*/ 230303 h 1509319"/>
              <a:gd name="csX47" fmla="*/ 141864 w 768725"/>
              <a:gd name="csY47" fmla="*/ 95780 h 1509319"/>
              <a:gd name="csX48" fmla="*/ 137158 w 768725"/>
              <a:gd name="csY48" fmla="*/ 37107 h 1509319"/>
              <a:gd name="csX49" fmla="*/ 148750 w 768725"/>
              <a:gd name="csY49" fmla="*/ 22335 h 1509319"/>
              <a:gd name="csX50" fmla="*/ 236982 w 768725"/>
              <a:gd name="csY50" fmla="*/ 7640 h 1509319"/>
              <a:gd name="csX51" fmla="*/ 246862 w 768725"/>
              <a:gd name="csY51" fmla="*/ 7580 h 1509319"/>
              <a:gd name="csX52" fmla="*/ 261473 w 768725"/>
              <a:gd name="csY52" fmla="*/ 86763 h 1509319"/>
              <a:gd name="csX53" fmla="*/ 306246 w 768725"/>
              <a:gd name="csY53" fmla="*/ 83559 h 1509319"/>
              <a:gd name="csX54" fmla="*/ 306960 w 768725"/>
              <a:gd name="csY54" fmla="*/ 71087 h 1509319"/>
              <a:gd name="csX55" fmla="*/ 306724 w 768725"/>
              <a:gd name="csY55" fmla="*/ 19491 h 1509319"/>
              <a:gd name="csX56" fmla="*/ 319581 w 768725"/>
              <a:gd name="csY56" fmla="*/ 4733 h 1509319"/>
              <a:gd name="csX57" fmla="*/ 430956 w 768725"/>
              <a:gd name="csY57" fmla="*/ 2070 h 1509319"/>
              <a:gd name="csX58" fmla="*/ 437066 w 768725"/>
              <a:gd name="csY58" fmla="*/ 2646 h 1509319"/>
              <a:gd name="csX59" fmla="*/ 460335 w 768725"/>
              <a:gd name="csY59" fmla="*/ 24205 h 1509319"/>
              <a:gd name="csX60" fmla="*/ 463579 w 768725"/>
              <a:gd name="csY60" fmla="*/ 62081 h 1509319"/>
              <a:gd name="csX61" fmla="*/ 463652 w 768725"/>
              <a:gd name="csY61" fmla="*/ 82953 h 1509319"/>
              <a:gd name="csX62" fmla="*/ 507205 w 768725"/>
              <a:gd name="csY62" fmla="*/ 85553 h 1509319"/>
              <a:gd name="csX63" fmla="*/ 513271 w 768725"/>
              <a:gd name="csY63" fmla="*/ 61890 h 1509319"/>
              <a:gd name="csX64" fmla="*/ 520203 w 768725"/>
              <a:gd name="csY64" fmla="*/ 18323 h 1509319"/>
              <a:gd name="csX65" fmla="*/ 534008 w 768725"/>
              <a:gd name="csY65" fmla="*/ 7785 h 1509319"/>
              <a:gd name="csX66" fmla="*/ 595925 w 768725"/>
              <a:gd name="csY66" fmla="*/ 16407 h 1509319"/>
              <a:gd name="csX67" fmla="*/ 619972 w 768725"/>
              <a:gd name="csY67" fmla="*/ 21156 h 1509319"/>
              <a:gd name="csX68" fmla="*/ 631161 w 768725"/>
              <a:gd name="csY68" fmla="*/ 36134 h 1509319"/>
              <a:gd name="csX69" fmla="*/ 628140 w 768725"/>
              <a:gd name="csY69" fmla="*/ 85104 h 1509319"/>
              <a:gd name="csX70" fmla="*/ 613954 w 768725"/>
              <a:gd name="csY70" fmla="*/ 179618 h 1509319"/>
              <a:gd name="csX71" fmla="*/ 586196 w 768725"/>
              <a:gd name="csY71" fmla="*/ 256886 h 1509319"/>
              <a:gd name="csX72" fmla="*/ 554619 w 768725"/>
              <a:gd name="csY72" fmla="*/ 295312 h 1509319"/>
              <a:gd name="csX73" fmla="*/ 538601 w 768725"/>
              <a:gd name="csY73" fmla="*/ 315001 h 1509319"/>
              <a:gd name="csX74" fmla="*/ 542630 w 768725"/>
              <a:gd name="csY74" fmla="*/ 326199 h 1509319"/>
              <a:gd name="csX75" fmla="*/ 560240 w 768725"/>
              <a:gd name="csY75" fmla="*/ 334912 h 1509319"/>
              <a:gd name="csX76" fmla="*/ 586933 w 768725"/>
              <a:gd name="csY76" fmla="*/ 371800 h 1509319"/>
              <a:gd name="csX77" fmla="*/ 563039 w 768725"/>
              <a:gd name="csY77" fmla="*/ 418184 h 1509319"/>
              <a:gd name="csX78" fmla="*/ 545522 w 768725"/>
              <a:gd name="csY78" fmla="*/ 427008 h 1509319"/>
              <a:gd name="csX79" fmla="*/ 535507 w 768725"/>
              <a:gd name="csY79" fmla="*/ 440667 h 1509319"/>
              <a:gd name="csX80" fmla="*/ 536723 w 768725"/>
              <a:gd name="csY80" fmla="*/ 537651 h 1509319"/>
              <a:gd name="csX81" fmla="*/ 539820 w 768725"/>
              <a:gd name="csY81" fmla="*/ 595237 h 1509319"/>
              <a:gd name="csX82" fmla="*/ 553105 w 768725"/>
              <a:gd name="csY82" fmla="*/ 746727 h 1509319"/>
              <a:gd name="csX83" fmla="*/ 576414 w 768725"/>
              <a:gd name="csY83" fmla="*/ 893042 h 1509319"/>
              <a:gd name="csX84" fmla="*/ 500356 w 768725"/>
              <a:gd name="csY84" fmla="*/ 473996 h 1509319"/>
              <a:gd name="csX85" fmla="*/ 499749 w 768725"/>
              <a:gd name="csY85" fmla="*/ 463598 h 1509319"/>
              <a:gd name="csX86" fmla="*/ 392525 w 768725"/>
              <a:gd name="csY86" fmla="*/ 471627 h 1509319"/>
              <a:gd name="csX87" fmla="*/ 392518 w 768725"/>
              <a:gd name="csY87" fmla="*/ 482742 h 1509319"/>
              <a:gd name="csX88" fmla="*/ 390814 w 768725"/>
              <a:gd name="csY88" fmla="*/ 596913 h 1509319"/>
              <a:gd name="csX89" fmla="*/ 385953 w 768725"/>
              <a:gd name="csY89" fmla="*/ 788374 h 1509319"/>
              <a:gd name="csX90" fmla="*/ 383485 w 768725"/>
              <a:gd name="csY90" fmla="*/ 884103 h 1509319"/>
              <a:gd name="csX91" fmla="*/ 380173 w 768725"/>
              <a:gd name="csY91" fmla="*/ 1035109 h 1509319"/>
              <a:gd name="csX92" fmla="*/ 378826 w 768725"/>
              <a:gd name="csY92" fmla="*/ 1068199 h 1509319"/>
              <a:gd name="csX93" fmla="*/ 380180 w 768725"/>
              <a:gd name="csY93" fmla="*/ 1074648 h 1509319"/>
              <a:gd name="csX94" fmla="*/ 446854 w 768725"/>
              <a:gd name="csY94" fmla="*/ 1074654 h 1509319"/>
              <a:gd name="csX95" fmla="*/ 513191 w 768725"/>
              <a:gd name="csY95" fmla="*/ 1074731 h 1509319"/>
              <a:gd name="csX96" fmla="*/ 580317 w 768725"/>
              <a:gd name="csY96" fmla="*/ 1075095 h 1509319"/>
              <a:gd name="csX97" fmla="*/ 500356 w 768725"/>
              <a:gd name="csY97" fmla="*/ 473996 h 1509319"/>
              <a:gd name="csX98" fmla="*/ 459731 w 768725"/>
              <a:gd name="csY98" fmla="*/ 1135086 h 1509319"/>
              <a:gd name="csX99" fmla="*/ 383756 w 768725"/>
              <a:gd name="csY99" fmla="*/ 1135086 h 1509319"/>
              <a:gd name="csX100" fmla="*/ 387612 w 768725"/>
              <a:gd name="csY100" fmla="*/ 1242590 h 1509319"/>
              <a:gd name="csX101" fmla="*/ 383907 w 768725"/>
              <a:gd name="csY101" fmla="*/ 1351330 h 1509319"/>
              <a:gd name="csX102" fmla="*/ 707112 w 768725"/>
              <a:gd name="csY102" fmla="*/ 1330559 h 1509319"/>
              <a:gd name="csX103" fmla="*/ 686366 w 768725"/>
              <a:gd name="csY103" fmla="*/ 1251637 h 1509319"/>
              <a:gd name="csX104" fmla="*/ 639403 w 768725"/>
              <a:gd name="csY104" fmla="*/ 1199952 h 1509319"/>
              <a:gd name="csX105" fmla="*/ 606292 w 768725"/>
              <a:gd name="csY105" fmla="*/ 1135508 h 1509319"/>
              <a:gd name="csX106" fmla="*/ 602971 w 768725"/>
              <a:gd name="csY106" fmla="*/ 1123400 h 1509319"/>
              <a:gd name="csX107" fmla="*/ 591474 w 768725"/>
              <a:gd name="csY107" fmla="*/ 1124633 h 1509319"/>
              <a:gd name="csX108" fmla="*/ 530551 w 768725"/>
              <a:gd name="csY108" fmla="*/ 1130880 h 1509319"/>
              <a:gd name="csX109" fmla="*/ 459731 w 768725"/>
              <a:gd name="csY109" fmla="*/ 1135086 h 1509319"/>
              <a:gd name="csX110" fmla="*/ 469505 w 768725"/>
              <a:gd name="csY110" fmla="*/ 116252 h 1509319"/>
              <a:gd name="csX111" fmla="*/ 443782 w 768725"/>
              <a:gd name="csY111" fmla="*/ 114911 h 1509319"/>
              <a:gd name="csX112" fmla="*/ 430007 w 768725"/>
              <a:gd name="csY112" fmla="*/ 99878 h 1509319"/>
              <a:gd name="csX113" fmla="*/ 429331 w 768725"/>
              <a:gd name="csY113" fmla="*/ 69197 h 1509319"/>
              <a:gd name="csX114" fmla="*/ 426333 w 768725"/>
              <a:gd name="csY114" fmla="*/ 34606 h 1509319"/>
              <a:gd name="csX115" fmla="*/ 377548 w 768725"/>
              <a:gd name="csY115" fmla="*/ 34613 h 1509319"/>
              <a:gd name="csX116" fmla="*/ 368004 w 768725"/>
              <a:gd name="csY116" fmla="*/ 44529 h 1509319"/>
              <a:gd name="csX117" fmla="*/ 366185 w 768725"/>
              <a:gd name="csY117" fmla="*/ 76343 h 1509319"/>
              <a:gd name="csX118" fmla="*/ 379384 w 768725"/>
              <a:gd name="csY118" fmla="*/ 206619 h 1509319"/>
              <a:gd name="csX119" fmla="*/ 390997 w 768725"/>
              <a:gd name="csY119" fmla="*/ 277965 h 1509319"/>
              <a:gd name="csX120" fmla="*/ 394040 w 768725"/>
              <a:gd name="csY120" fmla="*/ 305053 h 1509319"/>
              <a:gd name="csX121" fmla="*/ 501758 w 768725"/>
              <a:gd name="csY121" fmla="*/ 304814 h 1509319"/>
              <a:gd name="csX122" fmla="*/ 510340 w 768725"/>
              <a:gd name="csY122" fmla="*/ 299427 h 1509319"/>
              <a:gd name="csX123" fmla="*/ 526940 w 768725"/>
              <a:gd name="csY123" fmla="*/ 279822 h 1509319"/>
              <a:gd name="csX124" fmla="*/ 576920 w 768725"/>
              <a:gd name="csY124" fmla="*/ 192342 h 1509319"/>
              <a:gd name="csX125" fmla="*/ 594042 w 768725"/>
              <a:gd name="csY125" fmla="*/ 74918 h 1509319"/>
              <a:gd name="csX126" fmla="*/ 594159 w 768725"/>
              <a:gd name="csY126" fmla="*/ 49195 h 1509319"/>
              <a:gd name="csX127" fmla="*/ 554791 w 768725"/>
              <a:gd name="csY127" fmla="*/ 42552 h 1509319"/>
              <a:gd name="csX128" fmla="*/ 552461 w 768725"/>
              <a:gd name="csY128" fmla="*/ 55598 h 1509319"/>
              <a:gd name="csX129" fmla="*/ 544678 w 768725"/>
              <a:gd name="csY129" fmla="*/ 102721 h 1509319"/>
              <a:gd name="csX130" fmla="*/ 525701 w 768725"/>
              <a:gd name="csY130" fmla="*/ 118186 h 1509319"/>
              <a:gd name="csX131" fmla="*/ 469505 w 768725"/>
              <a:gd name="csY131" fmla="*/ 116252 h 1509319"/>
              <a:gd name="csX132" fmla="*/ 513928 w 768725"/>
              <a:gd name="csY132" fmla="*/ 1403203 h 1509319"/>
              <a:gd name="csX133" fmla="*/ 379322 w 768725"/>
              <a:gd name="csY133" fmla="*/ 1404000 h 1509319"/>
              <a:gd name="csX134" fmla="*/ 379322 w 768725"/>
              <a:gd name="csY134" fmla="*/ 1460424 h 1509319"/>
              <a:gd name="csX135" fmla="*/ 726554 w 768725"/>
              <a:gd name="csY135" fmla="*/ 1439225 h 1509319"/>
              <a:gd name="csX136" fmla="*/ 721089 w 768725"/>
              <a:gd name="csY136" fmla="*/ 1397750 h 1509319"/>
              <a:gd name="csX137" fmla="*/ 697967 w 768725"/>
              <a:gd name="csY137" fmla="*/ 1385046 h 1509319"/>
              <a:gd name="csX138" fmla="*/ 619039 w 768725"/>
              <a:gd name="csY138" fmla="*/ 1395892 h 1509319"/>
              <a:gd name="csX139" fmla="*/ 513928 w 768725"/>
              <a:gd name="csY139" fmla="*/ 1403203 h 1509319"/>
              <a:gd name="csX140" fmla="*/ 462814 w 768725"/>
              <a:gd name="csY140" fmla="*/ 375981 h 1509319"/>
              <a:gd name="csX141" fmla="*/ 538992 w 768725"/>
              <a:gd name="csY141" fmla="*/ 375736 h 1509319"/>
              <a:gd name="csX142" fmla="*/ 551835 w 768725"/>
              <a:gd name="csY142" fmla="*/ 373923 h 1509319"/>
              <a:gd name="csX143" fmla="*/ 539689 w 768725"/>
              <a:gd name="csY143" fmla="*/ 356085 h 1509319"/>
              <a:gd name="csX144" fmla="*/ 521074 w 768725"/>
              <a:gd name="csY144" fmla="*/ 344186 h 1509319"/>
              <a:gd name="csX145" fmla="*/ 503789 w 768725"/>
              <a:gd name="csY145" fmla="*/ 339280 h 1509319"/>
              <a:gd name="csX146" fmla="*/ 404270 w 768725"/>
              <a:gd name="csY146" fmla="*/ 339994 h 1509319"/>
              <a:gd name="csX147" fmla="*/ 393081 w 768725"/>
              <a:gd name="csY147" fmla="*/ 340868 h 1509319"/>
              <a:gd name="csX148" fmla="*/ 395001 w 768725"/>
              <a:gd name="csY148" fmla="*/ 375976 h 1509319"/>
              <a:gd name="csX149" fmla="*/ 462814 w 768725"/>
              <a:gd name="csY149" fmla="*/ 375981 h 150931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</a:cxnLst>
            <a:rect l="l" t="t" r="r" b="b"/>
            <a:pathLst>
              <a:path w="768725" h="1509319">
                <a:moveTo>
                  <a:pt x="576414" y="893042"/>
                </a:moveTo>
                <a:cubicBezTo>
                  <a:pt x="588806" y="949146"/>
                  <a:pt x="601091" y="1004202"/>
                  <a:pt x="613047" y="1059329"/>
                </a:cubicBezTo>
                <a:cubicBezTo>
                  <a:pt x="614432" y="1065716"/>
                  <a:pt x="617736" y="1069332"/>
                  <a:pt x="623337" y="1071825"/>
                </a:cubicBezTo>
                <a:cubicBezTo>
                  <a:pt x="628942" y="1074320"/>
                  <a:pt x="634521" y="1076938"/>
                  <a:pt x="639863" y="1079946"/>
                </a:cubicBezTo>
                <a:cubicBezTo>
                  <a:pt x="650944" y="1086186"/>
                  <a:pt x="655598" y="1096871"/>
                  <a:pt x="652266" y="1109045"/>
                </a:cubicBezTo>
                <a:cubicBezTo>
                  <a:pt x="650545" y="1115333"/>
                  <a:pt x="647953" y="1121401"/>
                  <a:pt x="645501" y="1127466"/>
                </a:cubicBezTo>
                <a:cubicBezTo>
                  <a:pt x="643225" y="1133097"/>
                  <a:pt x="643438" y="1138435"/>
                  <a:pt x="645547" y="1144138"/>
                </a:cubicBezTo>
                <a:cubicBezTo>
                  <a:pt x="649868" y="1155821"/>
                  <a:pt x="655892" y="1166306"/>
                  <a:pt x="664589" y="1175322"/>
                </a:cubicBezTo>
                <a:cubicBezTo>
                  <a:pt x="680503" y="1191819"/>
                  <a:pt x="696298" y="1208434"/>
                  <a:pt x="712015" y="1225118"/>
                </a:cubicBezTo>
                <a:cubicBezTo>
                  <a:pt x="731931" y="1246258"/>
                  <a:pt x="740856" y="1272032"/>
                  <a:pt x="744465" y="1300385"/>
                </a:cubicBezTo>
                <a:cubicBezTo>
                  <a:pt x="746614" y="1317273"/>
                  <a:pt x="744537" y="1333855"/>
                  <a:pt x="743270" y="1350524"/>
                </a:cubicBezTo>
                <a:cubicBezTo>
                  <a:pt x="742916" y="1355183"/>
                  <a:pt x="743079" y="1358990"/>
                  <a:pt x="745429" y="1363274"/>
                </a:cubicBezTo>
                <a:cubicBezTo>
                  <a:pt x="761335" y="1392276"/>
                  <a:pt x="766719" y="1423956"/>
                  <a:pt x="768672" y="1456512"/>
                </a:cubicBezTo>
                <a:cubicBezTo>
                  <a:pt x="769161" y="1464651"/>
                  <a:pt x="766327" y="1469951"/>
                  <a:pt x="758521" y="1472434"/>
                </a:cubicBezTo>
                <a:cubicBezTo>
                  <a:pt x="749176" y="1475406"/>
                  <a:pt x="739961" y="1478919"/>
                  <a:pt x="730455" y="1481228"/>
                </a:cubicBezTo>
                <a:cubicBezTo>
                  <a:pt x="685866" y="1492058"/>
                  <a:pt x="640613" y="1498445"/>
                  <a:pt x="594867" y="1502210"/>
                </a:cubicBezTo>
                <a:cubicBezTo>
                  <a:pt x="503351" y="1509743"/>
                  <a:pt x="411695" y="1510364"/>
                  <a:pt x="320018" y="1508300"/>
                </a:cubicBezTo>
                <a:cubicBezTo>
                  <a:pt x="275466" y="1507297"/>
                  <a:pt x="230913" y="1504582"/>
                  <a:pt x="186464" y="1501258"/>
                </a:cubicBezTo>
                <a:cubicBezTo>
                  <a:pt x="132610" y="1497231"/>
                  <a:pt x="79072" y="1490389"/>
                  <a:pt x="26582" y="1477021"/>
                </a:cubicBezTo>
                <a:cubicBezTo>
                  <a:pt x="18195" y="1474885"/>
                  <a:pt x="9735" y="1472585"/>
                  <a:pt x="3929" y="1465652"/>
                </a:cubicBezTo>
                <a:cubicBezTo>
                  <a:pt x="1807" y="1463117"/>
                  <a:pt x="-213" y="1459275"/>
                  <a:pt x="18" y="1456203"/>
                </a:cubicBezTo>
                <a:cubicBezTo>
                  <a:pt x="995" y="1443177"/>
                  <a:pt x="2714" y="1430200"/>
                  <a:pt x="4393" y="1417235"/>
                </a:cubicBezTo>
                <a:cubicBezTo>
                  <a:pt x="6515" y="1400846"/>
                  <a:pt x="11310" y="1385118"/>
                  <a:pt x="19158" y="1370678"/>
                </a:cubicBezTo>
                <a:cubicBezTo>
                  <a:pt x="24205" y="1361393"/>
                  <a:pt x="24576" y="1352443"/>
                  <a:pt x="23255" y="1342388"/>
                </a:cubicBezTo>
                <a:cubicBezTo>
                  <a:pt x="18901" y="1309218"/>
                  <a:pt x="21603" y="1276876"/>
                  <a:pt x="38705" y="1247261"/>
                </a:cubicBezTo>
                <a:cubicBezTo>
                  <a:pt x="44179" y="1237783"/>
                  <a:pt x="50956" y="1228786"/>
                  <a:pt x="58454" y="1220807"/>
                </a:cubicBezTo>
                <a:cubicBezTo>
                  <a:pt x="73024" y="1205299"/>
                  <a:pt x="88543" y="1190683"/>
                  <a:pt x="103638" y="1175667"/>
                </a:cubicBezTo>
                <a:cubicBezTo>
                  <a:pt x="112161" y="1167189"/>
                  <a:pt x="118801" y="1157513"/>
                  <a:pt x="122996" y="1146131"/>
                </a:cubicBezTo>
                <a:cubicBezTo>
                  <a:pt x="125249" y="1140016"/>
                  <a:pt x="125488" y="1134282"/>
                  <a:pt x="122689" y="1128316"/>
                </a:cubicBezTo>
                <a:cubicBezTo>
                  <a:pt x="120431" y="1123504"/>
                  <a:pt x="118446" y="1118553"/>
                  <a:pt x="116576" y="1113575"/>
                </a:cubicBezTo>
                <a:cubicBezTo>
                  <a:pt x="111153" y="1099133"/>
                  <a:pt x="114404" y="1089299"/>
                  <a:pt x="127479" y="1081076"/>
                </a:cubicBezTo>
                <a:cubicBezTo>
                  <a:pt x="130563" y="1079137"/>
                  <a:pt x="134000" y="1077564"/>
                  <a:pt x="137480" y="1076482"/>
                </a:cubicBezTo>
                <a:cubicBezTo>
                  <a:pt x="148800" y="1072962"/>
                  <a:pt x="154794" y="1065351"/>
                  <a:pt x="157312" y="1053855"/>
                </a:cubicBezTo>
                <a:cubicBezTo>
                  <a:pt x="164312" y="1021900"/>
                  <a:pt x="172752" y="990234"/>
                  <a:pt x="178876" y="958120"/>
                </a:cubicBezTo>
                <a:cubicBezTo>
                  <a:pt x="190055" y="899504"/>
                  <a:pt x="200649" y="840756"/>
                  <a:pt x="210165" y="781849"/>
                </a:cubicBezTo>
                <a:cubicBezTo>
                  <a:pt x="215898" y="746366"/>
                  <a:pt x="219868" y="710550"/>
                  <a:pt x="223295" y="674755"/>
                </a:cubicBezTo>
                <a:cubicBezTo>
                  <a:pt x="226801" y="638133"/>
                  <a:pt x="229185" y="601381"/>
                  <a:pt x="231121" y="564636"/>
                </a:cubicBezTo>
                <a:cubicBezTo>
                  <a:pt x="233079" y="527469"/>
                  <a:pt x="233899" y="490241"/>
                  <a:pt x="235173" y="453038"/>
                </a:cubicBezTo>
                <a:cubicBezTo>
                  <a:pt x="235285" y="449770"/>
                  <a:pt x="235108" y="446488"/>
                  <a:pt x="235001" y="443215"/>
                </a:cubicBezTo>
                <a:cubicBezTo>
                  <a:pt x="234761" y="435907"/>
                  <a:pt x="231291" y="431283"/>
                  <a:pt x="224321" y="428479"/>
                </a:cubicBezTo>
                <a:cubicBezTo>
                  <a:pt x="217531" y="425747"/>
                  <a:pt x="210873" y="422395"/>
                  <a:pt x="204712" y="418450"/>
                </a:cubicBezTo>
                <a:cubicBezTo>
                  <a:pt x="187562" y="407468"/>
                  <a:pt x="179141" y="385623"/>
                  <a:pt x="184069" y="366060"/>
                </a:cubicBezTo>
                <a:cubicBezTo>
                  <a:pt x="187270" y="353354"/>
                  <a:pt x="195406" y="344379"/>
                  <a:pt x="206519" y="338181"/>
                </a:cubicBezTo>
                <a:cubicBezTo>
                  <a:pt x="212922" y="334611"/>
                  <a:pt x="219930" y="332132"/>
                  <a:pt x="226643" y="329113"/>
                </a:cubicBezTo>
                <a:cubicBezTo>
                  <a:pt x="236636" y="324620"/>
                  <a:pt x="238185" y="320246"/>
                  <a:pt x="232085" y="311135"/>
                </a:cubicBezTo>
                <a:cubicBezTo>
                  <a:pt x="229169" y="306779"/>
                  <a:pt x="225643" y="302195"/>
                  <a:pt x="221280" y="299552"/>
                </a:cubicBezTo>
                <a:cubicBezTo>
                  <a:pt x="194874" y="283553"/>
                  <a:pt x="183766" y="257401"/>
                  <a:pt x="173478" y="230303"/>
                </a:cubicBezTo>
                <a:cubicBezTo>
                  <a:pt x="156973" y="186824"/>
                  <a:pt x="146078" y="142097"/>
                  <a:pt x="141864" y="95780"/>
                </a:cubicBezTo>
                <a:cubicBezTo>
                  <a:pt x="140086" y="76240"/>
                  <a:pt x="138323" y="56689"/>
                  <a:pt x="137158" y="37107"/>
                </a:cubicBezTo>
                <a:cubicBezTo>
                  <a:pt x="136482" y="25735"/>
                  <a:pt x="137408" y="24372"/>
                  <a:pt x="148750" y="22335"/>
                </a:cubicBezTo>
                <a:cubicBezTo>
                  <a:pt x="178094" y="17065"/>
                  <a:pt x="207551" y="12418"/>
                  <a:pt x="236982" y="7640"/>
                </a:cubicBezTo>
                <a:cubicBezTo>
                  <a:pt x="239748" y="7191"/>
                  <a:pt x="242650" y="7580"/>
                  <a:pt x="246862" y="7580"/>
                </a:cubicBezTo>
                <a:cubicBezTo>
                  <a:pt x="255824" y="32568"/>
                  <a:pt x="255201" y="59502"/>
                  <a:pt x="261473" y="86763"/>
                </a:cubicBezTo>
                <a:cubicBezTo>
                  <a:pt x="276122" y="85715"/>
                  <a:pt x="290587" y="84680"/>
                  <a:pt x="306246" y="83559"/>
                </a:cubicBezTo>
                <a:cubicBezTo>
                  <a:pt x="306524" y="78935"/>
                  <a:pt x="306966" y="75011"/>
                  <a:pt x="306960" y="71087"/>
                </a:cubicBezTo>
                <a:cubicBezTo>
                  <a:pt x="306936" y="53888"/>
                  <a:pt x="306633" y="36688"/>
                  <a:pt x="306724" y="19491"/>
                </a:cubicBezTo>
                <a:cubicBezTo>
                  <a:pt x="306789" y="7258"/>
                  <a:pt x="307148" y="6664"/>
                  <a:pt x="319581" y="4733"/>
                </a:cubicBezTo>
                <a:cubicBezTo>
                  <a:pt x="356571" y="-1011"/>
                  <a:pt x="393735" y="-1048"/>
                  <a:pt x="430956" y="2070"/>
                </a:cubicBezTo>
                <a:cubicBezTo>
                  <a:pt x="432994" y="2241"/>
                  <a:pt x="435026" y="2485"/>
                  <a:pt x="437066" y="2646"/>
                </a:cubicBezTo>
                <a:cubicBezTo>
                  <a:pt x="455684" y="4122"/>
                  <a:pt x="457626" y="5472"/>
                  <a:pt x="460335" y="24205"/>
                </a:cubicBezTo>
                <a:cubicBezTo>
                  <a:pt x="462146" y="36727"/>
                  <a:pt x="462770" y="49435"/>
                  <a:pt x="463579" y="62081"/>
                </a:cubicBezTo>
                <a:cubicBezTo>
                  <a:pt x="463995" y="68573"/>
                  <a:pt x="463652" y="75113"/>
                  <a:pt x="463652" y="82953"/>
                </a:cubicBezTo>
                <a:cubicBezTo>
                  <a:pt x="478793" y="83857"/>
                  <a:pt x="492851" y="84696"/>
                  <a:pt x="507205" y="85553"/>
                </a:cubicBezTo>
                <a:cubicBezTo>
                  <a:pt x="512102" y="78145"/>
                  <a:pt x="511920" y="69770"/>
                  <a:pt x="513271" y="61890"/>
                </a:cubicBezTo>
                <a:cubicBezTo>
                  <a:pt x="515756" y="47397"/>
                  <a:pt x="517439" y="32758"/>
                  <a:pt x="520203" y="18323"/>
                </a:cubicBezTo>
                <a:cubicBezTo>
                  <a:pt x="522330" y="7216"/>
                  <a:pt x="522926" y="6539"/>
                  <a:pt x="534008" y="7785"/>
                </a:cubicBezTo>
                <a:cubicBezTo>
                  <a:pt x="554709" y="10113"/>
                  <a:pt x="575316" y="13322"/>
                  <a:pt x="595925" y="16407"/>
                </a:cubicBezTo>
                <a:cubicBezTo>
                  <a:pt x="604001" y="17616"/>
                  <a:pt x="612093" y="19051"/>
                  <a:pt x="619972" y="21156"/>
                </a:cubicBezTo>
                <a:cubicBezTo>
                  <a:pt x="628887" y="23538"/>
                  <a:pt x="631496" y="26848"/>
                  <a:pt x="631161" y="36134"/>
                </a:cubicBezTo>
                <a:cubicBezTo>
                  <a:pt x="630572" y="52475"/>
                  <a:pt x="629765" y="68840"/>
                  <a:pt x="628140" y="85104"/>
                </a:cubicBezTo>
                <a:cubicBezTo>
                  <a:pt x="624968" y="116827"/>
                  <a:pt x="621618" y="148545"/>
                  <a:pt x="613954" y="179618"/>
                </a:cubicBezTo>
                <a:cubicBezTo>
                  <a:pt x="607361" y="206344"/>
                  <a:pt x="597791" y="231950"/>
                  <a:pt x="586196" y="256886"/>
                </a:cubicBezTo>
                <a:cubicBezTo>
                  <a:pt x="578940" y="272491"/>
                  <a:pt x="568647" y="285371"/>
                  <a:pt x="554619" y="295312"/>
                </a:cubicBezTo>
                <a:cubicBezTo>
                  <a:pt x="547467" y="300381"/>
                  <a:pt x="541673" y="306562"/>
                  <a:pt x="538601" y="315001"/>
                </a:cubicBezTo>
                <a:cubicBezTo>
                  <a:pt x="536802" y="319945"/>
                  <a:pt x="537533" y="323761"/>
                  <a:pt x="542630" y="326199"/>
                </a:cubicBezTo>
                <a:cubicBezTo>
                  <a:pt x="548539" y="329025"/>
                  <a:pt x="554513" y="331748"/>
                  <a:pt x="560240" y="334912"/>
                </a:cubicBezTo>
                <a:cubicBezTo>
                  <a:pt x="574874" y="342998"/>
                  <a:pt x="586216" y="353688"/>
                  <a:pt x="586933" y="371800"/>
                </a:cubicBezTo>
                <a:cubicBezTo>
                  <a:pt x="587721" y="391697"/>
                  <a:pt x="581146" y="407998"/>
                  <a:pt x="563039" y="418184"/>
                </a:cubicBezTo>
                <a:cubicBezTo>
                  <a:pt x="557338" y="421391"/>
                  <a:pt x="551634" y="424825"/>
                  <a:pt x="545522" y="427008"/>
                </a:cubicBezTo>
                <a:cubicBezTo>
                  <a:pt x="538690" y="429449"/>
                  <a:pt x="535443" y="433770"/>
                  <a:pt x="535507" y="440667"/>
                </a:cubicBezTo>
                <a:cubicBezTo>
                  <a:pt x="535813" y="472997"/>
                  <a:pt x="535953" y="505332"/>
                  <a:pt x="536723" y="537651"/>
                </a:cubicBezTo>
                <a:cubicBezTo>
                  <a:pt x="537181" y="556862"/>
                  <a:pt x="538274" y="576081"/>
                  <a:pt x="539820" y="595237"/>
                </a:cubicBezTo>
                <a:cubicBezTo>
                  <a:pt x="543897" y="645768"/>
                  <a:pt x="546950" y="696441"/>
                  <a:pt x="553105" y="746727"/>
                </a:cubicBezTo>
                <a:cubicBezTo>
                  <a:pt x="559060" y="795370"/>
                  <a:pt x="568372" y="843602"/>
                  <a:pt x="576414" y="893042"/>
                </a:cubicBezTo>
                <a:moveTo>
                  <a:pt x="500356" y="473996"/>
                </a:moveTo>
                <a:cubicBezTo>
                  <a:pt x="500146" y="470396"/>
                  <a:pt x="499936" y="466797"/>
                  <a:pt x="499749" y="463598"/>
                </a:cubicBezTo>
                <a:cubicBezTo>
                  <a:pt x="463731" y="466295"/>
                  <a:pt x="428548" y="468929"/>
                  <a:pt x="392525" y="471627"/>
                </a:cubicBezTo>
                <a:cubicBezTo>
                  <a:pt x="392525" y="475456"/>
                  <a:pt x="392570" y="479099"/>
                  <a:pt x="392518" y="482742"/>
                </a:cubicBezTo>
                <a:cubicBezTo>
                  <a:pt x="391977" y="520799"/>
                  <a:pt x="391669" y="558862"/>
                  <a:pt x="390814" y="596913"/>
                </a:cubicBezTo>
                <a:cubicBezTo>
                  <a:pt x="389379" y="660737"/>
                  <a:pt x="387596" y="724554"/>
                  <a:pt x="385953" y="788374"/>
                </a:cubicBezTo>
                <a:cubicBezTo>
                  <a:pt x="385132" y="820284"/>
                  <a:pt x="384217" y="852191"/>
                  <a:pt x="383485" y="884103"/>
                </a:cubicBezTo>
                <a:cubicBezTo>
                  <a:pt x="382329" y="934437"/>
                  <a:pt x="381336" y="984775"/>
                  <a:pt x="380173" y="1035109"/>
                </a:cubicBezTo>
                <a:cubicBezTo>
                  <a:pt x="379918" y="1046143"/>
                  <a:pt x="379172" y="1057166"/>
                  <a:pt x="378826" y="1068199"/>
                </a:cubicBezTo>
                <a:cubicBezTo>
                  <a:pt x="378768" y="1070073"/>
                  <a:pt x="379592" y="1071975"/>
                  <a:pt x="380180" y="1074648"/>
                </a:cubicBezTo>
                <a:cubicBezTo>
                  <a:pt x="402724" y="1074648"/>
                  <a:pt x="424789" y="1074626"/>
                  <a:pt x="446854" y="1074654"/>
                </a:cubicBezTo>
                <a:cubicBezTo>
                  <a:pt x="468967" y="1074682"/>
                  <a:pt x="491084" y="1075062"/>
                  <a:pt x="513191" y="1074731"/>
                </a:cubicBezTo>
                <a:cubicBezTo>
                  <a:pt x="535020" y="1074404"/>
                  <a:pt x="556890" y="1078397"/>
                  <a:pt x="580317" y="1075095"/>
                </a:cubicBezTo>
                <a:cubicBezTo>
                  <a:pt x="530688" y="877741"/>
                  <a:pt x="498514" y="679261"/>
                  <a:pt x="500356" y="473996"/>
                </a:cubicBezTo>
                <a:moveTo>
                  <a:pt x="459731" y="1135086"/>
                </a:moveTo>
                <a:cubicBezTo>
                  <a:pt x="434501" y="1135086"/>
                  <a:pt x="409270" y="1135086"/>
                  <a:pt x="383756" y="1135086"/>
                </a:cubicBezTo>
                <a:cubicBezTo>
                  <a:pt x="385145" y="1171037"/>
                  <a:pt x="387590" y="1206813"/>
                  <a:pt x="387612" y="1242590"/>
                </a:cubicBezTo>
                <a:cubicBezTo>
                  <a:pt x="387634" y="1278699"/>
                  <a:pt x="385252" y="1314810"/>
                  <a:pt x="383907" y="1351330"/>
                </a:cubicBezTo>
                <a:cubicBezTo>
                  <a:pt x="493016" y="1355954"/>
                  <a:pt x="600298" y="1349068"/>
                  <a:pt x="707112" y="1330559"/>
                </a:cubicBezTo>
                <a:cubicBezTo>
                  <a:pt x="710922" y="1301049"/>
                  <a:pt x="703971" y="1274394"/>
                  <a:pt x="686366" y="1251637"/>
                </a:cubicBezTo>
                <a:cubicBezTo>
                  <a:pt x="672164" y="1233278"/>
                  <a:pt x="655625" y="1216649"/>
                  <a:pt x="639403" y="1199952"/>
                </a:cubicBezTo>
                <a:cubicBezTo>
                  <a:pt x="621690" y="1181720"/>
                  <a:pt x="611031" y="1160243"/>
                  <a:pt x="606292" y="1135508"/>
                </a:cubicBezTo>
                <a:cubicBezTo>
                  <a:pt x="605546" y="1131614"/>
                  <a:pt x="604205" y="1127833"/>
                  <a:pt x="602971" y="1123400"/>
                </a:cubicBezTo>
                <a:cubicBezTo>
                  <a:pt x="598647" y="1123864"/>
                  <a:pt x="595062" y="1124258"/>
                  <a:pt x="591474" y="1124633"/>
                </a:cubicBezTo>
                <a:cubicBezTo>
                  <a:pt x="571170" y="1126753"/>
                  <a:pt x="550896" y="1129262"/>
                  <a:pt x="530551" y="1130880"/>
                </a:cubicBezTo>
                <a:cubicBezTo>
                  <a:pt x="507752" y="1132694"/>
                  <a:pt x="484887" y="1133699"/>
                  <a:pt x="459731" y="1135086"/>
                </a:cubicBezTo>
                <a:moveTo>
                  <a:pt x="469505" y="116252"/>
                </a:moveTo>
                <a:cubicBezTo>
                  <a:pt x="460926" y="115846"/>
                  <a:pt x="452288" y="115932"/>
                  <a:pt x="443782" y="114911"/>
                </a:cubicBezTo>
                <a:cubicBezTo>
                  <a:pt x="433023" y="113619"/>
                  <a:pt x="430601" y="110848"/>
                  <a:pt x="430007" y="99878"/>
                </a:cubicBezTo>
                <a:cubicBezTo>
                  <a:pt x="429457" y="89668"/>
                  <a:pt x="429903" y="79404"/>
                  <a:pt x="429331" y="69197"/>
                </a:cubicBezTo>
                <a:cubicBezTo>
                  <a:pt x="428702" y="57943"/>
                  <a:pt x="427414" y="46725"/>
                  <a:pt x="426333" y="34606"/>
                </a:cubicBezTo>
                <a:cubicBezTo>
                  <a:pt x="409217" y="34606"/>
                  <a:pt x="393383" y="34593"/>
                  <a:pt x="377548" y="34613"/>
                </a:cubicBezTo>
                <a:cubicBezTo>
                  <a:pt x="370973" y="34621"/>
                  <a:pt x="368175" y="37880"/>
                  <a:pt x="368004" y="44529"/>
                </a:cubicBezTo>
                <a:cubicBezTo>
                  <a:pt x="367731" y="55142"/>
                  <a:pt x="366531" y="65729"/>
                  <a:pt x="366185" y="76343"/>
                </a:cubicBezTo>
                <a:cubicBezTo>
                  <a:pt x="364748" y="120348"/>
                  <a:pt x="372586" y="163440"/>
                  <a:pt x="379384" y="206619"/>
                </a:cubicBezTo>
                <a:cubicBezTo>
                  <a:pt x="383132" y="230420"/>
                  <a:pt x="387281" y="254159"/>
                  <a:pt x="390997" y="277965"/>
                </a:cubicBezTo>
                <a:cubicBezTo>
                  <a:pt x="392356" y="286668"/>
                  <a:pt x="392988" y="295485"/>
                  <a:pt x="394040" y="305053"/>
                </a:cubicBezTo>
                <a:cubicBezTo>
                  <a:pt x="430625" y="305053"/>
                  <a:pt x="466194" y="305182"/>
                  <a:pt x="501758" y="304814"/>
                </a:cubicBezTo>
                <a:cubicBezTo>
                  <a:pt x="504672" y="304784"/>
                  <a:pt x="508099" y="301870"/>
                  <a:pt x="510340" y="299427"/>
                </a:cubicBezTo>
                <a:cubicBezTo>
                  <a:pt x="516125" y="293119"/>
                  <a:pt x="520822" y="285749"/>
                  <a:pt x="526940" y="279822"/>
                </a:cubicBezTo>
                <a:cubicBezTo>
                  <a:pt x="552103" y="255447"/>
                  <a:pt x="566819" y="225104"/>
                  <a:pt x="576920" y="192342"/>
                </a:cubicBezTo>
                <a:cubicBezTo>
                  <a:pt x="588690" y="154165"/>
                  <a:pt x="590063" y="114309"/>
                  <a:pt x="594042" y="74918"/>
                </a:cubicBezTo>
                <a:cubicBezTo>
                  <a:pt x="594852" y="66901"/>
                  <a:pt x="594159" y="58731"/>
                  <a:pt x="594159" y="49195"/>
                </a:cubicBezTo>
                <a:cubicBezTo>
                  <a:pt x="581125" y="46996"/>
                  <a:pt x="568493" y="44864"/>
                  <a:pt x="554791" y="42552"/>
                </a:cubicBezTo>
                <a:cubicBezTo>
                  <a:pt x="553857" y="47762"/>
                  <a:pt x="553099" y="51670"/>
                  <a:pt x="552461" y="55598"/>
                </a:cubicBezTo>
                <a:cubicBezTo>
                  <a:pt x="549905" y="71314"/>
                  <a:pt x="547903" y="87144"/>
                  <a:pt x="544678" y="102721"/>
                </a:cubicBezTo>
                <a:cubicBezTo>
                  <a:pt x="542363" y="113902"/>
                  <a:pt x="537010" y="118223"/>
                  <a:pt x="525701" y="118186"/>
                </a:cubicBezTo>
                <a:cubicBezTo>
                  <a:pt x="507730" y="118128"/>
                  <a:pt x="489762" y="117027"/>
                  <a:pt x="469505" y="116252"/>
                </a:cubicBezTo>
                <a:moveTo>
                  <a:pt x="513928" y="1403203"/>
                </a:moveTo>
                <a:cubicBezTo>
                  <a:pt x="469441" y="1403467"/>
                  <a:pt x="424955" y="1403730"/>
                  <a:pt x="379322" y="1404000"/>
                </a:cubicBezTo>
                <a:cubicBezTo>
                  <a:pt x="379322" y="1423089"/>
                  <a:pt x="379322" y="1440883"/>
                  <a:pt x="379322" y="1460424"/>
                </a:cubicBezTo>
                <a:cubicBezTo>
                  <a:pt x="496078" y="1471584"/>
                  <a:pt x="611510" y="1462301"/>
                  <a:pt x="726554" y="1439225"/>
                </a:cubicBezTo>
                <a:cubicBezTo>
                  <a:pt x="728615" y="1424350"/>
                  <a:pt x="725601" y="1410872"/>
                  <a:pt x="721089" y="1397750"/>
                </a:cubicBezTo>
                <a:cubicBezTo>
                  <a:pt x="717269" y="1386638"/>
                  <a:pt x="709802" y="1383286"/>
                  <a:pt x="697967" y="1385046"/>
                </a:cubicBezTo>
                <a:cubicBezTo>
                  <a:pt x="671697" y="1388954"/>
                  <a:pt x="645454" y="1393360"/>
                  <a:pt x="619039" y="1395892"/>
                </a:cubicBezTo>
                <a:cubicBezTo>
                  <a:pt x="584863" y="1399168"/>
                  <a:pt x="550531" y="1400815"/>
                  <a:pt x="513928" y="1403203"/>
                </a:cubicBezTo>
                <a:moveTo>
                  <a:pt x="462814" y="375981"/>
                </a:moveTo>
                <a:cubicBezTo>
                  <a:pt x="488207" y="375927"/>
                  <a:pt x="513601" y="375954"/>
                  <a:pt x="538992" y="375736"/>
                </a:cubicBezTo>
                <a:cubicBezTo>
                  <a:pt x="543170" y="375700"/>
                  <a:pt x="547338" y="374587"/>
                  <a:pt x="551835" y="373923"/>
                </a:cubicBezTo>
                <a:cubicBezTo>
                  <a:pt x="550780" y="364535"/>
                  <a:pt x="545320" y="360090"/>
                  <a:pt x="539689" y="356085"/>
                </a:cubicBezTo>
                <a:cubicBezTo>
                  <a:pt x="533696" y="351821"/>
                  <a:pt x="527145" y="348349"/>
                  <a:pt x="521074" y="344186"/>
                </a:cubicBezTo>
                <a:cubicBezTo>
                  <a:pt x="515783" y="340559"/>
                  <a:pt x="510232" y="339198"/>
                  <a:pt x="503789" y="339280"/>
                </a:cubicBezTo>
                <a:cubicBezTo>
                  <a:pt x="470618" y="339700"/>
                  <a:pt x="437443" y="339744"/>
                  <a:pt x="404270" y="339994"/>
                </a:cubicBezTo>
                <a:cubicBezTo>
                  <a:pt x="400758" y="340021"/>
                  <a:pt x="397250" y="340529"/>
                  <a:pt x="393081" y="340868"/>
                </a:cubicBezTo>
                <a:cubicBezTo>
                  <a:pt x="393653" y="352908"/>
                  <a:pt x="392145" y="363845"/>
                  <a:pt x="395001" y="375976"/>
                </a:cubicBezTo>
                <a:cubicBezTo>
                  <a:pt x="417133" y="375976"/>
                  <a:pt x="438745" y="375976"/>
                  <a:pt x="462814" y="375981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41" name="Free-form: Shape 240">
            <a:extLst>
              <a:ext uri="{FF2B5EF4-FFF2-40B4-BE49-F238E27FC236}">
                <a16:creationId xmlns:a16="http://schemas.microsoft.com/office/drawing/2014/main" id="{0066F76C-DCD8-0AC3-09D7-ED3B77D0543E}"/>
              </a:ext>
            </a:extLst>
          </p:cNvPr>
          <p:cNvSpPr/>
          <p:nvPr/>
        </p:nvSpPr>
        <p:spPr>
          <a:xfrm>
            <a:off x="2855301" y="4899267"/>
            <a:ext cx="155564" cy="520442"/>
          </a:xfrm>
          <a:custGeom>
            <a:avLst/>
            <a:gdLst>
              <a:gd name="csX0" fmla="*/ 121535 w 201493"/>
              <a:gd name="csY0" fmla="*/ 11562 h 612813"/>
              <a:gd name="csX1" fmla="*/ 201493 w 201493"/>
              <a:gd name="csY1" fmla="*/ 611498 h 612813"/>
              <a:gd name="csX2" fmla="*/ 134368 w 201493"/>
              <a:gd name="csY2" fmla="*/ 611133 h 612813"/>
              <a:gd name="csX3" fmla="*/ 68030 w 201493"/>
              <a:gd name="csY3" fmla="*/ 611056 h 612813"/>
              <a:gd name="csX4" fmla="*/ 1357 w 201493"/>
              <a:gd name="csY4" fmla="*/ 611050 h 612813"/>
              <a:gd name="csX5" fmla="*/ 3 w 201493"/>
              <a:gd name="csY5" fmla="*/ 604601 h 612813"/>
              <a:gd name="csX6" fmla="*/ 1350 w 201493"/>
              <a:gd name="csY6" fmla="*/ 571511 h 612813"/>
              <a:gd name="csX7" fmla="*/ 4661 w 201493"/>
              <a:gd name="csY7" fmla="*/ 420505 h 612813"/>
              <a:gd name="csX8" fmla="*/ 7130 w 201493"/>
              <a:gd name="csY8" fmla="*/ 324777 h 612813"/>
              <a:gd name="csX9" fmla="*/ 11991 w 201493"/>
              <a:gd name="csY9" fmla="*/ 133315 h 612813"/>
              <a:gd name="csX10" fmla="*/ 13695 w 201493"/>
              <a:gd name="csY10" fmla="*/ 19144 h 612813"/>
              <a:gd name="csX11" fmla="*/ 13702 w 201493"/>
              <a:gd name="csY11" fmla="*/ 8029 h 612813"/>
              <a:gd name="csX12" fmla="*/ 120926 w 201493"/>
              <a:gd name="csY12" fmla="*/ 0 h 612813"/>
              <a:gd name="csX13" fmla="*/ 121535 w 201493"/>
              <a:gd name="csY13" fmla="*/ 11562 h 61281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</a:cxnLst>
            <a:rect l="l" t="t" r="r" b="b"/>
            <a:pathLst>
              <a:path w="201493" h="612813">
                <a:moveTo>
                  <a:pt x="121535" y="11562"/>
                </a:moveTo>
                <a:cubicBezTo>
                  <a:pt x="119691" y="215664"/>
                  <a:pt x="151865" y="414144"/>
                  <a:pt x="201493" y="611498"/>
                </a:cubicBezTo>
                <a:cubicBezTo>
                  <a:pt x="178066" y="614799"/>
                  <a:pt x="156197" y="610806"/>
                  <a:pt x="134368" y="611133"/>
                </a:cubicBezTo>
                <a:cubicBezTo>
                  <a:pt x="112261" y="611465"/>
                  <a:pt x="90143" y="611084"/>
                  <a:pt x="68030" y="611056"/>
                </a:cubicBezTo>
                <a:cubicBezTo>
                  <a:pt x="45965" y="611028"/>
                  <a:pt x="23900" y="611050"/>
                  <a:pt x="1357" y="611050"/>
                </a:cubicBezTo>
                <a:cubicBezTo>
                  <a:pt x="769" y="608377"/>
                  <a:pt x="-56" y="606475"/>
                  <a:pt x="3" y="604601"/>
                </a:cubicBezTo>
                <a:cubicBezTo>
                  <a:pt x="349" y="593568"/>
                  <a:pt x="1095" y="582545"/>
                  <a:pt x="1350" y="571511"/>
                </a:cubicBezTo>
                <a:cubicBezTo>
                  <a:pt x="2513" y="521177"/>
                  <a:pt x="3506" y="470839"/>
                  <a:pt x="4661" y="420505"/>
                </a:cubicBezTo>
                <a:cubicBezTo>
                  <a:pt x="5393" y="388594"/>
                  <a:pt x="6308" y="356686"/>
                  <a:pt x="7130" y="324777"/>
                </a:cubicBezTo>
                <a:cubicBezTo>
                  <a:pt x="8772" y="260956"/>
                  <a:pt x="10555" y="197140"/>
                  <a:pt x="11991" y="133315"/>
                </a:cubicBezTo>
                <a:cubicBezTo>
                  <a:pt x="12846" y="95264"/>
                  <a:pt x="13154" y="57201"/>
                  <a:pt x="13695" y="19144"/>
                </a:cubicBezTo>
                <a:cubicBezTo>
                  <a:pt x="13746" y="15501"/>
                  <a:pt x="13702" y="11858"/>
                  <a:pt x="13702" y="8029"/>
                </a:cubicBezTo>
                <a:cubicBezTo>
                  <a:pt x="49725" y="5331"/>
                  <a:pt x="84908" y="2697"/>
                  <a:pt x="120926" y="0"/>
                </a:cubicBezTo>
                <a:cubicBezTo>
                  <a:pt x="121113" y="3199"/>
                  <a:pt x="121323" y="6798"/>
                  <a:pt x="121535" y="11562"/>
                </a:cubicBezTo>
                <a:close/>
              </a:path>
            </a:pathLst>
          </a:custGeom>
          <a:solidFill>
            <a:srgbClr val="FDFDFD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42" name="Free-form: Shape 241">
            <a:extLst>
              <a:ext uri="{FF2B5EF4-FFF2-40B4-BE49-F238E27FC236}">
                <a16:creationId xmlns:a16="http://schemas.microsoft.com/office/drawing/2014/main" id="{428CA844-B5C3-DBAB-89AE-10725C336C99}"/>
              </a:ext>
            </a:extLst>
          </p:cNvPr>
          <p:cNvSpPr/>
          <p:nvPr/>
        </p:nvSpPr>
        <p:spPr>
          <a:xfrm>
            <a:off x="2859109" y="5459616"/>
            <a:ext cx="250431" cy="194755"/>
          </a:xfrm>
          <a:custGeom>
            <a:avLst/>
            <a:gdLst>
              <a:gd name="csX0" fmla="*/ 77135 w 324367"/>
              <a:gd name="csY0" fmla="*/ 11670 h 229322"/>
              <a:gd name="csX1" fmla="*/ 146795 w 324367"/>
              <a:gd name="csY1" fmla="*/ 7480 h 229322"/>
              <a:gd name="csX2" fmla="*/ 207718 w 324367"/>
              <a:gd name="csY2" fmla="*/ 1232 h 229322"/>
              <a:gd name="csX3" fmla="*/ 219215 w 324367"/>
              <a:gd name="csY3" fmla="*/ 0 h 229322"/>
              <a:gd name="csX4" fmla="*/ 222536 w 324367"/>
              <a:gd name="csY4" fmla="*/ 12108 h 229322"/>
              <a:gd name="csX5" fmla="*/ 255647 w 324367"/>
              <a:gd name="csY5" fmla="*/ 76552 h 229322"/>
              <a:gd name="csX6" fmla="*/ 302610 w 324367"/>
              <a:gd name="csY6" fmla="*/ 128236 h 229322"/>
              <a:gd name="csX7" fmla="*/ 323355 w 324367"/>
              <a:gd name="csY7" fmla="*/ 207159 h 229322"/>
              <a:gd name="csX8" fmla="*/ 151 w 324367"/>
              <a:gd name="csY8" fmla="*/ 227930 h 229322"/>
              <a:gd name="csX9" fmla="*/ 3855 w 324367"/>
              <a:gd name="csY9" fmla="*/ 119190 h 229322"/>
              <a:gd name="csX10" fmla="*/ 0 w 324367"/>
              <a:gd name="csY10" fmla="*/ 11685 h 229322"/>
              <a:gd name="csX11" fmla="*/ 77135 w 324367"/>
              <a:gd name="csY11" fmla="*/ 11670 h 22932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324367" h="229322">
                <a:moveTo>
                  <a:pt x="77135" y="11670"/>
                </a:moveTo>
                <a:cubicBezTo>
                  <a:pt x="101131" y="10299"/>
                  <a:pt x="123996" y="9293"/>
                  <a:pt x="146795" y="7480"/>
                </a:cubicBezTo>
                <a:cubicBezTo>
                  <a:pt x="167139" y="5862"/>
                  <a:pt x="187413" y="3352"/>
                  <a:pt x="207718" y="1232"/>
                </a:cubicBezTo>
                <a:cubicBezTo>
                  <a:pt x="211305" y="858"/>
                  <a:pt x="214891" y="464"/>
                  <a:pt x="219215" y="0"/>
                </a:cubicBezTo>
                <a:cubicBezTo>
                  <a:pt x="220448" y="4433"/>
                  <a:pt x="221789" y="8213"/>
                  <a:pt x="222536" y="12108"/>
                </a:cubicBezTo>
                <a:cubicBezTo>
                  <a:pt x="227274" y="36843"/>
                  <a:pt x="237933" y="58320"/>
                  <a:pt x="255647" y="76552"/>
                </a:cubicBezTo>
                <a:cubicBezTo>
                  <a:pt x="271868" y="93249"/>
                  <a:pt x="288407" y="109878"/>
                  <a:pt x="302610" y="128236"/>
                </a:cubicBezTo>
                <a:cubicBezTo>
                  <a:pt x="320215" y="150993"/>
                  <a:pt x="327166" y="177648"/>
                  <a:pt x="323355" y="207159"/>
                </a:cubicBezTo>
                <a:cubicBezTo>
                  <a:pt x="216542" y="225668"/>
                  <a:pt x="109259" y="232554"/>
                  <a:pt x="151" y="227930"/>
                </a:cubicBezTo>
                <a:cubicBezTo>
                  <a:pt x="1495" y="191410"/>
                  <a:pt x="3878" y="155299"/>
                  <a:pt x="3855" y="119190"/>
                </a:cubicBezTo>
                <a:cubicBezTo>
                  <a:pt x="3834" y="83413"/>
                  <a:pt x="1388" y="47637"/>
                  <a:pt x="0" y="11685"/>
                </a:cubicBezTo>
                <a:cubicBezTo>
                  <a:pt x="25514" y="11685"/>
                  <a:pt x="50744" y="11685"/>
                  <a:pt x="77135" y="11670"/>
                </a:cubicBezTo>
                <a:close/>
              </a:path>
            </a:pathLst>
          </a:custGeom>
          <a:solidFill>
            <a:srgbClr val="FDFEFE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43" name="Free-form: Shape 242">
            <a:extLst>
              <a:ext uri="{FF2B5EF4-FFF2-40B4-BE49-F238E27FC236}">
                <a16:creationId xmlns:a16="http://schemas.microsoft.com/office/drawing/2014/main" id="{E02FA095-6077-7348-88B0-D912A9006934}"/>
              </a:ext>
            </a:extLst>
          </p:cNvPr>
          <p:cNvSpPr/>
          <p:nvPr/>
        </p:nvSpPr>
        <p:spPr>
          <a:xfrm>
            <a:off x="2845410" y="4534935"/>
            <a:ext cx="176355" cy="229704"/>
          </a:xfrm>
          <a:custGeom>
            <a:avLst/>
            <a:gdLst>
              <a:gd name="csX0" fmla="*/ 104636 w 228422"/>
              <a:gd name="csY0" fmla="*/ 81707 h 270473"/>
              <a:gd name="csX1" fmla="*/ 159689 w 228422"/>
              <a:gd name="csY1" fmla="*/ 83584 h 270473"/>
              <a:gd name="csX2" fmla="*/ 178665 w 228422"/>
              <a:gd name="csY2" fmla="*/ 68119 h 270473"/>
              <a:gd name="csX3" fmla="*/ 186448 w 228422"/>
              <a:gd name="csY3" fmla="*/ 20996 h 270473"/>
              <a:gd name="csX4" fmla="*/ 188779 w 228422"/>
              <a:gd name="csY4" fmla="*/ 7950 h 270473"/>
              <a:gd name="csX5" fmla="*/ 228146 w 228422"/>
              <a:gd name="csY5" fmla="*/ 14593 h 270473"/>
              <a:gd name="csX6" fmla="*/ 228030 w 228422"/>
              <a:gd name="csY6" fmla="*/ 40316 h 270473"/>
              <a:gd name="csX7" fmla="*/ 210907 w 228422"/>
              <a:gd name="csY7" fmla="*/ 157740 h 270473"/>
              <a:gd name="csX8" fmla="*/ 160928 w 228422"/>
              <a:gd name="csY8" fmla="*/ 245220 h 270473"/>
              <a:gd name="csX9" fmla="*/ 144327 w 228422"/>
              <a:gd name="csY9" fmla="*/ 264825 h 270473"/>
              <a:gd name="csX10" fmla="*/ 135745 w 228422"/>
              <a:gd name="csY10" fmla="*/ 270212 h 270473"/>
              <a:gd name="csX11" fmla="*/ 28028 w 228422"/>
              <a:gd name="csY11" fmla="*/ 270451 h 270473"/>
              <a:gd name="csX12" fmla="*/ 24984 w 228422"/>
              <a:gd name="csY12" fmla="*/ 243363 h 270473"/>
              <a:gd name="csX13" fmla="*/ 13372 w 228422"/>
              <a:gd name="csY13" fmla="*/ 172017 h 270473"/>
              <a:gd name="csX14" fmla="*/ 172 w 228422"/>
              <a:gd name="csY14" fmla="*/ 41741 h 270473"/>
              <a:gd name="csX15" fmla="*/ 1991 w 228422"/>
              <a:gd name="csY15" fmla="*/ 9927 h 270473"/>
              <a:gd name="csX16" fmla="*/ 11535 w 228422"/>
              <a:gd name="csY16" fmla="*/ 11 h 270473"/>
              <a:gd name="csX17" fmla="*/ 60320 w 228422"/>
              <a:gd name="csY17" fmla="*/ 4 h 270473"/>
              <a:gd name="csX18" fmla="*/ 63319 w 228422"/>
              <a:gd name="csY18" fmla="*/ 34595 h 270473"/>
              <a:gd name="csX19" fmla="*/ 63995 w 228422"/>
              <a:gd name="csY19" fmla="*/ 65276 h 270473"/>
              <a:gd name="csX20" fmla="*/ 77770 w 228422"/>
              <a:gd name="csY20" fmla="*/ 80309 h 270473"/>
              <a:gd name="csX21" fmla="*/ 104636 w 228422"/>
              <a:gd name="csY21" fmla="*/ 81707 h 27047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</a:cxnLst>
            <a:rect l="l" t="t" r="r" b="b"/>
            <a:pathLst>
              <a:path w="228422" h="270473">
                <a:moveTo>
                  <a:pt x="104636" y="81707"/>
                </a:moveTo>
                <a:cubicBezTo>
                  <a:pt x="123750" y="82425"/>
                  <a:pt x="141717" y="83526"/>
                  <a:pt x="159689" y="83584"/>
                </a:cubicBezTo>
                <a:cubicBezTo>
                  <a:pt x="170998" y="83621"/>
                  <a:pt x="176351" y="79300"/>
                  <a:pt x="178665" y="68119"/>
                </a:cubicBezTo>
                <a:cubicBezTo>
                  <a:pt x="181890" y="52542"/>
                  <a:pt x="183892" y="36712"/>
                  <a:pt x="186448" y="20996"/>
                </a:cubicBezTo>
                <a:cubicBezTo>
                  <a:pt x="187087" y="17068"/>
                  <a:pt x="187844" y="13160"/>
                  <a:pt x="188779" y="7950"/>
                </a:cubicBezTo>
                <a:cubicBezTo>
                  <a:pt x="202480" y="10262"/>
                  <a:pt x="215113" y="12394"/>
                  <a:pt x="228146" y="14593"/>
                </a:cubicBezTo>
                <a:cubicBezTo>
                  <a:pt x="228146" y="24129"/>
                  <a:pt x="228839" y="32299"/>
                  <a:pt x="228030" y="40316"/>
                </a:cubicBezTo>
                <a:cubicBezTo>
                  <a:pt x="224051" y="79707"/>
                  <a:pt x="222678" y="119563"/>
                  <a:pt x="210907" y="157740"/>
                </a:cubicBezTo>
                <a:cubicBezTo>
                  <a:pt x="200806" y="190502"/>
                  <a:pt x="186090" y="220845"/>
                  <a:pt x="160928" y="245220"/>
                </a:cubicBezTo>
                <a:cubicBezTo>
                  <a:pt x="154810" y="251147"/>
                  <a:pt x="150112" y="258517"/>
                  <a:pt x="144327" y="264825"/>
                </a:cubicBezTo>
                <a:cubicBezTo>
                  <a:pt x="142086" y="267268"/>
                  <a:pt x="138659" y="270182"/>
                  <a:pt x="135745" y="270212"/>
                </a:cubicBezTo>
                <a:cubicBezTo>
                  <a:pt x="100181" y="270580"/>
                  <a:pt x="64612" y="270451"/>
                  <a:pt x="28028" y="270451"/>
                </a:cubicBezTo>
                <a:cubicBezTo>
                  <a:pt x="26976" y="260883"/>
                  <a:pt x="26343" y="252066"/>
                  <a:pt x="24984" y="243363"/>
                </a:cubicBezTo>
                <a:cubicBezTo>
                  <a:pt x="21268" y="219557"/>
                  <a:pt x="17119" y="195818"/>
                  <a:pt x="13372" y="172017"/>
                </a:cubicBezTo>
                <a:cubicBezTo>
                  <a:pt x="6574" y="128838"/>
                  <a:pt x="-1265" y="85746"/>
                  <a:pt x="172" y="41741"/>
                </a:cubicBezTo>
                <a:cubicBezTo>
                  <a:pt x="518" y="31127"/>
                  <a:pt x="1719" y="20540"/>
                  <a:pt x="1991" y="9927"/>
                </a:cubicBezTo>
                <a:cubicBezTo>
                  <a:pt x="2163" y="3278"/>
                  <a:pt x="4961" y="19"/>
                  <a:pt x="11535" y="11"/>
                </a:cubicBezTo>
                <a:cubicBezTo>
                  <a:pt x="27370" y="-9"/>
                  <a:pt x="43205" y="4"/>
                  <a:pt x="60320" y="4"/>
                </a:cubicBezTo>
                <a:cubicBezTo>
                  <a:pt x="61401" y="12123"/>
                  <a:pt x="62689" y="23341"/>
                  <a:pt x="63319" y="34595"/>
                </a:cubicBezTo>
                <a:cubicBezTo>
                  <a:pt x="63890" y="44802"/>
                  <a:pt x="63444" y="55066"/>
                  <a:pt x="63995" y="65276"/>
                </a:cubicBezTo>
                <a:cubicBezTo>
                  <a:pt x="64588" y="76246"/>
                  <a:pt x="67011" y="79017"/>
                  <a:pt x="77770" y="80309"/>
                </a:cubicBezTo>
                <a:cubicBezTo>
                  <a:pt x="86275" y="81330"/>
                  <a:pt x="94914" y="81244"/>
                  <a:pt x="104636" y="81707"/>
                </a:cubicBezTo>
                <a:close/>
              </a:path>
            </a:pathLst>
          </a:custGeom>
          <a:solidFill>
            <a:srgbClr val="FDFDFD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44" name="Free-form: Shape 243">
            <a:extLst>
              <a:ext uri="{FF2B5EF4-FFF2-40B4-BE49-F238E27FC236}">
                <a16:creationId xmlns:a16="http://schemas.microsoft.com/office/drawing/2014/main" id="{6123498A-763C-9F9D-1A66-D9CED71083A7}"/>
              </a:ext>
            </a:extLst>
          </p:cNvPr>
          <p:cNvSpPr/>
          <p:nvPr/>
        </p:nvSpPr>
        <p:spPr>
          <a:xfrm>
            <a:off x="2855685" y="5681448"/>
            <a:ext cx="268594" cy="68395"/>
          </a:xfrm>
          <a:custGeom>
            <a:avLst/>
            <a:gdLst>
              <a:gd name="csX0" fmla="*/ 135775 w 347893"/>
              <a:gd name="csY0" fmla="*/ 18580 h 80534"/>
              <a:gd name="csX1" fmla="*/ 239717 w 347893"/>
              <a:gd name="csY1" fmla="*/ 11288 h 80534"/>
              <a:gd name="csX2" fmla="*/ 318645 w 347893"/>
              <a:gd name="csY2" fmla="*/ 442 h 80534"/>
              <a:gd name="csX3" fmla="*/ 341767 w 347893"/>
              <a:gd name="csY3" fmla="*/ 13145 h 80534"/>
              <a:gd name="csX4" fmla="*/ 347232 w 347893"/>
              <a:gd name="csY4" fmla="*/ 54621 h 80534"/>
              <a:gd name="csX5" fmla="*/ 0 w 347893"/>
              <a:gd name="csY5" fmla="*/ 75820 h 80534"/>
              <a:gd name="csX6" fmla="*/ 0 w 347893"/>
              <a:gd name="csY6" fmla="*/ 19396 h 80534"/>
              <a:gd name="csX7" fmla="*/ 135775 w 347893"/>
              <a:gd name="csY7" fmla="*/ 18580 h 8053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</a:cxnLst>
            <a:rect l="l" t="t" r="r" b="b"/>
            <a:pathLst>
              <a:path w="347893" h="80534">
                <a:moveTo>
                  <a:pt x="135775" y="18580"/>
                </a:moveTo>
                <a:cubicBezTo>
                  <a:pt x="171209" y="16211"/>
                  <a:pt x="205541" y="14564"/>
                  <a:pt x="239717" y="11288"/>
                </a:cubicBezTo>
                <a:cubicBezTo>
                  <a:pt x="266132" y="8756"/>
                  <a:pt x="292375" y="4350"/>
                  <a:pt x="318645" y="442"/>
                </a:cubicBezTo>
                <a:cubicBezTo>
                  <a:pt x="330480" y="-1319"/>
                  <a:pt x="337947" y="2033"/>
                  <a:pt x="341767" y="13145"/>
                </a:cubicBezTo>
                <a:cubicBezTo>
                  <a:pt x="346279" y="26268"/>
                  <a:pt x="349293" y="39746"/>
                  <a:pt x="347232" y="54621"/>
                </a:cubicBezTo>
                <a:cubicBezTo>
                  <a:pt x="232188" y="77697"/>
                  <a:pt x="116756" y="86979"/>
                  <a:pt x="0" y="75820"/>
                </a:cubicBezTo>
                <a:cubicBezTo>
                  <a:pt x="0" y="56279"/>
                  <a:pt x="0" y="38485"/>
                  <a:pt x="0" y="19396"/>
                </a:cubicBezTo>
                <a:cubicBezTo>
                  <a:pt x="45633" y="19126"/>
                  <a:pt x="90119" y="18862"/>
                  <a:pt x="135775" y="18580"/>
                </a:cubicBezTo>
                <a:close/>
              </a:path>
            </a:pathLst>
          </a:custGeom>
          <a:solidFill>
            <a:srgbClr val="FCFDFD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46" name="Free-form: Shape 245">
            <a:extLst>
              <a:ext uri="{FF2B5EF4-FFF2-40B4-BE49-F238E27FC236}">
                <a16:creationId xmlns:a16="http://schemas.microsoft.com/office/drawing/2014/main" id="{2D4E20BE-0AE4-6196-71C9-B342C9943A30}"/>
              </a:ext>
            </a:extLst>
          </p:cNvPr>
          <p:cNvSpPr/>
          <p:nvPr/>
        </p:nvSpPr>
        <p:spPr>
          <a:xfrm>
            <a:off x="10826401" y="4505549"/>
            <a:ext cx="593502" cy="1281815"/>
          </a:xfrm>
          <a:custGeom>
            <a:avLst/>
            <a:gdLst>
              <a:gd name="csX0" fmla="*/ 576414 w 768725"/>
              <a:gd name="csY0" fmla="*/ 893042 h 1509319"/>
              <a:gd name="csX1" fmla="*/ 613047 w 768725"/>
              <a:gd name="csY1" fmla="*/ 1059329 h 1509319"/>
              <a:gd name="csX2" fmla="*/ 623337 w 768725"/>
              <a:gd name="csY2" fmla="*/ 1071825 h 1509319"/>
              <a:gd name="csX3" fmla="*/ 639863 w 768725"/>
              <a:gd name="csY3" fmla="*/ 1079946 h 1509319"/>
              <a:gd name="csX4" fmla="*/ 652266 w 768725"/>
              <a:gd name="csY4" fmla="*/ 1109045 h 1509319"/>
              <a:gd name="csX5" fmla="*/ 645501 w 768725"/>
              <a:gd name="csY5" fmla="*/ 1127466 h 1509319"/>
              <a:gd name="csX6" fmla="*/ 645547 w 768725"/>
              <a:gd name="csY6" fmla="*/ 1144138 h 1509319"/>
              <a:gd name="csX7" fmla="*/ 664589 w 768725"/>
              <a:gd name="csY7" fmla="*/ 1175322 h 1509319"/>
              <a:gd name="csX8" fmla="*/ 712015 w 768725"/>
              <a:gd name="csY8" fmla="*/ 1225118 h 1509319"/>
              <a:gd name="csX9" fmla="*/ 744465 w 768725"/>
              <a:gd name="csY9" fmla="*/ 1300385 h 1509319"/>
              <a:gd name="csX10" fmla="*/ 743270 w 768725"/>
              <a:gd name="csY10" fmla="*/ 1350524 h 1509319"/>
              <a:gd name="csX11" fmla="*/ 745429 w 768725"/>
              <a:gd name="csY11" fmla="*/ 1363274 h 1509319"/>
              <a:gd name="csX12" fmla="*/ 768672 w 768725"/>
              <a:gd name="csY12" fmla="*/ 1456512 h 1509319"/>
              <a:gd name="csX13" fmla="*/ 758521 w 768725"/>
              <a:gd name="csY13" fmla="*/ 1472434 h 1509319"/>
              <a:gd name="csX14" fmla="*/ 730455 w 768725"/>
              <a:gd name="csY14" fmla="*/ 1481228 h 1509319"/>
              <a:gd name="csX15" fmla="*/ 594867 w 768725"/>
              <a:gd name="csY15" fmla="*/ 1502210 h 1509319"/>
              <a:gd name="csX16" fmla="*/ 320018 w 768725"/>
              <a:gd name="csY16" fmla="*/ 1508300 h 1509319"/>
              <a:gd name="csX17" fmla="*/ 186464 w 768725"/>
              <a:gd name="csY17" fmla="*/ 1501258 h 1509319"/>
              <a:gd name="csX18" fmla="*/ 26582 w 768725"/>
              <a:gd name="csY18" fmla="*/ 1477021 h 1509319"/>
              <a:gd name="csX19" fmla="*/ 3929 w 768725"/>
              <a:gd name="csY19" fmla="*/ 1465652 h 1509319"/>
              <a:gd name="csX20" fmla="*/ 18 w 768725"/>
              <a:gd name="csY20" fmla="*/ 1456203 h 1509319"/>
              <a:gd name="csX21" fmla="*/ 4393 w 768725"/>
              <a:gd name="csY21" fmla="*/ 1417235 h 1509319"/>
              <a:gd name="csX22" fmla="*/ 19158 w 768725"/>
              <a:gd name="csY22" fmla="*/ 1370678 h 1509319"/>
              <a:gd name="csX23" fmla="*/ 23255 w 768725"/>
              <a:gd name="csY23" fmla="*/ 1342388 h 1509319"/>
              <a:gd name="csX24" fmla="*/ 38705 w 768725"/>
              <a:gd name="csY24" fmla="*/ 1247261 h 1509319"/>
              <a:gd name="csX25" fmla="*/ 58454 w 768725"/>
              <a:gd name="csY25" fmla="*/ 1220807 h 1509319"/>
              <a:gd name="csX26" fmla="*/ 103638 w 768725"/>
              <a:gd name="csY26" fmla="*/ 1175667 h 1509319"/>
              <a:gd name="csX27" fmla="*/ 122996 w 768725"/>
              <a:gd name="csY27" fmla="*/ 1146131 h 1509319"/>
              <a:gd name="csX28" fmla="*/ 122689 w 768725"/>
              <a:gd name="csY28" fmla="*/ 1128316 h 1509319"/>
              <a:gd name="csX29" fmla="*/ 116576 w 768725"/>
              <a:gd name="csY29" fmla="*/ 1113575 h 1509319"/>
              <a:gd name="csX30" fmla="*/ 127479 w 768725"/>
              <a:gd name="csY30" fmla="*/ 1081076 h 1509319"/>
              <a:gd name="csX31" fmla="*/ 137480 w 768725"/>
              <a:gd name="csY31" fmla="*/ 1076482 h 1509319"/>
              <a:gd name="csX32" fmla="*/ 157312 w 768725"/>
              <a:gd name="csY32" fmla="*/ 1053855 h 1509319"/>
              <a:gd name="csX33" fmla="*/ 178876 w 768725"/>
              <a:gd name="csY33" fmla="*/ 958120 h 1509319"/>
              <a:gd name="csX34" fmla="*/ 210165 w 768725"/>
              <a:gd name="csY34" fmla="*/ 781849 h 1509319"/>
              <a:gd name="csX35" fmla="*/ 223295 w 768725"/>
              <a:gd name="csY35" fmla="*/ 674755 h 1509319"/>
              <a:gd name="csX36" fmla="*/ 231121 w 768725"/>
              <a:gd name="csY36" fmla="*/ 564636 h 1509319"/>
              <a:gd name="csX37" fmla="*/ 235173 w 768725"/>
              <a:gd name="csY37" fmla="*/ 453038 h 1509319"/>
              <a:gd name="csX38" fmla="*/ 235001 w 768725"/>
              <a:gd name="csY38" fmla="*/ 443215 h 1509319"/>
              <a:gd name="csX39" fmla="*/ 224321 w 768725"/>
              <a:gd name="csY39" fmla="*/ 428479 h 1509319"/>
              <a:gd name="csX40" fmla="*/ 204712 w 768725"/>
              <a:gd name="csY40" fmla="*/ 418450 h 1509319"/>
              <a:gd name="csX41" fmla="*/ 184069 w 768725"/>
              <a:gd name="csY41" fmla="*/ 366060 h 1509319"/>
              <a:gd name="csX42" fmla="*/ 206519 w 768725"/>
              <a:gd name="csY42" fmla="*/ 338181 h 1509319"/>
              <a:gd name="csX43" fmla="*/ 226643 w 768725"/>
              <a:gd name="csY43" fmla="*/ 329113 h 1509319"/>
              <a:gd name="csX44" fmla="*/ 232085 w 768725"/>
              <a:gd name="csY44" fmla="*/ 311135 h 1509319"/>
              <a:gd name="csX45" fmla="*/ 221280 w 768725"/>
              <a:gd name="csY45" fmla="*/ 299552 h 1509319"/>
              <a:gd name="csX46" fmla="*/ 173478 w 768725"/>
              <a:gd name="csY46" fmla="*/ 230303 h 1509319"/>
              <a:gd name="csX47" fmla="*/ 141864 w 768725"/>
              <a:gd name="csY47" fmla="*/ 95780 h 1509319"/>
              <a:gd name="csX48" fmla="*/ 137158 w 768725"/>
              <a:gd name="csY48" fmla="*/ 37107 h 1509319"/>
              <a:gd name="csX49" fmla="*/ 148750 w 768725"/>
              <a:gd name="csY49" fmla="*/ 22335 h 1509319"/>
              <a:gd name="csX50" fmla="*/ 236982 w 768725"/>
              <a:gd name="csY50" fmla="*/ 7640 h 1509319"/>
              <a:gd name="csX51" fmla="*/ 246862 w 768725"/>
              <a:gd name="csY51" fmla="*/ 7580 h 1509319"/>
              <a:gd name="csX52" fmla="*/ 261473 w 768725"/>
              <a:gd name="csY52" fmla="*/ 86763 h 1509319"/>
              <a:gd name="csX53" fmla="*/ 306246 w 768725"/>
              <a:gd name="csY53" fmla="*/ 83559 h 1509319"/>
              <a:gd name="csX54" fmla="*/ 306960 w 768725"/>
              <a:gd name="csY54" fmla="*/ 71087 h 1509319"/>
              <a:gd name="csX55" fmla="*/ 306724 w 768725"/>
              <a:gd name="csY55" fmla="*/ 19491 h 1509319"/>
              <a:gd name="csX56" fmla="*/ 319581 w 768725"/>
              <a:gd name="csY56" fmla="*/ 4733 h 1509319"/>
              <a:gd name="csX57" fmla="*/ 430956 w 768725"/>
              <a:gd name="csY57" fmla="*/ 2070 h 1509319"/>
              <a:gd name="csX58" fmla="*/ 437066 w 768725"/>
              <a:gd name="csY58" fmla="*/ 2646 h 1509319"/>
              <a:gd name="csX59" fmla="*/ 460335 w 768725"/>
              <a:gd name="csY59" fmla="*/ 24205 h 1509319"/>
              <a:gd name="csX60" fmla="*/ 463579 w 768725"/>
              <a:gd name="csY60" fmla="*/ 62081 h 1509319"/>
              <a:gd name="csX61" fmla="*/ 463652 w 768725"/>
              <a:gd name="csY61" fmla="*/ 82953 h 1509319"/>
              <a:gd name="csX62" fmla="*/ 507205 w 768725"/>
              <a:gd name="csY62" fmla="*/ 85553 h 1509319"/>
              <a:gd name="csX63" fmla="*/ 513271 w 768725"/>
              <a:gd name="csY63" fmla="*/ 61890 h 1509319"/>
              <a:gd name="csX64" fmla="*/ 520203 w 768725"/>
              <a:gd name="csY64" fmla="*/ 18323 h 1509319"/>
              <a:gd name="csX65" fmla="*/ 534008 w 768725"/>
              <a:gd name="csY65" fmla="*/ 7785 h 1509319"/>
              <a:gd name="csX66" fmla="*/ 595925 w 768725"/>
              <a:gd name="csY66" fmla="*/ 16407 h 1509319"/>
              <a:gd name="csX67" fmla="*/ 619972 w 768725"/>
              <a:gd name="csY67" fmla="*/ 21156 h 1509319"/>
              <a:gd name="csX68" fmla="*/ 631161 w 768725"/>
              <a:gd name="csY68" fmla="*/ 36134 h 1509319"/>
              <a:gd name="csX69" fmla="*/ 628140 w 768725"/>
              <a:gd name="csY69" fmla="*/ 85104 h 1509319"/>
              <a:gd name="csX70" fmla="*/ 613954 w 768725"/>
              <a:gd name="csY70" fmla="*/ 179618 h 1509319"/>
              <a:gd name="csX71" fmla="*/ 586196 w 768725"/>
              <a:gd name="csY71" fmla="*/ 256886 h 1509319"/>
              <a:gd name="csX72" fmla="*/ 554619 w 768725"/>
              <a:gd name="csY72" fmla="*/ 295312 h 1509319"/>
              <a:gd name="csX73" fmla="*/ 538601 w 768725"/>
              <a:gd name="csY73" fmla="*/ 315001 h 1509319"/>
              <a:gd name="csX74" fmla="*/ 542630 w 768725"/>
              <a:gd name="csY74" fmla="*/ 326199 h 1509319"/>
              <a:gd name="csX75" fmla="*/ 560240 w 768725"/>
              <a:gd name="csY75" fmla="*/ 334912 h 1509319"/>
              <a:gd name="csX76" fmla="*/ 586933 w 768725"/>
              <a:gd name="csY76" fmla="*/ 371800 h 1509319"/>
              <a:gd name="csX77" fmla="*/ 563039 w 768725"/>
              <a:gd name="csY77" fmla="*/ 418184 h 1509319"/>
              <a:gd name="csX78" fmla="*/ 545522 w 768725"/>
              <a:gd name="csY78" fmla="*/ 427008 h 1509319"/>
              <a:gd name="csX79" fmla="*/ 535507 w 768725"/>
              <a:gd name="csY79" fmla="*/ 440667 h 1509319"/>
              <a:gd name="csX80" fmla="*/ 536723 w 768725"/>
              <a:gd name="csY80" fmla="*/ 537651 h 1509319"/>
              <a:gd name="csX81" fmla="*/ 539820 w 768725"/>
              <a:gd name="csY81" fmla="*/ 595237 h 1509319"/>
              <a:gd name="csX82" fmla="*/ 553105 w 768725"/>
              <a:gd name="csY82" fmla="*/ 746727 h 1509319"/>
              <a:gd name="csX83" fmla="*/ 576414 w 768725"/>
              <a:gd name="csY83" fmla="*/ 893042 h 1509319"/>
              <a:gd name="csX84" fmla="*/ 500356 w 768725"/>
              <a:gd name="csY84" fmla="*/ 473996 h 1509319"/>
              <a:gd name="csX85" fmla="*/ 499749 w 768725"/>
              <a:gd name="csY85" fmla="*/ 463598 h 1509319"/>
              <a:gd name="csX86" fmla="*/ 392525 w 768725"/>
              <a:gd name="csY86" fmla="*/ 471627 h 1509319"/>
              <a:gd name="csX87" fmla="*/ 392518 w 768725"/>
              <a:gd name="csY87" fmla="*/ 482742 h 1509319"/>
              <a:gd name="csX88" fmla="*/ 390814 w 768725"/>
              <a:gd name="csY88" fmla="*/ 596913 h 1509319"/>
              <a:gd name="csX89" fmla="*/ 385953 w 768725"/>
              <a:gd name="csY89" fmla="*/ 788374 h 1509319"/>
              <a:gd name="csX90" fmla="*/ 383485 w 768725"/>
              <a:gd name="csY90" fmla="*/ 884103 h 1509319"/>
              <a:gd name="csX91" fmla="*/ 380173 w 768725"/>
              <a:gd name="csY91" fmla="*/ 1035109 h 1509319"/>
              <a:gd name="csX92" fmla="*/ 378826 w 768725"/>
              <a:gd name="csY92" fmla="*/ 1068199 h 1509319"/>
              <a:gd name="csX93" fmla="*/ 380180 w 768725"/>
              <a:gd name="csY93" fmla="*/ 1074648 h 1509319"/>
              <a:gd name="csX94" fmla="*/ 446854 w 768725"/>
              <a:gd name="csY94" fmla="*/ 1074654 h 1509319"/>
              <a:gd name="csX95" fmla="*/ 513191 w 768725"/>
              <a:gd name="csY95" fmla="*/ 1074731 h 1509319"/>
              <a:gd name="csX96" fmla="*/ 580317 w 768725"/>
              <a:gd name="csY96" fmla="*/ 1075095 h 1509319"/>
              <a:gd name="csX97" fmla="*/ 500356 w 768725"/>
              <a:gd name="csY97" fmla="*/ 473996 h 1509319"/>
              <a:gd name="csX98" fmla="*/ 459731 w 768725"/>
              <a:gd name="csY98" fmla="*/ 1135086 h 1509319"/>
              <a:gd name="csX99" fmla="*/ 383756 w 768725"/>
              <a:gd name="csY99" fmla="*/ 1135086 h 1509319"/>
              <a:gd name="csX100" fmla="*/ 387612 w 768725"/>
              <a:gd name="csY100" fmla="*/ 1242590 h 1509319"/>
              <a:gd name="csX101" fmla="*/ 383907 w 768725"/>
              <a:gd name="csY101" fmla="*/ 1351330 h 1509319"/>
              <a:gd name="csX102" fmla="*/ 707112 w 768725"/>
              <a:gd name="csY102" fmla="*/ 1330559 h 1509319"/>
              <a:gd name="csX103" fmla="*/ 686366 w 768725"/>
              <a:gd name="csY103" fmla="*/ 1251637 h 1509319"/>
              <a:gd name="csX104" fmla="*/ 639403 w 768725"/>
              <a:gd name="csY104" fmla="*/ 1199952 h 1509319"/>
              <a:gd name="csX105" fmla="*/ 606292 w 768725"/>
              <a:gd name="csY105" fmla="*/ 1135508 h 1509319"/>
              <a:gd name="csX106" fmla="*/ 602971 w 768725"/>
              <a:gd name="csY106" fmla="*/ 1123400 h 1509319"/>
              <a:gd name="csX107" fmla="*/ 591474 w 768725"/>
              <a:gd name="csY107" fmla="*/ 1124633 h 1509319"/>
              <a:gd name="csX108" fmla="*/ 530551 w 768725"/>
              <a:gd name="csY108" fmla="*/ 1130880 h 1509319"/>
              <a:gd name="csX109" fmla="*/ 459731 w 768725"/>
              <a:gd name="csY109" fmla="*/ 1135086 h 1509319"/>
              <a:gd name="csX110" fmla="*/ 469505 w 768725"/>
              <a:gd name="csY110" fmla="*/ 116252 h 1509319"/>
              <a:gd name="csX111" fmla="*/ 443782 w 768725"/>
              <a:gd name="csY111" fmla="*/ 114911 h 1509319"/>
              <a:gd name="csX112" fmla="*/ 430007 w 768725"/>
              <a:gd name="csY112" fmla="*/ 99878 h 1509319"/>
              <a:gd name="csX113" fmla="*/ 429331 w 768725"/>
              <a:gd name="csY113" fmla="*/ 69197 h 1509319"/>
              <a:gd name="csX114" fmla="*/ 426333 w 768725"/>
              <a:gd name="csY114" fmla="*/ 34606 h 1509319"/>
              <a:gd name="csX115" fmla="*/ 377548 w 768725"/>
              <a:gd name="csY115" fmla="*/ 34613 h 1509319"/>
              <a:gd name="csX116" fmla="*/ 368004 w 768725"/>
              <a:gd name="csY116" fmla="*/ 44529 h 1509319"/>
              <a:gd name="csX117" fmla="*/ 366185 w 768725"/>
              <a:gd name="csY117" fmla="*/ 76343 h 1509319"/>
              <a:gd name="csX118" fmla="*/ 379384 w 768725"/>
              <a:gd name="csY118" fmla="*/ 206619 h 1509319"/>
              <a:gd name="csX119" fmla="*/ 390997 w 768725"/>
              <a:gd name="csY119" fmla="*/ 277965 h 1509319"/>
              <a:gd name="csX120" fmla="*/ 394040 w 768725"/>
              <a:gd name="csY120" fmla="*/ 305053 h 1509319"/>
              <a:gd name="csX121" fmla="*/ 501758 w 768725"/>
              <a:gd name="csY121" fmla="*/ 304814 h 1509319"/>
              <a:gd name="csX122" fmla="*/ 510340 w 768725"/>
              <a:gd name="csY122" fmla="*/ 299427 h 1509319"/>
              <a:gd name="csX123" fmla="*/ 526940 w 768725"/>
              <a:gd name="csY123" fmla="*/ 279822 h 1509319"/>
              <a:gd name="csX124" fmla="*/ 576920 w 768725"/>
              <a:gd name="csY124" fmla="*/ 192342 h 1509319"/>
              <a:gd name="csX125" fmla="*/ 594042 w 768725"/>
              <a:gd name="csY125" fmla="*/ 74918 h 1509319"/>
              <a:gd name="csX126" fmla="*/ 594159 w 768725"/>
              <a:gd name="csY126" fmla="*/ 49195 h 1509319"/>
              <a:gd name="csX127" fmla="*/ 554791 w 768725"/>
              <a:gd name="csY127" fmla="*/ 42552 h 1509319"/>
              <a:gd name="csX128" fmla="*/ 552461 w 768725"/>
              <a:gd name="csY128" fmla="*/ 55598 h 1509319"/>
              <a:gd name="csX129" fmla="*/ 544678 w 768725"/>
              <a:gd name="csY129" fmla="*/ 102721 h 1509319"/>
              <a:gd name="csX130" fmla="*/ 525701 w 768725"/>
              <a:gd name="csY130" fmla="*/ 118186 h 1509319"/>
              <a:gd name="csX131" fmla="*/ 469505 w 768725"/>
              <a:gd name="csY131" fmla="*/ 116252 h 1509319"/>
              <a:gd name="csX132" fmla="*/ 513928 w 768725"/>
              <a:gd name="csY132" fmla="*/ 1403203 h 1509319"/>
              <a:gd name="csX133" fmla="*/ 379322 w 768725"/>
              <a:gd name="csY133" fmla="*/ 1404000 h 1509319"/>
              <a:gd name="csX134" fmla="*/ 379322 w 768725"/>
              <a:gd name="csY134" fmla="*/ 1460424 h 1509319"/>
              <a:gd name="csX135" fmla="*/ 726554 w 768725"/>
              <a:gd name="csY135" fmla="*/ 1439225 h 1509319"/>
              <a:gd name="csX136" fmla="*/ 721089 w 768725"/>
              <a:gd name="csY136" fmla="*/ 1397750 h 1509319"/>
              <a:gd name="csX137" fmla="*/ 697967 w 768725"/>
              <a:gd name="csY137" fmla="*/ 1385046 h 1509319"/>
              <a:gd name="csX138" fmla="*/ 619039 w 768725"/>
              <a:gd name="csY138" fmla="*/ 1395892 h 1509319"/>
              <a:gd name="csX139" fmla="*/ 513928 w 768725"/>
              <a:gd name="csY139" fmla="*/ 1403203 h 1509319"/>
              <a:gd name="csX140" fmla="*/ 462814 w 768725"/>
              <a:gd name="csY140" fmla="*/ 375981 h 1509319"/>
              <a:gd name="csX141" fmla="*/ 538992 w 768725"/>
              <a:gd name="csY141" fmla="*/ 375736 h 1509319"/>
              <a:gd name="csX142" fmla="*/ 551835 w 768725"/>
              <a:gd name="csY142" fmla="*/ 373923 h 1509319"/>
              <a:gd name="csX143" fmla="*/ 539689 w 768725"/>
              <a:gd name="csY143" fmla="*/ 356085 h 1509319"/>
              <a:gd name="csX144" fmla="*/ 521074 w 768725"/>
              <a:gd name="csY144" fmla="*/ 344186 h 1509319"/>
              <a:gd name="csX145" fmla="*/ 503789 w 768725"/>
              <a:gd name="csY145" fmla="*/ 339280 h 1509319"/>
              <a:gd name="csX146" fmla="*/ 404270 w 768725"/>
              <a:gd name="csY146" fmla="*/ 339994 h 1509319"/>
              <a:gd name="csX147" fmla="*/ 393081 w 768725"/>
              <a:gd name="csY147" fmla="*/ 340868 h 1509319"/>
              <a:gd name="csX148" fmla="*/ 395001 w 768725"/>
              <a:gd name="csY148" fmla="*/ 375976 h 1509319"/>
              <a:gd name="csX149" fmla="*/ 462814 w 768725"/>
              <a:gd name="csY149" fmla="*/ 375981 h 150931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</a:cxnLst>
            <a:rect l="l" t="t" r="r" b="b"/>
            <a:pathLst>
              <a:path w="768725" h="1509319">
                <a:moveTo>
                  <a:pt x="576414" y="893042"/>
                </a:moveTo>
                <a:cubicBezTo>
                  <a:pt x="588806" y="949146"/>
                  <a:pt x="601091" y="1004202"/>
                  <a:pt x="613047" y="1059329"/>
                </a:cubicBezTo>
                <a:cubicBezTo>
                  <a:pt x="614432" y="1065716"/>
                  <a:pt x="617736" y="1069332"/>
                  <a:pt x="623337" y="1071825"/>
                </a:cubicBezTo>
                <a:cubicBezTo>
                  <a:pt x="628942" y="1074320"/>
                  <a:pt x="634521" y="1076938"/>
                  <a:pt x="639863" y="1079946"/>
                </a:cubicBezTo>
                <a:cubicBezTo>
                  <a:pt x="650944" y="1086186"/>
                  <a:pt x="655598" y="1096871"/>
                  <a:pt x="652266" y="1109045"/>
                </a:cubicBezTo>
                <a:cubicBezTo>
                  <a:pt x="650545" y="1115333"/>
                  <a:pt x="647953" y="1121401"/>
                  <a:pt x="645501" y="1127466"/>
                </a:cubicBezTo>
                <a:cubicBezTo>
                  <a:pt x="643225" y="1133097"/>
                  <a:pt x="643438" y="1138435"/>
                  <a:pt x="645547" y="1144138"/>
                </a:cubicBezTo>
                <a:cubicBezTo>
                  <a:pt x="649868" y="1155821"/>
                  <a:pt x="655892" y="1166306"/>
                  <a:pt x="664589" y="1175322"/>
                </a:cubicBezTo>
                <a:cubicBezTo>
                  <a:pt x="680503" y="1191819"/>
                  <a:pt x="696298" y="1208434"/>
                  <a:pt x="712015" y="1225118"/>
                </a:cubicBezTo>
                <a:cubicBezTo>
                  <a:pt x="731931" y="1246258"/>
                  <a:pt x="740856" y="1272032"/>
                  <a:pt x="744465" y="1300385"/>
                </a:cubicBezTo>
                <a:cubicBezTo>
                  <a:pt x="746614" y="1317273"/>
                  <a:pt x="744537" y="1333855"/>
                  <a:pt x="743270" y="1350524"/>
                </a:cubicBezTo>
                <a:cubicBezTo>
                  <a:pt x="742916" y="1355183"/>
                  <a:pt x="743079" y="1358990"/>
                  <a:pt x="745429" y="1363274"/>
                </a:cubicBezTo>
                <a:cubicBezTo>
                  <a:pt x="761335" y="1392276"/>
                  <a:pt x="766719" y="1423956"/>
                  <a:pt x="768672" y="1456512"/>
                </a:cubicBezTo>
                <a:cubicBezTo>
                  <a:pt x="769161" y="1464651"/>
                  <a:pt x="766327" y="1469951"/>
                  <a:pt x="758521" y="1472434"/>
                </a:cubicBezTo>
                <a:cubicBezTo>
                  <a:pt x="749176" y="1475406"/>
                  <a:pt x="739961" y="1478919"/>
                  <a:pt x="730455" y="1481228"/>
                </a:cubicBezTo>
                <a:cubicBezTo>
                  <a:pt x="685866" y="1492058"/>
                  <a:pt x="640613" y="1498445"/>
                  <a:pt x="594867" y="1502210"/>
                </a:cubicBezTo>
                <a:cubicBezTo>
                  <a:pt x="503351" y="1509743"/>
                  <a:pt x="411695" y="1510364"/>
                  <a:pt x="320018" y="1508300"/>
                </a:cubicBezTo>
                <a:cubicBezTo>
                  <a:pt x="275466" y="1507297"/>
                  <a:pt x="230913" y="1504582"/>
                  <a:pt x="186464" y="1501258"/>
                </a:cubicBezTo>
                <a:cubicBezTo>
                  <a:pt x="132610" y="1497231"/>
                  <a:pt x="79072" y="1490389"/>
                  <a:pt x="26582" y="1477021"/>
                </a:cubicBezTo>
                <a:cubicBezTo>
                  <a:pt x="18195" y="1474885"/>
                  <a:pt x="9735" y="1472585"/>
                  <a:pt x="3929" y="1465652"/>
                </a:cubicBezTo>
                <a:cubicBezTo>
                  <a:pt x="1807" y="1463117"/>
                  <a:pt x="-213" y="1459275"/>
                  <a:pt x="18" y="1456203"/>
                </a:cubicBezTo>
                <a:cubicBezTo>
                  <a:pt x="995" y="1443177"/>
                  <a:pt x="2714" y="1430200"/>
                  <a:pt x="4393" y="1417235"/>
                </a:cubicBezTo>
                <a:cubicBezTo>
                  <a:pt x="6515" y="1400846"/>
                  <a:pt x="11310" y="1385118"/>
                  <a:pt x="19158" y="1370678"/>
                </a:cubicBezTo>
                <a:cubicBezTo>
                  <a:pt x="24205" y="1361393"/>
                  <a:pt x="24576" y="1352443"/>
                  <a:pt x="23255" y="1342388"/>
                </a:cubicBezTo>
                <a:cubicBezTo>
                  <a:pt x="18901" y="1309218"/>
                  <a:pt x="21603" y="1276876"/>
                  <a:pt x="38705" y="1247261"/>
                </a:cubicBezTo>
                <a:cubicBezTo>
                  <a:pt x="44179" y="1237783"/>
                  <a:pt x="50956" y="1228786"/>
                  <a:pt x="58454" y="1220807"/>
                </a:cubicBezTo>
                <a:cubicBezTo>
                  <a:pt x="73024" y="1205299"/>
                  <a:pt x="88543" y="1190683"/>
                  <a:pt x="103638" y="1175667"/>
                </a:cubicBezTo>
                <a:cubicBezTo>
                  <a:pt x="112161" y="1167189"/>
                  <a:pt x="118801" y="1157513"/>
                  <a:pt x="122996" y="1146131"/>
                </a:cubicBezTo>
                <a:cubicBezTo>
                  <a:pt x="125249" y="1140016"/>
                  <a:pt x="125488" y="1134282"/>
                  <a:pt x="122689" y="1128316"/>
                </a:cubicBezTo>
                <a:cubicBezTo>
                  <a:pt x="120431" y="1123504"/>
                  <a:pt x="118446" y="1118553"/>
                  <a:pt x="116576" y="1113575"/>
                </a:cubicBezTo>
                <a:cubicBezTo>
                  <a:pt x="111153" y="1099133"/>
                  <a:pt x="114404" y="1089299"/>
                  <a:pt x="127479" y="1081076"/>
                </a:cubicBezTo>
                <a:cubicBezTo>
                  <a:pt x="130563" y="1079137"/>
                  <a:pt x="134000" y="1077564"/>
                  <a:pt x="137480" y="1076482"/>
                </a:cubicBezTo>
                <a:cubicBezTo>
                  <a:pt x="148800" y="1072962"/>
                  <a:pt x="154794" y="1065351"/>
                  <a:pt x="157312" y="1053855"/>
                </a:cubicBezTo>
                <a:cubicBezTo>
                  <a:pt x="164312" y="1021900"/>
                  <a:pt x="172752" y="990234"/>
                  <a:pt x="178876" y="958120"/>
                </a:cubicBezTo>
                <a:cubicBezTo>
                  <a:pt x="190055" y="899504"/>
                  <a:pt x="200649" y="840756"/>
                  <a:pt x="210165" y="781849"/>
                </a:cubicBezTo>
                <a:cubicBezTo>
                  <a:pt x="215898" y="746366"/>
                  <a:pt x="219868" y="710550"/>
                  <a:pt x="223295" y="674755"/>
                </a:cubicBezTo>
                <a:cubicBezTo>
                  <a:pt x="226801" y="638133"/>
                  <a:pt x="229185" y="601381"/>
                  <a:pt x="231121" y="564636"/>
                </a:cubicBezTo>
                <a:cubicBezTo>
                  <a:pt x="233079" y="527469"/>
                  <a:pt x="233899" y="490241"/>
                  <a:pt x="235173" y="453038"/>
                </a:cubicBezTo>
                <a:cubicBezTo>
                  <a:pt x="235285" y="449770"/>
                  <a:pt x="235108" y="446488"/>
                  <a:pt x="235001" y="443215"/>
                </a:cubicBezTo>
                <a:cubicBezTo>
                  <a:pt x="234761" y="435907"/>
                  <a:pt x="231291" y="431283"/>
                  <a:pt x="224321" y="428479"/>
                </a:cubicBezTo>
                <a:cubicBezTo>
                  <a:pt x="217531" y="425747"/>
                  <a:pt x="210873" y="422395"/>
                  <a:pt x="204712" y="418450"/>
                </a:cubicBezTo>
                <a:cubicBezTo>
                  <a:pt x="187562" y="407468"/>
                  <a:pt x="179141" y="385623"/>
                  <a:pt x="184069" y="366060"/>
                </a:cubicBezTo>
                <a:cubicBezTo>
                  <a:pt x="187270" y="353354"/>
                  <a:pt x="195406" y="344379"/>
                  <a:pt x="206519" y="338181"/>
                </a:cubicBezTo>
                <a:cubicBezTo>
                  <a:pt x="212922" y="334611"/>
                  <a:pt x="219930" y="332132"/>
                  <a:pt x="226643" y="329113"/>
                </a:cubicBezTo>
                <a:cubicBezTo>
                  <a:pt x="236636" y="324620"/>
                  <a:pt x="238185" y="320246"/>
                  <a:pt x="232085" y="311135"/>
                </a:cubicBezTo>
                <a:cubicBezTo>
                  <a:pt x="229169" y="306779"/>
                  <a:pt x="225643" y="302195"/>
                  <a:pt x="221280" y="299552"/>
                </a:cubicBezTo>
                <a:cubicBezTo>
                  <a:pt x="194874" y="283553"/>
                  <a:pt x="183766" y="257401"/>
                  <a:pt x="173478" y="230303"/>
                </a:cubicBezTo>
                <a:cubicBezTo>
                  <a:pt x="156973" y="186824"/>
                  <a:pt x="146078" y="142097"/>
                  <a:pt x="141864" y="95780"/>
                </a:cubicBezTo>
                <a:cubicBezTo>
                  <a:pt x="140086" y="76240"/>
                  <a:pt x="138323" y="56689"/>
                  <a:pt x="137158" y="37107"/>
                </a:cubicBezTo>
                <a:cubicBezTo>
                  <a:pt x="136482" y="25735"/>
                  <a:pt x="137408" y="24372"/>
                  <a:pt x="148750" y="22335"/>
                </a:cubicBezTo>
                <a:cubicBezTo>
                  <a:pt x="178094" y="17065"/>
                  <a:pt x="207551" y="12418"/>
                  <a:pt x="236982" y="7640"/>
                </a:cubicBezTo>
                <a:cubicBezTo>
                  <a:pt x="239748" y="7191"/>
                  <a:pt x="242650" y="7580"/>
                  <a:pt x="246862" y="7580"/>
                </a:cubicBezTo>
                <a:cubicBezTo>
                  <a:pt x="255824" y="32568"/>
                  <a:pt x="255201" y="59502"/>
                  <a:pt x="261473" y="86763"/>
                </a:cubicBezTo>
                <a:cubicBezTo>
                  <a:pt x="276122" y="85715"/>
                  <a:pt x="290587" y="84680"/>
                  <a:pt x="306246" y="83559"/>
                </a:cubicBezTo>
                <a:cubicBezTo>
                  <a:pt x="306524" y="78935"/>
                  <a:pt x="306966" y="75011"/>
                  <a:pt x="306960" y="71087"/>
                </a:cubicBezTo>
                <a:cubicBezTo>
                  <a:pt x="306936" y="53888"/>
                  <a:pt x="306633" y="36688"/>
                  <a:pt x="306724" y="19491"/>
                </a:cubicBezTo>
                <a:cubicBezTo>
                  <a:pt x="306789" y="7258"/>
                  <a:pt x="307148" y="6664"/>
                  <a:pt x="319581" y="4733"/>
                </a:cubicBezTo>
                <a:cubicBezTo>
                  <a:pt x="356571" y="-1011"/>
                  <a:pt x="393735" y="-1048"/>
                  <a:pt x="430956" y="2070"/>
                </a:cubicBezTo>
                <a:cubicBezTo>
                  <a:pt x="432994" y="2241"/>
                  <a:pt x="435026" y="2485"/>
                  <a:pt x="437066" y="2646"/>
                </a:cubicBezTo>
                <a:cubicBezTo>
                  <a:pt x="455684" y="4122"/>
                  <a:pt x="457626" y="5472"/>
                  <a:pt x="460335" y="24205"/>
                </a:cubicBezTo>
                <a:cubicBezTo>
                  <a:pt x="462146" y="36727"/>
                  <a:pt x="462770" y="49435"/>
                  <a:pt x="463579" y="62081"/>
                </a:cubicBezTo>
                <a:cubicBezTo>
                  <a:pt x="463995" y="68573"/>
                  <a:pt x="463652" y="75113"/>
                  <a:pt x="463652" y="82953"/>
                </a:cubicBezTo>
                <a:cubicBezTo>
                  <a:pt x="478793" y="83857"/>
                  <a:pt x="492851" y="84696"/>
                  <a:pt x="507205" y="85553"/>
                </a:cubicBezTo>
                <a:cubicBezTo>
                  <a:pt x="512102" y="78145"/>
                  <a:pt x="511920" y="69770"/>
                  <a:pt x="513271" y="61890"/>
                </a:cubicBezTo>
                <a:cubicBezTo>
                  <a:pt x="515756" y="47397"/>
                  <a:pt x="517439" y="32758"/>
                  <a:pt x="520203" y="18323"/>
                </a:cubicBezTo>
                <a:cubicBezTo>
                  <a:pt x="522330" y="7216"/>
                  <a:pt x="522926" y="6539"/>
                  <a:pt x="534008" y="7785"/>
                </a:cubicBezTo>
                <a:cubicBezTo>
                  <a:pt x="554709" y="10113"/>
                  <a:pt x="575316" y="13322"/>
                  <a:pt x="595925" y="16407"/>
                </a:cubicBezTo>
                <a:cubicBezTo>
                  <a:pt x="604001" y="17616"/>
                  <a:pt x="612093" y="19051"/>
                  <a:pt x="619972" y="21156"/>
                </a:cubicBezTo>
                <a:cubicBezTo>
                  <a:pt x="628887" y="23538"/>
                  <a:pt x="631496" y="26848"/>
                  <a:pt x="631161" y="36134"/>
                </a:cubicBezTo>
                <a:cubicBezTo>
                  <a:pt x="630572" y="52475"/>
                  <a:pt x="629765" y="68840"/>
                  <a:pt x="628140" y="85104"/>
                </a:cubicBezTo>
                <a:cubicBezTo>
                  <a:pt x="624968" y="116827"/>
                  <a:pt x="621618" y="148545"/>
                  <a:pt x="613954" y="179618"/>
                </a:cubicBezTo>
                <a:cubicBezTo>
                  <a:pt x="607361" y="206344"/>
                  <a:pt x="597791" y="231950"/>
                  <a:pt x="586196" y="256886"/>
                </a:cubicBezTo>
                <a:cubicBezTo>
                  <a:pt x="578940" y="272491"/>
                  <a:pt x="568647" y="285371"/>
                  <a:pt x="554619" y="295312"/>
                </a:cubicBezTo>
                <a:cubicBezTo>
                  <a:pt x="547467" y="300381"/>
                  <a:pt x="541673" y="306562"/>
                  <a:pt x="538601" y="315001"/>
                </a:cubicBezTo>
                <a:cubicBezTo>
                  <a:pt x="536802" y="319945"/>
                  <a:pt x="537533" y="323761"/>
                  <a:pt x="542630" y="326199"/>
                </a:cubicBezTo>
                <a:cubicBezTo>
                  <a:pt x="548539" y="329025"/>
                  <a:pt x="554513" y="331748"/>
                  <a:pt x="560240" y="334912"/>
                </a:cubicBezTo>
                <a:cubicBezTo>
                  <a:pt x="574874" y="342998"/>
                  <a:pt x="586216" y="353688"/>
                  <a:pt x="586933" y="371800"/>
                </a:cubicBezTo>
                <a:cubicBezTo>
                  <a:pt x="587721" y="391697"/>
                  <a:pt x="581146" y="407998"/>
                  <a:pt x="563039" y="418184"/>
                </a:cubicBezTo>
                <a:cubicBezTo>
                  <a:pt x="557338" y="421391"/>
                  <a:pt x="551634" y="424825"/>
                  <a:pt x="545522" y="427008"/>
                </a:cubicBezTo>
                <a:cubicBezTo>
                  <a:pt x="538690" y="429449"/>
                  <a:pt x="535443" y="433770"/>
                  <a:pt x="535507" y="440667"/>
                </a:cubicBezTo>
                <a:cubicBezTo>
                  <a:pt x="535813" y="472997"/>
                  <a:pt x="535953" y="505332"/>
                  <a:pt x="536723" y="537651"/>
                </a:cubicBezTo>
                <a:cubicBezTo>
                  <a:pt x="537181" y="556862"/>
                  <a:pt x="538274" y="576081"/>
                  <a:pt x="539820" y="595237"/>
                </a:cubicBezTo>
                <a:cubicBezTo>
                  <a:pt x="543897" y="645768"/>
                  <a:pt x="546950" y="696441"/>
                  <a:pt x="553105" y="746727"/>
                </a:cubicBezTo>
                <a:cubicBezTo>
                  <a:pt x="559060" y="795370"/>
                  <a:pt x="568372" y="843602"/>
                  <a:pt x="576414" y="893042"/>
                </a:cubicBezTo>
                <a:moveTo>
                  <a:pt x="500356" y="473996"/>
                </a:moveTo>
                <a:cubicBezTo>
                  <a:pt x="500146" y="470396"/>
                  <a:pt x="499936" y="466797"/>
                  <a:pt x="499749" y="463598"/>
                </a:cubicBezTo>
                <a:cubicBezTo>
                  <a:pt x="463731" y="466295"/>
                  <a:pt x="428548" y="468929"/>
                  <a:pt x="392525" y="471627"/>
                </a:cubicBezTo>
                <a:cubicBezTo>
                  <a:pt x="392525" y="475456"/>
                  <a:pt x="392570" y="479099"/>
                  <a:pt x="392518" y="482742"/>
                </a:cubicBezTo>
                <a:cubicBezTo>
                  <a:pt x="391977" y="520799"/>
                  <a:pt x="391669" y="558862"/>
                  <a:pt x="390814" y="596913"/>
                </a:cubicBezTo>
                <a:cubicBezTo>
                  <a:pt x="389379" y="660737"/>
                  <a:pt x="387596" y="724554"/>
                  <a:pt x="385953" y="788374"/>
                </a:cubicBezTo>
                <a:cubicBezTo>
                  <a:pt x="385132" y="820284"/>
                  <a:pt x="384217" y="852191"/>
                  <a:pt x="383485" y="884103"/>
                </a:cubicBezTo>
                <a:cubicBezTo>
                  <a:pt x="382329" y="934437"/>
                  <a:pt x="381336" y="984775"/>
                  <a:pt x="380173" y="1035109"/>
                </a:cubicBezTo>
                <a:cubicBezTo>
                  <a:pt x="379918" y="1046143"/>
                  <a:pt x="379172" y="1057166"/>
                  <a:pt x="378826" y="1068199"/>
                </a:cubicBezTo>
                <a:cubicBezTo>
                  <a:pt x="378768" y="1070073"/>
                  <a:pt x="379592" y="1071975"/>
                  <a:pt x="380180" y="1074648"/>
                </a:cubicBezTo>
                <a:cubicBezTo>
                  <a:pt x="402724" y="1074648"/>
                  <a:pt x="424789" y="1074626"/>
                  <a:pt x="446854" y="1074654"/>
                </a:cubicBezTo>
                <a:cubicBezTo>
                  <a:pt x="468967" y="1074682"/>
                  <a:pt x="491084" y="1075062"/>
                  <a:pt x="513191" y="1074731"/>
                </a:cubicBezTo>
                <a:cubicBezTo>
                  <a:pt x="535020" y="1074404"/>
                  <a:pt x="556890" y="1078397"/>
                  <a:pt x="580317" y="1075095"/>
                </a:cubicBezTo>
                <a:cubicBezTo>
                  <a:pt x="530688" y="877741"/>
                  <a:pt x="498514" y="679261"/>
                  <a:pt x="500356" y="473996"/>
                </a:cubicBezTo>
                <a:moveTo>
                  <a:pt x="459731" y="1135086"/>
                </a:moveTo>
                <a:cubicBezTo>
                  <a:pt x="434501" y="1135086"/>
                  <a:pt x="409270" y="1135086"/>
                  <a:pt x="383756" y="1135086"/>
                </a:cubicBezTo>
                <a:cubicBezTo>
                  <a:pt x="385145" y="1171037"/>
                  <a:pt x="387590" y="1206813"/>
                  <a:pt x="387612" y="1242590"/>
                </a:cubicBezTo>
                <a:cubicBezTo>
                  <a:pt x="387634" y="1278699"/>
                  <a:pt x="385252" y="1314810"/>
                  <a:pt x="383907" y="1351330"/>
                </a:cubicBezTo>
                <a:cubicBezTo>
                  <a:pt x="493016" y="1355954"/>
                  <a:pt x="600298" y="1349068"/>
                  <a:pt x="707112" y="1330559"/>
                </a:cubicBezTo>
                <a:cubicBezTo>
                  <a:pt x="710922" y="1301049"/>
                  <a:pt x="703971" y="1274394"/>
                  <a:pt x="686366" y="1251637"/>
                </a:cubicBezTo>
                <a:cubicBezTo>
                  <a:pt x="672164" y="1233278"/>
                  <a:pt x="655625" y="1216649"/>
                  <a:pt x="639403" y="1199952"/>
                </a:cubicBezTo>
                <a:cubicBezTo>
                  <a:pt x="621690" y="1181720"/>
                  <a:pt x="611031" y="1160243"/>
                  <a:pt x="606292" y="1135508"/>
                </a:cubicBezTo>
                <a:cubicBezTo>
                  <a:pt x="605546" y="1131614"/>
                  <a:pt x="604205" y="1127833"/>
                  <a:pt x="602971" y="1123400"/>
                </a:cubicBezTo>
                <a:cubicBezTo>
                  <a:pt x="598647" y="1123864"/>
                  <a:pt x="595062" y="1124258"/>
                  <a:pt x="591474" y="1124633"/>
                </a:cubicBezTo>
                <a:cubicBezTo>
                  <a:pt x="571170" y="1126753"/>
                  <a:pt x="550896" y="1129262"/>
                  <a:pt x="530551" y="1130880"/>
                </a:cubicBezTo>
                <a:cubicBezTo>
                  <a:pt x="507752" y="1132694"/>
                  <a:pt x="484887" y="1133699"/>
                  <a:pt x="459731" y="1135086"/>
                </a:cubicBezTo>
                <a:moveTo>
                  <a:pt x="469505" y="116252"/>
                </a:moveTo>
                <a:cubicBezTo>
                  <a:pt x="460926" y="115846"/>
                  <a:pt x="452288" y="115932"/>
                  <a:pt x="443782" y="114911"/>
                </a:cubicBezTo>
                <a:cubicBezTo>
                  <a:pt x="433023" y="113619"/>
                  <a:pt x="430601" y="110848"/>
                  <a:pt x="430007" y="99878"/>
                </a:cubicBezTo>
                <a:cubicBezTo>
                  <a:pt x="429457" y="89668"/>
                  <a:pt x="429903" y="79404"/>
                  <a:pt x="429331" y="69197"/>
                </a:cubicBezTo>
                <a:cubicBezTo>
                  <a:pt x="428702" y="57943"/>
                  <a:pt x="427414" y="46725"/>
                  <a:pt x="426333" y="34606"/>
                </a:cubicBezTo>
                <a:cubicBezTo>
                  <a:pt x="409217" y="34606"/>
                  <a:pt x="393383" y="34593"/>
                  <a:pt x="377548" y="34613"/>
                </a:cubicBezTo>
                <a:cubicBezTo>
                  <a:pt x="370973" y="34621"/>
                  <a:pt x="368175" y="37880"/>
                  <a:pt x="368004" y="44529"/>
                </a:cubicBezTo>
                <a:cubicBezTo>
                  <a:pt x="367731" y="55142"/>
                  <a:pt x="366531" y="65729"/>
                  <a:pt x="366185" y="76343"/>
                </a:cubicBezTo>
                <a:cubicBezTo>
                  <a:pt x="364748" y="120348"/>
                  <a:pt x="372586" y="163440"/>
                  <a:pt x="379384" y="206619"/>
                </a:cubicBezTo>
                <a:cubicBezTo>
                  <a:pt x="383132" y="230420"/>
                  <a:pt x="387281" y="254159"/>
                  <a:pt x="390997" y="277965"/>
                </a:cubicBezTo>
                <a:cubicBezTo>
                  <a:pt x="392356" y="286668"/>
                  <a:pt x="392988" y="295485"/>
                  <a:pt x="394040" y="305053"/>
                </a:cubicBezTo>
                <a:cubicBezTo>
                  <a:pt x="430625" y="305053"/>
                  <a:pt x="466194" y="305182"/>
                  <a:pt x="501758" y="304814"/>
                </a:cubicBezTo>
                <a:cubicBezTo>
                  <a:pt x="504672" y="304784"/>
                  <a:pt x="508099" y="301870"/>
                  <a:pt x="510340" y="299427"/>
                </a:cubicBezTo>
                <a:cubicBezTo>
                  <a:pt x="516125" y="293119"/>
                  <a:pt x="520822" y="285749"/>
                  <a:pt x="526940" y="279822"/>
                </a:cubicBezTo>
                <a:cubicBezTo>
                  <a:pt x="552103" y="255447"/>
                  <a:pt x="566819" y="225104"/>
                  <a:pt x="576920" y="192342"/>
                </a:cubicBezTo>
                <a:cubicBezTo>
                  <a:pt x="588690" y="154165"/>
                  <a:pt x="590063" y="114309"/>
                  <a:pt x="594042" y="74918"/>
                </a:cubicBezTo>
                <a:cubicBezTo>
                  <a:pt x="594852" y="66901"/>
                  <a:pt x="594159" y="58731"/>
                  <a:pt x="594159" y="49195"/>
                </a:cubicBezTo>
                <a:cubicBezTo>
                  <a:pt x="581125" y="46996"/>
                  <a:pt x="568493" y="44864"/>
                  <a:pt x="554791" y="42552"/>
                </a:cubicBezTo>
                <a:cubicBezTo>
                  <a:pt x="553857" y="47762"/>
                  <a:pt x="553099" y="51670"/>
                  <a:pt x="552461" y="55598"/>
                </a:cubicBezTo>
                <a:cubicBezTo>
                  <a:pt x="549905" y="71314"/>
                  <a:pt x="547903" y="87144"/>
                  <a:pt x="544678" y="102721"/>
                </a:cubicBezTo>
                <a:cubicBezTo>
                  <a:pt x="542363" y="113902"/>
                  <a:pt x="537010" y="118223"/>
                  <a:pt x="525701" y="118186"/>
                </a:cubicBezTo>
                <a:cubicBezTo>
                  <a:pt x="507730" y="118128"/>
                  <a:pt x="489762" y="117027"/>
                  <a:pt x="469505" y="116252"/>
                </a:cubicBezTo>
                <a:moveTo>
                  <a:pt x="513928" y="1403203"/>
                </a:moveTo>
                <a:cubicBezTo>
                  <a:pt x="469441" y="1403467"/>
                  <a:pt x="424955" y="1403730"/>
                  <a:pt x="379322" y="1404000"/>
                </a:cubicBezTo>
                <a:cubicBezTo>
                  <a:pt x="379322" y="1423089"/>
                  <a:pt x="379322" y="1440883"/>
                  <a:pt x="379322" y="1460424"/>
                </a:cubicBezTo>
                <a:cubicBezTo>
                  <a:pt x="496078" y="1471584"/>
                  <a:pt x="611510" y="1462301"/>
                  <a:pt x="726554" y="1439225"/>
                </a:cubicBezTo>
                <a:cubicBezTo>
                  <a:pt x="728615" y="1424350"/>
                  <a:pt x="725601" y="1410872"/>
                  <a:pt x="721089" y="1397750"/>
                </a:cubicBezTo>
                <a:cubicBezTo>
                  <a:pt x="717269" y="1386638"/>
                  <a:pt x="709802" y="1383286"/>
                  <a:pt x="697967" y="1385046"/>
                </a:cubicBezTo>
                <a:cubicBezTo>
                  <a:pt x="671697" y="1388954"/>
                  <a:pt x="645454" y="1393360"/>
                  <a:pt x="619039" y="1395892"/>
                </a:cubicBezTo>
                <a:cubicBezTo>
                  <a:pt x="584863" y="1399168"/>
                  <a:pt x="550531" y="1400815"/>
                  <a:pt x="513928" y="1403203"/>
                </a:cubicBezTo>
                <a:moveTo>
                  <a:pt x="462814" y="375981"/>
                </a:moveTo>
                <a:cubicBezTo>
                  <a:pt x="488207" y="375927"/>
                  <a:pt x="513601" y="375954"/>
                  <a:pt x="538992" y="375736"/>
                </a:cubicBezTo>
                <a:cubicBezTo>
                  <a:pt x="543170" y="375700"/>
                  <a:pt x="547338" y="374587"/>
                  <a:pt x="551835" y="373923"/>
                </a:cubicBezTo>
                <a:cubicBezTo>
                  <a:pt x="550780" y="364535"/>
                  <a:pt x="545320" y="360090"/>
                  <a:pt x="539689" y="356085"/>
                </a:cubicBezTo>
                <a:cubicBezTo>
                  <a:pt x="533696" y="351821"/>
                  <a:pt x="527145" y="348349"/>
                  <a:pt x="521074" y="344186"/>
                </a:cubicBezTo>
                <a:cubicBezTo>
                  <a:pt x="515783" y="340559"/>
                  <a:pt x="510232" y="339198"/>
                  <a:pt x="503789" y="339280"/>
                </a:cubicBezTo>
                <a:cubicBezTo>
                  <a:pt x="470618" y="339700"/>
                  <a:pt x="437443" y="339744"/>
                  <a:pt x="404270" y="339994"/>
                </a:cubicBezTo>
                <a:cubicBezTo>
                  <a:pt x="400758" y="340021"/>
                  <a:pt x="397250" y="340529"/>
                  <a:pt x="393081" y="340868"/>
                </a:cubicBezTo>
                <a:cubicBezTo>
                  <a:pt x="393653" y="352908"/>
                  <a:pt x="392145" y="363845"/>
                  <a:pt x="395001" y="375976"/>
                </a:cubicBezTo>
                <a:cubicBezTo>
                  <a:pt x="417133" y="375976"/>
                  <a:pt x="438745" y="375976"/>
                  <a:pt x="462814" y="375981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47" name="Free-form: Shape 246">
            <a:extLst>
              <a:ext uri="{FF2B5EF4-FFF2-40B4-BE49-F238E27FC236}">
                <a16:creationId xmlns:a16="http://schemas.microsoft.com/office/drawing/2014/main" id="{39D3A6B1-0FB8-21FC-48EF-4E48920AC6E2}"/>
              </a:ext>
            </a:extLst>
          </p:cNvPr>
          <p:cNvSpPr/>
          <p:nvPr/>
        </p:nvSpPr>
        <p:spPr>
          <a:xfrm>
            <a:off x="11118876" y="4899267"/>
            <a:ext cx="155564" cy="520442"/>
          </a:xfrm>
          <a:custGeom>
            <a:avLst/>
            <a:gdLst>
              <a:gd name="csX0" fmla="*/ 121535 w 201493"/>
              <a:gd name="csY0" fmla="*/ 11562 h 612813"/>
              <a:gd name="csX1" fmla="*/ 201493 w 201493"/>
              <a:gd name="csY1" fmla="*/ 611498 h 612813"/>
              <a:gd name="csX2" fmla="*/ 134368 w 201493"/>
              <a:gd name="csY2" fmla="*/ 611133 h 612813"/>
              <a:gd name="csX3" fmla="*/ 68030 w 201493"/>
              <a:gd name="csY3" fmla="*/ 611056 h 612813"/>
              <a:gd name="csX4" fmla="*/ 1357 w 201493"/>
              <a:gd name="csY4" fmla="*/ 611050 h 612813"/>
              <a:gd name="csX5" fmla="*/ 3 w 201493"/>
              <a:gd name="csY5" fmla="*/ 604601 h 612813"/>
              <a:gd name="csX6" fmla="*/ 1350 w 201493"/>
              <a:gd name="csY6" fmla="*/ 571511 h 612813"/>
              <a:gd name="csX7" fmla="*/ 4661 w 201493"/>
              <a:gd name="csY7" fmla="*/ 420505 h 612813"/>
              <a:gd name="csX8" fmla="*/ 7130 w 201493"/>
              <a:gd name="csY8" fmla="*/ 324777 h 612813"/>
              <a:gd name="csX9" fmla="*/ 11991 w 201493"/>
              <a:gd name="csY9" fmla="*/ 133315 h 612813"/>
              <a:gd name="csX10" fmla="*/ 13695 w 201493"/>
              <a:gd name="csY10" fmla="*/ 19144 h 612813"/>
              <a:gd name="csX11" fmla="*/ 13702 w 201493"/>
              <a:gd name="csY11" fmla="*/ 8029 h 612813"/>
              <a:gd name="csX12" fmla="*/ 120926 w 201493"/>
              <a:gd name="csY12" fmla="*/ 0 h 612813"/>
              <a:gd name="csX13" fmla="*/ 121535 w 201493"/>
              <a:gd name="csY13" fmla="*/ 11562 h 61281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</a:cxnLst>
            <a:rect l="l" t="t" r="r" b="b"/>
            <a:pathLst>
              <a:path w="201493" h="612813">
                <a:moveTo>
                  <a:pt x="121535" y="11562"/>
                </a:moveTo>
                <a:cubicBezTo>
                  <a:pt x="119691" y="215664"/>
                  <a:pt x="151865" y="414144"/>
                  <a:pt x="201493" y="611498"/>
                </a:cubicBezTo>
                <a:cubicBezTo>
                  <a:pt x="178066" y="614799"/>
                  <a:pt x="156197" y="610806"/>
                  <a:pt x="134368" y="611133"/>
                </a:cubicBezTo>
                <a:cubicBezTo>
                  <a:pt x="112261" y="611465"/>
                  <a:pt x="90143" y="611084"/>
                  <a:pt x="68030" y="611056"/>
                </a:cubicBezTo>
                <a:cubicBezTo>
                  <a:pt x="45965" y="611028"/>
                  <a:pt x="23900" y="611050"/>
                  <a:pt x="1357" y="611050"/>
                </a:cubicBezTo>
                <a:cubicBezTo>
                  <a:pt x="769" y="608377"/>
                  <a:pt x="-56" y="606475"/>
                  <a:pt x="3" y="604601"/>
                </a:cubicBezTo>
                <a:cubicBezTo>
                  <a:pt x="349" y="593568"/>
                  <a:pt x="1095" y="582545"/>
                  <a:pt x="1350" y="571511"/>
                </a:cubicBezTo>
                <a:cubicBezTo>
                  <a:pt x="2513" y="521177"/>
                  <a:pt x="3506" y="470839"/>
                  <a:pt x="4661" y="420505"/>
                </a:cubicBezTo>
                <a:cubicBezTo>
                  <a:pt x="5393" y="388594"/>
                  <a:pt x="6308" y="356686"/>
                  <a:pt x="7130" y="324777"/>
                </a:cubicBezTo>
                <a:cubicBezTo>
                  <a:pt x="8772" y="260956"/>
                  <a:pt x="10555" y="197140"/>
                  <a:pt x="11991" y="133315"/>
                </a:cubicBezTo>
                <a:cubicBezTo>
                  <a:pt x="12846" y="95264"/>
                  <a:pt x="13154" y="57201"/>
                  <a:pt x="13695" y="19144"/>
                </a:cubicBezTo>
                <a:cubicBezTo>
                  <a:pt x="13746" y="15501"/>
                  <a:pt x="13702" y="11858"/>
                  <a:pt x="13702" y="8029"/>
                </a:cubicBezTo>
                <a:cubicBezTo>
                  <a:pt x="49725" y="5331"/>
                  <a:pt x="84908" y="2697"/>
                  <a:pt x="120926" y="0"/>
                </a:cubicBezTo>
                <a:cubicBezTo>
                  <a:pt x="121113" y="3199"/>
                  <a:pt x="121323" y="6798"/>
                  <a:pt x="121535" y="11562"/>
                </a:cubicBezTo>
                <a:close/>
              </a:path>
            </a:pathLst>
          </a:custGeom>
          <a:solidFill>
            <a:srgbClr val="FDFDFD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48" name="Free-form: Shape 247">
            <a:extLst>
              <a:ext uri="{FF2B5EF4-FFF2-40B4-BE49-F238E27FC236}">
                <a16:creationId xmlns:a16="http://schemas.microsoft.com/office/drawing/2014/main" id="{CD0432D1-7907-5184-7B85-3F2CDB1B85B8}"/>
              </a:ext>
            </a:extLst>
          </p:cNvPr>
          <p:cNvSpPr/>
          <p:nvPr/>
        </p:nvSpPr>
        <p:spPr>
          <a:xfrm>
            <a:off x="11122684" y="5459616"/>
            <a:ext cx="250431" cy="194755"/>
          </a:xfrm>
          <a:custGeom>
            <a:avLst/>
            <a:gdLst>
              <a:gd name="csX0" fmla="*/ 77135 w 324367"/>
              <a:gd name="csY0" fmla="*/ 11670 h 229322"/>
              <a:gd name="csX1" fmla="*/ 146795 w 324367"/>
              <a:gd name="csY1" fmla="*/ 7480 h 229322"/>
              <a:gd name="csX2" fmla="*/ 207718 w 324367"/>
              <a:gd name="csY2" fmla="*/ 1232 h 229322"/>
              <a:gd name="csX3" fmla="*/ 219215 w 324367"/>
              <a:gd name="csY3" fmla="*/ 0 h 229322"/>
              <a:gd name="csX4" fmla="*/ 222536 w 324367"/>
              <a:gd name="csY4" fmla="*/ 12108 h 229322"/>
              <a:gd name="csX5" fmla="*/ 255647 w 324367"/>
              <a:gd name="csY5" fmla="*/ 76552 h 229322"/>
              <a:gd name="csX6" fmla="*/ 302610 w 324367"/>
              <a:gd name="csY6" fmla="*/ 128236 h 229322"/>
              <a:gd name="csX7" fmla="*/ 323355 w 324367"/>
              <a:gd name="csY7" fmla="*/ 207159 h 229322"/>
              <a:gd name="csX8" fmla="*/ 151 w 324367"/>
              <a:gd name="csY8" fmla="*/ 227930 h 229322"/>
              <a:gd name="csX9" fmla="*/ 3855 w 324367"/>
              <a:gd name="csY9" fmla="*/ 119190 h 229322"/>
              <a:gd name="csX10" fmla="*/ 0 w 324367"/>
              <a:gd name="csY10" fmla="*/ 11685 h 229322"/>
              <a:gd name="csX11" fmla="*/ 77135 w 324367"/>
              <a:gd name="csY11" fmla="*/ 11670 h 22932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324367" h="229322">
                <a:moveTo>
                  <a:pt x="77135" y="11670"/>
                </a:moveTo>
                <a:cubicBezTo>
                  <a:pt x="101131" y="10299"/>
                  <a:pt x="123996" y="9293"/>
                  <a:pt x="146795" y="7480"/>
                </a:cubicBezTo>
                <a:cubicBezTo>
                  <a:pt x="167139" y="5862"/>
                  <a:pt x="187413" y="3352"/>
                  <a:pt x="207718" y="1232"/>
                </a:cubicBezTo>
                <a:cubicBezTo>
                  <a:pt x="211305" y="858"/>
                  <a:pt x="214891" y="464"/>
                  <a:pt x="219215" y="0"/>
                </a:cubicBezTo>
                <a:cubicBezTo>
                  <a:pt x="220448" y="4433"/>
                  <a:pt x="221789" y="8213"/>
                  <a:pt x="222536" y="12108"/>
                </a:cubicBezTo>
                <a:cubicBezTo>
                  <a:pt x="227274" y="36843"/>
                  <a:pt x="237933" y="58320"/>
                  <a:pt x="255647" y="76552"/>
                </a:cubicBezTo>
                <a:cubicBezTo>
                  <a:pt x="271868" y="93249"/>
                  <a:pt x="288407" y="109878"/>
                  <a:pt x="302610" y="128236"/>
                </a:cubicBezTo>
                <a:cubicBezTo>
                  <a:pt x="320215" y="150993"/>
                  <a:pt x="327166" y="177648"/>
                  <a:pt x="323355" y="207159"/>
                </a:cubicBezTo>
                <a:cubicBezTo>
                  <a:pt x="216542" y="225668"/>
                  <a:pt x="109259" y="232554"/>
                  <a:pt x="151" y="227930"/>
                </a:cubicBezTo>
                <a:cubicBezTo>
                  <a:pt x="1495" y="191410"/>
                  <a:pt x="3878" y="155299"/>
                  <a:pt x="3855" y="119190"/>
                </a:cubicBezTo>
                <a:cubicBezTo>
                  <a:pt x="3834" y="83413"/>
                  <a:pt x="1388" y="47637"/>
                  <a:pt x="0" y="11685"/>
                </a:cubicBezTo>
                <a:cubicBezTo>
                  <a:pt x="25514" y="11685"/>
                  <a:pt x="50744" y="11685"/>
                  <a:pt x="77135" y="11670"/>
                </a:cubicBezTo>
                <a:close/>
              </a:path>
            </a:pathLst>
          </a:custGeom>
          <a:solidFill>
            <a:srgbClr val="FDFEFE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49" name="Free-form: Shape 248">
            <a:extLst>
              <a:ext uri="{FF2B5EF4-FFF2-40B4-BE49-F238E27FC236}">
                <a16:creationId xmlns:a16="http://schemas.microsoft.com/office/drawing/2014/main" id="{392D4C86-0FA1-E451-1B1C-398F67F13D14}"/>
              </a:ext>
            </a:extLst>
          </p:cNvPr>
          <p:cNvSpPr/>
          <p:nvPr/>
        </p:nvSpPr>
        <p:spPr>
          <a:xfrm>
            <a:off x="11108985" y="4534935"/>
            <a:ext cx="176355" cy="229704"/>
          </a:xfrm>
          <a:custGeom>
            <a:avLst/>
            <a:gdLst>
              <a:gd name="csX0" fmla="*/ 104636 w 228422"/>
              <a:gd name="csY0" fmla="*/ 81707 h 270473"/>
              <a:gd name="csX1" fmla="*/ 159689 w 228422"/>
              <a:gd name="csY1" fmla="*/ 83584 h 270473"/>
              <a:gd name="csX2" fmla="*/ 178665 w 228422"/>
              <a:gd name="csY2" fmla="*/ 68119 h 270473"/>
              <a:gd name="csX3" fmla="*/ 186448 w 228422"/>
              <a:gd name="csY3" fmla="*/ 20996 h 270473"/>
              <a:gd name="csX4" fmla="*/ 188779 w 228422"/>
              <a:gd name="csY4" fmla="*/ 7950 h 270473"/>
              <a:gd name="csX5" fmla="*/ 228146 w 228422"/>
              <a:gd name="csY5" fmla="*/ 14593 h 270473"/>
              <a:gd name="csX6" fmla="*/ 228030 w 228422"/>
              <a:gd name="csY6" fmla="*/ 40316 h 270473"/>
              <a:gd name="csX7" fmla="*/ 210907 w 228422"/>
              <a:gd name="csY7" fmla="*/ 157740 h 270473"/>
              <a:gd name="csX8" fmla="*/ 160928 w 228422"/>
              <a:gd name="csY8" fmla="*/ 245220 h 270473"/>
              <a:gd name="csX9" fmla="*/ 144327 w 228422"/>
              <a:gd name="csY9" fmla="*/ 264825 h 270473"/>
              <a:gd name="csX10" fmla="*/ 135745 w 228422"/>
              <a:gd name="csY10" fmla="*/ 270212 h 270473"/>
              <a:gd name="csX11" fmla="*/ 28028 w 228422"/>
              <a:gd name="csY11" fmla="*/ 270451 h 270473"/>
              <a:gd name="csX12" fmla="*/ 24984 w 228422"/>
              <a:gd name="csY12" fmla="*/ 243363 h 270473"/>
              <a:gd name="csX13" fmla="*/ 13372 w 228422"/>
              <a:gd name="csY13" fmla="*/ 172017 h 270473"/>
              <a:gd name="csX14" fmla="*/ 172 w 228422"/>
              <a:gd name="csY14" fmla="*/ 41741 h 270473"/>
              <a:gd name="csX15" fmla="*/ 1991 w 228422"/>
              <a:gd name="csY15" fmla="*/ 9927 h 270473"/>
              <a:gd name="csX16" fmla="*/ 11535 w 228422"/>
              <a:gd name="csY16" fmla="*/ 11 h 270473"/>
              <a:gd name="csX17" fmla="*/ 60320 w 228422"/>
              <a:gd name="csY17" fmla="*/ 4 h 270473"/>
              <a:gd name="csX18" fmla="*/ 63319 w 228422"/>
              <a:gd name="csY18" fmla="*/ 34595 h 270473"/>
              <a:gd name="csX19" fmla="*/ 63995 w 228422"/>
              <a:gd name="csY19" fmla="*/ 65276 h 270473"/>
              <a:gd name="csX20" fmla="*/ 77770 w 228422"/>
              <a:gd name="csY20" fmla="*/ 80309 h 270473"/>
              <a:gd name="csX21" fmla="*/ 104636 w 228422"/>
              <a:gd name="csY21" fmla="*/ 81707 h 27047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</a:cxnLst>
            <a:rect l="l" t="t" r="r" b="b"/>
            <a:pathLst>
              <a:path w="228422" h="270473">
                <a:moveTo>
                  <a:pt x="104636" y="81707"/>
                </a:moveTo>
                <a:cubicBezTo>
                  <a:pt x="123750" y="82425"/>
                  <a:pt x="141717" y="83526"/>
                  <a:pt x="159689" y="83584"/>
                </a:cubicBezTo>
                <a:cubicBezTo>
                  <a:pt x="170998" y="83621"/>
                  <a:pt x="176351" y="79300"/>
                  <a:pt x="178665" y="68119"/>
                </a:cubicBezTo>
                <a:cubicBezTo>
                  <a:pt x="181890" y="52542"/>
                  <a:pt x="183892" y="36712"/>
                  <a:pt x="186448" y="20996"/>
                </a:cubicBezTo>
                <a:cubicBezTo>
                  <a:pt x="187087" y="17068"/>
                  <a:pt x="187844" y="13160"/>
                  <a:pt x="188779" y="7950"/>
                </a:cubicBezTo>
                <a:cubicBezTo>
                  <a:pt x="202480" y="10262"/>
                  <a:pt x="215113" y="12394"/>
                  <a:pt x="228146" y="14593"/>
                </a:cubicBezTo>
                <a:cubicBezTo>
                  <a:pt x="228146" y="24129"/>
                  <a:pt x="228839" y="32299"/>
                  <a:pt x="228030" y="40316"/>
                </a:cubicBezTo>
                <a:cubicBezTo>
                  <a:pt x="224051" y="79707"/>
                  <a:pt x="222678" y="119563"/>
                  <a:pt x="210907" y="157740"/>
                </a:cubicBezTo>
                <a:cubicBezTo>
                  <a:pt x="200806" y="190502"/>
                  <a:pt x="186090" y="220845"/>
                  <a:pt x="160928" y="245220"/>
                </a:cubicBezTo>
                <a:cubicBezTo>
                  <a:pt x="154810" y="251147"/>
                  <a:pt x="150112" y="258517"/>
                  <a:pt x="144327" y="264825"/>
                </a:cubicBezTo>
                <a:cubicBezTo>
                  <a:pt x="142086" y="267268"/>
                  <a:pt x="138659" y="270182"/>
                  <a:pt x="135745" y="270212"/>
                </a:cubicBezTo>
                <a:cubicBezTo>
                  <a:pt x="100181" y="270580"/>
                  <a:pt x="64612" y="270451"/>
                  <a:pt x="28028" y="270451"/>
                </a:cubicBezTo>
                <a:cubicBezTo>
                  <a:pt x="26976" y="260883"/>
                  <a:pt x="26343" y="252066"/>
                  <a:pt x="24984" y="243363"/>
                </a:cubicBezTo>
                <a:cubicBezTo>
                  <a:pt x="21268" y="219557"/>
                  <a:pt x="17119" y="195818"/>
                  <a:pt x="13372" y="172017"/>
                </a:cubicBezTo>
                <a:cubicBezTo>
                  <a:pt x="6574" y="128838"/>
                  <a:pt x="-1265" y="85746"/>
                  <a:pt x="172" y="41741"/>
                </a:cubicBezTo>
                <a:cubicBezTo>
                  <a:pt x="518" y="31127"/>
                  <a:pt x="1719" y="20540"/>
                  <a:pt x="1991" y="9927"/>
                </a:cubicBezTo>
                <a:cubicBezTo>
                  <a:pt x="2163" y="3278"/>
                  <a:pt x="4961" y="19"/>
                  <a:pt x="11535" y="11"/>
                </a:cubicBezTo>
                <a:cubicBezTo>
                  <a:pt x="27370" y="-9"/>
                  <a:pt x="43205" y="4"/>
                  <a:pt x="60320" y="4"/>
                </a:cubicBezTo>
                <a:cubicBezTo>
                  <a:pt x="61401" y="12123"/>
                  <a:pt x="62689" y="23341"/>
                  <a:pt x="63319" y="34595"/>
                </a:cubicBezTo>
                <a:cubicBezTo>
                  <a:pt x="63890" y="44802"/>
                  <a:pt x="63444" y="55066"/>
                  <a:pt x="63995" y="65276"/>
                </a:cubicBezTo>
                <a:cubicBezTo>
                  <a:pt x="64588" y="76246"/>
                  <a:pt x="67011" y="79017"/>
                  <a:pt x="77770" y="80309"/>
                </a:cubicBezTo>
                <a:cubicBezTo>
                  <a:pt x="86275" y="81330"/>
                  <a:pt x="94914" y="81244"/>
                  <a:pt x="104636" y="81707"/>
                </a:cubicBezTo>
                <a:close/>
              </a:path>
            </a:pathLst>
          </a:custGeom>
          <a:solidFill>
            <a:srgbClr val="FDFDFD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50" name="Free-form: Shape 249">
            <a:extLst>
              <a:ext uri="{FF2B5EF4-FFF2-40B4-BE49-F238E27FC236}">
                <a16:creationId xmlns:a16="http://schemas.microsoft.com/office/drawing/2014/main" id="{2D0CDA8E-8062-CACC-5BEA-CE2FA4D57DA0}"/>
              </a:ext>
            </a:extLst>
          </p:cNvPr>
          <p:cNvSpPr/>
          <p:nvPr/>
        </p:nvSpPr>
        <p:spPr>
          <a:xfrm>
            <a:off x="11119260" y="5681448"/>
            <a:ext cx="268594" cy="68395"/>
          </a:xfrm>
          <a:custGeom>
            <a:avLst/>
            <a:gdLst>
              <a:gd name="csX0" fmla="*/ 135775 w 347893"/>
              <a:gd name="csY0" fmla="*/ 18580 h 80534"/>
              <a:gd name="csX1" fmla="*/ 239717 w 347893"/>
              <a:gd name="csY1" fmla="*/ 11288 h 80534"/>
              <a:gd name="csX2" fmla="*/ 318645 w 347893"/>
              <a:gd name="csY2" fmla="*/ 442 h 80534"/>
              <a:gd name="csX3" fmla="*/ 341767 w 347893"/>
              <a:gd name="csY3" fmla="*/ 13145 h 80534"/>
              <a:gd name="csX4" fmla="*/ 347232 w 347893"/>
              <a:gd name="csY4" fmla="*/ 54621 h 80534"/>
              <a:gd name="csX5" fmla="*/ 0 w 347893"/>
              <a:gd name="csY5" fmla="*/ 75820 h 80534"/>
              <a:gd name="csX6" fmla="*/ 0 w 347893"/>
              <a:gd name="csY6" fmla="*/ 19396 h 80534"/>
              <a:gd name="csX7" fmla="*/ 135775 w 347893"/>
              <a:gd name="csY7" fmla="*/ 18580 h 8053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</a:cxnLst>
            <a:rect l="l" t="t" r="r" b="b"/>
            <a:pathLst>
              <a:path w="347893" h="80534">
                <a:moveTo>
                  <a:pt x="135775" y="18580"/>
                </a:moveTo>
                <a:cubicBezTo>
                  <a:pt x="171209" y="16211"/>
                  <a:pt x="205541" y="14564"/>
                  <a:pt x="239717" y="11288"/>
                </a:cubicBezTo>
                <a:cubicBezTo>
                  <a:pt x="266132" y="8756"/>
                  <a:pt x="292375" y="4350"/>
                  <a:pt x="318645" y="442"/>
                </a:cubicBezTo>
                <a:cubicBezTo>
                  <a:pt x="330480" y="-1319"/>
                  <a:pt x="337947" y="2033"/>
                  <a:pt x="341767" y="13145"/>
                </a:cubicBezTo>
                <a:cubicBezTo>
                  <a:pt x="346279" y="26268"/>
                  <a:pt x="349293" y="39746"/>
                  <a:pt x="347232" y="54621"/>
                </a:cubicBezTo>
                <a:cubicBezTo>
                  <a:pt x="232188" y="77697"/>
                  <a:pt x="116756" y="86979"/>
                  <a:pt x="0" y="75820"/>
                </a:cubicBezTo>
                <a:cubicBezTo>
                  <a:pt x="0" y="56279"/>
                  <a:pt x="0" y="38485"/>
                  <a:pt x="0" y="19396"/>
                </a:cubicBezTo>
                <a:cubicBezTo>
                  <a:pt x="45633" y="19126"/>
                  <a:pt x="90119" y="18862"/>
                  <a:pt x="135775" y="18580"/>
                </a:cubicBezTo>
                <a:close/>
              </a:path>
            </a:pathLst>
          </a:custGeom>
          <a:solidFill>
            <a:srgbClr val="FCFDFD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51" name="Free-form: Shape 250">
            <a:extLst>
              <a:ext uri="{FF2B5EF4-FFF2-40B4-BE49-F238E27FC236}">
                <a16:creationId xmlns:a16="http://schemas.microsoft.com/office/drawing/2014/main" id="{65263FF2-3272-023A-8AB6-B8795014CB55}"/>
              </a:ext>
            </a:extLst>
          </p:cNvPr>
          <p:cNvSpPr/>
          <p:nvPr/>
        </p:nvSpPr>
        <p:spPr>
          <a:xfrm>
            <a:off x="11129883" y="4793685"/>
            <a:ext cx="122568" cy="31169"/>
          </a:xfrm>
          <a:custGeom>
            <a:avLst/>
            <a:gdLst>
              <a:gd name="csX0" fmla="*/ 68505 w 158754"/>
              <a:gd name="csY0" fmla="*/ 36702 h 36701"/>
              <a:gd name="csX1" fmla="*/ 1920 w 158754"/>
              <a:gd name="csY1" fmla="*/ 36699 h 36701"/>
              <a:gd name="csX2" fmla="*/ 0 w 158754"/>
              <a:gd name="csY2" fmla="*/ 1592 h 36701"/>
              <a:gd name="csX3" fmla="*/ 11189 w 158754"/>
              <a:gd name="csY3" fmla="*/ 718 h 36701"/>
              <a:gd name="csX4" fmla="*/ 110708 w 158754"/>
              <a:gd name="csY4" fmla="*/ 3 h 36701"/>
              <a:gd name="csX5" fmla="*/ 127993 w 158754"/>
              <a:gd name="csY5" fmla="*/ 4910 h 36701"/>
              <a:gd name="csX6" fmla="*/ 146608 w 158754"/>
              <a:gd name="csY6" fmla="*/ 16808 h 36701"/>
              <a:gd name="csX7" fmla="*/ 158755 w 158754"/>
              <a:gd name="csY7" fmla="*/ 34647 h 36701"/>
              <a:gd name="csX8" fmla="*/ 145911 w 158754"/>
              <a:gd name="csY8" fmla="*/ 36459 h 36701"/>
              <a:gd name="csX9" fmla="*/ 68505 w 158754"/>
              <a:gd name="csY9" fmla="*/ 36702 h 3670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158754" h="36701">
                <a:moveTo>
                  <a:pt x="68505" y="36702"/>
                </a:moveTo>
                <a:cubicBezTo>
                  <a:pt x="45664" y="36699"/>
                  <a:pt x="24052" y="36699"/>
                  <a:pt x="1920" y="36699"/>
                </a:cubicBezTo>
                <a:cubicBezTo>
                  <a:pt x="-935" y="24569"/>
                  <a:pt x="572" y="13631"/>
                  <a:pt x="0" y="1592"/>
                </a:cubicBezTo>
                <a:cubicBezTo>
                  <a:pt x="4169" y="1253"/>
                  <a:pt x="7677" y="744"/>
                  <a:pt x="11189" y="718"/>
                </a:cubicBezTo>
                <a:cubicBezTo>
                  <a:pt x="44362" y="468"/>
                  <a:pt x="77538" y="423"/>
                  <a:pt x="110708" y="3"/>
                </a:cubicBezTo>
                <a:cubicBezTo>
                  <a:pt x="117152" y="-78"/>
                  <a:pt x="122702" y="1282"/>
                  <a:pt x="127993" y="4910"/>
                </a:cubicBezTo>
                <a:cubicBezTo>
                  <a:pt x="134065" y="9072"/>
                  <a:pt x="140615" y="12545"/>
                  <a:pt x="146608" y="16808"/>
                </a:cubicBezTo>
                <a:cubicBezTo>
                  <a:pt x="152239" y="20814"/>
                  <a:pt x="157699" y="25259"/>
                  <a:pt x="158755" y="34647"/>
                </a:cubicBezTo>
                <a:cubicBezTo>
                  <a:pt x="154257" y="35310"/>
                  <a:pt x="150089" y="36424"/>
                  <a:pt x="145911" y="36459"/>
                </a:cubicBezTo>
                <a:cubicBezTo>
                  <a:pt x="120520" y="36677"/>
                  <a:pt x="95126" y="36650"/>
                  <a:pt x="68505" y="36702"/>
                </a:cubicBezTo>
                <a:close/>
              </a:path>
            </a:pathLst>
          </a:custGeom>
          <a:solidFill>
            <a:srgbClr val="FBFCFB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52" name="Free-form: Shape 251">
            <a:extLst>
              <a:ext uri="{FF2B5EF4-FFF2-40B4-BE49-F238E27FC236}">
                <a16:creationId xmlns:a16="http://schemas.microsoft.com/office/drawing/2014/main" id="{57725578-7D1A-3D8A-5EF5-0AA23CD20628}"/>
              </a:ext>
            </a:extLst>
          </p:cNvPr>
          <p:cNvSpPr/>
          <p:nvPr/>
        </p:nvSpPr>
        <p:spPr>
          <a:xfrm>
            <a:off x="3707163" y="4521102"/>
            <a:ext cx="634942" cy="1266262"/>
          </a:xfrm>
          <a:custGeom>
            <a:avLst/>
            <a:gdLst>
              <a:gd name="csX0" fmla="*/ 703087 w 763849"/>
              <a:gd name="csY0" fmla="*/ 1241174 h 1523340"/>
              <a:gd name="csX1" fmla="*/ 732932 w 763849"/>
              <a:gd name="csY1" fmla="*/ 1359634 h 1523340"/>
              <a:gd name="csX2" fmla="*/ 735544 w 763849"/>
              <a:gd name="csY2" fmla="*/ 1377287 h 1523340"/>
              <a:gd name="csX3" fmla="*/ 756764 w 763849"/>
              <a:gd name="csY3" fmla="*/ 1458577 h 1523340"/>
              <a:gd name="csX4" fmla="*/ 757108 w 763849"/>
              <a:gd name="csY4" fmla="*/ 1465940 h 1523340"/>
              <a:gd name="csX5" fmla="*/ 744215 w 763849"/>
              <a:gd name="csY5" fmla="*/ 1488332 h 1523340"/>
              <a:gd name="csX6" fmla="*/ 712781 w 763849"/>
              <a:gd name="csY6" fmla="*/ 1498472 h 1523340"/>
              <a:gd name="csX7" fmla="*/ 625540 w 763849"/>
              <a:gd name="csY7" fmla="*/ 1511981 h 1523340"/>
              <a:gd name="csX8" fmla="*/ 488540 w 763849"/>
              <a:gd name="csY8" fmla="*/ 1522029 h 1523340"/>
              <a:gd name="csX9" fmla="*/ 306789 w 763849"/>
              <a:gd name="csY9" fmla="*/ 1523231 h 1523340"/>
              <a:gd name="csX10" fmla="*/ 200103 w 763849"/>
              <a:gd name="csY10" fmla="*/ 1518579 h 1523340"/>
              <a:gd name="csX11" fmla="*/ 31607 w 763849"/>
              <a:gd name="csY11" fmla="*/ 1493880 h 1523340"/>
              <a:gd name="csX12" fmla="*/ 5860 w 763849"/>
              <a:gd name="csY12" fmla="*/ 1482933 h 1523340"/>
              <a:gd name="csX13" fmla="*/ 32 w 763849"/>
              <a:gd name="csY13" fmla="*/ 1471774 h 1523340"/>
              <a:gd name="csX14" fmla="*/ 21295 w 763849"/>
              <a:gd name="csY14" fmla="*/ 1378237 h 1523340"/>
              <a:gd name="csX15" fmla="*/ 23169 w 763849"/>
              <a:gd name="csY15" fmla="*/ 1364271 h 1523340"/>
              <a:gd name="csX16" fmla="*/ 23871 w 763849"/>
              <a:gd name="csY16" fmla="*/ 1303132 h 1523340"/>
              <a:gd name="csX17" fmla="*/ 59740 w 763849"/>
              <a:gd name="csY17" fmla="*/ 1234649 h 1523340"/>
              <a:gd name="csX18" fmla="*/ 98899 w 763849"/>
              <a:gd name="csY18" fmla="*/ 1195619 h 1523340"/>
              <a:gd name="csX19" fmla="*/ 131493 w 763849"/>
              <a:gd name="csY19" fmla="*/ 1127593 h 1523340"/>
              <a:gd name="csX20" fmla="*/ 108213 w 763849"/>
              <a:gd name="csY20" fmla="*/ 1058723 h 1523340"/>
              <a:gd name="csX21" fmla="*/ 74370 w 763849"/>
              <a:gd name="csY21" fmla="*/ 1024929 h 1523340"/>
              <a:gd name="csX22" fmla="*/ 68137 w 763849"/>
              <a:gd name="csY22" fmla="*/ 987550 h 1523340"/>
              <a:gd name="csX23" fmla="*/ 86420 w 763849"/>
              <a:gd name="csY23" fmla="*/ 941991 h 1523340"/>
              <a:gd name="csX24" fmla="*/ 97082 w 763849"/>
              <a:gd name="csY24" fmla="*/ 828037 h 1523340"/>
              <a:gd name="csX25" fmla="*/ 61782 w 763849"/>
              <a:gd name="csY25" fmla="*/ 696973 h 1523340"/>
              <a:gd name="csX26" fmla="*/ 26901 w 763849"/>
              <a:gd name="csY26" fmla="*/ 547868 h 1523340"/>
              <a:gd name="csX27" fmla="*/ 20221 w 763849"/>
              <a:gd name="csY27" fmla="*/ 479529 h 1523340"/>
              <a:gd name="csX28" fmla="*/ 40808 w 763849"/>
              <a:gd name="csY28" fmla="*/ 334388 h 1523340"/>
              <a:gd name="csX29" fmla="*/ 65171 w 763849"/>
              <a:gd name="csY29" fmla="*/ 263707 h 1523340"/>
              <a:gd name="csX30" fmla="*/ 142827 w 763849"/>
              <a:gd name="csY30" fmla="*/ 171003 h 1523340"/>
              <a:gd name="csX31" fmla="*/ 172290 w 763849"/>
              <a:gd name="csY31" fmla="*/ 155872 h 1523340"/>
              <a:gd name="csX32" fmla="*/ 189008 w 763849"/>
              <a:gd name="csY32" fmla="*/ 148158 h 1523340"/>
              <a:gd name="csX33" fmla="*/ 212828 w 763849"/>
              <a:gd name="csY33" fmla="*/ 126123 h 1523340"/>
              <a:gd name="csX34" fmla="*/ 217217 w 763849"/>
              <a:gd name="csY34" fmla="*/ 118740 h 1523340"/>
              <a:gd name="csX35" fmla="*/ 253000 w 763849"/>
              <a:gd name="csY35" fmla="*/ 88998 h 1523340"/>
              <a:gd name="csX36" fmla="*/ 322085 w 763849"/>
              <a:gd name="csY36" fmla="*/ 72193 h 1523340"/>
              <a:gd name="csX37" fmla="*/ 330478 w 763849"/>
              <a:gd name="csY37" fmla="*/ 70387 h 1523340"/>
              <a:gd name="csX38" fmla="*/ 388016 w 763849"/>
              <a:gd name="csY38" fmla="*/ 35457 h 1523340"/>
              <a:gd name="csX39" fmla="*/ 421527 w 763849"/>
              <a:gd name="csY39" fmla="*/ 0 h 1523340"/>
              <a:gd name="csX40" fmla="*/ 424538 w 763849"/>
              <a:gd name="csY40" fmla="*/ 10833 h 1523340"/>
              <a:gd name="csX41" fmla="*/ 436339 w 763849"/>
              <a:gd name="csY41" fmla="*/ 121836 h 1523340"/>
              <a:gd name="csX42" fmla="*/ 449983 w 763849"/>
              <a:gd name="csY42" fmla="*/ 141450 h 1523340"/>
              <a:gd name="csX43" fmla="*/ 503299 w 763849"/>
              <a:gd name="csY43" fmla="*/ 169290 h 1523340"/>
              <a:gd name="csX44" fmla="*/ 551461 w 763849"/>
              <a:gd name="csY44" fmla="*/ 203111 h 1523340"/>
              <a:gd name="csX45" fmla="*/ 588803 w 763849"/>
              <a:gd name="csY45" fmla="*/ 252797 h 1523340"/>
              <a:gd name="csX46" fmla="*/ 634209 w 763849"/>
              <a:gd name="csY46" fmla="*/ 327081 h 1523340"/>
              <a:gd name="csX47" fmla="*/ 697923 w 763849"/>
              <a:gd name="csY47" fmla="*/ 384157 h 1523340"/>
              <a:gd name="csX48" fmla="*/ 729658 w 763849"/>
              <a:gd name="csY48" fmla="*/ 407288 h 1523340"/>
              <a:gd name="csX49" fmla="*/ 763354 w 763849"/>
              <a:gd name="csY49" fmla="*/ 471325 h 1523340"/>
              <a:gd name="csX50" fmla="*/ 757092 w 763849"/>
              <a:gd name="csY50" fmla="*/ 527116 h 1523340"/>
              <a:gd name="csX51" fmla="*/ 720673 w 763849"/>
              <a:gd name="csY51" fmla="*/ 570023 h 1523340"/>
              <a:gd name="csX52" fmla="*/ 704918 w 763849"/>
              <a:gd name="csY52" fmla="*/ 581294 h 1523340"/>
              <a:gd name="csX53" fmla="*/ 671960 w 763849"/>
              <a:gd name="csY53" fmla="*/ 595325 h 1523340"/>
              <a:gd name="csX54" fmla="*/ 633021 w 763849"/>
              <a:gd name="csY54" fmla="*/ 591397 h 1523340"/>
              <a:gd name="csX55" fmla="*/ 580696 w 763849"/>
              <a:gd name="csY55" fmla="*/ 556742 h 1523340"/>
              <a:gd name="csX56" fmla="*/ 545415 w 763849"/>
              <a:gd name="csY56" fmla="*/ 524617 h 1523340"/>
              <a:gd name="csX57" fmla="*/ 518889 w 763849"/>
              <a:gd name="csY57" fmla="*/ 516179 h 1523340"/>
              <a:gd name="csX58" fmla="*/ 472309 w 763849"/>
              <a:gd name="csY58" fmla="*/ 517812 h 1523340"/>
              <a:gd name="csX59" fmla="*/ 415953 w 763849"/>
              <a:gd name="csY59" fmla="*/ 517245 h 1523340"/>
              <a:gd name="csX60" fmla="*/ 403392 w 763849"/>
              <a:gd name="csY60" fmla="*/ 516539 h 1523340"/>
              <a:gd name="csX61" fmla="*/ 407957 w 763849"/>
              <a:gd name="csY61" fmla="*/ 542045 h 1523340"/>
              <a:gd name="csX62" fmla="*/ 434134 w 763849"/>
              <a:gd name="csY62" fmla="*/ 583349 h 1523340"/>
              <a:gd name="csX63" fmla="*/ 524267 w 763849"/>
              <a:gd name="csY63" fmla="*/ 683922 h 1523340"/>
              <a:gd name="csX64" fmla="*/ 614317 w 763849"/>
              <a:gd name="csY64" fmla="*/ 786085 h 1523340"/>
              <a:gd name="csX65" fmla="*/ 669590 w 763849"/>
              <a:gd name="csY65" fmla="*/ 921089 h 1523340"/>
              <a:gd name="csX66" fmla="*/ 647360 w 763849"/>
              <a:gd name="csY66" fmla="*/ 1057245 h 1523340"/>
              <a:gd name="csX67" fmla="*/ 627872 w 763849"/>
              <a:gd name="csY67" fmla="*/ 1102111 h 1523340"/>
              <a:gd name="csX68" fmla="*/ 642300 w 763849"/>
              <a:gd name="csY68" fmla="*/ 1175941 h 1523340"/>
              <a:gd name="csX69" fmla="*/ 668829 w 763849"/>
              <a:gd name="csY69" fmla="*/ 1206449 h 1523340"/>
              <a:gd name="csX70" fmla="*/ 703087 w 763849"/>
              <a:gd name="csY70" fmla="*/ 1241174 h 1523340"/>
              <a:gd name="csX71" fmla="*/ 648750 w 763849"/>
              <a:gd name="csY71" fmla="*/ 562343 h 1523340"/>
              <a:gd name="csX72" fmla="*/ 674049 w 763849"/>
              <a:gd name="csY72" fmla="*/ 562834 h 1523340"/>
              <a:gd name="csX73" fmla="*/ 660781 w 763849"/>
              <a:gd name="csY73" fmla="*/ 550178 h 1523340"/>
              <a:gd name="csX74" fmla="*/ 650911 w 763849"/>
              <a:gd name="csY74" fmla="*/ 534051 h 1523340"/>
              <a:gd name="csX75" fmla="*/ 660724 w 763849"/>
              <a:gd name="csY75" fmla="*/ 537605 h 1523340"/>
              <a:gd name="csX76" fmla="*/ 688133 w 763849"/>
              <a:gd name="csY76" fmla="*/ 543363 h 1523340"/>
              <a:gd name="csX77" fmla="*/ 731514 w 763849"/>
              <a:gd name="csY77" fmla="*/ 510767 h 1523340"/>
              <a:gd name="csX78" fmla="*/ 733611 w 763849"/>
              <a:gd name="csY78" fmla="*/ 466905 h 1523340"/>
              <a:gd name="csX79" fmla="*/ 708076 w 763849"/>
              <a:gd name="csY79" fmla="*/ 425975 h 1523340"/>
              <a:gd name="csX80" fmla="*/ 667538 w 763849"/>
              <a:gd name="csY80" fmla="*/ 398254 h 1523340"/>
              <a:gd name="csX81" fmla="*/ 601016 w 763849"/>
              <a:gd name="csY81" fmla="*/ 332127 h 1523340"/>
              <a:gd name="csX82" fmla="*/ 565354 w 763849"/>
              <a:gd name="csY82" fmla="*/ 270526 h 1523340"/>
              <a:gd name="csX83" fmla="*/ 490657 w 763849"/>
              <a:gd name="csY83" fmla="*/ 195121 h 1523340"/>
              <a:gd name="csX84" fmla="*/ 432834 w 763849"/>
              <a:gd name="csY84" fmla="*/ 165243 h 1523340"/>
              <a:gd name="csX85" fmla="*/ 407594 w 763849"/>
              <a:gd name="csY85" fmla="*/ 127852 h 1523340"/>
              <a:gd name="csX86" fmla="*/ 405020 w 763849"/>
              <a:gd name="csY86" fmla="*/ 69029 h 1523340"/>
              <a:gd name="csX87" fmla="*/ 403638 w 763849"/>
              <a:gd name="csY87" fmla="*/ 58130 h 1523340"/>
              <a:gd name="csX88" fmla="*/ 349776 w 763849"/>
              <a:gd name="csY88" fmla="*/ 133259 h 1523340"/>
              <a:gd name="csX89" fmla="*/ 326975 w 763849"/>
              <a:gd name="csY89" fmla="*/ 159669 h 1523340"/>
              <a:gd name="csX90" fmla="*/ 240374 w 763849"/>
              <a:gd name="csY90" fmla="*/ 221714 h 1523340"/>
              <a:gd name="csX91" fmla="*/ 171637 w 763849"/>
              <a:gd name="csY91" fmla="*/ 309087 h 1523340"/>
              <a:gd name="csX92" fmla="*/ 138048 w 763849"/>
              <a:gd name="csY92" fmla="*/ 516954 h 1523340"/>
              <a:gd name="csX93" fmla="*/ 163889 w 763849"/>
              <a:gd name="csY93" fmla="*/ 641780 h 1523340"/>
              <a:gd name="csX94" fmla="*/ 204800 w 763849"/>
              <a:gd name="csY94" fmla="*/ 787055 h 1523340"/>
              <a:gd name="csX95" fmla="*/ 218549 w 763849"/>
              <a:gd name="csY95" fmla="*/ 949545 h 1523340"/>
              <a:gd name="csX96" fmla="*/ 191487 w 763849"/>
              <a:gd name="csY96" fmla="*/ 1033064 h 1523340"/>
              <a:gd name="csX97" fmla="*/ 188729 w 763849"/>
              <a:gd name="csY97" fmla="*/ 1039835 h 1523340"/>
              <a:gd name="csX98" fmla="*/ 221417 w 763849"/>
              <a:gd name="csY98" fmla="*/ 1040799 h 1523340"/>
              <a:gd name="csX99" fmla="*/ 348895 w 763849"/>
              <a:gd name="csY99" fmla="*/ 1046759 h 1523340"/>
              <a:gd name="csX100" fmla="*/ 545369 w 763849"/>
              <a:gd name="csY100" fmla="*/ 1044456 h 1523340"/>
              <a:gd name="csX101" fmla="*/ 612424 w 763849"/>
              <a:gd name="csY101" fmla="*/ 1037365 h 1523340"/>
              <a:gd name="csX102" fmla="*/ 623169 w 763849"/>
              <a:gd name="csY102" fmla="*/ 1028873 h 1523340"/>
              <a:gd name="csX103" fmla="*/ 638508 w 763849"/>
              <a:gd name="csY103" fmla="*/ 959599 h 1523340"/>
              <a:gd name="csX104" fmla="*/ 609213 w 763849"/>
              <a:gd name="csY104" fmla="*/ 842075 h 1523340"/>
              <a:gd name="csX105" fmla="*/ 529367 w 763849"/>
              <a:gd name="csY105" fmla="*/ 735065 h 1523340"/>
              <a:gd name="csX106" fmla="*/ 403792 w 763849"/>
              <a:gd name="csY106" fmla="*/ 596993 h 1523340"/>
              <a:gd name="csX107" fmla="*/ 344708 w 763849"/>
              <a:gd name="csY107" fmla="*/ 511366 h 1523340"/>
              <a:gd name="csX108" fmla="*/ 324464 w 763849"/>
              <a:gd name="csY108" fmla="*/ 380084 h 1523340"/>
              <a:gd name="csX109" fmla="*/ 327688 w 763849"/>
              <a:gd name="csY109" fmla="*/ 373535 h 1523340"/>
              <a:gd name="csX110" fmla="*/ 330334 w 763849"/>
              <a:gd name="csY110" fmla="*/ 373641 h 1523340"/>
              <a:gd name="csX111" fmla="*/ 334272 w 763849"/>
              <a:gd name="csY111" fmla="*/ 384645 h 1523340"/>
              <a:gd name="csX112" fmla="*/ 365260 w 763849"/>
              <a:gd name="csY112" fmla="*/ 453955 h 1523340"/>
              <a:gd name="csX113" fmla="*/ 408246 w 763849"/>
              <a:gd name="csY113" fmla="*/ 483592 h 1523340"/>
              <a:gd name="csX114" fmla="*/ 464529 w 763849"/>
              <a:gd name="csY114" fmla="*/ 486187 h 1523340"/>
              <a:gd name="csX115" fmla="*/ 511119 w 763849"/>
              <a:gd name="csY115" fmla="*/ 484308 h 1523340"/>
              <a:gd name="csX116" fmla="*/ 567913 w 763849"/>
              <a:gd name="csY116" fmla="*/ 503736 h 1523340"/>
              <a:gd name="csX117" fmla="*/ 607611 w 763849"/>
              <a:gd name="csY117" fmla="*/ 540326 h 1523340"/>
              <a:gd name="csX118" fmla="*/ 648750 w 763849"/>
              <a:gd name="csY118" fmla="*/ 562343 h 1523340"/>
              <a:gd name="csX119" fmla="*/ 462594 w 763849"/>
              <a:gd name="csY119" fmla="*/ 1369008 h 1523340"/>
              <a:gd name="csX120" fmla="*/ 510357 w 763849"/>
              <a:gd name="csY120" fmla="*/ 1366345 h 1523340"/>
              <a:gd name="csX121" fmla="*/ 549434 w 763849"/>
              <a:gd name="csY121" fmla="*/ 1362956 h 1523340"/>
              <a:gd name="csX122" fmla="*/ 632369 w 763849"/>
              <a:gd name="csY122" fmla="*/ 1354439 h 1523340"/>
              <a:gd name="csX123" fmla="*/ 697252 w 763849"/>
              <a:gd name="csY123" fmla="*/ 1346424 h 1523340"/>
              <a:gd name="csX124" fmla="*/ 676674 w 763849"/>
              <a:gd name="csY124" fmla="*/ 1266396 h 1523340"/>
              <a:gd name="csX125" fmla="*/ 646594 w 763849"/>
              <a:gd name="csY125" fmla="*/ 1234108 h 1523340"/>
              <a:gd name="csX126" fmla="*/ 612063 w 763849"/>
              <a:gd name="csY126" fmla="*/ 1194382 h 1523340"/>
              <a:gd name="csX127" fmla="*/ 591616 w 763849"/>
              <a:gd name="csY127" fmla="*/ 1111541 h 1523340"/>
              <a:gd name="csX128" fmla="*/ 594320 w 763849"/>
              <a:gd name="csY128" fmla="*/ 1089609 h 1523340"/>
              <a:gd name="csX129" fmla="*/ 578634 w 763849"/>
              <a:gd name="csY129" fmla="*/ 1089642 h 1523340"/>
              <a:gd name="csX130" fmla="*/ 443931 w 763849"/>
              <a:gd name="csY130" fmla="*/ 1096700 h 1523340"/>
              <a:gd name="csX131" fmla="*/ 403417 w 763849"/>
              <a:gd name="csY131" fmla="*/ 1097156 h 1523340"/>
              <a:gd name="csX132" fmla="*/ 388348 w 763849"/>
              <a:gd name="csY132" fmla="*/ 1111502 h 1523340"/>
              <a:gd name="csX133" fmla="*/ 385048 w 763849"/>
              <a:gd name="csY133" fmla="*/ 1176431 h 1523340"/>
              <a:gd name="csX134" fmla="*/ 377687 w 763849"/>
              <a:gd name="csY134" fmla="*/ 1308672 h 1523340"/>
              <a:gd name="csX135" fmla="*/ 376823 w 763849"/>
              <a:gd name="csY135" fmla="*/ 1320897 h 1523340"/>
              <a:gd name="csX136" fmla="*/ 376781 w 763849"/>
              <a:gd name="csY136" fmla="*/ 1366151 h 1523340"/>
              <a:gd name="csX137" fmla="*/ 462594 w 763849"/>
              <a:gd name="csY137" fmla="*/ 1369008 h 1523340"/>
              <a:gd name="csX138" fmla="*/ 648494 w 763849"/>
              <a:gd name="csY138" fmla="*/ 1463981 h 1523340"/>
              <a:gd name="csX139" fmla="*/ 718746 w 763849"/>
              <a:gd name="csY139" fmla="*/ 1451892 h 1523340"/>
              <a:gd name="csX140" fmla="*/ 711827 w 763849"/>
              <a:gd name="csY140" fmla="*/ 1416835 h 1523340"/>
              <a:gd name="csX141" fmla="*/ 685812 w 763849"/>
              <a:gd name="csY141" fmla="*/ 1398502 h 1523340"/>
              <a:gd name="csX142" fmla="*/ 680924 w 763849"/>
              <a:gd name="csY142" fmla="*/ 1398973 h 1523340"/>
              <a:gd name="csX143" fmla="*/ 598278 w 763849"/>
              <a:gd name="csY143" fmla="*/ 1409218 h 1523340"/>
              <a:gd name="csX144" fmla="*/ 474765 w 763849"/>
              <a:gd name="csY144" fmla="*/ 1417945 h 1523340"/>
              <a:gd name="csX145" fmla="*/ 385143 w 763849"/>
              <a:gd name="csY145" fmla="*/ 1418978 h 1523340"/>
              <a:gd name="csX146" fmla="*/ 376639 w 763849"/>
              <a:gd name="csY146" fmla="*/ 1419613 h 1523340"/>
              <a:gd name="csX147" fmla="*/ 376639 w 763849"/>
              <a:gd name="csY147" fmla="*/ 1473939 h 1523340"/>
              <a:gd name="csX148" fmla="*/ 382089 w 763849"/>
              <a:gd name="csY148" fmla="*/ 1474854 h 1523340"/>
              <a:gd name="csX149" fmla="*/ 449536 w 763849"/>
              <a:gd name="csY149" fmla="*/ 1476855 h 1523340"/>
              <a:gd name="csX150" fmla="*/ 559930 w 763849"/>
              <a:gd name="csY150" fmla="*/ 1474307 h 1523340"/>
              <a:gd name="csX151" fmla="*/ 648494 w 763849"/>
              <a:gd name="csY151" fmla="*/ 1463981 h 152334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</a:cxnLst>
            <a:rect l="l" t="t" r="r" b="b"/>
            <a:pathLst>
              <a:path w="763849" h="1523340">
                <a:moveTo>
                  <a:pt x="703087" y="1241174"/>
                </a:moveTo>
                <a:cubicBezTo>
                  <a:pt x="732418" y="1276379"/>
                  <a:pt x="738825" y="1316526"/>
                  <a:pt x="732932" y="1359634"/>
                </a:cubicBezTo>
                <a:cubicBezTo>
                  <a:pt x="732067" y="1365959"/>
                  <a:pt x="732453" y="1371428"/>
                  <a:pt x="735544" y="1377287"/>
                </a:cubicBezTo>
                <a:cubicBezTo>
                  <a:pt x="748937" y="1402675"/>
                  <a:pt x="755318" y="1430010"/>
                  <a:pt x="756764" y="1458577"/>
                </a:cubicBezTo>
                <a:cubicBezTo>
                  <a:pt x="756887" y="1461031"/>
                  <a:pt x="756895" y="1463494"/>
                  <a:pt x="757108" y="1465940"/>
                </a:cubicBezTo>
                <a:cubicBezTo>
                  <a:pt x="758375" y="1480486"/>
                  <a:pt x="757802" y="1482498"/>
                  <a:pt x="744215" y="1488332"/>
                </a:cubicBezTo>
                <a:cubicBezTo>
                  <a:pt x="734126" y="1492664"/>
                  <a:pt x="723536" y="1496562"/>
                  <a:pt x="712781" y="1498472"/>
                </a:cubicBezTo>
                <a:cubicBezTo>
                  <a:pt x="683814" y="1503617"/>
                  <a:pt x="654674" y="1507832"/>
                  <a:pt x="625540" y="1511981"/>
                </a:cubicBezTo>
                <a:cubicBezTo>
                  <a:pt x="580114" y="1518449"/>
                  <a:pt x="534395" y="1521481"/>
                  <a:pt x="488540" y="1522029"/>
                </a:cubicBezTo>
                <a:cubicBezTo>
                  <a:pt x="427958" y="1522752"/>
                  <a:pt x="367367" y="1523658"/>
                  <a:pt x="306789" y="1523231"/>
                </a:cubicBezTo>
                <a:cubicBezTo>
                  <a:pt x="271215" y="1522980"/>
                  <a:pt x="235625" y="1520833"/>
                  <a:pt x="200103" y="1518579"/>
                </a:cubicBezTo>
                <a:cubicBezTo>
                  <a:pt x="143289" y="1514974"/>
                  <a:pt x="86915" y="1507766"/>
                  <a:pt x="31607" y="1493880"/>
                </a:cubicBezTo>
                <a:cubicBezTo>
                  <a:pt x="22666" y="1491635"/>
                  <a:pt x="14297" y="1486920"/>
                  <a:pt x="5860" y="1482933"/>
                </a:cubicBezTo>
                <a:cubicBezTo>
                  <a:pt x="1433" y="1480841"/>
                  <a:pt x="-262" y="1476934"/>
                  <a:pt x="32" y="1471774"/>
                </a:cubicBezTo>
                <a:cubicBezTo>
                  <a:pt x="1880" y="1439401"/>
                  <a:pt x="3993" y="1407192"/>
                  <a:pt x="21295" y="1378237"/>
                </a:cubicBezTo>
                <a:cubicBezTo>
                  <a:pt x="23526" y="1374504"/>
                  <a:pt x="23666" y="1368858"/>
                  <a:pt x="23169" y="1364271"/>
                </a:cubicBezTo>
                <a:cubicBezTo>
                  <a:pt x="20957" y="1343833"/>
                  <a:pt x="20482" y="1323540"/>
                  <a:pt x="23871" y="1303132"/>
                </a:cubicBezTo>
                <a:cubicBezTo>
                  <a:pt x="28332" y="1276267"/>
                  <a:pt x="41045" y="1253887"/>
                  <a:pt x="59740" y="1234649"/>
                </a:cubicBezTo>
                <a:cubicBezTo>
                  <a:pt x="72582" y="1221434"/>
                  <a:pt x="85657" y="1208434"/>
                  <a:pt x="98899" y="1195619"/>
                </a:cubicBezTo>
                <a:cubicBezTo>
                  <a:pt x="118216" y="1176926"/>
                  <a:pt x="130484" y="1154702"/>
                  <a:pt x="131493" y="1127593"/>
                </a:cubicBezTo>
                <a:cubicBezTo>
                  <a:pt x="132448" y="1101948"/>
                  <a:pt x="127125" y="1077868"/>
                  <a:pt x="108213" y="1058723"/>
                </a:cubicBezTo>
                <a:cubicBezTo>
                  <a:pt x="97010" y="1047381"/>
                  <a:pt x="85438" y="1036399"/>
                  <a:pt x="74370" y="1024929"/>
                </a:cubicBezTo>
                <a:cubicBezTo>
                  <a:pt x="63868" y="1014043"/>
                  <a:pt x="62267" y="1001475"/>
                  <a:pt x="68137" y="987550"/>
                </a:cubicBezTo>
                <a:cubicBezTo>
                  <a:pt x="74493" y="972473"/>
                  <a:pt x="80703" y="957319"/>
                  <a:pt x="86420" y="941991"/>
                </a:cubicBezTo>
                <a:cubicBezTo>
                  <a:pt x="100218" y="905001"/>
                  <a:pt x="99441" y="866690"/>
                  <a:pt x="97082" y="828037"/>
                </a:cubicBezTo>
                <a:cubicBezTo>
                  <a:pt x="94260" y="781809"/>
                  <a:pt x="76370" y="739899"/>
                  <a:pt x="61782" y="696973"/>
                </a:cubicBezTo>
                <a:cubicBezTo>
                  <a:pt x="45282" y="648419"/>
                  <a:pt x="33285" y="598770"/>
                  <a:pt x="26901" y="547868"/>
                </a:cubicBezTo>
                <a:cubicBezTo>
                  <a:pt x="24054" y="525160"/>
                  <a:pt x="21110" y="502364"/>
                  <a:pt x="20221" y="479529"/>
                </a:cubicBezTo>
                <a:cubicBezTo>
                  <a:pt x="18293" y="430013"/>
                  <a:pt x="26126" y="381610"/>
                  <a:pt x="40808" y="334388"/>
                </a:cubicBezTo>
                <a:cubicBezTo>
                  <a:pt x="48208" y="310588"/>
                  <a:pt x="55162" y="286441"/>
                  <a:pt x="65171" y="263707"/>
                </a:cubicBezTo>
                <a:cubicBezTo>
                  <a:pt x="81946" y="225606"/>
                  <a:pt x="106517" y="193071"/>
                  <a:pt x="142827" y="171003"/>
                </a:cubicBezTo>
                <a:cubicBezTo>
                  <a:pt x="152238" y="165283"/>
                  <a:pt x="162401" y="160787"/>
                  <a:pt x="172290" y="155872"/>
                </a:cubicBezTo>
                <a:cubicBezTo>
                  <a:pt x="177784" y="153142"/>
                  <a:pt x="183393" y="150635"/>
                  <a:pt x="189008" y="148158"/>
                </a:cubicBezTo>
                <a:cubicBezTo>
                  <a:pt x="199487" y="143534"/>
                  <a:pt x="207598" y="136426"/>
                  <a:pt x="212828" y="126123"/>
                </a:cubicBezTo>
                <a:cubicBezTo>
                  <a:pt x="214121" y="123575"/>
                  <a:pt x="215966" y="121304"/>
                  <a:pt x="217217" y="118740"/>
                </a:cubicBezTo>
                <a:cubicBezTo>
                  <a:pt x="224688" y="103433"/>
                  <a:pt x="237053" y="93440"/>
                  <a:pt x="253000" y="88998"/>
                </a:cubicBezTo>
                <a:cubicBezTo>
                  <a:pt x="275818" y="82642"/>
                  <a:pt x="299033" y="77711"/>
                  <a:pt x="322085" y="72193"/>
                </a:cubicBezTo>
                <a:cubicBezTo>
                  <a:pt x="324867" y="71527"/>
                  <a:pt x="327694" y="71045"/>
                  <a:pt x="330478" y="70387"/>
                </a:cubicBezTo>
                <a:cubicBezTo>
                  <a:pt x="364731" y="62297"/>
                  <a:pt x="364569" y="62151"/>
                  <a:pt x="388016" y="35457"/>
                </a:cubicBezTo>
                <a:cubicBezTo>
                  <a:pt x="398189" y="23875"/>
                  <a:pt x="409180" y="13010"/>
                  <a:pt x="421527" y="0"/>
                </a:cubicBezTo>
                <a:cubicBezTo>
                  <a:pt x="423000" y="5190"/>
                  <a:pt x="424219" y="7961"/>
                  <a:pt x="424538" y="10833"/>
                </a:cubicBezTo>
                <a:cubicBezTo>
                  <a:pt x="428638" y="47817"/>
                  <a:pt x="433030" y="84779"/>
                  <a:pt x="436339" y="121836"/>
                </a:cubicBezTo>
                <a:cubicBezTo>
                  <a:pt x="437236" y="131893"/>
                  <a:pt x="441545" y="137271"/>
                  <a:pt x="449983" y="141450"/>
                </a:cubicBezTo>
                <a:cubicBezTo>
                  <a:pt x="467954" y="150348"/>
                  <a:pt x="486187" y="158915"/>
                  <a:pt x="503299" y="169290"/>
                </a:cubicBezTo>
                <a:cubicBezTo>
                  <a:pt x="520041" y="179441"/>
                  <a:pt x="535883" y="191197"/>
                  <a:pt x="551461" y="203111"/>
                </a:cubicBezTo>
                <a:cubicBezTo>
                  <a:pt x="568416" y="216079"/>
                  <a:pt x="579195" y="234146"/>
                  <a:pt x="588803" y="252797"/>
                </a:cubicBezTo>
                <a:cubicBezTo>
                  <a:pt x="602134" y="278677"/>
                  <a:pt x="616556" y="303835"/>
                  <a:pt x="634209" y="327081"/>
                </a:cubicBezTo>
                <a:cubicBezTo>
                  <a:pt x="651797" y="350241"/>
                  <a:pt x="673980" y="368103"/>
                  <a:pt x="697923" y="384157"/>
                </a:cubicBezTo>
                <a:cubicBezTo>
                  <a:pt x="708787" y="391441"/>
                  <a:pt x="719007" y="399678"/>
                  <a:pt x="729658" y="407288"/>
                </a:cubicBezTo>
                <a:cubicBezTo>
                  <a:pt x="751657" y="423004"/>
                  <a:pt x="761259" y="445265"/>
                  <a:pt x="763354" y="471325"/>
                </a:cubicBezTo>
                <a:cubicBezTo>
                  <a:pt x="764877" y="490275"/>
                  <a:pt x="762919" y="509064"/>
                  <a:pt x="757092" y="527116"/>
                </a:cubicBezTo>
                <a:cubicBezTo>
                  <a:pt x="750932" y="546198"/>
                  <a:pt x="738296" y="560266"/>
                  <a:pt x="720673" y="570023"/>
                </a:cubicBezTo>
                <a:cubicBezTo>
                  <a:pt x="715048" y="573138"/>
                  <a:pt x="709487" y="576825"/>
                  <a:pt x="704918" y="581294"/>
                </a:cubicBezTo>
                <a:cubicBezTo>
                  <a:pt x="695625" y="590383"/>
                  <a:pt x="684728" y="595697"/>
                  <a:pt x="671960" y="595325"/>
                </a:cubicBezTo>
                <a:cubicBezTo>
                  <a:pt x="658939" y="594945"/>
                  <a:pt x="645743" y="594018"/>
                  <a:pt x="633021" y="591397"/>
                </a:cubicBezTo>
                <a:cubicBezTo>
                  <a:pt x="611233" y="586907"/>
                  <a:pt x="595034" y="572939"/>
                  <a:pt x="580696" y="556742"/>
                </a:cubicBezTo>
                <a:cubicBezTo>
                  <a:pt x="570081" y="544750"/>
                  <a:pt x="559052" y="533306"/>
                  <a:pt x="545415" y="524617"/>
                </a:cubicBezTo>
                <a:cubicBezTo>
                  <a:pt x="537261" y="519422"/>
                  <a:pt x="528551" y="515996"/>
                  <a:pt x="518889" y="516179"/>
                </a:cubicBezTo>
                <a:cubicBezTo>
                  <a:pt x="503357" y="516473"/>
                  <a:pt x="487839" y="517663"/>
                  <a:pt x="472309" y="517812"/>
                </a:cubicBezTo>
                <a:cubicBezTo>
                  <a:pt x="453527" y="517993"/>
                  <a:pt x="434738" y="517514"/>
                  <a:pt x="415953" y="517245"/>
                </a:cubicBezTo>
                <a:cubicBezTo>
                  <a:pt x="411976" y="517189"/>
                  <a:pt x="408003" y="516808"/>
                  <a:pt x="403392" y="516539"/>
                </a:cubicBezTo>
                <a:cubicBezTo>
                  <a:pt x="401207" y="526363"/>
                  <a:pt x="404857" y="534293"/>
                  <a:pt x="407957" y="542045"/>
                </a:cubicBezTo>
                <a:cubicBezTo>
                  <a:pt x="414092" y="557387"/>
                  <a:pt x="423168" y="571042"/>
                  <a:pt x="434134" y="583349"/>
                </a:cubicBezTo>
                <a:cubicBezTo>
                  <a:pt x="464083" y="616959"/>
                  <a:pt x="493980" y="650618"/>
                  <a:pt x="524267" y="683922"/>
                </a:cubicBezTo>
                <a:cubicBezTo>
                  <a:pt x="554818" y="717518"/>
                  <a:pt x="588291" y="748619"/>
                  <a:pt x="614317" y="786085"/>
                </a:cubicBezTo>
                <a:cubicBezTo>
                  <a:pt x="642656" y="826881"/>
                  <a:pt x="663974" y="871159"/>
                  <a:pt x="669590" y="921089"/>
                </a:cubicBezTo>
                <a:cubicBezTo>
                  <a:pt x="674894" y="968240"/>
                  <a:pt x="669774" y="1014226"/>
                  <a:pt x="647360" y="1057245"/>
                </a:cubicBezTo>
                <a:cubicBezTo>
                  <a:pt x="639830" y="1071697"/>
                  <a:pt x="630533" y="1085565"/>
                  <a:pt x="627872" y="1102111"/>
                </a:cubicBezTo>
                <a:cubicBezTo>
                  <a:pt x="623640" y="1128439"/>
                  <a:pt x="626183" y="1153784"/>
                  <a:pt x="642300" y="1175941"/>
                </a:cubicBezTo>
                <a:cubicBezTo>
                  <a:pt x="650201" y="1186801"/>
                  <a:pt x="659595" y="1196636"/>
                  <a:pt x="668829" y="1206449"/>
                </a:cubicBezTo>
                <a:cubicBezTo>
                  <a:pt x="679770" y="1218075"/>
                  <a:pt x="691267" y="1229177"/>
                  <a:pt x="703087" y="1241174"/>
                </a:cubicBezTo>
                <a:moveTo>
                  <a:pt x="648750" y="562343"/>
                </a:moveTo>
                <a:cubicBezTo>
                  <a:pt x="656729" y="562558"/>
                  <a:pt x="664698" y="567407"/>
                  <a:pt x="674049" y="562834"/>
                </a:cubicBezTo>
                <a:cubicBezTo>
                  <a:pt x="668990" y="558037"/>
                  <a:pt x="664729" y="554259"/>
                  <a:pt x="660781" y="550178"/>
                </a:cubicBezTo>
                <a:cubicBezTo>
                  <a:pt x="656713" y="545973"/>
                  <a:pt x="651493" y="542363"/>
                  <a:pt x="650911" y="534051"/>
                </a:cubicBezTo>
                <a:cubicBezTo>
                  <a:pt x="654940" y="535536"/>
                  <a:pt x="657753" y="536907"/>
                  <a:pt x="660724" y="537605"/>
                </a:cubicBezTo>
                <a:cubicBezTo>
                  <a:pt x="669824" y="539743"/>
                  <a:pt x="678915" y="542853"/>
                  <a:pt x="688133" y="543363"/>
                </a:cubicBezTo>
                <a:cubicBezTo>
                  <a:pt x="712019" y="544686"/>
                  <a:pt x="726964" y="534053"/>
                  <a:pt x="731514" y="510767"/>
                </a:cubicBezTo>
                <a:cubicBezTo>
                  <a:pt x="734296" y="496535"/>
                  <a:pt x="734146" y="481511"/>
                  <a:pt x="733611" y="466905"/>
                </a:cubicBezTo>
                <a:cubicBezTo>
                  <a:pt x="732951" y="448863"/>
                  <a:pt x="723348" y="435653"/>
                  <a:pt x="708076" y="425975"/>
                </a:cubicBezTo>
                <a:cubicBezTo>
                  <a:pt x="694258" y="417218"/>
                  <a:pt x="681056" y="407489"/>
                  <a:pt x="667538" y="398254"/>
                </a:cubicBezTo>
                <a:cubicBezTo>
                  <a:pt x="641278" y="380314"/>
                  <a:pt x="617580" y="359743"/>
                  <a:pt x="601016" y="332127"/>
                </a:cubicBezTo>
                <a:cubicBezTo>
                  <a:pt x="588810" y="311778"/>
                  <a:pt x="576093" y="291645"/>
                  <a:pt x="565354" y="270526"/>
                </a:cubicBezTo>
                <a:cubicBezTo>
                  <a:pt x="548401" y="237186"/>
                  <a:pt x="523821" y="212104"/>
                  <a:pt x="490657" y="195121"/>
                </a:cubicBezTo>
                <a:cubicBezTo>
                  <a:pt x="471346" y="185231"/>
                  <a:pt x="452394" y="174606"/>
                  <a:pt x="432834" y="165243"/>
                </a:cubicBezTo>
                <a:cubicBezTo>
                  <a:pt x="416725" y="157532"/>
                  <a:pt x="408325" y="145526"/>
                  <a:pt x="407594" y="127852"/>
                </a:cubicBezTo>
                <a:cubicBezTo>
                  <a:pt x="406783" y="108242"/>
                  <a:pt x="405935" y="88634"/>
                  <a:pt x="405020" y="69029"/>
                </a:cubicBezTo>
                <a:cubicBezTo>
                  <a:pt x="404882" y="66067"/>
                  <a:pt x="404287" y="63127"/>
                  <a:pt x="403638" y="58130"/>
                </a:cubicBezTo>
                <a:cubicBezTo>
                  <a:pt x="381792" y="82321"/>
                  <a:pt x="361650" y="104820"/>
                  <a:pt x="349776" y="133259"/>
                </a:cubicBezTo>
                <a:cubicBezTo>
                  <a:pt x="345032" y="144621"/>
                  <a:pt x="337822" y="153814"/>
                  <a:pt x="326975" y="159669"/>
                </a:cubicBezTo>
                <a:cubicBezTo>
                  <a:pt x="295461" y="176681"/>
                  <a:pt x="266610" y="197333"/>
                  <a:pt x="240374" y="221714"/>
                </a:cubicBezTo>
                <a:cubicBezTo>
                  <a:pt x="212881" y="247263"/>
                  <a:pt x="188313" y="275340"/>
                  <a:pt x="171637" y="309087"/>
                </a:cubicBezTo>
                <a:cubicBezTo>
                  <a:pt x="139180" y="374765"/>
                  <a:pt x="129692" y="444532"/>
                  <a:pt x="138048" y="516954"/>
                </a:cubicBezTo>
                <a:cubicBezTo>
                  <a:pt x="142936" y="559318"/>
                  <a:pt x="152518" y="600762"/>
                  <a:pt x="163889" y="641780"/>
                </a:cubicBezTo>
                <a:cubicBezTo>
                  <a:pt x="177329" y="690261"/>
                  <a:pt x="191989" y="738413"/>
                  <a:pt x="204800" y="787055"/>
                </a:cubicBezTo>
                <a:cubicBezTo>
                  <a:pt x="218820" y="840287"/>
                  <a:pt x="228587" y="894088"/>
                  <a:pt x="218549" y="949545"/>
                </a:cubicBezTo>
                <a:cubicBezTo>
                  <a:pt x="213279" y="978659"/>
                  <a:pt x="207130" y="1007359"/>
                  <a:pt x="191487" y="1033064"/>
                </a:cubicBezTo>
                <a:cubicBezTo>
                  <a:pt x="190499" y="1034686"/>
                  <a:pt x="190018" y="1036618"/>
                  <a:pt x="188729" y="1039835"/>
                </a:cubicBezTo>
                <a:cubicBezTo>
                  <a:pt x="200470" y="1040170"/>
                  <a:pt x="210952" y="1040298"/>
                  <a:pt x="221417" y="1040799"/>
                </a:cubicBezTo>
                <a:cubicBezTo>
                  <a:pt x="263912" y="1042835"/>
                  <a:pt x="306390" y="1046436"/>
                  <a:pt x="348895" y="1046759"/>
                </a:cubicBezTo>
                <a:cubicBezTo>
                  <a:pt x="414380" y="1047258"/>
                  <a:pt x="479896" y="1046092"/>
                  <a:pt x="545369" y="1044456"/>
                </a:cubicBezTo>
                <a:cubicBezTo>
                  <a:pt x="567764" y="1043897"/>
                  <a:pt x="590066" y="1039744"/>
                  <a:pt x="612424" y="1037365"/>
                </a:cubicBezTo>
                <a:cubicBezTo>
                  <a:pt x="617948" y="1036777"/>
                  <a:pt x="621342" y="1034139"/>
                  <a:pt x="623169" y="1028873"/>
                </a:cubicBezTo>
                <a:cubicBezTo>
                  <a:pt x="630975" y="1006370"/>
                  <a:pt x="637026" y="983472"/>
                  <a:pt x="638508" y="959599"/>
                </a:cubicBezTo>
                <a:cubicBezTo>
                  <a:pt x="641131" y="917363"/>
                  <a:pt x="628970" y="878727"/>
                  <a:pt x="609213" y="842075"/>
                </a:cubicBezTo>
                <a:cubicBezTo>
                  <a:pt x="587874" y="802491"/>
                  <a:pt x="559403" y="768169"/>
                  <a:pt x="529367" y="735065"/>
                </a:cubicBezTo>
                <a:cubicBezTo>
                  <a:pt x="487563" y="688992"/>
                  <a:pt x="445474" y="643176"/>
                  <a:pt x="403792" y="596993"/>
                </a:cubicBezTo>
                <a:cubicBezTo>
                  <a:pt x="380393" y="571066"/>
                  <a:pt x="360083" y="542922"/>
                  <a:pt x="344708" y="511366"/>
                </a:cubicBezTo>
                <a:cubicBezTo>
                  <a:pt x="324385" y="469655"/>
                  <a:pt x="317321" y="425966"/>
                  <a:pt x="324464" y="380084"/>
                </a:cubicBezTo>
                <a:cubicBezTo>
                  <a:pt x="324821" y="377789"/>
                  <a:pt x="326581" y="375713"/>
                  <a:pt x="327688" y="373535"/>
                </a:cubicBezTo>
                <a:cubicBezTo>
                  <a:pt x="328570" y="373570"/>
                  <a:pt x="329452" y="373606"/>
                  <a:pt x="330334" y="373641"/>
                </a:cubicBezTo>
                <a:cubicBezTo>
                  <a:pt x="331649" y="377308"/>
                  <a:pt x="333001" y="380963"/>
                  <a:pt x="334272" y="384645"/>
                </a:cubicBezTo>
                <a:cubicBezTo>
                  <a:pt x="342569" y="408660"/>
                  <a:pt x="351164" y="432573"/>
                  <a:pt x="365260" y="453955"/>
                </a:cubicBezTo>
                <a:cubicBezTo>
                  <a:pt x="375537" y="469544"/>
                  <a:pt x="388811" y="481767"/>
                  <a:pt x="408246" y="483592"/>
                </a:cubicBezTo>
                <a:cubicBezTo>
                  <a:pt x="426928" y="485346"/>
                  <a:pt x="445757" y="486037"/>
                  <a:pt x="464529" y="486187"/>
                </a:cubicBezTo>
                <a:cubicBezTo>
                  <a:pt x="480053" y="486311"/>
                  <a:pt x="495582" y="484792"/>
                  <a:pt x="511119" y="484308"/>
                </a:cubicBezTo>
                <a:cubicBezTo>
                  <a:pt x="532443" y="483644"/>
                  <a:pt x="551690" y="490014"/>
                  <a:pt x="567913" y="503736"/>
                </a:cubicBezTo>
                <a:cubicBezTo>
                  <a:pt x="581642" y="515348"/>
                  <a:pt x="594604" y="527888"/>
                  <a:pt x="607611" y="540326"/>
                </a:cubicBezTo>
                <a:cubicBezTo>
                  <a:pt x="618811" y="551038"/>
                  <a:pt x="631177" y="559300"/>
                  <a:pt x="648750" y="562343"/>
                </a:cubicBezTo>
                <a:moveTo>
                  <a:pt x="462594" y="1369008"/>
                </a:moveTo>
                <a:cubicBezTo>
                  <a:pt x="478517" y="1368137"/>
                  <a:pt x="494449" y="1367429"/>
                  <a:pt x="510357" y="1366345"/>
                </a:cubicBezTo>
                <a:cubicBezTo>
                  <a:pt x="523399" y="1365456"/>
                  <a:pt x="536424" y="1364247"/>
                  <a:pt x="549434" y="1362956"/>
                </a:cubicBezTo>
                <a:cubicBezTo>
                  <a:pt x="577089" y="1360213"/>
                  <a:pt x="604749" y="1357503"/>
                  <a:pt x="632369" y="1354439"/>
                </a:cubicBezTo>
                <a:cubicBezTo>
                  <a:pt x="653805" y="1352062"/>
                  <a:pt x="675183" y="1349170"/>
                  <a:pt x="697252" y="1346424"/>
                </a:cubicBezTo>
                <a:cubicBezTo>
                  <a:pt x="701148" y="1316348"/>
                  <a:pt x="695768" y="1289474"/>
                  <a:pt x="676674" y="1266396"/>
                </a:cubicBezTo>
                <a:cubicBezTo>
                  <a:pt x="667313" y="1255080"/>
                  <a:pt x="656878" y="1244625"/>
                  <a:pt x="646594" y="1234108"/>
                </a:cubicBezTo>
                <a:cubicBezTo>
                  <a:pt x="634298" y="1221533"/>
                  <a:pt x="621353" y="1209623"/>
                  <a:pt x="612063" y="1194382"/>
                </a:cubicBezTo>
                <a:cubicBezTo>
                  <a:pt x="596511" y="1168867"/>
                  <a:pt x="588079" y="1141707"/>
                  <a:pt x="591616" y="1111541"/>
                </a:cubicBezTo>
                <a:cubicBezTo>
                  <a:pt x="592450" y="1104432"/>
                  <a:pt x="593365" y="1097332"/>
                  <a:pt x="594320" y="1089609"/>
                </a:cubicBezTo>
                <a:cubicBezTo>
                  <a:pt x="588294" y="1089609"/>
                  <a:pt x="583452" y="1089392"/>
                  <a:pt x="578634" y="1089642"/>
                </a:cubicBezTo>
                <a:cubicBezTo>
                  <a:pt x="533732" y="1091976"/>
                  <a:pt x="488841" y="1094525"/>
                  <a:pt x="443931" y="1096700"/>
                </a:cubicBezTo>
                <a:cubicBezTo>
                  <a:pt x="430451" y="1097353"/>
                  <a:pt x="416923" y="1097005"/>
                  <a:pt x="403417" y="1097156"/>
                </a:cubicBezTo>
                <a:cubicBezTo>
                  <a:pt x="389337" y="1097313"/>
                  <a:pt x="388961" y="1097850"/>
                  <a:pt x="388348" y="1111502"/>
                </a:cubicBezTo>
                <a:cubicBezTo>
                  <a:pt x="387375" y="1133151"/>
                  <a:pt x="386231" y="1154793"/>
                  <a:pt x="385048" y="1176431"/>
                </a:cubicBezTo>
                <a:cubicBezTo>
                  <a:pt x="382637" y="1220514"/>
                  <a:pt x="380158" y="1264593"/>
                  <a:pt x="377687" y="1308672"/>
                </a:cubicBezTo>
                <a:cubicBezTo>
                  <a:pt x="377458" y="1312751"/>
                  <a:pt x="376852" y="1316821"/>
                  <a:pt x="376823" y="1320897"/>
                </a:cubicBezTo>
                <a:cubicBezTo>
                  <a:pt x="376717" y="1335880"/>
                  <a:pt x="376781" y="1350864"/>
                  <a:pt x="376781" y="1366151"/>
                </a:cubicBezTo>
                <a:cubicBezTo>
                  <a:pt x="404707" y="1370397"/>
                  <a:pt x="432477" y="1369351"/>
                  <a:pt x="462594" y="1369008"/>
                </a:cubicBezTo>
                <a:moveTo>
                  <a:pt x="648494" y="1463981"/>
                </a:moveTo>
                <a:cubicBezTo>
                  <a:pt x="671329" y="1460052"/>
                  <a:pt x="694163" y="1456122"/>
                  <a:pt x="718746" y="1451892"/>
                </a:cubicBezTo>
                <a:cubicBezTo>
                  <a:pt x="716257" y="1439067"/>
                  <a:pt x="714578" y="1427816"/>
                  <a:pt x="711827" y="1416835"/>
                </a:cubicBezTo>
                <a:cubicBezTo>
                  <a:pt x="707611" y="1400009"/>
                  <a:pt x="703502" y="1397423"/>
                  <a:pt x="685812" y="1398502"/>
                </a:cubicBezTo>
                <a:cubicBezTo>
                  <a:pt x="684179" y="1398602"/>
                  <a:pt x="682547" y="1398768"/>
                  <a:pt x="680924" y="1398973"/>
                </a:cubicBezTo>
                <a:cubicBezTo>
                  <a:pt x="653380" y="1402446"/>
                  <a:pt x="625911" y="1406752"/>
                  <a:pt x="598278" y="1409218"/>
                </a:cubicBezTo>
                <a:cubicBezTo>
                  <a:pt x="557171" y="1412886"/>
                  <a:pt x="515983" y="1415946"/>
                  <a:pt x="474765" y="1417945"/>
                </a:cubicBezTo>
                <a:cubicBezTo>
                  <a:pt x="444944" y="1419391"/>
                  <a:pt x="415021" y="1418680"/>
                  <a:pt x="385143" y="1418978"/>
                </a:cubicBezTo>
                <a:cubicBezTo>
                  <a:pt x="382419" y="1419005"/>
                  <a:pt x="379697" y="1419376"/>
                  <a:pt x="376639" y="1419613"/>
                </a:cubicBezTo>
                <a:cubicBezTo>
                  <a:pt x="376639" y="1438152"/>
                  <a:pt x="376639" y="1455909"/>
                  <a:pt x="376639" y="1473939"/>
                </a:cubicBezTo>
                <a:cubicBezTo>
                  <a:pt x="378971" y="1474343"/>
                  <a:pt x="380523" y="1474802"/>
                  <a:pt x="382089" y="1474854"/>
                </a:cubicBezTo>
                <a:cubicBezTo>
                  <a:pt x="404571" y="1475605"/>
                  <a:pt x="427058" y="1476986"/>
                  <a:pt x="449536" y="1476855"/>
                </a:cubicBezTo>
                <a:cubicBezTo>
                  <a:pt x="486344" y="1476639"/>
                  <a:pt x="523207" y="1476480"/>
                  <a:pt x="559930" y="1474307"/>
                </a:cubicBezTo>
                <a:cubicBezTo>
                  <a:pt x="588839" y="1472596"/>
                  <a:pt x="617570" y="1467884"/>
                  <a:pt x="648494" y="1463981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53" name="Free-form: Shape 252">
            <a:extLst>
              <a:ext uri="{FF2B5EF4-FFF2-40B4-BE49-F238E27FC236}">
                <a16:creationId xmlns:a16="http://schemas.microsoft.com/office/drawing/2014/main" id="{6A153257-708A-CBA2-8B52-4491D3B5031C}"/>
              </a:ext>
            </a:extLst>
          </p:cNvPr>
          <p:cNvSpPr/>
          <p:nvPr/>
        </p:nvSpPr>
        <p:spPr>
          <a:xfrm>
            <a:off x="3819527" y="4569422"/>
            <a:ext cx="497702" cy="821885"/>
          </a:xfrm>
          <a:custGeom>
            <a:avLst/>
            <a:gdLst>
              <a:gd name="csX0" fmla="*/ 512604 w 598747"/>
              <a:gd name="csY0" fmla="*/ 503918 h 988745"/>
              <a:gd name="csX1" fmla="*/ 472435 w 598747"/>
              <a:gd name="csY1" fmla="*/ 482196 h 988745"/>
              <a:gd name="csX2" fmla="*/ 432737 w 598747"/>
              <a:gd name="csY2" fmla="*/ 445605 h 988745"/>
              <a:gd name="csX3" fmla="*/ 375943 w 598747"/>
              <a:gd name="csY3" fmla="*/ 426178 h 988745"/>
              <a:gd name="csX4" fmla="*/ 329354 w 598747"/>
              <a:gd name="csY4" fmla="*/ 428057 h 988745"/>
              <a:gd name="csX5" fmla="*/ 273070 w 598747"/>
              <a:gd name="csY5" fmla="*/ 425461 h 988745"/>
              <a:gd name="csX6" fmla="*/ 230084 w 598747"/>
              <a:gd name="csY6" fmla="*/ 395825 h 988745"/>
              <a:gd name="csX7" fmla="*/ 199097 w 598747"/>
              <a:gd name="csY7" fmla="*/ 326515 h 988745"/>
              <a:gd name="csX8" fmla="*/ 195158 w 598747"/>
              <a:gd name="csY8" fmla="*/ 315511 h 988745"/>
              <a:gd name="csX9" fmla="*/ 192512 w 598747"/>
              <a:gd name="csY9" fmla="*/ 315405 h 988745"/>
              <a:gd name="csX10" fmla="*/ 189288 w 598747"/>
              <a:gd name="csY10" fmla="*/ 321954 h 988745"/>
              <a:gd name="csX11" fmla="*/ 209532 w 598747"/>
              <a:gd name="csY11" fmla="*/ 453235 h 988745"/>
              <a:gd name="csX12" fmla="*/ 268616 w 598747"/>
              <a:gd name="csY12" fmla="*/ 538863 h 988745"/>
              <a:gd name="csX13" fmla="*/ 394191 w 598747"/>
              <a:gd name="csY13" fmla="*/ 676935 h 988745"/>
              <a:gd name="csX14" fmla="*/ 474037 w 598747"/>
              <a:gd name="csY14" fmla="*/ 783945 h 988745"/>
              <a:gd name="csX15" fmla="*/ 503332 w 598747"/>
              <a:gd name="csY15" fmla="*/ 901469 h 988745"/>
              <a:gd name="csX16" fmla="*/ 487993 w 598747"/>
              <a:gd name="csY16" fmla="*/ 970743 h 988745"/>
              <a:gd name="csX17" fmla="*/ 477248 w 598747"/>
              <a:gd name="csY17" fmla="*/ 979235 h 988745"/>
              <a:gd name="csX18" fmla="*/ 410194 w 598747"/>
              <a:gd name="csY18" fmla="*/ 986326 h 988745"/>
              <a:gd name="csX19" fmla="*/ 213720 w 598747"/>
              <a:gd name="csY19" fmla="*/ 988629 h 988745"/>
              <a:gd name="csX20" fmla="*/ 86242 w 598747"/>
              <a:gd name="csY20" fmla="*/ 982669 h 988745"/>
              <a:gd name="csX21" fmla="*/ 53553 w 598747"/>
              <a:gd name="csY21" fmla="*/ 981705 h 988745"/>
              <a:gd name="csX22" fmla="*/ 56311 w 598747"/>
              <a:gd name="csY22" fmla="*/ 974933 h 988745"/>
              <a:gd name="csX23" fmla="*/ 83373 w 598747"/>
              <a:gd name="csY23" fmla="*/ 891414 h 988745"/>
              <a:gd name="csX24" fmla="*/ 69625 w 598747"/>
              <a:gd name="csY24" fmla="*/ 728925 h 988745"/>
              <a:gd name="csX25" fmla="*/ 28713 w 598747"/>
              <a:gd name="csY25" fmla="*/ 583650 h 988745"/>
              <a:gd name="csX26" fmla="*/ 2872 w 598747"/>
              <a:gd name="csY26" fmla="*/ 458823 h 988745"/>
              <a:gd name="csX27" fmla="*/ 36461 w 598747"/>
              <a:gd name="csY27" fmla="*/ 250957 h 988745"/>
              <a:gd name="csX28" fmla="*/ 105198 w 598747"/>
              <a:gd name="csY28" fmla="*/ 163584 h 988745"/>
              <a:gd name="csX29" fmla="*/ 191800 w 598747"/>
              <a:gd name="csY29" fmla="*/ 101539 h 988745"/>
              <a:gd name="csX30" fmla="*/ 214600 w 598747"/>
              <a:gd name="csY30" fmla="*/ 75129 h 988745"/>
              <a:gd name="csX31" fmla="*/ 268462 w 598747"/>
              <a:gd name="csY31" fmla="*/ 0 h 988745"/>
              <a:gd name="csX32" fmla="*/ 269844 w 598747"/>
              <a:gd name="csY32" fmla="*/ 10898 h 988745"/>
              <a:gd name="csX33" fmla="*/ 272418 w 598747"/>
              <a:gd name="csY33" fmla="*/ 69722 h 988745"/>
              <a:gd name="csX34" fmla="*/ 297658 w 598747"/>
              <a:gd name="csY34" fmla="*/ 107113 h 988745"/>
              <a:gd name="csX35" fmla="*/ 355481 w 598747"/>
              <a:gd name="csY35" fmla="*/ 136991 h 988745"/>
              <a:gd name="csX36" fmla="*/ 430178 w 598747"/>
              <a:gd name="csY36" fmla="*/ 212396 h 988745"/>
              <a:gd name="csX37" fmla="*/ 465840 w 598747"/>
              <a:gd name="csY37" fmla="*/ 273997 h 988745"/>
              <a:gd name="csX38" fmla="*/ 532362 w 598747"/>
              <a:gd name="csY38" fmla="*/ 340124 h 988745"/>
              <a:gd name="csX39" fmla="*/ 572901 w 598747"/>
              <a:gd name="csY39" fmla="*/ 367845 h 988745"/>
              <a:gd name="csX40" fmla="*/ 598436 w 598747"/>
              <a:gd name="csY40" fmla="*/ 408775 h 988745"/>
              <a:gd name="csX41" fmla="*/ 596339 w 598747"/>
              <a:gd name="csY41" fmla="*/ 452637 h 988745"/>
              <a:gd name="csX42" fmla="*/ 552957 w 598747"/>
              <a:gd name="csY42" fmla="*/ 485233 h 988745"/>
              <a:gd name="csX43" fmla="*/ 525548 w 598747"/>
              <a:gd name="csY43" fmla="*/ 479475 h 988745"/>
              <a:gd name="csX44" fmla="*/ 515736 w 598747"/>
              <a:gd name="csY44" fmla="*/ 475921 h 988745"/>
              <a:gd name="csX45" fmla="*/ 525605 w 598747"/>
              <a:gd name="csY45" fmla="*/ 492048 h 988745"/>
              <a:gd name="csX46" fmla="*/ 538873 w 598747"/>
              <a:gd name="csY46" fmla="*/ 504704 h 988745"/>
              <a:gd name="csX47" fmla="*/ 512604 w 598747"/>
              <a:gd name="csY47" fmla="*/ 503918 h 988745"/>
              <a:gd name="csX48" fmla="*/ 332072 w 598747"/>
              <a:gd name="csY48" fmla="*/ 218143 h 988745"/>
              <a:gd name="csX49" fmla="*/ 334388 w 598747"/>
              <a:gd name="csY49" fmla="*/ 226400 h 988745"/>
              <a:gd name="csX50" fmla="*/ 372370 w 598747"/>
              <a:gd name="csY50" fmla="*/ 254505 h 988745"/>
              <a:gd name="csX51" fmla="*/ 405258 w 598747"/>
              <a:gd name="csY51" fmla="*/ 252089 h 988745"/>
              <a:gd name="csX52" fmla="*/ 409167 w 598747"/>
              <a:gd name="csY52" fmla="*/ 244359 h 988745"/>
              <a:gd name="csX53" fmla="*/ 396364 w 598747"/>
              <a:gd name="csY53" fmla="*/ 219471 h 988745"/>
              <a:gd name="csX54" fmla="*/ 365755 w 598747"/>
              <a:gd name="csY54" fmla="*/ 195821 h 988745"/>
              <a:gd name="csX55" fmla="*/ 333572 w 598747"/>
              <a:gd name="csY55" fmla="*/ 188536 h 988745"/>
              <a:gd name="csX56" fmla="*/ 322931 w 598747"/>
              <a:gd name="csY56" fmla="*/ 190843 h 988745"/>
              <a:gd name="csX57" fmla="*/ 329041 w 598747"/>
              <a:gd name="csY57" fmla="*/ 203001 h 988745"/>
              <a:gd name="csX58" fmla="*/ 332072 w 598747"/>
              <a:gd name="csY58" fmla="*/ 218143 h 98874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</a:cxnLst>
            <a:rect l="l" t="t" r="r" b="b"/>
            <a:pathLst>
              <a:path w="598747" h="988745">
                <a:moveTo>
                  <a:pt x="512604" y="503918"/>
                </a:moveTo>
                <a:cubicBezTo>
                  <a:pt x="496002" y="501170"/>
                  <a:pt x="483635" y="492907"/>
                  <a:pt x="472435" y="482196"/>
                </a:cubicBezTo>
                <a:cubicBezTo>
                  <a:pt x="459429" y="469758"/>
                  <a:pt x="446467" y="457218"/>
                  <a:pt x="432737" y="445605"/>
                </a:cubicBezTo>
                <a:cubicBezTo>
                  <a:pt x="416514" y="431883"/>
                  <a:pt x="397267" y="425513"/>
                  <a:pt x="375943" y="426178"/>
                </a:cubicBezTo>
                <a:cubicBezTo>
                  <a:pt x="360407" y="426662"/>
                  <a:pt x="344877" y="428180"/>
                  <a:pt x="329354" y="428057"/>
                </a:cubicBezTo>
                <a:cubicBezTo>
                  <a:pt x="310581" y="427907"/>
                  <a:pt x="291752" y="427215"/>
                  <a:pt x="273070" y="425461"/>
                </a:cubicBezTo>
                <a:cubicBezTo>
                  <a:pt x="253636" y="423637"/>
                  <a:pt x="240361" y="411413"/>
                  <a:pt x="230084" y="395825"/>
                </a:cubicBezTo>
                <a:cubicBezTo>
                  <a:pt x="215988" y="374443"/>
                  <a:pt x="207393" y="350530"/>
                  <a:pt x="199097" y="326515"/>
                </a:cubicBezTo>
                <a:cubicBezTo>
                  <a:pt x="197825" y="322833"/>
                  <a:pt x="196473" y="319178"/>
                  <a:pt x="195158" y="315511"/>
                </a:cubicBezTo>
                <a:cubicBezTo>
                  <a:pt x="194276" y="315475"/>
                  <a:pt x="193394" y="315440"/>
                  <a:pt x="192512" y="315405"/>
                </a:cubicBezTo>
                <a:cubicBezTo>
                  <a:pt x="191405" y="317583"/>
                  <a:pt x="189646" y="319659"/>
                  <a:pt x="189288" y="321954"/>
                </a:cubicBezTo>
                <a:cubicBezTo>
                  <a:pt x="182145" y="367836"/>
                  <a:pt x="189209" y="411525"/>
                  <a:pt x="209532" y="453235"/>
                </a:cubicBezTo>
                <a:cubicBezTo>
                  <a:pt x="224908" y="484792"/>
                  <a:pt x="245217" y="512936"/>
                  <a:pt x="268616" y="538863"/>
                </a:cubicBezTo>
                <a:cubicBezTo>
                  <a:pt x="310298" y="585046"/>
                  <a:pt x="352387" y="630861"/>
                  <a:pt x="394191" y="676935"/>
                </a:cubicBezTo>
                <a:cubicBezTo>
                  <a:pt x="424227" y="710039"/>
                  <a:pt x="452698" y="744360"/>
                  <a:pt x="474037" y="783945"/>
                </a:cubicBezTo>
                <a:cubicBezTo>
                  <a:pt x="493795" y="820596"/>
                  <a:pt x="505956" y="859233"/>
                  <a:pt x="503332" y="901469"/>
                </a:cubicBezTo>
                <a:cubicBezTo>
                  <a:pt x="501850" y="925342"/>
                  <a:pt x="495799" y="948239"/>
                  <a:pt x="487993" y="970743"/>
                </a:cubicBezTo>
                <a:cubicBezTo>
                  <a:pt x="486166" y="976009"/>
                  <a:pt x="482772" y="978647"/>
                  <a:pt x="477248" y="979235"/>
                </a:cubicBezTo>
                <a:cubicBezTo>
                  <a:pt x="454890" y="981614"/>
                  <a:pt x="432589" y="985767"/>
                  <a:pt x="410194" y="986326"/>
                </a:cubicBezTo>
                <a:cubicBezTo>
                  <a:pt x="344720" y="987961"/>
                  <a:pt x="279205" y="989128"/>
                  <a:pt x="213720" y="988629"/>
                </a:cubicBezTo>
                <a:cubicBezTo>
                  <a:pt x="171215" y="988306"/>
                  <a:pt x="128736" y="984705"/>
                  <a:pt x="86242" y="982669"/>
                </a:cubicBezTo>
                <a:cubicBezTo>
                  <a:pt x="75776" y="982167"/>
                  <a:pt x="65294" y="982040"/>
                  <a:pt x="53553" y="981705"/>
                </a:cubicBezTo>
                <a:cubicBezTo>
                  <a:pt x="54842" y="978488"/>
                  <a:pt x="55323" y="976556"/>
                  <a:pt x="56311" y="974933"/>
                </a:cubicBezTo>
                <a:cubicBezTo>
                  <a:pt x="71955" y="949229"/>
                  <a:pt x="78103" y="920529"/>
                  <a:pt x="83373" y="891414"/>
                </a:cubicBezTo>
                <a:cubicBezTo>
                  <a:pt x="93411" y="835958"/>
                  <a:pt x="83645" y="782156"/>
                  <a:pt x="69625" y="728925"/>
                </a:cubicBezTo>
                <a:cubicBezTo>
                  <a:pt x="56813" y="680283"/>
                  <a:pt x="42153" y="632130"/>
                  <a:pt x="28713" y="583650"/>
                </a:cubicBezTo>
                <a:cubicBezTo>
                  <a:pt x="17342" y="542631"/>
                  <a:pt x="7760" y="501188"/>
                  <a:pt x="2872" y="458823"/>
                </a:cubicBezTo>
                <a:cubicBezTo>
                  <a:pt x="-5484" y="386401"/>
                  <a:pt x="4005" y="316635"/>
                  <a:pt x="36461" y="250957"/>
                </a:cubicBezTo>
                <a:cubicBezTo>
                  <a:pt x="53137" y="217210"/>
                  <a:pt x="77705" y="189133"/>
                  <a:pt x="105198" y="163584"/>
                </a:cubicBezTo>
                <a:cubicBezTo>
                  <a:pt x="131434" y="139203"/>
                  <a:pt x="160285" y="118551"/>
                  <a:pt x="191800" y="101539"/>
                </a:cubicBezTo>
                <a:cubicBezTo>
                  <a:pt x="202646" y="95684"/>
                  <a:pt x="209856" y="86491"/>
                  <a:pt x="214600" y="75129"/>
                </a:cubicBezTo>
                <a:cubicBezTo>
                  <a:pt x="226474" y="46689"/>
                  <a:pt x="246616" y="24191"/>
                  <a:pt x="268462" y="0"/>
                </a:cubicBezTo>
                <a:cubicBezTo>
                  <a:pt x="269111" y="4997"/>
                  <a:pt x="269706" y="7937"/>
                  <a:pt x="269844" y="10898"/>
                </a:cubicBezTo>
                <a:cubicBezTo>
                  <a:pt x="270760" y="30504"/>
                  <a:pt x="271607" y="50112"/>
                  <a:pt x="272418" y="69722"/>
                </a:cubicBezTo>
                <a:cubicBezTo>
                  <a:pt x="273150" y="87396"/>
                  <a:pt x="281549" y="99401"/>
                  <a:pt x="297658" y="107113"/>
                </a:cubicBezTo>
                <a:cubicBezTo>
                  <a:pt x="317218" y="116476"/>
                  <a:pt x="336170" y="127101"/>
                  <a:pt x="355481" y="136991"/>
                </a:cubicBezTo>
                <a:cubicBezTo>
                  <a:pt x="388645" y="153974"/>
                  <a:pt x="413226" y="179056"/>
                  <a:pt x="430178" y="212396"/>
                </a:cubicBezTo>
                <a:cubicBezTo>
                  <a:pt x="440917" y="233515"/>
                  <a:pt x="453634" y="253647"/>
                  <a:pt x="465840" y="273997"/>
                </a:cubicBezTo>
                <a:cubicBezTo>
                  <a:pt x="482404" y="301613"/>
                  <a:pt x="506102" y="322183"/>
                  <a:pt x="532362" y="340124"/>
                </a:cubicBezTo>
                <a:cubicBezTo>
                  <a:pt x="545881" y="349359"/>
                  <a:pt x="559082" y="359088"/>
                  <a:pt x="572901" y="367845"/>
                </a:cubicBezTo>
                <a:cubicBezTo>
                  <a:pt x="588172" y="377523"/>
                  <a:pt x="597775" y="390733"/>
                  <a:pt x="598436" y="408775"/>
                </a:cubicBezTo>
                <a:cubicBezTo>
                  <a:pt x="598970" y="423381"/>
                  <a:pt x="599120" y="438404"/>
                  <a:pt x="596339" y="452637"/>
                </a:cubicBezTo>
                <a:cubicBezTo>
                  <a:pt x="591789" y="475923"/>
                  <a:pt x="576843" y="486555"/>
                  <a:pt x="552957" y="485233"/>
                </a:cubicBezTo>
                <a:cubicBezTo>
                  <a:pt x="543740" y="484722"/>
                  <a:pt x="534648" y="481613"/>
                  <a:pt x="525548" y="479475"/>
                </a:cubicBezTo>
                <a:cubicBezTo>
                  <a:pt x="522577" y="478776"/>
                  <a:pt x="519764" y="477405"/>
                  <a:pt x="515736" y="475921"/>
                </a:cubicBezTo>
                <a:cubicBezTo>
                  <a:pt x="516318" y="484233"/>
                  <a:pt x="521537" y="487842"/>
                  <a:pt x="525605" y="492048"/>
                </a:cubicBezTo>
                <a:cubicBezTo>
                  <a:pt x="529554" y="496129"/>
                  <a:pt x="533815" y="499907"/>
                  <a:pt x="538873" y="504704"/>
                </a:cubicBezTo>
                <a:cubicBezTo>
                  <a:pt x="529522" y="509277"/>
                  <a:pt x="521553" y="504428"/>
                  <a:pt x="512604" y="503918"/>
                </a:cubicBezTo>
                <a:moveTo>
                  <a:pt x="332072" y="218143"/>
                </a:moveTo>
                <a:cubicBezTo>
                  <a:pt x="332837" y="220898"/>
                  <a:pt x="333478" y="223695"/>
                  <a:pt x="334388" y="226400"/>
                </a:cubicBezTo>
                <a:cubicBezTo>
                  <a:pt x="341073" y="246268"/>
                  <a:pt x="351614" y="254460"/>
                  <a:pt x="372370" y="254505"/>
                </a:cubicBezTo>
                <a:cubicBezTo>
                  <a:pt x="383333" y="254529"/>
                  <a:pt x="394312" y="253121"/>
                  <a:pt x="405258" y="252089"/>
                </a:cubicBezTo>
                <a:cubicBezTo>
                  <a:pt x="409961" y="251646"/>
                  <a:pt x="411340" y="248568"/>
                  <a:pt x="409167" y="244359"/>
                </a:cubicBezTo>
                <a:cubicBezTo>
                  <a:pt x="404885" y="236068"/>
                  <a:pt x="400139" y="227985"/>
                  <a:pt x="396364" y="219471"/>
                </a:cubicBezTo>
                <a:cubicBezTo>
                  <a:pt x="390350" y="205908"/>
                  <a:pt x="379963" y="198663"/>
                  <a:pt x="365755" y="195821"/>
                </a:cubicBezTo>
                <a:cubicBezTo>
                  <a:pt x="354973" y="193665"/>
                  <a:pt x="344291" y="191003"/>
                  <a:pt x="333572" y="188536"/>
                </a:cubicBezTo>
                <a:cubicBezTo>
                  <a:pt x="329511" y="187602"/>
                  <a:pt x="325579" y="187007"/>
                  <a:pt x="322931" y="190843"/>
                </a:cubicBezTo>
                <a:cubicBezTo>
                  <a:pt x="325138" y="195129"/>
                  <a:pt x="327613" y="198884"/>
                  <a:pt x="329041" y="203001"/>
                </a:cubicBezTo>
                <a:cubicBezTo>
                  <a:pt x="330500" y="207204"/>
                  <a:pt x="330929" y="211764"/>
                  <a:pt x="332072" y="218143"/>
                </a:cubicBezTo>
                <a:close/>
              </a:path>
            </a:pathLst>
          </a:custGeom>
          <a:solidFill>
            <a:srgbClr val="FEFEFE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54" name="Free-form: Shape 253">
            <a:extLst>
              <a:ext uri="{FF2B5EF4-FFF2-40B4-BE49-F238E27FC236}">
                <a16:creationId xmlns:a16="http://schemas.microsoft.com/office/drawing/2014/main" id="{A47679AF-C2C3-D865-D16C-C893CD508046}"/>
              </a:ext>
            </a:extLst>
          </p:cNvPr>
          <p:cNvSpPr/>
          <p:nvPr/>
        </p:nvSpPr>
        <p:spPr>
          <a:xfrm>
            <a:off x="4020344" y="5426757"/>
            <a:ext cx="267393" cy="232628"/>
          </a:xfrm>
          <a:custGeom>
            <a:avLst/>
            <a:gdLst>
              <a:gd name="csX0" fmla="*/ 84645 w 321679"/>
              <a:gd name="csY0" fmla="*/ 279507 h 279857"/>
              <a:gd name="csX1" fmla="*/ 19 w 321679"/>
              <a:gd name="csY1" fmla="*/ 276629 h 279857"/>
              <a:gd name="csX2" fmla="*/ 61 w 321679"/>
              <a:gd name="csY2" fmla="*/ 231376 h 279857"/>
              <a:gd name="csX3" fmla="*/ 925 w 321679"/>
              <a:gd name="csY3" fmla="*/ 219150 h 279857"/>
              <a:gd name="csX4" fmla="*/ 8286 w 321679"/>
              <a:gd name="csY4" fmla="*/ 86910 h 279857"/>
              <a:gd name="csX5" fmla="*/ 11586 w 321679"/>
              <a:gd name="csY5" fmla="*/ 21981 h 279857"/>
              <a:gd name="csX6" fmla="*/ 26655 w 321679"/>
              <a:gd name="csY6" fmla="*/ 7635 h 279857"/>
              <a:gd name="csX7" fmla="*/ 67169 w 321679"/>
              <a:gd name="csY7" fmla="*/ 7178 h 279857"/>
              <a:gd name="csX8" fmla="*/ 201872 w 321679"/>
              <a:gd name="csY8" fmla="*/ 121 h 279857"/>
              <a:gd name="csX9" fmla="*/ 217558 w 321679"/>
              <a:gd name="csY9" fmla="*/ 87 h 279857"/>
              <a:gd name="csX10" fmla="*/ 214854 w 321679"/>
              <a:gd name="csY10" fmla="*/ 22019 h 279857"/>
              <a:gd name="csX11" fmla="*/ 235301 w 321679"/>
              <a:gd name="csY11" fmla="*/ 104861 h 279857"/>
              <a:gd name="csX12" fmla="*/ 269832 w 321679"/>
              <a:gd name="csY12" fmla="*/ 144587 h 279857"/>
              <a:gd name="csX13" fmla="*/ 299912 w 321679"/>
              <a:gd name="csY13" fmla="*/ 176874 h 279857"/>
              <a:gd name="csX14" fmla="*/ 320491 w 321679"/>
              <a:gd name="csY14" fmla="*/ 256903 h 279857"/>
              <a:gd name="csX15" fmla="*/ 255607 w 321679"/>
              <a:gd name="csY15" fmla="*/ 264918 h 279857"/>
              <a:gd name="csX16" fmla="*/ 172672 w 321679"/>
              <a:gd name="csY16" fmla="*/ 273435 h 279857"/>
              <a:gd name="csX17" fmla="*/ 133595 w 321679"/>
              <a:gd name="csY17" fmla="*/ 276823 h 279857"/>
              <a:gd name="csX18" fmla="*/ 84645 w 321679"/>
              <a:gd name="csY18" fmla="*/ 279507 h 27985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</a:cxnLst>
            <a:rect l="l" t="t" r="r" b="b"/>
            <a:pathLst>
              <a:path w="321679" h="279857">
                <a:moveTo>
                  <a:pt x="84645" y="279507"/>
                </a:moveTo>
                <a:cubicBezTo>
                  <a:pt x="55716" y="279830"/>
                  <a:pt x="27945" y="280875"/>
                  <a:pt x="19" y="276629"/>
                </a:cubicBezTo>
                <a:cubicBezTo>
                  <a:pt x="19" y="261343"/>
                  <a:pt x="-45" y="246359"/>
                  <a:pt x="61" y="231376"/>
                </a:cubicBezTo>
                <a:cubicBezTo>
                  <a:pt x="90" y="227299"/>
                  <a:pt x="696" y="223229"/>
                  <a:pt x="925" y="219150"/>
                </a:cubicBezTo>
                <a:cubicBezTo>
                  <a:pt x="3396" y="175071"/>
                  <a:pt x="5876" y="130992"/>
                  <a:pt x="8286" y="86910"/>
                </a:cubicBezTo>
                <a:cubicBezTo>
                  <a:pt x="9469" y="65271"/>
                  <a:pt x="10613" y="43630"/>
                  <a:pt x="11586" y="21981"/>
                </a:cubicBezTo>
                <a:cubicBezTo>
                  <a:pt x="12199" y="8328"/>
                  <a:pt x="12576" y="7792"/>
                  <a:pt x="26655" y="7635"/>
                </a:cubicBezTo>
                <a:cubicBezTo>
                  <a:pt x="40161" y="7484"/>
                  <a:pt x="53689" y="7831"/>
                  <a:pt x="67169" y="7178"/>
                </a:cubicBezTo>
                <a:cubicBezTo>
                  <a:pt x="112079" y="5004"/>
                  <a:pt x="156970" y="2455"/>
                  <a:pt x="201872" y="121"/>
                </a:cubicBezTo>
                <a:cubicBezTo>
                  <a:pt x="206690" y="-130"/>
                  <a:pt x="211533" y="87"/>
                  <a:pt x="217558" y="87"/>
                </a:cubicBezTo>
                <a:cubicBezTo>
                  <a:pt x="216603" y="7811"/>
                  <a:pt x="215688" y="14910"/>
                  <a:pt x="214854" y="22019"/>
                </a:cubicBezTo>
                <a:cubicBezTo>
                  <a:pt x="211318" y="52185"/>
                  <a:pt x="219749" y="79345"/>
                  <a:pt x="235301" y="104861"/>
                </a:cubicBezTo>
                <a:cubicBezTo>
                  <a:pt x="244591" y="120102"/>
                  <a:pt x="257536" y="132012"/>
                  <a:pt x="269832" y="144587"/>
                </a:cubicBezTo>
                <a:cubicBezTo>
                  <a:pt x="280116" y="155103"/>
                  <a:pt x="290551" y="165559"/>
                  <a:pt x="299912" y="176874"/>
                </a:cubicBezTo>
                <a:cubicBezTo>
                  <a:pt x="319006" y="199953"/>
                  <a:pt x="324386" y="226827"/>
                  <a:pt x="320491" y="256903"/>
                </a:cubicBezTo>
                <a:cubicBezTo>
                  <a:pt x="298421" y="259649"/>
                  <a:pt x="277043" y="262541"/>
                  <a:pt x="255607" y="264918"/>
                </a:cubicBezTo>
                <a:cubicBezTo>
                  <a:pt x="227987" y="267981"/>
                  <a:pt x="200327" y="270692"/>
                  <a:pt x="172672" y="273435"/>
                </a:cubicBezTo>
                <a:cubicBezTo>
                  <a:pt x="159662" y="274725"/>
                  <a:pt x="146637" y="275935"/>
                  <a:pt x="133595" y="276823"/>
                </a:cubicBezTo>
                <a:cubicBezTo>
                  <a:pt x="117688" y="277907"/>
                  <a:pt x="101755" y="278616"/>
                  <a:pt x="84645" y="279507"/>
                </a:cubicBezTo>
                <a:close/>
              </a:path>
            </a:pathLst>
          </a:custGeom>
          <a:solidFill>
            <a:srgbClr val="FDFEFE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55" name="Free-form: Shape 254">
            <a:extLst>
              <a:ext uri="{FF2B5EF4-FFF2-40B4-BE49-F238E27FC236}">
                <a16:creationId xmlns:a16="http://schemas.microsoft.com/office/drawing/2014/main" id="{D4C2AE02-910B-F298-9D18-6838786F6094}"/>
              </a:ext>
            </a:extLst>
          </p:cNvPr>
          <p:cNvSpPr/>
          <p:nvPr/>
        </p:nvSpPr>
        <p:spPr>
          <a:xfrm>
            <a:off x="4020241" y="5683418"/>
            <a:ext cx="284373" cy="65313"/>
          </a:xfrm>
          <a:custGeom>
            <a:avLst/>
            <a:gdLst>
              <a:gd name="csX0" fmla="*/ 270798 w 342106"/>
              <a:gd name="csY0" fmla="*/ 65953 h 78573"/>
              <a:gd name="csX1" fmla="*/ 183290 w 342106"/>
              <a:gd name="csY1" fmla="*/ 76017 h 78573"/>
              <a:gd name="csX2" fmla="*/ 72897 w 342106"/>
              <a:gd name="csY2" fmla="*/ 78565 h 78573"/>
              <a:gd name="csX3" fmla="*/ 5450 w 342106"/>
              <a:gd name="csY3" fmla="*/ 76564 h 78573"/>
              <a:gd name="csX4" fmla="*/ 0 w 342106"/>
              <a:gd name="csY4" fmla="*/ 75649 h 78573"/>
              <a:gd name="csX5" fmla="*/ 0 w 342106"/>
              <a:gd name="csY5" fmla="*/ 21324 h 78573"/>
              <a:gd name="csX6" fmla="*/ 8504 w 342106"/>
              <a:gd name="csY6" fmla="*/ 20688 h 78573"/>
              <a:gd name="csX7" fmla="*/ 98126 w 342106"/>
              <a:gd name="csY7" fmla="*/ 19655 h 78573"/>
              <a:gd name="csX8" fmla="*/ 221639 w 342106"/>
              <a:gd name="csY8" fmla="*/ 10929 h 78573"/>
              <a:gd name="csX9" fmla="*/ 304285 w 342106"/>
              <a:gd name="csY9" fmla="*/ 683 h 78573"/>
              <a:gd name="csX10" fmla="*/ 309173 w 342106"/>
              <a:gd name="csY10" fmla="*/ 212 h 78573"/>
              <a:gd name="csX11" fmla="*/ 335187 w 342106"/>
              <a:gd name="csY11" fmla="*/ 18545 h 78573"/>
              <a:gd name="csX12" fmla="*/ 342106 w 342106"/>
              <a:gd name="csY12" fmla="*/ 53602 h 78573"/>
              <a:gd name="csX13" fmla="*/ 270798 w 342106"/>
              <a:gd name="csY13" fmla="*/ 65953 h 7857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</a:cxnLst>
            <a:rect l="l" t="t" r="r" b="b"/>
            <a:pathLst>
              <a:path w="342106" h="78573">
                <a:moveTo>
                  <a:pt x="270798" y="65953"/>
                </a:moveTo>
                <a:cubicBezTo>
                  <a:pt x="240931" y="69594"/>
                  <a:pt x="212199" y="74306"/>
                  <a:pt x="183290" y="76017"/>
                </a:cubicBezTo>
                <a:cubicBezTo>
                  <a:pt x="146568" y="78191"/>
                  <a:pt x="109704" y="78349"/>
                  <a:pt x="72897" y="78565"/>
                </a:cubicBezTo>
                <a:cubicBezTo>
                  <a:pt x="50419" y="78697"/>
                  <a:pt x="27931" y="77315"/>
                  <a:pt x="5450" y="76564"/>
                </a:cubicBezTo>
                <a:cubicBezTo>
                  <a:pt x="3884" y="76512"/>
                  <a:pt x="2332" y="76053"/>
                  <a:pt x="0" y="75649"/>
                </a:cubicBezTo>
                <a:cubicBezTo>
                  <a:pt x="0" y="57619"/>
                  <a:pt x="0" y="39863"/>
                  <a:pt x="0" y="21324"/>
                </a:cubicBezTo>
                <a:cubicBezTo>
                  <a:pt x="3058" y="21086"/>
                  <a:pt x="5779" y="20715"/>
                  <a:pt x="8504" y="20688"/>
                </a:cubicBezTo>
                <a:cubicBezTo>
                  <a:pt x="38382" y="20390"/>
                  <a:pt x="68305" y="21101"/>
                  <a:pt x="98126" y="19655"/>
                </a:cubicBezTo>
                <a:cubicBezTo>
                  <a:pt x="139343" y="17657"/>
                  <a:pt x="180532" y="14597"/>
                  <a:pt x="221639" y="10929"/>
                </a:cubicBezTo>
                <a:cubicBezTo>
                  <a:pt x="249272" y="8463"/>
                  <a:pt x="276741" y="4156"/>
                  <a:pt x="304285" y="683"/>
                </a:cubicBezTo>
                <a:cubicBezTo>
                  <a:pt x="305908" y="478"/>
                  <a:pt x="307539" y="312"/>
                  <a:pt x="309173" y="212"/>
                </a:cubicBezTo>
                <a:cubicBezTo>
                  <a:pt x="326863" y="-867"/>
                  <a:pt x="330972" y="1719"/>
                  <a:pt x="335187" y="18545"/>
                </a:cubicBezTo>
                <a:cubicBezTo>
                  <a:pt x="337939" y="29526"/>
                  <a:pt x="339618" y="40777"/>
                  <a:pt x="342106" y="53602"/>
                </a:cubicBezTo>
                <a:cubicBezTo>
                  <a:pt x="317523" y="57833"/>
                  <a:pt x="294689" y="61762"/>
                  <a:pt x="270798" y="65953"/>
                </a:cubicBezTo>
                <a:close/>
              </a:path>
            </a:pathLst>
          </a:custGeom>
          <a:solidFill>
            <a:srgbClr val="FCFCFC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56" name="Free-form: Shape 255">
            <a:extLst>
              <a:ext uri="{FF2B5EF4-FFF2-40B4-BE49-F238E27FC236}">
                <a16:creationId xmlns:a16="http://schemas.microsoft.com/office/drawing/2014/main" id="{D1FEA55D-B4C0-019B-DE5A-3470B94A71D5}"/>
              </a:ext>
            </a:extLst>
          </p:cNvPr>
          <p:cNvSpPr/>
          <p:nvPr/>
        </p:nvSpPr>
        <p:spPr>
          <a:xfrm>
            <a:off x="4087960" y="4725562"/>
            <a:ext cx="72517" cy="55415"/>
          </a:xfrm>
          <a:custGeom>
            <a:avLst/>
            <a:gdLst>
              <a:gd name="csX0" fmla="*/ 9010 w 87239"/>
              <a:gd name="csY0" fmla="*/ 29316 h 66665"/>
              <a:gd name="csX1" fmla="*/ 6110 w 87239"/>
              <a:gd name="csY1" fmla="*/ 15162 h 66665"/>
              <a:gd name="csX2" fmla="*/ 0 w 87239"/>
              <a:gd name="csY2" fmla="*/ 3003 h 66665"/>
              <a:gd name="csX3" fmla="*/ 10641 w 87239"/>
              <a:gd name="csY3" fmla="*/ 697 h 66665"/>
              <a:gd name="csX4" fmla="*/ 42824 w 87239"/>
              <a:gd name="csY4" fmla="*/ 7981 h 66665"/>
              <a:gd name="csX5" fmla="*/ 73433 w 87239"/>
              <a:gd name="csY5" fmla="*/ 31631 h 66665"/>
              <a:gd name="csX6" fmla="*/ 86236 w 87239"/>
              <a:gd name="csY6" fmla="*/ 56519 h 66665"/>
              <a:gd name="csX7" fmla="*/ 82327 w 87239"/>
              <a:gd name="csY7" fmla="*/ 64249 h 66665"/>
              <a:gd name="csX8" fmla="*/ 49439 w 87239"/>
              <a:gd name="csY8" fmla="*/ 66665 h 66665"/>
              <a:gd name="csX9" fmla="*/ 11457 w 87239"/>
              <a:gd name="csY9" fmla="*/ 38560 h 66665"/>
              <a:gd name="csX10" fmla="*/ 9010 w 87239"/>
              <a:gd name="csY10" fmla="*/ 29316 h 6666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</a:cxnLst>
            <a:rect l="l" t="t" r="r" b="b"/>
            <a:pathLst>
              <a:path w="87239" h="66665">
                <a:moveTo>
                  <a:pt x="9010" y="29316"/>
                </a:moveTo>
                <a:cubicBezTo>
                  <a:pt x="7998" y="23924"/>
                  <a:pt x="7568" y="19365"/>
                  <a:pt x="6110" y="15162"/>
                </a:cubicBezTo>
                <a:cubicBezTo>
                  <a:pt x="4682" y="11044"/>
                  <a:pt x="2207" y="7289"/>
                  <a:pt x="0" y="3003"/>
                </a:cubicBezTo>
                <a:cubicBezTo>
                  <a:pt x="2648" y="-833"/>
                  <a:pt x="6580" y="-238"/>
                  <a:pt x="10641" y="697"/>
                </a:cubicBezTo>
                <a:cubicBezTo>
                  <a:pt x="21360" y="3163"/>
                  <a:pt x="32042" y="5825"/>
                  <a:pt x="42824" y="7981"/>
                </a:cubicBezTo>
                <a:cubicBezTo>
                  <a:pt x="57032" y="10823"/>
                  <a:pt x="67419" y="18068"/>
                  <a:pt x="73433" y="31631"/>
                </a:cubicBezTo>
                <a:cubicBezTo>
                  <a:pt x="77208" y="40146"/>
                  <a:pt x="81954" y="48228"/>
                  <a:pt x="86236" y="56519"/>
                </a:cubicBezTo>
                <a:cubicBezTo>
                  <a:pt x="88409" y="60728"/>
                  <a:pt x="87030" y="63806"/>
                  <a:pt x="82327" y="64249"/>
                </a:cubicBezTo>
                <a:cubicBezTo>
                  <a:pt x="71381" y="65282"/>
                  <a:pt x="60402" y="66689"/>
                  <a:pt x="49439" y="66665"/>
                </a:cubicBezTo>
                <a:cubicBezTo>
                  <a:pt x="28683" y="66620"/>
                  <a:pt x="18142" y="58428"/>
                  <a:pt x="11457" y="38560"/>
                </a:cubicBezTo>
                <a:cubicBezTo>
                  <a:pt x="10547" y="35855"/>
                  <a:pt x="9906" y="33058"/>
                  <a:pt x="9010" y="29316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57" name="Oval 256">
            <a:extLst>
              <a:ext uri="{FF2B5EF4-FFF2-40B4-BE49-F238E27FC236}">
                <a16:creationId xmlns:a16="http://schemas.microsoft.com/office/drawing/2014/main" id="{4A3D028D-134A-F385-5431-462293248137}"/>
              </a:ext>
            </a:extLst>
          </p:cNvPr>
          <p:cNvSpPr/>
          <p:nvPr/>
        </p:nvSpPr>
        <p:spPr>
          <a:xfrm>
            <a:off x="4819245" y="5666931"/>
            <a:ext cx="739960" cy="152189"/>
          </a:xfrm>
          <a:prstGeom prst="ellipse">
            <a:avLst/>
          </a:prstGeom>
          <a:solidFill>
            <a:schemeClr val="tx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58" name="Free-form: Shape 257">
            <a:extLst>
              <a:ext uri="{FF2B5EF4-FFF2-40B4-BE49-F238E27FC236}">
                <a16:creationId xmlns:a16="http://schemas.microsoft.com/office/drawing/2014/main" id="{A844A4DA-C0FE-0619-6115-D47754C8C41D}"/>
              </a:ext>
            </a:extLst>
          </p:cNvPr>
          <p:cNvSpPr/>
          <p:nvPr/>
        </p:nvSpPr>
        <p:spPr>
          <a:xfrm>
            <a:off x="4899209" y="4365354"/>
            <a:ext cx="650203" cy="1414846"/>
          </a:xfrm>
          <a:custGeom>
            <a:avLst/>
            <a:gdLst>
              <a:gd name="csX0" fmla="*/ 466852 w 715223"/>
              <a:gd name="csY0" fmla="*/ 229083 h 1556330"/>
              <a:gd name="csX1" fmla="*/ 462328 w 715223"/>
              <a:gd name="csY1" fmla="*/ 242604 h 1556330"/>
              <a:gd name="csX2" fmla="*/ 496944 w 715223"/>
              <a:gd name="csY2" fmla="*/ 204739 h 1556330"/>
              <a:gd name="csX3" fmla="*/ 534359 w 715223"/>
              <a:gd name="csY3" fmla="*/ 270960 h 1556330"/>
              <a:gd name="csX4" fmla="*/ 540589 w 715223"/>
              <a:gd name="csY4" fmla="*/ 445986 h 1556330"/>
              <a:gd name="csX5" fmla="*/ 509727 w 715223"/>
              <a:gd name="csY5" fmla="*/ 496924 h 1556330"/>
              <a:gd name="csX6" fmla="*/ 505366 w 715223"/>
              <a:gd name="csY6" fmla="*/ 511893 h 1556330"/>
              <a:gd name="csX7" fmla="*/ 501982 w 715223"/>
              <a:gd name="csY7" fmla="*/ 530377 h 1556330"/>
              <a:gd name="csX8" fmla="*/ 505678 w 715223"/>
              <a:gd name="csY8" fmla="*/ 556455 h 1556330"/>
              <a:gd name="csX9" fmla="*/ 526115 w 715223"/>
              <a:gd name="csY9" fmla="*/ 591784 h 1556330"/>
              <a:gd name="csX10" fmla="*/ 541579 w 715223"/>
              <a:gd name="csY10" fmla="*/ 612264 h 1556330"/>
              <a:gd name="csX11" fmla="*/ 569572 w 715223"/>
              <a:gd name="csY11" fmla="*/ 643441 h 1556330"/>
              <a:gd name="csX12" fmla="*/ 555234 w 715223"/>
              <a:gd name="csY12" fmla="*/ 688473 h 1556330"/>
              <a:gd name="csX13" fmla="*/ 513278 w 715223"/>
              <a:gd name="csY13" fmla="*/ 700556 h 1556330"/>
              <a:gd name="csX14" fmla="*/ 488559 w 715223"/>
              <a:gd name="csY14" fmla="*/ 702821 h 1556330"/>
              <a:gd name="csX15" fmla="*/ 488544 w 715223"/>
              <a:gd name="csY15" fmla="*/ 718085 h 1556330"/>
              <a:gd name="csX16" fmla="*/ 526561 w 715223"/>
              <a:gd name="csY16" fmla="*/ 1010212 h 1556330"/>
              <a:gd name="csX17" fmla="*/ 569986 w 715223"/>
              <a:gd name="csY17" fmla="*/ 1153317 h 1556330"/>
              <a:gd name="csX18" fmla="*/ 587389 w 715223"/>
              <a:gd name="csY18" fmla="*/ 1172173 h 1556330"/>
              <a:gd name="csX19" fmla="*/ 606286 w 715223"/>
              <a:gd name="csY19" fmla="*/ 1180891 h 1556330"/>
              <a:gd name="csX20" fmla="*/ 613400 w 715223"/>
              <a:gd name="csY20" fmla="*/ 1204260 h 1556330"/>
              <a:gd name="csX21" fmla="*/ 605350 w 715223"/>
              <a:gd name="csY21" fmla="*/ 1216760 h 1556330"/>
              <a:gd name="csX22" fmla="*/ 600268 w 715223"/>
              <a:gd name="csY22" fmla="*/ 1220273 h 1556330"/>
              <a:gd name="csX23" fmla="*/ 610574 w 715223"/>
              <a:gd name="csY23" fmla="*/ 1258750 h 1556330"/>
              <a:gd name="csX24" fmla="*/ 672371 w 715223"/>
              <a:gd name="csY24" fmla="*/ 1319810 h 1556330"/>
              <a:gd name="csX25" fmla="*/ 675494 w 715223"/>
              <a:gd name="csY25" fmla="*/ 1323366 h 1556330"/>
              <a:gd name="csX26" fmla="*/ 692949 w 715223"/>
              <a:gd name="csY26" fmla="*/ 1396068 h 1556330"/>
              <a:gd name="csX27" fmla="*/ 690628 w 715223"/>
              <a:gd name="csY27" fmla="*/ 1414117 h 1556330"/>
              <a:gd name="csX28" fmla="*/ 695588 w 715223"/>
              <a:gd name="csY28" fmla="*/ 1421035 h 1556330"/>
              <a:gd name="csX29" fmla="*/ 694353 w 715223"/>
              <a:gd name="csY29" fmla="*/ 1425190 h 1556330"/>
              <a:gd name="csX30" fmla="*/ 689106 w 715223"/>
              <a:gd name="csY30" fmla="*/ 1428714 h 1556330"/>
              <a:gd name="csX31" fmla="*/ 695093 w 715223"/>
              <a:gd name="csY31" fmla="*/ 1428433 h 1556330"/>
              <a:gd name="csX32" fmla="*/ 697643 w 715223"/>
              <a:gd name="csY32" fmla="*/ 1432864 h 1556330"/>
              <a:gd name="csX33" fmla="*/ 698207 w 715223"/>
              <a:gd name="csY33" fmla="*/ 1441988 h 1556330"/>
              <a:gd name="csX34" fmla="*/ 715183 w 715223"/>
              <a:gd name="csY34" fmla="*/ 1508752 h 1556330"/>
              <a:gd name="csX35" fmla="*/ 701540 w 715223"/>
              <a:gd name="csY35" fmla="*/ 1526524 h 1556330"/>
              <a:gd name="csX36" fmla="*/ 581715 w 715223"/>
              <a:gd name="csY36" fmla="*/ 1548559 h 1556330"/>
              <a:gd name="csX37" fmla="*/ 522168 w 715223"/>
              <a:gd name="csY37" fmla="*/ 1553543 h 1556330"/>
              <a:gd name="csX38" fmla="*/ 450008 w 715223"/>
              <a:gd name="csY38" fmla="*/ 1556019 h 1556330"/>
              <a:gd name="csX39" fmla="*/ 245169 w 715223"/>
              <a:gd name="csY39" fmla="*/ 1553749 h 1556330"/>
              <a:gd name="csX40" fmla="*/ 221854 w 715223"/>
              <a:gd name="csY40" fmla="*/ 1553306 h 1556330"/>
              <a:gd name="csX41" fmla="*/ 168405 w 715223"/>
              <a:gd name="csY41" fmla="*/ 1548828 h 1556330"/>
              <a:gd name="csX42" fmla="*/ 126970 w 715223"/>
              <a:gd name="csY42" fmla="*/ 1546091 h 1556330"/>
              <a:gd name="csX43" fmla="*/ 104053 w 715223"/>
              <a:gd name="csY43" fmla="*/ 1542912 h 1556330"/>
              <a:gd name="csX44" fmla="*/ 65625 w 715223"/>
              <a:gd name="csY44" fmla="*/ 1536401 h 1556330"/>
              <a:gd name="csX45" fmla="*/ 10909 w 715223"/>
              <a:gd name="csY45" fmla="*/ 1524010 h 1556330"/>
              <a:gd name="csX46" fmla="*/ 8 w 715223"/>
              <a:gd name="csY46" fmla="*/ 1509263 h 1556330"/>
              <a:gd name="csX47" fmla="*/ 21158 w 715223"/>
              <a:gd name="csY47" fmla="*/ 1433611 h 1556330"/>
              <a:gd name="csX48" fmla="*/ 23462 w 715223"/>
              <a:gd name="csY48" fmla="*/ 1418658 h 1556330"/>
              <a:gd name="csX49" fmla="*/ 19643 w 715223"/>
              <a:gd name="csY49" fmla="*/ 1382324 h 1556330"/>
              <a:gd name="csX50" fmla="*/ 49060 w 715223"/>
              <a:gd name="csY50" fmla="*/ 1311832 h 1556330"/>
              <a:gd name="csX51" fmla="*/ 109176 w 715223"/>
              <a:gd name="csY51" fmla="*/ 1254078 h 1556330"/>
              <a:gd name="csX52" fmla="*/ 118319 w 715223"/>
              <a:gd name="csY52" fmla="*/ 1214801 h 1556330"/>
              <a:gd name="csX53" fmla="*/ 113082 w 715223"/>
              <a:gd name="csY53" fmla="*/ 1201084 h 1556330"/>
              <a:gd name="csX54" fmla="*/ 120417 w 715223"/>
              <a:gd name="csY54" fmla="*/ 1183950 h 1556330"/>
              <a:gd name="csX55" fmla="*/ 135209 w 715223"/>
              <a:gd name="csY55" fmla="*/ 1178138 h 1556330"/>
              <a:gd name="csX56" fmla="*/ 156535 w 715223"/>
              <a:gd name="csY56" fmla="*/ 1156396 h 1556330"/>
              <a:gd name="csX57" fmla="*/ 185647 w 715223"/>
              <a:gd name="csY57" fmla="*/ 1061682 h 1556330"/>
              <a:gd name="csX58" fmla="*/ 201074 w 715223"/>
              <a:gd name="csY58" fmla="*/ 1005093 h 1556330"/>
              <a:gd name="csX59" fmla="*/ 213864 w 715223"/>
              <a:gd name="csY59" fmla="*/ 943040 h 1556330"/>
              <a:gd name="csX60" fmla="*/ 223580 w 715223"/>
              <a:gd name="csY60" fmla="*/ 884167 h 1556330"/>
              <a:gd name="csX61" fmla="*/ 228827 w 715223"/>
              <a:gd name="csY61" fmla="*/ 839382 h 1556330"/>
              <a:gd name="csX62" fmla="*/ 233251 w 715223"/>
              <a:gd name="csY62" fmla="*/ 794539 h 1556330"/>
              <a:gd name="csX63" fmla="*/ 233413 w 715223"/>
              <a:gd name="csY63" fmla="*/ 708554 h 1556330"/>
              <a:gd name="csX64" fmla="*/ 232253 w 715223"/>
              <a:gd name="csY64" fmla="*/ 699181 h 1556330"/>
              <a:gd name="csX65" fmla="*/ 192775 w 715223"/>
              <a:gd name="csY65" fmla="*/ 693131 h 1556330"/>
              <a:gd name="csX66" fmla="*/ 166222 w 715223"/>
              <a:gd name="csY66" fmla="*/ 684229 h 1556330"/>
              <a:gd name="csX67" fmla="*/ 153485 w 715223"/>
              <a:gd name="csY67" fmla="*/ 649704 h 1556330"/>
              <a:gd name="csX68" fmla="*/ 179302 w 715223"/>
              <a:gd name="csY68" fmla="*/ 621006 h 1556330"/>
              <a:gd name="csX69" fmla="*/ 192182 w 715223"/>
              <a:gd name="csY69" fmla="*/ 601675 h 1556330"/>
              <a:gd name="csX70" fmla="*/ 204894 w 715223"/>
              <a:gd name="csY70" fmla="*/ 583417 h 1556330"/>
              <a:gd name="csX71" fmla="*/ 233213 w 715223"/>
              <a:gd name="csY71" fmla="*/ 564393 h 1556330"/>
              <a:gd name="csX72" fmla="*/ 229725 w 715223"/>
              <a:gd name="csY72" fmla="*/ 538177 h 1556330"/>
              <a:gd name="csX73" fmla="*/ 218771 w 715223"/>
              <a:gd name="csY73" fmla="*/ 532633 h 1556330"/>
              <a:gd name="csX74" fmla="*/ 215183 w 715223"/>
              <a:gd name="csY74" fmla="*/ 521568 h 1556330"/>
              <a:gd name="csX75" fmla="*/ 223368 w 715223"/>
              <a:gd name="csY75" fmla="*/ 508901 h 1556330"/>
              <a:gd name="csX76" fmla="*/ 218372 w 715223"/>
              <a:gd name="csY76" fmla="*/ 498135 h 1556330"/>
              <a:gd name="csX77" fmla="*/ 181440 w 715223"/>
              <a:gd name="csY77" fmla="*/ 432308 h 1556330"/>
              <a:gd name="csX78" fmla="*/ 167535 w 715223"/>
              <a:gd name="csY78" fmla="*/ 349841 h 1556330"/>
              <a:gd name="csX79" fmla="*/ 193488 w 715223"/>
              <a:gd name="csY79" fmla="*/ 262518 h 1556330"/>
              <a:gd name="csX80" fmla="*/ 237748 w 715223"/>
              <a:gd name="csY80" fmla="*/ 190690 h 1556330"/>
              <a:gd name="csX81" fmla="*/ 309459 w 715223"/>
              <a:gd name="csY81" fmla="*/ 102623 h 1556330"/>
              <a:gd name="csX82" fmla="*/ 310459 w 715223"/>
              <a:gd name="csY82" fmla="*/ 78521 h 1556330"/>
              <a:gd name="csX83" fmla="*/ 300267 w 715223"/>
              <a:gd name="csY83" fmla="*/ 57856 h 1556330"/>
              <a:gd name="csX84" fmla="*/ 332242 w 715223"/>
              <a:gd name="csY84" fmla="*/ 4422 h 1556330"/>
              <a:gd name="csX85" fmla="*/ 384904 w 715223"/>
              <a:gd name="csY85" fmla="*/ 5551 h 1556330"/>
              <a:gd name="csX86" fmla="*/ 409773 w 715223"/>
              <a:gd name="csY86" fmla="*/ 26778 h 1556330"/>
              <a:gd name="csX87" fmla="*/ 407026 w 715223"/>
              <a:gd name="csY87" fmla="*/ 46052 h 1556330"/>
              <a:gd name="csX88" fmla="*/ 402771 w 715223"/>
              <a:gd name="csY88" fmla="*/ 30951 h 1556330"/>
              <a:gd name="csX89" fmla="*/ 397038 w 715223"/>
              <a:gd name="csY89" fmla="*/ 30361 h 1556330"/>
              <a:gd name="csX90" fmla="*/ 360694 w 715223"/>
              <a:gd name="csY90" fmla="*/ 22760 h 1556330"/>
              <a:gd name="csX91" fmla="*/ 351669 w 715223"/>
              <a:gd name="csY91" fmla="*/ 31736 h 1556330"/>
              <a:gd name="csX92" fmla="*/ 351426 w 715223"/>
              <a:gd name="csY92" fmla="*/ 43987 h 1556330"/>
              <a:gd name="csX93" fmla="*/ 390968 w 715223"/>
              <a:gd name="csY93" fmla="*/ 68762 h 1556330"/>
              <a:gd name="csX94" fmla="*/ 401770 w 715223"/>
              <a:gd name="csY94" fmla="*/ 59025 h 1556330"/>
              <a:gd name="csX95" fmla="*/ 409619 w 715223"/>
              <a:gd name="csY95" fmla="*/ 55786 h 1556330"/>
              <a:gd name="csX96" fmla="*/ 410427 w 715223"/>
              <a:gd name="csY96" fmla="*/ 64256 h 1556330"/>
              <a:gd name="csX97" fmla="*/ 399453 w 715223"/>
              <a:gd name="csY97" fmla="*/ 81811 h 1556330"/>
              <a:gd name="csX98" fmla="*/ 399346 w 715223"/>
              <a:gd name="csY98" fmla="*/ 98083 h 1556330"/>
              <a:gd name="csX99" fmla="*/ 471592 w 715223"/>
              <a:gd name="csY99" fmla="*/ 180524 h 1556330"/>
              <a:gd name="csX100" fmla="*/ 473550 w 715223"/>
              <a:gd name="csY100" fmla="*/ 200923 h 1556330"/>
              <a:gd name="csX101" fmla="*/ 463677 w 715223"/>
              <a:gd name="csY101" fmla="*/ 223311 h 1556330"/>
              <a:gd name="csX102" fmla="*/ 466852 w 715223"/>
              <a:gd name="csY102" fmla="*/ 229083 h 1556330"/>
              <a:gd name="csX103" fmla="*/ 474186 w 715223"/>
              <a:gd name="csY103" fmla="*/ 928382 h 1556330"/>
              <a:gd name="csX104" fmla="*/ 459927 w 715223"/>
              <a:gd name="csY104" fmla="*/ 817790 h 1556330"/>
              <a:gd name="csX105" fmla="*/ 456025 w 715223"/>
              <a:gd name="csY105" fmla="*/ 706469 h 1556330"/>
              <a:gd name="csX106" fmla="*/ 366863 w 715223"/>
              <a:gd name="csY106" fmla="*/ 710754 h 1556330"/>
              <a:gd name="csX107" fmla="*/ 366159 w 715223"/>
              <a:gd name="csY107" fmla="*/ 719219 h 1556330"/>
              <a:gd name="csX108" fmla="*/ 364159 w 715223"/>
              <a:gd name="csY108" fmla="*/ 834581 h 1556330"/>
              <a:gd name="csX109" fmla="*/ 361633 w 715223"/>
              <a:gd name="csY109" fmla="*/ 940117 h 1556330"/>
              <a:gd name="csX110" fmla="*/ 358313 w 715223"/>
              <a:gd name="csY110" fmla="*/ 1053005 h 1556330"/>
              <a:gd name="csX111" fmla="*/ 358081 w 715223"/>
              <a:gd name="csY111" fmla="*/ 1057912 h 1556330"/>
              <a:gd name="csX112" fmla="*/ 353706 w 715223"/>
              <a:gd name="csY112" fmla="*/ 1164570 h 1556330"/>
              <a:gd name="csX113" fmla="*/ 354951 w 715223"/>
              <a:gd name="csY113" fmla="*/ 1172547 h 1556330"/>
              <a:gd name="csX114" fmla="*/ 540959 w 715223"/>
              <a:gd name="csY114" fmla="*/ 1175972 h 1556330"/>
              <a:gd name="csX115" fmla="*/ 474186 w 715223"/>
              <a:gd name="csY115" fmla="*/ 928382 h 1556330"/>
              <a:gd name="csX116" fmla="*/ 513768 w 715223"/>
              <a:gd name="csY116" fmla="*/ 1417676 h 1556330"/>
              <a:gd name="csX117" fmla="*/ 519822 w 715223"/>
              <a:gd name="csY117" fmla="*/ 1416700 h 1556330"/>
              <a:gd name="csX118" fmla="*/ 632041 w 715223"/>
              <a:gd name="csY118" fmla="*/ 1406122 h 1556330"/>
              <a:gd name="csX119" fmla="*/ 665040 w 715223"/>
              <a:gd name="csY119" fmla="*/ 1400634 h 1556330"/>
              <a:gd name="csX120" fmla="*/ 665677 w 715223"/>
              <a:gd name="csY120" fmla="*/ 1396126 h 1556330"/>
              <a:gd name="csX121" fmla="*/ 665529 w 715223"/>
              <a:gd name="csY121" fmla="*/ 1389994 h 1556330"/>
              <a:gd name="csX122" fmla="*/ 623046 w 715223"/>
              <a:gd name="csY122" fmla="*/ 1306238 h 1556330"/>
              <a:gd name="csX123" fmla="*/ 596015 w 715223"/>
              <a:gd name="csY123" fmla="*/ 1281285 h 1556330"/>
              <a:gd name="csX124" fmla="*/ 567683 w 715223"/>
              <a:gd name="csY124" fmla="*/ 1220059 h 1556330"/>
              <a:gd name="csX125" fmla="*/ 540273 w 715223"/>
              <a:gd name="csY125" fmla="*/ 1220129 h 1556330"/>
              <a:gd name="csX126" fmla="*/ 424010 w 715223"/>
              <a:gd name="csY126" fmla="*/ 1226781 h 1556330"/>
              <a:gd name="csX127" fmla="*/ 357832 w 715223"/>
              <a:gd name="csY127" fmla="*/ 1229178 h 1556330"/>
              <a:gd name="csX128" fmla="*/ 352386 w 715223"/>
              <a:gd name="csY128" fmla="*/ 1230616 h 1556330"/>
              <a:gd name="csX129" fmla="*/ 355852 w 715223"/>
              <a:gd name="csY129" fmla="*/ 1324222 h 1556330"/>
              <a:gd name="csX130" fmla="*/ 352930 w 715223"/>
              <a:gd name="csY130" fmla="*/ 1417867 h 1556330"/>
              <a:gd name="csX131" fmla="*/ 513768 w 715223"/>
              <a:gd name="csY131" fmla="*/ 1417676 h 1556330"/>
              <a:gd name="csX132" fmla="*/ 387930 w 715223"/>
              <a:gd name="csY132" fmla="*/ 499741 h 1556330"/>
              <a:gd name="csX133" fmla="*/ 456529 w 715223"/>
              <a:gd name="csY133" fmla="*/ 496826 h 1556330"/>
              <a:gd name="csX134" fmla="*/ 482355 w 715223"/>
              <a:gd name="csY134" fmla="*/ 485095 h 1556330"/>
              <a:gd name="csX135" fmla="*/ 528016 w 715223"/>
              <a:gd name="csY135" fmla="*/ 374829 h 1556330"/>
              <a:gd name="csX136" fmla="*/ 501375 w 715223"/>
              <a:gd name="csY136" fmla="*/ 261643 h 1556330"/>
              <a:gd name="csX137" fmla="*/ 493534 w 715223"/>
              <a:gd name="csY137" fmla="*/ 249818 h 1556330"/>
              <a:gd name="csX138" fmla="*/ 485920 w 715223"/>
              <a:gd name="csY138" fmla="*/ 260010 h 1556330"/>
              <a:gd name="csX139" fmla="*/ 453305 w 715223"/>
              <a:gd name="csY139" fmla="*/ 310523 h 1556330"/>
              <a:gd name="csX140" fmla="*/ 433678 w 715223"/>
              <a:gd name="csY140" fmla="*/ 338672 h 1556330"/>
              <a:gd name="csX141" fmla="*/ 403713 w 715223"/>
              <a:gd name="csY141" fmla="*/ 343710 h 1556330"/>
              <a:gd name="csX142" fmla="*/ 396427 w 715223"/>
              <a:gd name="csY142" fmla="*/ 315612 h 1556330"/>
              <a:gd name="csX143" fmla="*/ 399663 w 715223"/>
              <a:gd name="csY143" fmla="*/ 309000 h 1556330"/>
              <a:gd name="csX144" fmla="*/ 452097 w 715223"/>
              <a:gd name="csY144" fmla="*/ 200770 h 1556330"/>
              <a:gd name="csX145" fmla="*/ 450118 w 715223"/>
              <a:gd name="csY145" fmla="*/ 180596 h 1556330"/>
              <a:gd name="csX146" fmla="*/ 376545 w 715223"/>
              <a:gd name="csY146" fmla="*/ 105525 h 1556330"/>
              <a:gd name="csX147" fmla="*/ 368791 w 715223"/>
              <a:gd name="csY147" fmla="*/ 101653 h 1556330"/>
              <a:gd name="csX148" fmla="*/ 366449 w 715223"/>
              <a:gd name="csY148" fmla="*/ 144676 h 1556330"/>
              <a:gd name="csX149" fmla="*/ 365447 w 715223"/>
              <a:gd name="csY149" fmla="*/ 183946 h 1556330"/>
              <a:gd name="csX150" fmla="*/ 364738 w 715223"/>
              <a:gd name="csY150" fmla="*/ 298022 h 1556330"/>
              <a:gd name="csX151" fmla="*/ 373865 w 715223"/>
              <a:gd name="csY151" fmla="*/ 430096 h 1556330"/>
              <a:gd name="csX152" fmla="*/ 381088 w 715223"/>
              <a:gd name="csY152" fmla="*/ 492169 h 1556330"/>
              <a:gd name="csX153" fmla="*/ 387930 w 715223"/>
              <a:gd name="csY153" fmla="*/ 499741 h 1556330"/>
              <a:gd name="csX154" fmla="*/ 455850 w 715223"/>
              <a:gd name="csY154" fmla="*/ 1521476 h 1556330"/>
              <a:gd name="csX155" fmla="*/ 685121 w 715223"/>
              <a:gd name="csY155" fmla="*/ 1496509 h 1556330"/>
              <a:gd name="csX156" fmla="*/ 672999 w 715223"/>
              <a:gd name="csY156" fmla="*/ 1456665 h 1556330"/>
              <a:gd name="csX157" fmla="*/ 660009 w 715223"/>
              <a:gd name="csY157" fmla="*/ 1450249 h 1556330"/>
              <a:gd name="csX158" fmla="*/ 633248 w 715223"/>
              <a:gd name="csY158" fmla="*/ 1453589 h 1556330"/>
              <a:gd name="csX159" fmla="*/ 451131 w 715223"/>
              <a:gd name="csY159" fmla="*/ 1467458 h 1556330"/>
              <a:gd name="csX160" fmla="*/ 362719 w 715223"/>
              <a:gd name="csY160" fmla="*/ 1467934 h 1556330"/>
              <a:gd name="csX161" fmla="*/ 349983 w 715223"/>
              <a:gd name="csY161" fmla="*/ 1467936 h 1556330"/>
              <a:gd name="csX162" fmla="*/ 352220 w 715223"/>
              <a:gd name="csY162" fmla="*/ 1519140 h 1556330"/>
              <a:gd name="csX163" fmla="*/ 455850 w 715223"/>
              <a:gd name="csY163" fmla="*/ 1521476 h 1556330"/>
              <a:gd name="csX164" fmla="*/ 368682 w 715223"/>
              <a:gd name="csY164" fmla="*/ 544846 h 1556330"/>
              <a:gd name="csX165" fmla="*/ 363600 w 715223"/>
              <a:gd name="csY165" fmla="*/ 605633 h 1556330"/>
              <a:gd name="csX166" fmla="*/ 496351 w 715223"/>
              <a:gd name="csY166" fmla="*/ 601466 h 1556330"/>
              <a:gd name="csX167" fmla="*/ 485068 w 715223"/>
              <a:gd name="csY167" fmla="*/ 579288 h 1556330"/>
              <a:gd name="csX168" fmla="*/ 466524 w 715223"/>
              <a:gd name="csY168" fmla="*/ 541026 h 1556330"/>
              <a:gd name="csX169" fmla="*/ 465000 w 715223"/>
              <a:gd name="csY169" fmla="*/ 536289 h 1556330"/>
              <a:gd name="csX170" fmla="*/ 451328 w 715223"/>
              <a:gd name="csY170" fmla="*/ 536316 h 1556330"/>
              <a:gd name="csX171" fmla="*/ 390140 w 715223"/>
              <a:gd name="csY171" fmla="*/ 538979 h 1556330"/>
              <a:gd name="csX172" fmla="*/ 374215 w 715223"/>
              <a:gd name="csY172" fmla="*/ 539303 h 1556330"/>
              <a:gd name="csX173" fmla="*/ 368682 w 715223"/>
              <a:gd name="csY173" fmla="*/ 544846 h 1556330"/>
              <a:gd name="csX174" fmla="*/ 453915 w 715223"/>
              <a:gd name="csY174" fmla="*/ 635267 h 1556330"/>
              <a:gd name="csX175" fmla="*/ 374200 w 715223"/>
              <a:gd name="csY175" fmla="*/ 639402 h 1556330"/>
              <a:gd name="csX176" fmla="*/ 374200 w 715223"/>
              <a:gd name="csY176" fmla="*/ 673206 h 1556330"/>
              <a:gd name="csX177" fmla="*/ 386639 w 715223"/>
              <a:gd name="csY177" fmla="*/ 673718 h 1556330"/>
              <a:gd name="csX178" fmla="*/ 521198 w 715223"/>
              <a:gd name="csY178" fmla="*/ 668541 h 1556330"/>
              <a:gd name="csX179" fmla="*/ 534198 w 715223"/>
              <a:gd name="csY179" fmla="*/ 665521 h 1556330"/>
              <a:gd name="csX180" fmla="*/ 538413 w 715223"/>
              <a:gd name="csY180" fmla="*/ 652526 h 1556330"/>
              <a:gd name="csX181" fmla="*/ 529377 w 715223"/>
              <a:gd name="csY181" fmla="*/ 642895 h 1556330"/>
              <a:gd name="csX182" fmla="*/ 502829 w 715223"/>
              <a:gd name="csY182" fmla="*/ 634808 h 1556330"/>
              <a:gd name="csX183" fmla="*/ 453915 w 715223"/>
              <a:gd name="csY183" fmla="*/ 635267 h 155633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  <a:cxn ang="0">
                <a:pos x="csX170" y="csY170"/>
              </a:cxn>
              <a:cxn ang="0">
                <a:pos x="csX171" y="csY171"/>
              </a:cxn>
              <a:cxn ang="0">
                <a:pos x="csX172" y="csY172"/>
              </a:cxn>
              <a:cxn ang="0">
                <a:pos x="csX173" y="csY173"/>
              </a:cxn>
              <a:cxn ang="0">
                <a:pos x="csX174" y="csY174"/>
              </a:cxn>
              <a:cxn ang="0">
                <a:pos x="csX175" y="csY175"/>
              </a:cxn>
              <a:cxn ang="0">
                <a:pos x="csX176" y="csY176"/>
              </a:cxn>
              <a:cxn ang="0">
                <a:pos x="csX177" y="csY177"/>
              </a:cxn>
              <a:cxn ang="0">
                <a:pos x="csX178" y="csY178"/>
              </a:cxn>
              <a:cxn ang="0">
                <a:pos x="csX179" y="csY179"/>
              </a:cxn>
              <a:cxn ang="0">
                <a:pos x="csX180" y="csY180"/>
              </a:cxn>
              <a:cxn ang="0">
                <a:pos x="csX181" y="csY181"/>
              </a:cxn>
              <a:cxn ang="0">
                <a:pos x="csX182" y="csY182"/>
              </a:cxn>
              <a:cxn ang="0">
                <a:pos x="csX183" y="csY183"/>
              </a:cxn>
            </a:cxnLst>
            <a:rect l="l" t="t" r="r" b="b"/>
            <a:pathLst>
              <a:path w="715223" h="1556330">
                <a:moveTo>
                  <a:pt x="466852" y="229083"/>
                </a:moveTo>
                <a:cubicBezTo>
                  <a:pt x="465344" y="233590"/>
                  <a:pt x="463836" y="238097"/>
                  <a:pt x="462328" y="242604"/>
                </a:cubicBezTo>
                <a:cubicBezTo>
                  <a:pt x="476604" y="232528"/>
                  <a:pt x="484219" y="216936"/>
                  <a:pt x="496944" y="204739"/>
                </a:cubicBezTo>
                <a:cubicBezTo>
                  <a:pt x="511903" y="225901"/>
                  <a:pt x="524807" y="247414"/>
                  <a:pt x="534359" y="270960"/>
                </a:cubicBezTo>
                <a:cubicBezTo>
                  <a:pt x="557740" y="328591"/>
                  <a:pt x="560223" y="386926"/>
                  <a:pt x="540589" y="445986"/>
                </a:cubicBezTo>
                <a:cubicBezTo>
                  <a:pt x="534197" y="465215"/>
                  <a:pt x="524450" y="482672"/>
                  <a:pt x="509727" y="496924"/>
                </a:cubicBezTo>
                <a:cubicBezTo>
                  <a:pt x="505277" y="501232"/>
                  <a:pt x="502734" y="505157"/>
                  <a:pt x="505366" y="511893"/>
                </a:cubicBezTo>
                <a:cubicBezTo>
                  <a:pt x="507828" y="518196"/>
                  <a:pt x="505953" y="524402"/>
                  <a:pt x="501982" y="530377"/>
                </a:cubicBezTo>
                <a:cubicBezTo>
                  <a:pt x="495613" y="539961"/>
                  <a:pt x="496865" y="548901"/>
                  <a:pt x="505678" y="556455"/>
                </a:cubicBezTo>
                <a:cubicBezTo>
                  <a:pt x="516748" y="565943"/>
                  <a:pt x="523694" y="577557"/>
                  <a:pt x="526115" y="591784"/>
                </a:cubicBezTo>
                <a:cubicBezTo>
                  <a:pt x="527758" y="601445"/>
                  <a:pt x="532593" y="608029"/>
                  <a:pt x="541579" y="612264"/>
                </a:cubicBezTo>
                <a:cubicBezTo>
                  <a:pt x="555150" y="618662"/>
                  <a:pt x="564081" y="629523"/>
                  <a:pt x="569572" y="643441"/>
                </a:cubicBezTo>
                <a:cubicBezTo>
                  <a:pt x="576413" y="660776"/>
                  <a:pt x="570996" y="678245"/>
                  <a:pt x="555234" y="688473"/>
                </a:cubicBezTo>
                <a:cubicBezTo>
                  <a:pt x="542486" y="696746"/>
                  <a:pt x="528127" y="699474"/>
                  <a:pt x="513278" y="700556"/>
                </a:cubicBezTo>
                <a:cubicBezTo>
                  <a:pt x="505590" y="701115"/>
                  <a:pt x="497922" y="701952"/>
                  <a:pt x="488559" y="702821"/>
                </a:cubicBezTo>
                <a:cubicBezTo>
                  <a:pt x="488559" y="708552"/>
                  <a:pt x="488653" y="713320"/>
                  <a:pt x="488544" y="718085"/>
                </a:cubicBezTo>
                <a:cubicBezTo>
                  <a:pt x="486284" y="817406"/>
                  <a:pt x="502313" y="914319"/>
                  <a:pt x="526561" y="1010212"/>
                </a:cubicBezTo>
                <a:cubicBezTo>
                  <a:pt x="538799" y="1058612"/>
                  <a:pt x="553050" y="1106345"/>
                  <a:pt x="569986" y="1153317"/>
                </a:cubicBezTo>
                <a:cubicBezTo>
                  <a:pt x="573328" y="1162590"/>
                  <a:pt x="578279" y="1168740"/>
                  <a:pt x="587389" y="1172173"/>
                </a:cubicBezTo>
                <a:cubicBezTo>
                  <a:pt x="593869" y="1174616"/>
                  <a:pt x="600289" y="1177449"/>
                  <a:pt x="606286" y="1180891"/>
                </a:cubicBezTo>
                <a:cubicBezTo>
                  <a:pt x="617185" y="1187146"/>
                  <a:pt x="618776" y="1192931"/>
                  <a:pt x="613400" y="1204260"/>
                </a:cubicBezTo>
                <a:cubicBezTo>
                  <a:pt x="611475" y="1208315"/>
                  <a:pt x="609140" y="1212177"/>
                  <a:pt x="605350" y="1216760"/>
                </a:cubicBezTo>
                <a:cubicBezTo>
                  <a:pt x="602514" y="1218347"/>
                  <a:pt x="600399" y="1219189"/>
                  <a:pt x="600268" y="1220273"/>
                </a:cubicBezTo>
                <a:cubicBezTo>
                  <a:pt x="598551" y="1234430"/>
                  <a:pt x="599473" y="1247881"/>
                  <a:pt x="610574" y="1258750"/>
                </a:cubicBezTo>
                <a:cubicBezTo>
                  <a:pt x="631265" y="1279009"/>
                  <a:pt x="651790" y="1299438"/>
                  <a:pt x="672371" y="1319810"/>
                </a:cubicBezTo>
                <a:cubicBezTo>
                  <a:pt x="673495" y="1320922"/>
                  <a:pt x="674892" y="1321987"/>
                  <a:pt x="675494" y="1323366"/>
                </a:cubicBezTo>
                <a:cubicBezTo>
                  <a:pt x="685626" y="1346558"/>
                  <a:pt x="694775" y="1370031"/>
                  <a:pt x="692949" y="1396068"/>
                </a:cubicBezTo>
                <a:cubicBezTo>
                  <a:pt x="692525" y="1402108"/>
                  <a:pt x="691276" y="1408087"/>
                  <a:pt x="690628" y="1414117"/>
                </a:cubicBezTo>
                <a:cubicBezTo>
                  <a:pt x="690241" y="1417713"/>
                  <a:pt x="691290" y="1420628"/>
                  <a:pt x="695588" y="1421035"/>
                </a:cubicBezTo>
                <a:cubicBezTo>
                  <a:pt x="695527" y="1422155"/>
                  <a:pt x="695467" y="1423274"/>
                  <a:pt x="694353" y="1425190"/>
                </a:cubicBezTo>
                <a:cubicBezTo>
                  <a:pt x="691901" y="1426894"/>
                  <a:pt x="690503" y="1427804"/>
                  <a:pt x="689106" y="1428714"/>
                </a:cubicBezTo>
                <a:cubicBezTo>
                  <a:pt x="691101" y="1428620"/>
                  <a:pt x="693098" y="1428527"/>
                  <a:pt x="695093" y="1428433"/>
                </a:cubicBezTo>
                <a:cubicBezTo>
                  <a:pt x="695976" y="1429430"/>
                  <a:pt x="696859" y="1430427"/>
                  <a:pt x="697643" y="1432864"/>
                </a:cubicBezTo>
                <a:cubicBezTo>
                  <a:pt x="697724" y="1436887"/>
                  <a:pt x="697087" y="1439912"/>
                  <a:pt x="698207" y="1441988"/>
                </a:cubicBezTo>
                <a:cubicBezTo>
                  <a:pt x="709464" y="1462853"/>
                  <a:pt x="715798" y="1484864"/>
                  <a:pt x="715183" y="1508752"/>
                </a:cubicBezTo>
                <a:cubicBezTo>
                  <a:pt x="714863" y="1521166"/>
                  <a:pt x="713458" y="1523372"/>
                  <a:pt x="701540" y="1526524"/>
                </a:cubicBezTo>
                <a:cubicBezTo>
                  <a:pt x="662165" y="1536936"/>
                  <a:pt x="622006" y="1543243"/>
                  <a:pt x="581715" y="1548559"/>
                </a:cubicBezTo>
                <a:cubicBezTo>
                  <a:pt x="561988" y="1551162"/>
                  <a:pt x="542052" y="1552457"/>
                  <a:pt x="522168" y="1553543"/>
                </a:cubicBezTo>
                <a:cubicBezTo>
                  <a:pt x="498138" y="1554856"/>
                  <a:pt x="474063" y="1556013"/>
                  <a:pt x="450008" y="1556019"/>
                </a:cubicBezTo>
                <a:cubicBezTo>
                  <a:pt x="381724" y="1556035"/>
                  <a:pt x="313415" y="1557550"/>
                  <a:pt x="245169" y="1553749"/>
                </a:cubicBezTo>
                <a:cubicBezTo>
                  <a:pt x="237413" y="1553317"/>
                  <a:pt x="229596" y="1553867"/>
                  <a:pt x="221854" y="1553306"/>
                </a:cubicBezTo>
                <a:cubicBezTo>
                  <a:pt x="204023" y="1552015"/>
                  <a:pt x="186231" y="1550202"/>
                  <a:pt x="168405" y="1548828"/>
                </a:cubicBezTo>
                <a:cubicBezTo>
                  <a:pt x="154605" y="1547764"/>
                  <a:pt x="140762" y="1547242"/>
                  <a:pt x="126970" y="1546091"/>
                </a:cubicBezTo>
                <a:cubicBezTo>
                  <a:pt x="119295" y="1545451"/>
                  <a:pt x="111668" y="1544132"/>
                  <a:pt x="104053" y="1542912"/>
                </a:cubicBezTo>
                <a:cubicBezTo>
                  <a:pt x="91223" y="1540858"/>
                  <a:pt x="78344" y="1539011"/>
                  <a:pt x="65625" y="1536401"/>
                </a:cubicBezTo>
                <a:cubicBezTo>
                  <a:pt x="47307" y="1532642"/>
                  <a:pt x="29006" y="1528694"/>
                  <a:pt x="10909" y="1524010"/>
                </a:cubicBezTo>
                <a:cubicBezTo>
                  <a:pt x="744" y="1521379"/>
                  <a:pt x="119" y="1519620"/>
                  <a:pt x="8" y="1509263"/>
                </a:cubicBezTo>
                <a:cubicBezTo>
                  <a:pt x="-283" y="1482004"/>
                  <a:pt x="7525" y="1456906"/>
                  <a:pt x="21158" y="1433611"/>
                </a:cubicBezTo>
                <a:cubicBezTo>
                  <a:pt x="24128" y="1428537"/>
                  <a:pt x="25100" y="1424162"/>
                  <a:pt x="23462" y="1418658"/>
                </a:cubicBezTo>
                <a:cubicBezTo>
                  <a:pt x="19938" y="1406814"/>
                  <a:pt x="19145" y="1394638"/>
                  <a:pt x="19643" y="1382324"/>
                </a:cubicBezTo>
                <a:cubicBezTo>
                  <a:pt x="20741" y="1355171"/>
                  <a:pt x="29461" y="1331114"/>
                  <a:pt x="49060" y="1311832"/>
                </a:cubicBezTo>
                <a:cubicBezTo>
                  <a:pt x="68866" y="1292344"/>
                  <a:pt x="89102" y="1273294"/>
                  <a:pt x="109176" y="1254078"/>
                </a:cubicBezTo>
                <a:cubicBezTo>
                  <a:pt x="120788" y="1242961"/>
                  <a:pt x="123122" y="1229673"/>
                  <a:pt x="118319" y="1214801"/>
                </a:cubicBezTo>
                <a:cubicBezTo>
                  <a:pt x="116817" y="1210150"/>
                  <a:pt x="114697" y="1205702"/>
                  <a:pt x="113082" y="1201084"/>
                </a:cubicBezTo>
                <a:cubicBezTo>
                  <a:pt x="109606" y="1191147"/>
                  <a:pt x="110855" y="1188189"/>
                  <a:pt x="120417" y="1183950"/>
                </a:cubicBezTo>
                <a:cubicBezTo>
                  <a:pt x="125262" y="1181801"/>
                  <a:pt x="130109" y="1179394"/>
                  <a:pt x="135209" y="1178138"/>
                </a:cubicBezTo>
                <a:cubicBezTo>
                  <a:pt x="146972" y="1175241"/>
                  <a:pt x="153194" y="1166910"/>
                  <a:pt x="156535" y="1156396"/>
                </a:cubicBezTo>
                <a:cubicBezTo>
                  <a:pt x="166535" y="1124919"/>
                  <a:pt x="176229" y="1093339"/>
                  <a:pt x="185647" y="1061682"/>
                </a:cubicBezTo>
                <a:cubicBezTo>
                  <a:pt x="191222" y="1042945"/>
                  <a:pt x="196570" y="1024108"/>
                  <a:pt x="201074" y="1005093"/>
                </a:cubicBezTo>
                <a:cubicBezTo>
                  <a:pt x="205941" y="984550"/>
                  <a:pt x="210000" y="963801"/>
                  <a:pt x="213864" y="943040"/>
                </a:cubicBezTo>
                <a:cubicBezTo>
                  <a:pt x="217503" y="923489"/>
                  <a:pt x="220701" y="903846"/>
                  <a:pt x="223580" y="884167"/>
                </a:cubicBezTo>
                <a:cubicBezTo>
                  <a:pt x="225754" y="869301"/>
                  <a:pt x="227195" y="854324"/>
                  <a:pt x="228827" y="839382"/>
                </a:cubicBezTo>
                <a:cubicBezTo>
                  <a:pt x="230459" y="824446"/>
                  <a:pt x="232880" y="809515"/>
                  <a:pt x="233251" y="794539"/>
                </a:cubicBezTo>
                <a:cubicBezTo>
                  <a:pt x="233961" y="765893"/>
                  <a:pt x="233499" y="737217"/>
                  <a:pt x="233413" y="708554"/>
                </a:cubicBezTo>
                <a:cubicBezTo>
                  <a:pt x="233404" y="705465"/>
                  <a:pt x="232667" y="702378"/>
                  <a:pt x="232253" y="699181"/>
                </a:cubicBezTo>
                <a:cubicBezTo>
                  <a:pt x="218443" y="697138"/>
                  <a:pt x="205461" y="695831"/>
                  <a:pt x="192775" y="693131"/>
                </a:cubicBezTo>
                <a:cubicBezTo>
                  <a:pt x="183686" y="691197"/>
                  <a:pt x="174549" y="688305"/>
                  <a:pt x="166222" y="684229"/>
                </a:cubicBezTo>
                <a:cubicBezTo>
                  <a:pt x="151266" y="676909"/>
                  <a:pt x="147247" y="664789"/>
                  <a:pt x="153485" y="649704"/>
                </a:cubicBezTo>
                <a:cubicBezTo>
                  <a:pt x="158693" y="637111"/>
                  <a:pt x="168160" y="628190"/>
                  <a:pt x="179302" y="621006"/>
                </a:cubicBezTo>
                <a:cubicBezTo>
                  <a:pt x="186548" y="616334"/>
                  <a:pt x="191317" y="611105"/>
                  <a:pt x="192182" y="601675"/>
                </a:cubicBezTo>
                <a:cubicBezTo>
                  <a:pt x="192878" y="594094"/>
                  <a:pt x="197099" y="587626"/>
                  <a:pt x="204894" y="583417"/>
                </a:cubicBezTo>
                <a:cubicBezTo>
                  <a:pt x="214873" y="578030"/>
                  <a:pt x="224643" y="571774"/>
                  <a:pt x="233213" y="564393"/>
                </a:cubicBezTo>
                <a:cubicBezTo>
                  <a:pt x="242623" y="556289"/>
                  <a:pt x="240441" y="544193"/>
                  <a:pt x="229725" y="538177"/>
                </a:cubicBezTo>
                <a:cubicBezTo>
                  <a:pt x="226159" y="536176"/>
                  <a:pt x="222483" y="534351"/>
                  <a:pt x="218771" y="532633"/>
                </a:cubicBezTo>
                <a:cubicBezTo>
                  <a:pt x="213503" y="530196"/>
                  <a:pt x="212651" y="526226"/>
                  <a:pt x="215183" y="521568"/>
                </a:cubicBezTo>
                <a:cubicBezTo>
                  <a:pt x="217485" y="517332"/>
                  <a:pt x="220405" y="513432"/>
                  <a:pt x="223368" y="508901"/>
                </a:cubicBezTo>
                <a:cubicBezTo>
                  <a:pt x="221781" y="505376"/>
                  <a:pt x="220809" y="501165"/>
                  <a:pt x="218372" y="498135"/>
                </a:cubicBezTo>
                <a:cubicBezTo>
                  <a:pt x="202366" y="478231"/>
                  <a:pt x="190774" y="455961"/>
                  <a:pt x="181440" y="432308"/>
                </a:cubicBezTo>
                <a:cubicBezTo>
                  <a:pt x="170959" y="405748"/>
                  <a:pt x="164933" y="378186"/>
                  <a:pt x="167535" y="349841"/>
                </a:cubicBezTo>
                <a:cubicBezTo>
                  <a:pt x="170341" y="319265"/>
                  <a:pt x="179208" y="289917"/>
                  <a:pt x="193488" y="262518"/>
                </a:cubicBezTo>
                <a:cubicBezTo>
                  <a:pt x="206512" y="237529"/>
                  <a:pt x="220831" y="213359"/>
                  <a:pt x="237748" y="190690"/>
                </a:cubicBezTo>
                <a:cubicBezTo>
                  <a:pt x="260421" y="160310"/>
                  <a:pt x="282602" y="129592"/>
                  <a:pt x="309459" y="102623"/>
                </a:cubicBezTo>
                <a:cubicBezTo>
                  <a:pt x="316627" y="95424"/>
                  <a:pt x="316261" y="87541"/>
                  <a:pt x="310459" y="78521"/>
                </a:cubicBezTo>
                <a:cubicBezTo>
                  <a:pt x="306309" y="72071"/>
                  <a:pt x="301695" y="65150"/>
                  <a:pt x="300267" y="57856"/>
                </a:cubicBezTo>
                <a:cubicBezTo>
                  <a:pt x="295286" y="32423"/>
                  <a:pt x="314502" y="10133"/>
                  <a:pt x="332242" y="4422"/>
                </a:cubicBezTo>
                <a:cubicBezTo>
                  <a:pt x="349540" y="-1148"/>
                  <a:pt x="367530" y="-2176"/>
                  <a:pt x="384904" y="5551"/>
                </a:cubicBezTo>
                <a:cubicBezTo>
                  <a:pt x="395271" y="10161"/>
                  <a:pt x="403310" y="17760"/>
                  <a:pt x="409773" y="26778"/>
                </a:cubicBezTo>
                <a:cubicBezTo>
                  <a:pt x="415168" y="34307"/>
                  <a:pt x="413749" y="41584"/>
                  <a:pt x="407026" y="46052"/>
                </a:cubicBezTo>
                <a:cubicBezTo>
                  <a:pt x="405624" y="40964"/>
                  <a:pt x="404503" y="35849"/>
                  <a:pt x="402771" y="30951"/>
                </a:cubicBezTo>
                <a:cubicBezTo>
                  <a:pt x="401450" y="27216"/>
                  <a:pt x="399383" y="28477"/>
                  <a:pt x="397038" y="30361"/>
                </a:cubicBezTo>
                <a:cubicBezTo>
                  <a:pt x="384440" y="15986"/>
                  <a:pt x="377037" y="14494"/>
                  <a:pt x="360694" y="22760"/>
                </a:cubicBezTo>
                <a:cubicBezTo>
                  <a:pt x="353707" y="22767"/>
                  <a:pt x="352275" y="27176"/>
                  <a:pt x="351669" y="31736"/>
                </a:cubicBezTo>
                <a:cubicBezTo>
                  <a:pt x="351136" y="35760"/>
                  <a:pt x="351383" y="39899"/>
                  <a:pt x="351426" y="43987"/>
                </a:cubicBezTo>
                <a:cubicBezTo>
                  <a:pt x="351648" y="64919"/>
                  <a:pt x="372389" y="78115"/>
                  <a:pt x="390968" y="68762"/>
                </a:cubicBezTo>
                <a:cubicBezTo>
                  <a:pt x="395158" y="66653"/>
                  <a:pt x="398534" y="62629"/>
                  <a:pt x="401770" y="59025"/>
                </a:cubicBezTo>
                <a:cubicBezTo>
                  <a:pt x="404045" y="56491"/>
                  <a:pt x="405661" y="53409"/>
                  <a:pt x="409619" y="55786"/>
                </a:cubicBezTo>
                <a:cubicBezTo>
                  <a:pt x="413544" y="58145"/>
                  <a:pt x="412176" y="61347"/>
                  <a:pt x="410427" y="64256"/>
                </a:cubicBezTo>
                <a:cubicBezTo>
                  <a:pt x="406872" y="70170"/>
                  <a:pt x="403244" y="76046"/>
                  <a:pt x="399453" y="81811"/>
                </a:cubicBezTo>
                <a:cubicBezTo>
                  <a:pt x="394663" y="89097"/>
                  <a:pt x="394382" y="94032"/>
                  <a:pt x="399346" y="98083"/>
                </a:cubicBezTo>
                <a:cubicBezTo>
                  <a:pt x="428062" y="121519"/>
                  <a:pt x="450822" y="150083"/>
                  <a:pt x="471592" y="180524"/>
                </a:cubicBezTo>
                <a:cubicBezTo>
                  <a:pt x="476398" y="187569"/>
                  <a:pt x="476844" y="193688"/>
                  <a:pt x="473550" y="200923"/>
                </a:cubicBezTo>
                <a:cubicBezTo>
                  <a:pt x="470171" y="208346"/>
                  <a:pt x="467091" y="215905"/>
                  <a:pt x="463677" y="223311"/>
                </a:cubicBezTo>
                <a:cubicBezTo>
                  <a:pt x="461993" y="226965"/>
                  <a:pt x="462995" y="228697"/>
                  <a:pt x="466852" y="229083"/>
                </a:cubicBezTo>
                <a:moveTo>
                  <a:pt x="474186" y="928382"/>
                </a:moveTo>
                <a:cubicBezTo>
                  <a:pt x="469297" y="891529"/>
                  <a:pt x="462961" y="854794"/>
                  <a:pt x="459927" y="817790"/>
                </a:cubicBezTo>
                <a:cubicBezTo>
                  <a:pt x="456905" y="780939"/>
                  <a:pt x="457197" y="743817"/>
                  <a:pt x="456025" y="706469"/>
                </a:cubicBezTo>
                <a:cubicBezTo>
                  <a:pt x="425780" y="707923"/>
                  <a:pt x="396554" y="709327"/>
                  <a:pt x="366863" y="710754"/>
                </a:cubicBezTo>
                <a:cubicBezTo>
                  <a:pt x="366546" y="714450"/>
                  <a:pt x="366201" y="716832"/>
                  <a:pt x="366159" y="719219"/>
                </a:cubicBezTo>
                <a:cubicBezTo>
                  <a:pt x="365479" y="757672"/>
                  <a:pt x="364935" y="796129"/>
                  <a:pt x="364159" y="834581"/>
                </a:cubicBezTo>
                <a:cubicBezTo>
                  <a:pt x="363450" y="869762"/>
                  <a:pt x="362581" y="904941"/>
                  <a:pt x="361633" y="940117"/>
                </a:cubicBezTo>
                <a:cubicBezTo>
                  <a:pt x="360619" y="977749"/>
                  <a:pt x="359431" y="1015376"/>
                  <a:pt x="358313" y="1053005"/>
                </a:cubicBezTo>
                <a:cubicBezTo>
                  <a:pt x="358265" y="1054641"/>
                  <a:pt x="358149" y="1056276"/>
                  <a:pt x="358081" y="1057912"/>
                </a:cubicBezTo>
                <a:cubicBezTo>
                  <a:pt x="356598" y="1093463"/>
                  <a:pt x="355081" y="1129014"/>
                  <a:pt x="353706" y="1164570"/>
                </a:cubicBezTo>
                <a:cubicBezTo>
                  <a:pt x="353604" y="1167221"/>
                  <a:pt x="354516" y="1169911"/>
                  <a:pt x="354951" y="1172547"/>
                </a:cubicBezTo>
                <a:cubicBezTo>
                  <a:pt x="416984" y="1173689"/>
                  <a:pt x="478158" y="1174816"/>
                  <a:pt x="540959" y="1175972"/>
                </a:cubicBezTo>
                <a:cubicBezTo>
                  <a:pt x="513162" y="1094194"/>
                  <a:pt x="489081" y="1013598"/>
                  <a:pt x="474186" y="928382"/>
                </a:cubicBezTo>
                <a:moveTo>
                  <a:pt x="513768" y="1417676"/>
                </a:moveTo>
                <a:cubicBezTo>
                  <a:pt x="515785" y="1417344"/>
                  <a:pt x="517792" y="1416889"/>
                  <a:pt x="519822" y="1416700"/>
                </a:cubicBezTo>
                <a:cubicBezTo>
                  <a:pt x="557234" y="1413220"/>
                  <a:pt x="594682" y="1410089"/>
                  <a:pt x="632041" y="1406122"/>
                </a:cubicBezTo>
                <a:cubicBezTo>
                  <a:pt x="643122" y="1404945"/>
                  <a:pt x="654730" y="1405292"/>
                  <a:pt x="665040" y="1400634"/>
                </a:cubicBezTo>
                <a:cubicBezTo>
                  <a:pt x="665352" y="1398517"/>
                  <a:pt x="665651" y="1397324"/>
                  <a:pt x="665677" y="1396126"/>
                </a:cubicBezTo>
                <a:cubicBezTo>
                  <a:pt x="665722" y="1394084"/>
                  <a:pt x="665674" y="1392032"/>
                  <a:pt x="665529" y="1389994"/>
                </a:cubicBezTo>
                <a:cubicBezTo>
                  <a:pt x="663118" y="1356121"/>
                  <a:pt x="650063" y="1327787"/>
                  <a:pt x="623046" y="1306238"/>
                </a:cubicBezTo>
                <a:cubicBezTo>
                  <a:pt x="613485" y="1298611"/>
                  <a:pt x="605001" y="1289635"/>
                  <a:pt x="596015" y="1281285"/>
                </a:cubicBezTo>
                <a:cubicBezTo>
                  <a:pt x="578506" y="1265018"/>
                  <a:pt x="567837" y="1245446"/>
                  <a:pt x="567683" y="1220059"/>
                </a:cubicBezTo>
                <a:cubicBezTo>
                  <a:pt x="558046" y="1220059"/>
                  <a:pt x="549136" y="1219649"/>
                  <a:pt x="540273" y="1220129"/>
                </a:cubicBezTo>
                <a:cubicBezTo>
                  <a:pt x="501512" y="1222229"/>
                  <a:pt x="462775" y="1224768"/>
                  <a:pt x="424010" y="1226781"/>
                </a:cubicBezTo>
                <a:cubicBezTo>
                  <a:pt x="401969" y="1227926"/>
                  <a:pt x="379889" y="1228330"/>
                  <a:pt x="357832" y="1229178"/>
                </a:cubicBezTo>
                <a:cubicBezTo>
                  <a:pt x="355938" y="1229251"/>
                  <a:pt x="354076" y="1230151"/>
                  <a:pt x="352386" y="1230616"/>
                </a:cubicBezTo>
                <a:cubicBezTo>
                  <a:pt x="353642" y="1262222"/>
                  <a:pt x="355769" y="1293219"/>
                  <a:pt x="355852" y="1324222"/>
                </a:cubicBezTo>
                <a:cubicBezTo>
                  <a:pt x="355936" y="1355438"/>
                  <a:pt x="353988" y="1386659"/>
                  <a:pt x="352930" y="1417867"/>
                </a:cubicBezTo>
                <a:cubicBezTo>
                  <a:pt x="406069" y="1417867"/>
                  <a:pt x="458771" y="1417867"/>
                  <a:pt x="513768" y="1417676"/>
                </a:cubicBezTo>
                <a:moveTo>
                  <a:pt x="387930" y="499741"/>
                </a:moveTo>
                <a:cubicBezTo>
                  <a:pt x="410797" y="498777"/>
                  <a:pt x="433665" y="497860"/>
                  <a:pt x="456529" y="496826"/>
                </a:cubicBezTo>
                <a:cubicBezTo>
                  <a:pt x="466656" y="496369"/>
                  <a:pt x="475418" y="493371"/>
                  <a:pt x="482355" y="485095"/>
                </a:cubicBezTo>
                <a:cubicBezTo>
                  <a:pt x="509188" y="453083"/>
                  <a:pt x="525387" y="416636"/>
                  <a:pt x="528016" y="374829"/>
                </a:cubicBezTo>
                <a:cubicBezTo>
                  <a:pt x="530547" y="334558"/>
                  <a:pt x="520095" y="297041"/>
                  <a:pt x="501375" y="261643"/>
                </a:cubicBezTo>
                <a:cubicBezTo>
                  <a:pt x="499379" y="257869"/>
                  <a:pt x="496654" y="254482"/>
                  <a:pt x="493534" y="249818"/>
                </a:cubicBezTo>
                <a:cubicBezTo>
                  <a:pt x="490233" y="254212"/>
                  <a:pt x="487883" y="256986"/>
                  <a:pt x="485920" y="260010"/>
                </a:cubicBezTo>
                <a:cubicBezTo>
                  <a:pt x="475010" y="276824"/>
                  <a:pt x="464300" y="293767"/>
                  <a:pt x="453305" y="310523"/>
                </a:cubicBezTo>
                <a:cubicBezTo>
                  <a:pt x="447028" y="320089"/>
                  <a:pt x="440916" y="329858"/>
                  <a:pt x="433678" y="338672"/>
                </a:cubicBezTo>
                <a:cubicBezTo>
                  <a:pt x="425909" y="348131"/>
                  <a:pt x="413084" y="349691"/>
                  <a:pt x="403713" y="343710"/>
                </a:cubicBezTo>
                <a:cubicBezTo>
                  <a:pt x="394358" y="337739"/>
                  <a:pt x="391675" y="327526"/>
                  <a:pt x="396427" y="315612"/>
                </a:cubicBezTo>
                <a:cubicBezTo>
                  <a:pt x="397334" y="313339"/>
                  <a:pt x="398595" y="311210"/>
                  <a:pt x="399663" y="309000"/>
                </a:cubicBezTo>
                <a:cubicBezTo>
                  <a:pt x="417094" y="272900"/>
                  <a:pt x="434331" y="236704"/>
                  <a:pt x="452097" y="200770"/>
                </a:cubicBezTo>
                <a:cubicBezTo>
                  <a:pt x="455910" y="193060"/>
                  <a:pt x="455310" y="187173"/>
                  <a:pt x="450118" y="180596"/>
                </a:cubicBezTo>
                <a:cubicBezTo>
                  <a:pt x="428273" y="152922"/>
                  <a:pt x="405805" y="125901"/>
                  <a:pt x="376545" y="105525"/>
                </a:cubicBezTo>
                <a:cubicBezTo>
                  <a:pt x="374483" y="104089"/>
                  <a:pt x="372013" y="103239"/>
                  <a:pt x="368791" y="101653"/>
                </a:cubicBezTo>
                <a:cubicBezTo>
                  <a:pt x="367942" y="116965"/>
                  <a:pt x="367019" y="130814"/>
                  <a:pt x="366449" y="144676"/>
                </a:cubicBezTo>
                <a:cubicBezTo>
                  <a:pt x="365912" y="157758"/>
                  <a:pt x="365593" y="170854"/>
                  <a:pt x="365447" y="183946"/>
                </a:cubicBezTo>
                <a:cubicBezTo>
                  <a:pt x="365020" y="221975"/>
                  <a:pt x="363367" y="260055"/>
                  <a:pt x="364738" y="298022"/>
                </a:cubicBezTo>
                <a:cubicBezTo>
                  <a:pt x="366329" y="342101"/>
                  <a:pt x="370336" y="386106"/>
                  <a:pt x="373865" y="430096"/>
                </a:cubicBezTo>
                <a:cubicBezTo>
                  <a:pt x="375530" y="450849"/>
                  <a:pt x="378387" y="471514"/>
                  <a:pt x="381088" y="492169"/>
                </a:cubicBezTo>
                <a:cubicBezTo>
                  <a:pt x="381433" y="494807"/>
                  <a:pt x="384102" y="497143"/>
                  <a:pt x="387930" y="499741"/>
                </a:cubicBezTo>
                <a:moveTo>
                  <a:pt x="455850" y="1521476"/>
                </a:moveTo>
                <a:cubicBezTo>
                  <a:pt x="533043" y="1519612"/>
                  <a:pt x="609810" y="1514084"/>
                  <a:pt x="685121" y="1496509"/>
                </a:cubicBezTo>
                <a:cubicBezTo>
                  <a:pt x="683922" y="1481705"/>
                  <a:pt x="679199" y="1467708"/>
                  <a:pt x="672999" y="1456665"/>
                </a:cubicBezTo>
                <a:cubicBezTo>
                  <a:pt x="669933" y="1451203"/>
                  <a:pt x="666057" y="1449329"/>
                  <a:pt x="660009" y="1450249"/>
                </a:cubicBezTo>
                <a:cubicBezTo>
                  <a:pt x="651125" y="1451601"/>
                  <a:pt x="642144" y="1452308"/>
                  <a:pt x="633248" y="1453589"/>
                </a:cubicBezTo>
                <a:cubicBezTo>
                  <a:pt x="572852" y="1462289"/>
                  <a:pt x="511993" y="1465134"/>
                  <a:pt x="451131" y="1467458"/>
                </a:cubicBezTo>
                <a:cubicBezTo>
                  <a:pt x="421697" y="1468582"/>
                  <a:pt x="392192" y="1467837"/>
                  <a:pt x="362719" y="1467934"/>
                </a:cubicBezTo>
                <a:cubicBezTo>
                  <a:pt x="358386" y="1467948"/>
                  <a:pt x="354052" y="1467936"/>
                  <a:pt x="349983" y="1467936"/>
                </a:cubicBezTo>
                <a:cubicBezTo>
                  <a:pt x="347592" y="1485362"/>
                  <a:pt x="348606" y="1509458"/>
                  <a:pt x="352220" y="1519140"/>
                </a:cubicBezTo>
                <a:cubicBezTo>
                  <a:pt x="385617" y="1519916"/>
                  <a:pt x="419507" y="1520703"/>
                  <a:pt x="455850" y="1521476"/>
                </a:cubicBezTo>
                <a:moveTo>
                  <a:pt x="368682" y="544846"/>
                </a:moveTo>
                <a:cubicBezTo>
                  <a:pt x="374258" y="564891"/>
                  <a:pt x="370074" y="584394"/>
                  <a:pt x="363600" y="605633"/>
                </a:cubicBezTo>
                <a:cubicBezTo>
                  <a:pt x="408859" y="604212"/>
                  <a:pt x="452263" y="602850"/>
                  <a:pt x="496351" y="601466"/>
                </a:cubicBezTo>
                <a:cubicBezTo>
                  <a:pt x="496109" y="591095"/>
                  <a:pt x="491408" y="584247"/>
                  <a:pt x="485068" y="579288"/>
                </a:cubicBezTo>
                <a:cubicBezTo>
                  <a:pt x="472414" y="569391"/>
                  <a:pt x="466934" y="556602"/>
                  <a:pt x="466524" y="541026"/>
                </a:cubicBezTo>
                <a:cubicBezTo>
                  <a:pt x="466485" y="539528"/>
                  <a:pt x="465591" y="538053"/>
                  <a:pt x="465000" y="536289"/>
                </a:cubicBezTo>
                <a:cubicBezTo>
                  <a:pt x="460209" y="536289"/>
                  <a:pt x="455761" y="536132"/>
                  <a:pt x="451328" y="536316"/>
                </a:cubicBezTo>
                <a:cubicBezTo>
                  <a:pt x="430930" y="537159"/>
                  <a:pt x="410538" y="538137"/>
                  <a:pt x="390140" y="538979"/>
                </a:cubicBezTo>
                <a:cubicBezTo>
                  <a:pt x="384834" y="539198"/>
                  <a:pt x="379484" y="538790"/>
                  <a:pt x="374215" y="539303"/>
                </a:cubicBezTo>
                <a:cubicBezTo>
                  <a:pt x="372259" y="539494"/>
                  <a:pt x="370480" y="541498"/>
                  <a:pt x="368682" y="544846"/>
                </a:cubicBezTo>
                <a:moveTo>
                  <a:pt x="453915" y="635267"/>
                </a:moveTo>
                <a:cubicBezTo>
                  <a:pt x="427589" y="636632"/>
                  <a:pt x="401262" y="637998"/>
                  <a:pt x="374200" y="639402"/>
                </a:cubicBezTo>
                <a:cubicBezTo>
                  <a:pt x="374200" y="651578"/>
                  <a:pt x="374200" y="661970"/>
                  <a:pt x="374200" y="673206"/>
                </a:cubicBezTo>
                <a:cubicBezTo>
                  <a:pt x="378672" y="673406"/>
                  <a:pt x="382666" y="673863"/>
                  <a:pt x="386639" y="673718"/>
                </a:cubicBezTo>
                <a:cubicBezTo>
                  <a:pt x="431495" y="672082"/>
                  <a:pt x="476352" y="670422"/>
                  <a:pt x="521198" y="668541"/>
                </a:cubicBezTo>
                <a:cubicBezTo>
                  <a:pt x="525584" y="668357"/>
                  <a:pt x="530162" y="667254"/>
                  <a:pt x="534198" y="665521"/>
                </a:cubicBezTo>
                <a:cubicBezTo>
                  <a:pt x="540213" y="662938"/>
                  <a:pt x="541802" y="658194"/>
                  <a:pt x="538413" y="652526"/>
                </a:cubicBezTo>
                <a:cubicBezTo>
                  <a:pt x="536192" y="648813"/>
                  <a:pt x="532979" y="645251"/>
                  <a:pt x="529377" y="642895"/>
                </a:cubicBezTo>
                <a:cubicBezTo>
                  <a:pt x="521426" y="637695"/>
                  <a:pt x="512576" y="634669"/>
                  <a:pt x="502829" y="634808"/>
                </a:cubicBezTo>
                <a:cubicBezTo>
                  <a:pt x="487311" y="635030"/>
                  <a:pt x="471791" y="635092"/>
                  <a:pt x="453915" y="635267"/>
                </a:cubicBezTo>
                <a:close/>
              </a:path>
            </a:pathLst>
          </a:custGeom>
          <a:solidFill>
            <a:srgbClr val="CDD9DF"/>
          </a:solidFill>
          <a:ln w="12700" cap="flat">
            <a:solidFill>
              <a:srgbClr val="CDD9DF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59" name="Free-form: Shape 258">
            <a:extLst>
              <a:ext uri="{FF2B5EF4-FFF2-40B4-BE49-F238E27FC236}">
                <a16:creationId xmlns:a16="http://schemas.microsoft.com/office/drawing/2014/main" id="{71CDCCBF-8D11-B7C9-DAB2-09824FA7ADEC}"/>
              </a:ext>
            </a:extLst>
          </p:cNvPr>
          <p:cNvSpPr/>
          <p:nvPr/>
        </p:nvSpPr>
        <p:spPr>
          <a:xfrm>
            <a:off x="4890871" y="4358634"/>
            <a:ext cx="665488" cy="1428730"/>
          </a:xfrm>
          <a:custGeom>
            <a:avLst/>
            <a:gdLst>
              <a:gd name="csX0" fmla="*/ 406842 w 732037"/>
              <a:gd name="csY0" fmla="*/ 38347 h 1571603"/>
              <a:gd name="csX1" fmla="*/ 411944 w 732037"/>
              <a:gd name="csY1" fmla="*/ 38343 h 1571603"/>
              <a:gd name="csX2" fmla="*/ 416198 w 732037"/>
              <a:gd name="csY2" fmla="*/ 53444 h 1571603"/>
              <a:gd name="csX3" fmla="*/ 418945 w 732037"/>
              <a:gd name="csY3" fmla="*/ 34170 h 1571603"/>
              <a:gd name="csX4" fmla="*/ 394077 w 732037"/>
              <a:gd name="csY4" fmla="*/ 12943 h 1571603"/>
              <a:gd name="csX5" fmla="*/ 341415 w 732037"/>
              <a:gd name="csY5" fmla="*/ 11814 h 1571603"/>
              <a:gd name="csX6" fmla="*/ 309440 w 732037"/>
              <a:gd name="csY6" fmla="*/ 65249 h 1571603"/>
              <a:gd name="csX7" fmla="*/ 319632 w 732037"/>
              <a:gd name="csY7" fmla="*/ 85914 h 1571603"/>
              <a:gd name="csX8" fmla="*/ 318632 w 732037"/>
              <a:gd name="csY8" fmla="*/ 110015 h 1571603"/>
              <a:gd name="csX9" fmla="*/ 246921 w 732037"/>
              <a:gd name="csY9" fmla="*/ 198083 h 1571603"/>
              <a:gd name="csX10" fmla="*/ 202660 w 732037"/>
              <a:gd name="csY10" fmla="*/ 269911 h 1571603"/>
              <a:gd name="csX11" fmla="*/ 176707 w 732037"/>
              <a:gd name="csY11" fmla="*/ 357233 h 1571603"/>
              <a:gd name="csX12" fmla="*/ 190612 w 732037"/>
              <a:gd name="csY12" fmla="*/ 439700 h 1571603"/>
              <a:gd name="csX13" fmla="*/ 227544 w 732037"/>
              <a:gd name="csY13" fmla="*/ 505527 h 1571603"/>
              <a:gd name="csX14" fmla="*/ 232541 w 732037"/>
              <a:gd name="csY14" fmla="*/ 516294 h 1571603"/>
              <a:gd name="csX15" fmla="*/ 224356 w 732037"/>
              <a:gd name="csY15" fmla="*/ 528960 h 1571603"/>
              <a:gd name="csX16" fmla="*/ 227944 w 732037"/>
              <a:gd name="csY16" fmla="*/ 540026 h 1571603"/>
              <a:gd name="csX17" fmla="*/ 238897 w 732037"/>
              <a:gd name="csY17" fmla="*/ 545570 h 1571603"/>
              <a:gd name="csX18" fmla="*/ 242386 w 732037"/>
              <a:gd name="csY18" fmla="*/ 571785 h 1571603"/>
              <a:gd name="csX19" fmla="*/ 214067 w 732037"/>
              <a:gd name="csY19" fmla="*/ 590809 h 1571603"/>
              <a:gd name="csX20" fmla="*/ 201355 w 732037"/>
              <a:gd name="csY20" fmla="*/ 609067 h 1571603"/>
              <a:gd name="csX21" fmla="*/ 188474 w 732037"/>
              <a:gd name="csY21" fmla="*/ 628398 h 1571603"/>
              <a:gd name="csX22" fmla="*/ 162658 w 732037"/>
              <a:gd name="csY22" fmla="*/ 657096 h 1571603"/>
              <a:gd name="csX23" fmla="*/ 175395 w 732037"/>
              <a:gd name="csY23" fmla="*/ 691621 h 1571603"/>
              <a:gd name="csX24" fmla="*/ 201948 w 732037"/>
              <a:gd name="csY24" fmla="*/ 700523 h 1571603"/>
              <a:gd name="csX25" fmla="*/ 241426 w 732037"/>
              <a:gd name="csY25" fmla="*/ 706574 h 1571603"/>
              <a:gd name="csX26" fmla="*/ 242586 w 732037"/>
              <a:gd name="csY26" fmla="*/ 715946 h 1571603"/>
              <a:gd name="csX27" fmla="*/ 242424 w 732037"/>
              <a:gd name="csY27" fmla="*/ 801932 h 1571603"/>
              <a:gd name="csX28" fmla="*/ 238000 w 732037"/>
              <a:gd name="csY28" fmla="*/ 846774 h 1571603"/>
              <a:gd name="csX29" fmla="*/ 232752 w 732037"/>
              <a:gd name="csY29" fmla="*/ 891559 h 1571603"/>
              <a:gd name="csX30" fmla="*/ 223037 w 732037"/>
              <a:gd name="csY30" fmla="*/ 950433 h 1571603"/>
              <a:gd name="csX31" fmla="*/ 210247 w 732037"/>
              <a:gd name="csY31" fmla="*/ 1012485 h 1571603"/>
              <a:gd name="csX32" fmla="*/ 194820 w 732037"/>
              <a:gd name="csY32" fmla="*/ 1069074 h 1571603"/>
              <a:gd name="csX33" fmla="*/ 165707 w 732037"/>
              <a:gd name="csY33" fmla="*/ 1163788 h 1571603"/>
              <a:gd name="csX34" fmla="*/ 144382 w 732037"/>
              <a:gd name="csY34" fmla="*/ 1185530 h 1571603"/>
              <a:gd name="csX35" fmla="*/ 129590 w 732037"/>
              <a:gd name="csY35" fmla="*/ 1191342 h 1571603"/>
              <a:gd name="csX36" fmla="*/ 122255 w 732037"/>
              <a:gd name="csY36" fmla="*/ 1208476 h 1571603"/>
              <a:gd name="csX37" fmla="*/ 127491 w 732037"/>
              <a:gd name="csY37" fmla="*/ 1222193 h 1571603"/>
              <a:gd name="csX38" fmla="*/ 118348 w 732037"/>
              <a:gd name="csY38" fmla="*/ 1261470 h 1571603"/>
              <a:gd name="csX39" fmla="*/ 58232 w 732037"/>
              <a:gd name="csY39" fmla="*/ 1319224 h 1571603"/>
              <a:gd name="csX40" fmla="*/ 28815 w 732037"/>
              <a:gd name="csY40" fmla="*/ 1389717 h 1571603"/>
              <a:gd name="csX41" fmla="*/ 32634 w 732037"/>
              <a:gd name="csY41" fmla="*/ 1426050 h 1571603"/>
              <a:gd name="csX42" fmla="*/ 30331 w 732037"/>
              <a:gd name="csY42" fmla="*/ 1441003 h 1571603"/>
              <a:gd name="csX43" fmla="*/ 9180 w 732037"/>
              <a:gd name="csY43" fmla="*/ 1516655 h 1571603"/>
              <a:gd name="csX44" fmla="*/ 20082 w 732037"/>
              <a:gd name="csY44" fmla="*/ 1531402 h 1571603"/>
              <a:gd name="csX45" fmla="*/ 74798 w 732037"/>
              <a:gd name="csY45" fmla="*/ 1543794 h 1571603"/>
              <a:gd name="csX46" fmla="*/ 113225 w 732037"/>
              <a:gd name="csY46" fmla="*/ 1550305 h 1571603"/>
              <a:gd name="csX47" fmla="*/ 136142 w 732037"/>
              <a:gd name="csY47" fmla="*/ 1553484 h 1571603"/>
              <a:gd name="csX48" fmla="*/ 177578 w 732037"/>
              <a:gd name="csY48" fmla="*/ 1556220 h 1571603"/>
              <a:gd name="csX49" fmla="*/ 231027 w 732037"/>
              <a:gd name="csY49" fmla="*/ 1560698 h 1571603"/>
              <a:gd name="csX50" fmla="*/ 254342 w 732037"/>
              <a:gd name="csY50" fmla="*/ 1561142 h 1571603"/>
              <a:gd name="csX51" fmla="*/ 459180 w 732037"/>
              <a:gd name="csY51" fmla="*/ 1563411 h 1571603"/>
              <a:gd name="csX52" fmla="*/ 531340 w 732037"/>
              <a:gd name="csY52" fmla="*/ 1560936 h 1571603"/>
              <a:gd name="csX53" fmla="*/ 590888 w 732037"/>
              <a:gd name="csY53" fmla="*/ 1555951 h 1571603"/>
              <a:gd name="csX54" fmla="*/ 710712 w 732037"/>
              <a:gd name="csY54" fmla="*/ 1533916 h 1571603"/>
              <a:gd name="csX55" fmla="*/ 724356 w 732037"/>
              <a:gd name="csY55" fmla="*/ 1516144 h 1571603"/>
              <a:gd name="csX56" fmla="*/ 707380 w 732037"/>
              <a:gd name="csY56" fmla="*/ 1449380 h 1571603"/>
              <a:gd name="csX57" fmla="*/ 707050 w 732037"/>
              <a:gd name="csY57" fmla="*/ 1440881 h 1571603"/>
              <a:gd name="csX58" fmla="*/ 731479 w 732037"/>
              <a:gd name="csY58" fmla="*/ 1500017 h 1571603"/>
              <a:gd name="csX59" fmla="*/ 731163 w 732037"/>
              <a:gd name="csY59" fmla="*/ 1513759 h 1571603"/>
              <a:gd name="csX60" fmla="*/ 731650 w 732037"/>
              <a:gd name="csY60" fmla="*/ 1521766 h 1571603"/>
              <a:gd name="csX61" fmla="*/ 721896 w 732037"/>
              <a:gd name="csY61" fmla="*/ 1537319 h 1571603"/>
              <a:gd name="csX62" fmla="*/ 657740 w 732037"/>
              <a:gd name="csY62" fmla="*/ 1553265 h 1571603"/>
              <a:gd name="csX63" fmla="*/ 507791 w 732037"/>
              <a:gd name="csY63" fmla="*/ 1568943 h 1571603"/>
              <a:gd name="csX64" fmla="*/ 264676 w 732037"/>
              <a:gd name="csY64" fmla="*/ 1569724 h 1571603"/>
              <a:gd name="csX65" fmla="*/ 82743 w 732037"/>
              <a:gd name="csY65" fmla="*/ 1553254 h 1571603"/>
              <a:gd name="csX66" fmla="*/ 17072 w 732037"/>
              <a:gd name="csY66" fmla="*/ 1538153 h 1571603"/>
              <a:gd name="csX67" fmla="*/ 275 w 732037"/>
              <a:gd name="csY67" fmla="*/ 1513030 h 1571603"/>
              <a:gd name="csX68" fmla="*/ 20923 w 732037"/>
              <a:gd name="csY68" fmla="*/ 1441861 h 1571603"/>
              <a:gd name="csX69" fmla="*/ 23045 w 732037"/>
              <a:gd name="csY69" fmla="*/ 1423105 h 1571603"/>
              <a:gd name="csX70" fmla="*/ 30564 w 732037"/>
              <a:gd name="csY70" fmla="*/ 1346289 h 1571603"/>
              <a:gd name="csX71" fmla="*/ 71350 w 732037"/>
              <a:gd name="csY71" fmla="*/ 1295039 h 1571603"/>
              <a:gd name="csX72" fmla="*/ 112257 w 732037"/>
              <a:gd name="csY72" fmla="*/ 1255093 h 1571603"/>
              <a:gd name="csX73" fmla="*/ 115864 w 732037"/>
              <a:gd name="csY73" fmla="*/ 1217271 h 1571603"/>
              <a:gd name="csX74" fmla="*/ 112256 w 732037"/>
              <a:gd name="csY74" fmla="*/ 1210870 h 1571603"/>
              <a:gd name="csX75" fmla="*/ 121141 w 732037"/>
              <a:gd name="csY75" fmla="*/ 1186548 h 1571603"/>
              <a:gd name="csX76" fmla="*/ 136571 w 732037"/>
              <a:gd name="csY76" fmla="*/ 1179850 h 1571603"/>
              <a:gd name="csX77" fmla="*/ 158281 w 732037"/>
              <a:gd name="csY77" fmla="*/ 1157879 h 1571603"/>
              <a:gd name="csX78" fmla="*/ 187986 w 732037"/>
              <a:gd name="csY78" fmla="*/ 1059736 h 1571603"/>
              <a:gd name="csX79" fmla="*/ 217119 w 732037"/>
              <a:gd name="csY79" fmla="*/ 938896 h 1571603"/>
              <a:gd name="csX80" fmla="*/ 225792 w 732037"/>
              <a:gd name="csY80" fmla="*/ 893236 h 1571603"/>
              <a:gd name="csX81" fmla="*/ 226150 w 732037"/>
              <a:gd name="csY81" fmla="*/ 887970 h 1571603"/>
              <a:gd name="csX82" fmla="*/ 230782 w 732037"/>
              <a:gd name="csY82" fmla="*/ 853969 h 1571603"/>
              <a:gd name="csX83" fmla="*/ 230786 w 732037"/>
              <a:gd name="csY83" fmla="*/ 848558 h 1571603"/>
              <a:gd name="csX84" fmla="*/ 233315 w 732037"/>
              <a:gd name="csY84" fmla="*/ 824438 h 1571603"/>
              <a:gd name="csX85" fmla="*/ 233199 w 732037"/>
              <a:gd name="csY85" fmla="*/ 819050 h 1571603"/>
              <a:gd name="csX86" fmla="*/ 235848 w 732037"/>
              <a:gd name="csY86" fmla="*/ 782380 h 1571603"/>
              <a:gd name="csX87" fmla="*/ 237465 w 732037"/>
              <a:gd name="csY87" fmla="*/ 719113 h 1571603"/>
              <a:gd name="csX88" fmla="*/ 233057 w 732037"/>
              <a:gd name="csY88" fmla="*/ 713160 h 1571603"/>
              <a:gd name="csX89" fmla="*/ 203056 w 732037"/>
              <a:gd name="csY89" fmla="*/ 708405 h 1571603"/>
              <a:gd name="csX90" fmla="*/ 169628 w 732037"/>
              <a:gd name="csY90" fmla="*/ 698106 h 1571603"/>
              <a:gd name="csX91" fmla="*/ 153237 w 732037"/>
              <a:gd name="csY91" fmla="*/ 659111 h 1571603"/>
              <a:gd name="csX92" fmla="*/ 178365 w 732037"/>
              <a:gd name="csY92" fmla="*/ 626008 h 1571603"/>
              <a:gd name="csX93" fmla="*/ 191885 w 732037"/>
              <a:gd name="csY93" fmla="*/ 617513 h 1571603"/>
              <a:gd name="csX94" fmla="*/ 193681 w 732037"/>
              <a:gd name="csY94" fmla="*/ 610098 h 1571603"/>
              <a:gd name="csX95" fmla="*/ 213301 w 732037"/>
              <a:gd name="csY95" fmla="*/ 579885 h 1571603"/>
              <a:gd name="csX96" fmla="*/ 229635 w 732037"/>
              <a:gd name="csY96" fmla="*/ 571429 h 1571603"/>
              <a:gd name="csX97" fmla="*/ 237351 w 732037"/>
              <a:gd name="csY97" fmla="*/ 565882 h 1571603"/>
              <a:gd name="csX98" fmla="*/ 233673 w 732037"/>
              <a:gd name="csY98" fmla="*/ 550926 h 1571603"/>
              <a:gd name="csX99" fmla="*/ 226799 w 732037"/>
              <a:gd name="csY99" fmla="*/ 548359 h 1571603"/>
              <a:gd name="csX100" fmla="*/ 218639 w 732037"/>
              <a:gd name="csY100" fmla="*/ 522664 h 1571603"/>
              <a:gd name="csX101" fmla="*/ 218264 w 732037"/>
              <a:gd name="csY101" fmla="*/ 505463 h 1571603"/>
              <a:gd name="csX102" fmla="*/ 181762 w 732037"/>
              <a:gd name="csY102" fmla="*/ 437574 h 1571603"/>
              <a:gd name="csX103" fmla="*/ 185971 w 732037"/>
              <a:gd name="csY103" fmla="*/ 289069 h 1571603"/>
              <a:gd name="csX104" fmla="*/ 253787 w 732037"/>
              <a:gd name="csY104" fmla="*/ 175580 h 1571603"/>
              <a:gd name="csX105" fmla="*/ 309639 w 732037"/>
              <a:gd name="csY105" fmla="*/ 108695 h 1571603"/>
              <a:gd name="csX106" fmla="*/ 318061 w 732037"/>
              <a:gd name="csY106" fmla="*/ 98855 h 1571603"/>
              <a:gd name="csX107" fmla="*/ 304967 w 732037"/>
              <a:gd name="csY107" fmla="*/ 70056 h 1571603"/>
              <a:gd name="csX108" fmla="*/ 317012 w 732037"/>
              <a:gd name="csY108" fmla="*/ 19436 h 1571603"/>
              <a:gd name="csX109" fmla="*/ 415542 w 732037"/>
              <a:gd name="csY109" fmla="*/ 18221 h 1571603"/>
              <a:gd name="csX110" fmla="*/ 423203 w 732037"/>
              <a:gd name="csY110" fmla="*/ 82660 h 1571603"/>
              <a:gd name="csX111" fmla="*/ 413361 w 732037"/>
              <a:gd name="csY111" fmla="*/ 97975 h 1571603"/>
              <a:gd name="csX112" fmla="*/ 421654 w 732037"/>
              <a:gd name="csY112" fmla="*/ 106676 h 1571603"/>
              <a:gd name="csX113" fmla="*/ 487032 w 732037"/>
              <a:gd name="csY113" fmla="*/ 184632 h 1571603"/>
              <a:gd name="csX114" fmla="*/ 489213 w 732037"/>
              <a:gd name="csY114" fmla="*/ 208238 h 1571603"/>
              <a:gd name="csX115" fmla="*/ 476520 w 732037"/>
              <a:gd name="csY115" fmla="*/ 235738 h 1571603"/>
              <a:gd name="csX116" fmla="*/ 472850 w 732037"/>
              <a:gd name="csY116" fmla="*/ 230703 h 1571603"/>
              <a:gd name="csX117" fmla="*/ 482723 w 732037"/>
              <a:gd name="csY117" fmla="*/ 208315 h 1571603"/>
              <a:gd name="csX118" fmla="*/ 480764 w 732037"/>
              <a:gd name="csY118" fmla="*/ 187916 h 1571603"/>
              <a:gd name="csX119" fmla="*/ 408519 w 732037"/>
              <a:gd name="csY119" fmla="*/ 105475 h 1571603"/>
              <a:gd name="csX120" fmla="*/ 408625 w 732037"/>
              <a:gd name="csY120" fmla="*/ 89203 h 1571603"/>
              <a:gd name="csX121" fmla="*/ 419600 w 732037"/>
              <a:gd name="csY121" fmla="*/ 71648 h 1571603"/>
              <a:gd name="csX122" fmla="*/ 418792 w 732037"/>
              <a:gd name="csY122" fmla="*/ 63179 h 1571603"/>
              <a:gd name="csX123" fmla="*/ 410943 w 732037"/>
              <a:gd name="csY123" fmla="*/ 66417 h 1571603"/>
              <a:gd name="csX124" fmla="*/ 400140 w 732037"/>
              <a:gd name="csY124" fmla="*/ 76155 h 1571603"/>
              <a:gd name="csX125" fmla="*/ 360599 w 732037"/>
              <a:gd name="csY125" fmla="*/ 51379 h 1571603"/>
              <a:gd name="csX126" fmla="*/ 360842 w 732037"/>
              <a:gd name="csY126" fmla="*/ 39128 h 1571603"/>
              <a:gd name="csX127" fmla="*/ 369470 w 732037"/>
              <a:gd name="csY127" fmla="*/ 30960 h 1571603"/>
              <a:gd name="csX128" fmla="*/ 365613 w 732037"/>
              <a:gd name="csY128" fmla="*/ 49108 h 1571603"/>
              <a:gd name="csX129" fmla="*/ 389468 w 732037"/>
              <a:gd name="csY129" fmla="*/ 71608 h 1571603"/>
              <a:gd name="csX130" fmla="*/ 408822 w 732037"/>
              <a:gd name="csY130" fmla="*/ 46613 h 1571603"/>
              <a:gd name="csX131" fmla="*/ 406842 w 732037"/>
              <a:gd name="csY131" fmla="*/ 38347 h 157160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</a:cxnLst>
            <a:rect l="l" t="t" r="r" b="b"/>
            <a:pathLst>
              <a:path w="732037" h="1571603">
                <a:moveTo>
                  <a:pt x="406842" y="38347"/>
                </a:moveTo>
                <a:cubicBezTo>
                  <a:pt x="408555" y="35869"/>
                  <a:pt x="410622" y="34608"/>
                  <a:pt x="411944" y="38343"/>
                </a:cubicBezTo>
                <a:cubicBezTo>
                  <a:pt x="413676" y="43242"/>
                  <a:pt x="414797" y="48356"/>
                  <a:pt x="416198" y="53444"/>
                </a:cubicBezTo>
                <a:cubicBezTo>
                  <a:pt x="422922" y="48977"/>
                  <a:pt x="424340" y="41699"/>
                  <a:pt x="418945" y="34170"/>
                </a:cubicBezTo>
                <a:cubicBezTo>
                  <a:pt x="412483" y="25152"/>
                  <a:pt x="404444" y="17554"/>
                  <a:pt x="394077" y="12943"/>
                </a:cubicBezTo>
                <a:cubicBezTo>
                  <a:pt x="376702" y="5216"/>
                  <a:pt x="358713" y="6244"/>
                  <a:pt x="341415" y="11814"/>
                </a:cubicBezTo>
                <a:cubicBezTo>
                  <a:pt x="323675" y="17525"/>
                  <a:pt x="304459" y="39816"/>
                  <a:pt x="309440" y="65249"/>
                </a:cubicBezTo>
                <a:cubicBezTo>
                  <a:pt x="310868" y="72543"/>
                  <a:pt x="315482" y="79463"/>
                  <a:pt x="319632" y="85914"/>
                </a:cubicBezTo>
                <a:cubicBezTo>
                  <a:pt x="325434" y="94933"/>
                  <a:pt x="325800" y="102817"/>
                  <a:pt x="318632" y="110015"/>
                </a:cubicBezTo>
                <a:cubicBezTo>
                  <a:pt x="291775" y="136984"/>
                  <a:pt x="269594" y="167702"/>
                  <a:pt x="246921" y="198083"/>
                </a:cubicBezTo>
                <a:cubicBezTo>
                  <a:pt x="230003" y="220751"/>
                  <a:pt x="215685" y="244921"/>
                  <a:pt x="202660" y="269911"/>
                </a:cubicBezTo>
                <a:cubicBezTo>
                  <a:pt x="188381" y="297309"/>
                  <a:pt x="179513" y="326657"/>
                  <a:pt x="176707" y="357233"/>
                </a:cubicBezTo>
                <a:cubicBezTo>
                  <a:pt x="174106" y="385578"/>
                  <a:pt x="180131" y="413140"/>
                  <a:pt x="190612" y="439700"/>
                </a:cubicBezTo>
                <a:cubicBezTo>
                  <a:pt x="199946" y="463353"/>
                  <a:pt x="211538" y="485623"/>
                  <a:pt x="227544" y="505527"/>
                </a:cubicBezTo>
                <a:cubicBezTo>
                  <a:pt x="229982" y="508558"/>
                  <a:pt x="230954" y="512768"/>
                  <a:pt x="232541" y="516294"/>
                </a:cubicBezTo>
                <a:cubicBezTo>
                  <a:pt x="229578" y="520824"/>
                  <a:pt x="226658" y="524724"/>
                  <a:pt x="224356" y="528960"/>
                </a:cubicBezTo>
                <a:cubicBezTo>
                  <a:pt x="221823" y="533618"/>
                  <a:pt x="222675" y="537588"/>
                  <a:pt x="227944" y="540026"/>
                </a:cubicBezTo>
                <a:cubicBezTo>
                  <a:pt x="231656" y="541743"/>
                  <a:pt x="235331" y="543568"/>
                  <a:pt x="238897" y="545570"/>
                </a:cubicBezTo>
                <a:cubicBezTo>
                  <a:pt x="249613" y="551585"/>
                  <a:pt x="251795" y="563681"/>
                  <a:pt x="242386" y="571785"/>
                </a:cubicBezTo>
                <a:cubicBezTo>
                  <a:pt x="233816" y="579166"/>
                  <a:pt x="224045" y="585423"/>
                  <a:pt x="214067" y="590809"/>
                </a:cubicBezTo>
                <a:cubicBezTo>
                  <a:pt x="206271" y="595018"/>
                  <a:pt x="202051" y="601487"/>
                  <a:pt x="201355" y="609067"/>
                </a:cubicBezTo>
                <a:cubicBezTo>
                  <a:pt x="200489" y="618497"/>
                  <a:pt x="195720" y="623726"/>
                  <a:pt x="188474" y="628398"/>
                </a:cubicBezTo>
                <a:cubicBezTo>
                  <a:pt x="177332" y="635582"/>
                  <a:pt x="167866" y="644503"/>
                  <a:pt x="162658" y="657096"/>
                </a:cubicBezTo>
                <a:cubicBezTo>
                  <a:pt x="156420" y="672181"/>
                  <a:pt x="160439" y="684301"/>
                  <a:pt x="175395" y="691621"/>
                </a:cubicBezTo>
                <a:cubicBezTo>
                  <a:pt x="183722" y="695697"/>
                  <a:pt x="192859" y="698589"/>
                  <a:pt x="201948" y="700523"/>
                </a:cubicBezTo>
                <a:cubicBezTo>
                  <a:pt x="214634" y="703224"/>
                  <a:pt x="227616" y="704530"/>
                  <a:pt x="241426" y="706574"/>
                </a:cubicBezTo>
                <a:cubicBezTo>
                  <a:pt x="241839" y="709770"/>
                  <a:pt x="242576" y="712857"/>
                  <a:pt x="242586" y="715946"/>
                </a:cubicBezTo>
                <a:cubicBezTo>
                  <a:pt x="242672" y="744610"/>
                  <a:pt x="243133" y="773285"/>
                  <a:pt x="242424" y="801932"/>
                </a:cubicBezTo>
                <a:cubicBezTo>
                  <a:pt x="242053" y="816907"/>
                  <a:pt x="239631" y="831838"/>
                  <a:pt x="238000" y="846774"/>
                </a:cubicBezTo>
                <a:cubicBezTo>
                  <a:pt x="236368" y="861717"/>
                  <a:pt x="234927" y="876693"/>
                  <a:pt x="232752" y="891559"/>
                </a:cubicBezTo>
                <a:cubicBezTo>
                  <a:pt x="229873" y="911238"/>
                  <a:pt x="226675" y="930882"/>
                  <a:pt x="223037" y="950433"/>
                </a:cubicBezTo>
                <a:cubicBezTo>
                  <a:pt x="219173" y="971193"/>
                  <a:pt x="215113" y="991942"/>
                  <a:pt x="210247" y="1012485"/>
                </a:cubicBezTo>
                <a:cubicBezTo>
                  <a:pt x="205743" y="1031500"/>
                  <a:pt x="200395" y="1050337"/>
                  <a:pt x="194820" y="1069074"/>
                </a:cubicBezTo>
                <a:cubicBezTo>
                  <a:pt x="185401" y="1100731"/>
                  <a:pt x="175708" y="1132311"/>
                  <a:pt x="165707" y="1163788"/>
                </a:cubicBezTo>
                <a:cubicBezTo>
                  <a:pt x="162367" y="1174302"/>
                  <a:pt x="156145" y="1182634"/>
                  <a:pt x="144382" y="1185530"/>
                </a:cubicBezTo>
                <a:cubicBezTo>
                  <a:pt x="139281" y="1186787"/>
                  <a:pt x="134434" y="1189193"/>
                  <a:pt x="129590" y="1191342"/>
                </a:cubicBezTo>
                <a:cubicBezTo>
                  <a:pt x="120028" y="1195581"/>
                  <a:pt x="118779" y="1198539"/>
                  <a:pt x="122255" y="1208476"/>
                </a:cubicBezTo>
                <a:cubicBezTo>
                  <a:pt x="123870" y="1213094"/>
                  <a:pt x="125990" y="1217542"/>
                  <a:pt x="127491" y="1222193"/>
                </a:cubicBezTo>
                <a:cubicBezTo>
                  <a:pt x="132294" y="1237066"/>
                  <a:pt x="129961" y="1250353"/>
                  <a:pt x="118348" y="1261470"/>
                </a:cubicBezTo>
                <a:cubicBezTo>
                  <a:pt x="98275" y="1280686"/>
                  <a:pt x="78038" y="1299737"/>
                  <a:pt x="58232" y="1319224"/>
                </a:cubicBezTo>
                <a:cubicBezTo>
                  <a:pt x="38634" y="1338507"/>
                  <a:pt x="29913" y="1362564"/>
                  <a:pt x="28815" y="1389717"/>
                </a:cubicBezTo>
                <a:cubicBezTo>
                  <a:pt x="28318" y="1402031"/>
                  <a:pt x="29110" y="1414206"/>
                  <a:pt x="32634" y="1426050"/>
                </a:cubicBezTo>
                <a:cubicBezTo>
                  <a:pt x="34273" y="1431554"/>
                  <a:pt x="33300" y="1435929"/>
                  <a:pt x="30331" y="1441003"/>
                </a:cubicBezTo>
                <a:cubicBezTo>
                  <a:pt x="16698" y="1464298"/>
                  <a:pt x="8890" y="1489397"/>
                  <a:pt x="9180" y="1516655"/>
                </a:cubicBezTo>
                <a:cubicBezTo>
                  <a:pt x="9291" y="1527012"/>
                  <a:pt x="9917" y="1528771"/>
                  <a:pt x="20082" y="1531402"/>
                </a:cubicBezTo>
                <a:cubicBezTo>
                  <a:pt x="38179" y="1536086"/>
                  <a:pt x="56480" y="1540035"/>
                  <a:pt x="74798" y="1543794"/>
                </a:cubicBezTo>
                <a:cubicBezTo>
                  <a:pt x="87517" y="1546403"/>
                  <a:pt x="100396" y="1548250"/>
                  <a:pt x="113225" y="1550305"/>
                </a:cubicBezTo>
                <a:cubicBezTo>
                  <a:pt x="120841" y="1551524"/>
                  <a:pt x="128467" y="1552843"/>
                  <a:pt x="136142" y="1553484"/>
                </a:cubicBezTo>
                <a:cubicBezTo>
                  <a:pt x="149934" y="1554635"/>
                  <a:pt x="163778" y="1555156"/>
                  <a:pt x="177578" y="1556220"/>
                </a:cubicBezTo>
                <a:cubicBezTo>
                  <a:pt x="195403" y="1557595"/>
                  <a:pt x="213196" y="1559407"/>
                  <a:pt x="231027" y="1560698"/>
                </a:cubicBezTo>
                <a:cubicBezTo>
                  <a:pt x="238768" y="1561259"/>
                  <a:pt x="246585" y="1560709"/>
                  <a:pt x="254342" y="1561142"/>
                </a:cubicBezTo>
                <a:cubicBezTo>
                  <a:pt x="322588" y="1564942"/>
                  <a:pt x="390896" y="1563427"/>
                  <a:pt x="459180" y="1563411"/>
                </a:cubicBezTo>
                <a:cubicBezTo>
                  <a:pt x="483236" y="1563406"/>
                  <a:pt x="507311" y="1562248"/>
                  <a:pt x="531340" y="1560936"/>
                </a:cubicBezTo>
                <a:cubicBezTo>
                  <a:pt x="551225" y="1559849"/>
                  <a:pt x="571160" y="1558554"/>
                  <a:pt x="590888" y="1555951"/>
                </a:cubicBezTo>
                <a:cubicBezTo>
                  <a:pt x="631179" y="1550635"/>
                  <a:pt x="671338" y="1544328"/>
                  <a:pt x="710712" y="1533916"/>
                </a:cubicBezTo>
                <a:cubicBezTo>
                  <a:pt x="722630" y="1530764"/>
                  <a:pt x="724036" y="1528558"/>
                  <a:pt x="724356" y="1516144"/>
                </a:cubicBezTo>
                <a:cubicBezTo>
                  <a:pt x="724970" y="1492256"/>
                  <a:pt x="718637" y="1470245"/>
                  <a:pt x="707380" y="1449380"/>
                </a:cubicBezTo>
                <a:cubicBezTo>
                  <a:pt x="706259" y="1447304"/>
                  <a:pt x="706896" y="1444279"/>
                  <a:pt x="707050" y="1440881"/>
                </a:cubicBezTo>
                <a:cubicBezTo>
                  <a:pt x="722747" y="1457101"/>
                  <a:pt x="728653" y="1477963"/>
                  <a:pt x="731479" y="1500017"/>
                </a:cubicBezTo>
                <a:cubicBezTo>
                  <a:pt x="731992" y="1504029"/>
                  <a:pt x="731781" y="1508135"/>
                  <a:pt x="731163" y="1513759"/>
                </a:cubicBezTo>
                <a:cubicBezTo>
                  <a:pt x="730831" y="1517468"/>
                  <a:pt x="731241" y="1519618"/>
                  <a:pt x="731650" y="1521766"/>
                </a:cubicBezTo>
                <a:cubicBezTo>
                  <a:pt x="733191" y="1529956"/>
                  <a:pt x="730165" y="1535242"/>
                  <a:pt x="721896" y="1537319"/>
                </a:cubicBezTo>
                <a:cubicBezTo>
                  <a:pt x="700520" y="1542690"/>
                  <a:pt x="679367" y="1549248"/>
                  <a:pt x="657740" y="1553265"/>
                </a:cubicBezTo>
                <a:cubicBezTo>
                  <a:pt x="608220" y="1562464"/>
                  <a:pt x="558146" y="1566701"/>
                  <a:pt x="507791" y="1568943"/>
                </a:cubicBezTo>
                <a:cubicBezTo>
                  <a:pt x="426738" y="1572552"/>
                  <a:pt x="345677" y="1572161"/>
                  <a:pt x="264676" y="1569724"/>
                </a:cubicBezTo>
                <a:cubicBezTo>
                  <a:pt x="203800" y="1567891"/>
                  <a:pt x="142882" y="1563907"/>
                  <a:pt x="82743" y="1553254"/>
                </a:cubicBezTo>
                <a:cubicBezTo>
                  <a:pt x="60647" y="1549341"/>
                  <a:pt x="38739" y="1544032"/>
                  <a:pt x="17072" y="1538153"/>
                </a:cubicBezTo>
                <a:cubicBezTo>
                  <a:pt x="1381" y="1533894"/>
                  <a:pt x="-938" y="1529341"/>
                  <a:pt x="275" y="1513030"/>
                </a:cubicBezTo>
                <a:cubicBezTo>
                  <a:pt x="2146" y="1487871"/>
                  <a:pt x="7321" y="1463566"/>
                  <a:pt x="20923" y="1441861"/>
                </a:cubicBezTo>
                <a:cubicBezTo>
                  <a:pt x="24812" y="1435656"/>
                  <a:pt x="24566" y="1429699"/>
                  <a:pt x="23045" y="1423105"/>
                </a:cubicBezTo>
                <a:cubicBezTo>
                  <a:pt x="16952" y="1396684"/>
                  <a:pt x="19689" y="1370924"/>
                  <a:pt x="30564" y="1346289"/>
                </a:cubicBezTo>
                <a:cubicBezTo>
                  <a:pt x="39621" y="1325774"/>
                  <a:pt x="54481" y="1309709"/>
                  <a:pt x="71350" y="1295039"/>
                </a:cubicBezTo>
                <a:cubicBezTo>
                  <a:pt x="85712" y="1282550"/>
                  <a:pt x="99164" y="1268932"/>
                  <a:pt x="112257" y="1255093"/>
                </a:cubicBezTo>
                <a:cubicBezTo>
                  <a:pt x="122891" y="1243852"/>
                  <a:pt x="124955" y="1230879"/>
                  <a:pt x="115864" y="1217271"/>
                </a:cubicBezTo>
                <a:cubicBezTo>
                  <a:pt x="114506" y="1215239"/>
                  <a:pt x="113304" y="1213078"/>
                  <a:pt x="112256" y="1210870"/>
                </a:cubicBezTo>
                <a:cubicBezTo>
                  <a:pt x="106526" y="1198808"/>
                  <a:pt x="109052" y="1191969"/>
                  <a:pt x="121141" y="1186548"/>
                </a:cubicBezTo>
                <a:cubicBezTo>
                  <a:pt x="126274" y="1184246"/>
                  <a:pt x="131201" y="1180803"/>
                  <a:pt x="136571" y="1179850"/>
                </a:cubicBezTo>
                <a:cubicBezTo>
                  <a:pt x="149372" y="1177579"/>
                  <a:pt x="154892" y="1168948"/>
                  <a:pt x="158281" y="1157879"/>
                </a:cubicBezTo>
                <a:cubicBezTo>
                  <a:pt x="168288" y="1125194"/>
                  <a:pt x="179178" y="1092742"/>
                  <a:pt x="187986" y="1059736"/>
                </a:cubicBezTo>
                <a:cubicBezTo>
                  <a:pt x="198666" y="1019713"/>
                  <a:pt x="207813" y="979272"/>
                  <a:pt x="217119" y="938896"/>
                </a:cubicBezTo>
                <a:cubicBezTo>
                  <a:pt x="220491" y="924267"/>
                  <a:pt x="222410" y="909302"/>
                  <a:pt x="225792" y="893236"/>
                </a:cubicBezTo>
                <a:cubicBezTo>
                  <a:pt x="226444" y="890644"/>
                  <a:pt x="226297" y="889307"/>
                  <a:pt x="226150" y="887970"/>
                </a:cubicBezTo>
                <a:cubicBezTo>
                  <a:pt x="227450" y="877085"/>
                  <a:pt x="228750" y="866198"/>
                  <a:pt x="230782" y="853969"/>
                </a:cubicBezTo>
                <a:cubicBezTo>
                  <a:pt x="231271" y="851270"/>
                  <a:pt x="231029" y="849914"/>
                  <a:pt x="230786" y="848558"/>
                </a:cubicBezTo>
                <a:cubicBezTo>
                  <a:pt x="231390" y="840967"/>
                  <a:pt x="231993" y="833375"/>
                  <a:pt x="233315" y="824438"/>
                </a:cubicBezTo>
                <a:cubicBezTo>
                  <a:pt x="233755" y="821744"/>
                  <a:pt x="233477" y="820397"/>
                  <a:pt x="233199" y="819050"/>
                </a:cubicBezTo>
                <a:cubicBezTo>
                  <a:pt x="233786" y="807422"/>
                  <a:pt x="234374" y="795794"/>
                  <a:pt x="235848" y="782380"/>
                </a:cubicBezTo>
                <a:cubicBezTo>
                  <a:pt x="237047" y="760099"/>
                  <a:pt x="237488" y="739606"/>
                  <a:pt x="237465" y="719113"/>
                </a:cubicBezTo>
                <a:cubicBezTo>
                  <a:pt x="237463" y="717127"/>
                  <a:pt x="234595" y="715144"/>
                  <a:pt x="233057" y="713160"/>
                </a:cubicBezTo>
                <a:cubicBezTo>
                  <a:pt x="223043" y="711630"/>
                  <a:pt x="212881" y="710731"/>
                  <a:pt x="203056" y="708405"/>
                </a:cubicBezTo>
                <a:cubicBezTo>
                  <a:pt x="191716" y="705720"/>
                  <a:pt x="180144" y="702931"/>
                  <a:pt x="169628" y="698106"/>
                </a:cubicBezTo>
                <a:cubicBezTo>
                  <a:pt x="154505" y="691164"/>
                  <a:pt x="148867" y="675179"/>
                  <a:pt x="153237" y="659111"/>
                </a:cubicBezTo>
                <a:cubicBezTo>
                  <a:pt x="157196" y="644561"/>
                  <a:pt x="166649" y="634454"/>
                  <a:pt x="178365" y="626008"/>
                </a:cubicBezTo>
                <a:cubicBezTo>
                  <a:pt x="182258" y="623202"/>
                  <a:pt x="186579" y="620992"/>
                  <a:pt x="191885" y="617513"/>
                </a:cubicBezTo>
                <a:cubicBezTo>
                  <a:pt x="194882" y="614532"/>
                  <a:pt x="197062" y="612583"/>
                  <a:pt x="193681" y="610098"/>
                </a:cubicBezTo>
                <a:cubicBezTo>
                  <a:pt x="193381" y="595591"/>
                  <a:pt x="202034" y="586776"/>
                  <a:pt x="213301" y="579885"/>
                </a:cubicBezTo>
                <a:cubicBezTo>
                  <a:pt x="218517" y="576695"/>
                  <a:pt x="224270" y="574393"/>
                  <a:pt x="229635" y="571429"/>
                </a:cubicBezTo>
                <a:cubicBezTo>
                  <a:pt x="232401" y="569901"/>
                  <a:pt x="235344" y="568225"/>
                  <a:pt x="237351" y="565882"/>
                </a:cubicBezTo>
                <a:cubicBezTo>
                  <a:pt x="243193" y="559063"/>
                  <a:pt x="242021" y="554779"/>
                  <a:pt x="233673" y="550926"/>
                </a:cubicBezTo>
                <a:cubicBezTo>
                  <a:pt x="231458" y="549904"/>
                  <a:pt x="229049" y="549314"/>
                  <a:pt x="226799" y="548359"/>
                </a:cubicBezTo>
                <a:cubicBezTo>
                  <a:pt x="215108" y="543398"/>
                  <a:pt x="211118" y="532802"/>
                  <a:pt x="218639" y="522664"/>
                </a:cubicBezTo>
                <a:cubicBezTo>
                  <a:pt x="223647" y="515913"/>
                  <a:pt x="222661" y="511633"/>
                  <a:pt x="218264" y="505463"/>
                </a:cubicBezTo>
                <a:cubicBezTo>
                  <a:pt x="203255" y="484407"/>
                  <a:pt x="190650" y="461993"/>
                  <a:pt x="181762" y="437574"/>
                </a:cubicBezTo>
                <a:cubicBezTo>
                  <a:pt x="163530" y="387483"/>
                  <a:pt x="165826" y="338057"/>
                  <a:pt x="185971" y="289069"/>
                </a:cubicBezTo>
                <a:cubicBezTo>
                  <a:pt x="202921" y="247851"/>
                  <a:pt x="226229" y="210377"/>
                  <a:pt x="253787" y="175580"/>
                </a:cubicBezTo>
                <a:cubicBezTo>
                  <a:pt x="271814" y="152817"/>
                  <a:pt x="290973" y="130951"/>
                  <a:pt x="309639" y="108695"/>
                </a:cubicBezTo>
                <a:cubicBezTo>
                  <a:pt x="312744" y="104993"/>
                  <a:pt x="315922" y="101352"/>
                  <a:pt x="318061" y="98855"/>
                </a:cubicBezTo>
                <a:cubicBezTo>
                  <a:pt x="313257" y="88362"/>
                  <a:pt x="308695" y="79376"/>
                  <a:pt x="304967" y="70056"/>
                </a:cubicBezTo>
                <a:cubicBezTo>
                  <a:pt x="297146" y="50504"/>
                  <a:pt x="303366" y="33481"/>
                  <a:pt x="317012" y="19436"/>
                </a:cubicBezTo>
                <a:cubicBezTo>
                  <a:pt x="344741" y="-9105"/>
                  <a:pt x="393463" y="-3345"/>
                  <a:pt x="415542" y="18221"/>
                </a:cubicBezTo>
                <a:cubicBezTo>
                  <a:pt x="429559" y="31914"/>
                  <a:pt x="438373" y="56968"/>
                  <a:pt x="423203" y="82660"/>
                </a:cubicBezTo>
                <a:cubicBezTo>
                  <a:pt x="420306" y="87568"/>
                  <a:pt x="417047" y="92262"/>
                  <a:pt x="413361" y="97975"/>
                </a:cubicBezTo>
                <a:cubicBezTo>
                  <a:pt x="416167" y="100932"/>
                  <a:pt x="418781" y="103940"/>
                  <a:pt x="421654" y="106676"/>
                </a:cubicBezTo>
                <a:cubicBezTo>
                  <a:pt x="446372" y="130213"/>
                  <a:pt x="467902" y="156374"/>
                  <a:pt x="487032" y="184632"/>
                </a:cubicBezTo>
                <a:cubicBezTo>
                  <a:pt x="492374" y="192525"/>
                  <a:pt x="493990" y="199495"/>
                  <a:pt x="489213" y="208238"/>
                </a:cubicBezTo>
                <a:cubicBezTo>
                  <a:pt x="484525" y="216819"/>
                  <a:pt x="481033" y="226053"/>
                  <a:pt x="476520" y="235738"/>
                </a:cubicBezTo>
                <a:cubicBezTo>
                  <a:pt x="472168" y="236089"/>
                  <a:pt x="471165" y="234358"/>
                  <a:pt x="472850" y="230703"/>
                </a:cubicBezTo>
                <a:cubicBezTo>
                  <a:pt x="476263" y="223297"/>
                  <a:pt x="479344" y="215738"/>
                  <a:pt x="482723" y="208315"/>
                </a:cubicBezTo>
                <a:cubicBezTo>
                  <a:pt x="486016" y="201080"/>
                  <a:pt x="485571" y="194961"/>
                  <a:pt x="480764" y="187916"/>
                </a:cubicBezTo>
                <a:cubicBezTo>
                  <a:pt x="459995" y="157475"/>
                  <a:pt x="437234" y="128912"/>
                  <a:pt x="408519" y="105475"/>
                </a:cubicBezTo>
                <a:cubicBezTo>
                  <a:pt x="403555" y="101425"/>
                  <a:pt x="403835" y="96489"/>
                  <a:pt x="408625" y="89203"/>
                </a:cubicBezTo>
                <a:cubicBezTo>
                  <a:pt x="412416" y="83438"/>
                  <a:pt x="416045" y="77562"/>
                  <a:pt x="419600" y="71648"/>
                </a:cubicBezTo>
                <a:cubicBezTo>
                  <a:pt x="421349" y="68739"/>
                  <a:pt x="422717" y="65537"/>
                  <a:pt x="418792" y="63179"/>
                </a:cubicBezTo>
                <a:cubicBezTo>
                  <a:pt x="414834" y="60801"/>
                  <a:pt x="413218" y="63883"/>
                  <a:pt x="410943" y="66417"/>
                </a:cubicBezTo>
                <a:cubicBezTo>
                  <a:pt x="407706" y="70022"/>
                  <a:pt x="404330" y="74045"/>
                  <a:pt x="400140" y="76155"/>
                </a:cubicBezTo>
                <a:cubicBezTo>
                  <a:pt x="381561" y="85507"/>
                  <a:pt x="360821" y="72312"/>
                  <a:pt x="360599" y="51379"/>
                </a:cubicBezTo>
                <a:cubicBezTo>
                  <a:pt x="360556" y="47292"/>
                  <a:pt x="360308" y="43152"/>
                  <a:pt x="360842" y="39128"/>
                </a:cubicBezTo>
                <a:cubicBezTo>
                  <a:pt x="361447" y="34568"/>
                  <a:pt x="362880" y="30159"/>
                  <a:pt x="369470" y="30960"/>
                </a:cubicBezTo>
                <a:cubicBezTo>
                  <a:pt x="368501" y="37551"/>
                  <a:pt x="365745" y="43300"/>
                  <a:pt x="365613" y="49108"/>
                </a:cubicBezTo>
                <a:cubicBezTo>
                  <a:pt x="365328" y="61659"/>
                  <a:pt x="377498" y="72522"/>
                  <a:pt x="389468" y="71608"/>
                </a:cubicBezTo>
                <a:cubicBezTo>
                  <a:pt x="401478" y="70690"/>
                  <a:pt x="410127" y="59637"/>
                  <a:pt x="408822" y="46613"/>
                </a:cubicBezTo>
                <a:cubicBezTo>
                  <a:pt x="408542" y="43819"/>
                  <a:pt x="407521" y="41100"/>
                  <a:pt x="406842" y="38347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60" name="Free-form: Shape 259">
            <a:extLst>
              <a:ext uri="{FF2B5EF4-FFF2-40B4-BE49-F238E27FC236}">
                <a16:creationId xmlns:a16="http://schemas.microsoft.com/office/drawing/2014/main" id="{BAB683FB-E490-ADBB-9C77-8B12B1AC9B0E}"/>
              </a:ext>
            </a:extLst>
          </p:cNvPr>
          <p:cNvSpPr/>
          <p:nvPr/>
        </p:nvSpPr>
        <p:spPr>
          <a:xfrm>
            <a:off x="5444293" y="5472025"/>
            <a:ext cx="91545" cy="184495"/>
          </a:xfrm>
          <a:custGeom>
            <a:avLst/>
            <a:gdLst>
              <a:gd name="csX0" fmla="*/ 96534 w 100699"/>
              <a:gd name="csY0" fmla="*/ 202912 h 202945"/>
              <a:gd name="csX1" fmla="*/ 91036 w 100699"/>
              <a:gd name="csY1" fmla="*/ 196780 h 202945"/>
              <a:gd name="csX2" fmla="*/ 93357 w 100699"/>
              <a:gd name="csY2" fmla="*/ 178731 h 202945"/>
              <a:gd name="csX3" fmla="*/ 75903 w 100699"/>
              <a:gd name="csY3" fmla="*/ 106029 h 202945"/>
              <a:gd name="csX4" fmla="*/ 72780 w 100699"/>
              <a:gd name="csY4" fmla="*/ 102473 h 202945"/>
              <a:gd name="csX5" fmla="*/ 10982 w 100699"/>
              <a:gd name="csY5" fmla="*/ 41414 h 202945"/>
              <a:gd name="csX6" fmla="*/ 676 w 100699"/>
              <a:gd name="csY6" fmla="*/ 2936 h 202945"/>
              <a:gd name="csX7" fmla="*/ 5198 w 100699"/>
              <a:gd name="csY7" fmla="*/ 0 h 202945"/>
              <a:gd name="csX8" fmla="*/ 15435 w 100699"/>
              <a:gd name="csY8" fmla="*/ 35855 h 202945"/>
              <a:gd name="csX9" fmla="*/ 44498 w 100699"/>
              <a:gd name="csY9" fmla="*/ 63833 h 202945"/>
              <a:gd name="csX10" fmla="*/ 81385 w 100699"/>
              <a:gd name="csY10" fmla="*/ 106005 h 202945"/>
              <a:gd name="csX11" fmla="*/ 98950 w 100699"/>
              <a:gd name="csY11" fmla="*/ 190063 h 202945"/>
              <a:gd name="csX12" fmla="*/ 96534 w 100699"/>
              <a:gd name="csY12" fmla="*/ 202912 h 20294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</a:cxnLst>
            <a:rect l="l" t="t" r="r" b="b"/>
            <a:pathLst>
              <a:path w="100699" h="202945">
                <a:moveTo>
                  <a:pt x="96534" y="202912"/>
                </a:moveTo>
                <a:cubicBezTo>
                  <a:pt x="91699" y="203291"/>
                  <a:pt x="90650" y="200377"/>
                  <a:pt x="91036" y="196780"/>
                </a:cubicBezTo>
                <a:cubicBezTo>
                  <a:pt x="91685" y="190750"/>
                  <a:pt x="92933" y="184771"/>
                  <a:pt x="93357" y="178731"/>
                </a:cubicBezTo>
                <a:cubicBezTo>
                  <a:pt x="95183" y="152694"/>
                  <a:pt x="86034" y="129222"/>
                  <a:pt x="75903" y="106029"/>
                </a:cubicBezTo>
                <a:cubicBezTo>
                  <a:pt x="75300" y="104650"/>
                  <a:pt x="73904" y="103585"/>
                  <a:pt x="72780" y="102473"/>
                </a:cubicBezTo>
                <a:cubicBezTo>
                  <a:pt x="52199" y="82101"/>
                  <a:pt x="31673" y="61673"/>
                  <a:pt x="10982" y="41414"/>
                </a:cubicBezTo>
                <a:cubicBezTo>
                  <a:pt x="-119" y="30544"/>
                  <a:pt x="-1041" y="17093"/>
                  <a:pt x="676" y="2936"/>
                </a:cubicBezTo>
                <a:cubicBezTo>
                  <a:pt x="808" y="1852"/>
                  <a:pt x="2922" y="1010"/>
                  <a:pt x="5198" y="0"/>
                </a:cubicBezTo>
                <a:cubicBezTo>
                  <a:pt x="2043" y="13772"/>
                  <a:pt x="5665" y="25821"/>
                  <a:pt x="15435" y="35855"/>
                </a:cubicBezTo>
                <a:cubicBezTo>
                  <a:pt x="24811" y="45486"/>
                  <a:pt x="35301" y="54047"/>
                  <a:pt x="44498" y="63833"/>
                </a:cubicBezTo>
                <a:cubicBezTo>
                  <a:pt x="57293" y="77447"/>
                  <a:pt x="70760" y="90773"/>
                  <a:pt x="81385" y="106005"/>
                </a:cubicBezTo>
                <a:cubicBezTo>
                  <a:pt x="98896" y="131109"/>
                  <a:pt x="103759" y="159808"/>
                  <a:pt x="98950" y="190063"/>
                </a:cubicBezTo>
                <a:cubicBezTo>
                  <a:pt x="98311" y="194082"/>
                  <a:pt x="97697" y="198105"/>
                  <a:pt x="96534" y="202912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61" name="Free-form: Shape 260">
            <a:extLst>
              <a:ext uri="{FF2B5EF4-FFF2-40B4-BE49-F238E27FC236}">
                <a16:creationId xmlns:a16="http://schemas.microsoft.com/office/drawing/2014/main" id="{4BC6B5BF-5F79-EBA2-D9EE-03823EC5E141}"/>
              </a:ext>
            </a:extLst>
          </p:cNvPr>
          <p:cNvSpPr/>
          <p:nvPr/>
        </p:nvSpPr>
        <p:spPr>
          <a:xfrm>
            <a:off x="5103009" y="5007989"/>
            <a:ext cx="3739" cy="60936"/>
          </a:xfrm>
          <a:custGeom>
            <a:avLst/>
            <a:gdLst>
              <a:gd name="csX0" fmla="*/ 0 w 4113"/>
              <a:gd name="csY0" fmla="*/ 0 h 67029"/>
              <a:gd name="csX1" fmla="*/ 4113 w 4113"/>
              <a:gd name="csY1" fmla="*/ 4824 h 67029"/>
              <a:gd name="csX2" fmla="*/ 2662 w 4113"/>
              <a:gd name="csY2" fmla="*/ 67030 h 67029"/>
              <a:gd name="csX3" fmla="*/ 631 w 4113"/>
              <a:gd name="csY3" fmla="*/ 55883 h 67029"/>
              <a:gd name="csX4" fmla="*/ 0 w 4113"/>
              <a:gd name="csY4" fmla="*/ 0 h 6702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4113" h="67029">
                <a:moveTo>
                  <a:pt x="0" y="0"/>
                </a:moveTo>
                <a:cubicBezTo>
                  <a:pt x="1242" y="855"/>
                  <a:pt x="4111" y="2838"/>
                  <a:pt x="4113" y="4824"/>
                </a:cubicBezTo>
                <a:cubicBezTo>
                  <a:pt x="4135" y="25317"/>
                  <a:pt x="3695" y="45810"/>
                  <a:pt x="2662" y="67030"/>
                </a:cubicBezTo>
                <a:cubicBezTo>
                  <a:pt x="1483" y="63799"/>
                  <a:pt x="680" y="59846"/>
                  <a:pt x="631" y="55883"/>
                </a:cubicBezTo>
                <a:cubicBezTo>
                  <a:pt x="404" y="37633"/>
                  <a:pt x="388" y="19381"/>
                  <a:pt x="0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62" name="Free-form: Shape 261">
            <a:extLst>
              <a:ext uri="{FF2B5EF4-FFF2-40B4-BE49-F238E27FC236}">
                <a16:creationId xmlns:a16="http://schemas.microsoft.com/office/drawing/2014/main" id="{0BDCCC96-E691-37F8-AD63-D0DE4ED2329B}"/>
              </a:ext>
            </a:extLst>
          </p:cNvPr>
          <p:cNvSpPr/>
          <p:nvPr/>
        </p:nvSpPr>
        <p:spPr>
          <a:xfrm>
            <a:off x="5555398" y="5735789"/>
            <a:ext cx="1060" cy="5803"/>
          </a:xfrm>
          <a:custGeom>
            <a:avLst/>
            <a:gdLst>
              <a:gd name="csX0" fmla="*/ 1130 w 1165"/>
              <a:gd name="csY0" fmla="*/ 6385 h 6384"/>
              <a:gd name="csX1" fmla="*/ 49 w 1165"/>
              <a:gd name="csY1" fmla="*/ 0 h 6384"/>
              <a:gd name="csX2" fmla="*/ 1130 w 1165"/>
              <a:gd name="csY2" fmla="*/ 6385 h 638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165" h="6384">
                <a:moveTo>
                  <a:pt x="1130" y="6385"/>
                </a:moveTo>
                <a:cubicBezTo>
                  <a:pt x="260" y="4748"/>
                  <a:pt x="-149" y="2599"/>
                  <a:pt x="49" y="0"/>
                </a:cubicBezTo>
                <a:cubicBezTo>
                  <a:pt x="969" y="1658"/>
                  <a:pt x="1279" y="3765"/>
                  <a:pt x="1130" y="6385"/>
                </a:cubicBezTo>
                <a:close/>
              </a:path>
            </a:pathLst>
          </a:custGeom>
          <a:solidFill>
            <a:srgbClr val="939B9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63" name="Free-form: Shape 262">
            <a:extLst>
              <a:ext uri="{FF2B5EF4-FFF2-40B4-BE49-F238E27FC236}">
                <a16:creationId xmlns:a16="http://schemas.microsoft.com/office/drawing/2014/main" id="{0D9775EA-3DAA-7393-EB99-5E51EB35185D}"/>
              </a:ext>
            </a:extLst>
          </p:cNvPr>
          <p:cNvSpPr/>
          <p:nvPr/>
        </p:nvSpPr>
        <p:spPr>
          <a:xfrm>
            <a:off x="5525669" y="5661694"/>
            <a:ext cx="5440" cy="2491"/>
          </a:xfrm>
          <a:custGeom>
            <a:avLst/>
            <a:gdLst>
              <a:gd name="csX0" fmla="*/ 5985 w 5984"/>
              <a:gd name="csY0" fmla="*/ 1832 h 2740"/>
              <a:gd name="csX1" fmla="*/ 0 w 5984"/>
              <a:gd name="csY1" fmla="*/ 2740 h 2740"/>
              <a:gd name="csX2" fmla="*/ 4930 w 5984"/>
              <a:gd name="csY2" fmla="*/ 0 h 2740"/>
              <a:gd name="csX3" fmla="*/ 5985 w 5984"/>
              <a:gd name="csY3" fmla="*/ 1832 h 274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</a:cxnLst>
            <a:rect l="l" t="t" r="r" b="b"/>
            <a:pathLst>
              <a:path w="5984" h="2740">
                <a:moveTo>
                  <a:pt x="5985" y="1832"/>
                </a:moveTo>
                <a:cubicBezTo>
                  <a:pt x="3992" y="2553"/>
                  <a:pt x="1996" y="2646"/>
                  <a:pt x="0" y="2740"/>
                </a:cubicBezTo>
                <a:cubicBezTo>
                  <a:pt x="1398" y="1830"/>
                  <a:pt x="2796" y="920"/>
                  <a:pt x="4930" y="0"/>
                </a:cubicBezTo>
                <a:cubicBezTo>
                  <a:pt x="5772" y="394"/>
                  <a:pt x="5877" y="799"/>
                  <a:pt x="5985" y="1832"/>
                </a:cubicBezTo>
                <a:close/>
              </a:path>
            </a:pathLst>
          </a:custGeom>
          <a:solidFill>
            <a:srgbClr val="8E9395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64" name="Free-form: Shape 263">
            <a:extLst>
              <a:ext uri="{FF2B5EF4-FFF2-40B4-BE49-F238E27FC236}">
                <a16:creationId xmlns:a16="http://schemas.microsoft.com/office/drawing/2014/main" id="{6E0959D9-FF49-A947-929D-DB00195726E3}"/>
              </a:ext>
            </a:extLst>
          </p:cNvPr>
          <p:cNvSpPr/>
          <p:nvPr/>
        </p:nvSpPr>
        <p:spPr>
          <a:xfrm>
            <a:off x="5065782" y="4913809"/>
            <a:ext cx="2645" cy="5625"/>
          </a:xfrm>
          <a:custGeom>
            <a:avLst/>
            <a:gdLst>
              <a:gd name="csX0" fmla="*/ 815 w 2910"/>
              <a:gd name="csY0" fmla="*/ 0 h 6187"/>
              <a:gd name="csX1" fmla="*/ 113 w 2910"/>
              <a:gd name="csY1" fmla="*/ 6187 h 6187"/>
              <a:gd name="csX2" fmla="*/ 815 w 2910"/>
              <a:gd name="csY2" fmla="*/ 0 h 618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2910" h="6187">
                <a:moveTo>
                  <a:pt x="815" y="0"/>
                </a:moveTo>
                <a:cubicBezTo>
                  <a:pt x="4660" y="1891"/>
                  <a:pt x="2480" y="3840"/>
                  <a:pt x="113" y="6187"/>
                </a:cubicBezTo>
                <a:cubicBezTo>
                  <a:pt x="-172" y="4565"/>
                  <a:pt x="89" y="2579"/>
                  <a:pt x="815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65" name="Free-form: Shape 264">
            <a:extLst>
              <a:ext uri="{FF2B5EF4-FFF2-40B4-BE49-F238E27FC236}">
                <a16:creationId xmlns:a16="http://schemas.microsoft.com/office/drawing/2014/main" id="{FB59572F-B866-E1FE-B3B1-E8B50E8DE144}"/>
              </a:ext>
            </a:extLst>
          </p:cNvPr>
          <p:cNvSpPr/>
          <p:nvPr/>
        </p:nvSpPr>
        <p:spPr>
          <a:xfrm>
            <a:off x="5100197" y="5130383"/>
            <a:ext cx="770" cy="3664"/>
          </a:xfrm>
          <a:custGeom>
            <a:avLst/>
            <a:gdLst>
              <a:gd name="csX0" fmla="*/ 106 w 847"/>
              <a:gd name="csY0" fmla="*/ 0 h 4030"/>
              <a:gd name="csX1" fmla="*/ 732 w 847"/>
              <a:gd name="csY1" fmla="*/ 4031 h 4030"/>
              <a:gd name="csX2" fmla="*/ 106 w 847"/>
              <a:gd name="csY2" fmla="*/ 0 h 403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7" h="4030">
                <a:moveTo>
                  <a:pt x="106" y="0"/>
                </a:moveTo>
                <a:cubicBezTo>
                  <a:pt x="770" y="990"/>
                  <a:pt x="1013" y="2346"/>
                  <a:pt x="732" y="4031"/>
                </a:cubicBezTo>
                <a:cubicBezTo>
                  <a:pt x="34" y="3029"/>
                  <a:pt x="-141" y="1697"/>
                  <a:pt x="106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66" name="Free-form: Shape 265">
            <a:extLst>
              <a:ext uri="{FF2B5EF4-FFF2-40B4-BE49-F238E27FC236}">
                <a16:creationId xmlns:a16="http://schemas.microsoft.com/office/drawing/2014/main" id="{BEB717B8-621F-9C87-C53C-85DD1CFF25CF}"/>
              </a:ext>
            </a:extLst>
          </p:cNvPr>
          <p:cNvSpPr/>
          <p:nvPr/>
        </p:nvSpPr>
        <p:spPr>
          <a:xfrm>
            <a:off x="5095873" y="5166177"/>
            <a:ext cx="703" cy="3631"/>
          </a:xfrm>
          <a:custGeom>
            <a:avLst/>
            <a:gdLst>
              <a:gd name="csX0" fmla="*/ 195 w 774"/>
              <a:gd name="csY0" fmla="*/ 0 h 3994"/>
              <a:gd name="csX1" fmla="*/ 575 w 774"/>
              <a:gd name="csY1" fmla="*/ 3994 h 3994"/>
              <a:gd name="csX2" fmla="*/ 195 w 774"/>
              <a:gd name="csY2" fmla="*/ 0 h 399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774" h="3994">
                <a:moveTo>
                  <a:pt x="195" y="0"/>
                </a:moveTo>
                <a:cubicBezTo>
                  <a:pt x="794" y="1011"/>
                  <a:pt x="941" y="2348"/>
                  <a:pt x="575" y="3994"/>
                </a:cubicBezTo>
                <a:cubicBezTo>
                  <a:pt x="-44" y="2978"/>
                  <a:pt x="-151" y="1652"/>
                  <a:pt x="195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67" name="Free-form: Shape 266">
            <a:extLst>
              <a:ext uri="{FF2B5EF4-FFF2-40B4-BE49-F238E27FC236}">
                <a16:creationId xmlns:a16="http://schemas.microsoft.com/office/drawing/2014/main" id="{D0C7F45F-DC38-CF97-B14E-184A7F12E32D}"/>
              </a:ext>
            </a:extLst>
          </p:cNvPr>
          <p:cNvSpPr/>
          <p:nvPr/>
        </p:nvSpPr>
        <p:spPr>
          <a:xfrm>
            <a:off x="5102450" y="5103573"/>
            <a:ext cx="787" cy="3631"/>
          </a:xfrm>
          <a:custGeom>
            <a:avLst/>
            <a:gdLst>
              <a:gd name="csX0" fmla="*/ 71 w 865"/>
              <a:gd name="csY0" fmla="*/ 0 h 3995"/>
              <a:gd name="csX1" fmla="*/ 783 w 865"/>
              <a:gd name="csY1" fmla="*/ 3996 h 3995"/>
              <a:gd name="csX2" fmla="*/ 71 w 865"/>
              <a:gd name="csY2" fmla="*/ 0 h 399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65" h="3995">
                <a:moveTo>
                  <a:pt x="71" y="0"/>
                </a:moveTo>
                <a:cubicBezTo>
                  <a:pt x="740" y="963"/>
                  <a:pt x="1018" y="2311"/>
                  <a:pt x="783" y="3996"/>
                </a:cubicBezTo>
                <a:cubicBezTo>
                  <a:pt x="73" y="3017"/>
                  <a:pt x="-124" y="1701"/>
                  <a:pt x="71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68" name="Free-form: Shape 267">
            <a:extLst>
              <a:ext uri="{FF2B5EF4-FFF2-40B4-BE49-F238E27FC236}">
                <a16:creationId xmlns:a16="http://schemas.microsoft.com/office/drawing/2014/main" id="{193AA305-7A4E-41C7-5FD8-4A9B74A8563F}"/>
              </a:ext>
            </a:extLst>
          </p:cNvPr>
          <p:cNvSpPr/>
          <p:nvPr/>
        </p:nvSpPr>
        <p:spPr>
          <a:xfrm>
            <a:off x="5220754" y="5007599"/>
            <a:ext cx="170236" cy="426821"/>
          </a:xfrm>
          <a:custGeom>
            <a:avLst/>
            <a:gdLst>
              <a:gd name="csX0" fmla="*/ 120604 w 187260"/>
              <a:gd name="csY0" fmla="*/ 222968 h 469503"/>
              <a:gd name="csX1" fmla="*/ 187261 w 187260"/>
              <a:gd name="csY1" fmla="*/ 469503 h 469503"/>
              <a:gd name="csX2" fmla="*/ 1253 w 187260"/>
              <a:gd name="csY2" fmla="*/ 466078 h 469503"/>
              <a:gd name="csX3" fmla="*/ 8 w 187260"/>
              <a:gd name="csY3" fmla="*/ 458101 h 469503"/>
              <a:gd name="csX4" fmla="*/ 4383 w 187260"/>
              <a:gd name="csY4" fmla="*/ 351443 h 469503"/>
              <a:gd name="csX5" fmla="*/ 4615 w 187260"/>
              <a:gd name="csY5" fmla="*/ 346536 h 469503"/>
              <a:gd name="csX6" fmla="*/ 7935 w 187260"/>
              <a:gd name="csY6" fmla="*/ 233648 h 469503"/>
              <a:gd name="csX7" fmla="*/ 10461 w 187260"/>
              <a:gd name="csY7" fmla="*/ 128112 h 469503"/>
              <a:gd name="csX8" fmla="*/ 12461 w 187260"/>
              <a:gd name="csY8" fmla="*/ 12750 h 469503"/>
              <a:gd name="csX9" fmla="*/ 13165 w 187260"/>
              <a:gd name="csY9" fmla="*/ 4285 h 469503"/>
              <a:gd name="csX10" fmla="*/ 102327 w 187260"/>
              <a:gd name="csY10" fmla="*/ 0 h 469503"/>
              <a:gd name="csX11" fmla="*/ 106229 w 187260"/>
              <a:gd name="csY11" fmla="*/ 111321 h 469503"/>
              <a:gd name="csX12" fmla="*/ 120604 w 187260"/>
              <a:gd name="csY12" fmla="*/ 222968 h 46950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</a:cxnLst>
            <a:rect l="l" t="t" r="r" b="b"/>
            <a:pathLst>
              <a:path w="187260" h="469503">
                <a:moveTo>
                  <a:pt x="120604" y="222968"/>
                </a:moveTo>
                <a:cubicBezTo>
                  <a:pt x="135383" y="307129"/>
                  <a:pt x="159464" y="387725"/>
                  <a:pt x="187261" y="469503"/>
                </a:cubicBezTo>
                <a:cubicBezTo>
                  <a:pt x="124460" y="468347"/>
                  <a:pt x="63286" y="467220"/>
                  <a:pt x="1253" y="466078"/>
                </a:cubicBezTo>
                <a:cubicBezTo>
                  <a:pt x="818" y="463442"/>
                  <a:pt x="-95" y="460752"/>
                  <a:pt x="8" y="458101"/>
                </a:cubicBezTo>
                <a:cubicBezTo>
                  <a:pt x="1383" y="422545"/>
                  <a:pt x="2900" y="386994"/>
                  <a:pt x="4383" y="351443"/>
                </a:cubicBezTo>
                <a:cubicBezTo>
                  <a:pt x="4451" y="349807"/>
                  <a:pt x="4566" y="348172"/>
                  <a:pt x="4615" y="346536"/>
                </a:cubicBezTo>
                <a:cubicBezTo>
                  <a:pt x="5732" y="308907"/>
                  <a:pt x="6921" y="271280"/>
                  <a:pt x="7935" y="233648"/>
                </a:cubicBezTo>
                <a:cubicBezTo>
                  <a:pt x="8883" y="198472"/>
                  <a:pt x="9752" y="163293"/>
                  <a:pt x="10461" y="128112"/>
                </a:cubicBezTo>
                <a:cubicBezTo>
                  <a:pt x="11237" y="89660"/>
                  <a:pt x="11781" y="51204"/>
                  <a:pt x="12461" y="12750"/>
                </a:cubicBezTo>
                <a:cubicBezTo>
                  <a:pt x="12503" y="10363"/>
                  <a:pt x="12848" y="7981"/>
                  <a:pt x="13165" y="4285"/>
                </a:cubicBezTo>
                <a:cubicBezTo>
                  <a:pt x="42856" y="2858"/>
                  <a:pt x="72082" y="1454"/>
                  <a:pt x="102327" y="0"/>
                </a:cubicBezTo>
                <a:cubicBezTo>
                  <a:pt x="103499" y="37348"/>
                  <a:pt x="103207" y="74470"/>
                  <a:pt x="106229" y="111321"/>
                </a:cubicBezTo>
                <a:cubicBezTo>
                  <a:pt x="109263" y="148326"/>
                  <a:pt x="115599" y="185060"/>
                  <a:pt x="120604" y="222968"/>
                </a:cubicBezTo>
                <a:close/>
              </a:path>
            </a:pathLst>
          </a:custGeom>
          <a:solidFill>
            <a:srgbClr val="FDFDFD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69" name="Free-form: Shape 268">
            <a:extLst>
              <a:ext uri="{FF2B5EF4-FFF2-40B4-BE49-F238E27FC236}">
                <a16:creationId xmlns:a16="http://schemas.microsoft.com/office/drawing/2014/main" id="{070A3139-BEAA-D88F-ECAB-DAB6DAB966A4}"/>
              </a:ext>
            </a:extLst>
          </p:cNvPr>
          <p:cNvSpPr/>
          <p:nvPr/>
        </p:nvSpPr>
        <p:spPr>
          <a:xfrm>
            <a:off x="5219561" y="5474351"/>
            <a:ext cx="284824" cy="179974"/>
          </a:xfrm>
          <a:custGeom>
            <a:avLst/>
            <a:gdLst>
              <a:gd name="csX0" fmla="*/ 160234 w 313306"/>
              <a:gd name="csY0" fmla="*/ 197876 h 197971"/>
              <a:gd name="csX1" fmla="*/ 544 w 313306"/>
              <a:gd name="csY1" fmla="*/ 197972 h 197971"/>
              <a:gd name="csX2" fmla="*/ 3466 w 313306"/>
              <a:gd name="csY2" fmla="*/ 104326 h 197971"/>
              <a:gd name="csX3" fmla="*/ 0 w 313306"/>
              <a:gd name="csY3" fmla="*/ 10720 h 197971"/>
              <a:gd name="csX4" fmla="*/ 5445 w 313306"/>
              <a:gd name="csY4" fmla="*/ 9282 h 197971"/>
              <a:gd name="csX5" fmla="*/ 71623 w 313306"/>
              <a:gd name="csY5" fmla="*/ 6885 h 197971"/>
              <a:gd name="csX6" fmla="*/ 187887 w 313306"/>
              <a:gd name="csY6" fmla="*/ 233 h 197971"/>
              <a:gd name="csX7" fmla="*/ 215297 w 313306"/>
              <a:gd name="csY7" fmla="*/ 163 h 197971"/>
              <a:gd name="csX8" fmla="*/ 243629 w 313306"/>
              <a:gd name="csY8" fmla="*/ 61389 h 197971"/>
              <a:gd name="csX9" fmla="*/ 270660 w 313306"/>
              <a:gd name="csY9" fmla="*/ 86342 h 197971"/>
              <a:gd name="csX10" fmla="*/ 313142 w 313306"/>
              <a:gd name="csY10" fmla="*/ 170098 h 197971"/>
              <a:gd name="csX11" fmla="*/ 313291 w 313306"/>
              <a:gd name="csY11" fmla="*/ 176231 h 197971"/>
              <a:gd name="csX12" fmla="*/ 312654 w 313306"/>
              <a:gd name="csY12" fmla="*/ 180738 h 197971"/>
              <a:gd name="csX13" fmla="*/ 279655 w 313306"/>
              <a:gd name="csY13" fmla="*/ 186226 h 197971"/>
              <a:gd name="csX14" fmla="*/ 167436 w 313306"/>
              <a:gd name="csY14" fmla="*/ 196805 h 197971"/>
              <a:gd name="csX15" fmla="*/ 160234 w 313306"/>
              <a:gd name="csY15" fmla="*/ 197876 h 19797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</a:cxnLst>
            <a:rect l="l" t="t" r="r" b="b"/>
            <a:pathLst>
              <a:path w="313306" h="197971">
                <a:moveTo>
                  <a:pt x="160234" y="197876"/>
                </a:moveTo>
                <a:cubicBezTo>
                  <a:pt x="106384" y="197972"/>
                  <a:pt x="53682" y="197972"/>
                  <a:pt x="544" y="197972"/>
                </a:cubicBezTo>
                <a:cubicBezTo>
                  <a:pt x="1602" y="166763"/>
                  <a:pt x="3550" y="135542"/>
                  <a:pt x="3466" y="104326"/>
                </a:cubicBezTo>
                <a:cubicBezTo>
                  <a:pt x="3383" y="73323"/>
                  <a:pt x="1255" y="42326"/>
                  <a:pt x="0" y="10720"/>
                </a:cubicBezTo>
                <a:cubicBezTo>
                  <a:pt x="1689" y="10255"/>
                  <a:pt x="3551" y="9355"/>
                  <a:pt x="5445" y="9282"/>
                </a:cubicBezTo>
                <a:cubicBezTo>
                  <a:pt x="27503" y="8435"/>
                  <a:pt x="49582" y="8030"/>
                  <a:pt x="71623" y="6885"/>
                </a:cubicBezTo>
                <a:cubicBezTo>
                  <a:pt x="110388" y="4872"/>
                  <a:pt x="149126" y="2333"/>
                  <a:pt x="187887" y="233"/>
                </a:cubicBezTo>
                <a:cubicBezTo>
                  <a:pt x="196749" y="-247"/>
                  <a:pt x="205660" y="163"/>
                  <a:pt x="215297" y="163"/>
                </a:cubicBezTo>
                <a:cubicBezTo>
                  <a:pt x="215450" y="25550"/>
                  <a:pt x="226120" y="45122"/>
                  <a:pt x="243629" y="61389"/>
                </a:cubicBezTo>
                <a:cubicBezTo>
                  <a:pt x="252615" y="69739"/>
                  <a:pt x="261099" y="78715"/>
                  <a:pt x="270660" y="86342"/>
                </a:cubicBezTo>
                <a:cubicBezTo>
                  <a:pt x="297676" y="107892"/>
                  <a:pt x="310731" y="136225"/>
                  <a:pt x="313142" y="170098"/>
                </a:cubicBezTo>
                <a:cubicBezTo>
                  <a:pt x="313287" y="172136"/>
                  <a:pt x="313335" y="174188"/>
                  <a:pt x="313291" y="176231"/>
                </a:cubicBezTo>
                <a:cubicBezTo>
                  <a:pt x="313265" y="177429"/>
                  <a:pt x="312966" y="178621"/>
                  <a:pt x="312654" y="180738"/>
                </a:cubicBezTo>
                <a:cubicBezTo>
                  <a:pt x="302343" y="185396"/>
                  <a:pt x="290736" y="185049"/>
                  <a:pt x="279655" y="186226"/>
                </a:cubicBezTo>
                <a:cubicBezTo>
                  <a:pt x="242295" y="190193"/>
                  <a:pt x="204847" y="193324"/>
                  <a:pt x="167436" y="196805"/>
                </a:cubicBezTo>
                <a:cubicBezTo>
                  <a:pt x="165405" y="196994"/>
                  <a:pt x="163399" y="197449"/>
                  <a:pt x="160234" y="197876"/>
                </a:cubicBezTo>
                <a:close/>
              </a:path>
            </a:pathLst>
          </a:custGeom>
          <a:solidFill>
            <a:srgbClr val="FDFEFE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70" name="Free-form: Shape 269">
            <a:extLst>
              <a:ext uri="{FF2B5EF4-FFF2-40B4-BE49-F238E27FC236}">
                <a16:creationId xmlns:a16="http://schemas.microsoft.com/office/drawing/2014/main" id="{40671755-18A2-3A5D-E321-A9005777F21F}"/>
              </a:ext>
            </a:extLst>
          </p:cNvPr>
          <p:cNvSpPr/>
          <p:nvPr/>
        </p:nvSpPr>
        <p:spPr>
          <a:xfrm>
            <a:off x="5230304" y="4457767"/>
            <a:ext cx="149260" cy="361842"/>
          </a:xfrm>
          <a:custGeom>
            <a:avLst/>
            <a:gdLst>
              <a:gd name="csX0" fmla="*/ 22609 w 164186"/>
              <a:gd name="csY0" fmla="*/ 398026 h 398026"/>
              <a:gd name="csX1" fmla="*/ 16884 w 164186"/>
              <a:gd name="csY1" fmla="*/ 390515 h 398026"/>
              <a:gd name="csX2" fmla="*/ 9661 w 164186"/>
              <a:gd name="csY2" fmla="*/ 328443 h 398026"/>
              <a:gd name="csX3" fmla="*/ 534 w 164186"/>
              <a:gd name="csY3" fmla="*/ 196369 h 398026"/>
              <a:gd name="csX4" fmla="*/ 1243 w 164186"/>
              <a:gd name="csY4" fmla="*/ 82293 h 398026"/>
              <a:gd name="csX5" fmla="*/ 2245 w 164186"/>
              <a:gd name="csY5" fmla="*/ 43023 h 398026"/>
              <a:gd name="csX6" fmla="*/ 4587 w 164186"/>
              <a:gd name="csY6" fmla="*/ 0 h 398026"/>
              <a:gd name="csX7" fmla="*/ 12341 w 164186"/>
              <a:gd name="csY7" fmla="*/ 3872 h 398026"/>
              <a:gd name="csX8" fmla="*/ 85914 w 164186"/>
              <a:gd name="csY8" fmla="*/ 78943 h 398026"/>
              <a:gd name="csX9" fmla="*/ 87893 w 164186"/>
              <a:gd name="csY9" fmla="*/ 99117 h 398026"/>
              <a:gd name="csX10" fmla="*/ 35459 w 164186"/>
              <a:gd name="csY10" fmla="*/ 207346 h 398026"/>
              <a:gd name="csX11" fmla="*/ 32223 w 164186"/>
              <a:gd name="csY11" fmla="*/ 213959 h 398026"/>
              <a:gd name="csX12" fmla="*/ 39509 w 164186"/>
              <a:gd name="csY12" fmla="*/ 242056 h 398026"/>
              <a:gd name="csX13" fmla="*/ 69474 w 164186"/>
              <a:gd name="csY13" fmla="*/ 237019 h 398026"/>
              <a:gd name="csX14" fmla="*/ 89101 w 164186"/>
              <a:gd name="csY14" fmla="*/ 208870 h 398026"/>
              <a:gd name="csX15" fmla="*/ 121716 w 164186"/>
              <a:gd name="csY15" fmla="*/ 158357 h 398026"/>
              <a:gd name="csX16" fmla="*/ 129330 w 164186"/>
              <a:gd name="csY16" fmla="*/ 148165 h 398026"/>
              <a:gd name="csX17" fmla="*/ 137171 w 164186"/>
              <a:gd name="csY17" fmla="*/ 159989 h 398026"/>
              <a:gd name="csX18" fmla="*/ 163812 w 164186"/>
              <a:gd name="csY18" fmla="*/ 273175 h 398026"/>
              <a:gd name="csX19" fmla="*/ 118151 w 164186"/>
              <a:gd name="csY19" fmla="*/ 383442 h 398026"/>
              <a:gd name="csX20" fmla="*/ 92325 w 164186"/>
              <a:gd name="csY20" fmla="*/ 395173 h 398026"/>
              <a:gd name="csX21" fmla="*/ 22609 w 164186"/>
              <a:gd name="csY21" fmla="*/ 398026 h 39802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</a:cxnLst>
            <a:rect l="l" t="t" r="r" b="b"/>
            <a:pathLst>
              <a:path w="164186" h="398026">
                <a:moveTo>
                  <a:pt x="22609" y="398026"/>
                </a:moveTo>
                <a:cubicBezTo>
                  <a:pt x="19898" y="395489"/>
                  <a:pt x="17229" y="393154"/>
                  <a:pt x="16884" y="390515"/>
                </a:cubicBezTo>
                <a:cubicBezTo>
                  <a:pt x="14183" y="369861"/>
                  <a:pt x="11326" y="349196"/>
                  <a:pt x="9661" y="328443"/>
                </a:cubicBezTo>
                <a:cubicBezTo>
                  <a:pt x="6132" y="284452"/>
                  <a:pt x="2125" y="240448"/>
                  <a:pt x="534" y="196369"/>
                </a:cubicBezTo>
                <a:cubicBezTo>
                  <a:pt x="-837" y="158401"/>
                  <a:pt x="816" y="120322"/>
                  <a:pt x="1243" y="82293"/>
                </a:cubicBezTo>
                <a:cubicBezTo>
                  <a:pt x="1389" y="69201"/>
                  <a:pt x="1708" y="56105"/>
                  <a:pt x="2245" y="43023"/>
                </a:cubicBezTo>
                <a:cubicBezTo>
                  <a:pt x="2815" y="29160"/>
                  <a:pt x="3738" y="15312"/>
                  <a:pt x="4587" y="0"/>
                </a:cubicBezTo>
                <a:cubicBezTo>
                  <a:pt x="7809" y="1586"/>
                  <a:pt x="10279" y="2436"/>
                  <a:pt x="12341" y="3872"/>
                </a:cubicBezTo>
                <a:cubicBezTo>
                  <a:pt x="41601" y="24248"/>
                  <a:pt x="64069" y="51269"/>
                  <a:pt x="85914" y="78943"/>
                </a:cubicBezTo>
                <a:cubicBezTo>
                  <a:pt x="91106" y="85520"/>
                  <a:pt x="91706" y="91406"/>
                  <a:pt x="87893" y="99117"/>
                </a:cubicBezTo>
                <a:cubicBezTo>
                  <a:pt x="70127" y="135051"/>
                  <a:pt x="52890" y="171246"/>
                  <a:pt x="35459" y="207346"/>
                </a:cubicBezTo>
                <a:cubicBezTo>
                  <a:pt x="34391" y="209557"/>
                  <a:pt x="33130" y="211686"/>
                  <a:pt x="32223" y="213959"/>
                </a:cubicBezTo>
                <a:cubicBezTo>
                  <a:pt x="27471" y="225873"/>
                  <a:pt x="30154" y="236086"/>
                  <a:pt x="39509" y="242056"/>
                </a:cubicBezTo>
                <a:cubicBezTo>
                  <a:pt x="48880" y="248038"/>
                  <a:pt x="61705" y="246477"/>
                  <a:pt x="69474" y="237019"/>
                </a:cubicBezTo>
                <a:cubicBezTo>
                  <a:pt x="76712" y="228205"/>
                  <a:pt x="82824" y="218436"/>
                  <a:pt x="89101" y="208870"/>
                </a:cubicBezTo>
                <a:cubicBezTo>
                  <a:pt x="100096" y="192114"/>
                  <a:pt x="110806" y="175170"/>
                  <a:pt x="121716" y="158357"/>
                </a:cubicBezTo>
                <a:cubicBezTo>
                  <a:pt x="123679" y="155333"/>
                  <a:pt x="126029" y="152559"/>
                  <a:pt x="129330" y="148165"/>
                </a:cubicBezTo>
                <a:cubicBezTo>
                  <a:pt x="132450" y="152828"/>
                  <a:pt x="135175" y="156216"/>
                  <a:pt x="137171" y="159989"/>
                </a:cubicBezTo>
                <a:cubicBezTo>
                  <a:pt x="155891" y="195388"/>
                  <a:pt x="166343" y="232905"/>
                  <a:pt x="163812" y="273175"/>
                </a:cubicBezTo>
                <a:cubicBezTo>
                  <a:pt x="161183" y="314982"/>
                  <a:pt x="144984" y="351430"/>
                  <a:pt x="118151" y="383442"/>
                </a:cubicBezTo>
                <a:cubicBezTo>
                  <a:pt x="111214" y="391718"/>
                  <a:pt x="102452" y="394716"/>
                  <a:pt x="92325" y="395173"/>
                </a:cubicBezTo>
                <a:cubicBezTo>
                  <a:pt x="69461" y="396207"/>
                  <a:pt x="46593" y="397123"/>
                  <a:pt x="22609" y="398026"/>
                </a:cubicBezTo>
                <a:close/>
              </a:path>
            </a:pathLst>
          </a:custGeom>
          <a:solidFill>
            <a:srgbClr val="FCFDFD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71" name="Free-form: Shape 270">
            <a:extLst>
              <a:ext uri="{FF2B5EF4-FFF2-40B4-BE49-F238E27FC236}">
                <a16:creationId xmlns:a16="http://schemas.microsoft.com/office/drawing/2014/main" id="{78EE46D1-49E2-9D01-0D4E-4BACB9F0FF90}"/>
              </a:ext>
            </a:extLst>
          </p:cNvPr>
          <p:cNvSpPr/>
          <p:nvPr/>
        </p:nvSpPr>
        <p:spPr>
          <a:xfrm>
            <a:off x="5216197" y="5683558"/>
            <a:ext cx="305850" cy="64961"/>
          </a:xfrm>
          <a:custGeom>
            <a:avLst/>
            <a:gdLst>
              <a:gd name="csX0" fmla="*/ 105937 w 336434"/>
              <a:gd name="csY0" fmla="*/ 71458 h 71457"/>
              <a:gd name="csX1" fmla="*/ 3534 w 336434"/>
              <a:gd name="csY1" fmla="*/ 69115 h 71457"/>
              <a:gd name="csX2" fmla="*/ 1296 w 336434"/>
              <a:gd name="csY2" fmla="*/ 17910 h 71457"/>
              <a:gd name="csX3" fmla="*/ 14032 w 336434"/>
              <a:gd name="csY3" fmla="*/ 17908 h 71457"/>
              <a:gd name="csX4" fmla="*/ 102444 w 336434"/>
              <a:gd name="csY4" fmla="*/ 17433 h 71457"/>
              <a:gd name="csX5" fmla="*/ 284561 w 336434"/>
              <a:gd name="csY5" fmla="*/ 3564 h 71457"/>
              <a:gd name="csX6" fmla="*/ 311323 w 336434"/>
              <a:gd name="csY6" fmla="*/ 224 h 71457"/>
              <a:gd name="csX7" fmla="*/ 324313 w 336434"/>
              <a:gd name="csY7" fmla="*/ 6639 h 71457"/>
              <a:gd name="csX8" fmla="*/ 336434 w 336434"/>
              <a:gd name="csY8" fmla="*/ 46484 h 71457"/>
              <a:gd name="csX9" fmla="*/ 105937 w 336434"/>
              <a:gd name="csY9" fmla="*/ 71458 h 7145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336434" h="71457">
                <a:moveTo>
                  <a:pt x="105937" y="71458"/>
                </a:moveTo>
                <a:cubicBezTo>
                  <a:pt x="70820" y="70678"/>
                  <a:pt x="36930" y="69891"/>
                  <a:pt x="3534" y="69115"/>
                </a:cubicBezTo>
                <a:cubicBezTo>
                  <a:pt x="-81" y="59433"/>
                  <a:pt x="-1094" y="35337"/>
                  <a:pt x="1296" y="17910"/>
                </a:cubicBezTo>
                <a:cubicBezTo>
                  <a:pt x="5366" y="17910"/>
                  <a:pt x="9699" y="17923"/>
                  <a:pt x="14032" y="17908"/>
                </a:cubicBezTo>
                <a:cubicBezTo>
                  <a:pt x="43505" y="17812"/>
                  <a:pt x="73011" y="18557"/>
                  <a:pt x="102444" y="17433"/>
                </a:cubicBezTo>
                <a:cubicBezTo>
                  <a:pt x="163306" y="15109"/>
                  <a:pt x="224166" y="12264"/>
                  <a:pt x="284561" y="3564"/>
                </a:cubicBezTo>
                <a:cubicBezTo>
                  <a:pt x="293458" y="2283"/>
                  <a:pt x="302438" y="1575"/>
                  <a:pt x="311323" y="224"/>
                </a:cubicBezTo>
                <a:cubicBezTo>
                  <a:pt x="317371" y="-696"/>
                  <a:pt x="321247" y="1177"/>
                  <a:pt x="324313" y="6639"/>
                </a:cubicBezTo>
                <a:cubicBezTo>
                  <a:pt x="330512" y="17683"/>
                  <a:pt x="335236" y="31679"/>
                  <a:pt x="336434" y="46484"/>
                </a:cubicBezTo>
                <a:cubicBezTo>
                  <a:pt x="261124" y="64059"/>
                  <a:pt x="184356" y="69587"/>
                  <a:pt x="105937" y="71458"/>
                </a:cubicBezTo>
                <a:close/>
              </a:path>
            </a:pathLst>
          </a:custGeom>
          <a:solidFill>
            <a:srgbClr val="FCFCFC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72" name="Free-form: Shape 271">
            <a:extLst>
              <a:ext uri="{FF2B5EF4-FFF2-40B4-BE49-F238E27FC236}">
                <a16:creationId xmlns:a16="http://schemas.microsoft.com/office/drawing/2014/main" id="{82C4692E-8576-2531-989D-03801E5DB73A}"/>
              </a:ext>
            </a:extLst>
          </p:cNvPr>
          <p:cNvSpPr/>
          <p:nvPr/>
        </p:nvSpPr>
        <p:spPr>
          <a:xfrm>
            <a:off x="5229754" y="4852834"/>
            <a:ext cx="120683" cy="63097"/>
          </a:xfrm>
          <a:custGeom>
            <a:avLst/>
            <a:gdLst>
              <a:gd name="csX0" fmla="*/ 5051 w 132751"/>
              <a:gd name="csY0" fmla="*/ 7534 h 69406"/>
              <a:gd name="csX1" fmla="*/ 10615 w 132751"/>
              <a:gd name="csY1" fmla="*/ 3077 h 69406"/>
              <a:gd name="csX2" fmla="*/ 26541 w 132751"/>
              <a:gd name="csY2" fmla="*/ 2752 h 69406"/>
              <a:gd name="csX3" fmla="*/ 87728 w 132751"/>
              <a:gd name="csY3" fmla="*/ 89 h 69406"/>
              <a:gd name="csX4" fmla="*/ 101400 w 132751"/>
              <a:gd name="csY4" fmla="*/ 62 h 69406"/>
              <a:gd name="csX5" fmla="*/ 102924 w 132751"/>
              <a:gd name="csY5" fmla="*/ 4800 h 69406"/>
              <a:gd name="csX6" fmla="*/ 121469 w 132751"/>
              <a:gd name="csY6" fmla="*/ 43062 h 69406"/>
              <a:gd name="csX7" fmla="*/ 132751 w 132751"/>
              <a:gd name="csY7" fmla="*/ 65240 h 69406"/>
              <a:gd name="csX8" fmla="*/ 0 w 132751"/>
              <a:gd name="csY8" fmla="*/ 69406 h 69406"/>
              <a:gd name="csX9" fmla="*/ 5051 w 132751"/>
              <a:gd name="csY9" fmla="*/ 7534 h 6940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132751" h="69406">
                <a:moveTo>
                  <a:pt x="5051" y="7534"/>
                </a:moveTo>
                <a:cubicBezTo>
                  <a:pt x="6880" y="5272"/>
                  <a:pt x="8659" y="3268"/>
                  <a:pt x="10615" y="3077"/>
                </a:cubicBezTo>
                <a:cubicBezTo>
                  <a:pt x="15884" y="2564"/>
                  <a:pt x="21234" y="2972"/>
                  <a:pt x="26541" y="2752"/>
                </a:cubicBezTo>
                <a:cubicBezTo>
                  <a:pt x="46938" y="1911"/>
                  <a:pt x="67330" y="933"/>
                  <a:pt x="87728" y="89"/>
                </a:cubicBezTo>
                <a:cubicBezTo>
                  <a:pt x="92161" y="-94"/>
                  <a:pt x="96609" y="62"/>
                  <a:pt x="101400" y="62"/>
                </a:cubicBezTo>
                <a:cubicBezTo>
                  <a:pt x="101991" y="1827"/>
                  <a:pt x="102885" y="3302"/>
                  <a:pt x="102924" y="4800"/>
                </a:cubicBezTo>
                <a:cubicBezTo>
                  <a:pt x="103334" y="20376"/>
                  <a:pt x="108815" y="33165"/>
                  <a:pt x="121469" y="43062"/>
                </a:cubicBezTo>
                <a:cubicBezTo>
                  <a:pt x="127809" y="48021"/>
                  <a:pt x="132509" y="54869"/>
                  <a:pt x="132751" y="65240"/>
                </a:cubicBezTo>
                <a:cubicBezTo>
                  <a:pt x="88663" y="66624"/>
                  <a:pt x="45259" y="67986"/>
                  <a:pt x="0" y="69406"/>
                </a:cubicBezTo>
                <a:cubicBezTo>
                  <a:pt x="6474" y="48167"/>
                  <a:pt x="10658" y="28665"/>
                  <a:pt x="5051" y="7534"/>
                </a:cubicBezTo>
                <a:close/>
              </a:path>
            </a:pathLst>
          </a:custGeom>
          <a:solidFill>
            <a:srgbClr val="FBFCFB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73" name="Free-form: Shape 272">
            <a:extLst>
              <a:ext uri="{FF2B5EF4-FFF2-40B4-BE49-F238E27FC236}">
                <a16:creationId xmlns:a16="http://schemas.microsoft.com/office/drawing/2014/main" id="{A36DCF00-7B56-9EA8-6D8B-B4A86E40BA9B}"/>
              </a:ext>
            </a:extLst>
          </p:cNvPr>
          <p:cNvSpPr/>
          <p:nvPr/>
        </p:nvSpPr>
        <p:spPr>
          <a:xfrm>
            <a:off x="5239391" y="4942448"/>
            <a:ext cx="150878" cy="35402"/>
          </a:xfrm>
          <a:custGeom>
            <a:avLst/>
            <a:gdLst>
              <a:gd name="csX0" fmla="*/ 80894 w 165965"/>
              <a:gd name="csY0" fmla="*/ 440 h 38942"/>
              <a:gd name="csX1" fmla="*/ 128629 w 165965"/>
              <a:gd name="csY1" fmla="*/ 5 h 38942"/>
              <a:gd name="csX2" fmla="*/ 155177 w 165965"/>
              <a:gd name="csY2" fmla="*/ 8091 h 38942"/>
              <a:gd name="csX3" fmla="*/ 164213 w 165965"/>
              <a:gd name="csY3" fmla="*/ 17723 h 38942"/>
              <a:gd name="csX4" fmla="*/ 159998 w 165965"/>
              <a:gd name="csY4" fmla="*/ 30717 h 38942"/>
              <a:gd name="csX5" fmla="*/ 146998 w 165965"/>
              <a:gd name="csY5" fmla="*/ 33737 h 38942"/>
              <a:gd name="csX6" fmla="*/ 12439 w 165965"/>
              <a:gd name="csY6" fmla="*/ 38914 h 38942"/>
              <a:gd name="csX7" fmla="*/ 0 w 165965"/>
              <a:gd name="csY7" fmla="*/ 38402 h 38942"/>
              <a:gd name="csX8" fmla="*/ 0 w 165965"/>
              <a:gd name="csY8" fmla="*/ 4598 h 38942"/>
              <a:gd name="csX9" fmla="*/ 80894 w 165965"/>
              <a:gd name="csY9" fmla="*/ 440 h 3894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165965" h="38942">
                <a:moveTo>
                  <a:pt x="80894" y="440"/>
                </a:moveTo>
                <a:cubicBezTo>
                  <a:pt x="97591" y="288"/>
                  <a:pt x="113111" y="227"/>
                  <a:pt x="128629" y="5"/>
                </a:cubicBezTo>
                <a:cubicBezTo>
                  <a:pt x="138376" y="-135"/>
                  <a:pt x="147226" y="2891"/>
                  <a:pt x="155177" y="8091"/>
                </a:cubicBezTo>
                <a:cubicBezTo>
                  <a:pt x="158779" y="10447"/>
                  <a:pt x="161992" y="14009"/>
                  <a:pt x="164213" y="17723"/>
                </a:cubicBezTo>
                <a:cubicBezTo>
                  <a:pt x="167602" y="23390"/>
                  <a:pt x="166013" y="28134"/>
                  <a:pt x="159998" y="30717"/>
                </a:cubicBezTo>
                <a:cubicBezTo>
                  <a:pt x="155963" y="32450"/>
                  <a:pt x="151384" y="33554"/>
                  <a:pt x="146998" y="33737"/>
                </a:cubicBezTo>
                <a:cubicBezTo>
                  <a:pt x="102152" y="35619"/>
                  <a:pt x="57295" y="37279"/>
                  <a:pt x="12439" y="38914"/>
                </a:cubicBezTo>
                <a:cubicBezTo>
                  <a:pt x="8467" y="39059"/>
                  <a:pt x="4472" y="38602"/>
                  <a:pt x="0" y="38402"/>
                </a:cubicBezTo>
                <a:cubicBezTo>
                  <a:pt x="0" y="27166"/>
                  <a:pt x="0" y="16774"/>
                  <a:pt x="0" y="4598"/>
                </a:cubicBezTo>
                <a:cubicBezTo>
                  <a:pt x="27063" y="3194"/>
                  <a:pt x="53389" y="1829"/>
                  <a:pt x="80894" y="440"/>
                </a:cubicBezTo>
                <a:close/>
              </a:path>
            </a:pathLst>
          </a:custGeom>
          <a:solidFill>
            <a:srgbClr val="FBFCFB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74" name="Free-form: Shape 273">
            <a:extLst>
              <a:ext uri="{FF2B5EF4-FFF2-40B4-BE49-F238E27FC236}">
                <a16:creationId xmlns:a16="http://schemas.microsoft.com/office/drawing/2014/main" id="{EC804E7C-5B87-59A1-5159-074B77C18A91}"/>
              </a:ext>
            </a:extLst>
          </p:cNvPr>
          <p:cNvSpPr/>
          <p:nvPr/>
        </p:nvSpPr>
        <p:spPr>
          <a:xfrm>
            <a:off x="5223242" y="4381624"/>
            <a:ext cx="39402" cy="42156"/>
          </a:xfrm>
          <a:custGeom>
            <a:avLst/>
            <a:gdLst>
              <a:gd name="csX0" fmla="*/ 40602 w 43343"/>
              <a:gd name="csY0" fmla="*/ 12465 h 46372"/>
              <a:gd name="csX1" fmla="*/ 43214 w 43343"/>
              <a:gd name="csY1" fmla="*/ 21324 h 46372"/>
              <a:gd name="csX2" fmla="*/ 23859 w 43343"/>
              <a:gd name="csY2" fmla="*/ 46319 h 46372"/>
              <a:gd name="csX3" fmla="*/ 5 w 43343"/>
              <a:gd name="csY3" fmla="*/ 23820 h 46372"/>
              <a:gd name="csX4" fmla="*/ 4855 w 43343"/>
              <a:gd name="csY4" fmla="*/ 5679 h 46372"/>
              <a:gd name="csX5" fmla="*/ 40602 w 43343"/>
              <a:gd name="csY5" fmla="*/ 12465 h 4637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</a:cxnLst>
            <a:rect l="l" t="t" r="r" b="b"/>
            <a:pathLst>
              <a:path w="43343" h="46372">
                <a:moveTo>
                  <a:pt x="40602" y="12465"/>
                </a:moveTo>
                <a:cubicBezTo>
                  <a:pt x="41913" y="15811"/>
                  <a:pt x="42933" y="18530"/>
                  <a:pt x="43214" y="21324"/>
                </a:cubicBezTo>
                <a:cubicBezTo>
                  <a:pt x="44519" y="34348"/>
                  <a:pt x="35870" y="45401"/>
                  <a:pt x="23859" y="46319"/>
                </a:cubicBezTo>
                <a:cubicBezTo>
                  <a:pt x="11890" y="47233"/>
                  <a:pt x="-280" y="36371"/>
                  <a:pt x="5" y="23820"/>
                </a:cubicBezTo>
                <a:cubicBezTo>
                  <a:pt x="136" y="18011"/>
                  <a:pt x="2893" y="12263"/>
                  <a:pt x="4855" y="5679"/>
                </a:cubicBezTo>
                <a:cubicBezTo>
                  <a:pt x="20601" y="-3403"/>
                  <a:pt x="28004" y="-1910"/>
                  <a:pt x="40602" y="12465"/>
                </a:cubicBezTo>
                <a:close/>
              </a:path>
            </a:pathLst>
          </a:custGeom>
          <a:solidFill>
            <a:srgbClr val="FBFCFB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75" name="Oval 274">
            <a:extLst>
              <a:ext uri="{FF2B5EF4-FFF2-40B4-BE49-F238E27FC236}">
                <a16:creationId xmlns:a16="http://schemas.microsoft.com/office/drawing/2014/main" id="{C7957FC8-01D4-B95D-BC1D-7B8ED83974A9}"/>
              </a:ext>
            </a:extLst>
          </p:cNvPr>
          <p:cNvSpPr/>
          <p:nvPr/>
        </p:nvSpPr>
        <p:spPr>
          <a:xfrm>
            <a:off x="8361601" y="5666931"/>
            <a:ext cx="739960" cy="152189"/>
          </a:xfrm>
          <a:prstGeom prst="ellipse">
            <a:avLst/>
          </a:prstGeom>
          <a:solidFill>
            <a:schemeClr val="tx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94" name="Free-form: Shape 293">
            <a:extLst>
              <a:ext uri="{FF2B5EF4-FFF2-40B4-BE49-F238E27FC236}">
                <a16:creationId xmlns:a16="http://schemas.microsoft.com/office/drawing/2014/main" id="{BCF6D20E-BBB4-E14D-8477-E66F64BD6A8A}"/>
              </a:ext>
            </a:extLst>
          </p:cNvPr>
          <p:cNvSpPr/>
          <p:nvPr/>
        </p:nvSpPr>
        <p:spPr>
          <a:xfrm>
            <a:off x="8441564" y="4365354"/>
            <a:ext cx="650203" cy="1414846"/>
          </a:xfrm>
          <a:custGeom>
            <a:avLst/>
            <a:gdLst>
              <a:gd name="csX0" fmla="*/ 466852 w 715223"/>
              <a:gd name="csY0" fmla="*/ 229083 h 1556330"/>
              <a:gd name="csX1" fmla="*/ 462328 w 715223"/>
              <a:gd name="csY1" fmla="*/ 242604 h 1556330"/>
              <a:gd name="csX2" fmla="*/ 496944 w 715223"/>
              <a:gd name="csY2" fmla="*/ 204739 h 1556330"/>
              <a:gd name="csX3" fmla="*/ 534359 w 715223"/>
              <a:gd name="csY3" fmla="*/ 270960 h 1556330"/>
              <a:gd name="csX4" fmla="*/ 540589 w 715223"/>
              <a:gd name="csY4" fmla="*/ 445986 h 1556330"/>
              <a:gd name="csX5" fmla="*/ 509727 w 715223"/>
              <a:gd name="csY5" fmla="*/ 496924 h 1556330"/>
              <a:gd name="csX6" fmla="*/ 505366 w 715223"/>
              <a:gd name="csY6" fmla="*/ 511893 h 1556330"/>
              <a:gd name="csX7" fmla="*/ 501982 w 715223"/>
              <a:gd name="csY7" fmla="*/ 530377 h 1556330"/>
              <a:gd name="csX8" fmla="*/ 505678 w 715223"/>
              <a:gd name="csY8" fmla="*/ 556455 h 1556330"/>
              <a:gd name="csX9" fmla="*/ 526115 w 715223"/>
              <a:gd name="csY9" fmla="*/ 591784 h 1556330"/>
              <a:gd name="csX10" fmla="*/ 541579 w 715223"/>
              <a:gd name="csY10" fmla="*/ 612264 h 1556330"/>
              <a:gd name="csX11" fmla="*/ 569572 w 715223"/>
              <a:gd name="csY11" fmla="*/ 643441 h 1556330"/>
              <a:gd name="csX12" fmla="*/ 555234 w 715223"/>
              <a:gd name="csY12" fmla="*/ 688473 h 1556330"/>
              <a:gd name="csX13" fmla="*/ 513278 w 715223"/>
              <a:gd name="csY13" fmla="*/ 700556 h 1556330"/>
              <a:gd name="csX14" fmla="*/ 488559 w 715223"/>
              <a:gd name="csY14" fmla="*/ 702821 h 1556330"/>
              <a:gd name="csX15" fmla="*/ 488544 w 715223"/>
              <a:gd name="csY15" fmla="*/ 718085 h 1556330"/>
              <a:gd name="csX16" fmla="*/ 526561 w 715223"/>
              <a:gd name="csY16" fmla="*/ 1010212 h 1556330"/>
              <a:gd name="csX17" fmla="*/ 569986 w 715223"/>
              <a:gd name="csY17" fmla="*/ 1153317 h 1556330"/>
              <a:gd name="csX18" fmla="*/ 587389 w 715223"/>
              <a:gd name="csY18" fmla="*/ 1172173 h 1556330"/>
              <a:gd name="csX19" fmla="*/ 606286 w 715223"/>
              <a:gd name="csY19" fmla="*/ 1180891 h 1556330"/>
              <a:gd name="csX20" fmla="*/ 613400 w 715223"/>
              <a:gd name="csY20" fmla="*/ 1204260 h 1556330"/>
              <a:gd name="csX21" fmla="*/ 605350 w 715223"/>
              <a:gd name="csY21" fmla="*/ 1216760 h 1556330"/>
              <a:gd name="csX22" fmla="*/ 600268 w 715223"/>
              <a:gd name="csY22" fmla="*/ 1220273 h 1556330"/>
              <a:gd name="csX23" fmla="*/ 610574 w 715223"/>
              <a:gd name="csY23" fmla="*/ 1258750 h 1556330"/>
              <a:gd name="csX24" fmla="*/ 672371 w 715223"/>
              <a:gd name="csY24" fmla="*/ 1319810 h 1556330"/>
              <a:gd name="csX25" fmla="*/ 675494 w 715223"/>
              <a:gd name="csY25" fmla="*/ 1323366 h 1556330"/>
              <a:gd name="csX26" fmla="*/ 692949 w 715223"/>
              <a:gd name="csY26" fmla="*/ 1396068 h 1556330"/>
              <a:gd name="csX27" fmla="*/ 690628 w 715223"/>
              <a:gd name="csY27" fmla="*/ 1414117 h 1556330"/>
              <a:gd name="csX28" fmla="*/ 695588 w 715223"/>
              <a:gd name="csY28" fmla="*/ 1421035 h 1556330"/>
              <a:gd name="csX29" fmla="*/ 694353 w 715223"/>
              <a:gd name="csY29" fmla="*/ 1425190 h 1556330"/>
              <a:gd name="csX30" fmla="*/ 689106 w 715223"/>
              <a:gd name="csY30" fmla="*/ 1428714 h 1556330"/>
              <a:gd name="csX31" fmla="*/ 695093 w 715223"/>
              <a:gd name="csY31" fmla="*/ 1428433 h 1556330"/>
              <a:gd name="csX32" fmla="*/ 697643 w 715223"/>
              <a:gd name="csY32" fmla="*/ 1432864 h 1556330"/>
              <a:gd name="csX33" fmla="*/ 698207 w 715223"/>
              <a:gd name="csY33" fmla="*/ 1441988 h 1556330"/>
              <a:gd name="csX34" fmla="*/ 715183 w 715223"/>
              <a:gd name="csY34" fmla="*/ 1508752 h 1556330"/>
              <a:gd name="csX35" fmla="*/ 701540 w 715223"/>
              <a:gd name="csY35" fmla="*/ 1526524 h 1556330"/>
              <a:gd name="csX36" fmla="*/ 581715 w 715223"/>
              <a:gd name="csY36" fmla="*/ 1548559 h 1556330"/>
              <a:gd name="csX37" fmla="*/ 522168 w 715223"/>
              <a:gd name="csY37" fmla="*/ 1553543 h 1556330"/>
              <a:gd name="csX38" fmla="*/ 450008 w 715223"/>
              <a:gd name="csY38" fmla="*/ 1556019 h 1556330"/>
              <a:gd name="csX39" fmla="*/ 245169 w 715223"/>
              <a:gd name="csY39" fmla="*/ 1553749 h 1556330"/>
              <a:gd name="csX40" fmla="*/ 221854 w 715223"/>
              <a:gd name="csY40" fmla="*/ 1553306 h 1556330"/>
              <a:gd name="csX41" fmla="*/ 168405 w 715223"/>
              <a:gd name="csY41" fmla="*/ 1548828 h 1556330"/>
              <a:gd name="csX42" fmla="*/ 126970 w 715223"/>
              <a:gd name="csY42" fmla="*/ 1546091 h 1556330"/>
              <a:gd name="csX43" fmla="*/ 104053 w 715223"/>
              <a:gd name="csY43" fmla="*/ 1542912 h 1556330"/>
              <a:gd name="csX44" fmla="*/ 65625 w 715223"/>
              <a:gd name="csY44" fmla="*/ 1536401 h 1556330"/>
              <a:gd name="csX45" fmla="*/ 10909 w 715223"/>
              <a:gd name="csY45" fmla="*/ 1524010 h 1556330"/>
              <a:gd name="csX46" fmla="*/ 8 w 715223"/>
              <a:gd name="csY46" fmla="*/ 1509263 h 1556330"/>
              <a:gd name="csX47" fmla="*/ 21158 w 715223"/>
              <a:gd name="csY47" fmla="*/ 1433611 h 1556330"/>
              <a:gd name="csX48" fmla="*/ 23462 w 715223"/>
              <a:gd name="csY48" fmla="*/ 1418658 h 1556330"/>
              <a:gd name="csX49" fmla="*/ 19643 w 715223"/>
              <a:gd name="csY49" fmla="*/ 1382324 h 1556330"/>
              <a:gd name="csX50" fmla="*/ 49060 w 715223"/>
              <a:gd name="csY50" fmla="*/ 1311832 h 1556330"/>
              <a:gd name="csX51" fmla="*/ 109176 w 715223"/>
              <a:gd name="csY51" fmla="*/ 1254078 h 1556330"/>
              <a:gd name="csX52" fmla="*/ 118319 w 715223"/>
              <a:gd name="csY52" fmla="*/ 1214801 h 1556330"/>
              <a:gd name="csX53" fmla="*/ 113082 w 715223"/>
              <a:gd name="csY53" fmla="*/ 1201084 h 1556330"/>
              <a:gd name="csX54" fmla="*/ 120417 w 715223"/>
              <a:gd name="csY54" fmla="*/ 1183950 h 1556330"/>
              <a:gd name="csX55" fmla="*/ 135209 w 715223"/>
              <a:gd name="csY55" fmla="*/ 1178138 h 1556330"/>
              <a:gd name="csX56" fmla="*/ 156535 w 715223"/>
              <a:gd name="csY56" fmla="*/ 1156396 h 1556330"/>
              <a:gd name="csX57" fmla="*/ 185647 w 715223"/>
              <a:gd name="csY57" fmla="*/ 1061682 h 1556330"/>
              <a:gd name="csX58" fmla="*/ 201074 w 715223"/>
              <a:gd name="csY58" fmla="*/ 1005093 h 1556330"/>
              <a:gd name="csX59" fmla="*/ 213864 w 715223"/>
              <a:gd name="csY59" fmla="*/ 943040 h 1556330"/>
              <a:gd name="csX60" fmla="*/ 223580 w 715223"/>
              <a:gd name="csY60" fmla="*/ 884167 h 1556330"/>
              <a:gd name="csX61" fmla="*/ 228827 w 715223"/>
              <a:gd name="csY61" fmla="*/ 839382 h 1556330"/>
              <a:gd name="csX62" fmla="*/ 233251 w 715223"/>
              <a:gd name="csY62" fmla="*/ 794539 h 1556330"/>
              <a:gd name="csX63" fmla="*/ 233413 w 715223"/>
              <a:gd name="csY63" fmla="*/ 708554 h 1556330"/>
              <a:gd name="csX64" fmla="*/ 232253 w 715223"/>
              <a:gd name="csY64" fmla="*/ 699181 h 1556330"/>
              <a:gd name="csX65" fmla="*/ 192775 w 715223"/>
              <a:gd name="csY65" fmla="*/ 693131 h 1556330"/>
              <a:gd name="csX66" fmla="*/ 166222 w 715223"/>
              <a:gd name="csY66" fmla="*/ 684229 h 1556330"/>
              <a:gd name="csX67" fmla="*/ 153485 w 715223"/>
              <a:gd name="csY67" fmla="*/ 649704 h 1556330"/>
              <a:gd name="csX68" fmla="*/ 179302 w 715223"/>
              <a:gd name="csY68" fmla="*/ 621006 h 1556330"/>
              <a:gd name="csX69" fmla="*/ 192182 w 715223"/>
              <a:gd name="csY69" fmla="*/ 601675 h 1556330"/>
              <a:gd name="csX70" fmla="*/ 204894 w 715223"/>
              <a:gd name="csY70" fmla="*/ 583417 h 1556330"/>
              <a:gd name="csX71" fmla="*/ 233213 w 715223"/>
              <a:gd name="csY71" fmla="*/ 564393 h 1556330"/>
              <a:gd name="csX72" fmla="*/ 229725 w 715223"/>
              <a:gd name="csY72" fmla="*/ 538177 h 1556330"/>
              <a:gd name="csX73" fmla="*/ 218771 w 715223"/>
              <a:gd name="csY73" fmla="*/ 532633 h 1556330"/>
              <a:gd name="csX74" fmla="*/ 215183 w 715223"/>
              <a:gd name="csY74" fmla="*/ 521568 h 1556330"/>
              <a:gd name="csX75" fmla="*/ 223368 w 715223"/>
              <a:gd name="csY75" fmla="*/ 508901 h 1556330"/>
              <a:gd name="csX76" fmla="*/ 218372 w 715223"/>
              <a:gd name="csY76" fmla="*/ 498135 h 1556330"/>
              <a:gd name="csX77" fmla="*/ 181440 w 715223"/>
              <a:gd name="csY77" fmla="*/ 432308 h 1556330"/>
              <a:gd name="csX78" fmla="*/ 167535 w 715223"/>
              <a:gd name="csY78" fmla="*/ 349841 h 1556330"/>
              <a:gd name="csX79" fmla="*/ 193488 w 715223"/>
              <a:gd name="csY79" fmla="*/ 262518 h 1556330"/>
              <a:gd name="csX80" fmla="*/ 237748 w 715223"/>
              <a:gd name="csY80" fmla="*/ 190690 h 1556330"/>
              <a:gd name="csX81" fmla="*/ 309459 w 715223"/>
              <a:gd name="csY81" fmla="*/ 102623 h 1556330"/>
              <a:gd name="csX82" fmla="*/ 310459 w 715223"/>
              <a:gd name="csY82" fmla="*/ 78521 h 1556330"/>
              <a:gd name="csX83" fmla="*/ 300267 w 715223"/>
              <a:gd name="csY83" fmla="*/ 57856 h 1556330"/>
              <a:gd name="csX84" fmla="*/ 332242 w 715223"/>
              <a:gd name="csY84" fmla="*/ 4422 h 1556330"/>
              <a:gd name="csX85" fmla="*/ 384904 w 715223"/>
              <a:gd name="csY85" fmla="*/ 5551 h 1556330"/>
              <a:gd name="csX86" fmla="*/ 409773 w 715223"/>
              <a:gd name="csY86" fmla="*/ 26778 h 1556330"/>
              <a:gd name="csX87" fmla="*/ 407026 w 715223"/>
              <a:gd name="csY87" fmla="*/ 46052 h 1556330"/>
              <a:gd name="csX88" fmla="*/ 402771 w 715223"/>
              <a:gd name="csY88" fmla="*/ 30951 h 1556330"/>
              <a:gd name="csX89" fmla="*/ 397038 w 715223"/>
              <a:gd name="csY89" fmla="*/ 30361 h 1556330"/>
              <a:gd name="csX90" fmla="*/ 360694 w 715223"/>
              <a:gd name="csY90" fmla="*/ 22760 h 1556330"/>
              <a:gd name="csX91" fmla="*/ 351669 w 715223"/>
              <a:gd name="csY91" fmla="*/ 31736 h 1556330"/>
              <a:gd name="csX92" fmla="*/ 351426 w 715223"/>
              <a:gd name="csY92" fmla="*/ 43987 h 1556330"/>
              <a:gd name="csX93" fmla="*/ 390968 w 715223"/>
              <a:gd name="csY93" fmla="*/ 68762 h 1556330"/>
              <a:gd name="csX94" fmla="*/ 401770 w 715223"/>
              <a:gd name="csY94" fmla="*/ 59025 h 1556330"/>
              <a:gd name="csX95" fmla="*/ 409619 w 715223"/>
              <a:gd name="csY95" fmla="*/ 55786 h 1556330"/>
              <a:gd name="csX96" fmla="*/ 410427 w 715223"/>
              <a:gd name="csY96" fmla="*/ 64256 h 1556330"/>
              <a:gd name="csX97" fmla="*/ 399453 w 715223"/>
              <a:gd name="csY97" fmla="*/ 81811 h 1556330"/>
              <a:gd name="csX98" fmla="*/ 399346 w 715223"/>
              <a:gd name="csY98" fmla="*/ 98083 h 1556330"/>
              <a:gd name="csX99" fmla="*/ 471592 w 715223"/>
              <a:gd name="csY99" fmla="*/ 180524 h 1556330"/>
              <a:gd name="csX100" fmla="*/ 473550 w 715223"/>
              <a:gd name="csY100" fmla="*/ 200923 h 1556330"/>
              <a:gd name="csX101" fmla="*/ 463677 w 715223"/>
              <a:gd name="csY101" fmla="*/ 223311 h 1556330"/>
              <a:gd name="csX102" fmla="*/ 466852 w 715223"/>
              <a:gd name="csY102" fmla="*/ 229083 h 1556330"/>
              <a:gd name="csX103" fmla="*/ 474186 w 715223"/>
              <a:gd name="csY103" fmla="*/ 928382 h 1556330"/>
              <a:gd name="csX104" fmla="*/ 459927 w 715223"/>
              <a:gd name="csY104" fmla="*/ 817790 h 1556330"/>
              <a:gd name="csX105" fmla="*/ 456025 w 715223"/>
              <a:gd name="csY105" fmla="*/ 706469 h 1556330"/>
              <a:gd name="csX106" fmla="*/ 366863 w 715223"/>
              <a:gd name="csY106" fmla="*/ 710754 h 1556330"/>
              <a:gd name="csX107" fmla="*/ 366159 w 715223"/>
              <a:gd name="csY107" fmla="*/ 719219 h 1556330"/>
              <a:gd name="csX108" fmla="*/ 364159 w 715223"/>
              <a:gd name="csY108" fmla="*/ 834581 h 1556330"/>
              <a:gd name="csX109" fmla="*/ 361633 w 715223"/>
              <a:gd name="csY109" fmla="*/ 940117 h 1556330"/>
              <a:gd name="csX110" fmla="*/ 358313 w 715223"/>
              <a:gd name="csY110" fmla="*/ 1053005 h 1556330"/>
              <a:gd name="csX111" fmla="*/ 358081 w 715223"/>
              <a:gd name="csY111" fmla="*/ 1057912 h 1556330"/>
              <a:gd name="csX112" fmla="*/ 353706 w 715223"/>
              <a:gd name="csY112" fmla="*/ 1164570 h 1556330"/>
              <a:gd name="csX113" fmla="*/ 354951 w 715223"/>
              <a:gd name="csY113" fmla="*/ 1172547 h 1556330"/>
              <a:gd name="csX114" fmla="*/ 540959 w 715223"/>
              <a:gd name="csY114" fmla="*/ 1175972 h 1556330"/>
              <a:gd name="csX115" fmla="*/ 474186 w 715223"/>
              <a:gd name="csY115" fmla="*/ 928382 h 1556330"/>
              <a:gd name="csX116" fmla="*/ 513768 w 715223"/>
              <a:gd name="csY116" fmla="*/ 1417676 h 1556330"/>
              <a:gd name="csX117" fmla="*/ 519822 w 715223"/>
              <a:gd name="csY117" fmla="*/ 1416700 h 1556330"/>
              <a:gd name="csX118" fmla="*/ 632041 w 715223"/>
              <a:gd name="csY118" fmla="*/ 1406122 h 1556330"/>
              <a:gd name="csX119" fmla="*/ 665040 w 715223"/>
              <a:gd name="csY119" fmla="*/ 1400634 h 1556330"/>
              <a:gd name="csX120" fmla="*/ 665677 w 715223"/>
              <a:gd name="csY120" fmla="*/ 1396126 h 1556330"/>
              <a:gd name="csX121" fmla="*/ 665529 w 715223"/>
              <a:gd name="csY121" fmla="*/ 1389994 h 1556330"/>
              <a:gd name="csX122" fmla="*/ 623046 w 715223"/>
              <a:gd name="csY122" fmla="*/ 1306238 h 1556330"/>
              <a:gd name="csX123" fmla="*/ 596015 w 715223"/>
              <a:gd name="csY123" fmla="*/ 1281285 h 1556330"/>
              <a:gd name="csX124" fmla="*/ 567683 w 715223"/>
              <a:gd name="csY124" fmla="*/ 1220059 h 1556330"/>
              <a:gd name="csX125" fmla="*/ 540273 w 715223"/>
              <a:gd name="csY125" fmla="*/ 1220129 h 1556330"/>
              <a:gd name="csX126" fmla="*/ 424010 w 715223"/>
              <a:gd name="csY126" fmla="*/ 1226781 h 1556330"/>
              <a:gd name="csX127" fmla="*/ 357832 w 715223"/>
              <a:gd name="csY127" fmla="*/ 1229178 h 1556330"/>
              <a:gd name="csX128" fmla="*/ 352386 w 715223"/>
              <a:gd name="csY128" fmla="*/ 1230616 h 1556330"/>
              <a:gd name="csX129" fmla="*/ 355852 w 715223"/>
              <a:gd name="csY129" fmla="*/ 1324222 h 1556330"/>
              <a:gd name="csX130" fmla="*/ 352930 w 715223"/>
              <a:gd name="csY130" fmla="*/ 1417867 h 1556330"/>
              <a:gd name="csX131" fmla="*/ 513768 w 715223"/>
              <a:gd name="csY131" fmla="*/ 1417676 h 1556330"/>
              <a:gd name="csX132" fmla="*/ 387930 w 715223"/>
              <a:gd name="csY132" fmla="*/ 499741 h 1556330"/>
              <a:gd name="csX133" fmla="*/ 456529 w 715223"/>
              <a:gd name="csY133" fmla="*/ 496826 h 1556330"/>
              <a:gd name="csX134" fmla="*/ 482355 w 715223"/>
              <a:gd name="csY134" fmla="*/ 485095 h 1556330"/>
              <a:gd name="csX135" fmla="*/ 528016 w 715223"/>
              <a:gd name="csY135" fmla="*/ 374829 h 1556330"/>
              <a:gd name="csX136" fmla="*/ 501375 w 715223"/>
              <a:gd name="csY136" fmla="*/ 261643 h 1556330"/>
              <a:gd name="csX137" fmla="*/ 493534 w 715223"/>
              <a:gd name="csY137" fmla="*/ 249818 h 1556330"/>
              <a:gd name="csX138" fmla="*/ 485920 w 715223"/>
              <a:gd name="csY138" fmla="*/ 260010 h 1556330"/>
              <a:gd name="csX139" fmla="*/ 453305 w 715223"/>
              <a:gd name="csY139" fmla="*/ 310523 h 1556330"/>
              <a:gd name="csX140" fmla="*/ 433678 w 715223"/>
              <a:gd name="csY140" fmla="*/ 338672 h 1556330"/>
              <a:gd name="csX141" fmla="*/ 403713 w 715223"/>
              <a:gd name="csY141" fmla="*/ 343710 h 1556330"/>
              <a:gd name="csX142" fmla="*/ 396427 w 715223"/>
              <a:gd name="csY142" fmla="*/ 315612 h 1556330"/>
              <a:gd name="csX143" fmla="*/ 399663 w 715223"/>
              <a:gd name="csY143" fmla="*/ 309000 h 1556330"/>
              <a:gd name="csX144" fmla="*/ 452097 w 715223"/>
              <a:gd name="csY144" fmla="*/ 200770 h 1556330"/>
              <a:gd name="csX145" fmla="*/ 450118 w 715223"/>
              <a:gd name="csY145" fmla="*/ 180596 h 1556330"/>
              <a:gd name="csX146" fmla="*/ 376545 w 715223"/>
              <a:gd name="csY146" fmla="*/ 105525 h 1556330"/>
              <a:gd name="csX147" fmla="*/ 368791 w 715223"/>
              <a:gd name="csY147" fmla="*/ 101653 h 1556330"/>
              <a:gd name="csX148" fmla="*/ 366449 w 715223"/>
              <a:gd name="csY148" fmla="*/ 144676 h 1556330"/>
              <a:gd name="csX149" fmla="*/ 365447 w 715223"/>
              <a:gd name="csY149" fmla="*/ 183946 h 1556330"/>
              <a:gd name="csX150" fmla="*/ 364738 w 715223"/>
              <a:gd name="csY150" fmla="*/ 298022 h 1556330"/>
              <a:gd name="csX151" fmla="*/ 373865 w 715223"/>
              <a:gd name="csY151" fmla="*/ 430096 h 1556330"/>
              <a:gd name="csX152" fmla="*/ 381088 w 715223"/>
              <a:gd name="csY152" fmla="*/ 492169 h 1556330"/>
              <a:gd name="csX153" fmla="*/ 387930 w 715223"/>
              <a:gd name="csY153" fmla="*/ 499741 h 1556330"/>
              <a:gd name="csX154" fmla="*/ 455850 w 715223"/>
              <a:gd name="csY154" fmla="*/ 1521476 h 1556330"/>
              <a:gd name="csX155" fmla="*/ 685121 w 715223"/>
              <a:gd name="csY155" fmla="*/ 1496509 h 1556330"/>
              <a:gd name="csX156" fmla="*/ 672999 w 715223"/>
              <a:gd name="csY156" fmla="*/ 1456665 h 1556330"/>
              <a:gd name="csX157" fmla="*/ 660009 w 715223"/>
              <a:gd name="csY157" fmla="*/ 1450249 h 1556330"/>
              <a:gd name="csX158" fmla="*/ 633248 w 715223"/>
              <a:gd name="csY158" fmla="*/ 1453589 h 1556330"/>
              <a:gd name="csX159" fmla="*/ 451131 w 715223"/>
              <a:gd name="csY159" fmla="*/ 1467458 h 1556330"/>
              <a:gd name="csX160" fmla="*/ 362719 w 715223"/>
              <a:gd name="csY160" fmla="*/ 1467934 h 1556330"/>
              <a:gd name="csX161" fmla="*/ 349983 w 715223"/>
              <a:gd name="csY161" fmla="*/ 1467936 h 1556330"/>
              <a:gd name="csX162" fmla="*/ 352220 w 715223"/>
              <a:gd name="csY162" fmla="*/ 1519140 h 1556330"/>
              <a:gd name="csX163" fmla="*/ 455850 w 715223"/>
              <a:gd name="csY163" fmla="*/ 1521476 h 1556330"/>
              <a:gd name="csX164" fmla="*/ 368682 w 715223"/>
              <a:gd name="csY164" fmla="*/ 544846 h 1556330"/>
              <a:gd name="csX165" fmla="*/ 363600 w 715223"/>
              <a:gd name="csY165" fmla="*/ 605633 h 1556330"/>
              <a:gd name="csX166" fmla="*/ 496351 w 715223"/>
              <a:gd name="csY166" fmla="*/ 601466 h 1556330"/>
              <a:gd name="csX167" fmla="*/ 485068 w 715223"/>
              <a:gd name="csY167" fmla="*/ 579288 h 1556330"/>
              <a:gd name="csX168" fmla="*/ 466524 w 715223"/>
              <a:gd name="csY168" fmla="*/ 541026 h 1556330"/>
              <a:gd name="csX169" fmla="*/ 465000 w 715223"/>
              <a:gd name="csY169" fmla="*/ 536289 h 1556330"/>
              <a:gd name="csX170" fmla="*/ 451328 w 715223"/>
              <a:gd name="csY170" fmla="*/ 536316 h 1556330"/>
              <a:gd name="csX171" fmla="*/ 390140 w 715223"/>
              <a:gd name="csY171" fmla="*/ 538979 h 1556330"/>
              <a:gd name="csX172" fmla="*/ 374215 w 715223"/>
              <a:gd name="csY172" fmla="*/ 539303 h 1556330"/>
              <a:gd name="csX173" fmla="*/ 368682 w 715223"/>
              <a:gd name="csY173" fmla="*/ 544846 h 1556330"/>
              <a:gd name="csX174" fmla="*/ 453915 w 715223"/>
              <a:gd name="csY174" fmla="*/ 635267 h 1556330"/>
              <a:gd name="csX175" fmla="*/ 374200 w 715223"/>
              <a:gd name="csY175" fmla="*/ 639402 h 1556330"/>
              <a:gd name="csX176" fmla="*/ 374200 w 715223"/>
              <a:gd name="csY176" fmla="*/ 673206 h 1556330"/>
              <a:gd name="csX177" fmla="*/ 386639 w 715223"/>
              <a:gd name="csY177" fmla="*/ 673718 h 1556330"/>
              <a:gd name="csX178" fmla="*/ 521198 w 715223"/>
              <a:gd name="csY178" fmla="*/ 668541 h 1556330"/>
              <a:gd name="csX179" fmla="*/ 534198 w 715223"/>
              <a:gd name="csY179" fmla="*/ 665521 h 1556330"/>
              <a:gd name="csX180" fmla="*/ 538413 w 715223"/>
              <a:gd name="csY180" fmla="*/ 652526 h 1556330"/>
              <a:gd name="csX181" fmla="*/ 529377 w 715223"/>
              <a:gd name="csY181" fmla="*/ 642895 h 1556330"/>
              <a:gd name="csX182" fmla="*/ 502829 w 715223"/>
              <a:gd name="csY182" fmla="*/ 634808 h 1556330"/>
              <a:gd name="csX183" fmla="*/ 453915 w 715223"/>
              <a:gd name="csY183" fmla="*/ 635267 h 155633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  <a:cxn ang="0">
                <a:pos x="csX170" y="csY170"/>
              </a:cxn>
              <a:cxn ang="0">
                <a:pos x="csX171" y="csY171"/>
              </a:cxn>
              <a:cxn ang="0">
                <a:pos x="csX172" y="csY172"/>
              </a:cxn>
              <a:cxn ang="0">
                <a:pos x="csX173" y="csY173"/>
              </a:cxn>
              <a:cxn ang="0">
                <a:pos x="csX174" y="csY174"/>
              </a:cxn>
              <a:cxn ang="0">
                <a:pos x="csX175" y="csY175"/>
              </a:cxn>
              <a:cxn ang="0">
                <a:pos x="csX176" y="csY176"/>
              </a:cxn>
              <a:cxn ang="0">
                <a:pos x="csX177" y="csY177"/>
              </a:cxn>
              <a:cxn ang="0">
                <a:pos x="csX178" y="csY178"/>
              </a:cxn>
              <a:cxn ang="0">
                <a:pos x="csX179" y="csY179"/>
              </a:cxn>
              <a:cxn ang="0">
                <a:pos x="csX180" y="csY180"/>
              </a:cxn>
              <a:cxn ang="0">
                <a:pos x="csX181" y="csY181"/>
              </a:cxn>
              <a:cxn ang="0">
                <a:pos x="csX182" y="csY182"/>
              </a:cxn>
              <a:cxn ang="0">
                <a:pos x="csX183" y="csY183"/>
              </a:cxn>
            </a:cxnLst>
            <a:rect l="l" t="t" r="r" b="b"/>
            <a:pathLst>
              <a:path w="715223" h="1556330">
                <a:moveTo>
                  <a:pt x="466852" y="229083"/>
                </a:moveTo>
                <a:cubicBezTo>
                  <a:pt x="465344" y="233590"/>
                  <a:pt x="463836" y="238097"/>
                  <a:pt x="462328" y="242604"/>
                </a:cubicBezTo>
                <a:cubicBezTo>
                  <a:pt x="476604" y="232528"/>
                  <a:pt x="484219" y="216936"/>
                  <a:pt x="496944" y="204739"/>
                </a:cubicBezTo>
                <a:cubicBezTo>
                  <a:pt x="511903" y="225901"/>
                  <a:pt x="524807" y="247414"/>
                  <a:pt x="534359" y="270960"/>
                </a:cubicBezTo>
                <a:cubicBezTo>
                  <a:pt x="557740" y="328591"/>
                  <a:pt x="560223" y="386926"/>
                  <a:pt x="540589" y="445986"/>
                </a:cubicBezTo>
                <a:cubicBezTo>
                  <a:pt x="534197" y="465215"/>
                  <a:pt x="524450" y="482672"/>
                  <a:pt x="509727" y="496924"/>
                </a:cubicBezTo>
                <a:cubicBezTo>
                  <a:pt x="505277" y="501232"/>
                  <a:pt x="502734" y="505157"/>
                  <a:pt x="505366" y="511893"/>
                </a:cubicBezTo>
                <a:cubicBezTo>
                  <a:pt x="507828" y="518196"/>
                  <a:pt x="505953" y="524402"/>
                  <a:pt x="501982" y="530377"/>
                </a:cubicBezTo>
                <a:cubicBezTo>
                  <a:pt x="495613" y="539961"/>
                  <a:pt x="496865" y="548901"/>
                  <a:pt x="505678" y="556455"/>
                </a:cubicBezTo>
                <a:cubicBezTo>
                  <a:pt x="516748" y="565943"/>
                  <a:pt x="523694" y="577557"/>
                  <a:pt x="526115" y="591784"/>
                </a:cubicBezTo>
                <a:cubicBezTo>
                  <a:pt x="527758" y="601445"/>
                  <a:pt x="532593" y="608029"/>
                  <a:pt x="541579" y="612264"/>
                </a:cubicBezTo>
                <a:cubicBezTo>
                  <a:pt x="555150" y="618662"/>
                  <a:pt x="564081" y="629523"/>
                  <a:pt x="569572" y="643441"/>
                </a:cubicBezTo>
                <a:cubicBezTo>
                  <a:pt x="576413" y="660776"/>
                  <a:pt x="570996" y="678245"/>
                  <a:pt x="555234" y="688473"/>
                </a:cubicBezTo>
                <a:cubicBezTo>
                  <a:pt x="542486" y="696746"/>
                  <a:pt x="528127" y="699474"/>
                  <a:pt x="513278" y="700556"/>
                </a:cubicBezTo>
                <a:cubicBezTo>
                  <a:pt x="505590" y="701115"/>
                  <a:pt x="497922" y="701952"/>
                  <a:pt x="488559" y="702821"/>
                </a:cubicBezTo>
                <a:cubicBezTo>
                  <a:pt x="488559" y="708552"/>
                  <a:pt x="488653" y="713320"/>
                  <a:pt x="488544" y="718085"/>
                </a:cubicBezTo>
                <a:cubicBezTo>
                  <a:pt x="486284" y="817406"/>
                  <a:pt x="502313" y="914319"/>
                  <a:pt x="526561" y="1010212"/>
                </a:cubicBezTo>
                <a:cubicBezTo>
                  <a:pt x="538799" y="1058612"/>
                  <a:pt x="553050" y="1106345"/>
                  <a:pt x="569986" y="1153317"/>
                </a:cubicBezTo>
                <a:cubicBezTo>
                  <a:pt x="573328" y="1162590"/>
                  <a:pt x="578279" y="1168740"/>
                  <a:pt x="587389" y="1172173"/>
                </a:cubicBezTo>
                <a:cubicBezTo>
                  <a:pt x="593869" y="1174616"/>
                  <a:pt x="600289" y="1177449"/>
                  <a:pt x="606286" y="1180891"/>
                </a:cubicBezTo>
                <a:cubicBezTo>
                  <a:pt x="617185" y="1187146"/>
                  <a:pt x="618776" y="1192931"/>
                  <a:pt x="613400" y="1204260"/>
                </a:cubicBezTo>
                <a:cubicBezTo>
                  <a:pt x="611475" y="1208315"/>
                  <a:pt x="609140" y="1212177"/>
                  <a:pt x="605350" y="1216760"/>
                </a:cubicBezTo>
                <a:cubicBezTo>
                  <a:pt x="602514" y="1218347"/>
                  <a:pt x="600399" y="1219189"/>
                  <a:pt x="600268" y="1220273"/>
                </a:cubicBezTo>
                <a:cubicBezTo>
                  <a:pt x="598551" y="1234430"/>
                  <a:pt x="599473" y="1247881"/>
                  <a:pt x="610574" y="1258750"/>
                </a:cubicBezTo>
                <a:cubicBezTo>
                  <a:pt x="631265" y="1279009"/>
                  <a:pt x="651790" y="1299438"/>
                  <a:pt x="672371" y="1319810"/>
                </a:cubicBezTo>
                <a:cubicBezTo>
                  <a:pt x="673495" y="1320922"/>
                  <a:pt x="674892" y="1321987"/>
                  <a:pt x="675494" y="1323366"/>
                </a:cubicBezTo>
                <a:cubicBezTo>
                  <a:pt x="685626" y="1346558"/>
                  <a:pt x="694775" y="1370031"/>
                  <a:pt x="692949" y="1396068"/>
                </a:cubicBezTo>
                <a:cubicBezTo>
                  <a:pt x="692525" y="1402108"/>
                  <a:pt x="691276" y="1408087"/>
                  <a:pt x="690628" y="1414117"/>
                </a:cubicBezTo>
                <a:cubicBezTo>
                  <a:pt x="690241" y="1417713"/>
                  <a:pt x="691290" y="1420628"/>
                  <a:pt x="695588" y="1421035"/>
                </a:cubicBezTo>
                <a:cubicBezTo>
                  <a:pt x="695527" y="1422155"/>
                  <a:pt x="695467" y="1423274"/>
                  <a:pt x="694353" y="1425190"/>
                </a:cubicBezTo>
                <a:cubicBezTo>
                  <a:pt x="691901" y="1426894"/>
                  <a:pt x="690503" y="1427804"/>
                  <a:pt x="689106" y="1428714"/>
                </a:cubicBezTo>
                <a:cubicBezTo>
                  <a:pt x="691101" y="1428620"/>
                  <a:pt x="693098" y="1428527"/>
                  <a:pt x="695093" y="1428433"/>
                </a:cubicBezTo>
                <a:cubicBezTo>
                  <a:pt x="695976" y="1429430"/>
                  <a:pt x="696859" y="1430427"/>
                  <a:pt x="697643" y="1432864"/>
                </a:cubicBezTo>
                <a:cubicBezTo>
                  <a:pt x="697724" y="1436887"/>
                  <a:pt x="697087" y="1439912"/>
                  <a:pt x="698207" y="1441988"/>
                </a:cubicBezTo>
                <a:cubicBezTo>
                  <a:pt x="709464" y="1462853"/>
                  <a:pt x="715798" y="1484864"/>
                  <a:pt x="715183" y="1508752"/>
                </a:cubicBezTo>
                <a:cubicBezTo>
                  <a:pt x="714863" y="1521166"/>
                  <a:pt x="713458" y="1523372"/>
                  <a:pt x="701540" y="1526524"/>
                </a:cubicBezTo>
                <a:cubicBezTo>
                  <a:pt x="662165" y="1536936"/>
                  <a:pt x="622006" y="1543243"/>
                  <a:pt x="581715" y="1548559"/>
                </a:cubicBezTo>
                <a:cubicBezTo>
                  <a:pt x="561988" y="1551162"/>
                  <a:pt x="542052" y="1552457"/>
                  <a:pt x="522168" y="1553543"/>
                </a:cubicBezTo>
                <a:cubicBezTo>
                  <a:pt x="498138" y="1554856"/>
                  <a:pt x="474063" y="1556013"/>
                  <a:pt x="450008" y="1556019"/>
                </a:cubicBezTo>
                <a:cubicBezTo>
                  <a:pt x="381724" y="1556035"/>
                  <a:pt x="313415" y="1557550"/>
                  <a:pt x="245169" y="1553749"/>
                </a:cubicBezTo>
                <a:cubicBezTo>
                  <a:pt x="237413" y="1553317"/>
                  <a:pt x="229596" y="1553867"/>
                  <a:pt x="221854" y="1553306"/>
                </a:cubicBezTo>
                <a:cubicBezTo>
                  <a:pt x="204023" y="1552015"/>
                  <a:pt x="186231" y="1550202"/>
                  <a:pt x="168405" y="1548828"/>
                </a:cubicBezTo>
                <a:cubicBezTo>
                  <a:pt x="154605" y="1547764"/>
                  <a:pt x="140762" y="1547242"/>
                  <a:pt x="126970" y="1546091"/>
                </a:cubicBezTo>
                <a:cubicBezTo>
                  <a:pt x="119295" y="1545451"/>
                  <a:pt x="111668" y="1544132"/>
                  <a:pt x="104053" y="1542912"/>
                </a:cubicBezTo>
                <a:cubicBezTo>
                  <a:pt x="91223" y="1540858"/>
                  <a:pt x="78344" y="1539011"/>
                  <a:pt x="65625" y="1536401"/>
                </a:cubicBezTo>
                <a:cubicBezTo>
                  <a:pt x="47307" y="1532642"/>
                  <a:pt x="29006" y="1528694"/>
                  <a:pt x="10909" y="1524010"/>
                </a:cubicBezTo>
                <a:cubicBezTo>
                  <a:pt x="744" y="1521379"/>
                  <a:pt x="119" y="1519620"/>
                  <a:pt x="8" y="1509263"/>
                </a:cubicBezTo>
                <a:cubicBezTo>
                  <a:pt x="-283" y="1482004"/>
                  <a:pt x="7525" y="1456906"/>
                  <a:pt x="21158" y="1433611"/>
                </a:cubicBezTo>
                <a:cubicBezTo>
                  <a:pt x="24128" y="1428537"/>
                  <a:pt x="25100" y="1424162"/>
                  <a:pt x="23462" y="1418658"/>
                </a:cubicBezTo>
                <a:cubicBezTo>
                  <a:pt x="19938" y="1406814"/>
                  <a:pt x="19145" y="1394638"/>
                  <a:pt x="19643" y="1382324"/>
                </a:cubicBezTo>
                <a:cubicBezTo>
                  <a:pt x="20741" y="1355171"/>
                  <a:pt x="29461" y="1331114"/>
                  <a:pt x="49060" y="1311832"/>
                </a:cubicBezTo>
                <a:cubicBezTo>
                  <a:pt x="68866" y="1292344"/>
                  <a:pt x="89102" y="1273294"/>
                  <a:pt x="109176" y="1254078"/>
                </a:cubicBezTo>
                <a:cubicBezTo>
                  <a:pt x="120788" y="1242961"/>
                  <a:pt x="123122" y="1229673"/>
                  <a:pt x="118319" y="1214801"/>
                </a:cubicBezTo>
                <a:cubicBezTo>
                  <a:pt x="116817" y="1210150"/>
                  <a:pt x="114697" y="1205702"/>
                  <a:pt x="113082" y="1201084"/>
                </a:cubicBezTo>
                <a:cubicBezTo>
                  <a:pt x="109606" y="1191147"/>
                  <a:pt x="110855" y="1188189"/>
                  <a:pt x="120417" y="1183950"/>
                </a:cubicBezTo>
                <a:cubicBezTo>
                  <a:pt x="125262" y="1181801"/>
                  <a:pt x="130109" y="1179394"/>
                  <a:pt x="135209" y="1178138"/>
                </a:cubicBezTo>
                <a:cubicBezTo>
                  <a:pt x="146972" y="1175241"/>
                  <a:pt x="153194" y="1166910"/>
                  <a:pt x="156535" y="1156396"/>
                </a:cubicBezTo>
                <a:cubicBezTo>
                  <a:pt x="166535" y="1124919"/>
                  <a:pt x="176229" y="1093339"/>
                  <a:pt x="185647" y="1061682"/>
                </a:cubicBezTo>
                <a:cubicBezTo>
                  <a:pt x="191222" y="1042945"/>
                  <a:pt x="196570" y="1024108"/>
                  <a:pt x="201074" y="1005093"/>
                </a:cubicBezTo>
                <a:cubicBezTo>
                  <a:pt x="205941" y="984550"/>
                  <a:pt x="210000" y="963801"/>
                  <a:pt x="213864" y="943040"/>
                </a:cubicBezTo>
                <a:cubicBezTo>
                  <a:pt x="217503" y="923489"/>
                  <a:pt x="220701" y="903846"/>
                  <a:pt x="223580" y="884167"/>
                </a:cubicBezTo>
                <a:cubicBezTo>
                  <a:pt x="225754" y="869301"/>
                  <a:pt x="227195" y="854324"/>
                  <a:pt x="228827" y="839382"/>
                </a:cubicBezTo>
                <a:cubicBezTo>
                  <a:pt x="230459" y="824446"/>
                  <a:pt x="232880" y="809515"/>
                  <a:pt x="233251" y="794539"/>
                </a:cubicBezTo>
                <a:cubicBezTo>
                  <a:pt x="233961" y="765893"/>
                  <a:pt x="233499" y="737217"/>
                  <a:pt x="233413" y="708554"/>
                </a:cubicBezTo>
                <a:cubicBezTo>
                  <a:pt x="233404" y="705465"/>
                  <a:pt x="232667" y="702378"/>
                  <a:pt x="232253" y="699181"/>
                </a:cubicBezTo>
                <a:cubicBezTo>
                  <a:pt x="218443" y="697138"/>
                  <a:pt x="205461" y="695831"/>
                  <a:pt x="192775" y="693131"/>
                </a:cubicBezTo>
                <a:cubicBezTo>
                  <a:pt x="183686" y="691197"/>
                  <a:pt x="174549" y="688305"/>
                  <a:pt x="166222" y="684229"/>
                </a:cubicBezTo>
                <a:cubicBezTo>
                  <a:pt x="151266" y="676909"/>
                  <a:pt x="147247" y="664789"/>
                  <a:pt x="153485" y="649704"/>
                </a:cubicBezTo>
                <a:cubicBezTo>
                  <a:pt x="158693" y="637111"/>
                  <a:pt x="168160" y="628190"/>
                  <a:pt x="179302" y="621006"/>
                </a:cubicBezTo>
                <a:cubicBezTo>
                  <a:pt x="186548" y="616334"/>
                  <a:pt x="191317" y="611105"/>
                  <a:pt x="192182" y="601675"/>
                </a:cubicBezTo>
                <a:cubicBezTo>
                  <a:pt x="192878" y="594094"/>
                  <a:pt x="197099" y="587626"/>
                  <a:pt x="204894" y="583417"/>
                </a:cubicBezTo>
                <a:cubicBezTo>
                  <a:pt x="214873" y="578030"/>
                  <a:pt x="224643" y="571774"/>
                  <a:pt x="233213" y="564393"/>
                </a:cubicBezTo>
                <a:cubicBezTo>
                  <a:pt x="242623" y="556289"/>
                  <a:pt x="240441" y="544193"/>
                  <a:pt x="229725" y="538177"/>
                </a:cubicBezTo>
                <a:cubicBezTo>
                  <a:pt x="226159" y="536176"/>
                  <a:pt x="222483" y="534351"/>
                  <a:pt x="218771" y="532633"/>
                </a:cubicBezTo>
                <a:cubicBezTo>
                  <a:pt x="213503" y="530196"/>
                  <a:pt x="212651" y="526226"/>
                  <a:pt x="215183" y="521568"/>
                </a:cubicBezTo>
                <a:cubicBezTo>
                  <a:pt x="217485" y="517332"/>
                  <a:pt x="220405" y="513432"/>
                  <a:pt x="223368" y="508901"/>
                </a:cubicBezTo>
                <a:cubicBezTo>
                  <a:pt x="221781" y="505376"/>
                  <a:pt x="220809" y="501165"/>
                  <a:pt x="218372" y="498135"/>
                </a:cubicBezTo>
                <a:cubicBezTo>
                  <a:pt x="202366" y="478231"/>
                  <a:pt x="190774" y="455961"/>
                  <a:pt x="181440" y="432308"/>
                </a:cubicBezTo>
                <a:cubicBezTo>
                  <a:pt x="170959" y="405748"/>
                  <a:pt x="164933" y="378186"/>
                  <a:pt x="167535" y="349841"/>
                </a:cubicBezTo>
                <a:cubicBezTo>
                  <a:pt x="170341" y="319265"/>
                  <a:pt x="179208" y="289917"/>
                  <a:pt x="193488" y="262518"/>
                </a:cubicBezTo>
                <a:cubicBezTo>
                  <a:pt x="206512" y="237529"/>
                  <a:pt x="220831" y="213359"/>
                  <a:pt x="237748" y="190690"/>
                </a:cubicBezTo>
                <a:cubicBezTo>
                  <a:pt x="260421" y="160310"/>
                  <a:pt x="282602" y="129592"/>
                  <a:pt x="309459" y="102623"/>
                </a:cubicBezTo>
                <a:cubicBezTo>
                  <a:pt x="316627" y="95424"/>
                  <a:pt x="316261" y="87541"/>
                  <a:pt x="310459" y="78521"/>
                </a:cubicBezTo>
                <a:cubicBezTo>
                  <a:pt x="306309" y="72071"/>
                  <a:pt x="301695" y="65150"/>
                  <a:pt x="300267" y="57856"/>
                </a:cubicBezTo>
                <a:cubicBezTo>
                  <a:pt x="295286" y="32423"/>
                  <a:pt x="314502" y="10133"/>
                  <a:pt x="332242" y="4422"/>
                </a:cubicBezTo>
                <a:cubicBezTo>
                  <a:pt x="349540" y="-1148"/>
                  <a:pt x="367530" y="-2176"/>
                  <a:pt x="384904" y="5551"/>
                </a:cubicBezTo>
                <a:cubicBezTo>
                  <a:pt x="395271" y="10161"/>
                  <a:pt x="403310" y="17760"/>
                  <a:pt x="409773" y="26778"/>
                </a:cubicBezTo>
                <a:cubicBezTo>
                  <a:pt x="415168" y="34307"/>
                  <a:pt x="413749" y="41584"/>
                  <a:pt x="407026" y="46052"/>
                </a:cubicBezTo>
                <a:cubicBezTo>
                  <a:pt x="405624" y="40964"/>
                  <a:pt x="404503" y="35849"/>
                  <a:pt x="402771" y="30951"/>
                </a:cubicBezTo>
                <a:cubicBezTo>
                  <a:pt x="401450" y="27216"/>
                  <a:pt x="399383" y="28477"/>
                  <a:pt x="397038" y="30361"/>
                </a:cubicBezTo>
                <a:cubicBezTo>
                  <a:pt x="384440" y="15986"/>
                  <a:pt x="377037" y="14494"/>
                  <a:pt x="360694" y="22760"/>
                </a:cubicBezTo>
                <a:cubicBezTo>
                  <a:pt x="353707" y="22767"/>
                  <a:pt x="352275" y="27176"/>
                  <a:pt x="351669" y="31736"/>
                </a:cubicBezTo>
                <a:cubicBezTo>
                  <a:pt x="351136" y="35760"/>
                  <a:pt x="351383" y="39899"/>
                  <a:pt x="351426" y="43987"/>
                </a:cubicBezTo>
                <a:cubicBezTo>
                  <a:pt x="351648" y="64919"/>
                  <a:pt x="372389" y="78115"/>
                  <a:pt x="390968" y="68762"/>
                </a:cubicBezTo>
                <a:cubicBezTo>
                  <a:pt x="395158" y="66653"/>
                  <a:pt x="398534" y="62629"/>
                  <a:pt x="401770" y="59025"/>
                </a:cubicBezTo>
                <a:cubicBezTo>
                  <a:pt x="404045" y="56491"/>
                  <a:pt x="405661" y="53409"/>
                  <a:pt x="409619" y="55786"/>
                </a:cubicBezTo>
                <a:cubicBezTo>
                  <a:pt x="413544" y="58145"/>
                  <a:pt x="412176" y="61347"/>
                  <a:pt x="410427" y="64256"/>
                </a:cubicBezTo>
                <a:cubicBezTo>
                  <a:pt x="406872" y="70170"/>
                  <a:pt x="403244" y="76046"/>
                  <a:pt x="399453" y="81811"/>
                </a:cubicBezTo>
                <a:cubicBezTo>
                  <a:pt x="394663" y="89097"/>
                  <a:pt x="394382" y="94032"/>
                  <a:pt x="399346" y="98083"/>
                </a:cubicBezTo>
                <a:cubicBezTo>
                  <a:pt x="428062" y="121519"/>
                  <a:pt x="450822" y="150083"/>
                  <a:pt x="471592" y="180524"/>
                </a:cubicBezTo>
                <a:cubicBezTo>
                  <a:pt x="476398" y="187569"/>
                  <a:pt x="476844" y="193688"/>
                  <a:pt x="473550" y="200923"/>
                </a:cubicBezTo>
                <a:cubicBezTo>
                  <a:pt x="470171" y="208346"/>
                  <a:pt x="467091" y="215905"/>
                  <a:pt x="463677" y="223311"/>
                </a:cubicBezTo>
                <a:cubicBezTo>
                  <a:pt x="461993" y="226965"/>
                  <a:pt x="462995" y="228697"/>
                  <a:pt x="466852" y="229083"/>
                </a:cubicBezTo>
                <a:moveTo>
                  <a:pt x="474186" y="928382"/>
                </a:moveTo>
                <a:cubicBezTo>
                  <a:pt x="469297" y="891529"/>
                  <a:pt x="462961" y="854794"/>
                  <a:pt x="459927" y="817790"/>
                </a:cubicBezTo>
                <a:cubicBezTo>
                  <a:pt x="456905" y="780939"/>
                  <a:pt x="457197" y="743817"/>
                  <a:pt x="456025" y="706469"/>
                </a:cubicBezTo>
                <a:cubicBezTo>
                  <a:pt x="425780" y="707923"/>
                  <a:pt x="396554" y="709327"/>
                  <a:pt x="366863" y="710754"/>
                </a:cubicBezTo>
                <a:cubicBezTo>
                  <a:pt x="366546" y="714450"/>
                  <a:pt x="366201" y="716832"/>
                  <a:pt x="366159" y="719219"/>
                </a:cubicBezTo>
                <a:cubicBezTo>
                  <a:pt x="365479" y="757672"/>
                  <a:pt x="364935" y="796129"/>
                  <a:pt x="364159" y="834581"/>
                </a:cubicBezTo>
                <a:cubicBezTo>
                  <a:pt x="363450" y="869762"/>
                  <a:pt x="362581" y="904941"/>
                  <a:pt x="361633" y="940117"/>
                </a:cubicBezTo>
                <a:cubicBezTo>
                  <a:pt x="360619" y="977749"/>
                  <a:pt x="359431" y="1015376"/>
                  <a:pt x="358313" y="1053005"/>
                </a:cubicBezTo>
                <a:cubicBezTo>
                  <a:pt x="358265" y="1054641"/>
                  <a:pt x="358149" y="1056276"/>
                  <a:pt x="358081" y="1057912"/>
                </a:cubicBezTo>
                <a:cubicBezTo>
                  <a:pt x="356598" y="1093463"/>
                  <a:pt x="355081" y="1129014"/>
                  <a:pt x="353706" y="1164570"/>
                </a:cubicBezTo>
                <a:cubicBezTo>
                  <a:pt x="353604" y="1167221"/>
                  <a:pt x="354516" y="1169911"/>
                  <a:pt x="354951" y="1172547"/>
                </a:cubicBezTo>
                <a:cubicBezTo>
                  <a:pt x="416984" y="1173689"/>
                  <a:pt x="478158" y="1174816"/>
                  <a:pt x="540959" y="1175972"/>
                </a:cubicBezTo>
                <a:cubicBezTo>
                  <a:pt x="513162" y="1094194"/>
                  <a:pt x="489081" y="1013598"/>
                  <a:pt x="474186" y="928382"/>
                </a:cubicBezTo>
                <a:moveTo>
                  <a:pt x="513768" y="1417676"/>
                </a:moveTo>
                <a:cubicBezTo>
                  <a:pt x="515785" y="1417344"/>
                  <a:pt x="517792" y="1416889"/>
                  <a:pt x="519822" y="1416700"/>
                </a:cubicBezTo>
                <a:cubicBezTo>
                  <a:pt x="557234" y="1413220"/>
                  <a:pt x="594682" y="1410089"/>
                  <a:pt x="632041" y="1406122"/>
                </a:cubicBezTo>
                <a:cubicBezTo>
                  <a:pt x="643122" y="1404945"/>
                  <a:pt x="654730" y="1405292"/>
                  <a:pt x="665040" y="1400634"/>
                </a:cubicBezTo>
                <a:cubicBezTo>
                  <a:pt x="665352" y="1398517"/>
                  <a:pt x="665651" y="1397324"/>
                  <a:pt x="665677" y="1396126"/>
                </a:cubicBezTo>
                <a:cubicBezTo>
                  <a:pt x="665722" y="1394084"/>
                  <a:pt x="665674" y="1392032"/>
                  <a:pt x="665529" y="1389994"/>
                </a:cubicBezTo>
                <a:cubicBezTo>
                  <a:pt x="663118" y="1356121"/>
                  <a:pt x="650063" y="1327787"/>
                  <a:pt x="623046" y="1306238"/>
                </a:cubicBezTo>
                <a:cubicBezTo>
                  <a:pt x="613485" y="1298611"/>
                  <a:pt x="605001" y="1289635"/>
                  <a:pt x="596015" y="1281285"/>
                </a:cubicBezTo>
                <a:cubicBezTo>
                  <a:pt x="578506" y="1265018"/>
                  <a:pt x="567837" y="1245446"/>
                  <a:pt x="567683" y="1220059"/>
                </a:cubicBezTo>
                <a:cubicBezTo>
                  <a:pt x="558046" y="1220059"/>
                  <a:pt x="549136" y="1219649"/>
                  <a:pt x="540273" y="1220129"/>
                </a:cubicBezTo>
                <a:cubicBezTo>
                  <a:pt x="501512" y="1222229"/>
                  <a:pt x="462775" y="1224768"/>
                  <a:pt x="424010" y="1226781"/>
                </a:cubicBezTo>
                <a:cubicBezTo>
                  <a:pt x="401969" y="1227926"/>
                  <a:pt x="379889" y="1228330"/>
                  <a:pt x="357832" y="1229178"/>
                </a:cubicBezTo>
                <a:cubicBezTo>
                  <a:pt x="355938" y="1229251"/>
                  <a:pt x="354076" y="1230151"/>
                  <a:pt x="352386" y="1230616"/>
                </a:cubicBezTo>
                <a:cubicBezTo>
                  <a:pt x="353642" y="1262222"/>
                  <a:pt x="355769" y="1293219"/>
                  <a:pt x="355852" y="1324222"/>
                </a:cubicBezTo>
                <a:cubicBezTo>
                  <a:pt x="355936" y="1355438"/>
                  <a:pt x="353988" y="1386659"/>
                  <a:pt x="352930" y="1417867"/>
                </a:cubicBezTo>
                <a:cubicBezTo>
                  <a:pt x="406069" y="1417867"/>
                  <a:pt x="458771" y="1417867"/>
                  <a:pt x="513768" y="1417676"/>
                </a:cubicBezTo>
                <a:moveTo>
                  <a:pt x="387930" y="499741"/>
                </a:moveTo>
                <a:cubicBezTo>
                  <a:pt x="410797" y="498777"/>
                  <a:pt x="433665" y="497860"/>
                  <a:pt x="456529" y="496826"/>
                </a:cubicBezTo>
                <a:cubicBezTo>
                  <a:pt x="466656" y="496369"/>
                  <a:pt x="475418" y="493371"/>
                  <a:pt x="482355" y="485095"/>
                </a:cubicBezTo>
                <a:cubicBezTo>
                  <a:pt x="509188" y="453083"/>
                  <a:pt x="525387" y="416636"/>
                  <a:pt x="528016" y="374829"/>
                </a:cubicBezTo>
                <a:cubicBezTo>
                  <a:pt x="530547" y="334558"/>
                  <a:pt x="520095" y="297041"/>
                  <a:pt x="501375" y="261643"/>
                </a:cubicBezTo>
                <a:cubicBezTo>
                  <a:pt x="499379" y="257869"/>
                  <a:pt x="496654" y="254482"/>
                  <a:pt x="493534" y="249818"/>
                </a:cubicBezTo>
                <a:cubicBezTo>
                  <a:pt x="490233" y="254212"/>
                  <a:pt x="487883" y="256986"/>
                  <a:pt x="485920" y="260010"/>
                </a:cubicBezTo>
                <a:cubicBezTo>
                  <a:pt x="475010" y="276824"/>
                  <a:pt x="464300" y="293767"/>
                  <a:pt x="453305" y="310523"/>
                </a:cubicBezTo>
                <a:cubicBezTo>
                  <a:pt x="447028" y="320089"/>
                  <a:pt x="440916" y="329858"/>
                  <a:pt x="433678" y="338672"/>
                </a:cubicBezTo>
                <a:cubicBezTo>
                  <a:pt x="425909" y="348131"/>
                  <a:pt x="413084" y="349691"/>
                  <a:pt x="403713" y="343710"/>
                </a:cubicBezTo>
                <a:cubicBezTo>
                  <a:pt x="394358" y="337739"/>
                  <a:pt x="391675" y="327526"/>
                  <a:pt x="396427" y="315612"/>
                </a:cubicBezTo>
                <a:cubicBezTo>
                  <a:pt x="397334" y="313339"/>
                  <a:pt x="398595" y="311210"/>
                  <a:pt x="399663" y="309000"/>
                </a:cubicBezTo>
                <a:cubicBezTo>
                  <a:pt x="417094" y="272900"/>
                  <a:pt x="434331" y="236704"/>
                  <a:pt x="452097" y="200770"/>
                </a:cubicBezTo>
                <a:cubicBezTo>
                  <a:pt x="455910" y="193060"/>
                  <a:pt x="455310" y="187173"/>
                  <a:pt x="450118" y="180596"/>
                </a:cubicBezTo>
                <a:cubicBezTo>
                  <a:pt x="428273" y="152922"/>
                  <a:pt x="405805" y="125901"/>
                  <a:pt x="376545" y="105525"/>
                </a:cubicBezTo>
                <a:cubicBezTo>
                  <a:pt x="374483" y="104089"/>
                  <a:pt x="372013" y="103239"/>
                  <a:pt x="368791" y="101653"/>
                </a:cubicBezTo>
                <a:cubicBezTo>
                  <a:pt x="367942" y="116965"/>
                  <a:pt x="367019" y="130814"/>
                  <a:pt x="366449" y="144676"/>
                </a:cubicBezTo>
                <a:cubicBezTo>
                  <a:pt x="365912" y="157758"/>
                  <a:pt x="365593" y="170854"/>
                  <a:pt x="365447" y="183946"/>
                </a:cubicBezTo>
                <a:cubicBezTo>
                  <a:pt x="365020" y="221975"/>
                  <a:pt x="363367" y="260055"/>
                  <a:pt x="364738" y="298022"/>
                </a:cubicBezTo>
                <a:cubicBezTo>
                  <a:pt x="366329" y="342101"/>
                  <a:pt x="370336" y="386106"/>
                  <a:pt x="373865" y="430096"/>
                </a:cubicBezTo>
                <a:cubicBezTo>
                  <a:pt x="375530" y="450849"/>
                  <a:pt x="378387" y="471514"/>
                  <a:pt x="381088" y="492169"/>
                </a:cubicBezTo>
                <a:cubicBezTo>
                  <a:pt x="381433" y="494807"/>
                  <a:pt x="384102" y="497143"/>
                  <a:pt x="387930" y="499741"/>
                </a:cubicBezTo>
                <a:moveTo>
                  <a:pt x="455850" y="1521476"/>
                </a:moveTo>
                <a:cubicBezTo>
                  <a:pt x="533043" y="1519612"/>
                  <a:pt x="609810" y="1514084"/>
                  <a:pt x="685121" y="1496509"/>
                </a:cubicBezTo>
                <a:cubicBezTo>
                  <a:pt x="683922" y="1481705"/>
                  <a:pt x="679199" y="1467708"/>
                  <a:pt x="672999" y="1456665"/>
                </a:cubicBezTo>
                <a:cubicBezTo>
                  <a:pt x="669933" y="1451203"/>
                  <a:pt x="666057" y="1449329"/>
                  <a:pt x="660009" y="1450249"/>
                </a:cubicBezTo>
                <a:cubicBezTo>
                  <a:pt x="651125" y="1451601"/>
                  <a:pt x="642144" y="1452308"/>
                  <a:pt x="633248" y="1453589"/>
                </a:cubicBezTo>
                <a:cubicBezTo>
                  <a:pt x="572852" y="1462289"/>
                  <a:pt x="511993" y="1465134"/>
                  <a:pt x="451131" y="1467458"/>
                </a:cubicBezTo>
                <a:cubicBezTo>
                  <a:pt x="421697" y="1468582"/>
                  <a:pt x="392192" y="1467837"/>
                  <a:pt x="362719" y="1467934"/>
                </a:cubicBezTo>
                <a:cubicBezTo>
                  <a:pt x="358386" y="1467948"/>
                  <a:pt x="354052" y="1467936"/>
                  <a:pt x="349983" y="1467936"/>
                </a:cubicBezTo>
                <a:cubicBezTo>
                  <a:pt x="347592" y="1485362"/>
                  <a:pt x="348606" y="1509458"/>
                  <a:pt x="352220" y="1519140"/>
                </a:cubicBezTo>
                <a:cubicBezTo>
                  <a:pt x="385617" y="1519916"/>
                  <a:pt x="419507" y="1520703"/>
                  <a:pt x="455850" y="1521476"/>
                </a:cubicBezTo>
                <a:moveTo>
                  <a:pt x="368682" y="544846"/>
                </a:moveTo>
                <a:cubicBezTo>
                  <a:pt x="374258" y="564891"/>
                  <a:pt x="370074" y="584394"/>
                  <a:pt x="363600" y="605633"/>
                </a:cubicBezTo>
                <a:cubicBezTo>
                  <a:pt x="408859" y="604212"/>
                  <a:pt x="452263" y="602850"/>
                  <a:pt x="496351" y="601466"/>
                </a:cubicBezTo>
                <a:cubicBezTo>
                  <a:pt x="496109" y="591095"/>
                  <a:pt x="491408" y="584247"/>
                  <a:pt x="485068" y="579288"/>
                </a:cubicBezTo>
                <a:cubicBezTo>
                  <a:pt x="472414" y="569391"/>
                  <a:pt x="466934" y="556602"/>
                  <a:pt x="466524" y="541026"/>
                </a:cubicBezTo>
                <a:cubicBezTo>
                  <a:pt x="466485" y="539528"/>
                  <a:pt x="465591" y="538053"/>
                  <a:pt x="465000" y="536289"/>
                </a:cubicBezTo>
                <a:cubicBezTo>
                  <a:pt x="460209" y="536289"/>
                  <a:pt x="455761" y="536132"/>
                  <a:pt x="451328" y="536316"/>
                </a:cubicBezTo>
                <a:cubicBezTo>
                  <a:pt x="430930" y="537159"/>
                  <a:pt x="410538" y="538137"/>
                  <a:pt x="390140" y="538979"/>
                </a:cubicBezTo>
                <a:cubicBezTo>
                  <a:pt x="384834" y="539198"/>
                  <a:pt x="379484" y="538790"/>
                  <a:pt x="374215" y="539303"/>
                </a:cubicBezTo>
                <a:cubicBezTo>
                  <a:pt x="372259" y="539494"/>
                  <a:pt x="370480" y="541498"/>
                  <a:pt x="368682" y="544846"/>
                </a:cubicBezTo>
                <a:moveTo>
                  <a:pt x="453915" y="635267"/>
                </a:moveTo>
                <a:cubicBezTo>
                  <a:pt x="427589" y="636632"/>
                  <a:pt x="401262" y="637998"/>
                  <a:pt x="374200" y="639402"/>
                </a:cubicBezTo>
                <a:cubicBezTo>
                  <a:pt x="374200" y="651578"/>
                  <a:pt x="374200" y="661970"/>
                  <a:pt x="374200" y="673206"/>
                </a:cubicBezTo>
                <a:cubicBezTo>
                  <a:pt x="378672" y="673406"/>
                  <a:pt x="382666" y="673863"/>
                  <a:pt x="386639" y="673718"/>
                </a:cubicBezTo>
                <a:cubicBezTo>
                  <a:pt x="431495" y="672082"/>
                  <a:pt x="476352" y="670422"/>
                  <a:pt x="521198" y="668541"/>
                </a:cubicBezTo>
                <a:cubicBezTo>
                  <a:pt x="525584" y="668357"/>
                  <a:pt x="530162" y="667254"/>
                  <a:pt x="534198" y="665521"/>
                </a:cubicBezTo>
                <a:cubicBezTo>
                  <a:pt x="540213" y="662938"/>
                  <a:pt x="541802" y="658194"/>
                  <a:pt x="538413" y="652526"/>
                </a:cubicBezTo>
                <a:cubicBezTo>
                  <a:pt x="536192" y="648813"/>
                  <a:pt x="532979" y="645251"/>
                  <a:pt x="529377" y="642895"/>
                </a:cubicBezTo>
                <a:cubicBezTo>
                  <a:pt x="521426" y="637695"/>
                  <a:pt x="512576" y="634669"/>
                  <a:pt x="502829" y="634808"/>
                </a:cubicBezTo>
                <a:cubicBezTo>
                  <a:pt x="487311" y="635030"/>
                  <a:pt x="471791" y="635092"/>
                  <a:pt x="453915" y="635267"/>
                </a:cubicBezTo>
                <a:close/>
              </a:path>
            </a:pathLst>
          </a:custGeom>
          <a:solidFill>
            <a:srgbClr val="CDD9DF"/>
          </a:solidFill>
          <a:ln w="12700" cap="flat">
            <a:solidFill>
              <a:srgbClr val="CDD9DF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02" name="Free-form: Shape 301">
            <a:extLst>
              <a:ext uri="{FF2B5EF4-FFF2-40B4-BE49-F238E27FC236}">
                <a16:creationId xmlns:a16="http://schemas.microsoft.com/office/drawing/2014/main" id="{FA629F7A-3DB1-4A2B-78A0-F5E84CDC53EB}"/>
              </a:ext>
            </a:extLst>
          </p:cNvPr>
          <p:cNvSpPr/>
          <p:nvPr/>
        </p:nvSpPr>
        <p:spPr>
          <a:xfrm>
            <a:off x="8433226" y="4358634"/>
            <a:ext cx="665488" cy="1428730"/>
          </a:xfrm>
          <a:custGeom>
            <a:avLst/>
            <a:gdLst>
              <a:gd name="csX0" fmla="*/ 406842 w 732037"/>
              <a:gd name="csY0" fmla="*/ 38347 h 1571603"/>
              <a:gd name="csX1" fmla="*/ 411944 w 732037"/>
              <a:gd name="csY1" fmla="*/ 38343 h 1571603"/>
              <a:gd name="csX2" fmla="*/ 416198 w 732037"/>
              <a:gd name="csY2" fmla="*/ 53444 h 1571603"/>
              <a:gd name="csX3" fmla="*/ 418945 w 732037"/>
              <a:gd name="csY3" fmla="*/ 34170 h 1571603"/>
              <a:gd name="csX4" fmla="*/ 394077 w 732037"/>
              <a:gd name="csY4" fmla="*/ 12943 h 1571603"/>
              <a:gd name="csX5" fmla="*/ 341415 w 732037"/>
              <a:gd name="csY5" fmla="*/ 11814 h 1571603"/>
              <a:gd name="csX6" fmla="*/ 309440 w 732037"/>
              <a:gd name="csY6" fmla="*/ 65249 h 1571603"/>
              <a:gd name="csX7" fmla="*/ 319632 w 732037"/>
              <a:gd name="csY7" fmla="*/ 85914 h 1571603"/>
              <a:gd name="csX8" fmla="*/ 318632 w 732037"/>
              <a:gd name="csY8" fmla="*/ 110015 h 1571603"/>
              <a:gd name="csX9" fmla="*/ 246921 w 732037"/>
              <a:gd name="csY9" fmla="*/ 198083 h 1571603"/>
              <a:gd name="csX10" fmla="*/ 202660 w 732037"/>
              <a:gd name="csY10" fmla="*/ 269911 h 1571603"/>
              <a:gd name="csX11" fmla="*/ 176707 w 732037"/>
              <a:gd name="csY11" fmla="*/ 357233 h 1571603"/>
              <a:gd name="csX12" fmla="*/ 190612 w 732037"/>
              <a:gd name="csY12" fmla="*/ 439700 h 1571603"/>
              <a:gd name="csX13" fmla="*/ 227544 w 732037"/>
              <a:gd name="csY13" fmla="*/ 505527 h 1571603"/>
              <a:gd name="csX14" fmla="*/ 232541 w 732037"/>
              <a:gd name="csY14" fmla="*/ 516294 h 1571603"/>
              <a:gd name="csX15" fmla="*/ 224356 w 732037"/>
              <a:gd name="csY15" fmla="*/ 528960 h 1571603"/>
              <a:gd name="csX16" fmla="*/ 227944 w 732037"/>
              <a:gd name="csY16" fmla="*/ 540026 h 1571603"/>
              <a:gd name="csX17" fmla="*/ 238897 w 732037"/>
              <a:gd name="csY17" fmla="*/ 545570 h 1571603"/>
              <a:gd name="csX18" fmla="*/ 242386 w 732037"/>
              <a:gd name="csY18" fmla="*/ 571785 h 1571603"/>
              <a:gd name="csX19" fmla="*/ 214067 w 732037"/>
              <a:gd name="csY19" fmla="*/ 590809 h 1571603"/>
              <a:gd name="csX20" fmla="*/ 201355 w 732037"/>
              <a:gd name="csY20" fmla="*/ 609067 h 1571603"/>
              <a:gd name="csX21" fmla="*/ 188474 w 732037"/>
              <a:gd name="csY21" fmla="*/ 628398 h 1571603"/>
              <a:gd name="csX22" fmla="*/ 162658 w 732037"/>
              <a:gd name="csY22" fmla="*/ 657096 h 1571603"/>
              <a:gd name="csX23" fmla="*/ 175395 w 732037"/>
              <a:gd name="csY23" fmla="*/ 691621 h 1571603"/>
              <a:gd name="csX24" fmla="*/ 201948 w 732037"/>
              <a:gd name="csY24" fmla="*/ 700523 h 1571603"/>
              <a:gd name="csX25" fmla="*/ 241426 w 732037"/>
              <a:gd name="csY25" fmla="*/ 706574 h 1571603"/>
              <a:gd name="csX26" fmla="*/ 242586 w 732037"/>
              <a:gd name="csY26" fmla="*/ 715946 h 1571603"/>
              <a:gd name="csX27" fmla="*/ 242424 w 732037"/>
              <a:gd name="csY27" fmla="*/ 801932 h 1571603"/>
              <a:gd name="csX28" fmla="*/ 238000 w 732037"/>
              <a:gd name="csY28" fmla="*/ 846774 h 1571603"/>
              <a:gd name="csX29" fmla="*/ 232752 w 732037"/>
              <a:gd name="csY29" fmla="*/ 891559 h 1571603"/>
              <a:gd name="csX30" fmla="*/ 223037 w 732037"/>
              <a:gd name="csY30" fmla="*/ 950433 h 1571603"/>
              <a:gd name="csX31" fmla="*/ 210247 w 732037"/>
              <a:gd name="csY31" fmla="*/ 1012485 h 1571603"/>
              <a:gd name="csX32" fmla="*/ 194820 w 732037"/>
              <a:gd name="csY32" fmla="*/ 1069074 h 1571603"/>
              <a:gd name="csX33" fmla="*/ 165707 w 732037"/>
              <a:gd name="csY33" fmla="*/ 1163788 h 1571603"/>
              <a:gd name="csX34" fmla="*/ 144382 w 732037"/>
              <a:gd name="csY34" fmla="*/ 1185530 h 1571603"/>
              <a:gd name="csX35" fmla="*/ 129590 w 732037"/>
              <a:gd name="csY35" fmla="*/ 1191342 h 1571603"/>
              <a:gd name="csX36" fmla="*/ 122255 w 732037"/>
              <a:gd name="csY36" fmla="*/ 1208476 h 1571603"/>
              <a:gd name="csX37" fmla="*/ 127491 w 732037"/>
              <a:gd name="csY37" fmla="*/ 1222193 h 1571603"/>
              <a:gd name="csX38" fmla="*/ 118348 w 732037"/>
              <a:gd name="csY38" fmla="*/ 1261470 h 1571603"/>
              <a:gd name="csX39" fmla="*/ 58232 w 732037"/>
              <a:gd name="csY39" fmla="*/ 1319224 h 1571603"/>
              <a:gd name="csX40" fmla="*/ 28815 w 732037"/>
              <a:gd name="csY40" fmla="*/ 1389717 h 1571603"/>
              <a:gd name="csX41" fmla="*/ 32634 w 732037"/>
              <a:gd name="csY41" fmla="*/ 1426050 h 1571603"/>
              <a:gd name="csX42" fmla="*/ 30331 w 732037"/>
              <a:gd name="csY42" fmla="*/ 1441003 h 1571603"/>
              <a:gd name="csX43" fmla="*/ 9180 w 732037"/>
              <a:gd name="csY43" fmla="*/ 1516655 h 1571603"/>
              <a:gd name="csX44" fmla="*/ 20082 w 732037"/>
              <a:gd name="csY44" fmla="*/ 1531402 h 1571603"/>
              <a:gd name="csX45" fmla="*/ 74798 w 732037"/>
              <a:gd name="csY45" fmla="*/ 1543794 h 1571603"/>
              <a:gd name="csX46" fmla="*/ 113225 w 732037"/>
              <a:gd name="csY46" fmla="*/ 1550305 h 1571603"/>
              <a:gd name="csX47" fmla="*/ 136142 w 732037"/>
              <a:gd name="csY47" fmla="*/ 1553484 h 1571603"/>
              <a:gd name="csX48" fmla="*/ 177578 w 732037"/>
              <a:gd name="csY48" fmla="*/ 1556220 h 1571603"/>
              <a:gd name="csX49" fmla="*/ 231027 w 732037"/>
              <a:gd name="csY49" fmla="*/ 1560698 h 1571603"/>
              <a:gd name="csX50" fmla="*/ 254342 w 732037"/>
              <a:gd name="csY50" fmla="*/ 1561142 h 1571603"/>
              <a:gd name="csX51" fmla="*/ 459180 w 732037"/>
              <a:gd name="csY51" fmla="*/ 1563411 h 1571603"/>
              <a:gd name="csX52" fmla="*/ 531340 w 732037"/>
              <a:gd name="csY52" fmla="*/ 1560936 h 1571603"/>
              <a:gd name="csX53" fmla="*/ 590888 w 732037"/>
              <a:gd name="csY53" fmla="*/ 1555951 h 1571603"/>
              <a:gd name="csX54" fmla="*/ 710712 w 732037"/>
              <a:gd name="csY54" fmla="*/ 1533916 h 1571603"/>
              <a:gd name="csX55" fmla="*/ 724356 w 732037"/>
              <a:gd name="csY55" fmla="*/ 1516144 h 1571603"/>
              <a:gd name="csX56" fmla="*/ 707380 w 732037"/>
              <a:gd name="csY56" fmla="*/ 1449380 h 1571603"/>
              <a:gd name="csX57" fmla="*/ 707050 w 732037"/>
              <a:gd name="csY57" fmla="*/ 1440881 h 1571603"/>
              <a:gd name="csX58" fmla="*/ 731479 w 732037"/>
              <a:gd name="csY58" fmla="*/ 1500017 h 1571603"/>
              <a:gd name="csX59" fmla="*/ 731163 w 732037"/>
              <a:gd name="csY59" fmla="*/ 1513759 h 1571603"/>
              <a:gd name="csX60" fmla="*/ 731650 w 732037"/>
              <a:gd name="csY60" fmla="*/ 1521766 h 1571603"/>
              <a:gd name="csX61" fmla="*/ 721896 w 732037"/>
              <a:gd name="csY61" fmla="*/ 1537319 h 1571603"/>
              <a:gd name="csX62" fmla="*/ 657740 w 732037"/>
              <a:gd name="csY62" fmla="*/ 1553265 h 1571603"/>
              <a:gd name="csX63" fmla="*/ 507791 w 732037"/>
              <a:gd name="csY63" fmla="*/ 1568943 h 1571603"/>
              <a:gd name="csX64" fmla="*/ 264676 w 732037"/>
              <a:gd name="csY64" fmla="*/ 1569724 h 1571603"/>
              <a:gd name="csX65" fmla="*/ 82743 w 732037"/>
              <a:gd name="csY65" fmla="*/ 1553254 h 1571603"/>
              <a:gd name="csX66" fmla="*/ 17072 w 732037"/>
              <a:gd name="csY66" fmla="*/ 1538153 h 1571603"/>
              <a:gd name="csX67" fmla="*/ 275 w 732037"/>
              <a:gd name="csY67" fmla="*/ 1513030 h 1571603"/>
              <a:gd name="csX68" fmla="*/ 20923 w 732037"/>
              <a:gd name="csY68" fmla="*/ 1441861 h 1571603"/>
              <a:gd name="csX69" fmla="*/ 23045 w 732037"/>
              <a:gd name="csY69" fmla="*/ 1423105 h 1571603"/>
              <a:gd name="csX70" fmla="*/ 30564 w 732037"/>
              <a:gd name="csY70" fmla="*/ 1346289 h 1571603"/>
              <a:gd name="csX71" fmla="*/ 71350 w 732037"/>
              <a:gd name="csY71" fmla="*/ 1295039 h 1571603"/>
              <a:gd name="csX72" fmla="*/ 112257 w 732037"/>
              <a:gd name="csY72" fmla="*/ 1255093 h 1571603"/>
              <a:gd name="csX73" fmla="*/ 115864 w 732037"/>
              <a:gd name="csY73" fmla="*/ 1217271 h 1571603"/>
              <a:gd name="csX74" fmla="*/ 112256 w 732037"/>
              <a:gd name="csY74" fmla="*/ 1210870 h 1571603"/>
              <a:gd name="csX75" fmla="*/ 121141 w 732037"/>
              <a:gd name="csY75" fmla="*/ 1186548 h 1571603"/>
              <a:gd name="csX76" fmla="*/ 136571 w 732037"/>
              <a:gd name="csY76" fmla="*/ 1179850 h 1571603"/>
              <a:gd name="csX77" fmla="*/ 158281 w 732037"/>
              <a:gd name="csY77" fmla="*/ 1157879 h 1571603"/>
              <a:gd name="csX78" fmla="*/ 187986 w 732037"/>
              <a:gd name="csY78" fmla="*/ 1059736 h 1571603"/>
              <a:gd name="csX79" fmla="*/ 217119 w 732037"/>
              <a:gd name="csY79" fmla="*/ 938896 h 1571603"/>
              <a:gd name="csX80" fmla="*/ 225792 w 732037"/>
              <a:gd name="csY80" fmla="*/ 893236 h 1571603"/>
              <a:gd name="csX81" fmla="*/ 226150 w 732037"/>
              <a:gd name="csY81" fmla="*/ 887970 h 1571603"/>
              <a:gd name="csX82" fmla="*/ 230782 w 732037"/>
              <a:gd name="csY82" fmla="*/ 853969 h 1571603"/>
              <a:gd name="csX83" fmla="*/ 230786 w 732037"/>
              <a:gd name="csY83" fmla="*/ 848558 h 1571603"/>
              <a:gd name="csX84" fmla="*/ 233315 w 732037"/>
              <a:gd name="csY84" fmla="*/ 824438 h 1571603"/>
              <a:gd name="csX85" fmla="*/ 233199 w 732037"/>
              <a:gd name="csY85" fmla="*/ 819050 h 1571603"/>
              <a:gd name="csX86" fmla="*/ 235848 w 732037"/>
              <a:gd name="csY86" fmla="*/ 782380 h 1571603"/>
              <a:gd name="csX87" fmla="*/ 237465 w 732037"/>
              <a:gd name="csY87" fmla="*/ 719113 h 1571603"/>
              <a:gd name="csX88" fmla="*/ 233057 w 732037"/>
              <a:gd name="csY88" fmla="*/ 713160 h 1571603"/>
              <a:gd name="csX89" fmla="*/ 203056 w 732037"/>
              <a:gd name="csY89" fmla="*/ 708405 h 1571603"/>
              <a:gd name="csX90" fmla="*/ 169628 w 732037"/>
              <a:gd name="csY90" fmla="*/ 698106 h 1571603"/>
              <a:gd name="csX91" fmla="*/ 153237 w 732037"/>
              <a:gd name="csY91" fmla="*/ 659111 h 1571603"/>
              <a:gd name="csX92" fmla="*/ 178365 w 732037"/>
              <a:gd name="csY92" fmla="*/ 626008 h 1571603"/>
              <a:gd name="csX93" fmla="*/ 191885 w 732037"/>
              <a:gd name="csY93" fmla="*/ 617513 h 1571603"/>
              <a:gd name="csX94" fmla="*/ 193681 w 732037"/>
              <a:gd name="csY94" fmla="*/ 610098 h 1571603"/>
              <a:gd name="csX95" fmla="*/ 213301 w 732037"/>
              <a:gd name="csY95" fmla="*/ 579885 h 1571603"/>
              <a:gd name="csX96" fmla="*/ 229635 w 732037"/>
              <a:gd name="csY96" fmla="*/ 571429 h 1571603"/>
              <a:gd name="csX97" fmla="*/ 237351 w 732037"/>
              <a:gd name="csY97" fmla="*/ 565882 h 1571603"/>
              <a:gd name="csX98" fmla="*/ 233673 w 732037"/>
              <a:gd name="csY98" fmla="*/ 550926 h 1571603"/>
              <a:gd name="csX99" fmla="*/ 226799 w 732037"/>
              <a:gd name="csY99" fmla="*/ 548359 h 1571603"/>
              <a:gd name="csX100" fmla="*/ 218639 w 732037"/>
              <a:gd name="csY100" fmla="*/ 522664 h 1571603"/>
              <a:gd name="csX101" fmla="*/ 218264 w 732037"/>
              <a:gd name="csY101" fmla="*/ 505463 h 1571603"/>
              <a:gd name="csX102" fmla="*/ 181762 w 732037"/>
              <a:gd name="csY102" fmla="*/ 437574 h 1571603"/>
              <a:gd name="csX103" fmla="*/ 185971 w 732037"/>
              <a:gd name="csY103" fmla="*/ 289069 h 1571603"/>
              <a:gd name="csX104" fmla="*/ 253787 w 732037"/>
              <a:gd name="csY104" fmla="*/ 175580 h 1571603"/>
              <a:gd name="csX105" fmla="*/ 309639 w 732037"/>
              <a:gd name="csY105" fmla="*/ 108695 h 1571603"/>
              <a:gd name="csX106" fmla="*/ 318061 w 732037"/>
              <a:gd name="csY106" fmla="*/ 98855 h 1571603"/>
              <a:gd name="csX107" fmla="*/ 304967 w 732037"/>
              <a:gd name="csY107" fmla="*/ 70056 h 1571603"/>
              <a:gd name="csX108" fmla="*/ 317012 w 732037"/>
              <a:gd name="csY108" fmla="*/ 19436 h 1571603"/>
              <a:gd name="csX109" fmla="*/ 415542 w 732037"/>
              <a:gd name="csY109" fmla="*/ 18221 h 1571603"/>
              <a:gd name="csX110" fmla="*/ 423203 w 732037"/>
              <a:gd name="csY110" fmla="*/ 82660 h 1571603"/>
              <a:gd name="csX111" fmla="*/ 413361 w 732037"/>
              <a:gd name="csY111" fmla="*/ 97975 h 1571603"/>
              <a:gd name="csX112" fmla="*/ 421654 w 732037"/>
              <a:gd name="csY112" fmla="*/ 106676 h 1571603"/>
              <a:gd name="csX113" fmla="*/ 487032 w 732037"/>
              <a:gd name="csY113" fmla="*/ 184632 h 1571603"/>
              <a:gd name="csX114" fmla="*/ 489213 w 732037"/>
              <a:gd name="csY114" fmla="*/ 208238 h 1571603"/>
              <a:gd name="csX115" fmla="*/ 476520 w 732037"/>
              <a:gd name="csY115" fmla="*/ 235738 h 1571603"/>
              <a:gd name="csX116" fmla="*/ 472850 w 732037"/>
              <a:gd name="csY116" fmla="*/ 230703 h 1571603"/>
              <a:gd name="csX117" fmla="*/ 482723 w 732037"/>
              <a:gd name="csY117" fmla="*/ 208315 h 1571603"/>
              <a:gd name="csX118" fmla="*/ 480764 w 732037"/>
              <a:gd name="csY118" fmla="*/ 187916 h 1571603"/>
              <a:gd name="csX119" fmla="*/ 408519 w 732037"/>
              <a:gd name="csY119" fmla="*/ 105475 h 1571603"/>
              <a:gd name="csX120" fmla="*/ 408625 w 732037"/>
              <a:gd name="csY120" fmla="*/ 89203 h 1571603"/>
              <a:gd name="csX121" fmla="*/ 419600 w 732037"/>
              <a:gd name="csY121" fmla="*/ 71648 h 1571603"/>
              <a:gd name="csX122" fmla="*/ 418792 w 732037"/>
              <a:gd name="csY122" fmla="*/ 63179 h 1571603"/>
              <a:gd name="csX123" fmla="*/ 410943 w 732037"/>
              <a:gd name="csY123" fmla="*/ 66417 h 1571603"/>
              <a:gd name="csX124" fmla="*/ 400140 w 732037"/>
              <a:gd name="csY124" fmla="*/ 76155 h 1571603"/>
              <a:gd name="csX125" fmla="*/ 360599 w 732037"/>
              <a:gd name="csY125" fmla="*/ 51379 h 1571603"/>
              <a:gd name="csX126" fmla="*/ 360842 w 732037"/>
              <a:gd name="csY126" fmla="*/ 39128 h 1571603"/>
              <a:gd name="csX127" fmla="*/ 369470 w 732037"/>
              <a:gd name="csY127" fmla="*/ 30960 h 1571603"/>
              <a:gd name="csX128" fmla="*/ 365613 w 732037"/>
              <a:gd name="csY128" fmla="*/ 49108 h 1571603"/>
              <a:gd name="csX129" fmla="*/ 389468 w 732037"/>
              <a:gd name="csY129" fmla="*/ 71608 h 1571603"/>
              <a:gd name="csX130" fmla="*/ 408822 w 732037"/>
              <a:gd name="csY130" fmla="*/ 46613 h 1571603"/>
              <a:gd name="csX131" fmla="*/ 406842 w 732037"/>
              <a:gd name="csY131" fmla="*/ 38347 h 157160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</a:cxnLst>
            <a:rect l="l" t="t" r="r" b="b"/>
            <a:pathLst>
              <a:path w="732037" h="1571603">
                <a:moveTo>
                  <a:pt x="406842" y="38347"/>
                </a:moveTo>
                <a:cubicBezTo>
                  <a:pt x="408555" y="35869"/>
                  <a:pt x="410622" y="34608"/>
                  <a:pt x="411944" y="38343"/>
                </a:cubicBezTo>
                <a:cubicBezTo>
                  <a:pt x="413676" y="43242"/>
                  <a:pt x="414797" y="48356"/>
                  <a:pt x="416198" y="53444"/>
                </a:cubicBezTo>
                <a:cubicBezTo>
                  <a:pt x="422922" y="48977"/>
                  <a:pt x="424340" y="41699"/>
                  <a:pt x="418945" y="34170"/>
                </a:cubicBezTo>
                <a:cubicBezTo>
                  <a:pt x="412483" y="25152"/>
                  <a:pt x="404444" y="17554"/>
                  <a:pt x="394077" y="12943"/>
                </a:cubicBezTo>
                <a:cubicBezTo>
                  <a:pt x="376702" y="5216"/>
                  <a:pt x="358713" y="6244"/>
                  <a:pt x="341415" y="11814"/>
                </a:cubicBezTo>
                <a:cubicBezTo>
                  <a:pt x="323675" y="17525"/>
                  <a:pt x="304459" y="39816"/>
                  <a:pt x="309440" y="65249"/>
                </a:cubicBezTo>
                <a:cubicBezTo>
                  <a:pt x="310868" y="72543"/>
                  <a:pt x="315482" y="79463"/>
                  <a:pt x="319632" y="85914"/>
                </a:cubicBezTo>
                <a:cubicBezTo>
                  <a:pt x="325434" y="94933"/>
                  <a:pt x="325800" y="102817"/>
                  <a:pt x="318632" y="110015"/>
                </a:cubicBezTo>
                <a:cubicBezTo>
                  <a:pt x="291775" y="136984"/>
                  <a:pt x="269594" y="167702"/>
                  <a:pt x="246921" y="198083"/>
                </a:cubicBezTo>
                <a:cubicBezTo>
                  <a:pt x="230003" y="220751"/>
                  <a:pt x="215685" y="244921"/>
                  <a:pt x="202660" y="269911"/>
                </a:cubicBezTo>
                <a:cubicBezTo>
                  <a:pt x="188381" y="297309"/>
                  <a:pt x="179513" y="326657"/>
                  <a:pt x="176707" y="357233"/>
                </a:cubicBezTo>
                <a:cubicBezTo>
                  <a:pt x="174106" y="385578"/>
                  <a:pt x="180131" y="413140"/>
                  <a:pt x="190612" y="439700"/>
                </a:cubicBezTo>
                <a:cubicBezTo>
                  <a:pt x="199946" y="463353"/>
                  <a:pt x="211538" y="485623"/>
                  <a:pt x="227544" y="505527"/>
                </a:cubicBezTo>
                <a:cubicBezTo>
                  <a:pt x="229982" y="508558"/>
                  <a:pt x="230954" y="512768"/>
                  <a:pt x="232541" y="516294"/>
                </a:cubicBezTo>
                <a:cubicBezTo>
                  <a:pt x="229578" y="520824"/>
                  <a:pt x="226658" y="524724"/>
                  <a:pt x="224356" y="528960"/>
                </a:cubicBezTo>
                <a:cubicBezTo>
                  <a:pt x="221823" y="533618"/>
                  <a:pt x="222675" y="537588"/>
                  <a:pt x="227944" y="540026"/>
                </a:cubicBezTo>
                <a:cubicBezTo>
                  <a:pt x="231656" y="541743"/>
                  <a:pt x="235331" y="543568"/>
                  <a:pt x="238897" y="545570"/>
                </a:cubicBezTo>
                <a:cubicBezTo>
                  <a:pt x="249613" y="551585"/>
                  <a:pt x="251795" y="563681"/>
                  <a:pt x="242386" y="571785"/>
                </a:cubicBezTo>
                <a:cubicBezTo>
                  <a:pt x="233816" y="579166"/>
                  <a:pt x="224045" y="585423"/>
                  <a:pt x="214067" y="590809"/>
                </a:cubicBezTo>
                <a:cubicBezTo>
                  <a:pt x="206271" y="595018"/>
                  <a:pt x="202051" y="601487"/>
                  <a:pt x="201355" y="609067"/>
                </a:cubicBezTo>
                <a:cubicBezTo>
                  <a:pt x="200489" y="618497"/>
                  <a:pt x="195720" y="623726"/>
                  <a:pt x="188474" y="628398"/>
                </a:cubicBezTo>
                <a:cubicBezTo>
                  <a:pt x="177332" y="635582"/>
                  <a:pt x="167866" y="644503"/>
                  <a:pt x="162658" y="657096"/>
                </a:cubicBezTo>
                <a:cubicBezTo>
                  <a:pt x="156420" y="672181"/>
                  <a:pt x="160439" y="684301"/>
                  <a:pt x="175395" y="691621"/>
                </a:cubicBezTo>
                <a:cubicBezTo>
                  <a:pt x="183722" y="695697"/>
                  <a:pt x="192859" y="698589"/>
                  <a:pt x="201948" y="700523"/>
                </a:cubicBezTo>
                <a:cubicBezTo>
                  <a:pt x="214634" y="703224"/>
                  <a:pt x="227616" y="704530"/>
                  <a:pt x="241426" y="706574"/>
                </a:cubicBezTo>
                <a:cubicBezTo>
                  <a:pt x="241839" y="709770"/>
                  <a:pt x="242576" y="712857"/>
                  <a:pt x="242586" y="715946"/>
                </a:cubicBezTo>
                <a:cubicBezTo>
                  <a:pt x="242672" y="744610"/>
                  <a:pt x="243133" y="773285"/>
                  <a:pt x="242424" y="801932"/>
                </a:cubicBezTo>
                <a:cubicBezTo>
                  <a:pt x="242053" y="816907"/>
                  <a:pt x="239631" y="831838"/>
                  <a:pt x="238000" y="846774"/>
                </a:cubicBezTo>
                <a:cubicBezTo>
                  <a:pt x="236368" y="861717"/>
                  <a:pt x="234927" y="876693"/>
                  <a:pt x="232752" y="891559"/>
                </a:cubicBezTo>
                <a:cubicBezTo>
                  <a:pt x="229873" y="911238"/>
                  <a:pt x="226675" y="930882"/>
                  <a:pt x="223037" y="950433"/>
                </a:cubicBezTo>
                <a:cubicBezTo>
                  <a:pt x="219173" y="971193"/>
                  <a:pt x="215113" y="991942"/>
                  <a:pt x="210247" y="1012485"/>
                </a:cubicBezTo>
                <a:cubicBezTo>
                  <a:pt x="205743" y="1031500"/>
                  <a:pt x="200395" y="1050337"/>
                  <a:pt x="194820" y="1069074"/>
                </a:cubicBezTo>
                <a:cubicBezTo>
                  <a:pt x="185401" y="1100731"/>
                  <a:pt x="175708" y="1132311"/>
                  <a:pt x="165707" y="1163788"/>
                </a:cubicBezTo>
                <a:cubicBezTo>
                  <a:pt x="162367" y="1174302"/>
                  <a:pt x="156145" y="1182634"/>
                  <a:pt x="144382" y="1185530"/>
                </a:cubicBezTo>
                <a:cubicBezTo>
                  <a:pt x="139281" y="1186787"/>
                  <a:pt x="134434" y="1189193"/>
                  <a:pt x="129590" y="1191342"/>
                </a:cubicBezTo>
                <a:cubicBezTo>
                  <a:pt x="120028" y="1195581"/>
                  <a:pt x="118779" y="1198539"/>
                  <a:pt x="122255" y="1208476"/>
                </a:cubicBezTo>
                <a:cubicBezTo>
                  <a:pt x="123870" y="1213094"/>
                  <a:pt x="125990" y="1217542"/>
                  <a:pt x="127491" y="1222193"/>
                </a:cubicBezTo>
                <a:cubicBezTo>
                  <a:pt x="132294" y="1237066"/>
                  <a:pt x="129961" y="1250353"/>
                  <a:pt x="118348" y="1261470"/>
                </a:cubicBezTo>
                <a:cubicBezTo>
                  <a:pt x="98275" y="1280686"/>
                  <a:pt x="78038" y="1299737"/>
                  <a:pt x="58232" y="1319224"/>
                </a:cubicBezTo>
                <a:cubicBezTo>
                  <a:pt x="38634" y="1338507"/>
                  <a:pt x="29913" y="1362564"/>
                  <a:pt x="28815" y="1389717"/>
                </a:cubicBezTo>
                <a:cubicBezTo>
                  <a:pt x="28318" y="1402031"/>
                  <a:pt x="29110" y="1414206"/>
                  <a:pt x="32634" y="1426050"/>
                </a:cubicBezTo>
                <a:cubicBezTo>
                  <a:pt x="34273" y="1431554"/>
                  <a:pt x="33300" y="1435929"/>
                  <a:pt x="30331" y="1441003"/>
                </a:cubicBezTo>
                <a:cubicBezTo>
                  <a:pt x="16698" y="1464298"/>
                  <a:pt x="8890" y="1489397"/>
                  <a:pt x="9180" y="1516655"/>
                </a:cubicBezTo>
                <a:cubicBezTo>
                  <a:pt x="9291" y="1527012"/>
                  <a:pt x="9917" y="1528771"/>
                  <a:pt x="20082" y="1531402"/>
                </a:cubicBezTo>
                <a:cubicBezTo>
                  <a:pt x="38179" y="1536086"/>
                  <a:pt x="56480" y="1540035"/>
                  <a:pt x="74798" y="1543794"/>
                </a:cubicBezTo>
                <a:cubicBezTo>
                  <a:pt x="87517" y="1546403"/>
                  <a:pt x="100396" y="1548250"/>
                  <a:pt x="113225" y="1550305"/>
                </a:cubicBezTo>
                <a:cubicBezTo>
                  <a:pt x="120841" y="1551524"/>
                  <a:pt x="128467" y="1552843"/>
                  <a:pt x="136142" y="1553484"/>
                </a:cubicBezTo>
                <a:cubicBezTo>
                  <a:pt x="149934" y="1554635"/>
                  <a:pt x="163778" y="1555156"/>
                  <a:pt x="177578" y="1556220"/>
                </a:cubicBezTo>
                <a:cubicBezTo>
                  <a:pt x="195403" y="1557595"/>
                  <a:pt x="213196" y="1559407"/>
                  <a:pt x="231027" y="1560698"/>
                </a:cubicBezTo>
                <a:cubicBezTo>
                  <a:pt x="238768" y="1561259"/>
                  <a:pt x="246585" y="1560709"/>
                  <a:pt x="254342" y="1561142"/>
                </a:cubicBezTo>
                <a:cubicBezTo>
                  <a:pt x="322588" y="1564942"/>
                  <a:pt x="390896" y="1563427"/>
                  <a:pt x="459180" y="1563411"/>
                </a:cubicBezTo>
                <a:cubicBezTo>
                  <a:pt x="483236" y="1563406"/>
                  <a:pt x="507311" y="1562248"/>
                  <a:pt x="531340" y="1560936"/>
                </a:cubicBezTo>
                <a:cubicBezTo>
                  <a:pt x="551225" y="1559849"/>
                  <a:pt x="571160" y="1558554"/>
                  <a:pt x="590888" y="1555951"/>
                </a:cubicBezTo>
                <a:cubicBezTo>
                  <a:pt x="631179" y="1550635"/>
                  <a:pt x="671338" y="1544328"/>
                  <a:pt x="710712" y="1533916"/>
                </a:cubicBezTo>
                <a:cubicBezTo>
                  <a:pt x="722630" y="1530764"/>
                  <a:pt x="724036" y="1528558"/>
                  <a:pt x="724356" y="1516144"/>
                </a:cubicBezTo>
                <a:cubicBezTo>
                  <a:pt x="724970" y="1492256"/>
                  <a:pt x="718637" y="1470245"/>
                  <a:pt x="707380" y="1449380"/>
                </a:cubicBezTo>
                <a:cubicBezTo>
                  <a:pt x="706259" y="1447304"/>
                  <a:pt x="706896" y="1444279"/>
                  <a:pt x="707050" y="1440881"/>
                </a:cubicBezTo>
                <a:cubicBezTo>
                  <a:pt x="722747" y="1457101"/>
                  <a:pt x="728653" y="1477963"/>
                  <a:pt x="731479" y="1500017"/>
                </a:cubicBezTo>
                <a:cubicBezTo>
                  <a:pt x="731992" y="1504029"/>
                  <a:pt x="731781" y="1508135"/>
                  <a:pt x="731163" y="1513759"/>
                </a:cubicBezTo>
                <a:cubicBezTo>
                  <a:pt x="730831" y="1517468"/>
                  <a:pt x="731241" y="1519618"/>
                  <a:pt x="731650" y="1521766"/>
                </a:cubicBezTo>
                <a:cubicBezTo>
                  <a:pt x="733191" y="1529956"/>
                  <a:pt x="730165" y="1535242"/>
                  <a:pt x="721896" y="1537319"/>
                </a:cubicBezTo>
                <a:cubicBezTo>
                  <a:pt x="700520" y="1542690"/>
                  <a:pt x="679367" y="1549248"/>
                  <a:pt x="657740" y="1553265"/>
                </a:cubicBezTo>
                <a:cubicBezTo>
                  <a:pt x="608220" y="1562464"/>
                  <a:pt x="558146" y="1566701"/>
                  <a:pt x="507791" y="1568943"/>
                </a:cubicBezTo>
                <a:cubicBezTo>
                  <a:pt x="426738" y="1572552"/>
                  <a:pt x="345677" y="1572161"/>
                  <a:pt x="264676" y="1569724"/>
                </a:cubicBezTo>
                <a:cubicBezTo>
                  <a:pt x="203800" y="1567891"/>
                  <a:pt x="142882" y="1563907"/>
                  <a:pt x="82743" y="1553254"/>
                </a:cubicBezTo>
                <a:cubicBezTo>
                  <a:pt x="60647" y="1549341"/>
                  <a:pt x="38739" y="1544032"/>
                  <a:pt x="17072" y="1538153"/>
                </a:cubicBezTo>
                <a:cubicBezTo>
                  <a:pt x="1381" y="1533894"/>
                  <a:pt x="-938" y="1529341"/>
                  <a:pt x="275" y="1513030"/>
                </a:cubicBezTo>
                <a:cubicBezTo>
                  <a:pt x="2146" y="1487871"/>
                  <a:pt x="7321" y="1463566"/>
                  <a:pt x="20923" y="1441861"/>
                </a:cubicBezTo>
                <a:cubicBezTo>
                  <a:pt x="24812" y="1435656"/>
                  <a:pt x="24566" y="1429699"/>
                  <a:pt x="23045" y="1423105"/>
                </a:cubicBezTo>
                <a:cubicBezTo>
                  <a:pt x="16952" y="1396684"/>
                  <a:pt x="19689" y="1370924"/>
                  <a:pt x="30564" y="1346289"/>
                </a:cubicBezTo>
                <a:cubicBezTo>
                  <a:pt x="39621" y="1325774"/>
                  <a:pt x="54481" y="1309709"/>
                  <a:pt x="71350" y="1295039"/>
                </a:cubicBezTo>
                <a:cubicBezTo>
                  <a:pt x="85712" y="1282550"/>
                  <a:pt x="99164" y="1268932"/>
                  <a:pt x="112257" y="1255093"/>
                </a:cubicBezTo>
                <a:cubicBezTo>
                  <a:pt x="122891" y="1243852"/>
                  <a:pt x="124955" y="1230879"/>
                  <a:pt x="115864" y="1217271"/>
                </a:cubicBezTo>
                <a:cubicBezTo>
                  <a:pt x="114506" y="1215239"/>
                  <a:pt x="113304" y="1213078"/>
                  <a:pt x="112256" y="1210870"/>
                </a:cubicBezTo>
                <a:cubicBezTo>
                  <a:pt x="106526" y="1198808"/>
                  <a:pt x="109052" y="1191969"/>
                  <a:pt x="121141" y="1186548"/>
                </a:cubicBezTo>
                <a:cubicBezTo>
                  <a:pt x="126274" y="1184246"/>
                  <a:pt x="131201" y="1180803"/>
                  <a:pt x="136571" y="1179850"/>
                </a:cubicBezTo>
                <a:cubicBezTo>
                  <a:pt x="149372" y="1177579"/>
                  <a:pt x="154892" y="1168948"/>
                  <a:pt x="158281" y="1157879"/>
                </a:cubicBezTo>
                <a:cubicBezTo>
                  <a:pt x="168288" y="1125194"/>
                  <a:pt x="179178" y="1092742"/>
                  <a:pt x="187986" y="1059736"/>
                </a:cubicBezTo>
                <a:cubicBezTo>
                  <a:pt x="198666" y="1019713"/>
                  <a:pt x="207813" y="979272"/>
                  <a:pt x="217119" y="938896"/>
                </a:cubicBezTo>
                <a:cubicBezTo>
                  <a:pt x="220491" y="924267"/>
                  <a:pt x="222410" y="909302"/>
                  <a:pt x="225792" y="893236"/>
                </a:cubicBezTo>
                <a:cubicBezTo>
                  <a:pt x="226444" y="890644"/>
                  <a:pt x="226297" y="889307"/>
                  <a:pt x="226150" y="887970"/>
                </a:cubicBezTo>
                <a:cubicBezTo>
                  <a:pt x="227450" y="877085"/>
                  <a:pt x="228750" y="866198"/>
                  <a:pt x="230782" y="853969"/>
                </a:cubicBezTo>
                <a:cubicBezTo>
                  <a:pt x="231271" y="851270"/>
                  <a:pt x="231029" y="849914"/>
                  <a:pt x="230786" y="848558"/>
                </a:cubicBezTo>
                <a:cubicBezTo>
                  <a:pt x="231390" y="840967"/>
                  <a:pt x="231993" y="833375"/>
                  <a:pt x="233315" y="824438"/>
                </a:cubicBezTo>
                <a:cubicBezTo>
                  <a:pt x="233755" y="821744"/>
                  <a:pt x="233477" y="820397"/>
                  <a:pt x="233199" y="819050"/>
                </a:cubicBezTo>
                <a:cubicBezTo>
                  <a:pt x="233786" y="807422"/>
                  <a:pt x="234374" y="795794"/>
                  <a:pt x="235848" y="782380"/>
                </a:cubicBezTo>
                <a:cubicBezTo>
                  <a:pt x="237047" y="760099"/>
                  <a:pt x="237488" y="739606"/>
                  <a:pt x="237465" y="719113"/>
                </a:cubicBezTo>
                <a:cubicBezTo>
                  <a:pt x="237463" y="717127"/>
                  <a:pt x="234595" y="715144"/>
                  <a:pt x="233057" y="713160"/>
                </a:cubicBezTo>
                <a:cubicBezTo>
                  <a:pt x="223043" y="711630"/>
                  <a:pt x="212881" y="710731"/>
                  <a:pt x="203056" y="708405"/>
                </a:cubicBezTo>
                <a:cubicBezTo>
                  <a:pt x="191716" y="705720"/>
                  <a:pt x="180144" y="702931"/>
                  <a:pt x="169628" y="698106"/>
                </a:cubicBezTo>
                <a:cubicBezTo>
                  <a:pt x="154505" y="691164"/>
                  <a:pt x="148867" y="675179"/>
                  <a:pt x="153237" y="659111"/>
                </a:cubicBezTo>
                <a:cubicBezTo>
                  <a:pt x="157196" y="644561"/>
                  <a:pt x="166649" y="634454"/>
                  <a:pt x="178365" y="626008"/>
                </a:cubicBezTo>
                <a:cubicBezTo>
                  <a:pt x="182258" y="623202"/>
                  <a:pt x="186579" y="620992"/>
                  <a:pt x="191885" y="617513"/>
                </a:cubicBezTo>
                <a:cubicBezTo>
                  <a:pt x="194882" y="614532"/>
                  <a:pt x="197062" y="612583"/>
                  <a:pt x="193681" y="610098"/>
                </a:cubicBezTo>
                <a:cubicBezTo>
                  <a:pt x="193381" y="595591"/>
                  <a:pt x="202034" y="586776"/>
                  <a:pt x="213301" y="579885"/>
                </a:cubicBezTo>
                <a:cubicBezTo>
                  <a:pt x="218517" y="576695"/>
                  <a:pt x="224270" y="574393"/>
                  <a:pt x="229635" y="571429"/>
                </a:cubicBezTo>
                <a:cubicBezTo>
                  <a:pt x="232401" y="569901"/>
                  <a:pt x="235344" y="568225"/>
                  <a:pt x="237351" y="565882"/>
                </a:cubicBezTo>
                <a:cubicBezTo>
                  <a:pt x="243193" y="559063"/>
                  <a:pt x="242021" y="554779"/>
                  <a:pt x="233673" y="550926"/>
                </a:cubicBezTo>
                <a:cubicBezTo>
                  <a:pt x="231458" y="549904"/>
                  <a:pt x="229049" y="549314"/>
                  <a:pt x="226799" y="548359"/>
                </a:cubicBezTo>
                <a:cubicBezTo>
                  <a:pt x="215108" y="543398"/>
                  <a:pt x="211118" y="532802"/>
                  <a:pt x="218639" y="522664"/>
                </a:cubicBezTo>
                <a:cubicBezTo>
                  <a:pt x="223647" y="515913"/>
                  <a:pt x="222661" y="511633"/>
                  <a:pt x="218264" y="505463"/>
                </a:cubicBezTo>
                <a:cubicBezTo>
                  <a:pt x="203255" y="484407"/>
                  <a:pt x="190650" y="461993"/>
                  <a:pt x="181762" y="437574"/>
                </a:cubicBezTo>
                <a:cubicBezTo>
                  <a:pt x="163530" y="387483"/>
                  <a:pt x="165826" y="338057"/>
                  <a:pt x="185971" y="289069"/>
                </a:cubicBezTo>
                <a:cubicBezTo>
                  <a:pt x="202921" y="247851"/>
                  <a:pt x="226229" y="210377"/>
                  <a:pt x="253787" y="175580"/>
                </a:cubicBezTo>
                <a:cubicBezTo>
                  <a:pt x="271814" y="152817"/>
                  <a:pt x="290973" y="130951"/>
                  <a:pt x="309639" y="108695"/>
                </a:cubicBezTo>
                <a:cubicBezTo>
                  <a:pt x="312744" y="104993"/>
                  <a:pt x="315922" y="101352"/>
                  <a:pt x="318061" y="98855"/>
                </a:cubicBezTo>
                <a:cubicBezTo>
                  <a:pt x="313257" y="88362"/>
                  <a:pt x="308695" y="79376"/>
                  <a:pt x="304967" y="70056"/>
                </a:cubicBezTo>
                <a:cubicBezTo>
                  <a:pt x="297146" y="50504"/>
                  <a:pt x="303366" y="33481"/>
                  <a:pt x="317012" y="19436"/>
                </a:cubicBezTo>
                <a:cubicBezTo>
                  <a:pt x="344741" y="-9105"/>
                  <a:pt x="393463" y="-3345"/>
                  <a:pt x="415542" y="18221"/>
                </a:cubicBezTo>
                <a:cubicBezTo>
                  <a:pt x="429559" y="31914"/>
                  <a:pt x="438373" y="56968"/>
                  <a:pt x="423203" y="82660"/>
                </a:cubicBezTo>
                <a:cubicBezTo>
                  <a:pt x="420306" y="87568"/>
                  <a:pt x="417047" y="92262"/>
                  <a:pt x="413361" y="97975"/>
                </a:cubicBezTo>
                <a:cubicBezTo>
                  <a:pt x="416167" y="100932"/>
                  <a:pt x="418781" y="103940"/>
                  <a:pt x="421654" y="106676"/>
                </a:cubicBezTo>
                <a:cubicBezTo>
                  <a:pt x="446372" y="130213"/>
                  <a:pt x="467902" y="156374"/>
                  <a:pt x="487032" y="184632"/>
                </a:cubicBezTo>
                <a:cubicBezTo>
                  <a:pt x="492374" y="192525"/>
                  <a:pt x="493990" y="199495"/>
                  <a:pt x="489213" y="208238"/>
                </a:cubicBezTo>
                <a:cubicBezTo>
                  <a:pt x="484525" y="216819"/>
                  <a:pt x="481033" y="226053"/>
                  <a:pt x="476520" y="235738"/>
                </a:cubicBezTo>
                <a:cubicBezTo>
                  <a:pt x="472168" y="236089"/>
                  <a:pt x="471165" y="234358"/>
                  <a:pt x="472850" y="230703"/>
                </a:cubicBezTo>
                <a:cubicBezTo>
                  <a:pt x="476263" y="223297"/>
                  <a:pt x="479344" y="215738"/>
                  <a:pt x="482723" y="208315"/>
                </a:cubicBezTo>
                <a:cubicBezTo>
                  <a:pt x="486016" y="201080"/>
                  <a:pt x="485571" y="194961"/>
                  <a:pt x="480764" y="187916"/>
                </a:cubicBezTo>
                <a:cubicBezTo>
                  <a:pt x="459995" y="157475"/>
                  <a:pt x="437234" y="128912"/>
                  <a:pt x="408519" y="105475"/>
                </a:cubicBezTo>
                <a:cubicBezTo>
                  <a:pt x="403555" y="101425"/>
                  <a:pt x="403835" y="96489"/>
                  <a:pt x="408625" y="89203"/>
                </a:cubicBezTo>
                <a:cubicBezTo>
                  <a:pt x="412416" y="83438"/>
                  <a:pt x="416045" y="77562"/>
                  <a:pt x="419600" y="71648"/>
                </a:cubicBezTo>
                <a:cubicBezTo>
                  <a:pt x="421349" y="68739"/>
                  <a:pt x="422717" y="65537"/>
                  <a:pt x="418792" y="63179"/>
                </a:cubicBezTo>
                <a:cubicBezTo>
                  <a:pt x="414834" y="60801"/>
                  <a:pt x="413218" y="63883"/>
                  <a:pt x="410943" y="66417"/>
                </a:cubicBezTo>
                <a:cubicBezTo>
                  <a:pt x="407706" y="70022"/>
                  <a:pt x="404330" y="74045"/>
                  <a:pt x="400140" y="76155"/>
                </a:cubicBezTo>
                <a:cubicBezTo>
                  <a:pt x="381561" y="85507"/>
                  <a:pt x="360821" y="72312"/>
                  <a:pt x="360599" y="51379"/>
                </a:cubicBezTo>
                <a:cubicBezTo>
                  <a:pt x="360556" y="47292"/>
                  <a:pt x="360308" y="43152"/>
                  <a:pt x="360842" y="39128"/>
                </a:cubicBezTo>
                <a:cubicBezTo>
                  <a:pt x="361447" y="34568"/>
                  <a:pt x="362880" y="30159"/>
                  <a:pt x="369470" y="30960"/>
                </a:cubicBezTo>
                <a:cubicBezTo>
                  <a:pt x="368501" y="37551"/>
                  <a:pt x="365745" y="43300"/>
                  <a:pt x="365613" y="49108"/>
                </a:cubicBezTo>
                <a:cubicBezTo>
                  <a:pt x="365328" y="61659"/>
                  <a:pt x="377498" y="72522"/>
                  <a:pt x="389468" y="71608"/>
                </a:cubicBezTo>
                <a:cubicBezTo>
                  <a:pt x="401478" y="70690"/>
                  <a:pt x="410127" y="59637"/>
                  <a:pt x="408822" y="46613"/>
                </a:cubicBezTo>
                <a:cubicBezTo>
                  <a:pt x="408542" y="43819"/>
                  <a:pt x="407521" y="41100"/>
                  <a:pt x="406842" y="38347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03" name="Free-form: Shape 302">
            <a:extLst>
              <a:ext uri="{FF2B5EF4-FFF2-40B4-BE49-F238E27FC236}">
                <a16:creationId xmlns:a16="http://schemas.microsoft.com/office/drawing/2014/main" id="{469D5785-F396-90EE-767D-78A637431356}"/>
              </a:ext>
            </a:extLst>
          </p:cNvPr>
          <p:cNvSpPr/>
          <p:nvPr/>
        </p:nvSpPr>
        <p:spPr>
          <a:xfrm>
            <a:off x="8986649" y="5472025"/>
            <a:ext cx="91545" cy="184495"/>
          </a:xfrm>
          <a:custGeom>
            <a:avLst/>
            <a:gdLst>
              <a:gd name="csX0" fmla="*/ 96534 w 100699"/>
              <a:gd name="csY0" fmla="*/ 202912 h 202945"/>
              <a:gd name="csX1" fmla="*/ 91036 w 100699"/>
              <a:gd name="csY1" fmla="*/ 196780 h 202945"/>
              <a:gd name="csX2" fmla="*/ 93357 w 100699"/>
              <a:gd name="csY2" fmla="*/ 178731 h 202945"/>
              <a:gd name="csX3" fmla="*/ 75903 w 100699"/>
              <a:gd name="csY3" fmla="*/ 106029 h 202945"/>
              <a:gd name="csX4" fmla="*/ 72780 w 100699"/>
              <a:gd name="csY4" fmla="*/ 102473 h 202945"/>
              <a:gd name="csX5" fmla="*/ 10982 w 100699"/>
              <a:gd name="csY5" fmla="*/ 41414 h 202945"/>
              <a:gd name="csX6" fmla="*/ 676 w 100699"/>
              <a:gd name="csY6" fmla="*/ 2936 h 202945"/>
              <a:gd name="csX7" fmla="*/ 5198 w 100699"/>
              <a:gd name="csY7" fmla="*/ 0 h 202945"/>
              <a:gd name="csX8" fmla="*/ 15435 w 100699"/>
              <a:gd name="csY8" fmla="*/ 35855 h 202945"/>
              <a:gd name="csX9" fmla="*/ 44498 w 100699"/>
              <a:gd name="csY9" fmla="*/ 63833 h 202945"/>
              <a:gd name="csX10" fmla="*/ 81385 w 100699"/>
              <a:gd name="csY10" fmla="*/ 106005 h 202945"/>
              <a:gd name="csX11" fmla="*/ 98950 w 100699"/>
              <a:gd name="csY11" fmla="*/ 190063 h 202945"/>
              <a:gd name="csX12" fmla="*/ 96534 w 100699"/>
              <a:gd name="csY12" fmla="*/ 202912 h 20294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</a:cxnLst>
            <a:rect l="l" t="t" r="r" b="b"/>
            <a:pathLst>
              <a:path w="100699" h="202945">
                <a:moveTo>
                  <a:pt x="96534" y="202912"/>
                </a:moveTo>
                <a:cubicBezTo>
                  <a:pt x="91699" y="203291"/>
                  <a:pt x="90650" y="200377"/>
                  <a:pt x="91036" y="196780"/>
                </a:cubicBezTo>
                <a:cubicBezTo>
                  <a:pt x="91685" y="190750"/>
                  <a:pt x="92933" y="184771"/>
                  <a:pt x="93357" y="178731"/>
                </a:cubicBezTo>
                <a:cubicBezTo>
                  <a:pt x="95183" y="152694"/>
                  <a:pt x="86034" y="129222"/>
                  <a:pt x="75903" y="106029"/>
                </a:cubicBezTo>
                <a:cubicBezTo>
                  <a:pt x="75300" y="104650"/>
                  <a:pt x="73904" y="103585"/>
                  <a:pt x="72780" y="102473"/>
                </a:cubicBezTo>
                <a:cubicBezTo>
                  <a:pt x="52199" y="82101"/>
                  <a:pt x="31673" y="61673"/>
                  <a:pt x="10982" y="41414"/>
                </a:cubicBezTo>
                <a:cubicBezTo>
                  <a:pt x="-119" y="30544"/>
                  <a:pt x="-1041" y="17093"/>
                  <a:pt x="676" y="2936"/>
                </a:cubicBezTo>
                <a:cubicBezTo>
                  <a:pt x="808" y="1852"/>
                  <a:pt x="2922" y="1010"/>
                  <a:pt x="5198" y="0"/>
                </a:cubicBezTo>
                <a:cubicBezTo>
                  <a:pt x="2043" y="13772"/>
                  <a:pt x="5665" y="25821"/>
                  <a:pt x="15435" y="35855"/>
                </a:cubicBezTo>
                <a:cubicBezTo>
                  <a:pt x="24811" y="45486"/>
                  <a:pt x="35301" y="54047"/>
                  <a:pt x="44498" y="63833"/>
                </a:cubicBezTo>
                <a:cubicBezTo>
                  <a:pt x="57293" y="77447"/>
                  <a:pt x="70760" y="90773"/>
                  <a:pt x="81385" y="106005"/>
                </a:cubicBezTo>
                <a:cubicBezTo>
                  <a:pt x="98896" y="131109"/>
                  <a:pt x="103759" y="159808"/>
                  <a:pt x="98950" y="190063"/>
                </a:cubicBezTo>
                <a:cubicBezTo>
                  <a:pt x="98311" y="194082"/>
                  <a:pt x="97697" y="198105"/>
                  <a:pt x="96534" y="202912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04" name="Free-form: Shape 303">
            <a:extLst>
              <a:ext uri="{FF2B5EF4-FFF2-40B4-BE49-F238E27FC236}">
                <a16:creationId xmlns:a16="http://schemas.microsoft.com/office/drawing/2014/main" id="{9D3559DA-2A95-5144-B5E5-0321B88C1B66}"/>
              </a:ext>
            </a:extLst>
          </p:cNvPr>
          <p:cNvSpPr/>
          <p:nvPr/>
        </p:nvSpPr>
        <p:spPr>
          <a:xfrm>
            <a:off x="8645364" y="5007989"/>
            <a:ext cx="3739" cy="60936"/>
          </a:xfrm>
          <a:custGeom>
            <a:avLst/>
            <a:gdLst>
              <a:gd name="csX0" fmla="*/ 0 w 4113"/>
              <a:gd name="csY0" fmla="*/ 0 h 67029"/>
              <a:gd name="csX1" fmla="*/ 4113 w 4113"/>
              <a:gd name="csY1" fmla="*/ 4824 h 67029"/>
              <a:gd name="csX2" fmla="*/ 2662 w 4113"/>
              <a:gd name="csY2" fmla="*/ 67030 h 67029"/>
              <a:gd name="csX3" fmla="*/ 631 w 4113"/>
              <a:gd name="csY3" fmla="*/ 55883 h 67029"/>
              <a:gd name="csX4" fmla="*/ 0 w 4113"/>
              <a:gd name="csY4" fmla="*/ 0 h 6702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4113" h="67029">
                <a:moveTo>
                  <a:pt x="0" y="0"/>
                </a:moveTo>
                <a:cubicBezTo>
                  <a:pt x="1242" y="855"/>
                  <a:pt x="4111" y="2838"/>
                  <a:pt x="4113" y="4824"/>
                </a:cubicBezTo>
                <a:cubicBezTo>
                  <a:pt x="4135" y="25317"/>
                  <a:pt x="3695" y="45810"/>
                  <a:pt x="2662" y="67030"/>
                </a:cubicBezTo>
                <a:cubicBezTo>
                  <a:pt x="1483" y="63799"/>
                  <a:pt x="680" y="59846"/>
                  <a:pt x="631" y="55883"/>
                </a:cubicBezTo>
                <a:cubicBezTo>
                  <a:pt x="404" y="37633"/>
                  <a:pt x="388" y="19381"/>
                  <a:pt x="0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06" name="Free-form: Shape 305">
            <a:extLst>
              <a:ext uri="{FF2B5EF4-FFF2-40B4-BE49-F238E27FC236}">
                <a16:creationId xmlns:a16="http://schemas.microsoft.com/office/drawing/2014/main" id="{0C0BFFC5-6B05-C201-2826-480349D521E5}"/>
              </a:ext>
            </a:extLst>
          </p:cNvPr>
          <p:cNvSpPr/>
          <p:nvPr/>
        </p:nvSpPr>
        <p:spPr>
          <a:xfrm>
            <a:off x="9097754" y="5735789"/>
            <a:ext cx="1060" cy="5803"/>
          </a:xfrm>
          <a:custGeom>
            <a:avLst/>
            <a:gdLst>
              <a:gd name="csX0" fmla="*/ 1130 w 1165"/>
              <a:gd name="csY0" fmla="*/ 6385 h 6384"/>
              <a:gd name="csX1" fmla="*/ 49 w 1165"/>
              <a:gd name="csY1" fmla="*/ 0 h 6384"/>
              <a:gd name="csX2" fmla="*/ 1130 w 1165"/>
              <a:gd name="csY2" fmla="*/ 6385 h 638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165" h="6384">
                <a:moveTo>
                  <a:pt x="1130" y="6385"/>
                </a:moveTo>
                <a:cubicBezTo>
                  <a:pt x="260" y="4748"/>
                  <a:pt x="-149" y="2599"/>
                  <a:pt x="49" y="0"/>
                </a:cubicBezTo>
                <a:cubicBezTo>
                  <a:pt x="969" y="1658"/>
                  <a:pt x="1279" y="3765"/>
                  <a:pt x="1130" y="6385"/>
                </a:cubicBezTo>
                <a:close/>
              </a:path>
            </a:pathLst>
          </a:custGeom>
          <a:solidFill>
            <a:srgbClr val="939B9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08" name="Free-form: Shape 307">
            <a:extLst>
              <a:ext uri="{FF2B5EF4-FFF2-40B4-BE49-F238E27FC236}">
                <a16:creationId xmlns:a16="http://schemas.microsoft.com/office/drawing/2014/main" id="{4B6AE6AF-C2FF-44B0-9CFE-599C8F401DBC}"/>
              </a:ext>
            </a:extLst>
          </p:cNvPr>
          <p:cNvSpPr/>
          <p:nvPr/>
        </p:nvSpPr>
        <p:spPr>
          <a:xfrm>
            <a:off x="9068025" y="5661694"/>
            <a:ext cx="5440" cy="2491"/>
          </a:xfrm>
          <a:custGeom>
            <a:avLst/>
            <a:gdLst>
              <a:gd name="csX0" fmla="*/ 5985 w 5984"/>
              <a:gd name="csY0" fmla="*/ 1832 h 2740"/>
              <a:gd name="csX1" fmla="*/ 0 w 5984"/>
              <a:gd name="csY1" fmla="*/ 2740 h 2740"/>
              <a:gd name="csX2" fmla="*/ 4930 w 5984"/>
              <a:gd name="csY2" fmla="*/ 0 h 2740"/>
              <a:gd name="csX3" fmla="*/ 5985 w 5984"/>
              <a:gd name="csY3" fmla="*/ 1832 h 274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</a:cxnLst>
            <a:rect l="l" t="t" r="r" b="b"/>
            <a:pathLst>
              <a:path w="5984" h="2740">
                <a:moveTo>
                  <a:pt x="5985" y="1832"/>
                </a:moveTo>
                <a:cubicBezTo>
                  <a:pt x="3992" y="2553"/>
                  <a:pt x="1996" y="2646"/>
                  <a:pt x="0" y="2740"/>
                </a:cubicBezTo>
                <a:cubicBezTo>
                  <a:pt x="1398" y="1830"/>
                  <a:pt x="2796" y="920"/>
                  <a:pt x="4930" y="0"/>
                </a:cubicBezTo>
                <a:cubicBezTo>
                  <a:pt x="5772" y="394"/>
                  <a:pt x="5877" y="799"/>
                  <a:pt x="5985" y="1832"/>
                </a:cubicBezTo>
                <a:close/>
              </a:path>
            </a:pathLst>
          </a:custGeom>
          <a:solidFill>
            <a:srgbClr val="8E9395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09" name="Free-form: Shape 308">
            <a:extLst>
              <a:ext uri="{FF2B5EF4-FFF2-40B4-BE49-F238E27FC236}">
                <a16:creationId xmlns:a16="http://schemas.microsoft.com/office/drawing/2014/main" id="{2213DDCB-7FED-6C54-49CA-C8D901DA6902}"/>
              </a:ext>
            </a:extLst>
          </p:cNvPr>
          <p:cNvSpPr/>
          <p:nvPr/>
        </p:nvSpPr>
        <p:spPr>
          <a:xfrm>
            <a:off x="8642552" y="5130383"/>
            <a:ext cx="770" cy="3664"/>
          </a:xfrm>
          <a:custGeom>
            <a:avLst/>
            <a:gdLst>
              <a:gd name="csX0" fmla="*/ 106 w 847"/>
              <a:gd name="csY0" fmla="*/ 0 h 4030"/>
              <a:gd name="csX1" fmla="*/ 732 w 847"/>
              <a:gd name="csY1" fmla="*/ 4031 h 4030"/>
              <a:gd name="csX2" fmla="*/ 106 w 847"/>
              <a:gd name="csY2" fmla="*/ 0 h 403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7" h="4030">
                <a:moveTo>
                  <a:pt x="106" y="0"/>
                </a:moveTo>
                <a:cubicBezTo>
                  <a:pt x="770" y="990"/>
                  <a:pt x="1013" y="2346"/>
                  <a:pt x="732" y="4031"/>
                </a:cubicBezTo>
                <a:cubicBezTo>
                  <a:pt x="34" y="3029"/>
                  <a:pt x="-141" y="1697"/>
                  <a:pt x="106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11" name="Free-form: Shape 310">
            <a:extLst>
              <a:ext uri="{FF2B5EF4-FFF2-40B4-BE49-F238E27FC236}">
                <a16:creationId xmlns:a16="http://schemas.microsoft.com/office/drawing/2014/main" id="{7DCC6C12-70D5-727C-19AF-CD72123F6F89}"/>
              </a:ext>
            </a:extLst>
          </p:cNvPr>
          <p:cNvSpPr/>
          <p:nvPr/>
        </p:nvSpPr>
        <p:spPr>
          <a:xfrm>
            <a:off x="8638228" y="5166177"/>
            <a:ext cx="703" cy="3631"/>
          </a:xfrm>
          <a:custGeom>
            <a:avLst/>
            <a:gdLst>
              <a:gd name="csX0" fmla="*/ 195 w 774"/>
              <a:gd name="csY0" fmla="*/ 0 h 3994"/>
              <a:gd name="csX1" fmla="*/ 575 w 774"/>
              <a:gd name="csY1" fmla="*/ 3994 h 3994"/>
              <a:gd name="csX2" fmla="*/ 195 w 774"/>
              <a:gd name="csY2" fmla="*/ 0 h 399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774" h="3994">
                <a:moveTo>
                  <a:pt x="195" y="0"/>
                </a:moveTo>
                <a:cubicBezTo>
                  <a:pt x="794" y="1011"/>
                  <a:pt x="941" y="2348"/>
                  <a:pt x="575" y="3994"/>
                </a:cubicBezTo>
                <a:cubicBezTo>
                  <a:pt x="-44" y="2978"/>
                  <a:pt x="-151" y="1652"/>
                  <a:pt x="195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12" name="Free-form: Shape 311">
            <a:extLst>
              <a:ext uri="{FF2B5EF4-FFF2-40B4-BE49-F238E27FC236}">
                <a16:creationId xmlns:a16="http://schemas.microsoft.com/office/drawing/2014/main" id="{267A3BEC-A2C0-0F08-4AFD-E0BDBC7034F6}"/>
              </a:ext>
            </a:extLst>
          </p:cNvPr>
          <p:cNvSpPr/>
          <p:nvPr/>
        </p:nvSpPr>
        <p:spPr>
          <a:xfrm>
            <a:off x="8644806" y="5103573"/>
            <a:ext cx="787" cy="3631"/>
          </a:xfrm>
          <a:custGeom>
            <a:avLst/>
            <a:gdLst>
              <a:gd name="csX0" fmla="*/ 71 w 865"/>
              <a:gd name="csY0" fmla="*/ 0 h 3995"/>
              <a:gd name="csX1" fmla="*/ 783 w 865"/>
              <a:gd name="csY1" fmla="*/ 3996 h 3995"/>
              <a:gd name="csX2" fmla="*/ 71 w 865"/>
              <a:gd name="csY2" fmla="*/ 0 h 399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65" h="3995">
                <a:moveTo>
                  <a:pt x="71" y="0"/>
                </a:moveTo>
                <a:cubicBezTo>
                  <a:pt x="740" y="963"/>
                  <a:pt x="1018" y="2311"/>
                  <a:pt x="783" y="3996"/>
                </a:cubicBezTo>
                <a:cubicBezTo>
                  <a:pt x="73" y="3017"/>
                  <a:pt x="-124" y="1701"/>
                  <a:pt x="71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13" name="Free-form: Shape 312">
            <a:extLst>
              <a:ext uri="{FF2B5EF4-FFF2-40B4-BE49-F238E27FC236}">
                <a16:creationId xmlns:a16="http://schemas.microsoft.com/office/drawing/2014/main" id="{EA7DABBA-65E2-4CDD-38BD-6400C40BA043}"/>
              </a:ext>
            </a:extLst>
          </p:cNvPr>
          <p:cNvSpPr/>
          <p:nvPr/>
        </p:nvSpPr>
        <p:spPr>
          <a:xfrm>
            <a:off x="8763109" y="5007599"/>
            <a:ext cx="170236" cy="426821"/>
          </a:xfrm>
          <a:custGeom>
            <a:avLst/>
            <a:gdLst>
              <a:gd name="csX0" fmla="*/ 120604 w 187260"/>
              <a:gd name="csY0" fmla="*/ 222968 h 469503"/>
              <a:gd name="csX1" fmla="*/ 187261 w 187260"/>
              <a:gd name="csY1" fmla="*/ 469503 h 469503"/>
              <a:gd name="csX2" fmla="*/ 1253 w 187260"/>
              <a:gd name="csY2" fmla="*/ 466078 h 469503"/>
              <a:gd name="csX3" fmla="*/ 8 w 187260"/>
              <a:gd name="csY3" fmla="*/ 458101 h 469503"/>
              <a:gd name="csX4" fmla="*/ 4383 w 187260"/>
              <a:gd name="csY4" fmla="*/ 351443 h 469503"/>
              <a:gd name="csX5" fmla="*/ 4615 w 187260"/>
              <a:gd name="csY5" fmla="*/ 346536 h 469503"/>
              <a:gd name="csX6" fmla="*/ 7935 w 187260"/>
              <a:gd name="csY6" fmla="*/ 233648 h 469503"/>
              <a:gd name="csX7" fmla="*/ 10461 w 187260"/>
              <a:gd name="csY7" fmla="*/ 128112 h 469503"/>
              <a:gd name="csX8" fmla="*/ 12461 w 187260"/>
              <a:gd name="csY8" fmla="*/ 12750 h 469503"/>
              <a:gd name="csX9" fmla="*/ 13165 w 187260"/>
              <a:gd name="csY9" fmla="*/ 4285 h 469503"/>
              <a:gd name="csX10" fmla="*/ 102327 w 187260"/>
              <a:gd name="csY10" fmla="*/ 0 h 469503"/>
              <a:gd name="csX11" fmla="*/ 106229 w 187260"/>
              <a:gd name="csY11" fmla="*/ 111321 h 469503"/>
              <a:gd name="csX12" fmla="*/ 120604 w 187260"/>
              <a:gd name="csY12" fmla="*/ 222968 h 46950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</a:cxnLst>
            <a:rect l="l" t="t" r="r" b="b"/>
            <a:pathLst>
              <a:path w="187260" h="469503">
                <a:moveTo>
                  <a:pt x="120604" y="222968"/>
                </a:moveTo>
                <a:cubicBezTo>
                  <a:pt x="135383" y="307129"/>
                  <a:pt x="159464" y="387725"/>
                  <a:pt x="187261" y="469503"/>
                </a:cubicBezTo>
                <a:cubicBezTo>
                  <a:pt x="124460" y="468347"/>
                  <a:pt x="63286" y="467220"/>
                  <a:pt x="1253" y="466078"/>
                </a:cubicBezTo>
                <a:cubicBezTo>
                  <a:pt x="818" y="463442"/>
                  <a:pt x="-95" y="460752"/>
                  <a:pt x="8" y="458101"/>
                </a:cubicBezTo>
                <a:cubicBezTo>
                  <a:pt x="1383" y="422545"/>
                  <a:pt x="2900" y="386994"/>
                  <a:pt x="4383" y="351443"/>
                </a:cubicBezTo>
                <a:cubicBezTo>
                  <a:pt x="4451" y="349807"/>
                  <a:pt x="4566" y="348172"/>
                  <a:pt x="4615" y="346536"/>
                </a:cubicBezTo>
                <a:cubicBezTo>
                  <a:pt x="5732" y="308907"/>
                  <a:pt x="6921" y="271280"/>
                  <a:pt x="7935" y="233648"/>
                </a:cubicBezTo>
                <a:cubicBezTo>
                  <a:pt x="8883" y="198472"/>
                  <a:pt x="9752" y="163293"/>
                  <a:pt x="10461" y="128112"/>
                </a:cubicBezTo>
                <a:cubicBezTo>
                  <a:pt x="11237" y="89660"/>
                  <a:pt x="11781" y="51204"/>
                  <a:pt x="12461" y="12750"/>
                </a:cubicBezTo>
                <a:cubicBezTo>
                  <a:pt x="12503" y="10363"/>
                  <a:pt x="12848" y="7981"/>
                  <a:pt x="13165" y="4285"/>
                </a:cubicBezTo>
                <a:cubicBezTo>
                  <a:pt x="42856" y="2858"/>
                  <a:pt x="72082" y="1454"/>
                  <a:pt x="102327" y="0"/>
                </a:cubicBezTo>
                <a:cubicBezTo>
                  <a:pt x="103499" y="37348"/>
                  <a:pt x="103207" y="74470"/>
                  <a:pt x="106229" y="111321"/>
                </a:cubicBezTo>
                <a:cubicBezTo>
                  <a:pt x="109263" y="148326"/>
                  <a:pt x="115599" y="185060"/>
                  <a:pt x="120604" y="222968"/>
                </a:cubicBezTo>
                <a:close/>
              </a:path>
            </a:pathLst>
          </a:custGeom>
          <a:solidFill>
            <a:srgbClr val="FDFDFD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15" name="Free-form: Shape 314">
            <a:extLst>
              <a:ext uri="{FF2B5EF4-FFF2-40B4-BE49-F238E27FC236}">
                <a16:creationId xmlns:a16="http://schemas.microsoft.com/office/drawing/2014/main" id="{13E89183-801C-1829-557B-CD8EA6E192C9}"/>
              </a:ext>
            </a:extLst>
          </p:cNvPr>
          <p:cNvSpPr/>
          <p:nvPr/>
        </p:nvSpPr>
        <p:spPr>
          <a:xfrm>
            <a:off x="8761916" y="5474351"/>
            <a:ext cx="284824" cy="179974"/>
          </a:xfrm>
          <a:custGeom>
            <a:avLst/>
            <a:gdLst>
              <a:gd name="csX0" fmla="*/ 160234 w 313306"/>
              <a:gd name="csY0" fmla="*/ 197876 h 197971"/>
              <a:gd name="csX1" fmla="*/ 544 w 313306"/>
              <a:gd name="csY1" fmla="*/ 197972 h 197971"/>
              <a:gd name="csX2" fmla="*/ 3466 w 313306"/>
              <a:gd name="csY2" fmla="*/ 104326 h 197971"/>
              <a:gd name="csX3" fmla="*/ 0 w 313306"/>
              <a:gd name="csY3" fmla="*/ 10720 h 197971"/>
              <a:gd name="csX4" fmla="*/ 5445 w 313306"/>
              <a:gd name="csY4" fmla="*/ 9282 h 197971"/>
              <a:gd name="csX5" fmla="*/ 71623 w 313306"/>
              <a:gd name="csY5" fmla="*/ 6885 h 197971"/>
              <a:gd name="csX6" fmla="*/ 187887 w 313306"/>
              <a:gd name="csY6" fmla="*/ 233 h 197971"/>
              <a:gd name="csX7" fmla="*/ 215297 w 313306"/>
              <a:gd name="csY7" fmla="*/ 163 h 197971"/>
              <a:gd name="csX8" fmla="*/ 243629 w 313306"/>
              <a:gd name="csY8" fmla="*/ 61389 h 197971"/>
              <a:gd name="csX9" fmla="*/ 270660 w 313306"/>
              <a:gd name="csY9" fmla="*/ 86342 h 197971"/>
              <a:gd name="csX10" fmla="*/ 313142 w 313306"/>
              <a:gd name="csY10" fmla="*/ 170098 h 197971"/>
              <a:gd name="csX11" fmla="*/ 313291 w 313306"/>
              <a:gd name="csY11" fmla="*/ 176231 h 197971"/>
              <a:gd name="csX12" fmla="*/ 312654 w 313306"/>
              <a:gd name="csY12" fmla="*/ 180738 h 197971"/>
              <a:gd name="csX13" fmla="*/ 279655 w 313306"/>
              <a:gd name="csY13" fmla="*/ 186226 h 197971"/>
              <a:gd name="csX14" fmla="*/ 167436 w 313306"/>
              <a:gd name="csY14" fmla="*/ 196805 h 197971"/>
              <a:gd name="csX15" fmla="*/ 160234 w 313306"/>
              <a:gd name="csY15" fmla="*/ 197876 h 19797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</a:cxnLst>
            <a:rect l="l" t="t" r="r" b="b"/>
            <a:pathLst>
              <a:path w="313306" h="197971">
                <a:moveTo>
                  <a:pt x="160234" y="197876"/>
                </a:moveTo>
                <a:cubicBezTo>
                  <a:pt x="106384" y="197972"/>
                  <a:pt x="53682" y="197972"/>
                  <a:pt x="544" y="197972"/>
                </a:cubicBezTo>
                <a:cubicBezTo>
                  <a:pt x="1602" y="166763"/>
                  <a:pt x="3550" y="135542"/>
                  <a:pt x="3466" y="104326"/>
                </a:cubicBezTo>
                <a:cubicBezTo>
                  <a:pt x="3383" y="73323"/>
                  <a:pt x="1255" y="42326"/>
                  <a:pt x="0" y="10720"/>
                </a:cubicBezTo>
                <a:cubicBezTo>
                  <a:pt x="1689" y="10255"/>
                  <a:pt x="3551" y="9355"/>
                  <a:pt x="5445" y="9282"/>
                </a:cubicBezTo>
                <a:cubicBezTo>
                  <a:pt x="27503" y="8435"/>
                  <a:pt x="49582" y="8030"/>
                  <a:pt x="71623" y="6885"/>
                </a:cubicBezTo>
                <a:cubicBezTo>
                  <a:pt x="110388" y="4872"/>
                  <a:pt x="149126" y="2333"/>
                  <a:pt x="187887" y="233"/>
                </a:cubicBezTo>
                <a:cubicBezTo>
                  <a:pt x="196749" y="-247"/>
                  <a:pt x="205660" y="163"/>
                  <a:pt x="215297" y="163"/>
                </a:cubicBezTo>
                <a:cubicBezTo>
                  <a:pt x="215450" y="25550"/>
                  <a:pt x="226120" y="45122"/>
                  <a:pt x="243629" y="61389"/>
                </a:cubicBezTo>
                <a:cubicBezTo>
                  <a:pt x="252615" y="69739"/>
                  <a:pt x="261099" y="78715"/>
                  <a:pt x="270660" y="86342"/>
                </a:cubicBezTo>
                <a:cubicBezTo>
                  <a:pt x="297676" y="107892"/>
                  <a:pt x="310731" y="136225"/>
                  <a:pt x="313142" y="170098"/>
                </a:cubicBezTo>
                <a:cubicBezTo>
                  <a:pt x="313287" y="172136"/>
                  <a:pt x="313335" y="174188"/>
                  <a:pt x="313291" y="176231"/>
                </a:cubicBezTo>
                <a:cubicBezTo>
                  <a:pt x="313265" y="177429"/>
                  <a:pt x="312966" y="178621"/>
                  <a:pt x="312654" y="180738"/>
                </a:cubicBezTo>
                <a:cubicBezTo>
                  <a:pt x="302343" y="185396"/>
                  <a:pt x="290736" y="185049"/>
                  <a:pt x="279655" y="186226"/>
                </a:cubicBezTo>
                <a:cubicBezTo>
                  <a:pt x="242295" y="190193"/>
                  <a:pt x="204847" y="193324"/>
                  <a:pt x="167436" y="196805"/>
                </a:cubicBezTo>
                <a:cubicBezTo>
                  <a:pt x="165405" y="196994"/>
                  <a:pt x="163399" y="197449"/>
                  <a:pt x="160234" y="197876"/>
                </a:cubicBezTo>
                <a:close/>
              </a:path>
            </a:pathLst>
          </a:custGeom>
          <a:solidFill>
            <a:srgbClr val="FDFEFE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17" name="Free-form: Shape 316">
            <a:extLst>
              <a:ext uri="{FF2B5EF4-FFF2-40B4-BE49-F238E27FC236}">
                <a16:creationId xmlns:a16="http://schemas.microsoft.com/office/drawing/2014/main" id="{EBE5935B-A681-9FB6-7BA1-91755A8F023F}"/>
              </a:ext>
            </a:extLst>
          </p:cNvPr>
          <p:cNvSpPr/>
          <p:nvPr/>
        </p:nvSpPr>
        <p:spPr>
          <a:xfrm>
            <a:off x="8772659" y="4457767"/>
            <a:ext cx="149260" cy="361842"/>
          </a:xfrm>
          <a:custGeom>
            <a:avLst/>
            <a:gdLst>
              <a:gd name="csX0" fmla="*/ 22609 w 164186"/>
              <a:gd name="csY0" fmla="*/ 398026 h 398026"/>
              <a:gd name="csX1" fmla="*/ 16884 w 164186"/>
              <a:gd name="csY1" fmla="*/ 390515 h 398026"/>
              <a:gd name="csX2" fmla="*/ 9661 w 164186"/>
              <a:gd name="csY2" fmla="*/ 328443 h 398026"/>
              <a:gd name="csX3" fmla="*/ 534 w 164186"/>
              <a:gd name="csY3" fmla="*/ 196369 h 398026"/>
              <a:gd name="csX4" fmla="*/ 1243 w 164186"/>
              <a:gd name="csY4" fmla="*/ 82293 h 398026"/>
              <a:gd name="csX5" fmla="*/ 2245 w 164186"/>
              <a:gd name="csY5" fmla="*/ 43023 h 398026"/>
              <a:gd name="csX6" fmla="*/ 4587 w 164186"/>
              <a:gd name="csY6" fmla="*/ 0 h 398026"/>
              <a:gd name="csX7" fmla="*/ 12341 w 164186"/>
              <a:gd name="csY7" fmla="*/ 3872 h 398026"/>
              <a:gd name="csX8" fmla="*/ 85914 w 164186"/>
              <a:gd name="csY8" fmla="*/ 78943 h 398026"/>
              <a:gd name="csX9" fmla="*/ 87893 w 164186"/>
              <a:gd name="csY9" fmla="*/ 99117 h 398026"/>
              <a:gd name="csX10" fmla="*/ 35459 w 164186"/>
              <a:gd name="csY10" fmla="*/ 207346 h 398026"/>
              <a:gd name="csX11" fmla="*/ 32223 w 164186"/>
              <a:gd name="csY11" fmla="*/ 213959 h 398026"/>
              <a:gd name="csX12" fmla="*/ 39509 w 164186"/>
              <a:gd name="csY12" fmla="*/ 242056 h 398026"/>
              <a:gd name="csX13" fmla="*/ 69474 w 164186"/>
              <a:gd name="csY13" fmla="*/ 237019 h 398026"/>
              <a:gd name="csX14" fmla="*/ 89101 w 164186"/>
              <a:gd name="csY14" fmla="*/ 208870 h 398026"/>
              <a:gd name="csX15" fmla="*/ 121716 w 164186"/>
              <a:gd name="csY15" fmla="*/ 158357 h 398026"/>
              <a:gd name="csX16" fmla="*/ 129330 w 164186"/>
              <a:gd name="csY16" fmla="*/ 148165 h 398026"/>
              <a:gd name="csX17" fmla="*/ 137171 w 164186"/>
              <a:gd name="csY17" fmla="*/ 159989 h 398026"/>
              <a:gd name="csX18" fmla="*/ 163812 w 164186"/>
              <a:gd name="csY18" fmla="*/ 273175 h 398026"/>
              <a:gd name="csX19" fmla="*/ 118151 w 164186"/>
              <a:gd name="csY19" fmla="*/ 383442 h 398026"/>
              <a:gd name="csX20" fmla="*/ 92325 w 164186"/>
              <a:gd name="csY20" fmla="*/ 395173 h 398026"/>
              <a:gd name="csX21" fmla="*/ 22609 w 164186"/>
              <a:gd name="csY21" fmla="*/ 398026 h 39802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</a:cxnLst>
            <a:rect l="l" t="t" r="r" b="b"/>
            <a:pathLst>
              <a:path w="164186" h="398026">
                <a:moveTo>
                  <a:pt x="22609" y="398026"/>
                </a:moveTo>
                <a:cubicBezTo>
                  <a:pt x="19898" y="395489"/>
                  <a:pt x="17229" y="393154"/>
                  <a:pt x="16884" y="390515"/>
                </a:cubicBezTo>
                <a:cubicBezTo>
                  <a:pt x="14183" y="369861"/>
                  <a:pt x="11326" y="349196"/>
                  <a:pt x="9661" y="328443"/>
                </a:cubicBezTo>
                <a:cubicBezTo>
                  <a:pt x="6132" y="284452"/>
                  <a:pt x="2125" y="240448"/>
                  <a:pt x="534" y="196369"/>
                </a:cubicBezTo>
                <a:cubicBezTo>
                  <a:pt x="-837" y="158401"/>
                  <a:pt x="816" y="120322"/>
                  <a:pt x="1243" y="82293"/>
                </a:cubicBezTo>
                <a:cubicBezTo>
                  <a:pt x="1389" y="69201"/>
                  <a:pt x="1708" y="56105"/>
                  <a:pt x="2245" y="43023"/>
                </a:cubicBezTo>
                <a:cubicBezTo>
                  <a:pt x="2815" y="29160"/>
                  <a:pt x="3738" y="15312"/>
                  <a:pt x="4587" y="0"/>
                </a:cubicBezTo>
                <a:cubicBezTo>
                  <a:pt x="7809" y="1586"/>
                  <a:pt x="10279" y="2436"/>
                  <a:pt x="12341" y="3872"/>
                </a:cubicBezTo>
                <a:cubicBezTo>
                  <a:pt x="41601" y="24248"/>
                  <a:pt x="64069" y="51269"/>
                  <a:pt x="85914" y="78943"/>
                </a:cubicBezTo>
                <a:cubicBezTo>
                  <a:pt x="91106" y="85520"/>
                  <a:pt x="91706" y="91406"/>
                  <a:pt x="87893" y="99117"/>
                </a:cubicBezTo>
                <a:cubicBezTo>
                  <a:pt x="70127" y="135051"/>
                  <a:pt x="52890" y="171246"/>
                  <a:pt x="35459" y="207346"/>
                </a:cubicBezTo>
                <a:cubicBezTo>
                  <a:pt x="34391" y="209557"/>
                  <a:pt x="33130" y="211686"/>
                  <a:pt x="32223" y="213959"/>
                </a:cubicBezTo>
                <a:cubicBezTo>
                  <a:pt x="27471" y="225873"/>
                  <a:pt x="30154" y="236086"/>
                  <a:pt x="39509" y="242056"/>
                </a:cubicBezTo>
                <a:cubicBezTo>
                  <a:pt x="48880" y="248038"/>
                  <a:pt x="61705" y="246477"/>
                  <a:pt x="69474" y="237019"/>
                </a:cubicBezTo>
                <a:cubicBezTo>
                  <a:pt x="76712" y="228205"/>
                  <a:pt x="82824" y="218436"/>
                  <a:pt x="89101" y="208870"/>
                </a:cubicBezTo>
                <a:cubicBezTo>
                  <a:pt x="100096" y="192114"/>
                  <a:pt x="110806" y="175170"/>
                  <a:pt x="121716" y="158357"/>
                </a:cubicBezTo>
                <a:cubicBezTo>
                  <a:pt x="123679" y="155333"/>
                  <a:pt x="126029" y="152559"/>
                  <a:pt x="129330" y="148165"/>
                </a:cubicBezTo>
                <a:cubicBezTo>
                  <a:pt x="132450" y="152828"/>
                  <a:pt x="135175" y="156216"/>
                  <a:pt x="137171" y="159989"/>
                </a:cubicBezTo>
                <a:cubicBezTo>
                  <a:pt x="155891" y="195388"/>
                  <a:pt x="166343" y="232905"/>
                  <a:pt x="163812" y="273175"/>
                </a:cubicBezTo>
                <a:cubicBezTo>
                  <a:pt x="161183" y="314982"/>
                  <a:pt x="144984" y="351430"/>
                  <a:pt x="118151" y="383442"/>
                </a:cubicBezTo>
                <a:cubicBezTo>
                  <a:pt x="111214" y="391718"/>
                  <a:pt x="102452" y="394716"/>
                  <a:pt x="92325" y="395173"/>
                </a:cubicBezTo>
                <a:cubicBezTo>
                  <a:pt x="69461" y="396207"/>
                  <a:pt x="46593" y="397123"/>
                  <a:pt x="22609" y="398026"/>
                </a:cubicBezTo>
                <a:close/>
              </a:path>
            </a:pathLst>
          </a:custGeom>
          <a:solidFill>
            <a:srgbClr val="FCFDFD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19" name="Free-form: Shape 318">
            <a:extLst>
              <a:ext uri="{FF2B5EF4-FFF2-40B4-BE49-F238E27FC236}">
                <a16:creationId xmlns:a16="http://schemas.microsoft.com/office/drawing/2014/main" id="{A7F5A9F4-FFDD-2358-4737-E14DBC5331C0}"/>
              </a:ext>
            </a:extLst>
          </p:cNvPr>
          <p:cNvSpPr/>
          <p:nvPr/>
        </p:nvSpPr>
        <p:spPr>
          <a:xfrm>
            <a:off x="8758553" y="5683558"/>
            <a:ext cx="305850" cy="64961"/>
          </a:xfrm>
          <a:custGeom>
            <a:avLst/>
            <a:gdLst>
              <a:gd name="csX0" fmla="*/ 105937 w 336434"/>
              <a:gd name="csY0" fmla="*/ 71458 h 71457"/>
              <a:gd name="csX1" fmla="*/ 3534 w 336434"/>
              <a:gd name="csY1" fmla="*/ 69115 h 71457"/>
              <a:gd name="csX2" fmla="*/ 1296 w 336434"/>
              <a:gd name="csY2" fmla="*/ 17910 h 71457"/>
              <a:gd name="csX3" fmla="*/ 14032 w 336434"/>
              <a:gd name="csY3" fmla="*/ 17908 h 71457"/>
              <a:gd name="csX4" fmla="*/ 102444 w 336434"/>
              <a:gd name="csY4" fmla="*/ 17433 h 71457"/>
              <a:gd name="csX5" fmla="*/ 284561 w 336434"/>
              <a:gd name="csY5" fmla="*/ 3564 h 71457"/>
              <a:gd name="csX6" fmla="*/ 311323 w 336434"/>
              <a:gd name="csY6" fmla="*/ 224 h 71457"/>
              <a:gd name="csX7" fmla="*/ 324313 w 336434"/>
              <a:gd name="csY7" fmla="*/ 6639 h 71457"/>
              <a:gd name="csX8" fmla="*/ 336434 w 336434"/>
              <a:gd name="csY8" fmla="*/ 46484 h 71457"/>
              <a:gd name="csX9" fmla="*/ 105937 w 336434"/>
              <a:gd name="csY9" fmla="*/ 71458 h 7145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336434" h="71457">
                <a:moveTo>
                  <a:pt x="105937" y="71458"/>
                </a:moveTo>
                <a:cubicBezTo>
                  <a:pt x="70820" y="70678"/>
                  <a:pt x="36930" y="69891"/>
                  <a:pt x="3534" y="69115"/>
                </a:cubicBezTo>
                <a:cubicBezTo>
                  <a:pt x="-81" y="59433"/>
                  <a:pt x="-1094" y="35337"/>
                  <a:pt x="1296" y="17910"/>
                </a:cubicBezTo>
                <a:cubicBezTo>
                  <a:pt x="5366" y="17910"/>
                  <a:pt x="9699" y="17923"/>
                  <a:pt x="14032" y="17908"/>
                </a:cubicBezTo>
                <a:cubicBezTo>
                  <a:pt x="43505" y="17812"/>
                  <a:pt x="73011" y="18557"/>
                  <a:pt x="102444" y="17433"/>
                </a:cubicBezTo>
                <a:cubicBezTo>
                  <a:pt x="163306" y="15109"/>
                  <a:pt x="224166" y="12264"/>
                  <a:pt x="284561" y="3564"/>
                </a:cubicBezTo>
                <a:cubicBezTo>
                  <a:pt x="293458" y="2283"/>
                  <a:pt x="302438" y="1575"/>
                  <a:pt x="311323" y="224"/>
                </a:cubicBezTo>
                <a:cubicBezTo>
                  <a:pt x="317371" y="-696"/>
                  <a:pt x="321247" y="1177"/>
                  <a:pt x="324313" y="6639"/>
                </a:cubicBezTo>
                <a:cubicBezTo>
                  <a:pt x="330512" y="17683"/>
                  <a:pt x="335236" y="31679"/>
                  <a:pt x="336434" y="46484"/>
                </a:cubicBezTo>
                <a:cubicBezTo>
                  <a:pt x="261124" y="64059"/>
                  <a:pt x="184356" y="69587"/>
                  <a:pt x="105937" y="71458"/>
                </a:cubicBezTo>
                <a:close/>
              </a:path>
            </a:pathLst>
          </a:custGeom>
          <a:solidFill>
            <a:srgbClr val="FCFCFC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0" name="Free-form: Shape 319">
            <a:extLst>
              <a:ext uri="{FF2B5EF4-FFF2-40B4-BE49-F238E27FC236}">
                <a16:creationId xmlns:a16="http://schemas.microsoft.com/office/drawing/2014/main" id="{41DC21D5-7F15-CB75-5A4F-830A7FDC4FFD}"/>
              </a:ext>
            </a:extLst>
          </p:cNvPr>
          <p:cNvSpPr/>
          <p:nvPr/>
        </p:nvSpPr>
        <p:spPr>
          <a:xfrm>
            <a:off x="8772110" y="4852834"/>
            <a:ext cx="120683" cy="63097"/>
          </a:xfrm>
          <a:custGeom>
            <a:avLst/>
            <a:gdLst>
              <a:gd name="csX0" fmla="*/ 5051 w 132751"/>
              <a:gd name="csY0" fmla="*/ 7534 h 69406"/>
              <a:gd name="csX1" fmla="*/ 10615 w 132751"/>
              <a:gd name="csY1" fmla="*/ 3077 h 69406"/>
              <a:gd name="csX2" fmla="*/ 26541 w 132751"/>
              <a:gd name="csY2" fmla="*/ 2752 h 69406"/>
              <a:gd name="csX3" fmla="*/ 87728 w 132751"/>
              <a:gd name="csY3" fmla="*/ 89 h 69406"/>
              <a:gd name="csX4" fmla="*/ 101400 w 132751"/>
              <a:gd name="csY4" fmla="*/ 62 h 69406"/>
              <a:gd name="csX5" fmla="*/ 102924 w 132751"/>
              <a:gd name="csY5" fmla="*/ 4800 h 69406"/>
              <a:gd name="csX6" fmla="*/ 121469 w 132751"/>
              <a:gd name="csY6" fmla="*/ 43062 h 69406"/>
              <a:gd name="csX7" fmla="*/ 132751 w 132751"/>
              <a:gd name="csY7" fmla="*/ 65240 h 69406"/>
              <a:gd name="csX8" fmla="*/ 0 w 132751"/>
              <a:gd name="csY8" fmla="*/ 69406 h 69406"/>
              <a:gd name="csX9" fmla="*/ 5051 w 132751"/>
              <a:gd name="csY9" fmla="*/ 7534 h 6940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132751" h="69406">
                <a:moveTo>
                  <a:pt x="5051" y="7534"/>
                </a:moveTo>
                <a:cubicBezTo>
                  <a:pt x="6880" y="5272"/>
                  <a:pt x="8659" y="3268"/>
                  <a:pt x="10615" y="3077"/>
                </a:cubicBezTo>
                <a:cubicBezTo>
                  <a:pt x="15884" y="2564"/>
                  <a:pt x="21234" y="2972"/>
                  <a:pt x="26541" y="2752"/>
                </a:cubicBezTo>
                <a:cubicBezTo>
                  <a:pt x="46938" y="1911"/>
                  <a:pt x="67330" y="933"/>
                  <a:pt x="87728" y="89"/>
                </a:cubicBezTo>
                <a:cubicBezTo>
                  <a:pt x="92161" y="-94"/>
                  <a:pt x="96609" y="62"/>
                  <a:pt x="101400" y="62"/>
                </a:cubicBezTo>
                <a:cubicBezTo>
                  <a:pt x="101991" y="1827"/>
                  <a:pt x="102885" y="3302"/>
                  <a:pt x="102924" y="4800"/>
                </a:cubicBezTo>
                <a:cubicBezTo>
                  <a:pt x="103334" y="20376"/>
                  <a:pt x="108815" y="33165"/>
                  <a:pt x="121469" y="43062"/>
                </a:cubicBezTo>
                <a:cubicBezTo>
                  <a:pt x="127809" y="48021"/>
                  <a:pt x="132509" y="54869"/>
                  <a:pt x="132751" y="65240"/>
                </a:cubicBezTo>
                <a:cubicBezTo>
                  <a:pt x="88663" y="66624"/>
                  <a:pt x="45259" y="67986"/>
                  <a:pt x="0" y="69406"/>
                </a:cubicBezTo>
                <a:cubicBezTo>
                  <a:pt x="6474" y="48167"/>
                  <a:pt x="10658" y="28665"/>
                  <a:pt x="5051" y="7534"/>
                </a:cubicBezTo>
                <a:close/>
              </a:path>
            </a:pathLst>
          </a:custGeom>
          <a:solidFill>
            <a:srgbClr val="FBFCFB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2" name="Free-form: Shape 321">
            <a:extLst>
              <a:ext uri="{FF2B5EF4-FFF2-40B4-BE49-F238E27FC236}">
                <a16:creationId xmlns:a16="http://schemas.microsoft.com/office/drawing/2014/main" id="{DAB05CEB-FFB6-3AD2-C7EC-25F5D15D799F}"/>
              </a:ext>
            </a:extLst>
          </p:cNvPr>
          <p:cNvSpPr/>
          <p:nvPr/>
        </p:nvSpPr>
        <p:spPr>
          <a:xfrm>
            <a:off x="8781746" y="4942448"/>
            <a:ext cx="150878" cy="35402"/>
          </a:xfrm>
          <a:custGeom>
            <a:avLst/>
            <a:gdLst>
              <a:gd name="csX0" fmla="*/ 80894 w 165965"/>
              <a:gd name="csY0" fmla="*/ 440 h 38942"/>
              <a:gd name="csX1" fmla="*/ 128629 w 165965"/>
              <a:gd name="csY1" fmla="*/ 5 h 38942"/>
              <a:gd name="csX2" fmla="*/ 155177 w 165965"/>
              <a:gd name="csY2" fmla="*/ 8091 h 38942"/>
              <a:gd name="csX3" fmla="*/ 164213 w 165965"/>
              <a:gd name="csY3" fmla="*/ 17723 h 38942"/>
              <a:gd name="csX4" fmla="*/ 159998 w 165965"/>
              <a:gd name="csY4" fmla="*/ 30717 h 38942"/>
              <a:gd name="csX5" fmla="*/ 146998 w 165965"/>
              <a:gd name="csY5" fmla="*/ 33737 h 38942"/>
              <a:gd name="csX6" fmla="*/ 12439 w 165965"/>
              <a:gd name="csY6" fmla="*/ 38914 h 38942"/>
              <a:gd name="csX7" fmla="*/ 0 w 165965"/>
              <a:gd name="csY7" fmla="*/ 38402 h 38942"/>
              <a:gd name="csX8" fmla="*/ 0 w 165965"/>
              <a:gd name="csY8" fmla="*/ 4598 h 38942"/>
              <a:gd name="csX9" fmla="*/ 80894 w 165965"/>
              <a:gd name="csY9" fmla="*/ 440 h 3894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165965" h="38942">
                <a:moveTo>
                  <a:pt x="80894" y="440"/>
                </a:moveTo>
                <a:cubicBezTo>
                  <a:pt x="97591" y="288"/>
                  <a:pt x="113111" y="227"/>
                  <a:pt x="128629" y="5"/>
                </a:cubicBezTo>
                <a:cubicBezTo>
                  <a:pt x="138376" y="-135"/>
                  <a:pt x="147226" y="2891"/>
                  <a:pt x="155177" y="8091"/>
                </a:cubicBezTo>
                <a:cubicBezTo>
                  <a:pt x="158779" y="10447"/>
                  <a:pt x="161992" y="14009"/>
                  <a:pt x="164213" y="17723"/>
                </a:cubicBezTo>
                <a:cubicBezTo>
                  <a:pt x="167602" y="23390"/>
                  <a:pt x="166013" y="28134"/>
                  <a:pt x="159998" y="30717"/>
                </a:cubicBezTo>
                <a:cubicBezTo>
                  <a:pt x="155963" y="32450"/>
                  <a:pt x="151384" y="33554"/>
                  <a:pt x="146998" y="33737"/>
                </a:cubicBezTo>
                <a:cubicBezTo>
                  <a:pt x="102152" y="35619"/>
                  <a:pt x="57295" y="37279"/>
                  <a:pt x="12439" y="38914"/>
                </a:cubicBezTo>
                <a:cubicBezTo>
                  <a:pt x="8467" y="39059"/>
                  <a:pt x="4472" y="38602"/>
                  <a:pt x="0" y="38402"/>
                </a:cubicBezTo>
                <a:cubicBezTo>
                  <a:pt x="0" y="27166"/>
                  <a:pt x="0" y="16774"/>
                  <a:pt x="0" y="4598"/>
                </a:cubicBezTo>
                <a:cubicBezTo>
                  <a:pt x="27063" y="3194"/>
                  <a:pt x="53389" y="1829"/>
                  <a:pt x="80894" y="440"/>
                </a:cubicBezTo>
                <a:close/>
              </a:path>
            </a:pathLst>
          </a:custGeom>
          <a:solidFill>
            <a:srgbClr val="FBFCFB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3" name="Free-form: Shape 322">
            <a:extLst>
              <a:ext uri="{FF2B5EF4-FFF2-40B4-BE49-F238E27FC236}">
                <a16:creationId xmlns:a16="http://schemas.microsoft.com/office/drawing/2014/main" id="{CB97177E-B1B8-49C6-C896-73F69ABD910D}"/>
              </a:ext>
            </a:extLst>
          </p:cNvPr>
          <p:cNvSpPr/>
          <p:nvPr/>
        </p:nvSpPr>
        <p:spPr>
          <a:xfrm>
            <a:off x="8765597" y="4381624"/>
            <a:ext cx="39402" cy="42156"/>
          </a:xfrm>
          <a:custGeom>
            <a:avLst/>
            <a:gdLst>
              <a:gd name="csX0" fmla="*/ 40602 w 43343"/>
              <a:gd name="csY0" fmla="*/ 12465 h 46372"/>
              <a:gd name="csX1" fmla="*/ 43214 w 43343"/>
              <a:gd name="csY1" fmla="*/ 21324 h 46372"/>
              <a:gd name="csX2" fmla="*/ 23859 w 43343"/>
              <a:gd name="csY2" fmla="*/ 46319 h 46372"/>
              <a:gd name="csX3" fmla="*/ 5 w 43343"/>
              <a:gd name="csY3" fmla="*/ 23820 h 46372"/>
              <a:gd name="csX4" fmla="*/ 4855 w 43343"/>
              <a:gd name="csY4" fmla="*/ 5679 h 46372"/>
              <a:gd name="csX5" fmla="*/ 40602 w 43343"/>
              <a:gd name="csY5" fmla="*/ 12465 h 4637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</a:cxnLst>
            <a:rect l="l" t="t" r="r" b="b"/>
            <a:pathLst>
              <a:path w="43343" h="46372">
                <a:moveTo>
                  <a:pt x="40602" y="12465"/>
                </a:moveTo>
                <a:cubicBezTo>
                  <a:pt x="41913" y="15811"/>
                  <a:pt x="42933" y="18530"/>
                  <a:pt x="43214" y="21324"/>
                </a:cubicBezTo>
                <a:cubicBezTo>
                  <a:pt x="44519" y="34348"/>
                  <a:pt x="35870" y="45401"/>
                  <a:pt x="23859" y="46319"/>
                </a:cubicBezTo>
                <a:cubicBezTo>
                  <a:pt x="11890" y="47233"/>
                  <a:pt x="-280" y="36371"/>
                  <a:pt x="5" y="23820"/>
                </a:cubicBezTo>
                <a:cubicBezTo>
                  <a:pt x="136" y="18011"/>
                  <a:pt x="2893" y="12263"/>
                  <a:pt x="4855" y="5679"/>
                </a:cubicBezTo>
                <a:cubicBezTo>
                  <a:pt x="20601" y="-3403"/>
                  <a:pt x="28004" y="-1910"/>
                  <a:pt x="40602" y="12465"/>
                </a:cubicBezTo>
                <a:close/>
              </a:path>
            </a:pathLst>
          </a:custGeom>
          <a:solidFill>
            <a:srgbClr val="FBFCFB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4" name="Oval 323">
            <a:extLst>
              <a:ext uri="{FF2B5EF4-FFF2-40B4-BE49-F238E27FC236}">
                <a16:creationId xmlns:a16="http://schemas.microsoft.com/office/drawing/2014/main" id="{C62B19F1-85FB-3BBF-A221-FED32B8C6857}"/>
              </a:ext>
            </a:extLst>
          </p:cNvPr>
          <p:cNvSpPr/>
          <p:nvPr/>
        </p:nvSpPr>
        <p:spPr>
          <a:xfrm>
            <a:off x="5989561" y="5714986"/>
            <a:ext cx="717698" cy="104135"/>
          </a:xfrm>
          <a:prstGeom prst="ellipse">
            <a:avLst/>
          </a:prstGeom>
          <a:solidFill>
            <a:schemeClr val="tx1">
              <a:alpha val="6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5" name="Free-form: Shape 324">
            <a:extLst>
              <a:ext uri="{FF2B5EF4-FFF2-40B4-BE49-F238E27FC236}">
                <a16:creationId xmlns:a16="http://schemas.microsoft.com/office/drawing/2014/main" id="{D725192E-4E4F-89BE-CB94-0F790E41DD74}"/>
              </a:ext>
            </a:extLst>
          </p:cNvPr>
          <p:cNvSpPr/>
          <p:nvPr/>
        </p:nvSpPr>
        <p:spPr>
          <a:xfrm flipH="1">
            <a:off x="6123444" y="4289649"/>
            <a:ext cx="557648" cy="1497715"/>
          </a:xfrm>
          <a:custGeom>
            <a:avLst/>
            <a:gdLst>
              <a:gd name="csX0" fmla="*/ 96263 w 729419"/>
              <a:gd name="csY0" fmla="*/ 2076207 h 2076207"/>
              <a:gd name="csX1" fmla="*/ 63862 w 729419"/>
              <a:gd name="csY1" fmla="*/ 2065388 h 2076207"/>
              <a:gd name="csX2" fmla="*/ 16555 w 729419"/>
              <a:gd name="csY2" fmla="*/ 2050152 h 2076207"/>
              <a:gd name="csX3" fmla="*/ 15 w 729419"/>
              <a:gd name="csY3" fmla="*/ 2023802 h 2076207"/>
              <a:gd name="csX4" fmla="*/ 18368 w 729419"/>
              <a:gd name="csY4" fmla="*/ 1940709 h 2076207"/>
              <a:gd name="csX5" fmla="*/ 22139 w 729419"/>
              <a:gd name="csY5" fmla="*/ 1907268 h 2076207"/>
              <a:gd name="csX6" fmla="*/ 57941 w 729419"/>
              <a:gd name="csY6" fmla="*/ 1774163 h 2076207"/>
              <a:gd name="csX7" fmla="*/ 102478 w 729419"/>
              <a:gd name="csY7" fmla="*/ 1720275 h 2076207"/>
              <a:gd name="csX8" fmla="*/ 108579 w 729419"/>
              <a:gd name="csY8" fmla="*/ 1650967 h 2076207"/>
              <a:gd name="csX9" fmla="*/ 115628 w 729419"/>
              <a:gd name="csY9" fmla="*/ 1625405 h 2076207"/>
              <a:gd name="csX10" fmla="*/ 156323 w 729419"/>
              <a:gd name="csY10" fmla="*/ 1560181 h 2076207"/>
              <a:gd name="csX11" fmla="*/ 199424 w 729419"/>
              <a:gd name="csY11" fmla="*/ 1364729 h 2076207"/>
              <a:gd name="csX12" fmla="*/ 216779 w 729419"/>
              <a:gd name="csY12" fmla="*/ 1219490 h 2076207"/>
              <a:gd name="csX13" fmla="*/ 229755 w 729419"/>
              <a:gd name="csY13" fmla="*/ 1099357 h 2076207"/>
              <a:gd name="csX14" fmla="*/ 232707 w 729419"/>
              <a:gd name="csY14" fmla="*/ 1056423 h 2076207"/>
              <a:gd name="csX15" fmla="*/ 235622 w 729419"/>
              <a:gd name="csY15" fmla="*/ 952675 h 2076207"/>
              <a:gd name="csX16" fmla="*/ 235445 w 729419"/>
              <a:gd name="csY16" fmla="*/ 780278 h 2076207"/>
              <a:gd name="csX17" fmla="*/ 214544 w 729419"/>
              <a:gd name="csY17" fmla="*/ 756435 h 2076207"/>
              <a:gd name="csX18" fmla="*/ 172569 w 729419"/>
              <a:gd name="csY18" fmla="*/ 742582 h 2076207"/>
              <a:gd name="csX19" fmla="*/ 168784 w 729419"/>
              <a:gd name="csY19" fmla="*/ 669116 h 2076207"/>
              <a:gd name="csX20" fmla="*/ 191657 w 729419"/>
              <a:gd name="csY20" fmla="*/ 630765 h 2076207"/>
              <a:gd name="csX21" fmla="*/ 208150 w 729419"/>
              <a:gd name="csY21" fmla="*/ 609084 h 2076207"/>
              <a:gd name="csX22" fmla="*/ 216756 w 729419"/>
              <a:gd name="csY22" fmla="*/ 558673 h 2076207"/>
              <a:gd name="csX23" fmla="*/ 209092 w 729419"/>
              <a:gd name="csY23" fmla="*/ 521540 h 2076207"/>
              <a:gd name="csX24" fmla="*/ 204683 w 729419"/>
              <a:gd name="csY24" fmla="*/ 474024 h 2076207"/>
              <a:gd name="csX25" fmla="*/ 115483 w 729419"/>
              <a:gd name="csY25" fmla="*/ 213499 h 2076207"/>
              <a:gd name="csX26" fmla="*/ 102909 w 729419"/>
              <a:gd name="csY26" fmla="*/ 182297 h 2076207"/>
              <a:gd name="csX27" fmla="*/ 104315 w 729419"/>
              <a:gd name="csY27" fmla="*/ 163968 h 2076207"/>
              <a:gd name="csX28" fmla="*/ 122444 w 729419"/>
              <a:gd name="csY28" fmla="*/ 160805 h 2076207"/>
              <a:gd name="csX29" fmla="*/ 170283 w 729419"/>
              <a:gd name="csY29" fmla="*/ 187783 h 2076207"/>
              <a:gd name="csX30" fmla="*/ 180938 w 729419"/>
              <a:gd name="csY30" fmla="*/ 195322 h 2076207"/>
              <a:gd name="csX31" fmla="*/ 221419 w 729419"/>
              <a:gd name="csY31" fmla="*/ 138058 h 2076207"/>
              <a:gd name="csX32" fmla="*/ 294099 w 729419"/>
              <a:gd name="csY32" fmla="*/ 91372 h 2076207"/>
              <a:gd name="csX33" fmla="*/ 302307 w 729419"/>
              <a:gd name="csY33" fmla="*/ 76560 h 2076207"/>
              <a:gd name="csX34" fmla="*/ 320284 w 729419"/>
              <a:gd name="csY34" fmla="*/ 8414 h 2076207"/>
              <a:gd name="csX35" fmla="*/ 324784 w 729419"/>
              <a:gd name="csY35" fmla="*/ 946 h 2076207"/>
              <a:gd name="csX36" fmla="*/ 399212 w 729419"/>
              <a:gd name="csY36" fmla="*/ 0 h 2076207"/>
              <a:gd name="csX37" fmla="*/ 425980 w 729419"/>
              <a:gd name="csY37" fmla="*/ 78301 h 2076207"/>
              <a:gd name="csX38" fmla="*/ 431861 w 729419"/>
              <a:gd name="csY38" fmla="*/ 90312 h 2076207"/>
              <a:gd name="csX39" fmla="*/ 540349 w 729419"/>
              <a:gd name="csY39" fmla="*/ 187946 h 2076207"/>
              <a:gd name="csX40" fmla="*/ 545555 w 729419"/>
              <a:gd name="csY40" fmla="*/ 197828 h 2076207"/>
              <a:gd name="csX41" fmla="*/ 587318 w 729419"/>
              <a:gd name="csY41" fmla="*/ 171260 h 2076207"/>
              <a:gd name="csX42" fmla="*/ 601503 w 729419"/>
              <a:gd name="csY42" fmla="*/ 163707 h 2076207"/>
              <a:gd name="csX43" fmla="*/ 625254 w 729419"/>
              <a:gd name="csY43" fmla="*/ 163123 h 2076207"/>
              <a:gd name="csX44" fmla="*/ 625468 w 729419"/>
              <a:gd name="csY44" fmla="*/ 187579 h 2076207"/>
              <a:gd name="csX45" fmla="*/ 597543 w 729419"/>
              <a:gd name="csY45" fmla="*/ 251872 h 2076207"/>
              <a:gd name="csX46" fmla="*/ 531831 w 729419"/>
              <a:gd name="csY46" fmla="*/ 442689 h 2076207"/>
              <a:gd name="csX47" fmla="*/ 519888 w 729419"/>
              <a:gd name="csY47" fmla="*/ 501474 h 2076207"/>
              <a:gd name="csX48" fmla="*/ 522506 w 729419"/>
              <a:gd name="csY48" fmla="*/ 525086 h 2076207"/>
              <a:gd name="csX49" fmla="*/ 516235 w 729419"/>
              <a:gd name="csY49" fmla="*/ 555946 h 2076207"/>
              <a:gd name="csX50" fmla="*/ 521332 w 729419"/>
              <a:gd name="csY50" fmla="*/ 610676 h 2076207"/>
              <a:gd name="csX51" fmla="*/ 541382 w 729419"/>
              <a:gd name="csY51" fmla="*/ 642597 h 2076207"/>
              <a:gd name="csX52" fmla="*/ 557031 w 729419"/>
              <a:gd name="csY52" fmla="*/ 667949 h 2076207"/>
              <a:gd name="csX53" fmla="*/ 553994 w 729419"/>
              <a:gd name="csY53" fmla="*/ 744146 h 2076207"/>
              <a:gd name="csX54" fmla="*/ 508215 w 729419"/>
              <a:gd name="csY54" fmla="*/ 758841 h 2076207"/>
              <a:gd name="csX55" fmla="*/ 497442 w 729419"/>
              <a:gd name="csY55" fmla="*/ 771256 h 2076207"/>
              <a:gd name="csX56" fmla="*/ 493005 w 729419"/>
              <a:gd name="csY56" fmla="*/ 922055 h 2076207"/>
              <a:gd name="csX57" fmla="*/ 502900 w 729419"/>
              <a:gd name="csY57" fmla="*/ 1114191 h 2076207"/>
              <a:gd name="csX58" fmla="*/ 508800 w 729419"/>
              <a:gd name="csY58" fmla="*/ 1205474 h 2076207"/>
              <a:gd name="csX59" fmla="*/ 522952 w 729419"/>
              <a:gd name="csY59" fmla="*/ 1320065 h 2076207"/>
              <a:gd name="csX60" fmla="*/ 554682 w 729419"/>
              <a:gd name="csY60" fmla="*/ 1501203 h 2076207"/>
              <a:gd name="csX61" fmla="*/ 576958 w 729419"/>
              <a:gd name="csY61" fmla="*/ 1593963 h 2076207"/>
              <a:gd name="csX62" fmla="*/ 595349 w 729419"/>
              <a:gd name="csY62" fmla="*/ 1613498 h 2076207"/>
              <a:gd name="csX63" fmla="*/ 613936 w 729419"/>
              <a:gd name="csY63" fmla="*/ 1624058 h 2076207"/>
              <a:gd name="csX64" fmla="*/ 620938 w 729419"/>
              <a:gd name="csY64" fmla="*/ 1652071 h 2076207"/>
              <a:gd name="csX65" fmla="*/ 630805 w 729419"/>
              <a:gd name="csY65" fmla="*/ 1721702 h 2076207"/>
              <a:gd name="csX66" fmla="*/ 685830 w 729419"/>
              <a:gd name="csY66" fmla="*/ 1792915 h 2076207"/>
              <a:gd name="csX67" fmla="*/ 708904 w 729419"/>
              <a:gd name="csY67" fmla="*/ 1890290 h 2076207"/>
              <a:gd name="csX68" fmla="*/ 716580 w 729419"/>
              <a:gd name="csY68" fmla="*/ 1951136 h 2076207"/>
              <a:gd name="csX69" fmla="*/ 729397 w 729419"/>
              <a:gd name="csY69" fmla="*/ 2030261 h 2076207"/>
              <a:gd name="csX70" fmla="*/ 714212 w 729419"/>
              <a:gd name="csY70" fmla="*/ 2049544 h 2076207"/>
              <a:gd name="csX71" fmla="*/ 645428 w 729419"/>
              <a:gd name="csY71" fmla="*/ 2070825 h 2076207"/>
              <a:gd name="csX72" fmla="*/ 635822 w 729419"/>
              <a:gd name="csY72" fmla="*/ 2075145 h 2076207"/>
              <a:gd name="csX73" fmla="*/ 588428 w 729419"/>
              <a:gd name="csY73" fmla="*/ 2075144 h 2076207"/>
              <a:gd name="csX74" fmla="*/ 590041 w 729419"/>
              <a:gd name="csY74" fmla="*/ 2071383 h 2076207"/>
              <a:gd name="csX75" fmla="*/ 667788 w 729419"/>
              <a:gd name="csY75" fmla="*/ 2056852 h 2076207"/>
              <a:gd name="csX76" fmla="*/ 706629 w 729419"/>
              <a:gd name="csY76" fmla="*/ 2044290 h 2076207"/>
              <a:gd name="csX77" fmla="*/ 702674 w 729419"/>
              <a:gd name="csY77" fmla="*/ 2041581 h 2076207"/>
              <a:gd name="csX78" fmla="*/ 544974 w 729419"/>
              <a:gd name="csY78" fmla="*/ 2071274 h 2076207"/>
              <a:gd name="csX79" fmla="*/ 538352 w 729419"/>
              <a:gd name="csY79" fmla="*/ 2076207 h 2076207"/>
              <a:gd name="csX80" fmla="*/ 96263 w 729419"/>
              <a:gd name="csY80" fmla="*/ 2076207 h 2076207"/>
              <a:gd name="csX81" fmla="*/ 489970 w 729419"/>
              <a:gd name="csY81" fmla="*/ 152208 h 2076207"/>
              <a:gd name="csX82" fmla="*/ 490754 w 729419"/>
              <a:gd name="csY82" fmla="*/ 152592 h 2076207"/>
              <a:gd name="csX83" fmla="*/ 489489 w 729419"/>
              <a:gd name="csY83" fmla="*/ 149547 h 2076207"/>
              <a:gd name="csX84" fmla="*/ 393621 w 729419"/>
              <a:gd name="csY84" fmla="*/ 99259 h 2076207"/>
              <a:gd name="csX85" fmla="*/ 390419 w 729419"/>
              <a:gd name="csY85" fmla="*/ 18568 h 2076207"/>
              <a:gd name="csX86" fmla="*/ 334131 w 729419"/>
              <a:gd name="csY86" fmla="*/ 24327 h 2076207"/>
              <a:gd name="csX87" fmla="*/ 344678 w 729419"/>
              <a:gd name="csY87" fmla="*/ 101259 h 2076207"/>
              <a:gd name="csX88" fmla="*/ 298854 w 729419"/>
              <a:gd name="csY88" fmla="*/ 114003 h 2076207"/>
              <a:gd name="csX89" fmla="*/ 237456 w 729419"/>
              <a:gd name="csY89" fmla="*/ 154340 h 2076207"/>
              <a:gd name="csX90" fmla="*/ 240382 w 729419"/>
              <a:gd name="csY90" fmla="*/ 154035 h 2076207"/>
              <a:gd name="csX91" fmla="*/ 262731 w 729419"/>
              <a:gd name="csY91" fmla="*/ 170426 h 2076207"/>
              <a:gd name="csX92" fmla="*/ 279169 w 729419"/>
              <a:gd name="csY92" fmla="*/ 193173 h 2076207"/>
              <a:gd name="csX93" fmla="*/ 327717 w 729419"/>
              <a:gd name="csY93" fmla="*/ 188556 h 2076207"/>
              <a:gd name="csX94" fmla="*/ 348052 w 729419"/>
              <a:gd name="csY94" fmla="*/ 156919 h 2076207"/>
              <a:gd name="csX95" fmla="*/ 380330 w 729419"/>
              <a:gd name="csY95" fmla="*/ 156483 h 2076207"/>
              <a:gd name="csX96" fmla="*/ 408490 w 729419"/>
              <a:gd name="csY96" fmla="*/ 195400 h 2076207"/>
              <a:gd name="csX97" fmla="*/ 445346 w 729419"/>
              <a:gd name="csY97" fmla="*/ 197582 h 2076207"/>
              <a:gd name="csX98" fmla="*/ 464798 w 729419"/>
              <a:gd name="csY98" fmla="*/ 174107 h 2076207"/>
              <a:gd name="csX99" fmla="*/ 489970 w 729419"/>
              <a:gd name="csY99" fmla="*/ 152208 h 2076207"/>
              <a:gd name="csX100" fmla="*/ 140694 w 729419"/>
              <a:gd name="csY100" fmla="*/ 201837 h 2076207"/>
              <a:gd name="csX101" fmla="*/ 139834 w 729419"/>
              <a:gd name="csY101" fmla="*/ 201482 h 2076207"/>
              <a:gd name="csX102" fmla="*/ 140812 w 729419"/>
              <a:gd name="csY102" fmla="*/ 204941 h 2076207"/>
              <a:gd name="csX103" fmla="*/ 144631 w 729419"/>
              <a:gd name="csY103" fmla="*/ 217811 h 2076207"/>
              <a:gd name="csX104" fmla="*/ 201241 w 729419"/>
              <a:gd name="csY104" fmla="*/ 373387 h 2076207"/>
              <a:gd name="csX105" fmla="*/ 235971 w 729419"/>
              <a:gd name="csY105" fmla="*/ 504451 h 2076207"/>
              <a:gd name="csX106" fmla="*/ 247475 w 729419"/>
              <a:gd name="csY106" fmla="*/ 513241 h 2076207"/>
              <a:gd name="csX107" fmla="*/ 289066 w 729419"/>
              <a:gd name="csY107" fmla="*/ 511170 h 2076207"/>
              <a:gd name="csX108" fmla="*/ 378229 w 729419"/>
              <a:gd name="csY108" fmla="*/ 511084 h 2076207"/>
              <a:gd name="csX109" fmla="*/ 470850 w 729419"/>
              <a:gd name="csY109" fmla="*/ 516341 h 2076207"/>
              <a:gd name="csX110" fmla="*/ 492933 w 729419"/>
              <a:gd name="csY110" fmla="*/ 497969 h 2076207"/>
              <a:gd name="csX111" fmla="*/ 557617 w 729419"/>
              <a:gd name="csY111" fmla="*/ 280398 h 2076207"/>
              <a:gd name="csX112" fmla="*/ 588788 w 729419"/>
              <a:gd name="csY112" fmla="*/ 200385 h 2076207"/>
              <a:gd name="csX113" fmla="*/ 530958 w 729419"/>
              <a:gd name="csY113" fmla="*/ 232968 h 2076207"/>
              <a:gd name="csX114" fmla="*/ 483823 w 729419"/>
              <a:gd name="csY114" fmla="*/ 190364 h 2076207"/>
              <a:gd name="csX115" fmla="*/ 466649 w 729419"/>
              <a:gd name="csY115" fmla="*/ 209061 h 2076207"/>
              <a:gd name="csX116" fmla="*/ 399941 w 729419"/>
              <a:gd name="csY116" fmla="*/ 216988 h 2076207"/>
              <a:gd name="csX117" fmla="*/ 363018 w 729419"/>
              <a:gd name="csY117" fmla="*/ 179615 h 2076207"/>
              <a:gd name="csX118" fmla="*/ 308839 w 729419"/>
              <a:gd name="csY118" fmla="*/ 227846 h 2076207"/>
              <a:gd name="csX119" fmla="*/ 245077 w 729419"/>
              <a:gd name="csY119" fmla="*/ 192402 h 2076207"/>
              <a:gd name="csX120" fmla="*/ 242829 w 729419"/>
              <a:gd name="csY120" fmla="*/ 198815 h 2076207"/>
              <a:gd name="csX121" fmla="*/ 168452 w 729419"/>
              <a:gd name="csY121" fmla="*/ 219348 h 2076207"/>
              <a:gd name="csX122" fmla="*/ 140694 w 729419"/>
              <a:gd name="csY122" fmla="*/ 201837 h 2076207"/>
              <a:gd name="csX123" fmla="*/ 259999 w 729419"/>
              <a:gd name="csY123" fmla="*/ 966699 h 2076207"/>
              <a:gd name="csX124" fmla="*/ 257072 w 729419"/>
              <a:gd name="csY124" fmla="*/ 1070424 h 2076207"/>
              <a:gd name="csX125" fmla="*/ 251372 w 729419"/>
              <a:gd name="csY125" fmla="*/ 1157618 h 2076207"/>
              <a:gd name="csX126" fmla="*/ 232677 w 729419"/>
              <a:gd name="csY126" fmla="*/ 1320279 h 2076207"/>
              <a:gd name="csX127" fmla="*/ 209182 w 729419"/>
              <a:gd name="csY127" fmla="*/ 1468667 h 2076207"/>
              <a:gd name="csX128" fmla="*/ 175302 w 729419"/>
              <a:gd name="csY128" fmla="*/ 1616623 h 2076207"/>
              <a:gd name="csX129" fmla="*/ 182769 w 729419"/>
              <a:gd name="csY129" fmla="*/ 1629786 h 2076207"/>
              <a:gd name="csX130" fmla="*/ 212156 w 729419"/>
              <a:gd name="csY130" fmla="*/ 1632656 h 2076207"/>
              <a:gd name="csX131" fmla="*/ 351295 w 729419"/>
              <a:gd name="csY131" fmla="*/ 1632801 h 2076207"/>
              <a:gd name="csX132" fmla="*/ 376150 w 729419"/>
              <a:gd name="csY132" fmla="*/ 1608307 h 2076207"/>
              <a:gd name="csX133" fmla="*/ 373450 w 729419"/>
              <a:gd name="csY133" fmla="*/ 1457291 h 2076207"/>
              <a:gd name="csX134" fmla="*/ 370936 w 729419"/>
              <a:gd name="csY134" fmla="*/ 1342736 h 2076207"/>
              <a:gd name="csX135" fmla="*/ 368328 w 729419"/>
              <a:gd name="csY135" fmla="*/ 1203878 h 2076207"/>
              <a:gd name="csX136" fmla="*/ 367836 w 729419"/>
              <a:gd name="csY136" fmla="*/ 813478 h 2076207"/>
              <a:gd name="csX137" fmla="*/ 365240 w 729419"/>
              <a:gd name="csY137" fmla="*/ 773243 h 2076207"/>
              <a:gd name="csX138" fmla="*/ 353084 w 729419"/>
              <a:gd name="csY138" fmla="*/ 762083 h 2076207"/>
              <a:gd name="csX139" fmla="*/ 280966 w 729419"/>
              <a:gd name="csY139" fmla="*/ 759855 h 2076207"/>
              <a:gd name="csX140" fmla="*/ 259965 w 729419"/>
              <a:gd name="csY140" fmla="*/ 779553 h 2076207"/>
              <a:gd name="csX141" fmla="*/ 262341 w 729419"/>
              <a:gd name="csY141" fmla="*/ 856275 h 2076207"/>
              <a:gd name="csX142" fmla="*/ 259999 w 729419"/>
              <a:gd name="csY142" fmla="*/ 966699 h 2076207"/>
              <a:gd name="csX143" fmla="*/ 55556 w 729419"/>
              <a:gd name="csY143" fmla="*/ 1835827 h 2076207"/>
              <a:gd name="csX144" fmla="*/ 49393 w 729419"/>
              <a:gd name="csY144" fmla="*/ 1878155 h 2076207"/>
              <a:gd name="csX145" fmla="*/ 73949 w 729419"/>
              <a:gd name="csY145" fmla="*/ 1905781 h 2076207"/>
              <a:gd name="csX146" fmla="*/ 110073 w 729419"/>
              <a:gd name="csY146" fmla="*/ 1909068 h 2076207"/>
              <a:gd name="csX147" fmla="*/ 224745 w 729419"/>
              <a:gd name="csY147" fmla="*/ 1921652 h 2076207"/>
              <a:gd name="csX148" fmla="*/ 347327 w 729419"/>
              <a:gd name="csY148" fmla="*/ 1924778 h 2076207"/>
              <a:gd name="csX149" fmla="*/ 363345 w 729419"/>
              <a:gd name="csY149" fmla="*/ 1923293 h 2076207"/>
              <a:gd name="csX150" fmla="*/ 373787 w 729419"/>
              <a:gd name="csY150" fmla="*/ 1911200 h 2076207"/>
              <a:gd name="csX151" fmla="*/ 376623 w 729419"/>
              <a:gd name="csY151" fmla="*/ 1696741 h 2076207"/>
              <a:gd name="csX152" fmla="*/ 360437 w 729419"/>
              <a:gd name="csY152" fmla="*/ 1681289 h 2076207"/>
              <a:gd name="csX153" fmla="*/ 263503 w 729419"/>
              <a:gd name="csY153" fmla="*/ 1678179 h 2076207"/>
              <a:gd name="csX154" fmla="*/ 160381 w 729419"/>
              <a:gd name="csY154" fmla="*/ 1670405 h 2076207"/>
              <a:gd name="csX155" fmla="*/ 143321 w 729419"/>
              <a:gd name="csY155" fmla="*/ 1685538 h 2076207"/>
              <a:gd name="csX156" fmla="*/ 124769 w 729419"/>
              <a:gd name="csY156" fmla="*/ 1738195 h 2076207"/>
              <a:gd name="csX157" fmla="*/ 90593 w 729419"/>
              <a:gd name="csY157" fmla="*/ 1779570 h 2076207"/>
              <a:gd name="csX158" fmla="*/ 55556 w 729419"/>
              <a:gd name="csY158" fmla="*/ 1835827 h 2076207"/>
              <a:gd name="csX159" fmla="*/ 378900 w 729419"/>
              <a:gd name="csY159" fmla="*/ 2007280 h 2076207"/>
              <a:gd name="csX160" fmla="*/ 378887 w 729419"/>
              <a:gd name="csY160" fmla="*/ 1995127 h 2076207"/>
              <a:gd name="csX161" fmla="*/ 359084 w 729419"/>
              <a:gd name="csY161" fmla="*/ 1975964 h 2076207"/>
              <a:gd name="csX162" fmla="*/ 247288 w 729419"/>
              <a:gd name="csY162" fmla="*/ 1973305 h 2076207"/>
              <a:gd name="csX163" fmla="*/ 201692 w 729419"/>
              <a:gd name="csY163" fmla="*/ 1970275 h 2076207"/>
              <a:gd name="csX164" fmla="*/ 57962 w 729419"/>
              <a:gd name="csY164" fmla="*/ 1952648 h 2076207"/>
              <a:gd name="csX165" fmla="*/ 39194 w 729419"/>
              <a:gd name="csY165" fmla="*/ 1963552 h 2076207"/>
              <a:gd name="csX166" fmla="*/ 30066 w 729419"/>
              <a:gd name="csY166" fmla="*/ 2006631 h 2076207"/>
              <a:gd name="csX167" fmla="*/ 40232 w 729419"/>
              <a:gd name="csY167" fmla="*/ 2019486 h 2076207"/>
              <a:gd name="csX168" fmla="*/ 238186 w 729419"/>
              <a:gd name="csY168" fmla="*/ 2046096 h 2076207"/>
              <a:gd name="csX169" fmla="*/ 342155 w 729419"/>
              <a:gd name="csY169" fmla="*/ 2046441 h 2076207"/>
              <a:gd name="csX170" fmla="*/ 378900 w 729419"/>
              <a:gd name="csY170" fmla="*/ 2007280 h 2076207"/>
              <a:gd name="csX171" fmla="*/ 310220 w 729419"/>
              <a:gd name="csY171" fmla="*/ 554288 h 2076207"/>
              <a:gd name="csX172" fmla="*/ 259136 w 729419"/>
              <a:gd name="csY172" fmla="*/ 556881 h 2076207"/>
              <a:gd name="csX173" fmla="*/ 249085 w 729419"/>
              <a:gd name="csY173" fmla="*/ 567981 h 2076207"/>
              <a:gd name="csX174" fmla="*/ 249141 w 729419"/>
              <a:gd name="csY174" fmla="*/ 605644 h 2076207"/>
              <a:gd name="csX175" fmla="*/ 262628 w 729419"/>
              <a:gd name="csY175" fmla="*/ 605627 h 2076207"/>
              <a:gd name="csX176" fmla="*/ 369608 w 729419"/>
              <a:gd name="csY176" fmla="*/ 603027 h 2076207"/>
              <a:gd name="csX177" fmla="*/ 463931 w 729419"/>
              <a:gd name="csY177" fmla="*/ 605146 h 2076207"/>
              <a:gd name="csX178" fmla="*/ 478113 w 729419"/>
              <a:gd name="csY178" fmla="*/ 595843 h 2076207"/>
              <a:gd name="csX179" fmla="*/ 478796 w 729419"/>
              <a:gd name="csY179" fmla="*/ 556832 h 2076207"/>
              <a:gd name="csX180" fmla="*/ 310220 w 729419"/>
              <a:gd name="csY180" fmla="*/ 554288 h 2076207"/>
              <a:gd name="csX181" fmla="*/ 348836 w 729419"/>
              <a:gd name="csY181" fmla="*/ 684115 h 2076207"/>
              <a:gd name="csX182" fmla="*/ 281333 w 729419"/>
              <a:gd name="csY182" fmla="*/ 683313 h 2076207"/>
              <a:gd name="csX183" fmla="*/ 212728 w 729419"/>
              <a:gd name="csY183" fmla="*/ 681931 h 2076207"/>
              <a:gd name="csX184" fmla="*/ 187283 w 729419"/>
              <a:gd name="csY184" fmla="*/ 689555 h 2076207"/>
              <a:gd name="csX185" fmla="*/ 186163 w 729419"/>
              <a:gd name="csY185" fmla="*/ 718266 h 2076207"/>
              <a:gd name="csX186" fmla="*/ 209894 w 729419"/>
              <a:gd name="csY186" fmla="*/ 726798 h 2076207"/>
              <a:gd name="csX187" fmla="*/ 334814 w 729419"/>
              <a:gd name="csY187" fmla="*/ 732494 h 2076207"/>
              <a:gd name="csX188" fmla="*/ 364856 w 729419"/>
              <a:gd name="csY188" fmla="*/ 707963 h 2076207"/>
              <a:gd name="csX189" fmla="*/ 348836 w 729419"/>
              <a:gd name="csY189" fmla="*/ 684115 h 2076207"/>
              <a:gd name="csX190" fmla="*/ 298865 w 729419"/>
              <a:gd name="csY190" fmla="*/ 621954 h 2076207"/>
              <a:gd name="csX191" fmla="*/ 251619 w 729419"/>
              <a:gd name="csY191" fmla="*/ 622133 h 2076207"/>
              <a:gd name="csX192" fmla="*/ 214459 w 729419"/>
              <a:gd name="csY192" fmla="*/ 636230 h 2076207"/>
              <a:gd name="csX193" fmla="*/ 221436 w 729419"/>
              <a:gd name="csY193" fmla="*/ 654205 h 2076207"/>
              <a:gd name="csX194" fmla="*/ 272412 w 729419"/>
              <a:gd name="csY194" fmla="*/ 657250 h 2076207"/>
              <a:gd name="csX195" fmla="*/ 349094 w 729419"/>
              <a:gd name="csY195" fmla="*/ 659282 h 2076207"/>
              <a:gd name="csX196" fmla="*/ 362996 w 729419"/>
              <a:gd name="csY196" fmla="*/ 644234 h 2076207"/>
              <a:gd name="csX197" fmla="*/ 348472 w 729419"/>
              <a:gd name="csY197" fmla="*/ 624649 h 2076207"/>
              <a:gd name="csX198" fmla="*/ 298865 w 729419"/>
              <a:gd name="csY198" fmla="*/ 621954 h 2076207"/>
              <a:gd name="csX199" fmla="*/ 227796 w 729419"/>
              <a:gd name="csY199" fmla="*/ 528000 h 2076207"/>
              <a:gd name="csX200" fmla="*/ 241009 w 729419"/>
              <a:gd name="csY200" fmla="*/ 545897 h 2076207"/>
              <a:gd name="csX201" fmla="*/ 282607 w 729419"/>
              <a:gd name="csY201" fmla="*/ 543480 h 2076207"/>
              <a:gd name="csX202" fmla="*/ 354213 w 729419"/>
              <a:gd name="csY202" fmla="*/ 543384 h 2076207"/>
              <a:gd name="csX203" fmla="*/ 365334 w 729419"/>
              <a:gd name="csY203" fmla="*/ 533397 h 2076207"/>
              <a:gd name="csX204" fmla="*/ 354531 w 729419"/>
              <a:gd name="csY204" fmla="*/ 521620 h 2076207"/>
              <a:gd name="csX205" fmla="*/ 259169 w 729419"/>
              <a:gd name="csY205" fmla="*/ 521978 h 2076207"/>
              <a:gd name="csX206" fmla="*/ 227796 w 729419"/>
              <a:gd name="csY206" fmla="*/ 528000 h 2076207"/>
              <a:gd name="csX207" fmla="*/ 508068 w 729419"/>
              <a:gd name="csY207" fmla="*/ 190710 h 2076207"/>
              <a:gd name="csX208" fmla="*/ 521293 w 729419"/>
              <a:gd name="csY208" fmla="*/ 205907 h 2076207"/>
              <a:gd name="csX209" fmla="*/ 525175 w 729419"/>
              <a:gd name="csY209" fmla="*/ 202985 h 2076207"/>
              <a:gd name="csX210" fmla="*/ 500276 w 729419"/>
              <a:gd name="csY210" fmla="*/ 160640 h 2076207"/>
              <a:gd name="csX211" fmla="*/ 497122 w 729419"/>
              <a:gd name="csY211" fmla="*/ 162007 h 2076207"/>
              <a:gd name="csX212" fmla="*/ 508068 w 729419"/>
              <a:gd name="csY212" fmla="*/ 190710 h 2076207"/>
              <a:gd name="csX213" fmla="*/ 215522 w 729419"/>
              <a:gd name="csY213" fmla="*/ 197296 h 2076207"/>
              <a:gd name="csX214" fmla="*/ 234029 w 729419"/>
              <a:gd name="csY214" fmla="*/ 162725 h 2076207"/>
              <a:gd name="csX215" fmla="*/ 229000 w 729419"/>
              <a:gd name="csY215" fmla="*/ 159902 h 2076207"/>
              <a:gd name="csX216" fmla="*/ 204824 w 729419"/>
              <a:gd name="csY216" fmla="*/ 199677 h 2076207"/>
              <a:gd name="csX217" fmla="*/ 207990 w 729419"/>
              <a:gd name="csY217" fmla="*/ 202198 h 2076207"/>
              <a:gd name="csX218" fmla="*/ 215522 w 729419"/>
              <a:gd name="csY218" fmla="*/ 197296 h 2076207"/>
              <a:gd name="csX219" fmla="*/ 484400 w 729419"/>
              <a:gd name="csY219" fmla="*/ 863693 h 2076207"/>
              <a:gd name="csX220" fmla="*/ 484400 w 729419"/>
              <a:gd name="csY220" fmla="*/ 896678 h 2076207"/>
              <a:gd name="csX221" fmla="*/ 486181 w 729419"/>
              <a:gd name="csY221" fmla="*/ 896585 h 2076207"/>
              <a:gd name="csX222" fmla="*/ 486181 w 729419"/>
              <a:gd name="csY222" fmla="*/ 795289 h 2076207"/>
              <a:gd name="csX223" fmla="*/ 484406 w 729419"/>
              <a:gd name="csY223" fmla="*/ 795283 h 2076207"/>
              <a:gd name="csX224" fmla="*/ 484400 w 729419"/>
              <a:gd name="csY224" fmla="*/ 863693 h 2076207"/>
              <a:gd name="csX225" fmla="*/ 720241 w 729419"/>
              <a:gd name="csY225" fmla="*/ 2030666 h 2076207"/>
              <a:gd name="csX226" fmla="*/ 721175 w 729419"/>
              <a:gd name="csY226" fmla="*/ 2029733 h 2076207"/>
              <a:gd name="csX227" fmla="*/ 720241 w 729419"/>
              <a:gd name="csY227" fmla="*/ 2030666 h 2076207"/>
              <a:gd name="csX228" fmla="*/ 715702 w 729419"/>
              <a:gd name="csY228" fmla="*/ 2037051 h 2076207"/>
              <a:gd name="csX229" fmla="*/ 715702 w 729419"/>
              <a:gd name="csY229" fmla="*/ 2037051 h 2076207"/>
              <a:gd name="csX230" fmla="*/ 709953 w 729419"/>
              <a:gd name="csY230" fmla="*/ 2040017 h 2076207"/>
              <a:gd name="csX231" fmla="*/ 710209 w 729419"/>
              <a:gd name="csY231" fmla="*/ 2039597 h 2076207"/>
              <a:gd name="csX232" fmla="*/ 709953 w 729419"/>
              <a:gd name="csY232" fmla="*/ 2040017 h 2076207"/>
              <a:gd name="csX0" fmla="*/ 96263 w 729419"/>
              <a:gd name="csY0" fmla="*/ 2076207 h 2076207"/>
              <a:gd name="csX1" fmla="*/ 63862 w 729419"/>
              <a:gd name="csY1" fmla="*/ 2065388 h 2076207"/>
              <a:gd name="csX2" fmla="*/ 16555 w 729419"/>
              <a:gd name="csY2" fmla="*/ 2050152 h 2076207"/>
              <a:gd name="csX3" fmla="*/ 15 w 729419"/>
              <a:gd name="csY3" fmla="*/ 2023802 h 2076207"/>
              <a:gd name="csX4" fmla="*/ 18368 w 729419"/>
              <a:gd name="csY4" fmla="*/ 1940709 h 2076207"/>
              <a:gd name="csX5" fmla="*/ 22139 w 729419"/>
              <a:gd name="csY5" fmla="*/ 1907268 h 2076207"/>
              <a:gd name="csX6" fmla="*/ 57941 w 729419"/>
              <a:gd name="csY6" fmla="*/ 1774163 h 2076207"/>
              <a:gd name="csX7" fmla="*/ 102478 w 729419"/>
              <a:gd name="csY7" fmla="*/ 1720275 h 2076207"/>
              <a:gd name="csX8" fmla="*/ 108579 w 729419"/>
              <a:gd name="csY8" fmla="*/ 1650967 h 2076207"/>
              <a:gd name="csX9" fmla="*/ 115628 w 729419"/>
              <a:gd name="csY9" fmla="*/ 1625405 h 2076207"/>
              <a:gd name="csX10" fmla="*/ 156323 w 729419"/>
              <a:gd name="csY10" fmla="*/ 1560181 h 2076207"/>
              <a:gd name="csX11" fmla="*/ 199424 w 729419"/>
              <a:gd name="csY11" fmla="*/ 1364729 h 2076207"/>
              <a:gd name="csX12" fmla="*/ 216779 w 729419"/>
              <a:gd name="csY12" fmla="*/ 1219490 h 2076207"/>
              <a:gd name="csX13" fmla="*/ 229755 w 729419"/>
              <a:gd name="csY13" fmla="*/ 1099357 h 2076207"/>
              <a:gd name="csX14" fmla="*/ 232707 w 729419"/>
              <a:gd name="csY14" fmla="*/ 1056423 h 2076207"/>
              <a:gd name="csX15" fmla="*/ 235622 w 729419"/>
              <a:gd name="csY15" fmla="*/ 952675 h 2076207"/>
              <a:gd name="csX16" fmla="*/ 235445 w 729419"/>
              <a:gd name="csY16" fmla="*/ 780278 h 2076207"/>
              <a:gd name="csX17" fmla="*/ 214544 w 729419"/>
              <a:gd name="csY17" fmla="*/ 756435 h 2076207"/>
              <a:gd name="csX18" fmla="*/ 172569 w 729419"/>
              <a:gd name="csY18" fmla="*/ 742582 h 2076207"/>
              <a:gd name="csX19" fmla="*/ 168784 w 729419"/>
              <a:gd name="csY19" fmla="*/ 669116 h 2076207"/>
              <a:gd name="csX20" fmla="*/ 191657 w 729419"/>
              <a:gd name="csY20" fmla="*/ 630765 h 2076207"/>
              <a:gd name="csX21" fmla="*/ 208150 w 729419"/>
              <a:gd name="csY21" fmla="*/ 609084 h 2076207"/>
              <a:gd name="csX22" fmla="*/ 216756 w 729419"/>
              <a:gd name="csY22" fmla="*/ 558673 h 2076207"/>
              <a:gd name="csX23" fmla="*/ 209092 w 729419"/>
              <a:gd name="csY23" fmla="*/ 521540 h 2076207"/>
              <a:gd name="csX24" fmla="*/ 204683 w 729419"/>
              <a:gd name="csY24" fmla="*/ 474024 h 2076207"/>
              <a:gd name="csX25" fmla="*/ 115483 w 729419"/>
              <a:gd name="csY25" fmla="*/ 213499 h 2076207"/>
              <a:gd name="csX26" fmla="*/ 102909 w 729419"/>
              <a:gd name="csY26" fmla="*/ 182297 h 2076207"/>
              <a:gd name="csX27" fmla="*/ 104315 w 729419"/>
              <a:gd name="csY27" fmla="*/ 163968 h 2076207"/>
              <a:gd name="csX28" fmla="*/ 122444 w 729419"/>
              <a:gd name="csY28" fmla="*/ 160805 h 2076207"/>
              <a:gd name="csX29" fmla="*/ 170283 w 729419"/>
              <a:gd name="csY29" fmla="*/ 187783 h 2076207"/>
              <a:gd name="csX30" fmla="*/ 180938 w 729419"/>
              <a:gd name="csY30" fmla="*/ 195322 h 2076207"/>
              <a:gd name="csX31" fmla="*/ 221419 w 729419"/>
              <a:gd name="csY31" fmla="*/ 138058 h 2076207"/>
              <a:gd name="csX32" fmla="*/ 294099 w 729419"/>
              <a:gd name="csY32" fmla="*/ 91372 h 2076207"/>
              <a:gd name="csX33" fmla="*/ 302307 w 729419"/>
              <a:gd name="csY33" fmla="*/ 76560 h 2076207"/>
              <a:gd name="csX34" fmla="*/ 320284 w 729419"/>
              <a:gd name="csY34" fmla="*/ 8414 h 2076207"/>
              <a:gd name="csX35" fmla="*/ 324784 w 729419"/>
              <a:gd name="csY35" fmla="*/ 946 h 2076207"/>
              <a:gd name="csX36" fmla="*/ 399212 w 729419"/>
              <a:gd name="csY36" fmla="*/ 0 h 2076207"/>
              <a:gd name="csX37" fmla="*/ 425980 w 729419"/>
              <a:gd name="csY37" fmla="*/ 78301 h 2076207"/>
              <a:gd name="csX38" fmla="*/ 431861 w 729419"/>
              <a:gd name="csY38" fmla="*/ 90312 h 2076207"/>
              <a:gd name="csX39" fmla="*/ 540349 w 729419"/>
              <a:gd name="csY39" fmla="*/ 187946 h 2076207"/>
              <a:gd name="csX40" fmla="*/ 545555 w 729419"/>
              <a:gd name="csY40" fmla="*/ 197828 h 2076207"/>
              <a:gd name="csX41" fmla="*/ 587318 w 729419"/>
              <a:gd name="csY41" fmla="*/ 171260 h 2076207"/>
              <a:gd name="csX42" fmla="*/ 601503 w 729419"/>
              <a:gd name="csY42" fmla="*/ 163707 h 2076207"/>
              <a:gd name="csX43" fmla="*/ 625254 w 729419"/>
              <a:gd name="csY43" fmla="*/ 163123 h 2076207"/>
              <a:gd name="csX44" fmla="*/ 625468 w 729419"/>
              <a:gd name="csY44" fmla="*/ 187579 h 2076207"/>
              <a:gd name="csX45" fmla="*/ 597543 w 729419"/>
              <a:gd name="csY45" fmla="*/ 251872 h 2076207"/>
              <a:gd name="csX46" fmla="*/ 531831 w 729419"/>
              <a:gd name="csY46" fmla="*/ 442689 h 2076207"/>
              <a:gd name="csX47" fmla="*/ 519888 w 729419"/>
              <a:gd name="csY47" fmla="*/ 501474 h 2076207"/>
              <a:gd name="csX48" fmla="*/ 522506 w 729419"/>
              <a:gd name="csY48" fmla="*/ 525086 h 2076207"/>
              <a:gd name="csX49" fmla="*/ 516235 w 729419"/>
              <a:gd name="csY49" fmla="*/ 555946 h 2076207"/>
              <a:gd name="csX50" fmla="*/ 521332 w 729419"/>
              <a:gd name="csY50" fmla="*/ 610676 h 2076207"/>
              <a:gd name="csX51" fmla="*/ 541382 w 729419"/>
              <a:gd name="csY51" fmla="*/ 642597 h 2076207"/>
              <a:gd name="csX52" fmla="*/ 557031 w 729419"/>
              <a:gd name="csY52" fmla="*/ 667949 h 2076207"/>
              <a:gd name="csX53" fmla="*/ 553994 w 729419"/>
              <a:gd name="csY53" fmla="*/ 744146 h 2076207"/>
              <a:gd name="csX54" fmla="*/ 508215 w 729419"/>
              <a:gd name="csY54" fmla="*/ 758841 h 2076207"/>
              <a:gd name="csX55" fmla="*/ 497442 w 729419"/>
              <a:gd name="csY55" fmla="*/ 771256 h 2076207"/>
              <a:gd name="csX56" fmla="*/ 493005 w 729419"/>
              <a:gd name="csY56" fmla="*/ 922055 h 2076207"/>
              <a:gd name="csX57" fmla="*/ 502900 w 729419"/>
              <a:gd name="csY57" fmla="*/ 1114191 h 2076207"/>
              <a:gd name="csX58" fmla="*/ 508800 w 729419"/>
              <a:gd name="csY58" fmla="*/ 1205474 h 2076207"/>
              <a:gd name="csX59" fmla="*/ 522952 w 729419"/>
              <a:gd name="csY59" fmla="*/ 1320065 h 2076207"/>
              <a:gd name="csX60" fmla="*/ 554682 w 729419"/>
              <a:gd name="csY60" fmla="*/ 1501203 h 2076207"/>
              <a:gd name="csX61" fmla="*/ 576958 w 729419"/>
              <a:gd name="csY61" fmla="*/ 1593963 h 2076207"/>
              <a:gd name="csX62" fmla="*/ 595349 w 729419"/>
              <a:gd name="csY62" fmla="*/ 1613498 h 2076207"/>
              <a:gd name="csX63" fmla="*/ 613936 w 729419"/>
              <a:gd name="csY63" fmla="*/ 1624058 h 2076207"/>
              <a:gd name="csX64" fmla="*/ 620938 w 729419"/>
              <a:gd name="csY64" fmla="*/ 1652071 h 2076207"/>
              <a:gd name="csX65" fmla="*/ 630805 w 729419"/>
              <a:gd name="csY65" fmla="*/ 1721702 h 2076207"/>
              <a:gd name="csX66" fmla="*/ 685830 w 729419"/>
              <a:gd name="csY66" fmla="*/ 1792915 h 2076207"/>
              <a:gd name="csX67" fmla="*/ 708904 w 729419"/>
              <a:gd name="csY67" fmla="*/ 1890290 h 2076207"/>
              <a:gd name="csX68" fmla="*/ 716580 w 729419"/>
              <a:gd name="csY68" fmla="*/ 1951136 h 2076207"/>
              <a:gd name="csX69" fmla="*/ 729397 w 729419"/>
              <a:gd name="csY69" fmla="*/ 2030261 h 2076207"/>
              <a:gd name="csX70" fmla="*/ 714212 w 729419"/>
              <a:gd name="csY70" fmla="*/ 2049544 h 2076207"/>
              <a:gd name="csX71" fmla="*/ 645428 w 729419"/>
              <a:gd name="csY71" fmla="*/ 2070825 h 2076207"/>
              <a:gd name="csX72" fmla="*/ 635822 w 729419"/>
              <a:gd name="csY72" fmla="*/ 2075145 h 2076207"/>
              <a:gd name="csX73" fmla="*/ 588428 w 729419"/>
              <a:gd name="csY73" fmla="*/ 2075144 h 2076207"/>
              <a:gd name="csX74" fmla="*/ 590041 w 729419"/>
              <a:gd name="csY74" fmla="*/ 2071383 h 2076207"/>
              <a:gd name="csX75" fmla="*/ 667788 w 729419"/>
              <a:gd name="csY75" fmla="*/ 2056852 h 2076207"/>
              <a:gd name="csX76" fmla="*/ 706629 w 729419"/>
              <a:gd name="csY76" fmla="*/ 2044290 h 2076207"/>
              <a:gd name="csX77" fmla="*/ 702674 w 729419"/>
              <a:gd name="csY77" fmla="*/ 2041581 h 2076207"/>
              <a:gd name="csX78" fmla="*/ 544974 w 729419"/>
              <a:gd name="csY78" fmla="*/ 2071274 h 2076207"/>
              <a:gd name="csX79" fmla="*/ 538352 w 729419"/>
              <a:gd name="csY79" fmla="*/ 2076207 h 2076207"/>
              <a:gd name="csX80" fmla="*/ 96263 w 729419"/>
              <a:gd name="csY80" fmla="*/ 2076207 h 2076207"/>
              <a:gd name="csX81" fmla="*/ 489970 w 729419"/>
              <a:gd name="csY81" fmla="*/ 152208 h 2076207"/>
              <a:gd name="csX82" fmla="*/ 490754 w 729419"/>
              <a:gd name="csY82" fmla="*/ 152592 h 2076207"/>
              <a:gd name="csX83" fmla="*/ 489489 w 729419"/>
              <a:gd name="csY83" fmla="*/ 149547 h 2076207"/>
              <a:gd name="csX84" fmla="*/ 393621 w 729419"/>
              <a:gd name="csY84" fmla="*/ 99259 h 2076207"/>
              <a:gd name="csX85" fmla="*/ 390419 w 729419"/>
              <a:gd name="csY85" fmla="*/ 18568 h 2076207"/>
              <a:gd name="csX86" fmla="*/ 334131 w 729419"/>
              <a:gd name="csY86" fmla="*/ 24327 h 2076207"/>
              <a:gd name="csX87" fmla="*/ 344678 w 729419"/>
              <a:gd name="csY87" fmla="*/ 101259 h 2076207"/>
              <a:gd name="csX88" fmla="*/ 298854 w 729419"/>
              <a:gd name="csY88" fmla="*/ 114003 h 2076207"/>
              <a:gd name="csX89" fmla="*/ 237456 w 729419"/>
              <a:gd name="csY89" fmla="*/ 154340 h 2076207"/>
              <a:gd name="csX90" fmla="*/ 240382 w 729419"/>
              <a:gd name="csY90" fmla="*/ 154035 h 2076207"/>
              <a:gd name="csX91" fmla="*/ 262731 w 729419"/>
              <a:gd name="csY91" fmla="*/ 170426 h 2076207"/>
              <a:gd name="csX92" fmla="*/ 279169 w 729419"/>
              <a:gd name="csY92" fmla="*/ 193173 h 2076207"/>
              <a:gd name="csX93" fmla="*/ 327717 w 729419"/>
              <a:gd name="csY93" fmla="*/ 188556 h 2076207"/>
              <a:gd name="csX94" fmla="*/ 348052 w 729419"/>
              <a:gd name="csY94" fmla="*/ 156919 h 2076207"/>
              <a:gd name="csX95" fmla="*/ 380330 w 729419"/>
              <a:gd name="csY95" fmla="*/ 156483 h 2076207"/>
              <a:gd name="csX96" fmla="*/ 408490 w 729419"/>
              <a:gd name="csY96" fmla="*/ 195400 h 2076207"/>
              <a:gd name="csX97" fmla="*/ 445346 w 729419"/>
              <a:gd name="csY97" fmla="*/ 197582 h 2076207"/>
              <a:gd name="csX98" fmla="*/ 464798 w 729419"/>
              <a:gd name="csY98" fmla="*/ 174107 h 2076207"/>
              <a:gd name="csX99" fmla="*/ 489970 w 729419"/>
              <a:gd name="csY99" fmla="*/ 152208 h 2076207"/>
              <a:gd name="csX100" fmla="*/ 140694 w 729419"/>
              <a:gd name="csY100" fmla="*/ 201837 h 2076207"/>
              <a:gd name="csX101" fmla="*/ 139834 w 729419"/>
              <a:gd name="csY101" fmla="*/ 201482 h 2076207"/>
              <a:gd name="csX102" fmla="*/ 140812 w 729419"/>
              <a:gd name="csY102" fmla="*/ 204941 h 2076207"/>
              <a:gd name="csX103" fmla="*/ 144631 w 729419"/>
              <a:gd name="csY103" fmla="*/ 217811 h 2076207"/>
              <a:gd name="csX104" fmla="*/ 201241 w 729419"/>
              <a:gd name="csY104" fmla="*/ 373387 h 2076207"/>
              <a:gd name="csX105" fmla="*/ 235971 w 729419"/>
              <a:gd name="csY105" fmla="*/ 504451 h 2076207"/>
              <a:gd name="csX106" fmla="*/ 247475 w 729419"/>
              <a:gd name="csY106" fmla="*/ 513241 h 2076207"/>
              <a:gd name="csX107" fmla="*/ 289066 w 729419"/>
              <a:gd name="csY107" fmla="*/ 511170 h 2076207"/>
              <a:gd name="csX108" fmla="*/ 378229 w 729419"/>
              <a:gd name="csY108" fmla="*/ 511084 h 2076207"/>
              <a:gd name="csX109" fmla="*/ 470850 w 729419"/>
              <a:gd name="csY109" fmla="*/ 516341 h 2076207"/>
              <a:gd name="csX110" fmla="*/ 492933 w 729419"/>
              <a:gd name="csY110" fmla="*/ 497969 h 2076207"/>
              <a:gd name="csX111" fmla="*/ 557617 w 729419"/>
              <a:gd name="csY111" fmla="*/ 280398 h 2076207"/>
              <a:gd name="csX112" fmla="*/ 588788 w 729419"/>
              <a:gd name="csY112" fmla="*/ 200385 h 2076207"/>
              <a:gd name="csX113" fmla="*/ 530958 w 729419"/>
              <a:gd name="csY113" fmla="*/ 232968 h 2076207"/>
              <a:gd name="csX114" fmla="*/ 483823 w 729419"/>
              <a:gd name="csY114" fmla="*/ 190364 h 2076207"/>
              <a:gd name="csX115" fmla="*/ 466649 w 729419"/>
              <a:gd name="csY115" fmla="*/ 209061 h 2076207"/>
              <a:gd name="csX116" fmla="*/ 399941 w 729419"/>
              <a:gd name="csY116" fmla="*/ 216988 h 2076207"/>
              <a:gd name="csX117" fmla="*/ 363018 w 729419"/>
              <a:gd name="csY117" fmla="*/ 179615 h 2076207"/>
              <a:gd name="csX118" fmla="*/ 308839 w 729419"/>
              <a:gd name="csY118" fmla="*/ 227846 h 2076207"/>
              <a:gd name="csX119" fmla="*/ 245077 w 729419"/>
              <a:gd name="csY119" fmla="*/ 192402 h 2076207"/>
              <a:gd name="csX120" fmla="*/ 242829 w 729419"/>
              <a:gd name="csY120" fmla="*/ 198815 h 2076207"/>
              <a:gd name="csX121" fmla="*/ 168452 w 729419"/>
              <a:gd name="csY121" fmla="*/ 219348 h 2076207"/>
              <a:gd name="csX122" fmla="*/ 140694 w 729419"/>
              <a:gd name="csY122" fmla="*/ 201837 h 2076207"/>
              <a:gd name="csX123" fmla="*/ 259999 w 729419"/>
              <a:gd name="csY123" fmla="*/ 966699 h 2076207"/>
              <a:gd name="csX124" fmla="*/ 257072 w 729419"/>
              <a:gd name="csY124" fmla="*/ 1070424 h 2076207"/>
              <a:gd name="csX125" fmla="*/ 251372 w 729419"/>
              <a:gd name="csY125" fmla="*/ 1157618 h 2076207"/>
              <a:gd name="csX126" fmla="*/ 232677 w 729419"/>
              <a:gd name="csY126" fmla="*/ 1320279 h 2076207"/>
              <a:gd name="csX127" fmla="*/ 209182 w 729419"/>
              <a:gd name="csY127" fmla="*/ 1468667 h 2076207"/>
              <a:gd name="csX128" fmla="*/ 175302 w 729419"/>
              <a:gd name="csY128" fmla="*/ 1616623 h 2076207"/>
              <a:gd name="csX129" fmla="*/ 182769 w 729419"/>
              <a:gd name="csY129" fmla="*/ 1629786 h 2076207"/>
              <a:gd name="csX130" fmla="*/ 212156 w 729419"/>
              <a:gd name="csY130" fmla="*/ 1632656 h 2076207"/>
              <a:gd name="csX131" fmla="*/ 351295 w 729419"/>
              <a:gd name="csY131" fmla="*/ 1632801 h 2076207"/>
              <a:gd name="csX132" fmla="*/ 376150 w 729419"/>
              <a:gd name="csY132" fmla="*/ 1608307 h 2076207"/>
              <a:gd name="csX133" fmla="*/ 373450 w 729419"/>
              <a:gd name="csY133" fmla="*/ 1457291 h 2076207"/>
              <a:gd name="csX134" fmla="*/ 370936 w 729419"/>
              <a:gd name="csY134" fmla="*/ 1342736 h 2076207"/>
              <a:gd name="csX135" fmla="*/ 368328 w 729419"/>
              <a:gd name="csY135" fmla="*/ 1203878 h 2076207"/>
              <a:gd name="csX136" fmla="*/ 367836 w 729419"/>
              <a:gd name="csY136" fmla="*/ 813478 h 2076207"/>
              <a:gd name="csX137" fmla="*/ 365240 w 729419"/>
              <a:gd name="csY137" fmla="*/ 773243 h 2076207"/>
              <a:gd name="csX138" fmla="*/ 353084 w 729419"/>
              <a:gd name="csY138" fmla="*/ 762083 h 2076207"/>
              <a:gd name="csX139" fmla="*/ 280966 w 729419"/>
              <a:gd name="csY139" fmla="*/ 759855 h 2076207"/>
              <a:gd name="csX140" fmla="*/ 259965 w 729419"/>
              <a:gd name="csY140" fmla="*/ 779553 h 2076207"/>
              <a:gd name="csX141" fmla="*/ 262341 w 729419"/>
              <a:gd name="csY141" fmla="*/ 856275 h 2076207"/>
              <a:gd name="csX142" fmla="*/ 259999 w 729419"/>
              <a:gd name="csY142" fmla="*/ 966699 h 2076207"/>
              <a:gd name="csX143" fmla="*/ 55556 w 729419"/>
              <a:gd name="csY143" fmla="*/ 1835827 h 2076207"/>
              <a:gd name="csX144" fmla="*/ 49393 w 729419"/>
              <a:gd name="csY144" fmla="*/ 1878155 h 2076207"/>
              <a:gd name="csX145" fmla="*/ 73949 w 729419"/>
              <a:gd name="csY145" fmla="*/ 1905781 h 2076207"/>
              <a:gd name="csX146" fmla="*/ 110073 w 729419"/>
              <a:gd name="csY146" fmla="*/ 1909068 h 2076207"/>
              <a:gd name="csX147" fmla="*/ 224745 w 729419"/>
              <a:gd name="csY147" fmla="*/ 1921652 h 2076207"/>
              <a:gd name="csX148" fmla="*/ 347327 w 729419"/>
              <a:gd name="csY148" fmla="*/ 1924778 h 2076207"/>
              <a:gd name="csX149" fmla="*/ 363345 w 729419"/>
              <a:gd name="csY149" fmla="*/ 1923293 h 2076207"/>
              <a:gd name="csX150" fmla="*/ 373787 w 729419"/>
              <a:gd name="csY150" fmla="*/ 1911200 h 2076207"/>
              <a:gd name="csX151" fmla="*/ 376623 w 729419"/>
              <a:gd name="csY151" fmla="*/ 1696741 h 2076207"/>
              <a:gd name="csX152" fmla="*/ 360437 w 729419"/>
              <a:gd name="csY152" fmla="*/ 1681289 h 2076207"/>
              <a:gd name="csX153" fmla="*/ 263503 w 729419"/>
              <a:gd name="csY153" fmla="*/ 1678179 h 2076207"/>
              <a:gd name="csX154" fmla="*/ 160381 w 729419"/>
              <a:gd name="csY154" fmla="*/ 1670405 h 2076207"/>
              <a:gd name="csX155" fmla="*/ 143321 w 729419"/>
              <a:gd name="csY155" fmla="*/ 1685538 h 2076207"/>
              <a:gd name="csX156" fmla="*/ 124769 w 729419"/>
              <a:gd name="csY156" fmla="*/ 1738195 h 2076207"/>
              <a:gd name="csX157" fmla="*/ 90593 w 729419"/>
              <a:gd name="csY157" fmla="*/ 1779570 h 2076207"/>
              <a:gd name="csX158" fmla="*/ 55556 w 729419"/>
              <a:gd name="csY158" fmla="*/ 1835827 h 2076207"/>
              <a:gd name="csX159" fmla="*/ 378900 w 729419"/>
              <a:gd name="csY159" fmla="*/ 2007280 h 2076207"/>
              <a:gd name="csX160" fmla="*/ 378887 w 729419"/>
              <a:gd name="csY160" fmla="*/ 1995127 h 2076207"/>
              <a:gd name="csX161" fmla="*/ 359084 w 729419"/>
              <a:gd name="csY161" fmla="*/ 1975964 h 2076207"/>
              <a:gd name="csX162" fmla="*/ 247288 w 729419"/>
              <a:gd name="csY162" fmla="*/ 1973305 h 2076207"/>
              <a:gd name="csX163" fmla="*/ 201692 w 729419"/>
              <a:gd name="csY163" fmla="*/ 1970275 h 2076207"/>
              <a:gd name="csX164" fmla="*/ 57962 w 729419"/>
              <a:gd name="csY164" fmla="*/ 1952648 h 2076207"/>
              <a:gd name="csX165" fmla="*/ 39194 w 729419"/>
              <a:gd name="csY165" fmla="*/ 1963552 h 2076207"/>
              <a:gd name="csX166" fmla="*/ 30066 w 729419"/>
              <a:gd name="csY166" fmla="*/ 2006631 h 2076207"/>
              <a:gd name="csX167" fmla="*/ 40232 w 729419"/>
              <a:gd name="csY167" fmla="*/ 2019486 h 2076207"/>
              <a:gd name="csX168" fmla="*/ 238186 w 729419"/>
              <a:gd name="csY168" fmla="*/ 2046096 h 2076207"/>
              <a:gd name="csX169" fmla="*/ 342155 w 729419"/>
              <a:gd name="csY169" fmla="*/ 2046441 h 2076207"/>
              <a:gd name="csX170" fmla="*/ 378900 w 729419"/>
              <a:gd name="csY170" fmla="*/ 2007280 h 2076207"/>
              <a:gd name="csX171" fmla="*/ 310220 w 729419"/>
              <a:gd name="csY171" fmla="*/ 554288 h 2076207"/>
              <a:gd name="csX172" fmla="*/ 259136 w 729419"/>
              <a:gd name="csY172" fmla="*/ 556881 h 2076207"/>
              <a:gd name="csX173" fmla="*/ 249085 w 729419"/>
              <a:gd name="csY173" fmla="*/ 567981 h 2076207"/>
              <a:gd name="csX174" fmla="*/ 249141 w 729419"/>
              <a:gd name="csY174" fmla="*/ 605644 h 2076207"/>
              <a:gd name="csX175" fmla="*/ 262628 w 729419"/>
              <a:gd name="csY175" fmla="*/ 605627 h 2076207"/>
              <a:gd name="csX176" fmla="*/ 369608 w 729419"/>
              <a:gd name="csY176" fmla="*/ 603027 h 2076207"/>
              <a:gd name="csX177" fmla="*/ 463931 w 729419"/>
              <a:gd name="csY177" fmla="*/ 605146 h 2076207"/>
              <a:gd name="csX178" fmla="*/ 478113 w 729419"/>
              <a:gd name="csY178" fmla="*/ 595843 h 2076207"/>
              <a:gd name="csX179" fmla="*/ 478796 w 729419"/>
              <a:gd name="csY179" fmla="*/ 556832 h 2076207"/>
              <a:gd name="csX180" fmla="*/ 310220 w 729419"/>
              <a:gd name="csY180" fmla="*/ 554288 h 2076207"/>
              <a:gd name="csX181" fmla="*/ 348836 w 729419"/>
              <a:gd name="csY181" fmla="*/ 684115 h 2076207"/>
              <a:gd name="csX182" fmla="*/ 281333 w 729419"/>
              <a:gd name="csY182" fmla="*/ 683313 h 2076207"/>
              <a:gd name="csX183" fmla="*/ 212728 w 729419"/>
              <a:gd name="csY183" fmla="*/ 681931 h 2076207"/>
              <a:gd name="csX184" fmla="*/ 187283 w 729419"/>
              <a:gd name="csY184" fmla="*/ 689555 h 2076207"/>
              <a:gd name="csX185" fmla="*/ 186163 w 729419"/>
              <a:gd name="csY185" fmla="*/ 718266 h 2076207"/>
              <a:gd name="csX186" fmla="*/ 209894 w 729419"/>
              <a:gd name="csY186" fmla="*/ 726798 h 2076207"/>
              <a:gd name="csX187" fmla="*/ 334814 w 729419"/>
              <a:gd name="csY187" fmla="*/ 732494 h 2076207"/>
              <a:gd name="csX188" fmla="*/ 364856 w 729419"/>
              <a:gd name="csY188" fmla="*/ 707963 h 2076207"/>
              <a:gd name="csX189" fmla="*/ 348836 w 729419"/>
              <a:gd name="csY189" fmla="*/ 684115 h 2076207"/>
              <a:gd name="csX190" fmla="*/ 298865 w 729419"/>
              <a:gd name="csY190" fmla="*/ 621954 h 2076207"/>
              <a:gd name="csX191" fmla="*/ 251619 w 729419"/>
              <a:gd name="csY191" fmla="*/ 622133 h 2076207"/>
              <a:gd name="csX192" fmla="*/ 214459 w 729419"/>
              <a:gd name="csY192" fmla="*/ 636230 h 2076207"/>
              <a:gd name="csX193" fmla="*/ 221436 w 729419"/>
              <a:gd name="csY193" fmla="*/ 654205 h 2076207"/>
              <a:gd name="csX194" fmla="*/ 272412 w 729419"/>
              <a:gd name="csY194" fmla="*/ 657250 h 2076207"/>
              <a:gd name="csX195" fmla="*/ 349094 w 729419"/>
              <a:gd name="csY195" fmla="*/ 659282 h 2076207"/>
              <a:gd name="csX196" fmla="*/ 362996 w 729419"/>
              <a:gd name="csY196" fmla="*/ 644234 h 2076207"/>
              <a:gd name="csX197" fmla="*/ 348472 w 729419"/>
              <a:gd name="csY197" fmla="*/ 624649 h 2076207"/>
              <a:gd name="csX198" fmla="*/ 298865 w 729419"/>
              <a:gd name="csY198" fmla="*/ 621954 h 2076207"/>
              <a:gd name="csX199" fmla="*/ 227796 w 729419"/>
              <a:gd name="csY199" fmla="*/ 528000 h 2076207"/>
              <a:gd name="csX200" fmla="*/ 241009 w 729419"/>
              <a:gd name="csY200" fmla="*/ 545897 h 2076207"/>
              <a:gd name="csX201" fmla="*/ 282607 w 729419"/>
              <a:gd name="csY201" fmla="*/ 543480 h 2076207"/>
              <a:gd name="csX202" fmla="*/ 354213 w 729419"/>
              <a:gd name="csY202" fmla="*/ 543384 h 2076207"/>
              <a:gd name="csX203" fmla="*/ 365334 w 729419"/>
              <a:gd name="csY203" fmla="*/ 533397 h 2076207"/>
              <a:gd name="csX204" fmla="*/ 354531 w 729419"/>
              <a:gd name="csY204" fmla="*/ 521620 h 2076207"/>
              <a:gd name="csX205" fmla="*/ 259169 w 729419"/>
              <a:gd name="csY205" fmla="*/ 521978 h 2076207"/>
              <a:gd name="csX206" fmla="*/ 227796 w 729419"/>
              <a:gd name="csY206" fmla="*/ 528000 h 2076207"/>
              <a:gd name="csX207" fmla="*/ 508068 w 729419"/>
              <a:gd name="csY207" fmla="*/ 190710 h 2076207"/>
              <a:gd name="csX208" fmla="*/ 521293 w 729419"/>
              <a:gd name="csY208" fmla="*/ 205907 h 2076207"/>
              <a:gd name="csX209" fmla="*/ 525175 w 729419"/>
              <a:gd name="csY209" fmla="*/ 202985 h 2076207"/>
              <a:gd name="csX210" fmla="*/ 500276 w 729419"/>
              <a:gd name="csY210" fmla="*/ 160640 h 2076207"/>
              <a:gd name="csX211" fmla="*/ 497122 w 729419"/>
              <a:gd name="csY211" fmla="*/ 162007 h 2076207"/>
              <a:gd name="csX212" fmla="*/ 508068 w 729419"/>
              <a:gd name="csY212" fmla="*/ 190710 h 2076207"/>
              <a:gd name="csX213" fmla="*/ 215522 w 729419"/>
              <a:gd name="csY213" fmla="*/ 197296 h 2076207"/>
              <a:gd name="csX214" fmla="*/ 234029 w 729419"/>
              <a:gd name="csY214" fmla="*/ 162725 h 2076207"/>
              <a:gd name="csX215" fmla="*/ 229000 w 729419"/>
              <a:gd name="csY215" fmla="*/ 159902 h 2076207"/>
              <a:gd name="csX216" fmla="*/ 204824 w 729419"/>
              <a:gd name="csY216" fmla="*/ 199677 h 2076207"/>
              <a:gd name="csX217" fmla="*/ 207990 w 729419"/>
              <a:gd name="csY217" fmla="*/ 202198 h 2076207"/>
              <a:gd name="csX218" fmla="*/ 215522 w 729419"/>
              <a:gd name="csY218" fmla="*/ 197296 h 2076207"/>
              <a:gd name="csX219" fmla="*/ 484400 w 729419"/>
              <a:gd name="csY219" fmla="*/ 863693 h 2076207"/>
              <a:gd name="csX220" fmla="*/ 484400 w 729419"/>
              <a:gd name="csY220" fmla="*/ 896678 h 2076207"/>
              <a:gd name="csX221" fmla="*/ 486181 w 729419"/>
              <a:gd name="csY221" fmla="*/ 896585 h 2076207"/>
              <a:gd name="csX222" fmla="*/ 486181 w 729419"/>
              <a:gd name="csY222" fmla="*/ 795289 h 2076207"/>
              <a:gd name="csX223" fmla="*/ 484400 w 729419"/>
              <a:gd name="csY223" fmla="*/ 863693 h 2076207"/>
              <a:gd name="csX224" fmla="*/ 720241 w 729419"/>
              <a:gd name="csY224" fmla="*/ 2030666 h 2076207"/>
              <a:gd name="csX225" fmla="*/ 721175 w 729419"/>
              <a:gd name="csY225" fmla="*/ 2029733 h 2076207"/>
              <a:gd name="csX226" fmla="*/ 720241 w 729419"/>
              <a:gd name="csY226" fmla="*/ 2030666 h 2076207"/>
              <a:gd name="csX227" fmla="*/ 715702 w 729419"/>
              <a:gd name="csY227" fmla="*/ 2037051 h 2076207"/>
              <a:gd name="csX228" fmla="*/ 715702 w 729419"/>
              <a:gd name="csY228" fmla="*/ 2037051 h 2076207"/>
              <a:gd name="csX229" fmla="*/ 709953 w 729419"/>
              <a:gd name="csY229" fmla="*/ 2040017 h 2076207"/>
              <a:gd name="csX230" fmla="*/ 710209 w 729419"/>
              <a:gd name="csY230" fmla="*/ 2039597 h 2076207"/>
              <a:gd name="csX231" fmla="*/ 709953 w 729419"/>
              <a:gd name="csY231" fmla="*/ 2040017 h 2076207"/>
              <a:gd name="csX0" fmla="*/ 96263 w 729419"/>
              <a:gd name="csY0" fmla="*/ 2076207 h 2076207"/>
              <a:gd name="csX1" fmla="*/ 63862 w 729419"/>
              <a:gd name="csY1" fmla="*/ 2065388 h 2076207"/>
              <a:gd name="csX2" fmla="*/ 16555 w 729419"/>
              <a:gd name="csY2" fmla="*/ 2050152 h 2076207"/>
              <a:gd name="csX3" fmla="*/ 15 w 729419"/>
              <a:gd name="csY3" fmla="*/ 2023802 h 2076207"/>
              <a:gd name="csX4" fmla="*/ 18368 w 729419"/>
              <a:gd name="csY4" fmla="*/ 1940709 h 2076207"/>
              <a:gd name="csX5" fmla="*/ 22139 w 729419"/>
              <a:gd name="csY5" fmla="*/ 1907268 h 2076207"/>
              <a:gd name="csX6" fmla="*/ 57941 w 729419"/>
              <a:gd name="csY6" fmla="*/ 1774163 h 2076207"/>
              <a:gd name="csX7" fmla="*/ 102478 w 729419"/>
              <a:gd name="csY7" fmla="*/ 1720275 h 2076207"/>
              <a:gd name="csX8" fmla="*/ 108579 w 729419"/>
              <a:gd name="csY8" fmla="*/ 1650967 h 2076207"/>
              <a:gd name="csX9" fmla="*/ 115628 w 729419"/>
              <a:gd name="csY9" fmla="*/ 1625405 h 2076207"/>
              <a:gd name="csX10" fmla="*/ 156323 w 729419"/>
              <a:gd name="csY10" fmla="*/ 1560181 h 2076207"/>
              <a:gd name="csX11" fmla="*/ 199424 w 729419"/>
              <a:gd name="csY11" fmla="*/ 1364729 h 2076207"/>
              <a:gd name="csX12" fmla="*/ 216779 w 729419"/>
              <a:gd name="csY12" fmla="*/ 1219490 h 2076207"/>
              <a:gd name="csX13" fmla="*/ 229755 w 729419"/>
              <a:gd name="csY13" fmla="*/ 1099357 h 2076207"/>
              <a:gd name="csX14" fmla="*/ 232707 w 729419"/>
              <a:gd name="csY14" fmla="*/ 1056423 h 2076207"/>
              <a:gd name="csX15" fmla="*/ 235622 w 729419"/>
              <a:gd name="csY15" fmla="*/ 952675 h 2076207"/>
              <a:gd name="csX16" fmla="*/ 235445 w 729419"/>
              <a:gd name="csY16" fmla="*/ 780278 h 2076207"/>
              <a:gd name="csX17" fmla="*/ 214544 w 729419"/>
              <a:gd name="csY17" fmla="*/ 756435 h 2076207"/>
              <a:gd name="csX18" fmla="*/ 172569 w 729419"/>
              <a:gd name="csY18" fmla="*/ 742582 h 2076207"/>
              <a:gd name="csX19" fmla="*/ 168784 w 729419"/>
              <a:gd name="csY19" fmla="*/ 669116 h 2076207"/>
              <a:gd name="csX20" fmla="*/ 191657 w 729419"/>
              <a:gd name="csY20" fmla="*/ 630765 h 2076207"/>
              <a:gd name="csX21" fmla="*/ 208150 w 729419"/>
              <a:gd name="csY21" fmla="*/ 609084 h 2076207"/>
              <a:gd name="csX22" fmla="*/ 216756 w 729419"/>
              <a:gd name="csY22" fmla="*/ 558673 h 2076207"/>
              <a:gd name="csX23" fmla="*/ 209092 w 729419"/>
              <a:gd name="csY23" fmla="*/ 521540 h 2076207"/>
              <a:gd name="csX24" fmla="*/ 204683 w 729419"/>
              <a:gd name="csY24" fmla="*/ 474024 h 2076207"/>
              <a:gd name="csX25" fmla="*/ 115483 w 729419"/>
              <a:gd name="csY25" fmla="*/ 213499 h 2076207"/>
              <a:gd name="csX26" fmla="*/ 102909 w 729419"/>
              <a:gd name="csY26" fmla="*/ 182297 h 2076207"/>
              <a:gd name="csX27" fmla="*/ 104315 w 729419"/>
              <a:gd name="csY27" fmla="*/ 163968 h 2076207"/>
              <a:gd name="csX28" fmla="*/ 122444 w 729419"/>
              <a:gd name="csY28" fmla="*/ 160805 h 2076207"/>
              <a:gd name="csX29" fmla="*/ 170283 w 729419"/>
              <a:gd name="csY29" fmla="*/ 187783 h 2076207"/>
              <a:gd name="csX30" fmla="*/ 180938 w 729419"/>
              <a:gd name="csY30" fmla="*/ 195322 h 2076207"/>
              <a:gd name="csX31" fmla="*/ 221419 w 729419"/>
              <a:gd name="csY31" fmla="*/ 138058 h 2076207"/>
              <a:gd name="csX32" fmla="*/ 294099 w 729419"/>
              <a:gd name="csY32" fmla="*/ 91372 h 2076207"/>
              <a:gd name="csX33" fmla="*/ 302307 w 729419"/>
              <a:gd name="csY33" fmla="*/ 76560 h 2076207"/>
              <a:gd name="csX34" fmla="*/ 320284 w 729419"/>
              <a:gd name="csY34" fmla="*/ 8414 h 2076207"/>
              <a:gd name="csX35" fmla="*/ 324784 w 729419"/>
              <a:gd name="csY35" fmla="*/ 946 h 2076207"/>
              <a:gd name="csX36" fmla="*/ 399212 w 729419"/>
              <a:gd name="csY36" fmla="*/ 0 h 2076207"/>
              <a:gd name="csX37" fmla="*/ 425980 w 729419"/>
              <a:gd name="csY37" fmla="*/ 78301 h 2076207"/>
              <a:gd name="csX38" fmla="*/ 431861 w 729419"/>
              <a:gd name="csY38" fmla="*/ 90312 h 2076207"/>
              <a:gd name="csX39" fmla="*/ 540349 w 729419"/>
              <a:gd name="csY39" fmla="*/ 187946 h 2076207"/>
              <a:gd name="csX40" fmla="*/ 545555 w 729419"/>
              <a:gd name="csY40" fmla="*/ 197828 h 2076207"/>
              <a:gd name="csX41" fmla="*/ 587318 w 729419"/>
              <a:gd name="csY41" fmla="*/ 171260 h 2076207"/>
              <a:gd name="csX42" fmla="*/ 601503 w 729419"/>
              <a:gd name="csY42" fmla="*/ 163707 h 2076207"/>
              <a:gd name="csX43" fmla="*/ 625254 w 729419"/>
              <a:gd name="csY43" fmla="*/ 163123 h 2076207"/>
              <a:gd name="csX44" fmla="*/ 625468 w 729419"/>
              <a:gd name="csY44" fmla="*/ 187579 h 2076207"/>
              <a:gd name="csX45" fmla="*/ 597543 w 729419"/>
              <a:gd name="csY45" fmla="*/ 251872 h 2076207"/>
              <a:gd name="csX46" fmla="*/ 531831 w 729419"/>
              <a:gd name="csY46" fmla="*/ 442689 h 2076207"/>
              <a:gd name="csX47" fmla="*/ 519888 w 729419"/>
              <a:gd name="csY47" fmla="*/ 501474 h 2076207"/>
              <a:gd name="csX48" fmla="*/ 522506 w 729419"/>
              <a:gd name="csY48" fmla="*/ 525086 h 2076207"/>
              <a:gd name="csX49" fmla="*/ 516235 w 729419"/>
              <a:gd name="csY49" fmla="*/ 555946 h 2076207"/>
              <a:gd name="csX50" fmla="*/ 521332 w 729419"/>
              <a:gd name="csY50" fmla="*/ 610676 h 2076207"/>
              <a:gd name="csX51" fmla="*/ 541382 w 729419"/>
              <a:gd name="csY51" fmla="*/ 642597 h 2076207"/>
              <a:gd name="csX52" fmla="*/ 557031 w 729419"/>
              <a:gd name="csY52" fmla="*/ 667949 h 2076207"/>
              <a:gd name="csX53" fmla="*/ 553994 w 729419"/>
              <a:gd name="csY53" fmla="*/ 744146 h 2076207"/>
              <a:gd name="csX54" fmla="*/ 508215 w 729419"/>
              <a:gd name="csY54" fmla="*/ 758841 h 2076207"/>
              <a:gd name="csX55" fmla="*/ 497442 w 729419"/>
              <a:gd name="csY55" fmla="*/ 771256 h 2076207"/>
              <a:gd name="csX56" fmla="*/ 493005 w 729419"/>
              <a:gd name="csY56" fmla="*/ 922055 h 2076207"/>
              <a:gd name="csX57" fmla="*/ 502900 w 729419"/>
              <a:gd name="csY57" fmla="*/ 1114191 h 2076207"/>
              <a:gd name="csX58" fmla="*/ 508800 w 729419"/>
              <a:gd name="csY58" fmla="*/ 1205474 h 2076207"/>
              <a:gd name="csX59" fmla="*/ 522952 w 729419"/>
              <a:gd name="csY59" fmla="*/ 1320065 h 2076207"/>
              <a:gd name="csX60" fmla="*/ 554682 w 729419"/>
              <a:gd name="csY60" fmla="*/ 1501203 h 2076207"/>
              <a:gd name="csX61" fmla="*/ 576958 w 729419"/>
              <a:gd name="csY61" fmla="*/ 1593963 h 2076207"/>
              <a:gd name="csX62" fmla="*/ 595349 w 729419"/>
              <a:gd name="csY62" fmla="*/ 1613498 h 2076207"/>
              <a:gd name="csX63" fmla="*/ 613936 w 729419"/>
              <a:gd name="csY63" fmla="*/ 1624058 h 2076207"/>
              <a:gd name="csX64" fmla="*/ 620938 w 729419"/>
              <a:gd name="csY64" fmla="*/ 1652071 h 2076207"/>
              <a:gd name="csX65" fmla="*/ 630805 w 729419"/>
              <a:gd name="csY65" fmla="*/ 1721702 h 2076207"/>
              <a:gd name="csX66" fmla="*/ 685830 w 729419"/>
              <a:gd name="csY66" fmla="*/ 1792915 h 2076207"/>
              <a:gd name="csX67" fmla="*/ 708904 w 729419"/>
              <a:gd name="csY67" fmla="*/ 1890290 h 2076207"/>
              <a:gd name="csX68" fmla="*/ 716580 w 729419"/>
              <a:gd name="csY68" fmla="*/ 1951136 h 2076207"/>
              <a:gd name="csX69" fmla="*/ 729397 w 729419"/>
              <a:gd name="csY69" fmla="*/ 2030261 h 2076207"/>
              <a:gd name="csX70" fmla="*/ 714212 w 729419"/>
              <a:gd name="csY70" fmla="*/ 2049544 h 2076207"/>
              <a:gd name="csX71" fmla="*/ 645428 w 729419"/>
              <a:gd name="csY71" fmla="*/ 2070825 h 2076207"/>
              <a:gd name="csX72" fmla="*/ 635822 w 729419"/>
              <a:gd name="csY72" fmla="*/ 2075145 h 2076207"/>
              <a:gd name="csX73" fmla="*/ 588428 w 729419"/>
              <a:gd name="csY73" fmla="*/ 2075144 h 2076207"/>
              <a:gd name="csX74" fmla="*/ 590041 w 729419"/>
              <a:gd name="csY74" fmla="*/ 2071383 h 2076207"/>
              <a:gd name="csX75" fmla="*/ 667788 w 729419"/>
              <a:gd name="csY75" fmla="*/ 2056852 h 2076207"/>
              <a:gd name="csX76" fmla="*/ 706629 w 729419"/>
              <a:gd name="csY76" fmla="*/ 2044290 h 2076207"/>
              <a:gd name="csX77" fmla="*/ 702674 w 729419"/>
              <a:gd name="csY77" fmla="*/ 2041581 h 2076207"/>
              <a:gd name="csX78" fmla="*/ 544974 w 729419"/>
              <a:gd name="csY78" fmla="*/ 2071274 h 2076207"/>
              <a:gd name="csX79" fmla="*/ 538352 w 729419"/>
              <a:gd name="csY79" fmla="*/ 2076207 h 2076207"/>
              <a:gd name="csX80" fmla="*/ 96263 w 729419"/>
              <a:gd name="csY80" fmla="*/ 2076207 h 2076207"/>
              <a:gd name="csX81" fmla="*/ 489970 w 729419"/>
              <a:gd name="csY81" fmla="*/ 152208 h 2076207"/>
              <a:gd name="csX82" fmla="*/ 490754 w 729419"/>
              <a:gd name="csY82" fmla="*/ 152592 h 2076207"/>
              <a:gd name="csX83" fmla="*/ 489489 w 729419"/>
              <a:gd name="csY83" fmla="*/ 149547 h 2076207"/>
              <a:gd name="csX84" fmla="*/ 393621 w 729419"/>
              <a:gd name="csY84" fmla="*/ 99259 h 2076207"/>
              <a:gd name="csX85" fmla="*/ 390419 w 729419"/>
              <a:gd name="csY85" fmla="*/ 18568 h 2076207"/>
              <a:gd name="csX86" fmla="*/ 334131 w 729419"/>
              <a:gd name="csY86" fmla="*/ 24327 h 2076207"/>
              <a:gd name="csX87" fmla="*/ 344678 w 729419"/>
              <a:gd name="csY87" fmla="*/ 101259 h 2076207"/>
              <a:gd name="csX88" fmla="*/ 298854 w 729419"/>
              <a:gd name="csY88" fmla="*/ 114003 h 2076207"/>
              <a:gd name="csX89" fmla="*/ 237456 w 729419"/>
              <a:gd name="csY89" fmla="*/ 154340 h 2076207"/>
              <a:gd name="csX90" fmla="*/ 240382 w 729419"/>
              <a:gd name="csY90" fmla="*/ 154035 h 2076207"/>
              <a:gd name="csX91" fmla="*/ 262731 w 729419"/>
              <a:gd name="csY91" fmla="*/ 170426 h 2076207"/>
              <a:gd name="csX92" fmla="*/ 279169 w 729419"/>
              <a:gd name="csY92" fmla="*/ 193173 h 2076207"/>
              <a:gd name="csX93" fmla="*/ 327717 w 729419"/>
              <a:gd name="csY93" fmla="*/ 188556 h 2076207"/>
              <a:gd name="csX94" fmla="*/ 348052 w 729419"/>
              <a:gd name="csY94" fmla="*/ 156919 h 2076207"/>
              <a:gd name="csX95" fmla="*/ 380330 w 729419"/>
              <a:gd name="csY95" fmla="*/ 156483 h 2076207"/>
              <a:gd name="csX96" fmla="*/ 408490 w 729419"/>
              <a:gd name="csY96" fmla="*/ 195400 h 2076207"/>
              <a:gd name="csX97" fmla="*/ 445346 w 729419"/>
              <a:gd name="csY97" fmla="*/ 197582 h 2076207"/>
              <a:gd name="csX98" fmla="*/ 464798 w 729419"/>
              <a:gd name="csY98" fmla="*/ 174107 h 2076207"/>
              <a:gd name="csX99" fmla="*/ 489970 w 729419"/>
              <a:gd name="csY99" fmla="*/ 152208 h 2076207"/>
              <a:gd name="csX100" fmla="*/ 140694 w 729419"/>
              <a:gd name="csY100" fmla="*/ 201837 h 2076207"/>
              <a:gd name="csX101" fmla="*/ 139834 w 729419"/>
              <a:gd name="csY101" fmla="*/ 201482 h 2076207"/>
              <a:gd name="csX102" fmla="*/ 140812 w 729419"/>
              <a:gd name="csY102" fmla="*/ 204941 h 2076207"/>
              <a:gd name="csX103" fmla="*/ 144631 w 729419"/>
              <a:gd name="csY103" fmla="*/ 217811 h 2076207"/>
              <a:gd name="csX104" fmla="*/ 201241 w 729419"/>
              <a:gd name="csY104" fmla="*/ 373387 h 2076207"/>
              <a:gd name="csX105" fmla="*/ 235971 w 729419"/>
              <a:gd name="csY105" fmla="*/ 504451 h 2076207"/>
              <a:gd name="csX106" fmla="*/ 247475 w 729419"/>
              <a:gd name="csY106" fmla="*/ 513241 h 2076207"/>
              <a:gd name="csX107" fmla="*/ 289066 w 729419"/>
              <a:gd name="csY107" fmla="*/ 511170 h 2076207"/>
              <a:gd name="csX108" fmla="*/ 378229 w 729419"/>
              <a:gd name="csY108" fmla="*/ 511084 h 2076207"/>
              <a:gd name="csX109" fmla="*/ 470850 w 729419"/>
              <a:gd name="csY109" fmla="*/ 516341 h 2076207"/>
              <a:gd name="csX110" fmla="*/ 492933 w 729419"/>
              <a:gd name="csY110" fmla="*/ 497969 h 2076207"/>
              <a:gd name="csX111" fmla="*/ 557617 w 729419"/>
              <a:gd name="csY111" fmla="*/ 280398 h 2076207"/>
              <a:gd name="csX112" fmla="*/ 588788 w 729419"/>
              <a:gd name="csY112" fmla="*/ 200385 h 2076207"/>
              <a:gd name="csX113" fmla="*/ 530958 w 729419"/>
              <a:gd name="csY113" fmla="*/ 232968 h 2076207"/>
              <a:gd name="csX114" fmla="*/ 483823 w 729419"/>
              <a:gd name="csY114" fmla="*/ 190364 h 2076207"/>
              <a:gd name="csX115" fmla="*/ 466649 w 729419"/>
              <a:gd name="csY115" fmla="*/ 209061 h 2076207"/>
              <a:gd name="csX116" fmla="*/ 399941 w 729419"/>
              <a:gd name="csY116" fmla="*/ 216988 h 2076207"/>
              <a:gd name="csX117" fmla="*/ 363018 w 729419"/>
              <a:gd name="csY117" fmla="*/ 179615 h 2076207"/>
              <a:gd name="csX118" fmla="*/ 308839 w 729419"/>
              <a:gd name="csY118" fmla="*/ 227846 h 2076207"/>
              <a:gd name="csX119" fmla="*/ 245077 w 729419"/>
              <a:gd name="csY119" fmla="*/ 192402 h 2076207"/>
              <a:gd name="csX120" fmla="*/ 242829 w 729419"/>
              <a:gd name="csY120" fmla="*/ 198815 h 2076207"/>
              <a:gd name="csX121" fmla="*/ 168452 w 729419"/>
              <a:gd name="csY121" fmla="*/ 219348 h 2076207"/>
              <a:gd name="csX122" fmla="*/ 140694 w 729419"/>
              <a:gd name="csY122" fmla="*/ 201837 h 2076207"/>
              <a:gd name="csX123" fmla="*/ 259999 w 729419"/>
              <a:gd name="csY123" fmla="*/ 966699 h 2076207"/>
              <a:gd name="csX124" fmla="*/ 257072 w 729419"/>
              <a:gd name="csY124" fmla="*/ 1070424 h 2076207"/>
              <a:gd name="csX125" fmla="*/ 251372 w 729419"/>
              <a:gd name="csY125" fmla="*/ 1157618 h 2076207"/>
              <a:gd name="csX126" fmla="*/ 232677 w 729419"/>
              <a:gd name="csY126" fmla="*/ 1320279 h 2076207"/>
              <a:gd name="csX127" fmla="*/ 209182 w 729419"/>
              <a:gd name="csY127" fmla="*/ 1468667 h 2076207"/>
              <a:gd name="csX128" fmla="*/ 175302 w 729419"/>
              <a:gd name="csY128" fmla="*/ 1616623 h 2076207"/>
              <a:gd name="csX129" fmla="*/ 182769 w 729419"/>
              <a:gd name="csY129" fmla="*/ 1629786 h 2076207"/>
              <a:gd name="csX130" fmla="*/ 212156 w 729419"/>
              <a:gd name="csY130" fmla="*/ 1632656 h 2076207"/>
              <a:gd name="csX131" fmla="*/ 351295 w 729419"/>
              <a:gd name="csY131" fmla="*/ 1632801 h 2076207"/>
              <a:gd name="csX132" fmla="*/ 376150 w 729419"/>
              <a:gd name="csY132" fmla="*/ 1608307 h 2076207"/>
              <a:gd name="csX133" fmla="*/ 373450 w 729419"/>
              <a:gd name="csY133" fmla="*/ 1457291 h 2076207"/>
              <a:gd name="csX134" fmla="*/ 370936 w 729419"/>
              <a:gd name="csY134" fmla="*/ 1342736 h 2076207"/>
              <a:gd name="csX135" fmla="*/ 368328 w 729419"/>
              <a:gd name="csY135" fmla="*/ 1203878 h 2076207"/>
              <a:gd name="csX136" fmla="*/ 367836 w 729419"/>
              <a:gd name="csY136" fmla="*/ 813478 h 2076207"/>
              <a:gd name="csX137" fmla="*/ 365240 w 729419"/>
              <a:gd name="csY137" fmla="*/ 773243 h 2076207"/>
              <a:gd name="csX138" fmla="*/ 353084 w 729419"/>
              <a:gd name="csY138" fmla="*/ 762083 h 2076207"/>
              <a:gd name="csX139" fmla="*/ 280966 w 729419"/>
              <a:gd name="csY139" fmla="*/ 759855 h 2076207"/>
              <a:gd name="csX140" fmla="*/ 259965 w 729419"/>
              <a:gd name="csY140" fmla="*/ 779553 h 2076207"/>
              <a:gd name="csX141" fmla="*/ 262341 w 729419"/>
              <a:gd name="csY141" fmla="*/ 856275 h 2076207"/>
              <a:gd name="csX142" fmla="*/ 259999 w 729419"/>
              <a:gd name="csY142" fmla="*/ 966699 h 2076207"/>
              <a:gd name="csX143" fmla="*/ 55556 w 729419"/>
              <a:gd name="csY143" fmla="*/ 1835827 h 2076207"/>
              <a:gd name="csX144" fmla="*/ 49393 w 729419"/>
              <a:gd name="csY144" fmla="*/ 1878155 h 2076207"/>
              <a:gd name="csX145" fmla="*/ 73949 w 729419"/>
              <a:gd name="csY145" fmla="*/ 1905781 h 2076207"/>
              <a:gd name="csX146" fmla="*/ 110073 w 729419"/>
              <a:gd name="csY146" fmla="*/ 1909068 h 2076207"/>
              <a:gd name="csX147" fmla="*/ 224745 w 729419"/>
              <a:gd name="csY147" fmla="*/ 1921652 h 2076207"/>
              <a:gd name="csX148" fmla="*/ 347327 w 729419"/>
              <a:gd name="csY148" fmla="*/ 1924778 h 2076207"/>
              <a:gd name="csX149" fmla="*/ 363345 w 729419"/>
              <a:gd name="csY149" fmla="*/ 1923293 h 2076207"/>
              <a:gd name="csX150" fmla="*/ 373787 w 729419"/>
              <a:gd name="csY150" fmla="*/ 1911200 h 2076207"/>
              <a:gd name="csX151" fmla="*/ 376623 w 729419"/>
              <a:gd name="csY151" fmla="*/ 1696741 h 2076207"/>
              <a:gd name="csX152" fmla="*/ 360437 w 729419"/>
              <a:gd name="csY152" fmla="*/ 1681289 h 2076207"/>
              <a:gd name="csX153" fmla="*/ 263503 w 729419"/>
              <a:gd name="csY153" fmla="*/ 1678179 h 2076207"/>
              <a:gd name="csX154" fmla="*/ 160381 w 729419"/>
              <a:gd name="csY154" fmla="*/ 1670405 h 2076207"/>
              <a:gd name="csX155" fmla="*/ 143321 w 729419"/>
              <a:gd name="csY155" fmla="*/ 1685538 h 2076207"/>
              <a:gd name="csX156" fmla="*/ 124769 w 729419"/>
              <a:gd name="csY156" fmla="*/ 1738195 h 2076207"/>
              <a:gd name="csX157" fmla="*/ 90593 w 729419"/>
              <a:gd name="csY157" fmla="*/ 1779570 h 2076207"/>
              <a:gd name="csX158" fmla="*/ 55556 w 729419"/>
              <a:gd name="csY158" fmla="*/ 1835827 h 2076207"/>
              <a:gd name="csX159" fmla="*/ 378900 w 729419"/>
              <a:gd name="csY159" fmla="*/ 2007280 h 2076207"/>
              <a:gd name="csX160" fmla="*/ 378887 w 729419"/>
              <a:gd name="csY160" fmla="*/ 1995127 h 2076207"/>
              <a:gd name="csX161" fmla="*/ 359084 w 729419"/>
              <a:gd name="csY161" fmla="*/ 1975964 h 2076207"/>
              <a:gd name="csX162" fmla="*/ 247288 w 729419"/>
              <a:gd name="csY162" fmla="*/ 1973305 h 2076207"/>
              <a:gd name="csX163" fmla="*/ 201692 w 729419"/>
              <a:gd name="csY163" fmla="*/ 1970275 h 2076207"/>
              <a:gd name="csX164" fmla="*/ 57962 w 729419"/>
              <a:gd name="csY164" fmla="*/ 1952648 h 2076207"/>
              <a:gd name="csX165" fmla="*/ 39194 w 729419"/>
              <a:gd name="csY165" fmla="*/ 1963552 h 2076207"/>
              <a:gd name="csX166" fmla="*/ 30066 w 729419"/>
              <a:gd name="csY166" fmla="*/ 2006631 h 2076207"/>
              <a:gd name="csX167" fmla="*/ 40232 w 729419"/>
              <a:gd name="csY167" fmla="*/ 2019486 h 2076207"/>
              <a:gd name="csX168" fmla="*/ 238186 w 729419"/>
              <a:gd name="csY168" fmla="*/ 2046096 h 2076207"/>
              <a:gd name="csX169" fmla="*/ 342155 w 729419"/>
              <a:gd name="csY169" fmla="*/ 2046441 h 2076207"/>
              <a:gd name="csX170" fmla="*/ 378900 w 729419"/>
              <a:gd name="csY170" fmla="*/ 2007280 h 2076207"/>
              <a:gd name="csX171" fmla="*/ 310220 w 729419"/>
              <a:gd name="csY171" fmla="*/ 554288 h 2076207"/>
              <a:gd name="csX172" fmla="*/ 259136 w 729419"/>
              <a:gd name="csY172" fmla="*/ 556881 h 2076207"/>
              <a:gd name="csX173" fmla="*/ 249085 w 729419"/>
              <a:gd name="csY173" fmla="*/ 567981 h 2076207"/>
              <a:gd name="csX174" fmla="*/ 249141 w 729419"/>
              <a:gd name="csY174" fmla="*/ 605644 h 2076207"/>
              <a:gd name="csX175" fmla="*/ 262628 w 729419"/>
              <a:gd name="csY175" fmla="*/ 605627 h 2076207"/>
              <a:gd name="csX176" fmla="*/ 369608 w 729419"/>
              <a:gd name="csY176" fmla="*/ 603027 h 2076207"/>
              <a:gd name="csX177" fmla="*/ 463931 w 729419"/>
              <a:gd name="csY177" fmla="*/ 605146 h 2076207"/>
              <a:gd name="csX178" fmla="*/ 478113 w 729419"/>
              <a:gd name="csY178" fmla="*/ 595843 h 2076207"/>
              <a:gd name="csX179" fmla="*/ 478796 w 729419"/>
              <a:gd name="csY179" fmla="*/ 556832 h 2076207"/>
              <a:gd name="csX180" fmla="*/ 310220 w 729419"/>
              <a:gd name="csY180" fmla="*/ 554288 h 2076207"/>
              <a:gd name="csX181" fmla="*/ 348836 w 729419"/>
              <a:gd name="csY181" fmla="*/ 684115 h 2076207"/>
              <a:gd name="csX182" fmla="*/ 281333 w 729419"/>
              <a:gd name="csY182" fmla="*/ 683313 h 2076207"/>
              <a:gd name="csX183" fmla="*/ 212728 w 729419"/>
              <a:gd name="csY183" fmla="*/ 681931 h 2076207"/>
              <a:gd name="csX184" fmla="*/ 187283 w 729419"/>
              <a:gd name="csY184" fmla="*/ 689555 h 2076207"/>
              <a:gd name="csX185" fmla="*/ 186163 w 729419"/>
              <a:gd name="csY185" fmla="*/ 718266 h 2076207"/>
              <a:gd name="csX186" fmla="*/ 209894 w 729419"/>
              <a:gd name="csY186" fmla="*/ 726798 h 2076207"/>
              <a:gd name="csX187" fmla="*/ 334814 w 729419"/>
              <a:gd name="csY187" fmla="*/ 732494 h 2076207"/>
              <a:gd name="csX188" fmla="*/ 364856 w 729419"/>
              <a:gd name="csY188" fmla="*/ 707963 h 2076207"/>
              <a:gd name="csX189" fmla="*/ 348836 w 729419"/>
              <a:gd name="csY189" fmla="*/ 684115 h 2076207"/>
              <a:gd name="csX190" fmla="*/ 298865 w 729419"/>
              <a:gd name="csY190" fmla="*/ 621954 h 2076207"/>
              <a:gd name="csX191" fmla="*/ 251619 w 729419"/>
              <a:gd name="csY191" fmla="*/ 622133 h 2076207"/>
              <a:gd name="csX192" fmla="*/ 214459 w 729419"/>
              <a:gd name="csY192" fmla="*/ 636230 h 2076207"/>
              <a:gd name="csX193" fmla="*/ 221436 w 729419"/>
              <a:gd name="csY193" fmla="*/ 654205 h 2076207"/>
              <a:gd name="csX194" fmla="*/ 272412 w 729419"/>
              <a:gd name="csY194" fmla="*/ 657250 h 2076207"/>
              <a:gd name="csX195" fmla="*/ 349094 w 729419"/>
              <a:gd name="csY195" fmla="*/ 659282 h 2076207"/>
              <a:gd name="csX196" fmla="*/ 362996 w 729419"/>
              <a:gd name="csY196" fmla="*/ 644234 h 2076207"/>
              <a:gd name="csX197" fmla="*/ 348472 w 729419"/>
              <a:gd name="csY197" fmla="*/ 624649 h 2076207"/>
              <a:gd name="csX198" fmla="*/ 298865 w 729419"/>
              <a:gd name="csY198" fmla="*/ 621954 h 2076207"/>
              <a:gd name="csX199" fmla="*/ 227796 w 729419"/>
              <a:gd name="csY199" fmla="*/ 528000 h 2076207"/>
              <a:gd name="csX200" fmla="*/ 241009 w 729419"/>
              <a:gd name="csY200" fmla="*/ 545897 h 2076207"/>
              <a:gd name="csX201" fmla="*/ 282607 w 729419"/>
              <a:gd name="csY201" fmla="*/ 543480 h 2076207"/>
              <a:gd name="csX202" fmla="*/ 354213 w 729419"/>
              <a:gd name="csY202" fmla="*/ 543384 h 2076207"/>
              <a:gd name="csX203" fmla="*/ 365334 w 729419"/>
              <a:gd name="csY203" fmla="*/ 533397 h 2076207"/>
              <a:gd name="csX204" fmla="*/ 354531 w 729419"/>
              <a:gd name="csY204" fmla="*/ 521620 h 2076207"/>
              <a:gd name="csX205" fmla="*/ 259169 w 729419"/>
              <a:gd name="csY205" fmla="*/ 521978 h 2076207"/>
              <a:gd name="csX206" fmla="*/ 227796 w 729419"/>
              <a:gd name="csY206" fmla="*/ 528000 h 2076207"/>
              <a:gd name="csX207" fmla="*/ 508068 w 729419"/>
              <a:gd name="csY207" fmla="*/ 190710 h 2076207"/>
              <a:gd name="csX208" fmla="*/ 521293 w 729419"/>
              <a:gd name="csY208" fmla="*/ 205907 h 2076207"/>
              <a:gd name="csX209" fmla="*/ 525175 w 729419"/>
              <a:gd name="csY209" fmla="*/ 202985 h 2076207"/>
              <a:gd name="csX210" fmla="*/ 500276 w 729419"/>
              <a:gd name="csY210" fmla="*/ 160640 h 2076207"/>
              <a:gd name="csX211" fmla="*/ 497122 w 729419"/>
              <a:gd name="csY211" fmla="*/ 162007 h 2076207"/>
              <a:gd name="csX212" fmla="*/ 508068 w 729419"/>
              <a:gd name="csY212" fmla="*/ 190710 h 2076207"/>
              <a:gd name="csX213" fmla="*/ 215522 w 729419"/>
              <a:gd name="csY213" fmla="*/ 197296 h 2076207"/>
              <a:gd name="csX214" fmla="*/ 234029 w 729419"/>
              <a:gd name="csY214" fmla="*/ 162725 h 2076207"/>
              <a:gd name="csX215" fmla="*/ 229000 w 729419"/>
              <a:gd name="csY215" fmla="*/ 159902 h 2076207"/>
              <a:gd name="csX216" fmla="*/ 204824 w 729419"/>
              <a:gd name="csY216" fmla="*/ 199677 h 2076207"/>
              <a:gd name="csX217" fmla="*/ 207990 w 729419"/>
              <a:gd name="csY217" fmla="*/ 202198 h 2076207"/>
              <a:gd name="csX218" fmla="*/ 215522 w 729419"/>
              <a:gd name="csY218" fmla="*/ 197296 h 2076207"/>
              <a:gd name="csX219" fmla="*/ 484400 w 729419"/>
              <a:gd name="csY219" fmla="*/ 863693 h 2076207"/>
              <a:gd name="csX220" fmla="*/ 484400 w 729419"/>
              <a:gd name="csY220" fmla="*/ 896678 h 2076207"/>
              <a:gd name="csX221" fmla="*/ 486181 w 729419"/>
              <a:gd name="csY221" fmla="*/ 896585 h 2076207"/>
              <a:gd name="csX222" fmla="*/ 486181 w 729419"/>
              <a:gd name="csY222" fmla="*/ 795289 h 2076207"/>
              <a:gd name="csX223" fmla="*/ 720241 w 729419"/>
              <a:gd name="csY223" fmla="*/ 2030666 h 2076207"/>
              <a:gd name="csX224" fmla="*/ 721175 w 729419"/>
              <a:gd name="csY224" fmla="*/ 2029733 h 2076207"/>
              <a:gd name="csX225" fmla="*/ 720241 w 729419"/>
              <a:gd name="csY225" fmla="*/ 2030666 h 2076207"/>
              <a:gd name="csX226" fmla="*/ 715702 w 729419"/>
              <a:gd name="csY226" fmla="*/ 2037051 h 2076207"/>
              <a:gd name="csX227" fmla="*/ 715702 w 729419"/>
              <a:gd name="csY227" fmla="*/ 2037051 h 2076207"/>
              <a:gd name="csX228" fmla="*/ 709953 w 729419"/>
              <a:gd name="csY228" fmla="*/ 2040017 h 2076207"/>
              <a:gd name="csX229" fmla="*/ 710209 w 729419"/>
              <a:gd name="csY229" fmla="*/ 2039597 h 2076207"/>
              <a:gd name="csX230" fmla="*/ 709953 w 729419"/>
              <a:gd name="csY230" fmla="*/ 2040017 h 2076207"/>
              <a:gd name="csX0" fmla="*/ 96263 w 729419"/>
              <a:gd name="csY0" fmla="*/ 2076207 h 2076207"/>
              <a:gd name="csX1" fmla="*/ 63862 w 729419"/>
              <a:gd name="csY1" fmla="*/ 2065388 h 2076207"/>
              <a:gd name="csX2" fmla="*/ 16555 w 729419"/>
              <a:gd name="csY2" fmla="*/ 2050152 h 2076207"/>
              <a:gd name="csX3" fmla="*/ 15 w 729419"/>
              <a:gd name="csY3" fmla="*/ 2023802 h 2076207"/>
              <a:gd name="csX4" fmla="*/ 18368 w 729419"/>
              <a:gd name="csY4" fmla="*/ 1940709 h 2076207"/>
              <a:gd name="csX5" fmla="*/ 22139 w 729419"/>
              <a:gd name="csY5" fmla="*/ 1907268 h 2076207"/>
              <a:gd name="csX6" fmla="*/ 57941 w 729419"/>
              <a:gd name="csY6" fmla="*/ 1774163 h 2076207"/>
              <a:gd name="csX7" fmla="*/ 102478 w 729419"/>
              <a:gd name="csY7" fmla="*/ 1720275 h 2076207"/>
              <a:gd name="csX8" fmla="*/ 108579 w 729419"/>
              <a:gd name="csY8" fmla="*/ 1650967 h 2076207"/>
              <a:gd name="csX9" fmla="*/ 115628 w 729419"/>
              <a:gd name="csY9" fmla="*/ 1625405 h 2076207"/>
              <a:gd name="csX10" fmla="*/ 156323 w 729419"/>
              <a:gd name="csY10" fmla="*/ 1560181 h 2076207"/>
              <a:gd name="csX11" fmla="*/ 199424 w 729419"/>
              <a:gd name="csY11" fmla="*/ 1364729 h 2076207"/>
              <a:gd name="csX12" fmla="*/ 216779 w 729419"/>
              <a:gd name="csY12" fmla="*/ 1219490 h 2076207"/>
              <a:gd name="csX13" fmla="*/ 229755 w 729419"/>
              <a:gd name="csY13" fmla="*/ 1099357 h 2076207"/>
              <a:gd name="csX14" fmla="*/ 232707 w 729419"/>
              <a:gd name="csY14" fmla="*/ 1056423 h 2076207"/>
              <a:gd name="csX15" fmla="*/ 235622 w 729419"/>
              <a:gd name="csY15" fmla="*/ 952675 h 2076207"/>
              <a:gd name="csX16" fmla="*/ 235445 w 729419"/>
              <a:gd name="csY16" fmla="*/ 780278 h 2076207"/>
              <a:gd name="csX17" fmla="*/ 214544 w 729419"/>
              <a:gd name="csY17" fmla="*/ 756435 h 2076207"/>
              <a:gd name="csX18" fmla="*/ 172569 w 729419"/>
              <a:gd name="csY18" fmla="*/ 742582 h 2076207"/>
              <a:gd name="csX19" fmla="*/ 168784 w 729419"/>
              <a:gd name="csY19" fmla="*/ 669116 h 2076207"/>
              <a:gd name="csX20" fmla="*/ 191657 w 729419"/>
              <a:gd name="csY20" fmla="*/ 630765 h 2076207"/>
              <a:gd name="csX21" fmla="*/ 208150 w 729419"/>
              <a:gd name="csY21" fmla="*/ 609084 h 2076207"/>
              <a:gd name="csX22" fmla="*/ 216756 w 729419"/>
              <a:gd name="csY22" fmla="*/ 558673 h 2076207"/>
              <a:gd name="csX23" fmla="*/ 209092 w 729419"/>
              <a:gd name="csY23" fmla="*/ 521540 h 2076207"/>
              <a:gd name="csX24" fmla="*/ 204683 w 729419"/>
              <a:gd name="csY24" fmla="*/ 474024 h 2076207"/>
              <a:gd name="csX25" fmla="*/ 115483 w 729419"/>
              <a:gd name="csY25" fmla="*/ 213499 h 2076207"/>
              <a:gd name="csX26" fmla="*/ 102909 w 729419"/>
              <a:gd name="csY26" fmla="*/ 182297 h 2076207"/>
              <a:gd name="csX27" fmla="*/ 104315 w 729419"/>
              <a:gd name="csY27" fmla="*/ 163968 h 2076207"/>
              <a:gd name="csX28" fmla="*/ 122444 w 729419"/>
              <a:gd name="csY28" fmla="*/ 160805 h 2076207"/>
              <a:gd name="csX29" fmla="*/ 170283 w 729419"/>
              <a:gd name="csY29" fmla="*/ 187783 h 2076207"/>
              <a:gd name="csX30" fmla="*/ 180938 w 729419"/>
              <a:gd name="csY30" fmla="*/ 195322 h 2076207"/>
              <a:gd name="csX31" fmla="*/ 221419 w 729419"/>
              <a:gd name="csY31" fmla="*/ 138058 h 2076207"/>
              <a:gd name="csX32" fmla="*/ 294099 w 729419"/>
              <a:gd name="csY32" fmla="*/ 91372 h 2076207"/>
              <a:gd name="csX33" fmla="*/ 302307 w 729419"/>
              <a:gd name="csY33" fmla="*/ 76560 h 2076207"/>
              <a:gd name="csX34" fmla="*/ 320284 w 729419"/>
              <a:gd name="csY34" fmla="*/ 8414 h 2076207"/>
              <a:gd name="csX35" fmla="*/ 324784 w 729419"/>
              <a:gd name="csY35" fmla="*/ 946 h 2076207"/>
              <a:gd name="csX36" fmla="*/ 399212 w 729419"/>
              <a:gd name="csY36" fmla="*/ 0 h 2076207"/>
              <a:gd name="csX37" fmla="*/ 425980 w 729419"/>
              <a:gd name="csY37" fmla="*/ 78301 h 2076207"/>
              <a:gd name="csX38" fmla="*/ 431861 w 729419"/>
              <a:gd name="csY38" fmla="*/ 90312 h 2076207"/>
              <a:gd name="csX39" fmla="*/ 540349 w 729419"/>
              <a:gd name="csY39" fmla="*/ 187946 h 2076207"/>
              <a:gd name="csX40" fmla="*/ 545555 w 729419"/>
              <a:gd name="csY40" fmla="*/ 197828 h 2076207"/>
              <a:gd name="csX41" fmla="*/ 587318 w 729419"/>
              <a:gd name="csY41" fmla="*/ 171260 h 2076207"/>
              <a:gd name="csX42" fmla="*/ 601503 w 729419"/>
              <a:gd name="csY42" fmla="*/ 163707 h 2076207"/>
              <a:gd name="csX43" fmla="*/ 625254 w 729419"/>
              <a:gd name="csY43" fmla="*/ 163123 h 2076207"/>
              <a:gd name="csX44" fmla="*/ 625468 w 729419"/>
              <a:gd name="csY44" fmla="*/ 187579 h 2076207"/>
              <a:gd name="csX45" fmla="*/ 597543 w 729419"/>
              <a:gd name="csY45" fmla="*/ 251872 h 2076207"/>
              <a:gd name="csX46" fmla="*/ 531831 w 729419"/>
              <a:gd name="csY46" fmla="*/ 442689 h 2076207"/>
              <a:gd name="csX47" fmla="*/ 519888 w 729419"/>
              <a:gd name="csY47" fmla="*/ 501474 h 2076207"/>
              <a:gd name="csX48" fmla="*/ 522506 w 729419"/>
              <a:gd name="csY48" fmla="*/ 525086 h 2076207"/>
              <a:gd name="csX49" fmla="*/ 516235 w 729419"/>
              <a:gd name="csY49" fmla="*/ 555946 h 2076207"/>
              <a:gd name="csX50" fmla="*/ 521332 w 729419"/>
              <a:gd name="csY50" fmla="*/ 610676 h 2076207"/>
              <a:gd name="csX51" fmla="*/ 541382 w 729419"/>
              <a:gd name="csY51" fmla="*/ 642597 h 2076207"/>
              <a:gd name="csX52" fmla="*/ 557031 w 729419"/>
              <a:gd name="csY52" fmla="*/ 667949 h 2076207"/>
              <a:gd name="csX53" fmla="*/ 553994 w 729419"/>
              <a:gd name="csY53" fmla="*/ 744146 h 2076207"/>
              <a:gd name="csX54" fmla="*/ 508215 w 729419"/>
              <a:gd name="csY54" fmla="*/ 758841 h 2076207"/>
              <a:gd name="csX55" fmla="*/ 497442 w 729419"/>
              <a:gd name="csY55" fmla="*/ 771256 h 2076207"/>
              <a:gd name="csX56" fmla="*/ 493005 w 729419"/>
              <a:gd name="csY56" fmla="*/ 922055 h 2076207"/>
              <a:gd name="csX57" fmla="*/ 502900 w 729419"/>
              <a:gd name="csY57" fmla="*/ 1114191 h 2076207"/>
              <a:gd name="csX58" fmla="*/ 508800 w 729419"/>
              <a:gd name="csY58" fmla="*/ 1205474 h 2076207"/>
              <a:gd name="csX59" fmla="*/ 522952 w 729419"/>
              <a:gd name="csY59" fmla="*/ 1320065 h 2076207"/>
              <a:gd name="csX60" fmla="*/ 554682 w 729419"/>
              <a:gd name="csY60" fmla="*/ 1501203 h 2076207"/>
              <a:gd name="csX61" fmla="*/ 576958 w 729419"/>
              <a:gd name="csY61" fmla="*/ 1593963 h 2076207"/>
              <a:gd name="csX62" fmla="*/ 595349 w 729419"/>
              <a:gd name="csY62" fmla="*/ 1613498 h 2076207"/>
              <a:gd name="csX63" fmla="*/ 613936 w 729419"/>
              <a:gd name="csY63" fmla="*/ 1624058 h 2076207"/>
              <a:gd name="csX64" fmla="*/ 620938 w 729419"/>
              <a:gd name="csY64" fmla="*/ 1652071 h 2076207"/>
              <a:gd name="csX65" fmla="*/ 630805 w 729419"/>
              <a:gd name="csY65" fmla="*/ 1721702 h 2076207"/>
              <a:gd name="csX66" fmla="*/ 685830 w 729419"/>
              <a:gd name="csY66" fmla="*/ 1792915 h 2076207"/>
              <a:gd name="csX67" fmla="*/ 708904 w 729419"/>
              <a:gd name="csY67" fmla="*/ 1890290 h 2076207"/>
              <a:gd name="csX68" fmla="*/ 716580 w 729419"/>
              <a:gd name="csY68" fmla="*/ 1951136 h 2076207"/>
              <a:gd name="csX69" fmla="*/ 729397 w 729419"/>
              <a:gd name="csY69" fmla="*/ 2030261 h 2076207"/>
              <a:gd name="csX70" fmla="*/ 714212 w 729419"/>
              <a:gd name="csY70" fmla="*/ 2049544 h 2076207"/>
              <a:gd name="csX71" fmla="*/ 645428 w 729419"/>
              <a:gd name="csY71" fmla="*/ 2070825 h 2076207"/>
              <a:gd name="csX72" fmla="*/ 635822 w 729419"/>
              <a:gd name="csY72" fmla="*/ 2075145 h 2076207"/>
              <a:gd name="csX73" fmla="*/ 588428 w 729419"/>
              <a:gd name="csY73" fmla="*/ 2075144 h 2076207"/>
              <a:gd name="csX74" fmla="*/ 590041 w 729419"/>
              <a:gd name="csY74" fmla="*/ 2071383 h 2076207"/>
              <a:gd name="csX75" fmla="*/ 667788 w 729419"/>
              <a:gd name="csY75" fmla="*/ 2056852 h 2076207"/>
              <a:gd name="csX76" fmla="*/ 706629 w 729419"/>
              <a:gd name="csY76" fmla="*/ 2044290 h 2076207"/>
              <a:gd name="csX77" fmla="*/ 702674 w 729419"/>
              <a:gd name="csY77" fmla="*/ 2041581 h 2076207"/>
              <a:gd name="csX78" fmla="*/ 544974 w 729419"/>
              <a:gd name="csY78" fmla="*/ 2071274 h 2076207"/>
              <a:gd name="csX79" fmla="*/ 538352 w 729419"/>
              <a:gd name="csY79" fmla="*/ 2076207 h 2076207"/>
              <a:gd name="csX80" fmla="*/ 96263 w 729419"/>
              <a:gd name="csY80" fmla="*/ 2076207 h 2076207"/>
              <a:gd name="csX81" fmla="*/ 489970 w 729419"/>
              <a:gd name="csY81" fmla="*/ 152208 h 2076207"/>
              <a:gd name="csX82" fmla="*/ 490754 w 729419"/>
              <a:gd name="csY82" fmla="*/ 152592 h 2076207"/>
              <a:gd name="csX83" fmla="*/ 489489 w 729419"/>
              <a:gd name="csY83" fmla="*/ 149547 h 2076207"/>
              <a:gd name="csX84" fmla="*/ 393621 w 729419"/>
              <a:gd name="csY84" fmla="*/ 99259 h 2076207"/>
              <a:gd name="csX85" fmla="*/ 390419 w 729419"/>
              <a:gd name="csY85" fmla="*/ 18568 h 2076207"/>
              <a:gd name="csX86" fmla="*/ 334131 w 729419"/>
              <a:gd name="csY86" fmla="*/ 24327 h 2076207"/>
              <a:gd name="csX87" fmla="*/ 344678 w 729419"/>
              <a:gd name="csY87" fmla="*/ 101259 h 2076207"/>
              <a:gd name="csX88" fmla="*/ 298854 w 729419"/>
              <a:gd name="csY88" fmla="*/ 114003 h 2076207"/>
              <a:gd name="csX89" fmla="*/ 237456 w 729419"/>
              <a:gd name="csY89" fmla="*/ 154340 h 2076207"/>
              <a:gd name="csX90" fmla="*/ 240382 w 729419"/>
              <a:gd name="csY90" fmla="*/ 154035 h 2076207"/>
              <a:gd name="csX91" fmla="*/ 262731 w 729419"/>
              <a:gd name="csY91" fmla="*/ 170426 h 2076207"/>
              <a:gd name="csX92" fmla="*/ 279169 w 729419"/>
              <a:gd name="csY92" fmla="*/ 193173 h 2076207"/>
              <a:gd name="csX93" fmla="*/ 327717 w 729419"/>
              <a:gd name="csY93" fmla="*/ 188556 h 2076207"/>
              <a:gd name="csX94" fmla="*/ 348052 w 729419"/>
              <a:gd name="csY94" fmla="*/ 156919 h 2076207"/>
              <a:gd name="csX95" fmla="*/ 380330 w 729419"/>
              <a:gd name="csY95" fmla="*/ 156483 h 2076207"/>
              <a:gd name="csX96" fmla="*/ 408490 w 729419"/>
              <a:gd name="csY96" fmla="*/ 195400 h 2076207"/>
              <a:gd name="csX97" fmla="*/ 445346 w 729419"/>
              <a:gd name="csY97" fmla="*/ 197582 h 2076207"/>
              <a:gd name="csX98" fmla="*/ 464798 w 729419"/>
              <a:gd name="csY98" fmla="*/ 174107 h 2076207"/>
              <a:gd name="csX99" fmla="*/ 489970 w 729419"/>
              <a:gd name="csY99" fmla="*/ 152208 h 2076207"/>
              <a:gd name="csX100" fmla="*/ 140694 w 729419"/>
              <a:gd name="csY100" fmla="*/ 201837 h 2076207"/>
              <a:gd name="csX101" fmla="*/ 139834 w 729419"/>
              <a:gd name="csY101" fmla="*/ 201482 h 2076207"/>
              <a:gd name="csX102" fmla="*/ 140812 w 729419"/>
              <a:gd name="csY102" fmla="*/ 204941 h 2076207"/>
              <a:gd name="csX103" fmla="*/ 144631 w 729419"/>
              <a:gd name="csY103" fmla="*/ 217811 h 2076207"/>
              <a:gd name="csX104" fmla="*/ 201241 w 729419"/>
              <a:gd name="csY104" fmla="*/ 373387 h 2076207"/>
              <a:gd name="csX105" fmla="*/ 235971 w 729419"/>
              <a:gd name="csY105" fmla="*/ 504451 h 2076207"/>
              <a:gd name="csX106" fmla="*/ 247475 w 729419"/>
              <a:gd name="csY106" fmla="*/ 513241 h 2076207"/>
              <a:gd name="csX107" fmla="*/ 289066 w 729419"/>
              <a:gd name="csY107" fmla="*/ 511170 h 2076207"/>
              <a:gd name="csX108" fmla="*/ 378229 w 729419"/>
              <a:gd name="csY108" fmla="*/ 511084 h 2076207"/>
              <a:gd name="csX109" fmla="*/ 470850 w 729419"/>
              <a:gd name="csY109" fmla="*/ 516341 h 2076207"/>
              <a:gd name="csX110" fmla="*/ 492933 w 729419"/>
              <a:gd name="csY110" fmla="*/ 497969 h 2076207"/>
              <a:gd name="csX111" fmla="*/ 557617 w 729419"/>
              <a:gd name="csY111" fmla="*/ 280398 h 2076207"/>
              <a:gd name="csX112" fmla="*/ 588788 w 729419"/>
              <a:gd name="csY112" fmla="*/ 200385 h 2076207"/>
              <a:gd name="csX113" fmla="*/ 530958 w 729419"/>
              <a:gd name="csY113" fmla="*/ 232968 h 2076207"/>
              <a:gd name="csX114" fmla="*/ 483823 w 729419"/>
              <a:gd name="csY114" fmla="*/ 190364 h 2076207"/>
              <a:gd name="csX115" fmla="*/ 466649 w 729419"/>
              <a:gd name="csY115" fmla="*/ 209061 h 2076207"/>
              <a:gd name="csX116" fmla="*/ 399941 w 729419"/>
              <a:gd name="csY116" fmla="*/ 216988 h 2076207"/>
              <a:gd name="csX117" fmla="*/ 363018 w 729419"/>
              <a:gd name="csY117" fmla="*/ 179615 h 2076207"/>
              <a:gd name="csX118" fmla="*/ 308839 w 729419"/>
              <a:gd name="csY118" fmla="*/ 227846 h 2076207"/>
              <a:gd name="csX119" fmla="*/ 245077 w 729419"/>
              <a:gd name="csY119" fmla="*/ 192402 h 2076207"/>
              <a:gd name="csX120" fmla="*/ 242829 w 729419"/>
              <a:gd name="csY120" fmla="*/ 198815 h 2076207"/>
              <a:gd name="csX121" fmla="*/ 168452 w 729419"/>
              <a:gd name="csY121" fmla="*/ 219348 h 2076207"/>
              <a:gd name="csX122" fmla="*/ 140694 w 729419"/>
              <a:gd name="csY122" fmla="*/ 201837 h 2076207"/>
              <a:gd name="csX123" fmla="*/ 259999 w 729419"/>
              <a:gd name="csY123" fmla="*/ 966699 h 2076207"/>
              <a:gd name="csX124" fmla="*/ 257072 w 729419"/>
              <a:gd name="csY124" fmla="*/ 1070424 h 2076207"/>
              <a:gd name="csX125" fmla="*/ 251372 w 729419"/>
              <a:gd name="csY125" fmla="*/ 1157618 h 2076207"/>
              <a:gd name="csX126" fmla="*/ 232677 w 729419"/>
              <a:gd name="csY126" fmla="*/ 1320279 h 2076207"/>
              <a:gd name="csX127" fmla="*/ 209182 w 729419"/>
              <a:gd name="csY127" fmla="*/ 1468667 h 2076207"/>
              <a:gd name="csX128" fmla="*/ 175302 w 729419"/>
              <a:gd name="csY128" fmla="*/ 1616623 h 2076207"/>
              <a:gd name="csX129" fmla="*/ 182769 w 729419"/>
              <a:gd name="csY129" fmla="*/ 1629786 h 2076207"/>
              <a:gd name="csX130" fmla="*/ 212156 w 729419"/>
              <a:gd name="csY130" fmla="*/ 1632656 h 2076207"/>
              <a:gd name="csX131" fmla="*/ 351295 w 729419"/>
              <a:gd name="csY131" fmla="*/ 1632801 h 2076207"/>
              <a:gd name="csX132" fmla="*/ 376150 w 729419"/>
              <a:gd name="csY132" fmla="*/ 1608307 h 2076207"/>
              <a:gd name="csX133" fmla="*/ 373450 w 729419"/>
              <a:gd name="csY133" fmla="*/ 1457291 h 2076207"/>
              <a:gd name="csX134" fmla="*/ 370936 w 729419"/>
              <a:gd name="csY134" fmla="*/ 1342736 h 2076207"/>
              <a:gd name="csX135" fmla="*/ 368328 w 729419"/>
              <a:gd name="csY135" fmla="*/ 1203878 h 2076207"/>
              <a:gd name="csX136" fmla="*/ 367836 w 729419"/>
              <a:gd name="csY136" fmla="*/ 813478 h 2076207"/>
              <a:gd name="csX137" fmla="*/ 365240 w 729419"/>
              <a:gd name="csY137" fmla="*/ 773243 h 2076207"/>
              <a:gd name="csX138" fmla="*/ 353084 w 729419"/>
              <a:gd name="csY138" fmla="*/ 762083 h 2076207"/>
              <a:gd name="csX139" fmla="*/ 280966 w 729419"/>
              <a:gd name="csY139" fmla="*/ 759855 h 2076207"/>
              <a:gd name="csX140" fmla="*/ 259965 w 729419"/>
              <a:gd name="csY140" fmla="*/ 779553 h 2076207"/>
              <a:gd name="csX141" fmla="*/ 262341 w 729419"/>
              <a:gd name="csY141" fmla="*/ 856275 h 2076207"/>
              <a:gd name="csX142" fmla="*/ 259999 w 729419"/>
              <a:gd name="csY142" fmla="*/ 966699 h 2076207"/>
              <a:gd name="csX143" fmla="*/ 55556 w 729419"/>
              <a:gd name="csY143" fmla="*/ 1835827 h 2076207"/>
              <a:gd name="csX144" fmla="*/ 49393 w 729419"/>
              <a:gd name="csY144" fmla="*/ 1878155 h 2076207"/>
              <a:gd name="csX145" fmla="*/ 73949 w 729419"/>
              <a:gd name="csY145" fmla="*/ 1905781 h 2076207"/>
              <a:gd name="csX146" fmla="*/ 110073 w 729419"/>
              <a:gd name="csY146" fmla="*/ 1909068 h 2076207"/>
              <a:gd name="csX147" fmla="*/ 224745 w 729419"/>
              <a:gd name="csY147" fmla="*/ 1921652 h 2076207"/>
              <a:gd name="csX148" fmla="*/ 347327 w 729419"/>
              <a:gd name="csY148" fmla="*/ 1924778 h 2076207"/>
              <a:gd name="csX149" fmla="*/ 363345 w 729419"/>
              <a:gd name="csY149" fmla="*/ 1923293 h 2076207"/>
              <a:gd name="csX150" fmla="*/ 373787 w 729419"/>
              <a:gd name="csY150" fmla="*/ 1911200 h 2076207"/>
              <a:gd name="csX151" fmla="*/ 376623 w 729419"/>
              <a:gd name="csY151" fmla="*/ 1696741 h 2076207"/>
              <a:gd name="csX152" fmla="*/ 360437 w 729419"/>
              <a:gd name="csY152" fmla="*/ 1681289 h 2076207"/>
              <a:gd name="csX153" fmla="*/ 263503 w 729419"/>
              <a:gd name="csY153" fmla="*/ 1678179 h 2076207"/>
              <a:gd name="csX154" fmla="*/ 160381 w 729419"/>
              <a:gd name="csY154" fmla="*/ 1670405 h 2076207"/>
              <a:gd name="csX155" fmla="*/ 143321 w 729419"/>
              <a:gd name="csY155" fmla="*/ 1685538 h 2076207"/>
              <a:gd name="csX156" fmla="*/ 124769 w 729419"/>
              <a:gd name="csY156" fmla="*/ 1738195 h 2076207"/>
              <a:gd name="csX157" fmla="*/ 90593 w 729419"/>
              <a:gd name="csY157" fmla="*/ 1779570 h 2076207"/>
              <a:gd name="csX158" fmla="*/ 55556 w 729419"/>
              <a:gd name="csY158" fmla="*/ 1835827 h 2076207"/>
              <a:gd name="csX159" fmla="*/ 378900 w 729419"/>
              <a:gd name="csY159" fmla="*/ 2007280 h 2076207"/>
              <a:gd name="csX160" fmla="*/ 378887 w 729419"/>
              <a:gd name="csY160" fmla="*/ 1995127 h 2076207"/>
              <a:gd name="csX161" fmla="*/ 359084 w 729419"/>
              <a:gd name="csY161" fmla="*/ 1975964 h 2076207"/>
              <a:gd name="csX162" fmla="*/ 247288 w 729419"/>
              <a:gd name="csY162" fmla="*/ 1973305 h 2076207"/>
              <a:gd name="csX163" fmla="*/ 201692 w 729419"/>
              <a:gd name="csY163" fmla="*/ 1970275 h 2076207"/>
              <a:gd name="csX164" fmla="*/ 57962 w 729419"/>
              <a:gd name="csY164" fmla="*/ 1952648 h 2076207"/>
              <a:gd name="csX165" fmla="*/ 39194 w 729419"/>
              <a:gd name="csY165" fmla="*/ 1963552 h 2076207"/>
              <a:gd name="csX166" fmla="*/ 30066 w 729419"/>
              <a:gd name="csY166" fmla="*/ 2006631 h 2076207"/>
              <a:gd name="csX167" fmla="*/ 40232 w 729419"/>
              <a:gd name="csY167" fmla="*/ 2019486 h 2076207"/>
              <a:gd name="csX168" fmla="*/ 238186 w 729419"/>
              <a:gd name="csY168" fmla="*/ 2046096 h 2076207"/>
              <a:gd name="csX169" fmla="*/ 342155 w 729419"/>
              <a:gd name="csY169" fmla="*/ 2046441 h 2076207"/>
              <a:gd name="csX170" fmla="*/ 378900 w 729419"/>
              <a:gd name="csY170" fmla="*/ 2007280 h 2076207"/>
              <a:gd name="csX171" fmla="*/ 310220 w 729419"/>
              <a:gd name="csY171" fmla="*/ 554288 h 2076207"/>
              <a:gd name="csX172" fmla="*/ 259136 w 729419"/>
              <a:gd name="csY172" fmla="*/ 556881 h 2076207"/>
              <a:gd name="csX173" fmla="*/ 249085 w 729419"/>
              <a:gd name="csY173" fmla="*/ 567981 h 2076207"/>
              <a:gd name="csX174" fmla="*/ 249141 w 729419"/>
              <a:gd name="csY174" fmla="*/ 605644 h 2076207"/>
              <a:gd name="csX175" fmla="*/ 262628 w 729419"/>
              <a:gd name="csY175" fmla="*/ 605627 h 2076207"/>
              <a:gd name="csX176" fmla="*/ 369608 w 729419"/>
              <a:gd name="csY176" fmla="*/ 603027 h 2076207"/>
              <a:gd name="csX177" fmla="*/ 463931 w 729419"/>
              <a:gd name="csY177" fmla="*/ 605146 h 2076207"/>
              <a:gd name="csX178" fmla="*/ 478113 w 729419"/>
              <a:gd name="csY178" fmla="*/ 595843 h 2076207"/>
              <a:gd name="csX179" fmla="*/ 478796 w 729419"/>
              <a:gd name="csY179" fmla="*/ 556832 h 2076207"/>
              <a:gd name="csX180" fmla="*/ 310220 w 729419"/>
              <a:gd name="csY180" fmla="*/ 554288 h 2076207"/>
              <a:gd name="csX181" fmla="*/ 348836 w 729419"/>
              <a:gd name="csY181" fmla="*/ 684115 h 2076207"/>
              <a:gd name="csX182" fmla="*/ 281333 w 729419"/>
              <a:gd name="csY182" fmla="*/ 683313 h 2076207"/>
              <a:gd name="csX183" fmla="*/ 212728 w 729419"/>
              <a:gd name="csY183" fmla="*/ 681931 h 2076207"/>
              <a:gd name="csX184" fmla="*/ 187283 w 729419"/>
              <a:gd name="csY184" fmla="*/ 689555 h 2076207"/>
              <a:gd name="csX185" fmla="*/ 186163 w 729419"/>
              <a:gd name="csY185" fmla="*/ 718266 h 2076207"/>
              <a:gd name="csX186" fmla="*/ 209894 w 729419"/>
              <a:gd name="csY186" fmla="*/ 726798 h 2076207"/>
              <a:gd name="csX187" fmla="*/ 334814 w 729419"/>
              <a:gd name="csY187" fmla="*/ 732494 h 2076207"/>
              <a:gd name="csX188" fmla="*/ 364856 w 729419"/>
              <a:gd name="csY188" fmla="*/ 707963 h 2076207"/>
              <a:gd name="csX189" fmla="*/ 348836 w 729419"/>
              <a:gd name="csY189" fmla="*/ 684115 h 2076207"/>
              <a:gd name="csX190" fmla="*/ 298865 w 729419"/>
              <a:gd name="csY190" fmla="*/ 621954 h 2076207"/>
              <a:gd name="csX191" fmla="*/ 251619 w 729419"/>
              <a:gd name="csY191" fmla="*/ 622133 h 2076207"/>
              <a:gd name="csX192" fmla="*/ 214459 w 729419"/>
              <a:gd name="csY192" fmla="*/ 636230 h 2076207"/>
              <a:gd name="csX193" fmla="*/ 221436 w 729419"/>
              <a:gd name="csY193" fmla="*/ 654205 h 2076207"/>
              <a:gd name="csX194" fmla="*/ 272412 w 729419"/>
              <a:gd name="csY194" fmla="*/ 657250 h 2076207"/>
              <a:gd name="csX195" fmla="*/ 349094 w 729419"/>
              <a:gd name="csY195" fmla="*/ 659282 h 2076207"/>
              <a:gd name="csX196" fmla="*/ 362996 w 729419"/>
              <a:gd name="csY196" fmla="*/ 644234 h 2076207"/>
              <a:gd name="csX197" fmla="*/ 348472 w 729419"/>
              <a:gd name="csY197" fmla="*/ 624649 h 2076207"/>
              <a:gd name="csX198" fmla="*/ 298865 w 729419"/>
              <a:gd name="csY198" fmla="*/ 621954 h 2076207"/>
              <a:gd name="csX199" fmla="*/ 227796 w 729419"/>
              <a:gd name="csY199" fmla="*/ 528000 h 2076207"/>
              <a:gd name="csX200" fmla="*/ 241009 w 729419"/>
              <a:gd name="csY200" fmla="*/ 545897 h 2076207"/>
              <a:gd name="csX201" fmla="*/ 282607 w 729419"/>
              <a:gd name="csY201" fmla="*/ 543480 h 2076207"/>
              <a:gd name="csX202" fmla="*/ 354213 w 729419"/>
              <a:gd name="csY202" fmla="*/ 543384 h 2076207"/>
              <a:gd name="csX203" fmla="*/ 365334 w 729419"/>
              <a:gd name="csY203" fmla="*/ 533397 h 2076207"/>
              <a:gd name="csX204" fmla="*/ 354531 w 729419"/>
              <a:gd name="csY204" fmla="*/ 521620 h 2076207"/>
              <a:gd name="csX205" fmla="*/ 259169 w 729419"/>
              <a:gd name="csY205" fmla="*/ 521978 h 2076207"/>
              <a:gd name="csX206" fmla="*/ 227796 w 729419"/>
              <a:gd name="csY206" fmla="*/ 528000 h 2076207"/>
              <a:gd name="csX207" fmla="*/ 508068 w 729419"/>
              <a:gd name="csY207" fmla="*/ 190710 h 2076207"/>
              <a:gd name="csX208" fmla="*/ 521293 w 729419"/>
              <a:gd name="csY208" fmla="*/ 205907 h 2076207"/>
              <a:gd name="csX209" fmla="*/ 525175 w 729419"/>
              <a:gd name="csY209" fmla="*/ 202985 h 2076207"/>
              <a:gd name="csX210" fmla="*/ 500276 w 729419"/>
              <a:gd name="csY210" fmla="*/ 160640 h 2076207"/>
              <a:gd name="csX211" fmla="*/ 497122 w 729419"/>
              <a:gd name="csY211" fmla="*/ 162007 h 2076207"/>
              <a:gd name="csX212" fmla="*/ 508068 w 729419"/>
              <a:gd name="csY212" fmla="*/ 190710 h 2076207"/>
              <a:gd name="csX213" fmla="*/ 215522 w 729419"/>
              <a:gd name="csY213" fmla="*/ 197296 h 2076207"/>
              <a:gd name="csX214" fmla="*/ 234029 w 729419"/>
              <a:gd name="csY214" fmla="*/ 162725 h 2076207"/>
              <a:gd name="csX215" fmla="*/ 229000 w 729419"/>
              <a:gd name="csY215" fmla="*/ 159902 h 2076207"/>
              <a:gd name="csX216" fmla="*/ 204824 w 729419"/>
              <a:gd name="csY216" fmla="*/ 199677 h 2076207"/>
              <a:gd name="csX217" fmla="*/ 207990 w 729419"/>
              <a:gd name="csY217" fmla="*/ 202198 h 2076207"/>
              <a:gd name="csX218" fmla="*/ 215522 w 729419"/>
              <a:gd name="csY218" fmla="*/ 197296 h 2076207"/>
              <a:gd name="csX219" fmla="*/ 484400 w 729419"/>
              <a:gd name="csY219" fmla="*/ 896678 h 2076207"/>
              <a:gd name="csX220" fmla="*/ 486181 w 729419"/>
              <a:gd name="csY220" fmla="*/ 896585 h 2076207"/>
              <a:gd name="csX221" fmla="*/ 486181 w 729419"/>
              <a:gd name="csY221" fmla="*/ 795289 h 2076207"/>
              <a:gd name="csX222" fmla="*/ 720241 w 729419"/>
              <a:gd name="csY222" fmla="*/ 2030666 h 2076207"/>
              <a:gd name="csX223" fmla="*/ 721175 w 729419"/>
              <a:gd name="csY223" fmla="*/ 2029733 h 2076207"/>
              <a:gd name="csX224" fmla="*/ 720241 w 729419"/>
              <a:gd name="csY224" fmla="*/ 2030666 h 2076207"/>
              <a:gd name="csX225" fmla="*/ 715702 w 729419"/>
              <a:gd name="csY225" fmla="*/ 2037051 h 2076207"/>
              <a:gd name="csX226" fmla="*/ 715702 w 729419"/>
              <a:gd name="csY226" fmla="*/ 2037051 h 2076207"/>
              <a:gd name="csX227" fmla="*/ 709953 w 729419"/>
              <a:gd name="csY227" fmla="*/ 2040017 h 2076207"/>
              <a:gd name="csX228" fmla="*/ 710209 w 729419"/>
              <a:gd name="csY228" fmla="*/ 2039597 h 2076207"/>
              <a:gd name="csX229" fmla="*/ 709953 w 729419"/>
              <a:gd name="csY229" fmla="*/ 2040017 h 2076207"/>
              <a:gd name="csX0" fmla="*/ 96263 w 729419"/>
              <a:gd name="csY0" fmla="*/ 2076207 h 2076207"/>
              <a:gd name="csX1" fmla="*/ 63862 w 729419"/>
              <a:gd name="csY1" fmla="*/ 2065388 h 2076207"/>
              <a:gd name="csX2" fmla="*/ 16555 w 729419"/>
              <a:gd name="csY2" fmla="*/ 2050152 h 2076207"/>
              <a:gd name="csX3" fmla="*/ 15 w 729419"/>
              <a:gd name="csY3" fmla="*/ 2023802 h 2076207"/>
              <a:gd name="csX4" fmla="*/ 18368 w 729419"/>
              <a:gd name="csY4" fmla="*/ 1940709 h 2076207"/>
              <a:gd name="csX5" fmla="*/ 22139 w 729419"/>
              <a:gd name="csY5" fmla="*/ 1907268 h 2076207"/>
              <a:gd name="csX6" fmla="*/ 57941 w 729419"/>
              <a:gd name="csY6" fmla="*/ 1774163 h 2076207"/>
              <a:gd name="csX7" fmla="*/ 102478 w 729419"/>
              <a:gd name="csY7" fmla="*/ 1720275 h 2076207"/>
              <a:gd name="csX8" fmla="*/ 108579 w 729419"/>
              <a:gd name="csY8" fmla="*/ 1650967 h 2076207"/>
              <a:gd name="csX9" fmla="*/ 115628 w 729419"/>
              <a:gd name="csY9" fmla="*/ 1625405 h 2076207"/>
              <a:gd name="csX10" fmla="*/ 156323 w 729419"/>
              <a:gd name="csY10" fmla="*/ 1560181 h 2076207"/>
              <a:gd name="csX11" fmla="*/ 199424 w 729419"/>
              <a:gd name="csY11" fmla="*/ 1364729 h 2076207"/>
              <a:gd name="csX12" fmla="*/ 216779 w 729419"/>
              <a:gd name="csY12" fmla="*/ 1219490 h 2076207"/>
              <a:gd name="csX13" fmla="*/ 229755 w 729419"/>
              <a:gd name="csY13" fmla="*/ 1099357 h 2076207"/>
              <a:gd name="csX14" fmla="*/ 232707 w 729419"/>
              <a:gd name="csY14" fmla="*/ 1056423 h 2076207"/>
              <a:gd name="csX15" fmla="*/ 235622 w 729419"/>
              <a:gd name="csY15" fmla="*/ 952675 h 2076207"/>
              <a:gd name="csX16" fmla="*/ 235445 w 729419"/>
              <a:gd name="csY16" fmla="*/ 780278 h 2076207"/>
              <a:gd name="csX17" fmla="*/ 214544 w 729419"/>
              <a:gd name="csY17" fmla="*/ 756435 h 2076207"/>
              <a:gd name="csX18" fmla="*/ 172569 w 729419"/>
              <a:gd name="csY18" fmla="*/ 742582 h 2076207"/>
              <a:gd name="csX19" fmla="*/ 168784 w 729419"/>
              <a:gd name="csY19" fmla="*/ 669116 h 2076207"/>
              <a:gd name="csX20" fmla="*/ 191657 w 729419"/>
              <a:gd name="csY20" fmla="*/ 630765 h 2076207"/>
              <a:gd name="csX21" fmla="*/ 208150 w 729419"/>
              <a:gd name="csY21" fmla="*/ 609084 h 2076207"/>
              <a:gd name="csX22" fmla="*/ 216756 w 729419"/>
              <a:gd name="csY22" fmla="*/ 558673 h 2076207"/>
              <a:gd name="csX23" fmla="*/ 209092 w 729419"/>
              <a:gd name="csY23" fmla="*/ 521540 h 2076207"/>
              <a:gd name="csX24" fmla="*/ 204683 w 729419"/>
              <a:gd name="csY24" fmla="*/ 474024 h 2076207"/>
              <a:gd name="csX25" fmla="*/ 115483 w 729419"/>
              <a:gd name="csY25" fmla="*/ 213499 h 2076207"/>
              <a:gd name="csX26" fmla="*/ 102909 w 729419"/>
              <a:gd name="csY26" fmla="*/ 182297 h 2076207"/>
              <a:gd name="csX27" fmla="*/ 104315 w 729419"/>
              <a:gd name="csY27" fmla="*/ 163968 h 2076207"/>
              <a:gd name="csX28" fmla="*/ 122444 w 729419"/>
              <a:gd name="csY28" fmla="*/ 160805 h 2076207"/>
              <a:gd name="csX29" fmla="*/ 170283 w 729419"/>
              <a:gd name="csY29" fmla="*/ 187783 h 2076207"/>
              <a:gd name="csX30" fmla="*/ 180938 w 729419"/>
              <a:gd name="csY30" fmla="*/ 195322 h 2076207"/>
              <a:gd name="csX31" fmla="*/ 221419 w 729419"/>
              <a:gd name="csY31" fmla="*/ 138058 h 2076207"/>
              <a:gd name="csX32" fmla="*/ 294099 w 729419"/>
              <a:gd name="csY32" fmla="*/ 91372 h 2076207"/>
              <a:gd name="csX33" fmla="*/ 302307 w 729419"/>
              <a:gd name="csY33" fmla="*/ 76560 h 2076207"/>
              <a:gd name="csX34" fmla="*/ 320284 w 729419"/>
              <a:gd name="csY34" fmla="*/ 8414 h 2076207"/>
              <a:gd name="csX35" fmla="*/ 324784 w 729419"/>
              <a:gd name="csY35" fmla="*/ 946 h 2076207"/>
              <a:gd name="csX36" fmla="*/ 399212 w 729419"/>
              <a:gd name="csY36" fmla="*/ 0 h 2076207"/>
              <a:gd name="csX37" fmla="*/ 425980 w 729419"/>
              <a:gd name="csY37" fmla="*/ 78301 h 2076207"/>
              <a:gd name="csX38" fmla="*/ 431861 w 729419"/>
              <a:gd name="csY38" fmla="*/ 90312 h 2076207"/>
              <a:gd name="csX39" fmla="*/ 540349 w 729419"/>
              <a:gd name="csY39" fmla="*/ 187946 h 2076207"/>
              <a:gd name="csX40" fmla="*/ 545555 w 729419"/>
              <a:gd name="csY40" fmla="*/ 197828 h 2076207"/>
              <a:gd name="csX41" fmla="*/ 587318 w 729419"/>
              <a:gd name="csY41" fmla="*/ 171260 h 2076207"/>
              <a:gd name="csX42" fmla="*/ 601503 w 729419"/>
              <a:gd name="csY42" fmla="*/ 163707 h 2076207"/>
              <a:gd name="csX43" fmla="*/ 625254 w 729419"/>
              <a:gd name="csY43" fmla="*/ 163123 h 2076207"/>
              <a:gd name="csX44" fmla="*/ 625468 w 729419"/>
              <a:gd name="csY44" fmla="*/ 187579 h 2076207"/>
              <a:gd name="csX45" fmla="*/ 597543 w 729419"/>
              <a:gd name="csY45" fmla="*/ 251872 h 2076207"/>
              <a:gd name="csX46" fmla="*/ 531831 w 729419"/>
              <a:gd name="csY46" fmla="*/ 442689 h 2076207"/>
              <a:gd name="csX47" fmla="*/ 519888 w 729419"/>
              <a:gd name="csY47" fmla="*/ 501474 h 2076207"/>
              <a:gd name="csX48" fmla="*/ 522506 w 729419"/>
              <a:gd name="csY48" fmla="*/ 525086 h 2076207"/>
              <a:gd name="csX49" fmla="*/ 516235 w 729419"/>
              <a:gd name="csY49" fmla="*/ 555946 h 2076207"/>
              <a:gd name="csX50" fmla="*/ 521332 w 729419"/>
              <a:gd name="csY50" fmla="*/ 610676 h 2076207"/>
              <a:gd name="csX51" fmla="*/ 541382 w 729419"/>
              <a:gd name="csY51" fmla="*/ 642597 h 2076207"/>
              <a:gd name="csX52" fmla="*/ 557031 w 729419"/>
              <a:gd name="csY52" fmla="*/ 667949 h 2076207"/>
              <a:gd name="csX53" fmla="*/ 553994 w 729419"/>
              <a:gd name="csY53" fmla="*/ 744146 h 2076207"/>
              <a:gd name="csX54" fmla="*/ 508215 w 729419"/>
              <a:gd name="csY54" fmla="*/ 758841 h 2076207"/>
              <a:gd name="csX55" fmla="*/ 497442 w 729419"/>
              <a:gd name="csY55" fmla="*/ 771256 h 2076207"/>
              <a:gd name="csX56" fmla="*/ 493005 w 729419"/>
              <a:gd name="csY56" fmla="*/ 922055 h 2076207"/>
              <a:gd name="csX57" fmla="*/ 502900 w 729419"/>
              <a:gd name="csY57" fmla="*/ 1114191 h 2076207"/>
              <a:gd name="csX58" fmla="*/ 508800 w 729419"/>
              <a:gd name="csY58" fmla="*/ 1205474 h 2076207"/>
              <a:gd name="csX59" fmla="*/ 522952 w 729419"/>
              <a:gd name="csY59" fmla="*/ 1320065 h 2076207"/>
              <a:gd name="csX60" fmla="*/ 554682 w 729419"/>
              <a:gd name="csY60" fmla="*/ 1501203 h 2076207"/>
              <a:gd name="csX61" fmla="*/ 576958 w 729419"/>
              <a:gd name="csY61" fmla="*/ 1593963 h 2076207"/>
              <a:gd name="csX62" fmla="*/ 595349 w 729419"/>
              <a:gd name="csY62" fmla="*/ 1613498 h 2076207"/>
              <a:gd name="csX63" fmla="*/ 613936 w 729419"/>
              <a:gd name="csY63" fmla="*/ 1624058 h 2076207"/>
              <a:gd name="csX64" fmla="*/ 620938 w 729419"/>
              <a:gd name="csY64" fmla="*/ 1652071 h 2076207"/>
              <a:gd name="csX65" fmla="*/ 630805 w 729419"/>
              <a:gd name="csY65" fmla="*/ 1721702 h 2076207"/>
              <a:gd name="csX66" fmla="*/ 685830 w 729419"/>
              <a:gd name="csY66" fmla="*/ 1792915 h 2076207"/>
              <a:gd name="csX67" fmla="*/ 708904 w 729419"/>
              <a:gd name="csY67" fmla="*/ 1890290 h 2076207"/>
              <a:gd name="csX68" fmla="*/ 716580 w 729419"/>
              <a:gd name="csY68" fmla="*/ 1951136 h 2076207"/>
              <a:gd name="csX69" fmla="*/ 729397 w 729419"/>
              <a:gd name="csY69" fmla="*/ 2030261 h 2076207"/>
              <a:gd name="csX70" fmla="*/ 714212 w 729419"/>
              <a:gd name="csY70" fmla="*/ 2049544 h 2076207"/>
              <a:gd name="csX71" fmla="*/ 645428 w 729419"/>
              <a:gd name="csY71" fmla="*/ 2070825 h 2076207"/>
              <a:gd name="csX72" fmla="*/ 635822 w 729419"/>
              <a:gd name="csY72" fmla="*/ 2075145 h 2076207"/>
              <a:gd name="csX73" fmla="*/ 588428 w 729419"/>
              <a:gd name="csY73" fmla="*/ 2075144 h 2076207"/>
              <a:gd name="csX74" fmla="*/ 590041 w 729419"/>
              <a:gd name="csY74" fmla="*/ 2071383 h 2076207"/>
              <a:gd name="csX75" fmla="*/ 667788 w 729419"/>
              <a:gd name="csY75" fmla="*/ 2056852 h 2076207"/>
              <a:gd name="csX76" fmla="*/ 706629 w 729419"/>
              <a:gd name="csY76" fmla="*/ 2044290 h 2076207"/>
              <a:gd name="csX77" fmla="*/ 702674 w 729419"/>
              <a:gd name="csY77" fmla="*/ 2041581 h 2076207"/>
              <a:gd name="csX78" fmla="*/ 544974 w 729419"/>
              <a:gd name="csY78" fmla="*/ 2071274 h 2076207"/>
              <a:gd name="csX79" fmla="*/ 538352 w 729419"/>
              <a:gd name="csY79" fmla="*/ 2076207 h 2076207"/>
              <a:gd name="csX80" fmla="*/ 96263 w 729419"/>
              <a:gd name="csY80" fmla="*/ 2076207 h 2076207"/>
              <a:gd name="csX81" fmla="*/ 489970 w 729419"/>
              <a:gd name="csY81" fmla="*/ 152208 h 2076207"/>
              <a:gd name="csX82" fmla="*/ 490754 w 729419"/>
              <a:gd name="csY82" fmla="*/ 152592 h 2076207"/>
              <a:gd name="csX83" fmla="*/ 489489 w 729419"/>
              <a:gd name="csY83" fmla="*/ 149547 h 2076207"/>
              <a:gd name="csX84" fmla="*/ 393621 w 729419"/>
              <a:gd name="csY84" fmla="*/ 99259 h 2076207"/>
              <a:gd name="csX85" fmla="*/ 390419 w 729419"/>
              <a:gd name="csY85" fmla="*/ 18568 h 2076207"/>
              <a:gd name="csX86" fmla="*/ 334131 w 729419"/>
              <a:gd name="csY86" fmla="*/ 24327 h 2076207"/>
              <a:gd name="csX87" fmla="*/ 344678 w 729419"/>
              <a:gd name="csY87" fmla="*/ 101259 h 2076207"/>
              <a:gd name="csX88" fmla="*/ 298854 w 729419"/>
              <a:gd name="csY88" fmla="*/ 114003 h 2076207"/>
              <a:gd name="csX89" fmla="*/ 237456 w 729419"/>
              <a:gd name="csY89" fmla="*/ 154340 h 2076207"/>
              <a:gd name="csX90" fmla="*/ 240382 w 729419"/>
              <a:gd name="csY90" fmla="*/ 154035 h 2076207"/>
              <a:gd name="csX91" fmla="*/ 262731 w 729419"/>
              <a:gd name="csY91" fmla="*/ 170426 h 2076207"/>
              <a:gd name="csX92" fmla="*/ 279169 w 729419"/>
              <a:gd name="csY92" fmla="*/ 193173 h 2076207"/>
              <a:gd name="csX93" fmla="*/ 327717 w 729419"/>
              <a:gd name="csY93" fmla="*/ 188556 h 2076207"/>
              <a:gd name="csX94" fmla="*/ 348052 w 729419"/>
              <a:gd name="csY94" fmla="*/ 156919 h 2076207"/>
              <a:gd name="csX95" fmla="*/ 380330 w 729419"/>
              <a:gd name="csY95" fmla="*/ 156483 h 2076207"/>
              <a:gd name="csX96" fmla="*/ 408490 w 729419"/>
              <a:gd name="csY96" fmla="*/ 195400 h 2076207"/>
              <a:gd name="csX97" fmla="*/ 445346 w 729419"/>
              <a:gd name="csY97" fmla="*/ 197582 h 2076207"/>
              <a:gd name="csX98" fmla="*/ 464798 w 729419"/>
              <a:gd name="csY98" fmla="*/ 174107 h 2076207"/>
              <a:gd name="csX99" fmla="*/ 489970 w 729419"/>
              <a:gd name="csY99" fmla="*/ 152208 h 2076207"/>
              <a:gd name="csX100" fmla="*/ 140694 w 729419"/>
              <a:gd name="csY100" fmla="*/ 201837 h 2076207"/>
              <a:gd name="csX101" fmla="*/ 139834 w 729419"/>
              <a:gd name="csY101" fmla="*/ 201482 h 2076207"/>
              <a:gd name="csX102" fmla="*/ 140812 w 729419"/>
              <a:gd name="csY102" fmla="*/ 204941 h 2076207"/>
              <a:gd name="csX103" fmla="*/ 144631 w 729419"/>
              <a:gd name="csY103" fmla="*/ 217811 h 2076207"/>
              <a:gd name="csX104" fmla="*/ 201241 w 729419"/>
              <a:gd name="csY104" fmla="*/ 373387 h 2076207"/>
              <a:gd name="csX105" fmla="*/ 235971 w 729419"/>
              <a:gd name="csY105" fmla="*/ 504451 h 2076207"/>
              <a:gd name="csX106" fmla="*/ 247475 w 729419"/>
              <a:gd name="csY106" fmla="*/ 513241 h 2076207"/>
              <a:gd name="csX107" fmla="*/ 289066 w 729419"/>
              <a:gd name="csY107" fmla="*/ 511170 h 2076207"/>
              <a:gd name="csX108" fmla="*/ 378229 w 729419"/>
              <a:gd name="csY108" fmla="*/ 511084 h 2076207"/>
              <a:gd name="csX109" fmla="*/ 470850 w 729419"/>
              <a:gd name="csY109" fmla="*/ 516341 h 2076207"/>
              <a:gd name="csX110" fmla="*/ 492933 w 729419"/>
              <a:gd name="csY110" fmla="*/ 497969 h 2076207"/>
              <a:gd name="csX111" fmla="*/ 557617 w 729419"/>
              <a:gd name="csY111" fmla="*/ 280398 h 2076207"/>
              <a:gd name="csX112" fmla="*/ 588788 w 729419"/>
              <a:gd name="csY112" fmla="*/ 200385 h 2076207"/>
              <a:gd name="csX113" fmla="*/ 530958 w 729419"/>
              <a:gd name="csY113" fmla="*/ 232968 h 2076207"/>
              <a:gd name="csX114" fmla="*/ 483823 w 729419"/>
              <a:gd name="csY114" fmla="*/ 190364 h 2076207"/>
              <a:gd name="csX115" fmla="*/ 466649 w 729419"/>
              <a:gd name="csY115" fmla="*/ 209061 h 2076207"/>
              <a:gd name="csX116" fmla="*/ 399941 w 729419"/>
              <a:gd name="csY116" fmla="*/ 216988 h 2076207"/>
              <a:gd name="csX117" fmla="*/ 363018 w 729419"/>
              <a:gd name="csY117" fmla="*/ 179615 h 2076207"/>
              <a:gd name="csX118" fmla="*/ 308839 w 729419"/>
              <a:gd name="csY118" fmla="*/ 227846 h 2076207"/>
              <a:gd name="csX119" fmla="*/ 245077 w 729419"/>
              <a:gd name="csY119" fmla="*/ 192402 h 2076207"/>
              <a:gd name="csX120" fmla="*/ 242829 w 729419"/>
              <a:gd name="csY120" fmla="*/ 198815 h 2076207"/>
              <a:gd name="csX121" fmla="*/ 168452 w 729419"/>
              <a:gd name="csY121" fmla="*/ 219348 h 2076207"/>
              <a:gd name="csX122" fmla="*/ 140694 w 729419"/>
              <a:gd name="csY122" fmla="*/ 201837 h 2076207"/>
              <a:gd name="csX123" fmla="*/ 259999 w 729419"/>
              <a:gd name="csY123" fmla="*/ 966699 h 2076207"/>
              <a:gd name="csX124" fmla="*/ 257072 w 729419"/>
              <a:gd name="csY124" fmla="*/ 1070424 h 2076207"/>
              <a:gd name="csX125" fmla="*/ 251372 w 729419"/>
              <a:gd name="csY125" fmla="*/ 1157618 h 2076207"/>
              <a:gd name="csX126" fmla="*/ 232677 w 729419"/>
              <a:gd name="csY126" fmla="*/ 1320279 h 2076207"/>
              <a:gd name="csX127" fmla="*/ 209182 w 729419"/>
              <a:gd name="csY127" fmla="*/ 1468667 h 2076207"/>
              <a:gd name="csX128" fmla="*/ 175302 w 729419"/>
              <a:gd name="csY128" fmla="*/ 1616623 h 2076207"/>
              <a:gd name="csX129" fmla="*/ 182769 w 729419"/>
              <a:gd name="csY129" fmla="*/ 1629786 h 2076207"/>
              <a:gd name="csX130" fmla="*/ 212156 w 729419"/>
              <a:gd name="csY130" fmla="*/ 1632656 h 2076207"/>
              <a:gd name="csX131" fmla="*/ 351295 w 729419"/>
              <a:gd name="csY131" fmla="*/ 1632801 h 2076207"/>
              <a:gd name="csX132" fmla="*/ 376150 w 729419"/>
              <a:gd name="csY132" fmla="*/ 1608307 h 2076207"/>
              <a:gd name="csX133" fmla="*/ 373450 w 729419"/>
              <a:gd name="csY133" fmla="*/ 1457291 h 2076207"/>
              <a:gd name="csX134" fmla="*/ 370936 w 729419"/>
              <a:gd name="csY134" fmla="*/ 1342736 h 2076207"/>
              <a:gd name="csX135" fmla="*/ 368328 w 729419"/>
              <a:gd name="csY135" fmla="*/ 1203878 h 2076207"/>
              <a:gd name="csX136" fmla="*/ 367836 w 729419"/>
              <a:gd name="csY136" fmla="*/ 813478 h 2076207"/>
              <a:gd name="csX137" fmla="*/ 365240 w 729419"/>
              <a:gd name="csY137" fmla="*/ 773243 h 2076207"/>
              <a:gd name="csX138" fmla="*/ 353084 w 729419"/>
              <a:gd name="csY138" fmla="*/ 762083 h 2076207"/>
              <a:gd name="csX139" fmla="*/ 280966 w 729419"/>
              <a:gd name="csY139" fmla="*/ 759855 h 2076207"/>
              <a:gd name="csX140" fmla="*/ 259965 w 729419"/>
              <a:gd name="csY140" fmla="*/ 779553 h 2076207"/>
              <a:gd name="csX141" fmla="*/ 262341 w 729419"/>
              <a:gd name="csY141" fmla="*/ 856275 h 2076207"/>
              <a:gd name="csX142" fmla="*/ 259999 w 729419"/>
              <a:gd name="csY142" fmla="*/ 966699 h 2076207"/>
              <a:gd name="csX143" fmla="*/ 55556 w 729419"/>
              <a:gd name="csY143" fmla="*/ 1835827 h 2076207"/>
              <a:gd name="csX144" fmla="*/ 49393 w 729419"/>
              <a:gd name="csY144" fmla="*/ 1878155 h 2076207"/>
              <a:gd name="csX145" fmla="*/ 73949 w 729419"/>
              <a:gd name="csY145" fmla="*/ 1905781 h 2076207"/>
              <a:gd name="csX146" fmla="*/ 110073 w 729419"/>
              <a:gd name="csY146" fmla="*/ 1909068 h 2076207"/>
              <a:gd name="csX147" fmla="*/ 224745 w 729419"/>
              <a:gd name="csY147" fmla="*/ 1921652 h 2076207"/>
              <a:gd name="csX148" fmla="*/ 347327 w 729419"/>
              <a:gd name="csY148" fmla="*/ 1924778 h 2076207"/>
              <a:gd name="csX149" fmla="*/ 363345 w 729419"/>
              <a:gd name="csY149" fmla="*/ 1923293 h 2076207"/>
              <a:gd name="csX150" fmla="*/ 373787 w 729419"/>
              <a:gd name="csY150" fmla="*/ 1911200 h 2076207"/>
              <a:gd name="csX151" fmla="*/ 376623 w 729419"/>
              <a:gd name="csY151" fmla="*/ 1696741 h 2076207"/>
              <a:gd name="csX152" fmla="*/ 360437 w 729419"/>
              <a:gd name="csY152" fmla="*/ 1681289 h 2076207"/>
              <a:gd name="csX153" fmla="*/ 263503 w 729419"/>
              <a:gd name="csY153" fmla="*/ 1678179 h 2076207"/>
              <a:gd name="csX154" fmla="*/ 160381 w 729419"/>
              <a:gd name="csY154" fmla="*/ 1670405 h 2076207"/>
              <a:gd name="csX155" fmla="*/ 143321 w 729419"/>
              <a:gd name="csY155" fmla="*/ 1685538 h 2076207"/>
              <a:gd name="csX156" fmla="*/ 124769 w 729419"/>
              <a:gd name="csY156" fmla="*/ 1738195 h 2076207"/>
              <a:gd name="csX157" fmla="*/ 90593 w 729419"/>
              <a:gd name="csY157" fmla="*/ 1779570 h 2076207"/>
              <a:gd name="csX158" fmla="*/ 55556 w 729419"/>
              <a:gd name="csY158" fmla="*/ 1835827 h 2076207"/>
              <a:gd name="csX159" fmla="*/ 378900 w 729419"/>
              <a:gd name="csY159" fmla="*/ 2007280 h 2076207"/>
              <a:gd name="csX160" fmla="*/ 378887 w 729419"/>
              <a:gd name="csY160" fmla="*/ 1995127 h 2076207"/>
              <a:gd name="csX161" fmla="*/ 359084 w 729419"/>
              <a:gd name="csY161" fmla="*/ 1975964 h 2076207"/>
              <a:gd name="csX162" fmla="*/ 247288 w 729419"/>
              <a:gd name="csY162" fmla="*/ 1973305 h 2076207"/>
              <a:gd name="csX163" fmla="*/ 201692 w 729419"/>
              <a:gd name="csY163" fmla="*/ 1970275 h 2076207"/>
              <a:gd name="csX164" fmla="*/ 57962 w 729419"/>
              <a:gd name="csY164" fmla="*/ 1952648 h 2076207"/>
              <a:gd name="csX165" fmla="*/ 39194 w 729419"/>
              <a:gd name="csY165" fmla="*/ 1963552 h 2076207"/>
              <a:gd name="csX166" fmla="*/ 30066 w 729419"/>
              <a:gd name="csY166" fmla="*/ 2006631 h 2076207"/>
              <a:gd name="csX167" fmla="*/ 40232 w 729419"/>
              <a:gd name="csY167" fmla="*/ 2019486 h 2076207"/>
              <a:gd name="csX168" fmla="*/ 238186 w 729419"/>
              <a:gd name="csY168" fmla="*/ 2046096 h 2076207"/>
              <a:gd name="csX169" fmla="*/ 342155 w 729419"/>
              <a:gd name="csY169" fmla="*/ 2046441 h 2076207"/>
              <a:gd name="csX170" fmla="*/ 378900 w 729419"/>
              <a:gd name="csY170" fmla="*/ 2007280 h 2076207"/>
              <a:gd name="csX171" fmla="*/ 310220 w 729419"/>
              <a:gd name="csY171" fmla="*/ 554288 h 2076207"/>
              <a:gd name="csX172" fmla="*/ 259136 w 729419"/>
              <a:gd name="csY172" fmla="*/ 556881 h 2076207"/>
              <a:gd name="csX173" fmla="*/ 249085 w 729419"/>
              <a:gd name="csY173" fmla="*/ 567981 h 2076207"/>
              <a:gd name="csX174" fmla="*/ 249141 w 729419"/>
              <a:gd name="csY174" fmla="*/ 605644 h 2076207"/>
              <a:gd name="csX175" fmla="*/ 262628 w 729419"/>
              <a:gd name="csY175" fmla="*/ 605627 h 2076207"/>
              <a:gd name="csX176" fmla="*/ 369608 w 729419"/>
              <a:gd name="csY176" fmla="*/ 603027 h 2076207"/>
              <a:gd name="csX177" fmla="*/ 463931 w 729419"/>
              <a:gd name="csY177" fmla="*/ 605146 h 2076207"/>
              <a:gd name="csX178" fmla="*/ 478113 w 729419"/>
              <a:gd name="csY178" fmla="*/ 595843 h 2076207"/>
              <a:gd name="csX179" fmla="*/ 478796 w 729419"/>
              <a:gd name="csY179" fmla="*/ 556832 h 2076207"/>
              <a:gd name="csX180" fmla="*/ 310220 w 729419"/>
              <a:gd name="csY180" fmla="*/ 554288 h 2076207"/>
              <a:gd name="csX181" fmla="*/ 348836 w 729419"/>
              <a:gd name="csY181" fmla="*/ 684115 h 2076207"/>
              <a:gd name="csX182" fmla="*/ 281333 w 729419"/>
              <a:gd name="csY182" fmla="*/ 683313 h 2076207"/>
              <a:gd name="csX183" fmla="*/ 212728 w 729419"/>
              <a:gd name="csY183" fmla="*/ 681931 h 2076207"/>
              <a:gd name="csX184" fmla="*/ 187283 w 729419"/>
              <a:gd name="csY184" fmla="*/ 689555 h 2076207"/>
              <a:gd name="csX185" fmla="*/ 186163 w 729419"/>
              <a:gd name="csY185" fmla="*/ 718266 h 2076207"/>
              <a:gd name="csX186" fmla="*/ 209894 w 729419"/>
              <a:gd name="csY186" fmla="*/ 726798 h 2076207"/>
              <a:gd name="csX187" fmla="*/ 334814 w 729419"/>
              <a:gd name="csY187" fmla="*/ 732494 h 2076207"/>
              <a:gd name="csX188" fmla="*/ 364856 w 729419"/>
              <a:gd name="csY188" fmla="*/ 707963 h 2076207"/>
              <a:gd name="csX189" fmla="*/ 348836 w 729419"/>
              <a:gd name="csY189" fmla="*/ 684115 h 2076207"/>
              <a:gd name="csX190" fmla="*/ 298865 w 729419"/>
              <a:gd name="csY190" fmla="*/ 621954 h 2076207"/>
              <a:gd name="csX191" fmla="*/ 251619 w 729419"/>
              <a:gd name="csY191" fmla="*/ 622133 h 2076207"/>
              <a:gd name="csX192" fmla="*/ 214459 w 729419"/>
              <a:gd name="csY192" fmla="*/ 636230 h 2076207"/>
              <a:gd name="csX193" fmla="*/ 221436 w 729419"/>
              <a:gd name="csY193" fmla="*/ 654205 h 2076207"/>
              <a:gd name="csX194" fmla="*/ 272412 w 729419"/>
              <a:gd name="csY194" fmla="*/ 657250 h 2076207"/>
              <a:gd name="csX195" fmla="*/ 349094 w 729419"/>
              <a:gd name="csY195" fmla="*/ 659282 h 2076207"/>
              <a:gd name="csX196" fmla="*/ 362996 w 729419"/>
              <a:gd name="csY196" fmla="*/ 644234 h 2076207"/>
              <a:gd name="csX197" fmla="*/ 348472 w 729419"/>
              <a:gd name="csY197" fmla="*/ 624649 h 2076207"/>
              <a:gd name="csX198" fmla="*/ 298865 w 729419"/>
              <a:gd name="csY198" fmla="*/ 621954 h 2076207"/>
              <a:gd name="csX199" fmla="*/ 227796 w 729419"/>
              <a:gd name="csY199" fmla="*/ 528000 h 2076207"/>
              <a:gd name="csX200" fmla="*/ 241009 w 729419"/>
              <a:gd name="csY200" fmla="*/ 545897 h 2076207"/>
              <a:gd name="csX201" fmla="*/ 282607 w 729419"/>
              <a:gd name="csY201" fmla="*/ 543480 h 2076207"/>
              <a:gd name="csX202" fmla="*/ 354213 w 729419"/>
              <a:gd name="csY202" fmla="*/ 543384 h 2076207"/>
              <a:gd name="csX203" fmla="*/ 365334 w 729419"/>
              <a:gd name="csY203" fmla="*/ 533397 h 2076207"/>
              <a:gd name="csX204" fmla="*/ 354531 w 729419"/>
              <a:gd name="csY204" fmla="*/ 521620 h 2076207"/>
              <a:gd name="csX205" fmla="*/ 259169 w 729419"/>
              <a:gd name="csY205" fmla="*/ 521978 h 2076207"/>
              <a:gd name="csX206" fmla="*/ 227796 w 729419"/>
              <a:gd name="csY206" fmla="*/ 528000 h 2076207"/>
              <a:gd name="csX207" fmla="*/ 508068 w 729419"/>
              <a:gd name="csY207" fmla="*/ 190710 h 2076207"/>
              <a:gd name="csX208" fmla="*/ 521293 w 729419"/>
              <a:gd name="csY208" fmla="*/ 205907 h 2076207"/>
              <a:gd name="csX209" fmla="*/ 525175 w 729419"/>
              <a:gd name="csY209" fmla="*/ 202985 h 2076207"/>
              <a:gd name="csX210" fmla="*/ 500276 w 729419"/>
              <a:gd name="csY210" fmla="*/ 160640 h 2076207"/>
              <a:gd name="csX211" fmla="*/ 497122 w 729419"/>
              <a:gd name="csY211" fmla="*/ 162007 h 2076207"/>
              <a:gd name="csX212" fmla="*/ 508068 w 729419"/>
              <a:gd name="csY212" fmla="*/ 190710 h 2076207"/>
              <a:gd name="csX213" fmla="*/ 215522 w 729419"/>
              <a:gd name="csY213" fmla="*/ 197296 h 2076207"/>
              <a:gd name="csX214" fmla="*/ 234029 w 729419"/>
              <a:gd name="csY214" fmla="*/ 162725 h 2076207"/>
              <a:gd name="csX215" fmla="*/ 229000 w 729419"/>
              <a:gd name="csY215" fmla="*/ 159902 h 2076207"/>
              <a:gd name="csX216" fmla="*/ 204824 w 729419"/>
              <a:gd name="csY216" fmla="*/ 199677 h 2076207"/>
              <a:gd name="csX217" fmla="*/ 207990 w 729419"/>
              <a:gd name="csY217" fmla="*/ 202198 h 2076207"/>
              <a:gd name="csX218" fmla="*/ 215522 w 729419"/>
              <a:gd name="csY218" fmla="*/ 197296 h 2076207"/>
              <a:gd name="csX219" fmla="*/ 484400 w 729419"/>
              <a:gd name="csY219" fmla="*/ 896678 h 2076207"/>
              <a:gd name="csX220" fmla="*/ 486181 w 729419"/>
              <a:gd name="csY220" fmla="*/ 896585 h 2076207"/>
              <a:gd name="csX221" fmla="*/ 486181 w 729419"/>
              <a:gd name="csY221" fmla="*/ 795289 h 2076207"/>
              <a:gd name="csX222" fmla="*/ 720241 w 729419"/>
              <a:gd name="csY222" fmla="*/ 2030666 h 2076207"/>
              <a:gd name="csX223" fmla="*/ 721175 w 729419"/>
              <a:gd name="csY223" fmla="*/ 2029733 h 2076207"/>
              <a:gd name="csX224" fmla="*/ 720241 w 729419"/>
              <a:gd name="csY224" fmla="*/ 2030666 h 2076207"/>
              <a:gd name="csX225" fmla="*/ 715702 w 729419"/>
              <a:gd name="csY225" fmla="*/ 2037051 h 2076207"/>
              <a:gd name="csX226" fmla="*/ 715702 w 729419"/>
              <a:gd name="csY226" fmla="*/ 2037051 h 2076207"/>
              <a:gd name="csX0" fmla="*/ 96263 w 729419"/>
              <a:gd name="csY0" fmla="*/ 2076207 h 2091729"/>
              <a:gd name="csX1" fmla="*/ 63862 w 729419"/>
              <a:gd name="csY1" fmla="*/ 2065388 h 2091729"/>
              <a:gd name="csX2" fmla="*/ 16555 w 729419"/>
              <a:gd name="csY2" fmla="*/ 2050152 h 2091729"/>
              <a:gd name="csX3" fmla="*/ 15 w 729419"/>
              <a:gd name="csY3" fmla="*/ 2023802 h 2091729"/>
              <a:gd name="csX4" fmla="*/ 18368 w 729419"/>
              <a:gd name="csY4" fmla="*/ 1940709 h 2091729"/>
              <a:gd name="csX5" fmla="*/ 22139 w 729419"/>
              <a:gd name="csY5" fmla="*/ 1907268 h 2091729"/>
              <a:gd name="csX6" fmla="*/ 57941 w 729419"/>
              <a:gd name="csY6" fmla="*/ 1774163 h 2091729"/>
              <a:gd name="csX7" fmla="*/ 102478 w 729419"/>
              <a:gd name="csY7" fmla="*/ 1720275 h 2091729"/>
              <a:gd name="csX8" fmla="*/ 108579 w 729419"/>
              <a:gd name="csY8" fmla="*/ 1650967 h 2091729"/>
              <a:gd name="csX9" fmla="*/ 115628 w 729419"/>
              <a:gd name="csY9" fmla="*/ 1625405 h 2091729"/>
              <a:gd name="csX10" fmla="*/ 156323 w 729419"/>
              <a:gd name="csY10" fmla="*/ 1560181 h 2091729"/>
              <a:gd name="csX11" fmla="*/ 199424 w 729419"/>
              <a:gd name="csY11" fmla="*/ 1364729 h 2091729"/>
              <a:gd name="csX12" fmla="*/ 216779 w 729419"/>
              <a:gd name="csY12" fmla="*/ 1219490 h 2091729"/>
              <a:gd name="csX13" fmla="*/ 229755 w 729419"/>
              <a:gd name="csY13" fmla="*/ 1099357 h 2091729"/>
              <a:gd name="csX14" fmla="*/ 232707 w 729419"/>
              <a:gd name="csY14" fmla="*/ 1056423 h 2091729"/>
              <a:gd name="csX15" fmla="*/ 235622 w 729419"/>
              <a:gd name="csY15" fmla="*/ 952675 h 2091729"/>
              <a:gd name="csX16" fmla="*/ 235445 w 729419"/>
              <a:gd name="csY16" fmla="*/ 780278 h 2091729"/>
              <a:gd name="csX17" fmla="*/ 214544 w 729419"/>
              <a:gd name="csY17" fmla="*/ 756435 h 2091729"/>
              <a:gd name="csX18" fmla="*/ 172569 w 729419"/>
              <a:gd name="csY18" fmla="*/ 742582 h 2091729"/>
              <a:gd name="csX19" fmla="*/ 168784 w 729419"/>
              <a:gd name="csY19" fmla="*/ 669116 h 2091729"/>
              <a:gd name="csX20" fmla="*/ 191657 w 729419"/>
              <a:gd name="csY20" fmla="*/ 630765 h 2091729"/>
              <a:gd name="csX21" fmla="*/ 208150 w 729419"/>
              <a:gd name="csY21" fmla="*/ 609084 h 2091729"/>
              <a:gd name="csX22" fmla="*/ 216756 w 729419"/>
              <a:gd name="csY22" fmla="*/ 558673 h 2091729"/>
              <a:gd name="csX23" fmla="*/ 209092 w 729419"/>
              <a:gd name="csY23" fmla="*/ 521540 h 2091729"/>
              <a:gd name="csX24" fmla="*/ 204683 w 729419"/>
              <a:gd name="csY24" fmla="*/ 474024 h 2091729"/>
              <a:gd name="csX25" fmla="*/ 115483 w 729419"/>
              <a:gd name="csY25" fmla="*/ 213499 h 2091729"/>
              <a:gd name="csX26" fmla="*/ 102909 w 729419"/>
              <a:gd name="csY26" fmla="*/ 182297 h 2091729"/>
              <a:gd name="csX27" fmla="*/ 104315 w 729419"/>
              <a:gd name="csY27" fmla="*/ 163968 h 2091729"/>
              <a:gd name="csX28" fmla="*/ 122444 w 729419"/>
              <a:gd name="csY28" fmla="*/ 160805 h 2091729"/>
              <a:gd name="csX29" fmla="*/ 170283 w 729419"/>
              <a:gd name="csY29" fmla="*/ 187783 h 2091729"/>
              <a:gd name="csX30" fmla="*/ 180938 w 729419"/>
              <a:gd name="csY30" fmla="*/ 195322 h 2091729"/>
              <a:gd name="csX31" fmla="*/ 221419 w 729419"/>
              <a:gd name="csY31" fmla="*/ 138058 h 2091729"/>
              <a:gd name="csX32" fmla="*/ 294099 w 729419"/>
              <a:gd name="csY32" fmla="*/ 91372 h 2091729"/>
              <a:gd name="csX33" fmla="*/ 302307 w 729419"/>
              <a:gd name="csY33" fmla="*/ 76560 h 2091729"/>
              <a:gd name="csX34" fmla="*/ 320284 w 729419"/>
              <a:gd name="csY34" fmla="*/ 8414 h 2091729"/>
              <a:gd name="csX35" fmla="*/ 324784 w 729419"/>
              <a:gd name="csY35" fmla="*/ 946 h 2091729"/>
              <a:gd name="csX36" fmla="*/ 399212 w 729419"/>
              <a:gd name="csY36" fmla="*/ 0 h 2091729"/>
              <a:gd name="csX37" fmla="*/ 425980 w 729419"/>
              <a:gd name="csY37" fmla="*/ 78301 h 2091729"/>
              <a:gd name="csX38" fmla="*/ 431861 w 729419"/>
              <a:gd name="csY38" fmla="*/ 90312 h 2091729"/>
              <a:gd name="csX39" fmla="*/ 540349 w 729419"/>
              <a:gd name="csY39" fmla="*/ 187946 h 2091729"/>
              <a:gd name="csX40" fmla="*/ 545555 w 729419"/>
              <a:gd name="csY40" fmla="*/ 197828 h 2091729"/>
              <a:gd name="csX41" fmla="*/ 587318 w 729419"/>
              <a:gd name="csY41" fmla="*/ 171260 h 2091729"/>
              <a:gd name="csX42" fmla="*/ 601503 w 729419"/>
              <a:gd name="csY42" fmla="*/ 163707 h 2091729"/>
              <a:gd name="csX43" fmla="*/ 625254 w 729419"/>
              <a:gd name="csY43" fmla="*/ 163123 h 2091729"/>
              <a:gd name="csX44" fmla="*/ 625468 w 729419"/>
              <a:gd name="csY44" fmla="*/ 187579 h 2091729"/>
              <a:gd name="csX45" fmla="*/ 597543 w 729419"/>
              <a:gd name="csY45" fmla="*/ 251872 h 2091729"/>
              <a:gd name="csX46" fmla="*/ 531831 w 729419"/>
              <a:gd name="csY46" fmla="*/ 442689 h 2091729"/>
              <a:gd name="csX47" fmla="*/ 519888 w 729419"/>
              <a:gd name="csY47" fmla="*/ 501474 h 2091729"/>
              <a:gd name="csX48" fmla="*/ 522506 w 729419"/>
              <a:gd name="csY48" fmla="*/ 525086 h 2091729"/>
              <a:gd name="csX49" fmla="*/ 516235 w 729419"/>
              <a:gd name="csY49" fmla="*/ 555946 h 2091729"/>
              <a:gd name="csX50" fmla="*/ 521332 w 729419"/>
              <a:gd name="csY50" fmla="*/ 610676 h 2091729"/>
              <a:gd name="csX51" fmla="*/ 541382 w 729419"/>
              <a:gd name="csY51" fmla="*/ 642597 h 2091729"/>
              <a:gd name="csX52" fmla="*/ 557031 w 729419"/>
              <a:gd name="csY52" fmla="*/ 667949 h 2091729"/>
              <a:gd name="csX53" fmla="*/ 553994 w 729419"/>
              <a:gd name="csY53" fmla="*/ 744146 h 2091729"/>
              <a:gd name="csX54" fmla="*/ 508215 w 729419"/>
              <a:gd name="csY54" fmla="*/ 758841 h 2091729"/>
              <a:gd name="csX55" fmla="*/ 497442 w 729419"/>
              <a:gd name="csY55" fmla="*/ 771256 h 2091729"/>
              <a:gd name="csX56" fmla="*/ 493005 w 729419"/>
              <a:gd name="csY56" fmla="*/ 922055 h 2091729"/>
              <a:gd name="csX57" fmla="*/ 502900 w 729419"/>
              <a:gd name="csY57" fmla="*/ 1114191 h 2091729"/>
              <a:gd name="csX58" fmla="*/ 508800 w 729419"/>
              <a:gd name="csY58" fmla="*/ 1205474 h 2091729"/>
              <a:gd name="csX59" fmla="*/ 522952 w 729419"/>
              <a:gd name="csY59" fmla="*/ 1320065 h 2091729"/>
              <a:gd name="csX60" fmla="*/ 554682 w 729419"/>
              <a:gd name="csY60" fmla="*/ 1501203 h 2091729"/>
              <a:gd name="csX61" fmla="*/ 576958 w 729419"/>
              <a:gd name="csY61" fmla="*/ 1593963 h 2091729"/>
              <a:gd name="csX62" fmla="*/ 595349 w 729419"/>
              <a:gd name="csY62" fmla="*/ 1613498 h 2091729"/>
              <a:gd name="csX63" fmla="*/ 613936 w 729419"/>
              <a:gd name="csY63" fmla="*/ 1624058 h 2091729"/>
              <a:gd name="csX64" fmla="*/ 620938 w 729419"/>
              <a:gd name="csY64" fmla="*/ 1652071 h 2091729"/>
              <a:gd name="csX65" fmla="*/ 630805 w 729419"/>
              <a:gd name="csY65" fmla="*/ 1721702 h 2091729"/>
              <a:gd name="csX66" fmla="*/ 685830 w 729419"/>
              <a:gd name="csY66" fmla="*/ 1792915 h 2091729"/>
              <a:gd name="csX67" fmla="*/ 708904 w 729419"/>
              <a:gd name="csY67" fmla="*/ 1890290 h 2091729"/>
              <a:gd name="csX68" fmla="*/ 716580 w 729419"/>
              <a:gd name="csY68" fmla="*/ 1951136 h 2091729"/>
              <a:gd name="csX69" fmla="*/ 729397 w 729419"/>
              <a:gd name="csY69" fmla="*/ 2030261 h 2091729"/>
              <a:gd name="csX70" fmla="*/ 714212 w 729419"/>
              <a:gd name="csY70" fmla="*/ 2049544 h 2091729"/>
              <a:gd name="csX71" fmla="*/ 645428 w 729419"/>
              <a:gd name="csY71" fmla="*/ 2070825 h 2091729"/>
              <a:gd name="csX72" fmla="*/ 635822 w 729419"/>
              <a:gd name="csY72" fmla="*/ 2075145 h 2091729"/>
              <a:gd name="csX73" fmla="*/ 588428 w 729419"/>
              <a:gd name="csY73" fmla="*/ 2075144 h 2091729"/>
              <a:gd name="csX74" fmla="*/ 590041 w 729419"/>
              <a:gd name="csY74" fmla="*/ 2071383 h 2091729"/>
              <a:gd name="csX75" fmla="*/ 667788 w 729419"/>
              <a:gd name="csY75" fmla="*/ 2056852 h 2091729"/>
              <a:gd name="csX76" fmla="*/ 706629 w 729419"/>
              <a:gd name="csY76" fmla="*/ 2044290 h 2091729"/>
              <a:gd name="csX77" fmla="*/ 702674 w 729419"/>
              <a:gd name="csY77" fmla="*/ 2041581 h 2091729"/>
              <a:gd name="csX78" fmla="*/ 544974 w 729419"/>
              <a:gd name="csY78" fmla="*/ 2071274 h 2091729"/>
              <a:gd name="csX79" fmla="*/ 538352 w 729419"/>
              <a:gd name="csY79" fmla="*/ 2076207 h 2091729"/>
              <a:gd name="csX80" fmla="*/ 96263 w 729419"/>
              <a:gd name="csY80" fmla="*/ 2076207 h 2091729"/>
              <a:gd name="csX81" fmla="*/ 489970 w 729419"/>
              <a:gd name="csY81" fmla="*/ 152208 h 2091729"/>
              <a:gd name="csX82" fmla="*/ 490754 w 729419"/>
              <a:gd name="csY82" fmla="*/ 152592 h 2091729"/>
              <a:gd name="csX83" fmla="*/ 489489 w 729419"/>
              <a:gd name="csY83" fmla="*/ 149547 h 2091729"/>
              <a:gd name="csX84" fmla="*/ 393621 w 729419"/>
              <a:gd name="csY84" fmla="*/ 99259 h 2091729"/>
              <a:gd name="csX85" fmla="*/ 390419 w 729419"/>
              <a:gd name="csY85" fmla="*/ 18568 h 2091729"/>
              <a:gd name="csX86" fmla="*/ 334131 w 729419"/>
              <a:gd name="csY86" fmla="*/ 24327 h 2091729"/>
              <a:gd name="csX87" fmla="*/ 344678 w 729419"/>
              <a:gd name="csY87" fmla="*/ 101259 h 2091729"/>
              <a:gd name="csX88" fmla="*/ 298854 w 729419"/>
              <a:gd name="csY88" fmla="*/ 114003 h 2091729"/>
              <a:gd name="csX89" fmla="*/ 237456 w 729419"/>
              <a:gd name="csY89" fmla="*/ 154340 h 2091729"/>
              <a:gd name="csX90" fmla="*/ 240382 w 729419"/>
              <a:gd name="csY90" fmla="*/ 154035 h 2091729"/>
              <a:gd name="csX91" fmla="*/ 262731 w 729419"/>
              <a:gd name="csY91" fmla="*/ 170426 h 2091729"/>
              <a:gd name="csX92" fmla="*/ 279169 w 729419"/>
              <a:gd name="csY92" fmla="*/ 193173 h 2091729"/>
              <a:gd name="csX93" fmla="*/ 327717 w 729419"/>
              <a:gd name="csY93" fmla="*/ 188556 h 2091729"/>
              <a:gd name="csX94" fmla="*/ 348052 w 729419"/>
              <a:gd name="csY94" fmla="*/ 156919 h 2091729"/>
              <a:gd name="csX95" fmla="*/ 380330 w 729419"/>
              <a:gd name="csY95" fmla="*/ 156483 h 2091729"/>
              <a:gd name="csX96" fmla="*/ 408490 w 729419"/>
              <a:gd name="csY96" fmla="*/ 195400 h 2091729"/>
              <a:gd name="csX97" fmla="*/ 445346 w 729419"/>
              <a:gd name="csY97" fmla="*/ 197582 h 2091729"/>
              <a:gd name="csX98" fmla="*/ 464798 w 729419"/>
              <a:gd name="csY98" fmla="*/ 174107 h 2091729"/>
              <a:gd name="csX99" fmla="*/ 489970 w 729419"/>
              <a:gd name="csY99" fmla="*/ 152208 h 2091729"/>
              <a:gd name="csX100" fmla="*/ 140694 w 729419"/>
              <a:gd name="csY100" fmla="*/ 201837 h 2091729"/>
              <a:gd name="csX101" fmla="*/ 139834 w 729419"/>
              <a:gd name="csY101" fmla="*/ 201482 h 2091729"/>
              <a:gd name="csX102" fmla="*/ 140812 w 729419"/>
              <a:gd name="csY102" fmla="*/ 204941 h 2091729"/>
              <a:gd name="csX103" fmla="*/ 144631 w 729419"/>
              <a:gd name="csY103" fmla="*/ 217811 h 2091729"/>
              <a:gd name="csX104" fmla="*/ 201241 w 729419"/>
              <a:gd name="csY104" fmla="*/ 373387 h 2091729"/>
              <a:gd name="csX105" fmla="*/ 235971 w 729419"/>
              <a:gd name="csY105" fmla="*/ 504451 h 2091729"/>
              <a:gd name="csX106" fmla="*/ 247475 w 729419"/>
              <a:gd name="csY106" fmla="*/ 513241 h 2091729"/>
              <a:gd name="csX107" fmla="*/ 289066 w 729419"/>
              <a:gd name="csY107" fmla="*/ 511170 h 2091729"/>
              <a:gd name="csX108" fmla="*/ 378229 w 729419"/>
              <a:gd name="csY108" fmla="*/ 511084 h 2091729"/>
              <a:gd name="csX109" fmla="*/ 470850 w 729419"/>
              <a:gd name="csY109" fmla="*/ 516341 h 2091729"/>
              <a:gd name="csX110" fmla="*/ 492933 w 729419"/>
              <a:gd name="csY110" fmla="*/ 497969 h 2091729"/>
              <a:gd name="csX111" fmla="*/ 557617 w 729419"/>
              <a:gd name="csY111" fmla="*/ 280398 h 2091729"/>
              <a:gd name="csX112" fmla="*/ 588788 w 729419"/>
              <a:gd name="csY112" fmla="*/ 200385 h 2091729"/>
              <a:gd name="csX113" fmla="*/ 530958 w 729419"/>
              <a:gd name="csY113" fmla="*/ 232968 h 2091729"/>
              <a:gd name="csX114" fmla="*/ 483823 w 729419"/>
              <a:gd name="csY114" fmla="*/ 190364 h 2091729"/>
              <a:gd name="csX115" fmla="*/ 466649 w 729419"/>
              <a:gd name="csY115" fmla="*/ 209061 h 2091729"/>
              <a:gd name="csX116" fmla="*/ 399941 w 729419"/>
              <a:gd name="csY116" fmla="*/ 216988 h 2091729"/>
              <a:gd name="csX117" fmla="*/ 363018 w 729419"/>
              <a:gd name="csY117" fmla="*/ 179615 h 2091729"/>
              <a:gd name="csX118" fmla="*/ 308839 w 729419"/>
              <a:gd name="csY118" fmla="*/ 227846 h 2091729"/>
              <a:gd name="csX119" fmla="*/ 245077 w 729419"/>
              <a:gd name="csY119" fmla="*/ 192402 h 2091729"/>
              <a:gd name="csX120" fmla="*/ 242829 w 729419"/>
              <a:gd name="csY120" fmla="*/ 198815 h 2091729"/>
              <a:gd name="csX121" fmla="*/ 168452 w 729419"/>
              <a:gd name="csY121" fmla="*/ 219348 h 2091729"/>
              <a:gd name="csX122" fmla="*/ 140694 w 729419"/>
              <a:gd name="csY122" fmla="*/ 201837 h 2091729"/>
              <a:gd name="csX123" fmla="*/ 259999 w 729419"/>
              <a:gd name="csY123" fmla="*/ 966699 h 2091729"/>
              <a:gd name="csX124" fmla="*/ 257072 w 729419"/>
              <a:gd name="csY124" fmla="*/ 1070424 h 2091729"/>
              <a:gd name="csX125" fmla="*/ 251372 w 729419"/>
              <a:gd name="csY125" fmla="*/ 1157618 h 2091729"/>
              <a:gd name="csX126" fmla="*/ 232677 w 729419"/>
              <a:gd name="csY126" fmla="*/ 1320279 h 2091729"/>
              <a:gd name="csX127" fmla="*/ 209182 w 729419"/>
              <a:gd name="csY127" fmla="*/ 1468667 h 2091729"/>
              <a:gd name="csX128" fmla="*/ 175302 w 729419"/>
              <a:gd name="csY128" fmla="*/ 1616623 h 2091729"/>
              <a:gd name="csX129" fmla="*/ 182769 w 729419"/>
              <a:gd name="csY129" fmla="*/ 1629786 h 2091729"/>
              <a:gd name="csX130" fmla="*/ 212156 w 729419"/>
              <a:gd name="csY130" fmla="*/ 1632656 h 2091729"/>
              <a:gd name="csX131" fmla="*/ 351295 w 729419"/>
              <a:gd name="csY131" fmla="*/ 1632801 h 2091729"/>
              <a:gd name="csX132" fmla="*/ 376150 w 729419"/>
              <a:gd name="csY132" fmla="*/ 1608307 h 2091729"/>
              <a:gd name="csX133" fmla="*/ 373450 w 729419"/>
              <a:gd name="csY133" fmla="*/ 1457291 h 2091729"/>
              <a:gd name="csX134" fmla="*/ 370936 w 729419"/>
              <a:gd name="csY134" fmla="*/ 1342736 h 2091729"/>
              <a:gd name="csX135" fmla="*/ 368328 w 729419"/>
              <a:gd name="csY135" fmla="*/ 1203878 h 2091729"/>
              <a:gd name="csX136" fmla="*/ 367836 w 729419"/>
              <a:gd name="csY136" fmla="*/ 813478 h 2091729"/>
              <a:gd name="csX137" fmla="*/ 365240 w 729419"/>
              <a:gd name="csY137" fmla="*/ 773243 h 2091729"/>
              <a:gd name="csX138" fmla="*/ 353084 w 729419"/>
              <a:gd name="csY138" fmla="*/ 762083 h 2091729"/>
              <a:gd name="csX139" fmla="*/ 280966 w 729419"/>
              <a:gd name="csY139" fmla="*/ 759855 h 2091729"/>
              <a:gd name="csX140" fmla="*/ 259965 w 729419"/>
              <a:gd name="csY140" fmla="*/ 779553 h 2091729"/>
              <a:gd name="csX141" fmla="*/ 262341 w 729419"/>
              <a:gd name="csY141" fmla="*/ 856275 h 2091729"/>
              <a:gd name="csX142" fmla="*/ 259999 w 729419"/>
              <a:gd name="csY142" fmla="*/ 966699 h 2091729"/>
              <a:gd name="csX143" fmla="*/ 55556 w 729419"/>
              <a:gd name="csY143" fmla="*/ 1835827 h 2091729"/>
              <a:gd name="csX144" fmla="*/ 49393 w 729419"/>
              <a:gd name="csY144" fmla="*/ 1878155 h 2091729"/>
              <a:gd name="csX145" fmla="*/ 73949 w 729419"/>
              <a:gd name="csY145" fmla="*/ 1905781 h 2091729"/>
              <a:gd name="csX146" fmla="*/ 110073 w 729419"/>
              <a:gd name="csY146" fmla="*/ 1909068 h 2091729"/>
              <a:gd name="csX147" fmla="*/ 224745 w 729419"/>
              <a:gd name="csY147" fmla="*/ 1921652 h 2091729"/>
              <a:gd name="csX148" fmla="*/ 347327 w 729419"/>
              <a:gd name="csY148" fmla="*/ 1924778 h 2091729"/>
              <a:gd name="csX149" fmla="*/ 363345 w 729419"/>
              <a:gd name="csY149" fmla="*/ 1923293 h 2091729"/>
              <a:gd name="csX150" fmla="*/ 373787 w 729419"/>
              <a:gd name="csY150" fmla="*/ 1911200 h 2091729"/>
              <a:gd name="csX151" fmla="*/ 376623 w 729419"/>
              <a:gd name="csY151" fmla="*/ 1696741 h 2091729"/>
              <a:gd name="csX152" fmla="*/ 360437 w 729419"/>
              <a:gd name="csY152" fmla="*/ 1681289 h 2091729"/>
              <a:gd name="csX153" fmla="*/ 263503 w 729419"/>
              <a:gd name="csY153" fmla="*/ 1678179 h 2091729"/>
              <a:gd name="csX154" fmla="*/ 160381 w 729419"/>
              <a:gd name="csY154" fmla="*/ 1670405 h 2091729"/>
              <a:gd name="csX155" fmla="*/ 143321 w 729419"/>
              <a:gd name="csY155" fmla="*/ 1685538 h 2091729"/>
              <a:gd name="csX156" fmla="*/ 124769 w 729419"/>
              <a:gd name="csY156" fmla="*/ 1738195 h 2091729"/>
              <a:gd name="csX157" fmla="*/ 90593 w 729419"/>
              <a:gd name="csY157" fmla="*/ 1779570 h 2091729"/>
              <a:gd name="csX158" fmla="*/ 55556 w 729419"/>
              <a:gd name="csY158" fmla="*/ 1835827 h 2091729"/>
              <a:gd name="csX159" fmla="*/ 378900 w 729419"/>
              <a:gd name="csY159" fmla="*/ 2007280 h 2091729"/>
              <a:gd name="csX160" fmla="*/ 378887 w 729419"/>
              <a:gd name="csY160" fmla="*/ 1995127 h 2091729"/>
              <a:gd name="csX161" fmla="*/ 359084 w 729419"/>
              <a:gd name="csY161" fmla="*/ 1975964 h 2091729"/>
              <a:gd name="csX162" fmla="*/ 247288 w 729419"/>
              <a:gd name="csY162" fmla="*/ 1973305 h 2091729"/>
              <a:gd name="csX163" fmla="*/ 201692 w 729419"/>
              <a:gd name="csY163" fmla="*/ 1970275 h 2091729"/>
              <a:gd name="csX164" fmla="*/ 57962 w 729419"/>
              <a:gd name="csY164" fmla="*/ 1952648 h 2091729"/>
              <a:gd name="csX165" fmla="*/ 39194 w 729419"/>
              <a:gd name="csY165" fmla="*/ 1963552 h 2091729"/>
              <a:gd name="csX166" fmla="*/ 30066 w 729419"/>
              <a:gd name="csY166" fmla="*/ 2006631 h 2091729"/>
              <a:gd name="csX167" fmla="*/ 40232 w 729419"/>
              <a:gd name="csY167" fmla="*/ 2019486 h 2091729"/>
              <a:gd name="csX168" fmla="*/ 238186 w 729419"/>
              <a:gd name="csY168" fmla="*/ 2046096 h 2091729"/>
              <a:gd name="csX169" fmla="*/ 342155 w 729419"/>
              <a:gd name="csY169" fmla="*/ 2046441 h 2091729"/>
              <a:gd name="csX170" fmla="*/ 378900 w 729419"/>
              <a:gd name="csY170" fmla="*/ 2007280 h 2091729"/>
              <a:gd name="csX171" fmla="*/ 310220 w 729419"/>
              <a:gd name="csY171" fmla="*/ 554288 h 2091729"/>
              <a:gd name="csX172" fmla="*/ 259136 w 729419"/>
              <a:gd name="csY172" fmla="*/ 556881 h 2091729"/>
              <a:gd name="csX173" fmla="*/ 249085 w 729419"/>
              <a:gd name="csY173" fmla="*/ 567981 h 2091729"/>
              <a:gd name="csX174" fmla="*/ 249141 w 729419"/>
              <a:gd name="csY174" fmla="*/ 605644 h 2091729"/>
              <a:gd name="csX175" fmla="*/ 262628 w 729419"/>
              <a:gd name="csY175" fmla="*/ 605627 h 2091729"/>
              <a:gd name="csX176" fmla="*/ 369608 w 729419"/>
              <a:gd name="csY176" fmla="*/ 603027 h 2091729"/>
              <a:gd name="csX177" fmla="*/ 463931 w 729419"/>
              <a:gd name="csY177" fmla="*/ 605146 h 2091729"/>
              <a:gd name="csX178" fmla="*/ 478113 w 729419"/>
              <a:gd name="csY178" fmla="*/ 595843 h 2091729"/>
              <a:gd name="csX179" fmla="*/ 478796 w 729419"/>
              <a:gd name="csY179" fmla="*/ 556832 h 2091729"/>
              <a:gd name="csX180" fmla="*/ 310220 w 729419"/>
              <a:gd name="csY180" fmla="*/ 554288 h 2091729"/>
              <a:gd name="csX181" fmla="*/ 348836 w 729419"/>
              <a:gd name="csY181" fmla="*/ 684115 h 2091729"/>
              <a:gd name="csX182" fmla="*/ 281333 w 729419"/>
              <a:gd name="csY182" fmla="*/ 683313 h 2091729"/>
              <a:gd name="csX183" fmla="*/ 212728 w 729419"/>
              <a:gd name="csY183" fmla="*/ 681931 h 2091729"/>
              <a:gd name="csX184" fmla="*/ 187283 w 729419"/>
              <a:gd name="csY184" fmla="*/ 689555 h 2091729"/>
              <a:gd name="csX185" fmla="*/ 186163 w 729419"/>
              <a:gd name="csY185" fmla="*/ 718266 h 2091729"/>
              <a:gd name="csX186" fmla="*/ 209894 w 729419"/>
              <a:gd name="csY186" fmla="*/ 726798 h 2091729"/>
              <a:gd name="csX187" fmla="*/ 334814 w 729419"/>
              <a:gd name="csY187" fmla="*/ 732494 h 2091729"/>
              <a:gd name="csX188" fmla="*/ 364856 w 729419"/>
              <a:gd name="csY188" fmla="*/ 707963 h 2091729"/>
              <a:gd name="csX189" fmla="*/ 348836 w 729419"/>
              <a:gd name="csY189" fmla="*/ 684115 h 2091729"/>
              <a:gd name="csX190" fmla="*/ 298865 w 729419"/>
              <a:gd name="csY190" fmla="*/ 621954 h 2091729"/>
              <a:gd name="csX191" fmla="*/ 251619 w 729419"/>
              <a:gd name="csY191" fmla="*/ 622133 h 2091729"/>
              <a:gd name="csX192" fmla="*/ 214459 w 729419"/>
              <a:gd name="csY192" fmla="*/ 636230 h 2091729"/>
              <a:gd name="csX193" fmla="*/ 221436 w 729419"/>
              <a:gd name="csY193" fmla="*/ 654205 h 2091729"/>
              <a:gd name="csX194" fmla="*/ 272412 w 729419"/>
              <a:gd name="csY194" fmla="*/ 657250 h 2091729"/>
              <a:gd name="csX195" fmla="*/ 349094 w 729419"/>
              <a:gd name="csY195" fmla="*/ 659282 h 2091729"/>
              <a:gd name="csX196" fmla="*/ 362996 w 729419"/>
              <a:gd name="csY196" fmla="*/ 644234 h 2091729"/>
              <a:gd name="csX197" fmla="*/ 348472 w 729419"/>
              <a:gd name="csY197" fmla="*/ 624649 h 2091729"/>
              <a:gd name="csX198" fmla="*/ 298865 w 729419"/>
              <a:gd name="csY198" fmla="*/ 621954 h 2091729"/>
              <a:gd name="csX199" fmla="*/ 227796 w 729419"/>
              <a:gd name="csY199" fmla="*/ 528000 h 2091729"/>
              <a:gd name="csX200" fmla="*/ 241009 w 729419"/>
              <a:gd name="csY200" fmla="*/ 545897 h 2091729"/>
              <a:gd name="csX201" fmla="*/ 282607 w 729419"/>
              <a:gd name="csY201" fmla="*/ 543480 h 2091729"/>
              <a:gd name="csX202" fmla="*/ 354213 w 729419"/>
              <a:gd name="csY202" fmla="*/ 543384 h 2091729"/>
              <a:gd name="csX203" fmla="*/ 365334 w 729419"/>
              <a:gd name="csY203" fmla="*/ 533397 h 2091729"/>
              <a:gd name="csX204" fmla="*/ 354531 w 729419"/>
              <a:gd name="csY204" fmla="*/ 521620 h 2091729"/>
              <a:gd name="csX205" fmla="*/ 259169 w 729419"/>
              <a:gd name="csY205" fmla="*/ 521978 h 2091729"/>
              <a:gd name="csX206" fmla="*/ 227796 w 729419"/>
              <a:gd name="csY206" fmla="*/ 528000 h 2091729"/>
              <a:gd name="csX207" fmla="*/ 508068 w 729419"/>
              <a:gd name="csY207" fmla="*/ 190710 h 2091729"/>
              <a:gd name="csX208" fmla="*/ 521293 w 729419"/>
              <a:gd name="csY208" fmla="*/ 205907 h 2091729"/>
              <a:gd name="csX209" fmla="*/ 525175 w 729419"/>
              <a:gd name="csY209" fmla="*/ 202985 h 2091729"/>
              <a:gd name="csX210" fmla="*/ 500276 w 729419"/>
              <a:gd name="csY210" fmla="*/ 160640 h 2091729"/>
              <a:gd name="csX211" fmla="*/ 497122 w 729419"/>
              <a:gd name="csY211" fmla="*/ 162007 h 2091729"/>
              <a:gd name="csX212" fmla="*/ 508068 w 729419"/>
              <a:gd name="csY212" fmla="*/ 190710 h 2091729"/>
              <a:gd name="csX213" fmla="*/ 215522 w 729419"/>
              <a:gd name="csY213" fmla="*/ 197296 h 2091729"/>
              <a:gd name="csX214" fmla="*/ 234029 w 729419"/>
              <a:gd name="csY214" fmla="*/ 162725 h 2091729"/>
              <a:gd name="csX215" fmla="*/ 229000 w 729419"/>
              <a:gd name="csY215" fmla="*/ 159902 h 2091729"/>
              <a:gd name="csX216" fmla="*/ 204824 w 729419"/>
              <a:gd name="csY216" fmla="*/ 199677 h 2091729"/>
              <a:gd name="csX217" fmla="*/ 207990 w 729419"/>
              <a:gd name="csY217" fmla="*/ 202198 h 2091729"/>
              <a:gd name="csX218" fmla="*/ 215522 w 729419"/>
              <a:gd name="csY218" fmla="*/ 197296 h 2091729"/>
              <a:gd name="csX219" fmla="*/ 484400 w 729419"/>
              <a:gd name="csY219" fmla="*/ 896678 h 2091729"/>
              <a:gd name="csX220" fmla="*/ 486181 w 729419"/>
              <a:gd name="csY220" fmla="*/ 896585 h 2091729"/>
              <a:gd name="csX221" fmla="*/ 486181 w 729419"/>
              <a:gd name="csY221" fmla="*/ 795289 h 2091729"/>
              <a:gd name="csX222" fmla="*/ 720241 w 729419"/>
              <a:gd name="csY222" fmla="*/ 2030666 h 2091729"/>
              <a:gd name="csX223" fmla="*/ 721175 w 729419"/>
              <a:gd name="csY223" fmla="*/ 2029733 h 2091729"/>
              <a:gd name="csX224" fmla="*/ 720241 w 729419"/>
              <a:gd name="csY224" fmla="*/ 2030666 h 2091729"/>
              <a:gd name="csX225" fmla="*/ 715702 w 729419"/>
              <a:gd name="csY225" fmla="*/ 2037051 h 2091729"/>
              <a:gd name="csX226" fmla="*/ 715702 w 729419"/>
              <a:gd name="csY226" fmla="*/ 2037051 h 2091729"/>
              <a:gd name="csX0" fmla="*/ 96263 w 729419"/>
              <a:gd name="csY0" fmla="*/ 2076207 h 2102400"/>
              <a:gd name="csX1" fmla="*/ 63862 w 729419"/>
              <a:gd name="csY1" fmla="*/ 2065388 h 2102400"/>
              <a:gd name="csX2" fmla="*/ 16555 w 729419"/>
              <a:gd name="csY2" fmla="*/ 2050152 h 2102400"/>
              <a:gd name="csX3" fmla="*/ 15 w 729419"/>
              <a:gd name="csY3" fmla="*/ 2023802 h 2102400"/>
              <a:gd name="csX4" fmla="*/ 18368 w 729419"/>
              <a:gd name="csY4" fmla="*/ 1940709 h 2102400"/>
              <a:gd name="csX5" fmla="*/ 22139 w 729419"/>
              <a:gd name="csY5" fmla="*/ 1907268 h 2102400"/>
              <a:gd name="csX6" fmla="*/ 57941 w 729419"/>
              <a:gd name="csY6" fmla="*/ 1774163 h 2102400"/>
              <a:gd name="csX7" fmla="*/ 102478 w 729419"/>
              <a:gd name="csY7" fmla="*/ 1720275 h 2102400"/>
              <a:gd name="csX8" fmla="*/ 108579 w 729419"/>
              <a:gd name="csY8" fmla="*/ 1650967 h 2102400"/>
              <a:gd name="csX9" fmla="*/ 115628 w 729419"/>
              <a:gd name="csY9" fmla="*/ 1625405 h 2102400"/>
              <a:gd name="csX10" fmla="*/ 156323 w 729419"/>
              <a:gd name="csY10" fmla="*/ 1560181 h 2102400"/>
              <a:gd name="csX11" fmla="*/ 199424 w 729419"/>
              <a:gd name="csY11" fmla="*/ 1364729 h 2102400"/>
              <a:gd name="csX12" fmla="*/ 216779 w 729419"/>
              <a:gd name="csY12" fmla="*/ 1219490 h 2102400"/>
              <a:gd name="csX13" fmla="*/ 229755 w 729419"/>
              <a:gd name="csY13" fmla="*/ 1099357 h 2102400"/>
              <a:gd name="csX14" fmla="*/ 232707 w 729419"/>
              <a:gd name="csY14" fmla="*/ 1056423 h 2102400"/>
              <a:gd name="csX15" fmla="*/ 235622 w 729419"/>
              <a:gd name="csY15" fmla="*/ 952675 h 2102400"/>
              <a:gd name="csX16" fmla="*/ 235445 w 729419"/>
              <a:gd name="csY16" fmla="*/ 780278 h 2102400"/>
              <a:gd name="csX17" fmla="*/ 214544 w 729419"/>
              <a:gd name="csY17" fmla="*/ 756435 h 2102400"/>
              <a:gd name="csX18" fmla="*/ 172569 w 729419"/>
              <a:gd name="csY18" fmla="*/ 742582 h 2102400"/>
              <a:gd name="csX19" fmla="*/ 168784 w 729419"/>
              <a:gd name="csY19" fmla="*/ 669116 h 2102400"/>
              <a:gd name="csX20" fmla="*/ 191657 w 729419"/>
              <a:gd name="csY20" fmla="*/ 630765 h 2102400"/>
              <a:gd name="csX21" fmla="*/ 208150 w 729419"/>
              <a:gd name="csY21" fmla="*/ 609084 h 2102400"/>
              <a:gd name="csX22" fmla="*/ 216756 w 729419"/>
              <a:gd name="csY22" fmla="*/ 558673 h 2102400"/>
              <a:gd name="csX23" fmla="*/ 209092 w 729419"/>
              <a:gd name="csY23" fmla="*/ 521540 h 2102400"/>
              <a:gd name="csX24" fmla="*/ 204683 w 729419"/>
              <a:gd name="csY24" fmla="*/ 474024 h 2102400"/>
              <a:gd name="csX25" fmla="*/ 115483 w 729419"/>
              <a:gd name="csY25" fmla="*/ 213499 h 2102400"/>
              <a:gd name="csX26" fmla="*/ 102909 w 729419"/>
              <a:gd name="csY26" fmla="*/ 182297 h 2102400"/>
              <a:gd name="csX27" fmla="*/ 104315 w 729419"/>
              <a:gd name="csY27" fmla="*/ 163968 h 2102400"/>
              <a:gd name="csX28" fmla="*/ 122444 w 729419"/>
              <a:gd name="csY28" fmla="*/ 160805 h 2102400"/>
              <a:gd name="csX29" fmla="*/ 170283 w 729419"/>
              <a:gd name="csY29" fmla="*/ 187783 h 2102400"/>
              <a:gd name="csX30" fmla="*/ 180938 w 729419"/>
              <a:gd name="csY30" fmla="*/ 195322 h 2102400"/>
              <a:gd name="csX31" fmla="*/ 221419 w 729419"/>
              <a:gd name="csY31" fmla="*/ 138058 h 2102400"/>
              <a:gd name="csX32" fmla="*/ 294099 w 729419"/>
              <a:gd name="csY32" fmla="*/ 91372 h 2102400"/>
              <a:gd name="csX33" fmla="*/ 302307 w 729419"/>
              <a:gd name="csY33" fmla="*/ 76560 h 2102400"/>
              <a:gd name="csX34" fmla="*/ 320284 w 729419"/>
              <a:gd name="csY34" fmla="*/ 8414 h 2102400"/>
              <a:gd name="csX35" fmla="*/ 324784 w 729419"/>
              <a:gd name="csY35" fmla="*/ 946 h 2102400"/>
              <a:gd name="csX36" fmla="*/ 399212 w 729419"/>
              <a:gd name="csY36" fmla="*/ 0 h 2102400"/>
              <a:gd name="csX37" fmla="*/ 425980 w 729419"/>
              <a:gd name="csY37" fmla="*/ 78301 h 2102400"/>
              <a:gd name="csX38" fmla="*/ 431861 w 729419"/>
              <a:gd name="csY38" fmla="*/ 90312 h 2102400"/>
              <a:gd name="csX39" fmla="*/ 540349 w 729419"/>
              <a:gd name="csY39" fmla="*/ 187946 h 2102400"/>
              <a:gd name="csX40" fmla="*/ 545555 w 729419"/>
              <a:gd name="csY40" fmla="*/ 197828 h 2102400"/>
              <a:gd name="csX41" fmla="*/ 587318 w 729419"/>
              <a:gd name="csY41" fmla="*/ 171260 h 2102400"/>
              <a:gd name="csX42" fmla="*/ 601503 w 729419"/>
              <a:gd name="csY42" fmla="*/ 163707 h 2102400"/>
              <a:gd name="csX43" fmla="*/ 625254 w 729419"/>
              <a:gd name="csY43" fmla="*/ 163123 h 2102400"/>
              <a:gd name="csX44" fmla="*/ 625468 w 729419"/>
              <a:gd name="csY44" fmla="*/ 187579 h 2102400"/>
              <a:gd name="csX45" fmla="*/ 597543 w 729419"/>
              <a:gd name="csY45" fmla="*/ 251872 h 2102400"/>
              <a:gd name="csX46" fmla="*/ 531831 w 729419"/>
              <a:gd name="csY46" fmla="*/ 442689 h 2102400"/>
              <a:gd name="csX47" fmla="*/ 519888 w 729419"/>
              <a:gd name="csY47" fmla="*/ 501474 h 2102400"/>
              <a:gd name="csX48" fmla="*/ 522506 w 729419"/>
              <a:gd name="csY48" fmla="*/ 525086 h 2102400"/>
              <a:gd name="csX49" fmla="*/ 516235 w 729419"/>
              <a:gd name="csY49" fmla="*/ 555946 h 2102400"/>
              <a:gd name="csX50" fmla="*/ 521332 w 729419"/>
              <a:gd name="csY50" fmla="*/ 610676 h 2102400"/>
              <a:gd name="csX51" fmla="*/ 541382 w 729419"/>
              <a:gd name="csY51" fmla="*/ 642597 h 2102400"/>
              <a:gd name="csX52" fmla="*/ 557031 w 729419"/>
              <a:gd name="csY52" fmla="*/ 667949 h 2102400"/>
              <a:gd name="csX53" fmla="*/ 553994 w 729419"/>
              <a:gd name="csY53" fmla="*/ 744146 h 2102400"/>
              <a:gd name="csX54" fmla="*/ 508215 w 729419"/>
              <a:gd name="csY54" fmla="*/ 758841 h 2102400"/>
              <a:gd name="csX55" fmla="*/ 497442 w 729419"/>
              <a:gd name="csY55" fmla="*/ 771256 h 2102400"/>
              <a:gd name="csX56" fmla="*/ 493005 w 729419"/>
              <a:gd name="csY56" fmla="*/ 922055 h 2102400"/>
              <a:gd name="csX57" fmla="*/ 502900 w 729419"/>
              <a:gd name="csY57" fmla="*/ 1114191 h 2102400"/>
              <a:gd name="csX58" fmla="*/ 508800 w 729419"/>
              <a:gd name="csY58" fmla="*/ 1205474 h 2102400"/>
              <a:gd name="csX59" fmla="*/ 522952 w 729419"/>
              <a:gd name="csY59" fmla="*/ 1320065 h 2102400"/>
              <a:gd name="csX60" fmla="*/ 554682 w 729419"/>
              <a:gd name="csY60" fmla="*/ 1501203 h 2102400"/>
              <a:gd name="csX61" fmla="*/ 576958 w 729419"/>
              <a:gd name="csY61" fmla="*/ 1593963 h 2102400"/>
              <a:gd name="csX62" fmla="*/ 595349 w 729419"/>
              <a:gd name="csY62" fmla="*/ 1613498 h 2102400"/>
              <a:gd name="csX63" fmla="*/ 613936 w 729419"/>
              <a:gd name="csY63" fmla="*/ 1624058 h 2102400"/>
              <a:gd name="csX64" fmla="*/ 620938 w 729419"/>
              <a:gd name="csY64" fmla="*/ 1652071 h 2102400"/>
              <a:gd name="csX65" fmla="*/ 630805 w 729419"/>
              <a:gd name="csY65" fmla="*/ 1721702 h 2102400"/>
              <a:gd name="csX66" fmla="*/ 685830 w 729419"/>
              <a:gd name="csY66" fmla="*/ 1792915 h 2102400"/>
              <a:gd name="csX67" fmla="*/ 708904 w 729419"/>
              <a:gd name="csY67" fmla="*/ 1890290 h 2102400"/>
              <a:gd name="csX68" fmla="*/ 716580 w 729419"/>
              <a:gd name="csY68" fmla="*/ 1951136 h 2102400"/>
              <a:gd name="csX69" fmla="*/ 729397 w 729419"/>
              <a:gd name="csY69" fmla="*/ 2030261 h 2102400"/>
              <a:gd name="csX70" fmla="*/ 714212 w 729419"/>
              <a:gd name="csY70" fmla="*/ 2049544 h 2102400"/>
              <a:gd name="csX71" fmla="*/ 645428 w 729419"/>
              <a:gd name="csY71" fmla="*/ 2070825 h 2102400"/>
              <a:gd name="csX72" fmla="*/ 635822 w 729419"/>
              <a:gd name="csY72" fmla="*/ 2075145 h 2102400"/>
              <a:gd name="csX73" fmla="*/ 588428 w 729419"/>
              <a:gd name="csY73" fmla="*/ 2075144 h 2102400"/>
              <a:gd name="csX74" fmla="*/ 590041 w 729419"/>
              <a:gd name="csY74" fmla="*/ 2071383 h 2102400"/>
              <a:gd name="csX75" fmla="*/ 667788 w 729419"/>
              <a:gd name="csY75" fmla="*/ 2056852 h 2102400"/>
              <a:gd name="csX76" fmla="*/ 706629 w 729419"/>
              <a:gd name="csY76" fmla="*/ 2044290 h 2102400"/>
              <a:gd name="csX77" fmla="*/ 702674 w 729419"/>
              <a:gd name="csY77" fmla="*/ 2041581 h 2102400"/>
              <a:gd name="csX78" fmla="*/ 544974 w 729419"/>
              <a:gd name="csY78" fmla="*/ 2071274 h 2102400"/>
              <a:gd name="csX79" fmla="*/ 538352 w 729419"/>
              <a:gd name="csY79" fmla="*/ 2076207 h 2102400"/>
              <a:gd name="csX80" fmla="*/ 96263 w 729419"/>
              <a:gd name="csY80" fmla="*/ 2076207 h 2102400"/>
              <a:gd name="csX81" fmla="*/ 489970 w 729419"/>
              <a:gd name="csY81" fmla="*/ 152208 h 2102400"/>
              <a:gd name="csX82" fmla="*/ 490754 w 729419"/>
              <a:gd name="csY82" fmla="*/ 152592 h 2102400"/>
              <a:gd name="csX83" fmla="*/ 489489 w 729419"/>
              <a:gd name="csY83" fmla="*/ 149547 h 2102400"/>
              <a:gd name="csX84" fmla="*/ 393621 w 729419"/>
              <a:gd name="csY84" fmla="*/ 99259 h 2102400"/>
              <a:gd name="csX85" fmla="*/ 390419 w 729419"/>
              <a:gd name="csY85" fmla="*/ 18568 h 2102400"/>
              <a:gd name="csX86" fmla="*/ 334131 w 729419"/>
              <a:gd name="csY86" fmla="*/ 24327 h 2102400"/>
              <a:gd name="csX87" fmla="*/ 344678 w 729419"/>
              <a:gd name="csY87" fmla="*/ 101259 h 2102400"/>
              <a:gd name="csX88" fmla="*/ 298854 w 729419"/>
              <a:gd name="csY88" fmla="*/ 114003 h 2102400"/>
              <a:gd name="csX89" fmla="*/ 237456 w 729419"/>
              <a:gd name="csY89" fmla="*/ 154340 h 2102400"/>
              <a:gd name="csX90" fmla="*/ 240382 w 729419"/>
              <a:gd name="csY90" fmla="*/ 154035 h 2102400"/>
              <a:gd name="csX91" fmla="*/ 262731 w 729419"/>
              <a:gd name="csY91" fmla="*/ 170426 h 2102400"/>
              <a:gd name="csX92" fmla="*/ 279169 w 729419"/>
              <a:gd name="csY92" fmla="*/ 193173 h 2102400"/>
              <a:gd name="csX93" fmla="*/ 327717 w 729419"/>
              <a:gd name="csY93" fmla="*/ 188556 h 2102400"/>
              <a:gd name="csX94" fmla="*/ 348052 w 729419"/>
              <a:gd name="csY94" fmla="*/ 156919 h 2102400"/>
              <a:gd name="csX95" fmla="*/ 380330 w 729419"/>
              <a:gd name="csY95" fmla="*/ 156483 h 2102400"/>
              <a:gd name="csX96" fmla="*/ 408490 w 729419"/>
              <a:gd name="csY96" fmla="*/ 195400 h 2102400"/>
              <a:gd name="csX97" fmla="*/ 445346 w 729419"/>
              <a:gd name="csY97" fmla="*/ 197582 h 2102400"/>
              <a:gd name="csX98" fmla="*/ 464798 w 729419"/>
              <a:gd name="csY98" fmla="*/ 174107 h 2102400"/>
              <a:gd name="csX99" fmla="*/ 489970 w 729419"/>
              <a:gd name="csY99" fmla="*/ 152208 h 2102400"/>
              <a:gd name="csX100" fmla="*/ 140694 w 729419"/>
              <a:gd name="csY100" fmla="*/ 201837 h 2102400"/>
              <a:gd name="csX101" fmla="*/ 139834 w 729419"/>
              <a:gd name="csY101" fmla="*/ 201482 h 2102400"/>
              <a:gd name="csX102" fmla="*/ 140812 w 729419"/>
              <a:gd name="csY102" fmla="*/ 204941 h 2102400"/>
              <a:gd name="csX103" fmla="*/ 144631 w 729419"/>
              <a:gd name="csY103" fmla="*/ 217811 h 2102400"/>
              <a:gd name="csX104" fmla="*/ 201241 w 729419"/>
              <a:gd name="csY104" fmla="*/ 373387 h 2102400"/>
              <a:gd name="csX105" fmla="*/ 235971 w 729419"/>
              <a:gd name="csY105" fmla="*/ 504451 h 2102400"/>
              <a:gd name="csX106" fmla="*/ 247475 w 729419"/>
              <a:gd name="csY106" fmla="*/ 513241 h 2102400"/>
              <a:gd name="csX107" fmla="*/ 289066 w 729419"/>
              <a:gd name="csY107" fmla="*/ 511170 h 2102400"/>
              <a:gd name="csX108" fmla="*/ 378229 w 729419"/>
              <a:gd name="csY108" fmla="*/ 511084 h 2102400"/>
              <a:gd name="csX109" fmla="*/ 470850 w 729419"/>
              <a:gd name="csY109" fmla="*/ 516341 h 2102400"/>
              <a:gd name="csX110" fmla="*/ 492933 w 729419"/>
              <a:gd name="csY110" fmla="*/ 497969 h 2102400"/>
              <a:gd name="csX111" fmla="*/ 557617 w 729419"/>
              <a:gd name="csY111" fmla="*/ 280398 h 2102400"/>
              <a:gd name="csX112" fmla="*/ 588788 w 729419"/>
              <a:gd name="csY112" fmla="*/ 200385 h 2102400"/>
              <a:gd name="csX113" fmla="*/ 530958 w 729419"/>
              <a:gd name="csY113" fmla="*/ 232968 h 2102400"/>
              <a:gd name="csX114" fmla="*/ 483823 w 729419"/>
              <a:gd name="csY114" fmla="*/ 190364 h 2102400"/>
              <a:gd name="csX115" fmla="*/ 466649 w 729419"/>
              <a:gd name="csY115" fmla="*/ 209061 h 2102400"/>
              <a:gd name="csX116" fmla="*/ 399941 w 729419"/>
              <a:gd name="csY116" fmla="*/ 216988 h 2102400"/>
              <a:gd name="csX117" fmla="*/ 363018 w 729419"/>
              <a:gd name="csY117" fmla="*/ 179615 h 2102400"/>
              <a:gd name="csX118" fmla="*/ 308839 w 729419"/>
              <a:gd name="csY118" fmla="*/ 227846 h 2102400"/>
              <a:gd name="csX119" fmla="*/ 245077 w 729419"/>
              <a:gd name="csY119" fmla="*/ 192402 h 2102400"/>
              <a:gd name="csX120" fmla="*/ 242829 w 729419"/>
              <a:gd name="csY120" fmla="*/ 198815 h 2102400"/>
              <a:gd name="csX121" fmla="*/ 168452 w 729419"/>
              <a:gd name="csY121" fmla="*/ 219348 h 2102400"/>
              <a:gd name="csX122" fmla="*/ 140694 w 729419"/>
              <a:gd name="csY122" fmla="*/ 201837 h 2102400"/>
              <a:gd name="csX123" fmla="*/ 259999 w 729419"/>
              <a:gd name="csY123" fmla="*/ 966699 h 2102400"/>
              <a:gd name="csX124" fmla="*/ 257072 w 729419"/>
              <a:gd name="csY124" fmla="*/ 1070424 h 2102400"/>
              <a:gd name="csX125" fmla="*/ 251372 w 729419"/>
              <a:gd name="csY125" fmla="*/ 1157618 h 2102400"/>
              <a:gd name="csX126" fmla="*/ 232677 w 729419"/>
              <a:gd name="csY126" fmla="*/ 1320279 h 2102400"/>
              <a:gd name="csX127" fmla="*/ 209182 w 729419"/>
              <a:gd name="csY127" fmla="*/ 1468667 h 2102400"/>
              <a:gd name="csX128" fmla="*/ 175302 w 729419"/>
              <a:gd name="csY128" fmla="*/ 1616623 h 2102400"/>
              <a:gd name="csX129" fmla="*/ 182769 w 729419"/>
              <a:gd name="csY129" fmla="*/ 1629786 h 2102400"/>
              <a:gd name="csX130" fmla="*/ 212156 w 729419"/>
              <a:gd name="csY130" fmla="*/ 1632656 h 2102400"/>
              <a:gd name="csX131" fmla="*/ 351295 w 729419"/>
              <a:gd name="csY131" fmla="*/ 1632801 h 2102400"/>
              <a:gd name="csX132" fmla="*/ 376150 w 729419"/>
              <a:gd name="csY132" fmla="*/ 1608307 h 2102400"/>
              <a:gd name="csX133" fmla="*/ 373450 w 729419"/>
              <a:gd name="csY133" fmla="*/ 1457291 h 2102400"/>
              <a:gd name="csX134" fmla="*/ 370936 w 729419"/>
              <a:gd name="csY134" fmla="*/ 1342736 h 2102400"/>
              <a:gd name="csX135" fmla="*/ 368328 w 729419"/>
              <a:gd name="csY135" fmla="*/ 1203878 h 2102400"/>
              <a:gd name="csX136" fmla="*/ 367836 w 729419"/>
              <a:gd name="csY136" fmla="*/ 813478 h 2102400"/>
              <a:gd name="csX137" fmla="*/ 365240 w 729419"/>
              <a:gd name="csY137" fmla="*/ 773243 h 2102400"/>
              <a:gd name="csX138" fmla="*/ 353084 w 729419"/>
              <a:gd name="csY138" fmla="*/ 762083 h 2102400"/>
              <a:gd name="csX139" fmla="*/ 280966 w 729419"/>
              <a:gd name="csY139" fmla="*/ 759855 h 2102400"/>
              <a:gd name="csX140" fmla="*/ 259965 w 729419"/>
              <a:gd name="csY140" fmla="*/ 779553 h 2102400"/>
              <a:gd name="csX141" fmla="*/ 262341 w 729419"/>
              <a:gd name="csY141" fmla="*/ 856275 h 2102400"/>
              <a:gd name="csX142" fmla="*/ 259999 w 729419"/>
              <a:gd name="csY142" fmla="*/ 966699 h 2102400"/>
              <a:gd name="csX143" fmla="*/ 55556 w 729419"/>
              <a:gd name="csY143" fmla="*/ 1835827 h 2102400"/>
              <a:gd name="csX144" fmla="*/ 49393 w 729419"/>
              <a:gd name="csY144" fmla="*/ 1878155 h 2102400"/>
              <a:gd name="csX145" fmla="*/ 73949 w 729419"/>
              <a:gd name="csY145" fmla="*/ 1905781 h 2102400"/>
              <a:gd name="csX146" fmla="*/ 110073 w 729419"/>
              <a:gd name="csY146" fmla="*/ 1909068 h 2102400"/>
              <a:gd name="csX147" fmla="*/ 224745 w 729419"/>
              <a:gd name="csY147" fmla="*/ 1921652 h 2102400"/>
              <a:gd name="csX148" fmla="*/ 347327 w 729419"/>
              <a:gd name="csY148" fmla="*/ 1924778 h 2102400"/>
              <a:gd name="csX149" fmla="*/ 363345 w 729419"/>
              <a:gd name="csY149" fmla="*/ 1923293 h 2102400"/>
              <a:gd name="csX150" fmla="*/ 373787 w 729419"/>
              <a:gd name="csY150" fmla="*/ 1911200 h 2102400"/>
              <a:gd name="csX151" fmla="*/ 376623 w 729419"/>
              <a:gd name="csY151" fmla="*/ 1696741 h 2102400"/>
              <a:gd name="csX152" fmla="*/ 360437 w 729419"/>
              <a:gd name="csY152" fmla="*/ 1681289 h 2102400"/>
              <a:gd name="csX153" fmla="*/ 263503 w 729419"/>
              <a:gd name="csY153" fmla="*/ 1678179 h 2102400"/>
              <a:gd name="csX154" fmla="*/ 160381 w 729419"/>
              <a:gd name="csY154" fmla="*/ 1670405 h 2102400"/>
              <a:gd name="csX155" fmla="*/ 143321 w 729419"/>
              <a:gd name="csY155" fmla="*/ 1685538 h 2102400"/>
              <a:gd name="csX156" fmla="*/ 124769 w 729419"/>
              <a:gd name="csY156" fmla="*/ 1738195 h 2102400"/>
              <a:gd name="csX157" fmla="*/ 90593 w 729419"/>
              <a:gd name="csY157" fmla="*/ 1779570 h 2102400"/>
              <a:gd name="csX158" fmla="*/ 55556 w 729419"/>
              <a:gd name="csY158" fmla="*/ 1835827 h 2102400"/>
              <a:gd name="csX159" fmla="*/ 378900 w 729419"/>
              <a:gd name="csY159" fmla="*/ 2007280 h 2102400"/>
              <a:gd name="csX160" fmla="*/ 378887 w 729419"/>
              <a:gd name="csY160" fmla="*/ 1995127 h 2102400"/>
              <a:gd name="csX161" fmla="*/ 359084 w 729419"/>
              <a:gd name="csY161" fmla="*/ 1975964 h 2102400"/>
              <a:gd name="csX162" fmla="*/ 247288 w 729419"/>
              <a:gd name="csY162" fmla="*/ 1973305 h 2102400"/>
              <a:gd name="csX163" fmla="*/ 201692 w 729419"/>
              <a:gd name="csY163" fmla="*/ 1970275 h 2102400"/>
              <a:gd name="csX164" fmla="*/ 57962 w 729419"/>
              <a:gd name="csY164" fmla="*/ 1952648 h 2102400"/>
              <a:gd name="csX165" fmla="*/ 39194 w 729419"/>
              <a:gd name="csY165" fmla="*/ 1963552 h 2102400"/>
              <a:gd name="csX166" fmla="*/ 30066 w 729419"/>
              <a:gd name="csY166" fmla="*/ 2006631 h 2102400"/>
              <a:gd name="csX167" fmla="*/ 40232 w 729419"/>
              <a:gd name="csY167" fmla="*/ 2019486 h 2102400"/>
              <a:gd name="csX168" fmla="*/ 238186 w 729419"/>
              <a:gd name="csY168" fmla="*/ 2046096 h 2102400"/>
              <a:gd name="csX169" fmla="*/ 342155 w 729419"/>
              <a:gd name="csY169" fmla="*/ 2046441 h 2102400"/>
              <a:gd name="csX170" fmla="*/ 378900 w 729419"/>
              <a:gd name="csY170" fmla="*/ 2007280 h 2102400"/>
              <a:gd name="csX171" fmla="*/ 310220 w 729419"/>
              <a:gd name="csY171" fmla="*/ 554288 h 2102400"/>
              <a:gd name="csX172" fmla="*/ 259136 w 729419"/>
              <a:gd name="csY172" fmla="*/ 556881 h 2102400"/>
              <a:gd name="csX173" fmla="*/ 249085 w 729419"/>
              <a:gd name="csY173" fmla="*/ 567981 h 2102400"/>
              <a:gd name="csX174" fmla="*/ 249141 w 729419"/>
              <a:gd name="csY174" fmla="*/ 605644 h 2102400"/>
              <a:gd name="csX175" fmla="*/ 262628 w 729419"/>
              <a:gd name="csY175" fmla="*/ 605627 h 2102400"/>
              <a:gd name="csX176" fmla="*/ 369608 w 729419"/>
              <a:gd name="csY176" fmla="*/ 603027 h 2102400"/>
              <a:gd name="csX177" fmla="*/ 463931 w 729419"/>
              <a:gd name="csY177" fmla="*/ 605146 h 2102400"/>
              <a:gd name="csX178" fmla="*/ 478113 w 729419"/>
              <a:gd name="csY178" fmla="*/ 595843 h 2102400"/>
              <a:gd name="csX179" fmla="*/ 478796 w 729419"/>
              <a:gd name="csY179" fmla="*/ 556832 h 2102400"/>
              <a:gd name="csX180" fmla="*/ 310220 w 729419"/>
              <a:gd name="csY180" fmla="*/ 554288 h 2102400"/>
              <a:gd name="csX181" fmla="*/ 348836 w 729419"/>
              <a:gd name="csY181" fmla="*/ 684115 h 2102400"/>
              <a:gd name="csX182" fmla="*/ 281333 w 729419"/>
              <a:gd name="csY182" fmla="*/ 683313 h 2102400"/>
              <a:gd name="csX183" fmla="*/ 212728 w 729419"/>
              <a:gd name="csY183" fmla="*/ 681931 h 2102400"/>
              <a:gd name="csX184" fmla="*/ 187283 w 729419"/>
              <a:gd name="csY184" fmla="*/ 689555 h 2102400"/>
              <a:gd name="csX185" fmla="*/ 186163 w 729419"/>
              <a:gd name="csY185" fmla="*/ 718266 h 2102400"/>
              <a:gd name="csX186" fmla="*/ 209894 w 729419"/>
              <a:gd name="csY186" fmla="*/ 726798 h 2102400"/>
              <a:gd name="csX187" fmla="*/ 334814 w 729419"/>
              <a:gd name="csY187" fmla="*/ 732494 h 2102400"/>
              <a:gd name="csX188" fmla="*/ 364856 w 729419"/>
              <a:gd name="csY188" fmla="*/ 707963 h 2102400"/>
              <a:gd name="csX189" fmla="*/ 348836 w 729419"/>
              <a:gd name="csY189" fmla="*/ 684115 h 2102400"/>
              <a:gd name="csX190" fmla="*/ 298865 w 729419"/>
              <a:gd name="csY190" fmla="*/ 621954 h 2102400"/>
              <a:gd name="csX191" fmla="*/ 251619 w 729419"/>
              <a:gd name="csY191" fmla="*/ 622133 h 2102400"/>
              <a:gd name="csX192" fmla="*/ 214459 w 729419"/>
              <a:gd name="csY192" fmla="*/ 636230 h 2102400"/>
              <a:gd name="csX193" fmla="*/ 221436 w 729419"/>
              <a:gd name="csY193" fmla="*/ 654205 h 2102400"/>
              <a:gd name="csX194" fmla="*/ 272412 w 729419"/>
              <a:gd name="csY194" fmla="*/ 657250 h 2102400"/>
              <a:gd name="csX195" fmla="*/ 349094 w 729419"/>
              <a:gd name="csY195" fmla="*/ 659282 h 2102400"/>
              <a:gd name="csX196" fmla="*/ 362996 w 729419"/>
              <a:gd name="csY196" fmla="*/ 644234 h 2102400"/>
              <a:gd name="csX197" fmla="*/ 348472 w 729419"/>
              <a:gd name="csY197" fmla="*/ 624649 h 2102400"/>
              <a:gd name="csX198" fmla="*/ 298865 w 729419"/>
              <a:gd name="csY198" fmla="*/ 621954 h 2102400"/>
              <a:gd name="csX199" fmla="*/ 227796 w 729419"/>
              <a:gd name="csY199" fmla="*/ 528000 h 2102400"/>
              <a:gd name="csX200" fmla="*/ 241009 w 729419"/>
              <a:gd name="csY200" fmla="*/ 545897 h 2102400"/>
              <a:gd name="csX201" fmla="*/ 282607 w 729419"/>
              <a:gd name="csY201" fmla="*/ 543480 h 2102400"/>
              <a:gd name="csX202" fmla="*/ 354213 w 729419"/>
              <a:gd name="csY202" fmla="*/ 543384 h 2102400"/>
              <a:gd name="csX203" fmla="*/ 365334 w 729419"/>
              <a:gd name="csY203" fmla="*/ 533397 h 2102400"/>
              <a:gd name="csX204" fmla="*/ 354531 w 729419"/>
              <a:gd name="csY204" fmla="*/ 521620 h 2102400"/>
              <a:gd name="csX205" fmla="*/ 259169 w 729419"/>
              <a:gd name="csY205" fmla="*/ 521978 h 2102400"/>
              <a:gd name="csX206" fmla="*/ 227796 w 729419"/>
              <a:gd name="csY206" fmla="*/ 528000 h 2102400"/>
              <a:gd name="csX207" fmla="*/ 508068 w 729419"/>
              <a:gd name="csY207" fmla="*/ 190710 h 2102400"/>
              <a:gd name="csX208" fmla="*/ 521293 w 729419"/>
              <a:gd name="csY208" fmla="*/ 205907 h 2102400"/>
              <a:gd name="csX209" fmla="*/ 525175 w 729419"/>
              <a:gd name="csY209" fmla="*/ 202985 h 2102400"/>
              <a:gd name="csX210" fmla="*/ 500276 w 729419"/>
              <a:gd name="csY210" fmla="*/ 160640 h 2102400"/>
              <a:gd name="csX211" fmla="*/ 497122 w 729419"/>
              <a:gd name="csY211" fmla="*/ 162007 h 2102400"/>
              <a:gd name="csX212" fmla="*/ 508068 w 729419"/>
              <a:gd name="csY212" fmla="*/ 190710 h 2102400"/>
              <a:gd name="csX213" fmla="*/ 215522 w 729419"/>
              <a:gd name="csY213" fmla="*/ 197296 h 2102400"/>
              <a:gd name="csX214" fmla="*/ 234029 w 729419"/>
              <a:gd name="csY214" fmla="*/ 162725 h 2102400"/>
              <a:gd name="csX215" fmla="*/ 229000 w 729419"/>
              <a:gd name="csY215" fmla="*/ 159902 h 2102400"/>
              <a:gd name="csX216" fmla="*/ 204824 w 729419"/>
              <a:gd name="csY216" fmla="*/ 199677 h 2102400"/>
              <a:gd name="csX217" fmla="*/ 207990 w 729419"/>
              <a:gd name="csY217" fmla="*/ 202198 h 2102400"/>
              <a:gd name="csX218" fmla="*/ 215522 w 729419"/>
              <a:gd name="csY218" fmla="*/ 197296 h 2102400"/>
              <a:gd name="csX219" fmla="*/ 484400 w 729419"/>
              <a:gd name="csY219" fmla="*/ 896678 h 2102400"/>
              <a:gd name="csX220" fmla="*/ 486181 w 729419"/>
              <a:gd name="csY220" fmla="*/ 896585 h 2102400"/>
              <a:gd name="csX221" fmla="*/ 486181 w 729419"/>
              <a:gd name="csY221" fmla="*/ 795289 h 2102400"/>
              <a:gd name="csX222" fmla="*/ 720241 w 729419"/>
              <a:gd name="csY222" fmla="*/ 2030666 h 2102400"/>
              <a:gd name="csX223" fmla="*/ 721175 w 729419"/>
              <a:gd name="csY223" fmla="*/ 2029733 h 2102400"/>
              <a:gd name="csX224" fmla="*/ 720241 w 729419"/>
              <a:gd name="csY224" fmla="*/ 2030666 h 2102400"/>
              <a:gd name="csX225" fmla="*/ 715702 w 729419"/>
              <a:gd name="csY225" fmla="*/ 2037051 h 2102400"/>
              <a:gd name="csX226" fmla="*/ 715702 w 729419"/>
              <a:gd name="csY226" fmla="*/ 2037051 h 2102400"/>
              <a:gd name="csX0" fmla="*/ 96263 w 729419"/>
              <a:gd name="csY0" fmla="*/ 2076207 h 2076207"/>
              <a:gd name="csX1" fmla="*/ 63862 w 729419"/>
              <a:gd name="csY1" fmla="*/ 2065388 h 2076207"/>
              <a:gd name="csX2" fmla="*/ 16555 w 729419"/>
              <a:gd name="csY2" fmla="*/ 2050152 h 2076207"/>
              <a:gd name="csX3" fmla="*/ 15 w 729419"/>
              <a:gd name="csY3" fmla="*/ 2023802 h 2076207"/>
              <a:gd name="csX4" fmla="*/ 18368 w 729419"/>
              <a:gd name="csY4" fmla="*/ 1940709 h 2076207"/>
              <a:gd name="csX5" fmla="*/ 22139 w 729419"/>
              <a:gd name="csY5" fmla="*/ 1907268 h 2076207"/>
              <a:gd name="csX6" fmla="*/ 57941 w 729419"/>
              <a:gd name="csY6" fmla="*/ 1774163 h 2076207"/>
              <a:gd name="csX7" fmla="*/ 102478 w 729419"/>
              <a:gd name="csY7" fmla="*/ 1720275 h 2076207"/>
              <a:gd name="csX8" fmla="*/ 108579 w 729419"/>
              <a:gd name="csY8" fmla="*/ 1650967 h 2076207"/>
              <a:gd name="csX9" fmla="*/ 115628 w 729419"/>
              <a:gd name="csY9" fmla="*/ 1625405 h 2076207"/>
              <a:gd name="csX10" fmla="*/ 156323 w 729419"/>
              <a:gd name="csY10" fmla="*/ 1560181 h 2076207"/>
              <a:gd name="csX11" fmla="*/ 199424 w 729419"/>
              <a:gd name="csY11" fmla="*/ 1364729 h 2076207"/>
              <a:gd name="csX12" fmla="*/ 216779 w 729419"/>
              <a:gd name="csY12" fmla="*/ 1219490 h 2076207"/>
              <a:gd name="csX13" fmla="*/ 229755 w 729419"/>
              <a:gd name="csY13" fmla="*/ 1099357 h 2076207"/>
              <a:gd name="csX14" fmla="*/ 232707 w 729419"/>
              <a:gd name="csY14" fmla="*/ 1056423 h 2076207"/>
              <a:gd name="csX15" fmla="*/ 235622 w 729419"/>
              <a:gd name="csY15" fmla="*/ 952675 h 2076207"/>
              <a:gd name="csX16" fmla="*/ 235445 w 729419"/>
              <a:gd name="csY16" fmla="*/ 780278 h 2076207"/>
              <a:gd name="csX17" fmla="*/ 214544 w 729419"/>
              <a:gd name="csY17" fmla="*/ 756435 h 2076207"/>
              <a:gd name="csX18" fmla="*/ 172569 w 729419"/>
              <a:gd name="csY18" fmla="*/ 742582 h 2076207"/>
              <a:gd name="csX19" fmla="*/ 168784 w 729419"/>
              <a:gd name="csY19" fmla="*/ 669116 h 2076207"/>
              <a:gd name="csX20" fmla="*/ 191657 w 729419"/>
              <a:gd name="csY20" fmla="*/ 630765 h 2076207"/>
              <a:gd name="csX21" fmla="*/ 208150 w 729419"/>
              <a:gd name="csY21" fmla="*/ 609084 h 2076207"/>
              <a:gd name="csX22" fmla="*/ 216756 w 729419"/>
              <a:gd name="csY22" fmla="*/ 558673 h 2076207"/>
              <a:gd name="csX23" fmla="*/ 209092 w 729419"/>
              <a:gd name="csY23" fmla="*/ 521540 h 2076207"/>
              <a:gd name="csX24" fmla="*/ 204683 w 729419"/>
              <a:gd name="csY24" fmla="*/ 474024 h 2076207"/>
              <a:gd name="csX25" fmla="*/ 115483 w 729419"/>
              <a:gd name="csY25" fmla="*/ 213499 h 2076207"/>
              <a:gd name="csX26" fmla="*/ 102909 w 729419"/>
              <a:gd name="csY26" fmla="*/ 182297 h 2076207"/>
              <a:gd name="csX27" fmla="*/ 104315 w 729419"/>
              <a:gd name="csY27" fmla="*/ 163968 h 2076207"/>
              <a:gd name="csX28" fmla="*/ 122444 w 729419"/>
              <a:gd name="csY28" fmla="*/ 160805 h 2076207"/>
              <a:gd name="csX29" fmla="*/ 170283 w 729419"/>
              <a:gd name="csY29" fmla="*/ 187783 h 2076207"/>
              <a:gd name="csX30" fmla="*/ 180938 w 729419"/>
              <a:gd name="csY30" fmla="*/ 195322 h 2076207"/>
              <a:gd name="csX31" fmla="*/ 221419 w 729419"/>
              <a:gd name="csY31" fmla="*/ 138058 h 2076207"/>
              <a:gd name="csX32" fmla="*/ 294099 w 729419"/>
              <a:gd name="csY32" fmla="*/ 91372 h 2076207"/>
              <a:gd name="csX33" fmla="*/ 302307 w 729419"/>
              <a:gd name="csY33" fmla="*/ 76560 h 2076207"/>
              <a:gd name="csX34" fmla="*/ 320284 w 729419"/>
              <a:gd name="csY34" fmla="*/ 8414 h 2076207"/>
              <a:gd name="csX35" fmla="*/ 324784 w 729419"/>
              <a:gd name="csY35" fmla="*/ 946 h 2076207"/>
              <a:gd name="csX36" fmla="*/ 399212 w 729419"/>
              <a:gd name="csY36" fmla="*/ 0 h 2076207"/>
              <a:gd name="csX37" fmla="*/ 425980 w 729419"/>
              <a:gd name="csY37" fmla="*/ 78301 h 2076207"/>
              <a:gd name="csX38" fmla="*/ 431861 w 729419"/>
              <a:gd name="csY38" fmla="*/ 90312 h 2076207"/>
              <a:gd name="csX39" fmla="*/ 540349 w 729419"/>
              <a:gd name="csY39" fmla="*/ 187946 h 2076207"/>
              <a:gd name="csX40" fmla="*/ 545555 w 729419"/>
              <a:gd name="csY40" fmla="*/ 197828 h 2076207"/>
              <a:gd name="csX41" fmla="*/ 587318 w 729419"/>
              <a:gd name="csY41" fmla="*/ 171260 h 2076207"/>
              <a:gd name="csX42" fmla="*/ 601503 w 729419"/>
              <a:gd name="csY42" fmla="*/ 163707 h 2076207"/>
              <a:gd name="csX43" fmla="*/ 625254 w 729419"/>
              <a:gd name="csY43" fmla="*/ 163123 h 2076207"/>
              <a:gd name="csX44" fmla="*/ 625468 w 729419"/>
              <a:gd name="csY44" fmla="*/ 187579 h 2076207"/>
              <a:gd name="csX45" fmla="*/ 597543 w 729419"/>
              <a:gd name="csY45" fmla="*/ 251872 h 2076207"/>
              <a:gd name="csX46" fmla="*/ 531831 w 729419"/>
              <a:gd name="csY46" fmla="*/ 442689 h 2076207"/>
              <a:gd name="csX47" fmla="*/ 519888 w 729419"/>
              <a:gd name="csY47" fmla="*/ 501474 h 2076207"/>
              <a:gd name="csX48" fmla="*/ 522506 w 729419"/>
              <a:gd name="csY48" fmla="*/ 525086 h 2076207"/>
              <a:gd name="csX49" fmla="*/ 516235 w 729419"/>
              <a:gd name="csY49" fmla="*/ 555946 h 2076207"/>
              <a:gd name="csX50" fmla="*/ 521332 w 729419"/>
              <a:gd name="csY50" fmla="*/ 610676 h 2076207"/>
              <a:gd name="csX51" fmla="*/ 541382 w 729419"/>
              <a:gd name="csY51" fmla="*/ 642597 h 2076207"/>
              <a:gd name="csX52" fmla="*/ 557031 w 729419"/>
              <a:gd name="csY52" fmla="*/ 667949 h 2076207"/>
              <a:gd name="csX53" fmla="*/ 553994 w 729419"/>
              <a:gd name="csY53" fmla="*/ 744146 h 2076207"/>
              <a:gd name="csX54" fmla="*/ 508215 w 729419"/>
              <a:gd name="csY54" fmla="*/ 758841 h 2076207"/>
              <a:gd name="csX55" fmla="*/ 497442 w 729419"/>
              <a:gd name="csY55" fmla="*/ 771256 h 2076207"/>
              <a:gd name="csX56" fmla="*/ 493005 w 729419"/>
              <a:gd name="csY56" fmla="*/ 922055 h 2076207"/>
              <a:gd name="csX57" fmla="*/ 502900 w 729419"/>
              <a:gd name="csY57" fmla="*/ 1114191 h 2076207"/>
              <a:gd name="csX58" fmla="*/ 508800 w 729419"/>
              <a:gd name="csY58" fmla="*/ 1205474 h 2076207"/>
              <a:gd name="csX59" fmla="*/ 522952 w 729419"/>
              <a:gd name="csY59" fmla="*/ 1320065 h 2076207"/>
              <a:gd name="csX60" fmla="*/ 554682 w 729419"/>
              <a:gd name="csY60" fmla="*/ 1501203 h 2076207"/>
              <a:gd name="csX61" fmla="*/ 576958 w 729419"/>
              <a:gd name="csY61" fmla="*/ 1593963 h 2076207"/>
              <a:gd name="csX62" fmla="*/ 595349 w 729419"/>
              <a:gd name="csY62" fmla="*/ 1613498 h 2076207"/>
              <a:gd name="csX63" fmla="*/ 613936 w 729419"/>
              <a:gd name="csY63" fmla="*/ 1624058 h 2076207"/>
              <a:gd name="csX64" fmla="*/ 620938 w 729419"/>
              <a:gd name="csY64" fmla="*/ 1652071 h 2076207"/>
              <a:gd name="csX65" fmla="*/ 630805 w 729419"/>
              <a:gd name="csY65" fmla="*/ 1721702 h 2076207"/>
              <a:gd name="csX66" fmla="*/ 685830 w 729419"/>
              <a:gd name="csY66" fmla="*/ 1792915 h 2076207"/>
              <a:gd name="csX67" fmla="*/ 708904 w 729419"/>
              <a:gd name="csY67" fmla="*/ 1890290 h 2076207"/>
              <a:gd name="csX68" fmla="*/ 716580 w 729419"/>
              <a:gd name="csY68" fmla="*/ 1951136 h 2076207"/>
              <a:gd name="csX69" fmla="*/ 729397 w 729419"/>
              <a:gd name="csY69" fmla="*/ 2030261 h 2076207"/>
              <a:gd name="csX70" fmla="*/ 714212 w 729419"/>
              <a:gd name="csY70" fmla="*/ 2049544 h 2076207"/>
              <a:gd name="csX71" fmla="*/ 645428 w 729419"/>
              <a:gd name="csY71" fmla="*/ 2070825 h 2076207"/>
              <a:gd name="csX72" fmla="*/ 635822 w 729419"/>
              <a:gd name="csY72" fmla="*/ 2075145 h 2076207"/>
              <a:gd name="csX73" fmla="*/ 588428 w 729419"/>
              <a:gd name="csY73" fmla="*/ 2075144 h 2076207"/>
              <a:gd name="csX74" fmla="*/ 590041 w 729419"/>
              <a:gd name="csY74" fmla="*/ 2071383 h 2076207"/>
              <a:gd name="csX75" fmla="*/ 667788 w 729419"/>
              <a:gd name="csY75" fmla="*/ 2056852 h 2076207"/>
              <a:gd name="csX76" fmla="*/ 706629 w 729419"/>
              <a:gd name="csY76" fmla="*/ 2044290 h 2076207"/>
              <a:gd name="csX77" fmla="*/ 702674 w 729419"/>
              <a:gd name="csY77" fmla="*/ 2041581 h 2076207"/>
              <a:gd name="csX78" fmla="*/ 544974 w 729419"/>
              <a:gd name="csY78" fmla="*/ 2071274 h 2076207"/>
              <a:gd name="csX79" fmla="*/ 96263 w 729419"/>
              <a:gd name="csY79" fmla="*/ 2076207 h 2076207"/>
              <a:gd name="csX80" fmla="*/ 489970 w 729419"/>
              <a:gd name="csY80" fmla="*/ 152208 h 2076207"/>
              <a:gd name="csX81" fmla="*/ 490754 w 729419"/>
              <a:gd name="csY81" fmla="*/ 152592 h 2076207"/>
              <a:gd name="csX82" fmla="*/ 489489 w 729419"/>
              <a:gd name="csY82" fmla="*/ 149547 h 2076207"/>
              <a:gd name="csX83" fmla="*/ 393621 w 729419"/>
              <a:gd name="csY83" fmla="*/ 99259 h 2076207"/>
              <a:gd name="csX84" fmla="*/ 390419 w 729419"/>
              <a:gd name="csY84" fmla="*/ 18568 h 2076207"/>
              <a:gd name="csX85" fmla="*/ 334131 w 729419"/>
              <a:gd name="csY85" fmla="*/ 24327 h 2076207"/>
              <a:gd name="csX86" fmla="*/ 344678 w 729419"/>
              <a:gd name="csY86" fmla="*/ 101259 h 2076207"/>
              <a:gd name="csX87" fmla="*/ 298854 w 729419"/>
              <a:gd name="csY87" fmla="*/ 114003 h 2076207"/>
              <a:gd name="csX88" fmla="*/ 237456 w 729419"/>
              <a:gd name="csY88" fmla="*/ 154340 h 2076207"/>
              <a:gd name="csX89" fmla="*/ 240382 w 729419"/>
              <a:gd name="csY89" fmla="*/ 154035 h 2076207"/>
              <a:gd name="csX90" fmla="*/ 262731 w 729419"/>
              <a:gd name="csY90" fmla="*/ 170426 h 2076207"/>
              <a:gd name="csX91" fmla="*/ 279169 w 729419"/>
              <a:gd name="csY91" fmla="*/ 193173 h 2076207"/>
              <a:gd name="csX92" fmla="*/ 327717 w 729419"/>
              <a:gd name="csY92" fmla="*/ 188556 h 2076207"/>
              <a:gd name="csX93" fmla="*/ 348052 w 729419"/>
              <a:gd name="csY93" fmla="*/ 156919 h 2076207"/>
              <a:gd name="csX94" fmla="*/ 380330 w 729419"/>
              <a:gd name="csY94" fmla="*/ 156483 h 2076207"/>
              <a:gd name="csX95" fmla="*/ 408490 w 729419"/>
              <a:gd name="csY95" fmla="*/ 195400 h 2076207"/>
              <a:gd name="csX96" fmla="*/ 445346 w 729419"/>
              <a:gd name="csY96" fmla="*/ 197582 h 2076207"/>
              <a:gd name="csX97" fmla="*/ 464798 w 729419"/>
              <a:gd name="csY97" fmla="*/ 174107 h 2076207"/>
              <a:gd name="csX98" fmla="*/ 489970 w 729419"/>
              <a:gd name="csY98" fmla="*/ 152208 h 2076207"/>
              <a:gd name="csX99" fmla="*/ 140694 w 729419"/>
              <a:gd name="csY99" fmla="*/ 201837 h 2076207"/>
              <a:gd name="csX100" fmla="*/ 139834 w 729419"/>
              <a:gd name="csY100" fmla="*/ 201482 h 2076207"/>
              <a:gd name="csX101" fmla="*/ 140812 w 729419"/>
              <a:gd name="csY101" fmla="*/ 204941 h 2076207"/>
              <a:gd name="csX102" fmla="*/ 144631 w 729419"/>
              <a:gd name="csY102" fmla="*/ 217811 h 2076207"/>
              <a:gd name="csX103" fmla="*/ 201241 w 729419"/>
              <a:gd name="csY103" fmla="*/ 373387 h 2076207"/>
              <a:gd name="csX104" fmla="*/ 235971 w 729419"/>
              <a:gd name="csY104" fmla="*/ 504451 h 2076207"/>
              <a:gd name="csX105" fmla="*/ 247475 w 729419"/>
              <a:gd name="csY105" fmla="*/ 513241 h 2076207"/>
              <a:gd name="csX106" fmla="*/ 289066 w 729419"/>
              <a:gd name="csY106" fmla="*/ 511170 h 2076207"/>
              <a:gd name="csX107" fmla="*/ 378229 w 729419"/>
              <a:gd name="csY107" fmla="*/ 511084 h 2076207"/>
              <a:gd name="csX108" fmla="*/ 470850 w 729419"/>
              <a:gd name="csY108" fmla="*/ 516341 h 2076207"/>
              <a:gd name="csX109" fmla="*/ 492933 w 729419"/>
              <a:gd name="csY109" fmla="*/ 497969 h 2076207"/>
              <a:gd name="csX110" fmla="*/ 557617 w 729419"/>
              <a:gd name="csY110" fmla="*/ 280398 h 2076207"/>
              <a:gd name="csX111" fmla="*/ 588788 w 729419"/>
              <a:gd name="csY111" fmla="*/ 200385 h 2076207"/>
              <a:gd name="csX112" fmla="*/ 530958 w 729419"/>
              <a:gd name="csY112" fmla="*/ 232968 h 2076207"/>
              <a:gd name="csX113" fmla="*/ 483823 w 729419"/>
              <a:gd name="csY113" fmla="*/ 190364 h 2076207"/>
              <a:gd name="csX114" fmla="*/ 466649 w 729419"/>
              <a:gd name="csY114" fmla="*/ 209061 h 2076207"/>
              <a:gd name="csX115" fmla="*/ 399941 w 729419"/>
              <a:gd name="csY115" fmla="*/ 216988 h 2076207"/>
              <a:gd name="csX116" fmla="*/ 363018 w 729419"/>
              <a:gd name="csY116" fmla="*/ 179615 h 2076207"/>
              <a:gd name="csX117" fmla="*/ 308839 w 729419"/>
              <a:gd name="csY117" fmla="*/ 227846 h 2076207"/>
              <a:gd name="csX118" fmla="*/ 245077 w 729419"/>
              <a:gd name="csY118" fmla="*/ 192402 h 2076207"/>
              <a:gd name="csX119" fmla="*/ 242829 w 729419"/>
              <a:gd name="csY119" fmla="*/ 198815 h 2076207"/>
              <a:gd name="csX120" fmla="*/ 168452 w 729419"/>
              <a:gd name="csY120" fmla="*/ 219348 h 2076207"/>
              <a:gd name="csX121" fmla="*/ 140694 w 729419"/>
              <a:gd name="csY121" fmla="*/ 201837 h 2076207"/>
              <a:gd name="csX122" fmla="*/ 259999 w 729419"/>
              <a:gd name="csY122" fmla="*/ 966699 h 2076207"/>
              <a:gd name="csX123" fmla="*/ 257072 w 729419"/>
              <a:gd name="csY123" fmla="*/ 1070424 h 2076207"/>
              <a:gd name="csX124" fmla="*/ 251372 w 729419"/>
              <a:gd name="csY124" fmla="*/ 1157618 h 2076207"/>
              <a:gd name="csX125" fmla="*/ 232677 w 729419"/>
              <a:gd name="csY125" fmla="*/ 1320279 h 2076207"/>
              <a:gd name="csX126" fmla="*/ 209182 w 729419"/>
              <a:gd name="csY126" fmla="*/ 1468667 h 2076207"/>
              <a:gd name="csX127" fmla="*/ 175302 w 729419"/>
              <a:gd name="csY127" fmla="*/ 1616623 h 2076207"/>
              <a:gd name="csX128" fmla="*/ 182769 w 729419"/>
              <a:gd name="csY128" fmla="*/ 1629786 h 2076207"/>
              <a:gd name="csX129" fmla="*/ 212156 w 729419"/>
              <a:gd name="csY129" fmla="*/ 1632656 h 2076207"/>
              <a:gd name="csX130" fmla="*/ 351295 w 729419"/>
              <a:gd name="csY130" fmla="*/ 1632801 h 2076207"/>
              <a:gd name="csX131" fmla="*/ 376150 w 729419"/>
              <a:gd name="csY131" fmla="*/ 1608307 h 2076207"/>
              <a:gd name="csX132" fmla="*/ 373450 w 729419"/>
              <a:gd name="csY132" fmla="*/ 1457291 h 2076207"/>
              <a:gd name="csX133" fmla="*/ 370936 w 729419"/>
              <a:gd name="csY133" fmla="*/ 1342736 h 2076207"/>
              <a:gd name="csX134" fmla="*/ 368328 w 729419"/>
              <a:gd name="csY134" fmla="*/ 1203878 h 2076207"/>
              <a:gd name="csX135" fmla="*/ 367836 w 729419"/>
              <a:gd name="csY135" fmla="*/ 813478 h 2076207"/>
              <a:gd name="csX136" fmla="*/ 365240 w 729419"/>
              <a:gd name="csY136" fmla="*/ 773243 h 2076207"/>
              <a:gd name="csX137" fmla="*/ 353084 w 729419"/>
              <a:gd name="csY137" fmla="*/ 762083 h 2076207"/>
              <a:gd name="csX138" fmla="*/ 280966 w 729419"/>
              <a:gd name="csY138" fmla="*/ 759855 h 2076207"/>
              <a:gd name="csX139" fmla="*/ 259965 w 729419"/>
              <a:gd name="csY139" fmla="*/ 779553 h 2076207"/>
              <a:gd name="csX140" fmla="*/ 262341 w 729419"/>
              <a:gd name="csY140" fmla="*/ 856275 h 2076207"/>
              <a:gd name="csX141" fmla="*/ 259999 w 729419"/>
              <a:gd name="csY141" fmla="*/ 966699 h 2076207"/>
              <a:gd name="csX142" fmla="*/ 55556 w 729419"/>
              <a:gd name="csY142" fmla="*/ 1835827 h 2076207"/>
              <a:gd name="csX143" fmla="*/ 49393 w 729419"/>
              <a:gd name="csY143" fmla="*/ 1878155 h 2076207"/>
              <a:gd name="csX144" fmla="*/ 73949 w 729419"/>
              <a:gd name="csY144" fmla="*/ 1905781 h 2076207"/>
              <a:gd name="csX145" fmla="*/ 110073 w 729419"/>
              <a:gd name="csY145" fmla="*/ 1909068 h 2076207"/>
              <a:gd name="csX146" fmla="*/ 224745 w 729419"/>
              <a:gd name="csY146" fmla="*/ 1921652 h 2076207"/>
              <a:gd name="csX147" fmla="*/ 347327 w 729419"/>
              <a:gd name="csY147" fmla="*/ 1924778 h 2076207"/>
              <a:gd name="csX148" fmla="*/ 363345 w 729419"/>
              <a:gd name="csY148" fmla="*/ 1923293 h 2076207"/>
              <a:gd name="csX149" fmla="*/ 373787 w 729419"/>
              <a:gd name="csY149" fmla="*/ 1911200 h 2076207"/>
              <a:gd name="csX150" fmla="*/ 376623 w 729419"/>
              <a:gd name="csY150" fmla="*/ 1696741 h 2076207"/>
              <a:gd name="csX151" fmla="*/ 360437 w 729419"/>
              <a:gd name="csY151" fmla="*/ 1681289 h 2076207"/>
              <a:gd name="csX152" fmla="*/ 263503 w 729419"/>
              <a:gd name="csY152" fmla="*/ 1678179 h 2076207"/>
              <a:gd name="csX153" fmla="*/ 160381 w 729419"/>
              <a:gd name="csY153" fmla="*/ 1670405 h 2076207"/>
              <a:gd name="csX154" fmla="*/ 143321 w 729419"/>
              <a:gd name="csY154" fmla="*/ 1685538 h 2076207"/>
              <a:gd name="csX155" fmla="*/ 124769 w 729419"/>
              <a:gd name="csY155" fmla="*/ 1738195 h 2076207"/>
              <a:gd name="csX156" fmla="*/ 90593 w 729419"/>
              <a:gd name="csY156" fmla="*/ 1779570 h 2076207"/>
              <a:gd name="csX157" fmla="*/ 55556 w 729419"/>
              <a:gd name="csY157" fmla="*/ 1835827 h 2076207"/>
              <a:gd name="csX158" fmla="*/ 378900 w 729419"/>
              <a:gd name="csY158" fmla="*/ 2007280 h 2076207"/>
              <a:gd name="csX159" fmla="*/ 378887 w 729419"/>
              <a:gd name="csY159" fmla="*/ 1995127 h 2076207"/>
              <a:gd name="csX160" fmla="*/ 359084 w 729419"/>
              <a:gd name="csY160" fmla="*/ 1975964 h 2076207"/>
              <a:gd name="csX161" fmla="*/ 247288 w 729419"/>
              <a:gd name="csY161" fmla="*/ 1973305 h 2076207"/>
              <a:gd name="csX162" fmla="*/ 201692 w 729419"/>
              <a:gd name="csY162" fmla="*/ 1970275 h 2076207"/>
              <a:gd name="csX163" fmla="*/ 57962 w 729419"/>
              <a:gd name="csY163" fmla="*/ 1952648 h 2076207"/>
              <a:gd name="csX164" fmla="*/ 39194 w 729419"/>
              <a:gd name="csY164" fmla="*/ 1963552 h 2076207"/>
              <a:gd name="csX165" fmla="*/ 30066 w 729419"/>
              <a:gd name="csY165" fmla="*/ 2006631 h 2076207"/>
              <a:gd name="csX166" fmla="*/ 40232 w 729419"/>
              <a:gd name="csY166" fmla="*/ 2019486 h 2076207"/>
              <a:gd name="csX167" fmla="*/ 238186 w 729419"/>
              <a:gd name="csY167" fmla="*/ 2046096 h 2076207"/>
              <a:gd name="csX168" fmla="*/ 342155 w 729419"/>
              <a:gd name="csY168" fmla="*/ 2046441 h 2076207"/>
              <a:gd name="csX169" fmla="*/ 378900 w 729419"/>
              <a:gd name="csY169" fmla="*/ 2007280 h 2076207"/>
              <a:gd name="csX170" fmla="*/ 310220 w 729419"/>
              <a:gd name="csY170" fmla="*/ 554288 h 2076207"/>
              <a:gd name="csX171" fmla="*/ 259136 w 729419"/>
              <a:gd name="csY171" fmla="*/ 556881 h 2076207"/>
              <a:gd name="csX172" fmla="*/ 249085 w 729419"/>
              <a:gd name="csY172" fmla="*/ 567981 h 2076207"/>
              <a:gd name="csX173" fmla="*/ 249141 w 729419"/>
              <a:gd name="csY173" fmla="*/ 605644 h 2076207"/>
              <a:gd name="csX174" fmla="*/ 262628 w 729419"/>
              <a:gd name="csY174" fmla="*/ 605627 h 2076207"/>
              <a:gd name="csX175" fmla="*/ 369608 w 729419"/>
              <a:gd name="csY175" fmla="*/ 603027 h 2076207"/>
              <a:gd name="csX176" fmla="*/ 463931 w 729419"/>
              <a:gd name="csY176" fmla="*/ 605146 h 2076207"/>
              <a:gd name="csX177" fmla="*/ 478113 w 729419"/>
              <a:gd name="csY177" fmla="*/ 595843 h 2076207"/>
              <a:gd name="csX178" fmla="*/ 478796 w 729419"/>
              <a:gd name="csY178" fmla="*/ 556832 h 2076207"/>
              <a:gd name="csX179" fmla="*/ 310220 w 729419"/>
              <a:gd name="csY179" fmla="*/ 554288 h 2076207"/>
              <a:gd name="csX180" fmla="*/ 348836 w 729419"/>
              <a:gd name="csY180" fmla="*/ 684115 h 2076207"/>
              <a:gd name="csX181" fmla="*/ 281333 w 729419"/>
              <a:gd name="csY181" fmla="*/ 683313 h 2076207"/>
              <a:gd name="csX182" fmla="*/ 212728 w 729419"/>
              <a:gd name="csY182" fmla="*/ 681931 h 2076207"/>
              <a:gd name="csX183" fmla="*/ 187283 w 729419"/>
              <a:gd name="csY183" fmla="*/ 689555 h 2076207"/>
              <a:gd name="csX184" fmla="*/ 186163 w 729419"/>
              <a:gd name="csY184" fmla="*/ 718266 h 2076207"/>
              <a:gd name="csX185" fmla="*/ 209894 w 729419"/>
              <a:gd name="csY185" fmla="*/ 726798 h 2076207"/>
              <a:gd name="csX186" fmla="*/ 334814 w 729419"/>
              <a:gd name="csY186" fmla="*/ 732494 h 2076207"/>
              <a:gd name="csX187" fmla="*/ 364856 w 729419"/>
              <a:gd name="csY187" fmla="*/ 707963 h 2076207"/>
              <a:gd name="csX188" fmla="*/ 348836 w 729419"/>
              <a:gd name="csY188" fmla="*/ 684115 h 2076207"/>
              <a:gd name="csX189" fmla="*/ 298865 w 729419"/>
              <a:gd name="csY189" fmla="*/ 621954 h 2076207"/>
              <a:gd name="csX190" fmla="*/ 251619 w 729419"/>
              <a:gd name="csY190" fmla="*/ 622133 h 2076207"/>
              <a:gd name="csX191" fmla="*/ 214459 w 729419"/>
              <a:gd name="csY191" fmla="*/ 636230 h 2076207"/>
              <a:gd name="csX192" fmla="*/ 221436 w 729419"/>
              <a:gd name="csY192" fmla="*/ 654205 h 2076207"/>
              <a:gd name="csX193" fmla="*/ 272412 w 729419"/>
              <a:gd name="csY193" fmla="*/ 657250 h 2076207"/>
              <a:gd name="csX194" fmla="*/ 349094 w 729419"/>
              <a:gd name="csY194" fmla="*/ 659282 h 2076207"/>
              <a:gd name="csX195" fmla="*/ 362996 w 729419"/>
              <a:gd name="csY195" fmla="*/ 644234 h 2076207"/>
              <a:gd name="csX196" fmla="*/ 348472 w 729419"/>
              <a:gd name="csY196" fmla="*/ 624649 h 2076207"/>
              <a:gd name="csX197" fmla="*/ 298865 w 729419"/>
              <a:gd name="csY197" fmla="*/ 621954 h 2076207"/>
              <a:gd name="csX198" fmla="*/ 227796 w 729419"/>
              <a:gd name="csY198" fmla="*/ 528000 h 2076207"/>
              <a:gd name="csX199" fmla="*/ 241009 w 729419"/>
              <a:gd name="csY199" fmla="*/ 545897 h 2076207"/>
              <a:gd name="csX200" fmla="*/ 282607 w 729419"/>
              <a:gd name="csY200" fmla="*/ 543480 h 2076207"/>
              <a:gd name="csX201" fmla="*/ 354213 w 729419"/>
              <a:gd name="csY201" fmla="*/ 543384 h 2076207"/>
              <a:gd name="csX202" fmla="*/ 365334 w 729419"/>
              <a:gd name="csY202" fmla="*/ 533397 h 2076207"/>
              <a:gd name="csX203" fmla="*/ 354531 w 729419"/>
              <a:gd name="csY203" fmla="*/ 521620 h 2076207"/>
              <a:gd name="csX204" fmla="*/ 259169 w 729419"/>
              <a:gd name="csY204" fmla="*/ 521978 h 2076207"/>
              <a:gd name="csX205" fmla="*/ 227796 w 729419"/>
              <a:gd name="csY205" fmla="*/ 528000 h 2076207"/>
              <a:gd name="csX206" fmla="*/ 508068 w 729419"/>
              <a:gd name="csY206" fmla="*/ 190710 h 2076207"/>
              <a:gd name="csX207" fmla="*/ 521293 w 729419"/>
              <a:gd name="csY207" fmla="*/ 205907 h 2076207"/>
              <a:gd name="csX208" fmla="*/ 525175 w 729419"/>
              <a:gd name="csY208" fmla="*/ 202985 h 2076207"/>
              <a:gd name="csX209" fmla="*/ 500276 w 729419"/>
              <a:gd name="csY209" fmla="*/ 160640 h 2076207"/>
              <a:gd name="csX210" fmla="*/ 497122 w 729419"/>
              <a:gd name="csY210" fmla="*/ 162007 h 2076207"/>
              <a:gd name="csX211" fmla="*/ 508068 w 729419"/>
              <a:gd name="csY211" fmla="*/ 190710 h 2076207"/>
              <a:gd name="csX212" fmla="*/ 215522 w 729419"/>
              <a:gd name="csY212" fmla="*/ 197296 h 2076207"/>
              <a:gd name="csX213" fmla="*/ 234029 w 729419"/>
              <a:gd name="csY213" fmla="*/ 162725 h 2076207"/>
              <a:gd name="csX214" fmla="*/ 229000 w 729419"/>
              <a:gd name="csY214" fmla="*/ 159902 h 2076207"/>
              <a:gd name="csX215" fmla="*/ 204824 w 729419"/>
              <a:gd name="csY215" fmla="*/ 199677 h 2076207"/>
              <a:gd name="csX216" fmla="*/ 207990 w 729419"/>
              <a:gd name="csY216" fmla="*/ 202198 h 2076207"/>
              <a:gd name="csX217" fmla="*/ 215522 w 729419"/>
              <a:gd name="csY217" fmla="*/ 197296 h 2076207"/>
              <a:gd name="csX218" fmla="*/ 484400 w 729419"/>
              <a:gd name="csY218" fmla="*/ 896678 h 2076207"/>
              <a:gd name="csX219" fmla="*/ 486181 w 729419"/>
              <a:gd name="csY219" fmla="*/ 896585 h 2076207"/>
              <a:gd name="csX220" fmla="*/ 486181 w 729419"/>
              <a:gd name="csY220" fmla="*/ 795289 h 2076207"/>
              <a:gd name="csX221" fmla="*/ 720241 w 729419"/>
              <a:gd name="csY221" fmla="*/ 2030666 h 2076207"/>
              <a:gd name="csX222" fmla="*/ 721175 w 729419"/>
              <a:gd name="csY222" fmla="*/ 2029733 h 2076207"/>
              <a:gd name="csX223" fmla="*/ 720241 w 729419"/>
              <a:gd name="csY223" fmla="*/ 2030666 h 2076207"/>
              <a:gd name="csX224" fmla="*/ 715702 w 729419"/>
              <a:gd name="csY224" fmla="*/ 2037051 h 2076207"/>
              <a:gd name="csX225" fmla="*/ 715702 w 729419"/>
              <a:gd name="csY225" fmla="*/ 2037051 h 2076207"/>
              <a:gd name="csX0" fmla="*/ 96263 w 748195"/>
              <a:gd name="csY0" fmla="*/ 2076207 h 2076207"/>
              <a:gd name="csX1" fmla="*/ 63862 w 748195"/>
              <a:gd name="csY1" fmla="*/ 2065388 h 2076207"/>
              <a:gd name="csX2" fmla="*/ 16555 w 748195"/>
              <a:gd name="csY2" fmla="*/ 2050152 h 2076207"/>
              <a:gd name="csX3" fmla="*/ 15 w 748195"/>
              <a:gd name="csY3" fmla="*/ 2023802 h 2076207"/>
              <a:gd name="csX4" fmla="*/ 18368 w 748195"/>
              <a:gd name="csY4" fmla="*/ 1940709 h 2076207"/>
              <a:gd name="csX5" fmla="*/ 22139 w 748195"/>
              <a:gd name="csY5" fmla="*/ 1907268 h 2076207"/>
              <a:gd name="csX6" fmla="*/ 57941 w 748195"/>
              <a:gd name="csY6" fmla="*/ 1774163 h 2076207"/>
              <a:gd name="csX7" fmla="*/ 102478 w 748195"/>
              <a:gd name="csY7" fmla="*/ 1720275 h 2076207"/>
              <a:gd name="csX8" fmla="*/ 108579 w 748195"/>
              <a:gd name="csY8" fmla="*/ 1650967 h 2076207"/>
              <a:gd name="csX9" fmla="*/ 115628 w 748195"/>
              <a:gd name="csY9" fmla="*/ 1625405 h 2076207"/>
              <a:gd name="csX10" fmla="*/ 156323 w 748195"/>
              <a:gd name="csY10" fmla="*/ 1560181 h 2076207"/>
              <a:gd name="csX11" fmla="*/ 199424 w 748195"/>
              <a:gd name="csY11" fmla="*/ 1364729 h 2076207"/>
              <a:gd name="csX12" fmla="*/ 216779 w 748195"/>
              <a:gd name="csY12" fmla="*/ 1219490 h 2076207"/>
              <a:gd name="csX13" fmla="*/ 229755 w 748195"/>
              <a:gd name="csY13" fmla="*/ 1099357 h 2076207"/>
              <a:gd name="csX14" fmla="*/ 232707 w 748195"/>
              <a:gd name="csY14" fmla="*/ 1056423 h 2076207"/>
              <a:gd name="csX15" fmla="*/ 235622 w 748195"/>
              <a:gd name="csY15" fmla="*/ 952675 h 2076207"/>
              <a:gd name="csX16" fmla="*/ 235445 w 748195"/>
              <a:gd name="csY16" fmla="*/ 780278 h 2076207"/>
              <a:gd name="csX17" fmla="*/ 214544 w 748195"/>
              <a:gd name="csY17" fmla="*/ 756435 h 2076207"/>
              <a:gd name="csX18" fmla="*/ 172569 w 748195"/>
              <a:gd name="csY18" fmla="*/ 742582 h 2076207"/>
              <a:gd name="csX19" fmla="*/ 168784 w 748195"/>
              <a:gd name="csY19" fmla="*/ 669116 h 2076207"/>
              <a:gd name="csX20" fmla="*/ 191657 w 748195"/>
              <a:gd name="csY20" fmla="*/ 630765 h 2076207"/>
              <a:gd name="csX21" fmla="*/ 208150 w 748195"/>
              <a:gd name="csY21" fmla="*/ 609084 h 2076207"/>
              <a:gd name="csX22" fmla="*/ 216756 w 748195"/>
              <a:gd name="csY22" fmla="*/ 558673 h 2076207"/>
              <a:gd name="csX23" fmla="*/ 209092 w 748195"/>
              <a:gd name="csY23" fmla="*/ 521540 h 2076207"/>
              <a:gd name="csX24" fmla="*/ 204683 w 748195"/>
              <a:gd name="csY24" fmla="*/ 474024 h 2076207"/>
              <a:gd name="csX25" fmla="*/ 115483 w 748195"/>
              <a:gd name="csY25" fmla="*/ 213499 h 2076207"/>
              <a:gd name="csX26" fmla="*/ 102909 w 748195"/>
              <a:gd name="csY26" fmla="*/ 182297 h 2076207"/>
              <a:gd name="csX27" fmla="*/ 104315 w 748195"/>
              <a:gd name="csY27" fmla="*/ 163968 h 2076207"/>
              <a:gd name="csX28" fmla="*/ 122444 w 748195"/>
              <a:gd name="csY28" fmla="*/ 160805 h 2076207"/>
              <a:gd name="csX29" fmla="*/ 170283 w 748195"/>
              <a:gd name="csY29" fmla="*/ 187783 h 2076207"/>
              <a:gd name="csX30" fmla="*/ 180938 w 748195"/>
              <a:gd name="csY30" fmla="*/ 195322 h 2076207"/>
              <a:gd name="csX31" fmla="*/ 221419 w 748195"/>
              <a:gd name="csY31" fmla="*/ 138058 h 2076207"/>
              <a:gd name="csX32" fmla="*/ 294099 w 748195"/>
              <a:gd name="csY32" fmla="*/ 91372 h 2076207"/>
              <a:gd name="csX33" fmla="*/ 302307 w 748195"/>
              <a:gd name="csY33" fmla="*/ 76560 h 2076207"/>
              <a:gd name="csX34" fmla="*/ 320284 w 748195"/>
              <a:gd name="csY34" fmla="*/ 8414 h 2076207"/>
              <a:gd name="csX35" fmla="*/ 324784 w 748195"/>
              <a:gd name="csY35" fmla="*/ 946 h 2076207"/>
              <a:gd name="csX36" fmla="*/ 399212 w 748195"/>
              <a:gd name="csY36" fmla="*/ 0 h 2076207"/>
              <a:gd name="csX37" fmla="*/ 425980 w 748195"/>
              <a:gd name="csY37" fmla="*/ 78301 h 2076207"/>
              <a:gd name="csX38" fmla="*/ 431861 w 748195"/>
              <a:gd name="csY38" fmla="*/ 90312 h 2076207"/>
              <a:gd name="csX39" fmla="*/ 540349 w 748195"/>
              <a:gd name="csY39" fmla="*/ 187946 h 2076207"/>
              <a:gd name="csX40" fmla="*/ 545555 w 748195"/>
              <a:gd name="csY40" fmla="*/ 197828 h 2076207"/>
              <a:gd name="csX41" fmla="*/ 587318 w 748195"/>
              <a:gd name="csY41" fmla="*/ 171260 h 2076207"/>
              <a:gd name="csX42" fmla="*/ 601503 w 748195"/>
              <a:gd name="csY42" fmla="*/ 163707 h 2076207"/>
              <a:gd name="csX43" fmla="*/ 625254 w 748195"/>
              <a:gd name="csY43" fmla="*/ 163123 h 2076207"/>
              <a:gd name="csX44" fmla="*/ 625468 w 748195"/>
              <a:gd name="csY44" fmla="*/ 187579 h 2076207"/>
              <a:gd name="csX45" fmla="*/ 597543 w 748195"/>
              <a:gd name="csY45" fmla="*/ 251872 h 2076207"/>
              <a:gd name="csX46" fmla="*/ 531831 w 748195"/>
              <a:gd name="csY46" fmla="*/ 442689 h 2076207"/>
              <a:gd name="csX47" fmla="*/ 519888 w 748195"/>
              <a:gd name="csY47" fmla="*/ 501474 h 2076207"/>
              <a:gd name="csX48" fmla="*/ 522506 w 748195"/>
              <a:gd name="csY48" fmla="*/ 525086 h 2076207"/>
              <a:gd name="csX49" fmla="*/ 516235 w 748195"/>
              <a:gd name="csY49" fmla="*/ 555946 h 2076207"/>
              <a:gd name="csX50" fmla="*/ 521332 w 748195"/>
              <a:gd name="csY50" fmla="*/ 610676 h 2076207"/>
              <a:gd name="csX51" fmla="*/ 541382 w 748195"/>
              <a:gd name="csY51" fmla="*/ 642597 h 2076207"/>
              <a:gd name="csX52" fmla="*/ 557031 w 748195"/>
              <a:gd name="csY52" fmla="*/ 667949 h 2076207"/>
              <a:gd name="csX53" fmla="*/ 553994 w 748195"/>
              <a:gd name="csY53" fmla="*/ 744146 h 2076207"/>
              <a:gd name="csX54" fmla="*/ 508215 w 748195"/>
              <a:gd name="csY54" fmla="*/ 758841 h 2076207"/>
              <a:gd name="csX55" fmla="*/ 497442 w 748195"/>
              <a:gd name="csY55" fmla="*/ 771256 h 2076207"/>
              <a:gd name="csX56" fmla="*/ 493005 w 748195"/>
              <a:gd name="csY56" fmla="*/ 922055 h 2076207"/>
              <a:gd name="csX57" fmla="*/ 502900 w 748195"/>
              <a:gd name="csY57" fmla="*/ 1114191 h 2076207"/>
              <a:gd name="csX58" fmla="*/ 508800 w 748195"/>
              <a:gd name="csY58" fmla="*/ 1205474 h 2076207"/>
              <a:gd name="csX59" fmla="*/ 522952 w 748195"/>
              <a:gd name="csY59" fmla="*/ 1320065 h 2076207"/>
              <a:gd name="csX60" fmla="*/ 554682 w 748195"/>
              <a:gd name="csY60" fmla="*/ 1501203 h 2076207"/>
              <a:gd name="csX61" fmla="*/ 576958 w 748195"/>
              <a:gd name="csY61" fmla="*/ 1593963 h 2076207"/>
              <a:gd name="csX62" fmla="*/ 595349 w 748195"/>
              <a:gd name="csY62" fmla="*/ 1613498 h 2076207"/>
              <a:gd name="csX63" fmla="*/ 613936 w 748195"/>
              <a:gd name="csY63" fmla="*/ 1624058 h 2076207"/>
              <a:gd name="csX64" fmla="*/ 620938 w 748195"/>
              <a:gd name="csY64" fmla="*/ 1652071 h 2076207"/>
              <a:gd name="csX65" fmla="*/ 630805 w 748195"/>
              <a:gd name="csY65" fmla="*/ 1721702 h 2076207"/>
              <a:gd name="csX66" fmla="*/ 685830 w 748195"/>
              <a:gd name="csY66" fmla="*/ 1792915 h 2076207"/>
              <a:gd name="csX67" fmla="*/ 708904 w 748195"/>
              <a:gd name="csY67" fmla="*/ 1890290 h 2076207"/>
              <a:gd name="csX68" fmla="*/ 716580 w 748195"/>
              <a:gd name="csY68" fmla="*/ 1951136 h 2076207"/>
              <a:gd name="csX69" fmla="*/ 729397 w 748195"/>
              <a:gd name="csY69" fmla="*/ 2030261 h 2076207"/>
              <a:gd name="csX70" fmla="*/ 714212 w 748195"/>
              <a:gd name="csY70" fmla="*/ 2049544 h 2076207"/>
              <a:gd name="csX71" fmla="*/ 645428 w 748195"/>
              <a:gd name="csY71" fmla="*/ 2070825 h 2076207"/>
              <a:gd name="csX72" fmla="*/ 635822 w 748195"/>
              <a:gd name="csY72" fmla="*/ 2075145 h 2076207"/>
              <a:gd name="csX73" fmla="*/ 588428 w 748195"/>
              <a:gd name="csY73" fmla="*/ 2075144 h 2076207"/>
              <a:gd name="csX74" fmla="*/ 590041 w 748195"/>
              <a:gd name="csY74" fmla="*/ 2071383 h 2076207"/>
              <a:gd name="csX75" fmla="*/ 667788 w 748195"/>
              <a:gd name="csY75" fmla="*/ 2056852 h 2076207"/>
              <a:gd name="csX76" fmla="*/ 706629 w 748195"/>
              <a:gd name="csY76" fmla="*/ 2044290 h 2076207"/>
              <a:gd name="csX77" fmla="*/ 702674 w 748195"/>
              <a:gd name="csY77" fmla="*/ 2041581 h 2076207"/>
              <a:gd name="csX78" fmla="*/ 96263 w 748195"/>
              <a:gd name="csY78" fmla="*/ 2076207 h 2076207"/>
              <a:gd name="csX79" fmla="*/ 489970 w 748195"/>
              <a:gd name="csY79" fmla="*/ 152208 h 2076207"/>
              <a:gd name="csX80" fmla="*/ 490754 w 748195"/>
              <a:gd name="csY80" fmla="*/ 152592 h 2076207"/>
              <a:gd name="csX81" fmla="*/ 489489 w 748195"/>
              <a:gd name="csY81" fmla="*/ 149547 h 2076207"/>
              <a:gd name="csX82" fmla="*/ 393621 w 748195"/>
              <a:gd name="csY82" fmla="*/ 99259 h 2076207"/>
              <a:gd name="csX83" fmla="*/ 390419 w 748195"/>
              <a:gd name="csY83" fmla="*/ 18568 h 2076207"/>
              <a:gd name="csX84" fmla="*/ 334131 w 748195"/>
              <a:gd name="csY84" fmla="*/ 24327 h 2076207"/>
              <a:gd name="csX85" fmla="*/ 344678 w 748195"/>
              <a:gd name="csY85" fmla="*/ 101259 h 2076207"/>
              <a:gd name="csX86" fmla="*/ 298854 w 748195"/>
              <a:gd name="csY86" fmla="*/ 114003 h 2076207"/>
              <a:gd name="csX87" fmla="*/ 237456 w 748195"/>
              <a:gd name="csY87" fmla="*/ 154340 h 2076207"/>
              <a:gd name="csX88" fmla="*/ 240382 w 748195"/>
              <a:gd name="csY88" fmla="*/ 154035 h 2076207"/>
              <a:gd name="csX89" fmla="*/ 262731 w 748195"/>
              <a:gd name="csY89" fmla="*/ 170426 h 2076207"/>
              <a:gd name="csX90" fmla="*/ 279169 w 748195"/>
              <a:gd name="csY90" fmla="*/ 193173 h 2076207"/>
              <a:gd name="csX91" fmla="*/ 327717 w 748195"/>
              <a:gd name="csY91" fmla="*/ 188556 h 2076207"/>
              <a:gd name="csX92" fmla="*/ 348052 w 748195"/>
              <a:gd name="csY92" fmla="*/ 156919 h 2076207"/>
              <a:gd name="csX93" fmla="*/ 380330 w 748195"/>
              <a:gd name="csY93" fmla="*/ 156483 h 2076207"/>
              <a:gd name="csX94" fmla="*/ 408490 w 748195"/>
              <a:gd name="csY94" fmla="*/ 195400 h 2076207"/>
              <a:gd name="csX95" fmla="*/ 445346 w 748195"/>
              <a:gd name="csY95" fmla="*/ 197582 h 2076207"/>
              <a:gd name="csX96" fmla="*/ 464798 w 748195"/>
              <a:gd name="csY96" fmla="*/ 174107 h 2076207"/>
              <a:gd name="csX97" fmla="*/ 489970 w 748195"/>
              <a:gd name="csY97" fmla="*/ 152208 h 2076207"/>
              <a:gd name="csX98" fmla="*/ 140694 w 748195"/>
              <a:gd name="csY98" fmla="*/ 201837 h 2076207"/>
              <a:gd name="csX99" fmla="*/ 139834 w 748195"/>
              <a:gd name="csY99" fmla="*/ 201482 h 2076207"/>
              <a:gd name="csX100" fmla="*/ 140812 w 748195"/>
              <a:gd name="csY100" fmla="*/ 204941 h 2076207"/>
              <a:gd name="csX101" fmla="*/ 144631 w 748195"/>
              <a:gd name="csY101" fmla="*/ 217811 h 2076207"/>
              <a:gd name="csX102" fmla="*/ 201241 w 748195"/>
              <a:gd name="csY102" fmla="*/ 373387 h 2076207"/>
              <a:gd name="csX103" fmla="*/ 235971 w 748195"/>
              <a:gd name="csY103" fmla="*/ 504451 h 2076207"/>
              <a:gd name="csX104" fmla="*/ 247475 w 748195"/>
              <a:gd name="csY104" fmla="*/ 513241 h 2076207"/>
              <a:gd name="csX105" fmla="*/ 289066 w 748195"/>
              <a:gd name="csY105" fmla="*/ 511170 h 2076207"/>
              <a:gd name="csX106" fmla="*/ 378229 w 748195"/>
              <a:gd name="csY106" fmla="*/ 511084 h 2076207"/>
              <a:gd name="csX107" fmla="*/ 470850 w 748195"/>
              <a:gd name="csY107" fmla="*/ 516341 h 2076207"/>
              <a:gd name="csX108" fmla="*/ 492933 w 748195"/>
              <a:gd name="csY108" fmla="*/ 497969 h 2076207"/>
              <a:gd name="csX109" fmla="*/ 557617 w 748195"/>
              <a:gd name="csY109" fmla="*/ 280398 h 2076207"/>
              <a:gd name="csX110" fmla="*/ 588788 w 748195"/>
              <a:gd name="csY110" fmla="*/ 200385 h 2076207"/>
              <a:gd name="csX111" fmla="*/ 530958 w 748195"/>
              <a:gd name="csY111" fmla="*/ 232968 h 2076207"/>
              <a:gd name="csX112" fmla="*/ 483823 w 748195"/>
              <a:gd name="csY112" fmla="*/ 190364 h 2076207"/>
              <a:gd name="csX113" fmla="*/ 466649 w 748195"/>
              <a:gd name="csY113" fmla="*/ 209061 h 2076207"/>
              <a:gd name="csX114" fmla="*/ 399941 w 748195"/>
              <a:gd name="csY114" fmla="*/ 216988 h 2076207"/>
              <a:gd name="csX115" fmla="*/ 363018 w 748195"/>
              <a:gd name="csY115" fmla="*/ 179615 h 2076207"/>
              <a:gd name="csX116" fmla="*/ 308839 w 748195"/>
              <a:gd name="csY116" fmla="*/ 227846 h 2076207"/>
              <a:gd name="csX117" fmla="*/ 245077 w 748195"/>
              <a:gd name="csY117" fmla="*/ 192402 h 2076207"/>
              <a:gd name="csX118" fmla="*/ 242829 w 748195"/>
              <a:gd name="csY118" fmla="*/ 198815 h 2076207"/>
              <a:gd name="csX119" fmla="*/ 168452 w 748195"/>
              <a:gd name="csY119" fmla="*/ 219348 h 2076207"/>
              <a:gd name="csX120" fmla="*/ 140694 w 748195"/>
              <a:gd name="csY120" fmla="*/ 201837 h 2076207"/>
              <a:gd name="csX121" fmla="*/ 259999 w 748195"/>
              <a:gd name="csY121" fmla="*/ 966699 h 2076207"/>
              <a:gd name="csX122" fmla="*/ 257072 w 748195"/>
              <a:gd name="csY122" fmla="*/ 1070424 h 2076207"/>
              <a:gd name="csX123" fmla="*/ 251372 w 748195"/>
              <a:gd name="csY123" fmla="*/ 1157618 h 2076207"/>
              <a:gd name="csX124" fmla="*/ 232677 w 748195"/>
              <a:gd name="csY124" fmla="*/ 1320279 h 2076207"/>
              <a:gd name="csX125" fmla="*/ 209182 w 748195"/>
              <a:gd name="csY125" fmla="*/ 1468667 h 2076207"/>
              <a:gd name="csX126" fmla="*/ 175302 w 748195"/>
              <a:gd name="csY126" fmla="*/ 1616623 h 2076207"/>
              <a:gd name="csX127" fmla="*/ 182769 w 748195"/>
              <a:gd name="csY127" fmla="*/ 1629786 h 2076207"/>
              <a:gd name="csX128" fmla="*/ 212156 w 748195"/>
              <a:gd name="csY128" fmla="*/ 1632656 h 2076207"/>
              <a:gd name="csX129" fmla="*/ 351295 w 748195"/>
              <a:gd name="csY129" fmla="*/ 1632801 h 2076207"/>
              <a:gd name="csX130" fmla="*/ 376150 w 748195"/>
              <a:gd name="csY130" fmla="*/ 1608307 h 2076207"/>
              <a:gd name="csX131" fmla="*/ 373450 w 748195"/>
              <a:gd name="csY131" fmla="*/ 1457291 h 2076207"/>
              <a:gd name="csX132" fmla="*/ 370936 w 748195"/>
              <a:gd name="csY132" fmla="*/ 1342736 h 2076207"/>
              <a:gd name="csX133" fmla="*/ 368328 w 748195"/>
              <a:gd name="csY133" fmla="*/ 1203878 h 2076207"/>
              <a:gd name="csX134" fmla="*/ 367836 w 748195"/>
              <a:gd name="csY134" fmla="*/ 813478 h 2076207"/>
              <a:gd name="csX135" fmla="*/ 365240 w 748195"/>
              <a:gd name="csY135" fmla="*/ 773243 h 2076207"/>
              <a:gd name="csX136" fmla="*/ 353084 w 748195"/>
              <a:gd name="csY136" fmla="*/ 762083 h 2076207"/>
              <a:gd name="csX137" fmla="*/ 280966 w 748195"/>
              <a:gd name="csY137" fmla="*/ 759855 h 2076207"/>
              <a:gd name="csX138" fmla="*/ 259965 w 748195"/>
              <a:gd name="csY138" fmla="*/ 779553 h 2076207"/>
              <a:gd name="csX139" fmla="*/ 262341 w 748195"/>
              <a:gd name="csY139" fmla="*/ 856275 h 2076207"/>
              <a:gd name="csX140" fmla="*/ 259999 w 748195"/>
              <a:gd name="csY140" fmla="*/ 966699 h 2076207"/>
              <a:gd name="csX141" fmla="*/ 55556 w 748195"/>
              <a:gd name="csY141" fmla="*/ 1835827 h 2076207"/>
              <a:gd name="csX142" fmla="*/ 49393 w 748195"/>
              <a:gd name="csY142" fmla="*/ 1878155 h 2076207"/>
              <a:gd name="csX143" fmla="*/ 73949 w 748195"/>
              <a:gd name="csY143" fmla="*/ 1905781 h 2076207"/>
              <a:gd name="csX144" fmla="*/ 110073 w 748195"/>
              <a:gd name="csY144" fmla="*/ 1909068 h 2076207"/>
              <a:gd name="csX145" fmla="*/ 224745 w 748195"/>
              <a:gd name="csY145" fmla="*/ 1921652 h 2076207"/>
              <a:gd name="csX146" fmla="*/ 347327 w 748195"/>
              <a:gd name="csY146" fmla="*/ 1924778 h 2076207"/>
              <a:gd name="csX147" fmla="*/ 363345 w 748195"/>
              <a:gd name="csY147" fmla="*/ 1923293 h 2076207"/>
              <a:gd name="csX148" fmla="*/ 373787 w 748195"/>
              <a:gd name="csY148" fmla="*/ 1911200 h 2076207"/>
              <a:gd name="csX149" fmla="*/ 376623 w 748195"/>
              <a:gd name="csY149" fmla="*/ 1696741 h 2076207"/>
              <a:gd name="csX150" fmla="*/ 360437 w 748195"/>
              <a:gd name="csY150" fmla="*/ 1681289 h 2076207"/>
              <a:gd name="csX151" fmla="*/ 263503 w 748195"/>
              <a:gd name="csY151" fmla="*/ 1678179 h 2076207"/>
              <a:gd name="csX152" fmla="*/ 160381 w 748195"/>
              <a:gd name="csY152" fmla="*/ 1670405 h 2076207"/>
              <a:gd name="csX153" fmla="*/ 143321 w 748195"/>
              <a:gd name="csY153" fmla="*/ 1685538 h 2076207"/>
              <a:gd name="csX154" fmla="*/ 124769 w 748195"/>
              <a:gd name="csY154" fmla="*/ 1738195 h 2076207"/>
              <a:gd name="csX155" fmla="*/ 90593 w 748195"/>
              <a:gd name="csY155" fmla="*/ 1779570 h 2076207"/>
              <a:gd name="csX156" fmla="*/ 55556 w 748195"/>
              <a:gd name="csY156" fmla="*/ 1835827 h 2076207"/>
              <a:gd name="csX157" fmla="*/ 378900 w 748195"/>
              <a:gd name="csY157" fmla="*/ 2007280 h 2076207"/>
              <a:gd name="csX158" fmla="*/ 378887 w 748195"/>
              <a:gd name="csY158" fmla="*/ 1995127 h 2076207"/>
              <a:gd name="csX159" fmla="*/ 359084 w 748195"/>
              <a:gd name="csY159" fmla="*/ 1975964 h 2076207"/>
              <a:gd name="csX160" fmla="*/ 247288 w 748195"/>
              <a:gd name="csY160" fmla="*/ 1973305 h 2076207"/>
              <a:gd name="csX161" fmla="*/ 201692 w 748195"/>
              <a:gd name="csY161" fmla="*/ 1970275 h 2076207"/>
              <a:gd name="csX162" fmla="*/ 57962 w 748195"/>
              <a:gd name="csY162" fmla="*/ 1952648 h 2076207"/>
              <a:gd name="csX163" fmla="*/ 39194 w 748195"/>
              <a:gd name="csY163" fmla="*/ 1963552 h 2076207"/>
              <a:gd name="csX164" fmla="*/ 30066 w 748195"/>
              <a:gd name="csY164" fmla="*/ 2006631 h 2076207"/>
              <a:gd name="csX165" fmla="*/ 40232 w 748195"/>
              <a:gd name="csY165" fmla="*/ 2019486 h 2076207"/>
              <a:gd name="csX166" fmla="*/ 238186 w 748195"/>
              <a:gd name="csY166" fmla="*/ 2046096 h 2076207"/>
              <a:gd name="csX167" fmla="*/ 342155 w 748195"/>
              <a:gd name="csY167" fmla="*/ 2046441 h 2076207"/>
              <a:gd name="csX168" fmla="*/ 378900 w 748195"/>
              <a:gd name="csY168" fmla="*/ 2007280 h 2076207"/>
              <a:gd name="csX169" fmla="*/ 310220 w 748195"/>
              <a:gd name="csY169" fmla="*/ 554288 h 2076207"/>
              <a:gd name="csX170" fmla="*/ 259136 w 748195"/>
              <a:gd name="csY170" fmla="*/ 556881 h 2076207"/>
              <a:gd name="csX171" fmla="*/ 249085 w 748195"/>
              <a:gd name="csY171" fmla="*/ 567981 h 2076207"/>
              <a:gd name="csX172" fmla="*/ 249141 w 748195"/>
              <a:gd name="csY172" fmla="*/ 605644 h 2076207"/>
              <a:gd name="csX173" fmla="*/ 262628 w 748195"/>
              <a:gd name="csY173" fmla="*/ 605627 h 2076207"/>
              <a:gd name="csX174" fmla="*/ 369608 w 748195"/>
              <a:gd name="csY174" fmla="*/ 603027 h 2076207"/>
              <a:gd name="csX175" fmla="*/ 463931 w 748195"/>
              <a:gd name="csY175" fmla="*/ 605146 h 2076207"/>
              <a:gd name="csX176" fmla="*/ 478113 w 748195"/>
              <a:gd name="csY176" fmla="*/ 595843 h 2076207"/>
              <a:gd name="csX177" fmla="*/ 478796 w 748195"/>
              <a:gd name="csY177" fmla="*/ 556832 h 2076207"/>
              <a:gd name="csX178" fmla="*/ 310220 w 748195"/>
              <a:gd name="csY178" fmla="*/ 554288 h 2076207"/>
              <a:gd name="csX179" fmla="*/ 348836 w 748195"/>
              <a:gd name="csY179" fmla="*/ 684115 h 2076207"/>
              <a:gd name="csX180" fmla="*/ 281333 w 748195"/>
              <a:gd name="csY180" fmla="*/ 683313 h 2076207"/>
              <a:gd name="csX181" fmla="*/ 212728 w 748195"/>
              <a:gd name="csY181" fmla="*/ 681931 h 2076207"/>
              <a:gd name="csX182" fmla="*/ 187283 w 748195"/>
              <a:gd name="csY182" fmla="*/ 689555 h 2076207"/>
              <a:gd name="csX183" fmla="*/ 186163 w 748195"/>
              <a:gd name="csY183" fmla="*/ 718266 h 2076207"/>
              <a:gd name="csX184" fmla="*/ 209894 w 748195"/>
              <a:gd name="csY184" fmla="*/ 726798 h 2076207"/>
              <a:gd name="csX185" fmla="*/ 334814 w 748195"/>
              <a:gd name="csY185" fmla="*/ 732494 h 2076207"/>
              <a:gd name="csX186" fmla="*/ 364856 w 748195"/>
              <a:gd name="csY186" fmla="*/ 707963 h 2076207"/>
              <a:gd name="csX187" fmla="*/ 348836 w 748195"/>
              <a:gd name="csY187" fmla="*/ 684115 h 2076207"/>
              <a:gd name="csX188" fmla="*/ 298865 w 748195"/>
              <a:gd name="csY188" fmla="*/ 621954 h 2076207"/>
              <a:gd name="csX189" fmla="*/ 251619 w 748195"/>
              <a:gd name="csY189" fmla="*/ 622133 h 2076207"/>
              <a:gd name="csX190" fmla="*/ 214459 w 748195"/>
              <a:gd name="csY190" fmla="*/ 636230 h 2076207"/>
              <a:gd name="csX191" fmla="*/ 221436 w 748195"/>
              <a:gd name="csY191" fmla="*/ 654205 h 2076207"/>
              <a:gd name="csX192" fmla="*/ 272412 w 748195"/>
              <a:gd name="csY192" fmla="*/ 657250 h 2076207"/>
              <a:gd name="csX193" fmla="*/ 349094 w 748195"/>
              <a:gd name="csY193" fmla="*/ 659282 h 2076207"/>
              <a:gd name="csX194" fmla="*/ 362996 w 748195"/>
              <a:gd name="csY194" fmla="*/ 644234 h 2076207"/>
              <a:gd name="csX195" fmla="*/ 348472 w 748195"/>
              <a:gd name="csY195" fmla="*/ 624649 h 2076207"/>
              <a:gd name="csX196" fmla="*/ 298865 w 748195"/>
              <a:gd name="csY196" fmla="*/ 621954 h 2076207"/>
              <a:gd name="csX197" fmla="*/ 227796 w 748195"/>
              <a:gd name="csY197" fmla="*/ 528000 h 2076207"/>
              <a:gd name="csX198" fmla="*/ 241009 w 748195"/>
              <a:gd name="csY198" fmla="*/ 545897 h 2076207"/>
              <a:gd name="csX199" fmla="*/ 282607 w 748195"/>
              <a:gd name="csY199" fmla="*/ 543480 h 2076207"/>
              <a:gd name="csX200" fmla="*/ 354213 w 748195"/>
              <a:gd name="csY200" fmla="*/ 543384 h 2076207"/>
              <a:gd name="csX201" fmla="*/ 365334 w 748195"/>
              <a:gd name="csY201" fmla="*/ 533397 h 2076207"/>
              <a:gd name="csX202" fmla="*/ 354531 w 748195"/>
              <a:gd name="csY202" fmla="*/ 521620 h 2076207"/>
              <a:gd name="csX203" fmla="*/ 259169 w 748195"/>
              <a:gd name="csY203" fmla="*/ 521978 h 2076207"/>
              <a:gd name="csX204" fmla="*/ 227796 w 748195"/>
              <a:gd name="csY204" fmla="*/ 528000 h 2076207"/>
              <a:gd name="csX205" fmla="*/ 508068 w 748195"/>
              <a:gd name="csY205" fmla="*/ 190710 h 2076207"/>
              <a:gd name="csX206" fmla="*/ 521293 w 748195"/>
              <a:gd name="csY206" fmla="*/ 205907 h 2076207"/>
              <a:gd name="csX207" fmla="*/ 525175 w 748195"/>
              <a:gd name="csY207" fmla="*/ 202985 h 2076207"/>
              <a:gd name="csX208" fmla="*/ 500276 w 748195"/>
              <a:gd name="csY208" fmla="*/ 160640 h 2076207"/>
              <a:gd name="csX209" fmla="*/ 497122 w 748195"/>
              <a:gd name="csY209" fmla="*/ 162007 h 2076207"/>
              <a:gd name="csX210" fmla="*/ 508068 w 748195"/>
              <a:gd name="csY210" fmla="*/ 190710 h 2076207"/>
              <a:gd name="csX211" fmla="*/ 215522 w 748195"/>
              <a:gd name="csY211" fmla="*/ 197296 h 2076207"/>
              <a:gd name="csX212" fmla="*/ 234029 w 748195"/>
              <a:gd name="csY212" fmla="*/ 162725 h 2076207"/>
              <a:gd name="csX213" fmla="*/ 229000 w 748195"/>
              <a:gd name="csY213" fmla="*/ 159902 h 2076207"/>
              <a:gd name="csX214" fmla="*/ 204824 w 748195"/>
              <a:gd name="csY214" fmla="*/ 199677 h 2076207"/>
              <a:gd name="csX215" fmla="*/ 207990 w 748195"/>
              <a:gd name="csY215" fmla="*/ 202198 h 2076207"/>
              <a:gd name="csX216" fmla="*/ 215522 w 748195"/>
              <a:gd name="csY216" fmla="*/ 197296 h 2076207"/>
              <a:gd name="csX217" fmla="*/ 484400 w 748195"/>
              <a:gd name="csY217" fmla="*/ 896678 h 2076207"/>
              <a:gd name="csX218" fmla="*/ 486181 w 748195"/>
              <a:gd name="csY218" fmla="*/ 896585 h 2076207"/>
              <a:gd name="csX219" fmla="*/ 486181 w 748195"/>
              <a:gd name="csY219" fmla="*/ 795289 h 2076207"/>
              <a:gd name="csX220" fmla="*/ 720241 w 748195"/>
              <a:gd name="csY220" fmla="*/ 2030666 h 2076207"/>
              <a:gd name="csX221" fmla="*/ 721175 w 748195"/>
              <a:gd name="csY221" fmla="*/ 2029733 h 2076207"/>
              <a:gd name="csX222" fmla="*/ 720241 w 748195"/>
              <a:gd name="csY222" fmla="*/ 2030666 h 2076207"/>
              <a:gd name="csX223" fmla="*/ 715702 w 748195"/>
              <a:gd name="csY223" fmla="*/ 2037051 h 2076207"/>
              <a:gd name="csX224" fmla="*/ 715702 w 748195"/>
              <a:gd name="csY224" fmla="*/ 2037051 h 2076207"/>
              <a:gd name="csX0" fmla="*/ 96263 w 748195"/>
              <a:gd name="csY0" fmla="*/ 2076207 h 2076207"/>
              <a:gd name="csX1" fmla="*/ 63862 w 748195"/>
              <a:gd name="csY1" fmla="*/ 2065388 h 2076207"/>
              <a:gd name="csX2" fmla="*/ 16555 w 748195"/>
              <a:gd name="csY2" fmla="*/ 2050152 h 2076207"/>
              <a:gd name="csX3" fmla="*/ 15 w 748195"/>
              <a:gd name="csY3" fmla="*/ 2023802 h 2076207"/>
              <a:gd name="csX4" fmla="*/ 18368 w 748195"/>
              <a:gd name="csY4" fmla="*/ 1940709 h 2076207"/>
              <a:gd name="csX5" fmla="*/ 22139 w 748195"/>
              <a:gd name="csY5" fmla="*/ 1907268 h 2076207"/>
              <a:gd name="csX6" fmla="*/ 57941 w 748195"/>
              <a:gd name="csY6" fmla="*/ 1774163 h 2076207"/>
              <a:gd name="csX7" fmla="*/ 102478 w 748195"/>
              <a:gd name="csY7" fmla="*/ 1720275 h 2076207"/>
              <a:gd name="csX8" fmla="*/ 108579 w 748195"/>
              <a:gd name="csY8" fmla="*/ 1650967 h 2076207"/>
              <a:gd name="csX9" fmla="*/ 115628 w 748195"/>
              <a:gd name="csY9" fmla="*/ 1625405 h 2076207"/>
              <a:gd name="csX10" fmla="*/ 156323 w 748195"/>
              <a:gd name="csY10" fmla="*/ 1560181 h 2076207"/>
              <a:gd name="csX11" fmla="*/ 199424 w 748195"/>
              <a:gd name="csY11" fmla="*/ 1364729 h 2076207"/>
              <a:gd name="csX12" fmla="*/ 216779 w 748195"/>
              <a:gd name="csY12" fmla="*/ 1219490 h 2076207"/>
              <a:gd name="csX13" fmla="*/ 229755 w 748195"/>
              <a:gd name="csY13" fmla="*/ 1099357 h 2076207"/>
              <a:gd name="csX14" fmla="*/ 232707 w 748195"/>
              <a:gd name="csY14" fmla="*/ 1056423 h 2076207"/>
              <a:gd name="csX15" fmla="*/ 235622 w 748195"/>
              <a:gd name="csY15" fmla="*/ 952675 h 2076207"/>
              <a:gd name="csX16" fmla="*/ 235445 w 748195"/>
              <a:gd name="csY16" fmla="*/ 780278 h 2076207"/>
              <a:gd name="csX17" fmla="*/ 214544 w 748195"/>
              <a:gd name="csY17" fmla="*/ 756435 h 2076207"/>
              <a:gd name="csX18" fmla="*/ 172569 w 748195"/>
              <a:gd name="csY18" fmla="*/ 742582 h 2076207"/>
              <a:gd name="csX19" fmla="*/ 168784 w 748195"/>
              <a:gd name="csY19" fmla="*/ 669116 h 2076207"/>
              <a:gd name="csX20" fmla="*/ 191657 w 748195"/>
              <a:gd name="csY20" fmla="*/ 630765 h 2076207"/>
              <a:gd name="csX21" fmla="*/ 208150 w 748195"/>
              <a:gd name="csY21" fmla="*/ 609084 h 2076207"/>
              <a:gd name="csX22" fmla="*/ 216756 w 748195"/>
              <a:gd name="csY22" fmla="*/ 558673 h 2076207"/>
              <a:gd name="csX23" fmla="*/ 209092 w 748195"/>
              <a:gd name="csY23" fmla="*/ 521540 h 2076207"/>
              <a:gd name="csX24" fmla="*/ 204683 w 748195"/>
              <a:gd name="csY24" fmla="*/ 474024 h 2076207"/>
              <a:gd name="csX25" fmla="*/ 115483 w 748195"/>
              <a:gd name="csY25" fmla="*/ 213499 h 2076207"/>
              <a:gd name="csX26" fmla="*/ 102909 w 748195"/>
              <a:gd name="csY26" fmla="*/ 182297 h 2076207"/>
              <a:gd name="csX27" fmla="*/ 104315 w 748195"/>
              <a:gd name="csY27" fmla="*/ 163968 h 2076207"/>
              <a:gd name="csX28" fmla="*/ 122444 w 748195"/>
              <a:gd name="csY28" fmla="*/ 160805 h 2076207"/>
              <a:gd name="csX29" fmla="*/ 170283 w 748195"/>
              <a:gd name="csY29" fmla="*/ 187783 h 2076207"/>
              <a:gd name="csX30" fmla="*/ 180938 w 748195"/>
              <a:gd name="csY30" fmla="*/ 195322 h 2076207"/>
              <a:gd name="csX31" fmla="*/ 221419 w 748195"/>
              <a:gd name="csY31" fmla="*/ 138058 h 2076207"/>
              <a:gd name="csX32" fmla="*/ 294099 w 748195"/>
              <a:gd name="csY32" fmla="*/ 91372 h 2076207"/>
              <a:gd name="csX33" fmla="*/ 302307 w 748195"/>
              <a:gd name="csY33" fmla="*/ 76560 h 2076207"/>
              <a:gd name="csX34" fmla="*/ 320284 w 748195"/>
              <a:gd name="csY34" fmla="*/ 8414 h 2076207"/>
              <a:gd name="csX35" fmla="*/ 324784 w 748195"/>
              <a:gd name="csY35" fmla="*/ 946 h 2076207"/>
              <a:gd name="csX36" fmla="*/ 399212 w 748195"/>
              <a:gd name="csY36" fmla="*/ 0 h 2076207"/>
              <a:gd name="csX37" fmla="*/ 425980 w 748195"/>
              <a:gd name="csY37" fmla="*/ 78301 h 2076207"/>
              <a:gd name="csX38" fmla="*/ 431861 w 748195"/>
              <a:gd name="csY38" fmla="*/ 90312 h 2076207"/>
              <a:gd name="csX39" fmla="*/ 540349 w 748195"/>
              <a:gd name="csY39" fmla="*/ 187946 h 2076207"/>
              <a:gd name="csX40" fmla="*/ 545555 w 748195"/>
              <a:gd name="csY40" fmla="*/ 197828 h 2076207"/>
              <a:gd name="csX41" fmla="*/ 587318 w 748195"/>
              <a:gd name="csY41" fmla="*/ 171260 h 2076207"/>
              <a:gd name="csX42" fmla="*/ 601503 w 748195"/>
              <a:gd name="csY42" fmla="*/ 163707 h 2076207"/>
              <a:gd name="csX43" fmla="*/ 625254 w 748195"/>
              <a:gd name="csY43" fmla="*/ 163123 h 2076207"/>
              <a:gd name="csX44" fmla="*/ 625468 w 748195"/>
              <a:gd name="csY44" fmla="*/ 187579 h 2076207"/>
              <a:gd name="csX45" fmla="*/ 597543 w 748195"/>
              <a:gd name="csY45" fmla="*/ 251872 h 2076207"/>
              <a:gd name="csX46" fmla="*/ 531831 w 748195"/>
              <a:gd name="csY46" fmla="*/ 442689 h 2076207"/>
              <a:gd name="csX47" fmla="*/ 519888 w 748195"/>
              <a:gd name="csY47" fmla="*/ 501474 h 2076207"/>
              <a:gd name="csX48" fmla="*/ 522506 w 748195"/>
              <a:gd name="csY48" fmla="*/ 525086 h 2076207"/>
              <a:gd name="csX49" fmla="*/ 516235 w 748195"/>
              <a:gd name="csY49" fmla="*/ 555946 h 2076207"/>
              <a:gd name="csX50" fmla="*/ 521332 w 748195"/>
              <a:gd name="csY50" fmla="*/ 610676 h 2076207"/>
              <a:gd name="csX51" fmla="*/ 541382 w 748195"/>
              <a:gd name="csY51" fmla="*/ 642597 h 2076207"/>
              <a:gd name="csX52" fmla="*/ 557031 w 748195"/>
              <a:gd name="csY52" fmla="*/ 667949 h 2076207"/>
              <a:gd name="csX53" fmla="*/ 553994 w 748195"/>
              <a:gd name="csY53" fmla="*/ 744146 h 2076207"/>
              <a:gd name="csX54" fmla="*/ 508215 w 748195"/>
              <a:gd name="csY54" fmla="*/ 758841 h 2076207"/>
              <a:gd name="csX55" fmla="*/ 497442 w 748195"/>
              <a:gd name="csY55" fmla="*/ 771256 h 2076207"/>
              <a:gd name="csX56" fmla="*/ 493005 w 748195"/>
              <a:gd name="csY56" fmla="*/ 922055 h 2076207"/>
              <a:gd name="csX57" fmla="*/ 502900 w 748195"/>
              <a:gd name="csY57" fmla="*/ 1114191 h 2076207"/>
              <a:gd name="csX58" fmla="*/ 508800 w 748195"/>
              <a:gd name="csY58" fmla="*/ 1205474 h 2076207"/>
              <a:gd name="csX59" fmla="*/ 522952 w 748195"/>
              <a:gd name="csY59" fmla="*/ 1320065 h 2076207"/>
              <a:gd name="csX60" fmla="*/ 554682 w 748195"/>
              <a:gd name="csY60" fmla="*/ 1501203 h 2076207"/>
              <a:gd name="csX61" fmla="*/ 576958 w 748195"/>
              <a:gd name="csY61" fmla="*/ 1593963 h 2076207"/>
              <a:gd name="csX62" fmla="*/ 595349 w 748195"/>
              <a:gd name="csY62" fmla="*/ 1613498 h 2076207"/>
              <a:gd name="csX63" fmla="*/ 613936 w 748195"/>
              <a:gd name="csY63" fmla="*/ 1624058 h 2076207"/>
              <a:gd name="csX64" fmla="*/ 620938 w 748195"/>
              <a:gd name="csY64" fmla="*/ 1652071 h 2076207"/>
              <a:gd name="csX65" fmla="*/ 630805 w 748195"/>
              <a:gd name="csY65" fmla="*/ 1721702 h 2076207"/>
              <a:gd name="csX66" fmla="*/ 685830 w 748195"/>
              <a:gd name="csY66" fmla="*/ 1792915 h 2076207"/>
              <a:gd name="csX67" fmla="*/ 708904 w 748195"/>
              <a:gd name="csY67" fmla="*/ 1890290 h 2076207"/>
              <a:gd name="csX68" fmla="*/ 716580 w 748195"/>
              <a:gd name="csY68" fmla="*/ 1951136 h 2076207"/>
              <a:gd name="csX69" fmla="*/ 729397 w 748195"/>
              <a:gd name="csY69" fmla="*/ 2030261 h 2076207"/>
              <a:gd name="csX70" fmla="*/ 714212 w 748195"/>
              <a:gd name="csY70" fmla="*/ 2049544 h 2076207"/>
              <a:gd name="csX71" fmla="*/ 645428 w 748195"/>
              <a:gd name="csY71" fmla="*/ 2070825 h 2076207"/>
              <a:gd name="csX72" fmla="*/ 635822 w 748195"/>
              <a:gd name="csY72" fmla="*/ 2075145 h 2076207"/>
              <a:gd name="csX73" fmla="*/ 588428 w 748195"/>
              <a:gd name="csY73" fmla="*/ 2075144 h 2076207"/>
              <a:gd name="csX74" fmla="*/ 667788 w 748195"/>
              <a:gd name="csY74" fmla="*/ 2056852 h 2076207"/>
              <a:gd name="csX75" fmla="*/ 706629 w 748195"/>
              <a:gd name="csY75" fmla="*/ 2044290 h 2076207"/>
              <a:gd name="csX76" fmla="*/ 702674 w 748195"/>
              <a:gd name="csY76" fmla="*/ 2041581 h 2076207"/>
              <a:gd name="csX77" fmla="*/ 96263 w 748195"/>
              <a:gd name="csY77" fmla="*/ 2076207 h 2076207"/>
              <a:gd name="csX78" fmla="*/ 489970 w 748195"/>
              <a:gd name="csY78" fmla="*/ 152208 h 2076207"/>
              <a:gd name="csX79" fmla="*/ 490754 w 748195"/>
              <a:gd name="csY79" fmla="*/ 152592 h 2076207"/>
              <a:gd name="csX80" fmla="*/ 489489 w 748195"/>
              <a:gd name="csY80" fmla="*/ 149547 h 2076207"/>
              <a:gd name="csX81" fmla="*/ 393621 w 748195"/>
              <a:gd name="csY81" fmla="*/ 99259 h 2076207"/>
              <a:gd name="csX82" fmla="*/ 390419 w 748195"/>
              <a:gd name="csY82" fmla="*/ 18568 h 2076207"/>
              <a:gd name="csX83" fmla="*/ 334131 w 748195"/>
              <a:gd name="csY83" fmla="*/ 24327 h 2076207"/>
              <a:gd name="csX84" fmla="*/ 344678 w 748195"/>
              <a:gd name="csY84" fmla="*/ 101259 h 2076207"/>
              <a:gd name="csX85" fmla="*/ 298854 w 748195"/>
              <a:gd name="csY85" fmla="*/ 114003 h 2076207"/>
              <a:gd name="csX86" fmla="*/ 237456 w 748195"/>
              <a:gd name="csY86" fmla="*/ 154340 h 2076207"/>
              <a:gd name="csX87" fmla="*/ 240382 w 748195"/>
              <a:gd name="csY87" fmla="*/ 154035 h 2076207"/>
              <a:gd name="csX88" fmla="*/ 262731 w 748195"/>
              <a:gd name="csY88" fmla="*/ 170426 h 2076207"/>
              <a:gd name="csX89" fmla="*/ 279169 w 748195"/>
              <a:gd name="csY89" fmla="*/ 193173 h 2076207"/>
              <a:gd name="csX90" fmla="*/ 327717 w 748195"/>
              <a:gd name="csY90" fmla="*/ 188556 h 2076207"/>
              <a:gd name="csX91" fmla="*/ 348052 w 748195"/>
              <a:gd name="csY91" fmla="*/ 156919 h 2076207"/>
              <a:gd name="csX92" fmla="*/ 380330 w 748195"/>
              <a:gd name="csY92" fmla="*/ 156483 h 2076207"/>
              <a:gd name="csX93" fmla="*/ 408490 w 748195"/>
              <a:gd name="csY93" fmla="*/ 195400 h 2076207"/>
              <a:gd name="csX94" fmla="*/ 445346 w 748195"/>
              <a:gd name="csY94" fmla="*/ 197582 h 2076207"/>
              <a:gd name="csX95" fmla="*/ 464798 w 748195"/>
              <a:gd name="csY95" fmla="*/ 174107 h 2076207"/>
              <a:gd name="csX96" fmla="*/ 489970 w 748195"/>
              <a:gd name="csY96" fmla="*/ 152208 h 2076207"/>
              <a:gd name="csX97" fmla="*/ 140694 w 748195"/>
              <a:gd name="csY97" fmla="*/ 201837 h 2076207"/>
              <a:gd name="csX98" fmla="*/ 139834 w 748195"/>
              <a:gd name="csY98" fmla="*/ 201482 h 2076207"/>
              <a:gd name="csX99" fmla="*/ 140812 w 748195"/>
              <a:gd name="csY99" fmla="*/ 204941 h 2076207"/>
              <a:gd name="csX100" fmla="*/ 144631 w 748195"/>
              <a:gd name="csY100" fmla="*/ 217811 h 2076207"/>
              <a:gd name="csX101" fmla="*/ 201241 w 748195"/>
              <a:gd name="csY101" fmla="*/ 373387 h 2076207"/>
              <a:gd name="csX102" fmla="*/ 235971 w 748195"/>
              <a:gd name="csY102" fmla="*/ 504451 h 2076207"/>
              <a:gd name="csX103" fmla="*/ 247475 w 748195"/>
              <a:gd name="csY103" fmla="*/ 513241 h 2076207"/>
              <a:gd name="csX104" fmla="*/ 289066 w 748195"/>
              <a:gd name="csY104" fmla="*/ 511170 h 2076207"/>
              <a:gd name="csX105" fmla="*/ 378229 w 748195"/>
              <a:gd name="csY105" fmla="*/ 511084 h 2076207"/>
              <a:gd name="csX106" fmla="*/ 470850 w 748195"/>
              <a:gd name="csY106" fmla="*/ 516341 h 2076207"/>
              <a:gd name="csX107" fmla="*/ 492933 w 748195"/>
              <a:gd name="csY107" fmla="*/ 497969 h 2076207"/>
              <a:gd name="csX108" fmla="*/ 557617 w 748195"/>
              <a:gd name="csY108" fmla="*/ 280398 h 2076207"/>
              <a:gd name="csX109" fmla="*/ 588788 w 748195"/>
              <a:gd name="csY109" fmla="*/ 200385 h 2076207"/>
              <a:gd name="csX110" fmla="*/ 530958 w 748195"/>
              <a:gd name="csY110" fmla="*/ 232968 h 2076207"/>
              <a:gd name="csX111" fmla="*/ 483823 w 748195"/>
              <a:gd name="csY111" fmla="*/ 190364 h 2076207"/>
              <a:gd name="csX112" fmla="*/ 466649 w 748195"/>
              <a:gd name="csY112" fmla="*/ 209061 h 2076207"/>
              <a:gd name="csX113" fmla="*/ 399941 w 748195"/>
              <a:gd name="csY113" fmla="*/ 216988 h 2076207"/>
              <a:gd name="csX114" fmla="*/ 363018 w 748195"/>
              <a:gd name="csY114" fmla="*/ 179615 h 2076207"/>
              <a:gd name="csX115" fmla="*/ 308839 w 748195"/>
              <a:gd name="csY115" fmla="*/ 227846 h 2076207"/>
              <a:gd name="csX116" fmla="*/ 245077 w 748195"/>
              <a:gd name="csY116" fmla="*/ 192402 h 2076207"/>
              <a:gd name="csX117" fmla="*/ 242829 w 748195"/>
              <a:gd name="csY117" fmla="*/ 198815 h 2076207"/>
              <a:gd name="csX118" fmla="*/ 168452 w 748195"/>
              <a:gd name="csY118" fmla="*/ 219348 h 2076207"/>
              <a:gd name="csX119" fmla="*/ 140694 w 748195"/>
              <a:gd name="csY119" fmla="*/ 201837 h 2076207"/>
              <a:gd name="csX120" fmla="*/ 259999 w 748195"/>
              <a:gd name="csY120" fmla="*/ 966699 h 2076207"/>
              <a:gd name="csX121" fmla="*/ 257072 w 748195"/>
              <a:gd name="csY121" fmla="*/ 1070424 h 2076207"/>
              <a:gd name="csX122" fmla="*/ 251372 w 748195"/>
              <a:gd name="csY122" fmla="*/ 1157618 h 2076207"/>
              <a:gd name="csX123" fmla="*/ 232677 w 748195"/>
              <a:gd name="csY123" fmla="*/ 1320279 h 2076207"/>
              <a:gd name="csX124" fmla="*/ 209182 w 748195"/>
              <a:gd name="csY124" fmla="*/ 1468667 h 2076207"/>
              <a:gd name="csX125" fmla="*/ 175302 w 748195"/>
              <a:gd name="csY125" fmla="*/ 1616623 h 2076207"/>
              <a:gd name="csX126" fmla="*/ 182769 w 748195"/>
              <a:gd name="csY126" fmla="*/ 1629786 h 2076207"/>
              <a:gd name="csX127" fmla="*/ 212156 w 748195"/>
              <a:gd name="csY127" fmla="*/ 1632656 h 2076207"/>
              <a:gd name="csX128" fmla="*/ 351295 w 748195"/>
              <a:gd name="csY128" fmla="*/ 1632801 h 2076207"/>
              <a:gd name="csX129" fmla="*/ 376150 w 748195"/>
              <a:gd name="csY129" fmla="*/ 1608307 h 2076207"/>
              <a:gd name="csX130" fmla="*/ 373450 w 748195"/>
              <a:gd name="csY130" fmla="*/ 1457291 h 2076207"/>
              <a:gd name="csX131" fmla="*/ 370936 w 748195"/>
              <a:gd name="csY131" fmla="*/ 1342736 h 2076207"/>
              <a:gd name="csX132" fmla="*/ 368328 w 748195"/>
              <a:gd name="csY132" fmla="*/ 1203878 h 2076207"/>
              <a:gd name="csX133" fmla="*/ 367836 w 748195"/>
              <a:gd name="csY133" fmla="*/ 813478 h 2076207"/>
              <a:gd name="csX134" fmla="*/ 365240 w 748195"/>
              <a:gd name="csY134" fmla="*/ 773243 h 2076207"/>
              <a:gd name="csX135" fmla="*/ 353084 w 748195"/>
              <a:gd name="csY135" fmla="*/ 762083 h 2076207"/>
              <a:gd name="csX136" fmla="*/ 280966 w 748195"/>
              <a:gd name="csY136" fmla="*/ 759855 h 2076207"/>
              <a:gd name="csX137" fmla="*/ 259965 w 748195"/>
              <a:gd name="csY137" fmla="*/ 779553 h 2076207"/>
              <a:gd name="csX138" fmla="*/ 262341 w 748195"/>
              <a:gd name="csY138" fmla="*/ 856275 h 2076207"/>
              <a:gd name="csX139" fmla="*/ 259999 w 748195"/>
              <a:gd name="csY139" fmla="*/ 966699 h 2076207"/>
              <a:gd name="csX140" fmla="*/ 55556 w 748195"/>
              <a:gd name="csY140" fmla="*/ 1835827 h 2076207"/>
              <a:gd name="csX141" fmla="*/ 49393 w 748195"/>
              <a:gd name="csY141" fmla="*/ 1878155 h 2076207"/>
              <a:gd name="csX142" fmla="*/ 73949 w 748195"/>
              <a:gd name="csY142" fmla="*/ 1905781 h 2076207"/>
              <a:gd name="csX143" fmla="*/ 110073 w 748195"/>
              <a:gd name="csY143" fmla="*/ 1909068 h 2076207"/>
              <a:gd name="csX144" fmla="*/ 224745 w 748195"/>
              <a:gd name="csY144" fmla="*/ 1921652 h 2076207"/>
              <a:gd name="csX145" fmla="*/ 347327 w 748195"/>
              <a:gd name="csY145" fmla="*/ 1924778 h 2076207"/>
              <a:gd name="csX146" fmla="*/ 363345 w 748195"/>
              <a:gd name="csY146" fmla="*/ 1923293 h 2076207"/>
              <a:gd name="csX147" fmla="*/ 373787 w 748195"/>
              <a:gd name="csY147" fmla="*/ 1911200 h 2076207"/>
              <a:gd name="csX148" fmla="*/ 376623 w 748195"/>
              <a:gd name="csY148" fmla="*/ 1696741 h 2076207"/>
              <a:gd name="csX149" fmla="*/ 360437 w 748195"/>
              <a:gd name="csY149" fmla="*/ 1681289 h 2076207"/>
              <a:gd name="csX150" fmla="*/ 263503 w 748195"/>
              <a:gd name="csY150" fmla="*/ 1678179 h 2076207"/>
              <a:gd name="csX151" fmla="*/ 160381 w 748195"/>
              <a:gd name="csY151" fmla="*/ 1670405 h 2076207"/>
              <a:gd name="csX152" fmla="*/ 143321 w 748195"/>
              <a:gd name="csY152" fmla="*/ 1685538 h 2076207"/>
              <a:gd name="csX153" fmla="*/ 124769 w 748195"/>
              <a:gd name="csY153" fmla="*/ 1738195 h 2076207"/>
              <a:gd name="csX154" fmla="*/ 90593 w 748195"/>
              <a:gd name="csY154" fmla="*/ 1779570 h 2076207"/>
              <a:gd name="csX155" fmla="*/ 55556 w 748195"/>
              <a:gd name="csY155" fmla="*/ 1835827 h 2076207"/>
              <a:gd name="csX156" fmla="*/ 378900 w 748195"/>
              <a:gd name="csY156" fmla="*/ 2007280 h 2076207"/>
              <a:gd name="csX157" fmla="*/ 378887 w 748195"/>
              <a:gd name="csY157" fmla="*/ 1995127 h 2076207"/>
              <a:gd name="csX158" fmla="*/ 359084 w 748195"/>
              <a:gd name="csY158" fmla="*/ 1975964 h 2076207"/>
              <a:gd name="csX159" fmla="*/ 247288 w 748195"/>
              <a:gd name="csY159" fmla="*/ 1973305 h 2076207"/>
              <a:gd name="csX160" fmla="*/ 201692 w 748195"/>
              <a:gd name="csY160" fmla="*/ 1970275 h 2076207"/>
              <a:gd name="csX161" fmla="*/ 57962 w 748195"/>
              <a:gd name="csY161" fmla="*/ 1952648 h 2076207"/>
              <a:gd name="csX162" fmla="*/ 39194 w 748195"/>
              <a:gd name="csY162" fmla="*/ 1963552 h 2076207"/>
              <a:gd name="csX163" fmla="*/ 30066 w 748195"/>
              <a:gd name="csY163" fmla="*/ 2006631 h 2076207"/>
              <a:gd name="csX164" fmla="*/ 40232 w 748195"/>
              <a:gd name="csY164" fmla="*/ 2019486 h 2076207"/>
              <a:gd name="csX165" fmla="*/ 238186 w 748195"/>
              <a:gd name="csY165" fmla="*/ 2046096 h 2076207"/>
              <a:gd name="csX166" fmla="*/ 342155 w 748195"/>
              <a:gd name="csY166" fmla="*/ 2046441 h 2076207"/>
              <a:gd name="csX167" fmla="*/ 378900 w 748195"/>
              <a:gd name="csY167" fmla="*/ 2007280 h 2076207"/>
              <a:gd name="csX168" fmla="*/ 310220 w 748195"/>
              <a:gd name="csY168" fmla="*/ 554288 h 2076207"/>
              <a:gd name="csX169" fmla="*/ 259136 w 748195"/>
              <a:gd name="csY169" fmla="*/ 556881 h 2076207"/>
              <a:gd name="csX170" fmla="*/ 249085 w 748195"/>
              <a:gd name="csY170" fmla="*/ 567981 h 2076207"/>
              <a:gd name="csX171" fmla="*/ 249141 w 748195"/>
              <a:gd name="csY171" fmla="*/ 605644 h 2076207"/>
              <a:gd name="csX172" fmla="*/ 262628 w 748195"/>
              <a:gd name="csY172" fmla="*/ 605627 h 2076207"/>
              <a:gd name="csX173" fmla="*/ 369608 w 748195"/>
              <a:gd name="csY173" fmla="*/ 603027 h 2076207"/>
              <a:gd name="csX174" fmla="*/ 463931 w 748195"/>
              <a:gd name="csY174" fmla="*/ 605146 h 2076207"/>
              <a:gd name="csX175" fmla="*/ 478113 w 748195"/>
              <a:gd name="csY175" fmla="*/ 595843 h 2076207"/>
              <a:gd name="csX176" fmla="*/ 478796 w 748195"/>
              <a:gd name="csY176" fmla="*/ 556832 h 2076207"/>
              <a:gd name="csX177" fmla="*/ 310220 w 748195"/>
              <a:gd name="csY177" fmla="*/ 554288 h 2076207"/>
              <a:gd name="csX178" fmla="*/ 348836 w 748195"/>
              <a:gd name="csY178" fmla="*/ 684115 h 2076207"/>
              <a:gd name="csX179" fmla="*/ 281333 w 748195"/>
              <a:gd name="csY179" fmla="*/ 683313 h 2076207"/>
              <a:gd name="csX180" fmla="*/ 212728 w 748195"/>
              <a:gd name="csY180" fmla="*/ 681931 h 2076207"/>
              <a:gd name="csX181" fmla="*/ 187283 w 748195"/>
              <a:gd name="csY181" fmla="*/ 689555 h 2076207"/>
              <a:gd name="csX182" fmla="*/ 186163 w 748195"/>
              <a:gd name="csY182" fmla="*/ 718266 h 2076207"/>
              <a:gd name="csX183" fmla="*/ 209894 w 748195"/>
              <a:gd name="csY183" fmla="*/ 726798 h 2076207"/>
              <a:gd name="csX184" fmla="*/ 334814 w 748195"/>
              <a:gd name="csY184" fmla="*/ 732494 h 2076207"/>
              <a:gd name="csX185" fmla="*/ 364856 w 748195"/>
              <a:gd name="csY185" fmla="*/ 707963 h 2076207"/>
              <a:gd name="csX186" fmla="*/ 348836 w 748195"/>
              <a:gd name="csY186" fmla="*/ 684115 h 2076207"/>
              <a:gd name="csX187" fmla="*/ 298865 w 748195"/>
              <a:gd name="csY187" fmla="*/ 621954 h 2076207"/>
              <a:gd name="csX188" fmla="*/ 251619 w 748195"/>
              <a:gd name="csY188" fmla="*/ 622133 h 2076207"/>
              <a:gd name="csX189" fmla="*/ 214459 w 748195"/>
              <a:gd name="csY189" fmla="*/ 636230 h 2076207"/>
              <a:gd name="csX190" fmla="*/ 221436 w 748195"/>
              <a:gd name="csY190" fmla="*/ 654205 h 2076207"/>
              <a:gd name="csX191" fmla="*/ 272412 w 748195"/>
              <a:gd name="csY191" fmla="*/ 657250 h 2076207"/>
              <a:gd name="csX192" fmla="*/ 349094 w 748195"/>
              <a:gd name="csY192" fmla="*/ 659282 h 2076207"/>
              <a:gd name="csX193" fmla="*/ 362996 w 748195"/>
              <a:gd name="csY193" fmla="*/ 644234 h 2076207"/>
              <a:gd name="csX194" fmla="*/ 348472 w 748195"/>
              <a:gd name="csY194" fmla="*/ 624649 h 2076207"/>
              <a:gd name="csX195" fmla="*/ 298865 w 748195"/>
              <a:gd name="csY195" fmla="*/ 621954 h 2076207"/>
              <a:gd name="csX196" fmla="*/ 227796 w 748195"/>
              <a:gd name="csY196" fmla="*/ 528000 h 2076207"/>
              <a:gd name="csX197" fmla="*/ 241009 w 748195"/>
              <a:gd name="csY197" fmla="*/ 545897 h 2076207"/>
              <a:gd name="csX198" fmla="*/ 282607 w 748195"/>
              <a:gd name="csY198" fmla="*/ 543480 h 2076207"/>
              <a:gd name="csX199" fmla="*/ 354213 w 748195"/>
              <a:gd name="csY199" fmla="*/ 543384 h 2076207"/>
              <a:gd name="csX200" fmla="*/ 365334 w 748195"/>
              <a:gd name="csY200" fmla="*/ 533397 h 2076207"/>
              <a:gd name="csX201" fmla="*/ 354531 w 748195"/>
              <a:gd name="csY201" fmla="*/ 521620 h 2076207"/>
              <a:gd name="csX202" fmla="*/ 259169 w 748195"/>
              <a:gd name="csY202" fmla="*/ 521978 h 2076207"/>
              <a:gd name="csX203" fmla="*/ 227796 w 748195"/>
              <a:gd name="csY203" fmla="*/ 528000 h 2076207"/>
              <a:gd name="csX204" fmla="*/ 508068 w 748195"/>
              <a:gd name="csY204" fmla="*/ 190710 h 2076207"/>
              <a:gd name="csX205" fmla="*/ 521293 w 748195"/>
              <a:gd name="csY205" fmla="*/ 205907 h 2076207"/>
              <a:gd name="csX206" fmla="*/ 525175 w 748195"/>
              <a:gd name="csY206" fmla="*/ 202985 h 2076207"/>
              <a:gd name="csX207" fmla="*/ 500276 w 748195"/>
              <a:gd name="csY207" fmla="*/ 160640 h 2076207"/>
              <a:gd name="csX208" fmla="*/ 497122 w 748195"/>
              <a:gd name="csY208" fmla="*/ 162007 h 2076207"/>
              <a:gd name="csX209" fmla="*/ 508068 w 748195"/>
              <a:gd name="csY209" fmla="*/ 190710 h 2076207"/>
              <a:gd name="csX210" fmla="*/ 215522 w 748195"/>
              <a:gd name="csY210" fmla="*/ 197296 h 2076207"/>
              <a:gd name="csX211" fmla="*/ 234029 w 748195"/>
              <a:gd name="csY211" fmla="*/ 162725 h 2076207"/>
              <a:gd name="csX212" fmla="*/ 229000 w 748195"/>
              <a:gd name="csY212" fmla="*/ 159902 h 2076207"/>
              <a:gd name="csX213" fmla="*/ 204824 w 748195"/>
              <a:gd name="csY213" fmla="*/ 199677 h 2076207"/>
              <a:gd name="csX214" fmla="*/ 207990 w 748195"/>
              <a:gd name="csY214" fmla="*/ 202198 h 2076207"/>
              <a:gd name="csX215" fmla="*/ 215522 w 748195"/>
              <a:gd name="csY215" fmla="*/ 197296 h 2076207"/>
              <a:gd name="csX216" fmla="*/ 484400 w 748195"/>
              <a:gd name="csY216" fmla="*/ 896678 h 2076207"/>
              <a:gd name="csX217" fmla="*/ 486181 w 748195"/>
              <a:gd name="csY217" fmla="*/ 896585 h 2076207"/>
              <a:gd name="csX218" fmla="*/ 486181 w 748195"/>
              <a:gd name="csY218" fmla="*/ 795289 h 2076207"/>
              <a:gd name="csX219" fmla="*/ 720241 w 748195"/>
              <a:gd name="csY219" fmla="*/ 2030666 h 2076207"/>
              <a:gd name="csX220" fmla="*/ 721175 w 748195"/>
              <a:gd name="csY220" fmla="*/ 2029733 h 2076207"/>
              <a:gd name="csX221" fmla="*/ 720241 w 748195"/>
              <a:gd name="csY221" fmla="*/ 2030666 h 2076207"/>
              <a:gd name="csX222" fmla="*/ 715702 w 748195"/>
              <a:gd name="csY222" fmla="*/ 2037051 h 2076207"/>
              <a:gd name="csX223" fmla="*/ 715702 w 748195"/>
              <a:gd name="csY223" fmla="*/ 2037051 h 2076207"/>
              <a:gd name="csX0" fmla="*/ 96263 w 748195"/>
              <a:gd name="csY0" fmla="*/ 2076207 h 2076207"/>
              <a:gd name="csX1" fmla="*/ 63862 w 748195"/>
              <a:gd name="csY1" fmla="*/ 2065388 h 2076207"/>
              <a:gd name="csX2" fmla="*/ 16555 w 748195"/>
              <a:gd name="csY2" fmla="*/ 2050152 h 2076207"/>
              <a:gd name="csX3" fmla="*/ 15 w 748195"/>
              <a:gd name="csY3" fmla="*/ 2023802 h 2076207"/>
              <a:gd name="csX4" fmla="*/ 18368 w 748195"/>
              <a:gd name="csY4" fmla="*/ 1940709 h 2076207"/>
              <a:gd name="csX5" fmla="*/ 22139 w 748195"/>
              <a:gd name="csY5" fmla="*/ 1907268 h 2076207"/>
              <a:gd name="csX6" fmla="*/ 57941 w 748195"/>
              <a:gd name="csY6" fmla="*/ 1774163 h 2076207"/>
              <a:gd name="csX7" fmla="*/ 102478 w 748195"/>
              <a:gd name="csY7" fmla="*/ 1720275 h 2076207"/>
              <a:gd name="csX8" fmla="*/ 108579 w 748195"/>
              <a:gd name="csY8" fmla="*/ 1650967 h 2076207"/>
              <a:gd name="csX9" fmla="*/ 115628 w 748195"/>
              <a:gd name="csY9" fmla="*/ 1625405 h 2076207"/>
              <a:gd name="csX10" fmla="*/ 156323 w 748195"/>
              <a:gd name="csY10" fmla="*/ 1560181 h 2076207"/>
              <a:gd name="csX11" fmla="*/ 199424 w 748195"/>
              <a:gd name="csY11" fmla="*/ 1364729 h 2076207"/>
              <a:gd name="csX12" fmla="*/ 216779 w 748195"/>
              <a:gd name="csY12" fmla="*/ 1219490 h 2076207"/>
              <a:gd name="csX13" fmla="*/ 229755 w 748195"/>
              <a:gd name="csY13" fmla="*/ 1099357 h 2076207"/>
              <a:gd name="csX14" fmla="*/ 232707 w 748195"/>
              <a:gd name="csY14" fmla="*/ 1056423 h 2076207"/>
              <a:gd name="csX15" fmla="*/ 235622 w 748195"/>
              <a:gd name="csY15" fmla="*/ 952675 h 2076207"/>
              <a:gd name="csX16" fmla="*/ 235445 w 748195"/>
              <a:gd name="csY16" fmla="*/ 780278 h 2076207"/>
              <a:gd name="csX17" fmla="*/ 214544 w 748195"/>
              <a:gd name="csY17" fmla="*/ 756435 h 2076207"/>
              <a:gd name="csX18" fmla="*/ 172569 w 748195"/>
              <a:gd name="csY18" fmla="*/ 742582 h 2076207"/>
              <a:gd name="csX19" fmla="*/ 168784 w 748195"/>
              <a:gd name="csY19" fmla="*/ 669116 h 2076207"/>
              <a:gd name="csX20" fmla="*/ 191657 w 748195"/>
              <a:gd name="csY20" fmla="*/ 630765 h 2076207"/>
              <a:gd name="csX21" fmla="*/ 208150 w 748195"/>
              <a:gd name="csY21" fmla="*/ 609084 h 2076207"/>
              <a:gd name="csX22" fmla="*/ 216756 w 748195"/>
              <a:gd name="csY22" fmla="*/ 558673 h 2076207"/>
              <a:gd name="csX23" fmla="*/ 209092 w 748195"/>
              <a:gd name="csY23" fmla="*/ 521540 h 2076207"/>
              <a:gd name="csX24" fmla="*/ 204683 w 748195"/>
              <a:gd name="csY24" fmla="*/ 474024 h 2076207"/>
              <a:gd name="csX25" fmla="*/ 115483 w 748195"/>
              <a:gd name="csY25" fmla="*/ 213499 h 2076207"/>
              <a:gd name="csX26" fmla="*/ 102909 w 748195"/>
              <a:gd name="csY26" fmla="*/ 182297 h 2076207"/>
              <a:gd name="csX27" fmla="*/ 104315 w 748195"/>
              <a:gd name="csY27" fmla="*/ 163968 h 2076207"/>
              <a:gd name="csX28" fmla="*/ 122444 w 748195"/>
              <a:gd name="csY28" fmla="*/ 160805 h 2076207"/>
              <a:gd name="csX29" fmla="*/ 170283 w 748195"/>
              <a:gd name="csY29" fmla="*/ 187783 h 2076207"/>
              <a:gd name="csX30" fmla="*/ 180938 w 748195"/>
              <a:gd name="csY30" fmla="*/ 195322 h 2076207"/>
              <a:gd name="csX31" fmla="*/ 221419 w 748195"/>
              <a:gd name="csY31" fmla="*/ 138058 h 2076207"/>
              <a:gd name="csX32" fmla="*/ 294099 w 748195"/>
              <a:gd name="csY32" fmla="*/ 91372 h 2076207"/>
              <a:gd name="csX33" fmla="*/ 302307 w 748195"/>
              <a:gd name="csY33" fmla="*/ 76560 h 2076207"/>
              <a:gd name="csX34" fmla="*/ 320284 w 748195"/>
              <a:gd name="csY34" fmla="*/ 8414 h 2076207"/>
              <a:gd name="csX35" fmla="*/ 324784 w 748195"/>
              <a:gd name="csY35" fmla="*/ 946 h 2076207"/>
              <a:gd name="csX36" fmla="*/ 399212 w 748195"/>
              <a:gd name="csY36" fmla="*/ 0 h 2076207"/>
              <a:gd name="csX37" fmla="*/ 425980 w 748195"/>
              <a:gd name="csY37" fmla="*/ 78301 h 2076207"/>
              <a:gd name="csX38" fmla="*/ 431861 w 748195"/>
              <a:gd name="csY38" fmla="*/ 90312 h 2076207"/>
              <a:gd name="csX39" fmla="*/ 540349 w 748195"/>
              <a:gd name="csY39" fmla="*/ 187946 h 2076207"/>
              <a:gd name="csX40" fmla="*/ 545555 w 748195"/>
              <a:gd name="csY40" fmla="*/ 197828 h 2076207"/>
              <a:gd name="csX41" fmla="*/ 587318 w 748195"/>
              <a:gd name="csY41" fmla="*/ 171260 h 2076207"/>
              <a:gd name="csX42" fmla="*/ 601503 w 748195"/>
              <a:gd name="csY42" fmla="*/ 163707 h 2076207"/>
              <a:gd name="csX43" fmla="*/ 625254 w 748195"/>
              <a:gd name="csY43" fmla="*/ 163123 h 2076207"/>
              <a:gd name="csX44" fmla="*/ 625468 w 748195"/>
              <a:gd name="csY44" fmla="*/ 187579 h 2076207"/>
              <a:gd name="csX45" fmla="*/ 597543 w 748195"/>
              <a:gd name="csY45" fmla="*/ 251872 h 2076207"/>
              <a:gd name="csX46" fmla="*/ 531831 w 748195"/>
              <a:gd name="csY46" fmla="*/ 442689 h 2076207"/>
              <a:gd name="csX47" fmla="*/ 519888 w 748195"/>
              <a:gd name="csY47" fmla="*/ 501474 h 2076207"/>
              <a:gd name="csX48" fmla="*/ 522506 w 748195"/>
              <a:gd name="csY48" fmla="*/ 525086 h 2076207"/>
              <a:gd name="csX49" fmla="*/ 516235 w 748195"/>
              <a:gd name="csY49" fmla="*/ 555946 h 2076207"/>
              <a:gd name="csX50" fmla="*/ 521332 w 748195"/>
              <a:gd name="csY50" fmla="*/ 610676 h 2076207"/>
              <a:gd name="csX51" fmla="*/ 541382 w 748195"/>
              <a:gd name="csY51" fmla="*/ 642597 h 2076207"/>
              <a:gd name="csX52" fmla="*/ 557031 w 748195"/>
              <a:gd name="csY52" fmla="*/ 667949 h 2076207"/>
              <a:gd name="csX53" fmla="*/ 553994 w 748195"/>
              <a:gd name="csY53" fmla="*/ 744146 h 2076207"/>
              <a:gd name="csX54" fmla="*/ 508215 w 748195"/>
              <a:gd name="csY54" fmla="*/ 758841 h 2076207"/>
              <a:gd name="csX55" fmla="*/ 497442 w 748195"/>
              <a:gd name="csY55" fmla="*/ 771256 h 2076207"/>
              <a:gd name="csX56" fmla="*/ 493005 w 748195"/>
              <a:gd name="csY56" fmla="*/ 922055 h 2076207"/>
              <a:gd name="csX57" fmla="*/ 502900 w 748195"/>
              <a:gd name="csY57" fmla="*/ 1114191 h 2076207"/>
              <a:gd name="csX58" fmla="*/ 508800 w 748195"/>
              <a:gd name="csY58" fmla="*/ 1205474 h 2076207"/>
              <a:gd name="csX59" fmla="*/ 522952 w 748195"/>
              <a:gd name="csY59" fmla="*/ 1320065 h 2076207"/>
              <a:gd name="csX60" fmla="*/ 554682 w 748195"/>
              <a:gd name="csY60" fmla="*/ 1501203 h 2076207"/>
              <a:gd name="csX61" fmla="*/ 576958 w 748195"/>
              <a:gd name="csY61" fmla="*/ 1593963 h 2076207"/>
              <a:gd name="csX62" fmla="*/ 595349 w 748195"/>
              <a:gd name="csY62" fmla="*/ 1613498 h 2076207"/>
              <a:gd name="csX63" fmla="*/ 613936 w 748195"/>
              <a:gd name="csY63" fmla="*/ 1624058 h 2076207"/>
              <a:gd name="csX64" fmla="*/ 620938 w 748195"/>
              <a:gd name="csY64" fmla="*/ 1652071 h 2076207"/>
              <a:gd name="csX65" fmla="*/ 630805 w 748195"/>
              <a:gd name="csY65" fmla="*/ 1721702 h 2076207"/>
              <a:gd name="csX66" fmla="*/ 685830 w 748195"/>
              <a:gd name="csY66" fmla="*/ 1792915 h 2076207"/>
              <a:gd name="csX67" fmla="*/ 708904 w 748195"/>
              <a:gd name="csY67" fmla="*/ 1890290 h 2076207"/>
              <a:gd name="csX68" fmla="*/ 716580 w 748195"/>
              <a:gd name="csY68" fmla="*/ 1951136 h 2076207"/>
              <a:gd name="csX69" fmla="*/ 729397 w 748195"/>
              <a:gd name="csY69" fmla="*/ 2030261 h 2076207"/>
              <a:gd name="csX70" fmla="*/ 714212 w 748195"/>
              <a:gd name="csY70" fmla="*/ 2049544 h 2076207"/>
              <a:gd name="csX71" fmla="*/ 645428 w 748195"/>
              <a:gd name="csY71" fmla="*/ 2070825 h 2076207"/>
              <a:gd name="csX72" fmla="*/ 588428 w 748195"/>
              <a:gd name="csY72" fmla="*/ 2075144 h 2076207"/>
              <a:gd name="csX73" fmla="*/ 667788 w 748195"/>
              <a:gd name="csY73" fmla="*/ 2056852 h 2076207"/>
              <a:gd name="csX74" fmla="*/ 706629 w 748195"/>
              <a:gd name="csY74" fmla="*/ 2044290 h 2076207"/>
              <a:gd name="csX75" fmla="*/ 702674 w 748195"/>
              <a:gd name="csY75" fmla="*/ 2041581 h 2076207"/>
              <a:gd name="csX76" fmla="*/ 96263 w 748195"/>
              <a:gd name="csY76" fmla="*/ 2076207 h 2076207"/>
              <a:gd name="csX77" fmla="*/ 489970 w 748195"/>
              <a:gd name="csY77" fmla="*/ 152208 h 2076207"/>
              <a:gd name="csX78" fmla="*/ 490754 w 748195"/>
              <a:gd name="csY78" fmla="*/ 152592 h 2076207"/>
              <a:gd name="csX79" fmla="*/ 489489 w 748195"/>
              <a:gd name="csY79" fmla="*/ 149547 h 2076207"/>
              <a:gd name="csX80" fmla="*/ 393621 w 748195"/>
              <a:gd name="csY80" fmla="*/ 99259 h 2076207"/>
              <a:gd name="csX81" fmla="*/ 390419 w 748195"/>
              <a:gd name="csY81" fmla="*/ 18568 h 2076207"/>
              <a:gd name="csX82" fmla="*/ 334131 w 748195"/>
              <a:gd name="csY82" fmla="*/ 24327 h 2076207"/>
              <a:gd name="csX83" fmla="*/ 344678 w 748195"/>
              <a:gd name="csY83" fmla="*/ 101259 h 2076207"/>
              <a:gd name="csX84" fmla="*/ 298854 w 748195"/>
              <a:gd name="csY84" fmla="*/ 114003 h 2076207"/>
              <a:gd name="csX85" fmla="*/ 237456 w 748195"/>
              <a:gd name="csY85" fmla="*/ 154340 h 2076207"/>
              <a:gd name="csX86" fmla="*/ 240382 w 748195"/>
              <a:gd name="csY86" fmla="*/ 154035 h 2076207"/>
              <a:gd name="csX87" fmla="*/ 262731 w 748195"/>
              <a:gd name="csY87" fmla="*/ 170426 h 2076207"/>
              <a:gd name="csX88" fmla="*/ 279169 w 748195"/>
              <a:gd name="csY88" fmla="*/ 193173 h 2076207"/>
              <a:gd name="csX89" fmla="*/ 327717 w 748195"/>
              <a:gd name="csY89" fmla="*/ 188556 h 2076207"/>
              <a:gd name="csX90" fmla="*/ 348052 w 748195"/>
              <a:gd name="csY90" fmla="*/ 156919 h 2076207"/>
              <a:gd name="csX91" fmla="*/ 380330 w 748195"/>
              <a:gd name="csY91" fmla="*/ 156483 h 2076207"/>
              <a:gd name="csX92" fmla="*/ 408490 w 748195"/>
              <a:gd name="csY92" fmla="*/ 195400 h 2076207"/>
              <a:gd name="csX93" fmla="*/ 445346 w 748195"/>
              <a:gd name="csY93" fmla="*/ 197582 h 2076207"/>
              <a:gd name="csX94" fmla="*/ 464798 w 748195"/>
              <a:gd name="csY94" fmla="*/ 174107 h 2076207"/>
              <a:gd name="csX95" fmla="*/ 489970 w 748195"/>
              <a:gd name="csY95" fmla="*/ 152208 h 2076207"/>
              <a:gd name="csX96" fmla="*/ 140694 w 748195"/>
              <a:gd name="csY96" fmla="*/ 201837 h 2076207"/>
              <a:gd name="csX97" fmla="*/ 139834 w 748195"/>
              <a:gd name="csY97" fmla="*/ 201482 h 2076207"/>
              <a:gd name="csX98" fmla="*/ 140812 w 748195"/>
              <a:gd name="csY98" fmla="*/ 204941 h 2076207"/>
              <a:gd name="csX99" fmla="*/ 144631 w 748195"/>
              <a:gd name="csY99" fmla="*/ 217811 h 2076207"/>
              <a:gd name="csX100" fmla="*/ 201241 w 748195"/>
              <a:gd name="csY100" fmla="*/ 373387 h 2076207"/>
              <a:gd name="csX101" fmla="*/ 235971 w 748195"/>
              <a:gd name="csY101" fmla="*/ 504451 h 2076207"/>
              <a:gd name="csX102" fmla="*/ 247475 w 748195"/>
              <a:gd name="csY102" fmla="*/ 513241 h 2076207"/>
              <a:gd name="csX103" fmla="*/ 289066 w 748195"/>
              <a:gd name="csY103" fmla="*/ 511170 h 2076207"/>
              <a:gd name="csX104" fmla="*/ 378229 w 748195"/>
              <a:gd name="csY104" fmla="*/ 511084 h 2076207"/>
              <a:gd name="csX105" fmla="*/ 470850 w 748195"/>
              <a:gd name="csY105" fmla="*/ 516341 h 2076207"/>
              <a:gd name="csX106" fmla="*/ 492933 w 748195"/>
              <a:gd name="csY106" fmla="*/ 497969 h 2076207"/>
              <a:gd name="csX107" fmla="*/ 557617 w 748195"/>
              <a:gd name="csY107" fmla="*/ 280398 h 2076207"/>
              <a:gd name="csX108" fmla="*/ 588788 w 748195"/>
              <a:gd name="csY108" fmla="*/ 200385 h 2076207"/>
              <a:gd name="csX109" fmla="*/ 530958 w 748195"/>
              <a:gd name="csY109" fmla="*/ 232968 h 2076207"/>
              <a:gd name="csX110" fmla="*/ 483823 w 748195"/>
              <a:gd name="csY110" fmla="*/ 190364 h 2076207"/>
              <a:gd name="csX111" fmla="*/ 466649 w 748195"/>
              <a:gd name="csY111" fmla="*/ 209061 h 2076207"/>
              <a:gd name="csX112" fmla="*/ 399941 w 748195"/>
              <a:gd name="csY112" fmla="*/ 216988 h 2076207"/>
              <a:gd name="csX113" fmla="*/ 363018 w 748195"/>
              <a:gd name="csY113" fmla="*/ 179615 h 2076207"/>
              <a:gd name="csX114" fmla="*/ 308839 w 748195"/>
              <a:gd name="csY114" fmla="*/ 227846 h 2076207"/>
              <a:gd name="csX115" fmla="*/ 245077 w 748195"/>
              <a:gd name="csY115" fmla="*/ 192402 h 2076207"/>
              <a:gd name="csX116" fmla="*/ 242829 w 748195"/>
              <a:gd name="csY116" fmla="*/ 198815 h 2076207"/>
              <a:gd name="csX117" fmla="*/ 168452 w 748195"/>
              <a:gd name="csY117" fmla="*/ 219348 h 2076207"/>
              <a:gd name="csX118" fmla="*/ 140694 w 748195"/>
              <a:gd name="csY118" fmla="*/ 201837 h 2076207"/>
              <a:gd name="csX119" fmla="*/ 259999 w 748195"/>
              <a:gd name="csY119" fmla="*/ 966699 h 2076207"/>
              <a:gd name="csX120" fmla="*/ 257072 w 748195"/>
              <a:gd name="csY120" fmla="*/ 1070424 h 2076207"/>
              <a:gd name="csX121" fmla="*/ 251372 w 748195"/>
              <a:gd name="csY121" fmla="*/ 1157618 h 2076207"/>
              <a:gd name="csX122" fmla="*/ 232677 w 748195"/>
              <a:gd name="csY122" fmla="*/ 1320279 h 2076207"/>
              <a:gd name="csX123" fmla="*/ 209182 w 748195"/>
              <a:gd name="csY123" fmla="*/ 1468667 h 2076207"/>
              <a:gd name="csX124" fmla="*/ 175302 w 748195"/>
              <a:gd name="csY124" fmla="*/ 1616623 h 2076207"/>
              <a:gd name="csX125" fmla="*/ 182769 w 748195"/>
              <a:gd name="csY125" fmla="*/ 1629786 h 2076207"/>
              <a:gd name="csX126" fmla="*/ 212156 w 748195"/>
              <a:gd name="csY126" fmla="*/ 1632656 h 2076207"/>
              <a:gd name="csX127" fmla="*/ 351295 w 748195"/>
              <a:gd name="csY127" fmla="*/ 1632801 h 2076207"/>
              <a:gd name="csX128" fmla="*/ 376150 w 748195"/>
              <a:gd name="csY128" fmla="*/ 1608307 h 2076207"/>
              <a:gd name="csX129" fmla="*/ 373450 w 748195"/>
              <a:gd name="csY129" fmla="*/ 1457291 h 2076207"/>
              <a:gd name="csX130" fmla="*/ 370936 w 748195"/>
              <a:gd name="csY130" fmla="*/ 1342736 h 2076207"/>
              <a:gd name="csX131" fmla="*/ 368328 w 748195"/>
              <a:gd name="csY131" fmla="*/ 1203878 h 2076207"/>
              <a:gd name="csX132" fmla="*/ 367836 w 748195"/>
              <a:gd name="csY132" fmla="*/ 813478 h 2076207"/>
              <a:gd name="csX133" fmla="*/ 365240 w 748195"/>
              <a:gd name="csY133" fmla="*/ 773243 h 2076207"/>
              <a:gd name="csX134" fmla="*/ 353084 w 748195"/>
              <a:gd name="csY134" fmla="*/ 762083 h 2076207"/>
              <a:gd name="csX135" fmla="*/ 280966 w 748195"/>
              <a:gd name="csY135" fmla="*/ 759855 h 2076207"/>
              <a:gd name="csX136" fmla="*/ 259965 w 748195"/>
              <a:gd name="csY136" fmla="*/ 779553 h 2076207"/>
              <a:gd name="csX137" fmla="*/ 262341 w 748195"/>
              <a:gd name="csY137" fmla="*/ 856275 h 2076207"/>
              <a:gd name="csX138" fmla="*/ 259999 w 748195"/>
              <a:gd name="csY138" fmla="*/ 966699 h 2076207"/>
              <a:gd name="csX139" fmla="*/ 55556 w 748195"/>
              <a:gd name="csY139" fmla="*/ 1835827 h 2076207"/>
              <a:gd name="csX140" fmla="*/ 49393 w 748195"/>
              <a:gd name="csY140" fmla="*/ 1878155 h 2076207"/>
              <a:gd name="csX141" fmla="*/ 73949 w 748195"/>
              <a:gd name="csY141" fmla="*/ 1905781 h 2076207"/>
              <a:gd name="csX142" fmla="*/ 110073 w 748195"/>
              <a:gd name="csY142" fmla="*/ 1909068 h 2076207"/>
              <a:gd name="csX143" fmla="*/ 224745 w 748195"/>
              <a:gd name="csY143" fmla="*/ 1921652 h 2076207"/>
              <a:gd name="csX144" fmla="*/ 347327 w 748195"/>
              <a:gd name="csY144" fmla="*/ 1924778 h 2076207"/>
              <a:gd name="csX145" fmla="*/ 363345 w 748195"/>
              <a:gd name="csY145" fmla="*/ 1923293 h 2076207"/>
              <a:gd name="csX146" fmla="*/ 373787 w 748195"/>
              <a:gd name="csY146" fmla="*/ 1911200 h 2076207"/>
              <a:gd name="csX147" fmla="*/ 376623 w 748195"/>
              <a:gd name="csY147" fmla="*/ 1696741 h 2076207"/>
              <a:gd name="csX148" fmla="*/ 360437 w 748195"/>
              <a:gd name="csY148" fmla="*/ 1681289 h 2076207"/>
              <a:gd name="csX149" fmla="*/ 263503 w 748195"/>
              <a:gd name="csY149" fmla="*/ 1678179 h 2076207"/>
              <a:gd name="csX150" fmla="*/ 160381 w 748195"/>
              <a:gd name="csY150" fmla="*/ 1670405 h 2076207"/>
              <a:gd name="csX151" fmla="*/ 143321 w 748195"/>
              <a:gd name="csY151" fmla="*/ 1685538 h 2076207"/>
              <a:gd name="csX152" fmla="*/ 124769 w 748195"/>
              <a:gd name="csY152" fmla="*/ 1738195 h 2076207"/>
              <a:gd name="csX153" fmla="*/ 90593 w 748195"/>
              <a:gd name="csY153" fmla="*/ 1779570 h 2076207"/>
              <a:gd name="csX154" fmla="*/ 55556 w 748195"/>
              <a:gd name="csY154" fmla="*/ 1835827 h 2076207"/>
              <a:gd name="csX155" fmla="*/ 378900 w 748195"/>
              <a:gd name="csY155" fmla="*/ 2007280 h 2076207"/>
              <a:gd name="csX156" fmla="*/ 378887 w 748195"/>
              <a:gd name="csY156" fmla="*/ 1995127 h 2076207"/>
              <a:gd name="csX157" fmla="*/ 359084 w 748195"/>
              <a:gd name="csY157" fmla="*/ 1975964 h 2076207"/>
              <a:gd name="csX158" fmla="*/ 247288 w 748195"/>
              <a:gd name="csY158" fmla="*/ 1973305 h 2076207"/>
              <a:gd name="csX159" fmla="*/ 201692 w 748195"/>
              <a:gd name="csY159" fmla="*/ 1970275 h 2076207"/>
              <a:gd name="csX160" fmla="*/ 57962 w 748195"/>
              <a:gd name="csY160" fmla="*/ 1952648 h 2076207"/>
              <a:gd name="csX161" fmla="*/ 39194 w 748195"/>
              <a:gd name="csY161" fmla="*/ 1963552 h 2076207"/>
              <a:gd name="csX162" fmla="*/ 30066 w 748195"/>
              <a:gd name="csY162" fmla="*/ 2006631 h 2076207"/>
              <a:gd name="csX163" fmla="*/ 40232 w 748195"/>
              <a:gd name="csY163" fmla="*/ 2019486 h 2076207"/>
              <a:gd name="csX164" fmla="*/ 238186 w 748195"/>
              <a:gd name="csY164" fmla="*/ 2046096 h 2076207"/>
              <a:gd name="csX165" fmla="*/ 342155 w 748195"/>
              <a:gd name="csY165" fmla="*/ 2046441 h 2076207"/>
              <a:gd name="csX166" fmla="*/ 378900 w 748195"/>
              <a:gd name="csY166" fmla="*/ 2007280 h 2076207"/>
              <a:gd name="csX167" fmla="*/ 310220 w 748195"/>
              <a:gd name="csY167" fmla="*/ 554288 h 2076207"/>
              <a:gd name="csX168" fmla="*/ 259136 w 748195"/>
              <a:gd name="csY168" fmla="*/ 556881 h 2076207"/>
              <a:gd name="csX169" fmla="*/ 249085 w 748195"/>
              <a:gd name="csY169" fmla="*/ 567981 h 2076207"/>
              <a:gd name="csX170" fmla="*/ 249141 w 748195"/>
              <a:gd name="csY170" fmla="*/ 605644 h 2076207"/>
              <a:gd name="csX171" fmla="*/ 262628 w 748195"/>
              <a:gd name="csY171" fmla="*/ 605627 h 2076207"/>
              <a:gd name="csX172" fmla="*/ 369608 w 748195"/>
              <a:gd name="csY172" fmla="*/ 603027 h 2076207"/>
              <a:gd name="csX173" fmla="*/ 463931 w 748195"/>
              <a:gd name="csY173" fmla="*/ 605146 h 2076207"/>
              <a:gd name="csX174" fmla="*/ 478113 w 748195"/>
              <a:gd name="csY174" fmla="*/ 595843 h 2076207"/>
              <a:gd name="csX175" fmla="*/ 478796 w 748195"/>
              <a:gd name="csY175" fmla="*/ 556832 h 2076207"/>
              <a:gd name="csX176" fmla="*/ 310220 w 748195"/>
              <a:gd name="csY176" fmla="*/ 554288 h 2076207"/>
              <a:gd name="csX177" fmla="*/ 348836 w 748195"/>
              <a:gd name="csY177" fmla="*/ 684115 h 2076207"/>
              <a:gd name="csX178" fmla="*/ 281333 w 748195"/>
              <a:gd name="csY178" fmla="*/ 683313 h 2076207"/>
              <a:gd name="csX179" fmla="*/ 212728 w 748195"/>
              <a:gd name="csY179" fmla="*/ 681931 h 2076207"/>
              <a:gd name="csX180" fmla="*/ 187283 w 748195"/>
              <a:gd name="csY180" fmla="*/ 689555 h 2076207"/>
              <a:gd name="csX181" fmla="*/ 186163 w 748195"/>
              <a:gd name="csY181" fmla="*/ 718266 h 2076207"/>
              <a:gd name="csX182" fmla="*/ 209894 w 748195"/>
              <a:gd name="csY182" fmla="*/ 726798 h 2076207"/>
              <a:gd name="csX183" fmla="*/ 334814 w 748195"/>
              <a:gd name="csY183" fmla="*/ 732494 h 2076207"/>
              <a:gd name="csX184" fmla="*/ 364856 w 748195"/>
              <a:gd name="csY184" fmla="*/ 707963 h 2076207"/>
              <a:gd name="csX185" fmla="*/ 348836 w 748195"/>
              <a:gd name="csY185" fmla="*/ 684115 h 2076207"/>
              <a:gd name="csX186" fmla="*/ 298865 w 748195"/>
              <a:gd name="csY186" fmla="*/ 621954 h 2076207"/>
              <a:gd name="csX187" fmla="*/ 251619 w 748195"/>
              <a:gd name="csY187" fmla="*/ 622133 h 2076207"/>
              <a:gd name="csX188" fmla="*/ 214459 w 748195"/>
              <a:gd name="csY188" fmla="*/ 636230 h 2076207"/>
              <a:gd name="csX189" fmla="*/ 221436 w 748195"/>
              <a:gd name="csY189" fmla="*/ 654205 h 2076207"/>
              <a:gd name="csX190" fmla="*/ 272412 w 748195"/>
              <a:gd name="csY190" fmla="*/ 657250 h 2076207"/>
              <a:gd name="csX191" fmla="*/ 349094 w 748195"/>
              <a:gd name="csY191" fmla="*/ 659282 h 2076207"/>
              <a:gd name="csX192" fmla="*/ 362996 w 748195"/>
              <a:gd name="csY192" fmla="*/ 644234 h 2076207"/>
              <a:gd name="csX193" fmla="*/ 348472 w 748195"/>
              <a:gd name="csY193" fmla="*/ 624649 h 2076207"/>
              <a:gd name="csX194" fmla="*/ 298865 w 748195"/>
              <a:gd name="csY194" fmla="*/ 621954 h 2076207"/>
              <a:gd name="csX195" fmla="*/ 227796 w 748195"/>
              <a:gd name="csY195" fmla="*/ 528000 h 2076207"/>
              <a:gd name="csX196" fmla="*/ 241009 w 748195"/>
              <a:gd name="csY196" fmla="*/ 545897 h 2076207"/>
              <a:gd name="csX197" fmla="*/ 282607 w 748195"/>
              <a:gd name="csY197" fmla="*/ 543480 h 2076207"/>
              <a:gd name="csX198" fmla="*/ 354213 w 748195"/>
              <a:gd name="csY198" fmla="*/ 543384 h 2076207"/>
              <a:gd name="csX199" fmla="*/ 365334 w 748195"/>
              <a:gd name="csY199" fmla="*/ 533397 h 2076207"/>
              <a:gd name="csX200" fmla="*/ 354531 w 748195"/>
              <a:gd name="csY200" fmla="*/ 521620 h 2076207"/>
              <a:gd name="csX201" fmla="*/ 259169 w 748195"/>
              <a:gd name="csY201" fmla="*/ 521978 h 2076207"/>
              <a:gd name="csX202" fmla="*/ 227796 w 748195"/>
              <a:gd name="csY202" fmla="*/ 528000 h 2076207"/>
              <a:gd name="csX203" fmla="*/ 508068 w 748195"/>
              <a:gd name="csY203" fmla="*/ 190710 h 2076207"/>
              <a:gd name="csX204" fmla="*/ 521293 w 748195"/>
              <a:gd name="csY204" fmla="*/ 205907 h 2076207"/>
              <a:gd name="csX205" fmla="*/ 525175 w 748195"/>
              <a:gd name="csY205" fmla="*/ 202985 h 2076207"/>
              <a:gd name="csX206" fmla="*/ 500276 w 748195"/>
              <a:gd name="csY206" fmla="*/ 160640 h 2076207"/>
              <a:gd name="csX207" fmla="*/ 497122 w 748195"/>
              <a:gd name="csY207" fmla="*/ 162007 h 2076207"/>
              <a:gd name="csX208" fmla="*/ 508068 w 748195"/>
              <a:gd name="csY208" fmla="*/ 190710 h 2076207"/>
              <a:gd name="csX209" fmla="*/ 215522 w 748195"/>
              <a:gd name="csY209" fmla="*/ 197296 h 2076207"/>
              <a:gd name="csX210" fmla="*/ 234029 w 748195"/>
              <a:gd name="csY210" fmla="*/ 162725 h 2076207"/>
              <a:gd name="csX211" fmla="*/ 229000 w 748195"/>
              <a:gd name="csY211" fmla="*/ 159902 h 2076207"/>
              <a:gd name="csX212" fmla="*/ 204824 w 748195"/>
              <a:gd name="csY212" fmla="*/ 199677 h 2076207"/>
              <a:gd name="csX213" fmla="*/ 207990 w 748195"/>
              <a:gd name="csY213" fmla="*/ 202198 h 2076207"/>
              <a:gd name="csX214" fmla="*/ 215522 w 748195"/>
              <a:gd name="csY214" fmla="*/ 197296 h 2076207"/>
              <a:gd name="csX215" fmla="*/ 484400 w 748195"/>
              <a:gd name="csY215" fmla="*/ 896678 h 2076207"/>
              <a:gd name="csX216" fmla="*/ 486181 w 748195"/>
              <a:gd name="csY216" fmla="*/ 896585 h 2076207"/>
              <a:gd name="csX217" fmla="*/ 486181 w 748195"/>
              <a:gd name="csY217" fmla="*/ 795289 h 2076207"/>
              <a:gd name="csX218" fmla="*/ 720241 w 748195"/>
              <a:gd name="csY218" fmla="*/ 2030666 h 2076207"/>
              <a:gd name="csX219" fmla="*/ 721175 w 748195"/>
              <a:gd name="csY219" fmla="*/ 2029733 h 2076207"/>
              <a:gd name="csX220" fmla="*/ 720241 w 748195"/>
              <a:gd name="csY220" fmla="*/ 2030666 h 2076207"/>
              <a:gd name="csX221" fmla="*/ 715702 w 748195"/>
              <a:gd name="csY221" fmla="*/ 2037051 h 2076207"/>
              <a:gd name="csX222" fmla="*/ 715702 w 748195"/>
              <a:gd name="csY222" fmla="*/ 2037051 h 2076207"/>
              <a:gd name="csX0" fmla="*/ 96263 w 748195"/>
              <a:gd name="csY0" fmla="*/ 2076207 h 2076207"/>
              <a:gd name="csX1" fmla="*/ 63862 w 748195"/>
              <a:gd name="csY1" fmla="*/ 2065388 h 2076207"/>
              <a:gd name="csX2" fmla="*/ 16555 w 748195"/>
              <a:gd name="csY2" fmla="*/ 2050152 h 2076207"/>
              <a:gd name="csX3" fmla="*/ 15 w 748195"/>
              <a:gd name="csY3" fmla="*/ 2023802 h 2076207"/>
              <a:gd name="csX4" fmla="*/ 18368 w 748195"/>
              <a:gd name="csY4" fmla="*/ 1940709 h 2076207"/>
              <a:gd name="csX5" fmla="*/ 22139 w 748195"/>
              <a:gd name="csY5" fmla="*/ 1907268 h 2076207"/>
              <a:gd name="csX6" fmla="*/ 57941 w 748195"/>
              <a:gd name="csY6" fmla="*/ 1774163 h 2076207"/>
              <a:gd name="csX7" fmla="*/ 102478 w 748195"/>
              <a:gd name="csY7" fmla="*/ 1720275 h 2076207"/>
              <a:gd name="csX8" fmla="*/ 108579 w 748195"/>
              <a:gd name="csY8" fmla="*/ 1650967 h 2076207"/>
              <a:gd name="csX9" fmla="*/ 115628 w 748195"/>
              <a:gd name="csY9" fmla="*/ 1625405 h 2076207"/>
              <a:gd name="csX10" fmla="*/ 156323 w 748195"/>
              <a:gd name="csY10" fmla="*/ 1560181 h 2076207"/>
              <a:gd name="csX11" fmla="*/ 199424 w 748195"/>
              <a:gd name="csY11" fmla="*/ 1364729 h 2076207"/>
              <a:gd name="csX12" fmla="*/ 216779 w 748195"/>
              <a:gd name="csY12" fmla="*/ 1219490 h 2076207"/>
              <a:gd name="csX13" fmla="*/ 229755 w 748195"/>
              <a:gd name="csY13" fmla="*/ 1099357 h 2076207"/>
              <a:gd name="csX14" fmla="*/ 232707 w 748195"/>
              <a:gd name="csY14" fmla="*/ 1056423 h 2076207"/>
              <a:gd name="csX15" fmla="*/ 235622 w 748195"/>
              <a:gd name="csY15" fmla="*/ 952675 h 2076207"/>
              <a:gd name="csX16" fmla="*/ 235445 w 748195"/>
              <a:gd name="csY16" fmla="*/ 780278 h 2076207"/>
              <a:gd name="csX17" fmla="*/ 214544 w 748195"/>
              <a:gd name="csY17" fmla="*/ 756435 h 2076207"/>
              <a:gd name="csX18" fmla="*/ 172569 w 748195"/>
              <a:gd name="csY18" fmla="*/ 742582 h 2076207"/>
              <a:gd name="csX19" fmla="*/ 168784 w 748195"/>
              <a:gd name="csY19" fmla="*/ 669116 h 2076207"/>
              <a:gd name="csX20" fmla="*/ 191657 w 748195"/>
              <a:gd name="csY20" fmla="*/ 630765 h 2076207"/>
              <a:gd name="csX21" fmla="*/ 208150 w 748195"/>
              <a:gd name="csY21" fmla="*/ 609084 h 2076207"/>
              <a:gd name="csX22" fmla="*/ 216756 w 748195"/>
              <a:gd name="csY22" fmla="*/ 558673 h 2076207"/>
              <a:gd name="csX23" fmla="*/ 209092 w 748195"/>
              <a:gd name="csY23" fmla="*/ 521540 h 2076207"/>
              <a:gd name="csX24" fmla="*/ 204683 w 748195"/>
              <a:gd name="csY24" fmla="*/ 474024 h 2076207"/>
              <a:gd name="csX25" fmla="*/ 115483 w 748195"/>
              <a:gd name="csY25" fmla="*/ 213499 h 2076207"/>
              <a:gd name="csX26" fmla="*/ 102909 w 748195"/>
              <a:gd name="csY26" fmla="*/ 182297 h 2076207"/>
              <a:gd name="csX27" fmla="*/ 104315 w 748195"/>
              <a:gd name="csY27" fmla="*/ 163968 h 2076207"/>
              <a:gd name="csX28" fmla="*/ 122444 w 748195"/>
              <a:gd name="csY28" fmla="*/ 160805 h 2076207"/>
              <a:gd name="csX29" fmla="*/ 170283 w 748195"/>
              <a:gd name="csY29" fmla="*/ 187783 h 2076207"/>
              <a:gd name="csX30" fmla="*/ 180938 w 748195"/>
              <a:gd name="csY30" fmla="*/ 195322 h 2076207"/>
              <a:gd name="csX31" fmla="*/ 221419 w 748195"/>
              <a:gd name="csY31" fmla="*/ 138058 h 2076207"/>
              <a:gd name="csX32" fmla="*/ 294099 w 748195"/>
              <a:gd name="csY32" fmla="*/ 91372 h 2076207"/>
              <a:gd name="csX33" fmla="*/ 302307 w 748195"/>
              <a:gd name="csY33" fmla="*/ 76560 h 2076207"/>
              <a:gd name="csX34" fmla="*/ 320284 w 748195"/>
              <a:gd name="csY34" fmla="*/ 8414 h 2076207"/>
              <a:gd name="csX35" fmla="*/ 324784 w 748195"/>
              <a:gd name="csY35" fmla="*/ 946 h 2076207"/>
              <a:gd name="csX36" fmla="*/ 399212 w 748195"/>
              <a:gd name="csY36" fmla="*/ 0 h 2076207"/>
              <a:gd name="csX37" fmla="*/ 425980 w 748195"/>
              <a:gd name="csY37" fmla="*/ 78301 h 2076207"/>
              <a:gd name="csX38" fmla="*/ 431861 w 748195"/>
              <a:gd name="csY38" fmla="*/ 90312 h 2076207"/>
              <a:gd name="csX39" fmla="*/ 540349 w 748195"/>
              <a:gd name="csY39" fmla="*/ 187946 h 2076207"/>
              <a:gd name="csX40" fmla="*/ 545555 w 748195"/>
              <a:gd name="csY40" fmla="*/ 197828 h 2076207"/>
              <a:gd name="csX41" fmla="*/ 587318 w 748195"/>
              <a:gd name="csY41" fmla="*/ 171260 h 2076207"/>
              <a:gd name="csX42" fmla="*/ 601503 w 748195"/>
              <a:gd name="csY42" fmla="*/ 163707 h 2076207"/>
              <a:gd name="csX43" fmla="*/ 625254 w 748195"/>
              <a:gd name="csY43" fmla="*/ 163123 h 2076207"/>
              <a:gd name="csX44" fmla="*/ 625468 w 748195"/>
              <a:gd name="csY44" fmla="*/ 187579 h 2076207"/>
              <a:gd name="csX45" fmla="*/ 597543 w 748195"/>
              <a:gd name="csY45" fmla="*/ 251872 h 2076207"/>
              <a:gd name="csX46" fmla="*/ 531831 w 748195"/>
              <a:gd name="csY46" fmla="*/ 442689 h 2076207"/>
              <a:gd name="csX47" fmla="*/ 519888 w 748195"/>
              <a:gd name="csY47" fmla="*/ 501474 h 2076207"/>
              <a:gd name="csX48" fmla="*/ 522506 w 748195"/>
              <a:gd name="csY48" fmla="*/ 525086 h 2076207"/>
              <a:gd name="csX49" fmla="*/ 516235 w 748195"/>
              <a:gd name="csY49" fmla="*/ 555946 h 2076207"/>
              <a:gd name="csX50" fmla="*/ 521332 w 748195"/>
              <a:gd name="csY50" fmla="*/ 610676 h 2076207"/>
              <a:gd name="csX51" fmla="*/ 541382 w 748195"/>
              <a:gd name="csY51" fmla="*/ 642597 h 2076207"/>
              <a:gd name="csX52" fmla="*/ 557031 w 748195"/>
              <a:gd name="csY52" fmla="*/ 667949 h 2076207"/>
              <a:gd name="csX53" fmla="*/ 553994 w 748195"/>
              <a:gd name="csY53" fmla="*/ 744146 h 2076207"/>
              <a:gd name="csX54" fmla="*/ 508215 w 748195"/>
              <a:gd name="csY54" fmla="*/ 758841 h 2076207"/>
              <a:gd name="csX55" fmla="*/ 497442 w 748195"/>
              <a:gd name="csY55" fmla="*/ 771256 h 2076207"/>
              <a:gd name="csX56" fmla="*/ 493005 w 748195"/>
              <a:gd name="csY56" fmla="*/ 922055 h 2076207"/>
              <a:gd name="csX57" fmla="*/ 502900 w 748195"/>
              <a:gd name="csY57" fmla="*/ 1114191 h 2076207"/>
              <a:gd name="csX58" fmla="*/ 508800 w 748195"/>
              <a:gd name="csY58" fmla="*/ 1205474 h 2076207"/>
              <a:gd name="csX59" fmla="*/ 522952 w 748195"/>
              <a:gd name="csY59" fmla="*/ 1320065 h 2076207"/>
              <a:gd name="csX60" fmla="*/ 554682 w 748195"/>
              <a:gd name="csY60" fmla="*/ 1501203 h 2076207"/>
              <a:gd name="csX61" fmla="*/ 576958 w 748195"/>
              <a:gd name="csY61" fmla="*/ 1593963 h 2076207"/>
              <a:gd name="csX62" fmla="*/ 595349 w 748195"/>
              <a:gd name="csY62" fmla="*/ 1613498 h 2076207"/>
              <a:gd name="csX63" fmla="*/ 613936 w 748195"/>
              <a:gd name="csY63" fmla="*/ 1624058 h 2076207"/>
              <a:gd name="csX64" fmla="*/ 620938 w 748195"/>
              <a:gd name="csY64" fmla="*/ 1652071 h 2076207"/>
              <a:gd name="csX65" fmla="*/ 630805 w 748195"/>
              <a:gd name="csY65" fmla="*/ 1721702 h 2076207"/>
              <a:gd name="csX66" fmla="*/ 685830 w 748195"/>
              <a:gd name="csY66" fmla="*/ 1792915 h 2076207"/>
              <a:gd name="csX67" fmla="*/ 708904 w 748195"/>
              <a:gd name="csY67" fmla="*/ 1890290 h 2076207"/>
              <a:gd name="csX68" fmla="*/ 716580 w 748195"/>
              <a:gd name="csY68" fmla="*/ 1951136 h 2076207"/>
              <a:gd name="csX69" fmla="*/ 729397 w 748195"/>
              <a:gd name="csY69" fmla="*/ 2030261 h 2076207"/>
              <a:gd name="csX70" fmla="*/ 714212 w 748195"/>
              <a:gd name="csY70" fmla="*/ 2049544 h 2076207"/>
              <a:gd name="csX71" fmla="*/ 645428 w 748195"/>
              <a:gd name="csY71" fmla="*/ 2070825 h 2076207"/>
              <a:gd name="csX72" fmla="*/ 667788 w 748195"/>
              <a:gd name="csY72" fmla="*/ 2056852 h 2076207"/>
              <a:gd name="csX73" fmla="*/ 706629 w 748195"/>
              <a:gd name="csY73" fmla="*/ 2044290 h 2076207"/>
              <a:gd name="csX74" fmla="*/ 702674 w 748195"/>
              <a:gd name="csY74" fmla="*/ 2041581 h 2076207"/>
              <a:gd name="csX75" fmla="*/ 96263 w 748195"/>
              <a:gd name="csY75" fmla="*/ 2076207 h 2076207"/>
              <a:gd name="csX76" fmla="*/ 489970 w 748195"/>
              <a:gd name="csY76" fmla="*/ 152208 h 2076207"/>
              <a:gd name="csX77" fmla="*/ 490754 w 748195"/>
              <a:gd name="csY77" fmla="*/ 152592 h 2076207"/>
              <a:gd name="csX78" fmla="*/ 489489 w 748195"/>
              <a:gd name="csY78" fmla="*/ 149547 h 2076207"/>
              <a:gd name="csX79" fmla="*/ 393621 w 748195"/>
              <a:gd name="csY79" fmla="*/ 99259 h 2076207"/>
              <a:gd name="csX80" fmla="*/ 390419 w 748195"/>
              <a:gd name="csY80" fmla="*/ 18568 h 2076207"/>
              <a:gd name="csX81" fmla="*/ 334131 w 748195"/>
              <a:gd name="csY81" fmla="*/ 24327 h 2076207"/>
              <a:gd name="csX82" fmla="*/ 344678 w 748195"/>
              <a:gd name="csY82" fmla="*/ 101259 h 2076207"/>
              <a:gd name="csX83" fmla="*/ 298854 w 748195"/>
              <a:gd name="csY83" fmla="*/ 114003 h 2076207"/>
              <a:gd name="csX84" fmla="*/ 237456 w 748195"/>
              <a:gd name="csY84" fmla="*/ 154340 h 2076207"/>
              <a:gd name="csX85" fmla="*/ 240382 w 748195"/>
              <a:gd name="csY85" fmla="*/ 154035 h 2076207"/>
              <a:gd name="csX86" fmla="*/ 262731 w 748195"/>
              <a:gd name="csY86" fmla="*/ 170426 h 2076207"/>
              <a:gd name="csX87" fmla="*/ 279169 w 748195"/>
              <a:gd name="csY87" fmla="*/ 193173 h 2076207"/>
              <a:gd name="csX88" fmla="*/ 327717 w 748195"/>
              <a:gd name="csY88" fmla="*/ 188556 h 2076207"/>
              <a:gd name="csX89" fmla="*/ 348052 w 748195"/>
              <a:gd name="csY89" fmla="*/ 156919 h 2076207"/>
              <a:gd name="csX90" fmla="*/ 380330 w 748195"/>
              <a:gd name="csY90" fmla="*/ 156483 h 2076207"/>
              <a:gd name="csX91" fmla="*/ 408490 w 748195"/>
              <a:gd name="csY91" fmla="*/ 195400 h 2076207"/>
              <a:gd name="csX92" fmla="*/ 445346 w 748195"/>
              <a:gd name="csY92" fmla="*/ 197582 h 2076207"/>
              <a:gd name="csX93" fmla="*/ 464798 w 748195"/>
              <a:gd name="csY93" fmla="*/ 174107 h 2076207"/>
              <a:gd name="csX94" fmla="*/ 489970 w 748195"/>
              <a:gd name="csY94" fmla="*/ 152208 h 2076207"/>
              <a:gd name="csX95" fmla="*/ 140694 w 748195"/>
              <a:gd name="csY95" fmla="*/ 201837 h 2076207"/>
              <a:gd name="csX96" fmla="*/ 139834 w 748195"/>
              <a:gd name="csY96" fmla="*/ 201482 h 2076207"/>
              <a:gd name="csX97" fmla="*/ 140812 w 748195"/>
              <a:gd name="csY97" fmla="*/ 204941 h 2076207"/>
              <a:gd name="csX98" fmla="*/ 144631 w 748195"/>
              <a:gd name="csY98" fmla="*/ 217811 h 2076207"/>
              <a:gd name="csX99" fmla="*/ 201241 w 748195"/>
              <a:gd name="csY99" fmla="*/ 373387 h 2076207"/>
              <a:gd name="csX100" fmla="*/ 235971 w 748195"/>
              <a:gd name="csY100" fmla="*/ 504451 h 2076207"/>
              <a:gd name="csX101" fmla="*/ 247475 w 748195"/>
              <a:gd name="csY101" fmla="*/ 513241 h 2076207"/>
              <a:gd name="csX102" fmla="*/ 289066 w 748195"/>
              <a:gd name="csY102" fmla="*/ 511170 h 2076207"/>
              <a:gd name="csX103" fmla="*/ 378229 w 748195"/>
              <a:gd name="csY103" fmla="*/ 511084 h 2076207"/>
              <a:gd name="csX104" fmla="*/ 470850 w 748195"/>
              <a:gd name="csY104" fmla="*/ 516341 h 2076207"/>
              <a:gd name="csX105" fmla="*/ 492933 w 748195"/>
              <a:gd name="csY105" fmla="*/ 497969 h 2076207"/>
              <a:gd name="csX106" fmla="*/ 557617 w 748195"/>
              <a:gd name="csY106" fmla="*/ 280398 h 2076207"/>
              <a:gd name="csX107" fmla="*/ 588788 w 748195"/>
              <a:gd name="csY107" fmla="*/ 200385 h 2076207"/>
              <a:gd name="csX108" fmla="*/ 530958 w 748195"/>
              <a:gd name="csY108" fmla="*/ 232968 h 2076207"/>
              <a:gd name="csX109" fmla="*/ 483823 w 748195"/>
              <a:gd name="csY109" fmla="*/ 190364 h 2076207"/>
              <a:gd name="csX110" fmla="*/ 466649 w 748195"/>
              <a:gd name="csY110" fmla="*/ 209061 h 2076207"/>
              <a:gd name="csX111" fmla="*/ 399941 w 748195"/>
              <a:gd name="csY111" fmla="*/ 216988 h 2076207"/>
              <a:gd name="csX112" fmla="*/ 363018 w 748195"/>
              <a:gd name="csY112" fmla="*/ 179615 h 2076207"/>
              <a:gd name="csX113" fmla="*/ 308839 w 748195"/>
              <a:gd name="csY113" fmla="*/ 227846 h 2076207"/>
              <a:gd name="csX114" fmla="*/ 245077 w 748195"/>
              <a:gd name="csY114" fmla="*/ 192402 h 2076207"/>
              <a:gd name="csX115" fmla="*/ 242829 w 748195"/>
              <a:gd name="csY115" fmla="*/ 198815 h 2076207"/>
              <a:gd name="csX116" fmla="*/ 168452 w 748195"/>
              <a:gd name="csY116" fmla="*/ 219348 h 2076207"/>
              <a:gd name="csX117" fmla="*/ 140694 w 748195"/>
              <a:gd name="csY117" fmla="*/ 201837 h 2076207"/>
              <a:gd name="csX118" fmla="*/ 259999 w 748195"/>
              <a:gd name="csY118" fmla="*/ 966699 h 2076207"/>
              <a:gd name="csX119" fmla="*/ 257072 w 748195"/>
              <a:gd name="csY119" fmla="*/ 1070424 h 2076207"/>
              <a:gd name="csX120" fmla="*/ 251372 w 748195"/>
              <a:gd name="csY120" fmla="*/ 1157618 h 2076207"/>
              <a:gd name="csX121" fmla="*/ 232677 w 748195"/>
              <a:gd name="csY121" fmla="*/ 1320279 h 2076207"/>
              <a:gd name="csX122" fmla="*/ 209182 w 748195"/>
              <a:gd name="csY122" fmla="*/ 1468667 h 2076207"/>
              <a:gd name="csX123" fmla="*/ 175302 w 748195"/>
              <a:gd name="csY123" fmla="*/ 1616623 h 2076207"/>
              <a:gd name="csX124" fmla="*/ 182769 w 748195"/>
              <a:gd name="csY124" fmla="*/ 1629786 h 2076207"/>
              <a:gd name="csX125" fmla="*/ 212156 w 748195"/>
              <a:gd name="csY125" fmla="*/ 1632656 h 2076207"/>
              <a:gd name="csX126" fmla="*/ 351295 w 748195"/>
              <a:gd name="csY126" fmla="*/ 1632801 h 2076207"/>
              <a:gd name="csX127" fmla="*/ 376150 w 748195"/>
              <a:gd name="csY127" fmla="*/ 1608307 h 2076207"/>
              <a:gd name="csX128" fmla="*/ 373450 w 748195"/>
              <a:gd name="csY128" fmla="*/ 1457291 h 2076207"/>
              <a:gd name="csX129" fmla="*/ 370936 w 748195"/>
              <a:gd name="csY129" fmla="*/ 1342736 h 2076207"/>
              <a:gd name="csX130" fmla="*/ 368328 w 748195"/>
              <a:gd name="csY130" fmla="*/ 1203878 h 2076207"/>
              <a:gd name="csX131" fmla="*/ 367836 w 748195"/>
              <a:gd name="csY131" fmla="*/ 813478 h 2076207"/>
              <a:gd name="csX132" fmla="*/ 365240 w 748195"/>
              <a:gd name="csY132" fmla="*/ 773243 h 2076207"/>
              <a:gd name="csX133" fmla="*/ 353084 w 748195"/>
              <a:gd name="csY133" fmla="*/ 762083 h 2076207"/>
              <a:gd name="csX134" fmla="*/ 280966 w 748195"/>
              <a:gd name="csY134" fmla="*/ 759855 h 2076207"/>
              <a:gd name="csX135" fmla="*/ 259965 w 748195"/>
              <a:gd name="csY135" fmla="*/ 779553 h 2076207"/>
              <a:gd name="csX136" fmla="*/ 262341 w 748195"/>
              <a:gd name="csY136" fmla="*/ 856275 h 2076207"/>
              <a:gd name="csX137" fmla="*/ 259999 w 748195"/>
              <a:gd name="csY137" fmla="*/ 966699 h 2076207"/>
              <a:gd name="csX138" fmla="*/ 55556 w 748195"/>
              <a:gd name="csY138" fmla="*/ 1835827 h 2076207"/>
              <a:gd name="csX139" fmla="*/ 49393 w 748195"/>
              <a:gd name="csY139" fmla="*/ 1878155 h 2076207"/>
              <a:gd name="csX140" fmla="*/ 73949 w 748195"/>
              <a:gd name="csY140" fmla="*/ 1905781 h 2076207"/>
              <a:gd name="csX141" fmla="*/ 110073 w 748195"/>
              <a:gd name="csY141" fmla="*/ 1909068 h 2076207"/>
              <a:gd name="csX142" fmla="*/ 224745 w 748195"/>
              <a:gd name="csY142" fmla="*/ 1921652 h 2076207"/>
              <a:gd name="csX143" fmla="*/ 347327 w 748195"/>
              <a:gd name="csY143" fmla="*/ 1924778 h 2076207"/>
              <a:gd name="csX144" fmla="*/ 363345 w 748195"/>
              <a:gd name="csY144" fmla="*/ 1923293 h 2076207"/>
              <a:gd name="csX145" fmla="*/ 373787 w 748195"/>
              <a:gd name="csY145" fmla="*/ 1911200 h 2076207"/>
              <a:gd name="csX146" fmla="*/ 376623 w 748195"/>
              <a:gd name="csY146" fmla="*/ 1696741 h 2076207"/>
              <a:gd name="csX147" fmla="*/ 360437 w 748195"/>
              <a:gd name="csY147" fmla="*/ 1681289 h 2076207"/>
              <a:gd name="csX148" fmla="*/ 263503 w 748195"/>
              <a:gd name="csY148" fmla="*/ 1678179 h 2076207"/>
              <a:gd name="csX149" fmla="*/ 160381 w 748195"/>
              <a:gd name="csY149" fmla="*/ 1670405 h 2076207"/>
              <a:gd name="csX150" fmla="*/ 143321 w 748195"/>
              <a:gd name="csY150" fmla="*/ 1685538 h 2076207"/>
              <a:gd name="csX151" fmla="*/ 124769 w 748195"/>
              <a:gd name="csY151" fmla="*/ 1738195 h 2076207"/>
              <a:gd name="csX152" fmla="*/ 90593 w 748195"/>
              <a:gd name="csY152" fmla="*/ 1779570 h 2076207"/>
              <a:gd name="csX153" fmla="*/ 55556 w 748195"/>
              <a:gd name="csY153" fmla="*/ 1835827 h 2076207"/>
              <a:gd name="csX154" fmla="*/ 378900 w 748195"/>
              <a:gd name="csY154" fmla="*/ 2007280 h 2076207"/>
              <a:gd name="csX155" fmla="*/ 378887 w 748195"/>
              <a:gd name="csY155" fmla="*/ 1995127 h 2076207"/>
              <a:gd name="csX156" fmla="*/ 359084 w 748195"/>
              <a:gd name="csY156" fmla="*/ 1975964 h 2076207"/>
              <a:gd name="csX157" fmla="*/ 247288 w 748195"/>
              <a:gd name="csY157" fmla="*/ 1973305 h 2076207"/>
              <a:gd name="csX158" fmla="*/ 201692 w 748195"/>
              <a:gd name="csY158" fmla="*/ 1970275 h 2076207"/>
              <a:gd name="csX159" fmla="*/ 57962 w 748195"/>
              <a:gd name="csY159" fmla="*/ 1952648 h 2076207"/>
              <a:gd name="csX160" fmla="*/ 39194 w 748195"/>
              <a:gd name="csY160" fmla="*/ 1963552 h 2076207"/>
              <a:gd name="csX161" fmla="*/ 30066 w 748195"/>
              <a:gd name="csY161" fmla="*/ 2006631 h 2076207"/>
              <a:gd name="csX162" fmla="*/ 40232 w 748195"/>
              <a:gd name="csY162" fmla="*/ 2019486 h 2076207"/>
              <a:gd name="csX163" fmla="*/ 238186 w 748195"/>
              <a:gd name="csY163" fmla="*/ 2046096 h 2076207"/>
              <a:gd name="csX164" fmla="*/ 342155 w 748195"/>
              <a:gd name="csY164" fmla="*/ 2046441 h 2076207"/>
              <a:gd name="csX165" fmla="*/ 378900 w 748195"/>
              <a:gd name="csY165" fmla="*/ 2007280 h 2076207"/>
              <a:gd name="csX166" fmla="*/ 310220 w 748195"/>
              <a:gd name="csY166" fmla="*/ 554288 h 2076207"/>
              <a:gd name="csX167" fmla="*/ 259136 w 748195"/>
              <a:gd name="csY167" fmla="*/ 556881 h 2076207"/>
              <a:gd name="csX168" fmla="*/ 249085 w 748195"/>
              <a:gd name="csY168" fmla="*/ 567981 h 2076207"/>
              <a:gd name="csX169" fmla="*/ 249141 w 748195"/>
              <a:gd name="csY169" fmla="*/ 605644 h 2076207"/>
              <a:gd name="csX170" fmla="*/ 262628 w 748195"/>
              <a:gd name="csY170" fmla="*/ 605627 h 2076207"/>
              <a:gd name="csX171" fmla="*/ 369608 w 748195"/>
              <a:gd name="csY171" fmla="*/ 603027 h 2076207"/>
              <a:gd name="csX172" fmla="*/ 463931 w 748195"/>
              <a:gd name="csY172" fmla="*/ 605146 h 2076207"/>
              <a:gd name="csX173" fmla="*/ 478113 w 748195"/>
              <a:gd name="csY173" fmla="*/ 595843 h 2076207"/>
              <a:gd name="csX174" fmla="*/ 478796 w 748195"/>
              <a:gd name="csY174" fmla="*/ 556832 h 2076207"/>
              <a:gd name="csX175" fmla="*/ 310220 w 748195"/>
              <a:gd name="csY175" fmla="*/ 554288 h 2076207"/>
              <a:gd name="csX176" fmla="*/ 348836 w 748195"/>
              <a:gd name="csY176" fmla="*/ 684115 h 2076207"/>
              <a:gd name="csX177" fmla="*/ 281333 w 748195"/>
              <a:gd name="csY177" fmla="*/ 683313 h 2076207"/>
              <a:gd name="csX178" fmla="*/ 212728 w 748195"/>
              <a:gd name="csY178" fmla="*/ 681931 h 2076207"/>
              <a:gd name="csX179" fmla="*/ 187283 w 748195"/>
              <a:gd name="csY179" fmla="*/ 689555 h 2076207"/>
              <a:gd name="csX180" fmla="*/ 186163 w 748195"/>
              <a:gd name="csY180" fmla="*/ 718266 h 2076207"/>
              <a:gd name="csX181" fmla="*/ 209894 w 748195"/>
              <a:gd name="csY181" fmla="*/ 726798 h 2076207"/>
              <a:gd name="csX182" fmla="*/ 334814 w 748195"/>
              <a:gd name="csY182" fmla="*/ 732494 h 2076207"/>
              <a:gd name="csX183" fmla="*/ 364856 w 748195"/>
              <a:gd name="csY183" fmla="*/ 707963 h 2076207"/>
              <a:gd name="csX184" fmla="*/ 348836 w 748195"/>
              <a:gd name="csY184" fmla="*/ 684115 h 2076207"/>
              <a:gd name="csX185" fmla="*/ 298865 w 748195"/>
              <a:gd name="csY185" fmla="*/ 621954 h 2076207"/>
              <a:gd name="csX186" fmla="*/ 251619 w 748195"/>
              <a:gd name="csY186" fmla="*/ 622133 h 2076207"/>
              <a:gd name="csX187" fmla="*/ 214459 w 748195"/>
              <a:gd name="csY187" fmla="*/ 636230 h 2076207"/>
              <a:gd name="csX188" fmla="*/ 221436 w 748195"/>
              <a:gd name="csY188" fmla="*/ 654205 h 2076207"/>
              <a:gd name="csX189" fmla="*/ 272412 w 748195"/>
              <a:gd name="csY189" fmla="*/ 657250 h 2076207"/>
              <a:gd name="csX190" fmla="*/ 349094 w 748195"/>
              <a:gd name="csY190" fmla="*/ 659282 h 2076207"/>
              <a:gd name="csX191" fmla="*/ 362996 w 748195"/>
              <a:gd name="csY191" fmla="*/ 644234 h 2076207"/>
              <a:gd name="csX192" fmla="*/ 348472 w 748195"/>
              <a:gd name="csY192" fmla="*/ 624649 h 2076207"/>
              <a:gd name="csX193" fmla="*/ 298865 w 748195"/>
              <a:gd name="csY193" fmla="*/ 621954 h 2076207"/>
              <a:gd name="csX194" fmla="*/ 227796 w 748195"/>
              <a:gd name="csY194" fmla="*/ 528000 h 2076207"/>
              <a:gd name="csX195" fmla="*/ 241009 w 748195"/>
              <a:gd name="csY195" fmla="*/ 545897 h 2076207"/>
              <a:gd name="csX196" fmla="*/ 282607 w 748195"/>
              <a:gd name="csY196" fmla="*/ 543480 h 2076207"/>
              <a:gd name="csX197" fmla="*/ 354213 w 748195"/>
              <a:gd name="csY197" fmla="*/ 543384 h 2076207"/>
              <a:gd name="csX198" fmla="*/ 365334 w 748195"/>
              <a:gd name="csY198" fmla="*/ 533397 h 2076207"/>
              <a:gd name="csX199" fmla="*/ 354531 w 748195"/>
              <a:gd name="csY199" fmla="*/ 521620 h 2076207"/>
              <a:gd name="csX200" fmla="*/ 259169 w 748195"/>
              <a:gd name="csY200" fmla="*/ 521978 h 2076207"/>
              <a:gd name="csX201" fmla="*/ 227796 w 748195"/>
              <a:gd name="csY201" fmla="*/ 528000 h 2076207"/>
              <a:gd name="csX202" fmla="*/ 508068 w 748195"/>
              <a:gd name="csY202" fmla="*/ 190710 h 2076207"/>
              <a:gd name="csX203" fmla="*/ 521293 w 748195"/>
              <a:gd name="csY203" fmla="*/ 205907 h 2076207"/>
              <a:gd name="csX204" fmla="*/ 525175 w 748195"/>
              <a:gd name="csY204" fmla="*/ 202985 h 2076207"/>
              <a:gd name="csX205" fmla="*/ 500276 w 748195"/>
              <a:gd name="csY205" fmla="*/ 160640 h 2076207"/>
              <a:gd name="csX206" fmla="*/ 497122 w 748195"/>
              <a:gd name="csY206" fmla="*/ 162007 h 2076207"/>
              <a:gd name="csX207" fmla="*/ 508068 w 748195"/>
              <a:gd name="csY207" fmla="*/ 190710 h 2076207"/>
              <a:gd name="csX208" fmla="*/ 215522 w 748195"/>
              <a:gd name="csY208" fmla="*/ 197296 h 2076207"/>
              <a:gd name="csX209" fmla="*/ 234029 w 748195"/>
              <a:gd name="csY209" fmla="*/ 162725 h 2076207"/>
              <a:gd name="csX210" fmla="*/ 229000 w 748195"/>
              <a:gd name="csY210" fmla="*/ 159902 h 2076207"/>
              <a:gd name="csX211" fmla="*/ 204824 w 748195"/>
              <a:gd name="csY211" fmla="*/ 199677 h 2076207"/>
              <a:gd name="csX212" fmla="*/ 207990 w 748195"/>
              <a:gd name="csY212" fmla="*/ 202198 h 2076207"/>
              <a:gd name="csX213" fmla="*/ 215522 w 748195"/>
              <a:gd name="csY213" fmla="*/ 197296 h 2076207"/>
              <a:gd name="csX214" fmla="*/ 484400 w 748195"/>
              <a:gd name="csY214" fmla="*/ 896678 h 2076207"/>
              <a:gd name="csX215" fmla="*/ 486181 w 748195"/>
              <a:gd name="csY215" fmla="*/ 896585 h 2076207"/>
              <a:gd name="csX216" fmla="*/ 486181 w 748195"/>
              <a:gd name="csY216" fmla="*/ 795289 h 2076207"/>
              <a:gd name="csX217" fmla="*/ 720241 w 748195"/>
              <a:gd name="csY217" fmla="*/ 2030666 h 2076207"/>
              <a:gd name="csX218" fmla="*/ 721175 w 748195"/>
              <a:gd name="csY218" fmla="*/ 2029733 h 2076207"/>
              <a:gd name="csX219" fmla="*/ 720241 w 748195"/>
              <a:gd name="csY219" fmla="*/ 2030666 h 2076207"/>
              <a:gd name="csX220" fmla="*/ 715702 w 748195"/>
              <a:gd name="csY220" fmla="*/ 2037051 h 2076207"/>
              <a:gd name="csX221" fmla="*/ 715702 w 748195"/>
              <a:gd name="csY221" fmla="*/ 2037051 h 2076207"/>
              <a:gd name="csX0" fmla="*/ 96263 w 748195"/>
              <a:gd name="csY0" fmla="*/ 2076207 h 2076207"/>
              <a:gd name="csX1" fmla="*/ 63862 w 748195"/>
              <a:gd name="csY1" fmla="*/ 2065388 h 2076207"/>
              <a:gd name="csX2" fmla="*/ 16555 w 748195"/>
              <a:gd name="csY2" fmla="*/ 2050152 h 2076207"/>
              <a:gd name="csX3" fmla="*/ 15 w 748195"/>
              <a:gd name="csY3" fmla="*/ 2023802 h 2076207"/>
              <a:gd name="csX4" fmla="*/ 18368 w 748195"/>
              <a:gd name="csY4" fmla="*/ 1940709 h 2076207"/>
              <a:gd name="csX5" fmla="*/ 22139 w 748195"/>
              <a:gd name="csY5" fmla="*/ 1907268 h 2076207"/>
              <a:gd name="csX6" fmla="*/ 57941 w 748195"/>
              <a:gd name="csY6" fmla="*/ 1774163 h 2076207"/>
              <a:gd name="csX7" fmla="*/ 102478 w 748195"/>
              <a:gd name="csY7" fmla="*/ 1720275 h 2076207"/>
              <a:gd name="csX8" fmla="*/ 108579 w 748195"/>
              <a:gd name="csY8" fmla="*/ 1650967 h 2076207"/>
              <a:gd name="csX9" fmla="*/ 115628 w 748195"/>
              <a:gd name="csY9" fmla="*/ 1625405 h 2076207"/>
              <a:gd name="csX10" fmla="*/ 156323 w 748195"/>
              <a:gd name="csY10" fmla="*/ 1560181 h 2076207"/>
              <a:gd name="csX11" fmla="*/ 199424 w 748195"/>
              <a:gd name="csY11" fmla="*/ 1364729 h 2076207"/>
              <a:gd name="csX12" fmla="*/ 216779 w 748195"/>
              <a:gd name="csY12" fmla="*/ 1219490 h 2076207"/>
              <a:gd name="csX13" fmla="*/ 229755 w 748195"/>
              <a:gd name="csY13" fmla="*/ 1099357 h 2076207"/>
              <a:gd name="csX14" fmla="*/ 232707 w 748195"/>
              <a:gd name="csY14" fmla="*/ 1056423 h 2076207"/>
              <a:gd name="csX15" fmla="*/ 235622 w 748195"/>
              <a:gd name="csY15" fmla="*/ 952675 h 2076207"/>
              <a:gd name="csX16" fmla="*/ 235445 w 748195"/>
              <a:gd name="csY16" fmla="*/ 780278 h 2076207"/>
              <a:gd name="csX17" fmla="*/ 214544 w 748195"/>
              <a:gd name="csY17" fmla="*/ 756435 h 2076207"/>
              <a:gd name="csX18" fmla="*/ 172569 w 748195"/>
              <a:gd name="csY18" fmla="*/ 742582 h 2076207"/>
              <a:gd name="csX19" fmla="*/ 168784 w 748195"/>
              <a:gd name="csY19" fmla="*/ 669116 h 2076207"/>
              <a:gd name="csX20" fmla="*/ 191657 w 748195"/>
              <a:gd name="csY20" fmla="*/ 630765 h 2076207"/>
              <a:gd name="csX21" fmla="*/ 208150 w 748195"/>
              <a:gd name="csY21" fmla="*/ 609084 h 2076207"/>
              <a:gd name="csX22" fmla="*/ 216756 w 748195"/>
              <a:gd name="csY22" fmla="*/ 558673 h 2076207"/>
              <a:gd name="csX23" fmla="*/ 209092 w 748195"/>
              <a:gd name="csY23" fmla="*/ 521540 h 2076207"/>
              <a:gd name="csX24" fmla="*/ 204683 w 748195"/>
              <a:gd name="csY24" fmla="*/ 474024 h 2076207"/>
              <a:gd name="csX25" fmla="*/ 115483 w 748195"/>
              <a:gd name="csY25" fmla="*/ 213499 h 2076207"/>
              <a:gd name="csX26" fmla="*/ 102909 w 748195"/>
              <a:gd name="csY26" fmla="*/ 182297 h 2076207"/>
              <a:gd name="csX27" fmla="*/ 104315 w 748195"/>
              <a:gd name="csY27" fmla="*/ 163968 h 2076207"/>
              <a:gd name="csX28" fmla="*/ 122444 w 748195"/>
              <a:gd name="csY28" fmla="*/ 160805 h 2076207"/>
              <a:gd name="csX29" fmla="*/ 170283 w 748195"/>
              <a:gd name="csY29" fmla="*/ 187783 h 2076207"/>
              <a:gd name="csX30" fmla="*/ 180938 w 748195"/>
              <a:gd name="csY30" fmla="*/ 195322 h 2076207"/>
              <a:gd name="csX31" fmla="*/ 221419 w 748195"/>
              <a:gd name="csY31" fmla="*/ 138058 h 2076207"/>
              <a:gd name="csX32" fmla="*/ 294099 w 748195"/>
              <a:gd name="csY32" fmla="*/ 91372 h 2076207"/>
              <a:gd name="csX33" fmla="*/ 302307 w 748195"/>
              <a:gd name="csY33" fmla="*/ 76560 h 2076207"/>
              <a:gd name="csX34" fmla="*/ 320284 w 748195"/>
              <a:gd name="csY34" fmla="*/ 8414 h 2076207"/>
              <a:gd name="csX35" fmla="*/ 324784 w 748195"/>
              <a:gd name="csY35" fmla="*/ 946 h 2076207"/>
              <a:gd name="csX36" fmla="*/ 399212 w 748195"/>
              <a:gd name="csY36" fmla="*/ 0 h 2076207"/>
              <a:gd name="csX37" fmla="*/ 425980 w 748195"/>
              <a:gd name="csY37" fmla="*/ 78301 h 2076207"/>
              <a:gd name="csX38" fmla="*/ 431861 w 748195"/>
              <a:gd name="csY38" fmla="*/ 90312 h 2076207"/>
              <a:gd name="csX39" fmla="*/ 540349 w 748195"/>
              <a:gd name="csY39" fmla="*/ 187946 h 2076207"/>
              <a:gd name="csX40" fmla="*/ 545555 w 748195"/>
              <a:gd name="csY40" fmla="*/ 197828 h 2076207"/>
              <a:gd name="csX41" fmla="*/ 587318 w 748195"/>
              <a:gd name="csY41" fmla="*/ 171260 h 2076207"/>
              <a:gd name="csX42" fmla="*/ 601503 w 748195"/>
              <a:gd name="csY42" fmla="*/ 163707 h 2076207"/>
              <a:gd name="csX43" fmla="*/ 625254 w 748195"/>
              <a:gd name="csY43" fmla="*/ 163123 h 2076207"/>
              <a:gd name="csX44" fmla="*/ 625468 w 748195"/>
              <a:gd name="csY44" fmla="*/ 187579 h 2076207"/>
              <a:gd name="csX45" fmla="*/ 597543 w 748195"/>
              <a:gd name="csY45" fmla="*/ 251872 h 2076207"/>
              <a:gd name="csX46" fmla="*/ 531831 w 748195"/>
              <a:gd name="csY46" fmla="*/ 442689 h 2076207"/>
              <a:gd name="csX47" fmla="*/ 519888 w 748195"/>
              <a:gd name="csY47" fmla="*/ 501474 h 2076207"/>
              <a:gd name="csX48" fmla="*/ 522506 w 748195"/>
              <a:gd name="csY48" fmla="*/ 525086 h 2076207"/>
              <a:gd name="csX49" fmla="*/ 516235 w 748195"/>
              <a:gd name="csY49" fmla="*/ 555946 h 2076207"/>
              <a:gd name="csX50" fmla="*/ 521332 w 748195"/>
              <a:gd name="csY50" fmla="*/ 610676 h 2076207"/>
              <a:gd name="csX51" fmla="*/ 541382 w 748195"/>
              <a:gd name="csY51" fmla="*/ 642597 h 2076207"/>
              <a:gd name="csX52" fmla="*/ 557031 w 748195"/>
              <a:gd name="csY52" fmla="*/ 667949 h 2076207"/>
              <a:gd name="csX53" fmla="*/ 553994 w 748195"/>
              <a:gd name="csY53" fmla="*/ 744146 h 2076207"/>
              <a:gd name="csX54" fmla="*/ 508215 w 748195"/>
              <a:gd name="csY54" fmla="*/ 758841 h 2076207"/>
              <a:gd name="csX55" fmla="*/ 497442 w 748195"/>
              <a:gd name="csY55" fmla="*/ 771256 h 2076207"/>
              <a:gd name="csX56" fmla="*/ 493005 w 748195"/>
              <a:gd name="csY56" fmla="*/ 922055 h 2076207"/>
              <a:gd name="csX57" fmla="*/ 502900 w 748195"/>
              <a:gd name="csY57" fmla="*/ 1114191 h 2076207"/>
              <a:gd name="csX58" fmla="*/ 508800 w 748195"/>
              <a:gd name="csY58" fmla="*/ 1205474 h 2076207"/>
              <a:gd name="csX59" fmla="*/ 522952 w 748195"/>
              <a:gd name="csY59" fmla="*/ 1320065 h 2076207"/>
              <a:gd name="csX60" fmla="*/ 554682 w 748195"/>
              <a:gd name="csY60" fmla="*/ 1501203 h 2076207"/>
              <a:gd name="csX61" fmla="*/ 576958 w 748195"/>
              <a:gd name="csY61" fmla="*/ 1593963 h 2076207"/>
              <a:gd name="csX62" fmla="*/ 595349 w 748195"/>
              <a:gd name="csY62" fmla="*/ 1613498 h 2076207"/>
              <a:gd name="csX63" fmla="*/ 613936 w 748195"/>
              <a:gd name="csY63" fmla="*/ 1624058 h 2076207"/>
              <a:gd name="csX64" fmla="*/ 620938 w 748195"/>
              <a:gd name="csY64" fmla="*/ 1652071 h 2076207"/>
              <a:gd name="csX65" fmla="*/ 630805 w 748195"/>
              <a:gd name="csY65" fmla="*/ 1721702 h 2076207"/>
              <a:gd name="csX66" fmla="*/ 685830 w 748195"/>
              <a:gd name="csY66" fmla="*/ 1792915 h 2076207"/>
              <a:gd name="csX67" fmla="*/ 708904 w 748195"/>
              <a:gd name="csY67" fmla="*/ 1890290 h 2076207"/>
              <a:gd name="csX68" fmla="*/ 716580 w 748195"/>
              <a:gd name="csY68" fmla="*/ 1951136 h 2076207"/>
              <a:gd name="csX69" fmla="*/ 729397 w 748195"/>
              <a:gd name="csY69" fmla="*/ 2030261 h 2076207"/>
              <a:gd name="csX70" fmla="*/ 714212 w 748195"/>
              <a:gd name="csY70" fmla="*/ 2049544 h 2076207"/>
              <a:gd name="csX71" fmla="*/ 667788 w 748195"/>
              <a:gd name="csY71" fmla="*/ 2056852 h 2076207"/>
              <a:gd name="csX72" fmla="*/ 706629 w 748195"/>
              <a:gd name="csY72" fmla="*/ 2044290 h 2076207"/>
              <a:gd name="csX73" fmla="*/ 702674 w 748195"/>
              <a:gd name="csY73" fmla="*/ 2041581 h 2076207"/>
              <a:gd name="csX74" fmla="*/ 96263 w 748195"/>
              <a:gd name="csY74" fmla="*/ 2076207 h 2076207"/>
              <a:gd name="csX75" fmla="*/ 489970 w 748195"/>
              <a:gd name="csY75" fmla="*/ 152208 h 2076207"/>
              <a:gd name="csX76" fmla="*/ 490754 w 748195"/>
              <a:gd name="csY76" fmla="*/ 152592 h 2076207"/>
              <a:gd name="csX77" fmla="*/ 489489 w 748195"/>
              <a:gd name="csY77" fmla="*/ 149547 h 2076207"/>
              <a:gd name="csX78" fmla="*/ 393621 w 748195"/>
              <a:gd name="csY78" fmla="*/ 99259 h 2076207"/>
              <a:gd name="csX79" fmla="*/ 390419 w 748195"/>
              <a:gd name="csY79" fmla="*/ 18568 h 2076207"/>
              <a:gd name="csX80" fmla="*/ 334131 w 748195"/>
              <a:gd name="csY80" fmla="*/ 24327 h 2076207"/>
              <a:gd name="csX81" fmla="*/ 344678 w 748195"/>
              <a:gd name="csY81" fmla="*/ 101259 h 2076207"/>
              <a:gd name="csX82" fmla="*/ 298854 w 748195"/>
              <a:gd name="csY82" fmla="*/ 114003 h 2076207"/>
              <a:gd name="csX83" fmla="*/ 237456 w 748195"/>
              <a:gd name="csY83" fmla="*/ 154340 h 2076207"/>
              <a:gd name="csX84" fmla="*/ 240382 w 748195"/>
              <a:gd name="csY84" fmla="*/ 154035 h 2076207"/>
              <a:gd name="csX85" fmla="*/ 262731 w 748195"/>
              <a:gd name="csY85" fmla="*/ 170426 h 2076207"/>
              <a:gd name="csX86" fmla="*/ 279169 w 748195"/>
              <a:gd name="csY86" fmla="*/ 193173 h 2076207"/>
              <a:gd name="csX87" fmla="*/ 327717 w 748195"/>
              <a:gd name="csY87" fmla="*/ 188556 h 2076207"/>
              <a:gd name="csX88" fmla="*/ 348052 w 748195"/>
              <a:gd name="csY88" fmla="*/ 156919 h 2076207"/>
              <a:gd name="csX89" fmla="*/ 380330 w 748195"/>
              <a:gd name="csY89" fmla="*/ 156483 h 2076207"/>
              <a:gd name="csX90" fmla="*/ 408490 w 748195"/>
              <a:gd name="csY90" fmla="*/ 195400 h 2076207"/>
              <a:gd name="csX91" fmla="*/ 445346 w 748195"/>
              <a:gd name="csY91" fmla="*/ 197582 h 2076207"/>
              <a:gd name="csX92" fmla="*/ 464798 w 748195"/>
              <a:gd name="csY92" fmla="*/ 174107 h 2076207"/>
              <a:gd name="csX93" fmla="*/ 489970 w 748195"/>
              <a:gd name="csY93" fmla="*/ 152208 h 2076207"/>
              <a:gd name="csX94" fmla="*/ 140694 w 748195"/>
              <a:gd name="csY94" fmla="*/ 201837 h 2076207"/>
              <a:gd name="csX95" fmla="*/ 139834 w 748195"/>
              <a:gd name="csY95" fmla="*/ 201482 h 2076207"/>
              <a:gd name="csX96" fmla="*/ 140812 w 748195"/>
              <a:gd name="csY96" fmla="*/ 204941 h 2076207"/>
              <a:gd name="csX97" fmla="*/ 144631 w 748195"/>
              <a:gd name="csY97" fmla="*/ 217811 h 2076207"/>
              <a:gd name="csX98" fmla="*/ 201241 w 748195"/>
              <a:gd name="csY98" fmla="*/ 373387 h 2076207"/>
              <a:gd name="csX99" fmla="*/ 235971 w 748195"/>
              <a:gd name="csY99" fmla="*/ 504451 h 2076207"/>
              <a:gd name="csX100" fmla="*/ 247475 w 748195"/>
              <a:gd name="csY100" fmla="*/ 513241 h 2076207"/>
              <a:gd name="csX101" fmla="*/ 289066 w 748195"/>
              <a:gd name="csY101" fmla="*/ 511170 h 2076207"/>
              <a:gd name="csX102" fmla="*/ 378229 w 748195"/>
              <a:gd name="csY102" fmla="*/ 511084 h 2076207"/>
              <a:gd name="csX103" fmla="*/ 470850 w 748195"/>
              <a:gd name="csY103" fmla="*/ 516341 h 2076207"/>
              <a:gd name="csX104" fmla="*/ 492933 w 748195"/>
              <a:gd name="csY104" fmla="*/ 497969 h 2076207"/>
              <a:gd name="csX105" fmla="*/ 557617 w 748195"/>
              <a:gd name="csY105" fmla="*/ 280398 h 2076207"/>
              <a:gd name="csX106" fmla="*/ 588788 w 748195"/>
              <a:gd name="csY106" fmla="*/ 200385 h 2076207"/>
              <a:gd name="csX107" fmla="*/ 530958 w 748195"/>
              <a:gd name="csY107" fmla="*/ 232968 h 2076207"/>
              <a:gd name="csX108" fmla="*/ 483823 w 748195"/>
              <a:gd name="csY108" fmla="*/ 190364 h 2076207"/>
              <a:gd name="csX109" fmla="*/ 466649 w 748195"/>
              <a:gd name="csY109" fmla="*/ 209061 h 2076207"/>
              <a:gd name="csX110" fmla="*/ 399941 w 748195"/>
              <a:gd name="csY110" fmla="*/ 216988 h 2076207"/>
              <a:gd name="csX111" fmla="*/ 363018 w 748195"/>
              <a:gd name="csY111" fmla="*/ 179615 h 2076207"/>
              <a:gd name="csX112" fmla="*/ 308839 w 748195"/>
              <a:gd name="csY112" fmla="*/ 227846 h 2076207"/>
              <a:gd name="csX113" fmla="*/ 245077 w 748195"/>
              <a:gd name="csY113" fmla="*/ 192402 h 2076207"/>
              <a:gd name="csX114" fmla="*/ 242829 w 748195"/>
              <a:gd name="csY114" fmla="*/ 198815 h 2076207"/>
              <a:gd name="csX115" fmla="*/ 168452 w 748195"/>
              <a:gd name="csY115" fmla="*/ 219348 h 2076207"/>
              <a:gd name="csX116" fmla="*/ 140694 w 748195"/>
              <a:gd name="csY116" fmla="*/ 201837 h 2076207"/>
              <a:gd name="csX117" fmla="*/ 259999 w 748195"/>
              <a:gd name="csY117" fmla="*/ 966699 h 2076207"/>
              <a:gd name="csX118" fmla="*/ 257072 w 748195"/>
              <a:gd name="csY118" fmla="*/ 1070424 h 2076207"/>
              <a:gd name="csX119" fmla="*/ 251372 w 748195"/>
              <a:gd name="csY119" fmla="*/ 1157618 h 2076207"/>
              <a:gd name="csX120" fmla="*/ 232677 w 748195"/>
              <a:gd name="csY120" fmla="*/ 1320279 h 2076207"/>
              <a:gd name="csX121" fmla="*/ 209182 w 748195"/>
              <a:gd name="csY121" fmla="*/ 1468667 h 2076207"/>
              <a:gd name="csX122" fmla="*/ 175302 w 748195"/>
              <a:gd name="csY122" fmla="*/ 1616623 h 2076207"/>
              <a:gd name="csX123" fmla="*/ 182769 w 748195"/>
              <a:gd name="csY123" fmla="*/ 1629786 h 2076207"/>
              <a:gd name="csX124" fmla="*/ 212156 w 748195"/>
              <a:gd name="csY124" fmla="*/ 1632656 h 2076207"/>
              <a:gd name="csX125" fmla="*/ 351295 w 748195"/>
              <a:gd name="csY125" fmla="*/ 1632801 h 2076207"/>
              <a:gd name="csX126" fmla="*/ 376150 w 748195"/>
              <a:gd name="csY126" fmla="*/ 1608307 h 2076207"/>
              <a:gd name="csX127" fmla="*/ 373450 w 748195"/>
              <a:gd name="csY127" fmla="*/ 1457291 h 2076207"/>
              <a:gd name="csX128" fmla="*/ 370936 w 748195"/>
              <a:gd name="csY128" fmla="*/ 1342736 h 2076207"/>
              <a:gd name="csX129" fmla="*/ 368328 w 748195"/>
              <a:gd name="csY129" fmla="*/ 1203878 h 2076207"/>
              <a:gd name="csX130" fmla="*/ 367836 w 748195"/>
              <a:gd name="csY130" fmla="*/ 813478 h 2076207"/>
              <a:gd name="csX131" fmla="*/ 365240 w 748195"/>
              <a:gd name="csY131" fmla="*/ 773243 h 2076207"/>
              <a:gd name="csX132" fmla="*/ 353084 w 748195"/>
              <a:gd name="csY132" fmla="*/ 762083 h 2076207"/>
              <a:gd name="csX133" fmla="*/ 280966 w 748195"/>
              <a:gd name="csY133" fmla="*/ 759855 h 2076207"/>
              <a:gd name="csX134" fmla="*/ 259965 w 748195"/>
              <a:gd name="csY134" fmla="*/ 779553 h 2076207"/>
              <a:gd name="csX135" fmla="*/ 262341 w 748195"/>
              <a:gd name="csY135" fmla="*/ 856275 h 2076207"/>
              <a:gd name="csX136" fmla="*/ 259999 w 748195"/>
              <a:gd name="csY136" fmla="*/ 966699 h 2076207"/>
              <a:gd name="csX137" fmla="*/ 55556 w 748195"/>
              <a:gd name="csY137" fmla="*/ 1835827 h 2076207"/>
              <a:gd name="csX138" fmla="*/ 49393 w 748195"/>
              <a:gd name="csY138" fmla="*/ 1878155 h 2076207"/>
              <a:gd name="csX139" fmla="*/ 73949 w 748195"/>
              <a:gd name="csY139" fmla="*/ 1905781 h 2076207"/>
              <a:gd name="csX140" fmla="*/ 110073 w 748195"/>
              <a:gd name="csY140" fmla="*/ 1909068 h 2076207"/>
              <a:gd name="csX141" fmla="*/ 224745 w 748195"/>
              <a:gd name="csY141" fmla="*/ 1921652 h 2076207"/>
              <a:gd name="csX142" fmla="*/ 347327 w 748195"/>
              <a:gd name="csY142" fmla="*/ 1924778 h 2076207"/>
              <a:gd name="csX143" fmla="*/ 363345 w 748195"/>
              <a:gd name="csY143" fmla="*/ 1923293 h 2076207"/>
              <a:gd name="csX144" fmla="*/ 373787 w 748195"/>
              <a:gd name="csY144" fmla="*/ 1911200 h 2076207"/>
              <a:gd name="csX145" fmla="*/ 376623 w 748195"/>
              <a:gd name="csY145" fmla="*/ 1696741 h 2076207"/>
              <a:gd name="csX146" fmla="*/ 360437 w 748195"/>
              <a:gd name="csY146" fmla="*/ 1681289 h 2076207"/>
              <a:gd name="csX147" fmla="*/ 263503 w 748195"/>
              <a:gd name="csY147" fmla="*/ 1678179 h 2076207"/>
              <a:gd name="csX148" fmla="*/ 160381 w 748195"/>
              <a:gd name="csY148" fmla="*/ 1670405 h 2076207"/>
              <a:gd name="csX149" fmla="*/ 143321 w 748195"/>
              <a:gd name="csY149" fmla="*/ 1685538 h 2076207"/>
              <a:gd name="csX150" fmla="*/ 124769 w 748195"/>
              <a:gd name="csY150" fmla="*/ 1738195 h 2076207"/>
              <a:gd name="csX151" fmla="*/ 90593 w 748195"/>
              <a:gd name="csY151" fmla="*/ 1779570 h 2076207"/>
              <a:gd name="csX152" fmla="*/ 55556 w 748195"/>
              <a:gd name="csY152" fmla="*/ 1835827 h 2076207"/>
              <a:gd name="csX153" fmla="*/ 378900 w 748195"/>
              <a:gd name="csY153" fmla="*/ 2007280 h 2076207"/>
              <a:gd name="csX154" fmla="*/ 378887 w 748195"/>
              <a:gd name="csY154" fmla="*/ 1995127 h 2076207"/>
              <a:gd name="csX155" fmla="*/ 359084 w 748195"/>
              <a:gd name="csY155" fmla="*/ 1975964 h 2076207"/>
              <a:gd name="csX156" fmla="*/ 247288 w 748195"/>
              <a:gd name="csY156" fmla="*/ 1973305 h 2076207"/>
              <a:gd name="csX157" fmla="*/ 201692 w 748195"/>
              <a:gd name="csY157" fmla="*/ 1970275 h 2076207"/>
              <a:gd name="csX158" fmla="*/ 57962 w 748195"/>
              <a:gd name="csY158" fmla="*/ 1952648 h 2076207"/>
              <a:gd name="csX159" fmla="*/ 39194 w 748195"/>
              <a:gd name="csY159" fmla="*/ 1963552 h 2076207"/>
              <a:gd name="csX160" fmla="*/ 30066 w 748195"/>
              <a:gd name="csY160" fmla="*/ 2006631 h 2076207"/>
              <a:gd name="csX161" fmla="*/ 40232 w 748195"/>
              <a:gd name="csY161" fmla="*/ 2019486 h 2076207"/>
              <a:gd name="csX162" fmla="*/ 238186 w 748195"/>
              <a:gd name="csY162" fmla="*/ 2046096 h 2076207"/>
              <a:gd name="csX163" fmla="*/ 342155 w 748195"/>
              <a:gd name="csY163" fmla="*/ 2046441 h 2076207"/>
              <a:gd name="csX164" fmla="*/ 378900 w 748195"/>
              <a:gd name="csY164" fmla="*/ 2007280 h 2076207"/>
              <a:gd name="csX165" fmla="*/ 310220 w 748195"/>
              <a:gd name="csY165" fmla="*/ 554288 h 2076207"/>
              <a:gd name="csX166" fmla="*/ 259136 w 748195"/>
              <a:gd name="csY166" fmla="*/ 556881 h 2076207"/>
              <a:gd name="csX167" fmla="*/ 249085 w 748195"/>
              <a:gd name="csY167" fmla="*/ 567981 h 2076207"/>
              <a:gd name="csX168" fmla="*/ 249141 w 748195"/>
              <a:gd name="csY168" fmla="*/ 605644 h 2076207"/>
              <a:gd name="csX169" fmla="*/ 262628 w 748195"/>
              <a:gd name="csY169" fmla="*/ 605627 h 2076207"/>
              <a:gd name="csX170" fmla="*/ 369608 w 748195"/>
              <a:gd name="csY170" fmla="*/ 603027 h 2076207"/>
              <a:gd name="csX171" fmla="*/ 463931 w 748195"/>
              <a:gd name="csY171" fmla="*/ 605146 h 2076207"/>
              <a:gd name="csX172" fmla="*/ 478113 w 748195"/>
              <a:gd name="csY172" fmla="*/ 595843 h 2076207"/>
              <a:gd name="csX173" fmla="*/ 478796 w 748195"/>
              <a:gd name="csY173" fmla="*/ 556832 h 2076207"/>
              <a:gd name="csX174" fmla="*/ 310220 w 748195"/>
              <a:gd name="csY174" fmla="*/ 554288 h 2076207"/>
              <a:gd name="csX175" fmla="*/ 348836 w 748195"/>
              <a:gd name="csY175" fmla="*/ 684115 h 2076207"/>
              <a:gd name="csX176" fmla="*/ 281333 w 748195"/>
              <a:gd name="csY176" fmla="*/ 683313 h 2076207"/>
              <a:gd name="csX177" fmla="*/ 212728 w 748195"/>
              <a:gd name="csY177" fmla="*/ 681931 h 2076207"/>
              <a:gd name="csX178" fmla="*/ 187283 w 748195"/>
              <a:gd name="csY178" fmla="*/ 689555 h 2076207"/>
              <a:gd name="csX179" fmla="*/ 186163 w 748195"/>
              <a:gd name="csY179" fmla="*/ 718266 h 2076207"/>
              <a:gd name="csX180" fmla="*/ 209894 w 748195"/>
              <a:gd name="csY180" fmla="*/ 726798 h 2076207"/>
              <a:gd name="csX181" fmla="*/ 334814 w 748195"/>
              <a:gd name="csY181" fmla="*/ 732494 h 2076207"/>
              <a:gd name="csX182" fmla="*/ 364856 w 748195"/>
              <a:gd name="csY182" fmla="*/ 707963 h 2076207"/>
              <a:gd name="csX183" fmla="*/ 348836 w 748195"/>
              <a:gd name="csY183" fmla="*/ 684115 h 2076207"/>
              <a:gd name="csX184" fmla="*/ 298865 w 748195"/>
              <a:gd name="csY184" fmla="*/ 621954 h 2076207"/>
              <a:gd name="csX185" fmla="*/ 251619 w 748195"/>
              <a:gd name="csY185" fmla="*/ 622133 h 2076207"/>
              <a:gd name="csX186" fmla="*/ 214459 w 748195"/>
              <a:gd name="csY186" fmla="*/ 636230 h 2076207"/>
              <a:gd name="csX187" fmla="*/ 221436 w 748195"/>
              <a:gd name="csY187" fmla="*/ 654205 h 2076207"/>
              <a:gd name="csX188" fmla="*/ 272412 w 748195"/>
              <a:gd name="csY188" fmla="*/ 657250 h 2076207"/>
              <a:gd name="csX189" fmla="*/ 349094 w 748195"/>
              <a:gd name="csY189" fmla="*/ 659282 h 2076207"/>
              <a:gd name="csX190" fmla="*/ 362996 w 748195"/>
              <a:gd name="csY190" fmla="*/ 644234 h 2076207"/>
              <a:gd name="csX191" fmla="*/ 348472 w 748195"/>
              <a:gd name="csY191" fmla="*/ 624649 h 2076207"/>
              <a:gd name="csX192" fmla="*/ 298865 w 748195"/>
              <a:gd name="csY192" fmla="*/ 621954 h 2076207"/>
              <a:gd name="csX193" fmla="*/ 227796 w 748195"/>
              <a:gd name="csY193" fmla="*/ 528000 h 2076207"/>
              <a:gd name="csX194" fmla="*/ 241009 w 748195"/>
              <a:gd name="csY194" fmla="*/ 545897 h 2076207"/>
              <a:gd name="csX195" fmla="*/ 282607 w 748195"/>
              <a:gd name="csY195" fmla="*/ 543480 h 2076207"/>
              <a:gd name="csX196" fmla="*/ 354213 w 748195"/>
              <a:gd name="csY196" fmla="*/ 543384 h 2076207"/>
              <a:gd name="csX197" fmla="*/ 365334 w 748195"/>
              <a:gd name="csY197" fmla="*/ 533397 h 2076207"/>
              <a:gd name="csX198" fmla="*/ 354531 w 748195"/>
              <a:gd name="csY198" fmla="*/ 521620 h 2076207"/>
              <a:gd name="csX199" fmla="*/ 259169 w 748195"/>
              <a:gd name="csY199" fmla="*/ 521978 h 2076207"/>
              <a:gd name="csX200" fmla="*/ 227796 w 748195"/>
              <a:gd name="csY200" fmla="*/ 528000 h 2076207"/>
              <a:gd name="csX201" fmla="*/ 508068 w 748195"/>
              <a:gd name="csY201" fmla="*/ 190710 h 2076207"/>
              <a:gd name="csX202" fmla="*/ 521293 w 748195"/>
              <a:gd name="csY202" fmla="*/ 205907 h 2076207"/>
              <a:gd name="csX203" fmla="*/ 525175 w 748195"/>
              <a:gd name="csY203" fmla="*/ 202985 h 2076207"/>
              <a:gd name="csX204" fmla="*/ 500276 w 748195"/>
              <a:gd name="csY204" fmla="*/ 160640 h 2076207"/>
              <a:gd name="csX205" fmla="*/ 497122 w 748195"/>
              <a:gd name="csY205" fmla="*/ 162007 h 2076207"/>
              <a:gd name="csX206" fmla="*/ 508068 w 748195"/>
              <a:gd name="csY206" fmla="*/ 190710 h 2076207"/>
              <a:gd name="csX207" fmla="*/ 215522 w 748195"/>
              <a:gd name="csY207" fmla="*/ 197296 h 2076207"/>
              <a:gd name="csX208" fmla="*/ 234029 w 748195"/>
              <a:gd name="csY208" fmla="*/ 162725 h 2076207"/>
              <a:gd name="csX209" fmla="*/ 229000 w 748195"/>
              <a:gd name="csY209" fmla="*/ 159902 h 2076207"/>
              <a:gd name="csX210" fmla="*/ 204824 w 748195"/>
              <a:gd name="csY210" fmla="*/ 199677 h 2076207"/>
              <a:gd name="csX211" fmla="*/ 207990 w 748195"/>
              <a:gd name="csY211" fmla="*/ 202198 h 2076207"/>
              <a:gd name="csX212" fmla="*/ 215522 w 748195"/>
              <a:gd name="csY212" fmla="*/ 197296 h 2076207"/>
              <a:gd name="csX213" fmla="*/ 484400 w 748195"/>
              <a:gd name="csY213" fmla="*/ 896678 h 2076207"/>
              <a:gd name="csX214" fmla="*/ 486181 w 748195"/>
              <a:gd name="csY214" fmla="*/ 896585 h 2076207"/>
              <a:gd name="csX215" fmla="*/ 486181 w 748195"/>
              <a:gd name="csY215" fmla="*/ 795289 h 2076207"/>
              <a:gd name="csX216" fmla="*/ 720241 w 748195"/>
              <a:gd name="csY216" fmla="*/ 2030666 h 2076207"/>
              <a:gd name="csX217" fmla="*/ 721175 w 748195"/>
              <a:gd name="csY217" fmla="*/ 2029733 h 2076207"/>
              <a:gd name="csX218" fmla="*/ 720241 w 748195"/>
              <a:gd name="csY218" fmla="*/ 2030666 h 2076207"/>
              <a:gd name="csX219" fmla="*/ 715702 w 748195"/>
              <a:gd name="csY219" fmla="*/ 2037051 h 2076207"/>
              <a:gd name="csX220" fmla="*/ 715702 w 748195"/>
              <a:gd name="csY220" fmla="*/ 2037051 h 2076207"/>
              <a:gd name="csX0" fmla="*/ 96263 w 748195"/>
              <a:gd name="csY0" fmla="*/ 2076207 h 2076207"/>
              <a:gd name="csX1" fmla="*/ 63862 w 748195"/>
              <a:gd name="csY1" fmla="*/ 2065388 h 2076207"/>
              <a:gd name="csX2" fmla="*/ 16555 w 748195"/>
              <a:gd name="csY2" fmla="*/ 2050152 h 2076207"/>
              <a:gd name="csX3" fmla="*/ 15 w 748195"/>
              <a:gd name="csY3" fmla="*/ 2023802 h 2076207"/>
              <a:gd name="csX4" fmla="*/ 18368 w 748195"/>
              <a:gd name="csY4" fmla="*/ 1940709 h 2076207"/>
              <a:gd name="csX5" fmla="*/ 22139 w 748195"/>
              <a:gd name="csY5" fmla="*/ 1907268 h 2076207"/>
              <a:gd name="csX6" fmla="*/ 57941 w 748195"/>
              <a:gd name="csY6" fmla="*/ 1774163 h 2076207"/>
              <a:gd name="csX7" fmla="*/ 102478 w 748195"/>
              <a:gd name="csY7" fmla="*/ 1720275 h 2076207"/>
              <a:gd name="csX8" fmla="*/ 108579 w 748195"/>
              <a:gd name="csY8" fmla="*/ 1650967 h 2076207"/>
              <a:gd name="csX9" fmla="*/ 115628 w 748195"/>
              <a:gd name="csY9" fmla="*/ 1625405 h 2076207"/>
              <a:gd name="csX10" fmla="*/ 156323 w 748195"/>
              <a:gd name="csY10" fmla="*/ 1560181 h 2076207"/>
              <a:gd name="csX11" fmla="*/ 199424 w 748195"/>
              <a:gd name="csY11" fmla="*/ 1364729 h 2076207"/>
              <a:gd name="csX12" fmla="*/ 216779 w 748195"/>
              <a:gd name="csY12" fmla="*/ 1219490 h 2076207"/>
              <a:gd name="csX13" fmla="*/ 229755 w 748195"/>
              <a:gd name="csY13" fmla="*/ 1099357 h 2076207"/>
              <a:gd name="csX14" fmla="*/ 232707 w 748195"/>
              <a:gd name="csY14" fmla="*/ 1056423 h 2076207"/>
              <a:gd name="csX15" fmla="*/ 235622 w 748195"/>
              <a:gd name="csY15" fmla="*/ 952675 h 2076207"/>
              <a:gd name="csX16" fmla="*/ 235445 w 748195"/>
              <a:gd name="csY16" fmla="*/ 780278 h 2076207"/>
              <a:gd name="csX17" fmla="*/ 214544 w 748195"/>
              <a:gd name="csY17" fmla="*/ 756435 h 2076207"/>
              <a:gd name="csX18" fmla="*/ 172569 w 748195"/>
              <a:gd name="csY18" fmla="*/ 742582 h 2076207"/>
              <a:gd name="csX19" fmla="*/ 168784 w 748195"/>
              <a:gd name="csY19" fmla="*/ 669116 h 2076207"/>
              <a:gd name="csX20" fmla="*/ 191657 w 748195"/>
              <a:gd name="csY20" fmla="*/ 630765 h 2076207"/>
              <a:gd name="csX21" fmla="*/ 208150 w 748195"/>
              <a:gd name="csY21" fmla="*/ 609084 h 2076207"/>
              <a:gd name="csX22" fmla="*/ 216756 w 748195"/>
              <a:gd name="csY22" fmla="*/ 558673 h 2076207"/>
              <a:gd name="csX23" fmla="*/ 209092 w 748195"/>
              <a:gd name="csY23" fmla="*/ 521540 h 2076207"/>
              <a:gd name="csX24" fmla="*/ 204683 w 748195"/>
              <a:gd name="csY24" fmla="*/ 474024 h 2076207"/>
              <a:gd name="csX25" fmla="*/ 115483 w 748195"/>
              <a:gd name="csY25" fmla="*/ 213499 h 2076207"/>
              <a:gd name="csX26" fmla="*/ 102909 w 748195"/>
              <a:gd name="csY26" fmla="*/ 182297 h 2076207"/>
              <a:gd name="csX27" fmla="*/ 104315 w 748195"/>
              <a:gd name="csY27" fmla="*/ 163968 h 2076207"/>
              <a:gd name="csX28" fmla="*/ 122444 w 748195"/>
              <a:gd name="csY28" fmla="*/ 160805 h 2076207"/>
              <a:gd name="csX29" fmla="*/ 170283 w 748195"/>
              <a:gd name="csY29" fmla="*/ 187783 h 2076207"/>
              <a:gd name="csX30" fmla="*/ 180938 w 748195"/>
              <a:gd name="csY30" fmla="*/ 195322 h 2076207"/>
              <a:gd name="csX31" fmla="*/ 221419 w 748195"/>
              <a:gd name="csY31" fmla="*/ 138058 h 2076207"/>
              <a:gd name="csX32" fmla="*/ 294099 w 748195"/>
              <a:gd name="csY32" fmla="*/ 91372 h 2076207"/>
              <a:gd name="csX33" fmla="*/ 302307 w 748195"/>
              <a:gd name="csY33" fmla="*/ 76560 h 2076207"/>
              <a:gd name="csX34" fmla="*/ 320284 w 748195"/>
              <a:gd name="csY34" fmla="*/ 8414 h 2076207"/>
              <a:gd name="csX35" fmla="*/ 324784 w 748195"/>
              <a:gd name="csY35" fmla="*/ 946 h 2076207"/>
              <a:gd name="csX36" fmla="*/ 399212 w 748195"/>
              <a:gd name="csY36" fmla="*/ 0 h 2076207"/>
              <a:gd name="csX37" fmla="*/ 425980 w 748195"/>
              <a:gd name="csY37" fmla="*/ 78301 h 2076207"/>
              <a:gd name="csX38" fmla="*/ 431861 w 748195"/>
              <a:gd name="csY38" fmla="*/ 90312 h 2076207"/>
              <a:gd name="csX39" fmla="*/ 540349 w 748195"/>
              <a:gd name="csY39" fmla="*/ 187946 h 2076207"/>
              <a:gd name="csX40" fmla="*/ 545555 w 748195"/>
              <a:gd name="csY40" fmla="*/ 197828 h 2076207"/>
              <a:gd name="csX41" fmla="*/ 587318 w 748195"/>
              <a:gd name="csY41" fmla="*/ 171260 h 2076207"/>
              <a:gd name="csX42" fmla="*/ 601503 w 748195"/>
              <a:gd name="csY42" fmla="*/ 163707 h 2076207"/>
              <a:gd name="csX43" fmla="*/ 625254 w 748195"/>
              <a:gd name="csY43" fmla="*/ 163123 h 2076207"/>
              <a:gd name="csX44" fmla="*/ 625468 w 748195"/>
              <a:gd name="csY44" fmla="*/ 187579 h 2076207"/>
              <a:gd name="csX45" fmla="*/ 597543 w 748195"/>
              <a:gd name="csY45" fmla="*/ 251872 h 2076207"/>
              <a:gd name="csX46" fmla="*/ 531831 w 748195"/>
              <a:gd name="csY46" fmla="*/ 442689 h 2076207"/>
              <a:gd name="csX47" fmla="*/ 519888 w 748195"/>
              <a:gd name="csY47" fmla="*/ 501474 h 2076207"/>
              <a:gd name="csX48" fmla="*/ 522506 w 748195"/>
              <a:gd name="csY48" fmla="*/ 525086 h 2076207"/>
              <a:gd name="csX49" fmla="*/ 516235 w 748195"/>
              <a:gd name="csY49" fmla="*/ 555946 h 2076207"/>
              <a:gd name="csX50" fmla="*/ 521332 w 748195"/>
              <a:gd name="csY50" fmla="*/ 610676 h 2076207"/>
              <a:gd name="csX51" fmla="*/ 541382 w 748195"/>
              <a:gd name="csY51" fmla="*/ 642597 h 2076207"/>
              <a:gd name="csX52" fmla="*/ 557031 w 748195"/>
              <a:gd name="csY52" fmla="*/ 667949 h 2076207"/>
              <a:gd name="csX53" fmla="*/ 553994 w 748195"/>
              <a:gd name="csY53" fmla="*/ 744146 h 2076207"/>
              <a:gd name="csX54" fmla="*/ 508215 w 748195"/>
              <a:gd name="csY54" fmla="*/ 758841 h 2076207"/>
              <a:gd name="csX55" fmla="*/ 497442 w 748195"/>
              <a:gd name="csY55" fmla="*/ 771256 h 2076207"/>
              <a:gd name="csX56" fmla="*/ 493005 w 748195"/>
              <a:gd name="csY56" fmla="*/ 922055 h 2076207"/>
              <a:gd name="csX57" fmla="*/ 502900 w 748195"/>
              <a:gd name="csY57" fmla="*/ 1114191 h 2076207"/>
              <a:gd name="csX58" fmla="*/ 508800 w 748195"/>
              <a:gd name="csY58" fmla="*/ 1205474 h 2076207"/>
              <a:gd name="csX59" fmla="*/ 522952 w 748195"/>
              <a:gd name="csY59" fmla="*/ 1320065 h 2076207"/>
              <a:gd name="csX60" fmla="*/ 554682 w 748195"/>
              <a:gd name="csY60" fmla="*/ 1501203 h 2076207"/>
              <a:gd name="csX61" fmla="*/ 576958 w 748195"/>
              <a:gd name="csY61" fmla="*/ 1593963 h 2076207"/>
              <a:gd name="csX62" fmla="*/ 595349 w 748195"/>
              <a:gd name="csY62" fmla="*/ 1613498 h 2076207"/>
              <a:gd name="csX63" fmla="*/ 613936 w 748195"/>
              <a:gd name="csY63" fmla="*/ 1624058 h 2076207"/>
              <a:gd name="csX64" fmla="*/ 620938 w 748195"/>
              <a:gd name="csY64" fmla="*/ 1652071 h 2076207"/>
              <a:gd name="csX65" fmla="*/ 630805 w 748195"/>
              <a:gd name="csY65" fmla="*/ 1721702 h 2076207"/>
              <a:gd name="csX66" fmla="*/ 685830 w 748195"/>
              <a:gd name="csY66" fmla="*/ 1792915 h 2076207"/>
              <a:gd name="csX67" fmla="*/ 708904 w 748195"/>
              <a:gd name="csY67" fmla="*/ 1890290 h 2076207"/>
              <a:gd name="csX68" fmla="*/ 716580 w 748195"/>
              <a:gd name="csY68" fmla="*/ 1951136 h 2076207"/>
              <a:gd name="csX69" fmla="*/ 729397 w 748195"/>
              <a:gd name="csY69" fmla="*/ 2030261 h 2076207"/>
              <a:gd name="csX70" fmla="*/ 714212 w 748195"/>
              <a:gd name="csY70" fmla="*/ 2049544 h 2076207"/>
              <a:gd name="csX71" fmla="*/ 706629 w 748195"/>
              <a:gd name="csY71" fmla="*/ 2044290 h 2076207"/>
              <a:gd name="csX72" fmla="*/ 702674 w 748195"/>
              <a:gd name="csY72" fmla="*/ 2041581 h 2076207"/>
              <a:gd name="csX73" fmla="*/ 96263 w 748195"/>
              <a:gd name="csY73" fmla="*/ 2076207 h 2076207"/>
              <a:gd name="csX74" fmla="*/ 489970 w 748195"/>
              <a:gd name="csY74" fmla="*/ 152208 h 2076207"/>
              <a:gd name="csX75" fmla="*/ 490754 w 748195"/>
              <a:gd name="csY75" fmla="*/ 152592 h 2076207"/>
              <a:gd name="csX76" fmla="*/ 489489 w 748195"/>
              <a:gd name="csY76" fmla="*/ 149547 h 2076207"/>
              <a:gd name="csX77" fmla="*/ 393621 w 748195"/>
              <a:gd name="csY77" fmla="*/ 99259 h 2076207"/>
              <a:gd name="csX78" fmla="*/ 390419 w 748195"/>
              <a:gd name="csY78" fmla="*/ 18568 h 2076207"/>
              <a:gd name="csX79" fmla="*/ 334131 w 748195"/>
              <a:gd name="csY79" fmla="*/ 24327 h 2076207"/>
              <a:gd name="csX80" fmla="*/ 344678 w 748195"/>
              <a:gd name="csY80" fmla="*/ 101259 h 2076207"/>
              <a:gd name="csX81" fmla="*/ 298854 w 748195"/>
              <a:gd name="csY81" fmla="*/ 114003 h 2076207"/>
              <a:gd name="csX82" fmla="*/ 237456 w 748195"/>
              <a:gd name="csY82" fmla="*/ 154340 h 2076207"/>
              <a:gd name="csX83" fmla="*/ 240382 w 748195"/>
              <a:gd name="csY83" fmla="*/ 154035 h 2076207"/>
              <a:gd name="csX84" fmla="*/ 262731 w 748195"/>
              <a:gd name="csY84" fmla="*/ 170426 h 2076207"/>
              <a:gd name="csX85" fmla="*/ 279169 w 748195"/>
              <a:gd name="csY85" fmla="*/ 193173 h 2076207"/>
              <a:gd name="csX86" fmla="*/ 327717 w 748195"/>
              <a:gd name="csY86" fmla="*/ 188556 h 2076207"/>
              <a:gd name="csX87" fmla="*/ 348052 w 748195"/>
              <a:gd name="csY87" fmla="*/ 156919 h 2076207"/>
              <a:gd name="csX88" fmla="*/ 380330 w 748195"/>
              <a:gd name="csY88" fmla="*/ 156483 h 2076207"/>
              <a:gd name="csX89" fmla="*/ 408490 w 748195"/>
              <a:gd name="csY89" fmla="*/ 195400 h 2076207"/>
              <a:gd name="csX90" fmla="*/ 445346 w 748195"/>
              <a:gd name="csY90" fmla="*/ 197582 h 2076207"/>
              <a:gd name="csX91" fmla="*/ 464798 w 748195"/>
              <a:gd name="csY91" fmla="*/ 174107 h 2076207"/>
              <a:gd name="csX92" fmla="*/ 489970 w 748195"/>
              <a:gd name="csY92" fmla="*/ 152208 h 2076207"/>
              <a:gd name="csX93" fmla="*/ 140694 w 748195"/>
              <a:gd name="csY93" fmla="*/ 201837 h 2076207"/>
              <a:gd name="csX94" fmla="*/ 139834 w 748195"/>
              <a:gd name="csY94" fmla="*/ 201482 h 2076207"/>
              <a:gd name="csX95" fmla="*/ 140812 w 748195"/>
              <a:gd name="csY95" fmla="*/ 204941 h 2076207"/>
              <a:gd name="csX96" fmla="*/ 144631 w 748195"/>
              <a:gd name="csY96" fmla="*/ 217811 h 2076207"/>
              <a:gd name="csX97" fmla="*/ 201241 w 748195"/>
              <a:gd name="csY97" fmla="*/ 373387 h 2076207"/>
              <a:gd name="csX98" fmla="*/ 235971 w 748195"/>
              <a:gd name="csY98" fmla="*/ 504451 h 2076207"/>
              <a:gd name="csX99" fmla="*/ 247475 w 748195"/>
              <a:gd name="csY99" fmla="*/ 513241 h 2076207"/>
              <a:gd name="csX100" fmla="*/ 289066 w 748195"/>
              <a:gd name="csY100" fmla="*/ 511170 h 2076207"/>
              <a:gd name="csX101" fmla="*/ 378229 w 748195"/>
              <a:gd name="csY101" fmla="*/ 511084 h 2076207"/>
              <a:gd name="csX102" fmla="*/ 470850 w 748195"/>
              <a:gd name="csY102" fmla="*/ 516341 h 2076207"/>
              <a:gd name="csX103" fmla="*/ 492933 w 748195"/>
              <a:gd name="csY103" fmla="*/ 497969 h 2076207"/>
              <a:gd name="csX104" fmla="*/ 557617 w 748195"/>
              <a:gd name="csY104" fmla="*/ 280398 h 2076207"/>
              <a:gd name="csX105" fmla="*/ 588788 w 748195"/>
              <a:gd name="csY105" fmla="*/ 200385 h 2076207"/>
              <a:gd name="csX106" fmla="*/ 530958 w 748195"/>
              <a:gd name="csY106" fmla="*/ 232968 h 2076207"/>
              <a:gd name="csX107" fmla="*/ 483823 w 748195"/>
              <a:gd name="csY107" fmla="*/ 190364 h 2076207"/>
              <a:gd name="csX108" fmla="*/ 466649 w 748195"/>
              <a:gd name="csY108" fmla="*/ 209061 h 2076207"/>
              <a:gd name="csX109" fmla="*/ 399941 w 748195"/>
              <a:gd name="csY109" fmla="*/ 216988 h 2076207"/>
              <a:gd name="csX110" fmla="*/ 363018 w 748195"/>
              <a:gd name="csY110" fmla="*/ 179615 h 2076207"/>
              <a:gd name="csX111" fmla="*/ 308839 w 748195"/>
              <a:gd name="csY111" fmla="*/ 227846 h 2076207"/>
              <a:gd name="csX112" fmla="*/ 245077 w 748195"/>
              <a:gd name="csY112" fmla="*/ 192402 h 2076207"/>
              <a:gd name="csX113" fmla="*/ 242829 w 748195"/>
              <a:gd name="csY113" fmla="*/ 198815 h 2076207"/>
              <a:gd name="csX114" fmla="*/ 168452 w 748195"/>
              <a:gd name="csY114" fmla="*/ 219348 h 2076207"/>
              <a:gd name="csX115" fmla="*/ 140694 w 748195"/>
              <a:gd name="csY115" fmla="*/ 201837 h 2076207"/>
              <a:gd name="csX116" fmla="*/ 259999 w 748195"/>
              <a:gd name="csY116" fmla="*/ 966699 h 2076207"/>
              <a:gd name="csX117" fmla="*/ 257072 w 748195"/>
              <a:gd name="csY117" fmla="*/ 1070424 h 2076207"/>
              <a:gd name="csX118" fmla="*/ 251372 w 748195"/>
              <a:gd name="csY118" fmla="*/ 1157618 h 2076207"/>
              <a:gd name="csX119" fmla="*/ 232677 w 748195"/>
              <a:gd name="csY119" fmla="*/ 1320279 h 2076207"/>
              <a:gd name="csX120" fmla="*/ 209182 w 748195"/>
              <a:gd name="csY120" fmla="*/ 1468667 h 2076207"/>
              <a:gd name="csX121" fmla="*/ 175302 w 748195"/>
              <a:gd name="csY121" fmla="*/ 1616623 h 2076207"/>
              <a:gd name="csX122" fmla="*/ 182769 w 748195"/>
              <a:gd name="csY122" fmla="*/ 1629786 h 2076207"/>
              <a:gd name="csX123" fmla="*/ 212156 w 748195"/>
              <a:gd name="csY123" fmla="*/ 1632656 h 2076207"/>
              <a:gd name="csX124" fmla="*/ 351295 w 748195"/>
              <a:gd name="csY124" fmla="*/ 1632801 h 2076207"/>
              <a:gd name="csX125" fmla="*/ 376150 w 748195"/>
              <a:gd name="csY125" fmla="*/ 1608307 h 2076207"/>
              <a:gd name="csX126" fmla="*/ 373450 w 748195"/>
              <a:gd name="csY126" fmla="*/ 1457291 h 2076207"/>
              <a:gd name="csX127" fmla="*/ 370936 w 748195"/>
              <a:gd name="csY127" fmla="*/ 1342736 h 2076207"/>
              <a:gd name="csX128" fmla="*/ 368328 w 748195"/>
              <a:gd name="csY128" fmla="*/ 1203878 h 2076207"/>
              <a:gd name="csX129" fmla="*/ 367836 w 748195"/>
              <a:gd name="csY129" fmla="*/ 813478 h 2076207"/>
              <a:gd name="csX130" fmla="*/ 365240 w 748195"/>
              <a:gd name="csY130" fmla="*/ 773243 h 2076207"/>
              <a:gd name="csX131" fmla="*/ 353084 w 748195"/>
              <a:gd name="csY131" fmla="*/ 762083 h 2076207"/>
              <a:gd name="csX132" fmla="*/ 280966 w 748195"/>
              <a:gd name="csY132" fmla="*/ 759855 h 2076207"/>
              <a:gd name="csX133" fmla="*/ 259965 w 748195"/>
              <a:gd name="csY133" fmla="*/ 779553 h 2076207"/>
              <a:gd name="csX134" fmla="*/ 262341 w 748195"/>
              <a:gd name="csY134" fmla="*/ 856275 h 2076207"/>
              <a:gd name="csX135" fmla="*/ 259999 w 748195"/>
              <a:gd name="csY135" fmla="*/ 966699 h 2076207"/>
              <a:gd name="csX136" fmla="*/ 55556 w 748195"/>
              <a:gd name="csY136" fmla="*/ 1835827 h 2076207"/>
              <a:gd name="csX137" fmla="*/ 49393 w 748195"/>
              <a:gd name="csY137" fmla="*/ 1878155 h 2076207"/>
              <a:gd name="csX138" fmla="*/ 73949 w 748195"/>
              <a:gd name="csY138" fmla="*/ 1905781 h 2076207"/>
              <a:gd name="csX139" fmla="*/ 110073 w 748195"/>
              <a:gd name="csY139" fmla="*/ 1909068 h 2076207"/>
              <a:gd name="csX140" fmla="*/ 224745 w 748195"/>
              <a:gd name="csY140" fmla="*/ 1921652 h 2076207"/>
              <a:gd name="csX141" fmla="*/ 347327 w 748195"/>
              <a:gd name="csY141" fmla="*/ 1924778 h 2076207"/>
              <a:gd name="csX142" fmla="*/ 363345 w 748195"/>
              <a:gd name="csY142" fmla="*/ 1923293 h 2076207"/>
              <a:gd name="csX143" fmla="*/ 373787 w 748195"/>
              <a:gd name="csY143" fmla="*/ 1911200 h 2076207"/>
              <a:gd name="csX144" fmla="*/ 376623 w 748195"/>
              <a:gd name="csY144" fmla="*/ 1696741 h 2076207"/>
              <a:gd name="csX145" fmla="*/ 360437 w 748195"/>
              <a:gd name="csY145" fmla="*/ 1681289 h 2076207"/>
              <a:gd name="csX146" fmla="*/ 263503 w 748195"/>
              <a:gd name="csY146" fmla="*/ 1678179 h 2076207"/>
              <a:gd name="csX147" fmla="*/ 160381 w 748195"/>
              <a:gd name="csY147" fmla="*/ 1670405 h 2076207"/>
              <a:gd name="csX148" fmla="*/ 143321 w 748195"/>
              <a:gd name="csY148" fmla="*/ 1685538 h 2076207"/>
              <a:gd name="csX149" fmla="*/ 124769 w 748195"/>
              <a:gd name="csY149" fmla="*/ 1738195 h 2076207"/>
              <a:gd name="csX150" fmla="*/ 90593 w 748195"/>
              <a:gd name="csY150" fmla="*/ 1779570 h 2076207"/>
              <a:gd name="csX151" fmla="*/ 55556 w 748195"/>
              <a:gd name="csY151" fmla="*/ 1835827 h 2076207"/>
              <a:gd name="csX152" fmla="*/ 378900 w 748195"/>
              <a:gd name="csY152" fmla="*/ 2007280 h 2076207"/>
              <a:gd name="csX153" fmla="*/ 378887 w 748195"/>
              <a:gd name="csY153" fmla="*/ 1995127 h 2076207"/>
              <a:gd name="csX154" fmla="*/ 359084 w 748195"/>
              <a:gd name="csY154" fmla="*/ 1975964 h 2076207"/>
              <a:gd name="csX155" fmla="*/ 247288 w 748195"/>
              <a:gd name="csY155" fmla="*/ 1973305 h 2076207"/>
              <a:gd name="csX156" fmla="*/ 201692 w 748195"/>
              <a:gd name="csY156" fmla="*/ 1970275 h 2076207"/>
              <a:gd name="csX157" fmla="*/ 57962 w 748195"/>
              <a:gd name="csY157" fmla="*/ 1952648 h 2076207"/>
              <a:gd name="csX158" fmla="*/ 39194 w 748195"/>
              <a:gd name="csY158" fmla="*/ 1963552 h 2076207"/>
              <a:gd name="csX159" fmla="*/ 30066 w 748195"/>
              <a:gd name="csY159" fmla="*/ 2006631 h 2076207"/>
              <a:gd name="csX160" fmla="*/ 40232 w 748195"/>
              <a:gd name="csY160" fmla="*/ 2019486 h 2076207"/>
              <a:gd name="csX161" fmla="*/ 238186 w 748195"/>
              <a:gd name="csY161" fmla="*/ 2046096 h 2076207"/>
              <a:gd name="csX162" fmla="*/ 342155 w 748195"/>
              <a:gd name="csY162" fmla="*/ 2046441 h 2076207"/>
              <a:gd name="csX163" fmla="*/ 378900 w 748195"/>
              <a:gd name="csY163" fmla="*/ 2007280 h 2076207"/>
              <a:gd name="csX164" fmla="*/ 310220 w 748195"/>
              <a:gd name="csY164" fmla="*/ 554288 h 2076207"/>
              <a:gd name="csX165" fmla="*/ 259136 w 748195"/>
              <a:gd name="csY165" fmla="*/ 556881 h 2076207"/>
              <a:gd name="csX166" fmla="*/ 249085 w 748195"/>
              <a:gd name="csY166" fmla="*/ 567981 h 2076207"/>
              <a:gd name="csX167" fmla="*/ 249141 w 748195"/>
              <a:gd name="csY167" fmla="*/ 605644 h 2076207"/>
              <a:gd name="csX168" fmla="*/ 262628 w 748195"/>
              <a:gd name="csY168" fmla="*/ 605627 h 2076207"/>
              <a:gd name="csX169" fmla="*/ 369608 w 748195"/>
              <a:gd name="csY169" fmla="*/ 603027 h 2076207"/>
              <a:gd name="csX170" fmla="*/ 463931 w 748195"/>
              <a:gd name="csY170" fmla="*/ 605146 h 2076207"/>
              <a:gd name="csX171" fmla="*/ 478113 w 748195"/>
              <a:gd name="csY171" fmla="*/ 595843 h 2076207"/>
              <a:gd name="csX172" fmla="*/ 478796 w 748195"/>
              <a:gd name="csY172" fmla="*/ 556832 h 2076207"/>
              <a:gd name="csX173" fmla="*/ 310220 w 748195"/>
              <a:gd name="csY173" fmla="*/ 554288 h 2076207"/>
              <a:gd name="csX174" fmla="*/ 348836 w 748195"/>
              <a:gd name="csY174" fmla="*/ 684115 h 2076207"/>
              <a:gd name="csX175" fmla="*/ 281333 w 748195"/>
              <a:gd name="csY175" fmla="*/ 683313 h 2076207"/>
              <a:gd name="csX176" fmla="*/ 212728 w 748195"/>
              <a:gd name="csY176" fmla="*/ 681931 h 2076207"/>
              <a:gd name="csX177" fmla="*/ 187283 w 748195"/>
              <a:gd name="csY177" fmla="*/ 689555 h 2076207"/>
              <a:gd name="csX178" fmla="*/ 186163 w 748195"/>
              <a:gd name="csY178" fmla="*/ 718266 h 2076207"/>
              <a:gd name="csX179" fmla="*/ 209894 w 748195"/>
              <a:gd name="csY179" fmla="*/ 726798 h 2076207"/>
              <a:gd name="csX180" fmla="*/ 334814 w 748195"/>
              <a:gd name="csY180" fmla="*/ 732494 h 2076207"/>
              <a:gd name="csX181" fmla="*/ 364856 w 748195"/>
              <a:gd name="csY181" fmla="*/ 707963 h 2076207"/>
              <a:gd name="csX182" fmla="*/ 348836 w 748195"/>
              <a:gd name="csY182" fmla="*/ 684115 h 2076207"/>
              <a:gd name="csX183" fmla="*/ 298865 w 748195"/>
              <a:gd name="csY183" fmla="*/ 621954 h 2076207"/>
              <a:gd name="csX184" fmla="*/ 251619 w 748195"/>
              <a:gd name="csY184" fmla="*/ 622133 h 2076207"/>
              <a:gd name="csX185" fmla="*/ 214459 w 748195"/>
              <a:gd name="csY185" fmla="*/ 636230 h 2076207"/>
              <a:gd name="csX186" fmla="*/ 221436 w 748195"/>
              <a:gd name="csY186" fmla="*/ 654205 h 2076207"/>
              <a:gd name="csX187" fmla="*/ 272412 w 748195"/>
              <a:gd name="csY187" fmla="*/ 657250 h 2076207"/>
              <a:gd name="csX188" fmla="*/ 349094 w 748195"/>
              <a:gd name="csY188" fmla="*/ 659282 h 2076207"/>
              <a:gd name="csX189" fmla="*/ 362996 w 748195"/>
              <a:gd name="csY189" fmla="*/ 644234 h 2076207"/>
              <a:gd name="csX190" fmla="*/ 348472 w 748195"/>
              <a:gd name="csY190" fmla="*/ 624649 h 2076207"/>
              <a:gd name="csX191" fmla="*/ 298865 w 748195"/>
              <a:gd name="csY191" fmla="*/ 621954 h 2076207"/>
              <a:gd name="csX192" fmla="*/ 227796 w 748195"/>
              <a:gd name="csY192" fmla="*/ 528000 h 2076207"/>
              <a:gd name="csX193" fmla="*/ 241009 w 748195"/>
              <a:gd name="csY193" fmla="*/ 545897 h 2076207"/>
              <a:gd name="csX194" fmla="*/ 282607 w 748195"/>
              <a:gd name="csY194" fmla="*/ 543480 h 2076207"/>
              <a:gd name="csX195" fmla="*/ 354213 w 748195"/>
              <a:gd name="csY195" fmla="*/ 543384 h 2076207"/>
              <a:gd name="csX196" fmla="*/ 365334 w 748195"/>
              <a:gd name="csY196" fmla="*/ 533397 h 2076207"/>
              <a:gd name="csX197" fmla="*/ 354531 w 748195"/>
              <a:gd name="csY197" fmla="*/ 521620 h 2076207"/>
              <a:gd name="csX198" fmla="*/ 259169 w 748195"/>
              <a:gd name="csY198" fmla="*/ 521978 h 2076207"/>
              <a:gd name="csX199" fmla="*/ 227796 w 748195"/>
              <a:gd name="csY199" fmla="*/ 528000 h 2076207"/>
              <a:gd name="csX200" fmla="*/ 508068 w 748195"/>
              <a:gd name="csY200" fmla="*/ 190710 h 2076207"/>
              <a:gd name="csX201" fmla="*/ 521293 w 748195"/>
              <a:gd name="csY201" fmla="*/ 205907 h 2076207"/>
              <a:gd name="csX202" fmla="*/ 525175 w 748195"/>
              <a:gd name="csY202" fmla="*/ 202985 h 2076207"/>
              <a:gd name="csX203" fmla="*/ 500276 w 748195"/>
              <a:gd name="csY203" fmla="*/ 160640 h 2076207"/>
              <a:gd name="csX204" fmla="*/ 497122 w 748195"/>
              <a:gd name="csY204" fmla="*/ 162007 h 2076207"/>
              <a:gd name="csX205" fmla="*/ 508068 w 748195"/>
              <a:gd name="csY205" fmla="*/ 190710 h 2076207"/>
              <a:gd name="csX206" fmla="*/ 215522 w 748195"/>
              <a:gd name="csY206" fmla="*/ 197296 h 2076207"/>
              <a:gd name="csX207" fmla="*/ 234029 w 748195"/>
              <a:gd name="csY207" fmla="*/ 162725 h 2076207"/>
              <a:gd name="csX208" fmla="*/ 229000 w 748195"/>
              <a:gd name="csY208" fmla="*/ 159902 h 2076207"/>
              <a:gd name="csX209" fmla="*/ 204824 w 748195"/>
              <a:gd name="csY209" fmla="*/ 199677 h 2076207"/>
              <a:gd name="csX210" fmla="*/ 207990 w 748195"/>
              <a:gd name="csY210" fmla="*/ 202198 h 2076207"/>
              <a:gd name="csX211" fmla="*/ 215522 w 748195"/>
              <a:gd name="csY211" fmla="*/ 197296 h 2076207"/>
              <a:gd name="csX212" fmla="*/ 484400 w 748195"/>
              <a:gd name="csY212" fmla="*/ 896678 h 2076207"/>
              <a:gd name="csX213" fmla="*/ 486181 w 748195"/>
              <a:gd name="csY213" fmla="*/ 896585 h 2076207"/>
              <a:gd name="csX214" fmla="*/ 486181 w 748195"/>
              <a:gd name="csY214" fmla="*/ 795289 h 2076207"/>
              <a:gd name="csX215" fmla="*/ 720241 w 748195"/>
              <a:gd name="csY215" fmla="*/ 2030666 h 2076207"/>
              <a:gd name="csX216" fmla="*/ 721175 w 748195"/>
              <a:gd name="csY216" fmla="*/ 2029733 h 2076207"/>
              <a:gd name="csX217" fmla="*/ 720241 w 748195"/>
              <a:gd name="csY217" fmla="*/ 2030666 h 2076207"/>
              <a:gd name="csX218" fmla="*/ 715702 w 748195"/>
              <a:gd name="csY218" fmla="*/ 2037051 h 2076207"/>
              <a:gd name="csX219" fmla="*/ 715702 w 748195"/>
              <a:gd name="csY219" fmla="*/ 2037051 h 2076207"/>
              <a:gd name="csX0" fmla="*/ 96263 w 729414"/>
              <a:gd name="csY0" fmla="*/ 2076207 h 2076207"/>
              <a:gd name="csX1" fmla="*/ 63862 w 729414"/>
              <a:gd name="csY1" fmla="*/ 2065388 h 2076207"/>
              <a:gd name="csX2" fmla="*/ 16555 w 729414"/>
              <a:gd name="csY2" fmla="*/ 2050152 h 2076207"/>
              <a:gd name="csX3" fmla="*/ 15 w 729414"/>
              <a:gd name="csY3" fmla="*/ 2023802 h 2076207"/>
              <a:gd name="csX4" fmla="*/ 18368 w 729414"/>
              <a:gd name="csY4" fmla="*/ 1940709 h 2076207"/>
              <a:gd name="csX5" fmla="*/ 22139 w 729414"/>
              <a:gd name="csY5" fmla="*/ 1907268 h 2076207"/>
              <a:gd name="csX6" fmla="*/ 57941 w 729414"/>
              <a:gd name="csY6" fmla="*/ 1774163 h 2076207"/>
              <a:gd name="csX7" fmla="*/ 102478 w 729414"/>
              <a:gd name="csY7" fmla="*/ 1720275 h 2076207"/>
              <a:gd name="csX8" fmla="*/ 108579 w 729414"/>
              <a:gd name="csY8" fmla="*/ 1650967 h 2076207"/>
              <a:gd name="csX9" fmla="*/ 115628 w 729414"/>
              <a:gd name="csY9" fmla="*/ 1625405 h 2076207"/>
              <a:gd name="csX10" fmla="*/ 156323 w 729414"/>
              <a:gd name="csY10" fmla="*/ 1560181 h 2076207"/>
              <a:gd name="csX11" fmla="*/ 199424 w 729414"/>
              <a:gd name="csY11" fmla="*/ 1364729 h 2076207"/>
              <a:gd name="csX12" fmla="*/ 216779 w 729414"/>
              <a:gd name="csY12" fmla="*/ 1219490 h 2076207"/>
              <a:gd name="csX13" fmla="*/ 229755 w 729414"/>
              <a:gd name="csY13" fmla="*/ 1099357 h 2076207"/>
              <a:gd name="csX14" fmla="*/ 232707 w 729414"/>
              <a:gd name="csY14" fmla="*/ 1056423 h 2076207"/>
              <a:gd name="csX15" fmla="*/ 235622 w 729414"/>
              <a:gd name="csY15" fmla="*/ 952675 h 2076207"/>
              <a:gd name="csX16" fmla="*/ 235445 w 729414"/>
              <a:gd name="csY16" fmla="*/ 780278 h 2076207"/>
              <a:gd name="csX17" fmla="*/ 214544 w 729414"/>
              <a:gd name="csY17" fmla="*/ 756435 h 2076207"/>
              <a:gd name="csX18" fmla="*/ 172569 w 729414"/>
              <a:gd name="csY18" fmla="*/ 742582 h 2076207"/>
              <a:gd name="csX19" fmla="*/ 168784 w 729414"/>
              <a:gd name="csY19" fmla="*/ 669116 h 2076207"/>
              <a:gd name="csX20" fmla="*/ 191657 w 729414"/>
              <a:gd name="csY20" fmla="*/ 630765 h 2076207"/>
              <a:gd name="csX21" fmla="*/ 208150 w 729414"/>
              <a:gd name="csY21" fmla="*/ 609084 h 2076207"/>
              <a:gd name="csX22" fmla="*/ 216756 w 729414"/>
              <a:gd name="csY22" fmla="*/ 558673 h 2076207"/>
              <a:gd name="csX23" fmla="*/ 209092 w 729414"/>
              <a:gd name="csY23" fmla="*/ 521540 h 2076207"/>
              <a:gd name="csX24" fmla="*/ 204683 w 729414"/>
              <a:gd name="csY24" fmla="*/ 474024 h 2076207"/>
              <a:gd name="csX25" fmla="*/ 115483 w 729414"/>
              <a:gd name="csY25" fmla="*/ 213499 h 2076207"/>
              <a:gd name="csX26" fmla="*/ 102909 w 729414"/>
              <a:gd name="csY26" fmla="*/ 182297 h 2076207"/>
              <a:gd name="csX27" fmla="*/ 104315 w 729414"/>
              <a:gd name="csY27" fmla="*/ 163968 h 2076207"/>
              <a:gd name="csX28" fmla="*/ 122444 w 729414"/>
              <a:gd name="csY28" fmla="*/ 160805 h 2076207"/>
              <a:gd name="csX29" fmla="*/ 170283 w 729414"/>
              <a:gd name="csY29" fmla="*/ 187783 h 2076207"/>
              <a:gd name="csX30" fmla="*/ 180938 w 729414"/>
              <a:gd name="csY30" fmla="*/ 195322 h 2076207"/>
              <a:gd name="csX31" fmla="*/ 221419 w 729414"/>
              <a:gd name="csY31" fmla="*/ 138058 h 2076207"/>
              <a:gd name="csX32" fmla="*/ 294099 w 729414"/>
              <a:gd name="csY32" fmla="*/ 91372 h 2076207"/>
              <a:gd name="csX33" fmla="*/ 302307 w 729414"/>
              <a:gd name="csY33" fmla="*/ 76560 h 2076207"/>
              <a:gd name="csX34" fmla="*/ 320284 w 729414"/>
              <a:gd name="csY34" fmla="*/ 8414 h 2076207"/>
              <a:gd name="csX35" fmla="*/ 324784 w 729414"/>
              <a:gd name="csY35" fmla="*/ 946 h 2076207"/>
              <a:gd name="csX36" fmla="*/ 399212 w 729414"/>
              <a:gd name="csY36" fmla="*/ 0 h 2076207"/>
              <a:gd name="csX37" fmla="*/ 425980 w 729414"/>
              <a:gd name="csY37" fmla="*/ 78301 h 2076207"/>
              <a:gd name="csX38" fmla="*/ 431861 w 729414"/>
              <a:gd name="csY38" fmla="*/ 90312 h 2076207"/>
              <a:gd name="csX39" fmla="*/ 540349 w 729414"/>
              <a:gd name="csY39" fmla="*/ 187946 h 2076207"/>
              <a:gd name="csX40" fmla="*/ 545555 w 729414"/>
              <a:gd name="csY40" fmla="*/ 197828 h 2076207"/>
              <a:gd name="csX41" fmla="*/ 587318 w 729414"/>
              <a:gd name="csY41" fmla="*/ 171260 h 2076207"/>
              <a:gd name="csX42" fmla="*/ 601503 w 729414"/>
              <a:gd name="csY42" fmla="*/ 163707 h 2076207"/>
              <a:gd name="csX43" fmla="*/ 625254 w 729414"/>
              <a:gd name="csY43" fmla="*/ 163123 h 2076207"/>
              <a:gd name="csX44" fmla="*/ 625468 w 729414"/>
              <a:gd name="csY44" fmla="*/ 187579 h 2076207"/>
              <a:gd name="csX45" fmla="*/ 597543 w 729414"/>
              <a:gd name="csY45" fmla="*/ 251872 h 2076207"/>
              <a:gd name="csX46" fmla="*/ 531831 w 729414"/>
              <a:gd name="csY46" fmla="*/ 442689 h 2076207"/>
              <a:gd name="csX47" fmla="*/ 519888 w 729414"/>
              <a:gd name="csY47" fmla="*/ 501474 h 2076207"/>
              <a:gd name="csX48" fmla="*/ 522506 w 729414"/>
              <a:gd name="csY48" fmla="*/ 525086 h 2076207"/>
              <a:gd name="csX49" fmla="*/ 516235 w 729414"/>
              <a:gd name="csY49" fmla="*/ 555946 h 2076207"/>
              <a:gd name="csX50" fmla="*/ 521332 w 729414"/>
              <a:gd name="csY50" fmla="*/ 610676 h 2076207"/>
              <a:gd name="csX51" fmla="*/ 541382 w 729414"/>
              <a:gd name="csY51" fmla="*/ 642597 h 2076207"/>
              <a:gd name="csX52" fmla="*/ 557031 w 729414"/>
              <a:gd name="csY52" fmla="*/ 667949 h 2076207"/>
              <a:gd name="csX53" fmla="*/ 553994 w 729414"/>
              <a:gd name="csY53" fmla="*/ 744146 h 2076207"/>
              <a:gd name="csX54" fmla="*/ 508215 w 729414"/>
              <a:gd name="csY54" fmla="*/ 758841 h 2076207"/>
              <a:gd name="csX55" fmla="*/ 497442 w 729414"/>
              <a:gd name="csY55" fmla="*/ 771256 h 2076207"/>
              <a:gd name="csX56" fmla="*/ 493005 w 729414"/>
              <a:gd name="csY56" fmla="*/ 922055 h 2076207"/>
              <a:gd name="csX57" fmla="*/ 502900 w 729414"/>
              <a:gd name="csY57" fmla="*/ 1114191 h 2076207"/>
              <a:gd name="csX58" fmla="*/ 508800 w 729414"/>
              <a:gd name="csY58" fmla="*/ 1205474 h 2076207"/>
              <a:gd name="csX59" fmla="*/ 522952 w 729414"/>
              <a:gd name="csY59" fmla="*/ 1320065 h 2076207"/>
              <a:gd name="csX60" fmla="*/ 554682 w 729414"/>
              <a:gd name="csY60" fmla="*/ 1501203 h 2076207"/>
              <a:gd name="csX61" fmla="*/ 576958 w 729414"/>
              <a:gd name="csY61" fmla="*/ 1593963 h 2076207"/>
              <a:gd name="csX62" fmla="*/ 595349 w 729414"/>
              <a:gd name="csY62" fmla="*/ 1613498 h 2076207"/>
              <a:gd name="csX63" fmla="*/ 613936 w 729414"/>
              <a:gd name="csY63" fmla="*/ 1624058 h 2076207"/>
              <a:gd name="csX64" fmla="*/ 620938 w 729414"/>
              <a:gd name="csY64" fmla="*/ 1652071 h 2076207"/>
              <a:gd name="csX65" fmla="*/ 630805 w 729414"/>
              <a:gd name="csY65" fmla="*/ 1721702 h 2076207"/>
              <a:gd name="csX66" fmla="*/ 685830 w 729414"/>
              <a:gd name="csY66" fmla="*/ 1792915 h 2076207"/>
              <a:gd name="csX67" fmla="*/ 708904 w 729414"/>
              <a:gd name="csY67" fmla="*/ 1890290 h 2076207"/>
              <a:gd name="csX68" fmla="*/ 716580 w 729414"/>
              <a:gd name="csY68" fmla="*/ 1951136 h 2076207"/>
              <a:gd name="csX69" fmla="*/ 729397 w 729414"/>
              <a:gd name="csY69" fmla="*/ 2030261 h 2076207"/>
              <a:gd name="csX70" fmla="*/ 714212 w 729414"/>
              <a:gd name="csY70" fmla="*/ 2049544 h 2076207"/>
              <a:gd name="csX71" fmla="*/ 706629 w 729414"/>
              <a:gd name="csY71" fmla="*/ 2044290 h 2076207"/>
              <a:gd name="csX72" fmla="*/ 96263 w 729414"/>
              <a:gd name="csY72" fmla="*/ 2076207 h 2076207"/>
              <a:gd name="csX73" fmla="*/ 489970 w 729414"/>
              <a:gd name="csY73" fmla="*/ 152208 h 2076207"/>
              <a:gd name="csX74" fmla="*/ 490754 w 729414"/>
              <a:gd name="csY74" fmla="*/ 152592 h 2076207"/>
              <a:gd name="csX75" fmla="*/ 489489 w 729414"/>
              <a:gd name="csY75" fmla="*/ 149547 h 2076207"/>
              <a:gd name="csX76" fmla="*/ 393621 w 729414"/>
              <a:gd name="csY76" fmla="*/ 99259 h 2076207"/>
              <a:gd name="csX77" fmla="*/ 390419 w 729414"/>
              <a:gd name="csY77" fmla="*/ 18568 h 2076207"/>
              <a:gd name="csX78" fmla="*/ 334131 w 729414"/>
              <a:gd name="csY78" fmla="*/ 24327 h 2076207"/>
              <a:gd name="csX79" fmla="*/ 344678 w 729414"/>
              <a:gd name="csY79" fmla="*/ 101259 h 2076207"/>
              <a:gd name="csX80" fmla="*/ 298854 w 729414"/>
              <a:gd name="csY80" fmla="*/ 114003 h 2076207"/>
              <a:gd name="csX81" fmla="*/ 237456 w 729414"/>
              <a:gd name="csY81" fmla="*/ 154340 h 2076207"/>
              <a:gd name="csX82" fmla="*/ 240382 w 729414"/>
              <a:gd name="csY82" fmla="*/ 154035 h 2076207"/>
              <a:gd name="csX83" fmla="*/ 262731 w 729414"/>
              <a:gd name="csY83" fmla="*/ 170426 h 2076207"/>
              <a:gd name="csX84" fmla="*/ 279169 w 729414"/>
              <a:gd name="csY84" fmla="*/ 193173 h 2076207"/>
              <a:gd name="csX85" fmla="*/ 327717 w 729414"/>
              <a:gd name="csY85" fmla="*/ 188556 h 2076207"/>
              <a:gd name="csX86" fmla="*/ 348052 w 729414"/>
              <a:gd name="csY86" fmla="*/ 156919 h 2076207"/>
              <a:gd name="csX87" fmla="*/ 380330 w 729414"/>
              <a:gd name="csY87" fmla="*/ 156483 h 2076207"/>
              <a:gd name="csX88" fmla="*/ 408490 w 729414"/>
              <a:gd name="csY88" fmla="*/ 195400 h 2076207"/>
              <a:gd name="csX89" fmla="*/ 445346 w 729414"/>
              <a:gd name="csY89" fmla="*/ 197582 h 2076207"/>
              <a:gd name="csX90" fmla="*/ 464798 w 729414"/>
              <a:gd name="csY90" fmla="*/ 174107 h 2076207"/>
              <a:gd name="csX91" fmla="*/ 489970 w 729414"/>
              <a:gd name="csY91" fmla="*/ 152208 h 2076207"/>
              <a:gd name="csX92" fmla="*/ 140694 w 729414"/>
              <a:gd name="csY92" fmla="*/ 201837 h 2076207"/>
              <a:gd name="csX93" fmla="*/ 139834 w 729414"/>
              <a:gd name="csY93" fmla="*/ 201482 h 2076207"/>
              <a:gd name="csX94" fmla="*/ 140812 w 729414"/>
              <a:gd name="csY94" fmla="*/ 204941 h 2076207"/>
              <a:gd name="csX95" fmla="*/ 144631 w 729414"/>
              <a:gd name="csY95" fmla="*/ 217811 h 2076207"/>
              <a:gd name="csX96" fmla="*/ 201241 w 729414"/>
              <a:gd name="csY96" fmla="*/ 373387 h 2076207"/>
              <a:gd name="csX97" fmla="*/ 235971 w 729414"/>
              <a:gd name="csY97" fmla="*/ 504451 h 2076207"/>
              <a:gd name="csX98" fmla="*/ 247475 w 729414"/>
              <a:gd name="csY98" fmla="*/ 513241 h 2076207"/>
              <a:gd name="csX99" fmla="*/ 289066 w 729414"/>
              <a:gd name="csY99" fmla="*/ 511170 h 2076207"/>
              <a:gd name="csX100" fmla="*/ 378229 w 729414"/>
              <a:gd name="csY100" fmla="*/ 511084 h 2076207"/>
              <a:gd name="csX101" fmla="*/ 470850 w 729414"/>
              <a:gd name="csY101" fmla="*/ 516341 h 2076207"/>
              <a:gd name="csX102" fmla="*/ 492933 w 729414"/>
              <a:gd name="csY102" fmla="*/ 497969 h 2076207"/>
              <a:gd name="csX103" fmla="*/ 557617 w 729414"/>
              <a:gd name="csY103" fmla="*/ 280398 h 2076207"/>
              <a:gd name="csX104" fmla="*/ 588788 w 729414"/>
              <a:gd name="csY104" fmla="*/ 200385 h 2076207"/>
              <a:gd name="csX105" fmla="*/ 530958 w 729414"/>
              <a:gd name="csY105" fmla="*/ 232968 h 2076207"/>
              <a:gd name="csX106" fmla="*/ 483823 w 729414"/>
              <a:gd name="csY106" fmla="*/ 190364 h 2076207"/>
              <a:gd name="csX107" fmla="*/ 466649 w 729414"/>
              <a:gd name="csY107" fmla="*/ 209061 h 2076207"/>
              <a:gd name="csX108" fmla="*/ 399941 w 729414"/>
              <a:gd name="csY108" fmla="*/ 216988 h 2076207"/>
              <a:gd name="csX109" fmla="*/ 363018 w 729414"/>
              <a:gd name="csY109" fmla="*/ 179615 h 2076207"/>
              <a:gd name="csX110" fmla="*/ 308839 w 729414"/>
              <a:gd name="csY110" fmla="*/ 227846 h 2076207"/>
              <a:gd name="csX111" fmla="*/ 245077 w 729414"/>
              <a:gd name="csY111" fmla="*/ 192402 h 2076207"/>
              <a:gd name="csX112" fmla="*/ 242829 w 729414"/>
              <a:gd name="csY112" fmla="*/ 198815 h 2076207"/>
              <a:gd name="csX113" fmla="*/ 168452 w 729414"/>
              <a:gd name="csY113" fmla="*/ 219348 h 2076207"/>
              <a:gd name="csX114" fmla="*/ 140694 w 729414"/>
              <a:gd name="csY114" fmla="*/ 201837 h 2076207"/>
              <a:gd name="csX115" fmla="*/ 259999 w 729414"/>
              <a:gd name="csY115" fmla="*/ 966699 h 2076207"/>
              <a:gd name="csX116" fmla="*/ 257072 w 729414"/>
              <a:gd name="csY116" fmla="*/ 1070424 h 2076207"/>
              <a:gd name="csX117" fmla="*/ 251372 w 729414"/>
              <a:gd name="csY117" fmla="*/ 1157618 h 2076207"/>
              <a:gd name="csX118" fmla="*/ 232677 w 729414"/>
              <a:gd name="csY118" fmla="*/ 1320279 h 2076207"/>
              <a:gd name="csX119" fmla="*/ 209182 w 729414"/>
              <a:gd name="csY119" fmla="*/ 1468667 h 2076207"/>
              <a:gd name="csX120" fmla="*/ 175302 w 729414"/>
              <a:gd name="csY120" fmla="*/ 1616623 h 2076207"/>
              <a:gd name="csX121" fmla="*/ 182769 w 729414"/>
              <a:gd name="csY121" fmla="*/ 1629786 h 2076207"/>
              <a:gd name="csX122" fmla="*/ 212156 w 729414"/>
              <a:gd name="csY122" fmla="*/ 1632656 h 2076207"/>
              <a:gd name="csX123" fmla="*/ 351295 w 729414"/>
              <a:gd name="csY123" fmla="*/ 1632801 h 2076207"/>
              <a:gd name="csX124" fmla="*/ 376150 w 729414"/>
              <a:gd name="csY124" fmla="*/ 1608307 h 2076207"/>
              <a:gd name="csX125" fmla="*/ 373450 w 729414"/>
              <a:gd name="csY125" fmla="*/ 1457291 h 2076207"/>
              <a:gd name="csX126" fmla="*/ 370936 w 729414"/>
              <a:gd name="csY126" fmla="*/ 1342736 h 2076207"/>
              <a:gd name="csX127" fmla="*/ 368328 w 729414"/>
              <a:gd name="csY127" fmla="*/ 1203878 h 2076207"/>
              <a:gd name="csX128" fmla="*/ 367836 w 729414"/>
              <a:gd name="csY128" fmla="*/ 813478 h 2076207"/>
              <a:gd name="csX129" fmla="*/ 365240 w 729414"/>
              <a:gd name="csY129" fmla="*/ 773243 h 2076207"/>
              <a:gd name="csX130" fmla="*/ 353084 w 729414"/>
              <a:gd name="csY130" fmla="*/ 762083 h 2076207"/>
              <a:gd name="csX131" fmla="*/ 280966 w 729414"/>
              <a:gd name="csY131" fmla="*/ 759855 h 2076207"/>
              <a:gd name="csX132" fmla="*/ 259965 w 729414"/>
              <a:gd name="csY132" fmla="*/ 779553 h 2076207"/>
              <a:gd name="csX133" fmla="*/ 262341 w 729414"/>
              <a:gd name="csY133" fmla="*/ 856275 h 2076207"/>
              <a:gd name="csX134" fmla="*/ 259999 w 729414"/>
              <a:gd name="csY134" fmla="*/ 966699 h 2076207"/>
              <a:gd name="csX135" fmla="*/ 55556 w 729414"/>
              <a:gd name="csY135" fmla="*/ 1835827 h 2076207"/>
              <a:gd name="csX136" fmla="*/ 49393 w 729414"/>
              <a:gd name="csY136" fmla="*/ 1878155 h 2076207"/>
              <a:gd name="csX137" fmla="*/ 73949 w 729414"/>
              <a:gd name="csY137" fmla="*/ 1905781 h 2076207"/>
              <a:gd name="csX138" fmla="*/ 110073 w 729414"/>
              <a:gd name="csY138" fmla="*/ 1909068 h 2076207"/>
              <a:gd name="csX139" fmla="*/ 224745 w 729414"/>
              <a:gd name="csY139" fmla="*/ 1921652 h 2076207"/>
              <a:gd name="csX140" fmla="*/ 347327 w 729414"/>
              <a:gd name="csY140" fmla="*/ 1924778 h 2076207"/>
              <a:gd name="csX141" fmla="*/ 363345 w 729414"/>
              <a:gd name="csY141" fmla="*/ 1923293 h 2076207"/>
              <a:gd name="csX142" fmla="*/ 373787 w 729414"/>
              <a:gd name="csY142" fmla="*/ 1911200 h 2076207"/>
              <a:gd name="csX143" fmla="*/ 376623 w 729414"/>
              <a:gd name="csY143" fmla="*/ 1696741 h 2076207"/>
              <a:gd name="csX144" fmla="*/ 360437 w 729414"/>
              <a:gd name="csY144" fmla="*/ 1681289 h 2076207"/>
              <a:gd name="csX145" fmla="*/ 263503 w 729414"/>
              <a:gd name="csY145" fmla="*/ 1678179 h 2076207"/>
              <a:gd name="csX146" fmla="*/ 160381 w 729414"/>
              <a:gd name="csY146" fmla="*/ 1670405 h 2076207"/>
              <a:gd name="csX147" fmla="*/ 143321 w 729414"/>
              <a:gd name="csY147" fmla="*/ 1685538 h 2076207"/>
              <a:gd name="csX148" fmla="*/ 124769 w 729414"/>
              <a:gd name="csY148" fmla="*/ 1738195 h 2076207"/>
              <a:gd name="csX149" fmla="*/ 90593 w 729414"/>
              <a:gd name="csY149" fmla="*/ 1779570 h 2076207"/>
              <a:gd name="csX150" fmla="*/ 55556 w 729414"/>
              <a:gd name="csY150" fmla="*/ 1835827 h 2076207"/>
              <a:gd name="csX151" fmla="*/ 378900 w 729414"/>
              <a:gd name="csY151" fmla="*/ 2007280 h 2076207"/>
              <a:gd name="csX152" fmla="*/ 378887 w 729414"/>
              <a:gd name="csY152" fmla="*/ 1995127 h 2076207"/>
              <a:gd name="csX153" fmla="*/ 359084 w 729414"/>
              <a:gd name="csY153" fmla="*/ 1975964 h 2076207"/>
              <a:gd name="csX154" fmla="*/ 247288 w 729414"/>
              <a:gd name="csY154" fmla="*/ 1973305 h 2076207"/>
              <a:gd name="csX155" fmla="*/ 201692 w 729414"/>
              <a:gd name="csY155" fmla="*/ 1970275 h 2076207"/>
              <a:gd name="csX156" fmla="*/ 57962 w 729414"/>
              <a:gd name="csY156" fmla="*/ 1952648 h 2076207"/>
              <a:gd name="csX157" fmla="*/ 39194 w 729414"/>
              <a:gd name="csY157" fmla="*/ 1963552 h 2076207"/>
              <a:gd name="csX158" fmla="*/ 30066 w 729414"/>
              <a:gd name="csY158" fmla="*/ 2006631 h 2076207"/>
              <a:gd name="csX159" fmla="*/ 40232 w 729414"/>
              <a:gd name="csY159" fmla="*/ 2019486 h 2076207"/>
              <a:gd name="csX160" fmla="*/ 238186 w 729414"/>
              <a:gd name="csY160" fmla="*/ 2046096 h 2076207"/>
              <a:gd name="csX161" fmla="*/ 342155 w 729414"/>
              <a:gd name="csY161" fmla="*/ 2046441 h 2076207"/>
              <a:gd name="csX162" fmla="*/ 378900 w 729414"/>
              <a:gd name="csY162" fmla="*/ 2007280 h 2076207"/>
              <a:gd name="csX163" fmla="*/ 310220 w 729414"/>
              <a:gd name="csY163" fmla="*/ 554288 h 2076207"/>
              <a:gd name="csX164" fmla="*/ 259136 w 729414"/>
              <a:gd name="csY164" fmla="*/ 556881 h 2076207"/>
              <a:gd name="csX165" fmla="*/ 249085 w 729414"/>
              <a:gd name="csY165" fmla="*/ 567981 h 2076207"/>
              <a:gd name="csX166" fmla="*/ 249141 w 729414"/>
              <a:gd name="csY166" fmla="*/ 605644 h 2076207"/>
              <a:gd name="csX167" fmla="*/ 262628 w 729414"/>
              <a:gd name="csY167" fmla="*/ 605627 h 2076207"/>
              <a:gd name="csX168" fmla="*/ 369608 w 729414"/>
              <a:gd name="csY168" fmla="*/ 603027 h 2076207"/>
              <a:gd name="csX169" fmla="*/ 463931 w 729414"/>
              <a:gd name="csY169" fmla="*/ 605146 h 2076207"/>
              <a:gd name="csX170" fmla="*/ 478113 w 729414"/>
              <a:gd name="csY170" fmla="*/ 595843 h 2076207"/>
              <a:gd name="csX171" fmla="*/ 478796 w 729414"/>
              <a:gd name="csY171" fmla="*/ 556832 h 2076207"/>
              <a:gd name="csX172" fmla="*/ 310220 w 729414"/>
              <a:gd name="csY172" fmla="*/ 554288 h 2076207"/>
              <a:gd name="csX173" fmla="*/ 348836 w 729414"/>
              <a:gd name="csY173" fmla="*/ 684115 h 2076207"/>
              <a:gd name="csX174" fmla="*/ 281333 w 729414"/>
              <a:gd name="csY174" fmla="*/ 683313 h 2076207"/>
              <a:gd name="csX175" fmla="*/ 212728 w 729414"/>
              <a:gd name="csY175" fmla="*/ 681931 h 2076207"/>
              <a:gd name="csX176" fmla="*/ 187283 w 729414"/>
              <a:gd name="csY176" fmla="*/ 689555 h 2076207"/>
              <a:gd name="csX177" fmla="*/ 186163 w 729414"/>
              <a:gd name="csY177" fmla="*/ 718266 h 2076207"/>
              <a:gd name="csX178" fmla="*/ 209894 w 729414"/>
              <a:gd name="csY178" fmla="*/ 726798 h 2076207"/>
              <a:gd name="csX179" fmla="*/ 334814 w 729414"/>
              <a:gd name="csY179" fmla="*/ 732494 h 2076207"/>
              <a:gd name="csX180" fmla="*/ 364856 w 729414"/>
              <a:gd name="csY180" fmla="*/ 707963 h 2076207"/>
              <a:gd name="csX181" fmla="*/ 348836 w 729414"/>
              <a:gd name="csY181" fmla="*/ 684115 h 2076207"/>
              <a:gd name="csX182" fmla="*/ 298865 w 729414"/>
              <a:gd name="csY182" fmla="*/ 621954 h 2076207"/>
              <a:gd name="csX183" fmla="*/ 251619 w 729414"/>
              <a:gd name="csY183" fmla="*/ 622133 h 2076207"/>
              <a:gd name="csX184" fmla="*/ 214459 w 729414"/>
              <a:gd name="csY184" fmla="*/ 636230 h 2076207"/>
              <a:gd name="csX185" fmla="*/ 221436 w 729414"/>
              <a:gd name="csY185" fmla="*/ 654205 h 2076207"/>
              <a:gd name="csX186" fmla="*/ 272412 w 729414"/>
              <a:gd name="csY186" fmla="*/ 657250 h 2076207"/>
              <a:gd name="csX187" fmla="*/ 349094 w 729414"/>
              <a:gd name="csY187" fmla="*/ 659282 h 2076207"/>
              <a:gd name="csX188" fmla="*/ 362996 w 729414"/>
              <a:gd name="csY188" fmla="*/ 644234 h 2076207"/>
              <a:gd name="csX189" fmla="*/ 348472 w 729414"/>
              <a:gd name="csY189" fmla="*/ 624649 h 2076207"/>
              <a:gd name="csX190" fmla="*/ 298865 w 729414"/>
              <a:gd name="csY190" fmla="*/ 621954 h 2076207"/>
              <a:gd name="csX191" fmla="*/ 227796 w 729414"/>
              <a:gd name="csY191" fmla="*/ 528000 h 2076207"/>
              <a:gd name="csX192" fmla="*/ 241009 w 729414"/>
              <a:gd name="csY192" fmla="*/ 545897 h 2076207"/>
              <a:gd name="csX193" fmla="*/ 282607 w 729414"/>
              <a:gd name="csY193" fmla="*/ 543480 h 2076207"/>
              <a:gd name="csX194" fmla="*/ 354213 w 729414"/>
              <a:gd name="csY194" fmla="*/ 543384 h 2076207"/>
              <a:gd name="csX195" fmla="*/ 365334 w 729414"/>
              <a:gd name="csY195" fmla="*/ 533397 h 2076207"/>
              <a:gd name="csX196" fmla="*/ 354531 w 729414"/>
              <a:gd name="csY196" fmla="*/ 521620 h 2076207"/>
              <a:gd name="csX197" fmla="*/ 259169 w 729414"/>
              <a:gd name="csY197" fmla="*/ 521978 h 2076207"/>
              <a:gd name="csX198" fmla="*/ 227796 w 729414"/>
              <a:gd name="csY198" fmla="*/ 528000 h 2076207"/>
              <a:gd name="csX199" fmla="*/ 508068 w 729414"/>
              <a:gd name="csY199" fmla="*/ 190710 h 2076207"/>
              <a:gd name="csX200" fmla="*/ 521293 w 729414"/>
              <a:gd name="csY200" fmla="*/ 205907 h 2076207"/>
              <a:gd name="csX201" fmla="*/ 525175 w 729414"/>
              <a:gd name="csY201" fmla="*/ 202985 h 2076207"/>
              <a:gd name="csX202" fmla="*/ 500276 w 729414"/>
              <a:gd name="csY202" fmla="*/ 160640 h 2076207"/>
              <a:gd name="csX203" fmla="*/ 497122 w 729414"/>
              <a:gd name="csY203" fmla="*/ 162007 h 2076207"/>
              <a:gd name="csX204" fmla="*/ 508068 w 729414"/>
              <a:gd name="csY204" fmla="*/ 190710 h 2076207"/>
              <a:gd name="csX205" fmla="*/ 215522 w 729414"/>
              <a:gd name="csY205" fmla="*/ 197296 h 2076207"/>
              <a:gd name="csX206" fmla="*/ 234029 w 729414"/>
              <a:gd name="csY206" fmla="*/ 162725 h 2076207"/>
              <a:gd name="csX207" fmla="*/ 229000 w 729414"/>
              <a:gd name="csY207" fmla="*/ 159902 h 2076207"/>
              <a:gd name="csX208" fmla="*/ 204824 w 729414"/>
              <a:gd name="csY208" fmla="*/ 199677 h 2076207"/>
              <a:gd name="csX209" fmla="*/ 207990 w 729414"/>
              <a:gd name="csY209" fmla="*/ 202198 h 2076207"/>
              <a:gd name="csX210" fmla="*/ 215522 w 729414"/>
              <a:gd name="csY210" fmla="*/ 197296 h 2076207"/>
              <a:gd name="csX211" fmla="*/ 484400 w 729414"/>
              <a:gd name="csY211" fmla="*/ 896678 h 2076207"/>
              <a:gd name="csX212" fmla="*/ 486181 w 729414"/>
              <a:gd name="csY212" fmla="*/ 896585 h 2076207"/>
              <a:gd name="csX213" fmla="*/ 486181 w 729414"/>
              <a:gd name="csY213" fmla="*/ 795289 h 2076207"/>
              <a:gd name="csX214" fmla="*/ 720241 w 729414"/>
              <a:gd name="csY214" fmla="*/ 2030666 h 2076207"/>
              <a:gd name="csX215" fmla="*/ 721175 w 729414"/>
              <a:gd name="csY215" fmla="*/ 2029733 h 2076207"/>
              <a:gd name="csX216" fmla="*/ 720241 w 729414"/>
              <a:gd name="csY216" fmla="*/ 2030666 h 2076207"/>
              <a:gd name="csX217" fmla="*/ 715702 w 729414"/>
              <a:gd name="csY217" fmla="*/ 2037051 h 2076207"/>
              <a:gd name="csX218" fmla="*/ 715702 w 729414"/>
              <a:gd name="csY218" fmla="*/ 2037051 h 2076207"/>
              <a:gd name="csX0" fmla="*/ 96263 w 765535"/>
              <a:gd name="csY0" fmla="*/ 2076207 h 2076207"/>
              <a:gd name="csX1" fmla="*/ 63862 w 765535"/>
              <a:gd name="csY1" fmla="*/ 2065388 h 2076207"/>
              <a:gd name="csX2" fmla="*/ 16555 w 765535"/>
              <a:gd name="csY2" fmla="*/ 2050152 h 2076207"/>
              <a:gd name="csX3" fmla="*/ 15 w 765535"/>
              <a:gd name="csY3" fmla="*/ 2023802 h 2076207"/>
              <a:gd name="csX4" fmla="*/ 18368 w 765535"/>
              <a:gd name="csY4" fmla="*/ 1940709 h 2076207"/>
              <a:gd name="csX5" fmla="*/ 22139 w 765535"/>
              <a:gd name="csY5" fmla="*/ 1907268 h 2076207"/>
              <a:gd name="csX6" fmla="*/ 57941 w 765535"/>
              <a:gd name="csY6" fmla="*/ 1774163 h 2076207"/>
              <a:gd name="csX7" fmla="*/ 102478 w 765535"/>
              <a:gd name="csY7" fmla="*/ 1720275 h 2076207"/>
              <a:gd name="csX8" fmla="*/ 108579 w 765535"/>
              <a:gd name="csY8" fmla="*/ 1650967 h 2076207"/>
              <a:gd name="csX9" fmla="*/ 115628 w 765535"/>
              <a:gd name="csY9" fmla="*/ 1625405 h 2076207"/>
              <a:gd name="csX10" fmla="*/ 156323 w 765535"/>
              <a:gd name="csY10" fmla="*/ 1560181 h 2076207"/>
              <a:gd name="csX11" fmla="*/ 199424 w 765535"/>
              <a:gd name="csY11" fmla="*/ 1364729 h 2076207"/>
              <a:gd name="csX12" fmla="*/ 216779 w 765535"/>
              <a:gd name="csY12" fmla="*/ 1219490 h 2076207"/>
              <a:gd name="csX13" fmla="*/ 229755 w 765535"/>
              <a:gd name="csY13" fmla="*/ 1099357 h 2076207"/>
              <a:gd name="csX14" fmla="*/ 232707 w 765535"/>
              <a:gd name="csY14" fmla="*/ 1056423 h 2076207"/>
              <a:gd name="csX15" fmla="*/ 235622 w 765535"/>
              <a:gd name="csY15" fmla="*/ 952675 h 2076207"/>
              <a:gd name="csX16" fmla="*/ 235445 w 765535"/>
              <a:gd name="csY16" fmla="*/ 780278 h 2076207"/>
              <a:gd name="csX17" fmla="*/ 214544 w 765535"/>
              <a:gd name="csY17" fmla="*/ 756435 h 2076207"/>
              <a:gd name="csX18" fmla="*/ 172569 w 765535"/>
              <a:gd name="csY18" fmla="*/ 742582 h 2076207"/>
              <a:gd name="csX19" fmla="*/ 168784 w 765535"/>
              <a:gd name="csY19" fmla="*/ 669116 h 2076207"/>
              <a:gd name="csX20" fmla="*/ 191657 w 765535"/>
              <a:gd name="csY20" fmla="*/ 630765 h 2076207"/>
              <a:gd name="csX21" fmla="*/ 208150 w 765535"/>
              <a:gd name="csY21" fmla="*/ 609084 h 2076207"/>
              <a:gd name="csX22" fmla="*/ 216756 w 765535"/>
              <a:gd name="csY22" fmla="*/ 558673 h 2076207"/>
              <a:gd name="csX23" fmla="*/ 209092 w 765535"/>
              <a:gd name="csY23" fmla="*/ 521540 h 2076207"/>
              <a:gd name="csX24" fmla="*/ 204683 w 765535"/>
              <a:gd name="csY24" fmla="*/ 474024 h 2076207"/>
              <a:gd name="csX25" fmla="*/ 115483 w 765535"/>
              <a:gd name="csY25" fmla="*/ 213499 h 2076207"/>
              <a:gd name="csX26" fmla="*/ 102909 w 765535"/>
              <a:gd name="csY26" fmla="*/ 182297 h 2076207"/>
              <a:gd name="csX27" fmla="*/ 104315 w 765535"/>
              <a:gd name="csY27" fmla="*/ 163968 h 2076207"/>
              <a:gd name="csX28" fmla="*/ 122444 w 765535"/>
              <a:gd name="csY28" fmla="*/ 160805 h 2076207"/>
              <a:gd name="csX29" fmla="*/ 170283 w 765535"/>
              <a:gd name="csY29" fmla="*/ 187783 h 2076207"/>
              <a:gd name="csX30" fmla="*/ 180938 w 765535"/>
              <a:gd name="csY30" fmla="*/ 195322 h 2076207"/>
              <a:gd name="csX31" fmla="*/ 221419 w 765535"/>
              <a:gd name="csY31" fmla="*/ 138058 h 2076207"/>
              <a:gd name="csX32" fmla="*/ 294099 w 765535"/>
              <a:gd name="csY32" fmla="*/ 91372 h 2076207"/>
              <a:gd name="csX33" fmla="*/ 302307 w 765535"/>
              <a:gd name="csY33" fmla="*/ 76560 h 2076207"/>
              <a:gd name="csX34" fmla="*/ 320284 w 765535"/>
              <a:gd name="csY34" fmla="*/ 8414 h 2076207"/>
              <a:gd name="csX35" fmla="*/ 324784 w 765535"/>
              <a:gd name="csY35" fmla="*/ 946 h 2076207"/>
              <a:gd name="csX36" fmla="*/ 399212 w 765535"/>
              <a:gd name="csY36" fmla="*/ 0 h 2076207"/>
              <a:gd name="csX37" fmla="*/ 425980 w 765535"/>
              <a:gd name="csY37" fmla="*/ 78301 h 2076207"/>
              <a:gd name="csX38" fmla="*/ 431861 w 765535"/>
              <a:gd name="csY38" fmla="*/ 90312 h 2076207"/>
              <a:gd name="csX39" fmla="*/ 540349 w 765535"/>
              <a:gd name="csY39" fmla="*/ 187946 h 2076207"/>
              <a:gd name="csX40" fmla="*/ 545555 w 765535"/>
              <a:gd name="csY40" fmla="*/ 197828 h 2076207"/>
              <a:gd name="csX41" fmla="*/ 587318 w 765535"/>
              <a:gd name="csY41" fmla="*/ 171260 h 2076207"/>
              <a:gd name="csX42" fmla="*/ 601503 w 765535"/>
              <a:gd name="csY42" fmla="*/ 163707 h 2076207"/>
              <a:gd name="csX43" fmla="*/ 625254 w 765535"/>
              <a:gd name="csY43" fmla="*/ 163123 h 2076207"/>
              <a:gd name="csX44" fmla="*/ 625468 w 765535"/>
              <a:gd name="csY44" fmla="*/ 187579 h 2076207"/>
              <a:gd name="csX45" fmla="*/ 597543 w 765535"/>
              <a:gd name="csY45" fmla="*/ 251872 h 2076207"/>
              <a:gd name="csX46" fmla="*/ 531831 w 765535"/>
              <a:gd name="csY46" fmla="*/ 442689 h 2076207"/>
              <a:gd name="csX47" fmla="*/ 519888 w 765535"/>
              <a:gd name="csY47" fmla="*/ 501474 h 2076207"/>
              <a:gd name="csX48" fmla="*/ 522506 w 765535"/>
              <a:gd name="csY48" fmla="*/ 525086 h 2076207"/>
              <a:gd name="csX49" fmla="*/ 516235 w 765535"/>
              <a:gd name="csY49" fmla="*/ 555946 h 2076207"/>
              <a:gd name="csX50" fmla="*/ 521332 w 765535"/>
              <a:gd name="csY50" fmla="*/ 610676 h 2076207"/>
              <a:gd name="csX51" fmla="*/ 541382 w 765535"/>
              <a:gd name="csY51" fmla="*/ 642597 h 2076207"/>
              <a:gd name="csX52" fmla="*/ 557031 w 765535"/>
              <a:gd name="csY52" fmla="*/ 667949 h 2076207"/>
              <a:gd name="csX53" fmla="*/ 553994 w 765535"/>
              <a:gd name="csY53" fmla="*/ 744146 h 2076207"/>
              <a:gd name="csX54" fmla="*/ 508215 w 765535"/>
              <a:gd name="csY54" fmla="*/ 758841 h 2076207"/>
              <a:gd name="csX55" fmla="*/ 497442 w 765535"/>
              <a:gd name="csY55" fmla="*/ 771256 h 2076207"/>
              <a:gd name="csX56" fmla="*/ 493005 w 765535"/>
              <a:gd name="csY56" fmla="*/ 922055 h 2076207"/>
              <a:gd name="csX57" fmla="*/ 502900 w 765535"/>
              <a:gd name="csY57" fmla="*/ 1114191 h 2076207"/>
              <a:gd name="csX58" fmla="*/ 508800 w 765535"/>
              <a:gd name="csY58" fmla="*/ 1205474 h 2076207"/>
              <a:gd name="csX59" fmla="*/ 522952 w 765535"/>
              <a:gd name="csY59" fmla="*/ 1320065 h 2076207"/>
              <a:gd name="csX60" fmla="*/ 554682 w 765535"/>
              <a:gd name="csY60" fmla="*/ 1501203 h 2076207"/>
              <a:gd name="csX61" fmla="*/ 576958 w 765535"/>
              <a:gd name="csY61" fmla="*/ 1593963 h 2076207"/>
              <a:gd name="csX62" fmla="*/ 595349 w 765535"/>
              <a:gd name="csY62" fmla="*/ 1613498 h 2076207"/>
              <a:gd name="csX63" fmla="*/ 613936 w 765535"/>
              <a:gd name="csY63" fmla="*/ 1624058 h 2076207"/>
              <a:gd name="csX64" fmla="*/ 620938 w 765535"/>
              <a:gd name="csY64" fmla="*/ 1652071 h 2076207"/>
              <a:gd name="csX65" fmla="*/ 630805 w 765535"/>
              <a:gd name="csY65" fmla="*/ 1721702 h 2076207"/>
              <a:gd name="csX66" fmla="*/ 685830 w 765535"/>
              <a:gd name="csY66" fmla="*/ 1792915 h 2076207"/>
              <a:gd name="csX67" fmla="*/ 708904 w 765535"/>
              <a:gd name="csY67" fmla="*/ 1890290 h 2076207"/>
              <a:gd name="csX68" fmla="*/ 716580 w 765535"/>
              <a:gd name="csY68" fmla="*/ 1951136 h 2076207"/>
              <a:gd name="csX69" fmla="*/ 729397 w 765535"/>
              <a:gd name="csY69" fmla="*/ 2030261 h 2076207"/>
              <a:gd name="csX70" fmla="*/ 714212 w 765535"/>
              <a:gd name="csY70" fmla="*/ 2049544 h 2076207"/>
              <a:gd name="csX71" fmla="*/ 96263 w 765535"/>
              <a:gd name="csY71" fmla="*/ 2076207 h 2076207"/>
              <a:gd name="csX72" fmla="*/ 489970 w 765535"/>
              <a:gd name="csY72" fmla="*/ 152208 h 2076207"/>
              <a:gd name="csX73" fmla="*/ 490754 w 765535"/>
              <a:gd name="csY73" fmla="*/ 152592 h 2076207"/>
              <a:gd name="csX74" fmla="*/ 489489 w 765535"/>
              <a:gd name="csY74" fmla="*/ 149547 h 2076207"/>
              <a:gd name="csX75" fmla="*/ 393621 w 765535"/>
              <a:gd name="csY75" fmla="*/ 99259 h 2076207"/>
              <a:gd name="csX76" fmla="*/ 390419 w 765535"/>
              <a:gd name="csY76" fmla="*/ 18568 h 2076207"/>
              <a:gd name="csX77" fmla="*/ 334131 w 765535"/>
              <a:gd name="csY77" fmla="*/ 24327 h 2076207"/>
              <a:gd name="csX78" fmla="*/ 344678 w 765535"/>
              <a:gd name="csY78" fmla="*/ 101259 h 2076207"/>
              <a:gd name="csX79" fmla="*/ 298854 w 765535"/>
              <a:gd name="csY79" fmla="*/ 114003 h 2076207"/>
              <a:gd name="csX80" fmla="*/ 237456 w 765535"/>
              <a:gd name="csY80" fmla="*/ 154340 h 2076207"/>
              <a:gd name="csX81" fmla="*/ 240382 w 765535"/>
              <a:gd name="csY81" fmla="*/ 154035 h 2076207"/>
              <a:gd name="csX82" fmla="*/ 262731 w 765535"/>
              <a:gd name="csY82" fmla="*/ 170426 h 2076207"/>
              <a:gd name="csX83" fmla="*/ 279169 w 765535"/>
              <a:gd name="csY83" fmla="*/ 193173 h 2076207"/>
              <a:gd name="csX84" fmla="*/ 327717 w 765535"/>
              <a:gd name="csY84" fmla="*/ 188556 h 2076207"/>
              <a:gd name="csX85" fmla="*/ 348052 w 765535"/>
              <a:gd name="csY85" fmla="*/ 156919 h 2076207"/>
              <a:gd name="csX86" fmla="*/ 380330 w 765535"/>
              <a:gd name="csY86" fmla="*/ 156483 h 2076207"/>
              <a:gd name="csX87" fmla="*/ 408490 w 765535"/>
              <a:gd name="csY87" fmla="*/ 195400 h 2076207"/>
              <a:gd name="csX88" fmla="*/ 445346 w 765535"/>
              <a:gd name="csY88" fmla="*/ 197582 h 2076207"/>
              <a:gd name="csX89" fmla="*/ 464798 w 765535"/>
              <a:gd name="csY89" fmla="*/ 174107 h 2076207"/>
              <a:gd name="csX90" fmla="*/ 489970 w 765535"/>
              <a:gd name="csY90" fmla="*/ 152208 h 2076207"/>
              <a:gd name="csX91" fmla="*/ 140694 w 765535"/>
              <a:gd name="csY91" fmla="*/ 201837 h 2076207"/>
              <a:gd name="csX92" fmla="*/ 139834 w 765535"/>
              <a:gd name="csY92" fmla="*/ 201482 h 2076207"/>
              <a:gd name="csX93" fmla="*/ 140812 w 765535"/>
              <a:gd name="csY93" fmla="*/ 204941 h 2076207"/>
              <a:gd name="csX94" fmla="*/ 144631 w 765535"/>
              <a:gd name="csY94" fmla="*/ 217811 h 2076207"/>
              <a:gd name="csX95" fmla="*/ 201241 w 765535"/>
              <a:gd name="csY95" fmla="*/ 373387 h 2076207"/>
              <a:gd name="csX96" fmla="*/ 235971 w 765535"/>
              <a:gd name="csY96" fmla="*/ 504451 h 2076207"/>
              <a:gd name="csX97" fmla="*/ 247475 w 765535"/>
              <a:gd name="csY97" fmla="*/ 513241 h 2076207"/>
              <a:gd name="csX98" fmla="*/ 289066 w 765535"/>
              <a:gd name="csY98" fmla="*/ 511170 h 2076207"/>
              <a:gd name="csX99" fmla="*/ 378229 w 765535"/>
              <a:gd name="csY99" fmla="*/ 511084 h 2076207"/>
              <a:gd name="csX100" fmla="*/ 470850 w 765535"/>
              <a:gd name="csY100" fmla="*/ 516341 h 2076207"/>
              <a:gd name="csX101" fmla="*/ 492933 w 765535"/>
              <a:gd name="csY101" fmla="*/ 497969 h 2076207"/>
              <a:gd name="csX102" fmla="*/ 557617 w 765535"/>
              <a:gd name="csY102" fmla="*/ 280398 h 2076207"/>
              <a:gd name="csX103" fmla="*/ 588788 w 765535"/>
              <a:gd name="csY103" fmla="*/ 200385 h 2076207"/>
              <a:gd name="csX104" fmla="*/ 530958 w 765535"/>
              <a:gd name="csY104" fmla="*/ 232968 h 2076207"/>
              <a:gd name="csX105" fmla="*/ 483823 w 765535"/>
              <a:gd name="csY105" fmla="*/ 190364 h 2076207"/>
              <a:gd name="csX106" fmla="*/ 466649 w 765535"/>
              <a:gd name="csY106" fmla="*/ 209061 h 2076207"/>
              <a:gd name="csX107" fmla="*/ 399941 w 765535"/>
              <a:gd name="csY107" fmla="*/ 216988 h 2076207"/>
              <a:gd name="csX108" fmla="*/ 363018 w 765535"/>
              <a:gd name="csY108" fmla="*/ 179615 h 2076207"/>
              <a:gd name="csX109" fmla="*/ 308839 w 765535"/>
              <a:gd name="csY109" fmla="*/ 227846 h 2076207"/>
              <a:gd name="csX110" fmla="*/ 245077 w 765535"/>
              <a:gd name="csY110" fmla="*/ 192402 h 2076207"/>
              <a:gd name="csX111" fmla="*/ 242829 w 765535"/>
              <a:gd name="csY111" fmla="*/ 198815 h 2076207"/>
              <a:gd name="csX112" fmla="*/ 168452 w 765535"/>
              <a:gd name="csY112" fmla="*/ 219348 h 2076207"/>
              <a:gd name="csX113" fmla="*/ 140694 w 765535"/>
              <a:gd name="csY113" fmla="*/ 201837 h 2076207"/>
              <a:gd name="csX114" fmla="*/ 259999 w 765535"/>
              <a:gd name="csY114" fmla="*/ 966699 h 2076207"/>
              <a:gd name="csX115" fmla="*/ 257072 w 765535"/>
              <a:gd name="csY115" fmla="*/ 1070424 h 2076207"/>
              <a:gd name="csX116" fmla="*/ 251372 w 765535"/>
              <a:gd name="csY116" fmla="*/ 1157618 h 2076207"/>
              <a:gd name="csX117" fmla="*/ 232677 w 765535"/>
              <a:gd name="csY117" fmla="*/ 1320279 h 2076207"/>
              <a:gd name="csX118" fmla="*/ 209182 w 765535"/>
              <a:gd name="csY118" fmla="*/ 1468667 h 2076207"/>
              <a:gd name="csX119" fmla="*/ 175302 w 765535"/>
              <a:gd name="csY119" fmla="*/ 1616623 h 2076207"/>
              <a:gd name="csX120" fmla="*/ 182769 w 765535"/>
              <a:gd name="csY120" fmla="*/ 1629786 h 2076207"/>
              <a:gd name="csX121" fmla="*/ 212156 w 765535"/>
              <a:gd name="csY121" fmla="*/ 1632656 h 2076207"/>
              <a:gd name="csX122" fmla="*/ 351295 w 765535"/>
              <a:gd name="csY122" fmla="*/ 1632801 h 2076207"/>
              <a:gd name="csX123" fmla="*/ 376150 w 765535"/>
              <a:gd name="csY123" fmla="*/ 1608307 h 2076207"/>
              <a:gd name="csX124" fmla="*/ 373450 w 765535"/>
              <a:gd name="csY124" fmla="*/ 1457291 h 2076207"/>
              <a:gd name="csX125" fmla="*/ 370936 w 765535"/>
              <a:gd name="csY125" fmla="*/ 1342736 h 2076207"/>
              <a:gd name="csX126" fmla="*/ 368328 w 765535"/>
              <a:gd name="csY126" fmla="*/ 1203878 h 2076207"/>
              <a:gd name="csX127" fmla="*/ 367836 w 765535"/>
              <a:gd name="csY127" fmla="*/ 813478 h 2076207"/>
              <a:gd name="csX128" fmla="*/ 365240 w 765535"/>
              <a:gd name="csY128" fmla="*/ 773243 h 2076207"/>
              <a:gd name="csX129" fmla="*/ 353084 w 765535"/>
              <a:gd name="csY129" fmla="*/ 762083 h 2076207"/>
              <a:gd name="csX130" fmla="*/ 280966 w 765535"/>
              <a:gd name="csY130" fmla="*/ 759855 h 2076207"/>
              <a:gd name="csX131" fmla="*/ 259965 w 765535"/>
              <a:gd name="csY131" fmla="*/ 779553 h 2076207"/>
              <a:gd name="csX132" fmla="*/ 262341 w 765535"/>
              <a:gd name="csY132" fmla="*/ 856275 h 2076207"/>
              <a:gd name="csX133" fmla="*/ 259999 w 765535"/>
              <a:gd name="csY133" fmla="*/ 966699 h 2076207"/>
              <a:gd name="csX134" fmla="*/ 55556 w 765535"/>
              <a:gd name="csY134" fmla="*/ 1835827 h 2076207"/>
              <a:gd name="csX135" fmla="*/ 49393 w 765535"/>
              <a:gd name="csY135" fmla="*/ 1878155 h 2076207"/>
              <a:gd name="csX136" fmla="*/ 73949 w 765535"/>
              <a:gd name="csY136" fmla="*/ 1905781 h 2076207"/>
              <a:gd name="csX137" fmla="*/ 110073 w 765535"/>
              <a:gd name="csY137" fmla="*/ 1909068 h 2076207"/>
              <a:gd name="csX138" fmla="*/ 224745 w 765535"/>
              <a:gd name="csY138" fmla="*/ 1921652 h 2076207"/>
              <a:gd name="csX139" fmla="*/ 347327 w 765535"/>
              <a:gd name="csY139" fmla="*/ 1924778 h 2076207"/>
              <a:gd name="csX140" fmla="*/ 363345 w 765535"/>
              <a:gd name="csY140" fmla="*/ 1923293 h 2076207"/>
              <a:gd name="csX141" fmla="*/ 373787 w 765535"/>
              <a:gd name="csY141" fmla="*/ 1911200 h 2076207"/>
              <a:gd name="csX142" fmla="*/ 376623 w 765535"/>
              <a:gd name="csY142" fmla="*/ 1696741 h 2076207"/>
              <a:gd name="csX143" fmla="*/ 360437 w 765535"/>
              <a:gd name="csY143" fmla="*/ 1681289 h 2076207"/>
              <a:gd name="csX144" fmla="*/ 263503 w 765535"/>
              <a:gd name="csY144" fmla="*/ 1678179 h 2076207"/>
              <a:gd name="csX145" fmla="*/ 160381 w 765535"/>
              <a:gd name="csY145" fmla="*/ 1670405 h 2076207"/>
              <a:gd name="csX146" fmla="*/ 143321 w 765535"/>
              <a:gd name="csY146" fmla="*/ 1685538 h 2076207"/>
              <a:gd name="csX147" fmla="*/ 124769 w 765535"/>
              <a:gd name="csY147" fmla="*/ 1738195 h 2076207"/>
              <a:gd name="csX148" fmla="*/ 90593 w 765535"/>
              <a:gd name="csY148" fmla="*/ 1779570 h 2076207"/>
              <a:gd name="csX149" fmla="*/ 55556 w 765535"/>
              <a:gd name="csY149" fmla="*/ 1835827 h 2076207"/>
              <a:gd name="csX150" fmla="*/ 378900 w 765535"/>
              <a:gd name="csY150" fmla="*/ 2007280 h 2076207"/>
              <a:gd name="csX151" fmla="*/ 378887 w 765535"/>
              <a:gd name="csY151" fmla="*/ 1995127 h 2076207"/>
              <a:gd name="csX152" fmla="*/ 359084 w 765535"/>
              <a:gd name="csY152" fmla="*/ 1975964 h 2076207"/>
              <a:gd name="csX153" fmla="*/ 247288 w 765535"/>
              <a:gd name="csY153" fmla="*/ 1973305 h 2076207"/>
              <a:gd name="csX154" fmla="*/ 201692 w 765535"/>
              <a:gd name="csY154" fmla="*/ 1970275 h 2076207"/>
              <a:gd name="csX155" fmla="*/ 57962 w 765535"/>
              <a:gd name="csY155" fmla="*/ 1952648 h 2076207"/>
              <a:gd name="csX156" fmla="*/ 39194 w 765535"/>
              <a:gd name="csY156" fmla="*/ 1963552 h 2076207"/>
              <a:gd name="csX157" fmla="*/ 30066 w 765535"/>
              <a:gd name="csY157" fmla="*/ 2006631 h 2076207"/>
              <a:gd name="csX158" fmla="*/ 40232 w 765535"/>
              <a:gd name="csY158" fmla="*/ 2019486 h 2076207"/>
              <a:gd name="csX159" fmla="*/ 238186 w 765535"/>
              <a:gd name="csY159" fmla="*/ 2046096 h 2076207"/>
              <a:gd name="csX160" fmla="*/ 342155 w 765535"/>
              <a:gd name="csY160" fmla="*/ 2046441 h 2076207"/>
              <a:gd name="csX161" fmla="*/ 378900 w 765535"/>
              <a:gd name="csY161" fmla="*/ 2007280 h 2076207"/>
              <a:gd name="csX162" fmla="*/ 310220 w 765535"/>
              <a:gd name="csY162" fmla="*/ 554288 h 2076207"/>
              <a:gd name="csX163" fmla="*/ 259136 w 765535"/>
              <a:gd name="csY163" fmla="*/ 556881 h 2076207"/>
              <a:gd name="csX164" fmla="*/ 249085 w 765535"/>
              <a:gd name="csY164" fmla="*/ 567981 h 2076207"/>
              <a:gd name="csX165" fmla="*/ 249141 w 765535"/>
              <a:gd name="csY165" fmla="*/ 605644 h 2076207"/>
              <a:gd name="csX166" fmla="*/ 262628 w 765535"/>
              <a:gd name="csY166" fmla="*/ 605627 h 2076207"/>
              <a:gd name="csX167" fmla="*/ 369608 w 765535"/>
              <a:gd name="csY167" fmla="*/ 603027 h 2076207"/>
              <a:gd name="csX168" fmla="*/ 463931 w 765535"/>
              <a:gd name="csY168" fmla="*/ 605146 h 2076207"/>
              <a:gd name="csX169" fmla="*/ 478113 w 765535"/>
              <a:gd name="csY169" fmla="*/ 595843 h 2076207"/>
              <a:gd name="csX170" fmla="*/ 478796 w 765535"/>
              <a:gd name="csY170" fmla="*/ 556832 h 2076207"/>
              <a:gd name="csX171" fmla="*/ 310220 w 765535"/>
              <a:gd name="csY171" fmla="*/ 554288 h 2076207"/>
              <a:gd name="csX172" fmla="*/ 348836 w 765535"/>
              <a:gd name="csY172" fmla="*/ 684115 h 2076207"/>
              <a:gd name="csX173" fmla="*/ 281333 w 765535"/>
              <a:gd name="csY173" fmla="*/ 683313 h 2076207"/>
              <a:gd name="csX174" fmla="*/ 212728 w 765535"/>
              <a:gd name="csY174" fmla="*/ 681931 h 2076207"/>
              <a:gd name="csX175" fmla="*/ 187283 w 765535"/>
              <a:gd name="csY175" fmla="*/ 689555 h 2076207"/>
              <a:gd name="csX176" fmla="*/ 186163 w 765535"/>
              <a:gd name="csY176" fmla="*/ 718266 h 2076207"/>
              <a:gd name="csX177" fmla="*/ 209894 w 765535"/>
              <a:gd name="csY177" fmla="*/ 726798 h 2076207"/>
              <a:gd name="csX178" fmla="*/ 334814 w 765535"/>
              <a:gd name="csY178" fmla="*/ 732494 h 2076207"/>
              <a:gd name="csX179" fmla="*/ 364856 w 765535"/>
              <a:gd name="csY179" fmla="*/ 707963 h 2076207"/>
              <a:gd name="csX180" fmla="*/ 348836 w 765535"/>
              <a:gd name="csY180" fmla="*/ 684115 h 2076207"/>
              <a:gd name="csX181" fmla="*/ 298865 w 765535"/>
              <a:gd name="csY181" fmla="*/ 621954 h 2076207"/>
              <a:gd name="csX182" fmla="*/ 251619 w 765535"/>
              <a:gd name="csY182" fmla="*/ 622133 h 2076207"/>
              <a:gd name="csX183" fmla="*/ 214459 w 765535"/>
              <a:gd name="csY183" fmla="*/ 636230 h 2076207"/>
              <a:gd name="csX184" fmla="*/ 221436 w 765535"/>
              <a:gd name="csY184" fmla="*/ 654205 h 2076207"/>
              <a:gd name="csX185" fmla="*/ 272412 w 765535"/>
              <a:gd name="csY185" fmla="*/ 657250 h 2076207"/>
              <a:gd name="csX186" fmla="*/ 349094 w 765535"/>
              <a:gd name="csY186" fmla="*/ 659282 h 2076207"/>
              <a:gd name="csX187" fmla="*/ 362996 w 765535"/>
              <a:gd name="csY187" fmla="*/ 644234 h 2076207"/>
              <a:gd name="csX188" fmla="*/ 348472 w 765535"/>
              <a:gd name="csY188" fmla="*/ 624649 h 2076207"/>
              <a:gd name="csX189" fmla="*/ 298865 w 765535"/>
              <a:gd name="csY189" fmla="*/ 621954 h 2076207"/>
              <a:gd name="csX190" fmla="*/ 227796 w 765535"/>
              <a:gd name="csY190" fmla="*/ 528000 h 2076207"/>
              <a:gd name="csX191" fmla="*/ 241009 w 765535"/>
              <a:gd name="csY191" fmla="*/ 545897 h 2076207"/>
              <a:gd name="csX192" fmla="*/ 282607 w 765535"/>
              <a:gd name="csY192" fmla="*/ 543480 h 2076207"/>
              <a:gd name="csX193" fmla="*/ 354213 w 765535"/>
              <a:gd name="csY193" fmla="*/ 543384 h 2076207"/>
              <a:gd name="csX194" fmla="*/ 365334 w 765535"/>
              <a:gd name="csY194" fmla="*/ 533397 h 2076207"/>
              <a:gd name="csX195" fmla="*/ 354531 w 765535"/>
              <a:gd name="csY195" fmla="*/ 521620 h 2076207"/>
              <a:gd name="csX196" fmla="*/ 259169 w 765535"/>
              <a:gd name="csY196" fmla="*/ 521978 h 2076207"/>
              <a:gd name="csX197" fmla="*/ 227796 w 765535"/>
              <a:gd name="csY197" fmla="*/ 528000 h 2076207"/>
              <a:gd name="csX198" fmla="*/ 508068 w 765535"/>
              <a:gd name="csY198" fmla="*/ 190710 h 2076207"/>
              <a:gd name="csX199" fmla="*/ 521293 w 765535"/>
              <a:gd name="csY199" fmla="*/ 205907 h 2076207"/>
              <a:gd name="csX200" fmla="*/ 525175 w 765535"/>
              <a:gd name="csY200" fmla="*/ 202985 h 2076207"/>
              <a:gd name="csX201" fmla="*/ 500276 w 765535"/>
              <a:gd name="csY201" fmla="*/ 160640 h 2076207"/>
              <a:gd name="csX202" fmla="*/ 497122 w 765535"/>
              <a:gd name="csY202" fmla="*/ 162007 h 2076207"/>
              <a:gd name="csX203" fmla="*/ 508068 w 765535"/>
              <a:gd name="csY203" fmla="*/ 190710 h 2076207"/>
              <a:gd name="csX204" fmla="*/ 215522 w 765535"/>
              <a:gd name="csY204" fmla="*/ 197296 h 2076207"/>
              <a:gd name="csX205" fmla="*/ 234029 w 765535"/>
              <a:gd name="csY205" fmla="*/ 162725 h 2076207"/>
              <a:gd name="csX206" fmla="*/ 229000 w 765535"/>
              <a:gd name="csY206" fmla="*/ 159902 h 2076207"/>
              <a:gd name="csX207" fmla="*/ 204824 w 765535"/>
              <a:gd name="csY207" fmla="*/ 199677 h 2076207"/>
              <a:gd name="csX208" fmla="*/ 207990 w 765535"/>
              <a:gd name="csY208" fmla="*/ 202198 h 2076207"/>
              <a:gd name="csX209" fmla="*/ 215522 w 765535"/>
              <a:gd name="csY209" fmla="*/ 197296 h 2076207"/>
              <a:gd name="csX210" fmla="*/ 484400 w 765535"/>
              <a:gd name="csY210" fmla="*/ 896678 h 2076207"/>
              <a:gd name="csX211" fmla="*/ 486181 w 765535"/>
              <a:gd name="csY211" fmla="*/ 896585 h 2076207"/>
              <a:gd name="csX212" fmla="*/ 486181 w 765535"/>
              <a:gd name="csY212" fmla="*/ 795289 h 2076207"/>
              <a:gd name="csX213" fmla="*/ 720241 w 765535"/>
              <a:gd name="csY213" fmla="*/ 2030666 h 2076207"/>
              <a:gd name="csX214" fmla="*/ 721175 w 765535"/>
              <a:gd name="csY214" fmla="*/ 2029733 h 2076207"/>
              <a:gd name="csX215" fmla="*/ 720241 w 765535"/>
              <a:gd name="csY215" fmla="*/ 2030666 h 2076207"/>
              <a:gd name="csX216" fmla="*/ 715702 w 765535"/>
              <a:gd name="csY216" fmla="*/ 2037051 h 2076207"/>
              <a:gd name="csX217" fmla="*/ 715702 w 765535"/>
              <a:gd name="csY217" fmla="*/ 2037051 h 2076207"/>
              <a:gd name="csX0" fmla="*/ 96263 w 733006"/>
              <a:gd name="csY0" fmla="*/ 2076207 h 2076207"/>
              <a:gd name="csX1" fmla="*/ 63862 w 733006"/>
              <a:gd name="csY1" fmla="*/ 2065388 h 2076207"/>
              <a:gd name="csX2" fmla="*/ 16555 w 733006"/>
              <a:gd name="csY2" fmla="*/ 2050152 h 2076207"/>
              <a:gd name="csX3" fmla="*/ 15 w 733006"/>
              <a:gd name="csY3" fmla="*/ 2023802 h 2076207"/>
              <a:gd name="csX4" fmla="*/ 18368 w 733006"/>
              <a:gd name="csY4" fmla="*/ 1940709 h 2076207"/>
              <a:gd name="csX5" fmla="*/ 22139 w 733006"/>
              <a:gd name="csY5" fmla="*/ 1907268 h 2076207"/>
              <a:gd name="csX6" fmla="*/ 57941 w 733006"/>
              <a:gd name="csY6" fmla="*/ 1774163 h 2076207"/>
              <a:gd name="csX7" fmla="*/ 102478 w 733006"/>
              <a:gd name="csY7" fmla="*/ 1720275 h 2076207"/>
              <a:gd name="csX8" fmla="*/ 108579 w 733006"/>
              <a:gd name="csY8" fmla="*/ 1650967 h 2076207"/>
              <a:gd name="csX9" fmla="*/ 115628 w 733006"/>
              <a:gd name="csY9" fmla="*/ 1625405 h 2076207"/>
              <a:gd name="csX10" fmla="*/ 156323 w 733006"/>
              <a:gd name="csY10" fmla="*/ 1560181 h 2076207"/>
              <a:gd name="csX11" fmla="*/ 199424 w 733006"/>
              <a:gd name="csY11" fmla="*/ 1364729 h 2076207"/>
              <a:gd name="csX12" fmla="*/ 216779 w 733006"/>
              <a:gd name="csY12" fmla="*/ 1219490 h 2076207"/>
              <a:gd name="csX13" fmla="*/ 229755 w 733006"/>
              <a:gd name="csY13" fmla="*/ 1099357 h 2076207"/>
              <a:gd name="csX14" fmla="*/ 232707 w 733006"/>
              <a:gd name="csY14" fmla="*/ 1056423 h 2076207"/>
              <a:gd name="csX15" fmla="*/ 235622 w 733006"/>
              <a:gd name="csY15" fmla="*/ 952675 h 2076207"/>
              <a:gd name="csX16" fmla="*/ 235445 w 733006"/>
              <a:gd name="csY16" fmla="*/ 780278 h 2076207"/>
              <a:gd name="csX17" fmla="*/ 214544 w 733006"/>
              <a:gd name="csY17" fmla="*/ 756435 h 2076207"/>
              <a:gd name="csX18" fmla="*/ 172569 w 733006"/>
              <a:gd name="csY18" fmla="*/ 742582 h 2076207"/>
              <a:gd name="csX19" fmla="*/ 168784 w 733006"/>
              <a:gd name="csY19" fmla="*/ 669116 h 2076207"/>
              <a:gd name="csX20" fmla="*/ 191657 w 733006"/>
              <a:gd name="csY20" fmla="*/ 630765 h 2076207"/>
              <a:gd name="csX21" fmla="*/ 208150 w 733006"/>
              <a:gd name="csY21" fmla="*/ 609084 h 2076207"/>
              <a:gd name="csX22" fmla="*/ 216756 w 733006"/>
              <a:gd name="csY22" fmla="*/ 558673 h 2076207"/>
              <a:gd name="csX23" fmla="*/ 209092 w 733006"/>
              <a:gd name="csY23" fmla="*/ 521540 h 2076207"/>
              <a:gd name="csX24" fmla="*/ 204683 w 733006"/>
              <a:gd name="csY24" fmla="*/ 474024 h 2076207"/>
              <a:gd name="csX25" fmla="*/ 115483 w 733006"/>
              <a:gd name="csY25" fmla="*/ 213499 h 2076207"/>
              <a:gd name="csX26" fmla="*/ 102909 w 733006"/>
              <a:gd name="csY26" fmla="*/ 182297 h 2076207"/>
              <a:gd name="csX27" fmla="*/ 104315 w 733006"/>
              <a:gd name="csY27" fmla="*/ 163968 h 2076207"/>
              <a:gd name="csX28" fmla="*/ 122444 w 733006"/>
              <a:gd name="csY28" fmla="*/ 160805 h 2076207"/>
              <a:gd name="csX29" fmla="*/ 170283 w 733006"/>
              <a:gd name="csY29" fmla="*/ 187783 h 2076207"/>
              <a:gd name="csX30" fmla="*/ 180938 w 733006"/>
              <a:gd name="csY30" fmla="*/ 195322 h 2076207"/>
              <a:gd name="csX31" fmla="*/ 221419 w 733006"/>
              <a:gd name="csY31" fmla="*/ 138058 h 2076207"/>
              <a:gd name="csX32" fmla="*/ 294099 w 733006"/>
              <a:gd name="csY32" fmla="*/ 91372 h 2076207"/>
              <a:gd name="csX33" fmla="*/ 302307 w 733006"/>
              <a:gd name="csY33" fmla="*/ 76560 h 2076207"/>
              <a:gd name="csX34" fmla="*/ 320284 w 733006"/>
              <a:gd name="csY34" fmla="*/ 8414 h 2076207"/>
              <a:gd name="csX35" fmla="*/ 324784 w 733006"/>
              <a:gd name="csY35" fmla="*/ 946 h 2076207"/>
              <a:gd name="csX36" fmla="*/ 399212 w 733006"/>
              <a:gd name="csY36" fmla="*/ 0 h 2076207"/>
              <a:gd name="csX37" fmla="*/ 425980 w 733006"/>
              <a:gd name="csY37" fmla="*/ 78301 h 2076207"/>
              <a:gd name="csX38" fmla="*/ 431861 w 733006"/>
              <a:gd name="csY38" fmla="*/ 90312 h 2076207"/>
              <a:gd name="csX39" fmla="*/ 540349 w 733006"/>
              <a:gd name="csY39" fmla="*/ 187946 h 2076207"/>
              <a:gd name="csX40" fmla="*/ 545555 w 733006"/>
              <a:gd name="csY40" fmla="*/ 197828 h 2076207"/>
              <a:gd name="csX41" fmla="*/ 587318 w 733006"/>
              <a:gd name="csY41" fmla="*/ 171260 h 2076207"/>
              <a:gd name="csX42" fmla="*/ 601503 w 733006"/>
              <a:gd name="csY42" fmla="*/ 163707 h 2076207"/>
              <a:gd name="csX43" fmla="*/ 625254 w 733006"/>
              <a:gd name="csY43" fmla="*/ 163123 h 2076207"/>
              <a:gd name="csX44" fmla="*/ 625468 w 733006"/>
              <a:gd name="csY44" fmla="*/ 187579 h 2076207"/>
              <a:gd name="csX45" fmla="*/ 597543 w 733006"/>
              <a:gd name="csY45" fmla="*/ 251872 h 2076207"/>
              <a:gd name="csX46" fmla="*/ 531831 w 733006"/>
              <a:gd name="csY46" fmla="*/ 442689 h 2076207"/>
              <a:gd name="csX47" fmla="*/ 519888 w 733006"/>
              <a:gd name="csY47" fmla="*/ 501474 h 2076207"/>
              <a:gd name="csX48" fmla="*/ 522506 w 733006"/>
              <a:gd name="csY48" fmla="*/ 525086 h 2076207"/>
              <a:gd name="csX49" fmla="*/ 516235 w 733006"/>
              <a:gd name="csY49" fmla="*/ 555946 h 2076207"/>
              <a:gd name="csX50" fmla="*/ 521332 w 733006"/>
              <a:gd name="csY50" fmla="*/ 610676 h 2076207"/>
              <a:gd name="csX51" fmla="*/ 541382 w 733006"/>
              <a:gd name="csY51" fmla="*/ 642597 h 2076207"/>
              <a:gd name="csX52" fmla="*/ 557031 w 733006"/>
              <a:gd name="csY52" fmla="*/ 667949 h 2076207"/>
              <a:gd name="csX53" fmla="*/ 553994 w 733006"/>
              <a:gd name="csY53" fmla="*/ 744146 h 2076207"/>
              <a:gd name="csX54" fmla="*/ 508215 w 733006"/>
              <a:gd name="csY54" fmla="*/ 758841 h 2076207"/>
              <a:gd name="csX55" fmla="*/ 497442 w 733006"/>
              <a:gd name="csY55" fmla="*/ 771256 h 2076207"/>
              <a:gd name="csX56" fmla="*/ 493005 w 733006"/>
              <a:gd name="csY56" fmla="*/ 922055 h 2076207"/>
              <a:gd name="csX57" fmla="*/ 502900 w 733006"/>
              <a:gd name="csY57" fmla="*/ 1114191 h 2076207"/>
              <a:gd name="csX58" fmla="*/ 508800 w 733006"/>
              <a:gd name="csY58" fmla="*/ 1205474 h 2076207"/>
              <a:gd name="csX59" fmla="*/ 522952 w 733006"/>
              <a:gd name="csY59" fmla="*/ 1320065 h 2076207"/>
              <a:gd name="csX60" fmla="*/ 554682 w 733006"/>
              <a:gd name="csY60" fmla="*/ 1501203 h 2076207"/>
              <a:gd name="csX61" fmla="*/ 576958 w 733006"/>
              <a:gd name="csY61" fmla="*/ 1593963 h 2076207"/>
              <a:gd name="csX62" fmla="*/ 595349 w 733006"/>
              <a:gd name="csY62" fmla="*/ 1613498 h 2076207"/>
              <a:gd name="csX63" fmla="*/ 613936 w 733006"/>
              <a:gd name="csY63" fmla="*/ 1624058 h 2076207"/>
              <a:gd name="csX64" fmla="*/ 620938 w 733006"/>
              <a:gd name="csY64" fmla="*/ 1652071 h 2076207"/>
              <a:gd name="csX65" fmla="*/ 630805 w 733006"/>
              <a:gd name="csY65" fmla="*/ 1721702 h 2076207"/>
              <a:gd name="csX66" fmla="*/ 685830 w 733006"/>
              <a:gd name="csY66" fmla="*/ 1792915 h 2076207"/>
              <a:gd name="csX67" fmla="*/ 708904 w 733006"/>
              <a:gd name="csY67" fmla="*/ 1890290 h 2076207"/>
              <a:gd name="csX68" fmla="*/ 716580 w 733006"/>
              <a:gd name="csY68" fmla="*/ 1951136 h 2076207"/>
              <a:gd name="csX69" fmla="*/ 729397 w 733006"/>
              <a:gd name="csY69" fmla="*/ 2030261 h 2076207"/>
              <a:gd name="csX70" fmla="*/ 714212 w 733006"/>
              <a:gd name="csY70" fmla="*/ 2049544 h 2076207"/>
              <a:gd name="csX71" fmla="*/ 96263 w 733006"/>
              <a:gd name="csY71" fmla="*/ 2076207 h 2076207"/>
              <a:gd name="csX72" fmla="*/ 489970 w 733006"/>
              <a:gd name="csY72" fmla="*/ 152208 h 2076207"/>
              <a:gd name="csX73" fmla="*/ 490754 w 733006"/>
              <a:gd name="csY73" fmla="*/ 152592 h 2076207"/>
              <a:gd name="csX74" fmla="*/ 489489 w 733006"/>
              <a:gd name="csY74" fmla="*/ 149547 h 2076207"/>
              <a:gd name="csX75" fmla="*/ 393621 w 733006"/>
              <a:gd name="csY75" fmla="*/ 99259 h 2076207"/>
              <a:gd name="csX76" fmla="*/ 390419 w 733006"/>
              <a:gd name="csY76" fmla="*/ 18568 h 2076207"/>
              <a:gd name="csX77" fmla="*/ 334131 w 733006"/>
              <a:gd name="csY77" fmla="*/ 24327 h 2076207"/>
              <a:gd name="csX78" fmla="*/ 344678 w 733006"/>
              <a:gd name="csY78" fmla="*/ 101259 h 2076207"/>
              <a:gd name="csX79" fmla="*/ 298854 w 733006"/>
              <a:gd name="csY79" fmla="*/ 114003 h 2076207"/>
              <a:gd name="csX80" fmla="*/ 237456 w 733006"/>
              <a:gd name="csY80" fmla="*/ 154340 h 2076207"/>
              <a:gd name="csX81" fmla="*/ 240382 w 733006"/>
              <a:gd name="csY81" fmla="*/ 154035 h 2076207"/>
              <a:gd name="csX82" fmla="*/ 262731 w 733006"/>
              <a:gd name="csY82" fmla="*/ 170426 h 2076207"/>
              <a:gd name="csX83" fmla="*/ 279169 w 733006"/>
              <a:gd name="csY83" fmla="*/ 193173 h 2076207"/>
              <a:gd name="csX84" fmla="*/ 327717 w 733006"/>
              <a:gd name="csY84" fmla="*/ 188556 h 2076207"/>
              <a:gd name="csX85" fmla="*/ 348052 w 733006"/>
              <a:gd name="csY85" fmla="*/ 156919 h 2076207"/>
              <a:gd name="csX86" fmla="*/ 380330 w 733006"/>
              <a:gd name="csY86" fmla="*/ 156483 h 2076207"/>
              <a:gd name="csX87" fmla="*/ 408490 w 733006"/>
              <a:gd name="csY87" fmla="*/ 195400 h 2076207"/>
              <a:gd name="csX88" fmla="*/ 445346 w 733006"/>
              <a:gd name="csY88" fmla="*/ 197582 h 2076207"/>
              <a:gd name="csX89" fmla="*/ 464798 w 733006"/>
              <a:gd name="csY89" fmla="*/ 174107 h 2076207"/>
              <a:gd name="csX90" fmla="*/ 489970 w 733006"/>
              <a:gd name="csY90" fmla="*/ 152208 h 2076207"/>
              <a:gd name="csX91" fmla="*/ 140694 w 733006"/>
              <a:gd name="csY91" fmla="*/ 201837 h 2076207"/>
              <a:gd name="csX92" fmla="*/ 139834 w 733006"/>
              <a:gd name="csY92" fmla="*/ 201482 h 2076207"/>
              <a:gd name="csX93" fmla="*/ 140812 w 733006"/>
              <a:gd name="csY93" fmla="*/ 204941 h 2076207"/>
              <a:gd name="csX94" fmla="*/ 144631 w 733006"/>
              <a:gd name="csY94" fmla="*/ 217811 h 2076207"/>
              <a:gd name="csX95" fmla="*/ 201241 w 733006"/>
              <a:gd name="csY95" fmla="*/ 373387 h 2076207"/>
              <a:gd name="csX96" fmla="*/ 235971 w 733006"/>
              <a:gd name="csY96" fmla="*/ 504451 h 2076207"/>
              <a:gd name="csX97" fmla="*/ 247475 w 733006"/>
              <a:gd name="csY97" fmla="*/ 513241 h 2076207"/>
              <a:gd name="csX98" fmla="*/ 289066 w 733006"/>
              <a:gd name="csY98" fmla="*/ 511170 h 2076207"/>
              <a:gd name="csX99" fmla="*/ 378229 w 733006"/>
              <a:gd name="csY99" fmla="*/ 511084 h 2076207"/>
              <a:gd name="csX100" fmla="*/ 470850 w 733006"/>
              <a:gd name="csY100" fmla="*/ 516341 h 2076207"/>
              <a:gd name="csX101" fmla="*/ 492933 w 733006"/>
              <a:gd name="csY101" fmla="*/ 497969 h 2076207"/>
              <a:gd name="csX102" fmla="*/ 557617 w 733006"/>
              <a:gd name="csY102" fmla="*/ 280398 h 2076207"/>
              <a:gd name="csX103" fmla="*/ 588788 w 733006"/>
              <a:gd name="csY103" fmla="*/ 200385 h 2076207"/>
              <a:gd name="csX104" fmla="*/ 530958 w 733006"/>
              <a:gd name="csY104" fmla="*/ 232968 h 2076207"/>
              <a:gd name="csX105" fmla="*/ 483823 w 733006"/>
              <a:gd name="csY105" fmla="*/ 190364 h 2076207"/>
              <a:gd name="csX106" fmla="*/ 466649 w 733006"/>
              <a:gd name="csY106" fmla="*/ 209061 h 2076207"/>
              <a:gd name="csX107" fmla="*/ 399941 w 733006"/>
              <a:gd name="csY107" fmla="*/ 216988 h 2076207"/>
              <a:gd name="csX108" fmla="*/ 363018 w 733006"/>
              <a:gd name="csY108" fmla="*/ 179615 h 2076207"/>
              <a:gd name="csX109" fmla="*/ 308839 w 733006"/>
              <a:gd name="csY109" fmla="*/ 227846 h 2076207"/>
              <a:gd name="csX110" fmla="*/ 245077 w 733006"/>
              <a:gd name="csY110" fmla="*/ 192402 h 2076207"/>
              <a:gd name="csX111" fmla="*/ 242829 w 733006"/>
              <a:gd name="csY111" fmla="*/ 198815 h 2076207"/>
              <a:gd name="csX112" fmla="*/ 168452 w 733006"/>
              <a:gd name="csY112" fmla="*/ 219348 h 2076207"/>
              <a:gd name="csX113" fmla="*/ 140694 w 733006"/>
              <a:gd name="csY113" fmla="*/ 201837 h 2076207"/>
              <a:gd name="csX114" fmla="*/ 259999 w 733006"/>
              <a:gd name="csY114" fmla="*/ 966699 h 2076207"/>
              <a:gd name="csX115" fmla="*/ 257072 w 733006"/>
              <a:gd name="csY115" fmla="*/ 1070424 h 2076207"/>
              <a:gd name="csX116" fmla="*/ 251372 w 733006"/>
              <a:gd name="csY116" fmla="*/ 1157618 h 2076207"/>
              <a:gd name="csX117" fmla="*/ 232677 w 733006"/>
              <a:gd name="csY117" fmla="*/ 1320279 h 2076207"/>
              <a:gd name="csX118" fmla="*/ 209182 w 733006"/>
              <a:gd name="csY118" fmla="*/ 1468667 h 2076207"/>
              <a:gd name="csX119" fmla="*/ 175302 w 733006"/>
              <a:gd name="csY119" fmla="*/ 1616623 h 2076207"/>
              <a:gd name="csX120" fmla="*/ 182769 w 733006"/>
              <a:gd name="csY120" fmla="*/ 1629786 h 2076207"/>
              <a:gd name="csX121" fmla="*/ 212156 w 733006"/>
              <a:gd name="csY121" fmla="*/ 1632656 h 2076207"/>
              <a:gd name="csX122" fmla="*/ 351295 w 733006"/>
              <a:gd name="csY122" fmla="*/ 1632801 h 2076207"/>
              <a:gd name="csX123" fmla="*/ 376150 w 733006"/>
              <a:gd name="csY123" fmla="*/ 1608307 h 2076207"/>
              <a:gd name="csX124" fmla="*/ 373450 w 733006"/>
              <a:gd name="csY124" fmla="*/ 1457291 h 2076207"/>
              <a:gd name="csX125" fmla="*/ 370936 w 733006"/>
              <a:gd name="csY125" fmla="*/ 1342736 h 2076207"/>
              <a:gd name="csX126" fmla="*/ 368328 w 733006"/>
              <a:gd name="csY126" fmla="*/ 1203878 h 2076207"/>
              <a:gd name="csX127" fmla="*/ 367836 w 733006"/>
              <a:gd name="csY127" fmla="*/ 813478 h 2076207"/>
              <a:gd name="csX128" fmla="*/ 365240 w 733006"/>
              <a:gd name="csY128" fmla="*/ 773243 h 2076207"/>
              <a:gd name="csX129" fmla="*/ 353084 w 733006"/>
              <a:gd name="csY129" fmla="*/ 762083 h 2076207"/>
              <a:gd name="csX130" fmla="*/ 280966 w 733006"/>
              <a:gd name="csY130" fmla="*/ 759855 h 2076207"/>
              <a:gd name="csX131" fmla="*/ 259965 w 733006"/>
              <a:gd name="csY131" fmla="*/ 779553 h 2076207"/>
              <a:gd name="csX132" fmla="*/ 262341 w 733006"/>
              <a:gd name="csY132" fmla="*/ 856275 h 2076207"/>
              <a:gd name="csX133" fmla="*/ 259999 w 733006"/>
              <a:gd name="csY133" fmla="*/ 966699 h 2076207"/>
              <a:gd name="csX134" fmla="*/ 55556 w 733006"/>
              <a:gd name="csY134" fmla="*/ 1835827 h 2076207"/>
              <a:gd name="csX135" fmla="*/ 49393 w 733006"/>
              <a:gd name="csY135" fmla="*/ 1878155 h 2076207"/>
              <a:gd name="csX136" fmla="*/ 73949 w 733006"/>
              <a:gd name="csY136" fmla="*/ 1905781 h 2076207"/>
              <a:gd name="csX137" fmla="*/ 110073 w 733006"/>
              <a:gd name="csY137" fmla="*/ 1909068 h 2076207"/>
              <a:gd name="csX138" fmla="*/ 224745 w 733006"/>
              <a:gd name="csY138" fmla="*/ 1921652 h 2076207"/>
              <a:gd name="csX139" fmla="*/ 347327 w 733006"/>
              <a:gd name="csY139" fmla="*/ 1924778 h 2076207"/>
              <a:gd name="csX140" fmla="*/ 363345 w 733006"/>
              <a:gd name="csY140" fmla="*/ 1923293 h 2076207"/>
              <a:gd name="csX141" fmla="*/ 373787 w 733006"/>
              <a:gd name="csY141" fmla="*/ 1911200 h 2076207"/>
              <a:gd name="csX142" fmla="*/ 376623 w 733006"/>
              <a:gd name="csY142" fmla="*/ 1696741 h 2076207"/>
              <a:gd name="csX143" fmla="*/ 360437 w 733006"/>
              <a:gd name="csY143" fmla="*/ 1681289 h 2076207"/>
              <a:gd name="csX144" fmla="*/ 263503 w 733006"/>
              <a:gd name="csY144" fmla="*/ 1678179 h 2076207"/>
              <a:gd name="csX145" fmla="*/ 160381 w 733006"/>
              <a:gd name="csY145" fmla="*/ 1670405 h 2076207"/>
              <a:gd name="csX146" fmla="*/ 143321 w 733006"/>
              <a:gd name="csY146" fmla="*/ 1685538 h 2076207"/>
              <a:gd name="csX147" fmla="*/ 124769 w 733006"/>
              <a:gd name="csY147" fmla="*/ 1738195 h 2076207"/>
              <a:gd name="csX148" fmla="*/ 90593 w 733006"/>
              <a:gd name="csY148" fmla="*/ 1779570 h 2076207"/>
              <a:gd name="csX149" fmla="*/ 55556 w 733006"/>
              <a:gd name="csY149" fmla="*/ 1835827 h 2076207"/>
              <a:gd name="csX150" fmla="*/ 378900 w 733006"/>
              <a:gd name="csY150" fmla="*/ 2007280 h 2076207"/>
              <a:gd name="csX151" fmla="*/ 378887 w 733006"/>
              <a:gd name="csY151" fmla="*/ 1995127 h 2076207"/>
              <a:gd name="csX152" fmla="*/ 359084 w 733006"/>
              <a:gd name="csY152" fmla="*/ 1975964 h 2076207"/>
              <a:gd name="csX153" fmla="*/ 247288 w 733006"/>
              <a:gd name="csY153" fmla="*/ 1973305 h 2076207"/>
              <a:gd name="csX154" fmla="*/ 201692 w 733006"/>
              <a:gd name="csY154" fmla="*/ 1970275 h 2076207"/>
              <a:gd name="csX155" fmla="*/ 57962 w 733006"/>
              <a:gd name="csY155" fmla="*/ 1952648 h 2076207"/>
              <a:gd name="csX156" fmla="*/ 39194 w 733006"/>
              <a:gd name="csY156" fmla="*/ 1963552 h 2076207"/>
              <a:gd name="csX157" fmla="*/ 30066 w 733006"/>
              <a:gd name="csY157" fmla="*/ 2006631 h 2076207"/>
              <a:gd name="csX158" fmla="*/ 40232 w 733006"/>
              <a:gd name="csY158" fmla="*/ 2019486 h 2076207"/>
              <a:gd name="csX159" fmla="*/ 238186 w 733006"/>
              <a:gd name="csY159" fmla="*/ 2046096 h 2076207"/>
              <a:gd name="csX160" fmla="*/ 342155 w 733006"/>
              <a:gd name="csY160" fmla="*/ 2046441 h 2076207"/>
              <a:gd name="csX161" fmla="*/ 378900 w 733006"/>
              <a:gd name="csY161" fmla="*/ 2007280 h 2076207"/>
              <a:gd name="csX162" fmla="*/ 310220 w 733006"/>
              <a:gd name="csY162" fmla="*/ 554288 h 2076207"/>
              <a:gd name="csX163" fmla="*/ 259136 w 733006"/>
              <a:gd name="csY163" fmla="*/ 556881 h 2076207"/>
              <a:gd name="csX164" fmla="*/ 249085 w 733006"/>
              <a:gd name="csY164" fmla="*/ 567981 h 2076207"/>
              <a:gd name="csX165" fmla="*/ 249141 w 733006"/>
              <a:gd name="csY165" fmla="*/ 605644 h 2076207"/>
              <a:gd name="csX166" fmla="*/ 262628 w 733006"/>
              <a:gd name="csY166" fmla="*/ 605627 h 2076207"/>
              <a:gd name="csX167" fmla="*/ 369608 w 733006"/>
              <a:gd name="csY167" fmla="*/ 603027 h 2076207"/>
              <a:gd name="csX168" fmla="*/ 463931 w 733006"/>
              <a:gd name="csY168" fmla="*/ 605146 h 2076207"/>
              <a:gd name="csX169" fmla="*/ 478113 w 733006"/>
              <a:gd name="csY169" fmla="*/ 595843 h 2076207"/>
              <a:gd name="csX170" fmla="*/ 478796 w 733006"/>
              <a:gd name="csY170" fmla="*/ 556832 h 2076207"/>
              <a:gd name="csX171" fmla="*/ 310220 w 733006"/>
              <a:gd name="csY171" fmla="*/ 554288 h 2076207"/>
              <a:gd name="csX172" fmla="*/ 348836 w 733006"/>
              <a:gd name="csY172" fmla="*/ 684115 h 2076207"/>
              <a:gd name="csX173" fmla="*/ 281333 w 733006"/>
              <a:gd name="csY173" fmla="*/ 683313 h 2076207"/>
              <a:gd name="csX174" fmla="*/ 212728 w 733006"/>
              <a:gd name="csY174" fmla="*/ 681931 h 2076207"/>
              <a:gd name="csX175" fmla="*/ 187283 w 733006"/>
              <a:gd name="csY175" fmla="*/ 689555 h 2076207"/>
              <a:gd name="csX176" fmla="*/ 186163 w 733006"/>
              <a:gd name="csY176" fmla="*/ 718266 h 2076207"/>
              <a:gd name="csX177" fmla="*/ 209894 w 733006"/>
              <a:gd name="csY177" fmla="*/ 726798 h 2076207"/>
              <a:gd name="csX178" fmla="*/ 334814 w 733006"/>
              <a:gd name="csY178" fmla="*/ 732494 h 2076207"/>
              <a:gd name="csX179" fmla="*/ 364856 w 733006"/>
              <a:gd name="csY179" fmla="*/ 707963 h 2076207"/>
              <a:gd name="csX180" fmla="*/ 348836 w 733006"/>
              <a:gd name="csY180" fmla="*/ 684115 h 2076207"/>
              <a:gd name="csX181" fmla="*/ 298865 w 733006"/>
              <a:gd name="csY181" fmla="*/ 621954 h 2076207"/>
              <a:gd name="csX182" fmla="*/ 251619 w 733006"/>
              <a:gd name="csY182" fmla="*/ 622133 h 2076207"/>
              <a:gd name="csX183" fmla="*/ 214459 w 733006"/>
              <a:gd name="csY183" fmla="*/ 636230 h 2076207"/>
              <a:gd name="csX184" fmla="*/ 221436 w 733006"/>
              <a:gd name="csY184" fmla="*/ 654205 h 2076207"/>
              <a:gd name="csX185" fmla="*/ 272412 w 733006"/>
              <a:gd name="csY185" fmla="*/ 657250 h 2076207"/>
              <a:gd name="csX186" fmla="*/ 349094 w 733006"/>
              <a:gd name="csY186" fmla="*/ 659282 h 2076207"/>
              <a:gd name="csX187" fmla="*/ 362996 w 733006"/>
              <a:gd name="csY187" fmla="*/ 644234 h 2076207"/>
              <a:gd name="csX188" fmla="*/ 348472 w 733006"/>
              <a:gd name="csY188" fmla="*/ 624649 h 2076207"/>
              <a:gd name="csX189" fmla="*/ 298865 w 733006"/>
              <a:gd name="csY189" fmla="*/ 621954 h 2076207"/>
              <a:gd name="csX190" fmla="*/ 227796 w 733006"/>
              <a:gd name="csY190" fmla="*/ 528000 h 2076207"/>
              <a:gd name="csX191" fmla="*/ 241009 w 733006"/>
              <a:gd name="csY191" fmla="*/ 545897 h 2076207"/>
              <a:gd name="csX192" fmla="*/ 282607 w 733006"/>
              <a:gd name="csY192" fmla="*/ 543480 h 2076207"/>
              <a:gd name="csX193" fmla="*/ 354213 w 733006"/>
              <a:gd name="csY193" fmla="*/ 543384 h 2076207"/>
              <a:gd name="csX194" fmla="*/ 365334 w 733006"/>
              <a:gd name="csY194" fmla="*/ 533397 h 2076207"/>
              <a:gd name="csX195" fmla="*/ 354531 w 733006"/>
              <a:gd name="csY195" fmla="*/ 521620 h 2076207"/>
              <a:gd name="csX196" fmla="*/ 259169 w 733006"/>
              <a:gd name="csY196" fmla="*/ 521978 h 2076207"/>
              <a:gd name="csX197" fmla="*/ 227796 w 733006"/>
              <a:gd name="csY197" fmla="*/ 528000 h 2076207"/>
              <a:gd name="csX198" fmla="*/ 508068 w 733006"/>
              <a:gd name="csY198" fmla="*/ 190710 h 2076207"/>
              <a:gd name="csX199" fmla="*/ 521293 w 733006"/>
              <a:gd name="csY199" fmla="*/ 205907 h 2076207"/>
              <a:gd name="csX200" fmla="*/ 525175 w 733006"/>
              <a:gd name="csY200" fmla="*/ 202985 h 2076207"/>
              <a:gd name="csX201" fmla="*/ 500276 w 733006"/>
              <a:gd name="csY201" fmla="*/ 160640 h 2076207"/>
              <a:gd name="csX202" fmla="*/ 497122 w 733006"/>
              <a:gd name="csY202" fmla="*/ 162007 h 2076207"/>
              <a:gd name="csX203" fmla="*/ 508068 w 733006"/>
              <a:gd name="csY203" fmla="*/ 190710 h 2076207"/>
              <a:gd name="csX204" fmla="*/ 215522 w 733006"/>
              <a:gd name="csY204" fmla="*/ 197296 h 2076207"/>
              <a:gd name="csX205" fmla="*/ 234029 w 733006"/>
              <a:gd name="csY205" fmla="*/ 162725 h 2076207"/>
              <a:gd name="csX206" fmla="*/ 229000 w 733006"/>
              <a:gd name="csY206" fmla="*/ 159902 h 2076207"/>
              <a:gd name="csX207" fmla="*/ 204824 w 733006"/>
              <a:gd name="csY207" fmla="*/ 199677 h 2076207"/>
              <a:gd name="csX208" fmla="*/ 207990 w 733006"/>
              <a:gd name="csY208" fmla="*/ 202198 h 2076207"/>
              <a:gd name="csX209" fmla="*/ 215522 w 733006"/>
              <a:gd name="csY209" fmla="*/ 197296 h 2076207"/>
              <a:gd name="csX210" fmla="*/ 484400 w 733006"/>
              <a:gd name="csY210" fmla="*/ 896678 h 2076207"/>
              <a:gd name="csX211" fmla="*/ 486181 w 733006"/>
              <a:gd name="csY211" fmla="*/ 896585 h 2076207"/>
              <a:gd name="csX212" fmla="*/ 486181 w 733006"/>
              <a:gd name="csY212" fmla="*/ 795289 h 2076207"/>
              <a:gd name="csX213" fmla="*/ 720241 w 733006"/>
              <a:gd name="csY213" fmla="*/ 2030666 h 2076207"/>
              <a:gd name="csX214" fmla="*/ 721175 w 733006"/>
              <a:gd name="csY214" fmla="*/ 2029733 h 2076207"/>
              <a:gd name="csX215" fmla="*/ 720241 w 733006"/>
              <a:gd name="csY215" fmla="*/ 2030666 h 2076207"/>
              <a:gd name="csX216" fmla="*/ 715702 w 733006"/>
              <a:gd name="csY216" fmla="*/ 2037051 h 2076207"/>
              <a:gd name="csX217" fmla="*/ 715702 w 733006"/>
              <a:gd name="csY217" fmla="*/ 2037051 h 2076207"/>
              <a:gd name="csX0" fmla="*/ 96263 w 733006"/>
              <a:gd name="csY0" fmla="*/ 2076207 h 2084524"/>
              <a:gd name="csX1" fmla="*/ 63862 w 733006"/>
              <a:gd name="csY1" fmla="*/ 2065388 h 2084524"/>
              <a:gd name="csX2" fmla="*/ 16555 w 733006"/>
              <a:gd name="csY2" fmla="*/ 2050152 h 2084524"/>
              <a:gd name="csX3" fmla="*/ 15 w 733006"/>
              <a:gd name="csY3" fmla="*/ 2023802 h 2084524"/>
              <a:gd name="csX4" fmla="*/ 18368 w 733006"/>
              <a:gd name="csY4" fmla="*/ 1940709 h 2084524"/>
              <a:gd name="csX5" fmla="*/ 22139 w 733006"/>
              <a:gd name="csY5" fmla="*/ 1907268 h 2084524"/>
              <a:gd name="csX6" fmla="*/ 57941 w 733006"/>
              <a:gd name="csY6" fmla="*/ 1774163 h 2084524"/>
              <a:gd name="csX7" fmla="*/ 102478 w 733006"/>
              <a:gd name="csY7" fmla="*/ 1720275 h 2084524"/>
              <a:gd name="csX8" fmla="*/ 108579 w 733006"/>
              <a:gd name="csY8" fmla="*/ 1650967 h 2084524"/>
              <a:gd name="csX9" fmla="*/ 115628 w 733006"/>
              <a:gd name="csY9" fmla="*/ 1625405 h 2084524"/>
              <a:gd name="csX10" fmla="*/ 156323 w 733006"/>
              <a:gd name="csY10" fmla="*/ 1560181 h 2084524"/>
              <a:gd name="csX11" fmla="*/ 199424 w 733006"/>
              <a:gd name="csY11" fmla="*/ 1364729 h 2084524"/>
              <a:gd name="csX12" fmla="*/ 216779 w 733006"/>
              <a:gd name="csY12" fmla="*/ 1219490 h 2084524"/>
              <a:gd name="csX13" fmla="*/ 229755 w 733006"/>
              <a:gd name="csY13" fmla="*/ 1099357 h 2084524"/>
              <a:gd name="csX14" fmla="*/ 232707 w 733006"/>
              <a:gd name="csY14" fmla="*/ 1056423 h 2084524"/>
              <a:gd name="csX15" fmla="*/ 235622 w 733006"/>
              <a:gd name="csY15" fmla="*/ 952675 h 2084524"/>
              <a:gd name="csX16" fmla="*/ 235445 w 733006"/>
              <a:gd name="csY16" fmla="*/ 780278 h 2084524"/>
              <a:gd name="csX17" fmla="*/ 214544 w 733006"/>
              <a:gd name="csY17" fmla="*/ 756435 h 2084524"/>
              <a:gd name="csX18" fmla="*/ 172569 w 733006"/>
              <a:gd name="csY18" fmla="*/ 742582 h 2084524"/>
              <a:gd name="csX19" fmla="*/ 168784 w 733006"/>
              <a:gd name="csY19" fmla="*/ 669116 h 2084524"/>
              <a:gd name="csX20" fmla="*/ 191657 w 733006"/>
              <a:gd name="csY20" fmla="*/ 630765 h 2084524"/>
              <a:gd name="csX21" fmla="*/ 208150 w 733006"/>
              <a:gd name="csY21" fmla="*/ 609084 h 2084524"/>
              <a:gd name="csX22" fmla="*/ 216756 w 733006"/>
              <a:gd name="csY22" fmla="*/ 558673 h 2084524"/>
              <a:gd name="csX23" fmla="*/ 209092 w 733006"/>
              <a:gd name="csY23" fmla="*/ 521540 h 2084524"/>
              <a:gd name="csX24" fmla="*/ 204683 w 733006"/>
              <a:gd name="csY24" fmla="*/ 474024 h 2084524"/>
              <a:gd name="csX25" fmla="*/ 115483 w 733006"/>
              <a:gd name="csY25" fmla="*/ 213499 h 2084524"/>
              <a:gd name="csX26" fmla="*/ 102909 w 733006"/>
              <a:gd name="csY26" fmla="*/ 182297 h 2084524"/>
              <a:gd name="csX27" fmla="*/ 104315 w 733006"/>
              <a:gd name="csY27" fmla="*/ 163968 h 2084524"/>
              <a:gd name="csX28" fmla="*/ 122444 w 733006"/>
              <a:gd name="csY28" fmla="*/ 160805 h 2084524"/>
              <a:gd name="csX29" fmla="*/ 170283 w 733006"/>
              <a:gd name="csY29" fmla="*/ 187783 h 2084524"/>
              <a:gd name="csX30" fmla="*/ 180938 w 733006"/>
              <a:gd name="csY30" fmla="*/ 195322 h 2084524"/>
              <a:gd name="csX31" fmla="*/ 221419 w 733006"/>
              <a:gd name="csY31" fmla="*/ 138058 h 2084524"/>
              <a:gd name="csX32" fmla="*/ 294099 w 733006"/>
              <a:gd name="csY32" fmla="*/ 91372 h 2084524"/>
              <a:gd name="csX33" fmla="*/ 302307 w 733006"/>
              <a:gd name="csY33" fmla="*/ 76560 h 2084524"/>
              <a:gd name="csX34" fmla="*/ 320284 w 733006"/>
              <a:gd name="csY34" fmla="*/ 8414 h 2084524"/>
              <a:gd name="csX35" fmla="*/ 324784 w 733006"/>
              <a:gd name="csY35" fmla="*/ 946 h 2084524"/>
              <a:gd name="csX36" fmla="*/ 399212 w 733006"/>
              <a:gd name="csY36" fmla="*/ 0 h 2084524"/>
              <a:gd name="csX37" fmla="*/ 425980 w 733006"/>
              <a:gd name="csY37" fmla="*/ 78301 h 2084524"/>
              <a:gd name="csX38" fmla="*/ 431861 w 733006"/>
              <a:gd name="csY38" fmla="*/ 90312 h 2084524"/>
              <a:gd name="csX39" fmla="*/ 540349 w 733006"/>
              <a:gd name="csY39" fmla="*/ 187946 h 2084524"/>
              <a:gd name="csX40" fmla="*/ 545555 w 733006"/>
              <a:gd name="csY40" fmla="*/ 197828 h 2084524"/>
              <a:gd name="csX41" fmla="*/ 587318 w 733006"/>
              <a:gd name="csY41" fmla="*/ 171260 h 2084524"/>
              <a:gd name="csX42" fmla="*/ 601503 w 733006"/>
              <a:gd name="csY42" fmla="*/ 163707 h 2084524"/>
              <a:gd name="csX43" fmla="*/ 625254 w 733006"/>
              <a:gd name="csY43" fmla="*/ 163123 h 2084524"/>
              <a:gd name="csX44" fmla="*/ 625468 w 733006"/>
              <a:gd name="csY44" fmla="*/ 187579 h 2084524"/>
              <a:gd name="csX45" fmla="*/ 597543 w 733006"/>
              <a:gd name="csY45" fmla="*/ 251872 h 2084524"/>
              <a:gd name="csX46" fmla="*/ 531831 w 733006"/>
              <a:gd name="csY46" fmla="*/ 442689 h 2084524"/>
              <a:gd name="csX47" fmla="*/ 519888 w 733006"/>
              <a:gd name="csY47" fmla="*/ 501474 h 2084524"/>
              <a:gd name="csX48" fmla="*/ 522506 w 733006"/>
              <a:gd name="csY48" fmla="*/ 525086 h 2084524"/>
              <a:gd name="csX49" fmla="*/ 516235 w 733006"/>
              <a:gd name="csY49" fmla="*/ 555946 h 2084524"/>
              <a:gd name="csX50" fmla="*/ 521332 w 733006"/>
              <a:gd name="csY50" fmla="*/ 610676 h 2084524"/>
              <a:gd name="csX51" fmla="*/ 541382 w 733006"/>
              <a:gd name="csY51" fmla="*/ 642597 h 2084524"/>
              <a:gd name="csX52" fmla="*/ 557031 w 733006"/>
              <a:gd name="csY52" fmla="*/ 667949 h 2084524"/>
              <a:gd name="csX53" fmla="*/ 553994 w 733006"/>
              <a:gd name="csY53" fmla="*/ 744146 h 2084524"/>
              <a:gd name="csX54" fmla="*/ 508215 w 733006"/>
              <a:gd name="csY54" fmla="*/ 758841 h 2084524"/>
              <a:gd name="csX55" fmla="*/ 497442 w 733006"/>
              <a:gd name="csY55" fmla="*/ 771256 h 2084524"/>
              <a:gd name="csX56" fmla="*/ 493005 w 733006"/>
              <a:gd name="csY56" fmla="*/ 922055 h 2084524"/>
              <a:gd name="csX57" fmla="*/ 502900 w 733006"/>
              <a:gd name="csY57" fmla="*/ 1114191 h 2084524"/>
              <a:gd name="csX58" fmla="*/ 508800 w 733006"/>
              <a:gd name="csY58" fmla="*/ 1205474 h 2084524"/>
              <a:gd name="csX59" fmla="*/ 522952 w 733006"/>
              <a:gd name="csY59" fmla="*/ 1320065 h 2084524"/>
              <a:gd name="csX60" fmla="*/ 554682 w 733006"/>
              <a:gd name="csY60" fmla="*/ 1501203 h 2084524"/>
              <a:gd name="csX61" fmla="*/ 576958 w 733006"/>
              <a:gd name="csY61" fmla="*/ 1593963 h 2084524"/>
              <a:gd name="csX62" fmla="*/ 595349 w 733006"/>
              <a:gd name="csY62" fmla="*/ 1613498 h 2084524"/>
              <a:gd name="csX63" fmla="*/ 613936 w 733006"/>
              <a:gd name="csY63" fmla="*/ 1624058 h 2084524"/>
              <a:gd name="csX64" fmla="*/ 620938 w 733006"/>
              <a:gd name="csY64" fmla="*/ 1652071 h 2084524"/>
              <a:gd name="csX65" fmla="*/ 630805 w 733006"/>
              <a:gd name="csY65" fmla="*/ 1721702 h 2084524"/>
              <a:gd name="csX66" fmla="*/ 685830 w 733006"/>
              <a:gd name="csY66" fmla="*/ 1792915 h 2084524"/>
              <a:gd name="csX67" fmla="*/ 708904 w 733006"/>
              <a:gd name="csY67" fmla="*/ 1890290 h 2084524"/>
              <a:gd name="csX68" fmla="*/ 716580 w 733006"/>
              <a:gd name="csY68" fmla="*/ 1951136 h 2084524"/>
              <a:gd name="csX69" fmla="*/ 729397 w 733006"/>
              <a:gd name="csY69" fmla="*/ 2030261 h 2084524"/>
              <a:gd name="csX70" fmla="*/ 714212 w 733006"/>
              <a:gd name="csY70" fmla="*/ 2049544 h 2084524"/>
              <a:gd name="csX71" fmla="*/ 96263 w 733006"/>
              <a:gd name="csY71" fmla="*/ 2076207 h 2084524"/>
              <a:gd name="csX72" fmla="*/ 489970 w 733006"/>
              <a:gd name="csY72" fmla="*/ 152208 h 2084524"/>
              <a:gd name="csX73" fmla="*/ 490754 w 733006"/>
              <a:gd name="csY73" fmla="*/ 152592 h 2084524"/>
              <a:gd name="csX74" fmla="*/ 489489 w 733006"/>
              <a:gd name="csY74" fmla="*/ 149547 h 2084524"/>
              <a:gd name="csX75" fmla="*/ 393621 w 733006"/>
              <a:gd name="csY75" fmla="*/ 99259 h 2084524"/>
              <a:gd name="csX76" fmla="*/ 390419 w 733006"/>
              <a:gd name="csY76" fmla="*/ 18568 h 2084524"/>
              <a:gd name="csX77" fmla="*/ 334131 w 733006"/>
              <a:gd name="csY77" fmla="*/ 24327 h 2084524"/>
              <a:gd name="csX78" fmla="*/ 344678 w 733006"/>
              <a:gd name="csY78" fmla="*/ 101259 h 2084524"/>
              <a:gd name="csX79" fmla="*/ 298854 w 733006"/>
              <a:gd name="csY79" fmla="*/ 114003 h 2084524"/>
              <a:gd name="csX80" fmla="*/ 237456 w 733006"/>
              <a:gd name="csY80" fmla="*/ 154340 h 2084524"/>
              <a:gd name="csX81" fmla="*/ 240382 w 733006"/>
              <a:gd name="csY81" fmla="*/ 154035 h 2084524"/>
              <a:gd name="csX82" fmla="*/ 262731 w 733006"/>
              <a:gd name="csY82" fmla="*/ 170426 h 2084524"/>
              <a:gd name="csX83" fmla="*/ 279169 w 733006"/>
              <a:gd name="csY83" fmla="*/ 193173 h 2084524"/>
              <a:gd name="csX84" fmla="*/ 327717 w 733006"/>
              <a:gd name="csY84" fmla="*/ 188556 h 2084524"/>
              <a:gd name="csX85" fmla="*/ 348052 w 733006"/>
              <a:gd name="csY85" fmla="*/ 156919 h 2084524"/>
              <a:gd name="csX86" fmla="*/ 380330 w 733006"/>
              <a:gd name="csY86" fmla="*/ 156483 h 2084524"/>
              <a:gd name="csX87" fmla="*/ 408490 w 733006"/>
              <a:gd name="csY87" fmla="*/ 195400 h 2084524"/>
              <a:gd name="csX88" fmla="*/ 445346 w 733006"/>
              <a:gd name="csY88" fmla="*/ 197582 h 2084524"/>
              <a:gd name="csX89" fmla="*/ 464798 w 733006"/>
              <a:gd name="csY89" fmla="*/ 174107 h 2084524"/>
              <a:gd name="csX90" fmla="*/ 489970 w 733006"/>
              <a:gd name="csY90" fmla="*/ 152208 h 2084524"/>
              <a:gd name="csX91" fmla="*/ 140694 w 733006"/>
              <a:gd name="csY91" fmla="*/ 201837 h 2084524"/>
              <a:gd name="csX92" fmla="*/ 139834 w 733006"/>
              <a:gd name="csY92" fmla="*/ 201482 h 2084524"/>
              <a:gd name="csX93" fmla="*/ 140812 w 733006"/>
              <a:gd name="csY93" fmla="*/ 204941 h 2084524"/>
              <a:gd name="csX94" fmla="*/ 144631 w 733006"/>
              <a:gd name="csY94" fmla="*/ 217811 h 2084524"/>
              <a:gd name="csX95" fmla="*/ 201241 w 733006"/>
              <a:gd name="csY95" fmla="*/ 373387 h 2084524"/>
              <a:gd name="csX96" fmla="*/ 235971 w 733006"/>
              <a:gd name="csY96" fmla="*/ 504451 h 2084524"/>
              <a:gd name="csX97" fmla="*/ 247475 w 733006"/>
              <a:gd name="csY97" fmla="*/ 513241 h 2084524"/>
              <a:gd name="csX98" fmla="*/ 289066 w 733006"/>
              <a:gd name="csY98" fmla="*/ 511170 h 2084524"/>
              <a:gd name="csX99" fmla="*/ 378229 w 733006"/>
              <a:gd name="csY99" fmla="*/ 511084 h 2084524"/>
              <a:gd name="csX100" fmla="*/ 470850 w 733006"/>
              <a:gd name="csY100" fmla="*/ 516341 h 2084524"/>
              <a:gd name="csX101" fmla="*/ 492933 w 733006"/>
              <a:gd name="csY101" fmla="*/ 497969 h 2084524"/>
              <a:gd name="csX102" fmla="*/ 557617 w 733006"/>
              <a:gd name="csY102" fmla="*/ 280398 h 2084524"/>
              <a:gd name="csX103" fmla="*/ 588788 w 733006"/>
              <a:gd name="csY103" fmla="*/ 200385 h 2084524"/>
              <a:gd name="csX104" fmla="*/ 530958 w 733006"/>
              <a:gd name="csY104" fmla="*/ 232968 h 2084524"/>
              <a:gd name="csX105" fmla="*/ 483823 w 733006"/>
              <a:gd name="csY105" fmla="*/ 190364 h 2084524"/>
              <a:gd name="csX106" fmla="*/ 466649 w 733006"/>
              <a:gd name="csY106" fmla="*/ 209061 h 2084524"/>
              <a:gd name="csX107" fmla="*/ 399941 w 733006"/>
              <a:gd name="csY107" fmla="*/ 216988 h 2084524"/>
              <a:gd name="csX108" fmla="*/ 363018 w 733006"/>
              <a:gd name="csY108" fmla="*/ 179615 h 2084524"/>
              <a:gd name="csX109" fmla="*/ 308839 w 733006"/>
              <a:gd name="csY109" fmla="*/ 227846 h 2084524"/>
              <a:gd name="csX110" fmla="*/ 245077 w 733006"/>
              <a:gd name="csY110" fmla="*/ 192402 h 2084524"/>
              <a:gd name="csX111" fmla="*/ 242829 w 733006"/>
              <a:gd name="csY111" fmla="*/ 198815 h 2084524"/>
              <a:gd name="csX112" fmla="*/ 168452 w 733006"/>
              <a:gd name="csY112" fmla="*/ 219348 h 2084524"/>
              <a:gd name="csX113" fmla="*/ 140694 w 733006"/>
              <a:gd name="csY113" fmla="*/ 201837 h 2084524"/>
              <a:gd name="csX114" fmla="*/ 259999 w 733006"/>
              <a:gd name="csY114" fmla="*/ 966699 h 2084524"/>
              <a:gd name="csX115" fmla="*/ 257072 w 733006"/>
              <a:gd name="csY115" fmla="*/ 1070424 h 2084524"/>
              <a:gd name="csX116" fmla="*/ 251372 w 733006"/>
              <a:gd name="csY116" fmla="*/ 1157618 h 2084524"/>
              <a:gd name="csX117" fmla="*/ 232677 w 733006"/>
              <a:gd name="csY117" fmla="*/ 1320279 h 2084524"/>
              <a:gd name="csX118" fmla="*/ 209182 w 733006"/>
              <a:gd name="csY118" fmla="*/ 1468667 h 2084524"/>
              <a:gd name="csX119" fmla="*/ 175302 w 733006"/>
              <a:gd name="csY119" fmla="*/ 1616623 h 2084524"/>
              <a:gd name="csX120" fmla="*/ 182769 w 733006"/>
              <a:gd name="csY120" fmla="*/ 1629786 h 2084524"/>
              <a:gd name="csX121" fmla="*/ 212156 w 733006"/>
              <a:gd name="csY121" fmla="*/ 1632656 h 2084524"/>
              <a:gd name="csX122" fmla="*/ 351295 w 733006"/>
              <a:gd name="csY122" fmla="*/ 1632801 h 2084524"/>
              <a:gd name="csX123" fmla="*/ 376150 w 733006"/>
              <a:gd name="csY123" fmla="*/ 1608307 h 2084524"/>
              <a:gd name="csX124" fmla="*/ 373450 w 733006"/>
              <a:gd name="csY124" fmla="*/ 1457291 h 2084524"/>
              <a:gd name="csX125" fmla="*/ 370936 w 733006"/>
              <a:gd name="csY125" fmla="*/ 1342736 h 2084524"/>
              <a:gd name="csX126" fmla="*/ 368328 w 733006"/>
              <a:gd name="csY126" fmla="*/ 1203878 h 2084524"/>
              <a:gd name="csX127" fmla="*/ 367836 w 733006"/>
              <a:gd name="csY127" fmla="*/ 813478 h 2084524"/>
              <a:gd name="csX128" fmla="*/ 365240 w 733006"/>
              <a:gd name="csY128" fmla="*/ 773243 h 2084524"/>
              <a:gd name="csX129" fmla="*/ 353084 w 733006"/>
              <a:gd name="csY129" fmla="*/ 762083 h 2084524"/>
              <a:gd name="csX130" fmla="*/ 280966 w 733006"/>
              <a:gd name="csY130" fmla="*/ 759855 h 2084524"/>
              <a:gd name="csX131" fmla="*/ 259965 w 733006"/>
              <a:gd name="csY131" fmla="*/ 779553 h 2084524"/>
              <a:gd name="csX132" fmla="*/ 262341 w 733006"/>
              <a:gd name="csY132" fmla="*/ 856275 h 2084524"/>
              <a:gd name="csX133" fmla="*/ 259999 w 733006"/>
              <a:gd name="csY133" fmla="*/ 966699 h 2084524"/>
              <a:gd name="csX134" fmla="*/ 55556 w 733006"/>
              <a:gd name="csY134" fmla="*/ 1835827 h 2084524"/>
              <a:gd name="csX135" fmla="*/ 49393 w 733006"/>
              <a:gd name="csY135" fmla="*/ 1878155 h 2084524"/>
              <a:gd name="csX136" fmla="*/ 73949 w 733006"/>
              <a:gd name="csY136" fmla="*/ 1905781 h 2084524"/>
              <a:gd name="csX137" fmla="*/ 110073 w 733006"/>
              <a:gd name="csY137" fmla="*/ 1909068 h 2084524"/>
              <a:gd name="csX138" fmla="*/ 224745 w 733006"/>
              <a:gd name="csY138" fmla="*/ 1921652 h 2084524"/>
              <a:gd name="csX139" fmla="*/ 347327 w 733006"/>
              <a:gd name="csY139" fmla="*/ 1924778 h 2084524"/>
              <a:gd name="csX140" fmla="*/ 363345 w 733006"/>
              <a:gd name="csY140" fmla="*/ 1923293 h 2084524"/>
              <a:gd name="csX141" fmla="*/ 373787 w 733006"/>
              <a:gd name="csY141" fmla="*/ 1911200 h 2084524"/>
              <a:gd name="csX142" fmla="*/ 376623 w 733006"/>
              <a:gd name="csY142" fmla="*/ 1696741 h 2084524"/>
              <a:gd name="csX143" fmla="*/ 360437 w 733006"/>
              <a:gd name="csY143" fmla="*/ 1681289 h 2084524"/>
              <a:gd name="csX144" fmla="*/ 263503 w 733006"/>
              <a:gd name="csY144" fmla="*/ 1678179 h 2084524"/>
              <a:gd name="csX145" fmla="*/ 160381 w 733006"/>
              <a:gd name="csY145" fmla="*/ 1670405 h 2084524"/>
              <a:gd name="csX146" fmla="*/ 143321 w 733006"/>
              <a:gd name="csY146" fmla="*/ 1685538 h 2084524"/>
              <a:gd name="csX147" fmla="*/ 124769 w 733006"/>
              <a:gd name="csY147" fmla="*/ 1738195 h 2084524"/>
              <a:gd name="csX148" fmla="*/ 90593 w 733006"/>
              <a:gd name="csY148" fmla="*/ 1779570 h 2084524"/>
              <a:gd name="csX149" fmla="*/ 55556 w 733006"/>
              <a:gd name="csY149" fmla="*/ 1835827 h 2084524"/>
              <a:gd name="csX150" fmla="*/ 378900 w 733006"/>
              <a:gd name="csY150" fmla="*/ 2007280 h 2084524"/>
              <a:gd name="csX151" fmla="*/ 378887 w 733006"/>
              <a:gd name="csY151" fmla="*/ 1995127 h 2084524"/>
              <a:gd name="csX152" fmla="*/ 359084 w 733006"/>
              <a:gd name="csY152" fmla="*/ 1975964 h 2084524"/>
              <a:gd name="csX153" fmla="*/ 247288 w 733006"/>
              <a:gd name="csY153" fmla="*/ 1973305 h 2084524"/>
              <a:gd name="csX154" fmla="*/ 201692 w 733006"/>
              <a:gd name="csY154" fmla="*/ 1970275 h 2084524"/>
              <a:gd name="csX155" fmla="*/ 57962 w 733006"/>
              <a:gd name="csY155" fmla="*/ 1952648 h 2084524"/>
              <a:gd name="csX156" fmla="*/ 39194 w 733006"/>
              <a:gd name="csY156" fmla="*/ 1963552 h 2084524"/>
              <a:gd name="csX157" fmla="*/ 30066 w 733006"/>
              <a:gd name="csY157" fmla="*/ 2006631 h 2084524"/>
              <a:gd name="csX158" fmla="*/ 40232 w 733006"/>
              <a:gd name="csY158" fmla="*/ 2019486 h 2084524"/>
              <a:gd name="csX159" fmla="*/ 238186 w 733006"/>
              <a:gd name="csY159" fmla="*/ 2046096 h 2084524"/>
              <a:gd name="csX160" fmla="*/ 342155 w 733006"/>
              <a:gd name="csY160" fmla="*/ 2046441 h 2084524"/>
              <a:gd name="csX161" fmla="*/ 378900 w 733006"/>
              <a:gd name="csY161" fmla="*/ 2007280 h 2084524"/>
              <a:gd name="csX162" fmla="*/ 310220 w 733006"/>
              <a:gd name="csY162" fmla="*/ 554288 h 2084524"/>
              <a:gd name="csX163" fmla="*/ 259136 w 733006"/>
              <a:gd name="csY163" fmla="*/ 556881 h 2084524"/>
              <a:gd name="csX164" fmla="*/ 249085 w 733006"/>
              <a:gd name="csY164" fmla="*/ 567981 h 2084524"/>
              <a:gd name="csX165" fmla="*/ 249141 w 733006"/>
              <a:gd name="csY165" fmla="*/ 605644 h 2084524"/>
              <a:gd name="csX166" fmla="*/ 262628 w 733006"/>
              <a:gd name="csY166" fmla="*/ 605627 h 2084524"/>
              <a:gd name="csX167" fmla="*/ 369608 w 733006"/>
              <a:gd name="csY167" fmla="*/ 603027 h 2084524"/>
              <a:gd name="csX168" fmla="*/ 463931 w 733006"/>
              <a:gd name="csY168" fmla="*/ 605146 h 2084524"/>
              <a:gd name="csX169" fmla="*/ 478113 w 733006"/>
              <a:gd name="csY169" fmla="*/ 595843 h 2084524"/>
              <a:gd name="csX170" fmla="*/ 478796 w 733006"/>
              <a:gd name="csY170" fmla="*/ 556832 h 2084524"/>
              <a:gd name="csX171" fmla="*/ 310220 w 733006"/>
              <a:gd name="csY171" fmla="*/ 554288 h 2084524"/>
              <a:gd name="csX172" fmla="*/ 348836 w 733006"/>
              <a:gd name="csY172" fmla="*/ 684115 h 2084524"/>
              <a:gd name="csX173" fmla="*/ 281333 w 733006"/>
              <a:gd name="csY173" fmla="*/ 683313 h 2084524"/>
              <a:gd name="csX174" fmla="*/ 212728 w 733006"/>
              <a:gd name="csY174" fmla="*/ 681931 h 2084524"/>
              <a:gd name="csX175" fmla="*/ 187283 w 733006"/>
              <a:gd name="csY175" fmla="*/ 689555 h 2084524"/>
              <a:gd name="csX176" fmla="*/ 186163 w 733006"/>
              <a:gd name="csY176" fmla="*/ 718266 h 2084524"/>
              <a:gd name="csX177" fmla="*/ 209894 w 733006"/>
              <a:gd name="csY177" fmla="*/ 726798 h 2084524"/>
              <a:gd name="csX178" fmla="*/ 334814 w 733006"/>
              <a:gd name="csY178" fmla="*/ 732494 h 2084524"/>
              <a:gd name="csX179" fmla="*/ 364856 w 733006"/>
              <a:gd name="csY179" fmla="*/ 707963 h 2084524"/>
              <a:gd name="csX180" fmla="*/ 348836 w 733006"/>
              <a:gd name="csY180" fmla="*/ 684115 h 2084524"/>
              <a:gd name="csX181" fmla="*/ 298865 w 733006"/>
              <a:gd name="csY181" fmla="*/ 621954 h 2084524"/>
              <a:gd name="csX182" fmla="*/ 251619 w 733006"/>
              <a:gd name="csY182" fmla="*/ 622133 h 2084524"/>
              <a:gd name="csX183" fmla="*/ 214459 w 733006"/>
              <a:gd name="csY183" fmla="*/ 636230 h 2084524"/>
              <a:gd name="csX184" fmla="*/ 221436 w 733006"/>
              <a:gd name="csY184" fmla="*/ 654205 h 2084524"/>
              <a:gd name="csX185" fmla="*/ 272412 w 733006"/>
              <a:gd name="csY185" fmla="*/ 657250 h 2084524"/>
              <a:gd name="csX186" fmla="*/ 349094 w 733006"/>
              <a:gd name="csY186" fmla="*/ 659282 h 2084524"/>
              <a:gd name="csX187" fmla="*/ 362996 w 733006"/>
              <a:gd name="csY187" fmla="*/ 644234 h 2084524"/>
              <a:gd name="csX188" fmla="*/ 348472 w 733006"/>
              <a:gd name="csY188" fmla="*/ 624649 h 2084524"/>
              <a:gd name="csX189" fmla="*/ 298865 w 733006"/>
              <a:gd name="csY189" fmla="*/ 621954 h 2084524"/>
              <a:gd name="csX190" fmla="*/ 227796 w 733006"/>
              <a:gd name="csY190" fmla="*/ 528000 h 2084524"/>
              <a:gd name="csX191" fmla="*/ 241009 w 733006"/>
              <a:gd name="csY191" fmla="*/ 545897 h 2084524"/>
              <a:gd name="csX192" fmla="*/ 282607 w 733006"/>
              <a:gd name="csY192" fmla="*/ 543480 h 2084524"/>
              <a:gd name="csX193" fmla="*/ 354213 w 733006"/>
              <a:gd name="csY193" fmla="*/ 543384 h 2084524"/>
              <a:gd name="csX194" fmla="*/ 365334 w 733006"/>
              <a:gd name="csY194" fmla="*/ 533397 h 2084524"/>
              <a:gd name="csX195" fmla="*/ 354531 w 733006"/>
              <a:gd name="csY195" fmla="*/ 521620 h 2084524"/>
              <a:gd name="csX196" fmla="*/ 259169 w 733006"/>
              <a:gd name="csY196" fmla="*/ 521978 h 2084524"/>
              <a:gd name="csX197" fmla="*/ 227796 w 733006"/>
              <a:gd name="csY197" fmla="*/ 528000 h 2084524"/>
              <a:gd name="csX198" fmla="*/ 508068 w 733006"/>
              <a:gd name="csY198" fmla="*/ 190710 h 2084524"/>
              <a:gd name="csX199" fmla="*/ 521293 w 733006"/>
              <a:gd name="csY199" fmla="*/ 205907 h 2084524"/>
              <a:gd name="csX200" fmla="*/ 525175 w 733006"/>
              <a:gd name="csY200" fmla="*/ 202985 h 2084524"/>
              <a:gd name="csX201" fmla="*/ 500276 w 733006"/>
              <a:gd name="csY201" fmla="*/ 160640 h 2084524"/>
              <a:gd name="csX202" fmla="*/ 497122 w 733006"/>
              <a:gd name="csY202" fmla="*/ 162007 h 2084524"/>
              <a:gd name="csX203" fmla="*/ 508068 w 733006"/>
              <a:gd name="csY203" fmla="*/ 190710 h 2084524"/>
              <a:gd name="csX204" fmla="*/ 215522 w 733006"/>
              <a:gd name="csY204" fmla="*/ 197296 h 2084524"/>
              <a:gd name="csX205" fmla="*/ 234029 w 733006"/>
              <a:gd name="csY205" fmla="*/ 162725 h 2084524"/>
              <a:gd name="csX206" fmla="*/ 229000 w 733006"/>
              <a:gd name="csY206" fmla="*/ 159902 h 2084524"/>
              <a:gd name="csX207" fmla="*/ 204824 w 733006"/>
              <a:gd name="csY207" fmla="*/ 199677 h 2084524"/>
              <a:gd name="csX208" fmla="*/ 207990 w 733006"/>
              <a:gd name="csY208" fmla="*/ 202198 h 2084524"/>
              <a:gd name="csX209" fmla="*/ 215522 w 733006"/>
              <a:gd name="csY209" fmla="*/ 197296 h 2084524"/>
              <a:gd name="csX210" fmla="*/ 484400 w 733006"/>
              <a:gd name="csY210" fmla="*/ 896678 h 2084524"/>
              <a:gd name="csX211" fmla="*/ 486181 w 733006"/>
              <a:gd name="csY211" fmla="*/ 896585 h 2084524"/>
              <a:gd name="csX212" fmla="*/ 486181 w 733006"/>
              <a:gd name="csY212" fmla="*/ 795289 h 2084524"/>
              <a:gd name="csX213" fmla="*/ 720241 w 733006"/>
              <a:gd name="csY213" fmla="*/ 2030666 h 2084524"/>
              <a:gd name="csX214" fmla="*/ 721175 w 733006"/>
              <a:gd name="csY214" fmla="*/ 2029733 h 2084524"/>
              <a:gd name="csX215" fmla="*/ 720241 w 733006"/>
              <a:gd name="csY215" fmla="*/ 2030666 h 2084524"/>
              <a:gd name="csX216" fmla="*/ 715702 w 733006"/>
              <a:gd name="csY216" fmla="*/ 2037051 h 2084524"/>
              <a:gd name="csX217" fmla="*/ 715702 w 733006"/>
              <a:gd name="csY217" fmla="*/ 2037051 h 2084524"/>
              <a:gd name="csX0" fmla="*/ 96263 w 733006"/>
              <a:gd name="csY0" fmla="*/ 2076207 h 2095135"/>
              <a:gd name="csX1" fmla="*/ 63862 w 733006"/>
              <a:gd name="csY1" fmla="*/ 2065388 h 2095135"/>
              <a:gd name="csX2" fmla="*/ 16555 w 733006"/>
              <a:gd name="csY2" fmla="*/ 2050152 h 2095135"/>
              <a:gd name="csX3" fmla="*/ 15 w 733006"/>
              <a:gd name="csY3" fmla="*/ 2023802 h 2095135"/>
              <a:gd name="csX4" fmla="*/ 18368 w 733006"/>
              <a:gd name="csY4" fmla="*/ 1940709 h 2095135"/>
              <a:gd name="csX5" fmla="*/ 22139 w 733006"/>
              <a:gd name="csY5" fmla="*/ 1907268 h 2095135"/>
              <a:gd name="csX6" fmla="*/ 57941 w 733006"/>
              <a:gd name="csY6" fmla="*/ 1774163 h 2095135"/>
              <a:gd name="csX7" fmla="*/ 102478 w 733006"/>
              <a:gd name="csY7" fmla="*/ 1720275 h 2095135"/>
              <a:gd name="csX8" fmla="*/ 108579 w 733006"/>
              <a:gd name="csY8" fmla="*/ 1650967 h 2095135"/>
              <a:gd name="csX9" fmla="*/ 115628 w 733006"/>
              <a:gd name="csY9" fmla="*/ 1625405 h 2095135"/>
              <a:gd name="csX10" fmla="*/ 156323 w 733006"/>
              <a:gd name="csY10" fmla="*/ 1560181 h 2095135"/>
              <a:gd name="csX11" fmla="*/ 199424 w 733006"/>
              <a:gd name="csY11" fmla="*/ 1364729 h 2095135"/>
              <a:gd name="csX12" fmla="*/ 216779 w 733006"/>
              <a:gd name="csY12" fmla="*/ 1219490 h 2095135"/>
              <a:gd name="csX13" fmla="*/ 229755 w 733006"/>
              <a:gd name="csY13" fmla="*/ 1099357 h 2095135"/>
              <a:gd name="csX14" fmla="*/ 232707 w 733006"/>
              <a:gd name="csY14" fmla="*/ 1056423 h 2095135"/>
              <a:gd name="csX15" fmla="*/ 235622 w 733006"/>
              <a:gd name="csY15" fmla="*/ 952675 h 2095135"/>
              <a:gd name="csX16" fmla="*/ 235445 w 733006"/>
              <a:gd name="csY16" fmla="*/ 780278 h 2095135"/>
              <a:gd name="csX17" fmla="*/ 214544 w 733006"/>
              <a:gd name="csY17" fmla="*/ 756435 h 2095135"/>
              <a:gd name="csX18" fmla="*/ 172569 w 733006"/>
              <a:gd name="csY18" fmla="*/ 742582 h 2095135"/>
              <a:gd name="csX19" fmla="*/ 168784 w 733006"/>
              <a:gd name="csY19" fmla="*/ 669116 h 2095135"/>
              <a:gd name="csX20" fmla="*/ 191657 w 733006"/>
              <a:gd name="csY20" fmla="*/ 630765 h 2095135"/>
              <a:gd name="csX21" fmla="*/ 208150 w 733006"/>
              <a:gd name="csY21" fmla="*/ 609084 h 2095135"/>
              <a:gd name="csX22" fmla="*/ 216756 w 733006"/>
              <a:gd name="csY22" fmla="*/ 558673 h 2095135"/>
              <a:gd name="csX23" fmla="*/ 209092 w 733006"/>
              <a:gd name="csY23" fmla="*/ 521540 h 2095135"/>
              <a:gd name="csX24" fmla="*/ 204683 w 733006"/>
              <a:gd name="csY24" fmla="*/ 474024 h 2095135"/>
              <a:gd name="csX25" fmla="*/ 115483 w 733006"/>
              <a:gd name="csY25" fmla="*/ 213499 h 2095135"/>
              <a:gd name="csX26" fmla="*/ 102909 w 733006"/>
              <a:gd name="csY26" fmla="*/ 182297 h 2095135"/>
              <a:gd name="csX27" fmla="*/ 104315 w 733006"/>
              <a:gd name="csY27" fmla="*/ 163968 h 2095135"/>
              <a:gd name="csX28" fmla="*/ 122444 w 733006"/>
              <a:gd name="csY28" fmla="*/ 160805 h 2095135"/>
              <a:gd name="csX29" fmla="*/ 170283 w 733006"/>
              <a:gd name="csY29" fmla="*/ 187783 h 2095135"/>
              <a:gd name="csX30" fmla="*/ 180938 w 733006"/>
              <a:gd name="csY30" fmla="*/ 195322 h 2095135"/>
              <a:gd name="csX31" fmla="*/ 221419 w 733006"/>
              <a:gd name="csY31" fmla="*/ 138058 h 2095135"/>
              <a:gd name="csX32" fmla="*/ 294099 w 733006"/>
              <a:gd name="csY32" fmla="*/ 91372 h 2095135"/>
              <a:gd name="csX33" fmla="*/ 302307 w 733006"/>
              <a:gd name="csY33" fmla="*/ 76560 h 2095135"/>
              <a:gd name="csX34" fmla="*/ 320284 w 733006"/>
              <a:gd name="csY34" fmla="*/ 8414 h 2095135"/>
              <a:gd name="csX35" fmla="*/ 324784 w 733006"/>
              <a:gd name="csY35" fmla="*/ 946 h 2095135"/>
              <a:gd name="csX36" fmla="*/ 399212 w 733006"/>
              <a:gd name="csY36" fmla="*/ 0 h 2095135"/>
              <a:gd name="csX37" fmla="*/ 425980 w 733006"/>
              <a:gd name="csY37" fmla="*/ 78301 h 2095135"/>
              <a:gd name="csX38" fmla="*/ 431861 w 733006"/>
              <a:gd name="csY38" fmla="*/ 90312 h 2095135"/>
              <a:gd name="csX39" fmla="*/ 540349 w 733006"/>
              <a:gd name="csY39" fmla="*/ 187946 h 2095135"/>
              <a:gd name="csX40" fmla="*/ 545555 w 733006"/>
              <a:gd name="csY40" fmla="*/ 197828 h 2095135"/>
              <a:gd name="csX41" fmla="*/ 587318 w 733006"/>
              <a:gd name="csY41" fmla="*/ 171260 h 2095135"/>
              <a:gd name="csX42" fmla="*/ 601503 w 733006"/>
              <a:gd name="csY42" fmla="*/ 163707 h 2095135"/>
              <a:gd name="csX43" fmla="*/ 625254 w 733006"/>
              <a:gd name="csY43" fmla="*/ 163123 h 2095135"/>
              <a:gd name="csX44" fmla="*/ 625468 w 733006"/>
              <a:gd name="csY44" fmla="*/ 187579 h 2095135"/>
              <a:gd name="csX45" fmla="*/ 597543 w 733006"/>
              <a:gd name="csY45" fmla="*/ 251872 h 2095135"/>
              <a:gd name="csX46" fmla="*/ 531831 w 733006"/>
              <a:gd name="csY46" fmla="*/ 442689 h 2095135"/>
              <a:gd name="csX47" fmla="*/ 519888 w 733006"/>
              <a:gd name="csY47" fmla="*/ 501474 h 2095135"/>
              <a:gd name="csX48" fmla="*/ 522506 w 733006"/>
              <a:gd name="csY48" fmla="*/ 525086 h 2095135"/>
              <a:gd name="csX49" fmla="*/ 516235 w 733006"/>
              <a:gd name="csY49" fmla="*/ 555946 h 2095135"/>
              <a:gd name="csX50" fmla="*/ 521332 w 733006"/>
              <a:gd name="csY50" fmla="*/ 610676 h 2095135"/>
              <a:gd name="csX51" fmla="*/ 541382 w 733006"/>
              <a:gd name="csY51" fmla="*/ 642597 h 2095135"/>
              <a:gd name="csX52" fmla="*/ 557031 w 733006"/>
              <a:gd name="csY52" fmla="*/ 667949 h 2095135"/>
              <a:gd name="csX53" fmla="*/ 553994 w 733006"/>
              <a:gd name="csY53" fmla="*/ 744146 h 2095135"/>
              <a:gd name="csX54" fmla="*/ 508215 w 733006"/>
              <a:gd name="csY54" fmla="*/ 758841 h 2095135"/>
              <a:gd name="csX55" fmla="*/ 497442 w 733006"/>
              <a:gd name="csY55" fmla="*/ 771256 h 2095135"/>
              <a:gd name="csX56" fmla="*/ 493005 w 733006"/>
              <a:gd name="csY56" fmla="*/ 922055 h 2095135"/>
              <a:gd name="csX57" fmla="*/ 502900 w 733006"/>
              <a:gd name="csY57" fmla="*/ 1114191 h 2095135"/>
              <a:gd name="csX58" fmla="*/ 508800 w 733006"/>
              <a:gd name="csY58" fmla="*/ 1205474 h 2095135"/>
              <a:gd name="csX59" fmla="*/ 522952 w 733006"/>
              <a:gd name="csY59" fmla="*/ 1320065 h 2095135"/>
              <a:gd name="csX60" fmla="*/ 554682 w 733006"/>
              <a:gd name="csY60" fmla="*/ 1501203 h 2095135"/>
              <a:gd name="csX61" fmla="*/ 576958 w 733006"/>
              <a:gd name="csY61" fmla="*/ 1593963 h 2095135"/>
              <a:gd name="csX62" fmla="*/ 595349 w 733006"/>
              <a:gd name="csY62" fmla="*/ 1613498 h 2095135"/>
              <a:gd name="csX63" fmla="*/ 613936 w 733006"/>
              <a:gd name="csY63" fmla="*/ 1624058 h 2095135"/>
              <a:gd name="csX64" fmla="*/ 620938 w 733006"/>
              <a:gd name="csY64" fmla="*/ 1652071 h 2095135"/>
              <a:gd name="csX65" fmla="*/ 630805 w 733006"/>
              <a:gd name="csY65" fmla="*/ 1721702 h 2095135"/>
              <a:gd name="csX66" fmla="*/ 685830 w 733006"/>
              <a:gd name="csY66" fmla="*/ 1792915 h 2095135"/>
              <a:gd name="csX67" fmla="*/ 708904 w 733006"/>
              <a:gd name="csY67" fmla="*/ 1890290 h 2095135"/>
              <a:gd name="csX68" fmla="*/ 716580 w 733006"/>
              <a:gd name="csY68" fmla="*/ 1951136 h 2095135"/>
              <a:gd name="csX69" fmla="*/ 729397 w 733006"/>
              <a:gd name="csY69" fmla="*/ 2030261 h 2095135"/>
              <a:gd name="csX70" fmla="*/ 714212 w 733006"/>
              <a:gd name="csY70" fmla="*/ 2049544 h 2095135"/>
              <a:gd name="csX71" fmla="*/ 96263 w 733006"/>
              <a:gd name="csY71" fmla="*/ 2076207 h 2095135"/>
              <a:gd name="csX72" fmla="*/ 489970 w 733006"/>
              <a:gd name="csY72" fmla="*/ 152208 h 2095135"/>
              <a:gd name="csX73" fmla="*/ 490754 w 733006"/>
              <a:gd name="csY73" fmla="*/ 152592 h 2095135"/>
              <a:gd name="csX74" fmla="*/ 489489 w 733006"/>
              <a:gd name="csY74" fmla="*/ 149547 h 2095135"/>
              <a:gd name="csX75" fmla="*/ 393621 w 733006"/>
              <a:gd name="csY75" fmla="*/ 99259 h 2095135"/>
              <a:gd name="csX76" fmla="*/ 390419 w 733006"/>
              <a:gd name="csY76" fmla="*/ 18568 h 2095135"/>
              <a:gd name="csX77" fmla="*/ 334131 w 733006"/>
              <a:gd name="csY77" fmla="*/ 24327 h 2095135"/>
              <a:gd name="csX78" fmla="*/ 344678 w 733006"/>
              <a:gd name="csY78" fmla="*/ 101259 h 2095135"/>
              <a:gd name="csX79" fmla="*/ 298854 w 733006"/>
              <a:gd name="csY79" fmla="*/ 114003 h 2095135"/>
              <a:gd name="csX80" fmla="*/ 237456 w 733006"/>
              <a:gd name="csY80" fmla="*/ 154340 h 2095135"/>
              <a:gd name="csX81" fmla="*/ 240382 w 733006"/>
              <a:gd name="csY81" fmla="*/ 154035 h 2095135"/>
              <a:gd name="csX82" fmla="*/ 262731 w 733006"/>
              <a:gd name="csY82" fmla="*/ 170426 h 2095135"/>
              <a:gd name="csX83" fmla="*/ 279169 w 733006"/>
              <a:gd name="csY83" fmla="*/ 193173 h 2095135"/>
              <a:gd name="csX84" fmla="*/ 327717 w 733006"/>
              <a:gd name="csY84" fmla="*/ 188556 h 2095135"/>
              <a:gd name="csX85" fmla="*/ 348052 w 733006"/>
              <a:gd name="csY85" fmla="*/ 156919 h 2095135"/>
              <a:gd name="csX86" fmla="*/ 380330 w 733006"/>
              <a:gd name="csY86" fmla="*/ 156483 h 2095135"/>
              <a:gd name="csX87" fmla="*/ 408490 w 733006"/>
              <a:gd name="csY87" fmla="*/ 195400 h 2095135"/>
              <a:gd name="csX88" fmla="*/ 445346 w 733006"/>
              <a:gd name="csY88" fmla="*/ 197582 h 2095135"/>
              <a:gd name="csX89" fmla="*/ 464798 w 733006"/>
              <a:gd name="csY89" fmla="*/ 174107 h 2095135"/>
              <a:gd name="csX90" fmla="*/ 489970 w 733006"/>
              <a:gd name="csY90" fmla="*/ 152208 h 2095135"/>
              <a:gd name="csX91" fmla="*/ 140694 w 733006"/>
              <a:gd name="csY91" fmla="*/ 201837 h 2095135"/>
              <a:gd name="csX92" fmla="*/ 139834 w 733006"/>
              <a:gd name="csY92" fmla="*/ 201482 h 2095135"/>
              <a:gd name="csX93" fmla="*/ 140812 w 733006"/>
              <a:gd name="csY93" fmla="*/ 204941 h 2095135"/>
              <a:gd name="csX94" fmla="*/ 144631 w 733006"/>
              <a:gd name="csY94" fmla="*/ 217811 h 2095135"/>
              <a:gd name="csX95" fmla="*/ 201241 w 733006"/>
              <a:gd name="csY95" fmla="*/ 373387 h 2095135"/>
              <a:gd name="csX96" fmla="*/ 235971 w 733006"/>
              <a:gd name="csY96" fmla="*/ 504451 h 2095135"/>
              <a:gd name="csX97" fmla="*/ 247475 w 733006"/>
              <a:gd name="csY97" fmla="*/ 513241 h 2095135"/>
              <a:gd name="csX98" fmla="*/ 289066 w 733006"/>
              <a:gd name="csY98" fmla="*/ 511170 h 2095135"/>
              <a:gd name="csX99" fmla="*/ 378229 w 733006"/>
              <a:gd name="csY99" fmla="*/ 511084 h 2095135"/>
              <a:gd name="csX100" fmla="*/ 470850 w 733006"/>
              <a:gd name="csY100" fmla="*/ 516341 h 2095135"/>
              <a:gd name="csX101" fmla="*/ 492933 w 733006"/>
              <a:gd name="csY101" fmla="*/ 497969 h 2095135"/>
              <a:gd name="csX102" fmla="*/ 557617 w 733006"/>
              <a:gd name="csY102" fmla="*/ 280398 h 2095135"/>
              <a:gd name="csX103" fmla="*/ 588788 w 733006"/>
              <a:gd name="csY103" fmla="*/ 200385 h 2095135"/>
              <a:gd name="csX104" fmla="*/ 530958 w 733006"/>
              <a:gd name="csY104" fmla="*/ 232968 h 2095135"/>
              <a:gd name="csX105" fmla="*/ 483823 w 733006"/>
              <a:gd name="csY105" fmla="*/ 190364 h 2095135"/>
              <a:gd name="csX106" fmla="*/ 466649 w 733006"/>
              <a:gd name="csY106" fmla="*/ 209061 h 2095135"/>
              <a:gd name="csX107" fmla="*/ 399941 w 733006"/>
              <a:gd name="csY107" fmla="*/ 216988 h 2095135"/>
              <a:gd name="csX108" fmla="*/ 363018 w 733006"/>
              <a:gd name="csY108" fmla="*/ 179615 h 2095135"/>
              <a:gd name="csX109" fmla="*/ 308839 w 733006"/>
              <a:gd name="csY109" fmla="*/ 227846 h 2095135"/>
              <a:gd name="csX110" fmla="*/ 245077 w 733006"/>
              <a:gd name="csY110" fmla="*/ 192402 h 2095135"/>
              <a:gd name="csX111" fmla="*/ 242829 w 733006"/>
              <a:gd name="csY111" fmla="*/ 198815 h 2095135"/>
              <a:gd name="csX112" fmla="*/ 168452 w 733006"/>
              <a:gd name="csY112" fmla="*/ 219348 h 2095135"/>
              <a:gd name="csX113" fmla="*/ 140694 w 733006"/>
              <a:gd name="csY113" fmla="*/ 201837 h 2095135"/>
              <a:gd name="csX114" fmla="*/ 259999 w 733006"/>
              <a:gd name="csY114" fmla="*/ 966699 h 2095135"/>
              <a:gd name="csX115" fmla="*/ 257072 w 733006"/>
              <a:gd name="csY115" fmla="*/ 1070424 h 2095135"/>
              <a:gd name="csX116" fmla="*/ 251372 w 733006"/>
              <a:gd name="csY116" fmla="*/ 1157618 h 2095135"/>
              <a:gd name="csX117" fmla="*/ 232677 w 733006"/>
              <a:gd name="csY117" fmla="*/ 1320279 h 2095135"/>
              <a:gd name="csX118" fmla="*/ 209182 w 733006"/>
              <a:gd name="csY118" fmla="*/ 1468667 h 2095135"/>
              <a:gd name="csX119" fmla="*/ 175302 w 733006"/>
              <a:gd name="csY119" fmla="*/ 1616623 h 2095135"/>
              <a:gd name="csX120" fmla="*/ 182769 w 733006"/>
              <a:gd name="csY120" fmla="*/ 1629786 h 2095135"/>
              <a:gd name="csX121" fmla="*/ 212156 w 733006"/>
              <a:gd name="csY121" fmla="*/ 1632656 h 2095135"/>
              <a:gd name="csX122" fmla="*/ 351295 w 733006"/>
              <a:gd name="csY122" fmla="*/ 1632801 h 2095135"/>
              <a:gd name="csX123" fmla="*/ 376150 w 733006"/>
              <a:gd name="csY123" fmla="*/ 1608307 h 2095135"/>
              <a:gd name="csX124" fmla="*/ 373450 w 733006"/>
              <a:gd name="csY124" fmla="*/ 1457291 h 2095135"/>
              <a:gd name="csX125" fmla="*/ 370936 w 733006"/>
              <a:gd name="csY125" fmla="*/ 1342736 h 2095135"/>
              <a:gd name="csX126" fmla="*/ 368328 w 733006"/>
              <a:gd name="csY126" fmla="*/ 1203878 h 2095135"/>
              <a:gd name="csX127" fmla="*/ 367836 w 733006"/>
              <a:gd name="csY127" fmla="*/ 813478 h 2095135"/>
              <a:gd name="csX128" fmla="*/ 365240 w 733006"/>
              <a:gd name="csY128" fmla="*/ 773243 h 2095135"/>
              <a:gd name="csX129" fmla="*/ 353084 w 733006"/>
              <a:gd name="csY129" fmla="*/ 762083 h 2095135"/>
              <a:gd name="csX130" fmla="*/ 280966 w 733006"/>
              <a:gd name="csY130" fmla="*/ 759855 h 2095135"/>
              <a:gd name="csX131" fmla="*/ 259965 w 733006"/>
              <a:gd name="csY131" fmla="*/ 779553 h 2095135"/>
              <a:gd name="csX132" fmla="*/ 262341 w 733006"/>
              <a:gd name="csY132" fmla="*/ 856275 h 2095135"/>
              <a:gd name="csX133" fmla="*/ 259999 w 733006"/>
              <a:gd name="csY133" fmla="*/ 966699 h 2095135"/>
              <a:gd name="csX134" fmla="*/ 55556 w 733006"/>
              <a:gd name="csY134" fmla="*/ 1835827 h 2095135"/>
              <a:gd name="csX135" fmla="*/ 49393 w 733006"/>
              <a:gd name="csY135" fmla="*/ 1878155 h 2095135"/>
              <a:gd name="csX136" fmla="*/ 73949 w 733006"/>
              <a:gd name="csY136" fmla="*/ 1905781 h 2095135"/>
              <a:gd name="csX137" fmla="*/ 110073 w 733006"/>
              <a:gd name="csY137" fmla="*/ 1909068 h 2095135"/>
              <a:gd name="csX138" fmla="*/ 224745 w 733006"/>
              <a:gd name="csY138" fmla="*/ 1921652 h 2095135"/>
              <a:gd name="csX139" fmla="*/ 347327 w 733006"/>
              <a:gd name="csY139" fmla="*/ 1924778 h 2095135"/>
              <a:gd name="csX140" fmla="*/ 363345 w 733006"/>
              <a:gd name="csY140" fmla="*/ 1923293 h 2095135"/>
              <a:gd name="csX141" fmla="*/ 373787 w 733006"/>
              <a:gd name="csY141" fmla="*/ 1911200 h 2095135"/>
              <a:gd name="csX142" fmla="*/ 376623 w 733006"/>
              <a:gd name="csY142" fmla="*/ 1696741 h 2095135"/>
              <a:gd name="csX143" fmla="*/ 360437 w 733006"/>
              <a:gd name="csY143" fmla="*/ 1681289 h 2095135"/>
              <a:gd name="csX144" fmla="*/ 263503 w 733006"/>
              <a:gd name="csY144" fmla="*/ 1678179 h 2095135"/>
              <a:gd name="csX145" fmla="*/ 160381 w 733006"/>
              <a:gd name="csY145" fmla="*/ 1670405 h 2095135"/>
              <a:gd name="csX146" fmla="*/ 143321 w 733006"/>
              <a:gd name="csY146" fmla="*/ 1685538 h 2095135"/>
              <a:gd name="csX147" fmla="*/ 124769 w 733006"/>
              <a:gd name="csY147" fmla="*/ 1738195 h 2095135"/>
              <a:gd name="csX148" fmla="*/ 90593 w 733006"/>
              <a:gd name="csY148" fmla="*/ 1779570 h 2095135"/>
              <a:gd name="csX149" fmla="*/ 55556 w 733006"/>
              <a:gd name="csY149" fmla="*/ 1835827 h 2095135"/>
              <a:gd name="csX150" fmla="*/ 378900 w 733006"/>
              <a:gd name="csY150" fmla="*/ 2007280 h 2095135"/>
              <a:gd name="csX151" fmla="*/ 378887 w 733006"/>
              <a:gd name="csY151" fmla="*/ 1995127 h 2095135"/>
              <a:gd name="csX152" fmla="*/ 359084 w 733006"/>
              <a:gd name="csY152" fmla="*/ 1975964 h 2095135"/>
              <a:gd name="csX153" fmla="*/ 247288 w 733006"/>
              <a:gd name="csY153" fmla="*/ 1973305 h 2095135"/>
              <a:gd name="csX154" fmla="*/ 201692 w 733006"/>
              <a:gd name="csY154" fmla="*/ 1970275 h 2095135"/>
              <a:gd name="csX155" fmla="*/ 57962 w 733006"/>
              <a:gd name="csY155" fmla="*/ 1952648 h 2095135"/>
              <a:gd name="csX156" fmla="*/ 39194 w 733006"/>
              <a:gd name="csY156" fmla="*/ 1963552 h 2095135"/>
              <a:gd name="csX157" fmla="*/ 30066 w 733006"/>
              <a:gd name="csY157" fmla="*/ 2006631 h 2095135"/>
              <a:gd name="csX158" fmla="*/ 40232 w 733006"/>
              <a:gd name="csY158" fmla="*/ 2019486 h 2095135"/>
              <a:gd name="csX159" fmla="*/ 238186 w 733006"/>
              <a:gd name="csY159" fmla="*/ 2046096 h 2095135"/>
              <a:gd name="csX160" fmla="*/ 342155 w 733006"/>
              <a:gd name="csY160" fmla="*/ 2046441 h 2095135"/>
              <a:gd name="csX161" fmla="*/ 378900 w 733006"/>
              <a:gd name="csY161" fmla="*/ 2007280 h 2095135"/>
              <a:gd name="csX162" fmla="*/ 310220 w 733006"/>
              <a:gd name="csY162" fmla="*/ 554288 h 2095135"/>
              <a:gd name="csX163" fmla="*/ 259136 w 733006"/>
              <a:gd name="csY163" fmla="*/ 556881 h 2095135"/>
              <a:gd name="csX164" fmla="*/ 249085 w 733006"/>
              <a:gd name="csY164" fmla="*/ 567981 h 2095135"/>
              <a:gd name="csX165" fmla="*/ 249141 w 733006"/>
              <a:gd name="csY165" fmla="*/ 605644 h 2095135"/>
              <a:gd name="csX166" fmla="*/ 262628 w 733006"/>
              <a:gd name="csY166" fmla="*/ 605627 h 2095135"/>
              <a:gd name="csX167" fmla="*/ 369608 w 733006"/>
              <a:gd name="csY167" fmla="*/ 603027 h 2095135"/>
              <a:gd name="csX168" fmla="*/ 463931 w 733006"/>
              <a:gd name="csY168" fmla="*/ 605146 h 2095135"/>
              <a:gd name="csX169" fmla="*/ 478113 w 733006"/>
              <a:gd name="csY169" fmla="*/ 595843 h 2095135"/>
              <a:gd name="csX170" fmla="*/ 478796 w 733006"/>
              <a:gd name="csY170" fmla="*/ 556832 h 2095135"/>
              <a:gd name="csX171" fmla="*/ 310220 w 733006"/>
              <a:gd name="csY171" fmla="*/ 554288 h 2095135"/>
              <a:gd name="csX172" fmla="*/ 348836 w 733006"/>
              <a:gd name="csY172" fmla="*/ 684115 h 2095135"/>
              <a:gd name="csX173" fmla="*/ 281333 w 733006"/>
              <a:gd name="csY173" fmla="*/ 683313 h 2095135"/>
              <a:gd name="csX174" fmla="*/ 212728 w 733006"/>
              <a:gd name="csY174" fmla="*/ 681931 h 2095135"/>
              <a:gd name="csX175" fmla="*/ 187283 w 733006"/>
              <a:gd name="csY175" fmla="*/ 689555 h 2095135"/>
              <a:gd name="csX176" fmla="*/ 186163 w 733006"/>
              <a:gd name="csY176" fmla="*/ 718266 h 2095135"/>
              <a:gd name="csX177" fmla="*/ 209894 w 733006"/>
              <a:gd name="csY177" fmla="*/ 726798 h 2095135"/>
              <a:gd name="csX178" fmla="*/ 334814 w 733006"/>
              <a:gd name="csY178" fmla="*/ 732494 h 2095135"/>
              <a:gd name="csX179" fmla="*/ 364856 w 733006"/>
              <a:gd name="csY179" fmla="*/ 707963 h 2095135"/>
              <a:gd name="csX180" fmla="*/ 348836 w 733006"/>
              <a:gd name="csY180" fmla="*/ 684115 h 2095135"/>
              <a:gd name="csX181" fmla="*/ 298865 w 733006"/>
              <a:gd name="csY181" fmla="*/ 621954 h 2095135"/>
              <a:gd name="csX182" fmla="*/ 251619 w 733006"/>
              <a:gd name="csY182" fmla="*/ 622133 h 2095135"/>
              <a:gd name="csX183" fmla="*/ 214459 w 733006"/>
              <a:gd name="csY183" fmla="*/ 636230 h 2095135"/>
              <a:gd name="csX184" fmla="*/ 221436 w 733006"/>
              <a:gd name="csY184" fmla="*/ 654205 h 2095135"/>
              <a:gd name="csX185" fmla="*/ 272412 w 733006"/>
              <a:gd name="csY185" fmla="*/ 657250 h 2095135"/>
              <a:gd name="csX186" fmla="*/ 349094 w 733006"/>
              <a:gd name="csY186" fmla="*/ 659282 h 2095135"/>
              <a:gd name="csX187" fmla="*/ 362996 w 733006"/>
              <a:gd name="csY187" fmla="*/ 644234 h 2095135"/>
              <a:gd name="csX188" fmla="*/ 348472 w 733006"/>
              <a:gd name="csY188" fmla="*/ 624649 h 2095135"/>
              <a:gd name="csX189" fmla="*/ 298865 w 733006"/>
              <a:gd name="csY189" fmla="*/ 621954 h 2095135"/>
              <a:gd name="csX190" fmla="*/ 227796 w 733006"/>
              <a:gd name="csY190" fmla="*/ 528000 h 2095135"/>
              <a:gd name="csX191" fmla="*/ 241009 w 733006"/>
              <a:gd name="csY191" fmla="*/ 545897 h 2095135"/>
              <a:gd name="csX192" fmla="*/ 282607 w 733006"/>
              <a:gd name="csY192" fmla="*/ 543480 h 2095135"/>
              <a:gd name="csX193" fmla="*/ 354213 w 733006"/>
              <a:gd name="csY193" fmla="*/ 543384 h 2095135"/>
              <a:gd name="csX194" fmla="*/ 365334 w 733006"/>
              <a:gd name="csY194" fmla="*/ 533397 h 2095135"/>
              <a:gd name="csX195" fmla="*/ 354531 w 733006"/>
              <a:gd name="csY195" fmla="*/ 521620 h 2095135"/>
              <a:gd name="csX196" fmla="*/ 259169 w 733006"/>
              <a:gd name="csY196" fmla="*/ 521978 h 2095135"/>
              <a:gd name="csX197" fmla="*/ 227796 w 733006"/>
              <a:gd name="csY197" fmla="*/ 528000 h 2095135"/>
              <a:gd name="csX198" fmla="*/ 508068 w 733006"/>
              <a:gd name="csY198" fmla="*/ 190710 h 2095135"/>
              <a:gd name="csX199" fmla="*/ 521293 w 733006"/>
              <a:gd name="csY199" fmla="*/ 205907 h 2095135"/>
              <a:gd name="csX200" fmla="*/ 525175 w 733006"/>
              <a:gd name="csY200" fmla="*/ 202985 h 2095135"/>
              <a:gd name="csX201" fmla="*/ 500276 w 733006"/>
              <a:gd name="csY201" fmla="*/ 160640 h 2095135"/>
              <a:gd name="csX202" fmla="*/ 497122 w 733006"/>
              <a:gd name="csY202" fmla="*/ 162007 h 2095135"/>
              <a:gd name="csX203" fmla="*/ 508068 w 733006"/>
              <a:gd name="csY203" fmla="*/ 190710 h 2095135"/>
              <a:gd name="csX204" fmla="*/ 215522 w 733006"/>
              <a:gd name="csY204" fmla="*/ 197296 h 2095135"/>
              <a:gd name="csX205" fmla="*/ 234029 w 733006"/>
              <a:gd name="csY205" fmla="*/ 162725 h 2095135"/>
              <a:gd name="csX206" fmla="*/ 229000 w 733006"/>
              <a:gd name="csY206" fmla="*/ 159902 h 2095135"/>
              <a:gd name="csX207" fmla="*/ 204824 w 733006"/>
              <a:gd name="csY207" fmla="*/ 199677 h 2095135"/>
              <a:gd name="csX208" fmla="*/ 207990 w 733006"/>
              <a:gd name="csY208" fmla="*/ 202198 h 2095135"/>
              <a:gd name="csX209" fmla="*/ 215522 w 733006"/>
              <a:gd name="csY209" fmla="*/ 197296 h 2095135"/>
              <a:gd name="csX210" fmla="*/ 484400 w 733006"/>
              <a:gd name="csY210" fmla="*/ 896678 h 2095135"/>
              <a:gd name="csX211" fmla="*/ 486181 w 733006"/>
              <a:gd name="csY211" fmla="*/ 896585 h 2095135"/>
              <a:gd name="csX212" fmla="*/ 486181 w 733006"/>
              <a:gd name="csY212" fmla="*/ 795289 h 2095135"/>
              <a:gd name="csX213" fmla="*/ 720241 w 733006"/>
              <a:gd name="csY213" fmla="*/ 2030666 h 2095135"/>
              <a:gd name="csX214" fmla="*/ 721175 w 733006"/>
              <a:gd name="csY214" fmla="*/ 2029733 h 2095135"/>
              <a:gd name="csX215" fmla="*/ 720241 w 733006"/>
              <a:gd name="csY215" fmla="*/ 2030666 h 2095135"/>
              <a:gd name="csX216" fmla="*/ 715702 w 733006"/>
              <a:gd name="csY216" fmla="*/ 2037051 h 2095135"/>
              <a:gd name="csX217" fmla="*/ 715702 w 733006"/>
              <a:gd name="csY217" fmla="*/ 2037051 h 2095135"/>
              <a:gd name="csX0" fmla="*/ 96263 w 733006"/>
              <a:gd name="csY0" fmla="*/ 2076207 h 2095135"/>
              <a:gd name="csX1" fmla="*/ 63862 w 733006"/>
              <a:gd name="csY1" fmla="*/ 2065388 h 2095135"/>
              <a:gd name="csX2" fmla="*/ 16555 w 733006"/>
              <a:gd name="csY2" fmla="*/ 2050152 h 2095135"/>
              <a:gd name="csX3" fmla="*/ 15 w 733006"/>
              <a:gd name="csY3" fmla="*/ 2023802 h 2095135"/>
              <a:gd name="csX4" fmla="*/ 18368 w 733006"/>
              <a:gd name="csY4" fmla="*/ 1940709 h 2095135"/>
              <a:gd name="csX5" fmla="*/ 22139 w 733006"/>
              <a:gd name="csY5" fmla="*/ 1907268 h 2095135"/>
              <a:gd name="csX6" fmla="*/ 57941 w 733006"/>
              <a:gd name="csY6" fmla="*/ 1774163 h 2095135"/>
              <a:gd name="csX7" fmla="*/ 102478 w 733006"/>
              <a:gd name="csY7" fmla="*/ 1720275 h 2095135"/>
              <a:gd name="csX8" fmla="*/ 108579 w 733006"/>
              <a:gd name="csY8" fmla="*/ 1650967 h 2095135"/>
              <a:gd name="csX9" fmla="*/ 115628 w 733006"/>
              <a:gd name="csY9" fmla="*/ 1625405 h 2095135"/>
              <a:gd name="csX10" fmla="*/ 156323 w 733006"/>
              <a:gd name="csY10" fmla="*/ 1560181 h 2095135"/>
              <a:gd name="csX11" fmla="*/ 199424 w 733006"/>
              <a:gd name="csY11" fmla="*/ 1364729 h 2095135"/>
              <a:gd name="csX12" fmla="*/ 216779 w 733006"/>
              <a:gd name="csY12" fmla="*/ 1219490 h 2095135"/>
              <a:gd name="csX13" fmla="*/ 229755 w 733006"/>
              <a:gd name="csY13" fmla="*/ 1099357 h 2095135"/>
              <a:gd name="csX14" fmla="*/ 232707 w 733006"/>
              <a:gd name="csY14" fmla="*/ 1056423 h 2095135"/>
              <a:gd name="csX15" fmla="*/ 235622 w 733006"/>
              <a:gd name="csY15" fmla="*/ 952675 h 2095135"/>
              <a:gd name="csX16" fmla="*/ 235445 w 733006"/>
              <a:gd name="csY16" fmla="*/ 780278 h 2095135"/>
              <a:gd name="csX17" fmla="*/ 214544 w 733006"/>
              <a:gd name="csY17" fmla="*/ 756435 h 2095135"/>
              <a:gd name="csX18" fmla="*/ 172569 w 733006"/>
              <a:gd name="csY18" fmla="*/ 742582 h 2095135"/>
              <a:gd name="csX19" fmla="*/ 168784 w 733006"/>
              <a:gd name="csY19" fmla="*/ 669116 h 2095135"/>
              <a:gd name="csX20" fmla="*/ 191657 w 733006"/>
              <a:gd name="csY20" fmla="*/ 630765 h 2095135"/>
              <a:gd name="csX21" fmla="*/ 208150 w 733006"/>
              <a:gd name="csY21" fmla="*/ 609084 h 2095135"/>
              <a:gd name="csX22" fmla="*/ 216756 w 733006"/>
              <a:gd name="csY22" fmla="*/ 558673 h 2095135"/>
              <a:gd name="csX23" fmla="*/ 209092 w 733006"/>
              <a:gd name="csY23" fmla="*/ 521540 h 2095135"/>
              <a:gd name="csX24" fmla="*/ 204683 w 733006"/>
              <a:gd name="csY24" fmla="*/ 474024 h 2095135"/>
              <a:gd name="csX25" fmla="*/ 115483 w 733006"/>
              <a:gd name="csY25" fmla="*/ 213499 h 2095135"/>
              <a:gd name="csX26" fmla="*/ 102909 w 733006"/>
              <a:gd name="csY26" fmla="*/ 182297 h 2095135"/>
              <a:gd name="csX27" fmla="*/ 104315 w 733006"/>
              <a:gd name="csY27" fmla="*/ 163968 h 2095135"/>
              <a:gd name="csX28" fmla="*/ 122444 w 733006"/>
              <a:gd name="csY28" fmla="*/ 160805 h 2095135"/>
              <a:gd name="csX29" fmla="*/ 170283 w 733006"/>
              <a:gd name="csY29" fmla="*/ 187783 h 2095135"/>
              <a:gd name="csX30" fmla="*/ 180938 w 733006"/>
              <a:gd name="csY30" fmla="*/ 195322 h 2095135"/>
              <a:gd name="csX31" fmla="*/ 221419 w 733006"/>
              <a:gd name="csY31" fmla="*/ 138058 h 2095135"/>
              <a:gd name="csX32" fmla="*/ 294099 w 733006"/>
              <a:gd name="csY32" fmla="*/ 91372 h 2095135"/>
              <a:gd name="csX33" fmla="*/ 302307 w 733006"/>
              <a:gd name="csY33" fmla="*/ 76560 h 2095135"/>
              <a:gd name="csX34" fmla="*/ 320284 w 733006"/>
              <a:gd name="csY34" fmla="*/ 8414 h 2095135"/>
              <a:gd name="csX35" fmla="*/ 324784 w 733006"/>
              <a:gd name="csY35" fmla="*/ 946 h 2095135"/>
              <a:gd name="csX36" fmla="*/ 399212 w 733006"/>
              <a:gd name="csY36" fmla="*/ 0 h 2095135"/>
              <a:gd name="csX37" fmla="*/ 425980 w 733006"/>
              <a:gd name="csY37" fmla="*/ 78301 h 2095135"/>
              <a:gd name="csX38" fmla="*/ 431861 w 733006"/>
              <a:gd name="csY38" fmla="*/ 90312 h 2095135"/>
              <a:gd name="csX39" fmla="*/ 540349 w 733006"/>
              <a:gd name="csY39" fmla="*/ 187946 h 2095135"/>
              <a:gd name="csX40" fmla="*/ 545555 w 733006"/>
              <a:gd name="csY40" fmla="*/ 197828 h 2095135"/>
              <a:gd name="csX41" fmla="*/ 587318 w 733006"/>
              <a:gd name="csY41" fmla="*/ 171260 h 2095135"/>
              <a:gd name="csX42" fmla="*/ 601503 w 733006"/>
              <a:gd name="csY42" fmla="*/ 163707 h 2095135"/>
              <a:gd name="csX43" fmla="*/ 625254 w 733006"/>
              <a:gd name="csY43" fmla="*/ 163123 h 2095135"/>
              <a:gd name="csX44" fmla="*/ 625468 w 733006"/>
              <a:gd name="csY44" fmla="*/ 187579 h 2095135"/>
              <a:gd name="csX45" fmla="*/ 597543 w 733006"/>
              <a:gd name="csY45" fmla="*/ 251872 h 2095135"/>
              <a:gd name="csX46" fmla="*/ 531831 w 733006"/>
              <a:gd name="csY46" fmla="*/ 442689 h 2095135"/>
              <a:gd name="csX47" fmla="*/ 519888 w 733006"/>
              <a:gd name="csY47" fmla="*/ 501474 h 2095135"/>
              <a:gd name="csX48" fmla="*/ 522506 w 733006"/>
              <a:gd name="csY48" fmla="*/ 525086 h 2095135"/>
              <a:gd name="csX49" fmla="*/ 516235 w 733006"/>
              <a:gd name="csY49" fmla="*/ 555946 h 2095135"/>
              <a:gd name="csX50" fmla="*/ 521332 w 733006"/>
              <a:gd name="csY50" fmla="*/ 610676 h 2095135"/>
              <a:gd name="csX51" fmla="*/ 541382 w 733006"/>
              <a:gd name="csY51" fmla="*/ 642597 h 2095135"/>
              <a:gd name="csX52" fmla="*/ 557031 w 733006"/>
              <a:gd name="csY52" fmla="*/ 667949 h 2095135"/>
              <a:gd name="csX53" fmla="*/ 553994 w 733006"/>
              <a:gd name="csY53" fmla="*/ 744146 h 2095135"/>
              <a:gd name="csX54" fmla="*/ 508215 w 733006"/>
              <a:gd name="csY54" fmla="*/ 758841 h 2095135"/>
              <a:gd name="csX55" fmla="*/ 497442 w 733006"/>
              <a:gd name="csY55" fmla="*/ 771256 h 2095135"/>
              <a:gd name="csX56" fmla="*/ 493005 w 733006"/>
              <a:gd name="csY56" fmla="*/ 922055 h 2095135"/>
              <a:gd name="csX57" fmla="*/ 502900 w 733006"/>
              <a:gd name="csY57" fmla="*/ 1114191 h 2095135"/>
              <a:gd name="csX58" fmla="*/ 508800 w 733006"/>
              <a:gd name="csY58" fmla="*/ 1205474 h 2095135"/>
              <a:gd name="csX59" fmla="*/ 522952 w 733006"/>
              <a:gd name="csY59" fmla="*/ 1320065 h 2095135"/>
              <a:gd name="csX60" fmla="*/ 554682 w 733006"/>
              <a:gd name="csY60" fmla="*/ 1501203 h 2095135"/>
              <a:gd name="csX61" fmla="*/ 576958 w 733006"/>
              <a:gd name="csY61" fmla="*/ 1593963 h 2095135"/>
              <a:gd name="csX62" fmla="*/ 595349 w 733006"/>
              <a:gd name="csY62" fmla="*/ 1613498 h 2095135"/>
              <a:gd name="csX63" fmla="*/ 613936 w 733006"/>
              <a:gd name="csY63" fmla="*/ 1624058 h 2095135"/>
              <a:gd name="csX64" fmla="*/ 620938 w 733006"/>
              <a:gd name="csY64" fmla="*/ 1652071 h 2095135"/>
              <a:gd name="csX65" fmla="*/ 630805 w 733006"/>
              <a:gd name="csY65" fmla="*/ 1721702 h 2095135"/>
              <a:gd name="csX66" fmla="*/ 685830 w 733006"/>
              <a:gd name="csY66" fmla="*/ 1792915 h 2095135"/>
              <a:gd name="csX67" fmla="*/ 708904 w 733006"/>
              <a:gd name="csY67" fmla="*/ 1890290 h 2095135"/>
              <a:gd name="csX68" fmla="*/ 716580 w 733006"/>
              <a:gd name="csY68" fmla="*/ 1951136 h 2095135"/>
              <a:gd name="csX69" fmla="*/ 729397 w 733006"/>
              <a:gd name="csY69" fmla="*/ 2030261 h 2095135"/>
              <a:gd name="csX70" fmla="*/ 714212 w 733006"/>
              <a:gd name="csY70" fmla="*/ 2049544 h 2095135"/>
              <a:gd name="csX71" fmla="*/ 96263 w 733006"/>
              <a:gd name="csY71" fmla="*/ 2076207 h 2095135"/>
              <a:gd name="csX72" fmla="*/ 489970 w 733006"/>
              <a:gd name="csY72" fmla="*/ 152208 h 2095135"/>
              <a:gd name="csX73" fmla="*/ 490754 w 733006"/>
              <a:gd name="csY73" fmla="*/ 152592 h 2095135"/>
              <a:gd name="csX74" fmla="*/ 489489 w 733006"/>
              <a:gd name="csY74" fmla="*/ 149547 h 2095135"/>
              <a:gd name="csX75" fmla="*/ 393621 w 733006"/>
              <a:gd name="csY75" fmla="*/ 99259 h 2095135"/>
              <a:gd name="csX76" fmla="*/ 390419 w 733006"/>
              <a:gd name="csY76" fmla="*/ 18568 h 2095135"/>
              <a:gd name="csX77" fmla="*/ 334131 w 733006"/>
              <a:gd name="csY77" fmla="*/ 24327 h 2095135"/>
              <a:gd name="csX78" fmla="*/ 344678 w 733006"/>
              <a:gd name="csY78" fmla="*/ 101259 h 2095135"/>
              <a:gd name="csX79" fmla="*/ 298854 w 733006"/>
              <a:gd name="csY79" fmla="*/ 114003 h 2095135"/>
              <a:gd name="csX80" fmla="*/ 237456 w 733006"/>
              <a:gd name="csY80" fmla="*/ 154340 h 2095135"/>
              <a:gd name="csX81" fmla="*/ 240382 w 733006"/>
              <a:gd name="csY81" fmla="*/ 154035 h 2095135"/>
              <a:gd name="csX82" fmla="*/ 262731 w 733006"/>
              <a:gd name="csY82" fmla="*/ 170426 h 2095135"/>
              <a:gd name="csX83" fmla="*/ 279169 w 733006"/>
              <a:gd name="csY83" fmla="*/ 193173 h 2095135"/>
              <a:gd name="csX84" fmla="*/ 327717 w 733006"/>
              <a:gd name="csY84" fmla="*/ 188556 h 2095135"/>
              <a:gd name="csX85" fmla="*/ 348052 w 733006"/>
              <a:gd name="csY85" fmla="*/ 156919 h 2095135"/>
              <a:gd name="csX86" fmla="*/ 380330 w 733006"/>
              <a:gd name="csY86" fmla="*/ 156483 h 2095135"/>
              <a:gd name="csX87" fmla="*/ 408490 w 733006"/>
              <a:gd name="csY87" fmla="*/ 195400 h 2095135"/>
              <a:gd name="csX88" fmla="*/ 445346 w 733006"/>
              <a:gd name="csY88" fmla="*/ 197582 h 2095135"/>
              <a:gd name="csX89" fmla="*/ 464798 w 733006"/>
              <a:gd name="csY89" fmla="*/ 174107 h 2095135"/>
              <a:gd name="csX90" fmla="*/ 489970 w 733006"/>
              <a:gd name="csY90" fmla="*/ 152208 h 2095135"/>
              <a:gd name="csX91" fmla="*/ 140694 w 733006"/>
              <a:gd name="csY91" fmla="*/ 201837 h 2095135"/>
              <a:gd name="csX92" fmla="*/ 139834 w 733006"/>
              <a:gd name="csY92" fmla="*/ 201482 h 2095135"/>
              <a:gd name="csX93" fmla="*/ 140812 w 733006"/>
              <a:gd name="csY93" fmla="*/ 204941 h 2095135"/>
              <a:gd name="csX94" fmla="*/ 144631 w 733006"/>
              <a:gd name="csY94" fmla="*/ 217811 h 2095135"/>
              <a:gd name="csX95" fmla="*/ 201241 w 733006"/>
              <a:gd name="csY95" fmla="*/ 373387 h 2095135"/>
              <a:gd name="csX96" fmla="*/ 235971 w 733006"/>
              <a:gd name="csY96" fmla="*/ 504451 h 2095135"/>
              <a:gd name="csX97" fmla="*/ 247475 w 733006"/>
              <a:gd name="csY97" fmla="*/ 513241 h 2095135"/>
              <a:gd name="csX98" fmla="*/ 289066 w 733006"/>
              <a:gd name="csY98" fmla="*/ 511170 h 2095135"/>
              <a:gd name="csX99" fmla="*/ 378229 w 733006"/>
              <a:gd name="csY99" fmla="*/ 511084 h 2095135"/>
              <a:gd name="csX100" fmla="*/ 470850 w 733006"/>
              <a:gd name="csY100" fmla="*/ 516341 h 2095135"/>
              <a:gd name="csX101" fmla="*/ 492933 w 733006"/>
              <a:gd name="csY101" fmla="*/ 497969 h 2095135"/>
              <a:gd name="csX102" fmla="*/ 557617 w 733006"/>
              <a:gd name="csY102" fmla="*/ 280398 h 2095135"/>
              <a:gd name="csX103" fmla="*/ 588788 w 733006"/>
              <a:gd name="csY103" fmla="*/ 200385 h 2095135"/>
              <a:gd name="csX104" fmla="*/ 530958 w 733006"/>
              <a:gd name="csY104" fmla="*/ 232968 h 2095135"/>
              <a:gd name="csX105" fmla="*/ 483823 w 733006"/>
              <a:gd name="csY105" fmla="*/ 190364 h 2095135"/>
              <a:gd name="csX106" fmla="*/ 466649 w 733006"/>
              <a:gd name="csY106" fmla="*/ 209061 h 2095135"/>
              <a:gd name="csX107" fmla="*/ 399941 w 733006"/>
              <a:gd name="csY107" fmla="*/ 216988 h 2095135"/>
              <a:gd name="csX108" fmla="*/ 363018 w 733006"/>
              <a:gd name="csY108" fmla="*/ 179615 h 2095135"/>
              <a:gd name="csX109" fmla="*/ 308839 w 733006"/>
              <a:gd name="csY109" fmla="*/ 227846 h 2095135"/>
              <a:gd name="csX110" fmla="*/ 245077 w 733006"/>
              <a:gd name="csY110" fmla="*/ 192402 h 2095135"/>
              <a:gd name="csX111" fmla="*/ 242829 w 733006"/>
              <a:gd name="csY111" fmla="*/ 198815 h 2095135"/>
              <a:gd name="csX112" fmla="*/ 168452 w 733006"/>
              <a:gd name="csY112" fmla="*/ 219348 h 2095135"/>
              <a:gd name="csX113" fmla="*/ 140694 w 733006"/>
              <a:gd name="csY113" fmla="*/ 201837 h 2095135"/>
              <a:gd name="csX114" fmla="*/ 259999 w 733006"/>
              <a:gd name="csY114" fmla="*/ 966699 h 2095135"/>
              <a:gd name="csX115" fmla="*/ 257072 w 733006"/>
              <a:gd name="csY115" fmla="*/ 1070424 h 2095135"/>
              <a:gd name="csX116" fmla="*/ 251372 w 733006"/>
              <a:gd name="csY116" fmla="*/ 1157618 h 2095135"/>
              <a:gd name="csX117" fmla="*/ 232677 w 733006"/>
              <a:gd name="csY117" fmla="*/ 1320279 h 2095135"/>
              <a:gd name="csX118" fmla="*/ 209182 w 733006"/>
              <a:gd name="csY118" fmla="*/ 1468667 h 2095135"/>
              <a:gd name="csX119" fmla="*/ 175302 w 733006"/>
              <a:gd name="csY119" fmla="*/ 1616623 h 2095135"/>
              <a:gd name="csX120" fmla="*/ 182769 w 733006"/>
              <a:gd name="csY120" fmla="*/ 1629786 h 2095135"/>
              <a:gd name="csX121" fmla="*/ 212156 w 733006"/>
              <a:gd name="csY121" fmla="*/ 1632656 h 2095135"/>
              <a:gd name="csX122" fmla="*/ 351295 w 733006"/>
              <a:gd name="csY122" fmla="*/ 1632801 h 2095135"/>
              <a:gd name="csX123" fmla="*/ 376150 w 733006"/>
              <a:gd name="csY123" fmla="*/ 1608307 h 2095135"/>
              <a:gd name="csX124" fmla="*/ 373450 w 733006"/>
              <a:gd name="csY124" fmla="*/ 1457291 h 2095135"/>
              <a:gd name="csX125" fmla="*/ 370936 w 733006"/>
              <a:gd name="csY125" fmla="*/ 1342736 h 2095135"/>
              <a:gd name="csX126" fmla="*/ 368328 w 733006"/>
              <a:gd name="csY126" fmla="*/ 1203878 h 2095135"/>
              <a:gd name="csX127" fmla="*/ 367836 w 733006"/>
              <a:gd name="csY127" fmla="*/ 813478 h 2095135"/>
              <a:gd name="csX128" fmla="*/ 365240 w 733006"/>
              <a:gd name="csY128" fmla="*/ 773243 h 2095135"/>
              <a:gd name="csX129" fmla="*/ 353084 w 733006"/>
              <a:gd name="csY129" fmla="*/ 762083 h 2095135"/>
              <a:gd name="csX130" fmla="*/ 280966 w 733006"/>
              <a:gd name="csY130" fmla="*/ 759855 h 2095135"/>
              <a:gd name="csX131" fmla="*/ 259965 w 733006"/>
              <a:gd name="csY131" fmla="*/ 779553 h 2095135"/>
              <a:gd name="csX132" fmla="*/ 262341 w 733006"/>
              <a:gd name="csY132" fmla="*/ 856275 h 2095135"/>
              <a:gd name="csX133" fmla="*/ 259999 w 733006"/>
              <a:gd name="csY133" fmla="*/ 966699 h 2095135"/>
              <a:gd name="csX134" fmla="*/ 55556 w 733006"/>
              <a:gd name="csY134" fmla="*/ 1835827 h 2095135"/>
              <a:gd name="csX135" fmla="*/ 49393 w 733006"/>
              <a:gd name="csY135" fmla="*/ 1878155 h 2095135"/>
              <a:gd name="csX136" fmla="*/ 73949 w 733006"/>
              <a:gd name="csY136" fmla="*/ 1905781 h 2095135"/>
              <a:gd name="csX137" fmla="*/ 110073 w 733006"/>
              <a:gd name="csY137" fmla="*/ 1909068 h 2095135"/>
              <a:gd name="csX138" fmla="*/ 224745 w 733006"/>
              <a:gd name="csY138" fmla="*/ 1921652 h 2095135"/>
              <a:gd name="csX139" fmla="*/ 347327 w 733006"/>
              <a:gd name="csY139" fmla="*/ 1924778 h 2095135"/>
              <a:gd name="csX140" fmla="*/ 363345 w 733006"/>
              <a:gd name="csY140" fmla="*/ 1923293 h 2095135"/>
              <a:gd name="csX141" fmla="*/ 373787 w 733006"/>
              <a:gd name="csY141" fmla="*/ 1911200 h 2095135"/>
              <a:gd name="csX142" fmla="*/ 376623 w 733006"/>
              <a:gd name="csY142" fmla="*/ 1696741 h 2095135"/>
              <a:gd name="csX143" fmla="*/ 360437 w 733006"/>
              <a:gd name="csY143" fmla="*/ 1681289 h 2095135"/>
              <a:gd name="csX144" fmla="*/ 263503 w 733006"/>
              <a:gd name="csY144" fmla="*/ 1678179 h 2095135"/>
              <a:gd name="csX145" fmla="*/ 160381 w 733006"/>
              <a:gd name="csY145" fmla="*/ 1670405 h 2095135"/>
              <a:gd name="csX146" fmla="*/ 143321 w 733006"/>
              <a:gd name="csY146" fmla="*/ 1685538 h 2095135"/>
              <a:gd name="csX147" fmla="*/ 124769 w 733006"/>
              <a:gd name="csY147" fmla="*/ 1738195 h 2095135"/>
              <a:gd name="csX148" fmla="*/ 90593 w 733006"/>
              <a:gd name="csY148" fmla="*/ 1779570 h 2095135"/>
              <a:gd name="csX149" fmla="*/ 55556 w 733006"/>
              <a:gd name="csY149" fmla="*/ 1835827 h 2095135"/>
              <a:gd name="csX150" fmla="*/ 378900 w 733006"/>
              <a:gd name="csY150" fmla="*/ 2007280 h 2095135"/>
              <a:gd name="csX151" fmla="*/ 378887 w 733006"/>
              <a:gd name="csY151" fmla="*/ 1995127 h 2095135"/>
              <a:gd name="csX152" fmla="*/ 359084 w 733006"/>
              <a:gd name="csY152" fmla="*/ 1975964 h 2095135"/>
              <a:gd name="csX153" fmla="*/ 247288 w 733006"/>
              <a:gd name="csY153" fmla="*/ 1973305 h 2095135"/>
              <a:gd name="csX154" fmla="*/ 201692 w 733006"/>
              <a:gd name="csY154" fmla="*/ 1970275 h 2095135"/>
              <a:gd name="csX155" fmla="*/ 57962 w 733006"/>
              <a:gd name="csY155" fmla="*/ 1952648 h 2095135"/>
              <a:gd name="csX156" fmla="*/ 39194 w 733006"/>
              <a:gd name="csY156" fmla="*/ 1963552 h 2095135"/>
              <a:gd name="csX157" fmla="*/ 30066 w 733006"/>
              <a:gd name="csY157" fmla="*/ 2006631 h 2095135"/>
              <a:gd name="csX158" fmla="*/ 40232 w 733006"/>
              <a:gd name="csY158" fmla="*/ 2019486 h 2095135"/>
              <a:gd name="csX159" fmla="*/ 238186 w 733006"/>
              <a:gd name="csY159" fmla="*/ 2046096 h 2095135"/>
              <a:gd name="csX160" fmla="*/ 342155 w 733006"/>
              <a:gd name="csY160" fmla="*/ 2046441 h 2095135"/>
              <a:gd name="csX161" fmla="*/ 378900 w 733006"/>
              <a:gd name="csY161" fmla="*/ 2007280 h 2095135"/>
              <a:gd name="csX162" fmla="*/ 310220 w 733006"/>
              <a:gd name="csY162" fmla="*/ 554288 h 2095135"/>
              <a:gd name="csX163" fmla="*/ 259136 w 733006"/>
              <a:gd name="csY163" fmla="*/ 556881 h 2095135"/>
              <a:gd name="csX164" fmla="*/ 249085 w 733006"/>
              <a:gd name="csY164" fmla="*/ 567981 h 2095135"/>
              <a:gd name="csX165" fmla="*/ 249141 w 733006"/>
              <a:gd name="csY165" fmla="*/ 605644 h 2095135"/>
              <a:gd name="csX166" fmla="*/ 262628 w 733006"/>
              <a:gd name="csY166" fmla="*/ 605627 h 2095135"/>
              <a:gd name="csX167" fmla="*/ 369608 w 733006"/>
              <a:gd name="csY167" fmla="*/ 603027 h 2095135"/>
              <a:gd name="csX168" fmla="*/ 463931 w 733006"/>
              <a:gd name="csY168" fmla="*/ 605146 h 2095135"/>
              <a:gd name="csX169" fmla="*/ 478113 w 733006"/>
              <a:gd name="csY169" fmla="*/ 595843 h 2095135"/>
              <a:gd name="csX170" fmla="*/ 478796 w 733006"/>
              <a:gd name="csY170" fmla="*/ 556832 h 2095135"/>
              <a:gd name="csX171" fmla="*/ 310220 w 733006"/>
              <a:gd name="csY171" fmla="*/ 554288 h 2095135"/>
              <a:gd name="csX172" fmla="*/ 348836 w 733006"/>
              <a:gd name="csY172" fmla="*/ 684115 h 2095135"/>
              <a:gd name="csX173" fmla="*/ 281333 w 733006"/>
              <a:gd name="csY173" fmla="*/ 683313 h 2095135"/>
              <a:gd name="csX174" fmla="*/ 212728 w 733006"/>
              <a:gd name="csY174" fmla="*/ 681931 h 2095135"/>
              <a:gd name="csX175" fmla="*/ 187283 w 733006"/>
              <a:gd name="csY175" fmla="*/ 689555 h 2095135"/>
              <a:gd name="csX176" fmla="*/ 186163 w 733006"/>
              <a:gd name="csY176" fmla="*/ 718266 h 2095135"/>
              <a:gd name="csX177" fmla="*/ 209894 w 733006"/>
              <a:gd name="csY177" fmla="*/ 726798 h 2095135"/>
              <a:gd name="csX178" fmla="*/ 334814 w 733006"/>
              <a:gd name="csY178" fmla="*/ 732494 h 2095135"/>
              <a:gd name="csX179" fmla="*/ 364856 w 733006"/>
              <a:gd name="csY179" fmla="*/ 707963 h 2095135"/>
              <a:gd name="csX180" fmla="*/ 348836 w 733006"/>
              <a:gd name="csY180" fmla="*/ 684115 h 2095135"/>
              <a:gd name="csX181" fmla="*/ 298865 w 733006"/>
              <a:gd name="csY181" fmla="*/ 621954 h 2095135"/>
              <a:gd name="csX182" fmla="*/ 251619 w 733006"/>
              <a:gd name="csY182" fmla="*/ 622133 h 2095135"/>
              <a:gd name="csX183" fmla="*/ 214459 w 733006"/>
              <a:gd name="csY183" fmla="*/ 636230 h 2095135"/>
              <a:gd name="csX184" fmla="*/ 221436 w 733006"/>
              <a:gd name="csY184" fmla="*/ 654205 h 2095135"/>
              <a:gd name="csX185" fmla="*/ 272412 w 733006"/>
              <a:gd name="csY185" fmla="*/ 657250 h 2095135"/>
              <a:gd name="csX186" fmla="*/ 349094 w 733006"/>
              <a:gd name="csY186" fmla="*/ 659282 h 2095135"/>
              <a:gd name="csX187" fmla="*/ 362996 w 733006"/>
              <a:gd name="csY187" fmla="*/ 644234 h 2095135"/>
              <a:gd name="csX188" fmla="*/ 348472 w 733006"/>
              <a:gd name="csY188" fmla="*/ 624649 h 2095135"/>
              <a:gd name="csX189" fmla="*/ 298865 w 733006"/>
              <a:gd name="csY189" fmla="*/ 621954 h 2095135"/>
              <a:gd name="csX190" fmla="*/ 227796 w 733006"/>
              <a:gd name="csY190" fmla="*/ 528000 h 2095135"/>
              <a:gd name="csX191" fmla="*/ 241009 w 733006"/>
              <a:gd name="csY191" fmla="*/ 545897 h 2095135"/>
              <a:gd name="csX192" fmla="*/ 282607 w 733006"/>
              <a:gd name="csY192" fmla="*/ 543480 h 2095135"/>
              <a:gd name="csX193" fmla="*/ 354213 w 733006"/>
              <a:gd name="csY193" fmla="*/ 543384 h 2095135"/>
              <a:gd name="csX194" fmla="*/ 365334 w 733006"/>
              <a:gd name="csY194" fmla="*/ 533397 h 2095135"/>
              <a:gd name="csX195" fmla="*/ 354531 w 733006"/>
              <a:gd name="csY195" fmla="*/ 521620 h 2095135"/>
              <a:gd name="csX196" fmla="*/ 259169 w 733006"/>
              <a:gd name="csY196" fmla="*/ 521978 h 2095135"/>
              <a:gd name="csX197" fmla="*/ 227796 w 733006"/>
              <a:gd name="csY197" fmla="*/ 528000 h 2095135"/>
              <a:gd name="csX198" fmla="*/ 508068 w 733006"/>
              <a:gd name="csY198" fmla="*/ 190710 h 2095135"/>
              <a:gd name="csX199" fmla="*/ 521293 w 733006"/>
              <a:gd name="csY199" fmla="*/ 205907 h 2095135"/>
              <a:gd name="csX200" fmla="*/ 525175 w 733006"/>
              <a:gd name="csY200" fmla="*/ 202985 h 2095135"/>
              <a:gd name="csX201" fmla="*/ 500276 w 733006"/>
              <a:gd name="csY201" fmla="*/ 160640 h 2095135"/>
              <a:gd name="csX202" fmla="*/ 497122 w 733006"/>
              <a:gd name="csY202" fmla="*/ 162007 h 2095135"/>
              <a:gd name="csX203" fmla="*/ 508068 w 733006"/>
              <a:gd name="csY203" fmla="*/ 190710 h 2095135"/>
              <a:gd name="csX204" fmla="*/ 215522 w 733006"/>
              <a:gd name="csY204" fmla="*/ 197296 h 2095135"/>
              <a:gd name="csX205" fmla="*/ 234029 w 733006"/>
              <a:gd name="csY205" fmla="*/ 162725 h 2095135"/>
              <a:gd name="csX206" fmla="*/ 229000 w 733006"/>
              <a:gd name="csY206" fmla="*/ 159902 h 2095135"/>
              <a:gd name="csX207" fmla="*/ 204824 w 733006"/>
              <a:gd name="csY207" fmla="*/ 199677 h 2095135"/>
              <a:gd name="csX208" fmla="*/ 207990 w 733006"/>
              <a:gd name="csY208" fmla="*/ 202198 h 2095135"/>
              <a:gd name="csX209" fmla="*/ 215522 w 733006"/>
              <a:gd name="csY209" fmla="*/ 197296 h 2095135"/>
              <a:gd name="csX210" fmla="*/ 484400 w 733006"/>
              <a:gd name="csY210" fmla="*/ 896678 h 2095135"/>
              <a:gd name="csX211" fmla="*/ 486181 w 733006"/>
              <a:gd name="csY211" fmla="*/ 896585 h 2095135"/>
              <a:gd name="csX212" fmla="*/ 486181 w 733006"/>
              <a:gd name="csY212" fmla="*/ 795289 h 2095135"/>
              <a:gd name="csX213" fmla="*/ 720241 w 733006"/>
              <a:gd name="csY213" fmla="*/ 2030666 h 2095135"/>
              <a:gd name="csX214" fmla="*/ 721175 w 733006"/>
              <a:gd name="csY214" fmla="*/ 2029733 h 2095135"/>
              <a:gd name="csX215" fmla="*/ 720241 w 733006"/>
              <a:gd name="csY215" fmla="*/ 2030666 h 2095135"/>
              <a:gd name="csX216" fmla="*/ 715702 w 733006"/>
              <a:gd name="csY216" fmla="*/ 2037051 h 2095135"/>
              <a:gd name="csX217" fmla="*/ 715702 w 733006"/>
              <a:gd name="csY217" fmla="*/ 2037051 h 2095135"/>
              <a:gd name="csX0" fmla="*/ 96263 w 733006"/>
              <a:gd name="csY0" fmla="*/ 2076207 h 2095135"/>
              <a:gd name="csX1" fmla="*/ 63862 w 733006"/>
              <a:gd name="csY1" fmla="*/ 2065388 h 2095135"/>
              <a:gd name="csX2" fmla="*/ 16555 w 733006"/>
              <a:gd name="csY2" fmla="*/ 2050152 h 2095135"/>
              <a:gd name="csX3" fmla="*/ 15 w 733006"/>
              <a:gd name="csY3" fmla="*/ 2023802 h 2095135"/>
              <a:gd name="csX4" fmla="*/ 18368 w 733006"/>
              <a:gd name="csY4" fmla="*/ 1940709 h 2095135"/>
              <a:gd name="csX5" fmla="*/ 22139 w 733006"/>
              <a:gd name="csY5" fmla="*/ 1907268 h 2095135"/>
              <a:gd name="csX6" fmla="*/ 57941 w 733006"/>
              <a:gd name="csY6" fmla="*/ 1774163 h 2095135"/>
              <a:gd name="csX7" fmla="*/ 102478 w 733006"/>
              <a:gd name="csY7" fmla="*/ 1720275 h 2095135"/>
              <a:gd name="csX8" fmla="*/ 108579 w 733006"/>
              <a:gd name="csY8" fmla="*/ 1650967 h 2095135"/>
              <a:gd name="csX9" fmla="*/ 115628 w 733006"/>
              <a:gd name="csY9" fmla="*/ 1625405 h 2095135"/>
              <a:gd name="csX10" fmla="*/ 156323 w 733006"/>
              <a:gd name="csY10" fmla="*/ 1560181 h 2095135"/>
              <a:gd name="csX11" fmla="*/ 199424 w 733006"/>
              <a:gd name="csY11" fmla="*/ 1364729 h 2095135"/>
              <a:gd name="csX12" fmla="*/ 216779 w 733006"/>
              <a:gd name="csY12" fmla="*/ 1219490 h 2095135"/>
              <a:gd name="csX13" fmla="*/ 229755 w 733006"/>
              <a:gd name="csY13" fmla="*/ 1099357 h 2095135"/>
              <a:gd name="csX14" fmla="*/ 232707 w 733006"/>
              <a:gd name="csY14" fmla="*/ 1056423 h 2095135"/>
              <a:gd name="csX15" fmla="*/ 235622 w 733006"/>
              <a:gd name="csY15" fmla="*/ 952675 h 2095135"/>
              <a:gd name="csX16" fmla="*/ 235445 w 733006"/>
              <a:gd name="csY16" fmla="*/ 780278 h 2095135"/>
              <a:gd name="csX17" fmla="*/ 214544 w 733006"/>
              <a:gd name="csY17" fmla="*/ 756435 h 2095135"/>
              <a:gd name="csX18" fmla="*/ 172569 w 733006"/>
              <a:gd name="csY18" fmla="*/ 742582 h 2095135"/>
              <a:gd name="csX19" fmla="*/ 168784 w 733006"/>
              <a:gd name="csY19" fmla="*/ 669116 h 2095135"/>
              <a:gd name="csX20" fmla="*/ 191657 w 733006"/>
              <a:gd name="csY20" fmla="*/ 630765 h 2095135"/>
              <a:gd name="csX21" fmla="*/ 208150 w 733006"/>
              <a:gd name="csY21" fmla="*/ 609084 h 2095135"/>
              <a:gd name="csX22" fmla="*/ 216756 w 733006"/>
              <a:gd name="csY22" fmla="*/ 558673 h 2095135"/>
              <a:gd name="csX23" fmla="*/ 209092 w 733006"/>
              <a:gd name="csY23" fmla="*/ 521540 h 2095135"/>
              <a:gd name="csX24" fmla="*/ 204683 w 733006"/>
              <a:gd name="csY24" fmla="*/ 474024 h 2095135"/>
              <a:gd name="csX25" fmla="*/ 115483 w 733006"/>
              <a:gd name="csY25" fmla="*/ 213499 h 2095135"/>
              <a:gd name="csX26" fmla="*/ 102909 w 733006"/>
              <a:gd name="csY26" fmla="*/ 182297 h 2095135"/>
              <a:gd name="csX27" fmla="*/ 104315 w 733006"/>
              <a:gd name="csY27" fmla="*/ 163968 h 2095135"/>
              <a:gd name="csX28" fmla="*/ 122444 w 733006"/>
              <a:gd name="csY28" fmla="*/ 160805 h 2095135"/>
              <a:gd name="csX29" fmla="*/ 170283 w 733006"/>
              <a:gd name="csY29" fmla="*/ 187783 h 2095135"/>
              <a:gd name="csX30" fmla="*/ 180938 w 733006"/>
              <a:gd name="csY30" fmla="*/ 195322 h 2095135"/>
              <a:gd name="csX31" fmla="*/ 221419 w 733006"/>
              <a:gd name="csY31" fmla="*/ 138058 h 2095135"/>
              <a:gd name="csX32" fmla="*/ 294099 w 733006"/>
              <a:gd name="csY32" fmla="*/ 91372 h 2095135"/>
              <a:gd name="csX33" fmla="*/ 302307 w 733006"/>
              <a:gd name="csY33" fmla="*/ 76560 h 2095135"/>
              <a:gd name="csX34" fmla="*/ 320284 w 733006"/>
              <a:gd name="csY34" fmla="*/ 8414 h 2095135"/>
              <a:gd name="csX35" fmla="*/ 324784 w 733006"/>
              <a:gd name="csY35" fmla="*/ 946 h 2095135"/>
              <a:gd name="csX36" fmla="*/ 399212 w 733006"/>
              <a:gd name="csY36" fmla="*/ 0 h 2095135"/>
              <a:gd name="csX37" fmla="*/ 425980 w 733006"/>
              <a:gd name="csY37" fmla="*/ 78301 h 2095135"/>
              <a:gd name="csX38" fmla="*/ 431861 w 733006"/>
              <a:gd name="csY38" fmla="*/ 90312 h 2095135"/>
              <a:gd name="csX39" fmla="*/ 540349 w 733006"/>
              <a:gd name="csY39" fmla="*/ 187946 h 2095135"/>
              <a:gd name="csX40" fmla="*/ 545555 w 733006"/>
              <a:gd name="csY40" fmla="*/ 197828 h 2095135"/>
              <a:gd name="csX41" fmla="*/ 587318 w 733006"/>
              <a:gd name="csY41" fmla="*/ 171260 h 2095135"/>
              <a:gd name="csX42" fmla="*/ 601503 w 733006"/>
              <a:gd name="csY42" fmla="*/ 163707 h 2095135"/>
              <a:gd name="csX43" fmla="*/ 625254 w 733006"/>
              <a:gd name="csY43" fmla="*/ 163123 h 2095135"/>
              <a:gd name="csX44" fmla="*/ 625468 w 733006"/>
              <a:gd name="csY44" fmla="*/ 187579 h 2095135"/>
              <a:gd name="csX45" fmla="*/ 597543 w 733006"/>
              <a:gd name="csY45" fmla="*/ 251872 h 2095135"/>
              <a:gd name="csX46" fmla="*/ 531831 w 733006"/>
              <a:gd name="csY46" fmla="*/ 442689 h 2095135"/>
              <a:gd name="csX47" fmla="*/ 519888 w 733006"/>
              <a:gd name="csY47" fmla="*/ 501474 h 2095135"/>
              <a:gd name="csX48" fmla="*/ 522506 w 733006"/>
              <a:gd name="csY48" fmla="*/ 525086 h 2095135"/>
              <a:gd name="csX49" fmla="*/ 516235 w 733006"/>
              <a:gd name="csY49" fmla="*/ 555946 h 2095135"/>
              <a:gd name="csX50" fmla="*/ 521332 w 733006"/>
              <a:gd name="csY50" fmla="*/ 610676 h 2095135"/>
              <a:gd name="csX51" fmla="*/ 541382 w 733006"/>
              <a:gd name="csY51" fmla="*/ 642597 h 2095135"/>
              <a:gd name="csX52" fmla="*/ 557031 w 733006"/>
              <a:gd name="csY52" fmla="*/ 667949 h 2095135"/>
              <a:gd name="csX53" fmla="*/ 553994 w 733006"/>
              <a:gd name="csY53" fmla="*/ 744146 h 2095135"/>
              <a:gd name="csX54" fmla="*/ 508215 w 733006"/>
              <a:gd name="csY54" fmla="*/ 758841 h 2095135"/>
              <a:gd name="csX55" fmla="*/ 497442 w 733006"/>
              <a:gd name="csY55" fmla="*/ 771256 h 2095135"/>
              <a:gd name="csX56" fmla="*/ 493005 w 733006"/>
              <a:gd name="csY56" fmla="*/ 922055 h 2095135"/>
              <a:gd name="csX57" fmla="*/ 502900 w 733006"/>
              <a:gd name="csY57" fmla="*/ 1114191 h 2095135"/>
              <a:gd name="csX58" fmla="*/ 508800 w 733006"/>
              <a:gd name="csY58" fmla="*/ 1205474 h 2095135"/>
              <a:gd name="csX59" fmla="*/ 522952 w 733006"/>
              <a:gd name="csY59" fmla="*/ 1320065 h 2095135"/>
              <a:gd name="csX60" fmla="*/ 554682 w 733006"/>
              <a:gd name="csY60" fmla="*/ 1501203 h 2095135"/>
              <a:gd name="csX61" fmla="*/ 576958 w 733006"/>
              <a:gd name="csY61" fmla="*/ 1593963 h 2095135"/>
              <a:gd name="csX62" fmla="*/ 595349 w 733006"/>
              <a:gd name="csY62" fmla="*/ 1613498 h 2095135"/>
              <a:gd name="csX63" fmla="*/ 613936 w 733006"/>
              <a:gd name="csY63" fmla="*/ 1624058 h 2095135"/>
              <a:gd name="csX64" fmla="*/ 620938 w 733006"/>
              <a:gd name="csY64" fmla="*/ 1652071 h 2095135"/>
              <a:gd name="csX65" fmla="*/ 630805 w 733006"/>
              <a:gd name="csY65" fmla="*/ 1721702 h 2095135"/>
              <a:gd name="csX66" fmla="*/ 685830 w 733006"/>
              <a:gd name="csY66" fmla="*/ 1792915 h 2095135"/>
              <a:gd name="csX67" fmla="*/ 708904 w 733006"/>
              <a:gd name="csY67" fmla="*/ 1890290 h 2095135"/>
              <a:gd name="csX68" fmla="*/ 716580 w 733006"/>
              <a:gd name="csY68" fmla="*/ 1951136 h 2095135"/>
              <a:gd name="csX69" fmla="*/ 729397 w 733006"/>
              <a:gd name="csY69" fmla="*/ 2030261 h 2095135"/>
              <a:gd name="csX70" fmla="*/ 714212 w 733006"/>
              <a:gd name="csY70" fmla="*/ 2049544 h 2095135"/>
              <a:gd name="csX71" fmla="*/ 96263 w 733006"/>
              <a:gd name="csY71" fmla="*/ 2076207 h 2095135"/>
              <a:gd name="csX72" fmla="*/ 489970 w 733006"/>
              <a:gd name="csY72" fmla="*/ 152208 h 2095135"/>
              <a:gd name="csX73" fmla="*/ 490754 w 733006"/>
              <a:gd name="csY73" fmla="*/ 152592 h 2095135"/>
              <a:gd name="csX74" fmla="*/ 489489 w 733006"/>
              <a:gd name="csY74" fmla="*/ 149547 h 2095135"/>
              <a:gd name="csX75" fmla="*/ 393621 w 733006"/>
              <a:gd name="csY75" fmla="*/ 99259 h 2095135"/>
              <a:gd name="csX76" fmla="*/ 390419 w 733006"/>
              <a:gd name="csY76" fmla="*/ 18568 h 2095135"/>
              <a:gd name="csX77" fmla="*/ 334131 w 733006"/>
              <a:gd name="csY77" fmla="*/ 24327 h 2095135"/>
              <a:gd name="csX78" fmla="*/ 344678 w 733006"/>
              <a:gd name="csY78" fmla="*/ 101259 h 2095135"/>
              <a:gd name="csX79" fmla="*/ 298854 w 733006"/>
              <a:gd name="csY79" fmla="*/ 114003 h 2095135"/>
              <a:gd name="csX80" fmla="*/ 237456 w 733006"/>
              <a:gd name="csY80" fmla="*/ 154340 h 2095135"/>
              <a:gd name="csX81" fmla="*/ 240382 w 733006"/>
              <a:gd name="csY81" fmla="*/ 154035 h 2095135"/>
              <a:gd name="csX82" fmla="*/ 262731 w 733006"/>
              <a:gd name="csY82" fmla="*/ 170426 h 2095135"/>
              <a:gd name="csX83" fmla="*/ 279169 w 733006"/>
              <a:gd name="csY83" fmla="*/ 193173 h 2095135"/>
              <a:gd name="csX84" fmla="*/ 327717 w 733006"/>
              <a:gd name="csY84" fmla="*/ 188556 h 2095135"/>
              <a:gd name="csX85" fmla="*/ 348052 w 733006"/>
              <a:gd name="csY85" fmla="*/ 156919 h 2095135"/>
              <a:gd name="csX86" fmla="*/ 380330 w 733006"/>
              <a:gd name="csY86" fmla="*/ 156483 h 2095135"/>
              <a:gd name="csX87" fmla="*/ 408490 w 733006"/>
              <a:gd name="csY87" fmla="*/ 195400 h 2095135"/>
              <a:gd name="csX88" fmla="*/ 445346 w 733006"/>
              <a:gd name="csY88" fmla="*/ 197582 h 2095135"/>
              <a:gd name="csX89" fmla="*/ 464798 w 733006"/>
              <a:gd name="csY89" fmla="*/ 174107 h 2095135"/>
              <a:gd name="csX90" fmla="*/ 489970 w 733006"/>
              <a:gd name="csY90" fmla="*/ 152208 h 2095135"/>
              <a:gd name="csX91" fmla="*/ 140694 w 733006"/>
              <a:gd name="csY91" fmla="*/ 201837 h 2095135"/>
              <a:gd name="csX92" fmla="*/ 139834 w 733006"/>
              <a:gd name="csY92" fmla="*/ 201482 h 2095135"/>
              <a:gd name="csX93" fmla="*/ 140812 w 733006"/>
              <a:gd name="csY93" fmla="*/ 204941 h 2095135"/>
              <a:gd name="csX94" fmla="*/ 144631 w 733006"/>
              <a:gd name="csY94" fmla="*/ 217811 h 2095135"/>
              <a:gd name="csX95" fmla="*/ 201241 w 733006"/>
              <a:gd name="csY95" fmla="*/ 373387 h 2095135"/>
              <a:gd name="csX96" fmla="*/ 235971 w 733006"/>
              <a:gd name="csY96" fmla="*/ 504451 h 2095135"/>
              <a:gd name="csX97" fmla="*/ 247475 w 733006"/>
              <a:gd name="csY97" fmla="*/ 513241 h 2095135"/>
              <a:gd name="csX98" fmla="*/ 289066 w 733006"/>
              <a:gd name="csY98" fmla="*/ 511170 h 2095135"/>
              <a:gd name="csX99" fmla="*/ 378229 w 733006"/>
              <a:gd name="csY99" fmla="*/ 511084 h 2095135"/>
              <a:gd name="csX100" fmla="*/ 470850 w 733006"/>
              <a:gd name="csY100" fmla="*/ 516341 h 2095135"/>
              <a:gd name="csX101" fmla="*/ 492933 w 733006"/>
              <a:gd name="csY101" fmla="*/ 497969 h 2095135"/>
              <a:gd name="csX102" fmla="*/ 557617 w 733006"/>
              <a:gd name="csY102" fmla="*/ 280398 h 2095135"/>
              <a:gd name="csX103" fmla="*/ 588788 w 733006"/>
              <a:gd name="csY103" fmla="*/ 200385 h 2095135"/>
              <a:gd name="csX104" fmla="*/ 530958 w 733006"/>
              <a:gd name="csY104" fmla="*/ 232968 h 2095135"/>
              <a:gd name="csX105" fmla="*/ 483823 w 733006"/>
              <a:gd name="csY105" fmla="*/ 190364 h 2095135"/>
              <a:gd name="csX106" fmla="*/ 466649 w 733006"/>
              <a:gd name="csY106" fmla="*/ 209061 h 2095135"/>
              <a:gd name="csX107" fmla="*/ 399941 w 733006"/>
              <a:gd name="csY107" fmla="*/ 216988 h 2095135"/>
              <a:gd name="csX108" fmla="*/ 363018 w 733006"/>
              <a:gd name="csY108" fmla="*/ 179615 h 2095135"/>
              <a:gd name="csX109" fmla="*/ 308839 w 733006"/>
              <a:gd name="csY109" fmla="*/ 227846 h 2095135"/>
              <a:gd name="csX110" fmla="*/ 245077 w 733006"/>
              <a:gd name="csY110" fmla="*/ 192402 h 2095135"/>
              <a:gd name="csX111" fmla="*/ 242829 w 733006"/>
              <a:gd name="csY111" fmla="*/ 198815 h 2095135"/>
              <a:gd name="csX112" fmla="*/ 168452 w 733006"/>
              <a:gd name="csY112" fmla="*/ 219348 h 2095135"/>
              <a:gd name="csX113" fmla="*/ 140694 w 733006"/>
              <a:gd name="csY113" fmla="*/ 201837 h 2095135"/>
              <a:gd name="csX114" fmla="*/ 259999 w 733006"/>
              <a:gd name="csY114" fmla="*/ 966699 h 2095135"/>
              <a:gd name="csX115" fmla="*/ 257072 w 733006"/>
              <a:gd name="csY115" fmla="*/ 1070424 h 2095135"/>
              <a:gd name="csX116" fmla="*/ 251372 w 733006"/>
              <a:gd name="csY116" fmla="*/ 1157618 h 2095135"/>
              <a:gd name="csX117" fmla="*/ 232677 w 733006"/>
              <a:gd name="csY117" fmla="*/ 1320279 h 2095135"/>
              <a:gd name="csX118" fmla="*/ 209182 w 733006"/>
              <a:gd name="csY118" fmla="*/ 1468667 h 2095135"/>
              <a:gd name="csX119" fmla="*/ 175302 w 733006"/>
              <a:gd name="csY119" fmla="*/ 1616623 h 2095135"/>
              <a:gd name="csX120" fmla="*/ 182769 w 733006"/>
              <a:gd name="csY120" fmla="*/ 1629786 h 2095135"/>
              <a:gd name="csX121" fmla="*/ 212156 w 733006"/>
              <a:gd name="csY121" fmla="*/ 1632656 h 2095135"/>
              <a:gd name="csX122" fmla="*/ 351295 w 733006"/>
              <a:gd name="csY122" fmla="*/ 1632801 h 2095135"/>
              <a:gd name="csX123" fmla="*/ 376150 w 733006"/>
              <a:gd name="csY123" fmla="*/ 1608307 h 2095135"/>
              <a:gd name="csX124" fmla="*/ 373450 w 733006"/>
              <a:gd name="csY124" fmla="*/ 1457291 h 2095135"/>
              <a:gd name="csX125" fmla="*/ 370936 w 733006"/>
              <a:gd name="csY125" fmla="*/ 1342736 h 2095135"/>
              <a:gd name="csX126" fmla="*/ 368328 w 733006"/>
              <a:gd name="csY126" fmla="*/ 1203878 h 2095135"/>
              <a:gd name="csX127" fmla="*/ 367836 w 733006"/>
              <a:gd name="csY127" fmla="*/ 813478 h 2095135"/>
              <a:gd name="csX128" fmla="*/ 365240 w 733006"/>
              <a:gd name="csY128" fmla="*/ 773243 h 2095135"/>
              <a:gd name="csX129" fmla="*/ 353084 w 733006"/>
              <a:gd name="csY129" fmla="*/ 762083 h 2095135"/>
              <a:gd name="csX130" fmla="*/ 280966 w 733006"/>
              <a:gd name="csY130" fmla="*/ 759855 h 2095135"/>
              <a:gd name="csX131" fmla="*/ 259965 w 733006"/>
              <a:gd name="csY131" fmla="*/ 779553 h 2095135"/>
              <a:gd name="csX132" fmla="*/ 262341 w 733006"/>
              <a:gd name="csY132" fmla="*/ 856275 h 2095135"/>
              <a:gd name="csX133" fmla="*/ 259999 w 733006"/>
              <a:gd name="csY133" fmla="*/ 966699 h 2095135"/>
              <a:gd name="csX134" fmla="*/ 55556 w 733006"/>
              <a:gd name="csY134" fmla="*/ 1835827 h 2095135"/>
              <a:gd name="csX135" fmla="*/ 49393 w 733006"/>
              <a:gd name="csY135" fmla="*/ 1878155 h 2095135"/>
              <a:gd name="csX136" fmla="*/ 73949 w 733006"/>
              <a:gd name="csY136" fmla="*/ 1905781 h 2095135"/>
              <a:gd name="csX137" fmla="*/ 110073 w 733006"/>
              <a:gd name="csY137" fmla="*/ 1909068 h 2095135"/>
              <a:gd name="csX138" fmla="*/ 224745 w 733006"/>
              <a:gd name="csY138" fmla="*/ 1921652 h 2095135"/>
              <a:gd name="csX139" fmla="*/ 347327 w 733006"/>
              <a:gd name="csY139" fmla="*/ 1924778 h 2095135"/>
              <a:gd name="csX140" fmla="*/ 363345 w 733006"/>
              <a:gd name="csY140" fmla="*/ 1923293 h 2095135"/>
              <a:gd name="csX141" fmla="*/ 373787 w 733006"/>
              <a:gd name="csY141" fmla="*/ 1911200 h 2095135"/>
              <a:gd name="csX142" fmla="*/ 376623 w 733006"/>
              <a:gd name="csY142" fmla="*/ 1696741 h 2095135"/>
              <a:gd name="csX143" fmla="*/ 360437 w 733006"/>
              <a:gd name="csY143" fmla="*/ 1681289 h 2095135"/>
              <a:gd name="csX144" fmla="*/ 263503 w 733006"/>
              <a:gd name="csY144" fmla="*/ 1678179 h 2095135"/>
              <a:gd name="csX145" fmla="*/ 160381 w 733006"/>
              <a:gd name="csY145" fmla="*/ 1670405 h 2095135"/>
              <a:gd name="csX146" fmla="*/ 143321 w 733006"/>
              <a:gd name="csY146" fmla="*/ 1685538 h 2095135"/>
              <a:gd name="csX147" fmla="*/ 124769 w 733006"/>
              <a:gd name="csY147" fmla="*/ 1738195 h 2095135"/>
              <a:gd name="csX148" fmla="*/ 90593 w 733006"/>
              <a:gd name="csY148" fmla="*/ 1779570 h 2095135"/>
              <a:gd name="csX149" fmla="*/ 55556 w 733006"/>
              <a:gd name="csY149" fmla="*/ 1835827 h 2095135"/>
              <a:gd name="csX150" fmla="*/ 378900 w 733006"/>
              <a:gd name="csY150" fmla="*/ 2007280 h 2095135"/>
              <a:gd name="csX151" fmla="*/ 378887 w 733006"/>
              <a:gd name="csY151" fmla="*/ 1995127 h 2095135"/>
              <a:gd name="csX152" fmla="*/ 359084 w 733006"/>
              <a:gd name="csY152" fmla="*/ 1975964 h 2095135"/>
              <a:gd name="csX153" fmla="*/ 247288 w 733006"/>
              <a:gd name="csY153" fmla="*/ 1973305 h 2095135"/>
              <a:gd name="csX154" fmla="*/ 201692 w 733006"/>
              <a:gd name="csY154" fmla="*/ 1970275 h 2095135"/>
              <a:gd name="csX155" fmla="*/ 57962 w 733006"/>
              <a:gd name="csY155" fmla="*/ 1952648 h 2095135"/>
              <a:gd name="csX156" fmla="*/ 39194 w 733006"/>
              <a:gd name="csY156" fmla="*/ 1963552 h 2095135"/>
              <a:gd name="csX157" fmla="*/ 30066 w 733006"/>
              <a:gd name="csY157" fmla="*/ 2006631 h 2095135"/>
              <a:gd name="csX158" fmla="*/ 40232 w 733006"/>
              <a:gd name="csY158" fmla="*/ 2019486 h 2095135"/>
              <a:gd name="csX159" fmla="*/ 238186 w 733006"/>
              <a:gd name="csY159" fmla="*/ 2046096 h 2095135"/>
              <a:gd name="csX160" fmla="*/ 342155 w 733006"/>
              <a:gd name="csY160" fmla="*/ 2046441 h 2095135"/>
              <a:gd name="csX161" fmla="*/ 378900 w 733006"/>
              <a:gd name="csY161" fmla="*/ 2007280 h 2095135"/>
              <a:gd name="csX162" fmla="*/ 310220 w 733006"/>
              <a:gd name="csY162" fmla="*/ 554288 h 2095135"/>
              <a:gd name="csX163" fmla="*/ 259136 w 733006"/>
              <a:gd name="csY163" fmla="*/ 556881 h 2095135"/>
              <a:gd name="csX164" fmla="*/ 249085 w 733006"/>
              <a:gd name="csY164" fmla="*/ 567981 h 2095135"/>
              <a:gd name="csX165" fmla="*/ 249141 w 733006"/>
              <a:gd name="csY165" fmla="*/ 605644 h 2095135"/>
              <a:gd name="csX166" fmla="*/ 262628 w 733006"/>
              <a:gd name="csY166" fmla="*/ 605627 h 2095135"/>
              <a:gd name="csX167" fmla="*/ 369608 w 733006"/>
              <a:gd name="csY167" fmla="*/ 603027 h 2095135"/>
              <a:gd name="csX168" fmla="*/ 463931 w 733006"/>
              <a:gd name="csY168" fmla="*/ 605146 h 2095135"/>
              <a:gd name="csX169" fmla="*/ 478113 w 733006"/>
              <a:gd name="csY169" fmla="*/ 595843 h 2095135"/>
              <a:gd name="csX170" fmla="*/ 478796 w 733006"/>
              <a:gd name="csY170" fmla="*/ 556832 h 2095135"/>
              <a:gd name="csX171" fmla="*/ 310220 w 733006"/>
              <a:gd name="csY171" fmla="*/ 554288 h 2095135"/>
              <a:gd name="csX172" fmla="*/ 348836 w 733006"/>
              <a:gd name="csY172" fmla="*/ 684115 h 2095135"/>
              <a:gd name="csX173" fmla="*/ 281333 w 733006"/>
              <a:gd name="csY173" fmla="*/ 683313 h 2095135"/>
              <a:gd name="csX174" fmla="*/ 212728 w 733006"/>
              <a:gd name="csY174" fmla="*/ 681931 h 2095135"/>
              <a:gd name="csX175" fmla="*/ 187283 w 733006"/>
              <a:gd name="csY175" fmla="*/ 689555 h 2095135"/>
              <a:gd name="csX176" fmla="*/ 186163 w 733006"/>
              <a:gd name="csY176" fmla="*/ 718266 h 2095135"/>
              <a:gd name="csX177" fmla="*/ 209894 w 733006"/>
              <a:gd name="csY177" fmla="*/ 726798 h 2095135"/>
              <a:gd name="csX178" fmla="*/ 334814 w 733006"/>
              <a:gd name="csY178" fmla="*/ 732494 h 2095135"/>
              <a:gd name="csX179" fmla="*/ 364856 w 733006"/>
              <a:gd name="csY179" fmla="*/ 707963 h 2095135"/>
              <a:gd name="csX180" fmla="*/ 348836 w 733006"/>
              <a:gd name="csY180" fmla="*/ 684115 h 2095135"/>
              <a:gd name="csX181" fmla="*/ 298865 w 733006"/>
              <a:gd name="csY181" fmla="*/ 621954 h 2095135"/>
              <a:gd name="csX182" fmla="*/ 251619 w 733006"/>
              <a:gd name="csY182" fmla="*/ 622133 h 2095135"/>
              <a:gd name="csX183" fmla="*/ 214459 w 733006"/>
              <a:gd name="csY183" fmla="*/ 636230 h 2095135"/>
              <a:gd name="csX184" fmla="*/ 221436 w 733006"/>
              <a:gd name="csY184" fmla="*/ 654205 h 2095135"/>
              <a:gd name="csX185" fmla="*/ 272412 w 733006"/>
              <a:gd name="csY185" fmla="*/ 657250 h 2095135"/>
              <a:gd name="csX186" fmla="*/ 349094 w 733006"/>
              <a:gd name="csY186" fmla="*/ 659282 h 2095135"/>
              <a:gd name="csX187" fmla="*/ 362996 w 733006"/>
              <a:gd name="csY187" fmla="*/ 644234 h 2095135"/>
              <a:gd name="csX188" fmla="*/ 348472 w 733006"/>
              <a:gd name="csY188" fmla="*/ 624649 h 2095135"/>
              <a:gd name="csX189" fmla="*/ 298865 w 733006"/>
              <a:gd name="csY189" fmla="*/ 621954 h 2095135"/>
              <a:gd name="csX190" fmla="*/ 227796 w 733006"/>
              <a:gd name="csY190" fmla="*/ 528000 h 2095135"/>
              <a:gd name="csX191" fmla="*/ 241009 w 733006"/>
              <a:gd name="csY191" fmla="*/ 545897 h 2095135"/>
              <a:gd name="csX192" fmla="*/ 282607 w 733006"/>
              <a:gd name="csY192" fmla="*/ 543480 h 2095135"/>
              <a:gd name="csX193" fmla="*/ 354213 w 733006"/>
              <a:gd name="csY193" fmla="*/ 543384 h 2095135"/>
              <a:gd name="csX194" fmla="*/ 365334 w 733006"/>
              <a:gd name="csY194" fmla="*/ 533397 h 2095135"/>
              <a:gd name="csX195" fmla="*/ 354531 w 733006"/>
              <a:gd name="csY195" fmla="*/ 521620 h 2095135"/>
              <a:gd name="csX196" fmla="*/ 259169 w 733006"/>
              <a:gd name="csY196" fmla="*/ 521978 h 2095135"/>
              <a:gd name="csX197" fmla="*/ 227796 w 733006"/>
              <a:gd name="csY197" fmla="*/ 528000 h 2095135"/>
              <a:gd name="csX198" fmla="*/ 508068 w 733006"/>
              <a:gd name="csY198" fmla="*/ 190710 h 2095135"/>
              <a:gd name="csX199" fmla="*/ 521293 w 733006"/>
              <a:gd name="csY199" fmla="*/ 205907 h 2095135"/>
              <a:gd name="csX200" fmla="*/ 525175 w 733006"/>
              <a:gd name="csY200" fmla="*/ 202985 h 2095135"/>
              <a:gd name="csX201" fmla="*/ 500276 w 733006"/>
              <a:gd name="csY201" fmla="*/ 160640 h 2095135"/>
              <a:gd name="csX202" fmla="*/ 497122 w 733006"/>
              <a:gd name="csY202" fmla="*/ 162007 h 2095135"/>
              <a:gd name="csX203" fmla="*/ 508068 w 733006"/>
              <a:gd name="csY203" fmla="*/ 190710 h 2095135"/>
              <a:gd name="csX204" fmla="*/ 215522 w 733006"/>
              <a:gd name="csY204" fmla="*/ 197296 h 2095135"/>
              <a:gd name="csX205" fmla="*/ 234029 w 733006"/>
              <a:gd name="csY205" fmla="*/ 162725 h 2095135"/>
              <a:gd name="csX206" fmla="*/ 229000 w 733006"/>
              <a:gd name="csY206" fmla="*/ 159902 h 2095135"/>
              <a:gd name="csX207" fmla="*/ 204824 w 733006"/>
              <a:gd name="csY207" fmla="*/ 199677 h 2095135"/>
              <a:gd name="csX208" fmla="*/ 207990 w 733006"/>
              <a:gd name="csY208" fmla="*/ 202198 h 2095135"/>
              <a:gd name="csX209" fmla="*/ 215522 w 733006"/>
              <a:gd name="csY209" fmla="*/ 197296 h 2095135"/>
              <a:gd name="csX210" fmla="*/ 484400 w 733006"/>
              <a:gd name="csY210" fmla="*/ 896678 h 2095135"/>
              <a:gd name="csX211" fmla="*/ 486181 w 733006"/>
              <a:gd name="csY211" fmla="*/ 896585 h 2095135"/>
              <a:gd name="csX212" fmla="*/ 486181 w 733006"/>
              <a:gd name="csY212" fmla="*/ 795289 h 2095135"/>
              <a:gd name="csX213" fmla="*/ 720241 w 733006"/>
              <a:gd name="csY213" fmla="*/ 2030666 h 2095135"/>
              <a:gd name="csX214" fmla="*/ 721175 w 733006"/>
              <a:gd name="csY214" fmla="*/ 2029733 h 2095135"/>
              <a:gd name="csX215" fmla="*/ 720241 w 733006"/>
              <a:gd name="csY215" fmla="*/ 2030666 h 2095135"/>
              <a:gd name="csX0" fmla="*/ 96263 w 733006"/>
              <a:gd name="csY0" fmla="*/ 2076207 h 2095135"/>
              <a:gd name="csX1" fmla="*/ 63862 w 733006"/>
              <a:gd name="csY1" fmla="*/ 2065388 h 2095135"/>
              <a:gd name="csX2" fmla="*/ 16555 w 733006"/>
              <a:gd name="csY2" fmla="*/ 2050152 h 2095135"/>
              <a:gd name="csX3" fmla="*/ 15 w 733006"/>
              <a:gd name="csY3" fmla="*/ 2023802 h 2095135"/>
              <a:gd name="csX4" fmla="*/ 18368 w 733006"/>
              <a:gd name="csY4" fmla="*/ 1940709 h 2095135"/>
              <a:gd name="csX5" fmla="*/ 22139 w 733006"/>
              <a:gd name="csY5" fmla="*/ 1907268 h 2095135"/>
              <a:gd name="csX6" fmla="*/ 57941 w 733006"/>
              <a:gd name="csY6" fmla="*/ 1774163 h 2095135"/>
              <a:gd name="csX7" fmla="*/ 102478 w 733006"/>
              <a:gd name="csY7" fmla="*/ 1720275 h 2095135"/>
              <a:gd name="csX8" fmla="*/ 108579 w 733006"/>
              <a:gd name="csY8" fmla="*/ 1650967 h 2095135"/>
              <a:gd name="csX9" fmla="*/ 115628 w 733006"/>
              <a:gd name="csY9" fmla="*/ 1625405 h 2095135"/>
              <a:gd name="csX10" fmla="*/ 156323 w 733006"/>
              <a:gd name="csY10" fmla="*/ 1560181 h 2095135"/>
              <a:gd name="csX11" fmla="*/ 199424 w 733006"/>
              <a:gd name="csY11" fmla="*/ 1364729 h 2095135"/>
              <a:gd name="csX12" fmla="*/ 216779 w 733006"/>
              <a:gd name="csY12" fmla="*/ 1219490 h 2095135"/>
              <a:gd name="csX13" fmla="*/ 229755 w 733006"/>
              <a:gd name="csY13" fmla="*/ 1099357 h 2095135"/>
              <a:gd name="csX14" fmla="*/ 232707 w 733006"/>
              <a:gd name="csY14" fmla="*/ 1056423 h 2095135"/>
              <a:gd name="csX15" fmla="*/ 235622 w 733006"/>
              <a:gd name="csY15" fmla="*/ 952675 h 2095135"/>
              <a:gd name="csX16" fmla="*/ 235445 w 733006"/>
              <a:gd name="csY16" fmla="*/ 780278 h 2095135"/>
              <a:gd name="csX17" fmla="*/ 214544 w 733006"/>
              <a:gd name="csY17" fmla="*/ 756435 h 2095135"/>
              <a:gd name="csX18" fmla="*/ 172569 w 733006"/>
              <a:gd name="csY18" fmla="*/ 742582 h 2095135"/>
              <a:gd name="csX19" fmla="*/ 168784 w 733006"/>
              <a:gd name="csY19" fmla="*/ 669116 h 2095135"/>
              <a:gd name="csX20" fmla="*/ 191657 w 733006"/>
              <a:gd name="csY20" fmla="*/ 630765 h 2095135"/>
              <a:gd name="csX21" fmla="*/ 208150 w 733006"/>
              <a:gd name="csY21" fmla="*/ 609084 h 2095135"/>
              <a:gd name="csX22" fmla="*/ 216756 w 733006"/>
              <a:gd name="csY22" fmla="*/ 558673 h 2095135"/>
              <a:gd name="csX23" fmla="*/ 209092 w 733006"/>
              <a:gd name="csY23" fmla="*/ 521540 h 2095135"/>
              <a:gd name="csX24" fmla="*/ 204683 w 733006"/>
              <a:gd name="csY24" fmla="*/ 474024 h 2095135"/>
              <a:gd name="csX25" fmla="*/ 115483 w 733006"/>
              <a:gd name="csY25" fmla="*/ 213499 h 2095135"/>
              <a:gd name="csX26" fmla="*/ 102909 w 733006"/>
              <a:gd name="csY26" fmla="*/ 182297 h 2095135"/>
              <a:gd name="csX27" fmla="*/ 104315 w 733006"/>
              <a:gd name="csY27" fmla="*/ 163968 h 2095135"/>
              <a:gd name="csX28" fmla="*/ 122444 w 733006"/>
              <a:gd name="csY28" fmla="*/ 160805 h 2095135"/>
              <a:gd name="csX29" fmla="*/ 170283 w 733006"/>
              <a:gd name="csY29" fmla="*/ 187783 h 2095135"/>
              <a:gd name="csX30" fmla="*/ 180938 w 733006"/>
              <a:gd name="csY30" fmla="*/ 195322 h 2095135"/>
              <a:gd name="csX31" fmla="*/ 221419 w 733006"/>
              <a:gd name="csY31" fmla="*/ 138058 h 2095135"/>
              <a:gd name="csX32" fmla="*/ 294099 w 733006"/>
              <a:gd name="csY32" fmla="*/ 91372 h 2095135"/>
              <a:gd name="csX33" fmla="*/ 302307 w 733006"/>
              <a:gd name="csY33" fmla="*/ 76560 h 2095135"/>
              <a:gd name="csX34" fmla="*/ 320284 w 733006"/>
              <a:gd name="csY34" fmla="*/ 8414 h 2095135"/>
              <a:gd name="csX35" fmla="*/ 324784 w 733006"/>
              <a:gd name="csY35" fmla="*/ 946 h 2095135"/>
              <a:gd name="csX36" fmla="*/ 399212 w 733006"/>
              <a:gd name="csY36" fmla="*/ 0 h 2095135"/>
              <a:gd name="csX37" fmla="*/ 425980 w 733006"/>
              <a:gd name="csY37" fmla="*/ 78301 h 2095135"/>
              <a:gd name="csX38" fmla="*/ 431861 w 733006"/>
              <a:gd name="csY38" fmla="*/ 90312 h 2095135"/>
              <a:gd name="csX39" fmla="*/ 540349 w 733006"/>
              <a:gd name="csY39" fmla="*/ 187946 h 2095135"/>
              <a:gd name="csX40" fmla="*/ 545555 w 733006"/>
              <a:gd name="csY40" fmla="*/ 197828 h 2095135"/>
              <a:gd name="csX41" fmla="*/ 587318 w 733006"/>
              <a:gd name="csY41" fmla="*/ 171260 h 2095135"/>
              <a:gd name="csX42" fmla="*/ 601503 w 733006"/>
              <a:gd name="csY42" fmla="*/ 163707 h 2095135"/>
              <a:gd name="csX43" fmla="*/ 625254 w 733006"/>
              <a:gd name="csY43" fmla="*/ 163123 h 2095135"/>
              <a:gd name="csX44" fmla="*/ 625468 w 733006"/>
              <a:gd name="csY44" fmla="*/ 187579 h 2095135"/>
              <a:gd name="csX45" fmla="*/ 597543 w 733006"/>
              <a:gd name="csY45" fmla="*/ 251872 h 2095135"/>
              <a:gd name="csX46" fmla="*/ 531831 w 733006"/>
              <a:gd name="csY46" fmla="*/ 442689 h 2095135"/>
              <a:gd name="csX47" fmla="*/ 519888 w 733006"/>
              <a:gd name="csY47" fmla="*/ 501474 h 2095135"/>
              <a:gd name="csX48" fmla="*/ 522506 w 733006"/>
              <a:gd name="csY48" fmla="*/ 525086 h 2095135"/>
              <a:gd name="csX49" fmla="*/ 516235 w 733006"/>
              <a:gd name="csY49" fmla="*/ 555946 h 2095135"/>
              <a:gd name="csX50" fmla="*/ 521332 w 733006"/>
              <a:gd name="csY50" fmla="*/ 610676 h 2095135"/>
              <a:gd name="csX51" fmla="*/ 541382 w 733006"/>
              <a:gd name="csY51" fmla="*/ 642597 h 2095135"/>
              <a:gd name="csX52" fmla="*/ 557031 w 733006"/>
              <a:gd name="csY52" fmla="*/ 667949 h 2095135"/>
              <a:gd name="csX53" fmla="*/ 553994 w 733006"/>
              <a:gd name="csY53" fmla="*/ 744146 h 2095135"/>
              <a:gd name="csX54" fmla="*/ 508215 w 733006"/>
              <a:gd name="csY54" fmla="*/ 758841 h 2095135"/>
              <a:gd name="csX55" fmla="*/ 497442 w 733006"/>
              <a:gd name="csY55" fmla="*/ 771256 h 2095135"/>
              <a:gd name="csX56" fmla="*/ 493005 w 733006"/>
              <a:gd name="csY56" fmla="*/ 922055 h 2095135"/>
              <a:gd name="csX57" fmla="*/ 502900 w 733006"/>
              <a:gd name="csY57" fmla="*/ 1114191 h 2095135"/>
              <a:gd name="csX58" fmla="*/ 508800 w 733006"/>
              <a:gd name="csY58" fmla="*/ 1205474 h 2095135"/>
              <a:gd name="csX59" fmla="*/ 522952 w 733006"/>
              <a:gd name="csY59" fmla="*/ 1320065 h 2095135"/>
              <a:gd name="csX60" fmla="*/ 554682 w 733006"/>
              <a:gd name="csY60" fmla="*/ 1501203 h 2095135"/>
              <a:gd name="csX61" fmla="*/ 576958 w 733006"/>
              <a:gd name="csY61" fmla="*/ 1593963 h 2095135"/>
              <a:gd name="csX62" fmla="*/ 595349 w 733006"/>
              <a:gd name="csY62" fmla="*/ 1613498 h 2095135"/>
              <a:gd name="csX63" fmla="*/ 613936 w 733006"/>
              <a:gd name="csY63" fmla="*/ 1624058 h 2095135"/>
              <a:gd name="csX64" fmla="*/ 620938 w 733006"/>
              <a:gd name="csY64" fmla="*/ 1652071 h 2095135"/>
              <a:gd name="csX65" fmla="*/ 630805 w 733006"/>
              <a:gd name="csY65" fmla="*/ 1721702 h 2095135"/>
              <a:gd name="csX66" fmla="*/ 685830 w 733006"/>
              <a:gd name="csY66" fmla="*/ 1792915 h 2095135"/>
              <a:gd name="csX67" fmla="*/ 708904 w 733006"/>
              <a:gd name="csY67" fmla="*/ 1890290 h 2095135"/>
              <a:gd name="csX68" fmla="*/ 716580 w 733006"/>
              <a:gd name="csY68" fmla="*/ 1951136 h 2095135"/>
              <a:gd name="csX69" fmla="*/ 729397 w 733006"/>
              <a:gd name="csY69" fmla="*/ 2030261 h 2095135"/>
              <a:gd name="csX70" fmla="*/ 714212 w 733006"/>
              <a:gd name="csY70" fmla="*/ 2049544 h 2095135"/>
              <a:gd name="csX71" fmla="*/ 96263 w 733006"/>
              <a:gd name="csY71" fmla="*/ 2076207 h 2095135"/>
              <a:gd name="csX72" fmla="*/ 489970 w 733006"/>
              <a:gd name="csY72" fmla="*/ 152208 h 2095135"/>
              <a:gd name="csX73" fmla="*/ 490754 w 733006"/>
              <a:gd name="csY73" fmla="*/ 152592 h 2095135"/>
              <a:gd name="csX74" fmla="*/ 489489 w 733006"/>
              <a:gd name="csY74" fmla="*/ 149547 h 2095135"/>
              <a:gd name="csX75" fmla="*/ 393621 w 733006"/>
              <a:gd name="csY75" fmla="*/ 99259 h 2095135"/>
              <a:gd name="csX76" fmla="*/ 390419 w 733006"/>
              <a:gd name="csY76" fmla="*/ 18568 h 2095135"/>
              <a:gd name="csX77" fmla="*/ 334131 w 733006"/>
              <a:gd name="csY77" fmla="*/ 24327 h 2095135"/>
              <a:gd name="csX78" fmla="*/ 344678 w 733006"/>
              <a:gd name="csY78" fmla="*/ 101259 h 2095135"/>
              <a:gd name="csX79" fmla="*/ 298854 w 733006"/>
              <a:gd name="csY79" fmla="*/ 114003 h 2095135"/>
              <a:gd name="csX80" fmla="*/ 237456 w 733006"/>
              <a:gd name="csY80" fmla="*/ 154340 h 2095135"/>
              <a:gd name="csX81" fmla="*/ 240382 w 733006"/>
              <a:gd name="csY81" fmla="*/ 154035 h 2095135"/>
              <a:gd name="csX82" fmla="*/ 262731 w 733006"/>
              <a:gd name="csY82" fmla="*/ 170426 h 2095135"/>
              <a:gd name="csX83" fmla="*/ 279169 w 733006"/>
              <a:gd name="csY83" fmla="*/ 193173 h 2095135"/>
              <a:gd name="csX84" fmla="*/ 327717 w 733006"/>
              <a:gd name="csY84" fmla="*/ 188556 h 2095135"/>
              <a:gd name="csX85" fmla="*/ 348052 w 733006"/>
              <a:gd name="csY85" fmla="*/ 156919 h 2095135"/>
              <a:gd name="csX86" fmla="*/ 380330 w 733006"/>
              <a:gd name="csY86" fmla="*/ 156483 h 2095135"/>
              <a:gd name="csX87" fmla="*/ 408490 w 733006"/>
              <a:gd name="csY87" fmla="*/ 195400 h 2095135"/>
              <a:gd name="csX88" fmla="*/ 445346 w 733006"/>
              <a:gd name="csY88" fmla="*/ 197582 h 2095135"/>
              <a:gd name="csX89" fmla="*/ 464798 w 733006"/>
              <a:gd name="csY89" fmla="*/ 174107 h 2095135"/>
              <a:gd name="csX90" fmla="*/ 489970 w 733006"/>
              <a:gd name="csY90" fmla="*/ 152208 h 2095135"/>
              <a:gd name="csX91" fmla="*/ 140694 w 733006"/>
              <a:gd name="csY91" fmla="*/ 201837 h 2095135"/>
              <a:gd name="csX92" fmla="*/ 139834 w 733006"/>
              <a:gd name="csY92" fmla="*/ 201482 h 2095135"/>
              <a:gd name="csX93" fmla="*/ 140812 w 733006"/>
              <a:gd name="csY93" fmla="*/ 204941 h 2095135"/>
              <a:gd name="csX94" fmla="*/ 144631 w 733006"/>
              <a:gd name="csY94" fmla="*/ 217811 h 2095135"/>
              <a:gd name="csX95" fmla="*/ 201241 w 733006"/>
              <a:gd name="csY95" fmla="*/ 373387 h 2095135"/>
              <a:gd name="csX96" fmla="*/ 235971 w 733006"/>
              <a:gd name="csY96" fmla="*/ 504451 h 2095135"/>
              <a:gd name="csX97" fmla="*/ 247475 w 733006"/>
              <a:gd name="csY97" fmla="*/ 513241 h 2095135"/>
              <a:gd name="csX98" fmla="*/ 289066 w 733006"/>
              <a:gd name="csY98" fmla="*/ 511170 h 2095135"/>
              <a:gd name="csX99" fmla="*/ 378229 w 733006"/>
              <a:gd name="csY99" fmla="*/ 511084 h 2095135"/>
              <a:gd name="csX100" fmla="*/ 470850 w 733006"/>
              <a:gd name="csY100" fmla="*/ 516341 h 2095135"/>
              <a:gd name="csX101" fmla="*/ 492933 w 733006"/>
              <a:gd name="csY101" fmla="*/ 497969 h 2095135"/>
              <a:gd name="csX102" fmla="*/ 557617 w 733006"/>
              <a:gd name="csY102" fmla="*/ 280398 h 2095135"/>
              <a:gd name="csX103" fmla="*/ 588788 w 733006"/>
              <a:gd name="csY103" fmla="*/ 200385 h 2095135"/>
              <a:gd name="csX104" fmla="*/ 530958 w 733006"/>
              <a:gd name="csY104" fmla="*/ 232968 h 2095135"/>
              <a:gd name="csX105" fmla="*/ 483823 w 733006"/>
              <a:gd name="csY105" fmla="*/ 190364 h 2095135"/>
              <a:gd name="csX106" fmla="*/ 466649 w 733006"/>
              <a:gd name="csY106" fmla="*/ 209061 h 2095135"/>
              <a:gd name="csX107" fmla="*/ 399941 w 733006"/>
              <a:gd name="csY107" fmla="*/ 216988 h 2095135"/>
              <a:gd name="csX108" fmla="*/ 363018 w 733006"/>
              <a:gd name="csY108" fmla="*/ 179615 h 2095135"/>
              <a:gd name="csX109" fmla="*/ 308839 w 733006"/>
              <a:gd name="csY109" fmla="*/ 227846 h 2095135"/>
              <a:gd name="csX110" fmla="*/ 245077 w 733006"/>
              <a:gd name="csY110" fmla="*/ 192402 h 2095135"/>
              <a:gd name="csX111" fmla="*/ 242829 w 733006"/>
              <a:gd name="csY111" fmla="*/ 198815 h 2095135"/>
              <a:gd name="csX112" fmla="*/ 168452 w 733006"/>
              <a:gd name="csY112" fmla="*/ 219348 h 2095135"/>
              <a:gd name="csX113" fmla="*/ 140694 w 733006"/>
              <a:gd name="csY113" fmla="*/ 201837 h 2095135"/>
              <a:gd name="csX114" fmla="*/ 259999 w 733006"/>
              <a:gd name="csY114" fmla="*/ 966699 h 2095135"/>
              <a:gd name="csX115" fmla="*/ 257072 w 733006"/>
              <a:gd name="csY115" fmla="*/ 1070424 h 2095135"/>
              <a:gd name="csX116" fmla="*/ 251372 w 733006"/>
              <a:gd name="csY116" fmla="*/ 1157618 h 2095135"/>
              <a:gd name="csX117" fmla="*/ 232677 w 733006"/>
              <a:gd name="csY117" fmla="*/ 1320279 h 2095135"/>
              <a:gd name="csX118" fmla="*/ 209182 w 733006"/>
              <a:gd name="csY118" fmla="*/ 1468667 h 2095135"/>
              <a:gd name="csX119" fmla="*/ 175302 w 733006"/>
              <a:gd name="csY119" fmla="*/ 1616623 h 2095135"/>
              <a:gd name="csX120" fmla="*/ 182769 w 733006"/>
              <a:gd name="csY120" fmla="*/ 1629786 h 2095135"/>
              <a:gd name="csX121" fmla="*/ 212156 w 733006"/>
              <a:gd name="csY121" fmla="*/ 1632656 h 2095135"/>
              <a:gd name="csX122" fmla="*/ 351295 w 733006"/>
              <a:gd name="csY122" fmla="*/ 1632801 h 2095135"/>
              <a:gd name="csX123" fmla="*/ 376150 w 733006"/>
              <a:gd name="csY123" fmla="*/ 1608307 h 2095135"/>
              <a:gd name="csX124" fmla="*/ 373450 w 733006"/>
              <a:gd name="csY124" fmla="*/ 1457291 h 2095135"/>
              <a:gd name="csX125" fmla="*/ 370936 w 733006"/>
              <a:gd name="csY125" fmla="*/ 1342736 h 2095135"/>
              <a:gd name="csX126" fmla="*/ 368328 w 733006"/>
              <a:gd name="csY126" fmla="*/ 1203878 h 2095135"/>
              <a:gd name="csX127" fmla="*/ 367836 w 733006"/>
              <a:gd name="csY127" fmla="*/ 813478 h 2095135"/>
              <a:gd name="csX128" fmla="*/ 365240 w 733006"/>
              <a:gd name="csY128" fmla="*/ 773243 h 2095135"/>
              <a:gd name="csX129" fmla="*/ 353084 w 733006"/>
              <a:gd name="csY129" fmla="*/ 762083 h 2095135"/>
              <a:gd name="csX130" fmla="*/ 280966 w 733006"/>
              <a:gd name="csY130" fmla="*/ 759855 h 2095135"/>
              <a:gd name="csX131" fmla="*/ 259965 w 733006"/>
              <a:gd name="csY131" fmla="*/ 779553 h 2095135"/>
              <a:gd name="csX132" fmla="*/ 262341 w 733006"/>
              <a:gd name="csY132" fmla="*/ 856275 h 2095135"/>
              <a:gd name="csX133" fmla="*/ 259999 w 733006"/>
              <a:gd name="csY133" fmla="*/ 966699 h 2095135"/>
              <a:gd name="csX134" fmla="*/ 55556 w 733006"/>
              <a:gd name="csY134" fmla="*/ 1835827 h 2095135"/>
              <a:gd name="csX135" fmla="*/ 49393 w 733006"/>
              <a:gd name="csY135" fmla="*/ 1878155 h 2095135"/>
              <a:gd name="csX136" fmla="*/ 73949 w 733006"/>
              <a:gd name="csY136" fmla="*/ 1905781 h 2095135"/>
              <a:gd name="csX137" fmla="*/ 110073 w 733006"/>
              <a:gd name="csY137" fmla="*/ 1909068 h 2095135"/>
              <a:gd name="csX138" fmla="*/ 224745 w 733006"/>
              <a:gd name="csY138" fmla="*/ 1921652 h 2095135"/>
              <a:gd name="csX139" fmla="*/ 347327 w 733006"/>
              <a:gd name="csY139" fmla="*/ 1924778 h 2095135"/>
              <a:gd name="csX140" fmla="*/ 363345 w 733006"/>
              <a:gd name="csY140" fmla="*/ 1923293 h 2095135"/>
              <a:gd name="csX141" fmla="*/ 373787 w 733006"/>
              <a:gd name="csY141" fmla="*/ 1911200 h 2095135"/>
              <a:gd name="csX142" fmla="*/ 376623 w 733006"/>
              <a:gd name="csY142" fmla="*/ 1696741 h 2095135"/>
              <a:gd name="csX143" fmla="*/ 360437 w 733006"/>
              <a:gd name="csY143" fmla="*/ 1681289 h 2095135"/>
              <a:gd name="csX144" fmla="*/ 263503 w 733006"/>
              <a:gd name="csY144" fmla="*/ 1678179 h 2095135"/>
              <a:gd name="csX145" fmla="*/ 160381 w 733006"/>
              <a:gd name="csY145" fmla="*/ 1670405 h 2095135"/>
              <a:gd name="csX146" fmla="*/ 143321 w 733006"/>
              <a:gd name="csY146" fmla="*/ 1685538 h 2095135"/>
              <a:gd name="csX147" fmla="*/ 124769 w 733006"/>
              <a:gd name="csY147" fmla="*/ 1738195 h 2095135"/>
              <a:gd name="csX148" fmla="*/ 90593 w 733006"/>
              <a:gd name="csY148" fmla="*/ 1779570 h 2095135"/>
              <a:gd name="csX149" fmla="*/ 55556 w 733006"/>
              <a:gd name="csY149" fmla="*/ 1835827 h 2095135"/>
              <a:gd name="csX150" fmla="*/ 378900 w 733006"/>
              <a:gd name="csY150" fmla="*/ 2007280 h 2095135"/>
              <a:gd name="csX151" fmla="*/ 378887 w 733006"/>
              <a:gd name="csY151" fmla="*/ 1995127 h 2095135"/>
              <a:gd name="csX152" fmla="*/ 359084 w 733006"/>
              <a:gd name="csY152" fmla="*/ 1975964 h 2095135"/>
              <a:gd name="csX153" fmla="*/ 247288 w 733006"/>
              <a:gd name="csY153" fmla="*/ 1973305 h 2095135"/>
              <a:gd name="csX154" fmla="*/ 201692 w 733006"/>
              <a:gd name="csY154" fmla="*/ 1970275 h 2095135"/>
              <a:gd name="csX155" fmla="*/ 57962 w 733006"/>
              <a:gd name="csY155" fmla="*/ 1952648 h 2095135"/>
              <a:gd name="csX156" fmla="*/ 39194 w 733006"/>
              <a:gd name="csY156" fmla="*/ 1963552 h 2095135"/>
              <a:gd name="csX157" fmla="*/ 30066 w 733006"/>
              <a:gd name="csY157" fmla="*/ 2006631 h 2095135"/>
              <a:gd name="csX158" fmla="*/ 40232 w 733006"/>
              <a:gd name="csY158" fmla="*/ 2019486 h 2095135"/>
              <a:gd name="csX159" fmla="*/ 238186 w 733006"/>
              <a:gd name="csY159" fmla="*/ 2046096 h 2095135"/>
              <a:gd name="csX160" fmla="*/ 342155 w 733006"/>
              <a:gd name="csY160" fmla="*/ 2046441 h 2095135"/>
              <a:gd name="csX161" fmla="*/ 378900 w 733006"/>
              <a:gd name="csY161" fmla="*/ 2007280 h 2095135"/>
              <a:gd name="csX162" fmla="*/ 310220 w 733006"/>
              <a:gd name="csY162" fmla="*/ 554288 h 2095135"/>
              <a:gd name="csX163" fmla="*/ 259136 w 733006"/>
              <a:gd name="csY163" fmla="*/ 556881 h 2095135"/>
              <a:gd name="csX164" fmla="*/ 249085 w 733006"/>
              <a:gd name="csY164" fmla="*/ 567981 h 2095135"/>
              <a:gd name="csX165" fmla="*/ 249141 w 733006"/>
              <a:gd name="csY165" fmla="*/ 605644 h 2095135"/>
              <a:gd name="csX166" fmla="*/ 262628 w 733006"/>
              <a:gd name="csY166" fmla="*/ 605627 h 2095135"/>
              <a:gd name="csX167" fmla="*/ 369608 w 733006"/>
              <a:gd name="csY167" fmla="*/ 603027 h 2095135"/>
              <a:gd name="csX168" fmla="*/ 463931 w 733006"/>
              <a:gd name="csY168" fmla="*/ 605146 h 2095135"/>
              <a:gd name="csX169" fmla="*/ 478113 w 733006"/>
              <a:gd name="csY169" fmla="*/ 595843 h 2095135"/>
              <a:gd name="csX170" fmla="*/ 478796 w 733006"/>
              <a:gd name="csY170" fmla="*/ 556832 h 2095135"/>
              <a:gd name="csX171" fmla="*/ 310220 w 733006"/>
              <a:gd name="csY171" fmla="*/ 554288 h 2095135"/>
              <a:gd name="csX172" fmla="*/ 348836 w 733006"/>
              <a:gd name="csY172" fmla="*/ 684115 h 2095135"/>
              <a:gd name="csX173" fmla="*/ 281333 w 733006"/>
              <a:gd name="csY173" fmla="*/ 683313 h 2095135"/>
              <a:gd name="csX174" fmla="*/ 212728 w 733006"/>
              <a:gd name="csY174" fmla="*/ 681931 h 2095135"/>
              <a:gd name="csX175" fmla="*/ 187283 w 733006"/>
              <a:gd name="csY175" fmla="*/ 689555 h 2095135"/>
              <a:gd name="csX176" fmla="*/ 186163 w 733006"/>
              <a:gd name="csY176" fmla="*/ 718266 h 2095135"/>
              <a:gd name="csX177" fmla="*/ 209894 w 733006"/>
              <a:gd name="csY177" fmla="*/ 726798 h 2095135"/>
              <a:gd name="csX178" fmla="*/ 334814 w 733006"/>
              <a:gd name="csY178" fmla="*/ 732494 h 2095135"/>
              <a:gd name="csX179" fmla="*/ 364856 w 733006"/>
              <a:gd name="csY179" fmla="*/ 707963 h 2095135"/>
              <a:gd name="csX180" fmla="*/ 348836 w 733006"/>
              <a:gd name="csY180" fmla="*/ 684115 h 2095135"/>
              <a:gd name="csX181" fmla="*/ 298865 w 733006"/>
              <a:gd name="csY181" fmla="*/ 621954 h 2095135"/>
              <a:gd name="csX182" fmla="*/ 251619 w 733006"/>
              <a:gd name="csY182" fmla="*/ 622133 h 2095135"/>
              <a:gd name="csX183" fmla="*/ 214459 w 733006"/>
              <a:gd name="csY183" fmla="*/ 636230 h 2095135"/>
              <a:gd name="csX184" fmla="*/ 221436 w 733006"/>
              <a:gd name="csY184" fmla="*/ 654205 h 2095135"/>
              <a:gd name="csX185" fmla="*/ 272412 w 733006"/>
              <a:gd name="csY185" fmla="*/ 657250 h 2095135"/>
              <a:gd name="csX186" fmla="*/ 349094 w 733006"/>
              <a:gd name="csY186" fmla="*/ 659282 h 2095135"/>
              <a:gd name="csX187" fmla="*/ 362996 w 733006"/>
              <a:gd name="csY187" fmla="*/ 644234 h 2095135"/>
              <a:gd name="csX188" fmla="*/ 348472 w 733006"/>
              <a:gd name="csY188" fmla="*/ 624649 h 2095135"/>
              <a:gd name="csX189" fmla="*/ 298865 w 733006"/>
              <a:gd name="csY189" fmla="*/ 621954 h 2095135"/>
              <a:gd name="csX190" fmla="*/ 227796 w 733006"/>
              <a:gd name="csY190" fmla="*/ 528000 h 2095135"/>
              <a:gd name="csX191" fmla="*/ 241009 w 733006"/>
              <a:gd name="csY191" fmla="*/ 545897 h 2095135"/>
              <a:gd name="csX192" fmla="*/ 282607 w 733006"/>
              <a:gd name="csY192" fmla="*/ 543480 h 2095135"/>
              <a:gd name="csX193" fmla="*/ 354213 w 733006"/>
              <a:gd name="csY193" fmla="*/ 543384 h 2095135"/>
              <a:gd name="csX194" fmla="*/ 365334 w 733006"/>
              <a:gd name="csY194" fmla="*/ 533397 h 2095135"/>
              <a:gd name="csX195" fmla="*/ 354531 w 733006"/>
              <a:gd name="csY195" fmla="*/ 521620 h 2095135"/>
              <a:gd name="csX196" fmla="*/ 259169 w 733006"/>
              <a:gd name="csY196" fmla="*/ 521978 h 2095135"/>
              <a:gd name="csX197" fmla="*/ 227796 w 733006"/>
              <a:gd name="csY197" fmla="*/ 528000 h 2095135"/>
              <a:gd name="csX198" fmla="*/ 508068 w 733006"/>
              <a:gd name="csY198" fmla="*/ 190710 h 2095135"/>
              <a:gd name="csX199" fmla="*/ 521293 w 733006"/>
              <a:gd name="csY199" fmla="*/ 205907 h 2095135"/>
              <a:gd name="csX200" fmla="*/ 525175 w 733006"/>
              <a:gd name="csY200" fmla="*/ 202985 h 2095135"/>
              <a:gd name="csX201" fmla="*/ 500276 w 733006"/>
              <a:gd name="csY201" fmla="*/ 160640 h 2095135"/>
              <a:gd name="csX202" fmla="*/ 497122 w 733006"/>
              <a:gd name="csY202" fmla="*/ 162007 h 2095135"/>
              <a:gd name="csX203" fmla="*/ 508068 w 733006"/>
              <a:gd name="csY203" fmla="*/ 190710 h 2095135"/>
              <a:gd name="csX204" fmla="*/ 215522 w 733006"/>
              <a:gd name="csY204" fmla="*/ 197296 h 2095135"/>
              <a:gd name="csX205" fmla="*/ 234029 w 733006"/>
              <a:gd name="csY205" fmla="*/ 162725 h 2095135"/>
              <a:gd name="csX206" fmla="*/ 229000 w 733006"/>
              <a:gd name="csY206" fmla="*/ 159902 h 2095135"/>
              <a:gd name="csX207" fmla="*/ 204824 w 733006"/>
              <a:gd name="csY207" fmla="*/ 199677 h 2095135"/>
              <a:gd name="csX208" fmla="*/ 207990 w 733006"/>
              <a:gd name="csY208" fmla="*/ 202198 h 2095135"/>
              <a:gd name="csX209" fmla="*/ 215522 w 733006"/>
              <a:gd name="csY209" fmla="*/ 197296 h 2095135"/>
              <a:gd name="csX210" fmla="*/ 484400 w 733006"/>
              <a:gd name="csY210" fmla="*/ 896678 h 2095135"/>
              <a:gd name="csX211" fmla="*/ 486181 w 733006"/>
              <a:gd name="csY211" fmla="*/ 896585 h 2095135"/>
              <a:gd name="csX212" fmla="*/ 486181 w 733006"/>
              <a:gd name="csY212" fmla="*/ 795289 h 2095135"/>
              <a:gd name="csX213" fmla="*/ 720241 w 733006"/>
              <a:gd name="csY213" fmla="*/ 2030666 h 2095135"/>
              <a:gd name="csX214" fmla="*/ 721175 w 733006"/>
              <a:gd name="csY214" fmla="*/ 2029733 h 2095135"/>
              <a:gd name="csX0" fmla="*/ 96263 w 733006"/>
              <a:gd name="csY0" fmla="*/ 2076207 h 2095135"/>
              <a:gd name="csX1" fmla="*/ 63862 w 733006"/>
              <a:gd name="csY1" fmla="*/ 2065388 h 2095135"/>
              <a:gd name="csX2" fmla="*/ 16555 w 733006"/>
              <a:gd name="csY2" fmla="*/ 2050152 h 2095135"/>
              <a:gd name="csX3" fmla="*/ 15 w 733006"/>
              <a:gd name="csY3" fmla="*/ 2023802 h 2095135"/>
              <a:gd name="csX4" fmla="*/ 18368 w 733006"/>
              <a:gd name="csY4" fmla="*/ 1940709 h 2095135"/>
              <a:gd name="csX5" fmla="*/ 22139 w 733006"/>
              <a:gd name="csY5" fmla="*/ 1907268 h 2095135"/>
              <a:gd name="csX6" fmla="*/ 57941 w 733006"/>
              <a:gd name="csY6" fmla="*/ 1774163 h 2095135"/>
              <a:gd name="csX7" fmla="*/ 102478 w 733006"/>
              <a:gd name="csY7" fmla="*/ 1720275 h 2095135"/>
              <a:gd name="csX8" fmla="*/ 108579 w 733006"/>
              <a:gd name="csY8" fmla="*/ 1650967 h 2095135"/>
              <a:gd name="csX9" fmla="*/ 115628 w 733006"/>
              <a:gd name="csY9" fmla="*/ 1625405 h 2095135"/>
              <a:gd name="csX10" fmla="*/ 156323 w 733006"/>
              <a:gd name="csY10" fmla="*/ 1560181 h 2095135"/>
              <a:gd name="csX11" fmla="*/ 199424 w 733006"/>
              <a:gd name="csY11" fmla="*/ 1364729 h 2095135"/>
              <a:gd name="csX12" fmla="*/ 216779 w 733006"/>
              <a:gd name="csY12" fmla="*/ 1219490 h 2095135"/>
              <a:gd name="csX13" fmla="*/ 229755 w 733006"/>
              <a:gd name="csY13" fmla="*/ 1099357 h 2095135"/>
              <a:gd name="csX14" fmla="*/ 232707 w 733006"/>
              <a:gd name="csY14" fmla="*/ 1056423 h 2095135"/>
              <a:gd name="csX15" fmla="*/ 235622 w 733006"/>
              <a:gd name="csY15" fmla="*/ 952675 h 2095135"/>
              <a:gd name="csX16" fmla="*/ 235445 w 733006"/>
              <a:gd name="csY16" fmla="*/ 780278 h 2095135"/>
              <a:gd name="csX17" fmla="*/ 214544 w 733006"/>
              <a:gd name="csY17" fmla="*/ 756435 h 2095135"/>
              <a:gd name="csX18" fmla="*/ 172569 w 733006"/>
              <a:gd name="csY18" fmla="*/ 742582 h 2095135"/>
              <a:gd name="csX19" fmla="*/ 168784 w 733006"/>
              <a:gd name="csY19" fmla="*/ 669116 h 2095135"/>
              <a:gd name="csX20" fmla="*/ 191657 w 733006"/>
              <a:gd name="csY20" fmla="*/ 630765 h 2095135"/>
              <a:gd name="csX21" fmla="*/ 208150 w 733006"/>
              <a:gd name="csY21" fmla="*/ 609084 h 2095135"/>
              <a:gd name="csX22" fmla="*/ 216756 w 733006"/>
              <a:gd name="csY22" fmla="*/ 558673 h 2095135"/>
              <a:gd name="csX23" fmla="*/ 209092 w 733006"/>
              <a:gd name="csY23" fmla="*/ 521540 h 2095135"/>
              <a:gd name="csX24" fmla="*/ 204683 w 733006"/>
              <a:gd name="csY24" fmla="*/ 474024 h 2095135"/>
              <a:gd name="csX25" fmla="*/ 115483 w 733006"/>
              <a:gd name="csY25" fmla="*/ 213499 h 2095135"/>
              <a:gd name="csX26" fmla="*/ 102909 w 733006"/>
              <a:gd name="csY26" fmla="*/ 182297 h 2095135"/>
              <a:gd name="csX27" fmla="*/ 104315 w 733006"/>
              <a:gd name="csY27" fmla="*/ 163968 h 2095135"/>
              <a:gd name="csX28" fmla="*/ 122444 w 733006"/>
              <a:gd name="csY28" fmla="*/ 160805 h 2095135"/>
              <a:gd name="csX29" fmla="*/ 170283 w 733006"/>
              <a:gd name="csY29" fmla="*/ 187783 h 2095135"/>
              <a:gd name="csX30" fmla="*/ 180938 w 733006"/>
              <a:gd name="csY30" fmla="*/ 195322 h 2095135"/>
              <a:gd name="csX31" fmla="*/ 221419 w 733006"/>
              <a:gd name="csY31" fmla="*/ 138058 h 2095135"/>
              <a:gd name="csX32" fmla="*/ 294099 w 733006"/>
              <a:gd name="csY32" fmla="*/ 91372 h 2095135"/>
              <a:gd name="csX33" fmla="*/ 302307 w 733006"/>
              <a:gd name="csY33" fmla="*/ 76560 h 2095135"/>
              <a:gd name="csX34" fmla="*/ 320284 w 733006"/>
              <a:gd name="csY34" fmla="*/ 8414 h 2095135"/>
              <a:gd name="csX35" fmla="*/ 324784 w 733006"/>
              <a:gd name="csY35" fmla="*/ 946 h 2095135"/>
              <a:gd name="csX36" fmla="*/ 399212 w 733006"/>
              <a:gd name="csY36" fmla="*/ 0 h 2095135"/>
              <a:gd name="csX37" fmla="*/ 425980 w 733006"/>
              <a:gd name="csY37" fmla="*/ 78301 h 2095135"/>
              <a:gd name="csX38" fmla="*/ 431861 w 733006"/>
              <a:gd name="csY38" fmla="*/ 90312 h 2095135"/>
              <a:gd name="csX39" fmla="*/ 540349 w 733006"/>
              <a:gd name="csY39" fmla="*/ 187946 h 2095135"/>
              <a:gd name="csX40" fmla="*/ 545555 w 733006"/>
              <a:gd name="csY40" fmla="*/ 197828 h 2095135"/>
              <a:gd name="csX41" fmla="*/ 587318 w 733006"/>
              <a:gd name="csY41" fmla="*/ 171260 h 2095135"/>
              <a:gd name="csX42" fmla="*/ 601503 w 733006"/>
              <a:gd name="csY42" fmla="*/ 163707 h 2095135"/>
              <a:gd name="csX43" fmla="*/ 625254 w 733006"/>
              <a:gd name="csY43" fmla="*/ 163123 h 2095135"/>
              <a:gd name="csX44" fmla="*/ 625468 w 733006"/>
              <a:gd name="csY44" fmla="*/ 187579 h 2095135"/>
              <a:gd name="csX45" fmla="*/ 597543 w 733006"/>
              <a:gd name="csY45" fmla="*/ 251872 h 2095135"/>
              <a:gd name="csX46" fmla="*/ 531831 w 733006"/>
              <a:gd name="csY46" fmla="*/ 442689 h 2095135"/>
              <a:gd name="csX47" fmla="*/ 519888 w 733006"/>
              <a:gd name="csY47" fmla="*/ 501474 h 2095135"/>
              <a:gd name="csX48" fmla="*/ 522506 w 733006"/>
              <a:gd name="csY48" fmla="*/ 525086 h 2095135"/>
              <a:gd name="csX49" fmla="*/ 516235 w 733006"/>
              <a:gd name="csY49" fmla="*/ 555946 h 2095135"/>
              <a:gd name="csX50" fmla="*/ 521332 w 733006"/>
              <a:gd name="csY50" fmla="*/ 610676 h 2095135"/>
              <a:gd name="csX51" fmla="*/ 541382 w 733006"/>
              <a:gd name="csY51" fmla="*/ 642597 h 2095135"/>
              <a:gd name="csX52" fmla="*/ 557031 w 733006"/>
              <a:gd name="csY52" fmla="*/ 667949 h 2095135"/>
              <a:gd name="csX53" fmla="*/ 553994 w 733006"/>
              <a:gd name="csY53" fmla="*/ 744146 h 2095135"/>
              <a:gd name="csX54" fmla="*/ 508215 w 733006"/>
              <a:gd name="csY54" fmla="*/ 758841 h 2095135"/>
              <a:gd name="csX55" fmla="*/ 497442 w 733006"/>
              <a:gd name="csY55" fmla="*/ 771256 h 2095135"/>
              <a:gd name="csX56" fmla="*/ 493005 w 733006"/>
              <a:gd name="csY56" fmla="*/ 922055 h 2095135"/>
              <a:gd name="csX57" fmla="*/ 502900 w 733006"/>
              <a:gd name="csY57" fmla="*/ 1114191 h 2095135"/>
              <a:gd name="csX58" fmla="*/ 508800 w 733006"/>
              <a:gd name="csY58" fmla="*/ 1205474 h 2095135"/>
              <a:gd name="csX59" fmla="*/ 522952 w 733006"/>
              <a:gd name="csY59" fmla="*/ 1320065 h 2095135"/>
              <a:gd name="csX60" fmla="*/ 554682 w 733006"/>
              <a:gd name="csY60" fmla="*/ 1501203 h 2095135"/>
              <a:gd name="csX61" fmla="*/ 576958 w 733006"/>
              <a:gd name="csY61" fmla="*/ 1593963 h 2095135"/>
              <a:gd name="csX62" fmla="*/ 595349 w 733006"/>
              <a:gd name="csY62" fmla="*/ 1613498 h 2095135"/>
              <a:gd name="csX63" fmla="*/ 613936 w 733006"/>
              <a:gd name="csY63" fmla="*/ 1624058 h 2095135"/>
              <a:gd name="csX64" fmla="*/ 620938 w 733006"/>
              <a:gd name="csY64" fmla="*/ 1652071 h 2095135"/>
              <a:gd name="csX65" fmla="*/ 630805 w 733006"/>
              <a:gd name="csY65" fmla="*/ 1721702 h 2095135"/>
              <a:gd name="csX66" fmla="*/ 685830 w 733006"/>
              <a:gd name="csY66" fmla="*/ 1792915 h 2095135"/>
              <a:gd name="csX67" fmla="*/ 708904 w 733006"/>
              <a:gd name="csY67" fmla="*/ 1890290 h 2095135"/>
              <a:gd name="csX68" fmla="*/ 716580 w 733006"/>
              <a:gd name="csY68" fmla="*/ 1951136 h 2095135"/>
              <a:gd name="csX69" fmla="*/ 729397 w 733006"/>
              <a:gd name="csY69" fmla="*/ 2030261 h 2095135"/>
              <a:gd name="csX70" fmla="*/ 714212 w 733006"/>
              <a:gd name="csY70" fmla="*/ 2049544 h 2095135"/>
              <a:gd name="csX71" fmla="*/ 96263 w 733006"/>
              <a:gd name="csY71" fmla="*/ 2076207 h 2095135"/>
              <a:gd name="csX72" fmla="*/ 489970 w 733006"/>
              <a:gd name="csY72" fmla="*/ 152208 h 2095135"/>
              <a:gd name="csX73" fmla="*/ 490754 w 733006"/>
              <a:gd name="csY73" fmla="*/ 152592 h 2095135"/>
              <a:gd name="csX74" fmla="*/ 489489 w 733006"/>
              <a:gd name="csY74" fmla="*/ 149547 h 2095135"/>
              <a:gd name="csX75" fmla="*/ 393621 w 733006"/>
              <a:gd name="csY75" fmla="*/ 99259 h 2095135"/>
              <a:gd name="csX76" fmla="*/ 390419 w 733006"/>
              <a:gd name="csY76" fmla="*/ 18568 h 2095135"/>
              <a:gd name="csX77" fmla="*/ 334131 w 733006"/>
              <a:gd name="csY77" fmla="*/ 24327 h 2095135"/>
              <a:gd name="csX78" fmla="*/ 344678 w 733006"/>
              <a:gd name="csY78" fmla="*/ 101259 h 2095135"/>
              <a:gd name="csX79" fmla="*/ 298854 w 733006"/>
              <a:gd name="csY79" fmla="*/ 114003 h 2095135"/>
              <a:gd name="csX80" fmla="*/ 237456 w 733006"/>
              <a:gd name="csY80" fmla="*/ 154340 h 2095135"/>
              <a:gd name="csX81" fmla="*/ 240382 w 733006"/>
              <a:gd name="csY81" fmla="*/ 154035 h 2095135"/>
              <a:gd name="csX82" fmla="*/ 262731 w 733006"/>
              <a:gd name="csY82" fmla="*/ 170426 h 2095135"/>
              <a:gd name="csX83" fmla="*/ 279169 w 733006"/>
              <a:gd name="csY83" fmla="*/ 193173 h 2095135"/>
              <a:gd name="csX84" fmla="*/ 327717 w 733006"/>
              <a:gd name="csY84" fmla="*/ 188556 h 2095135"/>
              <a:gd name="csX85" fmla="*/ 348052 w 733006"/>
              <a:gd name="csY85" fmla="*/ 156919 h 2095135"/>
              <a:gd name="csX86" fmla="*/ 380330 w 733006"/>
              <a:gd name="csY86" fmla="*/ 156483 h 2095135"/>
              <a:gd name="csX87" fmla="*/ 408490 w 733006"/>
              <a:gd name="csY87" fmla="*/ 195400 h 2095135"/>
              <a:gd name="csX88" fmla="*/ 445346 w 733006"/>
              <a:gd name="csY88" fmla="*/ 197582 h 2095135"/>
              <a:gd name="csX89" fmla="*/ 464798 w 733006"/>
              <a:gd name="csY89" fmla="*/ 174107 h 2095135"/>
              <a:gd name="csX90" fmla="*/ 489970 w 733006"/>
              <a:gd name="csY90" fmla="*/ 152208 h 2095135"/>
              <a:gd name="csX91" fmla="*/ 140694 w 733006"/>
              <a:gd name="csY91" fmla="*/ 201837 h 2095135"/>
              <a:gd name="csX92" fmla="*/ 139834 w 733006"/>
              <a:gd name="csY92" fmla="*/ 201482 h 2095135"/>
              <a:gd name="csX93" fmla="*/ 140812 w 733006"/>
              <a:gd name="csY93" fmla="*/ 204941 h 2095135"/>
              <a:gd name="csX94" fmla="*/ 144631 w 733006"/>
              <a:gd name="csY94" fmla="*/ 217811 h 2095135"/>
              <a:gd name="csX95" fmla="*/ 201241 w 733006"/>
              <a:gd name="csY95" fmla="*/ 373387 h 2095135"/>
              <a:gd name="csX96" fmla="*/ 235971 w 733006"/>
              <a:gd name="csY96" fmla="*/ 504451 h 2095135"/>
              <a:gd name="csX97" fmla="*/ 247475 w 733006"/>
              <a:gd name="csY97" fmla="*/ 513241 h 2095135"/>
              <a:gd name="csX98" fmla="*/ 289066 w 733006"/>
              <a:gd name="csY98" fmla="*/ 511170 h 2095135"/>
              <a:gd name="csX99" fmla="*/ 378229 w 733006"/>
              <a:gd name="csY99" fmla="*/ 511084 h 2095135"/>
              <a:gd name="csX100" fmla="*/ 470850 w 733006"/>
              <a:gd name="csY100" fmla="*/ 516341 h 2095135"/>
              <a:gd name="csX101" fmla="*/ 492933 w 733006"/>
              <a:gd name="csY101" fmla="*/ 497969 h 2095135"/>
              <a:gd name="csX102" fmla="*/ 557617 w 733006"/>
              <a:gd name="csY102" fmla="*/ 280398 h 2095135"/>
              <a:gd name="csX103" fmla="*/ 588788 w 733006"/>
              <a:gd name="csY103" fmla="*/ 200385 h 2095135"/>
              <a:gd name="csX104" fmla="*/ 530958 w 733006"/>
              <a:gd name="csY104" fmla="*/ 232968 h 2095135"/>
              <a:gd name="csX105" fmla="*/ 483823 w 733006"/>
              <a:gd name="csY105" fmla="*/ 190364 h 2095135"/>
              <a:gd name="csX106" fmla="*/ 466649 w 733006"/>
              <a:gd name="csY106" fmla="*/ 209061 h 2095135"/>
              <a:gd name="csX107" fmla="*/ 399941 w 733006"/>
              <a:gd name="csY107" fmla="*/ 216988 h 2095135"/>
              <a:gd name="csX108" fmla="*/ 363018 w 733006"/>
              <a:gd name="csY108" fmla="*/ 179615 h 2095135"/>
              <a:gd name="csX109" fmla="*/ 308839 w 733006"/>
              <a:gd name="csY109" fmla="*/ 227846 h 2095135"/>
              <a:gd name="csX110" fmla="*/ 245077 w 733006"/>
              <a:gd name="csY110" fmla="*/ 192402 h 2095135"/>
              <a:gd name="csX111" fmla="*/ 242829 w 733006"/>
              <a:gd name="csY111" fmla="*/ 198815 h 2095135"/>
              <a:gd name="csX112" fmla="*/ 168452 w 733006"/>
              <a:gd name="csY112" fmla="*/ 219348 h 2095135"/>
              <a:gd name="csX113" fmla="*/ 140694 w 733006"/>
              <a:gd name="csY113" fmla="*/ 201837 h 2095135"/>
              <a:gd name="csX114" fmla="*/ 259999 w 733006"/>
              <a:gd name="csY114" fmla="*/ 966699 h 2095135"/>
              <a:gd name="csX115" fmla="*/ 257072 w 733006"/>
              <a:gd name="csY115" fmla="*/ 1070424 h 2095135"/>
              <a:gd name="csX116" fmla="*/ 251372 w 733006"/>
              <a:gd name="csY116" fmla="*/ 1157618 h 2095135"/>
              <a:gd name="csX117" fmla="*/ 232677 w 733006"/>
              <a:gd name="csY117" fmla="*/ 1320279 h 2095135"/>
              <a:gd name="csX118" fmla="*/ 209182 w 733006"/>
              <a:gd name="csY118" fmla="*/ 1468667 h 2095135"/>
              <a:gd name="csX119" fmla="*/ 175302 w 733006"/>
              <a:gd name="csY119" fmla="*/ 1616623 h 2095135"/>
              <a:gd name="csX120" fmla="*/ 182769 w 733006"/>
              <a:gd name="csY120" fmla="*/ 1629786 h 2095135"/>
              <a:gd name="csX121" fmla="*/ 212156 w 733006"/>
              <a:gd name="csY121" fmla="*/ 1632656 h 2095135"/>
              <a:gd name="csX122" fmla="*/ 351295 w 733006"/>
              <a:gd name="csY122" fmla="*/ 1632801 h 2095135"/>
              <a:gd name="csX123" fmla="*/ 376150 w 733006"/>
              <a:gd name="csY123" fmla="*/ 1608307 h 2095135"/>
              <a:gd name="csX124" fmla="*/ 373450 w 733006"/>
              <a:gd name="csY124" fmla="*/ 1457291 h 2095135"/>
              <a:gd name="csX125" fmla="*/ 370936 w 733006"/>
              <a:gd name="csY125" fmla="*/ 1342736 h 2095135"/>
              <a:gd name="csX126" fmla="*/ 368328 w 733006"/>
              <a:gd name="csY126" fmla="*/ 1203878 h 2095135"/>
              <a:gd name="csX127" fmla="*/ 367836 w 733006"/>
              <a:gd name="csY127" fmla="*/ 813478 h 2095135"/>
              <a:gd name="csX128" fmla="*/ 365240 w 733006"/>
              <a:gd name="csY128" fmla="*/ 773243 h 2095135"/>
              <a:gd name="csX129" fmla="*/ 353084 w 733006"/>
              <a:gd name="csY129" fmla="*/ 762083 h 2095135"/>
              <a:gd name="csX130" fmla="*/ 280966 w 733006"/>
              <a:gd name="csY130" fmla="*/ 759855 h 2095135"/>
              <a:gd name="csX131" fmla="*/ 259965 w 733006"/>
              <a:gd name="csY131" fmla="*/ 779553 h 2095135"/>
              <a:gd name="csX132" fmla="*/ 262341 w 733006"/>
              <a:gd name="csY132" fmla="*/ 856275 h 2095135"/>
              <a:gd name="csX133" fmla="*/ 259999 w 733006"/>
              <a:gd name="csY133" fmla="*/ 966699 h 2095135"/>
              <a:gd name="csX134" fmla="*/ 55556 w 733006"/>
              <a:gd name="csY134" fmla="*/ 1835827 h 2095135"/>
              <a:gd name="csX135" fmla="*/ 49393 w 733006"/>
              <a:gd name="csY135" fmla="*/ 1878155 h 2095135"/>
              <a:gd name="csX136" fmla="*/ 73949 w 733006"/>
              <a:gd name="csY136" fmla="*/ 1905781 h 2095135"/>
              <a:gd name="csX137" fmla="*/ 110073 w 733006"/>
              <a:gd name="csY137" fmla="*/ 1909068 h 2095135"/>
              <a:gd name="csX138" fmla="*/ 224745 w 733006"/>
              <a:gd name="csY138" fmla="*/ 1921652 h 2095135"/>
              <a:gd name="csX139" fmla="*/ 347327 w 733006"/>
              <a:gd name="csY139" fmla="*/ 1924778 h 2095135"/>
              <a:gd name="csX140" fmla="*/ 363345 w 733006"/>
              <a:gd name="csY140" fmla="*/ 1923293 h 2095135"/>
              <a:gd name="csX141" fmla="*/ 373787 w 733006"/>
              <a:gd name="csY141" fmla="*/ 1911200 h 2095135"/>
              <a:gd name="csX142" fmla="*/ 376623 w 733006"/>
              <a:gd name="csY142" fmla="*/ 1696741 h 2095135"/>
              <a:gd name="csX143" fmla="*/ 360437 w 733006"/>
              <a:gd name="csY143" fmla="*/ 1681289 h 2095135"/>
              <a:gd name="csX144" fmla="*/ 263503 w 733006"/>
              <a:gd name="csY144" fmla="*/ 1678179 h 2095135"/>
              <a:gd name="csX145" fmla="*/ 160381 w 733006"/>
              <a:gd name="csY145" fmla="*/ 1670405 h 2095135"/>
              <a:gd name="csX146" fmla="*/ 143321 w 733006"/>
              <a:gd name="csY146" fmla="*/ 1685538 h 2095135"/>
              <a:gd name="csX147" fmla="*/ 124769 w 733006"/>
              <a:gd name="csY147" fmla="*/ 1738195 h 2095135"/>
              <a:gd name="csX148" fmla="*/ 90593 w 733006"/>
              <a:gd name="csY148" fmla="*/ 1779570 h 2095135"/>
              <a:gd name="csX149" fmla="*/ 55556 w 733006"/>
              <a:gd name="csY149" fmla="*/ 1835827 h 2095135"/>
              <a:gd name="csX150" fmla="*/ 378900 w 733006"/>
              <a:gd name="csY150" fmla="*/ 2007280 h 2095135"/>
              <a:gd name="csX151" fmla="*/ 378887 w 733006"/>
              <a:gd name="csY151" fmla="*/ 1995127 h 2095135"/>
              <a:gd name="csX152" fmla="*/ 359084 w 733006"/>
              <a:gd name="csY152" fmla="*/ 1975964 h 2095135"/>
              <a:gd name="csX153" fmla="*/ 247288 w 733006"/>
              <a:gd name="csY153" fmla="*/ 1973305 h 2095135"/>
              <a:gd name="csX154" fmla="*/ 201692 w 733006"/>
              <a:gd name="csY154" fmla="*/ 1970275 h 2095135"/>
              <a:gd name="csX155" fmla="*/ 57962 w 733006"/>
              <a:gd name="csY155" fmla="*/ 1952648 h 2095135"/>
              <a:gd name="csX156" fmla="*/ 39194 w 733006"/>
              <a:gd name="csY156" fmla="*/ 1963552 h 2095135"/>
              <a:gd name="csX157" fmla="*/ 30066 w 733006"/>
              <a:gd name="csY157" fmla="*/ 2006631 h 2095135"/>
              <a:gd name="csX158" fmla="*/ 40232 w 733006"/>
              <a:gd name="csY158" fmla="*/ 2019486 h 2095135"/>
              <a:gd name="csX159" fmla="*/ 238186 w 733006"/>
              <a:gd name="csY159" fmla="*/ 2046096 h 2095135"/>
              <a:gd name="csX160" fmla="*/ 342155 w 733006"/>
              <a:gd name="csY160" fmla="*/ 2046441 h 2095135"/>
              <a:gd name="csX161" fmla="*/ 378900 w 733006"/>
              <a:gd name="csY161" fmla="*/ 2007280 h 2095135"/>
              <a:gd name="csX162" fmla="*/ 310220 w 733006"/>
              <a:gd name="csY162" fmla="*/ 554288 h 2095135"/>
              <a:gd name="csX163" fmla="*/ 259136 w 733006"/>
              <a:gd name="csY163" fmla="*/ 556881 h 2095135"/>
              <a:gd name="csX164" fmla="*/ 249085 w 733006"/>
              <a:gd name="csY164" fmla="*/ 567981 h 2095135"/>
              <a:gd name="csX165" fmla="*/ 249141 w 733006"/>
              <a:gd name="csY165" fmla="*/ 605644 h 2095135"/>
              <a:gd name="csX166" fmla="*/ 262628 w 733006"/>
              <a:gd name="csY166" fmla="*/ 605627 h 2095135"/>
              <a:gd name="csX167" fmla="*/ 369608 w 733006"/>
              <a:gd name="csY167" fmla="*/ 603027 h 2095135"/>
              <a:gd name="csX168" fmla="*/ 463931 w 733006"/>
              <a:gd name="csY168" fmla="*/ 605146 h 2095135"/>
              <a:gd name="csX169" fmla="*/ 478113 w 733006"/>
              <a:gd name="csY169" fmla="*/ 595843 h 2095135"/>
              <a:gd name="csX170" fmla="*/ 478796 w 733006"/>
              <a:gd name="csY170" fmla="*/ 556832 h 2095135"/>
              <a:gd name="csX171" fmla="*/ 310220 w 733006"/>
              <a:gd name="csY171" fmla="*/ 554288 h 2095135"/>
              <a:gd name="csX172" fmla="*/ 348836 w 733006"/>
              <a:gd name="csY172" fmla="*/ 684115 h 2095135"/>
              <a:gd name="csX173" fmla="*/ 281333 w 733006"/>
              <a:gd name="csY173" fmla="*/ 683313 h 2095135"/>
              <a:gd name="csX174" fmla="*/ 212728 w 733006"/>
              <a:gd name="csY174" fmla="*/ 681931 h 2095135"/>
              <a:gd name="csX175" fmla="*/ 187283 w 733006"/>
              <a:gd name="csY175" fmla="*/ 689555 h 2095135"/>
              <a:gd name="csX176" fmla="*/ 186163 w 733006"/>
              <a:gd name="csY176" fmla="*/ 718266 h 2095135"/>
              <a:gd name="csX177" fmla="*/ 209894 w 733006"/>
              <a:gd name="csY177" fmla="*/ 726798 h 2095135"/>
              <a:gd name="csX178" fmla="*/ 334814 w 733006"/>
              <a:gd name="csY178" fmla="*/ 732494 h 2095135"/>
              <a:gd name="csX179" fmla="*/ 364856 w 733006"/>
              <a:gd name="csY179" fmla="*/ 707963 h 2095135"/>
              <a:gd name="csX180" fmla="*/ 348836 w 733006"/>
              <a:gd name="csY180" fmla="*/ 684115 h 2095135"/>
              <a:gd name="csX181" fmla="*/ 298865 w 733006"/>
              <a:gd name="csY181" fmla="*/ 621954 h 2095135"/>
              <a:gd name="csX182" fmla="*/ 251619 w 733006"/>
              <a:gd name="csY182" fmla="*/ 622133 h 2095135"/>
              <a:gd name="csX183" fmla="*/ 214459 w 733006"/>
              <a:gd name="csY183" fmla="*/ 636230 h 2095135"/>
              <a:gd name="csX184" fmla="*/ 221436 w 733006"/>
              <a:gd name="csY184" fmla="*/ 654205 h 2095135"/>
              <a:gd name="csX185" fmla="*/ 272412 w 733006"/>
              <a:gd name="csY185" fmla="*/ 657250 h 2095135"/>
              <a:gd name="csX186" fmla="*/ 349094 w 733006"/>
              <a:gd name="csY186" fmla="*/ 659282 h 2095135"/>
              <a:gd name="csX187" fmla="*/ 362996 w 733006"/>
              <a:gd name="csY187" fmla="*/ 644234 h 2095135"/>
              <a:gd name="csX188" fmla="*/ 348472 w 733006"/>
              <a:gd name="csY188" fmla="*/ 624649 h 2095135"/>
              <a:gd name="csX189" fmla="*/ 298865 w 733006"/>
              <a:gd name="csY189" fmla="*/ 621954 h 2095135"/>
              <a:gd name="csX190" fmla="*/ 227796 w 733006"/>
              <a:gd name="csY190" fmla="*/ 528000 h 2095135"/>
              <a:gd name="csX191" fmla="*/ 241009 w 733006"/>
              <a:gd name="csY191" fmla="*/ 545897 h 2095135"/>
              <a:gd name="csX192" fmla="*/ 282607 w 733006"/>
              <a:gd name="csY192" fmla="*/ 543480 h 2095135"/>
              <a:gd name="csX193" fmla="*/ 354213 w 733006"/>
              <a:gd name="csY193" fmla="*/ 543384 h 2095135"/>
              <a:gd name="csX194" fmla="*/ 365334 w 733006"/>
              <a:gd name="csY194" fmla="*/ 533397 h 2095135"/>
              <a:gd name="csX195" fmla="*/ 354531 w 733006"/>
              <a:gd name="csY195" fmla="*/ 521620 h 2095135"/>
              <a:gd name="csX196" fmla="*/ 259169 w 733006"/>
              <a:gd name="csY196" fmla="*/ 521978 h 2095135"/>
              <a:gd name="csX197" fmla="*/ 227796 w 733006"/>
              <a:gd name="csY197" fmla="*/ 528000 h 2095135"/>
              <a:gd name="csX198" fmla="*/ 508068 w 733006"/>
              <a:gd name="csY198" fmla="*/ 190710 h 2095135"/>
              <a:gd name="csX199" fmla="*/ 521293 w 733006"/>
              <a:gd name="csY199" fmla="*/ 205907 h 2095135"/>
              <a:gd name="csX200" fmla="*/ 525175 w 733006"/>
              <a:gd name="csY200" fmla="*/ 202985 h 2095135"/>
              <a:gd name="csX201" fmla="*/ 500276 w 733006"/>
              <a:gd name="csY201" fmla="*/ 160640 h 2095135"/>
              <a:gd name="csX202" fmla="*/ 497122 w 733006"/>
              <a:gd name="csY202" fmla="*/ 162007 h 2095135"/>
              <a:gd name="csX203" fmla="*/ 508068 w 733006"/>
              <a:gd name="csY203" fmla="*/ 190710 h 2095135"/>
              <a:gd name="csX204" fmla="*/ 215522 w 733006"/>
              <a:gd name="csY204" fmla="*/ 197296 h 2095135"/>
              <a:gd name="csX205" fmla="*/ 234029 w 733006"/>
              <a:gd name="csY205" fmla="*/ 162725 h 2095135"/>
              <a:gd name="csX206" fmla="*/ 229000 w 733006"/>
              <a:gd name="csY206" fmla="*/ 159902 h 2095135"/>
              <a:gd name="csX207" fmla="*/ 204824 w 733006"/>
              <a:gd name="csY207" fmla="*/ 199677 h 2095135"/>
              <a:gd name="csX208" fmla="*/ 207990 w 733006"/>
              <a:gd name="csY208" fmla="*/ 202198 h 2095135"/>
              <a:gd name="csX209" fmla="*/ 215522 w 733006"/>
              <a:gd name="csY209" fmla="*/ 197296 h 2095135"/>
              <a:gd name="csX210" fmla="*/ 484400 w 733006"/>
              <a:gd name="csY210" fmla="*/ 896678 h 2095135"/>
              <a:gd name="csX211" fmla="*/ 486181 w 733006"/>
              <a:gd name="csY211" fmla="*/ 896585 h 2095135"/>
              <a:gd name="csX212" fmla="*/ 486181 w 733006"/>
              <a:gd name="csY212" fmla="*/ 795289 h 2095135"/>
              <a:gd name="csX0" fmla="*/ 96263 w 733006"/>
              <a:gd name="csY0" fmla="*/ 2076207 h 2099709"/>
              <a:gd name="csX1" fmla="*/ 63862 w 733006"/>
              <a:gd name="csY1" fmla="*/ 2065388 h 2099709"/>
              <a:gd name="csX2" fmla="*/ 16555 w 733006"/>
              <a:gd name="csY2" fmla="*/ 2050152 h 2099709"/>
              <a:gd name="csX3" fmla="*/ 15 w 733006"/>
              <a:gd name="csY3" fmla="*/ 2023802 h 2099709"/>
              <a:gd name="csX4" fmla="*/ 18368 w 733006"/>
              <a:gd name="csY4" fmla="*/ 1940709 h 2099709"/>
              <a:gd name="csX5" fmla="*/ 22139 w 733006"/>
              <a:gd name="csY5" fmla="*/ 1907268 h 2099709"/>
              <a:gd name="csX6" fmla="*/ 57941 w 733006"/>
              <a:gd name="csY6" fmla="*/ 1774163 h 2099709"/>
              <a:gd name="csX7" fmla="*/ 102478 w 733006"/>
              <a:gd name="csY7" fmla="*/ 1720275 h 2099709"/>
              <a:gd name="csX8" fmla="*/ 108579 w 733006"/>
              <a:gd name="csY8" fmla="*/ 1650967 h 2099709"/>
              <a:gd name="csX9" fmla="*/ 115628 w 733006"/>
              <a:gd name="csY9" fmla="*/ 1625405 h 2099709"/>
              <a:gd name="csX10" fmla="*/ 156323 w 733006"/>
              <a:gd name="csY10" fmla="*/ 1560181 h 2099709"/>
              <a:gd name="csX11" fmla="*/ 199424 w 733006"/>
              <a:gd name="csY11" fmla="*/ 1364729 h 2099709"/>
              <a:gd name="csX12" fmla="*/ 216779 w 733006"/>
              <a:gd name="csY12" fmla="*/ 1219490 h 2099709"/>
              <a:gd name="csX13" fmla="*/ 229755 w 733006"/>
              <a:gd name="csY13" fmla="*/ 1099357 h 2099709"/>
              <a:gd name="csX14" fmla="*/ 232707 w 733006"/>
              <a:gd name="csY14" fmla="*/ 1056423 h 2099709"/>
              <a:gd name="csX15" fmla="*/ 235622 w 733006"/>
              <a:gd name="csY15" fmla="*/ 952675 h 2099709"/>
              <a:gd name="csX16" fmla="*/ 235445 w 733006"/>
              <a:gd name="csY16" fmla="*/ 780278 h 2099709"/>
              <a:gd name="csX17" fmla="*/ 214544 w 733006"/>
              <a:gd name="csY17" fmla="*/ 756435 h 2099709"/>
              <a:gd name="csX18" fmla="*/ 172569 w 733006"/>
              <a:gd name="csY18" fmla="*/ 742582 h 2099709"/>
              <a:gd name="csX19" fmla="*/ 168784 w 733006"/>
              <a:gd name="csY19" fmla="*/ 669116 h 2099709"/>
              <a:gd name="csX20" fmla="*/ 191657 w 733006"/>
              <a:gd name="csY20" fmla="*/ 630765 h 2099709"/>
              <a:gd name="csX21" fmla="*/ 208150 w 733006"/>
              <a:gd name="csY21" fmla="*/ 609084 h 2099709"/>
              <a:gd name="csX22" fmla="*/ 216756 w 733006"/>
              <a:gd name="csY22" fmla="*/ 558673 h 2099709"/>
              <a:gd name="csX23" fmla="*/ 209092 w 733006"/>
              <a:gd name="csY23" fmla="*/ 521540 h 2099709"/>
              <a:gd name="csX24" fmla="*/ 204683 w 733006"/>
              <a:gd name="csY24" fmla="*/ 474024 h 2099709"/>
              <a:gd name="csX25" fmla="*/ 115483 w 733006"/>
              <a:gd name="csY25" fmla="*/ 213499 h 2099709"/>
              <a:gd name="csX26" fmla="*/ 102909 w 733006"/>
              <a:gd name="csY26" fmla="*/ 182297 h 2099709"/>
              <a:gd name="csX27" fmla="*/ 104315 w 733006"/>
              <a:gd name="csY27" fmla="*/ 163968 h 2099709"/>
              <a:gd name="csX28" fmla="*/ 122444 w 733006"/>
              <a:gd name="csY28" fmla="*/ 160805 h 2099709"/>
              <a:gd name="csX29" fmla="*/ 170283 w 733006"/>
              <a:gd name="csY29" fmla="*/ 187783 h 2099709"/>
              <a:gd name="csX30" fmla="*/ 180938 w 733006"/>
              <a:gd name="csY30" fmla="*/ 195322 h 2099709"/>
              <a:gd name="csX31" fmla="*/ 221419 w 733006"/>
              <a:gd name="csY31" fmla="*/ 138058 h 2099709"/>
              <a:gd name="csX32" fmla="*/ 294099 w 733006"/>
              <a:gd name="csY32" fmla="*/ 91372 h 2099709"/>
              <a:gd name="csX33" fmla="*/ 302307 w 733006"/>
              <a:gd name="csY33" fmla="*/ 76560 h 2099709"/>
              <a:gd name="csX34" fmla="*/ 320284 w 733006"/>
              <a:gd name="csY34" fmla="*/ 8414 h 2099709"/>
              <a:gd name="csX35" fmla="*/ 324784 w 733006"/>
              <a:gd name="csY35" fmla="*/ 946 h 2099709"/>
              <a:gd name="csX36" fmla="*/ 399212 w 733006"/>
              <a:gd name="csY36" fmla="*/ 0 h 2099709"/>
              <a:gd name="csX37" fmla="*/ 425980 w 733006"/>
              <a:gd name="csY37" fmla="*/ 78301 h 2099709"/>
              <a:gd name="csX38" fmla="*/ 431861 w 733006"/>
              <a:gd name="csY38" fmla="*/ 90312 h 2099709"/>
              <a:gd name="csX39" fmla="*/ 540349 w 733006"/>
              <a:gd name="csY39" fmla="*/ 187946 h 2099709"/>
              <a:gd name="csX40" fmla="*/ 545555 w 733006"/>
              <a:gd name="csY40" fmla="*/ 197828 h 2099709"/>
              <a:gd name="csX41" fmla="*/ 587318 w 733006"/>
              <a:gd name="csY41" fmla="*/ 171260 h 2099709"/>
              <a:gd name="csX42" fmla="*/ 601503 w 733006"/>
              <a:gd name="csY42" fmla="*/ 163707 h 2099709"/>
              <a:gd name="csX43" fmla="*/ 625254 w 733006"/>
              <a:gd name="csY43" fmla="*/ 163123 h 2099709"/>
              <a:gd name="csX44" fmla="*/ 625468 w 733006"/>
              <a:gd name="csY44" fmla="*/ 187579 h 2099709"/>
              <a:gd name="csX45" fmla="*/ 597543 w 733006"/>
              <a:gd name="csY45" fmla="*/ 251872 h 2099709"/>
              <a:gd name="csX46" fmla="*/ 531831 w 733006"/>
              <a:gd name="csY46" fmla="*/ 442689 h 2099709"/>
              <a:gd name="csX47" fmla="*/ 519888 w 733006"/>
              <a:gd name="csY47" fmla="*/ 501474 h 2099709"/>
              <a:gd name="csX48" fmla="*/ 522506 w 733006"/>
              <a:gd name="csY48" fmla="*/ 525086 h 2099709"/>
              <a:gd name="csX49" fmla="*/ 516235 w 733006"/>
              <a:gd name="csY49" fmla="*/ 555946 h 2099709"/>
              <a:gd name="csX50" fmla="*/ 521332 w 733006"/>
              <a:gd name="csY50" fmla="*/ 610676 h 2099709"/>
              <a:gd name="csX51" fmla="*/ 541382 w 733006"/>
              <a:gd name="csY51" fmla="*/ 642597 h 2099709"/>
              <a:gd name="csX52" fmla="*/ 557031 w 733006"/>
              <a:gd name="csY52" fmla="*/ 667949 h 2099709"/>
              <a:gd name="csX53" fmla="*/ 553994 w 733006"/>
              <a:gd name="csY53" fmla="*/ 744146 h 2099709"/>
              <a:gd name="csX54" fmla="*/ 508215 w 733006"/>
              <a:gd name="csY54" fmla="*/ 758841 h 2099709"/>
              <a:gd name="csX55" fmla="*/ 497442 w 733006"/>
              <a:gd name="csY55" fmla="*/ 771256 h 2099709"/>
              <a:gd name="csX56" fmla="*/ 493005 w 733006"/>
              <a:gd name="csY56" fmla="*/ 922055 h 2099709"/>
              <a:gd name="csX57" fmla="*/ 502900 w 733006"/>
              <a:gd name="csY57" fmla="*/ 1114191 h 2099709"/>
              <a:gd name="csX58" fmla="*/ 508800 w 733006"/>
              <a:gd name="csY58" fmla="*/ 1205474 h 2099709"/>
              <a:gd name="csX59" fmla="*/ 522952 w 733006"/>
              <a:gd name="csY59" fmla="*/ 1320065 h 2099709"/>
              <a:gd name="csX60" fmla="*/ 554682 w 733006"/>
              <a:gd name="csY60" fmla="*/ 1501203 h 2099709"/>
              <a:gd name="csX61" fmla="*/ 576958 w 733006"/>
              <a:gd name="csY61" fmla="*/ 1593963 h 2099709"/>
              <a:gd name="csX62" fmla="*/ 595349 w 733006"/>
              <a:gd name="csY62" fmla="*/ 1613498 h 2099709"/>
              <a:gd name="csX63" fmla="*/ 613936 w 733006"/>
              <a:gd name="csY63" fmla="*/ 1624058 h 2099709"/>
              <a:gd name="csX64" fmla="*/ 620938 w 733006"/>
              <a:gd name="csY64" fmla="*/ 1652071 h 2099709"/>
              <a:gd name="csX65" fmla="*/ 630805 w 733006"/>
              <a:gd name="csY65" fmla="*/ 1721702 h 2099709"/>
              <a:gd name="csX66" fmla="*/ 685830 w 733006"/>
              <a:gd name="csY66" fmla="*/ 1792915 h 2099709"/>
              <a:gd name="csX67" fmla="*/ 708904 w 733006"/>
              <a:gd name="csY67" fmla="*/ 1890290 h 2099709"/>
              <a:gd name="csX68" fmla="*/ 716580 w 733006"/>
              <a:gd name="csY68" fmla="*/ 1951136 h 2099709"/>
              <a:gd name="csX69" fmla="*/ 729397 w 733006"/>
              <a:gd name="csY69" fmla="*/ 2030261 h 2099709"/>
              <a:gd name="csX70" fmla="*/ 714212 w 733006"/>
              <a:gd name="csY70" fmla="*/ 2059069 h 2099709"/>
              <a:gd name="csX71" fmla="*/ 96263 w 733006"/>
              <a:gd name="csY71" fmla="*/ 2076207 h 2099709"/>
              <a:gd name="csX72" fmla="*/ 489970 w 733006"/>
              <a:gd name="csY72" fmla="*/ 152208 h 2099709"/>
              <a:gd name="csX73" fmla="*/ 490754 w 733006"/>
              <a:gd name="csY73" fmla="*/ 152592 h 2099709"/>
              <a:gd name="csX74" fmla="*/ 489489 w 733006"/>
              <a:gd name="csY74" fmla="*/ 149547 h 2099709"/>
              <a:gd name="csX75" fmla="*/ 393621 w 733006"/>
              <a:gd name="csY75" fmla="*/ 99259 h 2099709"/>
              <a:gd name="csX76" fmla="*/ 390419 w 733006"/>
              <a:gd name="csY76" fmla="*/ 18568 h 2099709"/>
              <a:gd name="csX77" fmla="*/ 334131 w 733006"/>
              <a:gd name="csY77" fmla="*/ 24327 h 2099709"/>
              <a:gd name="csX78" fmla="*/ 344678 w 733006"/>
              <a:gd name="csY78" fmla="*/ 101259 h 2099709"/>
              <a:gd name="csX79" fmla="*/ 298854 w 733006"/>
              <a:gd name="csY79" fmla="*/ 114003 h 2099709"/>
              <a:gd name="csX80" fmla="*/ 237456 w 733006"/>
              <a:gd name="csY80" fmla="*/ 154340 h 2099709"/>
              <a:gd name="csX81" fmla="*/ 240382 w 733006"/>
              <a:gd name="csY81" fmla="*/ 154035 h 2099709"/>
              <a:gd name="csX82" fmla="*/ 262731 w 733006"/>
              <a:gd name="csY82" fmla="*/ 170426 h 2099709"/>
              <a:gd name="csX83" fmla="*/ 279169 w 733006"/>
              <a:gd name="csY83" fmla="*/ 193173 h 2099709"/>
              <a:gd name="csX84" fmla="*/ 327717 w 733006"/>
              <a:gd name="csY84" fmla="*/ 188556 h 2099709"/>
              <a:gd name="csX85" fmla="*/ 348052 w 733006"/>
              <a:gd name="csY85" fmla="*/ 156919 h 2099709"/>
              <a:gd name="csX86" fmla="*/ 380330 w 733006"/>
              <a:gd name="csY86" fmla="*/ 156483 h 2099709"/>
              <a:gd name="csX87" fmla="*/ 408490 w 733006"/>
              <a:gd name="csY87" fmla="*/ 195400 h 2099709"/>
              <a:gd name="csX88" fmla="*/ 445346 w 733006"/>
              <a:gd name="csY88" fmla="*/ 197582 h 2099709"/>
              <a:gd name="csX89" fmla="*/ 464798 w 733006"/>
              <a:gd name="csY89" fmla="*/ 174107 h 2099709"/>
              <a:gd name="csX90" fmla="*/ 489970 w 733006"/>
              <a:gd name="csY90" fmla="*/ 152208 h 2099709"/>
              <a:gd name="csX91" fmla="*/ 140694 w 733006"/>
              <a:gd name="csY91" fmla="*/ 201837 h 2099709"/>
              <a:gd name="csX92" fmla="*/ 139834 w 733006"/>
              <a:gd name="csY92" fmla="*/ 201482 h 2099709"/>
              <a:gd name="csX93" fmla="*/ 140812 w 733006"/>
              <a:gd name="csY93" fmla="*/ 204941 h 2099709"/>
              <a:gd name="csX94" fmla="*/ 144631 w 733006"/>
              <a:gd name="csY94" fmla="*/ 217811 h 2099709"/>
              <a:gd name="csX95" fmla="*/ 201241 w 733006"/>
              <a:gd name="csY95" fmla="*/ 373387 h 2099709"/>
              <a:gd name="csX96" fmla="*/ 235971 w 733006"/>
              <a:gd name="csY96" fmla="*/ 504451 h 2099709"/>
              <a:gd name="csX97" fmla="*/ 247475 w 733006"/>
              <a:gd name="csY97" fmla="*/ 513241 h 2099709"/>
              <a:gd name="csX98" fmla="*/ 289066 w 733006"/>
              <a:gd name="csY98" fmla="*/ 511170 h 2099709"/>
              <a:gd name="csX99" fmla="*/ 378229 w 733006"/>
              <a:gd name="csY99" fmla="*/ 511084 h 2099709"/>
              <a:gd name="csX100" fmla="*/ 470850 w 733006"/>
              <a:gd name="csY100" fmla="*/ 516341 h 2099709"/>
              <a:gd name="csX101" fmla="*/ 492933 w 733006"/>
              <a:gd name="csY101" fmla="*/ 497969 h 2099709"/>
              <a:gd name="csX102" fmla="*/ 557617 w 733006"/>
              <a:gd name="csY102" fmla="*/ 280398 h 2099709"/>
              <a:gd name="csX103" fmla="*/ 588788 w 733006"/>
              <a:gd name="csY103" fmla="*/ 200385 h 2099709"/>
              <a:gd name="csX104" fmla="*/ 530958 w 733006"/>
              <a:gd name="csY104" fmla="*/ 232968 h 2099709"/>
              <a:gd name="csX105" fmla="*/ 483823 w 733006"/>
              <a:gd name="csY105" fmla="*/ 190364 h 2099709"/>
              <a:gd name="csX106" fmla="*/ 466649 w 733006"/>
              <a:gd name="csY106" fmla="*/ 209061 h 2099709"/>
              <a:gd name="csX107" fmla="*/ 399941 w 733006"/>
              <a:gd name="csY107" fmla="*/ 216988 h 2099709"/>
              <a:gd name="csX108" fmla="*/ 363018 w 733006"/>
              <a:gd name="csY108" fmla="*/ 179615 h 2099709"/>
              <a:gd name="csX109" fmla="*/ 308839 w 733006"/>
              <a:gd name="csY109" fmla="*/ 227846 h 2099709"/>
              <a:gd name="csX110" fmla="*/ 245077 w 733006"/>
              <a:gd name="csY110" fmla="*/ 192402 h 2099709"/>
              <a:gd name="csX111" fmla="*/ 242829 w 733006"/>
              <a:gd name="csY111" fmla="*/ 198815 h 2099709"/>
              <a:gd name="csX112" fmla="*/ 168452 w 733006"/>
              <a:gd name="csY112" fmla="*/ 219348 h 2099709"/>
              <a:gd name="csX113" fmla="*/ 140694 w 733006"/>
              <a:gd name="csY113" fmla="*/ 201837 h 2099709"/>
              <a:gd name="csX114" fmla="*/ 259999 w 733006"/>
              <a:gd name="csY114" fmla="*/ 966699 h 2099709"/>
              <a:gd name="csX115" fmla="*/ 257072 w 733006"/>
              <a:gd name="csY115" fmla="*/ 1070424 h 2099709"/>
              <a:gd name="csX116" fmla="*/ 251372 w 733006"/>
              <a:gd name="csY116" fmla="*/ 1157618 h 2099709"/>
              <a:gd name="csX117" fmla="*/ 232677 w 733006"/>
              <a:gd name="csY117" fmla="*/ 1320279 h 2099709"/>
              <a:gd name="csX118" fmla="*/ 209182 w 733006"/>
              <a:gd name="csY118" fmla="*/ 1468667 h 2099709"/>
              <a:gd name="csX119" fmla="*/ 175302 w 733006"/>
              <a:gd name="csY119" fmla="*/ 1616623 h 2099709"/>
              <a:gd name="csX120" fmla="*/ 182769 w 733006"/>
              <a:gd name="csY120" fmla="*/ 1629786 h 2099709"/>
              <a:gd name="csX121" fmla="*/ 212156 w 733006"/>
              <a:gd name="csY121" fmla="*/ 1632656 h 2099709"/>
              <a:gd name="csX122" fmla="*/ 351295 w 733006"/>
              <a:gd name="csY122" fmla="*/ 1632801 h 2099709"/>
              <a:gd name="csX123" fmla="*/ 376150 w 733006"/>
              <a:gd name="csY123" fmla="*/ 1608307 h 2099709"/>
              <a:gd name="csX124" fmla="*/ 373450 w 733006"/>
              <a:gd name="csY124" fmla="*/ 1457291 h 2099709"/>
              <a:gd name="csX125" fmla="*/ 370936 w 733006"/>
              <a:gd name="csY125" fmla="*/ 1342736 h 2099709"/>
              <a:gd name="csX126" fmla="*/ 368328 w 733006"/>
              <a:gd name="csY126" fmla="*/ 1203878 h 2099709"/>
              <a:gd name="csX127" fmla="*/ 367836 w 733006"/>
              <a:gd name="csY127" fmla="*/ 813478 h 2099709"/>
              <a:gd name="csX128" fmla="*/ 365240 w 733006"/>
              <a:gd name="csY128" fmla="*/ 773243 h 2099709"/>
              <a:gd name="csX129" fmla="*/ 353084 w 733006"/>
              <a:gd name="csY129" fmla="*/ 762083 h 2099709"/>
              <a:gd name="csX130" fmla="*/ 280966 w 733006"/>
              <a:gd name="csY130" fmla="*/ 759855 h 2099709"/>
              <a:gd name="csX131" fmla="*/ 259965 w 733006"/>
              <a:gd name="csY131" fmla="*/ 779553 h 2099709"/>
              <a:gd name="csX132" fmla="*/ 262341 w 733006"/>
              <a:gd name="csY132" fmla="*/ 856275 h 2099709"/>
              <a:gd name="csX133" fmla="*/ 259999 w 733006"/>
              <a:gd name="csY133" fmla="*/ 966699 h 2099709"/>
              <a:gd name="csX134" fmla="*/ 55556 w 733006"/>
              <a:gd name="csY134" fmla="*/ 1835827 h 2099709"/>
              <a:gd name="csX135" fmla="*/ 49393 w 733006"/>
              <a:gd name="csY135" fmla="*/ 1878155 h 2099709"/>
              <a:gd name="csX136" fmla="*/ 73949 w 733006"/>
              <a:gd name="csY136" fmla="*/ 1905781 h 2099709"/>
              <a:gd name="csX137" fmla="*/ 110073 w 733006"/>
              <a:gd name="csY137" fmla="*/ 1909068 h 2099709"/>
              <a:gd name="csX138" fmla="*/ 224745 w 733006"/>
              <a:gd name="csY138" fmla="*/ 1921652 h 2099709"/>
              <a:gd name="csX139" fmla="*/ 347327 w 733006"/>
              <a:gd name="csY139" fmla="*/ 1924778 h 2099709"/>
              <a:gd name="csX140" fmla="*/ 363345 w 733006"/>
              <a:gd name="csY140" fmla="*/ 1923293 h 2099709"/>
              <a:gd name="csX141" fmla="*/ 373787 w 733006"/>
              <a:gd name="csY141" fmla="*/ 1911200 h 2099709"/>
              <a:gd name="csX142" fmla="*/ 376623 w 733006"/>
              <a:gd name="csY142" fmla="*/ 1696741 h 2099709"/>
              <a:gd name="csX143" fmla="*/ 360437 w 733006"/>
              <a:gd name="csY143" fmla="*/ 1681289 h 2099709"/>
              <a:gd name="csX144" fmla="*/ 263503 w 733006"/>
              <a:gd name="csY144" fmla="*/ 1678179 h 2099709"/>
              <a:gd name="csX145" fmla="*/ 160381 w 733006"/>
              <a:gd name="csY145" fmla="*/ 1670405 h 2099709"/>
              <a:gd name="csX146" fmla="*/ 143321 w 733006"/>
              <a:gd name="csY146" fmla="*/ 1685538 h 2099709"/>
              <a:gd name="csX147" fmla="*/ 124769 w 733006"/>
              <a:gd name="csY147" fmla="*/ 1738195 h 2099709"/>
              <a:gd name="csX148" fmla="*/ 90593 w 733006"/>
              <a:gd name="csY148" fmla="*/ 1779570 h 2099709"/>
              <a:gd name="csX149" fmla="*/ 55556 w 733006"/>
              <a:gd name="csY149" fmla="*/ 1835827 h 2099709"/>
              <a:gd name="csX150" fmla="*/ 378900 w 733006"/>
              <a:gd name="csY150" fmla="*/ 2007280 h 2099709"/>
              <a:gd name="csX151" fmla="*/ 378887 w 733006"/>
              <a:gd name="csY151" fmla="*/ 1995127 h 2099709"/>
              <a:gd name="csX152" fmla="*/ 359084 w 733006"/>
              <a:gd name="csY152" fmla="*/ 1975964 h 2099709"/>
              <a:gd name="csX153" fmla="*/ 247288 w 733006"/>
              <a:gd name="csY153" fmla="*/ 1973305 h 2099709"/>
              <a:gd name="csX154" fmla="*/ 201692 w 733006"/>
              <a:gd name="csY154" fmla="*/ 1970275 h 2099709"/>
              <a:gd name="csX155" fmla="*/ 57962 w 733006"/>
              <a:gd name="csY155" fmla="*/ 1952648 h 2099709"/>
              <a:gd name="csX156" fmla="*/ 39194 w 733006"/>
              <a:gd name="csY156" fmla="*/ 1963552 h 2099709"/>
              <a:gd name="csX157" fmla="*/ 30066 w 733006"/>
              <a:gd name="csY157" fmla="*/ 2006631 h 2099709"/>
              <a:gd name="csX158" fmla="*/ 40232 w 733006"/>
              <a:gd name="csY158" fmla="*/ 2019486 h 2099709"/>
              <a:gd name="csX159" fmla="*/ 238186 w 733006"/>
              <a:gd name="csY159" fmla="*/ 2046096 h 2099709"/>
              <a:gd name="csX160" fmla="*/ 342155 w 733006"/>
              <a:gd name="csY160" fmla="*/ 2046441 h 2099709"/>
              <a:gd name="csX161" fmla="*/ 378900 w 733006"/>
              <a:gd name="csY161" fmla="*/ 2007280 h 2099709"/>
              <a:gd name="csX162" fmla="*/ 310220 w 733006"/>
              <a:gd name="csY162" fmla="*/ 554288 h 2099709"/>
              <a:gd name="csX163" fmla="*/ 259136 w 733006"/>
              <a:gd name="csY163" fmla="*/ 556881 h 2099709"/>
              <a:gd name="csX164" fmla="*/ 249085 w 733006"/>
              <a:gd name="csY164" fmla="*/ 567981 h 2099709"/>
              <a:gd name="csX165" fmla="*/ 249141 w 733006"/>
              <a:gd name="csY165" fmla="*/ 605644 h 2099709"/>
              <a:gd name="csX166" fmla="*/ 262628 w 733006"/>
              <a:gd name="csY166" fmla="*/ 605627 h 2099709"/>
              <a:gd name="csX167" fmla="*/ 369608 w 733006"/>
              <a:gd name="csY167" fmla="*/ 603027 h 2099709"/>
              <a:gd name="csX168" fmla="*/ 463931 w 733006"/>
              <a:gd name="csY168" fmla="*/ 605146 h 2099709"/>
              <a:gd name="csX169" fmla="*/ 478113 w 733006"/>
              <a:gd name="csY169" fmla="*/ 595843 h 2099709"/>
              <a:gd name="csX170" fmla="*/ 478796 w 733006"/>
              <a:gd name="csY170" fmla="*/ 556832 h 2099709"/>
              <a:gd name="csX171" fmla="*/ 310220 w 733006"/>
              <a:gd name="csY171" fmla="*/ 554288 h 2099709"/>
              <a:gd name="csX172" fmla="*/ 348836 w 733006"/>
              <a:gd name="csY172" fmla="*/ 684115 h 2099709"/>
              <a:gd name="csX173" fmla="*/ 281333 w 733006"/>
              <a:gd name="csY173" fmla="*/ 683313 h 2099709"/>
              <a:gd name="csX174" fmla="*/ 212728 w 733006"/>
              <a:gd name="csY174" fmla="*/ 681931 h 2099709"/>
              <a:gd name="csX175" fmla="*/ 187283 w 733006"/>
              <a:gd name="csY175" fmla="*/ 689555 h 2099709"/>
              <a:gd name="csX176" fmla="*/ 186163 w 733006"/>
              <a:gd name="csY176" fmla="*/ 718266 h 2099709"/>
              <a:gd name="csX177" fmla="*/ 209894 w 733006"/>
              <a:gd name="csY177" fmla="*/ 726798 h 2099709"/>
              <a:gd name="csX178" fmla="*/ 334814 w 733006"/>
              <a:gd name="csY178" fmla="*/ 732494 h 2099709"/>
              <a:gd name="csX179" fmla="*/ 364856 w 733006"/>
              <a:gd name="csY179" fmla="*/ 707963 h 2099709"/>
              <a:gd name="csX180" fmla="*/ 348836 w 733006"/>
              <a:gd name="csY180" fmla="*/ 684115 h 2099709"/>
              <a:gd name="csX181" fmla="*/ 298865 w 733006"/>
              <a:gd name="csY181" fmla="*/ 621954 h 2099709"/>
              <a:gd name="csX182" fmla="*/ 251619 w 733006"/>
              <a:gd name="csY182" fmla="*/ 622133 h 2099709"/>
              <a:gd name="csX183" fmla="*/ 214459 w 733006"/>
              <a:gd name="csY183" fmla="*/ 636230 h 2099709"/>
              <a:gd name="csX184" fmla="*/ 221436 w 733006"/>
              <a:gd name="csY184" fmla="*/ 654205 h 2099709"/>
              <a:gd name="csX185" fmla="*/ 272412 w 733006"/>
              <a:gd name="csY185" fmla="*/ 657250 h 2099709"/>
              <a:gd name="csX186" fmla="*/ 349094 w 733006"/>
              <a:gd name="csY186" fmla="*/ 659282 h 2099709"/>
              <a:gd name="csX187" fmla="*/ 362996 w 733006"/>
              <a:gd name="csY187" fmla="*/ 644234 h 2099709"/>
              <a:gd name="csX188" fmla="*/ 348472 w 733006"/>
              <a:gd name="csY188" fmla="*/ 624649 h 2099709"/>
              <a:gd name="csX189" fmla="*/ 298865 w 733006"/>
              <a:gd name="csY189" fmla="*/ 621954 h 2099709"/>
              <a:gd name="csX190" fmla="*/ 227796 w 733006"/>
              <a:gd name="csY190" fmla="*/ 528000 h 2099709"/>
              <a:gd name="csX191" fmla="*/ 241009 w 733006"/>
              <a:gd name="csY191" fmla="*/ 545897 h 2099709"/>
              <a:gd name="csX192" fmla="*/ 282607 w 733006"/>
              <a:gd name="csY192" fmla="*/ 543480 h 2099709"/>
              <a:gd name="csX193" fmla="*/ 354213 w 733006"/>
              <a:gd name="csY193" fmla="*/ 543384 h 2099709"/>
              <a:gd name="csX194" fmla="*/ 365334 w 733006"/>
              <a:gd name="csY194" fmla="*/ 533397 h 2099709"/>
              <a:gd name="csX195" fmla="*/ 354531 w 733006"/>
              <a:gd name="csY195" fmla="*/ 521620 h 2099709"/>
              <a:gd name="csX196" fmla="*/ 259169 w 733006"/>
              <a:gd name="csY196" fmla="*/ 521978 h 2099709"/>
              <a:gd name="csX197" fmla="*/ 227796 w 733006"/>
              <a:gd name="csY197" fmla="*/ 528000 h 2099709"/>
              <a:gd name="csX198" fmla="*/ 508068 w 733006"/>
              <a:gd name="csY198" fmla="*/ 190710 h 2099709"/>
              <a:gd name="csX199" fmla="*/ 521293 w 733006"/>
              <a:gd name="csY199" fmla="*/ 205907 h 2099709"/>
              <a:gd name="csX200" fmla="*/ 525175 w 733006"/>
              <a:gd name="csY200" fmla="*/ 202985 h 2099709"/>
              <a:gd name="csX201" fmla="*/ 500276 w 733006"/>
              <a:gd name="csY201" fmla="*/ 160640 h 2099709"/>
              <a:gd name="csX202" fmla="*/ 497122 w 733006"/>
              <a:gd name="csY202" fmla="*/ 162007 h 2099709"/>
              <a:gd name="csX203" fmla="*/ 508068 w 733006"/>
              <a:gd name="csY203" fmla="*/ 190710 h 2099709"/>
              <a:gd name="csX204" fmla="*/ 215522 w 733006"/>
              <a:gd name="csY204" fmla="*/ 197296 h 2099709"/>
              <a:gd name="csX205" fmla="*/ 234029 w 733006"/>
              <a:gd name="csY205" fmla="*/ 162725 h 2099709"/>
              <a:gd name="csX206" fmla="*/ 229000 w 733006"/>
              <a:gd name="csY206" fmla="*/ 159902 h 2099709"/>
              <a:gd name="csX207" fmla="*/ 204824 w 733006"/>
              <a:gd name="csY207" fmla="*/ 199677 h 2099709"/>
              <a:gd name="csX208" fmla="*/ 207990 w 733006"/>
              <a:gd name="csY208" fmla="*/ 202198 h 2099709"/>
              <a:gd name="csX209" fmla="*/ 215522 w 733006"/>
              <a:gd name="csY209" fmla="*/ 197296 h 2099709"/>
              <a:gd name="csX210" fmla="*/ 484400 w 733006"/>
              <a:gd name="csY210" fmla="*/ 896678 h 2099709"/>
              <a:gd name="csX211" fmla="*/ 486181 w 733006"/>
              <a:gd name="csY211" fmla="*/ 896585 h 2099709"/>
              <a:gd name="csX212" fmla="*/ 486181 w 733006"/>
              <a:gd name="csY212" fmla="*/ 795289 h 2099709"/>
              <a:gd name="csX0" fmla="*/ 96263 w 733006"/>
              <a:gd name="csY0" fmla="*/ 2076207 h 2091287"/>
              <a:gd name="csX1" fmla="*/ 63862 w 733006"/>
              <a:gd name="csY1" fmla="*/ 2065388 h 2091287"/>
              <a:gd name="csX2" fmla="*/ 16555 w 733006"/>
              <a:gd name="csY2" fmla="*/ 2050152 h 2091287"/>
              <a:gd name="csX3" fmla="*/ 15 w 733006"/>
              <a:gd name="csY3" fmla="*/ 2023802 h 2091287"/>
              <a:gd name="csX4" fmla="*/ 18368 w 733006"/>
              <a:gd name="csY4" fmla="*/ 1940709 h 2091287"/>
              <a:gd name="csX5" fmla="*/ 22139 w 733006"/>
              <a:gd name="csY5" fmla="*/ 1907268 h 2091287"/>
              <a:gd name="csX6" fmla="*/ 57941 w 733006"/>
              <a:gd name="csY6" fmla="*/ 1774163 h 2091287"/>
              <a:gd name="csX7" fmla="*/ 102478 w 733006"/>
              <a:gd name="csY7" fmla="*/ 1720275 h 2091287"/>
              <a:gd name="csX8" fmla="*/ 108579 w 733006"/>
              <a:gd name="csY8" fmla="*/ 1650967 h 2091287"/>
              <a:gd name="csX9" fmla="*/ 115628 w 733006"/>
              <a:gd name="csY9" fmla="*/ 1625405 h 2091287"/>
              <a:gd name="csX10" fmla="*/ 156323 w 733006"/>
              <a:gd name="csY10" fmla="*/ 1560181 h 2091287"/>
              <a:gd name="csX11" fmla="*/ 199424 w 733006"/>
              <a:gd name="csY11" fmla="*/ 1364729 h 2091287"/>
              <a:gd name="csX12" fmla="*/ 216779 w 733006"/>
              <a:gd name="csY12" fmla="*/ 1219490 h 2091287"/>
              <a:gd name="csX13" fmla="*/ 229755 w 733006"/>
              <a:gd name="csY13" fmla="*/ 1099357 h 2091287"/>
              <a:gd name="csX14" fmla="*/ 232707 w 733006"/>
              <a:gd name="csY14" fmla="*/ 1056423 h 2091287"/>
              <a:gd name="csX15" fmla="*/ 235622 w 733006"/>
              <a:gd name="csY15" fmla="*/ 952675 h 2091287"/>
              <a:gd name="csX16" fmla="*/ 235445 w 733006"/>
              <a:gd name="csY16" fmla="*/ 780278 h 2091287"/>
              <a:gd name="csX17" fmla="*/ 214544 w 733006"/>
              <a:gd name="csY17" fmla="*/ 756435 h 2091287"/>
              <a:gd name="csX18" fmla="*/ 172569 w 733006"/>
              <a:gd name="csY18" fmla="*/ 742582 h 2091287"/>
              <a:gd name="csX19" fmla="*/ 168784 w 733006"/>
              <a:gd name="csY19" fmla="*/ 669116 h 2091287"/>
              <a:gd name="csX20" fmla="*/ 191657 w 733006"/>
              <a:gd name="csY20" fmla="*/ 630765 h 2091287"/>
              <a:gd name="csX21" fmla="*/ 208150 w 733006"/>
              <a:gd name="csY21" fmla="*/ 609084 h 2091287"/>
              <a:gd name="csX22" fmla="*/ 216756 w 733006"/>
              <a:gd name="csY22" fmla="*/ 558673 h 2091287"/>
              <a:gd name="csX23" fmla="*/ 209092 w 733006"/>
              <a:gd name="csY23" fmla="*/ 521540 h 2091287"/>
              <a:gd name="csX24" fmla="*/ 204683 w 733006"/>
              <a:gd name="csY24" fmla="*/ 474024 h 2091287"/>
              <a:gd name="csX25" fmla="*/ 115483 w 733006"/>
              <a:gd name="csY25" fmla="*/ 213499 h 2091287"/>
              <a:gd name="csX26" fmla="*/ 102909 w 733006"/>
              <a:gd name="csY26" fmla="*/ 182297 h 2091287"/>
              <a:gd name="csX27" fmla="*/ 104315 w 733006"/>
              <a:gd name="csY27" fmla="*/ 163968 h 2091287"/>
              <a:gd name="csX28" fmla="*/ 122444 w 733006"/>
              <a:gd name="csY28" fmla="*/ 160805 h 2091287"/>
              <a:gd name="csX29" fmla="*/ 170283 w 733006"/>
              <a:gd name="csY29" fmla="*/ 187783 h 2091287"/>
              <a:gd name="csX30" fmla="*/ 180938 w 733006"/>
              <a:gd name="csY30" fmla="*/ 195322 h 2091287"/>
              <a:gd name="csX31" fmla="*/ 221419 w 733006"/>
              <a:gd name="csY31" fmla="*/ 138058 h 2091287"/>
              <a:gd name="csX32" fmla="*/ 294099 w 733006"/>
              <a:gd name="csY32" fmla="*/ 91372 h 2091287"/>
              <a:gd name="csX33" fmla="*/ 302307 w 733006"/>
              <a:gd name="csY33" fmla="*/ 76560 h 2091287"/>
              <a:gd name="csX34" fmla="*/ 320284 w 733006"/>
              <a:gd name="csY34" fmla="*/ 8414 h 2091287"/>
              <a:gd name="csX35" fmla="*/ 324784 w 733006"/>
              <a:gd name="csY35" fmla="*/ 946 h 2091287"/>
              <a:gd name="csX36" fmla="*/ 399212 w 733006"/>
              <a:gd name="csY36" fmla="*/ 0 h 2091287"/>
              <a:gd name="csX37" fmla="*/ 425980 w 733006"/>
              <a:gd name="csY37" fmla="*/ 78301 h 2091287"/>
              <a:gd name="csX38" fmla="*/ 431861 w 733006"/>
              <a:gd name="csY38" fmla="*/ 90312 h 2091287"/>
              <a:gd name="csX39" fmla="*/ 540349 w 733006"/>
              <a:gd name="csY39" fmla="*/ 187946 h 2091287"/>
              <a:gd name="csX40" fmla="*/ 545555 w 733006"/>
              <a:gd name="csY40" fmla="*/ 197828 h 2091287"/>
              <a:gd name="csX41" fmla="*/ 587318 w 733006"/>
              <a:gd name="csY41" fmla="*/ 171260 h 2091287"/>
              <a:gd name="csX42" fmla="*/ 601503 w 733006"/>
              <a:gd name="csY42" fmla="*/ 163707 h 2091287"/>
              <a:gd name="csX43" fmla="*/ 625254 w 733006"/>
              <a:gd name="csY43" fmla="*/ 163123 h 2091287"/>
              <a:gd name="csX44" fmla="*/ 625468 w 733006"/>
              <a:gd name="csY44" fmla="*/ 187579 h 2091287"/>
              <a:gd name="csX45" fmla="*/ 597543 w 733006"/>
              <a:gd name="csY45" fmla="*/ 251872 h 2091287"/>
              <a:gd name="csX46" fmla="*/ 531831 w 733006"/>
              <a:gd name="csY46" fmla="*/ 442689 h 2091287"/>
              <a:gd name="csX47" fmla="*/ 519888 w 733006"/>
              <a:gd name="csY47" fmla="*/ 501474 h 2091287"/>
              <a:gd name="csX48" fmla="*/ 522506 w 733006"/>
              <a:gd name="csY48" fmla="*/ 525086 h 2091287"/>
              <a:gd name="csX49" fmla="*/ 516235 w 733006"/>
              <a:gd name="csY49" fmla="*/ 555946 h 2091287"/>
              <a:gd name="csX50" fmla="*/ 521332 w 733006"/>
              <a:gd name="csY50" fmla="*/ 610676 h 2091287"/>
              <a:gd name="csX51" fmla="*/ 541382 w 733006"/>
              <a:gd name="csY51" fmla="*/ 642597 h 2091287"/>
              <a:gd name="csX52" fmla="*/ 557031 w 733006"/>
              <a:gd name="csY52" fmla="*/ 667949 h 2091287"/>
              <a:gd name="csX53" fmla="*/ 553994 w 733006"/>
              <a:gd name="csY53" fmla="*/ 744146 h 2091287"/>
              <a:gd name="csX54" fmla="*/ 508215 w 733006"/>
              <a:gd name="csY54" fmla="*/ 758841 h 2091287"/>
              <a:gd name="csX55" fmla="*/ 497442 w 733006"/>
              <a:gd name="csY55" fmla="*/ 771256 h 2091287"/>
              <a:gd name="csX56" fmla="*/ 493005 w 733006"/>
              <a:gd name="csY56" fmla="*/ 922055 h 2091287"/>
              <a:gd name="csX57" fmla="*/ 502900 w 733006"/>
              <a:gd name="csY57" fmla="*/ 1114191 h 2091287"/>
              <a:gd name="csX58" fmla="*/ 508800 w 733006"/>
              <a:gd name="csY58" fmla="*/ 1205474 h 2091287"/>
              <a:gd name="csX59" fmla="*/ 522952 w 733006"/>
              <a:gd name="csY59" fmla="*/ 1320065 h 2091287"/>
              <a:gd name="csX60" fmla="*/ 554682 w 733006"/>
              <a:gd name="csY60" fmla="*/ 1501203 h 2091287"/>
              <a:gd name="csX61" fmla="*/ 576958 w 733006"/>
              <a:gd name="csY61" fmla="*/ 1593963 h 2091287"/>
              <a:gd name="csX62" fmla="*/ 595349 w 733006"/>
              <a:gd name="csY62" fmla="*/ 1613498 h 2091287"/>
              <a:gd name="csX63" fmla="*/ 613936 w 733006"/>
              <a:gd name="csY63" fmla="*/ 1624058 h 2091287"/>
              <a:gd name="csX64" fmla="*/ 620938 w 733006"/>
              <a:gd name="csY64" fmla="*/ 1652071 h 2091287"/>
              <a:gd name="csX65" fmla="*/ 630805 w 733006"/>
              <a:gd name="csY65" fmla="*/ 1721702 h 2091287"/>
              <a:gd name="csX66" fmla="*/ 685830 w 733006"/>
              <a:gd name="csY66" fmla="*/ 1792915 h 2091287"/>
              <a:gd name="csX67" fmla="*/ 708904 w 733006"/>
              <a:gd name="csY67" fmla="*/ 1890290 h 2091287"/>
              <a:gd name="csX68" fmla="*/ 716580 w 733006"/>
              <a:gd name="csY68" fmla="*/ 1951136 h 2091287"/>
              <a:gd name="csX69" fmla="*/ 729397 w 733006"/>
              <a:gd name="csY69" fmla="*/ 2030261 h 2091287"/>
              <a:gd name="csX70" fmla="*/ 714212 w 733006"/>
              <a:gd name="csY70" fmla="*/ 2059069 h 2091287"/>
              <a:gd name="csX71" fmla="*/ 96263 w 733006"/>
              <a:gd name="csY71" fmla="*/ 2076207 h 2091287"/>
              <a:gd name="csX72" fmla="*/ 489970 w 733006"/>
              <a:gd name="csY72" fmla="*/ 152208 h 2091287"/>
              <a:gd name="csX73" fmla="*/ 490754 w 733006"/>
              <a:gd name="csY73" fmla="*/ 152592 h 2091287"/>
              <a:gd name="csX74" fmla="*/ 489489 w 733006"/>
              <a:gd name="csY74" fmla="*/ 149547 h 2091287"/>
              <a:gd name="csX75" fmla="*/ 393621 w 733006"/>
              <a:gd name="csY75" fmla="*/ 99259 h 2091287"/>
              <a:gd name="csX76" fmla="*/ 390419 w 733006"/>
              <a:gd name="csY76" fmla="*/ 18568 h 2091287"/>
              <a:gd name="csX77" fmla="*/ 334131 w 733006"/>
              <a:gd name="csY77" fmla="*/ 24327 h 2091287"/>
              <a:gd name="csX78" fmla="*/ 344678 w 733006"/>
              <a:gd name="csY78" fmla="*/ 101259 h 2091287"/>
              <a:gd name="csX79" fmla="*/ 298854 w 733006"/>
              <a:gd name="csY79" fmla="*/ 114003 h 2091287"/>
              <a:gd name="csX80" fmla="*/ 237456 w 733006"/>
              <a:gd name="csY80" fmla="*/ 154340 h 2091287"/>
              <a:gd name="csX81" fmla="*/ 240382 w 733006"/>
              <a:gd name="csY81" fmla="*/ 154035 h 2091287"/>
              <a:gd name="csX82" fmla="*/ 262731 w 733006"/>
              <a:gd name="csY82" fmla="*/ 170426 h 2091287"/>
              <a:gd name="csX83" fmla="*/ 279169 w 733006"/>
              <a:gd name="csY83" fmla="*/ 193173 h 2091287"/>
              <a:gd name="csX84" fmla="*/ 327717 w 733006"/>
              <a:gd name="csY84" fmla="*/ 188556 h 2091287"/>
              <a:gd name="csX85" fmla="*/ 348052 w 733006"/>
              <a:gd name="csY85" fmla="*/ 156919 h 2091287"/>
              <a:gd name="csX86" fmla="*/ 380330 w 733006"/>
              <a:gd name="csY86" fmla="*/ 156483 h 2091287"/>
              <a:gd name="csX87" fmla="*/ 408490 w 733006"/>
              <a:gd name="csY87" fmla="*/ 195400 h 2091287"/>
              <a:gd name="csX88" fmla="*/ 445346 w 733006"/>
              <a:gd name="csY88" fmla="*/ 197582 h 2091287"/>
              <a:gd name="csX89" fmla="*/ 464798 w 733006"/>
              <a:gd name="csY89" fmla="*/ 174107 h 2091287"/>
              <a:gd name="csX90" fmla="*/ 489970 w 733006"/>
              <a:gd name="csY90" fmla="*/ 152208 h 2091287"/>
              <a:gd name="csX91" fmla="*/ 140694 w 733006"/>
              <a:gd name="csY91" fmla="*/ 201837 h 2091287"/>
              <a:gd name="csX92" fmla="*/ 139834 w 733006"/>
              <a:gd name="csY92" fmla="*/ 201482 h 2091287"/>
              <a:gd name="csX93" fmla="*/ 140812 w 733006"/>
              <a:gd name="csY93" fmla="*/ 204941 h 2091287"/>
              <a:gd name="csX94" fmla="*/ 144631 w 733006"/>
              <a:gd name="csY94" fmla="*/ 217811 h 2091287"/>
              <a:gd name="csX95" fmla="*/ 201241 w 733006"/>
              <a:gd name="csY95" fmla="*/ 373387 h 2091287"/>
              <a:gd name="csX96" fmla="*/ 235971 w 733006"/>
              <a:gd name="csY96" fmla="*/ 504451 h 2091287"/>
              <a:gd name="csX97" fmla="*/ 247475 w 733006"/>
              <a:gd name="csY97" fmla="*/ 513241 h 2091287"/>
              <a:gd name="csX98" fmla="*/ 289066 w 733006"/>
              <a:gd name="csY98" fmla="*/ 511170 h 2091287"/>
              <a:gd name="csX99" fmla="*/ 378229 w 733006"/>
              <a:gd name="csY99" fmla="*/ 511084 h 2091287"/>
              <a:gd name="csX100" fmla="*/ 470850 w 733006"/>
              <a:gd name="csY100" fmla="*/ 516341 h 2091287"/>
              <a:gd name="csX101" fmla="*/ 492933 w 733006"/>
              <a:gd name="csY101" fmla="*/ 497969 h 2091287"/>
              <a:gd name="csX102" fmla="*/ 557617 w 733006"/>
              <a:gd name="csY102" fmla="*/ 280398 h 2091287"/>
              <a:gd name="csX103" fmla="*/ 588788 w 733006"/>
              <a:gd name="csY103" fmla="*/ 200385 h 2091287"/>
              <a:gd name="csX104" fmla="*/ 530958 w 733006"/>
              <a:gd name="csY104" fmla="*/ 232968 h 2091287"/>
              <a:gd name="csX105" fmla="*/ 483823 w 733006"/>
              <a:gd name="csY105" fmla="*/ 190364 h 2091287"/>
              <a:gd name="csX106" fmla="*/ 466649 w 733006"/>
              <a:gd name="csY106" fmla="*/ 209061 h 2091287"/>
              <a:gd name="csX107" fmla="*/ 399941 w 733006"/>
              <a:gd name="csY107" fmla="*/ 216988 h 2091287"/>
              <a:gd name="csX108" fmla="*/ 363018 w 733006"/>
              <a:gd name="csY108" fmla="*/ 179615 h 2091287"/>
              <a:gd name="csX109" fmla="*/ 308839 w 733006"/>
              <a:gd name="csY109" fmla="*/ 227846 h 2091287"/>
              <a:gd name="csX110" fmla="*/ 245077 w 733006"/>
              <a:gd name="csY110" fmla="*/ 192402 h 2091287"/>
              <a:gd name="csX111" fmla="*/ 242829 w 733006"/>
              <a:gd name="csY111" fmla="*/ 198815 h 2091287"/>
              <a:gd name="csX112" fmla="*/ 168452 w 733006"/>
              <a:gd name="csY112" fmla="*/ 219348 h 2091287"/>
              <a:gd name="csX113" fmla="*/ 140694 w 733006"/>
              <a:gd name="csY113" fmla="*/ 201837 h 2091287"/>
              <a:gd name="csX114" fmla="*/ 259999 w 733006"/>
              <a:gd name="csY114" fmla="*/ 966699 h 2091287"/>
              <a:gd name="csX115" fmla="*/ 257072 w 733006"/>
              <a:gd name="csY115" fmla="*/ 1070424 h 2091287"/>
              <a:gd name="csX116" fmla="*/ 251372 w 733006"/>
              <a:gd name="csY116" fmla="*/ 1157618 h 2091287"/>
              <a:gd name="csX117" fmla="*/ 232677 w 733006"/>
              <a:gd name="csY117" fmla="*/ 1320279 h 2091287"/>
              <a:gd name="csX118" fmla="*/ 209182 w 733006"/>
              <a:gd name="csY118" fmla="*/ 1468667 h 2091287"/>
              <a:gd name="csX119" fmla="*/ 175302 w 733006"/>
              <a:gd name="csY119" fmla="*/ 1616623 h 2091287"/>
              <a:gd name="csX120" fmla="*/ 182769 w 733006"/>
              <a:gd name="csY120" fmla="*/ 1629786 h 2091287"/>
              <a:gd name="csX121" fmla="*/ 212156 w 733006"/>
              <a:gd name="csY121" fmla="*/ 1632656 h 2091287"/>
              <a:gd name="csX122" fmla="*/ 351295 w 733006"/>
              <a:gd name="csY122" fmla="*/ 1632801 h 2091287"/>
              <a:gd name="csX123" fmla="*/ 376150 w 733006"/>
              <a:gd name="csY123" fmla="*/ 1608307 h 2091287"/>
              <a:gd name="csX124" fmla="*/ 373450 w 733006"/>
              <a:gd name="csY124" fmla="*/ 1457291 h 2091287"/>
              <a:gd name="csX125" fmla="*/ 370936 w 733006"/>
              <a:gd name="csY125" fmla="*/ 1342736 h 2091287"/>
              <a:gd name="csX126" fmla="*/ 368328 w 733006"/>
              <a:gd name="csY126" fmla="*/ 1203878 h 2091287"/>
              <a:gd name="csX127" fmla="*/ 367836 w 733006"/>
              <a:gd name="csY127" fmla="*/ 813478 h 2091287"/>
              <a:gd name="csX128" fmla="*/ 365240 w 733006"/>
              <a:gd name="csY128" fmla="*/ 773243 h 2091287"/>
              <a:gd name="csX129" fmla="*/ 353084 w 733006"/>
              <a:gd name="csY129" fmla="*/ 762083 h 2091287"/>
              <a:gd name="csX130" fmla="*/ 280966 w 733006"/>
              <a:gd name="csY130" fmla="*/ 759855 h 2091287"/>
              <a:gd name="csX131" fmla="*/ 259965 w 733006"/>
              <a:gd name="csY131" fmla="*/ 779553 h 2091287"/>
              <a:gd name="csX132" fmla="*/ 262341 w 733006"/>
              <a:gd name="csY132" fmla="*/ 856275 h 2091287"/>
              <a:gd name="csX133" fmla="*/ 259999 w 733006"/>
              <a:gd name="csY133" fmla="*/ 966699 h 2091287"/>
              <a:gd name="csX134" fmla="*/ 55556 w 733006"/>
              <a:gd name="csY134" fmla="*/ 1835827 h 2091287"/>
              <a:gd name="csX135" fmla="*/ 49393 w 733006"/>
              <a:gd name="csY135" fmla="*/ 1878155 h 2091287"/>
              <a:gd name="csX136" fmla="*/ 73949 w 733006"/>
              <a:gd name="csY136" fmla="*/ 1905781 h 2091287"/>
              <a:gd name="csX137" fmla="*/ 110073 w 733006"/>
              <a:gd name="csY137" fmla="*/ 1909068 h 2091287"/>
              <a:gd name="csX138" fmla="*/ 224745 w 733006"/>
              <a:gd name="csY138" fmla="*/ 1921652 h 2091287"/>
              <a:gd name="csX139" fmla="*/ 347327 w 733006"/>
              <a:gd name="csY139" fmla="*/ 1924778 h 2091287"/>
              <a:gd name="csX140" fmla="*/ 363345 w 733006"/>
              <a:gd name="csY140" fmla="*/ 1923293 h 2091287"/>
              <a:gd name="csX141" fmla="*/ 373787 w 733006"/>
              <a:gd name="csY141" fmla="*/ 1911200 h 2091287"/>
              <a:gd name="csX142" fmla="*/ 376623 w 733006"/>
              <a:gd name="csY142" fmla="*/ 1696741 h 2091287"/>
              <a:gd name="csX143" fmla="*/ 360437 w 733006"/>
              <a:gd name="csY143" fmla="*/ 1681289 h 2091287"/>
              <a:gd name="csX144" fmla="*/ 263503 w 733006"/>
              <a:gd name="csY144" fmla="*/ 1678179 h 2091287"/>
              <a:gd name="csX145" fmla="*/ 160381 w 733006"/>
              <a:gd name="csY145" fmla="*/ 1670405 h 2091287"/>
              <a:gd name="csX146" fmla="*/ 143321 w 733006"/>
              <a:gd name="csY146" fmla="*/ 1685538 h 2091287"/>
              <a:gd name="csX147" fmla="*/ 124769 w 733006"/>
              <a:gd name="csY147" fmla="*/ 1738195 h 2091287"/>
              <a:gd name="csX148" fmla="*/ 90593 w 733006"/>
              <a:gd name="csY148" fmla="*/ 1779570 h 2091287"/>
              <a:gd name="csX149" fmla="*/ 55556 w 733006"/>
              <a:gd name="csY149" fmla="*/ 1835827 h 2091287"/>
              <a:gd name="csX150" fmla="*/ 378900 w 733006"/>
              <a:gd name="csY150" fmla="*/ 2007280 h 2091287"/>
              <a:gd name="csX151" fmla="*/ 378887 w 733006"/>
              <a:gd name="csY151" fmla="*/ 1995127 h 2091287"/>
              <a:gd name="csX152" fmla="*/ 359084 w 733006"/>
              <a:gd name="csY152" fmla="*/ 1975964 h 2091287"/>
              <a:gd name="csX153" fmla="*/ 247288 w 733006"/>
              <a:gd name="csY153" fmla="*/ 1973305 h 2091287"/>
              <a:gd name="csX154" fmla="*/ 201692 w 733006"/>
              <a:gd name="csY154" fmla="*/ 1970275 h 2091287"/>
              <a:gd name="csX155" fmla="*/ 57962 w 733006"/>
              <a:gd name="csY155" fmla="*/ 1952648 h 2091287"/>
              <a:gd name="csX156" fmla="*/ 39194 w 733006"/>
              <a:gd name="csY156" fmla="*/ 1963552 h 2091287"/>
              <a:gd name="csX157" fmla="*/ 30066 w 733006"/>
              <a:gd name="csY157" fmla="*/ 2006631 h 2091287"/>
              <a:gd name="csX158" fmla="*/ 40232 w 733006"/>
              <a:gd name="csY158" fmla="*/ 2019486 h 2091287"/>
              <a:gd name="csX159" fmla="*/ 238186 w 733006"/>
              <a:gd name="csY159" fmla="*/ 2046096 h 2091287"/>
              <a:gd name="csX160" fmla="*/ 342155 w 733006"/>
              <a:gd name="csY160" fmla="*/ 2046441 h 2091287"/>
              <a:gd name="csX161" fmla="*/ 378900 w 733006"/>
              <a:gd name="csY161" fmla="*/ 2007280 h 2091287"/>
              <a:gd name="csX162" fmla="*/ 310220 w 733006"/>
              <a:gd name="csY162" fmla="*/ 554288 h 2091287"/>
              <a:gd name="csX163" fmla="*/ 259136 w 733006"/>
              <a:gd name="csY163" fmla="*/ 556881 h 2091287"/>
              <a:gd name="csX164" fmla="*/ 249085 w 733006"/>
              <a:gd name="csY164" fmla="*/ 567981 h 2091287"/>
              <a:gd name="csX165" fmla="*/ 249141 w 733006"/>
              <a:gd name="csY165" fmla="*/ 605644 h 2091287"/>
              <a:gd name="csX166" fmla="*/ 262628 w 733006"/>
              <a:gd name="csY166" fmla="*/ 605627 h 2091287"/>
              <a:gd name="csX167" fmla="*/ 369608 w 733006"/>
              <a:gd name="csY167" fmla="*/ 603027 h 2091287"/>
              <a:gd name="csX168" fmla="*/ 463931 w 733006"/>
              <a:gd name="csY168" fmla="*/ 605146 h 2091287"/>
              <a:gd name="csX169" fmla="*/ 478113 w 733006"/>
              <a:gd name="csY169" fmla="*/ 595843 h 2091287"/>
              <a:gd name="csX170" fmla="*/ 478796 w 733006"/>
              <a:gd name="csY170" fmla="*/ 556832 h 2091287"/>
              <a:gd name="csX171" fmla="*/ 310220 w 733006"/>
              <a:gd name="csY171" fmla="*/ 554288 h 2091287"/>
              <a:gd name="csX172" fmla="*/ 348836 w 733006"/>
              <a:gd name="csY172" fmla="*/ 684115 h 2091287"/>
              <a:gd name="csX173" fmla="*/ 281333 w 733006"/>
              <a:gd name="csY173" fmla="*/ 683313 h 2091287"/>
              <a:gd name="csX174" fmla="*/ 212728 w 733006"/>
              <a:gd name="csY174" fmla="*/ 681931 h 2091287"/>
              <a:gd name="csX175" fmla="*/ 187283 w 733006"/>
              <a:gd name="csY175" fmla="*/ 689555 h 2091287"/>
              <a:gd name="csX176" fmla="*/ 186163 w 733006"/>
              <a:gd name="csY176" fmla="*/ 718266 h 2091287"/>
              <a:gd name="csX177" fmla="*/ 209894 w 733006"/>
              <a:gd name="csY177" fmla="*/ 726798 h 2091287"/>
              <a:gd name="csX178" fmla="*/ 334814 w 733006"/>
              <a:gd name="csY178" fmla="*/ 732494 h 2091287"/>
              <a:gd name="csX179" fmla="*/ 364856 w 733006"/>
              <a:gd name="csY179" fmla="*/ 707963 h 2091287"/>
              <a:gd name="csX180" fmla="*/ 348836 w 733006"/>
              <a:gd name="csY180" fmla="*/ 684115 h 2091287"/>
              <a:gd name="csX181" fmla="*/ 298865 w 733006"/>
              <a:gd name="csY181" fmla="*/ 621954 h 2091287"/>
              <a:gd name="csX182" fmla="*/ 251619 w 733006"/>
              <a:gd name="csY182" fmla="*/ 622133 h 2091287"/>
              <a:gd name="csX183" fmla="*/ 214459 w 733006"/>
              <a:gd name="csY183" fmla="*/ 636230 h 2091287"/>
              <a:gd name="csX184" fmla="*/ 221436 w 733006"/>
              <a:gd name="csY184" fmla="*/ 654205 h 2091287"/>
              <a:gd name="csX185" fmla="*/ 272412 w 733006"/>
              <a:gd name="csY185" fmla="*/ 657250 h 2091287"/>
              <a:gd name="csX186" fmla="*/ 349094 w 733006"/>
              <a:gd name="csY186" fmla="*/ 659282 h 2091287"/>
              <a:gd name="csX187" fmla="*/ 362996 w 733006"/>
              <a:gd name="csY187" fmla="*/ 644234 h 2091287"/>
              <a:gd name="csX188" fmla="*/ 348472 w 733006"/>
              <a:gd name="csY188" fmla="*/ 624649 h 2091287"/>
              <a:gd name="csX189" fmla="*/ 298865 w 733006"/>
              <a:gd name="csY189" fmla="*/ 621954 h 2091287"/>
              <a:gd name="csX190" fmla="*/ 227796 w 733006"/>
              <a:gd name="csY190" fmla="*/ 528000 h 2091287"/>
              <a:gd name="csX191" fmla="*/ 241009 w 733006"/>
              <a:gd name="csY191" fmla="*/ 545897 h 2091287"/>
              <a:gd name="csX192" fmla="*/ 282607 w 733006"/>
              <a:gd name="csY192" fmla="*/ 543480 h 2091287"/>
              <a:gd name="csX193" fmla="*/ 354213 w 733006"/>
              <a:gd name="csY193" fmla="*/ 543384 h 2091287"/>
              <a:gd name="csX194" fmla="*/ 365334 w 733006"/>
              <a:gd name="csY194" fmla="*/ 533397 h 2091287"/>
              <a:gd name="csX195" fmla="*/ 354531 w 733006"/>
              <a:gd name="csY195" fmla="*/ 521620 h 2091287"/>
              <a:gd name="csX196" fmla="*/ 259169 w 733006"/>
              <a:gd name="csY196" fmla="*/ 521978 h 2091287"/>
              <a:gd name="csX197" fmla="*/ 227796 w 733006"/>
              <a:gd name="csY197" fmla="*/ 528000 h 2091287"/>
              <a:gd name="csX198" fmla="*/ 508068 w 733006"/>
              <a:gd name="csY198" fmla="*/ 190710 h 2091287"/>
              <a:gd name="csX199" fmla="*/ 521293 w 733006"/>
              <a:gd name="csY199" fmla="*/ 205907 h 2091287"/>
              <a:gd name="csX200" fmla="*/ 525175 w 733006"/>
              <a:gd name="csY200" fmla="*/ 202985 h 2091287"/>
              <a:gd name="csX201" fmla="*/ 500276 w 733006"/>
              <a:gd name="csY201" fmla="*/ 160640 h 2091287"/>
              <a:gd name="csX202" fmla="*/ 497122 w 733006"/>
              <a:gd name="csY202" fmla="*/ 162007 h 2091287"/>
              <a:gd name="csX203" fmla="*/ 508068 w 733006"/>
              <a:gd name="csY203" fmla="*/ 190710 h 2091287"/>
              <a:gd name="csX204" fmla="*/ 215522 w 733006"/>
              <a:gd name="csY204" fmla="*/ 197296 h 2091287"/>
              <a:gd name="csX205" fmla="*/ 234029 w 733006"/>
              <a:gd name="csY205" fmla="*/ 162725 h 2091287"/>
              <a:gd name="csX206" fmla="*/ 229000 w 733006"/>
              <a:gd name="csY206" fmla="*/ 159902 h 2091287"/>
              <a:gd name="csX207" fmla="*/ 204824 w 733006"/>
              <a:gd name="csY207" fmla="*/ 199677 h 2091287"/>
              <a:gd name="csX208" fmla="*/ 207990 w 733006"/>
              <a:gd name="csY208" fmla="*/ 202198 h 2091287"/>
              <a:gd name="csX209" fmla="*/ 215522 w 733006"/>
              <a:gd name="csY209" fmla="*/ 197296 h 2091287"/>
              <a:gd name="csX210" fmla="*/ 484400 w 733006"/>
              <a:gd name="csY210" fmla="*/ 896678 h 2091287"/>
              <a:gd name="csX211" fmla="*/ 486181 w 733006"/>
              <a:gd name="csY211" fmla="*/ 896585 h 2091287"/>
              <a:gd name="csX212" fmla="*/ 486181 w 733006"/>
              <a:gd name="csY212" fmla="*/ 795289 h 2091287"/>
              <a:gd name="csX0" fmla="*/ 96263 w 733006"/>
              <a:gd name="csY0" fmla="*/ 2076207 h 2092038"/>
              <a:gd name="csX1" fmla="*/ 63862 w 733006"/>
              <a:gd name="csY1" fmla="*/ 2065388 h 2092038"/>
              <a:gd name="csX2" fmla="*/ 16555 w 733006"/>
              <a:gd name="csY2" fmla="*/ 2050152 h 2092038"/>
              <a:gd name="csX3" fmla="*/ 15 w 733006"/>
              <a:gd name="csY3" fmla="*/ 2023802 h 2092038"/>
              <a:gd name="csX4" fmla="*/ 18368 w 733006"/>
              <a:gd name="csY4" fmla="*/ 1940709 h 2092038"/>
              <a:gd name="csX5" fmla="*/ 22139 w 733006"/>
              <a:gd name="csY5" fmla="*/ 1907268 h 2092038"/>
              <a:gd name="csX6" fmla="*/ 57941 w 733006"/>
              <a:gd name="csY6" fmla="*/ 1774163 h 2092038"/>
              <a:gd name="csX7" fmla="*/ 102478 w 733006"/>
              <a:gd name="csY7" fmla="*/ 1720275 h 2092038"/>
              <a:gd name="csX8" fmla="*/ 108579 w 733006"/>
              <a:gd name="csY8" fmla="*/ 1650967 h 2092038"/>
              <a:gd name="csX9" fmla="*/ 115628 w 733006"/>
              <a:gd name="csY9" fmla="*/ 1625405 h 2092038"/>
              <a:gd name="csX10" fmla="*/ 156323 w 733006"/>
              <a:gd name="csY10" fmla="*/ 1560181 h 2092038"/>
              <a:gd name="csX11" fmla="*/ 199424 w 733006"/>
              <a:gd name="csY11" fmla="*/ 1364729 h 2092038"/>
              <a:gd name="csX12" fmla="*/ 216779 w 733006"/>
              <a:gd name="csY12" fmla="*/ 1219490 h 2092038"/>
              <a:gd name="csX13" fmla="*/ 229755 w 733006"/>
              <a:gd name="csY13" fmla="*/ 1099357 h 2092038"/>
              <a:gd name="csX14" fmla="*/ 232707 w 733006"/>
              <a:gd name="csY14" fmla="*/ 1056423 h 2092038"/>
              <a:gd name="csX15" fmla="*/ 235622 w 733006"/>
              <a:gd name="csY15" fmla="*/ 952675 h 2092038"/>
              <a:gd name="csX16" fmla="*/ 235445 w 733006"/>
              <a:gd name="csY16" fmla="*/ 780278 h 2092038"/>
              <a:gd name="csX17" fmla="*/ 214544 w 733006"/>
              <a:gd name="csY17" fmla="*/ 756435 h 2092038"/>
              <a:gd name="csX18" fmla="*/ 172569 w 733006"/>
              <a:gd name="csY18" fmla="*/ 742582 h 2092038"/>
              <a:gd name="csX19" fmla="*/ 168784 w 733006"/>
              <a:gd name="csY19" fmla="*/ 669116 h 2092038"/>
              <a:gd name="csX20" fmla="*/ 191657 w 733006"/>
              <a:gd name="csY20" fmla="*/ 630765 h 2092038"/>
              <a:gd name="csX21" fmla="*/ 208150 w 733006"/>
              <a:gd name="csY21" fmla="*/ 609084 h 2092038"/>
              <a:gd name="csX22" fmla="*/ 216756 w 733006"/>
              <a:gd name="csY22" fmla="*/ 558673 h 2092038"/>
              <a:gd name="csX23" fmla="*/ 209092 w 733006"/>
              <a:gd name="csY23" fmla="*/ 521540 h 2092038"/>
              <a:gd name="csX24" fmla="*/ 204683 w 733006"/>
              <a:gd name="csY24" fmla="*/ 474024 h 2092038"/>
              <a:gd name="csX25" fmla="*/ 115483 w 733006"/>
              <a:gd name="csY25" fmla="*/ 213499 h 2092038"/>
              <a:gd name="csX26" fmla="*/ 102909 w 733006"/>
              <a:gd name="csY26" fmla="*/ 182297 h 2092038"/>
              <a:gd name="csX27" fmla="*/ 104315 w 733006"/>
              <a:gd name="csY27" fmla="*/ 163968 h 2092038"/>
              <a:gd name="csX28" fmla="*/ 122444 w 733006"/>
              <a:gd name="csY28" fmla="*/ 160805 h 2092038"/>
              <a:gd name="csX29" fmla="*/ 170283 w 733006"/>
              <a:gd name="csY29" fmla="*/ 187783 h 2092038"/>
              <a:gd name="csX30" fmla="*/ 180938 w 733006"/>
              <a:gd name="csY30" fmla="*/ 195322 h 2092038"/>
              <a:gd name="csX31" fmla="*/ 221419 w 733006"/>
              <a:gd name="csY31" fmla="*/ 138058 h 2092038"/>
              <a:gd name="csX32" fmla="*/ 294099 w 733006"/>
              <a:gd name="csY32" fmla="*/ 91372 h 2092038"/>
              <a:gd name="csX33" fmla="*/ 302307 w 733006"/>
              <a:gd name="csY33" fmla="*/ 76560 h 2092038"/>
              <a:gd name="csX34" fmla="*/ 320284 w 733006"/>
              <a:gd name="csY34" fmla="*/ 8414 h 2092038"/>
              <a:gd name="csX35" fmla="*/ 324784 w 733006"/>
              <a:gd name="csY35" fmla="*/ 946 h 2092038"/>
              <a:gd name="csX36" fmla="*/ 399212 w 733006"/>
              <a:gd name="csY36" fmla="*/ 0 h 2092038"/>
              <a:gd name="csX37" fmla="*/ 425980 w 733006"/>
              <a:gd name="csY37" fmla="*/ 78301 h 2092038"/>
              <a:gd name="csX38" fmla="*/ 431861 w 733006"/>
              <a:gd name="csY38" fmla="*/ 90312 h 2092038"/>
              <a:gd name="csX39" fmla="*/ 540349 w 733006"/>
              <a:gd name="csY39" fmla="*/ 187946 h 2092038"/>
              <a:gd name="csX40" fmla="*/ 545555 w 733006"/>
              <a:gd name="csY40" fmla="*/ 197828 h 2092038"/>
              <a:gd name="csX41" fmla="*/ 587318 w 733006"/>
              <a:gd name="csY41" fmla="*/ 171260 h 2092038"/>
              <a:gd name="csX42" fmla="*/ 601503 w 733006"/>
              <a:gd name="csY42" fmla="*/ 163707 h 2092038"/>
              <a:gd name="csX43" fmla="*/ 625254 w 733006"/>
              <a:gd name="csY43" fmla="*/ 163123 h 2092038"/>
              <a:gd name="csX44" fmla="*/ 625468 w 733006"/>
              <a:gd name="csY44" fmla="*/ 187579 h 2092038"/>
              <a:gd name="csX45" fmla="*/ 597543 w 733006"/>
              <a:gd name="csY45" fmla="*/ 251872 h 2092038"/>
              <a:gd name="csX46" fmla="*/ 531831 w 733006"/>
              <a:gd name="csY46" fmla="*/ 442689 h 2092038"/>
              <a:gd name="csX47" fmla="*/ 519888 w 733006"/>
              <a:gd name="csY47" fmla="*/ 501474 h 2092038"/>
              <a:gd name="csX48" fmla="*/ 522506 w 733006"/>
              <a:gd name="csY48" fmla="*/ 525086 h 2092038"/>
              <a:gd name="csX49" fmla="*/ 516235 w 733006"/>
              <a:gd name="csY49" fmla="*/ 555946 h 2092038"/>
              <a:gd name="csX50" fmla="*/ 521332 w 733006"/>
              <a:gd name="csY50" fmla="*/ 610676 h 2092038"/>
              <a:gd name="csX51" fmla="*/ 541382 w 733006"/>
              <a:gd name="csY51" fmla="*/ 642597 h 2092038"/>
              <a:gd name="csX52" fmla="*/ 557031 w 733006"/>
              <a:gd name="csY52" fmla="*/ 667949 h 2092038"/>
              <a:gd name="csX53" fmla="*/ 553994 w 733006"/>
              <a:gd name="csY53" fmla="*/ 744146 h 2092038"/>
              <a:gd name="csX54" fmla="*/ 508215 w 733006"/>
              <a:gd name="csY54" fmla="*/ 758841 h 2092038"/>
              <a:gd name="csX55" fmla="*/ 497442 w 733006"/>
              <a:gd name="csY55" fmla="*/ 771256 h 2092038"/>
              <a:gd name="csX56" fmla="*/ 493005 w 733006"/>
              <a:gd name="csY56" fmla="*/ 922055 h 2092038"/>
              <a:gd name="csX57" fmla="*/ 502900 w 733006"/>
              <a:gd name="csY57" fmla="*/ 1114191 h 2092038"/>
              <a:gd name="csX58" fmla="*/ 508800 w 733006"/>
              <a:gd name="csY58" fmla="*/ 1205474 h 2092038"/>
              <a:gd name="csX59" fmla="*/ 522952 w 733006"/>
              <a:gd name="csY59" fmla="*/ 1320065 h 2092038"/>
              <a:gd name="csX60" fmla="*/ 554682 w 733006"/>
              <a:gd name="csY60" fmla="*/ 1501203 h 2092038"/>
              <a:gd name="csX61" fmla="*/ 576958 w 733006"/>
              <a:gd name="csY61" fmla="*/ 1593963 h 2092038"/>
              <a:gd name="csX62" fmla="*/ 595349 w 733006"/>
              <a:gd name="csY62" fmla="*/ 1613498 h 2092038"/>
              <a:gd name="csX63" fmla="*/ 613936 w 733006"/>
              <a:gd name="csY63" fmla="*/ 1624058 h 2092038"/>
              <a:gd name="csX64" fmla="*/ 620938 w 733006"/>
              <a:gd name="csY64" fmla="*/ 1652071 h 2092038"/>
              <a:gd name="csX65" fmla="*/ 630805 w 733006"/>
              <a:gd name="csY65" fmla="*/ 1721702 h 2092038"/>
              <a:gd name="csX66" fmla="*/ 685830 w 733006"/>
              <a:gd name="csY66" fmla="*/ 1792915 h 2092038"/>
              <a:gd name="csX67" fmla="*/ 708904 w 733006"/>
              <a:gd name="csY67" fmla="*/ 1890290 h 2092038"/>
              <a:gd name="csX68" fmla="*/ 716580 w 733006"/>
              <a:gd name="csY68" fmla="*/ 1951136 h 2092038"/>
              <a:gd name="csX69" fmla="*/ 729397 w 733006"/>
              <a:gd name="csY69" fmla="*/ 2030261 h 2092038"/>
              <a:gd name="csX70" fmla="*/ 714212 w 733006"/>
              <a:gd name="csY70" fmla="*/ 2059069 h 2092038"/>
              <a:gd name="csX71" fmla="*/ 96263 w 733006"/>
              <a:gd name="csY71" fmla="*/ 2076207 h 2092038"/>
              <a:gd name="csX72" fmla="*/ 489970 w 733006"/>
              <a:gd name="csY72" fmla="*/ 152208 h 2092038"/>
              <a:gd name="csX73" fmla="*/ 490754 w 733006"/>
              <a:gd name="csY73" fmla="*/ 152592 h 2092038"/>
              <a:gd name="csX74" fmla="*/ 489489 w 733006"/>
              <a:gd name="csY74" fmla="*/ 149547 h 2092038"/>
              <a:gd name="csX75" fmla="*/ 393621 w 733006"/>
              <a:gd name="csY75" fmla="*/ 99259 h 2092038"/>
              <a:gd name="csX76" fmla="*/ 390419 w 733006"/>
              <a:gd name="csY76" fmla="*/ 18568 h 2092038"/>
              <a:gd name="csX77" fmla="*/ 334131 w 733006"/>
              <a:gd name="csY77" fmla="*/ 24327 h 2092038"/>
              <a:gd name="csX78" fmla="*/ 344678 w 733006"/>
              <a:gd name="csY78" fmla="*/ 101259 h 2092038"/>
              <a:gd name="csX79" fmla="*/ 298854 w 733006"/>
              <a:gd name="csY79" fmla="*/ 114003 h 2092038"/>
              <a:gd name="csX80" fmla="*/ 237456 w 733006"/>
              <a:gd name="csY80" fmla="*/ 154340 h 2092038"/>
              <a:gd name="csX81" fmla="*/ 240382 w 733006"/>
              <a:gd name="csY81" fmla="*/ 154035 h 2092038"/>
              <a:gd name="csX82" fmla="*/ 262731 w 733006"/>
              <a:gd name="csY82" fmla="*/ 170426 h 2092038"/>
              <a:gd name="csX83" fmla="*/ 279169 w 733006"/>
              <a:gd name="csY83" fmla="*/ 193173 h 2092038"/>
              <a:gd name="csX84" fmla="*/ 327717 w 733006"/>
              <a:gd name="csY84" fmla="*/ 188556 h 2092038"/>
              <a:gd name="csX85" fmla="*/ 348052 w 733006"/>
              <a:gd name="csY85" fmla="*/ 156919 h 2092038"/>
              <a:gd name="csX86" fmla="*/ 380330 w 733006"/>
              <a:gd name="csY86" fmla="*/ 156483 h 2092038"/>
              <a:gd name="csX87" fmla="*/ 408490 w 733006"/>
              <a:gd name="csY87" fmla="*/ 195400 h 2092038"/>
              <a:gd name="csX88" fmla="*/ 445346 w 733006"/>
              <a:gd name="csY88" fmla="*/ 197582 h 2092038"/>
              <a:gd name="csX89" fmla="*/ 464798 w 733006"/>
              <a:gd name="csY89" fmla="*/ 174107 h 2092038"/>
              <a:gd name="csX90" fmla="*/ 489970 w 733006"/>
              <a:gd name="csY90" fmla="*/ 152208 h 2092038"/>
              <a:gd name="csX91" fmla="*/ 140694 w 733006"/>
              <a:gd name="csY91" fmla="*/ 201837 h 2092038"/>
              <a:gd name="csX92" fmla="*/ 139834 w 733006"/>
              <a:gd name="csY92" fmla="*/ 201482 h 2092038"/>
              <a:gd name="csX93" fmla="*/ 140812 w 733006"/>
              <a:gd name="csY93" fmla="*/ 204941 h 2092038"/>
              <a:gd name="csX94" fmla="*/ 144631 w 733006"/>
              <a:gd name="csY94" fmla="*/ 217811 h 2092038"/>
              <a:gd name="csX95" fmla="*/ 201241 w 733006"/>
              <a:gd name="csY95" fmla="*/ 373387 h 2092038"/>
              <a:gd name="csX96" fmla="*/ 235971 w 733006"/>
              <a:gd name="csY96" fmla="*/ 504451 h 2092038"/>
              <a:gd name="csX97" fmla="*/ 247475 w 733006"/>
              <a:gd name="csY97" fmla="*/ 513241 h 2092038"/>
              <a:gd name="csX98" fmla="*/ 289066 w 733006"/>
              <a:gd name="csY98" fmla="*/ 511170 h 2092038"/>
              <a:gd name="csX99" fmla="*/ 378229 w 733006"/>
              <a:gd name="csY99" fmla="*/ 511084 h 2092038"/>
              <a:gd name="csX100" fmla="*/ 470850 w 733006"/>
              <a:gd name="csY100" fmla="*/ 516341 h 2092038"/>
              <a:gd name="csX101" fmla="*/ 492933 w 733006"/>
              <a:gd name="csY101" fmla="*/ 497969 h 2092038"/>
              <a:gd name="csX102" fmla="*/ 557617 w 733006"/>
              <a:gd name="csY102" fmla="*/ 280398 h 2092038"/>
              <a:gd name="csX103" fmla="*/ 588788 w 733006"/>
              <a:gd name="csY103" fmla="*/ 200385 h 2092038"/>
              <a:gd name="csX104" fmla="*/ 530958 w 733006"/>
              <a:gd name="csY104" fmla="*/ 232968 h 2092038"/>
              <a:gd name="csX105" fmla="*/ 483823 w 733006"/>
              <a:gd name="csY105" fmla="*/ 190364 h 2092038"/>
              <a:gd name="csX106" fmla="*/ 466649 w 733006"/>
              <a:gd name="csY106" fmla="*/ 209061 h 2092038"/>
              <a:gd name="csX107" fmla="*/ 399941 w 733006"/>
              <a:gd name="csY107" fmla="*/ 216988 h 2092038"/>
              <a:gd name="csX108" fmla="*/ 363018 w 733006"/>
              <a:gd name="csY108" fmla="*/ 179615 h 2092038"/>
              <a:gd name="csX109" fmla="*/ 308839 w 733006"/>
              <a:gd name="csY109" fmla="*/ 227846 h 2092038"/>
              <a:gd name="csX110" fmla="*/ 245077 w 733006"/>
              <a:gd name="csY110" fmla="*/ 192402 h 2092038"/>
              <a:gd name="csX111" fmla="*/ 242829 w 733006"/>
              <a:gd name="csY111" fmla="*/ 198815 h 2092038"/>
              <a:gd name="csX112" fmla="*/ 168452 w 733006"/>
              <a:gd name="csY112" fmla="*/ 219348 h 2092038"/>
              <a:gd name="csX113" fmla="*/ 140694 w 733006"/>
              <a:gd name="csY113" fmla="*/ 201837 h 2092038"/>
              <a:gd name="csX114" fmla="*/ 259999 w 733006"/>
              <a:gd name="csY114" fmla="*/ 966699 h 2092038"/>
              <a:gd name="csX115" fmla="*/ 257072 w 733006"/>
              <a:gd name="csY115" fmla="*/ 1070424 h 2092038"/>
              <a:gd name="csX116" fmla="*/ 251372 w 733006"/>
              <a:gd name="csY116" fmla="*/ 1157618 h 2092038"/>
              <a:gd name="csX117" fmla="*/ 232677 w 733006"/>
              <a:gd name="csY117" fmla="*/ 1320279 h 2092038"/>
              <a:gd name="csX118" fmla="*/ 209182 w 733006"/>
              <a:gd name="csY118" fmla="*/ 1468667 h 2092038"/>
              <a:gd name="csX119" fmla="*/ 175302 w 733006"/>
              <a:gd name="csY119" fmla="*/ 1616623 h 2092038"/>
              <a:gd name="csX120" fmla="*/ 182769 w 733006"/>
              <a:gd name="csY120" fmla="*/ 1629786 h 2092038"/>
              <a:gd name="csX121" fmla="*/ 212156 w 733006"/>
              <a:gd name="csY121" fmla="*/ 1632656 h 2092038"/>
              <a:gd name="csX122" fmla="*/ 351295 w 733006"/>
              <a:gd name="csY122" fmla="*/ 1632801 h 2092038"/>
              <a:gd name="csX123" fmla="*/ 376150 w 733006"/>
              <a:gd name="csY123" fmla="*/ 1608307 h 2092038"/>
              <a:gd name="csX124" fmla="*/ 373450 w 733006"/>
              <a:gd name="csY124" fmla="*/ 1457291 h 2092038"/>
              <a:gd name="csX125" fmla="*/ 370936 w 733006"/>
              <a:gd name="csY125" fmla="*/ 1342736 h 2092038"/>
              <a:gd name="csX126" fmla="*/ 368328 w 733006"/>
              <a:gd name="csY126" fmla="*/ 1203878 h 2092038"/>
              <a:gd name="csX127" fmla="*/ 367836 w 733006"/>
              <a:gd name="csY127" fmla="*/ 813478 h 2092038"/>
              <a:gd name="csX128" fmla="*/ 365240 w 733006"/>
              <a:gd name="csY128" fmla="*/ 773243 h 2092038"/>
              <a:gd name="csX129" fmla="*/ 353084 w 733006"/>
              <a:gd name="csY129" fmla="*/ 762083 h 2092038"/>
              <a:gd name="csX130" fmla="*/ 280966 w 733006"/>
              <a:gd name="csY130" fmla="*/ 759855 h 2092038"/>
              <a:gd name="csX131" fmla="*/ 259965 w 733006"/>
              <a:gd name="csY131" fmla="*/ 779553 h 2092038"/>
              <a:gd name="csX132" fmla="*/ 262341 w 733006"/>
              <a:gd name="csY132" fmla="*/ 856275 h 2092038"/>
              <a:gd name="csX133" fmla="*/ 259999 w 733006"/>
              <a:gd name="csY133" fmla="*/ 966699 h 2092038"/>
              <a:gd name="csX134" fmla="*/ 55556 w 733006"/>
              <a:gd name="csY134" fmla="*/ 1835827 h 2092038"/>
              <a:gd name="csX135" fmla="*/ 49393 w 733006"/>
              <a:gd name="csY135" fmla="*/ 1878155 h 2092038"/>
              <a:gd name="csX136" fmla="*/ 73949 w 733006"/>
              <a:gd name="csY136" fmla="*/ 1905781 h 2092038"/>
              <a:gd name="csX137" fmla="*/ 110073 w 733006"/>
              <a:gd name="csY137" fmla="*/ 1909068 h 2092038"/>
              <a:gd name="csX138" fmla="*/ 224745 w 733006"/>
              <a:gd name="csY138" fmla="*/ 1921652 h 2092038"/>
              <a:gd name="csX139" fmla="*/ 347327 w 733006"/>
              <a:gd name="csY139" fmla="*/ 1924778 h 2092038"/>
              <a:gd name="csX140" fmla="*/ 363345 w 733006"/>
              <a:gd name="csY140" fmla="*/ 1923293 h 2092038"/>
              <a:gd name="csX141" fmla="*/ 373787 w 733006"/>
              <a:gd name="csY141" fmla="*/ 1911200 h 2092038"/>
              <a:gd name="csX142" fmla="*/ 376623 w 733006"/>
              <a:gd name="csY142" fmla="*/ 1696741 h 2092038"/>
              <a:gd name="csX143" fmla="*/ 360437 w 733006"/>
              <a:gd name="csY143" fmla="*/ 1681289 h 2092038"/>
              <a:gd name="csX144" fmla="*/ 263503 w 733006"/>
              <a:gd name="csY144" fmla="*/ 1678179 h 2092038"/>
              <a:gd name="csX145" fmla="*/ 160381 w 733006"/>
              <a:gd name="csY145" fmla="*/ 1670405 h 2092038"/>
              <a:gd name="csX146" fmla="*/ 143321 w 733006"/>
              <a:gd name="csY146" fmla="*/ 1685538 h 2092038"/>
              <a:gd name="csX147" fmla="*/ 124769 w 733006"/>
              <a:gd name="csY147" fmla="*/ 1738195 h 2092038"/>
              <a:gd name="csX148" fmla="*/ 90593 w 733006"/>
              <a:gd name="csY148" fmla="*/ 1779570 h 2092038"/>
              <a:gd name="csX149" fmla="*/ 55556 w 733006"/>
              <a:gd name="csY149" fmla="*/ 1835827 h 2092038"/>
              <a:gd name="csX150" fmla="*/ 378900 w 733006"/>
              <a:gd name="csY150" fmla="*/ 2007280 h 2092038"/>
              <a:gd name="csX151" fmla="*/ 378887 w 733006"/>
              <a:gd name="csY151" fmla="*/ 1995127 h 2092038"/>
              <a:gd name="csX152" fmla="*/ 359084 w 733006"/>
              <a:gd name="csY152" fmla="*/ 1975964 h 2092038"/>
              <a:gd name="csX153" fmla="*/ 247288 w 733006"/>
              <a:gd name="csY153" fmla="*/ 1973305 h 2092038"/>
              <a:gd name="csX154" fmla="*/ 201692 w 733006"/>
              <a:gd name="csY154" fmla="*/ 1970275 h 2092038"/>
              <a:gd name="csX155" fmla="*/ 57962 w 733006"/>
              <a:gd name="csY155" fmla="*/ 1952648 h 2092038"/>
              <a:gd name="csX156" fmla="*/ 39194 w 733006"/>
              <a:gd name="csY156" fmla="*/ 1963552 h 2092038"/>
              <a:gd name="csX157" fmla="*/ 30066 w 733006"/>
              <a:gd name="csY157" fmla="*/ 2006631 h 2092038"/>
              <a:gd name="csX158" fmla="*/ 40232 w 733006"/>
              <a:gd name="csY158" fmla="*/ 2019486 h 2092038"/>
              <a:gd name="csX159" fmla="*/ 238186 w 733006"/>
              <a:gd name="csY159" fmla="*/ 2046096 h 2092038"/>
              <a:gd name="csX160" fmla="*/ 342155 w 733006"/>
              <a:gd name="csY160" fmla="*/ 2046441 h 2092038"/>
              <a:gd name="csX161" fmla="*/ 378900 w 733006"/>
              <a:gd name="csY161" fmla="*/ 2007280 h 2092038"/>
              <a:gd name="csX162" fmla="*/ 310220 w 733006"/>
              <a:gd name="csY162" fmla="*/ 554288 h 2092038"/>
              <a:gd name="csX163" fmla="*/ 259136 w 733006"/>
              <a:gd name="csY163" fmla="*/ 556881 h 2092038"/>
              <a:gd name="csX164" fmla="*/ 249085 w 733006"/>
              <a:gd name="csY164" fmla="*/ 567981 h 2092038"/>
              <a:gd name="csX165" fmla="*/ 249141 w 733006"/>
              <a:gd name="csY165" fmla="*/ 605644 h 2092038"/>
              <a:gd name="csX166" fmla="*/ 262628 w 733006"/>
              <a:gd name="csY166" fmla="*/ 605627 h 2092038"/>
              <a:gd name="csX167" fmla="*/ 369608 w 733006"/>
              <a:gd name="csY167" fmla="*/ 603027 h 2092038"/>
              <a:gd name="csX168" fmla="*/ 463931 w 733006"/>
              <a:gd name="csY168" fmla="*/ 605146 h 2092038"/>
              <a:gd name="csX169" fmla="*/ 478113 w 733006"/>
              <a:gd name="csY169" fmla="*/ 595843 h 2092038"/>
              <a:gd name="csX170" fmla="*/ 478796 w 733006"/>
              <a:gd name="csY170" fmla="*/ 556832 h 2092038"/>
              <a:gd name="csX171" fmla="*/ 310220 w 733006"/>
              <a:gd name="csY171" fmla="*/ 554288 h 2092038"/>
              <a:gd name="csX172" fmla="*/ 348836 w 733006"/>
              <a:gd name="csY172" fmla="*/ 684115 h 2092038"/>
              <a:gd name="csX173" fmla="*/ 281333 w 733006"/>
              <a:gd name="csY173" fmla="*/ 683313 h 2092038"/>
              <a:gd name="csX174" fmla="*/ 212728 w 733006"/>
              <a:gd name="csY174" fmla="*/ 681931 h 2092038"/>
              <a:gd name="csX175" fmla="*/ 187283 w 733006"/>
              <a:gd name="csY175" fmla="*/ 689555 h 2092038"/>
              <a:gd name="csX176" fmla="*/ 186163 w 733006"/>
              <a:gd name="csY176" fmla="*/ 718266 h 2092038"/>
              <a:gd name="csX177" fmla="*/ 209894 w 733006"/>
              <a:gd name="csY177" fmla="*/ 726798 h 2092038"/>
              <a:gd name="csX178" fmla="*/ 334814 w 733006"/>
              <a:gd name="csY178" fmla="*/ 732494 h 2092038"/>
              <a:gd name="csX179" fmla="*/ 364856 w 733006"/>
              <a:gd name="csY179" fmla="*/ 707963 h 2092038"/>
              <a:gd name="csX180" fmla="*/ 348836 w 733006"/>
              <a:gd name="csY180" fmla="*/ 684115 h 2092038"/>
              <a:gd name="csX181" fmla="*/ 298865 w 733006"/>
              <a:gd name="csY181" fmla="*/ 621954 h 2092038"/>
              <a:gd name="csX182" fmla="*/ 251619 w 733006"/>
              <a:gd name="csY182" fmla="*/ 622133 h 2092038"/>
              <a:gd name="csX183" fmla="*/ 214459 w 733006"/>
              <a:gd name="csY183" fmla="*/ 636230 h 2092038"/>
              <a:gd name="csX184" fmla="*/ 221436 w 733006"/>
              <a:gd name="csY184" fmla="*/ 654205 h 2092038"/>
              <a:gd name="csX185" fmla="*/ 272412 w 733006"/>
              <a:gd name="csY185" fmla="*/ 657250 h 2092038"/>
              <a:gd name="csX186" fmla="*/ 349094 w 733006"/>
              <a:gd name="csY186" fmla="*/ 659282 h 2092038"/>
              <a:gd name="csX187" fmla="*/ 362996 w 733006"/>
              <a:gd name="csY187" fmla="*/ 644234 h 2092038"/>
              <a:gd name="csX188" fmla="*/ 348472 w 733006"/>
              <a:gd name="csY188" fmla="*/ 624649 h 2092038"/>
              <a:gd name="csX189" fmla="*/ 298865 w 733006"/>
              <a:gd name="csY189" fmla="*/ 621954 h 2092038"/>
              <a:gd name="csX190" fmla="*/ 227796 w 733006"/>
              <a:gd name="csY190" fmla="*/ 528000 h 2092038"/>
              <a:gd name="csX191" fmla="*/ 241009 w 733006"/>
              <a:gd name="csY191" fmla="*/ 545897 h 2092038"/>
              <a:gd name="csX192" fmla="*/ 282607 w 733006"/>
              <a:gd name="csY192" fmla="*/ 543480 h 2092038"/>
              <a:gd name="csX193" fmla="*/ 354213 w 733006"/>
              <a:gd name="csY193" fmla="*/ 543384 h 2092038"/>
              <a:gd name="csX194" fmla="*/ 365334 w 733006"/>
              <a:gd name="csY194" fmla="*/ 533397 h 2092038"/>
              <a:gd name="csX195" fmla="*/ 354531 w 733006"/>
              <a:gd name="csY195" fmla="*/ 521620 h 2092038"/>
              <a:gd name="csX196" fmla="*/ 259169 w 733006"/>
              <a:gd name="csY196" fmla="*/ 521978 h 2092038"/>
              <a:gd name="csX197" fmla="*/ 227796 w 733006"/>
              <a:gd name="csY197" fmla="*/ 528000 h 2092038"/>
              <a:gd name="csX198" fmla="*/ 508068 w 733006"/>
              <a:gd name="csY198" fmla="*/ 190710 h 2092038"/>
              <a:gd name="csX199" fmla="*/ 521293 w 733006"/>
              <a:gd name="csY199" fmla="*/ 205907 h 2092038"/>
              <a:gd name="csX200" fmla="*/ 525175 w 733006"/>
              <a:gd name="csY200" fmla="*/ 202985 h 2092038"/>
              <a:gd name="csX201" fmla="*/ 500276 w 733006"/>
              <a:gd name="csY201" fmla="*/ 160640 h 2092038"/>
              <a:gd name="csX202" fmla="*/ 497122 w 733006"/>
              <a:gd name="csY202" fmla="*/ 162007 h 2092038"/>
              <a:gd name="csX203" fmla="*/ 508068 w 733006"/>
              <a:gd name="csY203" fmla="*/ 190710 h 2092038"/>
              <a:gd name="csX204" fmla="*/ 215522 w 733006"/>
              <a:gd name="csY204" fmla="*/ 197296 h 2092038"/>
              <a:gd name="csX205" fmla="*/ 234029 w 733006"/>
              <a:gd name="csY205" fmla="*/ 162725 h 2092038"/>
              <a:gd name="csX206" fmla="*/ 229000 w 733006"/>
              <a:gd name="csY206" fmla="*/ 159902 h 2092038"/>
              <a:gd name="csX207" fmla="*/ 204824 w 733006"/>
              <a:gd name="csY207" fmla="*/ 199677 h 2092038"/>
              <a:gd name="csX208" fmla="*/ 207990 w 733006"/>
              <a:gd name="csY208" fmla="*/ 202198 h 2092038"/>
              <a:gd name="csX209" fmla="*/ 215522 w 733006"/>
              <a:gd name="csY209" fmla="*/ 197296 h 2092038"/>
              <a:gd name="csX210" fmla="*/ 484400 w 733006"/>
              <a:gd name="csY210" fmla="*/ 896678 h 2092038"/>
              <a:gd name="csX211" fmla="*/ 486181 w 733006"/>
              <a:gd name="csY211" fmla="*/ 896585 h 2092038"/>
              <a:gd name="csX212" fmla="*/ 486181 w 733006"/>
              <a:gd name="csY212" fmla="*/ 795289 h 2092038"/>
              <a:gd name="csX0" fmla="*/ 96263 w 733006"/>
              <a:gd name="csY0" fmla="*/ 2076207 h 2092038"/>
              <a:gd name="csX1" fmla="*/ 63862 w 733006"/>
              <a:gd name="csY1" fmla="*/ 2065388 h 2092038"/>
              <a:gd name="csX2" fmla="*/ 16555 w 733006"/>
              <a:gd name="csY2" fmla="*/ 2050152 h 2092038"/>
              <a:gd name="csX3" fmla="*/ 15 w 733006"/>
              <a:gd name="csY3" fmla="*/ 2023802 h 2092038"/>
              <a:gd name="csX4" fmla="*/ 18368 w 733006"/>
              <a:gd name="csY4" fmla="*/ 1940709 h 2092038"/>
              <a:gd name="csX5" fmla="*/ 22139 w 733006"/>
              <a:gd name="csY5" fmla="*/ 1907268 h 2092038"/>
              <a:gd name="csX6" fmla="*/ 57941 w 733006"/>
              <a:gd name="csY6" fmla="*/ 1774163 h 2092038"/>
              <a:gd name="csX7" fmla="*/ 102478 w 733006"/>
              <a:gd name="csY7" fmla="*/ 1720275 h 2092038"/>
              <a:gd name="csX8" fmla="*/ 108579 w 733006"/>
              <a:gd name="csY8" fmla="*/ 1650967 h 2092038"/>
              <a:gd name="csX9" fmla="*/ 115628 w 733006"/>
              <a:gd name="csY9" fmla="*/ 1625405 h 2092038"/>
              <a:gd name="csX10" fmla="*/ 156323 w 733006"/>
              <a:gd name="csY10" fmla="*/ 1560181 h 2092038"/>
              <a:gd name="csX11" fmla="*/ 199424 w 733006"/>
              <a:gd name="csY11" fmla="*/ 1364729 h 2092038"/>
              <a:gd name="csX12" fmla="*/ 216779 w 733006"/>
              <a:gd name="csY12" fmla="*/ 1219490 h 2092038"/>
              <a:gd name="csX13" fmla="*/ 229755 w 733006"/>
              <a:gd name="csY13" fmla="*/ 1099357 h 2092038"/>
              <a:gd name="csX14" fmla="*/ 232707 w 733006"/>
              <a:gd name="csY14" fmla="*/ 1056423 h 2092038"/>
              <a:gd name="csX15" fmla="*/ 235622 w 733006"/>
              <a:gd name="csY15" fmla="*/ 952675 h 2092038"/>
              <a:gd name="csX16" fmla="*/ 235445 w 733006"/>
              <a:gd name="csY16" fmla="*/ 780278 h 2092038"/>
              <a:gd name="csX17" fmla="*/ 214544 w 733006"/>
              <a:gd name="csY17" fmla="*/ 756435 h 2092038"/>
              <a:gd name="csX18" fmla="*/ 172569 w 733006"/>
              <a:gd name="csY18" fmla="*/ 742582 h 2092038"/>
              <a:gd name="csX19" fmla="*/ 168784 w 733006"/>
              <a:gd name="csY19" fmla="*/ 669116 h 2092038"/>
              <a:gd name="csX20" fmla="*/ 191657 w 733006"/>
              <a:gd name="csY20" fmla="*/ 630765 h 2092038"/>
              <a:gd name="csX21" fmla="*/ 208150 w 733006"/>
              <a:gd name="csY21" fmla="*/ 609084 h 2092038"/>
              <a:gd name="csX22" fmla="*/ 216756 w 733006"/>
              <a:gd name="csY22" fmla="*/ 558673 h 2092038"/>
              <a:gd name="csX23" fmla="*/ 209092 w 733006"/>
              <a:gd name="csY23" fmla="*/ 521540 h 2092038"/>
              <a:gd name="csX24" fmla="*/ 204683 w 733006"/>
              <a:gd name="csY24" fmla="*/ 474024 h 2092038"/>
              <a:gd name="csX25" fmla="*/ 115483 w 733006"/>
              <a:gd name="csY25" fmla="*/ 213499 h 2092038"/>
              <a:gd name="csX26" fmla="*/ 102909 w 733006"/>
              <a:gd name="csY26" fmla="*/ 182297 h 2092038"/>
              <a:gd name="csX27" fmla="*/ 104315 w 733006"/>
              <a:gd name="csY27" fmla="*/ 163968 h 2092038"/>
              <a:gd name="csX28" fmla="*/ 122444 w 733006"/>
              <a:gd name="csY28" fmla="*/ 160805 h 2092038"/>
              <a:gd name="csX29" fmla="*/ 170283 w 733006"/>
              <a:gd name="csY29" fmla="*/ 187783 h 2092038"/>
              <a:gd name="csX30" fmla="*/ 180938 w 733006"/>
              <a:gd name="csY30" fmla="*/ 195322 h 2092038"/>
              <a:gd name="csX31" fmla="*/ 221419 w 733006"/>
              <a:gd name="csY31" fmla="*/ 138058 h 2092038"/>
              <a:gd name="csX32" fmla="*/ 294099 w 733006"/>
              <a:gd name="csY32" fmla="*/ 91372 h 2092038"/>
              <a:gd name="csX33" fmla="*/ 302307 w 733006"/>
              <a:gd name="csY33" fmla="*/ 76560 h 2092038"/>
              <a:gd name="csX34" fmla="*/ 320284 w 733006"/>
              <a:gd name="csY34" fmla="*/ 8414 h 2092038"/>
              <a:gd name="csX35" fmla="*/ 324784 w 733006"/>
              <a:gd name="csY35" fmla="*/ 946 h 2092038"/>
              <a:gd name="csX36" fmla="*/ 399212 w 733006"/>
              <a:gd name="csY36" fmla="*/ 0 h 2092038"/>
              <a:gd name="csX37" fmla="*/ 425980 w 733006"/>
              <a:gd name="csY37" fmla="*/ 78301 h 2092038"/>
              <a:gd name="csX38" fmla="*/ 431861 w 733006"/>
              <a:gd name="csY38" fmla="*/ 90312 h 2092038"/>
              <a:gd name="csX39" fmla="*/ 540349 w 733006"/>
              <a:gd name="csY39" fmla="*/ 187946 h 2092038"/>
              <a:gd name="csX40" fmla="*/ 545555 w 733006"/>
              <a:gd name="csY40" fmla="*/ 197828 h 2092038"/>
              <a:gd name="csX41" fmla="*/ 587318 w 733006"/>
              <a:gd name="csY41" fmla="*/ 171260 h 2092038"/>
              <a:gd name="csX42" fmla="*/ 601503 w 733006"/>
              <a:gd name="csY42" fmla="*/ 163707 h 2092038"/>
              <a:gd name="csX43" fmla="*/ 625254 w 733006"/>
              <a:gd name="csY43" fmla="*/ 163123 h 2092038"/>
              <a:gd name="csX44" fmla="*/ 625468 w 733006"/>
              <a:gd name="csY44" fmla="*/ 187579 h 2092038"/>
              <a:gd name="csX45" fmla="*/ 597543 w 733006"/>
              <a:gd name="csY45" fmla="*/ 251872 h 2092038"/>
              <a:gd name="csX46" fmla="*/ 531831 w 733006"/>
              <a:gd name="csY46" fmla="*/ 442689 h 2092038"/>
              <a:gd name="csX47" fmla="*/ 519888 w 733006"/>
              <a:gd name="csY47" fmla="*/ 501474 h 2092038"/>
              <a:gd name="csX48" fmla="*/ 522506 w 733006"/>
              <a:gd name="csY48" fmla="*/ 525086 h 2092038"/>
              <a:gd name="csX49" fmla="*/ 516235 w 733006"/>
              <a:gd name="csY49" fmla="*/ 555946 h 2092038"/>
              <a:gd name="csX50" fmla="*/ 521332 w 733006"/>
              <a:gd name="csY50" fmla="*/ 610676 h 2092038"/>
              <a:gd name="csX51" fmla="*/ 541382 w 733006"/>
              <a:gd name="csY51" fmla="*/ 642597 h 2092038"/>
              <a:gd name="csX52" fmla="*/ 557031 w 733006"/>
              <a:gd name="csY52" fmla="*/ 667949 h 2092038"/>
              <a:gd name="csX53" fmla="*/ 553994 w 733006"/>
              <a:gd name="csY53" fmla="*/ 744146 h 2092038"/>
              <a:gd name="csX54" fmla="*/ 508215 w 733006"/>
              <a:gd name="csY54" fmla="*/ 758841 h 2092038"/>
              <a:gd name="csX55" fmla="*/ 497442 w 733006"/>
              <a:gd name="csY55" fmla="*/ 771256 h 2092038"/>
              <a:gd name="csX56" fmla="*/ 493005 w 733006"/>
              <a:gd name="csY56" fmla="*/ 922055 h 2092038"/>
              <a:gd name="csX57" fmla="*/ 502900 w 733006"/>
              <a:gd name="csY57" fmla="*/ 1114191 h 2092038"/>
              <a:gd name="csX58" fmla="*/ 508800 w 733006"/>
              <a:gd name="csY58" fmla="*/ 1205474 h 2092038"/>
              <a:gd name="csX59" fmla="*/ 522952 w 733006"/>
              <a:gd name="csY59" fmla="*/ 1320065 h 2092038"/>
              <a:gd name="csX60" fmla="*/ 554682 w 733006"/>
              <a:gd name="csY60" fmla="*/ 1501203 h 2092038"/>
              <a:gd name="csX61" fmla="*/ 576958 w 733006"/>
              <a:gd name="csY61" fmla="*/ 1593963 h 2092038"/>
              <a:gd name="csX62" fmla="*/ 595349 w 733006"/>
              <a:gd name="csY62" fmla="*/ 1613498 h 2092038"/>
              <a:gd name="csX63" fmla="*/ 613936 w 733006"/>
              <a:gd name="csY63" fmla="*/ 1624058 h 2092038"/>
              <a:gd name="csX64" fmla="*/ 620938 w 733006"/>
              <a:gd name="csY64" fmla="*/ 1652071 h 2092038"/>
              <a:gd name="csX65" fmla="*/ 630805 w 733006"/>
              <a:gd name="csY65" fmla="*/ 1721702 h 2092038"/>
              <a:gd name="csX66" fmla="*/ 685830 w 733006"/>
              <a:gd name="csY66" fmla="*/ 1792915 h 2092038"/>
              <a:gd name="csX67" fmla="*/ 708904 w 733006"/>
              <a:gd name="csY67" fmla="*/ 1890290 h 2092038"/>
              <a:gd name="csX68" fmla="*/ 716580 w 733006"/>
              <a:gd name="csY68" fmla="*/ 1951136 h 2092038"/>
              <a:gd name="csX69" fmla="*/ 729397 w 733006"/>
              <a:gd name="csY69" fmla="*/ 2030261 h 2092038"/>
              <a:gd name="csX70" fmla="*/ 714212 w 733006"/>
              <a:gd name="csY70" fmla="*/ 2059069 h 2092038"/>
              <a:gd name="csX71" fmla="*/ 96263 w 733006"/>
              <a:gd name="csY71" fmla="*/ 2076207 h 2092038"/>
              <a:gd name="csX72" fmla="*/ 489970 w 733006"/>
              <a:gd name="csY72" fmla="*/ 152208 h 2092038"/>
              <a:gd name="csX73" fmla="*/ 490754 w 733006"/>
              <a:gd name="csY73" fmla="*/ 152592 h 2092038"/>
              <a:gd name="csX74" fmla="*/ 489489 w 733006"/>
              <a:gd name="csY74" fmla="*/ 149547 h 2092038"/>
              <a:gd name="csX75" fmla="*/ 393621 w 733006"/>
              <a:gd name="csY75" fmla="*/ 99259 h 2092038"/>
              <a:gd name="csX76" fmla="*/ 390419 w 733006"/>
              <a:gd name="csY76" fmla="*/ 18568 h 2092038"/>
              <a:gd name="csX77" fmla="*/ 334131 w 733006"/>
              <a:gd name="csY77" fmla="*/ 24327 h 2092038"/>
              <a:gd name="csX78" fmla="*/ 344678 w 733006"/>
              <a:gd name="csY78" fmla="*/ 101259 h 2092038"/>
              <a:gd name="csX79" fmla="*/ 298854 w 733006"/>
              <a:gd name="csY79" fmla="*/ 114003 h 2092038"/>
              <a:gd name="csX80" fmla="*/ 237456 w 733006"/>
              <a:gd name="csY80" fmla="*/ 154340 h 2092038"/>
              <a:gd name="csX81" fmla="*/ 240382 w 733006"/>
              <a:gd name="csY81" fmla="*/ 154035 h 2092038"/>
              <a:gd name="csX82" fmla="*/ 262731 w 733006"/>
              <a:gd name="csY82" fmla="*/ 170426 h 2092038"/>
              <a:gd name="csX83" fmla="*/ 279169 w 733006"/>
              <a:gd name="csY83" fmla="*/ 193173 h 2092038"/>
              <a:gd name="csX84" fmla="*/ 327717 w 733006"/>
              <a:gd name="csY84" fmla="*/ 188556 h 2092038"/>
              <a:gd name="csX85" fmla="*/ 348052 w 733006"/>
              <a:gd name="csY85" fmla="*/ 156919 h 2092038"/>
              <a:gd name="csX86" fmla="*/ 380330 w 733006"/>
              <a:gd name="csY86" fmla="*/ 156483 h 2092038"/>
              <a:gd name="csX87" fmla="*/ 408490 w 733006"/>
              <a:gd name="csY87" fmla="*/ 195400 h 2092038"/>
              <a:gd name="csX88" fmla="*/ 445346 w 733006"/>
              <a:gd name="csY88" fmla="*/ 197582 h 2092038"/>
              <a:gd name="csX89" fmla="*/ 464798 w 733006"/>
              <a:gd name="csY89" fmla="*/ 174107 h 2092038"/>
              <a:gd name="csX90" fmla="*/ 489970 w 733006"/>
              <a:gd name="csY90" fmla="*/ 152208 h 2092038"/>
              <a:gd name="csX91" fmla="*/ 140694 w 733006"/>
              <a:gd name="csY91" fmla="*/ 201837 h 2092038"/>
              <a:gd name="csX92" fmla="*/ 139834 w 733006"/>
              <a:gd name="csY92" fmla="*/ 201482 h 2092038"/>
              <a:gd name="csX93" fmla="*/ 140812 w 733006"/>
              <a:gd name="csY93" fmla="*/ 204941 h 2092038"/>
              <a:gd name="csX94" fmla="*/ 144631 w 733006"/>
              <a:gd name="csY94" fmla="*/ 217811 h 2092038"/>
              <a:gd name="csX95" fmla="*/ 201241 w 733006"/>
              <a:gd name="csY95" fmla="*/ 373387 h 2092038"/>
              <a:gd name="csX96" fmla="*/ 235971 w 733006"/>
              <a:gd name="csY96" fmla="*/ 504451 h 2092038"/>
              <a:gd name="csX97" fmla="*/ 247475 w 733006"/>
              <a:gd name="csY97" fmla="*/ 513241 h 2092038"/>
              <a:gd name="csX98" fmla="*/ 289066 w 733006"/>
              <a:gd name="csY98" fmla="*/ 511170 h 2092038"/>
              <a:gd name="csX99" fmla="*/ 378229 w 733006"/>
              <a:gd name="csY99" fmla="*/ 511084 h 2092038"/>
              <a:gd name="csX100" fmla="*/ 470850 w 733006"/>
              <a:gd name="csY100" fmla="*/ 516341 h 2092038"/>
              <a:gd name="csX101" fmla="*/ 492933 w 733006"/>
              <a:gd name="csY101" fmla="*/ 497969 h 2092038"/>
              <a:gd name="csX102" fmla="*/ 557617 w 733006"/>
              <a:gd name="csY102" fmla="*/ 280398 h 2092038"/>
              <a:gd name="csX103" fmla="*/ 588788 w 733006"/>
              <a:gd name="csY103" fmla="*/ 200385 h 2092038"/>
              <a:gd name="csX104" fmla="*/ 530958 w 733006"/>
              <a:gd name="csY104" fmla="*/ 232968 h 2092038"/>
              <a:gd name="csX105" fmla="*/ 483823 w 733006"/>
              <a:gd name="csY105" fmla="*/ 190364 h 2092038"/>
              <a:gd name="csX106" fmla="*/ 466649 w 733006"/>
              <a:gd name="csY106" fmla="*/ 209061 h 2092038"/>
              <a:gd name="csX107" fmla="*/ 399941 w 733006"/>
              <a:gd name="csY107" fmla="*/ 216988 h 2092038"/>
              <a:gd name="csX108" fmla="*/ 363018 w 733006"/>
              <a:gd name="csY108" fmla="*/ 179615 h 2092038"/>
              <a:gd name="csX109" fmla="*/ 308839 w 733006"/>
              <a:gd name="csY109" fmla="*/ 227846 h 2092038"/>
              <a:gd name="csX110" fmla="*/ 245077 w 733006"/>
              <a:gd name="csY110" fmla="*/ 192402 h 2092038"/>
              <a:gd name="csX111" fmla="*/ 242829 w 733006"/>
              <a:gd name="csY111" fmla="*/ 198815 h 2092038"/>
              <a:gd name="csX112" fmla="*/ 168452 w 733006"/>
              <a:gd name="csY112" fmla="*/ 219348 h 2092038"/>
              <a:gd name="csX113" fmla="*/ 140694 w 733006"/>
              <a:gd name="csY113" fmla="*/ 201837 h 2092038"/>
              <a:gd name="csX114" fmla="*/ 259999 w 733006"/>
              <a:gd name="csY114" fmla="*/ 966699 h 2092038"/>
              <a:gd name="csX115" fmla="*/ 257072 w 733006"/>
              <a:gd name="csY115" fmla="*/ 1070424 h 2092038"/>
              <a:gd name="csX116" fmla="*/ 251372 w 733006"/>
              <a:gd name="csY116" fmla="*/ 1157618 h 2092038"/>
              <a:gd name="csX117" fmla="*/ 232677 w 733006"/>
              <a:gd name="csY117" fmla="*/ 1320279 h 2092038"/>
              <a:gd name="csX118" fmla="*/ 209182 w 733006"/>
              <a:gd name="csY118" fmla="*/ 1468667 h 2092038"/>
              <a:gd name="csX119" fmla="*/ 175302 w 733006"/>
              <a:gd name="csY119" fmla="*/ 1616623 h 2092038"/>
              <a:gd name="csX120" fmla="*/ 182769 w 733006"/>
              <a:gd name="csY120" fmla="*/ 1629786 h 2092038"/>
              <a:gd name="csX121" fmla="*/ 212156 w 733006"/>
              <a:gd name="csY121" fmla="*/ 1632656 h 2092038"/>
              <a:gd name="csX122" fmla="*/ 351295 w 733006"/>
              <a:gd name="csY122" fmla="*/ 1632801 h 2092038"/>
              <a:gd name="csX123" fmla="*/ 376150 w 733006"/>
              <a:gd name="csY123" fmla="*/ 1608307 h 2092038"/>
              <a:gd name="csX124" fmla="*/ 373450 w 733006"/>
              <a:gd name="csY124" fmla="*/ 1457291 h 2092038"/>
              <a:gd name="csX125" fmla="*/ 370936 w 733006"/>
              <a:gd name="csY125" fmla="*/ 1342736 h 2092038"/>
              <a:gd name="csX126" fmla="*/ 368328 w 733006"/>
              <a:gd name="csY126" fmla="*/ 1203878 h 2092038"/>
              <a:gd name="csX127" fmla="*/ 367836 w 733006"/>
              <a:gd name="csY127" fmla="*/ 813478 h 2092038"/>
              <a:gd name="csX128" fmla="*/ 365240 w 733006"/>
              <a:gd name="csY128" fmla="*/ 773243 h 2092038"/>
              <a:gd name="csX129" fmla="*/ 353084 w 733006"/>
              <a:gd name="csY129" fmla="*/ 762083 h 2092038"/>
              <a:gd name="csX130" fmla="*/ 280966 w 733006"/>
              <a:gd name="csY130" fmla="*/ 759855 h 2092038"/>
              <a:gd name="csX131" fmla="*/ 259965 w 733006"/>
              <a:gd name="csY131" fmla="*/ 779553 h 2092038"/>
              <a:gd name="csX132" fmla="*/ 262341 w 733006"/>
              <a:gd name="csY132" fmla="*/ 856275 h 2092038"/>
              <a:gd name="csX133" fmla="*/ 259999 w 733006"/>
              <a:gd name="csY133" fmla="*/ 966699 h 2092038"/>
              <a:gd name="csX134" fmla="*/ 55556 w 733006"/>
              <a:gd name="csY134" fmla="*/ 1835827 h 2092038"/>
              <a:gd name="csX135" fmla="*/ 49393 w 733006"/>
              <a:gd name="csY135" fmla="*/ 1878155 h 2092038"/>
              <a:gd name="csX136" fmla="*/ 73949 w 733006"/>
              <a:gd name="csY136" fmla="*/ 1905781 h 2092038"/>
              <a:gd name="csX137" fmla="*/ 110073 w 733006"/>
              <a:gd name="csY137" fmla="*/ 1909068 h 2092038"/>
              <a:gd name="csX138" fmla="*/ 224745 w 733006"/>
              <a:gd name="csY138" fmla="*/ 1921652 h 2092038"/>
              <a:gd name="csX139" fmla="*/ 347327 w 733006"/>
              <a:gd name="csY139" fmla="*/ 1924778 h 2092038"/>
              <a:gd name="csX140" fmla="*/ 363345 w 733006"/>
              <a:gd name="csY140" fmla="*/ 1923293 h 2092038"/>
              <a:gd name="csX141" fmla="*/ 373787 w 733006"/>
              <a:gd name="csY141" fmla="*/ 1911200 h 2092038"/>
              <a:gd name="csX142" fmla="*/ 376623 w 733006"/>
              <a:gd name="csY142" fmla="*/ 1696741 h 2092038"/>
              <a:gd name="csX143" fmla="*/ 360437 w 733006"/>
              <a:gd name="csY143" fmla="*/ 1681289 h 2092038"/>
              <a:gd name="csX144" fmla="*/ 263503 w 733006"/>
              <a:gd name="csY144" fmla="*/ 1678179 h 2092038"/>
              <a:gd name="csX145" fmla="*/ 160381 w 733006"/>
              <a:gd name="csY145" fmla="*/ 1670405 h 2092038"/>
              <a:gd name="csX146" fmla="*/ 143321 w 733006"/>
              <a:gd name="csY146" fmla="*/ 1685538 h 2092038"/>
              <a:gd name="csX147" fmla="*/ 124769 w 733006"/>
              <a:gd name="csY147" fmla="*/ 1738195 h 2092038"/>
              <a:gd name="csX148" fmla="*/ 90593 w 733006"/>
              <a:gd name="csY148" fmla="*/ 1779570 h 2092038"/>
              <a:gd name="csX149" fmla="*/ 55556 w 733006"/>
              <a:gd name="csY149" fmla="*/ 1835827 h 2092038"/>
              <a:gd name="csX150" fmla="*/ 378900 w 733006"/>
              <a:gd name="csY150" fmla="*/ 2007280 h 2092038"/>
              <a:gd name="csX151" fmla="*/ 378887 w 733006"/>
              <a:gd name="csY151" fmla="*/ 1995127 h 2092038"/>
              <a:gd name="csX152" fmla="*/ 359084 w 733006"/>
              <a:gd name="csY152" fmla="*/ 1975964 h 2092038"/>
              <a:gd name="csX153" fmla="*/ 247288 w 733006"/>
              <a:gd name="csY153" fmla="*/ 1973305 h 2092038"/>
              <a:gd name="csX154" fmla="*/ 201692 w 733006"/>
              <a:gd name="csY154" fmla="*/ 1970275 h 2092038"/>
              <a:gd name="csX155" fmla="*/ 57962 w 733006"/>
              <a:gd name="csY155" fmla="*/ 1952648 h 2092038"/>
              <a:gd name="csX156" fmla="*/ 39194 w 733006"/>
              <a:gd name="csY156" fmla="*/ 1963552 h 2092038"/>
              <a:gd name="csX157" fmla="*/ 30066 w 733006"/>
              <a:gd name="csY157" fmla="*/ 2006631 h 2092038"/>
              <a:gd name="csX158" fmla="*/ 40232 w 733006"/>
              <a:gd name="csY158" fmla="*/ 2019486 h 2092038"/>
              <a:gd name="csX159" fmla="*/ 238186 w 733006"/>
              <a:gd name="csY159" fmla="*/ 2046096 h 2092038"/>
              <a:gd name="csX160" fmla="*/ 342155 w 733006"/>
              <a:gd name="csY160" fmla="*/ 2046441 h 2092038"/>
              <a:gd name="csX161" fmla="*/ 378900 w 733006"/>
              <a:gd name="csY161" fmla="*/ 2007280 h 2092038"/>
              <a:gd name="csX162" fmla="*/ 310220 w 733006"/>
              <a:gd name="csY162" fmla="*/ 554288 h 2092038"/>
              <a:gd name="csX163" fmla="*/ 259136 w 733006"/>
              <a:gd name="csY163" fmla="*/ 556881 h 2092038"/>
              <a:gd name="csX164" fmla="*/ 249085 w 733006"/>
              <a:gd name="csY164" fmla="*/ 567981 h 2092038"/>
              <a:gd name="csX165" fmla="*/ 249141 w 733006"/>
              <a:gd name="csY165" fmla="*/ 605644 h 2092038"/>
              <a:gd name="csX166" fmla="*/ 262628 w 733006"/>
              <a:gd name="csY166" fmla="*/ 605627 h 2092038"/>
              <a:gd name="csX167" fmla="*/ 369608 w 733006"/>
              <a:gd name="csY167" fmla="*/ 603027 h 2092038"/>
              <a:gd name="csX168" fmla="*/ 463931 w 733006"/>
              <a:gd name="csY168" fmla="*/ 605146 h 2092038"/>
              <a:gd name="csX169" fmla="*/ 478113 w 733006"/>
              <a:gd name="csY169" fmla="*/ 595843 h 2092038"/>
              <a:gd name="csX170" fmla="*/ 478796 w 733006"/>
              <a:gd name="csY170" fmla="*/ 556832 h 2092038"/>
              <a:gd name="csX171" fmla="*/ 310220 w 733006"/>
              <a:gd name="csY171" fmla="*/ 554288 h 2092038"/>
              <a:gd name="csX172" fmla="*/ 348836 w 733006"/>
              <a:gd name="csY172" fmla="*/ 684115 h 2092038"/>
              <a:gd name="csX173" fmla="*/ 281333 w 733006"/>
              <a:gd name="csY173" fmla="*/ 683313 h 2092038"/>
              <a:gd name="csX174" fmla="*/ 212728 w 733006"/>
              <a:gd name="csY174" fmla="*/ 681931 h 2092038"/>
              <a:gd name="csX175" fmla="*/ 187283 w 733006"/>
              <a:gd name="csY175" fmla="*/ 689555 h 2092038"/>
              <a:gd name="csX176" fmla="*/ 186163 w 733006"/>
              <a:gd name="csY176" fmla="*/ 718266 h 2092038"/>
              <a:gd name="csX177" fmla="*/ 209894 w 733006"/>
              <a:gd name="csY177" fmla="*/ 726798 h 2092038"/>
              <a:gd name="csX178" fmla="*/ 334814 w 733006"/>
              <a:gd name="csY178" fmla="*/ 732494 h 2092038"/>
              <a:gd name="csX179" fmla="*/ 364856 w 733006"/>
              <a:gd name="csY179" fmla="*/ 707963 h 2092038"/>
              <a:gd name="csX180" fmla="*/ 348836 w 733006"/>
              <a:gd name="csY180" fmla="*/ 684115 h 2092038"/>
              <a:gd name="csX181" fmla="*/ 298865 w 733006"/>
              <a:gd name="csY181" fmla="*/ 621954 h 2092038"/>
              <a:gd name="csX182" fmla="*/ 251619 w 733006"/>
              <a:gd name="csY182" fmla="*/ 622133 h 2092038"/>
              <a:gd name="csX183" fmla="*/ 214459 w 733006"/>
              <a:gd name="csY183" fmla="*/ 636230 h 2092038"/>
              <a:gd name="csX184" fmla="*/ 221436 w 733006"/>
              <a:gd name="csY184" fmla="*/ 654205 h 2092038"/>
              <a:gd name="csX185" fmla="*/ 272412 w 733006"/>
              <a:gd name="csY185" fmla="*/ 657250 h 2092038"/>
              <a:gd name="csX186" fmla="*/ 349094 w 733006"/>
              <a:gd name="csY186" fmla="*/ 659282 h 2092038"/>
              <a:gd name="csX187" fmla="*/ 362996 w 733006"/>
              <a:gd name="csY187" fmla="*/ 644234 h 2092038"/>
              <a:gd name="csX188" fmla="*/ 348472 w 733006"/>
              <a:gd name="csY188" fmla="*/ 624649 h 2092038"/>
              <a:gd name="csX189" fmla="*/ 298865 w 733006"/>
              <a:gd name="csY189" fmla="*/ 621954 h 2092038"/>
              <a:gd name="csX190" fmla="*/ 227796 w 733006"/>
              <a:gd name="csY190" fmla="*/ 528000 h 2092038"/>
              <a:gd name="csX191" fmla="*/ 241009 w 733006"/>
              <a:gd name="csY191" fmla="*/ 545897 h 2092038"/>
              <a:gd name="csX192" fmla="*/ 282607 w 733006"/>
              <a:gd name="csY192" fmla="*/ 543480 h 2092038"/>
              <a:gd name="csX193" fmla="*/ 354213 w 733006"/>
              <a:gd name="csY193" fmla="*/ 543384 h 2092038"/>
              <a:gd name="csX194" fmla="*/ 365334 w 733006"/>
              <a:gd name="csY194" fmla="*/ 533397 h 2092038"/>
              <a:gd name="csX195" fmla="*/ 354531 w 733006"/>
              <a:gd name="csY195" fmla="*/ 521620 h 2092038"/>
              <a:gd name="csX196" fmla="*/ 259169 w 733006"/>
              <a:gd name="csY196" fmla="*/ 521978 h 2092038"/>
              <a:gd name="csX197" fmla="*/ 227796 w 733006"/>
              <a:gd name="csY197" fmla="*/ 528000 h 2092038"/>
              <a:gd name="csX198" fmla="*/ 508068 w 733006"/>
              <a:gd name="csY198" fmla="*/ 190710 h 2092038"/>
              <a:gd name="csX199" fmla="*/ 521293 w 733006"/>
              <a:gd name="csY199" fmla="*/ 205907 h 2092038"/>
              <a:gd name="csX200" fmla="*/ 525175 w 733006"/>
              <a:gd name="csY200" fmla="*/ 202985 h 2092038"/>
              <a:gd name="csX201" fmla="*/ 500276 w 733006"/>
              <a:gd name="csY201" fmla="*/ 160640 h 2092038"/>
              <a:gd name="csX202" fmla="*/ 497122 w 733006"/>
              <a:gd name="csY202" fmla="*/ 162007 h 2092038"/>
              <a:gd name="csX203" fmla="*/ 508068 w 733006"/>
              <a:gd name="csY203" fmla="*/ 190710 h 2092038"/>
              <a:gd name="csX204" fmla="*/ 215522 w 733006"/>
              <a:gd name="csY204" fmla="*/ 197296 h 2092038"/>
              <a:gd name="csX205" fmla="*/ 234029 w 733006"/>
              <a:gd name="csY205" fmla="*/ 162725 h 2092038"/>
              <a:gd name="csX206" fmla="*/ 229000 w 733006"/>
              <a:gd name="csY206" fmla="*/ 159902 h 2092038"/>
              <a:gd name="csX207" fmla="*/ 204824 w 733006"/>
              <a:gd name="csY207" fmla="*/ 199677 h 2092038"/>
              <a:gd name="csX208" fmla="*/ 207990 w 733006"/>
              <a:gd name="csY208" fmla="*/ 202198 h 2092038"/>
              <a:gd name="csX209" fmla="*/ 215522 w 733006"/>
              <a:gd name="csY209" fmla="*/ 197296 h 2092038"/>
              <a:gd name="csX210" fmla="*/ 484400 w 733006"/>
              <a:gd name="csY210" fmla="*/ 896678 h 2092038"/>
              <a:gd name="csX211" fmla="*/ 486181 w 733006"/>
              <a:gd name="csY211" fmla="*/ 896585 h 209203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  <a:cxn ang="0">
                <a:pos x="csX170" y="csY170"/>
              </a:cxn>
              <a:cxn ang="0">
                <a:pos x="csX171" y="csY171"/>
              </a:cxn>
              <a:cxn ang="0">
                <a:pos x="csX172" y="csY172"/>
              </a:cxn>
              <a:cxn ang="0">
                <a:pos x="csX173" y="csY173"/>
              </a:cxn>
              <a:cxn ang="0">
                <a:pos x="csX174" y="csY174"/>
              </a:cxn>
              <a:cxn ang="0">
                <a:pos x="csX175" y="csY175"/>
              </a:cxn>
              <a:cxn ang="0">
                <a:pos x="csX176" y="csY176"/>
              </a:cxn>
              <a:cxn ang="0">
                <a:pos x="csX177" y="csY177"/>
              </a:cxn>
              <a:cxn ang="0">
                <a:pos x="csX178" y="csY178"/>
              </a:cxn>
              <a:cxn ang="0">
                <a:pos x="csX179" y="csY179"/>
              </a:cxn>
              <a:cxn ang="0">
                <a:pos x="csX180" y="csY180"/>
              </a:cxn>
              <a:cxn ang="0">
                <a:pos x="csX181" y="csY181"/>
              </a:cxn>
              <a:cxn ang="0">
                <a:pos x="csX182" y="csY182"/>
              </a:cxn>
              <a:cxn ang="0">
                <a:pos x="csX183" y="csY183"/>
              </a:cxn>
              <a:cxn ang="0">
                <a:pos x="csX184" y="csY184"/>
              </a:cxn>
              <a:cxn ang="0">
                <a:pos x="csX185" y="csY185"/>
              </a:cxn>
              <a:cxn ang="0">
                <a:pos x="csX186" y="csY186"/>
              </a:cxn>
              <a:cxn ang="0">
                <a:pos x="csX187" y="csY187"/>
              </a:cxn>
              <a:cxn ang="0">
                <a:pos x="csX188" y="csY188"/>
              </a:cxn>
              <a:cxn ang="0">
                <a:pos x="csX189" y="csY189"/>
              </a:cxn>
              <a:cxn ang="0">
                <a:pos x="csX190" y="csY190"/>
              </a:cxn>
              <a:cxn ang="0">
                <a:pos x="csX191" y="csY191"/>
              </a:cxn>
              <a:cxn ang="0">
                <a:pos x="csX192" y="csY192"/>
              </a:cxn>
              <a:cxn ang="0">
                <a:pos x="csX193" y="csY193"/>
              </a:cxn>
              <a:cxn ang="0">
                <a:pos x="csX194" y="csY194"/>
              </a:cxn>
              <a:cxn ang="0">
                <a:pos x="csX195" y="csY195"/>
              </a:cxn>
              <a:cxn ang="0">
                <a:pos x="csX196" y="csY196"/>
              </a:cxn>
              <a:cxn ang="0">
                <a:pos x="csX197" y="csY197"/>
              </a:cxn>
              <a:cxn ang="0">
                <a:pos x="csX198" y="csY198"/>
              </a:cxn>
              <a:cxn ang="0">
                <a:pos x="csX199" y="csY199"/>
              </a:cxn>
              <a:cxn ang="0">
                <a:pos x="csX200" y="csY200"/>
              </a:cxn>
              <a:cxn ang="0">
                <a:pos x="csX201" y="csY201"/>
              </a:cxn>
              <a:cxn ang="0">
                <a:pos x="csX202" y="csY202"/>
              </a:cxn>
              <a:cxn ang="0">
                <a:pos x="csX203" y="csY203"/>
              </a:cxn>
              <a:cxn ang="0">
                <a:pos x="csX204" y="csY204"/>
              </a:cxn>
              <a:cxn ang="0">
                <a:pos x="csX205" y="csY205"/>
              </a:cxn>
              <a:cxn ang="0">
                <a:pos x="csX206" y="csY206"/>
              </a:cxn>
              <a:cxn ang="0">
                <a:pos x="csX207" y="csY207"/>
              </a:cxn>
              <a:cxn ang="0">
                <a:pos x="csX208" y="csY208"/>
              </a:cxn>
              <a:cxn ang="0">
                <a:pos x="csX209" y="csY209"/>
              </a:cxn>
              <a:cxn ang="0">
                <a:pos x="csX210" y="csY210"/>
              </a:cxn>
              <a:cxn ang="0">
                <a:pos x="csX211" y="csY211"/>
              </a:cxn>
            </a:cxnLst>
            <a:rect l="l" t="t" r="r" b="b"/>
            <a:pathLst>
              <a:path w="733006" h="2092038">
                <a:moveTo>
                  <a:pt x="96263" y="2076207"/>
                </a:moveTo>
                <a:cubicBezTo>
                  <a:pt x="84622" y="2072588"/>
                  <a:pt x="74304" y="2068797"/>
                  <a:pt x="63862" y="2065388"/>
                </a:cubicBezTo>
                <a:cubicBezTo>
                  <a:pt x="48109" y="2060246"/>
                  <a:pt x="32006" y="2056058"/>
                  <a:pt x="16555" y="2050152"/>
                </a:cubicBezTo>
                <a:cubicBezTo>
                  <a:pt x="5209" y="2045814"/>
                  <a:pt x="-330" y="2037145"/>
                  <a:pt x="15" y="2023802"/>
                </a:cubicBezTo>
                <a:cubicBezTo>
                  <a:pt x="765" y="1994802"/>
                  <a:pt x="4044" y="1967023"/>
                  <a:pt x="18368" y="1940709"/>
                </a:cubicBezTo>
                <a:cubicBezTo>
                  <a:pt x="23362" y="1931533"/>
                  <a:pt x="23064" y="1918361"/>
                  <a:pt x="22139" y="1907268"/>
                </a:cubicBezTo>
                <a:cubicBezTo>
                  <a:pt x="18065" y="1858417"/>
                  <a:pt x="26015" y="1813128"/>
                  <a:pt x="57941" y="1774163"/>
                </a:cubicBezTo>
                <a:cubicBezTo>
                  <a:pt x="72712" y="1756135"/>
                  <a:pt x="88476" y="1738872"/>
                  <a:pt x="102478" y="1720275"/>
                </a:cubicBezTo>
                <a:cubicBezTo>
                  <a:pt x="118580" y="1698889"/>
                  <a:pt x="125626" y="1676081"/>
                  <a:pt x="108579" y="1650967"/>
                </a:cubicBezTo>
                <a:cubicBezTo>
                  <a:pt x="101716" y="1640856"/>
                  <a:pt x="106464" y="1629113"/>
                  <a:pt x="115628" y="1625405"/>
                </a:cubicBezTo>
                <a:cubicBezTo>
                  <a:pt x="145731" y="1613224"/>
                  <a:pt x="150205" y="1585698"/>
                  <a:pt x="156323" y="1560181"/>
                </a:cubicBezTo>
                <a:cubicBezTo>
                  <a:pt x="171878" y="1495304"/>
                  <a:pt x="187443" y="1430322"/>
                  <a:pt x="199424" y="1364729"/>
                </a:cubicBezTo>
                <a:cubicBezTo>
                  <a:pt x="208169" y="1316855"/>
                  <a:pt x="211328" y="1267955"/>
                  <a:pt x="216779" y="1219490"/>
                </a:cubicBezTo>
                <a:cubicBezTo>
                  <a:pt x="221281" y="1179465"/>
                  <a:pt x="225637" y="1139423"/>
                  <a:pt x="229755" y="1099357"/>
                </a:cubicBezTo>
                <a:cubicBezTo>
                  <a:pt x="231222" y="1085094"/>
                  <a:pt x="232195" y="1070753"/>
                  <a:pt x="232707" y="1056423"/>
                </a:cubicBezTo>
                <a:cubicBezTo>
                  <a:pt x="233940" y="1021849"/>
                  <a:pt x="235378" y="987264"/>
                  <a:pt x="235622" y="952675"/>
                </a:cubicBezTo>
                <a:cubicBezTo>
                  <a:pt x="236027" y="895212"/>
                  <a:pt x="235593" y="837744"/>
                  <a:pt x="235445" y="780278"/>
                </a:cubicBezTo>
                <a:cubicBezTo>
                  <a:pt x="235394" y="760454"/>
                  <a:pt x="234309" y="760517"/>
                  <a:pt x="214544" y="756435"/>
                </a:cubicBezTo>
                <a:cubicBezTo>
                  <a:pt x="200172" y="753466"/>
                  <a:pt x="185446" y="749377"/>
                  <a:pt x="172569" y="742582"/>
                </a:cubicBezTo>
                <a:cubicBezTo>
                  <a:pt x="144482" y="727762"/>
                  <a:pt x="142615" y="693725"/>
                  <a:pt x="168784" y="669116"/>
                </a:cubicBezTo>
                <a:cubicBezTo>
                  <a:pt x="180480" y="658118"/>
                  <a:pt x="190377" y="648461"/>
                  <a:pt x="191657" y="630765"/>
                </a:cubicBezTo>
                <a:cubicBezTo>
                  <a:pt x="192214" y="623073"/>
                  <a:pt x="200977" y="614427"/>
                  <a:pt x="208150" y="609084"/>
                </a:cubicBezTo>
                <a:cubicBezTo>
                  <a:pt x="222906" y="598094"/>
                  <a:pt x="228637" y="573234"/>
                  <a:pt x="216756" y="558673"/>
                </a:cubicBezTo>
                <a:cubicBezTo>
                  <a:pt x="207342" y="547135"/>
                  <a:pt x="206480" y="536349"/>
                  <a:pt x="209092" y="521540"/>
                </a:cubicBezTo>
                <a:cubicBezTo>
                  <a:pt x="211760" y="506404"/>
                  <a:pt x="207878" y="489633"/>
                  <a:pt x="204683" y="474024"/>
                </a:cubicBezTo>
                <a:cubicBezTo>
                  <a:pt x="186129" y="383394"/>
                  <a:pt x="153540" y="297499"/>
                  <a:pt x="115483" y="213499"/>
                </a:cubicBezTo>
                <a:cubicBezTo>
                  <a:pt x="110852" y="203278"/>
                  <a:pt x="105956" y="193025"/>
                  <a:pt x="102909" y="182297"/>
                </a:cubicBezTo>
                <a:cubicBezTo>
                  <a:pt x="101269" y="176526"/>
                  <a:pt x="100978" y="167554"/>
                  <a:pt x="104315" y="163968"/>
                </a:cubicBezTo>
                <a:cubicBezTo>
                  <a:pt x="107766" y="160259"/>
                  <a:pt x="117669" y="158539"/>
                  <a:pt x="122444" y="160805"/>
                </a:cubicBezTo>
                <a:cubicBezTo>
                  <a:pt x="138944" y="168636"/>
                  <a:pt x="154489" y="178499"/>
                  <a:pt x="170283" y="187783"/>
                </a:cubicBezTo>
                <a:cubicBezTo>
                  <a:pt x="174481" y="190250"/>
                  <a:pt x="178270" y="193414"/>
                  <a:pt x="180938" y="195322"/>
                </a:cubicBezTo>
                <a:cubicBezTo>
                  <a:pt x="194562" y="175763"/>
                  <a:pt x="206327" y="155469"/>
                  <a:pt x="221419" y="138058"/>
                </a:cubicBezTo>
                <a:cubicBezTo>
                  <a:pt x="240743" y="115763"/>
                  <a:pt x="265109" y="99467"/>
                  <a:pt x="294099" y="91372"/>
                </a:cubicBezTo>
                <a:cubicBezTo>
                  <a:pt x="302124" y="89131"/>
                  <a:pt x="305271" y="84852"/>
                  <a:pt x="302307" y="76560"/>
                </a:cubicBezTo>
                <a:cubicBezTo>
                  <a:pt x="292733" y="49783"/>
                  <a:pt x="299732" y="27331"/>
                  <a:pt x="320284" y="8414"/>
                </a:cubicBezTo>
                <a:cubicBezTo>
                  <a:pt x="322179" y="6669"/>
                  <a:pt x="323302" y="4085"/>
                  <a:pt x="324784" y="946"/>
                </a:cubicBezTo>
                <a:cubicBezTo>
                  <a:pt x="349171" y="0"/>
                  <a:pt x="373558" y="0"/>
                  <a:pt x="399212" y="0"/>
                </a:cubicBezTo>
                <a:cubicBezTo>
                  <a:pt x="426476" y="20404"/>
                  <a:pt x="437031" y="45903"/>
                  <a:pt x="425980" y="78301"/>
                </a:cubicBezTo>
                <a:cubicBezTo>
                  <a:pt x="423801" y="84690"/>
                  <a:pt x="424928" y="88239"/>
                  <a:pt x="431861" y="90312"/>
                </a:cubicBezTo>
                <a:cubicBezTo>
                  <a:pt x="483382" y="105720"/>
                  <a:pt x="518342" y="139660"/>
                  <a:pt x="540349" y="187946"/>
                </a:cubicBezTo>
                <a:cubicBezTo>
                  <a:pt x="541642" y="190784"/>
                  <a:pt x="543251" y="193478"/>
                  <a:pt x="545555" y="197828"/>
                </a:cubicBezTo>
                <a:lnTo>
                  <a:pt x="587318" y="171260"/>
                </a:lnTo>
                <a:cubicBezTo>
                  <a:pt x="591878" y="168403"/>
                  <a:pt x="596472" y="164665"/>
                  <a:pt x="601503" y="163707"/>
                </a:cubicBezTo>
                <a:cubicBezTo>
                  <a:pt x="609371" y="162208"/>
                  <a:pt x="619646" y="159555"/>
                  <a:pt x="625254" y="163123"/>
                </a:cubicBezTo>
                <a:cubicBezTo>
                  <a:pt x="634332" y="168899"/>
                  <a:pt x="629055" y="179274"/>
                  <a:pt x="625468" y="187579"/>
                </a:cubicBezTo>
                <a:cubicBezTo>
                  <a:pt x="616205" y="209030"/>
                  <a:pt x="606562" y="230320"/>
                  <a:pt x="597543" y="251872"/>
                </a:cubicBezTo>
                <a:cubicBezTo>
                  <a:pt x="571520" y="314052"/>
                  <a:pt x="547757" y="377046"/>
                  <a:pt x="531831" y="442689"/>
                </a:cubicBezTo>
                <a:cubicBezTo>
                  <a:pt x="527117" y="462116"/>
                  <a:pt x="522945" y="481733"/>
                  <a:pt x="519888" y="501474"/>
                </a:cubicBezTo>
                <a:cubicBezTo>
                  <a:pt x="518711" y="509073"/>
                  <a:pt x="520088" y="517665"/>
                  <a:pt x="522506" y="525086"/>
                </a:cubicBezTo>
                <a:cubicBezTo>
                  <a:pt x="526398" y="537038"/>
                  <a:pt x="525185" y="546687"/>
                  <a:pt x="516235" y="555946"/>
                </a:cubicBezTo>
                <a:cubicBezTo>
                  <a:pt x="498902" y="573877"/>
                  <a:pt x="501328" y="596490"/>
                  <a:pt x="521332" y="610676"/>
                </a:cubicBezTo>
                <a:cubicBezTo>
                  <a:pt x="532355" y="618492"/>
                  <a:pt x="539977" y="628449"/>
                  <a:pt x="541382" y="642597"/>
                </a:cubicBezTo>
                <a:cubicBezTo>
                  <a:pt x="542451" y="653366"/>
                  <a:pt x="548191" y="661148"/>
                  <a:pt x="557031" y="667949"/>
                </a:cubicBezTo>
                <a:cubicBezTo>
                  <a:pt x="583453" y="688277"/>
                  <a:pt x="588691" y="725427"/>
                  <a:pt x="553994" y="744146"/>
                </a:cubicBezTo>
                <a:cubicBezTo>
                  <a:pt x="540107" y="751637"/>
                  <a:pt x="523756" y="754889"/>
                  <a:pt x="508215" y="758841"/>
                </a:cubicBezTo>
                <a:cubicBezTo>
                  <a:pt x="500805" y="760726"/>
                  <a:pt x="497665" y="763405"/>
                  <a:pt x="497442" y="771256"/>
                </a:cubicBezTo>
                <a:cubicBezTo>
                  <a:pt x="496012" y="821532"/>
                  <a:pt x="492028" y="871838"/>
                  <a:pt x="493005" y="922055"/>
                </a:cubicBezTo>
                <a:cubicBezTo>
                  <a:pt x="494253" y="986140"/>
                  <a:pt x="499320" y="1050155"/>
                  <a:pt x="502900" y="1114191"/>
                </a:cubicBezTo>
                <a:cubicBezTo>
                  <a:pt x="504603" y="1144637"/>
                  <a:pt x="505797" y="1175148"/>
                  <a:pt x="508800" y="1205474"/>
                </a:cubicBezTo>
                <a:cubicBezTo>
                  <a:pt x="512592" y="1243768"/>
                  <a:pt x="516901" y="1282076"/>
                  <a:pt x="522952" y="1320065"/>
                </a:cubicBezTo>
                <a:cubicBezTo>
                  <a:pt x="532594" y="1380596"/>
                  <a:pt x="543267" y="1440980"/>
                  <a:pt x="554682" y="1501203"/>
                </a:cubicBezTo>
                <a:cubicBezTo>
                  <a:pt x="560600" y="1532428"/>
                  <a:pt x="568175" y="1563425"/>
                  <a:pt x="576958" y="1593963"/>
                </a:cubicBezTo>
                <a:cubicBezTo>
                  <a:pt x="579170" y="1601655"/>
                  <a:pt x="588378" y="1607829"/>
                  <a:pt x="595349" y="1613498"/>
                </a:cubicBezTo>
                <a:cubicBezTo>
                  <a:pt x="600799" y="1617931"/>
                  <a:pt x="608289" y="1619804"/>
                  <a:pt x="613936" y="1624058"/>
                </a:cubicBezTo>
                <a:cubicBezTo>
                  <a:pt x="623433" y="1631212"/>
                  <a:pt x="627187" y="1639642"/>
                  <a:pt x="620938" y="1652071"/>
                </a:cubicBezTo>
                <a:cubicBezTo>
                  <a:pt x="606287" y="1681209"/>
                  <a:pt x="609918" y="1697027"/>
                  <a:pt x="630805" y="1721702"/>
                </a:cubicBezTo>
                <a:cubicBezTo>
                  <a:pt x="650178" y="1744588"/>
                  <a:pt x="669167" y="1768040"/>
                  <a:pt x="685830" y="1792915"/>
                </a:cubicBezTo>
                <a:cubicBezTo>
                  <a:pt x="705320" y="1822011"/>
                  <a:pt x="711650" y="1855198"/>
                  <a:pt x="708904" y="1890290"/>
                </a:cubicBezTo>
                <a:cubicBezTo>
                  <a:pt x="707288" y="1910935"/>
                  <a:pt x="700766" y="1942639"/>
                  <a:pt x="716580" y="1951136"/>
                </a:cubicBezTo>
                <a:cubicBezTo>
                  <a:pt x="724392" y="1976483"/>
                  <a:pt x="727122" y="2003652"/>
                  <a:pt x="729397" y="2030261"/>
                </a:cubicBezTo>
                <a:cubicBezTo>
                  <a:pt x="729925" y="2036427"/>
                  <a:pt x="743534" y="2056174"/>
                  <a:pt x="714212" y="2059069"/>
                </a:cubicBezTo>
                <a:cubicBezTo>
                  <a:pt x="561064" y="2100066"/>
                  <a:pt x="334540" y="2099227"/>
                  <a:pt x="96263" y="2076207"/>
                </a:cubicBezTo>
                <a:moveTo>
                  <a:pt x="489970" y="152208"/>
                </a:moveTo>
                <a:lnTo>
                  <a:pt x="490754" y="152592"/>
                </a:lnTo>
                <a:cubicBezTo>
                  <a:pt x="490404" y="152187"/>
                  <a:pt x="490054" y="151782"/>
                  <a:pt x="489489" y="149547"/>
                </a:cubicBezTo>
                <a:cubicBezTo>
                  <a:pt x="463400" y="121956"/>
                  <a:pt x="429823" y="108227"/>
                  <a:pt x="393621" y="99259"/>
                </a:cubicBezTo>
                <a:cubicBezTo>
                  <a:pt x="416086" y="61028"/>
                  <a:pt x="414929" y="37233"/>
                  <a:pt x="390419" y="18568"/>
                </a:cubicBezTo>
                <a:cubicBezTo>
                  <a:pt x="373896" y="5985"/>
                  <a:pt x="349634" y="8467"/>
                  <a:pt x="334131" y="24327"/>
                </a:cubicBezTo>
                <a:cubicBezTo>
                  <a:pt x="312288" y="46673"/>
                  <a:pt x="314608" y="63885"/>
                  <a:pt x="344678" y="101259"/>
                </a:cubicBezTo>
                <a:cubicBezTo>
                  <a:pt x="329276" y="105420"/>
                  <a:pt x="313421" y="108117"/>
                  <a:pt x="298854" y="114003"/>
                </a:cubicBezTo>
                <a:cubicBezTo>
                  <a:pt x="276159" y="123172"/>
                  <a:pt x="253379" y="133071"/>
                  <a:pt x="237456" y="154340"/>
                </a:cubicBezTo>
                <a:cubicBezTo>
                  <a:pt x="237723" y="154250"/>
                  <a:pt x="237990" y="154159"/>
                  <a:pt x="240382" y="154035"/>
                </a:cubicBezTo>
                <a:cubicBezTo>
                  <a:pt x="252637" y="152964"/>
                  <a:pt x="257233" y="162164"/>
                  <a:pt x="262731" y="170426"/>
                </a:cubicBezTo>
                <a:cubicBezTo>
                  <a:pt x="267919" y="178225"/>
                  <a:pt x="272568" y="186734"/>
                  <a:pt x="279169" y="193173"/>
                </a:cubicBezTo>
                <a:cubicBezTo>
                  <a:pt x="294554" y="208182"/>
                  <a:pt x="315173" y="206011"/>
                  <a:pt x="327717" y="188556"/>
                </a:cubicBezTo>
                <a:cubicBezTo>
                  <a:pt x="335023" y="178390"/>
                  <a:pt x="341313" y="167493"/>
                  <a:pt x="348052" y="156919"/>
                </a:cubicBezTo>
                <a:cubicBezTo>
                  <a:pt x="360173" y="137899"/>
                  <a:pt x="367728" y="137921"/>
                  <a:pt x="380330" y="156483"/>
                </a:cubicBezTo>
                <a:cubicBezTo>
                  <a:pt x="389331" y="169741"/>
                  <a:pt x="397761" y="183648"/>
                  <a:pt x="408490" y="195400"/>
                </a:cubicBezTo>
                <a:cubicBezTo>
                  <a:pt x="419907" y="207908"/>
                  <a:pt x="432311" y="208318"/>
                  <a:pt x="445346" y="197582"/>
                </a:cubicBezTo>
                <a:cubicBezTo>
                  <a:pt x="453059" y="191228"/>
                  <a:pt x="458941" y="182413"/>
                  <a:pt x="464798" y="174107"/>
                </a:cubicBezTo>
                <a:cubicBezTo>
                  <a:pt x="471492" y="164615"/>
                  <a:pt x="476269" y="153399"/>
                  <a:pt x="489970" y="152208"/>
                </a:cubicBezTo>
                <a:moveTo>
                  <a:pt x="140694" y="201837"/>
                </a:moveTo>
                <a:lnTo>
                  <a:pt x="139834" y="201482"/>
                </a:lnTo>
                <a:cubicBezTo>
                  <a:pt x="140167" y="201940"/>
                  <a:pt x="140499" y="202398"/>
                  <a:pt x="140812" y="204941"/>
                </a:cubicBezTo>
                <a:cubicBezTo>
                  <a:pt x="142073" y="209235"/>
                  <a:pt x="143094" y="213618"/>
                  <a:pt x="144631" y="217811"/>
                </a:cubicBezTo>
                <a:cubicBezTo>
                  <a:pt x="163630" y="269630"/>
                  <a:pt x="184359" y="320889"/>
                  <a:pt x="201241" y="373387"/>
                </a:cubicBezTo>
                <a:cubicBezTo>
                  <a:pt x="215057" y="416348"/>
                  <a:pt x="224086" y="460838"/>
                  <a:pt x="235971" y="504451"/>
                </a:cubicBezTo>
                <a:cubicBezTo>
                  <a:pt x="237017" y="508291"/>
                  <a:pt x="243450" y="513153"/>
                  <a:pt x="247475" y="513241"/>
                </a:cubicBezTo>
                <a:cubicBezTo>
                  <a:pt x="261316" y="513543"/>
                  <a:pt x="275190" y="511373"/>
                  <a:pt x="289066" y="511170"/>
                </a:cubicBezTo>
                <a:cubicBezTo>
                  <a:pt x="318784" y="510736"/>
                  <a:pt x="348532" y="510226"/>
                  <a:pt x="378229" y="511084"/>
                </a:cubicBezTo>
                <a:cubicBezTo>
                  <a:pt x="409129" y="511977"/>
                  <a:pt x="440005" y="514145"/>
                  <a:pt x="470850" y="516341"/>
                </a:cubicBezTo>
                <a:cubicBezTo>
                  <a:pt x="488515" y="517598"/>
                  <a:pt x="488581" y="517383"/>
                  <a:pt x="492933" y="497969"/>
                </a:cubicBezTo>
                <a:cubicBezTo>
                  <a:pt x="509517" y="423981"/>
                  <a:pt x="529141" y="350878"/>
                  <a:pt x="557617" y="280398"/>
                </a:cubicBezTo>
                <a:cubicBezTo>
                  <a:pt x="568115" y="254415"/>
                  <a:pt x="577983" y="228177"/>
                  <a:pt x="588788" y="200385"/>
                </a:cubicBezTo>
                <a:cubicBezTo>
                  <a:pt x="568882" y="211746"/>
                  <a:pt x="556897" y="233442"/>
                  <a:pt x="530958" y="232968"/>
                </a:cubicBezTo>
                <a:cubicBezTo>
                  <a:pt x="501919" y="232437"/>
                  <a:pt x="492615" y="212474"/>
                  <a:pt x="483823" y="190364"/>
                </a:cubicBezTo>
                <a:cubicBezTo>
                  <a:pt x="477516" y="197154"/>
                  <a:pt x="471372" y="202589"/>
                  <a:pt x="466649" y="209061"/>
                </a:cubicBezTo>
                <a:cubicBezTo>
                  <a:pt x="449398" y="232702"/>
                  <a:pt x="420396" y="235708"/>
                  <a:pt x="399941" y="216988"/>
                </a:cubicBezTo>
                <a:cubicBezTo>
                  <a:pt x="387278" y="205398"/>
                  <a:pt x="375741" y="192577"/>
                  <a:pt x="363018" y="179615"/>
                </a:cubicBezTo>
                <a:cubicBezTo>
                  <a:pt x="350255" y="200356"/>
                  <a:pt x="336990" y="223707"/>
                  <a:pt x="308839" y="227846"/>
                </a:cubicBezTo>
                <a:cubicBezTo>
                  <a:pt x="280122" y="232067"/>
                  <a:pt x="262039" y="213088"/>
                  <a:pt x="245077" y="192402"/>
                </a:cubicBezTo>
                <a:cubicBezTo>
                  <a:pt x="244011" y="195470"/>
                  <a:pt x="243549" y="197200"/>
                  <a:pt x="242829" y="198815"/>
                </a:cubicBezTo>
                <a:cubicBezTo>
                  <a:pt x="227987" y="232132"/>
                  <a:pt x="198552" y="240117"/>
                  <a:pt x="168452" y="219348"/>
                </a:cubicBezTo>
                <a:cubicBezTo>
                  <a:pt x="159660" y="213282"/>
                  <a:pt x="150196" y="208189"/>
                  <a:pt x="140694" y="201837"/>
                </a:cubicBezTo>
                <a:moveTo>
                  <a:pt x="259999" y="966699"/>
                </a:moveTo>
                <a:cubicBezTo>
                  <a:pt x="259066" y="1001276"/>
                  <a:pt x="258555" y="1035871"/>
                  <a:pt x="257072" y="1070424"/>
                </a:cubicBezTo>
                <a:cubicBezTo>
                  <a:pt x="255822" y="1099520"/>
                  <a:pt x="254332" y="1128659"/>
                  <a:pt x="251372" y="1157618"/>
                </a:cubicBezTo>
                <a:cubicBezTo>
                  <a:pt x="245822" y="1211910"/>
                  <a:pt x="239941" y="1266195"/>
                  <a:pt x="232677" y="1320279"/>
                </a:cubicBezTo>
                <a:cubicBezTo>
                  <a:pt x="226012" y="1369906"/>
                  <a:pt x="218692" y="1419525"/>
                  <a:pt x="209182" y="1468667"/>
                </a:cubicBezTo>
                <a:cubicBezTo>
                  <a:pt x="199574" y="1518317"/>
                  <a:pt x="187234" y="1567453"/>
                  <a:pt x="175302" y="1616623"/>
                </a:cubicBezTo>
                <a:cubicBezTo>
                  <a:pt x="173247" y="1625091"/>
                  <a:pt x="175038" y="1628715"/>
                  <a:pt x="182769" y="1629786"/>
                </a:cubicBezTo>
                <a:cubicBezTo>
                  <a:pt x="192516" y="1631137"/>
                  <a:pt x="202351" y="1632591"/>
                  <a:pt x="212156" y="1632656"/>
                </a:cubicBezTo>
                <a:lnTo>
                  <a:pt x="351295" y="1632801"/>
                </a:lnTo>
                <a:cubicBezTo>
                  <a:pt x="371086" y="1632783"/>
                  <a:pt x="376419" y="1627831"/>
                  <a:pt x="376150" y="1608307"/>
                </a:cubicBezTo>
                <a:cubicBezTo>
                  <a:pt x="375456" y="1557965"/>
                  <a:pt x="374444" y="1507628"/>
                  <a:pt x="373450" y="1457291"/>
                </a:cubicBezTo>
                <a:cubicBezTo>
                  <a:pt x="372695" y="1419104"/>
                  <a:pt x="371725" y="1380922"/>
                  <a:pt x="370936" y="1342736"/>
                </a:cubicBezTo>
                <a:cubicBezTo>
                  <a:pt x="369980" y="1296451"/>
                  <a:pt x="368481" y="1250167"/>
                  <a:pt x="368328" y="1203878"/>
                </a:cubicBezTo>
                <a:cubicBezTo>
                  <a:pt x="367898" y="1073746"/>
                  <a:pt x="368114" y="943611"/>
                  <a:pt x="367836" y="813478"/>
                </a:cubicBezTo>
                <a:cubicBezTo>
                  <a:pt x="367808" y="800064"/>
                  <a:pt x="366292" y="786643"/>
                  <a:pt x="365240" y="773243"/>
                </a:cubicBezTo>
                <a:cubicBezTo>
                  <a:pt x="364669" y="765967"/>
                  <a:pt x="361177" y="762219"/>
                  <a:pt x="353084" y="762083"/>
                </a:cubicBezTo>
                <a:cubicBezTo>
                  <a:pt x="329039" y="761680"/>
                  <a:pt x="305010" y="760323"/>
                  <a:pt x="280966" y="759855"/>
                </a:cubicBezTo>
                <a:cubicBezTo>
                  <a:pt x="262974" y="759505"/>
                  <a:pt x="259584" y="762728"/>
                  <a:pt x="259965" y="779553"/>
                </a:cubicBezTo>
                <a:cubicBezTo>
                  <a:pt x="260545" y="805134"/>
                  <a:pt x="262417" y="830704"/>
                  <a:pt x="262341" y="856275"/>
                </a:cubicBezTo>
                <a:cubicBezTo>
                  <a:pt x="262235" y="892209"/>
                  <a:pt x="260847" y="928139"/>
                  <a:pt x="259999" y="966699"/>
                </a:cubicBezTo>
                <a:moveTo>
                  <a:pt x="55556" y="1835827"/>
                </a:moveTo>
                <a:cubicBezTo>
                  <a:pt x="53401" y="1849932"/>
                  <a:pt x="49990" y="1863984"/>
                  <a:pt x="49393" y="1878155"/>
                </a:cubicBezTo>
                <a:cubicBezTo>
                  <a:pt x="48549" y="1898208"/>
                  <a:pt x="54196" y="1903667"/>
                  <a:pt x="73949" y="1905781"/>
                </a:cubicBezTo>
                <a:cubicBezTo>
                  <a:pt x="85970" y="1907068"/>
                  <a:pt x="98058" y="1907739"/>
                  <a:pt x="110073" y="1909068"/>
                </a:cubicBezTo>
                <a:cubicBezTo>
                  <a:pt x="148299" y="1913297"/>
                  <a:pt x="186412" y="1919134"/>
                  <a:pt x="224745" y="1921652"/>
                </a:cubicBezTo>
                <a:cubicBezTo>
                  <a:pt x="265500" y="1924329"/>
                  <a:pt x="306455" y="1923995"/>
                  <a:pt x="347327" y="1924778"/>
                </a:cubicBezTo>
                <a:cubicBezTo>
                  <a:pt x="352654" y="1924880"/>
                  <a:pt x="357999" y="1923751"/>
                  <a:pt x="363345" y="1923293"/>
                </a:cubicBezTo>
                <a:cubicBezTo>
                  <a:pt x="370812" y="1922652"/>
                  <a:pt x="373724" y="1919361"/>
                  <a:pt x="373787" y="1911200"/>
                </a:cubicBezTo>
                <a:cubicBezTo>
                  <a:pt x="374339" y="1839709"/>
                  <a:pt x="375066" y="1768215"/>
                  <a:pt x="376623" y="1696741"/>
                </a:cubicBezTo>
                <a:cubicBezTo>
                  <a:pt x="376910" y="1683555"/>
                  <a:pt x="372147" y="1681381"/>
                  <a:pt x="360437" y="1681289"/>
                </a:cubicBezTo>
                <a:cubicBezTo>
                  <a:pt x="328117" y="1681033"/>
                  <a:pt x="295777" y="1679974"/>
                  <a:pt x="263503" y="1678179"/>
                </a:cubicBezTo>
                <a:cubicBezTo>
                  <a:pt x="229090" y="1676266"/>
                  <a:pt x="194719" y="1673423"/>
                  <a:pt x="160381" y="1670405"/>
                </a:cubicBezTo>
                <a:cubicBezTo>
                  <a:pt x="148387" y="1669350"/>
                  <a:pt x="145963" y="1675505"/>
                  <a:pt x="143321" y="1685538"/>
                </a:cubicBezTo>
                <a:cubicBezTo>
                  <a:pt x="138582" y="1703537"/>
                  <a:pt x="133802" y="1722215"/>
                  <a:pt x="124769" y="1738195"/>
                </a:cubicBezTo>
                <a:cubicBezTo>
                  <a:pt x="116109" y="1753517"/>
                  <a:pt x="101000" y="1765040"/>
                  <a:pt x="90593" y="1779570"/>
                </a:cubicBezTo>
                <a:cubicBezTo>
                  <a:pt x="78162" y="1796924"/>
                  <a:pt x="67717" y="1815700"/>
                  <a:pt x="55556" y="1835827"/>
                </a:cubicBezTo>
                <a:moveTo>
                  <a:pt x="378900" y="2007280"/>
                </a:moveTo>
                <a:cubicBezTo>
                  <a:pt x="378896" y="2003229"/>
                  <a:pt x="378901" y="1999178"/>
                  <a:pt x="378887" y="1995127"/>
                </a:cubicBezTo>
                <a:cubicBezTo>
                  <a:pt x="378824" y="1976033"/>
                  <a:pt x="378817" y="1976317"/>
                  <a:pt x="359084" y="1975964"/>
                </a:cubicBezTo>
                <a:lnTo>
                  <a:pt x="247288" y="1973305"/>
                </a:lnTo>
                <a:cubicBezTo>
                  <a:pt x="232069" y="1972838"/>
                  <a:pt x="216796" y="1972093"/>
                  <a:pt x="201692" y="1970275"/>
                </a:cubicBezTo>
                <a:lnTo>
                  <a:pt x="57962" y="1952648"/>
                </a:lnTo>
                <a:cubicBezTo>
                  <a:pt x="51898" y="1952011"/>
                  <a:pt x="41206" y="1958134"/>
                  <a:pt x="39194" y="1963552"/>
                </a:cubicBezTo>
                <a:cubicBezTo>
                  <a:pt x="34138" y="1977168"/>
                  <a:pt x="32687" y="1992148"/>
                  <a:pt x="30066" y="2006631"/>
                </a:cubicBezTo>
                <a:cubicBezTo>
                  <a:pt x="28649" y="2014460"/>
                  <a:pt x="32955" y="2017729"/>
                  <a:pt x="40232" y="2019486"/>
                </a:cubicBezTo>
                <a:cubicBezTo>
                  <a:pt x="105307" y="2035198"/>
                  <a:pt x="171489" y="2043035"/>
                  <a:pt x="238186" y="2046096"/>
                </a:cubicBezTo>
                <a:cubicBezTo>
                  <a:pt x="272775" y="2047683"/>
                  <a:pt x="307494" y="2046505"/>
                  <a:pt x="342155" y="2046441"/>
                </a:cubicBezTo>
                <a:cubicBezTo>
                  <a:pt x="378858" y="2046373"/>
                  <a:pt x="378858" y="2046303"/>
                  <a:pt x="378900" y="2007280"/>
                </a:cubicBezTo>
                <a:moveTo>
                  <a:pt x="310220" y="554288"/>
                </a:moveTo>
                <a:lnTo>
                  <a:pt x="259136" y="556881"/>
                </a:lnTo>
                <a:cubicBezTo>
                  <a:pt x="251446" y="557144"/>
                  <a:pt x="248963" y="560888"/>
                  <a:pt x="249085" y="567981"/>
                </a:cubicBezTo>
                <a:cubicBezTo>
                  <a:pt x="249291" y="580007"/>
                  <a:pt x="249141" y="592039"/>
                  <a:pt x="249141" y="605644"/>
                </a:cubicBezTo>
                <a:cubicBezTo>
                  <a:pt x="252942" y="605644"/>
                  <a:pt x="257788" y="605750"/>
                  <a:pt x="262628" y="605627"/>
                </a:cubicBezTo>
                <a:cubicBezTo>
                  <a:pt x="298288" y="604718"/>
                  <a:pt x="333947" y="603084"/>
                  <a:pt x="369608" y="603027"/>
                </a:cubicBezTo>
                <a:cubicBezTo>
                  <a:pt x="401047" y="602977"/>
                  <a:pt x="432489" y="605109"/>
                  <a:pt x="463931" y="605146"/>
                </a:cubicBezTo>
                <a:cubicBezTo>
                  <a:pt x="468882" y="605152"/>
                  <a:pt x="477522" y="599724"/>
                  <a:pt x="478113" y="595843"/>
                </a:cubicBezTo>
                <a:cubicBezTo>
                  <a:pt x="479968" y="583658"/>
                  <a:pt x="478796" y="571012"/>
                  <a:pt x="478796" y="556832"/>
                </a:cubicBezTo>
                <a:lnTo>
                  <a:pt x="310220" y="554288"/>
                </a:lnTo>
                <a:moveTo>
                  <a:pt x="348836" y="684115"/>
                </a:moveTo>
                <a:lnTo>
                  <a:pt x="281333" y="683313"/>
                </a:lnTo>
                <a:cubicBezTo>
                  <a:pt x="258459" y="682880"/>
                  <a:pt x="235573" y="681397"/>
                  <a:pt x="212728" y="681931"/>
                </a:cubicBezTo>
                <a:cubicBezTo>
                  <a:pt x="204151" y="682132"/>
                  <a:pt x="195144" y="685643"/>
                  <a:pt x="187283" y="689555"/>
                </a:cubicBezTo>
                <a:cubicBezTo>
                  <a:pt x="176092" y="695122"/>
                  <a:pt x="175412" y="711787"/>
                  <a:pt x="186163" y="718266"/>
                </a:cubicBezTo>
                <a:cubicBezTo>
                  <a:pt x="193268" y="722548"/>
                  <a:pt x="201790" y="726298"/>
                  <a:pt x="209894" y="726798"/>
                </a:cubicBezTo>
                <a:cubicBezTo>
                  <a:pt x="251494" y="729369"/>
                  <a:pt x="293151" y="731218"/>
                  <a:pt x="334814" y="732494"/>
                </a:cubicBezTo>
                <a:cubicBezTo>
                  <a:pt x="360875" y="733292"/>
                  <a:pt x="360845" y="732630"/>
                  <a:pt x="364856" y="707963"/>
                </a:cubicBezTo>
                <a:cubicBezTo>
                  <a:pt x="366759" y="696261"/>
                  <a:pt x="364119" y="687361"/>
                  <a:pt x="348836" y="684115"/>
                </a:cubicBezTo>
                <a:moveTo>
                  <a:pt x="298865" y="621954"/>
                </a:moveTo>
                <a:cubicBezTo>
                  <a:pt x="283113" y="621947"/>
                  <a:pt x="267325" y="621283"/>
                  <a:pt x="251619" y="622133"/>
                </a:cubicBezTo>
                <a:cubicBezTo>
                  <a:pt x="238016" y="622869"/>
                  <a:pt x="223730" y="622855"/>
                  <a:pt x="214459" y="636230"/>
                </a:cubicBezTo>
                <a:cubicBezTo>
                  <a:pt x="208245" y="645195"/>
                  <a:pt x="210589" y="653121"/>
                  <a:pt x="221436" y="654205"/>
                </a:cubicBezTo>
                <a:cubicBezTo>
                  <a:pt x="238362" y="655895"/>
                  <a:pt x="255402" y="656613"/>
                  <a:pt x="272412" y="657250"/>
                </a:cubicBezTo>
                <a:cubicBezTo>
                  <a:pt x="297964" y="658207"/>
                  <a:pt x="323529" y="659053"/>
                  <a:pt x="349094" y="659282"/>
                </a:cubicBezTo>
                <a:cubicBezTo>
                  <a:pt x="358195" y="659363"/>
                  <a:pt x="363477" y="655246"/>
                  <a:pt x="362996" y="644234"/>
                </a:cubicBezTo>
                <a:cubicBezTo>
                  <a:pt x="362527" y="633519"/>
                  <a:pt x="361239" y="625376"/>
                  <a:pt x="348472" y="624649"/>
                </a:cubicBezTo>
                <a:lnTo>
                  <a:pt x="298865" y="621954"/>
                </a:lnTo>
                <a:moveTo>
                  <a:pt x="227796" y="528000"/>
                </a:moveTo>
                <a:cubicBezTo>
                  <a:pt x="224777" y="540795"/>
                  <a:pt x="228095" y="545993"/>
                  <a:pt x="241009" y="545897"/>
                </a:cubicBezTo>
                <a:cubicBezTo>
                  <a:pt x="254880" y="545792"/>
                  <a:pt x="268730" y="543734"/>
                  <a:pt x="282607" y="543480"/>
                </a:cubicBezTo>
                <a:cubicBezTo>
                  <a:pt x="306469" y="543043"/>
                  <a:pt x="330344" y="543266"/>
                  <a:pt x="354213" y="543384"/>
                </a:cubicBezTo>
                <a:cubicBezTo>
                  <a:pt x="361191" y="543419"/>
                  <a:pt x="365298" y="541242"/>
                  <a:pt x="365334" y="533397"/>
                </a:cubicBezTo>
                <a:cubicBezTo>
                  <a:pt x="365369" y="525778"/>
                  <a:pt x="362988" y="521561"/>
                  <a:pt x="354531" y="521620"/>
                </a:cubicBezTo>
                <a:lnTo>
                  <a:pt x="259169" y="521978"/>
                </a:lnTo>
                <a:cubicBezTo>
                  <a:pt x="249027" y="522159"/>
                  <a:pt x="238927" y="524679"/>
                  <a:pt x="227796" y="528000"/>
                </a:cubicBezTo>
                <a:moveTo>
                  <a:pt x="508068" y="190710"/>
                </a:moveTo>
                <a:lnTo>
                  <a:pt x="521293" y="205907"/>
                </a:lnTo>
                <a:lnTo>
                  <a:pt x="525175" y="202985"/>
                </a:lnTo>
                <a:cubicBezTo>
                  <a:pt x="522014" y="185953"/>
                  <a:pt x="510916" y="173426"/>
                  <a:pt x="500276" y="160640"/>
                </a:cubicBezTo>
                <a:lnTo>
                  <a:pt x="497122" y="162007"/>
                </a:lnTo>
                <a:cubicBezTo>
                  <a:pt x="500457" y="170983"/>
                  <a:pt x="503791" y="179959"/>
                  <a:pt x="508068" y="190710"/>
                </a:cubicBezTo>
                <a:moveTo>
                  <a:pt x="215522" y="197296"/>
                </a:moveTo>
                <a:lnTo>
                  <a:pt x="234029" y="162725"/>
                </a:lnTo>
                <a:lnTo>
                  <a:pt x="229000" y="159902"/>
                </a:lnTo>
                <a:lnTo>
                  <a:pt x="204824" y="199677"/>
                </a:lnTo>
                <a:lnTo>
                  <a:pt x="207990" y="202198"/>
                </a:lnTo>
                <a:cubicBezTo>
                  <a:pt x="210047" y="201020"/>
                  <a:pt x="212104" y="199843"/>
                  <a:pt x="215522" y="197296"/>
                </a:cubicBezTo>
                <a:moveTo>
                  <a:pt x="484400" y="896678"/>
                </a:moveTo>
                <a:lnTo>
                  <a:pt x="486181" y="896585"/>
                </a:lnTo>
              </a:path>
            </a:pathLst>
          </a:custGeom>
          <a:solidFill>
            <a:srgbClr val="CCD6DA"/>
          </a:solidFill>
          <a:ln w="2699" cap="flat">
            <a:solidFill>
              <a:srgbClr val="CDD9DF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6" name="Free-form: Shape 325">
            <a:extLst>
              <a:ext uri="{FF2B5EF4-FFF2-40B4-BE49-F238E27FC236}">
                <a16:creationId xmlns:a16="http://schemas.microsoft.com/office/drawing/2014/main" id="{A7AB16D0-9034-1C9A-59BC-95F00E13182C}"/>
              </a:ext>
            </a:extLst>
          </p:cNvPr>
          <p:cNvSpPr/>
          <p:nvPr/>
        </p:nvSpPr>
        <p:spPr>
          <a:xfrm flipH="1">
            <a:off x="6394923" y="4833619"/>
            <a:ext cx="153404" cy="625011"/>
          </a:xfrm>
          <a:custGeom>
            <a:avLst/>
            <a:gdLst>
              <a:gd name="csX0" fmla="*/ 85488 w 201644"/>
              <a:gd name="csY0" fmla="*/ 205555 h 873028"/>
              <a:gd name="csX1" fmla="*/ 87827 w 201644"/>
              <a:gd name="csY1" fmla="*/ 96444 h 873028"/>
              <a:gd name="csX2" fmla="*/ 85450 w 201644"/>
              <a:gd name="csY2" fmla="*/ 19723 h 873028"/>
              <a:gd name="csX3" fmla="*/ 106451 w 201644"/>
              <a:gd name="csY3" fmla="*/ 25 h 873028"/>
              <a:gd name="csX4" fmla="*/ 178569 w 201644"/>
              <a:gd name="csY4" fmla="*/ 2252 h 873028"/>
              <a:gd name="csX5" fmla="*/ 190725 w 201644"/>
              <a:gd name="csY5" fmla="*/ 13413 h 873028"/>
              <a:gd name="csX6" fmla="*/ 193322 w 201644"/>
              <a:gd name="csY6" fmla="*/ 53648 h 873028"/>
              <a:gd name="csX7" fmla="*/ 193813 w 201644"/>
              <a:gd name="csY7" fmla="*/ 444048 h 873028"/>
              <a:gd name="csX8" fmla="*/ 196421 w 201644"/>
              <a:gd name="csY8" fmla="*/ 582906 h 873028"/>
              <a:gd name="csX9" fmla="*/ 198935 w 201644"/>
              <a:gd name="csY9" fmla="*/ 697460 h 873028"/>
              <a:gd name="csX10" fmla="*/ 201635 w 201644"/>
              <a:gd name="csY10" fmla="*/ 848476 h 873028"/>
              <a:gd name="csX11" fmla="*/ 176780 w 201644"/>
              <a:gd name="csY11" fmla="*/ 872971 h 873028"/>
              <a:gd name="csX12" fmla="*/ 37642 w 201644"/>
              <a:gd name="csY12" fmla="*/ 872825 h 873028"/>
              <a:gd name="csX13" fmla="*/ 8254 w 201644"/>
              <a:gd name="csY13" fmla="*/ 869956 h 873028"/>
              <a:gd name="csX14" fmla="*/ 787 w 201644"/>
              <a:gd name="csY14" fmla="*/ 856792 h 873028"/>
              <a:gd name="csX15" fmla="*/ 34667 w 201644"/>
              <a:gd name="csY15" fmla="*/ 708837 h 873028"/>
              <a:gd name="csX16" fmla="*/ 58163 w 201644"/>
              <a:gd name="csY16" fmla="*/ 560448 h 873028"/>
              <a:gd name="csX17" fmla="*/ 76857 w 201644"/>
              <a:gd name="csY17" fmla="*/ 397787 h 873028"/>
              <a:gd name="csX18" fmla="*/ 82557 w 201644"/>
              <a:gd name="csY18" fmla="*/ 310594 h 873028"/>
              <a:gd name="csX19" fmla="*/ 85488 w 201644"/>
              <a:gd name="csY19" fmla="*/ 205555 h 87302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</a:cxnLst>
            <a:rect l="l" t="t" r="r" b="b"/>
            <a:pathLst>
              <a:path w="201644" h="873028">
                <a:moveTo>
                  <a:pt x="85488" y="205555"/>
                </a:moveTo>
                <a:cubicBezTo>
                  <a:pt x="86332" y="168309"/>
                  <a:pt x="87720" y="132378"/>
                  <a:pt x="87827" y="96444"/>
                </a:cubicBezTo>
                <a:cubicBezTo>
                  <a:pt x="87903" y="70874"/>
                  <a:pt x="86030" y="45303"/>
                  <a:pt x="85450" y="19723"/>
                </a:cubicBezTo>
                <a:cubicBezTo>
                  <a:pt x="85069" y="2897"/>
                  <a:pt x="88460" y="-326"/>
                  <a:pt x="106451" y="25"/>
                </a:cubicBezTo>
                <a:cubicBezTo>
                  <a:pt x="130496" y="493"/>
                  <a:pt x="154524" y="1849"/>
                  <a:pt x="178569" y="2252"/>
                </a:cubicBezTo>
                <a:cubicBezTo>
                  <a:pt x="186663" y="2388"/>
                  <a:pt x="190154" y="6137"/>
                  <a:pt x="190725" y="13413"/>
                </a:cubicBezTo>
                <a:cubicBezTo>
                  <a:pt x="191778" y="26813"/>
                  <a:pt x="193293" y="40233"/>
                  <a:pt x="193322" y="53648"/>
                </a:cubicBezTo>
                <a:cubicBezTo>
                  <a:pt x="193599" y="183781"/>
                  <a:pt x="193383" y="313915"/>
                  <a:pt x="193813" y="444048"/>
                </a:cubicBezTo>
                <a:cubicBezTo>
                  <a:pt x="193967" y="490336"/>
                  <a:pt x="195465" y="536621"/>
                  <a:pt x="196421" y="582906"/>
                </a:cubicBezTo>
                <a:cubicBezTo>
                  <a:pt x="197210" y="621092"/>
                  <a:pt x="198181" y="659274"/>
                  <a:pt x="198935" y="697460"/>
                </a:cubicBezTo>
                <a:cubicBezTo>
                  <a:pt x="199930" y="747797"/>
                  <a:pt x="200941" y="798134"/>
                  <a:pt x="201635" y="848476"/>
                </a:cubicBezTo>
                <a:cubicBezTo>
                  <a:pt x="201904" y="868001"/>
                  <a:pt x="196572" y="872953"/>
                  <a:pt x="176780" y="872971"/>
                </a:cubicBezTo>
                <a:cubicBezTo>
                  <a:pt x="130401" y="873012"/>
                  <a:pt x="84020" y="873131"/>
                  <a:pt x="37642" y="872825"/>
                </a:cubicBezTo>
                <a:cubicBezTo>
                  <a:pt x="27836" y="872761"/>
                  <a:pt x="18001" y="871306"/>
                  <a:pt x="8254" y="869956"/>
                </a:cubicBezTo>
                <a:cubicBezTo>
                  <a:pt x="524" y="868885"/>
                  <a:pt x="-1268" y="865260"/>
                  <a:pt x="787" y="856792"/>
                </a:cubicBezTo>
                <a:cubicBezTo>
                  <a:pt x="12720" y="807623"/>
                  <a:pt x="25059" y="758486"/>
                  <a:pt x="34667" y="708837"/>
                </a:cubicBezTo>
                <a:cubicBezTo>
                  <a:pt x="44177" y="659694"/>
                  <a:pt x="51498" y="610075"/>
                  <a:pt x="58163" y="560448"/>
                </a:cubicBezTo>
                <a:cubicBezTo>
                  <a:pt x="65426" y="506364"/>
                  <a:pt x="71307" y="452080"/>
                  <a:pt x="76857" y="397787"/>
                </a:cubicBezTo>
                <a:cubicBezTo>
                  <a:pt x="79817" y="368829"/>
                  <a:pt x="81308" y="339690"/>
                  <a:pt x="82557" y="310594"/>
                </a:cubicBezTo>
                <a:cubicBezTo>
                  <a:pt x="84040" y="276041"/>
                  <a:pt x="84552" y="241446"/>
                  <a:pt x="85488" y="205555"/>
                </a:cubicBezTo>
                <a:close/>
              </a:path>
            </a:pathLst>
          </a:custGeom>
          <a:solidFill>
            <a:schemeClr val="bg1"/>
          </a:solidFill>
          <a:ln w="2699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7" name="Free-form: Shape 326">
            <a:extLst>
              <a:ext uri="{FF2B5EF4-FFF2-40B4-BE49-F238E27FC236}">
                <a16:creationId xmlns:a16="http://schemas.microsoft.com/office/drawing/2014/main" id="{25AB6AFC-53B8-82F6-1981-F3531647415D}"/>
              </a:ext>
            </a:extLst>
          </p:cNvPr>
          <p:cNvSpPr/>
          <p:nvPr/>
        </p:nvSpPr>
        <p:spPr>
          <a:xfrm flipH="1">
            <a:off x="6230387" y="4411024"/>
            <a:ext cx="172350" cy="248589"/>
          </a:xfrm>
          <a:custGeom>
            <a:avLst/>
            <a:gdLst>
              <a:gd name="csX0" fmla="*/ 778 w 226548"/>
              <a:gd name="csY0" fmla="*/ 0 h 337161"/>
              <a:gd name="csX1" fmla="*/ 37702 w 226548"/>
              <a:gd name="csY1" fmla="*/ 37373 h 337161"/>
              <a:gd name="csX2" fmla="*/ 104410 w 226548"/>
              <a:gd name="csY2" fmla="*/ 29446 h 337161"/>
              <a:gd name="csX3" fmla="*/ 121584 w 226548"/>
              <a:gd name="csY3" fmla="*/ 10749 h 337161"/>
              <a:gd name="csX4" fmla="*/ 168719 w 226548"/>
              <a:gd name="csY4" fmla="*/ 53353 h 337161"/>
              <a:gd name="csX5" fmla="*/ 226548 w 226548"/>
              <a:gd name="csY5" fmla="*/ 20770 h 337161"/>
              <a:gd name="csX6" fmla="*/ 195378 w 226548"/>
              <a:gd name="csY6" fmla="*/ 100783 h 337161"/>
              <a:gd name="csX7" fmla="*/ 130693 w 226548"/>
              <a:gd name="csY7" fmla="*/ 318354 h 337161"/>
              <a:gd name="csX8" fmla="*/ 108611 w 226548"/>
              <a:gd name="csY8" fmla="*/ 336726 h 337161"/>
              <a:gd name="csX9" fmla="*/ 15990 w 226548"/>
              <a:gd name="csY9" fmla="*/ 331469 h 337161"/>
              <a:gd name="csX10" fmla="*/ 0 w 226548"/>
              <a:gd name="csY10" fmla="*/ 331485 h 337161"/>
              <a:gd name="csX11" fmla="*/ 0 w 226548"/>
              <a:gd name="csY11" fmla="*/ 1107 h 33716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226548" h="337161">
                <a:moveTo>
                  <a:pt x="778" y="0"/>
                </a:moveTo>
                <a:cubicBezTo>
                  <a:pt x="13501" y="12962"/>
                  <a:pt x="25038" y="25783"/>
                  <a:pt x="37702" y="37373"/>
                </a:cubicBezTo>
                <a:cubicBezTo>
                  <a:pt x="58156" y="56093"/>
                  <a:pt x="87159" y="53087"/>
                  <a:pt x="104410" y="29446"/>
                </a:cubicBezTo>
                <a:cubicBezTo>
                  <a:pt x="109133" y="22974"/>
                  <a:pt x="115276" y="17539"/>
                  <a:pt x="121584" y="10749"/>
                </a:cubicBezTo>
                <a:cubicBezTo>
                  <a:pt x="130376" y="32859"/>
                  <a:pt x="139680" y="52822"/>
                  <a:pt x="168719" y="53353"/>
                </a:cubicBezTo>
                <a:cubicBezTo>
                  <a:pt x="194658" y="53827"/>
                  <a:pt x="206643" y="32131"/>
                  <a:pt x="226548" y="20770"/>
                </a:cubicBezTo>
                <a:cubicBezTo>
                  <a:pt x="215744" y="48562"/>
                  <a:pt x="205876" y="74800"/>
                  <a:pt x="195378" y="100783"/>
                </a:cubicBezTo>
                <a:cubicBezTo>
                  <a:pt x="166902" y="171263"/>
                  <a:pt x="147278" y="244366"/>
                  <a:pt x="130693" y="318354"/>
                </a:cubicBezTo>
                <a:cubicBezTo>
                  <a:pt x="126342" y="337768"/>
                  <a:pt x="126276" y="337983"/>
                  <a:pt x="108611" y="336726"/>
                </a:cubicBezTo>
                <a:cubicBezTo>
                  <a:pt x="77766" y="334530"/>
                  <a:pt x="46890" y="332362"/>
                  <a:pt x="15990" y="331469"/>
                </a:cubicBezTo>
                <a:lnTo>
                  <a:pt x="0" y="331485"/>
                </a:lnTo>
                <a:lnTo>
                  <a:pt x="0" y="1107"/>
                </a:lnTo>
                <a:close/>
              </a:path>
            </a:pathLst>
          </a:custGeom>
          <a:solidFill>
            <a:srgbClr val="CCD6DA"/>
          </a:solidFill>
          <a:ln w="2699" cap="flat">
            <a:noFill/>
            <a:prstDash val="solid"/>
            <a:miter/>
          </a:ln>
        </p:spPr>
        <p:txBody>
          <a:bodyPr wrap="squar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8" name="Free-form: Shape 327">
            <a:extLst>
              <a:ext uri="{FF2B5EF4-FFF2-40B4-BE49-F238E27FC236}">
                <a16:creationId xmlns:a16="http://schemas.microsoft.com/office/drawing/2014/main" id="{D4B4CBF6-99F8-0D6C-5CF6-6A4E06FDF111}"/>
              </a:ext>
            </a:extLst>
          </p:cNvPr>
          <p:cNvSpPr/>
          <p:nvPr/>
        </p:nvSpPr>
        <p:spPr>
          <a:xfrm flipH="1">
            <a:off x="6394560" y="5485426"/>
            <a:ext cx="249017" cy="182198"/>
          </a:xfrm>
          <a:custGeom>
            <a:avLst/>
            <a:gdLst>
              <a:gd name="csX0" fmla="*/ 6671 w 327322"/>
              <a:gd name="csY0" fmla="*/ 164556 h 254497"/>
              <a:gd name="csX1" fmla="*/ 41280 w 327322"/>
              <a:gd name="csY1" fmla="*/ 109282 h 254497"/>
              <a:gd name="csX2" fmla="*/ 75457 w 327322"/>
              <a:gd name="csY2" fmla="*/ 67908 h 254497"/>
              <a:gd name="csX3" fmla="*/ 94008 w 327322"/>
              <a:gd name="csY3" fmla="*/ 15251 h 254497"/>
              <a:gd name="csX4" fmla="*/ 111068 w 327322"/>
              <a:gd name="csY4" fmla="*/ 117 h 254497"/>
              <a:gd name="csX5" fmla="*/ 214190 w 327322"/>
              <a:gd name="csY5" fmla="*/ 7891 h 254497"/>
              <a:gd name="csX6" fmla="*/ 311124 w 327322"/>
              <a:gd name="csY6" fmla="*/ 11001 h 254497"/>
              <a:gd name="csX7" fmla="*/ 327310 w 327322"/>
              <a:gd name="csY7" fmla="*/ 26454 h 254497"/>
              <a:gd name="csX8" fmla="*/ 324474 w 327322"/>
              <a:gd name="csY8" fmla="*/ 240912 h 254497"/>
              <a:gd name="csX9" fmla="*/ 314032 w 327322"/>
              <a:gd name="csY9" fmla="*/ 253005 h 254497"/>
              <a:gd name="csX10" fmla="*/ 298014 w 327322"/>
              <a:gd name="csY10" fmla="*/ 254491 h 254497"/>
              <a:gd name="csX11" fmla="*/ 175432 w 327322"/>
              <a:gd name="csY11" fmla="*/ 251365 h 254497"/>
              <a:gd name="csX12" fmla="*/ 60761 w 327322"/>
              <a:gd name="csY12" fmla="*/ 238781 h 254497"/>
              <a:gd name="csX13" fmla="*/ 24636 w 327322"/>
              <a:gd name="csY13" fmla="*/ 235494 h 254497"/>
              <a:gd name="csX14" fmla="*/ 80 w 327322"/>
              <a:gd name="csY14" fmla="*/ 207868 h 254497"/>
              <a:gd name="csX15" fmla="*/ 6671 w 327322"/>
              <a:gd name="csY15" fmla="*/ 164556 h 25449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</a:cxnLst>
            <a:rect l="l" t="t" r="r" b="b"/>
            <a:pathLst>
              <a:path w="327322" h="254497">
                <a:moveTo>
                  <a:pt x="6671" y="164556"/>
                </a:moveTo>
                <a:cubicBezTo>
                  <a:pt x="18404" y="145412"/>
                  <a:pt x="28850" y="126637"/>
                  <a:pt x="41280" y="109282"/>
                </a:cubicBezTo>
                <a:cubicBezTo>
                  <a:pt x="51687" y="94752"/>
                  <a:pt x="66796" y="83230"/>
                  <a:pt x="75457" y="67908"/>
                </a:cubicBezTo>
                <a:cubicBezTo>
                  <a:pt x="84489" y="51927"/>
                  <a:pt x="89269" y="33249"/>
                  <a:pt x="94008" y="15251"/>
                </a:cubicBezTo>
                <a:cubicBezTo>
                  <a:pt x="96650" y="5217"/>
                  <a:pt x="99074" y="-938"/>
                  <a:pt x="111068" y="117"/>
                </a:cubicBezTo>
                <a:cubicBezTo>
                  <a:pt x="145406" y="3136"/>
                  <a:pt x="179777" y="5978"/>
                  <a:pt x="214190" y="7891"/>
                </a:cubicBezTo>
                <a:cubicBezTo>
                  <a:pt x="246464" y="9686"/>
                  <a:pt x="278804" y="10746"/>
                  <a:pt x="311124" y="11001"/>
                </a:cubicBezTo>
                <a:cubicBezTo>
                  <a:pt x="322834" y="11094"/>
                  <a:pt x="327597" y="13267"/>
                  <a:pt x="327310" y="26454"/>
                </a:cubicBezTo>
                <a:cubicBezTo>
                  <a:pt x="325754" y="97927"/>
                  <a:pt x="325026" y="169421"/>
                  <a:pt x="324474" y="240912"/>
                </a:cubicBezTo>
                <a:cubicBezTo>
                  <a:pt x="324411" y="249073"/>
                  <a:pt x="321499" y="252364"/>
                  <a:pt x="314032" y="253005"/>
                </a:cubicBezTo>
                <a:cubicBezTo>
                  <a:pt x="308686" y="253463"/>
                  <a:pt x="303341" y="254593"/>
                  <a:pt x="298014" y="254491"/>
                </a:cubicBezTo>
                <a:cubicBezTo>
                  <a:pt x="257142" y="253707"/>
                  <a:pt x="216187" y="254041"/>
                  <a:pt x="175432" y="251365"/>
                </a:cubicBezTo>
                <a:cubicBezTo>
                  <a:pt x="137099" y="248847"/>
                  <a:pt x="98986" y="243009"/>
                  <a:pt x="60761" y="238781"/>
                </a:cubicBezTo>
                <a:cubicBezTo>
                  <a:pt x="48745" y="237452"/>
                  <a:pt x="36657" y="236780"/>
                  <a:pt x="24636" y="235494"/>
                </a:cubicBezTo>
                <a:cubicBezTo>
                  <a:pt x="4883" y="233380"/>
                  <a:pt x="-764" y="227920"/>
                  <a:pt x="80" y="207868"/>
                </a:cubicBezTo>
                <a:cubicBezTo>
                  <a:pt x="677" y="193697"/>
                  <a:pt x="4088" y="179644"/>
                  <a:pt x="6671" y="164556"/>
                </a:cubicBezTo>
                <a:close/>
              </a:path>
            </a:pathLst>
          </a:custGeom>
          <a:solidFill>
            <a:schemeClr val="bg1"/>
          </a:solidFill>
          <a:ln w="2699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9" name="Free-form: Shape 328">
            <a:extLst>
              <a:ext uri="{FF2B5EF4-FFF2-40B4-BE49-F238E27FC236}">
                <a16:creationId xmlns:a16="http://schemas.microsoft.com/office/drawing/2014/main" id="{B4030276-2E8E-BCE4-8A74-475C8772A137}"/>
              </a:ext>
            </a:extLst>
          </p:cNvPr>
          <p:cNvSpPr/>
          <p:nvPr/>
        </p:nvSpPr>
        <p:spPr>
          <a:xfrm flipH="1">
            <a:off x="6392837" y="5687539"/>
            <a:ext cx="265587" cy="67524"/>
          </a:xfrm>
          <a:custGeom>
            <a:avLst/>
            <a:gdLst>
              <a:gd name="csX0" fmla="*/ 349104 w 349103"/>
              <a:gd name="csY0" fmla="*/ 55996 h 94319"/>
              <a:gd name="csX1" fmla="*/ 312357 w 349103"/>
              <a:gd name="csY1" fmla="*/ 93839 h 94319"/>
              <a:gd name="csX2" fmla="*/ 208388 w 349103"/>
              <a:gd name="csY2" fmla="*/ 93494 h 94319"/>
              <a:gd name="csX3" fmla="*/ 10435 w 349103"/>
              <a:gd name="csY3" fmla="*/ 66884 h 94319"/>
              <a:gd name="csX4" fmla="*/ 269 w 349103"/>
              <a:gd name="csY4" fmla="*/ 54029 h 94319"/>
              <a:gd name="csX5" fmla="*/ 9397 w 349103"/>
              <a:gd name="csY5" fmla="*/ 10950 h 94319"/>
              <a:gd name="csX6" fmla="*/ 28165 w 349103"/>
              <a:gd name="csY6" fmla="*/ 46 h 94319"/>
              <a:gd name="csX7" fmla="*/ 171895 w 349103"/>
              <a:gd name="csY7" fmla="*/ 17673 h 94319"/>
              <a:gd name="csX8" fmla="*/ 217491 w 349103"/>
              <a:gd name="csY8" fmla="*/ 20703 h 94319"/>
              <a:gd name="csX9" fmla="*/ 329287 w 349103"/>
              <a:gd name="csY9" fmla="*/ 23362 h 94319"/>
              <a:gd name="csX10" fmla="*/ 349090 w 349103"/>
              <a:gd name="csY10" fmla="*/ 42524 h 94319"/>
              <a:gd name="csX11" fmla="*/ 349104 w 349103"/>
              <a:gd name="csY11" fmla="*/ 55996 h 9431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349103" h="94319">
                <a:moveTo>
                  <a:pt x="349104" y="55996"/>
                </a:moveTo>
                <a:cubicBezTo>
                  <a:pt x="349060" y="93701"/>
                  <a:pt x="349061" y="93771"/>
                  <a:pt x="312357" y="93839"/>
                </a:cubicBezTo>
                <a:cubicBezTo>
                  <a:pt x="277697" y="93903"/>
                  <a:pt x="242977" y="95081"/>
                  <a:pt x="208388" y="93494"/>
                </a:cubicBezTo>
                <a:cubicBezTo>
                  <a:pt x="141692" y="90433"/>
                  <a:pt x="75510" y="82596"/>
                  <a:pt x="10435" y="66884"/>
                </a:cubicBezTo>
                <a:cubicBezTo>
                  <a:pt x="3157" y="65127"/>
                  <a:pt x="-1148" y="61858"/>
                  <a:pt x="269" y="54029"/>
                </a:cubicBezTo>
                <a:cubicBezTo>
                  <a:pt x="2890" y="39546"/>
                  <a:pt x="4341" y="24565"/>
                  <a:pt x="9397" y="10950"/>
                </a:cubicBezTo>
                <a:cubicBezTo>
                  <a:pt x="11408" y="5532"/>
                  <a:pt x="22101" y="-591"/>
                  <a:pt x="28165" y="46"/>
                </a:cubicBezTo>
                <a:cubicBezTo>
                  <a:pt x="76162" y="5087"/>
                  <a:pt x="123969" y="11902"/>
                  <a:pt x="171895" y="17673"/>
                </a:cubicBezTo>
                <a:cubicBezTo>
                  <a:pt x="186999" y="19491"/>
                  <a:pt x="202271" y="20235"/>
                  <a:pt x="217491" y="20703"/>
                </a:cubicBezTo>
                <a:cubicBezTo>
                  <a:pt x="254748" y="21848"/>
                  <a:pt x="292017" y="22695"/>
                  <a:pt x="329287" y="23362"/>
                </a:cubicBezTo>
                <a:cubicBezTo>
                  <a:pt x="349020" y="23715"/>
                  <a:pt x="349026" y="23431"/>
                  <a:pt x="349090" y="42524"/>
                </a:cubicBezTo>
                <a:cubicBezTo>
                  <a:pt x="349103" y="46576"/>
                  <a:pt x="349099" y="50627"/>
                  <a:pt x="349104" y="55996"/>
                </a:cubicBezTo>
                <a:close/>
              </a:path>
            </a:pathLst>
          </a:custGeom>
          <a:solidFill>
            <a:schemeClr val="bg1"/>
          </a:solidFill>
          <a:ln w="2699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0" name="Free-form: Shape 329">
            <a:extLst>
              <a:ext uri="{FF2B5EF4-FFF2-40B4-BE49-F238E27FC236}">
                <a16:creationId xmlns:a16="http://schemas.microsoft.com/office/drawing/2014/main" id="{6CE35A4C-B361-695B-AFB2-D78C885E1818}"/>
              </a:ext>
            </a:extLst>
          </p:cNvPr>
          <p:cNvSpPr/>
          <p:nvPr/>
        </p:nvSpPr>
        <p:spPr>
          <a:xfrm flipH="1">
            <a:off x="6308561" y="4297206"/>
            <a:ext cx="191239" cy="139371"/>
          </a:xfrm>
          <a:custGeom>
            <a:avLst/>
            <a:gdLst>
              <a:gd name="csX0" fmla="*/ 0 w 251376"/>
              <a:gd name="csY0" fmla="*/ 143557 h 194676"/>
              <a:gd name="csX1" fmla="*/ 60552 w 251376"/>
              <a:gd name="csY1" fmla="*/ 103445 h 194676"/>
              <a:gd name="csX2" fmla="*/ 106376 w 251376"/>
              <a:gd name="csY2" fmla="*/ 90701 h 194676"/>
              <a:gd name="csX3" fmla="*/ 95829 w 251376"/>
              <a:gd name="csY3" fmla="*/ 13769 h 194676"/>
              <a:gd name="csX4" fmla="*/ 152117 w 251376"/>
              <a:gd name="csY4" fmla="*/ 8010 h 194676"/>
              <a:gd name="csX5" fmla="*/ 155319 w 251376"/>
              <a:gd name="csY5" fmla="*/ 88701 h 194676"/>
              <a:gd name="csX6" fmla="*/ 251288 w 251376"/>
              <a:gd name="csY6" fmla="*/ 139911 h 194676"/>
              <a:gd name="csX7" fmla="*/ 251376 w 251376"/>
              <a:gd name="csY7" fmla="*/ 140847 h 194676"/>
              <a:gd name="csX8" fmla="*/ 226496 w 251376"/>
              <a:gd name="csY8" fmla="*/ 163548 h 194676"/>
              <a:gd name="csX9" fmla="*/ 207044 w 251376"/>
              <a:gd name="csY9" fmla="*/ 187024 h 194676"/>
              <a:gd name="csX10" fmla="*/ 170188 w 251376"/>
              <a:gd name="csY10" fmla="*/ 184842 h 194676"/>
              <a:gd name="csX11" fmla="*/ 142028 w 251376"/>
              <a:gd name="csY11" fmla="*/ 145925 h 194676"/>
              <a:gd name="csX12" fmla="*/ 109750 w 251376"/>
              <a:gd name="csY12" fmla="*/ 146361 h 194676"/>
              <a:gd name="csX13" fmla="*/ 89415 w 251376"/>
              <a:gd name="csY13" fmla="*/ 177998 h 194676"/>
              <a:gd name="csX14" fmla="*/ 40867 w 251376"/>
              <a:gd name="csY14" fmla="*/ 182615 h 194676"/>
              <a:gd name="csX15" fmla="*/ 24429 w 251376"/>
              <a:gd name="csY15" fmla="*/ 159868 h 194676"/>
              <a:gd name="csX16" fmla="*/ 1027 w 251376"/>
              <a:gd name="csY16" fmla="*/ 143506 h 194676"/>
              <a:gd name="csX17" fmla="*/ 0 w 251376"/>
              <a:gd name="csY17" fmla="*/ 143557 h 19467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</a:cxnLst>
            <a:rect l="l" t="t" r="r" b="b"/>
            <a:pathLst>
              <a:path w="251376" h="194676">
                <a:moveTo>
                  <a:pt x="0" y="143557"/>
                </a:moveTo>
                <a:cubicBezTo>
                  <a:pt x="15077" y="122513"/>
                  <a:pt x="37857" y="112614"/>
                  <a:pt x="60552" y="103445"/>
                </a:cubicBezTo>
                <a:cubicBezTo>
                  <a:pt x="75119" y="97559"/>
                  <a:pt x="90974" y="94861"/>
                  <a:pt x="106376" y="90701"/>
                </a:cubicBezTo>
                <a:cubicBezTo>
                  <a:pt x="76306" y="53327"/>
                  <a:pt x="73986" y="36115"/>
                  <a:pt x="95829" y="13769"/>
                </a:cubicBezTo>
                <a:cubicBezTo>
                  <a:pt x="111332" y="-2091"/>
                  <a:pt x="135594" y="-4573"/>
                  <a:pt x="152117" y="8010"/>
                </a:cubicBezTo>
                <a:cubicBezTo>
                  <a:pt x="176627" y="26675"/>
                  <a:pt x="177784" y="50470"/>
                  <a:pt x="155319" y="88701"/>
                </a:cubicBezTo>
                <a:cubicBezTo>
                  <a:pt x="191521" y="97669"/>
                  <a:pt x="225098" y="111398"/>
                  <a:pt x="251288" y="139911"/>
                </a:cubicBezTo>
                <a:cubicBezTo>
                  <a:pt x="251389" y="140832"/>
                  <a:pt x="251376" y="140847"/>
                  <a:pt x="251376" y="140847"/>
                </a:cubicBezTo>
                <a:cubicBezTo>
                  <a:pt x="237967" y="142841"/>
                  <a:pt x="233190" y="154057"/>
                  <a:pt x="226496" y="163548"/>
                </a:cubicBezTo>
                <a:cubicBezTo>
                  <a:pt x="220639" y="171855"/>
                  <a:pt x="214757" y="180670"/>
                  <a:pt x="207044" y="187024"/>
                </a:cubicBezTo>
                <a:cubicBezTo>
                  <a:pt x="194009" y="197760"/>
                  <a:pt x="181605" y="197350"/>
                  <a:pt x="170188" y="184842"/>
                </a:cubicBezTo>
                <a:cubicBezTo>
                  <a:pt x="159459" y="173090"/>
                  <a:pt x="151029" y="159183"/>
                  <a:pt x="142028" y="145925"/>
                </a:cubicBezTo>
                <a:cubicBezTo>
                  <a:pt x="129426" y="127363"/>
                  <a:pt x="121871" y="127341"/>
                  <a:pt x="109750" y="146361"/>
                </a:cubicBezTo>
                <a:cubicBezTo>
                  <a:pt x="103011" y="156935"/>
                  <a:pt x="96721" y="167832"/>
                  <a:pt x="89415" y="177998"/>
                </a:cubicBezTo>
                <a:cubicBezTo>
                  <a:pt x="76871" y="195453"/>
                  <a:pt x="56252" y="197624"/>
                  <a:pt x="40867" y="182615"/>
                </a:cubicBezTo>
                <a:cubicBezTo>
                  <a:pt x="34266" y="176176"/>
                  <a:pt x="29617" y="167667"/>
                  <a:pt x="24429" y="159868"/>
                </a:cubicBezTo>
                <a:cubicBezTo>
                  <a:pt x="18931" y="151605"/>
                  <a:pt x="14335" y="142406"/>
                  <a:pt x="1027" y="143506"/>
                </a:cubicBezTo>
                <a:cubicBezTo>
                  <a:pt x="-26" y="143536"/>
                  <a:pt x="0" y="143557"/>
                  <a:pt x="0" y="143557"/>
                </a:cubicBezTo>
                <a:close/>
              </a:path>
            </a:pathLst>
          </a:custGeom>
          <a:solidFill>
            <a:srgbClr val="FCFCFB"/>
          </a:solidFill>
          <a:ln w="2699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1" name="Free-form: Shape 330">
            <a:extLst>
              <a:ext uri="{FF2B5EF4-FFF2-40B4-BE49-F238E27FC236}">
                <a16:creationId xmlns:a16="http://schemas.microsoft.com/office/drawing/2014/main" id="{17BECB53-1386-F9EB-63D5-E3BD0A417E3A}"/>
              </a:ext>
            </a:extLst>
          </p:cNvPr>
          <p:cNvSpPr/>
          <p:nvPr/>
        </p:nvSpPr>
        <p:spPr>
          <a:xfrm flipH="1">
            <a:off x="6404915" y="4686466"/>
            <a:ext cx="86686" cy="45131"/>
          </a:xfrm>
          <a:custGeom>
            <a:avLst/>
            <a:gdLst>
              <a:gd name="csX0" fmla="*/ 62457 w 230080"/>
              <a:gd name="csY0" fmla="*/ 0 h 51402"/>
              <a:gd name="csX1" fmla="*/ 229715 w 230080"/>
              <a:gd name="csY1" fmla="*/ 2548 h 51402"/>
              <a:gd name="csX2" fmla="*/ 229033 w 230080"/>
              <a:gd name="csY2" fmla="*/ 41559 h 51402"/>
              <a:gd name="csX3" fmla="*/ 214851 w 230080"/>
              <a:gd name="csY3" fmla="*/ 50862 h 51402"/>
              <a:gd name="csX4" fmla="*/ 120527 w 230080"/>
              <a:gd name="csY4" fmla="*/ 48743 h 51402"/>
              <a:gd name="csX5" fmla="*/ 13547 w 230080"/>
              <a:gd name="csY5" fmla="*/ 51342 h 51402"/>
              <a:gd name="csX6" fmla="*/ 61 w 230080"/>
              <a:gd name="csY6" fmla="*/ 51359 h 51402"/>
              <a:gd name="csX7" fmla="*/ 4 w 230080"/>
              <a:gd name="csY7" fmla="*/ 13697 h 51402"/>
              <a:gd name="csX8" fmla="*/ 10055 w 230080"/>
              <a:gd name="csY8" fmla="*/ 2596 h 51402"/>
              <a:gd name="csX9" fmla="*/ 62457 w 230080"/>
              <a:gd name="csY9" fmla="*/ 0 h 5140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230080" h="51402">
                <a:moveTo>
                  <a:pt x="62457" y="0"/>
                </a:moveTo>
                <a:cubicBezTo>
                  <a:pt x="118516" y="838"/>
                  <a:pt x="173258" y="1679"/>
                  <a:pt x="229715" y="2548"/>
                </a:cubicBezTo>
                <a:cubicBezTo>
                  <a:pt x="229715" y="16728"/>
                  <a:pt x="230888" y="29374"/>
                  <a:pt x="229033" y="41559"/>
                </a:cubicBezTo>
                <a:cubicBezTo>
                  <a:pt x="228442" y="45440"/>
                  <a:pt x="219802" y="50868"/>
                  <a:pt x="214851" y="50862"/>
                </a:cubicBezTo>
                <a:cubicBezTo>
                  <a:pt x="183409" y="50825"/>
                  <a:pt x="151967" y="48693"/>
                  <a:pt x="120527" y="48743"/>
                </a:cubicBezTo>
                <a:cubicBezTo>
                  <a:pt x="84866" y="48800"/>
                  <a:pt x="49208" y="50434"/>
                  <a:pt x="13547" y="51342"/>
                </a:cubicBezTo>
                <a:cubicBezTo>
                  <a:pt x="8707" y="51466"/>
                  <a:pt x="3861" y="51359"/>
                  <a:pt x="61" y="51359"/>
                </a:cubicBezTo>
                <a:cubicBezTo>
                  <a:pt x="61" y="37755"/>
                  <a:pt x="210" y="25723"/>
                  <a:pt x="4" y="13697"/>
                </a:cubicBezTo>
                <a:cubicBezTo>
                  <a:pt x="-117" y="6604"/>
                  <a:pt x="2365" y="2860"/>
                  <a:pt x="10055" y="2596"/>
                </a:cubicBezTo>
                <a:cubicBezTo>
                  <a:pt x="27093" y="2012"/>
                  <a:pt x="44112" y="901"/>
                  <a:pt x="62457" y="0"/>
                </a:cubicBezTo>
                <a:close/>
              </a:path>
            </a:pathLst>
          </a:custGeom>
          <a:solidFill>
            <a:srgbClr val="FCFCFB"/>
          </a:solidFill>
          <a:ln w="2699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2" name="Free-form: Shape 331">
            <a:extLst>
              <a:ext uri="{FF2B5EF4-FFF2-40B4-BE49-F238E27FC236}">
                <a16:creationId xmlns:a16="http://schemas.microsoft.com/office/drawing/2014/main" id="{2F294C4C-44C2-6AD9-2582-2114D1222710}"/>
              </a:ext>
            </a:extLst>
          </p:cNvPr>
          <p:cNvSpPr/>
          <p:nvPr/>
        </p:nvSpPr>
        <p:spPr>
          <a:xfrm flipH="1">
            <a:off x="6403106" y="4777768"/>
            <a:ext cx="142202" cy="36415"/>
          </a:xfrm>
          <a:custGeom>
            <a:avLst/>
            <a:gdLst>
              <a:gd name="csX0" fmla="*/ 171523 w 186920"/>
              <a:gd name="csY0" fmla="*/ 2414 h 50865"/>
              <a:gd name="csX1" fmla="*/ 186375 w 186920"/>
              <a:gd name="csY1" fmla="*/ 26146 h 50865"/>
              <a:gd name="csX2" fmla="*/ 156333 w 186920"/>
              <a:gd name="csY2" fmla="*/ 50678 h 50865"/>
              <a:gd name="csX3" fmla="*/ 31413 w 186920"/>
              <a:gd name="csY3" fmla="*/ 44982 h 50865"/>
              <a:gd name="csX4" fmla="*/ 7682 w 186920"/>
              <a:gd name="csY4" fmla="*/ 36449 h 50865"/>
              <a:gd name="csX5" fmla="*/ 8802 w 186920"/>
              <a:gd name="csY5" fmla="*/ 7738 h 50865"/>
              <a:gd name="csX6" fmla="*/ 34247 w 186920"/>
              <a:gd name="csY6" fmla="*/ 115 h 50865"/>
              <a:gd name="csX7" fmla="*/ 102852 w 186920"/>
              <a:gd name="csY7" fmla="*/ 1497 h 50865"/>
              <a:gd name="csX8" fmla="*/ 171523 w 186920"/>
              <a:gd name="csY8" fmla="*/ 2414 h 5086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</a:cxnLst>
            <a:rect l="l" t="t" r="r" b="b"/>
            <a:pathLst>
              <a:path w="186920" h="50865">
                <a:moveTo>
                  <a:pt x="171523" y="2414"/>
                </a:moveTo>
                <a:cubicBezTo>
                  <a:pt x="185638" y="5545"/>
                  <a:pt x="188278" y="14444"/>
                  <a:pt x="186375" y="26146"/>
                </a:cubicBezTo>
                <a:cubicBezTo>
                  <a:pt x="182364" y="50813"/>
                  <a:pt x="182394" y="51476"/>
                  <a:pt x="156333" y="50678"/>
                </a:cubicBezTo>
                <a:cubicBezTo>
                  <a:pt x="114670" y="49402"/>
                  <a:pt x="73013" y="47552"/>
                  <a:pt x="31413" y="44982"/>
                </a:cubicBezTo>
                <a:cubicBezTo>
                  <a:pt x="23309" y="44481"/>
                  <a:pt x="14787" y="40731"/>
                  <a:pt x="7682" y="36449"/>
                </a:cubicBezTo>
                <a:cubicBezTo>
                  <a:pt x="-3069" y="29971"/>
                  <a:pt x="-2389" y="13306"/>
                  <a:pt x="8802" y="7738"/>
                </a:cubicBezTo>
                <a:cubicBezTo>
                  <a:pt x="16663" y="3827"/>
                  <a:pt x="25670" y="315"/>
                  <a:pt x="34247" y="115"/>
                </a:cubicBezTo>
                <a:cubicBezTo>
                  <a:pt x="57092" y="-420"/>
                  <a:pt x="79978" y="1064"/>
                  <a:pt x="102852" y="1497"/>
                </a:cubicBezTo>
                <a:cubicBezTo>
                  <a:pt x="125350" y="1922"/>
                  <a:pt x="147854" y="2044"/>
                  <a:pt x="171523" y="2414"/>
                </a:cubicBezTo>
                <a:close/>
              </a:path>
            </a:pathLst>
          </a:custGeom>
          <a:solidFill>
            <a:srgbClr val="FCFCFB"/>
          </a:solidFill>
          <a:ln w="2699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3" name="Free-form: Shape 332">
            <a:extLst>
              <a:ext uri="{FF2B5EF4-FFF2-40B4-BE49-F238E27FC236}">
                <a16:creationId xmlns:a16="http://schemas.microsoft.com/office/drawing/2014/main" id="{D86BFD70-091B-FDD5-0D90-83DAF51D0A79}"/>
              </a:ext>
            </a:extLst>
          </p:cNvPr>
          <p:cNvSpPr/>
          <p:nvPr/>
        </p:nvSpPr>
        <p:spPr>
          <a:xfrm flipH="1">
            <a:off x="6404915" y="4734731"/>
            <a:ext cx="115601" cy="26906"/>
          </a:xfrm>
          <a:custGeom>
            <a:avLst/>
            <a:gdLst>
              <a:gd name="csX0" fmla="*/ 89107 w 151953"/>
              <a:gd name="csY0" fmla="*/ 252 h 37582"/>
              <a:gd name="csX1" fmla="*/ 137399 w 151953"/>
              <a:gd name="csY1" fmla="*/ 2948 h 37582"/>
              <a:gd name="csX2" fmla="*/ 151923 w 151953"/>
              <a:gd name="csY2" fmla="*/ 22533 h 37582"/>
              <a:gd name="csX3" fmla="*/ 138022 w 151953"/>
              <a:gd name="csY3" fmla="*/ 37581 h 37582"/>
              <a:gd name="csX4" fmla="*/ 61340 w 151953"/>
              <a:gd name="csY4" fmla="*/ 35549 h 37582"/>
              <a:gd name="csX5" fmla="*/ 10364 w 151953"/>
              <a:gd name="csY5" fmla="*/ 32504 h 37582"/>
              <a:gd name="csX6" fmla="*/ 3387 w 151953"/>
              <a:gd name="csY6" fmla="*/ 14529 h 37582"/>
              <a:gd name="csX7" fmla="*/ 40547 w 151953"/>
              <a:gd name="csY7" fmla="*/ 433 h 37582"/>
              <a:gd name="csX8" fmla="*/ 89107 w 151953"/>
              <a:gd name="csY8" fmla="*/ 252 h 3758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</a:cxnLst>
            <a:rect l="l" t="t" r="r" b="b"/>
            <a:pathLst>
              <a:path w="151953" h="37582">
                <a:moveTo>
                  <a:pt x="89107" y="252"/>
                </a:moveTo>
                <a:cubicBezTo>
                  <a:pt x="106080" y="1151"/>
                  <a:pt x="121739" y="2057"/>
                  <a:pt x="137399" y="2948"/>
                </a:cubicBezTo>
                <a:cubicBezTo>
                  <a:pt x="150166" y="3675"/>
                  <a:pt x="151455" y="11818"/>
                  <a:pt x="151923" y="22533"/>
                </a:cubicBezTo>
                <a:cubicBezTo>
                  <a:pt x="152405" y="33546"/>
                  <a:pt x="147123" y="37663"/>
                  <a:pt x="138022" y="37581"/>
                </a:cubicBezTo>
                <a:cubicBezTo>
                  <a:pt x="112456" y="37353"/>
                  <a:pt x="86891" y="36506"/>
                  <a:pt x="61340" y="35549"/>
                </a:cubicBezTo>
                <a:cubicBezTo>
                  <a:pt x="44330" y="34912"/>
                  <a:pt x="27290" y="34194"/>
                  <a:pt x="10364" y="32504"/>
                </a:cubicBezTo>
                <a:cubicBezTo>
                  <a:pt x="-484" y="31420"/>
                  <a:pt x="-2827" y="23494"/>
                  <a:pt x="3387" y="14529"/>
                </a:cubicBezTo>
                <a:cubicBezTo>
                  <a:pt x="12657" y="1154"/>
                  <a:pt x="26943" y="1169"/>
                  <a:pt x="40547" y="433"/>
                </a:cubicBezTo>
                <a:cubicBezTo>
                  <a:pt x="56253" y="-417"/>
                  <a:pt x="72041" y="246"/>
                  <a:pt x="89107" y="252"/>
                </a:cubicBezTo>
                <a:close/>
              </a:path>
            </a:pathLst>
          </a:custGeom>
          <a:solidFill>
            <a:srgbClr val="FCFCFB"/>
          </a:solidFill>
          <a:ln w="2699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4" name="Free-form: Shape 333">
            <a:extLst>
              <a:ext uri="{FF2B5EF4-FFF2-40B4-BE49-F238E27FC236}">
                <a16:creationId xmlns:a16="http://schemas.microsoft.com/office/drawing/2014/main" id="{8D198503-4517-7FC6-6E77-A445A16DCF22}"/>
              </a:ext>
            </a:extLst>
          </p:cNvPr>
          <p:cNvSpPr/>
          <p:nvPr/>
        </p:nvSpPr>
        <p:spPr>
          <a:xfrm flipH="1">
            <a:off x="6403158" y="4663081"/>
            <a:ext cx="105252" cy="17381"/>
          </a:xfrm>
          <a:custGeom>
            <a:avLst/>
            <a:gdLst>
              <a:gd name="csX0" fmla="*/ 1318 w 138350"/>
              <a:gd name="csY0" fmla="*/ 5445 h 24278"/>
              <a:gd name="csX1" fmla="*/ 32185 w 138350"/>
              <a:gd name="csY1" fmla="*/ 359 h 24278"/>
              <a:gd name="csX2" fmla="*/ 127547 w 138350"/>
              <a:gd name="csY2" fmla="*/ 1 h 24278"/>
              <a:gd name="csX3" fmla="*/ 138350 w 138350"/>
              <a:gd name="csY3" fmla="*/ 11778 h 24278"/>
              <a:gd name="csX4" fmla="*/ 127229 w 138350"/>
              <a:gd name="csY4" fmla="*/ 21765 h 24278"/>
              <a:gd name="csX5" fmla="*/ 55623 w 138350"/>
              <a:gd name="csY5" fmla="*/ 21860 h 24278"/>
              <a:gd name="csX6" fmla="*/ 14025 w 138350"/>
              <a:gd name="csY6" fmla="*/ 24277 h 24278"/>
              <a:gd name="csX7" fmla="*/ 1318 w 138350"/>
              <a:gd name="csY7" fmla="*/ 5445 h 2427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</a:cxnLst>
            <a:rect l="l" t="t" r="r" b="b"/>
            <a:pathLst>
              <a:path w="138350" h="24278">
                <a:moveTo>
                  <a:pt x="1318" y="5445"/>
                </a:moveTo>
                <a:cubicBezTo>
                  <a:pt x="11943" y="3060"/>
                  <a:pt x="22043" y="540"/>
                  <a:pt x="32185" y="359"/>
                </a:cubicBezTo>
                <a:cubicBezTo>
                  <a:pt x="63964" y="-209"/>
                  <a:pt x="95760" y="221"/>
                  <a:pt x="127547" y="1"/>
                </a:cubicBezTo>
                <a:cubicBezTo>
                  <a:pt x="136004" y="-58"/>
                  <a:pt x="138385" y="4159"/>
                  <a:pt x="138350" y="11778"/>
                </a:cubicBezTo>
                <a:cubicBezTo>
                  <a:pt x="138314" y="19623"/>
                  <a:pt x="134207" y="21799"/>
                  <a:pt x="127229" y="21765"/>
                </a:cubicBezTo>
                <a:cubicBezTo>
                  <a:pt x="103360" y="21647"/>
                  <a:pt x="79485" y="21423"/>
                  <a:pt x="55623" y="21860"/>
                </a:cubicBezTo>
                <a:cubicBezTo>
                  <a:pt x="41746" y="22114"/>
                  <a:pt x="27896" y="24173"/>
                  <a:pt x="14025" y="24277"/>
                </a:cubicBezTo>
                <a:cubicBezTo>
                  <a:pt x="1111" y="24374"/>
                  <a:pt x="-2207" y="19176"/>
                  <a:pt x="1318" y="5445"/>
                </a:cubicBezTo>
                <a:close/>
              </a:path>
            </a:pathLst>
          </a:custGeom>
          <a:solidFill>
            <a:srgbClr val="FCFCFB"/>
          </a:solidFill>
          <a:ln w="2699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5" name="Free-form: Shape 334">
            <a:extLst>
              <a:ext uri="{FF2B5EF4-FFF2-40B4-BE49-F238E27FC236}">
                <a16:creationId xmlns:a16="http://schemas.microsoft.com/office/drawing/2014/main" id="{AB77176F-582E-883A-32E2-FB8A0EE045FA}"/>
              </a:ext>
            </a:extLst>
          </p:cNvPr>
          <p:cNvSpPr/>
          <p:nvPr/>
        </p:nvSpPr>
        <p:spPr>
          <a:xfrm flipH="1">
            <a:off x="6281556" y="4404651"/>
            <a:ext cx="21342" cy="32407"/>
          </a:xfrm>
          <a:custGeom>
            <a:avLst/>
            <a:gdLst>
              <a:gd name="csX0" fmla="*/ 10475 w 28053"/>
              <a:gd name="csY0" fmla="*/ 29183 h 45267"/>
              <a:gd name="csX1" fmla="*/ 0 w 28053"/>
              <a:gd name="csY1" fmla="*/ 1367 h 45267"/>
              <a:gd name="csX2" fmla="*/ 3154 w 28053"/>
              <a:gd name="csY2" fmla="*/ 0 h 45267"/>
              <a:gd name="csX3" fmla="*/ 28053 w 28053"/>
              <a:gd name="csY3" fmla="*/ 42345 h 45267"/>
              <a:gd name="csX4" fmla="*/ 24171 w 28053"/>
              <a:gd name="csY4" fmla="*/ 45267 h 45267"/>
              <a:gd name="csX5" fmla="*/ 10475 w 28053"/>
              <a:gd name="csY5" fmla="*/ 29183 h 4526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</a:cxnLst>
            <a:rect l="l" t="t" r="r" b="b"/>
            <a:pathLst>
              <a:path w="28053" h="45267">
                <a:moveTo>
                  <a:pt x="10475" y="29183"/>
                </a:moveTo>
                <a:cubicBezTo>
                  <a:pt x="6669" y="19319"/>
                  <a:pt x="3335" y="10343"/>
                  <a:pt x="0" y="1367"/>
                </a:cubicBezTo>
                <a:cubicBezTo>
                  <a:pt x="1051" y="911"/>
                  <a:pt x="2102" y="456"/>
                  <a:pt x="3154" y="0"/>
                </a:cubicBezTo>
                <a:cubicBezTo>
                  <a:pt x="13794" y="12787"/>
                  <a:pt x="24893" y="25314"/>
                  <a:pt x="28053" y="42345"/>
                </a:cubicBezTo>
                <a:cubicBezTo>
                  <a:pt x="26759" y="43319"/>
                  <a:pt x="25465" y="44293"/>
                  <a:pt x="24171" y="45267"/>
                </a:cubicBezTo>
                <a:cubicBezTo>
                  <a:pt x="19762" y="40202"/>
                  <a:pt x="15354" y="35136"/>
                  <a:pt x="10475" y="29183"/>
                </a:cubicBezTo>
                <a:close/>
              </a:path>
            </a:pathLst>
          </a:custGeom>
          <a:solidFill>
            <a:srgbClr val="CCD6DA"/>
          </a:solidFill>
          <a:ln w="2699" cap="flat">
            <a:solidFill>
              <a:srgbClr val="CDD9DF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6" name="Free-form: Shape 335">
            <a:extLst>
              <a:ext uri="{FF2B5EF4-FFF2-40B4-BE49-F238E27FC236}">
                <a16:creationId xmlns:a16="http://schemas.microsoft.com/office/drawing/2014/main" id="{2753B322-3A1F-E9FD-0C77-BA2B0E3C3215}"/>
              </a:ext>
            </a:extLst>
          </p:cNvPr>
          <p:cNvSpPr/>
          <p:nvPr/>
        </p:nvSpPr>
        <p:spPr>
          <a:xfrm flipH="1">
            <a:off x="6503052" y="4404124"/>
            <a:ext cx="22217" cy="30279"/>
          </a:xfrm>
          <a:custGeom>
            <a:avLst/>
            <a:gdLst>
              <a:gd name="csX0" fmla="*/ 10018 w 29204"/>
              <a:gd name="csY0" fmla="*/ 38080 h 42295"/>
              <a:gd name="csX1" fmla="*/ 3166 w 29204"/>
              <a:gd name="csY1" fmla="*/ 42296 h 42295"/>
              <a:gd name="csX2" fmla="*/ 0 w 29204"/>
              <a:gd name="csY2" fmla="*/ 39775 h 42295"/>
              <a:gd name="csX3" fmla="*/ 24176 w 29204"/>
              <a:gd name="csY3" fmla="*/ 0 h 42295"/>
              <a:gd name="csX4" fmla="*/ 29205 w 29204"/>
              <a:gd name="csY4" fmla="*/ 2823 h 42295"/>
              <a:gd name="csX5" fmla="*/ 10018 w 29204"/>
              <a:gd name="csY5" fmla="*/ 38080 h 4229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</a:cxnLst>
            <a:rect l="l" t="t" r="r" b="b"/>
            <a:pathLst>
              <a:path w="29204" h="42295">
                <a:moveTo>
                  <a:pt x="10018" y="38080"/>
                </a:moveTo>
                <a:cubicBezTo>
                  <a:pt x="7280" y="39942"/>
                  <a:pt x="5223" y="41119"/>
                  <a:pt x="3166" y="42296"/>
                </a:cubicBezTo>
                <a:cubicBezTo>
                  <a:pt x="2111" y="41456"/>
                  <a:pt x="1056" y="40615"/>
                  <a:pt x="0" y="39775"/>
                </a:cubicBezTo>
                <a:cubicBezTo>
                  <a:pt x="8059" y="26517"/>
                  <a:pt x="16118" y="13258"/>
                  <a:pt x="24176" y="0"/>
                </a:cubicBezTo>
                <a:cubicBezTo>
                  <a:pt x="25853" y="941"/>
                  <a:pt x="27529" y="1882"/>
                  <a:pt x="29205" y="2823"/>
                </a:cubicBezTo>
                <a:cubicBezTo>
                  <a:pt x="23036" y="14347"/>
                  <a:pt x="16867" y="25871"/>
                  <a:pt x="10018" y="38080"/>
                </a:cubicBezTo>
                <a:close/>
              </a:path>
            </a:pathLst>
          </a:custGeom>
          <a:solidFill>
            <a:srgbClr val="FCFCFB"/>
          </a:solidFill>
          <a:ln w="2699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7" name="Free-form: Shape 336">
            <a:extLst>
              <a:ext uri="{FF2B5EF4-FFF2-40B4-BE49-F238E27FC236}">
                <a16:creationId xmlns:a16="http://schemas.microsoft.com/office/drawing/2014/main" id="{B19031F3-4CF3-399D-A656-6596F23D1455}"/>
              </a:ext>
            </a:extLst>
          </p:cNvPr>
          <p:cNvSpPr/>
          <p:nvPr/>
        </p:nvSpPr>
        <p:spPr>
          <a:xfrm flipH="1">
            <a:off x="6573851" y="4433891"/>
            <a:ext cx="860" cy="949"/>
          </a:xfrm>
          <a:custGeom>
            <a:avLst/>
            <a:gdLst>
              <a:gd name="csX0" fmla="*/ 1053 w 1130"/>
              <a:gd name="csY0" fmla="*/ 1326 h 1325"/>
              <a:gd name="csX1" fmla="*/ 0 w 1130"/>
              <a:gd name="csY1" fmla="*/ 0 h 1325"/>
              <a:gd name="csX2" fmla="*/ 1033 w 1130"/>
              <a:gd name="csY2" fmla="*/ 761 h 1325"/>
              <a:gd name="csX3" fmla="*/ 1053 w 1130"/>
              <a:gd name="csY3" fmla="*/ 1326 h 132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</a:cxnLst>
            <a:rect l="l" t="t" r="r" b="b"/>
            <a:pathLst>
              <a:path w="1130" h="1325">
                <a:moveTo>
                  <a:pt x="1053" y="1326"/>
                </a:moveTo>
                <a:cubicBezTo>
                  <a:pt x="665" y="916"/>
                  <a:pt x="333" y="458"/>
                  <a:pt x="0" y="0"/>
                </a:cubicBezTo>
                <a:cubicBezTo>
                  <a:pt x="287" y="118"/>
                  <a:pt x="574" y="236"/>
                  <a:pt x="1033" y="761"/>
                </a:cubicBezTo>
                <a:cubicBezTo>
                  <a:pt x="1206" y="1168"/>
                  <a:pt x="1108" y="1277"/>
                  <a:pt x="1053" y="1326"/>
                </a:cubicBezTo>
                <a:close/>
              </a:path>
            </a:pathLst>
          </a:custGeom>
          <a:solidFill>
            <a:srgbClr val="FCFCFB"/>
          </a:solidFill>
          <a:ln w="2699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8" name="Free-form: Shape 337">
            <a:extLst>
              <a:ext uri="{FF2B5EF4-FFF2-40B4-BE49-F238E27FC236}">
                <a16:creationId xmlns:a16="http://schemas.microsoft.com/office/drawing/2014/main" id="{E57E43C2-6B67-D995-511B-A3797F43AAAE}"/>
              </a:ext>
            </a:extLst>
          </p:cNvPr>
          <p:cNvSpPr/>
          <p:nvPr/>
        </p:nvSpPr>
        <p:spPr>
          <a:xfrm flipH="1">
            <a:off x="6499825" y="4399957"/>
            <a:ext cx="332" cy="107"/>
          </a:xfrm>
          <a:custGeom>
            <a:avLst/>
            <a:gdLst>
              <a:gd name="csX0" fmla="*/ 434 w 437"/>
              <a:gd name="csY0" fmla="*/ 0 h 149"/>
              <a:gd name="csX1" fmla="*/ 46 w 437"/>
              <a:gd name="csY1" fmla="*/ 146 h 149"/>
              <a:gd name="csX2" fmla="*/ 434 w 437"/>
              <a:gd name="csY2" fmla="*/ 0 h 14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437" h="149">
                <a:moveTo>
                  <a:pt x="434" y="0"/>
                </a:moveTo>
                <a:cubicBezTo>
                  <a:pt x="157" y="78"/>
                  <a:pt x="-110" y="168"/>
                  <a:pt x="46" y="146"/>
                </a:cubicBezTo>
                <a:cubicBezTo>
                  <a:pt x="469" y="33"/>
                  <a:pt x="443" y="12"/>
                  <a:pt x="434" y="0"/>
                </a:cubicBezTo>
                <a:close/>
              </a:path>
            </a:pathLst>
          </a:custGeom>
          <a:solidFill>
            <a:srgbClr val="FCFCFB"/>
          </a:solidFill>
          <a:ln w="2699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9" name="Free-form: Shape 338">
            <a:extLst>
              <a:ext uri="{FF2B5EF4-FFF2-40B4-BE49-F238E27FC236}">
                <a16:creationId xmlns:a16="http://schemas.microsoft.com/office/drawing/2014/main" id="{B5E8B505-15E6-1A40-D55A-62C93796267E}"/>
              </a:ext>
            </a:extLst>
          </p:cNvPr>
          <p:cNvSpPr/>
          <p:nvPr/>
        </p:nvSpPr>
        <p:spPr>
          <a:xfrm flipH="1">
            <a:off x="6307743" y="4398025"/>
            <a:ext cx="806" cy="864"/>
          </a:xfrm>
          <a:custGeom>
            <a:avLst/>
            <a:gdLst>
              <a:gd name="csX0" fmla="*/ 4 w 1059"/>
              <a:gd name="csY0" fmla="*/ 0 h 1207"/>
              <a:gd name="csX1" fmla="*/ 1060 w 1059"/>
              <a:gd name="csY1" fmla="*/ 1208 h 1207"/>
              <a:gd name="csX2" fmla="*/ 130 w 1059"/>
              <a:gd name="csY2" fmla="*/ 422 h 1207"/>
              <a:gd name="csX3" fmla="*/ 4 w 1059"/>
              <a:gd name="csY3" fmla="*/ 0 h 120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</a:cxnLst>
            <a:rect l="l" t="t" r="r" b="b"/>
            <a:pathLst>
              <a:path w="1059" h="1207">
                <a:moveTo>
                  <a:pt x="4" y="0"/>
                </a:moveTo>
                <a:cubicBezTo>
                  <a:pt x="360" y="398"/>
                  <a:pt x="710" y="803"/>
                  <a:pt x="1060" y="1208"/>
                </a:cubicBezTo>
                <a:cubicBezTo>
                  <a:pt x="798" y="1080"/>
                  <a:pt x="537" y="952"/>
                  <a:pt x="130" y="422"/>
                </a:cubicBezTo>
                <a:cubicBezTo>
                  <a:pt x="-16" y="21"/>
                  <a:pt x="-3" y="6"/>
                  <a:pt x="4" y="0"/>
                </a:cubicBezTo>
                <a:close/>
              </a:path>
            </a:pathLst>
          </a:custGeom>
          <a:solidFill>
            <a:srgbClr val="CCD6DA"/>
          </a:solidFill>
          <a:ln w="2699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0" name="Free-form: Shape 339">
            <a:extLst>
              <a:ext uri="{FF2B5EF4-FFF2-40B4-BE49-F238E27FC236}">
                <a16:creationId xmlns:a16="http://schemas.microsoft.com/office/drawing/2014/main" id="{6F5FE6D9-8772-B2C7-18EA-748418285D67}"/>
              </a:ext>
            </a:extLst>
          </p:cNvPr>
          <p:cNvSpPr/>
          <p:nvPr/>
        </p:nvSpPr>
        <p:spPr>
          <a:xfrm flipH="1">
            <a:off x="6313128" y="4686466"/>
            <a:ext cx="86686" cy="45131"/>
          </a:xfrm>
          <a:custGeom>
            <a:avLst/>
            <a:gdLst>
              <a:gd name="csX0" fmla="*/ 62457 w 230080"/>
              <a:gd name="csY0" fmla="*/ 0 h 51402"/>
              <a:gd name="csX1" fmla="*/ 229715 w 230080"/>
              <a:gd name="csY1" fmla="*/ 2548 h 51402"/>
              <a:gd name="csX2" fmla="*/ 229033 w 230080"/>
              <a:gd name="csY2" fmla="*/ 41559 h 51402"/>
              <a:gd name="csX3" fmla="*/ 214851 w 230080"/>
              <a:gd name="csY3" fmla="*/ 50862 h 51402"/>
              <a:gd name="csX4" fmla="*/ 120527 w 230080"/>
              <a:gd name="csY4" fmla="*/ 48743 h 51402"/>
              <a:gd name="csX5" fmla="*/ 13547 w 230080"/>
              <a:gd name="csY5" fmla="*/ 51342 h 51402"/>
              <a:gd name="csX6" fmla="*/ 61 w 230080"/>
              <a:gd name="csY6" fmla="*/ 51359 h 51402"/>
              <a:gd name="csX7" fmla="*/ 4 w 230080"/>
              <a:gd name="csY7" fmla="*/ 13697 h 51402"/>
              <a:gd name="csX8" fmla="*/ 10055 w 230080"/>
              <a:gd name="csY8" fmla="*/ 2596 h 51402"/>
              <a:gd name="csX9" fmla="*/ 62457 w 230080"/>
              <a:gd name="csY9" fmla="*/ 0 h 5140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230080" h="51402">
                <a:moveTo>
                  <a:pt x="62457" y="0"/>
                </a:moveTo>
                <a:cubicBezTo>
                  <a:pt x="118516" y="838"/>
                  <a:pt x="173258" y="1679"/>
                  <a:pt x="229715" y="2548"/>
                </a:cubicBezTo>
                <a:cubicBezTo>
                  <a:pt x="229715" y="16728"/>
                  <a:pt x="230888" y="29374"/>
                  <a:pt x="229033" y="41559"/>
                </a:cubicBezTo>
                <a:cubicBezTo>
                  <a:pt x="228442" y="45440"/>
                  <a:pt x="219802" y="50868"/>
                  <a:pt x="214851" y="50862"/>
                </a:cubicBezTo>
                <a:cubicBezTo>
                  <a:pt x="183409" y="50825"/>
                  <a:pt x="151967" y="48693"/>
                  <a:pt x="120527" y="48743"/>
                </a:cubicBezTo>
                <a:cubicBezTo>
                  <a:pt x="84866" y="48800"/>
                  <a:pt x="49208" y="50434"/>
                  <a:pt x="13547" y="51342"/>
                </a:cubicBezTo>
                <a:cubicBezTo>
                  <a:pt x="8707" y="51466"/>
                  <a:pt x="3861" y="51359"/>
                  <a:pt x="61" y="51359"/>
                </a:cubicBezTo>
                <a:cubicBezTo>
                  <a:pt x="61" y="37755"/>
                  <a:pt x="210" y="25723"/>
                  <a:pt x="4" y="13697"/>
                </a:cubicBezTo>
                <a:cubicBezTo>
                  <a:pt x="-117" y="6604"/>
                  <a:pt x="2365" y="2860"/>
                  <a:pt x="10055" y="2596"/>
                </a:cubicBezTo>
                <a:cubicBezTo>
                  <a:pt x="27093" y="2012"/>
                  <a:pt x="44112" y="901"/>
                  <a:pt x="62457" y="0"/>
                </a:cubicBezTo>
                <a:close/>
              </a:path>
            </a:pathLst>
          </a:custGeom>
          <a:solidFill>
            <a:srgbClr val="CCD6DA"/>
          </a:solidFill>
          <a:ln w="2699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1" name="Free-form: Shape 340">
            <a:extLst>
              <a:ext uri="{FF2B5EF4-FFF2-40B4-BE49-F238E27FC236}">
                <a16:creationId xmlns:a16="http://schemas.microsoft.com/office/drawing/2014/main" id="{B317B93E-94EB-5940-BCD2-8901304718E8}"/>
              </a:ext>
            </a:extLst>
          </p:cNvPr>
          <p:cNvSpPr/>
          <p:nvPr/>
        </p:nvSpPr>
        <p:spPr>
          <a:xfrm>
            <a:off x="6399473" y="4411024"/>
            <a:ext cx="181158" cy="248589"/>
          </a:xfrm>
          <a:custGeom>
            <a:avLst/>
            <a:gdLst>
              <a:gd name="csX0" fmla="*/ 778 w 226548"/>
              <a:gd name="csY0" fmla="*/ 0 h 337161"/>
              <a:gd name="csX1" fmla="*/ 37702 w 226548"/>
              <a:gd name="csY1" fmla="*/ 37373 h 337161"/>
              <a:gd name="csX2" fmla="*/ 104410 w 226548"/>
              <a:gd name="csY2" fmla="*/ 29446 h 337161"/>
              <a:gd name="csX3" fmla="*/ 121584 w 226548"/>
              <a:gd name="csY3" fmla="*/ 10749 h 337161"/>
              <a:gd name="csX4" fmla="*/ 168719 w 226548"/>
              <a:gd name="csY4" fmla="*/ 53353 h 337161"/>
              <a:gd name="csX5" fmla="*/ 226548 w 226548"/>
              <a:gd name="csY5" fmla="*/ 20770 h 337161"/>
              <a:gd name="csX6" fmla="*/ 195378 w 226548"/>
              <a:gd name="csY6" fmla="*/ 100783 h 337161"/>
              <a:gd name="csX7" fmla="*/ 130693 w 226548"/>
              <a:gd name="csY7" fmla="*/ 318354 h 337161"/>
              <a:gd name="csX8" fmla="*/ 108611 w 226548"/>
              <a:gd name="csY8" fmla="*/ 336726 h 337161"/>
              <a:gd name="csX9" fmla="*/ 15990 w 226548"/>
              <a:gd name="csY9" fmla="*/ 331469 h 337161"/>
              <a:gd name="csX10" fmla="*/ 0 w 226548"/>
              <a:gd name="csY10" fmla="*/ 331485 h 337161"/>
              <a:gd name="csX11" fmla="*/ 0 w 226548"/>
              <a:gd name="csY11" fmla="*/ 1107 h 33716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226548" h="337161">
                <a:moveTo>
                  <a:pt x="778" y="0"/>
                </a:moveTo>
                <a:cubicBezTo>
                  <a:pt x="13501" y="12962"/>
                  <a:pt x="25038" y="25783"/>
                  <a:pt x="37702" y="37373"/>
                </a:cubicBezTo>
                <a:cubicBezTo>
                  <a:pt x="58156" y="56093"/>
                  <a:pt x="87159" y="53087"/>
                  <a:pt x="104410" y="29446"/>
                </a:cubicBezTo>
                <a:cubicBezTo>
                  <a:pt x="109133" y="22974"/>
                  <a:pt x="115276" y="17539"/>
                  <a:pt x="121584" y="10749"/>
                </a:cubicBezTo>
                <a:cubicBezTo>
                  <a:pt x="130376" y="32859"/>
                  <a:pt x="139680" y="52822"/>
                  <a:pt x="168719" y="53353"/>
                </a:cubicBezTo>
                <a:cubicBezTo>
                  <a:pt x="194658" y="53827"/>
                  <a:pt x="206643" y="32131"/>
                  <a:pt x="226548" y="20770"/>
                </a:cubicBezTo>
                <a:cubicBezTo>
                  <a:pt x="215744" y="48562"/>
                  <a:pt x="205876" y="74800"/>
                  <a:pt x="195378" y="100783"/>
                </a:cubicBezTo>
                <a:cubicBezTo>
                  <a:pt x="166902" y="171263"/>
                  <a:pt x="147278" y="244366"/>
                  <a:pt x="130693" y="318354"/>
                </a:cubicBezTo>
                <a:cubicBezTo>
                  <a:pt x="126342" y="337768"/>
                  <a:pt x="126276" y="337983"/>
                  <a:pt x="108611" y="336726"/>
                </a:cubicBezTo>
                <a:cubicBezTo>
                  <a:pt x="77766" y="334530"/>
                  <a:pt x="46890" y="332362"/>
                  <a:pt x="15990" y="331469"/>
                </a:cubicBezTo>
                <a:lnTo>
                  <a:pt x="0" y="331485"/>
                </a:lnTo>
                <a:lnTo>
                  <a:pt x="0" y="1107"/>
                </a:lnTo>
                <a:close/>
              </a:path>
            </a:pathLst>
          </a:custGeom>
          <a:solidFill>
            <a:schemeClr val="bg1"/>
          </a:solidFill>
          <a:ln w="2699" cap="flat">
            <a:noFill/>
            <a:prstDash val="solid"/>
            <a:miter/>
          </a:ln>
        </p:spPr>
        <p:txBody>
          <a:bodyPr wrap="squar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2" name="Free-form: Shape 341">
            <a:extLst>
              <a:ext uri="{FF2B5EF4-FFF2-40B4-BE49-F238E27FC236}">
                <a16:creationId xmlns:a16="http://schemas.microsoft.com/office/drawing/2014/main" id="{7F865BD2-F8FD-F2FB-FDA1-00E4559D8616}"/>
              </a:ext>
            </a:extLst>
          </p:cNvPr>
          <p:cNvSpPr/>
          <p:nvPr/>
        </p:nvSpPr>
        <p:spPr>
          <a:xfrm flipH="1">
            <a:off x="6308146" y="4297589"/>
            <a:ext cx="96348" cy="138988"/>
          </a:xfrm>
          <a:custGeom>
            <a:avLst/>
            <a:gdLst>
              <a:gd name="csX0" fmla="*/ 0 w 126645"/>
              <a:gd name="csY0" fmla="*/ 0 h 194142"/>
              <a:gd name="csX1" fmla="*/ 27386 w 126645"/>
              <a:gd name="csY1" fmla="*/ 7476 h 194142"/>
              <a:gd name="csX2" fmla="*/ 30588 w 126645"/>
              <a:gd name="csY2" fmla="*/ 88167 h 194142"/>
              <a:gd name="csX3" fmla="*/ 126557 w 126645"/>
              <a:gd name="csY3" fmla="*/ 139377 h 194142"/>
              <a:gd name="csX4" fmla="*/ 126645 w 126645"/>
              <a:gd name="csY4" fmla="*/ 140313 h 194142"/>
              <a:gd name="csX5" fmla="*/ 101765 w 126645"/>
              <a:gd name="csY5" fmla="*/ 163014 h 194142"/>
              <a:gd name="csX6" fmla="*/ 82313 w 126645"/>
              <a:gd name="csY6" fmla="*/ 186490 h 194142"/>
              <a:gd name="csX7" fmla="*/ 45457 w 126645"/>
              <a:gd name="csY7" fmla="*/ 184308 h 194142"/>
              <a:gd name="csX8" fmla="*/ 17297 w 126645"/>
              <a:gd name="csY8" fmla="*/ 145391 h 194142"/>
              <a:gd name="csX9" fmla="*/ 978 w 126645"/>
              <a:gd name="csY9" fmla="*/ 131516 h 194142"/>
              <a:gd name="csX10" fmla="*/ 0 w 126645"/>
              <a:gd name="csY10" fmla="*/ 132393 h 194142"/>
              <a:gd name="csX11" fmla="*/ 0 w 126645"/>
              <a:gd name="csY11" fmla="*/ 0 h 19414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126645" h="194142">
                <a:moveTo>
                  <a:pt x="0" y="0"/>
                </a:moveTo>
                <a:lnTo>
                  <a:pt x="27386" y="7476"/>
                </a:lnTo>
                <a:cubicBezTo>
                  <a:pt x="51896" y="26141"/>
                  <a:pt x="53053" y="49936"/>
                  <a:pt x="30588" y="88167"/>
                </a:cubicBezTo>
                <a:cubicBezTo>
                  <a:pt x="66790" y="97135"/>
                  <a:pt x="100367" y="110864"/>
                  <a:pt x="126557" y="139377"/>
                </a:cubicBezTo>
                <a:cubicBezTo>
                  <a:pt x="126658" y="140298"/>
                  <a:pt x="126645" y="140313"/>
                  <a:pt x="126645" y="140313"/>
                </a:cubicBezTo>
                <a:cubicBezTo>
                  <a:pt x="113236" y="142307"/>
                  <a:pt x="108459" y="153523"/>
                  <a:pt x="101765" y="163014"/>
                </a:cubicBezTo>
                <a:cubicBezTo>
                  <a:pt x="95908" y="171321"/>
                  <a:pt x="90026" y="180136"/>
                  <a:pt x="82313" y="186490"/>
                </a:cubicBezTo>
                <a:cubicBezTo>
                  <a:pt x="69278" y="197226"/>
                  <a:pt x="56874" y="196816"/>
                  <a:pt x="45457" y="184308"/>
                </a:cubicBezTo>
                <a:cubicBezTo>
                  <a:pt x="34728" y="172556"/>
                  <a:pt x="26298" y="158649"/>
                  <a:pt x="17297" y="145391"/>
                </a:cubicBezTo>
                <a:cubicBezTo>
                  <a:pt x="10996" y="136110"/>
                  <a:pt x="5957" y="131464"/>
                  <a:pt x="978" y="131516"/>
                </a:cubicBezTo>
                <a:lnTo>
                  <a:pt x="0" y="132393"/>
                </a:lnTo>
                <a:lnTo>
                  <a:pt x="0" y="0"/>
                </a:lnTo>
                <a:close/>
              </a:path>
            </a:pathLst>
          </a:custGeom>
          <a:solidFill>
            <a:srgbClr val="CCD6DA"/>
          </a:solidFill>
          <a:ln w="2699" cap="flat">
            <a:solidFill>
              <a:srgbClr val="CDD9DF"/>
            </a:solidFill>
            <a:prstDash val="solid"/>
            <a:miter/>
          </a:ln>
        </p:spPr>
        <p:txBody>
          <a:bodyPr wrap="squar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3" name="Oval 342">
            <a:extLst>
              <a:ext uri="{FF2B5EF4-FFF2-40B4-BE49-F238E27FC236}">
                <a16:creationId xmlns:a16="http://schemas.microsoft.com/office/drawing/2014/main" id="{E02996B8-C18F-5556-6C0A-2162563BF136}"/>
              </a:ext>
            </a:extLst>
          </p:cNvPr>
          <p:cNvSpPr/>
          <p:nvPr/>
        </p:nvSpPr>
        <p:spPr>
          <a:xfrm>
            <a:off x="7716407" y="3926769"/>
            <a:ext cx="656485" cy="147620"/>
          </a:xfrm>
          <a:prstGeom prst="ellipse">
            <a:avLst/>
          </a:prstGeom>
          <a:solidFill>
            <a:schemeClr val="tx1">
              <a:alpha val="5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4" name="Free-form: Shape 343">
            <a:extLst>
              <a:ext uri="{FF2B5EF4-FFF2-40B4-BE49-F238E27FC236}">
                <a16:creationId xmlns:a16="http://schemas.microsoft.com/office/drawing/2014/main" id="{B9E8C704-5858-6B56-3952-4CAEA27211F4}"/>
              </a:ext>
            </a:extLst>
          </p:cNvPr>
          <p:cNvSpPr/>
          <p:nvPr/>
        </p:nvSpPr>
        <p:spPr>
          <a:xfrm>
            <a:off x="7630428" y="3179489"/>
            <a:ext cx="880396" cy="841622"/>
          </a:xfrm>
          <a:custGeom>
            <a:avLst/>
            <a:gdLst>
              <a:gd name="csX0" fmla="*/ 401579 w 1609516"/>
              <a:gd name="csY0" fmla="*/ 1495809 h 1538630"/>
              <a:gd name="csX1" fmla="*/ 400190 w 1609516"/>
              <a:gd name="csY1" fmla="*/ 1496004 h 1538630"/>
              <a:gd name="csX2" fmla="*/ 401224 w 1609516"/>
              <a:gd name="csY2" fmla="*/ 1496470 h 1538630"/>
              <a:gd name="csX3" fmla="*/ 401224 w 1609516"/>
              <a:gd name="csY3" fmla="*/ 1498590 h 1538630"/>
              <a:gd name="csX4" fmla="*/ 401579 w 1609516"/>
              <a:gd name="csY4" fmla="*/ 1498628 h 1538630"/>
              <a:gd name="csX5" fmla="*/ 401579 w 1609516"/>
              <a:gd name="csY5" fmla="*/ 1495809 h 1538630"/>
              <a:gd name="csX6" fmla="*/ 368755 w 1609516"/>
              <a:gd name="csY6" fmla="*/ 1486512 h 1538630"/>
              <a:gd name="csX7" fmla="*/ 364089 w 1609516"/>
              <a:gd name="csY7" fmla="*/ 1487354 h 1538630"/>
              <a:gd name="csX8" fmla="*/ 364089 w 1609516"/>
              <a:gd name="csY8" fmla="*/ 1487908 h 1538630"/>
              <a:gd name="csX9" fmla="*/ 1049801 w 1609516"/>
              <a:gd name="csY9" fmla="*/ 1484562 h 1538630"/>
              <a:gd name="csX10" fmla="*/ 1046735 w 1609516"/>
              <a:gd name="csY10" fmla="*/ 1485945 h 1538630"/>
              <a:gd name="csX11" fmla="*/ 1046955 w 1609516"/>
              <a:gd name="csY11" fmla="*/ 1486045 h 1538630"/>
              <a:gd name="csX12" fmla="*/ 1049801 w 1609516"/>
              <a:gd name="csY12" fmla="*/ 1485188 h 1538630"/>
              <a:gd name="csX13" fmla="*/ 351234 w 1609516"/>
              <a:gd name="csY13" fmla="*/ 1444508 h 1538630"/>
              <a:gd name="csX14" fmla="*/ 351234 w 1609516"/>
              <a:gd name="csY14" fmla="*/ 1444997 h 1538630"/>
              <a:gd name="csX15" fmla="*/ 351592 w 1609516"/>
              <a:gd name="csY15" fmla="*/ 1445078 h 1538630"/>
              <a:gd name="csX16" fmla="*/ 351908 w 1609516"/>
              <a:gd name="csY16" fmla="*/ 1431206 h 1538630"/>
              <a:gd name="csX17" fmla="*/ 351234 w 1609516"/>
              <a:gd name="csY17" fmla="*/ 1431611 h 1538630"/>
              <a:gd name="csX18" fmla="*/ 351234 w 1609516"/>
              <a:gd name="csY18" fmla="*/ 1432274 h 1538630"/>
              <a:gd name="csX19" fmla="*/ 358162 w 1609516"/>
              <a:gd name="csY19" fmla="*/ 1421494 h 1538630"/>
              <a:gd name="csX20" fmla="*/ 355921 w 1609516"/>
              <a:gd name="csY20" fmla="*/ 1423156 h 1538630"/>
              <a:gd name="csX21" fmla="*/ 355921 w 1609516"/>
              <a:gd name="csY21" fmla="*/ 1423548 h 1538630"/>
              <a:gd name="csX22" fmla="*/ 376098 w 1609516"/>
              <a:gd name="csY22" fmla="*/ 1408347 h 1538630"/>
              <a:gd name="csX23" fmla="*/ 370750 w 1609516"/>
              <a:gd name="csY23" fmla="*/ 1412245 h 1538630"/>
              <a:gd name="csX24" fmla="*/ 375023 w 1609516"/>
              <a:gd name="csY24" fmla="*/ 1411256 h 1538630"/>
              <a:gd name="csX25" fmla="*/ 421956 w 1609516"/>
              <a:gd name="csY25" fmla="*/ 1365623 h 1538630"/>
              <a:gd name="csX26" fmla="*/ 421765 w 1609516"/>
              <a:gd name="csY26" fmla="*/ 1366161 h 1538630"/>
              <a:gd name="csX27" fmla="*/ 421887 w 1609516"/>
              <a:gd name="csY27" fmla="*/ 1366161 h 1538630"/>
              <a:gd name="csX28" fmla="*/ 754553 w 1609516"/>
              <a:gd name="csY28" fmla="*/ 1360575 h 1538630"/>
              <a:gd name="csX29" fmla="*/ 754089 w 1609516"/>
              <a:gd name="csY29" fmla="*/ 1361433 h 1538630"/>
              <a:gd name="csX30" fmla="*/ 754431 w 1609516"/>
              <a:gd name="csY30" fmla="*/ 1361125 h 1538630"/>
              <a:gd name="csX31" fmla="*/ 1277973 w 1609516"/>
              <a:gd name="csY31" fmla="*/ 1332923 h 1538630"/>
              <a:gd name="csX32" fmla="*/ 1277944 w 1609516"/>
              <a:gd name="csY32" fmla="*/ 1332936 h 1538630"/>
              <a:gd name="csX33" fmla="*/ 1277949 w 1609516"/>
              <a:gd name="csY33" fmla="*/ 1333139 h 1538630"/>
              <a:gd name="csX34" fmla="*/ 1268556 w 1609516"/>
              <a:gd name="csY34" fmla="*/ 1321066 h 1538630"/>
              <a:gd name="csX35" fmla="*/ 1268556 w 1609516"/>
              <a:gd name="csY35" fmla="*/ 1325294 h 1538630"/>
              <a:gd name="csX36" fmla="*/ 1265432 w 1609516"/>
              <a:gd name="csY36" fmla="*/ 1325294 h 1538630"/>
              <a:gd name="csX37" fmla="*/ 1265432 w 1609516"/>
              <a:gd name="csY37" fmla="*/ 1340795 h 1538630"/>
              <a:gd name="csX38" fmla="*/ 1265476 w 1609516"/>
              <a:gd name="csY38" fmla="*/ 1340714 h 1538630"/>
              <a:gd name="csX39" fmla="*/ 1265476 w 1609516"/>
              <a:gd name="csY39" fmla="*/ 1325877 h 1538630"/>
              <a:gd name="csX40" fmla="*/ 1268600 w 1609516"/>
              <a:gd name="csY40" fmla="*/ 1325877 h 1538630"/>
              <a:gd name="csX41" fmla="*/ 1268600 w 1609516"/>
              <a:gd name="csY41" fmla="*/ 1321649 h 1538630"/>
              <a:gd name="csX42" fmla="*/ 1273286 w 1609516"/>
              <a:gd name="csY42" fmla="*/ 1321649 h 1538630"/>
              <a:gd name="csX43" fmla="*/ 1273227 w 1609516"/>
              <a:gd name="csY43" fmla="*/ 1321066 h 1538630"/>
              <a:gd name="csX44" fmla="*/ 827891 w 1609516"/>
              <a:gd name="csY44" fmla="*/ 1291474 h 1538630"/>
              <a:gd name="csX45" fmla="*/ 822601 w 1609516"/>
              <a:gd name="csY45" fmla="*/ 1291544 h 1538630"/>
              <a:gd name="csX46" fmla="*/ 818272 w 1609516"/>
              <a:gd name="csY46" fmla="*/ 1292220 h 1538630"/>
              <a:gd name="csX47" fmla="*/ 827891 w 1609516"/>
              <a:gd name="csY47" fmla="*/ 1292047 h 1538630"/>
              <a:gd name="csX48" fmla="*/ 856397 w 1609516"/>
              <a:gd name="csY48" fmla="*/ 1288691 h 1538630"/>
              <a:gd name="csX49" fmla="*/ 865903 w 1609516"/>
              <a:gd name="csY49" fmla="*/ 1290590 h 1538630"/>
              <a:gd name="csX50" fmla="*/ 859999 w 1609516"/>
              <a:gd name="csY50" fmla="*/ 1288752 h 1538630"/>
              <a:gd name="csX51" fmla="*/ 834694 w 1609516"/>
              <a:gd name="csY51" fmla="*/ 1288572 h 1538630"/>
              <a:gd name="csX52" fmla="*/ 828038 w 1609516"/>
              <a:gd name="csY52" fmla="*/ 1288654 h 1538630"/>
              <a:gd name="csX53" fmla="*/ 828038 w 1609516"/>
              <a:gd name="csY53" fmla="*/ 1289214 h 1538630"/>
              <a:gd name="csX54" fmla="*/ 229746 w 1609516"/>
              <a:gd name="csY54" fmla="*/ 1191418 h 1538630"/>
              <a:gd name="csX55" fmla="*/ 227402 w 1609516"/>
              <a:gd name="csY55" fmla="*/ 1191947 h 1538630"/>
              <a:gd name="csX56" fmla="*/ 229315 w 1609516"/>
              <a:gd name="csY56" fmla="*/ 1191947 h 1538630"/>
              <a:gd name="csX57" fmla="*/ 229315 w 1609516"/>
              <a:gd name="csY57" fmla="*/ 1194765 h 1538630"/>
              <a:gd name="csX58" fmla="*/ 231321 w 1609516"/>
              <a:gd name="csY58" fmla="*/ 1194765 h 1538630"/>
              <a:gd name="csX59" fmla="*/ 229746 w 1609516"/>
              <a:gd name="csY59" fmla="*/ 1194236 h 1538630"/>
              <a:gd name="csX60" fmla="*/ 229746 w 1609516"/>
              <a:gd name="csY60" fmla="*/ 1191418 h 1538630"/>
              <a:gd name="csX61" fmla="*/ 215687 w 1609516"/>
              <a:gd name="csY61" fmla="*/ 1187190 h 1538630"/>
              <a:gd name="csX62" fmla="*/ 215198 w 1609516"/>
              <a:gd name="csY62" fmla="*/ 1187720 h 1538630"/>
              <a:gd name="csX63" fmla="*/ 215256 w 1609516"/>
              <a:gd name="csY63" fmla="*/ 1187720 h 1538630"/>
              <a:gd name="csX64" fmla="*/ 215256 w 1609516"/>
              <a:gd name="csY64" fmla="*/ 1191947 h 1538630"/>
              <a:gd name="csX65" fmla="*/ 222721 w 1609516"/>
              <a:gd name="csY65" fmla="*/ 1191947 h 1538630"/>
              <a:gd name="csX66" fmla="*/ 215687 w 1609516"/>
              <a:gd name="csY66" fmla="*/ 1191418 h 1538630"/>
              <a:gd name="csX67" fmla="*/ 215687 w 1609516"/>
              <a:gd name="csY67" fmla="*/ 1187190 h 1538630"/>
              <a:gd name="csX68" fmla="*/ 1279678 w 1609516"/>
              <a:gd name="csY68" fmla="*/ 1082356 h 1538630"/>
              <a:gd name="csX69" fmla="*/ 1271680 w 1609516"/>
              <a:gd name="csY69" fmla="*/ 1084589 h 1538630"/>
              <a:gd name="csX70" fmla="*/ 1282181 w 1609516"/>
              <a:gd name="csY70" fmla="*/ 1082544 h 1538630"/>
              <a:gd name="csX71" fmla="*/ 117703 w 1609516"/>
              <a:gd name="csY71" fmla="*/ 941507 h 1538630"/>
              <a:gd name="csX72" fmla="*/ 112587 w 1609516"/>
              <a:gd name="csY72" fmla="*/ 941985 h 1538630"/>
              <a:gd name="csX73" fmla="*/ 112565 w 1609516"/>
              <a:gd name="csY73" fmla="*/ 942333 h 1538630"/>
              <a:gd name="csX74" fmla="*/ 115665 w 1609516"/>
              <a:gd name="csY74" fmla="*/ 941837 h 1538630"/>
              <a:gd name="csX75" fmla="*/ 144268 w 1609516"/>
              <a:gd name="csY75" fmla="*/ 939395 h 1538630"/>
              <a:gd name="csX76" fmla="*/ 143354 w 1609516"/>
              <a:gd name="csY76" fmla="*/ 939580 h 1538630"/>
              <a:gd name="csX77" fmla="*/ 144077 w 1609516"/>
              <a:gd name="csY77" fmla="*/ 939739 h 1538630"/>
              <a:gd name="csX78" fmla="*/ 162575 w 1609516"/>
              <a:gd name="csY78" fmla="*/ 933530 h 1538630"/>
              <a:gd name="csX79" fmla="*/ 161704 w 1609516"/>
              <a:gd name="csY79" fmla="*/ 935101 h 1538630"/>
              <a:gd name="csX80" fmla="*/ 170045 w 1609516"/>
              <a:gd name="csY80" fmla="*/ 933585 h 1538630"/>
              <a:gd name="csX81" fmla="*/ 1321645 w 1609516"/>
              <a:gd name="csY81" fmla="*/ 918415 h 1538630"/>
              <a:gd name="csX82" fmla="*/ 1321534 w 1609516"/>
              <a:gd name="csY82" fmla="*/ 920177 h 1538630"/>
              <a:gd name="csX83" fmla="*/ 1321740 w 1609516"/>
              <a:gd name="csY83" fmla="*/ 918415 h 1538630"/>
              <a:gd name="csX84" fmla="*/ 1319333 w 1609516"/>
              <a:gd name="csY84" fmla="*/ 915183 h 1538630"/>
              <a:gd name="csX85" fmla="*/ 1318544 w 1609516"/>
              <a:gd name="csY85" fmla="*/ 918029 h 1538630"/>
              <a:gd name="csX86" fmla="*/ 1318702 w 1609516"/>
              <a:gd name="csY86" fmla="*/ 918029 h 1538630"/>
              <a:gd name="csX87" fmla="*/ 1326355 w 1609516"/>
              <a:gd name="csY87" fmla="*/ 907109 h 1538630"/>
              <a:gd name="csX88" fmla="*/ 1326355 w 1609516"/>
              <a:gd name="csY88" fmla="*/ 910983 h 1538630"/>
              <a:gd name="csX89" fmla="*/ 1325831 w 1609516"/>
              <a:gd name="csY89" fmla="*/ 911101 h 1538630"/>
              <a:gd name="csX90" fmla="*/ 1326426 w 1609516"/>
              <a:gd name="csY90" fmla="*/ 911369 h 1538630"/>
              <a:gd name="csX91" fmla="*/ 1326426 w 1609516"/>
              <a:gd name="csY91" fmla="*/ 907141 h 1538630"/>
              <a:gd name="csX92" fmla="*/ 1328144 w 1609516"/>
              <a:gd name="csY92" fmla="*/ 892192 h 1538630"/>
              <a:gd name="csX93" fmla="*/ 1327667 w 1609516"/>
              <a:gd name="csY93" fmla="*/ 893446 h 1538630"/>
              <a:gd name="csX94" fmla="*/ 1327989 w 1609516"/>
              <a:gd name="csY94" fmla="*/ 893049 h 1538630"/>
              <a:gd name="csX95" fmla="*/ 49605 w 1609516"/>
              <a:gd name="csY95" fmla="*/ 887420 h 1538630"/>
              <a:gd name="csX96" fmla="*/ 48549 w 1609516"/>
              <a:gd name="csY96" fmla="*/ 891229 h 1538630"/>
              <a:gd name="csX97" fmla="*/ 49956 w 1609516"/>
              <a:gd name="csY97" fmla="*/ 887420 h 1538630"/>
              <a:gd name="csX98" fmla="*/ 1332266 w 1609516"/>
              <a:gd name="csY98" fmla="*/ 883369 h 1538630"/>
              <a:gd name="csX99" fmla="*/ 1329479 w 1609516"/>
              <a:gd name="csY99" fmla="*/ 884207 h 1538630"/>
              <a:gd name="csX100" fmla="*/ 1329509 w 1609516"/>
              <a:gd name="csY100" fmla="*/ 884816 h 1538630"/>
              <a:gd name="csX101" fmla="*/ 1329551 w 1609516"/>
              <a:gd name="csY101" fmla="*/ 884594 h 1538630"/>
              <a:gd name="csX102" fmla="*/ 1555987 w 1609516"/>
              <a:gd name="csY102" fmla="*/ 821766 h 1538630"/>
              <a:gd name="csX103" fmla="*/ 1555987 w 1609516"/>
              <a:gd name="csY103" fmla="*/ 822201 h 1538630"/>
              <a:gd name="csX104" fmla="*/ 1556081 w 1609516"/>
              <a:gd name="csY104" fmla="*/ 822189 h 1538630"/>
              <a:gd name="csX105" fmla="*/ 1565360 w 1609516"/>
              <a:gd name="csY105" fmla="*/ 810928 h 1538630"/>
              <a:gd name="csX106" fmla="*/ 1564871 w 1609516"/>
              <a:gd name="csY106" fmla="*/ 811809 h 1538630"/>
              <a:gd name="csX107" fmla="*/ 1567314 w 1609516"/>
              <a:gd name="csY107" fmla="*/ 810928 h 1538630"/>
              <a:gd name="csX108" fmla="*/ 1563797 w 1609516"/>
              <a:gd name="csY108" fmla="*/ 810928 h 1538630"/>
              <a:gd name="csX109" fmla="*/ 1556762 w 1609516"/>
              <a:gd name="csY109" fmla="*/ 814736 h 1538630"/>
              <a:gd name="csX110" fmla="*/ 1563797 w 1609516"/>
              <a:gd name="csY110" fmla="*/ 812197 h 1538630"/>
              <a:gd name="csX111" fmla="*/ 265833 w 1609516"/>
              <a:gd name="csY111" fmla="*/ 806020 h 1538630"/>
              <a:gd name="csX112" fmla="*/ 263704 w 1609516"/>
              <a:gd name="csY112" fmla="*/ 809861 h 1538630"/>
              <a:gd name="csX113" fmla="*/ 263704 w 1609516"/>
              <a:gd name="csY113" fmla="*/ 816750 h 1538630"/>
              <a:gd name="csX114" fmla="*/ 264113 w 1609516"/>
              <a:gd name="csY114" fmla="*/ 816565 h 1538630"/>
              <a:gd name="csX115" fmla="*/ 263918 w 1609516"/>
              <a:gd name="csY115" fmla="*/ 812777 h 1538630"/>
              <a:gd name="csX116" fmla="*/ 263774 w 1609516"/>
              <a:gd name="csY116" fmla="*/ 779374 h 1538630"/>
              <a:gd name="csX117" fmla="*/ 263704 w 1609516"/>
              <a:gd name="csY117" fmla="*/ 783086 h 1538630"/>
              <a:gd name="csX118" fmla="*/ 264484 w 1609516"/>
              <a:gd name="csY118" fmla="*/ 785816 h 1538630"/>
              <a:gd name="csX119" fmla="*/ 265265 w 1609516"/>
              <a:gd name="csY119" fmla="*/ 794448 h 1538630"/>
              <a:gd name="csX120" fmla="*/ 265217 w 1609516"/>
              <a:gd name="csY120" fmla="*/ 799730 h 1538630"/>
              <a:gd name="csX121" fmla="*/ 266556 w 1609516"/>
              <a:gd name="csY121" fmla="*/ 803466 h 1538630"/>
              <a:gd name="csX122" fmla="*/ 267237 w 1609516"/>
              <a:gd name="csY122" fmla="*/ 801063 h 1538630"/>
              <a:gd name="csX123" fmla="*/ 265675 w 1609516"/>
              <a:gd name="csY123" fmla="*/ 799654 h 1538630"/>
              <a:gd name="csX124" fmla="*/ 265675 w 1609516"/>
              <a:gd name="csY124" fmla="*/ 793841 h 1538630"/>
              <a:gd name="csX125" fmla="*/ 260988 w 1609516"/>
              <a:gd name="csY125" fmla="*/ 770061 h 1538630"/>
              <a:gd name="csX126" fmla="*/ 260988 w 1609516"/>
              <a:gd name="csY126" fmla="*/ 771364 h 1538630"/>
              <a:gd name="csX127" fmla="*/ 263497 w 1609516"/>
              <a:gd name="csY127" fmla="*/ 777263 h 1538630"/>
              <a:gd name="csX128" fmla="*/ 262551 w 1609516"/>
              <a:gd name="csY128" fmla="*/ 770061 h 1538630"/>
              <a:gd name="csX129" fmla="*/ 260988 w 1609516"/>
              <a:gd name="csY129" fmla="*/ 770061 h 1538630"/>
              <a:gd name="csX130" fmla="*/ 157888 w 1609516"/>
              <a:gd name="csY130" fmla="*/ 651686 h 1538630"/>
              <a:gd name="csX131" fmla="*/ 157415 w 1609516"/>
              <a:gd name="csY131" fmla="*/ 651764 h 1538630"/>
              <a:gd name="csX132" fmla="*/ 160373 w 1609516"/>
              <a:gd name="csY132" fmla="*/ 652274 h 1538630"/>
              <a:gd name="csX133" fmla="*/ 267237 w 1609516"/>
              <a:gd name="csY133" fmla="*/ 426537 h 1538630"/>
              <a:gd name="csX134" fmla="*/ 267237 w 1609516"/>
              <a:gd name="csY134" fmla="*/ 427619 h 1538630"/>
              <a:gd name="csX135" fmla="*/ 270380 w 1609516"/>
              <a:gd name="csY135" fmla="*/ 428137 h 1538630"/>
              <a:gd name="csX136" fmla="*/ 273548 w 1609516"/>
              <a:gd name="csY136" fmla="*/ 428680 h 1538630"/>
              <a:gd name="csX137" fmla="*/ 37605 w 1609516"/>
              <a:gd name="csY137" fmla="*/ 359270 h 1538630"/>
              <a:gd name="csX138" fmla="*/ 37103 w 1609516"/>
              <a:gd name="csY138" fmla="*/ 361533 h 1538630"/>
              <a:gd name="csX139" fmla="*/ 37605 w 1609516"/>
              <a:gd name="csY139" fmla="*/ 361382 h 1538630"/>
              <a:gd name="csX140" fmla="*/ 52477 w 1609516"/>
              <a:gd name="csY140" fmla="*/ 337570 h 1538630"/>
              <a:gd name="csX141" fmla="*/ 47288 w 1609516"/>
              <a:gd name="csY141" fmla="*/ 342340 h 1538630"/>
              <a:gd name="csX142" fmla="*/ 45805 w 1609516"/>
              <a:gd name="csY142" fmla="*/ 345093 h 1538630"/>
              <a:gd name="csX143" fmla="*/ 104291 w 1609516"/>
              <a:gd name="csY143" fmla="*/ 336166 h 1538630"/>
              <a:gd name="csX144" fmla="*/ 103776 w 1609516"/>
              <a:gd name="csY144" fmla="*/ 337559 h 1538630"/>
              <a:gd name="csX145" fmla="*/ 108925 w 1609516"/>
              <a:gd name="csY145" fmla="*/ 336166 h 1538630"/>
              <a:gd name="csX146" fmla="*/ 1309237 w 1609516"/>
              <a:gd name="csY146" fmla="*/ 322954 h 1538630"/>
              <a:gd name="csX147" fmla="*/ 1309180 w 1609516"/>
              <a:gd name="csY147" fmla="*/ 330559 h 1538630"/>
              <a:gd name="csX148" fmla="*/ 1309237 w 1609516"/>
              <a:gd name="csY148" fmla="*/ 330520 h 1538630"/>
              <a:gd name="csX149" fmla="*/ 1308964 w 1609516"/>
              <a:gd name="csY149" fmla="*/ 317715 h 1538630"/>
              <a:gd name="csX150" fmla="*/ 1309237 w 1609516"/>
              <a:gd name="csY150" fmla="*/ 318569 h 1538630"/>
              <a:gd name="csX151" fmla="*/ 1309237 w 1609516"/>
              <a:gd name="csY151" fmla="*/ 317838 h 1538630"/>
              <a:gd name="csX152" fmla="*/ 1310087 w 1609516"/>
              <a:gd name="csY152" fmla="*/ 313153 h 1538630"/>
              <a:gd name="csX153" fmla="*/ 1307609 w 1609516"/>
              <a:gd name="csY153" fmla="*/ 313473 h 1538630"/>
              <a:gd name="csX154" fmla="*/ 1308045 w 1609516"/>
              <a:gd name="csY154" fmla="*/ 314836 h 1538630"/>
              <a:gd name="csX155" fmla="*/ 1318544 w 1609516"/>
              <a:gd name="csY155" fmla="*/ 312064 h 1538630"/>
              <a:gd name="csX156" fmla="*/ 1316298 w 1609516"/>
              <a:gd name="csY156" fmla="*/ 312353 h 1538630"/>
              <a:gd name="csX157" fmla="*/ 1318544 w 1609516"/>
              <a:gd name="csY157" fmla="*/ 312205 h 1538630"/>
              <a:gd name="csX158" fmla="*/ 1084622 w 1609516"/>
              <a:gd name="csY158" fmla="*/ 267674 h 1538630"/>
              <a:gd name="csX159" fmla="*/ 1084227 w 1609516"/>
              <a:gd name="csY159" fmla="*/ 268378 h 1538630"/>
              <a:gd name="csX160" fmla="*/ 1079540 w 1609516"/>
              <a:gd name="csY160" fmla="*/ 268378 h 1538630"/>
              <a:gd name="csX161" fmla="*/ 1079603 w 1609516"/>
              <a:gd name="csY161" fmla="*/ 268477 h 1538630"/>
              <a:gd name="csX162" fmla="*/ 1084192 w 1609516"/>
              <a:gd name="csY162" fmla="*/ 268477 h 1538630"/>
              <a:gd name="csX163" fmla="*/ 956410 w 1609516"/>
              <a:gd name="csY163" fmla="*/ 266968 h 1538630"/>
              <a:gd name="csX164" fmla="*/ 957576 w 1609516"/>
              <a:gd name="csY164" fmla="*/ 267083 h 1538630"/>
              <a:gd name="csX165" fmla="*/ 957576 w 1609516"/>
              <a:gd name="csY165" fmla="*/ 269776 h 1538630"/>
              <a:gd name="csX166" fmla="*/ 957694 w 1609516"/>
              <a:gd name="csY166" fmla="*/ 269787 h 1538630"/>
              <a:gd name="csX167" fmla="*/ 957694 w 1609516"/>
              <a:gd name="csY167" fmla="*/ 266968 h 1538630"/>
              <a:gd name="csX168" fmla="*/ 1089372 w 1609516"/>
              <a:gd name="csY168" fmla="*/ 259220 h 1538630"/>
              <a:gd name="csX169" fmla="*/ 1085856 w 1609516"/>
              <a:gd name="csY169" fmla="*/ 265479 h 1538630"/>
              <a:gd name="csX170" fmla="*/ 1088878 w 1609516"/>
              <a:gd name="csY170" fmla="*/ 261431 h 1538630"/>
              <a:gd name="csX171" fmla="*/ 1018517 w 1609516"/>
              <a:gd name="csY171" fmla="*/ 223356 h 1538630"/>
              <a:gd name="csX172" fmla="*/ 1013866 w 1609516"/>
              <a:gd name="csY172" fmla="*/ 226190 h 1538630"/>
              <a:gd name="csX173" fmla="*/ 1013024 w 1609516"/>
              <a:gd name="csY173" fmla="*/ 227709 h 1538630"/>
              <a:gd name="csX174" fmla="*/ 1017055 w 1609516"/>
              <a:gd name="csY174" fmla="*/ 224692 h 1538630"/>
              <a:gd name="csX175" fmla="*/ 850645 w 1609516"/>
              <a:gd name="csY175" fmla="*/ 220099 h 1538630"/>
              <a:gd name="csX176" fmla="*/ 850897 w 1609516"/>
              <a:gd name="csY176" fmla="*/ 221488 h 1538630"/>
              <a:gd name="csX177" fmla="*/ 851470 w 1609516"/>
              <a:gd name="csY177" fmla="*/ 224692 h 1538630"/>
              <a:gd name="csX178" fmla="*/ 852860 w 1609516"/>
              <a:gd name="csY178" fmla="*/ 224692 h 1538630"/>
              <a:gd name="csX179" fmla="*/ 1155019 w 1609516"/>
              <a:gd name="csY179" fmla="*/ 35 h 1538630"/>
              <a:gd name="csX180" fmla="*/ 1174829 w 1609516"/>
              <a:gd name="csY180" fmla="*/ 4853 h 1538630"/>
              <a:gd name="csX181" fmla="*/ 1179418 w 1609516"/>
              <a:gd name="csY181" fmla="*/ 5998 h 1538630"/>
              <a:gd name="csX182" fmla="*/ 1201385 w 1609516"/>
              <a:gd name="csY182" fmla="*/ 22997 h 1538630"/>
              <a:gd name="csX183" fmla="*/ 1201678 w 1609516"/>
              <a:gd name="csY183" fmla="*/ 62191 h 1538630"/>
              <a:gd name="csX184" fmla="*/ 1198261 w 1609516"/>
              <a:gd name="csY184" fmla="*/ 68268 h 1538630"/>
              <a:gd name="csX185" fmla="*/ 1195723 w 1609516"/>
              <a:gd name="csY185" fmla="*/ 72672 h 1538630"/>
              <a:gd name="csX186" fmla="*/ 1193575 w 1609516"/>
              <a:gd name="csY186" fmla="*/ 75314 h 1538630"/>
              <a:gd name="csX187" fmla="*/ 1190450 w 1609516"/>
              <a:gd name="csY187" fmla="*/ 75314 h 1538630"/>
              <a:gd name="csX188" fmla="*/ 1189474 w 1609516"/>
              <a:gd name="csY188" fmla="*/ 79366 h 1538630"/>
              <a:gd name="csX189" fmla="*/ 1182445 w 1609516"/>
              <a:gd name="csY189" fmla="*/ 85707 h 1538630"/>
              <a:gd name="csX190" fmla="*/ 1177953 w 1609516"/>
              <a:gd name="csY190" fmla="*/ 86588 h 1538630"/>
              <a:gd name="csX191" fmla="*/ 1177953 w 1609516"/>
              <a:gd name="csY191" fmla="*/ 89406 h 1538630"/>
              <a:gd name="csX192" fmla="*/ 1170045 w 1609516"/>
              <a:gd name="csY192" fmla="*/ 94251 h 1538630"/>
              <a:gd name="csX193" fmla="*/ 1143806 w 1609516"/>
              <a:gd name="csY193" fmla="*/ 132828 h 1538630"/>
              <a:gd name="csX194" fmla="*/ 1137338 w 1609516"/>
              <a:gd name="csY194" fmla="*/ 141548 h 1538630"/>
              <a:gd name="csX195" fmla="*/ 1133970 w 1609516"/>
              <a:gd name="csY195" fmla="*/ 149403 h 1538630"/>
              <a:gd name="csX196" fmla="*/ 1127965 w 1609516"/>
              <a:gd name="csY196" fmla="*/ 164095 h 1538630"/>
              <a:gd name="csX197" fmla="*/ 1124762 w 1609516"/>
              <a:gd name="csY197" fmla="*/ 171802 h 1538630"/>
              <a:gd name="csX198" fmla="*/ 1119359 w 1609516"/>
              <a:gd name="csY198" fmla="*/ 184798 h 1538630"/>
              <a:gd name="csX199" fmla="*/ 1111014 w 1609516"/>
              <a:gd name="csY199" fmla="*/ 204941 h 1538630"/>
              <a:gd name="csX200" fmla="*/ 1109729 w 1609516"/>
              <a:gd name="csY200" fmla="*/ 208059 h 1538630"/>
              <a:gd name="csX201" fmla="*/ 1106395 w 1609516"/>
              <a:gd name="csY201" fmla="*/ 216170 h 1538630"/>
              <a:gd name="csX202" fmla="*/ 1102147 w 1609516"/>
              <a:gd name="csY202" fmla="*/ 224810 h 1538630"/>
              <a:gd name="csX203" fmla="*/ 1098261 w 1609516"/>
              <a:gd name="csY203" fmla="*/ 227262 h 1538630"/>
              <a:gd name="csX204" fmla="*/ 1098367 w 1609516"/>
              <a:gd name="csY204" fmla="*/ 238475 h 1538630"/>
              <a:gd name="csX205" fmla="*/ 1097331 w 1609516"/>
              <a:gd name="csY205" fmla="*/ 242358 h 1538630"/>
              <a:gd name="csX206" fmla="*/ 1096201 w 1609516"/>
              <a:gd name="csY206" fmla="*/ 246458 h 1538630"/>
              <a:gd name="csX207" fmla="*/ 1089440 w 1609516"/>
              <a:gd name="csY207" fmla="*/ 279206 h 1538630"/>
              <a:gd name="csX208" fmla="*/ 1087316 w 1609516"/>
              <a:gd name="csY208" fmla="*/ 283978 h 1538630"/>
              <a:gd name="csX209" fmla="*/ 1086822 w 1609516"/>
              <a:gd name="csY209" fmla="*/ 291822 h 1538630"/>
              <a:gd name="csX210" fmla="*/ 1086623 w 1609516"/>
              <a:gd name="csY210" fmla="*/ 296625 h 1538630"/>
              <a:gd name="csX211" fmla="*/ 1086437 w 1609516"/>
              <a:gd name="csY211" fmla="*/ 301681 h 1538630"/>
              <a:gd name="csX212" fmla="*/ 1086233 w 1609516"/>
              <a:gd name="csY212" fmla="*/ 306754 h 1538630"/>
              <a:gd name="csX213" fmla="*/ 1086007 w 1609516"/>
              <a:gd name="csY213" fmla="*/ 312619 h 1538630"/>
              <a:gd name="csX214" fmla="*/ 1087470 w 1609516"/>
              <a:gd name="csY214" fmla="*/ 320554 h 1538630"/>
              <a:gd name="csX215" fmla="*/ 1098285 w 1609516"/>
              <a:gd name="csY215" fmla="*/ 334611 h 1538630"/>
              <a:gd name="csX216" fmla="*/ 1102607 w 1609516"/>
              <a:gd name="csY216" fmla="*/ 337679 h 1538630"/>
              <a:gd name="csX217" fmla="*/ 1106095 w 1609516"/>
              <a:gd name="csY217" fmla="*/ 340248 h 1538630"/>
              <a:gd name="csX218" fmla="*/ 1106095 w 1609516"/>
              <a:gd name="csY218" fmla="*/ 343066 h 1538630"/>
              <a:gd name="csX219" fmla="*/ 1109220 w 1609516"/>
              <a:gd name="csY219" fmla="*/ 343419 h 1538630"/>
              <a:gd name="csX220" fmla="*/ 1126403 w 1609516"/>
              <a:gd name="csY220" fmla="*/ 350112 h 1538630"/>
              <a:gd name="csX221" fmla="*/ 1131871 w 1609516"/>
              <a:gd name="csY221" fmla="*/ 352579 h 1538630"/>
              <a:gd name="csX222" fmla="*/ 1135776 w 1609516"/>
              <a:gd name="csY222" fmla="*/ 354340 h 1538630"/>
              <a:gd name="csX223" fmla="*/ 1135776 w 1609516"/>
              <a:gd name="csY223" fmla="*/ 357158 h 1538630"/>
              <a:gd name="csX224" fmla="*/ 1170143 w 1609516"/>
              <a:gd name="csY224" fmla="*/ 354340 h 1538630"/>
              <a:gd name="csX225" fmla="*/ 1174634 w 1609516"/>
              <a:gd name="csY225" fmla="*/ 352579 h 1538630"/>
              <a:gd name="csX226" fmla="*/ 1190890 w 1609516"/>
              <a:gd name="csY226" fmla="*/ 342907 h 1538630"/>
              <a:gd name="csX227" fmla="*/ 1204021 w 1609516"/>
              <a:gd name="csY227" fmla="*/ 335404 h 1538630"/>
              <a:gd name="csX228" fmla="*/ 1223255 w 1609516"/>
              <a:gd name="csY228" fmla="*/ 319110 h 1538630"/>
              <a:gd name="csX229" fmla="*/ 1226868 w 1609516"/>
              <a:gd name="csY229" fmla="*/ 315587 h 1538630"/>
              <a:gd name="csX230" fmla="*/ 1231859 w 1609516"/>
              <a:gd name="csY230" fmla="*/ 303559 h 1538630"/>
              <a:gd name="csX231" fmla="*/ 1234178 w 1609516"/>
              <a:gd name="csY231" fmla="*/ 298059 h 1538630"/>
              <a:gd name="csX232" fmla="*/ 1237314 w 1609516"/>
              <a:gd name="csY232" fmla="*/ 288195 h 1538630"/>
              <a:gd name="csX233" fmla="*/ 1249811 w 1609516"/>
              <a:gd name="csY233" fmla="*/ 265559 h 1538630"/>
              <a:gd name="csX234" fmla="*/ 1252935 w 1609516"/>
              <a:gd name="csY234" fmla="*/ 265559 h 1538630"/>
              <a:gd name="csX235" fmla="*/ 1252935 w 1609516"/>
              <a:gd name="csY235" fmla="*/ 262741 h 1538630"/>
              <a:gd name="csX236" fmla="*/ 1296675 w 1609516"/>
              <a:gd name="csY236" fmla="*/ 252876 h 1538630"/>
              <a:gd name="csX237" fmla="*/ 1307609 w 1609516"/>
              <a:gd name="csY237" fmla="*/ 255695 h 1538630"/>
              <a:gd name="csX238" fmla="*/ 1307609 w 1609516"/>
              <a:gd name="csY238" fmla="*/ 258513 h 1538630"/>
              <a:gd name="csX239" fmla="*/ 1311887 w 1609516"/>
              <a:gd name="csY239" fmla="*/ 258832 h 1538630"/>
              <a:gd name="csX240" fmla="*/ 1326715 w 1609516"/>
              <a:gd name="csY240" fmla="*/ 269969 h 1538630"/>
              <a:gd name="csX241" fmla="*/ 1334165 w 1609516"/>
              <a:gd name="csY241" fmla="*/ 307836 h 1538630"/>
              <a:gd name="csX242" fmla="*/ 1329479 w 1609516"/>
              <a:gd name="csY242" fmla="*/ 314882 h 1538630"/>
              <a:gd name="csX243" fmla="*/ 1323231 w 1609516"/>
              <a:gd name="csY243" fmla="*/ 314882 h 1538630"/>
              <a:gd name="csX244" fmla="*/ 1323231 w 1609516"/>
              <a:gd name="csY244" fmla="*/ 317700 h 1538630"/>
              <a:gd name="csX245" fmla="*/ 1322774 w 1609516"/>
              <a:gd name="csY245" fmla="*/ 317838 h 1538630"/>
              <a:gd name="csX246" fmla="*/ 1323295 w 1609516"/>
              <a:gd name="csY246" fmla="*/ 317838 h 1538630"/>
              <a:gd name="csX247" fmla="*/ 1323295 w 1609516"/>
              <a:gd name="csY247" fmla="*/ 315019 h 1538630"/>
              <a:gd name="csX248" fmla="*/ 1327982 w 1609516"/>
              <a:gd name="csY248" fmla="*/ 315019 h 1538630"/>
              <a:gd name="csX249" fmla="*/ 1317047 w 1609516"/>
              <a:gd name="csY249" fmla="*/ 327702 h 1538630"/>
              <a:gd name="csX250" fmla="*/ 1315484 w 1609516"/>
              <a:gd name="csY250" fmla="*/ 331930 h 1538630"/>
              <a:gd name="csX251" fmla="*/ 1309139 w 1609516"/>
              <a:gd name="csY251" fmla="*/ 333603 h 1538630"/>
              <a:gd name="csX252" fmla="*/ 1305666 w 1609516"/>
              <a:gd name="csY252" fmla="*/ 334280 h 1538630"/>
              <a:gd name="csX253" fmla="*/ 1302988 w 1609516"/>
              <a:gd name="csY253" fmla="*/ 334748 h 1538630"/>
              <a:gd name="csX254" fmla="*/ 1305905 w 1609516"/>
              <a:gd name="csY254" fmla="*/ 332775 h 1538630"/>
              <a:gd name="csX255" fmla="*/ 1304485 w 1609516"/>
              <a:gd name="csY255" fmla="*/ 333202 h 1538630"/>
              <a:gd name="csX256" fmla="*/ 1301459 w 1609516"/>
              <a:gd name="csY256" fmla="*/ 336108 h 1538630"/>
              <a:gd name="csX257" fmla="*/ 1291989 w 1609516"/>
              <a:gd name="csY257" fmla="*/ 338839 h 1538630"/>
              <a:gd name="csX258" fmla="*/ 1290426 w 1609516"/>
              <a:gd name="csY258" fmla="*/ 343066 h 1538630"/>
              <a:gd name="csX259" fmla="*/ 1285740 w 1609516"/>
              <a:gd name="csY259" fmla="*/ 344123 h 1538630"/>
              <a:gd name="csX260" fmla="*/ 1237314 w 1609516"/>
              <a:gd name="csY260" fmla="*/ 382525 h 1538630"/>
              <a:gd name="csX261" fmla="*/ 1232628 w 1609516"/>
              <a:gd name="csY261" fmla="*/ 392389 h 1538630"/>
              <a:gd name="csX262" fmla="*/ 1228625 w 1609516"/>
              <a:gd name="csY262" fmla="*/ 398731 h 1538630"/>
              <a:gd name="csX263" fmla="*/ 1222822 w 1609516"/>
              <a:gd name="csY263" fmla="*/ 434798 h 1538630"/>
              <a:gd name="csX264" fmla="*/ 1260746 w 1609516"/>
              <a:gd name="csY264" fmla="*/ 485398 h 1538630"/>
              <a:gd name="csX265" fmla="*/ 1268556 w 1609516"/>
              <a:gd name="csY265" fmla="*/ 488216 h 1538630"/>
              <a:gd name="csX266" fmla="*/ 1268556 w 1609516"/>
              <a:gd name="csY266" fmla="*/ 491034 h 1538630"/>
              <a:gd name="csX267" fmla="*/ 1338852 w 1609516"/>
              <a:gd name="csY267" fmla="*/ 489625 h 1538630"/>
              <a:gd name="csX268" fmla="*/ 1347444 w 1609516"/>
              <a:gd name="csY268" fmla="*/ 488480 h 1538630"/>
              <a:gd name="csX269" fmla="*/ 1369362 w 1609516"/>
              <a:gd name="csY269" fmla="*/ 482513 h 1538630"/>
              <a:gd name="csX270" fmla="*/ 1388840 w 1609516"/>
              <a:gd name="csY270" fmla="*/ 478351 h 1538630"/>
              <a:gd name="csX271" fmla="*/ 1388840 w 1609516"/>
              <a:gd name="csY271" fmla="*/ 475533 h 1538630"/>
              <a:gd name="csX272" fmla="*/ 1395576 w 1609516"/>
              <a:gd name="csY272" fmla="*/ 473419 h 1538630"/>
              <a:gd name="csX273" fmla="*/ 1399365 w 1609516"/>
              <a:gd name="csY273" fmla="*/ 472230 h 1538630"/>
              <a:gd name="csX274" fmla="*/ 1407585 w 1609516"/>
              <a:gd name="csY274" fmla="*/ 471305 h 1538630"/>
              <a:gd name="csX275" fmla="*/ 1409147 w 1609516"/>
              <a:gd name="csY275" fmla="*/ 467078 h 1538630"/>
              <a:gd name="csX276" fmla="*/ 1416470 w 1609516"/>
              <a:gd name="csY276" fmla="*/ 464259 h 1538630"/>
              <a:gd name="csX277" fmla="*/ 1437949 w 1609516"/>
              <a:gd name="csY277" fmla="*/ 455011 h 1538630"/>
              <a:gd name="csX278" fmla="*/ 1452887 w 1609516"/>
              <a:gd name="csY278" fmla="*/ 450167 h 1538630"/>
              <a:gd name="csX279" fmla="*/ 1452887 w 1609516"/>
              <a:gd name="csY279" fmla="*/ 447349 h 1538630"/>
              <a:gd name="csX280" fmla="*/ 1455394 w 1609516"/>
              <a:gd name="csY280" fmla="*/ 446122 h 1538630"/>
              <a:gd name="csX281" fmla="*/ 1466653 w 1609516"/>
              <a:gd name="csY281" fmla="*/ 440567 h 1538630"/>
              <a:gd name="csX282" fmla="*/ 1470598 w 1609516"/>
              <a:gd name="csY282" fmla="*/ 438637 h 1538630"/>
              <a:gd name="csX283" fmla="*/ 1474397 w 1609516"/>
              <a:gd name="csY283" fmla="*/ 436752 h 1538630"/>
              <a:gd name="csX284" fmla="*/ 1477892 w 1609516"/>
              <a:gd name="csY284" fmla="*/ 435030 h 1538630"/>
              <a:gd name="csX285" fmla="*/ 1485691 w 1609516"/>
              <a:gd name="csY285" fmla="*/ 429029 h 1538630"/>
              <a:gd name="csX286" fmla="*/ 1488858 w 1609516"/>
              <a:gd name="csY286" fmla="*/ 427653 h 1538630"/>
              <a:gd name="csX287" fmla="*/ 1495943 w 1609516"/>
              <a:gd name="csY287" fmla="*/ 421454 h 1538630"/>
              <a:gd name="csX288" fmla="*/ 1538608 w 1609516"/>
              <a:gd name="csY288" fmla="*/ 388338 h 1538630"/>
              <a:gd name="csX289" fmla="*/ 1543490 w 1609516"/>
              <a:gd name="csY289" fmla="*/ 388161 h 1538630"/>
              <a:gd name="csX290" fmla="*/ 1547621 w 1609516"/>
              <a:gd name="csY290" fmla="*/ 387804 h 1538630"/>
              <a:gd name="csX291" fmla="*/ 1579418 w 1609516"/>
              <a:gd name="csY291" fmla="*/ 396617 h 1538630"/>
              <a:gd name="csX292" fmla="*/ 1583342 w 1609516"/>
              <a:gd name="csY292" fmla="*/ 398780 h 1538630"/>
              <a:gd name="csX293" fmla="*/ 1601288 w 1609516"/>
              <a:gd name="csY293" fmla="*/ 423392 h 1538630"/>
              <a:gd name="csX294" fmla="*/ 1594484 w 1609516"/>
              <a:gd name="csY294" fmla="*/ 460159 h 1538630"/>
              <a:gd name="csX295" fmla="*/ 1574732 w 1609516"/>
              <a:gd name="csY295" fmla="*/ 475533 h 1538630"/>
              <a:gd name="csX296" fmla="*/ 1572097 w 1609516"/>
              <a:gd name="csY296" fmla="*/ 477078 h 1538630"/>
              <a:gd name="csX297" fmla="*/ 1556066 w 1609516"/>
              <a:gd name="csY297" fmla="*/ 478737 h 1538630"/>
              <a:gd name="csX298" fmla="*/ 1548631 w 1609516"/>
              <a:gd name="csY298" fmla="*/ 478825 h 1538630"/>
              <a:gd name="csX299" fmla="*/ 1536991 w 1609516"/>
              <a:gd name="csY299" fmla="*/ 478889 h 1538630"/>
              <a:gd name="csX300" fmla="*/ 1498188 w 1609516"/>
              <a:gd name="csY300" fmla="*/ 485398 h 1538630"/>
              <a:gd name="csX301" fmla="*/ 1493892 w 1609516"/>
              <a:gd name="csY301" fmla="*/ 487600 h 1538630"/>
              <a:gd name="csX302" fmla="*/ 1490377 w 1609516"/>
              <a:gd name="csY302" fmla="*/ 489625 h 1538630"/>
              <a:gd name="csX303" fmla="*/ 1471650 w 1609516"/>
              <a:gd name="csY303" fmla="*/ 498185 h 1538630"/>
              <a:gd name="csX304" fmla="*/ 1459135 w 1609516"/>
              <a:gd name="csY304" fmla="*/ 505127 h 1538630"/>
              <a:gd name="csX305" fmla="*/ 1452594 w 1609516"/>
              <a:gd name="csY305" fmla="*/ 508033 h 1538630"/>
              <a:gd name="csX306" fmla="*/ 1427795 w 1609516"/>
              <a:gd name="csY306" fmla="*/ 520100 h 1538630"/>
              <a:gd name="csX307" fmla="*/ 1423733 w 1609516"/>
              <a:gd name="csY307" fmla="*/ 522148 h 1538630"/>
              <a:gd name="csX308" fmla="*/ 1419929 w 1609516"/>
              <a:gd name="csY308" fmla="*/ 524118 h 1538630"/>
              <a:gd name="csX309" fmla="*/ 1416487 w 1609516"/>
              <a:gd name="csY309" fmla="*/ 525883 h 1538630"/>
              <a:gd name="csX310" fmla="*/ 1412271 w 1609516"/>
              <a:gd name="csY310" fmla="*/ 531902 h 1538630"/>
              <a:gd name="csX311" fmla="*/ 1396650 w 1609516"/>
              <a:gd name="csY311" fmla="*/ 537539 h 1538630"/>
              <a:gd name="csX312" fmla="*/ 1396650 w 1609516"/>
              <a:gd name="csY312" fmla="*/ 540357 h 1538630"/>
              <a:gd name="csX313" fmla="*/ 1393495 w 1609516"/>
              <a:gd name="csY313" fmla="*/ 541502 h 1538630"/>
              <a:gd name="csX314" fmla="*/ 1362284 w 1609516"/>
              <a:gd name="csY314" fmla="*/ 558678 h 1538630"/>
              <a:gd name="csX315" fmla="*/ 1355937 w 1609516"/>
              <a:gd name="csY315" fmla="*/ 562905 h 1538630"/>
              <a:gd name="csX316" fmla="*/ 1334165 w 1609516"/>
              <a:gd name="csY316" fmla="*/ 578406 h 1538630"/>
              <a:gd name="csX317" fmla="*/ 1331200 w 1609516"/>
              <a:gd name="csY317" fmla="*/ 580559 h 1538630"/>
              <a:gd name="csX318" fmla="*/ 1322175 w 1609516"/>
              <a:gd name="csY318" fmla="*/ 596793 h 1538630"/>
              <a:gd name="csX319" fmla="*/ 1320106 w 1609516"/>
              <a:gd name="csY319" fmla="*/ 602363 h 1538630"/>
              <a:gd name="csX320" fmla="*/ 1328015 w 1609516"/>
              <a:gd name="csY320" fmla="*/ 647640 h 1538630"/>
              <a:gd name="csX321" fmla="*/ 1332604 w 1609516"/>
              <a:gd name="csY321" fmla="*/ 675643 h 1538630"/>
              <a:gd name="csX322" fmla="*/ 1335727 w 1609516"/>
              <a:gd name="csY322" fmla="*/ 675643 h 1538630"/>
              <a:gd name="csX323" fmla="*/ 1337741 w 1609516"/>
              <a:gd name="csY323" fmla="*/ 690059 h 1538630"/>
              <a:gd name="csX324" fmla="*/ 1338003 w 1609516"/>
              <a:gd name="csY324" fmla="*/ 696222 h 1538630"/>
              <a:gd name="csX325" fmla="*/ 1338340 w 1609516"/>
              <a:gd name="csY325" fmla="*/ 705887 h 1538630"/>
              <a:gd name="csX326" fmla="*/ 1345277 w 1609516"/>
              <a:gd name="csY326" fmla="*/ 733245 h 1538630"/>
              <a:gd name="csX327" fmla="*/ 1363162 w 1609516"/>
              <a:gd name="csY327" fmla="*/ 741612 h 1538630"/>
              <a:gd name="csX328" fmla="*/ 1384154 w 1609516"/>
              <a:gd name="csY328" fmla="*/ 748922 h 1538630"/>
              <a:gd name="csX329" fmla="*/ 1391476 w 1609516"/>
              <a:gd name="csY329" fmla="*/ 750419 h 1538630"/>
              <a:gd name="csX330" fmla="*/ 1395564 w 1609516"/>
              <a:gd name="csY330" fmla="*/ 751080 h 1538630"/>
              <a:gd name="csX331" fmla="*/ 1399775 w 1609516"/>
              <a:gd name="csY331" fmla="*/ 751740 h 1538630"/>
              <a:gd name="csX332" fmla="*/ 1403887 w 1609516"/>
              <a:gd name="csY332" fmla="*/ 752489 h 1538630"/>
              <a:gd name="csX333" fmla="*/ 1465383 w 1609516"/>
              <a:gd name="csY333" fmla="*/ 755969 h 1538630"/>
              <a:gd name="csX334" fmla="*/ 1470339 w 1609516"/>
              <a:gd name="csY334" fmla="*/ 755897 h 1538630"/>
              <a:gd name="csX335" fmla="*/ 1496809 w 1609516"/>
              <a:gd name="csY335" fmla="*/ 749313 h 1538630"/>
              <a:gd name="csX336" fmla="*/ 1515371 w 1609516"/>
              <a:gd name="csY336" fmla="*/ 743285 h 1538630"/>
              <a:gd name="csX337" fmla="*/ 1515371 w 1609516"/>
              <a:gd name="csY337" fmla="*/ 740467 h 1538630"/>
              <a:gd name="csX338" fmla="*/ 1537632 w 1609516"/>
              <a:gd name="csY338" fmla="*/ 737120 h 1538630"/>
              <a:gd name="csX339" fmla="*/ 1541657 w 1609516"/>
              <a:gd name="csY339" fmla="*/ 737127 h 1538630"/>
              <a:gd name="csX340" fmla="*/ 1574732 w 1609516"/>
              <a:gd name="csY340" fmla="*/ 748922 h 1538630"/>
              <a:gd name="csX341" fmla="*/ 1588791 w 1609516"/>
              <a:gd name="csY341" fmla="*/ 792608 h 1538630"/>
              <a:gd name="csX342" fmla="*/ 1584105 w 1609516"/>
              <a:gd name="csY342" fmla="*/ 805291 h 1538630"/>
              <a:gd name="csX343" fmla="*/ 1580981 w 1609516"/>
              <a:gd name="csY343" fmla="*/ 806700 h 1538630"/>
              <a:gd name="csX344" fmla="*/ 1578735 w 1609516"/>
              <a:gd name="csY344" fmla="*/ 810311 h 1538630"/>
              <a:gd name="csX345" fmla="*/ 1576295 w 1609516"/>
              <a:gd name="csY345" fmla="*/ 813746 h 1538630"/>
              <a:gd name="csX346" fmla="*/ 1571652 w 1609516"/>
              <a:gd name="csY346" fmla="*/ 813746 h 1538630"/>
              <a:gd name="csX347" fmla="*/ 1571785 w 1609516"/>
              <a:gd name="csY347" fmla="*/ 814106 h 1538630"/>
              <a:gd name="csX348" fmla="*/ 1574909 w 1609516"/>
              <a:gd name="csY348" fmla="*/ 815515 h 1538630"/>
              <a:gd name="csX349" fmla="*/ 1565463 w 1609516"/>
              <a:gd name="csY349" fmla="*/ 821839 h 1538630"/>
              <a:gd name="csX350" fmla="*/ 1562085 w 1609516"/>
              <a:gd name="csY350" fmla="*/ 822101 h 1538630"/>
              <a:gd name="csX351" fmla="*/ 1551301 w 1609516"/>
              <a:gd name="csY351" fmla="*/ 825020 h 1538630"/>
              <a:gd name="csX352" fmla="*/ 1551301 w 1609516"/>
              <a:gd name="csY352" fmla="*/ 827838 h 1538630"/>
              <a:gd name="csX353" fmla="*/ 1485380 w 1609516"/>
              <a:gd name="csY353" fmla="*/ 815007 h 1538630"/>
              <a:gd name="csX354" fmla="*/ 1431603 w 1609516"/>
              <a:gd name="csY354" fmla="*/ 808726 h 1538630"/>
              <a:gd name="csX355" fmla="*/ 1424140 w 1609516"/>
              <a:gd name="csY355" fmla="*/ 808542 h 1538630"/>
              <a:gd name="csX356" fmla="*/ 1406023 w 1609516"/>
              <a:gd name="csY356" fmla="*/ 808109 h 1538630"/>
              <a:gd name="csX357" fmla="*/ 1406023 w 1609516"/>
              <a:gd name="csY357" fmla="*/ 810928 h 1538630"/>
              <a:gd name="csX358" fmla="*/ 1403383 w 1609516"/>
              <a:gd name="csY358" fmla="*/ 811311 h 1538630"/>
              <a:gd name="csX359" fmla="*/ 1345442 w 1609516"/>
              <a:gd name="csY359" fmla="*/ 828907 h 1538630"/>
              <a:gd name="csX360" fmla="*/ 1337875 w 1609516"/>
              <a:gd name="csY360" fmla="*/ 856639 h 1538630"/>
              <a:gd name="csX361" fmla="*/ 1337692 w 1609516"/>
              <a:gd name="csY361" fmla="*/ 860171 h 1538630"/>
              <a:gd name="csX362" fmla="*/ 1337290 w 1609516"/>
              <a:gd name="csY362" fmla="*/ 868706 h 1538630"/>
              <a:gd name="csX363" fmla="*/ 1334165 w 1609516"/>
              <a:gd name="csY363" fmla="*/ 868706 h 1538630"/>
              <a:gd name="csX364" fmla="*/ 1334165 w 1609516"/>
              <a:gd name="csY364" fmla="*/ 870034 h 1538630"/>
              <a:gd name="csX365" fmla="*/ 1334237 w 1609516"/>
              <a:gd name="csY365" fmla="*/ 869093 h 1538630"/>
              <a:gd name="csX366" fmla="*/ 1335800 w 1609516"/>
              <a:gd name="csY366" fmla="*/ 869093 h 1538630"/>
              <a:gd name="csX367" fmla="*/ 1335995 w 1609516"/>
              <a:gd name="csY367" fmla="*/ 876491 h 1538630"/>
              <a:gd name="csX368" fmla="*/ 1336105 w 1609516"/>
              <a:gd name="csY368" fmla="*/ 880653 h 1538630"/>
              <a:gd name="csX369" fmla="*/ 1334294 w 1609516"/>
              <a:gd name="csY369" fmla="*/ 887271 h 1538630"/>
              <a:gd name="csX370" fmla="*/ 1331455 w 1609516"/>
              <a:gd name="csY370" fmla="*/ 896440 h 1538630"/>
              <a:gd name="csX371" fmla="*/ 1330887 w 1609516"/>
              <a:gd name="csY371" fmla="*/ 899969 h 1538630"/>
              <a:gd name="csX372" fmla="*/ 1330332 w 1609516"/>
              <a:gd name="csY372" fmla="*/ 903618 h 1538630"/>
              <a:gd name="csX373" fmla="*/ 1329209 w 1609516"/>
              <a:gd name="csY373" fmla="*/ 910797 h 1538630"/>
              <a:gd name="csX374" fmla="*/ 1328724 w 1609516"/>
              <a:gd name="csY374" fmla="*/ 913998 h 1538630"/>
              <a:gd name="csX375" fmla="*/ 1324865 w 1609516"/>
              <a:gd name="csY375" fmla="*/ 922643 h 1538630"/>
              <a:gd name="csX376" fmla="*/ 1322619 w 1609516"/>
              <a:gd name="csY376" fmla="*/ 937979 h 1538630"/>
              <a:gd name="csX377" fmla="*/ 1318744 w 1609516"/>
              <a:gd name="csY377" fmla="*/ 944961 h 1538630"/>
              <a:gd name="csX378" fmla="*/ 1318544 w 1609516"/>
              <a:gd name="csY378" fmla="*/ 946213 h 1538630"/>
              <a:gd name="csX379" fmla="*/ 1318251 w 1609516"/>
              <a:gd name="csY379" fmla="*/ 955285 h 1538630"/>
              <a:gd name="csX380" fmla="*/ 1318184 w 1609516"/>
              <a:gd name="csY380" fmla="*/ 960036 h 1538630"/>
              <a:gd name="csX381" fmla="*/ 1324024 w 1609516"/>
              <a:gd name="csY381" fmla="*/ 973660 h 1538630"/>
              <a:gd name="csX382" fmla="*/ 1329284 w 1609516"/>
              <a:gd name="csY382" fmla="*/ 983382 h 1538630"/>
              <a:gd name="csX383" fmla="*/ 1340414 w 1609516"/>
              <a:gd name="csY383" fmla="*/ 998354 h 1538630"/>
              <a:gd name="csX384" fmla="*/ 1346272 w 1609516"/>
              <a:gd name="csY384" fmla="*/ 1005048 h 1538630"/>
              <a:gd name="csX385" fmla="*/ 1394716 w 1609516"/>
              <a:gd name="csY385" fmla="*/ 1042740 h 1538630"/>
              <a:gd name="csX386" fmla="*/ 1401953 w 1609516"/>
              <a:gd name="csY386" fmla="*/ 1047374 h 1538630"/>
              <a:gd name="csX387" fmla="*/ 1427197 w 1609516"/>
              <a:gd name="csY387" fmla="*/ 1059061 h 1538630"/>
              <a:gd name="csX388" fmla="*/ 1437265 w 1609516"/>
              <a:gd name="csY388" fmla="*/ 1064588 h 1538630"/>
              <a:gd name="csX389" fmla="*/ 1437265 w 1609516"/>
              <a:gd name="csY389" fmla="*/ 1067406 h 1538630"/>
              <a:gd name="csX390" fmla="*/ 1440878 w 1609516"/>
              <a:gd name="csY390" fmla="*/ 1067847 h 1538630"/>
              <a:gd name="csX391" fmla="*/ 1447175 w 1609516"/>
              <a:gd name="csY391" fmla="*/ 1070753 h 1538630"/>
              <a:gd name="csX392" fmla="*/ 1457866 w 1609516"/>
              <a:gd name="csY392" fmla="*/ 1076830 h 1538630"/>
              <a:gd name="csX393" fmla="*/ 1462132 w 1609516"/>
              <a:gd name="csY393" fmla="*/ 1078696 h 1538630"/>
              <a:gd name="csX394" fmla="*/ 1465383 w 1609516"/>
              <a:gd name="csY394" fmla="*/ 1080089 h 1538630"/>
              <a:gd name="csX395" fmla="*/ 1465383 w 1609516"/>
              <a:gd name="csY395" fmla="*/ 1082908 h 1538630"/>
              <a:gd name="csX396" fmla="*/ 1468758 w 1609516"/>
              <a:gd name="csY396" fmla="*/ 1083975 h 1538630"/>
              <a:gd name="csX397" fmla="*/ 1481688 w 1609516"/>
              <a:gd name="csY397" fmla="*/ 1091187 h 1538630"/>
              <a:gd name="csX398" fmla="*/ 1486283 w 1609516"/>
              <a:gd name="csY398" fmla="*/ 1094236 h 1538630"/>
              <a:gd name="csX399" fmla="*/ 1494869 w 1609516"/>
              <a:gd name="csY399" fmla="*/ 1100171 h 1538630"/>
              <a:gd name="csX400" fmla="*/ 1544335 w 1609516"/>
              <a:gd name="csY400" fmla="*/ 1109518 h 1538630"/>
              <a:gd name="csX401" fmla="*/ 1593477 w 1609516"/>
              <a:gd name="csY401" fmla="*/ 1119900 h 1538630"/>
              <a:gd name="csX402" fmla="*/ 1605975 w 1609516"/>
              <a:gd name="csY402" fmla="*/ 1144913 h 1538630"/>
              <a:gd name="csX403" fmla="*/ 1609099 w 1609516"/>
              <a:gd name="csY403" fmla="*/ 1144913 h 1538630"/>
              <a:gd name="csX404" fmla="*/ 1609392 w 1609516"/>
              <a:gd name="csY404" fmla="*/ 1156892 h 1538630"/>
              <a:gd name="csX405" fmla="*/ 1609511 w 1609516"/>
              <a:gd name="csY405" fmla="*/ 1160272 h 1538630"/>
              <a:gd name="csX406" fmla="*/ 1604412 w 1609516"/>
              <a:gd name="csY406" fmla="*/ 1181553 h 1538630"/>
              <a:gd name="csX407" fmla="*/ 1601288 w 1609516"/>
              <a:gd name="csY407" fmla="*/ 1190009 h 1538630"/>
              <a:gd name="csX408" fmla="*/ 1598164 w 1609516"/>
              <a:gd name="csY408" fmla="*/ 1190009 h 1538630"/>
              <a:gd name="csX409" fmla="*/ 1597187 w 1609516"/>
              <a:gd name="csY409" fmla="*/ 1192739 h 1538630"/>
              <a:gd name="csX410" fmla="*/ 1595040 w 1609516"/>
              <a:gd name="csY410" fmla="*/ 1195645 h 1538630"/>
              <a:gd name="csX411" fmla="*/ 1585667 w 1609516"/>
              <a:gd name="csY411" fmla="*/ 1197055 h 1538630"/>
              <a:gd name="csX412" fmla="*/ 1582543 w 1609516"/>
              <a:gd name="csY412" fmla="*/ 1202691 h 1538630"/>
              <a:gd name="csX413" fmla="*/ 1562431 w 1609516"/>
              <a:gd name="csY413" fmla="*/ 1204365 h 1538630"/>
              <a:gd name="csX414" fmla="*/ 1558690 w 1609516"/>
              <a:gd name="csY414" fmla="*/ 1204417 h 1538630"/>
              <a:gd name="csX415" fmla="*/ 1521102 w 1609516"/>
              <a:gd name="csY415" fmla="*/ 1189585 h 1538630"/>
              <a:gd name="csX416" fmla="*/ 1505022 w 1609516"/>
              <a:gd name="csY416" fmla="*/ 1172041 h 1538630"/>
              <a:gd name="csX417" fmla="*/ 1457573 w 1609516"/>
              <a:gd name="csY417" fmla="*/ 1140686 h 1538630"/>
              <a:gd name="csX418" fmla="*/ 1457573 w 1609516"/>
              <a:gd name="csY418" fmla="*/ 1137867 h 1538630"/>
              <a:gd name="csX419" fmla="*/ 1452985 w 1609516"/>
              <a:gd name="csY419" fmla="*/ 1137339 h 1538630"/>
              <a:gd name="csX420" fmla="*/ 1448200 w 1609516"/>
              <a:gd name="csY420" fmla="*/ 1136458 h 1538630"/>
              <a:gd name="csX421" fmla="*/ 1446638 w 1609516"/>
              <a:gd name="csY421" fmla="*/ 1133640 h 1538630"/>
              <a:gd name="csX422" fmla="*/ 1438937 w 1609516"/>
              <a:gd name="csY422" fmla="*/ 1130601 h 1538630"/>
              <a:gd name="csX423" fmla="*/ 1429260 w 1609516"/>
              <a:gd name="csY423" fmla="*/ 1126770 h 1538630"/>
              <a:gd name="csX424" fmla="*/ 1411393 w 1609516"/>
              <a:gd name="csY424" fmla="*/ 1120340 h 1538630"/>
              <a:gd name="csX425" fmla="*/ 1391427 w 1609516"/>
              <a:gd name="csY425" fmla="*/ 1111191 h 1538630"/>
              <a:gd name="csX426" fmla="*/ 1381029 w 1609516"/>
              <a:gd name="csY426" fmla="*/ 1106865 h 1538630"/>
              <a:gd name="csX427" fmla="*/ 1381029 w 1609516"/>
              <a:gd name="csY427" fmla="*/ 1104046 h 1538630"/>
              <a:gd name="csX428" fmla="*/ 1377221 w 1609516"/>
              <a:gd name="csY428" fmla="*/ 1103605 h 1538630"/>
              <a:gd name="csX429" fmla="*/ 1357597 w 1609516"/>
              <a:gd name="csY429" fmla="*/ 1098409 h 1538630"/>
              <a:gd name="csX430" fmla="*/ 1352032 w 1609516"/>
              <a:gd name="csY430" fmla="*/ 1096736 h 1538630"/>
              <a:gd name="csX431" fmla="*/ 1348225 w 1609516"/>
              <a:gd name="csY431" fmla="*/ 1095590 h 1538630"/>
              <a:gd name="csX432" fmla="*/ 1348225 w 1609516"/>
              <a:gd name="csY432" fmla="*/ 1092772 h 1538630"/>
              <a:gd name="csX433" fmla="*/ 1337290 w 1609516"/>
              <a:gd name="csY433" fmla="*/ 1091363 h 1538630"/>
              <a:gd name="csX434" fmla="*/ 1337290 w 1609516"/>
              <a:gd name="csY434" fmla="*/ 1088544 h 1538630"/>
              <a:gd name="csX435" fmla="*/ 1331529 w 1609516"/>
              <a:gd name="csY435" fmla="*/ 1088104 h 1538630"/>
              <a:gd name="csX436" fmla="*/ 1323297 w 1609516"/>
              <a:gd name="csY436" fmla="*/ 1086611 h 1538630"/>
              <a:gd name="csX437" fmla="*/ 1323297 w 1609516"/>
              <a:gd name="csY437" fmla="*/ 1087618 h 1538630"/>
              <a:gd name="csX438" fmla="*/ 1319789 w 1609516"/>
              <a:gd name="csY438" fmla="*/ 1087310 h 1538630"/>
              <a:gd name="csX439" fmla="*/ 1262375 w 1609516"/>
              <a:gd name="csY439" fmla="*/ 1089028 h 1538630"/>
              <a:gd name="csX440" fmla="*/ 1258728 w 1609516"/>
              <a:gd name="csY440" fmla="*/ 1088205 h 1538630"/>
              <a:gd name="csX441" fmla="*/ 1246964 w 1609516"/>
              <a:gd name="csY441" fmla="*/ 1091489 h 1538630"/>
              <a:gd name="csX442" fmla="*/ 1223224 w 1609516"/>
              <a:gd name="csY442" fmla="*/ 1112865 h 1538630"/>
              <a:gd name="csX443" fmla="*/ 1213883 w 1609516"/>
              <a:gd name="csY443" fmla="*/ 1122366 h 1538630"/>
              <a:gd name="csX444" fmla="*/ 1212505 w 1609516"/>
              <a:gd name="csY444" fmla="*/ 1125708 h 1538630"/>
              <a:gd name="csX445" fmla="*/ 1204180 w 1609516"/>
              <a:gd name="csY445" fmla="*/ 1135561 h 1538630"/>
              <a:gd name="csX446" fmla="*/ 1200238 w 1609516"/>
              <a:gd name="csY446" fmla="*/ 1138999 h 1538630"/>
              <a:gd name="csX447" fmla="*/ 1192025 w 1609516"/>
              <a:gd name="csY447" fmla="*/ 1146022 h 1538630"/>
              <a:gd name="csX448" fmla="*/ 1173945 w 1609516"/>
              <a:gd name="csY448" fmla="*/ 1174749 h 1538630"/>
              <a:gd name="csX449" fmla="*/ 1173950 w 1609516"/>
              <a:gd name="csY449" fmla="*/ 1182610 h 1538630"/>
              <a:gd name="csX450" fmla="*/ 1173989 w 1609516"/>
              <a:gd name="csY450" fmla="*/ 1186765 h 1538630"/>
              <a:gd name="csX451" fmla="*/ 1182640 w 1609516"/>
              <a:gd name="csY451" fmla="*/ 1215374 h 1538630"/>
              <a:gd name="csX452" fmla="*/ 1185764 w 1609516"/>
              <a:gd name="csY452" fmla="*/ 1221804 h 1538630"/>
              <a:gd name="csX453" fmla="*/ 1187301 w 1609516"/>
              <a:gd name="csY453" fmla="*/ 1224859 h 1538630"/>
              <a:gd name="csX454" fmla="*/ 1190573 w 1609516"/>
              <a:gd name="csY454" fmla="*/ 1231740 h 1538630"/>
              <a:gd name="csX455" fmla="*/ 1205925 w 1609516"/>
              <a:gd name="csY455" fmla="*/ 1255163 h 1538630"/>
              <a:gd name="csX456" fmla="*/ 1212174 w 1609516"/>
              <a:gd name="csY456" fmla="*/ 1263134 h 1538630"/>
              <a:gd name="csX457" fmla="*/ 1235556 w 1609516"/>
              <a:gd name="csY457" fmla="*/ 1282538 h 1538630"/>
              <a:gd name="csX458" fmla="*/ 1238876 w 1609516"/>
              <a:gd name="csY458" fmla="*/ 1284426 h 1538630"/>
              <a:gd name="csX459" fmla="*/ 1238876 w 1609516"/>
              <a:gd name="csY459" fmla="*/ 1287245 h 1538630"/>
              <a:gd name="csX460" fmla="*/ 1242245 w 1609516"/>
              <a:gd name="csY460" fmla="*/ 1287663 h 1538630"/>
              <a:gd name="csX461" fmla="*/ 1271681 w 1609516"/>
              <a:gd name="csY461" fmla="*/ 1305565 h 1538630"/>
              <a:gd name="csX462" fmla="*/ 1271742 w 1609516"/>
              <a:gd name="csY462" fmla="*/ 1306172 h 1538630"/>
              <a:gd name="csX463" fmla="*/ 1278525 w 1609516"/>
              <a:gd name="csY463" fmla="*/ 1315767 h 1538630"/>
              <a:gd name="csX464" fmla="*/ 1281097 w 1609516"/>
              <a:gd name="csY464" fmla="*/ 1327286 h 1538630"/>
              <a:gd name="csX465" fmla="*/ 1277973 w 1609516"/>
              <a:gd name="csY465" fmla="*/ 1355470 h 1538630"/>
              <a:gd name="csX466" fmla="*/ 1277460 w 1609516"/>
              <a:gd name="csY466" fmla="*/ 1347025 h 1538630"/>
              <a:gd name="csX467" fmla="*/ 1273531 w 1609516"/>
              <a:gd name="csY467" fmla="*/ 1357991 h 1538630"/>
              <a:gd name="csX468" fmla="*/ 1263870 w 1609516"/>
              <a:gd name="csY468" fmla="*/ 1368980 h 1538630"/>
              <a:gd name="csX469" fmla="*/ 1246686 w 1609516"/>
              <a:gd name="csY469" fmla="*/ 1376026 h 1538630"/>
              <a:gd name="csX470" fmla="*/ 1246686 w 1609516"/>
              <a:gd name="csY470" fmla="*/ 1378844 h 1538630"/>
              <a:gd name="csX471" fmla="*/ 1231651 w 1609516"/>
              <a:gd name="csY471" fmla="*/ 1379196 h 1538630"/>
              <a:gd name="csX472" fmla="*/ 1227373 w 1609516"/>
              <a:gd name="csY472" fmla="*/ 1379340 h 1538630"/>
              <a:gd name="csX473" fmla="*/ 1206071 w 1609516"/>
              <a:gd name="csY473" fmla="*/ 1373207 h 1538630"/>
              <a:gd name="csX474" fmla="*/ 1202069 w 1609516"/>
              <a:gd name="csY474" fmla="*/ 1371798 h 1538630"/>
              <a:gd name="csX475" fmla="*/ 1184104 w 1609516"/>
              <a:gd name="csY475" fmla="*/ 1356176 h 1538630"/>
              <a:gd name="csX476" fmla="*/ 1177270 w 1609516"/>
              <a:gd name="csY476" fmla="*/ 1335247 h 1538630"/>
              <a:gd name="csX477" fmla="*/ 1169002 w 1609516"/>
              <a:gd name="csY477" fmla="*/ 1313464 h 1538630"/>
              <a:gd name="csX478" fmla="*/ 1163504 w 1609516"/>
              <a:gd name="csY478" fmla="*/ 1302130 h 1538630"/>
              <a:gd name="csX479" fmla="*/ 1162015 w 1609516"/>
              <a:gd name="csY479" fmla="*/ 1298788 h 1538630"/>
              <a:gd name="csX480" fmla="*/ 1160111 w 1609516"/>
              <a:gd name="csY480" fmla="*/ 1292656 h 1538630"/>
              <a:gd name="csX481" fmla="*/ 1154522 w 1609516"/>
              <a:gd name="csY481" fmla="*/ 1287245 h 1538630"/>
              <a:gd name="csX482" fmla="*/ 1151398 w 1609516"/>
              <a:gd name="csY482" fmla="*/ 1280199 h 1538630"/>
              <a:gd name="csX483" fmla="*/ 1144173 w 1609516"/>
              <a:gd name="csY483" fmla="*/ 1270774 h 1538630"/>
              <a:gd name="csX484" fmla="*/ 1142065 w 1609516"/>
              <a:gd name="csY484" fmla="*/ 1268160 h 1538630"/>
              <a:gd name="csX485" fmla="*/ 1135776 w 1609516"/>
              <a:gd name="csY485" fmla="*/ 1260470 h 1538630"/>
              <a:gd name="csX486" fmla="*/ 1132353 w 1609516"/>
              <a:gd name="csY486" fmla="*/ 1256247 h 1538630"/>
              <a:gd name="csX487" fmla="*/ 1112344 w 1609516"/>
              <a:gd name="csY487" fmla="*/ 1240741 h 1538630"/>
              <a:gd name="csX488" fmla="*/ 1106193 w 1609516"/>
              <a:gd name="csY488" fmla="*/ 1237570 h 1538630"/>
              <a:gd name="csX489" fmla="*/ 1101409 w 1609516"/>
              <a:gd name="csY489" fmla="*/ 1235104 h 1538630"/>
              <a:gd name="csX490" fmla="*/ 1101409 w 1609516"/>
              <a:gd name="csY490" fmla="*/ 1230876 h 1538630"/>
              <a:gd name="csX491" fmla="*/ 1065480 w 1609516"/>
              <a:gd name="csY491" fmla="*/ 1230876 h 1538630"/>
              <a:gd name="csX492" fmla="*/ 1063919 w 1609516"/>
              <a:gd name="csY492" fmla="*/ 1235104 h 1538630"/>
              <a:gd name="csX493" fmla="*/ 1059232 w 1609516"/>
              <a:gd name="csY493" fmla="*/ 1235104 h 1538630"/>
              <a:gd name="csX494" fmla="*/ 1059232 w 1609516"/>
              <a:gd name="csY494" fmla="*/ 1237922 h 1538630"/>
              <a:gd name="csX495" fmla="*/ 1040194 w 1609516"/>
              <a:gd name="csY495" fmla="*/ 1245761 h 1538630"/>
              <a:gd name="csX496" fmla="*/ 1030333 w 1609516"/>
              <a:gd name="csY496" fmla="*/ 1249901 h 1538630"/>
              <a:gd name="csX497" fmla="*/ 1013931 w 1609516"/>
              <a:gd name="csY497" fmla="*/ 1256242 h 1538630"/>
              <a:gd name="csX498" fmla="*/ 1005925 w 1609516"/>
              <a:gd name="csY498" fmla="*/ 1261615 h 1538630"/>
              <a:gd name="csX499" fmla="*/ 1004558 w 1609516"/>
              <a:gd name="csY499" fmla="*/ 1264697 h 1538630"/>
              <a:gd name="csX500" fmla="*/ 1002959 w 1609516"/>
              <a:gd name="csY500" fmla="*/ 1267961 h 1538630"/>
              <a:gd name="csX501" fmla="*/ 1000653 w 1609516"/>
              <a:gd name="csY501" fmla="*/ 1278965 h 1538630"/>
              <a:gd name="csX502" fmla="*/ 998297 w 1609516"/>
              <a:gd name="csY502" fmla="*/ 1294137 h 1538630"/>
              <a:gd name="csX503" fmla="*/ 996162 w 1609516"/>
              <a:gd name="csY503" fmla="*/ 1324765 h 1538630"/>
              <a:gd name="csX504" fmla="*/ 996164 w 1609516"/>
              <a:gd name="csY504" fmla="*/ 1327846 h 1538630"/>
              <a:gd name="csX505" fmla="*/ 1007780 w 1609516"/>
              <a:gd name="csY505" fmla="*/ 1403329 h 1538630"/>
              <a:gd name="csX506" fmla="*/ 1008940 w 1609516"/>
              <a:gd name="csY506" fmla="*/ 1407701 h 1538630"/>
              <a:gd name="csX507" fmla="*/ 1010080 w 1609516"/>
              <a:gd name="csY507" fmla="*/ 1411730 h 1538630"/>
              <a:gd name="csX508" fmla="*/ 1011075 w 1609516"/>
              <a:gd name="csY508" fmla="*/ 1415277 h 1538630"/>
              <a:gd name="csX509" fmla="*/ 1017055 w 1609516"/>
              <a:gd name="csY509" fmla="*/ 1422530 h 1538630"/>
              <a:gd name="csX510" fmla="*/ 1020277 w 1609516"/>
              <a:gd name="csY510" fmla="*/ 1427991 h 1538630"/>
              <a:gd name="csX511" fmla="*/ 1021796 w 1609516"/>
              <a:gd name="csY511" fmla="*/ 1430798 h 1538630"/>
              <a:gd name="csX512" fmla="*/ 1024579 w 1609516"/>
              <a:gd name="csY512" fmla="*/ 1437239 h 1538630"/>
              <a:gd name="csX513" fmla="*/ 1034043 w 1609516"/>
              <a:gd name="csY513" fmla="*/ 1448072 h 1538630"/>
              <a:gd name="csX514" fmla="*/ 1043782 w 1609516"/>
              <a:gd name="csY514" fmla="*/ 1464320 h 1538630"/>
              <a:gd name="csX515" fmla="*/ 1050458 w 1609516"/>
              <a:gd name="csY515" fmla="*/ 1472189 h 1538630"/>
              <a:gd name="csX516" fmla="*/ 1052926 w 1609516"/>
              <a:gd name="csY516" fmla="*/ 1482370 h 1538630"/>
              <a:gd name="csX517" fmla="*/ 1053316 w 1609516"/>
              <a:gd name="csY517" fmla="*/ 1496903 h 1538630"/>
              <a:gd name="csX518" fmla="*/ 1053352 w 1609516"/>
              <a:gd name="csY518" fmla="*/ 1500660 h 1538630"/>
              <a:gd name="csX519" fmla="*/ 1053341 w 1609516"/>
              <a:gd name="csY519" fmla="*/ 1504285 h 1538630"/>
              <a:gd name="csX520" fmla="*/ 1053329 w 1609516"/>
              <a:gd name="csY520" fmla="*/ 1507529 h 1538630"/>
              <a:gd name="csX521" fmla="*/ 1049801 w 1609516"/>
              <a:gd name="csY521" fmla="*/ 1516192 h 1538630"/>
              <a:gd name="csX522" fmla="*/ 1047312 w 1609516"/>
              <a:gd name="csY522" fmla="*/ 1516192 h 1538630"/>
              <a:gd name="csX523" fmla="*/ 1043611 w 1609516"/>
              <a:gd name="csY523" fmla="*/ 1522585 h 1538630"/>
              <a:gd name="csX524" fmla="*/ 1029552 w 1609516"/>
              <a:gd name="csY524" fmla="*/ 1529631 h 1538630"/>
              <a:gd name="csX525" fmla="*/ 1028771 w 1609516"/>
              <a:gd name="csY525" fmla="*/ 1532273 h 1538630"/>
              <a:gd name="csX526" fmla="*/ 1018013 w 1609516"/>
              <a:gd name="csY526" fmla="*/ 1537640 h 1538630"/>
              <a:gd name="csX527" fmla="*/ 981126 w 1609516"/>
              <a:gd name="csY527" fmla="*/ 1533859 h 1538630"/>
              <a:gd name="csX528" fmla="*/ 977227 w 1609516"/>
              <a:gd name="csY528" fmla="*/ 1531943 h 1538630"/>
              <a:gd name="csX529" fmla="*/ 955376 w 1609516"/>
              <a:gd name="csY529" fmla="*/ 1508751 h 1538630"/>
              <a:gd name="csX530" fmla="*/ 954571 w 1609516"/>
              <a:gd name="csY530" fmla="*/ 1500037 h 1538630"/>
              <a:gd name="csX531" fmla="*/ 951446 w 1609516"/>
              <a:gd name="csY531" fmla="*/ 1500037 h 1538630"/>
              <a:gd name="csX532" fmla="*/ 951251 w 1609516"/>
              <a:gd name="csY532" fmla="*/ 1487883 h 1538630"/>
              <a:gd name="csX533" fmla="*/ 951171 w 1609516"/>
              <a:gd name="csY533" fmla="*/ 1484431 h 1538630"/>
              <a:gd name="csX534" fmla="*/ 954571 w 1609516"/>
              <a:gd name="csY534" fmla="*/ 1466216 h 1538630"/>
              <a:gd name="csX535" fmla="*/ 954961 w 1609516"/>
              <a:gd name="csY535" fmla="*/ 1455118 h 1538630"/>
              <a:gd name="csX536" fmla="*/ 954932 w 1609516"/>
              <a:gd name="csY536" fmla="*/ 1451972 h 1538630"/>
              <a:gd name="csX537" fmla="*/ 945099 w 1609516"/>
              <a:gd name="csY537" fmla="*/ 1403594 h 1538630"/>
              <a:gd name="csX538" fmla="*/ 942366 w 1609516"/>
              <a:gd name="csY538" fmla="*/ 1393553 h 1538630"/>
              <a:gd name="csX539" fmla="*/ 934451 w 1609516"/>
              <a:gd name="csY539" fmla="*/ 1372734 h 1538630"/>
              <a:gd name="csX540" fmla="*/ 931974 w 1609516"/>
              <a:gd name="csY540" fmla="*/ 1365754 h 1538630"/>
              <a:gd name="csX541" fmla="*/ 931138 w 1609516"/>
              <a:gd name="csY541" fmla="*/ 1363343 h 1538630"/>
              <a:gd name="csX542" fmla="*/ 926452 w 1609516"/>
              <a:gd name="csY542" fmla="*/ 1361933 h 1538630"/>
              <a:gd name="csX543" fmla="*/ 918641 w 1609516"/>
              <a:gd name="csY543" fmla="*/ 1340795 h 1538630"/>
              <a:gd name="csX544" fmla="*/ 917079 w 1609516"/>
              <a:gd name="csY544" fmla="*/ 1335158 h 1538630"/>
              <a:gd name="csX545" fmla="*/ 913955 w 1609516"/>
              <a:gd name="csY545" fmla="*/ 1335158 h 1538630"/>
              <a:gd name="csX546" fmla="*/ 912057 w 1609516"/>
              <a:gd name="csY546" fmla="*/ 1330793 h 1538630"/>
              <a:gd name="csX547" fmla="*/ 902142 w 1609516"/>
              <a:gd name="csY547" fmla="*/ 1316222 h 1538630"/>
              <a:gd name="csX548" fmla="*/ 900091 w 1609516"/>
              <a:gd name="csY548" fmla="*/ 1313828 h 1538630"/>
              <a:gd name="csX549" fmla="*/ 878026 w 1609516"/>
              <a:gd name="csY549" fmla="*/ 1295700 h 1538630"/>
              <a:gd name="csX550" fmla="*/ 875134 w 1609516"/>
              <a:gd name="csY550" fmla="*/ 1293465 h 1538630"/>
              <a:gd name="csX551" fmla="*/ 869869 w 1609516"/>
              <a:gd name="csY551" fmla="*/ 1291826 h 1538630"/>
              <a:gd name="csX552" fmla="*/ 862384 w 1609516"/>
              <a:gd name="csY552" fmla="*/ 1291327 h 1538630"/>
              <a:gd name="csX553" fmla="*/ 844390 w 1609516"/>
              <a:gd name="csY553" fmla="*/ 1290461 h 1538630"/>
              <a:gd name="csX554" fmla="*/ 840476 w 1609516"/>
              <a:gd name="csY554" fmla="*/ 1290500 h 1538630"/>
              <a:gd name="csX555" fmla="*/ 831015 w 1609516"/>
              <a:gd name="csY555" fmla="*/ 1290637 h 1538630"/>
              <a:gd name="csX556" fmla="*/ 831015 w 1609516"/>
              <a:gd name="csY556" fmla="*/ 1293456 h 1538630"/>
              <a:gd name="csX557" fmla="*/ 818225 w 1609516"/>
              <a:gd name="csY557" fmla="*/ 1295570 h 1538630"/>
              <a:gd name="csX558" fmla="*/ 796774 w 1609516"/>
              <a:gd name="csY558" fmla="*/ 1297671 h 1538630"/>
              <a:gd name="csX559" fmla="*/ 783646 w 1609516"/>
              <a:gd name="csY559" fmla="*/ 1305736 h 1538630"/>
              <a:gd name="csX560" fmla="*/ 769263 w 1609516"/>
              <a:gd name="csY560" fmla="*/ 1327143 h 1538630"/>
              <a:gd name="csX561" fmla="*/ 764797 w 1609516"/>
              <a:gd name="csY561" fmla="*/ 1334360 h 1538630"/>
              <a:gd name="csX562" fmla="*/ 757875 w 1609516"/>
              <a:gd name="csY562" fmla="*/ 1353503 h 1538630"/>
              <a:gd name="csX563" fmla="*/ 755676 w 1609516"/>
              <a:gd name="csY563" fmla="*/ 1367455 h 1538630"/>
              <a:gd name="csX564" fmla="*/ 750558 w 1609516"/>
              <a:gd name="csY564" fmla="*/ 1399690 h 1538630"/>
              <a:gd name="csX565" fmla="*/ 753057 w 1609516"/>
              <a:gd name="csY565" fmla="*/ 1411256 h 1538630"/>
              <a:gd name="csX566" fmla="*/ 753057 w 1609516"/>
              <a:gd name="csY566" fmla="*/ 1416893 h 1538630"/>
              <a:gd name="csX567" fmla="*/ 756181 w 1609516"/>
              <a:gd name="csY567" fmla="*/ 1416893 h 1538630"/>
              <a:gd name="csX568" fmla="*/ 758133 w 1609516"/>
              <a:gd name="csY568" fmla="*/ 1436182 h 1538630"/>
              <a:gd name="csX569" fmla="*/ 758231 w 1609516"/>
              <a:gd name="csY569" fmla="*/ 1440781 h 1538630"/>
              <a:gd name="csX570" fmla="*/ 750713 w 1609516"/>
              <a:gd name="csY570" fmla="*/ 1465704 h 1538630"/>
              <a:gd name="csX571" fmla="*/ 748370 w 1609516"/>
              <a:gd name="csY571" fmla="*/ 1467185 h 1538630"/>
              <a:gd name="csX572" fmla="*/ 741633 w 1609516"/>
              <a:gd name="csY572" fmla="*/ 1473526 h 1538630"/>
              <a:gd name="csX573" fmla="*/ 728154 w 1609516"/>
              <a:gd name="csY573" fmla="*/ 1478343 h 1538630"/>
              <a:gd name="csX574" fmla="*/ 721814 w 1609516"/>
              <a:gd name="csY574" fmla="*/ 1480308 h 1538630"/>
              <a:gd name="csX575" fmla="*/ 708341 w 1609516"/>
              <a:gd name="csY575" fmla="*/ 1480661 h 1538630"/>
              <a:gd name="csX576" fmla="*/ 704637 w 1609516"/>
              <a:gd name="csY576" fmla="*/ 1480748 h 1538630"/>
              <a:gd name="csX577" fmla="*/ 668507 w 1609516"/>
              <a:gd name="csY577" fmla="*/ 1468418 h 1538630"/>
              <a:gd name="csX578" fmla="*/ 660178 w 1609516"/>
              <a:gd name="csY578" fmla="*/ 1450027 h 1538630"/>
              <a:gd name="csX579" fmla="*/ 657767 w 1609516"/>
              <a:gd name="csY579" fmla="*/ 1445078 h 1538630"/>
              <a:gd name="csX580" fmla="*/ 663369 w 1609516"/>
              <a:gd name="csY580" fmla="*/ 1409390 h 1538630"/>
              <a:gd name="csX581" fmla="*/ 671826 w 1609516"/>
              <a:gd name="csY581" fmla="*/ 1401392 h 1538630"/>
              <a:gd name="csX582" fmla="*/ 678075 w 1609516"/>
              <a:gd name="csY582" fmla="*/ 1390118 h 1538630"/>
              <a:gd name="csX583" fmla="*/ 684323 w 1609516"/>
              <a:gd name="csY583" fmla="*/ 1388709 h 1538630"/>
              <a:gd name="csX584" fmla="*/ 685293 w 1609516"/>
              <a:gd name="csY584" fmla="*/ 1384233 h 1538630"/>
              <a:gd name="csX585" fmla="*/ 686569 w 1609516"/>
              <a:gd name="csY585" fmla="*/ 1378404 h 1538630"/>
              <a:gd name="csX586" fmla="*/ 687207 w 1609516"/>
              <a:gd name="csY586" fmla="*/ 1375456 h 1538630"/>
              <a:gd name="csX587" fmla="*/ 690572 w 1609516"/>
              <a:gd name="csY587" fmla="*/ 1363343 h 1538630"/>
              <a:gd name="csX588" fmla="*/ 692495 w 1609516"/>
              <a:gd name="csY588" fmla="*/ 1323376 h 1538630"/>
              <a:gd name="csX589" fmla="*/ 692625 w 1609516"/>
              <a:gd name="csY589" fmla="*/ 1315006 h 1538630"/>
              <a:gd name="csX590" fmla="*/ 687447 w 1609516"/>
              <a:gd name="csY590" fmla="*/ 1287245 h 1538630"/>
              <a:gd name="csX591" fmla="*/ 682761 w 1609516"/>
              <a:gd name="csY591" fmla="*/ 1285835 h 1538630"/>
              <a:gd name="csX592" fmla="*/ 678954 w 1609516"/>
              <a:gd name="csY592" fmla="*/ 1281608 h 1538630"/>
              <a:gd name="csX593" fmla="*/ 668702 w 1609516"/>
              <a:gd name="csY593" fmla="*/ 1275971 h 1538630"/>
              <a:gd name="csX594" fmla="*/ 662454 w 1609516"/>
              <a:gd name="csY594" fmla="*/ 1270334 h 1538630"/>
              <a:gd name="csX595" fmla="*/ 654643 w 1609516"/>
              <a:gd name="csY595" fmla="*/ 1267516 h 1538630"/>
              <a:gd name="csX596" fmla="*/ 654643 w 1609516"/>
              <a:gd name="csY596" fmla="*/ 1264697 h 1538630"/>
              <a:gd name="csX597" fmla="*/ 650152 w 1609516"/>
              <a:gd name="csY597" fmla="*/ 1264345 h 1538630"/>
              <a:gd name="csX598" fmla="*/ 628087 w 1609516"/>
              <a:gd name="csY598" fmla="*/ 1257651 h 1538630"/>
              <a:gd name="csX599" fmla="*/ 628087 w 1609516"/>
              <a:gd name="csY599" fmla="*/ 1254833 h 1538630"/>
              <a:gd name="csX600" fmla="*/ 625121 w 1609516"/>
              <a:gd name="csY600" fmla="*/ 1254315 h 1538630"/>
              <a:gd name="csX601" fmla="*/ 621252 w 1609516"/>
              <a:gd name="csY601" fmla="*/ 1253600 h 1538630"/>
              <a:gd name="csX602" fmla="*/ 617409 w 1609516"/>
              <a:gd name="csY602" fmla="*/ 1252906 h 1538630"/>
              <a:gd name="csX603" fmla="*/ 610904 w 1609516"/>
              <a:gd name="csY603" fmla="*/ 1249196 h 1538630"/>
              <a:gd name="csX604" fmla="*/ 565739 w 1609516"/>
              <a:gd name="csY604" fmla="*/ 1271742 h 1538630"/>
              <a:gd name="csX605" fmla="*/ 546924 w 1609516"/>
              <a:gd name="csY605" fmla="*/ 1290829 h 1538630"/>
              <a:gd name="csX606" fmla="*/ 543635 w 1609516"/>
              <a:gd name="csY606" fmla="*/ 1294643 h 1538630"/>
              <a:gd name="csX607" fmla="*/ 540651 w 1609516"/>
              <a:gd name="csY607" fmla="*/ 1298188 h 1538630"/>
              <a:gd name="csX608" fmla="*/ 529673 w 1609516"/>
              <a:gd name="csY608" fmla="*/ 1305565 h 1538630"/>
              <a:gd name="csX609" fmla="*/ 526549 w 1609516"/>
              <a:gd name="csY609" fmla="*/ 1311202 h 1538630"/>
              <a:gd name="csX610" fmla="*/ 523425 w 1609516"/>
              <a:gd name="csY610" fmla="*/ 1311202 h 1538630"/>
              <a:gd name="csX611" fmla="*/ 523230 w 1609516"/>
              <a:gd name="csY611" fmla="*/ 1313580 h 1538630"/>
              <a:gd name="csX612" fmla="*/ 517732 w 1609516"/>
              <a:gd name="csY612" fmla="*/ 1319739 h 1538630"/>
              <a:gd name="csX613" fmla="*/ 502239 w 1609516"/>
              <a:gd name="csY613" fmla="*/ 1337096 h 1538630"/>
              <a:gd name="csX614" fmla="*/ 497058 w 1609516"/>
              <a:gd name="csY614" fmla="*/ 1344087 h 1538630"/>
              <a:gd name="csX615" fmla="*/ 494572 w 1609516"/>
              <a:gd name="csY615" fmla="*/ 1347465 h 1538630"/>
              <a:gd name="csX616" fmla="*/ 487776 w 1609516"/>
              <a:gd name="csY616" fmla="*/ 1356181 h 1538630"/>
              <a:gd name="csX617" fmla="*/ 481248 w 1609516"/>
              <a:gd name="csY617" fmla="*/ 1367571 h 1538630"/>
              <a:gd name="csX618" fmla="*/ 478123 w 1609516"/>
              <a:gd name="csY618" fmla="*/ 1367571 h 1538630"/>
              <a:gd name="csX619" fmla="*/ 477635 w 1609516"/>
              <a:gd name="csY619" fmla="*/ 1370565 h 1538630"/>
              <a:gd name="csX620" fmla="*/ 465626 w 1609516"/>
              <a:gd name="csY620" fmla="*/ 1388709 h 1538630"/>
              <a:gd name="csX621" fmla="*/ 461233 w 1609516"/>
              <a:gd name="csY621" fmla="*/ 1397340 h 1538630"/>
              <a:gd name="csX622" fmla="*/ 455765 w 1609516"/>
              <a:gd name="csY622" fmla="*/ 1408086 h 1538630"/>
              <a:gd name="csX623" fmla="*/ 439070 w 1609516"/>
              <a:gd name="csY623" fmla="*/ 1477490 h 1538630"/>
              <a:gd name="csX624" fmla="*/ 434384 w 1609516"/>
              <a:gd name="csY624" fmla="*/ 1478899 h 1538630"/>
              <a:gd name="csX625" fmla="*/ 432431 w 1609516"/>
              <a:gd name="csY625" fmla="*/ 1481982 h 1538630"/>
              <a:gd name="csX626" fmla="*/ 418763 w 1609516"/>
              <a:gd name="csY626" fmla="*/ 1494401 h 1538630"/>
              <a:gd name="csX627" fmla="*/ 415639 w 1609516"/>
              <a:gd name="csY627" fmla="*/ 1494401 h 1538630"/>
              <a:gd name="csX628" fmla="*/ 415639 w 1609516"/>
              <a:gd name="csY628" fmla="*/ 1497219 h 1538630"/>
              <a:gd name="csX629" fmla="*/ 406265 w 1609516"/>
              <a:gd name="csY629" fmla="*/ 1498628 h 1538630"/>
              <a:gd name="csX630" fmla="*/ 406265 w 1609516"/>
              <a:gd name="csY630" fmla="*/ 1501447 h 1538630"/>
              <a:gd name="csX631" fmla="*/ 375023 w 1609516"/>
              <a:gd name="csY631" fmla="*/ 1501447 h 1538630"/>
              <a:gd name="csX632" fmla="*/ 375023 w 1609516"/>
              <a:gd name="csY632" fmla="*/ 1499438 h 1538630"/>
              <a:gd name="csX633" fmla="*/ 374964 w 1609516"/>
              <a:gd name="csY633" fmla="*/ 1499436 h 1538630"/>
              <a:gd name="csX634" fmla="*/ 373179 w 1609516"/>
              <a:gd name="csY634" fmla="*/ 1498628 h 1538630"/>
              <a:gd name="csX635" fmla="*/ 365650 w 1609516"/>
              <a:gd name="csY635" fmla="*/ 1498628 h 1538630"/>
              <a:gd name="csX636" fmla="*/ 363134 w 1609516"/>
              <a:gd name="csY636" fmla="*/ 1494087 h 1538630"/>
              <a:gd name="csX637" fmla="*/ 362171 w 1609516"/>
              <a:gd name="csY637" fmla="*/ 1493651 h 1538630"/>
              <a:gd name="csX638" fmla="*/ 360609 w 1609516"/>
              <a:gd name="csY638" fmla="*/ 1490833 h 1538630"/>
              <a:gd name="csX639" fmla="*/ 363733 w 1609516"/>
              <a:gd name="csY639" fmla="*/ 1490833 h 1538630"/>
              <a:gd name="csX640" fmla="*/ 363733 w 1609516"/>
              <a:gd name="csY640" fmla="*/ 1489980 h 1538630"/>
              <a:gd name="csX641" fmla="*/ 348467 w 1609516"/>
              <a:gd name="csY641" fmla="*/ 1481717 h 1538630"/>
              <a:gd name="csX642" fmla="*/ 343872 w 1609516"/>
              <a:gd name="csY642" fmla="*/ 1461078 h 1538630"/>
              <a:gd name="csX643" fmla="*/ 343656 w 1609516"/>
              <a:gd name="csY643" fmla="*/ 1463649 h 1538630"/>
              <a:gd name="csX644" fmla="*/ 343424 w 1609516"/>
              <a:gd name="csY644" fmla="*/ 1466842 h 1538630"/>
              <a:gd name="csX645" fmla="*/ 341861 w 1609516"/>
              <a:gd name="csY645" fmla="*/ 1466842 h 1538630"/>
              <a:gd name="csX646" fmla="*/ 354143 w 1609516"/>
              <a:gd name="csY646" fmla="*/ 1420549 h 1538630"/>
              <a:gd name="csX647" fmla="*/ 376229 w 1609516"/>
              <a:gd name="csY647" fmla="*/ 1403427 h 1538630"/>
              <a:gd name="csX648" fmla="*/ 379491 w 1609516"/>
              <a:gd name="csY648" fmla="*/ 1404408 h 1538630"/>
              <a:gd name="csX649" fmla="*/ 379710 w 1609516"/>
              <a:gd name="csY649" fmla="*/ 1404210 h 1538630"/>
              <a:gd name="csX650" fmla="*/ 380882 w 1609516"/>
              <a:gd name="csY650" fmla="*/ 1401568 h 1538630"/>
              <a:gd name="csX651" fmla="*/ 392207 w 1609516"/>
              <a:gd name="csY651" fmla="*/ 1392936 h 1538630"/>
              <a:gd name="csX652" fmla="*/ 399542 w 1609516"/>
              <a:gd name="csY652" fmla="*/ 1386774 h 1538630"/>
              <a:gd name="csX653" fmla="*/ 405485 w 1609516"/>
              <a:gd name="csY653" fmla="*/ 1378917 h 1538630"/>
              <a:gd name="csX654" fmla="*/ 412008 w 1609516"/>
              <a:gd name="csY654" fmla="*/ 1369481 h 1538630"/>
              <a:gd name="csX655" fmla="*/ 421130 w 1609516"/>
              <a:gd name="csY655" fmla="*/ 1357057 h 1538630"/>
              <a:gd name="csX656" fmla="*/ 424676 w 1609516"/>
              <a:gd name="csY656" fmla="*/ 1348443 h 1538630"/>
              <a:gd name="csX657" fmla="*/ 427275 w 1609516"/>
              <a:gd name="csY657" fmla="*/ 1348443 h 1538630"/>
              <a:gd name="csX658" fmla="*/ 428135 w 1609516"/>
              <a:gd name="csY658" fmla="*/ 1345727 h 1538630"/>
              <a:gd name="csX659" fmla="*/ 432822 w 1609516"/>
              <a:gd name="csY659" fmla="*/ 1335158 h 1538630"/>
              <a:gd name="csX660" fmla="*/ 435946 w 1609516"/>
              <a:gd name="csY660" fmla="*/ 1335158 h 1538630"/>
              <a:gd name="csX661" fmla="*/ 437704 w 1609516"/>
              <a:gd name="csY661" fmla="*/ 1329786 h 1538630"/>
              <a:gd name="csX662" fmla="*/ 447394 w 1609516"/>
              <a:gd name="csY662" fmla="*/ 1311196 h 1538630"/>
              <a:gd name="csX663" fmla="*/ 469287 w 1609516"/>
              <a:gd name="csY663" fmla="*/ 1265964 h 1538630"/>
              <a:gd name="csX664" fmla="*/ 478178 w 1609516"/>
              <a:gd name="csY664" fmla="*/ 1246787 h 1538630"/>
              <a:gd name="csX665" fmla="*/ 480179 w 1609516"/>
              <a:gd name="csY665" fmla="*/ 1225768 h 1538630"/>
              <a:gd name="csX666" fmla="*/ 480250 w 1609516"/>
              <a:gd name="csY666" fmla="*/ 1217149 h 1538630"/>
              <a:gd name="csX667" fmla="*/ 462972 w 1609516"/>
              <a:gd name="csY667" fmla="*/ 1174827 h 1538630"/>
              <a:gd name="csX668" fmla="*/ 457468 w 1609516"/>
              <a:gd name="csY668" fmla="*/ 1169949 h 1538630"/>
              <a:gd name="csX669" fmla="*/ 440657 w 1609516"/>
              <a:gd name="csY669" fmla="*/ 1152570 h 1538630"/>
              <a:gd name="csX670" fmla="*/ 403142 w 1609516"/>
              <a:gd name="csY670" fmla="*/ 1122366 h 1538630"/>
              <a:gd name="csX671" fmla="*/ 401579 w 1609516"/>
              <a:gd name="csY671" fmla="*/ 1119547 h 1538630"/>
              <a:gd name="csX672" fmla="*/ 364564 w 1609516"/>
              <a:gd name="csY672" fmla="*/ 1118209 h 1538630"/>
              <a:gd name="csX673" fmla="*/ 357822 w 1609516"/>
              <a:gd name="csY673" fmla="*/ 1122041 h 1538630"/>
              <a:gd name="csX674" fmla="*/ 348077 w 1609516"/>
              <a:gd name="csY674" fmla="*/ 1125273 h 1538630"/>
              <a:gd name="csX675" fmla="*/ 334408 w 1609516"/>
              <a:gd name="csY675" fmla="*/ 1132230 h 1538630"/>
              <a:gd name="csX676" fmla="*/ 327964 w 1609516"/>
              <a:gd name="csY676" fmla="*/ 1134080 h 1538630"/>
              <a:gd name="csX677" fmla="*/ 279734 w 1609516"/>
              <a:gd name="csY677" fmla="*/ 1166051 h 1538630"/>
              <a:gd name="csX678" fmla="*/ 276609 w 1609516"/>
              <a:gd name="csY678" fmla="*/ 1173098 h 1538630"/>
              <a:gd name="csX679" fmla="*/ 260988 w 1609516"/>
              <a:gd name="csY679" fmla="*/ 1188599 h 1538630"/>
              <a:gd name="csX680" fmla="*/ 257956 w 1609516"/>
              <a:gd name="csY680" fmla="*/ 1191132 h 1538630"/>
              <a:gd name="csX681" fmla="*/ 243805 w 1609516"/>
              <a:gd name="csY681" fmla="*/ 1196629 h 1538630"/>
              <a:gd name="csX682" fmla="*/ 243805 w 1609516"/>
              <a:gd name="csY682" fmla="*/ 1194236 h 1538630"/>
              <a:gd name="csX683" fmla="*/ 240288 w 1609516"/>
              <a:gd name="csY683" fmla="*/ 1194765 h 1538630"/>
              <a:gd name="csX684" fmla="*/ 243374 w 1609516"/>
              <a:gd name="csY684" fmla="*/ 1194765 h 1538630"/>
              <a:gd name="csX685" fmla="*/ 243374 w 1609516"/>
              <a:gd name="csY685" fmla="*/ 1196797 h 1538630"/>
              <a:gd name="csX686" fmla="*/ 243805 w 1609516"/>
              <a:gd name="csY686" fmla="*/ 1196629 h 1538630"/>
              <a:gd name="csX687" fmla="*/ 243805 w 1609516"/>
              <a:gd name="csY687" fmla="*/ 1197055 h 1538630"/>
              <a:gd name="csX688" fmla="*/ 243374 w 1609516"/>
              <a:gd name="csY688" fmla="*/ 1197055 h 1538630"/>
              <a:gd name="csX689" fmla="*/ 243374 w 1609516"/>
              <a:gd name="csY689" fmla="*/ 1197584 h 1538630"/>
              <a:gd name="csX690" fmla="*/ 241319 w 1609516"/>
              <a:gd name="csY690" fmla="*/ 1197595 h 1538630"/>
              <a:gd name="csX691" fmla="*/ 238009 w 1609516"/>
              <a:gd name="csY691" fmla="*/ 1198881 h 1538630"/>
              <a:gd name="csX692" fmla="*/ 215687 w 1609516"/>
              <a:gd name="csY692" fmla="*/ 1198464 h 1538630"/>
              <a:gd name="csX693" fmla="*/ 215687 w 1609516"/>
              <a:gd name="csY693" fmla="*/ 1197734 h 1538630"/>
              <a:gd name="csX694" fmla="*/ 213936 w 1609516"/>
              <a:gd name="csY694" fmla="*/ 1197744 h 1538630"/>
              <a:gd name="csX695" fmla="*/ 207446 w 1609516"/>
              <a:gd name="csY695" fmla="*/ 1196175 h 1538630"/>
              <a:gd name="csX696" fmla="*/ 207822 w 1609516"/>
              <a:gd name="csY696" fmla="*/ 1195610 h 1538630"/>
              <a:gd name="csX697" fmla="*/ 184737 w 1609516"/>
              <a:gd name="csY697" fmla="*/ 1180936 h 1538630"/>
              <a:gd name="csX698" fmla="*/ 179270 w 1609516"/>
              <a:gd name="csY698" fmla="*/ 1154866 h 1538630"/>
              <a:gd name="csX699" fmla="*/ 179194 w 1609516"/>
              <a:gd name="csY699" fmla="*/ 1151621 h 1538630"/>
              <a:gd name="csX700" fmla="*/ 193195 w 1609516"/>
              <a:gd name="csY700" fmla="*/ 1120065 h 1538630"/>
              <a:gd name="csX701" fmla="*/ 229551 w 1609516"/>
              <a:gd name="csY701" fmla="*/ 1110299 h 1538630"/>
              <a:gd name="csX702" fmla="*/ 260988 w 1609516"/>
              <a:gd name="csY702" fmla="*/ 1108274 h 1538630"/>
              <a:gd name="csX703" fmla="*/ 260988 w 1609516"/>
              <a:gd name="csY703" fmla="*/ 1105455 h 1538630"/>
              <a:gd name="csX704" fmla="*/ 263911 w 1609516"/>
              <a:gd name="csY704" fmla="*/ 1104310 h 1538630"/>
              <a:gd name="csX705" fmla="*/ 286995 w 1609516"/>
              <a:gd name="csY705" fmla="*/ 1090185 h 1538630"/>
              <a:gd name="csX706" fmla="*/ 299358 w 1609516"/>
              <a:gd name="csY706" fmla="*/ 1080970 h 1538630"/>
              <a:gd name="csX707" fmla="*/ 317762 w 1609516"/>
              <a:gd name="csY707" fmla="*/ 1063272 h 1538630"/>
              <a:gd name="csX708" fmla="*/ 325035 w 1609516"/>
              <a:gd name="csY708" fmla="*/ 1057542 h 1538630"/>
              <a:gd name="csX709" fmla="*/ 325328 w 1609516"/>
              <a:gd name="csY709" fmla="*/ 1023104 h 1538630"/>
              <a:gd name="csX710" fmla="*/ 324544 w 1609516"/>
              <a:gd name="csY710" fmla="*/ 1019247 h 1538630"/>
              <a:gd name="csX711" fmla="*/ 317225 w 1609516"/>
              <a:gd name="csY711" fmla="*/ 996945 h 1538630"/>
              <a:gd name="csX712" fmla="*/ 315388 w 1609516"/>
              <a:gd name="csY712" fmla="*/ 992690 h 1538630"/>
              <a:gd name="csX713" fmla="*/ 276232 w 1609516"/>
              <a:gd name="csY713" fmla="*/ 950666 h 1538630"/>
              <a:gd name="csX714" fmla="*/ 271923 w 1609516"/>
              <a:gd name="csY714" fmla="*/ 949031 h 1538630"/>
              <a:gd name="csX715" fmla="*/ 268299 w 1609516"/>
              <a:gd name="csY715" fmla="*/ 947441 h 1538630"/>
              <a:gd name="csX716" fmla="*/ 199187 w 1609516"/>
              <a:gd name="csY716" fmla="*/ 938991 h 1538630"/>
              <a:gd name="csX717" fmla="*/ 193719 w 1609516"/>
              <a:gd name="csY717" fmla="*/ 938971 h 1538630"/>
              <a:gd name="csX718" fmla="*/ 188539 w 1609516"/>
              <a:gd name="csY718" fmla="*/ 938980 h 1538630"/>
              <a:gd name="csX719" fmla="*/ 183874 w 1609516"/>
              <a:gd name="csY719" fmla="*/ 938985 h 1538630"/>
              <a:gd name="csX720" fmla="*/ 173509 w 1609516"/>
              <a:gd name="csY720" fmla="*/ 940576 h 1538630"/>
              <a:gd name="csX721" fmla="*/ 161403 w 1609516"/>
              <a:gd name="csY721" fmla="*/ 940664 h 1538630"/>
              <a:gd name="csX722" fmla="*/ 158102 w 1609516"/>
              <a:gd name="csY722" fmla="*/ 940645 h 1538630"/>
              <a:gd name="csX723" fmla="*/ 150875 w 1609516"/>
              <a:gd name="csY723" fmla="*/ 940583 h 1538630"/>
              <a:gd name="csX724" fmla="*/ 148425 w 1609516"/>
              <a:gd name="csY724" fmla="*/ 940717 h 1538630"/>
              <a:gd name="csX725" fmla="*/ 149617 w 1609516"/>
              <a:gd name="csY725" fmla="*/ 940995 h 1538630"/>
              <a:gd name="csX726" fmla="*/ 149617 w 1609516"/>
              <a:gd name="csY726" fmla="*/ 942404 h 1538630"/>
              <a:gd name="csX727" fmla="*/ 146627 w 1609516"/>
              <a:gd name="csY727" fmla="*/ 942871 h 1538630"/>
              <a:gd name="csX728" fmla="*/ 110564 w 1609516"/>
              <a:gd name="csY728" fmla="*/ 949449 h 1538630"/>
              <a:gd name="csX729" fmla="*/ 111283 w 1609516"/>
              <a:gd name="csY729" fmla="*/ 946205 h 1538630"/>
              <a:gd name="csX730" fmla="*/ 101652 w 1609516"/>
              <a:gd name="csY730" fmla="*/ 956078 h 1538630"/>
              <a:gd name="csX731" fmla="*/ 98052 w 1609516"/>
              <a:gd name="csY731" fmla="*/ 958467 h 1538630"/>
              <a:gd name="csX732" fmla="*/ 67286 w 1609516"/>
              <a:gd name="csY732" fmla="*/ 972989 h 1538630"/>
              <a:gd name="csX733" fmla="*/ 67286 w 1609516"/>
              <a:gd name="csY733" fmla="*/ 975807 h 1538630"/>
              <a:gd name="csX734" fmla="*/ 31942 w 1609516"/>
              <a:gd name="csY734" fmla="*/ 976423 h 1538630"/>
              <a:gd name="csX735" fmla="*/ 5673 w 1609516"/>
              <a:gd name="csY735" fmla="*/ 953419 h 1538630"/>
              <a:gd name="csX736" fmla="*/ 4801 w 1609516"/>
              <a:gd name="csY736" fmla="*/ 944804 h 1538630"/>
              <a:gd name="csX737" fmla="*/ 1676 w 1609516"/>
              <a:gd name="csY737" fmla="*/ 944804 h 1538630"/>
              <a:gd name="csX738" fmla="*/ 17 w 1609516"/>
              <a:gd name="csY738" fmla="*/ 931857 h 1538630"/>
              <a:gd name="csX739" fmla="*/ 59 w 1609516"/>
              <a:gd name="csY739" fmla="*/ 927216 h 1538630"/>
              <a:gd name="csX740" fmla="*/ 115 w 1609516"/>
              <a:gd name="csY740" fmla="*/ 923666 h 1538630"/>
              <a:gd name="csX741" fmla="*/ 3238 w 1609516"/>
              <a:gd name="csY741" fmla="*/ 923666 h 1538630"/>
              <a:gd name="csX742" fmla="*/ 3238 w 1609516"/>
              <a:gd name="csY742" fmla="*/ 918029 h 1538630"/>
              <a:gd name="csX743" fmla="*/ 6363 w 1609516"/>
              <a:gd name="csY743" fmla="*/ 918029 h 1538630"/>
              <a:gd name="csX744" fmla="*/ 6656 w 1609516"/>
              <a:gd name="csY744" fmla="*/ 912832 h 1538630"/>
              <a:gd name="csX745" fmla="*/ 15736 w 1609516"/>
              <a:gd name="csY745" fmla="*/ 899709 h 1538630"/>
              <a:gd name="csX746" fmla="*/ 17243 w 1609516"/>
              <a:gd name="csY746" fmla="*/ 898894 h 1538630"/>
              <a:gd name="csX747" fmla="*/ 16800 w 1609516"/>
              <a:gd name="csY747" fmla="*/ 898694 h 1538630"/>
              <a:gd name="csX748" fmla="*/ 24988 w 1609516"/>
              <a:gd name="csY748" fmla="*/ 894101 h 1538630"/>
              <a:gd name="csX749" fmla="*/ 26768 w 1609516"/>
              <a:gd name="csY749" fmla="*/ 892399 h 1538630"/>
              <a:gd name="csX750" fmla="*/ 30198 w 1609516"/>
              <a:gd name="csY750" fmla="*/ 890164 h 1538630"/>
              <a:gd name="csX751" fmla="*/ 32204 w 1609516"/>
              <a:gd name="csY751" fmla="*/ 890054 h 1538630"/>
              <a:gd name="csX752" fmla="*/ 38914 w 1609516"/>
              <a:gd name="csY752" fmla="*/ 886291 h 1538630"/>
              <a:gd name="csX753" fmla="*/ 63664 w 1609516"/>
              <a:gd name="csY753" fmla="*/ 886011 h 1538630"/>
              <a:gd name="csX754" fmla="*/ 63664 w 1609516"/>
              <a:gd name="csY754" fmla="*/ 886531 h 1538630"/>
              <a:gd name="csX755" fmla="*/ 70784 w 1609516"/>
              <a:gd name="csY755" fmla="*/ 886647 h 1538630"/>
              <a:gd name="csX756" fmla="*/ 82126 w 1609516"/>
              <a:gd name="csY756" fmla="*/ 889845 h 1538630"/>
              <a:gd name="csX757" fmla="*/ 114149 w 1609516"/>
              <a:gd name="csY757" fmla="*/ 892663 h 1538630"/>
              <a:gd name="csX758" fmla="*/ 118836 w 1609516"/>
              <a:gd name="csY758" fmla="*/ 889845 h 1538630"/>
              <a:gd name="csX759" fmla="*/ 131626 w 1609516"/>
              <a:gd name="csY759" fmla="*/ 887114 h 1538630"/>
              <a:gd name="csX760" fmla="*/ 155116 w 1609516"/>
              <a:gd name="csY760" fmla="*/ 880913 h 1538630"/>
              <a:gd name="csX761" fmla="*/ 165406 w 1609516"/>
              <a:gd name="csY761" fmla="*/ 878483 h 1538630"/>
              <a:gd name="csX762" fmla="*/ 176634 w 1609516"/>
              <a:gd name="csY762" fmla="*/ 874343 h 1538630"/>
              <a:gd name="csX763" fmla="*/ 186397 w 1609516"/>
              <a:gd name="csY763" fmla="*/ 871524 h 1538630"/>
              <a:gd name="csX764" fmla="*/ 191871 w 1609516"/>
              <a:gd name="csY764" fmla="*/ 870033 h 1538630"/>
              <a:gd name="csX765" fmla="*/ 203483 w 1609516"/>
              <a:gd name="csY765" fmla="*/ 867208 h 1538630"/>
              <a:gd name="csX766" fmla="*/ 211001 w 1609516"/>
              <a:gd name="csY766" fmla="*/ 861660 h 1538630"/>
              <a:gd name="csX767" fmla="*/ 218031 w 1609516"/>
              <a:gd name="csY767" fmla="*/ 858577 h 1538630"/>
              <a:gd name="csX768" fmla="*/ 254740 w 1609516"/>
              <a:gd name="csY768" fmla="*/ 825020 h 1538630"/>
              <a:gd name="csX769" fmla="*/ 257864 w 1609516"/>
              <a:gd name="csY769" fmla="*/ 820792 h 1538630"/>
              <a:gd name="csX770" fmla="*/ 258318 w 1609516"/>
              <a:gd name="csY770" fmla="*/ 813810 h 1538630"/>
              <a:gd name="csX771" fmla="*/ 258378 w 1609516"/>
              <a:gd name="csY771" fmla="*/ 809502 h 1538630"/>
              <a:gd name="csX772" fmla="*/ 258389 w 1609516"/>
              <a:gd name="csY772" fmla="*/ 804845 h 1538630"/>
              <a:gd name="csX773" fmla="*/ 258420 w 1609516"/>
              <a:gd name="csY773" fmla="*/ 800036 h 1538630"/>
              <a:gd name="csX774" fmla="*/ 258443 w 1609516"/>
              <a:gd name="csY774" fmla="*/ 789939 h 1538630"/>
              <a:gd name="csX775" fmla="*/ 258566 w 1609516"/>
              <a:gd name="csY775" fmla="*/ 774594 h 1538630"/>
              <a:gd name="csX776" fmla="*/ 258584 w 1609516"/>
              <a:gd name="csY776" fmla="*/ 764771 h 1538630"/>
              <a:gd name="csX777" fmla="*/ 258652 w 1609516"/>
              <a:gd name="csY777" fmla="*/ 760174 h 1538630"/>
              <a:gd name="csX778" fmla="*/ 251616 w 1609516"/>
              <a:gd name="csY778" fmla="*/ 733421 h 1538630"/>
              <a:gd name="csX779" fmla="*/ 247613 w 1609516"/>
              <a:gd name="csY779" fmla="*/ 721883 h 1538630"/>
              <a:gd name="csX780" fmla="*/ 241291 w 1609516"/>
              <a:gd name="csY780" fmla="*/ 705644 h 1538630"/>
              <a:gd name="csX781" fmla="*/ 237557 w 1609516"/>
              <a:gd name="csY781" fmla="*/ 689735 h 1538630"/>
              <a:gd name="csX782" fmla="*/ 248492 w 1609516"/>
              <a:gd name="csY782" fmla="*/ 685507 h 1538630"/>
              <a:gd name="csX783" fmla="*/ 248492 w 1609516"/>
              <a:gd name="csY783" fmla="*/ 681279 h 1538630"/>
              <a:gd name="csX784" fmla="*/ 240681 w 1609516"/>
              <a:gd name="csY784" fmla="*/ 679870 h 1538630"/>
              <a:gd name="csX785" fmla="*/ 240681 w 1609516"/>
              <a:gd name="csY785" fmla="*/ 677052 h 1538630"/>
              <a:gd name="csX786" fmla="*/ 238094 w 1609516"/>
              <a:gd name="csY786" fmla="*/ 676645 h 1538630"/>
              <a:gd name="csX787" fmla="*/ 225841 w 1609516"/>
              <a:gd name="csY787" fmla="*/ 670886 h 1538630"/>
              <a:gd name="csX788" fmla="*/ 201531 w 1609516"/>
              <a:gd name="csY788" fmla="*/ 662508 h 1538630"/>
              <a:gd name="csX789" fmla="*/ 188252 w 1609516"/>
              <a:gd name="csY789" fmla="*/ 658644 h 1538630"/>
              <a:gd name="csX790" fmla="*/ 182431 w 1609516"/>
              <a:gd name="csY790" fmla="*/ 657327 h 1538630"/>
              <a:gd name="csX791" fmla="*/ 182431 w 1609516"/>
              <a:gd name="csY791" fmla="*/ 657613 h 1538630"/>
              <a:gd name="csX792" fmla="*/ 146503 w 1609516"/>
              <a:gd name="csY792" fmla="*/ 656204 h 1538630"/>
              <a:gd name="csX793" fmla="*/ 146503 w 1609516"/>
              <a:gd name="csY793" fmla="*/ 659022 h 1538630"/>
              <a:gd name="csX794" fmla="*/ 110378 w 1609516"/>
              <a:gd name="csY794" fmla="*/ 663778 h 1538630"/>
              <a:gd name="csX795" fmla="*/ 106453 w 1609516"/>
              <a:gd name="csY795" fmla="*/ 663836 h 1538630"/>
              <a:gd name="csX796" fmla="*/ 102751 w 1609516"/>
              <a:gd name="csY796" fmla="*/ 663811 h 1538630"/>
              <a:gd name="csX797" fmla="*/ 99449 w 1609516"/>
              <a:gd name="csY797" fmla="*/ 663797 h 1538630"/>
              <a:gd name="csX798" fmla="*/ 91828 w 1609516"/>
              <a:gd name="csY798" fmla="*/ 659022 h 1538630"/>
              <a:gd name="csX799" fmla="*/ 98077 w 1609516"/>
              <a:gd name="csY799" fmla="*/ 659022 h 1538630"/>
              <a:gd name="csX800" fmla="*/ 98077 w 1609516"/>
              <a:gd name="csY800" fmla="*/ 661841 h 1538630"/>
              <a:gd name="csX801" fmla="*/ 119023 w 1609516"/>
              <a:gd name="csY801" fmla="*/ 661357 h 1538630"/>
              <a:gd name="csX802" fmla="*/ 119536 w 1609516"/>
              <a:gd name="csY802" fmla="*/ 661197 h 1538630"/>
              <a:gd name="csX803" fmla="*/ 109853 w 1609516"/>
              <a:gd name="csY803" fmla="*/ 661639 h 1538630"/>
              <a:gd name="csX804" fmla="*/ 106552 w 1609516"/>
              <a:gd name="csY804" fmla="*/ 661619 h 1538630"/>
              <a:gd name="csX805" fmla="*/ 98528 w 1609516"/>
              <a:gd name="csY805" fmla="*/ 661550 h 1538630"/>
              <a:gd name="csX806" fmla="*/ 98528 w 1609516"/>
              <a:gd name="csY806" fmla="*/ 658732 h 1538630"/>
              <a:gd name="csX807" fmla="*/ 89155 w 1609516"/>
              <a:gd name="csY807" fmla="*/ 657323 h 1538630"/>
              <a:gd name="csX808" fmla="*/ 89155 w 1609516"/>
              <a:gd name="csY808" fmla="*/ 654504 h 1538630"/>
              <a:gd name="csX809" fmla="*/ 86397 w 1609516"/>
              <a:gd name="csY809" fmla="*/ 653442 h 1538630"/>
              <a:gd name="csX810" fmla="*/ 77049 w 1609516"/>
              <a:gd name="csY810" fmla="*/ 646137 h 1538630"/>
              <a:gd name="csX811" fmla="*/ 74145 w 1609516"/>
              <a:gd name="csY811" fmla="*/ 643192 h 1538630"/>
              <a:gd name="csX812" fmla="*/ 71972 w 1609516"/>
              <a:gd name="csY812" fmla="*/ 636185 h 1538630"/>
              <a:gd name="csX813" fmla="*/ 68848 w 1609516"/>
              <a:gd name="csY813" fmla="*/ 636185 h 1538630"/>
              <a:gd name="csX814" fmla="*/ 70410 w 1609516"/>
              <a:gd name="csY814" fmla="*/ 595317 h 1538630"/>
              <a:gd name="csX815" fmla="*/ 79782 w 1609516"/>
              <a:gd name="csY815" fmla="*/ 584043 h 1538630"/>
              <a:gd name="csX816" fmla="*/ 82656 w 1609516"/>
              <a:gd name="csY816" fmla="*/ 581115 h 1538630"/>
              <a:gd name="csX817" fmla="*/ 116694 w 1609516"/>
              <a:gd name="csY817" fmla="*/ 572323 h 1538630"/>
              <a:gd name="csX818" fmla="*/ 152031 w 1609516"/>
              <a:gd name="csY818" fmla="*/ 590385 h 1538630"/>
              <a:gd name="csX819" fmla="*/ 191474 w 1609516"/>
              <a:gd name="csY819" fmla="*/ 605886 h 1538630"/>
              <a:gd name="csX820" fmla="*/ 206314 w 1609516"/>
              <a:gd name="csY820" fmla="*/ 608000 h 1538630"/>
              <a:gd name="csX821" fmla="*/ 206314 w 1609516"/>
              <a:gd name="csY821" fmla="*/ 610818 h 1538630"/>
              <a:gd name="csX822" fmla="*/ 234433 w 1609516"/>
              <a:gd name="csY822" fmla="*/ 610818 h 1538630"/>
              <a:gd name="csX823" fmla="*/ 239522 w 1609516"/>
              <a:gd name="csY823" fmla="*/ 610802 h 1538630"/>
              <a:gd name="csX824" fmla="*/ 268799 w 1609516"/>
              <a:gd name="csY824" fmla="*/ 600954 h 1538630"/>
              <a:gd name="csX825" fmla="*/ 271740 w 1609516"/>
              <a:gd name="csY825" fmla="*/ 599325 h 1538630"/>
              <a:gd name="csX826" fmla="*/ 284420 w 1609516"/>
              <a:gd name="csY826" fmla="*/ 579816 h 1538630"/>
              <a:gd name="csX827" fmla="*/ 289399 w 1609516"/>
              <a:gd name="csY827" fmla="*/ 568630 h 1538630"/>
              <a:gd name="csX828" fmla="*/ 293958 w 1609516"/>
              <a:gd name="csY828" fmla="*/ 535838 h 1538630"/>
              <a:gd name="csX829" fmla="*/ 289107 w 1609516"/>
              <a:gd name="csY829" fmla="*/ 529084 h 1538630"/>
              <a:gd name="csX830" fmla="*/ 289107 w 1609516"/>
              <a:gd name="csY830" fmla="*/ 526265 h 1538630"/>
              <a:gd name="csX831" fmla="*/ 284420 w 1609516"/>
              <a:gd name="csY831" fmla="*/ 524856 h 1538630"/>
              <a:gd name="csX832" fmla="*/ 282858 w 1609516"/>
              <a:gd name="csY832" fmla="*/ 520628 h 1538630"/>
              <a:gd name="csX833" fmla="*/ 277977 w 1609516"/>
              <a:gd name="csY833" fmla="*/ 516577 h 1538630"/>
              <a:gd name="csX834" fmla="*/ 264925 w 1609516"/>
              <a:gd name="csY834" fmla="*/ 506443 h 1538630"/>
              <a:gd name="csX835" fmla="*/ 229746 w 1609516"/>
              <a:gd name="csY835" fmla="*/ 481170 h 1538630"/>
              <a:gd name="csX836" fmla="*/ 221057 w 1609516"/>
              <a:gd name="csY836" fmla="*/ 475445 h 1538630"/>
              <a:gd name="csX837" fmla="*/ 212563 w 1609516"/>
              <a:gd name="csY837" fmla="*/ 469896 h 1538630"/>
              <a:gd name="csX838" fmla="*/ 208889 w 1609516"/>
              <a:gd name="csY838" fmla="*/ 467491 h 1538630"/>
              <a:gd name="csX839" fmla="*/ 190406 w 1609516"/>
              <a:gd name="csY839" fmla="*/ 456382 h 1538630"/>
              <a:gd name="csX840" fmla="*/ 186942 w 1609516"/>
              <a:gd name="csY840" fmla="*/ 454460 h 1538630"/>
              <a:gd name="csX841" fmla="*/ 180041 w 1609516"/>
              <a:gd name="csY841" fmla="*/ 450696 h 1538630"/>
              <a:gd name="csX842" fmla="*/ 171948 w 1609516"/>
              <a:gd name="csY842" fmla="*/ 445940 h 1538630"/>
              <a:gd name="csX843" fmla="*/ 171948 w 1609516"/>
              <a:gd name="csY843" fmla="*/ 443121 h 1538630"/>
              <a:gd name="csX844" fmla="*/ 168482 w 1609516"/>
              <a:gd name="csY844" fmla="*/ 442708 h 1538630"/>
              <a:gd name="csX845" fmla="*/ 157107 w 1609516"/>
              <a:gd name="csY845" fmla="*/ 437044 h 1538630"/>
              <a:gd name="csX846" fmla="*/ 132559 w 1609516"/>
              <a:gd name="csY846" fmla="*/ 427510 h 1538630"/>
              <a:gd name="csX847" fmla="*/ 123522 w 1609516"/>
              <a:gd name="csY847" fmla="*/ 421983 h 1538630"/>
              <a:gd name="csX848" fmla="*/ 107986 w 1609516"/>
              <a:gd name="csY848" fmla="*/ 418730 h 1538630"/>
              <a:gd name="csX849" fmla="*/ 102494 w 1609516"/>
              <a:gd name="csY849" fmla="*/ 418622 h 1538630"/>
              <a:gd name="csX850" fmla="*/ 91157 w 1609516"/>
              <a:gd name="csY850" fmla="*/ 418490 h 1538630"/>
              <a:gd name="csX851" fmla="*/ 55277 w 1609516"/>
              <a:gd name="csY851" fmla="*/ 410445 h 1538630"/>
              <a:gd name="csX852" fmla="*/ 51665 w 1609516"/>
              <a:gd name="csY852" fmla="*/ 406481 h 1538630"/>
              <a:gd name="csX853" fmla="*/ 45904 w 1609516"/>
              <a:gd name="csY853" fmla="*/ 400492 h 1538630"/>
              <a:gd name="csX854" fmla="*/ 43152 w 1609516"/>
              <a:gd name="csY854" fmla="*/ 397564 h 1538630"/>
              <a:gd name="csX855" fmla="*/ 37605 w 1609516"/>
              <a:gd name="csY855" fmla="*/ 393798 h 1538630"/>
              <a:gd name="csX856" fmla="*/ 38995 w 1609516"/>
              <a:gd name="csY856" fmla="*/ 368712 h 1538630"/>
              <a:gd name="csX857" fmla="*/ 38666 w 1609516"/>
              <a:gd name="csY857" fmla="*/ 369724 h 1538630"/>
              <a:gd name="csX858" fmla="*/ 35542 w 1609516"/>
              <a:gd name="csY858" fmla="*/ 384081 h 1538630"/>
              <a:gd name="csX859" fmla="*/ 33326 w 1609516"/>
              <a:gd name="csY859" fmla="*/ 357791 h 1538630"/>
              <a:gd name="csX860" fmla="*/ 52725 w 1609516"/>
              <a:gd name="csY860" fmla="*/ 333349 h 1538630"/>
              <a:gd name="csX861" fmla="*/ 55222 w 1609516"/>
              <a:gd name="csY861" fmla="*/ 334475 h 1538630"/>
              <a:gd name="csX862" fmla="*/ 56222 w 1609516"/>
              <a:gd name="csY862" fmla="*/ 333347 h 1538630"/>
              <a:gd name="csX863" fmla="*/ 55871 w 1609516"/>
              <a:gd name="csY863" fmla="*/ 333347 h 1538630"/>
              <a:gd name="csX864" fmla="*/ 56346 w 1609516"/>
              <a:gd name="csY864" fmla="*/ 333207 h 1538630"/>
              <a:gd name="csX865" fmla="*/ 56351 w 1609516"/>
              <a:gd name="csY865" fmla="*/ 333202 h 1538630"/>
              <a:gd name="csX866" fmla="*/ 56365 w 1609516"/>
              <a:gd name="csY866" fmla="*/ 333202 h 1538630"/>
              <a:gd name="csX867" fmla="*/ 79571 w 1609516"/>
              <a:gd name="csY867" fmla="*/ 326360 h 1538630"/>
              <a:gd name="csX868" fmla="*/ 104297 w 1609516"/>
              <a:gd name="csY868" fmla="*/ 330529 h 1538630"/>
              <a:gd name="csX869" fmla="*/ 107170 w 1609516"/>
              <a:gd name="csY869" fmla="*/ 334417 h 1538630"/>
              <a:gd name="csX870" fmla="*/ 109366 w 1609516"/>
              <a:gd name="csY870" fmla="*/ 336046 h 1538630"/>
              <a:gd name="csX871" fmla="*/ 109463 w 1609516"/>
              <a:gd name="csY871" fmla="*/ 336020 h 1538630"/>
              <a:gd name="csX872" fmla="*/ 109463 w 1609516"/>
              <a:gd name="csY872" fmla="*/ 336118 h 1538630"/>
              <a:gd name="csX873" fmla="*/ 115226 w 1609516"/>
              <a:gd name="csY873" fmla="*/ 340394 h 1538630"/>
              <a:gd name="csX874" fmla="*/ 114010 w 1609516"/>
              <a:gd name="csY874" fmla="*/ 340120 h 1538630"/>
              <a:gd name="csX875" fmla="*/ 133285 w 1609516"/>
              <a:gd name="csY875" fmla="*/ 357423 h 1538630"/>
              <a:gd name="csX876" fmla="*/ 173509 w 1609516"/>
              <a:gd name="csY876" fmla="*/ 389571 h 1538630"/>
              <a:gd name="csX877" fmla="*/ 181711 w 1609516"/>
              <a:gd name="csY877" fmla="*/ 393270 h 1538630"/>
              <a:gd name="csX878" fmla="*/ 185507 w 1609516"/>
              <a:gd name="csY878" fmla="*/ 394976 h 1538630"/>
              <a:gd name="csX879" fmla="*/ 192658 w 1609516"/>
              <a:gd name="csY879" fmla="*/ 398257 h 1538630"/>
              <a:gd name="csX880" fmla="*/ 195966 w 1609516"/>
              <a:gd name="csY880" fmla="*/ 399788 h 1538630"/>
              <a:gd name="csX881" fmla="*/ 198833 w 1609516"/>
              <a:gd name="csY881" fmla="*/ 401131 h 1538630"/>
              <a:gd name="csX882" fmla="*/ 207877 w 1609516"/>
              <a:gd name="csY882" fmla="*/ 403663 h 1538630"/>
              <a:gd name="csX883" fmla="*/ 207877 w 1609516"/>
              <a:gd name="csY883" fmla="*/ 406481 h 1538630"/>
              <a:gd name="csX884" fmla="*/ 248492 w 1609516"/>
              <a:gd name="csY884" fmla="*/ 419428 h 1538630"/>
              <a:gd name="csX885" fmla="*/ 253965 w 1609516"/>
              <a:gd name="csY885" fmla="*/ 421000 h 1538630"/>
              <a:gd name="csX886" fmla="*/ 267237 w 1609516"/>
              <a:gd name="csY886" fmla="*/ 424801 h 1538630"/>
              <a:gd name="csX887" fmla="*/ 267237 w 1609516"/>
              <a:gd name="csY887" fmla="*/ 426451 h 1538630"/>
              <a:gd name="csX888" fmla="*/ 288701 w 1609516"/>
              <a:gd name="csY888" fmla="*/ 429217 h 1538630"/>
              <a:gd name="csX889" fmla="*/ 288701 w 1609516"/>
              <a:gd name="csY889" fmla="*/ 432036 h 1538630"/>
              <a:gd name="csX890" fmla="*/ 327010 w 1609516"/>
              <a:gd name="csY890" fmla="*/ 433628 h 1538630"/>
              <a:gd name="csX891" fmla="*/ 337486 w 1609516"/>
              <a:gd name="csY891" fmla="*/ 433637 h 1538630"/>
              <a:gd name="csX892" fmla="*/ 344229 w 1609516"/>
              <a:gd name="csY892" fmla="*/ 433632 h 1538630"/>
              <a:gd name="csX893" fmla="*/ 350323 w 1609516"/>
              <a:gd name="csY893" fmla="*/ 433627 h 1538630"/>
              <a:gd name="csX894" fmla="*/ 365245 w 1609516"/>
              <a:gd name="csY894" fmla="*/ 432036 h 1538630"/>
              <a:gd name="csX895" fmla="*/ 360797 w 1609516"/>
              <a:gd name="csY895" fmla="*/ 433759 h 1538630"/>
              <a:gd name="csX896" fmla="*/ 365650 w 1609516"/>
              <a:gd name="csY896" fmla="*/ 433257 h 1538630"/>
              <a:gd name="csX897" fmla="*/ 367213 w 1609516"/>
              <a:gd name="csY897" fmla="*/ 429029 h 1538630"/>
              <a:gd name="csX898" fmla="*/ 375188 w 1609516"/>
              <a:gd name="csY898" fmla="*/ 424906 h 1538630"/>
              <a:gd name="csX899" fmla="*/ 404704 w 1609516"/>
              <a:gd name="csY899" fmla="*/ 389571 h 1538630"/>
              <a:gd name="csX900" fmla="*/ 406265 w 1609516"/>
              <a:gd name="csY900" fmla="*/ 388161 h 1538630"/>
              <a:gd name="csX901" fmla="*/ 406559 w 1609516"/>
              <a:gd name="csY901" fmla="*/ 370106 h 1538630"/>
              <a:gd name="csX902" fmla="*/ 406617 w 1609516"/>
              <a:gd name="csY902" fmla="*/ 364973 h 1538630"/>
              <a:gd name="csX903" fmla="*/ 406626 w 1609516"/>
              <a:gd name="csY903" fmla="*/ 360038 h 1538630"/>
              <a:gd name="csX904" fmla="*/ 406645 w 1609516"/>
              <a:gd name="csY904" fmla="*/ 355503 h 1538630"/>
              <a:gd name="csX905" fmla="*/ 403142 w 1609516"/>
              <a:gd name="csY905" fmla="*/ 345885 h 1538630"/>
              <a:gd name="csX906" fmla="*/ 401579 w 1609516"/>
              <a:gd name="csY906" fmla="*/ 338663 h 1538630"/>
              <a:gd name="csX907" fmla="*/ 390938 w 1609516"/>
              <a:gd name="csY907" fmla="*/ 315939 h 1538630"/>
              <a:gd name="csX908" fmla="*/ 388976 w 1609516"/>
              <a:gd name="csY908" fmla="*/ 312762 h 1538630"/>
              <a:gd name="csX909" fmla="*/ 377934 w 1609516"/>
              <a:gd name="csY909" fmla="*/ 297817 h 1538630"/>
              <a:gd name="csX910" fmla="*/ 368775 w 1609516"/>
              <a:gd name="csY910" fmla="*/ 282470 h 1538630"/>
              <a:gd name="csX911" fmla="*/ 359890 w 1609516"/>
              <a:gd name="csY911" fmla="*/ 271284 h 1538630"/>
              <a:gd name="csX912" fmla="*/ 357374 w 1609516"/>
              <a:gd name="csY912" fmla="*/ 268288 h 1538630"/>
              <a:gd name="csX913" fmla="*/ 337533 w 1609516"/>
              <a:gd name="csY913" fmla="*/ 248649 h 1538630"/>
              <a:gd name="csX914" fmla="*/ 335214 w 1609516"/>
              <a:gd name="csY914" fmla="*/ 246369 h 1538630"/>
              <a:gd name="csX915" fmla="*/ 327085 w 1609516"/>
              <a:gd name="csY915" fmla="*/ 242571 h 1538630"/>
              <a:gd name="csX916" fmla="*/ 288785 w 1609516"/>
              <a:gd name="csY916" fmla="*/ 207968 h 1538630"/>
              <a:gd name="csX917" fmla="*/ 286373 w 1609516"/>
              <a:gd name="csY917" fmla="*/ 192544 h 1538630"/>
              <a:gd name="csX918" fmla="*/ 286385 w 1609516"/>
              <a:gd name="csY918" fmla="*/ 189190 h 1538630"/>
              <a:gd name="csX919" fmla="*/ 300042 w 1609516"/>
              <a:gd name="csY919" fmla="*/ 164095 h 1538630"/>
              <a:gd name="csX920" fmla="*/ 302757 w 1609516"/>
              <a:gd name="csY920" fmla="*/ 161381 h 1538630"/>
              <a:gd name="csX921" fmla="*/ 338411 w 1609516"/>
              <a:gd name="csY921" fmla="*/ 152293 h 1538630"/>
              <a:gd name="csX922" fmla="*/ 368482 w 1609516"/>
              <a:gd name="csY922" fmla="*/ 161893 h 1538630"/>
              <a:gd name="csX923" fmla="*/ 371899 w 1609516"/>
              <a:gd name="csY923" fmla="*/ 165505 h 1538630"/>
              <a:gd name="csX924" fmla="*/ 375121 w 1609516"/>
              <a:gd name="csY924" fmla="*/ 168587 h 1538630"/>
              <a:gd name="csX925" fmla="*/ 384982 w 1609516"/>
              <a:gd name="csY925" fmla="*/ 193777 h 1538630"/>
              <a:gd name="csX926" fmla="*/ 390352 w 1609516"/>
              <a:gd name="csY926" fmla="*/ 214563 h 1538630"/>
              <a:gd name="csX927" fmla="*/ 391529 w 1609516"/>
              <a:gd name="csY927" fmla="*/ 217626 h 1538630"/>
              <a:gd name="csX928" fmla="*/ 401579 w 1609516"/>
              <a:gd name="csY928" fmla="*/ 234556 h 1538630"/>
              <a:gd name="csX929" fmla="*/ 401579 w 1609516"/>
              <a:gd name="csY929" fmla="*/ 238784 h 1538630"/>
              <a:gd name="csX930" fmla="*/ 404215 w 1609516"/>
              <a:gd name="csY930" fmla="*/ 239753 h 1538630"/>
              <a:gd name="csX931" fmla="*/ 417811 w 1609516"/>
              <a:gd name="csY931" fmla="*/ 251996 h 1538630"/>
              <a:gd name="csX932" fmla="*/ 426866 w 1609516"/>
              <a:gd name="csY932" fmla="*/ 262300 h 1538630"/>
              <a:gd name="csX933" fmla="*/ 450097 w 1609516"/>
              <a:gd name="csY933" fmla="*/ 287628 h 1538630"/>
              <a:gd name="csX934" fmla="*/ 457425 w 1609516"/>
              <a:gd name="csY934" fmla="*/ 293920 h 1538630"/>
              <a:gd name="csX935" fmla="*/ 460940 w 1609516"/>
              <a:gd name="csY935" fmla="*/ 296562 h 1538630"/>
              <a:gd name="csX936" fmla="*/ 460940 w 1609516"/>
              <a:gd name="csY936" fmla="*/ 300790 h 1538630"/>
              <a:gd name="csX937" fmla="*/ 473437 w 1609516"/>
              <a:gd name="csY937" fmla="*/ 305018 h 1538630"/>
              <a:gd name="csX938" fmla="*/ 473437 w 1609516"/>
              <a:gd name="csY938" fmla="*/ 307836 h 1538630"/>
              <a:gd name="csX939" fmla="*/ 479881 w 1609516"/>
              <a:gd name="csY939" fmla="*/ 309862 h 1538630"/>
              <a:gd name="csX940" fmla="*/ 483505 w 1609516"/>
              <a:gd name="csY940" fmla="*/ 311001 h 1538630"/>
              <a:gd name="csX941" fmla="*/ 548419 w 1609516"/>
              <a:gd name="csY941" fmla="*/ 306427 h 1538630"/>
              <a:gd name="csX942" fmla="*/ 551842 w 1609516"/>
              <a:gd name="csY942" fmla="*/ 305127 h 1538630"/>
              <a:gd name="csX943" fmla="*/ 560232 w 1609516"/>
              <a:gd name="csY943" fmla="*/ 298148 h 1538630"/>
              <a:gd name="csX944" fmla="*/ 562972 w 1609516"/>
              <a:gd name="csY944" fmla="*/ 295252 h 1538630"/>
              <a:gd name="csX945" fmla="*/ 568086 w 1609516"/>
              <a:gd name="csY945" fmla="*/ 289152 h 1538630"/>
              <a:gd name="csX946" fmla="*/ 570289 w 1609516"/>
              <a:gd name="csY946" fmla="*/ 286697 h 1538630"/>
              <a:gd name="csX947" fmla="*/ 573413 w 1609516"/>
              <a:gd name="csY947" fmla="*/ 286697 h 1538630"/>
              <a:gd name="csX948" fmla="*/ 577220 w 1609516"/>
              <a:gd name="csY948" fmla="*/ 257016 h 1538630"/>
              <a:gd name="csX949" fmla="*/ 577235 w 1609516"/>
              <a:gd name="csY949" fmla="*/ 254206 h 1538630"/>
              <a:gd name="csX950" fmla="*/ 569443 w 1609516"/>
              <a:gd name="csY950" fmla="*/ 206049 h 1538630"/>
              <a:gd name="csX951" fmla="*/ 568726 w 1609516"/>
              <a:gd name="csY951" fmla="*/ 200735 h 1538630"/>
              <a:gd name="csX952" fmla="*/ 565602 w 1609516"/>
              <a:gd name="csY952" fmla="*/ 200735 h 1538630"/>
              <a:gd name="csX953" fmla="*/ 559549 w 1609516"/>
              <a:gd name="csY953" fmla="*/ 184441 h 1538630"/>
              <a:gd name="csX954" fmla="*/ 537484 w 1609516"/>
              <a:gd name="csY954" fmla="*/ 159867 h 1538630"/>
              <a:gd name="csX955" fmla="*/ 531235 w 1609516"/>
              <a:gd name="csY955" fmla="*/ 154230 h 1538630"/>
              <a:gd name="csX956" fmla="*/ 531235 w 1609516"/>
              <a:gd name="csY956" fmla="*/ 151412 h 1538630"/>
              <a:gd name="csX957" fmla="*/ 526549 w 1609516"/>
              <a:gd name="csY957" fmla="*/ 150003 h 1538630"/>
              <a:gd name="csX958" fmla="*/ 524304 w 1609516"/>
              <a:gd name="csY958" fmla="*/ 107198 h 1538630"/>
              <a:gd name="csX959" fmla="*/ 547052 w 1609516"/>
              <a:gd name="csY959" fmla="*/ 85972 h 1538630"/>
              <a:gd name="csX960" fmla="*/ 588460 w 1609516"/>
              <a:gd name="csY960" fmla="*/ 83538 h 1538630"/>
              <a:gd name="csX961" fmla="*/ 617152 w 1609516"/>
              <a:gd name="csY961" fmla="*/ 111954 h 1538630"/>
              <a:gd name="csX962" fmla="*/ 617884 w 1609516"/>
              <a:gd name="csY962" fmla="*/ 124175 h 1538630"/>
              <a:gd name="csX963" fmla="*/ 617917 w 1609516"/>
              <a:gd name="csY963" fmla="*/ 127607 h 1538630"/>
              <a:gd name="csX964" fmla="*/ 617919 w 1609516"/>
              <a:gd name="csY964" fmla="*/ 141969 h 1538630"/>
              <a:gd name="csX965" fmla="*/ 630625 w 1609516"/>
              <a:gd name="csY965" fmla="*/ 191311 h 1538630"/>
              <a:gd name="csX966" fmla="*/ 637850 w 1609516"/>
              <a:gd name="csY966" fmla="*/ 205139 h 1538630"/>
              <a:gd name="csX967" fmla="*/ 643708 w 1609516"/>
              <a:gd name="csY967" fmla="*/ 212009 h 1538630"/>
              <a:gd name="csX968" fmla="*/ 647027 w 1609516"/>
              <a:gd name="csY968" fmla="*/ 217645 h 1538630"/>
              <a:gd name="csX969" fmla="*/ 670264 w 1609516"/>
              <a:gd name="csY969" fmla="*/ 241603 h 1538630"/>
              <a:gd name="csX970" fmla="*/ 670264 w 1609516"/>
              <a:gd name="csY970" fmla="*/ 244421 h 1538630"/>
              <a:gd name="csX971" fmla="*/ 675634 w 1609516"/>
              <a:gd name="csY971" fmla="*/ 245742 h 1538630"/>
              <a:gd name="csX972" fmla="*/ 682761 w 1609516"/>
              <a:gd name="csY972" fmla="*/ 248649 h 1538630"/>
              <a:gd name="csX973" fmla="*/ 752092 w 1609516"/>
              <a:gd name="csY973" fmla="*/ 245076 h 1538630"/>
              <a:gd name="csX974" fmla="*/ 758433 w 1609516"/>
              <a:gd name="csY974" fmla="*/ 240485 h 1538630"/>
              <a:gd name="csX975" fmla="*/ 763991 w 1609516"/>
              <a:gd name="csY975" fmla="*/ 238784 h 1538630"/>
              <a:gd name="csX976" fmla="*/ 765315 w 1609516"/>
              <a:gd name="csY976" fmla="*/ 235778 h 1538630"/>
              <a:gd name="csX977" fmla="*/ 770923 w 1609516"/>
              <a:gd name="csY977" fmla="*/ 223459 h 1538630"/>
              <a:gd name="csX978" fmla="*/ 772998 w 1609516"/>
              <a:gd name="csY978" fmla="*/ 218934 h 1538630"/>
              <a:gd name="csX979" fmla="*/ 777562 w 1609516"/>
              <a:gd name="csY979" fmla="*/ 209895 h 1538630"/>
              <a:gd name="csX980" fmla="*/ 781175 w 1609516"/>
              <a:gd name="csY980" fmla="*/ 124637 h 1538630"/>
              <a:gd name="csX981" fmla="*/ 778051 w 1609516"/>
              <a:gd name="csY981" fmla="*/ 124637 h 1538630"/>
              <a:gd name="csX982" fmla="*/ 767116 w 1609516"/>
              <a:gd name="csY982" fmla="*/ 79542 h 1538630"/>
              <a:gd name="csX983" fmla="*/ 793379 w 1609516"/>
              <a:gd name="csY983" fmla="*/ 54000 h 1538630"/>
              <a:gd name="csX984" fmla="*/ 840688 w 1609516"/>
              <a:gd name="csY984" fmla="*/ 55503 h 1538630"/>
              <a:gd name="csX985" fmla="*/ 851470 w 1609516"/>
              <a:gd name="csY985" fmla="*/ 64040 h 1538630"/>
              <a:gd name="csX986" fmla="*/ 853997 w 1609516"/>
              <a:gd name="csY986" fmla="*/ 66529 h 1538630"/>
              <a:gd name="csX987" fmla="*/ 861488 w 1609516"/>
              <a:gd name="csY987" fmla="*/ 82057 h 1538630"/>
              <a:gd name="csX988" fmla="*/ 861937 w 1609516"/>
              <a:gd name="csY988" fmla="*/ 90492 h 1538630"/>
              <a:gd name="csX989" fmla="*/ 863826 w 1609516"/>
              <a:gd name="csY989" fmla="*/ 100715 h 1538630"/>
              <a:gd name="csX990" fmla="*/ 857577 w 1609516"/>
              <a:gd name="csY990" fmla="*/ 121853 h 1538630"/>
              <a:gd name="csX991" fmla="*/ 856015 w 1609516"/>
              <a:gd name="csY991" fmla="*/ 121853 h 1538630"/>
              <a:gd name="csX992" fmla="*/ 855442 w 1609516"/>
              <a:gd name="csY992" fmla="*/ 118919 h 1538630"/>
              <a:gd name="csX993" fmla="*/ 855417 w 1609516"/>
              <a:gd name="csY993" fmla="*/ 118798 h 1538630"/>
              <a:gd name="csX994" fmla="*/ 856157 w 1609516"/>
              <a:gd name="csY994" fmla="*/ 124637 h 1538630"/>
              <a:gd name="csX995" fmla="*/ 850623 w 1609516"/>
              <a:gd name="csY995" fmla="*/ 134701 h 1538630"/>
              <a:gd name="csX996" fmla="*/ 851325 w 1609516"/>
              <a:gd name="csY996" fmla="*/ 135968 h 1538630"/>
              <a:gd name="csX997" fmla="*/ 849886 w 1609516"/>
              <a:gd name="csY997" fmla="*/ 139843 h 1538630"/>
              <a:gd name="csX998" fmla="*/ 847786 w 1609516"/>
              <a:gd name="csY998" fmla="*/ 152889 h 1538630"/>
              <a:gd name="csX999" fmla="*/ 847767 w 1609516"/>
              <a:gd name="csY999" fmla="*/ 157768 h 1538630"/>
              <a:gd name="csX1000" fmla="*/ 847810 w 1609516"/>
              <a:gd name="csY1000" fmla="*/ 162919 h 1538630"/>
              <a:gd name="csX1001" fmla="*/ 847832 w 1609516"/>
              <a:gd name="csY1001" fmla="*/ 168227 h 1538630"/>
              <a:gd name="csX1002" fmla="*/ 850903 w 1609516"/>
              <a:gd name="csY1002" fmla="*/ 209013 h 1538630"/>
              <a:gd name="csX1003" fmla="*/ 852880 w 1609516"/>
              <a:gd name="csY1003" fmla="*/ 224692 h 1538630"/>
              <a:gd name="csX1004" fmla="*/ 854595 w 1609516"/>
              <a:gd name="csY1004" fmla="*/ 224692 h 1538630"/>
              <a:gd name="csX1005" fmla="*/ 856083 w 1609516"/>
              <a:gd name="csY1005" fmla="*/ 227268 h 1538630"/>
              <a:gd name="csX1006" fmla="*/ 879588 w 1609516"/>
              <a:gd name="csY1006" fmla="*/ 247239 h 1538630"/>
              <a:gd name="csX1007" fmla="*/ 885739 w 1609516"/>
              <a:gd name="csY1007" fmla="*/ 249618 h 1538630"/>
              <a:gd name="csX1008" fmla="*/ 890523 w 1609516"/>
              <a:gd name="csY1008" fmla="*/ 251467 h 1538630"/>
              <a:gd name="csX1009" fmla="*/ 890523 w 1609516"/>
              <a:gd name="csY1009" fmla="*/ 254285 h 1538630"/>
              <a:gd name="csX1010" fmla="*/ 920203 w 1609516"/>
              <a:gd name="csY1010" fmla="*/ 261332 h 1538630"/>
              <a:gd name="csX1011" fmla="*/ 920203 w 1609516"/>
              <a:gd name="csY1011" fmla="*/ 262741 h 1538630"/>
              <a:gd name="csX1012" fmla="*/ 910831 w 1609516"/>
              <a:gd name="csY1012" fmla="*/ 262741 h 1538630"/>
              <a:gd name="csX1013" fmla="*/ 910831 w 1609516"/>
              <a:gd name="csY1013" fmla="*/ 262864 h 1538630"/>
              <a:gd name="csX1014" fmla="*/ 927993 w 1609516"/>
              <a:gd name="csY1014" fmla="*/ 264177 h 1538630"/>
              <a:gd name="csX1015" fmla="*/ 939273 w 1609516"/>
              <a:gd name="csY1015" fmla="*/ 265285 h 1538630"/>
              <a:gd name="csX1016" fmla="*/ 940456 w 1609516"/>
              <a:gd name="csY1016" fmla="*/ 265191 h 1538630"/>
              <a:gd name="csX1017" fmla="*/ 991622 w 1609516"/>
              <a:gd name="csY1017" fmla="*/ 242329 h 1538630"/>
              <a:gd name="csX1018" fmla="*/ 1000803 w 1609516"/>
              <a:gd name="csY1018" fmla="*/ 236505 h 1538630"/>
              <a:gd name="csX1019" fmla="*/ 999806 w 1609516"/>
              <a:gd name="csY1019" fmla="*/ 236055 h 1538630"/>
              <a:gd name="csX1020" fmla="*/ 1003126 w 1609516"/>
              <a:gd name="csY1020" fmla="*/ 232851 h 1538630"/>
              <a:gd name="csX1021" fmla="*/ 1029487 w 1609516"/>
              <a:gd name="csY1021" fmla="*/ 205052 h 1538630"/>
              <a:gd name="csX1022" fmla="*/ 1029872 w 1609516"/>
              <a:gd name="csY1022" fmla="*/ 206442 h 1538630"/>
              <a:gd name="csX1023" fmla="*/ 1031614 w 1609516"/>
              <a:gd name="csY1023" fmla="*/ 203719 h 1538630"/>
              <a:gd name="csX1024" fmla="*/ 1038924 w 1609516"/>
              <a:gd name="csY1024" fmla="*/ 192280 h 1538630"/>
              <a:gd name="csX1025" fmla="*/ 1042049 w 1609516"/>
              <a:gd name="csY1025" fmla="*/ 190870 h 1538630"/>
              <a:gd name="csX1026" fmla="*/ 1044294 w 1609516"/>
              <a:gd name="csY1026" fmla="*/ 186026 h 1538630"/>
              <a:gd name="csX1027" fmla="*/ 1051422 w 1609516"/>
              <a:gd name="csY1027" fmla="*/ 178188 h 1538630"/>
              <a:gd name="csX1028" fmla="*/ 1052984 w 1609516"/>
              <a:gd name="csY1028" fmla="*/ 172551 h 1538630"/>
              <a:gd name="csX1029" fmla="*/ 1056108 w 1609516"/>
              <a:gd name="csY1029" fmla="*/ 172551 h 1538630"/>
              <a:gd name="csX1030" fmla="*/ 1059232 w 1609516"/>
              <a:gd name="csY1030" fmla="*/ 162686 h 1538630"/>
              <a:gd name="csX1031" fmla="*/ 1062357 w 1609516"/>
              <a:gd name="csY1031" fmla="*/ 162686 h 1538630"/>
              <a:gd name="csX1032" fmla="*/ 1063162 w 1609516"/>
              <a:gd name="csY1032" fmla="*/ 160258 h 1538630"/>
              <a:gd name="csX1033" fmla="*/ 1073292 w 1609516"/>
              <a:gd name="csY1033" fmla="*/ 140138 h 1538630"/>
              <a:gd name="csX1034" fmla="*/ 1076415 w 1609516"/>
              <a:gd name="csY1034" fmla="*/ 140138 h 1538630"/>
              <a:gd name="csX1035" fmla="*/ 1085294 w 1609516"/>
              <a:gd name="csY1035" fmla="*/ 117569 h 1538630"/>
              <a:gd name="csX1036" fmla="*/ 1087350 w 1609516"/>
              <a:gd name="csY1036" fmla="*/ 113363 h 1538630"/>
              <a:gd name="csX1037" fmla="*/ 1092037 w 1609516"/>
              <a:gd name="csY1037" fmla="*/ 111954 h 1538630"/>
              <a:gd name="csX1038" fmla="*/ 1092623 w 1609516"/>
              <a:gd name="csY1038" fmla="*/ 108695 h 1538630"/>
              <a:gd name="csX1039" fmla="*/ 1096723 w 1609516"/>
              <a:gd name="csY1039" fmla="*/ 100680 h 1538630"/>
              <a:gd name="csX1040" fmla="*/ 1098188 w 1609516"/>
              <a:gd name="csY1040" fmla="*/ 96013 h 1538630"/>
              <a:gd name="csX1041" fmla="*/ 1102288 w 1609516"/>
              <a:gd name="csY1041" fmla="*/ 87029 h 1538630"/>
              <a:gd name="csX1042" fmla="*/ 1104534 w 1609516"/>
              <a:gd name="csY1042" fmla="*/ 61222 h 1538630"/>
              <a:gd name="csX1043" fmla="*/ 1104381 w 1609516"/>
              <a:gd name="csY1043" fmla="*/ 55569 h 1538630"/>
              <a:gd name="csX1044" fmla="*/ 1104397 w 1609516"/>
              <a:gd name="csY1044" fmla="*/ 52335 h 1538630"/>
              <a:gd name="csX1045" fmla="*/ 1104436 w 1609516"/>
              <a:gd name="csY1045" fmla="*/ 48979 h 1538630"/>
              <a:gd name="csX1046" fmla="*/ 1104457 w 1609516"/>
              <a:gd name="csY1046" fmla="*/ 45575 h 1538630"/>
              <a:gd name="csX1047" fmla="*/ 1104534 w 1609516"/>
              <a:gd name="csY1047" fmla="*/ 37265 h 1538630"/>
              <a:gd name="csX1048" fmla="*/ 1107658 w 1609516"/>
              <a:gd name="csY1048" fmla="*/ 37265 h 1538630"/>
              <a:gd name="csX1049" fmla="*/ 1107463 w 1609516"/>
              <a:gd name="csY1049" fmla="*/ 31805 h 1538630"/>
              <a:gd name="csX1050" fmla="*/ 1107658 w 1609516"/>
              <a:gd name="csY1050" fmla="*/ 25991 h 1538630"/>
              <a:gd name="csX1051" fmla="*/ 1110782 w 1609516"/>
              <a:gd name="csY1051" fmla="*/ 23173 h 1538630"/>
              <a:gd name="csX1052" fmla="*/ 1111759 w 1609516"/>
              <a:gd name="csY1052" fmla="*/ 20091 h 1538630"/>
              <a:gd name="csX1053" fmla="*/ 1134507 w 1609516"/>
              <a:gd name="csY1053" fmla="*/ 2828 h 1538630"/>
              <a:gd name="csX1054" fmla="*/ 1155019 w 1609516"/>
              <a:gd name="csY1054" fmla="*/ 35 h 153863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  <a:cxn ang="0">
                <a:pos x="csX170" y="csY170"/>
              </a:cxn>
              <a:cxn ang="0">
                <a:pos x="csX171" y="csY171"/>
              </a:cxn>
              <a:cxn ang="0">
                <a:pos x="csX172" y="csY172"/>
              </a:cxn>
              <a:cxn ang="0">
                <a:pos x="csX173" y="csY173"/>
              </a:cxn>
              <a:cxn ang="0">
                <a:pos x="csX174" y="csY174"/>
              </a:cxn>
              <a:cxn ang="0">
                <a:pos x="csX175" y="csY175"/>
              </a:cxn>
              <a:cxn ang="0">
                <a:pos x="csX176" y="csY176"/>
              </a:cxn>
              <a:cxn ang="0">
                <a:pos x="csX177" y="csY177"/>
              </a:cxn>
              <a:cxn ang="0">
                <a:pos x="csX178" y="csY178"/>
              </a:cxn>
              <a:cxn ang="0">
                <a:pos x="csX179" y="csY179"/>
              </a:cxn>
              <a:cxn ang="0">
                <a:pos x="csX180" y="csY180"/>
              </a:cxn>
              <a:cxn ang="0">
                <a:pos x="csX181" y="csY181"/>
              </a:cxn>
              <a:cxn ang="0">
                <a:pos x="csX182" y="csY182"/>
              </a:cxn>
              <a:cxn ang="0">
                <a:pos x="csX183" y="csY183"/>
              </a:cxn>
              <a:cxn ang="0">
                <a:pos x="csX184" y="csY184"/>
              </a:cxn>
              <a:cxn ang="0">
                <a:pos x="csX185" y="csY185"/>
              </a:cxn>
              <a:cxn ang="0">
                <a:pos x="csX186" y="csY186"/>
              </a:cxn>
              <a:cxn ang="0">
                <a:pos x="csX187" y="csY187"/>
              </a:cxn>
              <a:cxn ang="0">
                <a:pos x="csX188" y="csY188"/>
              </a:cxn>
              <a:cxn ang="0">
                <a:pos x="csX189" y="csY189"/>
              </a:cxn>
              <a:cxn ang="0">
                <a:pos x="csX190" y="csY190"/>
              </a:cxn>
              <a:cxn ang="0">
                <a:pos x="csX191" y="csY191"/>
              </a:cxn>
              <a:cxn ang="0">
                <a:pos x="csX192" y="csY192"/>
              </a:cxn>
              <a:cxn ang="0">
                <a:pos x="csX193" y="csY193"/>
              </a:cxn>
              <a:cxn ang="0">
                <a:pos x="csX194" y="csY194"/>
              </a:cxn>
              <a:cxn ang="0">
                <a:pos x="csX195" y="csY195"/>
              </a:cxn>
              <a:cxn ang="0">
                <a:pos x="csX196" y="csY196"/>
              </a:cxn>
              <a:cxn ang="0">
                <a:pos x="csX197" y="csY197"/>
              </a:cxn>
              <a:cxn ang="0">
                <a:pos x="csX198" y="csY198"/>
              </a:cxn>
              <a:cxn ang="0">
                <a:pos x="csX199" y="csY199"/>
              </a:cxn>
              <a:cxn ang="0">
                <a:pos x="csX200" y="csY200"/>
              </a:cxn>
              <a:cxn ang="0">
                <a:pos x="csX201" y="csY201"/>
              </a:cxn>
              <a:cxn ang="0">
                <a:pos x="csX202" y="csY202"/>
              </a:cxn>
              <a:cxn ang="0">
                <a:pos x="csX203" y="csY203"/>
              </a:cxn>
              <a:cxn ang="0">
                <a:pos x="csX204" y="csY204"/>
              </a:cxn>
              <a:cxn ang="0">
                <a:pos x="csX205" y="csY205"/>
              </a:cxn>
              <a:cxn ang="0">
                <a:pos x="csX206" y="csY206"/>
              </a:cxn>
              <a:cxn ang="0">
                <a:pos x="csX207" y="csY207"/>
              </a:cxn>
              <a:cxn ang="0">
                <a:pos x="csX208" y="csY208"/>
              </a:cxn>
              <a:cxn ang="0">
                <a:pos x="csX209" y="csY209"/>
              </a:cxn>
              <a:cxn ang="0">
                <a:pos x="csX210" y="csY210"/>
              </a:cxn>
              <a:cxn ang="0">
                <a:pos x="csX211" y="csY211"/>
              </a:cxn>
              <a:cxn ang="0">
                <a:pos x="csX212" y="csY212"/>
              </a:cxn>
              <a:cxn ang="0">
                <a:pos x="csX213" y="csY213"/>
              </a:cxn>
              <a:cxn ang="0">
                <a:pos x="csX214" y="csY214"/>
              </a:cxn>
              <a:cxn ang="0">
                <a:pos x="csX215" y="csY215"/>
              </a:cxn>
              <a:cxn ang="0">
                <a:pos x="csX216" y="csY216"/>
              </a:cxn>
              <a:cxn ang="0">
                <a:pos x="csX217" y="csY217"/>
              </a:cxn>
              <a:cxn ang="0">
                <a:pos x="csX218" y="csY218"/>
              </a:cxn>
              <a:cxn ang="0">
                <a:pos x="csX219" y="csY219"/>
              </a:cxn>
              <a:cxn ang="0">
                <a:pos x="csX220" y="csY220"/>
              </a:cxn>
              <a:cxn ang="0">
                <a:pos x="csX221" y="csY221"/>
              </a:cxn>
              <a:cxn ang="0">
                <a:pos x="csX222" y="csY222"/>
              </a:cxn>
              <a:cxn ang="0">
                <a:pos x="csX223" y="csY223"/>
              </a:cxn>
              <a:cxn ang="0">
                <a:pos x="csX224" y="csY224"/>
              </a:cxn>
              <a:cxn ang="0">
                <a:pos x="csX225" y="csY225"/>
              </a:cxn>
              <a:cxn ang="0">
                <a:pos x="csX226" y="csY226"/>
              </a:cxn>
              <a:cxn ang="0">
                <a:pos x="csX227" y="csY227"/>
              </a:cxn>
              <a:cxn ang="0">
                <a:pos x="csX228" y="csY228"/>
              </a:cxn>
              <a:cxn ang="0">
                <a:pos x="csX229" y="csY229"/>
              </a:cxn>
              <a:cxn ang="0">
                <a:pos x="csX230" y="csY230"/>
              </a:cxn>
              <a:cxn ang="0">
                <a:pos x="csX231" y="csY231"/>
              </a:cxn>
              <a:cxn ang="0">
                <a:pos x="csX232" y="csY232"/>
              </a:cxn>
              <a:cxn ang="0">
                <a:pos x="csX233" y="csY233"/>
              </a:cxn>
              <a:cxn ang="0">
                <a:pos x="csX234" y="csY234"/>
              </a:cxn>
              <a:cxn ang="0">
                <a:pos x="csX235" y="csY235"/>
              </a:cxn>
              <a:cxn ang="0">
                <a:pos x="csX236" y="csY236"/>
              </a:cxn>
              <a:cxn ang="0">
                <a:pos x="csX237" y="csY237"/>
              </a:cxn>
              <a:cxn ang="0">
                <a:pos x="csX238" y="csY238"/>
              </a:cxn>
              <a:cxn ang="0">
                <a:pos x="csX239" y="csY239"/>
              </a:cxn>
              <a:cxn ang="0">
                <a:pos x="csX240" y="csY240"/>
              </a:cxn>
              <a:cxn ang="0">
                <a:pos x="csX241" y="csY241"/>
              </a:cxn>
              <a:cxn ang="0">
                <a:pos x="csX242" y="csY242"/>
              </a:cxn>
              <a:cxn ang="0">
                <a:pos x="csX243" y="csY243"/>
              </a:cxn>
              <a:cxn ang="0">
                <a:pos x="csX244" y="csY244"/>
              </a:cxn>
              <a:cxn ang="0">
                <a:pos x="csX245" y="csY245"/>
              </a:cxn>
              <a:cxn ang="0">
                <a:pos x="csX246" y="csY246"/>
              </a:cxn>
              <a:cxn ang="0">
                <a:pos x="csX247" y="csY247"/>
              </a:cxn>
              <a:cxn ang="0">
                <a:pos x="csX248" y="csY248"/>
              </a:cxn>
              <a:cxn ang="0">
                <a:pos x="csX249" y="csY249"/>
              </a:cxn>
              <a:cxn ang="0">
                <a:pos x="csX250" y="csY250"/>
              </a:cxn>
              <a:cxn ang="0">
                <a:pos x="csX251" y="csY251"/>
              </a:cxn>
              <a:cxn ang="0">
                <a:pos x="csX252" y="csY252"/>
              </a:cxn>
              <a:cxn ang="0">
                <a:pos x="csX253" y="csY253"/>
              </a:cxn>
              <a:cxn ang="0">
                <a:pos x="csX254" y="csY254"/>
              </a:cxn>
              <a:cxn ang="0">
                <a:pos x="csX255" y="csY255"/>
              </a:cxn>
              <a:cxn ang="0">
                <a:pos x="csX256" y="csY256"/>
              </a:cxn>
              <a:cxn ang="0">
                <a:pos x="csX257" y="csY257"/>
              </a:cxn>
              <a:cxn ang="0">
                <a:pos x="csX258" y="csY258"/>
              </a:cxn>
              <a:cxn ang="0">
                <a:pos x="csX259" y="csY259"/>
              </a:cxn>
              <a:cxn ang="0">
                <a:pos x="csX260" y="csY260"/>
              </a:cxn>
              <a:cxn ang="0">
                <a:pos x="csX261" y="csY261"/>
              </a:cxn>
              <a:cxn ang="0">
                <a:pos x="csX262" y="csY262"/>
              </a:cxn>
              <a:cxn ang="0">
                <a:pos x="csX263" y="csY263"/>
              </a:cxn>
              <a:cxn ang="0">
                <a:pos x="csX264" y="csY264"/>
              </a:cxn>
              <a:cxn ang="0">
                <a:pos x="csX265" y="csY265"/>
              </a:cxn>
              <a:cxn ang="0">
                <a:pos x="csX266" y="csY266"/>
              </a:cxn>
              <a:cxn ang="0">
                <a:pos x="csX267" y="csY267"/>
              </a:cxn>
              <a:cxn ang="0">
                <a:pos x="csX268" y="csY268"/>
              </a:cxn>
              <a:cxn ang="0">
                <a:pos x="csX269" y="csY269"/>
              </a:cxn>
              <a:cxn ang="0">
                <a:pos x="csX270" y="csY270"/>
              </a:cxn>
              <a:cxn ang="0">
                <a:pos x="csX271" y="csY271"/>
              </a:cxn>
              <a:cxn ang="0">
                <a:pos x="csX272" y="csY272"/>
              </a:cxn>
              <a:cxn ang="0">
                <a:pos x="csX273" y="csY273"/>
              </a:cxn>
              <a:cxn ang="0">
                <a:pos x="csX274" y="csY274"/>
              </a:cxn>
              <a:cxn ang="0">
                <a:pos x="csX275" y="csY275"/>
              </a:cxn>
              <a:cxn ang="0">
                <a:pos x="csX276" y="csY276"/>
              </a:cxn>
              <a:cxn ang="0">
                <a:pos x="csX277" y="csY277"/>
              </a:cxn>
              <a:cxn ang="0">
                <a:pos x="csX278" y="csY278"/>
              </a:cxn>
              <a:cxn ang="0">
                <a:pos x="csX279" y="csY279"/>
              </a:cxn>
              <a:cxn ang="0">
                <a:pos x="csX280" y="csY280"/>
              </a:cxn>
              <a:cxn ang="0">
                <a:pos x="csX281" y="csY281"/>
              </a:cxn>
              <a:cxn ang="0">
                <a:pos x="csX282" y="csY282"/>
              </a:cxn>
              <a:cxn ang="0">
                <a:pos x="csX283" y="csY283"/>
              </a:cxn>
              <a:cxn ang="0">
                <a:pos x="csX284" y="csY284"/>
              </a:cxn>
              <a:cxn ang="0">
                <a:pos x="csX285" y="csY285"/>
              </a:cxn>
              <a:cxn ang="0">
                <a:pos x="csX286" y="csY286"/>
              </a:cxn>
              <a:cxn ang="0">
                <a:pos x="csX287" y="csY287"/>
              </a:cxn>
              <a:cxn ang="0">
                <a:pos x="csX288" y="csY288"/>
              </a:cxn>
              <a:cxn ang="0">
                <a:pos x="csX289" y="csY289"/>
              </a:cxn>
              <a:cxn ang="0">
                <a:pos x="csX290" y="csY290"/>
              </a:cxn>
              <a:cxn ang="0">
                <a:pos x="csX291" y="csY291"/>
              </a:cxn>
              <a:cxn ang="0">
                <a:pos x="csX292" y="csY292"/>
              </a:cxn>
              <a:cxn ang="0">
                <a:pos x="csX293" y="csY293"/>
              </a:cxn>
              <a:cxn ang="0">
                <a:pos x="csX294" y="csY294"/>
              </a:cxn>
              <a:cxn ang="0">
                <a:pos x="csX295" y="csY295"/>
              </a:cxn>
              <a:cxn ang="0">
                <a:pos x="csX296" y="csY296"/>
              </a:cxn>
              <a:cxn ang="0">
                <a:pos x="csX297" y="csY297"/>
              </a:cxn>
              <a:cxn ang="0">
                <a:pos x="csX298" y="csY298"/>
              </a:cxn>
              <a:cxn ang="0">
                <a:pos x="csX299" y="csY299"/>
              </a:cxn>
              <a:cxn ang="0">
                <a:pos x="csX300" y="csY300"/>
              </a:cxn>
              <a:cxn ang="0">
                <a:pos x="csX301" y="csY301"/>
              </a:cxn>
              <a:cxn ang="0">
                <a:pos x="csX302" y="csY302"/>
              </a:cxn>
              <a:cxn ang="0">
                <a:pos x="csX303" y="csY303"/>
              </a:cxn>
              <a:cxn ang="0">
                <a:pos x="csX304" y="csY304"/>
              </a:cxn>
              <a:cxn ang="0">
                <a:pos x="csX305" y="csY305"/>
              </a:cxn>
              <a:cxn ang="0">
                <a:pos x="csX306" y="csY306"/>
              </a:cxn>
              <a:cxn ang="0">
                <a:pos x="csX307" y="csY307"/>
              </a:cxn>
              <a:cxn ang="0">
                <a:pos x="csX308" y="csY308"/>
              </a:cxn>
              <a:cxn ang="0">
                <a:pos x="csX309" y="csY309"/>
              </a:cxn>
              <a:cxn ang="0">
                <a:pos x="csX310" y="csY310"/>
              </a:cxn>
              <a:cxn ang="0">
                <a:pos x="csX311" y="csY311"/>
              </a:cxn>
              <a:cxn ang="0">
                <a:pos x="csX312" y="csY312"/>
              </a:cxn>
              <a:cxn ang="0">
                <a:pos x="csX313" y="csY313"/>
              </a:cxn>
              <a:cxn ang="0">
                <a:pos x="csX314" y="csY314"/>
              </a:cxn>
              <a:cxn ang="0">
                <a:pos x="csX315" y="csY315"/>
              </a:cxn>
              <a:cxn ang="0">
                <a:pos x="csX316" y="csY316"/>
              </a:cxn>
              <a:cxn ang="0">
                <a:pos x="csX317" y="csY317"/>
              </a:cxn>
              <a:cxn ang="0">
                <a:pos x="csX318" y="csY318"/>
              </a:cxn>
              <a:cxn ang="0">
                <a:pos x="csX319" y="csY319"/>
              </a:cxn>
              <a:cxn ang="0">
                <a:pos x="csX320" y="csY320"/>
              </a:cxn>
              <a:cxn ang="0">
                <a:pos x="csX321" y="csY321"/>
              </a:cxn>
              <a:cxn ang="0">
                <a:pos x="csX322" y="csY322"/>
              </a:cxn>
              <a:cxn ang="0">
                <a:pos x="csX323" y="csY323"/>
              </a:cxn>
              <a:cxn ang="0">
                <a:pos x="csX324" y="csY324"/>
              </a:cxn>
              <a:cxn ang="0">
                <a:pos x="csX325" y="csY325"/>
              </a:cxn>
              <a:cxn ang="0">
                <a:pos x="csX326" y="csY326"/>
              </a:cxn>
              <a:cxn ang="0">
                <a:pos x="csX327" y="csY327"/>
              </a:cxn>
              <a:cxn ang="0">
                <a:pos x="csX328" y="csY328"/>
              </a:cxn>
              <a:cxn ang="0">
                <a:pos x="csX329" y="csY329"/>
              </a:cxn>
              <a:cxn ang="0">
                <a:pos x="csX330" y="csY330"/>
              </a:cxn>
              <a:cxn ang="0">
                <a:pos x="csX331" y="csY331"/>
              </a:cxn>
              <a:cxn ang="0">
                <a:pos x="csX332" y="csY332"/>
              </a:cxn>
              <a:cxn ang="0">
                <a:pos x="csX333" y="csY333"/>
              </a:cxn>
              <a:cxn ang="0">
                <a:pos x="csX334" y="csY334"/>
              </a:cxn>
              <a:cxn ang="0">
                <a:pos x="csX335" y="csY335"/>
              </a:cxn>
              <a:cxn ang="0">
                <a:pos x="csX336" y="csY336"/>
              </a:cxn>
              <a:cxn ang="0">
                <a:pos x="csX337" y="csY337"/>
              </a:cxn>
              <a:cxn ang="0">
                <a:pos x="csX338" y="csY338"/>
              </a:cxn>
              <a:cxn ang="0">
                <a:pos x="csX339" y="csY339"/>
              </a:cxn>
              <a:cxn ang="0">
                <a:pos x="csX340" y="csY340"/>
              </a:cxn>
              <a:cxn ang="0">
                <a:pos x="csX341" y="csY341"/>
              </a:cxn>
              <a:cxn ang="0">
                <a:pos x="csX342" y="csY342"/>
              </a:cxn>
              <a:cxn ang="0">
                <a:pos x="csX343" y="csY343"/>
              </a:cxn>
              <a:cxn ang="0">
                <a:pos x="csX344" y="csY344"/>
              </a:cxn>
              <a:cxn ang="0">
                <a:pos x="csX345" y="csY345"/>
              </a:cxn>
              <a:cxn ang="0">
                <a:pos x="csX346" y="csY346"/>
              </a:cxn>
              <a:cxn ang="0">
                <a:pos x="csX347" y="csY347"/>
              </a:cxn>
              <a:cxn ang="0">
                <a:pos x="csX348" y="csY348"/>
              </a:cxn>
              <a:cxn ang="0">
                <a:pos x="csX349" y="csY349"/>
              </a:cxn>
              <a:cxn ang="0">
                <a:pos x="csX350" y="csY350"/>
              </a:cxn>
              <a:cxn ang="0">
                <a:pos x="csX351" y="csY351"/>
              </a:cxn>
              <a:cxn ang="0">
                <a:pos x="csX352" y="csY352"/>
              </a:cxn>
              <a:cxn ang="0">
                <a:pos x="csX353" y="csY353"/>
              </a:cxn>
              <a:cxn ang="0">
                <a:pos x="csX354" y="csY354"/>
              </a:cxn>
              <a:cxn ang="0">
                <a:pos x="csX355" y="csY355"/>
              </a:cxn>
              <a:cxn ang="0">
                <a:pos x="csX356" y="csY356"/>
              </a:cxn>
              <a:cxn ang="0">
                <a:pos x="csX357" y="csY357"/>
              </a:cxn>
              <a:cxn ang="0">
                <a:pos x="csX358" y="csY358"/>
              </a:cxn>
              <a:cxn ang="0">
                <a:pos x="csX359" y="csY359"/>
              </a:cxn>
              <a:cxn ang="0">
                <a:pos x="csX360" y="csY360"/>
              </a:cxn>
              <a:cxn ang="0">
                <a:pos x="csX361" y="csY361"/>
              </a:cxn>
              <a:cxn ang="0">
                <a:pos x="csX362" y="csY362"/>
              </a:cxn>
              <a:cxn ang="0">
                <a:pos x="csX363" y="csY363"/>
              </a:cxn>
              <a:cxn ang="0">
                <a:pos x="csX364" y="csY364"/>
              </a:cxn>
              <a:cxn ang="0">
                <a:pos x="csX365" y="csY365"/>
              </a:cxn>
              <a:cxn ang="0">
                <a:pos x="csX366" y="csY366"/>
              </a:cxn>
              <a:cxn ang="0">
                <a:pos x="csX367" y="csY367"/>
              </a:cxn>
              <a:cxn ang="0">
                <a:pos x="csX368" y="csY368"/>
              </a:cxn>
              <a:cxn ang="0">
                <a:pos x="csX369" y="csY369"/>
              </a:cxn>
              <a:cxn ang="0">
                <a:pos x="csX370" y="csY370"/>
              </a:cxn>
              <a:cxn ang="0">
                <a:pos x="csX371" y="csY371"/>
              </a:cxn>
              <a:cxn ang="0">
                <a:pos x="csX372" y="csY372"/>
              </a:cxn>
              <a:cxn ang="0">
                <a:pos x="csX373" y="csY373"/>
              </a:cxn>
              <a:cxn ang="0">
                <a:pos x="csX374" y="csY374"/>
              </a:cxn>
              <a:cxn ang="0">
                <a:pos x="csX375" y="csY375"/>
              </a:cxn>
              <a:cxn ang="0">
                <a:pos x="csX376" y="csY376"/>
              </a:cxn>
              <a:cxn ang="0">
                <a:pos x="csX377" y="csY377"/>
              </a:cxn>
              <a:cxn ang="0">
                <a:pos x="csX378" y="csY378"/>
              </a:cxn>
              <a:cxn ang="0">
                <a:pos x="csX379" y="csY379"/>
              </a:cxn>
              <a:cxn ang="0">
                <a:pos x="csX380" y="csY380"/>
              </a:cxn>
              <a:cxn ang="0">
                <a:pos x="csX381" y="csY381"/>
              </a:cxn>
              <a:cxn ang="0">
                <a:pos x="csX382" y="csY382"/>
              </a:cxn>
              <a:cxn ang="0">
                <a:pos x="csX383" y="csY383"/>
              </a:cxn>
              <a:cxn ang="0">
                <a:pos x="csX384" y="csY384"/>
              </a:cxn>
              <a:cxn ang="0">
                <a:pos x="csX385" y="csY385"/>
              </a:cxn>
              <a:cxn ang="0">
                <a:pos x="csX386" y="csY386"/>
              </a:cxn>
              <a:cxn ang="0">
                <a:pos x="csX387" y="csY387"/>
              </a:cxn>
              <a:cxn ang="0">
                <a:pos x="csX388" y="csY388"/>
              </a:cxn>
              <a:cxn ang="0">
                <a:pos x="csX389" y="csY389"/>
              </a:cxn>
              <a:cxn ang="0">
                <a:pos x="csX390" y="csY390"/>
              </a:cxn>
              <a:cxn ang="0">
                <a:pos x="csX391" y="csY391"/>
              </a:cxn>
              <a:cxn ang="0">
                <a:pos x="csX392" y="csY392"/>
              </a:cxn>
              <a:cxn ang="0">
                <a:pos x="csX393" y="csY393"/>
              </a:cxn>
              <a:cxn ang="0">
                <a:pos x="csX394" y="csY394"/>
              </a:cxn>
              <a:cxn ang="0">
                <a:pos x="csX395" y="csY395"/>
              </a:cxn>
              <a:cxn ang="0">
                <a:pos x="csX396" y="csY396"/>
              </a:cxn>
              <a:cxn ang="0">
                <a:pos x="csX397" y="csY397"/>
              </a:cxn>
              <a:cxn ang="0">
                <a:pos x="csX398" y="csY398"/>
              </a:cxn>
              <a:cxn ang="0">
                <a:pos x="csX399" y="csY399"/>
              </a:cxn>
              <a:cxn ang="0">
                <a:pos x="csX400" y="csY400"/>
              </a:cxn>
              <a:cxn ang="0">
                <a:pos x="csX401" y="csY401"/>
              </a:cxn>
              <a:cxn ang="0">
                <a:pos x="csX402" y="csY402"/>
              </a:cxn>
              <a:cxn ang="0">
                <a:pos x="csX403" y="csY403"/>
              </a:cxn>
              <a:cxn ang="0">
                <a:pos x="csX404" y="csY404"/>
              </a:cxn>
              <a:cxn ang="0">
                <a:pos x="csX405" y="csY405"/>
              </a:cxn>
              <a:cxn ang="0">
                <a:pos x="csX406" y="csY406"/>
              </a:cxn>
              <a:cxn ang="0">
                <a:pos x="csX407" y="csY407"/>
              </a:cxn>
              <a:cxn ang="0">
                <a:pos x="csX408" y="csY408"/>
              </a:cxn>
              <a:cxn ang="0">
                <a:pos x="csX409" y="csY409"/>
              </a:cxn>
              <a:cxn ang="0">
                <a:pos x="csX410" y="csY410"/>
              </a:cxn>
              <a:cxn ang="0">
                <a:pos x="csX411" y="csY411"/>
              </a:cxn>
              <a:cxn ang="0">
                <a:pos x="csX412" y="csY412"/>
              </a:cxn>
              <a:cxn ang="0">
                <a:pos x="csX413" y="csY413"/>
              </a:cxn>
              <a:cxn ang="0">
                <a:pos x="csX414" y="csY414"/>
              </a:cxn>
              <a:cxn ang="0">
                <a:pos x="csX415" y="csY415"/>
              </a:cxn>
              <a:cxn ang="0">
                <a:pos x="csX416" y="csY416"/>
              </a:cxn>
              <a:cxn ang="0">
                <a:pos x="csX417" y="csY417"/>
              </a:cxn>
              <a:cxn ang="0">
                <a:pos x="csX418" y="csY418"/>
              </a:cxn>
              <a:cxn ang="0">
                <a:pos x="csX419" y="csY419"/>
              </a:cxn>
              <a:cxn ang="0">
                <a:pos x="csX420" y="csY420"/>
              </a:cxn>
              <a:cxn ang="0">
                <a:pos x="csX421" y="csY421"/>
              </a:cxn>
              <a:cxn ang="0">
                <a:pos x="csX422" y="csY422"/>
              </a:cxn>
              <a:cxn ang="0">
                <a:pos x="csX423" y="csY423"/>
              </a:cxn>
              <a:cxn ang="0">
                <a:pos x="csX424" y="csY424"/>
              </a:cxn>
              <a:cxn ang="0">
                <a:pos x="csX425" y="csY425"/>
              </a:cxn>
              <a:cxn ang="0">
                <a:pos x="csX426" y="csY426"/>
              </a:cxn>
              <a:cxn ang="0">
                <a:pos x="csX427" y="csY427"/>
              </a:cxn>
              <a:cxn ang="0">
                <a:pos x="csX428" y="csY428"/>
              </a:cxn>
              <a:cxn ang="0">
                <a:pos x="csX429" y="csY429"/>
              </a:cxn>
              <a:cxn ang="0">
                <a:pos x="csX430" y="csY430"/>
              </a:cxn>
              <a:cxn ang="0">
                <a:pos x="csX431" y="csY431"/>
              </a:cxn>
              <a:cxn ang="0">
                <a:pos x="csX432" y="csY432"/>
              </a:cxn>
              <a:cxn ang="0">
                <a:pos x="csX433" y="csY433"/>
              </a:cxn>
              <a:cxn ang="0">
                <a:pos x="csX434" y="csY434"/>
              </a:cxn>
              <a:cxn ang="0">
                <a:pos x="csX435" y="csY435"/>
              </a:cxn>
              <a:cxn ang="0">
                <a:pos x="csX436" y="csY436"/>
              </a:cxn>
              <a:cxn ang="0">
                <a:pos x="csX437" y="csY437"/>
              </a:cxn>
              <a:cxn ang="0">
                <a:pos x="csX438" y="csY438"/>
              </a:cxn>
              <a:cxn ang="0">
                <a:pos x="csX439" y="csY439"/>
              </a:cxn>
              <a:cxn ang="0">
                <a:pos x="csX440" y="csY440"/>
              </a:cxn>
              <a:cxn ang="0">
                <a:pos x="csX441" y="csY441"/>
              </a:cxn>
              <a:cxn ang="0">
                <a:pos x="csX442" y="csY442"/>
              </a:cxn>
              <a:cxn ang="0">
                <a:pos x="csX443" y="csY443"/>
              </a:cxn>
              <a:cxn ang="0">
                <a:pos x="csX444" y="csY444"/>
              </a:cxn>
              <a:cxn ang="0">
                <a:pos x="csX445" y="csY445"/>
              </a:cxn>
              <a:cxn ang="0">
                <a:pos x="csX446" y="csY446"/>
              </a:cxn>
              <a:cxn ang="0">
                <a:pos x="csX447" y="csY447"/>
              </a:cxn>
              <a:cxn ang="0">
                <a:pos x="csX448" y="csY448"/>
              </a:cxn>
              <a:cxn ang="0">
                <a:pos x="csX449" y="csY449"/>
              </a:cxn>
              <a:cxn ang="0">
                <a:pos x="csX450" y="csY450"/>
              </a:cxn>
              <a:cxn ang="0">
                <a:pos x="csX451" y="csY451"/>
              </a:cxn>
              <a:cxn ang="0">
                <a:pos x="csX452" y="csY452"/>
              </a:cxn>
              <a:cxn ang="0">
                <a:pos x="csX453" y="csY453"/>
              </a:cxn>
              <a:cxn ang="0">
                <a:pos x="csX454" y="csY454"/>
              </a:cxn>
              <a:cxn ang="0">
                <a:pos x="csX455" y="csY455"/>
              </a:cxn>
              <a:cxn ang="0">
                <a:pos x="csX456" y="csY456"/>
              </a:cxn>
              <a:cxn ang="0">
                <a:pos x="csX457" y="csY457"/>
              </a:cxn>
              <a:cxn ang="0">
                <a:pos x="csX458" y="csY458"/>
              </a:cxn>
              <a:cxn ang="0">
                <a:pos x="csX459" y="csY459"/>
              </a:cxn>
              <a:cxn ang="0">
                <a:pos x="csX460" y="csY460"/>
              </a:cxn>
              <a:cxn ang="0">
                <a:pos x="csX461" y="csY461"/>
              </a:cxn>
              <a:cxn ang="0">
                <a:pos x="csX462" y="csY462"/>
              </a:cxn>
              <a:cxn ang="0">
                <a:pos x="csX463" y="csY463"/>
              </a:cxn>
              <a:cxn ang="0">
                <a:pos x="csX464" y="csY464"/>
              </a:cxn>
              <a:cxn ang="0">
                <a:pos x="csX465" y="csY465"/>
              </a:cxn>
              <a:cxn ang="0">
                <a:pos x="csX466" y="csY466"/>
              </a:cxn>
              <a:cxn ang="0">
                <a:pos x="csX467" y="csY467"/>
              </a:cxn>
              <a:cxn ang="0">
                <a:pos x="csX468" y="csY468"/>
              </a:cxn>
              <a:cxn ang="0">
                <a:pos x="csX469" y="csY469"/>
              </a:cxn>
              <a:cxn ang="0">
                <a:pos x="csX470" y="csY470"/>
              </a:cxn>
              <a:cxn ang="0">
                <a:pos x="csX471" y="csY471"/>
              </a:cxn>
              <a:cxn ang="0">
                <a:pos x="csX472" y="csY472"/>
              </a:cxn>
              <a:cxn ang="0">
                <a:pos x="csX473" y="csY473"/>
              </a:cxn>
              <a:cxn ang="0">
                <a:pos x="csX474" y="csY474"/>
              </a:cxn>
              <a:cxn ang="0">
                <a:pos x="csX475" y="csY475"/>
              </a:cxn>
              <a:cxn ang="0">
                <a:pos x="csX476" y="csY476"/>
              </a:cxn>
              <a:cxn ang="0">
                <a:pos x="csX477" y="csY477"/>
              </a:cxn>
              <a:cxn ang="0">
                <a:pos x="csX478" y="csY478"/>
              </a:cxn>
              <a:cxn ang="0">
                <a:pos x="csX479" y="csY479"/>
              </a:cxn>
              <a:cxn ang="0">
                <a:pos x="csX480" y="csY480"/>
              </a:cxn>
              <a:cxn ang="0">
                <a:pos x="csX481" y="csY481"/>
              </a:cxn>
              <a:cxn ang="0">
                <a:pos x="csX482" y="csY482"/>
              </a:cxn>
              <a:cxn ang="0">
                <a:pos x="csX483" y="csY483"/>
              </a:cxn>
              <a:cxn ang="0">
                <a:pos x="csX484" y="csY484"/>
              </a:cxn>
              <a:cxn ang="0">
                <a:pos x="csX485" y="csY485"/>
              </a:cxn>
              <a:cxn ang="0">
                <a:pos x="csX486" y="csY486"/>
              </a:cxn>
              <a:cxn ang="0">
                <a:pos x="csX487" y="csY487"/>
              </a:cxn>
              <a:cxn ang="0">
                <a:pos x="csX488" y="csY488"/>
              </a:cxn>
              <a:cxn ang="0">
                <a:pos x="csX489" y="csY489"/>
              </a:cxn>
              <a:cxn ang="0">
                <a:pos x="csX490" y="csY490"/>
              </a:cxn>
              <a:cxn ang="0">
                <a:pos x="csX491" y="csY491"/>
              </a:cxn>
              <a:cxn ang="0">
                <a:pos x="csX492" y="csY492"/>
              </a:cxn>
              <a:cxn ang="0">
                <a:pos x="csX493" y="csY493"/>
              </a:cxn>
              <a:cxn ang="0">
                <a:pos x="csX494" y="csY494"/>
              </a:cxn>
              <a:cxn ang="0">
                <a:pos x="csX495" y="csY495"/>
              </a:cxn>
              <a:cxn ang="0">
                <a:pos x="csX496" y="csY496"/>
              </a:cxn>
              <a:cxn ang="0">
                <a:pos x="csX497" y="csY497"/>
              </a:cxn>
              <a:cxn ang="0">
                <a:pos x="csX498" y="csY498"/>
              </a:cxn>
              <a:cxn ang="0">
                <a:pos x="csX499" y="csY499"/>
              </a:cxn>
              <a:cxn ang="0">
                <a:pos x="csX500" y="csY500"/>
              </a:cxn>
              <a:cxn ang="0">
                <a:pos x="csX501" y="csY501"/>
              </a:cxn>
              <a:cxn ang="0">
                <a:pos x="csX502" y="csY502"/>
              </a:cxn>
              <a:cxn ang="0">
                <a:pos x="csX503" y="csY503"/>
              </a:cxn>
              <a:cxn ang="0">
                <a:pos x="csX504" y="csY504"/>
              </a:cxn>
              <a:cxn ang="0">
                <a:pos x="csX505" y="csY505"/>
              </a:cxn>
              <a:cxn ang="0">
                <a:pos x="csX506" y="csY506"/>
              </a:cxn>
              <a:cxn ang="0">
                <a:pos x="csX507" y="csY507"/>
              </a:cxn>
              <a:cxn ang="0">
                <a:pos x="csX508" y="csY508"/>
              </a:cxn>
              <a:cxn ang="0">
                <a:pos x="csX509" y="csY509"/>
              </a:cxn>
              <a:cxn ang="0">
                <a:pos x="csX510" y="csY510"/>
              </a:cxn>
              <a:cxn ang="0">
                <a:pos x="csX511" y="csY511"/>
              </a:cxn>
              <a:cxn ang="0">
                <a:pos x="csX512" y="csY512"/>
              </a:cxn>
              <a:cxn ang="0">
                <a:pos x="csX513" y="csY513"/>
              </a:cxn>
              <a:cxn ang="0">
                <a:pos x="csX514" y="csY514"/>
              </a:cxn>
              <a:cxn ang="0">
                <a:pos x="csX515" y="csY515"/>
              </a:cxn>
              <a:cxn ang="0">
                <a:pos x="csX516" y="csY516"/>
              </a:cxn>
              <a:cxn ang="0">
                <a:pos x="csX517" y="csY517"/>
              </a:cxn>
              <a:cxn ang="0">
                <a:pos x="csX518" y="csY518"/>
              </a:cxn>
              <a:cxn ang="0">
                <a:pos x="csX519" y="csY519"/>
              </a:cxn>
              <a:cxn ang="0">
                <a:pos x="csX520" y="csY520"/>
              </a:cxn>
              <a:cxn ang="0">
                <a:pos x="csX521" y="csY521"/>
              </a:cxn>
              <a:cxn ang="0">
                <a:pos x="csX522" y="csY522"/>
              </a:cxn>
              <a:cxn ang="0">
                <a:pos x="csX523" y="csY523"/>
              </a:cxn>
              <a:cxn ang="0">
                <a:pos x="csX524" y="csY524"/>
              </a:cxn>
              <a:cxn ang="0">
                <a:pos x="csX525" y="csY525"/>
              </a:cxn>
              <a:cxn ang="0">
                <a:pos x="csX526" y="csY526"/>
              </a:cxn>
              <a:cxn ang="0">
                <a:pos x="csX527" y="csY527"/>
              </a:cxn>
              <a:cxn ang="0">
                <a:pos x="csX528" y="csY528"/>
              </a:cxn>
              <a:cxn ang="0">
                <a:pos x="csX529" y="csY529"/>
              </a:cxn>
              <a:cxn ang="0">
                <a:pos x="csX530" y="csY530"/>
              </a:cxn>
              <a:cxn ang="0">
                <a:pos x="csX531" y="csY531"/>
              </a:cxn>
              <a:cxn ang="0">
                <a:pos x="csX532" y="csY532"/>
              </a:cxn>
              <a:cxn ang="0">
                <a:pos x="csX533" y="csY533"/>
              </a:cxn>
              <a:cxn ang="0">
                <a:pos x="csX534" y="csY534"/>
              </a:cxn>
              <a:cxn ang="0">
                <a:pos x="csX535" y="csY535"/>
              </a:cxn>
              <a:cxn ang="0">
                <a:pos x="csX536" y="csY536"/>
              </a:cxn>
              <a:cxn ang="0">
                <a:pos x="csX537" y="csY537"/>
              </a:cxn>
              <a:cxn ang="0">
                <a:pos x="csX538" y="csY538"/>
              </a:cxn>
              <a:cxn ang="0">
                <a:pos x="csX539" y="csY539"/>
              </a:cxn>
              <a:cxn ang="0">
                <a:pos x="csX540" y="csY540"/>
              </a:cxn>
              <a:cxn ang="0">
                <a:pos x="csX541" y="csY541"/>
              </a:cxn>
              <a:cxn ang="0">
                <a:pos x="csX542" y="csY542"/>
              </a:cxn>
              <a:cxn ang="0">
                <a:pos x="csX543" y="csY543"/>
              </a:cxn>
              <a:cxn ang="0">
                <a:pos x="csX544" y="csY544"/>
              </a:cxn>
              <a:cxn ang="0">
                <a:pos x="csX545" y="csY545"/>
              </a:cxn>
              <a:cxn ang="0">
                <a:pos x="csX546" y="csY546"/>
              </a:cxn>
              <a:cxn ang="0">
                <a:pos x="csX547" y="csY547"/>
              </a:cxn>
              <a:cxn ang="0">
                <a:pos x="csX548" y="csY548"/>
              </a:cxn>
              <a:cxn ang="0">
                <a:pos x="csX549" y="csY549"/>
              </a:cxn>
              <a:cxn ang="0">
                <a:pos x="csX550" y="csY550"/>
              </a:cxn>
              <a:cxn ang="0">
                <a:pos x="csX551" y="csY551"/>
              </a:cxn>
              <a:cxn ang="0">
                <a:pos x="csX552" y="csY552"/>
              </a:cxn>
              <a:cxn ang="0">
                <a:pos x="csX553" y="csY553"/>
              </a:cxn>
              <a:cxn ang="0">
                <a:pos x="csX554" y="csY554"/>
              </a:cxn>
              <a:cxn ang="0">
                <a:pos x="csX555" y="csY555"/>
              </a:cxn>
              <a:cxn ang="0">
                <a:pos x="csX556" y="csY556"/>
              </a:cxn>
              <a:cxn ang="0">
                <a:pos x="csX557" y="csY557"/>
              </a:cxn>
              <a:cxn ang="0">
                <a:pos x="csX558" y="csY558"/>
              </a:cxn>
              <a:cxn ang="0">
                <a:pos x="csX559" y="csY559"/>
              </a:cxn>
              <a:cxn ang="0">
                <a:pos x="csX560" y="csY560"/>
              </a:cxn>
              <a:cxn ang="0">
                <a:pos x="csX561" y="csY561"/>
              </a:cxn>
              <a:cxn ang="0">
                <a:pos x="csX562" y="csY562"/>
              </a:cxn>
              <a:cxn ang="0">
                <a:pos x="csX563" y="csY563"/>
              </a:cxn>
              <a:cxn ang="0">
                <a:pos x="csX564" y="csY564"/>
              </a:cxn>
              <a:cxn ang="0">
                <a:pos x="csX565" y="csY565"/>
              </a:cxn>
              <a:cxn ang="0">
                <a:pos x="csX566" y="csY566"/>
              </a:cxn>
              <a:cxn ang="0">
                <a:pos x="csX567" y="csY567"/>
              </a:cxn>
              <a:cxn ang="0">
                <a:pos x="csX568" y="csY568"/>
              </a:cxn>
              <a:cxn ang="0">
                <a:pos x="csX569" y="csY569"/>
              </a:cxn>
              <a:cxn ang="0">
                <a:pos x="csX570" y="csY570"/>
              </a:cxn>
              <a:cxn ang="0">
                <a:pos x="csX571" y="csY571"/>
              </a:cxn>
              <a:cxn ang="0">
                <a:pos x="csX572" y="csY572"/>
              </a:cxn>
              <a:cxn ang="0">
                <a:pos x="csX573" y="csY573"/>
              </a:cxn>
              <a:cxn ang="0">
                <a:pos x="csX574" y="csY574"/>
              </a:cxn>
              <a:cxn ang="0">
                <a:pos x="csX575" y="csY575"/>
              </a:cxn>
              <a:cxn ang="0">
                <a:pos x="csX576" y="csY576"/>
              </a:cxn>
              <a:cxn ang="0">
                <a:pos x="csX577" y="csY577"/>
              </a:cxn>
              <a:cxn ang="0">
                <a:pos x="csX578" y="csY578"/>
              </a:cxn>
              <a:cxn ang="0">
                <a:pos x="csX579" y="csY579"/>
              </a:cxn>
              <a:cxn ang="0">
                <a:pos x="csX580" y="csY580"/>
              </a:cxn>
              <a:cxn ang="0">
                <a:pos x="csX581" y="csY581"/>
              </a:cxn>
              <a:cxn ang="0">
                <a:pos x="csX582" y="csY582"/>
              </a:cxn>
              <a:cxn ang="0">
                <a:pos x="csX583" y="csY583"/>
              </a:cxn>
              <a:cxn ang="0">
                <a:pos x="csX584" y="csY584"/>
              </a:cxn>
              <a:cxn ang="0">
                <a:pos x="csX585" y="csY585"/>
              </a:cxn>
              <a:cxn ang="0">
                <a:pos x="csX586" y="csY586"/>
              </a:cxn>
              <a:cxn ang="0">
                <a:pos x="csX587" y="csY587"/>
              </a:cxn>
              <a:cxn ang="0">
                <a:pos x="csX588" y="csY588"/>
              </a:cxn>
              <a:cxn ang="0">
                <a:pos x="csX589" y="csY589"/>
              </a:cxn>
              <a:cxn ang="0">
                <a:pos x="csX590" y="csY590"/>
              </a:cxn>
              <a:cxn ang="0">
                <a:pos x="csX591" y="csY591"/>
              </a:cxn>
              <a:cxn ang="0">
                <a:pos x="csX592" y="csY592"/>
              </a:cxn>
              <a:cxn ang="0">
                <a:pos x="csX593" y="csY593"/>
              </a:cxn>
              <a:cxn ang="0">
                <a:pos x="csX594" y="csY594"/>
              </a:cxn>
              <a:cxn ang="0">
                <a:pos x="csX595" y="csY595"/>
              </a:cxn>
              <a:cxn ang="0">
                <a:pos x="csX596" y="csY596"/>
              </a:cxn>
              <a:cxn ang="0">
                <a:pos x="csX597" y="csY597"/>
              </a:cxn>
              <a:cxn ang="0">
                <a:pos x="csX598" y="csY598"/>
              </a:cxn>
              <a:cxn ang="0">
                <a:pos x="csX599" y="csY599"/>
              </a:cxn>
              <a:cxn ang="0">
                <a:pos x="csX600" y="csY600"/>
              </a:cxn>
              <a:cxn ang="0">
                <a:pos x="csX601" y="csY601"/>
              </a:cxn>
              <a:cxn ang="0">
                <a:pos x="csX602" y="csY602"/>
              </a:cxn>
              <a:cxn ang="0">
                <a:pos x="csX603" y="csY603"/>
              </a:cxn>
              <a:cxn ang="0">
                <a:pos x="csX604" y="csY604"/>
              </a:cxn>
              <a:cxn ang="0">
                <a:pos x="csX605" y="csY605"/>
              </a:cxn>
              <a:cxn ang="0">
                <a:pos x="csX606" y="csY606"/>
              </a:cxn>
              <a:cxn ang="0">
                <a:pos x="csX607" y="csY607"/>
              </a:cxn>
              <a:cxn ang="0">
                <a:pos x="csX608" y="csY608"/>
              </a:cxn>
              <a:cxn ang="0">
                <a:pos x="csX609" y="csY609"/>
              </a:cxn>
              <a:cxn ang="0">
                <a:pos x="csX610" y="csY610"/>
              </a:cxn>
              <a:cxn ang="0">
                <a:pos x="csX611" y="csY611"/>
              </a:cxn>
              <a:cxn ang="0">
                <a:pos x="csX612" y="csY612"/>
              </a:cxn>
              <a:cxn ang="0">
                <a:pos x="csX613" y="csY613"/>
              </a:cxn>
              <a:cxn ang="0">
                <a:pos x="csX614" y="csY614"/>
              </a:cxn>
              <a:cxn ang="0">
                <a:pos x="csX615" y="csY615"/>
              </a:cxn>
              <a:cxn ang="0">
                <a:pos x="csX616" y="csY616"/>
              </a:cxn>
              <a:cxn ang="0">
                <a:pos x="csX617" y="csY617"/>
              </a:cxn>
              <a:cxn ang="0">
                <a:pos x="csX618" y="csY618"/>
              </a:cxn>
              <a:cxn ang="0">
                <a:pos x="csX619" y="csY619"/>
              </a:cxn>
              <a:cxn ang="0">
                <a:pos x="csX620" y="csY620"/>
              </a:cxn>
              <a:cxn ang="0">
                <a:pos x="csX621" y="csY621"/>
              </a:cxn>
              <a:cxn ang="0">
                <a:pos x="csX622" y="csY622"/>
              </a:cxn>
              <a:cxn ang="0">
                <a:pos x="csX623" y="csY623"/>
              </a:cxn>
              <a:cxn ang="0">
                <a:pos x="csX624" y="csY624"/>
              </a:cxn>
              <a:cxn ang="0">
                <a:pos x="csX625" y="csY625"/>
              </a:cxn>
              <a:cxn ang="0">
                <a:pos x="csX626" y="csY626"/>
              </a:cxn>
              <a:cxn ang="0">
                <a:pos x="csX627" y="csY627"/>
              </a:cxn>
              <a:cxn ang="0">
                <a:pos x="csX628" y="csY628"/>
              </a:cxn>
              <a:cxn ang="0">
                <a:pos x="csX629" y="csY629"/>
              </a:cxn>
              <a:cxn ang="0">
                <a:pos x="csX630" y="csY630"/>
              </a:cxn>
              <a:cxn ang="0">
                <a:pos x="csX631" y="csY631"/>
              </a:cxn>
              <a:cxn ang="0">
                <a:pos x="csX632" y="csY632"/>
              </a:cxn>
              <a:cxn ang="0">
                <a:pos x="csX633" y="csY633"/>
              </a:cxn>
              <a:cxn ang="0">
                <a:pos x="csX634" y="csY634"/>
              </a:cxn>
              <a:cxn ang="0">
                <a:pos x="csX635" y="csY635"/>
              </a:cxn>
              <a:cxn ang="0">
                <a:pos x="csX636" y="csY636"/>
              </a:cxn>
              <a:cxn ang="0">
                <a:pos x="csX637" y="csY637"/>
              </a:cxn>
              <a:cxn ang="0">
                <a:pos x="csX638" y="csY638"/>
              </a:cxn>
              <a:cxn ang="0">
                <a:pos x="csX639" y="csY639"/>
              </a:cxn>
              <a:cxn ang="0">
                <a:pos x="csX640" y="csY640"/>
              </a:cxn>
              <a:cxn ang="0">
                <a:pos x="csX641" y="csY641"/>
              </a:cxn>
              <a:cxn ang="0">
                <a:pos x="csX642" y="csY642"/>
              </a:cxn>
              <a:cxn ang="0">
                <a:pos x="csX643" y="csY643"/>
              </a:cxn>
              <a:cxn ang="0">
                <a:pos x="csX644" y="csY644"/>
              </a:cxn>
              <a:cxn ang="0">
                <a:pos x="csX645" y="csY645"/>
              </a:cxn>
              <a:cxn ang="0">
                <a:pos x="csX646" y="csY646"/>
              </a:cxn>
              <a:cxn ang="0">
                <a:pos x="csX647" y="csY647"/>
              </a:cxn>
              <a:cxn ang="0">
                <a:pos x="csX648" y="csY648"/>
              </a:cxn>
              <a:cxn ang="0">
                <a:pos x="csX649" y="csY649"/>
              </a:cxn>
              <a:cxn ang="0">
                <a:pos x="csX650" y="csY650"/>
              </a:cxn>
              <a:cxn ang="0">
                <a:pos x="csX651" y="csY651"/>
              </a:cxn>
              <a:cxn ang="0">
                <a:pos x="csX652" y="csY652"/>
              </a:cxn>
              <a:cxn ang="0">
                <a:pos x="csX653" y="csY653"/>
              </a:cxn>
              <a:cxn ang="0">
                <a:pos x="csX654" y="csY654"/>
              </a:cxn>
              <a:cxn ang="0">
                <a:pos x="csX655" y="csY655"/>
              </a:cxn>
              <a:cxn ang="0">
                <a:pos x="csX656" y="csY656"/>
              </a:cxn>
              <a:cxn ang="0">
                <a:pos x="csX657" y="csY657"/>
              </a:cxn>
              <a:cxn ang="0">
                <a:pos x="csX658" y="csY658"/>
              </a:cxn>
              <a:cxn ang="0">
                <a:pos x="csX659" y="csY659"/>
              </a:cxn>
              <a:cxn ang="0">
                <a:pos x="csX660" y="csY660"/>
              </a:cxn>
              <a:cxn ang="0">
                <a:pos x="csX661" y="csY661"/>
              </a:cxn>
              <a:cxn ang="0">
                <a:pos x="csX662" y="csY662"/>
              </a:cxn>
              <a:cxn ang="0">
                <a:pos x="csX663" y="csY663"/>
              </a:cxn>
              <a:cxn ang="0">
                <a:pos x="csX664" y="csY664"/>
              </a:cxn>
              <a:cxn ang="0">
                <a:pos x="csX665" y="csY665"/>
              </a:cxn>
              <a:cxn ang="0">
                <a:pos x="csX666" y="csY666"/>
              </a:cxn>
              <a:cxn ang="0">
                <a:pos x="csX667" y="csY667"/>
              </a:cxn>
              <a:cxn ang="0">
                <a:pos x="csX668" y="csY668"/>
              </a:cxn>
              <a:cxn ang="0">
                <a:pos x="csX669" y="csY669"/>
              </a:cxn>
              <a:cxn ang="0">
                <a:pos x="csX670" y="csY670"/>
              </a:cxn>
              <a:cxn ang="0">
                <a:pos x="csX671" y="csY671"/>
              </a:cxn>
              <a:cxn ang="0">
                <a:pos x="csX672" y="csY672"/>
              </a:cxn>
              <a:cxn ang="0">
                <a:pos x="csX673" y="csY673"/>
              </a:cxn>
              <a:cxn ang="0">
                <a:pos x="csX674" y="csY674"/>
              </a:cxn>
              <a:cxn ang="0">
                <a:pos x="csX675" y="csY675"/>
              </a:cxn>
              <a:cxn ang="0">
                <a:pos x="csX676" y="csY676"/>
              </a:cxn>
              <a:cxn ang="0">
                <a:pos x="csX677" y="csY677"/>
              </a:cxn>
              <a:cxn ang="0">
                <a:pos x="csX678" y="csY678"/>
              </a:cxn>
              <a:cxn ang="0">
                <a:pos x="csX679" y="csY679"/>
              </a:cxn>
              <a:cxn ang="0">
                <a:pos x="csX680" y="csY680"/>
              </a:cxn>
              <a:cxn ang="0">
                <a:pos x="csX681" y="csY681"/>
              </a:cxn>
              <a:cxn ang="0">
                <a:pos x="csX682" y="csY682"/>
              </a:cxn>
              <a:cxn ang="0">
                <a:pos x="csX683" y="csY683"/>
              </a:cxn>
              <a:cxn ang="0">
                <a:pos x="csX684" y="csY684"/>
              </a:cxn>
              <a:cxn ang="0">
                <a:pos x="csX685" y="csY685"/>
              </a:cxn>
              <a:cxn ang="0">
                <a:pos x="csX686" y="csY686"/>
              </a:cxn>
              <a:cxn ang="0">
                <a:pos x="csX687" y="csY687"/>
              </a:cxn>
              <a:cxn ang="0">
                <a:pos x="csX688" y="csY688"/>
              </a:cxn>
              <a:cxn ang="0">
                <a:pos x="csX689" y="csY689"/>
              </a:cxn>
              <a:cxn ang="0">
                <a:pos x="csX690" y="csY690"/>
              </a:cxn>
              <a:cxn ang="0">
                <a:pos x="csX691" y="csY691"/>
              </a:cxn>
              <a:cxn ang="0">
                <a:pos x="csX692" y="csY692"/>
              </a:cxn>
              <a:cxn ang="0">
                <a:pos x="csX693" y="csY693"/>
              </a:cxn>
              <a:cxn ang="0">
                <a:pos x="csX694" y="csY694"/>
              </a:cxn>
              <a:cxn ang="0">
                <a:pos x="csX695" y="csY695"/>
              </a:cxn>
              <a:cxn ang="0">
                <a:pos x="csX696" y="csY696"/>
              </a:cxn>
              <a:cxn ang="0">
                <a:pos x="csX697" y="csY697"/>
              </a:cxn>
              <a:cxn ang="0">
                <a:pos x="csX698" y="csY698"/>
              </a:cxn>
              <a:cxn ang="0">
                <a:pos x="csX699" y="csY699"/>
              </a:cxn>
              <a:cxn ang="0">
                <a:pos x="csX700" y="csY700"/>
              </a:cxn>
              <a:cxn ang="0">
                <a:pos x="csX701" y="csY701"/>
              </a:cxn>
              <a:cxn ang="0">
                <a:pos x="csX702" y="csY702"/>
              </a:cxn>
              <a:cxn ang="0">
                <a:pos x="csX703" y="csY703"/>
              </a:cxn>
              <a:cxn ang="0">
                <a:pos x="csX704" y="csY704"/>
              </a:cxn>
              <a:cxn ang="0">
                <a:pos x="csX705" y="csY705"/>
              </a:cxn>
              <a:cxn ang="0">
                <a:pos x="csX706" y="csY706"/>
              </a:cxn>
              <a:cxn ang="0">
                <a:pos x="csX707" y="csY707"/>
              </a:cxn>
              <a:cxn ang="0">
                <a:pos x="csX708" y="csY708"/>
              </a:cxn>
              <a:cxn ang="0">
                <a:pos x="csX709" y="csY709"/>
              </a:cxn>
              <a:cxn ang="0">
                <a:pos x="csX710" y="csY710"/>
              </a:cxn>
              <a:cxn ang="0">
                <a:pos x="csX711" y="csY711"/>
              </a:cxn>
              <a:cxn ang="0">
                <a:pos x="csX712" y="csY712"/>
              </a:cxn>
              <a:cxn ang="0">
                <a:pos x="csX713" y="csY713"/>
              </a:cxn>
              <a:cxn ang="0">
                <a:pos x="csX714" y="csY714"/>
              </a:cxn>
              <a:cxn ang="0">
                <a:pos x="csX715" y="csY715"/>
              </a:cxn>
              <a:cxn ang="0">
                <a:pos x="csX716" y="csY716"/>
              </a:cxn>
              <a:cxn ang="0">
                <a:pos x="csX717" y="csY717"/>
              </a:cxn>
              <a:cxn ang="0">
                <a:pos x="csX718" y="csY718"/>
              </a:cxn>
              <a:cxn ang="0">
                <a:pos x="csX719" y="csY719"/>
              </a:cxn>
              <a:cxn ang="0">
                <a:pos x="csX720" y="csY720"/>
              </a:cxn>
              <a:cxn ang="0">
                <a:pos x="csX721" y="csY721"/>
              </a:cxn>
              <a:cxn ang="0">
                <a:pos x="csX722" y="csY722"/>
              </a:cxn>
              <a:cxn ang="0">
                <a:pos x="csX723" y="csY723"/>
              </a:cxn>
              <a:cxn ang="0">
                <a:pos x="csX724" y="csY724"/>
              </a:cxn>
              <a:cxn ang="0">
                <a:pos x="csX725" y="csY725"/>
              </a:cxn>
              <a:cxn ang="0">
                <a:pos x="csX726" y="csY726"/>
              </a:cxn>
              <a:cxn ang="0">
                <a:pos x="csX727" y="csY727"/>
              </a:cxn>
              <a:cxn ang="0">
                <a:pos x="csX728" y="csY728"/>
              </a:cxn>
              <a:cxn ang="0">
                <a:pos x="csX729" y="csY729"/>
              </a:cxn>
              <a:cxn ang="0">
                <a:pos x="csX730" y="csY730"/>
              </a:cxn>
              <a:cxn ang="0">
                <a:pos x="csX731" y="csY731"/>
              </a:cxn>
              <a:cxn ang="0">
                <a:pos x="csX732" y="csY732"/>
              </a:cxn>
              <a:cxn ang="0">
                <a:pos x="csX733" y="csY733"/>
              </a:cxn>
              <a:cxn ang="0">
                <a:pos x="csX734" y="csY734"/>
              </a:cxn>
              <a:cxn ang="0">
                <a:pos x="csX735" y="csY735"/>
              </a:cxn>
              <a:cxn ang="0">
                <a:pos x="csX736" y="csY736"/>
              </a:cxn>
              <a:cxn ang="0">
                <a:pos x="csX737" y="csY737"/>
              </a:cxn>
              <a:cxn ang="0">
                <a:pos x="csX738" y="csY738"/>
              </a:cxn>
              <a:cxn ang="0">
                <a:pos x="csX739" y="csY739"/>
              </a:cxn>
              <a:cxn ang="0">
                <a:pos x="csX740" y="csY740"/>
              </a:cxn>
              <a:cxn ang="0">
                <a:pos x="csX741" y="csY741"/>
              </a:cxn>
              <a:cxn ang="0">
                <a:pos x="csX742" y="csY742"/>
              </a:cxn>
              <a:cxn ang="0">
                <a:pos x="csX743" y="csY743"/>
              </a:cxn>
              <a:cxn ang="0">
                <a:pos x="csX744" y="csY744"/>
              </a:cxn>
              <a:cxn ang="0">
                <a:pos x="csX745" y="csY745"/>
              </a:cxn>
              <a:cxn ang="0">
                <a:pos x="csX746" y="csY746"/>
              </a:cxn>
              <a:cxn ang="0">
                <a:pos x="csX747" y="csY747"/>
              </a:cxn>
              <a:cxn ang="0">
                <a:pos x="csX748" y="csY748"/>
              </a:cxn>
              <a:cxn ang="0">
                <a:pos x="csX749" y="csY749"/>
              </a:cxn>
              <a:cxn ang="0">
                <a:pos x="csX750" y="csY750"/>
              </a:cxn>
              <a:cxn ang="0">
                <a:pos x="csX751" y="csY751"/>
              </a:cxn>
              <a:cxn ang="0">
                <a:pos x="csX752" y="csY752"/>
              </a:cxn>
              <a:cxn ang="0">
                <a:pos x="csX753" y="csY753"/>
              </a:cxn>
              <a:cxn ang="0">
                <a:pos x="csX754" y="csY754"/>
              </a:cxn>
              <a:cxn ang="0">
                <a:pos x="csX755" y="csY755"/>
              </a:cxn>
              <a:cxn ang="0">
                <a:pos x="csX756" y="csY756"/>
              </a:cxn>
              <a:cxn ang="0">
                <a:pos x="csX757" y="csY757"/>
              </a:cxn>
              <a:cxn ang="0">
                <a:pos x="csX758" y="csY758"/>
              </a:cxn>
              <a:cxn ang="0">
                <a:pos x="csX759" y="csY759"/>
              </a:cxn>
              <a:cxn ang="0">
                <a:pos x="csX760" y="csY760"/>
              </a:cxn>
              <a:cxn ang="0">
                <a:pos x="csX761" y="csY761"/>
              </a:cxn>
              <a:cxn ang="0">
                <a:pos x="csX762" y="csY762"/>
              </a:cxn>
              <a:cxn ang="0">
                <a:pos x="csX763" y="csY763"/>
              </a:cxn>
              <a:cxn ang="0">
                <a:pos x="csX764" y="csY764"/>
              </a:cxn>
              <a:cxn ang="0">
                <a:pos x="csX765" y="csY765"/>
              </a:cxn>
              <a:cxn ang="0">
                <a:pos x="csX766" y="csY766"/>
              </a:cxn>
              <a:cxn ang="0">
                <a:pos x="csX767" y="csY767"/>
              </a:cxn>
              <a:cxn ang="0">
                <a:pos x="csX768" y="csY768"/>
              </a:cxn>
              <a:cxn ang="0">
                <a:pos x="csX769" y="csY769"/>
              </a:cxn>
              <a:cxn ang="0">
                <a:pos x="csX770" y="csY770"/>
              </a:cxn>
              <a:cxn ang="0">
                <a:pos x="csX771" y="csY771"/>
              </a:cxn>
              <a:cxn ang="0">
                <a:pos x="csX772" y="csY772"/>
              </a:cxn>
              <a:cxn ang="0">
                <a:pos x="csX773" y="csY773"/>
              </a:cxn>
              <a:cxn ang="0">
                <a:pos x="csX774" y="csY774"/>
              </a:cxn>
              <a:cxn ang="0">
                <a:pos x="csX775" y="csY775"/>
              </a:cxn>
              <a:cxn ang="0">
                <a:pos x="csX776" y="csY776"/>
              </a:cxn>
              <a:cxn ang="0">
                <a:pos x="csX777" y="csY777"/>
              </a:cxn>
              <a:cxn ang="0">
                <a:pos x="csX778" y="csY778"/>
              </a:cxn>
              <a:cxn ang="0">
                <a:pos x="csX779" y="csY779"/>
              </a:cxn>
              <a:cxn ang="0">
                <a:pos x="csX780" y="csY780"/>
              </a:cxn>
              <a:cxn ang="0">
                <a:pos x="csX781" y="csY781"/>
              </a:cxn>
              <a:cxn ang="0">
                <a:pos x="csX782" y="csY782"/>
              </a:cxn>
              <a:cxn ang="0">
                <a:pos x="csX783" y="csY783"/>
              </a:cxn>
              <a:cxn ang="0">
                <a:pos x="csX784" y="csY784"/>
              </a:cxn>
              <a:cxn ang="0">
                <a:pos x="csX785" y="csY785"/>
              </a:cxn>
              <a:cxn ang="0">
                <a:pos x="csX786" y="csY786"/>
              </a:cxn>
              <a:cxn ang="0">
                <a:pos x="csX787" y="csY787"/>
              </a:cxn>
              <a:cxn ang="0">
                <a:pos x="csX788" y="csY788"/>
              </a:cxn>
              <a:cxn ang="0">
                <a:pos x="csX789" y="csY789"/>
              </a:cxn>
              <a:cxn ang="0">
                <a:pos x="csX790" y="csY790"/>
              </a:cxn>
              <a:cxn ang="0">
                <a:pos x="csX791" y="csY791"/>
              </a:cxn>
              <a:cxn ang="0">
                <a:pos x="csX792" y="csY792"/>
              </a:cxn>
              <a:cxn ang="0">
                <a:pos x="csX793" y="csY793"/>
              </a:cxn>
              <a:cxn ang="0">
                <a:pos x="csX794" y="csY794"/>
              </a:cxn>
              <a:cxn ang="0">
                <a:pos x="csX795" y="csY795"/>
              </a:cxn>
              <a:cxn ang="0">
                <a:pos x="csX796" y="csY796"/>
              </a:cxn>
              <a:cxn ang="0">
                <a:pos x="csX797" y="csY797"/>
              </a:cxn>
              <a:cxn ang="0">
                <a:pos x="csX798" y="csY798"/>
              </a:cxn>
              <a:cxn ang="0">
                <a:pos x="csX799" y="csY799"/>
              </a:cxn>
              <a:cxn ang="0">
                <a:pos x="csX800" y="csY800"/>
              </a:cxn>
              <a:cxn ang="0">
                <a:pos x="csX801" y="csY801"/>
              </a:cxn>
              <a:cxn ang="0">
                <a:pos x="csX802" y="csY802"/>
              </a:cxn>
              <a:cxn ang="0">
                <a:pos x="csX803" y="csY803"/>
              </a:cxn>
              <a:cxn ang="0">
                <a:pos x="csX804" y="csY804"/>
              </a:cxn>
              <a:cxn ang="0">
                <a:pos x="csX805" y="csY805"/>
              </a:cxn>
              <a:cxn ang="0">
                <a:pos x="csX806" y="csY806"/>
              </a:cxn>
              <a:cxn ang="0">
                <a:pos x="csX807" y="csY807"/>
              </a:cxn>
              <a:cxn ang="0">
                <a:pos x="csX808" y="csY808"/>
              </a:cxn>
              <a:cxn ang="0">
                <a:pos x="csX809" y="csY809"/>
              </a:cxn>
              <a:cxn ang="0">
                <a:pos x="csX810" y="csY810"/>
              </a:cxn>
              <a:cxn ang="0">
                <a:pos x="csX811" y="csY811"/>
              </a:cxn>
              <a:cxn ang="0">
                <a:pos x="csX812" y="csY812"/>
              </a:cxn>
              <a:cxn ang="0">
                <a:pos x="csX813" y="csY813"/>
              </a:cxn>
              <a:cxn ang="0">
                <a:pos x="csX814" y="csY814"/>
              </a:cxn>
              <a:cxn ang="0">
                <a:pos x="csX815" y="csY815"/>
              </a:cxn>
              <a:cxn ang="0">
                <a:pos x="csX816" y="csY816"/>
              </a:cxn>
              <a:cxn ang="0">
                <a:pos x="csX817" y="csY817"/>
              </a:cxn>
              <a:cxn ang="0">
                <a:pos x="csX818" y="csY818"/>
              </a:cxn>
              <a:cxn ang="0">
                <a:pos x="csX819" y="csY819"/>
              </a:cxn>
              <a:cxn ang="0">
                <a:pos x="csX820" y="csY820"/>
              </a:cxn>
              <a:cxn ang="0">
                <a:pos x="csX821" y="csY821"/>
              </a:cxn>
              <a:cxn ang="0">
                <a:pos x="csX822" y="csY822"/>
              </a:cxn>
              <a:cxn ang="0">
                <a:pos x="csX823" y="csY823"/>
              </a:cxn>
              <a:cxn ang="0">
                <a:pos x="csX824" y="csY824"/>
              </a:cxn>
              <a:cxn ang="0">
                <a:pos x="csX825" y="csY825"/>
              </a:cxn>
              <a:cxn ang="0">
                <a:pos x="csX826" y="csY826"/>
              </a:cxn>
              <a:cxn ang="0">
                <a:pos x="csX827" y="csY827"/>
              </a:cxn>
              <a:cxn ang="0">
                <a:pos x="csX828" y="csY828"/>
              </a:cxn>
              <a:cxn ang="0">
                <a:pos x="csX829" y="csY829"/>
              </a:cxn>
              <a:cxn ang="0">
                <a:pos x="csX830" y="csY830"/>
              </a:cxn>
              <a:cxn ang="0">
                <a:pos x="csX831" y="csY831"/>
              </a:cxn>
              <a:cxn ang="0">
                <a:pos x="csX832" y="csY832"/>
              </a:cxn>
              <a:cxn ang="0">
                <a:pos x="csX833" y="csY833"/>
              </a:cxn>
              <a:cxn ang="0">
                <a:pos x="csX834" y="csY834"/>
              </a:cxn>
              <a:cxn ang="0">
                <a:pos x="csX835" y="csY835"/>
              </a:cxn>
              <a:cxn ang="0">
                <a:pos x="csX836" y="csY836"/>
              </a:cxn>
              <a:cxn ang="0">
                <a:pos x="csX837" y="csY837"/>
              </a:cxn>
              <a:cxn ang="0">
                <a:pos x="csX838" y="csY838"/>
              </a:cxn>
              <a:cxn ang="0">
                <a:pos x="csX839" y="csY839"/>
              </a:cxn>
              <a:cxn ang="0">
                <a:pos x="csX840" y="csY840"/>
              </a:cxn>
              <a:cxn ang="0">
                <a:pos x="csX841" y="csY841"/>
              </a:cxn>
              <a:cxn ang="0">
                <a:pos x="csX842" y="csY842"/>
              </a:cxn>
              <a:cxn ang="0">
                <a:pos x="csX843" y="csY843"/>
              </a:cxn>
              <a:cxn ang="0">
                <a:pos x="csX844" y="csY844"/>
              </a:cxn>
              <a:cxn ang="0">
                <a:pos x="csX845" y="csY845"/>
              </a:cxn>
              <a:cxn ang="0">
                <a:pos x="csX846" y="csY846"/>
              </a:cxn>
              <a:cxn ang="0">
                <a:pos x="csX847" y="csY847"/>
              </a:cxn>
              <a:cxn ang="0">
                <a:pos x="csX848" y="csY848"/>
              </a:cxn>
              <a:cxn ang="0">
                <a:pos x="csX849" y="csY849"/>
              </a:cxn>
              <a:cxn ang="0">
                <a:pos x="csX850" y="csY850"/>
              </a:cxn>
              <a:cxn ang="0">
                <a:pos x="csX851" y="csY851"/>
              </a:cxn>
              <a:cxn ang="0">
                <a:pos x="csX852" y="csY852"/>
              </a:cxn>
              <a:cxn ang="0">
                <a:pos x="csX853" y="csY853"/>
              </a:cxn>
              <a:cxn ang="0">
                <a:pos x="csX854" y="csY854"/>
              </a:cxn>
              <a:cxn ang="0">
                <a:pos x="csX855" y="csY855"/>
              </a:cxn>
              <a:cxn ang="0">
                <a:pos x="csX856" y="csY856"/>
              </a:cxn>
              <a:cxn ang="0">
                <a:pos x="csX857" y="csY857"/>
              </a:cxn>
              <a:cxn ang="0">
                <a:pos x="csX858" y="csY858"/>
              </a:cxn>
              <a:cxn ang="0">
                <a:pos x="csX859" y="csY859"/>
              </a:cxn>
              <a:cxn ang="0">
                <a:pos x="csX860" y="csY860"/>
              </a:cxn>
              <a:cxn ang="0">
                <a:pos x="csX861" y="csY861"/>
              </a:cxn>
              <a:cxn ang="0">
                <a:pos x="csX862" y="csY862"/>
              </a:cxn>
              <a:cxn ang="0">
                <a:pos x="csX863" y="csY863"/>
              </a:cxn>
              <a:cxn ang="0">
                <a:pos x="csX864" y="csY864"/>
              </a:cxn>
              <a:cxn ang="0">
                <a:pos x="csX865" y="csY865"/>
              </a:cxn>
              <a:cxn ang="0">
                <a:pos x="csX866" y="csY866"/>
              </a:cxn>
              <a:cxn ang="0">
                <a:pos x="csX867" y="csY867"/>
              </a:cxn>
              <a:cxn ang="0">
                <a:pos x="csX868" y="csY868"/>
              </a:cxn>
              <a:cxn ang="0">
                <a:pos x="csX869" y="csY869"/>
              </a:cxn>
              <a:cxn ang="0">
                <a:pos x="csX870" y="csY870"/>
              </a:cxn>
              <a:cxn ang="0">
                <a:pos x="csX871" y="csY871"/>
              </a:cxn>
              <a:cxn ang="0">
                <a:pos x="csX872" y="csY872"/>
              </a:cxn>
              <a:cxn ang="0">
                <a:pos x="csX873" y="csY873"/>
              </a:cxn>
              <a:cxn ang="0">
                <a:pos x="csX874" y="csY874"/>
              </a:cxn>
              <a:cxn ang="0">
                <a:pos x="csX875" y="csY875"/>
              </a:cxn>
              <a:cxn ang="0">
                <a:pos x="csX876" y="csY876"/>
              </a:cxn>
              <a:cxn ang="0">
                <a:pos x="csX877" y="csY877"/>
              </a:cxn>
              <a:cxn ang="0">
                <a:pos x="csX878" y="csY878"/>
              </a:cxn>
              <a:cxn ang="0">
                <a:pos x="csX879" y="csY879"/>
              </a:cxn>
              <a:cxn ang="0">
                <a:pos x="csX880" y="csY880"/>
              </a:cxn>
              <a:cxn ang="0">
                <a:pos x="csX881" y="csY881"/>
              </a:cxn>
              <a:cxn ang="0">
                <a:pos x="csX882" y="csY882"/>
              </a:cxn>
              <a:cxn ang="0">
                <a:pos x="csX883" y="csY883"/>
              </a:cxn>
              <a:cxn ang="0">
                <a:pos x="csX884" y="csY884"/>
              </a:cxn>
              <a:cxn ang="0">
                <a:pos x="csX885" y="csY885"/>
              </a:cxn>
              <a:cxn ang="0">
                <a:pos x="csX886" y="csY886"/>
              </a:cxn>
              <a:cxn ang="0">
                <a:pos x="csX887" y="csY887"/>
              </a:cxn>
              <a:cxn ang="0">
                <a:pos x="csX888" y="csY888"/>
              </a:cxn>
              <a:cxn ang="0">
                <a:pos x="csX889" y="csY889"/>
              </a:cxn>
              <a:cxn ang="0">
                <a:pos x="csX890" y="csY890"/>
              </a:cxn>
              <a:cxn ang="0">
                <a:pos x="csX891" y="csY891"/>
              </a:cxn>
              <a:cxn ang="0">
                <a:pos x="csX892" y="csY892"/>
              </a:cxn>
              <a:cxn ang="0">
                <a:pos x="csX893" y="csY893"/>
              </a:cxn>
              <a:cxn ang="0">
                <a:pos x="csX894" y="csY894"/>
              </a:cxn>
              <a:cxn ang="0">
                <a:pos x="csX895" y="csY895"/>
              </a:cxn>
              <a:cxn ang="0">
                <a:pos x="csX896" y="csY896"/>
              </a:cxn>
              <a:cxn ang="0">
                <a:pos x="csX897" y="csY897"/>
              </a:cxn>
              <a:cxn ang="0">
                <a:pos x="csX898" y="csY898"/>
              </a:cxn>
              <a:cxn ang="0">
                <a:pos x="csX899" y="csY899"/>
              </a:cxn>
              <a:cxn ang="0">
                <a:pos x="csX900" y="csY900"/>
              </a:cxn>
              <a:cxn ang="0">
                <a:pos x="csX901" y="csY901"/>
              </a:cxn>
              <a:cxn ang="0">
                <a:pos x="csX902" y="csY902"/>
              </a:cxn>
              <a:cxn ang="0">
                <a:pos x="csX903" y="csY903"/>
              </a:cxn>
              <a:cxn ang="0">
                <a:pos x="csX904" y="csY904"/>
              </a:cxn>
              <a:cxn ang="0">
                <a:pos x="csX905" y="csY905"/>
              </a:cxn>
              <a:cxn ang="0">
                <a:pos x="csX906" y="csY906"/>
              </a:cxn>
              <a:cxn ang="0">
                <a:pos x="csX907" y="csY907"/>
              </a:cxn>
              <a:cxn ang="0">
                <a:pos x="csX908" y="csY908"/>
              </a:cxn>
              <a:cxn ang="0">
                <a:pos x="csX909" y="csY909"/>
              </a:cxn>
              <a:cxn ang="0">
                <a:pos x="csX910" y="csY910"/>
              </a:cxn>
              <a:cxn ang="0">
                <a:pos x="csX911" y="csY911"/>
              </a:cxn>
              <a:cxn ang="0">
                <a:pos x="csX912" y="csY912"/>
              </a:cxn>
              <a:cxn ang="0">
                <a:pos x="csX913" y="csY913"/>
              </a:cxn>
              <a:cxn ang="0">
                <a:pos x="csX914" y="csY914"/>
              </a:cxn>
              <a:cxn ang="0">
                <a:pos x="csX915" y="csY915"/>
              </a:cxn>
              <a:cxn ang="0">
                <a:pos x="csX916" y="csY916"/>
              </a:cxn>
              <a:cxn ang="0">
                <a:pos x="csX917" y="csY917"/>
              </a:cxn>
              <a:cxn ang="0">
                <a:pos x="csX918" y="csY918"/>
              </a:cxn>
              <a:cxn ang="0">
                <a:pos x="csX919" y="csY919"/>
              </a:cxn>
              <a:cxn ang="0">
                <a:pos x="csX920" y="csY920"/>
              </a:cxn>
              <a:cxn ang="0">
                <a:pos x="csX921" y="csY921"/>
              </a:cxn>
              <a:cxn ang="0">
                <a:pos x="csX922" y="csY922"/>
              </a:cxn>
              <a:cxn ang="0">
                <a:pos x="csX923" y="csY923"/>
              </a:cxn>
              <a:cxn ang="0">
                <a:pos x="csX924" y="csY924"/>
              </a:cxn>
              <a:cxn ang="0">
                <a:pos x="csX925" y="csY925"/>
              </a:cxn>
              <a:cxn ang="0">
                <a:pos x="csX926" y="csY926"/>
              </a:cxn>
              <a:cxn ang="0">
                <a:pos x="csX927" y="csY927"/>
              </a:cxn>
              <a:cxn ang="0">
                <a:pos x="csX928" y="csY928"/>
              </a:cxn>
              <a:cxn ang="0">
                <a:pos x="csX929" y="csY929"/>
              </a:cxn>
              <a:cxn ang="0">
                <a:pos x="csX930" y="csY930"/>
              </a:cxn>
              <a:cxn ang="0">
                <a:pos x="csX931" y="csY931"/>
              </a:cxn>
              <a:cxn ang="0">
                <a:pos x="csX932" y="csY932"/>
              </a:cxn>
              <a:cxn ang="0">
                <a:pos x="csX933" y="csY933"/>
              </a:cxn>
              <a:cxn ang="0">
                <a:pos x="csX934" y="csY934"/>
              </a:cxn>
              <a:cxn ang="0">
                <a:pos x="csX935" y="csY935"/>
              </a:cxn>
              <a:cxn ang="0">
                <a:pos x="csX936" y="csY936"/>
              </a:cxn>
              <a:cxn ang="0">
                <a:pos x="csX937" y="csY937"/>
              </a:cxn>
              <a:cxn ang="0">
                <a:pos x="csX938" y="csY938"/>
              </a:cxn>
              <a:cxn ang="0">
                <a:pos x="csX939" y="csY939"/>
              </a:cxn>
              <a:cxn ang="0">
                <a:pos x="csX940" y="csY940"/>
              </a:cxn>
              <a:cxn ang="0">
                <a:pos x="csX941" y="csY941"/>
              </a:cxn>
              <a:cxn ang="0">
                <a:pos x="csX942" y="csY942"/>
              </a:cxn>
              <a:cxn ang="0">
                <a:pos x="csX943" y="csY943"/>
              </a:cxn>
              <a:cxn ang="0">
                <a:pos x="csX944" y="csY944"/>
              </a:cxn>
              <a:cxn ang="0">
                <a:pos x="csX945" y="csY945"/>
              </a:cxn>
              <a:cxn ang="0">
                <a:pos x="csX946" y="csY946"/>
              </a:cxn>
              <a:cxn ang="0">
                <a:pos x="csX947" y="csY947"/>
              </a:cxn>
              <a:cxn ang="0">
                <a:pos x="csX948" y="csY948"/>
              </a:cxn>
              <a:cxn ang="0">
                <a:pos x="csX949" y="csY949"/>
              </a:cxn>
              <a:cxn ang="0">
                <a:pos x="csX950" y="csY950"/>
              </a:cxn>
              <a:cxn ang="0">
                <a:pos x="csX951" y="csY951"/>
              </a:cxn>
              <a:cxn ang="0">
                <a:pos x="csX952" y="csY952"/>
              </a:cxn>
              <a:cxn ang="0">
                <a:pos x="csX953" y="csY953"/>
              </a:cxn>
              <a:cxn ang="0">
                <a:pos x="csX954" y="csY954"/>
              </a:cxn>
              <a:cxn ang="0">
                <a:pos x="csX955" y="csY955"/>
              </a:cxn>
              <a:cxn ang="0">
                <a:pos x="csX956" y="csY956"/>
              </a:cxn>
              <a:cxn ang="0">
                <a:pos x="csX957" y="csY957"/>
              </a:cxn>
              <a:cxn ang="0">
                <a:pos x="csX958" y="csY958"/>
              </a:cxn>
              <a:cxn ang="0">
                <a:pos x="csX959" y="csY959"/>
              </a:cxn>
              <a:cxn ang="0">
                <a:pos x="csX960" y="csY960"/>
              </a:cxn>
              <a:cxn ang="0">
                <a:pos x="csX961" y="csY961"/>
              </a:cxn>
              <a:cxn ang="0">
                <a:pos x="csX962" y="csY962"/>
              </a:cxn>
              <a:cxn ang="0">
                <a:pos x="csX963" y="csY963"/>
              </a:cxn>
              <a:cxn ang="0">
                <a:pos x="csX964" y="csY964"/>
              </a:cxn>
              <a:cxn ang="0">
                <a:pos x="csX965" y="csY965"/>
              </a:cxn>
              <a:cxn ang="0">
                <a:pos x="csX966" y="csY966"/>
              </a:cxn>
              <a:cxn ang="0">
                <a:pos x="csX967" y="csY967"/>
              </a:cxn>
              <a:cxn ang="0">
                <a:pos x="csX968" y="csY968"/>
              </a:cxn>
              <a:cxn ang="0">
                <a:pos x="csX969" y="csY969"/>
              </a:cxn>
              <a:cxn ang="0">
                <a:pos x="csX970" y="csY970"/>
              </a:cxn>
              <a:cxn ang="0">
                <a:pos x="csX971" y="csY971"/>
              </a:cxn>
              <a:cxn ang="0">
                <a:pos x="csX972" y="csY972"/>
              </a:cxn>
              <a:cxn ang="0">
                <a:pos x="csX973" y="csY973"/>
              </a:cxn>
              <a:cxn ang="0">
                <a:pos x="csX974" y="csY974"/>
              </a:cxn>
              <a:cxn ang="0">
                <a:pos x="csX975" y="csY975"/>
              </a:cxn>
              <a:cxn ang="0">
                <a:pos x="csX976" y="csY976"/>
              </a:cxn>
              <a:cxn ang="0">
                <a:pos x="csX977" y="csY977"/>
              </a:cxn>
              <a:cxn ang="0">
                <a:pos x="csX978" y="csY978"/>
              </a:cxn>
              <a:cxn ang="0">
                <a:pos x="csX979" y="csY979"/>
              </a:cxn>
              <a:cxn ang="0">
                <a:pos x="csX980" y="csY980"/>
              </a:cxn>
              <a:cxn ang="0">
                <a:pos x="csX981" y="csY981"/>
              </a:cxn>
              <a:cxn ang="0">
                <a:pos x="csX982" y="csY982"/>
              </a:cxn>
              <a:cxn ang="0">
                <a:pos x="csX983" y="csY983"/>
              </a:cxn>
              <a:cxn ang="0">
                <a:pos x="csX984" y="csY984"/>
              </a:cxn>
              <a:cxn ang="0">
                <a:pos x="csX985" y="csY985"/>
              </a:cxn>
              <a:cxn ang="0">
                <a:pos x="csX986" y="csY986"/>
              </a:cxn>
              <a:cxn ang="0">
                <a:pos x="csX987" y="csY987"/>
              </a:cxn>
              <a:cxn ang="0">
                <a:pos x="csX988" y="csY988"/>
              </a:cxn>
              <a:cxn ang="0">
                <a:pos x="csX989" y="csY989"/>
              </a:cxn>
              <a:cxn ang="0">
                <a:pos x="csX990" y="csY990"/>
              </a:cxn>
              <a:cxn ang="0">
                <a:pos x="csX991" y="csY991"/>
              </a:cxn>
              <a:cxn ang="0">
                <a:pos x="csX992" y="csY992"/>
              </a:cxn>
              <a:cxn ang="0">
                <a:pos x="csX993" y="csY993"/>
              </a:cxn>
              <a:cxn ang="0">
                <a:pos x="csX994" y="csY994"/>
              </a:cxn>
              <a:cxn ang="0">
                <a:pos x="csX995" y="csY995"/>
              </a:cxn>
              <a:cxn ang="0">
                <a:pos x="csX996" y="csY996"/>
              </a:cxn>
              <a:cxn ang="0">
                <a:pos x="csX997" y="csY997"/>
              </a:cxn>
              <a:cxn ang="0">
                <a:pos x="csX998" y="csY998"/>
              </a:cxn>
              <a:cxn ang="0">
                <a:pos x="csX999" y="csY999"/>
              </a:cxn>
              <a:cxn ang="0">
                <a:pos x="csX1000" y="csY1000"/>
              </a:cxn>
              <a:cxn ang="0">
                <a:pos x="csX1001" y="csY1001"/>
              </a:cxn>
              <a:cxn ang="0">
                <a:pos x="csX1002" y="csY1002"/>
              </a:cxn>
              <a:cxn ang="0">
                <a:pos x="csX1003" y="csY1003"/>
              </a:cxn>
              <a:cxn ang="0">
                <a:pos x="csX1004" y="csY1004"/>
              </a:cxn>
              <a:cxn ang="0">
                <a:pos x="csX1005" y="csY1005"/>
              </a:cxn>
              <a:cxn ang="0">
                <a:pos x="csX1006" y="csY1006"/>
              </a:cxn>
              <a:cxn ang="0">
                <a:pos x="csX1007" y="csY1007"/>
              </a:cxn>
              <a:cxn ang="0">
                <a:pos x="csX1008" y="csY1008"/>
              </a:cxn>
              <a:cxn ang="0">
                <a:pos x="csX1009" y="csY1009"/>
              </a:cxn>
              <a:cxn ang="0">
                <a:pos x="csX1010" y="csY1010"/>
              </a:cxn>
              <a:cxn ang="0">
                <a:pos x="csX1011" y="csY1011"/>
              </a:cxn>
              <a:cxn ang="0">
                <a:pos x="csX1012" y="csY1012"/>
              </a:cxn>
              <a:cxn ang="0">
                <a:pos x="csX1013" y="csY1013"/>
              </a:cxn>
              <a:cxn ang="0">
                <a:pos x="csX1014" y="csY1014"/>
              </a:cxn>
              <a:cxn ang="0">
                <a:pos x="csX1015" y="csY1015"/>
              </a:cxn>
              <a:cxn ang="0">
                <a:pos x="csX1016" y="csY1016"/>
              </a:cxn>
              <a:cxn ang="0">
                <a:pos x="csX1017" y="csY1017"/>
              </a:cxn>
              <a:cxn ang="0">
                <a:pos x="csX1018" y="csY1018"/>
              </a:cxn>
              <a:cxn ang="0">
                <a:pos x="csX1019" y="csY1019"/>
              </a:cxn>
              <a:cxn ang="0">
                <a:pos x="csX1020" y="csY1020"/>
              </a:cxn>
              <a:cxn ang="0">
                <a:pos x="csX1021" y="csY1021"/>
              </a:cxn>
              <a:cxn ang="0">
                <a:pos x="csX1022" y="csY1022"/>
              </a:cxn>
              <a:cxn ang="0">
                <a:pos x="csX1023" y="csY1023"/>
              </a:cxn>
              <a:cxn ang="0">
                <a:pos x="csX1024" y="csY1024"/>
              </a:cxn>
              <a:cxn ang="0">
                <a:pos x="csX1025" y="csY1025"/>
              </a:cxn>
              <a:cxn ang="0">
                <a:pos x="csX1026" y="csY1026"/>
              </a:cxn>
              <a:cxn ang="0">
                <a:pos x="csX1027" y="csY1027"/>
              </a:cxn>
              <a:cxn ang="0">
                <a:pos x="csX1028" y="csY1028"/>
              </a:cxn>
              <a:cxn ang="0">
                <a:pos x="csX1029" y="csY1029"/>
              </a:cxn>
              <a:cxn ang="0">
                <a:pos x="csX1030" y="csY1030"/>
              </a:cxn>
              <a:cxn ang="0">
                <a:pos x="csX1031" y="csY1031"/>
              </a:cxn>
              <a:cxn ang="0">
                <a:pos x="csX1032" y="csY1032"/>
              </a:cxn>
              <a:cxn ang="0">
                <a:pos x="csX1033" y="csY1033"/>
              </a:cxn>
              <a:cxn ang="0">
                <a:pos x="csX1034" y="csY1034"/>
              </a:cxn>
              <a:cxn ang="0">
                <a:pos x="csX1035" y="csY1035"/>
              </a:cxn>
              <a:cxn ang="0">
                <a:pos x="csX1036" y="csY1036"/>
              </a:cxn>
              <a:cxn ang="0">
                <a:pos x="csX1037" y="csY1037"/>
              </a:cxn>
              <a:cxn ang="0">
                <a:pos x="csX1038" y="csY1038"/>
              </a:cxn>
              <a:cxn ang="0">
                <a:pos x="csX1039" y="csY1039"/>
              </a:cxn>
              <a:cxn ang="0">
                <a:pos x="csX1040" y="csY1040"/>
              </a:cxn>
              <a:cxn ang="0">
                <a:pos x="csX1041" y="csY1041"/>
              </a:cxn>
              <a:cxn ang="0">
                <a:pos x="csX1042" y="csY1042"/>
              </a:cxn>
              <a:cxn ang="0">
                <a:pos x="csX1043" y="csY1043"/>
              </a:cxn>
              <a:cxn ang="0">
                <a:pos x="csX1044" y="csY1044"/>
              </a:cxn>
              <a:cxn ang="0">
                <a:pos x="csX1045" y="csY1045"/>
              </a:cxn>
              <a:cxn ang="0">
                <a:pos x="csX1046" y="csY1046"/>
              </a:cxn>
              <a:cxn ang="0">
                <a:pos x="csX1047" y="csY1047"/>
              </a:cxn>
              <a:cxn ang="0">
                <a:pos x="csX1048" y="csY1048"/>
              </a:cxn>
              <a:cxn ang="0">
                <a:pos x="csX1049" y="csY1049"/>
              </a:cxn>
              <a:cxn ang="0">
                <a:pos x="csX1050" y="csY1050"/>
              </a:cxn>
              <a:cxn ang="0">
                <a:pos x="csX1051" y="csY1051"/>
              </a:cxn>
              <a:cxn ang="0">
                <a:pos x="csX1052" y="csY1052"/>
              </a:cxn>
              <a:cxn ang="0">
                <a:pos x="csX1053" y="csY1053"/>
              </a:cxn>
              <a:cxn ang="0">
                <a:pos x="csX1054" y="csY1054"/>
              </a:cxn>
            </a:cxnLst>
            <a:rect l="l" t="t" r="r" b="b"/>
            <a:pathLst>
              <a:path w="1609516" h="1538630">
                <a:moveTo>
                  <a:pt x="401579" y="1495809"/>
                </a:moveTo>
                <a:lnTo>
                  <a:pt x="400190" y="1496004"/>
                </a:lnTo>
                <a:lnTo>
                  <a:pt x="401224" y="1496470"/>
                </a:lnTo>
                <a:lnTo>
                  <a:pt x="401224" y="1498590"/>
                </a:lnTo>
                <a:lnTo>
                  <a:pt x="401579" y="1498628"/>
                </a:lnTo>
                <a:cubicBezTo>
                  <a:pt x="401579" y="1497698"/>
                  <a:pt x="401579" y="1496768"/>
                  <a:pt x="401579" y="1495809"/>
                </a:cubicBezTo>
                <a:close/>
                <a:moveTo>
                  <a:pt x="368755" y="1486512"/>
                </a:moveTo>
                <a:lnTo>
                  <a:pt x="364089" y="1487354"/>
                </a:lnTo>
                <a:lnTo>
                  <a:pt x="364089" y="1487908"/>
                </a:lnTo>
                <a:close/>
                <a:moveTo>
                  <a:pt x="1049801" y="1484562"/>
                </a:moveTo>
                <a:lnTo>
                  <a:pt x="1046735" y="1485945"/>
                </a:lnTo>
                <a:lnTo>
                  <a:pt x="1046955" y="1486045"/>
                </a:lnTo>
                <a:lnTo>
                  <a:pt x="1049801" y="1485188"/>
                </a:lnTo>
                <a:close/>
                <a:moveTo>
                  <a:pt x="351234" y="1444508"/>
                </a:moveTo>
                <a:lnTo>
                  <a:pt x="351234" y="1444997"/>
                </a:lnTo>
                <a:lnTo>
                  <a:pt x="351592" y="1445078"/>
                </a:lnTo>
                <a:close/>
                <a:moveTo>
                  <a:pt x="351908" y="1431206"/>
                </a:moveTo>
                <a:lnTo>
                  <a:pt x="351234" y="1431611"/>
                </a:lnTo>
                <a:lnTo>
                  <a:pt x="351234" y="1432274"/>
                </a:lnTo>
                <a:close/>
                <a:moveTo>
                  <a:pt x="358162" y="1421494"/>
                </a:moveTo>
                <a:lnTo>
                  <a:pt x="355921" y="1423156"/>
                </a:lnTo>
                <a:lnTo>
                  <a:pt x="355921" y="1423548"/>
                </a:lnTo>
                <a:close/>
                <a:moveTo>
                  <a:pt x="376098" y="1408347"/>
                </a:moveTo>
                <a:lnTo>
                  <a:pt x="370750" y="1412245"/>
                </a:lnTo>
                <a:lnTo>
                  <a:pt x="375023" y="1411256"/>
                </a:lnTo>
                <a:close/>
                <a:moveTo>
                  <a:pt x="421956" y="1365623"/>
                </a:moveTo>
                <a:lnTo>
                  <a:pt x="421765" y="1366161"/>
                </a:lnTo>
                <a:lnTo>
                  <a:pt x="421887" y="1366161"/>
                </a:lnTo>
                <a:close/>
                <a:moveTo>
                  <a:pt x="754553" y="1360575"/>
                </a:moveTo>
                <a:lnTo>
                  <a:pt x="754089" y="1361433"/>
                </a:lnTo>
                <a:lnTo>
                  <a:pt x="754431" y="1361125"/>
                </a:lnTo>
                <a:close/>
                <a:moveTo>
                  <a:pt x="1277973" y="1332923"/>
                </a:moveTo>
                <a:lnTo>
                  <a:pt x="1277944" y="1332936"/>
                </a:lnTo>
                <a:lnTo>
                  <a:pt x="1277949" y="1333139"/>
                </a:lnTo>
                <a:close/>
                <a:moveTo>
                  <a:pt x="1268556" y="1321066"/>
                </a:moveTo>
                <a:cubicBezTo>
                  <a:pt x="1268556" y="1322461"/>
                  <a:pt x="1268556" y="1323856"/>
                  <a:pt x="1268556" y="1325294"/>
                </a:cubicBezTo>
                <a:cubicBezTo>
                  <a:pt x="1267525" y="1325294"/>
                  <a:pt x="1266495" y="1325294"/>
                  <a:pt x="1265432" y="1325294"/>
                </a:cubicBezTo>
                <a:cubicBezTo>
                  <a:pt x="1265432" y="1330409"/>
                  <a:pt x="1265432" y="1335525"/>
                  <a:pt x="1265432" y="1340795"/>
                </a:cubicBezTo>
                <a:lnTo>
                  <a:pt x="1265476" y="1340714"/>
                </a:lnTo>
                <a:lnTo>
                  <a:pt x="1265476" y="1325877"/>
                </a:lnTo>
                <a:cubicBezTo>
                  <a:pt x="1266507" y="1325877"/>
                  <a:pt x="1267538" y="1325877"/>
                  <a:pt x="1268600" y="1325877"/>
                </a:cubicBezTo>
                <a:cubicBezTo>
                  <a:pt x="1268600" y="1324482"/>
                  <a:pt x="1268600" y="1323086"/>
                  <a:pt x="1268600" y="1321649"/>
                </a:cubicBezTo>
                <a:cubicBezTo>
                  <a:pt x="1270147" y="1321649"/>
                  <a:pt x="1271693" y="1321649"/>
                  <a:pt x="1273286" y="1321649"/>
                </a:cubicBezTo>
                <a:lnTo>
                  <a:pt x="1273227" y="1321066"/>
                </a:lnTo>
                <a:close/>
                <a:moveTo>
                  <a:pt x="827891" y="1291474"/>
                </a:moveTo>
                <a:lnTo>
                  <a:pt x="822601" y="1291544"/>
                </a:lnTo>
                <a:lnTo>
                  <a:pt x="818272" y="1292220"/>
                </a:lnTo>
                <a:lnTo>
                  <a:pt x="827891" y="1292047"/>
                </a:lnTo>
                <a:close/>
                <a:moveTo>
                  <a:pt x="856397" y="1288691"/>
                </a:moveTo>
                <a:lnTo>
                  <a:pt x="865903" y="1290590"/>
                </a:lnTo>
                <a:lnTo>
                  <a:pt x="859999" y="1288752"/>
                </a:lnTo>
                <a:close/>
                <a:moveTo>
                  <a:pt x="834694" y="1288572"/>
                </a:moveTo>
                <a:lnTo>
                  <a:pt x="828038" y="1288654"/>
                </a:lnTo>
                <a:lnTo>
                  <a:pt x="828038" y="1289214"/>
                </a:lnTo>
                <a:close/>
                <a:moveTo>
                  <a:pt x="229746" y="1191418"/>
                </a:moveTo>
                <a:lnTo>
                  <a:pt x="227402" y="1191947"/>
                </a:lnTo>
                <a:lnTo>
                  <a:pt x="229315" y="1191947"/>
                </a:lnTo>
                <a:cubicBezTo>
                  <a:pt x="229315" y="1192877"/>
                  <a:pt x="229315" y="1193807"/>
                  <a:pt x="229315" y="1194765"/>
                </a:cubicBezTo>
                <a:lnTo>
                  <a:pt x="231321" y="1194765"/>
                </a:lnTo>
                <a:lnTo>
                  <a:pt x="229746" y="1194236"/>
                </a:lnTo>
                <a:cubicBezTo>
                  <a:pt x="229746" y="1193306"/>
                  <a:pt x="229746" y="1192376"/>
                  <a:pt x="229746" y="1191418"/>
                </a:cubicBezTo>
                <a:close/>
                <a:moveTo>
                  <a:pt x="215687" y="1187190"/>
                </a:moveTo>
                <a:lnTo>
                  <a:pt x="215198" y="1187720"/>
                </a:lnTo>
                <a:lnTo>
                  <a:pt x="215256" y="1187720"/>
                </a:lnTo>
                <a:cubicBezTo>
                  <a:pt x="215256" y="1189115"/>
                  <a:pt x="215256" y="1190510"/>
                  <a:pt x="215256" y="1191947"/>
                </a:cubicBezTo>
                <a:lnTo>
                  <a:pt x="222721" y="1191947"/>
                </a:lnTo>
                <a:lnTo>
                  <a:pt x="215687" y="1191418"/>
                </a:lnTo>
                <a:cubicBezTo>
                  <a:pt x="215687" y="1190023"/>
                  <a:pt x="215687" y="1188628"/>
                  <a:pt x="215687" y="1187190"/>
                </a:cubicBezTo>
                <a:close/>
                <a:moveTo>
                  <a:pt x="1279678" y="1082356"/>
                </a:moveTo>
                <a:lnTo>
                  <a:pt x="1271680" y="1084589"/>
                </a:lnTo>
                <a:lnTo>
                  <a:pt x="1282181" y="1082544"/>
                </a:lnTo>
                <a:close/>
                <a:moveTo>
                  <a:pt x="117703" y="941507"/>
                </a:moveTo>
                <a:lnTo>
                  <a:pt x="112587" y="941985"/>
                </a:lnTo>
                <a:lnTo>
                  <a:pt x="112565" y="942333"/>
                </a:lnTo>
                <a:lnTo>
                  <a:pt x="115665" y="941837"/>
                </a:lnTo>
                <a:close/>
                <a:moveTo>
                  <a:pt x="144268" y="939395"/>
                </a:moveTo>
                <a:lnTo>
                  <a:pt x="143354" y="939580"/>
                </a:lnTo>
                <a:lnTo>
                  <a:pt x="144077" y="939739"/>
                </a:lnTo>
                <a:close/>
                <a:moveTo>
                  <a:pt x="162575" y="933530"/>
                </a:moveTo>
                <a:lnTo>
                  <a:pt x="161704" y="935101"/>
                </a:lnTo>
                <a:lnTo>
                  <a:pt x="170045" y="933585"/>
                </a:lnTo>
                <a:close/>
                <a:moveTo>
                  <a:pt x="1321645" y="918415"/>
                </a:moveTo>
                <a:lnTo>
                  <a:pt x="1321534" y="920177"/>
                </a:lnTo>
                <a:lnTo>
                  <a:pt x="1321740" y="918415"/>
                </a:lnTo>
                <a:close/>
                <a:moveTo>
                  <a:pt x="1319333" y="915183"/>
                </a:moveTo>
                <a:lnTo>
                  <a:pt x="1318544" y="918029"/>
                </a:lnTo>
                <a:lnTo>
                  <a:pt x="1318702" y="918029"/>
                </a:lnTo>
                <a:close/>
                <a:moveTo>
                  <a:pt x="1326355" y="907109"/>
                </a:moveTo>
                <a:lnTo>
                  <a:pt x="1326355" y="910983"/>
                </a:lnTo>
                <a:lnTo>
                  <a:pt x="1325831" y="911101"/>
                </a:lnTo>
                <a:lnTo>
                  <a:pt x="1326426" y="911369"/>
                </a:lnTo>
                <a:cubicBezTo>
                  <a:pt x="1326426" y="909974"/>
                  <a:pt x="1326426" y="908579"/>
                  <a:pt x="1326426" y="907141"/>
                </a:cubicBezTo>
                <a:close/>
                <a:moveTo>
                  <a:pt x="1328144" y="892192"/>
                </a:moveTo>
                <a:lnTo>
                  <a:pt x="1327667" y="893446"/>
                </a:lnTo>
                <a:lnTo>
                  <a:pt x="1327989" y="893049"/>
                </a:lnTo>
                <a:close/>
                <a:moveTo>
                  <a:pt x="49605" y="887420"/>
                </a:moveTo>
                <a:lnTo>
                  <a:pt x="48549" y="891229"/>
                </a:lnTo>
                <a:lnTo>
                  <a:pt x="49956" y="887420"/>
                </a:lnTo>
                <a:close/>
                <a:moveTo>
                  <a:pt x="1332266" y="883369"/>
                </a:moveTo>
                <a:lnTo>
                  <a:pt x="1329479" y="884207"/>
                </a:lnTo>
                <a:lnTo>
                  <a:pt x="1329509" y="884816"/>
                </a:lnTo>
                <a:lnTo>
                  <a:pt x="1329551" y="884594"/>
                </a:lnTo>
                <a:close/>
                <a:moveTo>
                  <a:pt x="1555987" y="821766"/>
                </a:moveTo>
                <a:lnTo>
                  <a:pt x="1555987" y="822201"/>
                </a:lnTo>
                <a:lnTo>
                  <a:pt x="1556081" y="822189"/>
                </a:lnTo>
                <a:close/>
                <a:moveTo>
                  <a:pt x="1565360" y="810928"/>
                </a:moveTo>
                <a:lnTo>
                  <a:pt x="1564871" y="811809"/>
                </a:lnTo>
                <a:lnTo>
                  <a:pt x="1567314" y="810928"/>
                </a:lnTo>
                <a:close/>
                <a:moveTo>
                  <a:pt x="1563797" y="810928"/>
                </a:moveTo>
                <a:lnTo>
                  <a:pt x="1556762" y="814736"/>
                </a:lnTo>
                <a:lnTo>
                  <a:pt x="1563797" y="812197"/>
                </a:lnTo>
                <a:close/>
                <a:moveTo>
                  <a:pt x="265833" y="806020"/>
                </a:moveTo>
                <a:lnTo>
                  <a:pt x="263704" y="809861"/>
                </a:lnTo>
                <a:lnTo>
                  <a:pt x="263704" y="816750"/>
                </a:lnTo>
                <a:lnTo>
                  <a:pt x="264113" y="816565"/>
                </a:lnTo>
                <a:cubicBezTo>
                  <a:pt x="264048" y="815315"/>
                  <a:pt x="263984" y="814065"/>
                  <a:pt x="263918" y="812777"/>
                </a:cubicBezTo>
                <a:close/>
                <a:moveTo>
                  <a:pt x="263774" y="779374"/>
                </a:moveTo>
                <a:lnTo>
                  <a:pt x="263704" y="783086"/>
                </a:lnTo>
                <a:cubicBezTo>
                  <a:pt x="263961" y="783987"/>
                  <a:pt x="264219" y="784888"/>
                  <a:pt x="264484" y="785816"/>
                </a:cubicBezTo>
                <a:cubicBezTo>
                  <a:pt x="265299" y="788846"/>
                  <a:pt x="265316" y="791337"/>
                  <a:pt x="265265" y="794448"/>
                </a:cubicBezTo>
                <a:cubicBezTo>
                  <a:pt x="265103" y="797155"/>
                  <a:pt x="265022" y="798508"/>
                  <a:pt x="265217" y="799730"/>
                </a:cubicBezTo>
                <a:lnTo>
                  <a:pt x="266556" y="803466"/>
                </a:lnTo>
                <a:lnTo>
                  <a:pt x="267237" y="801063"/>
                </a:lnTo>
                <a:cubicBezTo>
                  <a:pt x="266721" y="800598"/>
                  <a:pt x="266206" y="800133"/>
                  <a:pt x="265675" y="799654"/>
                </a:cubicBezTo>
                <a:cubicBezTo>
                  <a:pt x="265601" y="797718"/>
                  <a:pt x="265617" y="795778"/>
                  <a:pt x="265675" y="793841"/>
                </a:cubicBezTo>
                <a:close/>
                <a:moveTo>
                  <a:pt x="260988" y="770061"/>
                </a:moveTo>
                <a:lnTo>
                  <a:pt x="260988" y="771364"/>
                </a:lnTo>
                <a:lnTo>
                  <a:pt x="263497" y="777263"/>
                </a:lnTo>
                <a:lnTo>
                  <a:pt x="262551" y="770061"/>
                </a:lnTo>
                <a:cubicBezTo>
                  <a:pt x="262035" y="770061"/>
                  <a:pt x="261520" y="770061"/>
                  <a:pt x="260988" y="770061"/>
                </a:cubicBezTo>
                <a:close/>
                <a:moveTo>
                  <a:pt x="157888" y="651686"/>
                </a:moveTo>
                <a:lnTo>
                  <a:pt x="157415" y="651764"/>
                </a:lnTo>
                <a:lnTo>
                  <a:pt x="160373" y="652274"/>
                </a:lnTo>
                <a:close/>
                <a:moveTo>
                  <a:pt x="267237" y="426537"/>
                </a:moveTo>
                <a:lnTo>
                  <a:pt x="267237" y="427619"/>
                </a:lnTo>
                <a:cubicBezTo>
                  <a:pt x="268274" y="427791"/>
                  <a:pt x="269311" y="427961"/>
                  <a:pt x="270380" y="428137"/>
                </a:cubicBezTo>
                <a:lnTo>
                  <a:pt x="273548" y="428680"/>
                </a:lnTo>
                <a:close/>
                <a:moveTo>
                  <a:pt x="37605" y="359270"/>
                </a:moveTo>
                <a:lnTo>
                  <a:pt x="37103" y="361533"/>
                </a:lnTo>
                <a:lnTo>
                  <a:pt x="37605" y="361382"/>
                </a:lnTo>
                <a:close/>
                <a:moveTo>
                  <a:pt x="52477" y="337570"/>
                </a:moveTo>
                <a:lnTo>
                  <a:pt x="47288" y="342340"/>
                </a:lnTo>
                <a:lnTo>
                  <a:pt x="45805" y="345093"/>
                </a:lnTo>
                <a:close/>
                <a:moveTo>
                  <a:pt x="104291" y="336166"/>
                </a:moveTo>
                <a:lnTo>
                  <a:pt x="103776" y="337559"/>
                </a:lnTo>
                <a:lnTo>
                  <a:pt x="108925" y="336166"/>
                </a:lnTo>
                <a:close/>
                <a:moveTo>
                  <a:pt x="1309237" y="322954"/>
                </a:moveTo>
                <a:lnTo>
                  <a:pt x="1309180" y="330559"/>
                </a:lnTo>
                <a:lnTo>
                  <a:pt x="1309237" y="330520"/>
                </a:lnTo>
                <a:close/>
                <a:moveTo>
                  <a:pt x="1308964" y="317715"/>
                </a:moveTo>
                <a:lnTo>
                  <a:pt x="1309237" y="318569"/>
                </a:lnTo>
                <a:lnTo>
                  <a:pt x="1309237" y="317838"/>
                </a:lnTo>
                <a:close/>
                <a:moveTo>
                  <a:pt x="1310087" y="313153"/>
                </a:moveTo>
                <a:lnTo>
                  <a:pt x="1307609" y="313473"/>
                </a:lnTo>
                <a:lnTo>
                  <a:pt x="1308045" y="314836"/>
                </a:lnTo>
                <a:close/>
                <a:moveTo>
                  <a:pt x="1318544" y="312064"/>
                </a:moveTo>
                <a:lnTo>
                  <a:pt x="1316298" y="312353"/>
                </a:lnTo>
                <a:lnTo>
                  <a:pt x="1318544" y="312205"/>
                </a:lnTo>
                <a:close/>
                <a:moveTo>
                  <a:pt x="1084622" y="267674"/>
                </a:moveTo>
                <a:lnTo>
                  <a:pt x="1084227" y="268378"/>
                </a:lnTo>
                <a:cubicBezTo>
                  <a:pt x="1082679" y="268378"/>
                  <a:pt x="1081133" y="268378"/>
                  <a:pt x="1079540" y="268378"/>
                </a:cubicBezTo>
                <a:lnTo>
                  <a:pt x="1079603" y="268477"/>
                </a:lnTo>
                <a:lnTo>
                  <a:pt x="1084192" y="268477"/>
                </a:lnTo>
                <a:close/>
                <a:moveTo>
                  <a:pt x="956410" y="266968"/>
                </a:moveTo>
                <a:lnTo>
                  <a:pt x="957576" y="267083"/>
                </a:lnTo>
                <a:lnTo>
                  <a:pt x="957576" y="269776"/>
                </a:lnTo>
                <a:lnTo>
                  <a:pt x="957694" y="269787"/>
                </a:lnTo>
                <a:cubicBezTo>
                  <a:pt x="957694" y="268857"/>
                  <a:pt x="957694" y="267927"/>
                  <a:pt x="957694" y="266968"/>
                </a:cubicBezTo>
                <a:close/>
                <a:moveTo>
                  <a:pt x="1089372" y="259220"/>
                </a:moveTo>
                <a:lnTo>
                  <a:pt x="1085856" y="265479"/>
                </a:lnTo>
                <a:lnTo>
                  <a:pt x="1088878" y="261431"/>
                </a:lnTo>
                <a:close/>
                <a:moveTo>
                  <a:pt x="1018517" y="223356"/>
                </a:moveTo>
                <a:lnTo>
                  <a:pt x="1013866" y="226190"/>
                </a:lnTo>
                <a:lnTo>
                  <a:pt x="1013024" y="227709"/>
                </a:lnTo>
                <a:lnTo>
                  <a:pt x="1017055" y="224692"/>
                </a:lnTo>
                <a:close/>
                <a:moveTo>
                  <a:pt x="850645" y="220099"/>
                </a:moveTo>
                <a:lnTo>
                  <a:pt x="850897" y="221488"/>
                </a:lnTo>
                <a:cubicBezTo>
                  <a:pt x="851086" y="222545"/>
                  <a:pt x="851275" y="223602"/>
                  <a:pt x="851470" y="224692"/>
                </a:cubicBezTo>
                <a:lnTo>
                  <a:pt x="852860" y="224692"/>
                </a:lnTo>
                <a:close/>
                <a:moveTo>
                  <a:pt x="1155019" y="35"/>
                </a:moveTo>
                <a:cubicBezTo>
                  <a:pt x="1161775" y="275"/>
                  <a:pt x="1168415" y="1783"/>
                  <a:pt x="1174829" y="4853"/>
                </a:cubicBezTo>
                <a:cubicBezTo>
                  <a:pt x="1176343" y="5231"/>
                  <a:pt x="1177858" y="5609"/>
                  <a:pt x="1179418" y="5998"/>
                </a:cubicBezTo>
                <a:cubicBezTo>
                  <a:pt x="1189392" y="9487"/>
                  <a:pt x="1196322" y="14392"/>
                  <a:pt x="1201385" y="22997"/>
                </a:cubicBezTo>
                <a:cubicBezTo>
                  <a:pt x="1206849" y="35244"/>
                  <a:pt x="1206940" y="49865"/>
                  <a:pt x="1201678" y="62191"/>
                </a:cubicBezTo>
                <a:cubicBezTo>
                  <a:pt x="1200594" y="64241"/>
                  <a:pt x="1199461" y="66271"/>
                  <a:pt x="1198261" y="68268"/>
                </a:cubicBezTo>
                <a:cubicBezTo>
                  <a:pt x="1197423" y="69721"/>
                  <a:pt x="1196586" y="71175"/>
                  <a:pt x="1195723" y="72672"/>
                </a:cubicBezTo>
                <a:cubicBezTo>
                  <a:pt x="1194659" y="73980"/>
                  <a:pt x="1194659" y="73980"/>
                  <a:pt x="1193575" y="75314"/>
                </a:cubicBezTo>
                <a:cubicBezTo>
                  <a:pt x="1192544" y="75314"/>
                  <a:pt x="1191512" y="75314"/>
                  <a:pt x="1190450" y="75314"/>
                </a:cubicBezTo>
                <a:cubicBezTo>
                  <a:pt x="1190128" y="76651"/>
                  <a:pt x="1189806" y="77988"/>
                  <a:pt x="1189474" y="79366"/>
                </a:cubicBezTo>
                <a:cubicBezTo>
                  <a:pt x="1187326" y="83769"/>
                  <a:pt x="1187326" y="83769"/>
                  <a:pt x="1182445" y="85707"/>
                </a:cubicBezTo>
                <a:cubicBezTo>
                  <a:pt x="1180962" y="85998"/>
                  <a:pt x="1179480" y="86289"/>
                  <a:pt x="1177953" y="86588"/>
                </a:cubicBezTo>
                <a:cubicBezTo>
                  <a:pt x="1177953" y="87518"/>
                  <a:pt x="1177953" y="88448"/>
                  <a:pt x="1177953" y="89406"/>
                </a:cubicBezTo>
                <a:cubicBezTo>
                  <a:pt x="1175369" y="91088"/>
                  <a:pt x="1172720" y="92688"/>
                  <a:pt x="1170045" y="94251"/>
                </a:cubicBezTo>
                <a:cubicBezTo>
                  <a:pt x="1154651" y="104199"/>
                  <a:pt x="1148918" y="116979"/>
                  <a:pt x="1143806" y="132828"/>
                </a:cubicBezTo>
                <a:cubicBezTo>
                  <a:pt x="1142095" y="137144"/>
                  <a:pt x="1140989" y="138617"/>
                  <a:pt x="1137338" y="141548"/>
                </a:cubicBezTo>
                <a:cubicBezTo>
                  <a:pt x="1136166" y="144148"/>
                  <a:pt x="1134992" y="146751"/>
                  <a:pt x="1133970" y="149403"/>
                </a:cubicBezTo>
                <a:cubicBezTo>
                  <a:pt x="1132069" y="154334"/>
                  <a:pt x="1130006" y="159210"/>
                  <a:pt x="1127965" y="164095"/>
                </a:cubicBezTo>
                <a:cubicBezTo>
                  <a:pt x="1126897" y="166664"/>
                  <a:pt x="1125830" y="169233"/>
                  <a:pt x="1124762" y="171802"/>
                </a:cubicBezTo>
                <a:cubicBezTo>
                  <a:pt x="1122961" y="176134"/>
                  <a:pt x="1121160" y="180466"/>
                  <a:pt x="1119359" y="184798"/>
                </a:cubicBezTo>
                <a:cubicBezTo>
                  <a:pt x="1116567" y="191508"/>
                  <a:pt x="1113778" y="198220"/>
                  <a:pt x="1111014" y="204941"/>
                </a:cubicBezTo>
                <a:cubicBezTo>
                  <a:pt x="1110590" y="205970"/>
                  <a:pt x="1110165" y="206999"/>
                  <a:pt x="1109729" y="208059"/>
                </a:cubicBezTo>
                <a:cubicBezTo>
                  <a:pt x="1108615" y="210762"/>
                  <a:pt x="1107505" y="213466"/>
                  <a:pt x="1106395" y="216170"/>
                </a:cubicBezTo>
                <a:cubicBezTo>
                  <a:pt x="1104320" y="220956"/>
                  <a:pt x="1103283" y="223349"/>
                  <a:pt x="1102147" y="224810"/>
                </a:cubicBezTo>
                <a:lnTo>
                  <a:pt x="1098261" y="227262"/>
                </a:lnTo>
                <a:lnTo>
                  <a:pt x="1098367" y="238475"/>
                </a:lnTo>
                <a:cubicBezTo>
                  <a:pt x="1098025" y="239757"/>
                  <a:pt x="1097684" y="241038"/>
                  <a:pt x="1097331" y="242358"/>
                </a:cubicBezTo>
                <a:cubicBezTo>
                  <a:pt x="1096958" y="243711"/>
                  <a:pt x="1096585" y="245064"/>
                  <a:pt x="1096201" y="246458"/>
                </a:cubicBezTo>
                <a:cubicBezTo>
                  <a:pt x="1093302" y="257363"/>
                  <a:pt x="1090901" y="268062"/>
                  <a:pt x="1089440" y="279206"/>
                </a:cubicBezTo>
                <a:cubicBezTo>
                  <a:pt x="1088878" y="282569"/>
                  <a:pt x="1088878" y="282569"/>
                  <a:pt x="1087316" y="283978"/>
                </a:cubicBezTo>
                <a:cubicBezTo>
                  <a:pt x="1087070" y="286587"/>
                  <a:pt x="1086924" y="289205"/>
                  <a:pt x="1086822" y="291822"/>
                </a:cubicBezTo>
                <a:cubicBezTo>
                  <a:pt x="1086756" y="293408"/>
                  <a:pt x="1086691" y="294993"/>
                  <a:pt x="1086623" y="296625"/>
                </a:cubicBezTo>
                <a:cubicBezTo>
                  <a:pt x="1086562" y="298294"/>
                  <a:pt x="1086501" y="299962"/>
                  <a:pt x="1086437" y="301681"/>
                </a:cubicBezTo>
                <a:cubicBezTo>
                  <a:pt x="1086336" y="304192"/>
                  <a:pt x="1086336" y="304192"/>
                  <a:pt x="1086233" y="306754"/>
                </a:cubicBezTo>
                <a:lnTo>
                  <a:pt x="1086007" y="312619"/>
                </a:lnTo>
                <a:lnTo>
                  <a:pt x="1087470" y="320554"/>
                </a:lnTo>
                <a:cubicBezTo>
                  <a:pt x="1089648" y="325409"/>
                  <a:pt x="1093111" y="329799"/>
                  <a:pt x="1098285" y="334611"/>
                </a:cubicBezTo>
                <a:cubicBezTo>
                  <a:pt x="1100424" y="336130"/>
                  <a:pt x="1100424" y="336130"/>
                  <a:pt x="1102607" y="337679"/>
                </a:cubicBezTo>
                <a:cubicBezTo>
                  <a:pt x="1104334" y="338951"/>
                  <a:pt x="1104334" y="338951"/>
                  <a:pt x="1106095" y="340248"/>
                </a:cubicBezTo>
                <a:cubicBezTo>
                  <a:pt x="1106095" y="341178"/>
                  <a:pt x="1106095" y="342108"/>
                  <a:pt x="1106095" y="343066"/>
                </a:cubicBezTo>
                <a:cubicBezTo>
                  <a:pt x="1107127" y="343183"/>
                  <a:pt x="1108158" y="343299"/>
                  <a:pt x="1109220" y="343419"/>
                </a:cubicBezTo>
                <a:cubicBezTo>
                  <a:pt x="1115473" y="344829"/>
                  <a:pt x="1120724" y="347416"/>
                  <a:pt x="1126403" y="350112"/>
                </a:cubicBezTo>
                <a:cubicBezTo>
                  <a:pt x="1128207" y="350926"/>
                  <a:pt x="1130012" y="351740"/>
                  <a:pt x="1131871" y="352579"/>
                </a:cubicBezTo>
                <a:cubicBezTo>
                  <a:pt x="1133159" y="353160"/>
                  <a:pt x="1134448" y="353741"/>
                  <a:pt x="1135776" y="354340"/>
                </a:cubicBezTo>
                <a:cubicBezTo>
                  <a:pt x="1135776" y="355270"/>
                  <a:pt x="1135776" y="356200"/>
                  <a:pt x="1135776" y="357158"/>
                </a:cubicBezTo>
                <a:cubicBezTo>
                  <a:pt x="1148107" y="360029"/>
                  <a:pt x="1158679" y="359101"/>
                  <a:pt x="1170143" y="354340"/>
                </a:cubicBezTo>
                <a:cubicBezTo>
                  <a:pt x="1172366" y="353468"/>
                  <a:pt x="1172366" y="353468"/>
                  <a:pt x="1174634" y="352579"/>
                </a:cubicBezTo>
                <a:cubicBezTo>
                  <a:pt x="1180354" y="349689"/>
                  <a:pt x="1185568" y="346355"/>
                  <a:pt x="1190890" y="342907"/>
                </a:cubicBezTo>
                <a:cubicBezTo>
                  <a:pt x="1195169" y="340228"/>
                  <a:pt x="1199557" y="337821"/>
                  <a:pt x="1204021" y="335404"/>
                </a:cubicBezTo>
                <a:cubicBezTo>
                  <a:pt x="1211989" y="330886"/>
                  <a:pt x="1217509" y="325766"/>
                  <a:pt x="1223255" y="319110"/>
                </a:cubicBezTo>
                <a:cubicBezTo>
                  <a:pt x="1224447" y="317947"/>
                  <a:pt x="1225639" y="316784"/>
                  <a:pt x="1226868" y="315587"/>
                </a:cubicBezTo>
                <a:cubicBezTo>
                  <a:pt x="1229855" y="311593"/>
                  <a:pt x="1230852" y="308240"/>
                  <a:pt x="1231859" y="303559"/>
                </a:cubicBezTo>
                <a:cubicBezTo>
                  <a:pt x="1232628" y="300790"/>
                  <a:pt x="1232628" y="300790"/>
                  <a:pt x="1234178" y="298059"/>
                </a:cubicBezTo>
                <a:cubicBezTo>
                  <a:pt x="1235964" y="294761"/>
                  <a:pt x="1236623" y="291807"/>
                  <a:pt x="1237314" y="288195"/>
                </a:cubicBezTo>
                <a:cubicBezTo>
                  <a:pt x="1239360" y="278571"/>
                  <a:pt x="1242414" y="272733"/>
                  <a:pt x="1249811" y="265559"/>
                </a:cubicBezTo>
                <a:cubicBezTo>
                  <a:pt x="1250842" y="265559"/>
                  <a:pt x="1251873" y="265559"/>
                  <a:pt x="1252935" y="265559"/>
                </a:cubicBezTo>
                <a:cubicBezTo>
                  <a:pt x="1252935" y="264629"/>
                  <a:pt x="1252935" y="263699"/>
                  <a:pt x="1252935" y="262741"/>
                </a:cubicBezTo>
                <a:cubicBezTo>
                  <a:pt x="1265591" y="253427"/>
                  <a:pt x="1280762" y="251648"/>
                  <a:pt x="1296675" y="252876"/>
                </a:cubicBezTo>
                <a:cubicBezTo>
                  <a:pt x="1300535" y="253563"/>
                  <a:pt x="1303901" y="254478"/>
                  <a:pt x="1307609" y="255695"/>
                </a:cubicBezTo>
                <a:cubicBezTo>
                  <a:pt x="1307609" y="256625"/>
                  <a:pt x="1307609" y="257555"/>
                  <a:pt x="1307609" y="258513"/>
                </a:cubicBezTo>
                <a:cubicBezTo>
                  <a:pt x="1309021" y="258619"/>
                  <a:pt x="1310432" y="258723"/>
                  <a:pt x="1311887" y="258832"/>
                </a:cubicBezTo>
                <a:cubicBezTo>
                  <a:pt x="1319573" y="260476"/>
                  <a:pt x="1322149" y="264416"/>
                  <a:pt x="1326715" y="269969"/>
                </a:cubicBezTo>
                <a:cubicBezTo>
                  <a:pt x="1334402" y="281220"/>
                  <a:pt x="1336114" y="294839"/>
                  <a:pt x="1334165" y="307836"/>
                </a:cubicBezTo>
                <a:cubicBezTo>
                  <a:pt x="1332176" y="311898"/>
                  <a:pt x="1332176" y="311898"/>
                  <a:pt x="1329479" y="314882"/>
                </a:cubicBezTo>
                <a:cubicBezTo>
                  <a:pt x="1327417" y="314882"/>
                  <a:pt x="1325355" y="314882"/>
                  <a:pt x="1323231" y="314882"/>
                </a:cubicBezTo>
                <a:cubicBezTo>
                  <a:pt x="1323231" y="315812"/>
                  <a:pt x="1323231" y="316742"/>
                  <a:pt x="1323231" y="317700"/>
                </a:cubicBezTo>
                <a:lnTo>
                  <a:pt x="1322774" y="317838"/>
                </a:lnTo>
                <a:lnTo>
                  <a:pt x="1323295" y="317838"/>
                </a:lnTo>
                <a:cubicBezTo>
                  <a:pt x="1323295" y="316907"/>
                  <a:pt x="1323295" y="315977"/>
                  <a:pt x="1323295" y="315019"/>
                </a:cubicBezTo>
                <a:cubicBezTo>
                  <a:pt x="1324842" y="315019"/>
                  <a:pt x="1326388" y="315019"/>
                  <a:pt x="1327982" y="315019"/>
                </a:cubicBezTo>
                <a:cubicBezTo>
                  <a:pt x="1325845" y="321328"/>
                  <a:pt x="1322753" y="323742"/>
                  <a:pt x="1317047" y="327702"/>
                </a:cubicBezTo>
                <a:cubicBezTo>
                  <a:pt x="1316531" y="329097"/>
                  <a:pt x="1316016" y="330492"/>
                  <a:pt x="1315484" y="331930"/>
                </a:cubicBezTo>
                <a:cubicBezTo>
                  <a:pt x="1312599" y="332959"/>
                  <a:pt x="1312599" y="332959"/>
                  <a:pt x="1309139" y="333603"/>
                </a:cubicBezTo>
                <a:cubicBezTo>
                  <a:pt x="1307993" y="333827"/>
                  <a:pt x="1306847" y="334050"/>
                  <a:pt x="1305666" y="334280"/>
                </a:cubicBezTo>
                <a:cubicBezTo>
                  <a:pt x="1304783" y="334434"/>
                  <a:pt x="1303899" y="334589"/>
                  <a:pt x="1302988" y="334748"/>
                </a:cubicBezTo>
                <a:lnTo>
                  <a:pt x="1305905" y="332775"/>
                </a:lnTo>
                <a:lnTo>
                  <a:pt x="1304485" y="333202"/>
                </a:lnTo>
                <a:cubicBezTo>
                  <a:pt x="1302987" y="334640"/>
                  <a:pt x="1302987" y="334640"/>
                  <a:pt x="1301459" y="336108"/>
                </a:cubicBezTo>
                <a:cubicBezTo>
                  <a:pt x="1298237" y="338839"/>
                  <a:pt x="1298237" y="338839"/>
                  <a:pt x="1291989" y="338839"/>
                </a:cubicBezTo>
                <a:cubicBezTo>
                  <a:pt x="1291473" y="340234"/>
                  <a:pt x="1290957" y="341629"/>
                  <a:pt x="1290426" y="343066"/>
                </a:cubicBezTo>
                <a:cubicBezTo>
                  <a:pt x="1288879" y="343415"/>
                  <a:pt x="1287333" y="343764"/>
                  <a:pt x="1285740" y="344123"/>
                </a:cubicBezTo>
                <a:cubicBezTo>
                  <a:pt x="1266905" y="348491"/>
                  <a:pt x="1249005" y="369098"/>
                  <a:pt x="1237314" y="382525"/>
                </a:cubicBezTo>
                <a:cubicBezTo>
                  <a:pt x="1235678" y="385783"/>
                  <a:pt x="1234122" y="389075"/>
                  <a:pt x="1232628" y="392389"/>
                </a:cubicBezTo>
                <a:cubicBezTo>
                  <a:pt x="1231317" y="394515"/>
                  <a:pt x="1229981" y="396629"/>
                  <a:pt x="1228625" y="398731"/>
                </a:cubicBezTo>
                <a:cubicBezTo>
                  <a:pt x="1221457" y="410300"/>
                  <a:pt x="1219465" y="421836"/>
                  <a:pt x="1222822" y="434798"/>
                </a:cubicBezTo>
                <a:cubicBezTo>
                  <a:pt x="1229360" y="453710"/>
                  <a:pt x="1244088" y="472467"/>
                  <a:pt x="1260746" y="485398"/>
                </a:cubicBezTo>
                <a:cubicBezTo>
                  <a:pt x="1264961" y="487349"/>
                  <a:pt x="1264961" y="487349"/>
                  <a:pt x="1268556" y="488216"/>
                </a:cubicBezTo>
                <a:cubicBezTo>
                  <a:pt x="1268556" y="489146"/>
                  <a:pt x="1268556" y="490076"/>
                  <a:pt x="1268556" y="491034"/>
                </a:cubicBezTo>
                <a:cubicBezTo>
                  <a:pt x="1288790" y="497071"/>
                  <a:pt x="1319055" y="498555"/>
                  <a:pt x="1338852" y="489625"/>
                </a:cubicBezTo>
                <a:cubicBezTo>
                  <a:pt x="1341711" y="489213"/>
                  <a:pt x="1344575" y="488837"/>
                  <a:pt x="1347444" y="488480"/>
                </a:cubicBezTo>
                <a:cubicBezTo>
                  <a:pt x="1355372" y="487345"/>
                  <a:pt x="1362033" y="485390"/>
                  <a:pt x="1369362" y="482513"/>
                </a:cubicBezTo>
                <a:cubicBezTo>
                  <a:pt x="1375665" y="480318"/>
                  <a:pt x="1382189" y="479322"/>
                  <a:pt x="1388840" y="478351"/>
                </a:cubicBezTo>
                <a:cubicBezTo>
                  <a:pt x="1388840" y="477421"/>
                  <a:pt x="1388840" y="476492"/>
                  <a:pt x="1388840" y="475533"/>
                </a:cubicBezTo>
                <a:cubicBezTo>
                  <a:pt x="1391083" y="474821"/>
                  <a:pt x="1393329" y="474118"/>
                  <a:pt x="1395576" y="473419"/>
                </a:cubicBezTo>
                <a:cubicBezTo>
                  <a:pt x="1396827" y="473027"/>
                  <a:pt x="1398077" y="472635"/>
                  <a:pt x="1399365" y="472230"/>
                </a:cubicBezTo>
                <a:cubicBezTo>
                  <a:pt x="1402899" y="471305"/>
                  <a:pt x="1402899" y="471305"/>
                  <a:pt x="1407585" y="471305"/>
                </a:cubicBezTo>
                <a:cubicBezTo>
                  <a:pt x="1408101" y="469910"/>
                  <a:pt x="1408616" y="468515"/>
                  <a:pt x="1409147" y="467078"/>
                </a:cubicBezTo>
                <a:cubicBezTo>
                  <a:pt x="1412388" y="465580"/>
                  <a:pt x="1412388" y="465580"/>
                  <a:pt x="1416470" y="464259"/>
                </a:cubicBezTo>
                <a:cubicBezTo>
                  <a:pt x="1424029" y="461705"/>
                  <a:pt x="1431130" y="458955"/>
                  <a:pt x="1437949" y="455011"/>
                </a:cubicBezTo>
                <a:cubicBezTo>
                  <a:pt x="1442765" y="452574"/>
                  <a:pt x="1447553" y="451394"/>
                  <a:pt x="1452887" y="450167"/>
                </a:cubicBezTo>
                <a:cubicBezTo>
                  <a:pt x="1452887" y="449237"/>
                  <a:pt x="1452887" y="448307"/>
                  <a:pt x="1452887" y="447349"/>
                </a:cubicBezTo>
                <a:cubicBezTo>
                  <a:pt x="1453714" y="446944"/>
                  <a:pt x="1454541" y="446539"/>
                  <a:pt x="1455394" y="446122"/>
                </a:cubicBezTo>
                <a:cubicBezTo>
                  <a:pt x="1459151" y="444278"/>
                  <a:pt x="1462902" y="442422"/>
                  <a:pt x="1466653" y="440567"/>
                </a:cubicBezTo>
                <a:cubicBezTo>
                  <a:pt x="1467955" y="439930"/>
                  <a:pt x="1469256" y="439293"/>
                  <a:pt x="1470598" y="438637"/>
                </a:cubicBezTo>
                <a:cubicBezTo>
                  <a:pt x="1471852" y="438016"/>
                  <a:pt x="1473105" y="437393"/>
                  <a:pt x="1474397" y="436752"/>
                </a:cubicBezTo>
                <a:cubicBezTo>
                  <a:pt x="1475550" y="436184"/>
                  <a:pt x="1476703" y="435616"/>
                  <a:pt x="1477892" y="435030"/>
                </a:cubicBezTo>
                <a:cubicBezTo>
                  <a:pt x="1480966" y="433279"/>
                  <a:pt x="1483173" y="431373"/>
                  <a:pt x="1485691" y="429029"/>
                </a:cubicBezTo>
                <a:cubicBezTo>
                  <a:pt x="1486737" y="428575"/>
                  <a:pt x="1487781" y="428121"/>
                  <a:pt x="1488858" y="427653"/>
                </a:cubicBezTo>
                <a:cubicBezTo>
                  <a:pt x="1492438" y="425977"/>
                  <a:pt x="1493705" y="424453"/>
                  <a:pt x="1495943" y="421454"/>
                </a:cubicBezTo>
                <a:cubicBezTo>
                  <a:pt x="1507114" y="407544"/>
                  <a:pt x="1519758" y="393513"/>
                  <a:pt x="1538608" y="388338"/>
                </a:cubicBezTo>
                <a:cubicBezTo>
                  <a:pt x="1541025" y="388250"/>
                  <a:pt x="1541025" y="388250"/>
                  <a:pt x="1543490" y="388161"/>
                </a:cubicBezTo>
                <a:cubicBezTo>
                  <a:pt x="1545535" y="387984"/>
                  <a:pt x="1545535" y="387984"/>
                  <a:pt x="1547621" y="387804"/>
                </a:cubicBezTo>
                <a:cubicBezTo>
                  <a:pt x="1560659" y="387094"/>
                  <a:pt x="1568716" y="390117"/>
                  <a:pt x="1579418" y="396617"/>
                </a:cubicBezTo>
                <a:cubicBezTo>
                  <a:pt x="1581361" y="397687"/>
                  <a:pt x="1581361" y="397687"/>
                  <a:pt x="1583342" y="398780"/>
                </a:cubicBezTo>
                <a:cubicBezTo>
                  <a:pt x="1593703" y="405068"/>
                  <a:pt x="1598513" y="412459"/>
                  <a:pt x="1601288" y="423392"/>
                </a:cubicBezTo>
                <a:cubicBezTo>
                  <a:pt x="1603295" y="436596"/>
                  <a:pt x="1603517" y="449033"/>
                  <a:pt x="1594484" y="460159"/>
                </a:cubicBezTo>
                <a:cubicBezTo>
                  <a:pt x="1588468" y="466462"/>
                  <a:pt x="1582607" y="471150"/>
                  <a:pt x="1574732" y="475533"/>
                </a:cubicBezTo>
                <a:cubicBezTo>
                  <a:pt x="1573862" y="476043"/>
                  <a:pt x="1572993" y="476553"/>
                  <a:pt x="1572097" y="477078"/>
                </a:cubicBezTo>
                <a:cubicBezTo>
                  <a:pt x="1566828" y="478935"/>
                  <a:pt x="1561641" y="478744"/>
                  <a:pt x="1556066" y="478737"/>
                </a:cubicBezTo>
                <a:cubicBezTo>
                  <a:pt x="1553587" y="478765"/>
                  <a:pt x="1551109" y="478795"/>
                  <a:pt x="1548631" y="478825"/>
                </a:cubicBezTo>
                <a:cubicBezTo>
                  <a:pt x="1544751" y="478857"/>
                  <a:pt x="1540871" y="478880"/>
                  <a:pt x="1536991" y="478889"/>
                </a:cubicBezTo>
                <a:cubicBezTo>
                  <a:pt x="1516714" y="478693"/>
                  <a:pt x="1516714" y="478693"/>
                  <a:pt x="1498188" y="485398"/>
                </a:cubicBezTo>
                <a:cubicBezTo>
                  <a:pt x="1496062" y="486488"/>
                  <a:pt x="1496062" y="486488"/>
                  <a:pt x="1493892" y="487600"/>
                </a:cubicBezTo>
                <a:cubicBezTo>
                  <a:pt x="1492733" y="488268"/>
                  <a:pt x="1491573" y="488937"/>
                  <a:pt x="1490377" y="489625"/>
                </a:cubicBezTo>
                <a:cubicBezTo>
                  <a:pt x="1484304" y="493012"/>
                  <a:pt x="1478212" y="495675"/>
                  <a:pt x="1471650" y="498185"/>
                </a:cubicBezTo>
                <a:cubicBezTo>
                  <a:pt x="1467148" y="500054"/>
                  <a:pt x="1463242" y="502632"/>
                  <a:pt x="1459135" y="505127"/>
                </a:cubicBezTo>
                <a:cubicBezTo>
                  <a:pt x="1456968" y="506120"/>
                  <a:pt x="1454786" y="507086"/>
                  <a:pt x="1452594" y="508033"/>
                </a:cubicBezTo>
                <a:cubicBezTo>
                  <a:pt x="1444148" y="511772"/>
                  <a:pt x="1435969" y="515903"/>
                  <a:pt x="1427795" y="520100"/>
                </a:cubicBezTo>
                <a:cubicBezTo>
                  <a:pt x="1425784" y="521114"/>
                  <a:pt x="1425784" y="521114"/>
                  <a:pt x="1423733" y="522148"/>
                </a:cubicBezTo>
                <a:cubicBezTo>
                  <a:pt x="1422478" y="522798"/>
                  <a:pt x="1421223" y="523449"/>
                  <a:pt x="1419929" y="524118"/>
                </a:cubicBezTo>
                <a:cubicBezTo>
                  <a:pt x="1418794" y="524701"/>
                  <a:pt x="1417658" y="525283"/>
                  <a:pt x="1416487" y="525883"/>
                </a:cubicBezTo>
                <a:cubicBezTo>
                  <a:pt x="1413349" y="527646"/>
                  <a:pt x="1413349" y="527646"/>
                  <a:pt x="1412271" y="531902"/>
                </a:cubicBezTo>
                <a:cubicBezTo>
                  <a:pt x="1407205" y="535203"/>
                  <a:pt x="1402819" y="536744"/>
                  <a:pt x="1396650" y="537539"/>
                </a:cubicBezTo>
                <a:cubicBezTo>
                  <a:pt x="1396650" y="538469"/>
                  <a:pt x="1396650" y="539399"/>
                  <a:pt x="1396650" y="540357"/>
                </a:cubicBezTo>
                <a:cubicBezTo>
                  <a:pt x="1395609" y="540735"/>
                  <a:pt x="1394568" y="541113"/>
                  <a:pt x="1393495" y="541502"/>
                </a:cubicBezTo>
                <a:cubicBezTo>
                  <a:pt x="1381840" y="545973"/>
                  <a:pt x="1372279" y="551715"/>
                  <a:pt x="1362284" y="558678"/>
                </a:cubicBezTo>
                <a:cubicBezTo>
                  <a:pt x="1360170" y="560088"/>
                  <a:pt x="1358055" y="561497"/>
                  <a:pt x="1355937" y="562905"/>
                </a:cubicBezTo>
                <a:cubicBezTo>
                  <a:pt x="1348556" y="567937"/>
                  <a:pt x="1341292" y="573085"/>
                  <a:pt x="1334165" y="578406"/>
                </a:cubicBezTo>
                <a:cubicBezTo>
                  <a:pt x="1332697" y="579472"/>
                  <a:pt x="1332697" y="579472"/>
                  <a:pt x="1331200" y="580559"/>
                </a:cubicBezTo>
                <a:cubicBezTo>
                  <a:pt x="1325067" y="585430"/>
                  <a:pt x="1323406" y="589771"/>
                  <a:pt x="1322175" y="596793"/>
                </a:cubicBezTo>
                <a:cubicBezTo>
                  <a:pt x="1321669" y="599545"/>
                  <a:pt x="1321669" y="599545"/>
                  <a:pt x="1320106" y="602363"/>
                </a:cubicBezTo>
                <a:cubicBezTo>
                  <a:pt x="1318419" y="618189"/>
                  <a:pt x="1322416" y="632767"/>
                  <a:pt x="1328015" y="647640"/>
                </a:cubicBezTo>
                <a:cubicBezTo>
                  <a:pt x="1331267" y="656625"/>
                  <a:pt x="1333170" y="666179"/>
                  <a:pt x="1332604" y="675643"/>
                </a:cubicBezTo>
                <a:cubicBezTo>
                  <a:pt x="1333634" y="675643"/>
                  <a:pt x="1334665" y="675643"/>
                  <a:pt x="1335727" y="675643"/>
                </a:cubicBezTo>
                <a:cubicBezTo>
                  <a:pt x="1337571" y="680632"/>
                  <a:pt x="1337591" y="684795"/>
                  <a:pt x="1337741" y="690059"/>
                </a:cubicBezTo>
                <a:cubicBezTo>
                  <a:pt x="1337826" y="692114"/>
                  <a:pt x="1337913" y="694168"/>
                  <a:pt x="1338003" y="696222"/>
                </a:cubicBezTo>
                <a:cubicBezTo>
                  <a:pt x="1338142" y="699444"/>
                  <a:pt x="1338266" y="702664"/>
                  <a:pt x="1338340" y="705887"/>
                </a:cubicBezTo>
                <a:cubicBezTo>
                  <a:pt x="1338372" y="720474"/>
                  <a:pt x="1338372" y="720474"/>
                  <a:pt x="1345277" y="733245"/>
                </a:cubicBezTo>
                <a:cubicBezTo>
                  <a:pt x="1350822" y="737861"/>
                  <a:pt x="1355921" y="739823"/>
                  <a:pt x="1363162" y="741612"/>
                </a:cubicBezTo>
                <a:cubicBezTo>
                  <a:pt x="1370672" y="743533"/>
                  <a:pt x="1377197" y="745750"/>
                  <a:pt x="1384154" y="748922"/>
                </a:cubicBezTo>
                <a:cubicBezTo>
                  <a:pt x="1387833" y="749898"/>
                  <a:pt x="1387833" y="749898"/>
                  <a:pt x="1391476" y="750419"/>
                </a:cubicBezTo>
                <a:cubicBezTo>
                  <a:pt x="1393499" y="750747"/>
                  <a:pt x="1393499" y="750747"/>
                  <a:pt x="1395564" y="751080"/>
                </a:cubicBezTo>
                <a:cubicBezTo>
                  <a:pt x="1397648" y="751407"/>
                  <a:pt x="1397648" y="751407"/>
                  <a:pt x="1399775" y="751740"/>
                </a:cubicBezTo>
                <a:cubicBezTo>
                  <a:pt x="1401810" y="752111"/>
                  <a:pt x="1401810" y="752111"/>
                  <a:pt x="1403887" y="752489"/>
                </a:cubicBezTo>
                <a:cubicBezTo>
                  <a:pt x="1424247" y="756131"/>
                  <a:pt x="1444708" y="756350"/>
                  <a:pt x="1465383" y="755969"/>
                </a:cubicBezTo>
                <a:cubicBezTo>
                  <a:pt x="1467019" y="755945"/>
                  <a:pt x="1468654" y="755921"/>
                  <a:pt x="1470339" y="755897"/>
                </a:cubicBezTo>
                <a:cubicBezTo>
                  <a:pt x="1480128" y="755450"/>
                  <a:pt x="1487899" y="752933"/>
                  <a:pt x="1496809" y="749313"/>
                </a:cubicBezTo>
                <a:cubicBezTo>
                  <a:pt x="1502876" y="746888"/>
                  <a:pt x="1509049" y="745091"/>
                  <a:pt x="1515371" y="743285"/>
                </a:cubicBezTo>
                <a:cubicBezTo>
                  <a:pt x="1515371" y="742356"/>
                  <a:pt x="1515371" y="741425"/>
                  <a:pt x="1515371" y="740467"/>
                </a:cubicBezTo>
                <a:cubicBezTo>
                  <a:pt x="1522710" y="737103"/>
                  <a:pt x="1529583" y="737106"/>
                  <a:pt x="1537632" y="737120"/>
                </a:cubicBezTo>
                <a:cubicBezTo>
                  <a:pt x="1538960" y="737122"/>
                  <a:pt x="1540289" y="737124"/>
                  <a:pt x="1541657" y="737127"/>
                </a:cubicBezTo>
                <a:cubicBezTo>
                  <a:pt x="1555502" y="737372"/>
                  <a:pt x="1564314" y="740697"/>
                  <a:pt x="1574732" y="748922"/>
                </a:cubicBezTo>
                <a:cubicBezTo>
                  <a:pt x="1586507" y="762822"/>
                  <a:pt x="1590347" y="775219"/>
                  <a:pt x="1588791" y="792608"/>
                </a:cubicBezTo>
                <a:cubicBezTo>
                  <a:pt x="1587728" y="797050"/>
                  <a:pt x="1586468" y="801261"/>
                  <a:pt x="1584105" y="805291"/>
                </a:cubicBezTo>
                <a:cubicBezTo>
                  <a:pt x="1583074" y="805756"/>
                  <a:pt x="1582043" y="806221"/>
                  <a:pt x="1580981" y="806700"/>
                </a:cubicBezTo>
                <a:cubicBezTo>
                  <a:pt x="1580240" y="807892"/>
                  <a:pt x="1579499" y="809083"/>
                  <a:pt x="1578735" y="810311"/>
                </a:cubicBezTo>
                <a:cubicBezTo>
                  <a:pt x="1577930" y="811445"/>
                  <a:pt x="1577124" y="812579"/>
                  <a:pt x="1576295" y="813746"/>
                </a:cubicBezTo>
                <a:lnTo>
                  <a:pt x="1571652" y="813746"/>
                </a:lnTo>
                <a:lnTo>
                  <a:pt x="1571785" y="814106"/>
                </a:lnTo>
                <a:cubicBezTo>
                  <a:pt x="1572816" y="814571"/>
                  <a:pt x="1573846" y="815036"/>
                  <a:pt x="1574909" y="815515"/>
                </a:cubicBezTo>
                <a:cubicBezTo>
                  <a:pt x="1572126" y="818758"/>
                  <a:pt x="1569968" y="820871"/>
                  <a:pt x="1565463" y="821839"/>
                </a:cubicBezTo>
                <a:lnTo>
                  <a:pt x="1562085" y="822101"/>
                </a:lnTo>
                <a:lnTo>
                  <a:pt x="1551301" y="825020"/>
                </a:lnTo>
                <a:cubicBezTo>
                  <a:pt x="1551301" y="825950"/>
                  <a:pt x="1551301" y="826880"/>
                  <a:pt x="1551301" y="827838"/>
                </a:cubicBezTo>
                <a:cubicBezTo>
                  <a:pt x="1526697" y="828735"/>
                  <a:pt x="1507496" y="825036"/>
                  <a:pt x="1485380" y="815007"/>
                </a:cubicBezTo>
                <a:cubicBezTo>
                  <a:pt x="1468723" y="807743"/>
                  <a:pt x="1449749" y="809144"/>
                  <a:pt x="1431603" y="808726"/>
                </a:cubicBezTo>
                <a:cubicBezTo>
                  <a:pt x="1429115" y="808665"/>
                  <a:pt x="1426627" y="808604"/>
                  <a:pt x="1424140" y="808542"/>
                </a:cubicBezTo>
                <a:cubicBezTo>
                  <a:pt x="1418101" y="808392"/>
                  <a:pt x="1412062" y="808249"/>
                  <a:pt x="1406023" y="808109"/>
                </a:cubicBezTo>
                <a:cubicBezTo>
                  <a:pt x="1406023" y="809040"/>
                  <a:pt x="1406023" y="809970"/>
                  <a:pt x="1406023" y="810928"/>
                </a:cubicBezTo>
                <a:cubicBezTo>
                  <a:pt x="1404716" y="811118"/>
                  <a:pt x="1404716" y="811118"/>
                  <a:pt x="1403383" y="811311"/>
                </a:cubicBezTo>
                <a:cubicBezTo>
                  <a:pt x="1372054" y="815110"/>
                  <a:pt x="1372054" y="815110"/>
                  <a:pt x="1345442" y="828907"/>
                </a:cubicBezTo>
                <a:cubicBezTo>
                  <a:pt x="1338843" y="837605"/>
                  <a:pt x="1338313" y="846434"/>
                  <a:pt x="1337875" y="856639"/>
                </a:cubicBezTo>
                <a:cubicBezTo>
                  <a:pt x="1337815" y="857805"/>
                  <a:pt x="1337754" y="858970"/>
                  <a:pt x="1337692" y="860171"/>
                </a:cubicBezTo>
                <a:cubicBezTo>
                  <a:pt x="1337547" y="863016"/>
                  <a:pt x="1337417" y="865861"/>
                  <a:pt x="1337290" y="868706"/>
                </a:cubicBezTo>
                <a:cubicBezTo>
                  <a:pt x="1336258" y="868706"/>
                  <a:pt x="1335228" y="868706"/>
                  <a:pt x="1334165" y="868706"/>
                </a:cubicBezTo>
                <a:lnTo>
                  <a:pt x="1334165" y="870034"/>
                </a:lnTo>
                <a:lnTo>
                  <a:pt x="1334237" y="869093"/>
                </a:lnTo>
                <a:cubicBezTo>
                  <a:pt x="1334753" y="869093"/>
                  <a:pt x="1335268" y="869093"/>
                  <a:pt x="1335800" y="869093"/>
                </a:cubicBezTo>
                <a:cubicBezTo>
                  <a:pt x="1335884" y="871559"/>
                  <a:pt x="1335944" y="874025"/>
                  <a:pt x="1335995" y="876491"/>
                </a:cubicBezTo>
                <a:cubicBezTo>
                  <a:pt x="1336030" y="877865"/>
                  <a:pt x="1336067" y="879238"/>
                  <a:pt x="1336105" y="880653"/>
                </a:cubicBezTo>
                <a:cubicBezTo>
                  <a:pt x="1335800" y="884594"/>
                  <a:pt x="1335800" y="884594"/>
                  <a:pt x="1334294" y="887271"/>
                </a:cubicBezTo>
                <a:cubicBezTo>
                  <a:pt x="1332567" y="890428"/>
                  <a:pt x="1331982" y="892964"/>
                  <a:pt x="1331455" y="896440"/>
                </a:cubicBezTo>
                <a:cubicBezTo>
                  <a:pt x="1331267" y="897605"/>
                  <a:pt x="1331080" y="898769"/>
                  <a:pt x="1330887" y="899969"/>
                </a:cubicBezTo>
                <a:cubicBezTo>
                  <a:pt x="1330704" y="901174"/>
                  <a:pt x="1330521" y="902378"/>
                  <a:pt x="1330332" y="903618"/>
                </a:cubicBezTo>
                <a:cubicBezTo>
                  <a:pt x="1329968" y="906013"/>
                  <a:pt x="1329594" y="908405"/>
                  <a:pt x="1329209" y="910797"/>
                </a:cubicBezTo>
                <a:cubicBezTo>
                  <a:pt x="1329049" y="911853"/>
                  <a:pt x="1328889" y="912910"/>
                  <a:pt x="1328724" y="913998"/>
                </a:cubicBezTo>
                <a:cubicBezTo>
                  <a:pt x="1327933" y="917233"/>
                  <a:pt x="1326525" y="919703"/>
                  <a:pt x="1324865" y="922643"/>
                </a:cubicBezTo>
                <a:cubicBezTo>
                  <a:pt x="1323924" y="927743"/>
                  <a:pt x="1323282" y="932845"/>
                  <a:pt x="1322619" y="937979"/>
                </a:cubicBezTo>
                <a:lnTo>
                  <a:pt x="1318744" y="944961"/>
                </a:lnTo>
                <a:lnTo>
                  <a:pt x="1318544" y="946213"/>
                </a:lnTo>
                <a:cubicBezTo>
                  <a:pt x="1318360" y="949234"/>
                  <a:pt x="1318271" y="952260"/>
                  <a:pt x="1318251" y="955285"/>
                </a:cubicBezTo>
                <a:cubicBezTo>
                  <a:pt x="1318218" y="957637"/>
                  <a:pt x="1318218" y="957637"/>
                  <a:pt x="1318184" y="960036"/>
                </a:cubicBezTo>
                <a:cubicBezTo>
                  <a:pt x="1318624" y="965530"/>
                  <a:pt x="1319569" y="969724"/>
                  <a:pt x="1324024" y="973660"/>
                </a:cubicBezTo>
                <a:cubicBezTo>
                  <a:pt x="1327197" y="976583"/>
                  <a:pt x="1327950" y="979494"/>
                  <a:pt x="1329284" y="983382"/>
                </a:cubicBezTo>
                <a:cubicBezTo>
                  <a:pt x="1331875" y="990106"/>
                  <a:pt x="1334445" y="993582"/>
                  <a:pt x="1340414" y="998354"/>
                </a:cubicBezTo>
                <a:cubicBezTo>
                  <a:pt x="1342397" y="1000564"/>
                  <a:pt x="1344347" y="1002798"/>
                  <a:pt x="1346272" y="1005048"/>
                </a:cubicBezTo>
                <a:cubicBezTo>
                  <a:pt x="1360055" y="1020713"/>
                  <a:pt x="1376247" y="1031879"/>
                  <a:pt x="1394716" y="1042740"/>
                </a:cubicBezTo>
                <a:cubicBezTo>
                  <a:pt x="1397172" y="1044228"/>
                  <a:pt x="1399581" y="1045779"/>
                  <a:pt x="1401953" y="1047374"/>
                </a:cubicBezTo>
                <a:cubicBezTo>
                  <a:pt x="1410065" y="1052802"/>
                  <a:pt x="1417529" y="1056366"/>
                  <a:pt x="1427197" y="1059061"/>
                </a:cubicBezTo>
                <a:cubicBezTo>
                  <a:pt x="1431243" y="1060437"/>
                  <a:pt x="1434061" y="1061979"/>
                  <a:pt x="1437265" y="1064588"/>
                </a:cubicBezTo>
                <a:cubicBezTo>
                  <a:pt x="1437265" y="1065518"/>
                  <a:pt x="1437265" y="1066448"/>
                  <a:pt x="1437265" y="1067406"/>
                </a:cubicBezTo>
                <a:cubicBezTo>
                  <a:pt x="1439053" y="1067624"/>
                  <a:pt x="1439053" y="1067624"/>
                  <a:pt x="1440878" y="1067847"/>
                </a:cubicBezTo>
                <a:cubicBezTo>
                  <a:pt x="1445076" y="1068815"/>
                  <a:pt x="1445076" y="1068815"/>
                  <a:pt x="1447175" y="1070753"/>
                </a:cubicBezTo>
                <a:cubicBezTo>
                  <a:pt x="1450417" y="1073622"/>
                  <a:pt x="1453781" y="1075060"/>
                  <a:pt x="1457866" y="1076830"/>
                </a:cubicBezTo>
                <a:cubicBezTo>
                  <a:pt x="1459274" y="1077446"/>
                  <a:pt x="1460681" y="1078062"/>
                  <a:pt x="1462132" y="1078696"/>
                </a:cubicBezTo>
                <a:cubicBezTo>
                  <a:pt x="1463204" y="1079156"/>
                  <a:pt x="1464278" y="1079616"/>
                  <a:pt x="1465383" y="1080089"/>
                </a:cubicBezTo>
                <a:cubicBezTo>
                  <a:pt x="1465383" y="1081019"/>
                  <a:pt x="1465383" y="1081949"/>
                  <a:pt x="1465383" y="1082908"/>
                </a:cubicBezTo>
                <a:cubicBezTo>
                  <a:pt x="1466497" y="1083260"/>
                  <a:pt x="1467611" y="1083612"/>
                  <a:pt x="1468758" y="1083975"/>
                </a:cubicBezTo>
                <a:cubicBezTo>
                  <a:pt x="1473648" y="1085905"/>
                  <a:pt x="1477426" y="1088296"/>
                  <a:pt x="1481688" y="1091187"/>
                </a:cubicBezTo>
                <a:cubicBezTo>
                  <a:pt x="1483204" y="1092193"/>
                  <a:pt x="1484721" y="1093200"/>
                  <a:pt x="1486283" y="1094236"/>
                </a:cubicBezTo>
                <a:cubicBezTo>
                  <a:pt x="1489170" y="1096185"/>
                  <a:pt x="1492029" y="1098166"/>
                  <a:pt x="1494869" y="1100171"/>
                </a:cubicBezTo>
                <a:cubicBezTo>
                  <a:pt x="1510181" y="1107906"/>
                  <a:pt x="1527080" y="1109898"/>
                  <a:pt x="1544335" y="1109518"/>
                </a:cubicBezTo>
                <a:cubicBezTo>
                  <a:pt x="1579932" y="1108798"/>
                  <a:pt x="1579932" y="1108798"/>
                  <a:pt x="1593477" y="1119900"/>
                </a:cubicBezTo>
                <a:cubicBezTo>
                  <a:pt x="1600636" y="1127255"/>
                  <a:pt x="1604889" y="1135120"/>
                  <a:pt x="1605975" y="1144913"/>
                </a:cubicBezTo>
                <a:cubicBezTo>
                  <a:pt x="1607006" y="1144913"/>
                  <a:pt x="1608036" y="1144913"/>
                  <a:pt x="1609099" y="1144913"/>
                </a:cubicBezTo>
                <a:cubicBezTo>
                  <a:pt x="1609227" y="1148907"/>
                  <a:pt x="1609319" y="1152897"/>
                  <a:pt x="1609392" y="1156892"/>
                </a:cubicBezTo>
                <a:cubicBezTo>
                  <a:pt x="1609451" y="1158565"/>
                  <a:pt x="1609451" y="1158565"/>
                  <a:pt x="1609511" y="1160272"/>
                </a:cubicBezTo>
                <a:cubicBezTo>
                  <a:pt x="1609621" y="1168378"/>
                  <a:pt x="1607970" y="1174108"/>
                  <a:pt x="1604412" y="1181553"/>
                </a:cubicBezTo>
                <a:cubicBezTo>
                  <a:pt x="1603354" y="1184367"/>
                  <a:pt x="1602306" y="1187183"/>
                  <a:pt x="1601288" y="1190009"/>
                </a:cubicBezTo>
                <a:cubicBezTo>
                  <a:pt x="1600257" y="1190009"/>
                  <a:pt x="1599226" y="1190009"/>
                  <a:pt x="1598164" y="1190009"/>
                </a:cubicBezTo>
                <a:cubicBezTo>
                  <a:pt x="1597842" y="1190910"/>
                  <a:pt x="1597520" y="1191810"/>
                  <a:pt x="1597187" y="1192739"/>
                </a:cubicBezTo>
                <a:cubicBezTo>
                  <a:pt x="1596479" y="1193698"/>
                  <a:pt x="1595770" y="1194657"/>
                  <a:pt x="1595040" y="1195645"/>
                </a:cubicBezTo>
                <a:cubicBezTo>
                  <a:pt x="1591916" y="1196115"/>
                  <a:pt x="1588791" y="1196585"/>
                  <a:pt x="1585667" y="1197055"/>
                </a:cubicBezTo>
                <a:cubicBezTo>
                  <a:pt x="1583871" y="1199826"/>
                  <a:pt x="1583871" y="1199826"/>
                  <a:pt x="1582543" y="1202691"/>
                </a:cubicBezTo>
                <a:cubicBezTo>
                  <a:pt x="1575997" y="1204710"/>
                  <a:pt x="1569266" y="1204360"/>
                  <a:pt x="1562431" y="1204365"/>
                </a:cubicBezTo>
                <a:cubicBezTo>
                  <a:pt x="1561196" y="1204382"/>
                  <a:pt x="1559962" y="1204399"/>
                  <a:pt x="1558690" y="1204417"/>
                </a:cubicBezTo>
                <a:cubicBezTo>
                  <a:pt x="1543339" y="1204452"/>
                  <a:pt x="1531981" y="1199267"/>
                  <a:pt x="1521102" y="1189585"/>
                </a:cubicBezTo>
                <a:cubicBezTo>
                  <a:pt x="1515403" y="1183953"/>
                  <a:pt x="1510116" y="1178123"/>
                  <a:pt x="1505022" y="1172041"/>
                </a:cubicBezTo>
                <a:cubicBezTo>
                  <a:pt x="1493200" y="1158177"/>
                  <a:pt x="1475492" y="1147115"/>
                  <a:pt x="1457573" y="1140686"/>
                </a:cubicBezTo>
                <a:cubicBezTo>
                  <a:pt x="1457573" y="1139755"/>
                  <a:pt x="1457573" y="1138826"/>
                  <a:pt x="1457573" y="1137867"/>
                </a:cubicBezTo>
                <a:cubicBezTo>
                  <a:pt x="1456059" y="1137693"/>
                  <a:pt x="1454544" y="1137518"/>
                  <a:pt x="1452985" y="1137339"/>
                </a:cubicBezTo>
                <a:cubicBezTo>
                  <a:pt x="1451406" y="1137048"/>
                  <a:pt x="1449827" y="1136758"/>
                  <a:pt x="1448200" y="1136458"/>
                </a:cubicBezTo>
                <a:cubicBezTo>
                  <a:pt x="1447685" y="1135528"/>
                  <a:pt x="1447169" y="1134598"/>
                  <a:pt x="1446638" y="1133640"/>
                </a:cubicBezTo>
                <a:cubicBezTo>
                  <a:pt x="1444091" y="1132586"/>
                  <a:pt x="1441535" y="1131550"/>
                  <a:pt x="1438937" y="1130601"/>
                </a:cubicBezTo>
                <a:cubicBezTo>
                  <a:pt x="1435668" y="1129399"/>
                  <a:pt x="1432469" y="1128095"/>
                  <a:pt x="1429260" y="1126770"/>
                </a:cubicBezTo>
                <a:cubicBezTo>
                  <a:pt x="1423389" y="1124389"/>
                  <a:pt x="1417431" y="1122349"/>
                  <a:pt x="1411393" y="1120340"/>
                </a:cubicBezTo>
                <a:cubicBezTo>
                  <a:pt x="1404143" y="1117867"/>
                  <a:pt x="1397842" y="1115090"/>
                  <a:pt x="1391427" y="1111191"/>
                </a:cubicBezTo>
                <a:cubicBezTo>
                  <a:pt x="1388139" y="1109274"/>
                  <a:pt x="1384723" y="1108010"/>
                  <a:pt x="1381029" y="1106865"/>
                </a:cubicBezTo>
                <a:cubicBezTo>
                  <a:pt x="1381029" y="1105934"/>
                  <a:pt x="1381029" y="1105004"/>
                  <a:pt x="1381029" y="1104046"/>
                </a:cubicBezTo>
                <a:cubicBezTo>
                  <a:pt x="1379773" y="1103901"/>
                  <a:pt x="1378516" y="1103755"/>
                  <a:pt x="1377221" y="1103605"/>
                </a:cubicBezTo>
                <a:cubicBezTo>
                  <a:pt x="1370425" y="1102422"/>
                  <a:pt x="1364120" y="1100465"/>
                  <a:pt x="1357597" y="1098409"/>
                </a:cubicBezTo>
                <a:cubicBezTo>
                  <a:pt x="1355761" y="1097857"/>
                  <a:pt x="1353924" y="1097304"/>
                  <a:pt x="1352032" y="1096736"/>
                </a:cubicBezTo>
                <a:cubicBezTo>
                  <a:pt x="1350776" y="1096358"/>
                  <a:pt x="1349519" y="1095980"/>
                  <a:pt x="1348225" y="1095590"/>
                </a:cubicBezTo>
                <a:cubicBezTo>
                  <a:pt x="1348225" y="1094661"/>
                  <a:pt x="1348225" y="1093730"/>
                  <a:pt x="1348225" y="1092772"/>
                </a:cubicBezTo>
                <a:cubicBezTo>
                  <a:pt x="1344616" y="1092307"/>
                  <a:pt x="1341007" y="1091842"/>
                  <a:pt x="1337290" y="1091363"/>
                </a:cubicBezTo>
                <a:cubicBezTo>
                  <a:pt x="1337290" y="1090433"/>
                  <a:pt x="1337290" y="1089503"/>
                  <a:pt x="1337290" y="1088544"/>
                </a:cubicBezTo>
                <a:cubicBezTo>
                  <a:pt x="1334438" y="1088327"/>
                  <a:pt x="1334438" y="1088327"/>
                  <a:pt x="1331529" y="1088104"/>
                </a:cubicBezTo>
                <a:lnTo>
                  <a:pt x="1323297" y="1086611"/>
                </a:lnTo>
                <a:lnTo>
                  <a:pt x="1323297" y="1087618"/>
                </a:lnTo>
                <a:cubicBezTo>
                  <a:pt x="1322139" y="1087517"/>
                  <a:pt x="1320982" y="1087415"/>
                  <a:pt x="1319789" y="1087310"/>
                </a:cubicBezTo>
                <a:cubicBezTo>
                  <a:pt x="1300429" y="1085771"/>
                  <a:pt x="1281330" y="1084680"/>
                  <a:pt x="1262375" y="1089028"/>
                </a:cubicBezTo>
                <a:lnTo>
                  <a:pt x="1258728" y="1088205"/>
                </a:lnTo>
                <a:lnTo>
                  <a:pt x="1246964" y="1091489"/>
                </a:lnTo>
                <a:cubicBezTo>
                  <a:pt x="1237239" y="1097222"/>
                  <a:pt x="1228703" y="1103434"/>
                  <a:pt x="1223224" y="1112865"/>
                </a:cubicBezTo>
                <a:cubicBezTo>
                  <a:pt x="1220867" y="1116643"/>
                  <a:pt x="1217262" y="1119317"/>
                  <a:pt x="1213883" y="1122366"/>
                </a:cubicBezTo>
                <a:cubicBezTo>
                  <a:pt x="1213428" y="1123469"/>
                  <a:pt x="1212973" y="1124572"/>
                  <a:pt x="1212505" y="1125708"/>
                </a:cubicBezTo>
                <a:cubicBezTo>
                  <a:pt x="1210449" y="1130067"/>
                  <a:pt x="1207984" y="1132315"/>
                  <a:pt x="1204180" y="1135561"/>
                </a:cubicBezTo>
                <a:cubicBezTo>
                  <a:pt x="1202879" y="1136695"/>
                  <a:pt x="1201578" y="1137829"/>
                  <a:pt x="1200238" y="1138999"/>
                </a:cubicBezTo>
                <a:cubicBezTo>
                  <a:pt x="1197504" y="1141343"/>
                  <a:pt x="1194765" y="1143684"/>
                  <a:pt x="1192025" y="1146022"/>
                </a:cubicBezTo>
                <a:cubicBezTo>
                  <a:pt x="1181899" y="1154869"/>
                  <a:pt x="1174983" y="1161763"/>
                  <a:pt x="1173945" y="1174749"/>
                </a:cubicBezTo>
                <a:cubicBezTo>
                  <a:pt x="1173902" y="1177369"/>
                  <a:pt x="1173905" y="1179990"/>
                  <a:pt x="1173950" y="1182610"/>
                </a:cubicBezTo>
                <a:cubicBezTo>
                  <a:pt x="1173963" y="1183981"/>
                  <a:pt x="1173975" y="1185352"/>
                  <a:pt x="1173989" y="1186765"/>
                </a:cubicBezTo>
                <a:cubicBezTo>
                  <a:pt x="1174321" y="1197573"/>
                  <a:pt x="1176809" y="1205883"/>
                  <a:pt x="1182640" y="1215374"/>
                </a:cubicBezTo>
                <a:cubicBezTo>
                  <a:pt x="1183703" y="1217509"/>
                  <a:pt x="1184746" y="1219652"/>
                  <a:pt x="1185764" y="1221804"/>
                </a:cubicBezTo>
                <a:cubicBezTo>
                  <a:pt x="1186271" y="1222812"/>
                  <a:pt x="1186779" y="1223821"/>
                  <a:pt x="1187301" y="1224859"/>
                </a:cubicBezTo>
                <a:cubicBezTo>
                  <a:pt x="1188431" y="1227137"/>
                  <a:pt x="1189517" y="1229433"/>
                  <a:pt x="1190573" y="1231740"/>
                </a:cubicBezTo>
                <a:cubicBezTo>
                  <a:pt x="1194650" y="1240409"/>
                  <a:pt x="1199581" y="1247688"/>
                  <a:pt x="1205925" y="1255163"/>
                </a:cubicBezTo>
                <a:cubicBezTo>
                  <a:pt x="1208103" y="1257757"/>
                  <a:pt x="1210188" y="1260417"/>
                  <a:pt x="1212174" y="1263134"/>
                </a:cubicBezTo>
                <a:cubicBezTo>
                  <a:pt x="1218757" y="1272043"/>
                  <a:pt x="1225157" y="1277324"/>
                  <a:pt x="1235556" y="1282538"/>
                </a:cubicBezTo>
                <a:cubicBezTo>
                  <a:pt x="1236652" y="1283161"/>
                  <a:pt x="1237747" y="1283784"/>
                  <a:pt x="1238876" y="1284426"/>
                </a:cubicBezTo>
                <a:cubicBezTo>
                  <a:pt x="1238876" y="1285356"/>
                  <a:pt x="1238876" y="1286287"/>
                  <a:pt x="1238876" y="1287245"/>
                </a:cubicBezTo>
                <a:cubicBezTo>
                  <a:pt x="1239988" y="1287383"/>
                  <a:pt x="1241099" y="1287521"/>
                  <a:pt x="1242245" y="1287663"/>
                </a:cubicBezTo>
                <a:cubicBezTo>
                  <a:pt x="1253043" y="1290072"/>
                  <a:pt x="1264916" y="1297690"/>
                  <a:pt x="1271681" y="1305565"/>
                </a:cubicBezTo>
                <a:lnTo>
                  <a:pt x="1271742" y="1306172"/>
                </a:lnTo>
                <a:lnTo>
                  <a:pt x="1278525" y="1315767"/>
                </a:lnTo>
                <a:cubicBezTo>
                  <a:pt x="1279797" y="1319398"/>
                  <a:pt x="1280365" y="1323346"/>
                  <a:pt x="1281097" y="1327286"/>
                </a:cubicBezTo>
                <a:cubicBezTo>
                  <a:pt x="1281916" y="1337121"/>
                  <a:pt x="1281807" y="1346176"/>
                  <a:pt x="1277973" y="1355470"/>
                </a:cubicBezTo>
                <a:lnTo>
                  <a:pt x="1277460" y="1347025"/>
                </a:lnTo>
                <a:lnTo>
                  <a:pt x="1273531" y="1357991"/>
                </a:lnTo>
                <a:cubicBezTo>
                  <a:pt x="1270940" y="1361892"/>
                  <a:pt x="1267521" y="1365435"/>
                  <a:pt x="1263870" y="1368980"/>
                </a:cubicBezTo>
                <a:cubicBezTo>
                  <a:pt x="1258351" y="1372929"/>
                  <a:pt x="1253850" y="1376026"/>
                  <a:pt x="1246686" y="1376026"/>
                </a:cubicBezTo>
                <a:cubicBezTo>
                  <a:pt x="1246686" y="1376956"/>
                  <a:pt x="1246686" y="1377886"/>
                  <a:pt x="1246686" y="1378844"/>
                </a:cubicBezTo>
                <a:cubicBezTo>
                  <a:pt x="1241676" y="1379009"/>
                  <a:pt x="1236665" y="1379109"/>
                  <a:pt x="1231651" y="1379196"/>
                </a:cubicBezTo>
                <a:cubicBezTo>
                  <a:pt x="1230240" y="1379244"/>
                  <a:pt x="1228828" y="1379291"/>
                  <a:pt x="1227373" y="1379340"/>
                </a:cubicBezTo>
                <a:cubicBezTo>
                  <a:pt x="1218287" y="1379460"/>
                  <a:pt x="1213363" y="1378568"/>
                  <a:pt x="1206071" y="1373207"/>
                </a:cubicBezTo>
                <a:cubicBezTo>
                  <a:pt x="1204751" y="1372742"/>
                  <a:pt x="1203430" y="1372277"/>
                  <a:pt x="1202069" y="1371798"/>
                </a:cubicBezTo>
                <a:cubicBezTo>
                  <a:pt x="1193777" y="1368730"/>
                  <a:pt x="1188124" y="1363294"/>
                  <a:pt x="1184104" y="1356176"/>
                </a:cubicBezTo>
                <a:cubicBezTo>
                  <a:pt x="1180965" y="1349259"/>
                  <a:pt x="1178852" y="1342590"/>
                  <a:pt x="1177270" y="1335247"/>
                </a:cubicBezTo>
                <a:cubicBezTo>
                  <a:pt x="1175525" y="1327352"/>
                  <a:pt x="1172911" y="1320677"/>
                  <a:pt x="1169002" y="1313464"/>
                </a:cubicBezTo>
                <a:cubicBezTo>
                  <a:pt x="1166989" y="1309737"/>
                  <a:pt x="1165215" y="1305976"/>
                  <a:pt x="1163504" y="1302130"/>
                </a:cubicBezTo>
                <a:cubicBezTo>
                  <a:pt x="1163013" y="1301027"/>
                  <a:pt x="1162521" y="1299924"/>
                  <a:pt x="1162015" y="1298788"/>
                </a:cubicBezTo>
                <a:cubicBezTo>
                  <a:pt x="1160770" y="1295700"/>
                  <a:pt x="1160770" y="1295700"/>
                  <a:pt x="1160111" y="1292656"/>
                </a:cubicBezTo>
                <a:cubicBezTo>
                  <a:pt x="1159345" y="1289507"/>
                  <a:pt x="1159345" y="1289507"/>
                  <a:pt x="1154522" y="1287245"/>
                </a:cubicBezTo>
                <a:cubicBezTo>
                  <a:pt x="1153465" y="1284902"/>
                  <a:pt x="1152426" y="1282552"/>
                  <a:pt x="1151398" y="1280199"/>
                </a:cubicBezTo>
                <a:cubicBezTo>
                  <a:pt x="1149056" y="1276983"/>
                  <a:pt x="1146686" y="1273874"/>
                  <a:pt x="1144173" y="1270774"/>
                </a:cubicBezTo>
                <a:cubicBezTo>
                  <a:pt x="1143477" y="1269912"/>
                  <a:pt x="1142782" y="1269049"/>
                  <a:pt x="1142065" y="1268160"/>
                </a:cubicBezTo>
                <a:cubicBezTo>
                  <a:pt x="1139981" y="1265589"/>
                  <a:pt x="1137880" y="1263029"/>
                  <a:pt x="1135776" y="1260470"/>
                </a:cubicBezTo>
                <a:cubicBezTo>
                  <a:pt x="1134647" y="1259076"/>
                  <a:pt x="1133517" y="1257683"/>
                  <a:pt x="1132353" y="1256247"/>
                </a:cubicBezTo>
                <a:cubicBezTo>
                  <a:pt x="1126291" y="1249045"/>
                  <a:pt x="1121408" y="1244606"/>
                  <a:pt x="1112344" y="1240741"/>
                </a:cubicBezTo>
                <a:cubicBezTo>
                  <a:pt x="1110285" y="1239698"/>
                  <a:pt x="1108234" y="1238642"/>
                  <a:pt x="1106193" y="1237570"/>
                </a:cubicBezTo>
                <a:cubicBezTo>
                  <a:pt x="1104615" y="1236756"/>
                  <a:pt x="1103036" y="1235942"/>
                  <a:pt x="1101409" y="1235104"/>
                </a:cubicBezTo>
                <a:cubicBezTo>
                  <a:pt x="1101409" y="1233708"/>
                  <a:pt x="1101409" y="1232313"/>
                  <a:pt x="1101409" y="1230876"/>
                </a:cubicBezTo>
                <a:cubicBezTo>
                  <a:pt x="1089553" y="1230876"/>
                  <a:pt x="1077697" y="1230876"/>
                  <a:pt x="1065480" y="1230876"/>
                </a:cubicBezTo>
                <a:cubicBezTo>
                  <a:pt x="1064965" y="1232271"/>
                  <a:pt x="1064450" y="1233666"/>
                  <a:pt x="1063919" y="1235104"/>
                </a:cubicBezTo>
                <a:cubicBezTo>
                  <a:pt x="1062372" y="1235104"/>
                  <a:pt x="1060826" y="1235104"/>
                  <a:pt x="1059232" y="1235104"/>
                </a:cubicBezTo>
                <a:cubicBezTo>
                  <a:pt x="1059232" y="1236033"/>
                  <a:pt x="1059232" y="1236964"/>
                  <a:pt x="1059232" y="1237922"/>
                </a:cubicBezTo>
                <a:cubicBezTo>
                  <a:pt x="1052964" y="1240850"/>
                  <a:pt x="1046842" y="1243613"/>
                  <a:pt x="1040194" y="1245761"/>
                </a:cubicBezTo>
                <a:cubicBezTo>
                  <a:pt x="1036552" y="1246941"/>
                  <a:pt x="1033682" y="1248088"/>
                  <a:pt x="1030333" y="1249901"/>
                </a:cubicBezTo>
                <a:cubicBezTo>
                  <a:pt x="1025129" y="1252717"/>
                  <a:pt x="1019615" y="1254371"/>
                  <a:pt x="1013931" y="1256242"/>
                </a:cubicBezTo>
                <a:cubicBezTo>
                  <a:pt x="1009870" y="1257688"/>
                  <a:pt x="1008221" y="1258277"/>
                  <a:pt x="1005925" y="1261615"/>
                </a:cubicBezTo>
                <a:cubicBezTo>
                  <a:pt x="1005474" y="1262632"/>
                  <a:pt x="1005023" y="1263649"/>
                  <a:pt x="1004558" y="1264697"/>
                </a:cubicBezTo>
                <a:cubicBezTo>
                  <a:pt x="1004030" y="1265774"/>
                  <a:pt x="1003503" y="1266852"/>
                  <a:pt x="1002959" y="1267961"/>
                </a:cubicBezTo>
                <a:cubicBezTo>
                  <a:pt x="1001408" y="1271808"/>
                  <a:pt x="1000922" y="1274896"/>
                  <a:pt x="1000653" y="1278965"/>
                </a:cubicBezTo>
                <a:cubicBezTo>
                  <a:pt x="1000303" y="1284158"/>
                  <a:pt x="999467" y="1289055"/>
                  <a:pt x="998297" y="1294137"/>
                </a:cubicBezTo>
                <a:cubicBezTo>
                  <a:pt x="996204" y="1304306"/>
                  <a:pt x="996129" y="1314460"/>
                  <a:pt x="996162" y="1324765"/>
                </a:cubicBezTo>
                <a:cubicBezTo>
                  <a:pt x="996163" y="1325782"/>
                  <a:pt x="996163" y="1326799"/>
                  <a:pt x="996164" y="1327846"/>
                </a:cubicBezTo>
                <a:cubicBezTo>
                  <a:pt x="996263" y="1353742"/>
                  <a:pt x="1001081" y="1378188"/>
                  <a:pt x="1007780" y="1403329"/>
                </a:cubicBezTo>
                <a:cubicBezTo>
                  <a:pt x="1008163" y="1404772"/>
                  <a:pt x="1008546" y="1406215"/>
                  <a:pt x="1008940" y="1407701"/>
                </a:cubicBezTo>
                <a:cubicBezTo>
                  <a:pt x="1009316" y="1409030"/>
                  <a:pt x="1009693" y="1410360"/>
                  <a:pt x="1010080" y="1411730"/>
                </a:cubicBezTo>
                <a:cubicBezTo>
                  <a:pt x="1010409" y="1412900"/>
                  <a:pt x="1010737" y="1414071"/>
                  <a:pt x="1011075" y="1415277"/>
                </a:cubicBezTo>
                <a:cubicBezTo>
                  <a:pt x="1012501" y="1418612"/>
                  <a:pt x="1014136" y="1420168"/>
                  <a:pt x="1017055" y="1422530"/>
                </a:cubicBezTo>
                <a:cubicBezTo>
                  <a:pt x="1018770" y="1425162"/>
                  <a:pt x="1018770" y="1425162"/>
                  <a:pt x="1020277" y="1427991"/>
                </a:cubicBezTo>
                <a:cubicBezTo>
                  <a:pt x="1020778" y="1428917"/>
                  <a:pt x="1021280" y="1429844"/>
                  <a:pt x="1021796" y="1430798"/>
                </a:cubicBezTo>
                <a:cubicBezTo>
                  <a:pt x="1023303" y="1433804"/>
                  <a:pt x="1023303" y="1433804"/>
                  <a:pt x="1024579" y="1437239"/>
                </a:cubicBezTo>
                <a:cubicBezTo>
                  <a:pt x="1026915" y="1441803"/>
                  <a:pt x="1030098" y="1444534"/>
                  <a:pt x="1034043" y="1448072"/>
                </a:cubicBezTo>
                <a:lnTo>
                  <a:pt x="1043782" y="1464320"/>
                </a:lnTo>
                <a:lnTo>
                  <a:pt x="1050458" y="1472189"/>
                </a:lnTo>
                <a:cubicBezTo>
                  <a:pt x="1051737" y="1475181"/>
                  <a:pt x="1052277" y="1478513"/>
                  <a:pt x="1052926" y="1482370"/>
                </a:cubicBezTo>
                <a:cubicBezTo>
                  <a:pt x="1053325" y="1487224"/>
                  <a:pt x="1053364" y="1492038"/>
                  <a:pt x="1053316" y="1496903"/>
                </a:cubicBezTo>
                <a:cubicBezTo>
                  <a:pt x="1053328" y="1498142"/>
                  <a:pt x="1053340" y="1499382"/>
                  <a:pt x="1053352" y="1500660"/>
                </a:cubicBezTo>
                <a:cubicBezTo>
                  <a:pt x="1053348" y="1501856"/>
                  <a:pt x="1053344" y="1503052"/>
                  <a:pt x="1053341" y="1504285"/>
                </a:cubicBezTo>
                <a:cubicBezTo>
                  <a:pt x="1053336" y="1505355"/>
                  <a:pt x="1053333" y="1506426"/>
                  <a:pt x="1053329" y="1507529"/>
                </a:cubicBezTo>
                <a:cubicBezTo>
                  <a:pt x="1052876" y="1510927"/>
                  <a:pt x="1051672" y="1513237"/>
                  <a:pt x="1049801" y="1516192"/>
                </a:cubicBezTo>
                <a:lnTo>
                  <a:pt x="1047312" y="1516192"/>
                </a:lnTo>
                <a:lnTo>
                  <a:pt x="1043611" y="1522585"/>
                </a:lnTo>
                <a:cubicBezTo>
                  <a:pt x="1035301" y="1529631"/>
                  <a:pt x="1035301" y="1529631"/>
                  <a:pt x="1029552" y="1529631"/>
                </a:cubicBezTo>
                <a:cubicBezTo>
                  <a:pt x="1029294" y="1530503"/>
                  <a:pt x="1029036" y="1531375"/>
                  <a:pt x="1028771" y="1532273"/>
                </a:cubicBezTo>
                <a:cubicBezTo>
                  <a:pt x="1025795" y="1536076"/>
                  <a:pt x="1022970" y="1536733"/>
                  <a:pt x="1018013" y="1537640"/>
                </a:cubicBezTo>
                <a:cubicBezTo>
                  <a:pt x="1005216" y="1539038"/>
                  <a:pt x="992573" y="1539816"/>
                  <a:pt x="981126" y="1533859"/>
                </a:cubicBezTo>
                <a:cubicBezTo>
                  <a:pt x="979840" y="1533226"/>
                  <a:pt x="978553" y="1532594"/>
                  <a:pt x="977227" y="1531943"/>
                </a:cubicBezTo>
                <a:cubicBezTo>
                  <a:pt x="965286" y="1525877"/>
                  <a:pt x="959626" y="1520520"/>
                  <a:pt x="955376" y="1508751"/>
                </a:cubicBezTo>
                <a:cubicBezTo>
                  <a:pt x="954571" y="1505674"/>
                  <a:pt x="954571" y="1505674"/>
                  <a:pt x="954571" y="1500037"/>
                </a:cubicBezTo>
                <a:cubicBezTo>
                  <a:pt x="953539" y="1500037"/>
                  <a:pt x="952508" y="1500037"/>
                  <a:pt x="951446" y="1500037"/>
                </a:cubicBezTo>
                <a:cubicBezTo>
                  <a:pt x="951361" y="1495986"/>
                  <a:pt x="951299" y="1491935"/>
                  <a:pt x="951251" y="1487883"/>
                </a:cubicBezTo>
                <a:cubicBezTo>
                  <a:pt x="951224" y="1486744"/>
                  <a:pt x="951198" y="1485605"/>
                  <a:pt x="951171" y="1484431"/>
                </a:cubicBezTo>
                <a:cubicBezTo>
                  <a:pt x="951110" y="1477657"/>
                  <a:pt x="952093" y="1472660"/>
                  <a:pt x="954571" y="1466216"/>
                </a:cubicBezTo>
                <a:cubicBezTo>
                  <a:pt x="954867" y="1462451"/>
                  <a:pt x="955016" y="1458876"/>
                  <a:pt x="954961" y="1455118"/>
                </a:cubicBezTo>
                <a:cubicBezTo>
                  <a:pt x="954951" y="1454080"/>
                  <a:pt x="954942" y="1453042"/>
                  <a:pt x="954932" y="1451972"/>
                </a:cubicBezTo>
                <a:cubicBezTo>
                  <a:pt x="954606" y="1435235"/>
                  <a:pt x="952568" y="1419050"/>
                  <a:pt x="945099" y="1403594"/>
                </a:cubicBezTo>
                <a:cubicBezTo>
                  <a:pt x="943714" y="1400177"/>
                  <a:pt x="943046" y="1397128"/>
                  <a:pt x="942366" y="1393553"/>
                </a:cubicBezTo>
                <a:cubicBezTo>
                  <a:pt x="940837" y="1386134"/>
                  <a:pt x="937840" y="1379609"/>
                  <a:pt x="934451" y="1372734"/>
                </a:cubicBezTo>
                <a:cubicBezTo>
                  <a:pt x="932701" y="1368980"/>
                  <a:pt x="932701" y="1368980"/>
                  <a:pt x="931974" y="1365754"/>
                </a:cubicBezTo>
                <a:cubicBezTo>
                  <a:pt x="931699" y="1364958"/>
                  <a:pt x="931422" y="1364162"/>
                  <a:pt x="931138" y="1363343"/>
                </a:cubicBezTo>
                <a:cubicBezTo>
                  <a:pt x="929592" y="1362878"/>
                  <a:pt x="928045" y="1362413"/>
                  <a:pt x="926452" y="1361933"/>
                </a:cubicBezTo>
                <a:cubicBezTo>
                  <a:pt x="921830" y="1355261"/>
                  <a:pt x="920323" y="1348382"/>
                  <a:pt x="918641" y="1340795"/>
                </a:cubicBezTo>
                <a:cubicBezTo>
                  <a:pt x="918133" y="1338914"/>
                  <a:pt x="917616" y="1337034"/>
                  <a:pt x="917079" y="1335158"/>
                </a:cubicBezTo>
                <a:cubicBezTo>
                  <a:pt x="916048" y="1335158"/>
                  <a:pt x="915018" y="1335158"/>
                  <a:pt x="913955" y="1335158"/>
                </a:cubicBezTo>
                <a:cubicBezTo>
                  <a:pt x="913329" y="1333718"/>
                  <a:pt x="912703" y="1332277"/>
                  <a:pt x="912057" y="1330793"/>
                </a:cubicBezTo>
                <a:cubicBezTo>
                  <a:pt x="909497" y="1325424"/>
                  <a:pt x="906114" y="1320822"/>
                  <a:pt x="902142" y="1316222"/>
                </a:cubicBezTo>
                <a:cubicBezTo>
                  <a:pt x="901465" y="1315432"/>
                  <a:pt x="900788" y="1314642"/>
                  <a:pt x="900091" y="1313828"/>
                </a:cubicBezTo>
                <a:cubicBezTo>
                  <a:pt x="893705" y="1306618"/>
                  <a:pt x="886350" y="1301049"/>
                  <a:pt x="878026" y="1295700"/>
                </a:cubicBezTo>
                <a:cubicBezTo>
                  <a:pt x="876595" y="1294594"/>
                  <a:pt x="876595" y="1294594"/>
                  <a:pt x="875134" y="1293465"/>
                </a:cubicBezTo>
                <a:lnTo>
                  <a:pt x="869869" y="1291826"/>
                </a:lnTo>
                <a:lnTo>
                  <a:pt x="862384" y="1291327"/>
                </a:lnTo>
                <a:cubicBezTo>
                  <a:pt x="856441" y="1290067"/>
                  <a:pt x="850461" y="1290346"/>
                  <a:pt x="844390" y="1290461"/>
                </a:cubicBezTo>
                <a:cubicBezTo>
                  <a:pt x="842453" y="1290480"/>
                  <a:pt x="842453" y="1290480"/>
                  <a:pt x="840476" y="1290500"/>
                </a:cubicBezTo>
                <a:cubicBezTo>
                  <a:pt x="837322" y="1290532"/>
                  <a:pt x="834169" y="1290583"/>
                  <a:pt x="831015" y="1290637"/>
                </a:cubicBezTo>
                <a:cubicBezTo>
                  <a:pt x="831015" y="1291568"/>
                  <a:pt x="831015" y="1292498"/>
                  <a:pt x="831015" y="1293456"/>
                </a:cubicBezTo>
                <a:cubicBezTo>
                  <a:pt x="826519" y="1294808"/>
                  <a:pt x="822922" y="1295235"/>
                  <a:pt x="818225" y="1295570"/>
                </a:cubicBezTo>
                <a:lnTo>
                  <a:pt x="796774" y="1297671"/>
                </a:lnTo>
                <a:lnTo>
                  <a:pt x="783646" y="1305736"/>
                </a:lnTo>
                <a:cubicBezTo>
                  <a:pt x="776915" y="1312506"/>
                  <a:pt x="772692" y="1318638"/>
                  <a:pt x="769263" y="1327143"/>
                </a:cubicBezTo>
                <a:cubicBezTo>
                  <a:pt x="767116" y="1332340"/>
                  <a:pt x="767116" y="1332340"/>
                  <a:pt x="764797" y="1334360"/>
                </a:cubicBezTo>
                <a:lnTo>
                  <a:pt x="757875" y="1353503"/>
                </a:lnTo>
                <a:lnTo>
                  <a:pt x="755676" y="1367455"/>
                </a:lnTo>
                <a:lnTo>
                  <a:pt x="750558" y="1399690"/>
                </a:lnTo>
                <a:lnTo>
                  <a:pt x="753057" y="1411256"/>
                </a:lnTo>
                <a:cubicBezTo>
                  <a:pt x="753057" y="1413117"/>
                  <a:pt x="753057" y="1414976"/>
                  <a:pt x="753057" y="1416893"/>
                </a:cubicBezTo>
                <a:cubicBezTo>
                  <a:pt x="754087" y="1416893"/>
                  <a:pt x="755119" y="1416893"/>
                  <a:pt x="756181" y="1416893"/>
                </a:cubicBezTo>
                <a:cubicBezTo>
                  <a:pt x="759348" y="1422607"/>
                  <a:pt x="758101" y="1429902"/>
                  <a:pt x="758133" y="1436182"/>
                </a:cubicBezTo>
                <a:cubicBezTo>
                  <a:pt x="758182" y="1438458"/>
                  <a:pt x="758182" y="1438458"/>
                  <a:pt x="758231" y="1440781"/>
                </a:cubicBezTo>
                <a:cubicBezTo>
                  <a:pt x="758283" y="1450271"/>
                  <a:pt x="758174" y="1458360"/>
                  <a:pt x="750713" y="1465704"/>
                </a:cubicBezTo>
                <a:cubicBezTo>
                  <a:pt x="749940" y="1466193"/>
                  <a:pt x="749167" y="1466681"/>
                  <a:pt x="748370" y="1467185"/>
                </a:cubicBezTo>
                <a:cubicBezTo>
                  <a:pt x="743665" y="1470047"/>
                  <a:pt x="743665" y="1470047"/>
                  <a:pt x="741633" y="1473526"/>
                </a:cubicBezTo>
                <a:cubicBezTo>
                  <a:pt x="737793" y="1477248"/>
                  <a:pt x="733582" y="1477483"/>
                  <a:pt x="728154" y="1478343"/>
                </a:cubicBezTo>
                <a:cubicBezTo>
                  <a:pt x="724855" y="1478778"/>
                  <a:pt x="724855" y="1478778"/>
                  <a:pt x="721814" y="1480308"/>
                </a:cubicBezTo>
                <a:cubicBezTo>
                  <a:pt x="717303" y="1480523"/>
                  <a:pt x="712854" y="1480634"/>
                  <a:pt x="708341" y="1480661"/>
                </a:cubicBezTo>
                <a:cubicBezTo>
                  <a:pt x="707118" y="1480690"/>
                  <a:pt x="705896" y="1480719"/>
                  <a:pt x="704637" y="1480748"/>
                </a:cubicBezTo>
                <a:cubicBezTo>
                  <a:pt x="690446" y="1480834"/>
                  <a:pt x="679632" y="1476246"/>
                  <a:pt x="668507" y="1468418"/>
                </a:cubicBezTo>
                <a:cubicBezTo>
                  <a:pt x="662823" y="1463224"/>
                  <a:pt x="661745" y="1456995"/>
                  <a:pt x="660178" y="1450027"/>
                </a:cubicBezTo>
                <a:cubicBezTo>
                  <a:pt x="659725" y="1446589"/>
                  <a:pt x="659725" y="1446589"/>
                  <a:pt x="657767" y="1445078"/>
                </a:cubicBezTo>
                <a:cubicBezTo>
                  <a:pt x="656859" y="1433686"/>
                  <a:pt x="655965" y="1419178"/>
                  <a:pt x="663369" y="1409390"/>
                </a:cubicBezTo>
                <a:cubicBezTo>
                  <a:pt x="666078" y="1406601"/>
                  <a:pt x="668921" y="1404013"/>
                  <a:pt x="671826" y="1401392"/>
                </a:cubicBezTo>
                <a:cubicBezTo>
                  <a:pt x="675197" y="1397623"/>
                  <a:pt x="677125" y="1394916"/>
                  <a:pt x="678075" y="1390118"/>
                </a:cubicBezTo>
                <a:cubicBezTo>
                  <a:pt x="680137" y="1389653"/>
                  <a:pt x="682199" y="1389188"/>
                  <a:pt x="684323" y="1388709"/>
                </a:cubicBezTo>
                <a:cubicBezTo>
                  <a:pt x="684643" y="1387232"/>
                  <a:pt x="684964" y="1385755"/>
                  <a:pt x="685293" y="1384233"/>
                </a:cubicBezTo>
                <a:cubicBezTo>
                  <a:pt x="685718" y="1382290"/>
                  <a:pt x="686144" y="1380347"/>
                  <a:pt x="686569" y="1378404"/>
                </a:cubicBezTo>
                <a:cubicBezTo>
                  <a:pt x="686885" y="1376945"/>
                  <a:pt x="686885" y="1376945"/>
                  <a:pt x="687207" y="1375456"/>
                </a:cubicBezTo>
                <a:cubicBezTo>
                  <a:pt x="688115" y="1371315"/>
                  <a:pt x="689090" y="1367353"/>
                  <a:pt x="690572" y="1363343"/>
                </a:cubicBezTo>
                <a:cubicBezTo>
                  <a:pt x="692411" y="1350128"/>
                  <a:pt x="692374" y="1336672"/>
                  <a:pt x="692495" y="1323376"/>
                </a:cubicBezTo>
                <a:cubicBezTo>
                  <a:pt x="692524" y="1320586"/>
                  <a:pt x="692574" y="1317796"/>
                  <a:pt x="692625" y="1315006"/>
                </a:cubicBezTo>
                <a:cubicBezTo>
                  <a:pt x="692853" y="1300589"/>
                  <a:pt x="692853" y="1300589"/>
                  <a:pt x="687447" y="1287245"/>
                </a:cubicBezTo>
                <a:cubicBezTo>
                  <a:pt x="685901" y="1286780"/>
                  <a:pt x="684354" y="1286315"/>
                  <a:pt x="682761" y="1285835"/>
                </a:cubicBezTo>
                <a:cubicBezTo>
                  <a:pt x="680876" y="1283743"/>
                  <a:pt x="680876" y="1283743"/>
                  <a:pt x="678954" y="1281608"/>
                </a:cubicBezTo>
                <a:cubicBezTo>
                  <a:pt x="674854" y="1277278"/>
                  <a:pt x="674356" y="1276958"/>
                  <a:pt x="668702" y="1275971"/>
                </a:cubicBezTo>
                <a:cubicBezTo>
                  <a:pt x="666619" y="1274092"/>
                  <a:pt x="664536" y="1272213"/>
                  <a:pt x="662454" y="1270334"/>
                </a:cubicBezTo>
                <a:cubicBezTo>
                  <a:pt x="658341" y="1268566"/>
                  <a:pt x="658341" y="1268566"/>
                  <a:pt x="654643" y="1267516"/>
                </a:cubicBezTo>
                <a:cubicBezTo>
                  <a:pt x="654643" y="1266585"/>
                  <a:pt x="654643" y="1265656"/>
                  <a:pt x="654643" y="1264697"/>
                </a:cubicBezTo>
                <a:cubicBezTo>
                  <a:pt x="653161" y="1264581"/>
                  <a:pt x="651679" y="1264465"/>
                  <a:pt x="650152" y="1264345"/>
                </a:cubicBezTo>
                <a:cubicBezTo>
                  <a:pt x="642318" y="1263373"/>
                  <a:pt x="635297" y="1260465"/>
                  <a:pt x="628087" y="1257651"/>
                </a:cubicBezTo>
                <a:cubicBezTo>
                  <a:pt x="628087" y="1256721"/>
                  <a:pt x="628087" y="1255791"/>
                  <a:pt x="628087" y="1254833"/>
                </a:cubicBezTo>
                <a:cubicBezTo>
                  <a:pt x="627108" y="1254662"/>
                  <a:pt x="626129" y="1254491"/>
                  <a:pt x="625121" y="1254315"/>
                </a:cubicBezTo>
                <a:cubicBezTo>
                  <a:pt x="623845" y="1254079"/>
                  <a:pt x="622568" y="1253843"/>
                  <a:pt x="621252" y="1253600"/>
                </a:cubicBezTo>
                <a:cubicBezTo>
                  <a:pt x="619984" y="1253371"/>
                  <a:pt x="618716" y="1253142"/>
                  <a:pt x="617409" y="1252906"/>
                </a:cubicBezTo>
                <a:cubicBezTo>
                  <a:pt x="614027" y="1252014"/>
                  <a:pt x="614027" y="1252014"/>
                  <a:pt x="610904" y="1249196"/>
                </a:cubicBezTo>
                <a:cubicBezTo>
                  <a:pt x="592259" y="1248653"/>
                  <a:pt x="578635" y="1260869"/>
                  <a:pt x="565739" y="1271742"/>
                </a:cubicBezTo>
                <a:cubicBezTo>
                  <a:pt x="558808" y="1277725"/>
                  <a:pt x="552763" y="1283983"/>
                  <a:pt x="546924" y="1290829"/>
                </a:cubicBezTo>
                <a:cubicBezTo>
                  <a:pt x="545838" y="1292087"/>
                  <a:pt x="544753" y="1293346"/>
                  <a:pt x="543635" y="1294643"/>
                </a:cubicBezTo>
                <a:cubicBezTo>
                  <a:pt x="542650" y="1295813"/>
                  <a:pt x="541666" y="1296983"/>
                  <a:pt x="540651" y="1298188"/>
                </a:cubicBezTo>
                <a:cubicBezTo>
                  <a:pt x="537294" y="1301526"/>
                  <a:pt x="533978" y="1303337"/>
                  <a:pt x="529673" y="1305565"/>
                </a:cubicBezTo>
                <a:cubicBezTo>
                  <a:pt x="527599" y="1308478"/>
                  <a:pt x="527599" y="1308478"/>
                  <a:pt x="526549" y="1311202"/>
                </a:cubicBezTo>
                <a:cubicBezTo>
                  <a:pt x="525518" y="1311202"/>
                  <a:pt x="524487" y="1311202"/>
                  <a:pt x="523425" y="1311202"/>
                </a:cubicBezTo>
                <a:cubicBezTo>
                  <a:pt x="523360" y="1311986"/>
                  <a:pt x="523296" y="1312771"/>
                  <a:pt x="523230" y="1313580"/>
                </a:cubicBezTo>
                <a:cubicBezTo>
                  <a:pt x="521863" y="1316839"/>
                  <a:pt x="521863" y="1316839"/>
                  <a:pt x="517732" y="1319739"/>
                </a:cubicBezTo>
                <a:cubicBezTo>
                  <a:pt x="511111" y="1324565"/>
                  <a:pt x="506875" y="1330731"/>
                  <a:pt x="502239" y="1337096"/>
                </a:cubicBezTo>
                <a:cubicBezTo>
                  <a:pt x="500512" y="1339427"/>
                  <a:pt x="498785" y="1341757"/>
                  <a:pt x="497058" y="1344087"/>
                </a:cubicBezTo>
                <a:cubicBezTo>
                  <a:pt x="495827" y="1345760"/>
                  <a:pt x="495827" y="1345760"/>
                  <a:pt x="494572" y="1347465"/>
                </a:cubicBezTo>
                <a:cubicBezTo>
                  <a:pt x="492366" y="1350414"/>
                  <a:pt x="490094" y="1353304"/>
                  <a:pt x="487776" y="1356181"/>
                </a:cubicBezTo>
                <a:cubicBezTo>
                  <a:pt x="484805" y="1359972"/>
                  <a:pt x="482865" y="1363193"/>
                  <a:pt x="481248" y="1367571"/>
                </a:cubicBezTo>
                <a:cubicBezTo>
                  <a:pt x="480216" y="1367571"/>
                  <a:pt x="479186" y="1367571"/>
                  <a:pt x="478123" y="1367571"/>
                </a:cubicBezTo>
                <a:cubicBezTo>
                  <a:pt x="477963" y="1368558"/>
                  <a:pt x="477801" y="1369547"/>
                  <a:pt x="477635" y="1370565"/>
                </a:cubicBezTo>
                <a:cubicBezTo>
                  <a:pt x="475602" y="1378236"/>
                  <a:pt x="471952" y="1383371"/>
                  <a:pt x="465626" y="1388709"/>
                </a:cubicBezTo>
                <a:cubicBezTo>
                  <a:pt x="462272" y="1392748"/>
                  <a:pt x="462272" y="1392748"/>
                  <a:pt x="461233" y="1397340"/>
                </a:cubicBezTo>
                <a:cubicBezTo>
                  <a:pt x="460030" y="1401461"/>
                  <a:pt x="458298" y="1404501"/>
                  <a:pt x="455765" y="1408086"/>
                </a:cubicBezTo>
                <a:cubicBezTo>
                  <a:pt x="442829" y="1428603"/>
                  <a:pt x="441572" y="1454548"/>
                  <a:pt x="439070" y="1477490"/>
                </a:cubicBezTo>
                <a:cubicBezTo>
                  <a:pt x="437524" y="1477955"/>
                  <a:pt x="435977" y="1478420"/>
                  <a:pt x="434384" y="1478899"/>
                </a:cubicBezTo>
                <a:cubicBezTo>
                  <a:pt x="433739" y="1479916"/>
                  <a:pt x="433095" y="1480933"/>
                  <a:pt x="432431" y="1481982"/>
                </a:cubicBezTo>
                <a:cubicBezTo>
                  <a:pt x="428860" y="1487159"/>
                  <a:pt x="424291" y="1490903"/>
                  <a:pt x="418763" y="1494401"/>
                </a:cubicBezTo>
                <a:cubicBezTo>
                  <a:pt x="417731" y="1494401"/>
                  <a:pt x="416701" y="1494401"/>
                  <a:pt x="415639" y="1494401"/>
                </a:cubicBezTo>
                <a:cubicBezTo>
                  <a:pt x="415639" y="1495330"/>
                  <a:pt x="415639" y="1496260"/>
                  <a:pt x="415639" y="1497219"/>
                </a:cubicBezTo>
                <a:cubicBezTo>
                  <a:pt x="412546" y="1497684"/>
                  <a:pt x="409453" y="1498149"/>
                  <a:pt x="406265" y="1498628"/>
                </a:cubicBezTo>
                <a:cubicBezTo>
                  <a:pt x="406265" y="1499559"/>
                  <a:pt x="406265" y="1500488"/>
                  <a:pt x="406265" y="1501447"/>
                </a:cubicBezTo>
                <a:cubicBezTo>
                  <a:pt x="395955" y="1501447"/>
                  <a:pt x="385645" y="1501447"/>
                  <a:pt x="375023" y="1501447"/>
                </a:cubicBezTo>
                <a:lnTo>
                  <a:pt x="375023" y="1499438"/>
                </a:lnTo>
                <a:lnTo>
                  <a:pt x="374964" y="1499436"/>
                </a:lnTo>
                <a:lnTo>
                  <a:pt x="373179" y="1498628"/>
                </a:lnTo>
                <a:lnTo>
                  <a:pt x="365650" y="1498628"/>
                </a:lnTo>
                <a:lnTo>
                  <a:pt x="363134" y="1494087"/>
                </a:lnTo>
                <a:lnTo>
                  <a:pt x="362171" y="1493651"/>
                </a:lnTo>
                <a:cubicBezTo>
                  <a:pt x="361656" y="1492722"/>
                  <a:pt x="361140" y="1491791"/>
                  <a:pt x="360609" y="1490833"/>
                </a:cubicBezTo>
                <a:cubicBezTo>
                  <a:pt x="361640" y="1490833"/>
                  <a:pt x="362671" y="1490833"/>
                  <a:pt x="363733" y="1490833"/>
                </a:cubicBezTo>
                <a:lnTo>
                  <a:pt x="363733" y="1489980"/>
                </a:lnTo>
                <a:lnTo>
                  <a:pt x="348467" y="1481717"/>
                </a:lnTo>
                <a:lnTo>
                  <a:pt x="343872" y="1461078"/>
                </a:lnTo>
                <a:lnTo>
                  <a:pt x="343656" y="1463649"/>
                </a:lnTo>
                <a:cubicBezTo>
                  <a:pt x="343541" y="1465230"/>
                  <a:pt x="343541" y="1465230"/>
                  <a:pt x="343424" y="1466842"/>
                </a:cubicBezTo>
                <a:cubicBezTo>
                  <a:pt x="342908" y="1466842"/>
                  <a:pt x="342393" y="1466842"/>
                  <a:pt x="341861" y="1466842"/>
                </a:cubicBezTo>
                <a:cubicBezTo>
                  <a:pt x="340987" y="1449564"/>
                  <a:pt x="340999" y="1434331"/>
                  <a:pt x="354143" y="1420549"/>
                </a:cubicBezTo>
                <a:cubicBezTo>
                  <a:pt x="360765" y="1414011"/>
                  <a:pt x="367631" y="1407790"/>
                  <a:pt x="376229" y="1403427"/>
                </a:cubicBezTo>
                <a:lnTo>
                  <a:pt x="379491" y="1404408"/>
                </a:lnTo>
                <a:lnTo>
                  <a:pt x="379710" y="1404210"/>
                </a:lnTo>
                <a:cubicBezTo>
                  <a:pt x="380290" y="1402902"/>
                  <a:pt x="380290" y="1402902"/>
                  <a:pt x="380882" y="1401568"/>
                </a:cubicBezTo>
                <a:cubicBezTo>
                  <a:pt x="383675" y="1397284"/>
                  <a:pt x="387587" y="1395610"/>
                  <a:pt x="392207" y="1392936"/>
                </a:cubicBezTo>
                <a:lnTo>
                  <a:pt x="399542" y="1386774"/>
                </a:lnTo>
                <a:lnTo>
                  <a:pt x="405485" y="1378917"/>
                </a:lnTo>
                <a:cubicBezTo>
                  <a:pt x="408065" y="1375974"/>
                  <a:pt x="410029" y="1372774"/>
                  <a:pt x="412008" y="1369481"/>
                </a:cubicBezTo>
                <a:cubicBezTo>
                  <a:pt x="414759" y="1365166"/>
                  <a:pt x="417963" y="1361131"/>
                  <a:pt x="421130" y="1357057"/>
                </a:cubicBezTo>
                <a:cubicBezTo>
                  <a:pt x="423073" y="1354140"/>
                  <a:pt x="423985" y="1351767"/>
                  <a:pt x="424676" y="1348443"/>
                </a:cubicBezTo>
                <a:lnTo>
                  <a:pt x="427275" y="1348443"/>
                </a:lnTo>
                <a:lnTo>
                  <a:pt x="428135" y="1345727"/>
                </a:lnTo>
                <a:cubicBezTo>
                  <a:pt x="429370" y="1341828"/>
                  <a:pt x="430645" y="1338666"/>
                  <a:pt x="432822" y="1335158"/>
                </a:cubicBezTo>
                <a:cubicBezTo>
                  <a:pt x="433853" y="1335158"/>
                  <a:pt x="434884" y="1335158"/>
                  <a:pt x="435946" y="1335158"/>
                </a:cubicBezTo>
                <a:cubicBezTo>
                  <a:pt x="436526" y="1333385"/>
                  <a:pt x="437106" y="1331613"/>
                  <a:pt x="437704" y="1329786"/>
                </a:cubicBezTo>
                <a:cubicBezTo>
                  <a:pt x="440162" y="1323132"/>
                  <a:pt x="443602" y="1317301"/>
                  <a:pt x="447394" y="1311196"/>
                </a:cubicBezTo>
                <a:cubicBezTo>
                  <a:pt x="456493" y="1296485"/>
                  <a:pt x="463325" y="1281864"/>
                  <a:pt x="469287" y="1265964"/>
                </a:cubicBezTo>
                <a:cubicBezTo>
                  <a:pt x="474589" y="1252134"/>
                  <a:pt x="474589" y="1252134"/>
                  <a:pt x="478178" y="1246787"/>
                </a:cubicBezTo>
                <a:cubicBezTo>
                  <a:pt x="481232" y="1240246"/>
                  <a:pt x="480204" y="1232766"/>
                  <a:pt x="480179" y="1225768"/>
                </a:cubicBezTo>
                <a:cubicBezTo>
                  <a:pt x="480174" y="1222894"/>
                  <a:pt x="480210" y="1220023"/>
                  <a:pt x="480250" y="1217149"/>
                </a:cubicBezTo>
                <a:cubicBezTo>
                  <a:pt x="480260" y="1199291"/>
                  <a:pt x="476718" y="1187768"/>
                  <a:pt x="462972" y="1174827"/>
                </a:cubicBezTo>
                <a:cubicBezTo>
                  <a:pt x="461148" y="1173192"/>
                  <a:pt x="459312" y="1171566"/>
                  <a:pt x="457468" y="1169949"/>
                </a:cubicBezTo>
                <a:cubicBezTo>
                  <a:pt x="451412" y="1164522"/>
                  <a:pt x="445876" y="1158660"/>
                  <a:pt x="440657" y="1152570"/>
                </a:cubicBezTo>
                <a:cubicBezTo>
                  <a:pt x="430474" y="1140786"/>
                  <a:pt x="418230" y="1128998"/>
                  <a:pt x="403142" y="1122366"/>
                </a:cubicBezTo>
                <a:cubicBezTo>
                  <a:pt x="402626" y="1121436"/>
                  <a:pt x="402110" y="1120506"/>
                  <a:pt x="401579" y="1119547"/>
                </a:cubicBezTo>
                <a:cubicBezTo>
                  <a:pt x="390472" y="1115326"/>
                  <a:pt x="375918" y="1114217"/>
                  <a:pt x="364564" y="1118209"/>
                </a:cubicBezTo>
                <a:cubicBezTo>
                  <a:pt x="362278" y="1119428"/>
                  <a:pt x="360026" y="1120704"/>
                  <a:pt x="357822" y="1122041"/>
                </a:cubicBezTo>
                <a:cubicBezTo>
                  <a:pt x="354521" y="1123884"/>
                  <a:pt x="351862" y="1124582"/>
                  <a:pt x="348077" y="1125273"/>
                </a:cubicBezTo>
                <a:cubicBezTo>
                  <a:pt x="341765" y="1126696"/>
                  <a:pt x="339382" y="1128619"/>
                  <a:pt x="334408" y="1132230"/>
                </a:cubicBezTo>
                <a:cubicBezTo>
                  <a:pt x="332284" y="1132909"/>
                  <a:pt x="330131" y="1133519"/>
                  <a:pt x="327964" y="1134080"/>
                </a:cubicBezTo>
                <a:cubicBezTo>
                  <a:pt x="309975" y="1139067"/>
                  <a:pt x="290592" y="1152117"/>
                  <a:pt x="279734" y="1166051"/>
                </a:cubicBezTo>
                <a:cubicBezTo>
                  <a:pt x="277929" y="1169534"/>
                  <a:pt x="277929" y="1169534"/>
                  <a:pt x="276609" y="1173098"/>
                </a:cubicBezTo>
                <a:cubicBezTo>
                  <a:pt x="272413" y="1180804"/>
                  <a:pt x="269322" y="1184144"/>
                  <a:pt x="260988" y="1188599"/>
                </a:cubicBezTo>
                <a:cubicBezTo>
                  <a:pt x="259988" y="1189435"/>
                  <a:pt x="258987" y="1190271"/>
                  <a:pt x="257956" y="1191132"/>
                </a:cubicBezTo>
                <a:lnTo>
                  <a:pt x="243805" y="1196629"/>
                </a:lnTo>
                <a:lnTo>
                  <a:pt x="243805" y="1194236"/>
                </a:lnTo>
                <a:lnTo>
                  <a:pt x="240288" y="1194765"/>
                </a:lnTo>
                <a:lnTo>
                  <a:pt x="243374" y="1194765"/>
                </a:lnTo>
                <a:lnTo>
                  <a:pt x="243374" y="1196797"/>
                </a:lnTo>
                <a:lnTo>
                  <a:pt x="243805" y="1196629"/>
                </a:lnTo>
                <a:lnTo>
                  <a:pt x="243805" y="1197055"/>
                </a:lnTo>
                <a:lnTo>
                  <a:pt x="243374" y="1197055"/>
                </a:lnTo>
                <a:lnTo>
                  <a:pt x="243374" y="1197584"/>
                </a:lnTo>
                <a:lnTo>
                  <a:pt x="241319" y="1197595"/>
                </a:lnTo>
                <a:lnTo>
                  <a:pt x="238009" y="1198881"/>
                </a:lnTo>
                <a:cubicBezTo>
                  <a:pt x="231012" y="1199584"/>
                  <a:pt x="223620" y="1198927"/>
                  <a:pt x="215687" y="1198464"/>
                </a:cubicBezTo>
                <a:lnTo>
                  <a:pt x="215687" y="1197734"/>
                </a:lnTo>
                <a:lnTo>
                  <a:pt x="213936" y="1197744"/>
                </a:lnTo>
                <a:cubicBezTo>
                  <a:pt x="210570" y="1197584"/>
                  <a:pt x="210570" y="1197584"/>
                  <a:pt x="207446" y="1196175"/>
                </a:cubicBezTo>
                <a:lnTo>
                  <a:pt x="207822" y="1195610"/>
                </a:lnTo>
                <a:lnTo>
                  <a:pt x="184737" y="1180936"/>
                </a:lnTo>
                <a:cubicBezTo>
                  <a:pt x="180258" y="1172216"/>
                  <a:pt x="179226" y="1164355"/>
                  <a:pt x="179270" y="1154866"/>
                </a:cubicBezTo>
                <a:cubicBezTo>
                  <a:pt x="179233" y="1153260"/>
                  <a:pt x="179233" y="1153260"/>
                  <a:pt x="179194" y="1151621"/>
                </a:cubicBezTo>
                <a:cubicBezTo>
                  <a:pt x="179182" y="1139523"/>
                  <a:pt x="183658" y="1128837"/>
                  <a:pt x="193195" y="1120065"/>
                </a:cubicBezTo>
                <a:cubicBezTo>
                  <a:pt x="204265" y="1110959"/>
                  <a:pt x="215062" y="1110626"/>
                  <a:pt x="229551" y="1110299"/>
                </a:cubicBezTo>
                <a:cubicBezTo>
                  <a:pt x="240132" y="1110024"/>
                  <a:pt x="250506" y="1109652"/>
                  <a:pt x="260988" y="1108274"/>
                </a:cubicBezTo>
                <a:cubicBezTo>
                  <a:pt x="260988" y="1107344"/>
                  <a:pt x="260988" y="1106413"/>
                  <a:pt x="260988" y="1105455"/>
                </a:cubicBezTo>
                <a:cubicBezTo>
                  <a:pt x="261953" y="1105078"/>
                  <a:pt x="262918" y="1104699"/>
                  <a:pt x="263911" y="1104310"/>
                </a:cubicBezTo>
                <a:cubicBezTo>
                  <a:pt x="272903" y="1100557"/>
                  <a:pt x="279802" y="1096307"/>
                  <a:pt x="286995" y="1090185"/>
                </a:cubicBezTo>
                <a:cubicBezTo>
                  <a:pt x="290956" y="1086897"/>
                  <a:pt x="295114" y="1083955"/>
                  <a:pt x="299358" y="1080970"/>
                </a:cubicBezTo>
                <a:cubicBezTo>
                  <a:pt x="306613" y="1075692"/>
                  <a:pt x="312234" y="1070023"/>
                  <a:pt x="317762" y="1063272"/>
                </a:cubicBezTo>
                <a:cubicBezTo>
                  <a:pt x="320349" y="1060360"/>
                  <a:pt x="320349" y="1060360"/>
                  <a:pt x="325035" y="1057542"/>
                </a:cubicBezTo>
                <a:cubicBezTo>
                  <a:pt x="329912" y="1045734"/>
                  <a:pt x="327928" y="1035103"/>
                  <a:pt x="325328" y="1023104"/>
                </a:cubicBezTo>
                <a:cubicBezTo>
                  <a:pt x="325069" y="1021831"/>
                  <a:pt x="324811" y="1020559"/>
                  <a:pt x="324544" y="1019247"/>
                </a:cubicBezTo>
                <a:cubicBezTo>
                  <a:pt x="322876" y="1011407"/>
                  <a:pt x="320562" y="1004340"/>
                  <a:pt x="317225" y="996945"/>
                </a:cubicBezTo>
                <a:cubicBezTo>
                  <a:pt x="316619" y="995541"/>
                  <a:pt x="316013" y="994137"/>
                  <a:pt x="315388" y="992690"/>
                </a:cubicBezTo>
                <a:cubicBezTo>
                  <a:pt x="306307" y="972561"/>
                  <a:pt x="298931" y="959343"/>
                  <a:pt x="276232" y="950666"/>
                </a:cubicBezTo>
                <a:cubicBezTo>
                  <a:pt x="274810" y="950127"/>
                  <a:pt x="273388" y="949587"/>
                  <a:pt x="271923" y="949031"/>
                </a:cubicBezTo>
                <a:cubicBezTo>
                  <a:pt x="270129" y="948244"/>
                  <a:pt x="270129" y="948244"/>
                  <a:pt x="268299" y="947441"/>
                </a:cubicBezTo>
                <a:cubicBezTo>
                  <a:pt x="247071" y="938140"/>
                  <a:pt x="222259" y="939051"/>
                  <a:pt x="199187" y="938991"/>
                </a:cubicBezTo>
                <a:cubicBezTo>
                  <a:pt x="197383" y="938984"/>
                  <a:pt x="195579" y="938978"/>
                  <a:pt x="193719" y="938971"/>
                </a:cubicBezTo>
                <a:cubicBezTo>
                  <a:pt x="192010" y="938974"/>
                  <a:pt x="190300" y="938977"/>
                  <a:pt x="188539" y="938980"/>
                </a:cubicBezTo>
                <a:cubicBezTo>
                  <a:pt x="187000" y="938981"/>
                  <a:pt x="185460" y="938983"/>
                  <a:pt x="183874" y="938985"/>
                </a:cubicBezTo>
                <a:cubicBezTo>
                  <a:pt x="180148" y="939150"/>
                  <a:pt x="177092" y="939720"/>
                  <a:pt x="173509" y="940576"/>
                </a:cubicBezTo>
                <a:cubicBezTo>
                  <a:pt x="169458" y="940674"/>
                  <a:pt x="165452" y="940710"/>
                  <a:pt x="161403" y="940664"/>
                </a:cubicBezTo>
                <a:cubicBezTo>
                  <a:pt x="160314" y="940658"/>
                  <a:pt x="159224" y="940651"/>
                  <a:pt x="158102" y="940645"/>
                </a:cubicBezTo>
                <a:lnTo>
                  <a:pt x="150875" y="940583"/>
                </a:lnTo>
                <a:lnTo>
                  <a:pt x="148425" y="940717"/>
                </a:lnTo>
                <a:lnTo>
                  <a:pt x="149617" y="940995"/>
                </a:lnTo>
                <a:cubicBezTo>
                  <a:pt x="149617" y="941459"/>
                  <a:pt x="149617" y="941924"/>
                  <a:pt x="149617" y="942404"/>
                </a:cubicBezTo>
                <a:cubicBezTo>
                  <a:pt x="148630" y="942558"/>
                  <a:pt x="147643" y="942712"/>
                  <a:pt x="146627" y="942871"/>
                </a:cubicBezTo>
                <a:cubicBezTo>
                  <a:pt x="134541" y="944804"/>
                  <a:pt x="122553" y="947081"/>
                  <a:pt x="110564" y="949449"/>
                </a:cubicBezTo>
                <a:lnTo>
                  <a:pt x="111283" y="946205"/>
                </a:lnTo>
                <a:lnTo>
                  <a:pt x="101652" y="956078"/>
                </a:lnTo>
                <a:cubicBezTo>
                  <a:pt x="99870" y="957260"/>
                  <a:pt x="99870" y="957260"/>
                  <a:pt x="98052" y="958467"/>
                </a:cubicBezTo>
                <a:cubicBezTo>
                  <a:pt x="75683" y="972989"/>
                  <a:pt x="75683" y="972989"/>
                  <a:pt x="67286" y="972989"/>
                </a:cubicBezTo>
                <a:cubicBezTo>
                  <a:pt x="67286" y="973918"/>
                  <a:pt x="67286" y="974848"/>
                  <a:pt x="67286" y="975807"/>
                </a:cubicBezTo>
                <a:cubicBezTo>
                  <a:pt x="55713" y="979519"/>
                  <a:pt x="43549" y="980689"/>
                  <a:pt x="31942" y="976423"/>
                </a:cubicBezTo>
                <a:cubicBezTo>
                  <a:pt x="19953" y="970870"/>
                  <a:pt x="10774" y="964932"/>
                  <a:pt x="5673" y="953419"/>
                </a:cubicBezTo>
                <a:cubicBezTo>
                  <a:pt x="4801" y="950441"/>
                  <a:pt x="4801" y="950441"/>
                  <a:pt x="4801" y="944804"/>
                </a:cubicBezTo>
                <a:cubicBezTo>
                  <a:pt x="3770" y="944804"/>
                  <a:pt x="2739" y="944804"/>
                  <a:pt x="1676" y="944804"/>
                </a:cubicBezTo>
                <a:cubicBezTo>
                  <a:pt x="-34" y="940174"/>
                  <a:pt x="-41" y="936720"/>
                  <a:pt x="17" y="931857"/>
                </a:cubicBezTo>
                <a:cubicBezTo>
                  <a:pt x="31" y="930325"/>
                  <a:pt x="45" y="928794"/>
                  <a:pt x="59" y="927216"/>
                </a:cubicBezTo>
                <a:cubicBezTo>
                  <a:pt x="78" y="926044"/>
                  <a:pt x="96" y="924873"/>
                  <a:pt x="115" y="923666"/>
                </a:cubicBezTo>
                <a:cubicBezTo>
                  <a:pt x="1145" y="923666"/>
                  <a:pt x="2176" y="923666"/>
                  <a:pt x="3238" y="923666"/>
                </a:cubicBezTo>
                <a:cubicBezTo>
                  <a:pt x="3238" y="921805"/>
                  <a:pt x="3238" y="919945"/>
                  <a:pt x="3238" y="918029"/>
                </a:cubicBezTo>
                <a:cubicBezTo>
                  <a:pt x="4270" y="918029"/>
                  <a:pt x="5300" y="918029"/>
                  <a:pt x="6363" y="918029"/>
                </a:cubicBezTo>
                <a:cubicBezTo>
                  <a:pt x="6459" y="916314"/>
                  <a:pt x="6556" y="914599"/>
                  <a:pt x="6656" y="912832"/>
                </a:cubicBezTo>
                <a:cubicBezTo>
                  <a:pt x="7542" y="906455"/>
                  <a:pt x="10104" y="903750"/>
                  <a:pt x="15736" y="899709"/>
                </a:cubicBezTo>
                <a:lnTo>
                  <a:pt x="17243" y="898894"/>
                </a:lnTo>
                <a:lnTo>
                  <a:pt x="16800" y="898694"/>
                </a:lnTo>
                <a:lnTo>
                  <a:pt x="24988" y="894101"/>
                </a:lnTo>
                <a:lnTo>
                  <a:pt x="26768" y="892399"/>
                </a:lnTo>
                <a:cubicBezTo>
                  <a:pt x="28282" y="891122"/>
                  <a:pt x="29038" y="890483"/>
                  <a:pt x="30198" y="890164"/>
                </a:cubicBezTo>
                <a:lnTo>
                  <a:pt x="32204" y="890054"/>
                </a:lnTo>
                <a:lnTo>
                  <a:pt x="38914" y="886291"/>
                </a:lnTo>
                <a:cubicBezTo>
                  <a:pt x="47169" y="885770"/>
                  <a:pt x="55396" y="885800"/>
                  <a:pt x="63664" y="886011"/>
                </a:cubicBezTo>
                <a:lnTo>
                  <a:pt x="63664" y="886531"/>
                </a:lnTo>
                <a:lnTo>
                  <a:pt x="70784" y="886647"/>
                </a:lnTo>
                <a:cubicBezTo>
                  <a:pt x="74787" y="887000"/>
                  <a:pt x="77233" y="887948"/>
                  <a:pt x="82126" y="889845"/>
                </a:cubicBezTo>
                <a:cubicBezTo>
                  <a:pt x="92427" y="893791"/>
                  <a:pt x="103139" y="893710"/>
                  <a:pt x="114149" y="892663"/>
                </a:cubicBezTo>
                <a:cubicBezTo>
                  <a:pt x="115696" y="891733"/>
                  <a:pt x="117242" y="890803"/>
                  <a:pt x="118836" y="889845"/>
                </a:cubicBezTo>
                <a:cubicBezTo>
                  <a:pt x="123097" y="888850"/>
                  <a:pt x="127325" y="887944"/>
                  <a:pt x="131626" y="887114"/>
                </a:cubicBezTo>
                <a:cubicBezTo>
                  <a:pt x="139750" y="885542"/>
                  <a:pt x="147376" y="883653"/>
                  <a:pt x="155116" y="880913"/>
                </a:cubicBezTo>
                <a:cubicBezTo>
                  <a:pt x="158498" y="879775"/>
                  <a:pt x="161861" y="879076"/>
                  <a:pt x="165406" y="878483"/>
                </a:cubicBezTo>
                <a:cubicBezTo>
                  <a:pt x="170342" y="877655"/>
                  <a:pt x="172265" y="876971"/>
                  <a:pt x="176634" y="874343"/>
                </a:cubicBezTo>
                <a:cubicBezTo>
                  <a:pt x="179863" y="873335"/>
                  <a:pt x="183123" y="872404"/>
                  <a:pt x="186397" y="871524"/>
                </a:cubicBezTo>
                <a:cubicBezTo>
                  <a:pt x="189107" y="870786"/>
                  <a:pt x="189107" y="870786"/>
                  <a:pt x="191871" y="870033"/>
                </a:cubicBezTo>
                <a:cubicBezTo>
                  <a:pt x="195731" y="869023"/>
                  <a:pt x="199587" y="868093"/>
                  <a:pt x="203483" y="867208"/>
                </a:cubicBezTo>
                <a:cubicBezTo>
                  <a:pt x="208339" y="866199"/>
                  <a:pt x="208339" y="866199"/>
                  <a:pt x="211001" y="861660"/>
                </a:cubicBezTo>
                <a:cubicBezTo>
                  <a:pt x="214174" y="860102"/>
                  <a:pt x="214174" y="860102"/>
                  <a:pt x="218031" y="858577"/>
                </a:cubicBezTo>
                <a:cubicBezTo>
                  <a:pt x="236068" y="850629"/>
                  <a:pt x="245199" y="840442"/>
                  <a:pt x="254740" y="825020"/>
                </a:cubicBezTo>
                <a:cubicBezTo>
                  <a:pt x="255771" y="823625"/>
                  <a:pt x="256802" y="822230"/>
                  <a:pt x="257864" y="820792"/>
                </a:cubicBezTo>
                <a:cubicBezTo>
                  <a:pt x="258359" y="817506"/>
                  <a:pt x="258359" y="817506"/>
                  <a:pt x="258318" y="813810"/>
                </a:cubicBezTo>
                <a:cubicBezTo>
                  <a:pt x="258338" y="812388"/>
                  <a:pt x="258358" y="810967"/>
                  <a:pt x="258378" y="809502"/>
                </a:cubicBezTo>
                <a:cubicBezTo>
                  <a:pt x="258382" y="807965"/>
                  <a:pt x="258385" y="806429"/>
                  <a:pt x="258389" y="804845"/>
                </a:cubicBezTo>
                <a:cubicBezTo>
                  <a:pt x="258399" y="803258"/>
                  <a:pt x="258410" y="801671"/>
                  <a:pt x="258420" y="800036"/>
                </a:cubicBezTo>
                <a:cubicBezTo>
                  <a:pt x="258436" y="796670"/>
                  <a:pt x="258443" y="793305"/>
                  <a:pt x="258443" y="789939"/>
                </a:cubicBezTo>
                <a:cubicBezTo>
                  <a:pt x="258450" y="784823"/>
                  <a:pt x="258506" y="779709"/>
                  <a:pt x="258566" y="774594"/>
                </a:cubicBezTo>
                <a:cubicBezTo>
                  <a:pt x="258575" y="771319"/>
                  <a:pt x="258581" y="768045"/>
                  <a:pt x="258584" y="764771"/>
                </a:cubicBezTo>
                <a:cubicBezTo>
                  <a:pt x="258618" y="762495"/>
                  <a:pt x="258618" y="762495"/>
                  <a:pt x="258652" y="760174"/>
                </a:cubicBezTo>
                <a:cubicBezTo>
                  <a:pt x="258586" y="750030"/>
                  <a:pt x="256266" y="742584"/>
                  <a:pt x="251616" y="733421"/>
                </a:cubicBezTo>
                <a:cubicBezTo>
                  <a:pt x="250163" y="729605"/>
                  <a:pt x="248880" y="725752"/>
                  <a:pt x="247613" y="721883"/>
                </a:cubicBezTo>
                <a:cubicBezTo>
                  <a:pt x="245789" y="716328"/>
                  <a:pt x="243913" y="710939"/>
                  <a:pt x="241291" y="705644"/>
                </a:cubicBezTo>
                <a:cubicBezTo>
                  <a:pt x="238691" y="700096"/>
                  <a:pt x="238136" y="695685"/>
                  <a:pt x="237557" y="689735"/>
                </a:cubicBezTo>
                <a:cubicBezTo>
                  <a:pt x="244977" y="685507"/>
                  <a:pt x="244977" y="685507"/>
                  <a:pt x="248492" y="685507"/>
                </a:cubicBezTo>
                <a:cubicBezTo>
                  <a:pt x="248492" y="684112"/>
                  <a:pt x="248492" y="682717"/>
                  <a:pt x="248492" y="681279"/>
                </a:cubicBezTo>
                <a:cubicBezTo>
                  <a:pt x="245914" y="680815"/>
                  <a:pt x="243337" y="680350"/>
                  <a:pt x="240681" y="679870"/>
                </a:cubicBezTo>
                <a:cubicBezTo>
                  <a:pt x="240681" y="678940"/>
                  <a:pt x="240681" y="678010"/>
                  <a:pt x="240681" y="677052"/>
                </a:cubicBezTo>
                <a:cubicBezTo>
                  <a:pt x="239827" y="676917"/>
                  <a:pt x="238973" y="676783"/>
                  <a:pt x="238094" y="676645"/>
                </a:cubicBezTo>
                <a:cubicBezTo>
                  <a:pt x="233442" y="675371"/>
                  <a:pt x="229939" y="673242"/>
                  <a:pt x="225841" y="670886"/>
                </a:cubicBezTo>
                <a:cubicBezTo>
                  <a:pt x="217808" y="666564"/>
                  <a:pt x="210635" y="664241"/>
                  <a:pt x="201531" y="662508"/>
                </a:cubicBezTo>
                <a:cubicBezTo>
                  <a:pt x="196896" y="661541"/>
                  <a:pt x="192682" y="660199"/>
                  <a:pt x="188252" y="658644"/>
                </a:cubicBezTo>
                <a:lnTo>
                  <a:pt x="182431" y="657327"/>
                </a:lnTo>
                <a:lnTo>
                  <a:pt x="182431" y="657613"/>
                </a:lnTo>
                <a:cubicBezTo>
                  <a:pt x="170575" y="657148"/>
                  <a:pt x="158718" y="656683"/>
                  <a:pt x="146503" y="656204"/>
                </a:cubicBezTo>
                <a:cubicBezTo>
                  <a:pt x="146503" y="657133"/>
                  <a:pt x="146503" y="658064"/>
                  <a:pt x="146503" y="659022"/>
                </a:cubicBezTo>
                <a:cubicBezTo>
                  <a:pt x="134359" y="662326"/>
                  <a:pt x="123013" y="663700"/>
                  <a:pt x="110378" y="663778"/>
                </a:cubicBezTo>
                <a:cubicBezTo>
                  <a:pt x="108435" y="663806"/>
                  <a:pt x="108435" y="663806"/>
                  <a:pt x="106453" y="663836"/>
                </a:cubicBezTo>
                <a:cubicBezTo>
                  <a:pt x="105231" y="663828"/>
                  <a:pt x="104009" y="663820"/>
                  <a:pt x="102751" y="663811"/>
                </a:cubicBezTo>
                <a:cubicBezTo>
                  <a:pt x="101117" y="663804"/>
                  <a:pt x="101117" y="663804"/>
                  <a:pt x="99449" y="663797"/>
                </a:cubicBezTo>
                <a:cubicBezTo>
                  <a:pt x="95696" y="663097"/>
                  <a:pt x="94265" y="661615"/>
                  <a:pt x="91828" y="659022"/>
                </a:cubicBezTo>
                <a:cubicBezTo>
                  <a:pt x="93890" y="659022"/>
                  <a:pt x="95953" y="659022"/>
                  <a:pt x="98077" y="659022"/>
                </a:cubicBezTo>
                <a:cubicBezTo>
                  <a:pt x="98077" y="659952"/>
                  <a:pt x="98077" y="660882"/>
                  <a:pt x="98077" y="661841"/>
                </a:cubicBezTo>
                <a:cubicBezTo>
                  <a:pt x="108735" y="662045"/>
                  <a:pt x="114063" y="662148"/>
                  <a:pt x="119023" y="661357"/>
                </a:cubicBezTo>
                <a:lnTo>
                  <a:pt x="119536" y="661197"/>
                </a:lnTo>
                <a:lnTo>
                  <a:pt x="109853" y="661639"/>
                </a:lnTo>
                <a:cubicBezTo>
                  <a:pt x="108764" y="661632"/>
                  <a:pt x="107675" y="661626"/>
                  <a:pt x="106552" y="661619"/>
                </a:cubicBezTo>
                <a:cubicBezTo>
                  <a:pt x="103877" y="661603"/>
                  <a:pt x="101203" y="661577"/>
                  <a:pt x="98528" y="661550"/>
                </a:cubicBezTo>
                <a:cubicBezTo>
                  <a:pt x="98528" y="660620"/>
                  <a:pt x="98528" y="659691"/>
                  <a:pt x="98528" y="658732"/>
                </a:cubicBezTo>
                <a:cubicBezTo>
                  <a:pt x="95435" y="658267"/>
                  <a:pt x="92342" y="657802"/>
                  <a:pt x="89155" y="657323"/>
                </a:cubicBezTo>
                <a:cubicBezTo>
                  <a:pt x="89155" y="656393"/>
                  <a:pt x="89155" y="655462"/>
                  <a:pt x="89155" y="654504"/>
                </a:cubicBezTo>
                <a:cubicBezTo>
                  <a:pt x="87790" y="653978"/>
                  <a:pt x="87790" y="653978"/>
                  <a:pt x="86397" y="653442"/>
                </a:cubicBezTo>
                <a:cubicBezTo>
                  <a:pt x="82415" y="651438"/>
                  <a:pt x="80039" y="649232"/>
                  <a:pt x="77049" y="646137"/>
                </a:cubicBezTo>
                <a:cubicBezTo>
                  <a:pt x="75611" y="644679"/>
                  <a:pt x="75611" y="644679"/>
                  <a:pt x="74145" y="643192"/>
                </a:cubicBezTo>
                <a:cubicBezTo>
                  <a:pt x="71972" y="640412"/>
                  <a:pt x="71972" y="640412"/>
                  <a:pt x="71972" y="636185"/>
                </a:cubicBezTo>
                <a:cubicBezTo>
                  <a:pt x="70941" y="636185"/>
                  <a:pt x="69910" y="636185"/>
                  <a:pt x="68848" y="636185"/>
                </a:cubicBezTo>
                <a:cubicBezTo>
                  <a:pt x="64250" y="621928"/>
                  <a:pt x="64695" y="609404"/>
                  <a:pt x="70410" y="595317"/>
                </a:cubicBezTo>
                <a:cubicBezTo>
                  <a:pt x="73096" y="591142"/>
                  <a:pt x="76144" y="587574"/>
                  <a:pt x="79782" y="584043"/>
                </a:cubicBezTo>
                <a:cubicBezTo>
                  <a:pt x="81205" y="582594"/>
                  <a:pt x="81205" y="582594"/>
                  <a:pt x="82656" y="581115"/>
                </a:cubicBezTo>
                <a:cubicBezTo>
                  <a:pt x="91488" y="574027"/>
                  <a:pt x="105133" y="571806"/>
                  <a:pt x="116694" y="572323"/>
                </a:cubicBezTo>
                <a:cubicBezTo>
                  <a:pt x="131556" y="574113"/>
                  <a:pt x="142046" y="580551"/>
                  <a:pt x="152031" y="590385"/>
                </a:cubicBezTo>
                <a:cubicBezTo>
                  <a:pt x="162272" y="600009"/>
                  <a:pt x="176992" y="605062"/>
                  <a:pt x="191474" y="605886"/>
                </a:cubicBezTo>
                <a:cubicBezTo>
                  <a:pt x="196845" y="606192"/>
                  <a:pt x="201203" y="606463"/>
                  <a:pt x="206314" y="608000"/>
                </a:cubicBezTo>
                <a:cubicBezTo>
                  <a:pt x="206314" y="608930"/>
                  <a:pt x="206314" y="609860"/>
                  <a:pt x="206314" y="610818"/>
                </a:cubicBezTo>
                <a:cubicBezTo>
                  <a:pt x="215689" y="610902"/>
                  <a:pt x="225058" y="610898"/>
                  <a:pt x="234433" y="610818"/>
                </a:cubicBezTo>
                <a:cubicBezTo>
                  <a:pt x="236112" y="610813"/>
                  <a:pt x="237791" y="610808"/>
                  <a:pt x="239522" y="610802"/>
                </a:cubicBezTo>
                <a:cubicBezTo>
                  <a:pt x="251005" y="610364"/>
                  <a:pt x="259257" y="606564"/>
                  <a:pt x="268799" y="600954"/>
                </a:cubicBezTo>
                <a:cubicBezTo>
                  <a:pt x="269770" y="600416"/>
                  <a:pt x="270740" y="599879"/>
                  <a:pt x="271740" y="599325"/>
                </a:cubicBezTo>
                <a:cubicBezTo>
                  <a:pt x="279452" y="594430"/>
                  <a:pt x="281420" y="587464"/>
                  <a:pt x="284420" y="579816"/>
                </a:cubicBezTo>
                <a:cubicBezTo>
                  <a:pt x="286047" y="576075"/>
                  <a:pt x="287725" y="572353"/>
                  <a:pt x="289399" y="568630"/>
                </a:cubicBezTo>
                <a:cubicBezTo>
                  <a:pt x="294095" y="558121"/>
                  <a:pt x="299004" y="547070"/>
                  <a:pt x="293958" y="535838"/>
                </a:cubicBezTo>
                <a:cubicBezTo>
                  <a:pt x="292436" y="533533"/>
                  <a:pt x="290781" y="531301"/>
                  <a:pt x="289107" y="529084"/>
                </a:cubicBezTo>
                <a:cubicBezTo>
                  <a:pt x="289107" y="528153"/>
                  <a:pt x="289107" y="527223"/>
                  <a:pt x="289107" y="526265"/>
                </a:cubicBezTo>
                <a:cubicBezTo>
                  <a:pt x="287560" y="525800"/>
                  <a:pt x="286014" y="525335"/>
                  <a:pt x="284420" y="524856"/>
                </a:cubicBezTo>
                <a:cubicBezTo>
                  <a:pt x="283905" y="523461"/>
                  <a:pt x="283389" y="522066"/>
                  <a:pt x="282858" y="520628"/>
                </a:cubicBezTo>
                <a:cubicBezTo>
                  <a:pt x="280750" y="518590"/>
                  <a:pt x="280750" y="518590"/>
                  <a:pt x="277977" y="516577"/>
                </a:cubicBezTo>
                <a:cubicBezTo>
                  <a:pt x="273591" y="513232"/>
                  <a:pt x="269227" y="509874"/>
                  <a:pt x="264925" y="506443"/>
                </a:cubicBezTo>
                <a:cubicBezTo>
                  <a:pt x="253596" y="497433"/>
                  <a:pt x="242132" y="488987"/>
                  <a:pt x="229746" y="481170"/>
                </a:cubicBezTo>
                <a:cubicBezTo>
                  <a:pt x="226846" y="479266"/>
                  <a:pt x="223950" y="477358"/>
                  <a:pt x="221057" y="475445"/>
                </a:cubicBezTo>
                <a:cubicBezTo>
                  <a:pt x="218227" y="473594"/>
                  <a:pt x="215396" y="471744"/>
                  <a:pt x="212563" y="469896"/>
                </a:cubicBezTo>
                <a:cubicBezTo>
                  <a:pt x="211351" y="469102"/>
                  <a:pt x="210138" y="468309"/>
                  <a:pt x="208889" y="467491"/>
                </a:cubicBezTo>
                <a:cubicBezTo>
                  <a:pt x="202848" y="463599"/>
                  <a:pt x="196732" y="459888"/>
                  <a:pt x="190406" y="456382"/>
                </a:cubicBezTo>
                <a:cubicBezTo>
                  <a:pt x="189263" y="455748"/>
                  <a:pt x="188119" y="455114"/>
                  <a:pt x="186942" y="454460"/>
                </a:cubicBezTo>
                <a:cubicBezTo>
                  <a:pt x="184648" y="453196"/>
                  <a:pt x="182348" y="451941"/>
                  <a:pt x="180041" y="450696"/>
                </a:cubicBezTo>
                <a:cubicBezTo>
                  <a:pt x="177292" y="449185"/>
                  <a:pt x="174612" y="447571"/>
                  <a:pt x="171948" y="445940"/>
                </a:cubicBezTo>
                <a:cubicBezTo>
                  <a:pt x="171948" y="445009"/>
                  <a:pt x="171948" y="444079"/>
                  <a:pt x="171948" y="443121"/>
                </a:cubicBezTo>
                <a:cubicBezTo>
                  <a:pt x="170804" y="442985"/>
                  <a:pt x="169660" y="442848"/>
                  <a:pt x="168482" y="442708"/>
                </a:cubicBezTo>
                <a:cubicBezTo>
                  <a:pt x="163547" y="441576"/>
                  <a:pt x="161063" y="439897"/>
                  <a:pt x="157107" y="437044"/>
                </a:cubicBezTo>
                <a:cubicBezTo>
                  <a:pt x="149345" y="431895"/>
                  <a:pt x="141843" y="429626"/>
                  <a:pt x="132559" y="427510"/>
                </a:cubicBezTo>
                <a:cubicBezTo>
                  <a:pt x="128067" y="426168"/>
                  <a:pt x="126607" y="425060"/>
                  <a:pt x="123522" y="421983"/>
                </a:cubicBezTo>
                <a:cubicBezTo>
                  <a:pt x="118310" y="419033"/>
                  <a:pt x="114076" y="418794"/>
                  <a:pt x="107986" y="418730"/>
                </a:cubicBezTo>
                <a:cubicBezTo>
                  <a:pt x="106174" y="418694"/>
                  <a:pt x="104362" y="418659"/>
                  <a:pt x="102494" y="418622"/>
                </a:cubicBezTo>
                <a:cubicBezTo>
                  <a:pt x="98715" y="418573"/>
                  <a:pt x="94936" y="418529"/>
                  <a:pt x="91157" y="418490"/>
                </a:cubicBezTo>
                <a:cubicBezTo>
                  <a:pt x="78470" y="418231"/>
                  <a:pt x="65485" y="417940"/>
                  <a:pt x="55277" y="410445"/>
                </a:cubicBezTo>
                <a:cubicBezTo>
                  <a:pt x="54084" y="409137"/>
                  <a:pt x="52893" y="407829"/>
                  <a:pt x="51665" y="406481"/>
                </a:cubicBezTo>
                <a:cubicBezTo>
                  <a:pt x="49752" y="404480"/>
                  <a:pt x="47831" y="402483"/>
                  <a:pt x="45904" y="400492"/>
                </a:cubicBezTo>
                <a:cubicBezTo>
                  <a:pt x="44996" y="399526"/>
                  <a:pt x="44088" y="398559"/>
                  <a:pt x="43152" y="397564"/>
                </a:cubicBezTo>
                <a:cubicBezTo>
                  <a:pt x="40865" y="395062"/>
                  <a:pt x="40865" y="395062"/>
                  <a:pt x="37605" y="393798"/>
                </a:cubicBezTo>
                <a:lnTo>
                  <a:pt x="38995" y="368712"/>
                </a:lnTo>
                <a:lnTo>
                  <a:pt x="38666" y="369724"/>
                </a:lnTo>
                <a:cubicBezTo>
                  <a:pt x="37003" y="374506"/>
                  <a:pt x="36202" y="379113"/>
                  <a:pt x="35542" y="384081"/>
                </a:cubicBezTo>
                <a:cubicBezTo>
                  <a:pt x="30313" y="376119"/>
                  <a:pt x="31188" y="366593"/>
                  <a:pt x="33326" y="357791"/>
                </a:cubicBezTo>
                <a:cubicBezTo>
                  <a:pt x="37176" y="347767"/>
                  <a:pt x="44536" y="340769"/>
                  <a:pt x="52725" y="333349"/>
                </a:cubicBezTo>
                <a:lnTo>
                  <a:pt x="55222" y="334475"/>
                </a:lnTo>
                <a:lnTo>
                  <a:pt x="56222" y="333347"/>
                </a:lnTo>
                <a:lnTo>
                  <a:pt x="55871" y="333347"/>
                </a:lnTo>
                <a:lnTo>
                  <a:pt x="56346" y="333207"/>
                </a:lnTo>
                <a:lnTo>
                  <a:pt x="56351" y="333202"/>
                </a:lnTo>
                <a:lnTo>
                  <a:pt x="56365" y="333202"/>
                </a:lnTo>
                <a:lnTo>
                  <a:pt x="79571" y="326360"/>
                </a:lnTo>
                <a:cubicBezTo>
                  <a:pt x="87782" y="326037"/>
                  <a:pt x="96164" y="327572"/>
                  <a:pt x="104297" y="330529"/>
                </a:cubicBezTo>
                <a:lnTo>
                  <a:pt x="107170" y="334417"/>
                </a:lnTo>
                <a:lnTo>
                  <a:pt x="109366" y="336046"/>
                </a:lnTo>
                <a:lnTo>
                  <a:pt x="109463" y="336020"/>
                </a:lnTo>
                <a:lnTo>
                  <a:pt x="109463" y="336118"/>
                </a:lnTo>
                <a:lnTo>
                  <a:pt x="115226" y="340394"/>
                </a:lnTo>
                <a:lnTo>
                  <a:pt x="114010" y="340120"/>
                </a:lnTo>
                <a:lnTo>
                  <a:pt x="133285" y="357423"/>
                </a:lnTo>
                <a:cubicBezTo>
                  <a:pt x="142471" y="373187"/>
                  <a:pt x="155564" y="382744"/>
                  <a:pt x="173509" y="389571"/>
                </a:cubicBezTo>
                <a:cubicBezTo>
                  <a:pt x="176254" y="390785"/>
                  <a:pt x="178988" y="392017"/>
                  <a:pt x="181711" y="393270"/>
                </a:cubicBezTo>
                <a:cubicBezTo>
                  <a:pt x="182964" y="393833"/>
                  <a:pt x="184216" y="394396"/>
                  <a:pt x="185507" y="394976"/>
                </a:cubicBezTo>
                <a:cubicBezTo>
                  <a:pt x="187897" y="396058"/>
                  <a:pt x="190281" y="397151"/>
                  <a:pt x="192658" y="398257"/>
                </a:cubicBezTo>
                <a:cubicBezTo>
                  <a:pt x="193749" y="398762"/>
                  <a:pt x="194841" y="399267"/>
                  <a:pt x="195966" y="399788"/>
                </a:cubicBezTo>
                <a:cubicBezTo>
                  <a:pt x="196912" y="400231"/>
                  <a:pt x="197858" y="400674"/>
                  <a:pt x="198833" y="401131"/>
                </a:cubicBezTo>
                <a:cubicBezTo>
                  <a:pt x="201808" y="402326"/>
                  <a:pt x="204701" y="403032"/>
                  <a:pt x="207877" y="403663"/>
                </a:cubicBezTo>
                <a:cubicBezTo>
                  <a:pt x="207877" y="404593"/>
                  <a:pt x="207877" y="405523"/>
                  <a:pt x="207877" y="406481"/>
                </a:cubicBezTo>
                <a:cubicBezTo>
                  <a:pt x="221233" y="411377"/>
                  <a:pt x="234752" y="415503"/>
                  <a:pt x="248492" y="419428"/>
                </a:cubicBezTo>
                <a:cubicBezTo>
                  <a:pt x="250298" y="419947"/>
                  <a:pt x="252104" y="420466"/>
                  <a:pt x="253965" y="421000"/>
                </a:cubicBezTo>
                <a:cubicBezTo>
                  <a:pt x="258388" y="422270"/>
                  <a:pt x="262812" y="423537"/>
                  <a:pt x="267237" y="424801"/>
                </a:cubicBezTo>
                <a:lnTo>
                  <a:pt x="267237" y="426451"/>
                </a:lnTo>
                <a:lnTo>
                  <a:pt x="288701" y="429217"/>
                </a:lnTo>
                <a:cubicBezTo>
                  <a:pt x="288701" y="430147"/>
                  <a:pt x="288701" y="431078"/>
                  <a:pt x="288701" y="432036"/>
                </a:cubicBezTo>
                <a:cubicBezTo>
                  <a:pt x="301487" y="433472"/>
                  <a:pt x="314148" y="433662"/>
                  <a:pt x="327010" y="433628"/>
                </a:cubicBezTo>
                <a:cubicBezTo>
                  <a:pt x="330502" y="433621"/>
                  <a:pt x="333994" y="433628"/>
                  <a:pt x="337486" y="433637"/>
                </a:cubicBezTo>
                <a:cubicBezTo>
                  <a:pt x="339734" y="433637"/>
                  <a:pt x="341982" y="433635"/>
                  <a:pt x="344229" y="433632"/>
                </a:cubicBezTo>
                <a:cubicBezTo>
                  <a:pt x="347246" y="433630"/>
                  <a:pt x="347246" y="433630"/>
                  <a:pt x="350323" y="433627"/>
                </a:cubicBezTo>
                <a:cubicBezTo>
                  <a:pt x="355445" y="433459"/>
                  <a:pt x="360220" y="432915"/>
                  <a:pt x="365245" y="432036"/>
                </a:cubicBezTo>
                <a:lnTo>
                  <a:pt x="360797" y="433759"/>
                </a:lnTo>
                <a:lnTo>
                  <a:pt x="365650" y="433257"/>
                </a:lnTo>
                <a:cubicBezTo>
                  <a:pt x="366166" y="431861"/>
                  <a:pt x="366682" y="430466"/>
                  <a:pt x="367213" y="429029"/>
                </a:cubicBezTo>
                <a:cubicBezTo>
                  <a:pt x="369854" y="427628"/>
                  <a:pt x="372501" y="426234"/>
                  <a:pt x="375188" y="424906"/>
                </a:cubicBezTo>
                <a:cubicBezTo>
                  <a:pt x="390245" y="417204"/>
                  <a:pt x="397438" y="403183"/>
                  <a:pt x="404704" y="389571"/>
                </a:cubicBezTo>
                <a:cubicBezTo>
                  <a:pt x="405219" y="389105"/>
                  <a:pt x="405734" y="388641"/>
                  <a:pt x="406265" y="388161"/>
                </a:cubicBezTo>
                <a:cubicBezTo>
                  <a:pt x="406663" y="382152"/>
                  <a:pt x="406555" y="376125"/>
                  <a:pt x="406559" y="370106"/>
                </a:cubicBezTo>
                <a:cubicBezTo>
                  <a:pt x="406578" y="368412"/>
                  <a:pt x="406597" y="366718"/>
                  <a:pt x="406617" y="364973"/>
                </a:cubicBezTo>
                <a:cubicBezTo>
                  <a:pt x="406620" y="363344"/>
                  <a:pt x="406622" y="361715"/>
                  <a:pt x="406626" y="360038"/>
                </a:cubicBezTo>
                <a:cubicBezTo>
                  <a:pt x="406632" y="358541"/>
                  <a:pt x="406638" y="357045"/>
                  <a:pt x="406645" y="355503"/>
                </a:cubicBezTo>
                <a:cubicBezTo>
                  <a:pt x="406264" y="351503"/>
                  <a:pt x="405326" y="349318"/>
                  <a:pt x="403142" y="345885"/>
                </a:cubicBezTo>
                <a:cubicBezTo>
                  <a:pt x="402583" y="343484"/>
                  <a:pt x="402067" y="341075"/>
                  <a:pt x="401579" y="338663"/>
                </a:cubicBezTo>
                <a:cubicBezTo>
                  <a:pt x="399365" y="330323"/>
                  <a:pt x="395538" y="323370"/>
                  <a:pt x="390938" y="315939"/>
                </a:cubicBezTo>
                <a:cubicBezTo>
                  <a:pt x="390290" y="314890"/>
                  <a:pt x="389642" y="313842"/>
                  <a:pt x="388976" y="312762"/>
                </a:cubicBezTo>
                <a:cubicBezTo>
                  <a:pt x="385623" y="307500"/>
                  <a:pt x="382070" y="302607"/>
                  <a:pt x="377934" y="297817"/>
                </a:cubicBezTo>
                <a:cubicBezTo>
                  <a:pt x="373788" y="292978"/>
                  <a:pt x="371423" y="288111"/>
                  <a:pt x="368775" y="282470"/>
                </a:cubicBezTo>
                <a:cubicBezTo>
                  <a:pt x="366035" y="278585"/>
                  <a:pt x="362994" y="274937"/>
                  <a:pt x="359890" y="271284"/>
                </a:cubicBezTo>
                <a:cubicBezTo>
                  <a:pt x="359059" y="270296"/>
                  <a:pt x="358230" y="269307"/>
                  <a:pt x="357374" y="268288"/>
                </a:cubicBezTo>
                <a:cubicBezTo>
                  <a:pt x="351312" y="261177"/>
                  <a:pt x="344882" y="254704"/>
                  <a:pt x="337533" y="248649"/>
                </a:cubicBezTo>
                <a:cubicBezTo>
                  <a:pt x="336767" y="247896"/>
                  <a:pt x="336002" y="247144"/>
                  <a:pt x="335214" y="246369"/>
                </a:cubicBezTo>
                <a:cubicBezTo>
                  <a:pt x="332597" y="243963"/>
                  <a:pt x="332597" y="243963"/>
                  <a:pt x="327085" y="242571"/>
                </a:cubicBezTo>
                <a:cubicBezTo>
                  <a:pt x="309670" y="236923"/>
                  <a:pt x="296614" y="222751"/>
                  <a:pt x="288785" y="207968"/>
                </a:cubicBezTo>
                <a:cubicBezTo>
                  <a:pt x="286673" y="202851"/>
                  <a:pt x="286348" y="197968"/>
                  <a:pt x="286373" y="192544"/>
                </a:cubicBezTo>
                <a:cubicBezTo>
                  <a:pt x="286377" y="191437"/>
                  <a:pt x="286381" y="190330"/>
                  <a:pt x="286385" y="189190"/>
                </a:cubicBezTo>
                <a:cubicBezTo>
                  <a:pt x="286881" y="178340"/>
                  <a:pt x="291581" y="171728"/>
                  <a:pt x="300042" y="164095"/>
                </a:cubicBezTo>
                <a:cubicBezTo>
                  <a:pt x="301386" y="162752"/>
                  <a:pt x="301386" y="162752"/>
                  <a:pt x="302757" y="161381"/>
                </a:cubicBezTo>
                <a:cubicBezTo>
                  <a:pt x="312597" y="152504"/>
                  <a:pt x="325185" y="152675"/>
                  <a:pt x="338411" y="152293"/>
                </a:cubicBezTo>
                <a:cubicBezTo>
                  <a:pt x="350839" y="152463"/>
                  <a:pt x="359094" y="154554"/>
                  <a:pt x="368482" y="161893"/>
                </a:cubicBezTo>
                <a:cubicBezTo>
                  <a:pt x="369609" y="163085"/>
                  <a:pt x="370737" y="164277"/>
                  <a:pt x="371899" y="165505"/>
                </a:cubicBezTo>
                <a:cubicBezTo>
                  <a:pt x="372962" y="166522"/>
                  <a:pt x="374026" y="167539"/>
                  <a:pt x="375121" y="168587"/>
                </a:cubicBezTo>
                <a:cubicBezTo>
                  <a:pt x="381050" y="176351"/>
                  <a:pt x="384520" y="184328"/>
                  <a:pt x="384982" y="193777"/>
                </a:cubicBezTo>
                <a:cubicBezTo>
                  <a:pt x="385464" y="201192"/>
                  <a:pt x="387638" y="207607"/>
                  <a:pt x="390352" y="214563"/>
                </a:cubicBezTo>
                <a:cubicBezTo>
                  <a:pt x="390934" y="216079"/>
                  <a:pt x="390934" y="216079"/>
                  <a:pt x="391529" y="217626"/>
                </a:cubicBezTo>
                <a:cubicBezTo>
                  <a:pt x="394082" y="223926"/>
                  <a:pt x="397412" y="228969"/>
                  <a:pt x="401579" y="234556"/>
                </a:cubicBezTo>
                <a:cubicBezTo>
                  <a:pt x="401579" y="235952"/>
                  <a:pt x="401579" y="237347"/>
                  <a:pt x="401579" y="238784"/>
                </a:cubicBezTo>
                <a:cubicBezTo>
                  <a:pt x="402884" y="239263"/>
                  <a:pt x="402884" y="239263"/>
                  <a:pt x="404215" y="239753"/>
                </a:cubicBezTo>
                <a:cubicBezTo>
                  <a:pt x="410099" y="242765"/>
                  <a:pt x="414395" y="246733"/>
                  <a:pt x="417811" y="251996"/>
                </a:cubicBezTo>
                <a:cubicBezTo>
                  <a:pt x="420462" y="255897"/>
                  <a:pt x="423407" y="258959"/>
                  <a:pt x="426866" y="262300"/>
                </a:cubicBezTo>
                <a:cubicBezTo>
                  <a:pt x="435101" y="270407"/>
                  <a:pt x="442641" y="278936"/>
                  <a:pt x="450097" y="287628"/>
                </a:cubicBezTo>
                <a:cubicBezTo>
                  <a:pt x="453081" y="291117"/>
                  <a:pt x="453081" y="291117"/>
                  <a:pt x="457425" y="293920"/>
                </a:cubicBezTo>
                <a:cubicBezTo>
                  <a:pt x="458585" y="294792"/>
                  <a:pt x="459745" y="295664"/>
                  <a:pt x="460940" y="296562"/>
                </a:cubicBezTo>
                <a:cubicBezTo>
                  <a:pt x="460940" y="297957"/>
                  <a:pt x="460940" y="299352"/>
                  <a:pt x="460940" y="300790"/>
                </a:cubicBezTo>
                <a:cubicBezTo>
                  <a:pt x="465063" y="302782"/>
                  <a:pt x="468862" y="304133"/>
                  <a:pt x="473437" y="305018"/>
                </a:cubicBezTo>
                <a:cubicBezTo>
                  <a:pt x="473437" y="305947"/>
                  <a:pt x="473437" y="306877"/>
                  <a:pt x="473437" y="307836"/>
                </a:cubicBezTo>
                <a:cubicBezTo>
                  <a:pt x="475581" y="308519"/>
                  <a:pt x="477730" y="309193"/>
                  <a:pt x="479881" y="309862"/>
                </a:cubicBezTo>
                <a:cubicBezTo>
                  <a:pt x="481077" y="310237"/>
                  <a:pt x="482273" y="310614"/>
                  <a:pt x="483505" y="311001"/>
                </a:cubicBezTo>
                <a:cubicBezTo>
                  <a:pt x="505448" y="316843"/>
                  <a:pt x="527690" y="314359"/>
                  <a:pt x="548419" y="306427"/>
                </a:cubicBezTo>
                <a:cubicBezTo>
                  <a:pt x="549548" y="305998"/>
                  <a:pt x="550678" y="305569"/>
                  <a:pt x="551842" y="305127"/>
                </a:cubicBezTo>
                <a:cubicBezTo>
                  <a:pt x="555376" y="303227"/>
                  <a:pt x="557584" y="300980"/>
                  <a:pt x="560232" y="298148"/>
                </a:cubicBezTo>
                <a:cubicBezTo>
                  <a:pt x="561137" y="297192"/>
                  <a:pt x="562041" y="296236"/>
                  <a:pt x="562972" y="295252"/>
                </a:cubicBezTo>
                <a:cubicBezTo>
                  <a:pt x="564755" y="293274"/>
                  <a:pt x="566459" y="291237"/>
                  <a:pt x="568086" y="289152"/>
                </a:cubicBezTo>
                <a:cubicBezTo>
                  <a:pt x="568813" y="288342"/>
                  <a:pt x="569539" y="287532"/>
                  <a:pt x="570289" y="286697"/>
                </a:cubicBezTo>
                <a:cubicBezTo>
                  <a:pt x="571319" y="286697"/>
                  <a:pt x="572350" y="286697"/>
                  <a:pt x="573413" y="286697"/>
                </a:cubicBezTo>
                <a:cubicBezTo>
                  <a:pt x="577408" y="276984"/>
                  <a:pt x="577197" y="267284"/>
                  <a:pt x="577220" y="257016"/>
                </a:cubicBezTo>
                <a:cubicBezTo>
                  <a:pt x="577227" y="255625"/>
                  <a:pt x="577227" y="255625"/>
                  <a:pt x="577235" y="254206"/>
                </a:cubicBezTo>
                <a:cubicBezTo>
                  <a:pt x="577257" y="237553"/>
                  <a:pt x="574604" y="222055"/>
                  <a:pt x="569443" y="206049"/>
                </a:cubicBezTo>
                <a:cubicBezTo>
                  <a:pt x="568726" y="203553"/>
                  <a:pt x="568726" y="203553"/>
                  <a:pt x="568726" y="200735"/>
                </a:cubicBezTo>
                <a:cubicBezTo>
                  <a:pt x="567695" y="200735"/>
                  <a:pt x="566664" y="200735"/>
                  <a:pt x="565602" y="200735"/>
                </a:cubicBezTo>
                <a:cubicBezTo>
                  <a:pt x="563274" y="195295"/>
                  <a:pt x="561092" y="190108"/>
                  <a:pt x="559549" y="184441"/>
                </a:cubicBezTo>
                <a:cubicBezTo>
                  <a:pt x="555572" y="173477"/>
                  <a:pt x="547043" y="167105"/>
                  <a:pt x="537484" y="159867"/>
                </a:cubicBezTo>
                <a:cubicBezTo>
                  <a:pt x="533579" y="156609"/>
                  <a:pt x="533579" y="156609"/>
                  <a:pt x="531235" y="154230"/>
                </a:cubicBezTo>
                <a:cubicBezTo>
                  <a:pt x="531235" y="153301"/>
                  <a:pt x="531235" y="152371"/>
                  <a:pt x="531235" y="151412"/>
                </a:cubicBezTo>
                <a:cubicBezTo>
                  <a:pt x="529689" y="150947"/>
                  <a:pt x="528143" y="150482"/>
                  <a:pt x="526549" y="150003"/>
                </a:cubicBezTo>
                <a:cubicBezTo>
                  <a:pt x="519904" y="137298"/>
                  <a:pt x="519105" y="120357"/>
                  <a:pt x="524304" y="107198"/>
                </a:cubicBezTo>
                <a:cubicBezTo>
                  <a:pt x="529443" y="97376"/>
                  <a:pt x="535781" y="90193"/>
                  <a:pt x="547052" y="85972"/>
                </a:cubicBezTo>
                <a:cubicBezTo>
                  <a:pt x="559924" y="81835"/>
                  <a:pt x="575221" y="79746"/>
                  <a:pt x="588460" y="83538"/>
                </a:cubicBezTo>
                <a:cubicBezTo>
                  <a:pt x="601643" y="89713"/>
                  <a:pt x="611835" y="99450"/>
                  <a:pt x="617152" y="111954"/>
                </a:cubicBezTo>
                <a:cubicBezTo>
                  <a:pt x="617935" y="116052"/>
                  <a:pt x="617954" y="120024"/>
                  <a:pt x="617884" y="124175"/>
                </a:cubicBezTo>
                <a:cubicBezTo>
                  <a:pt x="617896" y="125307"/>
                  <a:pt x="617906" y="126440"/>
                  <a:pt x="617917" y="127607"/>
                </a:cubicBezTo>
                <a:cubicBezTo>
                  <a:pt x="617963" y="132394"/>
                  <a:pt x="617938" y="137181"/>
                  <a:pt x="617919" y="141969"/>
                </a:cubicBezTo>
                <a:cubicBezTo>
                  <a:pt x="617899" y="160184"/>
                  <a:pt x="619422" y="175572"/>
                  <a:pt x="630625" y="191311"/>
                </a:cubicBezTo>
                <a:cubicBezTo>
                  <a:pt x="633753" y="195891"/>
                  <a:pt x="636431" y="199900"/>
                  <a:pt x="637850" y="205139"/>
                </a:cubicBezTo>
                <a:cubicBezTo>
                  <a:pt x="638615" y="209623"/>
                  <a:pt x="638615" y="209623"/>
                  <a:pt x="643708" y="212009"/>
                </a:cubicBezTo>
                <a:cubicBezTo>
                  <a:pt x="645380" y="214563"/>
                  <a:pt x="645380" y="214563"/>
                  <a:pt x="647027" y="217645"/>
                </a:cubicBezTo>
                <a:cubicBezTo>
                  <a:pt x="652549" y="227016"/>
                  <a:pt x="660443" y="235696"/>
                  <a:pt x="670264" y="241603"/>
                </a:cubicBezTo>
                <a:cubicBezTo>
                  <a:pt x="670264" y="242532"/>
                  <a:pt x="670264" y="243462"/>
                  <a:pt x="670264" y="244421"/>
                </a:cubicBezTo>
                <a:cubicBezTo>
                  <a:pt x="672036" y="244857"/>
                  <a:pt x="673808" y="245293"/>
                  <a:pt x="675634" y="245742"/>
                </a:cubicBezTo>
                <a:cubicBezTo>
                  <a:pt x="681199" y="247239"/>
                  <a:pt x="681199" y="247239"/>
                  <a:pt x="682761" y="248649"/>
                </a:cubicBezTo>
                <a:cubicBezTo>
                  <a:pt x="704487" y="252065"/>
                  <a:pt x="732606" y="256402"/>
                  <a:pt x="752092" y="245076"/>
                </a:cubicBezTo>
                <a:cubicBezTo>
                  <a:pt x="754252" y="243599"/>
                  <a:pt x="756372" y="242073"/>
                  <a:pt x="758433" y="240485"/>
                </a:cubicBezTo>
                <a:cubicBezTo>
                  <a:pt x="760867" y="238784"/>
                  <a:pt x="760867" y="238784"/>
                  <a:pt x="763991" y="238784"/>
                </a:cubicBezTo>
                <a:cubicBezTo>
                  <a:pt x="764647" y="237296"/>
                  <a:pt x="764647" y="237296"/>
                  <a:pt x="765315" y="235778"/>
                </a:cubicBezTo>
                <a:cubicBezTo>
                  <a:pt x="767151" y="231659"/>
                  <a:pt x="769030" y="227557"/>
                  <a:pt x="770923" y="223459"/>
                </a:cubicBezTo>
                <a:cubicBezTo>
                  <a:pt x="771608" y="221966"/>
                  <a:pt x="772292" y="220472"/>
                  <a:pt x="772998" y="218934"/>
                </a:cubicBezTo>
                <a:cubicBezTo>
                  <a:pt x="774429" y="215885"/>
                  <a:pt x="775968" y="212878"/>
                  <a:pt x="777562" y="209895"/>
                </a:cubicBezTo>
                <a:cubicBezTo>
                  <a:pt x="787607" y="185732"/>
                  <a:pt x="788559" y="149501"/>
                  <a:pt x="781175" y="124637"/>
                </a:cubicBezTo>
                <a:cubicBezTo>
                  <a:pt x="780144" y="124637"/>
                  <a:pt x="779113" y="124637"/>
                  <a:pt x="778051" y="124637"/>
                </a:cubicBezTo>
                <a:cubicBezTo>
                  <a:pt x="768501" y="110080"/>
                  <a:pt x="762898" y="96653"/>
                  <a:pt x="767116" y="79542"/>
                </a:cubicBezTo>
                <a:cubicBezTo>
                  <a:pt x="772286" y="69057"/>
                  <a:pt x="781456" y="58252"/>
                  <a:pt x="793379" y="54000"/>
                </a:cubicBezTo>
                <a:cubicBezTo>
                  <a:pt x="808369" y="49250"/>
                  <a:pt x="826058" y="49579"/>
                  <a:pt x="840688" y="55503"/>
                </a:cubicBezTo>
                <a:cubicBezTo>
                  <a:pt x="845183" y="57759"/>
                  <a:pt x="848037" y="60575"/>
                  <a:pt x="851470" y="64040"/>
                </a:cubicBezTo>
                <a:cubicBezTo>
                  <a:pt x="852721" y="65272"/>
                  <a:pt x="852721" y="65272"/>
                  <a:pt x="853997" y="66529"/>
                </a:cubicBezTo>
                <a:cubicBezTo>
                  <a:pt x="858396" y="71505"/>
                  <a:pt x="860490" y="76640"/>
                  <a:pt x="861488" y="82057"/>
                </a:cubicBezTo>
                <a:lnTo>
                  <a:pt x="861937" y="90492"/>
                </a:lnTo>
                <a:lnTo>
                  <a:pt x="863826" y="100715"/>
                </a:lnTo>
                <a:cubicBezTo>
                  <a:pt x="862141" y="107853"/>
                  <a:pt x="859866" y="114857"/>
                  <a:pt x="857577" y="121853"/>
                </a:cubicBezTo>
                <a:cubicBezTo>
                  <a:pt x="857062" y="121853"/>
                  <a:pt x="856547" y="121853"/>
                  <a:pt x="856015" y="121853"/>
                </a:cubicBezTo>
                <a:cubicBezTo>
                  <a:pt x="855731" y="120401"/>
                  <a:pt x="855731" y="120401"/>
                  <a:pt x="855442" y="118919"/>
                </a:cubicBezTo>
                <a:lnTo>
                  <a:pt x="855417" y="118798"/>
                </a:lnTo>
                <a:lnTo>
                  <a:pt x="856157" y="124637"/>
                </a:lnTo>
                <a:lnTo>
                  <a:pt x="850623" y="134701"/>
                </a:lnTo>
                <a:lnTo>
                  <a:pt x="851325" y="135968"/>
                </a:lnTo>
                <a:cubicBezTo>
                  <a:pt x="850851" y="137246"/>
                  <a:pt x="850376" y="138525"/>
                  <a:pt x="849886" y="139843"/>
                </a:cubicBezTo>
                <a:cubicBezTo>
                  <a:pt x="848171" y="144505"/>
                  <a:pt x="847798" y="148002"/>
                  <a:pt x="847786" y="152889"/>
                </a:cubicBezTo>
                <a:cubicBezTo>
                  <a:pt x="847779" y="154500"/>
                  <a:pt x="847773" y="156109"/>
                  <a:pt x="847767" y="157768"/>
                </a:cubicBezTo>
                <a:cubicBezTo>
                  <a:pt x="847782" y="159468"/>
                  <a:pt x="847796" y="161167"/>
                  <a:pt x="847810" y="162919"/>
                </a:cubicBezTo>
                <a:cubicBezTo>
                  <a:pt x="847821" y="165546"/>
                  <a:pt x="847821" y="165546"/>
                  <a:pt x="847832" y="168227"/>
                </a:cubicBezTo>
                <a:cubicBezTo>
                  <a:pt x="847980" y="181934"/>
                  <a:pt x="849003" y="195419"/>
                  <a:pt x="850903" y="209013"/>
                </a:cubicBezTo>
                <a:lnTo>
                  <a:pt x="852880" y="224692"/>
                </a:lnTo>
                <a:lnTo>
                  <a:pt x="854595" y="224692"/>
                </a:lnTo>
                <a:cubicBezTo>
                  <a:pt x="855086" y="225542"/>
                  <a:pt x="855577" y="226392"/>
                  <a:pt x="856083" y="227268"/>
                </a:cubicBezTo>
                <a:cubicBezTo>
                  <a:pt x="862358" y="237839"/>
                  <a:pt x="866924" y="242785"/>
                  <a:pt x="879588" y="247239"/>
                </a:cubicBezTo>
                <a:cubicBezTo>
                  <a:pt x="881642" y="248025"/>
                  <a:pt x="883692" y="248817"/>
                  <a:pt x="885739" y="249618"/>
                </a:cubicBezTo>
                <a:cubicBezTo>
                  <a:pt x="887318" y="250227"/>
                  <a:pt x="888897" y="250838"/>
                  <a:pt x="890523" y="251467"/>
                </a:cubicBezTo>
                <a:cubicBezTo>
                  <a:pt x="890523" y="252397"/>
                  <a:pt x="890523" y="253327"/>
                  <a:pt x="890523" y="254285"/>
                </a:cubicBezTo>
                <a:cubicBezTo>
                  <a:pt x="900347" y="257061"/>
                  <a:pt x="910127" y="259425"/>
                  <a:pt x="920203" y="261332"/>
                </a:cubicBezTo>
                <a:cubicBezTo>
                  <a:pt x="920203" y="261796"/>
                  <a:pt x="920203" y="262262"/>
                  <a:pt x="920203" y="262741"/>
                </a:cubicBezTo>
                <a:cubicBezTo>
                  <a:pt x="917111" y="262741"/>
                  <a:pt x="914018" y="262741"/>
                  <a:pt x="910831" y="262741"/>
                </a:cubicBezTo>
                <a:lnTo>
                  <a:pt x="910831" y="262864"/>
                </a:lnTo>
                <a:lnTo>
                  <a:pt x="927993" y="264177"/>
                </a:lnTo>
                <a:lnTo>
                  <a:pt x="939273" y="265285"/>
                </a:lnTo>
                <a:lnTo>
                  <a:pt x="940456" y="265191"/>
                </a:lnTo>
                <a:cubicBezTo>
                  <a:pt x="962552" y="263054"/>
                  <a:pt x="974979" y="255295"/>
                  <a:pt x="991622" y="242329"/>
                </a:cubicBezTo>
                <a:lnTo>
                  <a:pt x="1000803" y="236505"/>
                </a:lnTo>
                <a:lnTo>
                  <a:pt x="999806" y="236055"/>
                </a:lnTo>
                <a:cubicBezTo>
                  <a:pt x="1000902" y="234997"/>
                  <a:pt x="1001997" y="233941"/>
                  <a:pt x="1003126" y="232851"/>
                </a:cubicBezTo>
                <a:cubicBezTo>
                  <a:pt x="1012364" y="223880"/>
                  <a:pt x="1021184" y="214752"/>
                  <a:pt x="1029487" y="205052"/>
                </a:cubicBezTo>
                <a:lnTo>
                  <a:pt x="1029872" y="206442"/>
                </a:lnTo>
                <a:lnTo>
                  <a:pt x="1031614" y="203719"/>
                </a:lnTo>
                <a:cubicBezTo>
                  <a:pt x="1033221" y="199204"/>
                  <a:pt x="1035713" y="196017"/>
                  <a:pt x="1038924" y="192280"/>
                </a:cubicBezTo>
                <a:cubicBezTo>
                  <a:pt x="1039956" y="191815"/>
                  <a:pt x="1040987" y="191349"/>
                  <a:pt x="1042049" y="190870"/>
                </a:cubicBezTo>
                <a:cubicBezTo>
                  <a:pt x="1043161" y="188473"/>
                  <a:pt x="1043161" y="188473"/>
                  <a:pt x="1044294" y="186026"/>
                </a:cubicBezTo>
                <a:cubicBezTo>
                  <a:pt x="1046735" y="181006"/>
                  <a:pt x="1046735" y="181006"/>
                  <a:pt x="1051422" y="178188"/>
                </a:cubicBezTo>
                <a:cubicBezTo>
                  <a:pt x="1052553" y="175286"/>
                  <a:pt x="1052553" y="175286"/>
                  <a:pt x="1052984" y="172551"/>
                </a:cubicBezTo>
                <a:cubicBezTo>
                  <a:pt x="1054014" y="172551"/>
                  <a:pt x="1055046" y="172551"/>
                  <a:pt x="1056108" y="172551"/>
                </a:cubicBezTo>
                <a:cubicBezTo>
                  <a:pt x="1057139" y="169295"/>
                  <a:pt x="1058170" y="166040"/>
                  <a:pt x="1059232" y="162686"/>
                </a:cubicBezTo>
                <a:cubicBezTo>
                  <a:pt x="1060263" y="162686"/>
                  <a:pt x="1061295" y="162686"/>
                  <a:pt x="1062357" y="162686"/>
                </a:cubicBezTo>
                <a:cubicBezTo>
                  <a:pt x="1062755" y="161484"/>
                  <a:pt x="1062755" y="161484"/>
                  <a:pt x="1063162" y="160258"/>
                </a:cubicBezTo>
                <a:cubicBezTo>
                  <a:pt x="1065716" y="152917"/>
                  <a:pt x="1068813" y="146686"/>
                  <a:pt x="1073292" y="140138"/>
                </a:cubicBezTo>
                <a:cubicBezTo>
                  <a:pt x="1074322" y="140138"/>
                  <a:pt x="1075353" y="140138"/>
                  <a:pt x="1076415" y="140138"/>
                </a:cubicBezTo>
                <a:cubicBezTo>
                  <a:pt x="1079808" y="132748"/>
                  <a:pt x="1082509" y="125160"/>
                  <a:pt x="1085294" y="117569"/>
                </a:cubicBezTo>
                <a:cubicBezTo>
                  <a:pt x="1085972" y="116181"/>
                  <a:pt x="1086651" y="114793"/>
                  <a:pt x="1087350" y="113363"/>
                </a:cubicBezTo>
                <a:cubicBezTo>
                  <a:pt x="1089671" y="112666"/>
                  <a:pt x="1089671" y="112666"/>
                  <a:pt x="1092037" y="111954"/>
                </a:cubicBezTo>
                <a:cubicBezTo>
                  <a:pt x="1092230" y="110879"/>
                  <a:pt x="1092423" y="109803"/>
                  <a:pt x="1092623" y="108695"/>
                </a:cubicBezTo>
                <a:cubicBezTo>
                  <a:pt x="1093599" y="104908"/>
                  <a:pt x="1093599" y="104908"/>
                  <a:pt x="1096723" y="100680"/>
                </a:cubicBezTo>
                <a:cubicBezTo>
                  <a:pt x="1097207" y="99140"/>
                  <a:pt x="1097689" y="97599"/>
                  <a:pt x="1098188" y="96013"/>
                </a:cubicBezTo>
                <a:cubicBezTo>
                  <a:pt x="1099847" y="90815"/>
                  <a:pt x="1099847" y="90815"/>
                  <a:pt x="1102288" y="87029"/>
                </a:cubicBezTo>
                <a:cubicBezTo>
                  <a:pt x="1106061" y="79186"/>
                  <a:pt x="1107564" y="69424"/>
                  <a:pt x="1104534" y="61222"/>
                </a:cubicBezTo>
                <a:cubicBezTo>
                  <a:pt x="1104409" y="59341"/>
                  <a:pt x="1104366" y="57454"/>
                  <a:pt x="1104381" y="55569"/>
                </a:cubicBezTo>
                <a:cubicBezTo>
                  <a:pt x="1104386" y="54501"/>
                  <a:pt x="1104391" y="53434"/>
                  <a:pt x="1104397" y="52335"/>
                </a:cubicBezTo>
                <a:cubicBezTo>
                  <a:pt x="1104410" y="51228"/>
                  <a:pt x="1104423" y="50120"/>
                  <a:pt x="1104436" y="48979"/>
                </a:cubicBezTo>
                <a:cubicBezTo>
                  <a:pt x="1104443" y="47856"/>
                  <a:pt x="1104451" y="46733"/>
                  <a:pt x="1104457" y="45575"/>
                </a:cubicBezTo>
                <a:cubicBezTo>
                  <a:pt x="1104476" y="42805"/>
                  <a:pt x="1104504" y="40035"/>
                  <a:pt x="1104534" y="37265"/>
                </a:cubicBezTo>
                <a:cubicBezTo>
                  <a:pt x="1105565" y="37265"/>
                  <a:pt x="1106596" y="37265"/>
                  <a:pt x="1107658" y="37265"/>
                </a:cubicBezTo>
                <a:cubicBezTo>
                  <a:pt x="1107561" y="34562"/>
                  <a:pt x="1107561" y="34562"/>
                  <a:pt x="1107463" y="31805"/>
                </a:cubicBezTo>
                <a:cubicBezTo>
                  <a:pt x="1107353" y="28733"/>
                  <a:pt x="1107353" y="28733"/>
                  <a:pt x="1107658" y="25991"/>
                </a:cubicBezTo>
                <a:cubicBezTo>
                  <a:pt x="1108689" y="25062"/>
                  <a:pt x="1109720" y="24131"/>
                  <a:pt x="1110782" y="23173"/>
                </a:cubicBezTo>
                <a:cubicBezTo>
                  <a:pt x="1111104" y="22156"/>
                  <a:pt x="1111427" y="21138"/>
                  <a:pt x="1111759" y="20091"/>
                </a:cubicBezTo>
                <a:cubicBezTo>
                  <a:pt x="1116393" y="11539"/>
                  <a:pt x="1124927" y="6390"/>
                  <a:pt x="1134507" y="2828"/>
                </a:cubicBezTo>
                <a:cubicBezTo>
                  <a:pt x="1141389" y="825"/>
                  <a:pt x="1148262" y="-204"/>
                  <a:pt x="1155019" y="35"/>
                </a:cubicBezTo>
                <a:close/>
              </a:path>
            </a:pathLst>
          </a:custGeom>
          <a:solidFill>
            <a:schemeClr val="accent3"/>
          </a:solidFill>
          <a:ln w="2232" cap="flat">
            <a:noFill/>
            <a:prstDash val="solid"/>
            <a:miter/>
          </a:ln>
          <a:effectLst>
            <a:innerShdw blurRad="63500" dist="190500" dir="8100000">
              <a:schemeClr val="accent3">
                <a:lumMod val="75000"/>
                <a:alpha val="50000"/>
              </a:schemeClr>
            </a:innerShdw>
          </a:effectLst>
        </p:spPr>
        <p:txBody>
          <a:bodyPr wrap="squar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5" name="Oval 344">
            <a:extLst>
              <a:ext uri="{FF2B5EF4-FFF2-40B4-BE49-F238E27FC236}">
                <a16:creationId xmlns:a16="http://schemas.microsoft.com/office/drawing/2014/main" id="{55A6F0A8-2F7D-2D38-B3B8-FCCBE9CD2951}"/>
              </a:ext>
            </a:extLst>
          </p:cNvPr>
          <p:cNvSpPr/>
          <p:nvPr/>
        </p:nvSpPr>
        <p:spPr>
          <a:xfrm>
            <a:off x="9067296" y="3910621"/>
            <a:ext cx="722134" cy="162382"/>
          </a:xfrm>
          <a:prstGeom prst="ellipse">
            <a:avLst/>
          </a:prstGeom>
          <a:solidFill>
            <a:schemeClr val="tx1">
              <a:alpha val="5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6" name="Free-form: Shape 345">
            <a:extLst>
              <a:ext uri="{FF2B5EF4-FFF2-40B4-BE49-F238E27FC236}">
                <a16:creationId xmlns:a16="http://schemas.microsoft.com/office/drawing/2014/main" id="{DFF4BCB5-99F0-1853-6CE2-89B6190E4BE5}"/>
              </a:ext>
            </a:extLst>
          </p:cNvPr>
          <p:cNvSpPr/>
          <p:nvPr/>
        </p:nvSpPr>
        <p:spPr>
          <a:xfrm>
            <a:off x="8972719" y="3088613"/>
            <a:ext cx="968436" cy="925784"/>
          </a:xfrm>
          <a:custGeom>
            <a:avLst/>
            <a:gdLst>
              <a:gd name="csX0" fmla="*/ 401579 w 1609516"/>
              <a:gd name="csY0" fmla="*/ 1495809 h 1538630"/>
              <a:gd name="csX1" fmla="*/ 400190 w 1609516"/>
              <a:gd name="csY1" fmla="*/ 1496004 h 1538630"/>
              <a:gd name="csX2" fmla="*/ 401224 w 1609516"/>
              <a:gd name="csY2" fmla="*/ 1496470 h 1538630"/>
              <a:gd name="csX3" fmla="*/ 401224 w 1609516"/>
              <a:gd name="csY3" fmla="*/ 1498590 h 1538630"/>
              <a:gd name="csX4" fmla="*/ 401579 w 1609516"/>
              <a:gd name="csY4" fmla="*/ 1498628 h 1538630"/>
              <a:gd name="csX5" fmla="*/ 401579 w 1609516"/>
              <a:gd name="csY5" fmla="*/ 1495809 h 1538630"/>
              <a:gd name="csX6" fmla="*/ 368755 w 1609516"/>
              <a:gd name="csY6" fmla="*/ 1486512 h 1538630"/>
              <a:gd name="csX7" fmla="*/ 364089 w 1609516"/>
              <a:gd name="csY7" fmla="*/ 1487354 h 1538630"/>
              <a:gd name="csX8" fmla="*/ 364089 w 1609516"/>
              <a:gd name="csY8" fmla="*/ 1487908 h 1538630"/>
              <a:gd name="csX9" fmla="*/ 1049801 w 1609516"/>
              <a:gd name="csY9" fmla="*/ 1484562 h 1538630"/>
              <a:gd name="csX10" fmla="*/ 1046735 w 1609516"/>
              <a:gd name="csY10" fmla="*/ 1485945 h 1538630"/>
              <a:gd name="csX11" fmla="*/ 1046955 w 1609516"/>
              <a:gd name="csY11" fmla="*/ 1486045 h 1538630"/>
              <a:gd name="csX12" fmla="*/ 1049801 w 1609516"/>
              <a:gd name="csY12" fmla="*/ 1485188 h 1538630"/>
              <a:gd name="csX13" fmla="*/ 351234 w 1609516"/>
              <a:gd name="csY13" fmla="*/ 1444508 h 1538630"/>
              <a:gd name="csX14" fmla="*/ 351234 w 1609516"/>
              <a:gd name="csY14" fmla="*/ 1444997 h 1538630"/>
              <a:gd name="csX15" fmla="*/ 351592 w 1609516"/>
              <a:gd name="csY15" fmla="*/ 1445078 h 1538630"/>
              <a:gd name="csX16" fmla="*/ 351908 w 1609516"/>
              <a:gd name="csY16" fmla="*/ 1431206 h 1538630"/>
              <a:gd name="csX17" fmla="*/ 351234 w 1609516"/>
              <a:gd name="csY17" fmla="*/ 1431611 h 1538630"/>
              <a:gd name="csX18" fmla="*/ 351234 w 1609516"/>
              <a:gd name="csY18" fmla="*/ 1432274 h 1538630"/>
              <a:gd name="csX19" fmla="*/ 358162 w 1609516"/>
              <a:gd name="csY19" fmla="*/ 1421494 h 1538630"/>
              <a:gd name="csX20" fmla="*/ 355921 w 1609516"/>
              <a:gd name="csY20" fmla="*/ 1423156 h 1538630"/>
              <a:gd name="csX21" fmla="*/ 355921 w 1609516"/>
              <a:gd name="csY21" fmla="*/ 1423548 h 1538630"/>
              <a:gd name="csX22" fmla="*/ 376098 w 1609516"/>
              <a:gd name="csY22" fmla="*/ 1408347 h 1538630"/>
              <a:gd name="csX23" fmla="*/ 370750 w 1609516"/>
              <a:gd name="csY23" fmla="*/ 1412245 h 1538630"/>
              <a:gd name="csX24" fmla="*/ 375023 w 1609516"/>
              <a:gd name="csY24" fmla="*/ 1411256 h 1538630"/>
              <a:gd name="csX25" fmla="*/ 421956 w 1609516"/>
              <a:gd name="csY25" fmla="*/ 1365623 h 1538630"/>
              <a:gd name="csX26" fmla="*/ 421765 w 1609516"/>
              <a:gd name="csY26" fmla="*/ 1366161 h 1538630"/>
              <a:gd name="csX27" fmla="*/ 421887 w 1609516"/>
              <a:gd name="csY27" fmla="*/ 1366161 h 1538630"/>
              <a:gd name="csX28" fmla="*/ 754553 w 1609516"/>
              <a:gd name="csY28" fmla="*/ 1360575 h 1538630"/>
              <a:gd name="csX29" fmla="*/ 754089 w 1609516"/>
              <a:gd name="csY29" fmla="*/ 1361433 h 1538630"/>
              <a:gd name="csX30" fmla="*/ 754431 w 1609516"/>
              <a:gd name="csY30" fmla="*/ 1361125 h 1538630"/>
              <a:gd name="csX31" fmla="*/ 1277973 w 1609516"/>
              <a:gd name="csY31" fmla="*/ 1332923 h 1538630"/>
              <a:gd name="csX32" fmla="*/ 1277944 w 1609516"/>
              <a:gd name="csY32" fmla="*/ 1332936 h 1538630"/>
              <a:gd name="csX33" fmla="*/ 1277949 w 1609516"/>
              <a:gd name="csY33" fmla="*/ 1333139 h 1538630"/>
              <a:gd name="csX34" fmla="*/ 1268556 w 1609516"/>
              <a:gd name="csY34" fmla="*/ 1321066 h 1538630"/>
              <a:gd name="csX35" fmla="*/ 1268556 w 1609516"/>
              <a:gd name="csY35" fmla="*/ 1325294 h 1538630"/>
              <a:gd name="csX36" fmla="*/ 1265432 w 1609516"/>
              <a:gd name="csY36" fmla="*/ 1325294 h 1538630"/>
              <a:gd name="csX37" fmla="*/ 1265432 w 1609516"/>
              <a:gd name="csY37" fmla="*/ 1340795 h 1538630"/>
              <a:gd name="csX38" fmla="*/ 1265476 w 1609516"/>
              <a:gd name="csY38" fmla="*/ 1340714 h 1538630"/>
              <a:gd name="csX39" fmla="*/ 1265476 w 1609516"/>
              <a:gd name="csY39" fmla="*/ 1325877 h 1538630"/>
              <a:gd name="csX40" fmla="*/ 1268600 w 1609516"/>
              <a:gd name="csY40" fmla="*/ 1325877 h 1538630"/>
              <a:gd name="csX41" fmla="*/ 1268600 w 1609516"/>
              <a:gd name="csY41" fmla="*/ 1321649 h 1538630"/>
              <a:gd name="csX42" fmla="*/ 1273286 w 1609516"/>
              <a:gd name="csY42" fmla="*/ 1321649 h 1538630"/>
              <a:gd name="csX43" fmla="*/ 1273227 w 1609516"/>
              <a:gd name="csY43" fmla="*/ 1321066 h 1538630"/>
              <a:gd name="csX44" fmla="*/ 827891 w 1609516"/>
              <a:gd name="csY44" fmla="*/ 1291474 h 1538630"/>
              <a:gd name="csX45" fmla="*/ 822601 w 1609516"/>
              <a:gd name="csY45" fmla="*/ 1291544 h 1538630"/>
              <a:gd name="csX46" fmla="*/ 818272 w 1609516"/>
              <a:gd name="csY46" fmla="*/ 1292220 h 1538630"/>
              <a:gd name="csX47" fmla="*/ 827891 w 1609516"/>
              <a:gd name="csY47" fmla="*/ 1292047 h 1538630"/>
              <a:gd name="csX48" fmla="*/ 856397 w 1609516"/>
              <a:gd name="csY48" fmla="*/ 1288691 h 1538630"/>
              <a:gd name="csX49" fmla="*/ 865903 w 1609516"/>
              <a:gd name="csY49" fmla="*/ 1290590 h 1538630"/>
              <a:gd name="csX50" fmla="*/ 859999 w 1609516"/>
              <a:gd name="csY50" fmla="*/ 1288752 h 1538630"/>
              <a:gd name="csX51" fmla="*/ 834694 w 1609516"/>
              <a:gd name="csY51" fmla="*/ 1288572 h 1538630"/>
              <a:gd name="csX52" fmla="*/ 828038 w 1609516"/>
              <a:gd name="csY52" fmla="*/ 1288654 h 1538630"/>
              <a:gd name="csX53" fmla="*/ 828038 w 1609516"/>
              <a:gd name="csY53" fmla="*/ 1289214 h 1538630"/>
              <a:gd name="csX54" fmla="*/ 229746 w 1609516"/>
              <a:gd name="csY54" fmla="*/ 1191418 h 1538630"/>
              <a:gd name="csX55" fmla="*/ 227402 w 1609516"/>
              <a:gd name="csY55" fmla="*/ 1191947 h 1538630"/>
              <a:gd name="csX56" fmla="*/ 229315 w 1609516"/>
              <a:gd name="csY56" fmla="*/ 1191947 h 1538630"/>
              <a:gd name="csX57" fmla="*/ 229315 w 1609516"/>
              <a:gd name="csY57" fmla="*/ 1194765 h 1538630"/>
              <a:gd name="csX58" fmla="*/ 231321 w 1609516"/>
              <a:gd name="csY58" fmla="*/ 1194765 h 1538630"/>
              <a:gd name="csX59" fmla="*/ 229746 w 1609516"/>
              <a:gd name="csY59" fmla="*/ 1194236 h 1538630"/>
              <a:gd name="csX60" fmla="*/ 229746 w 1609516"/>
              <a:gd name="csY60" fmla="*/ 1191418 h 1538630"/>
              <a:gd name="csX61" fmla="*/ 215687 w 1609516"/>
              <a:gd name="csY61" fmla="*/ 1187190 h 1538630"/>
              <a:gd name="csX62" fmla="*/ 215198 w 1609516"/>
              <a:gd name="csY62" fmla="*/ 1187720 h 1538630"/>
              <a:gd name="csX63" fmla="*/ 215256 w 1609516"/>
              <a:gd name="csY63" fmla="*/ 1187720 h 1538630"/>
              <a:gd name="csX64" fmla="*/ 215256 w 1609516"/>
              <a:gd name="csY64" fmla="*/ 1191947 h 1538630"/>
              <a:gd name="csX65" fmla="*/ 222721 w 1609516"/>
              <a:gd name="csY65" fmla="*/ 1191947 h 1538630"/>
              <a:gd name="csX66" fmla="*/ 215687 w 1609516"/>
              <a:gd name="csY66" fmla="*/ 1191418 h 1538630"/>
              <a:gd name="csX67" fmla="*/ 215687 w 1609516"/>
              <a:gd name="csY67" fmla="*/ 1187190 h 1538630"/>
              <a:gd name="csX68" fmla="*/ 1279678 w 1609516"/>
              <a:gd name="csY68" fmla="*/ 1082356 h 1538630"/>
              <a:gd name="csX69" fmla="*/ 1271680 w 1609516"/>
              <a:gd name="csY69" fmla="*/ 1084589 h 1538630"/>
              <a:gd name="csX70" fmla="*/ 1282181 w 1609516"/>
              <a:gd name="csY70" fmla="*/ 1082544 h 1538630"/>
              <a:gd name="csX71" fmla="*/ 117703 w 1609516"/>
              <a:gd name="csY71" fmla="*/ 941507 h 1538630"/>
              <a:gd name="csX72" fmla="*/ 112587 w 1609516"/>
              <a:gd name="csY72" fmla="*/ 941985 h 1538630"/>
              <a:gd name="csX73" fmla="*/ 112565 w 1609516"/>
              <a:gd name="csY73" fmla="*/ 942333 h 1538630"/>
              <a:gd name="csX74" fmla="*/ 115665 w 1609516"/>
              <a:gd name="csY74" fmla="*/ 941837 h 1538630"/>
              <a:gd name="csX75" fmla="*/ 144268 w 1609516"/>
              <a:gd name="csY75" fmla="*/ 939395 h 1538630"/>
              <a:gd name="csX76" fmla="*/ 143354 w 1609516"/>
              <a:gd name="csY76" fmla="*/ 939580 h 1538630"/>
              <a:gd name="csX77" fmla="*/ 144077 w 1609516"/>
              <a:gd name="csY77" fmla="*/ 939739 h 1538630"/>
              <a:gd name="csX78" fmla="*/ 162575 w 1609516"/>
              <a:gd name="csY78" fmla="*/ 933530 h 1538630"/>
              <a:gd name="csX79" fmla="*/ 161704 w 1609516"/>
              <a:gd name="csY79" fmla="*/ 935101 h 1538630"/>
              <a:gd name="csX80" fmla="*/ 170045 w 1609516"/>
              <a:gd name="csY80" fmla="*/ 933585 h 1538630"/>
              <a:gd name="csX81" fmla="*/ 1321645 w 1609516"/>
              <a:gd name="csY81" fmla="*/ 918415 h 1538630"/>
              <a:gd name="csX82" fmla="*/ 1321534 w 1609516"/>
              <a:gd name="csY82" fmla="*/ 920177 h 1538630"/>
              <a:gd name="csX83" fmla="*/ 1321740 w 1609516"/>
              <a:gd name="csY83" fmla="*/ 918415 h 1538630"/>
              <a:gd name="csX84" fmla="*/ 1319333 w 1609516"/>
              <a:gd name="csY84" fmla="*/ 915183 h 1538630"/>
              <a:gd name="csX85" fmla="*/ 1318544 w 1609516"/>
              <a:gd name="csY85" fmla="*/ 918029 h 1538630"/>
              <a:gd name="csX86" fmla="*/ 1318702 w 1609516"/>
              <a:gd name="csY86" fmla="*/ 918029 h 1538630"/>
              <a:gd name="csX87" fmla="*/ 1326355 w 1609516"/>
              <a:gd name="csY87" fmla="*/ 907109 h 1538630"/>
              <a:gd name="csX88" fmla="*/ 1326355 w 1609516"/>
              <a:gd name="csY88" fmla="*/ 910983 h 1538630"/>
              <a:gd name="csX89" fmla="*/ 1325831 w 1609516"/>
              <a:gd name="csY89" fmla="*/ 911101 h 1538630"/>
              <a:gd name="csX90" fmla="*/ 1326426 w 1609516"/>
              <a:gd name="csY90" fmla="*/ 911369 h 1538630"/>
              <a:gd name="csX91" fmla="*/ 1326426 w 1609516"/>
              <a:gd name="csY91" fmla="*/ 907141 h 1538630"/>
              <a:gd name="csX92" fmla="*/ 1328144 w 1609516"/>
              <a:gd name="csY92" fmla="*/ 892192 h 1538630"/>
              <a:gd name="csX93" fmla="*/ 1327667 w 1609516"/>
              <a:gd name="csY93" fmla="*/ 893446 h 1538630"/>
              <a:gd name="csX94" fmla="*/ 1327989 w 1609516"/>
              <a:gd name="csY94" fmla="*/ 893049 h 1538630"/>
              <a:gd name="csX95" fmla="*/ 49605 w 1609516"/>
              <a:gd name="csY95" fmla="*/ 887420 h 1538630"/>
              <a:gd name="csX96" fmla="*/ 48549 w 1609516"/>
              <a:gd name="csY96" fmla="*/ 891229 h 1538630"/>
              <a:gd name="csX97" fmla="*/ 49956 w 1609516"/>
              <a:gd name="csY97" fmla="*/ 887420 h 1538630"/>
              <a:gd name="csX98" fmla="*/ 1332266 w 1609516"/>
              <a:gd name="csY98" fmla="*/ 883369 h 1538630"/>
              <a:gd name="csX99" fmla="*/ 1329479 w 1609516"/>
              <a:gd name="csY99" fmla="*/ 884207 h 1538630"/>
              <a:gd name="csX100" fmla="*/ 1329509 w 1609516"/>
              <a:gd name="csY100" fmla="*/ 884816 h 1538630"/>
              <a:gd name="csX101" fmla="*/ 1329551 w 1609516"/>
              <a:gd name="csY101" fmla="*/ 884594 h 1538630"/>
              <a:gd name="csX102" fmla="*/ 1555987 w 1609516"/>
              <a:gd name="csY102" fmla="*/ 821766 h 1538630"/>
              <a:gd name="csX103" fmla="*/ 1555987 w 1609516"/>
              <a:gd name="csY103" fmla="*/ 822201 h 1538630"/>
              <a:gd name="csX104" fmla="*/ 1556081 w 1609516"/>
              <a:gd name="csY104" fmla="*/ 822189 h 1538630"/>
              <a:gd name="csX105" fmla="*/ 1565360 w 1609516"/>
              <a:gd name="csY105" fmla="*/ 810928 h 1538630"/>
              <a:gd name="csX106" fmla="*/ 1564871 w 1609516"/>
              <a:gd name="csY106" fmla="*/ 811809 h 1538630"/>
              <a:gd name="csX107" fmla="*/ 1567314 w 1609516"/>
              <a:gd name="csY107" fmla="*/ 810928 h 1538630"/>
              <a:gd name="csX108" fmla="*/ 1563797 w 1609516"/>
              <a:gd name="csY108" fmla="*/ 810928 h 1538630"/>
              <a:gd name="csX109" fmla="*/ 1556762 w 1609516"/>
              <a:gd name="csY109" fmla="*/ 814736 h 1538630"/>
              <a:gd name="csX110" fmla="*/ 1563797 w 1609516"/>
              <a:gd name="csY110" fmla="*/ 812197 h 1538630"/>
              <a:gd name="csX111" fmla="*/ 265833 w 1609516"/>
              <a:gd name="csY111" fmla="*/ 806020 h 1538630"/>
              <a:gd name="csX112" fmla="*/ 263704 w 1609516"/>
              <a:gd name="csY112" fmla="*/ 809861 h 1538630"/>
              <a:gd name="csX113" fmla="*/ 263704 w 1609516"/>
              <a:gd name="csY113" fmla="*/ 816750 h 1538630"/>
              <a:gd name="csX114" fmla="*/ 264113 w 1609516"/>
              <a:gd name="csY114" fmla="*/ 816565 h 1538630"/>
              <a:gd name="csX115" fmla="*/ 263918 w 1609516"/>
              <a:gd name="csY115" fmla="*/ 812777 h 1538630"/>
              <a:gd name="csX116" fmla="*/ 263774 w 1609516"/>
              <a:gd name="csY116" fmla="*/ 779374 h 1538630"/>
              <a:gd name="csX117" fmla="*/ 263704 w 1609516"/>
              <a:gd name="csY117" fmla="*/ 783086 h 1538630"/>
              <a:gd name="csX118" fmla="*/ 264484 w 1609516"/>
              <a:gd name="csY118" fmla="*/ 785816 h 1538630"/>
              <a:gd name="csX119" fmla="*/ 265265 w 1609516"/>
              <a:gd name="csY119" fmla="*/ 794448 h 1538630"/>
              <a:gd name="csX120" fmla="*/ 265217 w 1609516"/>
              <a:gd name="csY120" fmla="*/ 799730 h 1538630"/>
              <a:gd name="csX121" fmla="*/ 266556 w 1609516"/>
              <a:gd name="csY121" fmla="*/ 803466 h 1538630"/>
              <a:gd name="csX122" fmla="*/ 267237 w 1609516"/>
              <a:gd name="csY122" fmla="*/ 801063 h 1538630"/>
              <a:gd name="csX123" fmla="*/ 265675 w 1609516"/>
              <a:gd name="csY123" fmla="*/ 799654 h 1538630"/>
              <a:gd name="csX124" fmla="*/ 265675 w 1609516"/>
              <a:gd name="csY124" fmla="*/ 793841 h 1538630"/>
              <a:gd name="csX125" fmla="*/ 260988 w 1609516"/>
              <a:gd name="csY125" fmla="*/ 770061 h 1538630"/>
              <a:gd name="csX126" fmla="*/ 260988 w 1609516"/>
              <a:gd name="csY126" fmla="*/ 771364 h 1538630"/>
              <a:gd name="csX127" fmla="*/ 263497 w 1609516"/>
              <a:gd name="csY127" fmla="*/ 777263 h 1538630"/>
              <a:gd name="csX128" fmla="*/ 262551 w 1609516"/>
              <a:gd name="csY128" fmla="*/ 770061 h 1538630"/>
              <a:gd name="csX129" fmla="*/ 260988 w 1609516"/>
              <a:gd name="csY129" fmla="*/ 770061 h 1538630"/>
              <a:gd name="csX130" fmla="*/ 157888 w 1609516"/>
              <a:gd name="csY130" fmla="*/ 651686 h 1538630"/>
              <a:gd name="csX131" fmla="*/ 157415 w 1609516"/>
              <a:gd name="csY131" fmla="*/ 651764 h 1538630"/>
              <a:gd name="csX132" fmla="*/ 160373 w 1609516"/>
              <a:gd name="csY132" fmla="*/ 652274 h 1538630"/>
              <a:gd name="csX133" fmla="*/ 267237 w 1609516"/>
              <a:gd name="csY133" fmla="*/ 426537 h 1538630"/>
              <a:gd name="csX134" fmla="*/ 267237 w 1609516"/>
              <a:gd name="csY134" fmla="*/ 427619 h 1538630"/>
              <a:gd name="csX135" fmla="*/ 270380 w 1609516"/>
              <a:gd name="csY135" fmla="*/ 428137 h 1538630"/>
              <a:gd name="csX136" fmla="*/ 273548 w 1609516"/>
              <a:gd name="csY136" fmla="*/ 428680 h 1538630"/>
              <a:gd name="csX137" fmla="*/ 37605 w 1609516"/>
              <a:gd name="csY137" fmla="*/ 359270 h 1538630"/>
              <a:gd name="csX138" fmla="*/ 37103 w 1609516"/>
              <a:gd name="csY138" fmla="*/ 361533 h 1538630"/>
              <a:gd name="csX139" fmla="*/ 37605 w 1609516"/>
              <a:gd name="csY139" fmla="*/ 361382 h 1538630"/>
              <a:gd name="csX140" fmla="*/ 52477 w 1609516"/>
              <a:gd name="csY140" fmla="*/ 337570 h 1538630"/>
              <a:gd name="csX141" fmla="*/ 47288 w 1609516"/>
              <a:gd name="csY141" fmla="*/ 342340 h 1538630"/>
              <a:gd name="csX142" fmla="*/ 45805 w 1609516"/>
              <a:gd name="csY142" fmla="*/ 345093 h 1538630"/>
              <a:gd name="csX143" fmla="*/ 104291 w 1609516"/>
              <a:gd name="csY143" fmla="*/ 336166 h 1538630"/>
              <a:gd name="csX144" fmla="*/ 103776 w 1609516"/>
              <a:gd name="csY144" fmla="*/ 337559 h 1538630"/>
              <a:gd name="csX145" fmla="*/ 108925 w 1609516"/>
              <a:gd name="csY145" fmla="*/ 336166 h 1538630"/>
              <a:gd name="csX146" fmla="*/ 1309237 w 1609516"/>
              <a:gd name="csY146" fmla="*/ 322954 h 1538630"/>
              <a:gd name="csX147" fmla="*/ 1309180 w 1609516"/>
              <a:gd name="csY147" fmla="*/ 330559 h 1538630"/>
              <a:gd name="csX148" fmla="*/ 1309237 w 1609516"/>
              <a:gd name="csY148" fmla="*/ 330520 h 1538630"/>
              <a:gd name="csX149" fmla="*/ 1308964 w 1609516"/>
              <a:gd name="csY149" fmla="*/ 317715 h 1538630"/>
              <a:gd name="csX150" fmla="*/ 1309237 w 1609516"/>
              <a:gd name="csY150" fmla="*/ 318569 h 1538630"/>
              <a:gd name="csX151" fmla="*/ 1309237 w 1609516"/>
              <a:gd name="csY151" fmla="*/ 317838 h 1538630"/>
              <a:gd name="csX152" fmla="*/ 1310087 w 1609516"/>
              <a:gd name="csY152" fmla="*/ 313153 h 1538630"/>
              <a:gd name="csX153" fmla="*/ 1307609 w 1609516"/>
              <a:gd name="csY153" fmla="*/ 313473 h 1538630"/>
              <a:gd name="csX154" fmla="*/ 1308045 w 1609516"/>
              <a:gd name="csY154" fmla="*/ 314836 h 1538630"/>
              <a:gd name="csX155" fmla="*/ 1318544 w 1609516"/>
              <a:gd name="csY155" fmla="*/ 312064 h 1538630"/>
              <a:gd name="csX156" fmla="*/ 1316298 w 1609516"/>
              <a:gd name="csY156" fmla="*/ 312353 h 1538630"/>
              <a:gd name="csX157" fmla="*/ 1318544 w 1609516"/>
              <a:gd name="csY157" fmla="*/ 312205 h 1538630"/>
              <a:gd name="csX158" fmla="*/ 1084622 w 1609516"/>
              <a:gd name="csY158" fmla="*/ 267674 h 1538630"/>
              <a:gd name="csX159" fmla="*/ 1084227 w 1609516"/>
              <a:gd name="csY159" fmla="*/ 268378 h 1538630"/>
              <a:gd name="csX160" fmla="*/ 1079540 w 1609516"/>
              <a:gd name="csY160" fmla="*/ 268378 h 1538630"/>
              <a:gd name="csX161" fmla="*/ 1079603 w 1609516"/>
              <a:gd name="csY161" fmla="*/ 268477 h 1538630"/>
              <a:gd name="csX162" fmla="*/ 1084192 w 1609516"/>
              <a:gd name="csY162" fmla="*/ 268477 h 1538630"/>
              <a:gd name="csX163" fmla="*/ 956410 w 1609516"/>
              <a:gd name="csY163" fmla="*/ 266968 h 1538630"/>
              <a:gd name="csX164" fmla="*/ 957576 w 1609516"/>
              <a:gd name="csY164" fmla="*/ 267083 h 1538630"/>
              <a:gd name="csX165" fmla="*/ 957576 w 1609516"/>
              <a:gd name="csY165" fmla="*/ 269776 h 1538630"/>
              <a:gd name="csX166" fmla="*/ 957694 w 1609516"/>
              <a:gd name="csY166" fmla="*/ 269787 h 1538630"/>
              <a:gd name="csX167" fmla="*/ 957694 w 1609516"/>
              <a:gd name="csY167" fmla="*/ 266968 h 1538630"/>
              <a:gd name="csX168" fmla="*/ 1089372 w 1609516"/>
              <a:gd name="csY168" fmla="*/ 259220 h 1538630"/>
              <a:gd name="csX169" fmla="*/ 1085856 w 1609516"/>
              <a:gd name="csY169" fmla="*/ 265479 h 1538630"/>
              <a:gd name="csX170" fmla="*/ 1088878 w 1609516"/>
              <a:gd name="csY170" fmla="*/ 261431 h 1538630"/>
              <a:gd name="csX171" fmla="*/ 1018517 w 1609516"/>
              <a:gd name="csY171" fmla="*/ 223356 h 1538630"/>
              <a:gd name="csX172" fmla="*/ 1013866 w 1609516"/>
              <a:gd name="csY172" fmla="*/ 226190 h 1538630"/>
              <a:gd name="csX173" fmla="*/ 1013024 w 1609516"/>
              <a:gd name="csY173" fmla="*/ 227709 h 1538630"/>
              <a:gd name="csX174" fmla="*/ 1017055 w 1609516"/>
              <a:gd name="csY174" fmla="*/ 224692 h 1538630"/>
              <a:gd name="csX175" fmla="*/ 850645 w 1609516"/>
              <a:gd name="csY175" fmla="*/ 220099 h 1538630"/>
              <a:gd name="csX176" fmla="*/ 850897 w 1609516"/>
              <a:gd name="csY176" fmla="*/ 221488 h 1538630"/>
              <a:gd name="csX177" fmla="*/ 851470 w 1609516"/>
              <a:gd name="csY177" fmla="*/ 224692 h 1538630"/>
              <a:gd name="csX178" fmla="*/ 852860 w 1609516"/>
              <a:gd name="csY178" fmla="*/ 224692 h 1538630"/>
              <a:gd name="csX179" fmla="*/ 1155019 w 1609516"/>
              <a:gd name="csY179" fmla="*/ 35 h 1538630"/>
              <a:gd name="csX180" fmla="*/ 1174829 w 1609516"/>
              <a:gd name="csY180" fmla="*/ 4853 h 1538630"/>
              <a:gd name="csX181" fmla="*/ 1179418 w 1609516"/>
              <a:gd name="csY181" fmla="*/ 5998 h 1538630"/>
              <a:gd name="csX182" fmla="*/ 1201385 w 1609516"/>
              <a:gd name="csY182" fmla="*/ 22997 h 1538630"/>
              <a:gd name="csX183" fmla="*/ 1201678 w 1609516"/>
              <a:gd name="csY183" fmla="*/ 62191 h 1538630"/>
              <a:gd name="csX184" fmla="*/ 1198261 w 1609516"/>
              <a:gd name="csY184" fmla="*/ 68268 h 1538630"/>
              <a:gd name="csX185" fmla="*/ 1195723 w 1609516"/>
              <a:gd name="csY185" fmla="*/ 72672 h 1538630"/>
              <a:gd name="csX186" fmla="*/ 1193575 w 1609516"/>
              <a:gd name="csY186" fmla="*/ 75314 h 1538630"/>
              <a:gd name="csX187" fmla="*/ 1190450 w 1609516"/>
              <a:gd name="csY187" fmla="*/ 75314 h 1538630"/>
              <a:gd name="csX188" fmla="*/ 1189474 w 1609516"/>
              <a:gd name="csY188" fmla="*/ 79366 h 1538630"/>
              <a:gd name="csX189" fmla="*/ 1182445 w 1609516"/>
              <a:gd name="csY189" fmla="*/ 85707 h 1538630"/>
              <a:gd name="csX190" fmla="*/ 1177953 w 1609516"/>
              <a:gd name="csY190" fmla="*/ 86588 h 1538630"/>
              <a:gd name="csX191" fmla="*/ 1177953 w 1609516"/>
              <a:gd name="csY191" fmla="*/ 89406 h 1538630"/>
              <a:gd name="csX192" fmla="*/ 1170045 w 1609516"/>
              <a:gd name="csY192" fmla="*/ 94251 h 1538630"/>
              <a:gd name="csX193" fmla="*/ 1143806 w 1609516"/>
              <a:gd name="csY193" fmla="*/ 132828 h 1538630"/>
              <a:gd name="csX194" fmla="*/ 1137338 w 1609516"/>
              <a:gd name="csY194" fmla="*/ 141548 h 1538630"/>
              <a:gd name="csX195" fmla="*/ 1133970 w 1609516"/>
              <a:gd name="csY195" fmla="*/ 149403 h 1538630"/>
              <a:gd name="csX196" fmla="*/ 1127965 w 1609516"/>
              <a:gd name="csY196" fmla="*/ 164095 h 1538630"/>
              <a:gd name="csX197" fmla="*/ 1124762 w 1609516"/>
              <a:gd name="csY197" fmla="*/ 171802 h 1538630"/>
              <a:gd name="csX198" fmla="*/ 1119359 w 1609516"/>
              <a:gd name="csY198" fmla="*/ 184798 h 1538630"/>
              <a:gd name="csX199" fmla="*/ 1111014 w 1609516"/>
              <a:gd name="csY199" fmla="*/ 204941 h 1538630"/>
              <a:gd name="csX200" fmla="*/ 1109729 w 1609516"/>
              <a:gd name="csY200" fmla="*/ 208059 h 1538630"/>
              <a:gd name="csX201" fmla="*/ 1106395 w 1609516"/>
              <a:gd name="csY201" fmla="*/ 216170 h 1538630"/>
              <a:gd name="csX202" fmla="*/ 1102147 w 1609516"/>
              <a:gd name="csY202" fmla="*/ 224810 h 1538630"/>
              <a:gd name="csX203" fmla="*/ 1098261 w 1609516"/>
              <a:gd name="csY203" fmla="*/ 227262 h 1538630"/>
              <a:gd name="csX204" fmla="*/ 1098367 w 1609516"/>
              <a:gd name="csY204" fmla="*/ 238475 h 1538630"/>
              <a:gd name="csX205" fmla="*/ 1097331 w 1609516"/>
              <a:gd name="csY205" fmla="*/ 242358 h 1538630"/>
              <a:gd name="csX206" fmla="*/ 1096201 w 1609516"/>
              <a:gd name="csY206" fmla="*/ 246458 h 1538630"/>
              <a:gd name="csX207" fmla="*/ 1089440 w 1609516"/>
              <a:gd name="csY207" fmla="*/ 279206 h 1538630"/>
              <a:gd name="csX208" fmla="*/ 1087316 w 1609516"/>
              <a:gd name="csY208" fmla="*/ 283978 h 1538630"/>
              <a:gd name="csX209" fmla="*/ 1086822 w 1609516"/>
              <a:gd name="csY209" fmla="*/ 291822 h 1538630"/>
              <a:gd name="csX210" fmla="*/ 1086623 w 1609516"/>
              <a:gd name="csY210" fmla="*/ 296625 h 1538630"/>
              <a:gd name="csX211" fmla="*/ 1086437 w 1609516"/>
              <a:gd name="csY211" fmla="*/ 301681 h 1538630"/>
              <a:gd name="csX212" fmla="*/ 1086233 w 1609516"/>
              <a:gd name="csY212" fmla="*/ 306754 h 1538630"/>
              <a:gd name="csX213" fmla="*/ 1086007 w 1609516"/>
              <a:gd name="csY213" fmla="*/ 312619 h 1538630"/>
              <a:gd name="csX214" fmla="*/ 1087470 w 1609516"/>
              <a:gd name="csY214" fmla="*/ 320554 h 1538630"/>
              <a:gd name="csX215" fmla="*/ 1098285 w 1609516"/>
              <a:gd name="csY215" fmla="*/ 334611 h 1538630"/>
              <a:gd name="csX216" fmla="*/ 1102607 w 1609516"/>
              <a:gd name="csY216" fmla="*/ 337679 h 1538630"/>
              <a:gd name="csX217" fmla="*/ 1106095 w 1609516"/>
              <a:gd name="csY217" fmla="*/ 340248 h 1538630"/>
              <a:gd name="csX218" fmla="*/ 1106095 w 1609516"/>
              <a:gd name="csY218" fmla="*/ 343066 h 1538630"/>
              <a:gd name="csX219" fmla="*/ 1109220 w 1609516"/>
              <a:gd name="csY219" fmla="*/ 343419 h 1538630"/>
              <a:gd name="csX220" fmla="*/ 1126403 w 1609516"/>
              <a:gd name="csY220" fmla="*/ 350112 h 1538630"/>
              <a:gd name="csX221" fmla="*/ 1131871 w 1609516"/>
              <a:gd name="csY221" fmla="*/ 352579 h 1538630"/>
              <a:gd name="csX222" fmla="*/ 1135776 w 1609516"/>
              <a:gd name="csY222" fmla="*/ 354340 h 1538630"/>
              <a:gd name="csX223" fmla="*/ 1135776 w 1609516"/>
              <a:gd name="csY223" fmla="*/ 357158 h 1538630"/>
              <a:gd name="csX224" fmla="*/ 1170143 w 1609516"/>
              <a:gd name="csY224" fmla="*/ 354340 h 1538630"/>
              <a:gd name="csX225" fmla="*/ 1174634 w 1609516"/>
              <a:gd name="csY225" fmla="*/ 352579 h 1538630"/>
              <a:gd name="csX226" fmla="*/ 1190890 w 1609516"/>
              <a:gd name="csY226" fmla="*/ 342907 h 1538630"/>
              <a:gd name="csX227" fmla="*/ 1204021 w 1609516"/>
              <a:gd name="csY227" fmla="*/ 335404 h 1538630"/>
              <a:gd name="csX228" fmla="*/ 1223255 w 1609516"/>
              <a:gd name="csY228" fmla="*/ 319110 h 1538630"/>
              <a:gd name="csX229" fmla="*/ 1226868 w 1609516"/>
              <a:gd name="csY229" fmla="*/ 315587 h 1538630"/>
              <a:gd name="csX230" fmla="*/ 1231859 w 1609516"/>
              <a:gd name="csY230" fmla="*/ 303559 h 1538630"/>
              <a:gd name="csX231" fmla="*/ 1234178 w 1609516"/>
              <a:gd name="csY231" fmla="*/ 298059 h 1538630"/>
              <a:gd name="csX232" fmla="*/ 1237314 w 1609516"/>
              <a:gd name="csY232" fmla="*/ 288195 h 1538630"/>
              <a:gd name="csX233" fmla="*/ 1249811 w 1609516"/>
              <a:gd name="csY233" fmla="*/ 265559 h 1538630"/>
              <a:gd name="csX234" fmla="*/ 1252935 w 1609516"/>
              <a:gd name="csY234" fmla="*/ 265559 h 1538630"/>
              <a:gd name="csX235" fmla="*/ 1252935 w 1609516"/>
              <a:gd name="csY235" fmla="*/ 262741 h 1538630"/>
              <a:gd name="csX236" fmla="*/ 1296675 w 1609516"/>
              <a:gd name="csY236" fmla="*/ 252876 h 1538630"/>
              <a:gd name="csX237" fmla="*/ 1307609 w 1609516"/>
              <a:gd name="csY237" fmla="*/ 255695 h 1538630"/>
              <a:gd name="csX238" fmla="*/ 1307609 w 1609516"/>
              <a:gd name="csY238" fmla="*/ 258513 h 1538630"/>
              <a:gd name="csX239" fmla="*/ 1311887 w 1609516"/>
              <a:gd name="csY239" fmla="*/ 258832 h 1538630"/>
              <a:gd name="csX240" fmla="*/ 1326715 w 1609516"/>
              <a:gd name="csY240" fmla="*/ 269969 h 1538630"/>
              <a:gd name="csX241" fmla="*/ 1334165 w 1609516"/>
              <a:gd name="csY241" fmla="*/ 307836 h 1538630"/>
              <a:gd name="csX242" fmla="*/ 1329479 w 1609516"/>
              <a:gd name="csY242" fmla="*/ 314882 h 1538630"/>
              <a:gd name="csX243" fmla="*/ 1323231 w 1609516"/>
              <a:gd name="csY243" fmla="*/ 314882 h 1538630"/>
              <a:gd name="csX244" fmla="*/ 1323231 w 1609516"/>
              <a:gd name="csY244" fmla="*/ 317700 h 1538630"/>
              <a:gd name="csX245" fmla="*/ 1322774 w 1609516"/>
              <a:gd name="csY245" fmla="*/ 317838 h 1538630"/>
              <a:gd name="csX246" fmla="*/ 1323295 w 1609516"/>
              <a:gd name="csY246" fmla="*/ 317838 h 1538630"/>
              <a:gd name="csX247" fmla="*/ 1323295 w 1609516"/>
              <a:gd name="csY247" fmla="*/ 315019 h 1538630"/>
              <a:gd name="csX248" fmla="*/ 1327982 w 1609516"/>
              <a:gd name="csY248" fmla="*/ 315019 h 1538630"/>
              <a:gd name="csX249" fmla="*/ 1317047 w 1609516"/>
              <a:gd name="csY249" fmla="*/ 327702 h 1538630"/>
              <a:gd name="csX250" fmla="*/ 1315484 w 1609516"/>
              <a:gd name="csY250" fmla="*/ 331930 h 1538630"/>
              <a:gd name="csX251" fmla="*/ 1309139 w 1609516"/>
              <a:gd name="csY251" fmla="*/ 333603 h 1538630"/>
              <a:gd name="csX252" fmla="*/ 1305666 w 1609516"/>
              <a:gd name="csY252" fmla="*/ 334280 h 1538630"/>
              <a:gd name="csX253" fmla="*/ 1302988 w 1609516"/>
              <a:gd name="csY253" fmla="*/ 334748 h 1538630"/>
              <a:gd name="csX254" fmla="*/ 1305905 w 1609516"/>
              <a:gd name="csY254" fmla="*/ 332775 h 1538630"/>
              <a:gd name="csX255" fmla="*/ 1304485 w 1609516"/>
              <a:gd name="csY255" fmla="*/ 333202 h 1538630"/>
              <a:gd name="csX256" fmla="*/ 1301459 w 1609516"/>
              <a:gd name="csY256" fmla="*/ 336108 h 1538630"/>
              <a:gd name="csX257" fmla="*/ 1291989 w 1609516"/>
              <a:gd name="csY257" fmla="*/ 338839 h 1538630"/>
              <a:gd name="csX258" fmla="*/ 1290426 w 1609516"/>
              <a:gd name="csY258" fmla="*/ 343066 h 1538630"/>
              <a:gd name="csX259" fmla="*/ 1285740 w 1609516"/>
              <a:gd name="csY259" fmla="*/ 344123 h 1538630"/>
              <a:gd name="csX260" fmla="*/ 1237314 w 1609516"/>
              <a:gd name="csY260" fmla="*/ 382525 h 1538630"/>
              <a:gd name="csX261" fmla="*/ 1232628 w 1609516"/>
              <a:gd name="csY261" fmla="*/ 392389 h 1538630"/>
              <a:gd name="csX262" fmla="*/ 1228625 w 1609516"/>
              <a:gd name="csY262" fmla="*/ 398731 h 1538630"/>
              <a:gd name="csX263" fmla="*/ 1222822 w 1609516"/>
              <a:gd name="csY263" fmla="*/ 434798 h 1538630"/>
              <a:gd name="csX264" fmla="*/ 1260746 w 1609516"/>
              <a:gd name="csY264" fmla="*/ 485398 h 1538630"/>
              <a:gd name="csX265" fmla="*/ 1268556 w 1609516"/>
              <a:gd name="csY265" fmla="*/ 488216 h 1538630"/>
              <a:gd name="csX266" fmla="*/ 1268556 w 1609516"/>
              <a:gd name="csY266" fmla="*/ 491034 h 1538630"/>
              <a:gd name="csX267" fmla="*/ 1338852 w 1609516"/>
              <a:gd name="csY267" fmla="*/ 489625 h 1538630"/>
              <a:gd name="csX268" fmla="*/ 1347444 w 1609516"/>
              <a:gd name="csY268" fmla="*/ 488480 h 1538630"/>
              <a:gd name="csX269" fmla="*/ 1369362 w 1609516"/>
              <a:gd name="csY269" fmla="*/ 482513 h 1538630"/>
              <a:gd name="csX270" fmla="*/ 1388840 w 1609516"/>
              <a:gd name="csY270" fmla="*/ 478351 h 1538630"/>
              <a:gd name="csX271" fmla="*/ 1388840 w 1609516"/>
              <a:gd name="csY271" fmla="*/ 475533 h 1538630"/>
              <a:gd name="csX272" fmla="*/ 1395576 w 1609516"/>
              <a:gd name="csY272" fmla="*/ 473419 h 1538630"/>
              <a:gd name="csX273" fmla="*/ 1399365 w 1609516"/>
              <a:gd name="csY273" fmla="*/ 472230 h 1538630"/>
              <a:gd name="csX274" fmla="*/ 1407585 w 1609516"/>
              <a:gd name="csY274" fmla="*/ 471305 h 1538630"/>
              <a:gd name="csX275" fmla="*/ 1409147 w 1609516"/>
              <a:gd name="csY275" fmla="*/ 467078 h 1538630"/>
              <a:gd name="csX276" fmla="*/ 1416470 w 1609516"/>
              <a:gd name="csY276" fmla="*/ 464259 h 1538630"/>
              <a:gd name="csX277" fmla="*/ 1437949 w 1609516"/>
              <a:gd name="csY277" fmla="*/ 455011 h 1538630"/>
              <a:gd name="csX278" fmla="*/ 1452887 w 1609516"/>
              <a:gd name="csY278" fmla="*/ 450167 h 1538630"/>
              <a:gd name="csX279" fmla="*/ 1452887 w 1609516"/>
              <a:gd name="csY279" fmla="*/ 447349 h 1538630"/>
              <a:gd name="csX280" fmla="*/ 1455394 w 1609516"/>
              <a:gd name="csY280" fmla="*/ 446122 h 1538630"/>
              <a:gd name="csX281" fmla="*/ 1466653 w 1609516"/>
              <a:gd name="csY281" fmla="*/ 440567 h 1538630"/>
              <a:gd name="csX282" fmla="*/ 1470598 w 1609516"/>
              <a:gd name="csY282" fmla="*/ 438637 h 1538630"/>
              <a:gd name="csX283" fmla="*/ 1474397 w 1609516"/>
              <a:gd name="csY283" fmla="*/ 436752 h 1538630"/>
              <a:gd name="csX284" fmla="*/ 1477892 w 1609516"/>
              <a:gd name="csY284" fmla="*/ 435030 h 1538630"/>
              <a:gd name="csX285" fmla="*/ 1485691 w 1609516"/>
              <a:gd name="csY285" fmla="*/ 429029 h 1538630"/>
              <a:gd name="csX286" fmla="*/ 1488858 w 1609516"/>
              <a:gd name="csY286" fmla="*/ 427653 h 1538630"/>
              <a:gd name="csX287" fmla="*/ 1495943 w 1609516"/>
              <a:gd name="csY287" fmla="*/ 421454 h 1538630"/>
              <a:gd name="csX288" fmla="*/ 1538608 w 1609516"/>
              <a:gd name="csY288" fmla="*/ 388338 h 1538630"/>
              <a:gd name="csX289" fmla="*/ 1543490 w 1609516"/>
              <a:gd name="csY289" fmla="*/ 388161 h 1538630"/>
              <a:gd name="csX290" fmla="*/ 1547621 w 1609516"/>
              <a:gd name="csY290" fmla="*/ 387804 h 1538630"/>
              <a:gd name="csX291" fmla="*/ 1579418 w 1609516"/>
              <a:gd name="csY291" fmla="*/ 396617 h 1538630"/>
              <a:gd name="csX292" fmla="*/ 1583342 w 1609516"/>
              <a:gd name="csY292" fmla="*/ 398780 h 1538630"/>
              <a:gd name="csX293" fmla="*/ 1601288 w 1609516"/>
              <a:gd name="csY293" fmla="*/ 423392 h 1538630"/>
              <a:gd name="csX294" fmla="*/ 1594484 w 1609516"/>
              <a:gd name="csY294" fmla="*/ 460159 h 1538630"/>
              <a:gd name="csX295" fmla="*/ 1574732 w 1609516"/>
              <a:gd name="csY295" fmla="*/ 475533 h 1538630"/>
              <a:gd name="csX296" fmla="*/ 1572097 w 1609516"/>
              <a:gd name="csY296" fmla="*/ 477078 h 1538630"/>
              <a:gd name="csX297" fmla="*/ 1556066 w 1609516"/>
              <a:gd name="csY297" fmla="*/ 478737 h 1538630"/>
              <a:gd name="csX298" fmla="*/ 1548631 w 1609516"/>
              <a:gd name="csY298" fmla="*/ 478825 h 1538630"/>
              <a:gd name="csX299" fmla="*/ 1536991 w 1609516"/>
              <a:gd name="csY299" fmla="*/ 478889 h 1538630"/>
              <a:gd name="csX300" fmla="*/ 1498188 w 1609516"/>
              <a:gd name="csY300" fmla="*/ 485398 h 1538630"/>
              <a:gd name="csX301" fmla="*/ 1493892 w 1609516"/>
              <a:gd name="csY301" fmla="*/ 487600 h 1538630"/>
              <a:gd name="csX302" fmla="*/ 1490377 w 1609516"/>
              <a:gd name="csY302" fmla="*/ 489625 h 1538630"/>
              <a:gd name="csX303" fmla="*/ 1471650 w 1609516"/>
              <a:gd name="csY303" fmla="*/ 498185 h 1538630"/>
              <a:gd name="csX304" fmla="*/ 1459135 w 1609516"/>
              <a:gd name="csY304" fmla="*/ 505127 h 1538630"/>
              <a:gd name="csX305" fmla="*/ 1452594 w 1609516"/>
              <a:gd name="csY305" fmla="*/ 508033 h 1538630"/>
              <a:gd name="csX306" fmla="*/ 1427795 w 1609516"/>
              <a:gd name="csY306" fmla="*/ 520100 h 1538630"/>
              <a:gd name="csX307" fmla="*/ 1423733 w 1609516"/>
              <a:gd name="csY307" fmla="*/ 522148 h 1538630"/>
              <a:gd name="csX308" fmla="*/ 1419929 w 1609516"/>
              <a:gd name="csY308" fmla="*/ 524118 h 1538630"/>
              <a:gd name="csX309" fmla="*/ 1416487 w 1609516"/>
              <a:gd name="csY309" fmla="*/ 525883 h 1538630"/>
              <a:gd name="csX310" fmla="*/ 1412271 w 1609516"/>
              <a:gd name="csY310" fmla="*/ 531902 h 1538630"/>
              <a:gd name="csX311" fmla="*/ 1396650 w 1609516"/>
              <a:gd name="csY311" fmla="*/ 537539 h 1538630"/>
              <a:gd name="csX312" fmla="*/ 1396650 w 1609516"/>
              <a:gd name="csY312" fmla="*/ 540357 h 1538630"/>
              <a:gd name="csX313" fmla="*/ 1393495 w 1609516"/>
              <a:gd name="csY313" fmla="*/ 541502 h 1538630"/>
              <a:gd name="csX314" fmla="*/ 1362284 w 1609516"/>
              <a:gd name="csY314" fmla="*/ 558678 h 1538630"/>
              <a:gd name="csX315" fmla="*/ 1355937 w 1609516"/>
              <a:gd name="csY315" fmla="*/ 562905 h 1538630"/>
              <a:gd name="csX316" fmla="*/ 1334165 w 1609516"/>
              <a:gd name="csY316" fmla="*/ 578406 h 1538630"/>
              <a:gd name="csX317" fmla="*/ 1331200 w 1609516"/>
              <a:gd name="csY317" fmla="*/ 580559 h 1538630"/>
              <a:gd name="csX318" fmla="*/ 1322175 w 1609516"/>
              <a:gd name="csY318" fmla="*/ 596793 h 1538630"/>
              <a:gd name="csX319" fmla="*/ 1320106 w 1609516"/>
              <a:gd name="csY319" fmla="*/ 602363 h 1538630"/>
              <a:gd name="csX320" fmla="*/ 1328015 w 1609516"/>
              <a:gd name="csY320" fmla="*/ 647640 h 1538630"/>
              <a:gd name="csX321" fmla="*/ 1332604 w 1609516"/>
              <a:gd name="csY321" fmla="*/ 675643 h 1538630"/>
              <a:gd name="csX322" fmla="*/ 1335727 w 1609516"/>
              <a:gd name="csY322" fmla="*/ 675643 h 1538630"/>
              <a:gd name="csX323" fmla="*/ 1337741 w 1609516"/>
              <a:gd name="csY323" fmla="*/ 690059 h 1538630"/>
              <a:gd name="csX324" fmla="*/ 1338003 w 1609516"/>
              <a:gd name="csY324" fmla="*/ 696222 h 1538630"/>
              <a:gd name="csX325" fmla="*/ 1338340 w 1609516"/>
              <a:gd name="csY325" fmla="*/ 705887 h 1538630"/>
              <a:gd name="csX326" fmla="*/ 1345277 w 1609516"/>
              <a:gd name="csY326" fmla="*/ 733245 h 1538630"/>
              <a:gd name="csX327" fmla="*/ 1363162 w 1609516"/>
              <a:gd name="csY327" fmla="*/ 741612 h 1538630"/>
              <a:gd name="csX328" fmla="*/ 1384154 w 1609516"/>
              <a:gd name="csY328" fmla="*/ 748922 h 1538630"/>
              <a:gd name="csX329" fmla="*/ 1391476 w 1609516"/>
              <a:gd name="csY329" fmla="*/ 750419 h 1538630"/>
              <a:gd name="csX330" fmla="*/ 1395564 w 1609516"/>
              <a:gd name="csY330" fmla="*/ 751080 h 1538630"/>
              <a:gd name="csX331" fmla="*/ 1399775 w 1609516"/>
              <a:gd name="csY331" fmla="*/ 751740 h 1538630"/>
              <a:gd name="csX332" fmla="*/ 1403887 w 1609516"/>
              <a:gd name="csY332" fmla="*/ 752489 h 1538630"/>
              <a:gd name="csX333" fmla="*/ 1465383 w 1609516"/>
              <a:gd name="csY333" fmla="*/ 755969 h 1538630"/>
              <a:gd name="csX334" fmla="*/ 1470339 w 1609516"/>
              <a:gd name="csY334" fmla="*/ 755897 h 1538630"/>
              <a:gd name="csX335" fmla="*/ 1496809 w 1609516"/>
              <a:gd name="csY335" fmla="*/ 749313 h 1538630"/>
              <a:gd name="csX336" fmla="*/ 1515371 w 1609516"/>
              <a:gd name="csY336" fmla="*/ 743285 h 1538630"/>
              <a:gd name="csX337" fmla="*/ 1515371 w 1609516"/>
              <a:gd name="csY337" fmla="*/ 740467 h 1538630"/>
              <a:gd name="csX338" fmla="*/ 1537632 w 1609516"/>
              <a:gd name="csY338" fmla="*/ 737120 h 1538630"/>
              <a:gd name="csX339" fmla="*/ 1541657 w 1609516"/>
              <a:gd name="csY339" fmla="*/ 737127 h 1538630"/>
              <a:gd name="csX340" fmla="*/ 1574732 w 1609516"/>
              <a:gd name="csY340" fmla="*/ 748922 h 1538630"/>
              <a:gd name="csX341" fmla="*/ 1588791 w 1609516"/>
              <a:gd name="csY341" fmla="*/ 792608 h 1538630"/>
              <a:gd name="csX342" fmla="*/ 1584105 w 1609516"/>
              <a:gd name="csY342" fmla="*/ 805291 h 1538630"/>
              <a:gd name="csX343" fmla="*/ 1580981 w 1609516"/>
              <a:gd name="csY343" fmla="*/ 806700 h 1538630"/>
              <a:gd name="csX344" fmla="*/ 1578735 w 1609516"/>
              <a:gd name="csY344" fmla="*/ 810311 h 1538630"/>
              <a:gd name="csX345" fmla="*/ 1576295 w 1609516"/>
              <a:gd name="csY345" fmla="*/ 813746 h 1538630"/>
              <a:gd name="csX346" fmla="*/ 1571652 w 1609516"/>
              <a:gd name="csY346" fmla="*/ 813746 h 1538630"/>
              <a:gd name="csX347" fmla="*/ 1571785 w 1609516"/>
              <a:gd name="csY347" fmla="*/ 814106 h 1538630"/>
              <a:gd name="csX348" fmla="*/ 1574909 w 1609516"/>
              <a:gd name="csY348" fmla="*/ 815515 h 1538630"/>
              <a:gd name="csX349" fmla="*/ 1565463 w 1609516"/>
              <a:gd name="csY349" fmla="*/ 821839 h 1538630"/>
              <a:gd name="csX350" fmla="*/ 1562085 w 1609516"/>
              <a:gd name="csY350" fmla="*/ 822101 h 1538630"/>
              <a:gd name="csX351" fmla="*/ 1551301 w 1609516"/>
              <a:gd name="csY351" fmla="*/ 825020 h 1538630"/>
              <a:gd name="csX352" fmla="*/ 1551301 w 1609516"/>
              <a:gd name="csY352" fmla="*/ 827838 h 1538630"/>
              <a:gd name="csX353" fmla="*/ 1485380 w 1609516"/>
              <a:gd name="csY353" fmla="*/ 815007 h 1538630"/>
              <a:gd name="csX354" fmla="*/ 1431603 w 1609516"/>
              <a:gd name="csY354" fmla="*/ 808726 h 1538630"/>
              <a:gd name="csX355" fmla="*/ 1424140 w 1609516"/>
              <a:gd name="csY355" fmla="*/ 808542 h 1538630"/>
              <a:gd name="csX356" fmla="*/ 1406023 w 1609516"/>
              <a:gd name="csY356" fmla="*/ 808109 h 1538630"/>
              <a:gd name="csX357" fmla="*/ 1406023 w 1609516"/>
              <a:gd name="csY357" fmla="*/ 810928 h 1538630"/>
              <a:gd name="csX358" fmla="*/ 1403383 w 1609516"/>
              <a:gd name="csY358" fmla="*/ 811311 h 1538630"/>
              <a:gd name="csX359" fmla="*/ 1345442 w 1609516"/>
              <a:gd name="csY359" fmla="*/ 828907 h 1538630"/>
              <a:gd name="csX360" fmla="*/ 1337875 w 1609516"/>
              <a:gd name="csY360" fmla="*/ 856639 h 1538630"/>
              <a:gd name="csX361" fmla="*/ 1337692 w 1609516"/>
              <a:gd name="csY361" fmla="*/ 860171 h 1538630"/>
              <a:gd name="csX362" fmla="*/ 1337290 w 1609516"/>
              <a:gd name="csY362" fmla="*/ 868706 h 1538630"/>
              <a:gd name="csX363" fmla="*/ 1334165 w 1609516"/>
              <a:gd name="csY363" fmla="*/ 868706 h 1538630"/>
              <a:gd name="csX364" fmla="*/ 1334165 w 1609516"/>
              <a:gd name="csY364" fmla="*/ 870034 h 1538630"/>
              <a:gd name="csX365" fmla="*/ 1334237 w 1609516"/>
              <a:gd name="csY365" fmla="*/ 869093 h 1538630"/>
              <a:gd name="csX366" fmla="*/ 1335800 w 1609516"/>
              <a:gd name="csY366" fmla="*/ 869093 h 1538630"/>
              <a:gd name="csX367" fmla="*/ 1335995 w 1609516"/>
              <a:gd name="csY367" fmla="*/ 876491 h 1538630"/>
              <a:gd name="csX368" fmla="*/ 1336105 w 1609516"/>
              <a:gd name="csY368" fmla="*/ 880653 h 1538630"/>
              <a:gd name="csX369" fmla="*/ 1334294 w 1609516"/>
              <a:gd name="csY369" fmla="*/ 887271 h 1538630"/>
              <a:gd name="csX370" fmla="*/ 1331455 w 1609516"/>
              <a:gd name="csY370" fmla="*/ 896440 h 1538630"/>
              <a:gd name="csX371" fmla="*/ 1330887 w 1609516"/>
              <a:gd name="csY371" fmla="*/ 899969 h 1538630"/>
              <a:gd name="csX372" fmla="*/ 1330332 w 1609516"/>
              <a:gd name="csY372" fmla="*/ 903618 h 1538630"/>
              <a:gd name="csX373" fmla="*/ 1329209 w 1609516"/>
              <a:gd name="csY373" fmla="*/ 910797 h 1538630"/>
              <a:gd name="csX374" fmla="*/ 1328724 w 1609516"/>
              <a:gd name="csY374" fmla="*/ 913998 h 1538630"/>
              <a:gd name="csX375" fmla="*/ 1324865 w 1609516"/>
              <a:gd name="csY375" fmla="*/ 922643 h 1538630"/>
              <a:gd name="csX376" fmla="*/ 1322619 w 1609516"/>
              <a:gd name="csY376" fmla="*/ 937979 h 1538630"/>
              <a:gd name="csX377" fmla="*/ 1318744 w 1609516"/>
              <a:gd name="csY377" fmla="*/ 944961 h 1538630"/>
              <a:gd name="csX378" fmla="*/ 1318544 w 1609516"/>
              <a:gd name="csY378" fmla="*/ 946213 h 1538630"/>
              <a:gd name="csX379" fmla="*/ 1318251 w 1609516"/>
              <a:gd name="csY379" fmla="*/ 955285 h 1538630"/>
              <a:gd name="csX380" fmla="*/ 1318184 w 1609516"/>
              <a:gd name="csY380" fmla="*/ 960036 h 1538630"/>
              <a:gd name="csX381" fmla="*/ 1324024 w 1609516"/>
              <a:gd name="csY381" fmla="*/ 973660 h 1538630"/>
              <a:gd name="csX382" fmla="*/ 1329284 w 1609516"/>
              <a:gd name="csY382" fmla="*/ 983382 h 1538630"/>
              <a:gd name="csX383" fmla="*/ 1340414 w 1609516"/>
              <a:gd name="csY383" fmla="*/ 998354 h 1538630"/>
              <a:gd name="csX384" fmla="*/ 1346272 w 1609516"/>
              <a:gd name="csY384" fmla="*/ 1005048 h 1538630"/>
              <a:gd name="csX385" fmla="*/ 1394716 w 1609516"/>
              <a:gd name="csY385" fmla="*/ 1042740 h 1538630"/>
              <a:gd name="csX386" fmla="*/ 1401953 w 1609516"/>
              <a:gd name="csY386" fmla="*/ 1047374 h 1538630"/>
              <a:gd name="csX387" fmla="*/ 1427197 w 1609516"/>
              <a:gd name="csY387" fmla="*/ 1059061 h 1538630"/>
              <a:gd name="csX388" fmla="*/ 1437265 w 1609516"/>
              <a:gd name="csY388" fmla="*/ 1064588 h 1538630"/>
              <a:gd name="csX389" fmla="*/ 1437265 w 1609516"/>
              <a:gd name="csY389" fmla="*/ 1067406 h 1538630"/>
              <a:gd name="csX390" fmla="*/ 1440878 w 1609516"/>
              <a:gd name="csY390" fmla="*/ 1067847 h 1538630"/>
              <a:gd name="csX391" fmla="*/ 1447175 w 1609516"/>
              <a:gd name="csY391" fmla="*/ 1070753 h 1538630"/>
              <a:gd name="csX392" fmla="*/ 1457866 w 1609516"/>
              <a:gd name="csY392" fmla="*/ 1076830 h 1538630"/>
              <a:gd name="csX393" fmla="*/ 1462132 w 1609516"/>
              <a:gd name="csY393" fmla="*/ 1078696 h 1538630"/>
              <a:gd name="csX394" fmla="*/ 1465383 w 1609516"/>
              <a:gd name="csY394" fmla="*/ 1080089 h 1538630"/>
              <a:gd name="csX395" fmla="*/ 1465383 w 1609516"/>
              <a:gd name="csY395" fmla="*/ 1082908 h 1538630"/>
              <a:gd name="csX396" fmla="*/ 1468758 w 1609516"/>
              <a:gd name="csY396" fmla="*/ 1083975 h 1538630"/>
              <a:gd name="csX397" fmla="*/ 1481688 w 1609516"/>
              <a:gd name="csY397" fmla="*/ 1091187 h 1538630"/>
              <a:gd name="csX398" fmla="*/ 1486283 w 1609516"/>
              <a:gd name="csY398" fmla="*/ 1094236 h 1538630"/>
              <a:gd name="csX399" fmla="*/ 1494869 w 1609516"/>
              <a:gd name="csY399" fmla="*/ 1100171 h 1538630"/>
              <a:gd name="csX400" fmla="*/ 1544335 w 1609516"/>
              <a:gd name="csY400" fmla="*/ 1109518 h 1538630"/>
              <a:gd name="csX401" fmla="*/ 1593477 w 1609516"/>
              <a:gd name="csY401" fmla="*/ 1119900 h 1538630"/>
              <a:gd name="csX402" fmla="*/ 1605975 w 1609516"/>
              <a:gd name="csY402" fmla="*/ 1144913 h 1538630"/>
              <a:gd name="csX403" fmla="*/ 1609099 w 1609516"/>
              <a:gd name="csY403" fmla="*/ 1144913 h 1538630"/>
              <a:gd name="csX404" fmla="*/ 1609392 w 1609516"/>
              <a:gd name="csY404" fmla="*/ 1156892 h 1538630"/>
              <a:gd name="csX405" fmla="*/ 1609511 w 1609516"/>
              <a:gd name="csY405" fmla="*/ 1160272 h 1538630"/>
              <a:gd name="csX406" fmla="*/ 1604412 w 1609516"/>
              <a:gd name="csY406" fmla="*/ 1181553 h 1538630"/>
              <a:gd name="csX407" fmla="*/ 1601288 w 1609516"/>
              <a:gd name="csY407" fmla="*/ 1190009 h 1538630"/>
              <a:gd name="csX408" fmla="*/ 1598164 w 1609516"/>
              <a:gd name="csY408" fmla="*/ 1190009 h 1538630"/>
              <a:gd name="csX409" fmla="*/ 1597187 w 1609516"/>
              <a:gd name="csY409" fmla="*/ 1192739 h 1538630"/>
              <a:gd name="csX410" fmla="*/ 1595040 w 1609516"/>
              <a:gd name="csY410" fmla="*/ 1195645 h 1538630"/>
              <a:gd name="csX411" fmla="*/ 1585667 w 1609516"/>
              <a:gd name="csY411" fmla="*/ 1197055 h 1538630"/>
              <a:gd name="csX412" fmla="*/ 1582543 w 1609516"/>
              <a:gd name="csY412" fmla="*/ 1202691 h 1538630"/>
              <a:gd name="csX413" fmla="*/ 1562431 w 1609516"/>
              <a:gd name="csY413" fmla="*/ 1204365 h 1538630"/>
              <a:gd name="csX414" fmla="*/ 1558690 w 1609516"/>
              <a:gd name="csY414" fmla="*/ 1204417 h 1538630"/>
              <a:gd name="csX415" fmla="*/ 1521102 w 1609516"/>
              <a:gd name="csY415" fmla="*/ 1189585 h 1538630"/>
              <a:gd name="csX416" fmla="*/ 1505022 w 1609516"/>
              <a:gd name="csY416" fmla="*/ 1172041 h 1538630"/>
              <a:gd name="csX417" fmla="*/ 1457573 w 1609516"/>
              <a:gd name="csY417" fmla="*/ 1140686 h 1538630"/>
              <a:gd name="csX418" fmla="*/ 1457573 w 1609516"/>
              <a:gd name="csY418" fmla="*/ 1137867 h 1538630"/>
              <a:gd name="csX419" fmla="*/ 1452985 w 1609516"/>
              <a:gd name="csY419" fmla="*/ 1137339 h 1538630"/>
              <a:gd name="csX420" fmla="*/ 1448200 w 1609516"/>
              <a:gd name="csY420" fmla="*/ 1136458 h 1538630"/>
              <a:gd name="csX421" fmla="*/ 1446638 w 1609516"/>
              <a:gd name="csY421" fmla="*/ 1133640 h 1538630"/>
              <a:gd name="csX422" fmla="*/ 1438937 w 1609516"/>
              <a:gd name="csY422" fmla="*/ 1130601 h 1538630"/>
              <a:gd name="csX423" fmla="*/ 1429260 w 1609516"/>
              <a:gd name="csY423" fmla="*/ 1126770 h 1538630"/>
              <a:gd name="csX424" fmla="*/ 1411393 w 1609516"/>
              <a:gd name="csY424" fmla="*/ 1120340 h 1538630"/>
              <a:gd name="csX425" fmla="*/ 1391427 w 1609516"/>
              <a:gd name="csY425" fmla="*/ 1111191 h 1538630"/>
              <a:gd name="csX426" fmla="*/ 1381029 w 1609516"/>
              <a:gd name="csY426" fmla="*/ 1106865 h 1538630"/>
              <a:gd name="csX427" fmla="*/ 1381029 w 1609516"/>
              <a:gd name="csY427" fmla="*/ 1104046 h 1538630"/>
              <a:gd name="csX428" fmla="*/ 1377221 w 1609516"/>
              <a:gd name="csY428" fmla="*/ 1103605 h 1538630"/>
              <a:gd name="csX429" fmla="*/ 1357597 w 1609516"/>
              <a:gd name="csY429" fmla="*/ 1098409 h 1538630"/>
              <a:gd name="csX430" fmla="*/ 1352032 w 1609516"/>
              <a:gd name="csY430" fmla="*/ 1096736 h 1538630"/>
              <a:gd name="csX431" fmla="*/ 1348225 w 1609516"/>
              <a:gd name="csY431" fmla="*/ 1095590 h 1538630"/>
              <a:gd name="csX432" fmla="*/ 1348225 w 1609516"/>
              <a:gd name="csY432" fmla="*/ 1092772 h 1538630"/>
              <a:gd name="csX433" fmla="*/ 1337290 w 1609516"/>
              <a:gd name="csY433" fmla="*/ 1091363 h 1538630"/>
              <a:gd name="csX434" fmla="*/ 1337290 w 1609516"/>
              <a:gd name="csY434" fmla="*/ 1088544 h 1538630"/>
              <a:gd name="csX435" fmla="*/ 1331529 w 1609516"/>
              <a:gd name="csY435" fmla="*/ 1088104 h 1538630"/>
              <a:gd name="csX436" fmla="*/ 1323297 w 1609516"/>
              <a:gd name="csY436" fmla="*/ 1086611 h 1538630"/>
              <a:gd name="csX437" fmla="*/ 1323297 w 1609516"/>
              <a:gd name="csY437" fmla="*/ 1087618 h 1538630"/>
              <a:gd name="csX438" fmla="*/ 1319789 w 1609516"/>
              <a:gd name="csY438" fmla="*/ 1087310 h 1538630"/>
              <a:gd name="csX439" fmla="*/ 1262375 w 1609516"/>
              <a:gd name="csY439" fmla="*/ 1089028 h 1538630"/>
              <a:gd name="csX440" fmla="*/ 1258728 w 1609516"/>
              <a:gd name="csY440" fmla="*/ 1088205 h 1538630"/>
              <a:gd name="csX441" fmla="*/ 1246964 w 1609516"/>
              <a:gd name="csY441" fmla="*/ 1091489 h 1538630"/>
              <a:gd name="csX442" fmla="*/ 1223224 w 1609516"/>
              <a:gd name="csY442" fmla="*/ 1112865 h 1538630"/>
              <a:gd name="csX443" fmla="*/ 1213883 w 1609516"/>
              <a:gd name="csY443" fmla="*/ 1122366 h 1538630"/>
              <a:gd name="csX444" fmla="*/ 1212505 w 1609516"/>
              <a:gd name="csY444" fmla="*/ 1125708 h 1538630"/>
              <a:gd name="csX445" fmla="*/ 1204180 w 1609516"/>
              <a:gd name="csY445" fmla="*/ 1135561 h 1538630"/>
              <a:gd name="csX446" fmla="*/ 1200238 w 1609516"/>
              <a:gd name="csY446" fmla="*/ 1138999 h 1538630"/>
              <a:gd name="csX447" fmla="*/ 1192025 w 1609516"/>
              <a:gd name="csY447" fmla="*/ 1146022 h 1538630"/>
              <a:gd name="csX448" fmla="*/ 1173945 w 1609516"/>
              <a:gd name="csY448" fmla="*/ 1174749 h 1538630"/>
              <a:gd name="csX449" fmla="*/ 1173950 w 1609516"/>
              <a:gd name="csY449" fmla="*/ 1182610 h 1538630"/>
              <a:gd name="csX450" fmla="*/ 1173989 w 1609516"/>
              <a:gd name="csY450" fmla="*/ 1186765 h 1538630"/>
              <a:gd name="csX451" fmla="*/ 1182640 w 1609516"/>
              <a:gd name="csY451" fmla="*/ 1215374 h 1538630"/>
              <a:gd name="csX452" fmla="*/ 1185764 w 1609516"/>
              <a:gd name="csY452" fmla="*/ 1221804 h 1538630"/>
              <a:gd name="csX453" fmla="*/ 1187301 w 1609516"/>
              <a:gd name="csY453" fmla="*/ 1224859 h 1538630"/>
              <a:gd name="csX454" fmla="*/ 1190573 w 1609516"/>
              <a:gd name="csY454" fmla="*/ 1231740 h 1538630"/>
              <a:gd name="csX455" fmla="*/ 1205925 w 1609516"/>
              <a:gd name="csY455" fmla="*/ 1255163 h 1538630"/>
              <a:gd name="csX456" fmla="*/ 1212174 w 1609516"/>
              <a:gd name="csY456" fmla="*/ 1263134 h 1538630"/>
              <a:gd name="csX457" fmla="*/ 1235556 w 1609516"/>
              <a:gd name="csY457" fmla="*/ 1282538 h 1538630"/>
              <a:gd name="csX458" fmla="*/ 1238876 w 1609516"/>
              <a:gd name="csY458" fmla="*/ 1284426 h 1538630"/>
              <a:gd name="csX459" fmla="*/ 1238876 w 1609516"/>
              <a:gd name="csY459" fmla="*/ 1287245 h 1538630"/>
              <a:gd name="csX460" fmla="*/ 1242245 w 1609516"/>
              <a:gd name="csY460" fmla="*/ 1287663 h 1538630"/>
              <a:gd name="csX461" fmla="*/ 1271681 w 1609516"/>
              <a:gd name="csY461" fmla="*/ 1305565 h 1538630"/>
              <a:gd name="csX462" fmla="*/ 1271742 w 1609516"/>
              <a:gd name="csY462" fmla="*/ 1306172 h 1538630"/>
              <a:gd name="csX463" fmla="*/ 1278525 w 1609516"/>
              <a:gd name="csY463" fmla="*/ 1315767 h 1538630"/>
              <a:gd name="csX464" fmla="*/ 1281097 w 1609516"/>
              <a:gd name="csY464" fmla="*/ 1327286 h 1538630"/>
              <a:gd name="csX465" fmla="*/ 1277973 w 1609516"/>
              <a:gd name="csY465" fmla="*/ 1355470 h 1538630"/>
              <a:gd name="csX466" fmla="*/ 1277460 w 1609516"/>
              <a:gd name="csY466" fmla="*/ 1347025 h 1538630"/>
              <a:gd name="csX467" fmla="*/ 1273531 w 1609516"/>
              <a:gd name="csY467" fmla="*/ 1357991 h 1538630"/>
              <a:gd name="csX468" fmla="*/ 1263870 w 1609516"/>
              <a:gd name="csY468" fmla="*/ 1368980 h 1538630"/>
              <a:gd name="csX469" fmla="*/ 1246686 w 1609516"/>
              <a:gd name="csY469" fmla="*/ 1376026 h 1538630"/>
              <a:gd name="csX470" fmla="*/ 1246686 w 1609516"/>
              <a:gd name="csY470" fmla="*/ 1378844 h 1538630"/>
              <a:gd name="csX471" fmla="*/ 1231651 w 1609516"/>
              <a:gd name="csY471" fmla="*/ 1379196 h 1538630"/>
              <a:gd name="csX472" fmla="*/ 1227373 w 1609516"/>
              <a:gd name="csY472" fmla="*/ 1379340 h 1538630"/>
              <a:gd name="csX473" fmla="*/ 1206071 w 1609516"/>
              <a:gd name="csY473" fmla="*/ 1373207 h 1538630"/>
              <a:gd name="csX474" fmla="*/ 1202069 w 1609516"/>
              <a:gd name="csY474" fmla="*/ 1371798 h 1538630"/>
              <a:gd name="csX475" fmla="*/ 1184104 w 1609516"/>
              <a:gd name="csY475" fmla="*/ 1356176 h 1538630"/>
              <a:gd name="csX476" fmla="*/ 1177270 w 1609516"/>
              <a:gd name="csY476" fmla="*/ 1335247 h 1538630"/>
              <a:gd name="csX477" fmla="*/ 1169002 w 1609516"/>
              <a:gd name="csY477" fmla="*/ 1313464 h 1538630"/>
              <a:gd name="csX478" fmla="*/ 1163504 w 1609516"/>
              <a:gd name="csY478" fmla="*/ 1302130 h 1538630"/>
              <a:gd name="csX479" fmla="*/ 1162015 w 1609516"/>
              <a:gd name="csY479" fmla="*/ 1298788 h 1538630"/>
              <a:gd name="csX480" fmla="*/ 1160111 w 1609516"/>
              <a:gd name="csY480" fmla="*/ 1292656 h 1538630"/>
              <a:gd name="csX481" fmla="*/ 1154522 w 1609516"/>
              <a:gd name="csY481" fmla="*/ 1287245 h 1538630"/>
              <a:gd name="csX482" fmla="*/ 1151398 w 1609516"/>
              <a:gd name="csY482" fmla="*/ 1280199 h 1538630"/>
              <a:gd name="csX483" fmla="*/ 1144173 w 1609516"/>
              <a:gd name="csY483" fmla="*/ 1270774 h 1538630"/>
              <a:gd name="csX484" fmla="*/ 1142065 w 1609516"/>
              <a:gd name="csY484" fmla="*/ 1268160 h 1538630"/>
              <a:gd name="csX485" fmla="*/ 1135776 w 1609516"/>
              <a:gd name="csY485" fmla="*/ 1260470 h 1538630"/>
              <a:gd name="csX486" fmla="*/ 1132353 w 1609516"/>
              <a:gd name="csY486" fmla="*/ 1256247 h 1538630"/>
              <a:gd name="csX487" fmla="*/ 1112344 w 1609516"/>
              <a:gd name="csY487" fmla="*/ 1240741 h 1538630"/>
              <a:gd name="csX488" fmla="*/ 1106193 w 1609516"/>
              <a:gd name="csY488" fmla="*/ 1237570 h 1538630"/>
              <a:gd name="csX489" fmla="*/ 1101409 w 1609516"/>
              <a:gd name="csY489" fmla="*/ 1235104 h 1538630"/>
              <a:gd name="csX490" fmla="*/ 1101409 w 1609516"/>
              <a:gd name="csY490" fmla="*/ 1230876 h 1538630"/>
              <a:gd name="csX491" fmla="*/ 1065480 w 1609516"/>
              <a:gd name="csY491" fmla="*/ 1230876 h 1538630"/>
              <a:gd name="csX492" fmla="*/ 1063919 w 1609516"/>
              <a:gd name="csY492" fmla="*/ 1235104 h 1538630"/>
              <a:gd name="csX493" fmla="*/ 1059232 w 1609516"/>
              <a:gd name="csY493" fmla="*/ 1235104 h 1538630"/>
              <a:gd name="csX494" fmla="*/ 1059232 w 1609516"/>
              <a:gd name="csY494" fmla="*/ 1237922 h 1538630"/>
              <a:gd name="csX495" fmla="*/ 1040194 w 1609516"/>
              <a:gd name="csY495" fmla="*/ 1245761 h 1538630"/>
              <a:gd name="csX496" fmla="*/ 1030333 w 1609516"/>
              <a:gd name="csY496" fmla="*/ 1249901 h 1538630"/>
              <a:gd name="csX497" fmla="*/ 1013931 w 1609516"/>
              <a:gd name="csY497" fmla="*/ 1256242 h 1538630"/>
              <a:gd name="csX498" fmla="*/ 1005925 w 1609516"/>
              <a:gd name="csY498" fmla="*/ 1261615 h 1538630"/>
              <a:gd name="csX499" fmla="*/ 1004558 w 1609516"/>
              <a:gd name="csY499" fmla="*/ 1264697 h 1538630"/>
              <a:gd name="csX500" fmla="*/ 1002959 w 1609516"/>
              <a:gd name="csY500" fmla="*/ 1267961 h 1538630"/>
              <a:gd name="csX501" fmla="*/ 1000653 w 1609516"/>
              <a:gd name="csY501" fmla="*/ 1278965 h 1538630"/>
              <a:gd name="csX502" fmla="*/ 998297 w 1609516"/>
              <a:gd name="csY502" fmla="*/ 1294137 h 1538630"/>
              <a:gd name="csX503" fmla="*/ 996162 w 1609516"/>
              <a:gd name="csY503" fmla="*/ 1324765 h 1538630"/>
              <a:gd name="csX504" fmla="*/ 996164 w 1609516"/>
              <a:gd name="csY504" fmla="*/ 1327846 h 1538630"/>
              <a:gd name="csX505" fmla="*/ 1007780 w 1609516"/>
              <a:gd name="csY505" fmla="*/ 1403329 h 1538630"/>
              <a:gd name="csX506" fmla="*/ 1008940 w 1609516"/>
              <a:gd name="csY506" fmla="*/ 1407701 h 1538630"/>
              <a:gd name="csX507" fmla="*/ 1010080 w 1609516"/>
              <a:gd name="csY507" fmla="*/ 1411730 h 1538630"/>
              <a:gd name="csX508" fmla="*/ 1011075 w 1609516"/>
              <a:gd name="csY508" fmla="*/ 1415277 h 1538630"/>
              <a:gd name="csX509" fmla="*/ 1017055 w 1609516"/>
              <a:gd name="csY509" fmla="*/ 1422530 h 1538630"/>
              <a:gd name="csX510" fmla="*/ 1020277 w 1609516"/>
              <a:gd name="csY510" fmla="*/ 1427991 h 1538630"/>
              <a:gd name="csX511" fmla="*/ 1021796 w 1609516"/>
              <a:gd name="csY511" fmla="*/ 1430798 h 1538630"/>
              <a:gd name="csX512" fmla="*/ 1024579 w 1609516"/>
              <a:gd name="csY512" fmla="*/ 1437239 h 1538630"/>
              <a:gd name="csX513" fmla="*/ 1034043 w 1609516"/>
              <a:gd name="csY513" fmla="*/ 1448072 h 1538630"/>
              <a:gd name="csX514" fmla="*/ 1043782 w 1609516"/>
              <a:gd name="csY514" fmla="*/ 1464320 h 1538630"/>
              <a:gd name="csX515" fmla="*/ 1050458 w 1609516"/>
              <a:gd name="csY515" fmla="*/ 1472189 h 1538630"/>
              <a:gd name="csX516" fmla="*/ 1052926 w 1609516"/>
              <a:gd name="csY516" fmla="*/ 1482370 h 1538630"/>
              <a:gd name="csX517" fmla="*/ 1053316 w 1609516"/>
              <a:gd name="csY517" fmla="*/ 1496903 h 1538630"/>
              <a:gd name="csX518" fmla="*/ 1053352 w 1609516"/>
              <a:gd name="csY518" fmla="*/ 1500660 h 1538630"/>
              <a:gd name="csX519" fmla="*/ 1053341 w 1609516"/>
              <a:gd name="csY519" fmla="*/ 1504285 h 1538630"/>
              <a:gd name="csX520" fmla="*/ 1053329 w 1609516"/>
              <a:gd name="csY520" fmla="*/ 1507529 h 1538630"/>
              <a:gd name="csX521" fmla="*/ 1049801 w 1609516"/>
              <a:gd name="csY521" fmla="*/ 1516192 h 1538630"/>
              <a:gd name="csX522" fmla="*/ 1047312 w 1609516"/>
              <a:gd name="csY522" fmla="*/ 1516192 h 1538630"/>
              <a:gd name="csX523" fmla="*/ 1043611 w 1609516"/>
              <a:gd name="csY523" fmla="*/ 1522585 h 1538630"/>
              <a:gd name="csX524" fmla="*/ 1029552 w 1609516"/>
              <a:gd name="csY524" fmla="*/ 1529631 h 1538630"/>
              <a:gd name="csX525" fmla="*/ 1028771 w 1609516"/>
              <a:gd name="csY525" fmla="*/ 1532273 h 1538630"/>
              <a:gd name="csX526" fmla="*/ 1018013 w 1609516"/>
              <a:gd name="csY526" fmla="*/ 1537640 h 1538630"/>
              <a:gd name="csX527" fmla="*/ 981126 w 1609516"/>
              <a:gd name="csY527" fmla="*/ 1533859 h 1538630"/>
              <a:gd name="csX528" fmla="*/ 977227 w 1609516"/>
              <a:gd name="csY528" fmla="*/ 1531943 h 1538630"/>
              <a:gd name="csX529" fmla="*/ 955376 w 1609516"/>
              <a:gd name="csY529" fmla="*/ 1508751 h 1538630"/>
              <a:gd name="csX530" fmla="*/ 954571 w 1609516"/>
              <a:gd name="csY530" fmla="*/ 1500037 h 1538630"/>
              <a:gd name="csX531" fmla="*/ 951446 w 1609516"/>
              <a:gd name="csY531" fmla="*/ 1500037 h 1538630"/>
              <a:gd name="csX532" fmla="*/ 951251 w 1609516"/>
              <a:gd name="csY532" fmla="*/ 1487883 h 1538630"/>
              <a:gd name="csX533" fmla="*/ 951171 w 1609516"/>
              <a:gd name="csY533" fmla="*/ 1484431 h 1538630"/>
              <a:gd name="csX534" fmla="*/ 954571 w 1609516"/>
              <a:gd name="csY534" fmla="*/ 1466216 h 1538630"/>
              <a:gd name="csX535" fmla="*/ 954961 w 1609516"/>
              <a:gd name="csY535" fmla="*/ 1455118 h 1538630"/>
              <a:gd name="csX536" fmla="*/ 954932 w 1609516"/>
              <a:gd name="csY536" fmla="*/ 1451972 h 1538630"/>
              <a:gd name="csX537" fmla="*/ 945099 w 1609516"/>
              <a:gd name="csY537" fmla="*/ 1403594 h 1538630"/>
              <a:gd name="csX538" fmla="*/ 942366 w 1609516"/>
              <a:gd name="csY538" fmla="*/ 1393553 h 1538630"/>
              <a:gd name="csX539" fmla="*/ 934451 w 1609516"/>
              <a:gd name="csY539" fmla="*/ 1372734 h 1538630"/>
              <a:gd name="csX540" fmla="*/ 931974 w 1609516"/>
              <a:gd name="csY540" fmla="*/ 1365754 h 1538630"/>
              <a:gd name="csX541" fmla="*/ 931138 w 1609516"/>
              <a:gd name="csY541" fmla="*/ 1363343 h 1538630"/>
              <a:gd name="csX542" fmla="*/ 926452 w 1609516"/>
              <a:gd name="csY542" fmla="*/ 1361933 h 1538630"/>
              <a:gd name="csX543" fmla="*/ 918641 w 1609516"/>
              <a:gd name="csY543" fmla="*/ 1340795 h 1538630"/>
              <a:gd name="csX544" fmla="*/ 917079 w 1609516"/>
              <a:gd name="csY544" fmla="*/ 1335158 h 1538630"/>
              <a:gd name="csX545" fmla="*/ 913955 w 1609516"/>
              <a:gd name="csY545" fmla="*/ 1335158 h 1538630"/>
              <a:gd name="csX546" fmla="*/ 912057 w 1609516"/>
              <a:gd name="csY546" fmla="*/ 1330793 h 1538630"/>
              <a:gd name="csX547" fmla="*/ 902142 w 1609516"/>
              <a:gd name="csY547" fmla="*/ 1316222 h 1538630"/>
              <a:gd name="csX548" fmla="*/ 900091 w 1609516"/>
              <a:gd name="csY548" fmla="*/ 1313828 h 1538630"/>
              <a:gd name="csX549" fmla="*/ 878026 w 1609516"/>
              <a:gd name="csY549" fmla="*/ 1295700 h 1538630"/>
              <a:gd name="csX550" fmla="*/ 875134 w 1609516"/>
              <a:gd name="csY550" fmla="*/ 1293465 h 1538630"/>
              <a:gd name="csX551" fmla="*/ 869869 w 1609516"/>
              <a:gd name="csY551" fmla="*/ 1291826 h 1538630"/>
              <a:gd name="csX552" fmla="*/ 862384 w 1609516"/>
              <a:gd name="csY552" fmla="*/ 1291327 h 1538630"/>
              <a:gd name="csX553" fmla="*/ 844390 w 1609516"/>
              <a:gd name="csY553" fmla="*/ 1290461 h 1538630"/>
              <a:gd name="csX554" fmla="*/ 840476 w 1609516"/>
              <a:gd name="csY554" fmla="*/ 1290500 h 1538630"/>
              <a:gd name="csX555" fmla="*/ 831015 w 1609516"/>
              <a:gd name="csY555" fmla="*/ 1290637 h 1538630"/>
              <a:gd name="csX556" fmla="*/ 831015 w 1609516"/>
              <a:gd name="csY556" fmla="*/ 1293456 h 1538630"/>
              <a:gd name="csX557" fmla="*/ 818225 w 1609516"/>
              <a:gd name="csY557" fmla="*/ 1295570 h 1538630"/>
              <a:gd name="csX558" fmla="*/ 796774 w 1609516"/>
              <a:gd name="csY558" fmla="*/ 1297671 h 1538630"/>
              <a:gd name="csX559" fmla="*/ 783646 w 1609516"/>
              <a:gd name="csY559" fmla="*/ 1305736 h 1538630"/>
              <a:gd name="csX560" fmla="*/ 769263 w 1609516"/>
              <a:gd name="csY560" fmla="*/ 1327143 h 1538630"/>
              <a:gd name="csX561" fmla="*/ 764797 w 1609516"/>
              <a:gd name="csY561" fmla="*/ 1334360 h 1538630"/>
              <a:gd name="csX562" fmla="*/ 757875 w 1609516"/>
              <a:gd name="csY562" fmla="*/ 1353503 h 1538630"/>
              <a:gd name="csX563" fmla="*/ 755676 w 1609516"/>
              <a:gd name="csY563" fmla="*/ 1367455 h 1538630"/>
              <a:gd name="csX564" fmla="*/ 750558 w 1609516"/>
              <a:gd name="csY564" fmla="*/ 1399690 h 1538630"/>
              <a:gd name="csX565" fmla="*/ 753057 w 1609516"/>
              <a:gd name="csY565" fmla="*/ 1411256 h 1538630"/>
              <a:gd name="csX566" fmla="*/ 753057 w 1609516"/>
              <a:gd name="csY566" fmla="*/ 1416893 h 1538630"/>
              <a:gd name="csX567" fmla="*/ 756181 w 1609516"/>
              <a:gd name="csY567" fmla="*/ 1416893 h 1538630"/>
              <a:gd name="csX568" fmla="*/ 758133 w 1609516"/>
              <a:gd name="csY568" fmla="*/ 1436182 h 1538630"/>
              <a:gd name="csX569" fmla="*/ 758231 w 1609516"/>
              <a:gd name="csY569" fmla="*/ 1440781 h 1538630"/>
              <a:gd name="csX570" fmla="*/ 750713 w 1609516"/>
              <a:gd name="csY570" fmla="*/ 1465704 h 1538630"/>
              <a:gd name="csX571" fmla="*/ 748370 w 1609516"/>
              <a:gd name="csY571" fmla="*/ 1467185 h 1538630"/>
              <a:gd name="csX572" fmla="*/ 741633 w 1609516"/>
              <a:gd name="csY572" fmla="*/ 1473526 h 1538630"/>
              <a:gd name="csX573" fmla="*/ 728154 w 1609516"/>
              <a:gd name="csY573" fmla="*/ 1478343 h 1538630"/>
              <a:gd name="csX574" fmla="*/ 721814 w 1609516"/>
              <a:gd name="csY574" fmla="*/ 1480308 h 1538630"/>
              <a:gd name="csX575" fmla="*/ 708341 w 1609516"/>
              <a:gd name="csY575" fmla="*/ 1480661 h 1538630"/>
              <a:gd name="csX576" fmla="*/ 704637 w 1609516"/>
              <a:gd name="csY576" fmla="*/ 1480748 h 1538630"/>
              <a:gd name="csX577" fmla="*/ 668507 w 1609516"/>
              <a:gd name="csY577" fmla="*/ 1468418 h 1538630"/>
              <a:gd name="csX578" fmla="*/ 660178 w 1609516"/>
              <a:gd name="csY578" fmla="*/ 1450027 h 1538630"/>
              <a:gd name="csX579" fmla="*/ 657767 w 1609516"/>
              <a:gd name="csY579" fmla="*/ 1445078 h 1538630"/>
              <a:gd name="csX580" fmla="*/ 663369 w 1609516"/>
              <a:gd name="csY580" fmla="*/ 1409390 h 1538630"/>
              <a:gd name="csX581" fmla="*/ 671826 w 1609516"/>
              <a:gd name="csY581" fmla="*/ 1401392 h 1538630"/>
              <a:gd name="csX582" fmla="*/ 678075 w 1609516"/>
              <a:gd name="csY582" fmla="*/ 1390118 h 1538630"/>
              <a:gd name="csX583" fmla="*/ 684323 w 1609516"/>
              <a:gd name="csY583" fmla="*/ 1388709 h 1538630"/>
              <a:gd name="csX584" fmla="*/ 685293 w 1609516"/>
              <a:gd name="csY584" fmla="*/ 1384233 h 1538630"/>
              <a:gd name="csX585" fmla="*/ 686569 w 1609516"/>
              <a:gd name="csY585" fmla="*/ 1378404 h 1538630"/>
              <a:gd name="csX586" fmla="*/ 687207 w 1609516"/>
              <a:gd name="csY586" fmla="*/ 1375456 h 1538630"/>
              <a:gd name="csX587" fmla="*/ 690572 w 1609516"/>
              <a:gd name="csY587" fmla="*/ 1363343 h 1538630"/>
              <a:gd name="csX588" fmla="*/ 692495 w 1609516"/>
              <a:gd name="csY588" fmla="*/ 1323376 h 1538630"/>
              <a:gd name="csX589" fmla="*/ 692625 w 1609516"/>
              <a:gd name="csY589" fmla="*/ 1315006 h 1538630"/>
              <a:gd name="csX590" fmla="*/ 687447 w 1609516"/>
              <a:gd name="csY590" fmla="*/ 1287245 h 1538630"/>
              <a:gd name="csX591" fmla="*/ 682761 w 1609516"/>
              <a:gd name="csY591" fmla="*/ 1285835 h 1538630"/>
              <a:gd name="csX592" fmla="*/ 678954 w 1609516"/>
              <a:gd name="csY592" fmla="*/ 1281608 h 1538630"/>
              <a:gd name="csX593" fmla="*/ 668702 w 1609516"/>
              <a:gd name="csY593" fmla="*/ 1275971 h 1538630"/>
              <a:gd name="csX594" fmla="*/ 662454 w 1609516"/>
              <a:gd name="csY594" fmla="*/ 1270334 h 1538630"/>
              <a:gd name="csX595" fmla="*/ 654643 w 1609516"/>
              <a:gd name="csY595" fmla="*/ 1267516 h 1538630"/>
              <a:gd name="csX596" fmla="*/ 654643 w 1609516"/>
              <a:gd name="csY596" fmla="*/ 1264697 h 1538630"/>
              <a:gd name="csX597" fmla="*/ 650152 w 1609516"/>
              <a:gd name="csY597" fmla="*/ 1264345 h 1538630"/>
              <a:gd name="csX598" fmla="*/ 628087 w 1609516"/>
              <a:gd name="csY598" fmla="*/ 1257651 h 1538630"/>
              <a:gd name="csX599" fmla="*/ 628087 w 1609516"/>
              <a:gd name="csY599" fmla="*/ 1254833 h 1538630"/>
              <a:gd name="csX600" fmla="*/ 625121 w 1609516"/>
              <a:gd name="csY600" fmla="*/ 1254315 h 1538630"/>
              <a:gd name="csX601" fmla="*/ 621252 w 1609516"/>
              <a:gd name="csY601" fmla="*/ 1253600 h 1538630"/>
              <a:gd name="csX602" fmla="*/ 617409 w 1609516"/>
              <a:gd name="csY602" fmla="*/ 1252906 h 1538630"/>
              <a:gd name="csX603" fmla="*/ 610904 w 1609516"/>
              <a:gd name="csY603" fmla="*/ 1249196 h 1538630"/>
              <a:gd name="csX604" fmla="*/ 565739 w 1609516"/>
              <a:gd name="csY604" fmla="*/ 1271742 h 1538630"/>
              <a:gd name="csX605" fmla="*/ 546924 w 1609516"/>
              <a:gd name="csY605" fmla="*/ 1290829 h 1538630"/>
              <a:gd name="csX606" fmla="*/ 543635 w 1609516"/>
              <a:gd name="csY606" fmla="*/ 1294643 h 1538630"/>
              <a:gd name="csX607" fmla="*/ 540651 w 1609516"/>
              <a:gd name="csY607" fmla="*/ 1298188 h 1538630"/>
              <a:gd name="csX608" fmla="*/ 529673 w 1609516"/>
              <a:gd name="csY608" fmla="*/ 1305565 h 1538630"/>
              <a:gd name="csX609" fmla="*/ 526549 w 1609516"/>
              <a:gd name="csY609" fmla="*/ 1311202 h 1538630"/>
              <a:gd name="csX610" fmla="*/ 523425 w 1609516"/>
              <a:gd name="csY610" fmla="*/ 1311202 h 1538630"/>
              <a:gd name="csX611" fmla="*/ 523230 w 1609516"/>
              <a:gd name="csY611" fmla="*/ 1313580 h 1538630"/>
              <a:gd name="csX612" fmla="*/ 517732 w 1609516"/>
              <a:gd name="csY612" fmla="*/ 1319739 h 1538630"/>
              <a:gd name="csX613" fmla="*/ 502239 w 1609516"/>
              <a:gd name="csY613" fmla="*/ 1337096 h 1538630"/>
              <a:gd name="csX614" fmla="*/ 497058 w 1609516"/>
              <a:gd name="csY614" fmla="*/ 1344087 h 1538630"/>
              <a:gd name="csX615" fmla="*/ 494572 w 1609516"/>
              <a:gd name="csY615" fmla="*/ 1347465 h 1538630"/>
              <a:gd name="csX616" fmla="*/ 487776 w 1609516"/>
              <a:gd name="csY616" fmla="*/ 1356181 h 1538630"/>
              <a:gd name="csX617" fmla="*/ 481248 w 1609516"/>
              <a:gd name="csY617" fmla="*/ 1367571 h 1538630"/>
              <a:gd name="csX618" fmla="*/ 478123 w 1609516"/>
              <a:gd name="csY618" fmla="*/ 1367571 h 1538630"/>
              <a:gd name="csX619" fmla="*/ 477635 w 1609516"/>
              <a:gd name="csY619" fmla="*/ 1370565 h 1538630"/>
              <a:gd name="csX620" fmla="*/ 465626 w 1609516"/>
              <a:gd name="csY620" fmla="*/ 1388709 h 1538630"/>
              <a:gd name="csX621" fmla="*/ 461233 w 1609516"/>
              <a:gd name="csY621" fmla="*/ 1397340 h 1538630"/>
              <a:gd name="csX622" fmla="*/ 455765 w 1609516"/>
              <a:gd name="csY622" fmla="*/ 1408086 h 1538630"/>
              <a:gd name="csX623" fmla="*/ 439070 w 1609516"/>
              <a:gd name="csY623" fmla="*/ 1477490 h 1538630"/>
              <a:gd name="csX624" fmla="*/ 434384 w 1609516"/>
              <a:gd name="csY624" fmla="*/ 1478899 h 1538630"/>
              <a:gd name="csX625" fmla="*/ 432431 w 1609516"/>
              <a:gd name="csY625" fmla="*/ 1481982 h 1538630"/>
              <a:gd name="csX626" fmla="*/ 418763 w 1609516"/>
              <a:gd name="csY626" fmla="*/ 1494401 h 1538630"/>
              <a:gd name="csX627" fmla="*/ 415639 w 1609516"/>
              <a:gd name="csY627" fmla="*/ 1494401 h 1538630"/>
              <a:gd name="csX628" fmla="*/ 415639 w 1609516"/>
              <a:gd name="csY628" fmla="*/ 1497219 h 1538630"/>
              <a:gd name="csX629" fmla="*/ 406265 w 1609516"/>
              <a:gd name="csY629" fmla="*/ 1498628 h 1538630"/>
              <a:gd name="csX630" fmla="*/ 406265 w 1609516"/>
              <a:gd name="csY630" fmla="*/ 1501447 h 1538630"/>
              <a:gd name="csX631" fmla="*/ 375023 w 1609516"/>
              <a:gd name="csY631" fmla="*/ 1501447 h 1538630"/>
              <a:gd name="csX632" fmla="*/ 375023 w 1609516"/>
              <a:gd name="csY632" fmla="*/ 1499438 h 1538630"/>
              <a:gd name="csX633" fmla="*/ 374964 w 1609516"/>
              <a:gd name="csY633" fmla="*/ 1499436 h 1538630"/>
              <a:gd name="csX634" fmla="*/ 373179 w 1609516"/>
              <a:gd name="csY634" fmla="*/ 1498628 h 1538630"/>
              <a:gd name="csX635" fmla="*/ 365650 w 1609516"/>
              <a:gd name="csY635" fmla="*/ 1498628 h 1538630"/>
              <a:gd name="csX636" fmla="*/ 363134 w 1609516"/>
              <a:gd name="csY636" fmla="*/ 1494087 h 1538630"/>
              <a:gd name="csX637" fmla="*/ 362171 w 1609516"/>
              <a:gd name="csY637" fmla="*/ 1493651 h 1538630"/>
              <a:gd name="csX638" fmla="*/ 360609 w 1609516"/>
              <a:gd name="csY638" fmla="*/ 1490833 h 1538630"/>
              <a:gd name="csX639" fmla="*/ 363733 w 1609516"/>
              <a:gd name="csY639" fmla="*/ 1490833 h 1538630"/>
              <a:gd name="csX640" fmla="*/ 363733 w 1609516"/>
              <a:gd name="csY640" fmla="*/ 1489980 h 1538630"/>
              <a:gd name="csX641" fmla="*/ 348467 w 1609516"/>
              <a:gd name="csY641" fmla="*/ 1481717 h 1538630"/>
              <a:gd name="csX642" fmla="*/ 343872 w 1609516"/>
              <a:gd name="csY642" fmla="*/ 1461078 h 1538630"/>
              <a:gd name="csX643" fmla="*/ 343656 w 1609516"/>
              <a:gd name="csY643" fmla="*/ 1463649 h 1538630"/>
              <a:gd name="csX644" fmla="*/ 343424 w 1609516"/>
              <a:gd name="csY644" fmla="*/ 1466842 h 1538630"/>
              <a:gd name="csX645" fmla="*/ 341861 w 1609516"/>
              <a:gd name="csY645" fmla="*/ 1466842 h 1538630"/>
              <a:gd name="csX646" fmla="*/ 354143 w 1609516"/>
              <a:gd name="csY646" fmla="*/ 1420549 h 1538630"/>
              <a:gd name="csX647" fmla="*/ 376229 w 1609516"/>
              <a:gd name="csY647" fmla="*/ 1403427 h 1538630"/>
              <a:gd name="csX648" fmla="*/ 379491 w 1609516"/>
              <a:gd name="csY648" fmla="*/ 1404408 h 1538630"/>
              <a:gd name="csX649" fmla="*/ 379710 w 1609516"/>
              <a:gd name="csY649" fmla="*/ 1404210 h 1538630"/>
              <a:gd name="csX650" fmla="*/ 380882 w 1609516"/>
              <a:gd name="csY650" fmla="*/ 1401568 h 1538630"/>
              <a:gd name="csX651" fmla="*/ 392207 w 1609516"/>
              <a:gd name="csY651" fmla="*/ 1392936 h 1538630"/>
              <a:gd name="csX652" fmla="*/ 399542 w 1609516"/>
              <a:gd name="csY652" fmla="*/ 1386774 h 1538630"/>
              <a:gd name="csX653" fmla="*/ 405485 w 1609516"/>
              <a:gd name="csY653" fmla="*/ 1378917 h 1538630"/>
              <a:gd name="csX654" fmla="*/ 412008 w 1609516"/>
              <a:gd name="csY654" fmla="*/ 1369481 h 1538630"/>
              <a:gd name="csX655" fmla="*/ 421130 w 1609516"/>
              <a:gd name="csY655" fmla="*/ 1357057 h 1538630"/>
              <a:gd name="csX656" fmla="*/ 424676 w 1609516"/>
              <a:gd name="csY656" fmla="*/ 1348443 h 1538630"/>
              <a:gd name="csX657" fmla="*/ 427275 w 1609516"/>
              <a:gd name="csY657" fmla="*/ 1348443 h 1538630"/>
              <a:gd name="csX658" fmla="*/ 428135 w 1609516"/>
              <a:gd name="csY658" fmla="*/ 1345727 h 1538630"/>
              <a:gd name="csX659" fmla="*/ 432822 w 1609516"/>
              <a:gd name="csY659" fmla="*/ 1335158 h 1538630"/>
              <a:gd name="csX660" fmla="*/ 435946 w 1609516"/>
              <a:gd name="csY660" fmla="*/ 1335158 h 1538630"/>
              <a:gd name="csX661" fmla="*/ 437704 w 1609516"/>
              <a:gd name="csY661" fmla="*/ 1329786 h 1538630"/>
              <a:gd name="csX662" fmla="*/ 447394 w 1609516"/>
              <a:gd name="csY662" fmla="*/ 1311196 h 1538630"/>
              <a:gd name="csX663" fmla="*/ 469287 w 1609516"/>
              <a:gd name="csY663" fmla="*/ 1265964 h 1538630"/>
              <a:gd name="csX664" fmla="*/ 478178 w 1609516"/>
              <a:gd name="csY664" fmla="*/ 1246787 h 1538630"/>
              <a:gd name="csX665" fmla="*/ 480179 w 1609516"/>
              <a:gd name="csY665" fmla="*/ 1225768 h 1538630"/>
              <a:gd name="csX666" fmla="*/ 480250 w 1609516"/>
              <a:gd name="csY666" fmla="*/ 1217149 h 1538630"/>
              <a:gd name="csX667" fmla="*/ 462972 w 1609516"/>
              <a:gd name="csY667" fmla="*/ 1174827 h 1538630"/>
              <a:gd name="csX668" fmla="*/ 457468 w 1609516"/>
              <a:gd name="csY668" fmla="*/ 1169949 h 1538630"/>
              <a:gd name="csX669" fmla="*/ 440657 w 1609516"/>
              <a:gd name="csY669" fmla="*/ 1152570 h 1538630"/>
              <a:gd name="csX670" fmla="*/ 403142 w 1609516"/>
              <a:gd name="csY670" fmla="*/ 1122366 h 1538630"/>
              <a:gd name="csX671" fmla="*/ 401579 w 1609516"/>
              <a:gd name="csY671" fmla="*/ 1119547 h 1538630"/>
              <a:gd name="csX672" fmla="*/ 364564 w 1609516"/>
              <a:gd name="csY672" fmla="*/ 1118209 h 1538630"/>
              <a:gd name="csX673" fmla="*/ 357822 w 1609516"/>
              <a:gd name="csY673" fmla="*/ 1122041 h 1538630"/>
              <a:gd name="csX674" fmla="*/ 348077 w 1609516"/>
              <a:gd name="csY674" fmla="*/ 1125273 h 1538630"/>
              <a:gd name="csX675" fmla="*/ 334408 w 1609516"/>
              <a:gd name="csY675" fmla="*/ 1132230 h 1538630"/>
              <a:gd name="csX676" fmla="*/ 327964 w 1609516"/>
              <a:gd name="csY676" fmla="*/ 1134080 h 1538630"/>
              <a:gd name="csX677" fmla="*/ 279734 w 1609516"/>
              <a:gd name="csY677" fmla="*/ 1166051 h 1538630"/>
              <a:gd name="csX678" fmla="*/ 276609 w 1609516"/>
              <a:gd name="csY678" fmla="*/ 1173098 h 1538630"/>
              <a:gd name="csX679" fmla="*/ 260988 w 1609516"/>
              <a:gd name="csY679" fmla="*/ 1188599 h 1538630"/>
              <a:gd name="csX680" fmla="*/ 257956 w 1609516"/>
              <a:gd name="csY680" fmla="*/ 1191132 h 1538630"/>
              <a:gd name="csX681" fmla="*/ 243805 w 1609516"/>
              <a:gd name="csY681" fmla="*/ 1196629 h 1538630"/>
              <a:gd name="csX682" fmla="*/ 243805 w 1609516"/>
              <a:gd name="csY682" fmla="*/ 1194236 h 1538630"/>
              <a:gd name="csX683" fmla="*/ 240288 w 1609516"/>
              <a:gd name="csY683" fmla="*/ 1194765 h 1538630"/>
              <a:gd name="csX684" fmla="*/ 243374 w 1609516"/>
              <a:gd name="csY684" fmla="*/ 1194765 h 1538630"/>
              <a:gd name="csX685" fmla="*/ 243374 w 1609516"/>
              <a:gd name="csY685" fmla="*/ 1196797 h 1538630"/>
              <a:gd name="csX686" fmla="*/ 243805 w 1609516"/>
              <a:gd name="csY686" fmla="*/ 1196629 h 1538630"/>
              <a:gd name="csX687" fmla="*/ 243805 w 1609516"/>
              <a:gd name="csY687" fmla="*/ 1197055 h 1538630"/>
              <a:gd name="csX688" fmla="*/ 243374 w 1609516"/>
              <a:gd name="csY688" fmla="*/ 1197055 h 1538630"/>
              <a:gd name="csX689" fmla="*/ 243374 w 1609516"/>
              <a:gd name="csY689" fmla="*/ 1197584 h 1538630"/>
              <a:gd name="csX690" fmla="*/ 241319 w 1609516"/>
              <a:gd name="csY690" fmla="*/ 1197595 h 1538630"/>
              <a:gd name="csX691" fmla="*/ 238009 w 1609516"/>
              <a:gd name="csY691" fmla="*/ 1198881 h 1538630"/>
              <a:gd name="csX692" fmla="*/ 215687 w 1609516"/>
              <a:gd name="csY692" fmla="*/ 1198464 h 1538630"/>
              <a:gd name="csX693" fmla="*/ 215687 w 1609516"/>
              <a:gd name="csY693" fmla="*/ 1197734 h 1538630"/>
              <a:gd name="csX694" fmla="*/ 213936 w 1609516"/>
              <a:gd name="csY694" fmla="*/ 1197744 h 1538630"/>
              <a:gd name="csX695" fmla="*/ 207446 w 1609516"/>
              <a:gd name="csY695" fmla="*/ 1196175 h 1538630"/>
              <a:gd name="csX696" fmla="*/ 207822 w 1609516"/>
              <a:gd name="csY696" fmla="*/ 1195610 h 1538630"/>
              <a:gd name="csX697" fmla="*/ 184737 w 1609516"/>
              <a:gd name="csY697" fmla="*/ 1180936 h 1538630"/>
              <a:gd name="csX698" fmla="*/ 179270 w 1609516"/>
              <a:gd name="csY698" fmla="*/ 1154866 h 1538630"/>
              <a:gd name="csX699" fmla="*/ 179194 w 1609516"/>
              <a:gd name="csY699" fmla="*/ 1151621 h 1538630"/>
              <a:gd name="csX700" fmla="*/ 193195 w 1609516"/>
              <a:gd name="csY700" fmla="*/ 1120065 h 1538630"/>
              <a:gd name="csX701" fmla="*/ 229551 w 1609516"/>
              <a:gd name="csY701" fmla="*/ 1110299 h 1538630"/>
              <a:gd name="csX702" fmla="*/ 260988 w 1609516"/>
              <a:gd name="csY702" fmla="*/ 1108274 h 1538630"/>
              <a:gd name="csX703" fmla="*/ 260988 w 1609516"/>
              <a:gd name="csY703" fmla="*/ 1105455 h 1538630"/>
              <a:gd name="csX704" fmla="*/ 263911 w 1609516"/>
              <a:gd name="csY704" fmla="*/ 1104310 h 1538630"/>
              <a:gd name="csX705" fmla="*/ 286995 w 1609516"/>
              <a:gd name="csY705" fmla="*/ 1090185 h 1538630"/>
              <a:gd name="csX706" fmla="*/ 299358 w 1609516"/>
              <a:gd name="csY706" fmla="*/ 1080970 h 1538630"/>
              <a:gd name="csX707" fmla="*/ 317762 w 1609516"/>
              <a:gd name="csY707" fmla="*/ 1063272 h 1538630"/>
              <a:gd name="csX708" fmla="*/ 325035 w 1609516"/>
              <a:gd name="csY708" fmla="*/ 1057542 h 1538630"/>
              <a:gd name="csX709" fmla="*/ 325328 w 1609516"/>
              <a:gd name="csY709" fmla="*/ 1023104 h 1538630"/>
              <a:gd name="csX710" fmla="*/ 324544 w 1609516"/>
              <a:gd name="csY710" fmla="*/ 1019247 h 1538630"/>
              <a:gd name="csX711" fmla="*/ 317225 w 1609516"/>
              <a:gd name="csY711" fmla="*/ 996945 h 1538630"/>
              <a:gd name="csX712" fmla="*/ 315388 w 1609516"/>
              <a:gd name="csY712" fmla="*/ 992690 h 1538630"/>
              <a:gd name="csX713" fmla="*/ 276232 w 1609516"/>
              <a:gd name="csY713" fmla="*/ 950666 h 1538630"/>
              <a:gd name="csX714" fmla="*/ 271923 w 1609516"/>
              <a:gd name="csY714" fmla="*/ 949031 h 1538630"/>
              <a:gd name="csX715" fmla="*/ 268299 w 1609516"/>
              <a:gd name="csY715" fmla="*/ 947441 h 1538630"/>
              <a:gd name="csX716" fmla="*/ 199187 w 1609516"/>
              <a:gd name="csY716" fmla="*/ 938991 h 1538630"/>
              <a:gd name="csX717" fmla="*/ 193719 w 1609516"/>
              <a:gd name="csY717" fmla="*/ 938971 h 1538630"/>
              <a:gd name="csX718" fmla="*/ 188539 w 1609516"/>
              <a:gd name="csY718" fmla="*/ 938980 h 1538630"/>
              <a:gd name="csX719" fmla="*/ 183874 w 1609516"/>
              <a:gd name="csY719" fmla="*/ 938985 h 1538630"/>
              <a:gd name="csX720" fmla="*/ 173509 w 1609516"/>
              <a:gd name="csY720" fmla="*/ 940576 h 1538630"/>
              <a:gd name="csX721" fmla="*/ 161403 w 1609516"/>
              <a:gd name="csY721" fmla="*/ 940664 h 1538630"/>
              <a:gd name="csX722" fmla="*/ 158102 w 1609516"/>
              <a:gd name="csY722" fmla="*/ 940645 h 1538630"/>
              <a:gd name="csX723" fmla="*/ 150875 w 1609516"/>
              <a:gd name="csY723" fmla="*/ 940583 h 1538630"/>
              <a:gd name="csX724" fmla="*/ 148425 w 1609516"/>
              <a:gd name="csY724" fmla="*/ 940717 h 1538630"/>
              <a:gd name="csX725" fmla="*/ 149617 w 1609516"/>
              <a:gd name="csY725" fmla="*/ 940995 h 1538630"/>
              <a:gd name="csX726" fmla="*/ 149617 w 1609516"/>
              <a:gd name="csY726" fmla="*/ 942404 h 1538630"/>
              <a:gd name="csX727" fmla="*/ 146627 w 1609516"/>
              <a:gd name="csY727" fmla="*/ 942871 h 1538630"/>
              <a:gd name="csX728" fmla="*/ 110564 w 1609516"/>
              <a:gd name="csY728" fmla="*/ 949449 h 1538630"/>
              <a:gd name="csX729" fmla="*/ 111283 w 1609516"/>
              <a:gd name="csY729" fmla="*/ 946205 h 1538630"/>
              <a:gd name="csX730" fmla="*/ 101652 w 1609516"/>
              <a:gd name="csY730" fmla="*/ 956078 h 1538630"/>
              <a:gd name="csX731" fmla="*/ 98052 w 1609516"/>
              <a:gd name="csY731" fmla="*/ 958467 h 1538630"/>
              <a:gd name="csX732" fmla="*/ 67286 w 1609516"/>
              <a:gd name="csY732" fmla="*/ 972989 h 1538630"/>
              <a:gd name="csX733" fmla="*/ 67286 w 1609516"/>
              <a:gd name="csY733" fmla="*/ 975807 h 1538630"/>
              <a:gd name="csX734" fmla="*/ 31942 w 1609516"/>
              <a:gd name="csY734" fmla="*/ 976423 h 1538630"/>
              <a:gd name="csX735" fmla="*/ 5673 w 1609516"/>
              <a:gd name="csY735" fmla="*/ 953419 h 1538630"/>
              <a:gd name="csX736" fmla="*/ 4801 w 1609516"/>
              <a:gd name="csY736" fmla="*/ 944804 h 1538630"/>
              <a:gd name="csX737" fmla="*/ 1676 w 1609516"/>
              <a:gd name="csY737" fmla="*/ 944804 h 1538630"/>
              <a:gd name="csX738" fmla="*/ 17 w 1609516"/>
              <a:gd name="csY738" fmla="*/ 931857 h 1538630"/>
              <a:gd name="csX739" fmla="*/ 59 w 1609516"/>
              <a:gd name="csY739" fmla="*/ 927216 h 1538630"/>
              <a:gd name="csX740" fmla="*/ 115 w 1609516"/>
              <a:gd name="csY740" fmla="*/ 923666 h 1538630"/>
              <a:gd name="csX741" fmla="*/ 3238 w 1609516"/>
              <a:gd name="csY741" fmla="*/ 923666 h 1538630"/>
              <a:gd name="csX742" fmla="*/ 3238 w 1609516"/>
              <a:gd name="csY742" fmla="*/ 918029 h 1538630"/>
              <a:gd name="csX743" fmla="*/ 6363 w 1609516"/>
              <a:gd name="csY743" fmla="*/ 918029 h 1538630"/>
              <a:gd name="csX744" fmla="*/ 6656 w 1609516"/>
              <a:gd name="csY744" fmla="*/ 912832 h 1538630"/>
              <a:gd name="csX745" fmla="*/ 15736 w 1609516"/>
              <a:gd name="csY745" fmla="*/ 899709 h 1538630"/>
              <a:gd name="csX746" fmla="*/ 17243 w 1609516"/>
              <a:gd name="csY746" fmla="*/ 898894 h 1538630"/>
              <a:gd name="csX747" fmla="*/ 16800 w 1609516"/>
              <a:gd name="csY747" fmla="*/ 898694 h 1538630"/>
              <a:gd name="csX748" fmla="*/ 24988 w 1609516"/>
              <a:gd name="csY748" fmla="*/ 894101 h 1538630"/>
              <a:gd name="csX749" fmla="*/ 26768 w 1609516"/>
              <a:gd name="csY749" fmla="*/ 892399 h 1538630"/>
              <a:gd name="csX750" fmla="*/ 30198 w 1609516"/>
              <a:gd name="csY750" fmla="*/ 890164 h 1538630"/>
              <a:gd name="csX751" fmla="*/ 32204 w 1609516"/>
              <a:gd name="csY751" fmla="*/ 890054 h 1538630"/>
              <a:gd name="csX752" fmla="*/ 38914 w 1609516"/>
              <a:gd name="csY752" fmla="*/ 886291 h 1538630"/>
              <a:gd name="csX753" fmla="*/ 63664 w 1609516"/>
              <a:gd name="csY753" fmla="*/ 886011 h 1538630"/>
              <a:gd name="csX754" fmla="*/ 63664 w 1609516"/>
              <a:gd name="csY754" fmla="*/ 886531 h 1538630"/>
              <a:gd name="csX755" fmla="*/ 70784 w 1609516"/>
              <a:gd name="csY755" fmla="*/ 886647 h 1538630"/>
              <a:gd name="csX756" fmla="*/ 82126 w 1609516"/>
              <a:gd name="csY756" fmla="*/ 889845 h 1538630"/>
              <a:gd name="csX757" fmla="*/ 114149 w 1609516"/>
              <a:gd name="csY757" fmla="*/ 892663 h 1538630"/>
              <a:gd name="csX758" fmla="*/ 118836 w 1609516"/>
              <a:gd name="csY758" fmla="*/ 889845 h 1538630"/>
              <a:gd name="csX759" fmla="*/ 131626 w 1609516"/>
              <a:gd name="csY759" fmla="*/ 887114 h 1538630"/>
              <a:gd name="csX760" fmla="*/ 155116 w 1609516"/>
              <a:gd name="csY760" fmla="*/ 880913 h 1538630"/>
              <a:gd name="csX761" fmla="*/ 165406 w 1609516"/>
              <a:gd name="csY761" fmla="*/ 878483 h 1538630"/>
              <a:gd name="csX762" fmla="*/ 176634 w 1609516"/>
              <a:gd name="csY762" fmla="*/ 874343 h 1538630"/>
              <a:gd name="csX763" fmla="*/ 186397 w 1609516"/>
              <a:gd name="csY763" fmla="*/ 871524 h 1538630"/>
              <a:gd name="csX764" fmla="*/ 191871 w 1609516"/>
              <a:gd name="csY764" fmla="*/ 870033 h 1538630"/>
              <a:gd name="csX765" fmla="*/ 203483 w 1609516"/>
              <a:gd name="csY765" fmla="*/ 867208 h 1538630"/>
              <a:gd name="csX766" fmla="*/ 211001 w 1609516"/>
              <a:gd name="csY766" fmla="*/ 861660 h 1538630"/>
              <a:gd name="csX767" fmla="*/ 218031 w 1609516"/>
              <a:gd name="csY767" fmla="*/ 858577 h 1538630"/>
              <a:gd name="csX768" fmla="*/ 254740 w 1609516"/>
              <a:gd name="csY768" fmla="*/ 825020 h 1538630"/>
              <a:gd name="csX769" fmla="*/ 257864 w 1609516"/>
              <a:gd name="csY769" fmla="*/ 820792 h 1538630"/>
              <a:gd name="csX770" fmla="*/ 258318 w 1609516"/>
              <a:gd name="csY770" fmla="*/ 813810 h 1538630"/>
              <a:gd name="csX771" fmla="*/ 258378 w 1609516"/>
              <a:gd name="csY771" fmla="*/ 809502 h 1538630"/>
              <a:gd name="csX772" fmla="*/ 258389 w 1609516"/>
              <a:gd name="csY772" fmla="*/ 804845 h 1538630"/>
              <a:gd name="csX773" fmla="*/ 258420 w 1609516"/>
              <a:gd name="csY773" fmla="*/ 800036 h 1538630"/>
              <a:gd name="csX774" fmla="*/ 258443 w 1609516"/>
              <a:gd name="csY774" fmla="*/ 789939 h 1538630"/>
              <a:gd name="csX775" fmla="*/ 258566 w 1609516"/>
              <a:gd name="csY775" fmla="*/ 774594 h 1538630"/>
              <a:gd name="csX776" fmla="*/ 258584 w 1609516"/>
              <a:gd name="csY776" fmla="*/ 764771 h 1538630"/>
              <a:gd name="csX777" fmla="*/ 258652 w 1609516"/>
              <a:gd name="csY777" fmla="*/ 760174 h 1538630"/>
              <a:gd name="csX778" fmla="*/ 251616 w 1609516"/>
              <a:gd name="csY778" fmla="*/ 733421 h 1538630"/>
              <a:gd name="csX779" fmla="*/ 247613 w 1609516"/>
              <a:gd name="csY779" fmla="*/ 721883 h 1538630"/>
              <a:gd name="csX780" fmla="*/ 241291 w 1609516"/>
              <a:gd name="csY780" fmla="*/ 705644 h 1538630"/>
              <a:gd name="csX781" fmla="*/ 237557 w 1609516"/>
              <a:gd name="csY781" fmla="*/ 689735 h 1538630"/>
              <a:gd name="csX782" fmla="*/ 248492 w 1609516"/>
              <a:gd name="csY782" fmla="*/ 685507 h 1538630"/>
              <a:gd name="csX783" fmla="*/ 248492 w 1609516"/>
              <a:gd name="csY783" fmla="*/ 681279 h 1538630"/>
              <a:gd name="csX784" fmla="*/ 240681 w 1609516"/>
              <a:gd name="csY784" fmla="*/ 679870 h 1538630"/>
              <a:gd name="csX785" fmla="*/ 240681 w 1609516"/>
              <a:gd name="csY785" fmla="*/ 677052 h 1538630"/>
              <a:gd name="csX786" fmla="*/ 238094 w 1609516"/>
              <a:gd name="csY786" fmla="*/ 676645 h 1538630"/>
              <a:gd name="csX787" fmla="*/ 225841 w 1609516"/>
              <a:gd name="csY787" fmla="*/ 670886 h 1538630"/>
              <a:gd name="csX788" fmla="*/ 201531 w 1609516"/>
              <a:gd name="csY788" fmla="*/ 662508 h 1538630"/>
              <a:gd name="csX789" fmla="*/ 188252 w 1609516"/>
              <a:gd name="csY789" fmla="*/ 658644 h 1538630"/>
              <a:gd name="csX790" fmla="*/ 182431 w 1609516"/>
              <a:gd name="csY790" fmla="*/ 657327 h 1538630"/>
              <a:gd name="csX791" fmla="*/ 182431 w 1609516"/>
              <a:gd name="csY791" fmla="*/ 657613 h 1538630"/>
              <a:gd name="csX792" fmla="*/ 146503 w 1609516"/>
              <a:gd name="csY792" fmla="*/ 656204 h 1538630"/>
              <a:gd name="csX793" fmla="*/ 146503 w 1609516"/>
              <a:gd name="csY793" fmla="*/ 659022 h 1538630"/>
              <a:gd name="csX794" fmla="*/ 110378 w 1609516"/>
              <a:gd name="csY794" fmla="*/ 663778 h 1538630"/>
              <a:gd name="csX795" fmla="*/ 106453 w 1609516"/>
              <a:gd name="csY795" fmla="*/ 663836 h 1538630"/>
              <a:gd name="csX796" fmla="*/ 102751 w 1609516"/>
              <a:gd name="csY796" fmla="*/ 663811 h 1538630"/>
              <a:gd name="csX797" fmla="*/ 99449 w 1609516"/>
              <a:gd name="csY797" fmla="*/ 663797 h 1538630"/>
              <a:gd name="csX798" fmla="*/ 91828 w 1609516"/>
              <a:gd name="csY798" fmla="*/ 659022 h 1538630"/>
              <a:gd name="csX799" fmla="*/ 98077 w 1609516"/>
              <a:gd name="csY799" fmla="*/ 659022 h 1538630"/>
              <a:gd name="csX800" fmla="*/ 98077 w 1609516"/>
              <a:gd name="csY800" fmla="*/ 661841 h 1538630"/>
              <a:gd name="csX801" fmla="*/ 119023 w 1609516"/>
              <a:gd name="csY801" fmla="*/ 661357 h 1538630"/>
              <a:gd name="csX802" fmla="*/ 119536 w 1609516"/>
              <a:gd name="csY802" fmla="*/ 661197 h 1538630"/>
              <a:gd name="csX803" fmla="*/ 109853 w 1609516"/>
              <a:gd name="csY803" fmla="*/ 661639 h 1538630"/>
              <a:gd name="csX804" fmla="*/ 106552 w 1609516"/>
              <a:gd name="csY804" fmla="*/ 661619 h 1538630"/>
              <a:gd name="csX805" fmla="*/ 98528 w 1609516"/>
              <a:gd name="csY805" fmla="*/ 661550 h 1538630"/>
              <a:gd name="csX806" fmla="*/ 98528 w 1609516"/>
              <a:gd name="csY806" fmla="*/ 658732 h 1538630"/>
              <a:gd name="csX807" fmla="*/ 89155 w 1609516"/>
              <a:gd name="csY807" fmla="*/ 657323 h 1538630"/>
              <a:gd name="csX808" fmla="*/ 89155 w 1609516"/>
              <a:gd name="csY808" fmla="*/ 654504 h 1538630"/>
              <a:gd name="csX809" fmla="*/ 86397 w 1609516"/>
              <a:gd name="csY809" fmla="*/ 653442 h 1538630"/>
              <a:gd name="csX810" fmla="*/ 77049 w 1609516"/>
              <a:gd name="csY810" fmla="*/ 646137 h 1538630"/>
              <a:gd name="csX811" fmla="*/ 74145 w 1609516"/>
              <a:gd name="csY811" fmla="*/ 643192 h 1538630"/>
              <a:gd name="csX812" fmla="*/ 71972 w 1609516"/>
              <a:gd name="csY812" fmla="*/ 636185 h 1538630"/>
              <a:gd name="csX813" fmla="*/ 68848 w 1609516"/>
              <a:gd name="csY813" fmla="*/ 636185 h 1538630"/>
              <a:gd name="csX814" fmla="*/ 70410 w 1609516"/>
              <a:gd name="csY814" fmla="*/ 595317 h 1538630"/>
              <a:gd name="csX815" fmla="*/ 79782 w 1609516"/>
              <a:gd name="csY815" fmla="*/ 584043 h 1538630"/>
              <a:gd name="csX816" fmla="*/ 82656 w 1609516"/>
              <a:gd name="csY816" fmla="*/ 581115 h 1538630"/>
              <a:gd name="csX817" fmla="*/ 116694 w 1609516"/>
              <a:gd name="csY817" fmla="*/ 572323 h 1538630"/>
              <a:gd name="csX818" fmla="*/ 152031 w 1609516"/>
              <a:gd name="csY818" fmla="*/ 590385 h 1538630"/>
              <a:gd name="csX819" fmla="*/ 191474 w 1609516"/>
              <a:gd name="csY819" fmla="*/ 605886 h 1538630"/>
              <a:gd name="csX820" fmla="*/ 206314 w 1609516"/>
              <a:gd name="csY820" fmla="*/ 608000 h 1538630"/>
              <a:gd name="csX821" fmla="*/ 206314 w 1609516"/>
              <a:gd name="csY821" fmla="*/ 610818 h 1538630"/>
              <a:gd name="csX822" fmla="*/ 234433 w 1609516"/>
              <a:gd name="csY822" fmla="*/ 610818 h 1538630"/>
              <a:gd name="csX823" fmla="*/ 239522 w 1609516"/>
              <a:gd name="csY823" fmla="*/ 610802 h 1538630"/>
              <a:gd name="csX824" fmla="*/ 268799 w 1609516"/>
              <a:gd name="csY824" fmla="*/ 600954 h 1538630"/>
              <a:gd name="csX825" fmla="*/ 271740 w 1609516"/>
              <a:gd name="csY825" fmla="*/ 599325 h 1538630"/>
              <a:gd name="csX826" fmla="*/ 284420 w 1609516"/>
              <a:gd name="csY826" fmla="*/ 579816 h 1538630"/>
              <a:gd name="csX827" fmla="*/ 289399 w 1609516"/>
              <a:gd name="csY827" fmla="*/ 568630 h 1538630"/>
              <a:gd name="csX828" fmla="*/ 293958 w 1609516"/>
              <a:gd name="csY828" fmla="*/ 535838 h 1538630"/>
              <a:gd name="csX829" fmla="*/ 289107 w 1609516"/>
              <a:gd name="csY829" fmla="*/ 529084 h 1538630"/>
              <a:gd name="csX830" fmla="*/ 289107 w 1609516"/>
              <a:gd name="csY830" fmla="*/ 526265 h 1538630"/>
              <a:gd name="csX831" fmla="*/ 284420 w 1609516"/>
              <a:gd name="csY831" fmla="*/ 524856 h 1538630"/>
              <a:gd name="csX832" fmla="*/ 282858 w 1609516"/>
              <a:gd name="csY832" fmla="*/ 520628 h 1538630"/>
              <a:gd name="csX833" fmla="*/ 277977 w 1609516"/>
              <a:gd name="csY833" fmla="*/ 516577 h 1538630"/>
              <a:gd name="csX834" fmla="*/ 264925 w 1609516"/>
              <a:gd name="csY834" fmla="*/ 506443 h 1538630"/>
              <a:gd name="csX835" fmla="*/ 229746 w 1609516"/>
              <a:gd name="csY835" fmla="*/ 481170 h 1538630"/>
              <a:gd name="csX836" fmla="*/ 221057 w 1609516"/>
              <a:gd name="csY836" fmla="*/ 475445 h 1538630"/>
              <a:gd name="csX837" fmla="*/ 212563 w 1609516"/>
              <a:gd name="csY837" fmla="*/ 469896 h 1538630"/>
              <a:gd name="csX838" fmla="*/ 208889 w 1609516"/>
              <a:gd name="csY838" fmla="*/ 467491 h 1538630"/>
              <a:gd name="csX839" fmla="*/ 190406 w 1609516"/>
              <a:gd name="csY839" fmla="*/ 456382 h 1538630"/>
              <a:gd name="csX840" fmla="*/ 186942 w 1609516"/>
              <a:gd name="csY840" fmla="*/ 454460 h 1538630"/>
              <a:gd name="csX841" fmla="*/ 180041 w 1609516"/>
              <a:gd name="csY841" fmla="*/ 450696 h 1538630"/>
              <a:gd name="csX842" fmla="*/ 171948 w 1609516"/>
              <a:gd name="csY842" fmla="*/ 445940 h 1538630"/>
              <a:gd name="csX843" fmla="*/ 171948 w 1609516"/>
              <a:gd name="csY843" fmla="*/ 443121 h 1538630"/>
              <a:gd name="csX844" fmla="*/ 168482 w 1609516"/>
              <a:gd name="csY844" fmla="*/ 442708 h 1538630"/>
              <a:gd name="csX845" fmla="*/ 157107 w 1609516"/>
              <a:gd name="csY845" fmla="*/ 437044 h 1538630"/>
              <a:gd name="csX846" fmla="*/ 132559 w 1609516"/>
              <a:gd name="csY846" fmla="*/ 427510 h 1538630"/>
              <a:gd name="csX847" fmla="*/ 123522 w 1609516"/>
              <a:gd name="csY847" fmla="*/ 421983 h 1538630"/>
              <a:gd name="csX848" fmla="*/ 107986 w 1609516"/>
              <a:gd name="csY848" fmla="*/ 418730 h 1538630"/>
              <a:gd name="csX849" fmla="*/ 102494 w 1609516"/>
              <a:gd name="csY849" fmla="*/ 418622 h 1538630"/>
              <a:gd name="csX850" fmla="*/ 91157 w 1609516"/>
              <a:gd name="csY850" fmla="*/ 418490 h 1538630"/>
              <a:gd name="csX851" fmla="*/ 55277 w 1609516"/>
              <a:gd name="csY851" fmla="*/ 410445 h 1538630"/>
              <a:gd name="csX852" fmla="*/ 51665 w 1609516"/>
              <a:gd name="csY852" fmla="*/ 406481 h 1538630"/>
              <a:gd name="csX853" fmla="*/ 45904 w 1609516"/>
              <a:gd name="csY853" fmla="*/ 400492 h 1538630"/>
              <a:gd name="csX854" fmla="*/ 43152 w 1609516"/>
              <a:gd name="csY854" fmla="*/ 397564 h 1538630"/>
              <a:gd name="csX855" fmla="*/ 37605 w 1609516"/>
              <a:gd name="csY855" fmla="*/ 393798 h 1538630"/>
              <a:gd name="csX856" fmla="*/ 38995 w 1609516"/>
              <a:gd name="csY856" fmla="*/ 368712 h 1538630"/>
              <a:gd name="csX857" fmla="*/ 38666 w 1609516"/>
              <a:gd name="csY857" fmla="*/ 369724 h 1538630"/>
              <a:gd name="csX858" fmla="*/ 35542 w 1609516"/>
              <a:gd name="csY858" fmla="*/ 384081 h 1538630"/>
              <a:gd name="csX859" fmla="*/ 33326 w 1609516"/>
              <a:gd name="csY859" fmla="*/ 357791 h 1538630"/>
              <a:gd name="csX860" fmla="*/ 52725 w 1609516"/>
              <a:gd name="csY860" fmla="*/ 333349 h 1538630"/>
              <a:gd name="csX861" fmla="*/ 55222 w 1609516"/>
              <a:gd name="csY861" fmla="*/ 334475 h 1538630"/>
              <a:gd name="csX862" fmla="*/ 56222 w 1609516"/>
              <a:gd name="csY862" fmla="*/ 333347 h 1538630"/>
              <a:gd name="csX863" fmla="*/ 55871 w 1609516"/>
              <a:gd name="csY863" fmla="*/ 333347 h 1538630"/>
              <a:gd name="csX864" fmla="*/ 56346 w 1609516"/>
              <a:gd name="csY864" fmla="*/ 333207 h 1538630"/>
              <a:gd name="csX865" fmla="*/ 56351 w 1609516"/>
              <a:gd name="csY865" fmla="*/ 333202 h 1538630"/>
              <a:gd name="csX866" fmla="*/ 56365 w 1609516"/>
              <a:gd name="csY866" fmla="*/ 333202 h 1538630"/>
              <a:gd name="csX867" fmla="*/ 79571 w 1609516"/>
              <a:gd name="csY867" fmla="*/ 326360 h 1538630"/>
              <a:gd name="csX868" fmla="*/ 104297 w 1609516"/>
              <a:gd name="csY868" fmla="*/ 330529 h 1538630"/>
              <a:gd name="csX869" fmla="*/ 107170 w 1609516"/>
              <a:gd name="csY869" fmla="*/ 334417 h 1538630"/>
              <a:gd name="csX870" fmla="*/ 109366 w 1609516"/>
              <a:gd name="csY870" fmla="*/ 336046 h 1538630"/>
              <a:gd name="csX871" fmla="*/ 109463 w 1609516"/>
              <a:gd name="csY871" fmla="*/ 336020 h 1538630"/>
              <a:gd name="csX872" fmla="*/ 109463 w 1609516"/>
              <a:gd name="csY872" fmla="*/ 336118 h 1538630"/>
              <a:gd name="csX873" fmla="*/ 115226 w 1609516"/>
              <a:gd name="csY873" fmla="*/ 340394 h 1538630"/>
              <a:gd name="csX874" fmla="*/ 114010 w 1609516"/>
              <a:gd name="csY874" fmla="*/ 340120 h 1538630"/>
              <a:gd name="csX875" fmla="*/ 133285 w 1609516"/>
              <a:gd name="csY875" fmla="*/ 357423 h 1538630"/>
              <a:gd name="csX876" fmla="*/ 173509 w 1609516"/>
              <a:gd name="csY876" fmla="*/ 389571 h 1538630"/>
              <a:gd name="csX877" fmla="*/ 181711 w 1609516"/>
              <a:gd name="csY877" fmla="*/ 393270 h 1538630"/>
              <a:gd name="csX878" fmla="*/ 185507 w 1609516"/>
              <a:gd name="csY878" fmla="*/ 394976 h 1538630"/>
              <a:gd name="csX879" fmla="*/ 192658 w 1609516"/>
              <a:gd name="csY879" fmla="*/ 398257 h 1538630"/>
              <a:gd name="csX880" fmla="*/ 195966 w 1609516"/>
              <a:gd name="csY880" fmla="*/ 399788 h 1538630"/>
              <a:gd name="csX881" fmla="*/ 198833 w 1609516"/>
              <a:gd name="csY881" fmla="*/ 401131 h 1538630"/>
              <a:gd name="csX882" fmla="*/ 207877 w 1609516"/>
              <a:gd name="csY882" fmla="*/ 403663 h 1538630"/>
              <a:gd name="csX883" fmla="*/ 207877 w 1609516"/>
              <a:gd name="csY883" fmla="*/ 406481 h 1538630"/>
              <a:gd name="csX884" fmla="*/ 248492 w 1609516"/>
              <a:gd name="csY884" fmla="*/ 419428 h 1538630"/>
              <a:gd name="csX885" fmla="*/ 253965 w 1609516"/>
              <a:gd name="csY885" fmla="*/ 421000 h 1538630"/>
              <a:gd name="csX886" fmla="*/ 267237 w 1609516"/>
              <a:gd name="csY886" fmla="*/ 424801 h 1538630"/>
              <a:gd name="csX887" fmla="*/ 267237 w 1609516"/>
              <a:gd name="csY887" fmla="*/ 426451 h 1538630"/>
              <a:gd name="csX888" fmla="*/ 288701 w 1609516"/>
              <a:gd name="csY888" fmla="*/ 429217 h 1538630"/>
              <a:gd name="csX889" fmla="*/ 288701 w 1609516"/>
              <a:gd name="csY889" fmla="*/ 432036 h 1538630"/>
              <a:gd name="csX890" fmla="*/ 327010 w 1609516"/>
              <a:gd name="csY890" fmla="*/ 433628 h 1538630"/>
              <a:gd name="csX891" fmla="*/ 337486 w 1609516"/>
              <a:gd name="csY891" fmla="*/ 433637 h 1538630"/>
              <a:gd name="csX892" fmla="*/ 344229 w 1609516"/>
              <a:gd name="csY892" fmla="*/ 433632 h 1538630"/>
              <a:gd name="csX893" fmla="*/ 350323 w 1609516"/>
              <a:gd name="csY893" fmla="*/ 433627 h 1538630"/>
              <a:gd name="csX894" fmla="*/ 365245 w 1609516"/>
              <a:gd name="csY894" fmla="*/ 432036 h 1538630"/>
              <a:gd name="csX895" fmla="*/ 360797 w 1609516"/>
              <a:gd name="csY895" fmla="*/ 433759 h 1538630"/>
              <a:gd name="csX896" fmla="*/ 365650 w 1609516"/>
              <a:gd name="csY896" fmla="*/ 433257 h 1538630"/>
              <a:gd name="csX897" fmla="*/ 367213 w 1609516"/>
              <a:gd name="csY897" fmla="*/ 429029 h 1538630"/>
              <a:gd name="csX898" fmla="*/ 375188 w 1609516"/>
              <a:gd name="csY898" fmla="*/ 424906 h 1538630"/>
              <a:gd name="csX899" fmla="*/ 404704 w 1609516"/>
              <a:gd name="csY899" fmla="*/ 389571 h 1538630"/>
              <a:gd name="csX900" fmla="*/ 406265 w 1609516"/>
              <a:gd name="csY900" fmla="*/ 388161 h 1538630"/>
              <a:gd name="csX901" fmla="*/ 406559 w 1609516"/>
              <a:gd name="csY901" fmla="*/ 370106 h 1538630"/>
              <a:gd name="csX902" fmla="*/ 406617 w 1609516"/>
              <a:gd name="csY902" fmla="*/ 364973 h 1538630"/>
              <a:gd name="csX903" fmla="*/ 406626 w 1609516"/>
              <a:gd name="csY903" fmla="*/ 360038 h 1538630"/>
              <a:gd name="csX904" fmla="*/ 406645 w 1609516"/>
              <a:gd name="csY904" fmla="*/ 355503 h 1538630"/>
              <a:gd name="csX905" fmla="*/ 403142 w 1609516"/>
              <a:gd name="csY905" fmla="*/ 345885 h 1538630"/>
              <a:gd name="csX906" fmla="*/ 401579 w 1609516"/>
              <a:gd name="csY906" fmla="*/ 338663 h 1538630"/>
              <a:gd name="csX907" fmla="*/ 390938 w 1609516"/>
              <a:gd name="csY907" fmla="*/ 315939 h 1538630"/>
              <a:gd name="csX908" fmla="*/ 388976 w 1609516"/>
              <a:gd name="csY908" fmla="*/ 312762 h 1538630"/>
              <a:gd name="csX909" fmla="*/ 377934 w 1609516"/>
              <a:gd name="csY909" fmla="*/ 297817 h 1538630"/>
              <a:gd name="csX910" fmla="*/ 368775 w 1609516"/>
              <a:gd name="csY910" fmla="*/ 282470 h 1538630"/>
              <a:gd name="csX911" fmla="*/ 359890 w 1609516"/>
              <a:gd name="csY911" fmla="*/ 271284 h 1538630"/>
              <a:gd name="csX912" fmla="*/ 357374 w 1609516"/>
              <a:gd name="csY912" fmla="*/ 268288 h 1538630"/>
              <a:gd name="csX913" fmla="*/ 337533 w 1609516"/>
              <a:gd name="csY913" fmla="*/ 248649 h 1538630"/>
              <a:gd name="csX914" fmla="*/ 335214 w 1609516"/>
              <a:gd name="csY914" fmla="*/ 246369 h 1538630"/>
              <a:gd name="csX915" fmla="*/ 327085 w 1609516"/>
              <a:gd name="csY915" fmla="*/ 242571 h 1538630"/>
              <a:gd name="csX916" fmla="*/ 288785 w 1609516"/>
              <a:gd name="csY916" fmla="*/ 207968 h 1538630"/>
              <a:gd name="csX917" fmla="*/ 286373 w 1609516"/>
              <a:gd name="csY917" fmla="*/ 192544 h 1538630"/>
              <a:gd name="csX918" fmla="*/ 286385 w 1609516"/>
              <a:gd name="csY918" fmla="*/ 189190 h 1538630"/>
              <a:gd name="csX919" fmla="*/ 300042 w 1609516"/>
              <a:gd name="csY919" fmla="*/ 164095 h 1538630"/>
              <a:gd name="csX920" fmla="*/ 302757 w 1609516"/>
              <a:gd name="csY920" fmla="*/ 161381 h 1538630"/>
              <a:gd name="csX921" fmla="*/ 338411 w 1609516"/>
              <a:gd name="csY921" fmla="*/ 152293 h 1538630"/>
              <a:gd name="csX922" fmla="*/ 368482 w 1609516"/>
              <a:gd name="csY922" fmla="*/ 161893 h 1538630"/>
              <a:gd name="csX923" fmla="*/ 371899 w 1609516"/>
              <a:gd name="csY923" fmla="*/ 165505 h 1538630"/>
              <a:gd name="csX924" fmla="*/ 375121 w 1609516"/>
              <a:gd name="csY924" fmla="*/ 168587 h 1538630"/>
              <a:gd name="csX925" fmla="*/ 384982 w 1609516"/>
              <a:gd name="csY925" fmla="*/ 193777 h 1538630"/>
              <a:gd name="csX926" fmla="*/ 390352 w 1609516"/>
              <a:gd name="csY926" fmla="*/ 214563 h 1538630"/>
              <a:gd name="csX927" fmla="*/ 391529 w 1609516"/>
              <a:gd name="csY927" fmla="*/ 217626 h 1538630"/>
              <a:gd name="csX928" fmla="*/ 401579 w 1609516"/>
              <a:gd name="csY928" fmla="*/ 234556 h 1538630"/>
              <a:gd name="csX929" fmla="*/ 401579 w 1609516"/>
              <a:gd name="csY929" fmla="*/ 238784 h 1538630"/>
              <a:gd name="csX930" fmla="*/ 404215 w 1609516"/>
              <a:gd name="csY930" fmla="*/ 239753 h 1538630"/>
              <a:gd name="csX931" fmla="*/ 417811 w 1609516"/>
              <a:gd name="csY931" fmla="*/ 251996 h 1538630"/>
              <a:gd name="csX932" fmla="*/ 426866 w 1609516"/>
              <a:gd name="csY932" fmla="*/ 262300 h 1538630"/>
              <a:gd name="csX933" fmla="*/ 450097 w 1609516"/>
              <a:gd name="csY933" fmla="*/ 287628 h 1538630"/>
              <a:gd name="csX934" fmla="*/ 457425 w 1609516"/>
              <a:gd name="csY934" fmla="*/ 293920 h 1538630"/>
              <a:gd name="csX935" fmla="*/ 460940 w 1609516"/>
              <a:gd name="csY935" fmla="*/ 296562 h 1538630"/>
              <a:gd name="csX936" fmla="*/ 460940 w 1609516"/>
              <a:gd name="csY936" fmla="*/ 300790 h 1538630"/>
              <a:gd name="csX937" fmla="*/ 473437 w 1609516"/>
              <a:gd name="csY937" fmla="*/ 305018 h 1538630"/>
              <a:gd name="csX938" fmla="*/ 473437 w 1609516"/>
              <a:gd name="csY938" fmla="*/ 307836 h 1538630"/>
              <a:gd name="csX939" fmla="*/ 479881 w 1609516"/>
              <a:gd name="csY939" fmla="*/ 309862 h 1538630"/>
              <a:gd name="csX940" fmla="*/ 483505 w 1609516"/>
              <a:gd name="csY940" fmla="*/ 311001 h 1538630"/>
              <a:gd name="csX941" fmla="*/ 548419 w 1609516"/>
              <a:gd name="csY941" fmla="*/ 306427 h 1538630"/>
              <a:gd name="csX942" fmla="*/ 551842 w 1609516"/>
              <a:gd name="csY942" fmla="*/ 305127 h 1538630"/>
              <a:gd name="csX943" fmla="*/ 560232 w 1609516"/>
              <a:gd name="csY943" fmla="*/ 298148 h 1538630"/>
              <a:gd name="csX944" fmla="*/ 562972 w 1609516"/>
              <a:gd name="csY944" fmla="*/ 295252 h 1538630"/>
              <a:gd name="csX945" fmla="*/ 568086 w 1609516"/>
              <a:gd name="csY945" fmla="*/ 289152 h 1538630"/>
              <a:gd name="csX946" fmla="*/ 570289 w 1609516"/>
              <a:gd name="csY946" fmla="*/ 286697 h 1538630"/>
              <a:gd name="csX947" fmla="*/ 573413 w 1609516"/>
              <a:gd name="csY947" fmla="*/ 286697 h 1538630"/>
              <a:gd name="csX948" fmla="*/ 577220 w 1609516"/>
              <a:gd name="csY948" fmla="*/ 257016 h 1538630"/>
              <a:gd name="csX949" fmla="*/ 577235 w 1609516"/>
              <a:gd name="csY949" fmla="*/ 254206 h 1538630"/>
              <a:gd name="csX950" fmla="*/ 569443 w 1609516"/>
              <a:gd name="csY950" fmla="*/ 206049 h 1538630"/>
              <a:gd name="csX951" fmla="*/ 568726 w 1609516"/>
              <a:gd name="csY951" fmla="*/ 200735 h 1538630"/>
              <a:gd name="csX952" fmla="*/ 565602 w 1609516"/>
              <a:gd name="csY952" fmla="*/ 200735 h 1538630"/>
              <a:gd name="csX953" fmla="*/ 559549 w 1609516"/>
              <a:gd name="csY953" fmla="*/ 184441 h 1538630"/>
              <a:gd name="csX954" fmla="*/ 537484 w 1609516"/>
              <a:gd name="csY954" fmla="*/ 159867 h 1538630"/>
              <a:gd name="csX955" fmla="*/ 531235 w 1609516"/>
              <a:gd name="csY955" fmla="*/ 154230 h 1538630"/>
              <a:gd name="csX956" fmla="*/ 531235 w 1609516"/>
              <a:gd name="csY956" fmla="*/ 151412 h 1538630"/>
              <a:gd name="csX957" fmla="*/ 526549 w 1609516"/>
              <a:gd name="csY957" fmla="*/ 150003 h 1538630"/>
              <a:gd name="csX958" fmla="*/ 524304 w 1609516"/>
              <a:gd name="csY958" fmla="*/ 107198 h 1538630"/>
              <a:gd name="csX959" fmla="*/ 547052 w 1609516"/>
              <a:gd name="csY959" fmla="*/ 85972 h 1538630"/>
              <a:gd name="csX960" fmla="*/ 588460 w 1609516"/>
              <a:gd name="csY960" fmla="*/ 83538 h 1538630"/>
              <a:gd name="csX961" fmla="*/ 617152 w 1609516"/>
              <a:gd name="csY961" fmla="*/ 111954 h 1538630"/>
              <a:gd name="csX962" fmla="*/ 617884 w 1609516"/>
              <a:gd name="csY962" fmla="*/ 124175 h 1538630"/>
              <a:gd name="csX963" fmla="*/ 617917 w 1609516"/>
              <a:gd name="csY963" fmla="*/ 127607 h 1538630"/>
              <a:gd name="csX964" fmla="*/ 617919 w 1609516"/>
              <a:gd name="csY964" fmla="*/ 141969 h 1538630"/>
              <a:gd name="csX965" fmla="*/ 630625 w 1609516"/>
              <a:gd name="csY965" fmla="*/ 191311 h 1538630"/>
              <a:gd name="csX966" fmla="*/ 637850 w 1609516"/>
              <a:gd name="csY966" fmla="*/ 205139 h 1538630"/>
              <a:gd name="csX967" fmla="*/ 643708 w 1609516"/>
              <a:gd name="csY967" fmla="*/ 212009 h 1538630"/>
              <a:gd name="csX968" fmla="*/ 647027 w 1609516"/>
              <a:gd name="csY968" fmla="*/ 217645 h 1538630"/>
              <a:gd name="csX969" fmla="*/ 670264 w 1609516"/>
              <a:gd name="csY969" fmla="*/ 241603 h 1538630"/>
              <a:gd name="csX970" fmla="*/ 670264 w 1609516"/>
              <a:gd name="csY970" fmla="*/ 244421 h 1538630"/>
              <a:gd name="csX971" fmla="*/ 675634 w 1609516"/>
              <a:gd name="csY971" fmla="*/ 245742 h 1538630"/>
              <a:gd name="csX972" fmla="*/ 682761 w 1609516"/>
              <a:gd name="csY972" fmla="*/ 248649 h 1538630"/>
              <a:gd name="csX973" fmla="*/ 752092 w 1609516"/>
              <a:gd name="csY973" fmla="*/ 245076 h 1538630"/>
              <a:gd name="csX974" fmla="*/ 758433 w 1609516"/>
              <a:gd name="csY974" fmla="*/ 240485 h 1538630"/>
              <a:gd name="csX975" fmla="*/ 763991 w 1609516"/>
              <a:gd name="csY975" fmla="*/ 238784 h 1538630"/>
              <a:gd name="csX976" fmla="*/ 765315 w 1609516"/>
              <a:gd name="csY976" fmla="*/ 235778 h 1538630"/>
              <a:gd name="csX977" fmla="*/ 770923 w 1609516"/>
              <a:gd name="csY977" fmla="*/ 223459 h 1538630"/>
              <a:gd name="csX978" fmla="*/ 772998 w 1609516"/>
              <a:gd name="csY978" fmla="*/ 218934 h 1538630"/>
              <a:gd name="csX979" fmla="*/ 777562 w 1609516"/>
              <a:gd name="csY979" fmla="*/ 209895 h 1538630"/>
              <a:gd name="csX980" fmla="*/ 781175 w 1609516"/>
              <a:gd name="csY980" fmla="*/ 124637 h 1538630"/>
              <a:gd name="csX981" fmla="*/ 778051 w 1609516"/>
              <a:gd name="csY981" fmla="*/ 124637 h 1538630"/>
              <a:gd name="csX982" fmla="*/ 767116 w 1609516"/>
              <a:gd name="csY982" fmla="*/ 79542 h 1538630"/>
              <a:gd name="csX983" fmla="*/ 793379 w 1609516"/>
              <a:gd name="csY983" fmla="*/ 54000 h 1538630"/>
              <a:gd name="csX984" fmla="*/ 840688 w 1609516"/>
              <a:gd name="csY984" fmla="*/ 55503 h 1538630"/>
              <a:gd name="csX985" fmla="*/ 851470 w 1609516"/>
              <a:gd name="csY985" fmla="*/ 64040 h 1538630"/>
              <a:gd name="csX986" fmla="*/ 853997 w 1609516"/>
              <a:gd name="csY986" fmla="*/ 66529 h 1538630"/>
              <a:gd name="csX987" fmla="*/ 861488 w 1609516"/>
              <a:gd name="csY987" fmla="*/ 82057 h 1538630"/>
              <a:gd name="csX988" fmla="*/ 861937 w 1609516"/>
              <a:gd name="csY988" fmla="*/ 90492 h 1538630"/>
              <a:gd name="csX989" fmla="*/ 863826 w 1609516"/>
              <a:gd name="csY989" fmla="*/ 100715 h 1538630"/>
              <a:gd name="csX990" fmla="*/ 857577 w 1609516"/>
              <a:gd name="csY990" fmla="*/ 121853 h 1538630"/>
              <a:gd name="csX991" fmla="*/ 856015 w 1609516"/>
              <a:gd name="csY991" fmla="*/ 121853 h 1538630"/>
              <a:gd name="csX992" fmla="*/ 855442 w 1609516"/>
              <a:gd name="csY992" fmla="*/ 118919 h 1538630"/>
              <a:gd name="csX993" fmla="*/ 855417 w 1609516"/>
              <a:gd name="csY993" fmla="*/ 118798 h 1538630"/>
              <a:gd name="csX994" fmla="*/ 856157 w 1609516"/>
              <a:gd name="csY994" fmla="*/ 124637 h 1538630"/>
              <a:gd name="csX995" fmla="*/ 850623 w 1609516"/>
              <a:gd name="csY995" fmla="*/ 134701 h 1538630"/>
              <a:gd name="csX996" fmla="*/ 851325 w 1609516"/>
              <a:gd name="csY996" fmla="*/ 135968 h 1538630"/>
              <a:gd name="csX997" fmla="*/ 849886 w 1609516"/>
              <a:gd name="csY997" fmla="*/ 139843 h 1538630"/>
              <a:gd name="csX998" fmla="*/ 847786 w 1609516"/>
              <a:gd name="csY998" fmla="*/ 152889 h 1538630"/>
              <a:gd name="csX999" fmla="*/ 847767 w 1609516"/>
              <a:gd name="csY999" fmla="*/ 157768 h 1538630"/>
              <a:gd name="csX1000" fmla="*/ 847810 w 1609516"/>
              <a:gd name="csY1000" fmla="*/ 162919 h 1538630"/>
              <a:gd name="csX1001" fmla="*/ 847832 w 1609516"/>
              <a:gd name="csY1001" fmla="*/ 168227 h 1538630"/>
              <a:gd name="csX1002" fmla="*/ 850903 w 1609516"/>
              <a:gd name="csY1002" fmla="*/ 209013 h 1538630"/>
              <a:gd name="csX1003" fmla="*/ 852880 w 1609516"/>
              <a:gd name="csY1003" fmla="*/ 224692 h 1538630"/>
              <a:gd name="csX1004" fmla="*/ 854595 w 1609516"/>
              <a:gd name="csY1004" fmla="*/ 224692 h 1538630"/>
              <a:gd name="csX1005" fmla="*/ 856083 w 1609516"/>
              <a:gd name="csY1005" fmla="*/ 227268 h 1538630"/>
              <a:gd name="csX1006" fmla="*/ 879588 w 1609516"/>
              <a:gd name="csY1006" fmla="*/ 247239 h 1538630"/>
              <a:gd name="csX1007" fmla="*/ 885739 w 1609516"/>
              <a:gd name="csY1007" fmla="*/ 249618 h 1538630"/>
              <a:gd name="csX1008" fmla="*/ 890523 w 1609516"/>
              <a:gd name="csY1008" fmla="*/ 251467 h 1538630"/>
              <a:gd name="csX1009" fmla="*/ 890523 w 1609516"/>
              <a:gd name="csY1009" fmla="*/ 254285 h 1538630"/>
              <a:gd name="csX1010" fmla="*/ 920203 w 1609516"/>
              <a:gd name="csY1010" fmla="*/ 261332 h 1538630"/>
              <a:gd name="csX1011" fmla="*/ 920203 w 1609516"/>
              <a:gd name="csY1011" fmla="*/ 262741 h 1538630"/>
              <a:gd name="csX1012" fmla="*/ 910831 w 1609516"/>
              <a:gd name="csY1012" fmla="*/ 262741 h 1538630"/>
              <a:gd name="csX1013" fmla="*/ 910831 w 1609516"/>
              <a:gd name="csY1013" fmla="*/ 262864 h 1538630"/>
              <a:gd name="csX1014" fmla="*/ 927993 w 1609516"/>
              <a:gd name="csY1014" fmla="*/ 264177 h 1538630"/>
              <a:gd name="csX1015" fmla="*/ 939273 w 1609516"/>
              <a:gd name="csY1015" fmla="*/ 265285 h 1538630"/>
              <a:gd name="csX1016" fmla="*/ 940456 w 1609516"/>
              <a:gd name="csY1016" fmla="*/ 265191 h 1538630"/>
              <a:gd name="csX1017" fmla="*/ 991622 w 1609516"/>
              <a:gd name="csY1017" fmla="*/ 242329 h 1538630"/>
              <a:gd name="csX1018" fmla="*/ 1000803 w 1609516"/>
              <a:gd name="csY1018" fmla="*/ 236505 h 1538630"/>
              <a:gd name="csX1019" fmla="*/ 999806 w 1609516"/>
              <a:gd name="csY1019" fmla="*/ 236055 h 1538630"/>
              <a:gd name="csX1020" fmla="*/ 1003126 w 1609516"/>
              <a:gd name="csY1020" fmla="*/ 232851 h 1538630"/>
              <a:gd name="csX1021" fmla="*/ 1029487 w 1609516"/>
              <a:gd name="csY1021" fmla="*/ 205052 h 1538630"/>
              <a:gd name="csX1022" fmla="*/ 1029872 w 1609516"/>
              <a:gd name="csY1022" fmla="*/ 206442 h 1538630"/>
              <a:gd name="csX1023" fmla="*/ 1031614 w 1609516"/>
              <a:gd name="csY1023" fmla="*/ 203719 h 1538630"/>
              <a:gd name="csX1024" fmla="*/ 1038924 w 1609516"/>
              <a:gd name="csY1024" fmla="*/ 192280 h 1538630"/>
              <a:gd name="csX1025" fmla="*/ 1042049 w 1609516"/>
              <a:gd name="csY1025" fmla="*/ 190870 h 1538630"/>
              <a:gd name="csX1026" fmla="*/ 1044294 w 1609516"/>
              <a:gd name="csY1026" fmla="*/ 186026 h 1538630"/>
              <a:gd name="csX1027" fmla="*/ 1051422 w 1609516"/>
              <a:gd name="csY1027" fmla="*/ 178188 h 1538630"/>
              <a:gd name="csX1028" fmla="*/ 1052984 w 1609516"/>
              <a:gd name="csY1028" fmla="*/ 172551 h 1538630"/>
              <a:gd name="csX1029" fmla="*/ 1056108 w 1609516"/>
              <a:gd name="csY1029" fmla="*/ 172551 h 1538630"/>
              <a:gd name="csX1030" fmla="*/ 1059232 w 1609516"/>
              <a:gd name="csY1030" fmla="*/ 162686 h 1538630"/>
              <a:gd name="csX1031" fmla="*/ 1062357 w 1609516"/>
              <a:gd name="csY1031" fmla="*/ 162686 h 1538630"/>
              <a:gd name="csX1032" fmla="*/ 1063162 w 1609516"/>
              <a:gd name="csY1032" fmla="*/ 160258 h 1538630"/>
              <a:gd name="csX1033" fmla="*/ 1073292 w 1609516"/>
              <a:gd name="csY1033" fmla="*/ 140138 h 1538630"/>
              <a:gd name="csX1034" fmla="*/ 1076415 w 1609516"/>
              <a:gd name="csY1034" fmla="*/ 140138 h 1538630"/>
              <a:gd name="csX1035" fmla="*/ 1085294 w 1609516"/>
              <a:gd name="csY1035" fmla="*/ 117569 h 1538630"/>
              <a:gd name="csX1036" fmla="*/ 1087350 w 1609516"/>
              <a:gd name="csY1036" fmla="*/ 113363 h 1538630"/>
              <a:gd name="csX1037" fmla="*/ 1092037 w 1609516"/>
              <a:gd name="csY1037" fmla="*/ 111954 h 1538630"/>
              <a:gd name="csX1038" fmla="*/ 1092623 w 1609516"/>
              <a:gd name="csY1038" fmla="*/ 108695 h 1538630"/>
              <a:gd name="csX1039" fmla="*/ 1096723 w 1609516"/>
              <a:gd name="csY1039" fmla="*/ 100680 h 1538630"/>
              <a:gd name="csX1040" fmla="*/ 1098188 w 1609516"/>
              <a:gd name="csY1040" fmla="*/ 96013 h 1538630"/>
              <a:gd name="csX1041" fmla="*/ 1102288 w 1609516"/>
              <a:gd name="csY1041" fmla="*/ 87029 h 1538630"/>
              <a:gd name="csX1042" fmla="*/ 1104534 w 1609516"/>
              <a:gd name="csY1042" fmla="*/ 61222 h 1538630"/>
              <a:gd name="csX1043" fmla="*/ 1104381 w 1609516"/>
              <a:gd name="csY1043" fmla="*/ 55569 h 1538630"/>
              <a:gd name="csX1044" fmla="*/ 1104397 w 1609516"/>
              <a:gd name="csY1044" fmla="*/ 52335 h 1538630"/>
              <a:gd name="csX1045" fmla="*/ 1104436 w 1609516"/>
              <a:gd name="csY1045" fmla="*/ 48979 h 1538630"/>
              <a:gd name="csX1046" fmla="*/ 1104457 w 1609516"/>
              <a:gd name="csY1046" fmla="*/ 45575 h 1538630"/>
              <a:gd name="csX1047" fmla="*/ 1104534 w 1609516"/>
              <a:gd name="csY1047" fmla="*/ 37265 h 1538630"/>
              <a:gd name="csX1048" fmla="*/ 1107658 w 1609516"/>
              <a:gd name="csY1048" fmla="*/ 37265 h 1538630"/>
              <a:gd name="csX1049" fmla="*/ 1107463 w 1609516"/>
              <a:gd name="csY1049" fmla="*/ 31805 h 1538630"/>
              <a:gd name="csX1050" fmla="*/ 1107658 w 1609516"/>
              <a:gd name="csY1050" fmla="*/ 25991 h 1538630"/>
              <a:gd name="csX1051" fmla="*/ 1110782 w 1609516"/>
              <a:gd name="csY1051" fmla="*/ 23173 h 1538630"/>
              <a:gd name="csX1052" fmla="*/ 1111759 w 1609516"/>
              <a:gd name="csY1052" fmla="*/ 20091 h 1538630"/>
              <a:gd name="csX1053" fmla="*/ 1134507 w 1609516"/>
              <a:gd name="csY1053" fmla="*/ 2828 h 1538630"/>
              <a:gd name="csX1054" fmla="*/ 1155019 w 1609516"/>
              <a:gd name="csY1054" fmla="*/ 35 h 153863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  <a:cxn ang="0">
                <a:pos x="csX170" y="csY170"/>
              </a:cxn>
              <a:cxn ang="0">
                <a:pos x="csX171" y="csY171"/>
              </a:cxn>
              <a:cxn ang="0">
                <a:pos x="csX172" y="csY172"/>
              </a:cxn>
              <a:cxn ang="0">
                <a:pos x="csX173" y="csY173"/>
              </a:cxn>
              <a:cxn ang="0">
                <a:pos x="csX174" y="csY174"/>
              </a:cxn>
              <a:cxn ang="0">
                <a:pos x="csX175" y="csY175"/>
              </a:cxn>
              <a:cxn ang="0">
                <a:pos x="csX176" y="csY176"/>
              </a:cxn>
              <a:cxn ang="0">
                <a:pos x="csX177" y="csY177"/>
              </a:cxn>
              <a:cxn ang="0">
                <a:pos x="csX178" y="csY178"/>
              </a:cxn>
              <a:cxn ang="0">
                <a:pos x="csX179" y="csY179"/>
              </a:cxn>
              <a:cxn ang="0">
                <a:pos x="csX180" y="csY180"/>
              </a:cxn>
              <a:cxn ang="0">
                <a:pos x="csX181" y="csY181"/>
              </a:cxn>
              <a:cxn ang="0">
                <a:pos x="csX182" y="csY182"/>
              </a:cxn>
              <a:cxn ang="0">
                <a:pos x="csX183" y="csY183"/>
              </a:cxn>
              <a:cxn ang="0">
                <a:pos x="csX184" y="csY184"/>
              </a:cxn>
              <a:cxn ang="0">
                <a:pos x="csX185" y="csY185"/>
              </a:cxn>
              <a:cxn ang="0">
                <a:pos x="csX186" y="csY186"/>
              </a:cxn>
              <a:cxn ang="0">
                <a:pos x="csX187" y="csY187"/>
              </a:cxn>
              <a:cxn ang="0">
                <a:pos x="csX188" y="csY188"/>
              </a:cxn>
              <a:cxn ang="0">
                <a:pos x="csX189" y="csY189"/>
              </a:cxn>
              <a:cxn ang="0">
                <a:pos x="csX190" y="csY190"/>
              </a:cxn>
              <a:cxn ang="0">
                <a:pos x="csX191" y="csY191"/>
              </a:cxn>
              <a:cxn ang="0">
                <a:pos x="csX192" y="csY192"/>
              </a:cxn>
              <a:cxn ang="0">
                <a:pos x="csX193" y="csY193"/>
              </a:cxn>
              <a:cxn ang="0">
                <a:pos x="csX194" y="csY194"/>
              </a:cxn>
              <a:cxn ang="0">
                <a:pos x="csX195" y="csY195"/>
              </a:cxn>
              <a:cxn ang="0">
                <a:pos x="csX196" y="csY196"/>
              </a:cxn>
              <a:cxn ang="0">
                <a:pos x="csX197" y="csY197"/>
              </a:cxn>
              <a:cxn ang="0">
                <a:pos x="csX198" y="csY198"/>
              </a:cxn>
              <a:cxn ang="0">
                <a:pos x="csX199" y="csY199"/>
              </a:cxn>
              <a:cxn ang="0">
                <a:pos x="csX200" y="csY200"/>
              </a:cxn>
              <a:cxn ang="0">
                <a:pos x="csX201" y="csY201"/>
              </a:cxn>
              <a:cxn ang="0">
                <a:pos x="csX202" y="csY202"/>
              </a:cxn>
              <a:cxn ang="0">
                <a:pos x="csX203" y="csY203"/>
              </a:cxn>
              <a:cxn ang="0">
                <a:pos x="csX204" y="csY204"/>
              </a:cxn>
              <a:cxn ang="0">
                <a:pos x="csX205" y="csY205"/>
              </a:cxn>
              <a:cxn ang="0">
                <a:pos x="csX206" y="csY206"/>
              </a:cxn>
              <a:cxn ang="0">
                <a:pos x="csX207" y="csY207"/>
              </a:cxn>
              <a:cxn ang="0">
                <a:pos x="csX208" y="csY208"/>
              </a:cxn>
              <a:cxn ang="0">
                <a:pos x="csX209" y="csY209"/>
              </a:cxn>
              <a:cxn ang="0">
                <a:pos x="csX210" y="csY210"/>
              </a:cxn>
              <a:cxn ang="0">
                <a:pos x="csX211" y="csY211"/>
              </a:cxn>
              <a:cxn ang="0">
                <a:pos x="csX212" y="csY212"/>
              </a:cxn>
              <a:cxn ang="0">
                <a:pos x="csX213" y="csY213"/>
              </a:cxn>
              <a:cxn ang="0">
                <a:pos x="csX214" y="csY214"/>
              </a:cxn>
              <a:cxn ang="0">
                <a:pos x="csX215" y="csY215"/>
              </a:cxn>
              <a:cxn ang="0">
                <a:pos x="csX216" y="csY216"/>
              </a:cxn>
              <a:cxn ang="0">
                <a:pos x="csX217" y="csY217"/>
              </a:cxn>
              <a:cxn ang="0">
                <a:pos x="csX218" y="csY218"/>
              </a:cxn>
              <a:cxn ang="0">
                <a:pos x="csX219" y="csY219"/>
              </a:cxn>
              <a:cxn ang="0">
                <a:pos x="csX220" y="csY220"/>
              </a:cxn>
              <a:cxn ang="0">
                <a:pos x="csX221" y="csY221"/>
              </a:cxn>
              <a:cxn ang="0">
                <a:pos x="csX222" y="csY222"/>
              </a:cxn>
              <a:cxn ang="0">
                <a:pos x="csX223" y="csY223"/>
              </a:cxn>
              <a:cxn ang="0">
                <a:pos x="csX224" y="csY224"/>
              </a:cxn>
              <a:cxn ang="0">
                <a:pos x="csX225" y="csY225"/>
              </a:cxn>
              <a:cxn ang="0">
                <a:pos x="csX226" y="csY226"/>
              </a:cxn>
              <a:cxn ang="0">
                <a:pos x="csX227" y="csY227"/>
              </a:cxn>
              <a:cxn ang="0">
                <a:pos x="csX228" y="csY228"/>
              </a:cxn>
              <a:cxn ang="0">
                <a:pos x="csX229" y="csY229"/>
              </a:cxn>
              <a:cxn ang="0">
                <a:pos x="csX230" y="csY230"/>
              </a:cxn>
              <a:cxn ang="0">
                <a:pos x="csX231" y="csY231"/>
              </a:cxn>
              <a:cxn ang="0">
                <a:pos x="csX232" y="csY232"/>
              </a:cxn>
              <a:cxn ang="0">
                <a:pos x="csX233" y="csY233"/>
              </a:cxn>
              <a:cxn ang="0">
                <a:pos x="csX234" y="csY234"/>
              </a:cxn>
              <a:cxn ang="0">
                <a:pos x="csX235" y="csY235"/>
              </a:cxn>
              <a:cxn ang="0">
                <a:pos x="csX236" y="csY236"/>
              </a:cxn>
              <a:cxn ang="0">
                <a:pos x="csX237" y="csY237"/>
              </a:cxn>
              <a:cxn ang="0">
                <a:pos x="csX238" y="csY238"/>
              </a:cxn>
              <a:cxn ang="0">
                <a:pos x="csX239" y="csY239"/>
              </a:cxn>
              <a:cxn ang="0">
                <a:pos x="csX240" y="csY240"/>
              </a:cxn>
              <a:cxn ang="0">
                <a:pos x="csX241" y="csY241"/>
              </a:cxn>
              <a:cxn ang="0">
                <a:pos x="csX242" y="csY242"/>
              </a:cxn>
              <a:cxn ang="0">
                <a:pos x="csX243" y="csY243"/>
              </a:cxn>
              <a:cxn ang="0">
                <a:pos x="csX244" y="csY244"/>
              </a:cxn>
              <a:cxn ang="0">
                <a:pos x="csX245" y="csY245"/>
              </a:cxn>
              <a:cxn ang="0">
                <a:pos x="csX246" y="csY246"/>
              </a:cxn>
              <a:cxn ang="0">
                <a:pos x="csX247" y="csY247"/>
              </a:cxn>
              <a:cxn ang="0">
                <a:pos x="csX248" y="csY248"/>
              </a:cxn>
              <a:cxn ang="0">
                <a:pos x="csX249" y="csY249"/>
              </a:cxn>
              <a:cxn ang="0">
                <a:pos x="csX250" y="csY250"/>
              </a:cxn>
              <a:cxn ang="0">
                <a:pos x="csX251" y="csY251"/>
              </a:cxn>
              <a:cxn ang="0">
                <a:pos x="csX252" y="csY252"/>
              </a:cxn>
              <a:cxn ang="0">
                <a:pos x="csX253" y="csY253"/>
              </a:cxn>
              <a:cxn ang="0">
                <a:pos x="csX254" y="csY254"/>
              </a:cxn>
              <a:cxn ang="0">
                <a:pos x="csX255" y="csY255"/>
              </a:cxn>
              <a:cxn ang="0">
                <a:pos x="csX256" y="csY256"/>
              </a:cxn>
              <a:cxn ang="0">
                <a:pos x="csX257" y="csY257"/>
              </a:cxn>
              <a:cxn ang="0">
                <a:pos x="csX258" y="csY258"/>
              </a:cxn>
              <a:cxn ang="0">
                <a:pos x="csX259" y="csY259"/>
              </a:cxn>
              <a:cxn ang="0">
                <a:pos x="csX260" y="csY260"/>
              </a:cxn>
              <a:cxn ang="0">
                <a:pos x="csX261" y="csY261"/>
              </a:cxn>
              <a:cxn ang="0">
                <a:pos x="csX262" y="csY262"/>
              </a:cxn>
              <a:cxn ang="0">
                <a:pos x="csX263" y="csY263"/>
              </a:cxn>
              <a:cxn ang="0">
                <a:pos x="csX264" y="csY264"/>
              </a:cxn>
              <a:cxn ang="0">
                <a:pos x="csX265" y="csY265"/>
              </a:cxn>
              <a:cxn ang="0">
                <a:pos x="csX266" y="csY266"/>
              </a:cxn>
              <a:cxn ang="0">
                <a:pos x="csX267" y="csY267"/>
              </a:cxn>
              <a:cxn ang="0">
                <a:pos x="csX268" y="csY268"/>
              </a:cxn>
              <a:cxn ang="0">
                <a:pos x="csX269" y="csY269"/>
              </a:cxn>
              <a:cxn ang="0">
                <a:pos x="csX270" y="csY270"/>
              </a:cxn>
              <a:cxn ang="0">
                <a:pos x="csX271" y="csY271"/>
              </a:cxn>
              <a:cxn ang="0">
                <a:pos x="csX272" y="csY272"/>
              </a:cxn>
              <a:cxn ang="0">
                <a:pos x="csX273" y="csY273"/>
              </a:cxn>
              <a:cxn ang="0">
                <a:pos x="csX274" y="csY274"/>
              </a:cxn>
              <a:cxn ang="0">
                <a:pos x="csX275" y="csY275"/>
              </a:cxn>
              <a:cxn ang="0">
                <a:pos x="csX276" y="csY276"/>
              </a:cxn>
              <a:cxn ang="0">
                <a:pos x="csX277" y="csY277"/>
              </a:cxn>
              <a:cxn ang="0">
                <a:pos x="csX278" y="csY278"/>
              </a:cxn>
              <a:cxn ang="0">
                <a:pos x="csX279" y="csY279"/>
              </a:cxn>
              <a:cxn ang="0">
                <a:pos x="csX280" y="csY280"/>
              </a:cxn>
              <a:cxn ang="0">
                <a:pos x="csX281" y="csY281"/>
              </a:cxn>
              <a:cxn ang="0">
                <a:pos x="csX282" y="csY282"/>
              </a:cxn>
              <a:cxn ang="0">
                <a:pos x="csX283" y="csY283"/>
              </a:cxn>
              <a:cxn ang="0">
                <a:pos x="csX284" y="csY284"/>
              </a:cxn>
              <a:cxn ang="0">
                <a:pos x="csX285" y="csY285"/>
              </a:cxn>
              <a:cxn ang="0">
                <a:pos x="csX286" y="csY286"/>
              </a:cxn>
              <a:cxn ang="0">
                <a:pos x="csX287" y="csY287"/>
              </a:cxn>
              <a:cxn ang="0">
                <a:pos x="csX288" y="csY288"/>
              </a:cxn>
              <a:cxn ang="0">
                <a:pos x="csX289" y="csY289"/>
              </a:cxn>
              <a:cxn ang="0">
                <a:pos x="csX290" y="csY290"/>
              </a:cxn>
              <a:cxn ang="0">
                <a:pos x="csX291" y="csY291"/>
              </a:cxn>
              <a:cxn ang="0">
                <a:pos x="csX292" y="csY292"/>
              </a:cxn>
              <a:cxn ang="0">
                <a:pos x="csX293" y="csY293"/>
              </a:cxn>
              <a:cxn ang="0">
                <a:pos x="csX294" y="csY294"/>
              </a:cxn>
              <a:cxn ang="0">
                <a:pos x="csX295" y="csY295"/>
              </a:cxn>
              <a:cxn ang="0">
                <a:pos x="csX296" y="csY296"/>
              </a:cxn>
              <a:cxn ang="0">
                <a:pos x="csX297" y="csY297"/>
              </a:cxn>
              <a:cxn ang="0">
                <a:pos x="csX298" y="csY298"/>
              </a:cxn>
              <a:cxn ang="0">
                <a:pos x="csX299" y="csY299"/>
              </a:cxn>
              <a:cxn ang="0">
                <a:pos x="csX300" y="csY300"/>
              </a:cxn>
              <a:cxn ang="0">
                <a:pos x="csX301" y="csY301"/>
              </a:cxn>
              <a:cxn ang="0">
                <a:pos x="csX302" y="csY302"/>
              </a:cxn>
              <a:cxn ang="0">
                <a:pos x="csX303" y="csY303"/>
              </a:cxn>
              <a:cxn ang="0">
                <a:pos x="csX304" y="csY304"/>
              </a:cxn>
              <a:cxn ang="0">
                <a:pos x="csX305" y="csY305"/>
              </a:cxn>
              <a:cxn ang="0">
                <a:pos x="csX306" y="csY306"/>
              </a:cxn>
              <a:cxn ang="0">
                <a:pos x="csX307" y="csY307"/>
              </a:cxn>
              <a:cxn ang="0">
                <a:pos x="csX308" y="csY308"/>
              </a:cxn>
              <a:cxn ang="0">
                <a:pos x="csX309" y="csY309"/>
              </a:cxn>
              <a:cxn ang="0">
                <a:pos x="csX310" y="csY310"/>
              </a:cxn>
              <a:cxn ang="0">
                <a:pos x="csX311" y="csY311"/>
              </a:cxn>
              <a:cxn ang="0">
                <a:pos x="csX312" y="csY312"/>
              </a:cxn>
              <a:cxn ang="0">
                <a:pos x="csX313" y="csY313"/>
              </a:cxn>
              <a:cxn ang="0">
                <a:pos x="csX314" y="csY314"/>
              </a:cxn>
              <a:cxn ang="0">
                <a:pos x="csX315" y="csY315"/>
              </a:cxn>
              <a:cxn ang="0">
                <a:pos x="csX316" y="csY316"/>
              </a:cxn>
              <a:cxn ang="0">
                <a:pos x="csX317" y="csY317"/>
              </a:cxn>
              <a:cxn ang="0">
                <a:pos x="csX318" y="csY318"/>
              </a:cxn>
              <a:cxn ang="0">
                <a:pos x="csX319" y="csY319"/>
              </a:cxn>
              <a:cxn ang="0">
                <a:pos x="csX320" y="csY320"/>
              </a:cxn>
              <a:cxn ang="0">
                <a:pos x="csX321" y="csY321"/>
              </a:cxn>
              <a:cxn ang="0">
                <a:pos x="csX322" y="csY322"/>
              </a:cxn>
              <a:cxn ang="0">
                <a:pos x="csX323" y="csY323"/>
              </a:cxn>
              <a:cxn ang="0">
                <a:pos x="csX324" y="csY324"/>
              </a:cxn>
              <a:cxn ang="0">
                <a:pos x="csX325" y="csY325"/>
              </a:cxn>
              <a:cxn ang="0">
                <a:pos x="csX326" y="csY326"/>
              </a:cxn>
              <a:cxn ang="0">
                <a:pos x="csX327" y="csY327"/>
              </a:cxn>
              <a:cxn ang="0">
                <a:pos x="csX328" y="csY328"/>
              </a:cxn>
              <a:cxn ang="0">
                <a:pos x="csX329" y="csY329"/>
              </a:cxn>
              <a:cxn ang="0">
                <a:pos x="csX330" y="csY330"/>
              </a:cxn>
              <a:cxn ang="0">
                <a:pos x="csX331" y="csY331"/>
              </a:cxn>
              <a:cxn ang="0">
                <a:pos x="csX332" y="csY332"/>
              </a:cxn>
              <a:cxn ang="0">
                <a:pos x="csX333" y="csY333"/>
              </a:cxn>
              <a:cxn ang="0">
                <a:pos x="csX334" y="csY334"/>
              </a:cxn>
              <a:cxn ang="0">
                <a:pos x="csX335" y="csY335"/>
              </a:cxn>
              <a:cxn ang="0">
                <a:pos x="csX336" y="csY336"/>
              </a:cxn>
              <a:cxn ang="0">
                <a:pos x="csX337" y="csY337"/>
              </a:cxn>
              <a:cxn ang="0">
                <a:pos x="csX338" y="csY338"/>
              </a:cxn>
              <a:cxn ang="0">
                <a:pos x="csX339" y="csY339"/>
              </a:cxn>
              <a:cxn ang="0">
                <a:pos x="csX340" y="csY340"/>
              </a:cxn>
              <a:cxn ang="0">
                <a:pos x="csX341" y="csY341"/>
              </a:cxn>
              <a:cxn ang="0">
                <a:pos x="csX342" y="csY342"/>
              </a:cxn>
              <a:cxn ang="0">
                <a:pos x="csX343" y="csY343"/>
              </a:cxn>
              <a:cxn ang="0">
                <a:pos x="csX344" y="csY344"/>
              </a:cxn>
              <a:cxn ang="0">
                <a:pos x="csX345" y="csY345"/>
              </a:cxn>
              <a:cxn ang="0">
                <a:pos x="csX346" y="csY346"/>
              </a:cxn>
              <a:cxn ang="0">
                <a:pos x="csX347" y="csY347"/>
              </a:cxn>
              <a:cxn ang="0">
                <a:pos x="csX348" y="csY348"/>
              </a:cxn>
              <a:cxn ang="0">
                <a:pos x="csX349" y="csY349"/>
              </a:cxn>
              <a:cxn ang="0">
                <a:pos x="csX350" y="csY350"/>
              </a:cxn>
              <a:cxn ang="0">
                <a:pos x="csX351" y="csY351"/>
              </a:cxn>
              <a:cxn ang="0">
                <a:pos x="csX352" y="csY352"/>
              </a:cxn>
              <a:cxn ang="0">
                <a:pos x="csX353" y="csY353"/>
              </a:cxn>
              <a:cxn ang="0">
                <a:pos x="csX354" y="csY354"/>
              </a:cxn>
              <a:cxn ang="0">
                <a:pos x="csX355" y="csY355"/>
              </a:cxn>
              <a:cxn ang="0">
                <a:pos x="csX356" y="csY356"/>
              </a:cxn>
              <a:cxn ang="0">
                <a:pos x="csX357" y="csY357"/>
              </a:cxn>
              <a:cxn ang="0">
                <a:pos x="csX358" y="csY358"/>
              </a:cxn>
              <a:cxn ang="0">
                <a:pos x="csX359" y="csY359"/>
              </a:cxn>
              <a:cxn ang="0">
                <a:pos x="csX360" y="csY360"/>
              </a:cxn>
              <a:cxn ang="0">
                <a:pos x="csX361" y="csY361"/>
              </a:cxn>
              <a:cxn ang="0">
                <a:pos x="csX362" y="csY362"/>
              </a:cxn>
              <a:cxn ang="0">
                <a:pos x="csX363" y="csY363"/>
              </a:cxn>
              <a:cxn ang="0">
                <a:pos x="csX364" y="csY364"/>
              </a:cxn>
              <a:cxn ang="0">
                <a:pos x="csX365" y="csY365"/>
              </a:cxn>
              <a:cxn ang="0">
                <a:pos x="csX366" y="csY366"/>
              </a:cxn>
              <a:cxn ang="0">
                <a:pos x="csX367" y="csY367"/>
              </a:cxn>
              <a:cxn ang="0">
                <a:pos x="csX368" y="csY368"/>
              </a:cxn>
              <a:cxn ang="0">
                <a:pos x="csX369" y="csY369"/>
              </a:cxn>
              <a:cxn ang="0">
                <a:pos x="csX370" y="csY370"/>
              </a:cxn>
              <a:cxn ang="0">
                <a:pos x="csX371" y="csY371"/>
              </a:cxn>
              <a:cxn ang="0">
                <a:pos x="csX372" y="csY372"/>
              </a:cxn>
              <a:cxn ang="0">
                <a:pos x="csX373" y="csY373"/>
              </a:cxn>
              <a:cxn ang="0">
                <a:pos x="csX374" y="csY374"/>
              </a:cxn>
              <a:cxn ang="0">
                <a:pos x="csX375" y="csY375"/>
              </a:cxn>
              <a:cxn ang="0">
                <a:pos x="csX376" y="csY376"/>
              </a:cxn>
              <a:cxn ang="0">
                <a:pos x="csX377" y="csY377"/>
              </a:cxn>
              <a:cxn ang="0">
                <a:pos x="csX378" y="csY378"/>
              </a:cxn>
              <a:cxn ang="0">
                <a:pos x="csX379" y="csY379"/>
              </a:cxn>
              <a:cxn ang="0">
                <a:pos x="csX380" y="csY380"/>
              </a:cxn>
              <a:cxn ang="0">
                <a:pos x="csX381" y="csY381"/>
              </a:cxn>
              <a:cxn ang="0">
                <a:pos x="csX382" y="csY382"/>
              </a:cxn>
              <a:cxn ang="0">
                <a:pos x="csX383" y="csY383"/>
              </a:cxn>
              <a:cxn ang="0">
                <a:pos x="csX384" y="csY384"/>
              </a:cxn>
              <a:cxn ang="0">
                <a:pos x="csX385" y="csY385"/>
              </a:cxn>
              <a:cxn ang="0">
                <a:pos x="csX386" y="csY386"/>
              </a:cxn>
              <a:cxn ang="0">
                <a:pos x="csX387" y="csY387"/>
              </a:cxn>
              <a:cxn ang="0">
                <a:pos x="csX388" y="csY388"/>
              </a:cxn>
              <a:cxn ang="0">
                <a:pos x="csX389" y="csY389"/>
              </a:cxn>
              <a:cxn ang="0">
                <a:pos x="csX390" y="csY390"/>
              </a:cxn>
              <a:cxn ang="0">
                <a:pos x="csX391" y="csY391"/>
              </a:cxn>
              <a:cxn ang="0">
                <a:pos x="csX392" y="csY392"/>
              </a:cxn>
              <a:cxn ang="0">
                <a:pos x="csX393" y="csY393"/>
              </a:cxn>
              <a:cxn ang="0">
                <a:pos x="csX394" y="csY394"/>
              </a:cxn>
              <a:cxn ang="0">
                <a:pos x="csX395" y="csY395"/>
              </a:cxn>
              <a:cxn ang="0">
                <a:pos x="csX396" y="csY396"/>
              </a:cxn>
              <a:cxn ang="0">
                <a:pos x="csX397" y="csY397"/>
              </a:cxn>
              <a:cxn ang="0">
                <a:pos x="csX398" y="csY398"/>
              </a:cxn>
              <a:cxn ang="0">
                <a:pos x="csX399" y="csY399"/>
              </a:cxn>
              <a:cxn ang="0">
                <a:pos x="csX400" y="csY400"/>
              </a:cxn>
              <a:cxn ang="0">
                <a:pos x="csX401" y="csY401"/>
              </a:cxn>
              <a:cxn ang="0">
                <a:pos x="csX402" y="csY402"/>
              </a:cxn>
              <a:cxn ang="0">
                <a:pos x="csX403" y="csY403"/>
              </a:cxn>
              <a:cxn ang="0">
                <a:pos x="csX404" y="csY404"/>
              </a:cxn>
              <a:cxn ang="0">
                <a:pos x="csX405" y="csY405"/>
              </a:cxn>
              <a:cxn ang="0">
                <a:pos x="csX406" y="csY406"/>
              </a:cxn>
              <a:cxn ang="0">
                <a:pos x="csX407" y="csY407"/>
              </a:cxn>
              <a:cxn ang="0">
                <a:pos x="csX408" y="csY408"/>
              </a:cxn>
              <a:cxn ang="0">
                <a:pos x="csX409" y="csY409"/>
              </a:cxn>
              <a:cxn ang="0">
                <a:pos x="csX410" y="csY410"/>
              </a:cxn>
              <a:cxn ang="0">
                <a:pos x="csX411" y="csY411"/>
              </a:cxn>
              <a:cxn ang="0">
                <a:pos x="csX412" y="csY412"/>
              </a:cxn>
              <a:cxn ang="0">
                <a:pos x="csX413" y="csY413"/>
              </a:cxn>
              <a:cxn ang="0">
                <a:pos x="csX414" y="csY414"/>
              </a:cxn>
              <a:cxn ang="0">
                <a:pos x="csX415" y="csY415"/>
              </a:cxn>
              <a:cxn ang="0">
                <a:pos x="csX416" y="csY416"/>
              </a:cxn>
              <a:cxn ang="0">
                <a:pos x="csX417" y="csY417"/>
              </a:cxn>
              <a:cxn ang="0">
                <a:pos x="csX418" y="csY418"/>
              </a:cxn>
              <a:cxn ang="0">
                <a:pos x="csX419" y="csY419"/>
              </a:cxn>
              <a:cxn ang="0">
                <a:pos x="csX420" y="csY420"/>
              </a:cxn>
              <a:cxn ang="0">
                <a:pos x="csX421" y="csY421"/>
              </a:cxn>
              <a:cxn ang="0">
                <a:pos x="csX422" y="csY422"/>
              </a:cxn>
              <a:cxn ang="0">
                <a:pos x="csX423" y="csY423"/>
              </a:cxn>
              <a:cxn ang="0">
                <a:pos x="csX424" y="csY424"/>
              </a:cxn>
              <a:cxn ang="0">
                <a:pos x="csX425" y="csY425"/>
              </a:cxn>
              <a:cxn ang="0">
                <a:pos x="csX426" y="csY426"/>
              </a:cxn>
              <a:cxn ang="0">
                <a:pos x="csX427" y="csY427"/>
              </a:cxn>
              <a:cxn ang="0">
                <a:pos x="csX428" y="csY428"/>
              </a:cxn>
              <a:cxn ang="0">
                <a:pos x="csX429" y="csY429"/>
              </a:cxn>
              <a:cxn ang="0">
                <a:pos x="csX430" y="csY430"/>
              </a:cxn>
              <a:cxn ang="0">
                <a:pos x="csX431" y="csY431"/>
              </a:cxn>
              <a:cxn ang="0">
                <a:pos x="csX432" y="csY432"/>
              </a:cxn>
              <a:cxn ang="0">
                <a:pos x="csX433" y="csY433"/>
              </a:cxn>
              <a:cxn ang="0">
                <a:pos x="csX434" y="csY434"/>
              </a:cxn>
              <a:cxn ang="0">
                <a:pos x="csX435" y="csY435"/>
              </a:cxn>
              <a:cxn ang="0">
                <a:pos x="csX436" y="csY436"/>
              </a:cxn>
              <a:cxn ang="0">
                <a:pos x="csX437" y="csY437"/>
              </a:cxn>
              <a:cxn ang="0">
                <a:pos x="csX438" y="csY438"/>
              </a:cxn>
              <a:cxn ang="0">
                <a:pos x="csX439" y="csY439"/>
              </a:cxn>
              <a:cxn ang="0">
                <a:pos x="csX440" y="csY440"/>
              </a:cxn>
              <a:cxn ang="0">
                <a:pos x="csX441" y="csY441"/>
              </a:cxn>
              <a:cxn ang="0">
                <a:pos x="csX442" y="csY442"/>
              </a:cxn>
              <a:cxn ang="0">
                <a:pos x="csX443" y="csY443"/>
              </a:cxn>
              <a:cxn ang="0">
                <a:pos x="csX444" y="csY444"/>
              </a:cxn>
              <a:cxn ang="0">
                <a:pos x="csX445" y="csY445"/>
              </a:cxn>
              <a:cxn ang="0">
                <a:pos x="csX446" y="csY446"/>
              </a:cxn>
              <a:cxn ang="0">
                <a:pos x="csX447" y="csY447"/>
              </a:cxn>
              <a:cxn ang="0">
                <a:pos x="csX448" y="csY448"/>
              </a:cxn>
              <a:cxn ang="0">
                <a:pos x="csX449" y="csY449"/>
              </a:cxn>
              <a:cxn ang="0">
                <a:pos x="csX450" y="csY450"/>
              </a:cxn>
              <a:cxn ang="0">
                <a:pos x="csX451" y="csY451"/>
              </a:cxn>
              <a:cxn ang="0">
                <a:pos x="csX452" y="csY452"/>
              </a:cxn>
              <a:cxn ang="0">
                <a:pos x="csX453" y="csY453"/>
              </a:cxn>
              <a:cxn ang="0">
                <a:pos x="csX454" y="csY454"/>
              </a:cxn>
              <a:cxn ang="0">
                <a:pos x="csX455" y="csY455"/>
              </a:cxn>
              <a:cxn ang="0">
                <a:pos x="csX456" y="csY456"/>
              </a:cxn>
              <a:cxn ang="0">
                <a:pos x="csX457" y="csY457"/>
              </a:cxn>
              <a:cxn ang="0">
                <a:pos x="csX458" y="csY458"/>
              </a:cxn>
              <a:cxn ang="0">
                <a:pos x="csX459" y="csY459"/>
              </a:cxn>
              <a:cxn ang="0">
                <a:pos x="csX460" y="csY460"/>
              </a:cxn>
              <a:cxn ang="0">
                <a:pos x="csX461" y="csY461"/>
              </a:cxn>
              <a:cxn ang="0">
                <a:pos x="csX462" y="csY462"/>
              </a:cxn>
              <a:cxn ang="0">
                <a:pos x="csX463" y="csY463"/>
              </a:cxn>
              <a:cxn ang="0">
                <a:pos x="csX464" y="csY464"/>
              </a:cxn>
              <a:cxn ang="0">
                <a:pos x="csX465" y="csY465"/>
              </a:cxn>
              <a:cxn ang="0">
                <a:pos x="csX466" y="csY466"/>
              </a:cxn>
              <a:cxn ang="0">
                <a:pos x="csX467" y="csY467"/>
              </a:cxn>
              <a:cxn ang="0">
                <a:pos x="csX468" y="csY468"/>
              </a:cxn>
              <a:cxn ang="0">
                <a:pos x="csX469" y="csY469"/>
              </a:cxn>
              <a:cxn ang="0">
                <a:pos x="csX470" y="csY470"/>
              </a:cxn>
              <a:cxn ang="0">
                <a:pos x="csX471" y="csY471"/>
              </a:cxn>
              <a:cxn ang="0">
                <a:pos x="csX472" y="csY472"/>
              </a:cxn>
              <a:cxn ang="0">
                <a:pos x="csX473" y="csY473"/>
              </a:cxn>
              <a:cxn ang="0">
                <a:pos x="csX474" y="csY474"/>
              </a:cxn>
              <a:cxn ang="0">
                <a:pos x="csX475" y="csY475"/>
              </a:cxn>
              <a:cxn ang="0">
                <a:pos x="csX476" y="csY476"/>
              </a:cxn>
              <a:cxn ang="0">
                <a:pos x="csX477" y="csY477"/>
              </a:cxn>
              <a:cxn ang="0">
                <a:pos x="csX478" y="csY478"/>
              </a:cxn>
              <a:cxn ang="0">
                <a:pos x="csX479" y="csY479"/>
              </a:cxn>
              <a:cxn ang="0">
                <a:pos x="csX480" y="csY480"/>
              </a:cxn>
              <a:cxn ang="0">
                <a:pos x="csX481" y="csY481"/>
              </a:cxn>
              <a:cxn ang="0">
                <a:pos x="csX482" y="csY482"/>
              </a:cxn>
              <a:cxn ang="0">
                <a:pos x="csX483" y="csY483"/>
              </a:cxn>
              <a:cxn ang="0">
                <a:pos x="csX484" y="csY484"/>
              </a:cxn>
              <a:cxn ang="0">
                <a:pos x="csX485" y="csY485"/>
              </a:cxn>
              <a:cxn ang="0">
                <a:pos x="csX486" y="csY486"/>
              </a:cxn>
              <a:cxn ang="0">
                <a:pos x="csX487" y="csY487"/>
              </a:cxn>
              <a:cxn ang="0">
                <a:pos x="csX488" y="csY488"/>
              </a:cxn>
              <a:cxn ang="0">
                <a:pos x="csX489" y="csY489"/>
              </a:cxn>
              <a:cxn ang="0">
                <a:pos x="csX490" y="csY490"/>
              </a:cxn>
              <a:cxn ang="0">
                <a:pos x="csX491" y="csY491"/>
              </a:cxn>
              <a:cxn ang="0">
                <a:pos x="csX492" y="csY492"/>
              </a:cxn>
              <a:cxn ang="0">
                <a:pos x="csX493" y="csY493"/>
              </a:cxn>
              <a:cxn ang="0">
                <a:pos x="csX494" y="csY494"/>
              </a:cxn>
              <a:cxn ang="0">
                <a:pos x="csX495" y="csY495"/>
              </a:cxn>
              <a:cxn ang="0">
                <a:pos x="csX496" y="csY496"/>
              </a:cxn>
              <a:cxn ang="0">
                <a:pos x="csX497" y="csY497"/>
              </a:cxn>
              <a:cxn ang="0">
                <a:pos x="csX498" y="csY498"/>
              </a:cxn>
              <a:cxn ang="0">
                <a:pos x="csX499" y="csY499"/>
              </a:cxn>
              <a:cxn ang="0">
                <a:pos x="csX500" y="csY500"/>
              </a:cxn>
              <a:cxn ang="0">
                <a:pos x="csX501" y="csY501"/>
              </a:cxn>
              <a:cxn ang="0">
                <a:pos x="csX502" y="csY502"/>
              </a:cxn>
              <a:cxn ang="0">
                <a:pos x="csX503" y="csY503"/>
              </a:cxn>
              <a:cxn ang="0">
                <a:pos x="csX504" y="csY504"/>
              </a:cxn>
              <a:cxn ang="0">
                <a:pos x="csX505" y="csY505"/>
              </a:cxn>
              <a:cxn ang="0">
                <a:pos x="csX506" y="csY506"/>
              </a:cxn>
              <a:cxn ang="0">
                <a:pos x="csX507" y="csY507"/>
              </a:cxn>
              <a:cxn ang="0">
                <a:pos x="csX508" y="csY508"/>
              </a:cxn>
              <a:cxn ang="0">
                <a:pos x="csX509" y="csY509"/>
              </a:cxn>
              <a:cxn ang="0">
                <a:pos x="csX510" y="csY510"/>
              </a:cxn>
              <a:cxn ang="0">
                <a:pos x="csX511" y="csY511"/>
              </a:cxn>
              <a:cxn ang="0">
                <a:pos x="csX512" y="csY512"/>
              </a:cxn>
              <a:cxn ang="0">
                <a:pos x="csX513" y="csY513"/>
              </a:cxn>
              <a:cxn ang="0">
                <a:pos x="csX514" y="csY514"/>
              </a:cxn>
              <a:cxn ang="0">
                <a:pos x="csX515" y="csY515"/>
              </a:cxn>
              <a:cxn ang="0">
                <a:pos x="csX516" y="csY516"/>
              </a:cxn>
              <a:cxn ang="0">
                <a:pos x="csX517" y="csY517"/>
              </a:cxn>
              <a:cxn ang="0">
                <a:pos x="csX518" y="csY518"/>
              </a:cxn>
              <a:cxn ang="0">
                <a:pos x="csX519" y="csY519"/>
              </a:cxn>
              <a:cxn ang="0">
                <a:pos x="csX520" y="csY520"/>
              </a:cxn>
              <a:cxn ang="0">
                <a:pos x="csX521" y="csY521"/>
              </a:cxn>
              <a:cxn ang="0">
                <a:pos x="csX522" y="csY522"/>
              </a:cxn>
              <a:cxn ang="0">
                <a:pos x="csX523" y="csY523"/>
              </a:cxn>
              <a:cxn ang="0">
                <a:pos x="csX524" y="csY524"/>
              </a:cxn>
              <a:cxn ang="0">
                <a:pos x="csX525" y="csY525"/>
              </a:cxn>
              <a:cxn ang="0">
                <a:pos x="csX526" y="csY526"/>
              </a:cxn>
              <a:cxn ang="0">
                <a:pos x="csX527" y="csY527"/>
              </a:cxn>
              <a:cxn ang="0">
                <a:pos x="csX528" y="csY528"/>
              </a:cxn>
              <a:cxn ang="0">
                <a:pos x="csX529" y="csY529"/>
              </a:cxn>
              <a:cxn ang="0">
                <a:pos x="csX530" y="csY530"/>
              </a:cxn>
              <a:cxn ang="0">
                <a:pos x="csX531" y="csY531"/>
              </a:cxn>
              <a:cxn ang="0">
                <a:pos x="csX532" y="csY532"/>
              </a:cxn>
              <a:cxn ang="0">
                <a:pos x="csX533" y="csY533"/>
              </a:cxn>
              <a:cxn ang="0">
                <a:pos x="csX534" y="csY534"/>
              </a:cxn>
              <a:cxn ang="0">
                <a:pos x="csX535" y="csY535"/>
              </a:cxn>
              <a:cxn ang="0">
                <a:pos x="csX536" y="csY536"/>
              </a:cxn>
              <a:cxn ang="0">
                <a:pos x="csX537" y="csY537"/>
              </a:cxn>
              <a:cxn ang="0">
                <a:pos x="csX538" y="csY538"/>
              </a:cxn>
              <a:cxn ang="0">
                <a:pos x="csX539" y="csY539"/>
              </a:cxn>
              <a:cxn ang="0">
                <a:pos x="csX540" y="csY540"/>
              </a:cxn>
              <a:cxn ang="0">
                <a:pos x="csX541" y="csY541"/>
              </a:cxn>
              <a:cxn ang="0">
                <a:pos x="csX542" y="csY542"/>
              </a:cxn>
              <a:cxn ang="0">
                <a:pos x="csX543" y="csY543"/>
              </a:cxn>
              <a:cxn ang="0">
                <a:pos x="csX544" y="csY544"/>
              </a:cxn>
              <a:cxn ang="0">
                <a:pos x="csX545" y="csY545"/>
              </a:cxn>
              <a:cxn ang="0">
                <a:pos x="csX546" y="csY546"/>
              </a:cxn>
              <a:cxn ang="0">
                <a:pos x="csX547" y="csY547"/>
              </a:cxn>
              <a:cxn ang="0">
                <a:pos x="csX548" y="csY548"/>
              </a:cxn>
              <a:cxn ang="0">
                <a:pos x="csX549" y="csY549"/>
              </a:cxn>
              <a:cxn ang="0">
                <a:pos x="csX550" y="csY550"/>
              </a:cxn>
              <a:cxn ang="0">
                <a:pos x="csX551" y="csY551"/>
              </a:cxn>
              <a:cxn ang="0">
                <a:pos x="csX552" y="csY552"/>
              </a:cxn>
              <a:cxn ang="0">
                <a:pos x="csX553" y="csY553"/>
              </a:cxn>
              <a:cxn ang="0">
                <a:pos x="csX554" y="csY554"/>
              </a:cxn>
              <a:cxn ang="0">
                <a:pos x="csX555" y="csY555"/>
              </a:cxn>
              <a:cxn ang="0">
                <a:pos x="csX556" y="csY556"/>
              </a:cxn>
              <a:cxn ang="0">
                <a:pos x="csX557" y="csY557"/>
              </a:cxn>
              <a:cxn ang="0">
                <a:pos x="csX558" y="csY558"/>
              </a:cxn>
              <a:cxn ang="0">
                <a:pos x="csX559" y="csY559"/>
              </a:cxn>
              <a:cxn ang="0">
                <a:pos x="csX560" y="csY560"/>
              </a:cxn>
              <a:cxn ang="0">
                <a:pos x="csX561" y="csY561"/>
              </a:cxn>
              <a:cxn ang="0">
                <a:pos x="csX562" y="csY562"/>
              </a:cxn>
              <a:cxn ang="0">
                <a:pos x="csX563" y="csY563"/>
              </a:cxn>
              <a:cxn ang="0">
                <a:pos x="csX564" y="csY564"/>
              </a:cxn>
              <a:cxn ang="0">
                <a:pos x="csX565" y="csY565"/>
              </a:cxn>
              <a:cxn ang="0">
                <a:pos x="csX566" y="csY566"/>
              </a:cxn>
              <a:cxn ang="0">
                <a:pos x="csX567" y="csY567"/>
              </a:cxn>
              <a:cxn ang="0">
                <a:pos x="csX568" y="csY568"/>
              </a:cxn>
              <a:cxn ang="0">
                <a:pos x="csX569" y="csY569"/>
              </a:cxn>
              <a:cxn ang="0">
                <a:pos x="csX570" y="csY570"/>
              </a:cxn>
              <a:cxn ang="0">
                <a:pos x="csX571" y="csY571"/>
              </a:cxn>
              <a:cxn ang="0">
                <a:pos x="csX572" y="csY572"/>
              </a:cxn>
              <a:cxn ang="0">
                <a:pos x="csX573" y="csY573"/>
              </a:cxn>
              <a:cxn ang="0">
                <a:pos x="csX574" y="csY574"/>
              </a:cxn>
              <a:cxn ang="0">
                <a:pos x="csX575" y="csY575"/>
              </a:cxn>
              <a:cxn ang="0">
                <a:pos x="csX576" y="csY576"/>
              </a:cxn>
              <a:cxn ang="0">
                <a:pos x="csX577" y="csY577"/>
              </a:cxn>
              <a:cxn ang="0">
                <a:pos x="csX578" y="csY578"/>
              </a:cxn>
              <a:cxn ang="0">
                <a:pos x="csX579" y="csY579"/>
              </a:cxn>
              <a:cxn ang="0">
                <a:pos x="csX580" y="csY580"/>
              </a:cxn>
              <a:cxn ang="0">
                <a:pos x="csX581" y="csY581"/>
              </a:cxn>
              <a:cxn ang="0">
                <a:pos x="csX582" y="csY582"/>
              </a:cxn>
              <a:cxn ang="0">
                <a:pos x="csX583" y="csY583"/>
              </a:cxn>
              <a:cxn ang="0">
                <a:pos x="csX584" y="csY584"/>
              </a:cxn>
              <a:cxn ang="0">
                <a:pos x="csX585" y="csY585"/>
              </a:cxn>
              <a:cxn ang="0">
                <a:pos x="csX586" y="csY586"/>
              </a:cxn>
              <a:cxn ang="0">
                <a:pos x="csX587" y="csY587"/>
              </a:cxn>
              <a:cxn ang="0">
                <a:pos x="csX588" y="csY588"/>
              </a:cxn>
              <a:cxn ang="0">
                <a:pos x="csX589" y="csY589"/>
              </a:cxn>
              <a:cxn ang="0">
                <a:pos x="csX590" y="csY590"/>
              </a:cxn>
              <a:cxn ang="0">
                <a:pos x="csX591" y="csY591"/>
              </a:cxn>
              <a:cxn ang="0">
                <a:pos x="csX592" y="csY592"/>
              </a:cxn>
              <a:cxn ang="0">
                <a:pos x="csX593" y="csY593"/>
              </a:cxn>
              <a:cxn ang="0">
                <a:pos x="csX594" y="csY594"/>
              </a:cxn>
              <a:cxn ang="0">
                <a:pos x="csX595" y="csY595"/>
              </a:cxn>
              <a:cxn ang="0">
                <a:pos x="csX596" y="csY596"/>
              </a:cxn>
              <a:cxn ang="0">
                <a:pos x="csX597" y="csY597"/>
              </a:cxn>
              <a:cxn ang="0">
                <a:pos x="csX598" y="csY598"/>
              </a:cxn>
              <a:cxn ang="0">
                <a:pos x="csX599" y="csY599"/>
              </a:cxn>
              <a:cxn ang="0">
                <a:pos x="csX600" y="csY600"/>
              </a:cxn>
              <a:cxn ang="0">
                <a:pos x="csX601" y="csY601"/>
              </a:cxn>
              <a:cxn ang="0">
                <a:pos x="csX602" y="csY602"/>
              </a:cxn>
              <a:cxn ang="0">
                <a:pos x="csX603" y="csY603"/>
              </a:cxn>
              <a:cxn ang="0">
                <a:pos x="csX604" y="csY604"/>
              </a:cxn>
              <a:cxn ang="0">
                <a:pos x="csX605" y="csY605"/>
              </a:cxn>
              <a:cxn ang="0">
                <a:pos x="csX606" y="csY606"/>
              </a:cxn>
              <a:cxn ang="0">
                <a:pos x="csX607" y="csY607"/>
              </a:cxn>
              <a:cxn ang="0">
                <a:pos x="csX608" y="csY608"/>
              </a:cxn>
              <a:cxn ang="0">
                <a:pos x="csX609" y="csY609"/>
              </a:cxn>
              <a:cxn ang="0">
                <a:pos x="csX610" y="csY610"/>
              </a:cxn>
              <a:cxn ang="0">
                <a:pos x="csX611" y="csY611"/>
              </a:cxn>
              <a:cxn ang="0">
                <a:pos x="csX612" y="csY612"/>
              </a:cxn>
              <a:cxn ang="0">
                <a:pos x="csX613" y="csY613"/>
              </a:cxn>
              <a:cxn ang="0">
                <a:pos x="csX614" y="csY614"/>
              </a:cxn>
              <a:cxn ang="0">
                <a:pos x="csX615" y="csY615"/>
              </a:cxn>
              <a:cxn ang="0">
                <a:pos x="csX616" y="csY616"/>
              </a:cxn>
              <a:cxn ang="0">
                <a:pos x="csX617" y="csY617"/>
              </a:cxn>
              <a:cxn ang="0">
                <a:pos x="csX618" y="csY618"/>
              </a:cxn>
              <a:cxn ang="0">
                <a:pos x="csX619" y="csY619"/>
              </a:cxn>
              <a:cxn ang="0">
                <a:pos x="csX620" y="csY620"/>
              </a:cxn>
              <a:cxn ang="0">
                <a:pos x="csX621" y="csY621"/>
              </a:cxn>
              <a:cxn ang="0">
                <a:pos x="csX622" y="csY622"/>
              </a:cxn>
              <a:cxn ang="0">
                <a:pos x="csX623" y="csY623"/>
              </a:cxn>
              <a:cxn ang="0">
                <a:pos x="csX624" y="csY624"/>
              </a:cxn>
              <a:cxn ang="0">
                <a:pos x="csX625" y="csY625"/>
              </a:cxn>
              <a:cxn ang="0">
                <a:pos x="csX626" y="csY626"/>
              </a:cxn>
              <a:cxn ang="0">
                <a:pos x="csX627" y="csY627"/>
              </a:cxn>
              <a:cxn ang="0">
                <a:pos x="csX628" y="csY628"/>
              </a:cxn>
              <a:cxn ang="0">
                <a:pos x="csX629" y="csY629"/>
              </a:cxn>
              <a:cxn ang="0">
                <a:pos x="csX630" y="csY630"/>
              </a:cxn>
              <a:cxn ang="0">
                <a:pos x="csX631" y="csY631"/>
              </a:cxn>
              <a:cxn ang="0">
                <a:pos x="csX632" y="csY632"/>
              </a:cxn>
              <a:cxn ang="0">
                <a:pos x="csX633" y="csY633"/>
              </a:cxn>
              <a:cxn ang="0">
                <a:pos x="csX634" y="csY634"/>
              </a:cxn>
              <a:cxn ang="0">
                <a:pos x="csX635" y="csY635"/>
              </a:cxn>
              <a:cxn ang="0">
                <a:pos x="csX636" y="csY636"/>
              </a:cxn>
              <a:cxn ang="0">
                <a:pos x="csX637" y="csY637"/>
              </a:cxn>
              <a:cxn ang="0">
                <a:pos x="csX638" y="csY638"/>
              </a:cxn>
              <a:cxn ang="0">
                <a:pos x="csX639" y="csY639"/>
              </a:cxn>
              <a:cxn ang="0">
                <a:pos x="csX640" y="csY640"/>
              </a:cxn>
              <a:cxn ang="0">
                <a:pos x="csX641" y="csY641"/>
              </a:cxn>
              <a:cxn ang="0">
                <a:pos x="csX642" y="csY642"/>
              </a:cxn>
              <a:cxn ang="0">
                <a:pos x="csX643" y="csY643"/>
              </a:cxn>
              <a:cxn ang="0">
                <a:pos x="csX644" y="csY644"/>
              </a:cxn>
              <a:cxn ang="0">
                <a:pos x="csX645" y="csY645"/>
              </a:cxn>
              <a:cxn ang="0">
                <a:pos x="csX646" y="csY646"/>
              </a:cxn>
              <a:cxn ang="0">
                <a:pos x="csX647" y="csY647"/>
              </a:cxn>
              <a:cxn ang="0">
                <a:pos x="csX648" y="csY648"/>
              </a:cxn>
              <a:cxn ang="0">
                <a:pos x="csX649" y="csY649"/>
              </a:cxn>
              <a:cxn ang="0">
                <a:pos x="csX650" y="csY650"/>
              </a:cxn>
              <a:cxn ang="0">
                <a:pos x="csX651" y="csY651"/>
              </a:cxn>
              <a:cxn ang="0">
                <a:pos x="csX652" y="csY652"/>
              </a:cxn>
              <a:cxn ang="0">
                <a:pos x="csX653" y="csY653"/>
              </a:cxn>
              <a:cxn ang="0">
                <a:pos x="csX654" y="csY654"/>
              </a:cxn>
              <a:cxn ang="0">
                <a:pos x="csX655" y="csY655"/>
              </a:cxn>
              <a:cxn ang="0">
                <a:pos x="csX656" y="csY656"/>
              </a:cxn>
              <a:cxn ang="0">
                <a:pos x="csX657" y="csY657"/>
              </a:cxn>
              <a:cxn ang="0">
                <a:pos x="csX658" y="csY658"/>
              </a:cxn>
              <a:cxn ang="0">
                <a:pos x="csX659" y="csY659"/>
              </a:cxn>
              <a:cxn ang="0">
                <a:pos x="csX660" y="csY660"/>
              </a:cxn>
              <a:cxn ang="0">
                <a:pos x="csX661" y="csY661"/>
              </a:cxn>
              <a:cxn ang="0">
                <a:pos x="csX662" y="csY662"/>
              </a:cxn>
              <a:cxn ang="0">
                <a:pos x="csX663" y="csY663"/>
              </a:cxn>
              <a:cxn ang="0">
                <a:pos x="csX664" y="csY664"/>
              </a:cxn>
              <a:cxn ang="0">
                <a:pos x="csX665" y="csY665"/>
              </a:cxn>
              <a:cxn ang="0">
                <a:pos x="csX666" y="csY666"/>
              </a:cxn>
              <a:cxn ang="0">
                <a:pos x="csX667" y="csY667"/>
              </a:cxn>
              <a:cxn ang="0">
                <a:pos x="csX668" y="csY668"/>
              </a:cxn>
              <a:cxn ang="0">
                <a:pos x="csX669" y="csY669"/>
              </a:cxn>
              <a:cxn ang="0">
                <a:pos x="csX670" y="csY670"/>
              </a:cxn>
              <a:cxn ang="0">
                <a:pos x="csX671" y="csY671"/>
              </a:cxn>
              <a:cxn ang="0">
                <a:pos x="csX672" y="csY672"/>
              </a:cxn>
              <a:cxn ang="0">
                <a:pos x="csX673" y="csY673"/>
              </a:cxn>
              <a:cxn ang="0">
                <a:pos x="csX674" y="csY674"/>
              </a:cxn>
              <a:cxn ang="0">
                <a:pos x="csX675" y="csY675"/>
              </a:cxn>
              <a:cxn ang="0">
                <a:pos x="csX676" y="csY676"/>
              </a:cxn>
              <a:cxn ang="0">
                <a:pos x="csX677" y="csY677"/>
              </a:cxn>
              <a:cxn ang="0">
                <a:pos x="csX678" y="csY678"/>
              </a:cxn>
              <a:cxn ang="0">
                <a:pos x="csX679" y="csY679"/>
              </a:cxn>
              <a:cxn ang="0">
                <a:pos x="csX680" y="csY680"/>
              </a:cxn>
              <a:cxn ang="0">
                <a:pos x="csX681" y="csY681"/>
              </a:cxn>
              <a:cxn ang="0">
                <a:pos x="csX682" y="csY682"/>
              </a:cxn>
              <a:cxn ang="0">
                <a:pos x="csX683" y="csY683"/>
              </a:cxn>
              <a:cxn ang="0">
                <a:pos x="csX684" y="csY684"/>
              </a:cxn>
              <a:cxn ang="0">
                <a:pos x="csX685" y="csY685"/>
              </a:cxn>
              <a:cxn ang="0">
                <a:pos x="csX686" y="csY686"/>
              </a:cxn>
              <a:cxn ang="0">
                <a:pos x="csX687" y="csY687"/>
              </a:cxn>
              <a:cxn ang="0">
                <a:pos x="csX688" y="csY688"/>
              </a:cxn>
              <a:cxn ang="0">
                <a:pos x="csX689" y="csY689"/>
              </a:cxn>
              <a:cxn ang="0">
                <a:pos x="csX690" y="csY690"/>
              </a:cxn>
              <a:cxn ang="0">
                <a:pos x="csX691" y="csY691"/>
              </a:cxn>
              <a:cxn ang="0">
                <a:pos x="csX692" y="csY692"/>
              </a:cxn>
              <a:cxn ang="0">
                <a:pos x="csX693" y="csY693"/>
              </a:cxn>
              <a:cxn ang="0">
                <a:pos x="csX694" y="csY694"/>
              </a:cxn>
              <a:cxn ang="0">
                <a:pos x="csX695" y="csY695"/>
              </a:cxn>
              <a:cxn ang="0">
                <a:pos x="csX696" y="csY696"/>
              </a:cxn>
              <a:cxn ang="0">
                <a:pos x="csX697" y="csY697"/>
              </a:cxn>
              <a:cxn ang="0">
                <a:pos x="csX698" y="csY698"/>
              </a:cxn>
              <a:cxn ang="0">
                <a:pos x="csX699" y="csY699"/>
              </a:cxn>
              <a:cxn ang="0">
                <a:pos x="csX700" y="csY700"/>
              </a:cxn>
              <a:cxn ang="0">
                <a:pos x="csX701" y="csY701"/>
              </a:cxn>
              <a:cxn ang="0">
                <a:pos x="csX702" y="csY702"/>
              </a:cxn>
              <a:cxn ang="0">
                <a:pos x="csX703" y="csY703"/>
              </a:cxn>
              <a:cxn ang="0">
                <a:pos x="csX704" y="csY704"/>
              </a:cxn>
              <a:cxn ang="0">
                <a:pos x="csX705" y="csY705"/>
              </a:cxn>
              <a:cxn ang="0">
                <a:pos x="csX706" y="csY706"/>
              </a:cxn>
              <a:cxn ang="0">
                <a:pos x="csX707" y="csY707"/>
              </a:cxn>
              <a:cxn ang="0">
                <a:pos x="csX708" y="csY708"/>
              </a:cxn>
              <a:cxn ang="0">
                <a:pos x="csX709" y="csY709"/>
              </a:cxn>
              <a:cxn ang="0">
                <a:pos x="csX710" y="csY710"/>
              </a:cxn>
              <a:cxn ang="0">
                <a:pos x="csX711" y="csY711"/>
              </a:cxn>
              <a:cxn ang="0">
                <a:pos x="csX712" y="csY712"/>
              </a:cxn>
              <a:cxn ang="0">
                <a:pos x="csX713" y="csY713"/>
              </a:cxn>
              <a:cxn ang="0">
                <a:pos x="csX714" y="csY714"/>
              </a:cxn>
              <a:cxn ang="0">
                <a:pos x="csX715" y="csY715"/>
              </a:cxn>
              <a:cxn ang="0">
                <a:pos x="csX716" y="csY716"/>
              </a:cxn>
              <a:cxn ang="0">
                <a:pos x="csX717" y="csY717"/>
              </a:cxn>
              <a:cxn ang="0">
                <a:pos x="csX718" y="csY718"/>
              </a:cxn>
              <a:cxn ang="0">
                <a:pos x="csX719" y="csY719"/>
              </a:cxn>
              <a:cxn ang="0">
                <a:pos x="csX720" y="csY720"/>
              </a:cxn>
              <a:cxn ang="0">
                <a:pos x="csX721" y="csY721"/>
              </a:cxn>
              <a:cxn ang="0">
                <a:pos x="csX722" y="csY722"/>
              </a:cxn>
              <a:cxn ang="0">
                <a:pos x="csX723" y="csY723"/>
              </a:cxn>
              <a:cxn ang="0">
                <a:pos x="csX724" y="csY724"/>
              </a:cxn>
              <a:cxn ang="0">
                <a:pos x="csX725" y="csY725"/>
              </a:cxn>
              <a:cxn ang="0">
                <a:pos x="csX726" y="csY726"/>
              </a:cxn>
              <a:cxn ang="0">
                <a:pos x="csX727" y="csY727"/>
              </a:cxn>
              <a:cxn ang="0">
                <a:pos x="csX728" y="csY728"/>
              </a:cxn>
              <a:cxn ang="0">
                <a:pos x="csX729" y="csY729"/>
              </a:cxn>
              <a:cxn ang="0">
                <a:pos x="csX730" y="csY730"/>
              </a:cxn>
              <a:cxn ang="0">
                <a:pos x="csX731" y="csY731"/>
              </a:cxn>
              <a:cxn ang="0">
                <a:pos x="csX732" y="csY732"/>
              </a:cxn>
              <a:cxn ang="0">
                <a:pos x="csX733" y="csY733"/>
              </a:cxn>
              <a:cxn ang="0">
                <a:pos x="csX734" y="csY734"/>
              </a:cxn>
              <a:cxn ang="0">
                <a:pos x="csX735" y="csY735"/>
              </a:cxn>
              <a:cxn ang="0">
                <a:pos x="csX736" y="csY736"/>
              </a:cxn>
              <a:cxn ang="0">
                <a:pos x="csX737" y="csY737"/>
              </a:cxn>
              <a:cxn ang="0">
                <a:pos x="csX738" y="csY738"/>
              </a:cxn>
              <a:cxn ang="0">
                <a:pos x="csX739" y="csY739"/>
              </a:cxn>
              <a:cxn ang="0">
                <a:pos x="csX740" y="csY740"/>
              </a:cxn>
              <a:cxn ang="0">
                <a:pos x="csX741" y="csY741"/>
              </a:cxn>
              <a:cxn ang="0">
                <a:pos x="csX742" y="csY742"/>
              </a:cxn>
              <a:cxn ang="0">
                <a:pos x="csX743" y="csY743"/>
              </a:cxn>
              <a:cxn ang="0">
                <a:pos x="csX744" y="csY744"/>
              </a:cxn>
              <a:cxn ang="0">
                <a:pos x="csX745" y="csY745"/>
              </a:cxn>
              <a:cxn ang="0">
                <a:pos x="csX746" y="csY746"/>
              </a:cxn>
              <a:cxn ang="0">
                <a:pos x="csX747" y="csY747"/>
              </a:cxn>
              <a:cxn ang="0">
                <a:pos x="csX748" y="csY748"/>
              </a:cxn>
              <a:cxn ang="0">
                <a:pos x="csX749" y="csY749"/>
              </a:cxn>
              <a:cxn ang="0">
                <a:pos x="csX750" y="csY750"/>
              </a:cxn>
              <a:cxn ang="0">
                <a:pos x="csX751" y="csY751"/>
              </a:cxn>
              <a:cxn ang="0">
                <a:pos x="csX752" y="csY752"/>
              </a:cxn>
              <a:cxn ang="0">
                <a:pos x="csX753" y="csY753"/>
              </a:cxn>
              <a:cxn ang="0">
                <a:pos x="csX754" y="csY754"/>
              </a:cxn>
              <a:cxn ang="0">
                <a:pos x="csX755" y="csY755"/>
              </a:cxn>
              <a:cxn ang="0">
                <a:pos x="csX756" y="csY756"/>
              </a:cxn>
              <a:cxn ang="0">
                <a:pos x="csX757" y="csY757"/>
              </a:cxn>
              <a:cxn ang="0">
                <a:pos x="csX758" y="csY758"/>
              </a:cxn>
              <a:cxn ang="0">
                <a:pos x="csX759" y="csY759"/>
              </a:cxn>
              <a:cxn ang="0">
                <a:pos x="csX760" y="csY760"/>
              </a:cxn>
              <a:cxn ang="0">
                <a:pos x="csX761" y="csY761"/>
              </a:cxn>
              <a:cxn ang="0">
                <a:pos x="csX762" y="csY762"/>
              </a:cxn>
              <a:cxn ang="0">
                <a:pos x="csX763" y="csY763"/>
              </a:cxn>
              <a:cxn ang="0">
                <a:pos x="csX764" y="csY764"/>
              </a:cxn>
              <a:cxn ang="0">
                <a:pos x="csX765" y="csY765"/>
              </a:cxn>
              <a:cxn ang="0">
                <a:pos x="csX766" y="csY766"/>
              </a:cxn>
              <a:cxn ang="0">
                <a:pos x="csX767" y="csY767"/>
              </a:cxn>
              <a:cxn ang="0">
                <a:pos x="csX768" y="csY768"/>
              </a:cxn>
              <a:cxn ang="0">
                <a:pos x="csX769" y="csY769"/>
              </a:cxn>
              <a:cxn ang="0">
                <a:pos x="csX770" y="csY770"/>
              </a:cxn>
              <a:cxn ang="0">
                <a:pos x="csX771" y="csY771"/>
              </a:cxn>
              <a:cxn ang="0">
                <a:pos x="csX772" y="csY772"/>
              </a:cxn>
              <a:cxn ang="0">
                <a:pos x="csX773" y="csY773"/>
              </a:cxn>
              <a:cxn ang="0">
                <a:pos x="csX774" y="csY774"/>
              </a:cxn>
              <a:cxn ang="0">
                <a:pos x="csX775" y="csY775"/>
              </a:cxn>
              <a:cxn ang="0">
                <a:pos x="csX776" y="csY776"/>
              </a:cxn>
              <a:cxn ang="0">
                <a:pos x="csX777" y="csY777"/>
              </a:cxn>
              <a:cxn ang="0">
                <a:pos x="csX778" y="csY778"/>
              </a:cxn>
              <a:cxn ang="0">
                <a:pos x="csX779" y="csY779"/>
              </a:cxn>
              <a:cxn ang="0">
                <a:pos x="csX780" y="csY780"/>
              </a:cxn>
              <a:cxn ang="0">
                <a:pos x="csX781" y="csY781"/>
              </a:cxn>
              <a:cxn ang="0">
                <a:pos x="csX782" y="csY782"/>
              </a:cxn>
              <a:cxn ang="0">
                <a:pos x="csX783" y="csY783"/>
              </a:cxn>
              <a:cxn ang="0">
                <a:pos x="csX784" y="csY784"/>
              </a:cxn>
              <a:cxn ang="0">
                <a:pos x="csX785" y="csY785"/>
              </a:cxn>
              <a:cxn ang="0">
                <a:pos x="csX786" y="csY786"/>
              </a:cxn>
              <a:cxn ang="0">
                <a:pos x="csX787" y="csY787"/>
              </a:cxn>
              <a:cxn ang="0">
                <a:pos x="csX788" y="csY788"/>
              </a:cxn>
              <a:cxn ang="0">
                <a:pos x="csX789" y="csY789"/>
              </a:cxn>
              <a:cxn ang="0">
                <a:pos x="csX790" y="csY790"/>
              </a:cxn>
              <a:cxn ang="0">
                <a:pos x="csX791" y="csY791"/>
              </a:cxn>
              <a:cxn ang="0">
                <a:pos x="csX792" y="csY792"/>
              </a:cxn>
              <a:cxn ang="0">
                <a:pos x="csX793" y="csY793"/>
              </a:cxn>
              <a:cxn ang="0">
                <a:pos x="csX794" y="csY794"/>
              </a:cxn>
              <a:cxn ang="0">
                <a:pos x="csX795" y="csY795"/>
              </a:cxn>
              <a:cxn ang="0">
                <a:pos x="csX796" y="csY796"/>
              </a:cxn>
              <a:cxn ang="0">
                <a:pos x="csX797" y="csY797"/>
              </a:cxn>
              <a:cxn ang="0">
                <a:pos x="csX798" y="csY798"/>
              </a:cxn>
              <a:cxn ang="0">
                <a:pos x="csX799" y="csY799"/>
              </a:cxn>
              <a:cxn ang="0">
                <a:pos x="csX800" y="csY800"/>
              </a:cxn>
              <a:cxn ang="0">
                <a:pos x="csX801" y="csY801"/>
              </a:cxn>
              <a:cxn ang="0">
                <a:pos x="csX802" y="csY802"/>
              </a:cxn>
              <a:cxn ang="0">
                <a:pos x="csX803" y="csY803"/>
              </a:cxn>
              <a:cxn ang="0">
                <a:pos x="csX804" y="csY804"/>
              </a:cxn>
              <a:cxn ang="0">
                <a:pos x="csX805" y="csY805"/>
              </a:cxn>
              <a:cxn ang="0">
                <a:pos x="csX806" y="csY806"/>
              </a:cxn>
              <a:cxn ang="0">
                <a:pos x="csX807" y="csY807"/>
              </a:cxn>
              <a:cxn ang="0">
                <a:pos x="csX808" y="csY808"/>
              </a:cxn>
              <a:cxn ang="0">
                <a:pos x="csX809" y="csY809"/>
              </a:cxn>
              <a:cxn ang="0">
                <a:pos x="csX810" y="csY810"/>
              </a:cxn>
              <a:cxn ang="0">
                <a:pos x="csX811" y="csY811"/>
              </a:cxn>
              <a:cxn ang="0">
                <a:pos x="csX812" y="csY812"/>
              </a:cxn>
              <a:cxn ang="0">
                <a:pos x="csX813" y="csY813"/>
              </a:cxn>
              <a:cxn ang="0">
                <a:pos x="csX814" y="csY814"/>
              </a:cxn>
              <a:cxn ang="0">
                <a:pos x="csX815" y="csY815"/>
              </a:cxn>
              <a:cxn ang="0">
                <a:pos x="csX816" y="csY816"/>
              </a:cxn>
              <a:cxn ang="0">
                <a:pos x="csX817" y="csY817"/>
              </a:cxn>
              <a:cxn ang="0">
                <a:pos x="csX818" y="csY818"/>
              </a:cxn>
              <a:cxn ang="0">
                <a:pos x="csX819" y="csY819"/>
              </a:cxn>
              <a:cxn ang="0">
                <a:pos x="csX820" y="csY820"/>
              </a:cxn>
              <a:cxn ang="0">
                <a:pos x="csX821" y="csY821"/>
              </a:cxn>
              <a:cxn ang="0">
                <a:pos x="csX822" y="csY822"/>
              </a:cxn>
              <a:cxn ang="0">
                <a:pos x="csX823" y="csY823"/>
              </a:cxn>
              <a:cxn ang="0">
                <a:pos x="csX824" y="csY824"/>
              </a:cxn>
              <a:cxn ang="0">
                <a:pos x="csX825" y="csY825"/>
              </a:cxn>
              <a:cxn ang="0">
                <a:pos x="csX826" y="csY826"/>
              </a:cxn>
              <a:cxn ang="0">
                <a:pos x="csX827" y="csY827"/>
              </a:cxn>
              <a:cxn ang="0">
                <a:pos x="csX828" y="csY828"/>
              </a:cxn>
              <a:cxn ang="0">
                <a:pos x="csX829" y="csY829"/>
              </a:cxn>
              <a:cxn ang="0">
                <a:pos x="csX830" y="csY830"/>
              </a:cxn>
              <a:cxn ang="0">
                <a:pos x="csX831" y="csY831"/>
              </a:cxn>
              <a:cxn ang="0">
                <a:pos x="csX832" y="csY832"/>
              </a:cxn>
              <a:cxn ang="0">
                <a:pos x="csX833" y="csY833"/>
              </a:cxn>
              <a:cxn ang="0">
                <a:pos x="csX834" y="csY834"/>
              </a:cxn>
              <a:cxn ang="0">
                <a:pos x="csX835" y="csY835"/>
              </a:cxn>
              <a:cxn ang="0">
                <a:pos x="csX836" y="csY836"/>
              </a:cxn>
              <a:cxn ang="0">
                <a:pos x="csX837" y="csY837"/>
              </a:cxn>
              <a:cxn ang="0">
                <a:pos x="csX838" y="csY838"/>
              </a:cxn>
              <a:cxn ang="0">
                <a:pos x="csX839" y="csY839"/>
              </a:cxn>
              <a:cxn ang="0">
                <a:pos x="csX840" y="csY840"/>
              </a:cxn>
              <a:cxn ang="0">
                <a:pos x="csX841" y="csY841"/>
              </a:cxn>
              <a:cxn ang="0">
                <a:pos x="csX842" y="csY842"/>
              </a:cxn>
              <a:cxn ang="0">
                <a:pos x="csX843" y="csY843"/>
              </a:cxn>
              <a:cxn ang="0">
                <a:pos x="csX844" y="csY844"/>
              </a:cxn>
              <a:cxn ang="0">
                <a:pos x="csX845" y="csY845"/>
              </a:cxn>
              <a:cxn ang="0">
                <a:pos x="csX846" y="csY846"/>
              </a:cxn>
              <a:cxn ang="0">
                <a:pos x="csX847" y="csY847"/>
              </a:cxn>
              <a:cxn ang="0">
                <a:pos x="csX848" y="csY848"/>
              </a:cxn>
              <a:cxn ang="0">
                <a:pos x="csX849" y="csY849"/>
              </a:cxn>
              <a:cxn ang="0">
                <a:pos x="csX850" y="csY850"/>
              </a:cxn>
              <a:cxn ang="0">
                <a:pos x="csX851" y="csY851"/>
              </a:cxn>
              <a:cxn ang="0">
                <a:pos x="csX852" y="csY852"/>
              </a:cxn>
              <a:cxn ang="0">
                <a:pos x="csX853" y="csY853"/>
              </a:cxn>
              <a:cxn ang="0">
                <a:pos x="csX854" y="csY854"/>
              </a:cxn>
              <a:cxn ang="0">
                <a:pos x="csX855" y="csY855"/>
              </a:cxn>
              <a:cxn ang="0">
                <a:pos x="csX856" y="csY856"/>
              </a:cxn>
              <a:cxn ang="0">
                <a:pos x="csX857" y="csY857"/>
              </a:cxn>
              <a:cxn ang="0">
                <a:pos x="csX858" y="csY858"/>
              </a:cxn>
              <a:cxn ang="0">
                <a:pos x="csX859" y="csY859"/>
              </a:cxn>
              <a:cxn ang="0">
                <a:pos x="csX860" y="csY860"/>
              </a:cxn>
              <a:cxn ang="0">
                <a:pos x="csX861" y="csY861"/>
              </a:cxn>
              <a:cxn ang="0">
                <a:pos x="csX862" y="csY862"/>
              </a:cxn>
              <a:cxn ang="0">
                <a:pos x="csX863" y="csY863"/>
              </a:cxn>
              <a:cxn ang="0">
                <a:pos x="csX864" y="csY864"/>
              </a:cxn>
              <a:cxn ang="0">
                <a:pos x="csX865" y="csY865"/>
              </a:cxn>
              <a:cxn ang="0">
                <a:pos x="csX866" y="csY866"/>
              </a:cxn>
              <a:cxn ang="0">
                <a:pos x="csX867" y="csY867"/>
              </a:cxn>
              <a:cxn ang="0">
                <a:pos x="csX868" y="csY868"/>
              </a:cxn>
              <a:cxn ang="0">
                <a:pos x="csX869" y="csY869"/>
              </a:cxn>
              <a:cxn ang="0">
                <a:pos x="csX870" y="csY870"/>
              </a:cxn>
              <a:cxn ang="0">
                <a:pos x="csX871" y="csY871"/>
              </a:cxn>
              <a:cxn ang="0">
                <a:pos x="csX872" y="csY872"/>
              </a:cxn>
              <a:cxn ang="0">
                <a:pos x="csX873" y="csY873"/>
              </a:cxn>
              <a:cxn ang="0">
                <a:pos x="csX874" y="csY874"/>
              </a:cxn>
              <a:cxn ang="0">
                <a:pos x="csX875" y="csY875"/>
              </a:cxn>
              <a:cxn ang="0">
                <a:pos x="csX876" y="csY876"/>
              </a:cxn>
              <a:cxn ang="0">
                <a:pos x="csX877" y="csY877"/>
              </a:cxn>
              <a:cxn ang="0">
                <a:pos x="csX878" y="csY878"/>
              </a:cxn>
              <a:cxn ang="0">
                <a:pos x="csX879" y="csY879"/>
              </a:cxn>
              <a:cxn ang="0">
                <a:pos x="csX880" y="csY880"/>
              </a:cxn>
              <a:cxn ang="0">
                <a:pos x="csX881" y="csY881"/>
              </a:cxn>
              <a:cxn ang="0">
                <a:pos x="csX882" y="csY882"/>
              </a:cxn>
              <a:cxn ang="0">
                <a:pos x="csX883" y="csY883"/>
              </a:cxn>
              <a:cxn ang="0">
                <a:pos x="csX884" y="csY884"/>
              </a:cxn>
              <a:cxn ang="0">
                <a:pos x="csX885" y="csY885"/>
              </a:cxn>
              <a:cxn ang="0">
                <a:pos x="csX886" y="csY886"/>
              </a:cxn>
              <a:cxn ang="0">
                <a:pos x="csX887" y="csY887"/>
              </a:cxn>
              <a:cxn ang="0">
                <a:pos x="csX888" y="csY888"/>
              </a:cxn>
              <a:cxn ang="0">
                <a:pos x="csX889" y="csY889"/>
              </a:cxn>
              <a:cxn ang="0">
                <a:pos x="csX890" y="csY890"/>
              </a:cxn>
              <a:cxn ang="0">
                <a:pos x="csX891" y="csY891"/>
              </a:cxn>
              <a:cxn ang="0">
                <a:pos x="csX892" y="csY892"/>
              </a:cxn>
              <a:cxn ang="0">
                <a:pos x="csX893" y="csY893"/>
              </a:cxn>
              <a:cxn ang="0">
                <a:pos x="csX894" y="csY894"/>
              </a:cxn>
              <a:cxn ang="0">
                <a:pos x="csX895" y="csY895"/>
              </a:cxn>
              <a:cxn ang="0">
                <a:pos x="csX896" y="csY896"/>
              </a:cxn>
              <a:cxn ang="0">
                <a:pos x="csX897" y="csY897"/>
              </a:cxn>
              <a:cxn ang="0">
                <a:pos x="csX898" y="csY898"/>
              </a:cxn>
              <a:cxn ang="0">
                <a:pos x="csX899" y="csY899"/>
              </a:cxn>
              <a:cxn ang="0">
                <a:pos x="csX900" y="csY900"/>
              </a:cxn>
              <a:cxn ang="0">
                <a:pos x="csX901" y="csY901"/>
              </a:cxn>
              <a:cxn ang="0">
                <a:pos x="csX902" y="csY902"/>
              </a:cxn>
              <a:cxn ang="0">
                <a:pos x="csX903" y="csY903"/>
              </a:cxn>
              <a:cxn ang="0">
                <a:pos x="csX904" y="csY904"/>
              </a:cxn>
              <a:cxn ang="0">
                <a:pos x="csX905" y="csY905"/>
              </a:cxn>
              <a:cxn ang="0">
                <a:pos x="csX906" y="csY906"/>
              </a:cxn>
              <a:cxn ang="0">
                <a:pos x="csX907" y="csY907"/>
              </a:cxn>
              <a:cxn ang="0">
                <a:pos x="csX908" y="csY908"/>
              </a:cxn>
              <a:cxn ang="0">
                <a:pos x="csX909" y="csY909"/>
              </a:cxn>
              <a:cxn ang="0">
                <a:pos x="csX910" y="csY910"/>
              </a:cxn>
              <a:cxn ang="0">
                <a:pos x="csX911" y="csY911"/>
              </a:cxn>
              <a:cxn ang="0">
                <a:pos x="csX912" y="csY912"/>
              </a:cxn>
              <a:cxn ang="0">
                <a:pos x="csX913" y="csY913"/>
              </a:cxn>
              <a:cxn ang="0">
                <a:pos x="csX914" y="csY914"/>
              </a:cxn>
              <a:cxn ang="0">
                <a:pos x="csX915" y="csY915"/>
              </a:cxn>
              <a:cxn ang="0">
                <a:pos x="csX916" y="csY916"/>
              </a:cxn>
              <a:cxn ang="0">
                <a:pos x="csX917" y="csY917"/>
              </a:cxn>
              <a:cxn ang="0">
                <a:pos x="csX918" y="csY918"/>
              </a:cxn>
              <a:cxn ang="0">
                <a:pos x="csX919" y="csY919"/>
              </a:cxn>
              <a:cxn ang="0">
                <a:pos x="csX920" y="csY920"/>
              </a:cxn>
              <a:cxn ang="0">
                <a:pos x="csX921" y="csY921"/>
              </a:cxn>
              <a:cxn ang="0">
                <a:pos x="csX922" y="csY922"/>
              </a:cxn>
              <a:cxn ang="0">
                <a:pos x="csX923" y="csY923"/>
              </a:cxn>
              <a:cxn ang="0">
                <a:pos x="csX924" y="csY924"/>
              </a:cxn>
              <a:cxn ang="0">
                <a:pos x="csX925" y="csY925"/>
              </a:cxn>
              <a:cxn ang="0">
                <a:pos x="csX926" y="csY926"/>
              </a:cxn>
              <a:cxn ang="0">
                <a:pos x="csX927" y="csY927"/>
              </a:cxn>
              <a:cxn ang="0">
                <a:pos x="csX928" y="csY928"/>
              </a:cxn>
              <a:cxn ang="0">
                <a:pos x="csX929" y="csY929"/>
              </a:cxn>
              <a:cxn ang="0">
                <a:pos x="csX930" y="csY930"/>
              </a:cxn>
              <a:cxn ang="0">
                <a:pos x="csX931" y="csY931"/>
              </a:cxn>
              <a:cxn ang="0">
                <a:pos x="csX932" y="csY932"/>
              </a:cxn>
              <a:cxn ang="0">
                <a:pos x="csX933" y="csY933"/>
              </a:cxn>
              <a:cxn ang="0">
                <a:pos x="csX934" y="csY934"/>
              </a:cxn>
              <a:cxn ang="0">
                <a:pos x="csX935" y="csY935"/>
              </a:cxn>
              <a:cxn ang="0">
                <a:pos x="csX936" y="csY936"/>
              </a:cxn>
              <a:cxn ang="0">
                <a:pos x="csX937" y="csY937"/>
              </a:cxn>
              <a:cxn ang="0">
                <a:pos x="csX938" y="csY938"/>
              </a:cxn>
              <a:cxn ang="0">
                <a:pos x="csX939" y="csY939"/>
              </a:cxn>
              <a:cxn ang="0">
                <a:pos x="csX940" y="csY940"/>
              </a:cxn>
              <a:cxn ang="0">
                <a:pos x="csX941" y="csY941"/>
              </a:cxn>
              <a:cxn ang="0">
                <a:pos x="csX942" y="csY942"/>
              </a:cxn>
              <a:cxn ang="0">
                <a:pos x="csX943" y="csY943"/>
              </a:cxn>
              <a:cxn ang="0">
                <a:pos x="csX944" y="csY944"/>
              </a:cxn>
              <a:cxn ang="0">
                <a:pos x="csX945" y="csY945"/>
              </a:cxn>
              <a:cxn ang="0">
                <a:pos x="csX946" y="csY946"/>
              </a:cxn>
              <a:cxn ang="0">
                <a:pos x="csX947" y="csY947"/>
              </a:cxn>
              <a:cxn ang="0">
                <a:pos x="csX948" y="csY948"/>
              </a:cxn>
              <a:cxn ang="0">
                <a:pos x="csX949" y="csY949"/>
              </a:cxn>
              <a:cxn ang="0">
                <a:pos x="csX950" y="csY950"/>
              </a:cxn>
              <a:cxn ang="0">
                <a:pos x="csX951" y="csY951"/>
              </a:cxn>
              <a:cxn ang="0">
                <a:pos x="csX952" y="csY952"/>
              </a:cxn>
              <a:cxn ang="0">
                <a:pos x="csX953" y="csY953"/>
              </a:cxn>
              <a:cxn ang="0">
                <a:pos x="csX954" y="csY954"/>
              </a:cxn>
              <a:cxn ang="0">
                <a:pos x="csX955" y="csY955"/>
              </a:cxn>
              <a:cxn ang="0">
                <a:pos x="csX956" y="csY956"/>
              </a:cxn>
              <a:cxn ang="0">
                <a:pos x="csX957" y="csY957"/>
              </a:cxn>
              <a:cxn ang="0">
                <a:pos x="csX958" y="csY958"/>
              </a:cxn>
              <a:cxn ang="0">
                <a:pos x="csX959" y="csY959"/>
              </a:cxn>
              <a:cxn ang="0">
                <a:pos x="csX960" y="csY960"/>
              </a:cxn>
              <a:cxn ang="0">
                <a:pos x="csX961" y="csY961"/>
              </a:cxn>
              <a:cxn ang="0">
                <a:pos x="csX962" y="csY962"/>
              </a:cxn>
              <a:cxn ang="0">
                <a:pos x="csX963" y="csY963"/>
              </a:cxn>
              <a:cxn ang="0">
                <a:pos x="csX964" y="csY964"/>
              </a:cxn>
              <a:cxn ang="0">
                <a:pos x="csX965" y="csY965"/>
              </a:cxn>
              <a:cxn ang="0">
                <a:pos x="csX966" y="csY966"/>
              </a:cxn>
              <a:cxn ang="0">
                <a:pos x="csX967" y="csY967"/>
              </a:cxn>
              <a:cxn ang="0">
                <a:pos x="csX968" y="csY968"/>
              </a:cxn>
              <a:cxn ang="0">
                <a:pos x="csX969" y="csY969"/>
              </a:cxn>
              <a:cxn ang="0">
                <a:pos x="csX970" y="csY970"/>
              </a:cxn>
              <a:cxn ang="0">
                <a:pos x="csX971" y="csY971"/>
              </a:cxn>
              <a:cxn ang="0">
                <a:pos x="csX972" y="csY972"/>
              </a:cxn>
              <a:cxn ang="0">
                <a:pos x="csX973" y="csY973"/>
              </a:cxn>
              <a:cxn ang="0">
                <a:pos x="csX974" y="csY974"/>
              </a:cxn>
              <a:cxn ang="0">
                <a:pos x="csX975" y="csY975"/>
              </a:cxn>
              <a:cxn ang="0">
                <a:pos x="csX976" y="csY976"/>
              </a:cxn>
              <a:cxn ang="0">
                <a:pos x="csX977" y="csY977"/>
              </a:cxn>
              <a:cxn ang="0">
                <a:pos x="csX978" y="csY978"/>
              </a:cxn>
              <a:cxn ang="0">
                <a:pos x="csX979" y="csY979"/>
              </a:cxn>
              <a:cxn ang="0">
                <a:pos x="csX980" y="csY980"/>
              </a:cxn>
              <a:cxn ang="0">
                <a:pos x="csX981" y="csY981"/>
              </a:cxn>
              <a:cxn ang="0">
                <a:pos x="csX982" y="csY982"/>
              </a:cxn>
              <a:cxn ang="0">
                <a:pos x="csX983" y="csY983"/>
              </a:cxn>
              <a:cxn ang="0">
                <a:pos x="csX984" y="csY984"/>
              </a:cxn>
              <a:cxn ang="0">
                <a:pos x="csX985" y="csY985"/>
              </a:cxn>
              <a:cxn ang="0">
                <a:pos x="csX986" y="csY986"/>
              </a:cxn>
              <a:cxn ang="0">
                <a:pos x="csX987" y="csY987"/>
              </a:cxn>
              <a:cxn ang="0">
                <a:pos x="csX988" y="csY988"/>
              </a:cxn>
              <a:cxn ang="0">
                <a:pos x="csX989" y="csY989"/>
              </a:cxn>
              <a:cxn ang="0">
                <a:pos x="csX990" y="csY990"/>
              </a:cxn>
              <a:cxn ang="0">
                <a:pos x="csX991" y="csY991"/>
              </a:cxn>
              <a:cxn ang="0">
                <a:pos x="csX992" y="csY992"/>
              </a:cxn>
              <a:cxn ang="0">
                <a:pos x="csX993" y="csY993"/>
              </a:cxn>
              <a:cxn ang="0">
                <a:pos x="csX994" y="csY994"/>
              </a:cxn>
              <a:cxn ang="0">
                <a:pos x="csX995" y="csY995"/>
              </a:cxn>
              <a:cxn ang="0">
                <a:pos x="csX996" y="csY996"/>
              </a:cxn>
              <a:cxn ang="0">
                <a:pos x="csX997" y="csY997"/>
              </a:cxn>
              <a:cxn ang="0">
                <a:pos x="csX998" y="csY998"/>
              </a:cxn>
              <a:cxn ang="0">
                <a:pos x="csX999" y="csY999"/>
              </a:cxn>
              <a:cxn ang="0">
                <a:pos x="csX1000" y="csY1000"/>
              </a:cxn>
              <a:cxn ang="0">
                <a:pos x="csX1001" y="csY1001"/>
              </a:cxn>
              <a:cxn ang="0">
                <a:pos x="csX1002" y="csY1002"/>
              </a:cxn>
              <a:cxn ang="0">
                <a:pos x="csX1003" y="csY1003"/>
              </a:cxn>
              <a:cxn ang="0">
                <a:pos x="csX1004" y="csY1004"/>
              </a:cxn>
              <a:cxn ang="0">
                <a:pos x="csX1005" y="csY1005"/>
              </a:cxn>
              <a:cxn ang="0">
                <a:pos x="csX1006" y="csY1006"/>
              </a:cxn>
              <a:cxn ang="0">
                <a:pos x="csX1007" y="csY1007"/>
              </a:cxn>
              <a:cxn ang="0">
                <a:pos x="csX1008" y="csY1008"/>
              </a:cxn>
              <a:cxn ang="0">
                <a:pos x="csX1009" y="csY1009"/>
              </a:cxn>
              <a:cxn ang="0">
                <a:pos x="csX1010" y="csY1010"/>
              </a:cxn>
              <a:cxn ang="0">
                <a:pos x="csX1011" y="csY1011"/>
              </a:cxn>
              <a:cxn ang="0">
                <a:pos x="csX1012" y="csY1012"/>
              </a:cxn>
              <a:cxn ang="0">
                <a:pos x="csX1013" y="csY1013"/>
              </a:cxn>
              <a:cxn ang="0">
                <a:pos x="csX1014" y="csY1014"/>
              </a:cxn>
              <a:cxn ang="0">
                <a:pos x="csX1015" y="csY1015"/>
              </a:cxn>
              <a:cxn ang="0">
                <a:pos x="csX1016" y="csY1016"/>
              </a:cxn>
              <a:cxn ang="0">
                <a:pos x="csX1017" y="csY1017"/>
              </a:cxn>
              <a:cxn ang="0">
                <a:pos x="csX1018" y="csY1018"/>
              </a:cxn>
              <a:cxn ang="0">
                <a:pos x="csX1019" y="csY1019"/>
              </a:cxn>
              <a:cxn ang="0">
                <a:pos x="csX1020" y="csY1020"/>
              </a:cxn>
              <a:cxn ang="0">
                <a:pos x="csX1021" y="csY1021"/>
              </a:cxn>
              <a:cxn ang="0">
                <a:pos x="csX1022" y="csY1022"/>
              </a:cxn>
              <a:cxn ang="0">
                <a:pos x="csX1023" y="csY1023"/>
              </a:cxn>
              <a:cxn ang="0">
                <a:pos x="csX1024" y="csY1024"/>
              </a:cxn>
              <a:cxn ang="0">
                <a:pos x="csX1025" y="csY1025"/>
              </a:cxn>
              <a:cxn ang="0">
                <a:pos x="csX1026" y="csY1026"/>
              </a:cxn>
              <a:cxn ang="0">
                <a:pos x="csX1027" y="csY1027"/>
              </a:cxn>
              <a:cxn ang="0">
                <a:pos x="csX1028" y="csY1028"/>
              </a:cxn>
              <a:cxn ang="0">
                <a:pos x="csX1029" y="csY1029"/>
              </a:cxn>
              <a:cxn ang="0">
                <a:pos x="csX1030" y="csY1030"/>
              </a:cxn>
              <a:cxn ang="0">
                <a:pos x="csX1031" y="csY1031"/>
              </a:cxn>
              <a:cxn ang="0">
                <a:pos x="csX1032" y="csY1032"/>
              </a:cxn>
              <a:cxn ang="0">
                <a:pos x="csX1033" y="csY1033"/>
              </a:cxn>
              <a:cxn ang="0">
                <a:pos x="csX1034" y="csY1034"/>
              </a:cxn>
              <a:cxn ang="0">
                <a:pos x="csX1035" y="csY1035"/>
              </a:cxn>
              <a:cxn ang="0">
                <a:pos x="csX1036" y="csY1036"/>
              </a:cxn>
              <a:cxn ang="0">
                <a:pos x="csX1037" y="csY1037"/>
              </a:cxn>
              <a:cxn ang="0">
                <a:pos x="csX1038" y="csY1038"/>
              </a:cxn>
              <a:cxn ang="0">
                <a:pos x="csX1039" y="csY1039"/>
              </a:cxn>
              <a:cxn ang="0">
                <a:pos x="csX1040" y="csY1040"/>
              </a:cxn>
              <a:cxn ang="0">
                <a:pos x="csX1041" y="csY1041"/>
              </a:cxn>
              <a:cxn ang="0">
                <a:pos x="csX1042" y="csY1042"/>
              </a:cxn>
              <a:cxn ang="0">
                <a:pos x="csX1043" y="csY1043"/>
              </a:cxn>
              <a:cxn ang="0">
                <a:pos x="csX1044" y="csY1044"/>
              </a:cxn>
              <a:cxn ang="0">
                <a:pos x="csX1045" y="csY1045"/>
              </a:cxn>
              <a:cxn ang="0">
                <a:pos x="csX1046" y="csY1046"/>
              </a:cxn>
              <a:cxn ang="0">
                <a:pos x="csX1047" y="csY1047"/>
              </a:cxn>
              <a:cxn ang="0">
                <a:pos x="csX1048" y="csY1048"/>
              </a:cxn>
              <a:cxn ang="0">
                <a:pos x="csX1049" y="csY1049"/>
              </a:cxn>
              <a:cxn ang="0">
                <a:pos x="csX1050" y="csY1050"/>
              </a:cxn>
              <a:cxn ang="0">
                <a:pos x="csX1051" y="csY1051"/>
              </a:cxn>
              <a:cxn ang="0">
                <a:pos x="csX1052" y="csY1052"/>
              </a:cxn>
              <a:cxn ang="0">
                <a:pos x="csX1053" y="csY1053"/>
              </a:cxn>
              <a:cxn ang="0">
                <a:pos x="csX1054" y="csY1054"/>
              </a:cxn>
            </a:cxnLst>
            <a:rect l="l" t="t" r="r" b="b"/>
            <a:pathLst>
              <a:path w="1609516" h="1538630">
                <a:moveTo>
                  <a:pt x="401579" y="1495809"/>
                </a:moveTo>
                <a:lnTo>
                  <a:pt x="400190" y="1496004"/>
                </a:lnTo>
                <a:lnTo>
                  <a:pt x="401224" y="1496470"/>
                </a:lnTo>
                <a:lnTo>
                  <a:pt x="401224" y="1498590"/>
                </a:lnTo>
                <a:lnTo>
                  <a:pt x="401579" y="1498628"/>
                </a:lnTo>
                <a:cubicBezTo>
                  <a:pt x="401579" y="1497698"/>
                  <a:pt x="401579" y="1496768"/>
                  <a:pt x="401579" y="1495809"/>
                </a:cubicBezTo>
                <a:close/>
                <a:moveTo>
                  <a:pt x="368755" y="1486512"/>
                </a:moveTo>
                <a:lnTo>
                  <a:pt x="364089" y="1487354"/>
                </a:lnTo>
                <a:lnTo>
                  <a:pt x="364089" y="1487908"/>
                </a:lnTo>
                <a:close/>
                <a:moveTo>
                  <a:pt x="1049801" y="1484562"/>
                </a:moveTo>
                <a:lnTo>
                  <a:pt x="1046735" y="1485945"/>
                </a:lnTo>
                <a:lnTo>
                  <a:pt x="1046955" y="1486045"/>
                </a:lnTo>
                <a:lnTo>
                  <a:pt x="1049801" y="1485188"/>
                </a:lnTo>
                <a:close/>
                <a:moveTo>
                  <a:pt x="351234" y="1444508"/>
                </a:moveTo>
                <a:lnTo>
                  <a:pt x="351234" y="1444997"/>
                </a:lnTo>
                <a:lnTo>
                  <a:pt x="351592" y="1445078"/>
                </a:lnTo>
                <a:close/>
                <a:moveTo>
                  <a:pt x="351908" y="1431206"/>
                </a:moveTo>
                <a:lnTo>
                  <a:pt x="351234" y="1431611"/>
                </a:lnTo>
                <a:lnTo>
                  <a:pt x="351234" y="1432274"/>
                </a:lnTo>
                <a:close/>
                <a:moveTo>
                  <a:pt x="358162" y="1421494"/>
                </a:moveTo>
                <a:lnTo>
                  <a:pt x="355921" y="1423156"/>
                </a:lnTo>
                <a:lnTo>
                  <a:pt x="355921" y="1423548"/>
                </a:lnTo>
                <a:close/>
                <a:moveTo>
                  <a:pt x="376098" y="1408347"/>
                </a:moveTo>
                <a:lnTo>
                  <a:pt x="370750" y="1412245"/>
                </a:lnTo>
                <a:lnTo>
                  <a:pt x="375023" y="1411256"/>
                </a:lnTo>
                <a:close/>
                <a:moveTo>
                  <a:pt x="421956" y="1365623"/>
                </a:moveTo>
                <a:lnTo>
                  <a:pt x="421765" y="1366161"/>
                </a:lnTo>
                <a:lnTo>
                  <a:pt x="421887" y="1366161"/>
                </a:lnTo>
                <a:close/>
                <a:moveTo>
                  <a:pt x="754553" y="1360575"/>
                </a:moveTo>
                <a:lnTo>
                  <a:pt x="754089" y="1361433"/>
                </a:lnTo>
                <a:lnTo>
                  <a:pt x="754431" y="1361125"/>
                </a:lnTo>
                <a:close/>
                <a:moveTo>
                  <a:pt x="1277973" y="1332923"/>
                </a:moveTo>
                <a:lnTo>
                  <a:pt x="1277944" y="1332936"/>
                </a:lnTo>
                <a:lnTo>
                  <a:pt x="1277949" y="1333139"/>
                </a:lnTo>
                <a:close/>
                <a:moveTo>
                  <a:pt x="1268556" y="1321066"/>
                </a:moveTo>
                <a:cubicBezTo>
                  <a:pt x="1268556" y="1322461"/>
                  <a:pt x="1268556" y="1323856"/>
                  <a:pt x="1268556" y="1325294"/>
                </a:cubicBezTo>
                <a:cubicBezTo>
                  <a:pt x="1267525" y="1325294"/>
                  <a:pt x="1266495" y="1325294"/>
                  <a:pt x="1265432" y="1325294"/>
                </a:cubicBezTo>
                <a:cubicBezTo>
                  <a:pt x="1265432" y="1330409"/>
                  <a:pt x="1265432" y="1335525"/>
                  <a:pt x="1265432" y="1340795"/>
                </a:cubicBezTo>
                <a:lnTo>
                  <a:pt x="1265476" y="1340714"/>
                </a:lnTo>
                <a:lnTo>
                  <a:pt x="1265476" y="1325877"/>
                </a:lnTo>
                <a:cubicBezTo>
                  <a:pt x="1266507" y="1325877"/>
                  <a:pt x="1267538" y="1325877"/>
                  <a:pt x="1268600" y="1325877"/>
                </a:cubicBezTo>
                <a:cubicBezTo>
                  <a:pt x="1268600" y="1324482"/>
                  <a:pt x="1268600" y="1323086"/>
                  <a:pt x="1268600" y="1321649"/>
                </a:cubicBezTo>
                <a:cubicBezTo>
                  <a:pt x="1270147" y="1321649"/>
                  <a:pt x="1271693" y="1321649"/>
                  <a:pt x="1273286" y="1321649"/>
                </a:cubicBezTo>
                <a:lnTo>
                  <a:pt x="1273227" y="1321066"/>
                </a:lnTo>
                <a:close/>
                <a:moveTo>
                  <a:pt x="827891" y="1291474"/>
                </a:moveTo>
                <a:lnTo>
                  <a:pt x="822601" y="1291544"/>
                </a:lnTo>
                <a:lnTo>
                  <a:pt x="818272" y="1292220"/>
                </a:lnTo>
                <a:lnTo>
                  <a:pt x="827891" y="1292047"/>
                </a:lnTo>
                <a:close/>
                <a:moveTo>
                  <a:pt x="856397" y="1288691"/>
                </a:moveTo>
                <a:lnTo>
                  <a:pt x="865903" y="1290590"/>
                </a:lnTo>
                <a:lnTo>
                  <a:pt x="859999" y="1288752"/>
                </a:lnTo>
                <a:close/>
                <a:moveTo>
                  <a:pt x="834694" y="1288572"/>
                </a:moveTo>
                <a:lnTo>
                  <a:pt x="828038" y="1288654"/>
                </a:lnTo>
                <a:lnTo>
                  <a:pt x="828038" y="1289214"/>
                </a:lnTo>
                <a:close/>
                <a:moveTo>
                  <a:pt x="229746" y="1191418"/>
                </a:moveTo>
                <a:lnTo>
                  <a:pt x="227402" y="1191947"/>
                </a:lnTo>
                <a:lnTo>
                  <a:pt x="229315" y="1191947"/>
                </a:lnTo>
                <a:cubicBezTo>
                  <a:pt x="229315" y="1192877"/>
                  <a:pt x="229315" y="1193807"/>
                  <a:pt x="229315" y="1194765"/>
                </a:cubicBezTo>
                <a:lnTo>
                  <a:pt x="231321" y="1194765"/>
                </a:lnTo>
                <a:lnTo>
                  <a:pt x="229746" y="1194236"/>
                </a:lnTo>
                <a:cubicBezTo>
                  <a:pt x="229746" y="1193306"/>
                  <a:pt x="229746" y="1192376"/>
                  <a:pt x="229746" y="1191418"/>
                </a:cubicBezTo>
                <a:close/>
                <a:moveTo>
                  <a:pt x="215687" y="1187190"/>
                </a:moveTo>
                <a:lnTo>
                  <a:pt x="215198" y="1187720"/>
                </a:lnTo>
                <a:lnTo>
                  <a:pt x="215256" y="1187720"/>
                </a:lnTo>
                <a:cubicBezTo>
                  <a:pt x="215256" y="1189115"/>
                  <a:pt x="215256" y="1190510"/>
                  <a:pt x="215256" y="1191947"/>
                </a:cubicBezTo>
                <a:lnTo>
                  <a:pt x="222721" y="1191947"/>
                </a:lnTo>
                <a:lnTo>
                  <a:pt x="215687" y="1191418"/>
                </a:lnTo>
                <a:cubicBezTo>
                  <a:pt x="215687" y="1190023"/>
                  <a:pt x="215687" y="1188628"/>
                  <a:pt x="215687" y="1187190"/>
                </a:cubicBezTo>
                <a:close/>
                <a:moveTo>
                  <a:pt x="1279678" y="1082356"/>
                </a:moveTo>
                <a:lnTo>
                  <a:pt x="1271680" y="1084589"/>
                </a:lnTo>
                <a:lnTo>
                  <a:pt x="1282181" y="1082544"/>
                </a:lnTo>
                <a:close/>
                <a:moveTo>
                  <a:pt x="117703" y="941507"/>
                </a:moveTo>
                <a:lnTo>
                  <a:pt x="112587" y="941985"/>
                </a:lnTo>
                <a:lnTo>
                  <a:pt x="112565" y="942333"/>
                </a:lnTo>
                <a:lnTo>
                  <a:pt x="115665" y="941837"/>
                </a:lnTo>
                <a:close/>
                <a:moveTo>
                  <a:pt x="144268" y="939395"/>
                </a:moveTo>
                <a:lnTo>
                  <a:pt x="143354" y="939580"/>
                </a:lnTo>
                <a:lnTo>
                  <a:pt x="144077" y="939739"/>
                </a:lnTo>
                <a:close/>
                <a:moveTo>
                  <a:pt x="162575" y="933530"/>
                </a:moveTo>
                <a:lnTo>
                  <a:pt x="161704" y="935101"/>
                </a:lnTo>
                <a:lnTo>
                  <a:pt x="170045" y="933585"/>
                </a:lnTo>
                <a:close/>
                <a:moveTo>
                  <a:pt x="1321645" y="918415"/>
                </a:moveTo>
                <a:lnTo>
                  <a:pt x="1321534" y="920177"/>
                </a:lnTo>
                <a:lnTo>
                  <a:pt x="1321740" y="918415"/>
                </a:lnTo>
                <a:close/>
                <a:moveTo>
                  <a:pt x="1319333" y="915183"/>
                </a:moveTo>
                <a:lnTo>
                  <a:pt x="1318544" y="918029"/>
                </a:lnTo>
                <a:lnTo>
                  <a:pt x="1318702" y="918029"/>
                </a:lnTo>
                <a:close/>
                <a:moveTo>
                  <a:pt x="1326355" y="907109"/>
                </a:moveTo>
                <a:lnTo>
                  <a:pt x="1326355" y="910983"/>
                </a:lnTo>
                <a:lnTo>
                  <a:pt x="1325831" y="911101"/>
                </a:lnTo>
                <a:lnTo>
                  <a:pt x="1326426" y="911369"/>
                </a:lnTo>
                <a:cubicBezTo>
                  <a:pt x="1326426" y="909974"/>
                  <a:pt x="1326426" y="908579"/>
                  <a:pt x="1326426" y="907141"/>
                </a:cubicBezTo>
                <a:close/>
                <a:moveTo>
                  <a:pt x="1328144" y="892192"/>
                </a:moveTo>
                <a:lnTo>
                  <a:pt x="1327667" y="893446"/>
                </a:lnTo>
                <a:lnTo>
                  <a:pt x="1327989" y="893049"/>
                </a:lnTo>
                <a:close/>
                <a:moveTo>
                  <a:pt x="49605" y="887420"/>
                </a:moveTo>
                <a:lnTo>
                  <a:pt x="48549" y="891229"/>
                </a:lnTo>
                <a:lnTo>
                  <a:pt x="49956" y="887420"/>
                </a:lnTo>
                <a:close/>
                <a:moveTo>
                  <a:pt x="1332266" y="883369"/>
                </a:moveTo>
                <a:lnTo>
                  <a:pt x="1329479" y="884207"/>
                </a:lnTo>
                <a:lnTo>
                  <a:pt x="1329509" y="884816"/>
                </a:lnTo>
                <a:lnTo>
                  <a:pt x="1329551" y="884594"/>
                </a:lnTo>
                <a:close/>
                <a:moveTo>
                  <a:pt x="1555987" y="821766"/>
                </a:moveTo>
                <a:lnTo>
                  <a:pt x="1555987" y="822201"/>
                </a:lnTo>
                <a:lnTo>
                  <a:pt x="1556081" y="822189"/>
                </a:lnTo>
                <a:close/>
                <a:moveTo>
                  <a:pt x="1565360" y="810928"/>
                </a:moveTo>
                <a:lnTo>
                  <a:pt x="1564871" y="811809"/>
                </a:lnTo>
                <a:lnTo>
                  <a:pt x="1567314" y="810928"/>
                </a:lnTo>
                <a:close/>
                <a:moveTo>
                  <a:pt x="1563797" y="810928"/>
                </a:moveTo>
                <a:lnTo>
                  <a:pt x="1556762" y="814736"/>
                </a:lnTo>
                <a:lnTo>
                  <a:pt x="1563797" y="812197"/>
                </a:lnTo>
                <a:close/>
                <a:moveTo>
                  <a:pt x="265833" y="806020"/>
                </a:moveTo>
                <a:lnTo>
                  <a:pt x="263704" y="809861"/>
                </a:lnTo>
                <a:lnTo>
                  <a:pt x="263704" y="816750"/>
                </a:lnTo>
                <a:lnTo>
                  <a:pt x="264113" y="816565"/>
                </a:lnTo>
                <a:cubicBezTo>
                  <a:pt x="264048" y="815315"/>
                  <a:pt x="263984" y="814065"/>
                  <a:pt x="263918" y="812777"/>
                </a:cubicBezTo>
                <a:close/>
                <a:moveTo>
                  <a:pt x="263774" y="779374"/>
                </a:moveTo>
                <a:lnTo>
                  <a:pt x="263704" y="783086"/>
                </a:lnTo>
                <a:cubicBezTo>
                  <a:pt x="263961" y="783987"/>
                  <a:pt x="264219" y="784888"/>
                  <a:pt x="264484" y="785816"/>
                </a:cubicBezTo>
                <a:cubicBezTo>
                  <a:pt x="265299" y="788846"/>
                  <a:pt x="265316" y="791337"/>
                  <a:pt x="265265" y="794448"/>
                </a:cubicBezTo>
                <a:cubicBezTo>
                  <a:pt x="265103" y="797155"/>
                  <a:pt x="265022" y="798508"/>
                  <a:pt x="265217" y="799730"/>
                </a:cubicBezTo>
                <a:lnTo>
                  <a:pt x="266556" y="803466"/>
                </a:lnTo>
                <a:lnTo>
                  <a:pt x="267237" y="801063"/>
                </a:lnTo>
                <a:cubicBezTo>
                  <a:pt x="266721" y="800598"/>
                  <a:pt x="266206" y="800133"/>
                  <a:pt x="265675" y="799654"/>
                </a:cubicBezTo>
                <a:cubicBezTo>
                  <a:pt x="265601" y="797718"/>
                  <a:pt x="265617" y="795778"/>
                  <a:pt x="265675" y="793841"/>
                </a:cubicBezTo>
                <a:close/>
                <a:moveTo>
                  <a:pt x="260988" y="770061"/>
                </a:moveTo>
                <a:lnTo>
                  <a:pt x="260988" y="771364"/>
                </a:lnTo>
                <a:lnTo>
                  <a:pt x="263497" y="777263"/>
                </a:lnTo>
                <a:lnTo>
                  <a:pt x="262551" y="770061"/>
                </a:lnTo>
                <a:cubicBezTo>
                  <a:pt x="262035" y="770061"/>
                  <a:pt x="261520" y="770061"/>
                  <a:pt x="260988" y="770061"/>
                </a:cubicBezTo>
                <a:close/>
                <a:moveTo>
                  <a:pt x="157888" y="651686"/>
                </a:moveTo>
                <a:lnTo>
                  <a:pt x="157415" y="651764"/>
                </a:lnTo>
                <a:lnTo>
                  <a:pt x="160373" y="652274"/>
                </a:lnTo>
                <a:close/>
                <a:moveTo>
                  <a:pt x="267237" y="426537"/>
                </a:moveTo>
                <a:lnTo>
                  <a:pt x="267237" y="427619"/>
                </a:lnTo>
                <a:cubicBezTo>
                  <a:pt x="268274" y="427791"/>
                  <a:pt x="269311" y="427961"/>
                  <a:pt x="270380" y="428137"/>
                </a:cubicBezTo>
                <a:lnTo>
                  <a:pt x="273548" y="428680"/>
                </a:lnTo>
                <a:close/>
                <a:moveTo>
                  <a:pt x="37605" y="359270"/>
                </a:moveTo>
                <a:lnTo>
                  <a:pt x="37103" y="361533"/>
                </a:lnTo>
                <a:lnTo>
                  <a:pt x="37605" y="361382"/>
                </a:lnTo>
                <a:close/>
                <a:moveTo>
                  <a:pt x="52477" y="337570"/>
                </a:moveTo>
                <a:lnTo>
                  <a:pt x="47288" y="342340"/>
                </a:lnTo>
                <a:lnTo>
                  <a:pt x="45805" y="345093"/>
                </a:lnTo>
                <a:close/>
                <a:moveTo>
                  <a:pt x="104291" y="336166"/>
                </a:moveTo>
                <a:lnTo>
                  <a:pt x="103776" y="337559"/>
                </a:lnTo>
                <a:lnTo>
                  <a:pt x="108925" y="336166"/>
                </a:lnTo>
                <a:close/>
                <a:moveTo>
                  <a:pt x="1309237" y="322954"/>
                </a:moveTo>
                <a:lnTo>
                  <a:pt x="1309180" y="330559"/>
                </a:lnTo>
                <a:lnTo>
                  <a:pt x="1309237" y="330520"/>
                </a:lnTo>
                <a:close/>
                <a:moveTo>
                  <a:pt x="1308964" y="317715"/>
                </a:moveTo>
                <a:lnTo>
                  <a:pt x="1309237" y="318569"/>
                </a:lnTo>
                <a:lnTo>
                  <a:pt x="1309237" y="317838"/>
                </a:lnTo>
                <a:close/>
                <a:moveTo>
                  <a:pt x="1310087" y="313153"/>
                </a:moveTo>
                <a:lnTo>
                  <a:pt x="1307609" y="313473"/>
                </a:lnTo>
                <a:lnTo>
                  <a:pt x="1308045" y="314836"/>
                </a:lnTo>
                <a:close/>
                <a:moveTo>
                  <a:pt x="1318544" y="312064"/>
                </a:moveTo>
                <a:lnTo>
                  <a:pt x="1316298" y="312353"/>
                </a:lnTo>
                <a:lnTo>
                  <a:pt x="1318544" y="312205"/>
                </a:lnTo>
                <a:close/>
                <a:moveTo>
                  <a:pt x="1084622" y="267674"/>
                </a:moveTo>
                <a:lnTo>
                  <a:pt x="1084227" y="268378"/>
                </a:lnTo>
                <a:cubicBezTo>
                  <a:pt x="1082679" y="268378"/>
                  <a:pt x="1081133" y="268378"/>
                  <a:pt x="1079540" y="268378"/>
                </a:cubicBezTo>
                <a:lnTo>
                  <a:pt x="1079603" y="268477"/>
                </a:lnTo>
                <a:lnTo>
                  <a:pt x="1084192" y="268477"/>
                </a:lnTo>
                <a:close/>
                <a:moveTo>
                  <a:pt x="956410" y="266968"/>
                </a:moveTo>
                <a:lnTo>
                  <a:pt x="957576" y="267083"/>
                </a:lnTo>
                <a:lnTo>
                  <a:pt x="957576" y="269776"/>
                </a:lnTo>
                <a:lnTo>
                  <a:pt x="957694" y="269787"/>
                </a:lnTo>
                <a:cubicBezTo>
                  <a:pt x="957694" y="268857"/>
                  <a:pt x="957694" y="267927"/>
                  <a:pt x="957694" y="266968"/>
                </a:cubicBezTo>
                <a:close/>
                <a:moveTo>
                  <a:pt x="1089372" y="259220"/>
                </a:moveTo>
                <a:lnTo>
                  <a:pt x="1085856" y="265479"/>
                </a:lnTo>
                <a:lnTo>
                  <a:pt x="1088878" y="261431"/>
                </a:lnTo>
                <a:close/>
                <a:moveTo>
                  <a:pt x="1018517" y="223356"/>
                </a:moveTo>
                <a:lnTo>
                  <a:pt x="1013866" y="226190"/>
                </a:lnTo>
                <a:lnTo>
                  <a:pt x="1013024" y="227709"/>
                </a:lnTo>
                <a:lnTo>
                  <a:pt x="1017055" y="224692"/>
                </a:lnTo>
                <a:close/>
                <a:moveTo>
                  <a:pt x="850645" y="220099"/>
                </a:moveTo>
                <a:lnTo>
                  <a:pt x="850897" y="221488"/>
                </a:lnTo>
                <a:cubicBezTo>
                  <a:pt x="851086" y="222545"/>
                  <a:pt x="851275" y="223602"/>
                  <a:pt x="851470" y="224692"/>
                </a:cubicBezTo>
                <a:lnTo>
                  <a:pt x="852860" y="224692"/>
                </a:lnTo>
                <a:close/>
                <a:moveTo>
                  <a:pt x="1155019" y="35"/>
                </a:moveTo>
                <a:cubicBezTo>
                  <a:pt x="1161775" y="275"/>
                  <a:pt x="1168415" y="1783"/>
                  <a:pt x="1174829" y="4853"/>
                </a:cubicBezTo>
                <a:cubicBezTo>
                  <a:pt x="1176343" y="5231"/>
                  <a:pt x="1177858" y="5609"/>
                  <a:pt x="1179418" y="5998"/>
                </a:cubicBezTo>
                <a:cubicBezTo>
                  <a:pt x="1189392" y="9487"/>
                  <a:pt x="1196322" y="14392"/>
                  <a:pt x="1201385" y="22997"/>
                </a:cubicBezTo>
                <a:cubicBezTo>
                  <a:pt x="1206849" y="35244"/>
                  <a:pt x="1206940" y="49865"/>
                  <a:pt x="1201678" y="62191"/>
                </a:cubicBezTo>
                <a:cubicBezTo>
                  <a:pt x="1200594" y="64241"/>
                  <a:pt x="1199461" y="66271"/>
                  <a:pt x="1198261" y="68268"/>
                </a:cubicBezTo>
                <a:cubicBezTo>
                  <a:pt x="1197423" y="69721"/>
                  <a:pt x="1196586" y="71175"/>
                  <a:pt x="1195723" y="72672"/>
                </a:cubicBezTo>
                <a:cubicBezTo>
                  <a:pt x="1194659" y="73980"/>
                  <a:pt x="1194659" y="73980"/>
                  <a:pt x="1193575" y="75314"/>
                </a:cubicBezTo>
                <a:cubicBezTo>
                  <a:pt x="1192544" y="75314"/>
                  <a:pt x="1191512" y="75314"/>
                  <a:pt x="1190450" y="75314"/>
                </a:cubicBezTo>
                <a:cubicBezTo>
                  <a:pt x="1190128" y="76651"/>
                  <a:pt x="1189806" y="77988"/>
                  <a:pt x="1189474" y="79366"/>
                </a:cubicBezTo>
                <a:cubicBezTo>
                  <a:pt x="1187326" y="83769"/>
                  <a:pt x="1187326" y="83769"/>
                  <a:pt x="1182445" y="85707"/>
                </a:cubicBezTo>
                <a:cubicBezTo>
                  <a:pt x="1180962" y="85998"/>
                  <a:pt x="1179480" y="86289"/>
                  <a:pt x="1177953" y="86588"/>
                </a:cubicBezTo>
                <a:cubicBezTo>
                  <a:pt x="1177953" y="87518"/>
                  <a:pt x="1177953" y="88448"/>
                  <a:pt x="1177953" y="89406"/>
                </a:cubicBezTo>
                <a:cubicBezTo>
                  <a:pt x="1175369" y="91088"/>
                  <a:pt x="1172720" y="92688"/>
                  <a:pt x="1170045" y="94251"/>
                </a:cubicBezTo>
                <a:cubicBezTo>
                  <a:pt x="1154651" y="104199"/>
                  <a:pt x="1148918" y="116979"/>
                  <a:pt x="1143806" y="132828"/>
                </a:cubicBezTo>
                <a:cubicBezTo>
                  <a:pt x="1142095" y="137144"/>
                  <a:pt x="1140989" y="138617"/>
                  <a:pt x="1137338" y="141548"/>
                </a:cubicBezTo>
                <a:cubicBezTo>
                  <a:pt x="1136166" y="144148"/>
                  <a:pt x="1134992" y="146751"/>
                  <a:pt x="1133970" y="149403"/>
                </a:cubicBezTo>
                <a:cubicBezTo>
                  <a:pt x="1132069" y="154334"/>
                  <a:pt x="1130006" y="159210"/>
                  <a:pt x="1127965" y="164095"/>
                </a:cubicBezTo>
                <a:cubicBezTo>
                  <a:pt x="1126897" y="166664"/>
                  <a:pt x="1125830" y="169233"/>
                  <a:pt x="1124762" y="171802"/>
                </a:cubicBezTo>
                <a:cubicBezTo>
                  <a:pt x="1122961" y="176134"/>
                  <a:pt x="1121160" y="180466"/>
                  <a:pt x="1119359" y="184798"/>
                </a:cubicBezTo>
                <a:cubicBezTo>
                  <a:pt x="1116567" y="191508"/>
                  <a:pt x="1113778" y="198220"/>
                  <a:pt x="1111014" y="204941"/>
                </a:cubicBezTo>
                <a:cubicBezTo>
                  <a:pt x="1110590" y="205970"/>
                  <a:pt x="1110165" y="206999"/>
                  <a:pt x="1109729" y="208059"/>
                </a:cubicBezTo>
                <a:cubicBezTo>
                  <a:pt x="1108615" y="210762"/>
                  <a:pt x="1107505" y="213466"/>
                  <a:pt x="1106395" y="216170"/>
                </a:cubicBezTo>
                <a:cubicBezTo>
                  <a:pt x="1104320" y="220956"/>
                  <a:pt x="1103283" y="223349"/>
                  <a:pt x="1102147" y="224810"/>
                </a:cubicBezTo>
                <a:lnTo>
                  <a:pt x="1098261" y="227262"/>
                </a:lnTo>
                <a:lnTo>
                  <a:pt x="1098367" y="238475"/>
                </a:lnTo>
                <a:cubicBezTo>
                  <a:pt x="1098025" y="239757"/>
                  <a:pt x="1097684" y="241038"/>
                  <a:pt x="1097331" y="242358"/>
                </a:cubicBezTo>
                <a:cubicBezTo>
                  <a:pt x="1096958" y="243711"/>
                  <a:pt x="1096585" y="245064"/>
                  <a:pt x="1096201" y="246458"/>
                </a:cubicBezTo>
                <a:cubicBezTo>
                  <a:pt x="1093302" y="257363"/>
                  <a:pt x="1090901" y="268062"/>
                  <a:pt x="1089440" y="279206"/>
                </a:cubicBezTo>
                <a:cubicBezTo>
                  <a:pt x="1088878" y="282569"/>
                  <a:pt x="1088878" y="282569"/>
                  <a:pt x="1087316" y="283978"/>
                </a:cubicBezTo>
                <a:cubicBezTo>
                  <a:pt x="1087070" y="286587"/>
                  <a:pt x="1086924" y="289205"/>
                  <a:pt x="1086822" y="291822"/>
                </a:cubicBezTo>
                <a:cubicBezTo>
                  <a:pt x="1086756" y="293408"/>
                  <a:pt x="1086691" y="294993"/>
                  <a:pt x="1086623" y="296625"/>
                </a:cubicBezTo>
                <a:cubicBezTo>
                  <a:pt x="1086562" y="298294"/>
                  <a:pt x="1086501" y="299962"/>
                  <a:pt x="1086437" y="301681"/>
                </a:cubicBezTo>
                <a:cubicBezTo>
                  <a:pt x="1086336" y="304192"/>
                  <a:pt x="1086336" y="304192"/>
                  <a:pt x="1086233" y="306754"/>
                </a:cubicBezTo>
                <a:lnTo>
                  <a:pt x="1086007" y="312619"/>
                </a:lnTo>
                <a:lnTo>
                  <a:pt x="1087470" y="320554"/>
                </a:lnTo>
                <a:cubicBezTo>
                  <a:pt x="1089648" y="325409"/>
                  <a:pt x="1093111" y="329799"/>
                  <a:pt x="1098285" y="334611"/>
                </a:cubicBezTo>
                <a:cubicBezTo>
                  <a:pt x="1100424" y="336130"/>
                  <a:pt x="1100424" y="336130"/>
                  <a:pt x="1102607" y="337679"/>
                </a:cubicBezTo>
                <a:cubicBezTo>
                  <a:pt x="1104334" y="338951"/>
                  <a:pt x="1104334" y="338951"/>
                  <a:pt x="1106095" y="340248"/>
                </a:cubicBezTo>
                <a:cubicBezTo>
                  <a:pt x="1106095" y="341178"/>
                  <a:pt x="1106095" y="342108"/>
                  <a:pt x="1106095" y="343066"/>
                </a:cubicBezTo>
                <a:cubicBezTo>
                  <a:pt x="1107127" y="343183"/>
                  <a:pt x="1108158" y="343299"/>
                  <a:pt x="1109220" y="343419"/>
                </a:cubicBezTo>
                <a:cubicBezTo>
                  <a:pt x="1115473" y="344829"/>
                  <a:pt x="1120724" y="347416"/>
                  <a:pt x="1126403" y="350112"/>
                </a:cubicBezTo>
                <a:cubicBezTo>
                  <a:pt x="1128207" y="350926"/>
                  <a:pt x="1130012" y="351740"/>
                  <a:pt x="1131871" y="352579"/>
                </a:cubicBezTo>
                <a:cubicBezTo>
                  <a:pt x="1133159" y="353160"/>
                  <a:pt x="1134448" y="353741"/>
                  <a:pt x="1135776" y="354340"/>
                </a:cubicBezTo>
                <a:cubicBezTo>
                  <a:pt x="1135776" y="355270"/>
                  <a:pt x="1135776" y="356200"/>
                  <a:pt x="1135776" y="357158"/>
                </a:cubicBezTo>
                <a:cubicBezTo>
                  <a:pt x="1148107" y="360029"/>
                  <a:pt x="1158679" y="359101"/>
                  <a:pt x="1170143" y="354340"/>
                </a:cubicBezTo>
                <a:cubicBezTo>
                  <a:pt x="1172366" y="353468"/>
                  <a:pt x="1172366" y="353468"/>
                  <a:pt x="1174634" y="352579"/>
                </a:cubicBezTo>
                <a:cubicBezTo>
                  <a:pt x="1180354" y="349689"/>
                  <a:pt x="1185568" y="346355"/>
                  <a:pt x="1190890" y="342907"/>
                </a:cubicBezTo>
                <a:cubicBezTo>
                  <a:pt x="1195169" y="340228"/>
                  <a:pt x="1199557" y="337821"/>
                  <a:pt x="1204021" y="335404"/>
                </a:cubicBezTo>
                <a:cubicBezTo>
                  <a:pt x="1211989" y="330886"/>
                  <a:pt x="1217509" y="325766"/>
                  <a:pt x="1223255" y="319110"/>
                </a:cubicBezTo>
                <a:cubicBezTo>
                  <a:pt x="1224447" y="317947"/>
                  <a:pt x="1225639" y="316784"/>
                  <a:pt x="1226868" y="315587"/>
                </a:cubicBezTo>
                <a:cubicBezTo>
                  <a:pt x="1229855" y="311593"/>
                  <a:pt x="1230852" y="308240"/>
                  <a:pt x="1231859" y="303559"/>
                </a:cubicBezTo>
                <a:cubicBezTo>
                  <a:pt x="1232628" y="300790"/>
                  <a:pt x="1232628" y="300790"/>
                  <a:pt x="1234178" y="298059"/>
                </a:cubicBezTo>
                <a:cubicBezTo>
                  <a:pt x="1235964" y="294761"/>
                  <a:pt x="1236623" y="291807"/>
                  <a:pt x="1237314" y="288195"/>
                </a:cubicBezTo>
                <a:cubicBezTo>
                  <a:pt x="1239360" y="278571"/>
                  <a:pt x="1242414" y="272733"/>
                  <a:pt x="1249811" y="265559"/>
                </a:cubicBezTo>
                <a:cubicBezTo>
                  <a:pt x="1250842" y="265559"/>
                  <a:pt x="1251873" y="265559"/>
                  <a:pt x="1252935" y="265559"/>
                </a:cubicBezTo>
                <a:cubicBezTo>
                  <a:pt x="1252935" y="264629"/>
                  <a:pt x="1252935" y="263699"/>
                  <a:pt x="1252935" y="262741"/>
                </a:cubicBezTo>
                <a:cubicBezTo>
                  <a:pt x="1265591" y="253427"/>
                  <a:pt x="1280762" y="251648"/>
                  <a:pt x="1296675" y="252876"/>
                </a:cubicBezTo>
                <a:cubicBezTo>
                  <a:pt x="1300535" y="253563"/>
                  <a:pt x="1303901" y="254478"/>
                  <a:pt x="1307609" y="255695"/>
                </a:cubicBezTo>
                <a:cubicBezTo>
                  <a:pt x="1307609" y="256625"/>
                  <a:pt x="1307609" y="257555"/>
                  <a:pt x="1307609" y="258513"/>
                </a:cubicBezTo>
                <a:cubicBezTo>
                  <a:pt x="1309021" y="258619"/>
                  <a:pt x="1310432" y="258723"/>
                  <a:pt x="1311887" y="258832"/>
                </a:cubicBezTo>
                <a:cubicBezTo>
                  <a:pt x="1319573" y="260476"/>
                  <a:pt x="1322149" y="264416"/>
                  <a:pt x="1326715" y="269969"/>
                </a:cubicBezTo>
                <a:cubicBezTo>
                  <a:pt x="1334402" y="281220"/>
                  <a:pt x="1336114" y="294839"/>
                  <a:pt x="1334165" y="307836"/>
                </a:cubicBezTo>
                <a:cubicBezTo>
                  <a:pt x="1332176" y="311898"/>
                  <a:pt x="1332176" y="311898"/>
                  <a:pt x="1329479" y="314882"/>
                </a:cubicBezTo>
                <a:cubicBezTo>
                  <a:pt x="1327417" y="314882"/>
                  <a:pt x="1325355" y="314882"/>
                  <a:pt x="1323231" y="314882"/>
                </a:cubicBezTo>
                <a:cubicBezTo>
                  <a:pt x="1323231" y="315812"/>
                  <a:pt x="1323231" y="316742"/>
                  <a:pt x="1323231" y="317700"/>
                </a:cubicBezTo>
                <a:lnTo>
                  <a:pt x="1322774" y="317838"/>
                </a:lnTo>
                <a:lnTo>
                  <a:pt x="1323295" y="317838"/>
                </a:lnTo>
                <a:cubicBezTo>
                  <a:pt x="1323295" y="316907"/>
                  <a:pt x="1323295" y="315977"/>
                  <a:pt x="1323295" y="315019"/>
                </a:cubicBezTo>
                <a:cubicBezTo>
                  <a:pt x="1324842" y="315019"/>
                  <a:pt x="1326388" y="315019"/>
                  <a:pt x="1327982" y="315019"/>
                </a:cubicBezTo>
                <a:cubicBezTo>
                  <a:pt x="1325845" y="321328"/>
                  <a:pt x="1322753" y="323742"/>
                  <a:pt x="1317047" y="327702"/>
                </a:cubicBezTo>
                <a:cubicBezTo>
                  <a:pt x="1316531" y="329097"/>
                  <a:pt x="1316016" y="330492"/>
                  <a:pt x="1315484" y="331930"/>
                </a:cubicBezTo>
                <a:cubicBezTo>
                  <a:pt x="1312599" y="332959"/>
                  <a:pt x="1312599" y="332959"/>
                  <a:pt x="1309139" y="333603"/>
                </a:cubicBezTo>
                <a:cubicBezTo>
                  <a:pt x="1307993" y="333827"/>
                  <a:pt x="1306847" y="334050"/>
                  <a:pt x="1305666" y="334280"/>
                </a:cubicBezTo>
                <a:cubicBezTo>
                  <a:pt x="1304783" y="334434"/>
                  <a:pt x="1303899" y="334589"/>
                  <a:pt x="1302988" y="334748"/>
                </a:cubicBezTo>
                <a:lnTo>
                  <a:pt x="1305905" y="332775"/>
                </a:lnTo>
                <a:lnTo>
                  <a:pt x="1304485" y="333202"/>
                </a:lnTo>
                <a:cubicBezTo>
                  <a:pt x="1302987" y="334640"/>
                  <a:pt x="1302987" y="334640"/>
                  <a:pt x="1301459" y="336108"/>
                </a:cubicBezTo>
                <a:cubicBezTo>
                  <a:pt x="1298237" y="338839"/>
                  <a:pt x="1298237" y="338839"/>
                  <a:pt x="1291989" y="338839"/>
                </a:cubicBezTo>
                <a:cubicBezTo>
                  <a:pt x="1291473" y="340234"/>
                  <a:pt x="1290957" y="341629"/>
                  <a:pt x="1290426" y="343066"/>
                </a:cubicBezTo>
                <a:cubicBezTo>
                  <a:pt x="1288879" y="343415"/>
                  <a:pt x="1287333" y="343764"/>
                  <a:pt x="1285740" y="344123"/>
                </a:cubicBezTo>
                <a:cubicBezTo>
                  <a:pt x="1266905" y="348491"/>
                  <a:pt x="1249005" y="369098"/>
                  <a:pt x="1237314" y="382525"/>
                </a:cubicBezTo>
                <a:cubicBezTo>
                  <a:pt x="1235678" y="385783"/>
                  <a:pt x="1234122" y="389075"/>
                  <a:pt x="1232628" y="392389"/>
                </a:cubicBezTo>
                <a:cubicBezTo>
                  <a:pt x="1231317" y="394515"/>
                  <a:pt x="1229981" y="396629"/>
                  <a:pt x="1228625" y="398731"/>
                </a:cubicBezTo>
                <a:cubicBezTo>
                  <a:pt x="1221457" y="410300"/>
                  <a:pt x="1219465" y="421836"/>
                  <a:pt x="1222822" y="434798"/>
                </a:cubicBezTo>
                <a:cubicBezTo>
                  <a:pt x="1229360" y="453710"/>
                  <a:pt x="1244088" y="472467"/>
                  <a:pt x="1260746" y="485398"/>
                </a:cubicBezTo>
                <a:cubicBezTo>
                  <a:pt x="1264961" y="487349"/>
                  <a:pt x="1264961" y="487349"/>
                  <a:pt x="1268556" y="488216"/>
                </a:cubicBezTo>
                <a:cubicBezTo>
                  <a:pt x="1268556" y="489146"/>
                  <a:pt x="1268556" y="490076"/>
                  <a:pt x="1268556" y="491034"/>
                </a:cubicBezTo>
                <a:cubicBezTo>
                  <a:pt x="1288790" y="497071"/>
                  <a:pt x="1319055" y="498555"/>
                  <a:pt x="1338852" y="489625"/>
                </a:cubicBezTo>
                <a:cubicBezTo>
                  <a:pt x="1341711" y="489213"/>
                  <a:pt x="1344575" y="488837"/>
                  <a:pt x="1347444" y="488480"/>
                </a:cubicBezTo>
                <a:cubicBezTo>
                  <a:pt x="1355372" y="487345"/>
                  <a:pt x="1362033" y="485390"/>
                  <a:pt x="1369362" y="482513"/>
                </a:cubicBezTo>
                <a:cubicBezTo>
                  <a:pt x="1375665" y="480318"/>
                  <a:pt x="1382189" y="479322"/>
                  <a:pt x="1388840" y="478351"/>
                </a:cubicBezTo>
                <a:cubicBezTo>
                  <a:pt x="1388840" y="477421"/>
                  <a:pt x="1388840" y="476492"/>
                  <a:pt x="1388840" y="475533"/>
                </a:cubicBezTo>
                <a:cubicBezTo>
                  <a:pt x="1391083" y="474821"/>
                  <a:pt x="1393329" y="474118"/>
                  <a:pt x="1395576" y="473419"/>
                </a:cubicBezTo>
                <a:cubicBezTo>
                  <a:pt x="1396827" y="473027"/>
                  <a:pt x="1398077" y="472635"/>
                  <a:pt x="1399365" y="472230"/>
                </a:cubicBezTo>
                <a:cubicBezTo>
                  <a:pt x="1402899" y="471305"/>
                  <a:pt x="1402899" y="471305"/>
                  <a:pt x="1407585" y="471305"/>
                </a:cubicBezTo>
                <a:cubicBezTo>
                  <a:pt x="1408101" y="469910"/>
                  <a:pt x="1408616" y="468515"/>
                  <a:pt x="1409147" y="467078"/>
                </a:cubicBezTo>
                <a:cubicBezTo>
                  <a:pt x="1412388" y="465580"/>
                  <a:pt x="1412388" y="465580"/>
                  <a:pt x="1416470" y="464259"/>
                </a:cubicBezTo>
                <a:cubicBezTo>
                  <a:pt x="1424029" y="461705"/>
                  <a:pt x="1431130" y="458955"/>
                  <a:pt x="1437949" y="455011"/>
                </a:cubicBezTo>
                <a:cubicBezTo>
                  <a:pt x="1442765" y="452574"/>
                  <a:pt x="1447553" y="451394"/>
                  <a:pt x="1452887" y="450167"/>
                </a:cubicBezTo>
                <a:cubicBezTo>
                  <a:pt x="1452887" y="449237"/>
                  <a:pt x="1452887" y="448307"/>
                  <a:pt x="1452887" y="447349"/>
                </a:cubicBezTo>
                <a:cubicBezTo>
                  <a:pt x="1453714" y="446944"/>
                  <a:pt x="1454541" y="446539"/>
                  <a:pt x="1455394" y="446122"/>
                </a:cubicBezTo>
                <a:cubicBezTo>
                  <a:pt x="1459151" y="444278"/>
                  <a:pt x="1462902" y="442422"/>
                  <a:pt x="1466653" y="440567"/>
                </a:cubicBezTo>
                <a:cubicBezTo>
                  <a:pt x="1467955" y="439930"/>
                  <a:pt x="1469256" y="439293"/>
                  <a:pt x="1470598" y="438637"/>
                </a:cubicBezTo>
                <a:cubicBezTo>
                  <a:pt x="1471852" y="438016"/>
                  <a:pt x="1473105" y="437393"/>
                  <a:pt x="1474397" y="436752"/>
                </a:cubicBezTo>
                <a:cubicBezTo>
                  <a:pt x="1475550" y="436184"/>
                  <a:pt x="1476703" y="435616"/>
                  <a:pt x="1477892" y="435030"/>
                </a:cubicBezTo>
                <a:cubicBezTo>
                  <a:pt x="1480966" y="433279"/>
                  <a:pt x="1483173" y="431373"/>
                  <a:pt x="1485691" y="429029"/>
                </a:cubicBezTo>
                <a:cubicBezTo>
                  <a:pt x="1486737" y="428575"/>
                  <a:pt x="1487781" y="428121"/>
                  <a:pt x="1488858" y="427653"/>
                </a:cubicBezTo>
                <a:cubicBezTo>
                  <a:pt x="1492438" y="425977"/>
                  <a:pt x="1493705" y="424453"/>
                  <a:pt x="1495943" y="421454"/>
                </a:cubicBezTo>
                <a:cubicBezTo>
                  <a:pt x="1507114" y="407544"/>
                  <a:pt x="1519758" y="393513"/>
                  <a:pt x="1538608" y="388338"/>
                </a:cubicBezTo>
                <a:cubicBezTo>
                  <a:pt x="1541025" y="388250"/>
                  <a:pt x="1541025" y="388250"/>
                  <a:pt x="1543490" y="388161"/>
                </a:cubicBezTo>
                <a:cubicBezTo>
                  <a:pt x="1545535" y="387984"/>
                  <a:pt x="1545535" y="387984"/>
                  <a:pt x="1547621" y="387804"/>
                </a:cubicBezTo>
                <a:cubicBezTo>
                  <a:pt x="1560659" y="387094"/>
                  <a:pt x="1568716" y="390117"/>
                  <a:pt x="1579418" y="396617"/>
                </a:cubicBezTo>
                <a:cubicBezTo>
                  <a:pt x="1581361" y="397687"/>
                  <a:pt x="1581361" y="397687"/>
                  <a:pt x="1583342" y="398780"/>
                </a:cubicBezTo>
                <a:cubicBezTo>
                  <a:pt x="1593703" y="405068"/>
                  <a:pt x="1598513" y="412459"/>
                  <a:pt x="1601288" y="423392"/>
                </a:cubicBezTo>
                <a:cubicBezTo>
                  <a:pt x="1603295" y="436596"/>
                  <a:pt x="1603517" y="449033"/>
                  <a:pt x="1594484" y="460159"/>
                </a:cubicBezTo>
                <a:cubicBezTo>
                  <a:pt x="1588468" y="466462"/>
                  <a:pt x="1582607" y="471150"/>
                  <a:pt x="1574732" y="475533"/>
                </a:cubicBezTo>
                <a:cubicBezTo>
                  <a:pt x="1573862" y="476043"/>
                  <a:pt x="1572993" y="476553"/>
                  <a:pt x="1572097" y="477078"/>
                </a:cubicBezTo>
                <a:cubicBezTo>
                  <a:pt x="1566828" y="478935"/>
                  <a:pt x="1561641" y="478744"/>
                  <a:pt x="1556066" y="478737"/>
                </a:cubicBezTo>
                <a:cubicBezTo>
                  <a:pt x="1553587" y="478765"/>
                  <a:pt x="1551109" y="478795"/>
                  <a:pt x="1548631" y="478825"/>
                </a:cubicBezTo>
                <a:cubicBezTo>
                  <a:pt x="1544751" y="478857"/>
                  <a:pt x="1540871" y="478880"/>
                  <a:pt x="1536991" y="478889"/>
                </a:cubicBezTo>
                <a:cubicBezTo>
                  <a:pt x="1516714" y="478693"/>
                  <a:pt x="1516714" y="478693"/>
                  <a:pt x="1498188" y="485398"/>
                </a:cubicBezTo>
                <a:cubicBezTo>
                  <a:pt x="1496062" y="486488"/>
                  <a:pt x="1496062" y="486488"/>
                  <a:pt x="1493892" y="487600"/>
                </a:cubicBezTo>
                <a:cubicBezTo>
                  <a:pt x="1492733" y="488268"/>
                  <a:pt x="1491573" y="488937"/>
                  <a:pt x="1490377" y="489625"/>
                </a:cubicBezTo>
                <a:cubicBezTo>
                  <a:pt x="1484304" y="493012"/>
                  <a:pt x="1478212" y="495675"/>
                  <a:pt x="1471650" y="498185"/>
                </a:cubicBezTo>
                <a:cubicBezTo>
                  <a:pt x="1467148" y="500054"/>
                  <a:pt x="1463242" y="502632"/>
                  <a:pt x="1459135" y="505127"/>
                </a:cubicBezTo>
                <a:cubicBezTo>
                  <a:pt x="1456968" y="506120"/>
                  <a:pt x="1454786" y="507086"/>
                  <a:pt x="1452594" y="508033"/>
                </a:cubicBezTo>
                <a:cubicBezTo>
                  <a:pt x="1444148" y="511772"/>
                  <a:pt x="1435969" y="515903"/>
                  <a:pt x="1427795" y="520100"/>
                </a:cubicBezTo>
                <a:cubicBezTo>
                  <a:pt x="1425784" y="521114"/>
                  <a:pt x="1425784" y="521114"/>
                  <a:pt x="1423733" y="522148"/>
                </a:cubicBezTo>
                <a:cubicBezTo>
                  <a:pt x="1422478" y="522798"/>
                  <a:pt x="1421223" y="523449"/>
                  <a:pt x="1419929" y="524118"/>
                </a:cubicBezTo>
                <a:cubicBezTo>
                  <a:pt x="1418794" y="524701"/>
                  <a:pt x="1417658" y="525283"/>
                  <a:pt x="1416487" y="525883"/>
                </a:cubicBezTo>
                <a:cubicBezTo>
                  <a:pt x="1413349" y="527646"/>
                  <a:pt x="1413349" y="527646"/>
                  <a:pt x="1412271" y="531902"/>
                </a:cubicBezTo>
                <a:cubicBezTo>
                  <a:pt x="1407205" y="535203"/>
                  <a:pt x="1402819" y="536744"/>
                  <a:pt x="1396650" y="537539"/>
                </a:cubicBezTo>
                <a:cubicBezTo>
                  <a:pt x="1396650" y="538469"/>
                  <a:pt x="1396650" y="539399"/>
                  <a:pt x="1396650" y="540357"/>
                </a:cubicBezTo>
                <a:cubicBezTo>
                  <a:pt x="1395609" y="540735"/>
                  <a:pt x="1394568" y="541113"/>
                  <a:pt x="1393495" y="541502"/>
                </a:cubicBezTo>
                <a:cubicBezTo>
                  <a:pt x="1381840" y="545973"/>
                  <a:pt x="1372279" y="551715"/>
                  <a:pt x="1362284" y="558678"/>
                </a:cubicBezTo>
                <a:cubicBezTo>
                  <a:pt x="1360170" y="560088"/>
                  <a:pt x="1358055" y="561497"/>
                  <a:pt x="1355937" y="562905"/>
                </a:cubicBezTo>
                <a:cubicBezTo>
                  <a:pt x="1348556" y="567937"/>
                  <a:pt x="1341292" y="573085"/>
                  <a:pt x="1334165" y="578406"/>
                </a:cubicBezTo>
                <a:cubicBezTo>
                  <a:pt x="1332697" y="579472"/>
                  <a:pt x="1332697" y="579472"/>
                  <a:pt x="1331200" y="580559"/>
                </a:cubicBezTo>
                <a:cubicBezTo>
                  <a:pt x="1325067" y="585430"/>
                  <a:pt x="1323406" y="589771"/>
                  <a:pt x="1322175" y="596793"/>
                </a:cubicBezTo>
                <a:cubicBezTo>
                  <a:pt x="1321669" y="599545"/>
                  <a:pt x="1321669" y="599545"/>
                  <a:pt x="1320106" y="602363"/>
                </a:cubicBezTo>
                <a:cubicBezTo>
                  <a:pt x="1318419" y="618189"/>
                  <a:pt x="1322416" y="632767"/>
                  <a:pt x="1328015" y="647640"/>
                </a:cubicBezTo>
                <a:cubicBezTo>
                  <a:pt x="1331267" y="656625"/>
                  <a:pt x="1333170" y="666179"/>
                  <a:pt x="1332604" y="675643"/>
                </a:cubicBezTo>
                <a:cubicBezTo>
                  <a:pt x="1333634" y="675643"/>
                  <a:pt x="1334665" y="675643"/>
                  <a:pt x="1335727" y="675643"/>
                </a:cubicBezTo>
                <a:cubicBezTo>
                  <a:pt x="1337571" y="680632"/>
                  <a:pt x="1337591" y="684795"/>
                  <a:pt x="1337741" y="690059"/>
                </a:cubicBezTo>
                <a:cubicBezTo>
                  <a:pt x="1337826" y="692114"/>
                  <a:pt x="1337913" y="694168"/>
                  <a:pt x="1338003" y="696222"/>
                </a:cubicBezTo>
                <a:cubicBezTo>
                  <a:pt x="1338142" y="699444"/>
                  <a:pt x="1338266" y="702664"/>
                  <a:pt x="1338340" y="705887"/>
                </a:cubicBezTo>
                <a:cubicBezTo>
                  <a:pt x="1338372" y="720474"/>
                  <a:pt x="1338372" y="720474"/>
                  <a:pt x="1345277" y="733245"/>
                </a:cubicBezTo>
                <a:cubicBezTo>
                  <a:pt x="1350822" y="737861"/>
                  <a:pt x="1355921" y="739823"/>
                  <a:pt x="1363162" y="741612"/>
                </a:cubicBezTo>
                <a:cubicBezTo>
                  <a:pt x="1370672" y="743533"/>
                  <a:pt x="1377197" y="745750"/>
                  <a:pt x="1384154" y="748922"/>
                </a:cubicBezTo>
                <a:cubicBezTo>
                  <a:pt x="1387833" y="749898"/>
                  <a:pt x="1387833" y="749898"/>
                  <a:pt x="1391476" y="750419"/>
                </a:cubicBezTo>
                <a:cubicBezTo>
                  <a:pt x="1393499" y="750747"/>
                  <a:pt x="1393499" y="750747"/>
                  <a:pt x="1395564" y="751080"/>
                </a:cubicBezTo>
                <a:cubicBezTo>
                  <a:pt x="1397648" y="751407"/>
                  <a:pt x="1397648" y="751407"/>
                  <a:pt x="1399775" y="751740"/>
                </a:cubicBezTo>
                <a:cubicBezTo>
                  <a:pt x="1401810" y="752111"/>
                  <a:pt x="1401810" y="752111"/>
                  <a:pt x="1403887" y="752489"/>
                </a:cubicBezTo>
                <a:cubicBezTo>
                  <a:pt x="1424247" y="756131"/>
                  <a:pt x="1444708" y="756350"/>
                  <a:pt x="1465383" y="755969"/>
                </a:cubicBezTo>
                <a:cubicBezTo>
                  <a:pt x="1467019" y="755945"/>
                  <a:pt x="1468654" y="755921"/>
                  <a:pt x="1470339" y="755897"/>
                </a:cubicBezTo>
                <a:cubicBezTo>
                  <a:pt x="1480128" y="755450"/>
                  <a:pt x="1487899" y="752933"/>
                  <a:pt x="1496809" y="749313"/>
                </a:cubicBezTo>
                <a:cubicBezTo>
                  <a:pt x="1502876" y="746888"/>
                  <a:pt x="1509049" y="745091"/>
                  <a:pt x="1515371" y="743285"/>
                </a:cubicBezTo>
                <a:cubicBezTo>
                  <a:pt x="1515371" y="742356"/>
                  <a:pt x="1515371" y="741425"/>
                  <a:pt x="1515371" y="740467"/>
                </a:cubicBezTo>
                <a:cubicBezTo>
                  <a:pt x="1522710" y="737103"/>
                  <a:pt x="1529583" y="737106"/>
                  <a:pt x="1537632" y="737120"/>
                </a:cubicBezTo>
                <a:cubicBezTo>
                  <a:pt x="1538960" y="737122"/>
                  <a:pt x="1540289" y="737124"/>
                  <a:pt x="1541657" y="737127"/>
                </a:cubicBezTo>
                <a:cubicBezTo>
                  <a:pt x="1555502" y="737372"/>
                  <a:pt x="1564314" y="740697"/>
                  <a:pt x="1574732" y="748922"/>
                </a:cubicBezTo>
                <a:cubicBezTo>
                  <a:pt x="1586507" y="762822"/>
                  <a:pt x="1590347" y="775219"/>
                  <a:pt x="1588791" y="792608"/>
                </a:cubicBezTo>
                <a:cubicBezTo>
                  <a:pt x="1587728" y="797050"/>
                  <a:pt x="1586468" y="801261"/>
                  <a:pt x="1584105" y="805291"/>
                </a:cubicBezTo>
                <a:cubicBezTo>
                  <a:pt x="1583074" y="805756"/>
                  <a:pt x="1582043" y="806221"/>
                  <a:pt x="1580981" y="806700"/>
                </a:cubicBezTo>
                <a:cubicBezTo>
                  <a:pt x="1580240" y="807892"/>
                  <a:pt x="1579499" y="809083"/>
                  <a:pt x="1578735" y="810311"/>
                </a:cubicBezTo>
                <a:cubicBezTo>
                  <a:pt x="1577930" y="811445"/>
                  <a:pt x="1577124" y="812579"/>
                  <a:pt x="1576295" y="813746"/>
                </a:cubicBezTo>
                <a:lnTo>
                  <a:pt x="1571652" y="813746"/>
                </a:lnTo>
                <a:lnTo>
                  <a:pt x="1571785" y="814106"/>
                </a:lnTo>
                <a:cubicBezTo>
                  <a:pt x="1572816" y="814571"/>
                  <a:pt x="1573846" y="815036"/>
                  <a:pt x="1574909" y="815515"/>
                </a:cubicBezTo>
                <a:cubicBezTo>
                  <a:pt x="1572126" y="818758"/>
                  <a:pt x="1569968" y="820871"/>
                  <a:pt x="1565463" y="821839"/>
                </a:cubicBezTo>
                <a:lnTo>
                  <a:pt x="1562085" y="822101"/>
                </a:lnTo>
                <a:lnTo>
                  <a:pt x="1551301" y="825020"/>
                </a:lnTo>
                <a:cubicBezTo>
                  <a:pt x="1551301" y="825950"/>
                  <a:pt x="1551301" y="826880"/>
                  <a:pt x="1551301" y="827838"/>
                </a:cubicBezTo>
                <a:cubicBezTo>
                  <a:pt x="1526697" y="828735"/>
                  <a:pt x="1507496" y="825036"/>
                  <a:pt x="1485380" y="815007"/>
                </a:cubicBezTo>
                <a:cubicBezTo>
                  <a:pt x="1468723" y="807743"/>
                  <a:pt x="1449749" y="809144"/>
                  <a:pt x="1431603" y="808726"/>
                </a:cubicBezTo>
                <a:cubicBezTo>
                  <a:pt x="1429115" y="808665"/>
                  <a:pt x="1426627" y="808604"/>
                  <a:pt x="1424140" y="808542"/>
                </a:cubicBezTo>
                <a:cubicBezTo>
                  <a:pt x="1418101" y="808392"/>
                  <a:pt x="1412062" y="808249"/>
                  <a:pt x="1406023" y="808109"/>
                </a:cubicBezTo>
                <a:cubicBezTo>
                  <a:pt x="1406023" y="809040"/>
                  <a:pt x="1406023" y="809970"/>
                  <a:pt x="1406023" y="810928"/>
                </a:cubicBezTo>
                <a:cubicBezTo>
                  <a:pt x="1404716" y="811118"/>
                  <a:pt x="1404716" y="811118"/>
                  <a:pt x="1403383" y="811311"/>
                </a:cubicBezTo>
                <a:cubicBezTo>
                  <a:pt x="1372054" y="815110"/>
                  <a:pt x="1372054" y="815110"/>
                  <a:pt x="1345442" y="828907"/>
                </a:cubicBezTo>
                <a:cubicBezTo>
                  <a:pt x="1338843" y="837605"/>
                  <a:pt x="1338313" y="846434"/>
                  <a:pt x="1337875" y="856639"/>
                </a:cubicBezTo>
                <a:cubicBezTo>
                  <a:pt x="1337815" y="857805"/>
                  <a:pt x="1337754" y="858970"/>
                  <a:pt x="1337692" y="860171"/>
                </a:cubicBezTo>
                <a:cubicBezTo>
                  <a:pt x="1337547" y="863016"/>
                  <a:pt x="1337417" y="865861"/>
                  <a:pt x="1337290" y="868706"/>
                </a:cubicBezTo>
                <a:cubicBezTo>
                  <a:pt x="1336258" y="868706"/>
                  <a:pt x="1335228" y="868706"/>
                  <a:pt x="1334165" y="868706"/>
                </a:cubicBezTo>
                <a:lnTo>
                  <a:pt x="1334165" y="870034"/>
                </a:lnTo>
                <a:lnTo>
                  <a:pt x="1334237" y="869093"/>
                </a:lnTo>
                <a:cubicBezTo>
                  <a:pt x="1334753" y="869093"/>
                  <a:pt x="1335268" y="869093"/>
                  <a:pt x="1335800" y="869093"/>
                </a:cubicBezTo>
                <a:cubicBezTo>
                  <a:pt x="1335884" y="871559"/>
                  <a:pt x="1335944" y="874025"/>
                  <a:pt x="1335995" y="876491"/>
                </a:cubicBezTo>
                <a:cubicBezTo>
                  <a:pt x="1336030" y="877865"/>
                  <a:pt x="1336067" y="879238"/>
                  <a:pt x="1336105" y="880653"/>
                </a:cubicBezTo>
                <a:cubicBezTo>
                  <a:pt x="1335800" y="884594"/>
                  <a:pt x="1335800" y="884594"/>
                  <a:pt x="1334294" y="887271"/>
                </a:cubicBezTo>
                <a:cubicBezTo>
                  <a:pt x="1332567" y="890428"/>
                  <a:pt x="1331982" y="892964"/>
                  <a:pt x="1331455" y="896440"/>
                </a:cubicBezTo>
                <a:cubicBezTo>
                  <a:pt x="1331267" y="897605"/>
                  <a:pt x="1331080" y="898769"/>
                  <a:pt x="1330887" y="899969"/>
                </a:cubicBezTo>
                <a:cubicBezTo>
                  <a:pt x="1330704" y="901174"/>
                  <a:pt x="1330521" y="902378"/>
                  <a:pt x="1330332" y="903618"/>
                </a:cubicBezTo>
                <a:cubicBezTo>
                  <a:pt x="1329968" y="906013"/>
                  <a:pt x="1329594" y="908405"/>
                  <a:pt x="1329209" y="910797"/>
                </a:cubicBezTo>
                <a:cubicBezTo>
                  <a:pt x="1329049" y="911853"/>
                  <a:pt x="1328889" y="912910"/>
                  <a:pt x="1328724" y="913998"/>
                </a:cubicBezTo>
                <a:cubicBezTo>
                  <a:pt x="1327933" y="917233"/>
                  <a:pt x="1326525" y="919703"/>
                  <a:pt x="1324865" y="922643"/>
                </a:cubicBezTo>
                <a:cubicBezTo>
                  <a:pt x="1323924" y="927743"/>
                  <a:pt x="1323282" y="932845"/>
                  <a:pt x="1322619" y="937979"/>
                </a:cubicBezTo>
                <a:lnTo>
                  <a:pt x="1318744" y="944961"/>
                </a:lnTo>
                <a:lnTo>
                  <a:pt x="1318544" y="946213"/>
                </a:lnTo>
                <a:cubicBezTo>
                  <a:pt x="1318360" y="949234"/>
                  <a:pt x="1318271" y="952260"/>
                  <a:pt x="1318251" y="955285"/>
                </a:cubicBezTo>
                <a:cubicBezTo>
                  <a:pt x="1318218" y="957637"/>
                  <a:pt x="1318218" y="957637"/>
                  <a:pt x="1318184" y="960036"/>
                </a:cubicBezTo>
                <a:cubicBezTo>
                  <a:pt x="1318624" y="965530"/>
                  <a:pt x="1319569" y="969724"/>
                  <a:pt x="1324024" y="973660"/>
                </a:cubicBezTo>
                <a:cubicBezTo>
                  <a:pt x="1327197" y="976583"/>
                  <a:pt x="1327950" y="979494"/>
                  <a:pt x="1329284" y="983382"/>
                </a:cubicBezTo>
                <a:cubicBezTo>
                  <a:pt x="1331875" y="990106"/>
                  <a:pt x="1334445" y="993582"/>
                  <a:pt x="1340414" y="998354"/>
                </a:cubicBezTo>
                <a:cubicBezTo>
                  <a:pt x="1342397" y="1000564"/>
                  <a:pt x="1344347" y="1002798"/>
                  <a:pt x="1346272" y="1005048"/>
                </a:cubicBezTo>
                <a:cubicBezTo>
                  <a:pt x="1360055" y="1020713"/>
                  <a:pt x="1376247" y="1031879"/>
                  <a:pt x="1394716" y="1042740"/>
                </a:cubicBezTo>
                <a:cubicBezTo>
                  <a:pt x="1397172" y="1044228"/>
                  <a:pt x="1399581" y="1045779"/>
                  <a:pt x="1401953" y="1047374"/>
                </a:cubicBezTo>
                <a:cubicBezTo>
                  <a:pt x="1410065" y="1052802"/>
                  <a:pt x="1417529" y="1056366"/>
                  <a:pt x="1427197" y="1059061"/>
                </a:cubicBezTo>
                <a:cubicBezTo>
                  <a:pt x="1431243" y="1060437"/>
                  <a:pt x="1434061" y="1061979"/>
                  <a:pt x="1437265" y="1064588"/>
                </a:cubicBezTo>
                <a:cubicBezTo>
                  <a:pt x="1437265" y="1065518"/>
                  <a:pt x="1437265" y="1066448"/>
                  <a:pt x="1437265" y="1067406"/>
                </a:cubicBezTo>
                <a:cubicBezTo>
                  <a:pt x="1439053" y="1067624"/>
                  <a:pt x="1439053" y="1067624"/>
                  <a:pt x="1440878" y="1067847"/>
                </a:cubicBezTo>
                <a:cubicBezTo>
                  <a:pt x="1445076" y="1068815"/>
                  <a:pt x="1445076" y="1068815"/>
                  <a:pt x="1447175" y="1070753"/>
                </a:cubicBezTo>
                <a:cubicBezTo>
                  <a:pt x="1450417" y="1073622"/>
                  <a:pt x="1453781" y="1075060"/>
                  <a:pt x="1457866" y="1076830"/>
                </a:cubicBezTo>
                <a:cubicBezTo>
                  <a:pt x="1459274" y="1077446"/>
                  <a:pt x="1460681" y="1078062"/>
                  <a:pt x="1462132" y="1078696"/>
                </a:cubicBezTo>
                <a:cubicBezTo>
                  <a:pt x="1463204" y="1079156"/>
                  <a:pt x="1464278" y="1079616"/>
                  <a:pt x="1465383" y="1080089"/>
                </a:cubicBezTo>
                <a:cubicBezTo>
                  <a:pt x="1465383" y="1081019"/>
                  <a:pt x="1465383" y="1081949"/>
                  <a:pt x="1465383" y="1082908"/>
                </a:cubicBezTo>
                <a:cubicBezTo>
                  <a:pt x="1466497" y="1083260"/>
                  <a:pt x="1467611" y="1083612"/>
                  <a:pt x="1468758" y="1083975"/>
                </a:cubicBezTo>
                <a:cubicBezTo>
                  <a:pt x="1473648" y="1085905"/>
                  <a:pt x="1477426" y="1088296"/>
                  <a:pt x="1481688" y="1091187"/>
                </a:cubicBezTo>
                <a:cubicBezTo>
                  <a:pt x="1483204" y="1092193"/>
                  <a:pt x="1484721" y="1093200"/>
                  <a:pt x="1486283" y="1094236"/>
                </a:cubicBezTo>
                <a:cubicBezTo>
                  <a:pt x="1489170" y="1096185"/>
                  <a:pt x="1492029" y="1098166"/>
                  <a:pt x="1494869" y="1100171"/>
                </a:cubicBezTo>
                <a:cubicBezTo>
                  <a:pt x="1510181" y="1107906"/>
                  <a:pt x="1527080" y="1109898"/>
                  <a:pt x="1544335" y="1109518"/>
                </a:cubicBezTo>
                <a:cubicBezTo>
                  <a:pt x="1579932" y="1108798"/>
                  <a:pt x="1579932" y="1108798"/>
                  <a:pt x="1593477" y="1119900"/>
                </a:cubicBezTo>
                <a:cubicBezTo>
                  <a:pt x="1600636" y="1127255"/>
                  <a:pt x="1604889" y="1135120"/>
                  <a:pt x="1605975" y="1144913"/>
                </a:cubicBezTo>
                <a:cubicBezTo>
                  <a:pt x="1607006" y="1144913"/>
                  <a:pt x="1608036" y="1144913"/>
                  <a:pt x="1609099" y="1144913"/>
                </a:cubicBezTo>
                <a:cubicBezTo>
                  <a:pt x="1609227" y="1148907"/>
                  <a:pt x="1609319" y="1152897"/>
                  <a:pt x="1609392" y="1156892"/>
                </a:cubicBezTo>
                <a:cubicBezTo>
                  <a:pt x="1609451" y="1158565"/>
                  <a:pt x="1609451" y="1158565"/>
                  <a:pt x="1609511" y="1160272"/>
                </a:cubicBezTo>
                <a:cubicBezTo>
                  <a:pt x="1609621" y="1168378"/>
                  <a:pt x="1607970" y="1174108"/>
                  <a:pt x="1604412" y="1181553"/>
                </a:cubicBezTo>
                <a:cubicBezTo>
                  <a:pt x="1603354" y="1184367"/>
                  <a:pt x="1602306" y="1187183"/>
                  <a:pt x="1601288" y="1190009"/>
                </a:cubicBezTo>
                <a:cubicBezTo>
                  <a:pt x="1600257" y="1190009"/>
                  <a:pt x="1599226" y="1190009"/>
                  <a:pt x="1598164" y="1190009"/>
                </a:cubicBezTo>
                <a:cubicBezTo>
                  <a:pt x="1597842" y="1190910"/>
                  <a:pt x="1597520" y="1191810"/>
                  <a:pt x="1597187" y="1192739"/>
                </a:cubicBezTo>
                <a:cubicBezTo>
                  <a:pt x="1596479" y="1193698"/>
                  <a:pt x="1595770" y="1194657"/>
                  <a:pt x="1595040" y="1195645"/>
                </a:cubicBezTo>
                <a:cubicBezTo>
                  <a:pt x="1591916" y="1196115"/>
                  <a:pt x="1588791" y="1196585"/>
                  <a:pt x="1585667" y="1197055"/>
                </a:cubicBezTo>
                <a:cubicBezTo>
                  <a:pt x="1583871" y="1199826"/>
                  <a:pt x="1583871" y="1199826"/>
                  <a:pt x="1582543" y="1202691"/>
                </a:cubicBezTo>
                <a:cubicBezTo>
                  <a:pt x="1575997" y="1204710"/>
                  <a:pt x="1569266" y="1204360"/>
                  <a:pt x="1562431" y="1204365"/>
                </a:cubicBezTo>
                <a:cubicBezTo>
                  <a:pt x="1561196" y="1204382"/>
                  <a:pt x="1559962" y="1204399"/>
                  <a:pt x="1558690" y="1204417"/>
                </a:cubicBezTo>
                <a:cubicBezTo>
                  <a:pt x="1543339" y="1204452"/>
                  <a:pt x="1531981" y="1199267"/>
                  <a:pt x="1521102" y="1189585"/>
                </a:cubicBezTo>
                <a:cubicBezTo>
                  <a:pt x="1515403" y="1183953"/>
                  <a:pt x="1510116" y="1178123"/>
                  <a:pt x="1505022" y="1172041"/>
                </a:cubicBezTo>
                <a:cubicBezTo>
                  <a:pt x="1493200" y="1158177"/>
                  <a:pt x="1475492" y="1147115"/>
                  <a:pt x="1457573" y="1140686"/>
                </a:cubicBezTo>
                <a:cubicBezTo>
                  <a:pt x="1457573" y="1139755"/>
                  <a:pt x="1457573" y="1138826"/>
                  <a:pt x="1457573" y="1137867"/>
                </a:cubicBezTo>
                <a:cubicBezTo>
                  <a:pt x="1456059" y="1137693"/>
                  <a:pt x="1454544" y="1137518"/>
                  <a:pt x="1452985" y="1137339"/>
                </a:cubicBezTo>
                <a:cubicBezTo>
                  <a:pt x="1451406" y="1137048"/>
                  <a:pt x="1449827" y="1136758"/>
                  <a:pt x="1448200" y="1136458"/>
                </a:cubicBezTo>
                <a:cubicBezTo>
                  <a:pt x="1447685" y="1135528"/>
                  <a:pt x="1447169" y="1134598"/>
                  <a:pt x="1446638" y="1133640"/>
                </a:cubicBezTo>
                <a:cubicBezTo>
                  <a:pt x="1444091" y="1132586"/>
                  <a:pt x="1441535" y="1131550"/>
                  <a:pt x="1438937" y="1130601"/>
                </a:cubicBezTo>
                <a:cubicBezTo>
                  <a:pt x="1435668" y="1129399"/>
                  <a:pt x="1432469" y="1128095"/>
                  <a:pt x="1429260" y="1126770"/>
                </a:cubicBezTo>
                <a:cubicBezTo>
                  <a:pt x="1423389" y="1124389"/>
                  <a:pt x="1417431" y="1122349"/>
                  <a:pt x="1411393" y="1120340"/>
                </a:cubicBezTo>
                <a:cubicBezTo>
                  <a:pt x="1404143" y="1117867"/>
                  <a:pt x="1397842" y="1115090"/>
                  <a:pt x="1391427" y="1111191"/>
                </a:cubicBezTo>
                <a:cubicBezTo>
                  <a:pt x="1388139" y="1109274"/>
                  <a:pt x="1384723" y="1108010"/>
                  <a:pt x="1381029" y="1106865"/>
                </a:cubicBezTo>
                <a:cubicBezTo>
                  <a:pt x="1381029" y="1105934"/>
                  <a:pt x="1381029" y="1105004"/>
                  <a:pt x="1381029" y="1104046"/>
                </a:cubicBezTo>
                <a:cubicBezTo>
                  <a:pt x="1379773" y="1103901"/>
                  <a:pt x="1378516" y="1103755"/>
                  <a:pt x="1377221" y="1103605"/>
                </a:cubicBezTo>
                <a:cubicBezTo>
                  <a:pt x="1370425" y="1102422"/>
                  <a:pt x="1364120" y="1100465"/>
                  <a:pt x="1357597" y="1098409"/>
                </a:cubicBezTo>
                <a:cubicBezTo>
                  <a:pt x="1355761" y="1097857"/>
                  <a:pt x="1353924" y="1097304"/>
                  <a:pt x="1352032" y="1096736"/>
                </a:cubicBezTo>
                <a:cubicBezTo>
                  <a:pt x="1350776" y="1096358"/>
                  <a:pt x="1349519" y="1095980"/>
                  <a:pt x="1348225" y="1095590"/>
                </a:cubicBezTo>
                <a:cubicBezTo>
                  <a:pt x="1348225" y="1094661"/>
                  <a:pt x="1348225" y="1093730"/>
                  <a:pt x="1348225" y="1092772"/>
                </a:cubicBezTo>
                <a:cubicBezTo>
                  <a:pt x="1344616" y="1092307"/>
                  <a:pt x="1341007" y="1091842"/>
                  <a:pt x="1337290" y="1091363"/>
                </a:cubicBezTo>
                <a:cubicBezTo>
                  <a:pt x="1337290" y="1090433"/>
                  <a:pt x="1337290" y="1089503"/>
                  <a:pt x="1337290" y="1088544"/>
                </a:cubicBezTo>
                <a:cubicBezTo>
                  <a:pt x="1334438" y="1088327"/>
                  <a:pt x="1334438" y="1088327"/>
                  <a:pt x="1331529" y="1088104"/>
                </a:cubicBezTo>
                <a:lnTo>
                  <a:pt x="1323297" y="1086611"/>
                </a:lnTo>
                <a:lnTo>
                  <a:pt x="1323297" y="1087618"/>
                </a:lnTo>
                <a:cubicBezTo>
                  <a:pt x="1322139" y="1087517"/>
                  <a:pt x="1320982" y="1087415"/>
                  <a:pt x="1319789" y="1087310"/>
                </a:cubicBezTo>
                <a:cubicBezTo>
                  <a:pt x="1300429" y="1085771"/>
                  <a:pt x="1281330" y="1084680"/>
                  <a:pt x="1262375" y="1089028"/>
                </a:cubicBezTo>
                <a:lnTo>
                  <a:pt x="1258728" y="1088205"/>
                </a:lnTo>
                <a:lnTo>
                  <a:pt x="1246964" y="1091489"/>
                </a:lnTo>
                <a:cubicBezTo>
                  <a:pt x="1237239" y="1097222"/>
                  <a:pt x="1228703" y="1103434"/>
                  <a:pt x="1223224" y="1112865"/>
                </a:cubicBezTo>
                <a:cubicBezTo>
                  <a:pt x="1220867" y="1116643"/>
                  <a:pt x="1217262" y="1119317"/>
                  <a:pt x="1213883" y="1122366"/>
                </a:cubicBezTo>
                <a:cubicBezTo>
                  <a:pt x="1213428" y="1123469"/>
                  <a:pt x="1212973" y="1124572"/>
                  <a:pt x="1212505" y="1125708"/>
                </a:cubicBezTo>
                <a:cubicBezTo>
                  <a:pt x="1210449" y="1130067"/>
                  <a:pt x="1207984" y="1132315"/>
                  <a:pt x="1204180" y="1135561"/>
                </a:cubicBezTo>
                <a:cubicBezTo>
                  <a:pt x="1202879" y="1136695"/>
                  <a:pt x="1201578" y="1137829"/>
                  <a:pt x="1200238" y="1138999"/>
                </a:cubicBezTo>
                <a:cubicBezTo>
                  <a:pt x="1197504" y="1141343"/>
                  <a:pt x="1194765" y="1143684"/>
                  <a:pt x="1192025" y="1146022"/>
                </a:cubicBezTo>
                <a:cubicBezTo>
                  <a:pt x="1181899" y="1154869"/>
                  <a:pt x="1174983" y="1161763"/>
                  <a:pt x="1173945" y="1174749"/>
                </a:cubicBezTo>
                <a:cubicBezTo>
                  <a:pt x="1173902" y="1177369"/>
                  <a:pt x="1173905" y="1179990"/>
                  <a:pt x="1173950" y="1182610"/>
                </a:cubicBezTo>
                <a:cubicBezTo>
                  <a:pt x="1173963" y="1183981"/>
                  <a:pt x="1173975" y="1185352"/>
                  <a:pt x="1173989" y="1186765"/>
                </a:cubicBezTo>
                <a:cubicBezTo>
                  <a:pt x="1174321" y="1197573"/>
                  <a:pt x="1176809" y="1205883"/>
                  <a:pt x="1182640" y="1215374"/>
                </a:cubicBezTo>
                <a:cubicBezTo>
                  <a:pt x="1183703" y="1217509"/>
                  <a:pt x="1184746" y="1219652"/>
                  <a:pt x="1185764" y="1221804"/>
                </a:cubicBezTo>
                <a:cubicBezTo>
                  <a:pt x="1186271" y="1222812"/>
                  <a:pt x="1186779" y="1223821"/>
                  <a:pt x="1187301" y="1224859"/>
                </a:cubicBezTo>
                <a:cubicBezTo>
                  <a:pt x="1188431" y="1227137"/>
                  <a:pt x="1189517" y="1229433"/>
                  <a:pt x="1190573" y="1231740"/>
                </a:cubicBezTo>
                <a:cubicBezTo>
                  <a:pt x="1194650" y="1240409"/>
                  <a:pt x="1199581" y="1247688"/>
                  <a:pt x="1205925" y="1255163"/>
                </a:cubicBezTo>
                <a:cubicBezTo>
                  <a:pt x="1208103" y="1257757"/>
                  <a:pt x="1210188" y="1260417"/>
                  <a:pt x="1212174" y="1263134"/>
                </a:cubicBezTo>
                <a:cubicBezTo>
                  <a:pt x="1218757" y="1272043"/>
                  <a:pt x="1225157" y="1277324"/>
                  <a:pt x="1235556" y="1282538"/>
                </a:cubicBezTo>
                <a:cubicBezTo>
                  <a:pt x="1236652" y="1283161"/>
                  <a:pt x="1237747" y="1283784"/>
                  <a:pt x="1238876" y="1284426"/>
                </a:cubicBezTo>
                <a:cubicBezTo>
                  <a:pt x="1238876" y="1285356"/>
                  <a:pt x="1238876" y="1286287"/>
                  <a:pt x="1238876" y="1287245"/>
                </a:cubicBezTo>
                <a:cubicBezTo>
                  <a:pt x="1239988" y="1287383"/>
                  <a:pt x="1241099" y="1287521"/>
                  <a:pt x="1242245" y="1287663"/>
                </a:cubicBezTo>
                <a:cubicBezTo>
                  <a:pt x="1253043" y="1290072"/>
                  <a:pt x="1264916" y="1297690"/>
                  <a:pt x="1271681" y="1305565"/>
                </a:cubicBezTo>
                <a:lnTo>
                  <a:pt x="1271742" y="1306172"/>
                </a:lnTo>
                <a:lnTo>
                  <a:pt x="1278525" y="1315767"/>
                </a:lnTo>
                <a:cubicBezTo>
                  <a:pt x="1279797" y="1319398"/>
                  <a:pt x="1280365" y="1323346"/>
                  <a:pt x="1281097" y="1327286"/>
                </a:cubicBezTo>
                <a:cubicBezTo>
                  <a:pt x="1281916" y="1337121"/>
                  <a:pt x="1281807" y="1346176"/>
                  <a:pt x="1277973" y="1355470"/>
                </a:cubicBezTo>
                <a:lnTo>
                  <a:pt x="1277460" y="1347025"/>
                </a:lnTo>
                <a:lnTo>
                  <a:pt x="1273531" y="1357991"/>
                </a:lnTo>
                <a:cubicBezTo>
                  <a:pt x="1270940" y="1361892"/>
                  <a:pt x="1267521" y="1365435"/>
                  <a:pt x="1263870" y="1368980"/>
                </a:cubicBezTo>
                <a:cubicBezTo>
                  <a:pt x="1258351" y="1372929"/>
                  <a:pt x="1253850" y="1376026"/>
                  <a:pt x="1246686" y="1376026"/>
                </a:cubicBezTo>
                <a:cubicBezTo>
                  <a:pt x="1246686" y="1376956"/>
                  <a:pt x="1246686" y="1377886"/>
                  <a:pt x="1246686" y="1378844"/>
                </a:cubicBezTo>
                <a:cubicBezTo>
                  <a:pt x="1241676" y="1379009"/>
                  <a:pt x="1236665" y="1379109"/>
                  <a:pt x="1231651" y="1379196"/>
                </a:cubicBezTo>
                <a:cubicBezTo>
                  <a:pt x="1230240" y="1379244"/>
                  <a:pt x="1228828" y="1379291"/>
                  <a:pt x="1227373" y="1379340"/>
                </a:cubicBezTo>
                <a:cubicBezTo>
                  <a:pt x="1218287" y="1379460"/>
                  <a:pt x="1213363" y="1378568"/>
                  <a:pt x="1206071" y="1373207"/>
                </a:cubicBezTo>
                <a:cubicBezTo>
                  <a:pt x="1204751" y="1372742"/>
                  <a:pt x="1203430" y="1372277"/>
                  <a:pt x="1202069" y="1371798"/>
                </a:cubicBezTo>
                <a:cubicBezTo>
                  <a:pt x="1193777" y="1368730"/>
                  <a:pt x="1188124" y="1363294"/>
                  <a:pt x="1184104" y="1356176"/>
                </a:cubicBezTo>
                <a:cubicBezTo>
                  <a:pt x="1180965" y="1349259"/>
                  <a:pt x="1178852" y="1342590"/>
                  <a:pt x="1177270" y="1335247"/>
                </a:cubicBezTo>
                <a:cubicBezTo>
                  <a:pt x="1175525" y="1327352"/>
                  <a:pt x="1172911" y="1320677"/>
                  <a:pt x="1169002" y="1313464"/>
                </a:cubicBezTo>
                <a:cubicBezTo>
                  <a:pt x="1166989" y="1309737"/>
                  <a:pt x="1165215" y="1305976"/>
                  <a:pt x="1163504" y="1302130"/>
                </a:cubicBezTo>
                <a:cubicBezTo>
                  <a:pt x="1163013" y="1301027"/>
                  <a:pt x="1162521" y="1299924"/>
                  <a:pt x="1162015" y="1298788"/>
                </a:cubicBezTo>
                <a:cubicBezTo>
                  <a:pt x="1160770" y="1295700"/>
                  <a:pt x="1160770" y="1295700"/>
                  <a:pt x="1160111" y="1292656"/>
                </a:cubicBezTo>
                <a:cubicBezTo>
                  <a:pt x="1159345" y="1289507"/>
                  <a:pt x="1159345" y="1289507"/>
                  <a:pt x="1154522" y="1287245"/>
                </a:cubicBezTo>
                <a:cubicBezTo>
                  <a:pt x="1153465" y="1284902"/>
                  <a:pt x="1152426" y="1282552"/>
                  <a:pt x="1151398" y="1280199"/>
                </a:cubicBezTo>
                <a:cubicBezTo>
                  <a:pt x="1149056" y="1276983"/>
                  <a:pt x="1146686" y="1273874"/>
                  <a:pt x="1144173" y="1270774"/>
                </a:cubicBezTo>
                <a:cubicBezTo>
                  <a:pt x="1143477" y="1269912"/>
                  <a:pt x="1142782" y="1269049"/>
                  <a:pt x="1142065" y="1268160"/>
                </a:cubicBezTo>
                <a:cubicBezTo>
                  <a:pt x="1139981" y="1265589"/>
                  <a:pt x="1137880" y="1263029"/>
                  <a:pt x="1135776" y="1260470"/>
                </a:cubicBezTo>
                <a:cubicBezTo>
                  <a:pt x="1134647" y="1259076"/>
                  <a:pt x="1133517" y="1257683"/>
                  <a:pt x="1132353" y="1256247"/>
                </a:cubicBezTo>
                <a:cubicBezTo>
                  <a:pt x="1126291" y="1249045"/>
                  <a:pt x="1121408" y="1244606"/>
                  <a:pt x="1112344" y="1240741"/>
                </a:cubicBezTo>
                <a:cubicBezTo>
                  <a:pt x="1110285" y="1239698"/>
                  <a:pt x="1108234" y="1238642"/>
                  <a:pt x="1106193" y="1237570"/>
                </a:cubicBezTo>
                <a:cubicBezTo>
                  <a:pt x="1104615" y="1236756"/>
                  <a:pt x="1103036" y="1235942"/>
                  <a:pt x="1101409" y="1235104"/>
                </a:cubicBezTo>
                <a:cubicBezTo>
                  <a:pt x="1101409" y="1233708"/>
                  <a:pt x="1101409" y="1232313"/>
                  <a:pt x="1101409" y="1230876"/>
                </a:cubicBezTo>
                <a:cubicBezTo>
                  <a:pt x="1089553" y="1230876"/>
                  <a:pt x="1077697" y="1230876"/>
                  <a:pt x="1065480" y="1230876"/>
                </a:cubicBezTo>
                <a:cubicBezTo>
                  <a:pt x="1064965" y="1232271"/>
                  <a:pt x="1064450" y="1233666"/>
                  <a:pt x="1063919" y="1235104"/>
                </a:cubicBezTo>
                <a:cubicBezTo>
                  <a:pt x="1062372" y="1235104"/>
                  <a:pt x="1060826" y="1235104"/>
                  <a:pt x="1059232" y="1235104"/>
                </a:cubicBezTo>
                <a:cubicBezTo>
                  <a:pt x="1059232" y="1236033"/>
                  <a:pt x="1059232" y="1236964"/>
                  <a:pt x="1059232" y="1237922"/>
                </a:cubicBezTo>
                <a:cubicBezTo>
                  <a:pt x="1052964" y="1240850"/>
                  <a:pt x="1046842" y="1243613"/>
                  <a:pt x="1040194" y="1245761"/>
                </a:cubicBezTo>
                <a:cubicBezTo>
                  <a:pt x="1036552" y="1246941"/>
                  <a:pt x="1033682" y="1248088"/>
                  <a:pt x="1030333" y="1249901"/>
                </a:cubicBezTo>
                <a:cubicBezTo>
                  <a:pt x="1025129" y="1252717"/>
                  <a:pt x="1019615" y="1254371"/>
                  <a:pt x="1013931" y="1256242"/>
                </a:cubicBezTo>
                <a:cubicBezTo>
                  <a:pt x="1009870" y="1257688"/>
                  <a:pt x="1008221" y="1258277"/>
                  <a:pt x="1005925" y="1261615"/>
                </a:cubicBezTo>
                <a:cubicBezTo>
                  <a:pt x="1005474" y="1262632"/>
                  <a:pt x="1005023" y="1263649"/>
                  <a:pt x="1004558" y="1264697"/>
                </a:cubicBezTo>
                <a:cubicBezTo>
                  <a:pt x="1004030" y="1265774"/>
                  <a:pt x="1003503" y="1266852"/>
                  <a:pt x="1002959" y="1267961"/>
                </a:cubicBezTo>
                <a:cubicBezTo>
                  <a:pt x="1001408" y="1271808"/>
                  <a:pt x="1000922" y="1274896"/>
                  <a:pt x="1000653" y="1278965"/>
                </a:cubicBezTo>
                <a:cubicBezTo>
                  <a:pt x="1000303" y="1284158"/>
                  <a:pt x="999467" y="1289055"/>
                  <a:pt x="998297" y="1294137"/>
                </a:cubicBezTo>
                <a:cubicBezTo>
                  <a:pt x="996204" y="1304306"/>
                  <a:pt x="996129" y="1314460"/>
                  <a:pt x="996162" y="1324765"/>
                </a:cubicBezTo>
                <a:cubicBezTo>
                  <a:pt x="996163" y="1325782"/>
                  <a:pt x="996163" y="1326799"/>
                  <a:pt x="996164" y="1327846"/>
                </a:cubicBezTo>
                <a:cubicBezTo>
                  <a:pt x="996263" y="1353742"/>
                  <a:pt x="1001081" y="1378188"/>
                  <a:pt x="1007780" y="1403329"/>
                </a:cubicBezTo>
                <a:cubicBezTo>
                  <a:pt x="1008163" y="1404772"/>
                  <a:pt x="1008546" y="1406215"/>
                  <a:pt x="1008940" y="1407701"/>
                </a:cubicBezTo>
                <a:cubicBezTo>
                  <a:pt x="1009316" y="1409030"/>
                  <a:pt x="1009693" y="1410360"/>
                  <a:pt x="1010080" y="1411730"/>
                </a:cubicBezTo>
                <a:cubicBezTo>
                  <a:pt x="1010409" y="1412900"/>
                  <a:pt x="1010737" y="1414071"/>
                  <a:pt x="1011075" y="1415277"/>
                </a:cubicBezTo>
                <a:cubicBezTo>
                  <a:pt x="1012501" y="1418612"/>
                  <a:pt x="1014136" y="1420168"/>
                  <a:pt x="1017055" y="1422530"/>
                </a:cubicBezTo>
                <a:cubicBezTo>
                  <a:pt x="1018770" y="1425162"/>
                  <a:pt x="1018770" y="1425162"/>
                  <a:pt x="1020277" y="1427991"/>
                </a:cubicBezTo>
                <a:cubicBezTo>
                  <a:pt x="1020778" y="1428917"/>
                  <a:pt x="1021280" y="1429844"/>
                  <a:pt x="1021796" y="1430798"/>
                </a:cubicBezTo>
                <a:cubicBezTo>
                  <a:pt x="1023303" y="1433804"/>
                  <a:pt x="1023303" y="1433804"/>
                  <a:pt x="1024579" y="1437239"/>
                </a:cubicBezTo>
                <a:cubicBezTo>
                  <a:pt x="1026915" y="1441803"/>
                  <a:pt x="1030098" y="1444534"/>
                  <a:pt x="1034043" y="1448072"/>
                </a:cubicBezTo>
                <a:lnTo>
                  <a:pt x="1043782" y="1464320"/>
                </a:lnTo>
                <a:lnTo>
                  <a:pt x="1050458" y="1472189"/>
                </a:lnTo>
                <a:cubicBezTo>
                  <a:pt x="1051737" y="1475181"/>
                  <a:pt x="1052277" y="1478513"/>
                  <a:pt x="1052926" y="1482370"/>
                </a:cubicBezTo>
                <a:cubicBezTo>
                  <a:pt x="1053325" y="1487224"/>
                  <a:pt x="1053364" y="1492038"/>
                  <a:pt x="1053316" y="1496903"/>
                </a:cubicBezTo>
                <a:cubicBezTo>
                  <a:pt x="1053328" y="1498142"/>
                  <a:pt x="1053340" y="1499382"/>
                  <a:pt x="1053352" y="1500660"/>
                </a:cubicBezTo>
                <a:cubicBezTo>
                  <a:pt x="1053348" y="1501856"/>
                  <a:pt x="1053344" y="1503052"/>
                  <a:pt x="1053341" y="1504285"/>
                </a:cubicBezTo>
                <a:cubicBezTo>
                  <a:pt x="1053336" y="1505355"/>
                  <a:pt x="1053333" y="1506426"/>
                  <a:pt x="1053329" y="1507529"/>
                </a:cubicBezTo>
                <a:cubicBezTo>
                  <a:pt x="1052876" y="1510927"/>
                  <a:pt x="1051672" y="1513237"/>
                  <a:pt x="1049801" y="1516192"/>
                </a:cubicBezTo>
                <a:lnTo>
                  <a:pt x="1047312" y="1516192"/>
                </a:lnTo>
                <a:lnTo>
                  <a:pt x="1043611" y="1522585"/>
                </a:lnTo>
                <a:cubicBezTo>
                  <a:pt x="1035301" y="1529631"/>
                  <a:pt x="1035301" y="1529631"/>
                  <a:pt x="1029552" y="1529631"/>
                </a:cubicBezTo>
                <a:cubicBezTo>
                  <a:pt x="1029294" y="1530503"/>
                  <a:pt x="1029036" y="1531375"/>
                  <a:pt x="1028771" y="1532273"/>
                </a:cubicBezTo>
                <a:cubicBezTo>
                  <a:pt x="1025795" y="1536076"/>
                  <a:pt x="1022970" y="1536733"/>
                  <a:pt x="1018013" y="1537640"/>
                </a:cubicBezTo>
                <a:cubicBezTo>
                  <a:pt x="1005216" y="1539038"/>
                  <a:pt x="992573" y="1539816"/>
                  <a:pt x="981126" y="1533859"/>
                </a:cubicBezTo>
                <a:cubicBezTo>
                  <a:pt x="979840" y="1533226"/>
                  <a:pt x="978553" y="1532594"/>
                  <a:pt x="977227" y="1531943"/>
                </a:cubicBezTo>
                <a:cubicBezTo>
                  <a:pt x="965286" y="1525877"/>
                  <a:pt x="959626" y="1520520"/>
                  <a:pt x="955376" y="1508751"/>
                </a:cubicBezTo>
                <a:cubicBezTo>
                  <a:pt x="954571" y="1505674"/>
                  <a:pt x="954571" y="1505674"/>
                  <a:pt x="954571" y="1500037"/>
                </a:cubicBezTo>
                <a:cubicBezTo>
                  <a:pt x="953539" y="1500037"/>
                  <a:pt x="952508" y="1500037"/>
                  <a:pt x="951446" y="1500037"/>
                </a:cubicBezTo>
                <a:cubicBezTo>
                  <a:pt x="951361" y="1495986"/>
                  <a:pt x="951299" y="1491935"/>
                  <a:pt x="951251" y="1487883"/>
                </a:cubicBezTo>
                <a:cubicBezTo>
                  <a:pt x="951224" y="1486744"/>
                  <a:pt x="951198" y="1485605"/>
                  <a:pt x="951171" y="1484431"/>
                </a:cubicBezTo>
                <a:cubicBezTo>
                  <a:pt x="951110" y="1477657"/>
                  <a:pt x="952093" y="1472660"/>
                  <a:pt x="954571" y="1466216"/>
                </a:cubicBezTo>
                <a:cubicBezTo>
                  <a:pt x="954867" y="1462451"/>
                  <a:pt x="955016" y="1458876"/>
                  <a:pt x="954961" y="1455118"/>
                </a:cubicBezTo>
                <a:cubicBezTo>
                  <a:pt x="954951" y="1454080"/>
                  <a:pt x="954942" y="1453042"/>
                  <a:pt x="954932" y="1451972"/>
                </a:cubicBezTo>
                <a:cubicBezTo>
                  <a:pt x="954606" y="1435235"/>
                  <a:pt x="952568" y="1419050"/>
                  <a:pt x="945099" y="1403594"/>
                </a:cubicBezTo>
                <a:cubicBezTo>
                  <a:pt x="943714" y="1400177"/>
                  <a:pt x="943046" y="1397128"/>
                  <a:pt x="942366" y="1393553"/>
                </a:cubicBezTo>
                <a:cubicBezTo>
                  <a:pt x="940837" y="1386134"/>
                  <a:pt x="937840" y="1379609"/>
                  <a:pt x="934451" y="1372734"/>
                </a:cubicBezTo>
                <a:cubicBezTo>
                  <a:pt x="932701" y="1368980"/>
                  <a:pt x="932701" y="1368980"/>
                  <a:pt x="931974" y="1365754"/>
                </a:cubicBezTo>
                <a:cubicBezTo>
                  <a:pt x="931699" y="1364958"/>
                  <a:pt x="931422" y="1364162"/>
                  <a:pt x="931138" y="1363343"/>
                </a:cubicBezTo>
                <a:cubicBezTo>
                  <a:pt x="929592" y="1362878"/>
                  <a:pt x="928045" y="1362413"/>
                  <a:pt x="926452" y="1361933"/>
                </a:cubicBezTo>
                <a:cubicBezTo>
                  <a:pt x="921830" y="1355261"/>
                  <a:pt x="920323" y="1348382"/>
                  <a:pt x="918641" y="1340795"/>
                </a:cubicBezTo>
                <a:cubicBezTo>
                  <a:pt x="918133" y="1338914"/>
                  <a:pt x="917616" y="1337034"/>
                  <a:pt x="917079" y="1335158"/>
                </a:cubicBezTo>
                <a:cubicBezTo>
                  <a:pt x="916048" y="1335158"/>
                  <a:pt x="915018" y="1335158"/>
                  <a:pt x="913955" y="1335158"/>
                </a:cubicBezTo>
                <a:cubicBezTo>
                  <a:pt x="913329" y="1333718"/>
                  <a:pt x="912703" y="1332277"/>
                  <a:pt x="912057" y="1330793"/>
                </a:cubicBezTo>
                <a:cubicBezTo>
                  <a:pt x="909497" y="1325424"/>
                  <a:pt x="906114" y="1320822"/>
                  <a:pt x="902142" y="1316222"/>
                </a:cubicBezTo>
                <a:cubicBezTo>
                  <a:pt x="901465" y="1315432"/>
                  <a:pt x="900788" y="1314642"/>
                  <a:pt x="900091" y="1313828"/>
                </a:cubicBezTo>
                <a:cubicBezTo>
                  <a:pt x="893705" y="1306618"/>
                  <a:pt x="886350" y="1301049"/>
                  <a:pt x="878026" y="1295700"/>
                </a:cubicBezTo>
                <a:cubicBezTo>
                  <a:pt x="876595" y="1294594"/>
                  <a:pt x="876595" y="1294594"/>
                  <a:pt x="875134" y="1293465"/>
                </a:cubicBezTo>
                <a:lnTo>
                  <a:pt x="869869" y="1291826"/>
                </a:lnTo>
                <a:lnTo>
                  <a:pt x="862384" y="1291327"/>
                </a:lnTo>
                <a:cubicBezTo>
                  <a:pt x="856441" y="1290067"/>
                  <a:pt x="850461" y="1290346"/>
                  <a:pt x="844390" y="1290461"/>
                </a:cubicBezTo>
                <a:cubicBezTo>
                  <a:pt x="842453" y="1290480"/>
                  <a:pt x="842453" y="1290480"/>
                  <a:pt x="840476" y="1290500"/>
                </a:cubicBezTo>
                <a:cubicBezTo>
                  <a:pt x="837322" y="1290532"/>
                  <a:pt x="834169" y="1290583"/>
                  <a:pt x="831015" y="1290637"/>
                </a:cubicBezTo>
                <a:cubicBezTo>
                  <a:pt x="831015" y="1291568"/>
                  <a:pt x="831015" y="1292498"/>
                  <a:pt x="831015" y="1293456"/>
                </a:cubicBezTo>
                <a:cubicBezTo>
                  <a:pt x="826519" y="1294808"/>
                  <a:pt x="822922" y="1295235"/>
                  <a:pt x="818225" y="1295570"/>
                </a:cubicBezTo>
                <a:lnTo>
                  <a:pt x="796774" y="1297671"/>
                </a:lnTo>
                <a:lnTo>
                  <a:pt x="783646" y="1305736"/>
                </a:lnTo>
                <a:cubicBezTo>
                  <a:pt x="776915" y="1312506"/>
                  <a:pt x="772692" y="1318638"/>
                  <a:pt x="769263" y="1327143"/>
                </a:cubicBezTo>
                <a:cubicBezTo>
                  <a:pt x="767116" y="1332340"/>
                  <a:pt x="767116" y="1332340"/>
                  <a:pt x="764797" y="1334360"/>
                </a:cubicBezTo>
                <a:lnTo>
                  <a:pt x="757875" y="1353503"/>
                </a:lnTo>
                <a:lnTo>
                  <a:pt x="755676" y="1367455"/>
                </a:lnTo>
                <a:lnTo>
                  <a:pt x="750558" y="1399690"/>
                </a:lnTo>
                <a:lnTo>
                  <a:pt x="753057" y="1411256"/>
                </a:lnTo>
                <a:cubicBezTo>
                  <a:pt x="753057" y="1413117"/>
                  <a:pt x="753057" y="1414976"/>
                  <a:pt x="753057" y="1416893"/>
                </a:cubicBezTo>
                <a:cubicBezTo>
                  <a:pt x="754087" y="1416893"/>
                  <a:pt x="755119" y="1416893"/>
                  <a:pt x="756181" y="1416893"/>
                </a:cubicBezTo>
                <a:cubicBezTo>
                  <a:pt x="759348" y="1422607"/>
                  <a:pt x="758101" y="1429902"/>
                  <a:pt x="758133" y="1436182"/>
                </a:cubicBezTo>
                <a:cubicBezTo>
                  <a:pt x="758182" y="1438458"/>
                  <a:pt x="758182" y="1438458"/>
                  <a:pt x="758231" y="1440781"/>
                </a:cubicBezTo>
                <a:cubicBezTo>
                  <a:pt x="758283" y="1450271"/>
                  <a:pt x="758174" y="1458360"/>
                  <a:pt x="750713" y="1465704"/>
                </a:cubicBezTo>
                <a:cubicBezTo>
                  <a:pt x="749940" y="1466193"/>
                  <a:pt x="749167" y="1466681"/>
                  <a:pt x="748370" y="1467185"/>
                </a:cubicBezTo>
                <a:cubicBezTo>
                  <a:pt x="743665" y="1470047"/>
                  <a:pt x="743665" y="1470047"/>
                  <a:pt x="741633" y="1473526"/>
                </a:cubicBezTo>
                <a:cubicBezTo>
                  <a:pt x="737793" y="1477248"/>
                  <a:pt x="733582" y="1477483"/>
                  <a:pt x="728154" y="1478343"/>
                </a:cubicBezTo>
                <a:cubicBezTo>
                  <a:pt x="724855" y="1478778"/>
                  <a:pt x="724855" y="1478778"/>
                  <a:pt x="721814" y="1480308"/>
                </a:cubicBezTo>
                <a:cubicBezTo>
                  <a:pt x="717303" y="1480523"/>
                  <a:pt x="712854" y="1480634"/>
                  <a:pt x="708341" y="1480661"/>
                </a:cubicBezTo>
                <a:cubicBezTo>
                  <a:pt x="707118" y="1480690"/>
                  <a:pt x="705896" y="1480719"/>
                  <a:pt x="704637" y="1480748"/>
                </a:cubicBezTo>
                <a:cubicBezTo>
                  <a:pt x="690446" y="1480834"/>
                  <a:pt x="679632" y="1476246"/>
                  <a:pt x="668507" y="1468418"/>
                </a:cubicBezTo>
                <a:cubicBezTo>
                  <a:pt x="662823" y="1463224"/>
                  <a:pt x="661745" y="1456995"/>
                  <a:pt x="660178" y="1450027"/>
                </a:cubicBezTo>
                <a:cubicBezTo>
                  <a:pt x="659725" y="1446589"/>
                  <a:pt x="659725" y="1446589"/>
                  <a:pt x="657767" y="1445078"/>
                </a:cubicBezTo>
                <a:cubicBezTo>
                  <a:pt x="656859" y="1433686"/>
                  <a:pt x="655965" y="1419178"/>
                  <a:pt x="663369" y="1409390"/>
                </a:cubicBezTo>
                <a:cubicBezTo>
                  <a:pt x="666078" y="1406601"/>
                  <a:pt x="668921" y="1404013"/>
                  <a:pt x="671826" y="1401392"/>
                </a:cubicBezTo>
                <a:cubicBezTo>
                  <a:pt x="675197" y="1397623"/>
                  <a:pt x="677125" y="1394916"/>
                  <a:pt x="678075" y="1390118"/>
                </a:cubicBezTo>
                <a:cubicBezTo>
                  <a:pt x="680137" y="1389653"/>
                  <a:pt x="682199" y="1389188"/>
                  <a:pt x="684323" y="1388709"/>
                </a:cubicBezTo>
                <a:cubicBezTo>
                  <a:pt x="684643" y="1387232"/>
                  <a:pt x="684964" y="1385755"/>
                  <a:pt x="685293" y="1384233"/>
                </a:cubicBezTo>
                <a:cubicBezTo>
                  <a:pt x="685718" y="1382290"/>
                  <a:pt x="686144" y="1380347"/>
                  <a:pt x="686569" y="1378404"/>
                </a:cubicBezTo>
                <a:cubicBezTo>
                  <a:pt x="686885" y="1376945"/>
                  <a:pt x="686885" y="1376945"/>
                  <a:pt x="687207" y="1375456"/>
                </a:cubicBezTo>
                <a:cubicBezTo>
                  <a:pt x="688115" y="1371315"/>
                  <a:pt x="689090" y="1367353"/>
                  <a:pt x="690572" y="1363343"/>
                </a:cubicBezTo>
                <a:cubicBezTo>
                  <a:pt x="692411" y="1350128"/>
                  <a:pt x="692374" y="1336672"/>
                  <a:pt x="692495" y="1323376"/>
                </a:cubicBezTo>
                <a:cubicBezTo>
                  <a:pt x="692524" y="1320586"/>
                  <a:pt x="692574" y="1317796"/>
                  <a:pt x="692625" y="1315006"/>
                </a:cubicBezTo>
                <a:cubicBezTo>
                  <a:pt x="692853" y="1300589"/>
                  <a:pt x="692853" y="1300589"/>
                  <a:pt x="687447" y="1287245"/>
                </a:cubicBezTo>
                <a:cubicBezTo>
                  <a:pt x="685901" y="1286780"/>
                  <a:pt x="684354" y="1286315"/>
                  <a:pt x="682761" y="1285835"/>
                </a:cubicBezTo>
                <a:cubicBezTo>
                  <a:pt x="680876" y="1283743"/>
                  <a:pt x="680876" y="1283743"/>
                  <a:pt x="678954" y="1281608"/>
                </a:cubicBezTo>
                <a:cubicBezTo>
                  <a:pt x="674854" y="1277278"/>
                  <a:pt x="674356" y="1276958"/>
                  <a:pt x="668702" y="1275971"/>
                </a:cubicBezTo>
                <a:cubicBezTo>
                  <a:pt x="666619" y="1274092"/>
                  <a:pt x="664536" y="1272213"/>
                  <a:pt x="662454" y="1270334"/>
                </a:cubicBezTo>
                <a:cubicBezTo>
                  <a:pt x="658341" y="1268566"/>
                  <a:pt x="658341" y="1268566"/>
                  <a:pt x="654643" y="1267516"/>
                </a:cubicBezTo>
                <a:cubicBezTo>
                  <a:pt x="654643" y="1266585"/>
                  <a:pt x="654643" y="1265656"/>
                  <a:pt x="654643" y="1264697"/>
                </a:cubicBezTo>
                <a:cubicBezTo>
                  <a:pt x="653161" y="1264581"/>
                  <a:pt x="651679" y="1264465"/>
                  <a:pt x="650152" y="1264345"/>
                </a:cubicBezTo>
                <a:cubicBezTo>
                  <a:pt x="642318" y="1263373"/>
                  <a:pt x="635297" y="1260465"/>
                  <a:pt x="628087" y="1257651"/>
                </a:cubicBezTo>
                <a:cubicBezTo>
                  <a:pt x="628087" y="1256721"/>
                  <a:pt x="628087" y="1255791"/>
                  <a:pt x="628087" y="1254833"/>
                </a:cubicBezTo>
                <a:cubicBezTo>
                  <a:pt x="627108" y="1254662"/>
                  <a:pt x="626129" y="1254491"/>
                  <a:pt x="625121" y="1254315"/>
                </a:cubicBezTo>
                <a:cubicBezTo>
                  <a:pt x="623845" y="1254079"/>
                  <a:pt x="622568" y="1253843"/>
                  <a:pt x="621252" y="1253600"/>
                </a:cubicBezTo>
                <a:cubicBezTo>
                  <a:pt x="619984" y="1253371"/>
                  <a:pt x="618716" y="1253142"/>
                  <a:pt x="617409" y="1252906"/>
                </a:cubicBezTo>
                <a:cubicBezTo>
                  <a:pt x="614027" y="1252014"/>
                  <a:pt x="614027" y="1252014"/>
                  <a:pt x="610904" y="1249196"/>
                </a:cubicBezTo>
                <a:cubicBezTo>
                  <a:pt x="592259" y="1248653"/>
                  <a:pt x="578635" y="1260869"/>
                  <a:pt x="565739" y="1271742"/>
                </a:cubicBezTo>
                <a:cubicBezTo>
                  <a:pt x="558808" y="1277725"/>
                  <a:pt x="552763" y="1283983"/>
                  <a:pt x="546924" y="1290829"/>
                </a:cubicBezTo>
                <a:cubicBezTo>
                  <a:pt x="545838" y="1292087"/>
                  <a:pt x="544753" y="1293346"/>
                  <a:pt x="543635" y="1294643"/>
                </a:cubicBezTo>
                <a:cubicBezTo>
                  <a:pt x="542650" y="1295813"/>
                  <a:pt x="541666" y="1296983"/>
                  <a:pt x="540651" y="1298188"/>
                </a:cubicBezTo>
                <a:cubicBezTo>
                  <a:pt x="537294" y="1301526"/>
                  <a:pt x="533978" y="1303337"/>
                  <a:pt x="529673" y="1305565"/>
                </a:cubicBezTo>
                <a:cubicBezTo>
                  <a:pt x="527599" y="1308478"/>
                  <a:pt x="527599" y="1308478"/>
                  <a:pt x="526549" y="1311202"/>
                </a:cubicBezTo>
                <a:cubicBezTo>
                  <a:pt x="525518" y="1311202"/>
                  <a:pt x="524487" y="1311202"/>
                  <a:pt x="523425" y="1311202"/>
                </a:cubicBezTo>
                <a:cubicBezTo>
                  <a:pt x="523360" y="1311986"/>
                  <a:pt x="523296" y="1312771"/>
                  <a:pt x="523230" y="1313580"/>
                </a:cubicBezTo>
                <a:cubicBezTo>
                  <a:pt x="521863" y="1316839"/>
                  <a:pt x="521863" y="1316839"/>
                  <a:pt x="517732" y="1319739"/>
                </a:cubicBezTo>
                <a:cubicBezTo>
                  <a:pt x="511111" y="1324565"/>
                  <a:pt x="506875" y="1330731"/>
                  <a:pt x="502239" y="1337096"/>
                </a:cubicBezTo>
                <a:cubicBezTo>
                  <a:pt x="500512" y="1339427"/>
                  <a:pt x="498785" y="1341757"/>
                  <a:pt x="497058" y="1344087"/>
                </a:cubicBezTo>
                <a:cubicBezTo>
                  <a:pt x="495827" y="1345760"/>
                  <a:pt x="495827" y="1345760"/>
                  <a:pt x="494572" y="1347465"/>
                </a:cubicBezTo>
                <a:cubicBezTo>
                  <a:pt x="492366" y="1350414"/>
                  <a:pt x="490094" y="1353304"/>
                  <a:pt x="487776" y="1356181"/>
                </a:cubicBezTo>
                <a:cubicBezTo>
                  <a:pt x="484805" y="1359972"/>
                  <a:pt x="482865" y="1363193"/>
                  <a:pt x="481248" y="1367571"/>
                </a:cubicBezTo>
                <a:cubicBezTo>
                  <a:pt x="480216" y="1367571"/>
                  <a:pt x="479186" y="1367571"/>
                  <a:pt x="478123" y="1367571"/>
                </a:cubicBezTo>
                <a:cubicBezTo>
                  <a:pt x="477963" y="1368558"/>
                  <a:pt x="477801" y="1369547"/>
                  <a:pt x="477635" y="1370565"/>
                </a:cubicBezTo>
                <a:cubicBezTo>
                  <a:pt x="475602" y="1378236"/>
                  <a:pt x="471952" y="1383371"/>
                  <a:pt x="465626" y="1388709"/>
                </a:cubicBezTo>
                <a:cubicBezTo>
                  <a:pt x="462272" y="1392748"/>
                  <a:pt x="462272" y="1392748"/>
                  <a:pt x="461233" y="1397340"/>
                </a:cubicBezTo>
                <a:cubicBezTo>
                  <a:pt x="460030" y="1401461"/>
                  <a:pt x="458298" y="1404501"/>
                  <a:pt x="455765" y="1408086"/>
                </a:cubicBezTo>
                <a:cubicBezTo>
                  <a:pt x="442829" y="1428603"/>
                  <a:pt x="441572" y="1454548"/>
                  <a:pt x="439070" y="1477490"/>
                </a:cubicBezTo>
                <a:cubicBezTo>
                  <a:pt x="437524" y="1477955"/>
                  <a:pt x="435977" y="1478420"/>
                  <a:pt x="434384" y="1478899"/>
                </a:cubicBezTo>
                <a:cubicBezTo>
                  <a:pt x="433739" y="1479916"/>
                  <a:pt x="433095" y="1480933"/>
                  <a:pt x="432431" y="1481982"/>
                </a:cubicBezTo>
                <a:cubicBezTo>
                  <a:pt x="428860" y="1487159"/>
                  <a:pt x="424291" y="1490903"/>
                  <a:pt x="418763" y="1494401"/>
                </a:cubicBezTo>
                <a:cubicBezTo>
                  <a:pt x="417731" y="1494401"/>
                  <a:pt x="416701" y="1494401"/>
                  <a:pt x="415639" y="1494401"/>
                </a:cubicBezTo>
                <a:cubicBezTo>
                  <a:pt x="415639" y="1495330"/>
                  <a:pt x="415639" y="1496260"/>
                  <a:pt x="415639" y="1497219"/>
                </a:cubicBezTo>
                <a:cubicBezTo>
                  <a:pt x="412546" y="1497684"/>
                  <a:pt x="409453" y="1498149"/>
                  <a:pt x="406265" y="1498628"/>
                </a:cubicBezTo>
                <a:cubicBezTo>
                  <a:pt x="406265" y="1499559"/>
                  <a:pt x="406265" y="1500488"/>
                  <a:pt x="406265" y="1501447"/>
                </a:cubicBezTo>
                <a:cubicBezTo>
                  <a:pt x="395955" y="1501447"/>
                  <a:pt x="385645" y="1501447"/>
                  <a:pt x="375023" y="1501447"/>
                </a:cubicBezTo>
                <a:lnTo>
                  <a:pt x="375023" y="1499438"/>
                </a:lnTo>
                <a:lnTo>
                  <a:pt x="374964" y="1499436"/>
                </a:lnTo>
                <a:lnTo>
                  <a:pt x="373179" y="1498628"/>
                </a:lnTo>
                <a:lnTo>
                  <a:pt x="365650" y="1498628"/>
                </a:lnTo>
                <a:lnTo>
                  <a:pt x="363134" y="1494087"/>
                </a:lnTo>
                <a:lnTo>
                  <a:pt x="362171" y="1493651"/>
                </a:lnTo>
                <a:cubicBezTo>
                  <a:pt x="361656" y="1492722"/>
                  <a:pt x="361140" y="1491791"/>
                  <a:pt x="360609" y="1490833"/>
                </a:cubicBezTo>
                <a:cubicBezTo>
                  <a:pt x="361640" y="1490833"/>
                  <a:pt x="362671" y="1490833"/>
                  <a:pt x="363733" y="1490833"/>
                </a:cubicBezTo>
                <a:lnTo>
                  <a:pt x="363733" y="1489980"/>
                </a:lnTo>
                <a:lnTo>
                  <a:pt x="348467" y="1481717"/>
                </a:lnTo>
                <a:lnTo>
                  <a:pt x="343872" y="1461078"/>
                </a:lnTo>
                <a:lnTo>
                  <a:pt x="343656" y="1463649"/>
                </a:lnTo>
                <a:cubicBezTo>
                  <a:pt x="343541" y="1465230"/>
                  <a:pt x="343541" y="1465230"/>
                  <a:pt x="343424" y="1466842"/>
                </a:cubicBezTo>
                <a:cubicBezTo>
                  <a:pt x="342908" y="1466842"/>
                  <a:pt x="342393" y="1466842"/>
                  <a:pt x="341861" y="1466842"/>
                </a:cubicBezTo>
                <a:cubicBezTo>
                  <a:pt x="340987" y="1449564"/>
                  <a:pt x="340999" y="1434331"/>
                  <a:pt x="354143" y="1420549"/>
                </a:cubicBezTo>
                <a:cubicBezTo>
                  <a:pt x="360765" y="1414011"/>
                  <a:pt x="367631" y="1407790"/>
                  <a:pt x="376229" y="1403427"/>
                </a:cubicBezTo>
                <a:lnTo>
                  <a:pt x="379491" y="1404408"/>
                </a:lnTo>
                <a:lnTo>
                  <a:pt x="379710" y="1404210"/>
                </a:lnTo>
                <a:cubicBezTo>
                  <a:pt x="380290" y="1402902"/>
                  <a:pt x="380290" y="1402902"/>
                  <a:pt x="380882" y="1401568"/>
                </a:cubicBezTo>
                <a:cubicBezTo>
                  <a:pt x="383675" y="1397284"/>
                  <a:pt x="387587" y="1395610"/>
                  <a:pt x="392207" y="1392936"/>
                </a:cubicBezTo>
                <a:lnTo>
                  <a:pt x="399542" y="1386774"/>
                </a:lnTo>
                <a:lnTo>
                  <a:pt x="405485" y="1378917"/>
                </a:lnTo>
                <a:cubicBezTo>
                  <a:pt x="408065" y="1375974"/>
                  <a:pt x="410029" y="1372774"/>
                  <a:pt x="412008" y="1369481"/>
                </a:cubicBezTo>
                <a:cubicBezTo>
                  <a:pt x="414759" y="1365166"/>
                  <a:pt x="417963" y="1361131"/>
                  <a:pt x="421130" y="1357057"/>
                </a:cubicBezTo>
                <a:cubicBezTo>
                  <a:pt x="423073" y="1354140"/>
                  <a:pt x="423985" y="1351767"/>
                  <a:pt x="424676" y="1348443"/>
                </a:cubicBezTo>
                <a:lnTo>
                  <a:pt x="427275" y="1348443"/>
                </a:lnTo>
                <a:lnTo>
                  <a:pt x="428135" y="1345727"/>
                </a:lnTo>
                <a:cubicBezTo>
                  <a:pt x="429370" y="1341828"/>
                  <a:pt x="430645" y="1338666"/>
                  <a:pt x="432822" y="1335158"/>
                </a:cubicBezTo>
                <a:cubicBezTo>
                  <a:pt x="433853" y="1335158"/>
                  <a:pt x="434884" y="1335158"/>
                  <a:pt x="435946" y="1335158"/>
                </a:cubicBezTo>
                <a:cubicBezTo>
                  <a:pt x="436526" y="1333385"/>
                  <a:pt x="437106" y="1331613"/>
                  <a:pt x="437704" y="1329786"/>
                </a:cubicBezTo>
                <a:cubicBezTo>
                  <a:pt x="440162" y="1323132"/>
                  <a:pt x="443602" y="1317301"/>
                  <a:pt x="447394" y="1311196"/>
                </a:cubicBezTo>
                <a:cubicBezTo>
                  <a:pt x="456493" y="1296485"/>
                  <a:pt x="463325" y="1281864"/>
                  <a:pt x="469287" y="1265964"/>
                </a:cubicBezTo>
                <a:cubicBezTo>
                  <a:pt x="474589" y="1252134"/>
                  <a:pt x="474589" y="1252134"/>
                  <a:pt x="478178" y="1246787"/>
                </a:cubicBezTo>
                <a:cubicBezTo>
                  <a:pt x="481232" y="1240246"/>
                  <a:pt x="480204" y="1232766"/>
                  <a:pt x="480179" y="1225768"/>
                </a:cubicBezTo>
                <a:cubicBezTo>
                  <a:pt x="480174" y="1222894"/>
                  <a:pt x="480210" y="1220023"/>
                  <a:pt x="480250" y="1217149"/>
                </a:cubicBezTo>
                <a:cubicBezTo>
                  <a:pt x="480260" y="1199291"/>
                  <a:pt x="476718" y="1187768"/>
                  <a:pt x="462972" y="1174827"/>
                </a:cubicBezTo>
                <a:cubicBezTo>
                  <a:pt x="461148" y="1173192"/>
                  <a:pt x="459312" y="1171566"/>
                  <a:pt x="457468" y="1169949"/>
                </a:cubicBezTo>
                <a:cubicBezTo>
                  <a:pt x="451412" y="1164522"/>
                  <a:pt x="445876" y="1158660"/>
                  <a:pt x="440657" y="1152570"/>
                </a:cubicBezTo>
                <a:cubicBezTo>
                  <a:pt x="430474" y="1140786"/>
                  <a:pt x="418230" y="1128998"/>
                  <a:pt x="403142" y="1122366"/>
                </a:cubicBezTo>
                <a:cubicBezTo>
                  <a:pt x="402626" y="1121436"/>
                  <a:pt x="402110" y="1120506"/>
                  <a:pt x="401579" y="1119547"/>
                </a:cubicBezTo>
                <a:cubicBezTo>
                  <a:pt x="390472" y="1115326"/>
                  <a:pt x="375918" y="1114217"/>
                  <a:pt x="364564" y="1118209"/>
                </a:cubicBezTo>
                <a:cubicBezTo>
                  <a:pt x="362278" y="1119428"/>
                  <a:pt x="360026" y="1120704"/>
                  <a:pt x="357822" y="1122041"/>
                </a:cubicBezTo>
                <a:cubicBezTo>
                  <a:pt x="354521" y="1123884"/>
                  <a:pt x="351862" y="1124582"/>
                  <a:pt x="348077" y="1125273"/>
                </a:cubicBezTo>
                <a:cubicBezTo>
                  <a:pt x="341765" y="1126696"/>
                  <a:pt x="339382" y="1128619"/>
                  <a:pt x="334408" y="1132230"/>
                </a:cubicBezTo>
                <a:cubicBezTo>
                  <a:pt x="332284" y="1132909"/>
                  <a:pt x="330131" y="1133519"/>
                  <a:pt x="327964" y="1134080"/>
                </a:cubicBezTo>
                <a:cubicBezTo>
                  <a:pt x="309975" y="1139067"/>
                  <a:pt x="290592" y="1152117"/>
                  <a:pt x="279734" y="1166051"/>
                </a:cubicBezTo>
                <a:cubicBezTo>
                  <a:pt x="277929" y="1169534"/>
                  <a:pt x="277929" y="1169534"/>
                  <a:pt x="276609" y="1173098"/>
                </a:cubicBezTo>
                <a:cubicBezTo>
                  <a:pt x="272413" y="1180804"/>
                  <a:pt x="269322" y="1184144"/>
                  <a:pt x="260988" y="1188599"/>
                </a:cubicBezTo>
                <a:cubicBezTo>
                  <a:pt x="259988" y="1189435"/>
                  <a:pt x="258987" y="1190271"/>
                  <a:pt x="257956" y="1191132"/>
                </a:cubicBezTo>
                <a:lnTo>
                  <a:pt x="243805" y="1196629"/>
                </a:lnTo>
                <a:lnTo>
                  <a:pt x="243805" y="1194236"/>
                </a:lnTo>
                <a:lnTo>
                  <a:pt x="240288" y="1194765"/>
                </a:lnTo>
                <a:lnTo>
                  <a:pt x="243374" y="1194765"/>
                </a:lnTo>
                <a:lnTo>
                  <a:pt x="243374" y="1196797"/>
                </a:lnTo>
                <a:lnTo>
                  <a:pt x="243805" y="1196629"/>
                </a:lnTo>
                <a:lnTo>
                  <a:pt x="243805" y="1197055"/>
                </a:lnTo>
                <a:lnTo>
                  <a:pt x="243374" y="1197055"/>
                </a:lnTo>
                <a:lnTo>
                  <a:pt x="243374" y="1197584"/>
                </a:lnTo>
                <a:lnTo>
                  <a:pt x="241319" y="1197595"/>
                </a:lnTo>
                <a:lnTo>
                  <a:pt x="238009" y="1198881"/>
                </a:lnTo>
                <a:cubicBezTo>
                  <a:pt x="231012" y="1199584"/>
                  <a:pt x="223620" y="1198927"/>
                  <a:pt x="215687" y="1198464"/>
                </a:cubicBezTo>
                <a:lnTo>
                  <a:pt x="215687" y="1197734"/>
                </a:lnTo>
                <a:lnTo>
                  <a:pt x="213936" y="1197744"/>
                </a:lnTo>
                <a:cubicBezTo>
                  <a:pt x="210570" y="1197584"/>
                  <a:pt x="210570" y="1197584"/>
                  <a:pt x="207446" y="1196175"/>
                </a:cubicBezTo>
                <a:lnTo>
                  <a:pt x="207822" y="1195610"/>
                </a:lnTo>
                <a:lnTo>
                  <a:pt x="184737" y="1180936"/>
                </a:lnTo>
                <a:cubicBezTo>
                  <a:pt x="180258" y="1172216"/>
                  <a:pt x="179226" y="1164355"/>
                  <a:pt x="179270" y="1154866"/>
                </a:cubicBezTo>
                <a:cubicBezTo>
                  <a:pt x="179233" y="1153260"/>
                  <a:pt x="179233" y="1153260"/>
                  <a:pt x="179194" y="1151621"/>
                </a:cubicBezTo>
                <a:cubicBezTo>
                  <a:pt x="179182" y="1139523"/>
                  <a:pt x="183658" y="1128837"/>
                  <a:pt x="193195" y="1120065"/>
                </a:cubicBezTo>
                <a:cubicBezTo>
                  <a:pt x="204265" y="1110959"/>
                  <a:pt x="215062" y="1110626"/>
                  <a:pt x="229551" y="1110299"/>
                </a:cubicBezTo>
                <a:cubicBezTo>
                  <a:pt x="240132" y="1110024"/>
                  <a:pt x="250506" y="1109652"/>
                  <a:pt x="260988" y="1108274"/>
                </a:cubicBezTo>
                <a:cubicBezTo>
                  <a:pt x="260988" y="1107344"/>
                  <a:pt x="260988" y="1106413"/>
                  <a:pt x="260988" y="1105455"/>
                </a:cubicBezTo>
                <a:cubicBezTo>
                  <a:pt x="261953" y="1105078"/>
                  <a:pt x="262918" y="1104699"/>
                  <a:pt x="263911" y="1104310"/>
                </a:cubicBezTo>
                <a:cubicBezTo>
                  <a:pt x="272903" y="1100557"/>
                  <a:pt x="279802" y="1096307"/>
                  <a:pt x="286995" y="1090185"/>
                </a:cubicBezTo>
                <a:cubicBezTo>
                  <a:pt x="290956" y="1086897"/>
                  <a:pt x="295114" y="1083955"/>
                  <a:pt x="299358" y="1080970"/>
                </a:cubicBezTo>
                <a:cubicBezTo>
                  <a:pt x="306613" y="1075692"/>
                  <a:pt x="312234" y="1070023"/>
                  <a:pt x="317762" y="1063272"/>
                </a:cubicBezTo>
                <a:cubicBezTo>
                  <a:pt x="320349" y="1060360"/>
                  <a:pt x="320349" y="1060360"/>
                  <a:pt x="325035" y="1057542"/>
                </a:cubicBezTo>
                <a:cubicBezTo>
                  <a:pt x="329912" y="1045734"/>
                  <a:pt x="327928" y="1035103"/>
                  <a:pt x="325328" y="1023104"/>
                </a:cubicBezTo>
                <a:cubicBezTo>
                  <a:pt x="325069" y="1021831"/>
                  <a:pt x="324811" y="1020559"/>
                  <a:pt x="324544" y="1019247"/>
                </a:cubicBezTo>
                <a:cubicBezTo>
                  <a:pt x="322876" y="1011407"/>
                  <a:pt x="320562" y="1004340"/>
                  <a:pt x="317225" y="996945"/>
                </a:cubicBezTo>
                <a:cubicBezTo>
                  <a:pt x="316619" y="995541"/>
                  <a:pt x="316013" y="994137"/>
                  <a:pt x="315388" y="992690"/>
                </a:cubicBezTo>
                <a:cubicBezTo>
                  <a:pt x="306307" y="972561"/>
                  <a:pt x="298931" y="959343"/>
                  <a:pt x="276232" y="950666"/>
                </a:cubicBezTo>
                <a:cubicBezTo>
                  <a:pt x="274810" y="950127"/>
                  <a:pt x="273388" y="949587"/>
                  <a:pt x="271923" y="949031"/>
                </a:cubicBezTo>
                <a:cubicBezTo>
                  <a:pt x="270129" y="948244"/>
                  <a:pt x="270129" y="948244"/>
                  <a:pt x="268299" y="947441"/>
                </a:cubicBezTo>
                <a:cubicBezTo>
                  <a:pt x="247071" y="938140"/>
                  <a:pt x="222259" y="939051"/>
                  <a:pt x="199187" y="938991"/>
                </a:cubicBezTo>
                <a:cubicBezTo>
                  <a:pt x="197383" y="938984"/>
                  <a:pt x="195579" y="938978"/>
                  <a:pt x="193719" y="938971"/>
                </a:cubicBezTo>
                <a:cubicBezTo>
                  <a:pt x="192010" y="938974"/>
                  <a:pt x="190300" y="938977"/>
                  <a:pt x="188539" y="938980"/>
                </a:cubicBezTo>
                <a:cubicBezTo>
                  <a:pt x="187000" y="938981"/>
                  <a:pt x="185460" y="938983"/>
                  <a:pt x="183874" y="938985"/>
                </a:cubicBezTo>
                <a:cubicBezTo>
                  <a:pt x="180148" y="939150"/>
                  <a:pt x="177092" y="939720"/>
                  <a:pt x="173509" y="940576"/>
                </a:cubicBezTo>
                <a:cubicBezTo>
                  <a:pt x="169458" y="940674"/>
                  <a:pt x="165452" y="940710"/>
                  <a:pt x="161403" y="940664"/>
                </a:cubicBezTo>
                <a:cubicBezTo>
                  <a:pt x="160314" y="940658"/>
                  <a:pt x="159224" y="940651"/>
                  <a:pt x="158102" y="940645"/>
                </a:cubicBezTo>
                <a:lnTo>
                  <a:pt x="150875" y="940583"/>
                </a:lnTo>
                <a:lnTo>
                  <a:pt x="148425" y="940717"/>
                </a:lnTo>
                <a:lnTo>
                  <a:pt x="149617" y="940995"/>
                </a:lnTo>
                <a:cubicBezTo>
                  <a:pt x="149617" y="941459"/>
                  <a:pt x="149617" y="941924"/>
                  <a:pt x="149617" y="942404"/>
                </a:cubicBezTo>
                <a:cubicBezTo>
                  <a:pt x="148630" y="942558"/>
                  <a:pt x="147643" y="942712"/>
                  <a:pt x="146627" y="942871"/>
                </a:cubicBezTo>
                <a:cubicBezTo>
                  <a:pt x="134541" y="944804"/>
                  <a:pt x="122553" y="947081"/>
                  <a:pt x="110564" y="949449"/>
                </a:cubicBezTo>
                <a:lnTo>
                  <a:pt x="111283" y="946205"/>
                </a:lnTo>
                <a:lnTo>
                  <a:pt x="101652" y="956078"/>
                </a:lnTo>
                <a:cubicBezTo>
                  <a:pt x="99870" y="957260"/>
                  <a:pt x="99870" y="957260"/>
                  <a:pt x="98052" y="958467"/>
                </a:cubicBezTo>
                <a:cubicBezTo>
                  <a:pt x="75683" y="972989"/>
                  <a:pt x="75683" y="972989"/>
                  <a:pt x="67286" y="972989"/>
                </a:cubicBezTo>
                <a:cubicBezTo>
                  <a:pt x="67286" y="973918"/>
                  <a:pt x="67286" y="974848"/>
                  <a:pt x="67286" y="975807"/>
                </a:cubicBezTo>
                <a:cubicBezTo>
                  <a:pt x="55713" y="979519"/>
                  <a:pt x="43549" y="980689"/>
                  <a:pt x="31942" y="976423"/>
                </a:cubicBezTo>
                <a:cubicBezTo>
                  <a:pt x="19953" y="970870"/>
                  <a:pt x="10774" y="964932"/>
                  <a:pt x="5673" y="953419"/>
                </a:cubicBezTo>
                <a:cubicBezTo>
                  <a:pt x="4801" y="950441"/>
                  <a:pt x="4801" y="950441"/>
                  <a:pt x="4801" y="944804"/>
                </a:cubicBezTo>
                <a:cubicBezTo>
                  <a:pt x="3770" y="944804"/>
                  <a:pt x="2739" y="944804"/>
                  <a:pt x="1676" y="944804"/>
                </a:cubicBezTo>
                <a:cubicBezTo>
                  <a:pt x="-34" y="940174"/>
                  <a:pt x="-41" y="936720"/>
                  <a:pt x="17" y="931857"/>
                </a:cubicBezTo>
                <a:cubicBezTo>
                  <a:pt x="31" y="930325"/>
                  <a:pt x="45" y="928794"/>
                  <a:pt x="59" y="927216"/>
                </a:cubicBezTo>
                <a:cubicBezTo>
                  <a:pt x="78" y="926044"/>
                  <a:pt x="96" y="924873"/>
                  <a:pt x="115" y="923666"/>
                </a:cubicBezTo>
                <a:cubicBezTo>
                  <a:pt x="1145" y="923666"/>
                  <a:pt x="2176" y="923666"/>
                  <a:pt x="3238" y="923666"/>
                </a:cubicBezTo>
                <a:cubicBezTo>
                  <a:pt x="3238" y="921805"/>
                  <a:pt x="3238" y="919945"/>
                  <a:pt x="3238" y="918029"/>
                </a:cubicBezTo>
                <a:cubicBezTo>
                  <a:pt x="4270" y="918029"/>
                  <a:pt x="5300" y="918029"/>
                  <a:pt x="6363" y="918029"/>
                </a:cubicBezTo>
                <a:cubicBezTo>
                  <a:pt x="6459" y="916314"/>
                  <a:pt x="6556" y="914599"/>
                  <a:pt x="6656" y="912832"/>
                </a:cubicBezTo>
                <a:cubicBezTo>
                  <a:pt x="7542" y="906455"/>
                  <a:pt x="10104" y="903750"/>
                  <a:pt x="15736" y="899709"/>
                </a:cubicBezTo>
                <a:lnTo>
                  <a:pt x="17243" y="898894"/>
                </a:lnTo>
                <a:lnTo>
                  <a:pt x="16800" y="898694"/>
                </a:lnTo>
                <a:lnTo>
                  <a:pt x="24988" y="894101"/>
                </a:lnTo>
                <a:lnTo>
                  <a:pt x="26768" y="892399"/>
                </a:lnTo>
                <a:cubicBezTo>
                  <a:pt x="28282" y="891122"/>
                  <a:pt x="29038" y="890483"/>
                  <a:pt x="30198" y="890164"/>
                </a:cubicBezTo>
                <a:lnTo>
                  <a:pt x="32204" y="890054"/>
                </a:lnTo>
                <a:lnTo>
                  <a:pt x="38914" y="886291"/>
                </a:lnTo>
                <a:cubicBezTo>
                  <a:pt x="47169" y="885770"/>
                  <a:pt x="55396" y="885800"/>
                  <a:pt x="63664" y="886011"/>
                </a:cubicBezTo>
                <a:lnTo>
                  <a:pt x="63664" y="886531"/>
                </a:lnTo>
                <a:lnTo>
                  <a:pt x="70784" y="886647"/>
                </a:lnTo>
                <a:cubicBezTo>
                  <a:pt x="74787" y="887000"/>
                  <a:pt x="77233" y="887948"/>
                  <a:pt x="82126" y="889845"/>
                </a:cubicBezTo>
                <a:cubicBezTo>
                  <a:pt x="92427" y="893791"/>
                  <a:pt x="103139" y="893710"/>
                  <a:pt x="114149" y="892663"/>
                </a:cubicBezTo>
                <a:cubicBezTo>
                  <a:pt x="115696" y="891733"/>
                  <a:pt x="117242" y="890803"/>
                  <a:pt x="118836" y="889845"/>
                </a:cubicBezTo>
                <a:cubicBezTo>
                  <a:pt x="123097" y="888850"/>
                  <a:pt x="127325" y="887944"/>
                  <a:pt x="131626" y="887114"/>
                </a:cubicBezTo>
                <a:cubicBezTo>
                  <a:pt x="139750" y="885542"/>
                  <a:pt x="147376" y="883653"/>
                  <a:pt x="155116" y="880913"/>
                </a:cubicBezTo>
                <a:cubicBezTo>
                  <a:pt x="158498" y="879775"/>
                  <a:pt x="161861" y="879076"/>
                  <a:pt x="165406" y="878483"/>
                </a:cubicBezTo>
                <a:cubicBezTo>
                  <a:pt x="170342" y="877655"/>
                  <a:pt x="172265" y="876971"/>
                  <a:pt x="176634" y="874343"/>
                </a:cubicBezTo>
                <a:cubicBezTo>
                  <a:pt x="179863" y="873335"/>
                  <a:pt x="183123" y="872404"/>
                  <a:pt x="186397" y="871524"/>
                </a:cubicBezTo>
                <a:cubicBezTo>
                  <a:pt x="189107" y="870786"/>
                  <a:pt x="189107" y="870786"/>
                  <a:pt x="191871" y="870033"/>
                </a:cubicBezTo>
                <a:cubicBezTo>
                  <a:pt x="195731" y="869023"/>
                  <a:pt x="199587" y="868093"/>
                  <a:pt x="203483" y="867208"/>
                </a:cubicBezTo>
                <a:cubicBezTo>
                  <a:pt x="208339" y="866199"/>
                  <a:pt x="208339" y="866199"/>
                  <a:pt x="211001" y="861660"/>
                </a:cubicBezTo>
                <a:cubicBezTo>
                  <a:pt x="214174" y="860102"/>
                  <a:pt x="214174" y="860102"/>
                  <a:pt x="218031" y="858577"/>
                </a:cubicBezTo>
                <a:cubicBezTo>
                  <a:pt x="236068" y="850629"/>
                  <a:pt x="245199" y="840442"/>
                  <a:pt x="254740" y="825020"/>
                </a:cubicBezTo>
                <a:cubicBezTo>
                  <a:pt x="255771" y="823625"/>
                  <a:pt x="256802" y="822230"/>
                  <a:pt x="257864" y="820792"/>
                </a:cubicBezTo>
                <a:cubicBezTo>
                  <a:pt x="258359" y="817506"/>
                  <a:pt x="258359" y="817506"/>
                  <a:pt x="258318" y="813810"/>
                </a:cubicBezTo>
                <a:cubicBezTo>
                  <a:pt x="258338" y="812388"/>
                  <a:pt x="258358" y="810967"/>
                  <a:pt x="258378" y="809502"/>
                </a:cubicBezTo>
                <a:cubicBezTo>
                  <a:pt x="258382" y="807965"/>
                  <a:pt x="258385" y="806429"/>
                  <a:pt x="258389" y="804845"/>
                </a:cubicBezTo>
                <a:cubicBezTo>
                  <a:pt x="258399" y="803258"/>
                  <a:pt x="258410" y="801671"/>
                  <a:pt x="258420" y="800036"/>
                </a:cubicBezTo>
                <a:cubicBezTo>
                  <a:pt x="258436" y="796670"/>
                  <a:pt x="258443" y="793305"/>
                  <a:pt x="258443" y="789939"/>
                </a:cubicBezTo>
                <a:cubicBezTo>
                  <a:pt x="258450" y="784823"/>
                  <a:pt x="258506" y="779709"/>
                  <a:pt x="258566" y="774594"/>
                </a:cubicBezTo>
                <a:cubicBezTo>
                  <a:pt x="258575" y="771319"/>
                  <a:pt x="258581" y="768045"/>
                  <a:pt x="258584" y="764771"/>
                </a:cubicBezTo>
                <a:cubicBezTo>
                  <a:pt x="258618" y="762495"/>
                  <a:pt x="258618" y="762495"/>
                  <a:pt x="258652" y="760174"/>
                </a:cubicBezTo>
                <a:cubicBezTo>
                  <a:pt x="258586" y="750030"/>
                  <a:pt x="256266" y="742584"/>
                  <a:pt x="251616" y="733421"/>
                </a:cubicBezTo>
                <a:cubicBezTo>
                  <a:pt x="250163" y="729605"/>
                  <a:pt x="248880" y="725752"/>
                  <a:pt x="247613" y="721883"/>
                </a:cubicBezTo>
                <a:cubicBezTo>
                  <a:pt x="245789" y="716328"/>
                  <a:pt x="243913" y="710939"/>
                  <a:pt x="241291" y="705644"/>
                </a:cubicBezTo>
                <a:cubicBezTo>
                  <a:pt x="238691" y="700096"/>
                  <a:pt x="238136" y="695685"/>
                  <a:pt x="237557" y="689735"/>
                </a:cubicBezTo>
                <a:cubicBezTo>
                  <a:pt x="244977" y="685507"/>
                  <a:pt x="244977" y="685507"/>
                  <a:pt x="248492" y="685507"/>
                </a:cubicBezTo>
                <a:cubicBezTo>
                  <a:pt x="248492" y="684112"/>
                  <a:pt x="248492" y="682717"/>
                  <a:pt x="248492" y="681279"/>
                </a:cubicBezTo>
                <a:cubicBezTo>
                  <a:pt x="245914" y="680815"/>
                  <a:pt x="243337" y="680350"/>
                  <a:pt x="240681" y="679870"/>
                </a:cubicBezTo>
                <a:cubicBezTo>
                  <a:pt x="240681" y="678940"/>
                  <a:pt x="240681" y="678010"/>
                  <a:pt x="240681" y="677052"/>
                </a:cubicBezTo>
                <a:cubicBezTo>
                  <a:pt x="239827" y="676917"/>
                  <a:pt x="238973" y="676783"/>
                  <a:pt x="238094" y="676645"/>
                </a:cubicBezTo>
                <a:cubicBezTo>
                  <a:pt x="233442" y="675371"/>
                  <a:pt x="229939" y="673242"/>
                  <a:pt x="225841" y="670886"/>
                </a:cubicBezTo>
                <a:cubicBezTo>
                  <a:pt x="217808" y="666564"/>
                  <a:pt x="210635" y="664241"/>
                  <a:pt x="201531" y="662508"/>
                </a:cubicBezTo>
                <a:cubicBezTo>
                  <a:pt x="196896" y="661541"/>
                  <a:pt x="192682" y="660199"/>
                  <a:pt x="188252" y="658644"/>
                </a:cubicBezTo>
                <a:lnTo>
                  <a:pt x="182431" y="657327"/>
                </a:lnTo>
                <a:lnTo>
                  <a:pt x="182431" y="657613"/>
                </a:lnTo>
                <a:cubicBezTo>
                  <a:pt x="170575" y="657148"/>
                  <a:pt x="158718" y="656683"/>
                  <a:pt x="146503" y="656204"/>
                </a:cubicBezTo>
                <a:cubicBezTo>
                  <a:pt x="146503" y="657133"/>
                  <a:pt x="146503" y="658064"/>
                  <a:pt x="146503" y="659022"/>
                </a:cubicBezTo>
                <a:cubicBezTo>
                  <a:pt x="134359" y="662326"/>
                  <a:pt x="123013" y="663700"/>
                  <a:pt x="110378" y="663778"/>
                </a:cubicBezTo>
                <a:cubicBezTo>
                  <a:pt x="108435" y="663806"/>
                  <a:pt x="108435" y="663806"/>
                  <a:pt x="106453" y="663836"/>
                </a:cubicBezTo>
                <a:cubicBezTo>
                  <a:pt x="105231" y="663828"/>
                  <a:pt x="104009" y="663820"/>
                  <a:pt x="102751" y="663811"/>
                </a:cubicBezTo>
                <a:cubicBezTo>
                  <a:pt x="101117" y="663804"/>
                  <a:pt x="101117" y="663804"/>
                  <a:pt x="99449" y="663797"/>
                </a:cubicBezTo>
                <a:cubicBezTo>
                  <a:pt x="95696" y="663097"/>
                  <a:pt x="94265" y="661615"/>
                  <a:pt x="91828" y="659022"/>
                </a:cubicBezTo>
                <a:cubicBezTo>
                  <a:pt x="93890" y="659022"/>
                  <a:pt x="95953" y="659022"/>
                  <a:pt x="98077" y="659022"/>
                </a:cubicBezTo>
                <a:cubicBezTo>
                  <a:pt x="98077" y="659952"/>
                  <a:pt x="98077" y="660882"/>
                  <a:pt x="98077" y="661841"/>
                </a:cubicBezTo>
                <a:cubicBezTo>
                  <a:pt x="108735" y="662045"/>
                  <a:pt x="114063" y="662148"/>
                  <a:pt x="119023" y="661357"/>
                </a:cubicBezTo>
                <a:lnTo>
                  <a:pt x="119536" y="661197"/>
                </a:lnTo>
                <a:lnTo>
                  <a:pt x="109853" y="661639"/>
                </a:lnTo>
                <a:cubicBezTo>
                  <a:pt x="108764" y="661632"/>
                  <a:pt x="107675" y="661626"/>
                  <a:pt x="106552" y="661619"/>
                </a:cubicBezTo>
                <a:cubicBezTo>
                  <a:pt x="103877" y="661603"/>
                  <a:pt x="101203" y="661577"/>
                  <a:pt x="98528" y="661550"/>
                </a:cubicBezTo>
                <a:cubicBezTo>
                  <a:pt x="98528" y="660620"/>
                  <a:pt x="98528" y="659691"/>
                  <a:pt x="98528" y="658732"/>
                </a:cubicBezTo>
                <a:cubicBezTo>
                  <a:pt x="95435" y="658267"/>
                  <a:pt x="92342" y="657802"/>
                  <a:pt x="89155" y="657323"/>
                </a:cubicBezTo>
                <a:cubicBezTo>
                  <a:pt x="89155" y="656393"/>
                  <a:pt x="89155" y="655462"/>
                  <a:pt x="89155" y="654504"/>
                </a:cubicBezTo>
                <a:cubicBezTo>
                  <a:pt x="87790" y="653978"/>
                  <a:pt x="87790" y="653978"/>
                  <a:pt x="86397" y="653442"/>
                </a:cubicBezTo>
                <a:cubicBezTo>
                  <a:pt x="82415" y="651438"/>
                  <a:pt x="80039" y="649232"/>
                  <a:pt x="77049" y="646137"/>
                </a:cubicBezTo>
                <a:cubicBezTo>
                  <a:pt x="75611" y="644679"/>
                  <a:pt x="75611" y="644679"/>
                  <a:pt x="74145" y="643192"/>
                </a:cubicBezTo>
                <a:cubicBezTo>
                  <a:pt x="71972" y="640412"/>
                  <a:pt x="71972" y="640412"/>
                  <a:pt x="71972" y="636185"/>
                </a:cubicBezTo>
                <a:cubicBezTo>
                  <a:pt x="70941" y="636185"/>
                  <a:pt x="69910" y="636185"/>
                  <a:pt x="68848" y="636185"/>
                </a:cubicBezTo>
                <a:cubicBezTo>
                  <a:pt x="64250" y="621928"/>
                  <a:pt x="64695" y="609404"/>
                  <a:pt x="70410" y="595317"/>
                </a:cubicBezTo>
                <a:cubicBezTo>
                  <a:pt x="73096" y="591142"/>
                  <a:pt x="76144" y="587574"/>
                  <a:pt x="79782" y="584043"/>
                </a:cubicBezTo>
                <a:cubicBezTo>
                  <a:pt x="81205" y="582594"/>
                  <a:pt x="81205" y="582594"/>
                  <a:pt x="82656" y="581115"/>
                </a:cubicBezTo>
                <a:cubicBezTo>
                  <a:pt x="91488" y="574027"/>
                  <a:pt x="105133" y="571806"/>
                  <a:pt x="116694" y="572323"/>
                </a:cubicBezTo>
                <a:cubicBezTo>
                  <a:pt x="131556" y="574113"/>
                  <a:pt x="142046" y="580551"/>
                  <a:pt x="152031" y="590385"/>
                </a:cubicBezTo>
                <a:cubicBezTo>
                  <a:pt x="162272" y="600009"/>
                  <a:pt x="176992" y="605062"/>
                  <a:pt x="191474" y="605886"/>
                </a:cubicBezTo>
                <a:cubicBezTo>
                  <a:pt x="196845" y="606192"/>
                  <a:pt x="201203" y="606463"/>
                  <a:pt x="206314" y="608000"/>
                </a:cubicBezTo>
                <a:cubicBezTo>
                  <a:pt x="206314" y="608930"/>
                  <a:pt x="206314" y="609860"/>
                  <a:pt x="206314" y="610818"/>
                </a:cubicBezTo>
                <a:cubicBezTo>
                  <a:pt x="215689" y="610902"/>
                  <a:pt x="225058" y="610898"/>
                  <a:pt x="234433" y="610818"/>
                </a:cubicBezTo>
                <a:cubicBezTo>
                  <a:pt x="236112" y="610813"/>
                  <a:pt x="237791" y="610808"/>
                  <a:pt x="239522" y="610802"/>
                </a:cubicBezTo>
                <a:cubicBezTo>
                  <a:pt x="251005" y="610364"/>
                  <a:pt x="259257" y="606564"/>
                  <a:pt x="268799" y="600954"/>
                </a:cubicBezTo>
                <a:cubicBezTo>
                  <a:pt x="269770" y="600416"/>
                  <a:pt x="270740" y="599879"/>
                  <a:pt x="271740" y="599325"/>
                </a:cubicBezTo>
                <a:cubicBezTo>
                  <a:pt x="279452" y="594430"/>
                  <a:pt x="281420" y="587464"/>
                  <a:pt x="284420" y="579816"/>
                </a:cubicBezTo>
                <a:cubicBezTo>
                  <a:pt x="286047" y="576075"/>
                  <a:pt x="287725" y="572353"/>
                  <a:pt x="289399" y="568630"/>
                </a:cubicBezTo>
                <a:cubicBezTo>
                  <a:pt x="294095" y="558121"/>
                  <a:pt x="299004" y="547070"/>
                  <a:pt x="293958" y="535838"/>
                </a:cubicBezTo>
                <a:cubicBezTo>
                  <a:pt x="292436" y="533533"/>
                  <a:pt x="290781" y="531301"/>
                  <a:pt x="289107" y="529084"/>
                </a:cubicBezTo>
                <a:cubicBezTo>
                  <a:pt x="289107" y="528153"/>
                  <a:pt x="289107" y="527223"/>
                  <a:pt x="289107" y="526265"/>
                </a:cubicBezTo>
                <a:cubicBezTo>
                  <a:pt x="287560" y="525800"/>
                  <a:pt x="286014" y="525335"/>
                  <a:pt x="284420" y="524856"/>
                </a:cubicBezTo>
                <a:cubicBezTo>
                  <a:pt x="283905" y="523461"/>
                  <a:pt x="283389" y="522066"/>
                  <a:pt x="282858" y="520628"/>
                </a:cubicBezTo>
                <a:cubicBezTo>
                  <a:pt x="280750" y="518590"/>
                  <a:pt x="280750" y="518590"/>
                  <a:pt x="277977" y="516577"/>
                </a:cubicBezTo>
                <a:cubicBezTo>
                  <a:pt x="273591" y="513232"/>
                  <a:pt x="269227" y="509874"/>
                  <a:pt x="264925" y="506443"/>
                </a:cubicBezTo>
                <a:cubicBezTo>
                  <a:pt x="253596" y="497433"/>
                  <a:pt x="242132" y="488987"/>
                  <a:pt x="229746" y="481170"/>
                </a:cubicBezTo>
                <a:cubicBezTo>
                  <a:pt x="226846" y="479266"/>
                  <a:pt x="223950" y="477358"/>
                  <a:pt x="221057" y="475445"/>
                </a:cubicBezTo>
                <a:cubicBezTo>
                  <a:pt x="218227" y="473594"/>
                  <a:pt x="215396" y="471744"/>
                  <a:pt x="212563" y="469896"/>
                </a:cubicBezTo>
                <a:cubicBezTo>
                  <a:pt x="211351" y="469102"/>
                  <a:pt x="210138" y="468309"/>
                  <a:pt x="208889" y="467491"/>
                </a:cubicBezTo>
                <a:cubicBezTo>
                  <a:pt x="202848" y="463599"/>
                  <a:pt x="196732" y="459888"/>
                  <a:pt x="190406" y="456382"/>
                </a:cubicBezTo>
                <a:cubicBezTo>
                  <a:pt x="189263" y="455748"/>
                  <a:pt x="188119" y="455114"/>
                  <a:pt x="186942" y="454460"/>
                </a:cubicBezTo>
                <a:cubicBezTo>
                  <a:pt x="184648" y="453196"/>
                  <a:pt x="182348" y="451941"/>
                  <a:pt x="180041" y="450696"/>
                </a:cubicBezTo>
                <a:cubicBezTo>
                  <a:pt x="177292" y="449185"/>
                  <a:pt x="174612" y="447571"/>
                  <a:pt x="171948" y="445940"/>
                </a:cubicBezTo>
                <a:cubicBezTo>
                  <a:pt x="171948" y="445009"/>
                  <a:pt x="171948" y="444079"/>
                  <a:pt x="171948" y="443121"/>
                </a:cubicBezTo>
                <a:cubicBezTo>
                  <a:pt x="170804" y="442985"/>
                  <a:pt x="169660" y="442848"/>
                  <a:pt x="168482" y="442708"/>
                </a:cubicBezTo>
                <a:cubicBezTo>
                  <a:pt x="163547" y="441576"/>
                  <a:pt x="161063" y="439897"/>
                  <a:pt x="157107" y="437044"/>
                </a:cubicBezTo>
                <a:cubicBezTo>
                  <a:pt x="149345" y="431895"/>
                  <a:pt x="141843" y="429626"/>
                  <a:pt x="132559" y="427510"/>
                </a:cubicBezTo>
                <a:cubicBezTo>
                  <a:pt x="128067" y="426168"/>
                  <a:pt x="126607" y="425060"/>
                  <a:pt x="123522" y="421983"/>
                </a:cubicBezTo>
                <a:cubicBezTo>
                  <a:pt x="118310" y="419033"/>
                  <a:pt x="114076" y="418794"/>
                  <a:pt x="107986" y="418730"/>
                </a:cubicBezTo>
                <a:cubicBezTo>
                  <a:pt x="106174" y="418694"/>
                  <a:pt x="104362" y="418659"/>
                  <a:pt x="102494" y="418622"/>
                </a:cubicBezTo>
                <a:cubicBezTo>
                  <a:pt x="98715" y="418573"/>
                  <a:pt x="94936" y="418529"/>
                  <a:pt x="91157" y="418490"/>
                </a:cubicBezTo>
                <a:cubicBezTo>
                  <a:pt x="78470" y="418231"/>
                  <a:pt x="65485" y="417940"/>
                  <a:pt x="55277" y="410445"/>
                </a:cubicBezTo>
                <a:cubicBezTo>
                  <a:pt x="54084" y="409137"/>
                  <a:pt x="52893" y="407829"/>
                  <a:pt x="51665" y="406481"/>
                </a:cubicBezTo>
                <a:cubicBezTo>
                  <a:pt x="49752" y="404480"/>
                  <a:pt x="47831" y="402483"/>
                  <a:pt x="45904" y="400492"/>
                </a:cubicBezTo>
                <a:cubicBezTo>
                  <a:pt x="44996" y="399526"/>
                  <a:pt x="44088" y="398559"/>
                  <a:pt x="43152" y="397564"/>
                </a:cubicBezTo>
                <a:cubicBezTo>
                  <a:pt x="40865" y="395062"/>
                  <a:pt x="40865" y="395062"/>
                  <a:pt x="37605" y="393798"/>
                </a:cubicBezTo>
                <a:lnTo>
                  <a:pt x="38995" y="368712"/>
                </a:lnTo>
                <a:lnTo>
                  <a:pt x="38666" y="369724"/>
                </a:lnTo>
                <a:cubicBezTo>
                  <a:pt x="37003" y="374506"/>
                  <a:pt x="36202" y="379113"/>
                  <a:pt x="35542" y="384081"/>
                </a:cubicBezTo>
                <a:cubicBezTo>
                  <a:pt x="30313" y="376119"/>
                  <a:pt x="31188" y="366593"/>
                  <a:pt x="33326" y="357791"/>
                </a:cubicBezTo>
                <a:cubicBezTo>
                  <a:pt x="37176" y="347767"/>
                  <a:pt x="44536" y="340769"/>
                  <a:pt x="52725" y="333349"/>
                </a:cubicBezTo>
                <a:lnTo>
                  <a:pt x="55222" y="334475"/>
                </a:lnTo>
                <a:lnTo>
                  <a:pt x="56222" y="333347"/>
                </a:lnTo>
                <a:lnTo>
                  <a:pt x="55871" y="333347"/>
                </a:lnTo>
                <a:lnTo>
                  <a:pt x="56346" y="333207"/>
                </a:lnTo>
                <a:lnTo>
                  <a:pt x="56351" y="333202"/>
                </a:lnTo>
                <a:lnTo>
                  <a:pt x="56365" y="333202"/>
                </a:lnTo>
                <a:lnTo>
                  <a:pt x="79571" y="326360"/>
                </a:lnTo>
                <a:cubicBezTo>
                  <a:pt x="87782" y="326037"/>
                  <a:pt x="96164" y="327572"/>
                  <a:pt x="104297" y="330529"/>
                </a:cubicBezTo>
                <a:lnTo>
                  <a:pt x="107170" y="334417"/>
                </a:lnTo>
                <a:lnTo>
                  <a:pt x="109366" y="336046"/>
                </a:lnTo>
                <a:lnTo>
                  <a:pt x="109463" y="336020"/>
                </a:lnTo>
                <a:lnTo>
                  <a:pt x="109463" y="336118"/>
                </a:lnTo>
                <a:lnTo>
                  <a:pt x="115226" y="340394"/>
                </a:lnTo>
                <a:lnTo>
                  <a:pt x="114010" y="340120"/>
                </a:lnTo>
                <a:lnTo>
                  <a:pt x="133285" y="357423"/>
                </a:lnTo>
                <a:cubicBezTo>
                  <a:pt x="142471" y="373187"/>
                  <a:pt x="155564" y="382744"/>
                  <a:pt x="173509" y="389571"/>
                </a:cubicBezTo>
                <a:cubicBezTo>
                  <a:pt x="176254" y="390785"/>
                  <a:pt x="178988" y="392017"/>
                  <a:pt x="181711" y="393270"/>
                </a:cubicBezTo>
                <a:cubicBezTo>
                  <a:pt x="182964" y="393833"/>
                  <a:pt x="184216" y="394396"/>
                  <a:pt x="185507" y="394976"/>
                </a:cubicBezTo>
                <a:cubicBezTo>
                  <a:pt x="187897" y="396058"/>
                  <a:pt x="190281" y="397151"/>
                  <a:pt x="192658" y="398257"/>
                </a:cubicBezTo>
                <a:cubicBezTo>
                  <a:pt x="193749" y="398762"/>
                  <a:pt x="194841" y="399267"/>
                  <a:pt x="195966" y="399788"/>
                </a:cubicBezTo>
                <a:cubicBezTo>
                  <a:pt x="196912" y="400231"/>
                  <a:pt x="197858" y="400674"/>
                  <a:pt x="198833" y="401131"/>
                </a:cubicBezTo>
                <a:cubicBezTo>
                  <a:pt x="201808" y="402326"/>
                  <a:pt x="204701" y="403032"/>
                  <a:pt x="207877" y="403663"/>
                </a:cubicBezTo>
                <a:cubicBezTo>
                  <a:pt x="207877" y="404593"/>
                  <a:pt x="207877" y="405523"/>
                  <a:pt x="207877" y="406481"/>
                </a:cubicBezTo>
                <a:cubicBezTo>
                  <a:pt x="221233" y="411377"/>
                  <a:pt x="234752" y="415503"/>
                  <a:pt x="248492" y="419428"/>
                </a:cubicBezTo>
                <a:cubicBezTo>
                  <a:pt x="250298" y="419947"/>
                  <a:pt x="252104" y="420466"/>
                  <a:pt x="253965" y="421000"/>
                </a:cubicBezTo>
                <a:cubicBezTo>
                  <a:pt x="258388" y="422270"/>
                  <a:pt x="262812" y="423537"/>
                  <a:pt x="267237" y="424801"/>
                </a:cubicBezTo>
                <a:lnTo>
                  <a:pt x="267237" y="426451"/>
                </a:lnTo>
                <a:lnTo>
                  <a:pt x="288701" y="429217"/>
                </a:lnTo>
                <a:cubicBezTo>
                  <a:pt x="288701" y="430147"/>
                  <a:pt x="288701" y="431078"/>
                  <a:pt x="288701" y="432036"/>
                </a:cubicBezTo>
                <a:cubicBezTo>
                  <a:pt x="301487" y="433472"/>
                  <a:pt x="314148" y="433662"/>
                  <a:pt x="327010" y="433628"/>
                </a:cubicBezTo>
                <a:cubicBezTo>
                  <a:pt x="330502" y="433621"/>
                  <a:pt x="333994" y="433628"/>
                  <a:pt x="337486" y="433637"/>
                </a:cubicBezTo>
                <a:cubicBezTo>
                  <a:pt x="339734" y="433637"/>
                  <a:pt x="341982" y="433635"/>
                  <a:pt x="344229" y="433632"/>
                </a:cubicBezTo>
                <a:cubicBezTo>
                  <a:pt x="347246" y="433630"/>
                  <a:pt x="347246" y="433630"/>
                  <a:pt x="350323" y="433627"/>
                </a:cubicBezTo>
                <a:cubicBezTo>
                  <a:pt x="355445" y="433459"/>
                  <a:pt x="360220" y="432915"/>
                  <a:pt x="365245" y="432036"/>
                </a:cubicBezTo>
                <a:lnTo>
                  <a:pt x="360797" y="433759"/>
                </a:lnTo>
                <a:lnTo>
                  <a:pt x="365650" y="433257"/>
                </a:lnTo>
                <a:cubicBezTo>
                  <a:pt x="366166" y="431861"/>
                  <a:pt x="366682" y="430466"/>
                  <a:pt x="367213" y="429029"/>
                </a:cubicBezTo>
                <a:cubicBezTo>
                  <a:pt x="369854" y="427628"/>
                  <a:pt x="372501" y="426234"/>
                  <a:pt x="375188" y="424906"/>
                </a:cubicBezTo>
                <a:cubicBezTo>
                  <a:pt x="390245" y="417204"/>
                  <a:pt x="397438" y="403183"/>
                  <a:pt x="404704" y="389571"/>
                </a:cubicBezTo>
                <a:cubicBezTo>
                  <a:pt x="405219" y="389105"/>
                  <a:pt x="405734" y="388641"/>
                  <a:pt x="406265" y="388161"/>
                </a:cubicBezTo>
                <a:cubicBezTo>
                  <a:pt x="406663" y="382152"/>
                  <a:pt x="406555" y="376125"/>
                  <a:pt x="406559" y="370106"/>
                </a:cubicBezTo>
                <a:cubicBezTo>
                  <a:pt x="406578" y="368412"/>
                  <a:pt x="406597" y="366718"/>
                  <a:pt x="406617" y="364973"/>
                </a:cubicBezTo>
                <a:cubicBezTo>
                  <a:pt x="406620" y="363344"/>
                  <a:pt x="406622" y="361715"/>
                  <a:pt x="406626" y="360038"/>
                </a:cubicBezTo>
                <a:cubicBezTo>
                  <a:pt x="406632" y="358541"/>
                  <a:pt x="406638" y="357045"/>
                  <a:pt x="406645" y="355503"/>
                </a:cubicBezTo>
                <a:cubicBezTo>
                  <a:pt x="406264" y="351503"/>
                  <a:pt x="405326" y="349318"/>
                  <a:pt x="403142" y="345885"/>
                </a:cubicBezTo>
                <a:cubicBezTo>
                  <a:pt x="402583" y="343484"/>
                  <a:pt x="402067" y="341075"/>
                  <a:pt x="401579" y="338663"/>
                </a:cubicBezTo>
                <a:cubicBezTo>
                  <a:pt x="399365" y="330323"/>
                  <a:pt x="395538" y="323370"/>
                  <a:pt x="390938" y="315939"/>
                </a:cubicBezTo>
                <a:cubicBezTo>
                  <a:pt x="390290" y="314890"/>
                  <a:pt x="389642" y="313842"/>
                  <a:pt x="388976" y="312762"/>
                </a:cubicBezTo>
                <a:cubicBezTo>
                  <a:pt x="385623" y="307500"/>
                  <a:pt x="382070" y="302607"/>
                  <a:pt x="377934" y="297817"/>
                </a:cubicBezTo>
                <a:cubicBezTo>
                  <a:pt x="373788" y="292978"/>
                  <a:pt x="371423" y="288111"/>
                  <a:pt x="368775" y="282470"/>
                </a:cubicBezTo>
                <a:cubicBezTo>
                  <a:pt x="366035" y="278585"/>
                  <a:pt x="362994" y="274937"/>
                  <a:pt x="359890" y="271284"/>
                </a:cubicBezTo>
                <a:cubicBezTo>
                  <a:pt x="359059" y="270296"/>
                  <a:pt x="358230" y="269307"/>
                  <a:pt x="357374" y="268288"/>
                </a:cubicBezTo>
                <a:cubicBezTo>
                  <a:pt x="351312" y="261177"/>
                  <a:pt x="344882" y="254704"/>
                  <a:pt x="337533" y="248649"/>
                </a:cubicBezTo>
                <a:cubicBezTo>
                  <a:pt x="336767" y="247896"/>
                  <a:pt x="336002" y="247144"/>
                  <a:pt x="335214" y="246369"/>
                </a:cubicBezTo>
                <a:cubicBezTo>
                  <a:pt x="332597" y="243963"/>
                  <a:pt x="332597" y="243963"/>
                  <a:pt x="327085" y="242571"/>
                </a:cubicBezTo>
                <a:cubicBezTo>
                  <a:pt x="309670" y="236923"/>
                  <a:pt x="296614" y="222751"/>
                  <a:pt x="288785" y="207968"/>
                </a:cubicBezTo>
                <a:cubicBezTo>
                  <a:pt x="286673" y="202851"/>
                  <a:pt x="286348" y="197968"/>
                  <a:pt x="286373" y="192544"/>
                </a:cubicBezTo>
                <a:cubicBezTo>
                  <a:pt x="286377" y="191437"/>
                  <a:pt x="286381" y="190330"/>
                  <a:pt x="286385" y="189190"/>
                </a:cubicBezTo>
                <a:cubicBezTo>
                  <a:pt x="286881" y="178340"/>
                  <a:pt x="291581" y="171728"/>
                  <a:pt x="300042" y="164095"/>
                </a:cubicBezTo>
                <a:cubicBezTo>
                  <a:pt x="301386" y="162752"/>
                  <a:pt x="301386" y="162752"/>
                  <a:pt x="302757" y="161381"/>
                </a:cubicBezTo>
                <a:cubicBezTo>
                  <a:pt x="312597" y="152504"/>
                  <a:pt x="325185" y="152675"/>
                  <a:pt x="338411" y="152293"/>
                </a:cubicBezTo>
                <a:cubicBezTo>
                  <a:pt x="350839" y="152463"/>
                  <a:pt x="359094" y="154554"/>
                  <a:pt x="368482" y="161893"/>
                </a:cubicBezTo>
                <a:cubicBezTo>
                  <a:pt x="369609" y="163085"/>
                  <a:pt x="370737" y="164277"/>
                  <a:pt x="371899" y="165505"/>
                </a:cubicBezTo>
                <a:cubicBezTo>
                  <a:pt x="372962" y="166522"/>
                  <a:pt x="374026" y="167539"/>
                  <a:pt x="375121" y="168587"/>
                </a:cubicBezTo>
                <a:cubicBezTo>
                  <a:pt x="381050" y="176351"/>
                  <a:pt x="384520" y="184328"/>
                  <a:pt x="384982" y="193777"/>
                </a:cubicBezTo>
                <a:cubicBezTo>
                  <a:pt x="385464" y="201192"/>
                  <a:pt x="387638" y="207607"/>
                  <a:pt x="390352" y="214563"/>
                </a:cubicBezTo>
                <a:cubicBezTo>
                  <a:pt x="390934" y="216079"/>
                  <a:pt x="390934" y="216079"/>
                  <a:pt x="391529" y="217626"/>
                </a:cubicBezTo>
                <a:cubicBezTo>
                  <a:pt x="394082" y="223926"/>
                  <a:pt x="397412" y="228969"/>
                  <a:pt x="401579" y="234556"/>
                </a:cubicBezTo>
                <a:cubicBezTo>
                  <a:pt x="401579" y="235952"/>
                  <a:pt x="401579" y="237347"/>
                  <a:pt x="401579" y="238784"/>
                </a:cubicBezTo>
                <a:cubicBezTo>
                  <a:pt x="402884" y="239263"/>
                  <a:pt x="402884" y="239263"/>
                  <a:pt x="404215" y="239753"/>
                </a:cubicBezTo>
                <a:cubicBezTo>
                  <a:pt x="410099" y="242765"/>
                  <a:pt x="414395" y="246733"/>
                  <a:pt x="417811" y="251996"/>
                </a:cubicBezTo>
                <a:cubicBezTo>
                  <a:pt x="420462" y="255897"/>
                  <a:pt x="423407" y="258959"/>
                  <a:pt x="426866" y="262300"/>
                </a:cubicBezTo>
                <a:cubicBezTo>
                  <a:pt x="435101" y="270407"/>
                  <a:pt x="442641" y="278936"/>
                  <a:pt x="450097" y="287628"/>
                </a:cubicBezTo>
                <a:cubicBezTo>
                  <a:pt x="453081" y="291117"/>
                  <a:pt x="453081" y="291117"/>
                  <a:pt x="457425" y="293920"/>
                </a:cubicBezTo>
                <a:cubicBezTo>
                  <a:pt x="458585" y="294792"/>
                  <a:pt x="459745" y="295664"/>
                  <a:pt x="460940" y="296562"/>
                </a:cubicBezTo>
                <a:cubicBezTo>
                  <a:pt x="460940" y="297957"/>
                  <a:pt x="460940" y="299352"/>
                  <a:pt x="460940" y="300790"/>
                </a:cubicBezTo>
                <a:cubicBezTo>
                  <a:pt x="465063" y="302782"/>
                  <a:pt x="468862" y="304133"/>
                  <a:pt x="473437" y="305018"/>
                </a:cubicBezTo>
                <a:cubicBezTo>
                  <a:pt x="473437" y="305947"/>
                  <a:pt x="473437" y="306877"/>
                  <a:pt x="473437" y="307836"/>
                </a:cubicBezTo>
                <a:cubicBezTo>
                  <a:pt x="475581" y="308519"/>
                  <a:pt x="477730" y="309193"/>
                  <a:pt x="479881" y="309862"/>
                </a:cubicBezTo>
                <a:cubicBezTo>
                  <a:pt x="481077" y="310237"/>
                  <a:pt x="482273" y="310614"/>
                  <a:pt x="483505" y="311001"/>
                </a:cubicBezTo>
                <a:cubicBezTo>
                  <a:pt x="505448" y="316843"/>
                  <a:pt x="527690" y="314359"/>
                  <a:pt x="548419" y="306427"/>
                </a:cubicBezTo>
                <a:cubicBezTo>
                  <a:pt x="549548" y="305998"/>
                  <a:pt x="550678" y="305569"/>
                  <a:pt x="551842" y="305127"/>
                </a:cubicBezTo>
                <a:cubicBezTo>
                  <a:pt x="555376" y="303227"/>
                  <a:pt x="557584" y="300980"/>
                  <a:pt x="560232" y="298148"/>
                </a:cubicBezTo>
                <a:cubicBezTo>
                  <a:pt x="561137" y="297192"/>
                  <a:pt x="562041" y="296236"/>
                  <a:pt x="562972" y="295252"/>
                </a:cubicBezTo>
                <a:cubicBezTo>
                  <a:pt x="564755" y="293274"/>
                  <a:pt x="566459" y="291237"/>
                  <a:pt x="568086" y="289152"/>
                </a:cubicBezTo>
                <a:cubicBezTo>
                  <a:pt x="568813" y="288342"/>
                  <a:pt x="569539" y="287532"/>
                  <a:pt x="570289" y="286697"/>
                </a:cubicBezTo>
                <a:cubicBezTo>
                  <a:pt x="571319" y="286697"/>
                  <a:pt x="572350" y="286697"/>
                  <a:pt x="573413" y="286697"/>
                </a:cubicBezTo>
                <a:cubicBezTo>
                  <a:pt x="577408" y="276984"/>
                  <a:pt x="577197" y="267284"/>
                  <a:pt x="577220" y="257016"/>
                </a:cubicBezTo>
                <a:cubicBezTo>
                  <a:pt x="577227" y="255625"/>
                  <a:pt x="577227" y="255625"/>
                  <a:pt x="577235" y="254206"/>
                </a:cubicBezTo>
                <a:cubicBezTo>
                  <a:pt x="577257" y="237553"/>
                  <a:pt x="574604" y="222055"/>
                  <a:pt x="569443" y="206049"/>
                </a:cubicBezTo>
                <a:cubicBezTo>
                  <a:pt x="568726" y="203553"/>
                  <a:pt x="568726" y="203553"/>
                  <a:pt x="568726" y="200735"/>
                </a:cubicBezTo>
                <a:cubicBezTo>
                  <a:pt x="567695" y="200735"/>
                  <a:pt x="566664" y="200735"/>
                  <a:pt x="565602" y="200735"/>
                </a:cubicBezTo>
                <a:cubicBezTo>
                  <a:pt x="563274" y="195295"/>
                  <a:pt x="561092" y="190108"/>
                  <a:pt x="559549" y="184441"/>
                </a:cubicBezTo>
                <a:cubicBezTo>
                  <a:pt x="555572" y="173477"/>
                  <a:pt x="547043" y="167105"/>
                  <a:pt x="537484" y="159867"/>
                </a:cubicBezTo>
                <a:cubicBezTo>
                  <a:pt x="533579" y="156609"/>
                  <a:pt x="533579" y="156609"/>
                  <a:pt x="531235" y="154230"/>
                </a:cubicBezTo>
                <a:cubicBezTo>
                  <a:pt x="531235" y="153301"/>
                  <a:pt x="531235" y="152371"/>
                  <a:pt x="531235" y="151412"/>
                </a:cubicBezTo>
                <a:cubicBezTo>
                  <a:pt x="529689" y="150947"/>
                  <a:pt x="528143" y="150482"/>
                  <a:pt x="526549" y="150003"/>
                </a:cubicBezTo>
                <a:cubicBezTo>
                  <a:pt x="519904" y="137298"/>
                  <a:pt x="519105" y="120357"/>
                  <a:pt x="524304" y="107198"/>
                </a:cubicBezTo>
                <a:cubicBezTo>
                  <a:pt x="529443" y="97376"/>
                  <a:pt x="535781" y="90193"/>
                  <a:pt x="547052" y="85972"/>
                </a:cubicBezTo>
                <a:cubicBezTo>
                  <a:pt x="559924" y="81835"/>
                  <a:pt x="575221" y="79746"/>
                  <a:pt x="588460" y="83538"/>
                </a:cubicBezTo>
                <a:cubicBezTo>
                  <a:pt x="601643" y="89713"/>
                  <a:pt x="611835" y="99450"/>
                  <a:pt x="617152" y="111954"/>
                </a:cubicBezTo>
                <a:cubicBezTo>
                  <a:pt x="617935" y="116052"/>
                  <a:pt x="617954" y="120024"/>
                  <a:pt x="617884" y="124175"/>
                </a:cubicBezTo>
                <a:cubicBezTo>
                  <a:pt x="617896" y="125307"/>
                  <a:pt x="617906" y="126440"/>
                  <a:pt x="617917" y="127607"/>
                </a:cubicBezTo>
                <a:cubicBezTo>
                  <a:pt x="617963" y="132394"/>
                  <a:pt x="617938" y="137181"/>
                  <a:pt x="617919" y="141969"/>
                </a:cubicBezTo>
                <a:cubicBezTo>
                  <a:pt x="617899" y="160184"/>
                  <a:pt x="619422" y="175572"/>
                  <a:pt x="630625" y="191311"/>
                </a:cubicBezTo>
                <a:cubicBezTo>
                  <a:pt x="633753" y="195891"/>
                  <a:pt x="636431" y="199900"/>
                  <a:pt x="637850" y="205139"/>
                </a:cubicBezTo>
                <a:cubicBezTo>
                  <a:pt x="638615" y="209623"/>
                  <a:pt x="638615" y="209623"/>
                  <a:pt x="643708" y="212009"/>
                </a:cubicBezTo>
                <a:cubicBezTo>
                  <a:pt x="645380" y="214563"/>
                  <a:pt x="645380" y="214563"/>
                  <a:pt x="647027" y="217645"/>
                </a:cubicBezTo>
                <a:cubicBezTo>
                  <a:pt x="652549" y="227016"/>
                  <a:pt x="660443" y="235696"/>
                  <a:pt x="670264" y="241603"/>
                </a:cubicBezTo>
                <a:cubicBezTo>
                  <a:pt x="670264" y="242532"/>
                  <a:pt x="670264" y="243462"/>
                  <a:pt x="670264" y="244421"/>
                </a:cubicBezTo>
                <a:cubicBezTo>
                  <a:pt x="672036" y="244857"/>
                  <a:pt x="673808" y="245293"/>
                  <a:pt x="675634" y="245742"/>
                </a:cubicBezTo>
                <a:cubicBezTo>
                  <a:pt x="681199" y="247239"/>
                  <a:pt x="681199" y="247239"/>
                  <a:pt x="682761" y="248649"/>
                </a:cubicBezTo>
                <a:cubicBezTo>
                  <a:pt x="704487" y="252065"/>
                  <a:pt x="732606" y="256402"/>
                  <a:pt x="752092" y="245076"/>
                </a:cubicBezTo>
                <a:cubicBezTo>
                  <a:pt x="754252" y="243599"/>
                  <a:pt x="756372" y="242073"/>
                  <a:pt x="758433" y="240485"/>
                </a:cubicBezTo>
                <a:cubicBezTo>
                  <a:pt x="760867" y="238784"/>
                  <a:pt x="760867" y="238784"/>
                  <a:pt x="763991" y="238784"/>
                </a:cubicBezTo>
                <a:cubicBezTo>
                  <a:pt x="764647" y="237296"/>
                  <a:pt x="764647" y="237296"/>
                  <a:pt x="765315" y="235778"/>
                </a:cubicBezTo>
                <a:cubicBezTo>
                  <a:pt x="767151" y="231659"/>
                  <a:pt x="769030" y="227557"/>
                  <a:pt x="770923" y="223459"/>
                </a:cubicBezTo>
                <a:cubicBezTo>
                  <a:pt x="771608" y="221966"/>
                  <a:pt x="772292" y="220472"/>
                  <a:pt x="772998" y="218934"/>
                </a:cubicBezTo>
                <a:cubicBezTo>
                  <a:pt x="774429" y="215885"/>
                  <a:pt x="775968" y="212878"/>
                  <a:pt x="777562" y="209895"/>
                </a:cubicBezTo>
                <a:cubicBezTo>
                  <a:pt x="787607" y="185732"/>
                  <a:pt x="788559" y="149501"/>
                  <a:pt x="781175" y="124637"/>
                </a:cubicBezTo>
                <a:cubicBezTo>
                  <a:pt x="780144" y="124637"/>
                  <a:pt x="779113" y="124637"/>
                  <a:pt x="778051" y="124637"/>
                </a:cubicBezTo>
                <a:cubicBezTo>
                  <a:pt x="768501" y="110080"/>
                  <a:pt x="762898" y="96653"/>
                  <a:pt x="767116" y="79542"/>
                </a:cubicBezTo>
                <a:cubicBezTo>
                  <a:pt x="772286" y="69057"/>
                  <a:pt x="781456" y="58252"/>
                  <a:pt x="793379" y="54000"/>
                </a:cubicBezTo>
                <a:cubicBezTo>
                  <a:pt x="808369" y="49250"/>
                  <a:pt x="826058" y="49579"/>
                  <a:pt x="840688" y="55503"/>
                </a:cubicBezTo>
                <a:cubicBezTo>
                  <a:pt x="845183" y="57759"/>
                  <a:pt x="848037" y="60575"/>
                  <a:pt x="851470" y="64040"/>
                </a:cubicBezTo>
                <a:cubicBezTo>
                  <a:pt x="852721" y="65272"/>
                  <a:pt x="852721" y="65272"/>
                  <a:pt x="853997" y="66529"/>
                </a:cubicBezTo>
                <a:cubicBezTo>
                  <a:pt x="858396" y="71505"/>
                  <a:pt x="860490" y="76640"/>
                  <a:pt x="861488" y="82057"/>
                </a:cubicBezTo>
                <a:lnTo>
                  <a:pt x="861937" y="90492"/>
                </a:lnTo>
                <a:lnTo>
                  <a:pt x="863826" y="100715"/>
                </a:lnTo>
                <a:cubicBezTo>
                  <a:pt x="862141" y="107853"/>
                  <a:pt x="859866" y="114857"/>
                  <a:pt x="857577" y="121853"/>
                </a:cubicBezTo>
                <a:cubicBezTo>
                  <a:pt x="857062" y="121853"/>
                  <a:pt x="856547" y="121853"/>
                  <a:pt x="856015" y="121853"/>
                </a:cubicBezTo>
                <a:cubicBezTo>
                  <a:pt x="855731" y="120401"/>
                  <a:pt x="855731" y="120401"/>
                  <a:pt x="855442" y="118919"/>
                </a:cubicBezTo>
                <a:lnTo>
                  <a:pt x="855417" y="118798"/>
                </a:lnTo>
                <a:lnTo>
                  <a:pt x="856157" y="124637"/>
                </a:lnTo>
                <a:lnTo>
                  <a:pt x="850623" y="134701"/>
                </a:lnTo>
                <a:lnTo>
                  <a:pt x="851325" y="135968"/>
                </a:lnTo>
                <a:cubicBezTo>
                  <a:pt x="850851" y="137246"/>
                  <a:pt x="850376" y="138525"/>
                  <a:pt x="849886" y="139843"/>
                </a:cubicBezTo>
                <a:cubicBezTo>
                  <a:pt x="848171" y="144505"/>
                  <a:pt x="847798" y="148002"/>
                  <a:pt x="847786" y="152889"/>
                </a:cubicBezTo>
                <a:cubicBezTo>
                  <a:pt x="847779" y="154500"/>
                  <a:pt x="847773" y="156109"/>
                  <a:pt x="847767" y="157768"/>
                </a:cubicBezTo>
                <a:cubicBezTo>
                  <a:pt x="847782" y="159468"/>
                  <a:pt x="847796" y="161167"/>
                  <a:pt x="847810" y="162919"/>
                </a:cubicBezTo>
                <a:cubicBezTo>
                  <a:pt x="847821" y="165546"/>
                  <a:pt x="847821" y="165546"/>
                  <a:pt x="847832" y="168227"/>
                </a:cubicBezTo>
                <a:cubicBezTo>
                  <a:pt x="847980" y="181934"/>
                  <a:pt x="849003" y="195419"/>
                  <a:pt x="850903" y="209013"/>
                </a:cubicBezTo>
                <a:lnTo>
                  <a:pt x="852880" y="224692"/>
                </a:lnTo>
                <a:lnTo>
                  <a:pt x="854595" y="224692"/>
                </a:lnTo>
                <a:cubicBezTo>
                  <a:pt x="855086" y="225542"/>
                  <a:pt x="855577" y="226392"/>
                  <a:pt x="856083" y="227268"/>
                </a:cubicBezTo>
                <a:cubicBezTo>
                  <a:pt x="862358" y="237839"/>
                  <a:pt x="866924" y="242785"/>
                  <a:pt x="879588" y="247239"/>
                </a:cubicBezTo>
                <a:cubicBezTo>
                  <a:pt x="881642" y="248025"/>
                  <a:pt x="883692" y="248817"/>
                  <a:pt x="885739" y="249618"/>
                </a:cubicBezTo>
                <a:cubicBezTo>
                  <a:pt x="887318" y="250227"/>
                  <a:pt x="888897" y="250838"/>
                  <a:pt x="890523" y="251467"/>
                </a:cubicBezTo>
                <a:cubicBezTo>
                  <a:pt x="890523" y="252397"/>
                  <a:pt x="890523" y="253327"/>
                  <a:pt x="890523" y="254285"/>
                </a:cubicBezTo>
                <a:cubicBezTo>
                  <a:pt x="900347" y="257061"/>
                  <a:pt x="910127" y="259425"/>
                  <a:pt x="920203" y="261332"/>
                </a:cubicBezTo>
                <a:cubicBezTo>
                  <a:pt x="920203" y="261796"/>
                  <a:pt x="920203" y="262262"/>
                  <a:pt x="920203" y="262741"/>
                </a:cubicBezTo>
                <a:cubicBezTo>
                  <a:pt x="917111" y="262741"/>
                  <a:pt x="914018" y="262741"/>
                  <a:pt x="910831" y="262741"/>
                </a:cubicBezTo>
                <a:lnTo>
                  <a:pt x="910831" y="262864"/>
                </a:lnTo>
                <a:lnTo>
                  <a:pt x="927993" y="264177"/>
                </a:lnTo>
                <a:lnTo>
                  <a:pt x="939273" y="265285"/>
                </a:lnTo>
                <a:lnTo>
                  <a:pt x="940456" y="265191"/>
                </a:lnTo>
                <a:cubicBezTo>
                  <a:pt x="962552" y="263054"/>
                  <a:pt x="974979" y="255295"/>
                  <a:pt x="991622" y="242329"/>
                </a:cubicBezTo>
                <a:lnTo>
                  <a:pt x="1000803" y="236505"/>
                </a:lnTo>
                <a:lnTo>
                  <a:pt x="999806" y="236055"/>
                </a:lnTo>
                <a:cubicBezTo>
                  <a:pt x="1000902" y="234997"/>
                  <a:pt x="1001997" y="233941"/>
                  <a:pt x="1003126" y="232851"/>
                </a:cubicBezTo>
                <a:cubicBezTo>
                  <a:pt x="1012364" y="223880"/>
                  <a:pt x="1021184" y="214752"/>
                  <a:pt x="1029487" y="205052"/>
                </a:cubicBezTo>
                <a:lnTo>
                  <a:pt x="1029872" y="206442"/>
                </a:lnTo>
                <a:lnTo>
                  <a:pt x="1031614" y="203719"/>
                </a:lnTo>
                <a:cubicBezTo>
                  <a:pt x="1033221" y="199204"/>
                  <a:pt x="1035713" y="196017"/>
                  <a:pt x="1038924" y="192280"/>
                </a:cubicBezTo>
                <a:cubicBezTo>
                  <a:pt x="1039956" y="191815"/>
                  <a:pt x="1040987" y="191349"/>
                  <a:pt x="1042049" y="190870"/>
                </a:cubicBezTo>
                <a:cubicBezTo>
                  <a:pt x="1043161" y="188473"/>
                  <a:pt x="1043161" y="188473"/>
                  <a:pt x="1044294" y="186026"/>
                </a:cubicBezTo>
                <a:cubicBezTo>
                  <a:pt x="1046735" y="181006"/>
                  <a:pt x="1046735" y="181006"/>
                  <a:pt x="1051422" y="178188"/>
                </a:cubicBezTo>
                <a:cubicBezTo>
                  <a:pt x="1052553" y="175286"/>
                  <a:pt x="1052553" y="175286"/>
                  <a:pt x="1052984" y="172551"/>
                </a:cubicBezTo>
                <a:cubicBezTo>
                  <a:pt x="1054014" y="172551"/>
                  <a:pt x="1055046" y="172551"/>
                  <a:pt x="1056108" y="172551"/>
                </a:cubicBezTo>
                <a:cubicBezTo>
                  <a:pt x="1057139" y="169295"/>
                  <a:pt x="1058170" y="166040"/>
                  <a:pt x="1059232" y="162686"/>
                </a:cubicBezTo>
                <a:cubicBezTo>
                  <a:pt x="1060263" y="162686"/>
                  <a:pt x="1061295" y="162686"/>
                  <a:pt x="1062357" y="162686"/>
                </a:cubicBezTo>
                <a:cubicBezTo>
                  <a:pt x="1062755" y="161484"/>
                  <a:pt x="1062755" y="161484"/>
                  <a:pt x="1063162" y="160258"/>
                </a:cubicBezTo>
                <a:cubicBezTo>
                  <a:pt x="1065716" y="152917"/>
                  <a:pt x="1068813" y="146686"/>
                  <a:pt x="1073292" y="140138"/>
                </a:cubicBezTo>
                <a:cubicBezTo>
                  <a:pt x="1074322" y="140138"/>
                  <a:pt x="1075353" y="140138"/>
                  <a:pt x="1076415" y="140138"/>
                </a:cubicBezTo>
                <a:cubicBezTo>
                  <a:pt x="1079808" y="132748"/>
                  <a:pt x="1082509" y="125160"/>
                  <a:pt x="1085294" y="117569"/>
                </a:cubicBezTo>
                <a:cubicBezTo>
                  <a:pt x="1085972" y="116181"/>
                  <a:pt x="1086651" y="114793"/>
                  <a:pt x="1087350" y="113363"/>
                </a:cubicBezTo>
                <a:cubicBezTo>
                  <a:pt x="1089671" y="112666"/>
                  <a:pt x="1089671" y="112666"/>
                  <a:pt x="1092037" y="111954"/>
                </a:cubicBezTo>
                <a:cubicBezTo>
                  <a:pt x="1092230" y="110879"/>
                  <a:pt x="1092423" y="109803"/>
                  <a:pt x="1092623" y="108695"/>
                </a:cubicBezTo>
                <a:cubicBezTo>
                  <a:pt x="1093599" y="104908"/>
                  <a:pt x="1093599" y="104908"/>
                  <a:pt x="1096723" y="100680"/>
                </a:cubicBezTo>
                <a:cubicBezTo>
                  <a:pt x="1097207" y="99140"/>
                  <a:pt x="1097689" y="97599"/>
                  <a:pt x="1098188" y="96013"/>
                </a:cubicBezTo>
                <a:cubicBezTo>
                  <a:pt x="1099847" y="90815"/>
                  <a:pt x="1099847" y="90815"/>
                  <a:pt x="1102288" y="87029"/>
                </a:cubicBezTo>
                <a:cubicBezTo>
                  <a:pt x="1106061" y="79186"/>
                  <a:pt x="1107564" y="69424"/>
                  <a:pt x="1104534" y="61222"/>
                </a:cubicBezTo>
                <a:cubicBezTo>
                  <a:pt x="1104409" y="59341"/>
                  <a:pt x="1104366" y="57454"/>
                  <a:pt x="1104381" y="55569"/>
                </a:cubicBezTo>
                <a:cubicBezTo>
                  <a:pt x="1104386" y="54501"/>
                  <a:pt x="1104391" y="53434"/>
                  <a:pt x="1104397" y="52335"/>
                </a:cubicBezTo>
                <a:cubicBezTo>
                  <a:pt x="1104410" y="51228"/>
                  <a:pt x="1104423" y="50120"/>
                  <a:pt x="1104436" y="48979"/>
                </a:cubicBezTo>
                <a:cubicBezTo>
                  <a:pt x="1104443" y="47856"/>
                  <a:pt x="1104451" y="46733"/>
                  <a:pt x="1104457" y="45575"/>
                </a:cubicBezTo>
                <a:cubicBezTo>
                  <a:pt x="1104476" y="42805"/>
                  <a:pt x="1104504" y="40035"/>
                  <a:pt x="1104534" y="37265"/>
                </a:cubicBezTo>
                <a:cubicBezTo>
                  <a:pt x="1105565" y="37265"/>
                  <a:pt x="1106596" y="37265"/>
                  <a:pt x="1107658" y="37265"/>
                </a:cubicBezTo>
                <a:cubicBezTo>
                  <a:pt x="1107561" y="34562"/>
                  <a:pt x="1107561" y="34562"/>
                  <a:pt x="1107463" y="31805"/>
                </a:cubicBezTo>
                <a:cubicBezTo>
                  <a:pt x="1107353" y="28733"/>
                  <a:pt x="1107353" y="28733"/>
                  <a:pt x="1107658" y="25991"/>
                </a:cubicBezTo>
                <a:cubicBezTo>
                  <a:pt x="1108689" y="25062"/>
                  <a:pt x="1109720" y="24131"/>
                  <a:pt x="1110782" y="23173"/>
                </a:cubicBezTo>
                <a:cubicBezTo>
                  <a:pt x="1111104" y="22156"/>
                  <a:pt x="1111427" y="21138"/>
                  <a:pt x="1111759" y="20091"/>
                </a:cubicBezTo>
                <a:cubicBezTo>
                  <a:pt x="1116393" y="11539"/>
                  <a:pt x="1124927" y="6390"/>
                  <a:pt x="1134507" y="2828"/>
                </a:cubicBezTo>
                <a:cubicBezTo>
                  <a:pt x="1141389" y="825"/>
                  <a:pt x="1148262" y="-204"/>
                  <a:pt x="1155019" y="35"/>
                </a:cubicBezTo>
                <a:close/>
              </a:path>
            </a:pathLst>
          </a:custGeom>
          <a:solidFill>
            <a:schemeClr val="accent3"/>
          </a:solidFill>
          <a:ln w="2232" cap="flat">
            <a:noFill/>
            <a:prstDash val="solid"/>
            <a:miter/>
          </a:ln>
          <a:effectLst>
            <a:innerShdw blurRad="63500" dist="190500" dir="8100000">
              <a:schemeClr val="accent3">
                <a:lumMod val="75000"/>
                <a:alpha val="50000"/>
              </a:schemeClr>
            </a:innerShdw>
          </a:effectLst>
        </p:spPr>
        <p:txBody>
          <a:bodyPr wrap="squar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7" name="Oval 346">
            <a:extLst>
              <a:ext uri="{FF2B5EF4-FFF2-40B4-BE49-F238E27FC236}">
                <a16:creationId xmlns:a16="http://schemas.microsoft.com/office/drawing/2014/main" id="{A29784D1-E7E9-79FC-4949-858A44BCDB25}"/>
              </a:ext>
            </a:extLst>
          </p:cNvPr>
          <p:cNvSpPr/>
          <p:nvPr/>
        </p:nvSpPr>
        <p:spPr>
          <a:xfrm>
            <a:off x="9323892" y="3345000"/>
            <a:ext cx="106472" cy="106472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8" name="Oval 347">
            <a:extLst>
              <a:ext uri="{FF2B5EF4-FFF2-40B4-BE49-F238E27FC236}">
                <a16:creationId xmlns:a16="http://schemas.microsoft.com/office/drawing/2014/main" id="{BBC54CB1-E160-8091-4AEF-C83CC962BFFD}"/>
              </a:ext>
            </a:extLst>
          </p:cNvPr>
          <p:cNvSpPr/>
          <p:nvPr/>
        </p:nvSpPr>
        <p:spPr>
          <a:xfrm>
            <a:off x="9466025" y="3438227"/>
            <a:ext cx="106472" cy="106472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9" name="Oval 348">
            <a:extLst>
              <a:ext uri="{FF2B5EF4-FFF2-40B4-BE49-F238E27FC236}">
                <a16:creationId xmlns:a16="http://schemas.microsoft.com/office/drawing/2014/main" id="{31F066DC-35C8-9A7C-1486-59BEB588A5CF}"/>
              </a:ext>
            </a:extLst>
          </p:cNvPr>
          <p:cNvSpPr/>
          <p:nvPr/>
        </p:nvSpPr>
        <p:spPr>
          <a:xfrm>
            <a:off x="9362864" y="3611688"/>
            <a:ext cx="83346" cy="83346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0" name="Oval 349">
            <a:extLst>
              <a:ext uri="{FF2B5EF4-FFF2-40B4-BE49-F238E27FC236}">
                <a16:creationId xmlns:a16="http://schemas.microsoft.com/office/drawing/2014/main" id="{D7DAEBEF-0C68-C35A-FCA4-7C746459C5AC}"/>
              </a:ext>
            </a:extLst>
          </p:cNvPr>
          <p:cNvSpPr/>
          <p:nvPr/>
        </p:nvSpPr>
        <p:spPr>
          <a:xfrm>
            <a:off x="9585232" y="3592585"/>
            <a:ext cx="106472" cy="106472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1" name="Oval 350">
            <a:extLst>
              <a:ext uri="{FF2B5EF4-FFF2-40B4-BE49-F238E27FC236}">
                <a16:creationId xmlns:a16="http://schemas.microsoft.com/office/drawing/2014/main" id="{41E90A61-F061-AE21-A0EF-B1A6F0512852}"/>
              </a:ext>
            </a:extLst>
          </p:cNvPr>
          <p:cNvSpPr/>
          <p:nvPr/>
        </p:nvSpPr>
        <p:spPr>
          <a:xfrm>
            <a:off x="9619618" y="3370981"/>
            <a:ext cx="72085" cy="72085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2" name="Oval 351">
            <a:extLst>
              <a:ext uri="{FF2B5EF4-FFF2-40B4-BE49-F238E27FC236}">
                <a16:creationId xmlns:a16="http://schemas.microsoft.com/office/drawing/2014/main" id="{B7A2521D-0206-B5E3-0BFE-624F9525BC8C}"/>
              </a:ext>
            </a:extLst>
          </p:cNvPr>
          <p:cNvSpPr/>
          <p:nvPr/>
        </p:nvSpPr>
        <p:spPr>
          <a:xfrm>
            <a:off x="7020214" y="4297972"/>
            <a:ext cx="722134" cy="162382"/>
          </a:xfrm>
          <a:prstGeom prst="ellipse">
            <a:avLst/>
          </a:prstGeom>
          <a:solidFill>
            <a:schemeClr val="tx1">
              <a:alpha val="5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3" name="Free-form: Shape 352">
            <a:extLst>
              <a:ext uri="{FF2B5EF4-FFF2-40B4-BE49-F238E27FC236}">
                <a16:creationId xmlns:a16="http://schemas.microsoft.com/office/drawing/2014/main" id="{70232370-47A6-3403-5C10-E5BC72AF1286}"/>
              </a:ext>
            </a:extLst>
          </p:cNvPr>
          <p:cNvSpPr/>
          <p:nvPr/>
        </p:nvSpPr>
        <p:spPr>
          <a:xfrm>
            <a:off x="6925637" y="3475964"/>
            <a:ext cx="968436" cy="925784"/>
          </a:xfrm>
          <a:custGeom>
            <a:avLst/>
            <a:gdLst>
              <a:gd name="csX0" fmla="*/ 401579 w 1609516"/>
              <a:gd name="csY0" fmla="*/ 1495809 h 1538630"/>
              <a:gd name="csX1" fmla="*/ 400190 w 1609516"/>
              <a:gd name="csY1" fmla="*/ 1496004 h 1538630"/>
              <a:gd name="csX2" fmla="*/ 401224 w 1609516"/>
              <a:gd name="csY2" fmla="*/ 1496470 h 1538630"/>
              <a:gd name="csX3" fmla="*/ 401224 w 1609516"/>
              <a:gd name="csY3" fmla="*/ 1498590 h 1538630"/>
              <a:gd name="csX4" fmla="*/ 401579 w 1609516"/>
              <a:gd name="csY4" fmla="*/ 1498628 h 1538630"/>
              <a:gd name="csX5" fmla="*/ 401579 w 1609516"/>
              <a:gd name="csY5" fmla="*/ 1495809 h 1538630"/>
              <a:gd name="csX6" fmla="*/ 368755 w 1609516"/>
              <a:gd name="csY6" fmla="*/ 1486512 h 1538630"/>
              <a:gd name="csX7" fmla="*/ 364089 w 1609516"/>
              <a:gd name="csY7" fmla="*/ 1487354 h 1538630"/>
              <a:gd name="csX8" fmla="*/ 364089 w 1609516"/>
              <a:gd name="csY8" fmla="*/ 1487908 h 1538630"/>
              <a:gd name="csX9" fmla="*/ 1049801 w 1609516"/>
              <a:gd name="csY9" fmla="*/ 1484562 h 1538630"/>
              <a:gd name="csX10" fmla="*/ 1046735 w 1609516"/>
              <a:gd name="csY10" fmla="*/ 1485945 h 1538630"/>
              <a:gd name="csX11" fmla="*/ 1046955 w 1609516"/>
              <a:gd name="csY11" fmla="*/ 1486045 h 1538630"/>
              <a:gd name="csX12" fmla="*/ 1049801 w 1609516"/>
              <a:gd name="csY12" fmla="*/ 1485188 h 1538630"/>
              <a:gd name="csX13" fmla="*/ 351234 w 1609516"/>
              <a:gd name="csY13" fmla="*/ 1444508 h 1538630"/>
              <a:gd name="csX14" fmla="*/ 351234 w 1609516"/>
              <a:gd name="csY14" fmla="*/ 1444997 h 1538630"/>
              <a:gd name="csX15" fmla="*/ 351592 w 1609516"/>
              <a:gd name="csY15" fmla="*/ 1445078 h 1538630"/>
              <a:gd name="csX16" fmla="*/ 351908 w 1609516"/>
              <a:gd name="csY16" fmla="*/ 1431206 h 1538630"/>
              <a:gd name="csX17" fmla="*/ 351234 w 1609516"/>
              <a:gd name="csY17" fmla="*/ 1431611 h 1538630"/>
              <a:gd name="csX18" fmla="*/ 351234 w 1609516"/>
              <a:gd name="csY18" fmla="*/ 1432274 h 1538630"/>
              <a:gd name="csX19" fmla="*/ 358162 w 1609516"/>
              <a:gd name="csY19" fmla="*/ 1421494 h 1538630"/>
              <a:gd name="csX20" fmla="*/ 355921 w 1609516"/>
              <a:gd name="csY20" fmla="*/ 1423156 h 1538630"/>
              <a:gd name="csX21" fmla="*/ 355921 w 1609516"/>
              <a:gd name="csY21" fmla="*/ 1423548 h 1538630"/>
              <a:gd name="csX22" fmla="*/ 376098 w 1609516"/>
              <a:gd name="csY22" fmla="*/ 1408347 h 1538630"/>
              <a:gd name="csX23" fmla="*/ 370750 w 1609516"/>
              <a:gd name="csY23" fmla="*/ 1412245 h 1538630"/>
              <a:gd name="csX24" fmla="*/ 375023 w 1609516"/>
              <a:gd name="csY24" fmla="*/ 1411256 h 1538630"/>
              <a:gd name="csX25" fmla="*/ 421956 w 1609516"/>
              <a:gd name="csY25" fmla="*/ 1365623 h 1538630"/>
              <a:gd name="csX26" fmla="*/ 421765 w 1609516"/>
              <a:gd name="csY26" fmla="*/ 1366161 h 1538630"/>
              <a:gd name="csX27" fmla="*/ 421887 w 1609516"/>
              <a:gd name="csY27" fmla="*/ 1366161 h 1538630"/>
              <a:gd name="csX28" fmla="*/ 754553 w 1609516"/>
              <a:gd name="csY28" fmla="*/ 1360575 h 1538630"/>
              <a:gd name="csX29" fmla="*/ 754089 w 1609516"/>
              <a:gd name="csY29" fmla="*/ 1361433 h 1538630"/>
              <a:gd name="csX30" fmla="*/ 754431 w 1609516"/>
              <a:gd name="csY30" fmla="*/ 1361125 h 1538630"/>
              <a:gd name="csX31" fmla="*/ 1277973 w 1609516"/>
              <a:gd name="csY31" fmla="*/ 1332923 h 1538630"/>
              <a:gd name="csX32" fmla="*/ 1277944 w 1609516"/>
              <a:gd name="csY32" fmla="*/ 1332936 h 1538630"/>
              <a:gd name="csX33" fmla="*/ 1277949 w 1609516"/>
              <a:gd name="csY33" fmla="*/ 1333139 h 1538630"/>
              <a:gd name="csX34" fmla="*/ 1268556 w 1609516"/>
              <a:gd name="csY34" fmla="*/ 1321066 h 1538630"/>
              <a:gd name="csX35" fmla="*/ 1268556 w 1609516"/>
              <a:gd name="csY35" fmla="*/ 1325294 h 1538630"/>
              <a:gd name="csX36" fmla="*/ 1265432 w 1609516"/>
              <a:gd name="csY36" fmla="*/ 1325294 h 1538630"/>
              <a:gd name="csX37" fmla="*/ 1265432 w 1609516"/>
              <a:gd name="csY37" fmla="*/ 1340795 h 1538630"/>
              <a:gd name="csX38" fmla="*/ 1265476 w 1609516"/>
              <a:gd name="csY38" fmla="*/ 1340714 h 1538630"/>
              <a:gd name="csX39" fmla="*/ 1265476 w 1609516"/>
              <a:gd name="csY39" fmla="*/ 1325877 h 1538630"/>
              <a:gd name="csX40" fmla="*/ 1268600 w 1609516"/>
              <a:gd name="csY40" fmla="*/ 1325877 h 1538630"/>
              <a:gd name="csX41" fmla="*/ 1268600 w 1609516"/>
              <a:gd name="csY41" fmla="*/ 1321649 h 1538630"/>
              <a:gd name="csX42" fmla="*/ 1273286 w 1609516"/>
              <a:gd name="csY42" fmla="*/ 1321649 h 1538630"/>
              <a:gd name="csX43" fmla="*/ 1273227 w 1609516"/>
              <a:gd name="csY43" fmla="*/ 1321066 h 1538630"/>
              <a:gd name="csX44" fmla="*/ 827891 w 1609516"/>
              <a:gd name="csY44" fmla="*/ 1291474 h 1538630"/>
              <a:gd name="csX45" fmla="*/ 822601 w 1609516"/>
              <a:gd name="csY45" fmla="*/ 1291544 h 1538630"/>
              <a:gd name="csX46" fmla="*/ 818272 w 1609516"/>
              <a:gd name="csY46" fmla="*/ 1292220 h 1538630"/>
              <a:gd name="csX47" fmla="*/ 827891 w 1609516"/>
              <a:gd name="csY47" fmla="*/ 1292047 h 1538630"/>
              <a:gd name="csX48" fmla="*/ 856397 w 1609516"/>
              <a:gd name="csY48" fmla="*/ 1288691 h 1538630"/>
              <a:gd name="csX49" fmla="*/ 865903 w 1609516"/>
              <a:gd name="csY49" fmla="*/ 1290590 h 1538630"/>
              <a:gd name="csX50" fmla="*/ 859999 w 1609516"/>
              <a:gd name="csY50" fmla="*/ 1288752 h 1538630"/>
              <a:gd name="csX51" fmla="*/ 834694 w 1609516"/>
              <a:gd name="csY51" fmla="*/ 1288572 h 1538630"/>
              <a:gd name="csX52" fmla="*/ 828038 w 1609516"/>
              <a:gd name="csY52" fmla="*/ 1288654 h 1538630"/>
              <a:gd name="csX53" fmla="*/ 828038 w 1609516"/>
              <a:gd name="csY53" fmla="*/ 1289214 h 1538630"/>
              <a:gd name="csX54" fmla="*/ 229746 w 1609516"/>
              <a:gd name="csY54" fmla="*/ 1191418 h 1538630"/>
              <a:gd name="csX55" fmla="*/ 227402 w 1609516"/>
              <a:gd name="csY55" fmla="*/ 1191947 h 1538630"/>
              <a:gd name="csX56" fmla="*/ 229315 w 1609516"/>
              <a:gd name="csY56" fmla="*/ 1191947 h 1538630"/>
              <a:gd name="csX57" fmla="*/ 229315 w 1609516"/>
              <a:gd name="csY57" fmla="*/ 1194765 h 1538630"/>
              <a:gd name="csX58" fmla="*/ 231321 w 1609516"/>
              <a:gd name="csY58" fmla="*/ 1194765 h 1538630"/>
              <a:gd name="csX59" fmla="*/ 229746 w 1609516"/>
              <a:gd name="csY59" fmla="*/ 1194236 h 1538630"/>
              <a:gd name="csX60" fmla="*/ 229746 w 1609516"/>
              <a:gd name="csY60" fmla="*/ 1191418 h 1538630"/>
              <a:gd name="csX61" fmla="*/ 215687 w 1609516"/>
              <a:gd name="csY61" fmla="*/ 1187190 h 1538630"/>
              <a:gd name="csX62" fmla="*/ 215198 w 1609516"/>
              <a:gd name="csY62" fmla="*/ 1187720 h 1538630"/>
              <a:gd name="csX63" fmla="*/ 215256 w 1609516"/>
              <a:gd name="csY63" fmla="*/ 1187720 h 1538630"/>
              <a:gd name="csX64" fmla="*/ 215256 w 1609516"/>
              <a:gd name="csY64" fmla="*/ 1191947 h 1538630"/>
              <a:gd name="csX65" fmla="*/ 222721 w 1609516"/>
              <a:gd name="csY65" fmla="*/ 1191947 h 1538630"/>
              <a:gd name="csX66" fmla="*/ 215687 w 1609516"/>
              <a:gd name="csY66" fmla="*/ 1191418 h 1538630"/>
              <a:gd name="csX67" fmla="*/ 215687 w 1609516"/>
              <a:gd name="csY67" fmla="*/ 1187190 h 1538630"/>
              <a:gd name="csX68" fmla="*/ 1279678 w 1609516"/>
              <a:gd name="csY68" fmla="*/ 1082356 h 1538630"/>
              <a:gd name="csX69" fmla="*/ 1271680 w 1609516"/>
              <a:gd name="csY69" fmla="*/ 1084589 h 1538630"/>
              <a:gd name="csX70" fmla="*/ 1282181 w 1609516"/>
              <a:gd name="csY70" fmla="*/ 1082544 h 1538630"/>
              <a:gd name="csX71" fmla="*/ 117703 w 1609516"/>
              <a:gd name="csY71" fmla="*/ 941507 h 1538630"/>
              <a:gd name="csX72" fmla="*/ 112587 w 1609516"/>
              <a:gd name="csY72" fmla="*/ 941985 h 1538630"/>
              <a:gd name="csX73" fmla="*/ 112565 w 1609516"/>
              <a:gd name="csY73" fmla="*/ 942333 h 1538630"/>
              <a:gd name="csX74" fmla="*/ 115665 w 1609516"/>
              <a:gd name="csY74" fmla="*/ 941837 h 1538630"/>
              <a:gd name="csX75" fmla="*/ 144268 w 1609516"/>
              <a:gd name="csY75" fmla="*/ 939395 h 1538630"/>
              <a:gd name="csX76" fmla="*/ 143354 w 1609516"/>
              <a:gd name="csY76" fmla="*/ 939580 h 1538630"/>
              <a:gd name="csX77" fmla="*/ 144077 w 1609516"/>
              <a:gd name="csY77" fmla="*/ 939739 h 1538630"/>
              <a:gd name="csX78" fmla="*/ 162575 w 1609516"/>
              <a:gd name="csY78" fmla="*/ 933530 h 1538630"/>
              <a:gd name="csX79" fmla="*/ 161704 w 1609516"/>
              <a:gd name="csY79" fmla="*/ 935101 h 1538630"/>
              <a:gd name="csX80" fmla="*/ 170045 w 1609516"/>
              <a:gd name="csY80" fmla="*/ 933585 h 1538630"/>
              <a:gd name="csX81" fmla="*/ 1321645 w 1609516"/>
              <a:gd name="csY81" fmla="*/ 918415 h 1538630"/>
              <a:gd name="csX82" fmla="*/ 1321534 w 1609516"/>
              <a:gd name="csY82" fmla="*/ 920177 h 1538630"/>
              <a:gd name="csX83" fmla="*/ 1321740 w 1609516"/>
              <a:gd name="csY83" fmla="*/ 918415 h 1538630"/>
              <a:gd name="csX84" fmla="*/ 1319333 w 1609516"/>
              <a:gd name="csY84" fmla="*/ 915183 h 1538630"/>
              <a:gd name="csX85" fmla="*/ 1318544 w 1609516"/>
              <a:gd name="csY85" fmla="*/ 918029 h 1538630"/>
              <a:gd name="csX86" fmla="*/ 1318702 w 1609516"/>
              <a:gd name="csY86" fmla="*/ 918029 h 1538630"/>
              <a:gd name="csX87" fmla="*/ 1326355 w 1609516"/>
              <a:gd name="csY87" fmla="*/ 907109 h 1538630"/>
              <a:gd name="csX88" fmla="*/ 1326355 w 1609516"/>
              <a:gd name="csY88" fmla="*/ 910983 h 1538630"/>
              <a:gd name="csX89" fmla="*/ 1325831 w 1609516"/>
              <a:gd name="csY89" fmla="*/ 911101 h 1538630"/>
              <a:gd name="csX90" fmla="*/ 1326426 w 1609516"/>
              <a:gd name="csY90" fmla="*/ 911369 h 1538630"/>
              <a:gd name="csX91" fmla="*/ 1326426 w 1609516"/>
              <a:gd name="csY91" fmla="*/ 907141 h 1538630"/>
              <a:gd name="csX92" fmla="*/ 1328144 w 1609516"/>
              <a:gd name="csY92" fmla="*/ 892192 h 1538630"/>
              <a:gd name="csX93" fmla="*/ 1327667 w 1609516"/>
              <a:gd name="csY93" fmla="*/ 893446 h 1538630"/>
              <a:gd name="csX94" fmla="*/ 1327989 w 1609516"/>
              <a:gd name="csY94" fmla="*/ 893049 h 1538630"/>
              <a:gd name="csX95" fmla="*/ 49605 w 1609516"/>
              <a:gd name="csY95" fmla="*/ 887420 h 1538630"/>
              <a:gd name="csX96" fmla="*/ 48549 w 1609516"/>
              <a:gd name="csY96" fmla="*/ 891229 h 1538630"/>
              <a:gd name="csX97" fmla="*/ 49956 w 1609516"/>
              <a:gd name="csY97" fmla="*/ 887420 h 1538630"/>
              <a:gd name="csX98" fmla="*/ 1332266 w 1609516"/>
              <a:gd name="csY98" fmla="*/ 883369 h 1538630"/>
              <a:gd name="csX99" fmla="*/ 1329479 w 1609516"/>
              <a:gd name="csY99" fmla="*/ 884207 h 1538630"/>
              <a:gd name="csX100" fmla="*/ 1329509 w 1609516"/>
              <a:gd name="csY100" fmla="*/ 884816 h 1538630"/>
              <a:gd name="csX101" fmla="*/ 1329551 w 1609516"/>
              <a:gd name="csY101" fmla="*/ 884594 h 1538630"/>
              <a:gd name="csX102" fmla="*/ 1555987 w 1609516"/>
              <a:gd name="csY102" fmla="*/ 821766 h 1538630"/>
              <a:gd name="csX103" fmla="*/ 1555987 w 1609516"/>
              <a:gd name="csY103" fmla="*/ 822201 h 1538630"/>
              <a:gd name="csX104" fmla="*/ 1556081 w 1609516"/>
              <a:gd name="csY104" fmla="*/ 822189 h 1538630"/>
              <a:gd name="csX105" fmla="*/ 1565360 w 1609516"/>
              <a:gd name="csY105" fmla="*/ 810928 h 1538630"/>
              <a:gd name="csX106" fmla="*/ 1564871 w 1609516"/>
              <a:gd name="csY106" fmla="*/ 811809 h 1538630"/>
              <a:gd name="csX107" fmla="*/ 1567314 w 1609516"/>
              <a:gd name="csY107" fmla="*/ 810928 h 1538630"/>
              <a:gd name="csX108" fmla="*/ 1563797 w 1609516"/>
              <a:gd name="csY108" fmla="*/ 810928 h 1538630"/>
              <a:gd name="csX109" fmla="*/ 1556762 w 1609516"/>
              <a:gd name="csY109" fmla="*/ 814736 h 1538630"/>
              <a:gd name="csX110" fmla="*/ 1563797 w 1609516"/>
              <a:gd name="csY110" fmla="*/ 812197 h 1538630"/>
              <a:gd name="csX111" fmla="*/ 265833 w 1609516"/>
              <a:gd name="csY111" fmla="*/ 806020 h 1538630"/>
              <a:gd name="csX112" fmla="*/ 263704 w 1609516"/>
              <a:gd name="csY112" fmla="*/ 809861 h 1538630"/>
              <a:gd name="csX113" fmla="*/ 263704 w 1609516"/>
              <a:gd name="csY113" fmla="*/ 816750 h 1538630"/>
              <a:gd name="csX114" fmla="*/ 264113 w 1609516"/>
              <a:gd name="csY114" fmla="*/ 816565 h 1538630"/>
              <a:gd name="csX115" fmla="*/ 263918 w 1609516"/>
              <a:gd name="csY115" fmla="*/ 812777 h 1538630"/>
              <a:gd name="csX116" fmla="*/ 263774 w 1609516"/>
              <a:gd name="csY116" fmla="*/ 779374 h 1538630"/>
              <a:gd name="csX117" fmla="*/ 263704 w 1609516"/>
              <a:gd name="csY117" fmla="*/ 783086 h 1538630"/>
              <a:gd name="csX118" fmla="*/ 264484 w 1609516"/>
              <a:gd name="csY118" fmla="*/ 785816 h 1538630"/>
              <a:gd name="csX119" fmla="*/ 265265 w 1609516"/>
              <a:gd name="csY119" fmla="*/ 794448 h 1538630"/>
              <a:gd name="csX120" fmla="*/ 265217 w 1609516"/>
              <a:gd name="csY120" fmla="*/ 799730 h 1538630"/>
              <a:gd name="csX121" fmla="*/ 266556 w 1609516"/>
              <a:gd name="csY121" fmla="*/ 803466 h 1538630"/>
              <a:gd name="csX122" fmla="*/ 267237 w 1609516"/>
              <a:gd name="csY122" fmla="*/ 801063 h 1538630"/>
              <a:gd name="csX123" fmla="*/ 265675 w 1609516"/>
              <a:gd name="csY123" fmla="*/ 799654 h 1538630"/>
              <a:gd name="csX124" fmla="*/ 265675 w 1609516"/>
              <a:gd name="csY124" fmla="*/ 793841 h 1538630"/>
              <a:gd name="csX125" fmla="*/ 260988 w 1609516"/>
              <a:gd name="csY125" fmla="*/ 770061 h 1538630"/>
              <a:gd name="csX126" fmla="*/ 260988 w 1609516"/>
              <a:gd name="csY126" fmla="*/ 771364 h 1538630"/>
              <a:gd name="csX127" fmla="*/ 263497 w 1609516"/>
              <a:gd name="csY127" fmla="*/ 777263 h 1538630"/>
              <a:gd name="csX128" fmla="*/ 262551 w 1609516"/>
              <a:gd name="csY128" fmla="*/ 770061 h 1538630"/>
              <a:gd name="csX129" fmla="*/ 260988 w 1609516"/>
              <a:gd name="csY129" fmla="*/ 770061 h 1538630"/>
              <a:gd name="csX130" fmla="*/ 157888 w 1609516"/>
              <a:gd name="csY130" fmla="*/ 651686 h 1538630"/>
              <a:gd name="csX131" fmla="*/ 157415 w 1609516"/>
              <a:gd name="csY131" fmla="*/ 651764 h 1538630"/>
              <a:gd name="csX132" fmla="*/ 160373 w 1609516"/>
              <a:gd name="csY132" fmla="*/ 652274 h 1538630"/>
              <a:gd name="csX133" fmla="*/ 267237 w 1609516"/>
              <a:gd name="csY133" fmla="*/ 426537 h 1538630"/>
              <a:gd name="csX134" fmla="*/ 267237 w 1609516"/>
              <a:gd name="csY134" fmla="*/ 427619 h 1538630"/>
              <a:gd name="csX135" fmla="*/ 270380 w 1609516"/>
              <a:gd name="csY135" fmla="*/ 428137 h 1538630"/>
              <a:gd name="csX136" fmla="*/ 273548 w 1609516"/>
              <a:gd name="csY136" fmla="*/ 428680 h 1538630"/>
              <a:gd name="csX137" fmla="*/ 37605 w 1609516"/>
              <a:gd name="csY137" fmla="*/ 359270 h 1538630"/>
              <a:gd name="csX138" fmla="*/ 37103 w 1609516"/>
              <a:gd name="csY138" fmla="*/ 361533 h 1538630"/>
              <a:gd name="csX139" fmla="*/ 37605 w 1609516"/>
              <a:gd name="csY139" fmla="*/ 361382 h 1538630"/>
              <a:gd name="csX140" fmla="*/ 52477 w 1609516"/>
              <a:gd name="csY140" fmla="*/ 337570 h 1538630"/>
              <a:gd name="csX141" fmla="*/ 47288 w 1609516"/>
              <a:gd name="csY141" fmla="*/ 342340 h 1538630"/>
              <a:gd name="csX142" fmla="*/ 45805 w 1609516"/>
              <a:gd name="csY142" fmla="*/ 345093 h 1538630"/>
              <a:gd name="csX143" fmla="*/ 104291 w 1609516"/>
              <a:gd name="csY143" fmla="*/ 336166 h 1538630"/>
              <a:gd name="csX144" fmla="*/ 103776 w 1609516"/>
              <a:gd name="csY144" fmla="*/ 337559 h 1538630"/>
              <a:gd name="csX145" fmla="*/ 108925 w 1609516"/>
              <a:gd name="csY145" fmla="*/ 336166 h 1538630"/>
              <a:gd name="csX146" fmla="*/ 1309237 w 1609516"/>
              <a:gd name="csY146" fmla="*/ 322954 h 1538630"/>
              <a:gd name="csX147" fmla="*/ 1309180 w 1609516"/>
              <a:gd name="csY147" fmla="*/ 330559 h 1538630"/>
              <a:gd name="csX148" fmla="*/ 1309237 w 1609516"/>
              <a:gd name="csY148" fmla="*/ 330520 h 1538630"/>
              <a:gd name="csX149" fmla="*/ 1308964 w 1609516"/>
              <a:gd name="csY149" fmla="*/ 317715 h 1538630"/>
              <a:gd name="csX150" fmla="*/ 1309237 w 1609516"/>
              <a:gd name="csY150" fmla="*/ 318569 h 1538630"/>
              <a:gd name="csX151" fmla="*/ 1309237 w 1609516"/>
              <a:gd name="csY151" fmla="*/ 317838 h 1538630"/>
              <a:gd name="csX152" fmla="*/ 1310087 w 1609516"/>
              <a:gd name="csY152" fmla="*/ 313153 h 1538630"/>
              <a:gd name="csX153" fmla="*/ 1307609 w 1609516"/>
              <a:gd name="csY153" fmla="*/ 313473 h 1538630"/>
              <a:gd name="csX154" fmla="*/ 1308045 w 1609516"/>
              <a:gd name="csY154" fmla="*/ 314836 h 1538630"/>
              <a:gd name="csX155" fmla="*/ 1318544 w 1609516"/>
              <a:gd name="csY155" fmla="*/ 312064 h 1538630"/>
              <a:gd name="csX156" fmla="*/ 1316298 w 1609516"/>
              <a:gd name="csY156" fmla="*/ 312353 h 1538630"/>
              <a:gd name="csX157" fmla="*/ 1318544 w 1609516"/>
              <a:gd name="csY157" fmla="*/ 312205 h 1538630"/>
              <a:gd name="csX158" fmla="*/ 1084622 w 1609516"/>
              <a:gd name="csY158" fmla="*/ 267674 h 1538630"/>
              <a:gd name="csX159" fmla="*/ 1084227 w 1609516"/>
              <a:gd name="csY159" fmla="*/ 268378 h 1538630"/>
              <a:gd name="csX160" fmla="*/ 1079540 w 1609516"/>
              <a:gd name="csY160" fmla="*/ 268378 h 1538630"/>
              <a:gd name="csX161" fmla="*/ 1079603 w 1609516"/>
              <a:gd name="csY161" fmla="*/ 268477 h 1538630"/>
              <a:gd name="csX162" fmla="*/ 1084192 w 1609516"/>
              <a:gd name="csY162" fmla="*/ 268477 h 1538630"/>
              <a:gd name="csX163" fmla="*/ 956410 w 1609516"/>
              <a:gd name="csY163" fmla="*/ 266968 h 1538630"/>
              <a:gd name="csX164" fmla="*/ 957576 w 1609516"/>
              <a:gd name="csY164" fmla="*/ 267083 h 1538630"/>
              <a:gd name="csX165" fmla="*/ 957576 w 1609516"/>
              <a:gd name="csY165" fmla="*/ 269776 h 1538630"/>
              <a:gd name="csX166" fmla="*/ 957694 w 1609516"/>
              <a:gd name="csY166" fmla="*/ 269787 h 1538630"/>
              <a:gd name="csX167" fmla="*/ 957694 w 1609516"/>
              <a:gd name="csY167" fmla="*/ 266968 h 1538630"/>
              <a:gd name="csX168" fmla="*/ 1089372 w 1609516"/>
              <a:gd name="csY168" fmla="*/ 259220 h 1538630"/>
              <a:gd name="csX169" fmla="*/ 1085856 w 1609516"/>
              <a:gd name="csY169" fmla="*/ 265479 h 1538630"/>
              <a:gd name="csX170" fmla="*/ 1088878 w 1609516"/>
              <a:gd name="csY170" fmla="*/ 261431 h 1538630"/>
              <a:gd name="csX171" fmla="*/ 1018517 w 1609516"/>
              <a:gd name="csY171" fmla="*/ 223356 h 1538630"/>
              <a:gd name="csX172" fmla="*/ 1013866 w 1609516"/>
              <a:gd name="csY172" fmla="*/ 226190 h 1538630"/>
              <a:gd name="csX173" fmla="*/ 1013024 w 1609516"/>
              <a:gd name="csY173" fmla="*/ 227709 h 1538630"/>
              <a:gd name="csX174" fmla="*/ 1017055 w 1609516"/>
              <a:gd name="csY174" fmla="*/ 224692 h 1538630"/>
              <a:gd name="csX175" fmla="*/ 850645 w 1609516"/>
              <a:gd name="csY175" fmla="*/ 220099 h 1538630"/>
              <a:gd name="csX176" fmla="*/ 850897 w 1609516"/>
              <a:gd name="csY176" fmla="*/ 221488 h 1538630"/>
              <a:gd name="csX177" fmla="*/ 851470 w 1609516"/>
              <a:gd name="csY177" fmla="*/ 224692 h 1538630"/>
              <a:gd name="csX178" fmla="*/ 852860 w 1609516"/>
              <a:gd name="csY178" fmla="*/ 224692 h 1538630"/>
              <a:gd name="csX179" fmla="*/ 1155019 w 1609516"/>
              <a:gd name="csY179" fmla="*/ 35 h 1538630"/>
              <a:gd name="csX180" fmla="*/ 1174829 w 1609516"/>
              <a:gd name="csY180" fmla="*/ 4853 h 1538630"/>
              <a:gd name="csX181" fmla="*/ 1179418 w 1609516"/>
              <a:gd name="csY181" fmla="*/ 5998 h 1538630"/>
              <a:gd name="csX182" fmla="*/ 1201385 w 1609516"/>
              <a:gd name="csY182" fmla="*/ 22997 h 1538630"/>
              <a:gd name="csX183" fmla="*/ 1201678 w 1609516"/>
              <a:gd name="csY183" fmla="*/ 62191 h 1538630"/>
              <a:gd name="csX184" fmla="*/ 1198261 w 1609516"/>
              <a:gd name="csY184" fmla="*/ 68268 h 1538630"/>
              <a:gd name="csX185" fmla="*/ 1195723 w 1609516"/>
              <a:gd name="csY185" fmla="*/ 72672 h 1538630"/>
              <a:gd name="csX186" fmla="*/ 1193575 w 1609516"/>
              <a:gd name="csY186" fmla="*/ 75314 h 1538630"/>
              <a:gd name="csX187" fmla="*/ 1190450 w 1609516"/>
              <a:gd name="csY187" fmla="*/ 75314 h 1538630"/>
              <a:gd name="csX188" fmla="*/ 1189474 w 1609516"/>
              <a:gd name="csY188" fmla="*/ 79366 h 1538630"/>
              <a:gd name="csX189" fmla="*/ 1182445 w 1609516"/>
              <a:gd name="csY189" fmla="*/ 85707 h 1538630"/>
              <a:gd name="csX190" fmla="*/ 1177953 w 1609516"/>
              <a:gd name="csY190" fmla="*/ 86588 h 1538630"/>
              <a:gd name="csX191" fmla="*/ 1177953 w 1609516"/>
              <a:gd name="csY191" fmla="*/ 89406 h 1538630"/>
              <a:gd name="csX192" fmla="*/ 1170045 w 1609516"/>
              <a:gd name="csY192" fmla="*/ 94251 h 1538630"/>
              <a:gd name="csX193" fmla="*/ 1143806 w 1609516"/>
              <a:gd name="csY193" fmla="*/ 132828 h 1538630"/>
              <a:gd name="csX194" fmla="*/ 1137338 w 1609516"/>
              <a:gd name="csY194" fmla="*/ 141548 h 1538630"/>
              <a:gd name="csX195" fmla="*/ 1133970 w 1609516"/>
              <a:gd name="csY195" fmla="*/ 149403 h 1538630"/>
              <a:gd name="csX196" fmla="*/ 1127965 w 1609516"/>
              <a:gd name="csY196" fmla="*/ 164095 h 1538630"/>
              <a:gd name="csX197" fmla="*/ 1124762 w 1609516"/>
              <a:gd name="csY197" fmla="*/ 171802 h 1538630"/>
              <a:gd name="csX198" fmla="*/ 1119359 w 1609516"/>
              <a:gd name="csY198" fmla="*/ 184798 h 1538630"/>
              <a:gd name="csX199" fmla="*/ 1111014 w 1609516"/>
              <a:gd name="csY199" fmla="*/ 204941 h 1538630"/>
              <a:gd name="csX200" fmla="*/ 1109729 w 1609516"/>
              <a:gd name="csY200" fmla="*/ 208059 h 1538630"/>
              <a:gd name="csX201" fmla="*/ 1106395 w 1609516"/>
              <a:gd name="csY201" fmla="*/ 216170 h 1538630"/>
              <a:gd name="csX202" fmla="*/ 1102147 w 1609516"/>
              <a:gd name="csY202" fmla="*/ 224810 h 1538630"/>
              <a:gd name="csX203" fmla="*/ 1098261 w 1609516"/>
              <a:gd name="csY203" fmla="*/ 227262 h 1538630"/>
              <a:gd name="csX204" fmla="*/ 1098367 w 1609516"/>
              <a:gd name="csY204" fmla="*/ 238475 h 1538630"/>
              <a:gd name="csX205" fmla="*/ 1097331 w 1609516"/>
              <a:gd name="csY205" fmla="*/ 242358 h 1538630"/>
              <a:gd name="csX206" fmla="*/ 1096201 w 1609516"/>
              <a:gd name="csY206" fmla="*/ 246458 h 1538630"/>
              <a:gd name="csX207" fmla="*/ 1089440 w 1609516"/>
              <a:gd name="csY207" fmla="*/ 279206 h 1538630"/>
              <a:gd name="csX208" fmla="*/ 1087316 w 1609516"/>
              <a:gd name="csY208" fmla="*/ 283978 h 1538630"/>
              <a:gd name="csX209" fmla="*/ 1086822 w 1609516"/>
              <a:gd name="csY209" fmla="*/ 291822 h 1538630"/>
              <a:gd name="csX210" fmla="*/ 1086623 w 1609516"/>
              <a:gd name="csY210" fmla="*/ 296625 h 1538630"/>
              <a:gd name="csX211" fmla="*/ 1086437 w 1609516"/>
              <a:gd name="csY211" fmla="*/ 301681 h 1538630"/>
              <a:gd name="csX212" fmla="*/ 1086233 w 1609516"/>
              <a:gd name="csY212" fmla="*/ 306754 h 1538630"/>
              <a:gd name="csX213" fmla="*/ 1086007 w 1609516"/>
              <a:gd name="csY213" fmla="*/ 312619 h 1538630"/>
              <a:gd name="csX214" fmla="*/ 1087470 w 1609516"/>
              <a:gd name="csY214" fmla="*/ 320554 h 1538630"/>
              <a:gd name="csX215" fmla="*/ 1098285 w 1609516"/>
              <a:gd name="csY215" fmla="*/ 334611 h 1538630"/>
              <a:gd name="csX216" fmla="*/ 1102607 w 1609516"/>
              <a:gd name="csY216" fmla="*/ 337679 h 1538630"/>
              <a:gd name="csX217" fmla="*/ 1106095 w 1609516"/>
              <a:gd name="csY217" fmla="*/ 340248 h 1538630"/>
              <a:gd name="csX218" fmla="*/ 1106095 w 1609516"/>
              <a:gd name="csY218" fmla="*/ 343066 h 1538630"/>
              <a:gd name="csX219" fmla="*/ 1109220 w 1609516"/>
              <a:gd name="csY219" fmla="*/ 343419 h 1538630"/>
              <a:gd name="csX220" fmla="*/ 1126403 w 1609516"/>
              <a:gd name="csY220" fmla="*/ 350112 h 1538630"/>
              <a:gd name="csX221" fmla="*/ 1131871 w 1609516"/>
              <a:gd name="csY221" fmla="*/ 352579 h 1538630"/>
              <a:gd name="csX222" fmla="*/ 1135776 w 1609516"/>
              <a:gd name="csY222" fmla="*/ 354340 h 1538630"/>
              <a:gd name="csX223" fmla="*/ 1135776 w 1609516"/>
              <a:gd name="csY223" fmla="*/ 357158 h 1538630"/>
              <a:gd name="csX224" fmla="*/ 1170143 w 1609516"/>
              <a:gd name="csY224" fmla="*/ 354340 h 1538630"/>
              <a:gd name="csX225" fmla="*/ 1174634 w 1609516"/>
              <a:gd name="csY225" fmla="*/ 352579 h 1538630"/>
              <a:gd name="csX226" fmla="*/ 1190890 w 1609516"/>
              <a:gd name="csY226" fmla="*/ 342907 h 1538630"/>
              <a:gd name="csX227" fmla="*/ 1204021 w 1609516"/>
              <a:gd name="csY227" fmla="*/ 335404 h 1538630"/>
              <a:gd name="csX228" fmla="*/ 1223255 w 1609516"/>
              <a:gd name="csY228" fmla="*/ 319110 h 1538630"/>
              <a:gd name="csX229" fmla="*/ 1226868 w 1609516"/>
              <a:gd name="csY229" fmla="*/ 315587 h 1538630"/>
              <a:gd name="csX230" fmla="*/ 1231859 w 1609516"/>
              <a:gd name="csY230" fmla="*/ 303559 h 1538630"/>
              <a:gd name="csX231" fmla="*/ 1234178 w 1609516"/>
              <a:gd name="csY231" fmla="*/ 298059 h 1538630"/>
              <a:gd name="csX232" fmla="*/ 1237314 w 1609516"/>
              <a:gd name="csY232" fmla="*/ 288195 h 1538630"/>
              <a:gd name="csX233" fmla="*/ 1249811 w 1609516"/>
              <a:gd name="csY233" fmla="*/ 265559 h 1538630"/>
              <a:gd name="csX234" fmla="*/ 1252935 w 1609516"/>
              <a:gd name="csY234" fmla="*/ 265559 h 1538630"/>
              <a:gd name="csX235" fmla="*/ 1252935 w 1609516"/>
              <a:gd name="csY235" fmla="*/ 262741 h 1538630"/>
              <a:gd name="csX236" fmla="*/ 1296675 w 1609516"/>
              <a:gd name="csY236" fmla="*/ 252876 h 1538630"/>
              <a:gd name="csX237" fmla="*/ 1307609 w 1609516"/>
              <a:gd name="csY237" fmla="*/ 255695 h 1538630"/>
              <a:gd name="csX238" fmla="*/ 1307609 w 1609516"/>
              <a:gd name="csY238" fmla="*/ 258513 h 1538630"/>
              <a:gd name="csX239" fmla="*/ 1311887 w 1609516"/>
              <a:gd name="csY239" fmla="*/ 258832 h 1538630"/>
              <a:gd name="csX240" fmla="*/ 1326715 w 1609516"/>
              <a:gd name="csY240" fmla="*/ 269969 h 1538630"/>
              <a:gd name="csX241" fmla="*/ 1334165 w 1609516"/>
              <a:gd name="csY241" fmla="*/ 307836 h 1538630"/>
              <a:gd name="csX242" fmla="*/ 1329479 w 1609516"/>
              <a:gd name="csY242" fmla="*/ 314882 h 1538630"/>
              <a:gd name="csX243" fmla="*/ 1323231 w 1609516"/>
              <a:gd name="csY243" fmla="*/ 314882 h 1538630"/>
              <a:gd name="csX244" fmla="*/ 1323231 w 1609516"/>
              <a:gd name="csY244" fmla="*/ 317700 h 1538630"/>
              <a:gd name="csX245" fmla="*/ 1322774 w 1609516"/>
              <a:gd name="csY245" fmla="*/ 317838 h 1538630"/>
              <a:gd name="csX246" fmla="*/ 1323295 w 1609516"/>
              <a:gd name="csY246" fmla="*/ 317838 h 1538630"/>
              <a:gd name="csX247" fmla="*/ 1323295 w 1609516"/>
              <a:gd name="csY247" fmla="*/ 315019 h 1538630"/>
              <a:gd name="csX248" fmla="*/ 1327982 w 1609516"/>
              <a:gd name="csY248" fmla="*/ 315019 h 1538630"/>
              <a:gd name="csX249" fmla="*/ 1317047 w 1609516"/>
              <a:gd name="csY249" fmla="*/ 327702 h 1538630"/>
              <a:gd name="csX250" fmla="*/ 1315484 w 1609516"/>
              <a:gd name="csY250" fmla="*/ 331930 h 1538630"/>
              <a:gd name="csX251" fmla="*/ 1309139 w 1609516"/>
              <a:gd name="csY251" fmla="*/ 333603 h 1538630"/>
              <a:gd name="csX252" fmla="*/ 1305666 w 1609516"/>
              <a:gd name="csY252" fmla="*/ 334280 h 1538630"/>
              <a:gd name="csX253" fmla="*/ 1302988 w 1609516"/>
              <a:gd name="csY253" fmla="*/ 334748 h 1538630"/>
              <a:gd name="csX254" fmla="*/ 1305905 w 1609516"/>
              <a:gd name="csY254" fmla="*/ 332775 h 1538630"/>
              <a:gd name="csX255" fmla="*/ 1304485 w 1609516"/>
              <a:gd name="csY255" fmla="*/ 333202 h 1538630"/>
              <a:gd name="csX256" fmla="*/ 1301459 w 1609516"/>
              <a:gd name="csY256" fmla="*/ 336108 h 1538630"/>
              <a:gd name="csX257" fmla="*/ 1291989 w 1609516"/>
              <a:gd name="csY257" fmla="*/ 338839 h 1538630"/>
              <a:gd name="csX258" fmla="*/ 1290426 w 1609516"/>
              <a:gd name="csY258" fmla="*/ 343066 h 1538630"/>
              <a:gd name="csX259" fmla="*/ 1285740 w 1609516"/>
              <a:gd name="csY259" fmla="*/ 344123 h 1538630"/>
              <a:gd name="csX260" fmla="*/ 1237314 w 1609516"/>
              <a:gd name="csY260" fmla="*/ 382525 h 1538630"/>
              <a:gd name="csX261" fmla="*/ 1232628 w 1609516"/>
              <a:gd name="csY261" fmla="*/ 392389 h 1538630"/>
              <a:gd name="csX262" fmla="*/ 1228625 w 1609516"/>
              <a:gd name="csY262" fmla="*/ 398731 h 1538630"/>
              <a:gd name="csX263" fmla="*/ 1222822 w 1609516"/>
              <a:gd name="csY263" fmla="*/ 434798 h 1538630"/>
              <a:gd name="csX264" fmla="*/ 1260746 w 1609516"/>
              <a:gd name="csY264" fmla="*/ 485398 h 1538630"/>
              <a:gd name="csX265" fmla="*/ 1268556 w 1609516"/>
              <a:gd name="csY265" fmla="*/ 488216 h 1538630"/>
              <a:gd name="csX266" fmla="*/ 1268556 w 1609516"/>
              <a:gd name="csY266" fmla="*/ 491034 h 1538630"/>
              <a:gd name="csX267" fmla="*/ 1338852 w 1609516"/>
              <a:gd name="csY267" fmla="*/ 489625 h 1538630"/>
              <a:gd name="csX268" fmla="*/ 1347444 w 1609516"/>
              <a:gd name="csY268" fmla="*/ 488480 h 1538630"/>
              <a:gd name="csX269" fmla="*/ 1369362 w 1609516"/>
              <a:gd name="csY269" fmla="*/ 482513 h 1538630"/>
              <a:gd name="csX270" fmla="*/ 1388840 w 1609516"/>
              <a:gd name="csY270" fmla="*/ 478351 h 1538630"/>
              <a:gd name="csX271" fmla="*/ 1388840 w 1609516"/>
              <a:gd name="csY271" fmla="*/ 475533 h 1538630"/>
              <a:gd name="csX272" fmla="*/ 1395576 w 1609516"/>
              <a:gd name="csY272" fmla="*/ 473419 h 1538630"/>
              <a:gd name="csX273" fmla="*/ 1399365 w 1609516"/>
              <a:gd name="csY273" fmla="*/ 472230 h 1538630"/>
              <a:gd name="csX274" fmla="*/ 1407585 w 1609516"/>
              <a:gd name="csY274" fmla="*/ 471305 h 1538630"/>
              <a:gd name="csX275" fmla="*/ 1409147 w 1609516"/>
              <a:gd name="csY275" fmla="*/ 467078 h 1538630"/>
              <a:gd name="csX276" fmla="*/ 1416470 w 1609516"/>
              <a:gd name="csY276" fmla="*/ 464259 h 1538630"/>
              <a:gd name="csX277" fmla="*/ 1437949 w 1609516"/>
              <a:gd name="csY277" fmla="*/ 455011 h 1538630"/>
              <a:gd name="csX278" fmla="*/ 1452887 w 1609516"/>
              <a:gd name="csY278" fmla="*/ 450167 h 1538630"/>
              <a:gd name="csX279" fmla="*/ 1452887 w 1609516"/>
              <a:gd name="csY279" fmla="*/ 447349 h 1538630"/>
              <a:gd name="csX280" fmla="*/ 1455394 w 1609516"/>
              <a:gd name="csY280" fmla="*/ 446122 h 1538630"/>
              <a:gd name="csX281" fmla="*/ 1466653 w 1609516"/>
              <a:gd name="csY281" fmla="*/ 440567 h 1538630"/>
              <a:gd name="csX282" fmla="*/ 1470598 w 1609516"/>
              <a:gd name="csY282" fmla="*/ 438637 h 1538630"/>
              <a:gd name="csX283" fmla="*/ 1474397 w 1609516"/>
              <a:gd name="csY283" fmla="*/ 436752 h 1538630"/>
              <a:gd name="csX284" fmla="*/ 1477892 w 1609516"/>
              <a:gd name="csY284" fmla="*/ 435030 h 1538630"/>
              <a:gd name="csX285" fmla="*/ 1485691 w 1609516"/>
              <a:gd name="csY285" fmla="*/ 429029 h 1538630"/>
              <a:gd name="csX286" fmla="*/ 1488858 w 1609516"/>
              <a:gd name="csY286" fmla="*/ 427653 h 1538630"/>
              <a:gd name="csX287" fmla="*/ 1495943 w 1609516"/>
              <a:gd name="csY287" fmla="*/ 421454 h 1538630"/>
              <a:gd name="csX288" fmla="*/ 1538608 w 1609516"/>
              <a:gd name="csY288" fmla="*/ 388338 h 1538630"/>
              <a:gd name="csX289" fmla="*/ 1543490 w 1609516"/>
              <a:gd name="csY289" fmla="*/ 388161 h 1538630"/>
              <a:gd name="csX290" fmla="*/ 1547621 w 1609516"/>
              <a:gd name="csY290" fmla="*/ 387804 h 1538630"/>
              <a:gd name="csX291" fmla="*/ 1579418 w 1609516"/>
              <a:gd name="csY291" fmla="*/ 396617 h 1538630"/>
              <a:gd name="csX292" fmla="*/ 1583342 w 1609516"/>
              <a:gd name="csY292" fmla="*/ 398780 h 1538630"/>
              <a:gd name="csX293" fmla="*/ 1601288 w 1609516"/>
              <a:gd name="csY293" fmla="*/ 423392 h 1538630"/>
              <a:gd name="csX294" fmla="*/ 1594484 w 1609516"/>
              <a:gd name="csY294" fmla="*/ 460159 h 1538630"/>
              <a:gd name="csX295" fmla="*/ 1574732 w 1609516"/>
              <a:gd name="csY295" fmla="*/ 475533 h 1538630"/>
              <a:gd name="csX296" fmla="*/ 1572097 w 1609516"/>
              <a:gd name="csY296" fmla="*/ 477078 h 1538630"/>
              <a:gd name="csX297" fmla="*/ 1556066 w 1609516"/>
              <a:gd name="csY297" fmla="*/ 478737 h 1538630"/>
              <a:gd name="csX298" fmla="*/ 1548631 w 1609516"/>
              <a:gd name="csY298" fmla="*/ 478825 h 1538630"/>
              <a:gd name="csX299" fmla="*/ 1536991 w 1609516"/>
              <a:gd name="csY299" fmla="*/ 478889 h 1538630"/>
              <a:gd name="csX300" fmla="*/ 1498188 w 1609516"/>
              <a:gd name="csY300" fmla="*/ 485398 h 1538630"/>
              <a:gd name="csX301" fmla="*/ 1493892 w 1609516"/>
              <a:gd name="csY301" fmla="*/ 487600 h 1538630"/>
              <a:gd name="csX302" fmla="*/ 1490377 w 1609516"/>
              <a:gd name="csY302" fmla="*/ 489625 h 1538630"/>
              <a:gd name="csX303" fmla="*/ 1471650 w 1609516"/>
              <a:gd name="csY303" fmla="*/ 498185 h 1538630"/>
              <a:gd name="csX304" fmla="*/ 1459135 w 1609516"/>
              <a:gd name="csY304" fmla="*/ 505127 h 1538630"/>
              <a:gd name="csX305" fmla="*/ 1452594 w 1609516"/>
              <a:gd name="csY305" fmla="*/ 508033 h 1538630"/>
              <a:gd name="csX306" fmla="*/ 1427795 w 1609516"/>
              <a:gd name="csY306" fmla="*/ 520100 h 1538630"/>
              <a:gd name="csX307" fmla="*/ 1423733 w 1609516"/>
              <a:gd name="csY307" fmla="*/ 522148 h 1538630"/>
              <a:gd name="csX308" fmla="*/ 1419929 w 1609516"/>
              <a:gd name="csY308" fmla="*/ 524118 h 1538630"/>
              <a:gd name="csX309" fmla="*/ 1416487 w 1609516"/>
              <a:gd name="csY309" fmla="*/ 525883 h 1538630"/>
              <a:gd name="csX310" fmla="*/ 1412271 w 1609516"/>
              <a:gd name="csY310" fmla="*/ 531902 h 1538630"/>
              <a:gd name="csX311" fmla="*/ 1396650 w 1609516"/>
              <a:gd name="csY311" fmla="*/ 537539 h 1538630"/>
              <a:gd name="csX312" fmla="*/ 1396650 w 1609516"/>
              <a:gd name="csY312" fmla="*/ 540357 h 1538630"/>
              <a:gd name="csX313" fmla="*/ 1393495 w 1609516"/>
              <a:gd name="csY313" fmla="*/ 541502 h 1538630"/>
              <a:gd name="csX314" fmla="*/ 1362284 w 1609516"/>
              <a:gd name="csY314" fmla="*/ 558678 h 1538630"/>
              <a:gd name="csX315" fmla="*/ 1355937 w 1609516"/>
              <a:gd name="csY315" fmla="*/ 562905 h 1538630"/>
              <a:gd name="csX316" fmla="*/ 1334165 w 1609516"/>
              <a:gd name="csY316" fmla="*/ 578406 h 1538630"/>
              <a:gd name="csX317" fmla="*/ 1331200 w 1609516"/>
              <a:gd name="csY317" fmla="*/ 580559 h 1538630"/>
              <a:gd name="csX318" fmla="*/ 1322175 w 1609516"/>
              <a:gd name="csY318" fmla="*/ 596793 h 1538630"/>
              <a:gd name="csX319" fmla="*/ 1320106 w 1609516"/>
              <a:gd name="csY319" fmla="*/ 602363 h 1538630"/>
              <a:gd name="csX320" fmla="*/ 1328015 w 1609516"/>
              <a:gd name="csY320" fmla="*/ 647640 h 1538630"/>
              <a:gd name="csX321" fmla="*/ 1332604 w 1609516"/>
              <a:gd name="csY321" fmla="*/ 675643 h 1538630"/>
              <a:gd name="csX322" fmla="*/ 1335727 w 1609516"/>
              <a:gd name="csY322" fmla="*/ 675643 h 1538630"/>
              <a:gd name="csX323" fmla="*/ 1337741 w 1609516"/>
              <a:gd name="csY323" fmla="*/ 690059 h 1538630"/>
              <a:gd name="csX324" fmla="*/ 1338003 w 1609516"/>
              <a:gd name="csY324" fmla="*/ 696222 h 1538630"/>
              <a:gd name="csX325" fmla="*/ 1338340 w 1609516"/>
              <a:gd name="csY325" fmla="*/ 705887 h 1538630"/>
              <a:gd name="csX326" fmla="*/ 1345277 w 1609516"/>
              <a:gd name="csY326" fmla="*/ 733245 h 1538630"/>
              <a:gd name="csX327" fmla="*/ 1363162 w 1609516"/>
              <a:gd name="csY327" fmla="*/ 741612 h 1538630"/>
              <a:gd name="csX328" fmla="*/ 1384154 w 1609516"/>
              <a:gd name="csY328" fmla="*/ 748922 h 1538630"/>
              <a:gd name="csX329" fmla="*/ 1391476 w 1609516"/>
              <a:gd name="csY329" fmla="*/ 750419 h 1538630"/>
              <a:gd name="csX330" fmla="*/ 1395564 w 1609516"/>
              <a:gd name="csY330" fmla="*/ 751080 h 1538630"/>
              <a:gd name="csX331" fmla="*/ 1399775 w 1609516"/>
              <a:gd name="csY331" fmla="*/ 751740 h 1538630"/>
              <a:gd name="csX332" fmla="*/ 1403887 w 1609516"/>
              <a:gd name="csY332" fmla="*/ 752489 h 1538630"/>
              <a:gd name="csX333" fmla="*/ 1465383 w 1609516"/>
              <a:gd name="csY333" fmla="*/ 755969 h 1538630"/>
              <a:gd name="csX334" fmla="*/ 1470339 w 1609516"/>
              <a:gd name="csY334" fmla="*/ 755897 h 1538630"/>
              <a:gd name="csX335" fmla="*/ 1496809 w 1609516"/>
              <a:gd name="csY335" fmla="*/ 749313 h 1538630"/>
              <a:gd name="csX336" fmla="*/ 1515371 w 1609516"/>
              <a:gd name="csY336" fmla="*/ 743285 h 1538630"/>
              <a:gd name="csX337" fmla="*/ 1515371 w 1609516"/>
              <a:gd name="csY337" fmla="*/ 740467 h 1538630"/>
              <a:gd name="csX338" fmla="*/ 1537632 w 1609516"/>
              <a:gd name="csY338" fmla="*/ 737120 h 1538630"/>
              <a:gd name="csX339" fmla="*/ 1541657 w 1609516"/>
              <a:gd name="csY339" fmla="*/ 737127 h 1538630"/>
              <a:gd name="csX340" fmla="*/ 1574732 w 1609516"/>
              <a:gd name="csY340" fmla="*/ 748922 h 1538630"/>
              <a:gd name="csX341" fmla="*/ 1588791 w 1609516"/>
              <a:gd name="csY341" fmla="*/ 792608 h 1538630"/>
              <a:gd name="csX342" fmla="*/ 1584105 w 1609516"/>
              <a:gd name="csY342" fmla="*/ 805291 h 1538630"/>
              <a:gd name="csX343" fmla="*/ 1580981 w 1609516"/>
              <a:gd name="csY343" fmla="*/ 806700 h 1538630"/>
              <a:gd name="csX344" fmla="*/ 1578735 w 1609516"/>
              <a:gd name="csY344" fmla="*/ 810311 h 1538630"/>
              <a:gd name="csX345" fmla="*/ 1576295 w 1609516"/>
              <a:gd name="csY345" fmla="*/ 813746 h 1538630"/>
              <a:gd name="csX346" fmla="*/ 1571652 w 1609516"/>
              <a:gd name="csY346" fmla="*/ 813746 h 1538630"/>
              <a:gd name="csX347" fmla="*/ 1571785 w 1609516"/>
              <a:gd name="csY347" fmla="*/ 814106 h 1538630"/>
              <a:gd name="csX348" fmla="*/ 1574909 w 1609516"/>
              <a:gd name="csY348" fmla="*/ 815515 h 1538630"/>
              <a:gd name="csX349" fmla="*/ 1565463 w 1609516"/>
              <a:gd name="csY349" fmla="*/ 821839 h 1538630"/>
              <a:gd name="csX350" fmla="*/ 1562085 w 1609516"/>
              <a:gd name="csY350" fmla="*/ 822101 h 1538630"/>
              <a:gd name="csX351" fmla="*/ 1551301 w 1609516"/>
              <a:gd name="csY351" fmla="*/ 825020 h 1538630"/>
              <a:gd name="csX352" fmla="*/ 1551301 w 1609516"/>
              <a:gd name="csY352" fmla="*/ 827838 h 1538630"/>
              <a:gd name="csX353" fmla="*/ 1485380 w 1609516"/>
              <a:gd name="csY353" fmla="*/ 815007 h 1538630"/>
              <a:gd name="csX354" fmla="*/ 1431603 w 1609516"/>
              <a:gd name="csY354" fmla="*/ 808726 h 1538630"/>
              <a:gd name="csX355" fmla="*/ 1424140 w 1609516"/>
              <a:gd name="csY355" fmla="*/ 808542 h 1538630"/>
              <a:gd name="csX356" fmla="*/ 1406023 w 1609516"/>
              <a:gd name="csY356" fmla="*/ 808109 h 1538630"/>
              <a:gd name="csX357" fmla="*/ 1406023 w 1609516"/>
              <a:gd name="csY357" fmla="*/ 810928 h 1538630"/>
              <a:gd name="csX358" fmla="*/ 1403383 w 1609516"/>
              <a:gd name="csY358" fmla="*/ 811311 h 1538630"/>
              <a:gd name="csX359" fmla="*/ 1345442 w 1609516"/>
              <a:gd name="csY359" fmla="*/ 828907 h 1538630"/>
              <a:gd name="csX360" fmla="*/ 1337875 w 1609516"/>
              <a:gd name="csY360" fmla="*/ 856639 h 1538630"/>
              <a:gd name="csX361" fmla="*/ 1337692 w 1609516"/>
              <a:gd name="csY361" fmla="*/ 860171 h 1538630"/>
              <a:gd name="csX362" fmla="*/ 1337290 w 1609516"/>
              <a:gd name="csY362" fmla="*/ 868706 h 1538630"/>
              <a:gd name="csX363" fmla="*/ 1334165 w 1609516"/>
              <a:gd name="csY363" fmla="*/ 868706 h 1538630"/>
              <a:gd name="csX364" fmla="*/ 1334165 w 1609516"/>
              <a:gd name="csY364" fmla="*/ 870034 h 1538630"/>
              <a:gd name="csX365" fmla="*/ 1334237 w 1609516"/>
              <a:gd name="csY365" fmla="*/ 869093 h 1538630"/>
              <a:gd name="csX366" fmla="*/ 1335800 w 1609516"/>
              <a:gd name="csY366" fmla="*/ 869093 h 1538630"/>
              <a:gd name="csX367" fmla="*/ 1335995 w 1609516"/>
              <a:gd name="csY367" fmla="*/ 876491 h 1538630"/>
              <a:gd name="csX368" fmla="*/ 1336105 w 1609516"/>
              <a:gd name="csY368" fmla="*/ 880653 h 1538630"/>
              <a:gd name="csX369" fmla="*/ 1334294 w 1609516"/>
              <a:gd name="csY369" fmla="*/ 887271 h 1538630"/>
              <a:gd name="csX370" fmla="*/ 1331455 w 1609516"/>
              <a:gd name="csY370" fmla="*/ 896440 h 1538630"/>
              <a:gd name="csX371" fmla="*/ 1330887 w 1609516"/>
              <a:gd name="csY371" fmla="*/ 899969 h 1538630"/>
              <a:gd name="csX372" fmla="*/ 1330332 w 1609516"/>
              <a:gd name="csY372" fmla="*/ 903618 h 1538630"/>
              <a:gd name="csX373" fmla="*/ 1329209 w 1609516"/>
              <a:gd name="csY373" fmla="*/ 910797 h 1538630"/>
              <a:gd name="csX374" fmla="*/ 1328724 w 1609516"/>
              <a:gd name="csY374" fmla="*/ 913998 h 1538630"/>
              <a:gd name="csX375" fmla="*/ 1324865 w 1609516"/>
              <a:gd name="csY375" fmla="*/ 922643 h 1538630"/>
              <a:gd name="csX376" fmla="*/ 1322619 w 1609516"/>
              <a:gd name="csY376" fmla="*/ 937979 h 1538630"/>
              <a:gd name="csX377" fmla="*/ 1318744 w 1609516"/>
              <a:gd name="csY377" fmla="*/ 944961 h 1538630"/>
              <a:gd name="csX378" fmla="*/ 1318544 w 1609516"/>
              <a:gd name="csY378" fmla="*/ 946213 h 1538630"/>
              <a:gd name="csX379" fmla="*/ 1318251 w 1609516"/>
              <a:gd name="csY379" fmla="*/ 955285 h 1538630"/>
              <a:gd name="csX380" fmla="*/ 1318184 w 1609516"/>
              <a:gd name="csY380" fmla="*/ 960036 h 1538630"/>
              <a:gd name="csX381" fmla="*/ 1324024 w 1609516"/>
              <a:gd name="csY381" fmla="*/ 973660 h 1538630"/>
              <a:gd name="csX382" fmla="*/ 1329284 w 1609516"/>
              <a:gd name="csY382" fmla="*/ 983382 h 1538630"/>
              <a:gd name="csX383" fmla="*/ 1340414 w 1609516"/>
              <a:gd name="csY383" fmla="*/ 998354 h 1538630"/>
              <a:gd name="csX384" fmla="*/ 1346272 w 1609516"/>
              <a:gd name="csY384" fmla="*/ 1005048 h 1538630"/>
              <a:gd name="csX385" fmla="*/ 1394716 w 1609516"/>
              <a:gd name="csY385" fmla="*/ 1042740 h 1538630"/>
              <a:gd name="csX386" fmla="*/ 1401953 w 1609516"/>
              <a:gd name="csY386" fmla="*/ 1047374 h 1538630"/>
              <a:gd name="csX387" fmla="*/ 1427197 w 1609516"/>
              <a:gd name="csY387" fmla="*/ 1059061 h 1538630"/>
              <a:gd name="csX388" fmla="*/ 1437265 w 1609516"/>
              <a:gd name="csY388" fmla="*/ 1064588 h 1538630"/>
              <a:gd name="csX389" fmla="*/ 1437265 w 1609516"/>
              <a:gd name="csY389" fmla="*/ 1067406 h 1538630"/>
              <a:gd name="csX390" fmla="*/ 1440878 w 1609516"/>
              <a:gd name="csY390" fmla="*/ 1067847 h 1538630"/>
              <a:gd name="csX391" fmla="*/ 1447175 w 1609516"/>
              <a:gd name="csY391" fmla="*/ 1070753 h 1538630"/>
              <a:gd name="csX392" fmla="*/ 1457866 w 1609516"/>
              <a:gd name="csY392" fmla="*/ 1076830 h 1538630"/>
              <a:gd name="csX393" fmla="*/ 1462132 w 1609516"/>
              <a:gd name="csY393" fmla="*/ 1078696 h 1538630"/>
              <a:gd name="csX394" fmla="*/ 1465383 w 1609516"/>
              <a:gd name="csY394" fmla="*/ 1080089 h 1538630"/>
              <a:gd name="csX395" fmla="*/ 1465383 w 1609516"/>
              <a:gd name="csY395" fmla="*/ 1082908 h 1538630"/>
              <a:gd name="csX396" fmla="*/ 1468758 w 1609516"/>
              <a:gd name="csY396" fmla="*/ 1083975 h 1538630"/>
              <a:gd name="csX397" fmla="*/ 1481688 w 1609516"/>
              <a:gd name="csY397" fmla="*/ 1091187 h 1538630"/>
              <a:gd name="csX398" fmla="*/ 1486283 w 1609516"/>
              <a:gd name="csY398" fmla="*/ 1094236 h 1538630"/>
              <a:gd name="csX399" fmla="*/ 1494869 w 1609516"/>
              <a:gd name="csY399" fmla="*/ 1100171 h 1538630"/>
              <a:gd name="csX400" fmla="*/ 1544335 w 1609516"/>
              <a:gd name="csY400" fmla="*/ 1109518 h 1538630"/>
              <a:gd name="csX401" fmla="*/ 1593477 w 1609516"/>
              <a:gd name="csY401" fmla="*/ 1119900 h 1538630"/>
              <a:gd name="csX402" fmla="*/ 1605975 w 1609516"/>
              <a:gd name="csY402" fmla="*/ 1144913 h 1538630"/>
              <a:gd name="csX403" fmla="*/ 1609099 w 1609516"/>
              <a:gd name="csY403" fmla="*/ 1144913 h 1538630"/>
              <a:gd name="csX404" fmla="*/ 1609392 w 1609516"/>
              <a:gd name="csY404" fmla="*/ 1156892 h 1538630"/>
              <a:gd name="csX405" fmla="*/ 1609511 w 1609516"/>
              <a:gd name="csY405" fmla="*/ 1160272 h 1538630"/>
              <a:gd name="csX406" fmla="*/ 1604412 w 1609516"/>
              <a:gd name="csY406" fmla="*/ 1181553 h 1538630"/>
              <a:gd name="csX407" fmla="*/ 1601288 w 1609516"/>
              <a:gd name="csY407" fmla="*/ 1190009 h 1538630"/>
              <a:gd name="csX408" fmla="*/ 1598164 w 1609516"/>
              <a:gd name="csY408" fmla="*/ 1190009 h 1538630"/>
              <a:gd name="csX409" fmla="*/ 1597187 w 1609516"/>
              <a:gd name="csY409" fmla="*/ 1192739 h 1538630"/>
              <a:gd name="csX410" fmla="*/ 1595040 w 1609516"/>
              <a:gd name="csY410" fmla="*/ 1195645 h 1538630"/>
              <a:gd name="csX411" fmla="*/ 1585667 w 1609516"/>
              <a:gd name="csY411" fmla="*/ 1197055 h 1538630"/>
              <a:gd name="csX412" fmla="*/ 1582543 w 1609516"/>
              <a:gd name="csY412" fmla="*/ 1202691 h 1538630"/>
              <a:gd name="csX413" fmla="*/ 1562431 w 1609516"/>
              <a:gd name="csY413" fmla="*/ 1204365 h 1538630"/>
              <a:gd name="csX414" fmla="*/ 1558690 w 1609516"/>
              <a:gd name="csY414" fmla="*/ 1204417 h 1538630"/>
              <a:gd name="csX415" fmla="*/ 1521102 w 1609516"/>
              <a:gd name="csY415" fmla="*/ 1189585 h 1538630"/>
              <a:gd name="csX416" fmla="*/ 1505022 w 1609516"/>
              <a:gd name="csY416" fmla="*/ 1172041 h 1538630"/>
              <a:gd name="csX417" fmla="*/ 1457573 w 1609516"/>
              <a:gd name="csY417" fmla="*/ 1140686 h 1538630"/>
              <a:gd name="csX418" fmla="*/ 1457573 w 1609516"/>
              <a:gd name="csY418" fmla="*/ 1137867 h 1538630"/>
              <a:gd name="csX419" fmla="*/ 1452985 w 1609516"/>
              <a:gd name="csY419" fmla="*/ 1137339 h 1538630"/>
              <a:gd name="csX420" fmla="*/ 1448200 w 1609516"/>
              <a:gd name="csY420" fmla="*/ 1136458 h 1538630"/>
              <a:gd name="csX421" fmla="*/ 1446638 w 1609516"/>
              <a:gd name="csY421" fmla="*/ 1133640 h 1538630"/>
              <a:gd name="csX422" fmla="*/ 1438937 w 1609516"/>
              <a:gd name="csY422" fmla="*/ 1130601 h 1538630"/>
              <a:gd name="csX423" fmla="*/ 1429260 w 1609516"/>
              <a:gd name="csY423" fmla="*/ 1126770 h 1538630"/>
              <a:gd name="csX424" fmla="*/ 1411393 w 1609516"/>
              <a:gd name="csY424" fmla="*/ 1120340 h 1538630"/>
              <a:gd name="csX425" fmla="*/ 1391427 w 1609516"/>
              <a:gd name="csY425" fmla="*/ 1111191 h 1538630"/>
              <a:gd name="csX426" fmla="*/ 1381029 w 1609516"/>
              <a:gd name="csY426" fmla="*/ 1106865 h 1538630"/>
              <a:gd name="csX427" fmla="*/ 1381029 w 1609516"/>
              <a:gd name="csY427" fmla="*/ 1104046 h 1538630"/>
              <a:gd name="csX428" fmla="*/ 1377221 w 1609516"/>
              <a:gd name="csY428" fmla="*/ 1103605 h 1538630"/>
              <a:gd name="csX429" fmla="*/ 1357597 w 1609516"/>
              <a:gd name="csY429" fmla="*/ 1098409 h 1538630"/>
              <a:gd name="csX430" fmla="*/ 1352032 w 1609516"/>
              <a:gd name="csY430" fmla="*/ 1096736 h 1538630"/>
              <a:gd name="csX431" fmla="*/ 1348225 w 1609516"/>
              <a:gd name="csY431" fmla="*/ 1095590 h 1538630"/>
              <a:gd name="csX432" fmla="*/ 1348225 w 1609516"/>
              <a:gd name="csY432" fmla="*/ 1092772 h 1538630"/>
              <a:gd name="csX433" fmla="*/ 1337290 w 1609516"/>
              <a:gd name="csY433" fmla="*/ 1091363 h 1538630"/>
              <a:gd name="csX434" fmla="*/ 1337290 w 1609516"/>
              <a:gd name="csY434" fmla="*/ 1088544 h 1538630"/>
              <a:gd name="csX435" fmla="*/ 1331529 w 1609516"/>
              <a:gd name="csY435" fmla="*/ 1088104 h 1538630"/>
              <a:gd name="csX436" fmla="*/ 1323297 w 1609516"/>
              <a:gd name="csY436" fmla="*/ 1086611 h 1538630"/>
              <a:gd name="csX437" fmla="*/ 1323297 w 1609516"/>
              <a:gd name="csY437" fmla="*/ 1087618 h 1538630"/>
              <a:gd name="csX438" fmla="*/ 1319789 w 1609516"/>
              <a:gd name="csY438" fmla="*/ 1087310 h 1538630"/>
              <a:gd name="csX439" fmla="*/ 1262375 w 1609516"/>
              <a:gd name="csY439" fmla="*/ 1089028 h 1538630"/>
              <a:gd name="csX440" fmla="*/ 1258728 w 1609516"/>
              <a:gd name="csY440" fmla="*/ 1088205 h 1538630"/>
              <a:gd name="csX441" fmla="*/ 1246964 w 1609516"/>
              <a:gd name="csY441" fmla="*/ 1091489 h 1538630"/>
              <a:gd name="csX442" fmla="*/ 1223224 w 1609516"/>
              <a:gd name="csY442" fmla="*/ 1112865 h 1538630"/>
              <a:gd name="csX443" fmla="*/ 1213883 w 1609516"/>
              <a:gd name="csY443" fmla="*/ 1122366 h 1538630"/>
              <a:gd name="csX444" fmla="*/ 1212505 w 1609516"/>
              <a:gd name="csY444" fmla="*/ 1125708 h 1538630"/>
              <a:gd name="csX445" fmla="*/ 1204180 w 1609516"/>
              <a:gd name="csY445" fmla="*/ 1135561 h 1538630"/>
              <a:gd name="csX446" fmla="*/ 1200238 w 1609516"/>
              <a:gd name="csY446" fmla="*/ 1138999 h 1538630"/>
              <a:gd name="csX447" fmla="*/ 1192025 w 1609516"/>
              <a:gd name="csY447" fmla="*/ 1146022 h 1538630"/>
              <a:gd name="csX448" fmla="*/ 1173945 w 1609516"/>
              <a:gd name="csY448" fmla="*/ 1174749 h 1538630"/>
              <a:gd name="csX449" fmla="*/ 1173950 w 1609516"/>
              <a:gd name="csY449" fmla="*/ 1182610 h 1538630"/>
              <a:gd name="csX450" fmla="*/ 1173989 w 1609516"/>
              <a:gd name="csY450" fmla="*/ 1186765 h 1538630"/>
              <a:gd name="csX451" fmla="*/ 1182640 w 1609516"/>
              <a:gd name="csY451" fmla="*/ 1215374 h 1538630"/>
              <a:gd name="csX452" fmla="*/ 1185764 w 1609516"/>
              <a:gd name="csY452" fmla="*/ 1221804 h 1538630"/>
              <a:gd name="csX453" fmla="*/ 1187301 w 1609516"/>
              <a:gd name="csY453" fmla="*/ 1224859 h 1538630"/>
              <a:gd name="csX454" fmla="*/ 1190573 w 1609516"/>
              <a:gd name="csY454" fmla="*/ 1231740 h 1538630"/>
              <a:gd name="csX455" fmla="*/ 1205925 w 1609516"/>
              <a:gd name="csY455" fmla="*/ 1255163 h 1538630"/>
              <a:gd name="csX456" fmla="*/ 1212174 w 1609516"/>
              <a:gd name="csY456" fmla="*/ 1263134 h 1538630"/>
              <a:gd name="csX457" fmla="*/ 1235556 w 1609516"/>
              <a:gd name="csY457" fmla="*/ 1282538 h 1538630"/>
              <a:gd name="csX458" fmla="*/ 1238876 w 1609516"/>
              <a:gd name="csY458" fmla="*/ 1284426 h 1538630"/>
              <a:gd name="csX459" fmla="*/ 1238876 w 1609516"/>
              <a:gd name="csY459" fmla="*/ 1287245 h 1538630"/>
              <a:gd name="csX460" fmla="*/ 1242245 w 1609516"/>
              <a:gd name="csY460" fmla="*/ 1287663 h 1538630"/>
              <a:gd name="csX461" fmla="*/ 1271681 w 1609516"/>
              <a:gd name="csY461" fmla="*/ 1305565 h 1538630"/>
              <a:gd name="csX462" fmla="*/ 1271742 w 1609516"/>
              <a:gd name="csY462" fmla="*/ 1306172 h 1538630"/>
              <a:gd name="csX463" fmla="*/ 1278525 w 1609516"/>
              <a:gd name="csY463" fmla="*/ 1315767 h 1538630"/>
              <a:gd name="csX464" fmla="*/ 1281097 w 1609516"/>
              <a:gd name="csY464" fmla="*/ 1327286 h 1538630"/>
              <a:gd name="csX465" fmla="*/ 1277973 w 1609516"/>
              <a:gd name="csY465" fmla="*/ 1355470 h 1538630"/>
              <a:gd name="csX466" fmla="*/ 1277460 w 1609516"/>
              <a:gd name="csY466" fmla="*/ 1347025 h 1538630"/>
              <a:gd name="csX467" fmla="*/ 1273531 w 1609516"/>
              <a:gd name="csY467" fmla="*/ 1357991 h 1538630"/>
              <a:gd name="csX468" fmla="*/ 1263870 w 1609516"/>
              <a:gd name="csY468" fmla="*/ 1368980 h 1538630"/>
              <a:gd name="csX469" fmla="*/ 1246686 w 1609516"/>
              <a:gd name="csY469" fmla="*/ 1376026 h 1538630"/>
              <a:gd name="csX470" fmla="*/ 1246686 w 1609516"/>
              <a:gd name="csY470" fmla="*/ 1378844 h 1538630"/>
              <a:gd name="csX471" fmla="*/ 1231651 w 1609516"/>
              <a:gd name="csY471" fmla="*/ 1379196 h 1538630"/>
              <a:gd name="csX472" fmla="*/ 1227373 w 1609516"/>
              <a:gd name="csY472" fmla="*/ 1379340 h 1538630"/>
              <a:gd name="csX473" fmla="*/ 1206071 w 1609516"/>
              <a:gd name="csY473" fmla="*/ 1373207 h 1538630"/>
              <a:gd name="csX474" fmla="*/ 1202069 w 1609516"/>
              <a:gd name="csY474" fmla="*/ 1371798 h 1538630"/>
              <a:gd name="csX475" fmla="*/ 1184104 w 1609516"/>
              <a:gd name="csY475" fmla="*/ 1356176 h 1538630"/>
              <a:gd name="csX476" fmla="*/ 1177270 w 1609516"/>
              <a:gd name="csY476" fmla="*/ 1335247 h 1538630"/>
              <a:gd name="csX477" fmla="*/ 1169002 w 1609516"/>
              <a:gd name="csY477" fmla="*/ 1313464 h 1538630"/>
              <a:gd name="csX478" fmla="*/ 1163504 w 1609516"/>
              <a:gd name="csY478" fmla="*/ 1302130 h 1538630"/>
              <a:gd name="csX479" fmla="*/ 1162015 w 1609516"/>
              <a:gd name="csY479" fmla="*/ 1298788 h 1538630"/>
              <a:gd name="csX480" fmla="*/ 1160111 w 1609516"/>
              <a:gd name="csY480" fmla="*/ 1292656 h 1538630"/>
              <a:gd name="csX481" fmla="*/ 1154522 w 1609516"/>
              <a:gd name="csY481" fmla="*/ 1287245 h 1538630"/>
              <a:gd name="csX482" fmla="*/ 1151398 w 1609516"/>
              <a:gd name="csY482" fmla="*/ 1280199 h 1538630"/>
              <a:gd name="csX483" fmla="*/ 1144173 w 1609516"/>
              <a:gd name="csY483" fmla="*/ 1270774 h 1538630"/>
              <a:gd name="csX484" fmla="*/ 1142065 w 1609516"/>
              <a:gd name="csY484" fmla="*/ 1268160 h 1538630"/>
              <a:gd name="csX485" fmla="*/ 1135776 w 1609516"/>
              <a:gd name="csY485" fmla="*/ 1260470 h 1538630"/>
              <a:gd name="csX486" fmla="*/ 1132353 w 1609516"/>
              <a:gd name="csY486" fmla="*/ 1256247 h 1538630"/>
              <a:gd name="csX487" fmla="*/ 1112344 w 1609516"/>
              <a:gd name="csY487" fmla="*/ 1240741 h 1538630"/>
              <a:gd name="csX488" fmla="*/ 1106193 w 1609516"/>
              <a:gd name="csY488" fmla="*/ 1237570 h 1538630"/>
              <a:gd name="csX489" fmla="*/ 1101409 w 1609516"/>
              <a:gd name="csY489" fmla="*/ 1235104 h 1538630"/>
              <a:gd name="csX490" fmla="*/ 1101409 w 1609516"/>
              <a:gd name="csY490" fmla="*/ 1230876 h 1538630"/>
              <a:gd name="csX491" fmla="*/ 1065480 w 1609516"/>
              <a:gd name="csY491" fmla="*/ 1230876 h 1538630"/>
              <a:gd name="csX492" fmla="*/ 1063919 w 1609516"/>
              <a:gd name="csY492" fmla="*/ 1235104 h 1538630"/>
              <a:gd name="csX493" fmla="*/ 1059232 w 1609516"/>
              <a:gd name="csY493" fmla="*/ 1235104 h 1538630"/>
              <a:gd name="csX494" fmla="*/ 1059232 w 1609516"/>
              <a:gd name="csY494" fmla="*/ 1237922 h 1538630"/>
              <a:gd name="csX495" fmla="*/ 1040194 w 1609516"/>
              <a:gd name="csY495" fmla="*/ 1245761 h 1538630"/>
              <a:gd name="csX496" fmla="*/ 1030333 w 1609516"/>
              <a:gd name="csY496" fmla="*/ 1249901 h 1538630"/>
              <a:gd name="csX497" fmla="*/ 1013931 w 1609516"/>
              <a:gd name="csY497" fmla="*/ 1256242 h 1538630"/>
              <a:gd name="csX498" fmla="*/ 1005925 w 1609516"/>
              <a:gd name="csY498" fmla="*/ 1261615 h 1538630"/>
              <a:gd name="csX499" fmla="*/ 1004558 w 1609516"/>
              <a:gd name="csY499" fmla="*/ 1264697 h 1538630"/>
              <a:gd name="csX500" fmla="*/ 1002959 w 1609516"/>
              <a:gd name="csY500" fmla="*/ 1267961 h 1538630"/>
              <a:gd name="csX501" fmla="*/ 1000653 w 1609516"/>
              <a:gd name="csY501" fmla="*/ 1278965 h 1538630"/>
              <a:gd name="csX502" fmla="*/ 998297 w 1609516"/>
              <a:gd name="csY502" fmla="*/ 1294137 h 1538630"/>
              <a:gd name="csX503" fmla="*/ 996162 w 1609516"/>
              <a:gd name="csY503" fmla="*/ 1324765 h 1538630"/>
              <a:gd name="csX504" fmla="*/ 996164 w 1609516"/>
              <a:gd name="csY504" fmla="*/ 1327846 h 1538630"/>
              <a:gd name="csX505" fmla="*/ 1007780 w 1609516"/>
              <a:gd name="csY505" fmla="*/ 1403329 h 1538630"/>
              <a:gd name="csX506" fmla="*/ 1008940 w 1609516"/>
              <a:gd name="csY506" fmla="*/ 1407701 h 1538630"/>
              <a:gd name="csX507" fmla="*/ 1010080 w 1609516"/>
              <a:gd name="csY507" fmla="*/ 1411730 h 1538630"/>
              <a:gd name="csX508" fmla="*/ 1011075 w 1609516"/>
              <a:gd name="csY508" fmla="*/ 1415277 h 1538630"/>
              <a:gd name="csX509" fmla="*/ 1017055 w 1609516"/>
              <a:gd name="csY509" fmla="*/ 1422530 h 1538630"/>
              <a:gd name="csX510" fmla="*/ 1020277 w 1609516"/>
              <a:gd name="csY510" fmla="*/ 1427991 h 1538630"/>
              <a:gd name="csX511" fmla="*/ 1021796 w 1609516"/>
              <a:gd name="csY511" fmla="*/ 1430798 h 1538630"/>
              <a:gd name="csX512" fmla="*/ 1024579 w 1609516"/>
              <a:gd name="csY512" fmla="*/ 1437239 h 1538630"/>
              <a:gd name="csX513" fmla="*/ 1034043 w 1609516"/>
              <a:gd name="csY513" fmla="*/ 1448072 h 1538630"/>
              <a:gd name="csX514" fmla="*/ 1043782 w 1609516"/>
              <a:gd name="csY514" fmla="*/ 1464320 h 1538630"/>
              <a:gd name="csX515" fmla="*/ 1050458 w 1609516"/>
              <a:gd name="csY515" fmla="*/ 1472189 h 1538630"/>
              <a:gd name="csX516" fmla="*/ 1052926 w 1609516"/>
              <a:gd name="csY516" fmla="*/ 1482370 h 1538630"/>
              <a:gd name="csX517" fmla="*/ 1053316 w 1609516"/>
              <a:gd name="csY517" fmla="*/ 1496903 h 1538630"/>
              <a:gd name="csX518" fmla="*/ 1053352 w 1609516"/>
              <a:gd name="csY518" fmla="*/ 1500660 h 1538630"/>
              <a:gd name="csX519" fmla="*/ 1053341 w 1609516"/>
              <a:gd name="csY519" fmla="*/ 1504285 h 1538630"/>
              <a:gd name="csX520" fmla="*/ 1053329 w 1609516"/>
              <a:gd name="csY520" fmla="*/ 1507529 h 1538630"/>
              <a:gd name="csX521" fmla="*/ 1049801 w 1609516"/>
              <a:gd name="csY521" fmla="*/ 1516192 h 1538630"/>
              <a:gd name="csX522" fmla="*/ 1047312 w 1609516"/>
              <a:gd name="csY522" fmla="*/ 1516192 h 1538630"/>
              <a:gd name="csX523" fmla="*/ 1043611 w 1609516"/>
              <a:gd name="csY523" fmla="*/ 1522585 h 1538630"/>
              <a:gd name="csX524" fmla="*/ 1029552 w 1609516"/>
              <a:gd name="csY524" fmla="*/ 1529631 h 1538630"/>
              <a:gd name="csX525" fmla="*/ 1028771 w 1609516"/>
              <a:gd name="csY525" fmla="*/ 1532273 h 1538630"/>
              <a:gd name="csX526" fmla="*/ 1018013 w 1609516"/>
              <a:gd name="csY526" fmla="*/ 1537640 h 1538630"/>
              <a:gd name="csX527" fmla="*/ 981126 w 1609516"/>
              <a:gd name="csY527" fmla="*/ 1533859 h 1538630"/>
              <a:gd name="csX528" fmla="*/ 977227 w 1609516"/>
              <a:gd name="csY528" fmla="*/ 1531943 h 1538630"/>
              <a:gd name="csX529" fmla="*/ 955376 w 1609516"/>
              <a:gd name="csY529" fmla="*/ 1508751 h 1538630"/>
              <a:gd name="csX530" fmla="*/ 954571 w 1609516"/>
              <a:gd name="csY530" fmla="*/ 1500037 h 1538630"/>
              <a:gd name="csX531" fmla="*/ 951446 w 1609516"/>
              <a:gd name="csY531" fmla="*/ 1500037 h 1538630"/>
              <a:gd name="csX532" fmla="*/ 951251 w 1609516"/>
              <a:gd name="csY532" fmla="*/ 1487883 h 1538630"/>
              <a:gd name="csX533" fmla="*/ 951171 w 1609516"/>
              <a:gd name="csY533" fmla="*/ 1484431 h 1538630"/>
              <a:gd name="csX534" fmla="*/ 954571 w 1609516"/>
              <a:gd name="csY534" fmla="*/ 1466216 h 1538630"/>
              <a:gd name="csX535" fmla="*/ 954961 w 1609516"/>
              <a:gd name="csY535" fmla="*/ 1455118 h 1538630"/>
              <a:gd name="csX536" fmla="*/ 954932 w 1609516"/>
              <a:gd name="csY536" fmla="*/ 1451972 h 1538630"/>
              <a:gd name="csX537" fmla="*/ 945099 w 1609516"/>
              <a:gd name="csY537" fmla="*/ 1403594 h 1538630"/>
              <a:gd name="csX538" fmla="*/ 942366 w 1609516"/>
              <a:gd name="csY538" fmla="*/ 1393553 h 1538630"/>
              <a:gd name="csX539" fmla="*/ 934451 w 1609516"/>
              <a:gd name="csY539" fmla="*/ 1372734 h 1538630"/>
              <a:gd name="csX540" fmla="*/ 931974 w 1609516"/>
              <a:gd name="csY540" fmla="*/ 1365754 h 1538630"/>
              <a:gd name="csX541" fmla="*/ 931138 w 1609516"/>
              <a:gd name="csY541" fmla="*/ 1363343 h 1538630"/>
              <a:gd name="csX542" fmla="*/ 926452 w 1609516"/>
              <a:gd name="csY542" fmla="*/ 1361933 h 1538630"/>
              <a:gd name="csX543" fmla="*/ 918641 w 1609516"/>
              <a:gd name="csY543" fmla="*/ 1340795 h 1538630"/>
              <a:gd name="csX544" fmla="*/ 917079 w 1609516"/>
              <a:gd name="csY544" fmla="*/ 1335158 h 1538630"/>
              <a:gd name="csX545" fmla="*/ 913955 w 1609516"/>
              <a:gd name="csY545" fmla="*/ 1335158 h 1538630"/>
              <a:gd name="csX546" fmla="*/ 912057 w 1609516"/>
              <a:gd name="csY546" fmla="*/ 1330793 h 1538630"/>
              <a:gd name="csX547" fmla="*/ 902142 w 1609516"/>
              <a:gd name="csY547" fmla="*/ 1316222 h 1538630"/>
              <a:gd name="csX548" fmla="*/ 900091 w 1609516"/>
              <a:gd name="csY548" fmla="*/ 1313828 h 1538630"/>
              <a:gd name="csX549" fmla="*/ 878026 w 1609516"/>
              <a:gd name="csY549" fmla="*/ 1295700 h 1538630"/>
              <a:gd name="csX550" fmla="*/ 875134 w 1609516"/>
              <a:gd name="csY550" fmla="*/ 1293465 h 1538630"/>
              <a:gd name="csX551" fmla="*/ 869869 w 1609516"/>
              <a:gd name="csY551" fmla="*/ 1291826 h 1538630"/>
              <a:gd name="csX552" fmla="*/ 862384 w 1609516"/>
              <a:gd name="csY552" fmla="*/ 1291327 h 1538630"/>
              <a:gd name="csX553" fmla="*/ 844390 w 1609516"/>
              <a:gd name="csY553" fmla="*/ 1290461 h 1538630"/>
              <a:gd name="csX554" fmla="*/ 840476 w 1609516"/>
              <a:gd name="csY554" fmla="*/ 1290500 h 1538630"/>
              <a:gd name="csX555" fmla="*/ 831015 w 1609516"/>
              <a:gd name="csY555" fmla="*/ 1290637 h 1538630"/>
              <a:gd name="csX556" fmla="*/ 831015 w 1609516"/>
              <a:gd name="csY556" fmla="*/ 1293456 h 1538630"/>
              <a:gd name="csX557" fmla="*/ 818225 w 1609516"/>
              <a:gd name="csY557" fmla="*/ 1295570 h 1538630"/>
              <a:gd name="csX558" fmla="*/ 796774 w 1609516"/>
              <a:gd name="csY558" fmla="*/ 1297671 h 1538630"/>
              <a:gd name="csX559" fmla="*/ 783646 w 1609516"/>
              <a:gd name="csY559" fmla="*/ 1305736 h 1538630"/>
              <a:gd name="csX560" fmla="*/ 769263 w 1609516"/>
              <a:gd name="csY560" fmla="*/ 1327143 h 1538630"/>
              <a:gd name="csX561" fmla="*/ 764797 w 1609516"/>
              <a:gd name="csY561" fmla="*/ 1334360 h 1538630"/>
              <a:gd name="csX562" fmla="*/ 757875 w 1609516"/>
              <a:gd name="csY562" fmla="*/ 1353503 h 1538630"/>
              <a:gd name="csX563" fmla="*/ 755676 w 1609516"/>
              <a:gd name="csY563" fmla="*/ 1367455 h 1538630"/>
              <a:gd name="csX564" fmla="*/ 750558 w 1609516"/>
              <a:gd name="csY564" fmla="*/ 1399690 h 1538630"/>
              <a:gd name="csX565" fmla="*/ 753057 w 1609516"/>
              <a:gd name="csY565" fmla="*/ 1411256 h 1538630"/>
              <a:gd name="csX566" fmla="*/ 753057 w 1609516"/>
              <a:gd name="csY566" fmla="*/ 1416893 h 1538630"/>
              <a:gd name="csX567" fmla="*/ 756181 w 1609516"/>
              <a:gd name="csY567" fmla="*/ 1416893 h 1538630"/>
              <a:gd name="csX568" fmla="*/ 758133 w 1609516"/>
              <a:gd name="csY568" fmla="*/ 1436182 h 1538630"/>
              <a:gd name="csX569" fmla="*/ 758231 w 1609516"/>
              <a:gd name="csY569" fmla="*/ 1440781 h 1538630"/>
              <a:gd name="csX570" fmla="*/ 750713 w 1609516"/>
              <a:gd name="csY570" fmla="*/ 1465704 h 1538630"/>
              <a:gd name="csX571" fmla="*/ 748370 w 1609516"/>
              <a:gd name="csY571" fmla="*/ 1467185 h 1538630"/>
              <a:gd name="csX572" fmla="*/ 741633 w 1609516"/>
              <a:gd name="csY572" fmla="*/ 1473526 h 1538630"/>
              <a:gd name="csX573" fmla="*/ 728154 w 1609516"/>
              <a:gd name="csY573" fmla="*/ 1478343 h 1538630"/>
              <a:gd name="csX574" fmla="*/ 721814 w 1609516"/>
              <a:gd name="csY574" fmla="*/ 1480308 h 1538630"/>
              <a:gd name="csX575" fmla="*/ 708341 w 1609516"/>
              <a:gd name="csY575" fmla="*/ 1480661 h 1538630"/>
              <a:gd name="csX576" fmla="*/ 704637 w 1609516"/>
              <a:gd name="csY576" fmla="*/ 1480748 h 1538630"/>
              <a:gd name="csX577" fmla="*/ 668507 w 1609516"/>
              <a:gd name="csY577" fmla="*/ 1468418 h 1538630"/>
              <a:gd name="csX578" fmla="*/ 660178 w 1609516"/>
              <a:gd name="csY578" fmla="*/ 1450027 h 1538630"/>
              <a:gd name="csX579" fmla="*/ 657767 w 1609516"/>
              <a:gd name="csY579" fmla="*/ 1445078 h 1538630"/>
              <a:gd name="csX580" fmla="*/ 663369 w 1609516"/>
              <a:gd name="csY580" fmla="*/ 1409390 h 1538630"/>
              <a:gd name="csX581" fmla="*/ 671826 w 1609516"/>
              <a:gd name="csY581" fmla="*/ 1401392 h 1538630"/>
              <a:gd name="csX582" fmla="*/ 678075 w 1609516"/>
              <a:gd name="csY582" fmla="*/ 1390118 h 1538630"/>
              <a:gd name="csX583" fmla="*/ 684323 w 1609516"/>
              <a:gd name="csY583" fmla="*/ 1388709 h 1538630"/>
              <a:gd name="csX584" fmla="*/ 685293 w 1609516"/>
              <a:gd name="csY584" fmla="*/ 1384233 h 1538630"/>
              <a:gd name="csX585" fmla="*/ 686569 w 1609516"/>
              <a:gd name="csY585" fmla="*/ 1378404 h 1538630"/>
              <a:gd name="csX586" fmla="*/ 687207 w 1609516"/>
              <a:gd name="csY586" fmla="*/ 1375456 h 1538630"/>
              <a:gd name="csX587" fmla="*/ 690572 w 1609516"/>
              <a:gd name="csY587" fmla="*/ 1363343 h 1538630"/>
              <a:gd name="csX588" fmla="*/ 692495 w 1609516"/>
              <a:gd name="csY588" fmla="*/ 1323376 h 1538630"/>
              <a:gd name="csX589" fmla="*/ 692625 w 1609516"/>
              <a:gd name="csY589" fmla="*/ 1315006 h 1538630"/>
              <a:gd name="csX590" fmla="*/ 687447 w 1609516"/>
              <a:gd name="csY590" fmla="*/ 1287245 h 1538630"/>
              <a:gd name="csX591" fmla="*/ 682761 w 1609516"/>
              <a:gd name="csY591" fmla="*/ 1285835 h 1538630"/>
              <a:gd name="csX592" fmla="*/ 678954 w 1609516"/>
              <a:gd name="csY592" fmla="*/ 1281608 h 1538630"/>
              <a:gd name="csX593" fmla="*/ 668702 w 1609516"/>
              <a:gd name="csY593" fmla="*/ 1275971 h 1538630"/>
              <a:gd name="csX594" fmla="*/ 662454 w 1609516"/>
              <a:gd name="csY594" fmla="*/ 1270334 h 1538630"/>
              <a:gd name="csX595" fmla="*/ 654643 w 1609516"/>
              <a:gd name="csY595" fmla="*/ 1267516 h 1538630"/>
              <a:gd name="csX596" fmla="*/ 654643 w 1609516"/>
              <a:gd name="csY596" fmla="*/ 1264697 h 1538630"/>
              <a:gd name="csX597" fmla="*/ 650152 w 1609516"/>
              <a:gd name="csY597" fmla="*/ 1264345 h 1538630"/>
              <a:gd name="csX598" fmla="*/ 628087 w 1609516"/>
              <a:gd name="csY598" fmla="*/ 1257651 h 1538630"/>
              <a:gd name="csX599" fmla="*/ 628087 w 1609516"/>
              <a:gd name="csY599" fmla="*/ 1254833 h 1538630"/>
              <a:gd name="csX600" fmla="*/ 625121 w 1609516"/>
              <a:gd name="csY600" fmla="*/ 1254315 h 1538630"/>
              <a:gd name="csX601" fmla="*/ 621252 w 1609516"/>
              <a:gd name="csY601" fmla="*/ 1253600 h 1538630"/>
              <a:gd name="csX602" fmla="*/ 617409 w 1609516"/>
              <a:gd name="csY602" fmla="*/ 1252906 h 1538630"/>
              <a:gd name="csX603" fmla="*/ 610904 w 1609516"/>
              <a:gd name="csY603" fmla="*/ 1249196 h 1538630"/>
              <a:gd name="csX604" fmla="*/ 565739 w 1609516"/>
              <a:gd name="csY604" fmla="*/ 1271742 h 1538630"/>
              <a:gd name="csX605" fmla="*/ 546924 w 1609516"/>
              <a:gd name="csY605" fmla="*/ 1290829 h 1538630"/>
              <a:gd name="csX606" fmla="*/ 543635 w 1609516"/>
              <a:gd name="csY606" fmla="*/ 1294643 h 1538630"/>
              <a:gd name="csX607" fmla="*/ 540651 w 1609516"/>
              <a:gd name="csY607" fmla="*/ 1298188 h 1538630"/>
              <a:gd name="csX608" fmla="*/ 529673 w 1609516"/>
              <a:gd name="csY608" fmla="*/ 1305565 h 1538630"/>
              <a:gd name="csX609" fmla="*/ 526549 w 1609516"/>
              <a:gd name="csY609" fmla="*/ 1311202 h 1538630"/>
              <a:gd name="csX610" fmla="*/ 523425 w 1609516"/>
              <a:gd name="csY610" fmla="*/ 1311202 h 1538630"/>
              <a:gd name="csX611" fmla="*/ 523230 w 1609516"/>
              <a:gd name="csY611" fmla="*/ 1313580 h 1538630"/>
              <a:gd name="csX612" fmla="*/ 517732 w 1609516"/>
              <a:gd name="csY612" fmla="*/ 1319739 h 1538630"/>
              <a:gd name="csX613" fmla="*/ 502239 w 1609516"/>
              <a:gd name="csY613" fmla="*/ 1337096 h 1538630"/>
              <a:gd name="csX614" fmla="*/ 497058 w 1609516"/>
              <a:gd name="csY614" fmla="*/ 1344087 h 1538630"/>
              <a:gd name="csX615" fmla="*/ 494572 w 1609516"/>
              <a:gd name="csY615" fmla="*/ 1347465 h 1538630"/>
              <a:gd name="csX616" fmla="*/ 487776 w 1609516"/>
              <a:gd name="csY616" fmla="*/ 1356181 h 1538630"/>
              <a:gd name="csX617" fmla="*/ 481248 w 1609516"/>
              <a:gd name="csY617" fmla="*/ 1367571 h 1538630"/>
              <a:gd name="csX618" fmla="*/ 478123 w 1609516"/>
              <a:gd name="csY618" fmla="*/ 1367571 h 1538630"/>
              <a:gd name="csX619" fmla="*/ 477635 w 1609516"/>
              <a:gd name="csY619" fmla="*/ 1370565 h 1538630"/>
              <a:gd name="csX620" fmla="*/ 465626 w 1609516"/>
              <a:gd name="csY620" fmla="*/ 1388709 h 1538630"/>
              <a:gd name="csX621" fmla="*/ 461233 w 1609516"/>
              <a:gd name="csY621" fmla="*/ 1397340 h 1538630"/>
              <a:gd name="csX622" fmla="*/ 455765 w 1609516"/>
              <a:gd name="csY622" fmla="*/ 1408086 h 1538630"/>
              <a:gd name="csX623" fmla="*/ 439070 w 1609516"/>
              <a:gd name="csY623" fmla="*/ 1477490 h 1538630"/>
              <a:gd name="csX624" fmla="*/ 434384 w 1609516"/>
              <a:gd name="csY624" fmla="*/ 1478899 h 1538630"/>
              <a:gd name="csX625" fmla="*/ 432431 w 1609516"/>
              <a:gd name="csY625" fmla="*/ 1481982 h 1538630"/>
              <a:gd name="csX626" fmla="*/ 418763 w 1609516"/>
              <a:gd name="csY626" fmla="*/ 1494401 h 1538630"/>
              <a:gd name="csX627" fmla="*/ 415639 w 1609516"/>
              <a:gd name="csY627" fmla="*/ 1494401 h 1538630"/>
              <a:gd name="csX628" fmla="*/ 415639 w 1609516"/>
              <a:gd name="csY628" fmla="*/ 1497219 h 1538630"/>
              <a:gd name="csX629" fmla="*/ 406265 w 1609516"/>
              <a:gd name="csY629" fmla="*/ 1498628 h 1538630"/>
              <a:gd name="csX630" fmla="*/ 406265 w 1609516"/>
              <a:gd name="csY630" fmla="*/ 1501447 h 1538630"/>
              <a:gd name="csX631" fmla="*/ 375023 w 1609516"/>
              <a:gd name="csY631" fmla="*/ 1501447 h 1538630"/>
              <a:gd name="csX632" fmla="*/ 375023 w 1609516"/>
              <a:gd name="csY632" fmla="*/ 1499438 h 1538630"/>
              <a:gd name="csX633" fmla="*/ 374964 w 1609516"/>
              <a:gd name="csY633" fmla="*/ 1499436 h 1538630"/>
              <a:gd name="csX634" fmla="*/ 373179 w 1609516"/>
              <a:gd name="csY634" fmla="*/ 1498628 h 1538630"/>
              <a:gd name="csX635" fmla="*/ 365650 w 1609516"/>
              <a:gd name="csY635" fmla="*/ 1498628 h 1538630"/>
              <a:gd name="csX636" fmla="*/ 363134 w 1609516"/>
              <a:gd name="csY636" fmla="*/ 1494087 h 1538630"/>
              <a:gd name="csX637" fmla="*/ 362171 w 1609516"/>
              <a:gd name="csY637" fmla="*/ 1493651 h 1538630"/>
              <a:gd name="csX638" fmla="*/ 360609 w 1609516"/>
              <a:gd name="csY638" fmla="*/ 1490833 h 1538630"/>
              <a:gd name="csX639" fmla="*/ 363733 w 1609516"/>
              <a:gd name="csY639" fmla="*/ 1490833 h 1538630"/>
              <a:gd name="csX640" fmla="*/ 363733 w 1609516"/>
              <a:gd name="csY640" fmla="*/ 1489980 h 1538630"/>
              <a:gd name="csX641" fmla="*/ 348467 w 1609516"/>
              <a:gd name="csY641" fmla="*/ 1481717 h 1538630"/>
              <a:gd name="csX642" fmla="*/ 343872 w 1609516"/>
              <a:gd name="csY642" fmla="*/ 1461078 h 1538630"/>
              <a:gd name="csX643" fmla="*/ 343656 w 1609516"/>
              <a:gd name="csY643" fmla="*/ 1463649 h 1538630"/>
              <a:gd name="csX644" fmla="*/ 343424 w 1609516"/>
              <a:gd name="csY644" fmla="*/ 1466842 h 1538630"/>
              <a:gd name="csX645" fmla="*/ 341861 w 1609516"/>
              <a:gd name="csY645" fmla="*/ 1466842 h 1538630"/>
              <a:gd name="csX646" fmla="*/ 354143 w 1609516"/>
              <a:gd name="csY646" fmla="*/ 1420549 h 1538630"/>
              <a:gd name="csX647" fmla="*/ 376229 w 1609516"/>
              <a:gd name="csY647" fmla="*/ 1403427 h 1538630"/>
              <a:gd name="csX648" fmla="*/ 379491 w 1609516"/>
              <a:gd name="csY648" fmla="*/ 1404408 h 1538630"/>
              <a:gd name="csX649" fmla="*/ 379710 w 1609516"/>
              <a:gd name="csY649" fmla="*/ 1404210 h 1538630"/>
              <a:gd name="csX650" fmla="*/ 380882 w 1609516"/>
              <a:gd name="csY650" fmla="*/ 1401568 h 1538630"/>
              <a:gd name="csX651" fmla="*/ 392207 w 1609516"/>
              <a:gd name="csY651" fmla="*/ 1392936 h 1538630"/>
              <a:gd name="csX652" fmla="*/ 399542 w 1609516"/>
              <a:gd name="csY652" fmla="*/ 1386774 h 1538630"/>
              <a:gd name="csX653" fmla="*/ 405485 w 1609516"/>
              <a:gd name="csY653" fmla="*/ 1378917 h 1538630"/>
              <a:gd name="csX654" fmla="*/ 412008 w 1609516"/>
              <a:gd name="csY654" fmla="*/ 1369481 h 1538630"/>
              <a:gd name="csX655" fmla="*/ 421130 w 1609516"/>
              <a:gd name="csY655" fmla="*/ 1357057 h 1538630"/>
              <a:gd name="csX656" fmla="*/ 424676 w 1609516"/>
              <a:gd name="csY656" fmla="*/ 1348443 h 1538630"/>
              <a:gd name="csX657" fmla="*/ 427275 w 1609516"/>
              <a:gd name="csY657" fmla="*/ 1348443 h 1538630"/>
              <a:gd name="csX658" fmla="*/ 428135 w 1609516"/>
              <a:gd name="csY658" fmla="*/ 1345727 h 1538630"/>
              <a:gd name="csX659" fmla="*/ 432822 w 1609516"/>
              <a:gd name="csY659" fmla="*/ 1335158 h 1538630"/>
              <a:gd name="csX660" fmla="*/ 435946 w 1609516"/>
              <a:gd name="csY660" fmla="*/ 1335158 h 1538630"/>
              <a:gd name="csX661" fmla="*/ 437704 w 1609516"/>
              <a:gd name="csY661" fmla="*/ 1329786 h 1538630"/>
              <a:gd name="csX662" fmla="*/ 447394 w 1609516"/>
              <a:gd name="csY662" fmla="*/ 1311196 h 1538630"/>
              <a:gd name="csX663" fmla="*/ 469287 w 1609516"/>
              <a:gd name="csY663" fmla="*/ 1265964 h 1538630"/>
              <a:gd name="csX664" fmla="*/ 478178 w 1609516"/>
              <a:gd name="csY664" fmla="*/ 1246787 h 1538630"/>
              <a:gd name="csX665" fmla="*/ 480179 w 1609516"/>
              <a:gd name="csY665" fmla="*/ 1225768 h 1538630"/>
              <a:gd name="csX666" fmla="*/ 480250 w 1609516"/>
              <a:gd name="csY666" fmla="*/ 1217149 h 1538630"/>
              <a:gd name="csX667" fmla="*/ 462972 w 1609516"/>
              <a:gd name="csY667" fmla="*/ 1174827 h 1538630"/>
              <a:gd name="csX668" fmla="*/ 457468 w 1609516"/>
              <a:gd name="csY668" fmla="*/ 1169949 h 1538630"/>
              <a:gd name="csX669" fmla="*/ 440657 w 1609516"/>
              <a:gd name="csY669" fmla="*/ 1152570 h 1538630"/>
              <a:gd name="csX670" fmla="*/ 403142 w 1609516"/>
              <a:gd name="csY670" fmla="*/ 1122366 h 1538630"/>
              <a:gd name="csX671" fmla="*/ 401579 w 1609516"/>
              <a:gd name="csY671" fmla="*/ 1119547 h 1538630"/>
              <a:gd name="csX672" fmla="*/ 364564 w 1609516"/>
              <a:gd name="csY672" fmla="*/ 1118209 h 1538630"/>
              <a:gd name="csX673" fmla="*/ 357822 w 1609516"/>
              <a:gd name="csY673" fmla="*/ 1122041 h 1538630"/>
              <a:gd name="csX674" fmla="*/ 348077 w 1609516"/>
              <a:gd name="csY674" fmla="*/ 1125273 h 1538630"/>
              <a:gd name="csX675" fmla="*/ 334408 w 1609516"/>
              <a:gd name="csY675" fmla="*/ 1132230 h 1538630"/>
              <a:gd name="csX676" fmla="*/ 327964 w 1609516"/>
              <a:gd name="csY676" fmla="*/ 1134080 h 1538630"/>
              <a:gd name="csX677" fmla="*/ 279734 w 1609516"/>
              <a:gd name="csY677" fmla="*/ 1166051 h 1538630"/>
              <a:gd name="csX678" fmla="*/ 276609 w 1609516"/>
              <a:gd name="csY678" fmla="*/ 1173098 h 1538630"/>
              <a:gd name="csX679" fmla="*/ 260988 w 1609516"/>
              <a:gd name="csY679" fmla="*/ 1188599 h 1538630"/>
              <a:gd name="csX680" fmla="*/ 257956 w 1609516"/>
              <a:gd name="csY680" fmla="*/ 1191132 h 1538630"/>
              <a:gd name="csX681" fmla="*/ 243805 w 1609516"/>
              <a:gd name="csY681" fmla="*/ 1196629 h 1538630"/>
              <a:gd name="csX682" fmla="*/ 243805 w 1609516"/>
              <a:gd name="csY682" fmla="*/ 1194236 h 1538630"/>
              <a:gd name="csX683" fmla="*/ 240288 w 1609516"/>
              <a:gd name="csY683" fmla="*/ 1194765 h 1538630"/>
              <a:gd name="csX684" fmla="*/ 243374 w 1609516"/>
              <a:gd name="csY684" fmla="*/ 1194765 h 1538630"/>
              <a:gd name="csX685" fmla="*/ 243374 w 1609516"/>
              <a:gd name="csY685" fmla="*/ 1196797 h 1538630"/>
              <a:gd name="csX686" fmla="*/ 243805 w 1609516"/>
              <a:gd name="csY686" fmla="*/ 1196629 h 1538630"/>
              <a:gd name="csX687" fmla="*/ 243805 w 1609516"/>
              <a:gd name="csY687" fmla="*/ 1197055 h 1538630"/>
              <a:gd name="csX688" fmla="*/ 243374 w 1609516"/>
              <a:gd name="csY688" fmla="*/ 1197055 h 1538630"/>
              <a:gd name="csX689" fmla="*/ 243374 w 1609516"/>
              <a:gd name="csY689" fmla="*/ 1197584 h 1538630"/>
              <a:gd name="csX690" fmla="*/ 241319 w 1609516"/>
              <a:gd name="csY690" fmla="*/ 1197595 h 1538630"/>
              <a:gd name="csX691" fmla="*/ 238009 w 1609516"/>
              <a:gd name="csY691" fmla="*/ 1198881 h 1538630"/>
              <a:gd name="csX692" fmla="*/ 215687 w 1609516"/>
              <a:gd name="csY692" fmla="*/ 1198464 h 1538630"/>
              <a:gd name="csX693" fmla="*/ 215687 w 1609516"/>
              <a:gd name="csY693" fmla="*/ 1197734 h 1538630"/>
              <a:gd name="csX694" fmla="*/ 213936 w 1609516"/>
              <a:gd name="csY694" fmla="*/ 1197744 h 1538630"/>
              <a:gd name="csX695" fmla="*/ 207446 w 1609516"/>
              <a:gd name="csY695" fmla="*/ 1196175 h 1538630"/>
              <a:gd name="csX696" fmla="*/ 207822 w 1609516"/>
              <a:gd name="csY696" fmla="*/ 1195610 h 1538630"/>
              <a:gd name="csX697" fmla="*/ 184737 w 1609516"/>
              <a:gd name="csY697" fmla="*/ 1180936 h 1538630"/>
              <a:gd name="csX698" fmla="*/ 179270 w 1609516"/>
              <a:gd name="csY698" fmla="*/ 1154866 h 1538630"/>
              <a:gd name="csX699" fmla="*/ 179194 w 1609516"/>
              <a:gd name="csY699" fmla="*/ 1151621 h 1538630"/>
              <a:gd name="csX700" fmla="*/ 193195 w 1609516"/>
              <a:gd name="csY700" fmla="*/ 1120065 h 1538630"/>
              <a:gd name="csX701" fmla="*/ 229551 w 1609516"/>
              <a:gd name="csY701" fmla="*/ 1110299 h 1538630"/>
              <a:gd name="csX702" fmla="*/ 260988 w 1609516"/>
              <a:gd name="csY702" fmla="*/ 1108274 h 1538630"/>
              <a:gd name="csX703" fmla="*/ 260988 w 1609516"/>
              <a:gd name="csY703" fmla="*/ 1105455 h 1538630"/>
              <a:gd name="csX704" fmla="*/ 263911 w 1609516"/>
              <a:gd name="csY704" fmla="*/ 1104310 h 1538630"/>
              <a:gd name="csX705" fmla="*/ 286995 w 1609516"/>
              <a:gd name="csY705" fmla="*/ 1090185 h 1538630"/>
              <a:gd name="csX706" fmla="*/ 299358 w 1609516"/>
              <a:gd name="csY706" fmla="*/ 1080970 h 1538630"/>
              <a:gd name="csX707" fmla="*/ 317762 w 1609516"/>
              <a:gd name="csY707" fmla="*/ 1063272 h 1538630"/>
              <a:gd name="csX708" fmla="*/ 325035 w 1609516"/>
              <a:gd name="csY708" fmla="*/ 1057542 h 1538630"/>
              <a:gd name="csX709" fmla="*/ 325328 w 1609516"/>
              <a:gd name="csY709" fmla="*/ 1023104 h 1538630"/>
              <a:gd name="csX710" fmla="*/ 324544 w 1609516"/>
              <a:gd name="csY710" fmla="*/ 1019247 h 1538630"/>
              <a:gd name="csX711" fmla="*/ 317225 w 1609516"/>
              <a:gd name="csY711" fmla="*/ 996945 h 1538630"/>
              <a:gd name="csX712" fmla="*/ 315388 w 1609516"/>
              <a:gd name="csY712" fmla="*/ 992690 h 1538630"/>
              <a:gd name="csX713" fmla="*/ 276232 w 1609516"/>
              <a:gd name="csY713" fmla="*/ 950666 h 1538630"/>
              <a:gd name="csX714" fmla="*/ 271923 w 1609516"/>
              <a:gd name="csY714" fmla="*/ 949031 h 1538630"/>
              <a:gd name="csX715" fmla="*/ 268299 w 1609516"/>
              <a:gd name="csY715" fmla="*/ 947441 h 1538630"/>
              <a:gd name="csX716" fmla="*/ 199187 w 1609516"/>
              <a:gd name="csY716" fmla="*/ 938991 h 1538630"/>
              <a:gd name="csX717" fmla="*/ 193719 w 1609516"/>
              <a:gd name="csY717" fmla="*/ 938971 h 1538630"/>
              <a:gd name="csX718" fmla="*/ 188539 w 1609516"/>
              <a:gd name="csY718" fmla="*/ 938980 h 1538630"/>
              <a:gd name="csX719" fmla="*/ 183874 w 1609516"/>
              <a:gd name="csY719" fmla="*/ 938985 h 1538630"/>
              <a:gd name="csX720" fmla="*/ 173509 w 1609516"/>
              <a:gd name="csY720" fmla="*/ 940576 h 1538630"/>
              <a:gd name="csX721" fmla="*/ 161403 w 1609516"/>
              <a:gd name="csY721" fmla="*/ 940664 h 1538630"/>
              <a:gd name="csX722" fmla="*/ 158102 w 1609516"/>
              <a:gd name="csY722" fmla="*/ 940645 h 1538630"/>
              <a:gd name="csX723" fmla="*/ 150875 w 1609516"/>
              <a:gd name="csY723" fmla="*/ 940583 h 1538630"/>
              <a:gd name="csX724" fmla="*/ 148425 w 1609516"/>
              <a:gd name="csY724" fmla="*/ 940717 h 1538630"/>
              <a:gd name="csX725" fmla="*/ 149617 w 1609516"/>
              <a:gd name="csY725" fmla="*/ 940995 h 1538630"/>
              <a:gd name="csX726" fmla="*/ 149617 w 1609516"/>
              <a:gd name="csY726" fmla="*/ 942404 h 1538630"/>
              <a:gd name="csX727" fmla="*/ 146627 w 1609516"/>
              <a:gd name="csY727" fmla="*/ 942871 h 1538630"/>
              <a:gd name="csX728" fmla="*/ 110564 w 1609516"/>
              <a:gd name="csY728" fmla="*/ 949449 h 1538630"/>
              <a:gd name="csX729" fmla="*/ 111283 w 1609516"/>
              <a:gd name="csY729" fmla="*/ 946205 h 1538630"/>
              <a:gd name="csX730" fmla="*/ 101652 w 1609516"/>
              <a:gd name="csY730" fmla="*/ 956078 h 1538630"/>
              <a:gd name="csX731" fmla="*/ 98052 w 1609516"/>
              <a:gd name="csY731" fmla="*/ 958467 h 1538630"/>
              <a:gd name="csX732" fmla="*/ 67286 w 1609516"/>
              <a:gd name="csY732" fmla="*/ 972989 h 1538630"/>
              <a:gd name="csX733" fmla="*/ 67286 w 1609516"/>
              <a:gd name="csY733" fmla="*/ 975807 h 1538630"/>
              <a:gd name="csX734" fmla="*/ 31942 w 1609516"/>
              <a:gd name="csY734" fmla="*/ 976423 h 1538630"/>
              <a:gd name="csX735" fmla="*/ 5673 w 1609516"/>
              <a:gd name="csY735" fmla="*/ 953419 h 1538630"/>
              <a:gd name="csX736" fmla="*/ 4801 w 1609516"/>
              <a:gd name="csY736" fmla="*/ 944804 h 1538630"/>
              <a:gd name="csX737" fmla="*/ 1676 w 1609516"/>
              <a:gd name="csY737" fmla="*/ 944804 h 1538630"/>
              <a:gd name="csX738" fmla="*/ 17 w 1609516"/>
              <a:gd name="csY738" fmla="*/ 931857 h 1538630"/>
              <a:gd name="csX739" fmla="*/ 59 w 1609516"/>
              <a:gd name="csY739" fmla="*/ 927216 h 1538630"/>
              <a:gd name="csX740" fmla="*/ 115 w 1609516"/>
              <a:gd name="csY740" fmla="*/ 923666 h 1538630"/>
              <a:gd name="csX741" fmla="*/ 3238 w 1609516"/>
              <a:gd name="csY741" fmla="*/ 923666 h 1538630"/>
              <a:gd name="csX742" fmla="*/ 3238 w 1609516"/>
              <a:gd name="csY742" fmla="*/ 918029 h 1538630"/>
              <a:gd name="csX743" fmla="*/ 6363 w 1609516"/>
              <a:gd name="csY743" fmla="*/ 918029 h 1538630"/>
              <a:gd name="csX744" fmla="*/ 6656 w 1609516"/>
              <a:gd name="csY744" fmla="*/ 912832 h 1538630"/>
              <a:gd name="csX745" fmla="*/ 15736 w 1609516"/>
              <a:gd name="csY745" fmla="*/ 899709 h 1538630"/>
              <a:gd name="csX746" fmla="*/ 17243 w 1609516"/>
              <a:gd name="csY746" fmla="*/ 898894 h 1538630"/>
              <a:gd name="csX747" fmla="*/ 16800 w 1609516"/>
              <a:gd name="csY747" fmla="*/ 898694 h 1538630"/>
              <a:gd name="csX748" fmla="*/ 24988 w 1609516"/>
              <a:gd name="csY748" fmla="*/ 894101 h 1538630"/>
              <a:gd name="csX749" fmla="*/ 26768 w 1609516"/>
              <a:gd name="csY749" fmla="*/ 892399 h 1538630"/>
              <a:gd name="csX750" fmla="*/ 30198 w 1609516"/>
              <a:gd name="csY750" fmla="*/ 890164 h 1538630"/>
              <a:gd name="csX751" fmla="*/ 32204 w 1609516"/>
              <a:gd name="csY751" fmla="*/ 890054 h 1538630"/>
              <a:gd name="csX752" fmla="*/ 38914 w 1609516"/>
              <a:gd name="csY752" fmla="*/ 886291 h 1538630"/>
              <a:gd name="csX753" fmla="*/ 63664 w 1609516"/>
              <a:gd name="csY753" fmla="*/ 886011 h 1538630"/>
              <a:gd name="csX754" fmla="*/ 63664 w 1609516"/>
              <a:gd name="csY754" fmla="*/ 886531 h 1538630"/>
              <a:gd name="csX755" fmla="*/ 70784 w 1609516"/>
              <a:gd name="csY755" fmla="*/ 886647 h 1538630"/>
              <a:gd name="csX756" fmla="*/ 82126 w 1609516"/>
              <a:gd name="csY756" fmla="*/ 889845 h 1538630"/>
              <a:gd name="csX757" fmla="*/ 114149 w 1609516"/>
              <a:gd name="csY757" fmla="*/ 892663 h 1538630"/>
              <a:gd name="csX758" fmla="*/ 118836 w 1609516"/>
              <a:gd name="csY758" fmla="*/ 889845 h 1538630"/>
              <a:gd name="csX759" fmla="*/ 131626 w 1609516"/>
              <a:gd name="csY759" fmla="*/ 887114 h 1538630"/>
              <a:gd name="csX760" fmla="*/ 155116 w 1609516"/>
              <a:gd name="csY760" fmla="*/ 880913 h 1538630"/>
              <a:gd name="csX761" fmla="*/ 165406 w 1609516"/>
              <a:gd name="csY761" fmla="*/ 878483 h 1538630"/>
              <a:gd name="csX762" fmla="*/ 176634 w 1609516"/>
              <a:gd name="csY762" fmla="*/ 874343 h 1538630"/>
              <a:gd name="csX763" fmla="*/ 186397 w 1609516"/>
              <a:gd name="csY763" fmla="*/ 871524 h 1538630"/>
              <a:gd name="csX764" fmla="*/ 191871 w 1609516"/>
              <a:gd name="csY764" fmla="*/ 870033 h 1538630"/>
              <a:gd name="csX765" fmla="*/ 203483 w 1609516"/>
              <a:gd name="csY765" fmla="*/ 867208 h 1538630"/>
              <a:gd name="csX766" fmla="*/ 211001 w 1609516"/>
              <a:gd name="csY766" fmla="*/ 861660 h 1538630"/>
              <a:gd name="csX767" fmla="*/ 218031 w 1609516"/>
              <a:gd name="csY767" fmla="*/ 858577 h 1538630"/>
              <a:gd name="csX768" fmla="*/ 254740 w 1609516"/>
              <a:gd name="csY768" fmla="*/ 825020 h 1538630"/>
              <a:gd name="csX769" fmla="*/ 257864 w 1609516"/>
              <a:gd name="csY769" fmla="*/ 820792 h 1538630"/>
              <a:gd name="csX770" fmla="*/ 258318 w 1609516"/>
              <a:gd name="csY770" fmla="*/ 813810 h 1538630"/>
              <a:gd name="csX771" fmla="*/ 258378 w 1609516"/>
              <a:gd name="csY771" fmla="*/ 809502 h 1538630"/>
              <a:gd name="csX772" fmla="*/ 258389 w 1609516"/>
              <a:gd name="csY772" fmla="*/ 804845 h 1538630"/>
              <a:gd name="csX773" fmla="*/ 258420 w 1609516"/>
              <a:gd name="csY773" fmla="*/ 800036 h 1538630"/>
              <a:gd name="csX774" fmla="*/ 258443 w 1609516"/>
              <a:gd name="csY774" fmla="*/ 789939 h 1538630"/>
              <a:gd name="csX775" fmla="*/ 258566 w 1609516"/>
              <a:gd name="csY775" fmla="*/ 774594 h 1538630"/>
              <a:gd name="csX776" fmla="*/ 258584 w 1609516"/>
              <a:gd name="csY776" fmla="*/ 764771 h 1538630"/>
              <a:gd name="csX777" fmla="*/ 258652 w 1609516"/>
              <a:gd name="csY777" fmla="*/ 760174 h 1538630"/>
              <a:gd name="csX778" fmla="*/ 251616 w 1609516"/>
              <a:gd name="csY778" fmla="*/ 733421 h 1538630"/>
              <a:gd name="csX779" fmla="*/ 247613 w 1609516"/>
              <a:gd name="csY779" fmla="*/ 721883 h 1538630"/>
              <a:gd name="csX780" fmla="*/ 241291 w 1609516"/>
              <a:gd name="csY780" fmla="*/ 705644 h 1538630"/>
              <a:gd name="csX781" fmla="*/ 237557 w 1609516"/>
              <a:gd name="csY781" fmla="*/ 689735 h 1538630"/>
              <a:gd name="csX782" fmla="*/ 248492 w 1609516"/>
              <a:gd name="csY782" fmla="*/ 685507 h 1538630"/>
              <a:gd name="csX783" fmla="*/ 248492 w 1609516"/>
              <a:gd name="csY783" fmla="*/ 681279 h 1538630"/>
              <a:gd name="csX784" fmla="*/ 240681 w 1609516"/>
              <a:gd name="csY784" fmla="*/ 679870 h 1538630"/>
              <a:gd name="csX785" fmla="*/ 240681 w 1609516"/>
              <a:gd name="csY785" fmla="*/ 677052 h 1538630"/>
              <a:gd name="csX786" fmla="*/ 238094 w 1609516"/>
              <a:gd name="csY786" fmla="*/ 676645 h 1538630"/>
              <a:gd name="csX787" fmla="*/ 225841 w 1609516"/>
              <a:gd name="csY787" fmla="*/ 670886 h 1538630"/>
              <a:gd name="csX788" fmla="*/ 201531 w 1609516"/>
              <a:gd name="csY788" fmla="*/ 662508 h 1538630"/>
              <a:gd name="csX789" fmla="*/ 188252 w 1609516"/>
              <a:gd name="csY789" fmla="*/ 658644 h 1538630"/>
              <a:gd name="csX790" fmla="*/ 182431 w 1609516"/>
              <a:gd name="csY790" fmla="*/ 657327 h 1538630"/>
              <a:gd name="csX791" fmla="*/ 182431 w 1609516"/>
              <a:gd name="csY791" fmla="*/ 657613 h 1538630"/>
              <a:gd name="csX792" fmla="*/ 146503 w 1609516"/>
              <a:gd name="csY792" fmla="*/ 656204 h 1538630"/>
              <a:gd name="csX793" fmla="*/ 146503 w 1609516"/>
              <a:gd name="csY793" fmla="*/ 659022 h 1538630"/>
              <a:gd name="csX794" fmla="*/ 110378 w 1609516"/>
              <a:gd name="csY794" fmla="*/ 663778 h 1538630"/>
              <a:gd name="csX795" fmla="*/ 106453 w 1609516"/>
              <a:gd name="csY795" fmla="*/ 663836 h 1538630"/>
              <a:gd name="csX796" fmla="*/ 102751 w 1609516"/>
              <a:gd name="csY796" fmla="*/ 663811 h 1538630"/>
              <a:gd name="csX797" fmla="*/ 99449 w 1609516"/>
              <a:gd name="csY797" fmla="*/ 663797 h 1538630"/>
              <a:gd name="csX798" fmla="*/ 91828 w 1609516"/>
              <a:gd name="csY798" fmla="*/ 659022 h 1538630"/>
              <a:gd name="csX799" fmla="*/ 98077 w 1609516"/>
              <a:gd name="csY799" fmla="*/ 659022 h 1538630"/>
              <a:gd name="csX800" fmla="*/ 98077 w 1609516"/>
              <a:gd name="csY800" fmla="*/ 661841 h 1538630"/>
              <a:gd name="csX801" fmla="*/ 119023 w 1609516"/>
              <a:gd name="csY801" fmla="*/ 661357 h 1538630"/>
              <a:gd name="csX802" fmla="*/ 119536 w 1609516"/>
              <a:gd name="csY802" fmla="*/ 661197 h 1538630"/>
              <a:gd name="csX803" fmla="*/ 109853 w 1609516"/>
              <a:gd name="csY803" fmla="*/ 661639 h 1538630"/>
              <a:gd name="csX804" fmla="*/ 106552 w 1609516"/>
              <a:gd name="csY804" fmla="*/ 661619 h 1538630"/>
              <a:gd name="csX805" fmla="*/ 98528 w 1609516"/>
              <a:gd name="csY805" fmla="*/ 661550 h 1538630"/>
              <a:gd name="csX806" fmla="*/ 98528 w 1609516"/>
              <a:gd name="csY806" fmla="*/ 658732 h 1538630"/>
              <a:gd name="csX807" fmla="*/ 89155 w 1609516"/>
              <a:gd name="csY807" fmla="*/ 657323 h 1538630"/>
              <a:gd name="csX808" fmla="*/ 89155 w 1609516"/>
              <a:gd name="csY808" fmla="*/ 654504 h 1538630"/>
              <a:gd name="csX809" fmla="*/ 86397 w 1609516"/>
              <a:gd name="csY809" fmla="*/ 653442 h 1538630"/>
              <a:gd name="csX810" fmla="*/ 77049 w 1609516"/>
              <a:gd name="csY810" fmla="*/ 646137 h 1538630"/>
              <a:gd name="csX811" fmla="*/ 74145 w 1609516"/>
              <a:gd name="csY811" fmla="*/ 643192 h 1538630"/>
              <a:gd name="csX812" fmla="*/ 71972 w 1609516"/>
              <a:gd name="csY812" fmla="*/ 636185 h 1538630"/>
              <a:gd name="csX813" fmla="*/ 68848 w 1609516"/>
              <a:gd name="csY813" fmla="*/ 636185 h 1538630"/>
              <a:gd name="csX814" fmla="*/ 70410 w 1609516"/>
              <a:gd name="csY814" fmla="*/ 595317 h 1538630"/>
              <a:gd name="csX815" fmla="*/ 79782 w 1609516"/>
              <a:gd name="csY815" fmla="*/ 584043 h 1538630"/>
              <a:gd name="csX816" fmla="*/ 82656 w 1609516"/>
              <a:gd name="csY816" fmla="*/ 581115 h 1538630"/>
              <a:gd name="csX817" fmla="*/ 116694 w 1609516"/>
              <a:gd name="csY817" fmla="*/ 572323 h 1538630"/>
              <a:gd name="csX818" fmla="*/ 152031 w 1609516"/>
              <a:gd name="csY818" fmla="*/ 590385 h 1538630"/>
              <a:gd name="csX819" fmla="*/ 191474 w 1609516"/>
              <a:gd name="csY819" fmla="*/ 605886 h 1538630"/>
              <a:gd name="csX820" fmla="*/ 206314 w 1609516"/>
              <a:gd name="csY820" fmla="*/ 608000 h 1538630"/>
              <a:gd name="csX821" fmla="*/ 206314 w 1609516"/>
              <a:gd name="csY821" fmla="*/ 610818 h 1538630"/>
              <a:gd name="csX822" fmla="*/ 234433 w 1609516"/>
              <a:gd name="csY822" fmla="*/ 610818 h 1538630"/>
              <a:gd name="csX823" fmla="*/ 239522 w 1609516"/>
              <a:gd name="csY823" fmla="*/ 610802 h 1538630"/>
              <a:gd name="csX824" fmla="*/ 268799 w 1609516"/>
              <a:gd name="csY824" fmla="*/ 600954 h 1538630"/>
              <a:gd name="csX825" fmla="*/ 271740 w 1609516"/>
              <a:gd name="csY825" fmla="*/ 599325 h 1538630"/>
              <a:gd name="csX826" fmla="*/ 284420 w 1609516"/>
              <a:gd name="csY826" fmla="*/ 579816 h 1538630"/>
              <a:gd name="csX827" fmla="*/ 289399 w 1609516"/>
              <a:gd name="csY827" fmla="*/ 568630 h 1538630"/>
              <a:gd name="csX828" fmla="*/ 293958 w 1609516"/>
              <a:gd name="csY828" fmla="*/ 535838 h 1538630"/>
              <a:gd name="csX829" fmla="*/ 289107 w 1609516"/>
              <a:gd name="csY829" fmla="*/ 529084 h 1538630"/>
              <a:gd name="csX830" fmla="*/ 289107 w 1609516"/>
              <a:gd name="csY830" fmla="*/ 526265 h 1538630"/>
              <a:gd name="csX831" fmla="*/ 284420 w 1609516"/>
              <a:gd name="csY831" fmla="*/ 524856 h 1538630"/>
              <a:gd name="csX832" fmla="*/ 282858 w 1609516"/>
              <a:gd name="csY832" fmla="*/ 520628 h 1538630"/>
              <a:gd name="csX833" fmla="*/ 277977 w 1609516"/>
              <a:gd name="csY833" fmla="*/ 516577 h 1538630"/>
              <a:gd name="csX834" fmla="*/ 264925 w 1609516"/>
              <a:gd name="csY834" fmla="*/ 506443 h 1538630"/>
              <a:gd name="csX835" fmla="*/ 229746 w 1609516"/>
              <a:gd name="csY835" fmla="*/ 481170 h 1538630"/>
              <a:gd name="csX836" fmla="*/ 221057 w 1609516"/>
              <a:gd name="csY836" fmla="*/ 475445 h 1538630"/>
              <a:gd name="csX837" fmla="*/ 212563 w 1609516"/>
              <a:gd name="csY837" fmla="*/ 469896 h 1538630"/>
              <a:gd name="csX838" fmla="*/ 208889 w 1609516"/>
              <a:gd name="csY838" fmla="*/ 467491 h 1538630"/>
              <a:gd name="csX839" fmla="*/ 190406 w 1609516"/>
              <a:gd name="csY839" fmla="*/ 456382 h 1538630"/>
              <a:gd name="csX840" fmla="*/ 186942 w 1609516"/>
              <a:gd name="csY840" fmla="*/ 454460 h 1538630"/>
              <a:gd name="csX841" fmla="*/ 180041 w 1609516"/>
              <a:gd name="csY841" fmla="*/ 450696 h 1538630"/>
              <a:gd name="csX842" fmla="*/ 171948 w 1609516"/>
              <a:gd name="csY842" fmla="*/ 445940 h 1538630"/>
              <a:gd name="csX843" fmla="*/ 171948 w 1609516"/>
              <a:gd name="csY843" fmla="*/ 443121 h 1538630"/>
              <a:gd name="csX844" fmla="*/ 168482 w 1609516"/>
              <a:gd name="csY844" fmla="*/ 442708 h 1538630"/>
              <a:gd name="csX845" fmla="*/ 157107 w 1609516"/>
              <a:gd name="csY845" fmla="*/ 437044 h 1538630"/>
              <a:gd name="csX846" fmla="*/ 132559 w 1609516"/>
              <a:gd name="csY846" fmla="*/ 427510 h 1538630"/>
              <a:gd name="csX847" fmla="*/ 123522 w 1609516"/>
              <a:gd name="csY847" fmla="*/ 421983 h 1538630"/>
              <a:gd name="csX848" fmla="*/ 107986 w 1609516"/>
              <a:gd name="csY848" fmla="*/ 418730 h 1538630"/>
              <a:gd name="csX849" fmla="*/ 102494 w 1609516"/>
              <a:gd name="csY849" fmla="*/ 418622 h 1538630"/>
              <a:gd name="csX850" fmla="*/ 91157 w 1609516"/>
              <a:gd name="csY850" fmla="*/ 418490 h 1538630"/>
              <a:gd name="csX851" fmla="*/ 55277 w 1609516"/>
              <a:gd name="csY851" fmla="*/ 410445 h 1538630"/>
              <a:gd name="csX852" fmla="*/ 51665 w 1609516"/>
              <a:gd name="csY852" fmla="*/ 406481 h 1538630"/>
              <a:gd name="csX853" fmla="*/ 45904 w 1609516"/>
              <a:gd name="csY853" fmla="*/ 400492 h 1538630"/>
              <a:gd name="csX854" fmla="*/ 43152 w 1609516"/>
              <a:gd name="csY854" fmla="*/ 397564 h 1538630"/>
              <a:gd name="csX855" fmla="*/ 37605 w 1609516"/>
              <a:gd name="csY855" fmla="*/ 393798 h 1538630"/>
              <a:gd name="csX856" fmla="*/ 38995 w 1609516"/>
              <a:gd name="csY856" fmla="*/ 368712 h 1538630"/>
              <a:gd name="csX857" fmla="*/ 38666 w 1609516"/>
              <a:gd name="csY857" fmla="*/ 369724 h 1538630"/>
              <a:gd name="csX858" fmla="*/ 35542 w 1609516"/>
              <a:gd name="csY858" fmla="*/ 384081 h 1538630"/>
              <a:gd name="csX859" fmla="*/ 33326 w 1609516"/>
              <a:gd name="csY859" fmla="*/ 357791 h 1538630"/>
              <a:gd name="csX860" fmla="*/ 52725 w 1609516"/>
              <a:gd name="csY860" fmla="*/ 333349 h 1538630"/>
              <a:gd name="csX861" fmla="*/ 55222 w 1609516"/>
              <a:gd name="csY861" fmla="*/ 334475 h 1538630"/>
              <a:gd name="csX862" fmla="*/ 56222 w 1609516"/>
              <a:gd name="csY862" fmla="*/ 333347 h 1538630"/>
              <a:gd name="csX863" fmla="*/ 55871 w 1609516"/>
              <a:gd name="csY863" fmla="*/ 333347 h 1538630"/>
              <a:gd name="csX864" fmla="*/ 56346 w 1609516"/>
              <a:gd name="csY864" fmla="*/ 333207 h 1538630"/>
              <a:gd name="csX865" fmla="*/ 56351 w 1609516"/>
              <a:gd name="csY865" fmla="*/ 333202 h 1538630"/>
              <a:gd name="csX866" fmla="*/ 56365 w 1609516"/>
              <a:gd name="csY866" fmla="*/ 333202 h 1538630"/>
              <a:gd name="csX867" fmla="*/ 79571 w 1609516"/>
              <a:gd name="csY867" fmla="*/ 326360 h 1538630"/>
              <a:gd name="csX868" fmla="*/ 104297 w 1609516"/>
              <a:gd name="csY868" fmla="*/ 330529 h 1538630"/>
              <a:gd name="csX869" fmla="*/ 107170 w 1609516"/>
              <a:gd name="csY869" fmla="*/ 334417 h 1538630"/>
              <a:gd name="csX870" fmla="*/ 109366 w 1609516"/>
              <a:gd name="csY870" fmla="*/ 336046 h 1538630"/>
              <a:gd name="csX871" fmla="*/ 109463 w 1609516"/>
              <a:gd name="csY871" fmla="*/ 336020 h 1538630"/>
              <a:gd name="csX872" fmla="*/ 109463 w 1609516"/>
              <a:gd name="csY872" fmla="*/ 336118 h 1538630"/>
              <a:gd name="csX873" fmla="*/ 115226 w 1609516"/>
              <a:gd name="csY873" fmla="*/ 340394 h 1538630"/>
              <a:gd name="csX874" fmla="*/ 114010 w 1609516"/>
              <a:gd name="csY874" fmla="*/ 340120 h 1538630"/>
              <a:gd name="csX875" fmla="*/ 133285 w 1609516"/>
              <a:gd name="csY875" fmla="*/ 357423 h 1538630"/>
              <a:gd name="csX876" fmla="*/ 173509 w 1609516"/>
              <a:gd name="csY876" fmla="*/ 389571 h 1538630"/>
              <a:gd name="csX877" fmla="*/ 181711 w 1609516"/>
              <a:gd name="csY877" fmla="*/ 393270 h 1538630"/>
              <a:gd name="csX878" fmla="*/ 185507 w 1609516"/>
              <a:gd name="csY878" fmla="*/ 394976 h 1538630"/>
              <a:gd name="csX879" fmla="*/ 192658 w 1609516"/>
              <a:gd name="csY879" fmla="*/ 398257 h 1538630"/>
              <a:gd name="csX880" fmla="*/ 195966 w 1609516"/>
              <a:gd name="csY880" fmla="*/ 399788 h 1538630"/>
              <a:gd name="csX881" fmla="*/ 198833 w 1609516"/>
              <a:gd name="csY881" fmla="*/ 401131 h 1538630"/>
              <a:gd name="csX882" fmla="*/ 207877 w 1609516"/>
              <a:gd name="csY882" fmla="*/ 403663 h 1538630"/>
              <a:gd name="csX883" fmla="*/ 207877 w 1609516"/>
              <a:gd name="csY883" fmla="*/ 406481 h 1538630"/>
              <a:gd name="csX884" fmla="*/ 248492 w 1609516"/>
              <a:gd name="csY884" fmla="*/ 419428 h 1538630"/>
              <a:gd name="csX885" fmla="*/ 253965 w 1609516"/>
              <a:gd name="csY885" fmla="*/ 421000 h 1538630"/>
              <a:gd name="csX886" fmla="*/ 267237 w 1609516"/>
              <a:gd name="csY886" fmla="*/ 424801 h 1538630"/>
              <a:gd name="csX887" fmla="*/ 267237 w 1609516"/>
              <a:gd name="csY887" fmla="*/ 426451 h 1538630"/>
              <a:gd name="csX888" fmla="*/ 288701 w 1609516"/>
              <a:gd name="csY888" fmla="*/ 429217 h 1538630"/>
              <a:gd name="csX889" fmla="*/ 288701 w 1609516"/>
              <a:gd name="csY889" fmla="*/ 432036 h 1538630"/>
              <a:gd name="csX890" fmla="*/ 327010 w 1609516"/>
              <a:gd name="csY890" fmla="*/ 433628 h 1538630"/>
              <a:gd name="csX891" fmla="*/ 337486 w 1609516"/>
              <a:gd name="csY891" fmla="*/ 433637 h 1538630"/>
              <a:gd name="csX892" fmla="*/ 344229 w 1609516"/>
              <a:gd name="csY892" fmla="*/ 433632 h 1538630"/>
              <a:gd name="csX893" fmla="*/ 350323 w 1609516"/>
              <a:gd name="csY893" fmla="*/ 433627 h 1538630"/>
              <a:gd name="csX894" fmla="*/ 365245 w 1609516"/>
              <a:gd name="csY894" fmla="*/ 432036 h 1538630"/>
              <a:gd name="csX895" fmla="*/ 360797 w 1609516"/>
              <a:gd name="csY895" fmla="*/ 433759 h 1538630"/>
              <a:gd name="csX896" fmla="*/ 365650 w 1609516"/>
              <a:gd name="csY896" fmla="*/ 433257 h 1538630"/>
              <a:gd name="csX897" fmla="*/ 367213 w 1609516"/>
              <a:gd name="csY897" fmla="*/ 429029 h 1538630"/>
              <a:gd name="csX898" fmla="*/ 375188 w 1609516"/>
              <a:gd name="csY898" fmla="*/ 424906 h 1538630"/>
              <a:gd name="csX899" fmla="*/ 404704 w 1609516"/>
              <a:gd name="csY899" fmla="*/ 389571 h 1538630"/>
              <a:gd name="csX900" fmla="*/ 406265 w 1609516"/>
              <a:gd name="csY900" fmla="*/ 388161 h 1538630"/>
              <a:gd name="csX901" fmla="*/ 406559 w 1609516"/>
              <a:gd name="csY901" fmla="*/ 370106 h 1538630"/>
              <a:gd name="csX902" fmla="*/ 406617 w 1609516"/>
              <a:gd name="csY902" fmla="*/ 364973 h 1538630"/>
              <a:gd name="csX903" fmla="*/ 406626 w 1609516"/>
              <a:gd name="csY903" fmla="*/ 360038 h 1538630"/>
              <a:gd name="csX904" fmla="*/ 406645 w 1609516"/>
              <a:gd name="csY904" fmla="*/ 355503 h 1538630"/>
              <a:gd name="csX905" fmla="*/ 403142 w 1609516"/>
              <a:gd name="csY905" fmla="*/ 345885 h 1538630"/>
              <a:gd name="csX906" fmla="*/ 401579 w 1609516"/>
              <a:gd name="csY906" fmla="*/ 338663 h 1538630"/>
              <a:gd name="csX907" fmla="*/ 390938 w 1609516"/>
              <a:gd name="csY907" fmla="*/ 315939 h 1538630"/>
              <a:gd name="csX908" fmla="*/ 388976 w 1609516"/>
              <a:gd name="csY908" fmla="*/ 312762 h 1538630"/>
              <a:gd name="csX909" fmla="*/ 377934 w 1609516"/>
              <a:gd name="csY909" fmla="*/ 297817 h 1538630"/>
              <a:gd name="csX910" fmla="*/ 368775 w 1609516"/>
              <a:gd name="csY910" fmla="*/ 282470 h 1538630"/>
              <a:gd name="csX911" fmla="*/ 359890 w 1609516"/>
              <a:gd name="csY911" fmla="*/ 271284 h 1538630"/>
              <a:gd name="csX912" fmla="*/ 357374 w 1609516"/>
              <a:gd name="csY912" fmla="*/ 268288 h 1538630"/>
              <a:gd name="csX913" fmla="*/ 337533 w 1609516"/>
              <a:gd name="csY913" fmla="*/ 248649 h 1538630"/>
              <a:gd name="csX914" fmla="*/ 335214 w 1609516"/>
              <a:gd name="csY914" fmla="*/ 246369 h 1538630"/>
              <a:gd name="csX915" fmla="*/ 327085 w 1609516"/>
              <a:gd name="csY915" fmla="*/ 242571 h 1538630"/>
              <a:gd name="csX916" fmla="*/ 288785 w 1609516"/>
              <a:gd name="csY916" fmla="*/ 207968 h 1538630"/>
              <a:gd name="csX917" fmla="*/ 286373 w 1609516"/>
              <a:gd name="csY917" fmla="*/ 192544 h 1538630"/>
              <a:gd name="csX918" fmla="*/ 286385 w 1609516"/>
              <a:gd name="csY918" fmla="*/ 189190 h 1538630"/>
              <a:gd name="csX919" fmla="*/ 300042 w 1609516"/>
              <a:gd name="csY919" fmla="*/ 164095 h 1538630"/>
              <a:gd name="csX920" fmla="*/ 302757 w 1609516"/>
              <a:gd name="csY920" fmla="*/ 161381 h 1538630"/>
              <a:gd name="csX921" fmla="*/ 338411 w 1609516"/>
              <a:gd name="csY921" fmla="*/ 152293 h 1538630"/>
              <a:gd name="csX922" fmla="*/ 368482 w 1609516"/>
              <a:gd name="csY922" fmla="*/ 161893 h 1538630"/>
              <a:gd name="csX923" fmla="*/ 371899 w 1609516"/>
              <a:gd name="csY923" fmla="*/ 165505 h 1538630"/>
              <a:gd name="csX924" fmla="*/ 375121 w 1609516"/>
              <a:gd name="csY924" fmla="*/ 168587 h 1538630"/>
              <a:gd name="csX925" fmla="*/ 384982 w 1609516"/>
              <a:gd name="csY925" fmla="*/ 193777 h 1538630"/>
              <a:gd name="csX926" fmla="*/ 390352 w 1609516"/>
              <a:gd name="csY926" fmla="*/ 214563 h 1538630"/>
              <a:gd name="csX927" fmla="*/ 391529 w 1609516"/>
              <a:gd name="csY927" fmla="*/ 217626 h 1538630"/>
              <a:gd name="csX928" fmla="*/ 401579 w 1609516"/>
              <a:gd name="csY928" fmla="*/ 234556 h 1538630"/>
              <a:gd name="csX929" fmla="*/ 401579 w 1609516"/>
              <a:gd name="csY929" fmla="*/ 238784 h 1538630"/>
              <a:gd name="csX930" fmla="*/ 404215 w 1609516"/>
              <a:gd name="csY930" fmla="*/ 239753 h 1538630"/>
              <a:gd name="csX931" fmla="*/ 417811 w 1609516"/>
              <a:gd name="csY931" fmla="*/ 251996 h 1538630"/>
              <a:gd name="csX932" fmla="*/ 426866 w 1609516"/>
              <a:gd name="csY932" fmla="*/ 262300 h 1538630"/>
              <a:gd name="csX933" fmla="*/ 450097 w 1609516"/>
              <a:gd name="csY933" fmla="*/ 287628 h 1538630"/>
              <a:gd name="csX934" fmla="*/ 457425 w 1609516"/>
              <a:gd name="csY934" fmla="*/ 293920 h 1538630"/>
              <a:gd name="csX935" fmla="*/ 460940 w 1609516"/>
              <a:gd name="csY935" fmla="*/ 296562 h 1538630"/>
              <a:gd name="csX936" fmla="*/ 460940 w 1609516"/>
              <a:gd name="csY936" fmla="*/ 300790 h 1538630"/>
              <a:gd name="csX937" fmla="*/ 473437 w 1609516"/>
              <a:gd name="csY937" fmla="*/ 305018 h 1538630"/>
              <a:gd name="csX938" fmla="*/ 473437 w 1609516"/>
              <a:gd name="csY938" fmla="*/ 307836 h 1538630"/>
              <a:gd name="csX939" fmla="*/ 479881 w 1609516"/>
              <a:gd name="csY939" fmla="*/ 309862 h 1538630"/>
              <a:gd name="csX940" fmla="*/ 483505 w 1609516"/>
              <a:gd name="csY940" fmla="*/ 311001 h 1538630"/>
              <a:gd name="csX941" fmla="*/ 548419 w 1609516"/>
              <a:gd name="csY941" fmla="*/ 306427 h 1538630"/>
              <a:gd name="csX942" fmla="*/ 551842 w 1609516"/>
              <a:gd name="csY942" fmla="*/ 305127 h 1538630"/>
              <a:gd name="csX943" fmla="*/ 560232 w 1609516"/>
              <a:gd name="csY943" fmla="*/ 298148 h 1538630"/>
              <a:gd name="csX944" fmla="*/ 562972 w 1609516"/>
              <a:gd name="csY944" fmla="*/ 295252 h 1538630"/>
              <a:gd name="csX945" fmla="*/ 568086 w 1609516"/>
              <a:gd name="csY945" fmla="*/ 289152 h 1538630"/>
              <a:gd name="csX946" fmla="*/ 570289 w 1609516"/>
              <a:gd name="csY946" fmla="*/ 286697 h 1538630"/>
              <a:gd name="csX947" fmla="*/ 573413 w 1609516"/>
              <a:gd name="csY947" fmla="*/ 286697 h 1538630"/>
              <a:gd name="csX948" fmla="*/ 577220 w 1609516"/>
              <a:gd name="csY948" fmla="*/ 257016 h 1538630"/>
              <a:gd name="csX949" fmla="*/ 577235 w 1609516"/>
              <a:gd name="csY949" fmla="*/ 254206 h 1538630"/>
              <a:gd name="csX950" fmla="*/ 569443 w 1609516"/>
              <a:gd name="csY950" fmla="*/ 206049 h 1538630"/>
              <a:gd name="csX951" fmla="*/ 568726 w 1609516"/>
              <a:gd name="csY951" fmla="*/ 200735 h 1538630"/>
              <a:gd name="csX952" fmla="*/ 565602 w 1609516"/>
              <a:gd name="csY952" fmla="*/ 200735 h 1538630"/>
              <a:gd name="csX953" fmla="*/ 559549 w 1609516"/>
              <a:gd name="csY953" fmla="*/ 184441 h 1538630"/>
              <a:gd name="csX954" fmla="*/ 537484 w 1609516"/>
              <a:gd name="csY954" fmla="*/ 159867 h 1538630"/>
              <a:gd name="csX955" fmla="*/ 531235 w 1609516"/>
              <a:gd name="csY955" fmla="*/ 154230 h 1538630"/>
              <a:gd name="csX956" fmla="*/ 531235 w 1609516"/>
              <a:gd name="csY956" fmla="*/ 151412 h 1538630"/>
              <a:gd name="csX957" fmla="*/ 526549 w 1609516"/>
              <a:gd name="csY957" fmla="*/ 150003 h 1538630"/>
              <a:gd name="csX958" fmla="*/ 524304 w 1609516"/>
              <a:gd name="csY958" fmla="*/ 107198 h 1538630"/>
              <a:gd name="csX959" fmla="*/ 547052 w 1609516"/>
              <a:gd name="csY959" fmla="*/ 85972 h 1538630"/>
              <a:gd name="csX960" fmla="*/ 588460 w 1609516"/>
              <a:gd name="csY960" fmla="*/ 83538 h 1538630"/>
              <a:gd name="csX961" fmla="*/ 617152 w 1609516"/>
              <a:gd name="csY961" fmla="*/ 111954 h 1538630"/>
              <a:gd name="csX962" fmla="*/ 617884 w 1609516"/>
              <a:gd name="csY962" fmla="*/ 124175 h 1538630"/>
              <a:gd name="csX963" fmla="*/ 617917 w 1609516"/>
              <a:gd name="csY963" fmla="*/ 127607 h 1538630"/>
              <a:gd name="csX964" fmla="*/ 617919 w 1609516"/>
              <a:gd name="csY964" fmla="*/ 141969 h 1538630"/>
              <a:gd name="csX965" fmla="*/ 630625 w 1609516"/>
              <a:gd name="csY965" fmla="*/ 191311 h 1538630"/>
              <a:gd name="csX966" fmla="*/ 637850 w 1609516"/>
              <a:gd name="csY966" fmla="*/ 205139 h 1538630"/>
              <a:gd name="csX967" fmla="*/ 643708 w 1609516"/>
              <a:gd name="csY967" fmla="*/ 212009 h 1538630"/>
              <a:gd name="csX968" fmla="*/ 647027 w 1609516"/>
              <a:gd name="csY968" fmla="*/ 217645 h 1538630"/>
              <a:gd name="csX969" fmla="*/ 670264 w 1609516"/>
              <a:gd name="csY969" fmla="*/ 241603 h 1538630"/>
              <a:gd name="csX970" fmla="*/ 670264 w 1609516"/>
              <a:gd name="csY970" fmla="*/ 244421 h 1538630"/>
              <a:gd name="csX971" fmla="*/ 675634 w 1609516"/>
              <a:gd name="csY971" fmla="*/ 245742 h 1538630"/>
              <a:gd name="csX972" fmla="*/ 682761 w 1609516"/>
              <a:gd name="csY972" fmla="*/ 248649 h 1538630"/>
              <a:gd name="csX973" fmla="*/ 752092 w 1609516"/>
              <a:gd name="csY973" fmla="*/ 245076 h 1538630"/>
              <a:gd name="csX974" fmla="*/ 758433 w 1609516"/>
              <a:gd name="csY974" fmla="*/ 240485 h 1538630"/>
              <a:gd name="csX975" fmla="*/ 763991 w 1609516"/>
              <a:gd name="csY975" fmla="*/ 238784 h 1538630"/>
              <a:gd name="csX976" fmla="*/ 765315 w 1609516"/>
              <a:gd name="csY976" fmla="*/ 235778 h 1538630"/>
              <a:gd name="csX977" fmla="*/ 770923 w 1609516"/>
              <a:gd name="csY977" fmla="*/ 223459 h 1538630"/>
              <a:gd name="csX978" fmla="*/ 772998 w 1609516"/>
              <a:gd name="csY978" fmla="*/ 218934 h 1538630"/>
              <a:gd name="csX979" fmla="*/ 777562 w 1609516"/>
              <a:gd name="csY979" fmla="*/ 209895 h 1538630"/>
              <a:gd name="csX980" fmla="*/ 781175 w 1609516"/>
              <a:gd name="csY980" fmla="*/ 124637 h 1538630"/>
              <a:gd name="csX981" fmla="*/ 778051 w 1609516"/>
              <a:gd name="csY981" fmla="*/ 124637 h 1538630"/>
              <a:gd name="csX982" fmla="*/ 767116 w 1609516"/>
              <a:gd name="csY982" fmla="*/ 79542 h 1538630"/>
              <a:gd name="csX983" fmla="*/ 793379 w 1609516"/>
              <a:gd name="csY983" fmla="*/ 54000 h 1538630"/>
              <a:gd name="csX984" fmla="*/ 840688 w 1609516"/>
              <a:gd name="csY984" fmla="*/ 55503 h 1538630"/>
              <a:gd name="csX985" fmla="*/ 851470 w 1609516"/>
              <a:gd name="csY985" fmla="*/ 64040 h 1538630"/>
              <a:gd name="csX986" fmla="*/ 853997 w 1609516"/>
              <a:gd name="csY986" fmla="*/ 66529 h 1538630"/>
              <a:gd name="csX987" fmla="*/ 861488 w 1609516"/>
              <a:gd name="csY987" fmla="*/ 82057 h 1538630"/>
              <a:gd name="csX988" fmla="*/ 861937 w 1609516"/>
              <a:gd name="csY988" fmla="*/ 90492 h 1538630"/>
              <a:gd name="csX989" fmla="*/ 863826 w 1609516"/>
              <a:gd name="csY989" fmla="*/ 100715 h 1538630"/>
              <a:gd name="csX990" fmla="*/ 857577 w 1609516"/>
              <a:gd name="csY990" fmla="*/ 121853 h 1538630"/>
              <a:gd name="csX991" fmla="*/ 856015 w 1609516"/>
              <a:gd name="csY991" fmla="*/ 121853 h 1538630"/>
              <a:gd name="csX992" fmla="*/ 855442 w 1609516"/>
              <a:gd name="csY992" fmla="*/ 118919 h 1538630"/>
              <a:gd name="csX993" fmla="*/ 855417 w 1609516"/>
              <a:gd name="csY993" fmla="*/ 118798 h 1538630"/>
              <a:gd name="csX994" fmla="*/ 856157 w 1609516"/>
              <a:gd name="csY994" fmla="*/ 124637 h 1538630"/>
              <a:gd name="csX995" fmla="*/ 850623 w 1609516"/>
              <a:gd name="csY995" fmla="*/ 134701 h 1538630"/>
              <a:gd name="csX996" fmla="*/ 851325 w 1609516"/>
              <a:gd name="csY996" fmla="*/ 135968 h 1538630"/>
              <a:gd name="csX997" fmla="*/ 849886 w 1609516"/>
              <a:gd name="csY997" fmla="*/ 139843 h 1538630"/>
              <a:gd name="csX998" fmla="*/ 847786 w 1609516"/>
              <a:gd name="csY998" fmla="*/ 152889 h 1538630"/>
              <a:gd name="csX999" fmla="*/ 847767 w 1609516"/>
              <a:gd name="csY999" fmla="*/ 157768 h 1538630"/>
              <a:gd name="csX1000" fmla="*/ 847810 w 1609516"/>
              <a:gd name="csY1000" fmla="*/ 162919 h 1538630"/>
              <a:gd name="csX1001" fmla="*/ 847832 w 1609516"/>
              <a:gd name="csY1001" fmla="*/ 168227 h 1538630"/>
              <a:gd name="csX1002" fmla="*/ 850903 w 1609516"/>
              <a:gd name="csY1002" fmla="*/ 209013 h 1538630"/>
              <a:gd name="csX1003" fmla="*/ 852880 w 1609516"/>
              <a:gd name="csY1003" fmla="*/ 224692 h 1538630"/>
              <a:gd name="csX1004" fmla="*/ 854595 w 1609516"/>
              <a:gd name="csY1004" fmla="*/ 224692 h 1538630"/>
              <a:gd name="csX1005" fmla="*/ 856083 w 1609516"/>
              <a:gd name="csY1005" fmla="*/ 227268 h 1538630"/>
              <a:gd name="csX1006" fmla="*/ 879588 w 1609516"/>
              <a:gd name="csY1006" fmla="*/ 247239 h 1538630"/>
              <a:gd name="csX1007" fmla="*/ 885739 w 1609516"/>
              <a:gd name="csY1007" fmla="*/ 249618 h 1538630"/>
              <a:gd name="csX1008" fmla="*/ 890523 w 1609516"/>
              <a:gd name="csY1008" fmla="*/ 251467 h 1538630"/>
              <a:gd name="csX1009" fmla="*/ 890523 w 1609516"/>
              <a:gd name="csY1009" fmla="*/ 254285 h 1538630"/>
              <a:gd name="csX1010" fmla="*/ 920203 w 1609516"/>
              <a:gd name="csY1010" fmla="*/ 261332 h 1538630"/>
              <a:gd name="csX1011" fmla="*/ 920203 w 1609516"/>
              <a:gd name="csY1011" fmla="*/ 262741 h 1538630"/>
              <a:gd name="csX1012" fmla="*/ 910831 w 1609516"/>
              <a:gd name="csY1012" fmla="*/ 262741 h 1538630"/>
              <a:gd name="csX1013" fmla="*/ 910831 w 1609516"/>
              <a:gd name="csY1013" fmla="*/ 262864 h 1538630"/>
              <a:gd name="csX1014" fmla="*/ 927993 w 1609516"/>
              <a:gd name="csY1014" fmla="*/ 264177 h 1538630"/>
              <a:gd name="csX1015" fmla="*/ 939273 w 1609516"/>
              <a:gd name="csY1015" fmla="*/ 265285 h 1538630"/>
              <a:gd name="csX1016" fmla="*/ 940456 w 1609516"/>
              <a:gd name="csY1016" fmla="*/ 265191 h 1538630"/>
              <a:gd name="csX1017" fmla="*/ 991622 w 1609516"/>
              <a:gd name="csY1017" fmla="*/ 242329 h 1538630"/>
              <a:gd name="csX1018" fmla="*/ 1000803 w 1609516"/>
              <a:gd name="csY1018" fmla="*/ 236505 h 1538630"/>
              <a:gd name="csX1019" fmla="*/ 999806 w 1609516"/>
              <a:gd name="csY1019" fmla="*/ 236055 h 1538630"/>
              <a:gd name="csX1020" fmla="*/ 1003126 w 1609516"/>
              <a:gd name="csY1020" fmla="*/ 232851 h 1538630"/>
              <a:gd name="csX1021" fmla="*/ 1029487 w 1609516"/>
              <a:gd name="csY1021" fmla="*/ 205052 h 1538630"/>
              <a:gd name="csX1022" fmla="*/ 1029872 w 1609516"/>
              <a:gd name="csY1022" fmla="*/ 206442 h 1538630"/>
              <a:gd name="csX1023" fmla="*/ 1031614 w 1609516"/>
              <a:gd name="csY1023" fmla="*/ 203719 h 1538630"/>
              <a:gd name="csX1024" fmla="*/ 1038924 w 1609516"/>
              <a:gd name="csY1024" fmla="*/ 192280 h 1538630"/>
              <a:gd name="csX1025" fmla="*/ 1042049 w 1609516"/>
              <a:gd name="csY1025" fmla="*/ 190870 h 1538630"/>
              <a:gd name="csX1026" fmla="*/ 1044294 w 1609516"/>
              <a:gd name="csY1026" fmla="*/ 186026 h 1538630"/>
              <a:gd name="csX1027" fmla="*/ 1051422 w 1609516"/>
              <a:gd name="csY1027" fmla="*/ 178188 h 1538630"/>
              <a:gd name="csX1028" fmla="*/ 1052984 w 1609516"/>
              <a:gd name="csY1028" fmla="*/ 172551 h 1538630"/>
              <a:gd name="csX1029" fmla="*/ 1056108 w 1609516"/>
              <a:gd name="csY1029" fmla="*/ 172551 h 1538630"/>
              <a:gd name="csX1030" fmla="*/ 1059232 w 1609516"/>
              <a:gd name="csY1030" fmla="*/ 162686 h 1538630"/>
              <a:gd name="csX1031" fmla="*/ 1062357 w 1609516"/>
              <a:gd name="csY1031" fmla="*/ 162686 h 1538630"/>
              <a:gd name="csX1032" fmla="*/ 1063162 w 1609516"/>
              <a:gd name="csY1032" fmla="*/ 160258 h 1538630"/>
              <a:gd name="csX1033" fmla="*/ 1073292 w 1609516"/>
              <a:gd name="csY1033" fmla="*/ 140138 h 1538630"/>
              <a:gd name="csX1034" fmla="*/ 1076415 w 1609516"/>
              <a:gd name="csY1034" fmla="*/ 140138 h 1538630"/>
              <a:gd name="csX1035" fmla="*/ 1085294 w 1609516"/>
              <a:gd name="csY1035" fmla="*/ 117569 h 1538630"/>
              <a:gd name="csX1036" fmla="*/ 1087350 w 1609516"/>
              <a:gd name="csY1036" fmla="*/ 113363 h 1538630"/>
              <a:gd name="csX1037" fmla="*/ 1092037 w 1609516"/>
              <a:gd name="csY1037" fmla="*/ 111954 h 1538630"/>
              <a:gd name="csX1038" fmla="*/ 1092623 w 1609516"/>
              <a:gd name="csY1038" fmla="*/ 108695 h 1538630"/>
              <a:gd name="csX1039" fmla="*/ 1096723 w 1609516"/>
              <a:gd name="csY1039" fmla="*/ 100680 h 1538630"/>
              <a:gd name="csX1040" fmla="*/ 1098188 w 1609516"/>
              <a:gd name="csY1040" fmla="*/ 96013 h 1538630"/>
              <a:gd name="csX1041" fmla="*/ 1102288 w 1609516"/>
              <a:gd name="csY1041" fmla="*/ 87029 h 1538630"/>
              <a:gd name="csX1042" fmla="*/ 1104534 w 1609516"/>
              <a:gd name="csY1042" fmla="*/ 61222 h 1538630"/>
              <a:gd name="csX1043" fmla="*/ 1104381 w 1609516"/>
              <a:gd name="csY1043" fmla="*/ 55569 h 1538630"/>
              <a:gd name="csX1044" fmla="*/ 1104397 w 1609516"/>
              <a:gd name="csY1044" fmla="*/ 52335 h 1538630"/>
              <a:gd name="csX1045" fmla="*/ 1104436 w 1609516"/>
              <a:gd name="csY1045" fmla="*/ 48979 h 1538630"/>
              <a:gd name="csX1046" fmla="*/ 1104457 w 1609516"/>
              <a:gd name="csY1046" fmla="*/ 45575 h 1538630"/>
              <a:gd name="csX1047" fmla="*/ 1104534 w 1609516"/>
              <a:gd name="csY1047" fmla="*/ 37265 h 1538630"/>
              <a:gd name="csX1048" fmla="*/ 1107658 w 1609516"/>
              <a:gd name="csY1048" fmla="*/ 37265 h 1538630"/>
              <a:gd name="csX1049" fmla="*/ 1107463 w 1609516"/>
              <a:gd name="csY1049" fmla="*/ 31805 h 1538630"/>
              <a:gd name="csX1050" fmla="*/ 1107658 w 1609516"/>
              <a:gd name="csY1050" fmla="*/ 25991 h 1538630"/>
              <a:gd name="csX1051" fmla="*/ 1110782 w 1609516"/>
              <a:gd name="csY1051" fmla="*/ 23173 h 1538630"/>
              <a:gd name="csX1052" fmla="*/ 1111759 w 1609516"/>
              <a:gd name="csY1052" fmla="*/ 20091 h 1538630"/>
              <a:gd name="csX1053" fmla="*/ 1134507 w 1609516"/>
              <a:gd name="csY1053" fmla="*/ 2828 h 1538630"/>
              <a:gd name="csX1054" fmla="*/ 1155019 w 1609516"/>
              <a:gd name="csY1054" fmla="*/ 35 h 153863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  <a:cxn ang="0">
                <a:pos x="csX170" y="csY170"/>
              </a:cxn>
              <a:cxn ang="0">
                <a:pos x="csX171" y="csY171"/>
              </a:cxn>
              <a:cxn ang="0">
                <a:pos x="csX172" y="csY172"/>
              </a:cxn>
              <a:cxn ang="0">
                <a:pos x="csX173" y="csY173"/>
              </a:cxn>
              <a:cxn ang="0">
                <a:pos x="csX174" y="csY174"/>
              </a:cxn>
              <a:cxn ang="0">
                <a:pos x="csX175" y="csY175"/>
              </a:cxn>
              <a:cxn ang="0">
                <a:pos x="csX176" y="csY176"/>
              </a:cxn>
              <a:cxn ang="0">
                <a:pos x="csX177" y="csY177"/>
              </a:cxn>
              <a:cxn ang="0">
                <a:pos x="csX178" y="csY178"/>
              </a:cxn>
              <a:cxn ang="0">
                <a:pos x="csX179" y="csY179"/>
              </a:cxn>
              <a:cxn ang="0">
                <a:pos x="csX180" y="csY180"/>
              </a:cxn>
              <a:cxn ang="0">
                <a:pos x="csX181" y="csY181"/>
              </a:cxn>
              <a:cxn ang="0">
                <a:pos x="csX182" y="csY182"/>
              </a:cxn>
              <a:cxn ang="0">
                <a:pos x="csX183" y="csY183"/>
              </a:cxn>
              <a:cxn ang="0">
                <a:pos x="csX184" y="csY184"/>
              </a:cxn>
              <a:cxn ang="0">
                <a:pos x="csX185" y="csY185"/>
              </a:cxn>
              <a:cxn ang="0">
                <a:pos x="csX186" y="csY186"/>
              </a:cxn>
              <a:cxn ang="0">
                <a:pos x="csX187" y="csY187"/>
              </a:cxn>
              <a:cxn ang="0">
                <a:pos x="csX188" y="csY188"/>
              </a:cxn>
              <a:cxn ang="0">
                <a:pos x="csX189" y="csY189"/>
              </a:cxn>
              <a:cxn ang="0">
                <a:pos x="csX190" y="csY190"/>
              </a:cxn>
              <a:cxn ang="0">
                <a:pos x="csX191" y="csY191"/>
              </a:cxn>
              <a:cxn ang="0">
                <a:pos x="csX192" y="csY192"/>
              </a:cxn>
              <a:cxn ang="0">
                <a:pos x="csX193" y="csY193"/>
              </a:cxn>
              <a:cxn ang="0">
                <a:pos x="csX194" y="csY194"/>
              </a:cxn>
              <a:cxn ang="0">
                <a:pos x="csX195" y="csY195"/>
              </a:cxn>
              <a:cxn ang="0">
                <a:pos x="csX196" y="csY196"/>
              </a:cxn>
              <a:cxn ang="0">
                <a:pos x="csX197" y="csY197"/>
              </a:cxn>
              <a:cxn ang="0">
                <a:pos x="csX198" y="csY198"/>
              </a:cxn>
              <a:cxn ang="0">
                <a:pos x="csX199" y="csY199"/>
              </a:cxn>
              <a:cxn ang="0">
                <a:pos x="csX200" y="csY200"/>
              </a:cxn>
              <a:cxn ang="0">
                <a:pos x="csX201" y="csY201"/>
              </a:cxn>
              <a:cxn ang="0">
                <a:pos x="csX202" y="csY202"/>
              </a:cxn>
              <a:cxn ang="0">
                <a:pos x="csX203" y="csY203"/>
              </a:cxn>
              <a:cxn ang="0">
                <a:pos x="csX204" y="csY204"/>
              </a:cxn>
              <a:cxn ang="0">
                <a:pos x="csX205" y="csY205"/>
              </a:cxn>
              <a:cxn ang="0">
                <a:pos x="csX206" y="csY206"/>
              </a:cxn>
              <a:cxn ang="0">
                <a:pos x="csX207" y="csY207"/>
              </a:cxn>
              <a:cxn ang="0">
                <a:pos x="csX208" y="csY208"/>
              </a:cxn>
              <a:cxn ang="0">
                <a:pos x="csX209" y="csY209"/>
              </a:cxn>
              <a:cxn ang="0">
                <a:pos x="csX210" y="csY210"/>
              </a:cxn>
              <a:cxn ang="0">
                <a:pos x="csX211" y="csY211"/>
              </a:cxn>
              <a:cxn ang="0">
                <a:pos x="csX212" y="csY212"/>
              </a:cxn>
              <a:cxn ang="0">
                <a:pos x="csX213" y="csY213"/>
              </a:cxn>
              <a:cxn ang="0">
                <a:pos x="csX214" y="csY214"/>
              </a:cxn>
              <a:cxn ang="0">
                <a:pos x="csX215" y="csY215"/>
              </a:cxn>
              <a:cxn ang="0">
                <a:pos x="csX216" y="csY216"/>
              </a:cxn>
              <a:cxn ang="0">
                <a:pos x="csX217" y="csY217"/>
              </a:cxn>
              <a:cxn ang="0">
                <a:pos x="csX218" y="csY218"/>
              </a:cxn>
              <a:cxn ang="0">
                <a:pos x="csX219" y="csY219"/>
              </a:cxn>
              <a:cxn ang="0">
                <a:pos x="csX220" y="csY220"/>
              </a:cxn>
              <a:cxn ang="0">
                <a:pos x="csX221" y="csY221"/>
              </a:cxn>
              <a:cxn ang="0">
                <a:pos x="csX222" y="csY222"/>
              </a:cxn>
              <a:cxn ang="0">
                <a:pos x="csX223" y="csY223"/>
              </a:cxn>
              <a:cxn ang="0">
                <a:pos x="csX224" y="csY224"/>
              </a:cxn>
              <a:cxn ang="0">
                <a:pos x="csX225" y="csY225"/>
              </a:cxn>
              <a:cxn ang="0">
                <a:pos x="csX226" y="csY226"/>
              </a:cxn>
              <a:cxn ang="0">
                <a:pos x="csX227" y="csY227"/>
              </a:cxn>
              <a:cxn ang="0">
                <a:pos x="csX228" y="csY228"/>
              </a:cxn>
              <a:cxn ang="0">
                <a:pos x="csX229" y="csY229"/>
              </a:cxn>
              <a:cxn ang="0">
                <a:pos x="csX230" y="csY230"/>
              </a:cxn>
              <a:cxn ang="0">
                <a:pos x="csX231" y="csY231"/>
              </a:cxn>
              <a:cxn ang="0">
                <a:pos x="csX232" y="csY232"/>
              </a:cxn>
              <a:cxn ang="0">
                <a:pos x="csX233" y="csY233"/>
              </a:cxn>
              <a:cxn ang="0">
                <a:pos x="csX234" y="csY234"/>
              </a:cxn>
              <a:cxn ang="0">
                <a:pos x="csX235" y="csY235"/>
              </a:cxn>
              <a:cxn ang="0">
                <a:pos x="csX236" y="csY236"/>
              </a:cxn>
              <a:cxn ang="0">
                <a:pos x="csX237" y="csY237"/>
              </a:cxn>
              <a:cxn ang="0">
                <a:pos x="csX238" y="csY238"/>
              </a:cxn>
              <a:cxn ang="0">
                <a:pos x="csX239" y="csY239"/>
              </a:cxn>
              <a:cxn ang="0">
                <a:pos x="csX240" y="csY240"/>
              </a:cxn>
              <a:cxn ang="0">
                <a:pos x="csX241" y="csY241"/>
              </a:cxn>
              <a:cxn ang="0">
                <a:pos x="csX242" y="csY242"/>
              </a:cxn>
              <a:cxn ang="0">
                <a:pos x="csX243" y="csY243"/>
              </a:cxn>
              <a:cxn ang="0">
                <a:pos x="csX244" y="csY244"/>
              </a:cxn>
              <a:cxn ang="0">
                <a:pos x="csX245" y="csY245"/>
              </a:cxn>
              <a:cxn ang="0">
                <a:pos x="csX246" y="csY246"/>
              </a:cxn>
              <a:cxn ang="0">
                <a:pos x="csX247" y="csY247"/>
              </a:cxn>
              <a:cxn ang="0">
                <a:pos x="csX248" y="csY248"/>
              </a:cxn>
              <a:cxn ang="0">
                <a:pos x="csX249" y="csY249"/>
              </a:cxn>
              <a:cxn ang="0">
                <a:pos x="csX250" y="csY250"/>
              </a:cxn>
              <a:cxn ang="0">
                <a:pos x="csX251" y="csY251"/>
              </a:cxn>
              <a:cxn ang="0">
                <a:pos x="csX252" y="csY252"/>
              </a:cxn>
              <a:cxn ang="0">
                <a:pos x="csX253" y="csY253"/>
              </a:cxn>
              <a:cxn ang="0">
                <a:pos x="csX254" y="csY254"/>
              </a:cxn>
              <a:cxn ang="0">
                <a:pos x="csX255" y="csY255"/>
              </a:cxn>
              <a:cxn ang="0">
                <a:pos x="csX256" y="csY256"/>
              </a:cxn>
              <a:cxn ang="0">
                <a:pos x="csX257" y="csY257"/>
              </a:cxn>
              <a:cxn ang="0">
                <a:pos x="csX258" y="csY258"/>
              </a:cxn>
              <a:cxn ang="0">
                <a:pos x="csX259" y="csY259"/>
              </a:cxn>
              <a:cxn ang="0">
                <a:pos x="csX260" y="csY260"/>
              </a:cxn>
              <a:cxn ang="0">
                <a:pos x="csX261" y="csY261"/>
              </a:cxn>
              <a:cxn ang="0">
                <a:pos x="csX262" y="csY262"/>
              </a:cxn>
              <a:cxn ang="0">
                <a:pos x="csX263" y="csY263"/>
              </a:cxn>
              <a:cxn ang="0">
                <a:pos x="csX264" y="csY264"/>
              </a:cxn>
              <a:cxn ang="0">
                <a:pos x="csX265" y="csY265"/>
              </a:cxn>
              <a:cxn ang="0">
                <a:pos x="csX266" y="csY266"/>
              </a:cxn>
              <a:cxn ang="0">
                <a:pos x="csX267" y="csY267"/>
              </a:cxn>
              <a:cxn ang="0">
                <a:pos x="csX268" y="csY268"/>
              </a:cxn>
              <a:cxn ang="0">
                <a:pos x="csX269" y="csY269"/>
              </a:cxn>
              <a:cxn ang="0">
                <a:pos x="csX270" y="csY270"/>
              </a:cxn>
              <a:cxn ang="0">
                <a:pos x="csX271" y="csY271"/>
              </a:cxn>
              <a:cxn ang="0">
                <a:pos x="csX272" y="csY272"/>
              </a:cxn>
              <a:cxn ang="0">
                <a:pos x="csX273" y="csY273"/>
              </a:cxn>
              <a:cxn ang="0">
                <a:pos x="csX274" y="csY274"/>
              </a:cxn>
              <a:cxn ang="0">
                <a:pos x="csX275" y="csY275"/>
              </a:cxn>
              <a:cxn ang="0">
                <a:pos x="csX276" y="csY276"/>
              </a:cxn>
              <a:cxn ang="0">
                <a:pos x="csX277" y="csY277"/>
              </a:cxn>
              <a:cxn ang="0">
                <a:pos x="csX278" y="csY278"/>
              </a:cxn>
              <a:cxn ang="0">
                <a:pos x="csX279" y="csY279"/>
              </a:cxn>
              <a:cxn ang="0">
                <a:pos x="csX280" y="csY280"/>
              </a:cxn>
              <a:cxn ang="0">
                <a:pos x="csX281" y="csY281"/>
              </a:cxn>
              <a:cxn ang="0">
                <a:pos x="csX282" y="csY282"/>
              </a:cxn>
              <a:cxn ang="0">
                <a:pos x="csX283" y="csY283"/>
              </a:cxn>
              <a:cxn ang="0">
                <a:pos x="csX284" y="csY284"/>
              </a:cxn>
              <a:cxn ang="0">
                <a:pos x="csX285" y="csY285"/>
              </a:cxn>
              <a:cxn ang="0">
                <a:pos x="csX286" y="csY286"/>
              </a:cxn>
              <a:cxn ang="0">
                <a:pos x="csX287" y="csY287"/>
              </a:cxn>
              <a:cxn ang="0">
                <a:pos x="csX288" y="csY288"/>
              </a:cxn>
              <a:cxn ang="0">
                <a:pos x="csX289" y="csY289"/>
              </a:cxn>
              <a:cxn ang="0">
                <a:pos x="csX290" y="csY290"/>
              </a:cxn>
              <a:cxn ang="0">
                <a:pos x="csX291" y="csY291"/>
              </a:cxn>
              <a:cxn ang="0">
                <a:pos x="csX292" y="csY292"/>
              </a:cxn>
              <a:cxn ang="0">
                <a:pos x="csX293" y="csY293"/>
              </a:cxn>
              <a:cxn ang="0">
                <a:pos x="csX294" y="csY294"/>
              </a:cxn>
              <a:cxn ang="0">
                <a:pos x="csX295" y="csY295"/>
              </a:cxn>
              <a:cxn ang="0">
                <a:pos x="csX296" y="csY296"/>
              </a:cxn>
              <a:cxn ang="0">
                <a:pos x="csX297" y="csY297"/>
              </a:cxn>
              <a:cxn ang="0">
                <a:pos x="csX298" y="csY298"/>
              </a:cxn>
              <a:cxn ang="0">
                <a:pos x="csX299" y="csY299"/>
              </a:cxn>
              <a:cxn ang="0">
                <a:pos x="csX300" y="csY300"/>
              </a:cxn>
              <a:cxn ang="0">
                <a:pos x="csX301" y="csY301"/>
              </a:cxn>
              <a:cxn ang="0">
                <a:pos x="csX302" y="csY302"/>
              </a:cxn>
              <a:cxn ang="0">
                <a:pos x="csX303" y="csY303"/>
              </a:cxn>
              <a:cxn ang="0">
                <a:pos x="csX304" y="csY304"/>
              </a:cxn>
              <a:cxn ang="0">
                <a:pos x="csX305" y="csY305"/>
              </a:cxn>
              <a:cxn ang="0">
                <a:pos x="csX306" y="csY306"/>
              </a:cxn>
              <a:cxn ang="0">
                <a:pos x="csX307" y="csY307"/>
              </a:cxn>
              <a:cxn ang="0">
                <a:pos x="csX308" y="csY308"/>
              </a:cxn>
              <a:cxn ang="0">
                <a:pos x="csX309" y="csY309"/>
              </a:cxn>
              <a:cxn ang="0">
                <a:pos x="csX310" y="csY310"/>
              </a:cxn>
              <a:cxn ang="0">
                <a:pos x="csX311" y="csY311"/>
              </a:cxn>
              <a:cxn ang="0">
                <a:pos x="csX312" y="csY312"/>
              </a:cxn>
              <a:cxn ang="0">
                <a:pos x="csX313" y="csY313"/>
              </a:cxn>
              <a:cxn ang="0">
                <a:pos x="csX314" y="csY314"/>
              </a:cxn>
              <a:cxn ang="0">
                <a:pos x="csX315" y="csY315"/>
              </a:cxn>
              <a:cxn ang="0">
                <a:pos x="csX316" y="csY316"/>
              </a:cxn>
              <a:cxn ang="0">
                <a:pos x="csX317" y="csY317"/>
              </a:cxn>
              <a:cxn ang="0">
                <a:pos x="csX318" y="csY318"/>
              </a:cxn>
              <a:cxn ang="0">
                <a:pos x="csX319" y="csY319"/>
              </a:cxn>
              <a:cxn ang="0">
                <a:pos x="csX320" y="csY320"/>
              </a:cxn>
              <a:cxn ang="0">
                <a:pos x="csX321" y="csY321"/>
              </a:cxn>
              <a:cxn ang="0">
                <a:pos x="csX322" y="csY322"/>
              </a:cxn>
              <a:cxn ang="0">
                <a:pos x="csX323" y="csY323"/>
              </a:cxn>
              <a:cxn ang="0">
                <a:pos x="csX324" y="csY324"/>
              </a:cxn>
              <a:cxn ang="0">
                <a:pos x="csX325" y="csY325"/>
              </a:cxn>
              <a:cxn ang="0">
                <a:pos x="csX326" y="csY326"/>
              </a:cxn>
              <a:cxn ang="0">
                <a:pos x="csX327" y="csY327"/>
              </a:cxn>
              <a:cxn ang="0">
                <a:pos x="csX328" y="csY328"/>
              </a:cxn>
              <a:cxn ang="0">
                <a:pos x="csX329" y="csY329"/>
              </a:cxn>
              <a:cxn ang="0">
                <a:pos x="csX330" y="csY330"/>
              </a:cxn>
              <a:cxn ang="0">
                <a:pos x="csX331" y="csY331"/>
              </a:cxn>
              <a:cxn ang="0">
                <a:pos x="csX332" y="csY332"/>
              </a:cxn>
              <a:cxn ang="0">
                <a:pos x="csX333" y="csY333"/>
              </a:cxn>
              <a:cxn ang="0">
                <a:pos x="csX334" y="csY334"/>
              </a:cxn>
              <a:cxn ang="0">
                <a:pos x="csX335" y="csY335"/>
              </a:cxn>
              <a:cxn ang="0">
                <a:pos x="csX336" y="csY336"/>
              </a:cxn>
              <a:cxn ang="0">
                <a:pos x="csX337" y="csY337"/>
              </a:cxn>
              <a:cxn ang="0">
                <a:pos x="csX338" y="csY338"/>
              </a:cxn>
              <a:cxn ang="0">
                <a:pos x="csX339" y="csY339"/>
              </a:cxn>
              <a:cxn ang="0">
                <a:pos x="csX340" y="csY340"/>
              </a:cxn>
              <a:cxn ang="0">
                <a:pos x="csX341" y="csY341"/>
              </a:cxn>
              <a:cxn ang="0">
                <a:pos x="csX342" y="csY342"/>
              </a:cxn>
              <a:cxn ang="0">
                <a:pos x="csX343" y="csY343"/>
              </a:cxn>
              <a:cxn ang="0">
                <a:pos x="csX344" y="csY344"/>
              </a:cxn>
              <a:cxn ang="0">
                <a:pos x="csX345" y="csY345"/>
              </a:cxn>
              <a:cxn ang="0">
                <a:pos x="csX346" y="csY346"/>
              </a:cxn>
              <a:cxn ang="0">
                <a:pos x="csX347" y="csY347"/>
              </a:cxn>
              <a:cxn ang="0">
                <a:pos x="csX348" y="csY348"/>
              </a:cxn>
              <a:cxn ang="0">
                <a:pos x="csX349" y="csY349"/>
              </a:cxn>
              <a:cxn ang="0">
                <a:pos x="csX350" y="csY350"/>
              </a:cxn>
              <a:cxn ang="0">
                <a:pos x="csX351" y="csY351"/>
              </a:cxn>
              <a:cxn ang="0">
                <a:pos x="csX352" y="csY352"/>
              </a:cxn>
              <a:cxn ang="0">
                <a:pos x="csX353" y="csY353"/>
              </a:cxn>
              <a:cxn ang="0">
                <a:pos x="csX354" y="csY354"/>
              </a:cxn>
              <a:cxn ang="0">
                <a:pos x="csX355" y="csY355"/>
              </a:cxn>
              <a:cxn ang="0">
                <a:pos x="csX356" y="csY356"/>
              </a:cxn>
              <a:cxn ang="0">
                <a:pos x="csX357" y="csY357"/>
              </a:cxn>
              <a:cxn ang="0">
                <a:pos x="csX358" y="csY358"/>
              </a:cxn>
              <a:cxn ang="0">
                <a:pos x="csX359" y="csY359"/>
              </a:cxn>
              <a:cxn ang="0">
                <a:pos x="csX360" y="csY360"/>
              </a:cxn>
              <a:cxn ang="0">
                <a:pos x="csX361" y="csY361"/>
              </a:cxn>
              <a:cxn ang="0">
                <a:pos x="csX362" y="csY362"/>
              </a:cxn>
              <a:cxn ang="0">
                <a:pos x="csX363" y="csY363"/>
              </a:cxn>
              <a:cxn ang="0">
                <a:pos x="csX364" y="csY364"/>
              </a:cxn>
              <a:cxn ang="0">
                <a:pos x="csX365" y="csY365"/>
              </a:cxn>
              <a:cxn ang="0">
                <a:pos x="csX366" y="csY366"/>
              </a:cxn>
              <a:cxn ang="0">
                <a:pos x="csX367" y="csY367"/>
              </a:cxn>
              <a:cxn ang="0">
                <a:pos x="csX368" y="csY368"/>
              </a:cxn>
              <a:cxn ang="0">
                <a:pos x="csX369" y="csY369"/>
              </a:cxn>
              <a:cxn ang="0">
                <a:pos x="csX370" y="csY370"/>
              </a:cxn>
              <a:cxn ang="0">
                <a:pos x="csX371" y="csY371"/>
              </a:cxn>
              <a:cxn ang="0">
                <a:pos x="csX372" y="csY372"/>
              </a:cxn>
              <a:cxn ang="0">
                <a:pos x="csX373" y="csY373"/>
              </a:cxn>
              <a:cxn ang="0">
                <a:pos x="csX374" y="csY374"/>
              </a:cxn>
              <a:cxn ang="0">
                <a:pos x="csX375" y="csY375"/>
              </a:cxn>
              <a:cxn ang="0">
                <a:pos x="csX376" y="csY376"/>
              </a:cxn>
              <a:cxn ang="0">
                <a:pos x="csX377" y="csY377"/>
              </a:cxn>
              <a:cxn ang="0">
                <a:pos x="csX378" y="csY378"/>
              </a:cxn>
              <a:cxn ang="0">
                <a:pos x="csX379" y="csY379"/>
              </a:cxn>
              <a:cxn ang="0">
                <a:pos x="csX380" y="csY380"/>
              </a:cxn>
              <a:cxn ang="0">
                <a:pos x="csX381" y="csY381"/>
              </a:cxn>
              <a:cxn ang="0">
                <a:pos x="csX382" y="csY382"/>
              </a:cxn>
              <a:cxn ang="0">
                <a:pos x="csX383" y="csY383"/>
              </a:cxn>
              <a:cxn ang="0">
                <a:pos x="csX384" y="csY384"/>
              </a:cxn>
              <a:cxn ang="0">
                <a:pos x="csX385" y="csY385"/>
              </a:cxn>
              <a:cxn ang="0">
                <a:pos x="csX386" y="csY386"/>
              </a:cxn>
              <a:cxn ang="0">
                <a:pos x="csX387" y="csY387"/>
              </a:cxn>
              <a:cxn ang="0">
                <a:pos x="csX388" y="csY388"/>
              </a:cxn>
              <a:cxn ang="0">
                <a:pos x="csX389" y="csY389"/>
              </a:cxn>
              <a:cxn ang="0">
                <a:pos x="csX390" y="csY390"/>
              </a:cxn>
              <a:cxn ang="0">
                <a:pos x="csX391" y="csY391"/>
              </a:cxn>
              <a:cxn ang="0">
                <a:pos x="csX392" y="csY392"/>
              </a:cxn>
              <a:cxn ang="0">
                <a:pos x="csX393" y="csY393"/>
              </a:cxn>
              <a:cxn ang="0">
                <a:pos x="csX394" y="csY394"/>
              </a:cxn>
              <a:cxn ang="0">
                <a:pos x="csX395" y="csY395"/>
              </a:cxn>
              <a:cxn ang="0">
                <a:pos x="csX396" y="csY396"/>
              </a:cxn>
              <a:cxn ang="0">
                <a:pos x="csX397" y="csY397"/>
              </a:cxn>
              <a:cxn ang="0">
                <a:pos x="csX398" y="csY398"/>
              </a:cxn>
              <a:cxn ang="0">
                <a:pos x="csX399" y="csY399"/>
              </a:cxn>
              <a:cxn ang="0">
                <a:pos x="csX400" y="csY400"/>
              </a:cxn>
              <a:cxn ang="0">
                <a:pos x="csX401" y="csY401"/>
              </a:cxn>
              <a:cxn ang="0">
                <a:pos x="csX402" y="csY402"/>
              </a:cxn>
              <a:cxn ang="0">
                <a:pos x="csX403" y="csY403"/>
              </a:cxn>
              <a:cxn ang="0">
                <a:pos x="csX404" y="csY404"/>
              </a:cxn>
              <a:cxn ang="0">
                <a:pos x="csX405" y="csY405"/>
              </a:cxn>
              <a:cxn ang="0">
                <a:pos x="csX406" y="csY406"/>
              </a:cxn>
              <a:cxn ang="0">
                <a:pos x="csX407" y="csY407"/>
              </a:cxn>
              <a:cxn ang="0">
                <a:pos x="csX408" y="csY408"/>
              </a:cxn>
              <a:cxn ang="0">
                <a:pos x="csX409" y="csY409"/>
              </a:cxn>
              <a:cxn ang="0">
                <a:pos x="csX410" y="csY410"/>
              </a:cxn>
              <a:cxn ang="0">
                <a:pos x="csX411" y="csY411"/>
              </a:cxn>
              <a:cxn ang="0">
                <a:pos x="csX412" y="csY412"/>
              </a:cxn>
              <a:cxn ang="0">
                <a:pos x="csX413" y="csY413"/>
              </a:cxn>
              <a:cxn ang="0">
                <a:pos x="csX414" y="csY414"/>
              </a:cxn>
              <a:cxn ang="0">
                <a:pos x="csX415" y="csY415"/>
              </a:cxn>
              <a:cxn ang="0">
                <a:pos x="csX416" y="csY416"/>
              </a:cxn>
              <a:cxn ang="0">
                <a:pos x="csX417" y="csY417"/>
              </a:cxn>
              <a:cxn ang="0">
                <a:pos x="csX418" y="csY418"/>
              </a:cxn>
              <a:cxn ang="0">
                <a:pos x="csX419" y="csY419"/>
              </a:cxn>
              <a:cxn ang="0">
                <a:pos x="csX420" y="csY420"/>
              </a:cxn>
              <a:cxn ang="0">
                <a:pos x="csX421" y="csY421"/>
              </a:cxn>
              <a:cxn ang="0">
                <a:pos x="csX422" y="csY422"/>
              </a:cxn>
              <a:cxn ang="0">
                <a:pos x="csX423" y="csY423"/>
              </a:cxn>
              <a:cxn ang="0">
                <a:pos x="csX424" y="csY424"/>
              </a:cxn>
              <a:cxn ang="0">
                <a:pos x="csX425" y="csY425"/>
              </a:cxn>
              <a:cxn ang="0">
                <a:pos x="csX426" y="csY426"/>
              </a:cxn>
              <a:cxn ang="0">
                <a:pos x="csX427" y="csY427"/>
              </a:cxn>
              <a:cxn ang="0">
                <a:pos x="csX428" y="csY428"/>
              </a:cxn>
              <a:cxn ang="0">
                <a:pos x="csX429" y="csY429"/>
              </a:cxn>
              <a:cxn ang="0">
                <a:pos x="csX430" y="csY430"/>
              </a:cxn>
              <a:cxn ang="0">
                <a:pos x="csX431" y="csY431"/>
              </a:cxn>
              <a:cxn ang="0">
                <a:pos x="csX432" y="csY432"/>
              </a:cxn>
              <a:cxn ang="0">
                <a:pos x="csX433" y="csY433"/>
              </a:cxn>
              <a:cxn ang="0">
                <a:pos x="csX434" y="csY434"/>
              </a:cxn>
              <a:cxn ang="0">
                <a:pos x="csX435" y="csY435"/>
              </a:cxn>
              <a:cxn ang="0">
                <a:pos x="csX436" y="csY436"/>
              </a:cxn>
              <a:cxn ang="0">
                <a:pos x="csX437" y="csY437"/>
              </a:cxn>
              <a:cxn ang="0">
                <a:pos x="csX438" y="csY438"/>
              </a:cxn>
              <a:cxn ang="0">
                <a:pos x="csX439" y="csY439"/>
              </a:cxn>
              <a:cxn ang="0">
                <a:pos x="csX440" y="csY440"/>
              </a:cxn>
              <a:cxn ang="0">
                <a:pos x="csX441" y="csY441"/>
              </a:cxn>
              <a:cxn ang="0">
                <a:pos x="csX442" y="csY442"/>
              </a:cxn>
              <a:cxn ang="0">
                <a:pos x="csX443" y="csY443"/>
              </a:cxn>
              <a:cxn ang="0">
                <a:pos x="csX444" y="csY444"/>
              </a:cxn>
              <a:cxn ang="0">
                <a:pos x="csX445" y="csY445"/>
              </a:cxn>
              <a:cxn ang="0">
                <a:pos x="csX446" y="csY446"/>
              </a:cxn>
              <a:cxn ang="0">
                <a:pos x="csX447" y="csY447"/>
              </a:cxn>
              <a:cxn ang="0">
                <a:pos x="csX448" y="csY448"/>
              </a:cxn>
              <a:cxn ang="0">
                <a:pos x="csX449" y="csY449"/>
              </a:cxn>
              <a:cxn ang="0">
                <a:pos x="csX450" y="csY450"/>
              </a:cxn>
              <a:cxn ang="0">
                <a:pos x="csX451" y="csY451"/>
              </a:cxn>
              <a:cxn ang="0">
                <a:pos x="csX452" y="csY452"/>
              </a:cxn>
              <a:cxn ang="0">
                <a:pos x="csX453" y="csY453"/>
              </a:cxn>
              <a:cxn ang="0">
                <a:pos x="csX454" y="csY454"/>
              </a:cxn>
              <a:cxn ang="0">
                <a:pos x="csX455" y="csY455"/>
              </a:cxn>
              <a:cxn ang="0">
                <a:pos x="csX456" y="csY456"/>
              </a:cxn>
              <a:cxn ang="0">
                <a:pos x="csX457" y="csY457"/>
              </a:cxn>
              <a:cxn ang="0">
                <a:pos x="csX458" y="csY458"/>
              </a:cxn>
              <a:cxn ang="0">
                <a:pos x="csX459" y="csY459"/>
              </a:cxn>
              <a:cxn ang="0">
                <a:pos x="csX460" y="csY460"/>
              </a:cxn>
              <a:cxn ang="0">
                <a:pos x="csX461" y="csY461"/>
              </a:cxn>
              <a:cxn ang="0">
                <a:pos x="csX462" y="csY462"/>
              </a:cxn>
              <a:cxn ang="0">
                <a:pos x="csX463" y="csY463"/>
              </a:cxn>
              <a:cxn ang="0">
                <a:pos x="csX464" y="csY464"/>
              </a:cxn>
              <a:cxn ang="0">
                <a:pos x="csX465" y="csY465"/>
              </a:cxn>
              <a:cxn ang="0">
                <a:pos x="csX466" y="csY466"/>
              </a:cxn>
              <a:cxn ang="0">
                <a:pos x="csX467" y="csY467"/>
              </a:cxn>
              <a:cxn ang="0">
                <a:pos x="csX468" y="csY468"/>
              </a:cxn>
              <a:cxn ang="0">
                <a:pos x="csX469" y="csY469"/>
              </a:cxn>
              <a:cxn ang="0">
                <a:pos x="csX470" y="csY470"/>
              </a:cxn>
              <a:cxn ang="0">
                <a:pos x="csX471" y="csY471"/>
              </a:cxn>
              <a:cxn ang="0">
                <a:pos x="csX472" y="csY472"/>
              </a:cxn>
              <a:cxn ang="0">
                <a:pos x="csX473" y="csY473"/>
              </a:cxn>
              <a:cxn ang="0">
                <a:pos x="csX474" y="csY474"/>
              </a:cxn>
              <a:cxn ang="0">
                <a:pos x="csX475" y="csY475"/>
              </a:cxn>
              <a:cxn ang="0">
                <a:pos x="csX476" y="csY476"/>
              </a:cxn>
              <a:cxn ang="0">
                <a:pos x="csX477" y="csY477"/>
              </a:cxn>
              <a:cxn ang="0">
                <a:pos x="csX478" y="csY478"/>
              </a:cxn>
              <a:cxn ang="0">
                <a:pos x="csX479" y="csY479"/>
              </a:cxn>
              <a:cxn ang="0">
                <a:pos x="csX480" y="csY480"/>
              </a:cxn>
              <a:cxn ang="0">
                <a:pos x="csX481" y="csY481"/>
              </a:cxn>
              <a:cxn ang="0">
                <a:pos x="csX482" y="csY482"/>
              </a:cxn>
              <a:cxn ang="0">
                <a:pos x="csX483" y="csY483"/>
              </a:cxn>
              <a:cxn ang="0">
                <a:pos x="csX484" y="csY484"/>
              </a:cxn>
              <a:cxn ang="0">
                <a:pos x="csX485" y="csY485"/>
              </a:cxn>
              <a:cxn ang="0">
                <a:pos x="csX486" y="csY486"/>
              </a:cxn>
              <a:cxn ang="0">
                <a:pos x="csX487" y="csY487"/>
              </a:cxn>
              <a:cxn ang="0">
                <a:pos x="csX488" y="csY488"/>
              </a:cxn>
              <a:cxn ang="0">
                <a:pos x="csX489" y="csY489"/>
              </a:cxn>
              <a:cxn ang="0">
                <a:pos x="csX490" y="csY490"/>
              </a:cxn>
              <a:cxn ang="0">
                <a:pos x="csX491" y="csY491"/>
              </a:cxn>
              <a:cxn ang="0">
                <a:pos x="csX492" y="csY492"/>
              </a:cxn>
              <a:cxn ang="0">
                <a:pos x="csX493" y="csY493"/>
              </a:cxn>
              <a:cxn ang="0">
                <a:pos x="csX494" y="csY494"/>
              </a:cxn>
              <a:cxn ang="0">
                <a:pos x="csX495" y="csY495"/>
              </a:cxn>
              <a:cxn ang="0">
                <a:pos x="csX496" y="csY496"/>
              </a:cxn>
              <a:cxn ang="0">
                <a:pos x="csX497" y="csY497"/>
              </a:cxn>
              <a:cxn ang="0">
                <a:pos x="csX498" y="csY498"/>
              </a:cxn>
              <a:cxn ang="0">
                <a:pos x="csX499" y="csY499"/>
              </a:cxn>
              <a:cxn ang="0">
                <a:pos x="csX500" y="csY500"/>
              </a:cxn>
              <a:cxn ang="0">
                <a:pos x="csX501" y="csY501"/>
              </a:cxn>
              <a:cxn ang="0">
                <a:pos x="csX502" y="csY502"/>
              </a:cxn>
              <a:cxn ang="0">
                <a:pos x="csX503" y="csY503"/>
              </a:cxn>
              <a:cxn ang="0">
                <a:pos x="csX504" y="csY504"/>
              </a:cxn>
              <a:cxn ang="0">
                <a:pos x="csX505" y="csY505"/>
              </a:cxn>
              <a:cxn ang="0">
                <a:pos x="csX506" y="csY506"/>
              </a:cxn>
              <a:cxn ang="0">
                <a:pos x="csX507" y="csY507"/>
              </a:cxn>
              <a:cxn ang="0">
                <a:pos x="csX508" y="csY508"/>
              </a:cxn>
              <a:cxn ang="0">
                <a:pos x="csX509" y="csY509"/>
              </a:cxn>
              <a:cxn ang="0">
                <a:pos x="csX510" y="csY510"/>
              </a:cxn>
              <a:cxn ang="0">
                <a:pos x="csX511" y="csY511"/>
              </a:cxn>
              <a:cxn ang="0">
                <a:pos x="csX512" y="csY512"/>
              </a:cxn>
              <a:cxn ang="0">
                <a:pos x="csX513" y="csY513"/>
              </a:cxn>
              <a:cxn ang="0">
                <a:pos x="csX514" y="csY514"/>
              </a:cxn>
              <a:cxn ang="0">
                <a:pos x="csX515" y="csY515"/>
              </a:cxn>
              <a:cxn ang="0">
                <a:pos x="csX516" y="csY516"/>
              </a:cxn>
              <a:cxn ang="0">
                <a:pos x="csX517" y="csY517"/>
              </a:cxn>
              <a:cxn ang="0">
                <a:pos x="csX518" y="csY518"/>
              </a:cxn>
              <a:cxn ang="0">
                <a:pos x="csX519" y="csY519"/>
              </a:cxn>
              <a:cxn ang="0">
                <a:pos x="csX520" y="csY520"/>
              </a:cxn>
              <a:cxn ang="0">
                <a:pos x="csX521" y="csY521"/>
              </a:cxn>
              <a:cxn ang="0">
                <a:pos x="csX522" y="csY522"/>
              </a:cxn>
              <a:cxn ang="0">
                <a:pos x="csX523" y="csY523"/>
              </a:cxn>
              <a:cxn ang="0">
                <a:pos x="csX524" y="csY524"/>
              </a:cxn>
              <a:cxn ang="0">
                <a:pos x="csX525" y="csY525"/>
              </a:cxn>
              <a:cxn ang="0">
                <a:pos x="csX526" y="csY526"/>
              </a:cxn>
              <a:cxn ang="0">
                <a:pos x="csX527" y="csY527"/>
              </a:cxn>
              <a:cxn ang="0">
                <a:pos x="csX528" y="csY528"/>
              </a:cxn>
              <a:cxn ang="0">
                <a:pos x="csX529" y="csY529"/>
              </a:cxn>
              <a:cxn ang="0">
                <a:pos x="csX530" y="csY530"/>
              </a:cxn>
              <a:cxn ang="0">
                <a:pos x="csX531" y="csY531"/>
              </a:cxn>
              <a:cxn ang="0">
                <a:pos x="csX532" y="csY532"/>
              </a:cxn>
              <a:cxn ang="0">
                <a:pos x="csX533" y="csY533"/>
              </a:cxn>
              <a:cxn ang="0">
                <a:pos x="csX534" y="csY534"/>
              </a:cxn>
              <a:cxn ang="0">
                <a:pos x="csX535" y="csY535"/>
              </a:cxn>
              <a:cxn ang="0">
                <a:pos x="csX536" y="csY536"/>
              </a:cxn>
              <a:cxn ang="0">
                <a:pos x="csX537" y="csY537"/>
              </a:cxn>
              <a:cxn ang="0">
                <a:pos x="csX538" y="csY538"/>
              </a:cxn>
              <a:cxn ang="0">
                <a:pos x="csX539" y="csY539"/>
              </a:cxn>
              <a:cxn ang="0">
                <a:pos x="csX540" y="csY540"/>
              </a:cxn>
              <a:cxn ang="0">
                <a:pos x="csX541" y="csY541"/>
              </a:cxn>
              <a:cxn ang="0">
                <a:pos x="csX542" y="csY542"/>
              </a:cxn>
              <a:cxn ang="0">
                <a:pos x="csX543" y="csY543"/>
              </a:cxn>
              <a:cxn ang="0">
                <a:pos x="csX544" y="csY544"/>
              </a:cxn>
              <a:cxn ang="0">
                <a:pos x="csX545" y="csY545"/>
              </a:cxn>
              <a:cxn ang="0">
                <a:pos x="csX546" y="csY546"/>
              </a:cxn>
              <a:cxn ang="0">
                <a:pos x="csX547" y="csY547"/>
              </a:cxn>
              <a:cxn ang="0">
                <a:pos x="csX548" y="csY548"/>
              </a:cxn>
              <a:cxn ang="0">
                <a:pos x="csX549" y="csY549"/>
              </a:cxn>
              <a:cxn ang="0">
                <a:pos x="csX550" y="csY550"/>
              </a:cxn>
              <a:cxn ang="0">
                <a:pos x="csX551" y="csY551"/>
              </a:cxn>
              <a:cxn ang="0">
                <a:pos x="csX552" y="csY552"/>
              </a:cxn>
              <a:cxn ang="0">
                <a:pos x="csX553" y="csY553"/>
              </a:cxn>
              <a:cxn ang="0">
                <a:pos x="csX554" y="csY554"/>
              </a:cxn>
              <a:cxn ang="0">
                <a:pos x="csX555" y="csY555"/>
              </a:cxn>
              <a:cxn ang="0">
                <a:pos x="csX556" y="csY556"/>
              </a:cxn>
              <a:cxn ang="0">
                <a:pos x="csX557" y="csY557"/>
              </a:cxn>
              <a:cxn ang="0">
                <a:pos x="csX558" y="csY558"/>
              </a:cxn>
              <a:cxn ang="0">
                <a:pos x="csX559" y="csY559"/>
              </a:cxn>
              <a:cxn ang="0">
                <a:pos x="csX560" y="csY560"/>
              </a:cxn>
              <a:cxn ang="0">
                <a:pos x="csX561" y="csY561"/>
              </a:cxn>
              <a:cxn ang="0">
                <a:pos x="csX562" y="csY562"/>
              </a:cxn>
              <a:cxn ang="0">
                <a:pos x="csX563" y="csY563"/>
              </a:cxn>
              <a:cxn ang="0">
                <a:pos x="csX564" y="csY564"/>
              </a:cxn>
              <a:cxn ang="0">
                <a:pos x="csX565" y="csY565"/>
              </a:cxn>
              <a:cxn ang="0">
                <a:pos x="csX566" y="csY566"/>
              </a:cxn>
              <a:cxn ang="0">
                <a:pos x="csX567" y="csY567"/>
              </a:cxn>
              <a:cxn ang="0">
                <a:pos x="csX568" y="csY568"/>
              </a:cxn>
              <a:cxn ang="0">
                <a:pos x="csX569" y="csY569"/>
              </a:cxn>
              <a:cxn ang="0">
                <a:pos x="csX570" y="csY570"/>
              </a:cxn>
              <a:cxn ang="0">
                <a:pos x="csX571" y="csY571"/>
              </a:cxn>
              <a:cxn ang="0">
                <a:pos x="csX572" y="csY572"/>
              </a:cxn>
              <a:cxn ang="0">
                <a:pos x="csX573" y="csY573"/>
              </a:cxn>
              <a:cxn ang="0">
                <a:pos x="csX574" y="csY574"/>
              </a:cxn>
              <a:cxn ang="0">
                <a:pos x="csX575" y="csY575"/>
              </a:cxn>
              <a:cxn ang="0">
                <a:pos x="csX576" y="csY576"/>
              </a:cxn>
              <a:cxn ang="0">
                <a:pos x="csX577" y="csY577"/>
              </a:cxn>
              <a:cxn ang="0">
                <a:pos x="csX578" y="csY578"/>
              </a:cxn>
              <a:cxn ang="0">
                <a:pos x="csX579" y="csY579"/>
              </a:cxn>
              <a:cxn ang="0">
                <a:pos x="csX580" y="csY580"/>
              </a:cxn>
              <a:cxn ang="0">
                <a:pos x="csX581" y="csY581"/>
              </a:cxn>
              <a:cxn ang="0">
                <a:pos x="csX582" y="csY582"/>
              </a:cxn>
              <a:cxn ang="0">
                <a:pos x="csX583" y="csY583"/>
              </a:cxn>
              <a:cxn ang="0">
                <a:pos x="csX584" y="csY584"/>
              </a:cxn>
              <a:cxn ang="0">
                <a:pos x="csX585" y="csY585"/>
              </a:cxn>
              <a:cxn ang="0">
                <a:pos x="csX586" y="csY586"/>
              </a:cxn>
              <a:cxn ang="0">
                <a:pos x="csX587" y="csY587"/>
              </a:cxn>
              <a:cxn ang="0">
                <a:pos x="csX588" y="csY588"/>
              </a:cxn>
              <a:cxn ang="0">
                <a:pos x="csX589" y="csY589"/>
              </a:cxn>
              <a:cxn ang="0">
                <a:pos x="csX590" y="csY590"/>
              </a:cxn>
              <a:cxn ang="0">
                <a:pos x="csX591" y="csY591"/>
              </a:cxn>
              <a:cxn ang="0">
                <a:pos x="csX592" y="csY592"/>
              </a:cxn>
              <a:cxn ang="0">
                <a:pos x="csX593" y="csY593"/>
              </a:cxn>
              <a:cxn ang="0">
                <a:pos x="csX594" y="csY594"/>
              </a:cxn>
              <a:cxn ang="0">
                <a:pos x="csX595" y="csY595"/>
              </a:cxn>
              <a:cxn ang="0">
                <a:pos x="csX596" y="csY596"/>
              </a:cxn>
              <a:cxn ang="0">
                <a:pos x="csX597" y="csY597"/>
              </a:cxn>
              <a:cxn ang="0">
                <a:pos x="csX598" y="csY598"/>
              </a:cxn>
              <a:cxn ang="0">
                <a:pos x="csX599" y="csY599"/>
              </a:cxn>
              <a:cxn ang="0">
                <a:pos x="csX600" y="csY600"/>
              </a:cxn>
              <a:cxn ang="0">
                <a:pos x="csX601" y="csY601"/>
              </a:cxn>
              <a:cxn ang="0">
                <a:pos x="csX602" y="csY602"/>
              </a:cxn>
              <a:cxn ang="0">
                <a:pos x="csX603" y="csY603"/>
              </a:cxn>
              <a:cxn ang="0">
                <a:pos x="csX604" y="csY604"/>
              </a:cxn>
              <a:cxn ang="0">
                <a:pos x="csX605" y="csY605"/>
              </a:cxn>
              <a:cxn ang="0">
                <a:pos x="csX606" y="csY606"/>
              </a:cxn>
              <a:cxn ang="0">
                <a:pos x="csX607" y="csY607"/>
              </a:cxn>
              <a:cxn ang="0">
                <a:pos x="csX608" y="csY608"/>
              </a:cxn>
              <a:cxn ang="0">
                <a:pos x="csX609" y="csY609"/>
              </a:cxn>
              <a:cxn ang="0">
                <a:pos x="csX610" y="csY610"/>
              </a:cxn>
              <a:cxn ang="0">
                <a:pos x="csX611" y="csY611"/>
              </a:cxn>
              <a:cxn ang="0">
                <a:pos x="csX612" y="csY612"/>
              </a:cxn>
              <a:cxn ang="0">
                <a:pos x="csX613" y="csY613"/>
              </a:cxn>
              <a:cxn ang="0">
                <a:pos x="csX614" y="csY614"/>
              </a:cxn>
              <a:cxn ang="0">
                <a:pos x="csX615" y="csY615"/>
              </a:cxn>
              <a:cxn ang="0">
                <a:pos x="csX616" y="csY616"/>
              </a:cxn>
              <a:cxn ang="0">
                <a:pos x="csX617" y="csY617"/>
              </a:cxn>
              <a:cxn ang="0">
                <a:pos x="csX618" y="csY618"/>
              </a:cxn>
              <a:cxn ang="0">
                <a:pos x="csX619" y="csY619"/>
              </a:cxn>
              <a:cxn ang="0">
                <a:pos x="csX620" y="csY620"/>
              </a:cxn>
              <a:cxn ang="0">
                <a:pos x="csX621" y="csY621"/>
              </a:cxn>
              <a:cxn ang="0">
                <a:pos x="csX622" y="csY622"/>
              </a:cxn>
              <a:cxn ang="0">
                <a:pos x="csX623" y="csY623"/>
              </a:cxn>
              <a:cxn ang="0">
                <a:pos x="csX624" y="csY624"/>
              </a:cxn>
              <a:cxn ang="0">
                <a:pos x="csX625" y="csY625"/>
              </a:cxn>
              <a:cxn ang="0">
                <a:pos x="csX626" y="csY626"/>
              </a:cxn>
              <a:cxn ang="0">
                <a:pos x="csX627" y="csY627"/>
              </a:cxn>
              <a:cxn ang="0">
                <a:pos x="csX628" y="csY628"/>
              </a:cxn>
              <a:cxn ang="0">
                <a:pos x="csX629" y="csY629"/>
              </a:cxn>
              <a:cxn ang="0">
                <a:pos x="csX630" y="csY630"/>
              </a:cxn>
              <a:cxn ang="0">
                <a:pos x="csX631" y="csY631"/>
              </a:cxn>
              <a:cxn ang="0">
                <a:pos x="csX632" y="csY632"/>
              </a:cxn>
              <a:cxn ang="0">
                <a:pos x="csX633" y="csY633"/>
              </a:cxn>
              <a:cxn ang="0">
                <a:pos x="csX634" y="csY634"/>
              </a:cxn>
              <a:cxn ang="0">
                <a:pos x="csX635" y="csY635"/>
              </a:cxn>
              <a:cxn ang="0">
                <a:pos x="csX636" y="csY636"/>
              </a:cxn>
              <a:cxn ang="0">
                <a:pos x="csX637" y="csY637"/>
              </a:cxn>
              <a:cxn ang="0">
                <a:pos x="csX638" y="csY638"/>
              </a:cxn>
              <a:cxn ang="0">
                <a:pos x="csX639" y="csY639"/>
              </a:cxn>
              <a:cxn ang="0">
                <a:pos x="csX640" y="csY640"/>
              </a:cxn>
              <a:cxn ang="0">
                <a:pos x="csX641" y="csY641"/>
              </a:cxn>
              <a:cxn ang="0">
                <a:pos x="csX642" y="csY642"/>
              </a:cxn>
              <a:cxn ang="0">
                <a:pos x="csX643" y="csY643"/>
              </a:cxn>
              <a:cxn ang="0">
                <a:pos x="csX644" y="csY644"/>
              </a:cxn>
              <a:cxn ang="0">
                <a:pos x="csX645" y="csY645"/>
              </a:cxn>
              <a:cxn ang="0">
                <a:pos x="csX646" y="csY646"/>
              </a:cxn>
              <a:cxn ang="0">
                <a:pos x="csX647" y="csY647"/>
              </a:cxn>
              <a:cxn ang="0">
                <a:pos x="csX648" y="csY648"/>
              </a:cxn>
              <a:cxn ang="0">
                <a:pos x="csX649" y="csY649"/>
              </a:cxn>
              <a:cxn ang="0">
                <a:pos x="csX650" y="csY650"/>
              </a:cxn>
              <a:cxn ang="0">
                <a:pos x="csX651" y="csY651"/>
              </a:cxn>
              <a:cxn ang="0">
                <a:pos x="csX652" y="csY652"/>
              </a:cxn>
              <a:cxn ang="0">
                <a:pos x="csX653" y="csY653"/>
              </a:cxn>
              <a:cxn ang="0">
                <a:pos x="csX654" y="csY654"/>
              </a:cxn>
              <a:cxn ang="0">
                <a:pos x="csX655" y="csY655"/>
              </a:cxn>
              <a:cxn ang="0">
                <a:pos x="csX656" y="csY656"/>
              </a:cxn>
              <a:cxn ang="0">
                <a:pos x="csX657" y="csY657"/>
              </a:cxn>
              <a:cxn ang="0">
                <a:pos x="csX658" y="csY658"/>
              </a:cxn>
              <a:cxn ang="0">
                <a:pos x="csX659" y="csY659"/>
              </a:cxn>
              <a:cxn ang="0">
                <a:pos x="csX660" y="csY660"/>
              </a:cxn>
              <a:cxn ang="0">
                <a:pos x="csX661" y="csY661"/>
              </a:cxn>
              <a:cxn ang="0">
                <a:pos x="csX662" y="csY662"/>
              </a:cxn>
              <a:cxn ang="0">
                <a:pos x="csX663" y="csY663"/>
              </a:cxn>
              <a:cxn ang="0">
                <a:pos x="csX664" y="csY664"/>
              </a:cxn>
              <a:cxn ang="0">
                <a:pos x="csX665" y="csY665"/>
              </a:cxn>
              <a:cxn ang="0">
                <a:pos x="csX666" y="csY666"/>
              </a:cxn>
              <a:cxn ang="0">
                <a:pos x="csX667" y="csY667"/>
              </a:cxn>
              <a:cxn ang="0">
                <a:pos x="csX668" y="csY668"/>
              </a:cxn>
              <a:cxn ang="0">
                <a:pos x="csX669" y="csY669"/>
              </a:cxn>
              <a:cxn ang="0">
                <a:pos x="csX670" y="csY670"/>
              </a:cxn>
              <a:cxn ang="0">
                <a:pos x="csX671" y="csY671"/>
              </a:cxn>
              <a:cxn ang="0">
                <a:pos x="csX672" y="csY672"/>
              </a:cxn>
              <a:cxn ang="0">
                <a:pos x="csX673" y="csY673"/>
              </a:cxn>
              <a:cxn ang="0">
                <a:pos x="csX674" y="csY674"/>
              </a:cxn>
              <a:cxn ang="0">
                <a:pos x="csX675" y="csY675"/>
              </a:cxn>
              <a:cxn ang="0">
                <a:pos x="csX676" y="csY676"/>
              </a:cxn>
              <a:cxn ang="0">
                <a:pos x="csX677" y="csY677"/>
              </a:cxn>
              <a:cxn ang="0">
                <a:pos x="csX678" y="csY678"/>
              </a:cxn>
              <a:cxn ang="0">
                <a:pos x="csX679" y="csY679"/>
              </a:cxn>
              <a:cxn ang="0">
                <a:pos x="csX680" y="csY680"/>
              </a:cxn>
              <a:cxn ang="0">
                <a:pos x="csX681" y="csY681"/>
              </a:cxn>
              <a:cxn ang="0">
                <a:pos x="csX682" y="csY682"/>
              </a:cxn>
              <a:cxn ang="0">
                <a:pos x="csX683" y="csY683"/>
              </a:cxn>
              <a:cxn ang="0">
                <a:pos x="csX684" y="csY684"/>
              </a:cxn>
              <a:cxn ang="0">
                <a:pos x="csX685" y="csY685"/>
              </a:cxn>
              <a:cxn ang="0">
                <a:pos x="csX686" y="csY686"/>
              </a:cxn>
              <a:cxn ang="0">
                <a:pos x="csX687" y="csY687"/>
              </a:cxn>
              <a:cxn ang="0">
                <a:pos x="csX688" y="csY688"/>
              </a:cxn>
              <a:cxn ang="0">
                <a:pos x="csX689" y="csY689"/>
              </a:cxn>
              <a:cxn ang="0">
                <a:pos x="csX690" y="csY690"/>
              </a:cxn>
              <a:cxn ang="0">
                <a:pos x="csX691" y="csY691"/>
              </a:cxn>
              <a:cxn ang="0">
                <a:pos x="csX692" y="csY692"/>
              </a:cxn>
              <a:cxn ang="0">
                <a:pos x="csX693" y="csY693"/>
              </a:cxn>
              <a:cxn ang="0">
                <a:pos x="csX694" y="csY694"/>
              </a:cxn>
              <a:cxn ang="0">
                <a:pos x="csX695" y="csY695"/>
              </a:cxn>
              <a:cxn ang="0">
                <a:pos x="csX696" y="csY696"/>
              </a:cxn>
              <a:cxn ang="0">
                <a:pos x="csX697" y="csY697"/>
              </a:cxn>
              <a:cxn ang="0">
                <a:pos x="csX698" y="csY698"/>
              </a:cxn>
              <a:cxn ang="0">
                <a:pos x="csX699" y="csY699"/>
              </a:cxn>
              <a:cxn ang="0">
                <a:pos x="csX700" y="csY700"/>
              </a:cxn>
              <a:cxn ang="0">
                <a:pos x="csX701" y="csY701"/>
              </a:cxn>
              <a:cxn ang="0">
                <a:pos x="csX702" y="csY702"/>
              </a:cxn>
              <a:cxn ang="0">
                <a:pos x="csX703" y="csY703"/>
              </a:cxn>
              <a:cxn ang="0">
                <a:pos x="csX704" y="csY704"/>
              </a:cxn>
              <a:cxn ang="0">
                <a:pos x="csX705" y="csY705"/>
              </a:cxn>
              <a:cxn ang="0">
                <a:pos x="csX706" y="csY706"/>
              </a:cxn>
              <a:cxn ang="0">
                <a:pos x="csX707" y="csY707"/>
              </a:cxn>
              <a:cxn ang="0">
                <a:pos x="csX708" y="csY708"/>
              </a:cxn>
              <a:cxn ang="0">
                <a:pos x="csX709" y="csY709"/>
              </a:cxn>
              <a:cxn ang="0">
                <a:pos x="csX710" y="csY710"/>
              </a:cxn>
              <a:cxn ang="0">
                <a:pos x="csX711" y="csY711"/>
              </a:cxn>
              <a:cxn ang="0">
                <a:pos x="csX712" y="csY712"/>
              </a:cxn>
              <a:cxn ang="0">
                <a:pos x="csX713" y="csY713"/>
              </a:cxn>
              <a:cxn ang="0">
                <a:pos x="csX714" y="csY714"/>
              </a:cxn>
              <a:cxn ang="0">
                <a:pos x="csX715" y="csY715"/>
              </a:cxn>
              <a:cxn ang="0">
                <a:pos x="csX716" y="csY716"/>
              </a:cxn>
              <a:cxn ang="0">
                <a:pos x="csX717" y="csY717"/>
              </a:cxn>
              <a:cxn ang="0">
                <a:pos x="csX718" y="csY718"/>
              </a:cxn>
              <a:cxn ang="0">
                <a:pos x="csX719" y="csY719"/>
              </a:cxn>
              <a:cxn ang="0">
                <a:pos x="csX720" y="csY720"/>
              </a:cxn>
              <a:cxn ang="0">
                <a:pos x="csX721" y="csY721"/>
              </a:cxn>
              <a:cxn ang="0">
                <a:pos x="csX722" y="csY722"/>
              </a:cxn>
              <a:cxn ang="0">
                <a:pos x="csX723" y="csY723"/>
              </a:cxn>
              <a:cxn ang="0">
                <a:pos x="csX724" y="csY724"/>
              </a:cxn>
              <a:cxn ang="0">
                <a:pos x="csX725" y="csY725"/>
              </a:cxn>
              <a:cxn ang="0">
                <a:pos x="csX726" y="csY726"/>
              </a:cxn>
              <a:cxn ang="0">
                <a:pos x="csX727" y="csY727"/>
              </a:cxn>
              <a:cxn ang="0">
                <a:pos x="csX728" y="csY728"/>
              </a:cxn>
              <a:cxn ang="0">
                <a:pos x="csX729" y="csY729"/>
              </a:cxn>
              <a:cxn ang="0">
                <a:pos x="csX730" y="csY730"/>
              </a:cxn>
              <a:cxn ang="0">
                <a:pos x="csX731" y="csY731"/>
              </a:cxn>
              <a:cxn ang="0">
                <a:pos x="csX732" y="csY732"/>
              </a:cxn>
              <a:cxn ang="0">
                <a:pos x="csX733" y="csY733"/>
              </a:cxn>
              <a:cxn ang="0">
                <a:pos x="csX734" y="csY734"/>
              </a:cxn>
              <a:cxn ang="0">
                <a:pos x="csX735" y="csY735"/>
              </a:cxn>
              <a:cxn ang="0">
                <a:pos x="csX736" y="csY736"/>
              </a:cxn>
              <a:cxn ang="0">
                <a:pos x="csX737" y="csY737"/>
              </a:cxn>
              <a:cxn ang="0">
                <a:pos x="csX738" y="csY738"/>
              </a:cxn>
              <a:cxn ang="0">
                <a:pos x="csX739" y="csY739"/>
              </a:cxn>
              <a:cxn ang="0">
                <a:pos x="csX740" y="csY740"/>
              </a:cxn>
              <a:cxn ang="0">
                <a:pos x="csX741" y="csY741"/>
              </a:cxn>
              <a:cxn ang="0">
                <a:pos x="csX742" y="csY742"/>
              </a:cxn>
              <a:cxn ang="0">
                <a:pos x="csX743" y="csY743"/>
              </a:cxn>
              <a:cxn ang="0">
                <a:pos x="csX744" y="csY744"/>
              </a:cxn>
              <a:cxn ang="0">
                <a:pos x="csX745" y="csY745"/>
              </a:cxn>
              <a:cxn ang="0">
                <a:pos x="csX746" y="csY746"/>
              </a:cxn>
              <a:cxn ang="0">
                <a:pos x="csX747" y="csY747"/>
              </a:cxn>
              <a:cxn ang="0">
                <a:pos x="csX748" y="csY748"/>
              </a:cxn>
              <a:cxn ang="0">
                <a:pos x="csX749" y="csY749"/>
              </a:cxn>
              <a:cxn ang="0">
                <a:pos x="csX750" y="csY750"/>
              </a:cxn>
              <a:cxn ang="0">
                <a:pos x="csX751" y="csY751"/>
              </a:cxn>
              <a:cxn ang="0">
                <a:pos x="csX752" y="csY752"/>
              </a:cxn>
              <a:cxn ang="0">
                <a:pos x="csX753" y="csY753"/>
              </a:cxn>
              <a:cxn ang="0">
                <a:pos x="csX754" y="csY754"/>
              </a:cxn>
              <a:cxn ang="0">
                <a:pos x="csX755" y="csY755"/>
              </a:cxn>
              <a:cxn ang="0">
                <a:pos x="csX756" y="csY756"/>
              </a:cxn>
              <a:cxn ang="0">
                <a:pos x="csX757" y="csY757"/>
              </a:cxn>
              <a:cxn ang="0">
                <a:pos x="csX758" y="csY758"/>
              </a:cxn>
              <a:cxn ang="0">
                <a:pos x="csX759" y="csY759"/>
              </a:cxn>
              <a:cxn ang="0">
                <a:pos x="csX760" y="csY760"/>
              </a:cxn>
              <a:cxn ang="0">
                <a:pos x="csX761" y="csY761"/>
              </a:cxn>
              <a:cxn ang="0">
                <a:pos x="csX762" y="csY762"/>
              </a:cxn>
              <a:cxn ang="0">
                <a:pos x="csX763" y="csY763"/>
              </a:cxn>
              <a:cxn ang="0">
                <a:pos x="csX764" y="csY764"/>
              </a:cxn>
              <a:cxn ang="0">
                <a:pos x="csX765" y="csY765"/>
              </a:cxn>
              <a:cxn ang="0">
                <a:pos x="csX766" y="csY766"/>
              </a:cxn>
              <a:cxn ang="0">
                <a:pos x="csX767" y="csY767"/>
              </a:cxn>
              <a:cxn ang="0">
                <a:pos x="csX768" y="csY768"/>
              </a:cxn>
              <a:cxn ang="0">
                <a:pos x="csX769" y="csY769"/>
              </a:cxn>
              <a:cxn ang="0">
                <a:pos x="csX770" y="csY770"/>
              </a:cxn>
              <a:cxn ang="0">
                <a:pos x="csX771" y="csY771"/>
              </a:cxn>
              <a:cxn ang="0">
                <a:pos x="csX772" y="csY772"/>
              </a:cxn>
              <a:cxn ang="0">
                <a:pos x="csX773" y="csY773"/>
              </a:cxn>
              <a:cxn ang="0">
                <a:pos x="csX774" y="csY774"/>
              </a:cxn>
              <a:cxn ang="0">
                <a:pos x="csX775" y="csY775"/>
              </a:cxn>
              <a:cxn ang="0">
                <a:pos x="csX776" y="csY776"/>
              </a:cxn>
              <a:cxn ang="0">
                <a:pos x="csX777" y="csY777"/>
              </a:cxn>
              <a:cxn ang="0">
                <a:pos x="csX778" y="csY778"/>
              </a:cxn>
              <a:cxn ang="0">
                <a:pos x="csX779" y="csY779"/>
              </a:cxn>
              <a:cxn ang="0">
                <a:pos x="csX780" y="csY780"/>
              </a:cxn>
              <a:cxn ang="0">
                <a:pos x="csX781" y="csY781"/>
              </a:cxn>
              <a:cxn ang="0">
                <a:pos x="csX782" y="csY782"/>
              </a:cxn>
              <a:cxn ang="0">
                <a:pos x="csX783" y="csY783"/>
              </a:cxn>
              <a:cxn ang="0">
                <a:pos x="csX784" y="csY784"/>
              </a:cxn>
              <a:cxn ang="0">
                <a:pos x="csX785" y="csY785"/>
              </a:cxn>
              <a:cxn ang="0">
                <a:pos x="csX786" y="csY786"/>
              </a:cxn>
              <a:cxn ang="0">
                <a:pos x="csX787" y="csY787"/>
              </a:cxn>
              <a:cxn ang="0">
                <a:pos x="csX788" y="csY788"/>
              </a:cxn>
              <a:cxn ang="0">
                <a:pos x="csX789" y="csY789"/>
              </a:cxn>
              <a:cxn ang="0">
                <a:pos x="csX790" y="csY790"/>
              </a:cxn>
              <a:cxn ang="0">
                <a:pos x="csX791" y="csY791"/>
              </a:cxn>
              <a:cxn ang="0">
                <a:pos x="csX792" y="csY792"/>
              </a:cxn>
              <a:cxn ang="0">
                <a:pos x="csX793" y="csY793"/>
              </a:cxn>
              <a:cxn ang="0">
                <a:pos x="csX794" y="csY794"/>
              </a:cxn>
              <a:cxn ang="0">
                <a:pos x="csX795" y="csY795"/>
              </a:cxn>
              <a:cxn ang="0">
                <a:pos x="csX796" y="csY796"/>
              </a:cxn>
              <a:cxn ang="0">
                <a:pos x="csX797" y="csY797"/>
              </a:cxn>
              <a:cxn ang="0">
                <a:pos x="csX798" y="csY798"/>
              </a:cxn>
              <a:cxn ang="0">
                <a:pos x="csX799" y="csY799"/>
              </a:cxn>
              <a:cxn ang="0">
                <a:pos x="csX800" y="csY800"/>
              </a:cxn>
              <a:cxn ang="0">
                <a:pos x="csX801" y="csY801"/>
              </a:cxn>
              <a:cxn ang="0">
                <a:pos x="csX802" y="csY802"/>
              </a:cxn>
              <a:cxn ang="0">
                <a:pos x="csX803" y="csY803"/>
              </a:cxn>
              <a:cxn ang="0">
                <a:pos x="csX804" y="csY804"/>
              </a:cxn>
              <a:cxn ang="0">
                <a:pos x="csX805" y="csY805"/>
              </a:cxn>
              <a:cxn ang="0">
                <a:pos x="csX806" y="csY806"/>
              </a:cxn>
              <a:cxn ang="0">
                <a:pos x="csX807" y="csY807"/>
              </a:cxn>
              <a:cxn ang="0">
                <a:pos x="csX808" y="csY808"/>
              </a:cxn>
              <a:cxn ang="0">
                <a:pos x="csX809" y="csY809"/>
              </a:cxn>
              <a:cxn ang="0">
                <a:pos x="csX810" y="csY810"/>
              </a:cxn>
              <a:cxn ang="0">
                <a:pos x="csX811" y="csY811"/>
              </a:cxn>
              <a:cxn ang="0">
                <a:pos x="csX812" y="csY812"/>
              </a:cxn>
              <a:cxn ang="0">
                <a:pos x="csX813" y="csY813"/>
              </a:cxn>
              <a:cxn ang="0">
                <a:pos x="csX814" y="csY814"/>
              </a:cxn>
              <a:cxn ang="0">
                <a:pos x="csX815" y="csY815"/>
              </a:cxn>
              <a:cxn ang="0">
                <a:pos x="csX816" y="csY816"/>
              </a:cxn>
              <a:cxn ang="0">
                <a:pos x="csX817" y="csY817"/>
              </a:cxn>
              <a:cxn ang="0">
                <a:pos x="csX818" y="csY818"/>
              </a:cxn>
              <a:cxn ang="0">
                <a:pos x="csX819" y="csY819"/>
              </a:cxn>
              <a:cxn ang="0">
                <a:pos x="csX820" y="csY820"/>
              </a:cxn>
              <a:cxn ang="0">
                <a:pos x="csX821" y="csY821"/>
              </a:cxn>
              <a:cxn ang="0">
                <a:pos x="csX822" y="csY822"/>
              </a:cxn>
              <a:cxn ang="0">
                <a:pos x="csX823" y="csY823"/>
              </a:cxn>
              <a:cxn ang="0">
                <a:pos x="csX824" y="csY824"/>
              </a:cxn>
              <a:cxn ang="0">
                <a:pos x="csX825" y="csY825"/>
              </a:cxn>
              <a:cxn ang="0">
                <a:pos x="csX826" y="csY826"/>
              </a:cxn>
              <a:cxn ang="0">
                <a:pos x="csX827" y="csY827"/>
              </a:cxn>
              <a:cxn ang="0">
                <a:pos x="csX828" y="csY828"/>
              </a:cxn>
              <a:cxn ang="0">
                <a:pos x="csX829" y="csY829"/>
              </a:cxn>
              <a:cxn ang="0">
                <a:pos x="csX830" y="csY830"/>
              </a:cxn>
              <a:cxn ang="0">
                <a:pos x="csX831" y="csY831"/>
              </a:cxn>
              <a:cxn ang="0">
                <a:pos x="csX832" y="csY832"/>
              </a:cxn>
              <a:cxn ang="0">
                <a:pos x="csX833" y="csY833"/>
              </a:cxn>
              <a:cxn ang="0">
                <a:pos x="csX834" y="csY834"/>
              </a:cxn>
              <a:cxn ang="0">
                <a:pos x="csX835" y="csY835"/>
              </a:cxn>
              <a:cxn ang="0">
                <a:pos x="csX836" y="csY836"/>
              </a:cxn>
              <a:cxn ang="0">
                <a:pos x="csX837" y="csY837"/>
              </a:cxn>
              <a:cxn ang="0">
                <a:pos x="csX838" y="csY838"/>
              </a:cxn>
              <a:cxn ang="0">
                <a:pos x="csX839" y="csY839"/>
              </a:cxn>
              <a:cxn ang="0">
                <a:pos x="csX840" y="csY840"/>
              </a:cxn>
              <a:cxn ang="0">
                <a:pos x="csX841" y="csY841"/>
              </a:cxn>
              <a:cxn ang="0">
                <a:pos x="csX842" y="csY842"/>
              </a:cxn>
              <a:cxn ang="0">
                <a:pos x="csX843" y="csY843"/>
              </a:cxn>
              <a:cxn ang="0">
                <a:pos x="csX844" y="csY844"/>
              </a:cxn>
              <a:cxn ang="0">
                <a:pos x="csX845" y="csY845"/>
              </a:cxn>
              <a:cxn ang="0">
                <a:pos x="csX846" y="csY846"/>
              </a:cxn>
              <a:cxn ang="0">
                <a:pos x="csX847" y="csY847"/>
              </a:cxn>
              <a:cxn ang="0">
                <a:pos x="csX848" y="csY848"/>
              </a:cxn>
              <a:cxn ang="0">
                <a:pos x="csX849" y="csY849"/>
              </a:cxn>
              <a:cxn ang="0">
                <a:pos x="csX850" y="csY850"/>
              </a:cxn>
              <a:cxn ang="0">
                <a:pos x="csX851" y="csY851"/>
              </a:cxn>
              <a:cxn ang="0">
                <a:pos x="csX852" y="csY852"/>
              </a:cxn>
              <a:cxn ang="0">
                <a:pos x="csX853" y="csY853"/>
              </a:cxn>
              <a:cxn ang="0">
                <a:pos x="csX854" y="csY854"/>
              </a:cxn>
              <a:cxn ang="0">
                <a:pos x="csX855" y="csY855"/>
              </a:cxn>
              <a:cxn ang="0">
                <a:pos x="csX856" y="csY856"/>
              </a:cxn>
              <a:cxn ang="0">
                <a:pos x="csX857" y="csY857"/>
              </a:cxn>
              <a:cxn ang="0">
                <a:pos x="csX858" y="csY858"/>
              </a:cxn>
              <a:cxn ang="0">
                <a:pos x="csX859" y="csY859"/>
              </a:cxn>
              <a:cxn ang="0">
                <a:pos x="csX860" y="csY860"/>
              </a:cxn>
              <a:cxn ang="0">
                <a:pos x="csX861" y="csY861"/>
              </a:cxn>
              <a:cxn ang="0">
                <a:pos x="csX862" y="csY862"/>
              </a:cxn>
              <a:cxn ang="0">
                <a:pos x="csX863" y="csY863"/>
              </a:cxn>
              <a:cxn ang="0">
                <a:pos x="csX864" y="csY864"/>
              </a:cxn>
              <a:cxn ang="0">
                <a:pos x="csX865" y="csY865"/>
              </a:cxn>
              <a:cxn ang="0">
                <a:pos x="csX866" y="csY866"/>
              </a:cxn>
              <a:cxn ang="0">
                <a:pos x="csX867" y="csY867"/>
              </a:cxn>
              <a:cxn ang="0">
                <a:pos x="csX868" y="csY868"/>
              </a:cxn>
              <a:cxn ang="0">
                <a:pos x="csX869" y="csY869"/>
              </a:cxn>
              <a:cxn ang="0">
                <a:pos x="csX870" y="csY870"/>
              </a:cxn>
              <a:cxn ang="0">
                <a:pos x="csX871" y="csY871"/>
              </a:cxn>
              <a:cxn ang="0">
                <a:pos x="csX872" y="csY872"/>
              </a:cxn>
              <a:cxn ang="0">
                <a:pos x="csX873" y="csY873"/>
              </a:cxn>
              <a:cxn ang="0">
                <a:pos x="csX874" y="csY874"/>
              </a:cxn>
              <a:cxn ang="0">
                <a:pos x="csX875" y="csY875"/>
              </a:cxn>
              <a:cxn ang="0">
                <a:pos x="csX876" y="csY876"/>
              </a:cxn>
              <a:cxn ang="0">
                <a:pos x="csX877" y="csY877"/>
              </a:cxn>
              <a:cxn ang="0">
                <a:pos x="csX878" y="csY878"/>
              </a:cxn>
              <a:cxn ang="0">
                <a:pos x="csX879" y="csY879"/>
              </a:cxn>
              <a:cxn ang="0">
                <a:pos x="csX880" y="csY880"/>
              </a:cxn>
              <a:cxn ang="0">
                <a:pos x="csX881" y="csY881"/>
              </a:cxn>
              <a:cxn ang="0">
                <a:pos x="csX882" y="csY882"/>
              </a:cxn>
              <a:cxn ang="0">
                <a:pos x="csX883" y="csY883"/>
              </a:cxn>
              <a:cxn ang="0">
                <a:pos x="csX884" y="csY884"/>
              </a:cxn>
              <a:cxn ang="0">
                <a:pos x="csX885" y="csY885"/>
              </a:cxn>
              <a:cxn ang="0">
                <a:pos x="csX886" y="csY886"/>
              </a:cxn>
              <a:cxn ang="0">
                <a:pos x="csX887" y="csY887"/>
              </a:cxn>
              <a:cxn ang="0">
                <a:pos x="csX888" y="csY888"/>
              </a:cxn>
              <a:cxn ang="0">
                <a:pos x="csX889" y="csY889"/>
              </a:cxn>
              <a:cxn ang="0">
                <a:pos x="csX890" y="csY890"/>
              </a:cxn>
              <a:cxn ang="0">
                <a:pos x="csX891" y="csY891"/>
              </a:cxn>
              <a:cxn ang="0">
                <a:pos x="csX892" y="csY892"/>
              </a:cxn>
              <a:cxn ang="0">
                <a:pos x="csX893" y="csY893"/>
              </a:cxn>
              <a:cxn ang="0">
                <a:pos x="csX894" y="csY894"/>
              </a:cxn>
              <a:cxn ang="0">
                <a:pos x="csX895" y="csY895"/>
              </a:cxn>
              <a:cxn ang="0">
                <a:pos x="csX896" y="csY896"/>
              </a:cxn>
              <a:cxn ang="0">
                <a:pos x="csX897" y="csY897"/>
              </a:cxn>
              <a:cxn ang="0">
                <a:pos x="csX898" y="csY898"/>
              </a:cxn>
              <a:cxn ang="0">
                <a:pos x="csX899" y="csY899"/>
              </a:cxn>
              <a:cxn ang="0">
                <a:pos x="csX900" y="csY900"/>
              </a:cxn>
              <a:cxn ang="0">
                <a:pos x="csX901" y="csY901"/>
              </a:cxn>
              <a:cxn ang="0">
                <a:pos x="csX902" y="csY902"/>
              </a:cxn>
              <a:cxn ang="0">
                <a:pos x="csX903" y="csY903"/>
              </a:cxn>
              <a:cxn ang="0">
                <a:pos x="csX904" y="csY904"/>
              </a:cxn>
              <a:cxn ang="0">
                <a:pos x="csX905" y="csY905"/>
              </a:cxn>
              <a:cxn ang="0">
                <a:pos x="csX906" y="csY906"/>
              </a:cxn>
              <a:cxn ang="0">
                <a:pos x="csX907" y="csY907"/>
              </a:cxn>
              <a:cxn ang="0">
                <a:pos x="csX908" y="csY908"/>
              </a:cxn>
              <a:cxn ang="0">
                <a:pos x="csX909" y="csY909"/>
              </a:cxn>
              <a:cxn ang="0">
                <a:pos x="csX910" y="csY910"/>
              </a:cxn>
              <a:cxn ang="0">
                <a:pos x="csX911" y="csY911"/>
              </a:cxn>
              <a:cxn ang="0">
                <a:pos x="csX912" y="csY912"/>
              </a:cxn>
              <a:cxn ang="0">
                <a:pos x="csX913" y="csY913"/>
              </a:cxn>
              <a:cxn ang="0">
                <a:pos x="csX914" y="csY914"/>
              </a:cxn>
              <a:cxn ang="0">
                <a:pos x="csX915" y="csY915"/>
              </a:cxn>
              <a:cxn ang="0">
                <a:pos x="csX916" y="csY916"/>
              </a:cxn>
              <a:cxn ang="0">
                <a:pos x="csX917" y="csY917"/>
              </a:cxn>
              <a:cxn ang="0">
                <a:pos x="csX918" y="csY918"/>
              </a:cxn>
              <a:cxn ang="0">
                <a:pos x="csX919" y="csY919"/>
              </a:cxn>
              <a:cxn ang="0">
                <a:pos x="csX920" y="csY920"/>
              </a:cxn>
              <a:cxn ang="0">
                <a:pos x="csX921" y="csY921"/>
              </a:cxn>
              <a:cxn ang="0">
                <a:pos x="csX922" y="csY922"/>
              </a:cxn>
              <a:cxn ang="0">
                <a:pos x="csX923" y="csY923"/>
              </a:cxn>
              <a:cxn ang="0">
                <a:pos x="csX924" y="csY924"/>
              </a:cxn>
              <a:cxn ang="0">
                <a:pos x="csX925" y="csY925"/>
              </a:cxn>
              <a:cxn ang="0">
                <a:pos x="csX926" y="csY926"/>
              </a:cxn>
              <a:cxn ang="0">
                <a:pos x="csX927" y="csY927"/>
              </a:cxn>
              <a:cxn ang="0">
                <a:pos x="csX928" y="csY928"/>
              </a:cxn>
              <a:cxn ang="0">
                <a:pos x="csX929" y="csY929"/>
              </a:cxn>
              <a:cxn ang="0">
                <a:pos x="csX930" y="csY930"/>
              </a:cxn>
              <a:cxn ang="0">
                <a:pos x="csX931" y="csY931"/>
              </a:cxn>
              <a:cxn ang="0">
                <a:pos x="csX932" y="csY932"/>
              </a:cxn>
              <a:cxn ang="0">
                <a:pos x="csX933" y="csY933"/>
              </a:cxn>
              <a:cxn ang="0">
                <a:pos x="csX934" y="csY934"/>
              </a:cxn>
              <a:cxn ang="0">
                <a:pos x="csX935" y="csY935"/>
              </a:cxn>
              <a:cxn ang="0">
                <a:pos x="csX936" y="csY936"/>
              </a:cxn>
              <a:cxn ang="0">
                <a:pos x="csX937" y="csY937"/>
              </a:cxn>
              <a:cxn ang="0">
                <a:pos x="csX938" y="csY938"/>
              </a:cxn>
              <a:cxn ang="0">
                <a:pos x="csX939" y="csY939"/>
              </a:cxn>
              <a:cxn ang="0">
                <a:pos x="csX940" y="csY940"/>
              </a:cxn>
              <a:cxn ang="0">
                <a:pos x="csX941" y="csY941"/>
              </a:cxn>
              <a:cxn ang="0">
                <a:pos x="csX942" y="csY942"/>
              </a:cxn>
              <a:cxn ang="0">
                <a:pos x="csX943" y="csY943"/>
              </a:cxn>
              <a:cxn ang="0">
                <a:pos x="csX944" y="csY944"/>
              </a:cxn>
              <a:cxn ang="0">
                <a:pos x="csX945" y="csY945"/>
              </a:cxn>
              <a:cxn ang="0">
                <a:pos x="csX946" y="csY946"/>
              </a:cxn>
              <a:cxn ang="0">
                <a:pos x="csX947" y="csY947"/>
              </a:cxn>
              <a:cxn ang="0">
                <a:pos x="csX948" y="csY948"/>
              </a:cxn>
              <a:cxn ang="0">
                <a:pos x="csX949" y="csY949"/>
              </a:cxn>
              <a:cxn ang="0">
                <a:pos x="csX950" y="csY950"/>
              </a:cxn>
              <a:cxn ang="0">
                <a:pos x="csX951" y="csY951"/>
              </a:cxn>
              <a:cxn ang="0">
                <a:pos x="csX952" y="csY952"/>
              </a:cxn>
              <a:cxn ang="0">
                <a:pos x="csX953" y="csY953"/>
              </a:cxn>
              <a:cxn ang="0">
                <a:pos x="csX954" y="csY954"/>
              </a:cxn>
              <a:cxn ang="0">
                <a:pos x="csX955" y="csY955"/>
              </a:cxn>
              <a:cxn ang="0">
                <a:pos x="csX956" y="csY956"/>
              </a:cxn>
              <a:cxn ang="0">
                <a:pos x="csX957" y="csY957"/>
              </a:cxn>
              <a:cxn ang="0">
                <a:pos x="csX958" y="csY958"/>
              </a:cxn>
              <a:cxn ang="0">
                <a:pos x="csX959" y="csY959"/>
              </a:cxn>
              <a:cxn ang="0">
                <a:pos x="csX960" y="csY960"/>
              </a:cxn>
              <a:cxn ang="0">
                <a:pos x="csX961" y="csY961"/>
              </a:cxn>
              <a:cxn ang="0">
                <a:pos x="csX962" y="csY962"/>
              </a:cxn>
              <a:cxn ang="0">
                <a:pos x="csX963" y="csY963"/>
              </a:cxn>
              <a:cxn ang="0">
                <a:pos x="csX964" y="csY964"/>
              </a:cxn>
              <a:cxn ang="0">
                <a:pos x="csX965" y="csY965"/>
              </a:cxn>
              <a:cxn ang="0">
                <a:pos x="csX966" y="csY966"/>
              </a:cxn>
              <a:cxn ang="0">
                <a:pos x="csX967" y="csY967"/>
              </a:cxn>
              <a:cxn ang="0">
                <a:pos x="csX968" y="csY968"/>
              </a:cxn>
              <a:cxn ang="0">
                <a:pos x="csX969" y="csY969"/>
              </a:cxn>
              <a:cxn ang="0">
                <a:pos x="csX970" y="csY970"/>
              </a:cxn>
              <a:cxn ang="0">
                <a:pos x="csX971" y="csY971"/>
              </a:cxn>
              <a:cxn ang="0">
                <a:pos x="csX972" y="csY972"/>
              </a:cxn>
              <a:cxn ang="0">
                <a:pos x="csX973" y="csY973"/>
              </a:cxn>
              <a:cxn ang="0">
                <a:pos x="csX974" y="csY974"/>
              </a:cxn>
              <a:cxn ang="0">
                <a:pos x="csX975" y="csY975"/>
              </a:cxn>
              <a:cxn ang="0">
                <a:pos x="csX976" y="csY976"/>
              </a:cxn>
              <a:cxn ang="0">
                <a:pos x="csX977" y="csY977"/>
              </a:cxn>
              <a:cxn ang="0">
                <a:pos x="csX978" y="csY978"/>
              </a:cxn>
              <a:cxn ang="0">
                <a:pos x="csX979" y="csY979"/>
              </a:cxn>
              <a:cxn ang="0">
                <a:pos x="csX980" y="csY980"/>
              </a:cxn>
              <a:cxn ang="0">
                <a:pos x="csX981" y="csY981"/>
              </a:cxn>
              <a:cxn ang="0">
                <a:pos x="csX982" y="csY982"/>
              </a:cxn>
              <a:cxn ang="0">
                <a:pos x="csX983" y="csY983"/>
              </a:cxn>
              <a:cxn ang="0">
                <a:pos x="csX984" y="csY984"/>
              </a:cxn>
              <a:cxn ang="0">
                <a:pos x="csX985" y="csY985"/>
              </a:cxn>
              <a:cxn ang="0">
                <a:pos x="csX986" y="csY986"/>
              </a:cxn>
              <a:cxn ang="0">
                <a:pos x="csX987" y="csY987"/>
              </a:cxn>
              <a:cxn ang="0">
                <a:pos x="csX988" y="csY988"/>
              </a:cxn>
              <a:cxn ang="0">
                <a:pos x="csX989" y="csY989"/>
              </a:cxn>
              <a:cxn ang="0">
                <a:pos x="csX990" y="csY990"/>
              </a:cxn>
              <a:cxn ang="0">
                <a:pos x="csX991" y="csY991"/>
              </a:cxn>
              <a:cxn ang="0">
                <a:pos x="csX992" y="csY992"/>
              </a:cxn>
              <a:cxn ang="0">
                <a:pos x="csX993" y="csY993"/>
              </a:cxn>
              <a:cxn ang="0">
                <a:pos x="csX994" y="csY994"/>
              </a:cxn>
              <a:cxn ang="0">
                <a:pos x="csX995" y="csY995"/>
              </a:cxn>
              <a:cxn ang="0">
                <a:pos x="csX996" y="csY996"/>
              </a:cxn>
              <a:cxn ang="0">
                <a:pos x="csX997" y="csY997"/>
              </a:cxn>
              <a:cxn ang="0">
                <a:pos x="csX998" y="csY998"/>
              </a:cxn>
              <a:cxn ang="0">
                <a:pos x="csX999" y="csY999"/>
              </a:cxn>
              <a:cxn ang="0">
                <a:pos x="csX1000" y="csY1000"/>
              </a:cxn>
              <a:cxn ang="0">
                <a:pos x="csX1001" y="csY1001"/>
              </a:cxn>
              <a:cxn ang="0">
                <a:pos x="csX1002" y="csY1002"/>
              </a:cxn>
              <a:cxn ang="0">
                <a:pos x="csX1003" y="csY1003"/>
              </a:cxn>
              <a:cxn ang="0">
                <a:pos x="csX1004" y="csY1004"/>
              </a:cxn>
              <a:cxn ang="0">
                <a:pos x="csX1005" y="csY1005"/>
              </a:cxn>
              <a:cxn ang="0">
                <a:pos x="csX1006" y="csY1006"/>
              </a:cxn>
              <a:cxn ang="0">
                <a:pos x="csX1007" y="csY1007"/>
              </a:cxn>
              <a:cxn ang="0">
                <a:pos x="csX1008" y="csY1008"/>
              </a:cxn>
              <a:cxn ang="0">
                <a:pos x="csX1009" y="csY1009"/>
              </a:cxn>
              <a:cxn ang="0">
                <a:pos x="csX1010" y="csY1010"/>
              </a:cxn>
              <a:cxn ang="0">
                <a:pos x="csX1011" y="csY1011"/>
              </a:cxn>
              <a:cxn ang="0">
                <a:pos x="csX1012" y="csY1012"/>
              </a:cxn>
              <a:cxn ang="0">
                <a:pos x="csX1013" y="csY1013"/>
              </a:cxn>
              <a:cxn ang="0">
                <a:pos x="csX1014" y="csY1014"/>
              </a:cxn>
              <a:cxn ang="0">
                <a:pos x="csX1015" y="csY1015"/>
              </a:cxn>
              <a:cxn ang="0">
                <a:pos x="csX1016" y="csY1016"/>
              </a:cxn>
              <a:cxn ang="0">
                <a:pos x="csX1017" y="csY1017"/>
              </a:cxn>
              <a:cxn ang="0">
                <a:pos x="csX1018" y="csY1018"/>
              </a:cxn>
              <a:cxn ang="0">
                <a:pos x="csX1019" y="csY1019"/>
              </a:cxn>
              <a:cxn ang="0">
                <a:pos x="csX1020" y="csY1020"/>
              </a:cxn>
              <a:cxn ang="0">
                <a:pos x="csX1021" y="csY1021"/>
              </a:cxn>
              <a:cxn ang="0">
                <a:pos x="csX1022" y="csY1022"/>
              </a:cxn>
              <a:cxn ang="0">
                <a:pos x="csX1023" y="csY1023"/>
              </a:cxn>
              <a:cxn ang="0">
                <a:pos x="csX1024" y="csY1024"/>
              </a:cxn>
              <a:cxn ang="0">
                <a:pos x="csX1025" y="csY1025"/>
              </a:cxn>
              <a:cxn ang="0">
                <a:pos x="csX1026" y="csY1026"/>
              </a:cxn>
              <a:cxn ang="0">
                <a:pos x="csX1027" y="csY1027"/>
              </a:cxn>
              <a:cxn ang="0">
                <a:pos x="csX1028" y="csY1028"/>
              </a:cxn>
              <a:cxn ang="0">
                <a:pos x="csX1029" y="csY1029"/>
              </a:cxn>
              <a:cxn ang="0">
                <a:pos x="csX1030" y="csY1030"/>
              </a:cxn>
              <a:cxn ang="0">
                <a:pos x="csX1031" y="csY1031"/>
              </a:cxn>
              <a:cxn ang="0">
                <a:pos x="csX1032" y="csY1032"/>
              </a:cxn>
              <a:cxn ang="0">
                <a:pos x="csX1033" y="csY1033"/>
              </a:cxn>
              <a:cxn ang="0">
                <a:pos x="csX1034" y="csY1034"/>
              </a:cxn>
              <a:cxn ang="0">
                <a:pos x="csX1035" y="csY1035"/>
              </a:cxn>
              <a:cxn ang="0">
                <a:pos x="csX1036" y="csY1036"/>
              </a:cxn>
              <a:cxn ang="0">
                <a:pos x="csX1037" y="csY1037"/>
              </a:cxn>
              <a:cxn ang="0">
                <a:pos x="csX1038" y="csY1038"/>
              </a:cxn>
              <a:cxn ang="0">
                <a:pos x="csX1039" y="csY1039"/>
              </a:cxn>
              <a:cxn ang="0">
                <a:pos x="csX1040" y="csY1040"/>
              </a:cxn>
              <a:cxn ang="0">
                <a:pos x="csX1041" y="csY1041"/>
              </a:cxn>
              <a:cxn ang="0">
                <a:pos x="csX1042" y="csY1042"/>
              </a:cxn>
              <a:cxn ang="0">
                <a:pos x="csX1043" y="csY1043"/>
              </a:cxn>
              <a:cxn ang="0">
                <a:pos x="csX1044" y="csY1044"/>
              </a:cxn>
              <a:cxn ang="0">
                <a:pos x="csX1045" y="csY1045"/>
              </a:cxn>
              <a:cxn ang="0">
                <a:pos x="csX1046" y="csY1046"/>
              </a:cxn>
              <a:cxn ang="0">
                <a:pos x="csX1047" y="csY1047"/>
              </a:cxn>
              <a:cxn ang="0">
                <a:pos x="csX1048" y="csY1048"/>
              </a:cxn>
              <a:cxn ang="0">
                <a:pos x="csX1049" y="csY1049"/>
              </a:cxn>
              <a:cxn ang="0">
                <a:pos x="csX1050" y="csY1050"/>
              </a:cxn>
              <a:cxn ang="0">
                <a:pos x="csX1051" y="csY1051"/>
              </a:cxn>
              <a:cxn ang="0">
                <a:pos x="csX1052" y="csY1052"/>
              </a:cxn>
              <a:cxn ang="0">
                <a:pos x="csX1053" y="csY1053"/>
              </a:cxn>
              <a:cxn ang="0">
                <a:pos x="csX1054" y="csY1054"/>
              </a:cxn>
            </a:cxnLst>
            <a:rect l="l" t="t" r="r" b="b"/>
            <a:pathLst>
              <a:path w="1609516" h="1538630">
                <a:moveTo>
                  <a:pt x="401579" y="1495809"/>
                </a:moveTo>
                <a:lnTo>
                  <a:pt x="400190" y="1496004"/>
                </a:lnTo>
                <a:lnTo>
                  <a:pt x="401224" y="1496470"/>
                </a:lnTo>
                <a:lnTo>
                  <a:pt x="401224" y="1498590"/>
                </a:lnTo>
                <a:lnTo>
                  <a:pt x="401579" y="1498628"/>
                </a:lnTo>
                <a:cubicBezTo>
                  <a:pt x="401579" y="1497698"/>
                  <a:pt x="401579" y="1496768"/>
                  <a:pt x="401579" y="1495809"/>
                </a:cubicBezTo>
                <a:close/>
                <a:moveTo>
                  <a:pt x="368755" y="1486512"/>
                </a:moveTo>
                <a:lnTo>
                  <a:pt x="364089" y="1487354"/>
                </a:lnTo>
                <a:lnTo>
                  <a:pt x="364089" y="1487908"/>
                </a:lnTo>
                <a:close/>
                <a:moveTo>
                  <a:pt x="1049801" y="1484562"/>
                </a:moveTo>
                <a:lnTo>
                  <a:pt x="1046735" y="1485945"/>
                </a:lnTo>
                <a:lnTo>
                  <a:pt x="1046955" y="1486045"/>
                </a:lnTo>
                <a:lnTo>
                  <a:pt x="1049801" y="1485188"/>
                </a:lnTo>
                <a:close/>
                <a:moveTo>
                  <a:pt x="351234" y="1444508"/>
                </a:moveTo>
                <a:lnTo>
                  <a:pt x="351234" y="1444997"/>
                </a:lnTo>
                <a:lnTo>
                  <a:pt x="351592" y="1445078"/>
                </a:lnTo>
                <a:close/>
                <a:moveTo>
                  <a:pt x="351908" y="1431206"/>
                </a:moveTo>
                <a:lnTo>
                  <a:pt x="351234" y="1431611"/>
                </a:lnTo>
                <a:lnTo>
                  <a:pt x="351234" y="1432274"/>
                </a:lnTo>
                <a:close/>
                <a:moveTo>
                  <a:pt x="358162" y="1421494"/>
                </a:moveTo>
                <a:lnTo>
                  <a:pt x="355921" y="1423156"/>
                </a:lnTo>
                <a:lnTo>
                  <a:pt x="355921" y="1423548"/>
                </a:lnTo>
                <a:close/>
                <a:moveTo>
                  <a:pt x="376098" y="1408347"/>
                </a:moveTo>
                <a:lnTo>
                  <a:pt x="370750" y="1412245"/>
                </a:lnTo>
                <a:lnTo>
                  <a:pt x="375023" y="1411256"/>
                </a:lnTo>
                <a:close/>
                <a:moveTo>
                  <a:pt x="421956" y="1365623"/>
                </a:moveTo>
                <a:lnTo>
                  <a:pt x="421765" y="1366161"/>
                </a:lnTo>
                <a:lnTo>
                  <a:pt x="421887" y="1366161"/>
                </a:lnTo>
                <a:close/>
                <a:moveTo>
                  <a:pt x="754553" y="1360575"/>
                </a:moveTo>
                <a:lnTo>
                  <a:pt x="754089" y="1361433"/>
                </a:lnTo>
                <a:lnTo>
                  <a:pt x="754431" y="1361125"/>
                </a:lnTo>
                <a:close/>
                <a:moveTo>
                  <a:pt x="1277973" y="1332923"/>
                </a:moveTo>
                <a:lnTo>
                  <a:pt x="1277944" y="1332936"/>
                </a:lnTo>
                <a:lnTo>
                  <a:pt x="1277949" y="1333139"/>
                </a:lnTo>
                <a:close/>
                <a:moveTo>
                  <a:pt x="1268556" y="1321066"/>
                </a:moveTo>
                <a:cubicBezTo>
                  <a:pt x="1268556" y="1322461"/>
                  <a:pt x="1268556" y="1323856"/>
                  <a:pt x="1268556" y="1325294"/>
                </a:cubicBezTo>
                <a:cubicBezTo>
                  <a:pt x="1267525" y="1325294"/>
                  <a:pt x="1266495" y="1325294"/>
                  <a:pt x="1265432" y="1325294"/>
                </a:cubicBezTo>
                <a:cubicBezTo>
                  <a:pt x="1265432" y="1330409"/>
                  <a:pt x="1265432" y="1335525"/>
                  <a:pt x="1265432" y="1340795"/>
                </a:cubicBezTo>
                <a:lnTo>
                  <a:pt x="1265476" y="1340714"/>
                </a:lnTo>
                <a:lnTo>
                  <a:pt x="1265476" y="1325877"/>
                </a:lnTo>
                <a:cubicBezTo>
                  <a:pt x="1266507" y="1325877"/>
                  <a:pt x="1267538" y="1325877"/>
                  <a:pt x="1268600" y="1325877"/>
                </a:cubicBezTo>
                <a:cubicBezTo>
                  <a:pt x="1268600" y="1324482"/>
                  <a:pt x="1268600" y="1323086"/>
                  <a:pt x="1268600" y="1321649"/>
                </a:cubicBezTo>
                <a:cubicBezTo>
                  <a:pt x="1270147" y="1321649"/>
                  <a:pt x="1271693" y="1321649"/>
                  <a:pt x="1273286" y="1321649"/>
                </a:cubicBezTo>
                <a:lnTo>
                  <a:pt x="1273227" y="1321066"/>
                </a:lnTo>
                <a:close/>
                <a:moveTo>
                  <a:pt x="827891" y="1291474"/>
                </a:moveTo>
                <a:lnTo>
                  <a:pt x="822601" y="1291544"/>
                </a:lnTo>
                <a:lnTo>
                  <a:pt x="818272" y="1292220"/>
                </a:lnTo>
                <a:lnTo>
                  <a:pt x="827891" y="1292047"/>
                </a:lnTo>
                <a:close/>
                <a:moveTo>
                  <a:pt x="856397" y="1288691"/>
                </a:moveTo>
                <a:lnTo>
                  <a:pt x="865903" y="1290590"/>
                </a:lnTo>
                <a:lnTo>
                  <a:pt x="859999" y="1288752"/>
                </a:lnTo>
                <a:close/>
                <a:moveTo>
                  <a:pt x="834694" y="1288572"/>
                </a:moveTo>
                <a:lnTo>
                  <a:pt x="828038" y="1288654"/>
                </a:lnTo>
                <a:lnTo>
                  <a:pt x="828038" y="1289214"/>
                </a:lnTo>
                <a:close/>
                <a:moveTo>
                  <a:pt x="229746" y="1191418"/>
                </a:moveTo>
                <a:lnTo>
                  <a:pt x="227402" y="1191947"/>
                </a:lnTo>
                <a:lnTo>
                  <a:pt x="229315" y="1191947"/>
                </a:lnTo>
                <a:cubicBezTo>
                  <a:pt x="229315" y="1192877"/>
                  <a:pt x="229315" y="1193807"/>
                  <a:pt x="229315" y="1194765"/>
                </a:cubicBezTo>
                <a:lnTo>
                  <a:pt x="231321" y="1194765"/>
                </a:lnTo>
                <a:lnTo>
                  <a:pt x="229746" y="1194236"/>
                </a:lnTo>
                <a:cubicBezTo>
                  <a:pt x="229746" y="1193306"/>
                  <a:pt x="229746" y="1192376"/>
                  <a:pt x="229746" y="1191418"/>
                </a:cubicBezTo>
                <a:close/>
                <a:moveTo>
                  <a:pt x="215687" y="1187190"/>
                </a:moveTo>
                <a:lnTo>
                  <a:pt x="215198" y="1187720"/>
                </a:lnTo>
                <a:lnTo>
                  <a:pt x="215256" y="1187720"/>
                </a:lnTo>
                <a:cubicBezTo>
                  <a:pt x="215256" y="1189115"/>
                  <a:pt x="215256" y="1190510"/>
                  <a:pt x="215256" y="1191947"/>
                </a:cubicBezTo>
                <a:lnTo>
                  <a:pt x="222721" y="1191947"/>
                </a:lnTo>
                <a:lnTo>
                  <a:pt x="215687" y="1191418"/>
                </a:lnTo>
                <a:cubicBezTo>
                  <a:pt x="215687" y="1190023"/>
                  <a:pt x="215687" y="1188628"/>
                  <a:pt x="215687" y="1187190"/>
                </a:cubicBezTo>
                <a:close/>
                <a:moveTo>
                  <a:pt x="1279678" y="1082356"/>
                </a:moveTo>
                <a:lnTo>
                  <a:pt x="1271680" y="1084589"/>
                </a:lnTo>
                <a:lnTo>
                  <a:pt x="1282181" y="1082544"/>
                </a:lnTo>
                <a:close/>
                <a:moveTo>
                  <a:pt x="117703" y="941507"/>
                </a:moveTo>
                <a:lnTo>
                  <a:pt x="112587" y="941985"/>
                </a:lnTo>
                <a:lnTo>
                  <a:pt x="112565" y="942333"/>
                </a:lnTo>
                <a:lnTo>
                  <a:pt x="115665" y="941837"/>
                </a:lnTo>
                <a:close/>
                <a:moveTo>
                  <a:pt x="144268" y="939395"/>
                </a:moveTo>
                <a:lnTo>
                  <a:pt x="143354" y="939580"/>
                </a:lnTo>
                <a:lnTo>
                  <a:pt x="144077" y="939739"/>
                </a:lnTo>
                <a:close/>
                <a:moveTo>
                  <a:pt x="162575" y="933530"/>
                </a:moveTo>
                <a:lnTo>
                  <a:pt x="161704" y="935101"/>
                </a:lnTo>
                <a:lnTo>
                  <a:pt x="170045" y="933585"/>
                </a:lnTo>
                <a:close/>
                <a:moveTo>
                  <a:pt x="1321645" y="918415"/>
                </a:moveTo>
                <a:lnTo>
                  <a:pt x="1321534" y="920177"/>
                </a:lnTo>
                <a:lnTo>
                  <a:pt x="1321740" y="918415"/>
                </a:lnTo>
                <a:close/>
                <a:moveTo>
                  <a:pt x="1319333" y="915183"/>
                </a:moveTo>
                <a:lnTo>
                  <a:pt x="1318544" y="918029"/>
                </a:lnTo>
                <a:lnTo>
                  <a:pt x="1318702" y="918029"/>
                </a:lnTo>
                <a:close/>
                <a:moveTo>
                  <a:pt x="1326355" y="907109"/>
                </a:moveTo>
                <a:lnTo>
                  <a:pt x="1326355" y="910983"/>
                </a:lnTo>
                <a:lnTo>
                  <a:pt x="1325831" y="911101"/>
                </a:lnTo>
                <a:lnTo>
                  <a:pt x="1326426" y="911369"/>
                </a:lnTo>
                <a:cubicBezTo>
                  <a:pt x="1326426" y="909974"/>
                  <a:pt x="1326426" y="908579"/>
                  <a:pt x="1326426" y="907141"/>
                </a:cubicBezTo>
                <a:close/>
                <a:moveTo>
                  <a:pt x="1328144" y="892192"/>
                </a:moveTo>
                <a:lnTo>
                  <a:pt x="1327667" y="893446"/>
                </a:lnTo>
                <a:lnTo>
                  <a:pt x="1327989" y="893049"/>
                </a:lnTo>
                <a:close/>
                <a:moveTo>
                  <a:pt x="49605" y="887420"/>
                </a:moveTo>
                <a:lnTo>
                  <a:pt x="48549" y="891229"/>
                </a:lnTo>
                <a:lnTo>
                  <a:pt x="49956" y="887420"/>
                </a:lnTo>
                <a:close/>
                <a:moveTo>
                  <a:pt x="1332266" y="883369"/>
                </a:moveTo>
                <a:lnTo>
                  <a:pt x="1329479" y="884207"/>
                </a:lnTo>
                <a:lnTo>
                  <a:pt x="1329509" y="884816"/>
                </a:lnTo>
                <a:lnTo>
                  <a:pt x="1329551" y="884594"/>
                </a:lnTo>
                <a:close/>
                <a:moveTo>
                  <a:pt x="1555987" y="821766"/>
                </a:moveTo>
                <a:lnTo>
                  <a:pt x="1555987" y="822201"/>
                </a:lnTo>
                <a:lnTo>
                  <a:pt x="1556081" y="822189"/>
                </a:lnTo>
                <a:close/>
                <a:moveTo>
                  <a:pt x="1565360" y="810928"/>
                </a:moveTo>
                <a:lnTo>
                  <a:pt x="1564871" y="811809"/>
                </a:lnTo>
                <a:lnTo>
                  <a:pt x="1567314" y="810928"/>
                </a:lnTo>
                <a:close/>
                <a:moveTo>
                  <a:pt x="1563797" y="810928"/>
                </a:moveTo>
                <a:lnTo>
                  <a:pt x="1556762" y="814736"/>
                </a:lnTo>
                <a:lnTo>
                  <a:pt x="1563797" y="812197"/>
                </a:lnTo>
                <a:close/>
                <a:moveTo>
                  <a:pt x="265833" y="806020"/>
                </a:moveTo>
                <a:lnTo>
                  <a:pt x="263704" y="809861"/>
                </a:lnTo>
                <a:lnTo>
                  <a:pt x="263704" y="816750"/>
                </a:lnTo>
                <a:lnTo>
                  <a:pt x="264113" y="816565"/>
                </a:lnTo>
                <a:cubicBezTo>
                  <a:pt x="264048" y="815315"/>
                  <a:pt x="263984" y="814065"/>
                  <a:pt x="263918" y="812777"/>
                </a:cubicBezTo>
                <a:close/>
                <a:moveTo>
                  <a:pt x="263774" y="779374"/>
                </a:moveTo>
                <a:lnTo>
                  <a:pt x="263704" y="783086"/>
                </a:lnTo>
                <a:cubicBezTo>
                  <a:pt x="263961" y="783987"/>
                  <a:pt x="264219" y="784888"/>
                  <a:pt x="264484" y="785816"/>
                </a:cubicBezTo>
                <a:cubicBezTo>
                  <a:pt x="265299" y="788846"/>
                  <a:pt x="265316" y="791337"/>
                  <a:pt x="265265" y="794448"/>
                </a:cubicBezTo>
                <a:cubicBezTo>
                  <a:pt x="265103" y="797155"/>
                  <a:pt x="265022" y="798508"/>
                  <a:pt x="265217" y="799730"/>
                </a:cubicBezTo>
                <a:lnTo>
                  <a:pt x="266556" y="803466"/>
                </a:lnTo>
                <a:lnTo>
                  <a:pt x="267237" y="801063"/>
                </a:lnTo>
                <a:cubicBezTo>
                  <a:pt x="266721" y="800598"/>
                  <a:pt x="266206" y="800133"/>
                  <a:pt x="265675" y="799654"/>
                </a:cubicBezTo>
                <a:cubicBezTo>
                  <a:pt x="265601" y="797718"/>
                  <a:pt x="265617" y="795778"/>
                  <a:pt x="265675" y="793841"/>
                </a:cubicBezTo>
                <a:close/>
                <a:moveTo>
                  <a:pt x="260988" y="770061"/>
                </a:moveTo>
                <a:lnTo>
                  <a:pt x="260988" y="771364"/>
                </a:lnTo>
                <a:lnTo>
                  <a:pt x="263497" y="777263"/>
                </a:lnTo>
                <a:lnTo>
                  <a:pt x="262551" y="770061"/>
                </a:lnTo>
                <a:cubicBezTo>
                  <a:pt x="262035" y="770061"/>
                  <a:pt x="261520" y="770061"/>
                  <a:pt x="260988" y="770061"/>
                </a:cubicBezTo>
                <a:close/>
                <a:moveTo>
                  <a:pt x="157888" y="651686"/>
                </a:moveTo>
                <a:lnTo>
                  <a:pt x="157415" y="651764"/>
                </a:lnTo>
                <a:lnTo>
                  <a:pt x="160373" y="652274"/>
                </a:lnTo>
                <a:close/>
                <a:moveTo>
                  <a:pt x="267237" y="426537"/>
                </a:moveTo>
                <a:lnTo>
                  <a:pt x="267237" y="427619"/>
                </a:lnTo>
                <a:cubicBezTo>
                  <a:pt x="268274" y="427791"/>
                  <a:pt x="269311" y="427961"/>
                  <a:pt x="270380" y="428137"/>
                </a:cubicBezTo>
                <a:lnTo>
                  <a:pt x="273548" y="428680"/>
                </a:lnTo>
                <a:close/>
                <a:moveTo>
                  <a:pt x="37605" y="359270"/>
                </a:moveTo>
                <a:lnTo>
                  <a:pt x="37103" y="361533"/>
                </a:lnTo>
                <a:lnTo>
                  <a:pt x="37605" y="361382"/>
                </a:lnTo>
                <a:close/>
                <a:moveTo>
                  <a:pt x="52477" y="337570"/>
                </a:moveTo>
                <a:lnTo>
                  <a:pt x="47288" y="342340"/>
                </a:lnTo>
                <a:lnTo>
                  <a:pt x="45805" y="345093"/>
                </a:lnTo>
                <a:close/>
                <a:moveTo>
                  <a:pt x="104291" y="336166"/>
                </a:moveTo>
                <a:lnTo>
                  <a:pt x="103776" y="337559"/>
                </a:lnTo>
                <a:lnTo>
                  <a:pt x="108925" y="336166"/>
                </a:lnTo>
                <a:close/>
                <a:moveTo>
                  <a:pt x="1309237" y="322954"/>
                </a:moveTo>
                <a:lnTo>
                  <a:pt x="1309180" y="330559"/>
                </a:lnTo>
                <a:lnTo>
                  <a:pt x="1309237" y="330520"/>
                </a:lnTo>
                <a:close/>
                <a:moveTo>
                  <a:pt x="1308964" y="317715"/>
                </a:moveTo>
                <a:lnTo>
                  <a:pt x="1309237" y="318569"/>
                </a:lnTo>
                <a:lnTo>
                  <a:pt x="1309237" y="317838"/>
                </a:lnTo>
                <a:close/>
                <a:moveTo>
                  <a:pt x="1310087" y="313153"/>
                </a:moveTo>
                <a:lnTo>
                  <a:pt x="1307609" y="313473"/>
                </a:lnTo>
                <a:lnTo>
                  <a:pt x="1308045" y="314836"/>
                </a:lnTo>
                <a:close/>
                <a:moveTo>
                  <a:pt x="1318544" y="312064"/>
                </a:moveTo>
                <a:lnTo>
                  <a:pt x="1316298" y="312353"/>
                </a:lnTo>
                <a:lnTo>
                  <a:pt x="1318544" y="312205"/>
                </a:lnTo>
                <a:close/>
                <a:moveTo>
                  <a:pt x="1084622" y="267674"/>
                </a:moveTo>
                <a:lnTo>
                  <a:pt x="1084227" y="268378"/>
                </a:lnTo>
                <a:cubicBezTo>
                  <a:pt x="1082679" y="268378"/>
                  <a:pt x="1081133" y="268378"/>
                  <a:pt x="1079540" y="268378"/>
                </a:cubicBezTo>
                <a:lnTo>
                  <a:pt x="1079603" y="268477"/>
                </a:lnTo>
                <a:lnTo>
                  <a:pt x="1084192" y="268477"/>
                </a:lnTo>
                <a:close/>
                <a:moveTo>
                  <a:pt x="956410" y="266968"/>
                </a:moveTo>
                <a:lnTo>
                  <a:pt x="957576" y="267083"/>
                </a:lnTo>
                <a:lnTo>
                  <a:pt x="957576" y="269776"/>
                </a:lnTo>
                <a:lnTo>
                  <a:pt x="957694" y="269787"/>
                </a:lnTo>
                <a:cubicBezTo>
                  <a:pt x="957694" y="268857"/>
                  <a:pt x="957694" y="267927"/>
                  <a:pt x="957694" y="266968"/>
                </a:cubicBezTo>
                <a:close/>
                <a:moveTo>
                  <a:pt x="1089372" y="259220"/>
                </a:moveTo>
                <a:lnTo>
                  <a:pt x="1085856" y="265479"/>
                </a:lnTo>
                <a:lnTo>
                  <a:pt x="1088878" y="261431"/>
                </a:lnTo>
                <a:close/>
                <a:moveTo>
                  <a:pt x="1018517" y="223356"/>
                </a:moveTo>
                <a:lnTo>
                  <a:pt x="1013866" y="226190"/>
                </a:lnTo>
                <a:lnTo>
                  <a:pt x="1013024" y="227709"/>
                </a:lnTo>
                <a:lnTo>
                  <a:pt x="1017055" y="224692"/>
                </a:lnTo>
                <a:close/>
                <a:moveTo>
                  <a:pt x="850645" y="220099"/>
                </a:moveTo>
                <a:lnTo>
                  <a:pt x="850897" y="221488"/>
                </a:lnTo>
                <a:cubicBezTo>
                  <a:pt x="851086" y="222545"/>
                  <a:pt x="851275" y="223602"/>
                  <a:pt x="851470" y="224692"/>
                </a:cubicBezTo>
                <a:lnTo>
                  <a:pt x="852860" y="224692"/>
                </a:lnTo>
                <a:close/>
                <a:moveTo>
                  <a:pt x="1155019" y="35"/>
                </a:moveTo>
                <a:cubicBezTo>
                  <a:pt x="1161775" y="275"/>
                  <a:pt x="1168415" y="1783"/>
                  <a:pt x="1174829" y="4853"/>
                </a:cubicBezTo>
                <a:cubicBezTo>
                  <a:pt x="1176343" y="5231"/>
                  <a:pt x="1177858" y="5609"/>
                  <a:pt x="1179418" y="5998"/>
                </a:cubicBezTo>
                <a:cubicBezTo>
                  <a:pt x="1189392" y="9487"/>
                  <a:pt x="1196322" y="14392"/>
                  <a:pt x="1201385" y="22997"/>
                </a:cubicBezTo>
                <a:cubicBezTo>
                  <a:pt x="1206849" y="35244"/>
                  <a:pt x="1206940" y="49865"/>
                  <a:pt x="1201678" y="62191"/>
                </a:cubicBezTo>
                <a:cubicBezTo>
                  <a:pt x="1200594" y="64241"/>
                  <a:pt x="1199461" y="66271"/>
                  <a:pt x="1198261" y="68268"/>
                </a:cubicBezTo>
                <a:cubicBezTo>
                  <a:pt x="1197423" y="69721"/>
                  <a:pt x="1196586" y="71175"/>
                  <a:pt x="1195723" y="72672"/>
                </a:cubicBezTo>
                <a:cubicBezTo>
                  <a:pt x="1194659" y="73980"/>
                  <a:pt x="1194659" y="73980"/>
                  <a:pt x="1193575" y="75314"/>
                </a:cubicBezTo>
                <a:cubicBezTo>
                  <a:pt x="1192544" y="75314"/>
                  <a:pt x="1191512" y="75314"/>
                  <a:pt x="1190450" y="75314"/>
                </a:cubicBezTo>
                <a:cubicBezTo>
                  <a:pt x="1190128" y="76651"/>
                  <a:pt x="1189806" y="77988"/>
                  <a:pt x="1189474" y="79366"/>
                </a:cubicBezTo>
                <a:cubicBezTo>
                  <a:pt x="1187326" y="83769"/>
                  <a:pt x="1187326" y="83769"/>
                  <a:pt x="1182445" y="85707"/>
                </a:cubicBezTo>
                <a:cubicBezTo>
                  <a:pt x="1180962" y="85998"/>
                  <a:pt x="1179480" y="86289"/>
                  <a:pt x="1177953" y="86588"/>
                </a:cubicBezTo>
                <a:cubicBezTo>
                  <a:pt x="1177953" y="87518"/>
                  <a:pt x="1177953" y="88448"/>
                  <a:pt x="1177953" y="89406"/>
                </a:cubicBezTo>
                <a:cubicBezTo>
                  <a:pt x="1175369" y="91088"/>
                  <a:pt x="1172720" y="92688"/>
                  <a:pt x="1170045" y="94251"/>
                </a:cubicBezTo>
                <a:cubicBezTo>
                  <a:pt x="1154651" y="104199"/>
                  <a:pt x="1148918" y="116979"/>
                  <a:pt x="1143806" y="132828"/>
                </a:cubicBezTo>
                <a:cubicBezTo>
                  <a:pt x="1142095" y="137144"/>
                  <a:pt x="1140989" y="138617"/>
                  <a:pt x="1137338" y="141548"/>
                </a:cubicBezTo>
                <a:cubicBezTo>
                  <a:pt x="1136166" y="144148"/>
                  <a:pt x="1134992" y="146751"/>
                  <a:pt x="1133970" y="149403"/>
                </a:cubicBezTo>
                <a:cubicBezTo>
                  <a:pt x="1132069" y="154334"/>
                  <a:pt x="1130006" y="159210"/>
                  <a:pt x="1127965" y="164095"/>
                </a:cubicBezTo>
                <a:cubicBezTo>
                  <a:pt x="1126897" y="166664"/>
                  <a:pt x="1125830" y="169233"/>
                  <a:pt x="1124762" y="171802"/>
                </a:cubicBezTo>
                <a:cubicBezTo>
                  <a:pt x="1122961" y="176134"/>
                  <a:pt x="1121160" y="180466"/>
                  <a:pt x="1119359" y="184798"/>
                </a:cubicBezTo>
                <a:cubicBezTo>
                  <a:pt x="1116567" y="191508"/>
                  <a:pt x="1113778" y="198220"/>
                  <a:pt x="1111014" y="204941"/>
                </a:cubicBezTo>
                <a:cubicBezTo>
                  <a:pt x="1110590" y="205970"/>
                  <a:pt x="1110165" y="206999"/>
                  <a:pt x="1109729" y="208059"/>
                </a:cubicBezTo>
                <a:cubicBezTo>
                  <a:pt x="1108615" y="210762"/>
                  <a:pt x="1107505" y="213466"/>
                  <a:pt x="1106395" y="216170"/>
                </a:cubicBezTo>
                <a:cubicBezTo>
                  <a:pt x="1104320" y="220956"/>
                  <a:pt x="1103283" y="223349"/>
                  <a:pt x="1102147" y="224810"/>
                </a:cubicBezTo>
                <a:lnTo>
                  <a:pt x="1098261" y="227262"/>
                </a:lnTo>
                <a:lnTo>
                  <a:pt x="1098367" y="238475"/>
                </a:lnTo>
                <a:cubicBezTo>
                  <a:pt x="1098025" y="239757"/>
                  <a:pt x="1097684" y="241038"/>
                  <a:pt x="1097331" y="242358"/>
                </a:cubicBezTo>
                <a:cubicBezTo>
                  <a:pt x="1096958" y="243711"/>
                  <a:pt x="1096585" y="245064"/>
                  <a:pt x="1096201" y="246458"/>
                </a:cubicBezTo>
                <a:cubicBezTo>
                  <a:pt x="1093302" y="257363"/>
                  <a:pt x="1090901" y="268062"/>
                  <a:pt x="1089440" y="279206"/>
                </a:cubicBezTo>
                <a:cubicBezTo>
                  <a:pt x="1088878" y="282569"/>
                  <a:pt x="1088878" y="282569"/>
                  <a:pt x="1087316" y="283978"/>
                </a:cubicBezTo>
                <a:cubicBezTo>
                  <a:pt x="1087070" y="286587"/>
                  <a:pt x="1086924" y="289205"/>
                  <a:pt x="1086822" y="291822"/>
                </a:cubicBezTo>
                <a:cubicBezTo>
                  <a:pt x="1086756" y="293408"/>
                  <a:pt x="1086691" y="294993"/>
                  <a:pt x="1086623" y="296625"/>
                </a:cubicBezTo>
                <a:cubicBezTo>
                  <a:pt x="1086562" y="298294"/>
                  <a:pt x="1086501" y="299962"/>
                  <a:pt x="1086437" y="301681"/>
                </a:cubicBezTo>
                <a:cubicBezTo>
                  <a:pt x="1086336" y="304192"/>
                  <a:pt x="1086336" y="304192"/>
                  <a:pt x="1086233" y="306754"/>
                </a:cubicBezTo>
                <a:lnTo>
                  <a:pt x="1086007" y="312619"/>
                </a:lnTo>
                <a:lnTo>
                  <a:pt x="1087470" y="320554"/>
                </a:lnTo>
                <a:cubicBezTo>
                  <a:pt x="1089648" y="325409"/>
                  <a:pt x="1093111" y="329799"/>
                  <a:pt x="1098285" y="334611"/>
                </a:cubicBezTo>
                <a:cubicBezTo>
                  <a:pt x="1100424" y="336130"/>
                  <a:pt x="1100424" y="336130"/>
                  <a:pt x="1102607" y="337679"/>
                </a:cubicBezTo>
                <a:cubicBezTo>
                  <a:pt x="1104334" y="338951"/>
                  <a:pt x="1104334" y="338951"/>
                  <a:pt x="1106095" y="340248"/>
                </a:cubicBezTo>
                <a:cubicBezTo>
                  <a:pt x="1106095" y="341178"/>
                  <a:pt x="1106095" y="342108"/>
                  <a:pt x="1106095" y="343066"/>
                </a:cubicBezTo>
                <a:cubicBezTo>
                  <a:pt x="1107127" y="343183"/>
                  <a:pt x="1108158" y="343299"/>
                  <a:pt x="1109220" y="343419"/>
                </a:cubicBezTo>
                <a:cubicBezTo>
                  <a:pt x="1115473" y="344829"/>
                  <a:pt x="1120724" y="347416"/>
                  <a:pt x="1126403" y="350112"/>
                </a:cubicBezTo>
                <a:cubicBezTo>
                  <a:pt x="1128207" y="350926"/>
                  <a:pt x="1130012" y="351740"/>
                  <a:pt x="1131871" y="352579"/>
                </a:cubicBezTo>
                <a:cubicBezTo>
                  <a:pt x="1133159" y="353160"/>
                  <a:pt x="1134448" y="353741"/>
                  <a:pt x="1135776" y="354340"/>
                </a:cubicBezTo>
                <a:cubicBezTo>
                  <a:pt x="1135776" y="355270"/>
                  <a:pt x="1135776" y="356200"/>
                  <a:pt x="1135776" y="357158"/>
                </a:cubicBezTo>
                <a:cubicBezTo>
                  <a:pt x="1148107" y="360029"/>
                  <a:pt x="1158679" y="359101"/>
                  <a:pt x="1170143" y="354340"/>
                </a:cubicBezTo>
                <a:cubicBezTo>
                  <a:pt x="1172366" y="353468"/>
                  <a:pt x="1172366" y="353468"/>
                  <a:pt x="1174634" y="352579"/>
                </a:cubicBezTo>
                <a:cubicBezTo>
                  <a:pt x="1180354" y="349689"/>
                  <a:pt x="1185568" y="346355"/>
                  <a:pt x="1190890" y="342907"/>
                </a:cubicBezTo>
                <a:cubicBezTo>
                  <a:pt x="1195169" y="340228"/>
                  <a:pt x="1199557" y="337821"/>
                  <a:pt x="1204021" y="335404"/>
                </a:cubicBezTo>
                <a:cubicBezTo>
                  <a:pt x="1211989" y="330886"/>
                  <a:pt x="1217509" y="325766"/>
                  <a:pt x="1223255" y="319110"/>
                </a:cubicBezTo>
                <a:cubicBezTo>
                  <a:pt x="1224447" y="317947"/>
                  <a:pt x="1225639" y="316784"/>
                  <a:pt x="1226868" y="315587"/>
                </a:cubicBezTo>
                <a:cubicBezTo>
                  <a:pt x="1229855" y="311593"/>
                  <a:pt x="1230852" y="308240"/>
                  <a:pt x="1231859" y="303559"/>
                </a:cubicBezTo>
                <a:cubicBezTo>
                  <a:pt x="1232628" y="300790"/>
                  <a:pt x="1232628" y="300790"/>
                  <a:pt x="1234178" y="298059"/>
                </a:cubicBezTo>
                <a:cubicBezTo>
                  <a:pt x="1235964" y="294761"/>
                  <a:pt x="1236623" y="291807"/>
                  <a:pt x="1237314" y="288195"/>
                </a:cubicBezTo>
                <a:cubicBezTo>
                  <a:pt x="1239360" y="278571"/>
                  <a:pt x="1242414" y="272733"/>
                  <a:pt x="1249811" y="265559"/>
                </a:cubicBezTo>
                <a:cubicBezTo>
                  <a:pt x="1250842" y="265559"/>
                  <a:pt x="1251873" y="265559"/>
                  <a:pt x="1252935" y="265559"/>
                </a:cubicBezTo>
                <a:cubicBezTo>
                  <a:pt x="1252935" y="264629"/>
                  <a:pt x="1252935" y="263699"/>
                  <a:pt x="1252935" y="262741"/>
                </a:cubicBezTo>
                <a:cubicBezTo>
                  <a:pt x="1265591" y="253427"/>
                  <a:pt x="1280762" y="251648"/>
                  <a:pt x="1296675" y="252876"/>
                </a:cubicBezTo>
                <a:cubicBezTo>
                  <a:pt x="1300535" y="253563"/>
                  <a:pt x="1303901" y="254478"/>
                  <a:pt x="1307609" y="255695"/>
                </a:cubicBezTo>
                <a:cubicBezTo>
                  <a:pt x="1307609" y="256625"/>
                  <a:pt x="1307609" y="257555"/>
                  <a:pt x="1307609" y="258513"/>
                </a:cubicBezTo>
                <a:cubicBezTo>
                  <a:pt x="1309021" y="258619"/>
                  <a:pt x="1310432" y="258723"/>
                  <a:pt x="1311887" y="258832"/>
                </a:cubicBezTo>
                <a:cubicBezTo>
                  <a:pt x="1319573" y="260476"/>
                  <a:pt x="1322149" y="264416"/>
                  <a:pt x="1326715" y="269969"/>
                </a:cubicBezTo>
                <a:cubicBezTo>
                  <a:pt x="1334402" y="281220"/>
                  <a:pt x="1336114" y="294839"/>
                  <a:pt x="1334165" y="307836"/>
                </a:cubicBezTo>
                <a:cubicBezTo>
                  <a:pt x="1332176" y="311898"/>
                  <a:pt x="1332176" y="311898"/>
                  <a:pt x="1329479" y="314882"/>
                </a:cubicBezTo>
                <a:cubicBezTo>
                  <a:pt x="1327417" y="314882"/>
                  <a:pt x="1325355" y="314882"/>
                  <a:pt x="1323231" y="314882"/>
                </a:cubicBezTo>
                <a:cubicBezTo>
                  <a:pt x="1323231" y="315812"/>
                  <a:pt x="1323231" y="316742"/>
                  <a:pt x="1323231" y="317700"/>
                </a:cubicBezTo>
                <a:lnTo>
                  <a:pt x="1322774" y="317838"/>
                </a:lnTo>
                <a:lnTo>
                  <a:pt x="1323295" y="317838"/>
                </a:lnTo>
                <a:cubicBezTo>
                  <a:pt x="1323295" y="316907"/>
                  <a:pt x="1323295" y="315977"/>
                  <a:pt x="1323295" y="315019"/>
                </a:cubicBezTo>
                <a:cubicBezTo>
                  <a:pt x="1324842" y="315019"/>
                  <a:pt x="1326388" y="315019"/>
                  <a:pt x="1327982" y="315019"/>
                </a:cubicBezTo>
                <a:cubicBezTo>
                  <a:pt x="1325845" y="321328"/>
                  <a:pt x="1322753" y="323742"/>
                  <a:pt x="1317047" y="327702"/>
                </a:cubicBezTo>
                <a:cubicBezTo>
                  <a:pt x="1316531" y="329097"/>
                  <a:pt x="1316016" y="330492"/>
                  <a:pt x="1315484" y="331930"/>
                </a:cubicBezTo>
                <a:cubicBezTo>
                  <a:pt x="1312599" y="332959"/>
                  <a:pt x="1312599" y="332959"/>
                  <a:pt x="1309139" y="333603"/>
                </a:cubicBezTo>
                <a:cubicBezTo>
                  <a:pt x="1307993" y="333827"/>
                  <a:pt x="1306847" y="334050"/>
                  <a:pt x="1305666" y="334280"/>
                </a:cubicBezTo>
                <a:cubicBezTo>
                  <a:pt x="1304783" y="334434"/>
                  <a:pt x="1303899" y="334589"/>
                  <a:pt x="1302988" y="334748"/>
                </a:cubicBezTo>
                <a:lnTo>
                  <a:pt x="1305905" y="332775"/>
                </a:lnTo>
                <a:lnTo>
                  <a:pt x="1304485" y="333202"/>
                </a:lnTo>
                <a:cubicBezTo>
                  <a:pt x="1302987" y="334640"/>
                  <a:pt x="1302987" y="334640"/>
                  <a:pt x="1301459" y="336108"/>
                </a:cubicBezTo>
                <a:cubicBezTo>
                  <a:pt x="1298237" y="338839"/>
                  <a:pt x="1298237" y="338839"/>
                  <a:pt x="1291989" y="338839"/>
                </a:cubicBezTo>
                <a:cubicBezTo>
                  <a:pt x="1291473" y="340234"/>
                  <a:pt x="1290957" y="341629"/>
                  <a:pt x="1290426" y="343066"/>
                </a:cubicBezTo>
                <a:cubicBezTo>
                  <a:pt x="1288879" y="343415"/>
                  <a:pt x="1287333" y="343764"/>
                  <a:pt x="1285740" y="344123"/>
                </a:cubicBezTo>
                <a:cubicBezTo>
                  <a:pt x="1266905" y="348491"/>
                  <a:pt x="1249005" y="369098"/>
                  <a:pt x="1237314" y="382525"/>
                </a:cubicBezTo>
                <a:cubicBezTo>
                  <a:pt x="1235678" y="385783"/>
                  <a:pt x="1234122" y="389075"/>
                  <a:pt x="1232628" y="392389"/>
                </a:cubicBezTo>
                <a:cubicBezTo>
                  <a:pt x="1231317" y="394515"/>
                  <a:pt x="1229981" y="396629"/>
                  <a:pt x="1228625" y="398731"/>
                </a:cubicBezTo>
                <a:cubicBezTo>
                  <a:pt x="1221457" y="410300"/>
                  <a:pt x="1219465" y="421836"/>
                  <a:pt x="1222822" y="434798"/>
                </a:cubicBezTo>
                <a:cubicBezTo>
                  <a:pt x="1229360" y="453710"/>
                  <a:pt x="1244088" y="472467"/>
                  <a:pt x="1260746" y="485398"/>
                </a:cubicBezTo>
                <a:cubicBezTo>
                  <a:pt x="1264961" y="487349"/>
                  <a:pt x="1264961" y="487349"/>
                  <a:pt x="1268556" y="488216"/>
                </a:cubicBezTo>
                <a:cubicBezTo>
                  <a:pt x="1268556" y="489146"/>
                  <a:pt x="1268556" y="490076"/>
                  <a:pt x="1268556" y="491034"/>
                </a:cubicBezTo>
                <a:cubicBezTo>
                  <a:pt x="1288790" y="497071"/>
                  <a:pt x="1319055" y="498555"/>
                  <a:pt x="1338852" y="489625"/>
                </a:cubicBezTo>
                <a:cubicBezTo>
                  <a:pt x="1341711" y="489213"/>
                  <a:pt x="1344575" y="488837"/>
                  <a:pt x="1347444" y="488480"/>
                </a:cubicBezTo>
                <a:cubicBezTo>
                  <a:pt x="1355372" y="487345"/>
                  <a:pt x="1362033" y="485390"/>
                  <a:pt x="1369362" y="482513"/>
                </a:cubicBezTo>
                <a:cubicBezTo>
                  <a:pt x="1375665" y="480318"/>
                  <a:pt x="1382189" y="479322"/>
                  <a:pt x="1388840" y="478351"/>
                </a:cubicBezTo>
                <a:cubicBezTo>
                  <a:pt x="1388840" y="477421"/>
                  <a:pt x="1388840" y="476492"/>
                  <a:pt x="1388840" y="475533"/>
                </a:cubicBezTo>
                <a:cubicBezTo>
                  <a:pt x="1391083" y="474821"/>
                  <a:pt x="1393329" y="474118"/>
                  <a:pt x="1395576" y="473419"/>
                </a:cubicBezTo>
                <a:cubicBezTo>
                  <a:pt x="1396827" y="473027"/>
                  <a:pt x="1398077" y="472635"/>
                  <a:pt x="1399365" y="472230"/>
                </a:cubicBezTo>
                <a:cubicBezTo>
                  <a:pt x="1402899" y="471305"/>
                  <a:pt x="1402899" y="471305"/>
                  <a:pt x="1407585" y="471305"/>
                </a:cubicBezTo>
                <a:cubicBezTo>
                  <a:pt x="1408101" y="469910"/>
                  <a:pt x="1408616" y="468515"/>
                  <a:pt x="1409147" y="467078"/>
                </a:cubicBezTo>
                <a:cubicBezTo>
                  <a:pt x="1412388" y="465580"/>
                  <a:pt x="1412388" y="465580"/>
                  <a:pt x="1416470" y="464259"/>
                </a:cubicBezTo>
                <a:cubicBezTo>
                  <a:pt x="1424029" y="461705"/>
                  <a:pt x="1431130" y="458955"/>
                  <a:pt x="1437949" y="455011"/>
                </a:cubicBezTo>
                <a:cubicBezTo>
                  <a:pt x="1442765" y="452574"/>
                  <a:pt x="1447553" y="451394"/>
                  <a:pt x="1452887" y="450167"/>
                </a:cubicBezTo>
                <a:cubicBezTo>
                  <a:pt x="1452887" y="449237"/>
                  <a:pt x="1452887" y="448307"/>
                  <a:pt x="1452887" y="447349"/>
                </a:cubicBezTo>
                <a:cubicBezTo>
                  <a:pt x="1453714" y="446944"/>
                  <a:pt x="1454541" y="446539"/>
                  <a:pt x="1455394" y="446122"/>
                </a:cubicBezTo>
                <a:cubicBezTo>
                  <a:pt x="1459151" y="444278"/>
                  <a:pt x="1462902" y="442422"/>
                  <a:pt x="1466653" y="440567"/>
                </a:cubicBezTo>
                <a:cubicBezTo>
                  <a:pt x="1467955" y="439930"/>
                  <a:pt x="1469256" y="439293"/>
                  <a:pt x="1470598" y="438637"/>
                </a:cubicBezTo>
                <a:cubicBezTo>
                  <a:pt x="1471852" y="438016"/>
                  <a:pt x="1473105" y="437393"/>
                  <a:pt x="1474397" y="436752"/>
                </a:cubicBezTo>
                <a:cubicBezTo>
                  <a:pt x="1475550" y="436184"/>
                  <a:pt x="1476703" y="435616"/>
                  <a:pt x="1477892" y="435030"/>
                </a:cubicBezTo>
                <a:cubicBezTo>
                  <a:pt x="1480966" y="433279"/>
                  <a:pt x="1483173" y="431373"/>
                  <a:pt x="1485691" y="429029"/>
                </a:cubicBezTo>
                <a:cubicBezTo>
                  <a:pt x="1486737" y="428575"/>
                  <a:pt x="1487781" y="428121"/>
                  <a:pt x="1488858" y="427653"/>
                </a:cubicBezTo>
                <a:cubicBezTo>
                  <a:pt x="1492438" y="425977"/>
                  <a:pt x="1493705" y="424453"/>
                  <a:pt x="1495943" y="421454"/>
                </a:cubicBezTo>
                <a:cubicBezTo>
                  <a:pt x="1507114" y="407544"/>
                  <a:pt x="1519758" y="393513"/>
                  <a:pt x="1538608" y="388338"/>
                </a:cubicBezTo>
                <a:cubicBezTo>
                  <a:pt x="1541025" y="388250"/>
                  <a:pt x="1541025" y="388250"/>
                  <a:pt x="1543490" y="388161"/>
                </a:cubicBezTo>
                <a:cubicBezTo>
                  <a:pt x="1545535" y="387984"/>
                  <a:pt x="1545535" y="387984"/>
                  <a:pt x="1547621" y="387804"/>
                </a:cubicBezTo>
                <a:cubicBezTo>
                  <a:pt x="1560659" y="387094"/>
                  <a:pt x="1568716" y="390117"/>
                  <a:pt x="1579418" y="396617"/>
                </a:cubicBezTo>
                <a:cubicBezTo>
                  <a:pt x="1581361" y="397687"/>
                  <a:pt x="1581361" y="397687"/>
                  <a:pt x="1583342" y="398780"/>
                </a:cubicBezTo>
                <a:cubicBezTo>
                  <a:pt x="1593703" y="405068"/>
                  <a:pt x="1598513" y="412459"/>
                  <a:pt x="1601288" y="423392"/>
                </a:cubicBezTo>
                <a:cubicBezTo>
                  <a:pt x="1603295" y="436596"/>
                  <a:pt x="1603517" y="449033"/>
                  <a:pt x="1594484" y="460159"/>
                </a:cubicBezTo>
                <a:cubicBezTo>
                  <a:pt x="1588468" y="466462"/>
                  <a:pt x="1582607" y="471150"/>
                  <a:pt x="1574732" y="475533"/>
                </a:cubicBezTo>
                <a:cubicBezTo>
                  <a:pt x="1573862" y="476043"/>
                  <a:pt x="1572993" y="476553"/>
                  <a:pt x="1572097" y="477078"/>
                </a:cubicBezTo>
                <a:cubicBezTo>
                  <a:pt x="1566828" y="478935"/>
                  <a:pt x="1561641" y="478744"/>
                  <a:pt x="1556066" y="478737"/>
                </a:cubicBezTo>
                <a:cubicBezTo>
                  <a:pt x="1553587" y="478765"/>
                  <a:pt x="1551109" y="478795"/>
                  <a:pt x="1548631" y="478825"/>
                </a:cubicBezTo>
                <a:cubicBezTo>
                  <a:pt x="1544751" y="478857"/>
                  <a:pt x="1540871" y="478880"/>
                  <a:pt x="1536991" y="478889"/>
                </a:cubicBezTo>
                <a:cubicBezTo>
                  <a:pt x="1516714" y="478693"/>
                  <a:pt x="1516714" y="478693"/>
                  <a:pt x="1498188" y="485398"/>
                </a:cubicBezTo>
                <a:cubicBezTo>
                  <a:pt x="1496062" y="486488"/>
                  <a:pt x="1496062" y="486488"/>
                  <a:pt x="1493892" y="487600"/>
                </a:cubicBezTo>
                <a:cubicBezTo>
                  <a:pt x="1492733" y="488268"/>
                  <a:pt x="1491573" y="488937"/>
                  <a:pt x="1490377" y="489625"/>
                </a:cubicBezTo>
                <a:cubicBezTo>
                  <a:pt x="1484304" y="493012"/>
                  <a:pt x="1478212" y="495675"/>
                  <a:pt x="1471650" y="498185"/>
                </a:cubicBezTo>
                <a:cubicBezTo>
                  <a:pt x="1467148" y="500054"/>
                  <a:pt x="1463242" y="502632"/>
                  <a:pt x="1459135" y="505127"/>
                </a:cubicBezTo>
                <a:cubicBezTo>
                  <a:pt x="1456968" y="506120"/>
                  <a:pt x="1454786" y="507086"/>
                  <a:pt x="1452594" y="508033"/>
                </a:cubicBezTo>
                <a:cubicBezTo>
                  <a:pt x="1444148" y="511772"/>
                  <a:pt x="1435969" y="515903"/>
                  <a:pt x="1427795" y="520100"/>
                </a:cubicBezTo>
                <a:cubicBezTo>
                  <a:pt x="1425784" y="521114"/>
                  <a:pt x="1425784" y="521114"/>
                  <a:pt x="1423733" y="522148"/>
                </a:cubicBezTo>
                <a:cubicBezTo>
                  <a:pt x="1422478" y="522798"/>
                  <a:pt x="1421223" y="523449"/>
                  <a:pt x="1419929" y="524118"/>
                </a:cubicBezTo>
                <a:cubicBezTo>
                  <a:pt x="1418794" y="524701"/>
                  <a:pt x="1417658" y="525283"/>
                  <a:pt x="1416487" y="525883"/>
                </a:cubicBezTo>
                <a:cubicBezTo>
                  <a:pt x="1413349" y="527646"/>
                  <a:pt x="1413349" y="527646"/>
                  <a:pt x="1412271" y="531902"/>
                </a:cubicBezTo>
                <a:cubicBezTo>
                  <a:pt x="1407205" y="535203"/>
                  <a:pt x="1402819" y="536744"/>
                  <a:pt x="1396650" y="537539"/>
                </a:cubicBezTo>
                <a:cubicBezTo>
                  <a:pt x="1396650" y="538469"/>
                  <a:pt x="1396650" y="539399"/>
                  <a:pt x="1396650" y="540357"/>
                </a:cubicBezTo>
                <a:cubicBezTo>
                  <a:pt x="1395609" y="540735"/>
                  <a:pt x="1394568" y="541113"/>
                  <a:pt x="1393495" y="541502"/>
                </a:cubicBezTo>
                <a:cubicBezTo>
                  <a:pt x="1381840" y="545973"/>
                  <a:pt x="1372279" y="551715"/>
                  <a:pt x="1362284" y="558678"/>
                </a:cubicBezTo>
                <a:cubicBezTo>
                  <a:pt x="1360170" y="560088"/>
                  <a:pt x="1358055" y="561497"/>
                  <a:pt x="1355937" y="562905"/>
                </a:cubicBezTo>
                <a:cubicBezTo>
                  <a:pt x="1348556" y="567937"/>
                  <a:pt x="1341292" y="573085"/>
                  <a:pt x="1334165" y="578406"/>
                </a:cubicBezTo>
                <a:cubicBezTo>
                  <a:pt x="1332697" y="579472"/>
                  <a:pt x="1332697" y="579472"/>
                  <a:pt x="1331200" y="580559"/>
                </a:cubicBezTo>
                <a:cubicBezTo>
                  <a:pt x="1325067" y="585430"/>
                  <a:pt x="1323406" y="589771"/>
                  <a:pt x="1322175" y="596793"/>
                </a:cubicBezTo>
                <a:cubicBezTo>
                  <a:pt x="1321669" y="599545"/>
                  <a:pt x="1321669" y="599545"/>
                  <a:pt x="1320106" y="602363"/>
                </a:cubicBezTo>
                <a:cubicBezTo>
                  <a:pt x="1318419" y="618189"/>
                  <a:pt x="1322416" y="632767"/>
                  <a:pt x="1328015" y="647640"/>
                </a:cubicBezTo>
                <a:cubicBezTo>
                  <a:pt x="1331267" y="656625"/>
                  <a:pt x="1333170" y="666179"/>
                  <a:pt x="1332604" y="675643"/>
                </a:cubicBezTo>
                <a:cubicBezTo>
                  <a:pt x="1333634" y="675643"/>
                  <a:pt x="1334665" y="675643"/>
                  <a:pt x="1335727" y="675643"/>
                </a:cubicBezTo>
                <a:cubicBezTo>
                  <a:pt x="1337571" y="680632"/>
                  <a:pt x="1337591" y="684795"/>
                  <a:pt x="1337741" y="690059"/>
                </a:cubicBezTo>
                <a:cubicBezTo>
                  <a:pt x="1337826" y="692114"/>
                  <a:pt x="1337913" y="694168"/>
                  <a:pt x="1338003" y="696222"/>
                </a:cubicBezTo>
                <a:cubicBezTo>
                  <a:pt x="1338142" y="699444"/>
                  <a:pt x="1338266" y="702664"/>
                  <a:pt x="1338340" y="705887"/>
                </a:cubicBezTo>
                <a:cubicBezTo>
                  <a:pt x="1338372" y="720474"/>
                  <a:pt x="1338372" y="720474"/>
                  <a:pt x="1345277" y="733245"/>
                </a:cubicBezTo>
                <a:cubicBezTo>
                  <a:pt x="1350822" y="737861"/>
                  <a:pt x="1355921" y="739823"/>
                  <a:pt x="1363162" y="741612"/>
                </a:cubicBezTo>
                <a:cubicBezTo>
                  <a:pt x="1370672" y="743533"/>
                  <a:pt x="1377197" y="745750"/>
                  <a:pt x="1384154" y="748922"/>
                </a:cubicBezTo>
                <a:cubicBezTo>
                  <a:pt x="1387833" y="749898"/>
                  <a:pt x="1387833" y="749898"/>
                  <a:pt x="1391476" y="750419"/>
                </a:cubicBezTo>
                <a:cubicBezTo>
                  <a:pt x="1393499" y="750747"/>
                  <a:pt x="1393499" y="750747"/>
                  <a:pt x="1395564" y="751080"/>
                </a:cubicBezTo>
                <a:cubicBezTo>
                  <a:pt x="1397648" y="751407"/>
                  <a:pt x="1397648" y="751407"/>
                  <a:pt x="1399775" y="751740"/>
                </a:cubicBezTo>
                <a:cubicBezTo>
                  <a:pt x="1401810" y="752111"/>
                  <a:pt x="1401810" y="752111"/>
                  <a:pt x="1403887" y="752489"/>
                </a:cubicBezTo>
                <a:cubicBezTo>
                  <a:pt x="1424247" y="756131"/>
                  <a:pt x="1444708" y="756350"/>
                  <a:pt x="1465383" y="755969"/>
                </a:cubicBezTo>
                <a:cubicBezTo>
                  <a:pt x="1467019" y="755945"/>
                  <a:pt x="1468654" y="755921"/>
                  <a:pt x="1470339" y="755897"/>
                </a:cubicBezTo>
                <a:cubicBezTo>
                  <a:pt x="1480128" y="755450"/>
                  <a:pt x="1487899" y="752933"/>
                  <a:pt x="1496809" y="749313"/>
                </a:cubicBezTo>
                <a:cubicBezTo>
                  <a:pt x="1502876" y="746888"/>
                  <a:pt x="1509049" y="745091"/>
                  <a:pt x="1515371" y="743285"/>
                </a:cubicBezTo>
                <a:cubicBezTo>
                  <a:pt x="1515371" y="742356"/>
                  <a:pt x="1515371" y="741425"/>
                  <a:pt x="1515371" y="740467"/>
                </a:cubicBezTo>
                <a:cubicBezTo>
                  <a:pt x="1522710" y="737103"/>
                  <a:pt x="1529583" y="737106"/>
                  <a:pt x="1537632" y="737120"/>
                </a:cubicBezTo>
                <a:cubicBezTo>
                  <a:pt x="1538960" y="737122"/>
                  <a:pt x="1540289" y="737124"/>
                  <a:pt x="1541657" y="737127"/>
                </a:cubicBezTo>
                <a:cubicBezTo>
                  <a:pt x="1555502" y="737372"/>
                  <a:pt x="1564314" y="740697"/>
                  <a:pt x="1574732" y="748922"/>
                </a:cubicBezTo>
                <a:cubicBezTo>
                  <a:pt x="1586507" y="762822"/>
                  <a:pt x="1590347" y="775219"/>
                  <a:pt x="1588791" y="792608"/>
                </a:cubicBezTo>
                <a:cubicBezTo>
                  <a:pt x="1587728" y="797050"/>
                  <a:pt x="1586468" y="801261"/>
                  <a:pt x="1584105" y="805291"/>
                </a:cubicBezTo>
                <a:cubicBezTo>
                  <a:pt x="1583074" y="805756"/>
                  <a:pt x="1582043" y="806221"/>
                  <a:pt x="1580981" y="806700"/>
                </a:cubicBezTo>
                <a:cubicBezTo>
                  <a:pt x="1580240" y="807892"/>
                  <a:pt x="1579499" y="809083"/>
                  <a:pt x="1578735" y="810311"/>
                </a:cubicBezTo>
                <a:cubicBezTo>
                  <a:pt x="1577930" y="811445"/>
                  <a:pt x="1577124" y="812579"/>
                  <a:pt x="1576295" y="813746"/>
                </a:cubicBezTo>
                <a:lnTo>
                  <a:pt x="1571652" y="813746"/>
                </a:lnTo>
                <a:lnTo>
                  <a:pt x="1571785" y="814106"/>
                </a:lnTo>
                <a:cubicBezTo>
                  <a:pt x="1572816" y="814571"/>
                  <a:pt x="1573846" y="815036"/>
                  <a:pt x="1574909" y="815515"/>
                </a:cubicBezTo>
                <a:cubicBezTo>
                  <a:pt x="1572126" y="818758"/>
                  <a:pt x="1569968" y="820871"/>
                  <a:pt x="1565463" y="821839"/>
                </a:cubicBezTo>
                <a:lnTo>
                  <a:pt x="1562085" y="822101"/>
                </a:lnTo>
                <a:lnTo>
                  <a:pt x="1551301" y="825020"/>
                </a:lnTo>
                <a:cubicBezTo>
                  <a:pt x="1551301" y="825950"/>
                  <a:pt x="1551301" y="826880"/>
                  <a:pt x="1551301" y="827838"/>
                </a:cubicBezTo>
                <a:cubicBezTo>
                  <a:pt x="1526697" y="828735"/>
                  <a:pt x="1507496" y="825036"/>
                  <a:pt x="1485380" y="815007"/>
                </a:cubicBezTo>
                <a:cubicBezTo>
                  <a:pt x="1468723" y="807743"/>
                  <a:pt x="1449749" y="809144"/>
                  <a:pt x="1431603" y="808726"/>
                </a:cubicBezTo>
                <a:cubicBezTo>
                  <a:pt x="1429115" y="808665"/>
                  <a:pt x="1426627" y="808604"/>
                  <a:pt x="1424140" y="808542"/>
                </a:cubicBezTo>
                <a:cubicBezTo>
                  <a:pt x="1418101" y="808392"/>
                  <a:pt x="1412062" y="808249"/>
                  <a:pt x="1406023" y="808109"/>
                </a:cubicBezTo>
                <a:cubicBezTo>
                  <a:pt x="1406023" y="809040"/>
                  <a:pt x="1406023" y="809970"/>
                  <a:pt x="1406023" y="810928"/>
                </a:cubicBezTo>
                <a:cubicBezTo>
                  <a:pt x="1404716" y="811118"/>
                  <a:pt x="1404716" y="811118"/>
                  <a:pt x="1403383" y="811311"/>
                </a:cubicBezTo>
                <a:cubicBezTo>
                  <a:pt x="1372054" y="815110"/>
                  <a:pt x="1372054" y="815110"/>
                  <a:pt x="1345442" y="828907"/>
                </a:cubicBezTo>
                <a:cubicBezTo>
                  <a:pt x="1338843" y="837605"/>
                  <a:pt x="1338313" y="846434"/>
                  <a:pt x="1337875" y="856639"/>
                </a:cubicBezTo>
                <a:cubicBezTo>
                  <a:pt x="1337815" y="857805"/>
                  <a:pt x="1337754" y="858970"/>
                  <a:pt x="1337692" y="860171"/>
                </a:cubicBezTo>
                <a:cubicBezTo>
                  <a:pt x="1337547" y="863016"/>
                  <a:pt x="1337417" y="865861"/>
                  <a:pt x="1337290" y="868706"/>
                </a:cubicBezTo>
                <a:cubicBezTo>
                  <a:pt x="1336258" y="868706"/>
                  <a:pt x="1335228" y="868706"/>
                  <a:pt x="1334165" y="868706"/>
                </a:cubicBezTo>
                <a:lnTo>
                  <a:pt x="1334165" y="870034"/>
                </a:lnTo>
                <a:lnTo>
                  <a:pt x="1334237" y="869093"/>
                </a:lnTo>
                <a:cubicBezTo>
                  <a:pt x="1334753" y="869093"/>
                  <a:pt x="1335268" y="869093"/>
                  <a:pt x="1335800" y="869093"/>
                </a:cubicBezTo>
                <a:cubicBezTo>
                  <a:pt x="1335884" y="871559"/>
                  <a:pt x="1335944" y="874025"/>
                  <a:pt x="1335995" y="876491"/>
                </a:cubicBezTo>
                <a:cubicBezTo>
                  <a:pt x="1336030" y="877865"/>
                  <a:pt x="1336067" y="879238"/>
                  <a:pt x="1336105" y="880653"/>
                </a:cubicBezTo>
                <a:cubicBezTo>
                  <a:pt x="1335800" y="884594"/>
                  <a:pt x="1335800" y="884594"/>
                  <a:pt x="1334294" y="887271"/>
                </a:cubicBezTo>
                <a:cubicBezTo>
                  <a:pt x="1332567" y="890428"/>
                  <a:pt x="1331982" y="892964"/>
                  <a:pt x="1331455" y="896440"/>
                </a:cubicBezTo>
                <a:cubicBezTo>
                  <a:pt x="1331267" y="897605"/>
                  <a:pt x="1331080" y="898769"/>
                  <a:pt x="1330887" y="899969"/>
                </a:cubicBezTo>
                <a:cubicBezTo>
                  <a:pt x="1330704" y="901174"/>
                  <a:pt x="1330521" y="902378"/>
                  <a:pt x="1330332" y="903618"/>
                </a:cubicBezTo>
                <a:cubicBezTo>
                  <a:pt x="1329968" y="906013"/>
                  <a:pt x="1329594" y="908405"/>
                  <a:pt x="1329209" y="910797"/>
                </a:cubicBezTo>
                <a:cubicBezTo>
                  <a:pt x="1329049" y="911853"/>
                  <a:pt x="1328889" y="912910"/>
                  <a:pt x="1328724" y="913998"/>
                </a:cubicBezTo>
                <a:cubicBezTo>
                  <a:pt x="1327933" y="917233"/>
                  <a:pt x="1326525" y="919703"/>
                  <a:pt x="1324865" y="922643"/>
                </a:cubicBezTo>
                <a:cubicBezTo>
                  <a:pt x="1323924" y="927743"/>
                  <a:pt x="1323282" y="932845"/>
                  <a:pt x="1322619" y="937979"/>
                </a:cubicBezTo>
                <a:lnTo>
                  <a:pt x="1318744" y="944961"/>
                </a:lnTo>
                <a:lnTo>
                  <a:pt x="1318544" y="946213"/>
                </a:lnTo>
                <a:cubicBezTo>
                  <a:pt x="1318360" y="949234"/>
                  <a:pt x="1318271" y="952260"/>
                  <a:pt x="1318251" y="955285"/>
                </a:cubicBezTo>
                <a:cubicBezTo>
                  <a:pt x="1318218" y="957637"/>
                  <a:pt x="1318218" y="957637"/>
                  <a:pt x="1318184" y="960036"/>
                </a:cubicBezTo>
                <a:cubicBezTo>
                  <a:pt x="1318624" y="965530"/>
                  <a:pt x="1319569" y="969724"/>
                  <a:pt x="1324024" y="973660"/>
                </a:cubicBezTo>
                <a:cubicBezTo>
                  <a:pt x="1327197" y="976583"/>
                  <a:pt x="1327950" y="979494"/>
                  <a:pt x="1329284" y="983382"/>
                </a:cubicBezTo>
                <a:cubicBezTo>
                  <a:pt x="1331875" y="990106"/>
                  <a:pt x="1334445" y="993582"/>
                  <a:pt x="1340414" y="998354"/>
                </a:cubicBezTo>
                <a:cubicBezTo>
                  <a:pt x="1342397" y="1000564"/>
                  <a:pt x="1344347" y="1002798"/>
                  <a:pt x="1346272" y="1005048"/>
                </a:cubicBezTo>
                <a:cubicBezTo>
                  <a:pt x="1360055" y="1020713"/>
                  <a:pt x="1376247" y="1031879"/>
                  <a:pt x="1394716" y="1042740"/>
                </a:cubicBezTo>
                <a:cubicBezTo>
                  <a:pt x="1397172" y="1044228"/>
                  <a:pt x="1399581" y="1045779"/>
                  <a:pt x="1401953" y="1047374"/>
                </a:cubicBezTo>
                <a:cubicBezTo>
                  <a:pt x="1410065" y="1052802"/>
                  <a:pt x="1417529" y="1056366"/>
                  <a:pt x="1427197" y="1059061"/>
                </a:cubicBezTo>
                <a:cubicBezTo>
                  <a:pt x="1431243" y="1060437"/>
                  <a:pt x="1434061" y="1061979"/>
                  <a:pt x="1437265" y="1064588"/>
                </a:cubicBezTo>
                <a:cubicBezTo>
                  <a:pt x="1437265" y="1065518"/>
                  <a:pt x="1437265" y="1066448"/>
                  <a:pt x="1437265" y="1067406"/>
                </a:cubicBezTo>
                <a:cubicBezTo>
                  <a:pt x="1439053" y="1067624"/>
                  <a:pt x="1439053" y="1067624"/>
                  <a:pt x="1440878" y="1067847"/>
                </a:cubicBezTo>
                <a:cubicBezTo>
                  <a:pt x="1445076" y="1068815"/>
                  <a:pt x="1445076" y="1068815"/>
                  <a:pt x="1447175" y="1070753"/>
                </a:cubicBezTo>
                <a:cubicBezTo>
                  <a:pt x="1450417" y="1073622"/>
                  <a:pt x="1453781" y="1075060"/>
                  <a:pt x="1457866" y="1076830"/>
                </a:cubicBezTo>
                <a:cubicBezTo>
                  <a:pt x="1459274" y="1077446"/>
                  <a:pt x="1460681" y="1078062"/>
                  <a:pt x="1462132" y="1078696"/>
                </a:cubicBezTo>
                <a:cubicBezTo>
                  <a:pt x="1463204" y="1079156"/>
                  <a:pt x="1464278" y="1079616"/>
                  <a:pt x="1465383" y="1080089"/>
                </a:cubicBezTo>
                <a:cubicBezTo>
                  <a:pt x="1465383" y="1081019"/>
                  <a:pt x="1465383" y="1081949"/>
                  <a:pt x="1465383" y="1082908"/>
                </a:cubicBezTo>
                <a:cubicBezTo>
                  <a:pt x="1466497" y="1083260"/>
                  <a:pt x="1467611" y="1083612"/>
                  <a:pt x="1468758" y="1083975"/>
                </a:cubicBezTo>
                <a:cubicBezTo>
                  <a:pt x="1473648" y="1085905"/>
                  <a:pt x="1477426" y="1088296"/>
                  <a:pt x="1481688" y="1091187"/>
                </a:cubicBezTo>
                <a:cubicBezTo>
                  <a:pt x="1483204" y="1092193"/>
                  <a:pt x="1484721" y="1093200"/>
                  <a:pt x="1486283" y="1094236"/>
                </a:cubicBezTo>
                <a:cubicBezTo>
                  <a:pt x="1489170" y="1096185"/>
                  <a:pt x="1492029" y="1098166"/>
                  <a:pt x="1494869" y="1100171"/>
                </a:cubicBezTo>
                <a:cubicBezTo>
                  <a:pt x="1510181" y="1107906"/>
                  <a:pt x="1527080" y="1109898"/>
                  <a:pt x="1544335" y="1109518"/>
                </a:cubicBezTo>
                <a:cubicBezTo>
                  <a:pt x="1579932" y="1108798"/>
                  <a:pt x="1579932" y="1108798"/>
                  <a:pt x="1593477" y="1119900"/>
                </a:cubicBezTo>
                <a:cubicBezTo>
                  <a:pt x="1600636" y="1127255"/>
                  <a:pt x="1604889" y="1135120"/>
                  <a:pt x="1605975" y="1144913"/>
                </a:cubicBezTo>
                <a:cubicBezTo>
                  <a:pt x="1607006" y="1144913"/>
                  <a:pt x="1608036" y="1144913"/>
                  <a:pt x="1609099" y="1144913"/>
                </a:cubicBezTo>
                <a:cubicBezTo>
                  <a:pt x="1609227" y="1148907"/>
                  <a:pt x="1609319" y="1152897"/>
                  <a:pt x="1609392" y="1156892"/>
                </a:cubicBezTo>
                <a:cubicBezTo>
                  <a:pt x="1609451" y="1158565"/>
                  <a:pt x="1609451" y="1158565"/>
                  <a:pt x="1609511" y="1160272"/>
                </a:cubicBezTo>
                <a:cubicBezTo>
                  <a:pt x="1609621" y="1168378"/>
                  <a:pt x="1607970" y="1174108"/>
                  <a:pt x="1604412" y="1181553"/>
                </a:cubicBezTo>
                <a:cubicBezTo>
                  <a:pt x="1603354" y="1184367"/>
                  <a:pt x="1602306" y="1187183"/>
                  <a:pt x="1601288" y="1190009"/>
                </a:cubicBezTo>
                <a:cubicBezTo>
                  <a:pt x="1600257" y="1190009"/>
                  <a:pt x="1599226" y="1190009"/>
                  <a:pt x="1598164" y="1190009"/>
                </a:cubicBezTo>
                <a:cubicBezTo>
                  <a:pt x="1597842" y="1190910"/>
                  <a:pt x="1597520" y="1191810"/>
                  <a:pt x="1597187" y="1192739"/>
                </a:cubicBezTo>
                <a:cubicBezTo>
                  <a:pt x="1596479" y="1193698"/>
                  <a:pt x="1595770" y="1194657"/>
                  <a:pt x="1595040" y="1195645"/>
                </a:cubicBezTo>
                <a:cubicBezTo>
                  <a:pt x="1591916" y="1196115"/>
                  <a:pt x="1588791" y="1196585"/>
                  <a:pt x="1585667" y="1197055"/>
                </a:cubicBezTo>
                <a:cubicBezTo>
                  <a:pt x="1583871" y="1199826"/>
                  <a:pt x="1583871" y="1199826"/>
                  <a:pt x="1582543" y="1202691"/>
                </a:cubicBezTo>
                <a:cubicBezTo>
                  <a:pt x="1575997" y="1204710"/>
                  <a:pt x="1569266" y="1204360"/>
                  <a:pt x="1562431" y="1204365"/>
                </a:cubicBezTo>
                <a:cubicBezTo>
                  <a:pt x="1561196" y="1204382"/>
                  <a:pt x="1559962" y="1204399"/>
                  <a:pt x="1558690" y="1204417"/>
                </a:cubicBezTo>
                <a:cubicBezTo>
                  <a:pt x="1543339" y="1204452"/>
                  <a:pt x="1531981" y="1199267"/>
                  <a:pt x="1521102" y="1189585"/>
                </a:cubicBezTo>
                <a:cubicBezTo>
                  <a:pt x="1515403" y="1183953"/>
                  <a:pt x="1510116" y="1178123"/>
                  <a:pt x="1505022" y="1172041"/>
                </a:cubicBezTo>
                <a:cubicBezTo>
                  <a:pt x="1493200" y="1158177"/>
                  <a:pt x="1475492" y="1147115"/>
                  <a:pt x="1457573" y="1140686"/>
                </a:cubicBezTo>
                <a:cubicBezTo>
                  <a:pt x="1457573" y="1139755"/>
                  <a:pt x="1457573" y="1138826"/>
                  <a:pt x="1457573" y="1137867"/>
                </a:cubicBezTo>
                <a:cubicBezTo>
                  <a:pt x="1456059" y="1137693"/>
                  <a:pt x="1454544" y="1137518"/>
                  <a:pt x="1452985" y="1137339"/>
                </a:cubicBezTo>
                <a:cubicBezTo>
                  <a:pt x="1451406" y="1137048"/>
                  <a:pt x="1449827" y="1136758"/>
                  <a:pt x="1448200" y="1136458"/>
                </a:cubicBezTo>
                <a:cubicBezTo>
                  <a:pt x="1447685" y="1135528"/>
                  <a:pt x="1447169" y="1134598"/>
                  <a:pt x="1446638" y="1133640"/>
                </a:cubicBezTo>
                <a:cubicBezTo>
                  <a:pt x="1444091" y="1132586"/>
                  <a:pt x="1441535" y="1131550"/>
                  <a:pt x="1438937" y="1130601"/>
                </a:cubicBezTo>
                <a:cubicBezTo>
                  <a:pt x="1435668" y="1129399"/>
                  <a:pt x="1432469" y="1128095"/>
                  <a:pt x="1429260" y="1126770"/>
                </a:cubicBezTo>
                <a:cubicBezTo>
                  <a:pt x="1423389" y="1124389"/>
                  <a:pt x="1417431" y="1122349"/>
                  <a:pt x="1411393" y="1120340"/>
                </a:cubicBezTo>
                <a:cubicBezTo>
                  <a:pt x="1404143" y="1117867"/>
                  <a:pt x="1397842" y="1115090"/>
                  <a:pt x="1391427" y="1111191"/>
                </a:cubicBezTo>
                <a:cubicBezTo>
                  <a:pt x="1388139" y="1109274"/>
                  <a:pt x="1384723" y="1108010"/>
                  <a:pt x="1381029" y="1106865"/>
                </a:cubicBezTo>
                <a:cubicBezTo>
                  <a:pt x="1381029" y="1105934"/>
                  <a:pt x="1381029" y="1105004"/>
                  <a:pt x="1381029" y="1104046"/>
                </a:cubicBezTo>
                <a:cubicBezTo>
                  <a:pt x="1379773" y="1103901"/>
                  <a:pt x="1378516" y="1103755"/>
                  <a:pt x="1377221" y="1103605"/>
                </a:cubicBezTo>
                <a:cubicBezTo>
                  <a:pt x="1370425" y="1102422"/>
                  <a:pt x="1364120" y="1100465"/>
                  <a:pt x="1357597" y="1098409"/>
                </a:cubicBezTo>
                <a:cubicBezTo>
                  <a:pt x="1355761" y="1097857"/>
                  <a:pt x="1353924" y="1097304"/>
                  <a:pt x="1352032" y="1096736"/>
                </a:cubicBezTo>
                <a:cubicBezTo>
                  <a:pt x="1350776" y="1096358"/>
                  <a:pt x="1349519" y="1095980"/>
                  <a:pt x="1348225" y="1095590"/>
                </a:cubicBezTo>
                <a:cubicBezTo>
                  <a:pt x="1348225" y="1094661"/>
                  <a:pt x="1348225" y="1093730"/>
                  <a:pt x="1348225" y="1092772"/>
                </a:cubicBezTo>
                <a:cubicBezTo>
                  <a:pt x="1344616" y="1092307"/>
                  <a:pt x="1341007" y="1091842"/>
                  <a:pt x="1337290" y="1091363"/>
                </a:cubicBezTo>
                <a:cubicBezTo>
                  <a:pt x="1337290" y="1090433"/>
                  <a:pt x="1337290" y="1089503"/>
                  <a:pt x="1337290" y="1088544"/>
                </a:cubicBezTo>
                <a:cubicBezTo>
                  <a:pt x="1334438" y="1088327"/>
                  <a:pt x="1334438" y="1088327"/>
                  <a:pt x="1331529" y="1088104"/>
                </a:cubicBezTo>
                <a:lnTo>
                  <a:pt x="1323297" y="1086611"/>
                </a:lnTo>
                <a:lnTo>
                  <a:pt x="1323297" y="1087618"/>
                </a:lnTo>
                <a:cubicBezTo>
                  <a:pt x="1322139" y="1087517"/>
                  <a:pt x="1320982" y="1087415"/>
                  <a:pt x="1319789" y="1087310"/>
                </a:cubicBezTo>
                <a:cubicBezTo>
                  <a:pt x="1300429" y="1085771"/>
                  <a:pt x="1281330" y="1084680"/>
                  <a:pt x="1262375" y="1089028"/>
                </a:cubicBezTo>
                <a:lnTo>
                  <a:pt x="1258728" y="1088205"/>
                </a:lnTo>
                <a:lnTo>
                  <a:pt x="1246964" y="1091489"/>
                </a:lnTo>
                <a:cubicBezTo>
                  <a:pt x="1237239" y="1097222"/>
                  <a:pt x="1228703" y="1103434"/>
                  <a:pt x="1223224" y="1112865"/>
                </a:cubicBezTo>
                <a:cubicBezTo>
                  <a:pt x="1220867" y="1116643"/>
                  <a:pt x="1217262" y="1119317"/>
                  <a:pt x="1213883" y="1122366"/>
                </a:cubicBezTo>
                <a:cubicBezTo>
                  <a:pt x="1213428" y="1123469"/>
                  <a:pt x="1212973" y="1124572"/>
                  <a:pt x="1212505" y="1125708"/>
                </a:cubicBezTo>
                <a:cubicBezTo>
                  <a:pt x="1210449" y="1130067"/>
                  <a:pt x="1207984" y="1132315"/>
                  <a:pt x="1204180" y="1135561"/>
                </a:cubicBezTo>
                <a:cubicBezTo>
                  <a:pt x="1202879" y="1136695"/>
                  <a:pt x="1201578" y="1137829"/>
                  <a:pt x="1200238" y="1138999"/>
                </a:cubicBezTo>
                <a:cubicBezTo>
                  <a:pt x="1197504" y="1141343"/>
                  <a:pt x="1194765" y="1143684"/>
                  <a:pt x="1192025" y="1146022"/>
                </a:cubicBezTo>
                <a:cubicBezTo>
                  <a:pt x="1181899" y="1154869"/>
                  <a:pt x="1174983" y="1161763"/>
                  <a:pt x="1173945" y="1174749"/>
                </a:cubicBezTo>
                <a:cubicBezTo>
                  <a:pt x="1173902" y="1177369"/>
                  <a:pt x="1173905" y="1179990"/>
                  <a:pt x="1173950" y="1182610"/>
                </a:cubicBezTo>
                <a:cubicBezTo>
                  <a:pt x="1173963" y="1183981"/>
                  <a:pt x="1173975" y="1185352"/>
                  <a:pt x="1173989" y="1186765"/>
                </a:cubicBezTo>
                <a:cubicBezTo>
                  <a:pt x="1174321" y="1197573"/>
                  <a:pt x="1176809" y="1205883"/>
                  <a:pt x="1182640" y="1215374"/>
                </a:cubicBezTo>
                <a:cubicBezTo>
                  <a:pt x="1183703" y="1217509"/>
                  <a:pt x="1184746" y="1219652"/>
                  <a:pt x="1185764" y="1221804"/>
                </a:cubicBezTo>
                <a:cubicBezTo>
                  <a:pt x="1186271" y="1222812"/>
                  <a:pt x="1186779" y="1223821"/>
                  <a:pt x="1187301" y="1224859"/>
                </a:cubicBezTo>
                <a:cubicBezTo>
                  <a:pt x="1188431" y="1227137"/>
                  <a:pt x="1189517" y="1229433"/>
                  <a:pt x="1190573" y="1231740"/>
                </a:cubicBezTo>
                <a:cubicBezTo>
                  <a:pt x="1194650" y="1240409"/>
                  <a:pt x="1199581" y="1247688"/>
                  <a:pt x="1205925" y="1255163"/>
                </a:cubicBezTo>
                <a:cubicBezTo>
                  <a:pt x="1208103" y="1257757"/>
                  <a:pt x="1210188" y="1260417"/>
                  <a:pt x="1212174" y="1263134"/>
                </a:cubicBezTo>
                <a:cubicBezTo>
                  <a:pt x="1218757" y="1272043"/>
                  <a:pt x="1225157" y="1277324"/>
                  <a:pt x="1235556" y="1282538"/>
                </a:cubicBezTo>
                <a:cubicBezTo>
                  <a:pt x="1236652" y="1283161"/>
                  <a:pt x="1237747" y="1283784"/>
                  <a:pt x="1238876" y="1284426"/>
                </a:cubicBezTo>
                <a:cubicBezTo>
                  <a:pt x="1238876" y="1285356"/>
                  <a:pt x="1238876" y="1286287"/>
                  <a:pt x="1238876" y="1287245"/>
                </a:cubicBezTo>
                <a:cubicBezTo>
                  <a:pt x="1239988" y="1287383"/>
                  <a:pt x="1241099" y="1287521"/>
                  <a:pt x="1242245" y="1287663"/>
                </a:cubicBezTo>
                <a:cubicBezTo>
                  <a:pt x="1253043" y="1290072"/>
                  <a:pt x="1264916" y="1297690"/>
                  <a:pt x="1271681" y="1305565"/>
                </a:cubicBezTo>
                <a:lnTo>
                  <a:pt x="1271742" y="1306172"/>
                </a:lnTo>
                <a:lnTo>
                  <a:pt x="1278525" y="1315767"/>
                </a:lnTo>
                <a:cubicBezTo>
                  <a:pt x="1279797" y="1319398"/>
                  <a:pt x="1280365" y="1323346"/>
                  <a:pt x="1281097" y="1327286"/>
                </a:cubicBezTo>
                <a:cubicBezTo>
                  <a:pt x="1281916" y="1337121"/>
                  <a:pt x="1281807" y="1346176"/>
                  <a:pt x="1277973" y="1355470"/>
                </a:cubicBezTo>
                <a:lnTo>
                  <a:pt x="1277460" y="1347025"/>
                </a:lnTo>
                <a:lnTo>
                  <a:pt x="1273531" y="1357991"/>
                </a:lnTo>
                <a:cubicBezTo>
                  <a:pt x="1270940" y="1361892"/>
                  <a:pt x="1267521" y="1365435"/>
                  <a:pt x="1263870" y="1368980"/>
                </a:cubicBezTo>
                <a:cubicBezTo>
                  <a:pt x="1258351" y="1372929"/>
                  <a:pt x="1253850" y="1376026"/>
                  <a:pt x="1246686" y="1376026"/>
                </a:cubicBezTo>
                <a:cubicBezTo>
                  <a:pt x="1246686" y="1376956"/>
                  <a:pt x="1246686" y="1377886"/>
                  <a:pt x="1246686" y="1378844"/>
                </a:cubicBezTo>
                <a:cubicBezTo>
                  <a:pt x="1241676" y="1379009"/>
                  <a:pt x="1236665" y="1379109"/>
                  <a:pt x="1231651" y="1379196"/>
                </a:cubicBezTo>
                <a:cubicBezTo>
                  <a:pt x="1230240" y="1379244"/>
                  <a:pt x="1228828" y="1379291"/>
                  <a:pt x="1227373" y="1379340"/>
                </a:cubicBezTo>
                <a:cubicBezTo>
                  <a:pt x="1218287" y="1379460"/>
                  <a:pt x="1213363" y="1378568"/>
                  <a:pt x="1206071" y="1373207"/>
                </a:cubicBezTo>
                <a:cubicBezTo>
                  <a:pt x="1204751" y="1372742"/>
                  <a:pt x="1203430" y="1372277"/>
                  <a:pt x="1202069" y="1371798"/>
                </a:cubicBezTo>
                <a:cubicBezTo>
                  <a:pt x="1193777" y="1368730"/>
                  <a:pt x="1188124" y="1363294"/>
                  <a:pt x="1184104" y="1356176"/>
                </a:cubicBezTo>
                <a:cubicBezTo>
                  <a:pt x="1180965" y="1349259"/>
                  <a:pt x="1178852" y="1342590"/>
                  <a:pt x="1177270" y="1335247"/>
                </a:cubicBezTo>
                <a:cubicBezTo>
                  <a:pt x="1175525" y="1327352"/>
                  <a:pt x="1172911" y="1320677"/>
                  <a:pt x="1169002" y="1313464"/>
                </a:cubicBezTo>
                <a:cubicBezTo>
                  <a:pt x="1166989" y="1309737"/>
                  <a:pt x="1165215" y="1305976"/>
                  <a:pt x="1163504" y="1302130"/>
                </a:cubicBezTo>
                <a:cubicBezTo>
                  <a:pt x="1163013" y="1301027"/>
                  <a:pt x="1162521" y="1299924"/>
                  <a:pt x="1162015" y="1298788"/>
                </a:cubicBezTo>
                <a:cubicBezTo>
                  <a:pt x="1160770" y="1295700"/>
                  <a:pt x="1160770" y="1295700"/>
                  <a:pt x="1160111" y="1292656"/>
                </a:cubicBezTo>
                <a:cubicBezTo>
                  <a:pt x="1159345" y="1289507"/>
                  <a:pt x="1159345" y="1289507"/>
                  <a:pt x="1154522" y="1287245"/>
                </a:cubicBezTo>
                <a:cubicBezTo>
                  <a:pt x="1153465" y="1284902"/>
                  <a:pt x="1152426" y="1282552"/>
                  <a:pt x="1151398" y="1280199"/>
                </a:cubicBezTo>
                <a:cubicBezTo>
                  <a:pt x="1149056" y="1276983"/>
                  <a:pt x="1146686" y="1273874"/>
                  <a:pt x="1144173" y="1270774"/>
                </a:cubicBezTo>
                <a:cubicBezTo>
                  <a:pt x="1143477" y="1269912"/>
                  <a:pt x="1142782" y="1269049"/>
                  <a:pt x="1142065" y="1268160"/>
                </a:cubicBezTo>
                <a:cubicBezTo>
                  <a:pt x="1139981" y="1265589"/>
                  <a:pt x="1137880" y="1263029"/>
                  <a:pt x="1135776" y="1260470"/>
                </a:cubicBezTo>
                <a:cubicBezTo>
                  <a:pt x="1134647" y="1259076"/>
                  <a:pt x="1133517" y="1257683"/>
                  <a:pt x="1132353" y="1256247"/>
                </a:cubicBezTo>
                <a:cubicBezTo>
                  <a:pt x="1126291" y="1249045"/>
                  <a:pt x="1121408" y="1244606"/>
                  <a:pt x="1112344" y="1240741"/>
                </a:cubicBezTo>
                <a:cubicBezTo>
                  <a:pt x="1110285" y="1239698"/>
                  <a:pt x="1108234" y="1238642"/>
                  <a:pt x="1106193" y="1237570"/>
                </a:cubicBezTo>
                <a:cubicBezTo>
                  <a:pt x="1104615" y="1236756"/>
                  <a:pt x="1103036" y="1235942"/>
                  <a:pt x="1101409" y="1235104"/>
                </a:cubicBezTo>
                <a:cubicBezTo>
                  <a:pt x="1101409" y="1233708"/>
                  <a:pt x="1101409" y="1232313"/>
                  <a:pt x="1101409" y="1230876"/>
                </a:cubicBezTo>
                <a:cubicBezTo>
                  <a:pt x="1089553" y="1230876"/>
                  <a:pt x="1077697" y="1230876"/>
                  <a:pt x="1065480" y="1230876"/>
                </a:cubicBezTo>
                <a:cubicBezTo>
                  <a:pt x="1064965" y="1232271"/>
                  <a:pt x="1064450" y="1233666"/>
                  <a:pt x="1063919" y="1235104"/>
                </a:cubicBezTo>
                <a:cubicBezTo>
                  <a:pt x="1062372" y="1235104"/>
                  <a:pt x="1060826" y="1235104"/>
                  <a:pt x="1059232" y="1235104"/>
                </a:cubicBezTo>
                <a:cubicBezTo>
                  <a:pt x="1059232" y="1236033"/>
                  <a:pt x="1059232" y="1236964"/>
                  <a:pt x="1059232" y="1237922"/>
                </a:cubicBezTo>
                <a:cubicBezTo>
                  <a:pt x="1052964" y="1240850"/>
                  <a:pt x="1046842" y="1243613"/>
                  <a:pt x="1040194" y="1245761"/>
                </a:cubicBezTo>
                <a:cubicBezTo>
                  <a:pt x="1036552" y="1246941"/>
                  <a:pt x="1033682" y="1248088"/>
                  <a:pt x="1030333" y="1249901"/>
                </a:cubicBezTo>
                <a:cubicBezTo>
                  <a:pt x="1025129" y="1252717"/>
                  <a:pt x="1019615" y="1254371"/>
                  <a:pt x="1013931" y="1256242"/>
                </a:cubicBezTo>
                <a:cubicBezTo>
                  <a:pt x="1009870" y="1257688"/>
                  <a:pt x="1008221" y="1258277"/>
                  <a:pt x="1005925" y="1261615"/>
                </a:cubicBezTo>
                <a:cubicBezTo>
                  <a:pt x="1005474" y="1262632"/>
                  <a:pt x="1005023" y="1263649"/>
                  <a:pt x="1004558" y="1264697"/>
                </a:cubicBezTo>
                <a:cubicBezTo>
                  <a:pt x="1004030" y="1265774"/>
                  <a:pt x="1003503" y="1266852"/>
                  <a:pt x="1002959" y="1267961"/>
                </a:cubicBezTo>
                <a:cubicBezTo>
                  <a:pt x="1001408" y="1271808"/>
                  <a:pt x="1000922" y="1274896"/>
                  <a:pt x="1000653" y="1278965"/>
                </a:cubicBezTo>
                <a:cubicBezTo>
                  <a:pt x="1000303" y="1284158"/>
                  <a:pt x="999467" y="1289055"/>
                  <a:pt x="998297" y="1294137"/>
                </a:cubicBezTo>
                <a:cubicBezTo>
                  <a:pt x="996204" y="1304306"/>
                  <a:pt x="996129" y="1314460"/>
                  <a:pt x="996162" y="1324765"/>
                </a:cubicBezTo>
                <a:cubicBezTo>
                  <a:pt x="996163" y="1325782"/>
                  <a:pt x="996163" y="1326799"/>
                  <a:pt x="996164" y="1327846"/>
                </a:cubicBezTo>
                <a:cubicBezTo>
                  <a:pt x="996263" y="1353742"/>
                  <a:pt x="1001081" y="1378188"/>
                  <a:pt x="1007780" y="1403329"/>
                </a:cubicBezTo>
                <a:cubicBezTo>
                  <a:pt x="1008163" y="1404772"/>
                  <a:pt x="1008546" y="1406215"/>
                  <a:pt x="1008940" y="1407701"/>
                </a:cubicBezTo>
                <a:cubicBezTo>
                  <a:pt x="1009316" y="1409030"/>
                  <a:pt x="1009693" y="1410360"/>
                  <a:pt x="1010080" y="1411730"/>
                </a:cubicBezTo>
                <a:cubicBezTo>
                  <a:pt x="1010409" y="1412900"/>
                  <a:pt x="1010737" y="1414071"/>
                  <a:pt x="1011075" y="1415277"/>
                </a:cubicBezTo>
                <a:cubicBezTo>
                  <a:pt x="1012501" y="1418612"/>
                  <a:pt x="1014136" y="1420168"/>
                  <a:pt x="1017055" y="1422530"/>
                </a:cubicBezTo>
                <a:cubicBezTo>
                  <a:pt x="1018770" y="1425162"/>
                  <a:pt x="1018770" y="1425162"/>
                  <a:pt x="1020277" y="1427991"/>
                </a:cubicBezTo>
                <a:cubicBezTo>
                  <a:pt x="1020778" y="1428917"/>
                  <a:pt x="1021280" y="1429844"/>
                  <a:pt x="1021796" y="1430798"/>
                </a:cubicBezTo>
                <a:cubicBezTo>
                  <a:pt x="1023303" y="1433804"/>
                  <a:pt x="1023303" y="1433804"/>
                  <a:pt x="1024579" y="1437239"/>
                </a:cubicBezTo>
                <a:cubicBezTo>
                  <a:pt x="1026915" y="1441803"/>
                  <a:pt x="1030098" y="1444534"/>
                  <a:pt x="1034043" y="1448072"/>
                </a:cubicBezTo>
                <a:lnTo>
                  <a:pt x="1043782" y="1464320"/>
                </a:lnTo>
                <a:lnTo>
                  <a:pt x="1050458" y="1472189"/>
                </a:lnTo>
                <a:cubicBezTo>
                  <a:pt x="1051737" y="1475181"/>
                  <a:pt x="1052277" y="1478513"/>
                  <a:pt x="1052926" y="1482370"/>
                </a:cubicBezTo>
                <a:cubicBezTo>
                  <a:pt x="1053325" y="1487224"/>
                  <a:pt x="1053364" y="1492038"/>
                  <a:pt x="1053316" y="1496903"/>
                </a:cubicBezTo>
                <a:cubicBezTo>
                  <a:pt x="1053328" y="1498142"/>
                  <a:pt x="1053340" y="1499382"/>
                  <a:pt x="1053352" y="1500660"/>
                </a:cubicBezTo>
                <a:cubicBezTo>
                  <a:pt x="1053348" y="1501856"/>
                  <a:pt x="1053344" y="1503052"/>
                  <a:pt x="1053341" y="1504285"/>
                </a:cubicBezTo>
                <a:cubicBezTo>
                  <a:pt x="1053336" y="1505355"/>
                  <a:pt x="1053333" y="1506426"/>
                  <a:pt x="1053329" y="1507529"/>
                </a:cubicBezTo>
                <a:cubicBezTo>
                  <a:pt x="1052876" y="1510927"/>
                  <a:pt x="1051672" y="1513237"/>
                  <a:pt x="1049801" y="1516192"/>
                </a:cubicBezTo>
                <a:lnTo>
                  <a:pt x="1047312" y="1516192"/>
                </a:lnTo>
                <a:lnTo>
                  <a:pt x="1043611" y="1522585"/>
                </a:lnTo>
                <a:cubicBezTo>
                  <a:pt x="1035301" y="1529631"/>
                  <a:pt x="1035301" y="1529631"/>
                  <a:pt x="1029552" y="1529631"/>
                </a:cubicBezTo>
                <a:cubicBezTo>
                  <a:pt x="1029294" y="1530503"/>
                  <a:pt x="1029036" y="1531375"/>
                  <a:pt x="1028771" y="1532273"/>
                </a:cubicBezTo>
                <a:cubicBezTo>
                  <a:pt x="1025795" y="1536076"/>
                  <a:pt x="1022970" y="1536733"/>
                  <a:pt x="1018013" y="1537640"/>
                </a:cubicBezTo>
                <a:cubicBezTo>
                  <a:pt x="1005216" y="1539038"/>
                  <a:pt x="992573" y="1539816"/>
                  <a:pt x="981126" y="1533859"/>
                </a:cubicBezTo>
                <a:cubicBezTo>
                  <a:pt x="979840" y="1533226"/>
                  <a:pt x="978553" y="1532594"/>
                  <a:pt x="977227" y="1531943"/>
                </a:cubicBezTo>
                <a:cubicBezTo>
                  <a:pt x="965286" y="1525877"/>
                  <a:pt x="959626" y="1520520"/>
                  <a:pt x="955376" y="1508751"/>
                </a:cubicBezTo>
                <a:cubicBezTo>
                  <a:pt x="954571" y="1505674"/>
                  <a:pt x="954571" y="1505674"/>
                  <a:pt x="954571" y="1500037"/>
                </a:cubicBezTo>
                <a:cubicBezTo>
                  <a:pt x="953539" y="1500037"/>
                  <a:pt x="952508" y="1500037"/>
                  <a:pt x="951446" y="1500037"/>
                </a:cubicBezTo>
                <a:cubicBezTo>
                  <a:pt x="951361" y="1495986"/>
                  <a:pt x="951299" y="1491935"/>
                  <a:pt x="951251" y="1487883"/>
                </a:cubicBezTo>
                <a:cubicBezTo>
                  <a:pt x="951224" y="1486744"/>
                  <a:pt x="951198" y="1485605"/>
                  <a:pt x="951171" y="1484431"/>
                </a:cubicBezTo>
                <a:cubicBezTo>
                  <a:pt x="951110" y="1477657"/>
                  <a:pt x="952093" y="1472660"/>
                  <a:pt x="954571" y="1466216"/>
                </a:cubicBezTo>
                <a:cubicBezTo>
                  <a:pt x="954867" y="1462451"/>
                  <a:pt x="955016" y="1458876"/>
                  <a:pt x="954961" y="1455118"/>
                </a:cubicBezTo>
                <a:cubicBezTo>
                  <a:pt x="954951" y="1454080"/>
                  <a:pt x="954942" y="1453042"/>
                  <a:pt x="954932" y="1451972"/>
                </a:cubicBezTo>
                <a:cubicBezTo>
                  <a:pt x="954606" y="1435235"/>
                  <a:pt x="952568" y="1419050"/>
                  <a:pt x="945099" y="1403594"/>
                </a:cubicBezTo>
                <a:cubicBezTo>
                  <a:pt x="943714" y="1400177"/>
                  <a:pt x="943046" y="1397128"/>
                  <a:pt x="942366" y="1393553"/>
                </a:cubicBezTo>
                <a:cubicBezTo>
                  <a:pt x="940837" y="1386134"/>
                  <a:pt x="937840" y="1379609"/>
                  <a:pt x="934451" y="1372734"/>
                </a:cubicBezTo>
                <a:cubicBezTo>
                  <a:pt x="932701" y="1368980"/>
                  <a:pt x="932701" y="1368980"/>
                  <a:pt x="931974" y="1365754"/>
                </a:cubicBezTo>
                <a:cubicBezTo>
                  <a:pt x="931699" y="1364958"/>
                  <a:pt x="931422" y="1364162"/>
                  <a:pt x="931138" y="1363343"/>
                </a:cubicBezTo>
                <a:cubicBezTo>
                  <a:pt x="929592" y="1362878"/>
                  <a:pt x="928045" y="1362413"/>
                  <a:pt x="926452" y="1361933"/>
                </a:cubicBezTo>
                <a:cubicBezTo>
                  <a:pt x="921830" y="1355261"/>
                  <a:pt x="920323" y="1348382"/>
                  <a:pt x="918641" y="1340795"/>
                </a:cubicBezTo>
                <a:cubicBezTo>
                  <a:pt x="918133" y="1338914"/>
                  <a:pt x="917616" y="1337034"/>
                  <a:pt x="917079" y="1335158"/>
                </a:cubicBezTo>
                <a:cubicBezTo>
                  <a:pt x="916048" y="1335158"/>
                  <a:pt x="915018" y="1335158"/>
                  <a:pt x="913955" y="1335158"/>
                </a:cubicBezTo>
                <a:cubicBezTo>
                  <a:pt x="913329" y="1333718"/>
                  <a:pt x="912703" y="1332277"/>
                  <a:pt x="912057" y="1330793"/>
                </a:cubicBezTo>
                <a:cubicBezTo>
                  <a:pt x="909497" y="1325424"/>
                  <a:pt x="906114" y="1320822"/>
                  <a:pt x="902142" y="1316222"/>
                </a:cubicBezTo>
                <a:cubicBezTo>
                  <a:pt x="901465" y="1315432"/>
                  <a:pt x="900788" y="1314642"/>
                  <a:pt x="900091" y="1313828"/>
                </a:cubicBezTo>
                <a:cubicBezTo>
                  <a:pt x="893705" y="1306618"/>
                  <a:pt x="886350" y="1301049"/>
                  <a:pt x="878026" y="1295700"/>
                </a:cubicBezTo>
                <a:cubicBezTo>
                  <a:pt x="876595" y="1294594"/>
                  <a:pt x="876595" y="1294594"/>
                  <a:pt x="875134" y="1293465"/>
                </a:cubicBezTo>
                <a:lnTo>
                  <a:pt x="869869" y="1291826"/>
                </a:lnTo>
                <a:lnTo>
                  <a:pt x="862384" y="1291327"/>
                </a:lnTo>
                <a:cubicBezTo>
                  <a:pt x="856441" y="1290067"/>
                  <a:pt x="850461" y="1290346"/>
                  <a:pt x="844390" y="1290461"/>
                </a:cubicBezTo>
                <a:cubicBezTo>
                  <a:pt x="842453" y="1290480"/>
                  <a:pt x="842453" y="1290480"/>
                  <a:pt x="840476" y="1290500"/>
                </a:cubicBezTo>
                <a:cubicBezTo>
                  <a:pt x="837322" y="1290532"/>
                  <a:pt x="834169" y="1290583"/>
                  <a:pt x="831015" y="1290637"/>
                </a:cubicBezTo>
                <a:cubicBezTo>
                  <a:pt x="831015" y="1291568"/>
                  <a:pt x="831015" y="1292498"/>
                  <a:pt x="831015" y="1293456"/>
                </a:cubicBezTo>
                <a:cubicBezTo>
                  <a:pt x="826519" y="1294808"/>
                  <a:pt x="822922" y="1295235"/>
                  <a:pt x="818225" y="1295570"/>
                </a:cubicBezTo>
                <a:lnTo>
                  <a:pt x="796774" y="1297671"/>
                </a:lnTo>
                <a:lnTo>
                  <a:pt x="783646" y="1305736"/>
                </a:lnTo>
                <a:cubicBezTo>
                  <a:pt x="776915" y="1312506"/>
                  <a:pt x="772692" y="1318638"/>
                  <a:pt x="769263" y="1327143"/>
                </a:cubicBezTo>
                <a:cubicBezTo>
                  <a:pt x="767116" y="1332340"/>
                  <a:pt x="767116" y="1332340"/>
                  <a:pt x="764797" y="1334360"/>
                </a:cubicBezTo>
                <a:lnTo>
                  <a:pt x="757875" y="1353503"/>
                </a:lnTo>
                <a:lnTo>
                  <a:pt x="755676" y="1367455"/>
                </a:lnTo>
                <a:lnTo>
                  <a:pt x="750558" y="1399690"/>
                </a:lnTo>
                <a:lnTo>
                  <a:pt x="753057" y="1411256"/>
                </a:lnTo>
                <a:cubicBezTo>
                  <a:pt x="753057" y="1413117"/>
                  <a:pt x="753057" y="1414976"/>
                  <a:pt x="753057" y="1416893"/>
                </a:cubicBezTo>
                <a:cubicBezTo>
                  <a:pt x="754087" y="1416893"/>
                  <a:pt x="755119" y="1416893"/>
                  <a:pt x="756181" y="1416893"/>
                </a:cubicBezTo>
                <a:cubicBezTo>
                  <a:pt x="759348" y="1422607"/>
                  <a:pt x="758101" y="1429902"/>
                  <a:pt x="758133" y="1436182"/>
                </a:cubicBezTo>
                <a:cubicBezTo>
                  <a:pt x="758182" y="1438458"/>
                  <a:pt x="758182" y="1438458"/>
                  <a:pt x="758231" y="1440781"/>
                </a:cubicBezTo>
                <a:cubicBezTo>
                  <a:pt x="758283" y="1450271"/>
                  <a:pt x="758174" y="1458360"/>
                  <a:pt x="750713" y="1465704"/>
                </a:cubicBezTo>
                <a:cubicBezTo>
                  <a:pt x="749940" y="1466193"/>
                  <a:pt x="749167" y="1466681"/>
                  <a:pt x="748370" y="1467185"/>
                </a:cubicBezTo>
                <a:cubicBezTo>
                  <a:pt x="743665" y="1470047"/>
                  <a:pt x="743665" y="1470047"/>
                  <a:pt x="741633" y="1473526"/>
                </a:cubicBezTo>
                <a:cubicBezTo>
                  <a:pt x="737793" y="1477248"/>
                  <a:pt x="733582" y="1477483"/>
                  <a:pt x="728154" y="1478343"/>
                </a:cubicBezTo>
                <a:cubicBezTo>
                  <a:pt x="724855" y="1478778"/>
                  <a:pt x="724855" y="1478778"/>
                  <a:pt x="721814" y="1480308"/>
                </a:cubicBezTo>
                <a:cubicBezTo>
                  <a:pt x="717303" y="1480523"/>
                  <a:pt x="712854" y="1480634"/>
                  <a:pt x="708341" y="1480661"/>
                </a:cubicBezTo>
                <a:cubicBezTo>
                  <a:pt x="707118" y="1480690"/>
                  <a:pt x="705896" y="1480719"/>
                  <a:pt x="704637" y="1480748"/>
                </a:cubicBezTo>
                <a:cubicBezTo>
                  <a:pt x="690446" y="1480834"/>
                  <a:pt x="679632" y="1476246"/>
                  <a:pt x="668507" y="1468418"/>
                </a:cubicBezTo>
                <a:cubicBezTo>
                  <a:pt x="662823" y="1463224"/>
                  <a:pt x="661745" y="1456995"/>
                  <a:pt x="660178" y="1450027"/>
                </a:cubicBezTo>
                <a:cubicBezTo>
                  <a:pt x="659725" y="1446589"/>
                  <a:pt x="659725" y="1446589"/>
                  <a:pt x="657767" y="1445078"/>
                </a:cubicBezTo>
                <a:cubicBezTo>
                  <a:pt x="656859" y="1433686"/>
                  <a:pt x="655965" y="1419178"/>
                  <a:pt x="663369" y="1409390"/>
                </a:cubicBezTo>
                <a:cubicBezTo>
                  <a:pt x="666078" y="1406601"/>
                  <a:pt x="668921" y="1404013"/>
                  <a:pt x="671826" y="1401392"/>
                </a:cubicBezTo>
                <a:cubicBezTo>
                  <a:pt x="675197" y="1397623"/>
                  <a:pt x="677125" y="1394916"/>
                  <a:pt x="678075" y="1390118"/>
                </a:cubicBezTo>
                <a:cubicBezTo>
                  <a:pt x="680137" y="1389653"/>
                  <a:pt x="682199" y="1389188"/>
                  <a:pt x="684323" y="1388709"/>
                </a:cubicBezTo>
                <a:cubicBezTo>
                  <a:pt x="684643" y="1387232"/>
                  <a:pt x="684964" y="1385755"/>
                  <a:pt x="685293" y="1384233"/>
                </a:cubicBezTo>
                <a:cubicBezTo>
                  <a:pt x="685718" y="1382290"/>
                  <a:pt x="686144" y="1380347"/>
                  <a:pt x="686569" y="1378404"/>
                </a:cubicBezTo>
                <a:cubicBezTo>
                  <a:pt x="686885" y="1376945"/>
                  <a:pt x="686885" y="1376945"/>
                  <a:pt x="687207" y="1375456"/>
                </a:cubicBezTo>
                <a:cubicBezTo>
                  <a:pt x="688115" y="1371315"/>
                  <a:pt x="689090" y="1367353"/>
                  <a:pt x="690572" y="1363343"/>
                </a:cubicBezTo>
                <a:cubicBezTo>
                  <a:pt x="692411" y="1350128"/>
                  <a:pt x="692374" y="1336672"/>
                  <a:pt x="692495" y="1323376"/>
                </a:cubicBezTo>
                <a:cubicBezTo>
                  <a:pt x="692524" y="1320586"/>
                  <a:pt x="692574" y="1317796"/>
                  <a:pt x="692625" y="1315006"/>
                </a:cubicBezTo>
                <a:cubicBezTo>
                  <a:pt x="692853" y="1300589"/>
                  <a:pt x="692853" y="1300589"/>
                  <a:pt x="687447" y="1287245"/>
                </a:cubicBezTo>
                <a:cubicBezTo>
                  <a:pt x="685901" y="1286780"/>
                  <a:pt x="684354" y="1286315"/>
                  <a:pt x="682761" y="1285835"/>
                </a:cubicBezTo>
                <a:cubicBezTo>
                  <a:pt x="680876" y="1283743"/>
                  <a:pt x="680876" y="1283743"/>
                  <a:pt x="678954" y="1281608"/>
                </a:cubicBezTo>
                <a:cubicBezTo>
                  <a:pt x="674854" y="1277278"/>
                  <a:pt x="674356" y="1276958"/>
                  <a:pt x="668702" y="1275971"/>
                </a:cubicBezTo>
                <a:cubicBezTo>
                  <a:pt x="666619" y="1274092"/>
                  <a:pt x="664536" y="1272213"/>
                  <a:pt x="662454" y="1270334"/>
                </a:cubicBezTo>
                <a:cubicBezTo>
                  <a:pt x="658341" y="1268566"/>
                  <a:pt x="658341" y="1268566"/>
                  <a:pt x="654643" y="1267516"/>
                </a:cubicBezTo>
                <a:cubicBezTo>
                  <a:pt x="654643" y="1266585"/>
                  <a:pt x="654643" y="1265656"/>
                  <a:pt x="654643" y="1264697"/>
                </a:cubicBezTo>
                <a:cubicBezTo>
                  <a:pt x="653161" y="1264581"/>
                  <a:pt x="651679" y="1264465"/>
                  <a:pt x="650152" y="1264345"/>
                </a:cubicBezTo>
                <a:cubicBezTo>
                  <a:pt x="642318" y="1263373"/>
                  <a:pt x="635297" y="1260465"/>
                  <a:pt x="628087" y="1257651"/>
                </a:cubicBezTo>
                <a:cubicBezTo>
                  <a:pt x="628087" y="1256721"/>
                  <a:pt x="628087" y="1255791"/>
                  <a:pt x="628087" y="1254833"/>
                </a:cubicBezTo>
                <a:cubicBezTo>
                  <a:pt x="627108" y="1254662"/>
                  <a:pt x="626129" y="1254491"/>
                  <a:pt x="625121" y="1254315"/>
                </a:cubicBezTo>
                <a:cubicBezTo>
                  <a:pt x="623845" y="1254079"/>
                  <a:pt x="622568" y="1253843"/>
                  <a:pt x="621252" y="1253600"/>
                </a:cubicBezTo>
                <a:cubicBezTo>
                  <a:pt x="619984" y="1253371"/>
                  <a:pt x="618716" y="1253142"/>
                  <a:pt x="617409" y="1252906"/>
                </a:cubicBezTo>
                <a:cubicBezTo>
                  <a:pt x="614027" y="1252014"/>
                  <a:pt x="614027" y="1252014"/>
                  <a:pt x="610904" y="1249196"/>
                </a:cubicBezTo>
                <a:cubicBezTo>
                  <a:pt x="592259" y="1248653"/>
                  <a:pt x="578635" y="1260869"/>
                  <a:pt x="565739" y="1271742"/>
                </a:cubicBezTo>
                <a:cubicBezTo>
                  <a:pt x="558808" y="1277725"/>
                  <a:pt x="552763" y="1283983"/>
                  <a:pt x="546924" y="1290829"/>
                </a:cubicBezTo>
                <a:cubicBezTo>
                  <a:pt x="545838" y="1292087"/>
                  <a:pt x="544753" y="1293346"/>
                  <a:pt x="543635" y="1294643"/>
                </a:cubicBezTo>
                <a:cubicBezTo>
                  <a:pt x="542650" y="1295813"/>
                  <a:pt x="541666" y="1296983"/>
                  <a:pt x="540651" y="1298188"/>
                </a:cubicBezTo>
                <a:cubicBezTo>
                  <a:pt x="537294" y="1301526"/>
                  <a:pt x="533978" y="1303337"/>
                  <a:pt x="529673" y="1305565"/>
                </a:cubicBezTo>
                <a:cubicBezTo>
                  <a:pt x="527599" y="1308478"/>
                  <a:pt x="527599" y="1308478"/>
                  <a:pt x="526549" y="1311202"/>
                </a:cubicBezTo>
                <a:cubicBezTo>
                  <a:pt x="525518" y="1311202"/>
                  <a:pt x="524487" y="1311202"/>
                  <a:pt x="523425" y="1311202"/>
                </a:cubicBezTo>
                <a:cubicBezTo>
                  <a:pt x="523360" y="1311986"/>
                  <a:pt x="523296" y="1312771"/>
                  <a:pt x="523230" y="1313580"/>
                </a:cubicBezTo>
                <a:cubicBezTo>
                  <a:pt x="521863" y="1316839"/>
                  <a:pt x="521863" y="1316839"/>
                  <a:pt x="517732" y="1319739"/>
                </a:cubicBezTo>
                <a:cubicBezTo>
                  <a:pt x="511111" y="1324565"/>
                  <a:pt x="506875" y="1330731"/>
                  <a:pt x="502239" y="1337096"/>
                </a:cubicBezTo>
                <a:cubicBezTo>
                  <a:pt x="500512" y="1339427"/>
                  <a:pt x="498785" y="1341757"/>
                  <a:pt x="497058" y="1344087"/>
                </a:cubicBezTo>
                <a:cubicBezTo>
                  <a:pt x="495827" y="1345760"/>
                  <a:pt x="495827" y="1345760"/>
                  <a:pt x="494572" y="1347465"/>
                </a:cubicBezTo>
                <a:cubicBezTo>
                  <a:pt x="492366" y="1350414"/>
                  <a:pt x="490094" y="1353304"/>
                  <a:pt x="487776" y="1356181"/>
                </a:cubicBezTo>
                <a:cubicBezTo>
                  <a:pt x="484805" y="1359972"/>
                  <a:pt x="482865" y="1363193"/>
                  <a:pt x="481248" y="1367571"/>
                </a:cubicBezTo>
                <a:cubicBezTo>
                  <a:pt x="480216" y="1367571"/>
                  <a:pt x="479186" y="1367571"/>
                  <a:pt x="478123" y="1367571"/>
                </a:cubicBezTo>
                <a:cubicBezTo>
                  <a:pt x="477963" y="1368558"/>
                  <a:pt x="477801" y="1369547"/>
                  <a:pt x="477635" y="1370565"/>
                </a:cubicBezTo>
                <a:cubicBezTo>
                  <a:pt x="475602" y="1378236"/>
                  <a:pt x="471952" y="1383371"/>
                  <a:pt x="465626" y="1388709"/>
                </a:cubicBezTo>
                <a:cubicBezTo>
                  <a:pt x="462272" y="1392748"/>
                  <a:pt x="462272" y="1392748"/>
                  <a:pt x="461233" y="1397340"/>
                </a:cubicBezTo>
                <a:cubicBezTo>
                  <a:pt x="460030" y="1401461"/>
                  <a:pt x="458298" y="1404501"/>
                  <a:pt x="455765" y="1408086"/>
                </a:cubicBezTo>
                <a:cubicBezTo>
                  <a:pt x="442829" y="1428603"/>
                  <a:pt x="441572" y="1454548"/>
                  <a:pt x="439070" y="1477490"/>
                </a:cubicBezTo>
                <a:cubicBezTo>
                  <a:pt x="437524" y="1477955"/>
                  <a:pt x="435977" y="1478420"/>
                  <a:pt x="434384" y="1478899"/>
                </a:cubicBezTo>
                <a:cubicBezTo>
                  <a:pt x="433739" y="1479916"/>
                  <a:pt x="433095" y="1480933"/>
                  <a:pt x="432431" y="1481982"/>
                </a:cubicBezTo>
                <a:cubicBezTo>
                  <a:pt x="428860" y="1487159"/>
                  <a:pt x="424291" y="1490903"/>
                  <a:pt x="418763" y="1494401"/>
                </a:cubicBezTo>
                <a:cubicBezTo>
                  <a:pt x="417731" y="1494401"/>
                  <a:pt x="416701" y="1494401"/>
                  <a:pt x="415639" y="1494401"/>
                </a:cubicBezTo>
                <a:cubicBezTo>
                  <a:pt x="415639" y="1495330"/>
                  <a:pt x="415639" y="1496260"/>
                  <a:pt x="415639" y="1497219"/>
                </a:cubicBezTo>
                <a:cubicBezTo>
                  <a:pt x="412546" y="1497684"/>
                  <a:pt x="409453" y="1498149"/>
                  <a:pt x="406265" y="1498628"/>
                </a:cubicBezTo>
                <a:cubicBezTo>
                  <a:pt x="406265" y="1499559"/>
                  <a:pt x="406265" y="1500488"/>
                  <a:pt x="406265" y="1501447"/>
                </a:cubicBezTo>
                <a:cubicBezTo>
                  <a:pt x="395955" y="1501447"/>
                  <a:pt x="385645" y="1501447"/>
                  <a:pt x="375023" y="1501447"/>
                </a:cubicBezTo>
                <a:lnTo>
                  <a:pt x="375023" y="1499438"/>
                </a:lnTo>
                <a:lnTo>
                  <a:pt x="374964" y="1499436"/>
                </a:lnTo>
                <a:lnTo>
                  <a:pt x="373179" y="1498628"/>
                </a:lnTo>
                <a:lnTo>
                  <a:pt x="365650" y="1498628"/>
                </a:lnTo>
                <a:lnTo>
                  <a:pt x="363134" y="1494087"/>
                </a:lnTo>
                <a:lnTo>
                  <a:pt x="362171" y="1493651"/>
                </a:lnTo>
                <a:cubicBezTo>
                  <a:pt x="361656" y="1492722"/>
                  <a:pt x="361140" y="1491791"/>
                  <a:pt x="360609" y="1490833"/>
                </a:cubicBezTo>
                <a:cubicBezTo>
                  <a:pt x="361640" y="1490833"/>
                  <a:pt x="362671" y="1490833"/>
                  <a:pt x="363733" y="1490833"/>
                </a:cubicBezTo>
                <a:lnTo>
                  <a:pt x="363733" y="1489980"/>
                </a:lnTo>
                <a:lnTo>
                  <a:pt x="348467" y="1481717"/>
                </a:lnTo>
                <a:lnTo>
                  <a:pt x="343872" y="1461078"/>
                </a:lnTo>
                <a:lnTo>
                  <a:pt x="343656" y="1463649"/>
                </a:lnTo>
                <a:cubicBezTo>
                  <a:pt x="343541" y="1465230"/>
                  <a:pt x="343541" y="1465230"/>
                  <a:pt x="343424" y="1466842"/>
                </a:cubicBezTo>
                <a:cubicBezTo>
                  <a:pt x="342908" y="1466842"/>
                  <a:pt x="342393" y="1466842"/>
                  <a:pt x="341861" y="1466842"/>
                </a:cubicBezTo>
                <a:cubicBezTo>
                  <a:pt x="340987" y="1449564"/>
                  <a:pt x="340999" y="1434331"/>
                  <a:pt x="354143" y="1420549"/>
                </a:cubicBezTo>
                <a:cubicBezTo>
                  <a:pt x="360765" y="1414011"/>
                  <a:pt x="367631" y="1407790"/>
                  <a:pt x="376229" y="1403427"/>
                </a:cubicBezTo>
                <a:lnTo>
                  <a:pt x="379491" y="1404408"/>
                </a:lnTo>
                <a:lnTo>
                  <a:pt x="379710" y="1404210"/>
                </a:lnTo>
                <a:cubicBezTo>
                  <a:pt x="380290" y="1402902"/>
                  <a:pt x="380290" y="1402902"/>
                  <a:pt x="380882" y="1401568"/>
                </a:cubicBezTo>
                <a:cubicBezTo>
                  <a:pt x="383675" y="1397284"/>
                  <a:pt x="387587" y="1395610"/>
                  <a:pt x="392207" y="1392936"/>
                </a:cubicBezTo>
                <a:lnTo>
                  <a:pt x="399542" y="1386774"/>
                </a:lnTo>
                <a:lnTo>
                  <a:pt x="405485" y="1378917"/>
                </a:lnTo>
                <a:cubicBezTo>
                  <a:pt x="408065" y="1375974"/>
                  <a:pt x="410029" y="1372774"/>
                  <a:pt x="412008" y="1369481"/>
                </a:cubicBezTo>
                <a:cubicBezTo>
                  <a:pt x="414759" y="1365166"/>
                  <a:pt x="417963" y="1361131"/>
                  <a:pt x="421130" y="1357057"/>
                </a:cubicBezTo>
                <a:cubicBezTo>
                  <a:pt x="423073" y="1354140"/>
                  <a:pt x="423985" y="1351767"/>
                  <a:pt x="424676" y="1348443"/>
                </a:cubicBezTo>
                <a:lnTo>
                  <a:pt x="427275" y="1348443"/>
                </a:lnTo>
                <a:lnTo>
                  <a:pt x="428135" y="1345727"/>
                </a:lnTo>
                <a:cubicBezTo>
                  <a:pt x="429370" y="1341828"/>
                  <a:pt x="430645" y="1338666"/>
                  <a:pt x="432822" y="1335158"/>
                </a:cubicBezTo>
                <a:cubicBezTo>
                  <a:pt x="433853" y="1335158"/>
                  <a:pt x="434884" y="1335158"/>
                  <a:pt x="435946" y="1335158"/>
                </a:cubicBezTo>
                <a:cubicBezTo>
                  <a:pt x="436526" y="1333385"/>
                  <a:pt x="437106" y="1331613"/>
                  <a:pt x="437704" y="1329786"/>
                </a:cubicBezTo>
                <a:cubicBezTo>
                  <a:pt x="440162" y="1323132"/>
                  <a:pt x="443602" y="1317301"/>
                  <a:pt x="447394" y="1311196"/>
                </a:cubicBezTo>
                <a:cubicBezTo>
                  <a:pt x="456493" y="1296485"/>
                  <a:pt x="463325" y="1281864"/>
                  <a:pt x="469287" y="1265964"/>
                </a:cubicBezTo>
                <a:cubicBezTo>
                  <a:pt x="474589" y="1252134"/>
                  <a:pt x="474589" y="1252134"/>
                  <a:pt x="478178" y="1246787"/>
                </a:cubicBezTo>
                <a:cubicBezTo>
                  <a:pt x="481232" y="1240246"/>
                  <a:pt x="480204" y="1232766"/>
                  <a:pt x="480179" y="1225768"/>
                </a:cubicBezTo>
                <a:cubicBezTo>
                  <a:pt x="480174" y="1222894"/>
                  <a:pt x="480210" y="1220023"/>
                  <a:pt x="480250" y="1217149"/>
                </a:cubicBezTo>
                <a:cubicBezTo>
                  <a:pt x="480260" y="1199291"/>
                  <a:pt x="476718" y="1187768"/>
                  <a:pt x="462972" y="1174827"/>
                </a:cubicBezTo>
                <a:cubicBezTo>
                  <a:pt x="461148" y="1173192"/>
                  <a:pt x="459312" y="1171566"/>
                  <a:pt x="457468" y="1169949"/>
                </a:cubicBezTo>
                <a:cubicBezTo>
                  <a:pt x="451412" y="1164522"/>
                  <a:pt x="445876" y="1158660"/>
                  <a:pt x="440657" y="1152570"/>
                </a:cubicBezTo>
                <a:cubicBezTo>
                  <a:pt x="430474" y="1140786"/>
                  <a:pt x="418230" y="1128998"/>
                  <a:pt x="403142" y="1122366"/>
                </a:cubicBezTo>
                <a:cubicBezTo>
                  <a:pt x="402626" y="1121436"/>
                  <a:pt x="402110" y="1120506"/>
                  <a:pt x="401579" y="1119547"/>
                </a:cubicBezTo>
                <a:cubicBezTo>
                  <a:pt x="390472" y="1115326"/>
                  <a:pt x="375918" y="1114217"/>
                  <a:pt x="364564" y="1118209"/>
                </a:cubicBezTo>
                <a:cubicBezTo>
                  <a:pt x="362278" y="1119428"/>
                  <a:pt x="360026" y="1120704"/>
                  <a:pt x="357822" y="1122041"/>
                </a:cubicBezTo>
                <a:cubicBezTo>
                  <a:pt x="354521" y="1123884"/>
                  <a:pt x="351862" y="1124582"/>
                  <a:pt x="348077" y="1125273"/>
                </a:cubicBezTo>
                <a:cubicBezTo>
                  <a:pt x="341765" y="1126696"/>
                  <a:pt x="339382" y="1128619"/>
                  <a:pt x="334408" y="1132230"/>
                </a:cubicBezTo>
                <a:cubicBezTo>
                  <a:pt x="332284" y="1132909"/>
                  <a:pt x="330131" y="1133519"/>
                  <a:pt x="327964" y="1134080"/>
                </a:cubicBezTo>
                <a:cubicBezTo>
                  <a:pt x="309975" y="1139067"/>
                  <a:pt x="290592" y="1152117"/>
                  <a:pt x="279734" y="1166051"/>
                </a:cubicBezTo>
                <a:cubicBezTo>
                  <a:pt x="277929" y="1169534"/>
                  <a:pt x="277929" y="1169534"/>
                  <a:pt x="276609" y="1173098"/>
                </a:cubicBezTo>
                <a:cubicBezTo>
                  <a:pt x="272413" y="1180804"/>
                  <a:pt x="269322" y="1184144"/>
                  <a:pt x="260988" y="1188599"/>
                </a:cubicBezTo>
                <a:cubicBezTo>
                  <a:pt x="259988" y="1189435"/>
                  <a:pt x="258987" y="1190271"/>
                  <a:pt x="257956" y="1191132"/>
                </a:cubicBezTo>
                <a:lnTo>
                  <a:pt x="243805" y="1196629"/>
                </a:lnTo>
                <a:lnTo>
                  <a:pt x="243805" y="1194236"/>
                </a:lnTo>
                <a:lnTo>
                  <a:pt x="240288" y="1194765"/>
                </a:lnTo>
                <a:lnTo>
                  <a:pt x="243374" y="1194765"/>
                </a:lnTo>
                <a:lnTo>
                  <a:pt x="243374" y="1196797"/>
                </a:lnTo>
                <a:lnTo>
                  <a:pt x="243805" y="1196629"/>
                </a:lnTo>
                <a:lnTo>
                  <a:pt x="243805" y="1197055"/>
                </a:lnTo>
                <a:lnTo>
                  <a:pt x="243374" y="1197055"/>
                </a:lnTo>
                <a:lnTo>
                  <a:pt x="243374" y="1197584"/>
                </a:lnTo>
                <a:lnTo>
                  <a:pt x="241319" y="1197595"/>
                </a:lnTo>
                <a:lnTo>
                  <a:pt x="238009" y="1198881"/>
                </a:lnTo>
                <a:cubicBezTo>
                  <a:pt x="231012" y="1199584"/>
                  <a:pt x="223620" y="1198927"/>
                  <a:pt x="215687" y="1198464"/>
                </a:cubicBezTo>
                <a:lnTo>
                  <a:pt x="215687" y="1197734"/>
                </a:lnTo>
                <a:lnTo>
                  <a:pt x="213936" y="1197744"/>
                </a:lnTo>
                <a:cubicBezTo>
                  <a:pt x="210570" y="1197584"/>
                  <a:pt x="210570" y="1197584"/>
                  <a:pt x="207446" y="1196175"/>
                </a:cubicBezTo>
                <a:lnTo>
                  <a:pt x="207822" y="1195610"/>
                </a:lnTo>
                <a:lnTo>
                  <a:pt x="184737" y="1180936"/>
                </a:lnTo>
                <a:cubicBezTo>
                  <a:pt x="180258" y="1172216"/>
                  <a:pt x="179226" y="1164355"/>
                  <a:pt x="179270" y="1154866"/>
                </a:cubicBezTo>
                <a:cubicBezTo>
                  <a:pt x="179233" y="1153260"/>
                  <a:pt x="179233" y="1153260"/>
                  <a:pt x="179194" y="1151621"/>
                </a:cubicBezTo>
                <a:cubicBezTo>
                  <a:pt x="179182" y="1139523"/>
                  <a:pt x="183658" y="1128837"/>
                  <a:pt x="193195" y="1120065"/>
                </a:cubicBezTo>
                <a:cubicBezTo>
                  <a:pt x="204265" y="1110959"/>
                  <a:pt x="215062" y="1110626"/>
                  <a:pt x="229551" y="1110299"/>
                </a:cubicBezTo>
                <a:cubicBezTo>
                  <a:pt x="240132" y="1110024"/>
                  <a:pt x="250506" y="1109652"/>
                  <a:pt x="260988" y="1108274"/>
                </a:cubicBezTo>
                <a:cubicBezTo>
                  <a:pt x="260988" y="1107344"/>
                  <a:pt x="260988" y="1106413"/>
                  <a:pt x="260988" y="1105455"/>
                </a:cubicBezTo>
                <a:cubicBezTo>
                  <a:pt x="261953" y="1105078"/>
                  <a:pt x="262918" y="1104699"/>
                  <a:pt x="263911" y="1104310"/>
                </a:cubicBezTo>
                <a:cubicBezTo>
                  <a:pt x="272903" y="1100557"/>
                  <a:pt x="279802" y="1096307"/>
                  <a:pt x="286995" y="1090185"/>
                </a:cubicBezTo>
                <a:cubicBezTo>
                  <a:pt x="290956" y="1086897"/>
                  <a:pt x="295114" y="1083955"/>
                  <a:pt x="299358" y="1080970"/>
                </a:cubicBezTo>
                <a:cubicBezTo>
                  <a:pt x="306613" y="1075692"/>
                  <a:pt x="312234" y="1070023"/>
                  <a:pt x="317762" y="1063272"/>
                </a:cubicBezTo>
                <a:cubicBezTo>
                  <a:pt x="320349" y="1060360"/>
                  <a:pt x="320349" y="1060360"/>
                  <a:pt x="325035" y="1057542"/>
                </a:cubicBezTo>
                <a:cubicBezTo>
                  <a:pt x="329912" y="1045734"/>
                  <a:pt x="327928" y="1035103"/>
                  <a:pt x="325328" y="1023104"/>
                </a:cubicBezTo>
                <a:cubicBezTo>
                  <a:pt x="325069" y="1021831"/>
                  <a:pt x="324811" y="1020559"/>
                  <a:pt x="324544" y="1019247"/>
                </a:cubicBezTo>
                <a:cubicBezTo>
                  <a:pt x="322876" y="1011407"/>
                  <a:pt x="320562" y="1004340"/>
                  <a:pt x="317225" y="996945"/>
                </a:cubicBezTo>
                <a:cubicBezTo>
                  <a:pt x="316619" y="995541"/>
                  <a:pt x="316013" y="994137"/>
                  <a:pt x="315388" y="992690"/>
                </a:cubicBezTo>
                <a:cubicBezTo>
                  <a:pt x="306307" y="972561"/>
                  <a:pt x="298931" y="959343"/>
                  <a:pt x="276232" y="950666"/>
                </a:cubicBezTo>
                <a:cubicBezTo>
                  <a:pt x="274810" y="950127"/>
                  <a:pt x="273388" y="949587"/>
                  <a:pt x="271923" y="949031"/>
                </a:cubicBezTo>
                <a:cubicBezTo>
                  <a:pt x="270129" y="948244"/>
                  <a:pt x="270129" y="948244"/>
                  <a:pt x="268299" y="947441"/>
                </a:cubicBezTo>
                <a:cubicBezTo>
                  <a:pt x="247071" y="938140"/>
                  <a:pt x="222259" y="939051"/>
                  <a:pt x="199187" y="938991"/>
                </a:cubicBezTo>
                <a:cubicBezTo>
                  <a:pt x="197383" y="938984"/>
                  <a:pt x="195579" y="938978"/>
                  <a:pt x="193719" y="938971"/>
                </a:cubicBezTo>
                <a:cubicBezTo>
                  <a:pt x="192010" y="938974"/>
                  <a:pt x="190300" y="938977"/>
                  <a:pt x="188539" y="938980"/>
                </a:cubicBezTo>
                <a:cubicBezTo>
                  <a:pt x="187000" y="938981"/>
                  <a:pt x="185460" y="938983"/>
                  <a:pt x="183874" y="938985"/>
                </a:cubicBezTo>
                <a:cubicBezTo>
                  <a:pt x="180148" y="939150"/>
                  <a:pt x="177092" y="939720"/>
                  <a:pt x="173509" y="940576"/>
                </a:cubicBezTo>
                <a:cubicBezTo>
                  <a:pt x="169458" y="940674"/>
                  <a:pt x="165452" y="940710"/>
                  <a:pt x="161403" y="940664"/>
                </a:cubicBezTo>
                <a:cubicBezTo>
                  <a:pt x="160314" y="940658"/>
                  <a:pt x="159224" y="940651"/>
                  <a:pt x="158102" y="940645"/>
                </a:cubicBezTo>
                <a:lnTo>
                  <a:pt x="150875" y="940583"/>
                </a:lnTo>
                <a:lnTo>
                  <a:pt x="148425" y="940717"/>
                </a:lnTo>
                <a:lnTo>
                  <a:pt x="149617" y="940995"/>
                </a:lnTo>
                <a:cubicBezTo>
                  <a:pt x="149617" y="941459"/>
                  <a:pt x="149617" y="941924"/>
                  <a:pt x="149617" y="942404"/>
                </a:cubicBezTo>
                <a:cubicBezTo>
                  <a:pt x="148630" y="942558"/>
                  <a:pt x="147643" y="942712"/>
                  <a:pt x="146627" y="942871"/>
                </a:cubicBezTo>
                <a:cubicBezTo>
                  <a:pt x="134541" y="944804"/>
                  <a:pt x="122553" y="947081"/>
                  <a:pt x="110564" y="949449"/>
                </a:cubicBezTo>
                <a:lnTo>
                  <a:pt x="111283" y="946205"/>
                </a:lnTo>
                <a:lnTo>
                  <a:pt x="101652" y="956078"/>
                </a:lnTo>
                <a:cubicBezTo>
                  <a:pt x="99870" y="957260"/>
                  <a:pt x="99870" y="957260"/>
                  <a:pt x="98052" y="958467"/>
                </a:cubicBezTo>
                <a:cubicBezTo>
                  <a:pt x="75683" y="972989"/>
                  <a:pt x="75683" y="972989"/>
                  <a:pt x="67286" y="972989"/>
                </a:cubicBezTo>
                <a:cubicBezTo>
                  <a:pt x="67286" y="973918"/>
                  <a:pt x="67286" y="974848"/>
                  <a:pt x="67286" y="975807"/>
                </a:cubicBezTo>
                <a:cubicBezTo>
                  <a:pt x="55713" y="979519"/>
                  <a:pt x="43549" y="980689"/>
                  <a:pt x="31942" y="976423"/>
                </a:cubicBezTo>
                <a:cubicBezTo>
                  <a:pt x="19953" y="970870"/>
                  <a:pt x="10774" y="964932"/>
                  <a:pt x="5673" y="953419"/>
                </a:cubicBezTo>
                <a:cubicBezTo>
                  <a:pt x="4801" y="950441"/>
                  <a:pt x="4801" y="950441"/>
                  <a:pt x="4801" y="944804"/>
                </a:cubicBezTo>
                <a:cubicBezTo>
                  <a:pt x="3770" y="944804"/>
                  <a:pt x="2739" y="944804"/>
                  <a:pt x="1676" y="944804"/>
                </a:cubicBezTo>
                <a:cubicBezTo>
                  <a:pt x="-34" y="940174"/>
                  <a:pt x="-41" y="936720"/>
                  <a:pt x="17" y="931857"/>
                </a:cubicBezTo>
                <a:cubicBezTo>
                  <a:pt x="31" y="930325"/>
                  <a:pt x="45" y="928794"/>
                  <a:pt x="59" y="927216"/>
                </a:cubicBezTo>
                <a:cubicBezTo>
                  <a:pt x="78" y="926044"/>
                  <a:pt x="96" y="924873"/>
                  <a:pt x="115" y="923666"/>
                </a:cubicBezTo>
                <a:cubicBezTo>
                  <a:pt x="1145" y="923666"/>
                  <a:pt x="2176" y="923666"/>
                  <a:pt x="3238" y="923666"/>
                </a:cubicBezTo>
                <a:cubicBezTo>
                  <a:pt x="3238" y="921805"/>
                  <a:pt x="3238" y="919945"/>
                  <a:pt x="3238" y="918029"/>
                </a:cubicBezTo>
                <a:cubicBezTo>
                  <a:pt x="4270" y="918029"/>
                  <a:pt x="5300" y="918029"/>
                  <a:pt x="6363" y="918029"/>
                </a:cubicBezTo>
                <a:cubicBezTo>
                  <a:pt x="6459" y="916314"/>
                  <a:pt x="6556" y="914599"/>
                  <a:pt x="6656" y="912832"/>
                </a:cubicBezTo>
                <a:cubicBezTo>
                  <a:pt x="7542" y="906455"/>
                  <a:pt x="10104" y="903750"/>
                  <a:pt x="15736" y="899709"/>
                </a:cubicBezTo>
                <a:lnTo>
                  <a:pt x="17243" y="898894"/>
                </a:lnTo>
                <a:lnTo>
                  <a:pt x="16800" y="898694"/>
                </a:lnTo>
                <a:lnTo>
                  <a:pt x="24988" y="894101"/>
                </a:lnTo>
                <a:lnTo>
                  <a:pt x="26768" y="892399"/>
                </a:lnTo>
                <a:cubicBezTo>
                  <a:pt x="28282" y="891122"/>
                  <a:pt x="29038" y="890483"/>
                  <a:pt x="30198" y="890164"/>
                </a:cubicBezTo>
                <a:lnTo>
                  <a:pt x="32204" y="890054"/>
                </a:lnTo>
                <a:lnTo>
                  <a:pt x="38914" y="886291"/>
                </a:lnTo>
                <a:cubicBezTo>
                  <a:pt x="47169" y="885770"/>
                  <a:pt x="55396" y="885800"/>
                  <a:pt x="63664" y="886011"/>
                </a:cubicBezTo>
                <a:lnTo>
                  <a:pt x="63664" y="886531"/>
                </a:lnTo>
                <a:lnTo>
                  <a:pt x="70784" y="886647"/>
                </a:lnTo>
                <a:cubicBezTo>
                  <a:pt x="74787" y="887000"/>
                  <a:pt x="77233" y="887948"/>
                  <a:pt x="82126" y="889845"/>
                </a:cubicBezTo>
                <a:cubicBezTo>
                  <a:pt x="92427" y="893791"/>
                  <a:pt x="103139" y="893710"/>
                  <a:pt x="114149" y="892663"/>
                </a:cubicBezTo>
                <a:cubicBezTo>
                  <a:pt x="115696" y="891733"/>
                  <a:pt x="117242" y="890803"/>
                  <a:pt x="118836" y="889845"/>
                </a:cubicBezTo>
                <a:cubicBezTo>
                  <a:pt x="123097" y="888850"/>
                  <a:pt x="127325" y="887944"/>
                  <a:pt x="131626" y="887114"/>
                </a:cubicBezTo>
                <a:cubicBezTo>
                  <a:pt x="139750" y="885542"/>
                  <a:pt x="147376" y="883653"/>
                  <a:pt x="155116" y="880913"/>
                </a:cubicBezTo>
                <a:cubicBezTo>
                  <a:pt x="158498" y="879775"/>
                  <a:pt x="161861" y="879076"/>
                  <a:pt x="165406" y="878483"/>
                </a:cubicBezTo>
                <a:cubicBezTo>
                  <a:pt x="170342" y="877655"/>
                  <a:pt x="172265" y="876971"/>
                  <a:pt x="176634" y="874343"/>
                </a:cubicBezTo>
                <a:cubicBezTo>
                  <a:pt x="179863" y="873335"/>
                  <a:pt x="183123" y="872404"/>
                  <a:pt x="186397" y="871524"/>
                </a:cubicBezTo>
                <a:cubicBezTo>
                  <a:pt x="189107" y="870786"/>
                  <a:pt x="189107" y="870786"/>
                  <a:pt x="191871" y="870033"/>
                </a:cubicBezTo>
                <a:cubicBezTo>
                  <a:pt x="195731" y="869023"/>
                  <a:pt x="199587" y="868093"/>
                  <a:pt x="203483" y="867208"/>
                </a:cubicBezTo>
                <a:cubicBezTo>
                  <a:pt x="208339" y="866199"/>
                  <a:pt x="208339" y="866199"/>
                  <a:pt x="211001" y="861660"/>
                </a:cubicBezTo>
                <a:cubicBezTo>
                  <a:pt x="214174" y="860102"/>
                  <a:pt x="214174" y="860102"/>
                  <a:pt x="218031" y="858577"/>
                </a:cubicBezTo>
                <a:cubicBezTo>
                  <a:pt x="236068" y="850629"/>
                  <a:pt x="245199" y="840442"/>
                  <a:pt x="254740" y="825020"/>
                </a:cubicBezTo>
                <a:cubicBezTo>
                  <a:pt x="255771" y="823625"/>
                  <a:pt x="256802" y="822230"/>
                  <a:pt x="257864" y="820792"/>
                </a:cubicBezTo>
                <a:cubicBezTo>
                  <a:pt x="258359" y="817506"/>
                  <a:pt x="258359" y="817506"/>
                  <a:pt x="258318" y="813810"/>
                </a:cubicBezTo>
                <a:cubicBezTo>
                  <a:pt x="258338" y="812388"/>
                  <a:pt x="258358" y="810967"/>
                  <a:pt x="258378" y="809502"/>
                </a:cubicBezTo>
                <a:cubicBezTo>
                  <a:pt x="258382" y="807965"/>
                  <a:pt x="258385" y="806429"/>
                  <a:pt x="258389" y="804845"/>
                </a:cubicBezTo>
                <a:cubicBezTo>
                  <a:pt x="258399" y="803258"/>
                  <a:pt x="258410" y="801671"/>
                  <a:pt x="258420" y="800036"/>
                </a:cubicBezTo>
                <a:cubicBezTo>
                  <a:pt x="258436" y="796670"/>
                  <a:pt x="258443" y="793305"/>
                  <a:pt x="258443" y="789939"/>
                </a:cubicBezTo>
                <a:cubicBezTo>
                  <a:pt x="258450" y="784823"/>
                  <a:pt x="258506" y="779709"/>
                  <a:pt x="258566" y="774594"/>
                </a:cubicBezTo>
                <a:cubicBezTo>
                  <a:pt x="258575" y="771319"/>
                  <a:pt x="258581" y="768045"/>
                  <a:pt x="258584" y="764771"/>
                </a:cubicBezTo>
                <a:cubicBezTo>
                  <a:pt x="258618" y="762495"/>
                  <a:pt x="258618" y="762495"/>
                  <a:pt x="258652" y="760174"/>
                </a:cubicBezTo>
                <a:cubicBezTo>
                  <a:pt x="258586" y="750030"/>
                  <a:pt x="256266" y="742584"/>
                  <a:pt x="251616" y="733421"/>
                </a:cubicBezTo>
                <a:cubicBezTo>
                  <a:pt x="250163" y="729605"/>
                  <a:pt x="248880" y="725752"/>
                  <a:pt x="247613" y="721883"/>
                </a:cubicBezTo>
                <a:cubicBezTo>
                  <a:pt x="245789" y="716328"/>
                  <a:pt x="243913" y="710939"/>
                  <a:pt x="241291" y="705644"/>
                </a:cubicBezTo>
                <a:cubicBezTo>
                  <a:pt x="238691" y="700096"/>
                  <a:pt x="238136" y="695685"/>
                  <a:pt x="237557" y="689735"/>
                </a:cubicBezTo>
                <a:cubicBezTo>
                  <a:pt x="244977" y="685507"/>
                  <a:pt x="244977" y="685507"/>
                  <a:pt x="248492" y="685507"/>
                </a:cubicBezTo>
                <a:cubicBezTo>
                  <a:pt x="248492" y="684112"/>
                  <a:pt x="248492" y="682717"/>
                  <a:pt x="248492" y="681279"/>
                </a:cubicBezTo>
                <a:cubicBezTo>
                  <a:pt x="245914" y="680815"/>
                  <a:pt x="243337" y="680350"/>
                  <a:pt x="240681" y="679870"/>
                </a:cubicBezTo>
                <a:cubicBezTo>
                  <a:pt x="240681" y="678940"/>
                  <a:pt x="240681" y="678010"/>
                  <a:pt x="240681" y="677052"/>
                </a:cubicBezTo>
                <a:cubicBezTo>
                  <a:pt x="239827" y="676917"/>
                  <a:pt x="238973" y="676783"/>
                  <a:pt x="238094" y="676645"/>
                </a:cubicBezTo>
                <a:cubicBezTo>
                  <a:pt x="233442" y="675371"/>
                  <a:pt x="229939" y="673242"/>
                  <a:pt x="225841" y="670886"/>
                </a:cubicBezTo>
                <a:cubicBezTo>
                  <a:pt x="217808" y="666564"/>
                  <a:pt x="210635" y="664241"/>
                  <a:pt x="201531" y="662508"/>
                </a:cubicBezTo>
                <a:cubicBezTo>
                  <a:pt x="196896" y="661541"/>
                  <a:pt x="192682" y="660199"/>
                  <a:pt x="188252" y="658644"/>
                </a:cubicBezTo>
                <a:lnTo>
                  <a:pt x="182431" y="657327"/>
                </a:lnTo>
                <a:lnTo>
                  <a:pt x="182431" y="657613"/>
                </a:lnTo>
                <a:cubicBezTo>
                  <a:pt x="170575" y="657148"/>
                  <a:pt x="158718" y="656683"/>
                  <a:pt x="146503" y="656204"/>
                </a:cubicBezTo>
                <a:cubicBezTo>
                  <a:pt x="146503" y="657133"/>
                  <a:pt x="146503" y="658064"/>
                  <a:pt x="146503" y="659022"/>
                </a:cubicBezTo>
                <a:cubicBezTo>
                  <a:pt x="134359" y="662326"/>
                  <a:pt x="123013" y="663700"/>
                  <a:pt x="110378" y="663778"/>
                </a:cubicBezTo>
                <a:cubicBezTo>
                  <a:pt x="108435" y="663806"/>
                  <a:pt x="108435" y="663806"/>
                  <a:pt x="106453" y="663836"/>
                </a:cubicBezTo>
                <a:cubicBezTo>
                  <a:pt x="105231" y="663828"/>
                  <a:pt x="104009" y="663820"/>
                  <a:pt x="102751" y="663811"/>
                </a:cubicBezTo>
                <a:cubicBezTo>
                  <a:pt x="101117" y="663804"/>
                  <a:pt x="101117" y="663804"/>
                  <a:pt x="99449" y="663797"/>
                </a:cubicBezTo>
                <a:cubicBezTo>
                  <a:pt x="95696" y="663097"/>
                  <a:pt x="94265" y="661615"/>
                  <a:pt x="91828" y="659022"/>
                </a:cubicBezTo>
                <a:cubicBezTo>
                  <a:pt x="93890" y="659022"/>
                  <a:pt x="95953" y="659022"/>
                  <a:pt x="98077" y="659022"/>
                </a:cubicBezTo>
                <a:cubicBezTo>
                  <a:pt x="98077" y="659952"/>
                  <a:pt x="98077" y="660882"/>
                  <a:pt x="98077" y="661841"/>
                </a:cubicBezTo>
                <a:cubicBezTo>
                  <a:pt x="108735" y="662045"/>
                  <a:pt x="114063" y="662148"/>
                  <a:pt x="119023" y="661357"/>
                </a:cubicBezTo>
                <a:lnTo>
                  <a:pt x="119536" y="661197"/>
                </a:lnTo>
                <a:lnTo>
                  <a:pt x="109853" y="661639"/>
                </a:lnTo>
                <a:cubicBezTo>
                  <a:pt x="108764" y="661632"/>
                  <a:pt x="107675" y="661626"/>
                  <a:pt x="106552" y="661619"/>
                </a:cubicBezTo>
                <a:cubicBezTo>
                  <a:pt x="103877" y="661603"/>
                  <a:pt x="101203" y="661577"/>
                  <a:pt x="98528" y="661550"/>
                </a:cubicBezTo>
                <a:cubicBezTo>
                  <a:pt x="98528" y="660620"/>
                  <a:pt x="98528" y="659691"/>
                  <a:pt x="98528" y="658732"/>
                </a:cubicBezTo>
                <a:cubicBezTo>
                  <a:pt x="95435" y="658267"/>
                  <a:pt x="92342" y="657802"/>
                  <a:pt x="89155" y="657323"/>
                </a:cubicBezTo>
                <a:cubicBezTo>
                  <a:pt x="89155" y="656393"/>
                  <a:pt x="89155" y="655462"/>
                  <a:pt x="89155" y="654504"/>
                </a:cubicBezTo>
                <a:cubicBezTo>
                  <a:pt x="87790" y="653978"/>
                  <a:pt x="87790" y="653978"/>
                  <a:pt x="86397" y="653442"/>
                </a:cubicBezTo>
                <a:cubicBezTo>
                  <a:pt x="82415" y="651438"/>
                  <a:pt x="80039" y="649232"/>
                  <a:pt x="77049" y="646137"/>
                </a:cubicBezTo>
                <a:cubicBezTo>
                  <a:pt x="75611" y="644679"/>
                  <a:pt x="75611" y="644679"/>
                  <a:pt x="74145" y="643192"/>
                </a:cubicBezTo>
                <a:cubicBezTo>
                  <a:pt x="71972" y="640412"/>
                  <a:pt x="71972" y="640412"/>
                  <a:pt x="71972" y="636185"/>
                </a:cubicBezTo>
                <a:cubicBezTo>
                  <a:pt x="70941" y="636185"/>
                  <a:pt x="69910" y="636185"/>
                  <a:pt x="68848" y="636185"/>
                </a:cubicBezTo>
                <a:cubicBezTo>
                  <a:pt x="64250" y="621928"/>
                  <a:pt x="64695" y="609404"/>
                  <a:pt x="70410" y="595317"/>
                </a:cubicBezTo>
                <a:cubicBezTo>
                  <a:pt x="73096" y="591142"/>
                  <a:pt x="76144" y="587574"/>
                  <a:pt x="79782" y="584043"/>
                </a:cubicBezTo>
                <a:cubicBezTo>
                  <a:pt x="81205" y="582594"/>
                  <a:pt x="81205" y="582594"/>
                  <a:pt x="82656" y="581115"/>
                </a:cubicBezTo>
                <a:cubicBezTo>
                  <a:pt x="91488" y="574027"/>
                  <a:pt x="105133" y="571806"/>
                  <a:pt x="116694" y="572323"/>
                </a:cubicBezTo>
                <a:cubicBezTo>
                  <a:pt x="131556" y="574113"/>
                  <a:pt x="142046" y="580551"/>
                  <a:pt x="152031" y="590385"/>
                </a:cubicBezTo>
                <a:cubicBezTo>
                  <a:pt x="162272" y="600009"/>
                  <a:pt x="176992" y="605062"/>
                  <a:pt x="191474" y="605886"/>
                </a:cubicBezTo>
                <a:cubicBezTo>
                  <a:pt x="196845" y="606192"/>
                  <a:pt x="201203" y="606463"/>
                  <a:pt x="206314" y="608000"/>
                </a:cubicBezTo>
                <a:cubicBezTo>
                  <a:pt x="206314" y="608930"/>
                  <a:pt x="206314" y="609860"/>
                  <a:pt x="206314" y="610818"/>
                </a:cubicBezTo>
                <a:cubicBezTo>
                  <a:pt x="215689" y="610902"/>
                  <a:pt x="225058" y="610898"/>
                  <a:pt x="234433" y="610818"/>
                </a:cubicBezTo>
                <a:cubicBezTo>
                  <a:pt x="236112" y="610813"/>
                  <a:pt x="237791" y="610808"/>
                  <a:pt x="239522" y="610802"/>
                </a:cubicBezTo>
                <a:cubicBezTo>
                  <a:pt x="251005" y="610364"/>
                  <a:pt x="259257" y="606564"/>
                  <a:pt x="268799" y="600954"/>
                </a:cubicBezTo>
                <a:cubicBezTo>
                  <a:pt x="269770" y="600416"/>
                  <a:pt x="270740" y="599879"/>
                  <a:pt x="271740" y="599325"/>
                </a:cubicBezTo>
                <a:cubicBezTo>
                  <a:pt x="279452" y="594430"/>
                  <a:pt x="281420" y="587464"/>
                  <a:pt x="284420" y="579816"/>
                </a:cubicBezTo>
                <a:cubicBezTo>
                  <a:pt x="286047" y="576075"/>
                  <a:pt x="287725" y="572353"/>
                  <a:pt x="289399" y="568630"/>
                </a:cubicBezTo>
                <a:cubicBezTo>
                  <a:pt x="294095" y="558121"/>
                  <a:pt x="299004" y="547070"/>
                  <a:pt x="293958" y="535838"/>
                </a:cubicBezTo>
                <a:cubicBezTo>
                  <a:pt x="292436" y="533533"/>
                  <a:pt x="290781" y="531301"/>
                  <a:pt x="289107" y="529084"/>
                </a:cubicBezTo>
                <a:cubicBezTo>
                  <a:pt x="289107" y="528153"/>
                  <a:pt x="289107" y="527223"/>
                  <a:pt x="289107" y="526265"/>
                </a:cubicBezTo>
                <a:cubicBezTo>
                  <a:pt x="287560" y="525800"/>
                  <a:pt x="286014" y="525335"/>
                  <a:pt x="284420" y="524856"/>
                </a:cubicBezTo>
                <a:cubicBezTo>
                  <a:pt x="283905" y="523461"/>
                  <a:pt x="283389" y="522066"/>
                  <a:pt x="282858" y="520628"/>
                </a:cubicBezTo>
                <a:cubicBezTo>
                  <a:pt x="280750" y="518590"/>
                  <a:pt x="280750" y="518590"/>
                  <a:pt x="277977" y="516577"/>
                </a:cubicBezTo>
                <a:cubicBezTo>
                  <a:pt x="273591" y="513232"/>
                  <a:pt x="269227" y="509874"/>
                  <a:pt x="264925" y="506443"/>
                </a:cubicBezTo>
                <a:cubicBezTo>
                  <a:pt x="253596" y="497433"/>
                  <a:pt x="242132" y="488987"/>
                  <a:pt x="229746" y="481170"/>
                </a:cubicBezTo>
                <a:cubicBezTo>
                  <a:pt x="226846" y="479266"/>
                  <a:pt x="223950" y="477358"/>
                  <a:pt x="221057" y="475445"/>
                </a:cubicBezTo>
                <a:cubicBezTo>
                  <a:pt x="218227" y="473594"/>
                  <a:pt x="215396" y="471744"/>
                  <a:pt x="212563" y="469896"/>
                </a:cubicBezTo>
                <a:cubicBezTo>
                  <a:pt x="211351" y="469102"/>
                  <a:pt x="210138" y="468309"/>
                  <a:pt x="208889" y="467491"/>
                </a:cubicBezTo>
                <a:cubicBezTo>
                  <a:pt x="202848" y="463599"/>
                  <a:pt x="196732" y="459888"/>
                  <a:pt x="190406" y="456382"/>
                </a:cubicBezTo>
                <a:cubicBezTo>
                  <a:pt x="189263" y="455748"/>
                  <a:pt x="188119" y="455114"/>
                  <a:pt x="186942" y="454460"/>
                </a:cubicBezTo>
                <a:cubicBezTo>
                  <a:pt x="184648" y="453196"/>
                  <a:pt x="182348" y="451941"/>
                  <a:pt x="180041" y="450696"/>
                </a:cubicBezTo>
                <a:cubicBezTo>
                  <a:pt x="177292" y="449185"/>
                  <a:pt x="174612" y="447571"/>
                  <a:pt x="171948" y="445940"/>
                </a:cubicBezTo>
                <a:cubicBezTo>
                  <a:pt x="171948" y="445009"/>
                  <a:pt x="171948" y="444079"/>
                  <a:pt x="171948" y="443121"/>
                </a:cubicBezTo>
                <a:cubicBezTo>
                  <a:pt x="170804" y="442985"/>
                  <a:pt x="169660" y="442848"/>
                  <a:pt x="168482" y="442708"/>
                </a:cubicBezTo>
                <a:cubicBezTo>
                  <a:pt x="163547" y="441576"/>
                  <a:pt x="161063" y="439897"/>
                  <a:pt x="157107" y="437044"/>
                </a:cubicBezTo>
                <a:cubicBezTo>
                  <a:pt x="149345" y="431895"/>
                  <a:pt x="141843" y="429626"/>
                  <a:pt x="132559" y="427510"/>
                </a:cubicBezTo>
                <a:cubicBezTo>
                  <a:pt x="128067" y="426168"/>
                  <a:pt x="126607" y="425060"/>
                  <a:pt x="123522" y="421983"/>
                </a:cubicBezTo>
                <a:cubicBezTo>
                  <a:pt x="118310" y="419033"/>
                  <a:pt x="114076" y="418794"/>
                  <a:pt x="107986" y="418730"/>
                </a:cubicBezTo>
                <a:cubicBezTo>
                  <a:pt x="106174" y="418694"/>
                  <a:pt x="104362" y="418659"/>
                  <a:pt x="102494" y="418622"/>
                </a:cubicBezTo>
                <a:cubicBezTo>
                  <a:pt x="98715" y="418573"/>
                  <a:pt x="94936" y="418529"/>
                  <a:pt x="91157" y="418490"/>
                </a:cubicBezTo>
                <a:cubicBezTo>
                  <a:pt x="78470" y="418231"/>
                  <a:pt x="65485" y="417940"/>
                  <a:pt x="55277" y="410445"/>
                </a:cubicBezTo>
                <a:cubicBezTo>
                  <a:pt x="54084" y="409137"/>
                  <a:pt x="52893" y="407829"/>
                  <a:pt x="51665" y="406481"/>
                </a:cubicBezTo>
                <a:cubicBezTo>
                  <a:pt x="49752" y="404480"/>
                  <a:pt x="47831" y="402483"/>
                  <a:pt x="45904" y="400492"/>
                </a:cubicBezTo>
                <a:cubicBezTo>
                  <a:pt x="44996" y="399526"/>
                  <a:pt x="44088" y="398559"/>
                  <a:pt x="43152" y="397564"/>
                </a:cubicBezTo>
                <a:cubicBezTo>
                  <a:pt x="40865" y="395062"/>
                  <a:pt x="40865" y="395062"/>
                  <a:pt x="37605" y="393798"/>
                </a:cubicBezTo>
                <a:lnTo>
                  <a:pt x="38995" y="368712"/>
                </a:lnTo>
                <a:lnTo>
                  <a:pt x="38666" y="369724"/>
                </a:lnTo>
                <a:cubicBezTo>
                  <a:pt x="37003" y="374506"/>
                  <a:pt x="36202" y="379113"/>
                  <a:pt x="35542" y="384081"/>
                </a:cubicBezTo>
                <a:cubicBezTo>
                  <a:pt x="30313" y="376119"/>
                  <a:pt x="31188" y="366593"/>
                  <a:pt x="33326" y="357791"/>
                </a:cubicBezTo>
                <a:cubicBezTo>
                  <a:pt x="37176" y="347767"/>
                  <a:pt x="44536" y="340769"/>
                  <a:pt x="52725" y="333349"/>
                </a:cubicBezTo>
                <a:lnTo>
                  <a:pt x="55222" y="334475"/>
                </a:lnTo>
                <a:lnTo>
                  <a:pt x="56222" y="333347"/>
                </a:lnTo>
                <a:lnTo>
                  <a:pt x="55871" y="333347"/>
                </a:lnTo>
                <a:lnTo>
                  <a:pt x="56346" y="333207"/>
                </a:lnTo>
                <a:lnTo>
                  <a:pt x="56351" y="333202"/>
                </a:lnTo>
                <a:lnTo>
                  <a:pt x="56365" y="333202"/>
                </a:lnTo>
                <a:lnTo>
                  <a:pt x="79571" y="326360"/>
                </a:lnTo>
                <a:cubicBezTo>
                  <a:pt x="87782" y="326037"/>
                  <a:pt x="96164" y="327572"/>
                  <a:pt x="104297" y="330529"/>
                </a:cubicBezTo>
                <a:lnTo>
                  <a:pt x="107170" y="334417"/>
                </a:lnTo>
                <a:lnTo>
                  <a:pt x="109366" y="336046"/>
                </a:lnTo>
                <a:lnTo>
                  <a:pt x="109463" y="336020"/>
                </a:lnTo>
                <a:lnTo>
                  <a:pt x="109463" y="336118"/>
                </a:lnTo>
                <a:lnTo>
                  <a:pt x="115226" y="340394"/>
                </a:lnTo>
                <a:lnTo>
                  <a:pt x="114010" y="340120"/>
                </a:lnTo>
                <a:lnTo>
                  <a:pt x="133285" y="357423"/>
                </a:lnTo>
                <a:cubicBezTo>
                  <a:pt x="142471" y="373187"/>
                  <a:pt x="155564" y="382744"/>
                  <a:pt x="173509" y="389571"/>
                </a:cubicBezTo>
                <a:cubicBezTo>
                  <a:pt x="176254" y="390785"/>
                  <a:pt x="178988" y="392017"/>
                  <a:pt x="181711" y="393270"/>
                </a:cubicBezTo>
                <a:cubicBezTo>
                  <a:pt x="182964" y="393833"/>
                  <a:pt x="184216" y="394396"/>
                  <a:pt x="185507" y="394976"/>
                </a:cubicBezTo>
                <a:cubicBezTo>
                  <a:pt x="187897" y="396058"/>
                  <a:pt x="190281" y="397151"/>
                  <a:pt x="192658" y="398257"/>
                </a:cubicBezTo>
                <a:cubicBezTo>
                  <a:pt x="193749" y="398762"/>
                  <a:pt x="194841" y="399267"/>
                  <a:pt x="195966" y="399788"/>
                </a:cubicBezTo>
                <a:cubicBezTo>
                  <a:pt x="196912" y="400231"/>
                  <a:pt x="197858" y="400674"/>
                  <a:pt x="198833" y="401131"/>
                </a:cubicBezTo>
                <a:cubicBezTo>
                  <a:pt x="201808" y="402326"/>
                  <a:pt x="204701" y="403032"/>
                  <a:pt x="207877" y="403663"/>
                </a:cubicBezTo>
                <a:cubicBezTo>
                  <a:pt x="207877" y="404593"/>
                  <a:pt x="207877" y="405523"/>
                  <a:pt x="207877" y="406481"/>
                </a:cubicBezTo>
                <a:cubicBezTo>
                  <a:pt x="221233" y="411377"/>
                  <a:pt x="234752" y="415503"/>
                  <a:pt x="248492" y="419428"/>
                </a:cubicBezTo>
                <a:cubicBezTo>
                  <a:pt x="250298" y="419947"/>
                  <a:pt x="252104" y="420466"/>
                  <a:pt x="253965" y="421000"/>
                </a:cubicBezTo>
                <a:cubicBezTo>
                  <a:pt x="258388" y="422270"/>
                  <a:pt x="262812" y="423537"/>
                  <a:pt x="267237" y="424801"/>
                </a:cubicBezTo>
                <a:lnTo>
                  <a:pt x="267237" y="426451"/>
                </a:lnTo>
                <a:lnTo>
                  <a:pt x="288701" y="429217"/>
                </a:lnTo>
                <a:cubicBezTo>
                  <a:pt x="288701" y="430147"/>
                  <a:pt x="288701" y="431078"/>
                  <a:pt x="288701" y="432036"/>
                </a:cubicBezTo>
                <a:cubicBezTo>
                  <a:pt x="301487" y="433472"/>
                  <a:pt x="314148" y="433662"/>
                  <a:pt x="327010" y="433628"/>
                </a:cubicBezTo>
                <a:cubicBezTo>
                  <a:pt x="330502" y="433621"/>
                  <a:pt x="333994" y="433628"/>
                  <a:pt x="337486" y="433637"/>
                </a:cubicBezTo>
                <a:cubicBezTo>
                  <a:pt x="339734" y="433637"/>
                  <a:pt x="341982" y="433635"/>
                  <a:pt x="344229" y="433632"/>
                </a:cubicBezTo>
                <a:cubicBezTo>
                  <a:pt x="347246" y="433630"/>
                  <a:pt x="347246" y="433630"/>
                  <a:pt x="350323" y="433627"/>
                </a:cubicBezTo>
                <a:cubicBezTo>
                  <a:pt x="355445" y="433459"/>
                  <a:pt x="360220" y="432915"/>
                  <a:pt x="365245" y="432036"/>
                </a:cubicBezTo>
                <a:lnTo>
                  <a:pt x="360797" y="433759"/>
                </a:lnTo>
                <a:lnTo>
                  <a:pt x="365650" y="433257"/>
                </a:lnTo>
                <a:cubicBezTo>
                  <a:pt x="366166" y="431861"/>
                  <a:pt x="366682" y="430466"/>
                  <a:pt x="367213" y="429029"/>
                </a:cubicBezTo>
                <a:cubicBezTo>
                  <a:pt x="369854" y="427628"/>
                  <a:pt x="372501" y="426234"/>
                  <a:pt x="375188" y="424906"/>
                </a:cubicBezTo>
                <a:cubicBezTo>
                  <a:pt x="390245" y="417204"/>
                  <a:pt x="397438" y="403183"/>
                  <a:pt x="404704" y="389571"/>
                </a:cubicBezTo>
                <a:cubicBezTo>
                  <a:pt x="405219" y="389105"/>
                  <a:pt x="405734" y="388641"/>
                  <a:pt x="406265" y="388161"/>
                </a:cubicBezTo>
                <a:cubicBezTo>
                  <a:pt x="406663" y="382152"/>
                  <a:pt x="406555" y="376125"/>
                  <a:pt x="406559" y="370106"/>
                </a:cubicBezTo>
                <a:cubicBezTo>
                  <a:pt x="406578" y="368412"/>
                  <a:pt x="406597" y="366718"/>
                  <a:pt x="406617" y="364973"/>
                </a:cubicBezTo>
                <a:cubicBezTo>
                  <a:pt x="406620" y="363344"/>
                  <a:pt x="406622" y="361715"/>
                  <a:pt x="406626" y="360038"/>
                </a:cubicBezTo>
                <a:cubicBezTo>
                  <a:pt x="406632" y="358541"/>
                  <a:pt x="406638" y="357045"/>
                  <a:pt x="406645" y="355503"/>
                </a:cubicBezTo>
                <a:cubicBezTo>
                  <a:pt x="406264" y="351503"/>
                  <a:pt x="405326" y="349318"/>
                  <a:pt x="403142" y="345885"/>
                </a:cubicBezTo>
                <a:cubicBezTo>
                  <a:pt x="402583" y="343484"/>
                  <a:pt x="402067" y="341075"/>
                  <a:pt x="401579" y="338663"/>
                </a:cubicBezTo>
                <a:cubicBezTo>
                  <a:pt x="399365" y="330323"/>
                  <a:pt x="395538" y="323370"/>
                  <a:pt x="390938" y="315939"/>
                </a:cubicBezTo>
                <a:cubicBezTo>
                  <a:pt x="390290" y="314890"/>
                  <a:pt x="389642" y="313842"/>
                  <a:pt x="388976" y="312762"/>
                </a:cubicBezTo>
                <a:cubicBezTo>
                  <a:pt x="385623" y="307500"/>
                  <a:pt x="382070" y="302607"/>
                  <a:pt x="377934" y="297817"/>
                </a:cubicBezTo>
                <a:cubicBezTo>
                  <a:pt x="373788" y="292978"/>
                  <a:pt x="371423" y="288111"/>
                  <a:pt x="368775" y="282470"/>
                </a:cubicBezTo>
                <a:cubicBezTo>
                  <a:pt x="366035" y="278585"/>
                  <a:pt x="362994" y="274937"/>
                  <a:pt x="359890" y="271284"/>
                </a:cubicBezTo>
                <a:cubicBezTo>
                  <a:pt x="359059" y="270296"/>
                  <a:pt x="358230" y="269307"/>
                  <a:pt x="357374" y="268288"/>
                </a:cubicBezTo>
                <a:cubicBezTo>
                  <a:pt x="351312" y="261177"/>
                  <a:pt x="344882" y="254704"/>
                  <a:pt x="337533" y="248649"/>
                </a:cubicBezTo>
                <a:cubicBezTo>
                  <a:pt x="336767" y="247896"/>
                  <a:pt x="336002" y="247144"/>
                  <a:pt x="335214" y="246369"/>
                </a:cubicBezTo>
                <a:cubicBezTo>
                  <a:pt x="332597" y="243963"/>
                  <a:pt x="332597" y="243963"/>
                  <a:pt x="327085" y="242571"/>
                </a:cubicBezTo>
                <a:cubicBezTo>
                  <a:pt x="309670" y="236923"/>
                  <a:pt x="296614" y="222751"/>
                  <a:pt x="288785" y="207968"/>
                </a:cubicBezTo>
                <a:cubicBezTo>
                  <a:pt x="286673" y="202851"/>
                  <a:pt x="286348" y="197968"/>
                  <a:pt x="286373" y="192544"/>
                </a:cubicBezTo>
                <a:cubicBezTo>
                  <a:pt x="286377" y="191437"/>
                  <a:pt x="286381" y="190330"/>
                  <a:pt x="286385" y="189190"/>
                </a:cubicBezTo>
                <a:cubicBezTo>
                  <a:pt x="286881" y="178340"/>
                  <a:pt x="291581" y="171728"/>
                  <a:pt x="300042" y="164095"/>
                </a:cubicBezTo>
                <a:cubicBezTo>
                  <a:pt x="301386" y="162752"/>
                  <a:pt x="301386" y="162752"/>
                  <a:pt x="302757" y="161381"/>
                </a:cubicBezTo>
                <a:cubicBezTo>
                  <a:pt x="312597" y="152504"/>
                  <a:pt x="325185" y="152675"/>
                  <a:pt x="338411" y="152293"/>
                </a:cubicBezTo>
                <a:cubicBezTo>
                  <a:pt x="350839" y="152463"/>
                  <a:pt x="359094" y="154554"/>
                  <a:pt x="368482" y="161893"/>
                </a:cubicBezTo>
                <a:cubicBezTo>
                  <a:pt x="369609" y="163085"/>
                  <a:pt x="370737" y="164277"/>
                  <a:pt x="371899" y="165505"/>
                </a:cubicBezTo>
                <a:cubicBezTo>
                  <a:pt x="372962" y="166522"/>
                  <a:pt x="374026" y="167539"/>
                  <a:pt x="375121" y="168587"/>
                </a:cubicBezTo>
                <a:cubicBezTo>
                  <a:pt x="381050" y="176351"/>
                  <a:pt x="384520" y="184328"/>
                  <a:pt x="384982" y="193777"/>
                </a:cubicBezTo>
                <a:cubicBezTo>
                  <a:pt x="385464" y="201192"/>
                  <a:pt x="387638" y="207607"/>
                  <a:pt x="390352" y="214563"/>
                </a:cubicBezTo>
                <a:cubicBezTo>
                  <a:pt x="390934" y="216079"/>
                  <a:pt x="390934" y="216079"/>
                  <a:pt x="391529" y="217626"/>
                </a:cubicBezTo>
                <a:cubicBezTo>
                  <a:pt x="394082" y="223926"/>
                  <a:pt x="397412" y="228969"/>
                  <a:pt x="401579" y="234556"/>
                </a:cubicBezTo>
                <a:cubicBezTo>
                  <a:pt x="401579" y="235952"/>
                  <a:pt x="401579" y="237347"/>
                  <a:pt x="401579" y="238784"/>
                </a:cubicBezTo>
                <a:cubicBezTo>
                  <a:pt x="402884" y="239263"/>
                  <a:pt x="402884" y="239263"/>
                  <a:pt x="404215" y="239753"/>
                </a:cubicBezTo>
                <a:cubicBezTo>
                  <a:pt x="410099" y="242765"/>
                  <a:pt x="414395" y="246733"/>
                  <a:pt x="417811" y="251996"/>
                </a:cubicBezTo>
                <a:cubicBezTo>
                  <a:pt x="420462" y="255897"/>
                  <a:pt x="423407" y="258959"/>
                  <a:pt x="426866" y="262300"/>
                </a:cubicBezTo>
                <a:cubicBezTo>
                  <a:pt x="435101" y="270407"/>
                  <a:pt x="442641" y="278936"/>
                  <a:pt x="450097" y="287628"/>
                </a:cubicBezTo>
                <a:cubicBezTo>
                  <a:pt x="453081" y="291117"/>
                  <a:pt x="453081" y="291117"/>
                  <a:pt x="457425" y="293920"/>
                </a:cubicBezTo>
                <a:cubicBezTo>
                  <a:pt x="458585" y="294792"/>
                  <a:pt x="459745" y="295664"/>
                  <a:pt x="460940" y="296562"/>
                </a:cubicBezTo>
                <a:cubicBezTo>
                  <a:pt x="460940" y="297957"/>
                  <a:pt x="460940" y="299352"/>
                  <a:pt x="460940" y="300790"/>
                </a:cubicBezTo>
                <a:cubicBezTo>
                  <a:pt x="465063" y="302782"/>
                  <a:pt x="468862" y="304133"/>
                  <a:pt x="473437" y="305018"/>
                </a:cubicBezTo>
                <a:cubicBezTo>
                  <a:pt x="473437" y="305947"/>
                  <a:pt x="473437" y="306877"/>
                  <a:pt x="473437" y="307836"/>
                </a:cubicBezTo>
                <a:cubicBezTo>
                  <a:pt x="475581" y="308519"/>
                  <a:pt x="477730" y="309193"/>
                  <a:pt x="479881" y="309862"/>
                </a:cubicBezTo>
                <a:cubicBezTo>
                  <a:pt x="481077" y="310237"/>
                  <a:pt x="482273" y="310614"/>
                  <a:pt x="483505" y="311001"/>
                </a:cubicBezTo>
                <a:cubicBezTo>
                  <a:pt x="505448" y="316843"/>
                  <a:pt x="527690" y="314359"/>
                  <a:pt x="548419" y="306427"/>
                </a:cubicBezTo>
                <a:cubicBezTo>
                  <a:pt x="549548" y="305998"/>
                  <a:pt x="550678" y="305569"/>
                  <a:pt x="551842" y="305127"/>
                </a:cubicBezTo>
                <a:cubicBezTo>
                  <a:pt x="555376" y="303227"/>
                  <a:pt x="557584" y="300980"/>
                  <a:pt x="560232" y="298148"/>
                </a:cubicBezTo>
                <a:cubicBezTo>
                  <a:pt x="561137" y="297192"/>
                  <a:pt x="562041" y="296236"/>
                  <a:pt x="562972" y="295252"/>
                </a:cubicBezTo>
                <a:cubicBezTo>
                  <a:pt x="564755" y="293274"/>
                  <a:pt x="566459" y="291237"/>
                  <a:pt x="568086" y="289152"/>
                </a:cubicBezTo>
                <a:cubicBezTo>
                  <a:pt x="568813" y="288342"/>
                  <a:pt x="569539" y="287532"/>
                  <a:pt x="570289" y="286697"/>
                </a:cubicBezTo>
                <a:cubicBezTo>
                  <a:pt x="571319" y="286697"/>
                  <a:pt x="572350" y="286697"/>
                  <a:pt x="573413" y="286697"/>
                </a:cubicBezTo>
                <a:cubicBezTo>
                  <a:pt x="577408" y="276984"/>
                  <a:pt x="577197" y="267284"/>
                  <a:pt x="577220" y="257016"/>
                </a:cubicBezTo>
                <a:cubicBezTo>
                  <a:pt x="577227" y="255625"/>
                  <a:pt x="577227" y="255625"/>
                  <a:pt x="577235" y="254206"/>
                </a:cubicBezTo>
                <a:cubicBezTo>
                  <a:pt x="577257" y="237553"/>
                  <a:pt x="574604" y="222055"/>
                  <a:pt x="569443" y="206049"/>
                </a:cubicBezTo>
                <a:cubicBezTo>
                  <a:pt x="568726" y="203553"/>
                  <a:pt x="568726" y="203553"/>
                  <a:pt x="568726" y="200735"/>
                </a:cubicBezTo>
                <a:cubicBezTo>
                  <a:pt x="567695" y="200735"/>
                  <a:pt x="566664" y="200735"/>
                  <a:pt x="565602" y="200735"/>
                </a:cubicBezTo>
                <a:cubicBezTo>
                  <a:pt x="563274" y="195295"/>
                  <a:pt x="561092" y="190108"/>
                  <a:pt x="559549" y="184441"/>
                </a:cubicBezTo>
                <a:cubicBezTo>
                  <a:pt x="555572" y="173477"/>
                  <a:pt x="547043" y="167105"/>
                  <a:pt x="537484" y="159867"/>
                </a:cubicBezTo>
                <a:cubicBezTo>
                  <a:pt x="533579" y="156609"/>
                  <a:pt x="533579" y="156609"/>
                  <a:pt x="531235" y="154230"/>
                </a:cubicBezTo>
                <a:cubicBezTo>
                  <a:pt x="531235" y="153301"/>
                  <a:pt x="531235" y="152371"/>
                  <a:pt x="531235" y="151412"/>
                </a:cubicBezTo>
                <a:cubicBezTo>
                  <a:pt x="529689" y="150947"/>
                  <a:pt x="528143" y="150482"/>
                  <a:pt x="526549" y="150003"/>
                </a:cubicBezTo>
                <a:cubicBezTo>
                  <a:pt x="519904" y="137298"/>
                  <a:pt x="519105" y="120357"/>
                  <a:pt x="524304" y="107198"/>
                </a:cubicBezTo>
                <a:cubicBezTo>
                  <a:pt x="529443" y="97376"/>
                  <a:pt x="535781" y="90193"/>
                  <a:pt x="547052" y="85972"/>
                </a:cubicBezTo>
                <a:cubicBezTo>
                  <a:pt x="559924" y="81835"/>
                  <a:pt x="575221" y="79746"/>
                  <a:pt x="588460" y="83538"/>
                </a:cubicBezTo>
                <a:cubicBezTo>
                  <a:pt x="601643" y="89713"/>
                  <a:pt x="611835" y="99450"/>
                  <a:pt x="617152" y="111954"/>
                </a:cubicBezTo>
                <a:cubicBezTo>
                  <a:pt x="617935" y="116052"/>
                  <a:pt x="617954" y="120024"/>
                  <a:pt x="617884" y="124175"/>
                </a:cubicBezTo>
                <a:cubicBezTo>
                  <a:pt x="617896" y="125307"/>
                  <a:pt x="617906" y="126440"/>
                  <a:pt x="617917" y="127607"/>
                </a:cubicBezTo>
                <a:cubicBezTo>
                  <a:pt x="617963" y="132394"/>
                  <a:pt x="617938" y="137181"/>
                  <a:pt x="617919" y="141969"/>
                </a:cubicBezTo>
                <a:cubicBezTo>
                  <a:pt x="617899" y="160184"/>
                  <a:pt x="619422" y="175572"/>
                  <a:pt x="630625" y="191311"/>
                </a:cubicBezTo>
                <a:cubicBezTo>
                  <a:pt x="633753" y="195891"/>
                  <a:pt x="636431" y="199900"/>
                  <a:pt x="637850" y="205139"/>
                </a:cubicBezTo>
                <a:cubicBezTo>
                  <a:pt x="638615" y="209623"/>
                  <a:pt x="638615" y="209623"/>
                  <a:pt x="643708" y="212009"/>
                </a:cubicBezTo>
                <a:cubicBezTo>
                  <a:pt x="645380" y="214563"/>
                  <a:pt x="645380" y="214563"/>
                  <a:pt x="647027" y="217645"/>
                </a:cubicBezTo>
                <a:cubicBezTo>
                  <a:pt x="652549" y="227016"/>
                  <a:pt x="660443" y="235696"/>
                  <a:pt x="670264" y="241603"/>
                </a:cubicBezTo>
                <a:cubicBezTo>
                  <a:pt x="670264" y="242532"/>
                  <a:pt x="670264" y="243462"/>
                  <a:pt x="670264" y="244421"/>
                </a:cubicBezTo>
                <a:cubicBezTo>
                  <a:pt x="672036" y="244857"/>
                  <a:pt x="673808" y="245293"/>
                  <a:pt x="675634" y="245742"/>
                </a:cubicBezTo>
                <a:cubicBezTo>
                  <a:pt x="681199" y="247239"/>
                  <a:pt x="681199" y="247239"/>
                  <a:pt x="682761" y="248649"/>
                </a:cubicBezTo>
                <a:cubicBezTo>
                  <a:pt x="704487" y="252065"/>
                  <a:pt x="732606" y="256402"/>
                  <a:pt x="752092" y="245076"/>
                </a:cubicBezTo>
                <a:cubicBezTo>
                  <a:pt x="754252" y="243599"/>
                  <a:pt x="756372" y="242073"/>
                  <a:pt x="758433" y="240485"/>
                </a:cubicBezTo>
                <a:cubicBezTo>
                  <a:pt x="760867" y="238784"/>
                  <a:pt x="760867" y="238784"/>
                  <a:pt x="763991" y="238784"/>
                </a:cubicBezTo>
                <a:cubicBezTo>
                  <a:pt x="764647" y="237296"/>
                  <a:pt x="764647" y="237296"/>
                  <a:pt x="765315" y="235778"/>
                </a:cubicBezTo>
                <a:cubicBezTo>
                  <a:pt x="767151" y="231659"/>
                  <a:pt x="769030" y="227557"/>
                  <a:pt x="770923" y="223459"/>
                </a:cubicBezTo>
                <a:cubicBezTo>
                  <a:pt x="771608" y="221966"/>
                  <a:pt x="772292" y="220472"/>
                  <a:pt x="772998" y="218934"/>
                </a:cubicBezTo>
                <a:cubicBezTo>
                  <a:pt x="774429" y="215885"/>
                  <a:pt x="775968" y="212878"/>
                  <a:pt x="777562" y="209895"/>
                </a:cubicBezTo>
                <a:cubicBezTo>
                  <a:pt x="787607" y="185732"/>
                  <a:pt x="788559" y="149501"/>
                  <a:pt x="781175" y="124637"/>
                </a:cubicBezTo>
                <a:cubicBezTo>
                  <a:pt x="780144" y="124637"/>
                  <a:pt x="779113" y="124637"/>
                  <a:pt x="778051" y="124637"/>
                </a:cubicBezTo>
                <a:cubicBezTo>
                  <a:pt x="768501" y="110080"/>
                  <a:pt x="762898" y="96653"/>
                  <a:pt x="767116" y="79542"/>
                </a:cubicBezTo>
                <a:cubicBezTo>
                  <a:pt x="772286" y="69057"/>
                  <a:pt x="781456" y="58252"/>
                  <a:pt x="793379" y="54000"/>
                </a:cubicBezTo>
                <a:cubicBezTo>
                  <a:pt x="808369" y="49250"/>
                  <a:pt x="826058" y="49579"/>
                  <a:pt x="840688" y="55503"/>
                </a:cubicBezTo>
                <a:cubicBezTo>
                  <a:pt x="845183" y="57759"/>
                  <a:pt x="848037" y="60575"/>
                  <a:pt x="851470" y="64040"/>
                </a:cubicBezTo>
                <a:cubicBezTo>
                  <a:pt x="852721" y="65272"/>
                  <a:pt x="852721" y="65272"/>
                  <a:pt x="853997" y="66529"/>
                </a:cubicBezTo>
                <a:cubicBezTo>
                  <a:pt x="858396" y="71505"/>
                  <a:pt x="860490" y="76640"/>
                  <a:pt x="861488" y="82057"/>
                </a:cubicBezTo>
                <a:lnTo>
                  <a:pt x="861937" y="90492"/>
                </a:lnTo>
                <a:lnTo>
                  <a:pt x="863826" y="100715"/>
                </a:lnTo>
                <a:cubicBezTo>
                  <a:pt x="862141" y="107853"/>
                  <a:pt x="859866" y="114857"/>
                  <a:pt x="857577" y="121853"/>
                </a:cubicBezTo>
                <a:cubicBezTo>
                  <a:pt x="857062" y="121853"/>
                  <a:pt x="856547" y="121853"/>
                  <a:pt x="856015" y="121853"/>
                </a:cubicBezTo>
                <a:cubicBezTo>
                  <a:pt x="855731" y="120401"/>
                  <a:pt x="855731" y="120401"/>
                  <a:pt x="855442" y="118919"/>
                </a:cubicBezTo>
                <a:lnTo>
                  <a:pt x="855417" y="118798"/>
                </a:lnTo>
                <a:lnTo>
                  <a:pt x="856157" y="124637"/>
                </a:lnTo>
                <a:lnTo>
                  <a:pt x="850623" y="134701"/>
                </a:lnTo>
                <a:lnTo>
                  <a:pt x="851325" y="135968"/>
                </a:lnTo>
                <a:cubicBezTo>
                  <a:pt x="850851" y="137246"/>
                  <a:pt x="850376" y="138525"/>
                  <a:pt x="849886" y="139843"/>
                </a:cubicBezTo>
                <a:cubicBezTo>
                  <a:pt x="848171" y="144505"/>
                  <a:pt x="847798" y="148002"/>
                  <a:pt x="847786" y="152889"/>
                </a:cubicBezTo>
                <a:cubicBezTo>
                  <a:pt x="847779" y="154500"/>
                  <a:pt x="847773" y="156109"/>
                  <a:pt x="847767" y="157768"/>
                </a:cubicBezTo>
                <a:cubicBezTo>
                  <a:pt x="847782" y="159468"/>
                  <a:pt x="847796" y="161167"/>
                  <a:pt x="847810" y="162919"/>
                </a:cubicBezTo>
                <a:cubicBezTo>
                  <a:pt x="847821" y="165546"/>
                  <a:pt x="847821" y="165546"/>
                  <a:pt x="847832" y="168227"/>
                </a:cubicBezTo>
                <a:cubicBezTo>
                  <a:pt x="847980" y="181934"/>
                  <a:pt x="849003" y="195419"/>
                  <a:pt x="850903" y="209013"/>
                </a:cubicBezTo>
                <a:lnTo>
                  <a:pt x="852880" y="224692"/>
                </a:lnTo>
                <a:lnTo>
                  <a:pt x="854595" y="224692"/>
                </a:lnTo>
                <a:cubicBezTo>
                  <a:pt x="855086" y="225542"/>
                  <a:pt x="855577" y="226392"/>
                  <a:pt x="856083" y="227268"/>
                </a:cubicBezTo>
                <a:cubicBezTo>
                  <a:pt x="862358" y="237839"/>
                  <a:pt x="866924" y="242785"/>
                  <a:pt x="879588" y="247239"/>
                </a:cubicBezTo>
                <a:cubicBezTo>
                  <a:pt x="881642" y="248025"/>
                  <a:pt x="883692" y="248817"/>
                  <a:pt x="885739" y="249618"/>
                </a:cubicBezTo>
                <a:cubicBezTo>
                  <a:pt x="887318" y="250227"/>
                  <a:pt x="888897" y="250838"/>
                  <a:pt x="890523" y="251467"/>
                </a:cubicBezTo>
                <a:cubicBezTo>
                  <a:pt x="890523" y="252397"/>
                  <a:pt x="890523" y="253327"/>
                  <a:pt x="890523" y="254285"/>
                </a:cubicBezTo>
                <a:cubicBezTo>
                  <a:pt x="900347" y="257061"/>
                  <a:pt x="910127" y="259425"/>
                  <a:pt x="920203" y="261332"/>
                </a:cubicBezTo>
                <a:cubicBezTo>
                  <a:pt x="920203" y="261796"/>
                  <a:pt x="920203" y="262262"/>
                  <a:pt x="920203" y="262741"/>
                </a:cubicBezTo>
                <a:cubicBezTo>
                  <a:pt x="917111" y="262741"/>
                  <a:pt x="914018" y="262741"/>
                  <a:pt x="910831" y="262741"/>
                </a:cubicBezTo>
                <a:lnTo>
                  <a:pt x="910831" y="262864"/>
                </a:lnTo>
                <a:lnTo>
                  <a:pt x="927993" y="264177"/>
                </a:lnTo>
                <a:lnTo>
                  <a:pt x="939273" y="265285"/>
                </a:lnTo>
                <a:lnTo>
                  <a:pt x="940456" y="265191"/>
                </a:lnTo>
                <a:cubicBezTo>
                  <a:pt x="962552" y="263054"/>
                  <a:pt x="974979" y="255295"/>
                  <a:pt x="991622" y="242329"/>
                </a:cubicBezTo>
                <a:lnTo>
                  <a:pt x="1000803" y="236505"/>
                </a:lnTo>
                <a:lnTo>
                  <a:pt x="999806" y="236055"/>
                </a:lnTo>
                <a:cubicBezTo>
                  <a:pt x="1000902" y="234997"/>
                  <a:pt x="1001997" y="233941"/>
                  <a:pt x="1003126" y="232851"/>
                </a:cubicBezTo>
                <a:cubicBezTo>
                  <a:pt x="1012364" y="223880"/>
                  <a:pt x="1021184" y="214752"/>
                  <a:pt x="1029487" y="205052"/>
                </a:cubicBezTo>
                <a:lnTo>
                  <a:pt x="1029872" y="206442"/>
                </a:lnTo>
                <a:lnTo>
                  <a:pt x="1031614" y="203719"/>
                </a:lnTo>
                <a:cubicBezTo>
                  <a:pt x="1033221" y="199204"/>
                  <a:pt x="1035713" y="196017"/>
                  <a:pt x="1038924" y="192280"/>
                </a:cubicBezTo>
                <a:cubicBezTo>
                  <a:pt x="1039956" y="191815"/>
                  <a:pt x="1040987" y="191349"/>
                  <a:pt x="1042049" y="190870"/>
                </a:cubicBezTo>
                <a:cubicBezTo>
                  <a:pt x="1043161" y="188473"/>
                  <a:pt x="1043161" y="188473"/>
                  <a:pt x="1044294" y="186026"/>
                </a:cubicBezTo>
                <a:cubicBezTo>
                  <a:pt x="1046735" y="181006"/>
                  <a:pt x="1046735" y="181006"/>
                  <a:pt x="1051422" y="178188"/>
                </a:cubicBezTo>
                <a:cubicBezTo>
                  <a:pt x="1052553" y="175286"/>
                  <a:pt x="1052553" y="175286"/>
                  <a:pt x="1052984" y="172551"/>
                </a:cubicBezTo>
                <a:cubicBezTo>
                  <a:pt x="1054014" y="172551"/>
                  <a:pt x="1055046" y="172551"/>
                  <a:pt x="1056108" y="172551"/>
                </a:cubicBezTo>
                <a:cubicBezTo>
                  <a:pt x="1057139" y="169295"/>
                  <a:pt x="1058170" y="166040"/>
                  <a:pt x="1059232" y="162686"/>
                </a:cubicBezTo>
                <a:cubicBezTo>
                  <a:pt x="1060263" y="162686"/>
                  <a:pt x="1061295" y="162686"/>
                  <a:pt x="1062357" y="162686"/>
                </a:cubicBezTo>
                <a:cubicBezTo>
                  <a:pt x="1062755" y="161484"/>
                  <a:pt x="1062755" y="161484"/>
                  <a:pt x="1063162" y="160258"/>
                </a:cubicBezTo>
                <a:cubicBezTo>
                  <a:pt x="1065716" y="152917"/>
                  <a:pt x="1068813" y="146686"/>
                  <a:pt x="1073292" y="140138"/>
                </a:cubicBezTo>
                <a:cubicBezTo>
                  <a:pt x="1074322" y="140138"/>
                  <a:pt x="1075353" y="140138"/>
                  <a:pt x="1076415" y="140138"/>
                </a:cubicBezTo>
                <a:cubicBezTo>
                  <a:pt x="1079808" y="132748"/>
                  <a:pt x="1082509" y="125160"/>
                  <a:pt x="1085294" y="117569"/>
                </a:cubicBezTo>
                <a:cubicBezTo>
                  <a:pt x="1085972" y="116181"/>
                  <a:pt x="1086651" y="114793"/>
                  <a:pt x="1087350" y="113363"/>
                </a:cubicBezTo>
                <a:cubicBezTo>
                  <a:pt x="1089671" y="112666"/>
                  <a:pt x="1089671" y="112666"/>
                  <a:pt x="1092037" y="111954"/>
                </a:cubicBezTo>
                <a:cubicBezTo>
                  <a:pt x="1092230" y="110879"/>
                  <a:pt x="1092423" y="109803"/>
                  <a:pt x="1092623" y="108695"/>
                </a:cubicBezTo>
                <a:cubicBezTo>
                  <a:pt x="1093599" y="104908"/>
                  <a:pt x="1093599" y="104908"/>
                  <a:pt x="1096723" y="100680"/>
                </a:cubicBezTo>
                <a:cubicBezTo>
                  <a:pt x="1097207" y="99140"/>
                  <a:pt x="1097689" y="97599"/>
                  <a:pt x="1098188" y="96013"/>
                </a:cubicBezTo>
                <a:cubicBezTo>
                  <a:pt x="1099847" y="90815"/>
                  <a:pt x="1099847" y="90815"/>
                  <a:pt x="1102288" y="87029"/>
                </a:cubicBezTo>
                <a:cubicBezTo>
                  <a:pt x="1106061" y="79186"/>
                  <a:pt x="1107564" y="69424"/>
                  <a:pt x="1104534" y="61222"/>
                </a:cubicBezTo>
                <a:cubicBezTo>
                  <a:pt x="1104409" y="59341"/>
                  <a:pt x="1104366" y="57454"/>
                  <a:pt x="1104381" y="55569"/>
                </a:cubicBezTo>
                <a:cubicBezTo>
                  <a:pt x="1104386" y="54501"/>
                  <a:pt x="1104391" y="53434"/>
                  <a:pt x="1104397" y="52335"/>
                </a:cubicBezTo>
                <a:cubicBezTo>
                  <a:pt x="1104410" y="51228"/>
                  <a:pt x="1104423" y="50120"/>
                  <a:pt x="1104436" y="48979"/>
                </a:cubicBezTo>
                <a:cubicBezTo>
                  <a:pt x="1104443" y="47856"/>
                  <a:pt x="1104451" y="46733"/>
                  <a:pt x="1104457" y="45575"/>
                </a:cubicBezTo>
                <a:cubicBezTo>
                  <a:pt x="1104476" y="42805"/>
                  <a:pt x="1104504" y="40035"/>
                  <a:pt x="1104534" y="37265"/>
                </a:cubicBezTo>
                <a:cubicBezTo>
                  <a:pt x="1105565" y="37265"/>
                  <a:pt x="1106596" y="37265"/>
                  <a:pt x="1107658" y="37265"/>
                </a:cubicBezTo>
                <a:cubicBezTo>
                  <a:pt x="1107561" y="34562"/>
                  <a:pt x="1107561" y="34562"/>
                  <a:pt x="1107463" y="31805"/>
                </a:cubicBezTo>
                <a:cubicBezTo>
                  <a:pt x="1107353" y="28733"/>
                  <a:pt x="1107353" y="28733"/>
                  <a:pt x="1107658" y="25991"/>
                </a:cubicBezTo>
                <a:cubicBezTo>
                  <a:pt x="1108689" y="25062"/>
                  <a:pt x="1109720" y="24131"/>
                  <a:pt x="1110782" y="23173"/>
                </a:cubicBezTo>
                <a:cubicBezTo>
                  <a:pt x="1111104" y="22156"/>
                  <a:pt x="1111427" y="21138"/>
                  <a:pt x="1111759" y="20091"/>
                </a:cubicBezTo>
                <a:cubicBezTo>
                  <a:pt x="1116393" y="11539"/>
                  <a:pt x="1124927" y="6390"/>
                  <a:pt x="1134507" y="2828"/>
                </a:cubicBezTo>
                <a:cubicBezTo>
                  <a:pt x="1141389" y="825"/>
                  <a:pt x="1148262" y="-204"/>
                  <a:pt x="1155019" y="35"/>
                </a:cubicBezTo>
                <a:close/>
              </a:path>
            </a:pathLst>
          </a:custGeom>
          <a:solidFill>
            <a:schemeClr val="accent3"/>
          </a:solidFill>
          <a:ln w="2232" cap="flat">
            <a:noFill/>
            <a:prstDash val="solid"/>
            <a:miter/>
          </a:ln>
          <a:effectLst>
            <a:innerShdw blurRad="63500" dist="190500" dir="8100000">
              <a:schemeClr val="accent3">
                <a:lumMod val="75000"/>
                <a:alpha val="50000"/>
              </a:schemeClr>
            </a:innerShdw>
          </a:effectLst>
        </p:spPr>
        <p:txBody>
          <a:bodyPr wrap="squar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4" name="Oval 353">
            <a:extLst>
              <a:ext uri="{FF2B5EF4-FFF2-40B4-BE49-F238E27FC236}">
                <a16:creationId xmlns:a16="http://schemas.microsoft.com/office/drawing/2014/main" id="{B99D9ECB-8BD8-2803-8DFD-6C48168C7964}"/>
              </a:ext>
            </a:extLst>
          </p:cNvPr>
          <p:cNvSpPr/>
          <p:nvPr/>
        </p:nvSpPr>
        <p:spPr>
          <a:xfrm>
            <a:off x="7276810" y="3732351"/>
            <a:ext cx="106472" cy="106472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5" name="Oval 354">
            <a:extLst>
              <a:ext uri="{FF2B5EF4-FFF2-40B4-BE49-F238E27FC236}">
                <a16:creationId xmlns:a16="http://schemas.microsoft.com/office/drawing/2014/main" id="{D7A36531-75F4-6405-56EC-9122349A9A53}"/>
              </a:ext>
            </a:extLst>
          </p:cNvPr>
          <p:cNvSpPr/>
          <p:nvPr/>
        </p:nvSpPr>
        <p:spPr>
          <a:xfrm>
            <a:off x="7418943" y="3825578"/>
            <a:ext cx="106472" cy="106472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6" name="Oval 355">
            <a:extLst>
              <a:ext uri="{FF2B5EF4-FFF2-40B4-BE49-F238E27FC236}">
                <a16:creationId xmlns:a16="http://schemas.microsoft.com/office/drawing/2014/main" id="{B7CB24C5-8F32-8D48-395C-C008E639F0E6}"/>
              </a:ext>
            </a:extLst>
          </p:cNvPr>
          <p:cNvSpPr/>
          <p:nvPr/>
        </p:nvSpPr>
        <p:spPr>
          <a:xfrm>
            <a:off x="7315782" y="3999039"/>
            <a:ext cx="83346" cy="83346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7" name="Oval 356">
            <a:extLst>
              <a:ext uri="{FF2B5EF4-FFF2-40B4-BE49-F238E27FC236}">
                <a16:creationId xmlns:a16="http://schemas.microsoft.com/office/drawing/2014/main" id="{28C39741-EBAF-A8EF-DFBA-C6CDA18D8BAF}"/>
              </a:ext>
            </a:extLst>
          </p:cNvPr>
          <p:cNvSpPr/>
          <p:nvPr/>
        </p:nvSpPr>
        <p:spPr>
          <a:xfrm>
            <a:off x="7538150" y="3979936"/>
            <a:ext cx="106472" cy="106472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8" name="Oval 357">
            <a:extLst>
              <a:ext uri="{FF2B5EF4-FFF2-40B4-BE49-F238E27FC236}">
                <a16:creationId xmlns:a16="http://schemas.microsoft.com/office/drawing/2014/main" id="{665D53BC-EE49-8538-A6B4-4231F214AE4D}"/>
              </a:ext>
            </a:extLst>
          </p:cNvPr>
          <p:cNvSpPr/>
          <p:nvPr/>
        </p:nvSpPr>
        <p:spPr>
          <a:xfrm>
            <a:off x="7572536" y="3758332"/>
            <a:ext cx="72085" cy="72085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77" name="TextBox 376">
            <a:extLst>
              <a:ext uri="{FF2B5EF4-FFF2-40B4-BE49-F238E27FC236}">
                <a16:creationId xmlns:a16="http://schemas.microsoft.com/office/drawing/2014/main" id="{E5ABA76F-4BD4-4E3A-1F8C-81452A383D6C}"/>
              </a:ext>
            </a:extLst>
          </p:cNvPr>
          <p:cNvSpPr txBox="1"/>
          <p:nvPr/>
        </p:nvSpPr>
        <p:spPr>
          <a:xfrm>
            <a:off x="3089070" y="1348515"/>
            <a:ext cx="7617437" cy="363601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rtlCol="0" anchor="ctr" anchorCtr="0">
            <a:noAutofit/>
          </a:bodyPr>
          <a:lstStyle>
            <a:defPPr>
              <a:defRPr lang="en-GB"/>
            </a:defPPr>
            <a:lvl1pPr algn="ctr">
              <a:defRPr sz="1600" b="1">
                <a:solidFill>
                  <a:schemeClr val="tx2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What treatment options are available for this patient? </a:t>
            </a:r>
          </a:p>
        </p:txBody>
      </p:sp>
      <p:cxnSp>
        <p:nvCxnSpPr>
          <p:cNvPr id="378" name="Straight Arrow Connector 377">
            <a:extLst>
              <a:ext uri="{FF2B5EF4-FFF2-40B4-BE49-F238E27FC236}">
                <a16:creationId xmlns:a16="http://schemas.microsoft.com/office/drawing/2014/main" id="{C51B7E62-A9CF-0598-8CB4-DB8247334173}"/>
              </a:ext>
            </a:extLst>
          </p:cNvPr>
          <p:cNvCxnSpPr>
            <a:cxnSpLocks/>
          </p:cNvCxnSpPr>
          <p:nvPr/>
        </p:nvCxnSpPr>
        <p:spPr>
          <a:xfrm flipV="1">
            <a:off x="11093451" y="2465188"/>
            <a:ext cx="7246" cy="2262387"/>
          </a:xfrm>
          <a:prstGeom prst="straightConnector1">
            <a:avLst/>
          </a:prstGeom>
          <a:ln>
            <a:solidFill>
              <a:schemeClr val="tx1">
                <a:lumMod val="85000"/>
                <a:lumOff val="15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79" name="TextBox 378">
            <a:extLst>
              <a:ext uri="{FF2B5EF4-FFF2-40B4-BE49-F238E27FC236}">
                <a16:creationId xmlns:a16="http://schemas.microsoft.com/office/drawing/2014/main" id="{45969E5B-FFE5-0A7E-6E16-35B4F7EF3DD9}"/>
              </a:ext>
            </a:extLst>
          </p:cNvPr>
          <p:cNvSpPr txBox="1"/>
          <p:nvPr/>
        </p:nvSpPr>
        <p:spPr>
          <a:xfrm>
            <a:off x="2709069" y="2100243"/>
            <a:ext cx="2517375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What clinical decisions are needed?</a:t>
            </a:r>
          </a:p>
        </p:txBody>
      </p:sp>
      <p:cxnSp>
        <p:nvCxnSpPr>
          <p:cNvPr id="380" name="Straight Arrow Connector 379">
            <a:extLst>
              <a:ext uri="{FF2B5EF4-FFF2-40B4-BE49-F238E27FC236}">
                <a16:creationId xmlns:a16="http://schemas.microsoft.com/office/drawing/2014/main" id="{E25A1FD1-5BAC-73F9-5A30-DC353CB0AD3F}"/>
              </a:ext>
            </a:extLst>
          </p:cNvPr>
          <p:cNvCxnSpPr>
            <a:cxnSpLocks/>
          </p:cNvCxnSpPr>
          <p:nvPr/>
        </p:nvCxnSpPr>
        <p:spPr>
          <a:xfrm>
            <a:off x="8765382" y="4244450"/>
            <a:ext cx="2328862" cy="0"/>
          </a:xfrm>
          <a:prstGeom prst="straightConnector1">
            <a:avLst/>
          </a:prstGeom>
          <a:ln>
            <a:solidFill>
              <a:schemeClr val="tx1">
                <a:lumMod val="85000"/>
                <a:lumOff val="15000"/>
              </a:schemeClr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81" name="TextBox 380">
            <a:extLst>
              <a:ext uri="{FF2B5EF4-FFF2-40B4-BE49-F238E27FC236}">
                <a16:creationId xmlns:a16="http://schemas.microsoft.com/office/drawing/2014/main" id="{11DF2914-44C8-B6E4-1B50-B9D1729EA406}"/>
              </a:ext>
            </a:extLst>
          </p:cNvPr>
          <p:cNvSpPr txBox="1"/>
          <p:nvPr/>
        </p:nvSpPr>
        <p:spPr>
          <a:xfrm>
            <a:off x="10090999" y="1870001"/>
            <a:ext cx="1890657" cy="3927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ext </a:t>
            </a:r>
            <a:b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line of therapy?</a:t>
            </a:r>
          </a:p>
        </p:txBody>
      </p:sp>
      <p:cxnSp>
        <p:nvCxnSpPr>
          <p:cNvPr id="382" name="Straight Arrow Connector 381">
            <a:extLst>
              <a:ext uri="{FF2B5EF4-FFF2-40B4-BE49-F238E27FC236}">
                <a16:creationId xmlns:a16="http://schemas.microsoft.com/office/drawing/2014/main" id="{631B7440-ED4C-7AF1-6B9C-61D6B748B628}"/>
              </a:ext>
            </a:extLst>
          </p:cNvPr>
          <p:cNvCxnSpPr>
            <a:cxnSpLocks/>
          </p:cNvCxnSpPr>
          <p:nvPr/>
        </p:nvCxnSpPr>
        <p:spPr>
          <a:xfrm>
            <a:off x="3629026" y="4206350"/>
            <a:ext cx="1271587" cy="0"/>
          </a:xfrm>
          <a:prstGeom prst="straightConnector1">
            <a:avLst/>
          </a:prstGeom>
          <a:ln>
            <a:solidFill>
              <a:schemeClr val="tx1">
                <a:lumMod val="85000"/>
                <a:lumOff val="15000"/>
              </a:schemeClr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3" name="Straight Arrow Connector 382">
            <a:extLst>
              <a:ext uri="{FF2B5EF4-FFF2-40B4-BE49-F238E27FC236}">
                <a16:creationId xmlns:a16="http://schemas.microsoft.com/office/drawing/2014/main" id="{F3D46DB6-30CB-39D9-064B-F9F8A7F8686D}"/>
              </a:ext>
            </a:extLst>
          </p:cNvPr>
          <p:cNvCxnSpPr>
            <a:cxnSpLocks/>
          </p:cNvCxnSpPr>
          <p:nvPr/>
        </p:nvCxnSpPr>
        <p:spPr>
          <a:xfrm flipV="1">
            <a:off x="4896178" y="4213225"/>
            <a:ext cx="0" cy="425450"/>
          </a:xfrm>
          <a:prstGeom prst="straightConnector1">
            <a:avLst/>
          </a:prstGeom>
          <a:ln>
            <a:solidFill>
              <a:schemeClr val="tx1">
                <a:lumMod val="85000"/>
                <a:lumOff val="15000"/>
              </a:schemeClr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024" name="Straight Arrow Connector 9023">
            <a:extLst>
              <a:ext uri="{FF2B5EF4-FFF2-40B4-BE49-F238E27FC236}">
                <a16:creationId xmlns:a16="http://schemas.microsoft.com/office/drawing/2014/main" id="{724972F9-3DF6-A4F2-887E-D89AEFAD8E8A}"/>
              </a:ext>
            </a:extLst>
          </p:cNvPr>
          <p:cNvCxnSpPr>
            <a:cxnSpLocks/>
          </p:cNvCxnSpPr>
          <p:nvPr/>
        </p:nvCxnSpPr>
        <p:spPr>
          <a:xfrm flipV="1">
            <a:off x="8769677" y="4240213"/>
            <a:ext cx="0" cy="563562"/>
          </a:xfrm>
          <a:prstGeom prst="straightConnector1">
            <a:avLst/>
          </a:prstGeom>
          <a:ln>
            <a:solidFill>
              <a:schemeClr val="tx1">
                <a:lumMod val="85000"/>
                <a:lumOff val="15000"/>
              </a:schemeClr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025" name="Free-form: Shape 9024">
            <a:extLst>
              <a:ext uri="{FF2B5EF4-FFF2-40B4-BE49-F238E27FC236}">
                <a16:creationId xmlns:a16="http://schemas.microsoft.com/office/drawing/2014/main" id="{1B51F386-F30B-3197-6C24-DACF86B15603}"/>
              </a:ext>
            </a:extLst>
          </p:cNvPr>
          <p:cNvSpPr/>
          <p:nvPr/>
        </p:nvSpPr>
        <p:spPr>
          <a:xfrm>
            <a:off x="5327055" y="3529440"/>
            <a:ext cx="880396" cy="841622"/>
          </a:xfrm>
          <a:custGeom>
            <a:avLst/>
            <a:gdLst>
              <a:gd name="csX0" fmla="*/ 401579 w 1609516"/>
              <a:gd name="csY0" fmla="*/ 1495809 h 1538630"/>
              <a:gd name="csX1" fmla="*/ 400190 w 1609516"/>
              <a:gd name="csY1" fmla="*/ 1496004 h 1538630"/>
              <a:gd name="csX2" fmla="*/ 401224 w 1609516"/>
              <a:gd name="csY2" fmla="*/ 1496470 h 1538630"/>
              <a:gd name="csX3" fmla="*/ 401224 w 1609516"/>
              <a:gd name="csY3" fmla="*/ 1498590 h 1538630"/>
              <a:gd name="csX4" fmla="*/ 401579 w 1609516"/>
              <a:gd name="csY4" fmla="*/ 1498628 h 1538630"/>
              <a:gd name="csX5" fmla="*/ 401579 w 1609516"/>
              <a:gd name="csY5" fmla="*/ 1495809 h 1538630"/>
              <a:gd name="csX6" fmla="*/ 368755 w 1609516"/>
              <a:gd name="csY6" fmla="*/ 1486512 h 1538630"/>
              <a:gd name="csX7" fmla="*/ 364089 w 1609516"/>
              <a:gd name="csY7" fmla="*/ 1487354 h 1538630"/>
              <a:gd name="csX8" fmla="*/ 364089 w 1609516"/>
              <a:gd name="csY8" fmla="*/ 1487908 h 1538630"/>
              <a:gd name="csX9" fmla="*/ 1049801 w 1609516"/>
              <a:gd name="csY9" fmla="*/ 1484562 h 1538630"/>
              <a:gd name="csX10" fmla="*/ 1046735 w 1609516"/>
              <a:gd name="csY10" fmla="*/ 1485945 h 1538630"/>
              <a:gd name="csX11" fmla="*/ 1046955 w 1609516"/>
              <a:gd name="csY11" fmla="*/ 1486045 h 1538630"/>
              <a:gd name="csX12" fmla="*/ 1049801 w 1609516"/>
              <a:gd name="csY12" fmla="*/ 1485188 h 1538630"/>
              <a:gd name="csX13" fmla="*/ 351234 w 1609516"/>
              <a:gd name="csY13" fmla="*/ 1444508 h 1538630"/>
              <a:gd name="csX14" fmla="*/ 351234 w 1609516"/>
              <a:gd name="csY14" fmla="*/ 1444997 h 1538630"/>
              <a:gd name="csX15" fmla="*/ 351592 w 1609516"/>
              <a:gd name="csY15" fmla="*/ 1445078 h 1538630"/>
              <a:gd name="csX16" fmla="*/ 351908 w 1609516"/>
              <a:gd name="csY16" fmla="*/ 1431206 h 1538630"/>
              <a:gd name="csX17" fmla="*/ 351234 w 1609516"/>
              <a:gd name="csY17" fmla="*/ 1431611 h 1538630"/>
              <a:gd name="csX18" fmla="*/ 351234 w 1609516"/>
              <a:gd name="csY18" fmla="*/ 1432274 h 1538630"/>
              <a:gd name="csX19" fmla="*/ 358162 w 1609516"/>
              <a:gd name="csY19" fmla="*/ 1421494 h 1538630"/>
              <a:gd name="csX20" fmla="*/ 355921 w 1609516"/>
              <a:gd name="csY20" fmla="*/ 1423156 h 1538630"/>
              <a:gd name="csX21" fmla="*/ 355921 w 1609516"/>
              <a:gd name="csY21" fmla="*/ 1423548 h 1538630"/>
              <a:gd name="csX22" fmla="*/ 376098 w 1609516"/>
              <a:gd name="csY22" fmla="*/ 1408347 h 1538630"/>
              <a:gd name="csX23" fmla="*/ 370750 w 1609516"/>
              <a:gd name="csY23" fmla="*/ 1412245 h 1538630"/>
              <a:gd name="csX24" fmla="*/ 375023 w 1609516"/>
              <a:gd name="csY24" fmla="*/ 1411256 h 1538630"/>
              <a:gd name="csX25" fmla="*/ 421956 w 1609516"/>
              <a:gd name="csY25" fmla="*/ 1365623 h 1538630"/>
              <a:gd name="csX26" fmla="*/ 421765 w 1609516"/>
              <a:gd name="csY26" fmla="*/ 1366161 h 1538630"/>
              <a:gd name="csX27" fmla="*/ 421887 w 1609516"/>
              <a:gd name="csY27" fmla="*/ 1366161 h 1538630"/>
              <a:gd name="csX28" fmla="*/ 754553 w 1609516"/>
              <a:gd name="csY28" fmla="*/ 1360575 h 1538630"/>
              <a:gd name="csX29" fmla="*/ 754089 w 1609516"/>
              <a:gd name="csY29" fmla="*/ 1361433 h 1538630"/>
              <a:gd name="csX30" fmla="*/ 754431 w 1609516"/>
              <a:gd name="csY30" fmla="*/ 1361125 h 1538630"/>
              <a:gd name="csX31" fmla="*/ 1277973 w 1609516"/>
              <a:gd name="csY31" fmla="*/ 1332923 h 1538630"/>
              <a:gd name="csX32" fmla="*/ 1277944 w 1609516"/>
              <a:gd name="csY32" fmla="*/ 1332936 h 1538630"/>
              <a:gd name="csX33" fmla="*/ 1277949 w 1609516"/>
              <a:gd name="csY33" fmla="*/ 1333139 h 1538630"/>
              <a:gd name="csX34" fmla="*/ 1268556 w 1609516"/>
              <a:gd name="csY34" fmla="*/ 1321066 h 1538630"/>
              <a:gd name="csX35" fmla="*/ 1268556 w 1609516"/>
              <a:gd name="csY35" fmla="*/ 1325294 h 1538630"/>
              <a:gd name="csX36" fmla="*/ 1265432 w 1609516"/>
              <a:gd name="csY36" fmla="*/ 1325294 h 1538630"/>
              <a:gd name="csX37" fmla="*/ 1265432 w 1609516"/>
              <a:gd name="csY37" fmla="*/ 1340795 h 1538630"/>
              <a:gd name="csX38" fmla="*/ 1265476 w 1609516"/>
              <a:gd name="csY38" fmla="*/ 1340714 h 1538630"/>
              <a:gd name="csX39" fmla="*/ 1265476 w 1609516"/>
              <a:gd name="csY39" fmla="*/ 1325877 h 1538630"/>
              <a:gd name="csX40" fmla="*/ 1268600 w 1609516"/>
              <a:gd name="csY40" fmla="*/ 1325877 h 1538630"/>
              <a:gd name="csX41" fmla="*/ 1268600 w 1609516"/>
              <a:gd name="csY41" fmla="*/ 1321649 h 1538630"/>
              <a:gd name="csX42" fmla="*/ 1273286 w 1609516"/>
              <a:gd name="csY42" fmla="*/ 1321649 h 1538630"/>
              <a:gd name="csX43" fmla="*/ 1273227 w 1609516"/>
              <a:gd name="csY43" fmla="*/ 1321066 h 1538630"/>
              <a:gd name="csX44" fmla="*/ 827891 w 1609516"/>
              <a:gd name="csY44" fmla="*/ 1291474 h 1538630"/>
              <a:gd name="csX45" fmla="*/ 822601 w 1609516"/>
              <a:gd name="csY45" fmla="*/ 1291544 h 1538630"/>
              <a:gd name="csX46" fmla="*/ 818272 w 1609516"/>
              <a:gd name="csY46" fmla="*/ 1292220 h 1538630"/>
              <a:gd name="csX47" fmla="*/ 827891 w 1609516"/>
              <a:gd name="csY47" fmla="*/ 1292047 h 1538630"/>
              <a:gd name="csX48" fmla="*/ 856397 w 1609516"/>
              <a:gd name="csY48" fmla="*/ 1288691 h 1538630"/>
              <a:gd name="csX49" fmla="*/ 865903 w 1609516"/>
              <a:gd name="csY49" fmla="*/ 1290590 h 1538630"/>
              <a:gd name="csX50" fmla="*/ 859999 w 1609516"/>
              <a:gd name="csY50" fmla="*/ 1288752 h 1538630"/>
              <a:gd name="csX51" fmla="*/ 834694 w 1609516"/>
              <a:gd name="csY51" fmla="*/ 1288572 h 1538630"/>
              <a:gd name="csX52" fmla="*/ 828038 w 1609516"/>
              <a:gd name="csY52" fmla="*/ 1288654 h 1538630"/>
              <a:gd name="csX53" fmla="*/ 828038 w 1609516"/>
              <a:gd name="csY53" fmla="*/ 1289214 h 1538630"/>
              <a:gd name="csX54" fmla="*/ 229746 w 1609516"/>
              <a:gd name="csY54" fmla="*/ 1191418 h 1538630"/>
              <a:gd name="csX55" fmla="*/ 227402 w 1609516"/>
              <a:gd name="csY55" fmla="*/ 1191947 h 1538630"/>
              <a:gd name="csX56" fmla="*/ 229315 w 1609516"/>
              <a:gd name="csY56" fmla="*/ 1191947 h 1538630"/>
              <a:gd name="csX57" fmla="*/ 229315 w 1609516"/>
              <a:gd name="csY57" fmla="*/ 1194765 h 1538630"/>
              <a:gd name="csX58" fmla="*/ 231321 w 1609516"/>
              <a:gd name="csY58" fmla="*/ 1194765 h 1538630"/>
              <a:gd name="csX59" fmla="*/ 229746 w 1609516"/>
              <a:gd name="csY59" fmla="*/ 1194236 h 1538630"/>
              <a:gd name="csX60" fmla="*/ 229746 w 1609516"/>
              <a:gd name="csY60" fmla="*/ 1191418 h 1538630"/>
              <a:gd name="csX61" fmla="*/ 215687 w 1609516"/>
              <a:gd name="csY61" fmla="*/ 1187190 h 1538630"/>
              <a:gd name="csX62" fmla="*/ 215198 w 1609516"/>
              <a:gd name="csY62" fmla="*/ 1187720 h 1538630"/>
              <a:gd name="csX63" fmla="*/ 215256 w 1609516"/>
              <a:gd name="csY63" fmla="*/ 1187720 h 1538630"/>
              <a:gd name="csX64" fmla="*/ 215256 w 1609516"/>
              <a:gd name="csY64" fmla="*/ 1191947 h 1538630"/>
              <a:gd name="csX65" fmla="*/ 222721 w 1609516"/>
              <a:gd name="csY65" fmla="*/ 1191947 h 1538630"/>
              <a:gd name="csX66" fmla="*/ 215687 w 1609516"/>
              <a:gd name="csY66" fmla="*/ 1191418 h 1538630"/>
              <a:gd name="csX67" fmla="*/ 215687 w 1609516"/>
              <a:gd name="csY67" fmla="*/ 1187190 h 1538630"/>
              <a:gd name="csX68" fmla="*/ 1279678 w 1609516"/>
              <a:gd name="csY68" fmla="*/ 1082356 h 1538630"/>
              <a:gd name="csX69" fmla="*/ 1271680 w 1609516"/>
              <a:gd name="csY69" fmla="*/ 1084589 h 1538630"/>
              <a:gd name="csX70" fmla="*/ 1282181 w 1609516"/>
              <a:gd name="csY70" fmla="*/ 1082544 h 1538630"/>
              <a:gd name="csX71" fmla="*/ 117703 w 1609516"/>
              <a:gd name="csY71" fmla="*/ 941507 h 1538630"/>
              <a:gd name="csX72" fmla="*/ 112587 w 1609516"/>
              <a:gd name="csY72" fmla="*/ 941985 h 1538630"/>
              <a:gd name="csX73" fmla="*/ 112565 w 1609516"/>
              <a:gd name="csY73" fmla="*/ 942333 h 1538630"/>
              <a:gd name="csX74" fmla="*/ 115665 w 1609516"/>
              <a:gd name="csY74" fmla="*/ 941837 h 1538630"/>
              <a:gd name="csX75" fmla="*/ 144268 w 1609516"/>
              <a:gd name="csY75" fmla="*/ 939395 h 1538630"/>
              <a:gd name="csX76" fmla="*/ 143354 w 1609516"/>
              <a:gd name="csY76" fmla="*/ 939580 h 1538630"/>
              <a:gd name="csX77" fmla="*/ 144077 w 1609516"/>
              <a:gd name="csY77" fmla="*/ 939739 h 1538630"/>
              <a:gd name="csX78" fmla="*/ 162575 w 1609516"/>
              <a:gd name="csY78" fmla="*/ 933530 h 1538630"/>
              <a:gd name="csX79" fmla="*/ 161704 w 1609516"/>
              <a:gd name="csY79" fmla="*/ 935101 h 1538630"/>
              <a:gd name="csX80" fmla="*/ 170045 w 1609516"/>
              <a:gd name="csY80" fmla="*/ 933585 h 1538630"/>
              <a:gd name="csX81" fmla="*/ 1321645 w 1609516"/>
              <a:gd name="csY81" fmla="*/ 918415 h 1538630"/>
              <a:gd name="csX82" fmla="*/ 1321534 w 1609516"/>
              <a:gd name="csY82" fmla="*/ 920177 h 1538630"/>
              <a:gd name="csX83" fmla="*/ 1321740 w 1609516"/>
              <a:gd name="csY83" fmla="*/ 918415 h 1538630"/>
              <a:gd name="csX84" fmla="*/ 1319333 w 1609516"/>
              <a:gd name="csY84" fmla="*/ 915183 h 1538630"/>
              <a:gd name="csX85" fmla="*/ 1318544 w 1609516"/>
              <a:gd name="csY85" fmla="*/ 918029 h 1538630"/>
              <a:gd name="csX86" fmla="*/ 1318702 w 1609516"/>
              <a:gd name="csY86" fmla="*/ 918029 h 1538630"/>
              <a:gd name="csX87" fmla="*/ 1326355 w 1609516"/>
              <a:gd name="csY87" fmla="*/ 907109 h 1538630"/>
              <a:gd name="csX88" fmla="*/ 1326355 w 1609516"/>
              <a:gd name="csY88" fmla="*/ 910983 h 1538630"/>
              <a:gd name="csX89" fmla="*/ 1325831 w 1609516"/>
              <a:gd name="csY89" fmla="*/ 911101 h 1538630"/>
              <a:gd name="csX90" fmla="*/ 1326426 w 1609516"/>
              <a:gd name="csY90" fmla="*/ 911369 h 1538630"/>
              <a:gd name="csX91" fmla="*/ 1326426 w 1609516"/>
              <a:gd name="csY91" fmla="*/ 907141 h 1538630"/>
              <a:gd name="csX92" fmla="*/ 1328144 w 1609516"/>
              <a:gd name="csY92" fmla="*/ 892192 h 1538630"/>
              <a:gd name="csX93" fmla="*/ 1327667 w 1609516"/>
              <a:gd name="csY93" fmla="*/ 893446 h 1538630"/>
              <a:gd name="csX94" fmla="*/ 1327989 w 1609516"/>
              <a:gd name="csY94" fmla="*/ 893049 h 1538630"/>
              <a:gd name="csX95" fmla="*/ 49605 w 1609516"/>
              <a:gd name="csY95" fmla="*/ 887420 h 1538630"/>
              <a:gd name="csX96" fmla="*/ 48549 w 1609516"/>
              <a:gd name="csY96" fmla="*/ 891229 h 1538630"/>
              <a:gd name="csX97" fmla="*/ 49956 w 1609516"/>
              <a:gd name="csY97" fmla="*/ 887420 h 1538630"/>
              <a:gd name="csX98" fmla="*/ 1332266 w 1609516"/>
              <a:gd name="csY98" fmla="*/ 883369 h 1538630"/>
              <a:gd name="csX99" fmla="*/ 1329479 w 1609516"/>
              <a:gd name="csY99" fmla="*/ 884207 h 1538630"/>
              <a:gd name="csX100" fmla="*/ 1329509 w 1609516"/>
              <a:gd name="csY100" fmla="*/ 884816 h 1538630"/>
              <a:gd name="csX101" fmla="*/ 1329551 w 1609516"/>
              <a:gd name="csY101" fmla="*/ 884594 h 1538630"/>
              <a:gd name="csX102" fmla="*/ 1555987 w 1609516"/>
              <a:gd name="csY102" fmla="*/ 821766 h 1538630"/>
              <a:gd name="csX103" fmla="*/ 1555987 w 1609516"/>
              <a:gd name="csY103" fmla="*/ 822201 h 1538630"/>
              <a:gd name="csX104" fmla="*/ 1556081 w 1609516"/>
              <a:gd name="csY104" fmla="*/ 822189 h 1538630"/>
              <a:gd name="csX105" fmla="*/ 1565360 w 1609516"/>
              <a:gd name="csY105" fmla="*/ 810928 h 1538630"/>
              <a:gd name="csX106" fmla="*/ 1564871 w 1609516"/>
              <a:gd name="csY106" fmla="*/ 811809 h 1538630"/>
              <a:gd name="csX107" fmla="*/ 1567314 w 1609516"/>
              <a:gd name="csY107" fmla="*/ 810928 h 1538630"/>
              <a:gd name="csX108" fmla="*/ 1563797 w 1609516"/>
              <a:gd name="csY108" fmla="*/ 810928 h 1538630"/>
              <a:gd name="csX109" fmla="*/ 1556762 w 1609516"/>
              <a:gd name="csY109" fmla="*/ 814736 h 1538630"/>
              <a:gd name="csX110" fmla="*/ 1563797 w 1609516"/>
              <a:gd name="csY110" fmla="*/ 812197 h 1538630"/>
              <a:gd name="csX111" fmla="*/ 265833 w 1609516"/>
              <a:gd name="csY111" fmla="*/ 806020 h 1538630"/>
              <a:gd name="csX112" fmla="*/ 263704 w 1609516"/>
              <a:gd name="csY112" fmla="*/ 809861 h 1538630"/>
              <a:gd name="csX113" fmla="*/ 263704 w 1609516"/>
              <a:gd name="csY113" fmla="*/ 816750 h 1538630"/>
              <a:gd name="csX114" fmla="*/ 264113 w 1609516"/>
              <a:gd name="csY114" fmla="*/ 816565 h 1538630"/>
              <a:gd name="csX115" fmla="*/ 263918 w 1609516"/>
              <a:gd name="csY115" fmla="*/ 812777 h 1538630"/>
              <a:gd name="csX116" fmla="*/ 263774 w 1609516"/>
              <a:gd name="csY116" fmla="*/ 779374 h 1538630"/>
              <a:gd name="csX117" fmla="*/ 263704 w 1609516"/>
              <a:gd name="csY117" fmla="*/ 783086 h 1538630"/>
              <a:gd name="csX118" fmla="*/ 264484 w 1609516"/>
              <a:gd name="csY118" fmla="*/ 785816 h 1538630"/>
              <a:gd name="csX119" fmla="*/ 265265 w 1609516"/>
              <a:gd name="csY119" fmla="*/ 794448 h 1538630"/>
              <a:gd name="csX120" fmla="*/ 265217 w 1609516"/>
              <a:gd name="csY120" fmla="*/ 799730 h 1538630"/>
              <a:gd name="csX121" fmla="*/ 266556 w 1609516"/>
              <a:gd name="csY121" fmla="*/ 803466 h 1538630"/>
              <a:gd name="csX122" fmla="*/ 267237 w 1609516"/>
              <a:gd name="csY122" fmla="*/ 801063 h 1538630"/>
              <a:gd name="csX123" fmla="*/ 265675 w 1609516"/>
              <a:gd name="csY123" fmla="*/ 799654 h 1538630"/>
              <a:gd name="csX124" fmla="*/ 265675 w 1609516"/>
              <a:gd name="csY124" fmla="*/ 793841 h 1538630"/>
              <a:gd name="csX125" fmla="*/ 260988 w 1609516"/>
              <a:gd name="csY125" fmla="*/ 770061 h 1538630"/>
              <a:gd name="csX126" fmla="*/ 260988 w 1609516"/>
              <a:gd name="csY126" fmla="*/ 771364 h 1538630"/>
              <a:gd name="csX127" fmla="*/ 263497 w 1609516"/>
              <a:gd name="csY127" fmla="*/ 777263 h 1538630"/>
              <a:gd name="csX128" fmla="*/ 262551 w 1609516"/>
              <a:gd name="csY128" fmla="*/ 770061 h 1538630"/>
              <a:gd name="csX129" fmla="*/ 260988 w 1609516"/>
              <a:gd name="csY129" fmla="*/ 770061 h 1538630"/>
              <a:gd name="csX130" fmla="*/ 157888 w 1609516"/>
              <a:gd name="csY130" fmla="*/ 651686 h 1538630"/>
              <a:gd name="csX131" fmla="*/ 157415 w 1609516"/>
              <a:gd name="csY131" fmla="*/ 651764 h 1538630"/>
              <a:gd name="csX132" fmla="*/ 160373 w 1609516"/>
              <a:gd name="csY132" fmla="*/ 652274 h 1538630"/>
              <a:gd name="csX133" fmla="*/ 267237 w 1609516"/>
              <a:gd name="csY133" fmla="*/ 426537 h 1538630"/>
              <a:gd name="csX134" fmla="*/ 267237 w 1609516"/>
              <a:gd name="csY134" fmla="*/ 427619 h 1538630"/>
              <a:gd name="csX135" fmla="*/ 270380 w 1609516"/>
              <a:gd name="csY135" fmla="*/ 428137 h 1538630"/>
              <a:gd name="csX136" fmla="*/ 273548 w 1609516"/>
              <a:gd name="csY136" fmla="*/ 428680 h 1538630"/>
              <a:gd name="csX137" fmla="*/ 37605 w 1609516"/>
              <a:gd name="csY137" fmla="*/ 359270 h 1538630"/>
              <a:gd name="csX138" fmla="*/ 37103 w 1609516"/>
              <a:gd name="csY138" fmla="*/ 361533 h 1538630"/>
              <a:gd name="csX139" fmla="*/ 37605 w 1609516"/>
              <a:gd name="csY139" fmla="*/ 361382 h 1538630"/>
              <a:gd name="csX140" fmla="*/ 52477 w 1609516"/>
              <a:gd name="csY140" fmla="*/ 337570 h 1538630"/>
              <a:gd name="csX141" fmla="*/ 47288 w 1609516"/>
              <a:gd name="csY141" fmla="*/ 342340 h 1538630"/>
              <a:gd name="csX142" fmla="*/ 45805 w 1609516"/>
              <a:gd name="csY142" fmla="*/ 345093 h 1538630"/>
              <a:gd name="csX143" fmla="*/ 104291 w 1609516"/>
              <a:gd name="csY143" fmla="*/ 336166 h 1538630"/>
              <a:gd name="csX144" fmla="*/ 103776 w 1609516"/>
              <a:gd name="csY144" fmla="*/ 337559 h 1538630"/>
              <a:gd name="csX145" fmla="*/ 108925 w 1609516"/>
              <a:gd name="csY145" fmla="*/ 336166 h 1538630"/>
              <a:gd name="csX146" fmla="*/ 1309237 w 1609516"/>
              <a:gd name="csY146" fmla="*/ 322954 h 1538630"/>
              <a:gd name="csX147" fmla="*/ 1309180 w 1609516"/>
              <a:gd name="csY147" fmla="*/ 330559 h 1538630"/>
              <a:gd name="csX148" fmla="*/ 1309237 w 1609516"/>
              <a:gd name="csY148" fmla="*/ 330520 h 1538630"/>
              <a:gd name="csX149" fmla="*/ 1308964 w 1609516"/>
              <a:gd name="csY149" fmla="*/ 317715 h 1538630"/>
              <a:gd name="csX150" fmla="*/ 1309237 w 1609516"/>
              <a:gd name="csY150" fmla="*/ 318569 h 1538630"/>
              <a:gd name="csX151" fmla="*/ 1309237 w 1609516"/>
              <a:gd name="csY151" fmla="*/ 317838 h 1538630"/>
              <a:gd name="csX152" fmla="*/ 1310087 w 1609516"/>
              <a:gd name="csY152" fmla="*/ 313153 h 1538630"/>
              <a:gd name="csX153" fmla="*/ 1307609 w 1609516"/>
              <a:gd name="csY153" fmla="*/ 313473 h 1538630"/>
              <a:gd name="csX154" fmla="*/ 1308045 w 1609516"/>
              <a:gd name="csY154" fmla="*/ 314836 h 1538630"/>
              <a:gd name="csX155" fmla="*/ 1318544 w 1609516"/>
              <a:gd name="csY155" fmla="*/ 312064 h 1538630"/>
              <a:gd name="csX156" fmla="*/ 1316298 w 1609516"/>
              <a:gd name="csY156" fmla="*/ 312353 h 1538630"/>
              <a:gd name="csX157" fmla="*/ 1318544 w 1609516"/>
              <a:gd name="csY157" fmla="*/ 312205 h 1538630"/>
              <a:gd name="csX158" fmla="*/ 1084622 w 1609516"/>
              <a:gd name="csY158" fmla="*/ 267674 h 1538630"/>
              <a:gd name="csX159" fmla="*/ 1084227 w 1609516"/>
              <a:gd name="csY159" fmla="*/ 268378 h 1538630"/>
              <a:gd name="csX160" fmla="*/ 1079540 w 1609516"/>
              <a:gd name="csY160" fmla="*/ 268378 h 1538630"/>
              <a:gd name="csX161" fmla="*/ 1079603 w 1609516"/>
              <a:gd name="csY161" fmla="*/ 268477 h 1538630"/>
              <a:gd name="csX162" fmla="*/ 1084192 w 1609516"/>
              <a:gd name="csY162" fmla="*/ 268477 h 1538630"/>
              <a:gd name="csX163" fmla="*/ 956410 w 1609516"/>
              <a:gd name="csY163" fmla="*/ 266968 h 1538630"/>
              <a:gd name="csX164" fmla="*/ 957576 w 1609516"/>
              <a:gd name="csY164" fmla="*/ 267083 h 1538630"/>
              <a:gd name="csX165" fmla="*/ 957576 w 1609516"/>
              <a:gd name="csY165" fmla="*/ 269776 h 1538630"/>
              <a:gd name="csX166" fmla="*/ 957694 w 1609516"/>
              <a:gd name="csY166" fmla="*/ 269787 h 1538630"/>
              <a:gd name="csX167" fmla="*/ 957694 w 1609516"/>
              <a:gd name="csY167" fmla="*/ 266968 h 1538630"/>
              <a:gd name="csX168" fmla="*/ 1089372 w 1609516"/>
              <a:gd name="csY168" fmla="*/ 259220 h 1538630"/>
              <a:gd name="csX169" fmla="*/ 1085856 w 1609516"/>
              <a:gd name="csY169" fmla="*/ 265479 h 1538630"/>
              <a:gd name="csX170" fmla="*/ 1088878 w 1609516"/>
              <a:gd name="csY170" fmla="*/ 261431 h 1538630"/>
              <a:gd name="csX171" fmla="*/ 1018517 w 1609516"/>
              <a:gd name="csY171" fmla="*/ 223356 h 1538630"/>
              <a:gd name="csX172" fmla="*/ 1013866 w 1609516"/>
              <a:gd name="csY172" fmla="*/ 226190 h 1538630"/>
              <a:gd name="csX173" fmla="*/ 1013024 w 1609516"/>
              <a:gd name="csY173" fmla="*/ 227709 h 1538630"/>
              <a:gd name="csX174" fmla="*/ 1017055 w 1609516"/>
              <a:gd name="csY174" fmla="*/ 224692 h 1538630"/>
              <a:gd name="csX175" fmla="*/ 850645 w 1609516"/>
              <a:gd name="csY175" fmla="*/ 220099 h 1538630"/>
              <a:gd name="csX176" fmla="*/ 850897 w 1609516"/>
              <a:gd name="csY176" fmla="*/ 221488 h 1538630"/>
              <a:gd name="csX177" fmla="*/ 851470 w 1609516"/>
              <a:gd name="csY177" fmla="*/ 224692 h 1538630"/>
              <a:gd name="csX178" fmla="*/ 852860 w 1609516"/>
              <a:gd name="csY178" fmla="*/ 224692 h 1538630"/>
              <a:gd name="csX179" fmla="*/ 1155019 w 1609516"/>
              <a:gd name="csY179" fmla="*/ 35 h 1538630"/>
              <a:gd name="csX180" fmla="*/ 1174829 w 1609516"/>
              <a:gd name="csY180" fmla="*/ 4853 h 1538630"/>
              <a:gd name="csX181" fmla="*/ 1179418 w 1609516"/>
              <a:gd name="csY181" fmla="*/ 5998 h 1538630"/>
              <a:gd name="csX182" fmla="*/ 1201385 w 1609516"/>
              <a:gd name="csY182" fmla="*/ 22997 h 1538630"/>
              <a:gd name="csX183" fmla="*/ 1201678 w 1609516"/>
              <a:gd name="csY183" fmla="*/ 62191 h 1538630"/>
              <a:gd name="csX184" fmla="*/ 1198261 w 1609516"/>
              <a:gd name="csY184" fmla="*/ 68268 h 1538630"/>
              <a:gd name="csX185" fmla="*/ 1195723 w 1609516"/>
              <a:gd name="csY185" fmla="*/ 72672 h 1538630"/>
              <a:gd name="csX186" fmla="*/ 1193575 w 1609516"/>
              <a:gd name="csY186" fmla="*/ 75314 h 1538630"/>
              <a:gd name="csX187" fmla="*/ 1190450 w 1609516"/>
              <a:gd name="csY187" fmla="*/ 75314 h 1538630"/>
              <a:gd name="csX188" fmla="*/ 1189474 w 1609516"/>
              <a:gd name="csY188" fmla="*/ 79366 h 1538630"/>
              <a:gd name="csX189" fmla="*/ 1182445 w 1609516"/>
              <a:gd name="csY189" fmla="*/ 85707 h 1538630"/>
              <a:gd name="csX190" fmla="*/ 1177953 w 1609516"/>
              <a:gd name="csY190" fmla="*/ 86588 h 1538630"/>
              <a:gd name="csX191" fmla="*/ 1177953 w 1609516"/>
              <a:gd name="csY191" fmla="*/ 89406 h 1538630"/>
              <a:gd name="csX192" fmla="*/ 1170045 w 1609516"/>
              <a:gd name="csY192" fmla="*/ 94251 h 1538630"/>
              <a:gd name="csX193" fmla="*/ 1143806 w 1609516"/>
              <a:gd name="csY193" fmla="*/ 132828 h 1538630"/>
              <a:gd name="csX194" fmla="*/ 1137338 w 1609516"/>
              <a:gd name="csY194" fmla="*/ 141548 h 1538630"/>
              <a:gd name="csX195" fmla="*/ 1133970 w 1609516"/>
              <a:gd name="csY195" fmla="*/ 149403 h 1538630"/>
              <a:gd name="csX196" fmla="*/ 1127965 w 1609516"/>
              <a:gd name="csY196" fmla="*/ 164095 h 1538630"/>
              <a:gd name="csX197" fmla="*/ 1124762 w 1609516"/>
              <a:gd name="csY197" fmla="*/ 171802 h 1538630"/>
              <a:gd name="csX198" fmla="*/ 1119359 w 1609516"/>
              <a:gd name="csY198" fmla="*/ 184798 h 1538630"/>
              <a:gd name="csX199" fmla="*/ 1111014 w 1609516"/>
              <a:gd name="csY199" fmla="*/ 204941 h 1538630"/>
              <a:gd name="csX200" fmla="*/ 1109729 w 1609516"/>
              <a:gd name="csY200" fmla="*/ 208059 h 1538630"/>
              <a:gd name="csX201" fmla="*/ 1106395 w 1609516"/>
              <a:gd name="csY201" fmla="*/ 216170 h 1538630"/>
              <a:gd name="csX202" fmla="*/ 1102147 w 1609516"/>
              <a:gd name="csY202" fmla="*/ 224810 h 1538630"/>
              <a:gd name="csX203" fmla="*/ 1098261 w 1609516"/>
              <a:gd name="csY203" fmla="*/ 227262 h 1538630"/>
              <a:gd name="csX204" fmla="*/ 1098367 w 1609516"/>
              <a:gd name="csY204" fmla="*/ 238475 h 1538630"/>
              <a:gd name="csX205" fmla="*/ 1097331 w 1609516"/>
              <a:gd name="csY205" fmla="*/ 242358 h 1538630"/>
              <a:gd name="csX206" fmla="*/ 1096201 w 1609516"/>
              <a:gd name="csY206" fmla="*/ 246458 h 1538630"/>
              <a:gd name="csX207" fmla="*/ 1089440 w 1609516"/>
              <a:gd name="csY207" fmla="*/ 279206 h 1538630"/>
              <a:gd name="csX208" fmla="*/ 1087316 w 1609516"/>
              <a:gd name="csY208" fmla="*/ 283978 h 1538630"/>
              <a:gd name="csX209" fmla="*/ 1086822 w 1609516"/>
              <a:gd name="csY209" fmla="*/ 291822 h 1538630"/>
              <a:gd name="csX210" fmla="*/ 1086623 w 1609516"/>
              <a:gd name="csY210" fmla="*/ 296625 h 1538630"/>
              <a:gd name="csX211" fmla="*/ 1086437 w 1609516"/>
              <a:gd name="csY211" fmla="*/ 301681 h 1538630"/>
              <a:gd name="csX212" fmla="*/ 1086233 w 1609516"/>
              <a:gd name="csY212" fmla="*/ 306754 h 1538630"/>
              <a:gd name="csX213" fmla="*/ 1086007 w 1609516"/>
              <a:gd name="csY213" fmla="*/ 312619 h 1538630"/>
              <a:gd name="csX214" fmla="*/ 1087470 w 1609516"/>
              <a:gd name="csY214" fmla="*/ 320554 h 1538630"/>
              <a:gd name="csX215" fmla="*/ 1098285 w 1609516"/>
              <a:gd name="csY215" fmla="*/ 334611 h 1538630"/>
              <a:gd name="csX216" fmla="*/ 1102607 w 1609516"/>
              <a:gd name="csY216" fmla="*/ 337679 h 1538630"/>
              <a:gd name="csX217" fmla="*/ 1106095 w 1609516"/>
              <a:gd name="csY217" fmla="*/ 340248 h 1538630"/>
              <a:gd name="csX218" fmla="*/ 1106095 w 1609516"/>
              <a:gd name="csY218" fmla="*/ 343066 h 1538630"/>
              <a:gd name="csX219" fmla="*/ 1109220 w 1609516"/>
              <a:gd name="csY219" fmla="*/ 343419 h 1538630"/>
              <a:gd name="csX220" fmla="*/ 1126403 w 1609516"/>
              <a:gd name="csY220" fmla="*/ 350112 h 1538630"/>
              <a:gd name="csX221" fmla="*/ 1131871 w 1609516"/>
              <a:gd name="csY221" fmla="*/ 352579 h 1538630"/>
              <a:gd name="csX222" fmla="*/ 1135776 w 1609516"/>
              <a:gd name="csY222" fmla="*/ 354340 h 1538630"/>
              <a:gd name="csX223" fmla="*/ 1135776 w 1609516"/>
              <a:gd name="csY223" fmla="*/ 357158 h 1538630"/>
              <a:gd name="csX224" fmla="*/ 1170143 w 1609516"/>
              <a:gd name="csY224" fmla="*/ 354340 h 1538630"/>
              <a:gd name="csX225" fmla="*/ 1174634 w 1609516"/>
              <a:gd name="csY225" fmla="*/ 352579 h 1538630"/>
              <a:gd name="csX226" fmla="*/ 1190890 w 1609516"/>
              <a:gd name="csY226" fmla="*/ 342907 h 1538630"/>
              <a:gd name="csX227" fmla="*/ 1204021 w 1609516"/>
              <a:gd name="csY227" fmla="*/ 335404 h 1538630"/>
              <a:gd name="csX228" fmla="*/ 1223255 w 1609516"/>
              <a:gd name="csY228" fmla="*/ 319110 h 1538630"/>
              <a:gd name="csX229" fmla="*/ 1226868 w 1609516"/>
              <a:gd name="csY229" fmla="*/ 315587 h 1538630"/>
              <a:gd name="csX230" fmla="*/ 1231859 w 1609516"/>
              <a:gd name="csY230" fmla="*/ 303559 h 1538630"/>
              <a:gd name="csX231" fmla="*/ 1234178 w 1609516"/>
              <a:gd name="csY231" fmla="*/ 298059 h 1538630"/>
              <a:gd name="csX232" fmla="*/ 1237314 w 1609516"/>
              <a:gd name="csY232" fmla="*/ 288195 h 1538630"/>
              <a:gd name="csX233" fmla="*/ 1249811 w 1609516"/>
              <a:gd name="csY233" fmla="*/ 265559 h 1538630"/>
              <a:gd name="csX234" fmla="*/ 1252935 w 1609516"/>
              <a:gd name="csY234" fmla="*/ 265559 h 1538630"/>
              <a:gd name="csX235" fmla="*/ 1252935 w 1609516"/>
              <a:gd name="csY235" fmla="*/ 262741 h 1538630"/>
              <a:gd name="csX236" fmla="*/ 1296675 w 1609516"/>
              <a:gd name="csY236" fmla="*/ 252876 h 1538630"/>
              <a:gd name="csX237" fmla="*/ 1307609 w 1609516"/>
              <a:gd name="csY237" fmla="*/ 255695 h 1538630"/>
              <a:gd name="csX238" fmla="*/ 1307609 w 1609516"/>
              <a:gd name="csY238" fmla="*/ 258513 h 1538630"/>
              <a:gd name="csX239" fmla="*/ 1311887 w 1609516"/>
              <a:gd name="csY239" fmla="*/ 258832 h 1538630"/>
              <a:gd name="csX240" fmla="*/ 1326715 w 1609516"/>
              <a:gd name="csY240" fmla="*/ 269969 h 1538630"/>
              <a:gd name="csX241" fmla="*/ 1334165 w 1609516"/>
              <a:gd name="csY241" fmla="*/ 307836 h 1538630"/>
              <a:gd name="csX242" fmla="*/ 1329479 w 1609516"/>
              <a:gd name="csY242" fmla="*/ 314882 h 1538630"/>
              <a:gd name="csX243" fmla="*/ 1323231 w 1609516"/>
              <a:gd name="csY243" fmla="*/ 314882 h 1538630"/>
              <a:gd name="csX244" fmla="*/ 1323231 w 1609516"/>
              <a:gd name="csY244" fmla="*/ 317700 h 1538630"/>
              <a:gd name="csX245" fmla="*/ 1322774 w 1609516"/>
              <a:gd name="csY245" fmla="*/ 317838 h 1538630"/>
              <a:gd name="csX246" fmla="*/ 1323295 w 1609516"/>
              <a:gd name="csY246" fmla="*/ 317838 h 1538630"/>
              <a:gd name="csX247" fmla="*/ 1323295 w 1609516"/>
              <a:gd name="csY247" fmla="*/ 315019 h 1538630"/>
              <a:gd name="csX248" fmla="*/ 1327982 w 1609516"/>
              <a:gd name="csY248" fmla="*/ 315019 h 1538630"/>
              <a:gd name="csX249" fmla="*/ 1317047 w 1609516"/>
              <a:gd name="csY249" fmla="*/ 327702 h 1538630"/>
              <a:gd name="csX250" fmla="*/ 1315484 w 1609516"/>
              <a:gd name="csY250" fmla="*/ 331930 h 1538630"/>
              <a:gd name="csX251" fmla="*/ 1309139 w 1609516"/>
              <a:gd name="csY251" fmla="*/ 333603 h 1538630"/>
              <a:gd name="csX252" fmla="*/ 1305666 w 1609516"/>
              <a:gd name="csY252" fmla="*/ 334280 h 1538630"/>
              <a:gd name="csX253" fmla="*/ 1302988 w 1609516"/>
              <a:gd name="csY253" fmla="*/ 334748 h 1538630"/>
              <a:gd name="csX254" fmla="*/ 1305905 w 1609516"/>
              <a:gd name="csY254" fmla="*/ 332775 h 1538630"/>
              <a:gd name="csX255" fmla="*/ 1304485 w 1609516"/>
              <a:gd name="csY255" fmla="*/ 333202 h 1538630"/>
              <a:gd name="csX256" fmla="*/ 1301459 w 1609516"/>
              <a:gd name="csY256" fmla="*/ 336108 h 1538630"/>
              <a:gd name="csX257" fmla="*/ 1291989 w 1609516"/>
              <a:gd name="csY257" fmla="*/ 338839 h 1538630"/>
              <a:gd name="csX258" fmla="*/ 1290426 w 1609516"/>
              <a:gd name="csY258" fmla="*/ 343066 h 1538630"/>
              <a:gd name="csX259" fmla="*/ 1285740 w 1609516"/>
              <a:gd name="csY259" fmla="*/ 344123 h 1538630"/>
              <a:gd name="csX260" fmla="*/ 1237314 w 1609516"/>
              <a:gd name="csY260" fmla="*/ 382525 h 1538630"/>
              <a:gd name="csX261" fmla="*/ 1232628 w 1609516"/>
              <a:gd name="csY261" fmla="*/ 392389 h 1538630"/>
              <a:gd name="csX262" fmla="*/ 1228625 w 1609516"/>
              <a:gd name="csY262" fmla="*/ 398731 h 1538630"/>
              <a:gd name="csX263" fmla="*/ 1222822 w 1609516"/>
              <a:gd name="csY263" fmla="*/ 434798 h 1538630"/>
              <a:gd name="csX264" fmla="*/ 1260746 w 1609516"/>
              <a:gd name="csY264" fmla="*/ 485398 h 1538630"/>
              <a:gd name="csX265" fmla="*/ 1268556 w 1609516"/>
              <a:gd name="csY265" fmla="*/ 488216 h 1538630"/>
              <a:gd name="csX266" fmla="*/ 1268556 w 1609516"/>
              <a:gd name="csY266" fmla="*/ 491034 h 1538630"/>
              <a:gd name="csX267" fmla="*/ 1338852 w 1609516"/>
              <a:gd name="csY267" fmla="*/ 489625 h 1538630"/>
              <a:gd name="csX268" fmla="*/ 1347444 w 1609516"/>
              <a:gd name="csY268" fmla="*/ 488480 h 1538630"/>
              <a:gd name="csX269" fmla="*/ 1369362 w 1609516"/>
              <a:gd name="csY269" fmla="*/ 482513 h 1538630"/>
              <a:gd name="csX270" fmla="*/ 1388840 w 1609516"/>
              <a:gd name="csY270" fmla="*/ 478351 h 1538630"/>
              <a:gd name="csX271" fmla="*/ 1388840 w 1609516"/>
              <a:gd name="csY271" fmla="*/ 475533 h 1538630"/>
              <a:gd name="csX272" fmla="*/ 1395576 w 1609516"/>
              <a:gd name="csY272" fmla="*/ 473419 h 1538630"/>
              <a:gd name="csX273" fmla="*/ 1399365 w 1609516"/>
              <a:gd name="csY273" fmla="*/ 472230 h 1538630"/>
              <a:gd name="csX274" fmla="*/ 1407585 w 1609516"/>
              <a:gd name="csY274" fmla="*/ 471305 h 1538630"/>
              <a:gd name="csX275" fmla="*/ 1409147 w 1609516"/>
              <a:gd name="csY275" fmla="*/ 467078 h 1538630"/>
              <a:gd name="csX276" fmla="*/ 1416470 w 1609516"/>
              <a:gd name="csY276" fmla="*/ 464259 h 1538630"/>
              <a:gd name="csX277" fmla="*/ 1437949 w 1609516"/>
              <a:gd name="csY277" fmla="*/ 455011 h 1538630"/>
              <a:gd name="csX278" fmla="*/ 1452887 w 1609516"/>
              <a:gd name="csY278" fmla="*/ 450167 h 1538630"/>
              <a:gd name="csX279" fmla="*/ 1452887 w 1609516"/>
              <a:gd name="csY279" fmla="*/ 447349 h 1538630"/>
              <a:gd name="csX280" fmla="*/ 1455394 w 1609516"/>
              <a:gd name="csY280" fmla="*/ 446122 h 1538630"/>
              <a:gd name="csX281" fmla="*/ 1466653 w 1609516"/>
              <a:gd name="csY281" fmla="*/ 440567 h 1538630"/>
              <a:gd name="csX282" fmla="*/ 1470598 w 1609516"/>
              <a:gd name="csY282" fmla="*/ 438637 h 1538630"/>
              <a:gd name="csX283" fmla="*/ 1474397 w 1609516"/>
              <a:gd name="csY283" fmla="*/ 436752 h 1538630"/>
              <a:gd name="csX284" fmla="*/ 1477892 w 1609516"/>
              <a:gd name="csY284" fmla="*/ 435030 h 1538630"/>
              <a:gd name="csX285" fmla="*/ 1485691 w 1609516"/>
              <a:gd name="csY285" fmla="*/ 429029 h 1538630"/>
              <a:gd name="csX286" fmla="*/ 1488858 w 1609516"/>
              <a:gd name="csY286" fmla="*/ 427653 h 1538630"/>
              <a:gd name="csX287" fmla="*/ 1495943 w 1609516"/>
              <a:gd name="csY287" fmla="*/ 421454 h 1538630"/>
              <a:gd name="csX288" fmla="*/ 1538608 w 1609516"/>
              <a:gd name="csY288" fmla="*/ 388338 h 1538630"/>
              <a:gd name="csX289" fmla="*/ 1543490 w 1609516"/>
              <a:gd name="csY289" fmla="*/ 388161 h 1538630"/>
              <a:gd name="csX290" fmla="*/ 1547621 w 1609516"/>
              <a:gd name="csY290" fmla="*/ 387804 h 1538630"/>
              <a:gd name="csX291" fmla="*/ 1579418 w 1609516"/>
              <a:gd name="csY291" fmla="*/ 396617 h 1538630"/>
              <a:gd name="csX292" fmla="*/ 1583342 w 1609516"/>
              <a:gd name="csY292" fmla="*/ 398780 h 1538630"/>
              <a:gd name="csX293" fmla="*/ 1601288 w 1609516"/>
              <a:gd name="csY293" fmla="*/ 423392 h 1538630"/>
              <a:gd name="csX294" fmla="*/ 1594484 w 1609516"/>
              <a:gd name="csY294" fmla="*/ 460159 h 1538630"/>
              <a:gd name="csX295" fmla="*/ 1574732 w 1609516"/>
              <a:gd name="csY295" fmla="*/ 475533 h 1538630"/>
              <a:gd name="csX296" fmla="*/ 1572097 w 1609516"/>
              <a:gd name="csY296" fmla="*/ 477078 h 1538630"/>
              <a:gd name="csX297" fmla="*/ 1556066 w 1609516"/>
              <a:gd name="csY297" fmla="*/ 478737 h 1538630"/>
              <a:gd name="csX298" fmla="*/ 1548631 w 1609516"/>
              <a:gd name="csY298" fmla="*/ 478825 h 1538630"/>
              <a:gd name="csX299" fmla="*/ 1536991 w 1609516"/>
              <a:gd name="csY299" fmla="*/ 478889 h 1538630"/>
              <a:gd name="csX300" fmla="*/ 1498188 w 1609516"/>
              <a:gd name="csY300" fmla="*/ 485398 h 1538630"/>
              <a:gd name="csX301" fmla="*/ 1493892 w 1609516"/>
              <a:gd name="csY301" fmla="*/ 487600 h 1538630"/>
              <a:gd name="csX302" fmla="*/ 1490377 w 1609516"/>
              <a:gd name="csY302" fmla="*/ 489625 h 1538630"/>
              <a:gd name="csX303" fmla="*/ 1471650 w 1609516"/>
              <a:gd name="csY303" fmla="*/ 498185 h 1538630"/>
              <a:gd name="csX304" fmla="*/ 1459135 w 1609516"/>
              <a:gd name="csY304" fmla="*/ 505127 h 1538630"/>
              <a:gd name="csX305" fmla="*/ 1452594 w 1609516"/>
              <a:gd name="csY305" fmla="*/ 508033 h 1538630"/>
              <a:gd name="csX306" fmla="*/ 1427795 w 1609516"/>
              <a:gd name="csY306" fmla="*/ 520100 h 1538630"/>
              <a:gd name="csX307" fmla="*/ 1423733 w 1609516"/>
              <a:gd name="csY307" fmla="*/ 522148 h 1538630"/>
              <a:gd name="csX308" fmla="*/ 1419929 w 1609516"/>
              <a:gd name="csY308" fmla="*/ 524118 h 1538630"/>
              <a:gd name="csX309" fmla="*/ 1416487 w 1609516"/>
              <a:gd name="csY309" fmla="*/ 525883 h 1538630"/>
              <a:gd name="csX310" fmla="*/ 1412271 w 1609516"/>
              <a:gd name="csY310" fmla="*/ 531902 h 1538630"/>
              <a:gd name="csX311" fmla="*/ 1396650 w 1609516"/>
              <a:gd name="csY311" fmla="*/ 537539 h 1538630"/>
              <a:gd name="csX312" fmla="*/ 1396650 w 1609516"/>
              <a:gd name="csY312" fmla="*/ 540357 h 1538630"/>
              <a:gd name="csX313" fmla="*/ 1393495 w 1609516"/>
              <a:gd name="csY313" fmla="*/ 541502 h 1538630"/>
              <a:gd name="csX314" fmla="*/ 1362284 w 1609516"/>
              <a:gd name="csY314" fmla="*/ 558678 h 1538630"/>
              <a:gd name="csX315" fmla="*/ 1355937 w 1609516"/>
              <a:gd name="csY315" fmla="*/ 562905 h 1538630"/>
              <a:gd name="csX316" fmla="*/ 1334165 w 1609516"/>
              <a:gd name="csY316" fmla="*/ 578406 h 1538630"/>
              <a:gd name="csX317" fmla="*/ 1331200 w 1609516"/>
              <a:gd name="csY317" fmla="*/ 580559 h 1538630"/>
              <a:gd name="csX318" fmla="*/ 1322175 w 1609516"/>
              <a:gd name="csY318" fmla="*/ 596793 h 1538630"/>
              <a:gd name="csX319" fmla="*/ 1320106 w 1609516"/>
              <a:gd name="csY319" fmla="*/ 602363 h 1538630"/>
              <a:gd name="csX320" fmla="*/ 1328015 w 1609516"/>
              <a:gd name="csY320" fmla="*/ 647640 h 1538630"/>
              <a:gd name="csX321" fmla="*/ 1332604 w 1609516"/>
              <a:gd name="csY321" fmla="*/ 675643 h 1538630"/>
              <a:gd name="csX322" fmla="*/ 1335727 w 1609516"/>
              <a:gd name="csY322" fmla="*/ 675643 h 1538630"/>
              <a:gd name="csX323" fmla="*/ 1337741 w 1609516"/>
              <a:gd name="csY323" fmla="*/ 690059 h 1538630"/>
              <a:gd name="csX324" fmla="*/ 1338003 w 1609516"/>
              <a:gd name="csY324" fmla="*/ 696222 h 1538630"/>
              <a:gd name="csX325" fmla="*/ 1338340 w 1609516"/>
              <a:gd name="csY325" fmla="*/ 705887 h 1538630"/>
              <a:gd name="csX326" fmla="*/ 1345277 w 1609516"/>
              <a:gd name="csY326" fmla="*/ 733245 h 1538630"/>
              <a:gd name="csX327" fmla="*/ 1363162 w 1609516"/>
              <a:gd name="csY327" fmla="*/ 741612 h 1538630"/>
              <a:gd name="csX328" fmla="*/ 1384154 w 1609516"/>
              <a:gd name="csY328" fmla="*/ 748922 h 1538630"/>
              <a:gd name="csX329" fmla="*/ 1391476 w 1609516"/>
              <a:gd name="csY329" fmla="*/ 750419 h 1538630"/>
              <a:gd name="csX330" fmla="*/ 1395564 w 1609516"/>
              <a:gd name="csY330" fmla="*/ 751080 h 1538630"/>
              <a:gd name="csX331" fmla="*/ 1399775 w 1609516"/>
              <a:gd name="csY331" fmla="*/ 751740 h 1538630"/>
              <a:gd name="csX332" fmla="*/ 1403887 w 1609516"/>
              <a:gd name="csY332" fmla="*/ 752489 h 1538630"/>
              <a:gd name="csX333" fmla="*/ 1465383 w 1609516"/>
              <a:gd name="csY333" fmla="*/ 755969 h 1538630"/>
              <a:gd name="csX334" fmla="*/ 1470339 w 1609516"/>
              <a:gd name="csY334" fmla="*/ 755897 h 1538630"/>
              <a:gd name="csX335" fmla="*/ 1496809 w 1609516"/>
              <a:gd name="csY335" fmla="*/ 749313 h 1538630"/>
              <a:gd name="csX336" fmla="*/ 1515371 w 1609516"/>
              <a:gd name="csY336" fmla="*/ 743285 h 1538630"/>
              <a:gd name="csX337" fmla="*/ 1515371 w 1609516"/>
              <a:gd name="csY337" fmla="*/ 740467 h 1538630"/>
              <a:gd name="csX338" fmla="*/ 1537632 w 1609516"/>
              <a:gd name="csY338" fmla="*/ 737120 h 1538630"/>
              <a:gd name="csX339" fmla="*/ 1541657 w 1609516"/>
              <a:gd name="csY339" fmla="*/ 737127 h 1538630"/>
              <a:gd name="csX340" fmla="*/ 1574732 w 1609516"/>
              <a:gd name="csY340" fmla="*/ 748922 h 1538630"/>
              <a:gd name="csX341" fmla="*/ 1588791 w 1609516"/>
              <a:gd name="csY341" fmla="*/ 792608 h 1538630"/>
              <a:gd name="csX342" fmla="*/ 1584105 w 1609516"/>
              <a:gd name="csY342" fmla="*/ 805291 h 1538630"/>
              <a:gd name="csX343" fmla="*/ 1580981 w 1609516"/>
              <a:gd name="csY343" fmla="*/ 806700 h 1538630"/>
              <a:gd name="csX344" fmla="*/ 1578735 w 1609516"/>
              <a:gd name="csY344" fmla="*/ 810311 h 1538630"/>
              <a:gd name="csX345" fmla="*/ 1576295 w 1609516"/>
              <a:gd name="csY345" fmla="*/ 813746 h 1538630"/>
              <a:gd name="csX346" fmla="*/ 1571652 w 1609516"/>
              <a:gd name="csY346" fmla="*/ 813746 h 1538630"/>
              <a:gd name="csX347" fmla="*/ 1571785 w 1609516"/>
              <a:gd name="csY347" fmla="*/ 814106 h 1538630"/>
              <a:gd name="csX348" fmla="*/ 1574909 w 1609516"/>
              <a:gd name="csY348" fmla="*/ 815515 h 1538630"/>
              <a:gd name="csX349" fmla="*/ 1565463 w 1609516"/>
              <a:gd name="csY349" fmla="*/ 821839 h 1538630"/>
              <a:gd name="csX350" fmla="*/ 1562085 w 1609516"/>
              <a:gd name="csY350" fmla="*/ 822101 h 1538630"/>
              <a:gd name="csX351" fmla="*/ 1551301 w 1609516"/>
              <a:gd name="csY351" fmla="*/ 825020 h 1538630"/>
              <a:gd name="csX352" fmla="*/ 1551301 w 1609516"/>
              <a:gd name="csY352" fmla="*/ 827838 h 1538630"/>
              <a:gd name="csX353" fmla="*/ 1485380 w 1609516"/>
              <a:gd name="csY353" fmla="*/ 815007 h 1538630"/>
              <a:gd name="csX354" fmla="*/ 1431603 w 1609516"/>
              <a:gd name="csY354" fmla="*/ 808726 h 1538630"/>
              <a:gd name="csX355" fmla="*/ 1424140 w 1609516"/>
              <a:gd name="csY355" fmla="*/ 808542 h 1538630"/>
              <a:gd name="csX356" fmla="*/ 1406023 w 1609516"/>
              <a:gd name="csY356" fmla="*/ 808109 h 1538630"/>
              <a:gd name="csX357" fmla="*/ 1406023 w 1609516"/>
              <a:gd name="csY357" fmla="*/ 810928 h 1538630"/>
              <a:gd name="csX358" fmla="*/ 1403383 w 1609516"/>
              <a:gd name="csY358" fmla="*/ 811311 h 1538630"/>
              <a:gd name="csX359" fmla="*/ 1345442 w 1609516"/>
              <a:gd name="csY359" fmla="*/ 828907 h 1538630"/>
              <a:gd name="csX360" fmla="*/ 1337875 w 1609516"/>
              <a:gd name="csY360" fmla="*/ 856639 h 1538630"/>
              <a:gd name="csX361" fmla="*/ 1337692 w 1609516"/>
              <a:gd name="csY361" fmla="*/ 860171 h 1538630"/>
              <a:gd name="csX362" fmla="*/ 1337290 w 1609516"/>
              <a:gd name="csY362" fmla="*/ 868706 h 1538630"/>
              <a:gd name="csX363" fmla="*/ 1334165 w 1609516"/>
              <a:gd name="csY363" fmla="*/ 868706 h 1538630"/>
              <a:gd name="csX364" fmla="*/ 1334165 w 1609516"/>
              <a:gd name="csY364" fmla="*/ 870034 h 1538630"/>
              <a:gd name="csX365" fmla="*/ 1334237 w 1609516"/>
              <a:gd name="csY365" fmla="*/ 869093 h 1538630"/>
              <a:gd name="csX366" fmla="*/ 1335800 w 1609516"/>
              <a:gd name="csY366" fmla="*/ 869093 h 1538630"/>
              <a:gd name="csX367" fmla="*/ 1335995 w 1609516"/>
              <a:gd name="csY367" fmla="*/ 876491 h 1538630"/>
              <a:gd name="csX368" fmla="*/ 1336105 w 1609516"/>
              <a:gd name="csY368" fmla="*/ 880653 h 1538630"/>
              <a:gd name="csX369" fmla="*/ 1334294 w 1609516"/>
              <a:gd name="csY369" fmla="*/ 887271 h 1538630"/>
              <a:gd name="csX370" fmla="*/ 1331455 w 1609516"/>
              <a:gd name="csY370" fmla="*/ 896440 h 1538630"/>
              <a:gd name="csX371" fmla="*/ 1330887 w 1609516"/>
              <a:gd name="csY371" fmla="*/ 899969 h 1538630"/>
              <a:gd name="csX372" fmla="*/ 1330332 w 1609516"/>
              <a:gd name="csY372" fmla="*/ 903618 h 1538630"/>
              <a:gd name="csX373" fmla="*/ 1329209 w 1609516"/>
              <a:gd name="csY373" fmla="*/ 910797 h 1538630"/>
              <a:gd name="csX374" fmla="*/ 1328724 w 1609516"/>
              <a:gd name="csY374" fmla="*/ 913998 h 1538630"/>
              <a:gd name="csX375" fmla="*/ 1324865 w 1609516"/>
              <a:gd name="csY375" fmla="*/ 922643 h 1538630"/>
              <a:gd name="csX376" fmla="*/ 1322619 w 1609516"/>
              <a:gd name="csY376" fmla="*/ 937979 h 1538630"/>
              <a:gd name="csX377" fmla="*/ 1318744 w 1609516"/>
              <a:gd name="csY377" fmla="*/ 944961 h 1538630"/>
              <a:gd name="csX378" fmla="*/ 1318544 w 1609516"/>
              <a:gd name="csY378" fmla="*/ 946213 h 1538630"/>
              <a:gd name="csX379" fmla="*/ 1318251 w 1609516"/>
              <a:gd name="csY379" fmla="*/ 955285 h 1538630"/>
              <a:gd name="csX380" fmla="*/ 1318184 w 1609516"/>
              <a:gd name="csY380" fmla="*/ 960036 h 1538630"/>
              <a:gd name="csX381" fmla="*/ 1324024 w 1609516"/>
              <a:gd name="csY381" fmla="*/ 973660 h 1538630"/>
              <a:gd name="csX382" fmla="*/ 1329284 w 1609516"/>
              <a:gd name="csY382" fmla="*/ 983382 h 1538630"/>
              <a:gd name="csX383" fmla="*/ 1340414 w 1609516"/>
              <a:gd name="csY383" fmla="*/ 998354 h 1538630"/>
              <a:gd name="csX384" fmla="*/ 1346272 w 1609516"/>
              <a:gd name="csY384" fmla="*/ 1005048 h 1538630"/>
              <a:gd name="csX385" fmla="*/ 1394716 w 1609516"/>
              <a:gd name="csY385" fmla="*/ 1042740 h 1538630"/>
              <a:gd name="csX386" fmla="*/ 1401953 w 1609516"/>
              <a:gd name="csY386" fmla="*/ 1047374 h 1538630"/>
              <a:gd name="csX387" fmla="*/ 1427197 w 1609516"/>
              <a:gd name="csY387" fmla="*/ 1059061 h 1538630"/>
              <a:gd name="csX388" fmla="*/ 1437265 w 1609516"/>
              <a:gd name="csY388" fmla="*/ 1064588 h 1538630"/>
              <a:gd name="csX389" fmla="*/ 1437265 w 1609516"/>
              <a:gd name="csY389" fmla="*/ 1067406 h 1538630"/>
              <a:gd name="csX390" fmla="*/ 1440878 w 1609516"/>
              <a:gd name="csY390" fmla="*/ 1067847 h 1538630"/>
              <a:gd name="csX391" fmla="*/ 1447175 w 1609516"/>
              <a:gd name="csY391" fmla="*/ 1070753 h 1538630"/>
              <a:gd name="csX392" fmla="*/ 1457866 w 1609516"/>
              <a:gd name="csY392" fmla="*/ 1076830 h 1538630"/>
              <a:gd name="csX393" fmla="*/ 1462132 w 1609516"/>
              <a:gd name="csY393" fmla="*/ 1078696 h 1538630"/>
              <a:gd name="csX394" fmla="*/ 1465383 w 1609516"/>
              <a:gd name="csY394" fmla="*/ 1080089 h 1538630"/>
              <a:gd name="csX395" fmla="*/ 1465383 w 1609516"/>
              <a:gd name="csY395" fmla="*/ 1082908 h 1538630"/>
              <a:gd name="csX396" fmla="*/ 1468758 w 1609516"/>
              <a:gd name="csY396" fmla="*/ 1083975 h 1538630"/>
              <a:gd name="csX397" fmla="*/ 1481688 w 1609516"/>
              <a:gd name="csY397" fmla="*/ 1091187 h 1538630"/>
              <a:gd name="csX398" fmla="*/ 1486283 w 1609516"/>
              <a:gd name="csY398" fmla="*/ 1094236 h 1538630"/>
              <a:gd name="csX399" fmla="*/ 1494869 w 1609516"/>
              <a:gd name="csY399" fmla="*/ 1100171 h 1538630"/>
              <a:gd name="csX400" fmla="*/ 1544335 w 1609516"/>
              <a:gd name="csY400" fmla="*/ 1109518 h 1538630"/>
              <a:gd name="csX401" fmla="*/ 1593477 w 1609516"/>
              <a:gd name="csY401" fmla="*/ 1119900 h 1538630"/>
              <a:gd name="csX402" fmla="*/ 1605975 w 1609516"/>
              <a:gd name="csY402" fmla="*/ 1144913 h 1538630"/>
              <a:gd name="csX403" fmla="*/ 1609099 w 1609516"/>
              <a:gd name="csY403" fmla="*/ 1144913 h 1538630"/>
              <a:gd name="csX404" fmla="*/ 1609392 w 1609516"/>
              <a:gd name="csY404" fmla="*/ 1156892 h 1538630"/>
              <a:gd name="csX405" fmla="*/ 1609511 w 1609516"/>
              <a:gd name="csY405" fmla="*/ 1160272 h 1538630"/>
              <a:gd name="csX406" fmla="*/ 1604412 w 1609516"/>
              <a:gd name="csY406" fmla="*/ 1181553 h 1538630"/>
              <a:gd name="csX407" fmla="*/ 1601288 w 1609516"/>
              <a:gd name="csY407" fmla="*/ 1190009 h 1538630"/>
              <a:gd name="csX408" fmla="*/ 1598164 w 1609516"/>
              <a:gd name="csY408" fmla="*/ 1190009 h 1538630"/>
              <a:gd name="csX409" fmla="*/ 1597187 w 1609516"/>
              <a:gd name="csY409" fmla="*/ 1192739 h 1538630"/>
              <a:gd name="csX410" fmla="*/ 1595040 w 1609516"/>
              <a:gd name="csY410" fmla="*/ 1195645 h 1538630"/>
              <a:gd name="csX411" fmla="*/ 1585667 w 1609516"/>
              <a:gd name="csY411" fmla="*/ 1197055 h 1538630"/>
              <a:gd name="csX412" fmla="*/ 1582543 w 1609516"/>
              <a:gd name="csY412" fmla="*/ 1202691 h 1538630"/>
              <a:gd name="csX413" fmla="*/ 1562431 w 1609516"/>
              <a:gd name="csY413" fmla="*/ 1204365 h 1538630"/>
              <a:gd name="csX414" fmla="*/ 1558690 w 1609516"/>
              <a:gd name="csY414" fmla="*/ 1204417 h 1538630"/>
              <a:gd name="csX415" fmla="*/ 1521102 w 1609516"/>
              <a:gd name="csY415" fmla="*/ 1189585 h 1538630"/>
              <a:gd name="csX416" fmla="*/ 1505022 w 1609516"/>
              <a:gd name="csY416" fmla="*/ 1172041 h 1538630"/>
              <a:gd name="csX417" fmla="*/ 1457573 w 1609516"/>
              <a:gd name="csY417" fmla="*/ 1140686 h 1538630"/>
              <a:gd name="csX418" fmla="*/ 1457573 w 1609516"/>
              <a:gd name="csY418" fmla="*/ 1137867 h 1538630"/>
              <a:gd name="csX419" fmla="*/ 1452985 w 1609516"/>
              <a:gd name="csY419" fmla="*/ 1137339 h 1538630"/>
              <a:gd name="csX420" fmla="*/ 1448200 w 1609516"/>
              <a:gd name="csY420" fmla="*/ 1136458 h 1538630"/>
              <a:gd name="csX421" fmla="*/ 1446638 w 1609516"/>
              <a:gd name="csY421" fmla="*/ 1133640 h 1538630"/>
              <a:gd name="csX422" fmla="*/ 1438937 w 1609516"/>
              <a:gd name="csY422" fmla="*/ 1130601 h 1538630"/>
              <a:gd name="csX423" fmla="*/ 1429260 w 1609516"/>
              <a:gd name="csY423" fmla="*/ 1126770 h 1538630"/>
              <a:gd name="csX424" fmla="*/ 1411393 w 1609516"/>
              <a:gd name="csY424" fmla="*/ 1120340 h 1538630"/>
              <a:gd name="csX425" fmla="*/ 1391427 w 1609516"/>
              <a:gd name="csY425" fmla="*/ 1111191 h 1538630"/>
              <a:gd name="csX426" fmla="*/ 1381029 w 1609516"/>
              <a:gd name="csY426" fmla="*/ 1106865 h 1538630"/>
              <a:gd name="csX427" fmla="*/ 1381029 w 1609516"/>
              <a:gd name="csY427" fmla="*/ 1104046 h 1538630"/>
              <a:gd name="csX428" fmla="*/ 1377221 w 1609516"/>
              <a:gd name="csY428" fmla="*/ 1103605 h 1538630"/>
              <a:gd name="csX429" fmla="*/ 1357597 w 1609516"/>
              <a:gd name="csY429" fmla="*/ 1098409 h 1538630"/>
              <a:gd name="csX430" fmla="*/ 1352032 w 1609516"/>
              <a:gd name="csY430" fmla="*/ 1096736 h 1538630"/>
              <a:gd name="csX431" fmla="*/ 1348225 w 1609516"/>
              <a:gd name="csY431" fmla="*/ 1095590 h 1538630"/>
              <a:gd name="csX432" fmla="*/ 1348225 w 1609516"/>
              <a:gd name="csY432" fmla="*/ 1092772 h 1538630"/>
              <a:gd name="csX433" fmla="*/ 1337290 w 1609516"/>
              <a:gd name="csY433" fmla="*/ 1091363 h 1538630"/>
              <a:gd name="csX434" fmla="*/ 1337290 w 1609516"/>
              <a:gd name="csY434" fmla="*/ 1088544 h 1538630"/>
              <a:gd name="csX435" fmla="*/ 1331529 w 1609516"/>
              <a:gd name="csY435" fmla="*/ 1088104 h 1538630"/>
              <a:gd name="csX436" fmla="*/ 1323297 w 1609516"/>
              <a:gd name="csY436" fmla="*/ 1086611 h 1538630"/>
              <a:gd name="csX437" fmla="*/ 1323297 w 1609516"/>
              <a:gd name="csY437" fmla="*/ 1087618 h 1538630"/>
              <a:gd name="csX438" fmla="*/ 1319789 w 1609516"/>
              <a:gd name="csY438" fmla="*/ 1087310 h 1538630"/>
              <a:gd name="csX439" fmla="*/ 1262375 w 1609516"/>
              <a:gd name="csY439" fmla="*/ 1089028 h 1538630"/>
              <a:gd name="csX440" fmla="*/ 1258728 w 1609516"/>
              <a:gd name="csY440" fmla="*/ 1088205 h 1538630"/>
              <a:gd name="csX441" fmla="*/ 1246964 w 1609516"/>
              <a:gd name="csY441" fmla="*/ 1091489 h 1538630"/>
              <a:gd name="csX442" fmla="*/ 1223224 w 1609516"/>
              <a:gd name="csY442" fmla="*/ 1112865 h 1538630"/>
              <a:gd name="csX443" fmla="*/ 1213883 w 1609516"/>
              <a:gd name="csY443" fmla="*/ 1122366 h 1538630"/>
              <a:gd name="csX444" fmla="*/ 1212505 w 1609516"/>
              <a:gd name="csY444" fmla="*/ 1125708 h 1538630"/>
              <a:gd name="csX445" fmla="*/ 1204180 w 1609516"/>
              <a:gd name="csY445" fmla="*/ 1135561 h 1538630"/>
              <a:gd name="csX446" fmla="*/ 1200238 w 1609516"/>
              <a:gd name="csY446" fmla="*/ 1138999 h 1538630"/>
              <a:gd name="csX447" fmla="*/ 1192025 w 1609516"/>
              <a:gd name="csY447" fmla="*/ 1146022 h 1538630"/>
              <a:gd name="csX448" fmla="*/ 1173945 w 1609516"/>
              <a:gd name="csY448" fmla="*/ 1174749 h 1538630"/>
              <a:gd name="csX449" fmla="*/ 1173950 w 1609516"/>
              <a:gd name="csY449" fmla="*/ 1182610 h 1538630"/>
              <a:gd name="csX450" fmla="*/ 1173989 w 1609516"/>
              <a:gd name="csY450" fmla="*/ 1186765 h 1538630"/>
              <a:gd name="csX451" fmla="*/ 1182640 w 1609516"/>
              <a:gd name="csY451" fmla="*/ 1215374 h 1538630"/>
              <a:gd name="csX452" fmla="*/ 1185764 w 1609516"/>
              <a:gd name="csY452" fmla="*/ 1221804 h 1538630"/>
              <a:gd name="csX453" fmla="*/ 1187301 w 1609516"/>
              <a:gd name="csY453" fmla="*/ 1224859 h 1538630"/>
              <a:gd name="csX454" fmla="*/ 1190573 w 1609516"/>
              <a:gd name="csY454" fmla="*/ 1231740 h 1538630"/>
              <a:gd name="csX455" fmla="*/ 1205925 w 1609516"/>
              <a:gd name="csY455" fmla="*/ 1255163 h 1538630"/>
              <a:gd name="csX456" fmla="*/ 1212174 w 1609516"/>
              <a:gd name="csY456" fmla="*/ 1263134 h 1538630"/>
              <a:gd name="csX457" fmla="*/ 1235556 w 1609516"/>
              <a:gd name="csY457" fmla="*/ 1282538 h 1538630"/>
              <a:gd name="csX458" fmla="*/ 1238876 w 1609516"/>
              <a:gd name="csY458" fmla="*/ 1284426 h 1538630"/>
              <a:gd name="csX459" fmla="*/ 1238876 w 1609516"/>
              <a:gd name="csY459" fmla="*/ 1287245 h 1538630"/>
              <a:gd name="csX460" fmla="*/ 1242245 w 1609516"/>
              <a:gd name="csY460" fmla="*/ 1287663 h 1538630"/>
              <a:gd name="csX461" fmla="*/ 1271681 w 1609516"/>
              <a:gd name="csY461" fmla="*/ 1305565 h 1538630"/>
              <a:gd name="csX462" fmla="*/ 1271742 w 1609516"/>
              <a:gd name="csY462" fmla="*/ 1306172 h 1538630"/>
              <a:gd name="csX463" fmla="*/ 1278525 w 1609516"/>
              <a:gd name="csY463" fmla="*/ 1315767 h 1538630"/>
              <a:gd name="csX464" fmla="*/ 1281097 w 1609516"/>
              <a:gd name="csY464" fmla="*/ 1327286 h 1538630"/>
              <a:gd name="csX465" fmla="*/ 1277973 w 1609516"/>
              <a:gd name="csY465" fmla="*/ 1355470 h 1538630"/>
              <a:gd name="csX466" fmla="*/ 1277460 w 1609516"/>
              <a:gd name="csY466" fmla="*/ 1347025 h 1538630"/>
              <a:gd name="csX467" fmla="*/ 1273531 w 1609516"/>
              <a:gd name="csY467" fmla="*/ 1357991 h 1538630"/>
              <a:gd name="csX468" fmla="*/ 1263870 w 1609516"/>
              <a:gd name="csY468" fmla="*/ 1368980 h 1538630"/>
              <a:gd name="csX469" fmla="*/ 1246686 w 1609516"/>
              <a:gd name="csY469" fmla="*/ 1376026 h 1538630"/>
              <a:gd name="csX470" fmla="*/ 1246686 w 1609516"/>
              <a:gd name="csY470" fmla="*/ 1378844 h 1538630"/>
              <a:gd name="csX471" fmla="*/ 1231651 w 1609516"/>
              <a:gd name="csY471" fmla="*/ 1379196 h 1538630"/>
              <a:gd name="csX472" fmla="*/ 1227373 w 1609516"/>
              <a:gd name="csY472" fmla="*/ 1379340 h 1538630"/>
              <a:gd name="csX473" fmla="*/ 1206071 w 1609516"/>
              <a:gd name="csY473" fmla="*/ 1373207 h 1538630"/>
              <a:gd name="csX474" fmla="*/ 1202069 w 1609516"/>
              <a:gd name="csY474" fmla="*/ 1371798 h 1538630"/>
              <a:gd name="csX475" fmla="*/ 1184104 w 1609516"/>
              <a:gd name="csY475" fmla="*/ 1356176 h 1538630"/>
              <a:gd name="csX476" fmla="*/ 1177270 w 1609516"/>
              <a:gd name="csY476" fmla="*/ 1335247 h 1538630"/>
              <a:gd name="csX477" fmla="*/ 1169002 w 1609516"/>
              <a:gd name="csY477" fmla="*/ 1313464 h 1538630"/>
              <a:gd name="csX478" fmla="*/ 1163504 w 1609516"/>
              <a:gd name="csY478" fmla="*/ 1302130 h 1538630"/>
              <a:gd name="csX479" fmla="*/ 1162015 w 1609516"/>
              <a:gd name="csY479" fmla="*/ 1298788 h 1538630"/>
              <a:gd name="csX480" fmla="*/ 1160111 w 1609516"/>
              <a:gd name="csY480" fmla="*/ 1292656 h 1538630"/>
              <a:gd name="csX481" fmla="*/ 1154522 w 1609516"/>
              <a:gd name="csY481" fmla="*/ 1287245 h 1538630"/>
              <a:gd name="csX482" fmla="*/ 1151398 w 1609516"/>
              <a:gd name="csY482" fmla="*/ 1280199 h 1538630"/>
              <a:gd name="csX483" fmla="*/ 1144173 w 1609516"/>
              <a:gd name="csY483" fmla="*/ 1270774 h 1538630"/>
              <a:gd name="csX484" fmla="*/ 1142065 w 1609516"/>
              <a:gd name="csY484" fmla="*/ 1268160 h 1538630"/>
              <a:gd name="csX485" fmla="*/ 1135776 w 1609516"/>
              <a:gd name="csY485" fmla="*/ 1260470 h 1538630"/>
              <a:gd name="csX486" fmla="*/ 1132353 w 1609516"/>
              <a:gd name="csY486" fmla="*/ 1256247 h 1538630"/>
              <a:gd name="csX487" fmla="*/ 1112344 w 1609516"/>
              <a:gd name="csY487" fmla="*/ 1240741 h 1538630"/>
              <a:gd name="csX488" fmla="*/ 1106193 w 1609516"/>
              <a:gd name="csY488" fmla="*/ 1237570 h 1538630"/>
              <a:gd name="csX489" fmla="*/ 1101409 w 1609516"/>
              <a:gd name="csY489" fmla="*/ 1235104 h 1538630"/>
              <a:gd name="csX490" fmla="*/ 1101409 w 1609516"/>
              <a:gd name="csY490" fmla="*/ 1230876 h 1538630"/>
              <a:gd name="csX491" fmla="*/ 1065480 w 1609516"/>
              <a:gd name="csY491" fmla="*/ 1230876 h 1538630"/>
              <a:gd name="csX492" fmla="*/ 1063919 w 1609516"/>
              <a:gd name="csY492" fmla="*/ 1235104 h 1538630"/>
              <a:gd name="csX493" fmla="*/ 1059232 w 1609516"/>
              <a:gd name="csY493" fmla="*/ 1235104 h 1538630"/>
              <a:gd name="csX494" fmla="*/ 1059232 w 1609516"/>
              <a:gd name="csY494" fmla="*/ 1237922 h 1538630"/>
              <a:gd name="csX495" fmla="*/ 1040194 w 1609516"/>
              <a:gd name="csY495" fmla="*/ 1245761 h 1538630"/>
              <a:gd name="csX496" fmla="*/ 1030333 w 1609516"/>
              <a:gd name="csY496" fmla="*/ 1249901 h 1538630"/>
              <a:gd name="csX497" fmla="*/ 1013931 w 1609516"/>
              <a:gd name="csY497" fmla="*/ 1256242 h 1538630"/>
              <a:gd name="csX498" fmla="*/ 1005925 w 1609516"/>
              <a:gd name="csY498" fmla="*/ 1261615 h 1538630"/>
              <a:gd name="csX499" fmla="*/ 1004558 w 1609516"/>
              <a:gd name="csY499" fmla="*/ 1264697 h 1538630"/>
              <a:gd name="csX500" fmla="*/ 1002959 w 1609516"/>
              <a:gd name="csY500" fmla="*/ 1267961 h 1538630"/>
              <a:gd name="csX501" fmla="*/ 1000653 w 1609516"/>
              <a:gd name="csY501" fmla="*/ 1278965 h 1538630"/>
              <a:gd name="csX502" fmla="*/ 998297 w 1609516"/>
              <a:gd name="csY502" fmla="*/ 1294137 h 1538630"/>
              <a:gd name="csX503" fmla="*/ 996162 w 1609516"/>
              <a:gd name="csY503" fmla="*/ 1324765 h 1538630"/>
              <a:gd name="csX504" fmla="*/ 996164 w 1609516"/>
              <a:gd name="csY504" fmla="*/ 1327846 h 1538630"/>
              <a:gd name="csX505" fmla="*/ 1007780 w 1609516"/>
              <a:gd name="csY505" fmla="*/ 1403329 h 1538630"/>
              <a:gd name="csX506" fmla="*/ 1008940 w 1609516"/>
              <a:gd name="csY506" fmla="*/ 1407701 h 1538630"/>
              <a:gd name="csX507" fmla="*/ 1010080 w 1609516"/>
              <a:gd name="csY507" fmla="*/ 1411730 h 1538630"/>
              <a:gd name="csX508" fmla="*/ 1011075 w 1609516"/>
              <a:gd name="csY508" fmla="*/ 1415277 h 1538630"/>
              <a:gd name="csX509" fmla="*/ 1017055 w 1609516"/>
              <a:gd name="csY509" fmla="*/ 1422530 h 1538630"/>
              <a:gd name="csX510" fmla="*/ 1020277 w 1609516"/>
              <a:gd name="csY510" fmla="*/ 1427991 h 1538630"/>
              <a:gd name="csX511" fmla="*/ 1021796 w 1609516"/>
              <a:gd name="csY511" fmla="*/ 1430798 h 1538630"/>
              <a:gd name="csX512" fmla="*/ 1024579 w 1609516"/>
              <a:gd name="csY512" fmla="*/ 1437239 h 1538630"/>
              <a:gd name="csX513" fmla="*/ 1034043 w 1609516"/>
              <a:gd name="csY513" fmla="*/ 1448072 h 1538630"/>
              <a:gd name="csX514" fmla="*/ 1043782 w 1609516"/>
              <a:gd name="csY514" fmla="*/ 1464320 h 1538630"/>
              <a:gd name="csX515" fmla="*/ 1050458 w 1609516"/>
              <a:gd name="csY515" fmla="*/ 1472189 h 1538630"/>
              <a:gd name="csX516" fmla="*/ 1052926 w 1609516"/>
              <a:gd name="csY516" fmla="*/ 1482370 h 1538630"/>
              <a:gd name="csX517" fmla="*/ 1053316 w 1609516"/>
              <a:gd name="csY517" fmla="*/ 1496903 h 1538630"/>
              <a:gd name="csX518" fmla="*/ 1053352 w 1609516"/>
              <a:gd name="csY518" fmla="*/ 1500660 h 1538630"/>
              <a:gd name="csX519" fmla="*/ 1053341 w 1609516"/>
              <a:gd name="csY519" fmla="*/ 1504285 h 1538630"/>
              <a:gd name="csX520" fmla="*/ 1053329 w 1609516"/>
              <a:gd name="csY520" fmla="*/ 1507529 h 1538630"/>
              <a:gd name="csX521" fmla="*/ 1049801 w 1609516"/>
              <a:gd name="csY521" fmla="*/ 1516192 h 1538630"/>
              <a:gd name="csX522" fmla="*/ 1047312 w 1609516"/>
              <a:gd name="csY522" fmla="*/ 1516192 h 1538630"/>
              <a:gd name="csX523" fmla="*/ 1043611 w 1609516"/>
              <a:gd name="csY523" fmla="*/ 1522585 h 1538630"/>
              <a:gd name="csX524" fmla="*/ 1029552 w 1609516"/>
              <a:gd name="csY524" fmla="*/ 1529631 h 1538630"/>
              <a:gd name="csX525" fmla="*/ 1028771 w 1609516"/>
              <a:gd name="csY525" fmla="*/ 1532273 h 1538630"/>
              <a:gd name="csX526" fmla="*/ 1018013 w 1609516"/>
              <a:gd name="csY526" fmla="*/ 1537640 h 1538630"/>
              <a:gd name="csX527" fmla="*/ 981126 w 1609516"/>
              <a:gd name="csY527" fmla="*/ 1533859 h 1538630"/>
              <a:gd name="csX528" fmla="*/ 977227 w 1609516"/>
              <a:gd name="csY528" fmla="*/ 1531943 h 1538630"/>
              <a:gd name="csX529" fmla="*/ 955376 w 1609516"/>
              <a:gd name="csY529" fmla="*/ 1508751 h 1538630"/>
              <a:gd name="csX530" fmla="*/ 954571 w 1609516"/>
              <a:gd name="csY530" fmla="*/ 1500037 h 1538630"/>
              <a:gd name="csX531" fmla="*/ 951446 w 1609516"/>
              <a:gd name="csY531" fmla="*/ 1500037 h 1538630"/>
              <a:gd name="csX532" fmla="*/ 951251 w 1609516"/>
              <a:gd name="csY532" fmla="*/ 1487883 h 1538630"/>
              <a:gd name="csX533" fmla="*/ 951171 w 1609516"/>
              <a:gd name="csY533" fmla="*/ 1484431 h 1538630"/>
              <a:gd name="csX534" fmla="*/ 954571 w 1609516"/>
              <a:gd name="csY534" fmla="*/ 1466216 h 1538630"/>
              <a:gd name="csX535" fmla="*/ 954961 w 1609516"/>
              <a:gd name="csY535" fmla="*/ 1455118 h 1538630"/>
              <a:gd name="csX536" fmla="*/ 954932 w 1609516"/>
              <a:gd name="csY536" fmla="*/ 1451972 h 1538630"/>
              <a:gd name="csX537" fmla="*/ 945099 w 1609516"/>
              <a:gd name="csY537" fmla="*/ 1403594 h 1538630"/>
              <a:gd name="csX538" fmla="*/ 942366 w 1609516"/>
              <a:gd name="csY538" fmla="*/ 1393553 h 1538630"/>
              <a:gd name="csX539" fmla="*/ 934451 w 1609516"/>
              <a:gd name="csY539" fmla="*/ 1372734 h 1538630"/>
              <a:gd name="csX540" fmla="*/ 931974 w 1609516"/>
              <a:gd name="csY540" fmla="*/ 1365754 h 1538630"/>
              <a:gd name="csX541" fmla="*/ 931138 w 1609516"/>
              <a:gd name="csY541" fmla="*/ 1363343 h 1538630"/>
              <a:gd name="csX542" fmla="*/ 926452 w 1609516"/>
              <a:gd name="csY542" fmla="*/ 1361933 h 1538630"/>
              <a:gd name="csX543" fmla="*/ 918641 w 1609516"/>
              <a:gd name="csY543" fmla="*/ 1340795 h 1538630"/>
              <a:gd name="csX544" fmla="*/ 917079 w 1609516"/>
              <a:gd name="csY544" fmla="*/ 1335158 h 1538630"/>
              <a:gd name="csX545" fmla="*/ 913955 w 1609516"/>
              <a:gd name="csY545" fmla="*/ 1335158 h 1538630"/>
              <a:gd name="csX546" fmla="*/ 912057 w 1609516"/>
              <a:gd name="csY546" fmla="*/ 1330793 h 1538630"/>
              <a:gd name="csX547" fmla="*/ 902142 w 1609516"/>
              <a:gd name="csY547" fmla="*/ 1316222 h 1538630"/>
              <a:gd name="csX548" fmla="*/ 900091 w 1609516"/>
              <a:gd name="csY548" fmla="*/ 1313828 h 1538630"/>
              <a:gd name="csX549" fmla="*/ 878026 w 1609516"/>
              <a:gd name="csY549" fmla="*/ 1295700 h 1538630"/>
              <a:gd name="csX550" fmla="*/ 875134 w 1609516"/>
              <a:gd name="csY550" fmla="*/ 1293465 h 1538630"/>
              <a:gd name="csX551" fmla="*/ 869869 w 1609516"/>
              <a:gd name="csY551" fmla="*/ 1291826 h 1538630"/>
              <a:gd name="csX552" fmla="*/ 862384 w 1609516"/>
              <a:gd name="csY552" fmla="*/ 1291327 h 1538630"/>
              <a:gd name="csX553" fmla="*/ 844390 w 1609516"/>
              <a:gd name="csY553" fmla="*/ 1290461 h 1538630"/>
              <a:gd name="csX554" fmla="*/ 840476 w 1609516"/>
              <a:gd name="csY554" fmla="*/ 1290500 h 1538630"/>
              <a:gd name="csX555" fmla="*/ 831015 w 1609516"/>
              <a:gd name="csY555" fmla="*/ 1290637 h 1538630"/>
              <a:gd name="csX556" fmla="*/ 831015 w 1609516"/>
              <a:gd name="csY556" fmla="*/ 1293456 h 1538630"/>
              <a:gd name="csX557" fmla="*/ 818225 w 1609516"/>
              <a:gd name="csY557" fmla="*/ 1295570 h 1538630"/>
              <a:gd name="csX558" fmla="*/ 796774 w 1609516"/>
              <a:gd name="csY558" fmla="*/ 1297671 h 1538630"/>
              <a:gd name="csX559" fmla="*/ 783646 w 1609516"/>
              <a:gd name="csY559" fmla="*/ 1305736 h 1538630"/>
              <a:gd name="csX560" fmla="*/ 769263 w 1609516"/>
              <a:gd name="csY560" fmla="*/ 1327143 h 1538630"/>
              <a:gd name="csX561" fmla="*/ 764797 w 1609516"/>
              <a:gd name="csY561" fmla="*/ 1334360 h 1538630"/>
              <a:gd name="csX562" fmla="*/ 757875 w 1609516"/>
              <a:gd name="csY562" fmla="*/ 1353503 h 1538630"/>
              <a:gd name="csX563" fmla="*/ 755676 w 1609516"/>
              <a:gd name="csY563" fmla="*/ 1367455 h 1538630"/>
              <a:gd name="csX564" fmla="*/ 750558 w 1609516"/>
              <a:gd name="csY564" fmla="*/ 1399690 h 1538630"/>
              <a:gd name="csX565" fmla="*/ 753057 w 1609516"/>
              <a:gd name="csY565" fmla="*/ 1411256 h 1538630"/>
              <a:gd name="csX566" fmla="*/ 753057 w 1609516"/>
              <a:gd name="csY566" fmla="*/ 1416893 h 1538630"/>
              <a:gd name="csX567" fmla="*/ 756181 w 1609516"/>
              <a:gd name="csY567" fmla="*/ 1416893 h 1538630"/>
              <a:gd name="csX568" fmla="*/ 758133 w 1609516"/>
              <a:gd name="csY568" fmla="*/ 1436182 h 1538630"/>
              <a:gd name="csX569" fmla="*/ 758231 w 1609516"/>
              <a:gd name="csY569" fmla="*/ 1440781 h 1538630"/>
              <a:gd name="csX570" fmla="*/ 750713 w 1609516"/>
              <a:gd name="csY570" fmla="*/ 1465704 h 1538630"/>
              <a:gd name="csX571" fmla="*/ 748370 w 1609516"/>
              <a:gd name="csY571" fmla="*/ 1467185 h 1538630"/>
              <a:gd name="csX572" fmla="*/ 741633 w 1609516"/>
              <a:gd name="csY572" fmla="*/ 1473526 h 1538630"/>
              <a:gd name="csX573" fmla="*/ 728154 w 1609516"/>
              <a:gd name="csY573" fmla="*/ 1478343 h 1538630"/>
              <a:gd name="csX574" fmla="*/ 721814 w 1609516"/>
              <a:gd name="csY574" fmla="*/ 1480308 h 1538630"/>
              <a:gd name="csX575" fmla="*/ 708341 w 1609516"/>
              <a:gd name="csY575" fmla="*/ 1480661 h 1538630"/>
              <a:gd name="csX576" fmla="*/ 704637 w 1609516"/>
              <a:gd name="csY576" fmla="*/ 1480748 h 1538630"/>
              <a:gd name="csX577" fmla="*/ 668507 w 1609516"/>
              <a:gd name="csY577" fmla="*/ 1468418 h 1538630"/>
              <a:gd name="csX578" fmla="*/ 660178 w 1609516"/>
              <a:gd name="csY578" fmla="*/ 1450027 h 1538630"/>
              <a:gd name="csX579" fmla="*/ 657767 w 1609516"/>
              <a:gd name="csY579" fmla="*/ 1445078 h 1538630"/>
              <a:gd name="csX580" fmla="*/ 663369 w 1609516"/>
              <a:gd name="csY580" fmla="*/ 1409390 h 1538630"/>
              <a:gd name="csX581" fmla="*/ 671826 w 1609516"/>
              <a:gd name="csY581" fmla="*/ 1401392 h 1538630"/>
              <a:gd name="csX582" fmla="*/ 678075 w 1609516"/>
              <a:gd name="csY582" fmla="*/ 1390118 h 1538630"/>
              <a:gd name="csX583" fmla="*/ 684323 w 1609516"/>
              <a:gd name="csY583" fmla="*/ 1388709 h 1538630"/>
              <a:gd name="csX584" fmla="*/ 685293 w 1609516"/>
              <a:gd name="csY584" fmla="*/ 1384233 h 1538630"/>
              <a:gd name="csX585" fmla="*/ 686569 w 1609516"/>
              <a:gd name="csY585" fmla="*/ 1378404 h 1538630"/>
              <a:gd name="csX586" fmla="*/ 687207 w 1609516"/>
              <a:gd name="csY586" fmla="*/ 1375456 h 1538630"/>
              <a:gd name="csX587" fmla="*/ 690572 w 1609516"/>
              <a:gd name="csY587" fmla="*/ 1363343 h 1538630"/>
              <a:gd name="csX588" fmla="*/ 692495 w 1609516"/>
              <a:gd name="csY588" fmla="*/ 1323376 h 1538630"/>
              <a:gd name="csX589" fmla="*/ 692625 w 1609516"/>
              <a:gd name="csY589" fmla="*/ 1315006 h 1538630"/>
              <a:gd name="csX590" fmla="*/ 687447 w 1609516"/>
              <a:gd name="csY590" fmla="*/ 1287245 h 1538630"/>
              <a:gd name="csX591" fmla="*/ 682761 w 1609516"/>
              <a:gd name="csY591" fmla="*/ 1285835 h 1538630"/>
              <a:gd name="csX592" fmla="*/ 678954 w 1609516"/>
              <a:gd name="csY592" fmla="*/ 1281608 h 1538630"/>
              <a:gd name="csX593" fmla="*/ 668702 w 1609516"/>
              <a:gd name="csY593" fmla="*/ 1275971 h 1538630"/>
              <a:gd name="csX594" fmla="*/ 662454 w 1609516"/>
              <a:gd name="csY594" fmla="*/ 1270334 h 1538630"/>
              <a:gd name="csX595" fmla="*/ 654643 w 1609516"/>
              <a:gd name="csY595" fmla="*/ 1267516 h 1538630"/>
              <a:gd name="csX596" fmla="*/ 654643 w 1609516"/>
              <a:gd name="csY596" fmla="*/ 1264697 h 1538630"/>
              <a:gd name="csX597" fmla="*/ 650152 w 1609516"/>
              <a:gd name="csY597" fmla="*/ 1264345 h 1538630"/>
              <a:gd name="csX598" fmla="*/ 628087 w 1609516"/>
              <a:gd name="csY598" fmla="*/ 1257651 h 1538630"/>
              <a:gd name="csX599" fmla="*/ 628087 w 1609516"/>
              <a:gd name="csY599" fmla="*/ 1254833 h 1538630"/>
              <a:gd name="csX600" fmla="*/ 625121 w 1609516"/>
              <a:gd name="csY600" fmla="*/ 1254315 h 1538630"/>
              <a:gd name="csX601" fmla="*/ 621252 w 1609516"/>
              <a:gd name="csY601" fmla="*/ 1253600 h 1538630"/>
              <a:gd name="csX602" fmla="*/ 617409 w 1609516"/>
              <a:gd name="csY602" fmla="*/ 1252906 h 1538630"/>
              <a:gd name="csX603" fmla="*/ 610904 w 1609516"/>
              <a:gd name="csY603" fmla="*/ 1249196 h 1538630"/>
              <a:gd name="csX604" fmla="*/ 565739 w 1609516"/>
              <a:gd name="csY604" fmla="*/ 1271742 h 1538630"/>
              <a:gd name="csX605" fmla="*/ 546924 w 1609516"/>
              <a:gd name="csY605" fmla="*/ 1290829 h 1538630"/>
              <a:gd name="csX606" fmla="*/ 543635 w 1609516"/>
              <a:gd name="csY606" fmla="*/ 1294643 h 1538630"/>
              <a:gd name="csX607" fmla="*/ 540651 w 1609516"/>
              <a:gd name="csY607" fmla="*/ 1298188 h 1538630"/>
              <a:gd name="csX608" fmla="*/ 529673 w 1609516"/>
              <a:gd name="csY608" fmla="*/ 1305565 h 1538630"/>
              <a:gd name="csX609" fmla="*/ 526549 w 1609516"/>
              <a:gd name="csY609" fmla="*/ 1311202 h 1538630"/>
              <a:gd name="csX610" fmla="*/ 523425 w 1609516"/>
              <a:gd name="csY610" fmla="*/ 1311202 h 1538630"/>
              <a:gd name="csX611" fmla="*/ 523230 w 1609516"/>
              <a:gd name="csY611" fmla="*/ 1313580 h 1538630"/>
              <a:gd name="csX612" fmla="*/ 517732 w 1609516"/>
              <a:gd name="csY612" fmla="*/ 1319739 h 1538630"/>
              <a:gd name="csX613" fmla="*/ 502239 w 1609516"/>
              <a:gd name="csY613" fmla="*/ 1337096 h 1538630"/>
              <a:gd name="csX614" fmla="*/ 497058 w 1609516"/>
              <a:gd name="csY614" fmla="*/ 1344087 h 1538630"/>
              <a:gd name="csX615" fmla="*/ 494572 w 1609516"/>
              <a:gd name="csY615" fmla="*/ 1347465 h 1538630"/>
              <a:gd name="csX616" fmla="*/ 487776 w 1609516"/>
              <a:gd name="csY616" fmla="*/ 1356181 h 1538630"/>
              <a:gd name="csX617" fmla="*/ 481248 w 1609516"/>
              <a:gd name="csY617" fmla="*/ 1367571 h 1538630"/>
              <a:gd name="csX618" fmla="*/ 478123 w 1609516"/>
              <a:gd name="csY618" fmla="*/ 1367571 h 1538630"/>
              <a:gd name="csX619" fmla="*/ 477635 w 1609516"/>
              <a:gd name="csY619" fmla="*/ 1370565 h 1538630"/>
              <a:gd name="csX620" fmla="*/ 465626 w 1609516"/>
              <a:gd name="csY620" fmla="*/ 1388709 h 1538630"/>
              <a:gd name="csX621" fmla="*/ 461233 w 1609516"/>
              <a:gd name="csY621" fmla="*/ 1397340 h 1538630"/>
              <a:gd name="csX622" fmla="*/ 455765 w 1609516"/>
              <a:gd name="csY622" fmla="*/ 1408086 h 1538630"/>
              <a:gd name="csX623" fmla="*/ 439070 w 1609516"/>
              <a:gd name="csY623" fmla="*/ 1477490 h 1538630"/>
              <a:gd name="csX624" fmla="*/ 434384 w 1609516"/>
              <a:gd name="csY624" fmla="*/ 1478899 h 1538630"/>
              <a:gd name="csX625" fmla="*/ 432431 w 1609516"/>
              <a:gd name="csY625" fmla="*/ 1481982 h 1538630"/>
              <a:gd name="csX626" fmla="*/ 418763 w 1609516"/>
              <a:gd name="csY626" fmla="*/ 1494401 h 1538630"/>
              <a:gd name="csX627" fmla="*/ 415639 w 1609516"/>
              <a:gd name="csY627" fmla="*/ 1494401 h 1538630"/>
              <a:gd name="csX628" fmla="*/ 415639 w 1609516"/>
              <a:gd name="csY628" fmla="*/ 1497219 h 1538630"/>
              <a:gd name="csX629" fmla="*/ 406265 w 1609516"/>
              <a:gd name="csY629" fmla="*/ 1498628 h 1538630"/>
              <a:gd name="csX630" fmla="*/ 406265 w 1609516"/>
              <a:gd name="csY630" fmla="*/ 1501447 h 1538630"/>
              <a:gd name="csX631" fmla="*/ 375023 w 1609516"/>
              <a:gd name="csY631" fmla="*/ 1501447 h 1538630"/>
              <a:gd name="csX632" fmla="*/ 375023 w 1609516"/>
              <a:gd name="csY632" fmla="*/ 1499438 h 1538630"/>
              <a:gd name="csX633" fmla="*/ 374964 w 1609516"/>
              <a:gd name="csY633" fmla="*/ 1499436 h 1538630"/>
              <a:gd name="csX634" fmla="*/ 373179 w 1609516"/>
              <a:gd name="csY634" fmla="*/ 1498628 h 1538630"/>
              <a:gd name="csX635" fmla="*/ 365650 w 1609516"/>
              <a:gd name="csY635" fmla="*/ 1498628 h 1538630"/>
              <a:gd name="csX636" fmla="*/ 363134 w 1609516"/>
              <a:gd name="csY636" fmla="*/ 1494087 h 1538630"/>
              <a:gd name="csX637" fmla="*/ 362171 w 1609516"/>
              <a:gd name="csY637" fmla="*/ 1493651 h 1538630"/>
              <a:gd name="csX638" fmla="*/ 360609 w 1609516"/>
              <a:gd name="csY638" fmla="*/ 1490833 h 1538630"/>
              <a:gd name="csX639" fmla="*/ 363733 w 1609516"/>
              <a:gd name="csY639" fmla="*/ 1490833 h 1538630"/>
              <a:gd name="csX640" fmla="*/ 363733 w 1609516"/>
              <a:gd name="csY640" fmla="*/ 1489980 h 1538630"/>
              <a:gd name="csX641" fmla="*/ 348467 w 1609516"/>
              <a:gd name="csY641" fmla="*/ 1481717 h 1538630"/>
              <a:gd name="csX642" fmla="*/ 343872 w 1609516"/>
              <a:gd name="csY642" fmla="*/ 1461078 h 1538630"/>
              <a:gd name="csX643" fmla="*/ 343656 w 1609516"/>
              <a:gd name="csY643" fmla="*/ 1463649 h 1538630"/>
              <a:gd name="csX644" fmla="*/ 343424 w 1609516"/>
              <a:gd name="csY644" fmla="*/ 1466842 h 1538630"/>
              <a:gd name="csX645" fmla="*/ 341861 w 1609516"/>
              <a:gd name="csY645" fmla="*/ 1466842 h 1538630"/>
              <a:gd name="csX646" fmla="*/ 354143 w 1609516"/>
              <a:gd name="csY646" fmla="*/ 1420549 h 1538630"/>
              <a:gd name="csX647" fmla="*/ 376229 w 1609516"/>
              <a:gd name="csY647" fmla="*/ 1403427 h 1538630"/>
              <a:gd name="csX648" fmla="*/ 379491 w 1609516"/>
              <a:gd name="csY648" fmla="*/ 1404408 h 1538630"/>
              <a:gd name="csX649" fmla="*/ 379710 w 1609516"/>
              <a:gd name="csY649" fmla="*/ 1404210 h 1538630"/>
              <a:gd name="csX650" fmla="*/ 380882 w 1609516"/>
              <a:gd name="csY650" fmla="*/ 1401568 h 1538630"/>
              <a:gd name="csX651" fmla="*/ 392207 w 1609516"/>
              <a:gd name="csY651" fmla="*/ 1392936 h 1538630"/>
              <a:gd name="csX652" fmla="*/ 399542 w 1609516"/>
              <a:gd name="csY652" fmla="*/ 1386774 h 1538630"/>
              <a:gd name="csX653" fmla="*/ 405485 w 1609516"/>
              <a:gd name="csY653" fmla="*/ 1378917 h 1538630"/>
              <a:gd name="csX654" fmla="*/ 412008 w 1609516"/>
              <a:gd name="csY654" fmla="*/ 1369481 h 1538630"/>
              <a:gd name="csX655" fmla="*/ 421130 w 1609516"/>
              <a:gd name="csY655" fmla="*/ 1357057 h 1538630"/>
              <a:gd name="csX656" fmla="*/ 424676 w 1609516"/>
              <a:gd name="csY656" fmla="*/ 1348443 h 1538630"/>
              <a:gd name="csX657" fmla="*/ 427275 w 1609516"/>
              <a:gd name="csY657" fmla="*/ 1348443 h 1538630"/>
              <a:gd name="csX658" fmla="*/ 428135 w 1609516"/>
              <a:gd name="csY658" fmla="*/ 1345727 h 1538630"/>
              <a:gd name="csX659" fmla="*/ 432822 w 1609516"/>
              <a:gd name="csY659" fmla="*/ 1335158 h 1538630"/>
              <a:gd name="csX660" fmla="*/ 435946 w 1609516"/>
              <a:gd name="csY660" fmla="*/ 1335158 h 1538630"/>
              <a:gd name="csX661" fmla="*/ 437704 w 1609516"/>
              <a:gd name="csY661" fmla="*/ 1329786 h 1538630"/>
              <a:gd name="csX662" fmla="*/ 447394 w 1609516"/>
              <a:gd name="csY662" fmla="*/ 1311196 h 1538630"/>
              <a:gd name="csX663" fmla="*/ 469287 w 1609516"/>
              <a:gd name="csY663" fmla="*/ 1265964 h 1538630"/>
              <a:gd name="csX664" fmla="*/ 478178 w 1609516"/>
              <a:gd name="csY664" fmla="*/ 1246787 h 1538630"/>
              <a:gd name="csX665" fmla="*/ 480179 w 1609516"/>
              <a:gd name="csY665" fmla="*/ 1225768 h 1538630"/>
              <a:gd name="csX666" fmla="*/ 480250 w 1609516"/>
              <a:gd name="csY666" fmla="*/ 1217149 h 1538630"/>
              <a:gd name="csX667" fmla="*/ 462972 w 1609516"/>
              <a:gd name="csY667" fmla="*/ 1174827 h 1538630"/>
              <a:gd name="csX668" fmla="*/ 457468 w 1609516"/>
              <a:gd name="csY668" fmla="*/ 1169949 h 1538630"/>
              <a:gd name="csX669" fmla="*/ 440657 w 1609516"/>
              <a:gd name="csY669" fmla="*/ 1152570 h 1538630"/>
              <a:gd name="csX670" fmla="*/ 403142 w 1609516"/>
              <a:gd name="csY670" fmla="*/ 1122366 h 1538630"/>
              <a:gd name="csX671" fmla="*/ 401579 w 1609516"/>
              <a:gd name="csY671" fmla="*/ 1119547 h 1538630"/>
              <a:gd name="csX672" fmla="*/ 364564 w 1609516"/>
              <a:gd name="csY672" fmla="*/ 1118209 h 1538630"/>
              <a:gd name="csX673" fmla="*/ 357822 w 1609516"/>
              <a:gd name="csY673" fmla="*/ 1122041 h 1538630"/>
              <a:gd name="csX674" fmla="*/ 348077 w 1609516"/>
              <a:gd name="csY674" fmla="*/ 1125273 h 1538630"/>
              <a:gd name="csX675" fmla="*/ 334408 w 1609516"/>
              <a:gd name="csY675" fmla="*/ 1132230 h 1538630"/>
              <a:gd name="csX676" fmla="*/ 327964 w 1609516"/>
              <a:gd name="csY676" fmla="*/ 1134080 h 1538630"/>
              <a:gd name="csX677" fmla="*/ 279734 w 1609516"/>
              <a:gd name="csY677" fmla="*/ 1166051 h 1538630"/>
              <a:gd name="csX678" fmla="*/ 276609 w 1609516"/>
              <a:gd name="csY678" fmla="*/ 1173098 h 1538630"/>
              <a:gd name="csX679" fmla="*/ 260988 w 1609516"/>
              <a:gd name="csY679" fmla="*/ 1188599 h 1538630"/>
              <a:gd name="csX680" fmla="*/ 257956 w 1609516"/>
              <a:gd name="csY680" fmla="*/ 1191132 h 1538630"/>
              <a:gd name="csX681" fmla="*/ 243805 w 1609516"/>
              <a:gd name="csY681" fmla="*/ 1196629 h 1538630"/>
              <a:gd name="csX682" fmla="*/ 243805 w 1609516"/>
              <a:gd name="csY682" fmla="*/ 1194236 h 1538630"/>
              <a:gd name="csX683" fmla="*/ 240288 w 1609516"/>
              <a:gd name="csY683" fmla="*/ 1194765 h 1538630"/>
              <a:gd name="csX684" fmla="*/ 243374 w 1609516"/>
              <a:gd name="csY684" fmla="*/ 1194765 h 1538630"/>
              <a:gd name="csX685" fmla="*/ 243374 w 1609516"/>
              <a:gd name="csY685" fmla="*/ 1196797 h 1538630"/>
              <a:gd name="csX686" fmla="*/ 243805 w 1609516"/>
              <a:gd name="csY686" fmla="*/ 1196629 h 1538630"/>
              <a:gd name="csX687" fmla="*/ 243805 w 1609516"/>
              <a:gd name="csY687" fmla="*/ 1197055 h 1538630"/>
              <a:gd name="csX688" fmla="*/ 243374 w 1609516"/>
              <a:gd name="csY688" fmla="*/ 1197055 h 1538630"/>
              <a:gd name="csX689" fmla="*/ 243374 w 1609516"/>
              <a:gd name="csY689" fmla="*/ 1197584 h 1538630"/>
              <a:gd name="csX690" fmla="*/ 241319 w 1609516"/>
              <a:gd name="csY690" fmla="*/ 1197595 h 1538630"/>
              <a:gd name="csX691" fmla="*/ 238009 w 1609516"/>
              <a:gd name="csY691" fmla="*/ 1198881 h 1538630"/>
              <a:gd name="csX692" fmla="*/ 215687 w 1609516"/>
              <a:gd name="csY692" fmla="*/ 1198464 h 1538630"/>
              <a:gd name="csX693" fmla="*/ 215687 w 1609516"/>
              <a:gd name="csY693" fmla="*/ 1197734 h 1538630"/>
              <a:gd name="csX694" fmla="*/ 213936 w 1609516"/>
              <a:gd name="csY694" fmla="*/ 1197744 h 1538630"/>
              <a:gd name="csX695" fmla="*/ 207446 w 1609516"/>
              <a:gd name="csY695" fmla="*/ 1196175 h 1538630"/>
              <a:gd name="csX696" fmla="*/ 207822 w 1609516"/>
              <a:gd name="csY696" fmla="*/ 1195610 h 1538630"/>
              <a:gd name="csX697" fmla="*/ 184737 w 1609516"/>
              <a:gd name="csY697" fmla="*/ 1180936 h 1538630"/>
              <a:gd name="csX698" fmla="*/ 179270 w 1609516"/>
              <a:gd name="csY698" fmla="*/ 1154866 h 1538630"/>
              <a:gd name="csX699" fmla="*/ 179194 w 1609516"/>
              <a:gd name="csY699" fmla="*/ 1151621 h 1538630"/>
              <a:gd name="csX700" fmla="*/ 193195 w 1609516"/>
              <a:gd name="csY700" fmla="*/ 1120065 h 1538630"/>
              <a:gd name="csX701" fmla="*/ 229551 w 1609516"/>
              <a:gd name="csY701" fmla="*/ 1110299 h 1538630"/>
              <a:gd name="csX702" fmla="*/ 260988 w 1609516"/>
              <a:gd name="csY702" fmla="*/ 1108274 h 1538630"/>
              <a:gd name="csX703" fmla="*/ 260988 w 1609516"/>
              <a:gd name="csY703" fmla="*/ 1105455 h 1538630"/>
              <a:gd name="csX704" fmla="*/ 263911 w 1609516"/>
              <a:gd name="csY704" fmla="*/ 1104310 h 1538630"/>
              <a:gd name="csX705" fmla="*/ 286995 w 1609516"/>
              <a:gd name="csY705" fmla="*/ 1090185 h 1538630"/>
              <a:gd name="csX706" fmla="*/ 299358 w 1609516"/>
              <a:gd name="csY706" fmla="*/ 1080970 h 1538630"/>
              <a:gd name="csX707" fmla="*/ 317762 w 1609516"/>
              <a:gd name="csY707" fmla="*/ 1063272 h 1538630"/>
              <a:gd name="csX708" fmla="*/ 325035 w 1609516"/>
              <a:gd name="csY708" fmla="*/ 1057542 h 1538630"/>
              <a:gd name="csX709" fmla="*/ 325328 w 1609516"/>
              <a:gd name="csY709" fmla="*/ 1023104 h 1538630"/>
              <a:gd name="csX710" fmla="*/ 324544 w 1609516"/>
              <a:gd name="csY710" fmla="*/ 1019247 h 1538630"/>
              <a:gd name="csX711" fmla="*/ 317225 w 1609516"/>
              <a:gd name="csY711" fmla="*/ 996945 h 1538630"/>
              <a:gd name="csX712" fmla="*/ 315388 w 1609516"/>
              <a:gd name="csY712" fmla="*/ 992690 h 1538630"/>
              <a:gd name="csX713" fmla="*/ 276232 w 1609516"/>
              <a:gd name="csY713" fmla="*/ 950666 h 1538630"/>
              <a:gd name="csX714" fmla="*/ 271923 w 1609516"/>
              <a:gd name="csY714" fmla="*/ 949031 h 1538630"/>
              <a:gd name="csX715" fmla="*/ 268299 w 1609516"/>
              <a:gd name="csY715" fmla="*/ 947441 h 1538630"/>
              <a:gd name="csX716" fmla="*/ 199187 w 1609516"/>
              <a:gd name="csY716" fmla="*/ 938991 h 1538630"/>
              <a:gd name="csX717" fmla="*/ 193719 w 1609516"/>
              <a:gd name="csY717" fmla="*/ 938971 h 1538630"/>
              <a:gd name="csX718" fmla="*/ 188539 w 1609516"/>
              <a:gd name="csY718" fmla="*/ 938980 h 1538630"/>
              <a:gd name="csX719" fmla="*/ 183874 w 1609516"/>
              <a:gd name="csY719" fmla="*/ 938985 h 1538630"/>
              <a:gd name="csX720" fmla="*/ 173509 w 1609516"/>
              <a:gd name="csY720" fmla="*/ 940576 h 1538630"/>
              <a:gd name="csX721" fmla="*/ 161403 w 1609516"/>
              <a:gd name="csY721" fmla="*/ 940664 h 1538630"/>
              <a:gd name="csX722" fmla="*/ 158102 w 1609516"/>
              <a:gd name="csY722" fmla="*/ 940645 h 1538630"/>
              <a:gd name="csX723" fmla="*/ 150875 w 1609516"/>
              <a:gd name="csY723" fmla="*/ 940583 h 1538630"/>
              <a:gd name="csX724" fmla="*/ 148425 w 1609516"/>
              <a:gd name="csY724" fmla="*/ 940717 h 1538630"/>
              <a:gd name="csX725" fmla="*/ 149617 w 1609516"/>
              <a:gd name="csY725" fmla="*/ 940995 h 1538630"/>
              <a:gd name="csX726" fmla="*/ 149617 w 1609516"/>
              <a:gd name="csY726" fmla="*/ 942404 h 1538630"/>
              <a:gd name="csX727" fmla="*/ 146627 w 1609516"/>
              <a:gd name="csY727" fmla="*/ 942871 h 1538630"/>
              <a:gd name="csX728" fmla="*/ 110564 w 1609516"/>
              <a:gd name="csY728" fmla="*/ 949449 h 1538630"/>
              <a:gd name="csX729" fmla="*/ 111283 w 1609516"/>
              <a:gd name="csY729" fmla="*/ 946205 h 1538630"/>
              <a:gd name="csX730" fmla="*/ 101652 w 1609516"/>
              <a:gd name="csY730" fmla="*/ 956078 h 1538630"/>
              <a:gd name="csX731" fmla="*/ 98052 w 1609516"/>
              <a:gd name="csY731" fmla="*/ 958467 h 1538630"/>
              <a:gd name="csX732" fmla="*/ 67286 w 1609516"/>
              <a:gd name="csY732" fmla="*/ 972989 h 1538630"/>
              <a:gd name="csX733" fmla="*/ 67286 w 1609516"/>
              <a:gd name="csY733" fmla="*/ 975807 h 1538630"/>
              <a:gd name="csX734" fmla="*/ 31942 w 1609516"/>
              <a:gd name="csY734" fmla="*/ 976423 h 1538630"/>
              <a:gd name="csX735" fmla="*/ 5673 w 1609516"/>
              <a:gd name="csY735" fmla="*/ 953419 h 1538630"/>
              <a:gd name="csX736" fmla="*/ 4801 w 1609516"/>
              <a:gd name="csY736" fmla="*/ 944804 h 1538630"/>
              <a:gd name="csX737" fmla="*/ 1676 w 1609516"/>
              <a:gd name="csY737" fmla="*/ 944804 h 1538630"/>
              <a:gd name="csX738" fmla="*/ 17 w 1609516"/>
              <a:gd name="csY738" fmla="*/ 931857 h 1538630"/>
              <a:gd name="csX739" fmla="*/ 59 w 1609516"/>
              <a:gd name="csY739" fmla="*/ 927216 h 1538630"/>
              <a:gd name="csX740" fmla="*/ 115 w 1609516"/>
              <a:gd name="csY740" fmla="*/ 923666 h 1538630"/>
              <a:gd name="csX741" fmla="*/ 3238 w 1609516"/>
              <a:gd name="csY741" fmla="*/ 923666 h 1538630"/>
              <a:gd name="csX742" fmla="*/ 3238 w 1609516"/>
              <a:gd name="csY742" fmla="*/ 918029 h 1538630"/>
              <a:gd name="csX743" fmla="*/ 6363 w 1609516"/>
              <a:gd name="csY743" fmla="*/ 918029 h 1538630"/>
              <a:gd name="csX744" fmla="*/ 6656 w 1609516"/>
              <a:gd name="csY744" fmla="*/ 912832 h 1538630"/>
              <a:gd name="csX745" fmla="*/ 15736 w 1609516"/>
              <a:gd name="csY745" fmla="*/ 899709 h 1538630"/>
              <a:gd name="csX746" fmla="*/ 17243 w 1609516"/>
              <a:gd name="csY746" fmla="*/ 898894 h 1538630"/>
              <a:gd name="csX747" fmla="*/ 16800 w 1609516"/>
              <a:gd name="csY747" fmla="*/ 898694 h 1538630"/>
              <a:gd name="csX748" fmla="*/ 24988 w 1609516"/>
              <a:gd name="csY748" fmla="*/ 894101 h 1538630"/>
              <a:gd name="csX749" fmla="*/ 26768 w 1609516"/>
              <a:gd name="csY749" fmla="*/ 892399 h 1538630"/>
              <a:gd name="csX750" fmla="*/ 30198 w 1609516"/>
              <a:gd name="csY750" fmla="*/ 890164 h 1538630"/>
              <a:gd name="csX751" fmla="*/ 32204 w 1609516"/>
              <a:gd name="csY751" fmla="*/ 890054 h 1538630"/>
              <a:gd name="csX752" fmla="*/ 38914 w 1609516"/>
              <a:gd name="csY752" fmla="*/ 886291 h 1538630"/>
              <a:gd name="csX753" fmla="*/ 63664 w 1609516"/>
              <a:gd name="csY753" fmla="*/ 886011 h 1538630"/>
              <a:gd name="csX754" fmla="*/ 63664 w 1609516"/>
              <a:gd name="csY754" fmla="*/ 886531 h 1538630"/>
              <a:gd name="csX755" fmla="*/ 70784 w 1609516"/>
              <a:gd name="csY755" fmla="*/ 886647 h 1538630"/>
              <a:gd name="csX756" fmla="*/ 82126 w 1609516"/>
              <a:gd name="csY756" fmla="*/ 889845 h 1538630"/>
              <a:gd name="csX757" fmla="*/ 114149 w 1609516"/>
              <a:gd name="csY757" fmla="*/ 892663 h 1538630"/>
              <a:gd name="csX758" fmla="*/ 118836 w 1609516"/>
              <a:gd name="csY758" fmla="*/ 889845 h 1538630"/>
              <a:gd name="csX759" fmla="*/ 131626 w 1609516"/>
              <a:gd name="csY759" fmla="*/ 887114 h 1538630"/>
              <a:gd name="csX760" fmla="*/ 155116 w 1609516"/>
              <a:gd name="csY760" fmla="*/ 880913 h 1538630"/>
              <a:gd name="csX761" fmla="*/ 165406 w 1609516"/>
              <a:gd name="csY761" fmla="*/ 878483 h 1538630"/>
              <a:gd name="csX762" fmla="*/ 176634 w 1609516"/>
              <a:gd name="csY762" fmla="*/ 874343 h 1538630"/>
              <a:gd name="csX763" fmla="*/ 186397 w 1609516"/>
              <a:gd name="csY763" fmla="*/ 871524 h 1538630"/>
              <a:gd name="csX764" fmla="*/ 191871 w 1609516"/>
              <a:gd name="csY764" fmla="*/ 870033 h 1538630"/>
              <a:gd name="csX765" fmla="*/ 203483 w 1609516"/>
              <a:gd name="csY765" fmla="*/ 867208 h 1538630"/>
              <a:gd name="csX766" fmla="*/ 211001 w 1609516"/>
              <a:gd name="csY766" fmla="*/ 861660 h 1538630"/>
              <a:gd name="csX767" fmla="*/ 218031 w 1609516"/>
              <a:gd name="csY767" fmla="*/ 858577 h 1538630"/>
              <a:gd name="csX768" fmla="*/ 254740 w 1609516"/>
              <a:gd name="csY768" fmla="*/ 825020 h 1538630"/>
              <a:gd name="csX769" fmla="*/ 257864 w 1609516"/>
              <a:gd name="csY769" fmla="*/ 820792 h 1538630"/>
              <a:gd name="csX770" fmla="*/ 258318 w 1609516"/>
              <a:gd name="csY770" fmla="*/ 813810 h 1538630"/>
              <a:gd name="csX771" fmla="*/ 258378 w 1609516"/>
              <a:gd name="csY771" fmla="*/ 809502 h 1538630"/>
              <a:gd name="csX772" fmla="*/ 258389 w 1609516"/>
              <a:gd name="csY772" fmla="*/ 804845 h 1538630"/>
              <a:gd name="csX773" fmla="*/ 258420 w 1609516"/>
              <a:gd name="csY773" fmla="*/ 800036 h 1538630"/>
              <a:gd name="csX774" fmla="*/ 258443 w 1609516"/>
              <a:gd name="csY774" fmla="*/ 789939 h 1538630"/>
              <a:gd name="csX775" fmla="*/ 258566 w 1609516"/>
              <a:gd name="csY775" fmla="*/ 774594 h 1538630"/>
              <a:gd name="csX776" fmla="*/ 258584 w 1609516"/>
              <a:gd name="csY776" fmla="*/ 764771 h 1538630"/>
              <a:gd name="csX777" fmla="*/ 258652 w 1609516"/>
              <a:gd name="csY777" fmla="*/ 760174 h 1538630"/>
              <a:gd name="csX778" fmla="*/ 251616 w 1609516"/>
              <a:gd name="csY778" fmla="*/ 733421 h 1538630"/>
              <a:gd name="csX779" fmla="*/ 247613 w 1609516"/>
              <a:gd name="csY779" fmla="*/ 721883 h 1538630"/>
              <a:gd name="csX780" fmla="*/ 241291 w 1609516"/>
              <a:gd name="csY780" fmla="*/ 705644 h 1538630"/>
              <a:gd name="csX781" fmla="*/ 237557 w 1609516"/>
              <a:gd name="csY781" fmla="*/ 689735 h 1538630"/>
              <a:gd name="csX782" fmla="*/ 248492 w 1609516"/>
              <a:gd name="csY782" fmla="*/ 685507 h 1538630"/>
              <a:gd name="csX783" fmla="*/ 248492 w 1609516"/>
              <a:gd name="csY783" fmla="*/ 681279 h 1538630"/>
              <a:gd name="csX784" fmla="*/ 240681 w 1609516"/>
              <a:gd name="csY784" fmla="*/ 679870 h 1538630"/>
              <a:gd name="csX785" fmla="*/ 240681 w 1609516"/>
              <a:gd name="csY785" fmla="*/ 677052 h 1538630"/>
              <a:gd name="csX786" fmla="*/ 238094 w 1609516"/>
              <a:gd name="csY786" fmla="*/ 676645 h 1538630"/>
              <a:gd name="csX787" fmla="*/ 225841 w 1609516"/>
              <a:gd name="csY787" fmla="*/ 670886 h 1538630"/>
              <a:gd name="csX788" fmla="*/ 201531 w 1609516"/>
              <a:gd name="csY788" fmla="*/ 662508 h 1538630"/>
              <a:gd name="csX789" fmla="*/ 188252 w 1609516"/>
              <a:gd name="csY789" fmla="*/ 658644 h 1538630"/>
              <a:gd name="csX790" fmla="*/ 182431 w 1609516"/>
              <a:gd name="csY790" fmla="*/ 657327 h 1538630"/>
              <a:gd name="csX791" fmla="*/ 182431 w 1609516"/>
              <a:gd name="csY791" fmla="*/ 657613 h 1538630"/>
              <a:gd name="csX792" fmla="*/ 146503 w 1609516"/>
              <a:gd name="csY792" fmla="*/ 656204 h 1538630"/>
              <a:gd name="csX793" fmla="*/ 146503 w 1609516"/>
              <a:gd name="csY793" fmla="*/ 659022 h 1538630"/>
              <a:gd name="csX794" fmla="*/ 110378 w 1609516"/>
              <a:gd name="csY794" fmla="*/ 663778 h 1538630"/>
              <a:gd name="csX795" fmla="*/ 106453 w 1609516"/>
              <a:gd name="csY795" fmla="*/ 663836 h 1538630"/>
              <a:gd name="csX796" fmla="*/ 102751 w 1609516"/>
              <a:gd name="csY796" fmla="*/ 663811 h 1538630"/>
              <a:gd name="csX797" fmla="*/ 99449 w 1609516"/>
              <a:gd name="csY797" fmla="*/ 663797 h 1538630"/>
              <a:gd name="csX798" fmla="*/ 91828 w 1609516"/>
              <a:gd name="csY798" fmla="*/ 659022 h 1538630"/>
              <a:gd name="csX799" fmla="*/ 98077 w 1609516"/>
              <a:gd name="csY799" fmla="*/ 659022 h 1538630"/>
              <a:gd name="csX800" fmla="*/ 98077 w 1609516"/>
              <a:gd name="csY800" fmla="*/ 661841 h 1538630"/>
              <a:gd name="csX801" fmla="*/ 119023 w 1609516"/>
              <a:gd name="csY801" fmla="*/ 661357 h 1538630"/>
              <a:gd name="csX802" fmla="*/ 119536 w 1609516"/>
              <a:gd name="csY802" fmla="*/ 661197 h 1538630"/>
              <a:gd name="csX803" fmla="*/ 109853 w 1609516"/>
              <a:gd name="csY803" fmla="*/ 661639 h 1538630"/>
              <a:gd name="csX804" fmla="*/ 106552 w 1609516"/>
              <a:gd name="csY804" fmla="*/ 661619 h 1538630"/>
              <a:gd name="csX805" fmla="*/ 98528 w 1609516"/>
              <a:gd name="csY805" fmla="*/ 661550 h 1538630"/>
              <a:gd name="csX806" fmla="*/ 98528 w 1609516"/>
              <a:gd name="csY806" fmla="*/ 658732 h 1538630"/>
              <a:gd name="csX807" fmla="*/ 89155 w 1609516"/>
              <a:gd name="csY807" fmla="*/ 657323 h 1538630"/>
              <a:gd name="csX808" fmla="*/ 89155 w 1609516"/>
              <a:gd name="csY808" fmla="*/ 654504 h 1538630"/>
              <a:gd name="csX809" fmla="*/ 86397 w 1609516"/>
              <a:gd name="csY809" fmla="*/ 653442 h 1538630"/>
              <a:gd name="csX810" fmla="*/ 77049 w 1609516"/>
              <a:gd name="csY810" fmla="*/ 646137 h 1538630"/>
              <a:gd name="csX811" fmla="*/ 74145 w 1609516"/>
              <a:gd name="csY811" fmla="*/ 643192 h 1538630"/>
              <a:gd name="csX812" fmla="*/ 71972 w 1609516"/>
              <a:gd name="csY812" fmla="*/ 636185 h 1538630"/>
              <a:gd name="csX813" fmla="*/ 68848 w 1609516"/>
              <a:gd name="csY813" fmla="*/ 636185 h 1538630"/>
              <a:gd name="csX814" fmla="*/ 70410 w 1609516"/>
              <a:gd name="csY814" fmla="*/ 595317 h 1538630"/>
              <a:gd name="csX815" fmla="*/ 79782 w 1609516"/>
              <a:gd name="csY815" fmla="*/ 584043 h 1538630"/>
              <a:gd name="csX816" fmla="*/ 82656 w 1609516"/>
              <a:gd name="csY816" fmla="*/ 581115 h 1538630"/>
              <a:gd name="csX817" fmla="*/ 116694 w 1609516"/>
              <a:gd name="csY817" fmla="*/ 572323 h 1538630"/>
              <a:gd name="csX818" fmla="*/ 152031 w 1609516"/>
              <a:gd name="csY818" fmla="*/ 590385 h 1538630"/>
              <a:gd name="csX819" fmla="*/ 191474 w 1609516"/>
              <a:gd name="csY819" fmla="*/ 605886 h 1538630"/>
              <a:gd name="csX820" fmla="*/ 206314 w 1609516"/>
              <a:gd name="csY820" fmla="*/ 608000 h 1538630"/>
              <a:gd name="csX821" fmla="*/ 206314 w 1609516"/>
              <a:gd name="csY821" fmla="*/ 610818 h 1538630"/>
              <a:gd name="csX822" fmla="*/ 234433 w 1609516"/>
              <a:gd name="csY822" fmla="*/ 610818 h 1538630"/>
              <a:gd name="csX823" fmla="*/ 239522 w 1609516"/>
              <a:gd name="csY823" fmla="*/ 610802 h 1538630"/>
              <a:gd name="csX824" fmla="*/ 268799 w 1609516"/>
              <a:gd name="csY824" fmla="*/ 600954 h 1538630"/>
              <a:gd name="csX825" fmla="*/ 271740 w 1609516"/>
              <a:gd name="csY825" fmla="*/ 599325 h 1538630"/>
              <a:gd name="csX826" fmla="*/ 284420 w 1609516"/>
              <a:gd name="csY826" fmla="*/ 579816 h 1538630"/>
              <a:gd name="csX827" fmla="*/ 289399 w 1609516"/>
              <a:gd name="csY827" fmla="*/ 568630 h 1538630"/>
              <a:gd name="csX828" fmla="*/ 293958 w 1609516"/>
              <a:gd name="csY828" fmla="*/ 535838 h 1538630"/>
              <a:gd name="csX829" fmla="*/ 289107 w 1609516"/>
              <a:gd name="csY829" fmla="*/ 529084 h 1538630"/>
              <a:gd name="csX830" fmla="*/ 289107 w 1609516"/>
              <a:gd name="csY830" fmla="*/ 526265 h 1538630"/>
              <a:gd name="csX831" fmla="*/ 284420 w 1609516"/>
              <a:gd name="csY831" fmla="*/ 524856 h 1538630"/>
              <a:gd name="csX832" fmla="*/ 282858 w 1609516"/>
              <a:gd name="csY832" fmla="*/ 520628 h 1538630"/>
              <a:gd name="csX833" fmla="*/ 277977 w 1609516"/>
              <a:gd name="csY833" fmla="*/ 516577 h 1538630"/>
              <a:gd name="csX834" fmla="*/ 264925 w 1609516"/>
              <a:gd name="csY834" fmla="*/ 506443 h 1538630"/>
              <a:gd name="csX835" fmla="*/ 229746 w 1609516"/>
              <a:gd name="csY835" fmla="*/ 481170 h 1538630"/>
              <a:gd name="csX836" fmla="*/ 221057 w 1609516"/>
              <a:gd name="csY836" fmla="*/ 475445 h 1538630"/>
              <a:gd name="csX837" fmla="*/ 212563 w 1609516"/>
              <a:gd name="csY837" fmla="*/ 469896 h 1538630"/>
              <a:gd name="csX838" fmla="*/ 208889 w 1609516"/>
              <a:gd name="csY838" fmla="*/ 467491 h 1538630"/>
              <a:gd name="csX839" fmla="*/ 190406 w 1609516"/>
              <a:gd name="csY839" fmla="*/ 456382 h 1538630"/>
              <a:gd name="csX840" fmla="*/ 186942 w 1609516"/>
              <a:gd name="csY840" fmla="*/ 454460 h 1538630"/>
              <a:gd name="csX841" fmla="*/ 180041 w 1609516"/>
              <a:gd name="csY841" fmla="*/ 450696 h 1538630"/>
              <a:gd name="csX842" fmla="*/ 171948 w 1609516"/>
              <a:gd name="csY842" fmla="*/ 445940 h 1538630"/>
              <a:gd name="csX843" fmla="*/ 171948 w 1609516"/>
              <a:gd name="csY843" fmla="*/ 443121 h 1538630"/>
              <a:gd name="csX844" fmla="*/ 168482 w 1609516"/>
              <a:gd name="csY844" fmla="*/ 442708 h 1538630"/>
              <a:gd name="csX845" fmla="*/ 157107 w 1609516"/>
              <a:gd name="csY845" fmla="*/ 437044 h 1538630"/>
              <a:gd name="csX846" fmla="*/ 132559 w 1609516"/>
              <a:gd name="csY846" fmla="*/ 427510 h 1538630"/>
              <a:gd name="csX847" fmla="*/ 123522 w 1609516"/>
              <a:gd name="csY847" fmla="*/ 421983 h 1538630"/>
              <a:gd name="csX848" fmla="*/ 107986 w 1609516"/>
              <a:gd name="csY848" fmla="*/ 418730 h 1538630"/>
              <a:gd name="csX849" fmla="*/ 102494 w 1609516"/>
              <a:gd name="csY849" fmla="*/ 418622 h 1538630"/>
              <a:gd name="csX850" fmla="*/ 91157 w 1609516"/>
              <a:gd name="csY850" fmla="*/ 418490 h 1538630"/>
              <a:gd name="csX851" fmla="*/ 55277 w 1609516"/>
              <a:gd name="csY851" fmla="*/ 410445 h 1538630"/>
              <a:gd name="csX852" fmla="*/ 51665 w 1609516"/>
              <a:gd name="csY852" fmla="*/ 406481 h 1538630"/>
              <a:gd name="csX853" fmla="*/ 45904 w 1609516"/>
              <a:gd name="csY853" fmla="*/ 400492 h 1538630"/>
              <a:gd name="csX854" fmla="*/ 43152 w 1609516"/>
              <a:gd name="csY854" fmla="*/ 397564 h 1538630"/>
              <a:gd name="csX855" fmla="*/ 37605 w 1609516"/>
              <a:gd name="csY855" fmla="*/ 393798 h 1538630"/>
              <a:gd name="csX856" fmla="*/ 38995 w 1609516"/>
              <a:gd name="csY856" fmla="*/ 368712 h 1538630"/>
              <a:gd name="csX857" fmla="*/ 38666 w 1609516"/>
              <a:gd name="csY857" fmla="*/ 369724 h 1538630"/>
              <a:gd name="csX858" fmla="*/ 35542 w 1609516"/>
              <a:gd name="csY858" fmla="*/ 384081 h 1538630"/>
              <a:gd name="csX859" fmla="*/ 33326 w 1609516"/>
              <a:gd name="csY859" fmla="*/ 357791 h 1538630"/>
              <a:gd name="csX860" fmla="*/ 52725 w 1609516"/>
              <a:gd name="csY860" fmla="*/ 333349 h 1538630"/>
              <a:gd name="csX861" fmla="*/ 55222 w 1609516"/>
              <a:gd name="csY861" fmla="*/ 334475 h 1538630"/>
              <a:gd name="csX862" fmla="*/ 56222 w 1609516"/>
              <a:gd name="csY862" fmla="*/ 333347 h 1538630"/>
              <a:gd name="csX863" fmla="*/ 55871 w 1609516"/>
              <a:gd name="csY863" fmla="*/ 333347 h 1538630"/>
              <a:gd name="csX864" fmla="*/ 56346 w 1609516"/>
              <a:gd name="csY864" fmla="*/ 333207 h 1538630"/>
              <a:gd name="csX865" fmla="*/ 56351 w 1609516"/>
              <a:gd name="csY865" fmla="*/ 333202 h 1538630"/>
              <a:gd name="csX866" fmla="*/ 56365 w 1609516"/>
              <a:gd name="csY866" fmla="*/ 333202 h 1538630"/>
              <a:gd name="csX867" fmla="*/ 79571 w 1609516"/>
              <a:gd name="csY867" fmla="*/ 326360 h 1538630"/>
              <a:gd name="csX868" fmla="*/ 104297 w 1609516"/>
              <a:gd name="csY868" fmla="*/ 330529 h 1538630"/>
              <a:gd name="csX869" fmla="*/ 107170 w 1609516"/>
              <a:gd name="csY869" fmla="*/ 334417 h 1538630"/>
              <a:gd name="csX870" fmla="*/ 109366 w 1609516"/>
              <a:gd name="csY870" fmla="*/ 336046 h 1538630"/>
              <a:gd name="csX871" fmla="*/ 109463 w 1609516"/>
              <a:gd name="csY871" fmla="*/ 336020 h 1538630"/>
              <a:gd name="csX872" fmla="*/ 109463 w 1609516"/>
              <a:gd name="csY872" fmla="*/ 336118 h 1538630"/>
              <a:gd name="csX873" fmla="*/ 115226 w 1609516"/>
              <a:gd name="csY873" fmla="*/ 340394 h 1538630"/>
              <a:gd name="csX874" fmla="*/ 114010 w 1609516"/>
              <a:gd name="csY874" fmla="*/ 340120 h 1538630"/>
              <a:gd name="csX875" fmla="*/ 133285 w 1609516"/>
              <a:gd name="csY875" fmla="*/ 357423 h 1538630"/>
              <a:gd name="csX876" fmla="*/ 173509 w 1609516"/>
              <a:gd name="csY876" fmla="*/ 389571 h 1538630"/>
              <a:gd name="csX877" fmla="*/ 181711 w 1609516"/>
              <a:gd name="csY877" fmla="*/ 393270 h 1538630"/>
              <a:gd name="csX878" fmla="*/ 185507 w 1609516"/>
              <a:gd name="csY878" fmla="*/ 394976 h 1538630"/>
              <a:gd name="csX879" fmla="*/ 192658 w 1609516"/>
              <a:gd name="csY879" fmla="*/ 398257 h 1538630"/>
              <a:gd name="csX880" fmla="*/ 195966 w 1609516"/>
              <a:gd name="csY880" fmla="*/ 399788 h 1538630"/>
              <a:gd name="csX881" fmla="*/ 198833 w 1609516"/>
              <a:gd name="csY881" fmla="*/ 401131 h 1538630"/>
              <a:gd name="csX882" fmla="*/ 207877 w 1609516"/>
              <a:gd name="csY882" fmla="*/ 403663 h 1538630"/>
              <a:gd name="csX883" fmla="*/ 207877 w 1609516"/>
              <a:gd name="csY883" fmla="*/ 406481 h 1538630"/>
              <a:gd name="csX884" fmla="*/ 248492 w 1609516"/>
              <a:gd name="csY884" fmla="*/ 419428 h 1538630"/>
              <a:gd name="csX885" fmla="*/ 253965 w 1609516"/>
              <a:gd name="csY885" fmla="*/ 421000 h 1538630"/>
              <a:gd name="csX886" fmla="*/ 267237 w 1609516"/>
              <a:gd name="csY886" fmla="*/ 424801 h 1538630"/>
              <a:gd name="csX887" fmla="*/ 267237 w 1609516"/>
              <a:gd name="csY887" fmla="*/ 426451 h 1538630"/>
              <a:gd name="csX888" fmla="*/ 288701 w 1609516"/>
              <a:gd name="csY888" fmla="*/ 429217 h 1538630"/>
              <a:gd name="csX889" fmla="*/ 288701 w 1609516"/>
              <a:gd name="csY889" fmla="*/ 432036 h 1538630"/>
              <a:gd name="csX890" fmla="*/ 327010 w 1609516"/>
              <a:gd name="csY890" fmla="*/ 433628 h 1538630"/>
              <a:gd name="csX891" fmla="*/ 337486 w 1609516"/>
              <a:gd name="csY891" fmla="*/ 433637 h 1538630"/>
              <a:gd name="csX892" fmla="*/ 344229 w 1609516"/>
              <a:gd name="csY892" fmla="*/ 433632 h 1538630"/>
              <a:gd name="csX893" fmla="*/ 350323 w 1609516"/>
              <a:gd name="csY893" fmla="*/ 433627 h 1538630"/>
              <a:gd name="csX894" fmla="*/ 365245 w 1609516"/>
              <a:gd name="csY894" fmla="*/ 432036 h 1538630"/>
              <a:gd name="csX895" fmla="*/ 360797 w 1609516"/>
              <a:gd name="csY895" fmla="*/ 433759 h 1538630"/>
              <a:gd name="csX896" fmla="*/ 365650 w 1609516"/>
              <a:gd name="csY896" fmla="*/ 433257 h 1538630"/>
              <a:gd name="csX897" fmla="*/ 367213 w 1609516"/>
              <a:gd name="csY897" fmla="*/ 429029 h 1538630"/>
              <a:gd name="csX898" fmla="*/ 375188 w 1609516"/>
              <a:gd name="csY898" fmla="*/ 424906 h 1538630"/>
              <a:gd name="csX899" fmla="*/ 404704 w 1609516"/>
              <a:gd name="csY899" fmla="*/ 389571 h 1538630"/>
              <a:gd name="csX900" fmla="*/ 406265 w 1609516"/>
              <a:gd name="csY900" fmla="*/ 388161 h 1538630"/>
              <a:gd name="csX901" fmla="*/ 406559 w 1609516"/>
              <a:gd name="csY901" fmla="*/ 370106 h 1538630"/>
              <a:gd name="csX902" fmla="*/ 406617 w 1609516"/>
              <a:gd name="csY902" fmla="*/ 364973 h 1538630"/>
              <a:gd name="csX903" fmla="*/ 406626 w 1609516"/>
              <a:gd name="csY903" fmla="*/ 360038 h 1538630"/>
              <a:gd name="csX904" fmla="*/ 406645 w 1609516"/>
              <a:gd name="csY904" fmla="*/ 355503 h 1538630"/>
              <a:gd name="csX905" fmla="*/ 403142 w 1609516"/>
              <a:gd name="csY905" fmla="*/ 345885 h 1538630"/>
              <a:gd name="csX906" fmla="*/ 401579 w 1609516"/>
              <a:gd name="csY906" fmla="*/ 338663 h 1538630"/>
              <a:gd name="csX907" fmla="*/ 390938 w 1609516"/>
              <a:gd name="csY907" fmla="*/ 315939 h 1538630"/>
              <a:gd name="csX908" fmla="*/ 388976 w 1609516"/>
              <a:gd name="csY908" fmla="*/ 312762 h 1538630"/>
              <a:gd name="csX909" fmla="*/ 377934 w 1609516"/>
              <a:gd name="csY909" fmla="*/ 297817 h 1538630"/>
              <a:gd name="csX910" fmla="*/ 368775 w 1609516"/>
              <a:gd name="csY910" fmla="*/ 282470 h 1538630"/>
              <a:gd name="csX911" fmla="*/ 359890 w 1609516"/>
              <a:gd name="csY911" fmla="*/ 271284 h 1538630"/>
              <a:gd name="csX912" fmla="*/ 357374 w 1609516"/>
              <a:gd name="csY912" fmla="*/ 268288 h 1538630"/>
              <a:gd name="csX913" fmla="*/ 337533 w 1609516"/>
              <a:gd name="csY913" fmla="*/ 248649 h 1538630"/>
              <a:gd name="csX914" fmla="*/ 335214 w 1609516"/>
              <a:gd name="csY914" fmla="*/ 246369 h 1538630"/>
              <a:gd name="csX915" fmla="*/ 327085 w 1609516"/>
              <a:gd name="csY915" fmla="*/ 242571 h 1538630"/>
              <a:gd name="csX916" fmla="*/ 288785 w 1609516"/>
              <a:gd name="csY916" fmla="*/ 207968 h 1538630"/>
              <a:gd name="csX917" fmla="*/ 286373 w 1609516"/>
              <a:gd name="csY917" fmla="*/ 192544 h 1538630"/>
              <a:gd name="csX918" fmla="*/ 286385 w 1609516"/>
              <a:gd name="csY918" fmla="*/ 189190 h 1538630"/>
              <a:gd name="csX919" fmla="*/ 300042 w 1609516"/>
              <a:gd name="csY919" fmla="*/ 164095 h 1538630"/>
              <a:gd name="csX920" fmla="*/ 302757 w 1609516"/>
              <a:gd name="csY920" fmla="*/ 161381 h 1538630"/>
              <a:gd name="csX921" fmla="*/ 338411 w 1609516"/>
              <a:gd name="csY921" fmla="*/ 152293 h 1538630"/>
              <a:gd name="csX922" fmla="*/ 368482 w 1609516"/>
              <a:gd name="csY922" fmla="*/ 161893 h 1538630"/>
              <a:gd name="csX923" fmla="*/ 371899 w 1609516"/>
              <a:gd name="csY923" fmla="*/ 165505 h 1538630"/>
              <a:gd name="csX924" fmla="*/ 375121 w 1609516"/>
              <a:gd name="csY924" fmla="*/ 168587 h 1538630"/>
              <a:gd name="csX925" fmla="*/ 384982 w 1609516"/>
              <a:gd name="csY925" fmla="*/ 193777 h 1538630"/>
              <a:gd name="csX926" fmla="*/ 390352 w 1609516"/>
              <a:gd name="csY926" fmla="*/ 214563 h 1538630"/>
              <a:gd name="csX927" fmla="*/ 391529 w 1609516"/>
              <a:gd name="csY927" fmla="*/ 217626 h 1538630"/>
              <a:gd name="csX928" fmla="*/ 401579 w 1609516"/>
              <a:gd name="csY928" fmla="*/ 234556 h 1538630"/>
              <a:gd name="csX929" fmla="*/ 401579 w 1609516"/>
              <a:gd name="csY929" fmla="*/ 238784 h 1538630"/>
              <a:gd name="csX930" fmla="*/ 404215 w 1609516"/>
              <a:gd name="csY930" fmla="*/ 239753 h 1538630"/>
              <a:gd name="csX931" fmla="*/ 417811 w 1609516"/>
              <a:gd name="csY931" fmla="*/ 251996 h 1538630"/>
              <a:gd name="csX932" fmla="*/ 426866 w 1609516"/>
              <a:gd name="csY932" fmla="*/ 262300 h 1538630"/>
              <a:gd name="csX933" fmla="*/ 450097 w 1609516"/>
              <a:gd name="csY933" fmla="*/ 287628 h 1538630"/>
              <a:gd name="csX934" fmla="*/ 457425 w 1609516"/>
              <a:gd name="csY934" fmla="*/ 293920 h 1538630"/>
              <a:gd name="csX935" fmla="*/ 460940 w 1609516"/>
              <a:gd name="csY935" fmla="*/ 296562 h 1538630"/>
              <a:gd name="csX936" fmla="*/ 460940 w 1609516"/>
              <a:gd name="csY936" fmla="*/ 300790 h 1538630"/>
              <a:gd name="csX937" fmla="*/ 473437 w 1609516"/>
              <a:gd name="csY937" fmla="*/ 305018 h 1538630"/>
              <a:gd name="csX938" fmla="*/ 473437 w 1609516"/>
              <a:gd name="csY938" fmla="*/ 307836 h 1538630"/>
              <a:gd name="csX939" fmla="*/ 479881 w 1609516"/>
              <a:gd name="csY939" fmla="*/ 309862 h 1538630"/>
              <a:gd name="csX940" fmla="*/ 483505 w 1609516"/>
              <a:gd name="csY940" fmla="*/ 311001 h 1538630"/>
              <a:gd name="csX941" fmla="*/ 548419 w 1609516"/>
              <a:gd name="csY941" fmla="*/ 306427 h 1538630"/>
              <a:gd name="csX942" fmla="*/ 551842 w 1609516"/>
              <a:gd name="csY942" fmla="*/ 305127 h 1538630"/>
              <a:gd name="csX943" fmla="*/ 560232 w 1609516"/>
              <a:gd name="csY943" fmla="*/ 298148 h 1538630"/>
              <a:gd name="csX944" fmla="*/ 562972 w 1609516"/>
              <a:gd name="csY944" fmla="*/ 295252 h 1538630"/>
              <a:gd name="csX945" fmla="*/ 568086 w 1609516"/>
              <a:gd name="csY945" fmla="*/ 289152 h 1538630"/>
              <a:gd name="csX946" fmla="*/ 570289 w 1609516"/>
              <a:gd name="csY946" fmla="*/ 286697 h 1538630"/>
              <a:gd name="csX947" fmla="*/ 573413 w 1609516"/>
              <a:gd name="csY947" fmla="*/ 286697 h 1538630"/>
              <a:gd name="csX948" fmla="*/ 577220 w 1609516"/>
              <a:gd name="csY948" fmla="*/ 257016 h 1538630"/>
              <a:gd name="csX949" fmla="*/ 577235 w 1609516"/>
              <a:gd name="csY949" fmla="*/ 254206 h 1538630"/>
              <a:gd name="csX950" fmla="*/ 569443 w 1609516"/>
              <a:gd name="csY950" fmla="*/ 206049 h 1538630"/>
              <a:gd name="csX951" fmla="*/ 568726 w 1609516"/>
              <a:gd name="csY951" fmla="*/ 200735 h 1538630"/>
              <a:gd name="csX952" fmla="*/ 565602 w 1609516"/>
              <a:gd name="csY952" fmla="*/ 200735 h 1538630"/>
              <a:gd name="csX953" fmla="*/ 559549 w 1609516"/>
              <a:gd name="csY953" fmla="*/ 184441 h 1538630"/>
              <a:gd name="csX954" fmla="*/ 537484 w 1609516"/>
              <a:gd name="csY954" fmla="*/ 159867 h 1538630"/>
              <a:gd name="csX955" fmla="*/ 531235 w 1609516"/>
              <a:gd name="csY955" fmla="*/ 154230 h 1538630"/>
              <a:gd name="csX956" fmla="*/ 531235 w 1609516"/>
              <a:gd name="csY956" fmla="*/ 151412 h 1538630"/>
              <a:gd name="csX957" fmla="*/ 526549 w 1609516"/>
              <a:gd name="csY957" fmla="*/ 150003 h 1538630"/>
              <a:gd name="csX958" fmla="*/ 524304 w 1609516"/>
              <a:gd name="csY958" fmla="*/ 107198 h 1538630"/>
              <a:gd name="csX959" fmla="*/ 547052 w 1609516"/>
              <a:gd name="csY959" fmla="*/ 85972 h 1538630"/>
              <a:gd name="csX960" fmla="*/ 588460 w 1609516"/>
              <a:gd name="csY960" fmla="*/ 83538 h 1538630"/>
              <a:gd name="csX961" fmla="*/ 617152 w 1609516"/>
              <a:gd name="csY961" fmla="*/ 111954 h 1538630"/>
              <a:gd name="csX962" fmla="*/ 617884 w 1609516"/>
              <a:gd name="csY962" fmla="*/ 124175 h 1538630"/>
              <a:gd name="csX963" fmla="*/ 617917 w 1609516"/>
              <a:gd name="csY963" fmla="*/ 127607 h 1538630"/>
              <a:gd name="csX964" fmla="*/ 617919 w 1609516"/>
              <a:gd name="csY964" fmla="*/ 141969 h 1538630"/>
              <a:gd name="csX965" fmla="*/ 630625 w 1609516"/>
              <a:gd name="csY965" fmla="*/ 191311 h 1538630"/>
              <a:gd name="csX966" fmla="*/ 637850 w 1609516"/>
              <a:gd name="csY966" fmla="*/ 205139 h 1538630"/>
              <a:gd name="csX967" fmla="*/ 643708 w 1609516"/>
              <a:gd name="csY967" fmla="*/ 212009 h 1538630"/>
              <a:gd name="csX968" fmla="*/ 647027 w 1609516"/>
              <a:gd name="csY968" fmla="*/ 217645 h 1538630"/>
              <a:gd name="csX969" fmla="*/ 670264 w 1609516"/>
              <a:gd name="csY969" fmla="*/ 241603 h 1538630"/>
              <a:gd name="csX970" fmla="*/ 670264 w 1609516"/>
              <a:gd name="csY970" fmla="*/ 244421 h 1538630"/>
              <a:gd name="csX971" fmla="*/ 675634 w 1609516"/>
              <a:gd name="csY971" fmla="*/ 245742 h 1538630"/>
              <a:gd name="csX972" fmla="*/ 682761 w 1609516"/>
              <a:gd name="csY972" fmla="*/ 248649 h 1538630"/>
              <a:gd name="csX973" fmla="*/ 752092 w 1609516"/>
              <a:gd name="csY973" fmla="*/ 245076 h 1538630"/>
              <a:gd name="csX974" fmla="*/ 758433 w 1609516"/>
              <a:gd name="csY974" fmla="*/ 240485 h 1538630"/>
              <a:gd name="csX975" fmla="*/ 763991 w 1609516"/>
              <a:gd name="csY975" fmla="*/ 238784 h 1538630"/>
              <a:gd name="csX976" fmla="*/ 765315 w 1609516"/>
              <a:gd name="csY976" fmla="*/ 235778 h 1538630"/>
              <a:gd name="csX977" fmla="*/ 770923 w 1609516"/>
              <a:gd name="csY977" fmla="*/ 223459 h 1538630"/>
              <a:gd name="csX978" fmla="*/ 772998 w 1609516"/>
              <a:gd name="csY978" fmla="*/ 218934 h 1538630"/>
              <a:gd name="csX979" fmla="*/ 777562 w 1609516"/>
              <a:gd name="csY979" fmla="*/ 209895 h 1538630"/>
              <a:gd name="csX980" fmla="*/ 781175 w 1609516"/>
              <a:gd name="csY980" fmla="*/ 124637 h 1538630"/>
              <a:gd name="csX981" fmla="*/ 778051 w 1609516"/>
              <a:gd name="csY981" fmla="*/ 124637 h 1538630"/>
              <a:gd name="csX982" fmla="*/ 767116 w 1609516"/>
              <a:gd name="csY982" fmla="*/ 79542 h 1538630"/>
              <a:gd name="csX983" fmla="*/ 793379 w 1609516"/>
              <a:gd name="csY983" fmla="*/ 54000 h 1538630"/>
              <a:gd name="csX984" fmla="*/ 840688 w 1609516"/>
              <a:gd name="csY984" fmla="*/ 55503 h 1538630"/>
              <a:gd name="csX985" fmla="*/ 851470 w 1609516"/>
              <a:gd name="csY985" fmla="*/ 64040 h 1538630"/>
              <a:gd name="csX986" fmla="*/ 853997 w 1609516"/>
              <a:gd name="csY986" fmla="*/ 66529 h 1538630"/>
              <a:gd name="csX987" fmla="*/ 861488 w 1609516"/>
              <a:gd name="csY987" fmla="*/ 82057 h 1538630"/>
              <a:gd name="csX988" fmla="*/ 861937 w 1609516"/>
              <a:gd name="csY988" fmla="*/ 90492 h 1538630"/>
              <a:gd name="csX989" fmla="*/ 863826 w 1609516"/>
              <a:gd name="csY989" fmla="*/ 100715 h 1538630"/>
              <a:gd name="csX990" fmla="*/ 857577 w 1609516"/>
              <a:gd name="csY990" fmla="*/ 121853 h 1538630"/>
              <a:gd name="csX991" fmla="*/ 856015 w 1609516"/>
              <a:gd name="csY991" fmla="*/ 121853 h 1538630"/>
              <a:gd name="csX992" fmla="*/ 855442 w 1609516"/>
              <a:gd name="csY992" fmla="*/ 118919 h 1538630"/>
              <a:gd name="csX993" fmla="*/ 855417 w 1609516"/>
              <a:gd name="csY993" fmla="*/ 118798 h 1538630"/>
              <a:gd name="csX994" fmla="*/ 856157 w 1609516"/>
              <a:gd name="csY994" fmla="*/ 124637 h 1538630"/>
              <a:gd name="csX995" fmla="*/ 850623 w 1609516"/>
              <a:gd name="csY995" fmla="*/ 134701 h 1538630"/>
              <a:gd name="csX996" fmla="*/ 851325 w 1609516"/>
              <a:gd name="csY996" fmla="*/ 135968 h 1538630"/>
              <a:gd name="csX997" fmla="*/ 849886 w 1609516"/>
              <a:gd name="csY997" fmla="*/ 139843 h 1538630"/>
              <a:gd name="csX998" fmla="*/ 847786 w 1609516"/>
              <a:gd name="csY998" fmla="*/ 152889 h 1538630"/>
              <a:gd name="csX999" fmla="*/ 847767 w 1609516"/>
              <a:gd name="csY999" fmla="*/ 157768 h 1538630"/>
              <a:gd name="csX1000" fmla="*/ 847810 w 1609516"/>
              <a:gd name="csY1000" fmla="*/ 162919 h 1538630"/>
              <a:gd name="csX1001" fmla="*/ 847832 w 1609516"/>
              <a:gd name="csY1001" fmla="*/ 168227 h 1538630"/>
              <a:gd name="csX1002" fmla="*/ 850903 w 1609516"/>
              <a:gd name="csY1002" fmla="*/ 209013 h 1538630"/>
              <a:gd name="csX1003" fmla="*/ 852880 w 1609516"/>
              <a:gd name="csY1003" fmla="*/ 224692 h 1538630"/>
              <a:gd name="csX1004" fmla="*/ 854595 w 1609516"/>
              <a:gd name="csY1004" fmla="*/ 224692 h 1538630"/>
              <a:gd name="csX1005" fmla="*/ 856083 w 1609516"/>
              <a:gd name="csY1005" fmla="*/ 227268 h 1538630"/>
              <a:gd name="csX1006" fmla="*/ 879588 w 1609516"/>
              <a:gd name="csY1006" fmla="*/ 247239 h 1538630"/>
              <a:gd name="csX1007" fmla="*/ 885739 w 1609516"/>
              <a:gd name="csY1007" fmla="*/ 249618 h 1538630"/>
              <a:gd name="csX1008" fmla="*/ 890523 w 1609516"/>
              <a:gd name="csY1008" fmla="*/ 251467 h 1538630"/>
              <a:gd name="csX1009" fmla="*/ 890523 w 1609516"/>
              <a:gd name="csY1009" fmla="*/ 254285 h 1538630"/>
              <a:gd name="csX1010" fmla="*/ 920203 w 1609516"/>
              <a:gd name="csY1010" fmla="*/ 261332 h 1538630"/>
              <a:gd name="csX1011" fmla="*/ 920203 w 1609516"/>
              <a:gd name="csY1011" fmla="*/ 262741 h 1538630"/>
              <a:gd name="csX1012" fmla="*/ 910831 w 1609516"/>
              <a:gd name="csY1012" fmla="*/ 262741 h 1538630"/>
              <a:gd name="csX1013" fmla="*/ 910831 w 1609516"/>
              <a:gd name="csY1013" fmla="*/ 262864 h 1538630"/>
              <a:gd name="csX1014" fmla="*/ 927993 w 1609516"/>
              <a:gd name="csY1014" fmla="*/ 264177 h 1538630"/>
              <a:gd name="csX1015" fmla="*/ 939273 w 1609516"/>
              <a:gd name="csY1015" fmla="*/ 265285 h 1538630"/>
              <a:gd name="csX1016" fmla="*/ 940456 w 1609516"/>
              <a:gd name="csY1016" fmla="*/ 265191 h 1538630"/>
              <a:gd name="csX1017" fmla="*/ 991622 w 1609516"/>
              <a:gd name="csY1017" fmla="*/ 242329 h 1538630"/>
              <a:gd name="csX1018" fmla="*/ 1000803 w 1609516"/>
              <a:gd name="csY1018" fmla="*/ 236505 h 1538630"/>
              <a:gd name="csX1019" fmla="*/ 999806 w 1609516"/>
              <a:gd name="csY1019" fmla="*/ 236055 h 1538630"/>
              <a:gd name="csX1020" fmla="*/ 1003126 w 1609516"/>
              <a:gd name="csY1020" fmla="*/ 232851 h 1538630"/>
              <a:gd name="csX1021" fmla="*/ 1029487 w 1609516"/>
              <a:gd name="csY1021" fmla="*/ 205052 h 1538630"/>
              <a:gd name="csX1022" fmla="*/ 1029872 w 1609516"/>
              <a:gd name="csY1022" fmla="*/ 206442 h 1538630"/>
              <a:gd name="csX1023" fmla="*/ 1031614 w 1609516"/>
              <a:gd name="csY1023" fmla="*/ 203719 h 1538630"/>
              <a:gd name="csX1024" fmla="*/ 1038924 w 1609516"/>
              <a:gd name="csY1024" fmla="*/ 192280 h 1538630"/>
              <a:gd name="csX1025" fmla="*/ 1042049 w 1609516"/>
              <a:gd name="csY1025" fmla="*/ 190870 h 1538630"/>
              <a:gd name="csX1026" fmla="*/ 1044294 w 1609516"/>
              <a:gd name="csY1026" fmla="*/ 186026 h 1538630"/>
              <a:gd name="csX1027" fmla="*/ 1051422 w 1609516"/>
              <a:gd name="csY1027" fmla="*/ 178188 h 1538630"/>
              <a:gd name="csX1028" fmla="*/ 1052984 w 1609516"/>
              <a:gd name="csY1028" fmla="*/ 172551 h 1538630"/>
              <a:gd name="csX1029" fmla="*/ 1056108 w 1609516"/>
              <a:gd name="csY1029" fmla="*/ 172551 h 1538630"/>
              <a:gd name="csX1030" fmla="*/ 1059232 w 1609516"/>
              <a:gd name="csY1030" fmla="*/ 162686 h 1538630"/>
              <a:gd name="csX1031" fmla="*/ 1062357 w 1609516"/>
              <a:gd name="csY1031" fmla="*/ 162686 h 1538630"/>
              <a:gd name="csX1032" fmla="*/ 1063162 w 1609516"/>
              <a:gd name="csY1032" fmla="*/ 160258 h 1538630"/>
              <a:gd name="csX1033" fmla="*/ 1073292 w 1609516"/>
              <a:gd name="csY1033" fmla="*/ 140138 h 1538630"/>
              <a:gd name="csX1034" fmla="*/ 1076415 w 1609516"/>
              <a:gd name="csY1034" fmla="*/ 140138 h 1538630"/>
              <a:gd name="csX1035" fmla="*/ 1085294 w 1609516"/>
              <a:gd name="csY1035" fmla="*/ 117569 h 1538630"/>
              <a:gd name="csX1036" fmla="*/ 1087350 w 1609516"/>
              <a:gd name="csY1036" fmla="*/ 113363 h 1538630"/>
              <a:gd name="csX1037" fmla="*/ 1092037 w 1609516"/>
              <a:gd name="csY1037" fmla="*/ 111954 h 1538630"/>
              <a:gd name="csX1038" fmla="*/ 1092623 w 1609516"/>
              <a:gd name="csY1038" fmla="*/ 108695 h 1538630"/>
              <a:gd name="csX1039" fmla="*/ 1096723 w 1609516"/>
              <a:gd name="csY1039" fmla="*/ 100680 h 1538630"/>
              <a:gd name="csX1040" fmla="*/ 1098188 w 1609516"/>
              <a:gd name="csY1040" fmla="*/ 96013 h 1538630"/>
              <a:gd name="csX1041" fmla="*/ 1102288 w 1609516"/>
              <a:gd name="csY1041" fmla="*/ 87029 h 1538630"/>
              <a:gd name="csX1042" fmla="*/ 1104534 w 1609516"/>
              <a:gd name="csY1042" fmla="*/ 61222 h 1538630"/>
              <a:gd name="csX1043" fmla="*/ 1104381 w 1609516"/>
              <a:gd name="csY1043" fmla="*/ 55569 h 1538630"/>
              <a:gd name="csX1044" fmla="*/ 1104397 w 1609516"/>
              <a:gd name="csY1044" fmla="*/ 52335 h 1538630"/>
              <a:gd name="csX1045" fmla="*/ 1104436 w 1609516"/>
              <a:gd name="csY1045" fmla="*/ 48979 h 1538630"/>
              <a:gd name="csX1046" fmla="*/ 1104457 w 1609516"/>
              <a:gd name="csY1046" fmla="*/ 45575 h 1538630"/>
              <a:gd name="csX1047" fmla="*/ 1104534 w 1609516"/>
              <a:gd name="csY1047" fmla="*/ 37265 h 1538630"/>
              <a:gd name="csX1048" fmla="*/ 1107658 w 1609516"/>
              <a:gd name="csY1048" fmla="*/ 37265 h 1538630"/>
              <a:gd name="csX1049" fmla="*/ 1107463 w 1609516"/>
              <a:gd name="csY1049" fmla="*/ 31805 h 1538630"/>
              <a:gd name="csX1050" fmla="*/ 1107658 w 1609516"/>
              <a:gd name="csY1050" fmla="*/ 25991 h 1538630"/>
              <a:gd name="csX1051" fmla="*/ 1110782 w 1609516"/>
              <a:gd name="csY1051" fmla="*/ 23173 h 1538630"/>
              <a:gd name="csX1052" fmla="*/ 1111759 w 1609516"/>
              <a:gd name="csY1052" fmla="*/ 20091 h 1538630"/>
              <a:gd name="csX1053" fmla="*/ 1134507 w 1609516"/>
              <a:gd name="csY1053" fmla="*/ 2828 h 1538630"/>
              <a:gd name="csX1054" fmla="*/ 1155019 w 1609516"/>
              <a:gd name="csY1054" fmla="*/ 35 h 153863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  <a:cxn ang="0">
                <a:pos x="csX170" y="csY170"/>
              </a:cxn>
              <a:cxn ang="0">
                <a:pos x="csX171" y="csY171"/>
              </a:cxn>
              <a:cxn ang="0">
                <a:pos x="csX172" y="csY172"/>
              </a:cxn>
              <a:cxn ang="0">
                <a:pos x="csX173" y="csY173"/>
              </a:cxn>
              <a:cxn ang="0">
                <a:pos x="csX174" y="csY174"/>
              </a:cxn>
              <a:cxn ang="0">
                <a:pos x="csX175" y="csY175"/>
              </a:cxn>
              <a:cxn ang="0">
                <a:pos x="csX176" y="csY176"/>
              </a:cxn>
              <a:cxn ang="0">
                <a:pos x="csX177" y="csY177"/>
              </a:cxn>
              <a:cxn ang="0">
                <a:pos x="csX178" y="csY178"/>
              </a:cxn>
              <a:cxn ang="0">
                <a:pos x="csX179" y="csY179"/>
              </a:cxn>
              <a:cxn ang="0">
                <a:pos x="csX180" y="csY180"/>
              </a:cxn>
              <a:cxn ang="0">
                <a:pos x="csX181" y="csY181"/>
              </a:cxn>
              <a:cxn ang="0">
                <a:pos x="csX182" y="csY182"/>
              </a:cxn>
              <a:cxn ang="0">
                <a:pos x="csX183" y="csY183"/>
              </a:cxn>
              <a:cxn ang="0">
                <a:pos x="csX184" y="csY184"/>
              </a:cxn>
              <a:cxn ang="0">
                <a:pos x="csX185" y="csY185"/>
              </a:cxn>
              <a:cxn ang="0">
                <a:pos x="csX186" y="csY186"/>
              </a:cxn>
              <a:cxn ang="0">
                <a:pos x="csX187" y="csY187"/>
              </a:cxn>
              <a:cxn ang="0">
                <a:pos x="csX188" y="csY188"/>
              </a:cxn>
              <a:cxn ang="0">
                <a:pos x="csX189" y="csY189"/>
              </a:cxn>
              <a:cxn ang="0">
                <a:pos x="csX190" y="csY190"/>
              </a:cxn>
              <a:cxn ang="0">
                <a:pos x="csX191" y="csY191"/>
              </a:cxn>
              <a:cxn ang="0">
                <a:pos x="csX192" y="csY192"/>
              </a:cxn>
              <a:cxn ang="0">
                <a:pos x="csX193" y="csY193"/>
              </a:cxn>
              <a:cxn ang="0">
                <a:pos x="csX194" y="csY194"/>
              </a:cxn>
              <a:cxn ang="0">
                <a:pos x="csX195" y="csY195"/>
              </a:cxn>
              <a:cxn ang="0">
                <a:pos x="csX196" y="csY196"/>
              </a:cxn>
              <a:cxn ang="0">
                <a:pos x="csX197" y="csY197"/>
              </a:cxn>
              <a:cxn ang="0">
                <a:pos x="csX198" y="csY198"/>
              </a:cxn>
              <a:cxn ang="0">
                <a:pos x="csX199" y="csY199"/>
              </a:cxn>
              <a:cxn ang="0">
                <a:pos x="csX200" y="csY200"/>
              </a:cxn>
              <a:cxn ang="0">
                <a:pos x="csX201" y="csY201"/>
              </a:cxn>
              <a:cxn ang="0">
                <a:pos x="csX202" y="csY202"/>
              </a:cxn>
              <a:cxn ang="0">
                <a:pos x="csX203" y="csY203"/>
              </a:cxn>
              <a:cxn ang="0">
                <a:pos x="csX204" y="csY204"/>
              </a:cxn>
              <a:cxn ang="0">
                <a:pos x="csX205" y="csY205"/>
              </a:cxn>
              <a:cxn ang="0">
                <a:pos x="csX206" y="csY206"/>
              </a:cxn>
              <a:cxn ang="0">
                <a:pos x="csX207" y="csY207"/>
              </a:cxn>
              <a:cxn ang="0">
                <a:pos x="csX208" y="csY208"/>
              </a:cxn>
              <a:cxn ang="0">
                <a:pos x="csX209" y="csY209"/>
              </a:cxn>
              <a:cxn ang="0">
                <a:pos x="csX210" y="csY210"/>
              </a:cxn>
              <a:cxn ang="0">
                <a:pos x="csX211" y="csY211"/>
              </a:cxn>
              <a:cxn ang="0">
                <a:pos x="csX212" y="csY212"/>
              </a:cxn>
              <a:cxn ang="0">
                <a:pos x="csX213" y="csY213"/>
              </a:cxn>
              <a:cxn ang="0">
                <a:pos x="csX214" y="csY214"/>
              </a:cxn>
              <a:cxn ang="0">
                <a:pos x="csX215" y="csY215"/>
              </a:cxn>
              <a:cxn ang="0">
                <a:pos x="csX216" y="csY216"/>
              </a:cxn>
              <a:cxn ang="0">
                <a:pos x="csX217" y="csY217"/>
              </a:cxn>
              <a:cxn ang="0">
                <a:pos x="csX218" y="csY218"/>
              </a:cxn>
              <a:cxn ang="0">
                <a:pos x="csX219" y="csY219"/>
              </a:cxn>
              <a:cxn ang="0">
                <a:pos x="csX220" y="csY220"/>
              </a:cxn>
              <a:cxn ang="0">
                <a:pos x="csX221" y="csY221"/>
              </a:cxn>
              <a:cxn ang="0">
                <a:pos x="csX222" y="csY222"/>
              </a:cxn>
              <a:cxn ang="0">
                <a:pos x="csX223" y="csY223"/>
              </a:cxn>
              <a:cxn ang="0">
                <a:pos x="csX224" y="csY224"/>
              </a:cxn>
              <a:cxn ang="0">
                <a:pos x="csX225" y="csY225"/>
              </a:cxn>
              <a:cxn ang="0">
                <a:pos x="csX226" y="csY226"/>
              </a:cxn>
              <a:cxn ang="0">
                <a:pos x="csX227" y="csY227"/>
              </a:cxn>
              <a:cxn ang="0">
                <a:pos x="csX228" y="csY228"/>
              </a:cxn>
              <a:cxn ang="0">
                <a:pos x="csX229" y="csY229"/>
              </a:cxn>
              <a:cxn ang="0">
                <a:pos x="csX230" y="csY230"/>
              </a:cxn>
              <a:cxn ang="0">
                <a:pos x="csX231" y="csY231"/>
              </a:cxn>
              <a:cxn ang="0">
                <a:pos x="csX232" y="csY232"/>
              </a:cxn>
              <a:cxn ang="0">
                <a:pos x="csX233" y="csY233"/>
              </a:cxn>
              <a:cxn ang="0">
                <a:pos x="csX234" y="csY234"/>
              </a:cxn>
              <a:cxn ang="0">
                <a:pos x="csX235" y="csY235"/>
              </a:cxn>
              <a:cxn ang="0">
                <a:pos x="csX236" y="csY236"/>
              </a:cxn>
              <a:cxn ang="0">
                <a:pos x="csX237" y="csY237"/>
              </a:cxn>
              <a:cxn ang="0">
                <a:pos x="csX238" y="csY238"/>
              </a:cxn>
              <a:cxn ang="0">
                <a:pos x="csX239" y="csY239"/>
              </a:cxn>
              <a:cxn ang="0">
                <a:pos x="csX240" y="csY240"/>
              </a:cxn>
              <a:cxn ang="0">
                <a:pos x="csX241" y="csY241"/>
              </a:cxn>
              <a:cxn ang="0">
                <a:pos x="csX242" y="csY242"/>
              </a:cxn>
              <a:cxn ang="0">
                <a:pos x="csX243" y="csY243"/>
              </a:cxn>
              <a:cxn ang="0">
                <a:pos x="csX244" y="csY244"/>
              </a:cxn>
              <a:cxn ang="0">
                <a:pos x="csX245" y="csY245"/>
              </a:cxn>
              <a:cxn ang="0">
                <a:pos x="csX246" y="csY246"/>
              </a:cxn>
              <a:cxn ang="0">
                <a:pos x="csX247" y="csY247"/>
              </a:cxn>
              <a:cxn ang="0">
                <a:pos x="csX248" y="csY248"/>
              </a:cxn>
              <a:cxn ang="0">
                <a:pos x="csX249" y="csY249"/>
              </a:cxn>
              <a:cxn ang="0">
                <a:pos x="csX250" y="csY250"/>
              </a:cxn>
              <a:cxn ang="0">
                <a:pos x="csX251" y="csY251"/>
              </a:cxn>
              <a:cxn ang="0">
                <a:pos x="csX252" y="csY252"/>
              </a:cxn>
              <a:cxn ang="0">
                <a:pos x="csX253" y="csY253"/>
              </a:cxn>
              <a:cxn ang="0">
                <a:pos x="csX254" y="csY254"/>
              </a:cxn>
              <a:cxn ang="0">
                <a:pos x="csX255" y="csY255"/>
              </a:cxn>
              <a:cxn ang="0">
                <a:pos x="csX256" y="csY256"/>
              </a:cxn>
              <a:cxn ang="0">
                <a:pos x="csX257" y="csY257"/>
              </a:cxn>
              <a:cxn ang="0">
                <a:pos x="csX258" y="csY258"/>
              </a:cxn>
              <a:cxn ang="0">
                <a:pos x="csX259" y="csY259"/>
              </a:cxn>
              <a:cxn ang="0">
                <a:pos x="csX260" y="csY260"/>
              </a:cxn>
              <a:cxn ang="0">
                <a:pos x="csX261" y="csY261"/>
              </a:cxn>
              <a:cxn ang="0">
                <a:pos x="csX262" y="csY262"/>
              </a:cxn>
              <a:cxn ang="0">
                <a:pos x="csX263" y="csY263"/>
              </a:cxn>
              <a:cxn ang="0">
                <a:pos x="csX264" y="csY264"/>
              </a:cxn>
              <a:cxn ang="0">
                <a:pos x="csX265" y="csY265"/>
              </a:cxn>
              <a:cxn ang="0">
                <a:pos x="csX266" y="csY266"/>
              </a:cxn>
              <a:cxn ang="0">
                <a:pos x="csX267" y="csY267"/>
              </a:cxn>
              <a:cxn ang="0">
                <a:pos x="csX268" y="csY268"/>
              </a:cxn>
              <a:cxn ang="0">
                <a:pos x="csX269" y="csY269"/>
              </a:cxn>
              <a:cxn ang="0">
                <a:pos x="csX270" y="csY270"/>
              </a:cxn>
              <a:cxn ang="0">
                <a:pos x="csX271" y="csY271"/>
              </a:cxn>
              <a:cxn ang="0">
                <a:pos x="csX272" y="csY272"/>
              </a:cxn>
              <a:cxn ang="0">
                <a:pos x="csX273" y="csY273"/>
              </a:cxn>
              <a:cxn ang="0">
                <a:pos x="csX274" y="csY274"/>
              </a:cxn>
              <a:cxn ang="0">
                <a:pos x="csX275" y="csY275"/>
              </a:cxn>
              <a:cxn ang="0">
                <a:pos x="csX276" y="csY276"/>
              </a:cxn>
              <a:cxn ang="0">
                <a:pos x="csX277" y="csY277"/>
              </a:cxn>
              <a:cxn ang="0">
                <a:pos x="csX278" y="csY278"/>
              </a:cxn>
              <a:cxn ang="0">
                <a:pos x="csX279" y="csY279"/>
              </a:cxn>
              <a:cxn ang="0">
                <a:pos x="csX280" y="csY280"/>
              </a:cxn>
              <a:cxn ang="0">
                <a:pos x="csX281" y="csY281"/>
              </a:cxn>
              <a:cxn ang="0">
                <a:pos x="csX282" y="csY282"/>
              </a:cxn>
              <a:cxn ang="0">
                <a:pos x="csX283" y="csY283"/>
              </a:cxn>
              <a:cxn ang="0">
                <a:pos x="csX284" y="csY284"/>
              </a:cxn>
              <a:cxn ang="0">
                <a:pos x="csX285" y="csY285"/>
              </a:cxn>
              <a:cxn ang="0">
                <a:pos x="csX286" y="csY286"/>
              </a:cxn>
              <a:cxn ang="0">
                <a:pos x="csX287" y="csY287"/>
              </a:cxn>
              <a:cxn ang="0">
                <a:pos x="csX288" y="csY288"/>
              </a:cxn>
              <a:cxn ang="0">
                <a:pos x="csX289" y="csY289"/>
              </a:cxn>
              <a:cxn ang="0">
                <a:pos x="csX290" y="csY290"/>
              </a:cxn>
              <a:cxn ang="0">
                <a:pos x="csX291" y="csY291"/>
              </a:cxn>
              <a:cxn ang="0">
                <a:pos x="csX292" y="csY292"/>
              </a:cxn>
              <a:cxn ang="0">
                <a:pos x="csX293" y="csY293"/>
              </a:cxn>
              <a:cxn ang="0">
                <a:pos x="csX294" y="csY294"/>
              </a:cxn>
              <a:cxn ang="0">
                <a:pos x="csX295" y="csY295"/>
              </a:cxn>
              <a:cxn ang="0">
                <a:pos x="csX296" y="csY296"/>
              </a:cxn>
              <a:cxn ang="0">
                <a:pos x="csX297" y="csY297"/>
              </a:cxn>
              <a:cxn ang="0">
                <a:pos x="csX298" y="csY298"/>
              </a:cxn>
              <a:cxn ang="0">
                <a:pos x="csX299" y="csY299"/>
              </a:cxn>
              <a:cxn ang="0">
                <a:pos x="csX300" y="csY300"/>
              </a:cxn>
              <a:cxn ang="0">
                <a:pos x="csX301" y="csY301"/>
              </a:cxn>
              <a:cxn ang="0">
                <a:pos x="csX302" y="csY302"/>
              </a:cxn>
              <a:cxn ang="0">
                <a:pos x="csX303" y="csY303"/>
              </a:cxn>
              <a:cxn ang="0">
                <a:pos x="csX304" y="csY304"/>
              </a:cxn>
              <a:cxn ang="0">
                <a:pos x="csX305" y="csY305"/>
              </a:cxn>
              <a:cxn ang="0">
                <a:pos x="csX306" y="csY306"/>
              </a:cxn>
              <a:cxn ang="0">
                <a:pos x="csX307" y="csY307"/>
              </a:cxn>
              <a:cxn ang="0">
                <a:pos x="csX308" y="csY308"/>
              </a:cxn>
              <a:cxn ang="0">
                <a:pos x="csX309" y="csY309"/>
              </a:cxn>
              <a:cxn ang="0">
                <a:pos x="csX310" y="csY310"/>
              </a:cxn>
              <a:cxn ang="0">
                <a:pos x="csX311" y="csY311"/>
              </a:cxn>
              <a:cxn ang="0">
                <a:pos x="csX312" y="csY312"/>
              </a:cxn>
              <a:cxn ang="0">
                <a:pos x="csX313" y="csY313"/>
              </a:cxn>
              <a:cxn ang="0">
                <a:pos x="csX314" y="csY314"/>
              </a:cxn>
              <a:cxn ang="0">
                <a:pos x="csX315" y="csY315"/>
              </a:cxn>
              <a:cxn ang="0">
                <a:pos x="csX316" y="csY316"/>
              </a:cxn>
              <a:cxn ang="0">
                <a:pos x="csX317" y="csY317"/>
              </a:cxn>
              <a:cxn ang="0">
                <a:pos x="csX318" y="csY318"/>
              </a:cxn>
              <a:cxn ang="0">
                <a:pos x="csX319" y="csY319"/>
              </a:cxn>
              <a:cxn ang="0">
                <a:pos x="csX320" y="csY320"/>
              </a:cxn>
              <a:cxn ang="0">
                <a:pos x="csX321" y="csY321"/>
              </a:cxn>
              <a:cxn ang="0">
                <a:pos x="csX322" y="csY322"/>
              </a:cxn>
              <a:cxn ang="0">
                <a:pos x="csX323" y="csY323"/>
              </a:cxn>
              <a:cxn ang="0">
                <a:pos x="csX324" y="csY324"/>
              </a:cxn>
              <a:cxn ang="0">
                <a:pos x="csX325" y="csY325"/>
              </a:cxn>
              <a:cxn ang="0">
                <a:pos x="csX326" y="csY326"/>
              </a:cxn>
              <a:cxn ang="0">
                <a:pos x="csX327" y="csY327"/>
              </a:cxn>
              <a:cxn ang="0">
                <a:pos x="csX328" y="csY328"/>
              </a:cxn>
              <a:cxn ang="0">
                <a:pos x="csX329" y="csY329"/>
              </a:cxn>
              <a:cxn ang="0">
                <a:pos x="csX330" y="csY330"/>
              </a:cxn>
              <a:cxn ang="0">
                <a:pos x="csX331" y="csY331"/>
              </a:cxn>
              <a:cxn ang="0">
                <a:pos x="csX332" y="csY332"/>
              </a:cxn>
              <a:cxn ang="0">
                <a:pos x="csX333" y="csY333"/>
              </a:cxn>
              <a:cxn ang="0">
                <a:pos x="csX334" y="csY334"/>
              </a:cxn>
              <a:cxn ang="0">
                <a:pos x="csX335" y="csY335"/>
              </a:cxn>
              <a:cxn ang="0">
                <a:pos x="csX336" y="csY336"/>
              </a:cxn>
              <a:cxn ang="0">
                <a:pos x="csX337" y="csY337"/>
              </a:cxn>
              <a:cxn ang="0">
                <a:pos x="csX338" y="csY338"/>
              </a:cxn>
              <a:cxn ang="0">
                <a:pos x="csX339" y="csY339"/>
              </a:cxn>
              <a:cxn ang="0">
                <a:pos x="csX340" y="csY340"/>
              </a:cxn>
              <a:cxn ang="0">
                <a:pos x="csX341" y="csY341"/>
              </a:cxn>
              <a:cxn ang="0">
                <a:pos x="csX342" y="csY342"/>
              </a:cxn>
              <a:cxn ang="0">
                <a:pos x="csX343" y="csY343"/>
              </a:cxn>
              <a:cxn ang="0">
                <a:pos x="csX344" y="csY344"/>
              </a:cxn>
              <a:cxn ang="0">
                <a:pos x="csX345" y="csY345"/>
              </a:cxn>
              <a:cxn ang="0">
                <a:pos x="csX346" y="csY346"/>
              </a:cxn>
              <a:cxn ang="0">
                <a:pos x="csX347" y="csY347"/>
              </a:cxn>
              <a:cxn ang="0">
                <a:pos x="csX348" y="csY348"/>
              </a:cxn>
              <a:cxn ang="0">
                <a:pos x="csX349" y="csY349"/>
              </a:cxn>
              <a:cxn ang="0">
                <a:pos x="csX350" y="csY350"/>
              </a:cxn>
              <a:cxn ang="0">
                <a:pos x="csX351" y="csY351"/>
              </a:cxn>
              <a:cxn ang="0">
                <a:pos x="csX352" y="csY352"/>
              </a:cxn>
              <a:cxn ang="0">
                <a:pos x="csX353" y="csY353"/>
              </a:cxn>
              <a:cxn ang="0">
                <a:pos x="csX354" y="csY354"/>
              </a:cxn>
              <a:cxn ang="0">
                <a:pos x="csX355" y="csY355"/>
              </a:cxn>
              <a:cxn ang="0">
                <a:pos x="csX356" y="csY356"/>
              </a:cxn>
              <a:cxn ang="0">
                <a:pos x="csX357" y="csY357"/>
              </a:cxn>
              <a:cxn ang="0">
                <a:pos x="csX358" y="csY358"/>
              </a:cxn>
              <a:cxn ang="0">
                <a:pos x="csX359" y="csY359"/>
              </a:cxn>
              <a:cxn ang="0">
                <a:pos x="csX360" y="csY360"/>
              </a:cxn>
              <a:cxn ang="0">
                <a:pos x="csX361" y="csY361"/>
              </a:cxn>
              <a:cxn ang="0">
                <a:pos x="csX362" y="csY362"/>
              </a:cxn>
              <a:cxn ang="0">
                <a:pos x="csX363" y="csY363"/>
              </a:cxn>
              <a:cxn ang="0">
                <a:pos x="csX364" y="csY364"/>
              </a:cxn>
              <a:cxn ang="0">
                <a:pos x="csX365" y="csY365"/>
              </a:cxn>
              <a:cxn ang="0">
                <a:pos x="csX366" y="csY366"/>
              </a:cxn>
              <a:cxn ang="0">
                <a:pos x="csX367" y="csY367"/>
              </a:cxn>
              <a:cxn ang="0">
                <a:pos x="csX368" y="csY368"/>
              </a:cxn>
              <a:cxn ang="0">
                <a:pos x="csX369" y="csY369"/>
              </a:cxn>
              <a:cxn ang="0">
                <a:pos x="csX370" y="csY370"/>
              </a:cxn>
              <a:cxn ang="0">
                <a:pos x="csX371" y="csY371"/>
              </a:cxn>
              <a:cxn ang="0">
                <a:pos x="csX372" y="csY372"/>
              </a:cxn>
              <a:cxn ang="0">
                <a:pos x="csX373" y="csY373"/>
              </a:cxn>
              <a:cxn ang="0">
                <a:pos x="csX374" y="csY374"/>
              </a:cxn>
              <a:cxn ang="0">
                <a:pos x="csX375" y="csY375"/>
              </a:cxn>
              <a:cxn ang="0">
                <a:pos x="csX376" y="csY376"/>
              </a:cxn>
              <a:cxn ang="0">
                <a:pos x="csX377" y="csY377"/>
              </a:cxn>
              <a:cxn ang="0">
                <a:pos x="csX378" y="csY378"/>
              </a:cxn>
              <a:cxn ang="0">
                <a:pos x="csX379" y="csY379"/>
              </a:cxn>
              <a:cxn ang="0">
                <a:pos x="csX380" y="csY380"/>
              </a:cxn>
              <a:cxn ang="0">
                <a:pos x="csX381" y="csY381"/>
              </a:cxn>
              <a:cxn ang="0">
                <a:pos x="csX382" y="csY382"/>
              </a:cxn>
              <a:cxn ang="0">
                <a:pos x="csX383" y="csY383"/>
              </a:cxn>
              <a:cxn ang="0">
                <a:pos x="csX384" y="csY384"/>
              </a:cxn>
              <a:cxn ang="0">
                <a:pos x="csX385" y="csY385"/>
              </a:cxn>
              <a:cxn ang="0">
                <a:pos x="csX386" y="csY386"/>
              </a:cxn>
              <a:cxn ang="0">
                <a:pos x="csX387" y="csY387"/>
              </a:cxn>
              <a:cxn ang="0">
                <a:pos x="csX388" y="csY388"/>
              </a:cxn>
              <a:cxn ang="0">
                <a:pos x="csX389" y="csY389"/>
              </a:cxn>
              <a:cxn ang="0">
                <a:pos x="csX390" y="csY390"/>
              </a:cxn>
              <a:cxn ang="0">
                <a:pos x="csX391" y="csY391"/>
              </a:cxn>
              <a:cxn ang="0">
                <a:pos x="csX392" y="csY392"/>
              </a:cxn>
              <a:cxn ang="0">
                <a:pos x="csX393" y="csY393"/>
              </a:cxn>
              <a:cxn ang="0">
                <a:pos x="csX394" y="csY394"/>
              </a:cxn>
              <a:cxn ang="0">
                <a:pos x="csX395" y="csY395"/>
              </a:cxn>
              <a:cxn ang="0">
                <a:pos x="csX396" y="csY396"/>
              </a:cxn>
              <a:cxn ang="0">
                <a:pos x="csX397" y="csY397"/>
              </a:cxn>
              <a:cxn ang="0">
                <a:pos x="csX398" y="csY398"/>
              </a:cxn>
              <a:cxn ang="0">
                <a:pos x="csX399" y="csY399"/>
              </a:cxn>
              <a:cxn ang="0">
                <a:pos x="csX400" y="csY400"/>
              </a:cxn>
              <a:cxn ang="0">
                <a:pos x="csX401" y="csY401"/>
              </a:cxn>
              <a:cxn ang="0">
                <a:pos x="csX402" y="csY402"/>
              </a:cxn>
              <a:cxn ang="0">
                <a:pos x="csX403" y="csY403"/>
              </a:cxn>
              <a:cxn ang="0">
                <a:pos x="csX404" y="csY404"/>
              </a:cxn>
              <a:cxn ang="0">
                <a:pos x="csX405" y="csY405"/>
              </a:cxn>
              <a:cxn ang="0">
                <a:pos x="csX406" y="csY406"/>
              </a:cxn>
              <a:cxn ang="0">
                <a:pos x="csX407" y="csY407"/>
              </a:cxn>
              <a:cxn ang="0">
                <a:pos x="csX408" y="csY408"/>
              </a:cxn>
              <a:cxn ang="0">
                <a:pos x="csX409" y="csY409"/>
              </a:cxn>
              <a:cxn ang="0">
                <a:pos x="csX410" y="csY410"/>
              </a:cxn>
              <a:cxn ang="0">
                <a:pos x="csX411" y="csY411"/>
              </a:cxn>
              <a:cxn ang="0">
                <a:pos x="csX412" y="csY412"/>
              </a:cxn>
              <a:cxn ang="0">
                <a:pos x="csX413" y="csY413"/>
              </a:cxn>
              <a:cxn ang="0">
                <a:pos x="csX414" y="csY414"/>
              </a:cxn>
              <a:cxn ang="0">
                <a:pos x="csX415" y="csY415"/>
              </a:cxn>
              <a:cxn ang="0">
                <a:pos x="csX416" y="csY416"/>
              </a:cxn>
              <a:cxn ang="0">
                <a:pos x="csX417" y="csY417"/>
              </a:cxn>
              <a:cxn ang="0">
                <a:pos x="csX418" y="csY418"/>
              </a:cxn>
              <a:cxn ang="0">
                <a:pos x="csX419" y="csY419"/>
              </a:cxn>
              <a:cxn ang="0">
                <a:pos x="csX420" y="csY420"/>
              </a:cxn>
              <a:cxn ang="0">
                <a:pos x="csX421" y="csY421"/>
              </a:cxn>
              <a:cxn ang="0">
                <a:pos x="csX422" y="csY422"/>
              </a:cxn>
              <a:cxn ang="0">
                <a:pos x="csX423" y="csY423"/>
              </a:cxn>
              <a:cxn ang="0">
                <a:pos x="csX424" y="csY424"/>
              </a:cxn>
              <a:cxn ang="0">
                <a:pos x="csX425" y="csY425"/>
              </a:cxn>
              <a:cxn ang="0">
                <a:pos x="csX426" y="csY426"/>
              </a:cxn>
              <a:cxn ang="0">
                <a:pos x="csX427" y="csY427"/>
              </a:cxn>
              <a:cxn ang="0">
                <a:pos x="csX428" y="csY428"/>
              </a:cxn>
              <a:cxn ang="0">
                <a:pos x="csX429" y="csY429"/>
              </a:cxn>
              <a:cxn ang="0">
                <a:pos x="csX430" y="csY430"/>
              </a:cxn>
              <a:cxn ang="0">
                <a:pos x="csX431" y="csY431"/>
              </a:cxn>
              <a:cxn ang="0">
                <a:pos x="csX432" y="csY432"/>
              </a:cxn>
              <a:cxn ang="0">
                <a:pos x="csX433" y="csY433"/>
              </a:cxn>
              <a:cxn ang="0">
                <a:pos x="csX434" y="csY434"/>
              </a:cxn>
              <a:cxn ang="0">
                <a:pos x="csX435" y="csY435"/>
              </a:cxn>
              <a:cxn ang="0">
                <a:pos x="csX436" y="csY436"/>
              </a:cxn>
              <a:cxn ang="0">
                <a:pos x="csX437" y="csY437"/>
              </a:cxn>
              <a:cxn ang="0">
                <a:pos x="csX438" y="csY438"/>
              </a:cxn>
              <a:cxn ang="0">
                <a:pos x="csX439" y="csY439"/>
              </a:cxn>
              <a:cxn ang="0">
                <a:pos x="csX440" y="csY440"/>
              </a:cxn>
              <a:cxn ang="0">
                <a:pos x="csX441" y="csY441"/>
              </a:cxn>
              <a:cxn ang="0">
                <a:pos x="csX442" y="csY442"/>
              </a:cxn>
              <a:cxn ang="0">
                <a:pos x="csX443" y="csY443"/>
              </a:cxn>
              <a:cxn ang="0">
                <a:pos x="csX444" y="csY444"/>
              </a:cxn>
              <a:cxn ang="0">
                <a:pos x="csX445" y="csY445"/>
              </a:cxn>
              <a:cxn ang="0">
                <a:pos x="csX446" y="csY446"/>
              </a:cxn>
              <a:cxn ang="0">
                <a:pos x="csX447" y="csY447"/>
              </a:cxn>
              <a:cxn ang="0">
                <a:pos x="csX448" y="csY448"/>
              </a:cxn>
              <a:cxn ang="0">
                <a:pos x="csX449" y="csY449"/>
              </a:cxn>
              <a:cxn ang="0">
                <a:pos x="csX450" y="csY450"/>
              </a:cxn>
              <a:cxn ang="0">
                <a:pos x="csX451" y="csY451"/>
              </a:cxn>
              <a:cxn ang="0">
                <a:pos x="csX452" y="csY452"/>
              </a:cxn>
              <a:cxn ang="0">
                <a:pos x="csX453" y="csY453"/>
              </a:cxn>
              <a:cxn ang="0">
                <a:pos x="csX454" y="csY454"/>
              </a:cxn>
              <a:cxn ang="0">
                <a:pos x="csX455" y="csY455"/>
              </a:cxn>
              <a:cxn ang="0">
                <a:pos x="csX456" y="csY456"/>
              </a:cxn>
              <a:cxn ang="0">
                <a:pos x="csX457" y="csY457"/>
              </a:cxn>
              <a:cxn ang="0">
                <a:pos x="csX458" y="csY458"/>
              </a:cxn>
              <a:cxn ang="0">
                <a:pos x="csX459" y="csY459"/>
              </a:cxn>
              <a:cxn ang="0">
                <a:pos x="csX460" y="csY460"/>
              </a:cxn>
              <a:cxn ang="0">
                <a:pos x="csX461" y="csY461"/>
              </a:cxn>
              <a:cxn ang="0">
                <a:pos x="csX462" y="csY462"/>
              </a:cxn>
              <a:cxn ang="0">
                <a:pos x="csX463" y="csY463"/>
              </a:cxn>
              <a:cxn ang="0">
                <a:pos x="csX464" y="csY464"/>
              </a:cxn>
              <a:cxn ang="0">
                <a:pos x="csX465" y="csY465"/>
              </a:cxn>
              <a:cxn ang="0">
                <a:pos x="csX466" y="csY466"/>
              </a:cxn>
              <a:cxn ang="0">
                <a:pos x="csX467" y="csY467"/>
              </a:cxn>
              <a:cxn ang="0">
                <a:pos x="csX468" y="csY468"/>
              </a:cxn>
              <a:cxn ang="0">
                <a:pos x="csX469" y="csY469"/>
              </a:cxn>
              <a:cxn ang="0">
                <a:pos x="csX470" y="csY470"/>
              </a:cxn>
              <a:cxn ang="0">
                <a:pos x="csX471" y="csY471"/>
              </a:cxn>
              <a:cxn ang="0">
                <a:pos x="csX472" y="csY472"/>
              </a:cxn>
              <a:cxn ang="0">
                <a:pos x="csX473" y="csY473"/>
              </a:cxn>
              <a:cxn ang="0">
                <a:pos x="csX474" y="csY474"/>
              </a:cxn>
              <a:cxn ang="0">
                <a:pos x="csX475" y="csY475"/>
              </a:cxn>
              <a:cxn ang="0">
                <a:pos x="csX476" y="csY476"/>
              </a:cxn>
              <a:cxn ang="0">
                <a:pos x="csX477" y="csY477"/>
              </a:cxn>
              <a:cxn ang="0">
                <a:pos x="csX478" y="csY478"/>
              </a:cxn>
              <a:cxn ang="0">
                <a:pos x="csX479" y="csY479"/>
              </a:cxn>
              <a:cxn ang="0">
                <a:pos x="csX480" y="csY480"/>
              </a:cxn>
              <a:cxn ang="0">
                <a:pos x="csX481" y="csY481"/>
              </a:cxn>
              <a:cxn ang="0">
                <a:pos x="csX482" y="csY482"/>
              </a:cxn>
              <a:cxn ang="0">
                <a:pos x="csX483" y="csY483"/>
              </a:cxn>
              <a:cxn ang="0">
                <a:pos x="csX484" y="csY484"/>
              </a:cxn>
              <a:cxn ang="0">
                <a:pos x="csX485" y="csY485"/>
              </a:cxn>
              <a:cxn ang="0">
                <a:pos x="csX486" y="csY486"/>
              </a:cxn>
              <a:cxn ang="0">
                <a:pos x="csX487" y="csY487"/>
              </a:cxn>
              <a:cxn ang="0">
                <a:pos x="csX488" y="csY488"/>
              </a:cxn>
              <a:cxn ang="0">
                <a:pos x="csX489" y="csY489"/>
              </a:cxn>
              <a:cxn ang="0">
                <a:pos x="csX490" y="csY490"/>
              </a:cxn>
              <a:cxn ang="0">
                <a:pos x="csX491" y="csY491"/>
              </a:cxn>
              <a:cxn ang="0">
                <a:pos x="csX492" y="csY492"/>
              </a:cxn>
              <a:cxn ang="0">
                <a:pos x="csX493" y="csY493"/>
              </a:cxn>
              <a:cxn ang="0">
                <a:pos x="csX494" y="csY494"/>
              </a:cxn>
              <a:cxn ang="0">
                <a:pos x="csX495" y="csY495"/>
              </a:cxn>
              <a:cxn ang="0">
                <a:pos x="csX496" y="csY496"/>
              </a:cxn>
              <a:cxn ang="0">
                <a:pos x="csX497" y="csY497"/>
              </a:cxn>
              <a:cxn ang="0">
                <a:pos x="csX498" y="csY498"/>
              </a:cxn>
              <a:cxn ang="0">
                <a:pos x="csX499" y="csY499"/>
              </a:cxn>
              <a:cxn ang="0">
                <a:pos x="csX500" y="csY500"/>
              </a:cxn>
              <a:cxn ang="0">
                <a:pos x="csX501" y="csY501"/>
              </a:cxn>
              <a:cxn ang="0">
                <a:pos x="csX502" y="csY502"/>
              </a:cxn>
              <a:cxn ang="0">
                <a:pos x="csX503" y="csY503"/>
              </a:cxn>
              <a:cxn ang="0">
                <a:pos x="csX504" y="csY504"/>
              </a:cxn>
              <a:cxn ang="0">
                <a:pos x="csX505" y="csY505"/>
              </a:cxn>
              <a:cxn ang="0">
                <a:pos x="csX506" y="csY506"/>
              </a:cxn>
              <a:cxn ang="0">
                <a:pos x="csX507" y="csY507"/>
              </a:cxn>
              <a:cxn ang="0">
                <a:pos x="csX508" y="csY508"/>
              </a:cxn>
              <a:cxn ang="0">
                <a:pos x="csX509" y="csY509"/>
              </a:cxn>
              <a:cxn ang="0">
                <a:pos x="csX510" y="csY510"/>
              </a:cxn>
              <a:cxn ang="0">
                <a:pos x="csX511" y="csY511"/>
              </a:cxn>
              <a:cxn ang="0">
                <a:pos x="csX512" y="csY512"/>
              </a:cxn>
              <a:cxn ang="0">
                <a:pos x="csX513" y="csY513"/>
              </a:cxn>
              <a:cxn ang="0">
                <a:pos x="csX514" y="csY514"/>
              </a:cxn>
              <a:cxn ang="0">
                <a:pos x="csX515" y="csY515"/>
              </a:cxn>
              <a:cxn ang="0">
                <a:pos x="csX516" y="csY516"/>
              </a:cxn>
              <a:cxn ang="0">
                <a:pos x="csX517" y="csY517"/>
              </a:cxn>
              <a:cxn ang="0">
                <a:pos x="csX518" y="csY518"/>
              </a:cxn>
              <a:cxn ang="0">
                <a:pos x="csX519" y="csY519"/>
              </a:cxn>
              <a:cxn ang="0">
                <a:pos x="csX520" y="csY520"/>
              </a:cxn>
              <a:cxn ang="0">
                <a:pos x="csX521" y="csY521"/>
              </a:cxn>
              <a:cxn ang="0">
                <a:pos x="csX522" y="csY522"/>
              </a:cxn>
              <a:cxn ang="0">
                <a:pos x="csX523" y="csY523"/>
              </a:cxn>
              <a:cxn ang="0">
                <a:pos x="csX524" y="csY524"/>
              </a:cxn>
              <a:cxn ang="0">
                <a:pos x="csX525" y="csY525"/>
              </a:cxn>
              <a:cxn ang="0">
                <a:pos x="csX526" y="csY526"/>
              </a:cxn>
              <a:cxn ang="0">
                <a:pos x="csX527" y="csY527"/>
              </a:cxn>
              <a:cxn ang="0">
                <a:pos x="csX528" y="csY528"/>
              </a:cxn>
              <a:cxn ang="0">
                <a:pos x="csX529" y="csY529"/>
              </a:cxn>
              <a:cxn ang="0">
                <a:pos x="csX530" y="csY530"/>
              </a:cxn>
              <a:cxn ang="0">
                <a:pos x="csX531" y="csY531"/>
              </a:cxn>
              <a:cxn ang="0">
                <a:pos x="csX532" y="csY532"/>
              </a:cxn>
              <a:cxn ang="0">
                <a:pos x="csX533" y="csY533"/>
              </a:cxn>
              <a:cxn ang="0">
                <a:pos x="csX534" y="csY534"/>
              </a:cxn>
              <a:cxn ang="0">
                <a:pos x="csX535" y="csY535"/>
              </a:cxn>
              <a:cxn ang="0">
                <a:pos x="csX536" y="csY536"/>
              </a:cxn>
              <a:cxn ang="0">
                <a:pos x="csX537" y="csY537"/>
              </a:cxn>
              <a:cxn ang="0">
                <a:pos x="csX538" y="csY538"/>
              </a:cxn>
              <a:cxn ang="0">
                <a:pos x="csX539" y="csY539"/>
              </a:cxn>
              <a:cxn ang="0">
                <a:pos x="csX540" y="csY540"/>
              </a:cxn>
              <a:cxn ang="0">
                <a:pos x="csX541" y="csY541"/>
              </a:cxn>
              <a:cxn ang="0">
                <a:pos x="csX542" y="csY542"/>
              </a:cxn>
              <a:cxn ang="0">
                <a:pos x="csX543" y="csY543"/>
              </a:cxn>
              <a:cxn ang="0">
                <a:pos x="csX544" y="csY544"/>
              </a:cxn>
              <a:cxn ang="0">
                <a:pos x="csX545" y="csY545"/>
              </a:cxn>
              <a:cxn ang="0">
                <a:pos x="csX546" y="csY546"/>
              </a:cxn>
              <a:cxn ang="0">
                <a:pos x="csX547" y="csY547"/>
              </a:cxn>
              <a:cxn ang="0">
                <a:pos x="csX548" y="csY548"/>
              </a:cxn>
              <a:cxn ang="0">
                <a:pos x="csX549" y="csY549"/>
              </a:cxn>
              <a:cxn ang="0">
                <a:pos x="csX550" y="csY550"/>
              </a:cxn>
              <a:cxn ang="0">
                <a:pos x="csX551" y="csY551"/>
              </a:cxn>
              <a:cxn ang="0">
                <a:pos x="csX552" y="csY552"/>
              </a:cxn>
              <a:cxn ang="0">
                <a:pos x="csX553" y="csY553"/>
              </a:cxn>
              <a:cxn ang="0">
                <a:pos x="csX554" y="csY554"/>
              </a:cxn>
              <a:cxn ang="0">
                <a:pos x="csX555" y="csY555"/>
              </a:cxn>
              <a:cxn ang="0">
                <a:pos x="csX556" y="csY556"/>
              </a:cxn>
              <a:cxn ang="0">
                <a:pos x="csX557" y="csY557"/>
              </a:cxn>
              <a:cxn ang="0">
                <a:pos x="csX558" y="csY558"/>
              </a:cxn>
              <a:cxn ang="0">
                <a:pos x="csX559" y="csY559"/>
              </a:cxn>
              <a:cxn ang="0">
                <a:pos x="csX560" y="csY560"/>
              </a:cxn>
              <a:cxn ang="0">
                <a:pos x="csX561" y="csY561"/>
              </a:cxn>
              <a:cxn ang="0">
                <a:pos x="csX562" y="csY562"/>
              </a:cxn>
              <a:cxn ang="0">
                <a:pos x="csX563" y="csY563"/>
              </a:cxn>
              <a:cxn ang="0">
                <a:pos x="csX564" y="csY564"/>
              </a:cxn>
              <a:cxn ang="0">
                <a:pos x="csX565" y="csY565"/>
              </a:cxn>
              <a:cxn ang="0">
                <a:pos x="csX566" y="csY566"/>
              </a:cxn>
              <a:cxn ang="0">
                <a:pos x="csX567" y="csY567"/>
              </a:cxn>
              <a:cxn ang="0">
                <a:pos x="csX568" y="csY568"/>
              </a:cxn>
              <a:cxn ang="0">
                <a:pos x="csX569" y="csY569"/>
              </a:cxn>
              <a:cxn ang="0">
                <a:pos x="csX570" y="csY570"/>
              </a:cxn>
              <a:cxn ang="0">
                <a:pos x="csX571" y="csY571"/>
              </a:cxn>
              <a:cxn ang="0">
                <a:pos x="csX572" y="csY572"/>
              </a:cxn>
              <a:cxn ang="0">
                <a:pos x="csX573" y="csY573"/>
              </a:cxn>
              <a:cxn ang="0">
                <a:pos x="csX574" y="csY574"/>
              </a:cxn>
              <a:cxn ang="0">
                <a:pos x="csX575" y="csY575"/>
              </a:cxn>
              <a:cxn ang="0">
                <a:pos x="csX576" y="csY576"/>
              </a:cxn>
              <a:cxn ang="0">
                <a:pos x="csX577" y="csY577"/>
              </a:cxn>
              <a:cxn ang="0">
                <a:pos x="csX578" y="csY578"/>
              </a:cxn>
              <a:cxn ang="0">
                <a:pos x="csX579" y="csY579"/>
              </a:cxn>
              <a:cxn ang="0">
                <a:pos x="csX580" y="csY580"/>
              </a:cxn>
              <a:cxn ang="0">
                <a:pos x="csX581" y="csY581"/>
              </a:cxn>
              <a:cxn ang="0">
                <a:pos x="csX582" y="csY582"/>
              </a:cxn>
              <a:cxn ang="0">
                <a:pos x="csX583" y="csY583"/>
              </a:cxn>
              <a:cxn ang="0">
                <a:pos x="csX584" y="csY584"/>
              </a:cxn>
              <a:cxn ang="0">
                <a:pos x="csX585" y="csY585"/>
              </a:cxn>
              <a:cxn ang="0">
                <a:pos x="csX586" y="csY586"/>
              </a:cxn>
              <a:cxn ang="0">
                <a:pos x="csX587" y="csY587"/>
              </a:cxn>
              <a:cxn ang="0">
                <a:pos x="csX588" y="csY588"/>
              </a:cxn>
              <a:cxn ang="0">
                <a:pos x="csX589" y="csY589"/>
              </a:cxn>
              <a:cxn ang="0">
                <a:pos x="csX590" y="csY590"/>
              </a:cxn>
              <a:cxn ang="0">
                <a:pos x="csX591" y="csY591"/>
              </a:cxn>
              <a:cxn ang="0">
                <a:pos x="csX592" y="csY592"/>
              </a:cxn>
              <a:cxn ang="0">
                <a:pos x="csX593" y="csY593"/>
              </a:cxn>
              <a:cxn ang="0">
                <a:pos x="csX594" y="csY594"/>
              </a:cxn>
              <a:cxn ang="0">
                <a:pos x="csX595" y="csY595"/>
              </a:cxn>
              <a:cxn ang="0">
                <a:pos x="csX596" y="csY596"/>
              </a:cxn>
              <a:cxn ang="0">
                <a:pos x="csX597" y="csY597"/>
              </a:cxn>
              <a:cxn ang="0">
                <a:pos x="csX598" y="csY598"/>
              </a:cxn>
              <a:cxn ang="0">
                <a:pos x="csX599" y="csY599"/>
              </a:cxn>
              <a:cxn ang="0">
                <a:pos x="csX600" y="csY600"/>
              </a:cxn>
              <a:cxn ang="0">
                <a:pos x="csX601" y="csY601"/>
              </a:cxn>
              <a:cxn ang="0">
                <a:pos x="csX602" y="csY602"/>
              </a:cxn>
              <a:cxn ang="0">
                <a:pos x="csX603" y="csY603"/>
              </a:cxn>
              <a:cxn ang="0">
                <a:pos x="csX604" y="csY604"/>
              </a:cxn>
              <a:cxn ang="0">
                <a:pos x="csX605" y="csY605"/>
              </a:cxn>
              <a:cxn ang="0">
                <a:pos x="csX606" y="csY606"/>
              </a:cxn>
              <a:cxn ang="0">
                <a:pos x="csX607" y="csY607"/>
              </a:cxn>
              <a:cxn ang="0">
                <a:pos x="csX608" y="csY608"/>
              </a:cxn>
              <a:cxn ang="0">
                <a:pos x="csX609" y="csY609"/>
              </a:cxn>
              <a:cxn ang="0">
                <a:pos x="csX610" y="csY610"/>
              </a:cxn>
              <a:cxn ang="0">
                <a:pos x="csX611" y="csY611"/>
              </a:cxn>
              <a:cxn ang="0">
                <a:pos x="csX612" y="csY612"/>
              </a:cxn>
              <a:cxn ang="0">
                <a:pos x="csX613" y="csY613"/>
              </a:cxn>
              <a:cxn ang="0">
                <a:pos x="csX614" y="csY614"/>
              </a:cxn>
              <a:cxn ang="0">
                <a:pos x="csX615" y="csY615"/>
              </a:cxn>
              <a:cxn ang="0">
                <a:pos x="csX616" y="csY616"/>
              </a:cxn>
              <a:cxn ang="0">
                <a:pos x="csX617" y="csY617"/>
              </a:cxn>
              <a:cxn ang="0">
                <a:pos x="csX618" y="csY618"/>
              </a:cxn>
              <a:cxn ang="0">
                <a:pos x="csX619" y="csY619"/>
              </a:cxn>
              <a:cxn ang="0">
                <a:pos x="csX620" y="csY620"/>
              </a:cxn>
              <a:cxn ang="0">
                <a:pos x="csX621" y="csY621"/>
              </a:cxn>
              <a:cxn ang="0">
                <a:pos x="csX622" y="csY622"/>
              </a:cxn>
              <a:cxn ang="0">
                <a:pos x="csX623" y="csY623"/>
              </a:cxn>
              <a:cxn ang="0">
                <a:pos x="csX624" y="csY624"/>
              </a:cxn>
              <a:cxn ang="0">
                <a:pos x="csX625" y="csY625"/>
              </a:cxn>
              <a:cxn ang="0">
                <a:pos x="csX626" y="csY626"/>
              </a:cxn>
              <a:cxn ang="0">
                <a:pos x="csX627" y="csY627"/>
              </a:cxn>
              <a:cxn ang="0">
                <a:pos x="csX628" y="csY628"/>
              </a:cxn>
              <a:cxn ang="0">
                <a:pos x="csX629" y="csY629"/>
              </a:cxn>
              <a:cxn ang="0">
                <a:pos x="csX630" y="csY630"/>
              </a:cxn>
              <a:cxn ang="0">
                <a:pos x="csX631" y="csY631"/>
              </a:cxn>
              <a:cxn ang="0">
                <a:pos x="csX632" y="csY632"/>
              </a:cxn>
              <a:cxn ang="0">
                <a:pos x="csX633" y="csY633"/>
              </a:cxn>
              <a:cxn ang="0">
                <a:pos x="csX634" y="csY634"/>
              </a:cxn>
              <a:cxn ang="0">
                <a:pos x="csX635" y="csY635"/>
              </a:cxn>
              <a:cxn ang="0">
                <a:pos x="csX636" y="csY636"/>
              </a:cxn>
              <a:cxn ang="0">
                <a:pos x="csX637" y="csY637"/>
              </a:cxn>
              <a:cxn ang="0">
                <a:pos x="csX638" y="csY638"/>
              </a:cxn>
              <a:cxn ang="0">
                <a:pos x="csX639" y="csY639"/>
              </a:cxn>
              <a:cxn ang="0">
                <a:pos x="csX640" y="csY640"/>
              </a:cxn>
              <a:cxn ang="0">
                <a:pos x="csX641" y="csY641"/>
              </a:cxn>
              <a:cxn ang="0">
                <a:pos x="csX642" y="csY642"/>
              </a:cxn>
              <a:cxn ang="0">
                <a:pos x="csX643" y="csY643"/>
              </a:cxn>
              <a:cxn ang="0">
                <a:pos x="csX644" y="csY644"/>
              </a:cxn>
              <a:cxn ang="0">
                <a:pos x="csX645" y="csY645"/>
              </a:cxn>
              <a:cxn ang="0">
                <a:pos x="csX646" y="csY646"/>
              </a:cxn>
              <a:cxn ang="0">
                <a:pos x="csX647" y="csY647"/>
              </a:cxn>
              <a:cxn ang="0">
                <a:pos x="csX648" y="csY648"/>
              </a:cxn>
              <a:cxn ang="0">
                <a:pos x="csX649" y="csY649"/>
              </a:cxn>
              <a:cxn ang="0">
                <a:pos x="csX650" y="csY650"/>
              </a:cxn>
              <a:cxn ang="0">
                <a:pos x="csX651" y="csY651"/>
              </a:cxn>
              <a:cxn ang="0">
                <a:pos x="csX652" y="csY652"/>
              </a:cxn>
              <a:cxn ang="0">
                <a:pos x="csX653" y="csY653"/>
              </a:cxn>
              <a:cxn ang="0">
                <a:pos x="csX654" y="csY654"/>
              </a:cxn>
              <a:cxn ang="0">
                <a:pos x="csX655" y="csY655"/>
              </a:cxn>
              <a:cxn ang="0">
                <a:pos x="csX656" y="csY656"/>
              </a:cxn>
              <a:cxn ang="0">
                <a:pos x="csX657" y="csY657"/>
              </a:cxn>
              <a:cxn ang="0">
                <a:pos x="csX658" y="csY658"/>
              </a:cxn>
              <a:cxn ang="0">
                <a:pos x="csX659" y="csY659"/>
              </a:cxn>
              <a:cxn ang="0">
                <a:pos x="csX660" y="csY660"/>
              </a:cxn>
              <a:cxn ang="0">
                <a:pos x="csX661" y="csY661"/>
              </a:cxn>
              <a:cxn ang="0">
                <a:pos x="csX662" y="csY662"/>
              </a:cxn>
              <a:cxn ang="0">
                <a:pos x="csX663" y="csY663"/>
              </a:cxn>
              <a:cxn ang="0">
                <a:pos x="csX664" y="csY664"/>
              </a:cxn>
              <a:cxn ang="0">
                <a:pos x="csX665" y="csY665"/>
              </a:cxn>
              <a:cxn ang="0">
                <a:pos x="csX666" y="csY666"/>
              </a:cxn>
              <a:cxn ang="0">
                <a:pos x="csX667" y="csY667"/>
              </a:cxn>
              <a:cxn ang="0">
                <a:pos x="csX668" y="csY668"/>
              </a:cxn>
              <a:cxn ang="0">
                <a:pos x="csX669" y="csY669"/>
              </a:cxn>
              <a:cxn ang="0">
                <a:pos x="csX670" y="csY670"/>
              </a:cxn>
              <a:cxn ang="0">
                <a:pos x="csX671" y="csY671"/>
              </a:cxn>
              <a:cxn ang="0">
                <a:pos x="csX672" y="csY672"/>
              </a:cxn>
              <a:cxn ang="0">
                <a:pos x="csX673" y="csY673"/>
              </a:cxn>
              <a:cxn ang="0">
                <a:pos x="csX674" y="csY674"/>
              </a:cxn>
              <a:cxn ang="0">
                <a:pos x="csX675" y="csY675"/>
              </a:cxn>
              <a:cxn ang="0">
                <a:pos x="csX676" y="csY676"/>
              </a:cxn>
              <a:cxn ang="0">
                <a:pos x="csX677" y="csY677"/>
              </a:cxn>
              <a:cxn ang="0">
                <a:pos x="csX678" y="csY678"/>
              </a:cxn>
              <a:cxn ang="0">
                <a:pos x="csX679" y="csY679"/>
              </a:cxn>
              <a:cxn ang="0">
                <a:pos x="csX680" y="csY680"/>
              </a:cxn>
              <a:cxn ang="0">
                <a:pos x="csX681" y="csY681"/>
              </a:cxn>
              <a:cxn ang="0">
                <a:pos x="csX682" y="csY682"/>
              </a:cxn>
              <a:cxn ang="0">
                <a:pos x="csX683" y="csY683"/>
              </a:cxn>
              <a:cxn ang="0">
                <a:pos x="csX684" y="csY684"/>
              </a:cxn>
              <a:cxn ang="0">
                <a:pos x="csX685" y="csY685"/>
              </a:cxn>
              <a:cxn ang="0">
                <a:pos x="csX686" y="csY686"/>
              </a:cxn>
              <a:cxn ang="0">
                <a:pos x="csX687" y="csY687"/>
              </a:cxn>
              <a:cxn ang="0">
                <a:pos x="csX688" y="csY688"/>
              </a:cxn>
              <a:cxn ang="0">
                <a:pos x="csX689" y="csY689"/>
              </a:cxn>
              <a:cxn ang="0">
                <a:pos x="csX690" y="csY690"/>
              </a:cxn>
              <a:cxn ang="0">
                <a:pos x="csX691" y="csY691"/>
              </a:cxn>
              <a:cxn ang="0">
                <a:pos x="csX692" y="csY692"/>
              </a:cxn>
              <a:cxn ang="0">
                <a:pos x="csX693" y="csY693"/>
              </a:cxn>
              <a:cxn ang="0">
                <a:pos x="csX694" y="csY694"/>
              </a:cxn>
              <a:cxn ang="0">
                <a:pos x="csX695" y="csY695"/>
              </a:cxn>
              <a:cxn ang="0">
                <a:pos x="csX696" y="csY696"/>
              </a:cxn>
              <a:cxn ang="0">
                <a:pos x="csX697" y="csY697"/>
              </a:cxn>
              <a:cxn ang="0">
                <a:pos x="csX698" y="csY698"/>
              </a:cxn>
              <a:cxn ang="0">
                <a:pos x="csX699" y="csY699"/>
              </a:cxn>
              <a:cxn ang="0">
                <a:pos x="csX700" y="csY700"/>
              </a:cxn>
              <a:cxn ang="0">
                <a:pos x="csX701" y="csY701"/>
              </a:cxn>
              <a:cxn ang="0">
                <a:pos x="csX702" y="csY702"/>
              </a:cxn>
              <a:cxn ang="0">
                <a:pos x="csX703" y="csY703"/>
              </a:cxn>
              <a:cxn ang="0">
                <a:pos x="csX704" y="csY704"/>
              </a:cxn>
              <a:cxn ang="0">
                <a:pos x="csX705" y="csY705"/>
              </a:cxn>
              <a:cxn ang="0">
                <a:pos x="csX706" y="csY706"/>
              </a:cxn>
              <a:cxn ang="0">
                <a:pos x="csX707" y="csY707"/>
              </a:cxn>
              <a:cxn ang="0">
                <a:pos x="csX708" y="csY708"/>
              </a:cxn>
              <a:cxn ang="0">
                <a:pos x="csX709" y="csY709"/>
              </a:cxn>
              <a:cxn ang="0">
                <a:pos x="csX710" y="csY710"/>
              </a:cxn>
              <a:cxn ang="0">
                <a:pos x="csX711" y="csY711"/>
              </a:cxn>
              <a:cxn ang="0">
                <a:pos x="csX712" y="csY712"/>
              </a:cxn>
              <a:cxn ang="0">
                <a:pos x="csX713" y="csY713"/>
              </a:cxn>
              <a:cxn ang="0">
                <a:pos x="csX714" y="csY714"/>
              </a:cxn>
              <a:cxn ang="0">
                <a:pos x="csX715" y="csY715"/>
              </a:cxn>
              <a:cxn ang="0">
                <a:pos x="csX716" y="csY716"/>
              </a:cxn>
              <a:cxn ang="0">
                <a:pos x="csX717" y="csY717"/>
              </a:cxn>
              <a:cxn ang="0">
                <a:pos x="csX718" y="csY718"/>
              </a:cxn>
              <a:cxn ang="0">
                <a:pos x="csX719" y="csY719"/>
              </a:cxn>
              <a:cxn ang="0">
                <a:pos x="csX720" y="csY720"/>
              </a:cxn>
              <a:cxn ang="0">
                <a:pos x="csX721" y="csY721"/>
              </a:cxn>
              <a:cxn ang="0">
                <a:pos x="csX722" y="csY722"/>
              </a:cxn>
              <a:cxn ang="0">
                <a:pos x="csX723" y="csY723"/>
              </a:cxn>
              <a:cxn ang="0">
                <a:pos x="csX724" y="csY724"/>
              </a:cxn>
              <a:cxn ang="0">
                <a:pos x="csX725" y="csY725"/>
              </a:cxn>
              <a:cxn ang="0">
                <a:pos x="csX726" y="csY726"/>
              </a:cxn>
              <a:cxn ang="0">
                <a:pos x="csX727" y="csY727"/>
              </a:cxn>
              <a:cxn ang="0">
                <a:pos x="csX728" y="csY728"/>
              </a:cxn>
              <a:cxn ang="0">
                <a:pos x="csX729" y="csY729"/>
              </a:cxn>
              <a:cxn ang="0">
                <a:pos x="csX730" y="csY730"/>
              </a:cxn>
              <a:cxn ang="0">
                <a:pos x="csX731" y="csY731"/>
              </a:cxn>
              <a:cxn ang="0">
                <a:pos x="csX732" y="csY732"/>
              </a:cxn>
              <a:cxn ang="0">
                <a:pos x="csX733" y="csY733"/>
              </a:cxn>
              <a:cxn ang="0">
                <a:pos x="csX734" y="csY734"/>
              </a:cxn>
              <a:cxn ang="0">
                <a:pos x="csX735" y="csY735"/>
              </a:cxn>
              <a:cxn ang="0">
                <a:pos x="csX736" y="csY736"/>
              </a:cxn>
              <a:cxn ang="0">
                <a:pos x="csX737" y="csY737"/>
              </a:cxn>
              <a:cxn ang="0">
                <a:pos x="csX738" y="csY738"/>
              </a:cxn>
              <a:cxn ang="0">
                <a:pos x="csX739" y="csY739"/>
              </a:cxn>
              <a:cxn ang="0">
                <a:pos x="csX740" y="csY740"/>
              </a:cxn>
              <a:cxn ang="0">
                <a:pos x="csX741" y="csY741"/>
              </a:cxn>
              <a:cxn ang="0">
                <a:pos x="csX742" y="csY742"/>
              </a:cxn>
              <a:cxn ang="0">
                <a:pos x="csX743" y="csY743"/>
              </a:cxn>
              <a:cxn ang="0">
                <a:pos x="csX744" y="csY744"/>
              </a:cxn>
              <a:cxn ang="0">
                <a:pos x="csX745" y="csY745"/>
              </a:cxn>
              <a:cxn ang="0">
                <a:pos x="csX746" y="csY746"/>
              </a:cxn>
              <a:cxn ang="0">
                <a:pos x="csX747" y="csY747"/>
              </a:cxn>
              <a:cxn ang="0">
                <a:pos x="csX748" y="csY748"/>
              </a:cxn>
              <a:cxn ang="0">
                <a:pos x="csX749" y="csY749"/>
              </a:cxn>
              <a:cxn ang="0">
                <a:pos x="csX750" y="csY750"/>
              </a:cxn>
              <a:cxn ang="0">
                <a:pos x="csX751" y="csY751"/>
              </a:cxn>
              <a:cxn ang="0">
                <a:pos x="csX752" y="csY752"/>
              </a:cxn>
              <a:cxn ang="0">
                <a:pos x="csX753" y="csY753"/>
              </a:cxn>
              <a:cxn ang="0">
                <a:pos x="csX754" y="csY754"/>
              </a:cxn>
              <a:cxn ang="0">
                <a:pos x="csX755" y="csY755"/>
              </a:cxn>
              <a:cxn ang="0">
                <a:pos x="csX756" y="csY756"/>
              </a:cxn>
              <a:cxn ang="0">
                <a:pos x="csX757" y="csY757"/>
              </a:cxn>
              <a:cxn ang="0">
                <a:pos x="csX758" y="csY758"/>
              </a:cxn>
              <a:cxn ang="0">
                <a:pos x="csX759" y="csY759"/>
              </a:cxn>
              <a:cxn ang="0">
                <a:pos x="csX760" y="csY760"/>
              </a:cxn>
              <a:cxn ang="0">
                <a:pos x="csX761" y="csY761"/>
              </a:cxn>
              <a:cxn ang="0">
                <a:pos x="csX762" y="csY762"/>
              </a:cxn>
              <a:cxn ang="0">
                <a:pos x="csX763" y="csY763"/>
              </a:cxn>
              <a:cxn ang="0">
                <a:pos x="csX764" y="csY764"/>
              </a:cxn>
              <a:cxn ang="0">
                <a:pos x="csX765" y="csY765"/>
              </a:cxn>
              <a:cxn ang="0">
                <a:pos x="csX766" y="csY766"/>
              </a:cxn>
              <a:cxn ang="0">
                <a:pos x="csX767" y="csY767"/>
              </a:cxn>
              <a:cxn ang="0">
                <a:pos x="csX768" y="csY768"/>
              </a:cxn>
              <a:cxn ang="0">
                <a:pos x="csX769" y="csY769"/>
              </a:cxn>
              <a:cxn ang="0">
                <a:pos x="csX770" y="csY770"/>
              </a:cxn>
              <a:cxn ang="0">
                <a:pos x="csX771" y="csY771"/>
              </a:cxn>
              <a:cxn ang="0">
                <a:pos x="csX772" y="csY772"/>
              </a:cxn>
              <a:cxn ang="0">
                <a:pos x="csX773" y="csY773"/>
              </a:cxn>
              <a:cxn ang="0">
                <a:pos x="csX774" y="csY774"/>
              </a:cxn>
              <a:cxn ang="0">
                <a:pos x="csX775" y="csY775"/>
              </a:cxn>
              <a:cxn ang="0">
                <a:pos x="csX776" y="csY776"/>
              </a:cxn>
              <a:cxn ang="0">
                <a:pos x="csX777" y="csY777"/>
              </a:cxn>
              <a:cxn ang="0">
                <a:pos x="csX778" y="csY778"/>
              </a:cxn>
              <a:cxn ang="0">
                <a:pos x="csX779" y="csY779"/>
              </a:cxn>
              <a:cxn ang="0">
                <a:pos x="csX780" y="csY780"/>
              </a:cxn>
              <a:cxn ang="0">
                <a:pos x="csX781" y="csY781"/>
              </a:cxn>
              <a:cxn ang="0">
                <a:pos x="csX782" y="csY782"/>
              </a:cxn>
              <a:cxn ang="0">
                <a:pos x="csX783" y="csY783"/>
              </a:cxn>
              <a:cxn ang="0">
                <a:pos x="csX784" y="csY784"/>
              </a:cxn>
              <a:cxn ang="0">
                <a:pos x="csX785" y="csY785"/>
              </a:cxn>
              <a:cxn ang="0">
                <a:pos x="csX786" y="csY786"/>
              </a:cxn>
              <a:cxn ang="0">
                <a:pos x="csX787" y="csY787"/>
              </a:cxn>
              <a:cxn ang="0">
                <a:pos x="csX788" y="csY788"/>
              </a:cxn>
              <a:cxn ang="0">
                <a:pos x="csX789" y="csY789"/>
              </a:cxn>
              <a:cxn ang="0">
                <a:pos x="csX790" y="csY790"/>
              </a:cxn>
              <a:cxn ang="0">
                <a:pos x="csX791" y="csY791"/>
              </a:cxn>
              <a:cxn ang="0">
                <a:pos x="csX792" y="csY792"/>
              </a:cxn>
              <a:cxn ang="0">
                <a:pos x="csX793" y="csY793"/>
              </a:cxn>
              <a:cxn ang="0">
                <a:pos x="csX794" y="csY794"/>
              </a:cxn>
              <a:cxn ang="0">
                <a:pos x="csX795" y="csY795"/>
              </a:cxn>
              <a:cxn ang="0">
                <a:pos x="csX796" y="csY796"/>
              </a:cxn>
              <a:cxn ang="0">
                <a:pos x="csX797" y="csY797"/>
              </a:cxn>
              <a:cxn ang="0">
                <a:pos x="csX798" y="csY798"/>
              </a:cxn>
              <a:cxn ang="0">
                <a:pos x="csX799" y="csY799"/>
              </a:cxn>
              <a:cxn ang="0">
                <a:pos x="csX800" y="csY800"/>
              </a:cxn>
              <a:cxn ang="0">
                <a:pos x="csX801" y="csY801"/>
              </a:cxn>
              <a:cxn ang="0">
                <a:pos x="csX802" y="csY802"/>
              </a:cxn>
              <a:cxn ang="0">
                <a:pos x="csX803" y="csY803"/>
              </a:cxn>
              <a:cxn ang="0">
                <a:pos x="csX804" y="csY804"/>
              </a:cxn>
              <a:cxn ang="0">
                <a:pos x="csX805" y="csY805"/>
              </a:cxn>
              <a:cxn ang="0">
                <a:pos x="csX806" y="csY806"/>
              </a:cxn>
              <a:cxn ang="0">
                <a:pos x="csX807" y="csY807"/>
              </a:cxn>
              <a:cxn ang="0">
                <a:pos x="csX808" y="csY808"/>
              </a:cxn>
              <a:cxn ang="0">
                <a:pos x="csX809" y="csY809"/>
              </a:cxn>
              <a:cxn ang="0">
                <a:pos x="csX810" y="csY810"/>
              </a:cxn>
              <a:cxn ang="0">
                <a:pos x="csX811" y="csY811"/>
              </a:cxn>
              <a:cxn ang="0">
                <a:pos x="csX812" y="csY812"/>
              </a:cxn>
              <a:cxn ang="0">
                <a:pos x="csX813" y="csY813"/>
              </a:cxn>
              <a:cxn ang="0">
                <a:pos x="csX814" y="csY814"/>
              </a:cxn>
              <a:cxn ang="0">
                <a:pos x="csX815" y="csY815"/>
              </a:cxn>
              <a:cxn ang="0">
                <a:pos x="csX816" y="csY816"/>
              </a:cxn>
              <a:cxn ang="0">
                <a:pos x="csX817" y="csY817"/>
              </a:cxn>
              <a:cxn ang="0">
                <a:pos x="csX818" y="csY818"/>
              </a:cxn>
              <a:cxn ang="0">
                <a:pos x="csX819" y="csY819"/>
              </a:cxn>
              <a:cxn ang="0">
                <a:pos x="csX820" y="csY820"/>
              </a:cxn>
              <a:cxn ang="0">
                <a:pos x="csX821" y="csY821"/>
              </a:cxn>
              <a:cxn ang="0">
                <a:pos x="csX822" y="csY822"/>
              </a:cxn>
              <a:cxn ang="0">
                <a:pos x="csX823" y="csY823"/>
              </a:cxn>
              <a:cxn ang="0">
                <a:pos x="csX824" y="csY824"/>
              </a:cxn>
              <a:cxn ang="0">
                <a:pos x="csX825" y="csY825"/>
              </a:cxn>
              <a:cxn ang="0">
                <a:pos x="csX826" y="csY826"/>
              </a:cxn>
              <a:cxn ang="0">
                <a:pos x="csX827" y="csY827"/>
              </a:cxn>
              <a:cxn ang="0">
                <a:pos x="csX828" y="csY828"/>
              </a:cxn>
              <a:cxn ang="0">
                <a:pos x="csX829" y="csY829"/>
              </a:cxn>
              <a:cxn ang="0">
                <a:pos x="csX830" y="csY830"/>
              </a:cxn>
              <a:cxn ang="0">
                <a:pos x="csX831" y="csY831"/>
              </a:cxn>
              <a:cxn ang="0">
                <a:pos x="csX832" y="csY832"/>
              </a:cxn>
              <a:cxn ang="0">
                <a:pos x="csX833" y="csY833"/>
              </a:cxn>
              <a:cxn ang="0">
                <a:pos x="csX834" y="csY834"/>
              </a:cxn>
              <a:cxn ang="0">
                <a:pos x="csX835" y="csY835"/>
              </a:cxn>
              <a:cxn ang="0">
                <a:pos x="csX836" y="csY836"/>
              </a:cxn>
              <a:cxn ang="0">
                <a:pos x="csX837" y="csY837"/>
              </a:cxn>
              <a:cxn ang="0">
                <a:pos x="csX838" y="csY838"/>
              </a:cxn>
              <a:cxn ang="0">
                <a:pos x="csX839" y="csY839"/>
              </a:cxn>
              <a:cxn ang="0">
                <a:pos x="csX840" y="csY840"/>
              </a:cxn>
              <a:cxn ang="0">
                <a:pos x="csX841" y="csY841"/>
              </a:cxn>
              <a:cxn ang="0">
                <a:pos x="csX842" y="csY842"/>
              </a:cxn>
              <a:cxn ang="0">
                <a:pos x="csX843" y="csY843"/>
              </a:cxn>
              <a:cxn ang="0">
                <a:pos x="csX844" y="csY844"/>
              </a:cxn>
              <a:cxn ang="0">
                <a:pos x="csX845" y="csY845"/>
              </a:cxn>
              <a:cxn ang="0">
                <a:pos x="csX846" y="csY846"/>
              </a:cxn>
              <a:cxn ang="0">
                <a:pos x="csX847" y="csY847"/>
              </a:cxn>
              <a:cxn ang="0">
                <a:pos x="csX848" y="csY848"/>
              </a:cxn>
              <a:cxn ang="0">
                <a:pos x="csX849" y="csY849"/>
              </a:cxn>
              <a:cxn ang="0">
                <a:pos x="csX850" y="csY850"/>
              </a:cxn>
              <a:cxn ang="0">
                <a:pos x="csX851" y="csY851"/>
              </a:cxn>
              <a:cxn ang="0">
                <a:pos x="csX852" y="csY852"/>
              </a:cxn>
              <a:cxn ang="0">
                <a:pos x="csX853" y="csY853"/>
              </a:cxn>
              <a:cxn ang="0">
                <a:pos x="csX854" y="csY854"/>
              </a:cxn>
              <a:cxn ang="0">
                <a:pos x="csX855" y="csY855"/>
              </a:cxn>
              <a:cxn ang="0">
                <a:pos x="csX856" y="csY856"/>
              </a:cxn>
              <a:cxn ang="0">
                <a:pos x="csX857" y="csY857"/>
              </a:cxn>
              <a:cxn ang="0">
                <a:pos x="csX858" y="csY858"/>
              </a:cxn>
              <a:cxn ang="0">
                <a:pos x="csX859" y="csY859"/>
              </a:cxn>
              <a:cxn ang="0">
                <a:pos x="csX860" y="csY860"/>
              </a:cxn>
              <a:cxn ang="0">
                <a:pos x="csX861" y="csY861"/>
              </a:cxn>
              <a:cxn ang="0">
                <a:pos x="csX862" y="csY862"/>
              </a:cxn>
              <a:cxn ang="0">
                <a:pos x="csX863" y="csY863"/>
              </a:cxn>
              <a:cxn ang="0">
                <a:pos x="csX864" y="csY864"/>
              </a:cxn>
              <a:cxn ang="0">
                <a:pos x="csX865" y="csY865"/>
              </a:cxn>
              <a:cxn ang="0">
                <a:pos x="csX866" y="csY866"/>
              </a:cxn>
              <a:cxn ang="0">
                <a:pos x="csX867" y="csY867"/>
              </a:cxn>
              <a:cxn ang="0">
                <a:pos x="csX868" y="csY868"/>
              </a:cxn>
              <a:cxn ang="0">
                <a:pos x="csX869" y="csY869"/>
              </a:cxn>
              <a:cxn ang="0">
                <a:pos x="csX870" y="csY870"/>
              </a:cxn>
              <a:cxn ang="0">
                <a:pos x="csX871" y="csY871"/>
              </a:cxn>
              <a:cxn ang="0">
                <a:pos x="csX872" y="csY872"/>
              </a:cxn>
              <a:cxn ang="0">
                <a:pos x="csX873" y="csY873"/>
              </a:cxn>
              <a:cxn ang="0">
                <a:pos x="csX874" y="csY874"/>
              </a:cxn>
              <a:cxn ang="0">
                <a:pos x="csX875" y="csY875"/>
              </a:cxn>
              <a:cxn ang="0">
                <a:pos x="csX876" y="csY876"/>
              </a:cxn>
              <a:cxn ang="0">
                <a:pos x="csX877" y="csY877"/>
              </a:cxn>
              <a:cxn ang="0">
                <a:pos x="csX878" y="csY878"/>
              </a:cxn>
              <a:cxn ang="0">
                <a:pos x="csX879" y="csY879"/>
              </a:cxn>
              <a:cxn ang="0">
                <a:pos x="csX880" y="csY880"/>
              </a:cxn>
              <a:cxn ang="0">
                <a:pos x="csX881" y="csY881"/>
              </a:cxn>
              <a:cxn ang="0">
                <a:pos x="csX882" y="csY882"/>
              </a:cxn>
              <a:cxn ang="0">
                <a:pos x="csX883" y="csY883"/>
              </a:cxn>
              <a:cxn ang="0">
                <a:pos x="csX884" y="csY884"/>
              </a:cxn>
              <a:cxn ang="0">
                <a:pos x="csX885" y="csY885"/>
              </a:cxn>
              <a:cxn ang="0">
                <a:pos x="csX886" y="csY886"/>
              </a:cxn>
              <a:cxn ang="0">
                <a:pos x="csX887" y="csY887"/>
              </a:cxn>
              <a:cxn ang="0">
                <a:pos x="csX888" y="csY888"/>
              </a:cxn>
              <a:cxn ang="0">
                <a:pos x="csX889" y="csY889"/>
              </a:cxn>
              <a:cxn ang="0">
                <a:pos x="csX890" y="csY890"/>
              </a:cxn>
              <a:cxn ang="0">
                <a:pos x="csX891" y="csY891"/>
              </a:cxn>
              <a:cxn ang="0">
                <a:pos x="csX892" y="csY892"/>
              </a:cxn>
              <a:cxn ang="0">
                <a:pos x="csX893" y="csY893"/>
              </a:cxn>
              <a:cxn ang="0">
                <a:pos x="csX894" y="csY894"/>
              </a:cxn>
              <a:cxn ang="0">
                <a:pos x="csX895" y="csY895"/>
              </a:cxn>
              <a:cxn ang="0">
                <a:pos x="csX896" y="csY896"/>
              </a:cxn>
              <a:cxn ang="0">
                <a:pos x="csX897" y="csY897"/>
              </a:cxn>
              <a:cxn ang="0">
                <a:pos x="csX898" y="csY898"/>
              </a:cxn>
              <a:cxn ang="0">
                <a:pos x="csX899" y="csY899"/>
              </a:cxn>
              <a:cxn ang="0">
                <a:pos x="csX900" y="csY900"/>
              </a:cxn>
              <a:cxn ang="0">
                <a:pos x="csX901" y="csY901"/>
              </a:cxn>
              <a:cxn ang="0">
                <a:pos x="csX902" y="csY902"/>
              </a:cxn>
              <a:cxn ang="0">
                <a:pos x="csX903" y="csY903"/>
              </a:cxn>
              <a:cxn ang="0">
                <a:pos x="csX904" y="csY904"/>
              </a:cxn>
              <a:cxn ang="0">
                <a:pos x="csX905" y="csY905"/>
              </a:cxn>
              <a:cxn ang="0">
                <a:pos x="csX906" y="csY906"/>
              </a:cxn>
              <a:cxn ang="0">
                <a:pos x="csX907" y="csY907"/>
              </a:cxn>
              <a:cxn ang="0">
                <a:pos x="csX908" y="csY908"/>
              </a:cxn>
              <a:cxn ang="0">
                <a:pos x="csX909" y="csY909"/>
              </a:cxn>
              <a:cxn ang="0">
                <a:pos x="csX910" y="csY910"/>
              </a:cxn>
              <a:cxn ang="0">
                <a:pos x="csX911" y="csY911"/>
              </a:cxn>
              <a:cxn ang="0">
                <a:pos x="csX912" y="csY912"/>
              </a:cxn>
              <a:cxn ang="0">
                <a:pos x="csX913" y="csY913"/>
              </a:cxn>
              <a:cxn ang="0">
                <a:pos x="csX914" y="csY914"/>
              </a:cxn>
              <a:cxn ang="0">
                <a:pos x="csX915" y="csY915"/>
              </a:cxn>
              <a:cxn ang="0">
                <a:pos x="csX916" y="csY916"/>
              </a:cxn>
              <a:cxn ang="0">
                <a:pos x="csX917" y="csY917"/>
              </a:cxn>
              <a:cxn ang="0">
                <a:pos x="csX918" y="csY918"/>
              </a:cxn>
              <a:cxn ang="0">
                <a:pos x="csX919" y="csY919"/>
              </a:cxn>
              <a:cxn ang="0">
                <a:pos x="csX920" y="csY920"/>
              </a:cxn>
              <a:cxn ang="0">
                <a:pos x="csX921" y="csY921"/>
              </a:cxn>
              <a:cxn ang="0">
                <a:pos x="csX922" y="csY922"/>
              </a:cxn>
              <a:cxn ang="0">
                <a:pos x="csX923" y="csY923"/>
              </a:cxn>
              <a:cxn ang="0">
                <a:pos x="csX924" y="csY924"/>
              </a:cxn>
              <a:cxn ang="0">
                <a:pos x="csX925" y="csY925"/>
              </a:cxn>
              <a:cxn ang="0">
                <a:pos x="csX926" y="csY926"/>
              </a:cxn>
              <a:cxn ang="0">
                <a:pos x="csX927" y="csY927"/>
              </a:cxn>
              <a:cxn ang="0">
                <a:pos x="csX928" y="csY928"/>
              </a:cxn>
              <a:cxn ang="0">
                <a:pos x="csX929" y="csY929"/>
              </a:cxn>
              <a:cxn ang="0">
                <a:pos x="csX930" y="csY930"/>
              </a:cxn>
              <a:cxn ang="0">
                <a:pos x="csX931" y="csY931"/>
              </a:cxn>
              <a:cxn ang="0">
                <a:pos x="csX932" y="csY932"/>
              </a:cxn>
              <a:cxn ang="0">
                <a:pos x="csX933" y="csY933"/>
              </a:cxn>
              <a:cxn ang="0">
                <a:pos x="csX934" y="csY934"/>
              </a:cxn>
              <a:cxn ang="0">
                <a:pos x="csX935" y="csY935"/>
              </a:cxn>
              <a:cxn ang="0">
                <a:pos x="csX936" y="csY936"/>
              </a:cxn>
              <a:cxn ang="0">
                <a:pos x="csX937" y="csY937"/>
              </a:cxn>
              <a:cxn ang="0">
                <a:pos x="csX938" y="csY938"/>
              </a:cxn>
              <a:cxn ang="0">
                <a:pos x="csX939" y="csY939"/>
              </a:cxn>
              <a:cxn ang="0">
                <a:pos x="csX940" y="csY940"/>
              </a:cxn>
              <a:cxn ang="0">
                <a:pos x="csX941" y="csY941"/>
              </a:cxn>
              <a:cxn ang="0">
                <a:pos x="csX942" y="csY942"/>
              </a:cxn>
              <a:cxn ang="0">
                <a:pos x="csX943" y="csY943"/>
              </a:cxn>
              <a:cxn ang="0">
                <a:pos x="csX944" y="csY944"/>
              </a:cxn>
              <a:cxn ang="0">
                <a:pos x="csX945" y="csY945"/>
              </a:cxn>
              <a:cxn ang="0">
                <a:pos x="csX946" y="csY946"/>
              </a:cxn>
              <a:cxn ang="0">
                <a:pos x="csX947" y="csY947"/>
              </a:cxn>
              <a:cxn ang="0">
                <a:pos x="csX948" y="csY948"/>
              </a:cxn>
              <a:cxn ang="0">
                <a:pos x="csX949" y="csY949"/>
              </a:cxn>
              <a:cxn ang="0">
                <a:pos x="csX950" y="csY950"/>
              </a:cxn>
              <a:cxn ang="0">
                <a:pos x="csX951" y="csY951"/>
              </a:cxn>
              <a:cxn ang="0">
                <a:pos x="csX952" y="csY952"/>
              </a:cxn>
              <a:cxn ang="0">
                <a:pos x="csX953" y="csY953"/>
              </a:cxn>
              <a:cxn ang="0">
                <a:pos x="csX954" y="csY954"/>
              </a:cxn>
              <a:cxn ang="0">
                <a:pos x="csX955" y="csY955"/>
              </a:cxn>
              <a:cxn ang="0">
                <a:pos x="csX956" y="csY956"/>
              </a:cxn>
              <a:cxn ang="0">
                <a:pos x="csX957" y="csY957"/>
              </a:cxn>
              <a:cxn ang="0">
                <a:pos x="csX958" y="csY958"/>
              </a:cxn>
              <a:cxn ang="0">
                <a:pos x="csX959" y="csY959"/>
              </a:cxn>
              <a:cxn ang="0">
                <a:pos x="csX960" y="csY960"/>
              </a:cxn>
              <a:cxn ang="0">
                <a:pos x="csX961" y="csY961"/>
              </a:cxn>
              <a:cxn ang="0">
                <a:pos x="csX962" y="csY962"/>
              </a:cxn>
              <a:cxn ang="0">
                <a:pos x="csX963" y="csY963"/>
              </a:cxn>
              <a:cxn ang="0">
                <a:pos x="csX964" y="csY964"/>
              </a:cxn>
              <a:cxn ang="0">
                <a:pos x="csX965" y="csY965"/>
              </a:cxn>
              <a:cxn ang="0">
                <a:pos x="csX966" y="csY966"/>
              </a:cxn>
              <a:cxn ang="0">
                <a:pos x="csX967" y="csY967"/>
              </a:cxn>
              <a:cxn ang="0">
                <a:pos x="csX968" y="csY968"/>
              </a:cxn>
              <a:cxn ang="0">
                <a:pos x="csX969" y="csY969"/>
              </a:cxn>
              <a:cxn ang="0">
                <a:pos x="csX970" y="csY970"/>
              </a:cxn>
              <a:cxn ang="0">
                <a:pos x="csX971" y="csY971"/>
              </a:cxn>
              <a:cxn ang="0">
                <a:pos x="csX972" y="csY972"/>
              </a:cxn>
              <a:cxn ang="0">
                <a:pos x="csX973" y="csY973"/>
              </a:cxn>
              <a:cxn ang="0">
                <a:pos x="csX974" y="csY974"/>
              </a:cxn>
              <a:cxn ang="0">
                <a:pos x="csX975" y="csY975"/>
              </a:cxn>
              <a:cxn ang="0">
                <a:pos x="csX976" y="csY976"/>
              </a:cxn>
              <a:cxn ang="0">
                <a:pos x="csX977" y="csY977"/>
              </a:cxn>
              <a:cxn ang="0">
                <a:pos x="csX978" y="csY978"/>
              </a:cxn>
              <a:cxn ang="0">
                <a:pos x="csX979" y="csY979"/>
              </a:cxn>
              <a:cxn ang="0">
                <a:pos x="csX980" y="csY980"/>
              </a:cxn>
              <a:cxn ang="0">
                <a:pos x="csX981" y="csY981"/>
              </a:cxn>
              <a:cxn ang="0">
                <a:pos x="csX982" y="csY982"/>
              </a:cxn>
              <a:cxn ang="0">
                <a:pos x="csX983" y="csY983"/>
              </a:cxn>
              <a:cxn ang="0">
                <a:pos x="csX984" y="csY984"/>
              </a:cxn>
              <a:cxn ang="0">
                <a:pos x="csX985" y="csY985"/>
              </a:cxn>
              <a:cxn ang="0">
                <a:pos x="csX986" y="csY986"/>
              </a:cxn>
              <a:cxn ang="0">
                <a:pos x="csX987" y="csY987"/>
              </a:cxn>
              <a:cxn ang="0">
                <a:pos x="csX988" y="csY988"/>
              </a:cxn>
              <a:cxn ang="0">
                <a:pos x="csX989" y="csY989"/>
              </a:cxn>
              <a:cxn ang="0">
                <a:pos x="csX990" y="csY990"/>
              </a:cxn>
              <a:cxn ang="0">
                <a:pos x="csX991" y="csY991"/>
              </a:cxn>
              <a:cxn ang="0">
                <a:pos x="csX992" y="csY992"/>
              </a:cxn>
              <a:cxn ang="0">
                <a:pos x="csX993" y="csY993"/>
              </a:cxn>
              <a:cxn ang="0">
                <a:pos x="csX994" y="csY994"/>
              </a:cxn>
              <a:cxn ang="0">
                <a:pos x="csX995" y="csY995"/>
              </a:cxn>
              <a:cxn ang="0">
                <a:pos x="csX996" y="csY996"/>
              </a:cxn>
              <a:cxn ang="0">
                <a:pos x="csX997" y="csY997"/>
              </a:cxn>
              <a:cxn ang="0">
                <a:pos x="csX998" y="csY998"/>
              </a:cxn>
              <a:cxn ang="0">
                <a:pos x="csX999" y="csY999"/>
              </a:cxn>
              <a:cxn ang="0">
                <a:pos x="csX1000" y="csY1000"/>
              </a:cxn>
              <a:cxn ang="0">
                <a:pos x="csX1001" y="csY1001"/>
              </a:cxn>
              <a:cxn ang="0">
                <a:pos x="csX1002" y="csY1002"/>
              </a:cxn>
              <a:cxn ang="0">
                <a:pos x="csX1003" y="csY1003"/>
              </a:cxn>
              <a:cxn ang="0">
                <a:pos x="csX1004" y="csY1004"/>
              </a:cxn>
              <a:cxn ang="0">
                <a:pos x="csX1005" y="csY1005"/>
              </a:cxn>
              <a:cxn ang="0">
                <a:pos x="csX1006" y="csY1006"/>
              </a:cxn>
              <a:cxn ang="0">
                <a:pos x="csX1007" y="csY1007"/>
              </a:cxn>
              <a:cxn ang="0">
                <a:pos x="csX1008" y="csY1008"/>
              </a:cxn>
              <a:cxn ang="0">
                <a:pos x="csX1009" y="csY1009"/>
              </a:cxn>
              <a:cxn ang="0">
                <a:pos x="csX1010" y="csY1010"/>
              </a:cxn>
              <a:cxn ang="0">
                <a:pos x="csX1011" y="csY1011"/>
              </a:cxn>
              <a:cxn ang="0">
                <a:pos x="csX1012" y="csY1012"/>
              </a:cxn>
              <a:cxn ang="0">
                <a:pos x="csX1013" y="csY1013"/>
              </a:cxn>
              <a:cxn ang="0">
                <a:pos x="csX1014" y="csY1014"/>
              </a:cxn>
              <a:cxn ang="0">
                <a:pos x="csX1015" y="csY1015"/>
              </a:cxn>
              <a:cxn ang="0">
                <a:pos x="csX1016" y="csY1016"/>
              </a:cxn>
              <a:cxn ang="0">
                <a:pos x="csX1017" y="csY1017"/>
              </a:cxn>
              <a:cxn ang="0">
                <a:pos x="csX1018" y="csY1018"/>
              </a:cxn>
              <a:cxn ang="0">
                <a:pos x="csX1019" y="csY1019"/>
              </a:cxn>
              <a:cxn ang="0">
                <a:pos x="csX1020" y="csY1020"/>
              </a:cxn>
              <a:cxn ang="0">
                <a:pos x="csX1021" y="csY1021"/>
              </a:cxn>
              <a:cxn ang="0">
                <a:pos x="csX1022" y="csY1022"/>
              </a:cxn>
              <a:cxn ang="0">
                <a:pos x="csX1023" y="csY1023"/>
              </a:cxn>
              <a:cxn ang="0">
                <a:pos x="csX1024" y="csY1024"/>
              </a:cxn>
              <a:cxn ang="0">
                <a:pos x="csX1025" y="csY1025"/>
              </a:cxn>
              <a:cxn ang="0">
                <a:pos x="csX1026" y="csY1026"/>
              </a:cxn>
              <a:cxn ang="0">
                <a:pos x="csX1027" y="csY1027"/>
              </a:cxn>
              <a:cxn ang="0">
                <a:pos x="csX1028" y="csY1028"/>
              </a:cxn>
              <a:cxn ang="0">
                <a:pos x="csX1029" y="csY1029"/>
              </a:cxn>
              <a:cxn ang="0">
                <a:pos x="csX1030" y="csY1030"/>
              </a:cxn>
              <a:cxn ang="0">
                <a:pos x="csX1031" y="csY1031"/>
              </a:cxn>
              <a:cxn ang="0">
                <a:pos x="csX1032" y="csY1032"/>
              </a:cxn>
              <a:cxn ang="0">
                <a:pos x="csX1033" y="csY1033"/>
              </a:cxn>
              <a:cxn ang="0">
                <a:pos x="csX1034" y="csY1034"/>
              </a:cxn>
              <a:cxn ang="0">
                <a:pos x="csX1035" y="csY1035"/>
              </a:cxn>
              <a:cxn ang="0">
                <a:pos x="csX1036" y="csY1036"/>
              </a:cxn>
              <a:cxn ang="0">
                <a:pos x="csX1037" y="csY1037"/>
              </a:cxn>
              <a:cxn ang="0">
                <a:pos x="csX1038" y="csY1038"/>
              </a:cxn>
              <a:cxn ang="0">
                <a:pos x="csX1039" y="csY1039"/>
              </a:cxn>
              <a:cxn ang="0">
                <a:pos x="csX1040" y="csY1040"/>
              </a:cxn>
              <a:cxn ang="0">
                <a:pos x="csX1041" y="csY1041"/>
              </a:cxn>
              <a:cxn ang="0">
                <a:pos x="csX1042" y="csY1042"/>
              </a:cxn>
              <a:cxn ang="0">
                <a:pos x="csX1043" y="csY1043"/>
              </a:cxn>
              <a:cxn ang="0">
                <a:pos x="csX1044" y="csY1044"/>
              </a:cxn>
              <a:cxn ang="0">
                <a:pos x="csX1045" y="csY1045"/>
              </a:cxn>
              <a:cxn ang="0">
                <a:pos x="csX1046" y="csY1046"/>
              </a:cxn>
              <a:cxn ang="0">
                <a:pos x="csX1047" y="csY1047"/>
              </a:cxn>
              <a:cxn ang="0">
                <a:pos x="csX1048" y="csY1048"/>
              </a:cxn>
              <a:cxn ang="0">
                <a:pos x="csX1049" y="csY1049"/>
              </a:cxn>
              <a:cxn ang="0">
                <a:pos x="csX1050" y="csY1050"/>
              </a:cxn>
              <a:cxn ang="0">
                <a:pos x="csX1051" y="csY1051"/>
              </a:cxn>
              <a:cxn ang="0">
                <a:pos x="csX1052" y="csY1052"/>
              </a:cxn>
              <a:cxn ang="0">
                <a:pos x="csX1053" y="csY1053"/>
              </a:cxn>
              <a:cxn ang="0">
                <a:pos x="csX1054" y="csY1054"/>
              </a:cxn>
            </a:cxnLst>
            <a:rect l="l" t="t" r="r" b="b"/>
            <a:pathLst>
              <a:path w="1609516" h="1538630">
                <a:moveTo>
                  <a:pt x="401579" y="1495809"/>
                </a:moveTo>
                <a:lnTo>
                  <a:pt x="400190" y="1496004"/>
                </a:lnTo>
                <a:lnTo>
                  <a:pt x="401224" y="1496470"/>
                </a:lnTo>
                <a:lnTo>
                  <a:pt x="401224" y="1498590"/>
                </a:lnTo>
                <a:lnTo>
                  <a:pt x="401579" y="1498628"/>
                </a:lnTo>
                <a:cubicBezTo>
                  <a:pt x="401579" y="1497698"/>
                  <a:pt x="401579" y="1496768"/>
                  <a:pt x="401579" y="1495809"/>
                </a:cubicBezTo>
                <a:close/>
                <a:moveTo>
                  <a:pt x="368755" y="1486512"/>
                </a:moveTo>
                <a:lnTo>
                  <a:pt x="364089" y="1487354"/>
                </a:lnTo>
                <a:lnTo>
                  <a:pt x="364089" y="1487908"/>
                </a:lnTo>
                <a:close/>
                <a:moveTo>
                  <a:pt x="1049801" y="1484562"/>
                </a:moveTo>
                <a:lnTo>
                  <a:pt x="1046735" y="1485945"/>
                </a:lnTo>
                <a:lnTo>
                  <a:pt x="1046955" y="1486045"/>
                </a:lnTo>
                <a:lnTo>
                  <a:pt x="1049801" y="1485188"/>
                </a:lnTo>
                <a:close/>
                <a:moveTo>
                  <a:pt x="351234" y="1444508"/>
                </a:moveTo>
                <a:lnTo>
                  <a:pt x="351234" y="1444997"/>
                </a:lnTo>
                <a:lnTo>
                  <a:pt x="351592" y="1445078"/>
                </a:lnTo>
                <a:close/>
                <a:moveTo>
                  <a:pt x="351908" y="1431206"/>
                </a:moveTo>
                <a:lnTo>
                  <a:pt x="351234" y="1431611"/>
                </a:lnTo>
                <a:lnTo>
                  <a:pt x="351234" y="1432274"/>
                </a:lnTo>
                <a:close/>
                <a:moveTo>
                  <a:pt x="358162" y="1421494"/>
                </a:moveTo>
                <a:lnTo>
                  <a:pt x="355921" y="1423156"/>
                </a:lnTo>
                <a:lnTo>
                  <a:pt x="355921" y="1423548"/>
                </a:lnTo>
                <a:close/>
                <a:moveTo>
                  <a:pt x="376098" y="1408347"/>
                </a:moveTo>
                <a:lnTo>
                  <a:pt x="370750" y="1412245"/>
                </a:lnTo>
                <a:lnTo>
                  <a:pt x="375023" y="1411256"/>
                </a:lnTo>
                <a:close/>
                <a:moveTo>
                  <a:pt x="421956" y="1365623"/>
                </a:moveTo>
                <a:lnTo>
                  <a:pt x="421765" y="1366161"/>
                </a:lnTo>
                <a:lnTo>
                  <a:pt x="421887" y="1366161"/>
                </a:lnTo>
                <a:close/>
                <a:moveTo>
                  <a:pt x="754553" y="1360575"/>
                </a:moveTo>
                <a:lnTo>
                  <a:pt x="754089" y="1361433"/>
                </a:lnTo>
                <a:lnTo>
                  <a:pt x="754431" y="1361125"/>
                </a:lnTo>
                <a:close/>
                <a:moveTo>
                  <a:pt x="1277973" y="1332923"/>
                </a:moveTo>
                <a:lnTo>
                  <a:pt x="1277944" y="1332936"/>
                </a:lnTo>
                <a:lnTo>
                  <a:pt x="1277949" y="1333139"/>
                </a:lnTo>
                <a:close/>
                <a:moveTo>
                  <a:pt x="1268556" y="1321066"/>
                </a:moveTo>
                <a:cubicBezTo>
                  <a:pt x="1268556" y="1322461"/>
                  <a:pt x="1268556" y="1323856"/>
                  <a:pt x="1268556" y="1325294"/>
                </a:cubicBezTo>
                <a:cubicBezTo>
                  <a:pt x="1267525" y="1325294"/>
                  <a:pt x="1266495" y="1325294"/>
                  <a:pt x="1265432" y="1325294"/>
                </a:cubicBezTo>
                <a:cubicBezTo>
                  <a:pt x="1265432" y="1330409"/>
                  <a:pt x="1265432" y="1335525"/>
                  <a:pt x="1265432" y="1340795"/>
                </a:cubicBezTo>
                <a:lnTo>
                  <a:pt x="1265476" y="1340714"/>
                </a:lnTo>
                <a:lnTo>
                  <a:pt x="1265476" y="1325877"/>
                </a:lnTo>
                <a:cubicBezTo>
                  <a:pt x="1266507" y="1325877"/>
                  <a:pt x="1267538" y="1325877"/>
                  <a:pt x="1268600" y="1325877"/>
                </a:cubicBezTo>
                <a:cubicBezTo>
                  <a:pt x="1268600" y="1324482"/>
                  <a:pt x="1268600" y="1323086"/>
                  <a:pt x="1268600" y="1321649"/>
                </a:cubicBezTo>
                <a:cubicBezTo>
                  <a:pt x="1270147" y="1321649"/>
                  <a:pt x="1271693" y="1321649"/>
                  <a:pt x="1273286" y="1321649"/>
                </a:cubicBezTo>
                <a:lnTo>
                  <a:pt x="1273227" y="1321066"/>
                </a:lnTo>
                <a:close/>
                <a:moveTo>
                  <a:pt x="827891" y="1291474"/>
                </a:moveTo>
                <a:lnTo>
                  <a:pt x="822601" y="1291544"/>
                </a:lnTo>
                <a:lnTo>
                  <a:pt x="818272" y="1292220"/>
                </a:lnTo>
                <a:lnTo>
                  <a:pt x="827891" y="1292047"/>
                </a:lnTo>
                <a:close/>
                <a:moveTo>
                  <a:pt x="856397" y="1288691"/>
                </a:moveTo>
                <a:lnTo>
                  <a:pt x="865903" y="1290590"/>
                </a:lnTo>
                <a:lnTo>
                  <a:pt x="859999" y="1288752"/>
                </a:lnTo>
                <a:close/>
                <a:moveTo>
                  <a:pt x="834694" y="1288572"/>
                </a:moveTo>
                <a:lnTo>
                  <a:pt x="828038" y="1288654"/>
                </a:lnTo>
                <a:lnTo>
                  <a:pt x="828038" y="1289214"/>
                </a:lnTo>
                <a:close/>
                <a:moveTo>
                  <a:pt x="229746" y="1191418"/>
                </a:moveTo>
                <a:lnTo>
                  <a:pt x="227402" y="1191947"/>
                </a:lnTo>
                <a:lnTo>
                  <a:pt x="229315" y="1191947"/>
                </a:lnTo>
                <a:cubicBezTo>
                  <a:pt x="229315" y="1192877"/>
                  <a:pt x="229315" y="1193807"/>
                  <a:pt x="229315" y="1194765"/>
                </a:cubicBezTo>
                <a:lnTo>
                  <a:pt x="231321" y="1194765"/>
                </a:lnTo>
                <a:lnTo>
                  <a:pt x="229746" y="1194236"/>
                </a:lnTo>
                <a:cubicBezTo>
                  <a:pt x="229746" y="1193306"/>
                  <a:pt x="229746" y="1192376"/>
                  <a:pt x="229746" y="1191418"/>
                </a:cubicBezTo>
                <a:close/>
                <a:moveTo>
                  <a:pt x="215687" y="1187190"/>
                </a:moveTo>
                <a:lnTo>
                  <a:pt x="215198" y="1187720"/>
                </a:lnTo>
                <a:lnTo>
                  <a:pt x="215256" y="1187720"/>
                </a:lnTo>
                <a:cubicBezTo>
                  <a:pt x="215256" y="1189115"/>
                  <a:pt x="215256" y="1190510"/>
                  <a:pt x="215256" y="1191947"/>
                </a:cubicBezTo>
                <a:lnTo>
                  <a:pt x="222721" y="1191947"/>
                </a:lnTo>
                <a:lnTo>
                  <a:pt x="215687" y="1191418"/>
                </a:lnTo>
                <a:cubicBezTo>
                  <a:pt x="215687" y="1190023"/>
                  <a:pt x="215687" y="1188628"/>
                  <a:pt x="215687" y="1187190"/>
                </a:cubicBezTo>
                <a:close/>
                <a:moveTo>
                  <a:pt x="1279678" y="1082356"/>
                </a:moveTo>
                <a:lnTo>
                  <a:pt x="1271680" y="1084589"/>
                </a:lnTo>
                <a:lnTo>
                  <a:pt x="1282181" y="1082544"/>
                </a:lnTo>
                <a:close/>
                <a:moveTo>
                  <a:pt x="117703" y="941507"/>
                </a:moveTo>
                <a:lnTo>
                  <a:pt x="112587" y="941985"/>
                </a:lnTo>
                <a:lnTo>
                  <a:pt x="112565" y="942333"/>
                </a:lnTo>
                <a:lnTo>
                  <a:pt x="115665" y="941837"/>
                </a:lnTo>
                <a:close/>
                <a:moveTo>
                  <a:pt x="144268" y="939395"/>
                </a:moveTo>
                <a:lnTo>
                  <a:pt x="143354" y="939580"/>
                </a:lnTo>
                <a:lnTo>
                  <a:pt x="144077" y="939739"/>
                </a:lnTo>
                <a:close/>
                <a:moveTo>
                  <a:pt x="162575" y="933530"/>
                </a:moveTo>
                <a:lnTo>
                  <a:pt x="161704" y="935101"/>
                </a:lnTo>
                <a:lnTo>
                  <a:pt x="170045" y="933585"/>
                </a:lnTo>
                <a:close/>
                <a:moveTo>
                  <a:pt x="1321645" y="918415"/>
                </a:moveTo>
                <a:lnTo>
                  <a:pt x="1321534" y="920177"/>
                </a:lnTo>
                <a:lnTo>
                  <a:pt x="1321740" y="918415"/>
                </a:lnTo>
                <a:close/>
                <a:moveTo>
                  <a:pt x="1319333" y="915183"/>
                </a:moveTo>
                <a:lnTo>
                  <a:pt x="1318544" y="918029"/>
                </a:lnTo>
                <a:lnTo>
                  <a:pt x="1318702" y="918029"/>
                </a:lnTo>
                <a:close/>
                <a:moveTo>
                  <a:pt x="1326355" y="907109"/>
                </a:moveTo>
                <a:lnTo>
                  <a:pt x="1326355" y="910983"/>
                </a:lnTo>
                <a:lnTo>
                  <a:pt x="1325831" y="911101"/>
                </a:lnTo>
                <a:lnTo>
                  <a:pt x="1326426" y="911369"/>
                </a:lnTo>
                <a:cubicBezTo>
                  <a:pt x="1326426" y="909974"/>
                  <a:pt x="1326426" y="908579"/>
                  <a:pt x="1326426" y="907141"/>
                </a:cubicBezTo>
                <a:close/>
                <a:moveTo>
                  <a:pt x="1328144" y="892192"/>
                </a:moveTo>
                <a:lnTo>
                  <a:pt x="1327667" y="893446"/>
                </a:lnTo>
                <a:lnTo>
                  <a:pt x="1327989" y="893049"/>
                </a:lnTo>
                <a:close/>
                <a:moveTo>
                  <a:pt x="49605" y="887420"/>
                </a:moveTo>
                <a:lnTo>
                  <a:pt x="48549" y="891229"/>
                </a:lnTo>
                <a:lnTo>
                  <a:pt x="49956" y="887420"/>
                </a:lnTo>
                <a:close/>
                <a:moveTo>
                  <a:pt x="1332266" y="883369"/>
                </a:moveTo>
                <a:lnTo>
                  <a:pt x="1329479" y="884207"/>
                </a:lnTo>
                <a:lnTo>
                  <a:pt x="1329509" y="884816"/>
                </a:lnTo>
                <a:lnTo>
                  <a:pt x="1329551" y="884594"/>
                </a:lnTo>
                <a:close/>
                <a:moveTo>
                  <a:pt x="1555987" y="821766"/>
                </a:moveTo>
                <a:lnTo>
                  <a:pt x="1555987" y="822201"/>
                </a:lnTo>
                <a:lnTo>
                  <a:pt x="1556081" y="822189"/>
                </a:lnTo>
                <a:close/>
                <a:moveTo>
                  <a:pt x="1565360" y="810928"/>
                </a:moveTo>
                <a:lnTo>
                  <a:pt x="1564871" y="811809"/>
                </a:lnTo>
                <a:lnTo>
                  <a:pt x="1567314" y="810928"/>
                </a:lnTo>
                <a:close/>
                <a:moveTo>
                  <a:pt x="1563797" y="810928"/>
                </a:moveTo>
                <a:lnTo>
                  <a:pt x="1556762" y="814736"/>
                </a:lnTo>
                <a:lnTo>
                  <a:pt x="1563797" y="812197"/>
                </a:lnTo>
                <a:close/>
                <a:moveTo>
                  <a:pt x="265833" y="806020"/>
                </a:moveTo>
                <a:lnTo>
                  <a:pt x="263704" y="809861"/>
                </a:lnTo>
                <a:lnTo>
                  <a:pt x="263704" y="816750"/>
                </a:lnTo>
                <a:lnTo>
                  <a:pt x="264113" y="816565"/>
                </a:lnTo>
                <a:cubicBezTo>
                  <a:pt x="264048" y="815315"/>
                  <a:pt x="263984" y="814065"/>
                  <a:pt x="263918" y="812777"/>
                </a:cubicBezTo>
                <a:close/>
                <a:moveTo>
                  <a:pt x="263774" y="779374"/>
                </a:moveTo>
                <a:lnTo>
                  <a:pt x="263704" y="783086"/>
                </a:lnTo>
                <a:cubicBezTo>
                  <a:pt x="263961" y="783987"/>
                  <a:pt x="264219" y="784888"/>
                  <a:pt x="264484" y="785816"/>
                </a:cubicBezTo>
                <a:cubicBezTo>
                  <a:pt x="265299" y="788846"/>
                  <a:pt x="265316" y="791337"/>
                  <a:pt x="265265" y="794448"/>
                </a:cubicBezTo>
                <a:cubicBezTo>
                  <a:pt x="265103" y="797155"/>
                  <a:pt x="265022" y="798508"/>
                  <a:pt x="265217" y="799730"/>
                </a:cubicBezTo>
                <a:lnTo>
                  <a:pt x="266556" y="803466"/>
                </a:lnTo>
                <a:lnTo>
                  <a:pt x="267237" y="801063"/>
                </a:lnTo>
                <a:cubicBezTo>
                  <a:pt x="266721" y="800598"/>
                  <a:pt x="266206" y="800133"/>
                  <a:pt x="265675" y="799654"/>
                </a:cubicBezTo>
                <a:cubicBezTo>
                  <a:pt x="265601" y="797718"/>
                  <a:pt x="265617" y="795778"/>
                  <a:pt x="265675" y="793841"/>
                </a:cubicBezTo>
                <a:close/>
                <a:moveTo>
                  <a:pt x="260988" y="770061"/>
                </a:moveTo>
                <a:lnTo>
                  <a:pt x="260988" y="771364"/>
                </a:lnTo>
                <a:lnTo>
                  <a:pt x="263497" y="777263"/>
                </a:lnTo>
                <a:lnTo>
                  <a:pt x="262551" y="770061"/>
                </a:lnTo>
                <a:cubicBezTo>
                  <a:pt x="262035" y="770061"/>
                  <a:pt x="261520" y="770061"/>
                  <a:pt x="260988" y="770061"/>
                </a:cubicBezTo>
                <a:close/>
                <a:moveTo>
                  <a:pt x="157888" y="651686"/>
                </a:moveTo>
                <a:lnTo>
                  <a:pt x="157415" y="651764"/>
                </a:lnTo>
                <a:lnTo>
                  <a:pt x="160373" y="652274"/>
                </a:lnTo>
                <a:close/>
                <a:moveTo>
                  <a:pt x="267237" y="426537"/>
                </a:moveTo>
                <a:lnTo>
                  <a:pt x="267237" y="427619"/>
                </a:lnTo>
                <a:cubicBezTo>
                  <a:pt x="268274" y="427791"/>
                  <a:pt x="269311" y="427961"/>
                  <a:pt x="270380" y="428137"/>
                </a:cubicBezTo>
                <a:lnTo>
                  <a:pt x="273548" y="428680"/>
                </a:lnTo>
                <a:close/>
                <a:moveTo>
                  <a:pt x="37605" y="359270"/>
                </a:moveTo>
                <a:lnTo>
                  <a:pt x="37103" y="361533"/>
                </a:lnTo>
                <a:lnTo>
                  <a:pt x="37605" y="361382"/>
                </a:lnTo>
                <a:close/>
                <a:moveTo>
                  <a:pt x="52477" y="337570"/>
                </a:moveTo>
                <a:lnTo>
                  <a:pt x="47288" y="342340"/>
                </a:lnTo>
                <a:lnTo>
                  <a:pt x="45805" y="345093"/>
                </a:lnTo>
                <a:close/>
                <a:moveTo>
                  <a:pt x="104291" y="336166"/>
                </a:moveTo>
                <a:lnTo>
                  <a:pt x="103776" y="337559"/>
                </a:lnTo>
                <a:lnTo>
                  <a:pt x="108925" y="336166"/>
                </a:lnTo>
                <a:close/>
                <a:moveTo>
                  <a:pt x="1309237" y="322954"/>
                </a:moveTo>
                <a:lnTo>
                  <a:pt x="1309180" y="330559"/>
                </a:lnTo>
                <a:lnTo>
                  <a:pt x="1309237" y="330520"/>
                </a:lnTo>
                <a:close/>
                <a:moveTo>
                  <a:pt x="1308964" y="317715"/>
                </a:moveTo>
                <a:lnTo>
                  <a:pt x="1309237" y="318569"/>
                </a:lnTo>
                <a:lnTo>
                  <a:pt x="1309237" y="317838"/>
                </a:lnTo>
                <a:close/>
                <a:moveTo>
                  <a:pt x="1310087" y="313153"/>
                </a:moveTo>
                <a:lnTo>
                  <a:pt x="1307609" y="313473"/>
                </a:lnTo>
                <a:lnTo>
                  <a:pt x="1308045" y="314836"/>
                </a:lnTo>
                <a:close/>
                <a:moveTo>
                  <a:pt x="1318544" y="312064"/>
                </a:moveTo>
                <a:lnTo>
                  <a:pt x="1316298" y="312353"/>
                </a:lnTo>
                <a:lnTo>
                  <a:pt x="1318544" y="312205"/>
                </a:lnTo>
                <a:close/>
                <a:moveTo>
                  <a:pt x="1084622" y="267674"/>
                </a:moveTo>
                <a:lnTo>
                  <a:pt x="1084227" y="268378"/>
                </a:lnTo>
                <a:cubicBezTo>
                  <a:pt x="1082679" y="268378"/>
                  <a:pt x="1081133" y="268378"/>
                  <a:pt x="1079540" y="268378"/>
                </a:cubicBezTo>
                <a:lnTo>
                  <a:pt x="1079603" y="268477"/>
                </a:lnTo>
                <a:lnTo>
                  <a:pt x="1084192" y="268477"/>
                </a:lnTo>
                <a:close/>
                <a:moveTo>
                  <a:pt x="956410" y="266968"/>
                </a:moveTo>
                <a:lnTo>
                  <a:pt x="957576" y="267083"/>
                </a:lnTo>
                <a:lnTo>
                  <a:pt x="957576" y="269776"/>
                </a:lnTo>
                <a:lnTo>
                  <a:pt x="957694" y="269787"/>
                </a:lnTo>
                <a:cubicBezTo>
                  <a:pt x="957694" y="268857"/>
                  <a:pt x="957694" y="267927"/>
                  <a:pt x="957694" y="266968"/>
                </a:cubicBezTo>
                <a:close/>
                <a:moveTo>
                  <a:pt x="1089372" y="259220"/>
                </a:moveTo>
                <a:lnTo>
                  <a:pt x="1085856" y="265479"/>
                </a:lnTo>
                <a:lnTo>
                  <a:pt x="1088878" y="261431"/>
                </a:lnTo>
                <a:close/>
                <a:moveTo>
                  <a:pt x="1018517" y="223356"/>
                </a:moveTo>
                <a:lnTo>
                  <a:pt x="1013866" y="226190"/>
                </a:lnTo>
                <a:lnTo>
                  <a:pt x="1013024" y="227709"/>
                </a:lnTo>
                <a:lnTo>
                  <a:pt x="1017055" y="224692"/>
                </a:lnTo>
                <a:close/>
                <a:moveTo>
                  <a:pt x="850645" y="220099"/>
                </a:moveTo>
                <a:lnTo>
                  <a:pt x="850897" y="221488"/>
                </a:lnTo>
                <a:cubicBezTo>
                  <a:pt x="851086" y="222545"/>
                  <a:pt x="851275" y="223602"/>
                  <a:pt x="851470" y="224692"/>
                </a:cubicBezTo>
                <a:lnTo>
                  <a:pt x="852860" y="224692"/>
                </a:lnTo>
                <a:close/>
                <a:moveTo>
                  <a:pt x="1155019" y="35"/>
                </a:moveTo>
                <a:cubicBezTo>
                  <a:pt x="1161775" y="275"/>
                  <a:pt x="1168415" y="1783"/>
                  <a:pt x="1174829" y="4853"/>
                </a:cubicBezTo>
                <a:cubicBezTo>
                  <a:pt x="1176343" y="5231"/>
                  <a:pt x="1177858" y="5609"/>
                  <a:pt x="1179418" y="5998"/>
                </a:cubicBezTo>
                <a:cubicBezTo>
                  <a:pt x="1189392" y="9487"/>
                  <a:pt x="1196322" y="14392"/>
                  <a:pt x="1201385" y="22997"/>
                </a:cubicBezTo>
                <a:cubicBezTo>
                  <a:pt x="1206849" y="35244"/>
                  <a:pt x="1206940" y="49865"/>
                  <a:pt x="1201678" y="62191"/>
                </a:cubicBezTo>
                <a:cubicBezTo>
                  <a:pt x="1200594" y="64241"/>
                  <a:pt x="1199461" y="66271"/>
                  <a:pt x="1198261" y="68268"/>
                </a:cubicBezTo>
                <a:cubicBezTo>
                  <a:pt x="1197423" y="69721"/>
                  <a:pt x="1196586" y="71175"/>
                  <a:pt x="1195723" y="72672"/>
                </a:cubicBezTo>
                <a:cubicBezTo>
                  <a:pt x="1194659" y="73980"/>
                  <a:pt x="1194659" y="73980"/>
                  <a:pt x="1193575" y="75314"/>
                </a:cubicBezTo>
                <a:cubicBezTo>
                  <a:pt x="1192544" y="75314"/>
                  <a:pt x="1191512" y="75314"/>
                  <a:pt x="1190450" y="75314"/>
                </a:cubicBezTo>
                <a:cubicBezTo>
                  <a:pt x="1190128" y="76651"/>
                  <a:pt x="1189806" y="77988"/>
                  <a:pt x="1189474" y="79366"/>
                </a:cubicBezTo>
                <a:cubicBezTo>
                  <a:pt x="1187326" y="83769"/>
                  <a:pt x="1187326" y="83769"/>
                  <a:pt x="1182445" y="85707"/>
                </a:cubicBezTo>
                <a:cubicBezTo>
                  <a:pt x="1180962" y="85998"/>
                  <a:pt x="1179480" y="86289"/>
                  <a:pt x="1177953" y="86588"/>
                </a:cubicBezTo>
                <a:cubicBezTo>
                  <a:pt x="1177953" y="87518"/>
                  <a:pt x="1177953" y="88448"/>
                  <a:pt x="1177953" y="89406"/>
                </a:cubicBezTo>
                <a:cubicBezTo>
                  <a:pt x="1175369" y="91088"/>
                  <a:pt x="1172720" y="92688"/>
                  <a:pt x="1170045" y="94251"/>
                </a:cubicBezTo>
                <a:cubicBezTo>
                  <a:pt x="1154651" y="104199"/>
                  <a:pt x="1148918" y="116979"/>
                  <a:pt x="1143806" y="132828"/>
                </a:cubicBezTo>
                <a:cubicBezTo>
                  <a:pt x="1142095" y="137144"/>
                  <a:pt x="1140989" y="138617"/>
                  <a:pt x="1137338" y="141548"/>
                </a:cubicBezTo>
                <a:cubicBezTo>
                  <a:pt x="1136166" y="144148"/>
                  <a:pt x="1134992" y="146751"/>
                  <a:pt x="1133970" y="149403"/>
                </a:cubicBezTo>
                <a:cubicBezTo>
                  <a:pt x="1132069" y="154334"/>
                  <a:pt x="1130006" y="159210"/>
                  <a:pt x="1127965" y="164095"/>
                </a:cubicBezTo>
                <a:cubicBezTo>
                  <a:pt x="1126897" y="166664"/>
                  <a:pt x="1125830" y="169233"/>
                  <a:pt x="1124762" y="171802"/>
                </a:cubicBezTo>
                <a:cubicBezTo>
                  <a:pt x="1122961" y="176134"/>
                  <a:pt x="1121160" y="180466"/>
                  <a:pt x="1119359" y="184798"/>
                </a:cubicBezTo>
                <a:cubicBezTo>
                  <a:pt x="1116567" y="191508"/>
                  <a:pt x="1113778" y="198220"/>
                  <a:pt x="1111014" y="204941"/>
                </a:cubicBezTo>
                <a:cubicBezTo>
                  <a:pt x="1110590" y="205970"/>
                  <a:pt x="1110165" y="206999"/>
                  <a:pt x="1109729" y="208059"/>
                </a:cubicBezTo>
                <a:cubicBezTo>
                  <a:pt x="1108615" y="210762"/>
                  <a:pt x="1107505" y="213466"/>
                  <a:pt x="1106395" y="216170"/>
                </a:cubicBezTo>
                <a:cubicBezTo>
                  <a:pt x="1104320" y="220956"/>
                  <a:pt x="1103283" y="223349"/>
                  <a:pt x="1102147" y="224810"/>
                </a:cubicBezTo>
                <a:lnTo>
                  <a:pt x="1098261" y="227262"/>
                </a:lnTo>
                <a:lnTo>
                  <a:pt x="1098367" y="238475"/>
                </a:lnTo>
                <a:cubicBezTo>
                  <a:pt x="1098025" y="239757"/>
                  <a:pt x="1097684" y="241038"/>
                  <a:pt x="1097331" y="242358"/>
                </a:cubicBezTo>
                <a:cubicBezTo>
                  <a:pt x="1096958" y="243711"/>
                  <a:pt x="1096585" y="245064"/>
                  <a:pt x="1096201" y="246458"/>
                </a:cubicBezTo>
                <a:cubicBezTo>
                  <a:pt x="1093302" y="257363"/>
                  <a:pt x="1090901" y="268062"/>
                  <a:pt x="1089440" y="279206"/>
                </a:cubicBezTo>
                <a:cubicBezTo>
                  <a:pt x="1088878" y="282569"/>
                  <a:pt x="1088878" y="282569"/>
                  <a:pt x="1087316" y="283978"/>
                </a:cubicBezTo>
                <a:cubicBezTo>
                  <a:pt x="1087070" y="286587"/>
                  <a:pt x="1086924" y="289205"/>
                  <a:pt x="1086822" y="291822"/>
                </a:cubicBezTo>
                <a:cubicBezTo>
                  <a:pt x="1086756" y="293408"/>
                  <a:pt x="1086691" y="294993"/>
                  <a:pt x="1086623" y="296625"/>
                </a:cubicBezTo>
                <a:cubicBezTo>
                  <a:pt x="1086562" y="298294"/>
                  <a:pt x="1086501" y="299962"/>
                  <a:pt x="1086437" y="301681"/>
                </a:cubicBezTo>
                <a:cubicBezTo>
                  <a:pt x="1086336" y="304192"/>
                  <a:pt x="1086336" y="304192"/>
                  <a:pt x="1086233" y="306754"/>
                </a:cubicBezTo>
                <a:lnTo>
                  <a:pt x="1086007" y="312619"/>
                </a:lnTo>
                <a:lnTo>
                  <a:pt x="1087470" y="320554"/>
                </a:lnTo>
                <a:cubicBezTo>
                  <a:pt x="1089648" y="325409"/>
                  <a:pt x="1093111" y="329799"/>
                  <a:pt x="1098285" y="334611"/>
                </a:cubicBezTo>
                <a:cubicBezTo>
                  <a:pt x="1100424" y="336130"/>
                  <a:pt x="1100424" y="336130"/>
                  <a:pt x="1102607" y="337679"/>
                </a:cubicBezTo>
                <a:cubicBezTo>
                  <a:pt x="1104334" y="338951"/>
                  <a:pt x="1104334" y="338951"/>
                  <a:pt x="1106095" y="340248"/>
                </a:cubicBezTo>
                <a:cubicBezTo>
                  <a:pt x="1106095" y="341178"/>
                  <a:pt x="1106095" y="342108"/>
                  <a:pt x="1106095" y="343066"/>
                </a:cubicBezTo>
                <a:cubicBezTo>
                  <a:pt x="1107127" y="343183"/>
                  <a:pt x="1108158" y="343299"/>
                  <a:pt x="1109220" y="343419"/>
                </a:cubicBezTo>
                <a:cubicBezTo>
                  <a:pt x="1115473" y="344829"/>
                  <a:pt x="1120724" y="347416"/>
                  <a:pt x="1126403" y="350112"/>
                </a:cubicBezTo>
                <a:cubicBezTo>
                  <a:pt x="1128207" y="350926"/>
                  <a:pt x="1130012" y="351740"/>
                  <a:pt x="1131871" y="352579"/>
                </a:cubicBezTo>
                <a:cubicBezTo>
                  <a:pt x="1133159" y="353160"/>
                  <a:pt x="1134448" y="353741"/>
                  <a:pt x="1135776" y="354340"/>
                </a:cubicBezTo>
                <a:cubicBezTo>
                  <a:pt x="1135776" y="355270"/>
                  <a:pt x="1135776" y="356200"/>
                  <a:pt x="1135776" y="357158"/>
                </a:cubicBezTo>
                <a:cubicBezTo>
                  <a:pt x="1148107" y="360029"/>
                  <a:pt x="1158679" y="359101"/>
                  <a:pt x="1170143" y="354340"/>
                </a:cubicBezTo>
                <a:cubicBezTo>
                  <a:pt x="1172366" y="353468"/>
                  <a:pt x="1172366" y="353468"/>
                  <a:pt x="1174634" y="352579"/>
                </a:cubicBezTo>
                <a:cubicBezTo>
                  <a:pt x="1180354" y="349689"/>
                  <a:pt x="1185568" y="346355"/>
                  <a:pt x="1190890" y="342907"/>
                </a:cubicBezTo>
                <a:cubicBezTo>
                  <a:pt x="1195169" y="340228"/>
                  <a:pt x="1199557" y="337821"/>
                  <a:pt x="1204021" y="335404"/>
                </a:cubicBezTo>
                <a:cubicBezTo>
                  <a:pt x="1211989" y="330886"/>
                  <a:pt x="1217509" y="325766"/>
                  <a:pt x="1223255" y="319110"/>
                </a:cubicBezTo>
                <a:cubicBezTo>
                  <a:pt x="1224447" y="317947"/>
                  <a:pt x="1225639" y="316784"/>
                  <a:pt x="1226868" y="315587"/>
                </a:cubicBezTo>
                <a:cubicBezTo>
                  <a:pt x="1229855" y="311593"/>
                  <a:pt x="1230852" y="308240"/>
                  <a:pt x="1231859" y="303559"/>
                </a:cubicBezTo>
                <a:cubicBezTo>
                  <a:pt x="1232628" y="300790"/>
                  <a:pt x="1232628" y="300790"/>
                  <a:pt x="1234178" y="298059"/>
                </a:cubicBezTo>
                <a:cubicBezTo>
                  <a:pt x="1235964" y="294761"/>
                  <a:pt x="1236623" y="291807"/>
                  <a:pt x="1237314" y="288195"/>
                </a:cubicBezTo>
                <a:cubicBezTo>
                  <a:pt x="1239360" y="278571"/>
                  <a:pt x="1242414" y="272733"/>
                  <a:pt x="1249811" y="265559"/>
                </a:cubicBezTo>
                <a:cubicBezTo>
                  <a:pt x="1250842" y="265559"/>
                  <a:pt x="1251873" y="265559"/>
                  <a:pt x="1252935" y="265559"/>
                </a:cubicBezTo>
                <a:cubicBezTo>
                  <a:pt x="1252935" y="264629"/>
                  <a:pt x="1252935" y="263699"/>
                  <a:pt x="1252935" y="262741"/>
                </a:cubicBezTo>
                <a:cubicBezTo>
                  <a:pt x="1265591" y="253427"/>
                  <a:pt x="1280762" y="251648"/>
                  <a:pt x="1296675" y="252876"/>
                </a:cubicBezTo>
                <a:cubicBezTo>
                  <a:pt x="1300535" y="253563"/>
                  <a:pt x="1303901" y="254478"/>
                  <a:pt x="1307609" y="255695"/>
                </a:cubicBezTo>
                <a:cubicBezTo>
                  <a:pt x="1307609" y="256625"/>
                  <a:pt x="1307609" y="257555"/>
                  <a:pt x="1307609" y="258513"/>
                </a:cubicBezTo>
                <a:cubicBezTo>
                  <a:pt x="1309021" y="258619"/>
                  <a:pt x="1310432" y="258723"/>
                  <a:pt x="1311887" y="258832"/>
                </a:cubicBezTo>
                <a:cubicBezTo>
                  <a:pt x="1319573" y="260476"/>
                  <a:pt x="1322149" y="264416"/>
                  <a:pt x="1326715" y="269969"/>
                </a:cubicBezTo>
                <a:cubicBezTo>
                  <a:pt x="1334402" y="281220"/>
                  <a:pt x="1336114" y="294839"/>
                  <a:pt x="1334165" y="307836"/>
                </a:cubicBezTo>
                <a:cubicBezTo>
                  <a:pt x="1332176" y="311898"/>
                  <a:pt x="1332176" y="311898"/>
                  <a:pt x="1329479" y="314882"/>
                </a:cubicBezTo>
                <a:cubicBezTo>
                  <a:pt x="1327417" y="314882"/>
                  <a:pt x="1325355" y="314882"/>
                  <a:pt x="1323231" y="314882"/>
                </a:cubicBezTo>
                <a:cubicBezTo>
                  <a:pt x="1323231" y="315812"/>
                  <a:pt x="1323231" y="316742"/>
                  <a:pt x="1323231" y="317700"/>
                </a:cubicBezTo>
                <a:lnTo>
                  <a:pt x="1322774" y="317838"/>
                </a:lnTo>
                <a:lnTo>
                  <a:pt x="1323295" y="317838"/>
                </a:lnTo>
                <a:cubicBezTo>
                  <a:pt x="1323295" y="316907"/>
                  <a:pt x="1323295" y="315977"/>
                  <a:pt x="1323295" y="315019"/>
                </a:cubicBezTo>
                <a:cubicBezTo>
                  <a:pt x="1324842" y="315019"/>
                  <a:pt x="1326388" y="315019"/>
                  <a:pt x="1327982" y="315019"/>
                </a:cubicBezTo>
                <a:cubicBezTo>
                  <a:pt x="1325845" y="321328"/>
                  <a:pt x="1322753" y="323742"/>
                  <a:pt x="1317047" y="327702"/>
                </a:cubicBezTo>
                <a:cubicBezTo>
                  <a:pt x="1316531" y="329097"/>
                  <a:pt x="1316016" y="330492"/>
                  <a:pt x="1315484" y="331930"/>
                </a:cubicBezTo>
                <a:cubicBezTo>
                  <a:pt x="1312599" y="332959"/>
                  <a:pt x="1312599" y="332959"/>
                  <a:pt x="1309139" y="333603"/>
                </a:cubicBezTo>
                <a:cubicBezTo>
                  <a:pt x="1307993" y="333827"/>
                  <a:pt x="1306847" y="334050"/>
                  <a:pt x="1305666" y="334280"/>
                </a:cubicBezTo>
                <a:cubicBezTo>
                  <a:pt x="1304783" y="334434"/>
                  <a:pt x="1303899" y="334589"/>
                  <a:pt x="1302988" y="334748"/>
                </a:cubicBezTo>
                <a:lnTo>
                  <a:pt x="1305905" y="332775"/>
                </a:lnTo>
                <a:lnTo>
                  <a:pt x="1304485" y="333202"/>
                </a:lnTo>
                <a:cubicBezTo>
                  <a:pt x="1302987" y="334640"/>
                  <a:pt x="1302987" y="334640"/>
                  <a:pt x="1301459" y="336108"/>
                </a:cubicBezTo>
                <a:cubicBezTo>
                  <a:pt x="1298237" y="338839"/>
                  <a:pt x="1298237" y="338839"/>
                  <a:pt x="1291989" y="338839"/>
                </a:cubicBezTo>
                <a:cubicBezTo>
                  <a:pt x="1291473" y="340234"/>
                  <a:pt x="1290957" y="341629"/>
                  <a:pt x="1290426" y="343066"/>
                </a:cubicBezTo>
                <a:cubicBezTo>
                  <a:pt x="1288879" y="343415"/>
                  <a:pt x="1287333" y="343764"/>
                  <a:pt x="1285740" y="344123"/>
                </a:cubicBezTo>
                <a:cubicBezTo>
                  <a:pt x="1266905" y="348491"/>
                  <a:pt x="1249005" y="369098"/>
                  <a:pt x="1237314" y="382525"/>
                </a:cubicBezTo>
                <a:cubicBezTo>
                  <a:pt x="1235678" y="385783"/>
                  <a:pt x="1234122" y="389075"/>
                  <a:pt x="1232628" y="392389"/>
                </a:cubicBezTo>
                <a:cubicBezTo>
                  <a:pt x="1231317" y="394515"/>
                  <a:pt x="1229981" y="396629"/>
                  <a:pt x="1228625" y="398731"/>
                </a:cubicBezTo>
                <a:cubicBezTo>
                  <a:pt x="1221457" y="410300"/>
                  <a:pt x="1219465" y="421836"/>
                  <a:pt x="1222822" y="434798"/>
                </a:cubicBezTo>
                <a:cubicBezTo>
                  <a:pt x="1229360" y="453710"/>
                  <a:pt x="1244088" y="472467"/>
                  <a:pt x="1260746" y="485398"/>
                </a:cubicBezTo>
                <a:cubicBezTo>
                  <a:pt x="1264961" y="487349"/>
                  <a:pt x="1264961" y="487349"/>
                  <a:pt x="1268556" y="488216"/>
                </a:cubicBezTo>
                <a:cubicBezTo>
                  <a:pt x="1268556" y="489146"/>
                  <a:pt x="1268556" y="490076"/>
                  <a:pt x="1268556" y="491034"/>
                </a:cubicBezTo>
                <a:cubicBezTo>
                  <a:pt x="1288790" y="497071"/>
                  <a:pt x="1319055" y="498555"/>
                  <a:pt x="1338852" y="489625"/>
                </a:cubicBezTo>
                <a:cubicBezTo>
                  <a:pt x="1341711" y="489213"/>
                  <a:pt x="1344575" y="488837"/>
                  <a:pt x="1347444" y="488480"/>
                </a:cubicBezTo>
                <a:cubicBezTo>
                  <a:pt x="1355372" y="487345"/>
                  <a:pt x="1362033" y="485390"/>
                  <a:pt x="1369362" y="482513"/>
                </a:cubicBezTo>
                <a:cubicBezTo>
                  <a:pt x="1375665" y="480318"/>
                  <a:pt x="1382189" y="479322"/>
                  <a:pt x="1388840" y="478351"/>
                </a:cubicBezTo>
                <a:cubicBezTo>
                  <a:pt x="1388840" y="477421"/>
                  <a:pt x="1388840" y="476492"/>
                  <a:pt x="1388840" y="475533"/>
                </a:cubicBezTo>
                <a:cubicBezTo>
                  <a:pt x="1391083" y="474821"/>
                  <a:pt x="1393329" y="474118"/>
                  <a:pt x="1395576" y="473419"/>
                </a:cubicBezTo>
                <a:cubicBezTo>
                  <a:pt x="1396827" y="473027"/>
                  <a:pt x="1398077" y="472635"/>
                  <a:pt x="1399365" y="472230"/>
                </a:cubicBezTo>
                <a:cubicBezTo>
                  <a:pt x="1402899" y="471305"/>
                  <a:pt x="1402899" y="471305"/>
                  <a:pt x="1407585" y="471305"/>
                </a:cubicBezTo>
                <a:cubicBezTo>
                  <a:pt x="1408101" y="469910"/>
                  <a:pt x="1408616" y="468515"/>
                  <a:pt x="1409147" y="467078"/>
                </a:cubicBezTo>
                <a:cubicBezTo>
                  <a:pt x="1412388" y="465580"/>
                  <a:pt x="1412388" y="465580"/>
                  <a:pt x="1416470" y="464259"/>
                </a:cubicBezTo>
                <a:cubicBezTo>
                  <a:pt x="1424029" y="461705"/>
                  <a:pt x="1431130" y="458955"/>
                  <a:pt x="1437949" y="455011"/>
                </a:cubicBezTo>
                <a:cubicBezTo>
                  <a:pt x="1442765" y="452574"/>
                  <a:pt x="1447553" y="451394"/>
                  <a:pt x="1452887" y="450167"/>
                </a:cubicBezTo>
                <a:cubicBezTo>
                  <a:pt x="1452887" y="449237"/>
                  <a:pt x="1452887" y="448307"/>
                  <a:pt x="1452887" y="447349"/>
                </a:cubicBezTo>
                <a:cubicBezTo>
                  <a:pt x="1453714" y="446944"/>
                  <a:pt x="1454541" y="446539"/>
                  <a:pt x="1455394" y="446122"/>
                </a:cubicBezTo>
                <a:cubicBezTo>
                  <a:pt x="1459151" y="444278"/>
                  <a:pt x="1462902" y="442422"/>
                  <a:pt x="1466653" y="440567"/>
                </a:cubicBezTo>
                <a:cubicBezTo>
                  <a:pt x="1467955" y="439930"/>
                  <a:pt x="1469256" y="439293"/>
                  <a:pt x="1470598" y="438637"/>
                </a:cubicBezTo>
                <a:cubicBezTo>
                  <a:pt x="1471852" y="438016"/>
                  <a:pt x="1473105" y="437393"/>
                  <a:pt x="1474397" y="436752"/>
                </a:cubicBezTo>
                <a:cubicBezTo>
                  <a:pt x="1475550" y="436184"/>
                  <a:pt x="1476703" y="435616"/>
                  <a:pt x="1477892" y="435030"/>
                </a:cubicBezTo>
                <a:cubicBezTo>
                  <a:pt x="1480966" y="433279"/>
                  <a:pt x="1483173" y="431373"/>
                  <a:pt x="1485691" y="429029"/>
                </a:cubicBezTo>
                <a:cubicBezTo>
                  <a:pt x="1486737" y="428575"/>
                  <a:pt x="1487781" y="428121"/>
                  <a:pt x="1488858" y="427653"/>
                </a:cubicBezTo>
                <a:cubicBezTo>
                  <a:pt x="1492438" y="425977"/>
                  <a:pt x="1493705" y="424453"/>
                  <a:pt x="1495943" y="421454"/>
                </a:cubicBezTo>
                <a:cubicBezTo>
                  <a:pt x="1507114" y="407544"/>
                  <a:pt x="1519758" y="393513"/>
                  <a:pt x="1538608" y="388338"/>
                </a:cubicBezTo>
                <a:cubicBezTo>
                  <a:pt x="1541025" y="388250"/>
                  <a:pt x="1541025" y="388250"/>
                  <a:pt x="1543490" y="388161"/>
                </a:cubicBezTo>
                <a:cubicBezTo>
                  <a:pt x="1545535" y="387984"/>
                  <a:pt x="1545535" y="387984"/>
                  <a:pt x="1547621" y="387804"/>
                </a:cubicBezTo>
                <a:cubicBezTo>
                  <a:pt x="1560659" y="387094"/>
                  <a:pt x="1568716" y="390117"/>
                  <a:pt x="1579418" y="396617"/>
                </a:cubicBezTo>
                <a:cubicBezTo>
                  <a:pt x="1581361" y="397687"/>
                  <a:pt x="1581361" y="397687"/>
                  <a:pt x="1583342" y="398780"/>
                </a:cubicBezTo>
                <a:cubicBezTo>
                  <a:pt x="1593703" y="405068"/>
                  <a:pt x="1598513" y="412459"/>
                  <a:pt x="1601288" y="423392"/>
                </a:cubicBezTo>
                <a:cubicBezTo>
                  <a:pt x="1603295" y="436596"/>
                  <a:pt x="1603517" y="449033"/>
                  <a:pt x="1594484" y="460159"/>
                </a:cubicBezTo>
                <a:cubicBezTo>
                  <a:pt x="1588468" y="466462"/>
                  <a:pt x="1582607" y="471150"/>
                  <a:pt x="1574732" y="475533"/>
                </a:cubicBezTo>
                <a:cubicBezTo>
                  <a:pt x="1573862" y="476043"/>
                  <a:pt x="1572993" y="476553"/>
                  <a:pt x="1572097" y="477078"/>
                </a:cubicBezTo>
                <a:cubicBezTo>
                  <a:pt x="1566828" y="478935"/>
                  <a:pt x="1561641" y="478744"/>
                  <a:pt x="1556066" y="478737"/>
                </a:cubicBezTo>
                <a:cubicBezTo>
                  <a:pt x="1553587" y="478765"/>
                  <a:pt x="1551109" y="478795"/>
                  <a:pt x="1548631" y="478825"/>
                </a:cubicBezTo>
                <a:cubicBezTo>
                  <a:pt x="1544751" y="478857"/>
                  <a:pt x="1540871" y="478880"/>
                  <a:pt x="1536991" y="478889"/>
                </a:cubicBezTo>
                <a:cubicBezTo>
                  <a:pt x="1516714" y="478693"/>
                  <a:pt x="1516714" y="478693"/>
                  <a:pt x="1498188" y="485398"/>
                </a:cubicBezTo>
                <a:cubicBezTo>
                  <a:pt x="1496062" y="486488"/>
                  <a:pt x="1496062" y="486488"/>
                  <a:pt x="1493892" y="487600"/>
                </a:cubicBezTo>
                <a:cubicBezTo>
                  <a:pt x="1492733" y="488268"/>
                  <a:pt x="1491573" y="488937"/>
                  <a:pt x="1490377" y="489625"/>
                </a:cubicBezTo>
                <a:cubicBezTo>
                  <a:pt x="1484304" y="493012"/>
                  <a:pt x="1478212" y="495675"/>
                  <a:pt x="1471650" y="498185"/>
                </a:cubicBezTo>
                <a:cubicBezTo>
                  <a:pt x="1467148" y="500054"/>
                  <a:pt x="1463242" y="502632"/>
                  <a:pt x="1459135" y="505127"/>
                </a:cubicBezTo>
                <a:cubicBezTo>
                  <a:pt x="1456968" y="506120"/>
                  <a:pt x="1454786" y="507086"/>
                  <a:pt x="1452594" y="508033"/>
                </a:cubicBezTo>
                <a:cubicBezTo>
                  <a:pt x="1444148" y="511772"/>
                  <a:pt x="1435969" y="515903"/>
                  <a:pt x="1427795" y="520100"/>
                </a:cubicBezTo>
                <a:cubicBezTo>
                  <a:pt x="1425784" y="521114"/>
                  <a:pt x="1425784" y="521114"/>
                  <a:pt x="1423733" y="522148"/>
                </a:cubicBezTo>
                <a:cubicBezTo>
                  <a:pt x="1422478" y="522798"/>
                  <a:pt x="1421223" y="523449"/>
                  <a:pt x="1419929" y="524118"/>
                </a:cubicBezTo>
                <a:cubicBezTo>
                  <a:pt x="1418794" y="524701"/>
                  <a:pt x="1417658" y="525283"/>
                  <a:pt x="1416487" y="525883"/>
                </a:cubicBezTo>
                <a:cubicBezTo>
                  <a:pt x="1413349" y="527646"/>
                  <a:pt x="1413349" y="527646"/>
                  <a:pt x="1412271" y="531902"/>
                </a:cubicBezTo>
                <a:cubicBezTo>
                  <a:pt x="1407205" y="535203"/>
                  <a:pt x="1402819" y="536744"/>
                  <a:pt x="1396650" y="537539"/>
                </a:cubicBezTo>
                <a:cubicBezTo>
                  <a:pt x="1396650" y="538469"/>
                  <a:pt x="1396650" y="539399"/>
                  <a:pt x="1396650" y="540357"/>
                </a:cubicBezTo>
                <a:cubicBezTo>
                  <a:pt x="1395609" y="540735"/>
                  <a:pt x="1394568" y="541113"/>
                  <a:pt x="1393495" y="541502"/>
                </a:cubicBezTo>
                <a:cubicBezTo>
                  <a:pt x="1381840" y="545973"/>
                  <a:pt x="1372279" y="551715"/>
                  <a:pt x="1362284" y="558678"/>
                </a:cubicBezTo>
                <a:cubicBezTo>
                  <a:pt x="1360170" y="560088"/>
                  <a:pt x="1358055" y="561497"/>
                  <a:pt x="1355937" y="562905"/>
                </a:cubicBezTo>
                <a:cubicBezTo>
                  <a:pt x="1348556" y="567937"/>
                  <a:pt x="1341292" y="573085"/>
                  <a:pt x="1334165" y="578406"/>
                </a:cubicBezTo>
                <a:cubicBezTo>
                  <a:pt x="1332697" y="579472"/>
                  <a:pt x="1332697" y="579472"/>
                  <a:pt x="1331200" y="580559"/>
                </a:cubicBezTo>
                <a:cubicBezTo>
                  <a:pt x="1325067" y="585430"/>
                  <a:pt x="1323406" y="589771"/>
                  <a:pt x="1322175" y="596793"/>
                </a:cubicBezTo>
                <a:cubicBezTo>
                  <a:pt x="1321669" y="599545"/>
                  <a:pt x="1321669" y="599545"/>
                  <a:pt x="1320106" y="602363"/>
                </a:cubicBezTo>
                <a:cubicBezTo>
                  <a:pt x="1318419" y="618189"/>
                  <a:pt x="1322416" y="632767"/>
                  <a:pt x="1328015" y="647640"/>
                </a:cubicBezTo>
                <a:cubicBezTo>
                  <a:pt x="1331267" y="656625"/>
                  <a:pt x="1333170" y="666179"/>
                  <a:pt x="1332604" y="675643"/>
                </a:cubicBezTo>
                <a:cubicBezTo>
                  <a:pt x="1333634" y="675643"/>
                  <a:pt x="1334665" y="675643"/>
                  <a:pt x="1335727" y="675643"/>
                </a:cubicBezTo>
                <a:cubicBezTo>
                  <a:pt x="1337571" y="680632"/>
                  <a:pt x="1337591" y="684795"/>
                  <a:pt x="1337741" y="690059"/>
                </a:cubicBezTo>
                <a:cubicBezTo>
                  <a:pt x="1337826" y="692114"/>
                  <a:pt x="1337913" y="694168"/>
                  <a:pt x="1338003" y="696222"/>
                </a:cubicBezTo>
                <a:cubicBezTo>
                  <a:pt x="1338142" y="699444"/>
                  <a:pt x="1338266" y="702664"/>
                  <a:pt x="1338340" y="705887"/>
                </a:cubicBezTo>
                <a:cubicBezTo>
                  <a:pt x="1338372" y="720474"/>
                  <a:pt x="1338372" y="720474"/>
                  <a:pt x="1345277" y="733245"/>
                </a:cubicBezTo>
                <a:cubicBezTo>
                  <a:pt x="1350822" y="737861"/>
                  <a:pt x="1355921" y="739823"/>
                  <a:pt x="1363162" y="741612"/>
                </a:cubicBezTo>
                <a:cubicBezTo>
                  <a:pt x="1370672" y="743533"/>
                  <a:pt x="1377197" y="745750"/>
                  <a:pt x="1384154" y="748922"/>
                </a:cubicBezTo>
                <a:cubicBezTo>
                  <a:pt x="1387833" y="749898"/>
                  <a:pt x="1387833" y="749898"/>
                  <a:pt x="1391476" y="750419"/>
                </a:cubicBezTo>
                <a:cubicBezTo>
                  <a:pt x="1393499" y="750747"/>
                  <a:pt x="1393499" y="750747"/>
                  <a:pt x="1395564" y="751080"/>
                </a:cubicBezTo>
                <a:cubicBezTo>
                  <a:pt x="1397648" y="751407"/>
                  <a:pt x="1397648" y="751407"/>
                  <a:pt x="1399775" y="751740"/>
                </a:cubicBezTo>
                <a:cubicBezTo>
                  <a:pt x="1401810" y="752111"/>
                  <a:pt x="1401810" y="752111"/>
                  <a:pt x="1403887" y="752489"/>
                </a:cubicBezTo>
                <a:cubicBezTo>
                  <a:pt x="1424247" y="756131"/>
                  <a:pt x="1444708" y="756350"/>
                  <a:pt x="1465383" y="755969"/>
                </a:cubicBezTo>
                <a:cubicBezTo>
                  <a:pt x="1467019" y="755945"/>
                  <a:pt x="1468654" y="755921"/>
                  <a:pt x="1470339" y="755897"/>
                </a:cubicBezTo>
                <a:cubicBezTo>
                  <a:pt x="1480128" y="755450"/>
                  <a:pt x="1487899" y="752933"/>
                  <a:pt x="1496809" y="749313"/>
                </a:cubicBezTo>
                <a:cubicBezTo>
                  <a:pt x="1502876" y="746888"/>
                  <a:pt x="1509049" y="745091"/>
                  <a:pt x="1515371" y="743285"/>
                </a:cubicBezTo>
                <a:cubicBezTo>
                  <a:pt x="1515371" y="742356"/>
                  <a:pt x="1515371" y="741425"/>
                  <a:pt x="1515371" y="740467"/>
                </a:cubicBezTo>
                <a:cubicBezTo>
                  <a:pt x="1522710" y="737103"/>
                  <a:pt x="1529583" y="737106"/>
                  <a:pt x="1537632" y="737120"/>
                </a:cubicBezTo>
                <a:cubicBezTo>
                  <a:pt x="1538960" y="737122"/>
                  <a:pt x="1540289" y="737124"/>
                  <a:pt x="1541657" y="737127"/>
                </a:cubicBezTo>
                <a:cubicBezTo>
                  <a:pt x="1555502" y="737372"/>
                  <a:pt x="1564314" y="740697"/>
                  <a:pt x="1574732" y="748922"/>
                </a:cubicBezTo>
                <a:cubicBezTo>
                  <a:pt x="1586507" y="762822"/>
                  <a:pt x="1590347" y="775219"/>
                  <a:pt x="1588791" y="792608"/>
                </a:cubicBezTo>
                <a:cubicBezTo>
                  <a:pt x="1587728" y="797050"/>
                  <a:pt x="1586468" y="801261"/>
                  <a:pt x="1584105" y="805291"/>
                </a:cubicBezTo>
                <a:cubicBezTo>
                  <a:pt x="1583074" y="805756"/>
                  <a:pt x="1582043" y="806221"/>
                  <a:pt x="1580981" y="806700"/>
                </a:cubicBezTo>
                <a:cubicBezTo>
                  <a:pt x="1580240" y="807892"/>
                  <a:pt x="1579499" y="809083"/>
                  <a:pt x="1578735" y="810311"/>
                </a:cubicBezTo>
                <a:cubicBezTo>
                  <a:pt x="1577930" y="811445"/>
                  <a:pt x="1577124" y="812579"/>
                  <a:pt x="1576295" y="813746"/>
                </a:cubicBezTo>
                <a:lnTo>
                  <a:pt x="1571652" y="813746"/>
                </a:lnTo>
                <a:lnTo>
                  <a:pt x="1571785" y="814106"/>
                </a:lnTo>
                <a:cubicBezTo>
                  <a:pt x="1572816" y="814571"/>
                  <a:pt x="1573846" y="815036"/>
                  <a:pt x="1574909" y="815515"/>
                </a:cubicBezTo>
                <a:cubicBezTo>
                  <a:pt x="1572126" y="818758"/>
                  <a:pt x="1569968" y="820871"/>
                  <a:pt x="1565463" y="821839"/>
                </a:cubicBezTo>
                <a:lnTo>
                  <a:pt x="1562085" y="822101"/>
                </a:lnTo>
                <a:lnTo>
                  <a:pt x="1551301" y="825020"/>
                </a:lnTo>
                <a:cubicBezTo>
                  <a:pt x="1551301" y="825950"/>
                  <a:pt x="1551301" y="826880"/>
                  <a:pt x="1551301" y="827838"/>
                </a:cubicBezTo>
                <a:cubicBezTo>
                  <a:pt x="1526697" y="828735"/>
                  <a:pt x="1507496" y="825036"/>
                  <a:pt x="1485380" y="815007"/>
                </a:cubicBezTo>
                <a:cubicBezTo>
                  <a:pt x="1468723" y="807743"/>
                  <a:pt x="1449749" y="809144"/>
                  <a:pt x="1431603" y="808726"/>
                </a:cubicBezTo>
                <a:cubicBezTo>
                  <a:pt x="1429115" y="808665"/>
                  <a:pt x="1426627" y="808604"/>
                  <a:pt x="1424140" y="808542"/>
                </a:cubicBezTo>
                <a:cubicBezTo>
                  <a:pt x="1418101" y="808392"/>
                  <a:pt x="1412062" y="808249"/>
                  <a:pt x="1406023" y="808109"/>
                </a:cubicBezTo>
                <a:cubicBezTo>
                  <a:pt x="1406023" y="809040"/>
                  <a:pt x="1406023" y="809970"/>
                  <a:pt x="1406023" y="810928"/>
                </a:cubicBezTo>
                <a:cubicBezTo>
                  <a:pt x="1404716" y="811118"/>
                  <a:pt x="1404716" y="811118"/>
                  <a:pt x="1403383" y="811311"/>
                </a:cubicBezTo>
                <a:cubicBezTo>
                  <a:pt x="1372054" y="815110"/>
                  <a:pt x="1372054" y="815110"/>
                  <a:pt x="1345442" y="828907"/>
                </a:cubicBezTo>
                <a:cubicBezTo>
                  <a:pt x="1338843" y="837605"/>
                  <a:pt x="1338313" y="846434"/>
                  <a:pt x="1337875" y="856639"/>
                </a:cubicBezTo>
                <a:cubicBezTo>
                  <a:pt x="1337815" y="857805"/>
                  <a:pt x="1337754" y="858970"/>
                  <a:pt x="1337692" y="860171"/>
                </a:cubicBezTo>
                <a:cubicBezTo>
                  <a:pt x="1337547" y="863016"/>
                  <a:pt x="1337417" y="865861"/>
                  <a:pt x="1337290" y="868706"/>
                </a:cubicBezTo>
                <a:cubicBezTo>
                  <a:pt x="1336258" y="868706"/>
                  <a:pt x="1335228" y="868706"/>
                  <a:pt x="1334165" y="868706"/>
                </a:cubicBezTo>
                <a:lnTo>
                  <a:pt x="1334165" y="870034"/>
                </a:lnTo>
                <a:lnTo>
                  <a:pt x="1334237" y="869093"/>
                </a:lnTo>
                <a:cubicBezTo>
                  <a:pt x="1334753" y="869093"/>
                  <a:pt x="1335268" y="869093"/>
                  <a:pt x="1335800" y="869093"/>
                </a:cubicBezTo>
                <a:cubicBezTo>
                  <a:pt x="1335884" y="871559"/>
                  <a:pt x="1335944" y="874025"/>
                  <a:pt x="1335995" y="876491"/>
                </a:cubicBezTo>
                <a:cubicBezTo>
                  <a:pt x="1336030" y="877865"/>
                  <a:pt x="1336067" y="879238"/>
                  <a:pt x="1336105" y="880653"/>
                </a:cubicBezTo>
                <a:cubicBezTo>
                  <a:pt x="1335800" y="884594"/>
                  <a:pt x="1335800" y="884594"/>
                  <a:pt x="1334294" y="887271"/>
                </a:cubicBezTo>
                <a:cubicBezTo>
                  <a:pt x="1332567" y="890428"/>
                  <a:pt x="1331982" y="892964"/>
                  <a:pt x="1331455" y="896440"/>
                </a:cubicBezTo>
                <a:cubicBezTo>
                  <a:pt x="1331267" y="897605"/>
                  <a:pt x="1331080" y="898769"/>
                  <a:pt x="1330887" y="899969"/>
                </a:cubicBezTo>
                <a:cubicBezTo>
                  <a:pt x="1330704" y="901174"/>
                  <a:pt x="1330521" y="902378"/>
                  <a:pt x="1330332" y="903618"/>
                </a:cubicBezTo>
                <a:cubicBezTo>
                  <a:pt x="1329968" y="906013"/>
                  <a:pt x="1329594" y="908405"/>
                  <a:pt x="1329209" y="910797"/>
                </a:cubicBezTo>
                <a:cubicBezTo>
                  <a:pt x="1329049" y="911853"/>
                  <a:pt x="1328889" y="912910"/>
                  <a:pt x="1328724" y="913998"/>
                </a:cubicBezTo>
                <a:cubicBezTo>
                  <a:pt x="1327933" y="917233"/>
                  <a:pt x="1326525" y="919703"/>
                  <a:pt x="1324865" y="922643"/>
                </a:cubicBezTo>
                <a:cubicBezTo>
                  <a:pt x="1323924" y="927743"/>
                  <a:pt x="1323282" y="932845"/>
                  <a:pt x="1322619" y="937979"/>
                </a:cubicBezTo>
                <a:lnTo>
                  <a:pt x="1318744" y="944961"/>
                </a:lnTo>
                <a:lnTo>
                  <a:pt x="1318544" y="946213"/>
                </a:lnTo>
                <a:cubicBezTo>
                  <a:pt x="1318360" y="949234"/>
                  <a:pt x="1318271" y="952260"/>
                  <a:pt x="1318251" y="955285"/>
                </a:cubicBezTo>
                <a:cubicBezTo>
                  <a:pt x="1318218" y="957637"/>
                  <a:pt x="1318218" y="957637"/>
                  <a:pt x="1318184" y="960036"/>
                </a:cubicBezTo>
                <a:cubicBezTo>
                  <a:pt x="1318624" y="965530"/>
                  <a:pt x="1319569" y="969724"/>
                  <a:pt x="1324024" y="973660"/>
                </a:cubicBezTo>
                <a:cubicBezTo>
                  <a:pt x="1327197" y="976583"/>
                  <a:pt x="1327950" y="979494"/>
                  <a:pt x="1329284" y="983382"/>
                </a:cubicBezTo>
                <a:cubicBezTo>
                  <a:pt x="1331875" y="990106"/>
                  <a:pt x="1334445" y="993582"/>
                  <a:pt x="1340414" y="998354"/>
                </a:cubicBezTo>
                <a:cubicBezTo>
                  <a:pt x="1342397" y="1000564"/>
                  <a:pt x="1344347" y="1002798"/>
                  <a:pt x="1346272" y="1005048"/>
                </a:cubicBezTo>
                <a:cubicBezTo>
                  <a:pt x="1360055" y="1020713"/>
                  <a:pt x="1376247" y="1031879"/>
                  <a:pt x="1394716" y="1042740"/>
                </a:cubicBezTo>
                <a:cubicBezTo>
                  <a:pt x="1397172" y="1044228"/>
                  <a:pt x="1399581" y="1045779"/>
                  <a:pt x="1401953" y="1047374"/>
                </a:cubicBezTo>
                <a:cubicBezTo>
                  <a:pt x="1410065" y="1052802"/>
                  <a:pt x="1417529" y="1056366"/>
                  <a:pt x="1427197" y="1059061"/>
                </a:cubicBezTo>
                <a:cubicBezTo>
                  <a:pt x="1431243" y="1060437"/>
                  <a:pt x="1434061" y="1061979"/>
                  <a:pt x="1437265" y="1064588"/>
                </a:cubicBezTo>
                <a:cubicBezTo>
                  <a:pt x="1437265" y="1065518"/>
                  <a:pt x="1437265" y="1066448"/>
                  <a:pt x="1437265" y="1067406"/>
                </a:cubicBezTo>
                <a:cubicBezTo>
                  <a:pt x="1439053" y="1067624"/>
                  <a:pt x="1439053" y="1067624"/>
                  <a:pt x="1440878" y="1067847"/>
                </a:cubicBezTo>
                <a:cubicBezTo>
                  <a:pt x="1445076" y="1068815"/>
                  <a:pt x="1445076" y="1068815"/>
                  <a:pt x="1447175" y="1070753"/>
                </a:cubicBezTo>
                <a:cubicBezTo>
                  <a:pt x="1450417" y="1073622"/>
                  <a:pt x="1453781" y="1075060"/>
                  <a:pt x="1457866" y="1076830"/>
                </a:cubicBezTo>
                <a:cubicBezTo>
                  <a:pt x="1459274" y="1077446"/>
                  <a:pt x="1460681" y="1078062"/>
                  <a:pt x="1462132" y="1078696"/>
                </a:cubicBezTo>
                <a:cubicBezTo>
                  <a:pt x="1463204" y="1079156"/>
                  <a:pt x="1464278" y="1079616"/>
                  <a:pt x="1465383" y="1080089"/>
                </a:cubicBezTo>
                <a:cubicBezTo>
                  <a:pt x="1465383" y="1081019"/>
                  <a:pt x="1465383" y="1081949"/>
                  <a:pt x="1465383" y="1082908"/>
                </a:cubicBezTo>
                <a:cubicBezTo>
                  <a:pt x="1466497" y="1083260"/>
                  <a:pt x="1467611" y="1083612"/>
                  <a:pt x="1468758" y="1083975"/>
                </a:cubicBezTo>
                <a:cubicBezTo>
                  <a:pt x="1473648" y="1085905"/>
                  <a:pt x="1477426" y="1088296"/>
                  <a:pt x="1481688" y="1091187"/>
                </a:cubicBezTo>
                <a:cubicBezTo>
                  <a:pt x="1483204" y="1092193"/>
                  <a:pt x="1484721" y="1093200"/>
                  <a:pt x="1486283" y="1094236"/>
                </a:cubicBezTo>
                <a:cubicBezTo>
                  <a:pt x="1489170" y="1096185"/>
                  <a:pt x="1492029" y="1098166"/>
                  <a:pt x="1494869" y="1100171"/>
                </a:cubicBezTo>
                <a:cubicBezTo>
                  <a:pt x="1510181" y="1107906"/>
                  <a:pt x="1527080" y="1109898"/>
                  <a:pt x="1544335" y="1109518"/>
                </a:cubicBezTo>
                <a:cubicBezTo>
                  <a:pt x="1579932" y="1108798"/>
                  <a:pt x="1579932" y="1108798"/>
                  <a:pt x="1593477" y="1119900"/>
                </a:cubicBezTo>
                <a:cubicBezTo>
                  <a:pt x="1600636" y="1127255"/>
                  <a:pt x="1604889" y="1135120"/>
                  <a:pt x="1605975" y="1144913"/>
                </a:cubicBezTo>
                <a:cubicBezTo>
                  <a:pt x="1607006" y="1144913"/>
                  <a:pt x="1608036" y="1144913"/>
                  <a:pt x="1609099" y="1144913"/>
                </a:cubicBezTo>
                <a:cubicBezTo>
                  <a:pt x="1609227" y="1148907"/>
                  <a:pt x="1609319" y="1152897"/>
                  <a:pt x="1609392" y="1156892"/>
                </a:cubicBezTo>
                <a:cubicBezTo>
                  <a:pt x="1609451" y="1158565"/>
                  <a:pt x="1609451" y="1158565"/>
                  <a:pt x="1609511" y="1160272"/>
                </a:cubicBezTo>
                <a:cubicBezTo>
                  <a:pt x="1609621" y="1168378"/>
                  <a:pt x="1607970" y="1174108"/>
                  <a:pt x="1604412" y="1181553"/>
                </a:cubicBezTo>
                <a:cubicBezTo>
                  <a:pt x="1603354" y="1184367"/>
                  <a:pt x="1602306" y="1187183"/>
                  <a:pt x="1601288" y="1190009"/>
                </a:cubicBezTo>
                <a:cubicBezTo>
                  <a:pt x="1600257" y="1190009"/>
                  <a:pt x="1599226" y="1190009"/>
                  <a:pt x="1598164" y="1190009"/>
                </a:cubicBezTo>
                <a:cubicBezTo>
                  <a:pt x="1597842" y="1190910"/>
                  <a:pt x="1597520" y="1191810"/>
                  <a:pt x="1597187" y="1192739"/>
                </a:cubicBezTo>
                <a:cubicBezTo>
                  <a:pt x="1596479" y="1193698"/>
                  <a:pt x="1595770" y="1194657"/>
                  <a:pt x="1595040" y="1195645"/>
                </a:cubicBezTo>
                <a:cubicBezTo>
                  <a:pt x="1591916" y="1196115"/>
                  <a:pt x="1588791" y="1196585"/>
                  <a:pt x="1585667" y="1197055"/>
                </a:cubicBezTo>
                <a:cubicBezTo>
                  <a:pt x="1583871" y="1199826"/>
                  <a:pt x="1583871" y="1199826"/>
                  <a:pt x="1582543" y="1202691"/>
                </a:cubicBezTo>
                <a:cubicBezTo>
                  <a:pt x="1575997" y="1204710"/>
                  <a:pt x="1569266" y="1204360"/>
                  <a:pt x="1562431" y="1204365"/>
                </a:cubicBezTo>
                <a:cubicBezTo>
                  <a:pt x="1561196" y="1204382"/>
                  <a:pt x="1559962" y="1204399"/>
                  <a:pt x="1558690" y="1204417"/>
                </a:cubicBezTo>
                <a:cubicBezTo>
                  <a:pt x="1543339" y="1204452"/>
                  <a:pt x="1531981" y="1199267"/>
                  <a:pt x="1521102" y="1189585"/>
                </a:cubicBezTo>
                <a:cubicBezTo>
                  <a:pt x="1515403" y="1183953"/>
                  <a:pt x="1510116" y="1178123"/>
                  <a:pt x="1505022" y="1172041"/>
                </a:cubicBezTo>
                <a:cubicBezTo>
                  <a:pt x="1493200" y="1158177"/>
                  <a:pt x="1475492" y="1147115"/>
                  <a:pt x="1457573" y="1140686"/>
                </a:cubicBezTo>
                <a:cubicBezTo>
                  <a:pt x="1457573" y="1139755"/>
                  <a:pt x="1457573" y="1138826"/>
                  <a:pt x="1457573" y="1137867"/>
                </a:cubicBezTo>
                <a:cubicBezTo>
                  <a:pt x="1456059" y="1137693"/>
                  <a:pt x="1454544" y="1137518"/>
                  <a:pt x="1452985" y="1137339"/>
                </a:cubicBezTo>
                <a:cubicBezTo>
                  <a:pt x="1451406" y="1137048"/>
                  <a:pt x="1449827" y="1136758"/>
                  <a:pt x="1448200" y="1136458"/>
                </a:cubicBezTo>
                <a:cubicBezTo>
                  <a:pt x="1447685" y="1135528"/>
                  <a:pt x="1447169" y="1134598"/>
                  <a:pt x="1446638" y="1133640"/>
                </a:cubicBezTo>
                <a:cubicBezTo>
                  <a:pt x="1444091" y="1132586"/>
                  <a:pt x="1441535" y="1131550"/>
                  <a:pt x="1438937" y="1130601"/>
                </a:cubicBezTo>
                <a:cubicBezTo>
                  <a:pt x="1435668" y="1129399"/>
                  <a:pt x="1432469" y="1128095"/>
                  <a:pt x="1429260" y="1126770"/>
                </a:cubicBezTo>
                <a:cubicBezTo>
                  <a:pt x="1423389" y="1124389"/>
                  <a:pt x="1417431" y="1122349"/>
                  <a:pt x="1411393" y="1120340"/>
                </a:cubicBezTo>
                <a:cubicBezTo>
                  <a:pt x="1404143" y="1117867"/>
                  <a:pt x="1397842" y="1115090"/>
                  <a:pt x="1391427" y="1111191"/>
                </a:cubicBezTo>
                <a:cubicBezTo>
                  <a:pt x="1388139" y="1109274"/>
                  <a:pt x="1384723" y="1108010"/>
                  <a:pt x="1381029" y="1106865"/>
                </a:cubicBezTo>
                <a:cubicBezTo>
                  <a:pt x="1381029" y="1105934"/>
                  <a:pt x="1381029" y="1105004"/>
                  <a:pt x="1381029" y="1104046"/>
                </a:cubicBezTo>
                <a:cubicBezTo>
                  <a:pt x="1379773" y="1103901"/>
                  <a:pt x="1378516" y="1103755"/>
                  <a:pt x="1377221" y="1103605"/>
                </a:cubicBezTo>
                <a:cubicBezTo>
                  <a:pt x="1370425" y="1102422"/>
                  <a:pt x="1364120" y="1100465"/>
                  <a:pt x="1357597" y="1098409"/>
                </a:cubicBezTo>
                <a:cubicBezTo>
                  <a:pt x="1355761" y="1097857"/>
                  <a:pt x="1353924" y="1097304"/>
                  <a:pt x="1352032" y="1096736"/>
                </a:cubicBezTo>
                <a:cubicBezTo>
                  <a:pt x="1350776" y="1096358"/>
                  <a:pt x="1349519" y="1095980"/>
                  <a:pt x="1348225" y="1095590"/>
                </a:cubicBezTo>
                <a:cubicBezTo>
                  <a:pt x="1348225" y="1094661"/>
                  <a:pt x="1348225" y="1093730"/>
                  <a:pt x="1348225" y="1092772"/>
                </a:cubicBezTo>
                <a:cubicBezTo>
                  <a:pt x="1344616" y="1092307"/>
                  <a:pt x="1341007" y="1091842"/>
                  <a:pt x="1337290" y="1091363"/>
                </a:cubicBezTo>
                <a:cubicBezTo>
                  <a:pt x="1337290" y="1090433"/>
                  <a:pt x="1337290" y="1089503"/>
                  <a:pt x="1337290" y="1088544"/>
                </a:cubicBezTo>
                <a:cubicBezTo>
                  <a:pt x="1334438" y="1088327"/>
                  <a:pt x="1334438" y="1088327"/>
                  <a:pt x="1331529" y="1088104"/>
                </a:cubicBezTo>
                <a:lnTo>
                  <a:pt x="1323297" y="1086611"/>
                </a:lnTo>
                <a:lnTo>
                  <a:pt x="1323297" y="1087618"/>
                </a:lnTo>
                <a:cubicBezTo>
                  <a:pt x="1322139" y="1087517"/>
                  <a:pt x="1320982" y="1087415"/>
                  <a:pt x="1319789" y="1087310"/>
                </a:cubicBezTo>
                <a:cubicBezTo>
                  <a:pt x="1300429" y="1085771"/>
                  <a:pt x="1281330" y="1084680"/>
                  <a:pt x="1262375" y="1089028"/>
                </a:cubicBezTo>
                <a:lnTo>
                  <a:pt x="1258728" y="1088205"/>
                </a:lnTo>
                <a:lnTo>
                  <a:pt x="1246964" y="1091489"/>
                </a:lnTo>
                <a:cubicBezTo>
                  <a:pt x="1237239" y="1097222"/>
                  <a:pt x="1228703" y="1103434"/>
                  <a:pt x="1223224" y="1112865"/>
                </a:cubicBezTo>
                <a:cubicBezTo>
                  <a:pt x="1220867" y="1116643"/>
                  <a:pt x="1217262" y="1119317"/>
                  <a:pt x="1213883" y="1122366"/>
                </a:cubicBezTo>
                <a:cubicBezTo>
                  <a:pt x="1213428" y="1123469"/>
                  <a:pt x="1212973" y="1124572"/>
                  <a:pt x="1212505" y="1125708"/>
                </a:cubicBezTo>
                <a:cubicBezTo>
                  <a:pt x="1210449" y="1130067"/>
                  <a:pt x="1207984" y="1132315"/>
                  <a:pt x="1204180" y="1135561"/>
                </a:cubicBezTo>
                <a:cubicBezTo>
                  <a:pt x="1202879" y="1136695"/>
                  <a:pt x="1201578" y="1137829"/>
                  <a:pt x="1200238" y="1138999"/>
                </a:cubicBezTo>
                <a:cubicBezTo>
                  <a:pt x="1197504" y="1141343"/>
                  <a:pt x="1194765" y="1143684"/>
                  <a:pt x="1192025" y="1146022"/>
                </a:cubicBezTo>
                <a:cubicBezTo>
                  <a:pt x="1181899" y="1154869"/>
                  <a:pt x="1174983" y="1161763"/>
                  <a:pt x="1173945" y="1174749"/>
                </a:cubicBezTo>
                <a:cubicBezTo>
                  <a:pt x="1173902" y="1177369"/>
                  <a:pt x="1173905" y="1179990"/>
                  <a:pt x="1173950" y="1182610"/>
                </a:cubicBezTo>
                <a:cubicBezTo>
                  <a:pt x="1173963" y="1183981"/>
                  <a:pt x="1173975" y="1185352"/>
                  <a:pt x="1173989" y="1186765"/>
                </a:cubicBezTo>
                <a:cubicBezTo>
                  <a:pt x="1174321" y="1197573"/>
                  <a:pt x="1176809" y="1205883"/>
                  <a:pt x="1182640" y="1215374"/>
                </a:cubicBezTo>
                <a:cubicBezTo>
                  <a:pt x="1183703" y="1217509"/>
                  <a:pt x="1184746" y="1219652"/>
                  <a:pt x="1185764" y="1221804"/>
                </a:cubicBezTo>
                <a:cubicBezTo>
                  <a:pt x="1186271" y="1222812"/>
                  <a:pt x="1186779" y="1223821"/>
                  <a:pt x="1187301" y="1224859"/>
                </a:cubicBezTo>
                <a:cubicBezTo>
                  <a:pt x="1188431" y="1227137"/>
                  <a:pt x="1189517" y="1229433"/>
                  <a:pt x="1190573" y="1231740"/>
                </a:cubicBezTo>
                <a:cubicBezTo>
                  <a:pt x="1194650" y="1240409"/>
                  <a:pt x="1199581" y="1247688"/>
                  <a:pt x="1205925" y="1255163"/>
                </a:cubicBezTo>
                <a:cubicBezTo>
                  <a:pt x="1208103" y="1257757"/>
                  <a:pt x="1210188" y="1260417"/>
                  <a:pt x="1212174" y="1263134"/>
                </a:cubicBezTo>
                <a:cubicBezTo>
                  <a:pt x="1218757" y="1272043"/>
                  <a:pt x="1225157" y="1277324"/>
                  <a:pt x="1235556" y="1282538"/>
                </a:cubicBezTo>
                <a:cubicBezTo>
                  <a:pt x="1236652" y="1283161"/>
                  <a:pt x="1237747" y="1283784"/>
                  <a:pt x="1238876" y="1284426"/>
                </a:cubicBezTo>
                <a:cubicBezTo>
                  <a:pt x="1238876" y="1285356"/>
                  <a:pt x="1238876" y="1286287"/>
                  <a:pt x="1238876" y="1287245"/>
                </a:cubicBezTo>
                <a:cubicBezTo>
                  <a:pt x="1239988" y="1287383"/>
                  <a:pt x="1241099" y="1287521"/>
                  <a:pt x="1242245" y="1287663"/>
                </a:cubicBezTo>
                <a:cubicBezTo>
                  <a:pt x="1253043" y="1290072"/>
                  <a:pt x="1264916" y="1297690"/>
                  <a:pt x="1271681" y="1305565"/>
                </a:cubicBezTo>
                <a:lnTo>
                  <a:pt x="1271742" y="1306172"/>
                </a:lnTo>
                <a:lnTo>
                  <a:pt x="1278525" y="1315767"/>
                </a:lnTo>
                <a:cubicBezTo>
                  <a:pt x="1279797" y="1319398"/>
                  <a:pt x="1280365" y="1323346"/>
                  <a:pt x="1281097" y="1327286"/>
                </a:cubicBezTo>
                <a:cubicBezTo>
                  <a:pt x="1281916" y="1337121"/>
                  <a:pt x="1281807" y="1346176"/>
                  <a:pt x="1277973" y="1355470"/>
                </a:cubicBezTo>
                <a:lnTo>
                  <a:pt x="1277460" y="1347025"/>
                </a:lnTo>
                <a:lnTo>
                  <a:pt x="1273531" y="1357991"/>
                </a:lnTo>
                <a:cubicBezTo>
                  <a:pt x="1270940" y="1361892"/>
                  <a:pt x="1267521" y="1365435"/>
                  <a:pt x="1263870" y="1368980"/>
                </a:cubicBezTo>
                <a:cubicBezTo>
                  <a:pt x="1258351" y="1372929"/>
                  <a:pt x="1253850" y="1376026"/>
                  <a:pt x="1246686" y="1376026"/>
                </a:cubicBezTo>
                <a:cubicBezTo>
                  <a:pt x="1246686" y="1376956"/>
                  <a:pt x="1246686" y="1377886"/>
                  <a:pt x="1246686" y="1378844"/>
                </a:cubicBezTo>
                <a:cubicBezTo>
                  <a:pt x="1241676" y="1379009"/>
                  <a:pt x="1236665" y="1379109"/>
                  <a:pt x="1231651" y="1379196"/>
                </a:cubicBezTo>
                <a:cubicBezTo>
                  <a:pt x="1230240" y="1379244"/>
                  <a:pt x="1228828" y="1379291"/>
                  <a:pt x="1227373" y="1379340"/>
                </a:cubicBezTo>
                <a:cubicBezTo>
                  <a:pt x="1218287" y="1379460"/>
                  <a:pt x="1213363" y="1378568"/>
                  <a:pt x="1206071" y="1373207"/>
                </a:cubicBezTo>
                <a:cubicBezTo>
                  <a:pt x="1204751" y="1372742"/>
                  <a:pt x="1203430" y="1372277"/>
                  <a:pt x="1202069" y="1371798"/>
                </a:cubicBezTo>
                <a:cubicBezTo>
                  <a:pt x="1193777" y="1368730"/>
                  <a:pt x="1188124" y="1363294"/>
                  <a:pt x="1184104" y="1356176"/>
                </a:cubicBezTo>
                <a:cubicBezTo>
                  <a:pt x="1180965" y="1349259"/>
                  <a:pt x="1178852" y="1342590"/>
                  <a:pt x="1177270" y="1335247"/>
                </a:cubicBezTo>
                <a:cubicBezTo>
                  <a:pt x="1175525" y="1327352"/>
                  <a:pt x="1172911" y="1320677"/>
                  <a:pt x="1169002" y="1313464"/>
                </a:cubicBezTo>
                <a:cubicBezTo>
                  <a:pt x="1166989" y="1309737"/>
                  <a:pt x="1165215" y="1305976"/>
                  <a:pt x="1163504" y="1302130"/>
                </a:cubicBezTo>
                <a:cubicBezTo>
                  <a:pt x="1163013" y="1301027"/>
                  <a:pt x="1162521" y="1299924"/>
                  <a:pt x="1162015" y="1298788"/>
                </a:cubicBezTo>
                <a:cubicBezTo>
                  <a:pt x="1160770" y="1295700"/>
                  <a:pt x="1160770" y="1295700"/>
                  <a:pt x="1160111" y="1292656"/>
                </a:cubicBezTo>
                <a:cubicBezTo>
                  <a:pt x="1159345" y="1289507"/>
                  <a:pt x="1159345" y="1289507"/>
                  <a:pt x="1154522" y="1287245"/>
                </a:cubicBezTo>
                <a:cubicBezTo>
                  <a:pt x="1153465" y="1284902"/>
                  <a:pt x="1152426" y="1282552"/>
                  <a:pt x="1151398" y="1280199"/>
                </a:cubicBezTo>
                <a:cubicBezTo>
                  <a:pt x="1149056" y="1276983"/>
                  <a:pt x="1146686" y="1273874"/>
                  <a:pt x="1144173" y="1270774"/>
                </a:cubicBezTo>
                <a:cubicBezTo>
                  <a:pt x="1143477" y="1269912"/>
                  <a:pt x="1142782" y="1269049"/>
                  <a:pt x="1142065" y="1268160"/>
                </a:cubicBezTo>
                <a:cubicBezTo>
                  <a:pt x="1139981" y="1265589"/>
                  <a:pt x="1137880" y="1263029"/>
                  <a:pt x="1135776" y="1260470"/>
                </a:cubicBezTo>
                <a:cubicBezTo>
                  <a:pt x="1134647" y="1259076"/>
                  <a:pt x="1133517" y="1257683"/>
                  <a:pt x="1132353" y="1256247"/>
                </a:cubicBezTo>
                <a:cubicBezTo>
                  <a:pt x="1126291" y="1249045"/>
                  <a:pt x="1121408" y="1244606"/>
                  <a:pt x="1112344" y="1240741"/>
                </a:cubicBezTo>
                <a:cubicBezTo>
                  <a:pt x="1110285" y="1239698"/>
                  <a:pt x="1108234" y="1238642"/>
                  <a:pt x="1106193" y="1237570"/>
                </a:cubicBezTo>
                <a:cubicBezTo>
                  <a:pt x="1104615" y="1236756"/>
                  <a:pt x="1103036" y="1235942"/>
                  <a:pt x="1101409" y="1235104"/>
                </a:cubicBezTo>
                <a:cubicBezTo>
                  <a:pt x="1101409" y="1233708"/>
                  <a:pt x="1101409" y="1232313"/>
                  <a:pt x="1101409" y="1230876"/>
                </a:cubicBezTo>
                <a:cubicBezTo>
                  <a:pt x="1089553" y="1230876"/>
                  <a:pt x="1077697" y="1230876"/>
                  <a:pt x="1065480" y="1230876"/>
                </a:cubicBezTo>
                <a:cubicBezTo>
                  <a:pt x="1064965" y="1232271"/>
                  <a:pt x="1064450" y="1233666"/>
                  <a:pt x="1063919" y="1235104"/>
                </a:cubicBezTo>
                <a:cubicBezTo>
                  <a:pt x="1062372" y="1235104"/>
                  <a:pt x="1060826" y="1235104"/>
                  <a:pt x="1059232" y="1235104"/>
                </a:cubicBezTo>
                <a:cubicBezTo>
                  <a:pt x="1059232" y="1236033"/>
                  <a:pt x="1059232" y="1236964"/>
                  <a:pt x="1059232" y="1237922"/>
                </a:cubicBezTo>
                <a:cubicBezTo>
                  <a:pt x="1052964" y="1240850"/>
                  <a:pt x="1046842" y="1243613"/>
                  <a:pt x="1040194" y="1245761"/>
                </a:cubicBezTo>
                <a:cubicBezTo>
                  <a:pt x="1036552" y="1246941"/>
                  <a:pt x="1033682" y="1248088"/>
                  <a:pt x="1030333" y="1249901"/>
                </a:cubicBezTo>
                <a:cubicBezTo>
                  <a:pt x="1025129" y="1252717"/>
                  <a:pt x="1019615" y="1254371"/>
                  <a:pt x="1013931" y="1256242"/>
                </a:cubicBezTo>
                <a:cubicBezTo>
                  <a:pt x="1009870" y="1257688"/>
                  <a:pt x="1008221" y="1258277"/>
                  <a:pt x="1005925" y="1261615"/>
                </a:cubicBezTo>
                <a:cubicBezTo>
                  <a:pt x="1005474" y="1262632"/>
                  <a:pt x="1005023" y="1263649"/>
                  <a:pt x="1004558" y="1264697"/>
                </a:cubicBezTo>
                <a:cubicBezTo>
                  <a:pt x="1004030" y="1265774"/>
                  <a:pt x="1003503" y="1266852"/>
                  <a:pt x="1002959" y="1267961"/>
                </a:cubicBezTo>
                <a:cubicBezTo>
                  <a:pt x="1001408" y="1271808"/>
                  <a:pt x="1000922" y="1274896"/>
                  <a:pt x="1000653" y="1278965"/>
                </a:cubicBezTo>
                <a:cubicBezTo>
                  <a:pt x="1000303" y="1284158"/>
                  <a:pt x="999467" y="1289055"/>
                  <a:pt x="998297" y="1294137"/>
                </a:cubicBezTo>
                <a:cubicBezTo>
                  <a:pt x="996204" y="1304306"/>
                  <a:pt x="996129" y="1314460"/>
                  <a:pt x="996162" y="1324765"/>
                </a:cubicBezTo>
                <a:cubicBezTo>
                  <a:pt x="996163" y="1325782"/>
                  <a:pt x="996163" y="1326799"/>
                  <a:pt x="996164" y="1327846"/>
                </a:cubicBezTo>
                <a:cubicBezTo>
                  <a:pt x="996263" y="1353742"/>
                  <a:pt x="1001081" y="1378188"/>
                  <a:pt x="1007780" y="1403329"/>
                </a:cubicBezTo>
                <a:cubicBezTo>
                  <a:pt x="1008163" y="1404772"/>
                  <a:pt x="1008546" y="1406215"/>
                  <a:pt x="1008940" y="1407701"/>
                </a:cubicBezTo>
                <a:cubicBezTo>
                  <a:pt x="1009316" y="1409030"/>
                  <a:pt x="1009693" y="1410360"/>
                  <a:pt x="1010080" y="1411730"/>
                </a:cubicBezTo>
                <a:cubicBezTo>
                  <a:pt x="1010409" y="1412900"/>
                  <a:pt x="1010737" y="1414071"/>
                  <a:pt x="1011075" y="1415277"/>
                </a:cubicBezTo>
                <a:cubicBezTo>
                  <a:pt x="1012501" y="1418612"/>
                  <a:pt x="1014136" y="1420168"/>
                  <a:pt x="1017055" y="1422530"/>
                </a:cubicBezTo>
                <a:cubicBezTo>
                  <a:pt x="1018770" y="1425162"/>
                  <a:pt x="1018770" y="1425162"/>
                  <a:pt x="1020277" y="1427991"/>
                </a:cubicBezTo>
                <a:cubicBezTo>
                  <a:pt x="1020778" y="1428917"/>
                  <a:pt x="1021280" y="1429844"/>
                  <a:pt x="1021796" y="1430798"/>
                </a:cubicBezTo>
                <a:cubicBezTo>
                  <a:pt x="1023303" y="1433804"/>
                  <a:pt x="1023303" y="1433804"/>
                  <a:pt x="1024579" y="1437239"/>
                </a:cubicBezTo>
                <a:cubicBezTo>
                  <a:pt x="1026915" y="1441803"/>
                  <a:pt x="1030098" y="1444534"/>
                  <a:pt x="1034043" y="1448072"/>
                </a:cubicBezTo>
                <a:lnTo>
                  <a:pt x="1043782" y="1464320"/>
                </a:lnTo>
                <a:lnTo>
                  <a:pt x="1050458" y="1472189"/>
                </a:lnTo>
                <a:cubicBezTo>
                  <a:pt x="1051737" y="1475181"/>
                  <a:pt x="1052277" y="1478513"/>
                  <a:pt x="1052926" y="1482370"/>
                </a:cubicBezTo>
                <a:cubicBezTo>
                  <a:pt x="1053325" y="1487224"/>
                  <a:pt x="1053364" y="1492038"/>
                  <a:pt x="1053316" y="1496903"/>
                </a:cubicBezTo>
                <a:cubicBezTo>
                  <a:pt x="1053328" y="1498142"/>
                  <a:pt x="1053340" y="1499382"/>
                  <a:pt x="1053352" y="1500660"/>
                </a:cubicBezTo>
                <a:cubicBezTo>
                  <a:pt x="1053348" y="1501856"/>
                  <a:pt x="1053344" y="1503052"/>
                  <a:pt x="1053341" y="1504285"/>
                </a:cubicBezTo>
                <a:cubicBezTo>
                  <a:pt x="1053336" y="1505355"/>
                  <a:pt x="1053333" y="1506426"/>
                  <a:pt x="1053329" y="1507529"/>
                </a:cubicBezTo>
                <a:cubicBezTo>
                  <a:pt x="1052876" y="1510927"/>
                  <a:pt x="1051672" y="1513237"/>
                  <a:pt x="1049801" y="1516192"/>
                </a:cubicBezTo>
                <a:lnTo>
                  <a:pt x="1047312" y="1516192"/>
                </a:lnTo>
                <a:lnTo>
                  <a:pt x="1043611" y="1522585"/>
                </a:lnTo>
                <a:cubicBezTo>
                  <a:pt x="1035301" y="1529631"/>
                  <a:pt x="1035301" y="1529631"/>
                  <a:pt x="1029552" y="1529631"/>
                </a:cubicBezTo>
                <a:cubicBezTo>
                  <a:pt x="1029294" y="1530503"/>
                  <a:pt x="1029036" y="1531375"/>
                  <a:pt x="1028771" y="1532273"/>
                </a:cubicBezTo>
                <a:cubicBezTo>
                  <a:pt x="1025795" y="1536076"/>
                  <a:pt x="1022970" y="1536733"/>
                  <a:pt x="1018013" y="1537640"/>
                </a:cubicBezTo>
                <a:cubicBezTo>
                  <a:pt x="1005216" y="1539038"/>
                  <a:pt x="992573" y="1539816"/>
                  <a:pt x="981126" y="1533859"/>
                </a:cubicBezTo>
                <a:cubicBezTo>
                  <a:pt x="979840" y="1533226"/>
                  <a:pt x="978553" y="1532594"/>
                  <a:pt x="977227" y="1531943"/>
                </a:cubicBezTo>
                <a:cubicBezTo>
                  <a:pt x="965286" y="1525877"/>
                  <a:pt x="959626" y="1520520"/>
                  <a:pt x="955376" y="1508751"/>
                </a:cubicBezTo>
                <a:cubicBezTo>
                  <a:pt x="954571" y="1505674"/>
                  <a:pt x="954571" y="1505674"/>
                  <a:pt x="954571" y="1500037"/>
                </a:cubicBezTo>
                <a:cubicBezTo>
                  <a:pt x="953539" y="1500037"/>
                  <a:pt x="952508" y="1500037"/>
                  <a:pt x="951446" y="1500037"/>
                </a:cubicBezTo>
                <a:cubicBezTo>
                  <a:pt x="951361" y="1495986"/>
                  <a:pt x="951299" y="1491935"/>
                  <a:pt x="951251" y="1487883"/>
                </a:cubicBezTo>
                <a:cubicBezTo>
                  <a:pt x="951224" y="1486744"/>
                  <a:pt x="951198" y="1485605"/>
                  <a:pt x="951171" y="1484431"/>
                </a:cubicBezTo>
                <a:cubicBezTo>
                  <a:pt x="951110" y="1477657"/>
                  <a:pt x="952093" y="1472660"/>
                  <a:pt x="954571" y="1466216"/>
                </a:cubicBezTo>
                <a:cubicBezTo>
                  <a:pt x="954867" y="1462451"/>
                  <a:pt x="955016" y="1458876"/>
                  <a:pt x="954961" y="1455118"/>
                </a:cubicBezTo>
                <a:cubicBezTo>
                  <a:pt x="954951" y="1454080"/>
                  <a:pt x="954942" y="1453042"/>
                  <a:pt x="954932" y="1451972"/>
                </a:cubicBezTo>
                <a:cubicBezTo>
                  <a:pt x="954606" y="1435235"/>
                  <a:pt x="952568" y="1419050"/>
                  <a:pt x="945099" y="1403594"/>
                </a:cubicBezTo>
                <a:cubicBezTo>
                  <a:pt x="943714" y="1400177"/>
                  <a:pt x="943046" y="1397128"/>
                  <a:pt x="942366" y="1393553"/>
                </a:cubicBezTo>
                <a:cubicBezTo>
                  <a:pt x="940837" y="1386134"/>
                  <a:pt x="937840" y="1379609"/>
                  <a:pt x="934451" y="1372734"/>
                </a:cubicBezTo>
                <a:cubicBezTo>
                  <a:pt x="932701" y="1368980"/>
                  <a:pt x="932701" y="1368980"/>
                  <a:pt x="931974" y="1365754"/>
                </a:cubicBezTo>
                <a:cubicBezTo>
                  <a:pt x="931699" y="1364958"/>
                  <a:pt x="931422" y="1364162"/>
                  <a:pt x="931138" y="1363343"/>
                </a:cubicBezTo>
                <a:cubicBezTo>
                  <a:pt x="929592" y="1362878"/>
                  <a:pt x="928045" y="1362413"/>
                  <a:pt x="926452" y="1361933"/>
                </a:cubicBezTo>
                <a:cubicBezTo>
                  <a:pt x="921830" y="1355261"/>
                  <a:pt x="920323" y="1348382"/>
                  <a:pt x="918641" y="1340795"/>
                </a:cubicBezTo>
                <a:cubicBezTo>
                  <a:pt x="918133" y="1338914"/>
                  <a:pt x="917616" y="1337034"/>
                  <a:pt x="917079" y="1335158"/>
                </a:cubicBezTo>
                <a:cubicBezTo>
                  <a:pt x="916048" y="1335158"/>
                  <a:pt x="915018" y="1335158"/>
                  <a:pt x="913955" y="1335158"/>
                </a:cubicBezTo>
                <a:cubicBezTo>
                  <a:pt x="913329" y="1333718"/>
                  <a:pt x="912703" y="1332277"/>
                  <a:pt x="912057" y="1330793"/>
                </a:cubicBezTo>
                <a:cubicBezTo>
                  <a:pt x="909497" y="1325424"/>
                  <a:pt x="906114" y="1320822"/>
                  <a:pt x="902142" y="1316222"/>
                </a:cubicBezTo>
                <a:cubicBezTo>
                  <a:pt x="901465" y="1315432"/>
                  <a:pt x="900788" y="1314642"/>
                  <a:pt x="900091" y="1313828"/>
                </a:cubicBezTo>
                <a:cubicBezTo>
                  <a:pt x="893705" y="1306618"/>
                  <a:pt x="886350" y="1301049"/>
                  <a:pt x="878026" y="1295700"/>
                </a:cubicBezTo>
                <a:cubicBezTo>
                  <a:pt x="876595" y="1294594"/>
                  <a:pt x="876595" y="1294594"/>
                  <a:pt x="875134" y="1293465"/>
                </a:cubicBezTo>
                <a:lnTo>
                  <a:pt x="869869" y="1291826"/>
                </a:lnTo>
                <a:lnTo>
                  <a:pt x="862384" y="1291327"/>
                </a:lnTo>
                <a:cubicBezTo>
                  <a:pt x="856441" y="1290067"/>
                  <a:pt x="850461" y="1290346"/>
                  <a:pt x="844390" y="1290461"/>
                </a:cubicBezTo>
                <a:cubicBezTo>
                  <a:pt x="842453" y="1290480"/>
                  <a:pt x="842453" y="1290480"/>
                  <a:pt x="840476" y="1290500"/>
                </a:cubicBezTo>
                <a:cubicBezTo>
                  <a:pt x="837322" y="1290532"/>
                  <a:pt x="834169" y="1290583"/>
                  <a:pt x="831015" y="1290637"/>
                </a:cubicBezTo>
                <a:cubicBezTo>
                  <a:pt x="831015" y="1291568"/>
                  <a:pt x="831015" y="1292498"/>
                  <a:pt x="831015" y="1293456"/>
                </a:cubicBezTo>
                <a:cubicBezTo>
                  <a:pt x="826519" y="1294808"/>
                  <a:pt x="822922" y="1295235"/>
                  <a:pt x="818225" y="1295570"/>
                </a:cubicBezTo>
                <a:lnTo>
                  <a:pt x="796774" y="1297671"/>
                </a:lnTo>
                <a:lnTo>
                  <a:pt x="783646" y="1305736"/>
                </a:lnTo>
                <a:cubicBezTo>
                  <a:pt x="776915" y="1312506"/>
                  <a:pt x="772692" y="1318638"/>
                  <a:pt x="769263" y="1327143"/>
                </a:cubicBezTo>
                <a:cubicBezTo>
                  <a:pt x="767116" y="1332340"/>
                  <a:pt x="767116" y="1332340"/>
                  <a:pt x="764797" y="1334360"/>
                </a:cubicBezTo>
                <a:lnTo>
                  <a:pt x="757875" y="1353503"/>
                </a:lnTo>
                <a:lnTo>
                  <a:pt x="755676" y="1367455"/>
                </a:lnTo>
                <a:lnTo>
                  <a:pt x="750558" y="1399690"/>
                </a:lnTo>
                <a:lnTo>
                  <a:pt x="753057" y="1411256"/>
                </a:lnTo>
                <a:cubicBezTo>
                  <a:pt x="753057" y="1413117"/>
                  <a:pt x="753057" y="1414976"/>
                  <a:pt x="753057" y="1416893"/>
                </a:cubicBezTo>
                <a:cubicBezTo>
                  <a:pt x="754087" y="1416893"/>
                  <a:pt x="755119" y="1416893"/>
                  <a:pt x="756181" y="1416893"/>
                </a:cubicBezTo>
                <a:cubicBezTo>
                  <a:pt x="759348" y="1422607"/>
                  <a:pt x="758101" y="1429902"/>
                  <a:pt x="758133" y="1436182"/>
                </a:cubicBezTo>
                <a:cubicBezTo>
                  <a:pt x="758182" y="1438458"/>
                  <a:pt x="758182" y="1438458"/>
                  <a:pt x="758231" y="1440781"/>
                </a:cubicBezTo>
                <a:cubicBezTo>
                  <a:pt x="758283" y="1450271"/>
                  <a:pt x="758174" y="1458360"/>
                  <a:pt x="750713" y="1465704"/>
                </a:cubicBezTo>
                <a:cubicBezTo>
                  <a:pt x="749940" y="1466193"/>
                  <a:pt x="749167" y="1466681"/>
                  <a:pt x="748370" y="1467185"/>
                </a:cubicBezTo>
                <a:cubicBezTo>
                  <a:pt x="743665" y="1470047"/>
                  <a:pt x="743665" y="1470047"/>
                  <a:pt x="741633" y="1473526"/>
                </a:cubicBezTo>
                <a:cubicBezTo>
                  <a:pt x="737793" y="1477248"/>
                  <a:pt x="733582" y="1477483"/>
                  <a:pt x="728154" y="1478343"/>
                </a:cubicBezTo>
                <a:cubicBezTo>
                  <a:pt x="724855" y="1478778"/>
                  <a:pt x="724855" y="1478778"/>
                  <a:pt x="721814" y="1480308"/>
                </a:cubicBezTo>
                <a:cubicBezTo>
                  <a:pt x="717303" y="1480523"/>
                  <a:pt x="712854" y="1480634"/>
                  <a:pt x="708341" y="1480661"/>
                </a:cubicBezTo>
                <a:cubicBezTo>
                  <a:pt x="707118" y="1480690"/>
                  <a:pt x="705896" y="1480719"/>
                  <a:pt x="704637" y="1480748"/>
                </a:cubicBezTo>
                <a:cubicBezTo>
                  <a:pt x="690446" y="1480834"/>
                  <a:pt x="679632" y="1476246"/>
                  <a:pt x="668507" y="1468418"/>
                </a:cubicBezTo>
                <a:cubicBezTo>
                  <a:pt x="662823" y="1463224"/>
                  <a:pt x="661745" y="1456995"/>
                  <a:pt x="660178" y="1450027"/>
                </a:cubicBezTo>
                <a:cubicBezTo>
                  <a:pt x="659725" y="1446589"/>
                  <a:pt x="659725" y="1446589"/>
                  <a:pt x="657767" y="1445078"/>
                </a:cubicBezTo>
                <a:cubicBezTo>
                  <a:pt x="656859" y="1433686"/>
                  <a:pt x="655965" y="1419178"/>
                  <a:pt x="663369" y="1409390"/>
                </a:cubicBezTo>
                <a:cubicBezTo>
                  <a:pt x="666078" y="1406601"/>
                  <a:pt x="668921" y="1404013"/>
                  <a:pt x="671826" y="1401392"/>
                </a:cubicBezTo>
                <a:cubicBezTo>
                  <a:pt x="675197" y="1397623"/>
                  <a:pt x="677125" y="1394916"/>
                  <a:pt x="678075" y="1390118"/>
                </a:cubicBezTo>
                <a:cubicBezTo>
                  <a:pt x="680137" y="1389653"/>
                  <a:pt x="682199" y="1389188"/>
                  <a:pt x="684323" y="1388709"/>
                </a:cubicBezTo>
                <a:cubicBezTo>
                  <a:pt x="684643" y="1387232"/>
                  <a:pt x="684964" y="1385755"/>
                  <a:pt x="685293" y="1384233"/>
                </a:cubicBezTo>
                <a:cubicBezTo>
                  <a:pt x="685718" y="1382290"/>
                  <a:pt x="686144" y="1380347"/>
                  <a:pt x="686569" y="1378404"/>
                </a:cubicBezTo>
                <a:cubicBezTo>
                  <a:pt x="686885" y="1376945"/>
                  <a:pt x="686885" y="1376945"/>
                  <a:pt x="687207" y="1375456"/>
                </a:cubicBezTo>
                <a:cubicBezTo>
                  <a:pt x="688115" y="1371315"/>
                  <a:pt x="689090" y="1367353"/>
                  <a:pt x="690572" y="1363343"/>
                </a:cubicBezTo>
                <a:cubicBezTo>
                  <a:pt x="692411" y="1350128"/>
                  <a:pt x="692374" y="1336672"/>
                  <a:pt x="692495" y="1323376"/>
                </a:cubicBezTo>
                <a:cubicBezTo>
                  <a:pt x="692524" y="1320586"/>
                  <a:pt x="692574" y="1317796"/>
                  <a:pt x="692625" y="1315006"/>
                </a:cubicBezTo>
                <a:cubicBezTo>
                  <a:pt x="692853" y="1300589"/>
                  <a:pt x="692853" y="1300589"/>
                  <a:pt x="687447" y="1287245"/>
                </a:cubicBezTo>
                <a:cubicBezTo>
                  <a:pt x="685901" y="1286780"/>
                  <a:pt x="684354" y="1286315"/>
                  <a:pt x="682761" y="1285835"/>
                </a:cubicBezTo>
                <a:cubicBezTo>
                  <a:pt x="680876" y="1283743"/>
                  <a:pt x="680876" y="1283743"/>
                  <a:pt x="678954" y="1281608"/>
                </a:cubicBezTo>
                <a:cubicBezTo>
                  <a:pt x="674854" y="1277278"/>
                  <a:pt x="674356" y="1276958"/>
                  <a:pt x="668702" y="1275971"/>
                </a:cubicBezTo>
                <a:cubicBezTo>
                  <a:pt x="666619" y="1274092"/>
                  <a:pt x="664536" y="1272213"/>
                  <a:pt x="662454" y="1270334"/>
                </a:cubicBezTo>
                <a:cubicBezTo>
                  <a:pt x="658341" y="1268566"/>
                  <a:pt x="658341" y="1268566"/>
                  <a:pt x="654643" y="1267516"/>
                </a:cubicBezTo>
                <a:cubicBezTo>
                  <a:pt x="654643" y="1266585"/>
                  <a:pt x="654643" y="1265656"/>
                  <a:pt x="654643" y="1264697"/>
                </a:cubicBezTo>
                <a:cubicBezTo>
                  <a:pt x="653161" y="1264581"/>
                  <a:pt x="651679" y="1264465"/>
                  <a:pt x="650152" y="1264345"/>
                </a:cubicBezTo>
                <a:cubicBezTo>
                  <a:pt x="642318" y="1263373"/>
                  <a:pt x="635297" y="1260465"/>
                  <a:pt x="628087" y="1257651"/>
                </a:cubicBezTo>
                <a:cubicBezTo>
                  <a:pt x="628087" y="1256721"/>
                  <a:pt x="628087" y="1255791"/>
                  <a:pt x="628087" y="1254833"/>
                </a:cubicBezTo>
                <a:cubicBezTo>
                  <a:pt x="627108" y="1254662"/>
                  <a:pt x="626129" y="1254491"/>
                  <a:pt x="625121" y="1254315"/>
                </a:cubicBezTo>
                <a:cubicBezTo>
                  <a:pt x="623845" y="1254079"/>
                  <a:pt x="622568" y="1253843"/>
                  <a:pt x="621252" y="1253600"/>
                </a:cubicBezTo>
                <a:cubicBezTo>
                  <a:pt x="619984" y="1253371"/>
                  <a:pt x="618716" y="1253142"/>
                  <a:pt x="617409" y="1252906"/>
                </a:cubicBezTo>
                <a:cubicBezTo>
                  <a:pt x="614027" y="1252014"/>
                  <a:pt x="614027" y="1252014"/>
                  <a:pt x="610904" y="1249196"/>
                </a:cubicBezTo>
                <a:cubicBezTo>
                  <a:pt x="592259" y="1248653"/>
                  <a:pt x="578635" y="1260869"/>
                  <a:pt x="565739" y="1271742"/>
                </a:cubicBezTo>
                <a:cubicBezTo>
                  <a:pt x="558808" y="1277725"/>
                  <a:pt x="552763" y="1283983"/>
                  <a:pt x="546924" y="1290829"/>
                </a:cubicBezTo>
                <a:cubicBezTo>
                  <a:pt x="545838" y="1292087"/>
                  <a:pt x="544753" y="1293346"/>
                  <a:pt x="543635" y="1294643"/>
                </a:cubicBezTo>
                <a:cubicBezTo>
                  <a:pt x="542650" y="1295813"/>
                  <a:pt x="541666" y="1296983"/>
                  <a:pt x="540651" y="1298188"/>
                </a:cubicBezTo>
                <a:cubicBezTo>
                  <a:pt x="537294" y="1301526"/>
                  <a:pt x="533978" y="1303337"/>
                  <a:pt x="529673" y="1305565"/>
                </a:cubicBezTo>
                <a:cubicBezTo>
                  <a:pt x="527599" y="1308478"/>
                  <a:pt x="527599" y="1308478"/>
                  <a:pt x="526549" y="1311202"/>
                </a:cubicBezTo>
                <a:cubicBezTo>
                  <a:pt x="525518" y="1311202"/>
                  <a:pt x="524487" y="1311202"/>
                  <a:pt x="523425" y="1311202"/>
                </a:cubicBezTo>
                <a:cubicBezTo>
                  <a:pt x="523360" y="1311986"/>
                  <a:pt x="523296" y="1312771"/>
                  <a:pt x="523230" y="1313580"/>
                </a:cubicBezTo>
                <a:cubicBezTo>
                  <a:pt x="521863" y="1316839"/>
                  <a:pt x="521863" y="1316839"/>
                  <a:pt x="517732" y="1319739"/>
                </a:cubicBezTo>
                <a:cubicBezTo>
                  <a:pt x="511111" y="1324565"/>
                  <a:pt x="506875" y="1330731"/>
                  <a:pt x="502239" y="1337096"/>
                </a:cubicBezTo>
                <a:cubicBezTo>
                  <a:pt x="500512" y="1339427"/>
                  <a:pt x="498785" y="1341757"/>
                  <a:pt x="497058" y="1344087"/>
                </a:cubicBezTo>
                <a:cubicBezTo>
                  <a:pt x="495827" y="1345760"/>
                  <a:pt x="495827" y="1345760"/>
                  <a:pt x="494572" y="1347465"/>
                </a:cubicBezTo>
                <a:cubicBezTo>
                  <a:pt x="492366" y="1350414"/>
                  <a:pt x="490094" y="1353304"/>
                  <a:pt x="487776" y="1356181"/>
                </a:cubicBezTo>
                <a:cubicBezTo>
                  <a:pt x="484805" y="1359972"/>
                  <a:pt x="482865" y="1363193"/>
                  <a:pt x="481248" y="1367571"/>
                </a:cubicBezTo>
                <a:cubicBezTo>
                  <a:pt x="480216" y="1367571"/>
                  <a:pt x="479186" y="1367571"/>
                  <a:pt x="478123" y="1367571"/>
                </a:cubicBezTo>
                <a:cubicBezTo>
                  <a:pt x="477963" y="1368558"/>
                  <a:pt x="477801" y="1369547"/>
                  <a:pt x="477635" y="1370565"/>
                </a:cubicBezTo>
                <a:cubicBezTo>
                  <a:pt x="475602" y="1378236"/>
                  <a:pt x="471952" y="1383371"/>
                  <a:pt x="465626" y="1388709"/>
                </a:cubicBezTo>
                <a:cubicBezTo>
                  <a:pt x="462272" y="1392748"/>
                  <a:pt x="462272" y="1392748"/>
                  <a:pt x="461233" y="1397340"/>
                </a:cubicBezTo>
                <a:cubicBezTo>
                  <a:pt x="460030" y="1401461"/>
                  <a:pt x="458298" y="1404501"/>
                  <a:pt x="455765" y="1408086"/>
                </a:cubicBezTo>
                <a:cubicBezTo>
                  <a:pt x="442829" y="1428603"/>
                  <a:pt x="441572" y="1454548"/>
                  <a:pt x="439070" y="1477490"/>
                </a:cubicBezTo>
                <a:cubicBezTo>
                  <a:pt x="437524" y="1477955"/>
                  <a:pt x="435977" y="1478420"/>
                  <a:pt x="434384" y="1478899"/>
                </a:cubicBezTo>
                <a:cubicBezTo>
                  <a:pt x="433739" y="1479916"/>
                  <a:pt x="433095" y="1480933"/>
                  <a:pt x="432431" y="1481982"/>
                </a:cubicBezTo>
                <a:cubicBezTo>
                  <a:pt x="428860" y="1487159"/>
                  <a:pt x="424291" y="1490903"/>
                  <a:pt x="418763" y="1494401"/>
                </a:cubicBezTo>
                <a:cubicBezTo>
                  <a:pt x="417731" y="1494401"/>
                  <a:pt x="416701" y="1494401"/>
                  <a:pt x="415639" y="1494401"/>
                </a:cubicBezTo>
                <a:cubicBezTo>
                  <a:pt x="415639" y="1495330"/>
                  <a:pt x="415639" y="1496260"/>
                  <a:pt x="415639" y="1497219"/>
                </a:cubicBezTo>
                <a:cubicBezTo>
                  <a:pt x="412546" y="1497684"/>
                  <a:pt x="409453" y="1498149"/>
                  <a:pt x="406265" y="1498628"/>
                </a:cubicBezTo>
                <a:cubicBezTo>
                  <a:pt x="406265" y="1499559"/>
                  <a:pt x="406265" y="1500488"/>
                  <a:pt x="406265" y="1501447"/>
                </a:cubicBezTo>
                <a:cubicBezTo>
                  <a:pt x="395955" y="1501447"/>
                  <a:pt x="385645" y="1501447"/>
                  <a:pt x="375023" y="1501447"/>
                </a:cubicBezTo>
                <a:lnTo>
                  <a:pt x="375023" y="1499438"/>
                </a:lnTo>
                <a:lnTo>
                  <a:pt x="374964" y="1499436"/>
                </a:lnTo>
                <a:lnTo>
                  <a:pt x="373179" y="1498628"/>
                </a:lnTo>
                <a:lnTo>
                  <a:pt x="365650" y="1498628"/>
                </a:lnTo>
                <a:lnTo>
                  <a:pt x="363134" y="1494087"/>
                </a:lnTo>
                <a:lnTo>
                  <a:pt x="362171" y="1493651"/>
                </a:lnTo>
                <a:cubicBezTo>
                  <a:pt x="361656" y="1492722"/>
                  <a:pt x="361140" y="1491791"/>
                  <a:pt x="360609" y="1490833"/>
                </a:cubicBezTo>
                <a:cubicBezTo>
                  <a:pt x="361640" y="1490833"/>
                  <a:pt x="362671" y="1490833"/>
                  <a:pt x="363733" y="1490833"/>
                </a:cubicBezTo>
                <a:lnTo>
                  <a:pt x="363733" y="1489980"/>
                </a:lnTo>
                <a:lnTo>
                  <a:pt x="348467" y="1481717"/>
                </a:lnTo>
                <a:lnTo>
                  <a:pt x="343872" y="1461078"/>
                </a:lnTo>
                <a:lnTo>
                  <a:pt x="343656" y="1463649"/>
                </a:lnTo>
                <a:cubicBezTo>
                  <a:pt x="343541" y="1465230"/>
                  <a:pt x="343541" y="1465230"/>
                  <a:pt x="343424" y="1466842"/>
                </a:cubicBezTo>
                <a:cubicBezTo>
                  <a:pt x="342908" y="1466842"/>
                  <a:pt x="342393" y="1466842"/>
                  <a:pt x="341861" y="1466842"/>
                </a:cubicBezTo>
                <a:cubicBezTo>
                  <a:pt x="340987" y="1449564"/>
                  <a:pt x="340999" y="1434331"/>
                  <a:pt x="354143" y="1420549"/>
                </a:cubicBezTo>
                <a:cubicBezTo>
                  <a:pt x="360765" y="1414011"/>
                  <a:pt x="367631" y="1407790"/>
                  <a:pt x="376229" y="1403427"/>
                </a:cubicBezTo>
                <a:lnTo>
                  <a:pt x="379491" y="1404408"/>
                </a:lnTo>
                <a:lnTo>
                  <a:pt x="379710" y="1404210"/>
                </a:lnTo>
                <a:cubicBezTo>
                  <a:pt x="380290" y="1402902"/>
                  <a:pt x="380290" y="1402902"/>
                  <a:pt x="380882" y="1401568"/>
                </a:cubicBezTo>
                <a:cubicBezTo>
                  <a:pt x="383675" y="1397284"/>
                  <a:pt x="387587" y="1395610"/>
                  <a:pt x="392207" y="1392936"/>
                </a:cubicBezTo>
                <a:lnTo>
                  <a:pt x="399542" y="1386774"/>
                </a:lnTo>
                <a:lnTo>
                  <a:pt x="405485" y="1378917"/>
                </a:lnTo>
                <a:cubicBezTo>
                  <a:pt x="408065" y="1375974"/>
                  <a:pt x="410029" y="1372774"/>
                  <a:pt x="412008" y="1369481"/>
                </a:cubicBezTo>
                <a:cubicBezTo>
                  <a:pt x="414759" y="1365166"/>
                  <a:pt x="417963" y="1361131"/>
                  <a:pt x="421130" y="1357057"/>
                </a:cubicBezTo>
                <a:cubicBezTo>
                  <a:pt x="423073" y="1354140"/>
                  <a:pt x="423985" y="1351767"/>
                  <a:pt x="424676" y="1348443"/>
                </a:cubicBezTo>
                <a:lnTo>
                  <a:pt x="427275" y="1348443"/>
                </a:lnTo>
                <a:lnTo>
                  <a:pt x="428135" y="1345727"/>
                </a:lnTo>
                <a:cubicBezTo>
                  <a:pt x="429370" y="1341828"/>
                  <a:pt x="430645" y="1338666"/>
                  <a:pt x="432822" y="1335158"/>
                </a:cubicBezTo>
                <a:cubicBezTo>
                  <a:pt x="433853" y="1335158"/>
                  <a:pt x="434884" y="1335158"/>
                  <a:pt x="435946" y="1335158"/>
                </a:cubicBezTo>
                <a:cubicBezTo>
                  <a:pt x="436526" y="1333385"/>
                  <a:pt x="437106" y="1331613"/>
                  <a:pt x="437704" y="1329786"/>
                </a:cubicBezTo>
                <a:cubicBezTo>
                  <a:pt x="440162" y="1323132"/>
                  <a:pt x="443602" y="1317301"/>
                  <a:pt x="447394" y="1311196"/>
                </a:cubicBezTo>
                <a:cubicBezTo>
                  <a:pt x="456493" y="1296485"/>
                  <a:pt x="463325" y="1281864"/>
                  <a:pt x="469287" y="1265964"/>
                </a:cubicBezTo>
                <a:cubicBezTo>
                  <a:pt x="474589" y="1252134"/>
                  <a:pt x="474589" y="1252134"/>
                  <a:pt x="478178" y="1246787"/>
                </a:cubicBezTo>
                <a:cubicBezTo>
                  <a:pt x="481232" y="1240246"/>
                  <a:pt x="480204" y="1232766"/>
                  <a:pt x="480179" y="1225768"/>
                </a:cubicBezTo>
                <a:cubicBezTo>
                  <a:pt x="480174" y="1222894"/>
                  <a:pt x="480210" y="1220023"/>
                  <a:pt x="480250" y="1217149"/>
                </a:cubicBezTo>
                <a:cubicBezTo>
                  <a:pt x="480260" y="1199291"/>
                  <a:pt x="476718" y="1187768"/>
                  <a:pt x="462972" y="1174827"/>
                </a:cubicBezTo>
                <a:cubicBezTo>
                  <a:pt x="461148" y="1173192"/>
                  <a:pt x="459312" y="1171566"/>
                  <a:pt x="457468" y="1169949"/>
                </a:cubicBezTo>
                <a:cubicBezTo>
                  <a:pt x="451412" y="1164522"/>
                  <a:pt x="445876" y="1158660"/>
                  <a:pt x="440657" y="1152570"/>
                </a:cubicBezTo>
                <a:cubicBezTo>
                  <a:pt x="430474" y="1140786"/>
                  <a:pt x="418230" y="1128998"/>
                  <a:pt x="403142" y="1122366"/>
                </a:cubicBezTo>
                <a:cubicBezTo>
                  <a:pt x="402626" y="1121436"/>
                  <a:pt x="402110" y="1120506"/>
                  <a:pt x="401579" y="1119547"/>
                </a:cubicBezTo>
                <a:cubicBezTo>
                  <a:pt x="390472" y="1115326"/>
                  <a:pt x="375918" y="1114217"/>
                  <a:pt x="364564" y="1118209"/>
                </a:cubicBezTo>
                <a:cubicBezTo>
                  <a:pt x="362278" y="1119428"/>
                  <a:pt x="360026" y="1120704"/>
                  <a:pt x="357822" y="1122041"/>
                </a:cubicBezTo>
                <a:cubicBezTo>
                  <a:pt x="354521" y="1123884"/>
                  <a:pt x="351862" y="1124582"/>
                  <a:pt x="348077" y="1125273"/>
                </a:cubicBezTo>
                <a:cubicBezTo>
                  <a:pt x="341765" y="1126696"/>
                  <a:pt x="339382" y="1128619"/>
                  <a:pt x="334408" y="1132230"/>
                </a:cubicBezTo>
                <a:cubicBezTo>
                  <a:pt x="332284" y="1132909"/>
                  <a:pt x="330131" y="1133519"/>
                  <a:pt x="327964" y="1134080"/>
                </a:cubicBezTo>
                <a:cubicBezTo>
                  <a:pt x="309975" y="1139067"/>
                  <a:pt x="290592" y="1152117"/>
                  <a:pt x="279734" y="1166051"/>
                </a:cubicBezTo>
                <a:cubicBezTo>
                  <a:pt x="277929" y="1169534"/>
                  <a:pt x="277929" y="1169534"/>
                  <a:pt x="276609" y="1173098"/>
                </a:cubicBezTo>
                <a:cubicBezTo>
                  <a:pt x="272413" y="1180804"/>
                  <a:pt x="269322" y="1184144"/>
                  <a:pt x="260988" y="1188599"/>
                </a:cubicBezTo>
                <a:cubicBezTo>
                  <a:pt x="259988" y="1189435"/>
                  <a:pt x="258987" y="1190271"/>
                  <a:pt x="257956" y="1191132"/>
                </a:cubicBezTo>
                <a:lnTo>
                  <a:pt x="243805" y="1196629"/>
                </a:lnTo>
                <a:lnTo>
                  <a:pt x="243805" y="1194236"/>
                </a:lnTo>
                <a:lnTo>
                  <a:pt x="240288" y="1194765"/>
                </a:lnTo>
                <a:lnTo>
                  <a:pt x="243374" y="1194765"/>
                </a:lnTo>
                <a:lnTo>
                  <a:pt x="243374" y="1196797"/>
                </a:lnTo>
                <a:lnTo>
                  <a:pt x="243805" y="1196629"/>
                </a:lnTo>
                <a:lnTo>
                  <a:pt x="243805" y="1197055"/>
                </a:lnTo>
                <a:lnTo>
                  <a:pt x="243374" y="1197055"/>
                </a:lnTo>
                <a:lnTo>
                  <a:pt x="243374" y="1197584"/>
                </a:lnTo>
                <a:lnTo>
                  <a:pt x="241319" y="1197595"/>
                </a:lnTo>
                <a:lnTo>
                  <a:pt x="238009" y="1198881"/>
                </a:lnTo>
                <a:cubicBezTo>
                  <a:pt x="231012" y="1199584"/>
                  <a:pt x="223620" y="1198927"/>
                  <a:pt x="215687" y="1198464"/>
                </a:cubicBezTo>
                <a:lnTo>
                  <a:pt x="215687" y="1197734"/>
                </a:lnTo>
                <a:lnTo>
                  <a:pt x="213936" y="1197744"/>
                </a:lnTo>
                <a:cubicBezTo>
                  <a:pt x="210570" y="1197584"/>
                  <a:pt x="210570" y="1197584"/>
                  <a:pt x="207446" y="1196175"/>
                </a:cubicBezTo>
                <a:lnTo>
                  <a:pt x="207822" y="1195610"/>
                </a:lnTo>
                <a:lnTo>
                  <a:pt x="184737" y="1180936"/>
                </a:lnTo>
                <a:cubicBezTo>
                  <a:pt x="180258" y="1172216"/>
                  <a:pt x="179226" y="1164355"/>
                  <a:pt x="179270" y="1154866"/>
                </a:cubicBezTo>
                <a:cubicBezTo>
                  <a:pt x="179233" y="1153260"/>
                  <a:pt x="179233" y="1153260"/>
                  <a:pt x="179194" y="1151621"/>
                </a:cubicBezTo>
                <a:cubicBezTo>
                  <a:pt x="179182" y="1139523"/>
                  <a:pt x="183658" y="1128837"/>
                  <a:pt x="193195" y="1120065"/>
                </a:cubicBezTo>
                <a:cubicBezTo>
                  <a:pt x="204265" y="1110959"/>
                  <a:pt x="215062" y="1110626"/>
                  <a:pt x="229551" y="1110299"/>
                </a:cubicBezTo>
                <a:cubicBezTo>
                  <a:pt x="240132" y="1110024"/>
                  <a:pt x="250506" y="1109652"/>
                  <a:pt x="260988" y="1108274"/>
                </a:cubicBezTo>
                <a:cubicBezTo>
                  <a:pt x="260988" y="1107344"/>
                  <a:pt x="260988" y="1106413"/>
                  <a:pt x="260988" y="1105455"/>
                </a:cubicBezTo>
                <a:cubicBezTo>
                  <a:pt x="261953" y="1105078"/>
                  <a:pt x="262918" y="1104699"/>
                  <a:pt x="263911" y="1104310"/>
                </a:cubicBezTo>
                <a:cubicBezTo>
                  <a:pt x="272903" y="1100557"/>
                  <a:pt x="279802" y="1096307"/>
                  <a:pt x="286995" y="1090185"/>
                </a:cubicBezTo>
                <a:cubicBezTo>
                  <a:pt x="290956" y="1086897"/>
                  <a:pt x="295114" y="1083955"/>
                  <a:pt x="299358" y="1080970"/>
                </a:cubicBezTo>
                <a:cubicBezTo>
                  <a:pt x="306613" y="1075692"/>
                  <a:pt x="312234" y="1070023"/>
                  <a:pt x="317762" y="1063272"/>
                </a:cubicBezTo>
                <a:cubicBezTo>
                  <a:pt x="320349" y="1060360"/>
                  <a:pt x="320349" y="1060360"/>
                  <a:pt x="325035" y="1057542"/>
                </a:cubicBezTo>
                <a:cubicBezTo>
                  <a:pt x="329912" y="1045734"/>
                  <a:pt x="327928" y="1035103"/>
                  <a:pt x="325328" y="1023104"/>
                </a:cubicBezTo>
                <a:cubicBezTo>
                  <a:pt x="325069" y="1021831"/>
                  <a:pt x="324811" y="1020559"/>
                  <a:pt x="324544" y="1019247"/>
                </a:cubicBezTo>
                <a:cubicBezTo>
                  <a:pt x="322876" y="1011407"/>
                  <a:pt x="320562" y="1004340"/>
                  <a:pt x="317225" y="996945"/>
                </a:cubicBezTo>
                <a:cubicBezTo>
                  <a:pt x="316619" y="995541"/>
                  <a:pt x="316013" y="994137"/>
                  <a:pt x="315388" y="992690"/>
                </a:cubicBezTo>
                <a:cubicBezTo>
                  <a:pt x="306307" y="972561"/>
                  <a:pt x="298931" y="959343"/>
                  <a:pt x="276232" y="950666"/>
                </a:cubicBezTo>
                <a:cubicBezTo>
                  <a:pt x="274810" y="950127"/>
                  <a:pt x="273388" y="949587"/>
                  <a:pt x="271923" y="949031"/>
                </a:cubicBezTo>
                <a:cubicBezTo>
                  <a:pt x="270129" y="948244"/>
                  <a:pt x="270129" y="948244"/>
                  <a:pt x="268299" y="947441"/>
                </a:cubicBezTo>
                <a:cubicBezTo>
                  <a:pt x="247071" y="938140"/>
                  <a:pt x="222259" y="939051"/>
                  <a:pt x="199187" y="938991"/>
                </a:cubicBezTo>
                <a:cubicBezTo>
                  <a:pt x="197383" y="938984"/>
                  <a:pt x="195579" y="938978"/>
                  <a:pt x="193719" y="938971"/>
                </a:cubicBezTo>
                <a:cubicBezTo>
                  <a:pt x="192010" y="938974"/>
                  <a:pt x="190300" y="938977"/>
                  <a:pt x="188539" y="938980"/>
                </a:cubicBezTo>
                <a:cubicBezTo>
                  <a:pt x="187000" y="938981"/>
                  <a:pt x="185460" y="938983"/>
                  <a:pt x="183874" y="938985"/>
                </a:cubicBezTo>
                <a:cubicBezTo>
                  <a:pt x="180148" y="939150"/>
                  <a:pt x="177092" y="939720"/>
                  <a:pt x="173509" y="940576"/>
                </a:cubicBezTo>
                <a:cubicBezTo>
                  <a:pt x="169458" y="940674"/>
                  <a:pt x="165452" y="940710"/>
                  <a:pt x="161403" y="940664"/>
                </a:cubicBezTo>
                <a:cubicBezTo>
                  <a:pt x="160314" y="940658"/>
                  <a:pt x="159224" y="940651"/>
                  <a:pt x="158102" y="940645"/>
                </a:cubicBezTo>
                <a:lnTo>
                  <a:pt x="150875" y="940583"/>
                </a:lnTo>
                <a:lnTo>
                  <a:pt x="148425" y="940717"/>
                </a:lnTo>
                <a:lnTo>
                  <a:pt x="149617" y="940995"/>
                </a:lnTo>
                <a:cubicBezTo>
                  <a:pt x="149617" y="941459"/>
                  <a:pt x="149617" y="941924"/>
                  <a:pt x="149617" y="942404"/>
                </a:cubicBezTo>
                <a:cubicBezTo>
                  <a:pt x="148630" y="942558"/>
                  <a:pt x="147643" y="942712"/>
                  <a:pt x="146627" y="942871"/>
                </a:cubicBezTo>
                <a:cubicBezTo>
                  <a:pt x="134541" y="944804"/>
                  <a:pt x="122553" y="947081"/>
                  <a:pt x="110564" y="949449"/>
                </a:cubicBezTo>
                <a:lnTo>
                  <a:pt x="111283" y="946205"/>
                </a:lnTo>
                <a:lnTo>
                  <a:pt x="101652" y="956078"/>
                </a:lnTo>
                <a:cubicBezTo>
                  <a:pt x="99870" y="957260"/>
                  <a:pt x="99870" y="957260"/>
                  <a:pt x="98052" y="958467"/>
                </a:cubicBezTo>
                <a:cubicBezTo>
                  <a:pt x="75683" y="972989"/>
                  <a:pt x="75683" y="972989"/>
                  <a:pt x="67286" y="972989"/>
                </a:cubicBezTo>
                <a:cubicBezTo>
                  <a:pt x="67286" y="973918"/>
                  <a:pt x="67286" y="974848"/>
                  <a:pt x="67286" y="975807"/>
                </a:cubicBezTo>
                <a:cubicBezTo>
                  <a:pt x="55713" y="979519"/>
                  <a:pt x="43549" y="980689"/>
                  <a:pt x="31942" y="976423"/>
                </a:cubicBezTo>
                <a:cubicBezTo>
                  <a:pt x="19953" y="970870"/>
                  <a:pt x="10774" y="964932"/>
                  <a:pt x="5673" y="953419"/>
                </a:cubicBezTo>
                <a:cubicBezTo>
                  <a:pt x="4801" y="950441"/>
                  <a:pt x="4801" y="950441"/>
                  <a:pt x="4801" y="944804"/>
                </a:cubicBezTo>
                <a:cubicBezTo>
                  <a:pt x="3770" y="944804"/>
                  <a:pt x="2739" y="944804"/>
                  <a:pt x="1676" y="944804"/>
                </a:cubicBezTo>
                <a:cubicBezTo>
                  <a:pt x="-34" y="940174"/>
                  <a:pt x="-41" y="936720"/>
                  <a:pt x="17" y="931857"/>
                </a:cubicBezTo>
                <a:cubicBezTo>
                  <a:pt x="31" y="930325"/>
                  <a:pt x="45" y="928794"/>
                  <a:pt x="59" y="927216"/>
                </a:cubicBezTo>
                <a:cubicBezTo>
                  <a:pt x="78" y="926044"/>
                  <a:pt x="96" y="924873"/>
                  <a:pt x="115" y="923666"/>
                </a:cubicBezTo>
                <a:cubicBezTo>
                  <a:pt x="1145" y="923666"/>
                  <a:pt x="2176" y="923666"/>
                  <a:pt x="3238" y="923666"/>
                </a:cubicBezTo>
                <a:cubicBezTo>
                  <a:pt x="3238" y="921805"/>
                  <a:pt x="3238" y="919945"/>
                  <a:pt x="3238" y="918029"/>
                </a:cubicBezTo>
                <a:cubicBezTo>
                  <a:pt x="4270" y="918029"/>
                  <a:pt x="5300" y="918029"/>
                  <a:pt x="6363" y="918029"/>
                </a:cubicBezTo>
                <a:cubicBezTo>
                  <a:pt x="6459" y="916314"/>
                  <a:pt x="6556" y="914599"/>
                  <a:pt x="6656" y="912832"/>
                </a:cubicBezTo>
                <a:cubicBezTo>
                  <a:pt x="7542" y="906455"/>
                  <a:pt x="10104" y="903750"/>
                  <a:pt x="15736" y="899709"/>
                </a:cubicBezTo>
                <a:lnTo>
                  <a:pt x="17243" y="898894"/>
                </a:lnTo>
                <a:lnTo>
                  <a:pt x="16800" y="898694"/>
                </a:lnTo>
                <a:lnTo>
                  <a:pt x="24988" y="894101"/>
                </a:lnTo>
                <a:lnTo>
                  <a:pt x="26768" y="892399"/>
                </a:lnTo>
                <a:cubicBezTo>
                  <a:pt x="28282" y="891122"/>
                  <a:pt x="29038" y="890483"/>
                  <a:pt x="30198" y="890164"/>
                </a:cubicBezTo>
                <a:lnTo>
                  <a:pt x="32204" y="890054"/>
                </a:lnTo>
                <a:lnTo>
                  <a:pt x="38914" y="886291"/>
                </a:lnTo>
                <a:cubicBezTo>
                  <a:pt x="47169" y="885770"/>
                  <a:pt x="55396" y="885800"/>
                  <a:pt x="63664" y="886011"/>
                </a:cubicBezTo>
                <a:lnTo>
                  <a:pt x="63664" y="886531"/>
                </a:lnTo>
                <a:lnTo>
                  <a:pt x="70784" y="886647"/>
                </a:lnTo>
                <a:cubicBezTo>
                  <a:pt x="74787" y="887000"/>
                  <a:pt x="77233" y="887948"/>
                  <a:pt x="82126" y="889845"/>
                </a:cubicBezTo>
                <a:cubicBezTo>
                  <a:pt x="92427" y="893791"/>
                  <a:pt x="103139" y="893710"/>
                  <a:pt x="114149" y="892663"/>
                </a:cubicBezTo>
                <a:cubicBezTo>
                  <a:pt x="115696" y="891733"/>
                  <a:pt x="117242" y="890803"/>
                  <a:pt x="118836" y="889845"/>
                </a:cubicBezTo>
                <a:cubicBezTo>
                  <a:pt x="123097" y="888850"/>
                  <a:pt x="127325" y="887944"/>
                  <a:pt x="131626" y="887114"/>
                </a:cubicBezTo>
                <a:cubicBezTo>
                  <a:pt x="139750" y="885542"/>
                  <a:pt x="147376" y="883653"/>
                  <a:pt x="155116" y="880913"/>
                </a:cubicBezTo>
                <a:cubicBezTo>
                  <a:pt x="158498" y="879775"/>
                  <a:pt x="161861" y="879076"/>
                  <a:pt x="165406" y="878483"/>
                </a:cubicBezTo>
                <a:cubicBezTo>
                  <a:pt x="170342" y="877655"/>
                  <a:pt x="172265" y="876971"/>
                  <a:pt x="176634" y="874343"/>
                </a:cubicBezTo>
                <a:cubicBezTo>
                  <a:pt x="179863" y="873335"/>
                  <a:pt x="183123" y="872404"/>
                  <a:pt x="186397" y="871524"/>
                </a:cubicBezTo>
                <a:cubicBezTo>
                  <a:pt x="189107" y="870786"/>
                  <a:pt x="189107" y="870786"/>
                  <a:pt x="191871" y="870033"/>
                </a:cubicBezTo>
                <a:cubicBezTo>
                  <a:pt x="195731" y="869023"/>
                  <a:pt x="199587" y="868093"/>
                  <a:pt x="203483" y="867208"/>
                </a:cubicBezTo>
                <a:cubicBezTo>
                  <a:pt x="208339" y="866199"/>
                  <a:pt x="208339" y="866199"/>
                  <a:pt x="211001" y="861660"/>
                </a:cubicBezTo>
                <a:cubicBezTo>
                  <a:pt x="214174" y="860102"/>
                  <a:pt x="214174" y="860102"/>
                  <a:pt x="218031" y="858577"/>
                </a:cubicBezTo>
                <a:cubicBezTo>
                  <a:pt x="236068" y="850629"/>
                  <a:pt x="245199" y="840442"/>
                  <a:pt x="254740" y="825020"/>
                </a:cubicBezTo>
                <a:cubicBezTo>
                  <a:pt x="255771" y="823625"/>
                  <a:pt x="256802" y="822230"/>
                  <a:pt x="257864" y="820792"/>
                </a:cubicBezTo>
                <a:cubicBezTo>
                  <a:pt x="258359" y="817506"/>
                  <a:pt x="258359" y="817506"/>
                  <a:pt x="258318" y="813810"/>
                </a:cubicBezTo>
                <a:cubicBezTo>
                  <a:pt x="258338" y="812388"/>
                  <a:pt x="258358" y="810967"/>
                  <a:pt x="258378" y="809502"/>
                </a:cubicBezTo>
                <a:cubicBezTo>
                  <a:pt x="258382" y="807965"/>
                  <a:pt x="258385" y="806429"/>
                  <a:pt x="258389" y="804845"/>
                </a:cubicBezTo>
                <a:cubicBezTo>
                  <a:pt x="258399" y="803258"/>
                  <a:pt x="258410" y="801671"/>
                  <a:pt x="258420" y="800036"/>
                </a:cubicBezTo>
                <a:cubicBezTo>
                  <a:pt x="258436" y="796670"/>
                  <a:pt x="258443" y="793305"/>
                  <a:pt x="258443" y="789939"/>
                </a:cubicBezTo>
                <a:cubicBezTo>
                  <a:pt x="258450" y="784823"/>
                  <a:pt x="258506" y="779709"/>
                  <a:pt x="258566" y="774594"/>
                </a:cubicBezTo>
                <a:cubicBezTo>
                  <a:pt x="258575" y="771319"/>
                  <a:pt x="258581" y="768045"/>
                  <a:pt x="258584" y="764771"/>
                </a:cubicBezTo>
                <a:cubicBezTo>
                  <a:pt x="258618" y="762495"/>
                  <a:pt x="258618" y="762495"/>
                  <a:pt x="258652" y="760174"/>
                </a:cubicBezTo>
                <a:cubicBezTo>
                  <a:pt x="258586" y="750030"/>
                  <a:pt x="256266" y="742584"/>
                  <a:pt x="251616" y="733421"/>
                </a:cubicBezTo>
                <a:cubicBezTo>
                  <a:pt x="250163" y="729605"/>
                  <a:pt x="248880" y="725752"/>
                  <a:pt x="247613" y="721883"/>
                </a:cubicBezTo>
                <a:cubicBezTo>
                  <a:pt x="245789" y="716328"/>
                  <a:pt x="243913" y="710939"/>
                  <a:pt x="241291" y="705644"/>
                </a:cubicBezTo>
                <a:cubicBezTo>
                  <a:pt x="238691" y="700096"/>
                  <a:pt x="238136" y="695685"/>
                  <a:pt x="237557" y="689735"/>
                </a:cubicBezTo>
                <a:cubicBezTo>
                  <a:pt x="244977" y="685507"/>
                  <a:pt x="244977" y="685507"/>
                  <a:pt x="248492" y="685507"/>
                </a:cubicBezTo>
                <a:cubicBezTo>
                  <a:pt x="248492" y="684112"/>
                  <a:pt x="248492" y="682717"/>
                  <a:pt x="248492" y="681279"/>
                </a:cubicBezTo>
                <a:cubicBezTo>
                  <a:pt x="245914" y="680815"/>
                  <a:pt x="243337" y="680350"/>
                  <a:pt x="240681" y="679870"/>
                </a:cubicBezTo>
                <a:cubicBezTo>
                  <a:pt x="240681" y="678940"/>
                  <a:pt x="240681" y="678010"/>
                  <a:pt x="240681" y="677052"/>
                </a:cubicBezTo>
                <a:cubicBezTo>
                  <a:pt x="239827" y="676917"/>
                  <a:pt x="238973" y="676783"/>
                  <a:pt x="238094" y="676645"/>
                </a:cubicBezTo>
                <a:cubicBezTo>
                  <a:pt x="233442" y="675371"/>
                  <a:pt x="229939" y="673242"/>
                  <a:pt x="225841" y="670886"/>
                </a:cubicBezTo>
                <a:cubicBezTo>
                  <a:pt x="217808" y="666564"/>
                  <a:pt x="210635" y="664241"/>
                  <a:pt x="201531" y="662508"/>
                </a:cubicBezTo>
                <a:cubicBezTo>
                  <a:pt x="196896" y="661541"/>
                  <a:pt x="192682" y="660199"/>
                  <a:pt x="188252" y="658644"/>
                </a:cubicBezTo>
                <a:lnTo>
                  <a:pt x="182431" y="657327"/>
                </a:lnTo>
                <a:lnTo>
                  <a:pt x="182431" y="657613"/>
                </a:lnTo>
                <a:cubicBezTo>
                  <a:pt x="170575" y="657148"/>
                  <a:pt x="158718" y="656683"/>
                  <a:pt x="146503" y="656204"/>
                </a:cubicBezTo>
                <a:cubicBezTo>
                  <a:pt x="146503" y="657133"/>
                  <a:pt x="146503" y="658064"/>
                  <a:pt x="146503" y="659022"/>
                </a:cubicBezTo>
                <a:cubicBezTo>
                  <a:pt x="134359" y="662326"/>
                  <a:pt x="123013" y="663700"/>
                  <a:pt x="110378" y="663778"/>
                </a:cubicBezTo>
                <a:cubicBezTo>
                  <a:pt x="108435" y="663806"/>
                  <a:pt x="108435" y="663806"/>
                  <a:pt x="106453" y="663836"/>
                </a:cubicBezTo>
                <a:cubicBezTo>
                  <a:pt x="105231" y="663828"/>
                  <a:pt x="104009" y="663820"/>
                  <a:pt x="102751" y="663811"/>
                </a:cubicBezTo>
                <a:cubicBezTo>
                  <a:pt x="101117" y="663804"/>
                  <a:pt x="101117" y="663804"/>
                  <a:pt x="99449" y="663797"/>
                </a:cubicBezTo>
                <a:cubicBezTo>
                  <a:pt x="95696" y="663097"/>
                  <a:pt x="94265" y="661615"/>
                  <a:pt x="91828" y="659022"/>
                </a:cubicBezTo>
                <a:cubicBezTo>
                  <a:pt x="93890" y="659022"/>
                  <a:pt x="95953" y="659022"/>
                  <a:pt x="98077" y="659022"/>
                </a:cubicBezTo>
                <a:cubicBezTo>
                  <a:pt x="98077" y="659952"/>
                  <a:pt x="98077" y="660882"/>
                  <a:pt x="98077" y="661841"/>
                </a:cubicBezTo>
                <a:cubicBezTo>
                  <a:pt x="108735" y="662045"/>
                  <a:pt x="114063" y="662148"/>
                  <a:pt x="119023" y="661357"/>
                </a:cubicBezTo>
                <a:lnTo>
                  <a:pt x="119536" y="661197"/>
                </a:lnTo>
                <a:lnTo>
                  <a:pt x="109853" y="661639"/>
                </a:lnTo>
                <a:cubicBezTo>
                  <a:pt x="108764" y="661632"/>
                  <a:pt x="107675" y="661626"/>
                  <a:pt x="106552" y="661619"/>
                </a:cubicBezTo>
                <a:cubicBezTo>
                  <a:pt x="103877" y="661603"/>
                  <a:pt x="101203" y="661577"/>
                  <a:pt x="98528" y="661550"/>
                </a:cubicBezTo>
                <a:cubicBezTo>
                  <a:pt x="98528" y="660620"/>
                  <a:pt x="98528" y="659691"/>
                  <a:pt x="98528" y="658732"/>
                </a:cubicBezTo>
                <a:cubicBezTo>
                  <a:pt x="95435" y="658267"/>
                  <a:pt x="92342" y="657802"/>
                  <a:pt x="89155" y="657323"/>
                </a:cubicBezTo>
                <a:cubicBezTo>
                  <a:pt x="89155" y="656393"/>
                  <a:pt x="89155" y="655462"/>
                  <a:pt x="89155" y="654504"/>
                </a:cubicBezTo>
                <a:cubicBezTo>
                  <a:pt x="87790" y="653978"/>
                  <a:pt x="87790" y="653978"/>
                  <a:pt x="86397" y="653442"/>
                </a:cubicBezTo>
                <a:cubicBezTo>
                  <a:pt x="82415" y="651438"/>
                  <a:pt x="80039" y="649232"/>
                  <a:pt x="77049" y="646137"/>
                </a:cubicBezTo>
                <a:cubicBezTo>
                  <a:pt x="75611" y="644679"/>
                  <a:pt x="75611" y="644679"/>
                  <a:pt x="74145" y="643192"/>
                </a:cubicBezTo>
                <a:cubicBezTo>
                  <a:pt x="71972" y="640412"/>
                  <a:pt x="71972" y="640412"/>
                  <a:pt x="71972" y="636185"/>
                </a:cubicBezTo>
                <a:cubicBezTo>
                  <a:pt x="70941" y="636185"/>
                  <a:pt x="69910" y="636185"/>
                  <a:pt x="68848" y="636185"/>
                </a:cubicBezTo>
                <a:cubicBezTo>
                  <a:pt x="64250" y="621928"/>
                  <a:pt x="64695" y="609404"/>
                  <a:pt x="70410" y="595317"/>
                </a:cubicBezTo>
                <a:cubicBezTo>
                  <a:pt x="73096" y="591142"/>
                  <a:pt x="76144" y="587574"/>
                  <a:pt x="79782" y="584043"/>
                </a:cubicBezTo>
                <a:cubicBezTo>
                  <a:pt x="81205" y="582594"/>
                  <a:pt x="81205" y="582594"/>
                  <a:pt x="82656" y="581115"/>
                </a:cubicBezTo>
                <a:cubicBezTo>
                  <a:pt x="91488" y="574027"/>
                  <a:pt x="105133" y="571806"/>
                  <a:pt x="116694" y="572323"/>
                </a:cubicBezTo>
                <a:cubicBezTo>
                  <a:pt x="131556" y="574113"/>
                  <a:pt x="142046" y="580551"/>
                  <a:pt x="152031" y="590385"/>
                </a:cubicBezTo>
                <a:cubicBezTo>
                  <a:pt x="162272" y="600009"/>
                  <a:pt x="176992" y="605062"/>
                  <a:pt x="191474" y="605886"/>
                </a:cubicBezTo>
                <a:cubicBezTo>
                  <a:pt x="196845" y="606192"/>
                  <a:pt x="201203" y="606463"/>
                  <a:pt x="206314" y="608000"/>
                </a:cubicBezTo>
                <a:cubicBezTo>
                  <a:pt x="206314" y="608930"/>
                  <a:pt x="206314" y="609860"/>
                  <a:pt x="206314" y="610818"/>
                </a:cubicBezTo>
                <a:cubicBezTo>
                  <a:pt x="215689" y="610902"/>
                  <a:pt x="225058" y="610898"/>
                  <a:pt x="234433" y="610818"/>
                </a:cubicBezTo>
                <a:cubicBezTo>
                  <a:pt x="236112" y="610813"/>
                  <a:pt x="237791" y="610808"/>
                  <a:pt x="239522" y="610802"/>
                </a:cubicBezTo>
                <a:cubicBezTo>
                  <a:pt x="251005" y="610364"/>
                  <a:pt x="259257" y="606564"/>
                  <a:pt x="268799" y="600954"/>
                </a:cubicBezTo>
                <a:cubicBezTo>
                  <a:pt x="269770" y="600416"/>
                  <a:pt x="270740" y="599879"/>
                  <a:pt x="271740" y="599325"/>
                </a:cubicBezTo>
                <a:cubicBezTo>
                  <a:pt x="279452" y="594430"/>
                  <a:pt x="281420" y="587464"/>
                  <a:pt x="284420" y="579816"/>
                </a:cubicBezTo>
                <a:cubicBezTo>
                  <a:pt x="286047" y="576075"/>
                  <a:pt x="287725" y="572353"/>
                  <a:pt x="289399" y="568630"/>
                </a:cubicBezTo>
                <a:cubicBezTo>
                  <a:pt x="294095" y="558121"/>
                  <a:pt x="299004" y="547070"/>
                  <a:pt x="293958" y="535838"/>
                </a:cubicBezTo>
                <a:cubicBezTo>
                  <a:pt x="292436" y="533533"/>
                  <a:pt x="290781" y="531301"/>
                  <a:pt x="289107" y="529084"/>
                </a:cubicBezTo>
                <a:cubicBezTo>
                  <a:pt x="289107" y="528153"/>
                  <a:pt x="289107" y="527223"/>
                  <a:pt x="289107" y="526265"/>
                </a:cubicBezTo>
                <a:cubicBezTo>
                  <a:pt x="287560" y="525800"/>
                  <a:pt x="286014" y="525335"/>
                  <a:pt x="284420" y="524856"/>
                </a:cubicBezTo>
                <a:cubicBezTo>
                  <a:pt x="283905" y="523461"/>
                  <a:pt x="283389" y="522066"/>
                  <a:pt x="282858" y="520628"/>
                </a:cubicBezTo>
                <a:cubicBezTo>
                  <a:pt x="280750" y="518590"/>
                  <a:pt x="280750" y="518590"/>
                  <a:pt x="277977" y="516577"/>
                </a:cubicBezTo>
                <a:cubicBezTo>
                  <a:pt x="273591" y="513232"/>
                  <a:pt x="269227" y="509874"/>
                  <a:pt x="264925" y="506443"/>
                </a:cubicBezTo>
                <a:cubicBezTo>
                  <a:pt x="253596" y="497433"/>
                  <a:pt x="242132" y="488987"/>
                  <a:pt x="229746" y="481170"/>
                </a:cubicBezTo>
                <a:cubicBezTo>
                  <a:pt x="226846" y="479266"/>
                  <a:pt x="223950" y="477358"/>
                  <a:pt x="221057" y="475445"/>
                </a:cubicBezTo>
                <a:cubicBezTo>
                  <a:pt x="218227" y="473594"/>
                  <a:pt x="215396" y="471744"/>
                  <a:pt x="212563" y="469896"/>
                </a:cubicBezTo>
                <a:cubicBezTo>
                  <a:pt x="211351" y="469102"/>
                  <a:pt x="210138" y="468309"/>
                  <a:pt x="208889" y="467491"/>
                </a:cubicBezTo>
                <a:cubicBezTo>
                  <a:pt x="202848" y="463599"/>
                  <a:pt x="196732" y="459888"/>
                  <a:pt x="190406" y="456382"/>
                </a:cubicBezTo>
                <a:cubicBezTo>
                  <a:pt x="189263" y="455748"/>
                  <a:pt x="188119" y="455114"/>
                  <a:pt x="186942" y="454460"/>
                </a:cubicBezTo>
                <a:cubicBezTo>
                  <a:pt x="184648" y="453196"/>
                  <a:pt x="182348" y="451941"/>
                  <a:pt x="180041" y="450696"/>
                </a:cubicBezTo>
                <a:cubicBezTo>
                  <a:pt x="177292" y="449185"/>
                  <a:pt x="174612" y="447571"/>
                  <a:pt x="171948" y="445940"/>
                </a:cubicBezTo>
                <a:cubicBezTo>
                  <a:pt x="171948" y="445009"/>
                  <a:pt x="171948" y="444079"/>
                  <a:pt x="171948" y="443121"/>
                </a:cubicBezTo>
                <a:cubicBezTo>
                  <a:pt x="170804" y="442985"/>
                  <a:pt x="169660" y="442848"/>
                  <a:pt x="168482" y="442708"/>
                </a:cubicBezTo>
                <a:cubicBezTo>
                  <a:pt x="163547" y="441576"/>
                  <a:pt x="161063" y="439897"/>
                  <a:pt x="157107" y="437044"/>
                </a:cubicBezTo>
                <a:cubicBezTo>
                  <a:pt x="149345" y="431895"/>
                  <a:pt x="141843" y="429626"/>
                  <a:pt x="132559" y="427510"/>
                </a:cubicBezTo>
                <a:cubicBezTo>
                  <a:pt x="128067" y="426168"/>
                  <a:pt x="126607" y="425060"/>
                  <a:pt x="123522" y="421983"/>
                </a:cubicBezTo>
                <a:cubicBezTo>
                  <a:pt x="118310" y="419033"/>
                  <a:pt x="114076" y="418794"/>
                  <a:pt x="107986" y="418730"/>
                </a:cubicBezTo>
                <a:cubicBezTo>
                  <a:pt x="106174" y="418694"/>
                  <a:pt x="104362" y="418659"/>
                  <a:pt x="102494" y="418622"/>
                </a:cubicBezTo>
                <a:cubicBezTo>
                  <a:pt x="98715" y="418573"/>
                  <a:pt x="94936" y="418529"/>
                  <a:pt x="91157" y="418490"/>
                </a:cubicBezTo>
                <a:cubicBezTo>
                  <a:pt x="78470" y="418231"/>
                  <a:pt x="65485" y="417940"/>
                  <a:pt x="55277" y="410445"/>
                </a:cubicBezTo>
                <a:cubicBezTo>
                  <a:pt x="54084" y="409137"/>
                  <a:pt x="52893" y="407829"/>
                  <a:pt x="51665" y="406481"/>
                </a:cubicBezTo>
                <a:cubicBezTo>
                  <a:pt x="49752" y="404480"/>
                  <a:pt x="47831" y="402483"/>
                  <a:pt x="45904" y="400492"/>
                </a:cubicBezTo>
                <a:cubicBezTo>
                  <a:pt x="44996" y="399526"/>
                  <a:pt x="44088" y="398559"/>
                  <a:pt x="43152" y="397564"/>
                </a:cubicBezTo>
                <a:cubicBezTo>
                  <a:pt x="40865" y="395062"/>
                  <a:pt x="40865" y="395062"/>
                  <a:pt x="37605" y="393798"/>
                </a:cubicBezTo>
                <a:lnTo>
                  <a:pt x="38995" y="368712"/>
                </a:lnTo>
                <a:lnTo>
                  <a:pt x="38666" y="369724"/>
                </a:lnTo>
                <a:cubicBezTo>
                  <a:pt x="37003" y="374506"/>
                  <a:pt x="36202" y="379113"/>
                  <a:pt x="35542" y="384081"/>
                </a:cubicBezTo>
                <a:cubicBezTo>
                  <a:pt x="30313" y="376119"/>
                  <a:pt x="31188" y="366593"/>
                  <a:pt x="33326" y="357791"/>
                </a:cubicBezTo>
                <a:cubicBezTo>
                  <a:pt x="37176" y="347767"/>
                  <a:pt x="44536" y="340769"/>
                  <a:pt x="52725" y="333349"/>
                </a:cubicBezTo>
                <a:lnTo>
                  <a:pt x="55222" y="334475"/>
                </a:lnTo>
                <a:lnTo>
                  <a:pt x="56222" y="333347"/>
                </a:lnTo>
                <a:lnTo>
                  <a:pt x="55871" y="333347"/>
                </a:lnTo>
                <a:lnTo>
                  <a:pt x="56346" y="333207"/>
                </a:lnTo>
                <a:lnTo>
                  <a:pt x="56351" y="333202"/>
                </a:lnTo>
                <a:lnTo>
                  <a:pt x="56365" y="333202"/>
                </a:lnTo>
                <a:lnTo>
                  <a:pt x="79571" y="326360"/>
                </a:lnTo>
                <a:cubicBezTo>
                  <a:pt x="87782" y="326037"/>
                  <a:pt x="96164" y="327572"/>
                  <a:pt x="104297" y="330529"/>
                </a:cubicBezTo>
                <a:lnTo>
                  <a:pt x="107170" y="334417"/>
                </a:lnTo>
                <a:lnTo>
                  <a:pt x="109366" y="336046"/>
                </a:lnTo>
                <a:lnTo>
                  <a:pt x="109463" y="336020"/>
                </a:lnTo>
                <a:lnTo>
                  <a:pt x="109463" y="336118"/>
                </a:lnTo>
                <a:lnTo>
                  <a:pt x="115226" y="340394"/>
                </a:lnTo>
                <a:lnTo>
                  <a:pt x="114010" y="340120"/>
                </a:lnTo>
                <a:lnTo>
                  <a:pt x="133285" y="357423"/>
                </a:lnTo>
                <a:cubicBezTo>
                  <a:pt x="142471" y="373187"/>
                  <a:pt x="155564" y="382744"/>
                  <a:pt x="173509" y="389571"/>
                </a:cubicBezTo>
                <a:cubicBezTo>
                  <a:pt x="176254" y="390785"/>
                  <a:pt x="178988" y="392017"/>
                  <a:pt x="181711" y="393270"/>
                </a:cubicBezTo>
                <a:cubicBezTo>
                  <a:pt x="182964" y="393833"/>
                  <a:pt x="184216" y="394396"/>
                  <a:pt x="185507" y="394976"/>
                </a:cubicBezTo>
                <a:cubicBezTo>
                  <a:pt x="187897" y="396058"/>
                  <a:pt x="190281" y="397151"/>
                  <a:pt x="192658" y="398257"/>
                </a:cubicBezTo>
                <a:cubicBezTo>
                  <a:pt x="193749" y="398762"/>
                  <a:pt x="194841" y="399267"/>
                  <a:pt x="195966" y="399788"/>
                </a:cubicBezTo>
                <a:cubicBezTo>
                  <a:pt x="196912" y="400231"/>
                  <a:pt x="197858" y="400674"/>
                  <a:pt x="198833" y="401131"/>
                </a:cubicBezTo>
                <a:cubicBezTo>
                  <a:pt x="201808" y="402326"/>
                  <a:pt x="204701" y="403032"/>
                  <a:pt x="207877" y="403663"/>
                </a:cubicBezTo>
                <a:cubicBezTo>
                  <a:pt x="207877" y="404593"/>
                  <a:pt x="207877" y="405523"/>
                  <a:pt x="207877" y="406481"/>
                </a:cubicBezTo>
                <a:cubicBezTo>
                  <a:pt x="221233" y="411377"/>
                  <a:pt x="234752" y="415503"/>
                  <a:pt x="248492" y="419428"/>
                </a:cubicBezTo>
                <a:cubicBezTo>
                  <a:pt x="250298" y="419947"/>
                  <a:pt x="252104" y="420466"/>
                  <a:pt x="253965" y="421000"/>
                </a:cubicBezTo>
                <a:cubicBezTo>
                  <a:pt x="258388" y="422270"/>
                  <a:pt x="262812" y="423537"/>
                  <a:pt x="267237" y="424801"/>
                </a:cubicBezTo>
                <a:lnTo>
                  <a:pt x="267237" y="426451"/>
                </a:lnTo>
                <a:lnTo>
                  <a:pt x="288701" y="429217"/>
                </a:lnTo>
                <a:cubicBezTo>
                  <a:pt x="288701" y="430147"/>
                  <a:pt x="288701" y="431078"/>
                  <a:pt x="288701" y="432036"/>
                </a:cubicBezTo>
                <a:cubicBezTo>
                  <a:pt x="301487" y="433472"/>
                  <a:pt x="314148" y="433662"/>
                  <a:pt x="327010" y="433628"/>
                </a:cubicBezTo>
                <a:cubicBezTo>
                  <a:pt x="330502" y="433621"/>
                  <a:pt x="333994" y="433628"/>
                  <a:pt x="337486" y="433637"/>
                </a:cubicBezTo>
                <a:cubicBezTo>
                  <a:pt x="339734" y="433637"/>
                  <a:pt x="341982" y="433635"/>
                  <a:pt x="344229" y="433632"/>
                </a:cubicBezTo>
                <a:cubicBezTo>
                  <a:pt x="347246" y="433630"/>
                  <a:pt x="347246" y="433630"/>
                  <a:pt x="350323" y="433627"/>
                </a:cubicBezTo>
                <a:cubicBezTo>
                  <a:pt x="355445" y="433459"/>
                  <a:pt x="360220" y="432915"/>
                  <a:pt x="365245" y="432036"/>
                </a:cubicBezTo>
                <a:lnTo>
                  <a:pt x="360797" y="433759"/>
                </a:lnTo>
                <a:lnTo>
                  <a:pt x="365650" y="433257"/>
                </a:lnTo>
                <a:cubicBezTo>
                  <a:pt x="366166" y="431861"/>
                  <a:pt x="366682" y="430466"/>
                  <a:pt x="367213" y="429029"/>
                </a:cubicBezTo>
                <a:cubicBezTo>
                  <a:pt x="369854" y="427628"/>
                  <a:pt x="372501" y="426234"/>
                  <a:pt x="375188" y="424906"/>
                </a:cubicBezTo>
                <a:cubicBezTo>
                  <a:pt x="390245" y="417204"/>
                  <a:pt x="397438" y="403183"/>
                  <a:pt x="404704" y="389571"/>
                </a:cubicBezTo>
                <a:cubicBezTo>
                  <a:pt x="405219" y="389105"/>
                  <a:pt x="405734" y="388641"/>
                  <a:pt x="406265" y="388161"/>
                </a:cubicBezTo>
                <a:cubicBezTo>
                  <a:pt x="406663" y="382152"/>
                  <a:pt x="406555" y="376125"/>
                  <a:pt x="406559" y="370106"/>
                </a:cubicBezTo>
                <a:cubicBezTo>
                  <a:pt x="406578" y="368412"/>
                  <a:pt x="406597" y="366718"/>
                  <a:pt x="406617" y="364973"/>
                </a:cubicBezTo>
                <a:cubicBezTo>
                  <a:pt x="406620" y="363344"/>
                  <a:pt x="406622" y="361715"/>
                  <a:pt x="406626" y="360038"/>
                </a:cubicBezTo>
                <a:cubicBezTo>
                  <a:pt x="406632" y="358541"/>
                  <a:pt x="406638" y="357045"/>
                  <a:pt x="406645" y="355503"/>
                </a:cubicBezTo>
                <a:cubicBezTo>
                  <a:pt x="406264" y="351503"/>
                  <a:pt x="405326" y="349318"/>
                  <a:pt x="403142" y="345885"/>
                </a:cubicBezTo>
                <a:cubicBezTo>
                  <a:pt x="402583" y="343484"/>
                  <a:pt x="402067" y="341075"/>
                  <a:pt x="401579" y="338663"/>
                </a:cubicBezTo>
                <a:cubicBezTo>
                  <a:pt x="399365" y="330323"/>
                  <a:pt x="395538" y="323370"/>
                  <a:pt x="390938" y="315939"/>
                </a:cubicBezTo>
                <a:cubicBezTo>
                  <a:pt x="390290" y="314890"/>
                  <a:pt x="389642" y="313842"/>
                  <a:pt x="388976" y="312762"/>
                </a:cubicBezTo>
                <a:cubicBezTo>
                  <a:pt x="385623" y="307500"/>
                  <a:pt x="382070" y="302607"/>
                  <a:pt x="377934" y="297817"/>
                </a:cubicBezTo>
                <a:cubicBezTo>
                  <a:pt x="373788" y="292978"/>
                  <a:pt x="371423" y="288111"/>
                  <a:pt x="368775" y="282470"/>
                </a:cubicBezTo>
                <a:cubicBezTo>
                  <a:pt x="366035" y="278585"/>
                  <a:pt x="362994" y="274937"/>
                  <a:pt x="359890" y="271284"/>
                </a:cubicBezTo>
                <a:cubicBezTo>
                  <a:pt x="359059" y="270296"/>
                  <a:pt x="358230" y="269307"/>
                  <a:pt x="357374" y="268288"/>
                </a:cubicBezTo>
                <a:cubicBezTo>
                  <a:pt x="351312" y="261177"/>
                  <a:pt x="344882" y="254704"/>
                  <a:pt x="337533" y="248649"/>
                </a:cubicBezTo>
                <a:cubicBezTo>
                  <a:pt x="336767" y="247896"/>
                  <a:pt x="336002" y="247144"/>
                  <a:pt x="335214" y="246369"/>
                </a:cubicBezTo>
                <a:cubicBezTo>
                  <a:pt x="332597" y="243963"/>
                  <a:pt x="332597" y="243963"/>
                  <a:pt x="327085" y="242571"/>
                </a:cubicBezTo>
                <a:cubicBezTo>
                  <a:pt x="309670" y="236923"/>
                  <a:pt x="296614" y="222751"/>
                  <a:pt x="288785" y="207968"/>
                </a:cubicBezTo>
                <a:cubicBezTo>
                  <a:pt x="286673" y="202851"/>
                  <a:pt x="286348" y="197968"/>
                  <a:pt x="286373" y="192544"/>
                </a:cubicBezTo>
                <a:cubicBezTo>
                  <a:pt x="286377" y="191437"/>
                  <a:pt x="286381" y="190330"/>
                  <a:pt x="286385" y="189190"/>
                </a:cubicBezTo>
                <a:cubicBezTo>
                  <a:pt x="286881" y="178340"/>
                  <a:pt x="291581" y="171728"/>
                  <a:pt x="300042" y="164095"/>
                </a:cubicBezTo>
                <a:cubicBezTo>
                  <a:pt x="301386" y="162752"/>
                  <a:pt x="301386" y="162752"/>
                  <a:pt x="302757" y="161381"/>
                </a:cubicBezTo>
                <a:cubicBezTo>
                  <a:pt x="312597" y="152504"/>
                  <a:pt x="325185" y="152675"/>
                  <a:pt x="338411" y="152293"/>
                </a:cubicBezTo>
                <a:cubicBezTo>
                  <a:pt x="350839" y="152463"/>
                  <a:pt x="359094" y="154554"/>
                  <a:pt x="368482" y="161893"/>
                </a:cubicBezTo>
                <a:cubicBezTo>
                  <a:pt x="369609" y="163085"/>
                  <a:pt x="370737" y="164277"/>
                  <a:pt x="371899" y="165505"/>
                </a:cubicBezTo>
                <a:cubicBezTo>
                  <a:pt x="372962" y="166522"/>
                  <a:pt x="374026" y="167539"/>
                  <a:pt x="375121" y="168587"/>
                </a:cubicBezTo>
                <a:cubicBezTo>
                  <a:pt x="381050" y="176351"/>
                  <a:pt x="384520" y="184328"/>
                  <a:pt x="384982" y="193777"/>
                </a:cubicBezTo>
                <a:cubicBezTo>
                  <a:pt x="385464" y="201192"/>
                  <a:pt x="387638" y="207607"/>
                  <a:pt x="390352" y="214563"/>
                </a:cubicBezTo>
                <a:cubicBezTo>
                  <a:pt x="390934" y="216079"/>
                  <a:pt x="390934" y="216079"/>
                  <a:pt x="391529" y="217626"/>
                </a:cubicBezTo>
                <a:cubicBezTo>
                  <a:pt x="394082" y="223926"/>
                  <a:pt x="397412" y="228969"/>
                  <a:pt x="401579" y="234556"/>
                </a:cubicBezTo>
                <a:cubicBezTo>
                  <a:pt x="401579" y="235952"/>
                  <a:pt x="401579" y="237347"/>
                  <a:pt x="401579" y="238784"/>
                </a:cubicBezTo>
                <a:cubicBezTo>
                  <a:pt x="402884" y="239263"/>
                  <a:pt x="402884" y="239263"/>
                  <a:pt x="404215" y="239753"/>
                </a:cubicBezTo>
                <a:cubicBezTo>
                  <a:pt x="410099" y="242765"/>
                  <a:pt x="414395" y="246733"/>
                  <a:pt x="417811" y="251996"/>
                </a:cubicBezTo>
                <a:cubicBezTo>
                  <a:pt x="420462" y="255897"/>
                  <a:pt x="423407" y="258959"/>
                  <a:pt x="426866" y="262300"/>
                </a:cubicBezTo>
                <a:cubicBezTo>
                  <a:pt x="435101" y="270407"/>
                  <a:pt x="442641" y="278936"/>
                  <a:pt x="450097" y="287628"/>
                </a:cubicBezTo>
                <a:cubicBezTo>
                  <a:pt x="453081" y="291117"/>
                  <a:pt x="453081" y="291117"/>
                  <a:pt x="457425" y="293920"/>
                </a:cubicBezTo>
                <a:cubicBezTo>
                  <a:pt x="458585" y="294792"/>
                  <a:pt x="459745" y="295664"/>
                  <a:pt x="460940" y="296562"/>
                </a:cubicBezTo>
                <a:cubicBezTo>
                  <a:pt x="460940" y="297957"/>
                  <a:pt x="460940" y="299352"/>
                  <a:pt x="460940" y="300790"/>
                </a:cubicBezTo>
                <a:cubicBezTo>
                  <a:pt x="465063" y="302782"/>
                  <a:pt x="468862" y="304133"/>
                  <a:pt x="473437" y="305018"/>
                </a:cubicBezTo>
                <a:cubicBezTo>
                  <a:pt x="473437" y="305947"/>
                  <a:pt x="473437" y="306877"/>
                  <a:pt x="473437" y="307836"/>
                </a:cubicBezTo>
                <a:cubicBezTo>
                  <a:pt x="475581" y="308519"/>
                  <a:pt x="477730" y="309193"/>
                  <a:pt x="479881" y="309862"/>
                </a:cubicBezTo>
                <a:cubicBezTo>
                  <a:pt x="481077" y="310237"/>
                  <a:pt x="482273" y="310614"/>
                  <a:pt x="483505" y="311001"/>
                </a:cubicBezTo>
                <a:cubicBezTo>
                  <a:pt x="505448" y="316843"/>
                  <a:pt x="527690" y="314359"/>
                  <a:pt x="548419" y="306427"/>
                </a:cubicBezTo>
                <a:cubicBezTo>
                  <a:pt x="549548" y="305998"/>
                  <a:pt x="550678" y="305569"/>
                  <a:pt x="551842" y="305127"/>
                </a:cubicBezTo>
                <a:cubicBezTo>
                  <a:pt x="555376" y="303227"/>
                  <a:pt x="557584" y="300980"/>
                  <a:pt x="560232" y="298148"/>
                </a:cubicBezTo>
                <a:cubicBezTo>
                  <a:pt x="561137" y="297192"/>
                  <a:pt x="562041" y="296236"/>
                  <a:pt x="562972" y="295252"/>
                </a:cubicBezTo>
                <a:cubicBezTo>
                  <a:pt x="564755" y="293274"/>
                  <a:pt x="566459" y="291237"/>
                  <a:pt x="568086" y="289152"/>
                </a:cubicBezTo>
                <a:cubicBezTo>
                  <a:pt x="568813" y="288342"/>
                  <a:pt x="569539" y="287532"/>
                  <a:pt x="570289" y="286697"/>
                </a:cubicBezTo>
                <a:cubicBezTo>
                  <a:pt x="571319" y="286697"/>
                  <a:pt x="572350" y="286697"/>
                  <a:pt x="573413" y="286697"/>
                </a:cubicBezTo>
                <a:cubicBezTo>
                  <a:pt x="577408" y="276984"/>
                  <a:pt x="577197" y="267284"/>
                  <a:pt x="577220" y="257016"/>
                </a:cubicBezTo>
                <a:cubicBezTo>
                  <a:pt x="577227" y="255625"/>
                  <a:pt x="577227" y="255625"/>
                  <a:pt x="577235" y="254206"/>
                </a:cubicBezTo>
                <a:cubicBezTo>
                  <a:pt x="577257" y="237553"/>
                  <a:pt x="574604" y="222055"/>
                  <a:pt x="569443" y="206049"/>
                </a:cubicBezTo>
                <a:cubicBezTo>
                  <a:pt x="568726" y="203553"/>
                  <a:pt x="568726" y="203553"/>
                  <a:pt x="568726" y="200735"/>
                </a:cubicBezTo>
                <a:cubicBezTo>
                  <a:pt x="567695" y="200735"/>
                  <a:pt x="566664" y="200735"/>
                  <a:pt x="565602" y="200735"/>
                </a:cubicBezTo>
                <a:cubicBezTo>
                  <a:pt x="563274" y="195295"/>
                  <a:pt x="561092" y="190108"/>
                  <a:pt x="559549" y="184441"/>
                </a:cubicBezTo>
                <a:cubicBezTo>
                  <a:pt x="555572" y="173477"/>
                  <a:pt x="547043" y="167105"/>
                  <a:pt x="537484" y="159867"/>
                </a:cubicBezTo>
                <a:cubicBezTo>
                  <a:pt x="533579" y="156609"/>
                  <a:pt x="533579" y="156609"/>
                  <a:pt x="531235" y="154230"/>
                </a:cubicBezTo>
                <a:cubicBezTo>
                  <a:pt x="531235" y="153301"/>
                  <a:pt x="531235" y="152371"/>
                  <a:pt x="531235" y="151412"/>
                </a:cubicBezTo>
                <a:cubicBezTo>
                  <a:pt x="529689" y="150947"/>
                  <a:pt x="528143" y="150482"/>
                  <a:pt x="526549" y="150003"/>
                </a:cubicBezTo>
                <a:cubicBezTo>
                  <a:pt x="519904" y="137298"/>
                  <a:pt x="519105" y="120357"/>
                  <a:pt x="524304" y="107198"/>
                </a:cubicBezTo>
                <a:cubicBezTo>
                  <a:pt x="529443" y="97376"/>
                  <a:pt x="535781" y="90193"/>
                  <a:pt x="547052" y="85972"/>
                </a:cubicBezTo>
                <a:cubicBezTo>
                  <a:pt x="559924" y="81835"/>
                  <a:pt x="575221" y="79746"/>
                  <a:pt x="588460" y="83538"/>
                </a:cubicBezTo>
                <a:cubicBezTo>
                  <a:pt x="601643" y="89713"/>
                  <a:pt x="611835" y="99450"/>
                  <a:pt x="617152" y="111954"/>
                </a:cubicBezTo>
                <a:cubicBezTo>
                  <a:pt x="617935" y="116052"/>
                  <a:pt x="617954" y="120024"/>
                  <a:pt x="617884" y="124175"/>
                </a:cubicBezTo>
                <a:cubicBezTo>
                  <a:pt x="617896" y="125307"/>
                  <a:pt x="617906" y="126440"/>
                  <a:pt x="617917" y="127607"/>
                </a:cubicBezTo>
                <a:cubicBezTo>
                  <a:pt x="617963" y="132394"/>
                  <a:pt x="617938" y="137181"/>
                  <a:pt x="617919" y="141969"/>
                </a:cubicBezTo>
                <a:cubicBezTo>
                  <a:pt x="617899" y="160184"/>
                  <a:pt x="619422" y="175572"/>
                  <a:pt x="630625" y="191311"/>
                </a:cubicBezTo>
                <a:cubicBezTo>
                  <a:pt x="633753" y="195891"/>
                  <a:pt x="636431" y="199900"/>
                  <a:pt x="637850" y="205139"/>
                </a:cubicBezTo>
                <a:cubicBezTo>
                  <a:pt x="638615" y="209623"/>
                  <a:pt x="638615" y="209623"/>
                  <a:pt x="643708" y="212009"/>
                </a:cubicBezTo>
                <a:cubicBezTo>
                  <a:pt x="645380" y="214563"/>
                  <a:pt x="645380" y="214563"/>
                  <a:pt x="647027" y="217645"/>
                </a:cubicBezTo>
                <a:cubicBezTo>
                  <a:pt x="652549" y="227016"/>
                  <a:pt x="660443" y="235696"/>
                  <a:pt x="670264" y="241603"/>
                </a:cubicBezTo>
                <a:cubicBezTo>
                  <a:pt x="670264" y="242532"/>
                  <a:pt x="670264" y="243462"/>
                  <a:pt x="670264" y="244421"/>
                </a:cubicBezTo>
                <a:cubicBezTo>
                  <a:pt x="672036" y="244857"/>
                  <a:pt x="673808" y="245293"/>
                  <a:pt x="675634" y="245742"/>
                </a:cubicBezTo>
                <a:cubicBezTo>
                  <a:pt x="681199" y="247239"/>
                  <a:pt x="681199" y="247239"/>
                  <a:pt x="682761" y="248649"/>
                </a:cubicBezTo>
                <a:cubicBezTo>
                  <a:pt x="704487" y="252065"/>
                  <a:pt x="732606" y="256402"/>
                  <a:pt x="752092" y="245076"/>
                </a:cubicBezTo>
                <a:cubicBezTo>
                  <a:pt x="754252" y="243599"/>
                  <a:pt x="756372" y="242073"/>
                  <a:pt x="758433" y="240485"/>
                </a:cubicBezTo>
                <a:cubicBezTo>
                  <a:pt x="760867" y="238784"/>
                  <a:pt x="760867" y="238784"/>
                  <a:pt x="763991" y="238784"/>
                </a:cubicBezTo>
                <a:cubicBezTo>
                  <a:pt x="764647" y="237296"/>
                  <a:pt x="764647" y="237296"/>
                  <a:pt x="765315" y="235778"/>
                </a:cubicBezTo>
                <a:cubicBezTo>
                  <a:pt x="767151" y="231659"/>
                  <a:pt x="769030" y="227557"/>
                  <a:pt x="770923" y="223459"/>
                </a:cubicBezTo>
                <a:cubicBezTo>
                  <a:pt x="771608" y="221966"/>
                  <a:pt x="772292" y="220472"/>
                  <a:pt x="772998" y="218934"/>
                </a:cubicBezTo>
                <a:cubicBezTo>
                  <a:pt x="774429" y="215885"/>
                  <a:pt x="775968" y="212878"/>
                  <a:pt x="777562" y="209895"/>
                </a:cubicBezTo>
                <a:cubicBezTo>
                  <a:pt x="787607" y="185732"/>
                  <a:pt x="788559" y="149501"/>
                  <a:pt x="781175" y="124637"/>
                </a:cubicBezTo>
                <a:cubicBezTo>
                  <a:pt x="780144" y="124637"/>
                  <a:pt x="779113" y="124637"/>
                  <a:pt x="778051" y="124637"/>
                </a:cubicBezTo>
                <a:cubicBezTo>
                  <a:pt x="768501" y="110080"/>
                  <a:pt x="762898" y="96653"/>
                  <a:pt x="767116" y="79542"/>
                </a:cubicBezTo>
                <a:cubicBezTo>
                  <a:pt x="772286" y="69057"/>
                  <a:pt x="781456" y="58252"/>
                  <a:pt x="793379" y="54000"/>
                </a:cubicBezTo>
                <a:cubicBezTo>
                  <a:pt x="808369" y="49250"/>
                  <a:pt x="826058" y="49579"/>
                  <a:pt x="840688" y="55503"/>
                </a:cubicBezTo>
                <a:cubicBezTo>
                  <a:pt x="845183" y="57759"/>
                  <a:pt x="848037" y="60575"/>
                  <a:pt x="851470" y="64040"/>
                </a:cubicBezTo>
                <a:cubicBezTo>
                  <a:pt x="852721" y="65272"/>
                  <a:pt x="852721" y="65272"/>
                  <a:pt x="853997" y="66529"/>
                </a:cubicBezTo>
                <a:cubicBezTo>
                  <a:pt x="858396" y="71505"/>
                  <a:pt x="860490" y="76640"/>
                  <a:pt x="861488" y="82057"/>
                </a:cubicBezTo>
                <a:lnTo>
                  <a:pt x="861937" y="90492"/>
                </a:lnTo>
                <a:lnTo>
                  <a:pt x="863826" y="100715"/>
                </a:lnTo>
                <a:cubicBezTo>
                  <a:pt x="862141" y="107853"/>
                  <a:pt x="859866" y="114857"/>
                  <a:pt x="857577" y="121853"/>
                </a:cubicBezTo>
                <a:cubicBezTo>
                  <a:pt x="857062" y="121853"/>
                  <a:pt x="856547" y="121853"/>
                  <a:pt x="856015" y="121853"/>
                </a:cubicBezTo>
                <a:cubicBezTo>
                  <a:pt x="855731" y="120401"/>
                  <a:pt x="855731" y="120401"/>
                  <a:pt x="855442" y="118919"/>
                </a:cubicBezTo>
                <a:lnTo>
                  <a:pt x="855417" y="118798"/>
                </a:lnTo>
                <a:lnTo>
                  <a:pt x="856157" y="124637"/>
                </a:lnTo>
                <a:lnTo>
                  <a:pt x="850623" y="134701"/>
                </a:lnTo>
                <a:lnTo>
                  <a:pt x="851325" y="135968"/>
                </a:lnTo>
                <a:cubicBezTo>
                  <a:pt x="850851" y="137246"/>
                  <a:pt x="850376" y="138525"/>
                  <a:pt x="849886" y="139843"/>
                </a:cubicBezTo>
                <a:cubicBezTo>
                  <a:pt x="848171" y="144505"/>
                  <a:pt x="847798" y="148002"/>
                  <a:pt x="847786" y="152889"/>
                </a:cubicBezTo>
                <a:cubicBezTo>
                  <a:pt x="847779" y="154500"/>
                  <a:pt x="847773" y="156109"/>
                  <a:pt x="847767" y="157768"/>
                </a:cubicBezTo>
                <a:cubicBezTo>
                  <a:pt x="847782" y="159468"/>
                  <a:pt x="847796" y="161167"/>
                  <a:pt x="847810" y="162919"/>
                </a:cubicBezTo>
                <a:cubicBezTo>
                  <a:pt x="847821" y="165546"/>
                  <a:pt x="847821" y="165546"/>
                  <a:pt x="847832" y="168227"/>
                </a:cubicBezTo>
                <a:cubicBezTo>
                  <a:pt x="847980" y="181934"/>
                  <a:pt x="849003" y="195419"/>
                  <a:pt x="850903" y="209013"/>
                </a:cubicBezTo>
                <a:lnTo>
                  <a:pt x="852880" y="224692"/>
                </a:lnTo>
                <a:lnTo>
                  <a:pt x="854595" y="224692"/>
                </a:lnTo>
                <a:cubicBezTo>
                  <a:pt x="855086" y="225542"/>
                  <a:pt x="855577" y="226392"/>
                  <a:pt x="856083" y="227268"/>
                </a:cubicBezTo>
                <a:cubicBezTo>
                  <a:pt x="862358" y="237839"/>
                  <a:pt x="866924" y="242785"/>
                  <a:pt x="879588" y="247239"/>
                </a:cubicBezTo>
                <a:cubicBezTo>
                  <a:pt x="881642" y="248025"/>
                  <a:pt x="883692" y="248817"/>
                  <a:pt x="885739" y="249618"/>
                </a:cubicBezTo>
                <a:cubicBezTo>
                  <a:pt x="887318" y="250227"/>
                  <a:pt x="888897" y="250838"/>
                  <a:pt x="890523" y="251467"/>
                </a:cubicBezTo>
                <a:cubicBezTo>
                  <a:pt x="890523" y="252397"/>
                  <a:pt x="890523" y="253327"/>
                  <a:pt x="890523" y="254285"/>
                </a:cubicBezTo>
                <a:cubicBezTo>
                  <a:pt x="900347" y="257061"/>
                  <a:pt x="910127" y="259425"/>
                  <a:pt x="920203" y="261332"/>
                </a:cubicBezTo>
                <a:cubicBezTo>
                  <a:pt x="920203" y="261796"/>
                  <a:pt x="920203" y="262262"/>
                  <a:pt x="920203" y="262741"/>
                </a:cubicBezTo>
                <a:cubicBezTo>
                  <a:pt x="917111" y="262741"/>
                  <a:pt x="914018" y="262741"/>
                  <a:pt x="910831" y="262741"/>
                </a:cubicBezTo>
                <a:lnTo>
                  <a:pt x="910831" y="262864"/>
                </a:lnTo>
                <a:lnTo>
                  <a:pt x="927993" y="264177"/>
                </a:lnTo>
                <a:lnTo>
                  <a:pt x="939273" y="265285"/>
                </a:lnTo>
                <a:lnTo>
                  <a:pt x="940456" y="265191"/>
                </a:lnTo>
                <a:cubicBezTo>
                  <a:pt x="962552" y="263054"/>
                  <a:pt x="974979" y="255295"/>
                  <a:pt x="991622" y="242329"/>
                </a:cubicBezTo>
                <a:lnTo>
                  <a:pt x="1000803" y="236505"/>
                </a:lnTo>
                <a:lnTo>
                  <a:pt x="999806" y="236055"/>
                </a:lnTo>
                <a:cubicBezTo>
                  <a:pt x="1000902" y="234997"/>
                  <a:pt x="1001997" y="233941"/>
                  <a:pt x="1003126" y="232851"/>
                </a:cubicBezTo>
                <a:cubicBezTo>
                  <a:pt x="1012364" y="223880"/>
                  <a:pt x="1021184" y="214752"/>
                  <a:pt x="1029487" y="205052"/>
                </a:cubicBezTo>
                <a:lnTo>
                  <a:pt x="1029872" y="206442"/>
                </a:lnTo>
                <a:lnTo>
                  <a:pt x="1031614" y="203719"/>
                </a:lnTo>
                <a:cubicBezTo>
                  <a:pt x="1033221" y="199204"/>
                  <a:pt x="1035713" y="196017"/>
                  <a:pt x="1038924" y="192280"/>
                </a:cubicBezTo>
                <a:cubicBezTo>
                  <a:pt x="1039956" y="191815"/>
                  <a:pt x="1040987" y="191349"/>
                  <a:pt x="1042049" y="190870"/>
                </a:cubicBezTo>
                <a:cubicBezTo>
                  <a:pt x="1043161" y="188473"/>
                  <a:pt x="1043161" y="188473"/>
                  <a:pt x="1044294" y="186026"/>
                </a:cubicBezTo>
                <a:cubicBezTo>
                  <a:pt x="1046735" y="181006"/>
                  <a:pt x="1046735" y="181006"/>
                  <a:pt x="1051422" y="178188"/>
                </a:cubicBezTo>
                <a:cubicBezTo>
                  <a:pt x="1052553" y="175286"/>
                  <a:pt x="1052553" y="175286"/>
                  <a:pt x="1052984" y="172551"/>
                </a:cubicBezTo>
                <a:cubicBezTo>
                  <a:pt x="1054014" y="172551"/>
                  <a:pt x="1055046" y="172551"/>
                  <a:pt x="1056108" y="172551"/>
                </a:cubicBezTo>
                <a:cubicBezTo>
                  <a:pt x="1057139" y="169295"/>
                  <a:pt x="1058170" y="166040"/>
                  <a:pt x="1059232" y="162686"/>
                </a:cubicBezTo>
                <a:cubicBezTo>
                  <a:pt x="1060263" y="162686"/>
                  <a:pt x="1061295" y="162686"/>
                  <a:pt x="1062357" y="162686"/>
                </a:cubicBezTo>
                <a:cubicBezTo>
                  <a:pt x="1062755" y="161484"/>
                  <a:pt x="1062755" y="161484"/>
                  <a:pt x="1063162" y="160258"/>
                </a:cubicBezTo>
                <a:cubicBezTo>
                  <a:pt x="1065716" y="152917"/>
                  <a:pt x="1068813" y="146686"/>
                  <a:pt x="1073292" y="140138"/>
                </a:cubicBezTo>
                <a:cubicBezTo>
                  <a:pt x="1074322" y="140138"/>
                  <a:pt x="1075353" y="140138"/>
                  <a:pt x="1076415" y="140138"/>
                </a:cubicBezTo>
                <a:cubicBezTo>
                  <a:pt x="1079808" y="132748"/>
                  <a:pt x="1082509" y="125160"/>
                  <a:pt x="1085294" y="117569"/>
                </a:cubicBezTo>
                <a:cubicBezTo>
                  <a:pt x="1085972" y="116181"/>
                  <a:pt x="1086651" y="114793"/>
                  <a:pt x="1087350" y="113363"/>
                </a:cubicBezTo>
                <a:cubicBezTo>
                  <a:pt x="1089671" y="112666"/>
                  <a:pt x="1089671" y="112666"/>
                  <a:pt x="1092037" y="111954"/>
                </a:cubicBezTo>
                <a:cubicBezTo>
                  <a:pt x="1092230" y="110879"/>
                  <a:pt x="1092423" y="109803"/>
                  <a:pt x="1092623" y="108695"/>
                </a:cubicBezTo>
                <a:cubicBezTo>
                  <a:pt x="1093599" y="104908"/>
                  <a:pt x="1093599" y="104908"/>
                  <a:pt x="1096723" y="100680"/>
                </a:cubicBezTo>
                <a:cubicBezTo>
                  <a:pt x="1097207" y="99140"/>
                  <a:pt x="1097689" y="97599"/>
                  <a:pt x="1098188" y="96013"/>
                </a:cubicBezTo>
                <a:cubicBezTo>
                  <a:pt x="1099847" y="90815"/>
                  <a:pt x="1099847" y="90815"/>
                  <a:pt x="1102288" y="87029"/>
                </a:cubicBezTo>
                <a:cubicBezTo>
                  <a:pt x="1106061" y="79186"/>
                  <a:pt x="1107564" y="69424"/>
                  <a:pt x="1104534" y="61222"/>
                </a:cubicBezTo>
                <a:cubicBezTo>
                  <a:pt x="1104409" y="59341"/>
                  <a:pt x="1104366" y="57454"/>
                  <a:pt x="1104381" y="55569"/>
                </a:cubicBezTo>
                <a:cubicBezTo>
                  <a:pt x="1104386" y="54501"/>
                  <a:pt x="1104391" y="53434"/>
                  <a:pt x="1104397" y="52335"/>
                </a:cubicBezTo>
                <a:cubicBezTo>
                  <a:pt x="1104410" y="51228"/>
                  <a:pt x="1104423" y="50120"/>
                  <a:pt x="1104436" y="48979"/>
                </a:cubicBezTo>
                <a:cubicBezTo>
                  <a:pt x="1104443" y="47856"/>
                  <a:pt x="1104451" y="46733"/>
                  <a:pt x="1104457" y="45575"/>
                </a:cubicBezTo>
                <a:cubicBezTo>
                  <a:pt x="1104476" y="42805"/>
                  <a:pt x="1104504" y="40035"/>
                  <a:pt x="1104534" y="37265"/>
                </a:cubicBezTo>
                <a:cubicBezTo>
                  <a:pt x="1105565" y="37265"/>
                  <a:pt x="1106596" y="37265"/>
                  <a:pt x="1107658" y="37265"/>
                </a:cubicBezTo>
                <a:cubicBezTo>
                  <a:pt x="1107561" y="34562"/>
                  <a:pt x="1107561" y="34562"/>
                  <a:pt x="1107463" y="31805"/>
                </a:cubicBezTo>
                <a:cubicBezTo>
                  <a:pt x="1107353" y="28733"/>
                  <a:pt x="1107353" y="28733"/>
                  <a:pt x="1107658" y="25991"/>
                </a:cubicBezTo>
                <a:cubicBezTo>
                  <a:pt x="1108689" y="25062"/>
                  <a:pt x="1109720" y="24131"/>
                  <a:pt x="1110782" y="23173"/>
                </a:cubicBezTo>
                <a:cubicBezTo>
                  <a:pt x="1111104" y="22156"/>
                  <a:pt x="1111427" y="21138"/>
                  <a:pt x="1111759" y="20091"/>
                </a:cubicBezTo>
                <a:cubicBezTo>
                  <a:pt x="1116393" y="11539"/>
                  <a:pt x="1124927" y="6390"/>
                  <a:pt x="1134507" y="2828"/>
                </a:cubicBezTo>
                <a:cubicBezTo>
                  <a:pt x="1141389" y="825"/>
                  <a:pt x="1148262" y="-204"/>
                  <a:pt x="1155019" y="35"/>
                </a:cubicBezTo>
                <a:close/>
              </a:path>
            </a:pathLst>
          </a:custGeom>
          <a:solidFill>
            <a:schemeClr val="accent3"/>
          </a:solidFill>
          <a:ln w="2232" cap="flat">
            <a:noFill/>
            <a:prstDash val="solid"/>
            <a:miter/>
          </a:ln>
          <a:effectLst>
            <a:innerShdw blurRad="63500" dist="190500" dir="8100000">
              <a:schemeClr val="accent3">
                <a:lumMod val="75000"/>
                <a:alpha val="50000"/>
              </a:schemeClr>
            </a:innerShdw>
          </a:effectLst>
        </p:spPr>
        <p:txBody>
          <a:bodyPr wrap="squar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026" name="Oval 9025">
            <a:extLst>
              <a:ext uri="{FF2B5EF4-FFF2-40B4-BE49-F238E27FC236}">
                <a16:creationId xmlns:a16="http://schemas.microsoft.com/office/drawing/2014/main" id="{AD977F64-AB25-1CF3-40BF-91B98C938671}"/>
              </a:ext>
            </a:extLst>
          </p:cNvPr>
          <p:cNvSpPr/>
          <p:nvPr/>
        </p:nvSpPr>
        <p:spPr>
          <a:xfrm>
            <a:off x="5646302" y="3762519"/>
            <a:ext cx="96793" cy="96793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027" name="Oval 9026">
            <a:extLst>
              <a:ext uri="{FF2B5EF4-FFF2-40B4-BE49-F238E27FC236}">
                <a16:creationId xmlns:a16="http://schemas.microsoft.com/office/drawing/2014/main" id="{9F115E28-27DD-EA8A-C153-26A5685CFBAB}"/>
              </a:ext>
            </a:extLst>
          </p:cNvPr>
          <p:cNvSpPr/>
          <p:nvPr/>
        </p:nvSpPr>
        <p:spPr>
          <a:xfrm>
            <a:off x="5775514" y="3847271"/>
            <a:ext cx="96793" cy="96793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028" name="Oval 9027">
            <a:extLst>
              <a:ext uri="{FF2B5EF4-FFF2-40B4-BE49-F238E27FC236}">
                <a16:creationId xmlns:a16="http://schemas.microsoft.com/office/drawing/2014/main" id="{66F2320D-8D8C-64D2-0343-6DEB9D020D0E}"/>
              </a:ext>
            </a:extLst>
          </p:cNvPr>
          <p:cNvSpPr/>
          <p:nvPr/>
        </p:nvSpPr>
        <p:spPr>
          <a:xfrm>
            <a:off x="5681731" y="4004963"/>
            <a:ext cx="75769" cy="75769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029" name="Oval 9028">
            <a:extLst>
              <a:ext uri="{FF2B5EF4-FFF2-40B4-BE49-F238E27FC236}">
                <a16:creationId xmlns:a16="http://schemas.microsoft.com/office/drawing/2014/main" id="{97DA53D4-EB21-2AD2-6F56-1FBBC405712C}"/>
              </a:ext>
            </a:extLst>
          </p:cNvPr>
          <p:cNvSpPr/>
          <p:nvPr/>
        </p:nvSpPr>
        <p:spPr>
          <a:xfrm>
            <a:off x="5883884" y="3987596"/>
            <a:ext cx="96793" cy="96793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030" name="Oval 9029">
            <a:extLst>
              <a:ext uri="{FF2B5EF4-FFF2-40B4-BE49-F238E27FC236}">
                <a16:creationId xmlns:a16="http://schemas.microsoft.com/office/drawing/2014/main" id="{90955C14-FE54-9B26-FDE5-84D01236F66B}"/>
              </a:ext>
            </a:extLst>
          </p:cNvPr>
          <p:cNvSpPr/>
          <p:nvPr/>
        </p:nvSpPr>
        <p:spPr>
          <a:xfrm>
            <a:off x="5915145" y="3786138"/>
            <a:ext cx="65532" cy="65532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031" name="Oval 9030">
            <a:extLst>
              <a:ext uri="{FF2B5EF4-FFF2-40B4-BE49-F238E27FC236}">
                <a16:creationId xmlns:a16="http://schemas.microsoft.com/office/drawing/2014/main" id="{0A5D682C-1A11-31F9-5CA4-3CA918533B1F}"/>
              </a:ext>
            </a:extLst>
          </p:cNvPr>
          <p:cNvSpPr/>
          <p:nvPr/>
        </p:nvSpPr>
        <p:spPr>
          <a:xfrm>
            <a:off x="5413033" y="4276720"/>
            <a:ext cx="656485" cy="147620"/>
          </a:xfrm>
          <a:prstGeom prst="ellipse">
            <a:avLst/>
          </a:prstGeom>
          <a:solidFill>
            <a:schemeClr val="tx1">
              <a:alpha val="5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033" name="Free-form: Shape 9032">
            <a:extLst>
              <a:ext uri="{FF2B5EF4-FFF2-40B4-BE49-F238E27FC236}">
                <a16:creationId xmlns:a16="http://schemas.microsoft.com/office/drawing/2014/main" id="{8A224D48-904F-C753-1021-E5BB5E1C1D9D}"/>
              </a:ext>
            </a:extLst>
          </p:cNvPr>
          <p:cNvSpPr/>
          <p:nvPr/>
        </p:nvSpPr>
        <p:spPr>
          <a:xfrm>
            <a:off x="7280349" y="4289649"/>
            <a:ext cx="557648" cy="1497715"/>
          </a:xfrm>
          <a:custGeom>
            <a:avLst/>
            <a:gdLst>
              <a:gd name="csX0" fmla="*/ 898754 w 1315852"/>
              <a:gd name="csY0" fmla="*/ 1637125 h 3212801"/>
              <a:gd name="csX1" fmla="*/ 900426 w 1315852"/>
              <a:gd name="csY1" fmla="*/ 1643802 h 3212801"/>
              <a:gd name="csX2" fmla="*/ 903549 w 1315852"/>
              <a:gd name="csY2" fmla="*/ 1709345 h 3212801"/>
              <a:gd name="csX3" fmla="*/ 908512 w 1315852"/>
              <a:gd name="csY3" fmla="*/ 1750739 h 3212801"/>
              <a:gd name="csX4" fmla="*/ 911839 w 1315852"/>
              <a:gd name="csY4" fmla="*/ 1783999 h 3212801"/>
              <a:gd name="csX5" fmla="*/ 919775 w 1315852"/>
              <a:gd name="csY5" fmla="*/ 1846044 h 3212801"/>
              <a:gd name="csX6" fmla="*/ 928724 w 1315852"/>
              <a:gd name="csY6" fmla="*/ 1912212 h 3212801"/>
              <a:gd name="csX7" fmla="*/ 943556 w 1315852"/>
              <a:gd name="csY7" fmla="*/ 1998602 h 3212801"/>
              <a:gd name="csX8" fmla="*/ 967918 w 1315852"/>
              <a:gd name="csY8" fmla="*/ 2121455 h 3212801"/>
              <a:gd name="csX9" fmla="*/ 988236 w 1315852"/>
              <a:gd name="csY9" fmla="*/ 2216813 h 3212801"/>
              <a:gd name="csX10" fmla="*/ 1028961 w 1315852"/>
              <a:gd name="csY10" fmla="*/ 2386212 h 3212801"/>
              <a:gd name="csX11" fmla="*/ 1055369 w 1315852"/>
              <a:gd name="csY11" fmla="*/ 2485963 h 3212801"/>
              <a:gd name="csX12" fmla="*/ 1069125 w 1315852"/>
              <a:gd name="csY12" fmla="*/ 2501571 h 3212801"/>
              <a:gd name="csX13" fmla="*/ 1104775 w 1315852"/>
              <a:gd name="csY13" fmla="*/ 2517672 h 3212801"/>
              <a:gd name="csX14" fmla="*/ 1117910 w 1315852"/>
              <a:gd name="csY14" fmla="*/ 2527831 h 3212801"/>
              <a:gd name="csX15" fmla="*/ 1122737 w 1315852"/>
              <a:gd name="csY15" fmla="*/ 2552282 h 3212801"/>
              <a:gd name="csX16" fmla="*/ 1114779 w 1315852"/>
              <a:gd name="csY16" fmla="*/ 2570125 h 3212801"/>
              <a:gd name="csX17" fmla="*/ 1114207 w 1315852"/>
              <a:gd name="csY17" fmla="*/ 2618225 h 3212801"/>
              <a:gd name="csX18" fmla="*/ 1148150 w 1315852"/>
              <a:gd name="csY18" fmla="*/ 2663984 h 3212801"/>
              <a:gd name="csX19" fmla="*/ 1206600 w 1315852"/>
              <a:gd name="csY19" fmla="*/ 2720256 h 3212801"/>
              <a:gd name="csX20" fmla="*/ 1275524 w 1315852"/>
              <a:gd name="csY20" fmla="*/ 2850317 h 3212801"/>
              <a:gd name="csX21" fmla="*/ 1277353 w 1315852"/>
              <a:gd name="csY21" fmla="*/ 2897326 h 3212801"/>
              <a:gd name="csX22" fmla="*/ 1271355 w 1315852"/>
              <a:gd name="csY22" fmla="*/ 2935725 h 3212801"/>
              <a:gd name="csX23" fmla="*/ 1274691 w 1315852"/>
              <a:gd name="csY23" fmla="*/ 2954335 h 3212801"/>
              <a:gd name="csX24" fmla="*/ 1301797 w 1315852"/>
              <a:gd name="csY24" fmla="*/ 3028744 h 3212801"/>
              <a:gd name="csX25" fmla="*/ 1311943 w 1315852"/>
              <a:gd name="csY25" fmla="*/ 3082025 h 3212801"/>
              <a:gd name="csX26" fmla="*/ 1315801 w 1315852"/>
              <a:gd name="csY26" fmla="*/ 3133440 h 3212801"/>
              <a:gd name="csX27" fmla="*/ 1307182 w 1315852"/>
              <a:gd name="csY27" fmla="*/ 3146201 h 3212801"/>
              <a:gd name="csX28" fmla="*/ 1280933 w 1315852"/>
              <a:gd name="csY28" fmla="*/ 3155733 h 3212801"/>
              <a:gd name="csX29" fmla="*/ 1169576 w 1315852"/>
              <a:gd name="csY29" fmla="*/ 3181105 h 3212801"/>
              <a:gd name="csX30" fmla="*/ 1098129 w 1315852"/>
              <a:gd name="csY30" fmla="*/ 3192005 h 3212801"/>
              <a:gd name="csX31" fmla="*/ 1025959 w 1315852"/>
              <a:gd name="csY31" fmla="*/ 3198069 h 3212801"/>
              <a:gd name="csX32" fmla="*/ 969161 w 1315852"/>
              <a:gd name="csY32" fmla="*/ 3203391 h 3212801"/>
              <a:gd name="csX33" fmla="*/ 966367 w 1315852"/>
              <a:gd name="csY33" fmla="*/ 3203587 h 3212801"/>
              <a:gd name="csX34" fmla="*/ 890991 w 1315852"/>
              <a:gd name="csY34" fmla="*/ 3206415 h 3212801"/>
              <a:gd name="csX35" fmla="*/ 786197 w 1315852"/>
              <a:gd name="csY35" fmla="*/ 3209641 h 3212801"/>
              <a:gd name="csX36" fmla="*/ 618254 w 1315852"/>
              <a:gd name="csY36" fmla="*/ 3211234 h 3212801"/>
              <a:gd name="csX37" fmla="*/ 506392 w 1315852"/>
              <a:gd name="csY37" fmla="*/ 3209195 h 3212801"/>
              <a:gd name="csX38" fmla="*/ 443638 w 1315852"/>
              <a:gd name="csY38" fmla="*/ 3206415 h 3212801"/>
              <a:gd name="csX39" fmla="*/ 389301 w 1315852"/>
              <a:gd name="csY39" fmla="*/ 3203597 h 3212801"/>
              <a:gd name="csX40" fmla="*/ 305884 w 1315852"/>
              <a:gd name="csY40" fmla="*/ 3197747 h 3212801"/>
              <a:gd name="csX41" fmla="*/ 216151 w 1315852"/>
              <a:gd name="csY41" fmla="*/ 3186940 h 3212801"/>
              <a:gd name="csX42" fmla="*/ 141593 w 1315852"/>
              <a:gd name="csY42" fmla="*/ 3177824 h 3212801"/>
              <a:gd name="csX43" fmla="*/ 44929 w 1315852"/>
              <a:gd name="csY43" fmla="*/ 3157176 h 3212801"/>
              <a:gd name="csX44" fmla="*/ 10154 w 1315852"/>
              <a:gd name="csY44" fmla="*/ 3146750 h 3212801"/>
              <a:gd name="csX45" fmla="*/ 112 w 1315852"/>
              <a:gd name="csY45" fmla="*/ 3132149 h 3212801"/>
              <a:gd name="csX46" fmla="*/ 5263 w 1315852"/>
              <a:gd name="csY46" fmla="*/ 3080960 h 3212801"/>
              <a:gd name="csX47" fmla="*/ 13758 w 1315852"/>
              <a:gd name="csY47" fmla="*/ 3031612 h 3212801"/>
              <a:gd name="csX48" fmla="*/ 40996 w 1315852"/>
              <a:gd name="csY48" fmla="*/ 2960204 h 3212801"/>
              <a:gd name="csX49" fmla="*/ 43510 w 1315852"/>
              <a:gd name="csY49" fmla="*/ 2944616 h 3212801"/>
              <a:gd name="csX50" fmla="*/ 36916 w 1315852"/>
              <a:gd name="csY50" fmla="*/ 2875457 h 3212801"/>
              <a:gd name="csX51" fmla="*/ 46646 w 1315852"/>
              <a:gd name="csY51" fmla="*/ 2827778 h 3212801"/>
              <a:gd name="csX52" fmla="*/ 108895 w 1315852"/>
              <a:gd name="csY52" fmla="*/ 2723307 h 3212801"/>
              <a:gd name="csX53" fmla="*/ 188375 w 1315852"/>
              <a:gd name="csY53" fmla="*/ 2646399 h 3212801"/>
              <a:gd name="csX54" fmla="*/ 211535 w 1315852"/>
              <a:gd name="csY54" fmla="*/ 2605867 h 3212801"/>
              <a:gd name="csX55" fmla="*/ 205182 w 1315852"/>
              <a:gd name="csY55" fmla="*/ 2571418 h 3212801"/>
              <a:gd name="csX56" fmla="*/ 196651 w 1315852"/>
              <a:gd name="csY56" fmla="*/ 2557085 h 3212801"/>
              <a:gd name="csX57" fmla="*/ 209021 w 1315852"/>
              <a:gd name="csY57" fmla="*/ 2521560 h 3212801"/>
              <a:gd name="csX58" fmla="*/ 245764 w 1315852"/>
              <a:gd name="csY58" fmla="*/ 2504395 h 3212801"/>
              <a:gd name="csX59" fmla="*/ 263769 w 1315852"/>
              <a:gd name="csY59" fmla="*/ 2485128 h 3212801"/>
              <a:gd name="csX60" fmla="*/ 300045 w 1315852"/>
              <a:gd name="csY60" fmla="*/ 2354726 h 3212801"/>
              <a:gd name="csX61" fmla="*/ 326003 w 1315852"/>
              <a:gd name="csY61" fmla="*/ 2249117 h 3212801"/>
              <a:gd name="csX62" fmla="*/ 359250 w 1315852"/>
              <a:gd name="csY62" fmla="*/ 2092493 h 3212801"/>
              <a:gd name="csX63" fmla="*/ 378011 w 1315852"/>
              <a:gd name="csY63" fmla="*/ 1995496 h 3212801"/>
              <a:gd name="csX64" fmla="*/ 390230 w 1315852"/>
              <a:gd name="csY64" fmla="*/ 1915745 h 3212801"/>
              <a:gd name="csX65" fmla="*/ 400702 w 1315852"/>
              <a:gd name="csY65" fmla="*/ 1851249 h 3212801"/>
              <a:gd name="csX66" fmla="*/ 406954 w 1315852"/>
              <a:gd name="csY66" fmla="*/ 1788916 h 3212801"/>
              <a:gd name="csX67" fmla="*/ 412016 w 1315852"/>
              <a:gd name="csY67" fmla="*/ 1747526 h 3212801"/>
              <a:gd name="csX68" fmla="*/ 415185 w 1315852"/>
              <a:gd name="csY68" fmla="*/ 1712850 h 3212801"/>
              <a:gd name="csX69" fmla="*/ 418197 w 1315852"/>
              <a:gd name="csY69" fmla="*/ 1651507 h 3212801"/>
              <a:gd name="csX70" fmla="*/ 423324 w 1315852"/>
              <a:gd name="csY70" fmla="*/ 1583479 h 3212801"/>
              <a:gd name="csX71" fmla="*/ 426059 w 1315852"/>
              <a:gd name="csY71" fmla="*/ 1477299 h 3212801"/>
              <a:gd name="csX72" fmla="*/ 424204 w 1315852"/>
              <a:gd name="csY72" fmla="*/ 1473415 h 3212801"/>
              <a:gd name="csX73" fmla="*/ 390769 w 1315852"/>
              <a:gd name="csY73" fmla="*/ 1470003 h 3212801"/>
              <a:gd name="csX74" fmla="*/ 327487 w 1315852"/>
              <a:gd name="csY74" fmla="*/ 1460760 h 3212801"/>
              <a:gd name="csX75" fmla="*/ 289037 w 1315852"/>
              <a:gd name="csY75" fmla="*/ 1410705 h 3212801"/>
              <a:gd name="csX76" fmla="*/ 292610 w 1315852"/>
              <a:gd name="csY76" fmla="*/ 1374826 h 3212801"/>
              <a:gd name="csX77" fmla="*/ 335365 w 1315852"/>
              <a:gd name="csY77" fmla="*/ 1319956 h 3212801"/>
              <a:gd name="csX78" fmla="*/ 358966 w 1315852"/>
              <a:gd name="csY78" fmla="*/ 1286091 h 3212801"/>
              <a:gd name="csX79" fmla="*/ 390267 w 1315852"/>
              <a:gd name="csY79" fmla="*/ 1239202 h 3212801"/>
              <a:gd name="csX80" fmla="*/ 435898 w 1315852"/>
              <a:gd name="csY80" fmla="*/ 1202610 h 3212801"/>
              <a:gd name="csX81" fmla="*/ 443089 w 1315852"/>
              <a:gd name="csY81" fmla="*/ 1186662 h 3212801"/>
              <a:gd name="csX82" fmla="*/ 443336 w 1315852"/>
              <a:gd name="csY82" fmla="*/ 1174100 h 3212801"/>
              <a:gd name="csX83" fmla="*/ 432713 w 1315852"/>
              <a:gd name="csY83" fmla="*/ 1161284 h 3212801"/>
              <a:gd name="csX84" fmla="*/ 406712 w 1315852"/>
              <a:gd name="csY84" fmla="*/ 1151413 h 3212801"/>
              <a:gd name="csX85" fmla="*/ 399212 w 1315852"/>
              <a:gd name="csY85" fmla="*/ 1135845 h 3212801"/>
              <a:gd name="csX86" fmla="*/ 409719 w 1315852"/>
              <a:gd name="csY86" fmla="*/ 1113213 h 3212801"/>
              <a:gd name="csX87" fmla="*/ 414650 w 1315852"/>
              <a:gd name="csY87" fmla="*/ 1091062 h 3212801"/>
              <a:gd name="csX88" fmla="*/ 402048 w 1315852"/>
              <a:gd name="csY88" fmla="*/ 1042520 h 3212801"/>
              <a:gd name="csX89" fmla="*/ 366526 w 1315852"/>
              <a:gd name="csY89" fmla="*/ 932054 h 3212801"/>
              <a:gd name="csX90" fmla="*/ 304855 w 1315852"/>
              <a:gd name="csY90" fmla="*/ 733506 h 3212801"/>
              <a:gd name="csX91" fmla="*/ 273722 w 1315852"/>
              <a:gd name="csY91" fmla="*/ 639312 h 3212801"/>
              <a:gd name="csX92" fmla="*/ 242525 w 1315852"/>
              <a:gd name="csY92" fmla="*/ 527843 h 3212801"/>
              <a:gd name="csX93" fmla="*/ 245838 w 1315852"/>
              <a:gd name="csY93" fmla="*/ 485521 h 3212801"/>
              <a:gd name="csX94" fmla="*/ 258319 w 1315852"/>
              <a:gd name="csY94" fmla="*/ 473233 h 3212801"/>
              <a:gd name="csX95" fmla="*/ 291527 w 1315852"/>
              <a:gd name="csY95" fmla="*/ 463336 h 3212801"/>
              <a:gd name="csX96" fmla="*/ 373160 w 1315852"/>
              <a:gd name="csY96" fmla="*/ 454842 h 3212801"/>
              <a:gd name="csX97" fmla="*/ 427480 w 1315852"/>
              <a:gd name="csY97" fmla="*/ 451758 h 3212801"/>
              <a:gd name="csX98" fmla="*/ 477998 w 1315852"/>
              <a:gd name="csY98" fmla="*/ 447870 h 3212801"/>
              <a:gd name="csX99" fmla="*/ 479585 w 1315852"/>
              <a:gd name="csY99" fmla="*/ 442932 h 3212801"/>
              <a:gd name="csX100" fmla="*/ 488907 w 1315852"/>
              <a:gd name="csY100" fmla="*/ 421401 h 3212801"/>
              <a:gd name="csX101" fmla="*/ 492315 w 1315852"/>
              <a:gd name="csY101" fmla="*/ 409196 h 3212801"/>
              <a:gd name="csX102" fmla="*/ 498582 w 1315852"/>
              <a:gd name="csY102" fmla="*/ 396231 h 3212801"/>
              <a:gd name="csX103" fmla="*/ 531424 w 1315852"/>
              <a:gd name="csY103" fmla="*/ 365066 h 3212801"/>
              <a:gd name="csX104" fmla="*/ 567201 w 1315852"/>
              <a:gd name="csY104" fmla="*/ 305069 h 3212801"/>
              <a:gd name="csX105" fmla="*/ 580157 w 1315852"/>
              <a:gd name="csY105" fmla="*/ 281885 h 3212801"/>
              <a:gd name="csX106" fmla="*/ 575177 w 1315852"/>
              <a:gd name="csY106" fmla="*/ 258759 h 3212801"/>
              <a:gd name="csX107" fmla="*/ 472048 w 1315852"/>
              <a:gd name="csY107" fmla="*/ 283266 h 3212801"/>
              <a:gd name="csX108" fmla="*/ 473659 w 1315852"/>
              <a:gd name="csY108" fmla="*/ 112243 h 3212801"/>
              <a:gd name="csX109" fmla="*/ 487139 w 1315852"/>
              <a:gd name="csY109" fmla="*/ 114763 h 3212801"/>
              <a:gd name="csX110" fmla="*/ 569608 w 1315852"/>
              <a:gd name="csY110" fmla="*/ 140735 h 3212801"/>
              <a:gd name="csX111" fmla="*/ 585180 w 1315852"/>
              <a:gd name="csY111" fmla="*/ 124742 h 3212801"/>
              <a:gd name="csX112" fmla="*/ 563868 w 1315852"/>
              <a:gd name="csY112" fmla="*/ 70080 h 3212801"/>
              <a:gd name="csX113" fmla="*/ 546041 w 1315852"/>
              <a:gd name="csY113" fmla="*/ 26021 h 3212801"/>
              <a:gd name="csX114" fmla="*/ 568462 w 1315852"/>
              <a:gd name="csY114" fmla="*/ 18986 h 3212801"/>
              <a:gd name="csX115" fmla="*/ 637623 w 1315852"/>
              <a:gd name="csY115" fmla="*/ 2731 h 3212801"/>
              <a:gd name="csX116" fmla="*/ 692817 w 1315852"/>
              <a:gd name="csY116" fmla="*/ 4346 h 3212801"/>
              <a:gd name="csX117" fmla="*/ 759126 w 1315852"/>
              <a:gd name="csY117" fmla="*/ 20739 h 3212801"/>
              <a:gd name="csX118" fmla="*/ 774460 w 1315852"/>
              <a:gd name="csY118" fmla="*/ 24289 h 3212801"/>
              <a:gd name="csX119" fmla="*/ 751608 w 1315852"/>
              <a:gd name="csY119" fmla="*/ 81205 h 3212801"/>
              <a:gd name="csX120" fmla="*/ 731002 w 1315852"/>
              <a:gd name="csY120" fmla="*/ 141135 h 3212801"/>
              <a:gd name="csX121" fmla="*/ 749917 w 1315852"/>
              <a:gd name="csY121" fmla="*/ 137732 h 3212801"/>
              <a:gd name="csX122" fmla="*/ 836197 w 1315852"/>
              <a:gd name="csY122" fmla="*/ 114792 h 3212801"/>
              <a:gd name="csX123" fmla="*/ 843209 w 1315852"/>
              <a:gd name="csY123" fmla="*/ 113433 h 3212801"/>
              <a:gd name="csX124" fmla="*/ 844400 w 1315852"/>
              <a:gd name="csY124" fmla="*/ 119435 h 3212801"/>
              <a:gd name="csX125" fmla="*/ 847390 w 1315852"/>
              <a:gd name="csY125" fmla="*/ 232672 h 3212801"/>
              <a:gd name="csX126" fmla="*/ 850015 w 1315852"/>
              <a:gd name="csY126" fmla="*/ 261773 h 3212801"/>
              <a:gd name="csX127" fmla="*/ 850085 w 1315852"/>
              <a:gd name="csY127" fmla="*/ 280220 h 3212801"/>
              <a:gd name="csX128" fmla="*/ 815285 w 1315852"/>
              <a:gd name="csY128" fmla="*/ 272127 h 3212801"/>
              <a:gd name="csX129" fmla="*/ 757181 w 1315852"/>
              <a:gd name="csY129" fmla="*/ 257455 h 3212801"/>
              <a:gd name="csX130" fmla="*/ 732939 w 1315852"/>
              <a:gd name="csY130" fmla="*/ 263859 h 3212801"/>
              <a:gd name="csX131" fmla="*/ 739871 w 1315852"/>
              <a:gd name="csY131" fmla="*/ 279988 h 3212801"/>
              <a:gd name="csX132" fmla="*/ 725900 w 1315852"/>
              <a:gd name="csY132" fmla="*/ 292074 h 3212801"/>
              <a:gd name="csX133" fmla="*/ 747132 w 1315852"/>
              <a:gd name="csY133" fmla="*/ 298017 h 3212801"/>
              <a:gd name="csX134" fmla="*/ 768268 w 1315852"/>
              <a:gd name="csY134" fmla="*/ 327815 h 3212801"/>
              <a:gd name="csX135" fmla="*/ 785901 w 1315852"/>
              <a:gd name="csY135" fmla="*/ 362862 h 3212801"/>
              <a:gd name="csX136" fmla="*/ 798627 w 1315852"/>
              <a:gd name="csY136" fmla="*/ 374591 h 3212801"/>
              <a:gd name="csX137" fmla="*/ 815580 w 1315852"/>
              <a:gd name="csY137" fmla="*/ 387899 h 3212801"/>
              <a:gd name="csX138" fmla="*/ 813282 w 1315852"/>
              <a:gd name="csY138" fmla="*/ 390947 h 3212801"/>
              <a:gd name="csX139" fmla="*/ 776501 w 1315852"/>
              <a:gd name="csY139" fmla="*/ 393213 h 3212801"/>
              <a:gd name="csX140" fmla="*/ 702336 w 1315852"/>
              <a:gd name="csY140" fmla="*/ 381496 h 3212801"/>
              <a:gd name="csX141" fmla="*/ 662021 w 1315852"/>
              <a:gd name="csY141" fmla="*/ 378921 h 3212801"/>
              <a:gd name="csX142" fmla="*/ 651111 w 1315852"/>
              <a:gd name="csY142" fmla="*/ 386942 h 3212801"/>
              <a:gd name="csX143" fmla="*/ 648295 w 1315852"/>
              <a:gd name="csY143" fmla="*/ 437069 h 3212801"/>
              <a:gd name="csX144" fmla="*/ 659561 w 1315852"/>
              <a:gd name="csY144" fmla="*/ 448907 h 3212801"/>
              <a:gd name="csX145" fmla="*/ 799805 w 1315852"/>
              <a:gd name="csY145" fmla="*/ 449022 h 3212801"/>
              <a:gd name="csX146" fmla="*/ 811083 w 1315852"/>
              <a:gd name="csY146" fmla="*/ 439581 h 3212801"/>
              <a:gd name="csX147" fmla="*/ 817945 w 1315852"/>
              <a:gd name="csY147" fmla="*/ 425008 h 3212801"/>
              <a:gd name="csX148" fmla="*/ 828609 w 1315852"/>
              <a:gd name="csY148" fmla="*/ 403122 h 3212801"/>
              <a:gd name="csX149" fmla="*/ 838374 w 1315852"/>
              <a:gd name="csY149" fmla="*/ 406435 h 3212801"/>
              <a:gd name="csX150" fmla="*/ 844275 w 1315852"/>
              <a:gd name="csY150" fmla="*/ 430561 h 3212801"/>
              <a:gd name="csX151" fmla="*/ 865761 w 1315852"/>
              <a:gd name="csY151" fmla="*/ 447068 h 3212801"/>
              <a:gd name="csX152" fmla="*/ 885673 w 1315852"/>
              <a:gd name="csY152" fmla="*/ 449965 h 3212801"/>
              <a:gd name="csX153" fmla="*/ 904428 w 1315852"/>
              <a:gd name="csY153" fmla="*/ 454230 h 3212801"/>
              <a:gd name="csX154" fmla="*/ 930689 w 1315852"/>
              <a:gd name="csY154" fmla="*/ 457318 h 3212801"/>
              <a:gd name="csX155" fmla="*/ 1036296 w 1315852"/>
              <a:gd name="csY155" fmla="*/ 485877 h 3212801"/>
              <a:gd name="csX156" fmla="*/ 1076027 w 1315852"/>
              <a:gd name="csY156" fmla="*/ 535212 h 3212801"/>
              <a:gd name="csX157" fmla="*/ 1075403 w 1315852"/>
              <a:gd name="csY157" fmla="*/ 578208 h 3212801"/>
              <a:gd name="csX158" fmla="*/ 1028317 w 1315852"/>
              <a:gd name="csY158" fmla="*/ 728867 h 3212801"/>
              <a:gd name="csX159" fmla="*/ 983498 w 1315852"/>
              <a:gd name="csY159" fmla="*/ 858331 h 3212801"/>
              <a:gd name="csX160" fmla="*/ 948940 w 1315852"/>
              <a:gd name="csY160" fmla="*/ 961698 h 3212801"/>
              <a:gd name="csX161" fmla="*/ 911066 w 1315852"/>
              <a:gd name="csY161" fmla="*/ 1087385 h 3212801"/>
              <a:gd name="csX162" fmla="*/ 910828 w 1315852"/>
              <a:gd name="csY162" fmla="*/ 1098086 h 3212801"/>
              <a:gd name="csX163" fmla="*/ 911498 w 1315852"/>
              <a:gd name="csY163" fmla="*/ 1130209 h 3212801"/>
              <a:gd name="csX164" fmla="*/ 905716 w 1315852"/>
              <a:gd name="csY164" fmla="*/ 1140786 h 3212801"/>
              <a:gd name="csX165" fmla="*/ 904041 w 1315852"/>
              <a:gd name="csY165" fmla="*/ 1171694 h 3212801"/>
              <a:gd name="csX166" fmla="*/ 929797 w 1315852"/>
              <a:gd name="csY166" fmla="*/ 1202854 h 3212801"/>
              <a:gd name="csX167" fmla="*/ 956714 w 1315852"/>
              <a:gd name="csY167" fmla="*/ 1270749 h 3212801"/>
              <a:gd name="csX168" fmla="*/ 960074 w 1315852"/>
              <a:gd name="csY168" fmla="*/ 1289888 h 3212801"/>
              <a:gd name="csX169" fmla="*/ 975795 w 1315852"/>
              <a:gd name="csY169" fmla="*/ 1308746 h 3212801"/>
              <a:gd name="csX170" fmla="*/ 1002397 w 1315852"/>
              <a:gd name="csY170" fmla="*/ 1326635 h 3212801"/>
              <a:gd name="csX171" fmla="*/ 1018686 w 1315852"/>
              <a:gd name="csY171" fmla="*/ 1435905 h 3212801"/>
              <a:gd name="csX172" fmla="*/ 996257 w 1315852"/>
              <a:gd name="csY172" fmla="*/ 1454107 h 3212801"/>
              <a:gd name="csX173" fmla="*/ 970849 w 1315852"/>
              <a:gd name="csY173" fmla="*/ 1461303 h 3212801"/>
              <a:gd name="csX174" fmla="*/ 917943 w 1315852"/>
              <a:gd name="csY174" fmla="*/ 1464461 h 3212801"/>
              <a:gd name="csX175" fmla="*/ 905433 w 1315852"/>
              <a:gd name="csY175" fmla="*/ 1465358 h 3212801"/>
              <a:gd name="csX176" fmla="*/ 897863 w 1315852"/>
              <a:gd name="csY176" fmla="*/ 1474014 h 3212801"/>
              <a:gd name="csX177" fmla="*/ 897812 w 1315852"/>
              <a:gd name="csY177" fmla="*/ 1475415 h 3212801"/>
              <a:gd name="csX178" fmla="*/ 895549 w 1315852"/>
              <a:gd name="csY178" fmla="*/ 1519988 h 3212801"/>
              <a:gd name="csX179" fmla="*/ 895093 w 1315852"/>
              <a:gd name="csY179" fmla="*/ 1566174 h 3212801"/>
              <a:gd name="csX180" fmla="*/ 898754 w 1315852"/>
              <a:gd name="csY180" fmla="*/ 1637125 h 3212801"/>
              <a:gd name="csX181" fmla="*/ 654604 w 1315852"/>
              <a:gd name="csY181" fmla="*/ 2329281 h 3212801"/>
              <a:gd name="csX182" fmla="*/ 650429 w 1315852"/>
              <a:gd name="csY182" fmla="*/ 2271391 h 3212801"/>
              <a:gd name="csX183" fmla="*/ 648148 w 1315852"/>
              <a:gd name="csY183" fmla="*/ 2289942 h 3212801"/>
              <a:gd name="csX184" fmla="*/ 648156 w 1315852"/>
              <a:gd name="csY184" fmla="*/ 2367948 h 3212801"/>
              <a:gd name="csX185" fmla="*/ 655577 w 1315852"/>
              <a:gd name="csY185" fmla="*/ 2381454 h 3212801"/>
              <a:gd name="csX186" fmla="*/ 655485 w 1315852"/>
              <a:gd name="csY186" fmla="*/ 2404945 h 3212801"/>
              <a:gd name="csX187" fmla="*/ 651805 w 1315852"/>
              <a:gd name="csY187" fmla="*/ 2455510 h 3212801"/>
              <a:gd name="csX188" fmla="*/ 650902 w 1315852"/>
              <a:gd name="csY188" fmla="*/ 2395333 h 3212801"/>
              <a:gd name="csX189" fmla="*/ 649248 w 1315852"/>
              <a:gd name="csY189" fmla="*/ 2386025 h 3212801"/>
              <a:gd name="csX190" fmla="*/ 645333 w 1315852"/>
              <a:gd name="csY190" fmla="*/ 2386512 h 3212801"/>
              <a:gd name="csX191" fmla="*/ 645333 w 1315852"/>
              <a:gd name="csY191" fmla="*/ 2399858 h 3212801"/>
              <a:gd name="csX192" fmla="*/ 645232 w 1315852"/>
              <a:gd name="csY192" fmla="*/ 2471367 h 3212801"/>
              <a:gd name="csX193" fmla="*/ 643489 w 1315852"/>
              <a:gd name="csY193" fmla="*/ 2486535 h 3212801"/>
              <a:gd name="csX194" fmla="*/ 662548 w 1315852"/>
              <a:gd name="csY194" fmla="*/ 2510760 h 3212801"/>
              <a:gd name="csX195" fmla="*/ 942625 w 1315852"/>
              <a:gd name="csY195" fmla="*/ 2507990 h 3212801"/>
              <a:gd name="csX196" fmla="*/ 997309 w 1315852"/>
              <a:gd name="csY196" fmla="*/ 2507928 h 3212801"/>
              <a:gd name="csX197" fmla="*/ 1012693 w 1315852"/>
              <a:gd name="csY197" fmla="*/ 2507237 h 3212801"/>
              <a:gd name="csX198" fmla="*/ 1010948 w 1315852"/>
              <a:gd name="csY198" fmla="*/ 2493054 h 3212801"/>
              <a:gd name="csX199" fmla="*/ 982017 w 1315852"/>
              <a:gd name="csY199" fmla="*/ 2386719 h 3212801"/>
              <a:gd name="csX200" fmla="*/ 955543 w 1315852"/>
              <a:gd name="csY200" fmla="*/ 2275604 h 3212801"/>
              <a:gd name="csX201" fmla="*/ 922638 w 1315852"/>
              <a:gd name="csY201" fmla="*/ 2125997 h 3212801"/>
              <a:gd name="csX202" fmla="*/ 897474 w 1315852"/>
              <a:gd name="csY202" fmla="*/ 1994858 h 3212801"/>
              <a:gd name="csX203" fmla="*/ 878061 w 1315852"/>
              <a:gd name="csY203" fmla="*/ 1878280 h 3212801"/>
              <a:gd name="csX204" fmla="*/ 866965 w 1315852"/>
              <a:gd name="csY204" fmla="*/ 1791411 h 3212801"/>
              <a:gd name="csX205" fmla="*/ 863902 w 1315852"/>
              <a:gd name="csY205" fmla="*/ 1755335 h 3212801"/>
              <a:gd name="csX206" fmla="*/ 855983 w 1315852"/>
              <a:gd name="csY206" fmla="*/ 1677866 h 3212801"/>
              <a:gd name="csX207" fmla="*/ 852873 w 1315852"/>
              <a:gd name="csY207" fmla="*/ 1578685 h 3212801"/>
              <a:gd name="csX208" fmla="*/ 851635 w 1315852"/>
              <a:gd name="csY208" fmla="*/ 1535546 h 3212801"/>
              <a:gd name="csX209" fmla="*/ 850039 w 1315852"/>
              <a:gd name="csY209" fmla="*/ 1484182 h 3212801"/>
              <a:gd name="csX210" fmla="*/ 848486 w 1315852"/>
              <a:gd name="csY210" fmla="*/ 1472876 h 3212801"/>
              <a:gd name="csX211" fmla="*/ 832070 w 1315852"/>
              <a:gd name="csY211" fmla="*/ 1472888 h 3212801"/>
              <a:gd name="csX212" fmla="*/ 676784 w 1315852"/>
              <a:gd name="csY212" fmla="*/ 1475691 h 3212801"/>
              <a:gd name="csX213" fmla="*/ 662172 w 1315852"/>
              <a:gd name="csY213" fmla="*/ 1490031 h 3212801"/>
              <a:gd name="csX214" fmla="*/ 662153 w 1315852"/>
              <a:gd name="csY214" fmla="*/ 1497041 h 3212801"/>
              <a:gd name="csX215" fmla="*/ 659832 w 1315852"/>
              <a:gd name="csY215" fmla="*/ 1642548 h 3212801"/>
              <a:gd name="csX216" fmla="*/ 656544 w 1315852"/>
              <a:gd name="csY216" fmla="*/ 1761338 h 3212801"/>
              <a:gd name="csX217" fmla="*/ 654344 w 1315852"/>
              <a:gd name="csY217" fmla="*/ 1943296 h 3212801"/>
              <a:gd name="csX218" fmla="*/ 651002 w 1315852"/>
              <a:gd name="csY218" fmla="*/ 2137811 h 3212801"/>
              <a:gd name="csX219" fmla="*/ 650933 w 1315852"/>
              <a:gd name="csY219" fmla="*/ 2240168 h 3212801"/>
              <a:gd name="csX220" fmla="*/ 651273 w 1315852"/>
              <a:gd name="csY220" fmla="*/ 2249880 h 3212801"/>
              <a:gd name="csX221" fmla="*/ 658332 w 1315852"/>
              <a:gd name="csY221" fmla="*/ 2258024 h 3212801"/>
              <a:gd name="csX222" fmla="*/ 654604 w 1315852"/>
              <a:gd name="csY222" fmla="*/ 2329281 h 3212801"/>
              <a:gd name="csX223" fmla="*/ 999154 w 1315852"/>
              <a:gd name="csY223" fmla="*/ 2930680 h 3212801"/>
              <a:gd name="csX224" fmla="*/ 1224400 w 1315852"/>
              <a:gd name="csY224" fmla="*/ 2904672 h 3212801"/>
              <a:gd name="csX225" fmla="*/ 1225778 w 1315852"/>
              <a:gd name="csY225" fmla="*/ 2893948 h 3212801"/>
              <a:gd name="csX226" fmla="*/ 1197990 w 1315852"/>
              <a:gd name="csY226" fmla="*/ 2788499 h 3212801"/>
              <a:gd name="csX227" fmla="*/ 1156721 w 1315852"/>
              <a:gd name="csY227" fmla="*/ 2737429 h 3212801"/>
              <a:gd name="csX228" fmla="*/ 1096512 w 1315852"/>
              <a:gd name="csY228" fmla="*/ 2674794 h 3212801"/>
              <a:gd name="csX229" fmla="*/ 1056842 w 1315852"/>
              <a:gd name="csY229" fmla="*/ 2584575 h 3212801"/>
              <a:gd name="csX230" fmla="*/ 1055233 w 1315852"/>
              <a:gd name="csY230" fmla="*/ 2579758 h 3212801"/>
              <a:gd name="csX231" fmla="*/ 1017950 w 1315852"/>
              <a:gd name="csY231" fmla="*/ 2581956 h 3212801"/>
              <a:gd name="csX232" fmla="*/ 785764 w 1315852"/>
              <a:gd name="csY232" fmla="*/ 2595473 h 3212801"/>
              <a:gd name="csX233" fmla="*/ 665238 w 1315852"/>
              <a:gd name="csY233" fmla="*/ 2597498 h 3212801"/>
              <a:gd name="csX234" fmla="*/ 654332 w 1315852"/>
              <a:gd name="csY234" fmla="*/ 2598673 h 3212801"/>
              <a:gd name="csX235" fmla="*/ 653026 w 1315852"/>
              <a:gd name="csY235" fmla="*/ 2935427 h 3212801"/>
              <a:gd name="csX236" fmla="*/ 999154 w 1315852"/>
              <a:gd name="csY236" fmla="*/ 2930680 h 3212801"/>
              <a:gd name="csX237" fmla="*/ 947894 w 1315852"/>
              <a:gd name="csY237" fmla="*/ 3022480 h 3212801"/>
              <a:gd name="csX238" fmla="*/ 854096 w 1315852"/>
              <a:gd name="csY238" fmla="*/ 3026952 h 3212801"/>
              <a:gd name="csX239" fmla="*/ 676076 w 1315852"/>
              <a:gd name="csY239" fmla="*/ 3027217 h 3212801"/>
              <a:gd name="csX240" fmla="*/ 657155 w 1315852"/>
              <a:gd name="csY240" fmla="*/ 3027217 h 3212801"/>
              <a:gd name="csX241" fmla="*/ 650929 w 1315852"/>
              <a:gd name="csY241" fmla="*/ 3130009 h 3212801"/>
              <a:gd name="csX242" fmla="*/ 662475 w 1315852"/>
              <a:gd name="csY242" fmla="*/ 3131016 h 3212801"/>
              <a:gd name="csX243" fmla="*/ 775955 w 1315852"/>
              <a:gd name="csY243" fmla="*/ 3134982 h 3212801"/>
              <a:gd name="csX244" fmla="*/ 1061598 w 1315852"/>
              <a:gd name="csY244" fmla="*/ 3125377 h 3212801"/>
              <a:gd name="csX245" fmla="*/ 1249397 w 1315852"/>
              <a:gd name="csY245" fmla="*/ 3093967 h 3212801"/>
              <a:gd name="csX246" fmla="*/ 1262842 w 1315852"/>
              <a:gd name="csY246" fmla="*/ 3089764 h 3212801"/>
              <a:gd name="csX247" fmla="*/ 1244253 w 1315852"/>
              <a:gd name="csY247" fmla="*/ 3014005 h 3212801"/>
              <a:gd name="csX248" fmla="*/ 1237768 w 1315852"/>
              <a:gd name="csY248" fmla="*/ 3003206 h 3212801"/>
              <a:gd name="csX249" fmla="*/ 1217957 w 1315852"/>
              <a:gd name="csY249" fmla="*/ 2993424 h 3212801"/>
              <a:gd name="csX250" fmla="*/ 1163725 w 1315852"/>
              <a:gd name="csY250" fmla="*/ 3000119 h 3212801"/>
              <a:gd name="csX251" fmla="*/ 947894 w 1315852"/>
              <a:gd name="csY251" fmla="*/ 3022480 h 3212801"/>
              <a:gd name="csX252" fmla="*/ 784197 w 1315852"/>
              <a:gd name="csY252" fmla="*/ 1352777 h 3212801"/>
              <a:gd name="csX253" fmla="*/ 730991 w 1315852"/>
              <a:gd name="csY253" fmla="*/ 1354793 h 3212801"/>
              <a:gd name="csX254" fmla="*/ 676320 w 1315852"/>
              <a:gd name="csY254" fmla="*/ 1356902 h 3212801"/>
              <a:gd name="csX255" fmla="*/ 671906 w 1315852"/>
              <a:gd name="csY255" fmla="*/ 1418933 h 3212801"/>
              <a:gd name="csX256" fmla="*/ 685797 w 1315852"/>
              <a:gd name="csY256" fmla="*/ 1418917 h 3212801"/>
              <a:gd name="csX257" fmla="*/ 953300 w 1315852"/>
              <a:gd name="csY257" fmla="*/ 1410383 h 3212801"/>
              <a:gd name="csX258" fmla="*/ 968586 w 1315852"/>
              <a:gd name="csY258" fmla="*/ 1408564 h 3212801"/>
              <a:gd name="csX259" fmla="*/ 980375 w 1315852"/>
              <a:gd name="csY259" fmla="*/ 1394590 h 3212801"/>
              <a:gd name="csX260" fmla="*/ 965591 w 1315852"/>
              <a:gd name="csY260" fmla="*/ 1364447 h 3212801"/>
              <a:gd name="csX261" fmla="*/ 910211 w 1315852"/>
              <a:gd name="csY261" fmla="*/ 1348103 h 3212801"/>
              <a:gd name="csX262" fmla="*/ 784197 w 1315852"/>
              <a:gd name="csY262" fmla="*/ 1352777 h 3212801"/>
              <a:gd name="csX263" fmla="*/ 648129 w 1315852"/>
              <a:gd name="csY263" fmla="*/ 615881 h 3212801"/>
              <a:gd name="csX264" fmla="*/ 650869 w 1315852"/>
              <a:gd name="csY264" fmla="*/ 664591 h 3212801"/>
              <a:gd name="csX265" fmla="*/ 653223 w 1315852"/>
              <a:gd name="csY265" fmla="*/ 746994 h 3212801"/>
              <a:gd name="csX266" fmla="*/ 656163 w 1315852"/>
              <a:gd name="csY266" fmla="*/ 830737 h 3212801"/>
              <a:gd name="csX267" fmla="*/ 658740 w 1315852"/>
              <a:gd name="csY267" fmla="*/ 903281 h 3212801"/>
              <a:gd name="csX268" fmla="*/ 662209 w 1315852"/>
              <a:gd name="csY268" fmla="*/ 1019226 h 3212801"/>
              <a:gd name="csX269" fmla="*/ 665088 w 1315852"/>
              <a:gd name="csY269" fmla="*/ 1081942 h 3212801"/>
              <a:gd name="csX270" fmla="*/ 674628 w 1315852"/>
              <a:gd name="csY270" fmla="*/ 1090643 h 3212801"/>
              <a:gd name="csX271" fmla="*/ 762289 w 1315852"/>
              <a:gd name="csY271" fmla="*/ 1085865 h 3212801"/>
              <a:gd name="csX272" fmla="*/ 853046 w 1315852"/>
              <a:gd name="csY272" fmla="*/ 1082948 h 3212801"/>
              <a:gd name="csX273" fmla="*/ 854448 w 1315852"/>
              <a:gd name="csY273" fmla="*/ 1082924 h 3212801"/>
              <a:gd name="csX274" fmla="*/ 866364 w 1315852"/>
              <a:gd name="csY274" fmla="*/ 1074839 h 3212801"/>
              <a:gd name="csX275" fmla="*/ 891726 w 1315852"/>
              <a:gd name="csY275" fmla="*/ 1006797 h 3212801"/>
              <a:gd name="csX276" fmla="*/ 913720 w 1315852"/>
              <a:gd name="csY276" fmla="*/ 939278 h 3212801"/>
              <a:gd name="csX277" fmla="*/ 953952 w 1315852"/>
              <a:gd name="csY277" fmla="*/ 826060 h 3212801"/>
              <a:gd name="csX278" fmla="*/ 988796 w 1315852"/>
              <a:gd name="csY278" fmla="*/ 727233 h 3212801"/>
              <a:gd name="csX279" fmla="*/ 1036110 w 1315852"/>
              <a:gd name="csY279" fmla="*/ 592920 h 3212801"/>
              <a:gd name="csX280" fmla="*/ 1043677 w 1315852"/>
              <a:gd name="csY280" fmla="*/ 542152 h 3212801"/>
              <a:gd name="csX281" fmla="*/ 1030884 w 1315852"/>
              <a:gd name="csY281" fmla="*/ 517222 h 3212801"/>
              <a:gd name="csX282" fmla="*/ 1009162 w 1315852"/>
              <a:gd name="csY282" fmla="*/ 507963 h 3212801"/>
              <a:gd name="csX283" fmla="*/ 931266 w 1315852"/>
              <a:gd name="csY283" fmla="*/ 493552 h 3212801"/>
              <a:gd name="csX284" fmla="*/ 880100 w 1315852"/>
              <a:gd name="csY284" fmla="*/ 488348 h 3212801"/>
              <a:gd name="csX285" fmla="*/ 835610 w 1315852"/>
              <a:gd name="csY285" fmla="*/ 485330 h 3212801"/>
              <a:gd name="csX286" fmla="*/ 755014 w 1315852"/>
              <a:gd name="csY286" fmla="*/ 480162 h 3212801"/>
              <a:gd name="csX287" fmla="*/ 657249 w 1315852"/>
              <a:gd name="csY287" fmla="*/ 482686 h 3212801"/>
              <a:gd name="csX288" fmla="*/ 643184 w 1315852"/>
              <a:gd name="csY288" fmla="*/ 500211 h 3212801"/>
              <a:gd name="csX289" fmla="*/ 645220 w 1315852"/>
              <a:gd name="csY289" fmla="*/ 511112 h 3212801"/>
              <a:gd name="csX290" fmla="*/ 648129 w 1315852"/>
              <a:gd name="csY290" fmla="*/ 615881 h 3212801"/>
              <a:gd name="csX291" fmla="*/ 886495 w 1315852"/>
              <a:gd name="csY291" fmla="*/ 1207714 h 3212801"/>
              <a:gd name="csX292" fmla="*/ 881380 w 1315852"/>
              <a:gd name="csY292" fmla="*/ 1202980 h 3212801"/>
              <a:gd name="csX293" fmla="*/ 866913 w 1315852"/>
              <a:gd name="csY293" fmla="*/ 1175042 h 3212801"/>
              <a:gd name="csX294" fmla="*/ 866482 w 1315852"/>
              <a:gd name="csY294" fmla="*/ 1156869 h 3212801"/>
              <a:gd name="csX295" fmla="*/ 856429 w 1315852"/>
              <a:gd name="csY295" fmla="*/ 1147458 h 3212801"/>
              <a:gd name="csX296" fmla="*/ 790615 w 1315852"/>
              <a:gd name="csY296" fmla="*/ 1147813 h 3212801"/>
              <a:gd name="csX297" fmla="*/ 718484 w 1315852"/>
              <a:gd name="csY297" fmla="*/ 1153058 h 3212801"/>
              <a:gd name="csX298" fmla="*/ 671232 w 1315852"/>
              <a:gd name="csY298" fmla="*/ 1156034 h 3212801"/>
              <a:gd name="csX299" fmla="*/ 664146 w 1315852"/>
              <a:gd name="csY299" fmla="*/ 1168443 h 3212801"/>
              <a:gd name="csX300" fmla="*/ 667611 w 1315852"/>
              <a:gd name="csY300" fmla="*/ 1187354 h 3212801"/>
              <a:gd name="csX301" fmla="*/ 667803 w 1315852"/>
              <a:gd name="csY301" fmla="*/ 1283992 h 3212801"/>
              <a:gd name="csX302" fmla="*/ 683140 w 1315852"/>
              <a:gd name="csY302" fmla="*/ 1298850 h 3212801"/>
              <a:gd name="csX303" fmla="*/ 736011 w 1315852"/>
              <a:gd name="csY303" fmla="*/ 1296220 h 3212801"/>
              <a:gd name="csX304" fmla="*/ 830893 w 1315852"/>
              <a:gd name="csY304" fmla="*/ 1293324 h 3212801"/>
              <a:gd name="csX305" fmla="*/ 833691 w 1315852"/>
              <a:gd name="csY305" fmla="*/ 1293213 h 3212801"/>
              <a:gd name="csX306" fmla="*/ 903014 w 1315852"/>
              <a:gd name="csY306" fmla="*/ 1287831 h 3212801"/>
              <a:gd name="csX307" fmla="*/ 917225 w 1315852"/>
              <a:gd name="csY307" fmla="*/ 1271856 h 3212801"/>
              <a:gd name="csX308" fmla="*/ 886495 w 1315852"/>
              <a:gd name="csY308" fmla="*/ 1207714 h 321280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  <a:cxn ang="0">
                <a:pos x="csX170" y="csY170"/>
              </a:cxn>
              <a:cxn ang="0">
                <a:pos x="csX171" y="csY171"/>
              </a:cxn>
              <a:cxn ang="0">
                <a:pos x="csX172" y="csY172"/>
              </a:cxn>
              <a:cxn ang="0">
                <a:pos x="csX173" y="csY173"/>
              </a:cxn>
              <a:cxn ang="0">
                <a:pos x="csX174" y="csY174"/>
              </a:cxn>
              <a:cxn ang="0">
                <a:pos x="csX175" y="csY175"/>
              </a:cxn>
              <a:cxn ang="0">
                <a:pos x="csX176" y="csY176"/>
              </a:cxn>
              <a:cxn ang="0">
                <a:pos x="csX177" y="csY177"/>
              </a:cxn>
              <a:cxn ang="0">
                <a:pos x="csX178" y="csY178"/>
              </a:cxn>
              <a:cxn ang="0">
                <a:pos x="csX179" y="csY179"/>
              </a:cxn>
              <a:cxn ang="0">
                <a:pos x="csX180" y="csY180"/>
              </a:cxn>
              <a:cxn ang="0">
                <a:pos x="csX181" y="csY181"/>
              </a:cxn>
              <a:cxn ang="0">
                <a:pos x="csX182" y="csY182"/>
              </a:cxn>
              <a:cxn ang="0">
                <a:pos x="csX183" y="csY183"/>
              </a:cxn>
              <a:cxn ang="0">
                <a:pos x="csX184" y="csY184"/>
              </a:cxn>
              <a:cxn ang="0">
                <a:pos x="csX185" y="csY185"/>
              </a:cxn>
              <a:cxn ang="0">
                <a:pos x="csX186" y="csY186"/>
              </a:cxn>
              <a:cxn ang="0">
                <a:pos x="csX187" y="csY187"/>
              </a:cxn>
              <a:cxn ang="0">
                <a:pos x="csX188" y="csY188"/>
              </a:cxn>
              <a:cxn ang="0">
                <a:pos x="csX189" y="csY189"/>
              </a:cxn>
              <a:cxn ang="0">
                <a:pos x="csX190" y="csY190"/>
              </a:cxn>
              <a:cxn ang="0">
                <a:pos x="csX191" y="csY191"/>
              </a:cxn>
              <a:cxn ang="0">
                <a:pos x="csX192" y="csY192"/>
              </a:cxn>
              <a:cxn ang="0">
                <a:pos x="csX193" y="csY193"/>
              </a:cxn>
              <a:cxn ang="0">
                <a:pos x="csX194" y="csY194"/>
              </a:cxn>
              <a:cxn ang="0">
                <a:pos x="csX195" y="csY195"/>
              </a:cxn>
              <a:cxn ang="0">
                <a:pos x="csX196" y="csY196"/>
              </a:cxn>
              <a:cxn ang="0">
                <a:pos x="csX197" y="csY197"/>
              </a:cxn>
              <a:cxn ang="0">
                <a:pos x="csX198" y="csY198"/>
              </a:cxn>
              <a:cxn ang="0">
                <a:pos x="csX199" y="csY199"/>
              </a:cxn>
              <a:cxn ang="0">
                <a:pos x="csX200" y="csY200"/>
              </a:cxn>
              <a:cxn ang="0">
                <a:pos x="csX201" y="csY201"/>
              </a:cxn>
              <a:cxn ang="0">
                <a:pos x="csX202" y="csY202"/>
              </a:cxn>
              <a:cxn ang="0">
                <a:pos x="csX203" y="csY203"/>
              </a:cxn>
              <a:cxn ang="0">
                <a:pos x="csX204" y="csY204"/>
              </a:cxn>
              <a:cxn ang="0">
                <a:pos x="csX205" y="csY205"/>
              </a:cxn>
              <a:cxn ang="0">
                <a:pos x="csX206" y="csY206"/>
              </a:cxn>
              <a:cxn ang="0">
                <a:pos x="csX207" y="csY207"/>
              </a:cxn>
              <a:cxn ang="0">
                <a:pos x="csX208" y="csY208"/>
              </a:cxn>
              <a:cxn ang="0">
                <a:pos x="csX209" y="csY209"/>
              </a:cxn>
              <a:cxn ang="0">
                <a:pos x="csX210" y="csY210"/>
              </a:cxn>
              <a:cxn ang="0">
                <a:pos x="csX211" y="csY211"/>
              </a:cxn>
              <a:cxn ang="0">
                <a:pos x="csX212" y="csY212"/>
              </a:cxn>
              <a:cxn ang="0">
                <a:pos x="csX213" y="csY213"/>
              </a:cxn>
              <a:cxn ang="0">
                <a:pos x="csX214" y="csY214"/>
              </a:cxn>
              <a:cxn ang="0">
                <a:pos x="csX215" y="csY215"/>
              </a:cxn>
              <a:cxn ang="0">
                <a:pos x="csX216" y="csY216"/>
              </a:cxn>
              <a:cxn ang="0">
                <a:pos x="csX217" y="csY217"/>
              </a:cxn>
              <a:cxn ang="0">
                <a:pos x="csX218" y="csY218"/>
              </a:cxn>
              <a:cxn ang="0">
                <a:pos x="csX219" y="csY219"/>
              </a:cxn>
              <a:cxn ang="0">
                <a:pos x="csX220" y="csY220"/>
              </a:cxn>
              <a:cxn ang="0">
                <a:pos x="csX221" y="csY221"/>
              </a:cxn>
              <a:cxn ang="0">
                <a:pos x="csX222" y="csY222"/>
              </a:cxn>
              <a:cxn ang="0">
                <a:pos x="csX223" y="csY223"/>
              </a:cxn>
              <a:cxn ang="0">
                <a:pos x="csX224" y="csY224"/>
              </a:cxn>
              <a:cxn ang="0">
                <a:pos x="csX225" y="csY225"/>
              </a:cxn>
              <a:cxn ang="0">
                <a:pos x="csX226" y="csY226"/>
              </a:cxn>
              <a:cxn ang="0">
                <a:pos x="csX227" y="csY227"/>
              </a:cxn>
              <a:cxn ang="0">
                <a:pos x="csX228" y="csY228"/>
              </a:cxn>
              <a:cxn ang="0">
                <a:pos x="csX229" y="csY229"/>
              </a:cxn>
              <a:cxn ang="0">
                <a:pos x="csX230" y="csY230"/>
              </a:cxn>
              <a:cxn ang="0">
                <a:pos x="csX231" y="csY231"/>
              </a:cxn>
              <a:cxn ang="0">
                <a:pos x="csX232" y="csY232"/>
              </a:cxn>
              <a:cxn ang="0">
                <a:pos x="csX233" y="csY233"/>
              </a:cxn>
              <a:cxn ang="0">
                <a:pos x="csX234" y="csY234"/>
              </a:cxn>
              <a:cxn ang="0">
                <a:pos x="csX235" y="csY235"/>
              </a:cxn>
              <a:cxn ang="0">
                <a:pos x="csX236" y="csY236"/>
              </a:cxn>
              <a:cxn ang="0">
                <a:pos x="csX237" y="csY237"/>
              </a:cxn>
              <a:cxn ang="0">
                <a:pos x="csX238" y="csY238"/>
              </a:cxn>
              <a:cxn ang="0">
                <a:pos x="csX239" y="csY239"/>
              </a:cxn>
              <a:cxn ang="0">
                <a:pos x="csX240" y="csY240"/>
              </a:cxn>
              <a:cxn ang="0">
                <a:pos x="csX241" y="csY241"/>
              </a:cxn>
              <a:cxn ang="0">
                <a:pos x="csX242" y="csY242"/>
              </a:cxn>
              <a:cxn ang="0">
                <a:pos x="csX243" y="csY243"/>
              </a:cxn>
              <a:cxn ang="0">
                <a:pos x="csX244" y="csY244"/>
              </a:cxn>
              <a:cxn ang="0">
                <a:pos x="csX245" y="csY245"/>
              </a:cxn>
              <a:cxn ang="0">
                <a:pos x="csX246" y="csY246"/>
              </a:cxn>
              <a:cxn ang="0">
                <a:pos x="csX247" y="csY247"/>
              </a:cxn>
              <a:cxn ang="0">
                <a:pos x="csX248" y="csY248"/>
              </a:cxn>
              <a:cxn ang="0">
                <a:pos x="csX249" y="csY249"/>
              </a:cxn>
              <a:cxn ang="0">
                <a:pos x="csX250" y="csY250"/>
              </a:cxn>
              <a:cxn ang="0">
                <a:pos x="csX251" y="csY251"/>
              </a:cxn>
              <a:cxn ang="0">
                <a:pos x="csX252" y="csY252"/>
              </a:cxn>
              <a:cxn ang="0">
                <a:pos x="csX253" y="csY253"/>
              </a:cxn>
              <a:cxn ang="0">
                <a:pos x="csX254" y="csY254"/>
              </a:cxn>
              <a:cxn ang="0">
                <a:pos x="csX255" y="csY255"/>
              </a:cxn>
              <a:cxn ang="0">
                <a:pos x="csX256" y="csY256"/>
              </a:cxn>
              <a:cxn ang="0">
                <a:pos x="csX257" y="csY257"/>
              </a:cxn>
              <a:cxn ang="0">
                <a:pos x="csX258" y="csY258"/>
              </a:cxn>
              <a:cxn ang="0">
                <a:pos x="csX259" y="csY259"/>
              </a:cxn>
              <a:cxn ang="0">
                <a:pos x="csX260" y="csY260"/>
              </a:cxn>
              <a:cxn ang="0">
                <a:pos x="csX261" y="csY261"/>
              </a:cxn>
              <a:cxn ang="0">
                <a:pos x="csX262" y="csY262"/>
              </a:cxn>
              <a:cxn ang="0">
                <a:pos x="csX263" y="csY263"/>
              </a:cxn>
              <a:cxn ang="0">
                <a:pos x="csX264" y="csY264"/>
              </a:cxn>
              <a:cxn ang="0">
                <a:pos x="csX265" y="csY265"/>
              </a:cxn>
              <a:cxn ang="0">
                <a:pos x="csX266" y="csY266"/>
              </a:cxn>
              <a:cxn ang="0">
                <a:pos x="csX267" y="csY267"/>
              </a:cxn>
              <a:cxn ang="0">
                <a:pos x="csX268" y="csY268"/>
              </a:cxn>
              <a:cxn ang="0">
                <a:pos x="csX269" y="csY269"/>
              </a:cxn>
              <a:cxn ang="0">
                <a:pos x="csX270" y="csY270"/>
              </a:cxn>
              <a:cxn ang="0">
                <a:pos x="csX271" y="csY271"/>
              </a:cxn>
              <a:cxn ang="0">
                <a:pos x="csX272" y="csY272"/>
              </a:cxn>
              <a:cxn ang="0">
                <a:pos x="csX273" y="csY273"/>
              </a:cxn>
              <a:cxn ang="0">
                <a:pos x="csX274" y="csY274"/>
              </a:cxn>
              <a:cxn ang="0">
                <a:pos x="csX275" y="csY275"/>
              </a:cxn>
              <a:cxn ang="0">
                <a:pos x="csX276" y="csY276"/>
              </a:cxn>
              <a:cxn ang="0">
                <a:pos x="csX277" y="csY277"/>
              </a:cxn>
              <a:cxn ang="0">
                <a:pos x="csX278" y="csY278"/>
              </a:cxn>
              <a:cxn ang="0">
                <a:pos x="csX279" y="csY279"/>
              </a:cxn>
              <a:cxn ang="0">
                <a:pos x="csX280" y="csY280"/>
              </a:cxn>
              <a:cxn ang="0">
                <a:pos x="csX281" y="csY281"/>
              </a:cxn>
              <a:cxn ang="0">
                <a:pos x="csX282" y="csY282"/>
              </a:cxn>
              <a:cxn ang="0">
                <a:pos x="csX283" y="csY283"/>
              </a:cxn>
              <a:cxn ang="0">
                <a:pos x="csX284" y="csY284"/>
              </a:cxn>
              <a:cxn ang="0">
                <a:pos x="csX285" y="csY285"/>
              </a:cxn>
              <a:cxn ang="0">
                <a:pos x="csX286" y="csY286"/>
              </a:cxn>
              <a:cxn ang="0">
                <a:pos x="csX287" y="csY287"/>
              </a:cxn>
              <a:cxn ang="0">
                <a:pos x="csX288" y="csY288"/>
              </a:cxn>
              <a:cxn ang="0">
                <a:pos x="csX289" y="csY289"/>
              </a:cxn>
              <a:cxn ang="0">
                <a:pos x="csX290" y="csY290"/>
              </a:cxn>
              <a:cxn ang="0">
                <a:pos x="csX291" y="csY291"/>
              </a:cxn>
              <a:cxn ang="0">
                <a:pos x="csX292" y="csY292"/>
              </a:cxn>
              <a:cxn ang="0">
                <a:pos x="csX293" y="csY293"/>
              </a:cxn>
              <a:cxn ang="0">
                <a:pos x="csX294" y="csY294"/>
              </a:cxn>
              <a:cxn ang="0">
                <a:pos x="csX295" y="csY295"/>
              </a:cxn>
              <a:cxn ang="0">
                <a:pos x="csX296" y="csY296"/>
              </a:cxn>
              <a:cxn ang="0">
                <a:pos x="csX297" y="csY297"/>
              </a:cxn>
              <a:cxn ang="0">
                <a:pos x="csX298" y="csY298"/>
              </a:cxn>
              <a:cxn ang="0">
                <a:pos x="csX299" y="csY299"/>
              </a:cxn>
              <a:cxn ang="0">
                <a:pos x="csX300" y="csY300"/>
              </a:cxn>
              <a:cxn ang="0">
                <a:pos x="csX301" y="csY301"/>
              </a:cxn>
              <a:cxn ang="0">
                <a:pos x="csX302" y="csY302"/>
              </a:cxn>
              <a:cxn ang="0">
                <a:pos x="csX303" y="csY303"/>
              </a:cxn>
              <a:cxn ang="0">
                <a:pos x="csX304" y="csY304"/>
              </a:cxn>
              <a:cxn ang="0">
                <a:pos x="csX305" y="csY305"/>
              </a:cxn>
              <a:cxn ang="0">
                <a:pos x="csX306" y="csY306"/>
              </a:cxn>
              <a:cxn ang="0">
                <a:pos x="csX307" y="csY307"/>
              </a:cxn>
              <a:cxn ang="0">
                <a:pos x="csX308" y="csY308"/>
              </a:cxn>
            </a:cxnLst>
            <a:rect l="l" t="t" r="r" b="b"/>
            <a:pathLst>
              <a:path w="1315852" h="3212801">
                <a:moveTo>
                  <a:pt x="898754" y="1637125"/>
                </a:moveTo>
                <a:cubicBezTo>
                  <a:pt x="899614" y="1640179"/>
                  <a:pt x="900338" y="1641975"/>
                  <a:pt x="900426" y="1643802"/>
                </a:cubicBezTo>
                <a:cubicBezTo>
                  <a:pt x="901475" y="1665651"/>
                  <a:pt x="902040" y="1687530"/>
                  <a:pt x="903549" y="1709345"/>
                </a:cubicBezTo>
                <a:cubicBezTo>
                  <a:pt x="904508" y="1723191"/>
                  <a:pt x="906945" y="1736929"/>
                  <a:pt x="908512" y="1750739"/>
                </a:cubicBezTo>
                <a:cubicBezTo>
                  <a:pt x="909768" y="1761809"/>
                  <a:pt x="910504" y="1772940"/>
                  <a:pt x="911839" y="1783999"/>
                </a:cubicBezTo>
                <a:cubicBezTo>
                  <a:pt x="914339" y="1804698"/>
                  <a:pt x="917061" y="1825371"/>
                  <a:pt x="919775" y="1846044"/>
                </a:cubicBezTo>
                <a:cubicBezTo>
                  <a:pt x="922673" y="1868112"/>
                  <a:pt x="925267" y="1890230"/>
                  <a:pt x="928724" y="1912212"/>
                </a:cubicBezTo>
                <a:cubicBezTo>
                  <a:pt x="933262" y="1941073"/>
                  <a:pt x="938122" y="1969897"/>
                  <a:pt x="943556" y="1998602"/>
                </a:cubicBezTo>
                <a:cubicBezTo>
                  <a:pt x="951321" y="2039621"/>
                  <a:pt x="959572" y="2080549"/>
                  <a:pt x="967918" y="2121455"/>
                </a:cubicBezTo>
                <a:cubicBezTo>
                  <a:pt x="974414" y="2153298"/>
                  <a:pt x="980861" y="2185166"/>
                  <a:pt x="988236" y="2216813"/>
                </a:cubicBezTo>
                <a:cubicBezTo>
                  <a:pt x="1001417" y="2273372"/>
                  <a:pt x="1015007" y="2329839"/>
                  <a:pt x="1028961" y="2386212"/>
                </a:cubicBezTo>
                <a:cubicBezTo>
                  <a:pt x="1037223" y="2419597"/>
                  <a:pt x="1046464" y="2452740"/>
                  <a:pt x="1055369" y="2485963"/>
                </a:cubicBezTo>
                <a:cubicBezTo>
                  <a:pt x="1057341" y="2493320"/>
                  <a:pt x="1060485" y="2498788"/>
                  <a:pt x="1069125" y="2501571"/>
                </a:cubicBezTo>
                <a:cubicBezTo>
                  <a:pt x="1081467" y="2505544"/>
                  <a:pt x="1093147" y="2511758"/>
                  <a:pt x="1104775" y="2517672"/>
                </a:cubicBezTo>
                <a:cubicBezTo>
                  <a:pt x="1109642" y="2520148"/>
                  <a:pt x="1114279" y="2523752"/>
                  <a:pt x="1117910" y="2527831"/>
                </a:cubicBezTo>
                <a:cubicBezTo>
                  <a:pt x="1124099" y="2534784"/>
                  <a:pt x="1126976" y="2542950"/>
                  <a:pt x="1122737" y="2552282"/>
                </a:cubicBezTo>
                <a:cubicBezTo>
                  <a:pt x="1120041" y="2558217"/>
                  <a:pt x="1118208" y="2564666"/>
                  <a:pt x="1114779" y="2570125"/>
                </a:cubicBezTo>
                <a:cubicBezTo>
                  <a:pt x="1104671" y="2586210"/>
                  <a:pt x="1107442" y="2602158"/>
                  <a:pt x="1114207" y="2618225"/>
                </a:cubicBezTo>
                <a:cubicBezTo>
                  <a:pt x="1121782" y="2636214"/>
                  <a:pt x="1134908" y="2650364"/>
                  <a:pt x="1148150" y="2663984"/>
                </a:cubicBezTo>
                <a:cubicBezTo>
                  <a:pt x="1166992" y="2683364"/>
                  <a:pt x="1187718" y="2700911"/>
                  <a:pt x="1206600" y="2720256"/>
                </a:cubicBezTo>
                <a:cubicBezTo>
                  <a:pt x="1242228" y="2756756"/>
                  <a:pt x="1266941" y="2799706"/>
                  <a:pt x="1275524" y="2850317"/>
                </a:cubicBezTo>
                <a:cubicBezTo>
                  <a:pt x="1278084" y="2865409"/>
                  <a:pt x="1281110" y="2880935"/>
                  <a:pt x="1277353" y="2897326"/>
                </a:cubicBezTo>
                <a:cubicBezTo>
                  <a:pt x="1274514" y="2909711"/>
                  <a:pt x="1274674" y="2923014"/>
                  <a:pt x="1271355" y="2935725"/>
                </a:cubicBezTo>
                <a:cubicBezTo>
                  <a:pt x="1269750" y="2941870"/>
                  <a:pt x="1270927" y="2948063"/>
                  <a:pt x="1274691" y="2954335"/>
                </a:cubicBezTo>
                <a:cubicBezTo>
                  <a:pt x="1288477" y="2977303"/>
                  <a:pt x="1297024" y="3002358"/>
                  <a:pt x="1301797" y="3028744"/>
                </a:cubicBezTo>
                <a:cubicBezTo>
                  <a:pt x="1305016" y="3046537"/>
                  <a:pt x="1309526" y="3064135"/>
                  <a:pt x="1311943" y="3082025"/>
                </a:cubicBezTo>
                <a:cubicBezTo>
                  <a:pt x="1314240" y="3099026"/>
                  <a:pt x="1314491" y="3116299"/>
                  <a:pt x="1315801" y="3133440"/>
                </a:cubicBezTo>
                <a:cubicBezTo>
                  <a:pt x="1316312" y="3140137"/>
                  <a:pt x="1313007" y="3144001"/>
                  <a:pt x="1307182" y="3146201"/>
                </a:cubicBezTo>
                <a:cubicBezTo>
                  <a:pt x="1298468" y="3149492"/>
                  <a:pt x="1289929" y="3153581"/>
                  <a:pt x="1280933" y="3155733"/>
                </a:cubicBezTo>
                <a:cubicBezTo>
                  <a:pt x="1243908" y="3164594"/>
                  <a:pt x="1206866" y="3173472"/>
                  <a:pt x="1169576" y="3181105"/>
                </a:cubicBezTo>
                <a:cubicBezTo>
                  <a:pt x="1145999" y="3185932"/>
                  <a:pt x="1122051" y="3189224"/>
                  <a:pt x="1098129" y="3192005"/>
                </a:cubicBezTo>
                <a:cubicBezTo>
                  <a:pt x="1074162" y="3194791"/>
                  <a:pt x="1050013" y="3195993"/>
                  <a:pt x="1025959" y="3198069"/>
                </a:cubicBezTo>
                <a:cubicBezTo>
                  <a:pt x="1007015" y="3199703"/>
                  <a:pt x="988093" y="3201610"/>
                  <a:pt x="969161" y="3203391"/>
                </a:cubicBezTo>
                <a:cubicBezTo>
                  <a:pt x="968232" y="3203478"/>
                  <a:pt x="967299" y="3203552"/>
                  <a:pt x="966367" y="3203587"/>
                </a:cubicBezTo>
                <a:cubicBezTo>
                  <a:pt x="941242" y="3204545"/>
                  <a:pt x="916121" y="3205640"/>
                  <a:pt x="890991" y="3206415"/>
                </a:cubicBezTo>
                <a:cubicBezTo>
                  <a:pt x="856053" y="3207494"/>
                  <a:pt x="820973" y="3206720"/>
                  <a:pt x="786197" y="3209641"/>
                </a:cubicBezTo>
                <a:cubicBezTo>
                  <a:pt x="730188" y="3214346"/>
                  <a:pt x="674133" y="3212833"/>
                  <a:pt x="618254" y="3211234"/>
                </a:cubicBezTo>
                <a:cubicBezTo>
                  <a:pt x="580962" y="3210166"/>
                  <a:pt x="543663" y="3210429"/>
                  <a:pt x="506392" y="3209195"/>
                </a:cubicBezTo>
                <a:cubicBezTo>
                  <a:pt x="485466" y="3208502"/>
                  <a:pt x="464553" y="3207412"/>
                  <a:pt x="443638" y="3206415"/>
                </a:cubicBezTo>
                <a:cubicBezTo>
                  <a:pt x="425522" y="3205552"/>
                  <a:pt x="407401" y="3204739"/>
                  <a:pt x="389301" y="3203597"/>
                </a:cubicBezTo>
                <a:cubicBezTo>
                  <a:pt x="361481" y="3201842"/>
                  <a:pt x="333617" y="3200446"/>
                  <a:pt x="305884" y="3197747"/>
                </a:cubicBezTo>
                <a:cubicBezTo>
                  <a:pt x="275907" y="3194830"/>
                  <a:pt x="246063" y="3190549"/>
                  <a:pt x="216151" y="3186940"/>
                </a:cubicBezTo>
                <a:cubicBezTo>
                  <a:pt x="191288" y="3183939"/>
                  <a:pt x="166206" y="3182205"/>
                  <a:pt x="141593" y="3177824"/>
                </a:cubicBezTo>
                <a:cubicBezTo>
                  <a:pt x="109171" y="3172054"/>
                  <a:pt x="77055" y="3164497"/>
                  <a:pt x="44929" y="3157176"/>
                </a:cubicBezTo>
                <a:cubicBezTo>
                  <a:pt x="33156" y="3154493"/>
                  <a:pt x="21711" y="3150349"/>
                  <a:pt x="10154" y="3146750"/>
                </a:cubicBezTo>
                <a:cubicBezTo>
                  <a:pt x="3067" y="3144544"/>
                  <a:pt x="-715" y="3140051"/>
                  <a:pt x="112" y="3132149"/>
                </a:cubicBezTo>
                <a:cubicBezTo>
                  <a:pt x="1898" y="3115092"/>
                  <a:pt x="2952" y="3097941"/>
                  <a:pt x="5263" y="3080960"/>
                </a:cubicBezTo>
                <a:cubicBezTo>
                  <a:pt x="7512" y="3064431"/>
                  <a:pt x="11458" y="3048135"/>
                  <a:pt x="13758" y="3031612"/>
                </a:cubicBezTo>
                <a:cubicBezTo>
                  <a:pt x="17373" y="3005647"/>
                  <a:pt x="28643" y="2982695"/>
                  <a:pt x="40996" y="2960204"/>
                </a:cubicBezTo>
                <a:cubicBezTo>
                  <a:pt x="43921" y="2954879"/>
                  <a:pt x="44978" y="2950688"/>
                  <a:pt x="43510" y="2944616"/>
                </a:cubicBezTo>
                <a:cubicBezTo>
                  <a:pt x="38022" y="2921926"/>
                  <a:pt x="34351" y="2898766"/>
                  <a:pt x="36916" y="2875457"/>
                </a:cubicBezTo>
                <a:cubicBezTo>
                  <a:pt x="38685" y="2859391"/>
                  <a:pt x="42237" y="2843358"/>
                  <a:pt x="46646" y="2827778"/>
                </a:cubicBezTo>
                <a:cubicBezTo>
                  <a:pt x="58040" y="2787514"/>
                  <a:pt x="79014" y="2752619"/>
                  <a:pt x="108895" y="2723307"/>
                </a:cubicBezTo>
                <a:cubicBezTo>
                  <a:pt x="135212" y="2697491"/>
                  <a:pt x="162086" y="2672243"/>
                  <a:pt x="188375" y="2646399"/>
                </a:cubicBezTo>
                <a:cubicBezTo>
                  <a:pt x="199778" y="2635188"/>
                  <a:pt x="207849" y="2622209"/>
                  <a:pt x="211535" y="2605867"/>
                </a:cubicBezTo>
                <a:cubicBezTo>
                  <a:pt x="214510" y="2592678"/>
                  <a:pt x="211592" y="2582100"/>
                  <a:pt x="205182" y="2571418"/>
                </a:cubicBezTo>
                <a:cubicBezTo>
                  <a:pt x="202318" y="2566645"/>
                  <a:pt x="198777" y="2562163"/>
                  <a:pt x="196651" y="2557085"/>
                </a:cubicBezTo>
                <a:cubicBezTo>
                  <a:pt x="190347" y="2542031"/>
                  <a:pt x="194717" y="2529077"/>
                  <a:pt x="209021" y="2521560"/>
                </a:cubicBezTo>
                <a:cubicBezTo>
                  <a:pt x="220978" y="2515277"/>
                  <a:pt x="233317" y="2509655"/>
                  <a:pt x="245764" y="2504395"/>
                </a:cubicBezTo>
                <a:cubicBezTo>
                  <a:pt x="254856" y="2500554"/>
                  <a:pt x="261020" y="2495272"/>
                  <a:pt x="263769" y="2485128"/>
                </a:cubicBezTo>
                <a:cubicBezTo>
                  <a:pt x="275569" y="2441581"/>
                  <a:pt x="288425" y="2398319"/>
                  <a:pt x="300045" y="2354726"/>
                </a:cubicBezTo>
                <a:cubicBezTo>
                  <a:pt x="309381" y="2319703"/>
                  <a:pt x="318110" y="2284492"/>
                  <a:pt x="326003" y="2249117"/>
                </a:cubicBezTo>
                <a:cubicBezTo>
                  <a:pt x="337625" y="2197029"/>
                  <a:pt x="348457" y="2144762"/>
                  <a:pt x="359250" y="2092493"/>
                </a:cubicBezTo>
                <a:cubicBezTo>
                  <a:pt x="365909" y="2060243"/>
                  <a:pt x="372293" y="2027924"/>
                  <a:pt x="378011" y="1995496"/>
                </a:cubicBezTo>
                <a:cubicBezTo>
                  <a:pt x="382679" y="1969018"/>
                  <a:pt x="386061" y="1942315"/>
                  <a:pt x="390230" y="1915745"/>
                </a:cubicBezTo>
                <a:cubicBezTo>
                  <a:pt x="393606" y="1894227"/>
                  <a:pt x="397846" y="1872831"/>
                  <a:pt x="400702" y="1851249"/>
                </a:cubicBezTo>
                <a:cubicBezTo>
                  <a:pt x="403440" y="1830558"/>
                  <a:pt x="404754" y="1809683"/>
                  <a:pt x="406954" y="1788916"/>
                </a:cubicBezTo>
                <a:cubicBezTo>
                  <a:pt x="408419" y="1775096"/>
                  <a:pt x="410485" y="1761340"/>
                  <a:pt x="412016" y="1747526"/>
                </a:cubicBezTo>
                <a:cubicBezTo>
                  <a:pt x="413295" y="1735991"/>
                  <a:pt x="414503" y="1724431"/>
                  <a:pt x="415185" y="1712850"/>
                </a:cubicBezTo>
                <a:cubicBezTo>
                  <a:pt x="416387" y="1692414"/>
                  <a:pt x="416884" y="1671935"/>
                  <a:pt x="418197" y="1651507"/>
                </a:cubicBezTo>
                <a:cubicBezTo>
                  <a:pt x="419655" y="1628814"/>
                  <a:pt x="422378" y="1606186"/>
                  <a:pt x="423324" y="1583479"/>
                </a:cubicBezTo>
                <a:cubicBezTo>
                  <a:pt x="424797" y="1548109"/>
                  <a:pt x="425243" y="1512695"/>
                  <a:pt x="426059" y="1477299"/>
                </a:cubicBezTo>
                <a:cubicBezTo>
                  <a:pt x="426077" y="1476493"/>
                  <a:pt x="425310" y="1475668"/>
                  <a:pt x="424204" y="1473415"/>
                </a:cubicBezTo>
                <a:cubicBezTo>
                  <a:pt x="413635" y="1472358"/>
                  <a:pt x="402157" y="1471516"/>
                  <a:pt x="390769" y="1470003"/>
                </a:cubicBezTo>
                <a:cubicBezTo>
                  <a:pt x="369635" y="1467195"/>
                  <a:pt x="348419" y="1464707"/>
                  <a:pt x="327487" y="1460760"/>
                </a:cubicBezTo>
                <a:cubicBezTo>
                  <a:pt x="305605" y="1456634"/>
                  <a:pt x="286603" y="1433026"/>
                  <a:pt x="289037" y="1410705"/>
                </a:cubicBezTo>
                <a:cubicBezTo>
                  <a:pt x="290343" y="1398733"/>
                  <a:pt x="289247" y="1386137"/>
                  <a:pt x="292610" y="1374826"/>
                </a:cubicBezTo>
                <a:cubicBezTo>
                  <a:pt x="299584" y="1351367"/>
                  <a:pt x="313866" y="1331810"/>
                  <a:pt x="335365" y="1319956"/>
                </a:cubicBezTo>
                <a:cubicBezTo>
                  <a:pt x="349736" y="1312032"/>
                  <a:pt x="355513" y="1300196"/>
                  <a:pt x="358966" y="1286091"/>
                </a:cubicBezTo>
                <a:cubicBezTo>
                  <a:pt x="363751" y="1266546"/>
                  <a:pt x="376163" y="1252003"/>
                  <a:pt x="390267" y="1239202"/>
                </a:cubicBezTo>
                <a:cubicBezTo>
                  <a:pt x="404675" y="1226125"/>
                  <a:pt x="421167" y="1215364"/>
                  <a:pt x="435898" y="1202610"/>
                </a:cubicBezTo>
                <a:cubicBezTo>
                  <a:pt x="439929" y="1199120"/>
                  <a:pt x="441515" y="1192282"/>
                  <a:pt x="443089" y="1186662"/>
                </a:cubicBezTo>
                <a:cubicBezTo>
                  <a:pt x="444184" y="1182756"/>
                  <a:pt x="443471" y="1178302"/>
                  <a:pt x="443336" y="1174100"/>
                </a:cubicBezTo>
                <a:cubicBezTo>
                  <a:pt x="443002" y="1163708"/>
                  <a:pt x="442564" y="1164032"/>
                  <a:pt x="432713" y="1161284"/>
                </a:cubicBezTo>
                <a:cubicBezTo>
                  <a:pt x="423812" y="1158801"/>
                  <a:pt x="415102" y="1155322"/>
                  <a:pt x="406712" y="1151413"/>
                </a:cubicBezTo>
                <a:cubicBezTo>
                  <a:pt x="398571" y="1147621"/>
                  <a:pt x="396617" y="1143812"/>
                  <a:pt x="399212" y="1135845"/>
                </a:cubicBezTo>
                <a:cubicBezTo>
                  <a:pt x="401786" y="1127943"/>
                  <a:pt x="404616" y="1119485"/>
                  <a:pt x="409719" y="1113213"/>
                </a:cubicBezTo>
                <a:cubicBezTo>
                  <a:pt x="415540" y="1106060"/>
                  <a:pt x="416443" y="1098866"/>
                  <a:pt x="414650" y="1091062"/>
                </a:cubicBezTo>
                <a:cubicBezTo>
                  <a:pt x="410906" y="1074773"/>
                  <a:pt x="407015" y="1058465"/>
                  <a:pt x="402048" y="1042520"/>
                </a:cubicBezTo>
                <a:cubicBezTo>
                  <a:pt x="390546" y="1005592"/>
                  <a:pt x="378091" y="968962"/>
                  <a:pt x="366526" y="932054"/>
                </a:cubicBezTo>
                <a:cubicBezTo>
                  <a:pt x="345804" y="865923"/>
                  <a:pt x="325665" y="799609"/>
                  <a:pt x="304855" y="733506"/>
                </a:cubicBezTo>
                <a:cubicBezTo>
                  <a:pt x="294926" y="701966"/>
                  <a:pt x="283362" y="670934"/>
                  <a:pt x="273722" y="639312"/>
                </a:cubicBezTo>
                <a:cubicBezTo>
                  <a:pt x="262471" y="602404"/>
                  <a:pt x="251509" y="565342"/>
                  <a:pt x="242525" y="527843"/>
                </a:cubicBezTo>
                <a:cubicBezTo>
                  <a:pt x="239293" y="514353"/>
                  <a:pt x="237774" y="498828"/>
                  <a:pt x="245838" y="485521"/>
                </a:cubicBezTo>
                <a:cubicBezTo>
                  <a:pt x="248810" y="480617"/>
                  <a:pt x="253278" y="475342"/>
                  <a:pt x="258319" y="473233"/>
                </a:cubicBezTo>
                <a:cubicBezTo>
                  <a:pt x="268936" y="468788"/>
                  <a:pt x="280185" y="464871"/>
                  <a:pt x="291527" y="463336"/>
                </a:cubicBezTo>
                <a:cubicBezTo>
                  <a:pt x="318626" y="459667"/>
                  <a:pt x="345903" y="457192"/>
                  <a:pt x="373160" y="454842"/>
                </a:cubicBezTo>
                <a:cubicBezTo>
                  <a:pt x="391221" y="453285"/>
                  <a:pt x="409382" y="452934"/>
                  <a:pt x="427480" y="451758"/>
                </a:cubicBezTo>
                <a:cubicBezTo>
                  <a:pt x="444131" y="450676"/>
                  <a:pt x="460757" y="449212"/>
                  <a:pt x="477998" y="447870"/>
                </a:cubicBezTo>
                <a:cubicBezTo>
                  <a:pt x="478532" y="446298"/>
                  <a:pt x="479654" y="444590"/>
                  <a:pt x="479585" y="442932"/>
                </a:cubicBezTo>
                <a:cubicBezTo>
                  <a:pt x="479223" y="434201"/>
                  <a:pt x="480208" y="426475"/>
                  <a:pt x="488907" y="421401"/>
                </a:cubicBezTo>
                <a:cubicBezTo>
                  <a:pt x="493200" y="418897"/>
                  <a:pt x="494755" y="414446"/>
                  <a:pt x="492315" y="409196"/>
                </a:cubicBezTo>
                <a:cubicBezTo>
                  <a:pt x="489226" y="402552"/>
                  <a:pt x="492501" y="398939"/>
                  <a:pt x="498582" y="396231"/>
                </a:cubicBezTo>
                <a:cubicBezTo>
                  <a:pt x="513139" y="389749"/>
                  <a:pt x="523218" y="378073"/>
                  <a:pt x="531424" y="365066"/>
                </a:cubicBezTo>
                <a:cubicBezTo>
                  <a:pt x="543844" y="345378"/>
                  <a:pt x="555388" y="325136"/>
                  <a:pt x="567201" y="305069"/>
                </a:cubicBezTo>
                <a:cubicBezTo>
                  <a:pt x="571692" y="297440"/>
                  <a:pt x="576215" y="289801"/>
                  <a:pt x="580157" y="281885"/>
                </a:cubicBezTo>
                <a:cubicBezTo>
                  <a:pt x="585924" y="270307"/>
                  <a:pt x="585466" y="269028"/>
                  <a:pt x="575177" y="258759"/>
                </a:cubicBezTo>
                <a:cubicBezTo>
                  <a:pt x="540669" y="263385"/>
                  <a:pt x="508449" y="279582"/>
                  <a:pt x="472048" y="283266"/>
                </a:cubicBezTo>
                <a:cubicBezTo>
                  <a:pt x="468926" y="225961"/>
                  <a:pt x="477230" y="170326"/>
                  <a:pt x="473659" y="112243"/>
                </a:cubicBezTo>
                <a:cubicBezTo>
                  <a:pt x="479647" y="113333"/>
                  <a:pt x="483524" y="113631"/>
                  <a:pt x="487139" y="114763"/>
                </a:cubicBezTo>
                <a:cubicBezTo>
                  <a:pt x="514644" y="123375"/>
                  <a:pt x="541992" y="132503"/>
                  <a:pt x="569608" y="140735"/>
                </a:cubicBezTo>
                <a:cubicBezTo>
                  <a:pt x="584612" y="145208"/>
                  <a:pt x="590199" y="139652"/>
                  <a:pt x="585180" y="124742"/>
                </a:cubicBezTo>
                <a:cubicBezTo>
                  <a:pt x="578949" y="106227"/>
                  <a:pt x="571109" y="88251"/>
                  <a:pt x="563868" y="70080"/>
                </a:cubicBezTo>
                <a:cubicBezTo>
                  <a:pt x="558214" y="55891"/>
                  <a:pt x="552416" y="41758"/>
                  <a:pt x="546041" y="26021"/>
                </a:cubicBezTo>
                <a:cubicBezTo>
                  <a:pt x="554662" y="23284"/>
                  <a:pt x="561452" y="20680"/>
                  <a:pt x="568462" y="18986"/>
                </a:cubicBezTo>
                <a:cubicBezTo>
                  <a:pt x="591481" y="13422"/>
                  <a:pt x="614656" y="8495"/>
                  <a:pt x="637623" y="2731"/>
                </a:cubicBezTo>
                <a:cubicBezTo>
                  <a:pt x="656287" y="-1953"/>
                  <a:pt x="674559" y="-81"/>
                  <a:pt x="692817" y="4346"/>
                </a:cubicBezTo>
                <a:cubicBezTo>
                  <a:pt x="714944" y="9710"/>
                  <a:pt x="737021" y="15284"/>
                  <a:pt x="759126" y="20739"/>
                </a:cubicBezTo>
                <a:cubicBezTo>
                  <a:pt x="763594" y="21842"/>
                  <a:pt x="768092" y="22819"/>
                  <a:pt x="774460" y="24289"/>
                </a:cubicBezTo>
                <a:cubicBezTo>
                  <a:pt x="766727" y="43585"/>
                  <a:pt x="759317" y="62457"/>
                  <a:pt x="751608" y="81205"/>
                </a:cubicBezTo>
                <a:cubicBezTo>
                  <a:pt x="743947" y="99838"/>
                  <a:pt x="734803" y="117984"/>
                  <a:pt x="731002" y="141135"/>
                </a:cubicBezTo>
                <a:cubicBezTo>
                  <a:pt x="739490" y="139636"/>
                  <a:pt x="744805" y="139073"/>
                  <a:pt x="749917" y="137732"/>
                </a:cubicBezTo>
                <a:cubicBezTo>
                  <a:pt x="778702" y="130182"/>
                  <a:pt x="807436" y="122435"/>
                  <a:pt x="836197" y="114792"/>
                </a:cubicBezTo>
                <a:cubicBezTo>
                  <a:pt x="838352" y="114219"/>
                  <a:pt x="840584" y="113934"/>
                  <a:pt x="843209" y="113433"/>
                </a:cubicBezTo>
                <a:cubicBezTo>
                  <a:pt x="843710" y="115876"/>
                  <a:pt x="844352" y="117648"/>
                  <a:pt x="844400" y="119435"/>
                </a:cubicBezTo>
                <a:cubicBezTo>
                  <a:pt x="845405" y="157181"/>
                  <a:pt x="846208" y="194932"/>
                  <a:pt x="847390" y="232672"/>
                </a:cubicBezTo>
                <a:cubicBezTo>
                  <a:pt x="847695" y="242389"/>
                  <a:pt x="849334" y="252058"/>
                  <a:pt x="850015" y="261773"/>
                </a:cubicBezTo>
                <a:cubicBezTo>
                  <a:pt x="850401" y="267273"/>
                  <a:pt x="850085" y="272822"/>
                  <a:pt x="850085" y="280220"/>
                </a:cubicBezTo>
                <a:cubicBezTo>
                  <a:pt x="837463" y="277293"/>
                  <a:pt x="826347" y="274822"/>
                  <a:pt x="815285" y="272127"/>
                </a:cubicBezTo>
                <a:cubicBezTo>
                  <a:pt x="795873" y="267398"/>
                  <a:pt x="776299" y="263181"/>
                  <a:pt x="757181" y="257455"/>
                </a:cubicBezTo>
                <a:cubicBezTo>
                  <a:pt x="747363" y="254515"/>
                  <a:pt x="739983" y="255620"/>
                  <a:pt x="732939" y="263859"/>
                </a:cubicBezTo>
                <a:cubicBezTo>
                  <a:pt x="735150" y="269003"/>
                  <a:pt x="737509" y="274491"/>
                  <a:pt x="739871" y="279988"/>
                </a:cubicBezTo>
                <a:cubicBezTo>
                  <a:pt x="735196" y="284033"/>
                  <a:pt x="730592" y="288016"/>
                  <a:pt x="725900" y="292074"/>
                </a:cubicBezTo>
                <a:cubicBezTo>
                  <a:pt x="731987" y="302329"/>
                  <a:pt x="739718" y="300546"/>
                  <a:pt x="747132" y="298017"/>
                </a:cubicBezTo>
                <a:cubicBezTo>
                  <a:pt x="758463" y="305429"/>
                  <a:pt x="762190" y="317570"/>
                  <a:pt x="768268" y="327815"/>
                </a:cubicBezTo>
                <a:cubicBezTo>
                  <a:pt x="774924" y="339037"/>
                  <a:pt x="780217" y="351080"/>
                  <a:pt x="785901" y="362862"/>
                </a:cubicBezTo>
                <a:cubicBezTo>
                  <a:pt x="788639" y="368539"/>
                  <a:pt x="792017" y="372441"/>
                  <a:pt x="798627" y="374591"/>
                </a:cubicBezTo>
                <a:cubicBezTo>
                  <a:pt x="809488" y="378123"/>
                  <a:pt x="810054" y="379498"/>
                  <a:pt x="815580" y="387899"/>
                </a:cubicBezTo>
                <a:cubicBezTo>
                  <a:pt x="814864" y="388896"/>
                  <a:pt x="814194" y="390825"/>
                  <a:pt x="813282" y="390947"/>
                </a:cubicBezTo>
                <a:cubicBezTo>
                  <a:pt x="801085" y="392587"/>
                  <a:pt x="788983" y="395969"/>
                  <a:pt x="776501" y="393213"/>
                </a:cubicBezTo>
                <a:cubicBezTo>
                  <a:pt x="752021" y="387807"/>
                  <a:pt x="727631" y="382034"/>
                  <a:pt x="702336" y="381496"/>
                </a:cubicBezTo>
                <a:cubicBezTo>
                  <a:pt x="688886" y="381209"/>
                  <a:pt x="675464" y="379722"/>
                  <a:pt x="662021" y="378921"/>
                </a:cubicBezTo>
                <a:cubicBezTo>
                  <a:pt x="656307" y="378581"/>
                  <a:pt x="651557" y="380270"/>
                  <a:pt x="651111" y="386942"/>
                </a:cubicBezTo>
                <a:cubicBezTo>
                  <a:pt x="649994" y="403641"/>
                  <a:pt x="648739" y="420346"/>
                  <a:pt x="648295" y="437069"/>
                </a:cubicBezTo>
                <a:cubicBezTo>
                  <a:pt x="648034" y="446937"/>
                  <a:pt x="650047" y="448870"/>
                  <a:pt x="659561" y="448907"/>
                </a:cubicBezTo>
                <a:cubicBezTo>
                  <a:pt x="706308" y="449089"/>
                  <a:pt x="753056" y="448964"/>
                  <a:pt x="799805" y="449022"/>
                </a:cubicBezTo>
                <a:cubicBezTo>
                  <a:pt x="806377" y="449030"/>
                  <a:pt x="809905" y="446744"/>
                  <a:pt x="811083" y="439581"/>
                </a:cubicBezTo>
                <a:cubicBezTo>
                  <a:pt x="811941" y="434369"/>
                  <a:pt x="814063" y="427618"/>
                  <a:pt x="817945" y="425008"/>
                </a:cubicBezTo>
                <a:cubicBezTo>
                  <a:pt x="826399" y="419324"/>
                  <a:pt x="828426" y="411596"/>
                  <a:pt x="828609" y="403122"/>
                </a:cubicBezTo>
                <a:cubicBezTo>
                  <a:pt x="833858" y="400461"/>
                  <a:pt x="837181" y="402725"/>
                  <a:pt x="838374" y="406435"/>
                </a:cubicBezTo>
                <a:cubicBezTo>
                  <a:pt x="840905" y="414312"/>
                  <a:pt x="843515" y="422394"/>
                  <a:pt x="844275" y="430561"/>
                </a:cubicBezTo>
                <a:cubicBezTo>
                  <a:pt x="845704" y="445903"/>
                  <a:pt x="850511" y="450005"/>
                  <a:pt x="865761" y="447068"/>
                </a:cubicBezTo>
                <a:cubicBezTo>
                  <a:pt x="872626" y="445746"/>
                  <a:pt x="878915" y="445539"/>
                  <a:pt x="885673" y="449965"/>
                </a:cubicBezTo>
                <a:cubicBezTo>
                  <a:pt x="890708" y="453263"/>
                  <a:pt x="898041" y="453271"/>
                  <a:pt x="904428" y="454230"/>
                </a:cubicBezTo>
                <a:cubicBezTo>
                  <a:pt x="913142" y="455538"/>
                  <a:pt x="921904" y="456741"/>
                  <a:pt x="930689" y="457318"/>
                </a:cubicBezTo>
                <a:cubicBezTo>
                  <a:pt x="967829" y="459759"/>
                  <a:pt x="1003019" y="469066"/>
                  <a:pt x="1036296" y="485877"/>
                </a:cubicBezTo>
                <a:cubicBezTo>
                  <a:pt x="1057129" y="496401"/>
                  <a:pt x="1071673" y="512633"/>
                  <a:pt x="1076027" y="535212"/>
                </a:cubicBezTo>
                <a:cubicBezTo>
                  <a:pt x="1078694" y="549043"/>
                  <a:pt x="1078298" y="564366"/>
                  <a:pt x="1075403" y="578208"/>
                </a:cubicBezTo>
                <a:cubicBezTo>
                  <a:pt x="1064597" y="629873"/>
                  <a:pt x="1044688" y="678854"/>
                  <a:pt x="1028317" y="728867"/>
                </a:cubicBezTo>
                <a:cubicBezTo>
                  <a:pt x="1014112" y="772262"/>
                  <a:pt x="998310" y="815132"/>
                  <a:pt x="983498" y="858331"/>
                </a:cubicBezTo>
                <a:cubicBezTo>
                  <a:pt x="971714" y="892697"/>
                  <a:pt x="959865" y="927055"/>
                  <a:pt x="948940" y="961698"/>
                </a:cubicBezTo>
                <a:cubicBezTo>
                  <a:pt x="935780" y="1003426"/>
                  <a:pt x="923502" y="1045433"/>
                  <a:pt x="911066" y="1087385"/>
                </a:cubicBezTo>
                <a:cubicBezTo>
                  <a:pt x="910087" y="1090688"/>
                  <a:pt x="910738" y="1094511"/>
                  <a:pt x="910828" y="1098086"/>
                </a:cubicBezTo>
                <a:cubicBezTo>
                  <a:pt x="911096" y="1108800"/>
                  <a:pt x="911984" y="1119535"/>
                  <a:pt x="911498" y="1130209"/>
                </a:cubicBezTo>
                <a:cubicBezTo>
                  <a:pt x="911333" y="1133841"/>
                  <a:pt x="908325" y="1137771"/>
                  <a:pt x="905716" y="1140786"/>
                </a:cubicBezTo>
                <a:cubicBezTo>
                  <a:pt x="896689" y="1151217"/>
                  <a:pt x="895625" y="1160669"/>
                  <a:pt x="904041" y="1171694"/>
                </a:cubicBezTo>
                <a:cubicBezTo>
                  <a:pt x="912211" y="1182398"/>
                  <a:pt x="921368" y="1192341"/>
                  <a:pt x="929797" y="1202854"/>
                </a:cubicBezTo>
                <a:cubicBezTo>
                  <a:pt x="945705" y="1222696"/>
                  <a:pt x="952969" y="1246039"/>
                  <a:pt x="956714" y="1270749"/>
                </a:cubicBezTo>
                <a:cubicBezTo>
                  <a:pt x="957687" y="1277170"/>
                  <a:pt x="957779" y="1283963"/>
                  <a:pt x="960074" y="1289888"/>
                </a:cubicBezTo>
                <a:cubicBezTo>
                  <a:pt x="963075" y="1297631"/>
                  <a:pt x="967750" y="1304358"/>
                  <a:pt x="975795" y="1308746"/>
                </a:cubicBezTo>
                <a:cubicBezTo>
                  <a:pt x="985143" y="1313846"/>
                  <a:pt x="994116" y="1319926"/>
                  <a:pt x="1002397" y="1326635"/>
                </a:cubicBezTo>
                <a:cubicBezTo>
                  <a:pt x="1030424" y="1349343"/>
                  <a:pt x="1038408" y="1401530"/>
                  <a:pt x="1018686" y="1435905"/>
                </a:cubicBezTo>
                <a:cubicBezTo>
                  <a:pt x="1013500" y="1444943"/>
                  <a:pt x="1005098" y="1450152"/>
                  <a:pt x="996257" y="1454107"/>
                </a:cubicBezTo>
                <a:cubicBezTo>
                  <a:pt x="988281" y="1457674"/>
                  <a:pt x="979503" y="1460398"/>
                  <a:pt x="970849" y="1461303"/>
                </a:cubicBezTo>
                <a:cubicBezTo>
                  <a:pt x="953296" y="1463139"/>
                  <a:pt x="935587" y="1463487"/>
                  <a:pt x="917943" y="1464461"/>
                </a:cubicBezTo>
                <a:cubicBezTo>
                  <a:pt x="913762" y="1464691"/>
                  <a:pt x="909478" y="1464482"/>
                  <a:pt x="905433" y="1465358"/>
                </a:cubicBezTo>
                <a:cubicBezTo>
                  <a:pt x="901150" y="1466287"/>
                  <a:pt x="897709" y="1468792"/>
                  <a:pt x="897863" y="1474014"/>
                </a:cubicBezTo>
                <a:cubicBezTo>
                  <a:pt x="897877" y="1474480"/>
                  <a:pt x="897822" y="1474948"/>
                  <a:pt x="897812" y="1475415"/>
                </a:cubicBezTo>
                <a:cubicBezTo>
                  <a:pt x="897511" y="1490282"/>
                  <a:pt x="898056" y="1504999"/>
                  <a:pt x="895549" y="1519988"/>
                </a:cubicBezTo>
                <a:cubicBezTo>
                  <a:pt x="893039" y="1534995"/>
                  <a:pt x="894597" y="1550763"/>
                  <a:pt x="895093" y="1566174"/>
                </a:cubicBezTo>
                <a:cubicBezTo>
                  <a:pt x="895841" y="1589420"/>
                  <a:pt x="897215" y="1612646"/>
                  <a:pt x="898754" y="1637125"/>
                </a:cubicBezTo>
                <a:moveTo>
                  <a:pt x="654604" y="2329281"/>
                </a:moveTo>
                <a:cubicBezTo>
                  <a:pt x="652015" y="2310116"/>
                  <a:pt x="655822" y="2290495"/>
                  <a:pt x="650429" y="2271391"/>
                </a:cubicBezTo>
                <a:cubicBezTo>
                  <a:pt x="648307" y="2277580"/>
                  <a:pt x="648156" y="2283761"/>
                  <a:pt x="648148" y="2289942"/>
                </a:cubicBezTo>
                <a:cubicBezTo>
                  <a:pt x="648117" y="2315944"/>
                  <a:pt x="648093" y="2341946"/>
                  <a:pt x="648156" y="2367948"/>
                </a:cubicBezTo>
                <a:cubicBezTo>
                  <a:pt x="648168" y="2372820"/>
                  <a:pt x="646633" y="2378876"/>
                  <a:pt x="655577" y="2381454"/>
                </a:cubicBezTo>
                <a:cubicBezTo>
                  <a:pt x="655560" y="2389285"/>
                  <a:pt x="655756" y="2397123"/>
                  <a:pt x="655485" y="2404945"/>
                </a:cubicBezTo>
                <a:cubicBezTo>
                  <a:pt x="654880" y="2422378"/>
                  <a:pt x="654042" y="2439804"/>
                  <a:pt x="651805" y="2455510"/>
                </a:cubicBezTo>
                <a:cubicBezTo>
                  <a:pt x="651527" y="2435450"/>
                  <a:pt x="651319" y="2415390"/>
                  <a:pt x="650902" y="2395333"/>
                </a:cubicBezTo>
                <a:cubicBezTo>
                  <a:pt x="650837" y="2392220"/>
                  <a:pt x="649823" y="2389127"/>
                  <a:pt x="649248" y="2386025"/>
                </a:cubicBezTo>
                <a:cubicBezTo>
                  <a:pt x="647943" y="2386187"/>
                  <a:pt x="646638" y="2386350"/>
                  <a:pt x="645333" y="2386512"/>
                </a:cubicBezTo>
                <a:cubicBezTo>
                  <a:pt x="645333" y="2390961"/>
                  <a:pt x="645334" y="2395409"/>
                  <a:pt x="645333" y="2399858"/>
                </a:cubicBezTo>
                <a:cubicBezTo>
                  <a:pt x="645326" y="2423694"/>
                  <a:pt x="645418" y="2447532"/>
                  <a:pt x="645232" y="2471367"/>
                </a:cubicBezTo>
                <a:cubicBezTo>
                  <a:pt x="645193" y="2476432"/>
                  <a:pt x="644504" y="2481563"/>
                  <a:pt x="643489" y="2486535"/>
                </a:cubicBezTo>
                <a:cubicBezTo>
                  <a:pt x="639304" y="2507036"/>
                  <a:pt x="642157" y="2510950"/>
                  <a:pt x="662548" y="2510760"/>
                </a:cubicBezTo>
                <a:cubicBezTo>
                  <a:pt x="755908" y="2509888"/>
                  <a:pt x="849266" y="2508878"/>
                  <a:pt x="942625" y="2507990"/>
                </a:cubicBezTo>
                <a:cubicBezTo>
                  <a:pt x="960852" y="2507816"/>
                  <a:pt x="979082" y="2508002"/>
                  <a:pt x="997309" y="2507928"/>
                </a:cubicBezTo>
                <a:cubicBezTo>
                  <a:pt x="1001871" y="2507910"/>
                  <a:pt x="1006430" y="2507531"/>
                  <a:pt x="1012693" y="2507237"/>
                </a:cubicBezTo>
                <a:cubicBezTo>
                  <a:pt x="1012056" y="2501789"/>
                  <a:pt x="1012084" y="2497264"/>
                  <a:pt x="1010948" y="2493054"/>
                </a:cubicBezTo>
                <a:cubicBezTo>
                  <a:pt x="1001379" y="2457588"/>
                  <a:pt x="991103" y="2422306"/>
                  <a:pt x="982017" y="2386719"/>
                </a:cubicBezTo>
                <a:cubicBezTo>
                  <a:pt x="972598" y="2349832"/>
                  <a:pt x="963965" y="2312735"/>
                  <a:pt x="955543" y="2275604"/>
                </a:cubicBezTo>
                <a:cubicBezTo>
                  <a:pt x="944249" y="2225808"/>
                  <a:pt x="933022" y="2175988"/>
                  <a:pt x="922638" y="2125997"/>
                </a:cubicBezTo>
                <a:cubicBezTo>
                  <a:pt x="913587" y="2082421"/>
                  <a:pt x="905382" y="2038659"/>
                  <a:pt x="897474" y="1994858"/>
                </a:cubicBezTo>
                <a:cubicBezTo>
                  <a:pt x="890476" y="1956093"/>
                  <a:pt x="883980" y="1917224"/>
                  <a:pt x="878061" y="1878280"/>
                </a:cubicBezTo>
                <a:cubicBezTo>
                  <a:pt x="873675" y="1849428"/>
                  <a:pt x="870415" y="1820399"/>
                  <a:pt x="866965" y="1791411"/>
                </a:cubicBezTo>
                <a:cubicBezTo>
                  <a:pt x="865539" y="1779434"/>
                  <a:pt x="865114" y="1767342"/>
                  <a:pt x="863902" y="1755335"/>
                </a:cubicBezTo>
                <a:cubicBezTo>
                  <a:pt x="861296" y="1729506"/>
                  <a:pt x="857509" y="1703754"/>
                  <a:pt x="855983" y="1677866"/>
                </a:cubicBezTo>
                <a:cubicBezTo>
                  <a:pt x="854037" y="1644859"/>
                  <a:pt x="853904" y="1611748"/>
                  <a:pt x="852873" y="1578685"/>
                </a:cubicBezTo>
                <a:cubicBezTo>
                  <a:pt x="852423" y="1564271"/>
                  <a:pt x="849465" y="1549523"/>
                  <a:pt x="851635" y="1535546"/>
                </a:cubicBezTo>
                <a:cubicBezTo>
                  <a:pt x="854359" y="1517991"/>
                  <a:pt x="850206" y="1501278"/>
                  <a:pt x="850039" y="1484182"/>
                </a:cubicBezTo>
                <a:cubicBezTo>
                  <a:pt x="850005" y="1480667"/>
                  <a:pt x="849101" y="1477161"/>
                  <a:pt x="848486" y="1472876"/>
                </a:cubicBezTo>
                <a:cubicBezTo>
                  <a:pt x="842279" y="1472876"/>
                  <a:pt x="837173" y="1472798"/>
                  <a:pt x="832070" y="1472888"/>
                </a:cubicBezTo>
                <a:cubicBezTo>
                  <a:pt x="780308" y="1473806"/>
                  <a:pt x="728546" y="1474749"/>
                  <a:pt x="676784" y="1475691"/>
                </a:cubicBezTo>
                <a:cubicBezTo>
                  <a:pt x="663422" y="1475935"/>
                  <a:pt x="662442" y="1476899"/>
                  <a:pt x="662172" y="1490031"/>
                </a:cubicBezTo>
                <a:cubicBezTo>
                  <a:pt x="662124" y="1492367"/>
                  <a:pt x="662222" y="1494706"/>
                  <a:pt x="662153" y="1497041"/>
                </a:cubicBezTo>
                <a:cubicBezTo>
                  <a:pt x="660720" y="1545521"/>
                  <a:pt x="663794" y="1593996"/>
                  <a:pt x="659832" y="1642548"/>
                </a:cubicBezTo>
                <a:cubicBezTo>
                  <a:pt x="656616" y="1681972"/>
                  <a:pt x="657530" y="1721730"/>
                  <a:pt x="656544" y="1761338"/>
                </a:cubicBezTo>
                <a:cubicBezTo>
                  <a:pt x="655035" y="1821971"/>
                  <a:pt x="657667" y="1882583"/>
                  <a:pt x="654344" y="1943296"/>
                </a:cubicBezTo>
                <a:cubicBezTo>
                  <a:pt x="650802" y="2008002"/>
                  <a:pt x="651715" y="2072959"/>
                  <a:pt x="651002" y="2137811"/>
                </a:cubicBezTo>
                <a:cubicBezTo>
                  <a:pt x="650627" y="2171926"/>
                  <a:pt x="650929" y="2206049"/>
                  <a:pt x="650933" y="2240168"/>
                </a:cubicBezTo>
                <a:cubicBezTo>
                  <a:pt x="650933" y="2243439"/>
                  <a:pt x="650161" y="2247032"/>
                  <a:pt x="651273" y="2249880"/>
                </a:cubicBezTo>
                <a:cubicBezTo>
                  <a:pt x="652187" y="2252220"/>
                  <a:pt x="655368" y="2253675"/>
                  <a:pt x="658332" y="2258024"/>
                </a:cubicBezTo>
                <a:cubicBezTo>
                  <a:pt x="657587" y="2282352"/>
                  <a:pt x="656842" y="2306679"/>
                  <a:pt x="654604" y="2329281"/>
                </a:cubicBezTo>
                <a:moveTo>
                  <a:pt x="999154" y="2930680"/>
                </a:moveTo>
                <a:cubicBezTo>
                  <a:pt x="1074430" y="2924379"/>
                  <a:pt x="1149252" y="2914341"/>
                  <a:pt x="1224400" y="2904672"/>
                </a:cubicBezTo>
                <a:cubicBezTo>
                  <a:pt x="1224983" y="2900287"/>
                  <a:pt x="1225723" y="2897124"/>
                  <a:pt x="1225778" y="2893948"/>
                </a:cubicBezTo>
                <a:cubicBezTo>
                  <a:pt x="1226437" y="2856188"/>
                  <a:pt x="1218943" y="2820187"/>
                  <a:pt x="1197990" y="2788499"/>
                </a:cubicBezTo>
                <a:cubicBezTo>
                  <a:pt x="1185967" y="2770315"/>
                  <a:pt x="1171427" y="2753616"/>
                  <a:pt x="1156721" y="2737429"/>
                </a:cubicBezTo>
                <a:cubicBezTo>
                  <a:pt x="1137254" y="2716002"/>
                  <a:pt x="1115793" y="2696376"/>
                  <a:pt x="1096512" y="2674794"/>
                </a:cubicBezTo>
                <a:cubicBezTo>
                  <a:pt x="1073694" y="2649251"/>
                  <a:pt x="1056484" y="2620624"/>
                  <a:pt x="1056842" y="2584575"/>
                </a:cubicBezTo>
                <a:cubicBezTo>
                  <a:pt x="1056854" y="2583302"/>
                  <a:pt x="1056015" y="2582020"/>
                  <a:pt x="1055233" y="2579758"/>
                </a:cubicBezTo>
                <a:cubicBezTo>
                  <a:pt x="1042855" y="2580471"/>
                  <a:pt x="1030372" y="2580868"/>
                  <a:pt x="1017950" y="2581956"/>
                </a:cubicBezTo>
                <a:cubicBezTo>
                  <a:pt x="940684" y="2588728"/>
                  <a:pt x="863326" y="2593894"/>
                  <a:pt x="785764" y="2595473"/>
                </a:cubicBezTo>
                <a:cubicBezTo>
                  <a:pt x="745592" y="2596290"/>
                  <a:pt x="705413" y="2596778"/>
                  <a:pt x="665238" y="2597498"/>
                </a:cubicBezTo>
                <a:cubicBezTo>
                  <a:pt x="661698" y="2597562"/>
                  <a:pt x="658168" y="2598244"/>
                  <a:pt x="654332" y="2598673"/>
                </a:cubicBezTo>
                <a:cubicBezTo>
                  <a:pt x="664449" y="2711162"/>
                  <a:pt x="659668" y="2822547"/>
                  <a:pt x="653026" y="2935427"/>
                </a:cubicBezTo>
                <a:cubicBezTo>
                  <a:pt x="768837" y="2937973"/>
                  <a:pt x="882730" y="2939028"/>
                  <a:pt x="999154" y="2930680"/>
                </a:cubicBezTo>
                <a:moveTo>
                  <a:pt x="947894" y="3022480"/>
                </a:moveTo>
                <a:cubicBezTo>
                  <a:pt x="916629" y="3024040"/>
                  <a:pt x="885376" y="3026565"/>
                  <a:pt x="854096" y="3026952"/>
                </a:cubicBezTo>
                <a:cubicBezTo>
                  <a:pt x="794764" y="3027687"/>
                  <a:pt x="735417" y="3027198"/>
                  <a:pt x="676076" y="3027217"/>
                </a:cubicBezTo>
                <a:cubicBezTo>
                  <a:pt x="670121" y="3027219"/>
                  <a:pt x="664166" y="3027217"/>
                  <a:pt x="657155" y="3027217"/>
                </a:cubicBezTo>
                <a:cubicBezTo>
                  <a:pt x="655529" y="3062293"/>
                  <a:pt x="651846" y="3095886"/>
                  <a:pt x="650929" y="3130009"/>
                </a:cubicBezTo>
                <a:cubicBezTo>
                  <a:pt x="656057" y="3130467"/>
                  <a:pt x="659260" y="3130899"/>
                  <a:pt x="662475" y="3131016"/>
                </a:cubicBezTo>
                <a:cubicBezTo>
                  <a:pt x="700300" y="3132391"/>
                  <a:pt x="738118" y="3134111"/>
                  <a:pt x="775955" y="3134982"/>
                </a:cubicBezTo>
                <a:cubicBezTo>
                  <a:pt x="871340" y="3137178"/>
                  <a:pt x="966589" y="3135038"/>
                  <a:pt x="1061598" y="3125377"/>
                </a:cubicBezTo>
                <a:cubicBezTo>
                  <a:pt x="1124889" y="3118941"/>
                  <a:pt x="1187609" y="3109276"/>
                  <a:pt x="1249397" y="3093967"/>
                </a:cubicBezTo>
                <a:cubicBezTo>
                  <a:pt x="1253752" y="3092888"/>
                  <a:pt x="1257981" y="3091298"/>
                  <a:pt x="1262842" y="3089764"/>
                </a:cubicBezTo>
                <a:cubicBezTo>
                  <a:pt x="1259040" y="3062969"/>
                  <a:pt x="1254881" y="3037707"/>
                  <a:pt x="1244253" y="3014005"/>
                </a:cubicBezTo>
                <a:cubicBezTo>
                  <a:pt x="1242547" y="3010201"/>
                  <a:pt x="1239948" y="3006798"/>
                  <a:pt x="1237768" y="3003206"/>
                </a:cubicBezTo>
                <a:cubicBezTo>
                  <a:pt x="1233239" y="2995743"/>
                  <a:pt x="1227131" y="2992138"/>
                  <a:pt x="1217957" y="2993424"/>
                </a:cubicBezTo>
                <a:cubicBezTo>
                  <a:pt x="1199921" y="2995951"/>
                  <a:pt x="1181756" y="2997558"/>
                  <a:pt x="1163725" y="3000119"/>
                </a:cubicBezTo>
                <a:cubicBezTo>
                  <a:pt x="1092925" y="3010176"/>
                  <a:pt x="1021883" y="3017834"/>
                  <a:pt x="947894" y="3022480"/>
                </a:cubicBezTo>
                <a:moveTo>
                  <a:pt x="784197" y="1352777"/>
                </a:moveTo>
                <a:cubicBezTo>
                  <a:pt x="766462" y="1353462"/>
                  <a:pt x="748731" y="1354287"/>
                  <a:pt x="730991" y="1354793"/>
                </a:cubicBezTo>
                <a:cubicBezTo>
                  <a:pt x="712981" y="1355307"/>
                  <a:pt x="694940" y="1355183"/>
                  <a:pt x="676320" y="1356902"/>
                </a:cubicBezTo>
                <a:cubicBezTo>
                  <a:pt x="674799" y="1378289"/>
                  <a:pt x="673393" y="1398039"/>
                  <a:pt x="671906" y="1418933"/>
                </a:cubicBezTo>
                <a:cubicBezTo>
                  <a:pt x="677552" y="1418933"/>
                  <a:pt x="681678" y="1419046"/>
                  <a:pt x="685797" y="1418917"/>
                </a:cubicBezTo>
                <a:cubicBezTo>
                  <a:pt x="774966" y="1416107"/>
                  <a:pt x="864134" y="1413293"/>
                  <a:pt x="953300" y="1410383"/>
                </a:cubicBezTo>
                <a:cubicBezTo>
                  <a:pt x="958412" y="1410216"/>
                  <a:pt x="963542" y="1409471"/>
                  <a:pt x="968586" y="1408564"/>
                </a:cubicBezTo>
                <a:cubicBezTo>
                  <a:pt x="978218" y="1406833"/>
                  <a:pt x="980261" y="1404383"/>
                  <a:pt x="980375" y="1394590"/>
                </a:cubicBezTo>
                <a:cubicBezTo>
                  <a:pt x="980521" y="1382101"/>
                  <a:pt x="976026" y="1371666"/>
                  <a:pt x="965591" y="1364447"/>
                </a:cubicBezTo>
                <a:cubicBezTo>
                  <a:pt x="948967" y="1352947"/>
                  <a:pt x="930599" y="1347277"/>
                  <a:pt x="910211" y="1348103"/>
                </a:cubicBezTo>
                <a:cubicBezTo>
                  <a:pt x="869142" y="1349769"/>
                  <a:pt x="828062" y="1351175"/>
                  <a:pt x="784197" y="1352777"/>
                </a:cubicBezTo>
                <a:moveTo>
                  <a:pt x="648129" y="615881"/>
                </a:moveTo>
                <a:cubicBezTo>
                  <a:pt x="649058" y="632117"/>
                  <a:pt x="650192" y="648345"/>
                  <a:pt x="650869" y="664591"/>
                </a:cubicBezTo>
                <a:cubicBezTo>
                  <a:pt x="652013" y="692034"/>
                  <a:pt x="650274" y="719448"/>
                  <a:pt x="653223" y="746994"/>
                </a:cubicBezTo>
                <a:cubicBezTo>
                  <a:pt x="656187" y="774679"/>
                  <a:pt x="652958" y="802766"/>
                  <a:pt x="656163" y="830737"/>
                </a:cubicBezTo>
                <a:cubicBezTo>
                  <a:pt x="658910" y="854709"/>
                  <a:pt x="656763" y="879007"/>
                  <a:pt x="658740" y="903281"/>
                </a:cubicBezTo>
                <a:cubicBezTo>
                  <a:pt x="661875" y="941767"/>
                  <a:pt x="661060" y="980568"/>
                  <a:pt x="662209" y="1019226"/>
                </a:cubicBezTo>
                <a:cubicBezTo>
                  <a:pt x="662831" y="1040143"/>
                  <a:pt x="663923" y="1061048"/>
                  <a:pt x="665088" y="1081942"/>
                </a:cubicBezTo>
                <a:cubicBezTo>
                  <a:pt x="665498" y="1089302"/>
                  <a:pt x="668166" y="1091025"/>
                  <a:pt x="674628" y="1090643"/>
                </a:cubicBezTo>
                <a:cubicBezTo>
                  <a:pt x="703841" y="1088916"/>
                  <a:pt x="733054" y="1087111"/>
                  <a:pt x="762289" y="1085865"/>
                </a:cubicBezTo>
                <a:cubicBezTo>
                  <a:pt x="792528" y="1084574"/>
                  <a:pt x="822793" y="1083894"/>
                  <a:pt x="853046" y="1082948"/>
                </a:cubicBezTo>
                <a:cubicBezTo>
                  <a:pt x="853513" y="1082934"/>
                  <a:pt x="853981" y="1082919"/>
                  <a:pt x="854448" y="1082924"/>
                </a:cubicBezTo>
                <a:cubicBezTo>
                  <a:pt x="860299" y="1082998"/>
                  <a:pt x="864379" y="1080055"/>
                  <a:pt x="866364" y="1074839"/>
                </a:cubicBezTo>
                <a:cubicBezTo>
                  <a:pt x="874977" y="1052218"/>
                  <a:pt x="883766" y="1029650"/>
                  <a:pt x="891726" y="1006797"/>
                </a:cubicBezTo>
                <a:cubicBezTo>
                  <a:pt x="899510" y="984448"/>
                  <a:pt x="905967" y="961638"/>
                  <a:pt x="913720" y="939278"/>
                </a:cubicBezTo>
                <a:cubicBezTo>
                  <a:pt x="926840" y="901438"/>
                  <a:pt x="940566" y="863808"/>
                  <a:pt x="953952" y="826060"/>
                </a:cubicBezTo>
                <a:cubicBezTo>
                  <a:pt x="965626" y="793139"/>
                  <a:pt x="977165" y="760170"/>
                  <a:pt x="988796" y="727233"/>
                </a:cubicBezTo>
                <a:cubicBezTo>
                  <a:pt x="1004602" y="682474"/>
                  <a:pt x="1020729" y="637825"/>
                  <a:pt x="1036110" y="592920"/>
                </a:cubicBezTo>
                <a:cubicBezTo>
                  <a:pt x="1041693" y="576621"/>
                  <a:pt x="1044731" y="559627"/>
                  <a:pt x="1043677" y="542152"/>
                </a:cubicBezTo>
                <a:cubicBezTo>
                  <a:pt x="1043059" y="531887"/>
                  <a:pt x="1040345" y="522522"/>
                  <a:pt x="1030884" y="517222"/>
                </a:cubicBezTo>
                <a:cubicBezTo>
                  <a:pt x="1024045" y="513391"/>
                  <a:pt x="1016699" y="510004"/>
                  <a:pt x="1009162" y="507963"/>
                </a:cubicBezTo>
                <a:cubicBezTo>
                  <a:pt x="983620" y="501048"/>
                  <a:pt x="957981" y="494740"/>
                  <a:pt x="931266" y="493552"/>
                </a:cubicBezTo>
                <a:cubicBezTo>
                  <a:pt x="914169" y="492791"/>
                  <a:pt x="897177" y="489870"/>
                  <a:pt x="880100" y="488348"/>
                </a:cubicBezTo>
                <a:cubicBezTo>
                  <a:pt x="865298" y="487029"/>
                  <a:pt x="850441" y="486332"/>
                  <a:pt x="835610" y="485330"/>
                </a:cubicBezTo>
                <a:cubicBezTo>
                  <a:pt x="808745" y="483516"/>
                  <a:pt x="781896" y="480471"/>
                  <a:pt x="755014" y="480162"/>
                </a:cubicBezTo>
                <a:cubicBezTo>
                  <a:pt x="722439" y="479789"/>
                  <a:pt x="689836" y="481665"/>
                  <a:pt x="657249" y="482686"/>
                </a:cubicBezTo>
                <a:cubicBezTo>
                  <a:pt x="646583" y="483021"/>
                  <a:pt x="641424" y="489596"/>
                  <a:pt x="643184" y="500211"/>
                </a:cubicBezTo>
                <a:cubicBezTo>
                  <a:pt x="643789" y="503860"/>
                  <a:pt x="645104" y="507461"/>
                  <a:pt x="645220" y="511112"/>
                </a:cubicBezTo>
                <a:cubicBezTo>
                  <a:pt x="646298" y="545100"/>
                  <a:pt x="647185" y="579094"/>
                  <a:pt x="648129" y="615881"/>
                </a:cubicBezTo>
                <a:moveTo>
                  <a:pt x="886495" y="1207714"/>
                </a:moveTo>
                <a:cubicBezTo>
                  <a:pt x="884805" y="1206106"/>
                  <a:pt x="883380" y="1203949"/>
                  <a:pt x="881380" y="1202980"/>
                </a:cubicBezTo>
                <a:cubicBezTo>
                  <a:pt x="869508" y="1197225"/>
                  <a:pt x="866866" y="1186901"/>
                  <a:pt x="866913" y="1175042"/>
                </a:cubicBezTo>
                <a:cubicBezTo>
                  <a:pt x="866937" y="1168979"/>
                  <a:pt x="867225" y="1162853"/>
                  <a:pt x="866482" y="1156869"/>
                </a:cubicBezTo>
                <a:cubicBezTo>
                  <a:pt x="865810" y="1151447"/>
                  <a:pt x="863028" y="1147406"/>
                  <a:pt x="856429" y="1147458"/>
                </a:cubicBezTo>
                <a:cubicBezTo>
                  <a:pt x="834490" y="1147630"/>
                  <a:pt x="812519" y="1146897"/>
                  <a:pt x="790615" y="1147813"/>
                </a:cubicBezTo>
                <a:cubicBezTo>
                  <a:pt x="766540" y="1148819"/>
                  <a:pt x="742532" y="1151353"/>
                  <a:pt x="718484" y="1153058"/>
                </a:cubicBezTo>
                <a:cubicBezTo>
                  <a:pt x="702742" y="1154174"/>
                  <a:pt x="686965" y="1154817"/>
                  <a:pt x="671232" y="1156034"/>
                </a:cubicBezTo>
                <a:cubicBezTo>
                  <a:pt x="662945" y="1156675"/>
                  <a:pt x="661657" y="1159923"/>
                  <a:pt x="664146" y="1168443"/>
                </a:cubicBezTo>
                <a:cubicBezTo>
                  <a:pt x="665938" y="1174575"/>
                  <a:pt x="667544" y="1181027"/>
                  <a:pt x="667611" y="1187354"/>
                </a:cubicBezTo>
                <a:cubicBezTo>
                  <a:pt x="667956" y="1219564"/>
                  <a:pt x="667704" y="1251779"/>
                  <a:pt x="667803" y="1283992"/>
                </a:cubicBezTo>
                <a:cubicBezTo>
                  <a:pt x="667847" y="1297938"/>
                  <a:pt x="668871" y="1299219"/>
                  <a:pt x="683140" y="1298850"/>
                </a:cubicBezTo>
                <a:cubicBezTo>
                  <a:pt x="700774" y="1298393"/>
                  <a:pt x="718378" y="1296854"/>
                  <a:pt x="736011" y="1296220"/>
                </a:cubicBezTo>
                <a:cubicBezTo>
                  <a:pt x="767632" y="1295083"/>
                  <a:pt x="799265" y="1294272"/>
                  <a:pt x="830893" y="1293324"/>
                </a:cubicBezTo>
                <a:cubicBezTo>
                  <a:pt x="831826" y="1293296"/>
                  <a:pt x="832761" y="1293286"/>
                  <a:pt x="833691" y="1293213"/>
                </a:cubicBezTo>
                <a:cubicBezTo>
                  <a:pt x="856797" y="1291390"/>
                  <a:pt x="879886" y="1289299"/>
                  <a:pt x="903014" y="1287831"/>
                </a:cubicBezTo>
                <a:cubicBezTo>
                  <a:pt x="916073" y="1287002"/>
                  <a:pt x="919042" y="1284797"/>
                  <a:pt x="917225" y="1271856"/>
                </a:cubicBezTo>
                <a:cubicBezTo>
                  <a:pt x="913886" y="1248076"/>
                  <a:pt x="908472" y="1225007"/>
                  <a:pt x="886495" y="1207714"/>
                </a:cubicBezTo>
                <a:close/>
              </a:path>
            </a:pathLst>
          </a:custGeom>
          <a:solidFill>
            <a:srgbClr val="CDD9DF"/>
          </a:solidFill>
          <a:ln w="1401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9035" name="Straight Arrow Connector 9034">
            <a:extLst>
              <a:ext uri="{FF2B5EF4-FFF2-40B4-BE49-F238E27FC236}">
                <a16:creationId xmlns:a16="http://schemas.microsoft.com/office/drawing/2014/main" id="{EBE8AE45-CC2C-44DF-6E07-F65895FF5C0D}"/>
              </a:ext>
            </a:extLst>
          </p:cNvPr>
          <p:cNvCxnSpPr>
            <a:cxnSpLocks/>
          </p:cNvCxnSpPr>
          <p:nvPr/>
        </p:nvCxnSpPr>
        <p:spPr>
          <a:xfrm flipV="1">
            <a:off x="3628308" y="2873375"/>
            <a:ext cx="16134" cy="2001623"/>
          </a:xfrm>
          <a:prstGeom prst="straightConnector1">
            <a:avLst/>
          </a:prstGeom>
          <a:ln>
            <a:solidFill>
              <a:schemeClr val="tx1">
                <a:lumMod val="85000"/>
                <a:lumOff val="15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7766988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0515C28-959F-62A7-DE41-2E80DD2D6EE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EBF3E0AC-7564-BB45-87A6-8EE54170B3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>
                <a:solidFill>
                  <a:schemeClr val="accent1"/>
                </a:solidFill>
              </a:rPr>
              <a:t>Diffuse large B-cell lymphoma today: Progresses and gaps</a:t>
            </a:r>
            <a:br>
              <a:rPr lang="en-GB"/>
            </a:br>
            <a:br>
              <a:rPr lang="en-GB"/>
            </a:br>
            <a:r>
              <a:rPr lang="en-GB" sz="4000"/>
              <a:t>Professor Anna Sureda</a:t>
            </a:r>
            <a:br>
              <a:rPr lang="en-GB"/>
            </a:br>
            <a:r>
              <a:rPr lang="en-GB" sz="2800"/>
              <a:t>Catalan Institute of Oncology, Duran I </a:t>
            </a:r>
            <a:r>
              <a:rPr lang="en-GB" sz="2800" err="1"/>
              <a:t>Reynals</a:t>
            </a:r>
            <a:r>
              <a:rPr lang="en-GB" sz="2800"/>
              <a:t> Hospital, </a:t>
            </a:r>
            <a:br>
              <a:rPr lang="en-GB" sz="2800"/>
            </a:br>
            <a:r>
              <a:rPr lang="en-GB" sz="2800"/>
              <a:t>Barcelona, Spai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54430126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D970E0E-B2D5-33B2-6AF5-4E84B36F2BB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35C89E02-19E9-7C0D-E75B-D8F880B77862}"/>
              </a:ext>
            </a:extLst>
          </p:cNvPr>
          <p:cNvCxnSpPr>
            <a:cxnSpLocks/>
          </p:cNvCxnSpPr>
          <p:nvPr/>
        </p:nvCxnSpPr>
        <p:spPr>
          <a:xfrm>
            <a:off x="577415" y="3748737"/>
            <a:ext cx="10907449" cy="0"/>
          </a:xfrm>
          <a:prstGeom prst="line">
            <a:avLst/>
          </a:prstGeom>
          <a:ln w="285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410D6974-6E6C-1878-3770-0C05C8F2FC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0" y="311150"/>
            <a:ext cx="10317269" cy="930910"/>
          </a:xfrm>
        </p:spPr>
        <p:txBody>
          <a:bodyPr/>
          <a:lstStyle/>
          <a:p>
            <a:r>
              <a:rPr lang="en-GB">
                <a:latin typeface="+mn-lt"/>
              </a:rPr>
              <a:t>Treatment of transformed follicular lymphoma (DLBCL)</a:t>
            </a:r>
            <a:endParaRPr lang="en-GB" baseline="30000">
              <a:latin typeface="+mn-lt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118EFA8-BF11-894B-7631-9276C9DD717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70645" y="6182523"/>
            <a:ext cx="10440000" cy="537427"/>
          </a:xfrm>
        </p:spPr>
        <p:txBody>
          <a:bodyPr/>
          <a:lstStyle/>
          <a:p>
            <a:r>
              <a:rPr lang="en-GB"/>
              <a:t>1L, first line; 2L, second line; 3L, third line; BR, bendamustine, rituximab; CHOP, cyclophosphamide, doxorubicin, vincristine and prednisone; CR, complete response; </a:t>
            </a:r>
            <a:r>
              <a:rPr lang="en-GB" err="1"/>
              <a:t>DHAOx</a:t>
            </a:r>
            <a:r>
              <a:rPr lang="en-GB"/>
              <a:t>, dexamethasone, high-dose cytarabine, oxaliplatin; DLBCL, diffuse large B-cell lymphoma; PD, progressive disease; PDL1, programmed death-ligand 1; POD24, progression of disease within 24 months; R, rituximab.</a:t>
            </a:r>
          </a:p>
          <a:p>
            <a:r>
              <a:rPr lang="en-GB"/>
              <a:t>Patient case provided by Prof. Enrico </a:t>
            </a:r>
            <a:r>
              <a:rPr lang="en-GB" err="1"/>
              <a:t>Derenzini</a:t>
            </a:r>
            <a:r>
              <a:rPr lang="en-GB"/>
              <a:t>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9C6BA4C-B332-2DAB-3D77-DAACD4177264}"/>
              </a:ext>
            </a:extLst>
          </p:cNvPr>
          <p:cNvSpPr txBox="1"/>
          <p:nvPr/>
        </p:nvSpPr>
        <p:spPr>
          <a:xfrm>
            <a:off x="1478587" y="3217549"/>
            <a:ext cx="455050" cy="3927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CB813"/>
              </a:buClr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015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63991F25-EE3C-AEA4-5272-F4B959F5781C}"/>
              </a:ext>
            </a:extLst>
          </p:cNvPr>
          <p:cNvSpPr/>
          <p:nvPr/>
        </p:nvSpPr>
        <p:spPr>
          <a:xfrm>
            <a:off x="1628725" y="3671002"/>
            <a:ext cx="159799" cy="159799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1" i="0" u="none" strike="noStrike" kern="1200" cap="none" spc="0" normalizeH="0" baseline="0" noProof="0">
              <a:ln>
                <a:noFill/>
              </a:ln>
              <a:solidFill>
                <a:srgbClr val="585854">
                  <a:lumMod val="20000"/>
                  <a:lumOff val="80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D2C524E-55B1-9F19-CAEF-5C8B63C9D970}"/>
              </a:ext>
            </a:extLst>
          </p:cNvPr>
          <p:cNvSpPr txBox="1"/>
          <p:nvPr/>
        </p:nvSpPr>
        <p:spPr>
          <a:xfrm>
            <a:off x="4146263" y="3217549"/>
            <a:ext cx="455050" cy="3927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CB813"/>
              </a:buClr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017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409C2A48-2D74-64C4-0664-44CD12A52EE3}"/>
              </a:ext>
            </a:extLst>
          </p:cNvPr>
          <p:cNvSpPr/>
          <p:nvPr/>
        </p:nvSpPr>
        <p:spPr>
          <a:xfrm>
            <a:off x="4296401" y="3671002"/>
            <a:ext cx="159799" cy="159799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1" i="0" u="none" strike="noStrike" kern="1200" cap="none" spc="0" normalizeH="0" baseline="0" noProof="0">
              <a:ln>
                <a:noFill/>
              </a:ln>
              <a:solidFill>
                <a:srgbClr val="585854">
                  <a:lumMod val="20000"/>
                  <a:lumOff val="80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9EE6F3E9-D4FA-6F35-7DCE-95D09EA449D3}"/>
              </a:ext>
            </a:extLst>
          </p:cNvPr>
          <p:cNvCxnSpPr>
            <a:cxnSpLocks/>
            <a:stCxn id="13" idx="4"/>
          </p:cNvCxnSpPr>
          <p:nvPr/>
        </p:nvCxnSpPr>
        <p:spPr>
          <a:xfrm>
            <a:off x="1708625" y="3830801"/>
            <a:ext cx="0" cy="182159"/>
          </a:xfrm>
          <a:prstGeom prst="line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18BDCDE3-1EE7-795D-4172-818BF7A0EC05}"/>
              </a:ext>
            </a:extLst>
          </p:cNvPr>
          <p:cNvCxnSpPr>
            <a:cxnSpLocks/>
            <a:stCxn id="16" idx="4"/>
          </p:cNvCxnSpPr>
          <p:nvPr/>
        </p:nvCxnSpPr>
        <p:spPr>
          <a:xfrm>
            <a:off x="4376301" y="3830801"/>
            <a:ext cx="0" cy="509978"/>
          </a:xfrm>
          <a:prstGeom prst="line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0D0DC308-F2E4-CA93-27E1-AB5E235C9156}"/>
              </a:ext>
            </a:extLst>
          </p:cNvPr>
          <p:cNvSpPr txBox="1"/>
          <p:nvPr/>
        </p:nvSpPr>
        <p:spPr>
          <a:xfrm>
            <a:off x="4143243" y="4367326"/>
            <a:ext cx="2924773" cy="830997"/>
          </a:xfrm>
          <a:prstGeom prst="rect">
            <a:avLst/>
          </a:prstGeom>
          <a:noFill/>
        </p:spPr>
        <p:txBody>
          <a:bodyPr wrap="square" lIns="45720" tIns="45720" rIns="45720" bIns="45720" rtlCol="0">
            <a:spAutoFit/>
          </a:bodyPr>
          <a:lstStyle>
            <a:defPPr>
              <a:defRPr lang="sv-SE"/>
            </a:defPPr>
            <a:lvl1pPr>
              <a:defRPr sz="1600" i="1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1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L treatment: </a:t>
            </a: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-</a:t>
            </a:r>
            <a:r>
              <a:rPr kumimoji="0" lang="en-GB" sz="1600" b="1" i="0" u="none" strike="noStrike" kern="1200" cap="none" spc="0" normalizeH="0" baseline="0" noProof="0" err="1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HAOx</a:t>
            </a:r>
            <a:endParaRPr kumimoji="0" lang="en-GB" sz="1600" b="1" i="0" u="none" strike="noStrike" kern="1200" cap="none" spc="0" normalizeH="0" baseline="0" noProof="0">
              <a:ln>
                <a:noFill/>
              </a:ln>
              <a:solidFill>
                <a:srgbClr val="585854">
                  <a:lumMod val="20000"/>
                  <a:lumOff val="80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1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Outcome: </a:t>
            </a: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D with transformation to DLBCL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397CF295-0FB3-C061-F359-F8724595E63D}"/>
              </a:ext>
            </a:extLst>
          </p:cNvPr>
          <p:cNvSpPr txBox="1"/>
          <p:nvPr/>
        </p:nvSpPr>
        <p:spPr>
          <a:xfrm>
            <a:off x="6760591" y="3217549"/>
            <a:ext cx="455050" cy="3927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CB813"/>
              </a:buClr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018</a:t>
            </a: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AD0D7422-2DEB-69C4-FEAC-0915EFC8AA1F}"/>
              </a:ext>
            </a:extLst>
          </p:cNvPr>
          <p:cNvSpPr/>
          <p:nvPr/>
        </p:nvSpPr>
        <p:spPr>
          <a:xfrm>
            <a:off x="6908217" y="3671002"/>
            <a:ext cx="159799" cy="159799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1C7FD186-D3D2-AB14-D89F-E06FF245A1EE}"/>
              </a:ext>
            </a:extLst>
          </p:cNvPr>
          <p:cNvCxnSpPr>
            <a:cxnSpLocks/>
            <a:stCxn id="26" idx="4"/>
          </p:cNvCxnSpPr>
          <p:nvPr/>
        </p:nvCxnSpPr>
        <p:spPr>
          <a:xfrm>
            <a:off x="6988117" y="3830801"/>
            <a:ext cx="0" cy="182159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0E7B1538-D186-836E-C978-5ACBB424DDE5}"/>
              </a:ext>
            </a:extLst>
          </p:cNvPr>
          <p:cNvSpPr txBox="1"/>
          <p:nvPr/>
        </p:nvSpPr>
        <p:spPr>
          <a:xfrm>
            <a:off x="6760591" y="4012960"/>
            <a:ext cx="3459172" cy="1200329"/>
          </a:xfrm>
          <a:prstGeom prst="rect">
            <a:avLst/>
          </a:prstGeom>
          <a:noFill/>
        </p:spPr>
        <p:txBody>
          <a:bodyPr wrap="square" lIns="45720" tIns="45720" rIns="4572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1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3L treatment: </a:t>
            </a: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BR + anti-PDL1 </a:t>
            </a: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(Durvalumab, Fusion NHL 001, NCT02733042)</a:t>
            </a:r>
            <a:br>
              <a:rPr kumimoji="0" lang="en-GB" sz="1800" b="0" i="1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GB" sz="1800" b="0" i="1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Outcome: </a:t>
            </a: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F15922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D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7C2CF6A1-0DD4-6283-30B8-751EE31358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01CC8E-1CEF-6746-999E-CF29FF00B1D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82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0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8AB59B1-5DF0-A08E-0CEE-C401F9B62841}"/>
              </a:ext>
            </a:extLst>
          </p:cNvPr>
          <p:cNvSpPr txBox="1"/>
          <p:nvPr/>
        </p:nvSpPr>
        <p:spPr>
          <a:xfrm>
            <a:off x="755712" y="4012960"/>
            <a:ext cx="2899373" cy="1077218"/>
          </a:xfrm>
          <a:prstGeom prst="rect">
            <a:avLst/>
          </a:prstGeom>
          <a:noFill/>
        </p:spPr>
        <p:txBody>
          <a:bodyPr wrap="square" lIns="45720" tIns="45720" rIns="45720" bIns="45720" rtlCol="0">
            <a:spAutoFit/>
          </a:bodyPr>
          <a:lstStyle>
            <a:defPPr>
              <a:defRPr lang="sv-SE"/>
            </a:defPPr>
            <a:lvl1pPr>
              <a:defRPr sz="1600" i="1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1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L treatment: </a:t>
            </a: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-CHOP + R maintenanc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1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Outcome: </a:t>
            </a: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R </a:t>
            </a: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with </a:t>
            </a: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elapse after 18 months </a:t>
            </a: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(POD24)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6FEF046E-0D0A-BA8C-B238-84EA912B874E}"/>
              </a:ext>
            </a:extLst>
          </p:cNvPr>
          <p:cNvSpPr/>
          <p:nvPr/>
        </p:nvSpPr>
        <p:spPr>
          <a:xfrm>
            <a:off x="1423738" y="2751699"/>
            <a:ext cx="593138" cy="104135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" name="Free-form: Shape 9">
            <a:extLst>
              <a:ext uri="{FF2B5EF4-FFF2-40B4-BE49-F238E27FC236}">
                <a16:creationId xmlns:a16="http://schemas.microsoft.com/office/drawing/2014/main" id="{3203AB76-D5D8-4AFE-6820-718EE2A41B3B}"/>
              </a:ext>
            </a:extLst>
          </p:cNvPr>
          <p:cNvSpPr/>
          <p:nvPr/>
        </p:nvSpPr>
        <p:spPr>
          <a:xfrm>
            <a:off x="1522404" y="2071048"/>
            <a:ext cx="433137" cy="770022"/>
          </a:xfrm>
          <a:custGeom>
            <a:avLst/>
            <a:gdLst>
              <a:gd name="csX0" fmla="*/ 581793 w 697572"/>
              <a:gd name="csY0" fmla="*/ 1234401 h 1240128"/>
              <a:gd name="csX1" fmla="*/ 577427 w 697572"/>
              <a:gd name="csY1" fmla="*/ 1234156 h 1240128"/>
              <a:gd name="csX2" fmla="*/ 559133 w 697572"/>
              <a:gd name="csY2" fmla="*/ 1230909 h 1240128"/>
              <a:gd name="csX3" fmla="*/ 516706 w 697572"/>
              <a:gd name="csY3" fmla="*/ 1235117 h 1240128"/>
              <a:gd name="csX4" fmla="*/ 475244 w 697572"/>
              <a:gd name="csY4" fmla="*/ 1237506 h 1240128"/>
              <a:gd name="csX5" fmla="*/ 371154 w 697572"/>
              <a:gd name="csY5" fmla="*/ 1239428 h 1240128"/>
              <a:gd name="csX6" fmla="*/ 276813 w 697572"/>
              <a:gd name="csY6" fmla="*/ 1237654 h 1240128"/>
              <a:gd name="csX7" fmla="*/ 268212 w 697572"/>
              <a:gd name="csY7" fmla="*/ 1237635 h 1240128"/>
              <a:gd name="csX8" fmla="*/ 262072 w 697572"/>
              <a:gd name="csY8" fmla="*/ 1237523 h 1240128"/>
              <a:gd name="csX9" fmla="*/ 195111 w 697572"/>
              <a:gd name="csY9" fmla="*/ 1232775 h 1240128"/>
              <a:gd name="csX10" fmla="*/ 145060 w 697572"/>
              <a:gd name="csY10" fmla="*/ 1230076 h 1240128"/>
              <a:gd name="csX11" fmla="*/ 114933 w 697572"/>
              <a:gd name="csY11" fmla="*/ 1225832 h 1240128"/>
              <a:gd name="csX12" fmla="*/ 72642 w 697572"/>
              <a:gd name="csY12" fmla="*/ 1220237 h 1240128"/>
              <a:gd name="csX13" fmla="*/ 10894 w 697572"/>
              <a:gd name="csY13" fmla="*/ 1205737 h 1240128"/>
              <a:gd name="csX14" fmla="*/ 5856 w 697572"/>
              <a:gd name="csY14" fmla="*/ 1202799 h 1240128"/>
              <a:gd name="csX15" fmla="*/ 40 w 697572"/>
              <a:gd name="csY15" fmla="*/ 1174450 h 1240128"/>
              <a:gd name="csX16" fmla="*/ 19831 w 697572"/>
              <a:gd name="csY16" fmla="*/ 1118410 h 1240128"/>
              <a:gd name="csX17" fmla="*/ 22004 w 697572"/>
              <a:gd name="csY17" fmla="*/ 1107240 h 1240128"/>
              <a:gd name="csX18" fmla="*/ 25947 w 697572"/>
              <a:gd name="csY18" fmla="*/ 1038650 h 1240128"/>
              <a:gd name="csX19" fmla="*/ 58234 w 697572"/>
              <a:gd name="csY19" fmla="*/ 988567 h 1240128"/>
              <a:gd name="csX20" fmla="*/ 118645 w 697572"/>
              <a:gd name="csY20" fmla="*/ 928298 h 1240128"/>
              <a:gd name="csX21" fmla="*/ 126320 w 697572"/>
              <a:gd name="csY21" fmla="*/ 892015 h 1240128"/>
              <a:gd name="csX22" fmla="*/ 120345 w 697572"/>
              <a:gd name="csY22" fmla="*/ 872258 h 1240128"/>
              <a:gd name="csX23" fmla="*/ 125668 w 697572"/>
              <a:gd name="csY23" fmla="*/ 861640 h 1240128"/>
              <a:gd name="csX24" fmla="*/ 154237 w 697572"/>
              <a:gd name="csY24" fmla="*/ 850716 h 1240128"/>
              <a:gd name="csX25" fmla="*/ 170248 w 697572"/>
              <a:gd name="csY25" fmla="*/ 836767 h 1240128"/>
              <a:gd name="csX26" fmla="*/ 187840 w 697572"/>
              <a:gd name="csY26" fmla="*/ 796341 h 1240128"/>
              <a:gd name="csX27" fmla="*/ 209346 w 697572"/>
              <a:gd name="csY27" fmla="*/ 743126 h 1240128"/>
              <a:gd name="csX28" fmla="*/ 210630 w 697572"/>
              <a:gd name="csY28" fmla="*/ 737219 h 1240128"/>
              <a:gd name="csX29" fmla="*/ 213836 w 697572"/>
              <a:gd name="csY29" fmla="*/ 720505 h 1240128"/>
              <a:gd name="csX30" fmla="*/ 227791 w 697572"/>
              <a:gd name="csY30" fmla="*/ 667353 h 1240128"/>
              <a:gd name="csX31" fmla="*/ 241013 w 697572"/>
              <a:gd name="csY31" fmla="*/ 599151 h 1240128"/>
              <a:gd name="csX32" fmla="*/ 247322 w 697572"/>
              <a:gd name="csY32" fmla="*/ 542242 h 1240128"/>
              <a:gd name="csX33" fmla="*/ 247948 w 697572"/>
              <a:gd name="csY33" fmla="*/ 499296 h 1240128"/>
              <a:gd name="csX34" fmla="*/ 247577 w 697572"/>
              <a:gd name="csY34" fmla="*/ 470384 h 1240128"/>
              <a:gd name="csX35" fmla="*/ 238877 w 697572"/>
              <a:gd name="csY35" fmla="*/ 460987 h 1240128"/>
              <a:gd name="csX36" fmla="*/ 222040 w 697572"/>
              <a:gd name="csY36" fmla="*/ 458353 h 1240128"/>
              <a:gd name="csX37" fmla="*/ 172193 w 697572"/>
              <a:gd name="csY37" fmla="*/ 433714 h 1240128"/>
              <a:gd name="csX38" fmla="*/ 168410 w 697572"/>
              <a:gd name="csY38" fmla="*/ 396591 h 1240128"/>
              <a:gd name="csX39" fmla="*/ 209826 w 697572"/>
              <a:gd name="csY39" fmla="*/ 367773 h 1240128"/>
              <a:gd name="csX40" fmla="*/ 250732 w 697572"/>
              <a:gd name="csY40" fmla="*/ 355208 h 1240128"/>
              <a:gd name="csX41" fmla="*/ 258289 w 697572"/>
              <a:gd name="csY41" fmla="*/ 350426 h 1240128"/>
              <a:gd name="csX42" fmla="*/ 233274 w 697572"/>
              <a:gd name="csY42" fmla="*/ 333513 h 1240128"/>
              <a:gd name="csX43" fmla="*/ 229677 w 697572"/>
              <a:gd name="csY43" fmla="*/ 333922 h 1240128"/>
              <a:gd name="csX44" fmla="*/ 230149 w 697572"/>
              <a:gd name="csY44" fmla="*/ 332979 h 1240128"/>
              <a:gd name="csX45" fmla="*/ 227053 w 697572"/>
              <a:gd name="csY45" fmla="*/ 327076 h 1240128"/>
              <a:gd name="csX46" fmla="*/ 196769 w 697572"/>
              <a:gd name="csY46" fmla="*/ 291380 h 1240128"/>
              <a:gd name="csX47" fmla="*/ 184389 w 697572"/>
              <a:gd name="csY47" fmla="*/ 264042 h 1240128"/>
              <a:gd name="csX48" fmla="*/ 180630 w 697572"/>
              <a:gd name="csY48" fmla="*/ 257839 h 1240128"/>
              <a:gd name="csX49" fmla="*/ 176231 w 697572"/>
              <a:gd name="csY49" fmla="*/ 250643 h 1240128"/>
              <a:gd name="csX50" fmla="*/ 170073 w 697572"/>
              <a:gd name="csY50" fmla="*/ 146723 h 1240128"/>
              <a:gd name="csX51" fmla="*/ 180929 w 697572"/>
              <a:gd name="csY51" fmla="*/ 114280 h 1240128"/>
              <a:gd name="csX52" fmla="*/ 180839 w 697572"/>
              <a:gd name="csY52" fmla="*/ 101501 h 1240128"/>
              <a:gd name="csX53" fmla="*/ 233536 w 697572"/>
              <a:gd name="csY53" fmla="*/ 39653 h 1240128"/>
              <a:gd name="csX54" fmla="*/ 347618 w 697572"/>
              <a:gd name="csY54" fmla="*/ 35 h 1240128"/>
              <a:gd name="csX55" fmla="*/ 437139 w 697572"/>
              <a:gd name="csY55" fmla="*/ 22396 h 1240128"/>
              <a:gd name="csX56" fmla="*/ 529052 w 697572"/>
              <a:gd name="csY56" fmla="*/ 131093 h 1240128"/>
              <a:gd name="csX57" fmla="*/ 518497 w 697572"/>
              <a:gd name="csY57" fmla="*/ 271517 h 1240128"/>
              <a:gd name="csX58" fmla="*/ 500808 w 697572"/>
              <a:gd name="csY58" fmla="*/ 287385 h 1240128"/>
              <a:gd name="csX59" fmla="*/ 472948 w 697572"/>
              <a:gd name="csY59" fmla="*/ 323290 h 1240128"/>
              <a:gd name="csX60" fmla="*/ 469385 w 697572"/>
              <a:gd name="csY60" fmla="*/ 331565 h 1240128"/>
              <a:gd name="csX61" fmla="*/ 468293 w 697572"/>
              <a:gd name="csY61" fmla="*/ 331320 h 1240128"/>
              <a:gd name="csX62" fmla="*/ 459542 w 697572"/>
              <a:gd name="csY62" fmla="*/ 338942 h 1240128"/>
              <a:gd name="csX63" fmla="*/ 458492 w 697572"/>
              <a:gd name="csY63" fmla="*/ 338671 h 1240128"/>
              <a:gd name="csX64" fmla="*/ 436978 w 697572"/>
              <a:gd name="csY64" fmla="*/ 352226 h 1240128"/>
              <a:gd name="csX65" fmla="*/ 472329 w 697572"/>
              <a:gd name="csY65" fmla="*/ 362890 h 1240128"/>
              <a:gd name="csX66" fmla="*/ 523779 w 697572"/>
              <a:gd name="csY66" fmla="*/ 391962 h 1240128"/>
              <a:gd name="csX67" fmla="*/ 527344 w 697572"/>
              <a:gd name="csY67" fmla="*/ 430096 h 1240128"/>
              <a:gd name="csX68" fmla="*/ 504112 w 697572"/>
              <a:gd name="csY68" fmla="*/ 449628 h 1240128"/>
              <a:gd name="csX69" fmla="*/ 459430 w 697572"/>
              <a:gd name="csY69" fmla="*/ 461116 h 1240128"/>
              <a:gd name="csX70" fmla="*/ 446666 w 697572"/>
              <a:gd name="csY70" fmla="*/ 474229 h 1240128"/>
              <a:gd name="csX71" fmla="*/ 449133 w 697572"/>
              <a:gd name="csY71" fmla="*/ 531639 h 1240128"/>
              <a:gd name="csX72" fmla="*/ 454546 w 697572"/>
              <a:gd name="csY72" fmla="*/ 588688 h 1240128"/>
              <a:gd name="csX73" fmla="*/ 466126 w 697572"/>
              <a:gd name="csY73" fmla="*/ 649736 h 1240128"/>
              <a:gd name="csX74" fmla="*/ 512154 w 697572"/>
              <a:gd name="csY74" fmla="*/ 794006 h 1240128"/>
              <a:gd name="csX75" fmla="*/ 525763 w 697572"/>
              <a:gd name="csY75" fmla="*/ 834323 h 1240128"/>
              <a:gd name="csX76" fmla="*/ 530555 w 697572"/>
              <a:gd name="csY76" fmla="*/ 845114 h 1240128"/>
              <a:gd name="csX77" fmla="*/ 554424 w 697572"/>
              <a:gd name="csY77" fmla="*/ 856618 h 1240128"/>
              <a:gd name="csX78" fmla="*/ 572880 w 697572"/>
              <a:gd name="csY78" fmla="*/ 862546 h 1240128"/>
              <a:gd name="csX79" fmla="*/ 578643 w 697572"/>
              <a:gd name="csY79" fmla="*/ 880396 h 1240128"/>
              <a:gd name="csX80" fmla="*/ 572188 w 697572"/>
              <a:gd name="csY80" fmla="*/ 899820 h 1240128"/>
              <a:gd name="csX81" fmla="*/ 582698 w 697572"/>
              <a:gd name="csY81" fmla="*/ 930382 h 1240128"/>
              <a:gd name="csX82" fmla="*/ 604747 w 697572"/>
              <a:gd name="csY82" fmla="*/ 960852 h 1240128"/>
              <a:gd name="csX83" fmla="*/ 613863 w 697572"/>
              <a:gd name="csY83" fmla="*/ 968311 h 1240128"/>
              <a:gd name="csX84" fmla="*/ 629435 w 697572"/>
              <a:gd name="csY84" fmla="*/ 981186 h 1240128"/>
              <a:gd name="csX85" fmla="*/ 633611 w 697572"/>
              <a:gd name="csY85" fmla="*/ 985609 h 1240128"/>
              <a:gd name="csX86" fmla="*/ 673790 w 697572"/>
              <a:gd name="csY86" fmla="*/ 1049348 h 1240128"/>
              <a:gd name="csX87" fmla="*/ 675873 w 697572"/>
              <a:gd name="csY87" fmla="*/ 1092839 h 1240128"/>
              <a:gd name="csX88" fmla="*/ 681668 w 697572"/>
              <a:gd name="csY88" fmla="*/ 1129292 h 1240128"/>
              <a:gd name="csX89" fmla="*/ 697338 w 697572"/>
              <a:gd name="csY89" fmla="*/ 1196079 h 1240128"/>
              <a:gd name="csX90" fmla="*/ 690637 w 697572"/>
              <a:gd name="csY90" fmla="*/ 1205035 h 1240128"/>
              <a:gd name="csX91" fmla="*/ 639777 w 697572"/>
              <a:gd name="csY91" fmla="*/ 1217994 h 1240128"/>
              <a:gd name="csX92" fmla="*/ 587072 w 697572"/>
              <a:gd name="csY92" fmla="*/ 1227761 h 1240128"/>
              <a:gd name="csX93" fmla="*/ 581793 w 697572"/>
              <a:gd name="csY93" fmla="*/ 1234401 h 1240128"/>
              <a:gd name="csX94" fmla="*/ 357446 w 697572"/>
              <a:gd name="csY94" fmla="*/ 903795 h 1240128"/>
              <a:gd name="csX95" fmla="*/ 344445 w 697572"/>
              <a:gd name="csY95" fmla="*/ 903795 h 1240128"/>
              <a:gd name="csX96" fmla="*/ 349212 w 697572"/>
              <a:gd name="csY96" fmla="*/ 950515 h 1240128"/>
              <a:gd name="csX97" fmla="*/ 349538 w 697572"/>
              <a:gd name="csY97" fmla="*/ 1069392 h 1240128"/>
              <a:gd name="csX98" fmla="*/ 349415 w 697572"/>
              <a:gd name="csY98" fmla="*/ 1108925 h 1240128"/>
              <a:gd name="csX99" fmla="*/ 647726 w 697572"/>
              <a:gd name="csY99" fmla="*/ 1089872 h 1240128"/>
              <a:gd name="csX100" fmla="*/ 647654 w 697572"/>
              <a:gd name="csY100" fmla="*/ 1076267 h 1240128"/>
              <a:gd name="csX101" fmla="*/ 610267 w 697572"/>
              <a:gd name="csY101" fmla="*/ 994126 h 1240128"/>
              <a:gd name="csX102" fmla="*/ 571459 w 697572"/>
              <a:gd name="csY102" fmla="*/ 956568 h 1240128"/>
              <a:gd name="csX103" fmla="*/ 541653 w 697572"/>
              <a:gd name="csY103" fmla="*/ 901544 h 1240128"/>
              <a:gd name="csX104" fmla="*/ 539477 w 697572"/>
              <a:gd name="csY104" fmla="*/ 895908 h 1240128"/>
              <a:gd name="csX105" fmla="*/ 357446 w 697572"/>
              <a:gd name="csY105" fmla="*/ 903795 h 1240128"/>
              <a:gd name="csX106" fmla="*/ 300108 w 697572"/>
              <a:gd name="csY106" fmla="*/ 85260 h 1240128"/>
              <a:gd name="csX107" fmla="*/ 290213 w 697572"/>
              <a:gd name="csY107" fmla="*/ 127888 h 1240128"/>
              <a:gd name="csX108" fmla="*/ 331056 w 697572"/>
              <a:gd name="csY108" fmla="*/ 214168 h 1240128"/>
              <a:gd name="csX109" fmla="*/ 424717 w 697572"/>
              <a:gd name="csY109" fmla="*/ 245160 h 1240128"/>
              <a:gd name="csX110" fmla="*/ 496752 w 697572"/>
              <a:gd name="csY110" fmla="*/ 141256 h 1240128"/>
              <a:gd name="csX111" fmla="*/ 390320 w 697572"/>
              <a:gd name="csY111" fmla="*/ 43995 h 1240128"/>
              <a:gd name="csX112" fmla="*/ 300108 w 697572"/>
              <a:gd name="csY112" fmla="*/ 85260 h 1240128"/>
              <a:gd name="csX113" fmla="*/ 343360 w 697572"/>
              <a:gd name="csY113" fmla="*/ 634332 h 1240128"/>
              <a:gd name="csX114" fmla="*/ 340877 w 697572"/>
              <a:gd name="csY114" fmla="*/ 732259 h 1240128"/>
              <a:gd name="csX115" fmla="*/ 338360 w 697572"/>
              <a:gd name="csY115" fmla="*/ 810538 h 1240128"/>
              <a:gd name="csX116" fmla="*/ 337115 w 697572"/>
              <a:gd name="csY116" fmla="*/ 817736 h 1240128"/>
              <a:gd name="csX117" fmla="*/ 336516 w 697572"/>
              <a:gd name="csY117" fmla="*/ 863022 h 1240128"/>
              <a:gd name="csX118" fmla="*/ 343436 w 697572"/>
              <a:gd name="csY118" fmla="*/ 864027 h 1240128"/>
              <a:gd name="csX119" fmla="*/ 406718 w 697572"/>
              <a:gd name="csY119" fmla="*/ 862982 h 1240128"/>
              <a:gd name="csX120" fmla="*/ 456888 w 697572"/>
              <a:gd name="csY120" fmla="*/ 861794 h 1240128"/>
              <a:gd name="csX121" fmla="*/ 495873 w 697572"/>
              <a:gd name="csY121" fmla="*/ 863963 h 1240128"/>
              <a:gd name="csX122" fmla="*/ 509286 w 697572"/>
              <a:gd name="csY122" fmla="*/ 863595 h 1240128"/>
              <a:gd name="csX123" fmla="*/ 516956 w 697572"/>
              <a:gd name="csY123" fmla="*/ 856791 h 1240128"/>
              <a:gd name="csX124" fmla="*/ 513920 w 697572"/>
              <a:gd name="csY124" fmla="*/ 848709 h 1240128"/>
              <a:gd name="csX125" fmla="*/ 506683 w 697572"/>
              <a:gd name="csY125" fmla="*/ 839054 h 1240128"/>
              <a:gd name="csX126" fmla="*/ 488629 w 697572"/>
              <a:gd name="csY126" fmla="*/ 799037 h 1240128"/>
              <a:gd name="csX127" fmla="*/ 456922 w 697572"/>
              <a:gd name="csY127" fmla="*/ 696297 h 1240128"/>
              <a:gd name="csX128" fmla="*/ 441346 w 697572"/>
              <a:gd name="csY128" fmla="*/ 619885 h 1240128"/>
              <a:gd name="csX129" fmla="*/ 435963 w 697572"/>
              <a:gd name="csY129" fmla="*/ 582529 h 1240128"/>
              <a:gd name="csX130" fmla="*/ 429497 w 697572"/>
              <a:gd name="csY130" fmla="*/ 521990 h 1240128"/>
              <a:gd name="csX131" fmla="*/ 426887 w 697572"/>
              <a:gd name="csY131" fmla="*/ 471989 h 1240128"/>
              <a:gd name="csX132" fmla="*/ 413744 w 697572"/>
              <a:gd name="csY132" fmla="*/ 461077 h 1240128"/>
              <a:gd name="csX133" fmla="*/ 353573 w 697572"/>
              <a:gd name="csY133" fmla="*/ 461120 h 1240128"/>
              <a:gd name="csX134" fmla="*/ 344160 w 697572"/>
              <a:gd name="csY134" fmla="*/ 462286 h 1240128"/>
              <a:gd name="csX135" fmla="*/ 343404 w 697572"/>
              <a:gd name="csY135" fmla="*/ 469192 h 1240128"/>
              <a:gd name="csX136" fmla="*/ 343469 w 697572"/>
              <a:gd name="csY136" fmla="*/ 574797 h 1240128"/>
              <a:gd name="csX137" fmla="*/ 345522 w 697572"/>
              <a:gd name="csY137" fmla="*/ 591669 h 1240128"/>
              <a:gd name="csX138" fmla="*/ 343360 w 697572"/>
              <a:gd name="csY138" fmla="*/ 634332 h 1240128"/>
              <a:gd name="csX139" fmla="*/ 416946 w 697572"/>
              <a:gd name="csY139" fmla="*/ 385943 h 1240128"/>
              <a:gd name="csX140" fmla="*/ 401091 w 697572"/>
              <a:gd name="csY140" fmla="*/ 387162 h 1240128"/>
              <a:gd name="csX141" fmla="*/ 369218 w 697572"/>
              <a:gd name="csY141" fmla="*/ 387708 h 1240128"/>
              <a:gd name="csX142" fmla="*/ 351833 w 697572"/>
              <a:gd name="csY142" fmla="*/ 398991 h 1240128"/>
              <a:gd name="csX143" fmla="*/ 349778 w 697572"/>
              <a:gd name="csY143" fmla="*/ 426021 h 1240128"/>
              <a:gd name="csX144" fmla="*/ 361839 w 697572"/>
              <a:gd name="csY144" fmla="*/ 426538 h 1240128"/>
              <a:gd name="csX145" fmla="*/ 455022 w 697572"/>
              <a:gd name="csY145" fmla="*/ 426922 h 1240128"/>
              <a:gd name="csX146" fmla="*/ 481958 w 697572"/>
              <a:gd name="csY146" fmla="*/ 426527 h 1240128"/>
              <a:gd name="csX147" fmla="*/ 499817 w 697572"/>
              <a:gd name="csY147" fmla="*/ 419888 h 1240128"/>
              <a:gd name="csX148" fmla="*/ 499439 w 697572"/>
              <a:gd name="csY148" fmla="*/ 400719 h 1240128"/>
              <a:gd name="csX149" fmla="*/ 468062 w 697572"/>
              <a:gd name="csY149" fmla="*/ 387775 h 1240128"/>
              <a:gd name="csX150" fmla="*/ 416946 w 697572"/>
              <a:gd name="csY150" fmla="*/ 385943 h 1240128"/>
              <a:gd name="csX151" fmla="*/ 636802 w 697572"/>
              <a:gd name="csY151" fmla="*/ 1190940 h 1240128"/>
              <a:gd name="csX152" fmla="*/ 666492 w 697572"/>
              <a:gd name="csY152" fmla="*/ 1184186 h 1240128"/>
              <a:gd name="csX153" fmla="*/ 674465 w 697572"/>
              <a:gd name="csY153" fmla="*/ 1170880 h 1240128"/>
              <a:gd name="csX154" fmla="*/ 662462 w 697572"/>
              <a:gd name="csY154" fmla="*/ 1141464 h 1240128"/>
              <a:gd name="csX155" fmla="*/ 645564 w 697572"/>
              <a:gd name="csY155" fmla="*/ 1131937 h 1240128"/>
              <a:gd name="csX156" fmla="*/ 627387 w 697572"/>
              <a:gd name="csY156" fmla="*/ 1133618 h 1240128"/>
              <a:gd name="csX157" fmla="*/ 583917 w 697572"/>
              <a:gd name="csY157" fmla="*/ 1139222 h 1240128"/>
              <a:gd name="csX158" fmla="*/ 543741 w 697572"/>
              <a:gd name="csY158" fmla="*/ 1141869 h 1240128"/>
              <a:gd name="csX159" fmla="*/ 512146 w 697572"/>
              <a:gd name="csY159" fmla="*/ 1144418 h 1240128"/>
              <a:gd name="csX160" fmla="*/ 447711 w 697572"/>
              <a:gd name="csY160" fmla="*/ 1148973 h 1240128"/>
              <a:gd name="csX161" fmla="*/ 351979 w 697572"/>
              <a:gd name="csY161" fmla="*/ 1149200 h 1240128"/>
              <a:gd name="csX162" fmla="*/ 338443 w 697572"/>
              <a:gd name="csY162" fmla="*/ 1150040 h 1240128"/>
              <a:gd name="csX163" fmla="*/ 338451 w 697572"/>
              <a:gd name="csY163" fmla="*/ 1190780 h 1240128"/>
              <a:gd name="csX164" fmla="*/ 351082 w 697572"/>
              <a:gd name="csY164" fmla="*/ 1207015 h 1240128"/>
              <a:gd name="csX165" fmla="*/ 358298 w 697572"/>
              <a:gd name="csY165" fmla="*/ 1208094 h 1240128"/>
              <a:gd name="csX166" fmla="*/ 521229 w 697572"/>
              <a:gd name="csY166" fmla="*/ 1205646 h 1240128"/>
              <a:gd name="csX167" fmla="*/ 523675 w 697572"/>
              <a:gd name="csY167" fmla="*/ 1205490 h 1240128"/>
              <a:gd name="csX168" fmla="*/ 580423 w 697572"/>
              <a:gd name="csY168" fmla="*/ 1198350 h 1240128"/>
              <a:gd name="csX169" fmla="*/ 636802 w 697572"/>
              <a:gd name="csY169" fmla="*/ 1190940 h 124012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</a:cxnLst>
            <a:rect l="l" t="t" r="r" b="b"/>
            <a:pathLst>
              <a:path w="697572" h="1240128">
                <a:moveTo>
                  <a:pt x="581793" y="1234401"/>
                </a:moveTo>
                <a:cubicBezTo>
                  <a:pt x="580693" y="1234661"/>
                  <a:pt x="579594" y="1234922"/>
                  <a:pt x="577427" y="1234156"/>
                </a:cubicBezTo>
                <a:cubicBezTo>
                  <a:pt x="571216" y="1227899"/>
                  <a:pt x="564912" y="1230441"/>
                  <a:pt x="559133" y="1230909"/>
                </a:cubicBezTo>
                <a:cubicBezTo>
                  <a:pt x="544971" y="1232056"/>
                  <a:pt x="530869" y="1233971"/>
                  <a:pt x="516706" y="1235117"/>
                </a:cubicBezTo>
                <a:cubicBezTo>
                  <a:pt x="502910" y="1236232"/>
                  <a:pt x="489077" y="1237097"/>
                  <a:pt x="475244" y="1237506"/>
                </a:cubicBezTo>
                <a:cubicBezTo>
                  <a:pt x="440539" y="1238535"/>
                  <a:pt x="405696" y="1241458"/>
                  <a:pt x="371154" y="1239428"/>
                </a:cubicBezTo>
                <a:cubicBezTo>
                  <a:pt x="339645" y="1237575"/>
                  <a:pt x="308239" y="1238753"/>
                  <a:pt x="276813" y="1237654"/>
                </a:cubicBezTo>
                <a:cubicBezTo>
                  <a:pt x="273949" y="1237553"/>
                  <a:pt x="271079" y="1237652"/>
                  <a:pt x="268212" y="1237635"/>
                </a:cubicBezTo>
                <a:cubicBezTo>
                  <a:pt x="266165" y="1237623"/>
                  <a:pt x="264111" y="1237668"/>
                  <a:pt x="262072" y="1237523"/>
                </a:cubicBezTo>
                <a:cubicBezTo>
                  <a:pt x="239751" y="1235944"/>
                  <a:pt x="217441" y="1234201"/>
                  <a:pt x="195111" y="1232775"/>
                </a:cubicBezTo>
                <a:cubicBezTo>
                  <a:pt x="178437" y="1231710"/>
                  <a:pt x="161712" y="1231378"/>
                  <a:pt x="145060" y="1230076"/>
                </a:cubicBezTo>
                <a:cubicBezTo>
                  <a:pt x="134969" y="1229287"/>
                  <a:pt x="124987" y="1227177"/>
                  <a:pt x="114933" y="1225832"/>
                </a:cubicBezTo>
                <a:cubicBezTo>
                  <a:pt x="100834" y="1223946"/>
                  <a:pt x="86554" y="1223022"/>
                  <a:pt x="72642" y="1220237"/>
                </a:cubicBezTo>
                <a:cubicBezTo>
                  <a:pt x="51920" y="1216091"/>
                  <a:pt x="31443" y="1210723"/>
                  <a:pt x="10894" y="1205737"/>
                </a:cubicBezTo>
                <a:cubicBezTo>
                  <a:pt x="9027" y="1205284"/>
                  <a:pt x="6196" y="1204140"/>
                  <a:pt x="5856" y="1202799"/>
                </a:cubicBezTo>
                <a:cubicBezTo>
                  <a:pt x="3474" y="1193418"/>
                  <a:pt x="-438" y="1183796"/>
                  <a:pt x="40" y="1174450"/>
                </a:cubicBezTo>
                <a:cubicBezTo>
                  <a:pt x="1079" y="1154149"/>
                  <a:pt x="9757" y="1135843"/>
                  <a:pt x="19831" y="1118410"/>
                </a:cubicBezTo>
                <a:cubicBezTo>
                  <a:pt x="21968" y="1114713"/>
                  <a:pt x="22970" y="1111858"/>
                  <a:pt x="22004" y="1107240"/>
                </a:cubicBezTo>
                <a:cubicBezTo>
                  <a:pt x="17168" y="1084118"/>
                  <a:pt x="17717" y="1061168"/>
                  <a:pt x="25947" y="1038650"/>
                </a:cubicBezTo>
                <a:cubicBezTo>
                  <a:pt x="32954" y="1019481"/>
                  <a:pt x="44478" y="1003118"/>
                  <a:pt x="58234" y="988567"/>
                </a:cubicBezTo>
                <a:cubicBezTo>
                  <a:pt x="77769" y="967902"/>
                  <a:pt x="97978" y="947832"/>
                  <a:pt x="118645" y="928298"/>
                </a:cubicBezTo>
                <a:cubicBezTo>
                  <a:pt x="130104" y="917467"/>
                  <a:pt x="131835" y="905961"/>
                  <a:pt x="126320" y="892015"/>
                </a:cubicBezTo>
                <a:cubicBezTo>
                  <a:pt x="123798" y="885637"/>
                  <a:pt x="122123" y="878904"/>
                  <a:pt x="120345" y="872258"/>
                </a:cubicBezTo>
                <a:cubicBezTo>
                  <a:pt x="119029" y="867341"/>
                  <a:pt x="120162" y="863613"/>
                  <a:pt x="125668" y="861640"/>
                </a:cubicBezTo>
                <a:cubicBezTo>
                  <a:pt x="135266" y="858201"/>
                  <a:pt x="144535" y="853788"/>
                  <a:pt x="154237" y="850716"/>
                </a:cubicBezTo>
                <a:cubicBezTo>
                  <a:pt x="161882" y="848296"/>
                  <a:pt x="167110" y="843897"/>
                  <a:pt x="170248" y="836767"/>
                </a:cubicBezTo>
                <a:cubicBezTo>
                  <a:pt x="176168" y="823316"/>
                  <a:pt x="182193" y="809907"/>
                  <a:pt x="187840" y="796341"/>
                </a:cubicBezTo>
                <a:cubicBezTo>
                  <a:pt x="195194" y="778679"/>
                  <a:pt x="202250" y="760894"/>
                  <a:pt x="209346" y="743126"/>
                </a:cubicBezTo>
                <a:cubicBezTo>
                  <a:pt x="210083" y="741280"/>
                  <a:pt x="210252" y="739200"/>
                  <a:pt x="210630" y="737219"/>
                </a:cubicBezTo>
                <a:cubicBezTo>
                  <a:pt x="211694" y="731645"/>
                  <a:pt x="212425" y="725987"/>
                  <a:pt x="213836" y="720505"/>
                </a:cubicBezTo>
                <a:cubicBezTo>
                  <a:pt x="218406" y="702764"/>
                  <a:pt x="223811" y="685219"/>
                  <a:pt x="227791" y="667353"/>
                </a:cubicBezTo>
                <a:cubicBezTo>
                  <a:pt x="232826" y="644755"/>
                  <a:pt x="237367" y="622009"/>
                  <a:pt x="241013" y="599151"/>
                </a:cubicBezTo>
                <a:cubicBezTo>
                  <a:pt x="244018" y="580319"/>
                  <a:pt x="246001" y="561272"/>
                  <a:pt x="247322" y="542242"/>
                </a:cubicBezTo>
                <a:cubicBezTo>
                  <a:pt x="248312" y="527975"/>
                  <a:pt x="246344" y="513451"/>
                  <a:pt x="247948" y="499296"/>
                </a:cubicBezTo>
                <a:cubicBezTo>
                  <a:pt x="249066" y="489432"/>
                  <a:pt x="247923" y="480014"/>
                  <a:pt x="247577" y="470384"/>
                </a:cubicBezTo>
                <a:cubicBezTo>
                  <a:pt x="247364" y="464453"/>
                  <a:pt x="245121" y="461397"/>
                  <a:pt x="238877" y="460987"/>
                </a:cubicBezTo>
                <a:cubicBezTo>
                  <a:pt x="233224" y="460615"/>
                  <a:pt x="227461" y="459920"/>
                  <a:pt x="222040" y="458353"/>
                </a:cubicBezTo>
                <a:cubicBezTo>
                  <a:pt x="203991" y="453134"/>
                  <a:pt x="185737" y="448229"/>
                  <a:pt x="172193" y="433714"/>
                </a:cubicBezTo>
                <a:cubicBezTo>
                  <a:pt x="162702" y="423544"/>
                  <a:pt x="160887" y="408134"/>
                  <a:pt x="168410" y="396591"/>
                </a:cubicBezTo>
                <a:cubicBezTo>
                  <a:pt x="178294" y="381428"/>
                  <a:pt x="193736" y="373793"/>
                  <a:pt x="209826" y="367773"/>
                </a:cubicBezTo>
                <a:cubicBezTo>
                  <a:pt x="223159" y="362784"/>
                  <a:pt x="237124" y="359493"/>
                  <a:pt x="250732" y="355208"/>
                </a:cubicBezTo>
                <a:cubicBezTo>
                  <a:pt x="253085" y="354467"/>
                  <a:pt x="255058" y="352518"/>
                  <a:pt x="258289" y="350426"/>
                </a:cubicBezTo>
                <a:cubicBezTo>
                  <a:pt x="250173" y="342610"/>
                  <a:pt x="241833" y="337880"/>
                  <a:pt x="233274" y="333513"/>
                </a:cubicBezTo>
                <a:cubicBezTo>
                  <a:pt x="232377" y="333055"/>
                  <a:pt x="230890" y="333758"/>
                  <a:pt x="229677" y="333922"/>
                </a:cubicBezTo>
                <a:cubicBezTo>
                  <a:pt x="229677" y="333922"/>
                  <a:pt x="230323" y="333834"/>
                  <a:pt x="230149" y="332979"/>
                </a:cubicBezTo>
                <a:cubicBezTo>
                  <a:pt x="229023" y="330409"/>
                  <a:pt x="228502" y="328059"/>
                  <a:pt x="227053" y="327076"/>
                </a:cubicBezTo>
                <a:cubicBezTo>
                  <a:pt x="213615" y="317962"/>
                  <a:pt x="204643" y="305332"/>
                  <a:pt x="196769" y="291380"/>
                </a:cubicBezTo>
                <a:cubicBezTo>
                  <a:pt x="191792" y="282564"/>
                  <a:pt x="185421" y="274665"/>
                  <a:pt x="184389" y="264042"/>
                </a:cubicBezTo>
                <a:cubicBezTo>
                  <a:pt x="184179" y="261874"/>
                  <a:pt x="181925" y="259908"/>
                  <a:pt x="180630" y="257839"/>
                </a:cubicBezTo>
                <a:cubicBezTo>
                  <a:pt x="179137" y="255454"/>
                  <a:pt x="177317" y="253204"/>
                  <a:pt x="176231" y="250643"/>
                </a:cubicBezTo>
                <a:cubicBezTo>
                  <a:pt x="161865" y="216749"/>
                  <a:pt x="159606" y="182060"/>
                  <a:pt x="170073" y="146723"/>
                </a:cubicBezTo>
                <a:cubicBezTo>
                  <a:pt x="173311" y="135795"/>
                  <a:pt x="177248" y="125074"/>
                  <a:pt x="180929" y="114280"/>
                </a:cubicBezTo>
                <a:cubicBezTo>
                  <a:pt x="182396" y="109981"/>
                  <a:pt x="183922" y="105742"/>
                  <a:pt x="180839" y="101501"/>
                </a:cubicBezTo>
                <a:cubicBezTo>
                  <a:pt x="192473" y="75833"/>
                  <a:pt x="211344" y="56271"/>
                  <a:pt x="233536" y="39653"/>
                </a:cubicBezTo>
                <a:cubicBezTo>
                  <a:pt x="267321" y="14353"/>
                  <a:pt x="305621" y="873"/>
                  <a:pt x="347618" y="35"/>
                </a:cubicBezTo>
                <a:cubicBezTo>
                  <a:pt x="379125" y="-593"/>
                  <a:pt x="409214" y="7172"/>
                  <a:pt x="437139" y="22396"/>
                </a:cubicBezTo>
                <a:cubicBezTo>
                  <a:pt x="481844" y="46766"/>
                  <a:pt x="514077" y="82116"/>
                  <a:pt x="529052" y="131093"/>
                </a:cubicBezTo>
                <a:cubicBezTo>
                  <a:pt x="543544" y="178495"/>
                  <a:pt x="541630" y="225548"/>
                  <a:pt x="518497" y="271517"/>
                </a:cubicBezTo>
                <a:cubicBezTo>
                  <a:pt x="511428" y="277096"/>
                  <a:pt x="503848" y="281136"/>
                  <a:pt x="500808" y="287385"/>
                </a:cubicBezTo>
                <a:cubicBezTo>
                  <a:pt x="493932" y="301522"/>
                  <a:pt x="483805" y="312513"/>
                  <a:pt x="472948" y="323290"/>
                </a:cubicBezTo>
                <a:cubicBezTo>
                  <a:pt x="470972" y="325253"/>
                  <a:pt x="470533" y="328767"/>
                  <a:pt x="469385" y="331565"/>
                </a:cubicBezTo>
                <a:cubicBezTo>
                  <a:pt x="469385" y="331565"/>
                  <a:pt x="469172" y="331584"/>
                  <a:pt x="468293" y="331320"/>
                </a:cubicBezTo>
                <a:cubicBezTo>
                  <a:pt x="461937" y="330836"/>
                  <a:pt x="458618" y="332772"/>
                  <a:pt x="459542" y="338942"/>
                </a:cubicBezTo>
                <a:cubicBezTo>
                  <a:pt x="459542" y="338942"/>
                  <a:pt x="459473" y="338913"/>
                  <a:pt x="458492" y="338671"/>
                </a:cubicBezTo>
                <a:cubicBezTo>
                  <a:pt x="450936" y="342653"/>
                  <a:pt x="440712" y="341355"/>
                  <a:pt x="436978" y="352226"/>
                </a:cubicBezTo>
                <a:cubicBezTo>
                  <a:pt x="449178" y="355911"/>
                  <a:pt x="460733" y="359469"/>
                  <a:pt x="472329" y="362890"/>
                </a:cubicBezTo>
                <a:cubicBezTo>
                  <a:pt x="491728" y="368613"/>
                  <a:pt x="510182" y="375784"/>
                  <a:pt x="523779" y="391962"/>
                </a:cubicBezTo>
                <a:cubicBezTo>
                  <a:pt x="535849" y="406326"/>
                  <a:pt x="534845" y="420076"/>
                  <a:pt x="527344" y="430096"/>
                </a:cubicBezTo>
                <a:cubicBezTo>
                  <a:pt x="521323" y="438139"/>
                  <a:pt x="513928" y="445333"/>
                  <a:pt x="504112" y="449628"/>
                </a:cubicBezTo>
                <a:cubicBezTo>
                  <a:pt x="489776" y="455901"/>
                  <a:pt x="475173" y="460486"/>
                  <a:pt x="459430" y="461116"/>
                </a:cubicBezTo>
                <a:cubicBezTo>
                  <a:pt x="448415" y="461557"/>
                  <a:pt x="446384" y="463369"/>
                  <a:pt x="446666" y="474229"/>
                </a:cubicBezTo>
                <a:cubicBezTo>
                  <a:pt x="447164" y="493376"/>
                  <a:pt x="447839" y="512533"/>
                  <a:pt x="449133" y="531639"/>
                </a:cubicBezTo>
                <a:cubicBezTo>
                  <a:pt x="450424" y="550696"/>
                  <a:pt x="451783" y="569809"/>
                  <a:pt x="454546" y="588688"/>
                </a:cubicBezTo>
                <a:cubicBezTo>
                  <a:pt x="457543" y="609164"/>
                  <a:pt x="462165" y="629403"/>
                  <a:pt x="466126" y="649736"/>
                </a:cubicBezTo>
                <a:cubicBezTo>
                  <a:pt x="475845" y="699621"/>
                  <a:pt x="493414" y="746980"/>
                  <a:pt x="512154" y="794006"/>
                </a:cubicBezTo>
                <a:cubicBezTo>
                  <a:pt x="517387" y="807138"/>
                  <a:pt x="525145" y="819463"/>
                  <a:pt x="525763" y="834323"/>
                </a:cubicBezTo>
                <a:cubicBezTo>
                  <a:pt x="525919" y="838081"/>
                  <a:pt x="527739" y="843335"/>
                  <a:pt x="530555" y="845114"/>
                </a:cubicBezTo>
                <a:cubicBezTo>
                  <a:pt x="537981" y="849801"/>
                  <a:pt x="546243" y="853278"/>
                  <a:pt x="554424" y="856618"/>
                </a:cubicBezTo>
                <a:cubicBezTo>
                  <a:pt x="560391" y="859054"/>
                  <a:pt x="567041" y="859887"/>
                  <a:pt x="572880" y="862546"/>
                </a:cubicBezTo>
                <a:cubicBezTo>
                  <a:pt x="581470" y="866458"/>
                  <a:pt x="582467" y="871415"/>
                  <a:pt x="578643" y="880396"/>
                </a:cubicBezTo>
                <a:cubicBezTo>
                  <a:pt x="575969" y="886677"/>
                  <a:pt x="572900" y="893182"/>
                  <a:pt x="572188" y="899820"/>
                </a:cubicBezTo>
                <a:cubicBezTo>
                  <a:pt x="570960" y="911271"/>
                  <a:pt x="576506" y="920944"/>
                  <a:pt x="582698" y="930382"/>
                </a:cubicBezTo>
                <a:cubicBezTo>
                  <a:pt x="589569" y="940856"/>
                  <a:pt x="600933" y="947930"/>
                  <a:pt x="604747" y="960852"/>
                </a:cubicBezTo>
                <a:cubicBezTo>
                  <a:pt x="605684" y="964030"/>
                  <a:pt x="610294" y="967128"/>
                  <a:pt x="613863" y="968311"/>
                </a:cubicBezTo>
                <a:cubicBezTo>
                  <a:pt x="620963" y="970665"/>
                  <a:pt x="625924" y="974774"/>
                  <a:pt x="629435" y="981186"/>
                </a:cubicBezTo>
                <a:cubicBezTo>
                  <a:pt x="630381" y="982913"/>
                  <a:pt x="631977" y="984459"/>
                  <a:pt x="633611" y="985609"/>
                </a:cubicBezTo>
                <a:cubicBezTo>
                  <a:pt x="655878" y="1001272"/>
                  <a:pt x="668032" y="1023762"/>
                  <a:pt x="673790" y="1049348"/>
                </a:cubicBezTo>
                <a:cubicBezTo>
                  <a:pt x="676936" y="1063327"/>
                  <a:pt x="679769" y="1077802"/>
                  <a:pt x="675873" y="1092839"/>
                </a:cubicBezTo>
                <a:cubicBezTo>
                  <a:pt x="672677" y="1105174"/>
                  <a:pt x="673042" y="1116963"/>
                  <a:pt x="681668" y="1129292"/>
                </a:cubicBezTo>
                <a:cubicBezTo>
                  <a:pt x="695321" y="1148802"/>
                  <a:pt x="698550" y="1172235"/>
                  <a:pt x="697338" y="1196079"/>
                </a:cubicBezTo>
                <a:cubicBezTo>
                  <a:pt x="697087" y="1201014"/>
                  <a:pt x="694979" y="1203886"/>
                  <a:pt x="690637" y="1205035"/>
                </a:cubicBezTo>
                <a:cubicBezTo>
                  <a:pt x="673723" y="1209511"/>
                  <a:pt x="656856" y="1214241"/>
                  <a:pt x="639777" y="1217994"/>
                </a:cubicBezTo>
                <a:cubicBezTo>
                  <a:pt x="622334" y="1221827"/>
                  <a:pt x="604691" y="1224790"/>
                  <a:pt x="587072" y="1227761"/>
                </a:cubicBezTo>
                <a:cubicBezTo>
                  <a:pt x="582708" y="1228497"/>
                  <a:pt x="581724" y="1230736"/>
                  <a:pt x="581793" y="1234401"/>
                </a:cubicBezTo>
                <a:moveTo>
                  <a:pt x="357446" y="903795"/>
                </a:moveTo>
                <a:cubicBezTo>
                  <a:pt x="353141" y="903795"/>
                  <a:pt x="348835" y="903795"/>
                  <a:pt x="344445" y="903795"/>
                </a:cubicBezTo>
                <a:cubicBezTo>
                  <a:pt x="346169" y="920562"/>
                  <a:pt x="347908" y="935520"/>
                  <a:pt x="349212" y="950515"/>
                </a:cubicBezTo>
                <a:cubicBezTo>
                  <a:pt x="352656" y="990125"/>
                  <a:pt x="351941" y="1029743"/>
                  <a:pt x="349538" y="1069392"/>
                </a:cubicBezTo>
                <a:cubicBezTo>
                  <a:pt x="348759" y="1082241"/>
                  <a:pt x="349415" y="1095176"/>
                  <a:pt x="349415" y="1108925"/>
                </a:cubicBezTo>
                <a:cubicBezTo>
                  <a:pt x="449467" y="1111953"/>
                  <a:pt x="548509" y="1104712"/>
                  <a:pt x="647726" y="1089872"/>
                </a:cubicBezTo>
                <a:cubicBezTo>
                  <a:pt x="647726" y="1084313"/>
                  <a:pt x="648180" y="1080225"/>
                  <a:pt x="647654" y="1076267"/>
                </a:cubicBezTo>
                <a:cubicBezTo>
                  <a:pt x="643515" y="1045124"/>
                  <a:pt x="633172" y="1016714"/>
                  <a:pt x="610267" y="994126"/>
                </a:cubicBezTo>
                <a:cubicBezTo>
                  <a:pt x="597451" y="981485"/>
                  <a:pt x="584392" y="969090"/>
                  <a:pt x="571459" y="956568"/>
                </a:cubicBezTo>
                <a:cubicBezTo>
                  <a:pt x="555751" y="941359"/>
                  <a:pt x="544836" y="923558"/>
                  <a:pt x="541653" y="901544"/>
                </a:cubicBezTo>
                <a:cubicBezTo>
                  <a:pt x="541430" y="900007"/>
                  <a:pt x="540528" y="898570"/>
                  <a:pt x="539477" y="895908"/>
                </a:cubicBezTo>
                <a:cubicBezTo>
                  <a:pt x="479736" y="901652"/>
                  <a:pt x="419815" y="904536"/>
                  <a:pt x="357446" y="903795"/>
                </a:cubicBezTo>
                <a:moveTo>
                  <a:pt x="300108" y="85260"/>
                </a:moveTo>
                <a:cubicBezTo>
                  <a:pt x="293656" y="98745"/>
                  <a:pt x="289202" y="113094"/>
                  <a:pt x="290213" y="127888"/>
                </a:cubicBezTo>
                <a:cubicBezTo>
                  <a:pt x="292527" y="161736"/>
                  <a:pt x="304185" y="191723"/>
                  <a:pt x="331056" y="214168"/>
                </a:cubicBezTo>
                <a:cubicBezTo>
                  <a:pt x="358172" y="236816"/>
                  <a:pt x="388435" y="249934"/>
                  <a:pt x="424717" y="245160"/>
                </a:cubicBezTo>
                <a:cubicBezTo>
                  <a:pt x="468593" y="239387"/>
                  <a:pt x="509574" y="203365"/>
                  <a:pt x="496752" y="141256"/>
                </a:cubicBezTo>
                <a:cubicBezTo>
                  <a:pt x="487021" y="94124"/>
                  <a:pt x="447261" y="51874"/>
                  <a:pt x="390320" y="43995"/>
                </a:cubicBezTo>
                <a:cubicBezTo>
                  <a:pt x="353241" y="38865"/>
                  <a:pt x="321136" y="48750"/>
                  <a:pt x="300108" y="85260"/>
                </a:cubicBezTo>
                <a:moveTo>
                  <a:pt x="343360" y="634332"/>
                </a:moveTo>
                <a:cubicBezTo>
                  <a:pt x="342539" y="666975"/>
                  <a:pt x="341785" y="699619"/>
                  <a:pt x="340877" y="732259"/>
                </a:cubicBezTo>
                <a:cubicBezTo>
                  <a:pt x="340151" y="758355"/>
                  <a:pt x="339265" y="784447"/>
                  <a:pt x="338360" y="810538"/>
                </a:cubicBezTo>
                <a:cubicBezTo>
                  <a:pt x="338277" y="812948"/>
                  <a:pt x="337465" y="815325"/>
                  <a:pt x="337115" y="817736"/>
                </a:cubicBezTo>
                <a:cubicBezTo>
                  <a:pt x="334935" y="832710"/>
                  <a:pt x="336026" y="847647"/>
                  <a:pt x="336516" y="863022"/>
                </a:cubicBezTo>
                <a:cubicBezTo>
                  <a:pt x="339537" y="863479"/>
                  <a:pt x="341490" y="864053"/>
                  <a:pt x="343436" y="864027"/>
                </a:cubicBezTo>
                <a:cubicBezTo>
                  <a:pt x="364531" y="863739"/>
                  <a:pt x="385626" y="863422"/>
                  <a:pt x="406718" y="862982"/>
                </a:cubicBezTo>
                <a:cubicBezTo>
                  <a:pt x="423444" y="862634"/>
                  <a:pt x="440168" y="861675"/>
                  <a:pt x="456888" y="861794"/>
                </a:cubicBezTo>
                <a:cubicBezTo>
                  <a:pt x="469887" y="861886"/>
                  <a:pt x="482872" y="863302"/>
                  <a:pt x="495873" y="863963"/>
                </a:cubicBezTo>
                <a:cubicBezTo>
                  <a:pt x="500358" y="864191"/>
                  <a:pt x="505108" y="864773"/>
                  <a:pt x="509286" y="863595"/>
                </a:cubicBezTo>
                <a:cubicBezTo>
                  <a:pt x="512346" y="862732"/>
                  <a:pt x="515714" y="859703"/>
                  <a:pt x="516956" y="856791"/>
                </a:cubicBezTo>
                <a:cubicBezTo>
                  <a:pt x="517783" y="854851"/>
                  <a:pt x="515475" y="851192"/>
                  <a:pt x="513920" y="848709"/>
                </a:cubicBezTo>
                <a:cubicBezTo>
                  <a:pt x="511791" y="845308"/>
                  <a:pt x="508393" y="842606"/>
                  <a:pt x="506683" y="839054"/>
                </a:cubicBezTo>
                <a:cubicBezTo>
                  <a:pt x="500331" y="825864"/>
                  <a:pt x="493224" y="812855"/>
                  <a:pt x="488629" y="799037"/>
                </a:cubicBezTo>
                <a:cubicBezTo>
                  <a:pt x="477322" y="765031"/>
                  <a:pt x="466537" y="730814"/>
                  <a:pt x="456922" y="696297"/>
                </a:cubicBezTo>
                <a:cubicBezTo>
                  <a:pt x="449953" y="671276"/>
                  <a:pt x="443477" y="646020"/>
                  <a:pt x="441346" y="619885"/>
                </a:cubicBezTo>
                <a:cubicBezTo>
                  <a:pt x="440327" y="607371"/>
                  <a:pt x="437466" y="595018"/>
                  <a:pt x="435963" y="582529"/>
                </a:cubicBezTo>
                <a:cubicBezTo>
                  <a:pt x="433539" y="562380"/>
                  <a:pt x="431154" y="542212"/>
                  <a:pt x="429497" y="521990"/>
                </a:cubicBezTo>
                <a:cubicBezTo>
                  <a:pt x="428135" y="505363"/>
                  <a:pt x="428437" y="488593"/>
                  <a:pt x="426887" y="471989"/>
                </a:cubicBezTo>
                <a:cubicBezTo>
                  <a:pt x="425874" y="461140"/>
                  <a:pt x="424983" y="461120"/>
                  <a:pt x="413744" y="461077"/>
                </a:cubicBezTo>
                <a:cubicBezTo>
                  <a:pt x="393687" y="461000"/>
                  <a:pt x="373630" y="461011"/>
                  <a:pt x="353573" y="461120"/>
                </a:cubicBezTo>
                <a:cubicBezTo>
                  <a:pt x="350472" y="461137"/>
                  <a:pt x="347374" y="461869"/>
                  <a:pt x="344160" y="462286"/>
                </a:cubicBezTo>
                <a:cubicBezTo>
                  <a:pt x="343828" y="465198"/>
                  <a:pt x="343406" y="467195"/>
                  <a:pt x="343404" y="469192"/>
                </a:cubicBezTo>
                <a:cubicBezTo>
                  <a:pt x="343360" y="504394"/>
                  <a:pt x="343267" y="539596"/>
                  <a:pt x="343469" y="574797"/>
                </a:cubicBezTo>
                <a:cubicBezTo>
                  <a:pt x="343501" y="580426"/>
                  <a:pt x="345652" y="586065"/>
                  <a:pt x="345522" y="591669"/>
                </a:cubicBezTo>
                <a:cubicBezTo>
                  <a:pt x="345214" y="605082"/>
                  <a:pt x="344131" y="618478"/>
                  <a:pt x="343360" y="634332"/>
                </a:cubicBezTo>
                <a:moveTo>
                  <a:pt x="416946" y="385943"/>
                </a:moveTo>
                <a:cubicBezTo>
                  <a:pt x="411661" y="386365"/>
                  <a:pt x="406384" y="387006"/>
                  <a:pt x="401091" y="387162"/>
                </a:cubicBezTo>
                <a:cubicBezTo>
                  <a:pt x="390470" y="387477"/>
                  <a:pt x="379841" y="387447"/>
                  <a:pt x="369218" y="387708"/>
                </a:cubicBezTo>
                <a:cubicBezTo>
                  <a:pt x="361167" y="387906"/>
                  <a:pt x="354429" y="391368"/>
                  <a:pt x="351833" y="398991"/>
                </a:cubicBezTo>
                <a:cubicBezTo>
                  <a:pt x="348989" y="407342"/>
                  <a:pt x="347050" y="416214"/>
                  <a:pt x="349778" y="426021"/>
                </a:cubicBezTo>
                <a:cubicBezTo>
                  <a:pt x="353876" y="426204"/>
                  <a:pt x="357857" y="426517"/>
                  <a:pt x="361839" y="426538"/>
                </a:cubicBezTo>
                <a:cubicBezTo>
                  <a:pt x="392900" y="426701"/>
                  <a:pt x="423961" y="426826"/>
                  <a:pt x="455022" y="426922"/>
                </a:cubicBezTo>
                <a:cubicBezTo>
                  <a:pt x="464013" y="426950"/>
                  <a:pt x="473106" y="427654"/>
                  <a:pt x="481958" y="426527"/>
                </a:cubicBezTo>
                <a:cubicBezTo>
                  <a:pt x="488144" y="425740"/>
                  <a:pt x="494821" y="423501"/>
                  <a:pt x="499817" y="419888"/>
                </a:cubicBezTo>
                <a:cubicBezTo>
                  <a:pt x="507869" y="414066"/>
                  <a:pt x="507286" y="406755"/>
                  <a:pt x="499439" y="400719"/>
                </a:cubicBezTo>
                <a:cubicBezTo>
                  <a:pt x="490179" y="393597"/>
                  <a:pt x="479486" y="388885"/>
                  <a:pt x="468062" y="387775"/>
                </a:cubicBezTo>
                <a:cubicBezTo>
                  <a:pt x="451873" y="386202"/>
                  <a:pt x="435520" y="386321"/>
                  <a:pt x="416946" y="385943"/>
                </a:cubicBezTo>
                <a:moveTo>
                  <a:pt x="636802" y="1190940"/>
                </a:moveTo>
                <a:cubicBezTo>
                  <a:pt x="646709" y="1188723"/>
                  <a:pt x="656705" y="1186841"/>
                  <a:pt x="666492" y="1184186"/>
                </a:cubicBezTo>
                <a:cubicBezTo>
                  <a:pt x="674710" y="1181958"/>
                  <a:pt x="676989" y="1178509"/>
                  <a:pt x="674465" y="1170880"/>
                </a:cubicBezTo>
                <a:cubicBezTo>
                  <a:pt x="671144" y="1160843"/>
                  <a:pt x="667026" y="1151009"/>
                  <a:pt x="662462" y="1141464"/>
                </a:cubicBezTo>
                <a:cubicBezTo>
                  <a:pt x="659273" y="1134795"/>
                  <a:pt x="653671" y="1130908"/>
                  <a:pt x="645564" y="1131937"/>
                </a:cubicBezTo>
                <a:cubicBezTo>
                  <a:pt x="639532" y="1132703"/>
                  <a:pt x="633423" y="1132867"/>
                  <a:pt x="627387" y="1133618"/>
                </a:cubicBezTo>
                <a:cubicBezTo>
                  <a:pt x="612888" y="1135421"/>
                  <a:pt x="598449" y="1137770"/>
                  <a:pt x="583917" y="1139222"/>
                </a:cubicBezTo>
                <a:cubicBezTo>
                  <a:pt x="570571" y="1140557"/>
                  <a:pt x="557130" y="1140930"/>
                  <a:pt x="543741" y="1141869"/>
                </a:cubicBezTo>
                <a:cubicBezTo>
                  <a:pt x="533202" y="1142610"/>
                  <a:pt x="522682" y="1143623"/>
                  <a:pt x="512146" y="1144418"/>
                </a:cubicBezTo>
                <a:cubicBezTo>
                  <a:pt x="490671" y="1146038"/>
                  <a:pt x="469214" y="1148450"/>
                  <a:pt x="447711" y="1148973"/>
                </a:cubicBezTo>
                <a:cubicBezTo>
                  <a:pt x="415817" y="1149749"/>
                  <a:pt x="383891" y="1149136"/>
                  <a:pt x="351979" y="1149200"/>
                </a:cubicBezTo>
                <a:cubicBezTo>
                  <a:pt x="347698" y="1149209"/>
                  <a:pt x="343419" y="1149717"/>
                  <a:pt x="338443" y="1150040"/>
                </a:cubicBezTo>
                <a:cubicBezTo>
                  <a:pt x="338443" y="1164651"/>
                  <a:pt x="338413" y="1177715"/>
                  <a:pt x="338451" y="1190780"/>
                </a:cubicBezTo>
                <a:cubicBezTo>
                  <a:pt x="338490" y="1204031"/>
                  <a:pt x="338512" y="1204062"/>
                  <a:pt x="351082" y="1207015"/>
                </a:cubicBezTo>
                <a:cubicBezTo>
                  <a:pt x="353445" y="1207570"/>
                  <a:pt x="355895" y="1208128"/>
                  <a:pt x="358298" y="1208094"/>
                </a:cubicBezTo>
                <a:cubicBezTo>
                  <a:pt x="412608" y="1207329"/>
                  <a:pt x="466919" y="1206484"/>
                  <a:pt x="521229" y="1205646"/>
                </a:cubicBezTo>
                <a:cubicBezTo>
                  <a:pt x="522045" y="1205634"/>
                  <a:pt x="522865" y="1205591"/>
                  <a:pt x="523675" y="1205490"/>
                </a:cubicBezTo>
                <a:cubicBezTo>
                  <a:pt x="542593" y="1203123"/>
                  <a:pt x="561519" y="1200820"/>
                  <a:pt x="580423" y="1198350"/>
                </a:cubicBezTo>
                <a:cubicBezTo>
                  <a:pt x="598523" y="1195985"/>
                  <a:pt x="616599" y="1193446"/>
                  <a:pt x="636802" y="1190940"/>
                </a:cubicBez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" name="Free-form: Shape 10">
            <a:extLst>
              <a:ext uri="{FF2B5EF4-FFF2-40B4-BE49-F238E27FC236}">
                <a16:creationId xmlns:a16="http://schemas.microsoft.com/office/drawing/2014/main" id="{0FFF802D-916F-1ECB-10EE-9A6084B36676}"/>
              </a:ext>
            </a:extLst>
          </p:cNvPr>
          <p:cNvSpPr/>
          <p:nvPr/>
        </p:nvSpPr>
        <p:spPr>
          <a:xfrm>
            <a:off x="1774312" y="2842486"/>
            <a:ext cx="17183" cy="1817"/>
          </a:xfrm>
          <a:custGeom>
            <a:avLst/>
            <a:gdLst>
              <a:gd name="csX0" fmla="*/ 0 w 27674"/>
              <a:gd name="csY0" fmla="*/ 2915 h 2925"/>
              <a:gd name="csX1" fmla="*/ 27675 w 27674"/>
              <a:gd name="csY1" fmla="*/ 1550 h 2925"/>
              <a:gd name="csX2" fmla="*/ 0 w 27674"/>
              <a:gd name="csY2" fmla="*/ 2915 h 292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27674" h="2925">
                <a:moveTo>
                  <a:pt x="0" y="2915"/>
                </a:moveTo>
                <a:cubicBezTo>
                  <a:pt x="8211" y="-1939"/>
                  <a:pt x="17625" y="498"/>
                  <a:pt x="27675" y="1550"/>
                </a:cubicBezTo>
                <a:cubicBezTo>
                  <a:pt x="19225" y="2593"/>
                  <a:pt x="10029" y="2999"/>
                  <a:pt x="0" y="2915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5" name="Free-form: Shape 14">
            <a:extLst>
              <a:ext uri="{FF2B5EF4-FFF2-40B4-BE49-F238E27FC236}">
                <a16:creationId xmlns:a16="http://schemas.microsoft.com/office/drawing/2014/main" id="{8F6683C3-10E0-1EA7-8D12-836F88BDC616}"/>
              </a:ext>
            </a:extLst>
          </p:cNvPr>
          <p:cNvSpPr/>
          <p:nvPr/>
        </p:nvSpPr>
        <p:spPr>
          <a:xfrm>
            <a:off x="1727008" y="2843510"/>
            <a:ext cx="11179" cy="700"/>
          </a:xfrm>
          <a:custGeom>
            <a:avLst/>
            <a:gdLst>
              <a:gd name="csX0" fmla="*/ 0 w 18003"/>
              <a:gd name="csY0" fmla="*/ 1050 h 1128"/>
              <a:gd name="csX1" fmla="*/ 18004 w 18003"/>
              <a:gd name="csY1" fmla="*/ 93 h 1128"/>
              <a:gd name="csX2" fmla="*/ 0 w 18003"/>
              <a:gd name="csY2" fmla="*/ 1050 h 112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8003" h="1128">
                <a:moveTo>
                  <a:pt x="0" y="1050"/>
                </a:moveTo>
                <a:cubicBezTo>
                  <a:pt x="5276" y="182"/>
                  <a:pt x="11306" y="-189"/>
                  <a:pt x="18004" y="93"/>
                </a:cubicBezTo>
                <a:cubicBezTo>
                  <a:pt x="12699" y="1013"/>
                  <a:pt x="6726" y="1280"/>
                  <a:pt x="0" y="1050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7" name="Free-form: Shape 16">
            <a:extLst>
              <a:ext uri="{FF2B5EF4-FFF2-40B4-BE49-F238E27FC236}">
                <a16:creationId xmlns:a16="http://schemas.microsoft.com/office/drawing/2014/main" id="{7A150D84-6C7F-9F60-5D6D-319AF610082A}"/>
              </a:ext>
            </a:extLst>
          </p:cNvPr>
          <p:cNvSpPr/>
          <p:nvPr/>
        </p:nvSpPr>
        <p:spPr>
          <a:xfrm>
            <a:off x="1807975" y="2276710"/>
            <a:ext cx="5257" cy="4867"/>
          </a:xfrm>
          <a:custGeom>
            <a:avLst/>
            <a:gdLst>
              <a:gd name="csX0" fmla="*/ 473 w 8466"/>
              <a:gd name="csY0" fmla="*/ 7839 h 7838"/>
              <a:gd name="csX1" fmla="*/ 8466 w 8466"/>
              <a:gd name="csY1" fmla="*/ 61 h 7838"/>
              <a:gd name="csX2" fmla="*/ 473 w 8466"/>
              <a:gd name="csY2" fmla="*/ 7839 h 783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66" h="7838">
                <a:moveTo>
                  <a:pt x="473" y="7839"/>
                </a:moveTo>
                <a:cubicBezTo>
                  <a:pt x="-1298" y="1550"/>
                  <a:pt x="2020" y="-386"/>
                  <a:pt x="8466" y="61"/>
                </a:cubicBezTo>
                <a:cubicBezTo>
                  <a:pt x="6730" y="2845"/>
                  <a:pt x="4026" y="5401"/>
                  <a:pt x="473" y="7839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8" name="Free-form: Shape 17">
            <a:extLst>
              <a:ext uri="{FF2B5EF4-FFF2-40B4-BE49-F238E27FC236}">
                <a16:creationId xmlns:a16="http://schemas.microsoft.com/office/drawing/2014/main" id="{7AFFCD8C-A528-FD9B-03BA-30DC22FEBD15}"/>
              </a:ext>
            </a:extLst>
          </p:cNvPr>
          <p:cNvSpPr/>
          <p:nvPr/>
        </p:nvSpPr>
        <p:spPr>
          <a:xfrm>
            <a:off x="1671979" y="2841996"/>
            <a:ext cx="5265" cy="618"/>
          </a:xfrm>
          <a:custGeom>
            <a:avLst/>
            <a:gdLst>
              <a:gd name="csX0" fmla="*/ 0 w 8480"/>
              <a:gd name="csY0" fmla="*/ 896 h 996"/>
              <a:gd name="csX1" fmla="*/ 8480 w 8480"/>
              <a:gd name="csY1" fmla="*/ 110 h 996"/>
              <a:gd name="csX2" fmla="*/ 0 w 8480"/>
              <a:gd name="csY2" fmla="*/ 896 h 99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80" h="996">
                <a:moveTo>
                  <a:pt x="0" y="896"/>
                </a:moveTo>
                <a:cubicBezTo>
                  <a:pt x="2285" y="115"/>
                  <a:pt x="5130" y="-182"/>
                  <a:pt x="8480" y="110"/>
                </a:cubicBezTo>
                <a:cubicBezTo>
                  <a:pt x="6177" y="927"/>
                  <a:pt x="3368" y="1153"/>
                  <a:pt x="0" y="896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" name="Free-form: Shape 20">
            <a:extLst>
              <a:ext uri="{FF2B5EF4-FFF2-40B4-BE49-F238E27FC236}">
                <a16:creationId xmlns:a16="http://schemas.microsoft.com/office/drawing/2014/main" id="{D39E26F1-E140-70F2-3793-7CE975F42CC3}"/>
              </a:ext>
            </a:extLst>
          </p:cNvPr>
          <p:cNvSpPr/>
          <p:nvPr/>
        </p:nvSpPr>
        <p:spPr>
          <a:xfrm>
            <a:off x="1958740" y="2815467"/>
            <a:ext cx="763" cy="4134"/>
          </a:xfrm>
          <a:custGeom>
            <a:avLst/>
            <a:gdLst>
              <a:gd name="csX0" fmla="*/ 132 w 1229"/>
              <a:gd name="csY0" fmla="*/ 6659 h 6658"/>
              <a:gd name="csX1" fmla="*/ 1107 w 1229"/>
              <a:gd name="csY1" fmla="*/ 0 h 6658"/>
              <a:gd name="csX2" fmla="*/ 132 w 1229"/>
              <a:gd name="csY2" fmla="*/ 6659 h 665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229" h="6658">
                <a:moveTo>
                  <a:pt x="132" y="6659"/>
                </a:moveTo>
                <a:cubicBezTo>
                  <a:pt x="-219" y="4616"/>
                  <a:pt x="139" y="2560"/>
                  <a:pt x="1107" y="0"/>
                </a:cubicBezTo>
                <a:cubicBezTo>
                  <a:pt x="1425" y="1879"/>
                  <a:pt x="1133" y="4263"/>
                  <a:pt x="132" y="6659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3" name="Free-form: Shape 22">
            <a:extLst>
              <a:ext uri="{FF2B5EF4-FFF2-40B4-BE49-F238E27FC236}">
                <a16:creationId xmlns:a16="http://schemas.microsoft.com/office/drawing/2014/main" id="{CED62FB0-BC96-55F0-9A24-C5CAA231E264}"/>
              </a:ext>
            </a:extLst>
          </p:cNvPr>
          <p:cNvSpPr/>
          <p:nvPr/>
        </p:nvSpPr>
        <p:spPr>
          <a:xfrm>
            <a:off x="1891544" y="2835744"/>
            <a:ext cx="2352" cy="847"/>
          </a:xfrm>
          <a:custGeom>
            <a:avLst/>
            <a:gdLst>
              <a:gd name="csX0" fmla="*/ 0 w 3788"/>
              <a:gd name="csY0" fmla="*/ 1364 h 1364"/>
              <a:gd name="csX1" fmla="*/ 3788 w 3788"/>
              <a:gd name="csY1" fmla="*/ 0 h 1364"/>
              <a:gd name="csX2" fmla="*/ 0 w 3788"/>
              <a:gd name="csY2" fmla="*/ 1364 h 136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788" h="1364">
                <a:moveTo>
                  <a:pt x="0" y="1364"/>
                </a:moveTo>
                <a:cubicBezTo>
                  <a:pt x="856" y="517"/>
                  <a:pt x="2126" y="39"/>
                  <a:pt x="3788" y="0"/>
                </a:cubicBezTo>
                <a:cubicBezTo>
                  <a:pt x="2925" y="870"/>
                  <a:pt x="1670" y="1303"/>
                  <a:pt x="0" y="1364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4" name="Free-form: Shape 23">
            <a:extLst>
              <a:ext uri="{FF2B5EF4-FFF2-40B4-BE49-F238E27FC236}">
                <a16:creationId xmlns:a16="http://schemas.microsoft.com/office/drawing/2014/main" id="{A02A665A-F5ED-E8FD-E208-5929131AA215}"/>
              </a:ext>
            </a:extLst>
          </p:cNvPr>
          <p:cNvSpPr/>
          <p:nvPr/>
        </p:nvSpPr>
        <p:spPr>
          <a:xfrm>
            <a:off x="1619961" y="2839018"/>
            <a:ext cx="2478" cy="515"/>
          </a:xfrm>
          <a:custGeom>
            <a:avLst/>
            <a:gdLst>
              <a:gd name="csX0" fmla="*/ 0 w 3990"/>
              <a:gd name="csY0" fmla="*/ 719 h 829"/>
              <a:gd name="csX1" fmla="*/ 3990 w 3990"/>
              <a:gd name="csY1" fmla="*/ 119 h 829"/>
              <a:gd name="csX2" fmla="*/ 0 w 3990"/>
              <a:gd name="csY2" fmla="*/ 719 h 82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990" h="829">
                <a:moveTo>
                  <a:pt x="0" y="719"/>
                </a:moveTo>
                <a:cubicBezTo>
                  <a:pt x="982" y="66"/>
                  <a:pt x="2323" y="-163"/>
                  <a:pt x="3990" y="119"/>
                </a:cubicBezTo>
                <a:cubicBezTo>
                  <a:pt x="2998" y="800"/>
                  <a:pt x="1678" y="972"/>
                  <a:pt x="0" y="719"/>
                </a:cubicBezTo>
                <a:close/>
              </a:path>
            </a:pathLst>
          </a:custGeom>
          <a:solidFill>
            <a:srgbClr val="959DA0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1" name="Free-form: Shape 30">
            <a:extLst>
              <a:ext uri="{FF2B5EF4-FFF2-40B4-BE49-F238E27FC236}">
                <a16:creationId xmlns:a16="http://schemas.microsoft.com/office/drawing/2014/main" id="{571EEEF3-ACD1-2DF6-B34E-4618F9513F1C}"/>
              </a:ext>
            </a:extLst>
          </p:cNvPr>
          <p:cNvSpPr/>
          <p:nvPr/>
        </p:nvSpPr>
        <p:spPr>
          <a:xfrm>
            <a:off x="1830509" y="2841974"/>
            <a:ext cx="2417" cy="705"/>
          </a:xfrm>
          <a:custGeom>
            <a:avLst/>
            <a:gdLst>
              <a:gd name="csX0" fmla="*/ 0 w 3893"/>
              <a:gd name="csY0" fmla="*/ 1133 h 1135"/>
              <a:gd name="csX1" fmla="*/ 3893 w 3893"/>
              <a:gd name="csY1" fmla="*/ 7 h 1135"/>
              <a:gd name="csX2" fmla="*/ 0 w 3893"/>
              <a:gd name="csY2" fmla="*/ 1133 h 113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893" h="1135">
                <a:moveTo>
                  <a:pt x="0" y="1133"/>
                </a:moveTo>
                <a:cubicBezTo>
                  <a:pt x="902" y="349"/>
                  <a:pt x="2213" y="-60"/>
                  <a:pt x="3893" y="7"/>
                </a:cubicBezTo>
                <a:cubicBezTo>
                  <a:pt x="2978" y="825"/>
                  <a:pt x="1693" y="1167"/>
                  <a:pt x="0" y="1133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" name="Free-form: Shape 31">
            <a:extLst>
              <a:ext uri="{FF2B5EF4-FFF2-40B4-BE49-F238E27FC236}">
                <a16:creationId xmlns:a16="http://schemas.microsoft.com/office/drawing/2014/main" id="{C0779387-E9D7-4606-C549-BAE6831FB1C4}"/>
              </a:ext>
            </a:extLst>
          </p:cNvPr>
          <p:cNvSpPr/>
          <p:nvPr/>
        </p:nvSpPr>
        <p:spPr>
          <a:xfrm>
            <a:off x="1730913" y="2357310"/>
            <a:ext cx="112588" cy="250407"/>
          </a:xfrm>
          <a:custGeom>
            <a:avLst/>
            <a:gdLst>
              <a:gd name="csX0" fmla="*/ 7554 w 181323"/>
              <a:gd name="csY0" fmla="*/ 172079 h 403282"/>
              <a:gd name="csX1" fmla="*/ 9716 w 181323"/>
              <a:gd name="csY1" fmla="*/ 130641 h 403282"/>
              <a:gd name="csX2" fmla="*/ 7663 w 181323"/>
              <a:gd name="csY2" fmla="*/ 113770 h 403282"/>
              <a:gd name="csX3" fmla="*/ 7598 w 181323"/>
              <a:gd name="csY3" fmla="*/ 8165 h 403282"/>
              <a:gd name="csX4" fmla="*/ 8353 w 181323"/>
              <a:gd name="csY4" fmla="*/ 1259 h 403282"/>
              <a:gd name="csX5" fmla="*/ 17767 w 181323"/>
              <a:gd name="csY5" fmla="*/ 93 h 403282"/>
              <a:gd name="csX6" fmla="*/ 77938 w 181323"/>
              <a:gd name="csY6" fmla="*/ 50 h 403282"/>
              <a:gd name="csX7" fmla="*/ 91081 w 181323"/>
              <a:gd name="csY7" fmla="*/ 10962 h 403282"/>
              <a:gd name="csX8" fmla="*/ 93691 w 181323"/>
              <a:gd name="csY8" fmla="*/ 60963 h 403282"/>
              <a:gd name="csX9" fmla="*/ 100157 w 181323"/>
              <a:gd name="csY9" fmla="*/ 121501 h 403282"/>
              <a:gd name="csX10" fmla="*/ 105540 w 181323"/>
              <a:gd name="csY10" fmla="*/ 158857 h 403282"/>
              <a:gd name="csX11" fmla="*/ 121116 w 181323"/>
              <a:gd name="csY11" fmla="*/ 235269 h 403282"/>
              <a:gd name="csX12" fmla="*/ 152823 w 181323"/>
              <a:gd name="csY12" fmla="*/ 338010 h 403282"/>
              <a:gd name="csX13" fmla="*/ 170877 w 181323"/>
              <a:gd name="csY13" fmla="*/ 378027 h 403282"/>
              <a:gd name="csX14" fmla="*/ 178114 w 181323"/>
              <a:gd name="csY14" fmla="*/ 387682 h 403282"/>
              <a:gd name="csX15" fmla="*/ 181150 w 181323"/>
              <a:gd name="csY15" fmla="*/ 395764 h 403282"/>
              <a:gd name="csX16" fmla="*/ 173480 w 181323"/>
              <a:gd name="csY16" fmla="*/ 402568 h 403282"/>
              <a:gd name="csX17" fmla="*/ 160067 w 181323"/>
              <a:gd name="csY17" fmla="*/ 402936 h 403282"/>
              <a:gd name="csX18" fmla="*/ 121081 w 181323"/>
              <a:gd name="csY18" fmla="*/ 400766 h 403282"/>
              <a:gd name="csX19" fmla="*/ 70912 w 181323"/>
              <a:gd name="csY19" fmla="*/ 401955 h 403282"/>
              <a:gd name="csX20" fmla="*/ 7630 w 181323"/>
              <a:gd name="csY20" fmla="*/ 402999 h 403282"/>
              <a:gd name="csX21" fmla="*/ 710 w 181323"/>
              <a:gd name="csY21" fmla="*/ 401995 h 403282"/>
              <a:gd name="csX22" fmla="*/ 1308 w 181323"/>
              <a:gd name="csY22" fmla="*/ 356708 h 403282"/>
              <a:gd name="csX23" fmla="*/ 2554 w 181323"/>
              <a:gd name="csY23" fmla="*/ 349510 h 403282"/>
              <a:gd name="csX24" fmla="*/ 5071 w 181323"/>
              <a:gd name="csY24" fmla="*/ 271231 h 403282"/>
              <a:gd name="csX25" fmla="*/ 7554 w 181323"/>
              <a:gd name="csY25" fmla="*/ 172079 h 403282"/>
              <a:gd name="csX26" fmla="*/ 98286 w 181323"/>
              <a:gd name="csY26" fmla="*/ 163566 h 403282"/>
              <a:gd name="csX27" fmla="*/ 83497 w 181323"/>
              <a:gd name="csY27" fmla="*/ 8289 h 403282"/>
              <a:gd name="csX28" fmla="*/ 15161 w 181323"/>
              <a:gd name="csY28" fmla="*/ 9148 h 403282"/>
              <a:gd name="csX29" fmla="*/ 15058 w 181323"/>
              <a:gd name="csY29" fmla="*/ 137939 h 403282"/>
              <a:gd name="csX30" fmla="*/ 12252 w 181323"/>
              <a:gd name="csY30" fmla="*/ 266862 h 403282"/>
              <a:gd name="csX31" fmla="*/ 7068 w 181323"/>
              <a:gd name="csY31" fmla="*/ 395996 h 403282"/>
              <a:gd name="csX32" fmla="*/ 171647 w 181323"/>
              <a:gd name="csY32" fmla="*/ 395996 h 403282"/>
              <a:gd name="csX33" fmla="*/ 119950 w 181323"/>
              <a:gd name="csY33" fmla="*/ 259496 h 403282"/>
              <a:gd name="csX34" fmla="*/ 98286 w 181323"/>
              <a:gd name="csY34" fmla="*/ 163566 h 40328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</a:cxnLst>
            <a:rect l="l" t="t" r="r" b="b"/>
            <a:pathLst>
              <a:path w="181323" h="403282">
                <a:moveTo>
                  <a:pt x="7554" y="172079"/>
                </a:moveTo>
                <a:cubicBezTo>
                  <a:pt x="8325" y="157451"/>
                  <a:pt x="9408" y="144055"/>
                  <a:pt x="9716" y="130641"/>
                </a:cubicBezTo>
                <a:cubicBezTo>
                  <a:pt x="9846" y="125037"/>
                  <a:pt x="7695" y="119399"/>
                  <a:pt x="7663" y="113770"/>
                </a:cubicBezTo>
                <a:cubicBezTo>
                  <a:pt x="7461" y="78569"/>
                  <a:pt x="7554" y="43367"/>
                  <a:pt x="7598" y="8165"/>
                </a:cubicBezTo>
                <a:cubicBezTo>
                  <a:pt x="7600" y="6167"/>
                  <a:pt x="8022" y="4170"/>
                  <a:pt x="8353" y="1259"/>
                </a:cubicBezTo>
                <a:cubicBezTo>
                  <a:pt x="11568" y="842"/>
                  <a:pt x="14666" y="109"/>
                  <a:pt x="17767" y="93"/>
                </a:cubicBezTo>
                <a:cubicBezTo>
                  <a:pt x="37824" y="-17"/>
                  <a:pt x="57881" y="-27"/>
                  <a:pt x="77938" y="50"/>
                </a:cubicBezTo>
                <a:cubicBezTo>
                  <a:pt x="89177" y="93"/>
                  <a:pt x="90068" y="113"/>
                  <a:pt x="91081" y="10962"/>
                </a:cubicBezTo>
                <a:cubicBezTo>
                  <a:pt x="92631" y="27565"/>
                  <a:pt x="92329" y="44335"/>
                  <a:pt x="93691" y="60963"/>
                </a:cubicBezTo>
                <a:cubicBezTo>
                  <a:pt x="95348" y="81184"/>
                  <a:pt x="97732" y="101353"/>
                  <a:pt x="100157" y="121501"/>
                </a:cubicBezTo>
                <a:cubicBezTo>
                  <a:pt x="101660" y="133990"/>
                  <a:pt x="104521" y="146343"/>
                  <a:pt x="105540" y="158857"/>
                </a:cubicBezTo>
                <a:cubicBezTo>
                  <a:pt x="107671" y="184993"/>
                  <a:pt x="114147" y="210249"/>
                  <a:pt x="121116" y="235269"/>
                </a:cubicBezTo>
                <a:cubicBezTo>
                  <a:pt x="130731" y="269786"/>
                  <a:pt x="141516" y="304004"/>
                  <a:pt x="152823" y="338010"/>
                </a:cubicBezTo>
                <a:cubicBezTo>
                  <a:pt x="157418" y="351828"/>
                  <a:pt x="164524" y="364837"/>
                  <a:pt x="170877" y="378027"/>
                </a:cubicBezTo>
                <a:cubicBezTo>
                  <a:pt x="172587" y="381579"/>
                  <a:pt x="175985" y="384280"/>
                  <a:pt x="178114" y="387682"/>
                </a:cubicBezTo>
                <a:cubicBezTo>
                  <a:pt x="179669" y="390165"/>
                  <a:pt x="181977" y="393824"/>
                  <a:pt x="181150" y="395764"/>
                </a:cubicBezTo>
                <a:cubicBezTo>
                  <a:pt x="179907" y="398676"/>
                  <a:pt x="176540" y="401705"/>
                  <a:pt x="173480" y="402568"/>
                </a:cubicBezTo>
                <a:cubicBezTo>
                  <a:pt x="169302" y="403746"/>
                  <a:pt x="164551" y="403164"/>
                  <a:pt x="160067" y="402936"/>
                </a:cubicBezTo>
                <a:cubicBezTo>
                  <a:pt x="147066" y="402274"/>
                  <a:pt x="134081" y="400859"/>
                  <a:pt x="121081" y="400766"/>
                </a:cubicBezTo>
                <a:cubicBezTo>
                  <a:pt x="104362" y="400647"/>
                  <a:pt x="87638" y="401607"/>
                  <a:pt x="70912" y="401955"/>
                </a:cubicBezTo>
                <a:cubicBezTo>
                  <a:pt x="49820" y="402394"/>
                  <a:pt x="28725" y="402712"/>
                  <a:pt x="7630" y="402999"/>
                </a:cubicBezTo>
                <a:cubicBezTo>
                  <a:pt x="5684" y="403026"/>
                  <a:pt x="3731" y="402452"/>
                  <a:pt x="710" y="401995"/>
                </a:cubicBezTo>
                <a:cubicBezTo>
                  <a:pt x="219" y="386620"/>
                  <a:pt x="-871" y="371682"/>
                  <a:pt x="1308" y="356708"/>
                </a:cubicBezTo>
                <a:cubicBezTo>
                  <a:pt x="1659" y="354298"/>
                  <a:pt x="2471" y="351920"/>
                  <a:pt x="2554" y="349510"/>
                </a:cubicBezTo>
                <a:cubicBezTo>
                  <a:pt x="3459" y="323419"/>
                  <a:pt x="4345" y="297328"/>
                  <a:pt x="5071" y="271231"/>
                </a:cubicBezTo>
                <a:cubicBezTo>
                  <a:pt x="5979" y="238591"/>
                  <a:pt x="6733" y="205947"/>
                  <a:pt x="7554" y="172079"/>
                </a:cubicBezTo>
                <a:moveTo>
                  <a:pt x="98286" y="163566"/>
                </a:moveTo>
                <a:cubicBezTo>
                  <a:pt x="89288" y="112116"/>
                  <a:pt x="86355" y="60033"/>
                  <a:pt x="83497" y="8289"/>
                </a:cubicBezTo>
                <a:cubicBezTo>
                  <a:pt x="65606" y="5845"/>
                  <a:pt x="24110" y="6470"/>
                  <a:pt x="15161" y="9148"/>
                </a:cubicBezTo>
                <a:cubicBezTo>
                  <a:pt x="15161" y="52045"/>
                  <a:pt x="15527" y="94996"/>
                  <a:pt x="15058" y="137939"/>
                </a:cubicBezTo>
                <a:cubicBezTo>
                  <a:pt x="14587" y="180919"/>
                  <a:pt x="13597" y="223900"/>
                  <a:pt x="12252" y="266862"/>
                </a:cubicBezTo>
                <a:cubicBezTo>
                  <a:pt x="10912" y="309638"/>
                  <a:pt x="8849" y="352391"/>
                  <a:pt x="7068" y="395996"/>
                </a:cubicBezTo>
                <a:cubicBezTo>
                  <a:pt x="62774" y="395996"/>
                  <a:pt x="116821" y="395996"/>
                  <a:pt x="171647" y="395996"/>
                </a:cubicBezTo>
                <a:cubicBezTo>
                  <a:pt x="148550" y="352016"/>
                  <a:pt x="132566" y="306307"/>
                  <a:pt x="119950" y="259496"/>
                </a:cubicBezTo>
                <a:cubicBezTo>
                  <a:pt x="111608" y="228543"/>
                  <a:pt x="105493" y="196989"/>
                  <a:pt x="98286" y="163566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" name="Free-form: Shape 32">
            <a:extLst>
              <a:ext uri="{FF2B5EF4-FFF2-40B4-BE49-F238E27FC236}">
                <a16:creationId xmlns:a16="http://schemas.microsoft.com/office/drawing/2014/main" id="{8A57BAAE-4F2B-A0F1-787B-7E50B3B146E9}"/>
              </a:ext>
            </a:extLst>
          </p:cNvPr>
          <p:cNvSpPr/>
          <p:nvPr/>
        </p:nvSpPr>
        <p:spPr>
          <a:xfrm>
            <a:off x="1732544" y="2773791"/>
            <a:ext cx="209255" cy="47389"/>
          </a:xfrm>
          <a:custGeom>
            <a:avLst/>
            <a:gdLst>
              <a:gd name="csX0" fmla="*/ 297312 w 337008"/>
              <a:gd name="csY0" fmla="*/ 59188 h 76321"/>
              <a:gd name="csX1" fmla="*/ 241991 w 337008"/>
              <a:gd name="csY1" fmla="*/ 66577 h 76321"/>
              <a:gd name="csX2" fmla="*/ 185243 w 337008"/>
              <a:gd name="csY2" fmla="*/ 73717 h 76321"/>
              <a:gd name="csX3" fmla="*/ 182797 w 337008"/>
              <a:gd name="csY3" fmla="*/ 73873 h 76321"/>
              <a:gd name="csX4" fmla="*/ 19866 w 337008"/>
              <a:gd name="csY4" fmla="*/ 76320 h 76321"/>
              <a:gd name="csX5" fmla="*/ 12650 w 337008"/>
              <a:gd name="csY5" fmla="*/ 75242 h 76321"/>
              <a:gd name="csX6" fmla="*/ 19 w 337008"/>
              <a:gd name="csY6" fmla="*/ 59006 h 76321"/>
              <a:gd name="csX7" fmla="*/ 11 w 337008"/>
              <a:gd name="csY7" fmla="*/ 18266 h 76321"/>
              <a:gd name="csX8" fmla="*/ 13547 w 337008"/>
              <a:gd name="csY8" fmla="*/ 17427 h 76321"/>
              <a:gd name="csX9" fmla="*/ 109279 w 337008"/>
              <a:gd name="csY9" fmla="*/ 17200 h 76321"/>
              <a:gd name="csX10" fmla="*/ 173714 w 337008"/>
              <a:gd name="csY10" fmla="*/ 12645 h 76321"/>
              <a:gd name="csX11" fmla="*/ 205309 w 337008"/>
              <a:gd name="csY11" fmla="*/ 10096 h 76321"/>
              <a:gd name="csX12" fmla="*/ 245485 w 337008"/>
              <a:gd name="csY12" fmla="*/ 7449 h 76321"/>
              <a:gd name="csX13" fmla="*/ 288955 w 337008"/>
              <a:gd name="csY13" fmla="*/ 1844 h 76321"/>
              <a:gd name="csX14" fmla="*/ 307132 w 337008"/>
              <a:gd name="csY14" fmla="*/ 164 h 76321"/>
              <a:gd name="csX15" fmla="*/ 324030 w 337008"/>
              <a:gd name="csY15" fmla="*/ 9691 h 76321"/>
              <a:gd name="csX16" fmla="*/ 336033 w 337008"/>
              <a:gd name="csY16" fmla="*/ 39107 h 76321"/>
              <a:gd name="csX17" fmla="*/ 328060 w 337008"/>
              <a:gd name="csY17" fmla="*/ 52413 h 76321"/>
              <a:gd name="csX18" fmla="*/ 297312 w 337008"/>
              <a:gd name="csY18" fmla="*/ 59188 h 76321"/>
              <a:gd name="csX19" fmla="*/ 207688 w 337008"/>
              <a:gd name="csY19" fmla="*/ 64284 h 76321"/>
              <a:gd name="csX20" fmla="*/ 330050 w 337008"/>
              <a:gd name="csY20" fmla="*/ 45606 h 76321"/>
              <a:gd name="csX21" fmla="*/ 317356 w 337008"/>
              <a:gd name="csY21" fmla="*/ 11297 h 76321"/>
              <a:gd name="csX22" fmla="*/ 304170 w 337008"/>
              <a:gd name="csY22" fmla="*/ 5545 h 76321"/>
              <a:gd name="csX23" fmla="*/ 273851 w 337008"/>
              <a:gd name="csY23" fmla="*/ 10014 h 76321"/>
              <a:gd name="csX24" fmla="*/ 163935 w 337008"/>
              <a:gd name="csY24" fmla="*/ 20274 h 76321"/>
              <a:gd name="csX25" fmla="*/ 17973 w 337008"/>
              <a:gd name="csY25" fmla="*/ 22950 h 76321"/>
              <a:gd name="csX26" fmla="*/ 7372 w 337008"/>
              <a:gd name="csY26" fmla="*/ 23601 h 76321"/>
              <a:gd name="csX27" fmla="*/ 7372 w 337008"/>
              <a:gd name="csY27" fmla="*/ 67898 h 76321"/>
              <a:gd name="csX28" fmla="*/ 207688 w 337008"/>
              <a:gd name="csY28" fmla="*/ 64284 h 7632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</a:cxnLst>
            <a:rect l="l" t="t" r="r" b="b"/>
            <a:pathLst>
              <a:path w="337008" h="76321">
                <a:moveTo>
                  <a:pt x="297312" y="59188"/>
                </a:moveTo>
                <a:cubicBezTo>
                  <a:pt x="278167" y="61672"/>
                  <a:pt x="260091" y="64212"/>
                  <a:pt x="241991" y="66577"/>
                </a:cubicBezTo>
                <a:cubicBezTo>
                  <a:pt x="223087" y="69047"/>
                  <a:pt x="204161" y="71350"/>
                  <a:pt x="185243" y="73717"/>
                </a:cubicBezTo>
                <a:cubicBezTo>
                  <a:pt x="184433" y="73818"/>
                  <a:pt x="183613" y="73861"/>
                  <a:pt x="182797" y="73873"/>
                </a:cubicBezTo>
                <a:cubicBezTo>
                  <a:pt x="128487" y="74710"/>
                  <a:pt x="74176" y="75556"/>
                  <a:pt x="19866" y="76320"/>
                </a:cubicBezTo>
                <a:cubicBezTo>
                  <a:pt x="17463" y="76354"/>
                  <a:pt x="15013" y="75797"/>
                  <a:pt x="12650" y="75242"/>
                </a:cubicBezTo>
                <a:cubicBezTo>
                  <a:pt x="80" y="72288"/>
                  <a:pt x="58" y="72258"/>
                  <a:pt x="19" y="59006"/>
                </a:cubicBezTo>
                <a:cubicBezTo>
                  <a:pt x="-19" y="45942"/>
                  <a:pt x="11" y="32877"/>
                  <a:pt x="11" y="18266"/>
                </a:cubicBezTo>
                <a:cubicBezTo>
                  <a:pt x="4987" y="17944"/>
                  <a:pt x="9266" y="17435"/>
                  <a:pt x="13547" y="17427"/>
                </a:cubicBezTo>
                <a:cubicBezTo>
                  <a:pt x="45459" y="17362"/>
                  <a:pt x="77385" y="17975"/>
                  <a:pt x="109279" y="17200"/>
                </a:cubicBezTo>
                <a:cubicBezTo>
                  <a:pt x="130782" y="16677"/>
                  <a:pt x="152239" y="14265"/>
                  <a:pt x="173714" y="12645"/>
                </a:cubicBezTo>
                <a:cubicBezTo>
                  <a:pt x="184250" y="11850"/>
                  <a:pt x="194770" y="10836"/>
                  <a:pt x="205309" y="10096"/>
                </a:cubicBezTo>
                <a:cubicBezTo>
                  <a:pt x="218698" y="9156"/>
                  <a:pt x="232139" y="8783"/>
                  <a:pt x="245485" y="7449"/>
                </a:cubicBezTo>
                <a:cubicBezTo>
                  <a:pt x="260017" y="5997"/>
                  <a:pt x="274456" y="3648"/>
                  <a:pt x="288955" y="1844"/>
                </a:cubicBezTo>
                <a:cubicBezTo>
                  <a:pt x="294991" y="1094"/>
                  <a:pt x="301100" y="930"/>
                  <a:pt x="307132" y="164"/>
                </a:cubicBezTo>
                <a:cubicBezTo>
                  <a:pt x="315239" y="-865"/>
                  <a:pt x="320841" y="3022"/>
                  <a:pt x="324030" y="9691"/>
                </a:cubicBezTo>
                <a:cubicBezTo>
                  <a:pt x="328594" y="19236"/>
                  <a:pt x="332712" y="29070"/>
                  <a:pt x="336033" y="39107"/>
                </a:cubicBezTo>
                <a:cubicBezTo>
                  <a:pt x="338557" y="46735"/>
                  <a:pt x="336278" y="50185"/>
                  <a:pt x="328060" y="52413"/>
                </a:cubicBezTo>
                <a:cubicBezTo>
                  <a:pt x="318273" y="55068"/>
                  <a:pt x="308277" y="56950"/>
                  <a:pt x="297312" y="59188"/>
                </a:cubicBezTo>
                <a:moveTo>
                  <a:pt x="207688" y="64284"/>
                </a:moveTo>
                <a:cubicBezTo>
                  <a:pt x="248681" y="60632"/>
                  <a:pt x="289317" y="54812"/>
                  <a:pt x="330050" y="45606"/>
                </a:cubicBezTo>
                <a:cubicBezTo>
                  <a:pt x="327603" y="32443"/>
                  <a:pt x="323777" y="21532"/>
                  <a:pt x="317356" y="11297"/>
                </a:cubicBezTo>
                <a:cubicBezTo>
                  <a:pt x="313908" y="5803"/>
                  <a:pt x="310145" y="4465"/>
                  <a:pt x="304170" y="5545"/>
                </a:cubicBezTo>
                <a:cubicBezTo>
                  <a:pt x="294121" y="7361"/>
                  <a:pt x="284007" y="9006"/>
                  <a:pt x="273851" y="10014"/>
                </a:cubicBezTo>
                <a:cubicBezTo>
                  <a:pt x="237233" y="13650"/>
                  <a:pt x="200632" y="17661"/>
                  <a:pt x="163935" y="20274"/>
                </a:cubicBezTo>
                <a:cubicBezTo>
                  <a:pt x="115360" y="23734"/>
                  <a:pt x="66701" y="25937"/>
                  <a:pt x="17973" y="22950"/>
                </a:cubicBezTo>
                <a:cubicBezTo>
                  <a:pt x="14492" y="22737"/>
                  <a:pt x="10959" y="23361"/>
                  <a:pt x="7372" y="23601"/>
                </a:cubicBezTo>
                <a:cubicBezTo>
                  <a:pt x="7372" y="38609"/>
                  <a:pt x="7372" y="52361"/>
                  <a:pt x="7372" y="67898"/>
                </a:cubicBezTo>
                <a:cubicBezTo>
                  <a:pt x="74001" y="69806"/>
                  <a:pt x="139746" y="71025"/>
                  <a:pt x="207688" y="64284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" name="Free-form: Shape 33">
            <a:extLst>
              <a:ext uri="{FF2B5EF4-FFF2-40B4-BE49-F238E27FC236}">
                <a16:creationId xmlns:a16="http://schemas.microsoft.com/office/drawing/2014/main" id="{1F799801-4A3C-9749-30B1-7D198CD7B44E}"/>
              </a:ext>
            </a:extLst>
          </p:cNvPr>
          <p:cNvSpPr/>
          <p:nvPr/>
        </p:nvSpPr>
        <p:spPr>
          <a:xfrm>
            <a:off x="1736277" y="2627337"/>
            <a:ext cx="188426" cy="132688"/>
          </a:xfrm>
          <a:custGeom>
            <a:avLst/>
            <a:gdLst>
              <a:gd name="csX0" fmla="*/ 14160 w 303463"/>
              <a:gd name="csY0" fmla="*/ 7889 h 213695"/>
              <a:gd name="csX1" fmla="*/ 195033 w 303463"/>
              <a:gd name="csY1" fmla="*/ 0 h 213695"/>
              <a:gd name="csX2" fmla="*/ 197208 w 303463"/>
              <a:gd name="csY2" fmla="*/ 5635 h 213695"/>
              <a:gd name="csX3" fmla="*/ 227014 w 303463"/>
              <a:gd name="csY3" fmla="*/ 60660 h 213695"/>
              <a:gd name="csX4" fmla="*/ 265823 w 303463"/>
              <a:gd name="csY4" fmla="*/ 98217 h 213695"/>
              <a:gd name="csX5" fmla="*/ 303210 w 303463"/>
              <a:gd name="csY5" fmla="*/ 180358 h 213695"/>
              <a:gd name="csX6" fmla="*/ 303282 w 303463"/>
              <a:gd name="csY6" fmla="*/ 193964 h 213695"/>
              <a:gd name="csX7" fmla="*/ 4971 w 303463"/>
              <a:gd name="csY7" fmla="*/ 213017 h 213695"/>
              <a:gd name="csX8" fmla="*/ 5093 w 303463"/>
              <a:gd name="csY8" fmla="*/ 173484 h 213695"/>
              <a:gd name="csX9" fmla="*/ 4767 w 303463"/>
              <a:gd name="csY9" fmla="*/ 54607 h 213695"/>
              <a:gd name="csX10" fmla="*/ 0 w 303463"/>
              <a:gd name="csY10" fmla="*/ 7887 h 213695"/>
              <a:gd name="csX11" fmla="*/ 14160 w 303463"/>
              <a:gd name="csY11" fmla="*/ 7889 h 21369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303463" h="213695">
                <a:moveTo>
                  <a:pt x="14160" y="7889"/>
                </a:moveTo>
                <a:cubicBezTo>
                  <a:pt x="75371" y="8627"/>
                  <a:pt x="135292" y="5744"/>
                  <a:pt x="195033" y="0"/>
                </a:cubicBezTo>
                <a:cubicBezTo>
                  <a:pt x="196084" y="2662"/>
                  <a:pt x="196986" y="4099"/>
                  <a:pt x="197208" y="5635"/>
                </a:cubicBezTo>
                <a:cubicBezTo>
                  <a:pt x="200391" y="27650"/>
                  <a:pt x="211307" y="45450"/>
                  <a:pt x="227014" y="60660"/>
                </a:cubicBezTo>
                <a:cubicBezTo>
                  <a:pt x="239947" y="73182"/>
                  <a:pt x="253006" y="85577"/>
                  <a:pt x="265823" y="98217"/>
                </a:cubicBezTo>
                <a:cubicBezTo>
                  <a:pt x="288727" y="120806"/>
                  <a:pt x="299071" y="149215"/>
                  <a:pt x="303210" y="180358"/>
                </a:cubicBezTo>
                <a:cubicBezTo>
                  <a:pt x="303735" y="184317"/>
                  <a:pt x="303282" y="188405"/>
                  <a:pt x="303282" y="193964"/>
                </a:cubicBezTo>
                <a:cubicBezTo>
                  <a:pt x="204065" y="208804"/>
                  <a:pt x="105022" y="216044"/>
                  <a:pt x="4971" y="213017"/>
                </a:cubicBezTo>
                <a:cubicBezTo>
                  <a:pt x="4971" y="199268"/>
                  <a:pt x="4314" y="186332"/>
                  <a:pt x="5093" y="173484"/>
                </a:cubicBezTo>
                <a:cubicBezTo>
                  <a:pt x="7497" y="133835"/>
                  <a:pt x="8211" y="94216"/>
                  <a:pt x="4767" y="54607"/>
                </a:cubicBezTo>
                <a:cubicBezTo>
                  <a:pt x="3464" y="39611"/>
                  <a:pt x="1725" y="24653"/>
                  <a:pt x="0" y="7887"/>
                </a:cubicBezTo>
                <a:cubicBezTo>
                  <a:pt x="4390" y="7887"/>
                  <a:pt x="8696" y="7887"/>
                  <a:pt x="14160" y="7889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" name="Free-form: Shape 34">
            <a:extLst>
              <a:ext uri="{FF2B5EF4-FFF2-40B4-BE49-F238E27FC236}">
                <a16:creationId xmlns:a16="http://schemas.microsoft.com/office/drawing/2014/main" id="{75098F96-8111-0520-BBEF-D07B38577D8F}"/>
              </a:ext>
            </a:extLst>
          </p:cNvPr>
          <p:cNvSpPr/>
          <p:nvPr/>
        </p:nvSpPr>
        <p:spPr>
          <a:xfrm>
            <a:off x="1702515" y="2097581"/>
            <a:ext cx="129814" cy="126299"/>
          </a:xfrm>
          <a:custGeom>
            <a:avLst/>
            <a:gdLst>
              <a:gd name="csX0" fmla="*/ 10475 w 209067"/>
              <a:gd name="csY0" fmla="*/ 41718 h 203406"/>
              <a:gd name="csX1" fmla="*/ 100250 w 209067"/>
              <a:gd name="csY1" fmla="*/ 1265 h 203406"/>
              <a:gd name="csX2" fmla="*/ 206681 w 209067"/>
              <a:gd name="csY2" fmla="*/ 98526 h 203406"/>
              <a:gd name="csX3" fmla="*/ 134647 w 209067"/>
              <a:gd name="csY3" fmla="*/ 202431 h 203406"/>
              <a:gd name="csX4" fmla="*/ 40986 w 209067"/>
              <a:gd name="csY4" fmla="*/ 171438 h 203406"/>
              <a:gd name="csX5" fmla="*/ 143 w 209067"/>
              <a:gd name="csY5" fmla="*/ 85158 h 203406"/>
              <a:gd name="csX6" fmla="*/ 10475 w 209067"/>
              <a:gd name="csY6" fmla="*/ 41718 h 20340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</a:cxnLst>
            <a:rect l="l" t="t" r="r" b="b"/>
            <a:pathLst>
              <a:path w="209067" h="203406">
                <a:moveTo>
                  <a:pt x="10475" y="41718"/>
                </a:moveTo>
                <a:cubicBezTo>
                  <a:pt x="31065" y="6021"/>
                  <a:pt x="63171" y="-3865"/>
                  <a:pt x="100250" y="1265"/>
                </a:cubicBezTo>
                <a:cubicBezTo>
                  <a:pt x="157191" y="9144"/>
                  <a:pt x="196951" y="51394"/>
                  <a:pt x="206681" y="98526"/>
                </a:cubicBezTo>
                <a:cubicBezTo>
                  <a:pt x="219504" y="160635"/>
                  <a:pt x="178523" y="196657"/>
                  <a:pt x="134647" y="202431"/>
                </a:cubicBezTo>
                <a:cubicBezTo>
                  <a:pt x="98365" y="207204"/>
                  <a:pt x="68101" y="194086"/>
                  <a:pt x="40986" y="171438"/>
                </a:cubicBezTo>
                <a:cubicBezTo>
                  <a:pt x="14115" y="148994"/>
                  <a:pt x="2457" y="119007"/>
                  <a:pt x="143" y="85158"/>
                </a:cubicBezTo>
                <a:cubicBezTo>
                  <a:pt x="-869" y="70364"/>
                  <a:pt x="3586" y="56015"/>
                  <a:pt x="10475" y="41718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6" name="Free-form: Shape 35">
            <a:extLst>
              <a:ext uri="{FF2B5EF4-FFF2-40B4-BE49-F238E27FC236}">
                <a16:creationId xmlns:a16="http://schemas.microsoft.com/office/drawing/2014/main" id="{420CE2A2-6C1B-4132-28DC-EFF3C7DE2BDD}"/>
              </a:ext>
            </a:extLst>
          </p:cNvPr>
          <p:cNvSpPr/>
          <p:nvPr/>
        </p:nvSpPr>
        <p:spPr>
          <a:xfrm>
            <a:off x="1738774" y="2310619"/>
            <a:ext cx="97564" cy="25665"/>
          </a:xfrm>
          <a:custGeom>
            <a:avLst/>
            <a:gdLst>
              <a:gd name="csX0" fmla="*/ 69625 w 157129"/>
              <a:gd name="csY0" fmla="*/ 0 h 41334"/>
              <a:gd name="csX1" fmla="*/ 119596 w 157129"/>
              <a:gd name="csY1" fmla="*/ 1945 h 41334"/>
              <a:gd name="csX2" fmla="*/ 150973 w 157129"/>
              <a:gd name="csY2" fmla="*/ 14889 h 41334"/>
              <a:gd name="csX3" fmla="*/ 151351 w 157129"/>
              <a:gd name="csY3" fmla="*/ 34058 h 41334"/>
              <a:gd name="csX4" fmla="*/ 133492 w 157129"/>
              <a:gd name="csY4" fmla="*/ 40697 h 41334"/>
              <a:gd name="csX5" fmla="*/ 106556 w 157129"/>
              <a:gd name="csY5" fmla="*/ 41092 h 41334"/>
              <a:gd name="csX6" fmla="*/ 13373 w 157129"/>
              <a:gd name="csY6" fmla="*/ 40708 h 41334"/>
              <a:gd name="csX7" fmla="*/ 1312 w 157129"/>
              <a:gd name="csY7" fmla="*/ 40191 h 41334"/>
              <a:gd name="csX8" fmla="*/ 3367 w 157129"/>
              <a:gd name="csY8" fmla="*/ 13162 h 41334"/>
              <a:gd name="csX9" fmla="*/ 20752 w 157129"/>
              <a:gd name="csY9" fmla="*/ 1879 h 41334"/>
              <a:gd name="csX10" fmla="*/ 52625 w 157129"/>
              <a:gd name="csY10" fmla="*/ 1332 h 41334"/>
              <a:gd name="csX11" fmla="*/ 69625 w 157129"/>
              <a:gd name="csY11" fmla="*/ 0 h 4133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157129" h="41334">
                <a:moveTo>
                  <a:pt x="69625" y="0"/>
                </a:moveTo>
                <a:cubicBezTo>
                  <a:pt x="87054" y="491"/>
                  <a:pt x="103407" y="373"/>
                  <a:pt x="119596" y="1945"/>
                </a:cubicBezTo>
                <a:cubicBezTo>
                  <a:pt x="131020" y="3055"/>
                  <a:pt x="141713" y="7767"/>
                  <a:pt x="150973" y="14889"/>
                </a:cubicBezTo>
                <a:cubicBezTo>
                  <a:pt x="158820" y="20925"/>
                  <a:pt x="159403" y="28236"/>
                  <a:pt x="151351" y="34058"/>
                </a:cubicBezTo>
                <a:cubicBezTo>
                  <a:pt x="146355" y="37671"/>
                  <a:pt x="139678" y="39910"/>
                  <a:pt x="133492" y="40697"/>
                </a:cubicBezTo>
                <a:cubicBezTo>
                  <a:pt x="124640" y="41824"/>
                  <a:pt x="115547" y="41120"/>
                  <a:pt x="106556" y="41092"/>
                </a:cubicBezTo>
                <a:cubicBezTo>
                  <a:pt x="75495" y="40996"/>
                  <a:pt x="44434" y="40872"/>
                  <a:pt x="13373" y="40708"/>
                </a:cubicBezTo>
                <a:cubicBezTo>
                  <a:pt x="9391" y="40687"/>
                  <a:pt x="5410" y="40374"/>
                  <a:pt x="1312" y="40191"/>
                </a:cubicBezTo>
                <a:cubicBezTo>
                  <a:pt x="-1416" y="30384"/>
                  <a:pt x="523" y="21512"/>
                  <a:pt x="3367" y="13162"/>
                </a:cubicBezTo>
                <a:cubicBezTo>
                  <a:pt x="5963" y="5538"/>
                  <a:pt x="12701" y="2077"/>
                  <a:pt x="20752" y="1879"/>
                </a:cubicBezTo>
                <a:cubicBezTo>
                  <a:pt x="31375" y="1617"/>
                  <a:pt x="42004" y="1647"/>
                  <a:pt x="52625" y="1332"/>
                </a:cubicBezTo>
                <a:cubicBezTo>
                  <a:pt x="57918" y="1176"/>
                  <a:pt x="63195" y="535"/>
                  <a:pt x="69625" y="0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7" name="Free-form: Shape 36">
            <a:extLst>
              <a:ext uri="{FF2B5EF4-FFF2-40B4-BE49-F238E27FC236}">
                <a16:creationId xmlns:a16="http://schemas.microsoft.com/office/drawing/2014/main" id="{DEE820D4-6735-4D14-990D-FB2E3DC13565}"/>
              </a:ext>
            </a:extLst>
          </p:cNvPr>
          <p:cNvSpPr/>
          <p:nvPr/>
        </p:nvSpPr>
        <p:spPr>
          <a:xfrm>
            <a:off x="1735301" y="2361506"/>
            <a:ext cx="102191" cy="241686"/>
          </a:xfrm>
          <a:custGeom>
            <a:avLst/>
            <a:gdLst>
              <a:gd name="csX0" fmla="*/ 91265 w 164579"/>
              <a:gd name="csY0" fmla="*/ 157878 h 389238"/>
              <a:gd name="csX1" fmla="*/ 112882 w 164579"/>
              <a:gd name="csY1" fmla="*/ 252738 h 389238"/>
              <a:gd name="csX2" fmla="*/ 164579 w 164579"/>
              <a:gd name="csY2" fmla="*/ 389238 h 389238"/>
              <a:gd name="csX3" fmla="*/ 0 w 164579"/>
              <a:gd name="csY3" fmla="*/ 389238 h 389238"/>
              <a:gd name="csX4" fmla="*/ 5184 w 164579"/>
              <a:gd name="csY4" fmla="*/ 260105 h 389238"/>
              <a:gd name="csX5" fmla="*/ 7989 w 164579"/>
              <a:gd name="csY5" fmla="*/ 131182 h 389238"/>
              <a:gd name="csX6" fmla="*/ 8093 w 164579"/>
              <a:gd name="csY6" fmla="*/ 2390 h 389238"/>
              <a:gd name="csX7" fmla="*/ 76429 w 164579"/>
              <a:gd name="csY7" fmla="*/ 1531 h 389238"/>
              <a:gd name="csX8" fmla="*/ 91265 w 164579"/>
              <a:gd name="csY8" fmla="*/ 157878 h 38923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</a:cxnLst>
            <a:rect l="l" t="t" r="r" b="b"/>
            <a:pathLst>
              <a:path w="164579" h="389238">
                <a:moveTo>
                  <a:pt x="91265" y="157878"/>
                </a:moveTo>
                <a:cubicBezTo>
                  <a:pt x="98425" y="190232"/>
                  <a:pt x="104539" y="221785"/>
                  <a:pt x="112882" y="252738"/>
                </a:cubicBezTo>
                <a:cubicBezTo>
                  <a:pt x="125498" y="299549"/>
                  <a:pt x="141482" y="345258"/>
                  <a:pt x="164579" y="389238"/>
                </a:cubicBezTo>
                <a:cubicBezTo>
                  <a:pt x="109753" y="389238"/>
                  <a:pt x="55706" y="389238"/>
                  <a:pt x="0" y="389238"/>
                </a:cubicBezTo>
                <a:cubicBezTo>
                  <a:pt x="1781" y="345633"/>
                  <a:pt x="3844" y="302880"/>
                  <a:pt x="5184" y="260105"/>
                </a:cubicBezTo>
                <a:cubicBezTo>
                  <a:pt x="6529" y="217143"/>
                  <a:pt x="7519" y="174162"/>
                  <a:pt x="7989" y="131182"/>
                </a:cubicBezTo>
                <a:cubicBezTo>
                  <a:pt x="8459" y="88239"/>
                  <a:pt x="8093" y="45287"/>
                  <a:pt x="8093" y="2390"/>
                </a:cubicBezTo>
                <a:cubicBezTo>
                  <a:pt x="17041" y="-288"/>
                  <a:pt x="58537" y="-913"/>
                  <a:pt x="76429" y="1531"/>
                </a:cubicBezTo>
                <a:cubicBezTo>
                  <a:pt x="79287" y="53276"/>
                  <a:pt x="82219" y="105359"/>
                  <a:pt x="91265" y="157878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8" name="Free-form: Shape 37">
            <a:extLst>
              <a:ext uri="{FF2B5EF4-FFF2-40B4-BE49-F238E27FC236}">
                <a16:creationId xmlns:a16="http://schemas.microsoft.com/office/drawing/2014/main" id="{10038CF1-63B9-EBBC-FA7C-51C368D82976}"/>
              </a:ext>
            </a:extLst>
          </p:cNvPr>
          <p:cNvSpPr/>
          <p:nvPr/>
        </p:nvSpPr>
        <p:spPr>
          <a:xfrm>
            <a:off x="1737120" y="2777019"/>
            <a:ext cx="200357" cy="39865"/>
          </a:xfrm>
          <a:custGeom>
            <a:avLst/>
            <a:gdLst>
              <a:gd name="csX0" fmla="*/ 199184 w 322677"/>
              <a:gd name="csY0" fmla="*/ 59136 h 64202"/>
              <a:gd name="csX1" fmla="*/ 0 w 322677"/>
              <a:gd name="csY1" fmla="*/ 62697 h 64202"/>
              <a:gd name="csX2" fmla="*/ 0 w 322677"/>
              <a:gd name="csY2" fmla="*/ 18400 h 64202"/>
              <a:gd name="csX3" fmla="*/ 10601 w 322677"/>
              <a:gd name="csY3" fmla="*/ 17750 h 64202"/>
              <a:gd name="csX4" fmla="*/ 156563 w 322677"/>
              <a:gd name="csY4" fmla="*/ 15074 h 64202"/>
              <a:gd name="csX5" fmla="*/ 266479 w 322677"/>
              <a:gd name="csY5" fmla="*/ 4814 h 64202"/>
              <a:gd name="csX6" fmla="*/ 296798 w 322677"/>
              <a:gd name="csY6" fmla="*/ 344 h 64202"/>
              <a:gd name="csX7" fmla="*/ 309983 w 322677"/>
              <a:gd name="csY7" fmla="*/ 6097 h 64202"/>
              <a:gd name="csX8" fmla="*/ 322678 w 322677"/>
              <a:gd name="csY8" fmla="*/ 40406 h 64202"/>
              <a:gd name="csX9" fmla="*/ 199184 w 322677"/>
              <a:gd name="csY9" fmla="*/ 59136 h 6420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322677" h="64202">
                <a:moveTo>
                  <a:pt x="199184" y="59136"/>
                </a:moveTo>
                <a:cubicBezTo>
                  <a:pt x="132374" y="65824"/>
                  <a:pt x="66629" y="64605"/>
                  <a:pt x="0" y="62697"/>
                </a:cubicBezTo>
                <a:cubicBezTo>
                  <a:pt x="0" y="47160"/>
                  <a:pt x="0" y="33409"/>
                  <a:pt x="0" y="18400"/>
                </a:cubicBezTo>
                <a:cubicBezTo>
                  <a:pt x="3587" y="18160"/>
                  <a:pt x="7120" y="17536"/>
                  <a:pt x="10601" y="17750"/>
                </a:cubicBezTo>
                <a:cubicBezTo>
                  <a:pt x="59329" y="20736"/>
                  <a:pt x="107987" y="18533"/>
                  <a:pt x="156563" y="15074"/>
                </a:cubicBezTo>
                <a:cubicBezTo>
                  <a:pt x="193260" y="12461"/>
                  <a:pt x="229860" y="8449"/>
                  <a:pt x="266479" y="4814"/>
                </a:cubicBezTo>
                <a:cubicBezTo>
                  <a:pt x="276635" y="3806"/>
                  <a:pt x="286748" y="2160"/>
                  <a:pt x="296798" y="344"/>
                </a:cubicBezTo>
                <a:cubicBezTo>
                  <a:pt x="302773" y="-735"/>
                  <a:pt x="306536" y="602"/>
                  <a:pt x="309983" y="6097"/>
                </a:cubicBezTo>
                <a:cubicBezTo>
                  <a:pt x="316405" y="16331"/>
                  <a:pt x="320231" y="27243"/>
                  <a:pt x="322678" y="40406"/>
                </a:cubicBezTo>
                <a:cubicBezTo>
                  <a:pt x="281944" y="49611"/>
                  <a:pt x="241309" y="55431"/>
                  <a:pt x="199184" y="59136"/>
                </a:cubicBezTo>
                <a:close/>
              </a:path>
            </a:pathLst>
          </a:custGeom>
          <a:solidFill>
            <a:schemeClr val="bg1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7B3AB456-8C8D-DCFC-401D-4F0F820487F3}"/>
              </a:ext>
            </a:extLst>
          </p:cNvPr>
          <p:cNvSpPr txBox="1"/>
          <p:nvPr/>
        </p:nvSpPr>
        <p:spPr>
          <a:xfrm>
            <a:off x="1329112" y="2831201"/>
            <a:ext cx="863983" cy="3927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-CHOP</a:t>
            </a: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F62D3B46-ADA5-8470-D3FA-FA9369D1EDF6}"/>
              </a:ext>
            </a:extLst>
          </p:cNvPr>
          <p:cNvSpPr/>
          <p:nvPr/>
        </p:nvSpPr>
        <p:spPr>
          <a:xfrm>
            <a:off x="4118834" y="2751699"/>
            <a:ext cx="593138" cy="104135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1" name="Free-form: Shape 40">
            <a:extLst>
              <a:ext uri="{FF2B5EF4-FFF2-40B4-BE49-F238E27FC236}">
                <a16:creationId xmlns:a16="http://schemas.microsoft.com/office/drawing/2014/main" id="{7C6EF7A3-E7F9-D71A-5525-61FE44143C55}"/>
              </a:ext>
            </a:extLst>
          </p:cNvPr>
          <p:cNvSpPr/>
          <p:nvPr/>
        </p:nvSpPr>
        <p:spPr>
          <a:xfrm>
            <a:off x="4217500" y="2071048"/>
            <a:ext cx="433137" cy="770022"/>
          </a:xfrm>
          <a:custGeom>
            <a:avLst/>
            <a:gdLst>
              <a:gd name="csX0" fmla="*/ 581793 w 697572"/>
              <a:gd name="csY0" fmla="*/ 1234401 h 1240128"/>
              <a:gd name="csX1" fmla="*/ 577427 w 697572"/>
              <a:gd name="csY1" fmla="*/ 1234156 h 1240128"/>
              <a:gd name="csX2" fmla="*/ 559133 w 697572"/>
              <a:gd name="csY2" fmla="*/ 1230909 h 1240128"/>
              <a:gd name="csX3" fmla="*/ 516706 w 697572"/>
              <a:gd name="csY3" fmla="*/ 1235117 h 1240128"/>
              <a:gd name="csX4" fmla="*/ 475244 w 697572"/>
              <a:gd name="csY4" fmla="*/ 1237506 h 1240128"/>
              <a:gd name="csX5" fmla="*/ 371154 w 697572"/>
              <a:gd name="csY5" fmla="*/ 1239428 h 1240128"/>
              <a:gd name="csX6" fmla="*/ 276813 w 697572"/>
              <a:gd name="csY6" fmla="*/ 1237654 h 1240128"/>
              <a:gd name="csX7" fmla="*/ 268212 w 697572"/>
              <a:gd name="csY7" fmla="*/ 1237635 h 1240128"/>
              <a:gd name="csX8" fmla="*/ 262072 w 697572"/>
              <a:gd name="csY8" fmla="*/ 1237523 h 1240128"/>
              <a:gd name="csX9" fmla="*/ 195111 w 697572"/>
              <a:gd name="csY9" fmla="*/ 1232775 h 1240128"/>
              <a:gd name="csX10" fmla="*/ 145060 w 697572"/>
              <a:gd name="csY10" fmla="*/ 1230076 h 1240128"/>
              <a:gd name="csX11" fmla="*/ 114933 w 697572"/>
              <a:gd name="csY11" fmla="*/ 1225832 h 1240128"/>
              <a:gd name="csX12" fmla="*/ 72642 w 697572"/>
              <a:gd name="csY12" fmla="*/ 1220237 h 1240128"/>
              <a:gd name="csX13" fmla="*/ 10894 w 697572"/>
              <a:gd name="csY13" fmla="*/ 1205737 h 1240128"/>
              <a:gd name="csX14" fmla="*/ 5856 w 697572"/>
              <a:gd name="csY14" fmla="*/ 1202799 h 1240128"/>
              <a:gd name="csX15" fmla="*/ 40 w 697572"/>
              <a:gd name="csY15" fmla="*/ 1174450 h 1240128"/>
              <a:gd name="csX16" fmla="*/ 19831 w 697572"/>
              <a:gd name="csY16" fmla="*/ 1118410 h 1240128"/>
              <a:gd name="csX17" fmla="*/ 22004 w 697572"/>
              <a:gd name="csY17" fmla="*/ 1107240 h 1240128"/>
              <a:gd name="csX18" fmla="*/ 25947 w 697572"/>
              <a:gd name="csY18" fmla="*/ 1038650 h 1240128"/>
              <a:gd name="csX19" fmla="*/ 58234 w 697572"/>
              <a:gd name="csY19" fmla="*/ 988567 h 1240128"/>
              <a:gd name="csX20" fmla="*/ 118645 w 697572"/>
              <a:gd name="csY20" fmla="*/ 928298 h 1240128"/>
              <a:gd name="csX21" fmla="*/ 126320 w 697572"/>
              <a:gd name="csY21" fmla="*/ 892015 h 1240128"/>
              <a:gd name="csX22" fmla="*/ 120345 w 697572"/>
              <a:gd name="csY22" fmla="*/ 872258 h 1240128"/>
              <a:gd name="csX23" fmla="*/ 125668 w 697572"/>
              <a:gd name="csY23" fmla="*/ 861640 h 1240128"/>
              <a:gd name="csX24" fmla="*/ 154237 w 697572"/>
              <a:gd name="csY24" fmla="*/ 850716 h 1240128"/>
              <a:gd name="csX25" fmla="*/ 170248 w 697572"/>
              <a:gd name="csY25" fmla="*/ 836767 h 1240128"/>
              <a:gd name="csX26" fmla="*/ 187840 w 697572"/>
              <a:gd name="csY26" fmla="*/ 796341 h 1240128"/>
              <a:gd name="csX27" fmla="*/ 209346 w 697572"/>
              <a:gd name="csY27" fmla="*/ 743126 h 1240128"/>
              <a:gd name="csX28" fmla="*/ 210630 w 697572"/>
              <a:gd name="csY28" fmla="*/ 737219 h 1240128"/>
              <a:gd name="csX29" fmla="*/ 213836 w 697572"/>
              <a:gd name="csY29" fmla="*/ 720505 h 1240128"/>
              <a:gd name="csX30" fmla="*/ 227791 w 697572"/>
              <a:gd name="csY30" fmla="*/ 667353 h 1240128"/>
              <a:gd name="csX31" fmla="*/ 241013 w 697572"/>
              <a:gd name="csY31" fmla="*/ 599151 h 1240128"/>
              <a:gd name="csX32" fmla="*/ 247322 w 697572"/>
              <a:gd name="csY32" fmla="*/ 542242 h 1240128"/>
              <a:gd name="csX33" fmla="*/ 247948 w 697572"/>
              <a:gd name="csY33" fmla="*/ 499296 h 1240128"/>
              <a:gd name="csX34" fmla="*/ 247577 w 697572"/>
              <a:gd name="csY34" fmla="*/ 470384 h 1240128"/>
              <a:gd name="csX35" fmla="*/ 238877 w 697572"/>
              <a:gd name="csY35" fmla="*/ 460987 h 1240128"/>
              <a:gd name="csX36" fmla="*/ 222040 w 697572"/>
              <a:gd name="csY36" fmla="*/ 458353 h 1240128"/>
              <a:gd name="csX37" fmla="*/ 172193 w 697572"/>
              <a:gd name="csY37" fmla="*/ 433714 h 1240128"/>
              <a:gd name="csX38" fmla="*/ 168410 w 697572"/>
              <a:gd name="csY38" fmla="*/ 396591 h 1240128"/>
              <a:gd name="csX39" fmla="*/ 209826 w 697572"/>
              <a:gd name="csY39" fmla="*/ 367773 h 1240128"/>
              <a:gd name="csX40" fmla="*/ 250732 w 697572"/>
              <a:gd name="csY40" fmla="*/ 355208 h 1240128"/>
              <a:gd name="csX41" fmla="*/ 258289 w 697572"/>
              <a:gd name="csY41" fmla="*/ 350426 h 1240128"/>
              <a:gd name="csX42" fmla="*/ 233274 w 697572"/>
              <a:gd name="csY42" fmla="*/ 333513 h 1240128"/>
              <a:gd name="csX43" fmla="*/ 229677 w 697572"/>
              <a:gd name="csY43" fmla="*/ 333922 h 1240128"/>
              <a:gd name="csX44" fmla="*/ 230149 w 697572"/>
              <a:gd name="csY44" fmla="*/ 332979 h 1240128"/>
              <a:gd name="csX45" fmla="*/ 227053 w 697572"/>
              <a:gd name="csY45" fmla="*/ 327076 h 1240128"/>
              <a:gd name="csX46" fmla="*/ 196769 w 697572"/>
              <a:gd name="csY46" fmla="*/ 291380 h 1240128"/>
              <a:gd name="csX47" fmla="*/ 184389 w 697572"/>
              <a:gd name="csY47" fmla="*/ 264042 h 1240128"/>
              <a:gd name="csX48" fmla="*/ 180630 w 697572"/>
              <a:gd name="csY48" fmla="*/ 257839 h 1240128"/>
              <a:gd name="csX49" fmla="*/ 176231 w 697572"/>
              <a:gd name="csY49" fmla="*/ 250643 h 1240128"/>
              <a:gd name="csX50" fmla="*/ 170073 w 697572"/>
              <a:gd name="csY50" fmla="*/ 146723 h 1240128"/>
              <a:gd name="csX51" fmla="*/ 180929 w 697572"/>
              <a:gd name="csY51" fmla="*/ 114280 h 1240128"/>
              <a:gd name="csX52" fmla="*/ 180839 w 697572"/>
              <a:gd name="csY52" fmla="*/ 101501 h 1240128"/>
              <a:gd name="csX53" fmla="*/ 233536 w 697572"/>
              <a:gd name="csY53" fmla="*/ 39653 h 1240128"/>
              <a:gd name="csX54" fmla="*/ 347618 w 697572"/>
              <a:gd name="csY54" fmla="*/ 35 h 1240128"/>
              <a:gd name="csX55" fmla="*/ 437139 w 697572"/>
              <a:gd name="csY55" fmla="*/ 22396 h 1240128"/>
              <a:gd name="csX56" fmla="*/ 529052 w 697572"/>
              <a:gd name="csY56" fmla="*/ 131093 h 1240128"/>
              <a:gd name="csX57" fmla="*/ 518497 w 697572"/>
              <a:gd name="csY57" fmla="*/ 271517 h 1240128"/>
              <a:gd name="csX58" fmla="*/ 500808 w 697572"/>
              <a:gd name="csY58" fmla="*/ 287385 h 1240128"/>
              <a:gd name="csX59" fmla="*/ 472948 w 697572"/>
              <a:gd name="csY59" fmla="*/ 323290 h 1240128"/>
              <a:gd name="csX60" fmla="*/ 469385 w 697572"/>
              <a:gd name="csY60" fmla="*/ 331565 h 1240128"/>
              <a:gd name="csX61" fmla="*/ 468293 w 697572"/>
              <a:gd name="csY61" fmla="*/ 331320 h 1240128"/>
              <a:gd name="csX62" fmla="*/ 459542 w 697572"/>
              <a:gd name="csY62" fmla="*/ 338942 h 1240128"/>
              <a:gd name="csX63" fmla="*/ 458492 w 697572"/>
              <a:gd name="csY63" fmla="*/ 338671 h 1240128"/>
              <a:gd name="csX64" fmla="*/ 436978 w 697572"/>
              <a:gd name="csY64" fmla="*/ 352226 h 1240128"/>
              <a:gd name="csX65" fmla="*/ 472329 w 697572"/>
              <a:gd name="csY65" fmla="*/ 362890 h 1240128"/>
              <a:gd name="csX66" fmla="*/ 523779 w 697572"/>
              <a:gd name="csY66" fmla="*/ 391962 h 1240128"/>
              <a:gd name="csX67" fmla="*/ 527344 w 697572"/>
              <a:gd name="csY67" fmla="*/ 430096 h 1240128"/>
              <a:gd name="csX68" fmla="*/ 504112 w 697572"/>
              <a:gd name="csY68" fmla="*/ 449628 h 1240128"/>
              <a:gd name="csX69" fmla="*/ 459430 w 697572"/>
              <a:gd name="csY69" fmla="*/ 461116 h 1240128"/>
              <a:gd name="csX70" fmla="*/ 446666 w 697572"/>
              <a:gd name="csY70" fmla="*/ 474229 h 1240128"/>
              <a:gd name="csX71" fmla="*/ 449133 w 697572"/>
              <a:gd name="csY71" fmla="*/ 531639 h 1240128"/>
              <a:gd name="csX72" fmla="*/ 454546 w 697572"/>
              <a:gd name="csY72" fmla="*/ 588688 h 1240128"/>
              <a:gd name="csX73" fmla="*/ 466126 w 697572"/>
              <a:gd name="csY73" fmla="*/ 649736 h 1240128"/>
              <a:gd name="csX74" fmla="*/ 512154 w 697572"/>
              <a:gd name="csY74" fmla="*/ 794006 h 1240128"/>
              <a:gd name="csX75" fmla="*/ 525763 w 697572"/>
              <a:gd name="csY75" fmla="*/ 834323 h 1240128"/>
              <a:gd name="csX76" fmla="*/ 530555 w 697572"/>
              <a:gd name="csY76" fmla="*/ 845114 h 1240128"/>
              <a:gd name="csX77" fmla="*/ 554424 w 697572"/>
              <a:gd name="csY77" fmla="*/ 856618 h 1240128"/>
              <a:gd name="csX78" fmla="*/ 572880 w 697572"/>
              <a:gd name="csY78" fmla="*/ 862546 h 1240128"/>
              <a:gd name="csX79" fmla="*/ 578643 w 697572"/>
              <a:gd name="csY79" fmla="*/ 880396 h 1240128"/>
              <a:gd name="csX80" fmla="*/ 572188 w 697572"/>
              <a:gd name="csY80" fmla="*/ 899820 h 1240128"/>
              <a:gd name="csX81" fmla="*/ 582698 w 697572"/>
              <a:gd name="csY81" fmla="*/ 930382 h 1240128"/>
              <a:gd name="csX82" fmla="*/ 604747 w 697572"/>
              <a:gd name="csY82" fmla="*/ 960852 h 1240128"/>
              <a:gd name="csX83" fmla="*/ 613863 w 697572"/>
              <a:gd name="csY83" fmla="*/ 968311 h 1240128"/>
              <a:gd name="csX84" fmla="*/ 629435 w 697572"/>
              <a:gd name="csY84" fmla="*/ 981186 h 1240128"/>
              <a:gd name="csX85" fmla="*/ 633611 w 697572"/>
              <a:gd name="csY85" fmla="*/ 985609 h 1240128"/>
              <a:gd name="csX86" fmla="*/ 673790 w 697572"/>
              <a:gd name="csY86" fmla="*/ 1049348 h 1240128"/>
              <a:gd name="csX87" fmla="*/ 675873 w 697572"/>
              <a:gd name="csY87" fmla="*/ 1092839 h 1240128"/>
              <a:gd name="csX88" fmla="*/ 681668 w 697572"/>
              <a:gd name="csY88" fmla="*/ 1129292 h 1240128"/>
              <a:gd name="csX89" fmla="*/ 697338 w 697572"/>
              <a:gd name="csY89" fmla="*/ 1196079 h 1240128"/>
              <a:gd name="csX90" fmla="*/ 690637 w 697572"/>
              <a:gd name="csY90" fmla="*/ 1205035 h 1240128"/>
              <a:gd name="csX91" fmla="*/ 639777 w 697572"/>
              <a:gd name="csY91" fmla="*/ 1217994 h 1240128"/>
              <a:gd name="csX92" fmla="*/ 587072 w 697572"/>
              <a:gd name="csY92" fmla="*/ 1227761 h 1240128"/>
              <a:gd name="csX93" fmla="*/ 581793 w 697572"/>
              <a:gd name="csY93" fmla="*/ 1234401 h 1240128"/>
              <a:gd name="csX94" fmla="*/ 357446 w 697572"/>
              <a:gd name="csY94" fmla="*/ 903795 h 1240128"/>
              <a:gd name="csX95" fmla="*/ 344445 w 697572"/>
              <a:gd name="csY95" fmla="*/ 903795 h 1240128"/>
              <a:gd name="csX96" fmla="*/ 349212 w 697572"/>
              <a:gd name="csY96" fmla="*/ 950515 h 1240128"/>
              <a:gd name="csX97" fmla="*/ 349538 w 697572"/>
              <a:gd name="csY97" fmla="*/ 1069392 h 1240128"/>
              <a:gd name="csX98" fmla="*/ 349415 w 697572"/>
              <a:gd name="csY98" fmla="*/ 1108925 h 1240128"/>
              <a:gd name="csX99" fmla="*/ 647726 w 697572"/>
              <a:gd name="csY99" fmla="*/ 1089872 h 1240128"/>
              <a:gd name="csX100" fmla="*/ 647654 w 697572"/>
              <a:gd name="csY100" fmla="*/ 1076267 h 1240128"/>
              <a:gd name="csX101" fmla="*/ 610267 w 697572"/>
              <a:gd name="csY101" fmla="*/ 994126 h 1240128"/>
              <a:gd name="csX102" fmla="*/ 571459 w 697572"/>
              <a:gd name="csY102" fmla="*/ 956568 h 1240128"/>
              <a:gd name="csX103" fmla="*/ 541653 w 697572"/>
              <a:gd name="csY103" fmla="*/ 901544 h 1240128"/>
              <a:gd name="csX104" fmla="*/ 539477 w 697572"/>
              <a:gd name="csY104" fmla="*/ 895908 h 1240128"/>
              <a:gd name="csX105" fmla="*/ 357446 w 697572"/>
              <a:gd name="csY105" fmla="*/ 903795 h 1240128"/>
              <a:gd name="csX106" fmla="*/ 300108 w 697572"/>
              <a:gd name="csY106" fmla="*/ 85260 h 1240128"/>
              <a:gd name="csX107" fmla="*/ 290213 w 697572"/>
              <a:gd name="csY107" fmla="*/ 127888 h 1240128"/>
              <a:gd name="csX108" fmla="*/ 331056 w 697572"/>
              <a:gd name="csY108" fmla="*/ 214168 h 1240128"/>
              <a:gd name="csX109" fmla="*/ 424717 w 697572"/>
              <a:gd name="csY109" fmla="*/ 245160 h 1240128"/>
              <a:gd name="csX110" fmla="*/ 496752 w 697572"/>
              <a:gd name="csY110" fmla="*/ 141256 h 1240128"/>
              <a:gd name="csX111" fmla="*/ 390320 w 697572"/>
              <a:gd name="csY111" fmla="*/ 43995 h 1240128"/>
              <a:gd name="csX112" fmla="*/ 300108 w 697572"/>
              <a:gd name="csY112" fmla="*/ 85260 h 1240128"/>
              <a:gd name="csX113" fmla="*/ 343360 w 697572"/>
              <a:gd name="csY113" fmla="*/ 634332 h 1240128"/>
              <a:gd name="csX114" fmla="*/ 340877 w 697572"/>
              <a:gd name="csY114" fmla="*/ 732259 h 1240128"/>
              <a:gd name="csX115" fmla="*/ 338360 w 697572"/>
              <a:gd name="csY115" fmla="*/ 810538 h 1240128"/>
              <a:gd name="csX116" fmla="*/ 337115 w 697572"/>
              <a:gd name="csY116" fmla="*/ 817736 h 1240128"/>
              <a:gd name="csX117" fmla="*/ 336516 w 697572"/>
              <a:gd name="csY117" fmla="*/ 863022 h 1240128"/>
              <a:gd name="csX118" fmla="*/ 343436 w 697572"/>
              <a:gd name="csY118" fmla="*/ 864027 h 1240128"/>
              <a:gd name="csX119" fmla="*/ 406718 w 697572"/>
              <a:gd name="csY119" fmla="*/ 862982 h 1240128"/>
              <a:gd name="csX120" fmla="*/ 456888 w 697572"/>
              <a:gd name="csY120" fmla="*/ 861794 h 1240128"/>
              <a:gd name="csX121" fmla="*/ 495873 w 697572"/>
              <a:gd name="csY121" fmla="*/ 863963 h 1240128"/>
              <a:gd name="csX122" fmla="*/ 509286 w 697572"/>
              <a:gd name="csY122" fmla="*/ 863595 h 1240128"/>
              <a:gd name="csX123" fmla="*/ 516956 w 697572"/>
              <a:gd name="csY123" fmla="*/ 856791 h 1240128"/>
              <a:gd name="csX124" fmla="*/ 513920 w 697572"/>
              <a:gd name="csY124" fmla="*/ 848709 h 1240128"/>
              <a:gd name="csX125" fmla="*/ 506683 w 697572"/>
              <a:gd name="csY125" fmla="*/ 839054 h 1240128"/>
              <a:gd name="csX126" fmla="*/ 488629 w 697572"/>
              <a:gd name="csY126" fmla="*/ 799037 h 1240128"/>
              <a:gd name="csX127" fmla="*/ 456922 w 697572"/>
              <a:gd name="csY127" fmla="*/ 696297 h 1240128"/>
              <a:gd name="csX128" fmla="*/ 441346 w 697572"/>
              <a:gd name="csY128" fmla="*/ 619885 h 1240128"/>
              <a:gd name="csX129" fmla="*/ 435963 w 697572"/>
              <a:gd name="csY129" fmla="*/ 582529 h 1240128"/>
              <a:gd name="csX130" fmla="*/ 429497 w 697572"/>
              <a:gd name="csY130" fmla="*/ 521990 h 1240128"/>
              <a:gd name="csX131" fmla="*/ 426887 w 697572"/>
              <a:gd name="csY131" fmla="*/ 471989 h 1240128"/>
              <a:gd name="csX132" fmla="*/ 413744 w 697572"/>
              <a:gd name="csY132" fmla="*/ 461077 h 1240128"/>
              <a:gd name="csX133" fmla="*/ 353573 w 697572"/>
              <a:gd name="csY133" fmla="*/ 461120 h 1240128"/>
              <a:gd name="csX134" fmla="*/ 344160 w 697572"/>
              <a:gd name="csY134" fmla="*/ 462286 h 1240128"/>
              <a:gd name="csX135" fmla="*/ 343404 w 697572"/>
              <a:gd name="csY135" fmla="*/ 469192 h 1240128"/>
              <a:gd name="csX136" fmla="*/ 343469 w 697572"/>
              <a:gd name="csY136" fmla="*/ 574797 h 1240128"/>
              <a:gd name="csX137" fmla="*/ 345522 w 697572"/>
              <a:gd name="csY137" fmla="*/ 591669 h 1240128"/>
              <a:gd name="csX138" fmla="*/ 343360 w 697572"/>
              <a:gd name="csY138" fmla="*/ 634332 h 1240128"/>
              <a:gd name="csX139" fmla="*/ 416946 w 697572"/>
              <a:gd name="csY139" fmla="*/ 385943 h 1240128"/>
              <a:gd name="csX140" fmla="*/ 401091 w 697572"/>
              <a:gd name="csY140" fmla="*/ 387162 h 1240128"/>
              <a:gd name="csX141" fmla="*/ 369218 w 697572"/>
              <a:gd name="csY141" fmla="*/ 387708 h 1240128"/>
              <a:gd name="csX142" fmla="*/ 351833 w 697572"/>
              <a:gd name="csY142" fmla="*/ 398991 h 1240128"/>
              <a:gd name="csX143" fmla="*/ 349778 w 697572"/>
              <a:gd name="csY143" fmla="*/ 426021 h 1240128"/>
              <a:gd name="csX144" fmla="*/ 361839 w 697572"/>
              <a:gd name="csY144" fmla="*/ 426538 h 1240128"/>
              <a:gd name="csX145" fmla="*/ 455022 w 697572"/>
              <a:gd name="csY145" fmla="*/ 426922 h 1240128"/>
              <a:gd name="csX146" fmla="*/ 481958 w 697572"/>
              <a:gd name="csY146" fmla="*/ 426527 h 1240128"/>
              <a:gd name="csX147" fmla="*/ 499817 w 697572"/>
              <a:gd name="csY147" fmla="*/ 419888 h 1240128"/>
              <a:gd name="csX148" fmla="*/ 499439 w 697572"/>
              <a:gd name="csY148" fmla="*/ 400719 h 1240128"/>
              <a:gd name="csX149" fmla="*/ 468062 w 697572"/>
              <a:gd name="csY149" fmla="*/ 387775 h 1240128"/>
              <a:gd name="csX150" fmla="*/ 416946 w 697572"/>
              <a:gd name="csY150" fmla="*/ 385943 h 1240128"/>
              <a:gd name="csX151" fmla="*/ 636802 w 697572"/>
              <a:gd name="csY151" fmla="*/ 1190940 h 1240128"/>
              <a:gd name="csX152" fmla="*/ 666492 w 697572"/>
              <a:gd name="csY152" fmla="*/ 1184186 h 1240128"/>
              <a:gd name="csX153" fmla="*/ 674465 w 697572"/>
              <a:gd name="csY153" fmla="*/ 1170880 h 1240128"/>
              <a:gd name="csX154" fmla="*/ 662462 w 697572"/>
              <a:gd name="csY154" fmla="*/ 1141464 h 1240128"/>
              <a:gd name="csX155" fmla="*/ 645564 w 697572"/>
              <a:gd name="csY155" fmla="*/ 1131937 h 1240128"/>
              <a:gd name="csX156" fmla="*/ 627387 w 697572"/>
              <a:gd name="csY156" fmla="*/ 1133618 h 1240128"/>
              <a:gd name="csX157" fmla="*/ 583917 w 697572"/>
              <a:gd name="csY157" fmla="*/ 1139222 h 1240128"/>
              <a:gd name="csX158" fmla="*/ 543741 w 697572"/>
              <a:gd name="csY158" fmla="*/ 1141869 h 1240128"/>
              <a:gd name="csX159" fmla="*/ 512146 w 697572"/>
              <a:gd name="csY159" fmla="*/ 1144418 h 1240128"/>
              <a:gd name="csX160" fmla="*/ 447711 w 697572"/>
              <a:gd name="csY160" fmla="*/ 1148973 h 1240128"/>
              <a:gd name="csX161" fmla="*/ 351979 w 697572"/>
              <a:gd name="csY161" fmla="*/ 1149200 h 1240128"/>
              <a:gd name="csX162" fmla="*/ 338443 w 697572"/>
              <a:gd name="csY162" fmla="*/ 1150040 h 1240128"/>
              <a:gd name="csX163" fmla="*/ 338451 w 697572"/>
              <a:gd name="csY163" fmla="*/ 1190780 h 1240128"/>
              <a:gd name="csX164" fmla="*/ 351082 w 697572"/>
              <a:gd name="csY164" fmla="*/ 1207015 h 1240128"/>
              <a:gd name="csX165" fmla="*/ 358298 w 697572"/>
              <a:gd name="csY165" fmla="*/ 1208094 h 1240128"/>
              <a:gd name="csX166" fmla="*/ 521229 w 697572"/>
              <a:gd name="csY166" fmla="*/ 1205646 h 1240128"/>
              <a:gd name="csX167" fmla="*/ 523675 w 697572"/>
              <a:gd name="csY167" fmla="*/ 1205490 h 1240128"/>
              <a:gd name="csX168" fmla="*/ 580423 w 697572"/>
              <a:gd name="csY168" fmla="*/ 1198350 h 1240128"/>
              <a:gd name="csX169" fmla="*/ 636802 w 697572"/>
              <a:gd name="csY169" fmla="*/ 1190940 h 124012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</a:cxnLst>
            <a:rect l="l" t="t" r="r" b="b"/>
            <a:pathLst>
              <a:path w="697572" h="1240128">
                <a:moveTo>
                  <a:pt x="581793" y="1234401"/>
                </a:moveTo>
                <a:cubicBezTo>
                  <a:pt x="580693" y="1234661"/>
                  <a:pt x="579594" y="1234922"/>
                  <a:pt x="577427" y="1234156"/>
                </a:cubicBezTo>
                <a:cubicBezTo>
                  <a:pt x="571216" y="1227899"/>
                  <a:pt x="564912" y="1230441"/>
                  <a:pt x="559133" y="1230909"/>
                </a:cubicBezTo>
                <a:cubicBezTo>
                  <a:pt x="544971" y="1232056"/>
                  <a:pt x="530869" y="1233971"/>
                  <a:pt x="516706" y="1235117"/>
                </a:cubicBezTo>
                <a:cubicBezTo>
                  <a:pt x="502910" y="1236232"/>
                  <a:pt x="489077" y="1237097"/>
                  <a:pt x="475244" y="1237506"/>
                </a:cubicBezTo>
                <a:cubicBezTo>
                  <a:pt x="440539" y="1238535"/>
                  <a:pt x="405696" y="1241458"/>
                  <a:pt x="371154" y="1239428"/>
                </a:cubicBezTo>
                <a:cubicBezTo>
                  <a:pt x="339645" y="1237575"/>
                  <a:pt x="308239" y="1238753"/>
                  <a:pt x="276813" y="1237654"/>
                </a:cubicBezTo>
                <a:cubicBezTo>
                  <a:pt x="273949" y="1237553"/>
                  <a:pt x="271079" y="1237652"/>
                  <a:pt x="268212" y="1237635"/>
                </a:cubicBezTo>
                <a:cubicBezTo>
                  <a:pt x="266165" y="1237623"/>
                  <a:pt x="264111" y="1237668"/>
                  <a:pt x="262072" y="1237523"/>
                </a:cubicBezTo>
                <a:cubicBezTo>
                  <a:pt x="239751" y="1235944"/>
                  <a:pt x="217441" y="1234201"/>
                  <a:pt x="195111" y="1232775"/>
                </a:cubicBezTo>
                <a:cubicBezTo>
                  <a:pt x="178437" y="1231710"/>
                  <a:pt x="161712" y="1231378"/>
                  <a:pt x="145060" y="1230076"/>
                </a:cubicBezTo>
                <a:cubicBezTo>
                  <a:pt x="134969" y="1229287"/>
                  <a:pt x="124987" y="1227177"/>
                  <a:pt x="114933" y="1225832"/>
                </a:cubicBezTo>
                <a:cubicBezTo>
                  <a:pt x="100834" y="1223946"/>
                  <a:pt x="86554" y="1223022"/>
                  <a:pt x="72642" y="1220237"/>
                </a:cubicBezTo>
                <a:cubicBezTo>
                  <a:pt x="51920" y="1216091"/>
                  <a:pt x="31443" y="1210723"/>
                  <a:pt x="10894" y="1205737"/>
                </a:cubicBezTo>
                <a:cubicBezTo>
                  <a:pt x="9027" y="1205284"/>
                  <a:pt x="6196" y="1204140"/>
                  <a:pt x="5856" y="1202799"/>
                </a:cubicBezTo>
                <a:cubicBezTo>
                  <a:pt x="3474" y="1193418"/>
                  <a:pt x="-438" y="1183796"/>
                  <a:pt x="40" y="1174450"/>
                </a:cubicBezTo>
                <a:cubicBezTo>
                  <a:pt x="1079" y="1154149"/>
                  <a:pt x="9757" y="1135843"/>
                  <a:pt x="19831" y="1118410"/>
                </a:cubicBezTo>
                <a:cubicBezTo>
                  <a:pt x="21968" y="1114713"/>
                  <a:pt x="22970" y="1111858"/>
                  <a:pt x="22004" y="1107240"/>
                </a:cubicBezTo>
                <a:cubicBezTo>
                  <a:pt x="17168" y="1084118"/>
                  <a:pt x="17717" y="1061168"/>
                  <a:pt x="25947" y="1038650"/>
                </a:cubicBezTo>
                <a:cubicBezTo>
                  <a:pt x="32954" y="1019481"/>
                  <a:pt x="44478" y="1003118"/>
                  <a:pt x="58234" y="988567"/>
                </a:cubicBezTo>
                <a:cubicBezTo>
                  <a:pt x="77769" y="967902"/>
                  <a:pt x="97978" y="947832"/>
                  <a:pt x="118645" y="928298"/>
                </a:cubicBezTo>
                <a:cubicBezTo>
                  <a:pt x="130104" y="917467"/>
                  <a:pt x="131835" y="905961"/>
                  <a:pt x="126320" y="892015"/>
                </a:cubicBezTo>
                <a:cubicBezTo>
                  <a:pt x="123798" y="885637"/>
                  <a:pt x="122123" y="878904"/>
                  <a:pt x="120345" y="872258"/>
                </a:cubicBezTo>
                <a:cubicBezTo>
                  <a:pt x="119029" y="867341"/>
                  <a:pt x="120162" y="863613"/>
                  <a:pt x="125668" y="861640"/>
                </a:cubicBezTo>
                <a:cubicBezTo>
                  <a:pt x="135266" y="858201"/>
                  <a:pt x="144535" y="853788"/>
                  <a:pt x="154237" y="850716"/>
                </a:cubicBezTo>
                <a:cubicBezTo>
                  <a:pt x="161882" y="848296"/>
                  <a:pt x="167110" y="843897"/>
                  <a:pt x="170248" y="836767"/>
                </a:cubicBezTo>
                <a:cubicBezTo>
                  <a:pt x="176168" y="823316"/>
                  <a:pt x="182193" y="809907"/>
                  <a:pt x="187840" y="796341"/>
                </a:cubicBezTo>
                <a:cubicBezTo>
                  <a:pt x="195194" y="778679"/>
                  <a:pt x="202250" y="760894"/>
                  <a:pt x="209346" y="743126"/>
                </a:cubicBezTo>
                <a:cubicBezTo>
                  <a:pt x="210083" y="741280"/>
                  <a:pt x="210252" y="739200"/>
                  <a:pt x="210630" y="737219"/>
                </a:cubicBezTo>
                <a:cubicBezTo>
                  <a:pt x="211694" y="731645"/>
                  <a:pt x="212425" y="725987"/>
                  <a:pt x="213836" y="720505"/>
                </a:cubicBezTo>
                <a:cubicBezTo>
                  <a:pt x="218406" y="702764"/>
                  <a:pt x="223811" y="685219"/>
                  <a:pt x="227791" y="667353"/>
                </a:cubicBezTo>
                <a:cubicBezTo>
                  <a:pt x="232826" y="644755"/>
                  <a:pt x="237367" y="622009"/>
                  <a:pt x="241013" y="599151"/>
                </a:cubicBezTo>
                <a:cubicBezTo>
                  <a:pt x="244018" y="580319"/>
                  <a:pt x="246001" y="561272"/>
                  <a:pt x="247322" y="542242"/>
                </a:cubicBezTo>
                <a:cubicBezTo>
                  <a:pt x="248312" y="527975"/>
                  <a:pt x="246344" y="513451"/>
                  <a:pt x="247948" y="499296"/>
                </a:cubicBezTo>
                <a:cubicBezTo>
                  <a:pt x="249066" y="489432"/>
                  <a:pt x="247923" y="480014"/>
                  <a:pt x="247577" y="470384"/>
                </a:cubicBezTo>
                <a:cubicBezTo>
                  <a:pt x="247364" y="464453"/>
                  <a:pt x="245121" y="461397"/>
                  <a:pt x="238877" y="460987"/>
                </a:cubicBezTo>
                <a:cubicBezTo>
                  <a:pt x="233224" y="460615"/>
                  <a:pt x="227461" y="459920"/>
                  <a:pt x="222040" y="458353"/>
                </a:cubicBezTo>
                <a:cubicBezTo>
                  <a:pt x="203991" y="453134"/>
                  <a:pt x="185737" y="448229"/>
                  <a:pt x="172193" y="433714"/>
                </a:cubicBezTo>
                <a:cubicBezTo>
                  <a:pt x="162702" y="423544"/>
                  <a:pt x="160887" y="408134"/>
                  <a:pt x="168410" y="396591"/>
                </a:cubicBezTo>
                <a:cubicBezTo>
                  <a:pt x="178294" y="381428"/>
                  <a:pt x="193736" y="373793"/>
                  <a:pt x="209826" y="367773"/>
                </a:cubicBezTo>
                <a:cubicBezTo>
                  <a:pt x="223159" y="362784"/>
                  <a:pt x="237124" y="359493"/>
                  <a:pt x="250732" y="355208"/>
                </a:cubicBezTo>
                <a:cubicBezTo>
                  <a:pt x="253085" y="354467"/>
                  <a:pt x="255058" y="352518"/>
                  <a:pt x="258289" y="350426"/>
                </a:cubicBezTo>
                <a:cubicBezTo>
                  <a:pt x="250173" y="342610"/>
                  <a:pt x="241833" y="337880"/>
                  <a:pt x="233274" y="333513"/>
                </a:cubicBezTo>
                <a:cubicBezTo>
                  <a:pt x="232377" y="333055"/>
                  <a:pt x="230890" y="333758"/>
                  <a:pt x="229677" y="333922"/>
                </a:cubicBezTo>
                <a:cubicBezTo>
                  <a:pt x="229677" y="333922"/>
                  <a:pt x="230323" y="333834"/>
                  <a:pt x="230149" y="332979"/>
                </a:cubicBezTo>
                <a:cubicBezTo>
                  <a:pt x="229023" y="330409"/>
                  <a:pt x="228502" y="328059"/>
                  <a:pt x="227053" y="327076"/>
                </a:cubicBezTo>
                <a:cubicBezTo>
                  <a:pt x="213615" y="317962"/>
                  <a:pt x="204643" y="305332"/>
                  <a:pt x="196769" y="291380"/>
                </a:cubicBezTo>
                <a:cubicBezTo>
                  <a:pt x="191792" y="282564"/>
                  <a:pt x="185421" y="274665"/>
                  <a:pt x="184389" y="264042"/>
                </a:cubicBezTo>
                <a:cubicBezTo>
                  <a:pt x="184179" y="261874"/>
                  <a:pt x="181925" y="259908"/>
                  <a:pt x="180630" y="257839"/>
                </a:cubicBezTo>
                <a:cubicBezTo>
                  <a:pt x="179137" y="255454"/>
                  <a:pt x="177317" y="253204"/>
                  <a:pt x="176231" y="250643"/>
                </a:cubicBezTo>
                <a:cubicBezTo>
                  <a:pt x="161865" y="216749"/>
                  <a:pt x="159606" y="182060"/>
                  <a:pt x="170073" y="146723"/>
                </a:cubicBezTo>
                <a:cubicBezTo>
                  <a:pt x="173311" y="135795"/>
                  <a:pt x="177248" y="125074"/>
                  <a:pt x="180929" y="114280"/>
                </a:cubicBezTo>
                <a:cubicBezTo>
                  <a:pt x="182396" y="109981"/>
                  <a:pt x="183922" y="105742"/>
                  <a:pt x="180839" y="101501"/>
                </a:cubicBezTo>
                <a:cubicBezTo>
                  <a:pt x="192473" y="75833"/>
                  <a:pt x="211344" y="56271"/>
                  <a:pt x="233536" y="39653"/>
                </a:cubicBezTo>
                <a:cubicBezTo>
                  <a:pt x="267321" y="14353"/>
                  <a:pt x="305621" y="873"/>
                  <a:pt x="347618" y="35"/>
                </a:cubicBezTo>
                <a:cubicBezTo>
                  <a:pt x="379125" y="-593"/>
                  <a:pt x="409214" y="7172"/>
                  <a:pt x="437139" y="22396"/>
                </a:cubicBezTo>
                <a:cubicBezTo>
                  <a:pt x="481844" y="46766"/>
                  <a:pt x="514077" y="82116"/>
                  <a:pt x="529052" y="131093"/>
                </a:cubicBezTo>
                <a:cubicBezTo>
                  <a:pt x="543544" y="178495"/>
                  <a:pt x="541630" y="225548"/>
                  <a:pt x="518497" y="271517"/>
                </a:cubicBezTo>
                <a:cubicBezTo>
                  <a:pt x="511428" y="277096"/>
                  <a:pt x="503848" y="281136"/>
                  <a:pt x="500808" y="287385"/>
                </a:cubicBezTo>
                <a:cubicBezTo>
                  <a:pt x="493932" y="301522"/>
                  <a:pt x="483805" y="312513"/>
                  <a:pt x="472948" y="323290"/>
                </a:cubicBezTo>
                <a:cubicBezTo>
                  <a:pt x="470972" y="325253"/>
                  <a:pt x="470533" y="328767"/>
                  <a:pt x="469385" y="331565"/>
                </a:cubicBezTo>
                <a:cubicBezTo>
                  <a:pt x="469385" y="331565"/>
                  <a:pt x="469172" y="331584"/>
                  <a:pt x="468293" y="331320"/>
                </a:cubicBezTo>
                <a:cubicBezTo>
                  <a:pt x="461937" y="330836"/>
                  <a:pt x="458618" y="332772"/>
                  <a:pt x="459542" y="338942"/>
                </a:cubicBezTo>
                <a:cubicBezTo>
                  <a:pt x="459542" y="338942"/>
                  <a:pt x="459473" y="338913"/>
                  <a:pt x="458492" y="338671"/>
                </a:cubicBezTo>
                <a:cubicBezTo>
                  <a:pt x="450936" y="342653"/>
                  <a:pt x="440712" y="341355"/>
                  <a:pt x="436978" y="352226"/>
                </a:cubicBezTo>
                <a:cubicBezTo>
                  <a:pt x="449178" y="355911"/>
                  <a:pt x="460733" y="359469"/>
                  <a:pt x="472329" y="362890"/>
                </a:cubicBezTo>
                <a:cubicBezTo>
                  <a:pt x="491728" y="368613"/>
                  <a:pt x="510182" y="375784"/>
                  <a:pt x="523779" y="391962"/>
                </a:cubicBezTo>
                <a:cubicBezTo>
                  <a:pt x="535849" y="406326"/>
                  <a:pt x="534845" y="420076"/>
                  <a:pt x="527344" y="430096"/>
                </a:cubicBezTo>
                <a:cubicBezTo>
                  <a:pt x="521323" y="438139"/>
                  <a:pt x="513928" y="445333"/>
                  <a:pt x="504112" y="449628"/>
                </a:cubicBezTo>
                <a:cubicBezTo>
                  <a:pt x="489776" y="455901"/>
                  <a:pt x="475173" y="460486"/>
                  <a:pt x="459430" y="461116"/>
                </a:cubicBezTo>
                <a:cubicBezTo>
                  <a:pt x="448415" y="461557"/>
                  <a:pt x="446384" y="463369"/>
                  <a:pt x="446666" y="474229"/>
                </a:cubicBezTo>
                <a:cubicBezTo>
                  <a:pt x="447164" y="493376"/>
                  <a:pt x="447839" y="512533"/>
                  <a:pt x="449133" y="531639"/>
                </a:cubicBezTo>
                <a:cubicBezTo>
                  <a:pt x="450424" y="550696"/>
                  <a:pt x="451783" y="569809"/>
                  <a:pt x="454546" y="588688"/>
                </a:cubicBezTo>
                <a:cubicBezTo>
                  <a:pt x="457543" y="609164"/>
                  <a:pt x="462165" y="629403"/>
                  <a:pt x="466126" y="649736"/>
                </a:cubicBezTo>
                <a:cubicBezTo>
                  <a:pt x="475845" y="699621"/>
                  <a:pt x="493414" y="746980"/>
                  <a:pt x="512154" y="794006"/>
                </a:cubicBezTo>
                <a:cubicBezTo>
                  <a:pt x="517387" y="807138"/>
                  <a:pt x="525145" y="819463"/>
                  <a:pt x="525763" y="834323"/>
                </a:cubicBezTo>
                <a:cubicBezTo>
                  <a:pt x="525919" y="838081"/>
                  <a:pt x="527739" y="843335"/>
                  <a:pt x="530555" y="845114"/>
                </a:cubicBezTo>
                <a:cubicBezTo>
                  <a:pt x="537981" y="849801"/>
                  <a:pt x="546243" y="853278"/>
                  <a:pt x="554424" y="856618"/>
                </a:cubicBezTo>
                <a:cubicBezTo>
                  <a:pt x="560391" y="859054"/>
                  <a:pt x="567041" y="859887"/>
                  <a:pt x="572880" y="862546"/>
                </a:cubicBezTo>
                <a:cubicBezTo>
                  <a:pt x="581470" y="866458"/>
                  <a:pt x="582467" y="871415"/>
                  <a:pt x="578643" y="880396"/>
                </a:cubicBezTo>
                <a:cubicBezTo>
                  <a:pt x="575969" y="886677"/>
                  <a:pt x="572900" y="893182"/>
                  <a:pt x="572188" y="899820"/>
                </a:cubicBezTo>
                <a:cubicBezTo>
                  <a:pt x="570960" y="911271"/>
                  <a:pt x="576506" y="920944"/>
                  <a:pt x="582698" y="930382"/>
                </a:cubicBezTo>
                <a:cubicBezTo>
                  <a:pt x="589569" y="940856"/>
                  <a:pt x="600933" y="947930"/>
                  <a:pt x="604747" y="960852"/>
                </a:cubicBezTo>
                <a:cubicBezTo>
                  <a:pt x="605684" y="964030"/>
                  <a:pt x="610294" y="967128"/>
                  <a:pt x="613863" y="968311"/>
                </a:cubicBezTo>
                <a:cubicBezTo>
                  <a:pt x="620963" y="970665"/>
                  <a:pt x="625924" y="974774"/>
                  <a:pt x="629435" y="981186"/>
                </a:cubicBezTo>
                <a:cubicBezTo>
                  <a:pt x="630381" y="982913"/>
                  <a:pt x="631977" y="984459"/>
                  <a:pt x="633611" y="985609"/>
                </a:cubicBezTo>
                <a:cubicBezTo>
                  <a:pt x="655878" y="1001272"/>
                  <a:pt x="668032" y="1023762"/>
                  <a:pt x="673790" y="1049348"/>
                </a:cubicBezTo>
                <a:cubicBezTo>
                  <a:pt x="676936" y="1063327"/>
                  <a:pt x="679769" y="1077802"/>
                  <a:pt x="675873" y="1092839"/>
                </a:cubicBezTo>
                <a:cubicBezTo>
                  <a:pt x="672677" y="1105174"/>
                  <a:pt x="673042" y="1116963"/>
                  <a:pt x="681668" y="1129292"/>
                </a:cubicBezTo>
                <a:cubicBezTo>
                  <a:pt x="695321" y="1148802"/>
                  <a:pt x="698550" y="1172235"/>
                  <a:pt x="697338" y="1196079"/>
                </a:cubicBezTo>
                <a:cubicBezTo>
                  <a:pt x="697087" y="1201014"/>
                  <a:pt x="694979" y="1203886"/>
                  <a:pt x="690637" y="1205035"/>
                </a:cubicBezTo>
                <a:cubicBezTo>
                  <a:pt x="673723" y="1209511"/>
                  <a:pt x="656856" y="1214241"/>
                  <a:pt x="639777" y="1217994"/>
                </a:cubicBezTo>
                <a:cubicBezTo>
                  <a:pt x="622334" y="1221827"/>
                  <a:pt x="604691" y="1224790"/>
                  <a:pt x="587072" y="1227761"/>
                </a:cubicBezTo>
                <a:cubicBezTo>
                  <a:pt x="582708" y="1228497"/>
                  <a:pt x="581724" y="1230736"/>
                  <a:pt x="581793" y="1234401"/>
                </a:cubicBezTo>
                <a:moveTo>
                  <a:pt x="357446" y="903795"/>
                </a:moveTo>
                <a:cubicBezTo>
                  <a:pt x="353141" y="903795"/>
                  <a:pt x="348835" y="903795"/>
                  <a:pt x="344445" y="903795"/>
                </a:cubicBezTo>
                <a:cubicBezTo>
                  <a:pt x="346169" y="920562"/>
                  <a:pt x="347908" y="935520"/>
                  <a:pt x="349212" y="950515"/>
                </a:cubicBezTo>
                <a:cubicBezTo>
                  <a:pt x="352656" y="990125"/>
                  <a:pt x="351941" y="1029743"/>
                  <a:pt x="349538" y="1069392"/>
                </a:cubicBezTo>
                <a:cubicBezTo>
                  <a:pt x="348759" y="1082241"/>
                  <a:pt x="349415" y="1095176"/>
                  <a:pt x="349415" y="1108925"/>
                </a:cubicBezTo>
                <a:cubicBezTo>
                  <a:pt x="449467" y="1111953"/>
                  <a:pt x="548509" y="1104712"/>
                  <a:pt x="647726" y="1089872"/>
                </a:cubicBezTo>
                <a:cubicBezTo>
                  <a:pt x="647726" y="1084313"/>
                  <a:pt x="648180" y="1080225"/>
                  <a:pt x="647654" y="1076267"/>
                </a:cubicBezTo>
                <a:cubicBezTo>
                  <a:pt x="643515" y="1045124"/>
                  <a:pt x="633172" y="1016714"/>
                  <a:pt x="610267" y="994126"/>
                </a:cubicBezTo>
                <a:cubicBezTo>
                  <a:pt x="597451" y="981485"/>
                  <a:pt x="584392" y="969090"/>
                  <a:pt x="571459" y="956568"/>
                </a:cubicBezTo>
                <a:cubicBezTo>
                  <a:pt x="555751" y="941359"/>
                  <a:pt x="544836" y="923558"/>
                  <a:pt x="541653" y="901544"/>
                </a:cubicBezTo>
                <a:cubicBezTo>
                  <a:pt x="541430" y="900007"/>
                  <a:pt x="540528" y="898570"/>
                  <a:pt x="539477" y="895908"/>
                </a:cubicBezTo>
                <a:cubicBezTo>
                  <a:pt x="479736" y="901652"/>
                  <a:pt x="419815" y="904536"/>
                  <a:pt x="357446" y="903795"/>
                </a:cubicBezTo>
                <a:moveTo>
                  <a:pt x="300108" y="85260"/>
                </a:moveTo>
                <a:cubicBezTo>
                  <a:pt x="293656" y="98745"/>
                  <a:pt x="289202" y="113094"/>
                  <a:pt x="290213" y="127888"/>
                </a:cubicBezTo>
                <a:cubicBezTo>
                  <a:pt x="292527" y="161736"/>
                  <a:pt x="304185" y="191723"/>
                  <a:pt x="331056" y="214168"/>
                </a:cubicBezTo>
                <a:cubicBezTo>
                  <a:pt x="358172" y="236816"/>
                  <a:pt x="388435" y="249934"/>
                  <a:pt x="424717" y="245160"/>
                </a:cubicBezTo>
                <a:cubicBezTo>
                  <a:pt x="468593" y="239387"/>
                  <a:pt x="509574" y="203365"/>
                  <a:pt x="496752" y="141256"/>
                </a:cubicBezTo>
                <a:cubicBezTo>
                  <a:pt x="487021" y="94124"/>
                  <a:pt x="447261" y="51874"/>
                  <a:pt x="390320" y="43995"/>
                </a:cubicBezTo>
                <a:cubicBezTo>
                  <a:pt x="353241" y="38865"/>
                  <a:pt x="321136" y="48750"/>
                  <a:pt x="300108" y="85260"/>
                </a:cubicBezTo>
                <a:moveTo>
                  <a:pt x="343360" y="634332"/>
                </a:moveTo>
                <a:cubicBezTo>
                  <a:pt x="342539" y="666975"/>
                  <a:pt x="341785" y="699619"/>
                  <a:pt x="340877" y="732259"/>
                </a:cubicBezTo>
                <a:cubicBezTo>
                  <a:pt x="340151" y="758355"/>
                  <a:pt x="339265" y="784447"/>
                  <a:pt x="338360" y="810538"/>
                </a:cubicBezTo>
                <a:cubicBezTo>
                  <a:pt x="338277" y="812948"/>
                  <a:pt x="337465" y="815325"/>
                  <a:pt x="337115" y="817736"/>
                </a:cubicBezTo>
                <a:cubicBezTo>
                  <a:pt x="334935" y="832710"/>
                  <a:pt x="336026" y="847647"/>
                  <a:pt x="336516" y="863022"/>
                </a:cubicBezTo>
                <a:cubicBezTo>
                  <a:pt x="339537" y="863479"/>
                  <a:pt x="341490" y="864053"/>
                  <a:pt x="343436" y="864027"/>
                </a:cubicBezTo>
                <a:cubicBezTo>
                  <a:pt x="364531" y="863739"/>
                  <a:pt x="385626" y="863422"/>
                  <a:pt x="406718" y="862982"/>
                </a:cubicBezTo>
                <a:cubicBezTo>
                  <a:pt x="423444" y="862634"/>
                  <a:pt x="440168" y="861675"/>
                  <a:pt x="456888" y="861794"/>
                </a:cubicBezTo>
                <a:cubicBezTo>
                  <a:pt x="469887" y="861886"/>
                  <a:pt x="482872" y="863302"/>
                  <a:pt x="495873" y="863963"/>
                </a:cubicBezTo>
                <a:cubicBezTo>
                  <a:pt x="500358" y="864191"/>
                  <a:pt x="505108" y="864773"/>
                  <a:pt x="509286" y="863595"/>
                </a:cubicBezTo>
                <a:cubicBezTo>
                  <a:pt x="512346" y="862732"/>
                  <a:pt x="515714" y="859703"/>
                  <a:pt x="516956" y="856791"/>
                </a:cubicBezTo>
                <a:cubicBezTo>
                  <a:pt x="517783" y="854851"/>
                  <a:pt x="515475" y="851192"/>
                  <a:pt x="513920" y="848709"/>
                </a:cubicBezTo>
                <a:cubicBezTo>
                  <a:pt x="511791" y="845308"/>
                  <a:pt x="508393" y="842606"/>
                  <a:pt x="506683" y="839054"/>
                </a:cubicBezTo>
                <a:cubicBezTo>
                  <a:pt x="500331" y="825864"/>
                  <a:pt x="493224" y="812855"/>
                  <a:pt x="488629" y="799037"/>
                </a:cubicBezTo>
                <a:cubicBezTo>
                  <a:pt x="477322" y="765031"/>
                  <a:pt x="466537" y="730814"/>
                  <a:pt x="456922" y="696297"/>
                </a:cubicBezTo>
                <a:cubicBezTo>
                  <a:pt x="449953" y="671276"/>
                  <a:pt x="443477" y="646020"/>
                  <a:pt x="441346" y="619885"/>
                </a:cubicBezTo>
                <a:cubicBezTo>
                  <a:pt x="440327" y="607371"/>
                  <a:pt x="437466" y="595018"/>
                  <a:pt x="435963" y="582529"/>
                </a:cubicBezTo>
                <a:cubicBezTo>
                  <a:pt x="433539" y="562380"/>
                  <a:pt x="431154" y="542212"/>
                  <a:pt x="429497" y="521990"/>
                </a:cubicBezTo>
                <a:cubicBezTo>
                  <a:pt x="428135" y="505363"/>
                  <a:pt x="428437" y="488593"/>
                  <a:pt x="426887" y="471989"/>
                </a:cubicBezTo>
                <a:cubicBezTo>
                  <a:pt x="425874" y="461140"/>
                  <a:pt x="424983" y="461120"/>
                  <a:pt x="413744" y="461077"/>
                </a:cubicBezTo>
                <a:cubicBezTo>
                  <a:pt x="393687" y="461000"/>
                  <a:pt x="373630" y="461011"/>
                  <a:pt x="353573" y="461120"/>
                </a:cubicBezTo>
                <a:cubicBezTo>
                  <a:pt x="350472" y="461137"/>
                  <a:pt x="347374" y="461869"/>
                  <a:pt x="344160" y="462286"/>
                </a:cubicBezTo>
                <a:cubicBezTo>
                  <a:pt x="343828" y="465198"/>
                  <a:pt x="343406" y="467195"/>
                  <a:pt x="343404" y="469192"/>
                </a:cubicBezTo>
                <a:cubicBezTo>
                  <a:pt x="343360" y="504394"/>
                  <a:pt x="343267" y="539596"/>
                  <a:pt x="343469" y="574797"/>
                </a:cubicBezTo>
                <a:cubicBezTo>
                  <a:pt x="343501" y="580426"/>
                  <a:pt x="345652" y="586065"/>
                  <a:pt x="345522" y="591669"/>
                </a:cubicBezTo>
                <a:cubicBezTo>
                  <a:pt x="345214" y="605082"/>
                  <a:pt x="344131" y="618478"/>
                  <a:pt x="343360" y="634332"/>
                </a:cubicBezTo>
                <a:moveTo>
                  <a:pt x="416946" y="385943"/>
                </a:moveTo>
                <a:cubicBezTo>
                  <a:pt x="411661" y="386365"/>
                  <a:pt x="406384" y="387006"/>
                  <a:pt x="401091" y="387162"/>
                </a:cubicBezTo>
                <a:cubicBezTo>
                  <a:pt x="390470" y="387477"/>
                  <a:pt x="379841" y="387447"/>
                  <a:pt x="369218" y="387708"/>
                </a:cubicBezTo>
                <a:cubicBezTo>
                  <a:pt x="361167" y="387906"/>
                  <a:pt x="354429" y="391368"/>
                  <a:pt x="351833" y="398991"/>
                </a:cubicBezTo>
                <a:cubicBezTo>
                  <a:pt x="348989" y="407342"/>
                  <a:pt x="347050" y="416214"/>
                  <a:pt x="349778" y="426021"/>
                </a:cubicBezTo>
                <a:cubicBezTo>
                  <a:pt x="353876" y="426204"/>
                  <a:pt x="357857" y="426517"/>
                  <a:pt x="361839" y="426538"/>
                </a:cubicBezTo>
                <a:cubicBezTo>
                  <a:pt x="392900" y="426701"/>
                  <a:pt x="423961" y="426826"/>
                  <a:pt x="455022" y="426922"/>
                </a:cubicBezTo>
                <a:cubicBezTo>
                  <a:pt x="464013" y="426950"/>
                  <a:pt x="473106" y="427654"/>
                  <a:pt x="481958" y="426527"/>
                </a:cubicBezTo>
                <a:cubicBezTo>
                  <a:pt x="488144" y="425740"/>
                  <a:pt x="494821" y="423501"/>
                  <a:pt x="499817" y="419888"/>
                </a:cubicBezTo>
                <a:cubicBezTo>
                  <a:pt x="507869" y="414066"/>
                  <a:pt x="507286" y="406755"/>
                  <a:pt x="499439" y="400719"/>
                </a:cubicBezTo>
                <a:cubicBezTo>
                  <a:pt x="490179" y="393597"/>
                  <a:pt x="479486" y="388885"/>
                  <a:pt x="468062" y="387775"/>
                </a:cubicBezTo>
                <a:cubicBezTo>
                  <a:pt x="451873" y="386202"/>
                  <a:pt x="435520" y="386321"/>
                  <a:pt x="416946" y="385943"/>
                </a:cubicBezTo>
                <a:moveTo>
                  <a:pt x="636802" y="1190940"/>
                </a:moveTo>
                <a:cubicBezTo>
                  <a:pt x="646709" y="1188723"/>
                  <a:pt x="656705" y="1186841"/>
                  <a:pt x="666492" y="1184186"/>
                </a:cubicBezTo>
                <a:cubicBezTo>
                  <a:pt x="674710" y="1181958"/>
                  <a:pt x="676989" y="1178509"/>
                  <a:pt x="674465" y="1170880"/>
                </a:cubicBezTo>
                <a:cubicBezTo>
                  <a:pt x="671144" y="1160843"/>
                  <a:pt x="667026" y="1151009"/>
                  <a:pt x="662462" y="1141464"/>
                </a:cubicBezTo>
                <a:cubicBezTo>
                  <a:pt x="659273" y="1134795"/>
                  <a:pt x="653671" y="1130908"/>
                  <a:pt x="645564" y="1131937"/>
                </a:cubicBezTo>
                <a:cubicBezTo>
                  <a:pt x="639532" y="1132703"/>
                  <a:pt x="633423" y="1132867"/>
                  <a:pt x="627387" y="1133618"/>
                </a:cubicBezTo>
                <a:cubicBezTo>
                  <a:pt x="612888" y="1135421"/>
                  <a:pt x="598449" y="1137770"/>
                  <a:pt x="583917" y="1139222"/>
                </a:cubicBezTo>
                <a:cubicBezTo>
                  <a:pt x="570571" y="1140557"/>
                  <a:pt x="557130" y="1140930"/>
                  <a:pt x="543741" y="1141869"/>
                </a:cubicBezTo>
                <a:cubicBezTo>
                  <a:pt x="533202" y="1142610"/>
                  <a:pt x="522682" y="1143623"/>
                  <a:pt x="512146" y="1144418"/>
                </a:cubicBezTo>
                <a:cubicBezTo>
                  <a:pt x="490671" y="1146038"/>
                  <a:pt x="469214" y="1148450"/>
                  <a:pt x="447711" y="1148973"/>
                </a:cubicBezTo>
                <a:cubicBezTo>
                  <a:pt x="415817" y="1149749"/>
                  <a:pt x="383891" y="1149136"/>
                  <a:pt x="351979" y="1149200"/>
                </a:cubicBezTo>
                <a:cubicBezTo>
                  <a:pt x="347698" y="1149209"/>
                  <a:pt x="343419" y="1149717"/>
                  <a:pt x="338443" y="1150040"/>
                </a:cubicBezTo>
                <a:cubicBezTo>
                  <a:pt x="338443" y="1164651"/>
                  <a:pt x="338413" y="1177715"/>
                  <a:pt x="338451" y="1190780"/>
                </a:cubicBezTo>
                <a:cubicBezTo>
                  <a:pt x="338490" y="1204031"/>
                  <a:pt x="338512" y="1204062"/>
                  <a:pt x="351082" y="1207015"/>
                </a:cubicBezTo>
                <a:cubicBezTo>
                  <a:pt x="353445" y="1207570"/>
                  <a:pt x="355895" y="1208128"/>
                  <a:pt x="358298" y="1208094"/>
                </a:cubicBezTo>
                <a:cubicBezTo>
                  <a:pt x="412608" y="1207329"/>
                  <a:pt x="466919" y="1206484"/>
                  <a:pt x="521229" y="1205646"/>
                </a:cubicBezTo>
                <a:cubicBezTo>
                  <a:pt x="522045" y="1205634"/>
                  <a:pt x="522865" y="1205591"/>
                  <a:pt x="523675" y="1205490"/>
                </a:cubicBezTo>
                <a:cubicBezTo>
                  <a:pt x="542593" y="1203123"/>
                  <a:pt x="561519" y="1200820"/>
                  <a:pt x="580423" y="1198350"/>
                </a:cubicBezTo>
                <a:cubicBezTo>
                  <a:pt x="598523" y="1195985"/>
                  <a:pt x="616599" y="1193446"/>
                  <a:pt x="636802" y="1190940"/>
                </a:cubicBez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2" name="Free-form: Shape 41">
            <a:extLst>
              <a:ext uri="{FF2B5EF4-FFF2-40B4-BE49-F238E27FC236}">
                <a16:creationId xmlns:a16="http://schemas.microsoft.com/office/drawing/2014/main" id="{6E78E69C-0CAC-9991-6C27-340F4E38D8A3}"/>
              </a:ext>
            </a:extLst>
          </p:cNvPr>
          <p:cNvSpPr/>
          <p:nvPr/>
        </p:nvSpPr>
        <p:spPr>
          <a:xfrm>
            <a:off x="4469408" y="2842486"/>
            <a:ext cx="17183" cy="1817"/>
          </a:xfrm>
          <a:custGeom>
            <a:avLst/>
            <a:gdLst>
              <a:gd name="csX0" fmla="*/ 0 w 27674"/>
              <a:gd name="csY0" fmla="*/ 2915 h 2925"/>
              <a:gd name="csX1" fmla="*/ 27675 w 27674"/>
              <a:gd name="csY1" fmla="*/ 1550 h 2925"/>
              <a:gd name="csX2" fmla="*/ 0 w 27674"/>
              <a:gd name="csY2" fmla="*/ 2915 h 292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27674" h="2925">
                <a:moveTo>
                  <a:pt x="0" y="2915"/>
                </a:moveTo>
                <a:cubicBezTo>
                  <a:pt x="8211" y="-1939"/>
                  <a:pt x="17625" y="498"/>
                  <a:pt x="27675" y="1550"/>
                </a:cubicBezTo>
                <a:cubicBezTo>
                  <a:pt x="19225" y="2593"/>
                  <a:pt x="10029" y="2999"/>
                  <a:pt x="0" y="2915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3" name="Free-form: Shape 42">
            <a:extLst>
              <a:ext uri="{FF2B5EF4-FFF2-40B4-BE49-F238E27FC236}">
                <a16:creationId xmlns:a16="http://schemas.microsoft.com/office/drawing/2014/main" id="{E3475A8F-FEC7-A40B-A66F-9705C1F12A13}"/>
              </a:ext>
            </a:extLst>
          </p:cNvPr>
          <p:cNvSpPr/>
          <p:nvPr/>
        </p:nvSpPr>
        <p:spPr>
          <a:xfrm>
            <a:off x="4422104" y="2843510"/>
            <a:ext cx="11179" cy="700"/>
          </a:xfrm>
          <a:custGeom>
            <a:avLst/>
            <a:gdLst>
              <a:gd name="csX0" fmla="*/ 0 w 18003"/>
              <a:gd name="csY0" fmla="*/ 1050 h 1128"/>
              <a:gd name="csX1" fmla="*/ 18004 w 18003"/>
              <a:gd name="csY1" fmla="*/ 93 h 1128"/>
              <a:gd name="csX2" fmla="*/ 0 w 18003"/>
              <a:gd name="csY2" fmla="*/ 1050 h 112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8003" h="1128">
                <a:moveTo>
                  <a:pt x="0" y="1050"/>
                </a:moveTo>
                <a:cubicBezTo>
                  <a:pt x="5276" y="182"/>
                  <a:pt x="11306" y="-189"/>
                  <a:pt x="18004" y="93"/>
                </a:cubicBezTo>
                <a:cubicBezTo>
                  <a:pt x="12699" y="1013"/>
                  <a:pt x="6726" y="1280"/>
                  <a:pt x="0" y="1050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4" name="Free-form: Shape 43">
            <a:extLst>
              <a:ext uri="{FF2B5EF4-FFF2-40B4-BE49-F238E27FC236}">
                <a16:creationId xmlns:a16="http://schemas.microsoft.com/office/drawing/2014/main" id="{7A94F066-5899-C8EA-6772-33CF29EF343F}"/>
              </a:ext>
            </a:extLst>
          </p:cNvPr>
          <p:cNvSpPr/>
          <p:nvPr/>
        </p:nvSpPr>
        <p:spPr>
          <a:xfrm>
            <a:off x="4503071" y="2276710"/>
            <a:ext cx="5257" cy="4867"/>
          </a:xfrm>
          <a:custGeom>
            <a:avLst/>
            <a:gdLst>
              <a:gd name="csX0" fmla="*/ 473 w 8466"/>
              <a:gd name="csY0" fmla="*/ 7839 h 7838"/>
              <a:gd name="csX1" fmla="*/ 8466 w 8466"/>
              <a:gd name="csY1" fmla="*/ 61 h 7838"/>
              <a:gd name="csX2" fmla="*/ 473 w 8466"/>
              <a:gd name="csY2" fmla="*/ 7839 h 783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66" h="7838">
                <a:moveTo>
                  <a:pt x="473" y="7839"/>
                </a:moveTo>
                <a:cubicBezTo>
                  <a:pt x="-1298" y="1550"/>
                  <a:pt x="2020" y="-386"/>
                  <a:pt x="8466" y="61"/>
                </a:cubicBezTo>
                <a:cubicBezTo>
                  <a:pt x="6730" y="2845"/>
                  <a:pt x="4026" y="5401"/>
                  <a:pt x="473" y="7839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5" name="Free-form: Shape 44">
            <a:extLst>
              <a:ext uri="{FF2B5EF4-FFF2-40B4-BE49-F238E27FC236}">
                <a16:creationId xmlns:a16="http://schemas.microsoft.com/office/drawing/2014/main" id="{B344202A-008D-F6EA-C1EA-7892C8A948DE}"/>
              </a:ext>
            </a:extLst>
          </p:cNvPr>
          <p:cNvSpPr/>
          <p:nvPr/>
        </p:nvSpPr>
        <p:spPr>
          <a:xfrm>
            <a:off x="4367075" y="2841996"/>
            <a:ext cx="5265" cy="618"/>
          </a:xfrm>
          <a:custGeom>
            <a:avLst/>
            <a:gdLst>
              <a:gd name="csX0" fmla="*/ 0 w 8480"/>
              <a:gd name="csY0" fmla="*/ 896 h 996"/>
              <a:gd name="csX1" fmla="*/ 8480 w 8480"/>
              <a:gd name="csY1" fmla="*/ 110 h 996"/>
              <a:gd name="csX2" fmla="*/ 0 w 8480"/>
              <a:gd name="csY2" fmla="*/ 896 h 99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80" h="996">
                <a:moveTo>
                  <a:pt x="0" y="896"/>
                </a:moveTo>
                <a:cubicBezTo>
                  <a:pt x="2285" y="115"/>
                  <a:pt x="5130" y="-182"/>
                  <a:pt x="8480" y="110"/>
                </a:cubicBezTo>
                <a:cubicBezTo>
                  <a:pt x="6177" y="927"/>
                  <a:pt x="3368" y="1153"/>
                  <a:pt x="0" y="896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6" name="Free-form: Shape 45">
            <a:extLst>
              <a:ext uri="{FF2B5EF4-FFF2-40B4-BE49-F238E27FC236}">
                <a16:creationId xmlns:a16="http://schemas.microsoft.com/office/drawing/2014/main" id="{D2E605FD-06C9-776A-FB2D-D7FE50B7A620}"/>
              </a:ext>
            </a:extLst>
          </p:cNvPr>
          <p:cNvSpPr/>
          <p:nvPr/>
        </p:nvSpPr>
        <p:spPr>
          <a:xfrm>
            <a:off x="4653836" y="2815467"/>
            <a:ext cx="763" cy="4134"/>
          </a:xfrm>
          <a:custGeom>
            <a:avLst/>
            <a:gdLst>
              <a:gd name="csX0" fmla="*/ 132 w 1229"/>
              <a:gd name="csY0" fmla="*/ 6659 h 6658"/>
              <a:gd name="csX1" fmla="*/ 1107 w 1229"/>
              <a:gd name="csY1" fmla="*/ 0 h 6658"/>
              <a:gd name="csX2" fmla="*/ 132 w 1229"/>
              <a:gd name="csY2" fmla="*/ 6659 h 665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229" h="6658">
                <a:moveTo>
                  <a:pt x="132" y="6659"/>
                </a:moveTo>
                <a:cubicBezTo>
                  <a:pt x="-219" y="4616"/>
                  <a:pt x="139" y="2560"/>
                  <a:pt x="1107" y="0"/>
                </a:cubicBezTo>
                <a:cubicBezTo>
                  <a:pt x="1425" y="1879"/>
                  <a:pt x="1133" y="4263"/>
                  <a:pt x="132" y="6659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7" name="Free-form: Shape 46">
            <a:extLst>
              <a:ext uri="{FF2B5EF4-FFF2-40B4-BE49-F238E27FC236}">
                <a16:creationId xmlns:a16="http://schemas.microsoft.com/office/drawing/2014/main" id="{9BE24E06-B5B9-14BE-37C6-D22E2759B784}"/>
              </a:ext>
            </a:extLst>
          </p:cNvPr>
          <p:cNvSpPr/>
          <p:nvPr/>
        </p:nvSpPr>
        <p:spPr>
          <a:xfrm>
            <a:off x="4586640" y="2835744"/>
            <a:ext cx="2352" cy="847"/>
          </a:xfrm>
          <a:custGeom>
            <a:avLst/>
            <a:gdLst>
              <a:gd name="csX0" fmla="*/ 0 w 3788"/>
              <a:gd name="csY0" fmla="*/ 1364 h 1364"/>
              <a:gd name="csX1" fmla="*/ 3788 w 3788"/>
              <a:gd name="csY1" fmla="*/ 0 h 1364"/>
              <a:gd name="csX2" fmla="*/ 0 w 3788"/>
              <a:gd name="csY2" fmla="*/ 1364 h 136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788" h="1364">
                <a:moveTo>
                  <a:pt x="0" y="1364"/>
                </a:moveTo>
                <a:cubicBezTo>
                  <a:pt x="856" y="517"/>
                  <a:pt x="2126" y="39"/>
                  <a:pt x="3788" y="0"/>
                </a:cubicBezTo>
                <a:cubicBezTo>
                  <a:pt x="2925" y="870"/>
                  <a:pt x="1670" y="1303"/>
                  <a:pt x="0" y="1364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8" name="Free-form: Shape 47">
            <a:extLst>
              <a:ext uri="{FF2B5EF4-FFF2-40B4-BE49-F238E27FC236}">
                <a16:creationId xmlns:a16="http://schemas.microsoft.com/office/drawing/2014/main" id="{9CE26DC5-FC5E-824F-0A98-A5F4D90F0289}"/>
              </a:ext>
            </a:extLst>
          </p:cNvPr>
          <p:cNvSpPr/>
          <p:nvPr/>
        </p:nvSpPr>
        <p:spPr>
          <a:xfrm>
            <a:off x="4315057" y="2839018"/>
            <a:ext cx="2478" cy="515"/>
          </a:xfrm>
          <a:custGeom>
            <a:avLst/>
            <a:gdLst>
              <a:gd name="csX0" fmla="*/ 0 w 3990"/>
              <a:gd name="csY0" fmla="*/ 719 h 829"/>
              <a:gd name="csX1" fmla="*/ 3990 w 3990"/>
              <a:gd name="csY1" fmla="*/ 119 h 829"/>
              <a:gd name="csX2" fmla="*/ 0 w 3990"/>
              <a:gd name="csY2" fmla="*/ 719 h 82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990" h="829">
                <a:moveTo>
                  <a:pt x="0" y="719"/>
                </a:moveTo>
                <a:cubicBezTo>
                  <a:pt x="982" y="66"/>
                  <a:pt x="2323" y="-163"/>
                  <a:pt x="3990" y="119"/>
                </a:cubicBezTo>
                <a:cubicBezTo>
                  <a:pt x="2998" y="800"/>
                  <a:pt x="1678" y="972"/>
                  <a:pt x="0" y="719"/>
                </a:cubicBezTo>
                <a:close/>
              </a:path>
            </a:pathLst>
          </a:custGeom>
          <a:solidFill>
            <a:srgbClr val="959DA0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9" name="Free-form: Shape 48">
            <a:extLst>
              <a:ext uri="{FF2B5EF4-FFF2-40B4-BE49-F238E27FC236}">
                <a16:creationId xmlns:a16="http://schemas.microsoft.com/office/drawing/2014/main" id="{0DBA594B-6581-9F9E-BB91-01C35EE650E1}"/>
              </a:ext>
            </a:extLst>
          </p:cNvPr>
          <p:cNvSpPr/>
          <p:nvPr/>
        </p:nvSpPr>
        <p:spPr>
          <a:xfrm>
            <a:off x="4525605" y="2841974"/>
            <a:ext cx="2417" cy="705"/>
          </a:xfrm>
          <a:custGeom>
            <a:avLst/>
            <a:gdLst>
              <a:gd name="csX0" fmla="*/ 0 w 3893"/>
              <a:gd name="csY0" fmla="*/ 1133 h 1135"/>
              <a:gd name="csX1" fmla="*/ 3893 w 3893"/>
              <a:gd name="csY1" fmla="*/ 7 h 1135"/>
              <a:gd name="csX2" fmla="*/ 0 w 3893"/>
              <a:gd name="csY2" fmla="*/ 1133 h 113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893" h="1135">
                <a:moveTo>
                  <a:pt x="0" y="1133"/>
                </a:moveTo>
                <a:cubicBezTo>
                  <a:pt x="902" y="349"/>
                  <a:pt x="2213" y="-60"/>
                  <a:pt x="3893" y="7"/>
                </a:cubicBezTo>
                <a:cubicBezTo>
                  <a:pt x="2978" y="825"/>
                  <a:pt x="1693" y="1167"/>
                  <a:pt x="0" y="1133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0" name="Free-form: Shape 49">
            <a:extLst>
              <a:ext uri="{FF2B5EF4-FFF2-40B4-BE49-F238E27FC236}">
                <a16:creationId xmlns:a16="http://schemas.microsoft.com/office/drawing/2014/main" id="{80D0D635-817F-B6AD-F3E3-889F48AA6437}"/>
              </a:ext>
            </a:extLst>
          </p:cNvPr>
          <p:cNvSpPr/>
          <p:nvPr/>
        </p:nvSpPr>
        <p:spPr>
          <a:xfrm>
            <a:off x="4426009" y="2357310"/>
            <a:ext cx="112588" cy="250407"/>
          </a:xfrm>
          <a:custGeom>
            <a:avLst/>
            <a:gdLst>
              <a:gd name="csX0" fmla="*/ 7554 w 181323"/>
              <a:gd name="csY0" fmla="*/ 172079 h 403282"/>
              <a:gd name="csX1" fmla="*/ 9716 w 181323"/>
              <a:gd name="csY1" fmla="*/ 130641 h 403282"/>
              <a:gd name="csX2" fmla="*/ 7663 w 181323"/>
              <a:gd name="csY2" fmla="*/ 113770 h 403282"/>
              <a:gd name="csX3" fmla="*/ 7598 w 181323"/>
              <a:gd name="csY3" fmla="*/ 8165 h 403282"/>
              <a:gd name="csX4" fmla="*/ 8353 w 181323"/>
              <a:gd name="csY4" fmla="*/ 1259 h 403282"/>
              <a:gd name="csX5" fmla="*/ 17767 w 181323"/>
              <a:gd name="csY5" fmla="*/ 93 h 403282"/>
              <a:gd name="csX6" fmla="*/ 77938 w 181323"/>
              <a:gd name="csY6" fmla="*/ 50 h 403282"/>
              <a:gd name="csX7" fmla="*/ 91081 w 181323"/>
              <a:gd name="csY7" fmla="*/ 10962 h 403282"/>
              <a:gd name="csX8" fmla="*/ 93691 w 181323"/>
              <a:gd name="csY8" fmla="*/ 60963 h 403282"/>
              <a:gd name="csX9" fmla="*/ 100157 w 181323"/>
              <a:gd name="csY9" fmla="*/ 121501 h 403282"/>
              <a:gd name="csX10" fmla="*/ 105540 w 181323"/>
              <a:gd name="csY10" fmla="*/ 158857 h 403282"/>
              <a:gd name="csX11" fmla="*/ 121116 w 181323"/>
              <a:gd name="csY11" fmla="*/ 235269 h 403282"/>
              <a:gd name="csX12" fmla="*/ 152823 w 181323"/>
              <a:gd name="csY12" fmla="*/ 338010 h 403282"/>
              <a:gd name="csX13" fmla="*/ 170877 w 181323"/>
              <a:gd name="csY13" fmla="*/ 378027 h 403282"/>
              <a:gd name="csX14" fmla="*/ 178114 w 181323"/>
              <a:gd name="csY14" fmla="*/ 387682 h 403282"/>
              <a:gd name="csX15" fmla="*/ 181150 w 181323"/>
              <a:gd name="csY15" fmla="*/ 395764 h 403282"/>
              <a:gd name="csX16" fmla="*/ 173480 w 181323"/>
              <a:gd name="csY16" fmla="*/ 402568 h 403282"/>
              <a:gd name="csX17" fmla="*/ 160067 w 181323"/>
              <a:gd name="csY17" fmla="*/ 402936 h 403282"/>
              <a:gd name="csX18" fmla="*/ 121081 w 181323"/>
              <a:gd name="csY18" fmla="*/ 400766 h 403282"/>
              <a:gd name="csX19" fmla="*/ 70912 w 181323"/>
              <a:gd name="csY19" fmla="*/ 401955 h 403282"/>
              <a:gd name="csX20" fmla="*/ 7630 w 181323"/>
              <a:gd name="csY20" fmla="*/ 402999 h 403282"/>
              <a:gd name="csX21" fmla="*/ 710 w 181323"/>
              <a:gd name="csY21" fmla="*/ 401995 h 403282"/>
              <a:gd name="csX22" fmla="*/ 1308 w 181323"/>
              <a:gd name="csY22" fmla="*/ 356708 h 403282"/>
              <a:gd name="csX23" fmla="*/ 2554 w 181323"/>
              <a:gd name="csY23" fmla="*/ 349510 h 403282"/>
              <a:gd name="csX24" fmla="*/ 5071 w 181323"/>
              <a:gd name="csY24" fmla="*/ 271231 h 403282"/>
              <a:gd name="csX25" fmla="*/ 7554 w 181323"/>
              <a:gd name="csY25" fmla="*/ 172079 h 403282"/>
              <a:gd name="csX26" fmla="*/ 98286 w 181323"/>
              <a:gd name="csY26" fmla="*/ 163566 h 403282"/>
              <a:gd name="csX27" fmla="*/ 83497 w 181323"/>
              <a:gd name="csY27" fmla="*/ 8289 h 403282"/>
              <a:gd name="csX28" fmla="*/ 15161 w 181323"/>
              <a:gd name="csY28" fmla="*/ 9148 h 403282"/>
              <a:gd name="csX29" fmla="*/ 15058 w 181323"/>
              <a:gd name="csY29" fmla="*/ 137939 h 403282"/>
              <a:gd name="csX30" fmla="*/ 12252 w 181323"/>
              <a:gd name="csY30" fmla="*/ 266862 h 403282"/>
              <a:gd name="csX31" fmla="*/ 7068 w 181323"/>
              <a:gd name="csY31" fmla="*/ 395996 h 403282"/>
              <a:gd name="csX32" fmla="*/ 171647 w 181323"/>
              <a:gd name="csY32" fmla="*/ 395996 h 403282"/>
              <a:gd name="csX33" fmla="*/ 119950 w 181323"/>
              <a:gd name="csY33" fmla="*/ 259496 h 403282"/>
              <a:gd name="csX34" fmla="*/ 98286 w 181323"/>
              <a:gd name="csY34" fmla="*/ 163566 h 40328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</a:cxnLst>
            <a:rect l="l" t="t" r="r" b="b"/>
            <a:pathLst>
              <a:path w="181323" h="403282">
                <a:moveTo>
                  <a:pt x="7554" y="172079"/>
                </a:moveTo>
                <a:cubicBezTo>
                  <a:pt x="8325" y="157451"/>
                  <a:pt x="9408" y="144055"/>
                  <a:pt x="9716" y="130641"/>
                </a:cubicBezTo>
                <a:cubicBezTo>
                  <a:pt x="9846" y="125037"/>
                  <a:pt x="7695" y="119399"/>
                  <a:pt x="7663" y="113770"/>
                </a:cubicBezTo>
                <a:cubicBezTo>
                  <a:pt x="7461" y="78569"/>
                  <a:pt x="7554" y="43367"/>
                  <a:pt x="7598" y="8165"/>
                </a:cubicBezTo>
                <a:cubicBezTo>
                  <a:pt x="7600" y="6167"/>
                  <a:pt x="8022" y="4170"/>
                  <a:pt x="8353" y="1259"/>
                </a:cubicBezTo>
                <a:cubicBezTo>
                  <a:pt x="11568" y="842"/>
                  <a:pt x="14666" y="109"/>
                  <a:pt x="17767" y="93"/>
                </a:cubicBezTo>
                <a:cubicBezTo>
                  <a:pt x="37824" y="-17"/>
                  <a:pt x="57881" y="-27"/>
                  <a:pt x="77938" y="50"/>
                </a:cubicBezTo>
                <a:cubicBezTo>
                  <a:pt x="89177" y="93"/>
                  <a:pt x="90068" y="113"/>
                  <a:pt x="91081" y="10962"/>
                </a:cubicBezTo>
                <a:cubicBezTo>
                  <a:pt x="92631" y="27565"/>
                  <a:pt x="92329" y="44335"/>
                  <a:pt x="93691" y="60963"/>
                </a:cubicBezTo>
                <a:cubicBezTo>
                  <a:pt x="95348" y="81184"/>
                  <a:pt x="97732" y="101353"/>
                  <a:pt x="100157" y="121501"/>
                </a:cubicBezTo>
                <a:cubicBezTo>
                  <a:pt x="101660" y="133990"/>
                  <a:pt x="104521" y="146343"/>
                  <a:pt x="105540" y="158857"/>
                </a:cubicBezTo>
                <a:cubicBezTo>
                  <a:pt x="107671" y="184993"/>
                  <a:pt x="114147" y="210249"/>
                  <a:pt x="121116" y="235269"/>
                </a:cubicBezTo>
                <a:cubicBezTo>
                  <a:pt x="130731" y="269786"/>
                  <a:pt x="141516" y="304004"/>
                  <a:pt x="152823" y="338010"/>
                </a:cubicBezTo>
                <a:cubicBezTo>
                  <a:pt x="157418" y="351828"/>
                  <a:pt x="164524" y="364837"/>
                  <a:pt x="170877" y="378027"/>
                </a:cubicBezTo>
                <a:cubicBezTo>
                  <a:pt x="172587" y="381579"/>
                  <a:pt x="175985" y="384280"/>
                  <a:pt x="178114" y="387682"/>
                </a:cubicBezTo>
                <a:cubicBezTo>
                  <a:pt x="179669" y="390165"/>
                  <a:pt x="181977" y="393824"/>
                  <a:pt x="181150" y="395764"/>
                </a:cubicBezTo>
                <a:cubicBezTo>
                  <a:pt x="179907" y="398676"/>
                  <a:pt x="176540" y="401705"/>
                  <a:pt x="173480" y="402568"/>
                </a:cubicBezTo>
                <a:cubicBezTo>
                  <a:pt x="169302" y="403746"/>
                  <a:pt x="164551" y="403164"/>
                  <a:pt x="160067" y="402936"/>
                </a:cubicBezTo>
                <a:cubicBezTo>
                  <a:pt x="147066" y="402274"/>
                  <a:pt x="134081" y="400859"/>
                  <a:pt x="121081" y="400766"/>
                </a:cubicBezTo>
                <a:cubicBezTo>
                  <a:pt x="104362" y="400647"/>
                  <a:pt x="87638" y="401607"/>
                  <a:pt x="70912" y="401955"/>
                </a:cubicBezTo>
                <a:cubicBezTo>
                  <a:pt x="49820" y="402394"/>
                  <a:pt x="28725" y="402712"/>
                  <a:pt x="7630" y="402999"/>
                </a:cubicBezTo>
                <a:cubicBezTo>
                  <a:pt x="5684" y="403026"/>
                  <a:pt x="3731" y="402452"/>
                  <a:pt x="710" y="401995"/>
                </a:cubicBezTo>
                <a:cubicBezTo>
                  <a:pt x="219" y="386620"/>
                  <a:pt x="-871" y="371682"/>
                  <a:pt x="1308" y="356708"/>
                </a:cubicBezTo>
                <a:cubicBezTo>
                  <a:pt x="1659" y="354298"/>
                  <a:pt x="2471" y="351920"/>
                  <a:pt x="2554" y="349510"/>
                </a:cubicBezTo>
                <a:cubicBezTo>
                  <a:pt x="3459" y="323419"/>
                  <a:pt x="4345" y="297328"/>
                  <a:pt x="5071" y="271231"/>
                </a:cubicBezTo>
                <a:cubicBezTo>
                  <a:pt x="5979" y="238591"/>
                  <a:pt x="6733" y="205947"/>
                  <a:pt x="7554" y="172079"/>
                </a:cubicBezTo>
                <a:moveTo>
                  <a:pt x="98286" y="163566"/>
                </a:moveTo>
                <a:cubicBezTo>
                  <a:pt x="89288" y="112116"/>
                  <a:pt x="86355" y="60033"/>
                  <a:pt x="83497" y="8289"/>
                </a:cubicBezTo>
                <a:cubicBezTo>
                  <a:pt x="65606" y="5845"/>
                  <a:pt x="24110" y="6470"/>
                  <a:pt x="15161" y="9148"/>
                </a:cubicBezTo>
                <a:cubicBezTo>
                  <a:pt x="15161" y="52045"/>
                  <a:pt x="15527" y="94996"/>
                  <a:pt x="15058" y="137939"/>
                </a:cubicBezTo>
                <a:cubicBezTo>
                  <a:pt x="14587" y="180919"/>
                  <a:pt x="13597" y="223900"/>
                  <a:pt x="12252" y="266862"/>
                </a:cubicBezTo>
                <a:cubicBezTo>
                  <a:pt x="10912" y="309638"/>
                  <a:pt x="8849" y="352391"/>
                  <a:pt x="7068" y="395996"/>
                </a:cubicBezTo>
                <a:cubicBezTo>
                  <a:pt x="62774" y="395996"/>
                  <a:pt x="116821" y="395996"/>
                  <a:pt x="171647" y="395996"/>
                </a:cubicBezTo>
                <a:cubicBezTo>
                  <a:pt x="148550" y="352016"/>
                  <a:pt x="132566" y="306307"/>
                  <a:pt x="119950" y="259496"/>
                </a:cubicBezTo>
                <a:cubicBezTo>
                  <a:pt x="111608" y="228543"/>
                  <a:pt x="105493" y="196989"/>
                  <a:pt x="98286" y="163566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1" name="Free-form: Shape 50">
            <a:extLst>
              <a:ext uri="{FF2B5EF4-FFF2-40B4-BE49-F238E27FC236}">
                <a16:creationId xmlns:a16="http://schemas.microsoft.com/office/drawing/2014/main" id="{0B20646F-B586-A387-B09D-EF3F58C9603E}"/>
              </a:ext>
            </a:extLst>
          </p:cNvPr>
          <p:cNvSpPr/>
          <p:nvPr/>
        </p:nvSpPr>
        <p:spPr>
          <a:xfrm>
            <a:off x="4427640" y="2773791"/>
            <a:ext cx="209255" cy="47389"/>
          </a:xfrm>
          <a:custGeom>
            <a:avLst/>
            <a:gdLst>
              <a:gd name="csX0" fmla="*/ 297312 w 337008"/>
              <a:gd name="csY0" fmla="*/ 59188 h 76321"/>
              <a:gd name="csX1" fmla="*/ 241991 w 337008"/>
              <a:gd name="csY1" fmla="*/ 66577 h 76321"/>
              <a:gd name="csX2" fmla="*/ 185243 w 337008"/>
              <a:gd name="csY2" fmla="*/ 73717 h 76321"/>
              <a:gd name="csX3" fmla="*/ 182797 w 337008"/>
              <a:gd name="csY3" fmla="*/ 73873 h 76321"/>
              <a:gd name="csX4" fmla="*/ 19866 w 337008"/>
              <a:gd name="csY4" fmla="*/ 76320 h 76321"/>
              <a:gd name="csX5" fmla="*/ 12650 w 337008"/>
              <a:gd name="csY5" fmla="*/ 75242 h 76321"/>
              <a:gd name="csX6" fmla="*/ 19 w 337008"/>
              <a:gd name="csY6" fmla="*/ 59006 h 76321"/>
              <a:gd name="csX7" fmla="*/ 11 w 337008"/>
              <a:gd name="csY7" fmla="*/ 18266 h 76321"/>
              <a:gd name="csX8" fmla="*/ 13547 w 337008"/>
              <a:gd name="csY8" fmla="*/ 17427 h 76321"/>
              <a:gd name="csX9" fmla="*/ 109279 w 337008"/>
              <a:gd name="csY9" fmla="*/ 17200 h 76321"/>
              <a:gd name="csX10" fmla="*/ 173714 w 337008"/>
              <a:gd name="csY10" fmla="*/ 12645 h 76321"/>
              <a:gd name="csX11" fmla="*/ 205309 w 337008"/>
              <a:gd name="csY11" fmla="*/ 10096 h 76321"/>
              <a:gd name="csX12" fmla="*/ 245485 w 337008"/>
              <a:gd name="csY12" fmla="*/ 7449 h 76321"/>
              <a:gd name="csX13" fmla="*/ 288955 w 337008"/>
              <a:gd name="csY13" fmla="*/ 1844 h 76321"/>
              <a:gd name="csX14" fmla="*/ 307132 w 337008"/>
              <a:gd name="csY14" fmla="*/ 164 h 76321"/>
              <a:gd name="csX15" fmla="*/ 324030 w 337008"/>
              <a:gd name="csY15" fmla="*/ 9691 h 76321"/>
              <a:gd name="csX16" fmla="*/ 336033 w 337008"/>
              <a:gd name="csY16" fmla="*/ 39107 h 76321"/>
              <a:gd name="csX17" fmla="*/ 328060 w 337008"/>
              <a:gd name="csY17" fmla="*/ 52413 h 76321"/>
              <a:gd name="csX18" fmla="*/ 297312 w 337008"/>
              <a:gd name="csY18" fmla="*/ 59188 h 76321"/>
              <a:gd name="csX19" fmla="*/ 207688 w 337008"/>
              <a:gd name="csY19" fmla="*/ 64284 h 76321"/>
              <a:gd name="csX20" fmla="*/ 330050 w 337008"/>
              <a:gd name="csY20" fmla="*/ 45606 h 76321"/>
              <a:gd name="csX21" fmla="*/ 317356 w 337008"/>
              <a:gd name="csY21" fmla="*/ 11297 h 76321"/>
              <a:gd name="csX22" fmla="*/ 304170 w 337008"/>
              <a:gd name="csY22" fmla="*/ 5545 h 76321"/>
              <a:gd name="csX23" fmla="*/ 273851 w 337008"/>
              <a:gd name="csY23" fmla="*/ 10014 h 76321"/>
              <a:gd name="csX24" fmla="*/ 163935 w 337008"/>
              <a:gd name="csY24" fmla="*/ 20274 h 76321"/>
              <a:gd name="csX25" fmla="*/ 17973 w 337008"/>
              <a:gd name="csY25" fmla="*/ 22950 h 76321"/>
              <a:gd name="csX26" fmla="*/ 7372 w 337008"/>
              <a:gd name="csY26" fmla="*/ 23601 h 76321"/>
              <a:gd name="csX27" fmla="*/ 7372 w 337008"/>
              <a:gd name="csY27" fmla="*/ 67898 h 76321"/>
              <a:gd name="csX28" fmla="*/ 207688 w 337008"/>
              <a:gd name="csY28" fmla="*/ 64284 h 7632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</a:cxnLst>
            <a:rect l="l" t="t" r="r" b="b"/>
            <a:pathLst>
              <a:path w="337008" h="76321">
                <a:moveTo>
                  <a:pt x="297312" y="59188"/>
                </a:moveTo>
                <a:cubicBezTo>
                  <a:pt x="278167" y="61672"/>
                  <a:pt x="260091" y="64212"/>
                  <a:pt x="241991" y="66577"/>
                </a:cubicBezTo>
                <a:cubicBezTo>
                  <a:pt x="223087" y="69047"/>
                  <a:pt x="204161" y="71350"/>
                  <a:pt x="185243" y="73717"/>
                </a:cubicBezTo>
                <a:cubicBezTo>
                  <a:pt x="184433" y="73818"/>
                  <a:pt x="183613" y="73861"/>
                  <a:pt x="182797" y="73873"/>
                </a:cubicBezTo>
                <a:cubicBezTo>
                  <a:pt x="128487" y="74710"/>
                  <a:pt x="74176" y="75556"/>
                  <a:pt x="19866" y="76320"/>
                </a:cubicBezTo>
                <a:cubicBezTo>
                  <a:pt x="17463" y="76354"/>
                  <a:pt x="15013" y="75797"/>
                  <a:pt x="12650" y="75242"/>
                </a:cubicBezTo>
                <a:cubicBezTo>
                  <a:pt x="80" y="72288"/>
                  <a:pt x="58" y="72258"/>
                  <a:pt x="19" y="59006"/>
                </a:cubicBezTo>
                <a:cubicBezTo>
                  <a:pt x="-19" y="45942"/>
                  <a:pt x="11" y="32877"/>
                  <a:pt x="11" y="18266"/>
                </a:cubicBezTo>
                <a:cubicBezTo>
                  <a:pt x="4987" y="17944"/>
                  <a:pt x="9266" y="17435"/>
                  <a:pt x="13547" y="17427"/>
                </a:cubicBezTo>
                <a:cubicBezTo>
                  <a:pt x="45459" y="17362"/>
                  <a:pt x="77385" y="17975"/>
                  <a:pt x="109279" y="17200"/>
                </a:cubicBezTo>
                <a:cubicBezTo>
                  <a:pt x="130782" y="16677"/>
                  <a:pt x="152239" y="14265"/>
                  <a:pt x="173714" y="12645"/>
                </a:cubicBezTo>
                <a:cubicBezTo>
                  <a:pt x="184250" y="11850"/>
                  <a:pt x="194770" y="10836"/>
                  <a:pt x="205309" y="10096"/>
                </a:cubicBezTo>
                <a:cubicBezTo>
                  <a:pt x="218698" y="9156"/>
                  <a:pt x="232139" y="8783"/>
                  <a:pt x="245485" y="7449"/>
                </a:cubicBezTo>
                <a:cubicBezTo>
                  <a:pt x="260017" y="5997"/>
                  <a:pt x="274456" y="3648"/>
                  <a:pt x="288955" y="1844"/>
                </a:cubicBezTo>
                <a:cubicBezTo>
                  <a:pt x="294991" y="1094"/>
                  <a:pt x="301100" y="930"/>
                  <a:pt x="307132" y="164"/>
                </a:cubicBezTo>
                <a:cubicBezTo>
                  <a:pt x="315239" y="-865"/>
                  <a:pt x="320841" y="3022"/>
                  <a:pt x="324030" y="9691"/>
                </a:cubicBezTo>
                <a:cubicBezTo>
                  <a:pt x="328594" y="19236"/>
                  <a:pt x="332712" y="29070"/>
                  <a:pt x="336033" y="39107"/>
                </a:cubicBezTo>
                <a:cubicBezTo>
                  <a:pt x="338557" y="46735"/>
                  <a:pt x="336278" y="50185"/>
                  <a:pt x="328060" y="52413"/>
                </a:cubicBezTo>
                <a:cubicBezTo>
                  <a:pt x="318273" y="55068"/>
                  <a:pt x="308277" y="56950"/>
                  <a:pt x="297312" y="59188"/>
                </a:cubicBezTo>
                <a:moveTo>
                  <a:pt x="207688" y="64284"/>
                </a:moveTo>
                <a:cubicBezTo>
                  <a:pt x="248681" y="60632"/>
                  <a:pt x="289317" y="54812"/>
                  <a:pt x="330050" y="45606"/>
                </a:cubicBezTo>
                <a:cubicBezTo>
                  <a:pt x="327603" y="32443"/>
                  <a:pt x="323777" y="21532"/>
                  <a:pt x="317356" y="11297"/>
                </a:cubicBezTo>
                <a:cubicBezTo>
                  <a:pt x="313908" y="5803"/>
                  <a:pt x="310145" y="4465"/>
                  <a:pt x="304170" y="5545"/>
                </a:cubicBezTo>
                <a:cubicBezTo>
                  <a:pt x="294121" y="7361"/>
                  <a:pt x="284007" y="9006"/>
                  <a:pt x="273851" y="10014"/>
                </a:cubicBezTo>
                <a:cubicBezTo>
                  <a:pt x="237233" y="13650"/>
                  <a:pt x="200632" y="17661"/>
                  <a:pt x="163935" y="20274"/>
                </a:cubicBezTo>
                <a:cubicBezTo>
                  <a:pt x="115360" y="23734"/>
                  <a:pt x="66701" y="25937"/>
                  <a:pt x="17973" y="22950"/>
                </a:cubicBezTo>
                <a:cubicBezTo>
                  <a:pt x="14492" y="22737"/>
                  <a:pt x="10959" y="23361"/>
                  <a:pt x="7372" y="23601"/>
                </a:cubicBezTo>
                <a:cubicBezTo>
                  <a:pt x="7372" y="38609"/>
                  <a:pt x="7372" y="52361"/>
                  <a:pt x="7372" y="67898"/>
                </a:cubicBezTo>
                <a:cubicBezTo>
                  <a:pt x="74001" y="69806"/>
                  <a:pt x="139746" y="71025"/>
                  <a:pt x="207688" y="64284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2" name="Free-form: Shape 51">
            <a:extLst>
              <a:ext uri="{FF2B5EF4-FFF2-40B4-BE49-F238E27FC236}">
                <a16:creationId xmlns:a16="http://schemas.microsoft.com/office/drawing/2014/main" id="{FDB52C6A-57D0-7A3F-04E8-023A97CFA0D1}"/>
              </a:ext>
            </a:extLst>
          </p:cNvPr>
          <p:cNvSpPr/>
          <p:nvPr/>
        </p:nvSpPr>
        <p:spPr>
          <a:xfrm>
            <a:off x="4431373" y="2627337"/>
            <a:ext cx="188426" cy="132688"/>
          </a:xfrm>
          <a:custGeom>
            <a:avLst/>
            <a:gdLst>
              <a:gd name="csX0" fmla="*/ 14160 w 303463"/>
              <a:gd name="csY0" fmla="*/ 7889 h 213695"/>
              <a:gd name="csX1" fmla="*/ 195033 w 303463"/>
              <a:gd name="csY1" fmla="*/ 0 h 213695"/>
              <a:gd name="csX2" fmla="*/ 197208 w 303463"/>
              <a:gd name="csY2" fmla="*/ 5635 h 213695"/>
              <a:gd name="csX3" fmla="*/ 227014 w 303463"/>
              <a:gd name="csY3" fmla="*/ 60660 h 213695"/>
              <a:gd name="csX4" fmla="*/ 265823 w 303463"/>
              <a:gd name="csY4" fmla="*/ 98217 h 213695"/>
              <a:gd name="csX5" fmla="*/ 303210 w 303463"/>
              <a:gd name="csY5" fmla="*/ 180358 h 213695"/>
              <a:gd name="csX6" fmla="*/ 303282 w 303463"/>
              <a:gd name="csY6" fmla="*/ 193964 h 213695"/>
              <a:gd name="csX7" fmla="*/ 4971 w 303463"/>
              <a:gd name="csY7" fmla="*/ 213017 h 213695"/>
              <a:gd name="csX8" fmla="*/ 5093 w 303463"/>
              <a:gd name="csY8" fmla="*/ 173484 h 213695"/>
              <a:gd name="csX9" fmla="*/ 4767 w 303463"/>
              <a:gd name="csY9" fmla="*/ 54607 h 213695"/>
              <a:gd name="csX10" fmla="*/ 0 w 303463"/>
              <a:gd name="csY10" fmla="*/ 7887 h 213695"/>
              <a:gd name="csX11" fmla="*/ 14160 w 303463"/>
              <a:gd name="csY11" fmla="*/ 7889 h 21369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303463" h="213695">
                <a:moveTo>
                  <a:pt x="14160" y="7889"/>
                </a:moveTo>
                <a:cubicBezTo>
                  <a:pt x="75371" y="8627"/>
                  <a:pt x="135292" y="5744"/>
                  <a:pt x="195033" y="0"/>
                </a:cubicBezTo>
                <a:cubicBezTo>
                  <a:pt x="196084" y="2662"/>
                  <a:pt x="196986" y="4099"/>
                  <a:pt x="197208" y="5635"/>
                </a:cubicBezTo>
                <a:cubicBezTo>
                  <a:pt x="200391" y="27650"/>
                  <a:pt x="211307" y="45450"/>
                  <a:pt x="227014" y="60660"/>
                </a:cubicBezTo>
                <a:cubicBezTo>
                  <a:pt x="239947" y="73182"/>
                  <a:pt x="253006" y="85577"/>
                  <a:pt x="265823" y="98217"/>
                </a:cubicBezTo>
                <a:cubicBezTo>
                  <a:pt x="288727" y="120806"/>
                  <a:pt x="299071" y="149215"/>
                  <a:pt x="303210" y="180358"/>
                </a:cubicBezTo>
                <a:cubicBezTo>
                  <a:pt x="303735" y="184317"/>
                  <a:pt x="303282" y="188405"/>
                  <a:pt x="303282" y="193964"/>
                </a:cubicBezTo>
                <a:cubicBezTo>
                  <a:pt x="204065" y="208804"/>
                  <a:pt x="105022" y="216044"/>
                  <a:pt x="4971" y="213017"/>
                </a:cubicBezTo>
                <a:cubicBezTo>
                  <a:pt x="4971" y="199268"/>
                  <a:pt x="4314" y="186332"/>
                  <a:pt x="5093" y="173484"/>
                </a:cubicBezTo>
                <a:cubicBezTo>
                  <a:pt x="7497" y="133835"/>
                  <a:pt x="8211" y="94216"/>
                  <a:pt x="4767" y="54607"/>
                </a:cubicBezTo>
                <a:cubicBezTo>
                  <a:pt x="3464" y="39611"/>
                  <a:pt x="1725" y="24653"/>
                  <a:pt x="0" y="7887"/>
                </a:cubicBezTo>
                <a:cubicBezTo>
                  <a:pt x="4390" y="7887"/>
                  <a:pt x="8696" y="7887"/>
                  <a:pt x="14160" y="7889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3" name="Free-form: Shape 52">
            <a:extLst>
              <a:ext uri="{FF2B5EF4-FFF2-40B4-BE49-F238E27FC236}">
                <a16:creationId xmlns:a16="http://schemas.microsoft.com/office/drawing/2014/main" id="{4BC9ABE3-B896-1B6B-AAFC-7479AE485E0A}"/>
              </a:ext>
            </a:extLst>
          </p:cNvPr>
          <p:cNvSpPr/>
          <p:nvPr/>
        </p:nvSpPr>
        <p:spPr>
          <a:xfrm>
            <a:off x="4397611" y="2097581"/>
            <a:ext cx="129814" cy="126299"/>
          </a:xfrm>
          <a:custGeom>
            <a:avLst/>
            <a:gdLst>
              <a:gd name="csX0" fmla="*/ 10475 w 209067"/>
              <a:gd name="csY0" fmla="*/ 41718 h 203406"/>
              <a:gd name="csX1" fmla="*/ 100250 w 209067"/>
              <a:gd name="csY1" fmla="*/ 1265 h 203406"/>
              <a:gd name="csX2" fmla="*/ 206681 w 209067"/>
              <a:gd name="csY2" fmla="*/ 98526 h 203406"/>
              <a:gd name="csX3" fmla="*/ 134647 w 209067"/>
              <a:gd name="csY3" fmla="*/ 202431 h 203406"/>
              <a:gd name="csX4" fmla="*/ 40986 w 209067"/>
              <a:gd name="csY4" fmla="*/ 171438 h 203406"/>
              <a:gd name="csX5" fmla="*/ 143 w 209067"/>
              <a:gd name="csY5" fmla="*/ 85158 h 203406"/>
              <a:gd name="csX6" fmla="*/ 10475 w 209067"/>
              <a:gd name="csY6" fmla="*/ 41718 h 20340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</a:cxnLst>
            <a:rect l="l" t="t" r="r" b="b"/>
            <a:pathLst>
              <a:path w="209067" h="203406">
                <a:moveTo>
                  <a:pt x="10475" y="41718"/>
                </a:moveTo>
                <a:cubicBezTo>
                  <a:pt x="31065" y="6021"/>
                  <a:pt x="63171" y="-3865"/>
                  <a:pt x="100250" y="1265"/>
                </a:cubicBezTo>
                <a:cubicBezTo>
                  <a:pt x="157191" y="9144"/>
                  <a:pt x="196951" y="51394"/>
                  <a:pt x="206681" y="98526"/>
                </a:cubicBezTo>
                <a:cubicBezTo>
                  <a:pt x="219504" y="160635"/>
                  <a:pt x="178523" y="196657"/>
                  <a:pt x="134647" y="202431"/>
                </a:cubicBezTo>
                <a:cubicBezTo>
                  <a:pt x="98365" y="207204"/>
                  <a:pt x="68101" y="194086"/>
                  <a:pt x="40986" y="171438"/>
                </a:cubicBezTo>
                <a:cubicBezTo>
                  <a:pt x="14115" y="148994"/>
                  <a:pt x="2457" y="119007"/>
                  <a:pt x="143" y="85158"/>
                </a:cubicBezTo>
                <a:cubicBezTo>
                  <a:pt x="-869" y="70364"/>
                  <a:pt x="3586" y="56015"/>
                  <a:pt x="10475" y="41718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4" name="Free-form: Shape 53">
            <a:extLst>
              <a:ext uri="{FF2B5EF4-FFF2-40B4-BE49-F238E27FC236}">
                <a16:creationId xmlns:a16="http://schemas.microsoft.com/office/drawing/2014/main" id="{F084F8DA-D947-F824-BB22-C814E676D6C1}"/>
              </a:ext>
            </a:extLst>
          </p:cNvPr>
          <p:cNvSpPr/>
          <p:nvPr/>
        </p:nvSpPr>
        <p:spPr>
          <a:xfrm>
            <a:off x="4433870" y="2310619"/>
            <a:ext cx="97564" cy="25665"/>
          </a:xfrm>
          <a:custGeom>
            <a:avLst/>
            <a:gdLst>
              <a:gd name="csX0" fmla="*/ 69625 w 157129"/>
              <a:gd name="csY0" fmla="*/ 0 h 41334"/>
              <a:gd name="csX1" fmla="*/ 119596 w 157129"/>
              <a:gd name="csY1" fmla="*/ 1945 h 41334"/>
              <a:gd name="csX2" fmla="*/ 150973 w 157129"/>
              <a:gd name="csY2" fmla="*/ 14889 h 41334"/>
              <a:gd name="csX3" fmla="*/ 151351 w 157129"/>
              <a:gd name="csY3" fmla="*/ 34058 h 41334"/>
              <a:gd name="csX4" fmla="*/ 133492 w 157129"/>
              <a:gd name="csY4" fmla="*/ 40697 h 41334"/>
              <a:gd name="csX5" fmla="*/ 106556 w 157129"/>
              <a:gd name="csY5" fmla="*/ 41092 h 41334"/>
              <a:gd name="csX6" fmla="*/ 13373 w 157129"/>
              <a:gd name="csY6" fmla="*/ 40708 h 41334"/>
              <a:gd name="csX7" fmla="*/ 1312 w 157129"/>
              <a:gd name="csY7" fmla="*/ 40191 h 41334"/>
              <a:gd name="csX8" fmla="*/ 3367 w 157129"/>
              <a:gd name="csY8" fmla="*/ 13162 h 41334"/>
              <a:gd name="csX9" fmla="*/ 20752 w 157129"/>
              <a:gd name="csY9" fmla="*/ 1879 h 41334"/>
              <a:gd name="csX10" fmla="*/ 52625 w 157129"/>
              <a:gd name="csY10" fmla="*/ 1332 h 41334"/>
              <a:gd name="csX11" fmla="*/ 69625 w 157129"/>
              <a:gd name="csY11" fmla="*/ 0 h 4133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157129" h="41334">
                <a:moveTo>
                  <a:pt x="69625" y="0"/>
                </a:moveTo>
                <a:cubicBezTo>
                  <a:pt x="87054" y="491"/>
                  <a:pt x="103407" y="373"/>
                  <a:pt x="119596" y="1945"/>
                </a:cubicBezTo>
                <a:cubicBezTo>
                  <a:pt x="131020" y="3055"/>
                  <a:pt x="141713" y="7767"/>
                  <a:pt x="150973" y="14889"/>
                </a:cubicBezTo>
                <a:cubicBezTo>
                  <a:pt x="158820" y="20925"/>
                  <a:pt x="159403" y="28236"/>
                  <a:pt x="151351" y="34058"/>
                </a:cubicBezTo>
                <a:cubicBezTo>
                  <a:pt x="146355" y="37671"/>
                  <a:pt x="139678" y="39910"/>
                  <a:pt x="133492" y="40697"/>
                </a:cubicBezTo>
                <a:cubicBezTo>
                  <a:pt x="124640" y="41824"/>
                  <a:pt x="115547" y="41120"/>
                  <a:pt x="106556" y="41092"/>
                </a:cubicBezTo>
                <a:cubicBezTo>
                  <a:pt x="75495" y="40996"/>
                  <a:pt x="44434" y="40872"/>
                  <a:pt x="13373" y="40708"/>
                </a:cubicBezTo>
                <a:cubicBezTo>
                  <a:pt x="9391" y="40687"/>
                  <a:pt x="5410" y="40374"/>
                  <a:pt x="1312" y="40191"/>
                </a:cubicBezTo>
                <a:cubicBezTo>
                  <a:pt x="-1416" y="30384"/>
                  <a:pt x="523" y="21512"/>
                  <a:pt x="3367" y="13162"/>
                </a:cubicBezTo>
                <a:cubicBezTo>
                  <a:pt x="5963" y="5538"/>
                  <a:pt x="12701" y="2077"/>
                  <a:pt x="20752" y="1879"/>
                </a:cubicBezTo>
                <a:cubicBezTo>
                  <a:pt x="31375" y="1617"/>
                  <a:pt x="42004" y="1647"/>
                  <a:pt x="52625" y="1332"/>
                </a:cubicBezTo>
                <a:cubicBezTo>
                  <a:pt x="57918" y="1176"/>
                  <a:pt x="63195" y="535"/>
                  <a:pt x="69625" y="0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5" name="Free-form: Shape 54">
            <a:extLst>
              <a:ext uri="{FF2B5EF4-FFF2-40B4-BE49-F238E27FC236}">
                <a16:creationId xmlns:a16="http://schemas.microsoft.com/office/drawing/2014/main" id="{F23E4D1A-4719-2C92-A0EF-3B9050AFD60D}"/>
              </a:ext>
            </a:extLst>
          </p:cNvPr>
          <p:cNvSpPr/>
          <p:nvPr/>
        </p:nvSpPr>
        <p:spPr>
          <a:xfrm>
            <a:off x="4430397" y="2361506"/>
            <a:ext cx="102191" cy="241686"/>
          </a:xfrm>
          <a:custGeom>
            <a:avLst/>
            <a:gdLst>
              <a:gd name="csX0" fmla="*/ 91265 w 164579"/>
              <a:gd name="csY0" fmla="*/ 157878 h 389238"/>
              <a:gd name="csX1" fmla="*/ 112882 w 164579"/>
              <a:gd name="csY1" fmla="*/ 252738 h 389238"/>
              <a:gd name="csX2" fmla="*/ 164579 w 164579"/>
              <a:gd name="csY2" fmla="*/ 389238 h 389238"/>
              <a:gd name="csX3" fmla="*/ 0 w 164579"/>
              <a:gd name="csY3" fmla="*/ 389238 h 389238"/>
              <a:gd name="csX4" fmla="*/ 5184 w 164579"/>
              <a:gd name="csY4" fmla="*/ 260105 h 389238"/>
              <a:gd name="csX5" fmla="*/ 7989 w 164579"/>
              <a:gd name="csY5" fmla="*/ 131182 h 389238"/>
              <a:gd name="csX6" fmla="*/ 8093 w 164579"/>
              <a:gd name="csY6" fmla="*/ 2390 h 389238"/>
              <a:gd name="csX7" fmla="*/ 76429 w 164579"/>
              <a:gd name="csY7" fmla="*/ 1531 h 389238"/>
              <a:gd name="csX8" fmla="*/ 91265 w 164579"/>
              <a:gd name="csY8" fmla="*/ 157878 h 38923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</a:cxnLst>
            <a:rect l="l" t="t" r="r" b="b"/>
            <a:pathLst>
              <a:path w="164579" h="389238">
                <a:moveTo>
                  <a:pt x="91265" y="157878"/>
                </a:moveTo>
                <a:cubicBezTo>
                  <a:pt x="98425" y="190232"/>
                  <a:pt x="104539" y="221785"/>
                  <a:pt x="112882" y="252738"/>
                </a:cubicBezTo>
                <a:cubicBezTo>
                  <a:pt x="125498" y="299549"/>
                  <a:pt x="141482" y="345258"/>
                  <a:pt x="164579" y="389238"/>
                </a:cubicBezTo>
                <a:cubicBezTo>
                  <a:pt x="109753" y="389238"/>
                  <a:pt x="55706" y="389238"/>
                  <a:pt x="0" y="389238"/>
                </a:cubicBezTo>
                <a:cubicBezTo>
                  <a:pt x="1781" y="345633"/>
                  <a:pt x="3844" y="302880"/>
                  <a:pt x="5184" y="260105"/>
                </a:cubicBezTo>
                <a:cubicBezTo>
                  <a:pt x="6529" y="217143"/>
                  <a:pt x="7519" y="174162"/>
                  <a:pt x="7989" y="131182"/>
                </a:cubicBezTo>
                <a:cubicBezTo>
                  <a:pt x="8459" y="88239"/>
                  <a:pt x="8093" y="45287"/>
                  <a:pt x="8093" y="2390"/>
                </a:cubicBezTo>
                <a:cubicBezTo>
                  <a:pt x="17041" y="-288"/>
                  <a:pt x="58537" y="-913"/>
                  <a:pt x="76429" y="1531"/>
                </a:cubicBezTo>
                <a:cubicBezTo>
                  <a:pt x="79287" y="53276"/>
                  <a:pt x="82219" y="105359"/>
                  <a:pt x="91265" y="157878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6" name="Free-form: Shape 55">
            <a:extLst>
              <a:ext uri="{FF2B5EF4-FFF2-40B4-BE49-F238E27FC236}">
                <a16:creationId xmlns:a16="http://schemas.microsoft.com/office/drawing/2014/main" id="{6BF45835-032D-4F40-88FE-3040486A6AA8}"/>
              </a:ext>
            </a:extLst>
          </p:cNvPr>
          <p:cNvSpPr/>
          <p:nvPr/>
        </p:nvSpPr>
        <p:spPr>
          <a:xfrm>
            <a:off x="4432216" y="2777019"/>
            <a:ext cx="200357" cy="39865"/>
          </a:xfrm>
          <a:custGeom>
            <a:avLst/>
            <a:gdLst>
              <a:gd name="csX0" fmla="*/ 199184 w 322677"/>
              <a:gd name="csY0" fmla="*/ 59136 h 64202"/>
              <a:gd name="csX1" fmla="*/ 0 w 322677"/>
              <a:gd name="csY1" fmla="*/ 62697 h 64202"/>
              <a:gd name="csX2" fmla="*/ 0 w 322677"/>
              <a:gd name="csY2" fmla="*/ 18400 h 64202"/>
              <a:gd name="csX3" fmla="*/ 10601 w 322677"/>
              <a:gd name="csY3" fmla="*/ 17750 h 64202"/>
              <a:gd name="csX4" fmla="*/ 156563 w 322677"/>
              <a:gd name="csY4" fmla="*/ 15074 h 64202"/>
              <a:gd name="csX5" fmla="*/ 266479 w 322677"/>
              <a:gd name="csY5" fmla="*/ 4814 h 64202"/>
              <a:gd name="csX6" fmla="*/ 296798 w 322677"/>
              <a:gd name="csY6" fmla="*/ 344 h 64202"/>
              <a:gd name="csX7" fmla="*/ 309983 w 322677"/>
              <a:gd name="csY7" fmla="*/ 6097 h 64202"/>
              <a:gd name="csX8" fmla="*/ 322678 w 322677"/>
              <a:gd name="csY8" fmla="*/ 40406 h 64202"/>
              <a:gd name="csX9" fmla="*/ 199184 w 322677"/>
              <a:gd name="csY9" fmla="*/ 59136 h 6420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322677" h="64202">
                <a:moveTo>
                  <a:pt x="199184" y="59136"/>
                </a:moveTo>
                <a:cubicBezTo>
                  <a:pt x="132374" y="65824"/>
                  <a:pt x="66629" y="64605"/>
                  <a:pt x="0" y="62697"/>
                </a:cubicBezTo>
                <a:cubicBezTo>
                  <a:pt x="0" y="47160"/>
                  <a:pt x="0" y="33409"/>
                  <a:pt x="0" y="18400"/>
                </a:cubicBezTo>
                <a:cubicBezTo>
                  <a:pt x="3587" y="18160"/>
                  <a:pt x="7120" y="17536"/>
                  <a:pt x="10601" y="17750"/>
                </a:cubicBezTo>
                <a:cubicBezTo>
                  <a:pt x="59329" y="20736"/>
                  <a:pt x="107987" y="18533"/>
                  <a:pt x="156563" y="15074"/>
                </a:cubicBezTo>
                <a:cubicBezTo>
                  <a:pt x="193260" y="12461"/>
                  <a:pt x="229860" y="8449"/>
                  <a:pt x="266479" y="4814"/>
                </a:cubicBezTo>
                <a:cubicBezTo>
                  <a:pt x="276635" y="3806"/>
                  <a:pt x="286748" y="2160"/>
                  <a:pt x="296798" y="344"/>
                </a:cubicBezTo>
                <a:cubicBezTo>
                  <a:pt x="302773" y="-735"/>
                  <a:pt x="306536" y="602"/>
                  <a:pt x="309983" y="6097"/>
                </a:cubicBezTo>
                <a:cubicBezTo>
                  <a:pt x="316405" y="16331"/>
                  <a:pt x="320231" y="27243"/>
                  <a:pt x="322678" y="40406"/>
                </a:cubicBezTo>
                <a:cubicBezTo>
                  <a:pt x="281944" y="49611"/>
                  <a:pt x="241309" y="55431"/>
                  <a:pt x="199184" y="59136"/>
                </a:cubicBezTo>
                <a:close/>
              </a:path>
            </a:pathLst>
          </a:custGeom>
          <a:solidFill>
            <a:schemeClr val="bg1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1C139819-C6F5-FF00-89DA-3B270C954893}"/>
              </a:ext>
            </a:extLst>
          </p:cNvPr>
          <p:cNvSpPr txBox="1"/>
          <p:nvPr/>
        </p:nvSpPr>
        <p:spPr>
          <a:xfrm>
            <a:off x="4024208" y="2831201"/>
            <a:ext cx="863983" cy="3927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-</a:t>
            </a:r>
            <a:r>
              <a: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HAOx</a:t>
            </a: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585854">
                  <a:lumMod val="20000"/>
                  <a:lumOff val="80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45FA9ECC-F7F9-4696-AB0B-9A1182A9852D}"/>
              </a:ext>
            </a:extLst>
          </p:cNvPr>
          <p:cNvSpPr/>
          <p:nvPr/>
        </p:nvSpPr>
        <p:spPr>
          <a:xfrm>
            <a:off x="6636565" y="2751699"/>
            <a:ext cx="593138" cy="104135"/>
          </a:xfrm>
          <a:prstGeom prst="ellipse">
            <a:avLst/>
          </a:prstGeom>
          <a:solidFill>
            <a:schemeClr val="tx1">
              <a:alpha val="6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9" name="Free-form: Shape 58">
            <a:extLst>
              <a:ext uri="{FF2B5EF4-FFF2-40B4-BE49-F238E27FC236}">
                <a16:creationId xmlns:a16="http://schemas.microsoft.com/office/drawing/2014/main" id="{F96585BB-2DE3-16FE-8D68-31EFEF57AE47}"/>
              </a:ext>
            </a:extLst>
          </p:cNvPr>
          <p:cNvSpPr/>
          <p:nvPr/>
        </p:nvSpPr>
        <p:spPr>
          <a:xfrm>
            <a:off x="6735231" y="2071048"/>
            <a:ext cx="433137" cy="770022"/>
          </a:xfrm>
          <a:custGeom>
            <a:avLst/>
            <a:gdLst>
              <a:gd name="csX0" fmla="*/ 581793 w 697572"/>
              <a:gd name="csY0" fmla="*/ 1234401 h 1240128"/>
              <a:gd name="csX1" fmla="*/ 577427 w 697572"/>
              <a:gd name="csY1" fmla="*/ 1234156 h 1240128"/>
              <a:gd name="csX2" fmla="*/ 559133 w 697572"/>
              <a:gd name="csY2" fmla="*/ 1230909 h 1240128"/>
              <a:gd name="csX3" fmla="*/ 516706 w 697572"/>
              <a:gd name="csY3" fmla="*/ 1235117 h 1240128"/>
              <a:gd name="csX4" fmla="*/ 475244 w 697572"/>
              <a:gd name="csY4" fmla="*/ 1237506 h 1240128"/>
              <a:gd name="csX5" fmla="*/ 371154 w 697572"/>
              <a:gd name="csY5" fmla="*/ 1239428 h 1240128"/>
              <a:gd name="csX6" fmla="*/ 276813 w 697572"/>
              <a:gd name="csY6" fmla="*/ 1237654 h 1240128"/>
              <a:gd name="csX7" fmla="*/ 268212 w 697572"/>
              <a:gd name="csY7" fmla="*/ 1237635 h 1240128"/>
              <a:gd name="csX8" fmla="*/ 262072 w 697572"/>
              <a:gd name="csY8" fmla="*/ 1237523 h 1240128"/>
              <a:gd name="csX9" fmla="*/ 195111 w 697572"/>
              <a:gd name="csY9" fmla="*/ 1232775 h 1240128"/>
              <a:gd name="csX10" fmla="*/ 145060 w 697572"/>
              <a:gd name="csY10" fmla="*/ 1230076 h 1240128"/>
              <a:gd name="csX11" fmla="*/ 114933 w 697572"/>
              <a:gd name="csY11" fmla="*/ 1225832 h 1240128"/>
              <a:gd name="csX12" fmla="*/ 72642 w 697572"/>
              <a:gd name="csY12" fmla="*/ 1220237 h 1240128"/>
              <a:gd name="csX13" fmla="*/ 10894 w 697572"/>
              <a:gd name="csY13" fmla="*/ 1205737 h 1240128"/>
              <a:gd name="csX14" fmla="*/ 5856 w 697572"/>
              <a:gd name="csY14" fmla="*/ 1202799 h 1240128"/>
              <a:gd name="csX15" fmla="*/ 40 w 697572"/>
              <a:gd name="csY15" fmla="*/ 1174450 h 1240128"/>
              <a:gd name="csX16" fmla="*/ 19831 w 697572"/>
              <a:gd name="csY16" fmla="*/ 1118410 h 1240128"/>
              <a:gd name="csX17" fmla="*/ 22004 w 697572"/>
              <a:gd name="csY17" fmla="*/ 1107240 h 1240128"/>
              <a:gd name="csX18" fmla="*/ 25947 w 697572"/>
              <a:gd name="csY18" fmla="*/ 1038650 h 1240128"/>
              <a:gd name="csX19" fmla="*/ 58234 w 697572"/>
              <a:gd name="csY19" fmla="*/ 988567 h 1240128"/>
              <a:gd name="csX20" fmla="*/ 118645 w 697572"/>
              <a:gd name="csY20" fmla="*/ 928298 h 1240128"/>
              <a:gd name="csX21" fmla="*/ 126320 w 697572"/>
              <a:gd name="csY21" fmla="*/ 892015 h 1240128"/>
              <a:gd name="csX22" fmla="*/ 120345 w 697572"/>
              <a:gd name="csY22" fmla="*/ 872258 h 1240128"/>
              <a:gd name="csX23" fmla="*/ 125668 w 697572"/>
              <a:gd name="csY23" fmla="*/ 861640 h 1240128"/>
              <a:gd name="csX24" fmla="*/ 154237 w 697572"/>
              <a:gd name="csY24" fmla="*/ 850716 h 1240128"/>
              <a:gd name="csX25" fmla="*/ 170248 w 697572"/>
              <a:gd name="csY25" fmla="*/ 836767 h 1240128"/>
              <a:gd name="csX26" fmla="*/ 187840 w 697572"/>
              <a:gd name="csY26" fmla="*/ 796341 h 1240128"/>
              <a:gd name="csX27" fmla="*/ 209346 w 697572"/>
              <a:gd name="csY27" fmla="*/ 743126 h 1240128"/>
              <a:gd name="csX28" fmla="*/ 210630 w 697572"/>
              <a:gd name="csY28" fmla="*/ 737219 h 1240128"/>
              <a:gd name="csX29" fmla="*/ 213836 w 697572"/>
              <a:gd name="csY29" fmla="*/ 720505 h 1240128"/>
              <a:gd name="csX30" fmla="*/ 227791 w 697572"/>
              <a:gd name="csY30" fmla="*/ 667353 h 1240128"/>
              <a:gd name="csX31" fmla="*/ 241013 w 697572"/>
              <a:gd name="csY31" fmla="*/ 599151 h 1240128"/>
              <a:gd name="csX32" fmla="*/ 247322 w 697572"/>
              <a:gd name="csY32" fmla="*/ 542242 h 1240128"/>
              <a:gd name="csX33" fmla="*/ 247948 w 697572"/>
              <a:gd name="csY33" fmla="*/ 499296 h 1240128"/>
              <a:gd name="csX34" fmla="*/ 247577 w 697572"/>
              <a:gd name="csY34" fmla="*/ 470384 h 1240128"/>
              <a:gd name="csX35" fmla="*/ 238877 w 697572"/>
              <a:gd name="csY35" fmla="*/ 460987 h 1240128"/>
              <a:gd name="csX36" fmla="*/ 222040 w 697572"/>
              <a:gd name="csY36" fmla="*/ 458353 h 1240128"/>
              <a:gd name="csX37" fmla="*/ 172193 w 697572"/>
              <a:gd name="csY37" fmla="*/ 433714 h 1240128"/>
              <a:gd name="csX38" fmla="*/ 168410 w 697572"/>
              <a:gd name="csY38" fmla="*/ 396591 h 1240128"/>
              <a:gd name="csX39" fmla="*/ 209826 w 697572"/>
              <a:gd name="csY39" fmla="*/ 367773 h 1240128"/>
              <a:gd name="csX40" fmla="*/ 250732 w 697572"/>
              <a:gd name="csY40" fmla="*/ 355208 h 1240128"/>
              <a:gd name="csX41" fmla="*/ 258289 w 697572"/>
              <a:gd name="csY41" fmla="*/ 350426 h 1240128"/>
              <a:gd name="csX42" fmla="*/ 233274 w 697572"/>
              <a:gd name="csY42" fmla="*/ 333513 h 1240128"/>
              <a:gd name="csX43" fmla="*/ 229677 w 697572"/>
              <a:gd name="csY43" fmla="*/ 333922 h 1240128"/>
              <a:gd name="csX44" fmla="*/ 230149 w 697572"/>
              <a:gd name="csY44" fmla="*/ 332979 h 1240128"/>
              <a:gd name="csX45" fmla="*/ 227053 w 697572"/>
              <a:gd name="csY45" fmla="*/ 327076 h 1240128"/>
              <a:gd name="csX46" fmla="*/ 196769 w 697572"/>
              <a:gd name="csY46" fmla="*/ 291380 h 1240128"/>
              <a:gd name="csX47" fmla="*/ 184389 w 697572"/>
              <a:gd name="csY47" fmla="*/ 264042 h 1240128"/>
              <a:gd name="csX48" fmla="*/ 180630 w 697572"/>
              <a:gd name="csY48" fmla="*/ 257839 h 1240128"/>
              <a:gd name="csX49" fmla="*/ 176231 w 697572"/>
              <a:gd name="csY49" fmla="*/ 250643 h 1240128"/>
              <a:gd name="csX50" fmla="*/ 170073 w 697572"/>
              <a:gd name="csY50" fmla="*/ 146723 h 1240128"/>
              <a:gd name="csX51" fmla="*/ 180929 w 697572"/>
              <a:gd name="csY51" fmla="*/ 114280 h 1240128"/>
              <a:gd name="csX52" fmla="*/ 180839 w 697572"/>
              <a:gd name="csY52" fmla="*/ 101501 h 1240128"/>
              <a:gd name="csX53" fmla="*/ 233536 w 697572"/>
              <a:gd name="csY53" fmla="*/ 39653 h 1240128"/>
              <a:gd name="csX54" fmla="*/ 347618 w 697572"/>
              <a:gd name="csY54" fmla="*/ 35 h 1240128"/>
              <a:gd name="csX55" fmla="*/ 437139 w 697572"/>
              <a:gd name="csY55" fmla="*/ 22396 h 1240128"/>
              <a:gd name="csX56" fmla="*/ 529052 w 697572"/>
              <a:gd name="csY56" fmla="*/ 131093 h 1240128"/>
              <a:gd name="csX57" fmla="*/ 518497 w 697572"/>
              <a:gd name="csY57" fmla="*/ 271517 h 1240128"/>
              <a:gd name="csX58" fmla="*/ 500808 w 697572"/>
              <a:gd name="csY58" fmla="*/ 287385 h 1240128"/>
              <a:gd name="csX59" fmla="*/ 472948 w 697572"/>
              <a:gd name="csY59" fmla="*/ 323290 h 1240128"/>
              <a:gd name="csX60" fmla="*/ 469385 w 697572"/>
              <a:gd name="csY60" fmla="*/ 331565 h 1240128"/>
              <a:gd name="csX61" fmla="*/ 468293 w 697572"/>
              <a:gd name="csY61" fmla="*/ 331320 h 1240128"/>
              <a:gd name="csX62" fmla="*/ 459542 w 697572"/>
              <a:gd name="csY62" fmla="*/ 338942 h 1240128"/>
              <a:gd name="csX63" fmla="*/ 458492 w 697572"/>
              <a:gd name="csY63" fmla="*/ 338671 h 1240128"/>
              <a:gd name="csX64" fmla="*/ 436978 w 697572"/>
              <a:gd name="csY64" fmla="*/ 352226 h 1240128"/>
              <a:gd name="csX65" fmla="*/ 472329 w 697572"/>
              <a:gd name="csY65" fmla="*/ 362890 h 1240128"/>
              <a:gd name="csX66" fmla="*/ 523779 w 697572"/>
              <a:gd name="csY66" fmla="*/ 391962 h 1240128"/>
              <a:gd name="csX67" fmla="*/ 527344 w 697572"/>
              <a:gd name="csY67" fmla="*/ 430096 h 1240128"/>
              <a:gd name="csX68" fmla="*/ 504112 w 697572"/>
              <a:gd name="csY68" fmla="*/ 449628 h 1240128"/>
              <a:gd name="csX69" fmla="*/ 459430 w 697572"/>
              <a:gd name="csY69" fmla="*/ 461116 h 1240128"/>
              <a:gd name="csX70" fmla="*/ 446666 w 697572"/>
              <a:gd name="csY70" fmla="*/ 474229 h 1240128"/>
              <a:gd name="csX71" fmla="*/ 449133 w 697572"/>
              <a:gd name="csY71" fmla="*/ 531639 h 1240128"/>
              <a:gd name="csX72" fmla="*/ 454546 w 697572"/>
              <a:gd name="csY72" fmla="*/ 588688 h 1240128"/>
              <a:gd name="csX73" fmla="*/ 466126 w 697572"/>
              <a:gd name="csY73" fmla="*/ 649736 h 1240128"/>
              <a:gd name="csX74" fmla="*/ 512154 w 697572"/>
              <a:gd name="csY74" fmla="*/ 794006 h 1240128"/>
              <a:gd name="csX75" fmla="*/ 525763 w 697572"/>
              <a:gd name="csY75" fmla="*/ 834323 h 1240128"/>
              <a:gd name="csX76" fmla="*/ 530555 w 697572"/>
              <a:gd name="csY76" fmla="*/ 845114 h 1240128"/>
              <a:gd name="csX77" fmla="*/ 554424 w 697572"/>
              <a:gd name="csY77" fmla="*/ 856618 h 1240128"/>
              <a:gd name="csX78" fmla="*/ 572880 w 697572"/>
              <a:gd name="csY78" fmla="*/ 862546 h 1240128"/>
              <a:gd name="csX79" fmla="*/ 578643 w 697572"/>
              <a:gd name="csY79" fmla="*/ 880396 h 1240128"/>
              <a:gd name="csX80" fmla="*/ 572188 w 697572"/>
              <a:gd name="csY80" fmla="*/ 899820 h 1240128"/>
              <a:gd name="csX81" fmla="*/ 582698 w 697572"/>
              <a:gd name="csY81" fmla="*/ 930382 h 1240128"/>
              <a:gd name="csX82" fmla="*/ 604747 w 697572"/>
              <a:gd name="csY82" fmla="*/ 960852 h 1240128"/>
              <a:gd name="csX83" fmla="*/ 613863 w 697572"/>
              <a:gd name="csY83" fmla="*/ 968311 h 1240128"/>
              <a:gd name="csX84" fmla="*/ 629435 w 697572"/>
              <a:gd name="csY84" fmla="*/ 981186 h 1240128"/>
              <a:gd name="csX85" fmla="*/ 633611 w 697572"/>
              <a:gd name="csY85" fmla="*/ 985609 h 1240128"/>
              <a:gd name="csX86" fmla="*/ 673790 w 697572"/>
              <a:gd name="csY86" fmla="*/ 1049348 h 1240128"/>
              <a:gd name="csX87" fmla="*/ 675873 w 697572"/>
              <a:gd name="csY87" fmla="*/ 1092839 h 1240128"/>
              <a:gd name="csX88" fmla="*/ 681668 w 697572"/>
              <a:gd name="csY88" fmla="*/ 1129292 h 1240128"/>
              <a:gd name="csX89" fmla="*/ 697338 w 697572"/>
              <a:gd name="csY89" fmla="*/ 1196079 h 1240128"/>
              <a:gd name="csX90" fmla="*/ 690637 w 697572"/>
              <a:gd name="csY90" fmla="*/ 1205035 h 1240128"/>
              <a:gd name="csX91" fmla="*/ 639777 w 697572"/>
              <a:gd name="csY91" fmla="*/ 1217994 h 1240128"/>
              <a:gd name="csX92" fmla="*/ 587072 w 697572"/>
              <a:gd name="csY92" fmla="*/ 1227761 h 1240128"/>
              <a:gd name="csX93" fmla="*/ 581793 w 697572"/>
              <a:gd name="csY93" fmla="*/ 1234401 h 1240128"/>
              <a:gd name="csX94" fmla="*/ 357446 w 697572"/>
              <a:gd name="csY94" fmla="*/ 903795 h 1240128"/>
              <a:gd name="csX95" fmla="*/ 344445 w 697572"/>
              <a:gd name="csY95" fmla="*/ 903795 h 1240128"/>
              <a:gd name="csX96" fmla="*/ 349212 w 697572"/>
              <a:gd name="csY96" fmla="*/ 950515 h 1240128"/>
              <a:gd name="csX97" fmla="*/ 349538 w 697572"/>
              <a:gd name="csY97" fmla="*/ 1069392 h 1240128"/>
              <a:gd name="csX98" fmla="*/ 349415 w 697572"/>
              <a:gd name="csY98" fmla="*/ 1108925 h 1240128"/>
              <a:gd name="csX99" fmla="*/ 647726 w 697572"/>
              <a:gd name="csY99" fmla="*/ 1089872 h 1240128"/>
              <a:gd name="csX100" fmla="*/ 647654 w 697572"/>
              <a:gd name="csY100" fmla="*/ 1076267 h 1240128"/>
              <a:gd name="csX101" fmla="*/ 610267 w 697572"/>
              <a:gd name="csY101" fmla="*/ 994126 h 1240128"/>
              <a:gd name="csX102" fmla="*/ 571459 w 697572"/>
              <a:gd name="csY102" fmla="*/ 956568 h 1240128"/>
              <a:gd name="csX103" fmla="*/ 541653 w 697572"/>
              <a:gd name="csY103" fmla="*/ 901544 h 1240128"/>
              <a:gd name="csX104" fmla="*/ 539477 w 697572"/>
              <a:gd name="csY104" fmla="*/ 895908 h 1240128"/>
              <a:gd name="csX105" fmla="*/ 357446 w 697572"/>
              <a:gd name="csY105" fmla="*/ 903795 h 1240128"/>
              <a:gd name="csX106" fmla="*/ 300108 w 697572"/>
              <a:gd name="csY106" fmla="*/ 85260 h 1240128"/>
              <a:gd name="csX107" fmla="*/ 290213 w 697572"/>
              <a:gd name="csY107" fmla="*/ 127888 h 1240128"/>
              <a:gd name="csX108" fmla="*/ 331056 w 697572"/>
              <a:gd name="csY108" fmla="*/ 214168 h 1240128"/>
              <a:gd name="csX109" fmla="*/ 424717 w 697572"/>
              <a:gd name="csY109" fmla="*/ 245160 h 1240128"/>
              <a:gd name="csX110" fmla="*/ 496752 w 697572"/>
              <a:gd name="csY110" fmla="*/ 141256 h 1240128"/>
              <a:gd name="csX111" fmla="*/ 390320 w 697572"/>
              <a:gd name="csY111" fmla="*/ 43995 h 1240128"/>
              <a:gd name="csX112" fmla="*/ 300108 w 697572"/>
              <a:gd name="csY112" fmla="*/ 85260 h 1240128"/>
              <a:gd name="csX113" fmla="*/ 343360 w 697572"/>
              <a:gd name="csY113" fmla="*/ 634332 h 1240128"/>
              <a:gd name="csX114" fmla="*/ 340877 w 697572"/>
              <a:gd name="csY114" fmla="*/ 732259 h 1240128"/>
              <a:gd name="csX115" fmla="*/ 338360 w 697572"/>
              <a:gd name="csY115" fmla="*/ 810538 h 1240128"/>
              <a:gd name="csX116" fmla="*/ 337115 w 697572"/>
              <a:gd name="csY116" fmla="*/ 817736 h 1240128"/>
              <a:gd name="csX117" fmla="*/ 336516 w 697572"/>
              <a:gd name="csY117" fmla="*/ 863022 h 1240128"/>
              <a:gd name="csX118" fmla="*/ 343436 w 697572"/>
              <a:gd name="csY118" fmla="*/ 864027 h 1240128"/>
              <a:gd name="csX119" fmla="*/ 406718 w 697572"/>
              <a:gd name="csY119" fmla="*/ 862982 h 1240128"/>
              <a:gd name="csX120" fmla="*/ 456888 w 697572"/>
              <a:gd name="csY120" fmla="*/ 861794 h 1240128"/>
              <a:gd name="csX121" fmla="*/ 495873 w 697572"/>
              <a:gd name="csY121" fmla="*/ 863963 h 1240128"/>
              <a:gd name="csX122" fmla="*/ 509286 w 697572"/>
              <a:gd name="csY122" fmla="*/ 863595 h 1240128"/>
              <a:gd name="csX123" fmla="*/ 516956 w 697572"/>
              <a:gd name="csY123" fmla="*/ 856791 h 1240128"/>
              <a:gd name="csX124" fmla="*/ 513920 w 697572"/>
              <a:gd name="csY124" fmla="*/ 848709 h 1240128"/>
              <a:gd name="csX125" fmla="*/ 506683 w 697572"/>
              <a:gd name="csY125" fmla="*/ 839054 h 1240128"/>
              <a:gd name="csX126" fmla="*/ 488629 w 697572"/>
              <a:gd name="csY126" fmla="*/ 799037 h 1240128"/>
              <a:gd name="csX127" fmla="*/ 456922 w 697572"/>
              <a:gd name="csY127" fmla="*/ 696297 h 1240128"/>
              <a:gd name="csX128" fmla="*/ 441346 w 697572"/>
              <a:gd name="csY128" fmla="*/ 619885 h 1240128"/>
              <a:gd name="csX129" fmla="*/ 435963 w 697572"/>
              <a:gd name="csY129" fmla="*/ 582529 h 1240128"/>
              <a:gd name="csX130" fmla="*/ 429497 w 697572"/>
              <a:gd name="csY130" fmla="*/ 521990 h 1240128"/>
              <a:gd name="csX131" fmla="*/ 426887 w 697572"/>
              <a:gd name="csY131" fmla="*/ 471989 h 1240128"/>
              <a:gd name="csX132" fmla="*/ 413744 w 697572"/>
              <a:gd name="csY132" fmla="*/ 461077 h 1240128"/>
              <a:gd name="csX133" fmla="*/ 353573 w 697572"/>
              <a:gd name="csY133" fmla="*/ 461120 h 1240128"/>
              <a:gd name="csX134" fmla="*/ 344160 w 697572"/>
              <a:gd name="csY134" fmla="*/ 462286 h 1240128"/>
              <a:gd name="csX135" fmla="*/ 343404 w 697572"/>
              <a:gd name="csY135" fmla="*/ 469192 h 1240128"/>
              <a:gd name="csX136" fmla="*/ 343469 w 697572"/>
              <a:gd name="csY136" fmla="*/ 574797 h 1240128"/>
              <a:gd name="csX137" fmla="*/ 345522 w 697572"/>
              <a:gd name="csY137" fmla="*/ 591669 h 1240128"/>
              <a:gd name="csX138" fmla="*/ 343360 w 697572"/>
              <a:gd name="csY138" fmla="*/ 634332 h 1240128"/>
              <a:gd name="csX139" fmla="*/ 416946 w 697572"/>
              <a:gd name="csY139" fmla="*/ 385943 h 1240128"/>
              <a:gd name="csX140" fmla="*/ 401091 w 697572"/>
              <a:gd name="csY140" fmla="*/ 387162 h 1240128"/>
              <a:gd name="csX141" fmla="*/ 369218 w 697572"/>
              <a:gd name="csY141" fmla="*/ 387708 h 1240128"/>
              <a:gd name="csX142" fmla="*/ 351833 w 697572"/>
              <a:gd name="csY142" fmla="*/ 398991 h 1240128"/>
              <a:gd name="csX143" fmla="*/ 349778 w 697572"/>
              <a:gd name="csY143" fmla="*/ 426021 h 1240128"/>
              <a:gd name="csX144" fmla="*/ 361839 w 697572"/>
              <a:gd name="csY144" fmla="*/ 426538 h 1240128"/>
              <a:gd name="csX145" fmla="*/ 455022 w 697572"/>
              <a:gd name="csY145" fmla="*/ 426922 h 1240128"/>
              <a:gd name="csX146" fmla="*/ 481958 w 697572"/>
              <a:gd name="csY146" fmla="*/ 426527 h 1240128"/>
              <a:gd name="csX147" fmla="*/ 499817 w 697572"/>
              <a:gd name="csY147" fmla="*/ 419888 h 1240128"/>
              <a:gd name="csX148" fmla="*/ 499439 w 697572"/>
              <a:gd name="csY148" fmla="*/ 400719 h 1240128"/>
              <a:gd name="csX149" fmla="*/ 468062 w 697572"/>
              <a:gd name="csY149" fmla="*/ 387775 h 1240128"/>
              <a:gd name="csX150" fmla="*/ 416946 w 697572"/>
              <a:gd name="csY150" fmla="*/ 385943 h 1240128"/>
              <a:gd name="csX151" fmla="*/ 636802 w 697572"/>
              <a:gd name="csY151" fmla="*/ 1190940 h 1240128"/>
              <a:gd name="csX152" fmla="*/ 666492 w 697572"/>
              <a:gd name="csY152" fmla="*/ 1184186 h 1240128"/>
              <a:gd name="csX153" fmla="*/ 674465 w 697572"/>
              <a:gd name="csY153" fmla="*/ 1170880 h 1240128"/>
              <a:gd name="csX154" fmla="*/ 662462 w 697572"/>
              <a:gd name="csY154" fmla="*/ 1141464 h 1240128"/>
              <a:gd name="csX155" fmla="*/ 645564 w 697572"/>
              <a:gd name="csY155" fmla="*/ 1131937 h 1240128"/>
              <a:gd name="csX156" fmla="*/ 627387 w 697572"/>
              <a:gd name="csY156" fmla="*/ 1133618 h 1240128"/>
              <a:gd name="csX157" fmla="*/ 583917 w 697572"/>
              <a:gd name="csY157" fmla="*/ 1139222 h 1240128"/>
              <a:gd name="csX158" fmla="*/ 543741 w 697572"/>
              <a:gd name="csY158" fmla="*/ 1141869 h 1240128"/>
              <a:gd name="csX159" fmla="*/ 512146 w 697572"/>
              <a:gd name="csY159" fmla="*/ 1144418 h 1240128"/>
              <a:gd name="csX160" fmla="*/ 447711 w 697572"/>
              <a:gd name="csY160" fmla="*/ 1148973 h 1240128"/>
              <a:gd name="csX161" fmla="*/ 351979 w 697572"/>
              <a:gd name="csY161" fmla="*/ 1149200 h 1240128"/>
              <a:gd name="csX162" fmla="*/ 338443 w 697572"/>
              <a:gd name="csY162" fmla="*/ 1150040 h 1240128"/>
              <a:gd name="csX163" fmla="*/ 338451 w 697572"/>
              <a:gd name="csY163" fmla="*/ 1190780 h 1240128"/>
              <a:gd name="csX164" fmla="*/ 351082 w 697572"/>
              <a:gd name="csY164" fmla="*/ 1207015 h 1240128"/>
              <a:gd name="csX165" fmla="*/ 358298 w 697572"/>
              <a:gd name="csY165" fmla="*/ 1208094 h 1240128"/>
              <a:gd name="csX166" fmla="*/ 521229 w 697572"/>
              <a:gd name="csY166" fmla="*/ 1205646 h 1240128"/>
              <a:gd name="csX167" fmla="*/ 523675 w 697572"/>
              <a:gd name="csY167" fmla="*/ 1205490 h 1240128"/>
              <a:gd name="csX168" fmla="*/ 580423 w 697572"/>
              <a:gd name="csY168" fmla="*/ 1198350 h 1240128"/>
              <a:gd name="csX169" fmla="*/ 636802 w 697572"/>
              <a:gd name="csY169" fmla="*/ 1190940 h 124012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</a:cxnLst>
            <a:rect l="l" t="t" r="r" b="b"/>
            <a:pathLst>
              <a:path w="697572" h="1240128">
                <a:moveTo>
                  <a:pt x="581793" y="1234401"/>
                </a:moveTo>
                <a:cubicBezTo>
                  <a:pt x="580693" y="1234661"/>
                  <a:pt x="579594" y="1234922"/>
                  <a:pt x="577427" y="1234156"/>
                </a:cubicBezTo>
                <a:cubicBezTo>
                  <a:pt x="571216" y="1227899"/>
                  <a:pt x="564912" y="1230441"/>
                  <a:pt x="559133" y="1230909"/>
                </a:cubicBezTo>
                <a:cubicBezTo>
                  <a:pt x="544971" y="1232056"/>
                  <a:pt x="530869" y="1233971"/>
                  <a:pt x="516706" y="1235117"/>
                </a:cubicBezTo>
                <a:cubicBezTo>
                  <a:pt x="502910" y="1236232"/>
                  <a:pt x="489077" y="1237097"/>
                  <a:pt x="475244" y="1237506"/>
                </a:cubicBezTo>
                <a:cubicBezTo>
                  <a:pt x="440539" y="1238535"/>
                  <a:pt x="405696" y="1241458"/>
                  <a:pt x="371154" y="1239428"/>
                </a:cubicBezTo>
                <a:cubicBezTo>
                  <a:pt x="339645" y="1237575"/>
                  <a:pt x="308239" y="1238753"/>
                  <a:pt x="276813" y="1237654"/>
                </a:cubicBezTo>
                <a:cubicBezTo>
                  <a:pt x="273949" y="1237553"/>
                  <a:pt x="271079" y="1237652"/>
                  <a:pt x="268212" y="1237635"/>
                </a:cubicBezTo>
                <a:cubicBezTo>
                  <a:pt x="266165" y="1237623"/>
                  <a:pt x="264111" y="1237668"/>
                  <a:pt x="262072" y="1237523"/>
                </a:cubicBezTo>
                <a:cubicBezTo>
                  <a:pt x="239751" y="1235944"/>
                  <a:pt x="217441" y="1234201"/>
                  <a:pt x="195111" y="1232775"/>
                </a:cubicBezTo>
                <a:cubicBezTo>
                  <a:pt x="178437" y="1231710"/>
                  <a:pt x="161712" y="1231378"/>
                  <a:pt x="145060" y="1230076"/>
                </a:cubicBezTo>
                <a:cubicBezTo>
                  <a:pt x="134969" y="1229287"/>
                  <a:pt x="124987" y="1227177"/>
                  <a:pt x="114933" y="1225832"/>
                </a:cubicBezTo>
                <a:cubicBezTo>
                  <a:pt x="100834" y="1223946"/>
                  <a:pt x="86554" y="1223022"/>
                  <a:pt x="72642" y="1220237"/>
                </a:cubicBezTo>
                <a:cubicBezTo>
                  <a:pt x="51920" y="1216091"/>
                  <a:pt x="31443" y="1210723"/>
                  <a:pt x="10894" y="1205737"/>
                </a:cubicBezTo>
                <a:cubicBezTo>
                  <a:pt x="9027" y="1205284"/>
                  <a:pt x="6196" y="1204140"/>
                  <a:pt x="5856" y="1202799"/>
                </a:cubicBezTo>
                <a:cubicBezTo>
                  <a:pt x="3474" y="1193418"/>
                  <a:pt x="-438" y="1183796"/>
                  <a:pt x="40" y="1174450"/>
                </a:cubicBezTo>
                <a:cubicBezTo>
                  <a:pt x="1079" y="1154149"/>
                  <a:pt x="9757" y="1135843"/>
                  <a:pt x="19831" y="1118410"/>
                </a:cubicBezTo>
                <a:cubicBezTo>
                  <a:pt x="21968" y="1114713"/>
                  <a:pt x="22970" y="1111858"/>
                  <a:pt x="22004" y="1107240"/>
                </a:cubicBezTo>
                <a:cubicBezTo>
                  <a:pt x="17168" y="1084118"/>
                  <a:pt x="17717" y="1061168"/>
                  <a:pt x="25947" y="1038650"/>
                </a:cubicBezTo>
                <a:cubicBezTo>
                  <a:pt x="32954" y="1019481"/>
                  <a:pt x="44478" y="1003118"/>
                  <a:pt x="58234" y="988567"/>
                </a:cubicBezTo>
                <a:cubicBezTo>
                  <a:pt x="77769" y="967902"/>
                  <a:pt x="97978" y="947832"/>
                  <a:pt x="118645" y="928298"/>
                </a:cubicBezTo>
                <a:cubicBezTo>
                  <a:pt x="130104" y="917467"/>
                  <a:pt x="131835" y="905961"/>
                  <a:pt x="126320" y="892015"/>
                </a:cubicBezTo>
                <a:cubicBezTo>
                  <a:pt x="123798" y="885637"/>
                  <a:pt x="122123" y="878904"/>
                  <a:pt x="120345" y="872258"/>
                </a:cubicBezTo>
                <a:cubicBezTo>
                  <a:pt x="119029" y="867341"/>
                  <a:pt x="120162" y="863613"/>
                  <a:pt x="125668" y="861640"/>
                </a:cubicBezTo>
                <a:cubicBezTo>
                  <a:pt x="135266" y="858201"/>
                  <a:pt x="144535" y="853788"/>
                  <a:pt x="154237" y="850716"/>
                </a:cubicBezTo>
                <a:cubicBezTo>
                  <a:pt x="161882" y="848296"/>
                  <a:pt x="167110" y="843897"/>
                  <a:pt x="170248" y="836767"/>
                </a:cubicBezTo>
                <a:cubicBezTo>
                  <a:pt x="176168" y="823316"/>
                  <a:pt x="182193" y="809907"/>
                  <a:pt x="187840" y="796341"/>
                </a:cubicBezTo>
                <a:cubicBezTo>
                  <a:pt x="195194" y="778679"/>
                  <a:pt x="202250" y="760894"/>
                  <a:pt x="209346" y="743126"/>
                </a:cubicBezTo>
                <a:cubicBezTo>
                  <a:pt x="210083" y="741280"/>
                  <a:pt x="210252" y="739200"/>
                  <a:pt x="210630" y="737219"/>
                </a:cubicBezTo>
                <a:cubicBezTo>
                  <a:pt x="211694" y="731645"/>
                  <a:pt x="212425" y="725987"/>
                  <a:pt x="213836" y="720505"/>
                </a:cubicBezTo>
                <a:cubicBezTo>
                  <a:pt x="218406" y="702764"/>
                  <a:pt x="223811" y="685219"/>
                  <a:pt x="227791" y="667353"/>
                </a:cubicBezTo>
                <a:cubicBezTo>
                  <a:pt x="232826" y="644755"/>
                  <a:pt x="237367" y="622009"/>
                  <a:pt x="241013" y="599151"/>
                </a:cubicBezTo>
                <a:cubicBezTo>
                  <a:pt x="244018" y="580319"/>
                  <a:pt x="246001" y="561272"/>
                  <a:pt x="247322" y="542242"/>
                </a:cubicBezTo>
                <a:cubicBezTo>
                  <a:pt x="248312" y="527975"/>
                  <a:pt x="246344" y="513451"/>
                  <a:pt x="247948" y="499296"/>
                </a:cubicBezTo>
                <a:cubicBezTo>
                  <a:pt x="249066" y="489432"/>
                  <a:pt x="247923" y="480014"/>
                  <a:pt x="247577" y="470384"/>
                </a:cubicBezTo>
                <a:cubicBezTo>
                  <a:pt x="247364" y="464453"/>
                  <a:pt x="245121" y="461397"/>
                  <a:pt x="238877" y="460987"/>
                </a:cubicBezTo>
                <a:cubicBezTo>
                  <a:pt x="233224" y="460615"/>
                  <a:pt x="227461" y="459920"/>
                  <a:pt x="222040" y="458353"/>
                </a:cubicBezTo>
                <a:cubicBezTo>
                  <a:pt x="203991" y="453134"/>
                  <a:pt x="185737" y="448229"/>
                  <a:pt x="172193" y="433714"/>
                </a:cubicBezTo>
                <a:cubicBezTo>
                  <a:pt x="162702" y="423544"/>
                  <a:pt x="160887" y="408134"/>
                  <a:pt x="168410" y="396591"/>
                </a:cubicBezTo>
                <a:cubicBezTo>
                  <a:pt x="178294" y="381428"/>
                  <a:pt x="193736" y="373793"/>
                  <a:pt x="209826" y="367773"/>
                </a:cubicBezTo>
                <a:cubicBezTo>
                  <a:pt x="223159" y="362784"/>
                  <a:pt x="237124" y="359493"/>
                  <a:pt x="250732" y="355208"/>
                </a:cubicBezTo>
                <a:cubicBezTo>
                  <a:pt x="253085" y="354467"/>
                  <a:pt x="255058" y="352518"/>
                  <a:pt x="258289" y="350426"/>
                </a:cubicBezTo>
                <a:cubicBezTo>
                  <a:pt x="250173" y="342610"/>
                  <a:pt x="241833" y="337880"/>
                  <a:pt x="233274" y="333513"/>
                </a:cubicBezTo>
                <a:cubicBezTo>
                  <a:pt x="232377" y="333055"/>
                  <a:pt x="230890" y="333758"/>
                  <a:pt x="229677" y="333922"/>
                </a:cubicBezTo>
                <a:cubicBezTo>
                  <a:pt x="229677" y="333922"/>
                  <a:pt x="230323" y="333834"/>
                  <a:pt x="230149" y="332979"/>
                </a:cubicBezTo>
                <a:cubicBezTo>
                  <a:pt x="229023" y="330409"/>
                  <a:pt x="228502" y="328059"/>
                  <a:pt x="227053" y="327076"/>
                </a:cubicBezTo>
                <a:cubicBezTo>
                  <a:pt x="213615" y="317962"/>
                  <a:pt x="204643" y="305332"/>
                  <a:pt x="196769" y="291380"/>
                </a:cubicBezTo>
                <a:cubicBezTo>
                  <a:pt x="191792" y="282564"/>
                  <a:pt x="185421" y="274665"/>
                  <a:pt x="184389" y="264042"/>
                </a:cubicBezTo>
                <a:cubicBezTo>
                  <a:pt x="184179" y="261874"/>
                  <a:pt x="181925" y="259908"/>
                  <a:pt x="180630" y="257839"/>
                </a:cubicBezTo>
                <a:cubicBezTo>
                  <a:pt x="179137" y="255454"/>
                  <a:pt x="177317" y="253204"/>
                  <a:pt x="176231" y="250643"/>
                </a:cubicBezTo>
                <a:cubicBezTo>
                  <a:pt x="161865" y="216749"/>
                  <a:pt x="159606" y="182060"/>
                  <a:pt x="170073" y="146723"/>
                </a:cubicBezTo>
                <a:cubicBezTo>
                  <a:pt x="173311" y="135795"/>
                  <a:pt x="177248" y="125074"/>
                  <a:pt x="180929" y="114280"/>
                </a:cubicBezTo>
                <a:cubicBezTo>
                  <a:pt x="182396" y="109981"/>
                  <a:pt x="183922" y="105742"/>
                  <a:pt x="180839" y="101501"/>
                </a:cubicBezTo>
                <a:cubicBezTo>
                  <a:pt x="192473" y="75833"/>
                  <a:pt x="211344" y="56271"/>
                  <a:pt x="233536" y="39653"/>
                </a:cubicBezTo>
                <a:cubicBezTo>
                  <a:pt x="267321" y="14353"/>
                  <a:pt x="305621" y="873"/>
                  <a:pt x="347618" y="35"/>
                </a:cubicBezTo>
                <a:cubicBezTo>
                  <a:pt x="379125" y="-593"/>
                  <a:pt x="409214" y="7172"/>
                  <a:pt x="437139" y="22396"/>
                </a:cubicBezTo>
                <a:cubicBezTo>
                  <a:pt x="481844" y="46766"/>
                  <a:pt x="514077" y="82116"/>
                  <a:pt x="529052" y="131093"/>
                </a:cubicBezTo>
                <a:cubicBezTo>
                  <a:pt x="543544" y="178495"/>
                  <a:pt x="541630" y="225548"/>
                  <a:pt x="518497" y="271517"/>
                </a:cubicBezTo>
                <a:cubicBezTo>
                  <a:pt x="511428" y="277096"/>
                  <a:pt x="503848" y="281136"/>
                  <a:pt x="500808" y="287385"/>
                </a:cubicBezTo>
                <a:cubicBezTo>
                  <a:pt x="493932" y="301522"/>
                  <a:pt x="483805" y="312513"/>
                  <a:pt x="472948" y="323290"/>
                </a:cubicBezTo>
                <a:cubicBezTo>
                  <a:pt x="470972" y="325253"/>
                  <a:pt x="470533" y="328767"/>
                  <a:pt x="469385" y="331565"/>
                </a:cubicBezTo>
                <a:cubicBezTo>
                  <a:pt x="469385" y="331565"/>
                  <a:pt x="469172" y="331584"/>
                  <a:pt x="468293" y="331320"/>
                </a:cubicBezTo>
                <a:cubicBezTo>
                  <a:pt x="461937" y="330836"/>
                  <a:pt x="458618" y="332772"/>
                  <a:pt x="459542" y="338942"/>
                </a:cubicBezTo>
                <a:cubicBezTo>
                  <a:pt x="459542" y="338942"/>
                  <a:pt x="459473" y="338913"/>
                  <a:pt x="458492" y="338671"/>
                </a:cubicBezTo>
                <a:cubicBezTo>
                  <a:pt x="450936" y="342653"/>
                  <a:pt x="440712" y="341355"/>
                  <a:pt x="436978" y="352226"/>
                </a:cubicBezTo>
                <a:cubicBezTo>
                  <a:pt x="449178" y="355911"/>
                  <a:pt x="460733" y="359469"/>
                  <a:pt x="472329" y="362890"/>
                </a:cubicBezTo>
                <a:cubicBezTo>
                  <a:pt x="491728" y="368613"/>
                  <a:pt x="510182" y="375784"/>
                  <a:pt x="523779" y="391962"/>
                </a:cubicBezTo>
                <a:cubicBezTo>
                  <a:pt x="535849" y="406326"/>
                  <a:pt x="534845" y="420076"/>
                  <a:pt x="527344" y="430096"/>
                </a:cubicBezTo>
                <a:cubicBezTo>
                  <a:pt x="521323" y="438139"/>
                  <a:pt x="513928" y="445333"/>
                  <a:pt x="504112" y="449628"/>
                </a:cubicBezTo>
                <a:cubicBezTo>
                  <a:pt x="489776" y="455901"/>
                  <a:pt x="475173" y="460486"/>
                  <a:pt x="459430" y="461116"/>
                </a:cubicBezTo>
                <a:cubicBezTo>
                  <a:pt x="448415" y="461557"/>
                  <a:pt x="446384" y="463369"/>
                  <a:pt x="446666" y="474229"/>
                </a:cubicBezTo>
                <a:cubicBezTo>
                  <a:pt x="447164" y="493376"/>
                  <a:pt x="447839" y="512533"/>
                  <a:pt x="449133" y="531639"/>
                </a:cubicBezTo>
                <a:cubicBezTo>
                  <a:pt x="450424" y="550696"/>
                  <a:pt x="451783" y="569809"/>
                  <a:pt x="454546" y="588688"/>
                </a:cubicBezTo>
                <a:cubicBezTo>
                  <a:pt x="457543" y="609164"/>
                  <a:pt x="462165" y="629403"/>
                  <a:pt x="466126" y="649736"/>
                </a:cubicBezTo>
                <a:cubicBezTo>
                  <a:pt x="475845" y="699621"/>
                  <a:pt x="493414" y="746980"/>
                  <a:pt x="512154" y="794006"/>
                </a:cubicBezTo>
                <a:cubicBezTo>
                  <a:pt x="517387" y="807138"/>
                  <a:pt x="525145" y="819463"/>
                  <a:pt x="525763" y="834323"/>
                </a:cubicBezTo>
                <a:cubicBezTo>
                  <a:pt x="525919" y="838081"/>
                  <a:pt x="527739" y="843335"/>
                  <a:pt x="530555" y="845114"/>
                </a:cubicBezTo>
                <a:cubicBezTo>
                  <a:pt x="537981" y="849801"/>
                  <a:pt x="546243" y="853278"/>
                  <a:pt x="554424" y="856618"/>
                </a:cubicBezTo>
                <a:cubicBezTo>
                  <a:pt x="560391" y="859054"/>
                  <a:pt x="567041" y="859887"/>
                  <a:pt x="572880" y="862546"/>
                </a:cubicBezTo>
                <a:cubicBezTo>
                  <a:pt x="581470" y="866458"/>
                  <a:pt x="582467" y="871415"/>
                  <a:pt x="578643" y="880396"/>
                </a:cubicBezTo>
                <a:cubicBezTo>
                  <a:pt x="575969" y="886677"/>
                  <a:pt x="572900" y="893182"/>
                  <a:pt x="572188" y="899820"/>
                </a:cubicBezTo>
                <a:cubicBezTo>
                  <a:pt x="570960" y="911271"/>
                  <a:pt x="576506" y="920944"/>
                  <a:pt x="582698" y="930382"/>
                </a:cubicBezTo>
                <a:cubicBezTo>
                  <a:pt x="589569" y="940856"/>
                  <a:pt x="600933" y="947930"/>
                  <a:pt x="604747" y="960852"/>
                </a:cubicBezTo>
                <a:cubicBezTo>
                  <a:pt x="605684" y="964030"/>
                  <a:pt x="610294" y="967128"/>
                  <a:pt x="613863" y="968311"/>
                </a:cubicBezTo>
                <a:cubicBezTo>
                  <a:pt x="620963" y="970665"/>
                  <a:pt x="625924" y="974774"/>
                  <a:pt x="629435" y="981186"/>
                </a:cubicBezTo>
                <a:cubicBezTo>
                  <a:pt x="630381" y="982913"/>
                  <a:pt x="631977" y="984459"/>
                  <a:pt x="633611" y="985609"/>
                </a:cubicBezTo>
                <a:cubicBezTo>
                  <a:pt x="655878" y="1001272"/>
                  <a:pt x="668032" y="1023762"/>
                  <a:pt x="673790" y="1049348"/>
                </a:cubicBezTo>
                <a:cubicBezTo>
                  <a:pt x="676936" y="1063327"/>
                  <a:pt x="679769" y="1077802"/>
                  <a:pt x="675873" y="1092839"/>
                </a:cubicBezTo>
                <a:cubicBezTo>
                  <a:pt x="672677" y="1105174"/>
                  <a:pt x="673042" y="1116963"/>
                  <a:pt x="681668" y="1129292"/>
                </a:cubicBezTo>
                <a:cubicBezTo>
                  <a:pt x="695321" y="1148802"/>
                  <a:pt x="698550" y="1172235"/>
                  <a:pt x="697338" y="1196079"/>
                </a:cubicBezTo>
                <a:cubicBezTo>
                  <a:pt x="697087" y="1201014"/>
                  <a:pt x="694979" y="1203886"/>
                  <a:pt x="690637" y="1205035"/>
                </a:cubicBezTo>
                <a:cubicBezTo>
                  <a:pt x="673723" y="1209511"/>
                  <a:pt x="656856" y="1214241"/>
                  <a:pt x="639777" y="1217994"/>
                </a:cubicBezTo>
                <a:cubicBezTo>
                  <a:pt x="622334" y="1221827"/>
                  <a:pt x="604691" y="1224790"/>
                  <a:pt x="587072" y="1227761"/>
                </a:cubicBezTo>
                <a:cubicBezTo>
                  <a:pt x="582708" y="1228497"/>
                  <a:pt x="581724" y="1230736"/>
                  <a:pt x="581793" y="1234401"/>
                </a:cubicBezTo>
                <a:moveTo>
                  <a:pt x="357446" y="903795"/>
                </a:moveTo>
                <a:cubicBezTo>
                  <a:pt x="353141" y="903795"/>
                  <a:pt x="348835" y="903795"/>
                  <a:pt x="344445" y="903795"/>
                </a:cubicBezTo>
                <a:cubicBezTo>
                  <a:pt x="346169" y="920562"/>
                  <a:pt x="347908" y="935520"/>
                  <a:pt x="349212" y="950515"/>
                </a:cubicBezTo>
                <a:cubicBezTo>
                  <a:pt x="352656" y="990125"/>
                  <a:pt x="351941" y="1029743"/>
                  <a:pt x="349538" y="1069392"/>
                </a:cubicBezTo>
                <a:cubicBezTo>
                  <a:pt x="348759" y="1082241"/>
                  <a:pt x="349415" y="1095176"/>
                  <a:pt x="349415" y="1108925"/>
                </a:cubicBezTo>
                <a:cubicBezTo>
                  <a:pt x="449467" y="1111953"/>
                  <a:pt x="548509" y="1104712"/>
                  <a:pt x="647726" y="1089872"/>
                </a:cubicBezTo>
                <a:cubicBezTo>
                  <a:pt x="647726" y="1084313"/>
                  <a:pt x="648180" y="1080225"/>
                  <a:pt x="647654" y="1076267"/>
                </a:cubicBezTo>
                <a:cubicBezTo>
                  <a:pt x="643515" y="1045124"/>
                  <a:pt x="633172" y="1016714"/>
                  <a:pt x="610267" y="994126"/>
                </a:cubicBezTo>
                <a:cubicBezTo>
                  <a:pt x="597451" y="981485"/>
                  <a:pt x="584392" y="969090"/>
                  <a:pt x="571459" y="956568"/>
                </a:cubicBezTo>
                <a:cubicBezTo>
                  <a:pt x="555751" y="941359"/>
                  <a:pt x="544836" y="923558"/>
                  <a:pt x="541653" y="901544"/>
                </a:cubicBezTo>
                <a:cubicBezTo>
                  <a:pt x="541430" y="900007"/>
                  <a:pt x="540528" y="898570"/>
                  <a:pt x="539477" y="895908"/>
                </a:cubicBezTo>
                <a:cubicBezTo>
                  <a:pt x="479736" y="901652"/>
                  <a:pt x="419815" y="904536"/>
                  <a:pt x="357446" y="903795"/>
                </a:cubicBezTo>
                <a:moveTo>
                  <a:pt x="300108" y="85260"/>
                </a:moveTo>
                <a:cubicBezTo>
                  <a:pt x="293656" y="98745"/>
                  <a:pt x="289202" y="113094"/>
                  <a:pt x="290213" y="127888"/>
                </a:cubicBezTo>
                <a:cubicBezTo>
                  <a:pt x="292527" y="161736"/>
                  <a:pt x="304185" y="191723"/>
                  <a:pt x="331056" y="214168"/>
                </a:cubicBezTo>
                <a:cubicBezTo>
                  <a:pt x="358172" y="236816"/>
                  <a:pt x="388435" y="249934"/>
                  <a:pt x="424717" y="245160"/>
                </a:cubicBezTo>
                <a:cubicBezTo>
                  <a:pt x="468593" y="239387"/>
                  <a:pt x="509574" y="203365"/>
                  <a:pt x="496752" y="141256"/>
                </a:cubicBezTo>
                <a:cubicBezTo>
                  <a:pt x="487021" y="94124"/>
                  <a:pt x="447261" y="51874"/>
                  <a:pt x="390320" y="43995"/>
                </a:cubicBezTo>
                <a:cubicBezTo>
                  <a:pt x="353241" y="38865"/>
                  <a:pt x="321136" y="48750"/>
                  <a:pt x="300108" y="85260"/>
                </a:cubicBezTo>
                <a:moveTo>
                  <a:pt x="343360" y="634332"/>
                </a:moveTo>
                <a:cubicBezTo>
                  <a:pt x="342539" y="666975"/>
                  <a:pt x="341785" y="699619"/>
                  <a:pt x="340877" y="732259"/>
                </a:cubicBezTo>
                <a:cubicBezTo>
                  <a:pt x="340151" y="758355"/>
                  <a:pt x="339265" y="784447"/>
                  <a:pt x="338360" y="810538"/>
                </a:cubicBezTo>
                <a:cubicBezTo>
                  <a:pt x="338277" y="812948"/>
                  <a:pt x="337465" y="815325"/>
                  <a:pt x="337115" y="817736"/>
                </a:cubicBezTo>
                <a:cubicBezTo>
                  <a:pt x="334935" y="832710"/>
                  <a:pt x="336026" y="847647"/>
                  <a:pt x="336516" y="863022"/>
                </a:cubicBezTo>
                <a:cubicBezTo>
                  <a:pt x="339537" y="863479"/>
                  <a:pt x="341490" y="864053"/>
                  <a:pt x="343436" y="864027"/>
                </a:cubicBezTo>
                <a:cubicBezTo>
                  <a:pt x="364531" y="863739"/>
                  <a:pt x="385626" y="863422"/>
                  <a:pt x="406718" y="862982"/>
                </a:cubicBezTo>
                <a:cubicBezTo>
                  <a:pt x="423444" y="862634"/>
                  <a:pt x="440168" y="861675"/>
                  <a:pt x="456888" y="861794"/>
                </a:cubicBezTo>
                <a:cubicBezTo>
                  <a:pt x="469887" y="861886"/>
                  <a:pt x="482872" y="863302"/>
                  <a:pt x="495873" y="863963"/>
                </a:cubicBezTo>
                <a:cubicBezTo>
                  <a:pt x="500358" y="864191"/>
                  <a:pt x="505108" y="864773"/>
                  <a:pt x="509286" y="863595"/>
                </a:cubicBezTo>
                <a:cubicBezTo>
                  <a:pt x="512346" y="862732"/>
                  <a:pt x="515714" y="859703"/>
                  <a:pt x="516956" y="856791"/>
                </a:cubicBezTo>
                <a:cubicBezTo>
                  <a:pt x="517783" y="854851"/>
                  <a:pt x="515475" y="851192"/>
                  <a:pt x="513920" y="848709"/>
                </a:cubicBezTo>
                <a:cubicBezTo>
                  <a:pt x="511791" y="845308"/>
                  <a:pt x="508393" y="842606"/>
                  <a:pt x="506683" y="839054"/>
                </a:cubicBezTo>
                <a:cubicBezTo>
                  <a:pt x="500331" y="825864"/>
                  <a:pt x="493224" y="812855"/>
                  <a:pt x="488629" y="799037"/>
                </a:cubicBezTo>
                <a:cubicBezTo>
                  <a:pt x="477322" y="765031"/>
                  <a:pt x="466537" y="730814"/>
                  <a:pt x="456922" y="696297"/>
                </a:cubicBezTo>
                <a:cubicBezTo>
                  <a:pt x="449953" y="671276"/>
                  <a:pt x="443477" y="646020"/>
                  <a:pt x="441346" y="619885"/>
                </a:cubicBezTo>
                <a:cubicBezTo>
                  <a:pt x="440327" y="607371"/>
                  <a:pt x="437466" y="595018"/>
                  <a:pt x="435963" y="582529"/>
                </a:cubicBezTo>
                <a:cubicBezTo>
                  <a:pt x="433539" y="562380"/>
                  <a:pt x="431154" y="542212"/>
                  <a:pt x="429497" y="521990"/>
                </a:cubicBezTo>
                <a:cubicBezTo>
                  <a:pt x="428135" y="505363"/>
                  <a:pt x="428437" y="488593"/>
                  <a:pt x="426887" y="471989"/>
                </a:cubicBezTo>
                <a:cubicBezTo>
                  <a:pt x="425874" y="461140"/>
                  <a:pt x="424983" y="461120"/>
                  <a:pt x="413744" y="461077"/>
                </a:cubicBezTo>
                <a:cubicBezTo>
                  <a:pt x="393687" y="461000"/>
                  <a:pt x="373630" y="461011"/>
                  <a:pt x="353573" y="461120"/>
                </a:cubicBezTo>
                <a:cubicBezTo>
                  <a:pt x="350472" y="461137"/>
                  <a:pt x="347374" y="461869"/>
                  <a:pt x="344160" y="462286"/>
                </a:cubicBezTo>
                <a:cubicBezTo>
                  <a:pt x="343828" y="465198"/>
                  <a:pt x="343406" y="467195"/>
                  <a:pt x="343404" y="469192"/>
                </a:cubicBezTo>
                <a:cubicBezTo>
                  <a:pt x="343360" y="504394"/>
                  <a:pt x="343267" y="539596"/>
                  <a:pt x="343469" y="574797"/>
                </a:cubicBezTo>
                <a:cubicBezTo>
                  <a:pt x="343501" y="580426"/>
                  <a:pt x="345652" y="586065"/>
                  <a:pt x="345522" y="591669"/>
                </a:cubicBezTo>
                <a:cubicBezTo>
                  <a:pt x="345214" y="605082"/>
                  <a:pt x="344131" y="618478"/>
                  <a:pt x="343360" y="634332"/>
                </a:cubicBezTo>
                <a:moveTo>
                  <a:pt x="416946" y="385943"/>
                </a:moveTo>
                <a:cubicBezTo>
                  <a:pt x="411661" y="386365"/>
                  <a:pt x="406384" y="387006"/>
                  <a:pt x="401091" y="387162"/>
                </a:cubicBezTo>
                <a:cubicBezTo>
                  <a:pt x="390470" y="387477"/>
                  <a:pt x="379841" y="387447"/>
                  <a:pt x="369218" y="387708"/>
                </a:cubicBezTo>
                <a:cubicBezTo>
                  <a:pt x="361167" y="387906"/>
                  <a:pt x="354429" y="391368"/>
                  <a:pt x="351833" y="398991"/>
                </a:cubicBezTo>
                <a:cubicBezTo>
                  <a:pt x="348989" y="407342"/>
                  <a:pt x="347050" y="416214"/>
                  <a:pt x="349778" y="426021"/>
                </a:cubicBezTo>
                <a:cubicBezTo>
                  <a:pt x="353876" y="426204"/>
                  <a:pt x="357857" y="426517"/>
                  <a:pt x="361839" y="426538"/>
                </a:cubicBezTo>
                <a:cubicBezTo>
                  <a:pt x="392900" y="426701"/>
                  <a:pt x="423961" y="426826"/>
                  <a:pt x="455022" y="426922"/>
                </a:cubicBezTo>
                <a:cubicBezTo>
                  <a:pt x="464013" y="426950"/>
                  <a:pt x="473106" y="427654"/>
                  <a:pt x="481958" y="426527"/>
                </a:cubicBezTo>
                <a:cubicBezTo>
                  <a:pt x="488144" y="425740"/>
                  <a:pt x="494821" y="423501"/>
                  <a:pt x="499817" y="419888"/>
                </a:cubicBezTo>
                <a:cubicBezTo>
                  <a:pt x="507869" y="414066"/>
                  <a:pt x="507286" y="406755"/>
                  <a:pt x="499439" y="400719"/>
                </a:cubicBezTo>
                <a:cubicBezTo>
                  <a:pt x="490179" y="393597"/>
                  <a:pt x="479486" y="388885"/>
                  <a:pt x="468062" y="387775"/>
                </a:cubicBezTo>
                <a:cubicBezTo>
                  <a:pt x="451873" y="386202"/>
                  <a:pt x="435520" y="386321"/>
                  <a:pt x="416946" y="385943"/>
                </a:cubicBezTo>
                <a:moveTo>
                  <a:pt x="636802" y="1190940"/>
                </a:moveTo>
                <a:cubicBezTo>
                  <a:pt x="646709" y="1188723"/>
                  <a:pt x="656705" y="1186841"/>
                  <a:pt x="666492" y="1184186"/>
                </a:cubicBezTo>
                <a:cubicBezTo>
                  <a:pt x="674710" y="1181958"/>
                  <a:pt x="676989" y="1178509"/>
                  <a:pt x="674465" y="1170880"/>
                </a:cubicBezTo>
                <a:cubicBezTo>
                  <a:pt x="671144" y="1160843"/>
                  <a:pt x="667026" y="1151009"/>
                  <a:pt x="662462" y="1141464"/>
                </a:cubicBezTo>
                <a:cubicBezTo>
                  <a:pt x="659273" y="1134795"/>
                  <a:pt x="653671" y="1130908"/>
                  <a:pt x="645564" y="1131937"/>
                </a:cubicBezTo>
                <a:cubicBezTo>
                  <a:pt x="639532" y="1132703"/>
                  <a:pt x="633423" y="1132867"/>
                  <a:pt x="627387" y="1133618"/>
                </a:cubicBezTo>
                <a:cubicBezTo>
                  <a:pt x="612888" y="1135421"/>
                  <a:pt x="598449" y="1137770"/>
                  <a:pt x="583917" y="1139222"/>
                </a:cubicBezTo>
                <a:cubicBezTo>
                  <a:pt x="570571" y="1140557"/>
                  <a:pt x="557130" y="1140930"/>
                  <a:pt x="543741" y="1141869"/>
                </a:cubicBezTo>
                <a:cubicBezTo>
                  <a:pt x="533202" y="1142610"/>
                  <a:pt x="522682" y="1143623"/>
                  <a:pt x="512146" y="1144418"/>
                </a:cubicBezTo>
                <a:cubicBezTo>
                  <a:pt x="490671" y="1146038"/>
                  <a:pt x="469214" y="1148450"/>
                  <a:pt x="447711" y="1148973"/>
                </a:cubicBezTo>
                <a:cubicBezTo>
                  <a:pt x="415817" y="1149749"/>
                  <a:pt x="383891" y="1149136"/>
                  <a:pt x="351979" y="1149200"/>
                </a:cubicBezTo>
                <a:cubicBezTo>
                  <a:pt x="347698" y="1149209"/>
                  <a:pt x="343419" y="1149717"/>
                  <a:pt x="338443" y="1150040"/>
                </a:cubicBezTo>
                <a:cubicBezTo>
                  <a:pt x="338443" y="1164651"/>
                  <a:pt x="338413" y="1177715"/>
                  <a:pt x="338451" y="1190780"/>
                </a:cubicBezTo>
                <a:cubicBezTo>
                  <a:pt x="338490" y="1204031"/>
                  <a:pt x="338512" y="1204062"/>
                  <a:pt x="351082" y="1207015"/>
                </a:cubicBezTo>
                <a:cubicBezTo>
                  <a:pt x="353445" y="1207570"/>
                  <a:pt x="355895" y="1208128"/>
                  <a:pt x="358298" y="1208094"/>
                </a:cubicBezTo>
                <a:cubicBezTo>
                  <a:pt x="412608" y="1207329"/>
                  <a:pt x="466919" y="1206484"/>
                  <a:pt x="521229" y="1205646"/>
                </a:cubicBezTo>
                <a:cubicBezTo>
                  <a:pt x="522045" y="1205634"/>
                  <a:pt x="522865" y="1205591"/>
                  <a:pt x="523675" y="1205490"/>
                </a:cubicBezTo>
                <a:cubicBezTo>
                  <a:pt x="542593" y="1203123"/>
                  <a:pt x="561519" y="1200820"/>
                  <a:pt x="580423" y="1198350"/>
                </a:cubicBezTo>
                <a:cubicBezTo>
                  <a:pt x="598523" y="1195985"/>
                  <a:pt x="616599" y="1193446"/>
                  <a:pt x="636802" y="1190940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0" name="Free-form: Shape 59">
            <a:extLst>
              <a:ext uri="{FF2B5EF4-FFF2-40B4-BE49-F238E27FC236}">
                <a16:creationId xmlns:a16="http://schemas.microsoft.com/office/drawing/2014/main" id="{B001E7A5-BAE1-396B-EC13-703FC2F3AD77}"/>
              </a:ext>
            </a:extLst>
          </p:cNvPr>
          <p:cNvSpPr/>
          <p:nvPr/>
        </p:nvSpPr>
        <p:spPr>
          <a:xfrm>
            <a:off x="6987139" y="2842486"/>
            <a:ext cx="17183" cy="1817"/>
          </a:xfrm>
          <a:custGeom>
            <a:avLst/>
            <a:gdLst>
              <a:gd name="csX0" fmla="*/ 0 w 27674"/>
              <a:gd name="csY0" fmla="*/ 2915 h 2925"/>
              <a:gd name="csX1" fmla="*/ 27675 w 27674"/>
              <a:gd name="csY1" fmla="*/ 1550 h 2925"/>
              <a:gd name="csX2" fmla="*/ 0 w 27674"/>
              <a:gd name="csY2" fmla="*/ 2915 h 292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27674" h="2925">
                <a:moveTo>
                  <a:pt x="0" y="2915"/>
                </a:moveTo>
                <a:cubicBezTo>
                  <a:pt x="8211" y="-1939"/>
                  <a:pt x="17625" y="498"/>
                  <a:pt x="27675" y="1550"/>
                </a:cubicBezTo>
                <a:cubicBezTo>
                  <a:pt x="19225" y="2593"/>
                  <a:pt x="10029" y="2999"/>
                  <a:pt x="0" y="2915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1" name="Free-form: Shape 60">
            <a:extLst>
              <a:ext uri="{FF2B5EF4-FFF2-40B4-BE49-F238E27FC236}">
                <a16:creationId xmlns:a16="http://schemas.microsoft.com/office/drawing/2014/main" id="{C8997762-895A-01C9-6B6C-C4A82A65AA95}"/>
              </a:ext>
            </a:extLst>
          </p:cNvPr>
          <p:cNvSpPr/>
          <p:nvPr/>
        </p:nvSpPr>
        <p:spPr>
          <a:xfrm>
            <a:off x="6939835" y="2843510"/>
            <a:ext cx="11179" cy="700"/>
          </a:xfrm>
          <a:custGeom>
            <a:avLst/>
            <a:gdLst>
              <a:gd name="csX0" fmla="*/ 0 w 18003"/>
              <a:gd name="csY0" fmla="*/ 1050 h 1128"/>
              <a:gd name="csX1" fmla="*/ 18004 w 18003"/>
              <a:gd name="csY1" fmla="*/ 93 h 1128"/>
              <a:gd name="csX2" fmla="*/ 0 w 18003"/>
              <a:gd name="csY2" fmla="*/ 1050 h 112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8003" h="1128">
                <a:moveTo>
                  <a:pt x="0" y="1050"/>
                </a:moveTo>
                <a:cubicBezTo>
                  <a:pt x="5276" y="182"/>
                  <a:pt x="11306" y="-189"/>
                  <a:pt x="18004" y="93"/>
                </a:cubicBezTo>
                <a:cubicBezTo>
                  <a:pt x="12699" y="1013"/>
                  <a:pt x="6726" y="1280"/>
                  <a:pt x="0" y="1050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2" name="Free-form: Shape 61">
            <a:extLst>
              <a:ext uri="{FF2B5EF4-FFF2-40B4-BE49-F238E27FC236}">
                <a16:creationId xmlns:a16="http://schemas.microsoft.com/office/drawing/2014/main" id="{BD41145B-3497-0C9D-EF30-4209108FB776}"/>
              </a:ext>
            </a:extLst>
          </p:cNvPr>
          <p:cNvSpPr/>
          <p:nvPr/>
        </p:nvSpPr>
        <p:spPr>
          <a:xfrm>
            <a:off x="7020802" y="2276710"/>
            <a:ext cx="5257" cy="4867"/>
          </a:xfrm>
          <a:custGeom>
            <a:avLst/>
            <a:gdLst>
              <a:gd name="csX0" fmla="*/ 473 w 8466"/>
              <a:gd name="csY0" fmla="*/ 7839 h 7838"/>
              <a:gd name="csX1" fmla="*/ 8466 w 8466"/>
              <a:gd name="csY1" fmla="*/ 61 h 7838"/>
              <a:gd name="csX2" fmla="*/ 473 w 8466"/>
              <a:gd name="csY2" fmla="*/ 7839 h 783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66" h="7838">
                <a:moveTo>
                  <a:pt x="473" y="7839"/>
                </a:moveTo>
                <a:cubicBezTo>
                  <a:pt x="-1298" y="1550"/>
                  <a:pt x="2020" y="-386"/>
                  <a:pt x="8466" y="61"/>
                </a:cubicBezTo>
                <a:cubicBezTo>
                  <a:pt x="6730" y="2845"/>
                  <a:pt x="4026" y="5401"/>
                  <a:pt x="473" y="7839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3" name="Free-form: Shape 62">
            <a:extLst>
              <a:ext uri="{FF2B5EF4-FFF2-40B4-BE49-F238E27FC236}">
                <a16:creationId xmlns:a16="http://schemas.microsoft.com/office/drawing/2014/main" id="{1C6C2762-F385-E8E4-9B9D-5EA3FE9C698C}"/>
              </a:ext>
            </a:extLst>
          </p:cNvPr>
          <p:cNvSpPr/>
          <p:nvPr/>
        </p:nvSpPr>
        <p:spPr>
          <a:xfrm>
            <a:off x="6884806" y="2841996"/>
            <a:ext cx="5265" cy="618"/>
          </a:xfrm>
          <a:custGeom>
            <a:avLst/>
            <a:gdLst>
              <a:gd name="csX0" fmla="*/ 0 w 8480"/>
              <a:gd name="csY0" fmla="*/ 896 h 996"/>
              <a:gd name="csX1" fmla="*/ 8480 w 8480"/>
              <a:gd name="csY1" fmla="*/ 110 h 996"/>
              <a:gd name="csX2" fmla="*/ 0 w 8480"/>
              <a:gd name="csY2" fmla="*/ 896 h 99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80" h="996">
                <a:moveTo>
                  <a:pt x="0" y="896"/>
                </a:moveTo>
                <a:cubicBezTo>
                  <a:pt x="2285" y="115"/>
                  <a:pt x="5130" y="-182"/>
                  <a:pt x="8480" y="110"/>
                </a:cubicBezTo>
                <a:cubicBezTo>
                  <a:pt x="6177" y="927"/>
                  <a:pt x="3368" y="1153"/>
                  <a:pt x="0" y="896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4" name="Free-form: Shape 63">
            <a:extLst>
              <a:ext uri="{FF2B5EF4-FFF2-40B4-BE49-F238E27FC236}">
                <a16:creationId xmlns:a16="http://schemas.microsoft.com/office/drawing/2014/main" id="{3A918CC0-6DE7-F6A0-D41F-6EC628735439}"/>
              </a:ext>
            </a:extLst>
          </p:cNvPr>
          <p:cNvSpPr/>
          <p:nvPr/>
        </p:nvSpPr>
        <p:spPr>
          <a:xfrm>
            <a:off x="7171567" y="2815467"/>
            <a:ext cx="763" cy="4134"/>
          </a:xfrm>
          <a:custGeom>
            <a:avLst/>
            <a:gdLst>
              <a:gd name="csX0" fmla="*/ 132 w 1229"/>
              <a:gd name="csY0" fmla="*/ 6659 h 6658"/>
              <a:gd name="csX1" fmla="*/ 1107 w 1229"/>
              <a:gd name="csY1" fmla="*/ 0 h 6658"/>
              <a:gd name="csX2" fmla="*/ 132 w 1229"/>
              <a:gd name="csY2" fmla="*/ 6659 h 665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229" h="6658">
                <a:moveTo>
                  <a:pt x="132" y="6659"/>
                </a:moveTo>
                <a:cubicBezTo>
                  <a:pt x="-219" y="4616"/>
                  <a:pt x="139" y="2560"/>
                  <a:pt x="1107" y="0"/>
                </a:cubicBezTo>
                <a:cubicBezTo>
                  <a:pt x="1425" y="1879"/>
                  <a:pt x="1133" y="4263"/>
                  <a:pt x="132" y="6659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5" name="Free-form: Shape 64">
            <a:extLst>
              <a:ext uri="{FF2B5EF4-FFF2-40B4-BE49-F238E27FC236}">
                <a16:creationId xmlns:a16="http://schemas.microsoft.com/office/drawing/2014/main" id="{A0B32A33-AAC9-DE10-7C79-E8318A82BE36}"/>
              </a:ext>
            </a:extLst>
          </p:cNvPr>
          <p:cNvSpPr/>
          <p:nvPr/>
        </p:nvSpPr>
        <p:spPr>
          <a:xfrm>
            <a:off x="7104371" y="2835744"/>
            <a:ext cx="2352" cy="847"/>
          </a:xfrm>
          <a:custGeom>
            <a:avLst/>
            <a:gdLst>
              <a:gd name="csX0" fmla="*/ 0 w 3788"/>
              <a:gd name="csY0" fmla="*/ 1364 h 1364"/>
              <a:gd name="csX1" fmla="*/ 3788 w 3788"/>
              <a:gd name="csY1" fmla="*/ 0 h 1364"/>
              <a:gd name="csX2" fmla="*/ 0 w 3788"/>
              <a:gd name="csY2" fmla="*/ 1364 h 136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788" h="1364">
                <a:moveTo>
                  <a:pt x="0" y="1364"/>
                </a:moveTo>
                <a:cubicBezTo>
                  <a:pt x="856" y="517"/>
                  <a:pt x="2126" y="39"/>
                  <a:pt x="3788" y="0"/>
                </a:cubicBezTo>
                <a:cubicBezTo>
                  <a:pt x="2925" y="870"/>
                  <a:pt x="1670" y="1303"/>
                  <a:pt x="0" y="1364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6" name="Free-form: Shape 65">
            <a:extLst>
              <a:ext uri="{FF2B5EF4-FFF2-40B4-BE49-F238E27FC236}">
                <a16:creationId xmlns:a16="http://schemas.microsoft.com/office/drawing/2014/main" id="{EABD80D2-8352-DA46-E64D-C481EF94BF26}"/>
              </a:ext>
            </a:extLst>
          </p:cNvPr>
          <p:cNvSpPr/>
          <p:nvPr/>
        </p:nvSpPr>
        <p:spPr>
          <a:xfrm>
            <a:off x="6832788" y="2839018"/>
            <a:ext cx="2478" cy="515"/>
          </a:xfrm>
          <a:custGeom>
            <a:avLst/>
            <a:gdLst>
              <a:gd name="csX0" fmla="*/ 0 w 3990"/>
              <a:gd name="csY0" fmla="*/ 719 h 829"/>
              <a:gd name="csX1" fmla="*/ 3990 w 3990"/>
              <a:gd name="csY1" fmla="*/ 119 h 829"/>
              <a:gd name="csX2" fmla="*/ 0 w 3990"/>
              <a:gd name="csY2" fmla="*/ 719 h 82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990" h="829">
                <a:moveTo>
                  <a:pt x="0" y="719"/>
                </a:moveTo>
                <a:cubicBezTo>
                  <a:pt x="982" y="66"/>
                  <a:pt x="2323" y="-163"/>
                  <a:pt x="3990" y="119"/>
                </a:cubicBezTo>
                <a:cubicBezTo>
                  <a:pt x="2998" y="800"/>
                  <a:pt x="1678" y="972"/>
                  <a:pt x="0" y="719"/>
                </a:cubicBezTo>
                <a:close/>
              </a:path>
            </a:pathLst>
          </a:custGeom>
          <a:solidFill>
            <a:srgbClr val="959DA0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7" name="Free-form: Shape 66">
            <a:extLst>
              <a:ext uri="{FF2B5EF4-FFF2-40B4-BE49-F238E27FC236}">
                <a16:creationId xmlns:a16="http://schemas.microsoft.com/office/drawing/2014/main" id="{CDF41BC6-D8BA-6B9B-7095-849EF60E03ED}"/>
              </a:ext>
            </a:extLst>
          </p:cNvPr>
          <p:cNvSpPr/>
          <p:nvPr/>
        </p:nvSpPr>
        <p:spPr>
          <a:xfrm>
            <a:off x="7043336" y="2841974"/>
            <a:ext cx="2417" cy="705"/>
          </a:xfrm>
          <a:custGeom>
            <a:avLst/>
            <a:gdLst>
              <a:gd name="csX0" fmla="*/ 0 w 3893"/>
              <a:gd name="csY0" fmla="*/ 1133 h 1135"/>
              <a:gd name="csX1" fmla="*/ 3893 w 3893"/>
              <a:gd name="csY1" fmla="*/ 7 h 1135"/>
              <a:gd name="csX2" fmla="*/ 0 w 3893"/>
              <a:gd name="csY2" fmla="*/ 1133 h 113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893" h="1135">
                <a:moveTo>
                  <a:pt x="0" y="1133"/>
                </a:moveTo>
                <a:cubicBezTo>
                  <a:pt x="902" y="349"/>
                  <a:pt x="2213" y="-60"/>
                  <a:pt x="3893" y="7"/>
                </a:cubicBezTo>
                <a:cubicBezTo>
                  <a:pt x="2978" y="825"/>
                  <a:pt x="1693" y="1167"/>
                  <a:pt x="0" y="1133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8" name="Free-form: Shape 67">
            <a:extLst>
              <a:ext uri="{FF2B5EF4-FFF2-40B4-BE49-F238E27FC236}">
                <a16:creationId xmlns:a16="http://schemas.microsoft.com/office/drawing/2014/main" id="{DE872208-B734-FB3D-4CB1-6F43D9C1C9BA}"/>
              </a:ext>
            </a:extLst>
          </p:cNvPr>
          <p:cNvSpPr/>
          <p:nvPr/>
        </p:nvSpPr>
        <p:spPr>
          <a:xfrm>
            <a:off x="6943740" y="2357310"/>
            <a:ext cx="112588" cy="250407"/>
          </a:xfrm>
          <a:custGeom>
            <a:avLst/>
            <a:gdLst>
              <a:gd name="csX0" fmla="*/ 7554 w 181323"/>
              <a:gd name="csY0" fmla="*/ 172079 h 403282"/>
              <a:gd name="csX1" fmla="*/ 9716 w 181323"/>
              <a:gd name="csY1" fmla="*/ 130641 h 403282"/>
              <a:gd name="csX2" fmla="*/ 7663 w 181323"/>
              <a:gd name="csY2" fmla="*/ 113770 h 403282"/>
              <a:gd name="csX3" fmla="*/ 7598 w 181323"/>
              <a:gd name="csY3" fmla="*/ 8165 h 403282"/>
              <a:gd name="csX4" fmla="*/ 8353 w 181323"/>
              <a:gd name="csY4" fmla="*/ 1259 h 403282"/>
              <a:gd name="csX5" fmla="*/ 17767 w 181323"/>
              <a:gd name="csY5" fmla="*/ 93 h 403282"/>
              <a:gd name="csX6" fmla="*/ 77938 w 181323"/>
              <a:gd name="csY6" fmla="*/ 50 h 403282"/>
              <a:gd name="csX7" fmla="*/ 91081 w 181323"/>
              <a:gd name="csY7" fmla="*/ 10962 h 403282"/>
              <a:gd name="csX8" fmla="*/ 93691 w 181323"/>
              <a:gd name="csY8" fmla="*/ 60963 h 403282"/>
              <a:gd name="csX9" fmla="*/ 100157 w 181323"/>
              <a:gd name="csY9" fmla="*/ 121501 h 403282"/>
              <a:gd name="csX10" fmla="*/ 105540 w 181323"/>
              <a:gd name="csY10" fmla="*/ 158857 h 403282"/>
              <a:gd name="csX11" fmla="*/ 121116 w 181323"/>
              <a:gd name="csY11" fmla="*/ 235269 h 403282"/>
              <a:gd name="csX12" fmla="*/ 152823 w 181323"/>
              <a:gd name="csY12" fmla="*/ 338010 h 403282"/>
              <a:gd name="csX13" fmla="*/ 170877 w 181323"/>
              <a:gd name="csY13" fmla="*/ 378027 h 403282"/>
              <a:gd name="csX14" fmla="*/ 178114 w 181323"/>
              <a:gd name="csY14" fmla="*/ 387682 h 403282"/>
              <a:gd name="csX15" fmla="*/ 181150 w 181323"/>
              <a:gd name="csY15" fmla="*/ 395764 h 403282"/>
              <a:gd name="csX16" fmla="*/ 173480 w 181323"/>
              <a:gd name="csY16" fmla="*/ 402568 h 403282"/>
              <a:gd name="csX17" fmla="*/ 160067 w 181323"/>
              <a:gd name="csY17" fmla="*/ 402936 h 403282"/>
              <a:gd name="csX18" fmla="*/ 121081 w 181323"/>
              <a:gd name="csY18" fmla="*/ 400766 h 403282"/>
              <a:gd name="csX19" fmla="*/ 70912 w 181323"/>
              <a:gd name="csY19" fmla="*/ 401955 h 403282"/>
              <a:gd name="csX20" fmla="*/ 7630 w 181323"/>
              <a:gd name="csY20" fmla="*/ 402999 h 403282"/>
              <a:gd name="csX21" fmla="*/ 710 w 181323"/>
              <a:gd name="csY21" fmla="*/ 401995 h 403282"/>
              <a:gd name="csX22" fmla="*/ 1308 w 181323"/>
              <a:gd name="csY22" fmla="*/ 356708 h 403282"/>
              <a:gd name="csX23" fmla="*/ 2554 w 181323"/>
              <a:gd name="csY23" fmla="*/ 349510 h 403282"/>
              <a:gd name="csX24" fmla="*/ 5071 w 181323"/>
              <a:gd name="csY24" fmla="*/ 271231 h 403282"/>
              <a:gd name="csX25" fmla="*/ 7554 w 181323"/>
              <a:gd name="csY25" fmla="*/ 172079 h 403282"/>
              <a:gd name="csX26" fmla="*/ 98286 w 181323"/>
              <a:gd name="csY26" fmla="*/ 163566 h 403282"/>
              <a:gd name="csX27" fmla="*/ 83497 w 181323"/>
              <a:gd name="csY27" fmla="*/ 8289 h 403282"/>
              <a:gd name="csX28" fmla="*/ 15161 w 181323"/>
              <a:gd name="csY28" fmla="*/ 9148 h 403282"/>
              <a:gd name="csX29" fmla="*/ 15058 w 181323"/>
              <a:gd name="csY29" fmla="*/ 137939 h 403282"/>
              <a:gd name="csX30" fmla="*/ 12252 w 181323"/>
              <a:gd name="csY30" fmla="*/ 266862 h 403282"/>
              <a:gd name="csX31" fmla="*/ 7068 w 181323"/>
              <a:gd name="csY31" fmla="*/ 395996 h 403282"/>
              <a:gd name="csX32" fmla="*/ 171647 w 181323"/>
              <a:gd name="csY32" fmla="*/ 395996 h 403282"/>
              <a:gd name="csX33" fmla="*/ 119950 w 181323"/>
              <a:gd name="csY33" fmla="*/ 259496 h 403282"/>
              <a:gd name="csX34" fmla="*/ 98286 w 181323"/>
              <a:gd name="csY34" fmla="*/ 163566 h 40328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</a:cxnLst>
            <a:rect l="l" t="t" r="r" b="b"/>
            <a:pathLst>
              <a:path w="181323" h="403282">
                <a:moveTo>
                  <a:pt x="7554" y="172079"/>
                </a:moveTo>
                <a:cubicBezTo>
                  <a:pt x="8325" y="157451"/>
                  <a:pt x="9408" y="144055"/>
                  <a:pt x="9716" y="130641"/>
                </a:cubicBezTo>
                <a:cubicBezTo>
                  <a:pt x="9846" y="125037"/>
                  <a:pt x="7695" y="119399"/>
                  <a:pt x="7663" y="113770"/>
                </a:cubicBezTo>
                <a:cubicBezTo>
                  <a:pt x="7461" y="78569"/>
                  <a:pt x="7554" y="43367"/>
                  <a:pt x="7598" y="8165"/>
                </a:cubicBezTo>
                <a:cubicBezTo>
                  <a:pt x="7600" y="6167"/>
                  <a:pt x="8022" y="4170"/>
                  <a:pt x="8353" y="1259"/>
                </a:cubicBezTo>
                <a:cubicBezTo>
                  <a:pt x="11568" y="842"/>
                  <a:pt x="14666" y="109"/>
                  <a:pt x="17767" y="93"/>
                </a:cubicBezTo>
                <a:cubicBezTo>
                  <a:pt x="37824" y="-17"/>
                  <a:pt x="57881" y="-27"/>
                  <a:pt x="77938" y="50"/>
                </a:cubicBezTo>
                <a:cubicBezTo>
                  <a:pt x="89177" y="93"/>
                  <a:pt x="90068" y="113"/>
                  <a:pt x="91081" y="10962"/>
                </a:cubicBezTo>
                <a:cubicBezTo>
                  <a:pt x="92631" y="27565"/>
                  <a:pt x="92329" y="44335"/>
                  <a:pt x="93691" y="60963"/>
                </a:cubicBezTo>
                <a:cubicBezTo>
                  <a:pt x="95348" y="81184"/>
                  <a:pt x="97732" y="101353"/>
                  <a:pt x="100157" y="121501"/>
                </a:cubicBezTo>
                <a:cubicBezTo>
                  <a:pt x="101660" y="133990"/>
                  <a:pt x="104521" y="146343"/>
                  <a:pt x="105540" y="158857"/>
                </a:cubicBezTo>
                <a:cubicBezTo>
                  <a:pt x="107671" y="184993"/>
                  <a:pt x="114147" y="210249"/>
                  <a:pt x="121116" y="235269"/>
                </a:cubicBezTo>
                <a:cubicBezTo>
                  <a:pt x="130731" y="269786"/>
                  <a:pt x="141516" y="304004"/>
                  <a:pt x="152823" y="338010"/>
                </a:cubicBezTo>
                <a:cubicBezTo>
                  <a:pt x="157418" y="351828"/>
                  <a:pt x="164524" y="364837"/>
                  <a:pt x="170877" y="378027"/>
                </a:cubicBezTo>
                <a:cubicBezTo>
                  <a:pt x="172587" y="381579"/>
                  <a:pt x="175985" y="384280"/>
                  <a:pt x="178114" y="387682"/>
                </a:cubicBezTo>
                <a:cubicBezTo>
                  <a:pt x="179669" y="390165"/>
                  <a:pt x="181977" y="393824"/>
                  <a:pt x="181150" y="395764"/>
                </a:cubicBezTo>
                <a:cubicBezTo>
                  <a:pt x="179907" y="398676"/>
                  <a:pt x="176540" y="401705"/>
                  <a:pt x="173480" y="402568"/>
                </a:cubicBezTo>
                <a:cubicBezTo>
                  <a:pt x="169302" y="403746"/>
                  <a:pt x="164551" y="403164"/>
                  <a:pt x="160067" y="402936"/>
                </a:cubicBezTo>
                <a:cubicBezTo>
                  <a:pt x="147066" y="402274"/>
                  <a:pt x="134081" y="400859"/>
                  <a:pt x="121081" y="400766"/>
                </a:cubicBezTo>
                <a:cubicBezTo>
                  <a:pt x="104362" y="400647"/>
                  <a:pt x="87638" y="401607"/>
                  <a:pt x="70912" y="401955"/>
                </a:cubicBezTo>
                <a:cubicBezTo>
                  <a:pt x="49820" y="402394"/>
                  <a:pt x="28725" y="402712"/>
                  <a:pt x="7630" y="402999"/>
                </a:cubicBezTo>
                <a:cubicBezTo>
                  <a:pt x="5684" y="403026"/>
                  <a:pt x="3731" y="402452"/>
                  <a:pt x="710" y="401995"/>
                </a:cubicBezTo>
                <a:cubicBezTo>
                  <a:pt x="219" y="386620"/>
                  <a:pt x="-871" y="371682"/>
                  <a:pt x="1308" y="356708"/>
                </a:cubicBezTo>
                <a:cubicBezTo>
                  <a:pt x="1659" y="354298"/>
                  <a:pt x="2471" y="351920"/>
                  <a:pt x="2554" y="349510"/>
                </a:cubicBezTo>
                <a:cubicBezTo>
                  <a:pt x="3459" y="323419"/>
                  <a:pt x="4345" y="297328"/>
                  <a:pt x="5071" y="271231"/>
                </a:cubicBezTo>
                <a:cubicBezTo>
                  <a:pt x="5979" y="238591"/>
                  <a:pt x="6733" y="205947"/>
                  <a:pt x="7554" y="172079"/>
                </a:cubicBezTo>
                <a:moveTo>
                  <a:pt x="98286" y="163566"/>
                </a:moveTo>
                <a:cubicBezTo>
                  <a:pt x="89288" y="112116"/>
                  <a:pt x="86355" y="60033"/>
                  <a:pt x="83497" y="8289"/>
                </a:cubicBezTo>
                <a:cubicBezTo>
                  <a:pt x="65606" y="5845"/>
                  <a:pt x="24110" y="6470"/>
                  <a:pt x="15161" y="9148"/>
                </a:cubicBezTo>
                <a:cubicBezTo>
                  <a:pt x="15161" y="52045"/>
                  <a:pt x="15527" y="94996"/>
                  <a:pt x="15058" y="137939"/>
                </a:cubicBezTo>
                <a:cubicBezTo>
                  <a:pt x="14587" y="180919"/>
                  <a:pt x="13597" y="223900"/>
                  <a:pt x="12252" y="266862"/>
                </a:cubicBezTo>
                <a:cubicBezTo>
                  <a:pt x="10912" y="309638"/>
                  <a:pt x="8849" y="352391"/>
                  <a:pt x="7068" y="395996"/>
                </a:cubicBezTo>
                <a:cubicBezTo>
                  <a:pt x="62774" y="395996"/>
                  <a:pt x="116821" y="395996"/>
                  <a:pt x="171647" y="395996"/>
                </a:cubicBezTo>
                <a:cubicBezTo>
                  <a:pt x="148550" y="352016"/>
                  <a:pt x="132566" y="306307"/>
                  <a:pt x="119950" y="259496"/>
                </a:cubicBezTo>
                <a:cubicBezTo>
                  <a:pt x="111608" y="228543"/>
                  <a:pt x="105493" y="196989"/>
                  <a:pt x="98286" y="163566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9" name="Free-form: Shape 68">
            <a:extLst>
              <a:ext uri="{FF2B5EF4-FFF2-40B4-BE49-F238E27FC236}">
                <a16:creationId xmlns:a16="http://schemas.microsoft.com/office/drawing/2014/main" id="{437E6C97-1FE3-DAD7-61F9-85E9FDE8077B}"/>
              </a:ext>
            </a:extLst>
          </p:cNvPr>
          <p:cNvSpPr/>
          <p:nvPr/>
        </p:nvSpPr>
        <p:spPr>
          <a:xfrm>
            <a:off x="6945371" y="2773791"/>
            <a:ext cx="209255" cy="47389"/>
          </a:xfrm>
          <a:custGeom>
            <a:avLst/>
            <a:gdLst>
              <a:gd name="csX0" fmla="*/ 297312 w 337008"/>
              <a:gd name="csY0" fmla="*/ 59188 h 76321"/>
              <a:gd name="csX1" fmla="*/ 241991 w 337008"/>
              <a:gd name="csY1" fmla="*/ 66577 h 76321"/>
              <a:gd name="csX2" fmla="*/ 185243 w 337008"/>
              <a:gd name="csY2" fmla="*/ 73717 h 76321"/>
              <a:gd name="csX3" fmla="*/ 182797 w 337008"/>
              <a:gd name="csY3" fmla="*/ 73873 h 76321"/>
              <a:gd name="csX4" fmla="*/ 19866 w 337008"/>
              <a:gd name="csY4" fmla="*/ 76320 h 76321"/>
              <a:gd name="csX5" fmla="*/ 12650 w 337008"/>
              <a:gd name="csY5" fmla="*/ 75242 h 76321"/>
              <a:gd name="csX6" fmla="*/ 19 w 337008"/>
              <a:gd name="csY6" fmla="*/ 59006 h 76321"/>
              <a:gd name="csX7" fmla="*/ 11 w 337008"/>
              <a:gd name="csY7" fmla="*/ 18266 h 76321"/>
              <a:gd name="csX8" fmla="*/ 13547 w 337008"/>
              <a:gd name="csY8" fmla="*/ 17427 h 76321"/>
              <a:gd name="csX9" fmla="*/ 109279 w 337008"/>
              <a:gd name="csY9" fmla="*/ 17200 h 76321"/>
              <a:gd name="csX10" fmla="*/ 173714 w 337008"/>
              <a:gd name="csY10" fmla="*/ 12645 h 76321"/>
              <a:gd name="csX11" fmla="*/ 205309 w 337008"/>
              <a:gd name="csY11" fmla="*/ 10096 h 76321"/>
              <a:gd name="csX12" fmla="*/ 245485 w 337008"/>
              <a:gd name="csY12" fmla="*/ 7449 h 76321"/>
              <a:gd name="csX13" fmla="*/ 288955 w 337008"/>
              <a:gd name="csY13" fmla="*/ 1844 h 76321"/>
              <a:gd name="csX14" fmla="*/ 307132 w 337008"/>
              <a:gd name="csY14" fmla="*/ 164 h 76321"/>
              <a:gd name="csX15" fmla="*/ 324030 w 337008"/>
              <a:gd name="csY15" fmla="*/ 9691 h 76321"/>
              <a:gd name="csX16" fmla="*/ 336033 w 337008"/>
              <a:gd name="csY16" fmla="*/ 39107 h 76321"/>
              <a:gd name="csX17" fmla="*/ 328060 w 337008"/>
              <a:gd name="csY17" fmla="*/ 52413 h 76321"/>
              <a:gd name="csX18" fmla="*/ 297312 w 337008"/>
              <a:gd name="csY18" fmla="*/ 59188 h 76321"/>
              <a:gd name="csX19" fmla="*/ 207688 w 337008"/>
              <a:gd name="csY19" fmla="*/ 64284 h 76321"/>
              <a:gd name="csX20" fmla="*/ 330050 w 337008"/>
              <a:gd name="csY20" fmla="*/ 45606 h 76321"/>
              <a:gd name="csX21" fmla="*/ 317356 w 337008"/>
              <a:gd name="csY21" fmla="*/ 11297 h 76321"/>
              <a:gd name="csX22" fmla="*/ 304170 w 337008"/>
              <a:gd name="csY22" fmla="*/ 5545 h 76321"/>
              <a:gd name="csX23" fmla="*/ 273851 w 337008"/>
              <a:gd name="csY23" fmla="*/ 10014 h 76321"/>
              <a:gd name="csX24" fmla="*/ 163935 w 337008"/>
              <a:gd name="csY24" fmla="*/ 20274 h 76321"/>
              <a:gd name="csX25" fmla="*/ 17973 w 337008"/>
              <a:gd name="csY25" fmla="*/ 22950 h 76321"/>
              <a:gd name="csX26" fmla="*/ 7372 w 337008"/>
              <a:gd name="csY26" fmla="*/ 23601 h 76321"/>
              <a:gd name="csX27" fmla="*/ 7372 w 337008"/>
              <a:gd name="csY27" fmla="*/ 67898 h 76321"/>
              <a:gd name="csX28" fmla="*/ 207688 w 337008"/>
              <a:gd name="csY28" fmla="*/ 64284 h 7632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</a:cxnLst>
            <a:rect l="l" t="t" r="r" b="b"/>
            <a:pathLst>
              <a:path w="337008" h="76321">
                <a:moveTo>
                  <a:pt x="297312" y="59188"/>
                </a:moveTo>
                <a:cubicBezTo>
                  <a:pt x="278167" y="61672"/>
                  <a:pt x="260091" y="64212"/>
                  <a:pt x="241991" y="66577"/>
                </a:cubicBezTo>
                <a:cubicBezTo>
                  <a:pt x="223087" y="69047"/>
                  <a:pt x="204161" y="71350"/>
                  <a:pt x="185243" y="73717"/>
                </a:cubicBezTo>
                <a:cubicBezTo>
                  <a:pt x="184433" y="73818"/>
                  <a:pt x="183613" y="73861"/>
                  <a:pt x="182797" y="73873"/>
                </a:cubicBezTo>
                <a:cubicBezTo>
                  <a:pt x="128487" y="74710"/>
                  <a:pt x="74176" y="75556"/>
                  <a:pt x="19866" y="76320"/>
                </a:cubicBezTo>
                <a:cubicBezTo>
                  <a:pt x="17463" y="76354"/>
                  <a:pt x="15013" y="75797"/>
                  <a:pt x="12650" y="75242"/>
                </a:cubicBezTo>
                <a:cubicBezTo>
                  <a:pt x="80" y="72288"/>
                  <a:pt x="58" y="72258"/>
                  <a:pt x="19" y="59006"/>
                </a:cubicBezTo>
                <a:cubicBezTo>
                  <a:pt x="-19" y="45942"/>
                  <a:pt x="11" y="32877"/>
                  <a:pt x="11" y="18266"/>
                </a:cubicBezTo>
                <a:cubicBezTo>
                  <a:pt x="4987" y="17944"/>
                  <a:pt x="9266" y="17435"/>
                  <a:pt x="13547" y="17427"/>
                </a:cubicBezTo>
                <a:cubicBezTo>
                  <a:pt x="45459" y="17362"/>
                  <a:pt x="77385" y="17975"/>
                  <a:pt x="109279" y="17200"/>
                </a:cubicBezTo>
                <a:cubicBezTo>
                  <a:pt x="130782" y="16677"/>
                  <a:pt x="152239" y="14265"/>
                  <a:pt x="173714" y="12645"/>
                </a:cubicBezTo>
                <a:cubicBezTo>
                  <a:pt x="184250" y="11850"/>
                  <a:pt x="194770" y="10836"/>
                  <a:pt x="205309" y="10096"/>
                </a:cubicBezTo>
                <a:cubicBezTo>
                  <a:pt x="218698" y="9156"/>
                  <a:pt x="232139" y="8783"/>
                  <a:pt x="245485" y="7449"/>
                </a:cubicBezTo>
                <a:cubicBezTo>
                  <a:pt x="260017" y="5997"/>
                  <a:pt x="274456" y="3648"/>
                  <a:pt x="288955" y="1844"/>
                </a:cubicBezTo>
                <a:cubicBezTo>
                  <a:pt x="294991" y="1094"/>
                  <a:pt x="301100" y="930"/>
                  <a:pt x="307132" y="164"/>
                </a:cubicBezTo>
                <a:cubicBezTo>
                  <a:pt x="315239" y="-865"/>
                  <a:pt x="320841" y="3022"/>
                  <a:pt x="324030" y="9691"/>
                </a:cubicBezTo>
                <a:cubicBezTo>
                  <a:pt x="328594" y="19236"/>
                  <a:pt x="332712" y="29070"/>
                  <a:pt x="336033" y="39107"/>
                </a:cubicBezTo>
                <a:cubicBezTo>
                  <a:pt x="338557" y="46735"/>
                  <a:pt x="336278" y="50185"/>
                  <a:pt x="328060" y="52413"/>
                </a:cubicBezTo>
                <a:cubicBezTo>
                  <a:pt x="318273" y="55068"/>
                  <a:pt x="308277" y="56950"/>
                  <a:pt x="297312" y="59188"/>
                </a:cubicBezTo>
                <a:moveTo>
                  <a:pt x="207688" y="64284"/>
                </a:moveTo>
                <a:cubicBezTo>
                  <a:pt x="248681" y="60632"/>
                  <a:pt x="289317" y="54812"/>
                  <a:pt x="330050" y="45606"/>
                </a:cubicBezTo>
                <a:cubicBezTo>
                  <a:pt x="327603" y="32443"/>
                  <a:pt x="323777" y="21532"/>
                  <a:pt x="317356" y="11297"/>
                </a:cubicBezTo>
                <a:cubicBezTo>
                  <a:pt x="313908" y="5803"/>
                  <a:pt x="310145" y="4465"/>
                  <a:pt x="304170" y="5545"/>
                </a:cubicBezTo>
                <a:cubicBezTo>
                  <a:pt x="294121" y="7361"/>
                  <a:pt x="284007" y="9006"/>
                  <a:pt x="273851" y="10014"/>
                </a:cubicBezTo>
                <a:cubicBezTo>
                  <a:pt x="237233" y="13650"/>
                  <a:pt x="200632" y="17661"/>
                  <a:pt x="163935" y="20274"/>
                </a:cubicBezTo>
                <a:cubicBezTo>
                  <a:pt x="115360" y="23734"/>
                  <a:pt x="66701" y="25937"/>
                  <a:pt x="17973" y="22950"/>
                </a:cubicBezTo>
                <a:cubicBezTo>
                  <a:pt x="14492" y="22737"/>
                  <a:pt x="10959" y="23361"/>
                  <a:pt x="7372" y="23601"/>
                </a:cubicBezTo>
                <a:cubicBezTo>
                  <a:pt x="7372" y="38609"/>
                  <a:pt x="7372" y="52361"/>
                  <a:pt x="7372" y="67898"/>
                </a:cubicBezTo>
                <a:cubicBezTo>
                  <a:pt x="74001" y="69806"/>
                  <a:pt x="139746" y="71025"/>
                  <a:pt x="207688" y="64284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0" name="Free-form: Shape 69">
            <a:extLst>
              <a:ext uri="{FF2B5EF4-FFF2-40B4-BE49-F238E27FC236}">
                <a16:creationId xmlns:a16="http://schemas.microsoft.com/office/drawing/2014/main" id="{65408B6E-0F83-9A86-5CB9-E6BD1A5CA684}"/>
              </a:ext>
            </a:extLst>
          </p:cNvPr>
          <p:cNvSpPr/>
          <p:nvPr/>
        </p:nvSpPr>
        <p:spPr>
          <a:xfrm>
            <a:off x="6949104" y="2627337"/>
            <a:ext cx="188426" cy="132688"/>
          </a:xfrm>
          <a:custGeom>
            <a:avLst/>
            <a:gdLst>
              <a:gd name="csX0" fmla="*/ 14160 w 303463"/>
              <a:gd name="csY0" fmla="*/ 7889 h 213695"/>
              <a:gd name="csX1" fmla="*/ 195033 w 303463"/>
              <a:gd name="csY1" fmla="*/ 0 h 213695"/>
              <a:gd name="csX2" fmla="*/ 197208 w 303463"/>
              <a:gd name="csY2" fmla="*/ 5635 h 213695"/>
              <a:gd name="csX3" fmla="*/ 227014 w 303463"/>
              <a:gd name="csY3" fmla="*/ 60660 h 213695"/>
              <a:gd name="csX4" fmla="*/ 265823 w 303463"/>
              <a:gd name="csY4" fmla="*/ 98217 h 213695"/>
              <a:gd name="csX5" fmla="*/ 303210 w 303463"/>
              <a:gd name="csY5" fmla="*/ 180358 h 213695"/>
              <a:gd name="csX6" fmla="*/ 303282 w 303463"/>
              <a:gd name="csY6" fmla="*/ 193964 h 213695"/>
              <a:gd name="csX7" fmla="*/ 4971 w 303463"/>
              <a:gd name="csY7" fmla="*/ 213017 h 213695"/>
              <a:gd name="csX8" fmla="*/ 5093 w 303463"/>
              <a:gd name="csY8" fmla="*/ 173484 h 213695"/>
              <a:gd name="csX9" fmla="*/ 4767 w 303463"/>
              <a:gd name="csY9" fmla="*/ 54607 h 213695"/>
              <a:gd name="csX10" fmla="*/ 0 w 303463"/>
              <a:gd name="csY10" fmla="*/ 7887 h 213695"/>
              <a:gd name="csX11" fmla="*/ 14160 w 303463"/>
              <a:gd name="csY11" fmla="*/ 7889 h 21369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303463" h="213695">
                <a:moveTo>
                  <a:pt x="14160" y="7889"/>
                </a:moveTo>
                <a:cubicBezTo>
                  <a:pt x="75371" y="8627"/>
                  <a:pt x="135292" y="5744"/>
                  <a:pt x="195033" y="0"/>
                </a:cubicBezTo>
                <a:cubicBezTo>
                  <a:pt x="196084" y="2662"/>
                  <a:pt x="196986" y="4099"/>
                  <a:pt x="197208" y="5635"/>
                </a:cubicBezTo>
                <a:cubicBezTo>
                  <a:pt x="200391" y="27650"/>
                  <a:pt x="211307" y="45450"/>
                  <a:pt x="227014" y="60660"/>
                </a:cubicBezTo>
                <a:cubicBezTo>
                  <a:pt x="239947" y="73182"/>
                  <a:pt x="253006" y="85577"/>
                  <a:pt x="265823" y="98217"/>
                </a:cubicBezTo>
                <a:cubicBezTo>
                  <a:pt x="288727" y="120806"/>
                  <a:pt x="299071" y="149215"/>
                  <a:pt x="303210" y="180358"/>
                </a:cubicBezTo>
                <a:cubicBezTo>
                  <a:pt x="303735" y="184317"/>
                  <a:pt x="303282" y="188405"/>
                  <a:pt x="303282" y="193964"/>
                </a:cubicBezTo>
                <a:cubicBezTo>
                  <a:pt x="204065" y="208804"/>
                  <a:pt x="105022" y="216044"/>
                  <a:pt x="4971" y="213017"/>
                </a:cubicBezTo>
                <a:cubicBezTo>
                  <a:pt x="4971" y="199268"/>
                  <a:pt x="4314" y="186332"/>
                  <a:pt x="5093" y="173484"/>
                </a:cubicBezTo>
                <a:cubicBezTo>
                  <a:pt x="7497" y="133835"/>
                  <a:pt x="8211" y="94216"/>
                  <a:pt x="4767" y="54607"/>
                </a:cubicBezTo>
                <a:cubicBezTo>
                  <a:pt x="3464" y="39611"/>
                  <a:pt x="1725" y="24653"/>
                  <a:pt x="0" y="7887"/>
                </a:cubicBezTo>
                <a:cubicBezTo>
                  <a:pt x="4390" y="7887"/>
                  <a:pt x="8696" y="7887"/>
                  <a:pt x="14160" y="7889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1" name="Free-form: Shape 70">
            <a:extLst>
              <a:ext uri="{FF2B5EF4-FFF2-40B4-BE49-F238E27FC236}">
                <a16:creationId xmlns:a16="http://schemas.microsoft.com/office/drawing/2014/main" id="{F261187E-E11C-650B-DAF0-27C25BB2DE39}"/>
              </a:ext>
            </a:extLst>
          </p:cNvPr>
          <p:cNvSpPr/>
          <p:nvPr/>
        </p:nvSpPr>
        <p:spPr>
          <a:xfrm>
            <a:off x="6915342" y="2097581"/>
            <a:ext cx="129814" cy="126299"/>
          </a:xfrm>
          <a:custGeom>
            <a:avLst/>
            <a:gdLst>
              <a:gd name="csX0" fmla="*/ 10475 w 209067"/>
              <a:gd name="csY0" fmla="*/ 41718 h 203406"/>
              <a:gd name="csX1" fmla="*/ 100250 w 209067"/>
              <a:gd name="csY1" fmla="*/ 1265 h 203406"/>
              <a:gd name="csX2" fmla="*/ 206681 w 209067"/>
              <a:gd name="csY2" fmla="*/ 98526 h 203406"/>
              <a:gd name="csX3" fmla="*/ 134647 w 209067"/>
              <a:gd name="csY3" fmla="*/ 202431 h 203406"/>
              <a:gd name="csX4" fmla="*/ 40986 w 209067"/>
              <a:gd name="csY4" fmla="*/ 171438 h 203406"/>
              <a:gd name="csX5" fmla="*/ 143 w 209067"/>
              <a:gd name="csY5" fmla="*/ 85158 h 203406"/>
              <a:gd name="csX6" fmla="*/ 10475 w 209067"/>
              <a:gd name="csY6" fmla="*/ 41718 h 20340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</a:cxnLst>
            <a:rect l="l" t="t" r="r" b="b"/>
            <a:pathLst>
              <a:path w="209067" h="203406">
                <a:moveTo>
                  <a:pt x="10475" y="41718"/>
                </a:moveTo>
                <a:cubicBezTo>
                  <a:pt x="31065" y="6021"/>
                  <a:pt x="63171" y="-3865"/>
                  <a:pt x="100250" y="1265"/>
                </a:cubicBezTo>
                <a:cubicBezTo>
                  <a:pt x="157191" y="9144"/>
                  <a:pt x="196951" y="51394"/>
                  <a:pt x="206681" y="98526"/>
                </a:cubicBezTo>
                <a:cubicBezTo>
                  <a:pt x="219504" y="160635"/>
                  <a:pt x="178523" y="196657"/>
                  <a:pt x="134647" y="202431"/>
                </a:cubicBezTo>
                <a:cubicBezTo>
                  <a:pt x="98365" y="207204"/>
                  <a:pt x="68101" y="194086"/>
                  <a:pt x="40986" y="171438"/>
                </a:cubicBezTo>
                <a:cubicBezTo>
                  <a:pt x="14115" y="148994"/>
                  <a:pt x="2457" y="119007"/>
                  <a:pt x="143" y="85158"/>
                </a:cubicBezTo>
                <a:cubicBezTo>
                  <a:pt x="-869" y="70364"/>
                  <a:pt x="3586" y="56015"/>
                  <a:pt x="10475" y="41718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2" name="Free-form: Shape 71">
            <a:extLst>
              <a:ext uri="{FF2B5EF4-FFF2-40B4-BE49-F238E27FC236}">
                <a16:creationId xmlns:a16="http://schemas.microsoft.com/office/drawing/2014/main" id="{124D082F-2DC3-E847-967E-A656B92B2077}"/>
              </a:ext>
            </a:extLst>
          </p:cNvPr>
          <p:cNvSpPr/>
          <p:nvPr/>
        </p:nvSpPr>
        <p:spPr>
          <a:xfrm>
            <a:off x="6951601" y="2310619"/>
            <a:ext cx="97564" cy="25665"/>
          </a:xfrm>
          <a:custGeom>
            <a:avLst/>
            <a:gdLst>
              <a:gd name="csX0" fmla="*/ 69625 w 157129"/>
              <a:gd name="csY0" fmla="*/ 0 h 41334"/>
              <a:gd name="csX1" fmla="*/ 119596 w 157129"/>
              <a:gd name="csY1" fmla="*/ 1945 h 41334"/>
              <a:gd name="csX2" fmla="*/ 150973 w 157129"/>
              <a:gd name="csY2" fmla="*/ 14889 h 41334"/>
              <a:gd name="csX3" fmla="*/ 151351 w 157129"/>
              <a:gd name="csY3" fmla="*/ 34058 h 41334"/>
              <a:gd name="csX4" fmla="*/ 133492 w 157129"/>
              <a:gd name="csY4" fmla="*/ 40697 h 41334"/>
              <a:gd name="csX5" fmla="*/ 106556 w 157129"/>
              <a:gd name="csY5" fmla="*/ 41092 h 41334"/>
              <a:gd name="csX6" fmla="*/ 13373 w 157129"/>
              <a:gd name="csY6" fmla="*/ 40708 h 41334"/>
              <a:gd name="csX7" fmla="*/ 1312 w 157129"/>
              <a:gd name="csY7" fmla="*/ 40191 h 41334"/>
              <a:gd name="csX8" fmla="*/ 3367 w 157129"/>
              <a:gd name="csY8" fmla="*/ 13162 h 41334"/>
              <a:gd name="csX9" fmla="*/ 20752 w 157129"/>
              <a:gd name="csY9" fmla="*/ 1879 h 41334"/>
              <a:gd name="csX10" fmla="*/ 52625 w 157129"/>
              <a:gd name="csY10" fmla="*/ 1332 h 41334"/>
              <a:gd name="csX11" fmla="*/ 69625 w 157129"/>
              <a:gd name="csY11" fmla="*/ 0 h 4133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157129" h="41334">
                <a:moveTo>
                  <a:pt x="69625" y="0"/>
                </a:moveTo>
                <a:cubicBezTo>
                  <a:pt x="87054" y="491"/>
                  <a:pt x="103407" y="373"/>
                  <a:pt x="119596" y="1945"/>
                </a:cubicBezTo>
                <a:cubicBezTo>
                  <a:pt x="131020" y="3055"/>
                  <a:pt x="141713" y="7767"/>
                  <a:pt x="150973" y="14889"/>
                </a:cubicBezTo>
                <a:cubicBezTo>
                  <a:pt x="158820" y="20925"/>
                  <a:pt x="159403" y="28236"/>
                  <a:pt x="151351" y="34058"/>
                </a:cubicBezTo>
                <a:cubicBezTo>
                  <a:pt x="146355" y="37671"/>
                  <a:pt x="139678" y="39910"/>
                  <a:pt x="133492" y="40697"/>
                </a:cubicBezTo>
                <a:cubicBezTo>
                  <a:pt x="124640" y="41824"/>
                  <a:pt x="115547" y="41120"/>
                  <a:pt x="106556" y="41092"/>
                </a:cubicBezTo>
                <a:cubicBezTo>
                  <a:pt x="75495" y="40996"/>
                  <a:pt x="44434" y="40872"/>
                  <a:pt x="13373" y="40708"/>
                </a:cubicBezTo>
                <a:cubicBezTo>
                  <a:pt x="9391" y="40687"/>
                  <a:pt x="5410" y="40374"/>
                  <a:pt x="1312" y="40191"/>
                </a:cubicBezTo>
                <a:cubicBezTo>
                  <a:pt x="-1416" y="30384"/>
                  <a:pt x="523" y="21512"/>
                  <a:pt x="3367" y="13162"/>
                </a:cubicBezTo>
                <a:cubicBezTo>
                  <a:pt x="5963" y="5538"/>
                  <a:pt x="12701" y="2077"/>
                  <a:pt x="20752" y="1879"/>
                </a:cubicBezTo>
                <a:cubicBezTo>
                  <a:pt x="31375" y="1617"/>
                  <a:pt x="42004" y="1647"/>
                  <a:pt x="52625" y="1332"/>
                </a:cubicBezTo>
                <a:cubicBezTo>
                  <a:pt x="57918" y="1176"/>
                  <a:pt x="63195" y="535"/>
                  <a:pt x="69625" y="0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3" name="Free-form: Shape 72">
            <a:extLst>
              <a:ext uri="{FF2B5EF4-FFF2-40B4-BE49-F238E27FC236}">
                <a16:creationId xmlns:a16="http://schemas.microsoft.com/office/drawing/2014/main" id="{3FF1BFEC-E133-D584-D923-8DA9960CA69F}"/>
              </a:ext>
            </a:extLst>
          </p:cNvPr>
          <p:cNvSpPr/>
          <p:nvPr/>
        </p:nvSpPr>
        <p:spPr>
          <a:xfrm>
            <a:off x="6948128" y="2361506"/>
            <a:ext cx="102191" cy="241686"/>
          </a:xfrm>
          <a:custGeom>
            <a:avLst/>
            <a:gdLst>
              <a:gd name="csX0" fmla="*/ 91265 w 164579"/>
              <a:gd name="csY0" fmla="*/ 157878 h 389238"/>
              <a:gd name="csX1" fmla="*/ 112882 w 164579"/>
              <a:gd name="csY1" fmla="*/ 252738 h 389238"/>
              <a:gd name="csX2" fmla="*/ 164579 w 164579"/>
              <a:gd name="csY2" fmla="*/ 389238 h 389238"/>
              <a:gd name="csX3" fmla="*/ 0 w 164579"/>
              <a:gd name="csY3" fmla="*/ 389238 h 389238"/>
              <a:gd name="csX4" fmla="*/ 5184 w 164579"/>
              <a:gd name="csY4" fmla="*/ 260105 h 389238"/>
              <a:gd name="csX5" fmla="*/ 7989 w 164579"/>
              <a:gd name="csY5" fmla="*/ 131182 h 389238"/>
              <a:gd name="csX6" fmla="*/ 8093 w 164579"/>
              <a:gd name="csY6" fmla="*/ 2390 h 389238"/>
              <a:gd name="csX7" fmla="*/ 76429 w 164579"/>
              <a:gd name="csY7" fmla="*/ 1531 h 389238"/>
              <a:gd name="csX8" fmla="*/ 91265 w 164579"/>
              <a:gd name="csY8" fmla="*/ 157878 h 38923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</a:cxnLst>
            <a:rect l="l" t="t" r="r" b="b"/>
            <a:pathLst>
              <a:path w="164579" h="389238">
                <a:moveTo>
                  <a:pt x="91265" y="157878"/>
                </a:moveTo>
                <a:cubicBezTo>
                  <a:pt x="98425" y="190232"/>
                  <a:pt x="104539" y="221785"/>
                  <a:pt x="112882" y="252738"/>
                </a:cubicBezTo>
                <a:cubicBezTo>
                  <a:pt x="125498" y="299549"/>
                  <a:pt x="141482" y="345258"/>
                  <a:pt x="164579" y="389238"/>
                </a:cubicBezTo>
                <a:cubicBezTo>
                  <a:pt x="109753" y="389238"/>
                  <a:pt x="55706" y="389238"/>
                  <a:pt x="0" y="389238"/>
                </a:cubicBezTo>
                <a:cubicBezTo>
                  <a:pt x="1781" y="345633"/>
                  <a:pt x="3844" y="302880"/>
                  <a:pt x="5184" y="260105"/>
                </a:cubicBezTo>
                <a:cubicBezTo>
                  <a:pt x="6529" y="217143"/>
                  <a:pt x="7519" y="174162"/>
                  <a:pt x="7989" y="131182"/>
                </a:cubicBezTo>
                <a:cubicBezTo>
                  <a:pt x="8459" y="88239"/>
                  <a:pt x="8093" y="45287"/>
                  <a:pt x="8093" y="2390"/>
                </a:cubicBezTo>
                <a:cubicBezTo>
                  <a:pt x="17041" y="-288"/>
                  <a:pt x="58537" y="-913"/>
                  <a:pt x="76429" y="1531"/>
                </a:cubicBezTo>
                <a:cubicBezTo>
                  <a:pt x="79287" y="53276"/>
                  <a:pt x="82219" y="105359"/>
                  <a:pt x="91265" y="157878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4" name="Free-form: Shape 73">
            <a:extLst>
              <a:ext uri="{FF2B5EF4-FFF2-40B4-BE49-F238E27FC236}">
                <a16:creationId xmlns:a16="http://schemas.microsoft.com/office/drawing/2014/main" id="{BE2D4528-90FB-B26E-54AC-4D71E6C3B069}"/>
              </a:ext>
            </a:extLst>
          </p:cNvPr>
          <p:cNvSpPr/>
          <p:nvPr/>
        </p:nvSpPr>
        <p:spPr>
          <a:xfrm>
            <a:off x="6949947" y="2777019"/>
            <a:ext cx="200357" cy="39865"/>
          </a:xfrm>
          <a:custGeom>
            <a:avLst/>
            <a:gdLst>
              <a:gd name="csX0" fmla="*/ 199184 w 322677"/>
              <a:gd name="csY0" fmla="*/ 59136 h 64202"/>
              <a:gd name="csX1" fmla="*/ 0 w 322677"/>
              <a:gd name="csY1" fmla="*/ 62697 h 64202"/>
              <a:gd name="csX2" fmla="*/ 0 w 322677"/>
              <a:gd name="csY2" fmla="*/ 18400 h 64202"/>
              <a:gd name="csX3" fmla="*/ 10601 w 322677"/>
              <a:gd name="csY3" fmla="*/ 17750 h 64202"/>
              <a:gd name="csX4" fmla="*/ 156563 w 322677"/>
              <a:gd name="csY4" fmla="*/ 15074 h 64202"/>
              <a:gd name="csX5" fmla="*/ 266479 w 322677"/>
              <a:gd name="csY5" fmla="*/ 4814 h 64202"/>
              <a:gd name="csX6" fmla="*/ 296798 w 322677"/>
              <a:gd name="csY6" fmla="*/ 344 h 64202"/>
              <a:gd name="csX7" fmla="*/ 309983 w 322677"/>
              <a:gd name="csY7" fmla="*/ 6097 h 64202"/>
              <a:gd name="csX8" fmla="*/ 322678 w 322677"/>
              <a:gd name="csY8" fmla="*/ 40406 h 64202"/>
              <a:gd name="csX9" fmla="*/ 199184 w 322677"/>
              <a:gd name="csY9" fmla="*/ 59136 h 6420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322677" h="64202">
                <a:moveTo>
                  <a:pt x="199184" y="59136"/>
                </a:moveTo>
                <a:cubicBezTo>
                  <a:pt x="132374" y="65824"/>
                  <a:pt x="66629" y="64605"/>
                  <a:pt x="0" y="62697"/>
                </a:cubicBezTo>
                <a:cubicBezTo>
                  <a:pt x="0" y="47160"/>
                  <a:pt x="0" y="33409"/>
                  <a:pt x="0" y="18400"/>
                </a:cubicBezTo>
                <a:cubicBezTo>
                  <a:pt x="3587" y="18160"/>
                  <a:pt x="7120" y="17536"/>
                  <a:pt x="10601" y="17750"/>
                </a:cubicBezTo>
                <a:cubicBezTo>
                  <a:pt x="59329" y="20736"/>
                  <a:pt x="107987" y="18533"/>
                  <a:pt x="156563" y="15074"/>
                </a:cubicBezTo>
                <a:cubicBezTo>
                  <a:pt x="193260" y="12461"/>
                  <a:pt x="229860" y="8449"/>
                  <a:pt x="266479" y="4814"/>
                </a:cubicBezTo>
                <a:cubicBezTo>
                  <a:pt x="276635" y="3806"/>
                  <a:pt x="286748" y="2160"/>
                  <a:pt x="296798" y="344"/>
                </a:cubicBezTo>
                <a:cubicBezTo>
                  <a:pt x="302773" y="-735"/>
                  <a:pt x="306536" y="602"/>
                  <a:pt x="309983" y="6097"/>
                </a:cubicBezTo>
                <a:cubicBezTo>
                  <a:pt x="316405" y="16331"/>
                  <a:pt x="320231" y="27243"/>
                  <a:pt x="322678" y="40406"/>
                </a:cubicBezTo>
                <a:cubicBezTo>
                  <a:pt x="281944" y="49611"/>
                  <a:pt x="241309" y="55431"/>
                  <a:pt x="199184" y="59136"/>
                </a:cubicBezTo>
                <a:close/>
              </a:path>
            </a:pathLst>
          </a:custGeom>
          <a:solidFill>
            <a:schemeClr val="bg1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20B8B4DD-670A-61D1-6215-FB464587F09B}"/>
              </a:ext>
            </a:extLst>
          </p:cNvPr>
          <p:cNvSpPr txBox="1"/>
          <p:nvPr/>
        </p:nvSpPr>
        <p:spPr>
          <a:xfrm>
            <a:off x="6395889" y="2831201"/>
            <a:ext cx="1286848" cy="3927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BR + anti-PDL1</a:t>
            </a:r>
          </a:p>
        </p:txBody>
      </p:sp>
    </p:spTree>
    <p:extLst>
      <p:ext uri="{BB962C8B-B14F-4D97-AF65-F5344CB8AC3E}">
        <p14:creationId xmlns:p14="http://schemas.microsoft.com/office/powerpoint/2010/main" val="209984282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0B243AC-D885-AEF9-6BDE-BF6E8983A3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8" name="Rectangle: Rounded Corners 317">
            <a:extLst>
              <a:ext uri="{FF2B5EF4-FFF2-40B4-BE49-F238E27FC236}">
                <a16:creationId xmlns:a16="http://schemas.microsoft.com/office/drawing/2014/main" id="{6D70300C-9BF7-B889-6F1E-F24532613B11}"/>
              </a:ext>
            </a:extLst>
          </p:cNvPr>
          <p:cNvSpPr/>
          <p:nvPr/>
        </p:nvSpPr>
        <p:spPr>
          <a:xfrm>
            <a:off x="469900" y="1321594"/>
            <a:ext cx="2128838" cy="3306101"/>
          </a:xfrm>
          <a:prstGeom prst="roundRect">
            <a:avLst>
              <a:gd name="adj" fmla="val 8126"/>
            </a:avLst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F26F41A-6F39-FB44-C248-B55CDED340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0" y="311150"/>
            <a:ext cx="10317269" cy="930910"/>
          </a:xfrm>
        </p:spPr>
        <p:txBody>
          <a:bodyPr/>
          <a:lstStyle/>
          <a:p>
            <a:r>
              <a:rPr lang="en-GB">
                <a:latin typeface="+mn-lt"/>
              </a:rPr>
              <a:t>How to choose our next move?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AB4E96F-8219-EA98-2418-821F4A3A3F2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GB"/>
              <a:t>BR, bendamustine, rituximab; CHOP, cyclophosphamide, doxorubicin, vincristine and prednisone; </a:t>
            </a:r>
            <a:r>
              <a:rPr lang="en-GB" err="1"/>
              <a:t>DHAOx</a:t>
            </a:r>
            <a:r>
              <a:rPr lang="en-GB"/>
              <a:t>, dexamethasone, high-dose cytarabine and oxaliplatin; PDL1, programmed death-ligand 1; </a:t>
            </a:r>
            <a:br>
              <a:rPr lang="en-GB"/>
            </a:br>
            <a:r>
              <a:rPr lang="en-GB"/>
              <a:t>R, rituximab.</a:t>
            </a:r>
          </a:p>
          <a:p>
            <a:r>
              <a:rPr lang="en-GB"/>
              <a:t>Patient case provided by Prof. Enrico </a:t>
            </a:r>
            <a:r>
              <a:rPr lang="en-GB" err="1"/>
              <a:t>Derenzini</a:t>
            </a:r>
            <a:r>
              <a:rPr lang="en-GB"/>
              <a:t>.</a:t>
            </a:r>
          </a:p>
        </p:txBody>
      </p:sp>
      <p:sp>
        <p:nvSpPr>
          <p:cNvPr id="258" name="Oval 257">
            <a:extLst>
              <a:ext uri="{FF2B5EF4-FFF2-40B4-BE49-F238E27FC236}">
                <a16:creationId xmlns:a16="http://schemas.microsoft.com/office/drawing/2014/main" id="{AB2A1301-6651-5E30-A7A2-3DAD1B7A15FC}"/>
              </a:ext>
            </a:extLst>
          </p:cNvPr>
          <p:cNvSpPr/>
          <p:nvPr/>
        </p:nvSpPr>
        <p:spPr>
          <a:xfrm>
            <a:off x="1149957" y="4103486"/>
            <a:ext cx="593138" cy="104135"/>
          </a:xfrm>
          <a:prstGeom prst="ellipse">
            <a:avLst/>
          </a:prstGeom>
          <a:solidFill>
            <a:schemeClr val="tx1">
              <a:alpha val="6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59" name="Free-form: Shape 258">
            <a:extLst>
              <a:ext uri="{FF2B5EF4-FFF2-40B4-BE49-F238E27FC236}">
                <a16:creationId xmlns:a16="http://schemas.microsoft.com/office/drawing/2014/main" id="{1C52ED9E-625E-0AE9-2494-4B2D6B9ADB10}"/>
              </a:ext>
            </a:extLst>
          </p:cNvPr>
          <p:cNvSpPr/>
          <p:nvPr/>
        </p:nvSpPr>
        <p:spPr>
          <a:xfrm>
            <a:off x="1248623" y="3422835"/>
            <a:ext cx="433137" cy="770022"/>
          </a:xfrm>
          <a:custGeom>
            <a:avLst/>
            <a:gdLst>
              <a:gd name="csX0" fmla="*/ 581793 w 697572"/>
              <a:gd name="csY0" fmla="*/ 1234401 h 1240128"/>
              <a:gd name="csX1" fmla="*/ 577427 w 697572"/>
              <a:gd name="csY1" fmla="*/ 1234156 h 1240128"/>
              <a:gd name="csX2" fmla="*/ 559133 w 697572"/>
              <a:gd name="csY2" fmla="*/ 1230909 h 1240128"/>
              <a:gd name="csX3" fmla="*/ 516706 w 697572"/>
              <a:gd name="csY3" fmla="*/ 1235117 h 1240128"/>
              <a:gd name="csX4" fmla="*/ 475244 w 697572"/>
              <a:gd name="csY4" fmla="*/ 1237506 h 1240128"/>
              <a:gd name="csX5" fmla="*/ 371154 w 697572"/>
              <a:gd name="csY5" fmla="*/ 1239428 h 1240128"/>
              <a:gd name="csX6" fmla="*/ 276813 w 697572"/>
              <a:gd name="csY6" fmla="*/ 1237654 h 1240128"/>
              <a:gd name="csX7" fmla="*/ 268212 w 697572"/>
              <a:gd name="csY7" fmla="*/ 1237635 h 1240128"/>
              <a:gd name="csX8" fmla="*/ 262072 w 697572"/>
              <a:gd name="csY8" fmla="*/ 1237523 h 1240128"/>
              <a:gd name="csX9" fmla="*/ 195111 w 697572"/>
              <a:gd name="csY9" fmla="*/ 1232775 h 1240128"/>
              <a:gd name="csX10" fmla="*/ 145060 w 697572"/>
              <a:gd name="csY10" fmla="*/ 1230076 h 1240128"/>
              <a:gd name="csX11" fmla="*/ 114933 w 697572"/>
              <a:gd name="csY11" fmla="*/ 1225832 h 1240128"/>
              <a:gd name="csX12" fmla="*/ 72642 w 697572"/>
              <a:gd name="csY12" fmla="*/ 1220237 h 1240128"/>
              <a:gd name="csX13" fmla="*/ 10894 w 697572"/>
              <a:gd name="csY13" fmla="*/ 1205737 h 1240128"/>
              <a:gd name="csX14" fmla="*/ 5856 w 697572"/>
              <a:gd name="csY14" fmla="*/ 1202799 h 1240128"/>
              <a:gd name="csX15" fmla="*/ 40 w 697572"/>
              <a:gd name="csY15" fmla="*/ 1174450 h 1240128"/>
              <a:gd name="csX16" fmla="*/ 19831 w 697572"/>
              <a:gd name="csY16" fmla="*/ 1118410 h 1240128"/>
              <a:gd name="csX17" fmla="*/ 22004 w 697572"/>
              <a:gd name="csY17" fmla="*/ 1107240 h 1240128"/>
              <a:gd name="csX18" fmla="*/ 25947 w 697572"/>
              <a:gd name="csY18" fmla="*/ 1038650 h 1240128"/>
              <a:gd name="csX19" fmla="*/ 58234 w 697572"/>
              <a:gd name="csY19" fmla="*/ 988567 h 1240128"/>
              <a:gd name="csX20" fmla="*/ 118645 w 697572"/>
              <a:gd name="csY20" fmla="*/ 928298 h 1240128"/>
              <a:gd name="csX21" fmla="*/ 126320 w 697572"/>
              <a:gd name="csY21" fmla="*/ 892015 h 1240128"/>
              <a:gd name="csX22" fmla="*/ 120345 w 697572"/>
              <a:gd name="csY22" fmla="*/ 872258 h 1240128"/>
              <a:gd name="csX23" fmla="*/ 125668 w 697572"/>
              <a:gd name="csY23" fmla="*/ 861640 h 1240128"/>
              <a:gd name="csX24" fmla="*/ 154237 w 697572"/>
              <a:gd name="csY24" fmla="*/ 850716 h 1240128"/>
              <a:gd name="csX25" fmla="*/ 170248 w 697572"/>
              <a:gd name="csY25" fmla="*/ 836767 h 1240128"/>
              <a:gd name="csX26" fmla="*/ 187840 w 697572"/>
              <a:gd name="csY26" fmla="*/ 796341 h 1240128"/>
              <a:gd name="csX27" fmla="*/ 209346 w 697572"/>
              <a:gd name="csY27" fmla="*/ 743126 h 1240128"/>
              <a:gd name="csX28" fmla="*/ 210630 w 697572"/>
              <a:gd name="csY28" fmla="*/ 737219 h 1240128"/>
              <a:gd name="csX29" fmla="*/ 213836 w 697572"/>
              <a:gd name="csY29" fmla="*/ 720505 h 1240128"/>
              <a:gd name="csX30" fmla="*/ 227791 w 697572"/>
              <a:gd name="csY30" fmla="*/ 667353 h 1240128"/>
              <a:gd name="csX31" fmla="*/ 241013 w 697572"/>
              <a:gd name="csY31" fmla="*/ 599151 h 1240128"/>
              <a:gd name="csX32" fmla="*/ 247322 w 697572"/>
              <a:gd name="csY32" fmla="*/ 542242 h 1240128"/>
              <a:gd name="csX33" fmla="*/ 247948 w 697572"/>
              <a:gd name="csY33" fmla="*/ 499296 h 1240128"/>
              <a:gd name="csX34" fmla="*/ 247577 w 697572"/>
              <a:gd name="csY34" fmla="*/ 470384 h 1240128"/>
              <a:gd name="csX35" fmla="*/ 238877 w 697572"/>
              <a:gd name="csY35" fmla="*/ 460987 h 1240128"/>
              <a:gd name="csX36" fmla="*/ 222040 w 697572"/>
              <a:gd name="csY36" fmla="*/ 458353 h 1240128"/>
              <a:gd name="csX37" fmla="*/ 172193 w 697572"/>
              <a:gd name="csY37" fmla="*/ 433714 h 1240128"/>
              <a:gd name="csX38" fmla="*/ 168410 w 697572"/>
              <a:gd name="csY38" fmla="*/ 396591 h 1240128"/>
              <a:gd name="csX39" fmla="*/ 209826 w 697572"/>
              <a:gd name="csY39" fmla="*/ 367773 h 1240128"/>
              <a:gd name="csX40" fmla="*/ 250732 w 697572"/>
              <a:gd name="csY40" fmla="*/ 355208 h 1240128"/>
              <a:gd name="csX41" fmla="*/ 258289 w 697572"/>
              <a:gd name="csY41" fmla="*/ 350426 h 1240128"/>
              <a:gd name="csX42" fmla="*/ 233274 w 697572"/>
              <a:gd name="csY42" fmla="*/ 333513 h 1240128"/>
              <a:gd name="csX43" fmla="*/ 229677 w 697572"/>
              <a:gd name="csY43" fmla="*/ 333922 h 1240128"/>
              <a:gd name="csX44" fmla="*/ 230149 w 697572"/>
              <a:gd name="csY44" fmla="*/ 332979 h 1240128"/>
              <a:gd name="csX45" fmla="*/ 227053 w 697572"/>
              <a:gd name="csY45" fmla="*/ 327076 h 1240128"/>
              <a:gd name="csX46" fmla="*/ 196769 w 697572"/>
              <a:gd name="csY46" fmla="*/ 291380 h 1240128"/>
              <a:gd name="csX47" fmla="*/ 184389 w 697572"/>
              <a:gd name="csY47" fmla="*/ 264042 h 1240128"/>
              <a:gd name="csX48" fmla="*/ 180630 w 697572"/>
              <a:gd name="csY48" fmla="*/ 257839 h 1240128"/>
              <a:gd name="csX49" fmla="*/ 176231 w 697572"/>
              <a:gd name="csY49" fmla="*/ 250643 h 1240128"/>
              <a:gd name="csX50" fmla="*/ 170073 w 697572"/>
              <a:gd name="csY50" fmla="*/ 146723 h 1240128"/>
              <a:gd name="csX51" fmla="*/ 180929 w 697572"/>
              <a:gd name="csY51" fmla="*/ 114280 h 1240128"/>
              <a:gd name="csX52" fmla="*/ 180839 w 697572"/>
              <a:gd name="csY52" fmla="*/ 101501 h 1240128"/>
              <a:gd name="csX53" fmla="*/ 233536 w 697572"/>
              <a:gd name="csY53" fmla="*/ 39653 h 1240128"/>
              <a:gd name="csX54" fmla="*/ 347618 w 697572"/>
              <a:gd name="csY54" fmla="*/ 35 h 1240128"/>
              <a:gd name="csX55" fmla="*/ 437139 w 697572"/>
              <a:gd name="csY55" fmla="*/ 22396 h 1240128"/>
              <a:gd name="csX56" fmla="*/ 529052 w 697572"/>
              <a:gd name="csY56" fmla="*/ 131093 h 1240128"/>
              <a:gd name="csX57" fmla="*/ 518497 w 697572"/>
              <a:gd name="csY57" fmla="*/ 271517 h 1240128"/>
              <a:gd name="csX58" fmla="*/ 500808 w 697572"/>
              <a:gd name="csY58" fmla="*/ 287385 h 1240128"/>
              <a:gd name="csX59" fmla="*/ 472948 w 697572"/>
              <a:gd name="csY59" fmla="*/ 323290 h 1240128"/>
              <a:gd name="csX60" fmla="*/ 469385 w 697572"/>
              <a:gd name="csY60" fmla="*/ 331565 h 1240128"/>
              <a:gd name="csX61" fmla="*/ 468293 w 697572"/>
              <a:gd name="csY61" fmla="*/ 331320 h 1240128"/>
              <a:gd name="csX62" fmla="*/ 459542 w 697572"/>
              <a:gd name="csY62" fmla="*/ 338942 h 1240128"/>
              <a:gd name="csX63" fmla="*/ 458492 w 697572"/>
              <a:gd name="csY63" fmla="*/ 338671 h 1240128"/>
              <a:gd name="csX64" fmla="*/ 436978 w 697572"/>
              <a:gd name="csY64" fmla="*/ 352226 h 1240128"/>
              <a:gd name="csX65" fmla="*/ 472329 w 697572"/>
              <a:gd name="csY65" fmla="*/ 362890 h 1240128"/>
              <a:gd name="csX66" fmla="*/ 523779 w 697572"/>
              <a:gd name="csY66" fmla="*/ 391962 h 1240128"/>
              <a:gd name="csX67" fmla="*/ 527344 w 697572"/>
              <a:gd name="csY67" fmla="*/ 430096 h 1240128"/>
              <a:gd name="csX68" fmla="*/ 504112 w 697572"/>
              <a:gd name="csY68" fmla="*/ 449628 h 1240128"/>
              <a:gd name="csX69" fmla="*/ 459430 w 697572"/>
              <a:gd name="csY69" fmla="*/ 461116 h 1240128"/>
              <a:gd name="csX70" fmla="*/ 446666 w 697572"/>
              <a:gd name="csY70" fmla="*/ 474229 h 1240128"/>
              <a:gd name="csX71" fmla="*/ 449133 w 697572"/>
              <a:gd name="csY71" fmla="*/ 531639 h 1240128"/>
              <a:gd name="csX72" fmla="*/ 454546 w 697572"/>
              <a:gd name="csY72" fmla="*/ 588688 h 1240128"/>
              <a:gd name="csX73" fmla="*/ 466126 w 697572"/>
              <a:gd name="csY73" fmla="*/ 649736 h 1240128"/>
              <a:gd name="csX74" fmla="*/ 512154 w 697572"/>
              <a:gd name="csY74" fmla="*/ 794006 h 1240128"/>
              <a:gd name="csX75" fmla="*/ 525763 w 697572"/>
              <a:gd name="csY75" fmla="*/ 834323 h 1240128"/>
              <a:gd name="csX76" fmla="*/ 530555 w 697572"/>
              <a:gd name="csY76" fmla="*/ 845114 h 1240128"/>
              <a:gd name="csX77" fmla="*/ 554424 w 697572"/>
              <a:gd name="csY77" fmla="*/ 856618 h 1240128"/>
              <a:gd name="csX78" fmla="*/ 572880 w 697572"/>
              <a:gd name="csY78" fmla="*/ 862546 h 1240128"/>
              <a:gd name="csX79" fmla="*/ 578643 w 697572"/>
              <a:gd name="csY79" fmla="*/ 880396 h 1240128"/>
              <a:gd name="csX80" fmla="*/ 572188 w 697572"/>
              <a:gd name="csY80" fmla="*/ 899820 h 1240128"/>
              <a:gd name="csX81" fmla="*/ 582698 w 697572"/>
              <a:gd name="csY81" fmla="*/ 930382 h 1240128"/>
              <a:gd name="csX82" fmla="*/ 604747 w 697572"/>
              <a:gd name="csY82" fmla="*/ 960852 h 1240128"/>
              <a:gd name="csX83" fmla="*/ 613863 w 697572"/>
              <a:gd name="csY83" fmla="*/ 968311 h 1240128"/>
              <a:gd name="csX84" fmla="*/ 629435 w 697572"/>
              <a:gd name="csY84" fmla="*/ 981186 h 1240128"/>
              <a:gd name="csX85" fmla="*/ 633611 w 697572"/>
              <a:gd name="csY85" fmla="*/ 985609 h 1240128"/>
              <a:gd name="csX86" fmla="*/ 673790 w 697572"/>
              <a:gd name="csY86" fmla="*/ 1049348 h 1240128"/>
              <a:gd name="csX87" fmla="*/ 675873 w 697572"/>
              <a:gd name="csY87" fmla="*/ 1092839 h 1240128"/>
              <a:gd name="csX88" fmla="*/ 681668 w 697572"/>
              <a:gd name="csY88" fmla="*/ 1129292 h 1240128"/>
              <a:gd name="csX89" fmla="*/ 697338 w 697572"/>
              <a:gd name="csY89" fmla="*/ 1196079 h 1240128"/>
              <a:gd name="csX90" fmla="*/ 690637 w 697572"/>
              <a:gd name="csY90" fmla="*/ 1205035 h 1240128"/>
              <a:gd name="csX91" fmla="*/ 639777 w 697572"/>
              <a:gd name="csY91" fmla="*/ 1217994 h 1240128"/>
              <a:gd name="csX92" fmla="*/ 587072 w 697572"/>
              <a:gd name="csY92" fmla="*/ 1227761 h 1240128"/>
              <a:gd name="csX93" fmla="*/ 581793 w 697572"/>
              <a:gd name="csY93" fmla="*/ 1234401 h 1240128"/>
              <a:gd name="csX94" fmla="*/ 357446 w 697572"/>
              <a:gd name="csY94" fmla="*/ 903795 h 1240128"/>
              <a:gd name="csX95" fmla="*/ 344445 w 697572"/>
              <a:gd name="csY95" fmla="*/ 903795 h 1240128"/>
              <a:gd name="csX96" fmla="*/ 349212 w 697572"/>
              <a:gd name="csY96" fmla="*/ 950515 h 1240128"/>
              <a:gd name="csX97" fmla="*/ 349538 w 697572"/>
              <a:gd name="csY97" fmla="*/ 1069392 h 1240128"/>
              <a:gd name="csX98" fmla="*/ 349415 w 697572"/>
              <a:gd name="csY98" fmla="*/ 1108925 h 1240128"/>
              <a:gd name="csX99" fmla="*/ 647726 w 697572"/>
              <a:gd name="csY99" fmla="*/ 1089872 h 1240128"/>
              <a:gd name="csX100" fmla="*/ 647654 w 697572"/>
              <a:gd name="csY100" fmla="*/ 1076267 h 1240128"/>
              <a:gd name="csX101" fmla="*/ 610267 w 697572"/>
              <a:gd name="csY101" fmla="*/ 994126 h 1240128"/>
              <a:gd name="csX102" fmla="*/ 571459 w 697572"/>
              <a:gd name="csY102" fmla="*/ 956568 h 1240128"/>
              <a:gd name="csX103" fmla="*/ 541653 w 697572"/>
              <a:gd name="csY103" fmla="*/ 901544 h 1240128"/>
              <a:gd name="csX104" fmla="*/ 539477 w 697572"/>
              <a:gd name="csY104" fmla="*/ 895908 h 1240128"/>
              <a:gd name="csX105" fmla="*/ 357446 w 697572"/>
              <a:gd name="csY105" fmla="*/ 903795 h 1240128"/>
              <a:gd name="csX106" fmla="*/ 300108 w 697572"/>
              <a:gd name="csY106" fmla="*/ 85260 h 1240128"/>
              <a:gd name="csX107" fmla="*/ 290213 w 697572"/>
              <a:gd name="csY107" fmla="*/ 127888 h 1240128"/>
              <a:gd name="csX108" fmla="*/ 331056 w 697572"/>
              <a:gd name="csY108" fmla="*/ 214168 h 1240128"/>
              <a:gd name="csX109" fmla="*/ 424717 w 697572"/>
              <a:gd name="csY109" fmla="*/ 245160 h 1240128"/>
              <a:gd name="csX110" fmla="*/ 496752 w 697572"/>
              <a:gd name="csY110" fmla="*/ 141256 h 1240128"/>
              <a:gd name="csX111" fmla="*/ 390320 w 697572"/>
              <a:gd name="csY111" fmla="*/ 43995 h 1240128"/>
              <a:gd name="csX112" fmla="*/ 300108 w 697572"/>
              <a:gd name="csY112" fmla="*/ 85260 h 1240128"/>
              <a:gd name="csX113" fmla="*/ 343360 w 697572"/>
              <a:gd name="csY113" fmla="*/ 634332 h 1240128"/>
              <a:gd name="csX114" fmla="*/ 340877 w 697572"/>
              <a:gd name="csY114" fmla="*/ 732259 h 1240128"/>
              <a:gd name="csX115" fmla="*/ 338360 w 697572"/>
              <a:gd name="csY115" fmla="*/ 810538 h 1240128"/>
              <a:gd name="csX116" fmla="*/ 337115 w 697572"/>
              <a:gd name="csY116" fmla="*/ 817736 h 1240128"/>
              <a:gd name="csX117" fmla="*/ 336516 w 697572"/>
              <a:gd name="csY117" fmla="*/ 863022 h 1240128"/>
              <a:gd name="csX118" fmla="*/ 343436 w 697572"/>
              <a:gd name="csY118" fmla="*/ 864027 h 1240128"/>
              <a:gd name="csX119" fmla="*/ 406718 w 697572"/>
              <a:gd name="csY119" fmla="*/ 862982 h 1240128"/>
              <a:gd name="csX120" fmla="*/ 456888 w 697572"/>
              <a:gd name="csY120" fmla="*/ 861794 h 1240128"/>
              <a:gd name="csX121" fmla="*/ 495873 w 697572"/>
              <a:gd name="csY121" fmla="*/ 863963 h 1240128"/>
              <a:gd name="csX122" fmla="*/ 509286 w 697572"/>
              <a:gd name="csY122" fmla="*/ 863595 h 1240128"/>
              <a:gd name="csX123" fmla="*/ 516956 w 697572"/>
              <a:gd name="csY123" fmla="*/ 856791 h 1240128"/>
              <a:gd name="csX124" fmla="*/ 513920 w 697572"/>
              <a:gd name="csY124" fmla="*/ 848709 h 1240128"/>
              <a:gd name="csX125" fmla="*/ 506683 w 697572"/>
              <a:gd name="csY125" fmla="*/ 839054 h 1240128"/>
              <a:gd name="csX126" fmla="*/ 488629 w 697572"/>
              <a:gd name="csY126" fmla="*/ 799037 h 1240128"/>
              <a:gd name="csX127" fmla="*/ 456922 w 697572"/>
              <a:gd name="csY127" fmla="*/ 696297 h 1240128"/>
              <a:gd name="csX128" fmla="*/ 441346 w 697572"/>
              <a:gd name="csY128" fmla="*/ 619885 h 1240128"/>
              <a:gd name="csX129" fmla="*/ 435963 w 697572"/>
              <a:gd name="csY129" fmla="*/ 582529 h 1240128"/>
              <a:gd name="csX130" fmla="*/ 429497 w 697572"/>
              <a:gd name="csY130" fmla="*/ 521990 h 1240128"/>
              <a:gd name="csX131" fmla="*/ 426887 w 697572"/>
              <a:gd name="csY131" fmla="*/ 471989 h 1240128"/>
              <a:gd name="csX132" fmla="*/ 413744 w 697572"/>
              <a:gd name="csY132" fmla="*/ 461077 h 1240128"/>
              <a:gd name="csX133" fmla="*/ 353573 w 697572"/>
              <a:gd name="csY133" fmla="*/ 461120 h 1240128"/>
              <a:gd name="csX134" fmla="*/ 344160 w 697572"/>
              <a:gd name="csY134" fmla="*/ 462286 h 1240128"/>
              <a:gd name="csX135" fmla="*/ 343404 w 697572"/>
              <a:gd name="csY135" fmla="*/ 469192 h 1240128"/>
              <a:gd name="csX136" fmla="*/ 343469 w 697572"/>
              <a:gd name="csY136" fmla="*/ 574797 h 1240128"/>
              <a:gd name="csX137" fmla="*/ 345522 w 697572"/>
              <a:gd name="csY137" fmla="*/ 591669 h 1240128"/>
              <a:gd name="csX138" fmla="*/ 343360 w 697572"/>
              <a:gd name="csY138" fmla="*/ 634332 h 1240128"/>
              <a:gd name="csX139" fmla="*/ 416946 w 697572"/>
              <a:gd name="csY139" fmla="*/ 385943 h 1240128"/>
              <a:gd name="csX140" fmla="*/ 401091 w 697572"/>
              <a:gd name="csY140" fmla="*/ 387162 h 1240128"/>
              <a:gd name="csX141" fmla="*/ 369218 w 697572"/>
              <a:gd name="csY141" fmla="*/ 387708 h 1240128"/>
              <a:gd name="csX142" fmla="*/ 351833 w 697572"/>
              <a:gd name="csY142" fmla="*/ 398991 h 1240128"/>
              <a:gd name="csX143" fmla="*/ 349778 w 697572"/>
              <a:gd name="csY143" fmla="*/ 426021 h 1240128"/>
              <a:gd name="csX144" fmla="*/ 361839 w 697572"/>
              <a:gd name="csY144" fmla="*/ 426538 h 1240128"/>
              <a:gd name="csX145" fmla="*/ 455022 w 697572"/>
              <a:gd name="csY145" fmla="*/ 426922 h 1240128"/>
              <a:gd name="csX146" fmla="*/ 481958 w 697572"/>
              <a:gd name="csY146" fmla="*/ 426527 h 1240128"/>
              <a:gd name="csX147" fmla="*/ 499817 w 697572"/>
              <a:gd name="csY147" fmla="*/ 419888 h 1240128"/>
              <a:gd name="csX148" fmla="*/ 499439 w 697572"/>
              <a:gd name="csY148" fmla="*/ 400719 h 1240128"/>
              <a:gd name="csX149" fmla="*/ 468062 w 697572"/>
              <a:gd name="csY149" fmla="*/ 387775 h 1240128"/>
              <a:gd name="csX150" fmla="*/ 416946 w 697572"/>
              <a:gd name="csY150" fmla="*/ 385943 h 1240128"/>
              <a:gd name="csX151" fmla="*/ 636802 w 697572"/>
              <a:gd name="csY151" fmla="*/ 1190940 h 1240128"/>
              <a:gd name="csX152" fmla="*/ 666492 w 697572"/>
              <a:gd name="csY152" fmla="*/ 1184186 h 1240128"/>
              <a:gd name="csX153" fmla="*/ 674465 w 697572"/>
              <a:gd name="csY153" fmla="*/ 1170880 h 1240128"/>
              <a:gd name="csX154" fmla="*/ 662462 w 697572"/>
              <a:gd name="csY154" fmla="*/ 1141464 h 1240128"/>
              <a:gd name="csX155" fmla="*/ 645564 w 697572"/>
              <a:gd name="csY155" fmla="*/ 1131937 h 1240128"/>
              <a:gd name="csX156" fmla="*/ 627387 w 697572"/>
              <a:gd name="csY156" fmla="*/ 1133618 h 1240128"/>
              <a:gd name="csX157" fmla="*/ 583917 w 697572"/>
              <a:gd name="csY157" fmla="*/ 1139222 h 1240128"/>
              <a:gd name="csX158" fmla="*/ 543741 w 697572"/>
              <a:gd name="csY158" fmla="*/ 1141869 h 1240128"/>
              <a:gd name="csX159" fmla="*/ 512146 w 697572"/>
              <a:gd name="csY159" fmla="*/ 1144418 h 1240128"/>
              <a:gd name="csX160" fmla="*/ 447711 w 697572"/>
              <a:gd name="csY160" fmla="*/ 1148973 h 1240128"/>
              <a:gd name="csX161" fmla="*/ 351979 w 697572"/>
              <a:gd name="csY161" fmla="*/ 1149200 h 1240128"/>
              <a:gd name="csX162" fmla="*/ 338443 w 697572"/>
              <a:gd name="csY162" fmla="*/ 1150040 h 1240128"/>
              <a:gd name="csX163" fmla="*/ 338451 w 697572"/>
              <a:gd name="csY163" fmla="*/ 1190780 h 1240128"/>
              <a:gd name="csX164" fmla="*/ 351082 w 697572"/>
              <a:gd name="csY164" fmla="*/ 1207015 h 1240128"/>
              <a:gd name="csX165" fmla="*/ 358298 w 697572"/>
              <a:gd name="csY165" fmla="*/ 1208094 h 1240128"/>
              <a:gd name="csX166" fmla="*/ 521229 w 697572"/>
              <a:gd name="csY166" fmla="*/ 1205646 h 1240128"/>
              <a:gd name="csX167" fmla="*/ 523675 w 697572"/>
              <a:gd name="csY167" fmla="*/ 1205490 h 1240128"/>
              <a:gd name="csX168" fmla="*/ 580423 w 697572"/>
              <a:gd name="csY168" fmla="*/ 1198350 h 1240128"/>
              <a:gd name="csX169" fmla="*/ 636802 w 697572"/>
              <a:gd name="csY169" fmla="*/ 1190940 h 124012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</a:cxnLst>
            <a:rect l="l" t="t" r="r" b="b"/>
            <a:pathLst>
              <a:path w="697572" h="1240128">
                <a:moveTo>
                  <a:pt x="581793" y="1234401"/>
                </a:moveTo>
                <a:cubicBezTo>
                  <a:pt x="580693" y="1234661"/>
                  <a:pt x="579594" y="1234922"/>
                  <a:pt x="577427" y="1234156"/>
                </a:cubicBezTo>
                <a:cubicBezTo>
                  <a:pt x="571216" y="1227899"/>
                  <a:pt x="564912" y="1230441"/>
                  <a:pt x="559133" y="1230909"/>
                </a:cubicBezTo>
                <a:cubicBezTo>
                  <a:pt x="544971" y="1232056"/>
                  <a:pt x="530869" y="1233971"/>
                  <a:pt x="516706" y="1235117"/>
                </a:cubicBezTo>
                <a:cubicBezTo>
                  <a:pt x="502910" y="1236232"/>
                  <a:pt x="489077" y="1237097"/>
                  <a:pt x="475244" y="1237506"/>
                </a:cubicBezTo>
                <a:cubicBezTo>
                  <a:pt x="440539" y="1238535"/>
                  <a:pt x="405696" y="1241458"/>
                  <a:pt x="371154" y="1239428"/>
                </a:cubicBezTo>
                <a:cubicBezTo>
                  <a:pt x="339645" y="1237575"/>
                  <a:pt x="308239" y="1238753"/>
                  <a:pt x="276813" y="1237654"/>
                </a:cubicBezTo>
                <a:cubicBezTo>
                  <a:pt x="273949" y="1237553"/>
                  <a:pt x="271079" y="1237652"/>
                  <a:pt x="268212" y="1237635"/>
                </a:cubicBezTo>
                <a:cubicBezTo>
                  <a:pt x="266165" y="1237623"/>
                  <a:pt x="264111" y="1237668"/>
                  <a:pt x="262072" y="1237523"/>
                </a:cubicBezTo>
                <a:cubicBezTo>
                  <a:pt x="239751" y="1235944"/>
                  <a:pt x="217441" y="1234201"/>
                  <a:pt x="195111" y="1232775"/>
                </a:cubicBezTo>
                <a:cubicBezTo>
                  <a:pt x="178437" y="1231710"/>
                  <a:pt x="161712" y="1231378"/>
                  <a:pt x="145060" y="1230076"/>
                </a:cubicBezTo>
                <a:cubicBezTo>
                  <a:pt x="134969" y="1229287"/>
                  <a:pt x="124987" y="1227177"/>
                  <a:pt x="114933" y="1225832"/>
                </a:cubicBezTo>
                <a:cubicBezTo>
                  <a:pt x="100834" y="1223946"/>
                  <a:pt x="86554" y="1223022"/>
                  <a:pt x="72642" y="1220237"/>
                </a:cubicBezTo>
                <a:cubicBezTo>
                  <a:pt x="51920" y="1216091"/>
                  <a:pt x="31443" y="1210723"/>
                  <a:pt x="10894" y="1205737"/>
                </a:cubicBezTo>
                <a:cubicBezTo>
                  <a:pt x="9027" y="1205284"/>
                  <a:pt x="6196" y="1204140"/>
                  <a:pt x="5856" y="1202799"/>
                </a:cubicBezTo>
                <a:cubicBezTo>
                  <a:pt x="3474" y="1193418"/>
                  <a:pt x="-438" y="1183796"/>
                  <a:pt x="40" y="1174450"/>
                </a:cubicBezTo>
                <a:cubicBezTo>
                  <a:pt x="1079" y="1154149"/>
                  <a:pt x="9757" y="1135843"/>
                  <a:pt x="19831" y="1118410"/>
                </a:cubicBezTo>
                <a:cubicBezTo>
                  <a:pt x="21968" y="1114713"/>
                  <a:pt x="22970" y="1111858"/>
                  <a:pt x="22004" y="1107240"/>
                </a:cubicBezTo>
                <a:cubicBezTo>
                  <a:pt x="17168" y="1084118"/>
                  <a:pt x="17717" y="1061168"/>
                  <a:pt x="25947" y="1038650"/>
                </a:cubicBezTo>
                <a:cubicBezTo>
                  <a:pt x="32954" y="1019481"/>
                  <a:pt x="44478" y="1003118"/>
                  <a:pt x="58234" y="988567"/>
                </a:cubicBezTo>
                <a:cubicBezTo>
                  <a:pt x="77769" y="967902"/>
                  <a:pt x="97978" y="947832"/>
                  <a:pt x="118645" y="928298"/>
                </a:cubicBezTo>
                <a:cubicBezTo>
                  <a:pt x="130104" y="917467"/>
                  <a:pt x="131835" y="905961"/>
                  <a:pt x="126320" y="892015"/>
                </a:cubicBezTo>
                <a:cubicBezTo>
                  <a:pt x="123798" y="885637"/>
                  <a:pt x="122123" y="878904"/>
                  <a:pt x="120345" y="872258"/>
                </a:cubicBezTo>
                <a:cubicBezTo>
                  <a:pt x="119029" y="867341"/>
                  <a:pt x="120162" y="863613"/>
                  <a:pt x="125668" y="861640"/>
                </a:cubicBezTo>
                <a:cubicBezTo>
                  <a:pt x="135266" y="858201"/>
                  <a:pt x="144535" y="853788"/>
                  <a:pt x="154237" y="850716"/>
                </a:cubicBezTo>
                <a:cubicBezTo>
                  <a:pt x="161882" y="848296"/>
                  <a:pt x="167110" y="843897"/>
                  <a:pt x="170248" y="836767"/>
                </a:cubicBezTo>
                <a:cubicBezTo>
                  <a:pt x="176168" y="823316"/>
                  <a:pt x="182193" y="809907"/>
                  <a:pt x="187840" y="796341"/>
                </a:cubicBezTo>
                <a:cubicBezTo>
                  <a:pt x="195194" y="778679"/>
                  <a:pt x="202250" y="760894"/>
                  <a:pt x="209346" y="743126"/>
                </a:cubicBezTo>
                <a:cubicBezTo>
                  <a:pt x="210083" y="741280"/>
                  <a:pt x="210252" y="739200"/>
                  <a:pt x="210630" y="737219"/>
                </a:cubicBezTo>
                <a:cubicBezTo>
                  <a:pt x="211694" y="731645"/>
                  <a:pt x="212425" y="725987"/>
                  <a:pt x="213836" y="720505"/>
                </a:cubicBezTo>
                <a:cubicBezTo>
                  <a:pt x="218406" y="702764"/>
                  <a:pt x="223811" y="685219"/>
                  <a:pt x="227791" y="667353"/>
                </a:cubicBezTo>
                <a:cubicBezTo>
                  <a:pt x="232826" y="644755"/>
                  <a:pt x="237367" y="622009"/>
                  <a:pt x="241013" y="599151"/>
                </a:cubicBezTo>
                <a:cubicBezTo>
                  <a:pt x="244018" y="580319"/>
                  <a:pt x="246001" y="561272"/>
                  <a:pt x="247322" y="542242"/>
                </a:cubicBezTo>
                <a:cubicBezTo>
                  <a:pt x="248312" y="527975"/>
                  <a:pt x="246344" y="513451"/>
                  <a:pt x="247948" y="499296"/>
                </a:cubicBezTo>
                <a:cubicBezTo>
                  <a:pt x="249066" y="489432"/>
                  <a:pt x="247923" y="480014"/>
                  <a:pt x="247577" y="470384"/>
                </a:cubicBezTo>
                <a:cubicBezTo>
                  <a:pt x="247364" y="464453"/>
                  <a:pt x="245121" y="461397"/>
                  <a:pt x="238877" y="460987"/>
                </a:cubicBezTo>
                <a:cubicBezTo>
                  <a:pt x="233224" y="460615"/>
                  <a:pt x="227461" y="459920"/>
                  <a:pt x="222040" y="458353"/>
                </a:cubicBezTo>
                <a:cubicBezTo>
                  <a:pt x="203991" y="453134"/>
                  <a:pt x="185737" y="448229"/>
                  <a:pt x="172193" y="433714"/>
                </a:cubicBezTo>
                <a:cubicBezTo>
                  <a:pt x="162702" y="423544"/>
                  <a:pt x="160887" y="408134"/>
                  <a:pt x="168410" y="396591"/>
                </a:cubicBezTo>
                <a:cubicBezTo>
                  <a:pt x="178294" y="381428"/>
                  <a:pt x="193736" y="373793"/>
                  <a:pt x="209826" y="367773"/>
                </a:cubicBezTo>
                <a:cubicBezTo>
                  <a:pt x="223159" y="362784"/>
                  <a:pt x="237124" y="359493"/>
                  <a:pt x="250732" y="355208"/>
                </a:cubicBezTo>
                <a:cubicBezTo>
                  <a:pt x="253085" y="354467"/>
                  <a:pt x="255058" y="352518"/>
                  <a:pt x="258289" y="350426"/>
                </a:cubicBezTo>
                <a:cubicBezTo>
                  <a:pt x="250173" y="342610"/>
                  <a:pt x="241833" y="337880"/>
                  <a:pt x="233274" y="333513"/>
                </a:cubicBezTo>
                <a:cubicBezTo>
                  <a:pt x="232377" y="333055"/>
                  <a:pt x="230890" y="333758"/>
                  <a:pt x="229677" y="333922"/>
                </a:cubicBezTo>
                <a:cubicBezTo>
                  <a:pt x="229677" y="333922"/>
                  <a:pt x="230323" y="333834"/>
                  <a:pt x="230149" y="332979"/>
                </a:cubicBezTo>
                <a:cubicBezTo>
                  <a:pt x="229023" y="330409"/>
                  <a:pt x="228502" y="328059"/>
                  <a:pt x="227053" y="327076"/>
                </a:cubicBezTo>
                <a:cubicBezTo>
                  <a:pt x="213615" y="317962"/>
                  <a:pt x="204643" y="305332"/>
                  <a:pt x="196769" y="291380"/>
                </a:cubicBezTo>
                <a:cubicBezTo>
                  <a:pt x="191792" y="282564"/>
                  <a:pt x="185421" y="274665"/>
                  <a:pt x="184389" y="264042"/>
                </a:cubicBezTo>
                <a:cubicBezTo>
                  <a:pt x="184179" y="261874"/>
                  <a:pt x="181925" y="259908"/>
                  <a:pt x="180630" y="257839"/>
                </a:cubicBezTo>
                <a:cubicBezTo>
                  <a:pt x="179137" y="255454"/>
                  <a:pt x="177317" y="253204"/>
                  <a:pt x="176231" y="250643"/>
                </a:cubicBezTo>
                <a:cubicBezTo>
                  <a:pt x="161865" y="216749"/>
                  <a:pt x="159606" y="182060"/>
                  <a:pt x="170073" y="146723"/>
                </a:cubicBezTo>
                <a:cubicBezTo>
                  <a:pt x="173311" y="135795"/>
                  <a:pt x="177248" y="125074"/>
                  <a:pt x="180929" y="114280"/>
                </a:cubicBezTo>
                <a:cubicBezTo>
                  <a:pt x="182396" y="109981"/>
                  <a:pt x="183922" y="105742"/>
                  <a:pt x="180839" y="101501"/>
                </a:cubicBezTo>
                <a:cubicBezTo>
                  <a:pt x="192473" y="75833"/>
                  <a:pt x="211344" y="56271"/>
                  <a:pt x="233536" y="39653"/>
                </a:cubicBezTo>
                <a:cubicBezTo>
                  <a:pt x="267321" y="14353"/>
                  <a:pt x="305621" y="873"/>
                  <a:pt x="347618" y="35"/>
                </a:cubicBezTo>
                <a:cubicBezTo>
                  <a:pt x="379125" y="-593"/>
                  <a:pt x="409214" y="7172"/>
                  <a:pt x="437139" y="22396"/>
                </a:cubicBezTo>
                <a:cubicBezTo>
                  <a:pt x="481844" y="46766"/>
                  <a:pt x="514077" y="82116"/>
                  <a:pt x="529052" y="131093"/>
                </a:cubicBezTo>
                <a:cubicBezTo>
                  <a:pt x="543544" y="178495"/>
                  <a:pt x="541630" y="225548"/>
                  <a:pt x="518497" y="271517"/>
                </a:cubicBezTo>
                <a:cubicBezTo>
                  <a:pt x="511428" y="277096"/>
                  <a:pt x="503848" y="281136"/>
                  <a:pt x="500808" y="287385"/>
                </a:cubicBezTo>
                <a:cubicBezTo>
                  <a:pt x="493932" y="301522"/>
                  <a:pt x="483805" y="312513"/>
                  <a:pt x="472948" y="323290"/>
                </a:cubicBezTo>
                <a:cubicBezTo>
                  <a:pt x="470972" y="325253"/>
                  <a:pt x="470533" y="328767"/>
                  <a:pt x="469385" y="331565"/>
                </a:cubicBezTo>
                <a:cubicBezTo>
                  <a:pt x="469385" y="331565"/>
                  <a:pt x="469172" y="331584"/>
                  <a:pt x="468293" y="331320"/>
                </a:cubicBezTo>
                <a:cubicBezTo>
                  <a:pt x="461937" y="330836"/>
                  <a:pt x="458618" y="332772"/>
                  <a:pt x="459542" y="338942"/>
                </a:cubicBezTo>
                <a:cubicBezTo>
                  <a:pt x="459542" y="338942"/>
                  <a:pt x="459473" y="338913"/>
                  <a:pt x="458492" y="338671"/>
                </a:cubicBezTo>
                <a:cubicBezTo>
                  <a:pt x="450936" y="342653"/>
                  <a:pt x="440712" y="341355"/>
                  <a:pt x="436978" y="352226"/>
                </a:cubicBezTo>
                <a:cubicBezTo>
                  <a:pt x="449178" y="355911"/>
                  <a:pt x="460733" y="359469"/>
                  <a:pt x="472329" y="362890"/>
                </a:cubicBezTo>
                <a:cubicBezTo>
                  <a:pt x="491728" y="368613"/>
                  <a:pt x="510182" y="375784"/>
                  <a:pt x="523779" y="391962"/>
                </a:cubicBezTo>
                <a:cubicBezTo>
                  <a:pt x="535849" y="406326"/>
                  <a:pt x="534845" y="420076"/>
                  <a:pt x="527344" y="430096"/>
                </a:cubicBezTo>
                <a:cubicBezTo>
                  <a:pt x="521323" y="438139"/>
                  <a:pt x="513928" y="445333"/>
                  <a:pt x="504112" y="449628"/>
                </a:cubicBezTo>
                <a:cubicBezTo>
                  <a:pt x="489776" y="455901"/>
                  <a:pt x="475173" y="460486"/>
                  <a:pt x="459430" y="461116"/>
                </a:cubicBezTo>
                <a:cubicBezTo>
                  <a:pt x="448415" y="461557"/>
                  <a:pt x="446384" y="463369"/>
                  <a:pt x="446666" y="474229"/>
                </a:cubicBezTo>
                <a:cubicBezTo>
                  <a:pt x="447164" y="493376"/>
                  <a:pt x="447839" y="512533"/>
                  <a:pt x="449133" y="531639"/>
                </a:cubicBezTo>
                <a:cubicBezTo>
                  <a:pt x="450424" y="550696"/>
                  <a:pt x="451783" y="569809"/>
                  <a:pt x="454546" y="588688"/>
                </a:cubicBezTo>
                <a:cubicBezTo>
                  <a:pt x="457543" y="609164"/>
                  <a:pt x="462165" y="629403"/>
                  <a:pt x="466126" y="649736"/>
                </a:cubicBezTo>
                <a:cubicBezTo>
                  <a:pt x="475845" y="699621"/>
                  <a:pt x="493414" y="746980"/>
                  <a:pt x="512154" y="794006"/>
                </a:cubicBezTo>
                <a:cubicBezTo>
                  <a:pt x="517387" y="807138"/>
                  <a:pt x="525145" y="819463"/>
                  <a:pt x="525763" y="834323"/>
                </a:cubicBezTo>
                <a:cubicBezTo>
                  <a:pt x="525919" y="838081"/>
                  <a:pt x="527739" y="843335"/>
                  <a:pt x="530555" y="845114"/>
                </a:cubicBezTo>
                <a:cubicBezTo>
                  <a:pt x="537981" y="849801"/>
                  <a:pt x="546243" y="853278"/>
                  <a:pt x="554424" y="856618"/>
                </a:cubicBezTo>
                <a:cubicBezTo>
                  <a:pt x="560391" y="859054"/>
                  <a:pt x="567041" y="859887"/>
                  <a:pt x="572880" y="862546"/>
                </a:cubicBezTo>
                <a:cubicBezTo>
                  <a:pt x="581470" y="866458"/>
                  <a:pt x="582467" y="871415"/>
                  <a:pt x="578643" y="880396"/>
                </a:cubicBezTo>
                <a:cubicBezTo>
                  <a:pt x="575969" y="886677"/>
                  <a:pt x="572900" y="893182"/>
                  <a:pt x="572188" y="899820"/>
                </a:cubicBezTo>
                <a:cubicBezTo>
                  <a:pt x="570960" y="911271"/>
                  <a:pt x="576506" y="920944"/>
                  <a:pt x="582698" y="930382"/>
                </a:cubicBezTo>
                <a:cubicBezTo>
                  <a:pt x="589569" y="940856"/>
                  <a:pt x="600933" y="947930"/>
                  <a:pt x="604747" y="960852"/>
                </a:cubicBezTo>
                <a:cubicBezTo>
                  <a:pt x="605684" y="964030"/>
                  <a:pt x="610294" y="967128"/>
                  <a:pt x="613863" y="968311"/>
                </a:cubicBezTo>
                <a:cubicBezTo>
                  <a:pt x="620963" y="970665"/>
                  <a:pt x="625924" y="974774"/>
                  <a:pt x="629435" y="981186"/>
                </a:cubicBezTo>
                <a:cubicBezTo>
                  <a:pt x="630381" y="982913"/>
                  <a:pt x="631977" y="984459"/>
                  <a:pt x="633611" y="985609"/>
                </a:cubicBezTo>
                <a:cubicBezTo>
                  <a:pt x="655878" y="1001272"/>
                  <a:pt x="668032" y="1023762"/>
                  <a:pt x="673790" y="1049348"/>
                </a:cubicBezTo>
                <a:cubicBezTo>
                  <a:pt x="676936" y="1063327"/>
                  <a:pt x="679769" y="1077802"/>
                  <a:pt x="675873" y="1092839"/>
                </a:cubicBezTo>
                <a:cubicBezTo>
                  <a:pt x="672677" y="1105174"/>
                  <a:pt x="673042" y="1116963"/>
                  <a:pt x="681668" y="1129292"/>
                </a:cubicBezTo>
                <a:cubicBezTo>
                  <a:pt x="695321" y="1148802"/>
                  <a:pt x="698550" y="1172235"/>
                  <a:pt x="697338" y="1196079"/>
                </a:cubicBezTo>
                <a:cubicBezTo>
                  <a:pt x="697087" y="1201014"/>
                  <a:pt x="694979" y="1203886"/>
                  <a:pt x="690637" y="1205035"/>
                </a:cubicBezTo>
                <a:cubicBezTo>
                  <a:pt x="673723" y="1209511"/>
                  <a:pt x="656856" y="1214241"/>
                  <a:pt x="639777" y="1217994"/>
                </a:cubicBezTo>
                <a:cubicBezTo>
                  <a:pt x="622334" y="1221827"/>
                  <a:pt x="604691" y="1224790"/>
                  <a:pt x="587072" y="1227761"/>
                </a:cubicBezTo>
                <a:cubicBezTo>
                  <a:pt x="582708" y="1228497"/>
                  <a:pt x="581724" y="1230736"/>
                  <a:pt x="581793" y="1234401"/>
                </a:cubicBezTo>
                <a:moveTo>
                  <a:pt x="357446" y="903795"/>
                </a:moveTo>
                <a:cubicBezTo>
                  <a:pt x="353141" y="903795"/>
                  <a:pt x="348835" y="903795"/>
                  <a:pt x="344445" y="903795"/>
                </a:cubicBezTo>
                <a:cubicBezTo>
                  <a:pt x="346169" y="920562"/>
                  <a:pt x="347908" y="935520"/>
                  <a:pt x="349212" y="950515"/>
                </a:cubicBezTo>
                <a:cubicBezTo>
                  <a:pt x="352656" y="990125"/>
                  <a:pt x="351941" y="1029743"/>
                  <a:pt x="349538" y="1069392"/>
                </a:cubicBezTo>
                <a:cubicBezTo>
                  <a:pt x="348759" y="1082241"/>
                  <a:pt x="349415" y="1095176"/>
                  <a:pt x="349415" y="1108925"/>
                </a:cubicBezTo>
                <a:cubicBezTo>
                  <a:pt x="449467" y="1111953"/>
                  <a:pt x="548509" y="1104712"/>
                  <a:pt x="647726" y="1089872"/>
                </a:cubicBezTo>
                <a:cubicBezTo>
                  <a:pt x="647726" y="1084313"/>
                  <a:pt x="648180" y="1080225"/>
                  <a:pt x="647654" y="1076267"/>
                </a:cubicBezTo>
                <a:cubicBezTo>
                  <a:pt x="643515" y="1045124"/>
                  <a:pt x="633172" y="1016714"/>
                  <a:pt x="610267" y="994126"/>
                </a:cubicBezTo>
                <a:cubicBezTo>
                  <a:pt x="597451" y="981485"/>
                  <a:pt x="584392" y="969090"/>
                  <a:pt x="571459" y="956568"/>
                </a:cubicBezTo>
                <a:cubicBezTo>
                  <a:pt x="555751" y="941359"/>
                  <a:pt x="544836" y="923558"/>
                  <a:pt x="541653" y="901544"/>
                </a:cubicBezTo>
                <a:cubicBezTo>
                  <a:pt x="541430" y="900007"/>
                  <a:pt x="540528" y="898570"/>
                  <a:pt x="539477" y="895908"/>
                </a:cubicBezTo>
                <a:cubicBezTo>
                  <a:pt x="479736" y="901652"/>
                  <a:pt x="419815" y="904536"/>
                  <a:pt x="357446" y="903795"/>
                </a:cubicBezTo>
                <a:moveTo>
                  <a:pt x="300108" y="85260"/>
                </a:moveTo>
                <a:cubicBezTo>
                  <a:pt x="293656" y="98745"/>
                  <a:pt x="289202" y="113094"/>
                  <a:pt x="290213" y="127888"/>
                </a:cubicBezTo>
                <a:cubicBezTo>
                  <a:pt x="292527" y="161736"/>
                  <a:pt x="304185" y="191723"/>
                  <a:pt x="331056" y="214168"/>
                </a:cubicBezTo>
                <a:cubicBezTo>
                  <a:pt x="358172" y="236816"/>
                  <a:pt x="388435" y="249934"/>
                  <a:pt x="424717" y="245160"/>
                </a:cubicBezTo>
                <a:cubicBezTo>
                  <a:pt x="468593" y="239387"/>
                  <a:pt x="509574" y="203365"/>
                  <a:pt x="496752" y="141256"/>
                </a:cubicBezTo>
                <a:cubicBezTo>
                  <a:pt x="487021" y="94124"/>
                  <a:pt x="447261" y="51874"/>
                  <a:pt x="390320" y="43995"/>
                </a:cubicBezTo>
                <a:cubicBezTo>
                  <a:pt x="353241" y="38865"/>
                  <a:pt x="321136" y="48750"/>
                  <a:pt x="300108" y="85260"/>
                </a:cubicBezTo>
                <a:moveTo>
                  <a:pt x="343360" y="634332"/>
                </a:moveTo>
                <a:cubicBezTo>
                  <a:pt x="342539" y="666975"/>
                  <a:pt x="341785" y="699619"/>
                  <a:pt x="340877" y="732259"/>
                </a:cubicBezTo>
                <a:cubicBezTo>
                  <a:pt x="340151" y="758355"/>
                  <a:pt x="339265" y="784447"/>
                  <a:pt x="338360" y="810538"/>
                </a:cubicBezTo>
                <a:cubicBezTo>
                  <a:pt x="338277" y="812948"/>
                  <a:pt x="337465" y="815325"/>
                  <a:pt x="337115" y="817736"/>
                </a:cubicBezTo>
                <a:cubicBezTo>
                  <a:pt x="334935" y="832710"/>
                  <a:pt x="336026" y="847647"/>
                  <a:pt x="336516" y="863022"/>
                </a:cubicBezTo>
                <a:cubicBezTo>
                  <a:pt x="339537" y="863479"/>
                  <a:pt x="341490" y="864053"/>
                  <a:pt x="343436" y="864027"/>
                </a:cubicBezTo>
                <a:cubicBezTo>
                  <a:pt x="364531" y="863739"/>
                  <a:pt x="385626" y="863422"/>
                  <a:pt x="406718" y="862982"/>
                </a:cubicBezTo>
                <a:cubicBezTo>
                  <a:pt x="423444" y="862634"/>
                  <a:pt x="440168" y="861675"/>
                  <a:pt x="456888" y="861794"/>
                </a:cubicBezTo>
                <a:cubicBezTo>
                  <a:pt x="469887" y="861886"/>
                  <a:pt x="482872" y="863302"/>
                  <a:pt x="495873" y="863963"/>
                </a:cubicBezTo>
                <a:cubicBezTo>
                  <a:pt x="500358" y="864191"/>
                  <a:pt x="505108" y="864773"/>
                  <a:pt x="509286" y="863595"/>
                </a:cubicBezTo>
                <a:cubicBezTo>
                  <a:pt x="512346" y="862732"/>
                  <a:pt x="515714" y="859703"/>
                  <a:pt x="516956" y="856791"/>
                </a:cubicBezTo>
                <a:cubicBezTo>
                  <a:pt x="517783" y="854851"/>
                  <a:pt x="515475" y="851192"/>
                  <a:pt x="513920" y="848709"/>
                </a:cubicBezTo>
                <a:cubicBezTo>
                  <a:pt x="511791" y="845308"/>
                  <a:pt x="508393" y="842606"/>
                  <a:pt x="506683" y="839054"/>
                </a:cubicBezTo>
                <a:cubicBezTo>
                  <a:pt x="500331" y="825864"/>
                  <a:pt x="493224" y="812855"/>
                  <a:pt x="488629" y="799037"/>
                </a:cubicBezTo>
                <a:cubicBezTo>
                  <a:pt x="477322" y="765031"/>
                  <a:pt x="466537" y="730814"/>
                  <a:pt x="456922" y="696297"/>
                </a:cubicBezTo>
                <a:cubicBezTo>
                  <a:pt x="449953" y="671276"/>
                  <a:pt x="443477" y="646020"/>
                  <a:pt x="441346" y="619885"/>
                </a:cubicBezTo>
                <a:cubicBezTo>
                  <a:pt x="440327" y="607371"/>
                  <a:pt x="437466" y="595018"/>
                  <a:pt x="435963" y="582529"/>
                </a:cubicBezTo>
                <a:cubicBezTo>
                  <a:pt x="433539" y="562380"/>
                  <a:pt x="431154" y="542212"/>
                  <a:pt x="429497" y="521990"/>
                </a:cubicBezTo>
                <a:cubicBezTo>
                  <a:pt x="428135" y="505363"/>
                  <a:pt x="428437" y="488593"/>
                  <a:pt x="426887" y="471989"/>
                </a:cubicBezTo>
                <a:cubicBezTo>
                  <a:pt x="425874" y="461140"/>
                  <a:pt x="424983" y="461120"/>
                  <a:pt x="413744" y="461077"/>
                </a:cubicBezTo>
                <a:cubicBezTo>
                  <a:pt x="393687" y="461000"/>
                  <a:pt x="373630" y="461011"/>
                  <a:pt x="353573" y="461120"/>
                </a:cubicBezTo>
                <a:cubicBezTo>
                  <a:pt x="350472" y="461137"/>
                  <a:pt x="347374" y="461869"/>
                  <a:pt x="344160" y="462286"/>
                </a:cubicBezTo>
                <a:cubicBezTo>
                  <a:pt x="343828" y="465198"/>
                  <a:pt x="343406" y="467195"/>
                  <a:pt x="343404" y="469192"/>
                </a:cubicBezTo>
                <a:cubicBezTo>
                  <a:pt x="343360" y="504394"/>
                  <a:pt x="343267" y="539596"/>
                  <a:pt x="343469" y="574797"/>
                </a:cubicBezTo>
                <a:cubicBezTo>
                  <a:pt x="343501" y="580426"/>
                  <a:pt x="345652" y="586065"/>
                  <a:pt x="345522" y="591669"/>
                </a:cubicBezTo>
                <a:cubicBezTo>
                  <a:pt x="345214" y="605082"/>
                  <a:pt x="344131" y="618478"/>
                  <a:pt x="343360" y="634332"/>
                </a:cubicBezTo>
                <a:moveTo>
                  <a:pt x="416946" y="385943"/>
                </a:moveTo>
                <a:cubicBezTo>
                  <a:pt x="411661" y="386365"/>
                  <a:pt x="406384" y="387006"/>
                  <a:pt x="401091" y="387162"/>
                </a:cubicBezTo>
                <a:cubicBezTo>
                  <a:pt x="390470" y="387477"/>
                  <a:pt x="379841" y="387447"/>
                  <a:pt x="369218" y="387708"/>
                </a:cubicBezTo>
                <a:cubicBezTo>
                  <a:pt x="361167" y="387906"/>
                  <a:pt x="354429" y="391368"/>
                  <a:pt x="351833" y="398991"/>
                </a:cubicBezTo>
                <a:cubicBezTo>
                  <a:pt x="348989" y="407342"/>
                  <a:pt x="347050" y="416214"/>
                  <a:pt x="349778" y="426021"/>
                </a:cubicBezTo>
                <a:cubicBezTo>
                  <a:pt x="353876" y="426204"/>
                  <a:pt x="357857" y="426517"/>
                  <a:pt x="361839" y="426538"/>
                </a:cubicBezTo>
                <a:cubicBezTo>
                  <a:pt x="392900" y="426701"/>
                  <a:pt x="423961" y="426826"/>
                  <a:pt x="455022" y="426922"/>
                </a:cubicBezTo>
                <a:cubicBezTo>
                  <a:pt x="464013" y="426950"/>
                  <a:pt x="473106" y="427654"/>
                  <a:pt x="481958" y="426527"/>
                </a:cubicBezTo>
                <a:cubicBezTo>
                  <a:pt x="488144" y="425740"/>
                  <a:pt x="494821" y="423501"/>
                  <a:pt x="499817" y="419888"/>
                </a:cubicBezTo>
                <a:cubicBezTo>
                  <a:pt x="507869" y="414066"/>
                  <a:pt x="507286" y="406755"/>
                  <a:pt x="499439" y="400719"/>
                </a:cubicBezTo>
                <a:cubicBezTo>
                  <a:pt x="490179" y="393597"/>
                  <a:pt x="479486" y="388885"/>
                  <a:pt x="468062" y="387775"/>
                </a:cubicBezTo>
                <a:cubicBezTo>
                  <a:pt x="451873" y="386202"/>
                  <a:pt x="435520" y="386321"/>
                  <a:pt x="416946" y="385943"/>
                </a:cubicBezTo>
                <a:moveTo>
                  <a:pt x="636802" y="1190940"/>
                </a:moveTo>
                <a:cubicBezTo>
                  <a:pt x="646709" y="1188723"/>
                  <a:pt x="656705" y="1186841"/>
                  <a:pt x="666492" y="1184186"/>
                </a:cubicBezTo>
                <a:cubicBezTo>
                  <a:pt x="674710" y="1181958"/>
                  <a:pt x="676989" y="1178509"/>
                  <a:pt x="674465" y="1170880"/>
                </a:cubicBezTo>
                <a:cubicBezTo>
                  <a:pt x="671144" y="1160843"/>
                  <a:pt x="667026" y="1151009"/>
                  <a:pt x="662462" y="1141464"/>
                </a:cubicBezTo>
                <a:cubicBezTo>
                  <a:pt x="659273" y="1134795"/>
                  <a:pt x="653671" y="1130908"/>
                  <a:pt x="645564" y="1131937"/>
                </a:cubicBezTo>
                <a:cubicBezTo>
                  <a:pt x="639532" y="1132703"/>
                  <a:pt x="633423" y="1132867"/>
                  <a:pt x="627387" y="1133618"/>
                </a:cubicBezTo>
                <a:cubicBezTo>
                  <a:pt x="612888" y="1135421"/>
                  <a:pt x="598449" y="1137770"/>
                  <a:pt x="583917" y="1139222"/>
                </a:cubicBezTo>
                <a:cubicBezTo>
                  <a:pt x="570571" y="1140557"/>
                  <a:pt x="557130" y="1140930"/>
                  <a:pt x="543741" y="1141869"/>
                </a:cubicBezTo>
                <a:cubicBezTo>
                  <a:pt x="533202" y="1142610"/>
                  <a:pt x="522682" y="1143623"/>
                  <a:pt x="512146" y="1144418"/>
                </a:cubicBezTo>
                <a:cubicBezTo>
                  <a:pt x="490671" y="1146038"/>
                  <a:pt x="469214" y="1148450"/>
                  <a:pt x="447711" y="1148973"/>
                </a:cubicBezTo>
                <a:cubicBezTo>
                  <a:pt x="415817" y="1149749"/>
                  <a:pt x="383891" y="1149136"/>
                  <a:pt x="351979" y="1149200"/>
                </a:cubicBezTo>
                <a:cubicBezTo>
                  <a:pt x="347698" y="1149209"/>
                  <a:pt x="343419" y="1149717"/>
                  <a:pt x="338443" y="1150040"/>
                </a:cubicBezTo>
                <a:cubicBezTo>
                  <a:pt x="338443" y="1164651"/>
                  <a:pt x="338413" y="1177715"/>
                  <a:pt x="338451" y="1190780"/>
                </a:cubicBezTo>
                <a:cubicBezTo>
                  <a:pt x="338490" y="1204031"/>
                  <a:pt x="338512" y="1204062"/>
                  <a:pt x="351082" y="1207015"/>
                </a:cubicBezTo>
                <a:cubicBezTo>
                  <a:pt x="353445" y="1207570"/>
                  <a:pt x="355895" y="1208128"/>
                  <a:pt x="358298" y="1208094"/>
                </a:cubicBezTo>
                <a:cubicBezTo>
                  <a:pt x="412608" y="1207329"/>
                  <a:pt x="466919" y="1206484"/>
                  <a:pt x="521229" y="1205646"/>
                </a:cubicBezTo>
                <a:cubicBezTo>
                  <a:pt x="522045" y="1205634"/>
                  <a:pt x="522865" y="1205591"/>
                  <a:pt x="523675" y="1205490"/>
                </a:cubicBezTo>
                <a:cubicBezTo>
                  <a:pt x="542593" y="1203123"/>
                  <a:pt x="561519" y="1200820"/>
                  <a:pt x="580423" y="1198350"/>
                </a:cubicBezTo>
                <a:cubicBezTo>
                  <a:pt x="598523" y="1195985"/>
                  <a:pt x="616599" y="1193446"/>
                  <a:pt x="636802" y="1190940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60" name="Free-form: Shape 259">
            <a:extLst>
              <a:ext uri="{FF2B5EF4-FFF2-40B4-BE49-F238E27FC236}">
                <a16:creationId xmlns:a16="http://schemas.microsoft.com/office/drawing/2014/main" id="{D5A213AE-A4F7-B690-5ECF-9C233DEC501B}"/>
              </a:ext>
            </a:extLst>
          </p:cNvPr>
          <p:cNvSpPr/>
          <p:nvPr/>
        </p:nvSpPr>
        <p:spPr>
          <a:xfrm>
            <a:off x="1500531" y="4194273"/>
            <a:ext cx="17183" cy="1817"/>
          </a:xfrm>
          <a:custGeom>
            <a:avLst/>
            <a:gdLst>
              <a:gd name="csX0" fmla="*/ 0 w 27674"/>
              <a:gd name="csY0" fmla="*/ 2915 h 2925"/>
              <a:gd name="csX1" fmla="*/ 27675 w 27674"/>
              <a:gd name="csY1" fmla="*/ 1550 h 2925"/>
              <a:gd name="csX2" fmla="*/ 0 w 27674"/>
              <a:gd name="csY2" fmla="*/ 2915 h 292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27674" h="2925">
                <a:moveTo>
                  <a:pt x="0" y="2915"/>
                </a:moveTo>
                <a:cubicBezTo>
                  <a:pt x="8211" y="-1939"/>
                  <a:pt x="17625" y="498"/>
                  <a:pt x="27675" y="1550"/>
                </a:cubicBezTo>
                <a:cubicBezTo>
                  <a:pt x="19225" y="2593"/>
                  <a:pt x="10029" y="2999"/>
                  <a:pt x="0" y="2915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61" name="Free-form: Shape 260">
            <a:extLst>
              <a:ext uri="{FF2B5EF4-FFF2-40B4-BE49-F238E27FC236}">
                <a16:creationId xmlns:a16="http://schemas.microsoft.com/office/drawing/2014/main" id="{C66F1656-C724-EE32-A7F4-98EBCFA3704D}"/>
              </a:ext>
            </a:extLst>
          </p:cNvPr>
          <p:cNvSpPr/>
          <p:nvPr/>
        </p:nvSpPr>
        <p:spPr>
          <a:xfrm>
            <a:off x="1453227" y="4195297"/>
            <a:ext cx="11179" cy="700"/>
          </a:xfrm>
          <a:custGeom>
            <a:avLst/>
            <a:gdLst>
              <a:gd name="csX0" fmla="*/ 0 w 18003"/>
              <a:gd name="csY0" fmla="*/ 1050 h 1128"/>
              <a:gd name="csX1" fmla="*/ 18004 w 18003"/>
              <a:gd name="csY1" fmla="*/ 93 h 1128"/>
              <a:gd name="csX2" fmla="*/ 0 w 18003"/>
              <a:gd name="csY2" fmla="*/ 1050 h 112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8003" h="1128">
                <a:moveTo>
                  <a:pt x="0" y="1050"/>
                </a:moveTo>
                <a:cubicBezTo>
                  <a:pt x="5276" y="182"/>
                  <a:pt x="11306" y="-189"/>
                  <a:pt x="18004" y="93"/>
                </a:cubicBezTo>
                <a:cubicBezTo>
                  <a:pt x="12699" y="1013"/>
                  <a:pt x="6726" y="1280"/>
                  <a:pt x="0" y="1050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62" name="Free-form: Shape 261">
            <a:extLst>
              <a:ext uri="{FF2B5EF4-FFF2-40B4-BE49-F238E27FC236}">
                <a16:creationId xmlns:a16="http://schemas.microsoft.com/office/drawing/2014/main" id="{2A0C886A-4316-F794-95AE-359503A82E36}"/>
              </a:ext>
            </a:extLst>
          </p:cNvPr>
          <p:cNvSpPr/>
          <p:nvPr/>
        </p:nvSpPr>
        <p:spPr>
          <a:xfrm>
            <a:off x="1534194" y="3628497"/>
            <a:ext cx="5257" cy="4867"/>
          </a:xfrm>
          <a:custGeom>
            <a:avLst/>
            <a:gdLst>
              <a:gd name="csX0" fmla="*/ 473 w 8466"/>
              <a:gd name="csY0" fmla="*/ 7839 h 7838"/>
              <a:gd name="csX1" fmla="*/ 8466 w 8466"/>
              <a:gd name="csY1" fmla="*/ 61 h 7838"/>
              <a:gd name="csX2" fmla="*/ 473 w 8466"/>
              <a:gd name="csY2" fmla="*/ 7839 h 783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66" h="7838">
                <a:moveTo>
                  <a:pt x="473" y="7839"/>
                </a:moveTo>
                <a:cubicBezTo>
                  <a:pt x="-1298" y="1550"/>
                  <a:pt x="2020" y="-386"/>
                  <a:pt x="8466" y="61"/>
                </a:cubicBezTo>
                <a:cubicBezTo>
                  <a:pt x="6730" y="2845"/>
                  <a:pt x="4026" y="5401"/>
                  <a:pt x="473" y="7839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63" name="Free-form: Shape 262">
            <a:extLst>
              <a:ext uri="{FF2B5EF4-FFF2-40B4-BE49-F238E27FC236}">
                <a16:creationId xmlns:a16="http://schemas.microsoft.com/office/drawing/2014/main" id="{1F711EA4-21DA-51F2-B1CD-0D4804162A70}"/>
              </a:ext>
            </a:extLst>
          </p:cNvPr>
          <p:cNvSpPr/>
          <p:nvPr/>
        </p:nvSpPr>
        <p:spPr>
          <a:xfrm>
            <a:off x="1398198" y="4193783"/>
            <a:ext cx="5265" cy="618"/>
          </a:xfrm>
          <a:custGeom>
            <a:avLst/>
            <a:gdLst>
              <a:gd name="csX0" fmla="*/ 0 w 8480"/>
              <a:gd name="csY0" fmla="*/ 896 h 996"/>
              <a:gd name="csX1" fmla="*/ 8480 w 8480"/>
              <a:gd name="csY1" fmla="*/ 110 h 996"/>
              <a:gd name="csX2" fmla="*/ 0 w 8480"/>
              <a:gd name="csY2" fmla="*/ 896 h 99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80" h="996">
                <a:moveTo>
                  <a:pt x="0" y="896"/>
                </a:moveTo>
                <a:cubicBezTo>
                  <a:pt x="2285" y="115"/>
                  <a:pt x="5130" y="-182"/>
                  <a:pt x="8480" y="110"/>
                </a:cubicBezTo>
                <a:cubicBezTo>
                  <a:pt x="6177" y="927"/>
                  <a:pt x="3368" y="1153"/>
                  <a:pt x="0" y="896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64" name="Free-form: Shape 263">
            <a:extLst>
              <a:ext uri="{FF2B5EF4-FFF2-40B4-BE49-F238E27FC236}">
                <a16:creationId xmlns:a16="http://schemas.microsoft.com/office/drawing/2014/main" id="{8E7252B1-526F-39B7-7534-23B1F8C4E6C6}"/>
              </a:ext>
            </a:extLst>
          </p:cNvPr>
          <p:cNvSpPr/>
          <p:nvPr/>
        </p:nvSpPr>
        <p:spPr>
          <a:xfrm>
            <a:off x="1684959" y="4167254"/>
            <a:ext cx="763" cy="4134"/>
          </a:xfrm>
          <a:custGeom>
            <a:avLst/>
            <a:gdLst>
              <a:gd name="csX0" fmla="*/ 132 w 1229"/>
              <a:gd name="csY0" fmla="*/ 6659 h 6658"/>
              <a:gd name="csX1" fmla="*/ 1107 w 1229"/>
              <a:gd name="csY1" fmla="*/ 0 h 6658"/>
              <a:gd name="csX2" fmla="*/ 132 w 1229"/>
              <a:gd name="csY2" fmla="*/ 6659 h 665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229" h="6658">
                <a:moveTo>
                  <a:pt x="132" y="6659"/>
                </a:moveTo>
                <a:cubicBezTo>
                  <a:pt x="-219" y="4616"/>
                  <a:pt x="139" y="2560"/>
                  <a:pt x="1107" y="0"/>
                </a:cubicBezTo>
                <a:cubicBezTo>
                  <a:pt x="1425" y="1879"/>
                  <a:pt x="1133" y="4263"/>
                  <a:pt x="132" y="6659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65" name="Free-form: Shape 264">
            <a:extLst>
              <a:ext uri="{FF2B5EF4-FFF2-40B4-BE49-F238E27FC236}">
                <a16:creationId xmlns:a16="http://schemas.microsoft.com/office/drawing/2014/main" id="{66F7E4C8-AF5F-2589-8B24-17D6CAE7A3D5}"/>
              </a:ext>
            </a:extLst>
          </p:cNvPr>
          <p:cNvSpPr/>
          <p:nvPr/>
        </p:nvSpPr>
        <p:spPr>
          <a:xfrm>
            <a:off x="1617763" y="4187531"/>
            <a:ext cx="2352" cy="847"/>
          </a:xfrm>
          <a:custGeom>
            <a:avLst/>
            <a:gdLst>
              <a:gd name="csX0" fmla="*/ 0 w 3788"/>
              <a:gd name="csY0" fmla="*/ 1364 h 1364"/>
              <a:gd name="csX1" fmla="*/ 3788 w 3788"/>
              <a:gd name="csY1" fmla="*/ 0 h 1364"/>
              <a:gd name="csX2" fmla="*/ 0 w 3788"/>
              <a:gd name="csY2" fmla="*/ 1364 h 136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788" h="1364">
                <a:moveTo>
                  <a:pt x="0" y="1364"/>
                </a:moveTo>
                <a:cubicBezTo>
                  <a:pt x="856" y="517"/>
                  <a:pt x="2126" y="39"/>
                  <a:pt x="3788" y="0"/>
                </a:cubicBezTo>
                <a:cubicBezTo>
                  <a:pt x="2925" y="870"/>
                  <a:pt x="1670" y="1303"/>
                  <a:pt x="0" y="1364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66" name="Free-form: Shape 265">
            <a:extLst>
              <a:ext uri="{FF2B5EF4-FFF2-40B4-BE49-F238E27FC236}">
                <a16:creationId xmlns:a16="http://schemas.microsoft.com/office/drawing/2014/main" id="{D5E91FF2-BB1C-9491-5E74-8121677CFDEF}"/>
              </a:ext>
            </a:extLst>
          </p:cNvPr>
          <p:cNvSpPr/>
          <p:nvPr/>
        </p:nvSpPr>
        <p:spPr>
          <a:xfrm>
            <a:off x="1346180" y="4190805"/>
            <a:ext cx="2478" cy="515"/>
          </a:xfrm>
          <a:custGeom>
            <a:avLst/>
            <a:gdLst>
              <a:gd name="csX0" fmla="*/ 0 w 3990"/>
              <a:gd name="csY0" fmla="*/ 719 h 829"/>
              <a:gd name="csX1" fmla="*/ 3990 w 3990"/>
              <a:gd name="csY1" fmla="*/ 119 h 829"/>
              <a:gd name="csX2" fmla="*/ 0 w 3990"/>
              <a:gd name="csY2" fmla="*/ 719 h 82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990" h="829">
                <a:moveTo>
                  <a:pt x="0" y="719"/>
                </a:moveTo>
                <a:cubicBezTo>
                  <a:pt x="982" y="66"/>
                  <a:pt x="2323" y="-163"/>
                  <a:pt x="3990" y="119"/>
                </a:cubicBezTo>
                <a:cubicBezTo>
                  <a:pt x="2998" y="800"/>
                  <a:pt x="1678" y="972"/>
                  <a:pt x="0" y="719"/>
                </a:cubicBezTo>
                <a:close/>
              </a:path>
            </a:pathLst>
          </a:custGeom>
          <a:solidFill>
            <a:srgbClr val="959DA0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67" name="Free-form: Shape 266">
            <a:extLst>
              <a:ext uri="{FF2B5EF4-FFF2-40B4-BE49-F238E27FC236}">
                <a16:creationId xmlns:a16="http://schemas.microsoft.com/office/drawing/2014/main" id="{182AF5B6-3F1F-5AE3-7612-2D11EDEDC1AD}"/>
              </a:ext>
            </a:extLst>
          </p:cNvPr>
          <p:cNvSpPr/>
          <p:nvPr/>
        </p:nvSpPr>
        <p:spPr>
          <a:xfrm>
            <a:off x="1556728" y="4193761"/>
            <a:ext cx="2417" cy="705"/>
          </a:xfrm>
          <a:custGeom>
            <a:avLst/>
            <a:gdLst>
              <a:gd name="csX0" fmla="*/ 0 w 3893"/>
              <a:gd name="csY0" fmla="*/ 1133 h 1135"/>
              <a:gd name="csX1" fmla="*/ 3893 w 3893"/>
              <a:gd name="csY1" fmla="*/ 7 h 1135"/>
              <a:gd name="csX2" fmla="*/ 0 w 3893"/>
              <a:gd name="csY2" fmla="*/ 1133 h 113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893" h="1135">
                <a:moveTo>
                  <a:pt x="0" y="1133"/>
                </a:moveTo>
                <a:cubicBezTo>
                  <a:pt x="902" y="349"/>
                  <a:pt x="2213" y="-60"/>
                  <a:pt x="3893" y="7"/>
                </a:cubicBezTo>
                <a:cubicBezTo>
                  <a:pt x="2978" y="825"/>
                  <a:pt x="1693" y="1167"/>
                  <a:pt x="0" y="1133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68" name="Free-form: Shape 267">
            <a:extLst>
              <a:ext uri="{FF2B5EF4-FFF2-40B4-BE49-F238E27FC236}">
                <a16:creationId xmlns:a16="http://schemas.microsoft.com/office/drawing/2014/main" id="{D868ECA1-614F-834A-6CD7-7441940AC1B2}"/>
              </a:ext>
            </a:extLst>
          </p:cNvPr>
          <p:cNvSpPr/>
          <p:nvPr/>
        </p:nvSpPr>
        <p:spPr>
          <a:xfrm>
            <a:off x="1457132" y="3709097"/>
            <a:ext cx="112588" cy="250407"/>
          </a:xfrm>
          <a:custGeom>
            <a:avLst/>
            <a:gdLst>
              <a:gd name="csX0" fmla="*/ 7554 w 181323"/>
              <a:gd name="csY0" fmla="*/ 172079 h 403282"/>
              <a:gd name="csX1" fmla="*/ 9716 w 181323"/>
              <a:gd name="csY1" fmla="*/ 130641 h 403282"/>
              <a:gd name="csX2" fmla="*/ 7663 w 181323"/>
              <a:gd name="csY2" fmla="*/ 113770 h 403282"/>
              <a:gd name="csX3" fmla="*/ 7598 w 181323"/>
              <a:gd name="csY3" fmla="*/ 8165 h 403282"/>
              <a:gd name="csX4" fmla="*/ 8353 w 181323"/>
              <a:gd name="csY4" fmla="*/ 1259 h 403282"/>
              <a:gd name="csX5" fmla="*/ 17767 w 181323"/>
              <a:gd name="csY5" fmla="*/ 93 h 403282"/>
              <a:gd name="csX6" fmla="*/ 77938 w 181323"/>
              <a:gd name="csY6" fmla="*/ 50 h 403282"/>
              <a:gd name="csX7" fmla="*/ 91081 w 181323"/>
              <a:gd name="csY7" fmla="*/ 10962 h 403282"/>
              <a:gd name="csX8" fmla="*/ 93691 w 181323"/>
              <a:gd name="csY8" fmla="*/ 60963 h 403282"/>
              <a:gd name="csX9" fmla="*/ 100157 w 181323"/>
              <a:gd name="csY9" fmla="*/ 121501 h 403282"/>
              <a:gd name="csX10" fmla="*/ 105540 w 181323"/>
              <a:gd name="csY10" fmla="*/ 158857 h 403282"/>
              <a:gd name="csX11" fmla="*/ 121116 w 181323"/>
              <a:gd name="csY11" fmla="*/ 235269 h 403282"/>
              <a:gd name="csX12" fmla="*/ 152823 w 181323"/>
              <a:gd name="csY12" fmla="*/ 338010 h 403282"/>
              <a:gd name="csX13" fmla="*/ 170877 w 181323"/>
              <a:gd name="csY13" fmla="*/ 378027 h 403282"/>
              <a:gd name="csX14" fmla="*/ 178114 w 181323"/>
              <a:gd name="csY14" fmla="*/ 387682 h 403282"/>
              <a:gd name="csX15" fmla="*/ 181150 w 181323"/>
              <a:gd name="csY15" fmla="*/ 395764 h 403282"/>
              <a:gd name="csX16" fmla="*/ 173480 w 181323"/>
              <a:gd name="csY16" fmla="*/ 402568 h 403282"/>
              <a:gd name="csX17" fmla="*/ 160067 w 181323"/>
              <a:gd name="csY17" fmla="*/ 402936 h 403282"/>
              <a:gd name="csX18" fmla="*/ 121081 w 181323"/>
              <a:gd name="csY18" fmla="*/ 400766 h 403282"/>
              <a:gd name="csX19" fmla="*/ 70912 w 181323"/>
              <a:gd name="csY19" fmla="*/ 401955 h 403282"/>
              <a:gd name="csX20" fmla="*/ 7630 w 181323"/>
              <a:gd name="csY20" fmla="*/ 402999 h 403282"/>
              <a:gd name="csX21" fmla="*/ 710 w 181323"/>
              <a:gd name="csY21" fmla="*/ 401995 h 403282"/>
              <a:gd name="csX22" fmla="*/ 1308 w 181323"/>
              <a:gd name="csY22" fmla="*/ 356708 h 403282"/>
              <a:gd name="csX23" fmla="*/ 2554 w 181323"/>
              <a:gd name="csY23" fmla="*/ 349510 h 403282"/>
              <a:gd name="csX24" fmla="*/ 5071 w 181323"/>
              <a:gd name="csY24" fmla="*/ 271231 h 403282"/>
              <a:gd name="csX25" fmla="*/ 7554 w 181323"/>
              <a:gd name="csY25" fmla="*/ 172079 h 403282"/>
              <a:gd name="csX26" fmla="*/ 98286 w 181323"/>
              <a:gd name="csY26" fmla="*/ 163566 h 403282"/>
              <a:gd name="csX27" fmla="*/ 83497 w 181323"/>
              <a:gd name="csY27" fmla="*/ 8289 h 403282"/>
              <a:gd name="csX28" fmla="*/ 15161 w 181323"/>
              <a:gd name="csY28" fmla="*/ 9148 h 403282"/>
              <a:gd name="csX29" fmla="*/ 15058 w 181323"/>
              <a:gd name="csY29" fmla="*/ 137939 h 403282"/>
              <a:gd name="csX30" fmla="*/ 12252 w 181323"/>
              <a:gd name="csY30" fmla="*/ 266862 h 403282"/>
              <a:gd name="csX31" fmla="*/ 7068 w 181323"/>
              <a:gd name="csY31" fmla="*/ 395996 h 403282"/>
              <a:gd name="csX32" fmla="*/ 171647 w 181323"/>
              <a:gd name="csY32" fmla="*/ 395996 h 403282"/>
              <a:gd name="csX33" fmla="*/ 119950 w 181323"/>
              <a:gd name="csY33" fmla="*/ 259496 h 403282"/>
              <a:gd name="csX34" fmla="*/ 98286 w 181323"/>
              <a:gd name="csY34" fmla="*/ 163566 h 40328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</a:cxnLst>
            <a:rect l="l" t="t" r="r" b="b"/>
            <a:pathLst>
              <a:path w="181323" h="403282">
                <a:moveTo>
                  <a:pt x="7554" y="172079"/>
                </a:moveTo>
                <a:cubicBezTo>
                  <a:pt x="8325" y="157451"/>
                  <a:pt x="9408" y="144055"/>
                  <a:pt x="9716" y="130641"/>
                </a:cubicBezTo>
                <a:cubicBezTo>
                  <a:pt x="9846" y="125037"/>
                  <a:pt x="7695" y="119399"/>
                  <a:pt x="7663" y="113770"/>
                </a:cubicBezTo>
                <a:cubicBezTo>
                  <a:pt x="7461" y="78569"/>
                  <a:pt x="7554" y="43367"/>
                  <a:pt x="7598" y="8165"/>
                </a:cubicBezTo>
                <a:cubicBezTo>
                  <a:pt x="7600" y="6167"/>
                  <a:pt x="8022" y="4170"/>
                  <a:pt x="8353" y="1259"/>
                </a:cubicBezTo>
                <a:cubicBezTo>
                  <a:pt x="11568" y="842"/>
                  <a:pt x="14666" y="109"/>
                  <a:pt x="17767" y="93"/>
                </a:cubicBezTo>
                <a:cubicBezTo>
                  <a:pt x="37824" y="-17"/>
                  <a:pt x="57881" y="-27"/>
                  <a:pt x="77938" y="50"/>
                </a:cubicBezTo>
                <a:cubicBezTo>
                  <a:pt x="89177" y="93"/>
                  <a:pt x="90068" y="113"/>
                  <a:pt x="91081" y="10962"/>
                </a:cubicBezTo>
                <a:cubicBezTo>
                  <a:pt x="92631" y="27565"/>
                  <a:pt x="92329" y="44335"/>
                  <a:pt x="93691" y="60963"/>
                </a:cubicBezTo>
                <a:cubicBezTo>
                  <a:pt x="95348" y="81184"/>
                  <a:pt x="97732" y="101353"/>
                  <a:pt x="100157" y="121501"/>
                </a:cubicBezTo>
                <a:cubicBezTo>
                  <a:pt x="101660" y="133990"/>
                  <a:pt x="104521" y="146343"/>
                  <a:pt x="105540" y="158857"/>
                </a:cubicBezTo>
                <a:cubicBezTo>
                  <a:pt x="107671" y="184993"/>
                  <a:pt x="114147" y="210249"/>
                  <a:pt x="121116" y="235269"/>
                </a:cubicBezTo>
                <a:cubicBezTo>
                  <a:pt x="130731" y="269786"/>
                  <a:pt x="141516" y="304004"/>
                  <a:pt x="152823" y="338010"/>
                </a:cubicBezTo>
                <a:cubicBezTo>
                  <a:pt x="157418" y="351828"/>
                  <a:pt x="164524" y="364837"/>
                  <a:pt x="170877" y="378027"/>
                </a:cubicBezTo>
                <a:cubicBezTo>
                  <a:pt x="172587" y="381579"/>
                  <a:pt x="175985" y="384280"/>
                  <a:pt x="178114" y="387682"/>
                </a:cubicBezTo>
                <a:cubicBezTo>
                  <a:pt x="179669" y="390165"/>
                  <a:pt x="181977" y="393824"/>
                  <a:pt x="181150" y="395764"/>
                </a:cubicBezTo>
                <a:cubicBezTo>
                  <a:pt x="179907" y="398676"/>
                  <a:pt x="176540" y="401705"/>
                  <a:pt x="173480" y="402568"/>
                </a:cubicBezTo>
                <a:cubicBezTo>
                  <a:pt x="169302" y="403746"/>
                  <a:pt x="164551" y="403164"/>
                  <a:pt x="160067" y="402936"/>
                </a:cubicBezTo>
                <a:cubicBezTo>
                  <a:pt x="147066" y="402274"/>
                  <a:pt x="134081" y="400859"/>
                  <a:pt x="121081" y="400766"/>
                </a:cubicBezTo>
                <a:cubicBezTo>
                  <a:pt x="104362" y="400647"/>
                  <a:pt x="87638" y="401607"/>
                  <a:pt x="70912" y="401955"/>
                </a:cubicBezTo>
                <a:cubicBezTo>
                  <a:pt x="49820" y="402394"/>
                  <a:pt x="28725" y="402712"/>
                  <a:pt x="7630" y="402999"/>
                </a:cubicBezTo>
                <a:cubicBezTo>
                  <a:pt x="5684" y="403026"/>
                  <a:pt x="3731" y="402452"/>
                  <a:pt x="710" y="401995"/>
                </a:cubicBezTo>
                <a:cubicBezTo>
                  <a:pt x="219" y="386620"/>
                  <a:pt x="-871" y="371682"/>
                  <a:pt x="1308" y="356708"/>
                </a:cubicBezTo>
                <a:cubicBezTo>
                  <a:pt x="1659" y="354298"/>
                  <a:pt x="2471" y="351920"/>
                  <a:pt x="2554" y="349510"/>
                </a:cubicBezTo>
                <a:cubicBezTo>
                  <a:pt x="3459" y="323419"/>
                  <a:pt x="4345" y="297328"/>
                  <a:pt x="5071" y="271231"/>
                </a:cubicBezTo>
                <a:cubicBezTo>
                  <a:pt x="5979" y="238591"/>
                  <a:pt x="6733" y="205947"/>
                  <a:pt x="7554" y="172079"/>
                </a:cubicBezTo>
                <a:moveTo>
                  <a:pt x="98286" y="163566"/>
                </a:moveTo>
                <a:cubicBezTo>
                  <a:pt x="89288" y="112116"/>
                  <a:pt x="86355" y="60033"/>
                  <a:pt x="83497" y="8289"/>
                </a:cubicBezTo>
                <a:cubicBezTo>
                  <a:pt x="65606" y="5845"/>
                  <a:pt x="24110" y="6470"/>
                  <a:pt x="15161" y="9148"/>
                </a:cubicBezTo>
                <a:cubicBezTo>
                  <a:pt x="15161" y="52045"/>
                  <a:pt x="15527" y="94996"/>
                  <a:pt x="15058" y="137939"/>
                </a:cubicBezTo>
                <a:cubicBezTo>
                  <a:pt x="14587" y="180919"/>
                  <a:pt x="13597" y="223900"/>
                  <a:pt x="12252" y="266862"/>
                </a:cubicBezTo>
                <a:cubicBezTo>
                  <a:pt x="10912" y="309638"/>
                  <a:pt x="8849" y="352391"/>
                  <a:pt x="7068" y="395996"/>
                </a:cubicBezTo>
                <a:cubicBezTo>
                  <a:pt x="62774" y="395996"/>
                  <a:pt x="116821" y="395996"/>
                  <a:pt x="171647" y="395996"/>
                </a:cubicBezTo>
                <a:cubicBezTo>
                  <a:pt x="148550" y="352016"/>
                  <a:pt x="132566" y="306307"/>
                  <a:pt x="119950" y="259496"/>
                </a:cubicBezTo>
                <a:cubicBezTo>
                  <a:pt x="111608" y="228543"/>
                  <a:pt x="105493" y="196989"/>
                  <a:pt x="98286" y="163566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69" name="Free-form: Shape 268">
            <a:extLst>
              <a:ext uri="{FF2B5EF4-FFF2-40B4-BE49-F238E27FC236}">
                <a16:creationId xmlns:a16="http://schemas.microsoft.com/office/drawing/2014/main" id="{9D50C717-63C6-EFA3-0AE1-0549B9F73496}"/>
              </a:ext>
            </a:extLst>
          </p:cNvPr>
          <p:cNvSpPr/>
          <p:nvPr/>
        </p:nvSpPr>
        <p:spPr>
          <a:xfrm>
            <a:off x="1458763" y="4125578"/>
            <a:ext cx="209255" cy="47389"/>
          </a:xfrm>
          <a:custGeom>
            <a:avLst/>
            <a:gdLst>
              <a:gd name="csX0" fmla="*/ 297312 w 337008"/>
              <a:gd name="csY0" fmla="*/ 59188 h 76321"/>
              <a:gd name="csX1" fmla="*/ 241991 w 337008"/>
              <a:gd name="csY1" fmla="*/ 66577 h 76321"/>
              <a:gd name="csX2" fmla="*/ 185243 w 337008"/>
              <a:gd name="csY2" fmla="*/ 73717 h 76321"/>
              <a:gd name="csX3" fmla="*/ 182797 w 337008"/>
              <a:gd name="csY3" fmla="*/ 73873 h 76321"/>
              <a:gd name="csX4" fmla="*/ 19866 w 337008"/>
              <a:gd name="csY4" fmla="*/ 76320 h 76321"/>
              <a:gd name="csX5" fmla="*/ 12650 w 337008"/>
              <a:gd name="csY5" fmla="*/ 75242 h 76321"/>
              <a:gd name="csX6" fmla="*/ 19 w 337008"/>
              <a:gd name="csY6" fmla="*/ 59006 h 76321"/>
              <a:gd name="csX7" fmla="*/ 11 w 337008"/>
              <a:gd name="csY7" fmla="*/ 18266 h 76321"/>
              <a:gd name="csX8" fmla="*/ 13547 w 337008"/>
              <a:gd name="csY8" fmla="*/ 17427 h 76321"/>
              <a:gd name="csX9" fmla="*/ 109279 w 337008"/>
              <a:gd name="csY9" fmla="*/ 17200 h 76321"/>
              <a:gd name="csX10" fmla="*/ 173714 w 337008"/>
              <a:gd name="csY10" fmla="*/ 12645 h 76321"/>
              <a:gd name="csX11" fmla="*/ 205309 w 337008"/>
              <a:gd name="csY11" fmla="*/ 10096 h 76321"/>
              <a:gd name="csX12" fmla="*/ 245485 w 337008"/>
              <a:gd name="csY12" fmla="*/ 7449 h 76321"/>
              <a:gd name="csX13" fmla="*/ 288955 w 337008"/>
              <a:gd name="csY13" fmla="*/ 1844 h 76321"/>
              <a:gd name="csX14" fmla="*/ 307132 w 337008"/>
              <a:gd name="csY14" fmla="*/ 164 h 76321"/>
              <a:gd name="csX15" fmla="*/ 324030 w 337008"/>
              <a:gd name="csY15" fmla="*/ 9691 h 76321"/>
              <a:gd name="csX16" fmla="*/ 336033 w 337008"/>
              <a:gd name="csY16" fmla="*/ 39107 h 76321"/>
              <a:gd name="csX17" fmla="*/ 328060 w 337008"/>
              <a:gd name="csY17" fmla="*/ 52413 h 76321"/>
              <a:gd name="csX18" fmla="*/ 297312 w 337008"/>
              <a:gd name="csY18" fmla="*/ 59188 h 76321"/>
              <a:gd name="csX19" fmla="*/ 207688 w 337008"/>
              <a:gd name="csY19" fmla="*/ 64284 h 76321"/>
              <a:gd name="csX20" fmla="*/ 330050 w 337008"/>
              <a:gd name="csY20" fmla="*/ 45606 h 76321"/>
              <a:gd name="csX21" fmla="*/ 317356 w 337008"/>
              <a:gd name="csY21" fmla="*/ 11297 h 76321"/>
              <a:gd name="csX22" fmla="*/ 304170 w 337008"/>
              <a:gd name="csY22" fmla="*/ 5545 h 76321"/>
              <a:gd name="csX23" fmla="*/ 273851 w 337008"/>
              <a:gd name="csY23" fmla="*/ 10014 h 76321"/>
              <a:gd name="csX24" fmla="*/ 163935 w 337008"/>
              <a:gd name="csY24" fmla="*/ 20274 h 76321"/>
              <a:gd name="csX25" fmla="*/ 17973 w 337008"/>
              <a:gd name="csY25" fmla="*/ 22950 h 76321"/>
              <a:gd name="csX26" fmla="*/ 7372 w 337008"/>
              <a:gd name="csY26" fmla="*/ 23601 h 76321"/>
              <a:gd name="csX27" fmla="*/ 7372 w 337008"/>
              <a:gd name="csY27" fmla="*/ 67898 h 76321"/>
              <a:gd name="csX28" fmla="*/ 207688 w 337008"/>
              <a:gd name="csY28" fmla="*/ 64284 h 7632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</a:cxnLst>
            <a:rect l="l" t="t" r="r" b="b"/>
            <a:pathLst>
              <a:path w="337008" h="76321">
                <a:moveTo>
                  <a:pt x="297312" y="59188"/>
                </a:moveTo>
                <a:cubicBezTo>
                  <a:pt x="278167" y="61672"/>
                  <a:pt x="260091" y="64212"/>
                  <a:pt x="241991" y="66577"/>
                </a:cubicBezTo>
                <a:cubicBezTo>
                  <a:pt x="223087" y="69047"/>
                  <a:pt x="204161" y="71350"/>
                  <a:pt x="185243" y="73717"/>
                </a:cubicBezTo>
                <a:cubicBezTo>
                  <a:pt x="184433" y="73818"/>
                  <a:pt x="183613" y="73861"/>
                  <a:pt x="182797" y="73873"/>
                </a:cubicBezTo>
                <a:cubicBezTo>
                  <a:pt x="128487" y="74710"/>
                  <a:pt x="74176" y="75556"/>
                  <a:pt x="19866" y="76320"/>
                </a:cubicBezTo>
                <a:cubicBezTo>
                  <a:pt x="17463" y="76354"/>
                  <a:pt x="15013" y="75797"/>
                  <a:pt x="12650" y="75242"/>
                </a:cubicBezTo>
                <a:cubicBezTo>
                  <a:pt x="80" y="72288"/>
                  <a:pt x="58" y="72258"/>
                  <a:pt x="19" y="59006"/>
                </a:cubicBezTo>
                <a:cubicBezTo>
                  <a:pt x="-19" y="45942"/>
                  <a:pt x="11" y="32877"/>
                  <a:pt x="11" y="18266"/>
                </a:cubicBezTo>
                <a:cubicBezTo>
                  <a:pt x="4987" y="17944"/>
                  <a:pt x="9266" y="17435"/>
                  <a:pt x="13547" y="17427"/>
                </a:cubicBezTo>
                <a:cubicBezTo>
                  <a:pt x="45459" y="17362"/>
                  <a:pt x="77385" y="17975"/>
                  <a:pt x="109279" y="17200"/>
                </a:cubicBezTo>
                <a:cubicBezTo>
                  <a:pt x="130782" y="16677"/>
                  <a:pt x="152239" y="14265"/>
                  <a:pt x="173714" y="12645"/>
                </a:cubicBezTo>
                <a:cubicBezTo>
                  <a:pt x="184250" y="11850"/>
                  <a:pt x="194770" y="10836"/>
                  <a:pt x="205309" y="10096"/>
                </a:cubicBezTo>
                <a:cubicBezTo>
                  <a:pt x="218698" y="9156"/>
                  <a:pt x="232139" y="8783"/>
                  <a:pt x="245485" y="7449"/>
                </a:cubicBezTo>
                <a:cubicBezTo>
                  <a:pt x="260017" y="5997"/>
                  <a:pt x="274456" y="3648"/>
                  <a:pt x="288955" y="1844"/>
                </a:cubicBezTo>
                <a:cubicBezTo>
                  <a:pt x="294991" y="1094"/>
                  <a:pt x="301100" y="930"/>
                  <a:pt x="307132" y="164"/>
                </a:cubicBezTo>
                <a:cubicBezTo>
                  <a:pt x="315239" y="-865"/>
                  <a:pt x="320841" y="3022"/>
                  <a:pt x="324030" y="9691"/>
                </a:cubicBezTo>
                <a:cubicBezTo>
                  <a:pt x="328594" y="19236"/>
                  <a:pt x="332712" y="29070"/>
                  <a:pt x="336033" y="39107"/>
                </a:cubicBezTo>
                <a:cubicBezTo>
                  <a:pt x="338557" y="46735"/>
                  <a:pt x="336278" y="50185"/>
                  <a:pt x="328060" y="52413"/>
                </a:cubicBezTo>
                <a:cubicBezTo>
                  <a:pt x="318273" y="55068"/>
                  <a:pt x="308277" y="56950"/>
                  <a:pt x="297312" y="59188"/>
                </a:cubicBezTo>
                <a:moveTo>
                  <a:pt x="207688" y="64284"/>
                </a:moveTo>
                <a:cubicBezTo>
                  <a:pt x="248681" y="60632"/>
                  <a:pt x="289317" y="54812"/>
                  <a:pt x="330050" y="45606"/>
                </a:cubicBezTo>
                <a:cubicBezTo>
                  <a:pt x="327603" y="32443"/>
                  <a:pt x="323777" y="21532"/>
                  <a:pt x="317356" y="11297"/>
                </a:cubicBezTo>
                <a:cubicBezTo>
                  <a:pt x="313908" y="5803"/>
                  <a:pt x="310145" y="4465"/>
                  <a:pt x="304170" y="5545"/>
                </a:cubicBezTo>
                <a:cubicBezTo>
                  <a:pt x="294121" y="7361"/>
                  <a:pt x="284007" y="9006"/>
                  <a:pt x="273851" y="10014"/>
                </a:cubicBezTo>
                <a:cubicBezTo>
                  <a:pt x="237233" y="13650"/>
                  <a:pt x="200632" y="17661"/>
                  <a:pt x="163935" y="20274"/>
                </a:cubicBezTo>
                <a:cubicBezTo>
                  <a:pt x="115360" y="23734"/>
                  <a:pt x="66701" y="25937"/>
                  <a:pt x="17973" y="22950"/>
                </a:cubicBezTo>
                <a:cubicBezTo>
                  <a:pt x="14492" y="22737"/>
                  <a:pt x="10959" y="23361"/>
                  <a:pt x="7372" y="23601"/>
                </a:cubicBezTo>
                <a:cubicBezTo>
                  <a:pt x="7372" y="38609"/>
                  <a:pt x="7372" y="52361"/>
                  <a:pt x="7372" y="67898"/>
                </a:cubicBezTo>
                <a:cubicBezTo>
                  <a:pt x="74001" y="69806"/>
                  <a:pt x="139746" y="71025"/>
                  <a:pt x="207688" y="64284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70" name="Free-form: Shape 269">
            <a:extLst>
              <a:ext uri="{FF2B5EF4-FFF2-40B4-BE49-F238E27FC236}">
                <a16:creationId xmlns:a16="http://schemas.microsoft.com/office/drawing/2014/main" id="{1D25773E-05A1-92D4-4FF2-C49F53E4F7F8}"/>
              </a:ext>
            </a:extLst>
          </p:cNvPr>
          <p:cNvSpPr/>
          <p:nvPr/>
        </p:nvSpPr>
        <p:spPr>
          <a:xfrm>
            <a:off x="1462496" y="3979124"/>
            <a:ext cx="188426" cy="132688"/>
          </a:xfrm>
          <a:custGeom>
            <a:avLst/>
            <a:gdLst>
              <a:gd name="csX0" fmla="*/ 14160 w 303463"/>
              <a:gd name="csY0" fmla="*/ 7889 h 213695"/>
              <a:gd name="csX1" fmla="*/ 195033 w 303463"/>
              <a:gd name="csY1" fmla="*/ 0 h 213695"/>
              <a:gd name="csX2" fmla="*/ 197208 w 303463"/>
              <a:gd name="csY2" fmla="*/ 5635 h 213695"/>
              <a:gd name="csX3" fmla="*/ 227014 w 303463"/>
              <a:gd name="csY3" fmla="*/ 60660 h 213695"/>
              <a:gd name="csX4" fmla="*/ 265823 w 303463"/>
              <a:gd name="csY4" fmla="*/ 98217 h 213695"/>
              <a:gd name="csX5" fmla="*/ 303210 w 303463"/>
              <a:gd name="csY5" fmla="*/ 180358 h 213695"/>
              <a:gd name="csX6" fmla="*/ 303282 w 303463"/>
              <a:gd name="csY6" fmla="*/ 193964 h 213695"/>
              <a:gd name="csX7" fmla="*/ 4971 w 303463"/>
              <a:gd name="csY7" fmla="*/ 213017 h 213695"/>
              <a:gd name="csX8" fmla="*/ 5093 w 303463"/>
              <a:gd name="csY8" fmla="*/ 173484 h 213695"/>
              <a:gd name="csX9" fmla="*/ 4767 w 303463"/>
              <a:gd name="csY9" fmla="*/ 54607 h 213695"/>
              <a:gd name="csX10" fmla="*/ 0 w 303463"/>
              <a:gd name="csY10" fmla="*/ 7887 h 213695"/>
              <a:gd name="csX11" fmla="*/ 14160 w 303463"/>
              <a:gd name="csY11" fmla="*/ 7889 h 21369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303463" h="213695">
                <a:moveTo>
                  <a:pt x="14160" y="7889"/>
                </a:moveTo>
                <a:cubicBezTo>
                  <a:pt x="75371" y="8627"/>
                  <a:pt x="135292" y="5744"/>
                  <a:pt x="195033" y="0"/>
                </a:cubicBezTo>
                <a:cubicBezTo>
                  <a:pt x="196084" y="2662"/>
                  <a:pt x="196986" y="4099"/>
                  <a:pt x="197208" y="5635"/>
                </a:cubicBezTo>
                <a:cubicBezTo>
                  <a:pt x="200391" y="27650"/>
                  <a:pt x="211307" y="45450"/>
                  <a:pt x="227014" y="60660"/>
                </a:cubicBezTo>
                <a:cubicBezTo>
                  <a:pt x="239947" y="73182"/>
                  <a:pt x="253006" y="85577"/>
                  <a:pt x="265823" y="98217"/>
                </a:cubicBezTo>
                <a:cubicBezTo>
                  <a:pt x="288727" y="120806"/>
                  <a:pt x="299071" y="149215"/>
                  <a:pt x="303210" y="180358"/>
                </a:cubicBezTo>
                <a:cubicBezTo>
                  <a:pt x="303735" y="184317"/>
                  <a:pt x="303282" y="188405"/>
                  <a:pt x="303282" y="193964"/>
                </a:cubicBezTo>
                <a:cubicBezTo>
                  <a:pt x="204065" y="208804"/>
                  <a:pt x="105022" y="216044"/>
                  <a:pt x="4971" y="213017"/>
                </a:cubicBezTo>
                <a:cubicBezTo>
                  <a:pt x="4971" y="199268"/>
                  <a:pt x="4314" y="186332"/>
                  <a:pt x="5093" y="173484"/>
                </a:cubicBezTo>
                <a:cubicBezTo>
                  <a:pt x="7497" y="133835"/>
                  <a:pt x="8211" y="94216"/>
                  <a:pt x="4767" y="54607"/>
                </a:cubicBezTo>
                <a:cubicBezTo>
                  <a:pt x="3464" y="39611"/>
                  <a:pt x="1725" y="24653"/>
                  <a:pt x="0" y="7887"/>
                </a:cubicBezTo>
                <a:cubicBezTo>
                  <a:pt x="4390" y="7887"/>
                  <a:pt x="8696" y="7887"/>
                  <a:pt x="14160" y="7889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71" name="Free-form: Shape 270">
            <a:extLst>
              <a:ext uri="{FF2B5EF4-FFF2-40B4-BE49-F238E27FC236}">
                <a16:creationId xmlns:a16="http://schemas.microsoft.com/office/drawing/2014/main" id="{3C4390FF-E0F0-6973-2FE8-3A5E2B34D2F6}"/>
              </a:ext>
            </a:extLst>
          </p:cNvPr>
          <p:cNvSpPr/>
          <p:nvPr/>
        </p:nvSpPr>
        <p:spPr>
          <a:xfrm>
            <a:off x="1428734" y="3449368"/>
            <a:ext cx="129814" cy="126299"/>
          </a:xfrm>
          <a:custGeom>
            <a:avLst/>
            <a:gdLst>
              <a:gd name="csX0" fmla="*/ 10475 w 209067"/>
              <a:gd name="csY0" fmla="*/ 41718 h 203406"/>
              <a:gd name="csX1" fmla="*/ 100250 w 209067"/>
              <a:gd name="csY1" fmla="*/ 1265 h 203406"/>
              <a:gd name="csX2" fmla="*/ 206681 w 209067"/>
              <a:gd name="csY2" fmla="*/ 98526 h 203406"/>
              <a:gd name="csX3" fmla="*/ 134647 w 209067"/>
              <a:gd name="csY3" fmla="*/ 202431 h 203406"/>
              <a:gd name="csX4" fmla="*/ 40986 w 209067"/>
              <a:gd name="csY4" fmla="*/ 171438 h 203406"/>
              <a:gd name="csX5" fmla="*/ 143 w 209067"/>
              <a:gd name="csY5" fmla="*/ 85158 h 203406"/>
              <a:gd name="csX6" fmla="*/ 10475 w 209067"/>
              <a:gd name="csY6" fmla="*/ 41718 h 20340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</a:cxnLst>
            <a:rect l="l" t="t" r="r" b="b"/>
            <a:pathLst>
              <a:path w="209067" h="203406">
                <a:moveTo>
                  <a:pt x="10475" y="41718"/>
                </a:moveTo>
                <a:cubicBezTo>
                  <a:pt x="31065" y="6021"/>
                  <a:pt x="63171" y="-3865"/>
                  <a:pt x="100250" y="1265"/>
                </a:cubicBezTo>
                <a:cubicBezTo>
                  <a:pt x="157191" y="9144"/>
                  <a:pt x="196951" y="51394"/>
                  <a:pt x="206681" y="98526"/>
                </a:cubicBezTo>
                <a:cubicBezTo>
                  <a:pt x="219504" y="160635"/>
                  <a:pt x="178523" y="196657"/>
                  <a:pt x="134647" y="202431"/>
                </a:cubicBezTo>
                <a:cubicBezTo>
                  <a:pt x="98365" y="207204"/>
                  <a:pt x="68101" y="194086"/>
                  <a:pt x="40986" y="171438"/>
                </a:cubicBezTo>
                <a:cubicBezTo>
                  <a:pt x="14115" y="148994"/>
                  <a:pt x="2457" y="119007"/>
                  <a:pt x="143" y="85158"/>
                </a:cubicBezTo>
                <a:cubicBezTo>
                  <a:pt x="-869" y="70364"/>
                  <a:pt x="3586" y="56015"/>
                  <a:pt x="10475" y="41718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72" name="Free-form: Shape 271">
            <a:extLst>
              <a:ext uri="{FF2B5EF4-FFF2-40B4-BE49-F238E27FC236}">
                <a16:creationId xmlns:a16="http://schemas.microsoft.com/office/drawing/2014/main" id="{302FDF30-237A-BFD2-931A-3D5DBF53371E}"/>
              </a:ext>
            </a:extLst>
          </p:cNvPr>
          <p:cNvSpPr/>
          <p:nvPr/>
        </p:nvSpPr>
        <p:spPr>
          <a:xfrm>
            <a:off x="1464993" y="3662406"/>
            <a:ext cx="97564" cy="25665"/>
          </a:xfrm>
          <a:custGeom>
            <a:avLst/>
            <a:gdLst>
              <a:gd name="csX0" fmla="*/ 69625 w 157129"/>
              <a:gd name="csY0" fmla="*/ 0 h 41334"/>
              <a:gd name="csX1" fmla="*/ 119596 w 157129"/>
              <a:gd name="csY1" fmla="*/ 1945 h 41334"/>
              <a:gd name="csX2" fmla="*/ 150973 w 157129"/>
              <a:gd name="csY2" fmla="*/ 14889 h 41334"/>
              <a:gd name="csX3" fmla="*/ 151351 w 157129"/>
              <a:gd name="csY3" fmla="*/ 34058 h 41334"/>
              <a:gd name="csX4" fmla="*/ 133492 w 157129"/>
              <a:gd name="csY4" fmla="*/ 40697 h 41334"/>
              <a:gd name="csX5" fmla="*/ 106556 w 157129"/>
              <a:gd name="csY5" fmla="*/ 41092 h 41334"/>
              <a:gd name="csX6" fmla="*/ 13373 w 157129"/>
              <a:gd name="csY6" fmla="*/ 40708 h 41334"/>
              <a:gd name="csX7" fmla="*/ 1312 w 157129"/>
              <a:gd name="csY7" fmla="*/ 40191 h 41334"/>
              <a:gd name="csX8" fmla="*/ 3367 w 157129"/>
              <a:gd name="csY8" fmla="*/ 13162 h 41334"/>
              <a:gd name="csX9" fmla="*/ 20752 w 157129"/>
              <a:gd name="csY9" fmla="*/ 1879 h 41334"/>
              <a:gd name="csX10" fmla="*/ 52625 w 157129"/>
              <a:gd name="csY10" fmla="*/ 1332 h 41334"/>
              <a:gd name="csX11" fmla="*/ 69625 w 157129"/>
              <a:gd name="csY11" fmla="*/ 0 h 4133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157129" h="41334">
                <a:moveTo>
                  <a:pt x="69625" y="0"/>
                </a:moveTo>
                <a:cubicBezTo>
                  <a:pt x="87054" y="491"/>
                  <a:pt x="103407" y="373"/>
                  <a:pt x="119596" y="1945"/>
                </a:cubicBezTo>
                <a:cubicBezTo>
                  <a:pt x="131020" y="3055"/>
                  <a:pt x="141713" y="7767"/>
                  <a:pt x="150973" y="14889"/>
                </a:cubicBezTo>
                <a:cubicBezTo>
                  <a:pt x="158820" y="20925"/>
                  <a:pt x="159403" y="28236"/>
                  <a:pt x="151351" y="34058"/>
                </a:cubicBezTo>
                <a:cubicBezTo>
                  <a:pt x="146355" y="37671"/>
                  <a:pt x="139678" y="39910"/>
                  <a:pt x="133492" y="40697"/>
                </a:cubicBezTo>
                <a:cubicBezTo>
                  <a:pt x="124640" y="41824"/>
                  <a:pt x="115547" y="41120"/>
                  <a:pt x="106556" y="41092"/>
                </a:cubicBezTo>
                <a:cubicBezTo>
                  <a:pt x="75495" y="40996"/>
                  <a:pt x="44434" y="40872"/>
                  <a:pt x="13373" y="40708"/>
                </a:cubicBezTo>
                <a:cubicBezTo>
                  <a:pt x="9391" y="40687"/>
                  <a:pt x="5410" y="40374"/>
                  <a:pt x="1312" y="40191"/>
                </a:cubicBezTo>
                <a:cubicBezTo>
                  <a:pt x="-1416" y="30384"/>
                  <a:pt x="523" y="21512"/>
                  <a:pt x="3367" y="13162"/>
                </a:cubicBezTo>
                <a:cubicBezTo>
                  <a:pt x="5963" y="5538"/>
                  <a:pt x="12701" y="2077"/>
                  <a:pt x="20752" y="1879"/>
                </a:cubicBezTo>
                <a:cubicBezTo>
                  <a:pt x="31375" y="1617"/>
                  <a:pt x="42004" y="1647"/>
                  <a:pt x="52625" y="1332"/>
                </a:cubicBezTo>
                <a:cubicBezTo>
                  <a:pt x="57918" y="1176"/>
                  <a:pt x="63195" y="535"/>
                  <a:pt x="69625" y="0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73" name="Free-form: Shape 272">
            <a:extLst>
              <a:ext uri="{FF2B5EF4-FFF2-40B4-BE49-F238E27FC236}">
                <a16:creationId xmlns:a16="http://schemas.microsoft.com/office/drawing/2014/main" id="{7A5D7302-57C1-2507-EDFC-3712D27E7BC3}"/>
              </a:ext>
            </a:extLst>
          </p:cNvPr>
          <p:cNvSpPr/>
          <p:nvPr/>
        </p:nvSpPr>
        <p:spPr>
          <a:xfrm>
            <a:off x="1461520" y="3713293"/>
            <a:ext cx="102191" cy="241686"/>
          </a:xfrm>
          <a:custGeom>
            <a:avLst/>
            <a:gdLst>
              <a:gd name="csX0" fmla="*/ 91265 w 164579"/>
              <a:gd name="csY0" fmla="*/ 157878 h 389238"/>
              <a:gd name="csX1" fmla="*/ 112882 w 164579"/>
              <a:gd name="csY1" fmla="*/ 252738 h 389238"/>
              <a:gd name="csX2" fmla="*/ 164579 w 164579"/>
              <a:gd name="csY2" fmla="*/ 389238 h 389238"/>
              <a:gd name="csX3" fmla="*/ 0 w 164579"/>
              <a:gd name="csY3" fmla="*/ 389238 h 389238"/>
              <a:gd name="csX4" fmla="*/ 5184 w 164579"/>
              <a:gd name="csY4" fmla="*/ 260105 h 389238"/>
              <a:gd name="csX5" fmla="*/ 7989 w 164579"/>
              <a:gd name="csY5" fmla="*/ 131182 h 389238"/>
              <a:gd name="csX6" fmla="*/ 8093 w 164579"/>
              <a:gd name="csY6" fmla="*/ 2390 h 389238"/>
              <a:gd name="csX7" fmla="*/ 76429 w 164579"/>
              <a:gd name="csY7" fmla="*/ 1531 h 389238"/>
              <a:gd name="csX8" fmla="*/ 91265 w 164579"/>
              <a:gd name="csY8" fmla="*/ 157878 h 38923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</a:cxnLst>
            <a:rect l="l" t="t" r="r" b="b"/>
            <a:pathLst>
              <a:path w="164579" h="389238">
                <a:moveTo>
                  <a:pt x="91265" y="157878"/>
                </a:moveTo>
                <a:cubicBezTo>
                  <a:pt x="98425" y="190232"/>
                  <a:pt x="104539" y="221785"/>
                  <a:pt x="112882" y="252738"/>
                </a:cubicBezTo>
                <a:cubicBezTo>
                  <a:pt x="125498" y="299549"/>
                  <a:pt x="141482" y="345258"/>
                  <a:pt x="164579" y="389238"/>
                </a:cubicBezTo>
                <a:cubicBezTo>
                  <a:pt x="109753" y="389238"/>
                  <a:pt x="55706" y="389238"/>
                  <a:pt x="0" y="389238"/>
                </a:cubicBezTo>
                <a:cubicBezTo>
                  <a:pt x="1781" y="345633"/>
                  <a:pt x="3844" y="302880"/>
                  <a:pt x="5184" y="260105"/>
                </a:cubicBezTo>
                <a:cubicBezTo>
                  <a:pt x="6529" y="217143"/>
                  <a:pt x="7519" y="174162"/>
                  <a:pt x="7989" y="131182"/>
                </a:cubicBezTo>
                <a:cubicBezTo>
                  <a:pt x="8459" y="88239"/>
                  <a:pt x="8093" y="45287"/>
                  <a:pt x="8093" y="2390"/>
                </a:cubicBezTo>
                <a:cubicBezTo>
                  <a:pt x="17041" y="-288"/>
                  <a:pt x="58537" y="-913"/>
                  <a:pt x="76429" y="1531"/>
                </a:cubicBezTo>
                <a:cubicBezTo>
                  <a:pt x="79287" y="53276"/>
                  <a:pt x="82219" y="105359"/>
                  <a:pt x="91265" y="157878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74" name="Free-form: Shape 273">
            <a:extLst>
              <a:ext uri="{FF2B5EF4-FFF2-40B4-BE49-F238E27FC236}">
                <a16:creationId xmlns:a16="http://schemas.microsoft.com/office/drawing/2014/main" id="{836E05D1-67D4-BC45-B0A7-72179767FC37}"/>
              </a:ext>
            </a:extLst>
          </p:cNvPr>
          <p:cNvSpPr/>
          <p:nvPr/>
        </p:nvSpPr>
        <p:spPr>
          <a:xfrm>
            <a:off x="1463339" y="4128806"/>
            <a:ext cx="200357" cy="39865"/>
          </a:xfrm>
          <a:custGeom>
            <a:avLst/>
            <a:gdLst>
              <a:gd name="csX0" fmla="*/ 199184 w 322677"/>
              <a:gd name="csY0" fmla="*/ 59136 h 64202"/>
              <a:gd name="csX1" fmla="*/ 0 w 322677"/>
              <a:gd name="csY1" fmla="*/ 62697 h 64202"/>
              <a:gd name="csX2" fmla="*/ 0 w 322677"/>
              <a:gd name="csY2" fmla="*/ 18400 h 64202"/>
              <a:gd name="csX3" fmla="*/ 10601 w 322677"/>
              <a:gd name="csY3" fmla="*/ 17750 h 64202"/>
              <a:gd name="csX4" fmla="*/ 156563 w 322677"/>
              <a:gd name="csY4" fmla="*/ 15074 h 64202"/>
              <a:gd name="csX5" fmla="*/ 266479 w 322677"/>
              <a:gd name="csY5" fmla="*/ 4814 h 64202"/>
              <a:gd name="csX6" fmla="*/ 296798 w 322677"/>
              <a:gd name="csY6" fmla="*/ 344 h 64202"/>
              <a:gd name="csX7" fmla="*/ 309983 w 322677"/>
              <a:gd name="csY7" fmla="*/ 6097 h 64202"/>
              <a:gd name="csX8" fmla="*/ 322678 w 322677"/>
              <a:gd name="csY8" fmla="*/ 40406 h 64202"/>
              <a:gd name="csX9" fmla="*/ 199184 w 322677"/>
              <a:gd name="csY9" fmla="*/ 59136 h 6420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322677" h="64202">
                <a:moveTo>
                  <a:pt x="199184" y="59136"/>
                </a:moveTo>
                <a:cubicBezTo>
                  <a:pt x="132374" y="65824"/>
                  <a:pt x="66629" y="64605"/>
                  <a:pt x="0" y="62697"/>
                </a:cubicBezTo>
                <a:cubicBezTo>
                  <a:pt x="0" y="47160"/>
                  <a:pt x="0" y="33409"/>
                  <a:pt x="0" y="18400"/>
                </a:cubicBezTo>
                <a:cubicBezTo>
                  <a:pt x="3587" y="18160"/>
                  <a:pt x="7120" y="17536"/>
                  <a:pt x="10601" y="17750"/>
                </a:cubicBezTo>
                <a:cubicBezTo>
                  <a:pt x="59329" y="20736"/>
                  <a:pt x="107987" y="18533"/>
                  <a:pt x="156563" y="15074"/>
                </a:cubicBezTo>
                <a:cubicBezTo>
                  <a:pt x="193260" y="12461"/>
                  <a:pt x="229860" y="8449"/>
                  <a:pt x="266479" y="4814"/>
                </a:cubicBezTo>
                <a:cubicBezTo>
                  <a:pt x="276635" y="3806"/>
                  <a:pt x="286748" y="2160"/>
                  <a:pt x="296798" y="344"/>
                </a:cubicBezTo>
                <a:cubicBezTo>
                  <a:pt x="302773" y="-735"/>
                  <a:pt x="306536" y="602"/>
                  <a:pt x="309983" y="6097"/>
                </a:cubicBezTo>
                <a:cubicBezTo>
                  <a:pt x="316405" y="16331"/>
                  <a:pt x="320231" y="27243"/>
                  <a:pt x="322678" y="40406"/>
                </a:cubicBezTo>
                <a:cubicBezTo>
                  <a:pt x="281944" y="49611"/>
                  <a:pt x="241309" y="55431"/>
                  <a:pt x="199184" y="59136"/>
                </a:cubicBezTo>
                <a:close/>
              </a:path>
            </a:pathLst>
          </a:custGeom>
          <a:solidFill>
            <a:schemeClr val="bg1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75" name="TextBox 274">
            <a:extLst>
              <a:ext uri="{FF2B5EF4-FFF2-40B4-BE49-F238E27FC236}">
                <a16:creationId xmlns:a16="http://schemas.microsoft.com/office/drawing/2014/main" id="{AB1D208D-FFFA-205C-D326-042A60D07D99}"/>
              </a:ext>
            </a:extLst>
          </p:cNvPr>
          <p:cNvSpPr txBox="1"/>
          <p:nvPr/>
        </p:nvSpPr>
        <p:spPr>
          <a:xfrm>
            <a:off x="871334" y="4182988"/>
            <a:ext cx="1325602" cy="3927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BR + anti-PDL1</a:t>
            </a:r>
          </a:p>
        </p:txBody>
      </p:sp>
      <p:sp>
        <p:nvSpPr>
          <p:cNvPr id="276" name="Oval 275">
            <a:extLst>
              <a:ext uri="{FF2B5EF4-FFF2-40B4-BE49-F238E27FC236}">
                <a16:creationId xmlns:a16="http://schemas.microsoft.com/office/drawing/2014/main" id="{F1206161-323B-00AB-BC1E-6D2DADA0A6D9}"/>
              </a:ext>
            </a:extLst>
          </p:cNvPr>
          <p:cNvSpPr/>
          <p:nvPr/>
        </p:nvSpPr>
        <p:spPr>
          <a:xfrm>
            <a:off x="1773114" y="2935086"/>
            <a:ext cx="593138" cy="104135"/>
          </a:xfrm>
          <a:prstGeom prst="ellipse">
            <a:avLst/>
          </a:prstGeom>
          <a:solidFill>
            <a:schemeClr val="tx1">
              <a:alpha val="6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77" name="Free-form: Shape 276">
            <a:extLst>
              <a:ext uri="{FF2B5EF4-FFF2-40B4-BE49-F238E27FC236}">
                <a16:creationId xmlns:a16="http://schemas.microsoft.com/office/drawing/2014/main" id="{14A76485-7F8D-074F-CC03-4578DE1AA193}"/>
              </a:ext>
            </a:extLst>
          </p:cNvPr>
          <p:cNvSpPr/>
          <p:nvPr/>
        </p:nvSpPr>
        <p:spPr>
          <a:xfrm>
            <a:off x="1871780" y="2254435"/>
            <a:ext cx="433137" cy="770022"/>
          </a:xfrm>
          <a:custGeom>
            <a:avLst/>
            <a:gdLst>
              <a:gd name="csX0" fmla="*/ 581793 w 697572"/>
              <a:gd name="csY0" fmla="*/ 1234401 h 1240128"/>
              <a:gd name="csX1" fmla="*/ 577427 w 697572"/>
              <a:gd name="csY1" fmla="*/ 1234156 h 1240128"/>
              <a:gd name="csX2" fmla="*/ 559133 w 697572"/>
              <a:gd name="csY2" fmla="*/ 1230909 h 1240128"/>
              <a:gd name="csX3" fmla="*/ 516706 w 697572"/>
              <a:gd name="csY3" fmla="*/ 1235117 h 1240128"/>
              <a:gd name="csX4" fmla="*/ 475244 w 697572"/>
              <a:gd name="csY4" fmla="*/ 1237506 h 1240128"/>
              <a:gd name="csX5" fmla="*/ 371154 w 697572"/>
              <a:gd name="csY5" fmla="*/ 1239428 h 1240128"/>
              <a:gd name="csX6" fmla="*/ 276813 w 697572"/>
              <a:gd name="csY6" fmla="*/ 1237654 h 1240128"/>
              <a:gd name="csX7" fmla="*/ 268212 w 697572"/>
              <a:gd name="csY7" fmla="*/ 1237635 h 1240128"/>
              <a:gd name="csX8" fmla="*/ 262072 w 697572"/>
              <a:gd name="csY8" fmla="*/ 1237523 h 1240128"/>
              <a:gd name="csX9" fmla="*/ 195111 w 697572"/>
              <a:gd name="csY9" fmla="*/ 1232775 h 1240128"/>
              <a:gd name="csX10" fmla="*/ 145060 w 697572"/>
              <a:gd name="csY10" fmla="*/ 1230076 h 1240128"/>
              <a:gd name="csX11" fmla="*/ 114933 w 697572"/>
              <a:gd name="csY11" fmla="*/ 1225832 h 1240128"/>
              <a:gd name="csX12" fmla="*/ 72642 w 697572"/>
              <a:gd name="csY12" fmla="*/ 1220237 h 1240128"/>
              <a:gd name="csX13" fmla="*/ 10894 w 697572"/>
              <a:gd name="csY13" fmla="*/ 1205737 h 1240128"/>
              <a:gd name="csX14" fmla="*/ 5856 w 697572"/>
              <a:gd name="csY14" fmla="*/ 1202799 h 1240128"/>
              <a:gd name="csX15" fmla="*/ 40 w 697572"/>
              <a:gd name="csY15" fmla="*/ 1174450 h 1240128"/>
              <a:gd name="csX16" fmla="*/ 19831 w 697572"/>
              <a:gd name="csY16" fmla="*/ 1118410 h 1240128"/>
              <a:gd name="csX17" fmla="*/ 22004 w 697572"/>
              <a:gd name="csY17" fmla="*/ 1107240 h 1240128"/>
              <a:gd name="csX18" fmla="*/ 25947 w 697572"/>
              <a:gd name="csY18" fmla="*/ 1038650 h 1240128"/>
              <a:gd name="csX19" fmla="*/ 58234 w 697572"/>
              <a:gd name="csY19" fmla="*/ 988567 h 1240128"/>
              <a:gd name="csX20" fmla="*/ 118645 w 697572"/>
              <a:gd name="csY20" fmla="*/ 928298 h 1240128"/>
              <a:gd name="csX21" fmla="*/ 126320 w 697572"/>
              <a:gd name="csY21" fmla="*/ 892015 h 1240128"/>
              <a:gd name="csX22" fmla="*/ 120345 w 697572"/>
              <a:gd name="csY22" fmla="*/ 872258 h 1240128"/>
              <a:gd name="csX23" fmla="*/ 125668 w 697572"/>
              <a:gd name="csY23" fmla="*/ 861640 h 1240128"/>
              <a:gd name="csX24" fmla="*/ 154237 w 697572"/>
              <a:gd name="csY24" fmla="*/ 850716 h 1240128"/>
              <a:gd name="csX25" fmla="*/ 170248 w 697572"/>
              <a:gd name="csY25" fmla="*/ 836767 h 1240128"/>
              <a:gd name="csX26" fmla="*/ 187840 w 697572"/>
              <a:gd name="csY26" fmla="*/ 796341 h 1240128"/>
              <a:gd name="csX27" fmla="*/ 209346 w 697572"/>
              <a:gd name="csY27" fmla="*/ 743126 h 1240128"/>
              <a:gd name="csX28" fmla="*/ 210630 w 697572"/>
              <a:gd name="csY28" fmla="*/ 737219 h 1240128"/>
              <a:gd name="csX29" fmla="*/ 213836 w 697572"/>
              <a:gd name="csY29" fmla="*/ 720505 h 1240128"/>
              <a:gd name="csX30" fmla="*/ 227791 w 697572"/>
              <a:gd name="csY30" fmla="*/ 667353 h 1240128"/>
              <a:gd name="csX31" fmla="*/ 241013 w 697572"/>
              <a:gd name="csY31" fmla="*/ 599151 h 1240128"/>
              <a:gd name="csX32" fmla="*/ 247322 w 697572"/>
              <a:gd name="csY32" fmla="*/ 542242 h 1240128"/>
              <a:gd name="csX33" fmla="*/ 247948 w 697572"/>
              <a:gd name="csY33" fmla="*/ 499296 h 1240128"/>
              <a:gd name="csX34" fmla="*/ 247577 w 697572"/>
              <a:gd name="csY34" fmla="*/ 470384 h 1240128"/>
              <a:gd name="csX35" fmla="*/ 238877 w 697572"/>
              <a:gd name="csY35" fmla="*/ 460987 h 1240128"/>
              <a:gd name="csX36" fmla="*/ 222040 w 697572"/>
              <a:gd name="csY36" fmla="*/ 458353 h 1240128"/>
              <a:gd name="csX37" fmla="*/ 172193 w 697572"/>
              <a:gd name="csY37" fmla="*/ 433714 h 1240128"/>
              <a:gd name="csX38" fmla="*/ 168410 w 697572"/>
              <a:gd name="csY38" fmla="*/ 396591 h 1240128"/>
              <a:gd name="csX39" fmla="*/ 209826 w 697572"/>
              <a:gd name="csY39" fmla="*/ 367773 h 1240128"/>
              <a:gd name="csX40" fmla="*/ 250732 w 697572"/>
              <a:gd name="csY40" fmla="*/ 355208 h 1240128"/>
              <a:gd name="csX41" fmla="*/ 258289 w 697572"/>
              <a:gd name="csY41" fmla="*/ 350426 h 1240128"/>
              <a:gd name="csX42" fmla="*/ 233274 w 697572"/>
              <a:gd name="csY42" fmla="*/ 333513 h 1240128"/>
              <a:gd name="csX43" fmla="*/ 229677 w 697572"/>
              <a:gd name="csY43" fmla="*/ 333922 h 1240128"/>
              <a:gd name="csX44" fmla="*/ 230149 w 697572"/>
              <a:gd name="csY44" fmla="*/ 332979 h 1240128"/>
              <a:gd name="csX45" fmla="*/ 227053 w 697572"/>
              <a:gd name="csY45" fmla="*/ 327076 h 1240128"/>
              <a:gd name="csX46" fmla="*/ 196769 w 697572"/>
              <a:gd name="csY46" fmla="*/ 291380 h 1240128"/>
              <a:gd name="csX47" fmla="*/ 184389 w 697572"/>
              <a:gd name="csY47" fmla="*/ 264042 h 1240128"/>
              <a:gd name="csX48" fmla="*/ 180630 w 697572"/>
              <a:gd name="csY48" fmla="*/ 257839 h 1240128"/>
              <a:gd name="csX49" fmla="*/ 176231 w 697572"/>
              <a:gd name="csY49" fmla="*/ 250643 h 1240128"/>
              <a:gd name="csX50" fmla="*/ 170073 w 697572"/>
              <a:gd name="csY50" fmla="*/ 146723 h 1240128"/>
              <a:gd name="csX51" fmla="*/ 180929 w 697572"/>
              <a:gd name="csY51" fmla="*/ 114280 h 1240128"/>
              <a:gd name="csX52" fmla="*/ 180839 w 697572"/>
              <a:gd name="csY52" fmla="*/ 101501 h 1240128"/>
              <a:gd name="csX53" fmla="*/ 233536 w 697572"/>
              <a:gd name="csY53" fmla="*/ 39653 h 1240128"/>
              <a:gd name="csX54" fmla="*/ 347618 w 697572"/>
              <a:gd name="csY54" fmla="*/ 35 h 1240128"/>
              <a:gd name="csX55" fmla="*/ 437139 w 697572"/>
              <a:gd name="csY55" fmla="*/ 22396 h 1240128"/>
              <a:gd name="csX56" fmla="*/ 529052 w 697572"/>
              <a:gd name="csY56" fmla="*/ 131093 h 1240128"/>
              <a:gd name="csX57" fmla="*/ 518497 w 697572"/>
              <a:gd name="csY57" fmla="*/ 271517 h 1240128"/>
              <a:gd name="csX58" fmla="*/ 500808 w 697572"/>
              <a:gd name="csY58" fmla="*/ 287385 h 1240128"/>
              <a:gd name="csX59" fmla="*/ 472948 w 697572"/>
              <a:gd name="csY59" fmla="*/ 323290 h 1240128"/>
              <a:gd name="csX60" fmla="*/ 469385 w 697572"/>
              <a:gd name="csY60" fmla="*/ 331565 h 1240128"/>
              <a:gd name="csX61" fmla="*/ 468293 w 697572"/>
              <a:gd name="csY61" fmla="*/ 331320 h 1240128"/>
              <a:gd name="csX62" fmla="*/ 459542 w 697572"/>
              <a:gd name="csY62" fmla="*/ 338942 h 1240128"/>
              <a:gd name="csX63" fmla="*/ 458492 w 697572"/>
              <a:gd name="csY63" fmla="*/ 338671 h 1240128"/>
              <a:gd name="csX64" fmla="*/ 436978 w 697572"/>
              <a:gd name="csY64" fmla="*/ 352226 h 1240128"/>
              <a:gd name="csX65" fmla="*/ 472329 w 697572"/>
              <a:gd name="csY65" fmla="*/ 362890 h 1240128"/>
              <a:gd name="csX66" fmla="*/ 523779 w 697572"/>
              <a:gd name="csY66" fmla="*/ 391962 h 1240128"/>
              <a:gd name="csX67" fmla="*/ 527344 w 697572"/>
              <a:gd name="csY67" fmla="*/ 430096 h 1240128"/>
              <a:gd name="csX68" fmla="*/ 504112 w 697572"/>
              <a:gd name="csY68" fmla="*/ 449628 h 1240128"/>
              <a:gd name="csX69" fmla="*/ 459430 w 697572"/>
              <a:gd name="csY69" fmla="*/ 461116 h 1240128"/>
              <a:gd name="csX70" fmla="*/ 446666 w 697572"/>
              <a:gd name="csY70" fmla="*/ 474229 h 1240128"/>
              <a:gd name="csX71" fmla="*/ 449133 w 697572"/>
              <a:gd name="csY71" fmla="*/ 531639 h 1240128"/>
              <a:gd name="csX72" fmla="*/ 454546 w 697572"/>
              <a:gd name="csY72" fmla="*/ 588688 h 1240128"/>
              <a:gd name="csX73" fmla="*/ 466126 w 697572"/>
              <a:gd name="csY73" fmla="*/ 649736 h 1240128"/>
              <a:gd name="csX74" fmla="*/ 512154 w 697572"/>
              <a:gd name="csY74" fmla="*/ 794006 h 1240128"/>
              <a:gd name="csX75" fmla="*/ 525763 w 697572"/>
              <a:gd name="csY75" fmla="*/ 834323 h 1240128"/>
              <a:gd name="csX76" fmla="*/ 530555 w 697572"/>
              <a:gd name="csY76" fmla="*/ 845114 h 1240128"/>
              <a:gd name="csX77" fmla="*/ 554424 w 697572"/>
              <a:gd name="csY77" fmla="*/ 856618 h 1240128"/>
              <a:gd name="csX78" fmla="*/ 572880 w 697572"/>
              <a:gd name="csY78" fmla="*/ 862546 h 1240128"/>
              <a:gd name="csX79" fmla="*/ 578643 w 697572"/>
              <a:gd name="csY79" fmla="*/ 880396 h 1240128"/>
              <a:gd name="csX80" fmla="*/ 572188 w 697572"/>
              <a:gd name="csY80" fmla="*/ 899820 h 1240128"/>
              <a:gd name="csX81" fmla="*/ 582698 w 697572"/>
              <a:gd name="csY81" fmla="*/ 930382 h 1240128"/>
              <a:gd name="csX82" fmla="*/ 604747 w 697572"/>
              <a:gd name="csY82" fmla="*/ 960852 h 1240128"/>
              <a:gd name="csX83" fmla="*/ 613863 w 697572"/>
              <a:gd name="csY83" fmla="*/ 968311 h 1240128"/>
              <a:gd name="csX84" fmla="*/ 629435 w 697572"/>
              <a:gd name="csY84" fmla="*/ 981186 h 1240128"/>
              <a:gd name="csX85" fmla="*/ 633611 w 697572"/>
              <a:gd name="csY85" fmla="*/ 985609 h 1240128"/>
              <a:gd name="csX86" fmla="*/ 673790 w 697572"/>
              <a:gd name="csY86" fmla="*/ 1049348 h 1240128"/>
              <a:gd name="csX87" fmla="*/ 675873 w 697572"/>
              <a:gd name="csY87" fmla="*/ 1092839 h 1240128"/>
              <a:gd name="csX88" fmla="*/ 681668 w 697572"/>
              <a:gd name="csY88" fmla="*/ 1129292 h 1240128"/>
              <a:gd name="csX89" fmla="*/ 697338 w 697572"/>
              <a:gd name="csY89" fmla="*/ 1196079 h 1240128"/>
              <a:gd name="csX90" fmla="*/ 690637 w 697572"/>
              <a:gd name="csY90" fmla="*/ 1205035 h 1240128"/>
              <a:gd name="csX91" fmla="*/ 639777 w 697572"/>
              <a:gd name="csY91" fmla="*/ 1217994 h 1240128"/>
              <a:gd name="csX92" fmla="*/ 587072 w 697572"/>
              <a:gd name="csY92" fmla="*/ 1227761 h 1240128"/>
              <a:gd name="csX93" fmla="*/ 581793 w 697572"/>
              <a:gd name="csY93" fmla="*/ 1234401 h 1240128"/>
              <a:gd name="csX94" fmla="*/ 357446 w 697572"/>
              <a:gd name="csY94" fmla="*/ 903795 h 1240128"/>
              <a:gd name="csX95" fmla="*/ 344445 w 697572"/>
              <a:gd name="csY95" fmla="*/ 903795 h 1240128"/>
              <a:gd name="csX96" fmla="*/ 349212 w 697572"/>
              <a:gd name="csY96" fmla="*/ 950515 h 1240128"/>
              <a:gd name="csX97" fmla="*/ 349538 w 697572"/>
              <a:gd name="csY97" fmla="*/ 1069392 h 1240128"/>
              <a:gd name="csX98" fmla="*/ 349415 w 697572"/>
              <a:gd name="csY98" fmla="*/ 1108925 h 1240128"/>
              <a:gd name="csX99" fmla="*/ 647726 w 697572"/>
              <a:gd name="csY99" fmla="*/ 1089872 h 1240128"/>
              <a:gd name="csX100" fmla="*/ 647654 w 697572"/>
              <a:gd name="csY100" fmla="*/ 1076267 h 1240128"/>
              <a:gd name="csX101" fmla="*/ 610267 w 697572"/>
              <a:gd name="csY101" fmla="*/ 994126 h 1240128"/>
              <a:gd name="csX102" fmla="*/ 571459 w 697572"/>
              <a:gd name="csY102" fmla="*/ 956568 h 1240128"/>
              <a:gd name="csX103" fmla="*/ 541653 w 697572"/>
              <a:gd name="csY103" fmla="*/ 901544 h 1240128"/>
              <a:gd name="csX104" fmla="*/ 539477 w 697572"/>
              <a:gd name="csY104" fmla="*/ 895908 h 1240128"/>
              <a:gd name="csX105" fmla="*/ 357446 w 697572"/>
              <a:gd name="csY105" fmla="*/ 903795 h 1240128"/>
              <a:gd name="csX106" fmla="*/ 300108 w 697572"/>
              <a:gd name="csY106" fmla="*/ 85260 h 1240128"/>
              <a:gd name="csX107" fmla="*/ 290213 w 697572"/>
              <a:gd name="csY107" fmla="*/ 127888 h 1240128"/>
              <a:gd name="csX108" fmla="*/ 331056 w 697572"/>
              <a:gd name="csY108" fmla="*/ 214168 h 1240128"/>
              <a:gd name="csX109" fmla="*/ 424717 w 697572"/>
              <a:gd name="csY109" fmla="*/ 245160 h 1240128"/>
              <a:gd name="csX110" fmla="*/ 496752 w 697572"/>
              <a:gd name="csY110" fmla="*/ 141256 h 1240128"/>
              <a:gd name="csX111" fmla="*/ 390320 w 697572"/>
              <a:gd name="csY111" fmla="*/ 43995 h 1240128"/>
              <a:gd name="csX112" fmla="*/ 300108 w 697572"/>
              <a:gd name="csY112" fmla="*/ 85260 h 1240128"/>
              <a:gd name="csX113" fmla="*/ 343360 w 697572"/>
              <a:gd name="csY113" fmla="*/ 634332 h 1240128"/>
              <a:gd name="csX114" fmla="*/ 340877 w 697572"/>
              <a:gd name="csY114" fmla="*/ 732259 h 1240128"/>
              <a:gd name="csX115" fmla="*/ 338360 w 697572"/>
              <a:gd name="csY115" fmla="*/ 810538 h 1240128"/>
              <a:gd name="csX116" fmla="*/ 337115 w 697572"/>
              <a:gd name="csY116" fmla="*/ 817736 h 1240128"/>
              <a:gd name="csX117" fmla="*/ 336516 w 697572"/>
              <a:gd name="csY117" fmla="*/ 863022 h 1240128"/>
              <a:gd name="csX118" fmla="*/ 343436 w 697572"/>
              <a:gd name="csY118" fmla="*/ 864027 h 1240128"/>
              <a:gd name="csX119" fmla="*/ 406718 w 697572"/>
              <a:gd name="csY119" fmla="*/ 862982 h 1240128"/>
              <a:gd name="csX120" fmla="*/ 456888 w 697572"/>
              <a:gd name="csY120" fmla="*/ 861794 h 1240128"/>
              <a:gd name="csX121" fmla="*/ 495873 w 697572"/>
              <a:gd name="csY121" fmla="*/ 863963 h 1240128"/>
              <a:gd name="csX122" fmla="*/ 509286 w 697572"/>
              <a:gd name="csY122" fmla="*/ 863595 h 1240128"/>
              <a:gd name="csX123" fmla="*/ 516956 w 697572"/>
              <a:gd name="csY123" fmla="*/ 856791 h 1240128"/>
              <a:gd name="csX124" fmla="*/ 513920 w 697572"/>
              <a:gd name="csY124" fmla="*/ 848709 h 1240128"/>
              <a:gd name="csX125" fmla="*/ 506683 w 697572"/>
              <a:gd name="csY125" fmla="*/ 839054 h 1240128"/>
              <a:gd name="csX126" fmla="*/ 488629 w 697572"/>
              <a:gd name="csY126" fmla="*/ 799037 h 1240128"/>
              <a:gd name="csX127" fmla="*/ 456922 w 697572"/>
              <a:gd name="csY127" fmla="*/ 696297 h 1240128"/>
              <a:gd name="csX128" fmla="*/ 441346 w 697572"/>
              <a:gd name="csY128" fmla="*/ 619885 h 1240128"/>
              <a:gd name="csX129" fmla="*/ 435963 w 697572"/>
              <a:gd name="csY129" fmla="*/ 582529 h 1240128"/>
              <a:gd name="csX130" fmla="*/ 429497 w 697572"/>
              <a:gd name="csY130" fmla="*/ 521990 h 1240128"/>
              <a:gd name="csX131" fmla="*/ 426887 w 697572"/>
              <a:gd name="csY131" fmla="*/ 471989 h 1240128"/>
              <a:gd name="csX132" fmla="*/ 413744 w 697572"/>
              <a:gd name="csY132" fmla="*/ 461077 h 1240128"/>
              <a:gd name="csX133" fmla="*/ 353573 w 697572"/>
              <a:gd name="csY133" fmla="*/ 461120 h 1240128"/>
              <a:gd name="csX134" fmla="*/ 344160 w 697572"/>
              <a:gd name="csY134" fmla="*/ 462286 h 1240128"/>
              <a:gd name="csX135" fmla="*/ 343404 w 697572"/>
              <a:gd name="csY135" fmla="*/ 469192 h 1240128"/>
              <a:gd name="csX136" fmla="*/ 343469 w 697572"/>
              <a:gd name="csY136" fmla="*/ 574797 h 1240128"/>
              <a:gd name="csX137" fmla="*/ 345522 w 697572"/>
              <a:gd name="csY137" fmla="*/ 591669 h 1240128"/>
              <a:gd name="csX138" fmla="*/ 343360 w 697572"/>
              <a:gd name="csY138" fmla="*/ 634332 h 1240128"/>
              <a:gd name="csX139" fmla="*/ 416946 w 697572"/>
              <a:gd name="csY139" fmla="*/ 385943 h 1240128"/>
              <a:gd name="csX140" fmla="*/ 401091 w 697572"/>
              <a:gd name="csY140" fmla="*/ 387162 h 1240128"/>
              <a:gd name="csX141" fmla="*/ 369218 w 697572"/>
              <a:gd name="csY141" fmla="*/ 387708 h 1240128"/>
              <a:gd name="csX142" fmla="*/ 351833 w 697572"/>
              <a:gd name="csY142" fmla="*/ 398991 h 1240128"/>
              <a:gd name="csX143" fmla="*/ 349778 w 697572"/>
              <a:gd name="csY143" fmla="*/ 426021 h 1240128"/>
              <a:gd name="csX144" fmla="*/ 361839 w 697572"/>
              <a:gd name="csY144" fmla="*/ 426538 h 1240128"/>
              <a:gd name="csX145" fmla="*/ 455022 w 697572"/>
              <a:gd name="csY145" fmla="*/ 426922 h 1240128"/>
              <a:gd name="csX146" fmla="*/ 481958 w 697572"/>
              <a:gd name="csY146" fmla="*/ 426527 h 1240128"/>
              <a:gd name="csX147" fmla="*/ 499817 w 697572"/>
              <a:gd name="csY147" fmla="*/ 419888 h 1240128"/>
              <a:gd name="csX148" fmla="*/ 499439 w 697572"/>
              <a:gd name="csY148" fmla="*/ 400719 h 1240128"/>
              <a:gd name="csX149" fmla="*/ 468062 w 697572"/>
              <a:gd name="csY149" fmla="*/ 387775 h 1240128"/>
              <a:gd name="csX150" fmla="*/ 416946 w 697572"/>
              <a:gd name="csY150" fmla="*/ 385943 h 1240128"/>
              <a:gd name="csX151" fmla="*/ 636802 w 697572"/>
              <a:gd name="csY151" fmla="*/ 1190940 h 1240128"/>
              <a:gd name="csX152" fmla="*/ 666492 w 697572"/>
              <a:gd name="csY152" fmla="*/ 1184186 h 1240128"/>
              <a:gd name="csX153" fmla="*/ 674465 w 697572"/>
              <a:gd name="csY153" fmla="*/ 1170880 h 1240128"/>
              <a:gd name="csX154" fmla="*/ 662462 w 697572"/>
              <a:gd name="csY154" fmla="*/ 1141464 h 1240128"/>
              <a:gd name="csX155" fmla="*/ 645564 w 697572"/>
              <a:gd name="csY155" fmla="*/ 1131937 h 1240128"/>
              <a:gd name="csX156" fmla="*/ 627387 w 697572"/>
              <a:gd name="csY156" fmla="*/ 1133618 h 1240128"/>
              <a:gd name="csX157" fmla="*/ 583917 w 697572"/>
              <a:gd name="csY157" fmla="*/ 1139222 h 1240128"/>
              <a:gd name="csX158" fmla="*/ 543741 w 697572"/>
              <a:gd name="csY158" fmla="*/ 1141869 h 1240128"/>
              <a:gd name="csX159" fmla="*/ 512146 w 697572"/>
              <a:gd name="csY159" fmla="*/ 1144418 h 1240128"/>
              <a:gd name="csX160" fmla="*/ 447711 w 697572"/>
              <a:gd name="csY160" fmla="*/ 1148973 h 1240128"/>
              <a:gd name="csX161" fmla="*/ 351979 w 697572"/>
              <a:gd name="csY161" fmla="*/ 1149200 h 1240128"/>
              <a:gd name="csX162" fmla="*/ 338443 w 697572"/>
              <a:gd name="csY162" fmla="*/ 1150040 h 1240128"/>
              <a:gd name="csX163" fmla="*/ 338451 w 697572"/>
              <a:gd name="csY163" fmla="*/ 1190780 h 1240128"/>
              <a:gd name="csX164" fmla="*/ 351082 w 697572"/>
              <a:gd name="csY164" fmla="*/ 1207015 h 1240128"/>
              <a:gd name="csX165" fmla="*/ 358298 w 697572"/>
              <a:gd name="csY165" fmla="*/ 1208094 h 1240128"/>
              <a:gd name="csX166" fmla="*/ 521229 w 697572"/>
              <a:gd name="csY166" fmla="*/ 1205646 h 1240128"/>
              <a:gd name="csX167" fmla="*/ 523675 w 697572"/>
              <a:gd name="csY167" fmla="*/ 1205490 h 1240128"/>
              <a:gd name="csX168" fmla="*/ 580423 w 697572"/>
              <a:gd name="csY168" fmla="*/ 1198350 h 1240128"/>
              <a:gd name="csX169" fmla="*/ 636802 w 697572"/>
              <a:gd name="csY169" fmla="*/ 1190940 h 124012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</a:cxnLst>
            <a:rect l="l" t="t" r="r" b="b"/>
            <a:pathLst>
              <a:path w="697572" h="1240128">
                <a:moveTo>
                  <a:pt x="581793" y="1234401"/>
                </a:moveTo>
                <a:cubicBezTo>
                  <a:pt x="580693" y="1234661"/>
                  <a:pt x="579594" y="1234922"/>
                  <a:pt x="577427" y="1234156"/>
                </a:cubicBezTo>
                <a:cubicBezTo>
                  <a:pt x="571216" y="1227899"/>
                  <a:pt x="564912" y="1230441"/>
                  <a:pt x="559133" y="1230909"/>
                </a:cubicBezTo>
                <a:cubicBezTo>
                  <a:pt x="544971" y="1232056"/>
                  <a:pt x="530869" y="1233971"/>
                  <a:pt x="516706" y="1235117"/>
                </a:cubicBezTo>
                <a:cubicBezTo>
                  <a:pt x="502910" y="1236232"/>
                  <a:pt x="489077" y="1237097"/>
                  <a:pt x="475244" y="1237506"/>
                </a:cubicBezTo>
                <a:cubicBezTo>
                  <a:pt x="440539" y="1238535"/>
                  <a:pt x="405696" y="1241458"/>
                  <a:pt x="371154" y="1239428"/>
                </a:cubicBezTo>
                <a:cubicBezTo>
                  <a:pt x="339645" y="1237575"/>
                  <a:pt x="308239" y="1238753"/>
                  <a:pt x="276813" y="1237654"/>
                </a:cubicBezTo>
                <a:cubicBezTo>
                  <a:pt x="273949" y="1237553"/>
                  <a:pt x="271079" y="1237652"/>
                  <a:pt x="268212" y="1237635"/>
                </a:cubicBezTo>
                <a:cubicBezTo>
                  <a:pt x="266165" y="1237623"/>
                  <a:pt x="264111" y="1237668"/>
                  <a:pt x="262072" y="1237523"/>
                </a:cubicBezTo>
                <a:cubicBezTo>
                  <a:pt x="239751" y="1235944"/>
                  <a:pt x="217441" y="1234201"/>
                  <a:pt x="195111" y="1232775"/>
                </a:cubicBezTo>
                <a:cubicBezTo>
                  <a:pt x="178437" y="1231710"/>
                  <a:pt x="161712" y="1231378"/>
                  <a:pt x="145060" y="1230076"/>
                </a:cubicBezTo>
                <a:cubicBezTo>
                  <a:pt x="134969" y="1229287"/>
                  <a:pt x="124987" y="1227177"/>
                  <a:pt x="114933" y="1225832"/>
                </a:cubicBezTo>
                <a:cubicBezTo>
                  <a:pt x="100834" y="1223946"/>
                  <a:pt x="86554" y="1223022"/>
                  <a:pt x="72642" y="1220237"/>
                </a:cubicBezTo>
                <a:cubicBezTo>
                  <a:pt x="51920" y="1216091"/>
                  <a:pt x="31443" y="1210723"/>
                  <a:pt x="10894" y="1205737"/>
                </a:cubicBezTo>
                <a:cubicBezTo>
                  <a:pt x="9027" y="1205284"/>
                  <a:pt x="6196" y="1204140"/>
                  <a:pt x="5856" y="1202799"/>
                </a:cubicBezTo>
                <a:cubicBezTo>
                  <a:pt x="3474" y="1193418"/>
                  <a:pt x="-438" y="1183796"/>
                  <a:pt x="40" y="1174450"/>
                </a:cubicBezTo>
                <a:cubicBezTo>
                  <a:pt x="1079" y="1154149"/>
                  <a:pt x="9757" y="1135843"/>
                  <a:pt x="19831" y="1118410"/>
                </a:cubicBezTo>
                <a:cubicBezTo>
                  <a:pt x="21968" y="1114713"/>
                  <a:pt x="22970" y="1111858"/>
                  <a:pt x="22004" y="1107240"/>
                </a:cubicBezTo>
                <a:cubicBezTo>
                  <a:pt x="17168" y="1084118"/>
                  <a:pt x="17717" y="1061168"/>
                  <a:pt x="25947" y="1038650"/>
                </a:cubicBezTo>
                <a:cubicBezTo>
                  <a:pt x="32954" y="1019481"/>
                  <a:pt x="44478" y="1003118"/>
                  <a:pt x="58234" y="988567"/>
                </a:cubicBezTo>
                <a:cubicBezTo>
                  <a:pt x="77769" y="967902"/>
                  <a:pt x="97978" y="947832"/>
                  <a:pt x="118645" y="928298"/>
                </a:cubicBezTo>
                <a:cubicBezTo>
                  <a:pt x="130104" y="917467"/>
                  <a:pt x="131835" y="905961"/>
                  <a:pt x="126320" y="892015"/>
                </a:cubicBezTo>
                <a:cubicBezTo>
                  <a:pt x="123798" y="885637"/>
                  <a:pt x="122123" y="878904"/>
                  <a:pt x="120345" y="872258"/>
                </a:cubicBezTo>
                <a:cubicBezTo>
                  <a:pt x="119029" y="867341"/>
                  <a:pt x="120162" y="863613"/>
                  <a:pt x="125668" y="861640"/>
                </a:cubicBezTo>
                <a:cubicBezTo>
                  <a:pt x="135266" y="858201"/>
                  <a:pt x="144535" y="853788"/>
                  <a:pt x="154237" y="850716"/>
                </a:cubicBezTo>
                <a:cubicBezTo>
                  <a:pt x="161882" y="848296"/>
                  <a:pt x="167110" y="843897"/>
                  <a:pt x="170248" y="836767"/>
                </a:cubicBezTo>
                <a:cubicBezTo>
                  <a:pt x="176168" y="823316"/>
                  <a:pt x="182193" y="809907"/>
                  <a:pt x="187840" y="796341"/>
                </a:cubicBezTo>
                <a:cubicBezTo>
                  <a:pt x="195194" y="778679"/>
                  <a:pt x="202250" y="760894"/>
                  <a:pt x="209346" y="743126"/>
                </a:cubicBezTo>
                <a:cubicBezTo>
                  <a:pt x="210083" y="741280"/>
                  <a:pt x="210252" y="739200"/>
                  <a:pt x="210630" y="737219"/>
                </a:cubicBezTo>
                <a:cubicBezTo>
                  <a:pt x="211694" y="731645"/>
                  <a:pt x="212425" y="725987"/>
                  <a:pt x="213836" y="720505"/>
                </a:cubicBezTo>
                <a:cubicBezTo>
                  <a:pt x="218406" y="702764"/>
                  <a:pt x="223811" y="685219"/>
                  <a:pt x="227791" y="667353"/>
                </a:cubicBezTo>
                <a:cubicBezTo>
                  <a:pt x="232826" y="644755"/>
                  <a:pt x="237367" y="622009"/>
                  <a:pt x="241013" y="599151"/>
                </a:cubicBezTo>
                <a:cubicBezTo>
                  <a:pt x="244018" y="580319"/>
                  <a:pt x="246001" y="561272"/>
                  <a:pt x="247322" y="542242"/>
                </a:cubicBezTo>
                <a:cubicBezTo>
                  <a:pt x="248312" y="527975"/>
                  <a:pt x="246344" y="513451"/>
                  <a:pt x="247948" y="499296"/>
                </a:cubicBezTo>
                <a:cubicBezTo>
                  <a:pt x="249066" y="489432"/>
                  <a:pt x="247923" y="480014"/>
                  <a:pt x="247577" y="470384"/>
                </a:cubicBezTo>
                <a:cubicBezTo>
                  <a:pt x="247364" y="464453"/>
                  <a:pt x="245121" y="461397"/>
                  <a:pt x="238877" y="460987"/>
                </a:cubicBezTo>
                <a:cubicBezTo>
                  <a:pt x="233224" y="460615"/>
                  <a:pt x="227461" y="459920"/>
                  <a:pt x="222040" y="458353"/>
                </a:cubicBezTo>
                <a:cubicBezTo>
                  <a:pt x="203991" y="453134"/>
                  <a:pt x="185737" y="448229"/>
                  <a:pt x="172193" y="433714"/>
                </a:cubicBezTo>
                <a:cubicBezTo>
                  <a:pt x="162702" y="423544"/>
                  <a:pt x="160887" y="408134"/>
                  <a:pt x="168410" y="396591"/>
                </a:cubicBezTo>
                <a:cubicBezTo>
                  <a:pt x="178294" y="381428"/>
                  <a:pt x="193736" y="373793"/>
                  <a:pt x="209826" y="367773"/>
                </a:cubicBezTo>
                <a:cubicBezTo>
                  <a:pt x="223159" y="362784"/>
                  <a:pt x="237124" y="359493"/>
                  <a:pt x="250732" y="355208"/>
                </a:cubicBezTo>
                <a:cubicBezTo>
                  <a:pt x="253085" y="354467"/>
                  <a:pt x="255058" y="352518"/>
                  <a:pt x="258289" y="350426"/>
                </a:cubicBezTo>
                <a:cubicBezTo>
                  <a:pt x="250173" y="342610"/>
                  <a:pt x="241833" y="337880"/>
                  <a:pt x="233274" y="333513"/>
                </a:cubicBezTo>
                <a:cubicBezTo>
                  <a:pt x="232377" y="333055"/>
                  <a:pt x="230890" y="333758"/>
                  <a:pt x="229677" y="333922"/>
                </a:cubicBezTo>
                <a:cubicBezTo>
                  <a:pt x="229677" y="333922"/>
                  <a:pt x="230323" y="333834"/>
                  <a:pt x="230149" y="332979"/>
                </a:cubicBezTo>
                <a:cubicBezTo>
                  <a:pt x="229023" y="330409"/>
                  <a:pt x="228502" y="328059"/>
                  <a:pt x="227053" y="327076"/>
                </a:cubicBezTo>
                <a:cubicBezTo>
                  <a:pt x="213615" y="317962"/>
                  <a:pt x="204643" y="305332"/>
                  <a:pt x="196769" y="291380"/>
                </a:cubicBezTo>
                <a:cubicBezTo>
                  <a:pt x="191792" y="282564"/>
                  <a:pt x="185421" y="274665"/>
                  <a:pt x="184389" y="264042"/>
                </a:cubicBezTo>
                <a:cubicBezTo>
                  <a:pt x="184179" y="261874"/>
                  <a:pt x="181925" y="259908"/>
                  <a:pt x="180630" y="257839"/>
                </a:cubicBezTo>
                <a:cubicBezTo>
                  <a:pt x="179137" y="255454"/>
                  <a:pt x="177317" y="253204"/>
                  <a:pt x="176231" y="250643"/>
                </a:cubicBezTo>
                <a:cubicBezTo>
                  <a:pt x="161865" y="216749"/>
                  <a:pt x="159606" y="182060"/>
                  <a:pt x="170073" y="146723"/>
                </a:cubicBezTo>
                <a:cubicBezTo>
                  <a:pt x="173311" y="135795"/>
                  <a:pt x="177248" y="125074"/>
                  <a:pt x="180929" y="114280"/>
                </a:cubicBezTo>
                <a:cubicBezTo>
                  <a:pt x="182396" y="109981"/>
                  <a:pt x="183922" y="105742"/>
                  <a:pt x="180839" y="101501"/>
                </a:cubicBezTo>
                <a:cubicBezTo>
                  <a:pt x="192473" y="75833"/>
                  <a:pt x="211344" y="56271"/>
                  <a:pt x="233536" y="39653"/>
                </a:cubicBezTo>
                <a:cubicBezTo>
                  <a:pt x="267321" y="14353"/>
                  <a:pt x="305621" y="873"/>
                  <a:pt x="347618" y="35"/>
                </a:cubicBezTo>
                <a:cubicBezTo>
                  <a:pt x="379125" y="-593"/>
                  <a:pt x="409214" y="7172"/>
                  <a:pt x="437139" y="22396"/>
                </a:cubicBezTo>
                <a:cubicBezTo>
                  <a:pt x="481844" y="46766"/>
                  <a:pt x="514077" y="82116"/>
                  <a:pt x="529052" y="131093"/>
                </a:cubicBezTo>
                <a:cubicBezTo>
                  <a:pt x="543544" y="178495"/>
                  <a:pt x="541630" y="225548"/>
                  <a:pt x="518497" y="271517"/>
                </a:cubicBezTo>
                <a:cubicBezTo>
                  <a:pt x="511428" y="277096"/>
                  <a:pt x="503848" y="281136"/>
                  <a:pt x="500808" y="287385"/>
                </a:cubicBezTo>
                <a:cubicBezTo>
                  <a:pt x="493932" y="301522"/>
                  <a:pt x="483805" y="312513"/>
                  <a:pt x="472948" y="323290"/>
                </a:cubicBezTo>
                <a:cubicBezTo>
                  <a:pt x="470972" y="325253"/>
                  <a:pt x="470533" y="328767"/>
                  <a:pt x="469385" y="331565"/>
                </a:cubicBezTo>
                <a:cubicBezTo>
                  <a:pt x="469385" y="331565"/>
                  <a:pt x="469172" y="331584"/>
                  <a:pt x="468293" y="331320"/>
                </a:cubicBezTo>
                <a:cubicBezTo>
                  <a:pt x="461937" y="330836"/>
                  <a:pt x="458618" y="332772"/>
                  <a:pt x="459542" y="338942"/>
                </a:cubicBezTo>
                <a:cubicBezTo>
                  <a:pt x="459542" y="338942"/>
                  <a:pt x="459473" y="338913"/>
                  <a:pt x="458492" y="338671"/>
                </a:cubicBezTo>
                <a:cubicBezTo>
                  <a:pt x="450936" y="342653"/>
                  <a:pt x="440712" y="341355"/>
                  <a:pt x="436978" y="352226"/>
                </a:cubicBezTo>
                <a:cubicBezTo>
                  <a:pt x="449178" y="355911"/>
                  <a:pt x="460733" y="359469"/>
                  <a:pt x="472329" y="362890"/>
                </a:cubicBezTo>
                <a:cubicBezTo>
                  <a:pt x="491728" y="368613"/>
                  <a:pt x="510182" y="375784"/>
                  <a:pt x="523779" y="391962"/>
                </a:cubicBezTo>
                <a:cubicBezTo>
                  <a:pt x="535849" y="406326"/>
                  <a:pt x="534845" y="420076"/>
                  <a:pt x="527344" y="430096"/>
                </a:cubicBezTo>
                <a:cubicBezTo>
                  <a:pt x="521323" y="438139"/>
                  <a:pt x="513928" y="445333"/>
                  <a:pt x="504112" y="449628"/>
                </a:cubicBezTo>
                <a:cubicBezTo>
                  <a:pt x="489776" y="455901"/>
                  <a:pt x="475173" y="460486"/>
                  <a:pt x="459430" y="461116"/>
                </a:cubicBezTo>
                <a:cubicBezTo>
                  <a:pt x="448415" y="461557"/>
                  <a:pt x="446384" y="463369"/>
                  <a:pt x="446666" y="474229"/>
                </a:cubicBezTo>
                <a:cubicBezTo>
                  <a:pt x="447164" y="493376"/>
                  <a:pt x="447839" y="512533"/>
                  <a:pt x="449133" y="531639"/>
                </a:cubicBezTo>
                <a:cubicBezTo>
                  <a:pt x="450424" y="550696"/>
                  <a:pt x="451783" y="569809"/>
                  <a:pt x="454546" y="588688"/>
                </a:cubicBezTo>
                <a:cubicBezTo>
                  <a:pt x="457543" y="609164"/>
                  <a:pt x="462165" y="629403"/>
                  <a:pt x="466126" y="649736"/>
                </a:cubicBezTo>
                <a:cubicBezTo>
                  <a:pt x="475845" y="699621"/>
                  <a:pt x="493414" y="746980"/>
                  <a:pt x="512154" y="794006"/>
                </a:cubicBezTo>
                <a:cubicBezTo>
                  <a:pt x="517387" y="807138"/>
                  <a:pt x="525145" y="819463"/>
                  <a:pt x="525763" y="834323"/>
                </a:cubicBezTo>
                <a:cubicBezTo>
                  <a:pt x="525919" y="838081"/>
                  <a:pt x="527739" y="843335"/>
                  <a:pt x="530555" y="845114"/>
                </a:cubicBezTo>
                <a:cubicBezTo>
                  <a:pt x="537981" y="849801"/>
                  <a:pt x="546243" y="853278"/>
                  <a:pt x="554424" y="856618"/>
                </a:cubicBezTo>
                <a:cubicBezTo>
                  <a:pt x="560391" y="859054"/>
                  <a:pt x="567041" y="859887"/>
                  <a:pt x="572880" y="862546"/>
                </a:cubicBezTo>
                <a:cubicBezTo>
                  <a:pt x="581470" y="866458"/>
                  <a:pt x="582467" y="871415"/>
                  <a:pt x="578643" y="880396"/>
                </a:cubicBezTo>
                <a:cubicBezTo>
                  <a:pt x="575969" y="886677"/>
                  <a:pt x="572900" y="893182"/>
                  <a:pt x="572188" y="899820"/>
                </a:cubicBezTo>
                <a:cubicBezTo>
                  <a:pt x="570960" y="911271"/>
                  <a:pt x="576506" y="920944"/>
                  <a:pt x="582698" y="930382"/>
                </a:cubicBezTo>
                <a:cubicBezTo>
                  <a:pt x="589569" y="940856"/>
                  <a:pt x="600933" y="947930"/>
                  <a:pt x="604747" y="960852"/>
                </a:cubicBezTo>
                <a:cubicBezTo>
                  <a:pt x="605684" y="964030"/>
                  <a:pt x="610294" y="967128"/>
                  <a:pt x="613863" y="968311"/>
                </a:cubicBezTo>
                <a:cubicBezTo>
                  <a:pt x="620963" y="970665"/>
                  <a:pt x="625924" y="974774"/>
                  <a:pt x="629435" y="981186"/>
                </a:cubicBezTo>
                <a:cubicBezTo>
                  <a:pt x="630381" y="982913"/>
                  <a:pt x="631977" y="984459"/>
                  <a:pt x="633611" y="985609"/>
                </a:cubicBezTo>
                <a:cubicBezTo>
                  <a:pt x="655878" y="1001272"/>
                  <a:pt x="668032" y="1023762"/>
                  <a:pt x="673790" y="1049348"/>
                </a:cubicBezTo>
                <a:cubicBezTo>
                  <a:pt x="676936" y="1063327"/>
                  <a:pt x="679769" y="1077802"/>
                  <a:pt x="675873" y="1092839"/>
                </a:cubicBezTo>
                <a:cubicBezTo>
                  <a:pt x="672677" y="1105174"/>
                  <a:pt x="673042" y="1116963"/>
                  <a:pt x="681668" y="1129292"/>
                </a:cubicBezTo>
                <a:cubicBezTo>
                  <a:pt x="695321" y="1148802"/>
                  <a:pt x="698550" y="1172235"/>
                  <a:pt x="697338" y="1196079"/>
                </a:cubicBezTo>
                <a:cubicBezTo>
                  <a:pt x="697087" y="1201014"/>
                  <a:pt x="694979" y="1203886"/>
                  <a:pt x="690637" y="1205035"/>
                </a:cubicBezTo>
                <a:cubicBezTo>
                  <a:pt x="673723" y="1209511"/>
                  <a:pt x="656856" y="1214241"/>
                  <a:pt x="639777" y="1217994"/>
                </a:cubicBezTo>
                <a:cubicBezTo>
                  <a:pt x="622334" y="1221827"/>
                  <a:pt x="604691" y="1224790"/>
                  <a:pt x="587072" y="1227761"/>
                </a:cubicBezTo>
                <a:cubicBezTo>
                  <a:pt x="582708" y="1228497"/>
                  <a:pt x="581724" y="1230736"/>
                  <a:pt x="581793" y="1234401"/>
                </a:cubicBezTo>
                <a:moveTo>
                  <a:pt x="357446" y="903795"/>
                </a:moveTo>
                <a:cubicBezTo>
                  <a:pt x="353141" y="903795"/>
                  <a:pt x="348835" y="903795"/>
                  <a:pt x="344445" y="903795"/>
                </a:cubicBezTo>
                <a:cubicBezTo>
                  <a:pt x="346169" y="920562"/>
                  <a:pt x="347908" y="935520"/>
                  <a:pt x="349212" y="950515"/>
                </a:cubicBezTo>
                <a:cubicBezTo>
                  <a:pt x="352656" y="990125"/>
                  <a:pt x="351941" y="1029743"/>
                  <a:pt x="349538" y="1069392"/>
                </a:cubicBezTo>
                <a:cubicBezTo>
                  <a:pt x="348759" y="1082241"/>
                  <a:pt x="349415" y="1095176"/>
                  <a:pt x="349415" y="1108925"/>
                </a:cubicBezTo>
                <a:cubicBezTo>
                  <a:pt x="449467" y="1111953"/>
                  <a:pt x="548509" y="1104712"/>
                  <a:pt x="647726" y="1089872"/>
                </a:cubicBezTo>
                <a:cubicBezTo>
                  <a:pt x="647726" y="1084313"/>
                  <a:pt x="648180" y="1080225"/>
                  <a:pt x="647654" y="1076267"/>
                </a:cubicBezTo>
                <a:cubicBezTo>
                  <a:pt x="643515" y="1045124"/>
                  <a:pt x="633172" y="1016714"/>
                  <a:pt x="610267" y="994126"/>
                </a:cubicBezTo>
                <a:cubicBezTo>
                  <a:pt x="597451" y="981485"/>
                  <a:pt x="584392" y="969090"/>
                  <a:pt x="571459" y="956568"/>
                </a:cubicBezTo>
                <a:cubicBezTo>
                  <a:pt x="555751" y="941359"/>
                  <a:pt x="544836" y="923558"/>
                  <a:pt x="541653" y="901544"/>
                </a:cubicBezTo>
                <a:cubicBezTo>
                  <a:pt x="541430" y="900007"/>
                  <a:pt x="540528" y="898570"/>
                  <a:pt x="539477" y="895908"/>
                </a:cubicBezTo>
                <a:cubicBezTo>
                  <a:pt x="479736" y="901652"/>
                  <a:pt x="419815" y="904536"/>
                  <a:pt x="357446" y="903795"/>
                </a:cubicBezTo>
                <a:moveTo>
                  <a:pt x="300108" y="85260"/>
                </a:moveTo>
                <a:cubicBezTo>
                  <a:pt x="293656" y="98745"/>
                  <a:pt x="289202" y="113094"/>
                  <a:pt x="290213" y="127888"/>
                </a:cubicBezTo>
                <a:cubicBezTo>
                  <a:pt x="292527" y="161736"/>
                  <a:pt x="304185" y="191723"/>
                  <a:pt x="331056" y="214168"/>
                </a:cubicBezTo>
                <a:cubicBezTo>
                  <a:pt x="358172" y="236816"/>
                  <a:pt x="388435" y="249934"/>
                  <a:pt x="424717" y="245160"/>
                </a:cubicBezTo>
                <a:cubicBezTo>
                  <a:pt x="468593" y="239387"/>
                  <a:pt x="509574" y="203365"/>
                  <a:pt x="496752" y="141256"/>
                </a:cubicBezTo>
                <a:cubicBezTo>
                  <a:pt x="487021" y="94124"/>
                  <a:pt x="447261" y="51874"/>
                  <a:pt x="390320" y="43995"/>
                </a:cubicBezTo>
                <a:cubicBezTo>
                  <a:pt x="353241" y="38865"/>
                  <a:pt x="321136" y="48750"/>
                  <a:pt x="300108" y="85260"/>
                </a:cubicBezTo>
                <a:moveTo>
                  <a:pt x="343360" y="634332"/>
                </a:moveTo>
                <a:cubicBezTo>
                  <a:pt x="342539" y="666975"/>
                  <a:pt x="341785" y="699619"/>
                  <a:pt x="340877" y="732259"/>
                </a:cubicBezTo>
                <a:cubicBezTo>
                  <a:pt x="340151" y="758355"/>
                  <a:pt x="339265" y="784447"/>
                  <a:pt x="338360" y="810538"/>
                </a:cubicBezTo>
                <a:cubicBezTo>
                  <a:pt x="338277" y="812948"/>
                  <a:pt x="337465" y="815325"/>
                  <a:pt x="337115" y="817736"/>
                </a:cubicBezTo>
                <a:cubicBezTo>
                  <a:pt x="334935" y="832710"/>
                  <a:pt x="336026" y="847647"/>
                  <a:pt x="336516" y="863022"/>
                </a:cubicBezTo>
                <a:cubicBezTo>
                  <a:pt x="339537" y="863479"/>
                  <a:pt x="341490" y="864053"/>
                  <a:pt x="343436" y="864027"/>
                </a:cubicBezTo>
                <a:cubicBezTo>
                  <a:pt x="364531" y="863739"/>
                  <a:pt x="385626" y="863422"/>
                  <a:pt x="406718" y="862982"/>
                </a:cubicBezTo>
                <a:cubicBezTo>
                  <a:pt x="423444" y="862634"/>
                  <a:pt x="440168" y="861675"/>
                  <a:pt x="456888" y="861794"/>
                </a:cubicBezTo>
                <a:cubicBezTo>
                  <a:pt x="469887" y="861886"/>
                  <a:pt x="482872" y="863302"/>
                  <a:pt x="495873" y="863963"/>
                </a:cubicBezTo>
                <a:cubicBezTo>
                  <a:pt x="500358" y="864191"/>
                  <a:pt x="505108" y="864773"/>
                  <a:pt x="509286" y="863595"/>
                </a:cubicBezTo>
                <a:cubicBezTo>
                  <a:pt x="512346" y="862732"/>
                  <a:pt x="515714" y="859703"/>
                  <a:pt x="516956" y="856791"/>
                </a:cubicBezTo>
                <a:cubicBezTo>
                  <a:pt x="517783" y="854851"/>
                  <a:pt x="515475" y="851192"/>
                  <a:pt x="513920" y="848709"/>
                </a:cubicBezTo>
                <a:cubicBezTo>
                  <a:pt x="511791" y="845308"/>
                  <a:pt x="508393" y="842606"/>
                  <a:pt x="506683" y="839054"/>
                </a:cubicBezTo>
                <a:cubicBezTo>
                  <a:pt x="500331" y="825864"/>
                  <a:pt x="493224" y="812855"/>
                  <a:pt x="488629" y="799037"/>
                </a:cubicBezTo>
                <a:cubicBezTo>
                  <a:pt x="477322" y="765031"/>
                  <a:pt x="466537" y="730814"/>
                  <a:pt x="456922" y="696297"/>
                </a:cubicBezTo>
                <a:cubicBezTo>
                  <a:pt x="449953" y="671276"/>
                  <a:pt x="443477" y="646020"/>
                  <a:pt x="441346" y="619885"/>
                </a:cubicBezTo>
                <a:cubicBezTo>
                  <a:pt x="440327" y="607371"/>
                  <a:pt x="437466" y="595018"/>
                  <a:pt x="435963" y="582529"/>
                </a:cubicBezTo>
                <a:cubicBezTo>
                  <a:pt x="433539" y="562380"/>
                  <a:pt x="431154" y="542212"/>
                  <a:pt x="429497" y="521990"/>
                </a:cubicBezTo>
                <a:cubicBezTo>
                  <a:pt x="428135" y="505363"/>
                  <a:pt x="428437" y="488593"/>
                  <a:pt x="426887" y="471989"/>
                </a:cubicBezTo>
                <a:cubicBezTo>
                  <a:pt x="425874" y="461140"/>
                  <a:pt x="424983" y="461120"/>
                  <a:pt x="413744" y="461077"/>
                </a:cubicBezTo>
                <a:cubicBezTo>
                  <a:pt x="393687" y="461000"/>
                  <a:pt x="373630" y="461011"/>
                  <a:pt x="353573" y="461120"/>
                </a:cubicBezTo>
                <a:cubicBezTo>
                  <a:pt x="350472" y="461137"/>
                  <a:pt x="347374" y="461869"/>
                  <a:pt x="344160" y="462286"/>
                </a:cubicBezTo>
                <a:cubicBezTo>
                  <a:pt x="343828" y="465198"/>
                  <a:pt x="343406" y="467195"/>
                  <a:pt x="343404" y="469192"/>
                </a:cubicBezTo>
                <a:cubicBezTo>
                  <a:pt x="343360" y="504394"/>
                  <a:pt x="343267" y="539596"/>
                  <a:pt x="343469" y="574797"/>
                </a:cubicBezTo>
                <a:cubicBezTo>
                  <a:pt x="343501" y="580426"/>
                  <a:pt x="345652" y="586065"/>
                  <a:pt x="345522" y="591669"/>
                </a:cubicBezTo>
                <a:cubicBezTo>
                  <a:pt x="345214" y="605082"/>
                  <a:pt x="344131" y="618478"/>
                  <a:pt x="343360" y="634332"/>
                </a:cubicBezTo>
                <a:moveTo>
                  <a:pt x="416946" y="385943"/>
                </a:moveTo>
                <a:cubicBezTo>
                  <a:pt x="411661" y="386365"/>
                  <a:pt x="406384" y="387006"/>
                  <a:pt x="401091" y="387162"/>
                </a:cubicBezTo>
                <a:cubicBezTo>
                  <a:pt x="390470" y="387477"/>
                  <a:pt x="379841" y="387447"/>
                  <a:pt x="369218" y="387708"/>
                </a:cubicBezTo>
                <a:cubicBezTo>
                  <a:pt x="361167" y="387906"/>
                  <a:pt x="354429" y="391368"/>
                  <a:pt x="351833" y="398991"/>
                </a:cubicBezTo>
                <a:cubicBezTo>
                  <a:pt x="348989" y="407342"/>
                  <a:pt x="347050" y="416214"/>
                  <a:pt x="349778" y="426021"/>
                </a:cubicBezTo>
                <a:cubicBezTo>
                  <a:pt x="353876" y="426204"/>
                  <a:pt x="357857" y="426517"/>
                  <a:pt x="361839" y="426538"/>
                </a:cubicBezTo>
                <a:cubicBezTo>
                  <a:pt x="392900" y="426701"/>
                  <a:pt x="423961" y="426826"/>
                  <a:pt x="455022" y="426922"/>
                </a:cubicBezTo>
                <a:cubicBezTo>
                  <a:pt x="464013" y="426950"/>
                  <a:pt x="473106" y="427654"/>
                  <a:pt x="481958" y="426527"/>
                </a:cubicBezTo>
                <a:cubicBezTo>
                  <a:pt x="488144" y="425740"/>
                  <a:pt x="494821" y="423501"/>
                  <a:pt x="499817" y="419888"/>
                </a:cubicBezTo>
                <a:cubicBezTo>
                  <a:pt x="507869" y="414066"/>
                  <a:pt x="507286" y="406755"/>
                  <a:pt x="499439" y="400719"/>
                </a:cubicBezTo>
                <a:cubicBezTo>
                  <a:pt x="490179" y="393597"/>
                  <a:pt x="479486" y="388885"/>
                  <a:pt x="468062" y="387775"/>
                </a:cubicBezTo>
                <a:cubicBezTo>
                  <a:pt x="451873" y="386202"/>
                  <a:pt x="435520" y="386321"/>
                  <a:pt x="416946" y="385943"/>
                </a:cubicBezTo>
                <a:moveTo>
                  <a:pt x="636802" y="1190940"/>
                </a:moveTo>
                <a:cubicBezTo>
                  <a:pt x="646709" y="1188723"/>
                  <a:pt x="656705" y="1186841"/>
                  <a:pt x="666492" y="1184186"/>
                </a:cubicBezTo>
                <a:cubicBezTo>
                  <a:pt x="674710" y="1181958"/>
                  <a:pt x="676989" y="1178509"/>
                  <a:pt x="674465" y="1170880"/>
                </a:cubicBezTo>
                <a:cubicBezTo>
                  <a:pt x="671144" y="1160843"/>
                  <a:pt x="667026" y="1151009"/>
                  <a:pt x="662462" y="1141464"/>
                </a:cubicBezTo>
                <a:cubicBezTo>
                  <a:pt x="659273" y="1134795"/>
                  <a:pt x="653671" y="1130908"/>
                  <a:pt x="645564" y="1131937"/>
                </a:cubicBezTo>
                <a:cubicBezTo>
                  <a:pt x="639532" y="1132703"/>
                  <a:pt x="633423" y="1132867"/>
                  <a:pt x="627387" y="1133618"/>
                </a:cubicBezTo>
                <a:cubicBezTo>
                  <a:pt x="612888" y="1135421"/>
                  <a:pt x="598449" y="1137770"/>
                  <a:pt x="583917" y="1139222"/>
                </a:cubicBezTo>
                <a:cubicBezTo>
                  <a:pt x="570571" y="1140557"/>
                  <a:pt x="557130" y="1140930"/>
                  <a:pt x="543741" y="1141869"/>
                </a:cubicBezTo>
                <a:cubicBezTo>
                  <a:pt x="533202" y="1142610"/>
                  <a:pt x="522682" y="1143623"/>
                  <a:pt x="512146" y="1144418"/>
                </a:cubicBezTo>
                <a:cubicBezTo>
                  <a:pt x="490671" y="1146038"/>
                  <a:pt x="469214" y="1148450"/>
                  <a:pt x="447711" y="1148973"/>
                </a:cubicBezTo>
                <a:cubicBezTo>
                  <a:pt x="415817" y="1149749"/>
                  <a:pt x="383891" y="1149136"/>
                  <a:pt x="351979" y="1149200"/>
                </a:cubicBezTo>
                <a:cubicBezTo>
                  <a:pt x="347698" y="1149209"/>
                  <a:pt x="343419" y="1149717"/>
                  <a:pt x="338443" y="1150040"/>
                </a:cubicBezTo>
                <a:cubicBezTo>
                  <a:pt x="338443" y="1164651"/>
                  <a:pt x="338413" y="1177715"/>
                  <a:pt x="338451" y="1190780"/>
                </a:cubicBezTo>
                <a:cubicBezTo>
                  <a:pt x="338490" y="1204031"/>
                  <a:pt x="338512" y="1204062"/>
                  <a:pt x="351082" y="1207015"/>
                </a:cubicBezTo>
                <a:cubicBezTo>
                  <a:pt x="353445" y="1207570"/>
                  <a:pt x="355895" y="1208128"/>
                  <a:pt x="358298" y="1208094"/>
                </a:cubicBezTo>
                <a:cubicBezTo>
                  <a:pt x="412608" y="1207329"/>
                  <a:pt x="466919" y="1206484"/>
                  <a:pt x="521229" y="1205646"/>
                </a:cubicBezTo>
                <a:cubicBezTo>
                  <a:pt x="522045" y="1205634"/>
                  <a:pt x="522865" y="1205591"/>
                  <a:pt x="523675" y="1205490"/>
                </a:cubicBezTo>
                <a:cubicBezTo>
                  <a:pt x="542593" y="1203123"/>
                  <a:pt x="561519" y="1200820"/>
                  <a:pt x="580423" y="1198350"/>
                </a:cubicBezTo>
                <a:cubicBezTo>
                  <a:pt x="598523" y="1195985"/>
                  <a:pt x="616599" y="1193446"/>
                  <a:pt x="636802" y="1190940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78" name="Free-form: Shape 277">
            <a:extLst>
              <a:ext uri="{FF2B5EF4-FFF2-40B4-BE49-F238E27FC236}">
                <a16:creationId xmlns:a16="http://schemas.microsoft.com/office/drawing/2014/main" id="{4E59B4A7-052B-7E40-CDCC-BA11B723CD64}"/>
              </a:ext>
            </a:extLst>
          </p:cNvPr>
          <p:cNvSpPr/>
          <p:nvPr/>
        </p:nvSpPr>
        <p:spPr>
          <a:xfrm>
            <a:off x="2123688" y="3025873"/>
            <a:ext cx="17183" cy="1817"/>
          </a:xfrm>
          <a:custGeom>
            <a:avLst/>
            <a:gdLst>
              <a:gd name="csX0" fmla="*/ 0 w 27674"/>
              <a:gd name="csY0" fmla="*/ 2915 h 2925"/>
              <a:gd name="csX1" fmla="*/ 27675 w 27674"/>
              <a:gd name="csY1" fmla="*/ 1550 h 2925"/>
              <a:gd name="csX2" fmla="*/ 0 w 27674"/>
              <a:gd name="csY2" fmla="*/ 2915 h 292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27674" h="2925">
                <a:moveTo>
                  <a:pt x="0" y="2915"/>
                </a:moveTo>
                <a:cubicBezTo>
                  <a:pt x="8211" y="-1939"/>
                  <a:pt x="17625" y="498"/>
                  <a:pt x="27675" y="1550"/>
                </a:cubicBezTo>
                <a:cubicBezTo>
                  <a:pt x="19225" y="2593"/>
                  <a:pt x="10029" y="2999"/>
                  <a:pt x="0" y="2915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79" name="Free-form: Shape 278">
            <a:extLst>
              <a:ext uri="{FF2B5EF4-FFF2-40B4-BE49-F238E27FC236}">
                <a16:creationId xmlns:a16="http://schemas.microsoft.com/office/drawing/2014/main" id="{ACC0EFF4-884F-63A1-6010-799A21866A42}"/>
              </a:ext>
            </a:extLst>
          </p:cNvPr>
          <p:cNvSpPr/>
          <p:nvPr/>
        </p:nvSpPr>
        <p:spPr>
          <a:xfrm>
            <a:off x="2076384" y="3026897"/>
            <a:ext cx="11179" cy="700"/>
          </a:xfrm>
          <a:custGeom>
            <a:avLst/>
            <a:gdLst>
              <a:gd name="csX0" fmla="*/ 0 w 18003"/>
              <a:gd name="csY0" fmla="*/ 1050 h 1128"/>
              <a:gd name="csX1" fmla="*/ 18004 w 18003"/>
              <a:gd name="csY1" fmla="*/ 93 h 1128"/>
              <a:gd name="csX2" fmla="*/ 0 w 18003"/>
              <a:gd name="csY2" fmla="*/ 1050 h 112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8003" h="1128">
                <a:moveTo>
                  <a:pt x="0" y="1050"/>
                </a:moveTo>
                <a:cubicBezTo>
                  <a:pt x="5276" y="182"/>
                  <a:pt x="11306" y="-189"/>
                  <a:pt x="18004" y="93"/>
                </a:cubicBezTo>
                <a:cubicBezTo>
                  <a:pt x="12699" y="1013"/>
                  <a:pt x="6726" y="1280"/>
                  <a:pt x="0" y="1050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0" name="Free-form: Shape 279">
            <a:extLst>
              <a:ext uri="{FF2B5EF4-FFF2-40B4-BE49-F238E27FC236}">
                <a16:creationId xmlns:a16="http://schemas.microsoft.com/office/drawing/2014/main" id="{F146BA92-8672-7BF0-EEFE-7FE8A3814A0B}"/>
              </a:ext>
            </a:extLst>
          </p:cNvPr>
          <p:cNvSpPr/>
          <p:nvPr/>
        </p:nvSpPr>
        <p:spPr>
          <a:xfrm>
            <a:off x="2157351" y="2460097"/>
            <a:ext cx="5257" cy="4867"/>
          </a:xfrm>
          <a:custGeom>
            <a:avLst/>
            <a:gdLst>
              <a:gd name="csX0" fmla="*/ 473 w 8466"/>
              <a:gd name="csY0" fmla="*/ 7839 h 7838"/>
              <a:gd name="csX1" fmla="*/ 8466 w 8466"/>
              <a:gd name="csY1" fmla="*/ 61 h 7838"/>
              <a:gd name="csX2" fmla="*/ 473 w 8466"/>
              <a:gd name="csY2" fmla="*/ 7839 h 783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66" h="7838">
                <a:moveTo>
                  <a:pt x="473" y="7839"/>
                </a:moveTo>
                <a:cubicBezTo>
                  <a:pt x="-1298" y="1550"/>
                  <a:pt x="2020" y="-386"/>
                  <a:pt x="8466" y="61"/>
                </a:cubicBezTo>
                <a:cubicBezTo>
                  <a:pt x="6730" y="2845"/>
                  <a:pt x="4026" y="5401"/>
                  <a:pt x="473" y="7839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1" name="Free-form: Shape 280">
            <a:extLst>
              <a:ext uri="{FF2B5EF4-FFF2-40B4-BE49-F238E27FC236}">
                <a16:creationId xmlns:a16="http://schemas.microsoft.com/office/drawing/2014/main" id="{88405BAB-1C39-23C7-147B-B5B503889127}"/>
              </a:ext>
            </a:extLst>
          </p:cNvPr>
          <p:cNvSpPr/>
          <p:nvPr/>
        </p:nvSpPr>
        <p:spPr>
          <a:xfrm>
            <a:off x="2021355" y="3025383"/>
            <a:ext cx="5265" cy="618"/>
          </a:xfrm>
          <a:custGeom>
            <a:avLst/>
            <a:gdLst>
              <a:gd name="csX0" fmla="*/ 0 w 8480"/>
              <a:gd name="csY0" fmla="*/ 896 h 996"/>
              <a:gd name="csX1" fmla="*/ 8480 w 8480"/>
              <a:gd name="csY1" fmla="*/ 110 h 996"/>
              <a:gd name="csX2" fmla="*/ 0 w 8480"/>
              <a:gd name="csY2" fmla="*/ 896 h 99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80" h="996">
                <a:moveTo>
                  <a:pt x="0" y="896"/>
                </a:moveTo>
                <a:cubicBezTo>
                  <a:pt x="2285" y="115"/>
                  <a:pt x="5130" y="-182"/>
                  <a:pt x="8480" y="110"/>
                </a:cubicBezTo>
                <a:cubicBezTo>
                  <a:pt x="6177" y="927"/>
                  <a:pt x="3368" y="1153"/>
                  <a:pt x="0" y="896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2" name="Free-form: Shape 281">
            <a:extLst>
              <a:ext uri="{FF2B5EF4-FFF2-40B4-BE49-F238E27FC236}">
                <a16:creationId xmlns:a16="http://schemas.microsoft.com/office/drawing/2014/main" id="{4AA5DFA3-2439-F2E4-4AB2-ACB99F5904FE}"/>
              </a:ext>
            </a:extLst>
          </p:cNvPr>
          <p:cNvSpPr/>
          <p:nvPr/>
        </p:nvSpPr>
        <p:spPr>
          <a:xfrm>
            <a:off x="2308116" y="2998854"/>
            <a:ext cx="763" cy="4134"/>
          </a:xfrm>
          <a:custGeom>
            <a:avLst/>
            <a:gdLst>
              <a:gd name="csX0" fmla="*/ 132 w 1229"/>
              <a:gd name="csY0" fmla="*/ 6659 h 6658"/>
              <a:gd name="csX1" fmla="*/ 1107 w 1229"/>
              <a:gd name="csY1" fmla="*/ 0 h 6658"/>
              <a:gd name="csX2" fmla="*/ 132 w 1229"/>
              <a:gd name="csY2" fmla="*/ 6659 h 665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229" h="6658">
                <a:moveTo>
                  <a:pt x="132" y="6659"/>
                </a:moveTo>
                <a:cubicBezTo>
                  <a:pt x="-219" y="4616"/>
                  <a:pt x="139" y="2560"/>
                  <a:pt x="1107" y="0"/>
                </a:cubicBezTo>
                <a:cubicBezTo>
                  <a:pt x="1425" y="1879"/>
                  <a:pt x="1133" y="4263"/>
                  <a:pt x="132" y="6659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3" name="Free-form: Shape 282">
            <a:extLst>
              <a:ext uri="{FF2B5EF4-FFF2-40B4-BE49-F238E27FC236}">
                <a16:creationId xmlns:a16="http://schemas.microsoft.com/office/drawing/2014/main" id="{259C36E7-CE04-D8AD-DBCC-3C1EDB459559}"/>
              </a:ext>
            </a:extLst>
          </p:cNvPr>
          <p:cNvSpPr/>
          <p:nvPr/>
        </p:nvSpPr>
        <p:spPr>
          <a:xfrm>
            <a:off x="2240920" y="3019131"/>
            <a:ext cx="2352" cy="847"/>
          </a:xfrm>
          <a:custGeom>
            <a:avLst/>
            <a:gdLst>
              <a:gd name="csX0" fmla="*/ 0 w 3788"/>
              <a:gd name="csY0" fmla="*/ 1364 h 1364"/>
              <a:gd name="csX1" fmla="*/ 3788 w 3788"/>
              <a:gd name="csY1" fmla="*/ 0 h 1364"/>
              <a:gd name="csX2" fmla="*/ 0 w 3788"/>
              <a:gd name="csY2" fmla="*/ 1364 h 136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788" h="1364">
                <a:moveTo>
                  <a:pt x="0" y="1364"/>
                </a:moveTo>
                <a:cubicBezTo>
                  <a:pt x="856" y="517"/>
                  <a:pt x="2126" y="39"/>
                  <a:pt x="3788" y="0"/>
                </a:cubicBezTo>
                <a:cubicBezTo>
                  <a:pt x="2925" y="870"/>
                  <a:pt x="1670" y="1303"/>
                  <a:pt x="0" y="1364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4" name="Free-form: Shape 283">
            <a:extLst>
              <a:ext uri="{FF2B5EF4-FFF2-40B4-BE49-F238E27FC236}">
                <a16:creationId xmlns:a16="http://schemas.microsoft.com/office/drawing/2014/main" id="{55EF776B-A5DB-ABDC-94FC-D06DD9E1C198}"/>
              </a:ext>
            </a:extLst>
          </p:cNvPr>
          <p:cNvSpPr/>
          <p:nvPr/>
        </p:nvSpPr>
        <p:spPr>
          <a:xfrm>
            <a:off x="1969337" y="3022405"/>
            <a:ext cx="2478" cy="515"/>
          </a:xfrm>
          <a:custGeom>
            <a:avLst/>
            <a:gdLst>
              <a:gd name="csX0" fmla="*/ 0 w 3990"/>
              <a:gd name="csY0" fmla="*/ 719 h 829"/>
              <a:gd name="csX1" fmla="*/ 3990 w 3990"/>
              <a:gd name="csY1" fmla="*/ 119 h 829"/>
              <a:gd name="csX2" fmla="*/ 0 w 3990"/>
              <a:gd name="csY2" fmla="*/ 719 h 82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990" h="829">
                <a:moveTo>
                  <a:pt x="0" y="719"/>
                </a:moveTo>
                <a:cubicBezTo>
                  <a:pt x="982" y="66"/>
                  <a:pt x="2323" y="-163"/>
                  <a:pt x="3990" y="119"/>
                </a:cubicBezTo>
                <a:cubicBezTo>
                  <a:pt x="2998" y="800"/>
                  <a:pt x="1678" y="972"/>
                  <a:pt x="0" y="719"/>
                </a:cubicBezTo>
                <a:close/>
              </a:path>
            </a:pathLst>
          </a:custGeom>
          <a:solidFill>
            <a:srgbClr val="959DA0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5" name="Free-form: Shape 284">
            <a:extLst>
              <a:ext uri="{FF2B5EF4-FFF2-40B4-BE49-F238E27FC236}">
                <a16:creationId xmlns:a16="http://schemas.microsoft.com/office/drawing/2014/main" id="{52684DA4-4C6C-CC51-E684-7FBCF6B36A46}"/>
              </a:ext>
            </a:extLst>
          </p:cNvPr>
          <p:cNvSpPr/>
          <p:nvPr/>
        </p:nvSpPr>
        <p:spPr>
          <a:xfrm>
            <a:off x="2179885" y="3025361"/>
            <a:ext cx="2417" cy="705"/>
          </a:xfrm>
          <a:custGeom>
            <a:avLst/>
            <a:gdLst>
              <a:gd name="csX0" fmla="*/ 0 w 3893"/>
              <a:gd name="csY0" fmla="*/ 1133 h 1135"/>
              <a:gd name="csX1" fmla="*/ 3893 w 3893"/>
              <a:gd name="csY1" fmla="*/ 7 h 1135"/>
              <a:gd name="csX2" fmla="*/ 0 w 3893"/>
              <a:gd name="csY2" fmla="*/ 1133 h 113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893" h="1135">
                <a:moveTo>
                  <a:pt x="0" y="1133"/>
                </a:moveTo>
                <a:cubicBezTo>
                  <a:pt x="902" y="349"/>
                  <a:pt x="2213" y="-60"/>
                  <a:pt x="3893" y="7"/>
                </a:cubicBezTo>
                <a:cubicBezTo>
                  <a:pt x="2978" y="825"/>
                  <a:pt x="1693" y="1167"/>
                  <a:pt x="0" y="1133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6" name="Free-form: Shape 285">
            <a:extLst>
              <a:ext uri="{FF2B5EF4-FFF2-40B4-BE49-F238E27FC236}">
                <a16:creationId xmlns:a16="http://schemas.microsoft.com/office/drawing/2014/main" id="{03BE0E78-C114-0912-D745-E2EEEB7F2668}"/>
              </a:ext>
            </a:extLst>
          </p:cNvPr>
          <p:cNvSpPr/>
          <p:nvPr/>
        </p:nvSpPr>
        <p:spPr>
          <a:xfrm>
            <a:off x="2080289" y="2540697"/>
            <a:ext cx="112588" cy="250407"/>
          </a:xfrm>
          <a:custGeom>
            <a:avLst/>
            <a:gdLst>
              <a:gd name="csX0" fmla="*/ 7554 w 181323"/>
              <a:gd name="csY0" fmla="*/ 172079 h 403282"/>
              <a:gd name="csX1" fmla="*/ 9716 w 181323"/>
              <a:gd name="csY1" fmla="*/ 130641 h 403282"/>
              <a:gd name="csX2" fmla="*/ 7663 w 181323"/>
              <a:gd name="csY2" fmla="*/ 113770 h 403282"/>
              <a:gd name="csX3" fmla="*/ 7598 w 181323"/>
              <a:gd name="csY3" fmla="*/ 8165 h 403282"/>
              <a:gd name="csX4" fmla="*/ 8353 w 181323"/>
              <a:gd name="csY4" fmla="*/ 1259 h 403282"/>
              <a:gd name="csX5" fmla="*/ 17767 w 181323"/>
              <a:gd name="csY5" fmla="*/ 93 h 403282"/>
              <a:gd name="csX6" fmla="*/ 77938 w 181323"/>
              <a:gd name="csY6" fmla="*/ 50 h 403282"/>
              <a:gd name="csX7" fmla="*/ 91081 w 181323"/>
              <a:gd name="csY7" fmla="*/ 10962 h 403282"/>
              <a:gd name="csX8" fmla="*/ 93691 w 181323"/>
              <a:gd name="csY8" fmla="*/ 60963 h 403282"/>
              <a:gd name="csX9" fmla="*/ 100157 w 181323"/>
              <a:gd name="csY9" fmla="*/ 121501 h 403282"/>
              <a:gd name="csX10" fmla="*/ 105540 w 181323"/>
              <a:gd name="csY10" fmla="*/ 158857 h 403282"/>
              <a:gd name="csX11" fmla="*/ 121116 w 181323"/>
              <a:gd name="csY11" fmla="*/ 235269 h 403282"/>
              <a:gd name="csX12" fmla="*/ 152823 w 181323"/>
              <a:gd name="csY12" fmla="*/ 338010 h 403282"/>
              <a:gd name="csX13" fmla="*/ 170877 w 181323"/>
              <a:gd name="csY13" fmla="*/ 378027 h 403282"/>
              <a:gd name="csX14" fmla="*/ 178114 w 181323"/>
              <a:gd name="csY14" fmla="*/ 387682 h 403282"/>
              <a:gd name="csX15" fmla="*/ 181150 w 181323"/>
              <a:gd name="csY15" fmla="*/ 395764 h 403282"/>
              <a:gd name="csX16" fmla="*/ 173480 w 181323"/>
              <a:gd name="csY16" fmla="*/ 402568 h 403282"/>
              <a:gd name="csX17" fmla="*/ 160067 w 181323"/>
              <a:gd name="csY17" fmla="*/ 402936 h 403282"/>
              <a:gd name="csX18" fmla="*/ 121081 w 181323"/>
              <a:gd name="csY18" fmla="*/ 400766 h 403282"/>
              <a:gd name="csX19" fmla="*/ 70912 w 181323"/>
              <a:gd name="csY19" fmla="*/ 401955 h 403282"/>
              <a:gd name="csX20" fmla="*/ 7630 w 181323"/>
              <a:gd name="csY20" fmla="*/ 402999 h 403282"/>
              <a:gd name="csX21" fmla="*/ 710 w 181323"/>
              <a:gd name="csY21" fmla="*/ 401995 h 403282"/>
              <a:gd name="csX22" fmla="*/ 1308 w 181323"/>
              <a:gd name="csY22" fmla="*/ 356708 h 403282"/>
              <a:gd name="csX23" fmla="*/ 2554 w 181323"/>
              <a:gd name="csY23" fmla="*/ 349510 h 403282"/>
              <a:gd name="csX24" fmla="*/ 5071 w 181323"/>
              <a:gd name="csY24" fmla="*/ 271231 h 403282"/>
              <a:gd name="csX25" fmla="*/ 7554 w 181323"/>
              <a:gd name="csY25" fmla="*/ 172079 h 403282"/>
              <a:gd name="csX26" fmla="*/ 98286 w 181323"/>
              <a:gd name="csY26" fmla="*/ 163566 h 403282"/>
              <a:gd name="csX27" fmla="*/ 83497 w 181323"/>
              <a:gd name="csY27" fmla="*/ 8289 h 403282"/>
              <a:gd name="csX28" fmla="*/ 15161 w 181323"/>
              <a:gd name="csY28" fmla="*/ 9148 h 403282"/>
              <a:gd name="csX29" fmla="*/ 15058 w 181323"/>
              <a:gd name="csY29" fmla="*/ 137939 h 403282"/>
              <a:gd name="csX30" fmla="*/ 12252 w 181323"/>
              <a:gd name="csY30" fmla="*/ 266862 h 403282"/>
              <a:gd name="csX31" fmla="*/ 7068 w 181323"/>
              <a:gd name="csY31" fmla="*/ 395996 h 403282"/>
              <a:gd name="csX32" fmla="*/ 171647 w 181323"/>
              <a:gd name="csY32" fmla="*/ 395996 h 403282"/>
              <a:gd name="csX33" fmla="*/ 119950 w 181323"/>
              <a:gd name="csY33" fmla="*/ 259496 h 403282"/>
              <a:gd name="csX34" fmla="*/ 98286 w 181323"/>
              <a:gd name="csY34" fmla="*/ 163566 h 40328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</a:cxnLst>
            <a:rect l="l" t="t" r="r" b="b"/>
            <a:pathLst>
              <a:path w="181323" h="403282">
                <a:moveTo>
                  <a:pt x="7554" y="172079"/>
                </a:moveTo>
                <a:cubicBezTo>
                  <a:pt x="8325" y="157451"/>
                  <a:pt x="9408" y="144055"/>
                  <a:pt x="9716" y="130641"/>
                </a:cubicBezTo>
                <a:cubicBezTo>
                  <a:pt x="9846" y="125037"/>
                  <a:pt x="7695" y="119399"/>
                  <a:pt x="7663" y="113770"/>
                </a:cubicBezTo>
                <a:cubicBezTo>
                  <a:pt x="7461" y="78569"/>
                  <a:pt x="7554" y="43367"/>
                  <a:pt x="7598" y="8165"/>
                </a:cubicBezTo>
                <a:cubicBezTo>
                  <a:pt x="7600" y="6167"/>
                  <a:pt x="8022" y="4170"/>
                  <a:pt x="8353" y="1259"/>
                </a:cubicBezTo>
                <a:cubicBezTo>
                  <a:pt x="11568" y="842"/>
                  <a:pt x="14666" y="109"/>
                  <a:pt x="17767" y="93"/>
                </a:cubicBezTo>
                <a:cubicBezTo>
                  <a:pt x="37824" y="-17"/>
                  <a:pt x="57881" y="-27"/>
                  <a:pt x="77938" y="50"/>
                </a:cubicBezTo>
                <a:cubicBezTo>
                  <a:pt x="89177" y="93"/>
                  <a:pt x="90068" y="113"/>
                  <a:pt x="91081" y="10962"/>
                </a:cubicBezTo>
                <a:cubicBezTo>
                  <a:pt x="92631" y="27565"/>
                  <a:pt x="92329" y="44335"/>
                  <a:pt x="93691" y="60963"/>
                </a:cubicBezTo>
                <a:cubicBezTo>
                  <a:pt x="95348" y="81184"/>
                  <a:pt x="97732" y="101353"/>
                  <a:pt x="100157" y="121501"/>
                </a:cubicBezTo>
                <a:cubicBezTo>
                  <a:pt x="101660" y="133990"/>
                  <a:pt x="104521" y="146343"/>
                  <a:pt x="105540" y="158857"/>
                </a:cubicBezTo>
                <a:cubicBezTo>
                  <a:pt x="107671" y="184993"/>
                  <a:pt x="114147" y="210249"/>
                  <a:pt x="121116" y="235269"/>
                </a:cubicBezTo>
                <a:cubicBezTo>
                  <a:pt x="130731" y="269786"/>
                  <a:pt x="141516" y="304004"/>
                  <a:pt x="152823" y="338010"/>
                </a:cubicBezTo>
                <a:cubicBezTo>
                  <a:pt x="157418" y="351828"/>
                  <a:pt x="164524" y="364837"/>
                  <a:pt x="170877" y="378027"/>
                </a:cubicBezTo>
                <a:cubicBezTo>
                  <a:pt x="172587" y="381579"/>
                  <a:pt x="175985" y="384280"/>
                  <a:pt x="178114" y="387682"/>
                </a:cubicBezTo>
                <a:cubicBezTo>
                  <a:pt x="179669" y="390165"/>
                  <a:pt x="181977" y="393824"/>
                  <a:pt x="181150" y="395764"/>
                </a:cubicBezTo>
                <a:cubicBezTo>
                  <a:pt x="179907" y="398676"/>
                  <a:pt x="176540" y="401705"/>
                  <a:pt x="173480" y="402568"/>
                </a:cubicBezTo>
                <a:cubicBezTo>
                  <a:pt x="169302" y="403746"/>
                  <a:pt x="164551" y="403164"/>
                  <a:pt x="160067" y="402936"/>
                </a:cubicBezTo>
                <a:cubicBezTo>
                  <a:pt x="147066" y="402274"/>
                  <a:pt x="134081" y="400859"/>
                  <a:pt x="121081" y="400766"/>
                </a:cubicBezTo>
                <a:cubicBezTo>
                  <a:pt x="104362" y="400647"/>
                  <a:pt x="87638" y="401607"/>
                  <a:pt x="70912" y="401955"/>
                </a:cubicBezTo>
                <a:cubicBezTo>
                  <a:pt x="49820" y="402394"/>
                  <a:pt x="28725" y="402712"/>
                  <a:pt x="7630" y="402999"/>
                </a:cubicBezTo>
                <a:cubicBezTo>
                  <a:pt x="5684" y="403026"/>
                  <a:pt x="3731" y="402452"/>
                  <a:pt x="710" y="401995"/>
                </a:cubicBezTo>
                <a:cubicBezTo>
                  <a:pt x="219" y="386620"/>
                  <a:pt x="-871" y="371682"/>
                  <a:pt x="1308" y="356708"/>
                </a:cubicBezTo>
                <a:cubicBezTo>
                  <a:pt x="1659" y="354298"/>
                  <a:pt x="2471" y="351920"/>
                  <a:pt x="2554" y="349510"/>
                </a:cubicBezTo>
                <a:cubicBezTo>
                  <a:pt x="3459" y="323419"/>
                  <a:pt x="4345" y="297328"/>
                  <a:pt x="5071" y="271231"/>
                </a:cubicBezTo>
                <a:cubicBezTo>
                  <a:pt x="5979" y="238591"/>
                  <a:pt x="6733" y="205947"/>
                  <a:pt x="7554" y="172079"/>
                </a:cubicBezTo>
                <a:moveTo>
                  <a:pt x="98286" y="163566"/>
                </a:moveTo>
                <a:cubicBezTo>
                  <a:pt x="89288" y="112116"/>
                  <a:pt x="86355" y="60033"/>
                  <a:pt x="83497" y="8289"/>
                </a:cubicBezTo>
                <a:cubicBezTo>
                  <a:pt x="65606" y="5845"/>
                  <a:pt x="24110" y="6470"/>
                  <a:pt x="15161" y="9148"/>
                </a:cubicBezTo>
                <a:cubicBezTo>
                  <a:pt x="15161" y="52045"/>
                  <a:pt x="15527" y="94996"/>
                  <a:pt x="15058" y="137939"/>
                </a:cubicBezTo>
                <a:cubicBezTo>
                  <a:pt x="14587" y="180919"/>
                  <a:pt x="13597" y="223900"/>
                  <a:pt x="12252" y="266862"/>
                </a:cubicBezTo>
                <a:cubicBezTo>
                  <a:pt x="10912" y="309638"/>
                  <a:pt x="8849" y="352391"/>
                  <a:pt x="7068" y="395996"/>
                </a:cubicBezTo>
                <a:cubicBezTo>
                  <a:pt x="62774" y="395996"/>
                  <a:pt x="116821" y="395996"/>
                  <a:pt x="171647" y="395996"/>
                </a:cubicBezTo>
                <a:cubicBezTo>
                  <a:pt x="148550" y="352016"/>
                  <a:pt x="132566" y="306307"/>
                  <a:pt x="119950" y="259496"/>
                </a:cubicBezTo>
                <a:cubicBezTo>
                  <a:pt x="111608" y="228543"/>
                  <a:pt x="105493" y="196989"/>
                  <a:pt x="98286" y="163566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7" name="Free-form: Shape 286">
            <a:extLst>
              <a:ext uri="{FF2B5EF4-FFF2-40B4-BE49-F238E27FC236}">
                <a16:creationId xmlns:a16="http://schemas.microsoft.com/office/drawing/2014/main" id="{9DA604DF-DCC7-A7C6-6588-C0F2667C9E9C}"/>
              </a:ext>
            </a:extLst>
          </p:cNvPr>
          <p:cNvSpPr/>
          <p:nvPr/>
        </p:nvSpPr>
        <p:spPr>
          <a:xfrm>
            <a:off x="2081920" y="2957178"/>
            <a:ext cx="209255" cy="47389"/>
          </a:xfrm>
          <a:custGeom>
            <a:avLst/>
            <a:gdLst>
              <a:gd name="csX0" fmla="*/ 297312 w 337008"/>
              <a:gd name="csY0" fmla="*/ 59188 h 76321"/>
              <a:gd name="csX1" fmla="*/ 241991 w 337008"/>
              <a:gd name="csY1" fmla="*/ 66577 h 76321"/>
              <a:gd name="csX2" fmla="*/ 185243 w 337008"/>
              <a:gd name="csY2" fmla="*/ 73717 h 76321"/>
              <a:gd name="csX3" fmla="*/ 182797 w 337008"/>
              <a:gd name="csY3" fmla="*/ 73873 h 76321"/>
              <a:gd name="csX4" fmla="*/ 19866 w 337008"/>
              <a:gd name="csY4" fmla="*/ 76320 h 76321"/>
              <a:gd name="csX5" fmla="*/ 12650 w 337008"/>
              <a:gd name="csY5" fmla="*/ 75242 h 76321"/>
              <a:gd name="csX6" fmla="*/ 19 w 337008"/>
              <a:gd name="csY6" fmla="*/ 59006 h 76321"/>
              <a:gd name="csX7" fmla="*/ 11 w 337008"/>
              <a:gd name="csY7" fmla="*/ 18266 h 76321"/>
              <a:gd name="csX8" fmla="*/ 13547 w 337008"/>
              <a:gd name="csY8" fmla="*/ 17427 h 76321"/>
              <a:gd name="csX9" fmla="*/ 109279 w 337008"/>
              <a:gd name="csY9" fmla="*/ 17200 h 76321"/>
              <a:gd name="csX10" fmla="*/ 173714 w 337008"/>
              <a:gd name="csY10" fmla="*/ 12645 h 76321"/>
              <a:gd name="csX11" fmla="*/ 205309 w 337008"/>
              <a:gd name="csY11" fmla="*/ 10096 h 76321"/>
              <a:gd name="csX12" fmla="*/ 245485 w 337008"/>
              <a:gd name="csY12" fmla="*/ 7449 h 76321"/>
              <a:gd name="csX13" fmla="*/ 288955 w 337008"/>
              <a:gd name="csY13" fmla="*/ 1844 h 76321"/>
              <a:gd name="csX14" fmla="*/ 307132 w 337008"/>
              <a:gd name="csY14" fmla="*/ 164 h 76321"/>
              <a:gd name="csX15" fmla="*/ 324030 w 337008"/>
              <a:gd name="csY15" fmla="*/ 9691 h 76321"/>
              <a:gd name="csX16" fmla="*/ 336033 w 337008"/>
              <a:gd name="csY16" fmla="*/ 39107 h 76321"/>
              <a:gd name="csX17" fmla="*/ 328060 w 337008"/>
              <a:gd name="csY17" fmla="*/ 52413 h 76321"/>
              <a:gd name="csX18" fmla="*/ 297312 w 337008"/>
              <a:gd name="csY18" fmla="*/ 59188 h 76321"/>
              <a:gd name="csX19" fmla="*/ 207688 w 337008"/>
              <a:gd name="csY19" fmla="*/ 64284 h 76321"/>
              <a:gd name="csX20" fmla="*/ 330050 w 337008"/>
              <a:gd name="csY20" fmla="*/ 45606 h 76321"/>
              <a:gd name="csX21" fmla="*/ 317356 w 337008"/>
              <a:gd name="csY21" fmla="*/ 11297 h 76321"/>
              <a:gd name="csX22" fmla="*/ 304170 w 337008"/>
              <a:gd name="csY22" fmla="*/ 5545 h 76321"/>
              <a:gd name="csX23" fmla="*/ 273851 w 337008"/>
              <a:gd name="csY23" fmla="*/ 10014 h 76321"/>
              <a:gd name="csX24" fmla="*/ 163935 w 337008"/>
              <a:gd name="csY24" fmla="*/ 20274 h 76321"/>
              <a:gd name="csX25" fmla="*/ 17973 w 337008"/>
              <a:gd name="csY25" fmla="*/ 22950 h 76321"/>
              <a:gd name="csX26" fmla="*/ 7372 w 337008"/>
              <a:gd name="csY26" fmla="*/ 23601 h 76321"/>
              <a:gd name="csX27" fmla="*/ 7372 w 337008"/>
              <a:gd name="csY27" fmla="*/ 67898 h 76321"/>
              <a:gd name="csX28" fmla="*/ 207688 w 337008"/>
              <a:gd name="csY28" fmla="*/ 64284 h 7632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</a:cxnLst>
            <a:rect l="l" t="t" r="r" b="b"/>
            <a:pathLst>
              <a:path w="337008" h="76321">
                <a:moveTo>
                  <a:pt x="297312" y="59188"/>
                </a:moveTo>
                <a:cubicBezTo>
                  <a:pt x="278167" y="61672"/>
                  <a:pt x="260091" y="64212"/>
                  <a:pt x="241991" y="66577"/>
                </a:cubicBezTo>
                <a:cubicBezTo>
                  <a:pt x="223087" y="69047"/>
                  <a:pt x="204161" y="71350"/>
                  <a:pt x="185243" y="73717"/>
                </a:cubicBezTo>
                <a:cubicBezTo>
                  <a:pt x="184433" y="73818"/>
                  <a:pt x="183613" y="73861"/>
                  <a:pt x="182797" y="73873"/>
                </a:cubicBezTo>
                <a:cubicBezTo>
                  <a:pt x="128487" y="74710"/>
                  <a:pt x="74176" y="75556"/>
                  <a:pt x="19866" y="76320"/>
                </a:cubicBezTo>
                <a:cubicBezTo>
                  <a:pt x="17463" y="76354"/>
                  <a:pt x="15013" y="75797"/>
                  <a:pt x="12650" y="75242"/>
                </a:cubicBezTo>
                <a:cubicBezTo>
                  <a:pt x="80" y="72288"/>
                  <a:pt x="58" y="72258"/>
                  <a:pt x="19" y="59006"/>
                </a:cubicBezTo>
                <a:cubicBezTo>
                  <a:pt x="-19" y="45942"/>
                  <a:pt x="11" y="32877"/>
                  <a:pt x="11" y="18266"/>
                </a:cubicBezTo>
                <a:cubicBezTo>
                  <a:pt x="4987" y="17944"/>
                  <a:pt x="9266" y="17435"/>
                  <a:pt x="13547" y="17427"/>
                </a:cubicBezTo>
                <a:cubicBezTo>
                  <a:pt x="45459" y="17362"/>
                  <a:pt x="77385" y="17975"/>
                  <a:pt x="109279" y="17200"/>
                </a:cubicBezTo>
                <a:cubicBezTo>
                  <a:pt x="130782" y="16677"/>
                  <a:pt x="152239" y="14265"/>
                  <a:pt x="173714" y="12645"/>
                </a:cubicBezTo>
                <a:cubicBezTo>
                  <a:pt x="184250" y="11850"/>
                  <a:pt x="194770" y="10836"/>
                  <a:pt x="205309" y="10096"/>
                </a:cubicBezTo>
                <a:cubicBezTo>
                  <a:pt x="218698" y="9156"/>
                  <a:pt x="232139" y="8783"/>
                  <a:pt x="245485" y="7449"/>
                </a:cubicBezTo>
                <a:cubicBezTo>
                  <a:pt x="260017" y="5997"/>
                  <a:pt x="274456" y="3648"/>
                  <a:pt x="288955" y="1844"/>
                </a:cubicBezTo>
                <a:cubicBezTo>
                  <a:pt x="294991" y="1094"/>
                  <a:pt x="301100" y="930"/>
                  <a:pt x="307132" y="164"/>
                </a:cubicBezTo>
                <a:cubicBezTo>
                  <a:pt x="315239" y="-865"/>
                  <a:pt x="320841" y="3022"/>
                  <a:pt x="324030" y="9691"/>
                </a:cubicBezTo>
                <a:cubicBezTo>
                  <a:pt x="328594" y="19236"/>
                  <a:pt x="332712" y="29070"/>
                  <a:pt x="336033" y="39107"/>
                </a:cubicBezTo>
                <a:cubicBezTo>
                  <a:pt x="338557" y="46735"/>
                  <a:pt x="336278" y="50185"/>
                  <a:pt x="328060" y="52413"/>
                </a:cubicBezTo>
                <a:cubicBezTo>
                  <a:pt x="318273" y="55068"/>
                  <a:pt x="308277" y="56950"/>
                  <a:pt x="297312" y="59188"/>
                </a:cubicBezTo>
                <a:moveTo>
                  <a:pt x="207688" y="64284"/>
                </a:moveTo>
                <a:cubicBezTo>
                  <a:pt x="248681" y="60632"/>
                  <a:pt x="289317" y="54812"/>
                  <a:pt x="330050" y="45606"/>
                </a:cubicBezTo>
                <a:cubicBezTo>
                  <a:pt x="327603" y="32443"/>
                  <a:pt x="323777" y="21532"/>
                  <a:pt x="317356" y="11297"/>
                </a:cubicBezTo>
                <a:cubicBezTo>
                  <a:pt x="313908" y="5803"/>
                  <a:pt x="310145" y="4465"/>
                  <a:pt x="304170" y="5545"/>
                </a:cubicBezTo>
                <a:cubicBezTo>
                  <a:pt x="294121" y="7361"/>
                  <a:pt x="284007" y="9006"/>
                  <a:pt x="273851" y="10014"/>
                </a:cubicBezTo>
                <a:cubicBezTo>
                  <a:pt x="237233" y="13650"/>
                  <a:pt x="200632" y="17661"/>
                  <a:pt x="163935" y="20274"/>
                </a:cubicBezTo>
                <a:cubicBezTo>
                  <a:pt x="115360" y="23734"/>
                  <a:pt x="66701" y="25937"/>
                  <a:pt x="17973" y="22950"/>
                </a:cubicBezTo>
                <a:cubicBezTo>
                  <a:pt x="14492" y="22737"/>
                  <a:pt x="10959" y="23361"/>
                  <a:pt x="7372" y="23601"/>
                </a:cubicBezTo>
                <a:cubicBezTo>
                  <a:pt x="7372" y="38609"/>
                  <a:pt x="7372" y="52361"/>
                  <a:pt x="7372" y="67898"/>
                </a:cubicBezTo>
                <a:cubicBezTo>
                  <a:pt x="74001" y="69806"/>
                  <a:pt x="139746" y="71025"/>
                  <a:pt x="207688" y="64284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8" name="Free-form: Shape 287">
            <a:extLst>
              <a:ext uri="{FF2B5EF4-FFF2-40B4-BE49-F238E27FC236}">
                <a16:creationId xmlns:a16="http://schemas.microsoft.com/office/drawing/2014/main" id="{D98A1123-0605-4787-79D0-511FBC2BAF29}"/>
              </a:ext>
            </a:extLst>
          </p:cNvPr>
          <p:cNvSpPr/>
          <p:nvPr/>
        </p:nvSpPr>
        <p:spPr>
          <a:xfrm>
            <a:off x="2085653" y="2810724"/>
            <a:ext cx="188426" cy="132688"/>
          </a:xfrm>
          <a:custGeom>
            <a:avLst/>
            <a:gdLst>
              <a:gd name="csX0" fmla="*/ 14160 w 303463"/>
              <a:gd name="csY0" fmla="*/ 7889 h 213695"/>
              <a:gd name="csX1" fmla="*/ 195033 w 303463"/>
              <a:gd name="csY1" fmla="*/ 0 h 213695"/>
              <a:gd name="csX2" fmla="*/ 197208 w 303463"/>
              <a:gd name="csY2" fmla="*/ 5635 h 213695"/>
              <a:gd name="csX3" fmla="*/ 227014 w 303463"/>
              <a:gd name="csY3" fmla="*/ 60660 h 213695"/>
              <a:gd name="csX4" fmla="*/ 265823 w 303463"/>
              <a:gd name="csY4" fmla="*/ 98217 h 213695"/>
              <a:gd name="csX5" fmla="*/ 303210 w 303463"/>
              <a:gd name="csY5" fmla="*/ 180358 h 213695"/>
              <a:gd name="csX6" fmla="*/ 303282 w 303463"/>
              <a:gd name="csY6" fmla="*/ 193964 h 213695"/>
              <a:gd name="csX7" fmla="*/ 4971 w 303463"/>
              <a:gd name="csY7" fmla="*/ 213017 h 213695"/>
              <a:gd name="csX8" fmla="*/ 5093 w 303463"/>
              <a:gd name="csY8" fmla="*/ 173484 h 213695"/>
              <a:gd name="csX9" fmla="*/ 4767 w 303463"/>
              <a:gd name="csY9" fmla="*/ 54607 h 213695"/>
              <a:gd name="csX10" fmla="*/ 0 w 303463"/>
              <a:gd name="csY10" fmla="*/ 7887 h 213695"/>
              <a:gd name="csX11" fmla="*/ 14160 w 303463"/>
              <a:gd name="csY11" fmla="*/ 7889 h 21369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303463" h="213695">
                <a:moveTo>
                  <a:pt x="14160" y="7889"/>
                </a:moveTo>
                <a:cubicBezTo>
                  <a:pt x="75371" y="8627"/>
                  <a:pt x="135292" y="5744"/>
                  <a:pt x="195033" y="0"/>
                </a:cubicBezTo>
                <a:cubicBezTo>
                  <a:pt x="196084" y="2662"/>
                  <a:pt x="196986" y="4099"/>
                  <a:pt x="197208" y="5635"/>
                </a:cubicBezTo>
                <a:cubicBezTo>
                  <a:pt x="200391" y="27650"/>
                  <a:pt x="211307" y="45450"/>
                  <a:pt x="227014" y="60660"/>
                </a:cubicBezTo>
                <a:cubicBezTo>
                  <a:pt x="239947" y="73182"/>
                  <a:pt x="253006" y="85577"/>
                  <a:pt x="265823" y="98217"/>
                </a:cubicBezTo>
                <a:cubicBezTo>
                  <a:pt x="288727" y="120806"/>
                  <a:pt x="299071" y="149215"/>
                  <a:pt x="303210" y="180358"/>
                </a:cubicBezTo>
                <a:cubicBezTo>
                  <a:pt x="303735" y="184317"/>
                  <a:pt x="303282" y="188405"/>
                  <a:pt x="303282" y="193964"/>
                </a:cubicBezTo>
                <a:cubicBezTo>
                  <a:pt x="204065" y="208804"/>
                  <a:pt x="105022" y="216044"/>
                  <a:pt x="4971" y="213017"/>
                </a:cubicBezTo>
                <a:cubicBezTo>
                  <a:pt x="4971" y="199268"/>
                  <a:pt x="4314" y="186332"/>
                  <a:pt x="5093" y="173484"/>
                </a:cubicBezTo>
                <a:cubicBezTo>
                  <a:pt x="7497" y="133835"/>
                  <a:pt x="8211" y="94216"/>
                  <a:pt x="4767" y="54607"/>
                </a:cubicBezTo>
                <a:cubicBezTo>
                  <a:pt x="3464" y="39611"/>
                  <a:pt x="1725" y="24653"/>
                  <a:pt x="0" y="7887"/>
                </a:cubicBezTo>
                <a:cubicBezTo>
                  <a:pt x="4390" y="7887"/>
                  <a:pt x="8696" y="7887"/>
                  <a:pt x="14160" y="7889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9" name="Free-form: Shape 288">
            <a:extLst>
              <a:ext uri="{FF2B5EF4-FFF2-40B4-BE49-F238E27FC236}">
                <a16:creationId xmlns:a16="http://schemas.microsoft.com/office/drawing/2014/main" id="{D022FEBB-9BFC-D479-5F51-0D8568386E0A}"/>
              </a:ext>
            </a:extLst>
          </p:cNvPr>
          <p:cNvSpPr/>
          <p:nvPr/>
        </p:nvSpPr>
        <p:spPr>
          <a:xfrm>
            <a:off x="2051891" y="2280968"/>
            <a:ext cx="129814" cy="126299"/>
          </a:xfrm>
          <a:custGeom>
            <a:avLst/>
            <a:gdLst>
              <a:gd name="csX0" fmla="*/ 10475 w 209067"/>
              <a:gd name="csY0" fmla="*/ 41718 h 203406"/>
              <a:gd name="csX1" fmla="*/ 100250 w 209067"/>
              <a:gd name="csY1" fmla="*/ 1265 h 203406"/>
              <a:gd name="csX2" fmla="*/ 206681 w 209067"/>
              <a:gd name="csY2" fmla="*/ 98526 h 203406"/>
              <a:gd name="csX3" fmla="*/ 134647 w 209067"/>
              <a:gd name="csY3" fmla="*/ 202431 h 203406"/>
              <a:gd name="csX4" fmla="*/ 40986 w 209067"/>
              <a:gd name="csY4" fmla="*/ 171438 h 203406"/>
              <a:gd name="csX5" fmla="*/ 143 w 209067"/>
              <a:gd name="csY5" fmla="*/ 85158 h 203406"/>
              <a:gd name="csX6" fmla="*/ 10475 w 209067"/>
              <a:gd name="csY6" fmla="*/ 41718 h 20340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</a:cxnLst>
            <a:rect l="l" t="t" r="r" b="b"/>
            <a:pathLst>
              <a:path w="209067" h="203406">
                <a:moveTo>
                  <a:pt x="10475" y="41718"/>
                </a:moveTo>
                <a:cubicBezTo>
                  <a:pt x="31065" y="6021"/>
                  <a:pt x="63171" y="-3865"/>
                  <a:pt x="100250" y="1265"/>
                </a:cubicBezTo>
                <a:cubicBezTo>
                  <a:pt x="157191" y="9144"/>
                  <a:pt x="196951" y="51394"/>
                  <a:pt x="206681" y="98526"/>
                </a:cubicBezTo>
                <a:cubicBezTo>
                  <a:pt x="219504" y="160635"/>
                  <a:pt x="178523" y="196657"/>
                  <a:pt x="134647" y="202431"/>
                </a:cubicBezTo>
                <a:cubicBezTo>
                  <a:pt x="98365" y="207204"/>
                  <a:pt x="68101" y="194086"/>
                  <a:pt x="40986" y="171438"/>
                </a:cubicBezTo>
                <a:cubicBezTo>
                  <a:pt x="14115" y="148994"/>
                  <a:pt x="2457" y="119007"/>
                  <a:pt x="143" y="85158"/>
                </a:cubicBezTo>
                <a:cubicBezTo>
                  <a:pt x="-869" y="70364"/>
                  <a:pt x="3586" y="56015"/>
                  <a:pt x="10475" y="41718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90" name="Free-form: Shape 289">
            <a:extLst>
              <a:ext uri="{FF2B5EF4-FFF2-40B4-BE49-F238E27FC236}">
                <a16:creationId xmlns:a16="http://schemas.microsoft.com/office/drawing/2014/main" id="{F9B098A7-DF4E-B7D0-47F0-BAC81FAB9E37}"/>
              </a:ext>
            </a:extLst>
          </p:cNvPr>
          <p:cNvSpPr/>
          <p:nvPr/>
        </p:nvSpPr>
        <p:spPr>
          <a:xfrm>
            <a:off x="2088150" y="2494006"/>
            <a:ext cx="97564" cy="25665"/>
          </a:xfrm>
          <a:custGeom>
            <a:avLst/>
            <a:gdLst>
              <a:gd name="csX0" fmla="*/ 69625 w 157129"/>
              <a:gd name="csY0" fmla="*/ 0 h 41334"/>
              <a:gd name="csX1" fmla="*/ 119596 w 157129"/>
              <a:gd name="csY1" fmla="*/ 1945 h 41334"/>
              <a:gd name="csX2" fmla="*/ 150973 w 157129"/>
              <a:gd name="csY2" fmla="*/ 14889 h 41334"/>
              <a:gd name="csX3" fmla="*/ 151351 w 157129"/>
              <a:gd name="csY3" fmla="*/ 34058 h 41334"/>
              <a:gd name="csX4" fmla="*/ 133492 w 157129"/>
              <a:gd name="csY4" fmla="*/ 40697 h 41334"/>
              <a:gd name="csX5" fmla="*/ 106556 w 157129"/>
              <a:gd name="csY5" fmla="*/ 41092 h 41334"/>
              <a:gd name="csX6" fmla="*/ 13373 w 157129"/>
              <a:gd name="csY6" fmla="*/ 40708 h 41334"/>
              <a:gd name="csX7" fmla="*/ 1312 w 157129"/>
              <a:gd name="csY7" fmla="*/ 40191 h 41334"/>
              <a:gd name="csX8" fmla="*/ 3367 w 157129"/>
              <a:gd name="csY8" fmla="*/ 13162 h 41334"/>
              <a:gd name="csX9" fmla="*/ 20752 w 157129"/>
              <a:gd name="csY9" fmla="*/ 1879 h 41334"/>
              <a:gd name="csX10" fmla="*/ 52625 w 157129"/>
              <a:gd name="csY10" fmla="*/ 1332 h 41334"/>
              <a:gd name="csX11" fmla="*/ 69625 w 157129"/>
              <a:gd name="csY11" fmla="*/ 0 h 4133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157129" h="41334">
                <a:moveTo>
                  <a:pt x="69625" y="0"/>
                </a:moveTo>
                <a:cubicBezTo>
                  <a:pt x="87054" y="491"/>
                  <a:pt x="103407" y="373"/>
                  <a:pt x="119596" y="1945"/>
                </a:cubicBezTo>
                <a:cubicBezTo>
                  <a:pt x="131020" y="3055"/>
                  <a:pt x="141713" y="7767"/>
                  <a:pt x="150973" y="14889"/>
                </a:cubicBezTo>
                <a:cubicBezTo>
                  <a:pt x="158820" y="20925"/>
                  <a:pt x="159403" y="28236"/>
                  <a:pt x="151351" y="34058"/>
                </a:cubicBezTo>
                <a:cubicBezTo>
                  <a:pt x="146355" y="37671"/>
                  <a:pt x="139678" y="39910"/>
                  <a:pt x="133492" y="40697"/>
                </a:cubicBezTo>
                <a:cubicBezTo>
                  <a:pt x="124640" y="41824"/>
                  <a:pt x="115547" y="41120"/>
                  <a:pt x="106556" y="41092"/>
                </a:cubicBezTo>
                <a:cubicBezTo>
                  <a:pt x="75495" y="40996"/>
                  <a:pt x="44434" y="40872"/>
                  <a:pt x="13373" y="40708"/>
                </a:cubicBezTo>
                <a:cubicBezTo>
                  <a:pt x="9391" y="40687"/>
                  <a:pt x="5410" y="40374"/>
                  <a:pt x="1312" y="40191"/>
                </a:cubicBezTo>
                <a:cubicBezTo>
                  <a:pt x="-1416" y="30384"/>
                  <a:pt x="523" y="21512"/>
                  <a:pt x="3367" y="13162"/>
                </a:cubicBezTo>
                <a:cubicBezTo>
                  <a:pt x="5963" y="5538"/>
                  <a:pt x="12701" y="2077"/>
                  <a:pt x="20752" y="1879"/>
                </a:cubicBezTo>
                <a:cubicBezTo>
                  <a:pt x="31375" y="1617"/>
                  <a:pt x="42004" y="1647"/>
                  <a:pt x="52625" y="1332"/>
                </a:cubicBezTo>
                <a:cubicBezTo>
                  <a:pt x="57918" y="1176"/>
                  <a:pt x="63195" y="535"/>
                  <a:pt x="69625" y="0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91" name="Free-form: Shape 290">
            <a:extLst>
              <a:ext uri="{FF2B5EF4-FFF2-40B4-BE49-F238E27FC236}">
                <a16:creationId xmlns:a16="http://schemas.microsoft.com/office/drawing/2014/main" id="{79DB67B5-12BF-B429-B9F7-C9469F56105E}"/>
              </a:ext>
            </a:extLst>
          </p:cNvPr>
          <p:cNvSpPr/>
          <p:nvPr/>
        </p:nvSpPr>
        <p:spPr>
          <a:xfrm>
            <a:off x="2084677" y="2544893"/>
            <a:ext cx="102191" cy="241686"/>
          </a:xfrm>
          <a:custGeom>
            <a:avLst/>
            <a:gdLst>
              <a:gd name="csX0" fmla="*/ 91265 w 164579"/>
              <a:gd name="csY0" fmla="*/ 157878 h 389238"/>
              <a:gd name="csX1" fmla="*/ 112882 w 164579"/>
              <a:gd name="csY1" fmla="*/ 252738 h 389238"/>
              <a:gd name="csX2" fmla="*/ 164579 w 164579"/>
              <a:gd name="csY2" fmla="*/ 389238 h 389238"/>
              <a:gd name="csX3" fmla="*/ 0 w 164579"/>
              <a:gd name="csY3" fmla="*/ 389238 h 389238"/>
              <a:gd name="csX4" fmla="*/ 5184 w 164579"/>
              <a:gd name="csY4" fmla="*/ 260105 h 389238"/>
              <a:gd name="csX5" fmla="*/ 7989 w 164579"/>
              <a:gd name="csY5" fmla="*/ 131182 h 389238"/>
              <a:gd name="csX6" fmla="*/ 8093 w 164579"/>
              <a:gd name="csY6" fmla="*/ 2390 h 389238"/>
              <a:gd name="csX7" fmla="*/ 76429 w 164579"/>
              <a:gd name="csY7" fmla="*/ 1531 h 389238"/>
              <a:gd name="csX8" fmla="*/ 91265 w 164579"/>
              <a:gd name="csY8" fmla="*/ 157878 h 38923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</a:cxnLst>
            <a:rect l="l" t="t" r="r" b="b"/>
            <a:pathLst>
              <a:path w="164579" h="389238">
                <a:moveTo>
                  <a:pt x="91265" y="157878"/>
                </a:moveTo>
                <a:cubicBezTo>
                  <a:pt x="98425" y="190232"/>
                  <a:pt x="104539" y="221785"/>
                  <a:pt x="112882" y="252738"/>
                </a:cubicBezTo>
                <a:cubicBezTo>
                  <a:pt x="125498" y="299549"/>
                  <a:pt x="141482" y="345258"/>
                  <a:pt x="164579" y="389238"/>
                </a:cubicBezTo>
                <a:cubicBezTo>
                  <a:pt x="109753" y="389238"/>
                  <a:pt x="55706" y="389238"/>
                  <a:pt x="0" y="389238"/>
                </a:cubicBezTo>
                <a:cubicBezTo>
                  <a:pt x="1781" y="345633"/>
                  <a:pt x="3844" y="302880"/>
                  <a:pt x="5184" y="260105"/>
                </a:cubicBezTo>
                <a:cubicBezTo>
                  <a:pt x="6529" y="217143"/>
                  <a:pt x="7519" y="174162"/>
                  <a:pt x="7989" y="131182"/>
                </a:cubicBezTo>
                <a:cubicBezTo>
                  <a:pt x="8459" y="88239"/>
                  <a:pt x="8093" y="45287"/>
                  <a:pt x="8093" y="2390"/>
                </a:cubicBezTo>
                <a:cubicBezTo>
                  <a:pt x="17041" y="-288"/>
                  <a:pt x="58537" y="-913"/>
                  <a:pt x="76429" y="1531"/>
                </a:cubicBezTo>
                <a:cubicBezTo>
                  <a:pt x="79287" y="53276"/>
                  <a:pt x="82219" y="105359"/>
                  <a:pt x="91265" y="157878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92" name="Free-form: Shape 291">
            <a:extLst>
              <a:ext uri="{FF2B5EF4-FFF2-40B4-BE49-F238E27FC236}">
                <a16:creationId xmlns:a16="http://schemas.microsoft.com/office/drawing/2014/main" id="{138DE5D9-B80C-C01C-C564-AEF459309F8B}"/>
              </a:ext>
            </a:extLst>
          </p:cNvPr>
          <p:cNvSpPr/>
          <p:nvPr/>
        </p:nvSpPr>
        <p:spPr>
          <a:xfrm>
            <a:off x="2086496" y="2960406"/>
            <a:ext cx="200357" cy="39865"/>
          </a:xfrm>
          <a:custGeom>
            <a:avLst/>
            <a:gdLst>
              <a:gd name="csX0" fmla="*/ 199184 w 322677"/>
              <a:gd name="csY0" fmla="*/ 59136 h 64202"/>
              <a:gd name="csX1" fmla="*/ 0 w 322677"/>
              <a:gd name="csY1" fmla="*/ 62697 h 64202"/>
              <a:gd name="csX2" fmla="*/ 0 w 322677"/>
              <a:gd name="csY2" fmla="*/ 18400 h 64202"/>
              <a:gd name="csX3" fmla="*/ 10601 w 322677"/>
              <a:gd name="csY3" fmla="*/ 17750 h 64202"/>
              <a:gd name="csX4" fmla="*/ 156563 w 322677"/>
              <a:gd name="csY4" fmla="*/ 15074 h 64202"/>
              <a:gd name="csX5" fmla="*/ 266479 w 322677"/>
              <a:gd name="csY5" fmla="*/ 4814 h 64202"/>
              <a:gd name="csX6" fmla="*/ 296798 w 322677"/>
              <a:gd name="csY6" fmla="*/ 344 h 64202"/>
              <a:gd name="csX7" fmla="*/ 309983 w 322677"/>
              <a:gd name="csY7" fmla="*/ 6097 h 64202"/>
              <a:gd name="csX8" fmla="*/ 322678 w 322677"/>
              <a:gd name="csY8" fmla="*/ 40406 h 64202"/>
              <a:gd name="csX9" fmla="*/ 199184 w 322677"/>
              <a:gd name="csY9" fmla="*/ 59136 h 6420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322677" h="64202">
                <a:moveTo>
                  <a:pt x="199184" y="59136"/>
                </a:moveTo>
                <a:cubicBezTo>
                  <a:pt x="132374" y="65824"/>
                  <a:pt x="66629" y="64605"/>
                  <a:pt x="0" y="62697"/>
                </a:cubicBezTo>
                <a:cubicBezTo>
                  <a:pt x="0" y="47160"/>
                  <a:pt x="0" y="33409"/>
                  <a:pt x="0" y="18400"/>
                </a:cubicBezTo>
                <a:cubicBezTo>
                  <a:pt x="3587" y="18160"/>
                  <a:pt x="7120" y="17536"/>
                  <a:pt x="10601" y="17750"/>
                </a:cubicBezTo>
                <a:cubicBezTo>
                  <a:pt x="59329" y="20736"/>
                  <a:pt x="107987" y="18533"/>
                  <a:pt x="156563" y="15074"/>
                </a:cubicBezTo>
                <a:cubicBezTo>
                  <a:pt x="193260" y="12461"/>
                  <a:pt x="229860" y="8449"/>
                  <a:pt x="266479" y="4814"/>
                </a:cubicBezTo>
                <a:cubicBezTo>
                  <a:pt x="276635" y="3806"/>
                  <a:pt x="286748" y="2160"/>
                  <a:pt x="296798" y="344"/>
                </a:cubicBezTo>
                <a:cubicBezTo>
                  <a:pt x="302773" y="-735"/>
                  <a:pt x="306536" y="602"/>
                  <a:pt x="309983" y="6097"/>
                </a:cubicBezTo>
                <a:cubicBezTo>
                  <a:pt x="316405" y="16331"/>
                  <a:pt x="320231" y="27243"/>
                  <a:pt x="322678" y="40406"/>
                </a:cubicBezTo>
                <a:cubicBezTo>
                  <a:pt x="281944" y="49611"/>
                  <a:pt x="241309" y="55431"/>
                  <a:pt x="199184" y="59136"/>
                </a:cubicBezTo>
                <a:close/>
              </a:path>
            </a:pathLst>
          </a:custGeom>
          <a:solidFill>
            <a:schemeClr val="bg1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93" name="TextBox 292">
            <a:extLst>
              <a:ext uri="{FF2B5EF4-FFF2-40B4-BE49-F238E27FC236}">
                <a16:creationId xmlns:a16="http://schemas.microsoft.com/office/drawing/2014/main" id="{2D952326-508D-D57A-FF5B-732762219633}"/>
              </a:ext>
            </a:extLst>
          </p:cNvPr>
          <p:cNvSpPr txBox="1"/>
          <p:nvPr/>
        </p:nvSpPr>
        <p:spPr>
          <a:xfrm>
            <a:off x="1678488" y="3014588"/>
            <a:ext cx="863983" cy="3927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-</a:t>
            </a:r>
            <a:r>
              <a: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HAOx</a:t>
            </a: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16" name="TextBox 315">
            <a:extLst>
              <a:ext uri="{FF2B5EF4-FFF2-40B4-BE49-F238E27FC236}">
                <a16:creationId xmlns:a16="http://schemas.microsoft.com/office/drawing/2014/main" id="{6F79CF16-C60E-DE09-9373-C8103E4C0A9B}"/>
              </a:ext>
            </a:extLst>
          </p:cNvPr>
          <p:cNvSpPr txBox="1"/>
          <p:nvPr/>
        </p:nvSpPr>
        <p:spPr>
          <a:xfrm>
            <a:off x="592727" y="1343701"/>
            <a:ext cx="1953472" cy="723367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rtlCol="0" anchor="t" anchorCtr="0">
            <a:noAutofit/>
          </a:bodyPr>
          <a:lstStyle>
            <a:defPPr>
              <a:defRPr lang="en-GB"/>
            </a:defPPr>
            <a:lvl1pPr algn="ctr">
              <a:defRPr sz="1600" b="1">
                <a:solidFill>
                  <a:schemeClr val="tx2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herapies already used</a:t>
            </a:r>
          </a:p>
        </p:txBody>
      </p:sp>
      <p:cxnSp>
        <p:nvCxnSpPr>
          <p:cNvPr id="321" name="Straight Arrow Connector 320">
            <a:extLst>
              <a:ext uri="{FF2B5EF4-FFF2-40B4-BE49-F238E27FC236}">
                <a16:creationId xmlns:a16="http://schemas.microsoft.com/office/drawing/2014/main" id="{BFA2DF25-45E3-8F59-5D70-A7AA6A5F9FAD}"/>
              </a:ext>
            </a:extLst>
          </p:cNvPr>
          <p:cNvCxnSpPr>
            <a:cxnSpLocks/>
          </p:cNvCxnSpPr>
          <p:nvPr/>
        </p:nvCxnSpPr>
        <p:spPr>
          <a:xfrm>
            <a:off x="634206" y="2067987"/>
            <a:ext cx="1743075" cy="0"/>
          </a:xfrm>
          <a:prstGeom prst="straightConnector1">
            <a:avLst/>
          </a:prstGeom>
          <a:ln>
            <a:solidFill>
              <a:schemeClr val="accent6">
                <a:lumMod val="40000"/>
                <a:lumOff val="60000"/>
              </a:schemeClr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Oval 20">
            <a:extLst>
              <a:ext uri="{FF2B5EF4-FFF2-40B4-BE49-F238E27FC236}">
                <a16:creationId xmlns:a16="http://schemas.microsoft.com/office/drawing/2014/main" id="{A54F66BE-4301-60C5-9341-634FA489A2EF}"/>
              </a:ext>
            </a:extLst>
          </p:cNvPr>
          <p:cNvSpPr/>
          <p:nvPr/>
        </p:nvSpPr>
        <p:spPr>
          <a:xfrm>
            <a:off x="773065" y="2916727"/>
            <a:ext cx="593138" cy="104135"/>
          </a:xfrm>
          <a:prstGeom prst="ellipse">
            <a:avLst/>
          </a:prstGeom>
          <a:solidFill>
            <a:schemeClr val="tx1">
              <a:alpha val="6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2" name="Free-form: Shape 21">
            <a:extLst>
              <a:ext uri="{FF2B5EF4-FFF2-40B4-BE49-F238E27FC236}">
                <a16:creationId xmlns:a16="http://schemas.microsoft.com/office/drawing/2014/main" id="{B1EB87B3-0466-B683-CA5D-05DD0FF59DB3}"/>
              </a:ext>
            </a:extLst>
          </p:cNvPr>
          <p:cNvSpPr/>
          <p:nvPr/>
        </p:nvSpPr>
        <p:spPr>
          <a:xfrm>
            <a:off x="871731" y="2236076"/>
            <a:ext cx="433137" cy="770022"/>
          </a:xfrm>
          <a:custGeom>
            <a:avLst/>
            <a:gdLst>
              <a:gd name="csX0" fmla="*/ 581793 w 697572"/>
              <a:gd name="csY0" fmla="*/ 1234401 h 1240128"/>
              <a:gd name="csX1" fmla="*/ 577427 w 697572"/>
              <a:gd name="csY1" fmla="*/ 1234156 h 1240128"/>
              <a:gd name="csX2" fmla="*/ 559133 w 697572"/>
              <a:gd name="csY2" fmla="*/ 1230909 h 1240128"/>
              <a:gd name="csX3" fmla="*/ 516706 w 697572"/>
              <a:gd name="csY3" fmla="*/ 1235117 h 1240128"/>
              <a:gd name="csX4" fmla="*/ 475244 w 697572"/>
              <a:gd name="csY4" fmla="*/ 1237506 h 1240128"/>
              <a:gd name="csX5" fmla="*/ 371154 w 697572"/>
              <a:gd name="csY5" fmla="*/ 1239428 h 1240128"/>
              <a:gd name="csX6" fmla="*/ 276813 w 697572"/>
              <a:gd name="csY6" fmla="*/ 1237654 h 1240128"/>
              <a:gd name="csX7" fmla="*/ 268212 w 697572"/>
              <a:gd name="csY7" fmla="*/ 1237635 h 1240128"/>
              <a:gd name="csX8" fmla="*/ 262072 w 697572"/>
              <a:gd name="csY8" fmla="*/ 1237523 h 1240128"/>
              <a:gd name="csX9" fmla="*/ 195111 w 697572"/>
              <a:gd name="csY9" fmla="*/ 1232775 h 1240128"/>
              <a:gd name="csX10" fmla="*/ 145060 w 697572"/>
              <a:gd name="csY10" fmla="*/ 1230076 h 1240128"/>
              <a:gd name="csX11" fmla="*/ 114933 w 697572"/>
              <a:gd name="csY11" fmla="*/ 1225832 h 1240128"/>
              <a:gd name="csX12" fmla="*/ 72642 w 697572"/>
              <a:gd name="csY12" fmla="*/ 1220237 h 1240128"/>
              <a:gd name="csX13" fmla="*/ 10894 w 697572"/>
              <a:gd name="csY13" fmla="*/ 1205737 h 1240128"/>
              <a:gd name="csX14" fmla="*/ 5856 w 697572"/>
              <a:gd name="csY14" fmla="*/ 1202799 h 1240128"/>
              <a:gd name="csX15" fmla="*/ 40 w 697572"/>
              <a:gd name="csY15" fmla="*/ 1174450 h 1240128"/>
              <a:gd name="csX16" fmla="*/ 19831 w 697572"/>
              <a:gd name="csY16" fmla="*/ 1118410 h 1240128"/>
              <a:gd name="csX17" fmla="*/ 22004 w 697572"/>
              <a:gd name="csY17" fmla="*/ 1107240 h 1240128"/>
              <a:gd name="csX18" fmla="*/ 25947 w 697572"/>
              <a:gd name="csY18" fmla="*/ 1038650 h 1240128"/>
              <a:gd name="csX19" fmla="*/ 58234 w 697572"/>
              <a:gd name="csY19" fmla="*/ 988567 h 1240128"/>
              <a:gd name="csX20" fmla="*/ 118645 w 697572"/>
              <a:gd name="csY20" fmla="*/ 928298 h 1240128"/>
              <a:gd name="csX21" fmla="*/ 126320 w 697572"/>
              <a:gd name="csY21" fmla="*/ 892015 h 1240128"/>
              <a:gd name="csX22" fmla="*/ 120345 w 697572"/>
              <a:gd name="csY22" fmla="*/ 872258 h 1240128"/>
              <a:gd name="csX23" fmla="*/ 125668 w 697572"/>
              <a:gd name="csY23" fmla="*/ 861640 h 1240128"/>
              <a:gd name="csX24" fmla="*/ 154237 w 697572"/>
              <a:gd name="csY24" fmla="*/ 850716 h 1240128"/>
              <a:gd name="csX25" fmla="*/ 170248 w 697572"/>
              <a:gd name="csY25" fmla="*/ 836767 h 1240128"/>
              <a:gd name="csX26" fmla="*/ 187840 w 697572"/>
              <a:gd name="csY26" fmla="*/ 796341 h 1240128"/>
              <a:gd name="csX27" fmla="*/ 209346 w 697572"/>
              <a:gd name="csY27" fmla="*/ 743126 h 1240128"/>
              <a:gd name="csX28" fmla="*/ 210630 w 697572"/>
              <a:gd name="csY28" fmla="*/ 737219 h 1240128"/>
              <a:gd name="csX29" fmla="*/ 213836 w 697572"/>
              <a:gd name="csY29" fmla="*/ 720505 h 1240128"/>
              <a:gd name="csX30" fmla="*/ 227791 w 697572"/>
              <a:gd name="csY30" fmla="*/ 667353 h 1240128"/>
              <a:gd name="csX31" fmla="*/ 241013 w 697572"/>
              <a:gd name="csY31" fmla="*/ 599151 h 1240128"/>
              <a:gd name="csX32" fmla="*/ 247322 w 697572"/>
              <a:gd name="csY32" fmla="*/ 542242 h 1240128"/>
              <a:gd name="csX33" fmla="*/ 247948 w 697572"/>
              <a:gd name="csY33" fmla="*/ 499296 h 1240128"/>
              <a:gd name="csX34" fmla="*/ 247577 w 697572"/>
              <a:gd name="csY34" fmla="*/ 470384 h 1240128"/>
              <a:gd name="csX35" fmla="*/ 238877 w 697572"/>
              <a:gd name="csY35" fmla="*/ 460987 h 1240128"/>
              <a:gd name="csX36" fmla="*/ 222040 w 697572"/>
              <a:gd name="csY36" fmla="*/ 458353 h 1240128"/>
              <a:gd name="csX37" fmla="*/ 172193 w 697572"/>
              <a:gd name="csY37" fmla="*/ 433714 h 1240128"/>
              <a:gd name="csX38" fmla="*/ 168410 w 697572"/>
              <a:gd name="csY38" fmla="*/ 396591 h 1240128"/>
              <a:gd name="csX39" fmla="*/ 209826 w 697572"/>
              <a:gd name="csY39" fmla="*/ 367773 h 1240128"/>
              <a:gd name="csX40" fmla="*/ 250732 w 697572"/>
              <a:gd name="csY40" fmla="*/ 355208 h 1240128"/>
              <a:gd name="csX41" fmla="*/ 258289 w 697572"/>
              <a:gd name="csY41" fmla="*/ 350426 h 1240128"/>
              <a:gd name="csX42" fmla="*/ 233274 w 697572"/>
              <a:gd name="csY42" fmla="*/ 333513 h 1240128"/>
              <a:gd name="csX43" fmla="*/ 229677 w 697572"/>
              <a:gd name="csY43" fmla="*/ 333922 h 1240128"/>
              <a:gd name="csX44" fmla="*/ 230149 w 697572"/>
              <a:gd name="csY44" fmla="*/ 332979 h 1240128"/>
              <a:gd name="csX45" fmla="*/ 227053 w 697572"/>
              <a:gd name="csY45" fmla="*/ 327076 h 1240128"/>
              <a:gd name="csX46" fmla="*/ 196769 w 697572"/>
              <a:gd name="csY46" fmla="*/ 291380 h 1240128"/>
              <a:gd name="csX47" fmla="*/ 184389 w 697572"/>
              <a:gd name="csY47" fmla="*/ 264042 h 1240128"/>
              <a:gd name="csX48" fmla="*/ 180630 w 697572"/>
              <a:gd name="csY48" fmla="*/ 257839 h 1240128"/>
              <a:gd name="csX49" fmla="*/ 176231 w 697572"/>
              <a:gd name="csY49" fmla="*/ 250643 h 1240128"/>
              <a:gd name="csX50" fmla="*/ 170073 w 697572"/>
              <a:gd name="csY50" fmla="*/ 146723 h 1240128"/>
              <a:gd name="csX51" fmla="*/ 180929 w 697572"/>
              <a:gd name="csY51" fmla="*/ 114280 h 1240128"/>
              <a:gd name="csX52" fmla="*/ 180839 w 697572"/>
              <a:gd name="csY52" fmla="*/ 101501 h 1240128"/>
              <a:gd name="csX53" fmla="*/ 233536 w 697572"/>
              <a:gd name="csY53" fmla="*/ 39653 h 1240128"/>
              <a:gd name="csX54" fmla="*/ 347618 w 697572"/>
              <a:gd name="csY54" fmla="*/ 35 h 1240128"/>
              <a:gd name="csX55" fmla="*/ 437139 w 697572"/>
              <a:gd name="csY55" fmla="*/ 22396 h 1240128"/>
              <a:gd name="csX56" fmla="*/ 529052 w 697572"/>
              <a:gd name="csY56" fmla="*/ 131093 h 1240128"/>
              <a:gd name="csX57" fmla="*/ 518497 w 697572"/>
              <a:gd name="csY57" fmla="*/ 271517 h 1240128"/>
              <a:gd name="csX58" fmla="*/ 500808 w 697572"/>
              <a:gd name="csY58" fmla="*/ 287385 h 1240128"/>
              <a:gd name="csX59" fmla="*/ 472948 w 697572"/>
              <a:gd name="csY59" fmla="*/ 323290 h 1240128"/>
              <a:gd name="csX60" fmla="*/ 469385 w 697572"/>
              <a:gd name="csY60" fmla="*/ 331565 h 1240128"/>
              <a:gd name="csX61" fmla="*/ 468293 w 697572"/>
              <a:gd name="csY61" fmla="*/ 331320 h 1240128"/>
              <a:gd name="csX62" fmla="*/ 459542 w 697572"/>
              <a:gd name="csY62" fmla="*/ 338942 h 1240128"/>
              <a:gd name="csX63" fmla="*/ 458492 w 697572"/>
              <a:gd name="csY63" fmla="*/ 338671 h 1240128"/>
              <a:gd name="csX64" fmla="*/ 436978 w 697572"/>
              <a:gd name="csY64" fmla="*/ 352226 h 1240128"/>
              <a:gd name="csX65" fmla="*/ 472329 w 697572"/>
              <a:gd name="csY65" fmla="*/ 362890 h 1240128"/>
              <a:gd name="csX66" fmla="*/ 523779 w 697572"/>
              <a:gd name="csY66" fmla="*/ 391962 h 1240128"/>
              <a:gd name="csX67" fmla="*/ 527344 w 697572"/>
              <a:gd name="csY67" fmla="*/ 430096 h 1240128"/>
              <a:gd name="csX68" fmla="*/ 504112 w 697572"/>
              <a:gd name="csY68" fmla="*/ 449628 h 1240128"/>
              <a:gd name="csX69" fmla="*/ 459430 w 697572"/>
              <a:gd name="csY69" fmla="*/ 461116 h 1240128"/>
              <a:gd name="csX70" fmla="*/ 446666 w 697572"/>
              <a:gd name="csY70" fmla="*/ 474229 h 1240128"/>
              <a:gd name="csX71" fmla="*/ 449133 w 697572"/>
              <a:gd name="csY71" fmla="*/ 531639 h 1240128"/>
              <a:gd name="csX72" fmla="*/ 454546 w 697572"/>
              <a:gd name="csY72" fmla="*/ 588688 h 1240128"/>
              <a:gd name="csX73" fmla="*/ 466126 w 697572"/>
              <a:gd name="csY73" fmla="*/ 649736 h 1240128"/>
              <a:gd name="csX74" fmla="*/ 512154 w 697572"/>
              <a:gd name="csY74" fmla="*/ 794006 h 1240128"/>
              <a:gd name="csX75" fmla="*/ 525763 w 697572"/>
              <a:gd name="csY75" fmla="*/ 834323 h 1240128"/>
              <a:gd name="csX76" fmla="*/ 530555 w 697572"/>
              <a:gd name="csY76" fmla="*/ 845114 h 1240128"/>
              <a:gd name="csX77" fmla="*/ 554424 w 697572"/>
              <a:gd name="csY77" fmla="*/ 856618 h 1240128"/>
              <a:gd name="csX78" fmla="*/ 572880 w 697572"/>
              <a:gd name="csY78" fmla="*/ 862546 h 1240128"/>
              <a:gd name="csX79" fmla="*/ 578643 w 697572"/>
              <a:gd name="csY79" fmla="*/ 880396 h 1240128"/>
              <a:gd name="csX80" fmla="*/ 572188 w 697572"/>
              <a:gd name="csY80" fmla="*/ 899820 h 1240128"/>
              <a:gd name="csX81" fmla="*/ 582698 w 697572"/>
              <a:gd name="csY81" fmla="*/ 930382 h 1240128"/>
              <a:gd name="csX82" fmla="*/ 604747 w 697572"/>
              <a:gd name="csY82" fmla="*/ 960852 h 1240128"/>
              <a:gd name="csX83" fmla="*/ 613863 w 697572"/>
              <a:gd name="csY83" fmla="*/ 968311 h 1240128"/>
              <a:gd name="csX84" fmla="*/ 629435 w 697572"/>
              <a:gd name="csY84" fmla="*/ 981186 h 1240128"/>
              <a:gd name="csX85" fmla="*/ 633611 w 697572"/>
              <a:gd name="csY85" fmla="*/ 985609 h 1240128"/>
              <a:gd name="csX86" fmla="*/ 673790 w 697572"/>
              <a:gd name="csY86" fmla="*/ 1049348 h 1240128"/>
              <a:gd name="csX87" fmla="*/ 675873 w 697572"/>
              <a:gd name="csY87" fmla="*/ 1092839 h 1240128"/>
              <a:gd name="csX88" fmla="*/ 681668 w 697572"/>
              <a:gd name="csY88" fmla="*/ 1129292 h 1240128"/>
              <a:gd name="csX89" fmla="*/ 697338 w 697572"/>
              <a:gd name="csY89" fmla="*/ 1196079 h 1240128"/>
              <a:gd name="csX90" fmla="*/ 690637 w 697572"/>
              <a:gd name="csY90" fmla="*/ 1205035 h 1240128"/>
              <a:gd name="csX91" fmla="*/ 639777 w 697572"/>
              <a:gd name="csY91" fmla="*/ 1217994 h 1240128"/>
              <a:gd name="csX92" fmla="*/ 587072 w 697572"/>
              <a:gd name="csY92" fmla="*/ 1227761 h 1240128"/>
              <a:gd name="csX93" fmla="*/ 581793 w 697572"/>
              <a:gd name="csY93" fmla="*/ 1234401 h 1240128"/>
              <a:gd name="csX94" fmla="*/ 357446 w 697572"/>
              <a:gd name="csY94" fmla="*/ 903795 h 1240128"/>
              <a:gd name="csX95" fmla="*/ 344445 w 697572"/>
              <a:gd name="csY95" fmla="*/ 903795 h 1240128"/>
              <a:gd name="csX96" fmla="*/ 349212 w 697572"/>
              <a:gd name="csY96" fmla="*/ 950515 h 1240128"/>
              <a:gd name="csX97" fmla="*/ 349538 w 697572"/>
              <a:gd name="csY97" fmla="*/ 1069392 h 1240128"/>
              <a:gd name="csX98" fmla="*/ 349415 w 697572"/>
              <a:gd name="csY98" fmla="*/ 1108925 h 1240128"/>
              <a:gd name="csX99" fmla="*/ 647726 w 697572"/>
              <a:gd name="csY99" fmla="*/ 1089872 h 1240128"/>
              <a:gd name="csX100" fmla="*/ 647654 w 697572"/>
              <a:gd name="csY100" fmla="*/ 1076267 h 1240128"/>
              <a:gd name="csX101" fmla="*/ 610267 w 697572"/>
              <a:gd name="csY101" fmla="*/ 994126 h 1240128"/>
              <a:gd name="csX102" fmla="*/ 571459 w 697572"/>
              <a:gd name="csY102" fmla="*/ 956568 h 1240128"/>
              <a:gd name="csX103" fmla="*/ 541653 w 697572"/>
              <a:gd name="csY103" fmla="*/ 901544 h 1240128"/>
              <a:gd name="csX104" fmla="*/ 539477 w 697572"/>
              <a:gd name="csY104" fmla="*/ 895908 h 1240128"/>
              <a:gd name="csX105" fmla="*/ 357446 w 697572"/>
              <a:gd name="csY105" fmla="*/ 903795 h 1240128"/>
              <a:gd name="csX106" fmla="*/ 300108 w 697572"/>
              <a:gd name="csY106" fmla="*/ 85260 h 1240128"/>
              <a:gd name="csX107" fmla="*/ 290213 w 697572"/>
              <a:gd name="csY107" fmla="*/ 127888 h 1240128"/>
              <a:gd name="csX108" fmla="*/ 331056 w 697572"/>
              <a:gd name="csY108" fmla="*/ 214168 h 1240128"/>
              <a:gd name="csX109" fmla="*/ 424717 w 697572"/>
              <a:gd name="csY109" fmla="*/ 245160 h 1240128"/>
              <a:gd name="csX110" fmla="*/ 496752 w 697572"/>
              <a:gd name="csY110" fmla="*/ 141256 h 1240128"/>
              <a:gd name="csX111" fmla="*/ 390320 w 697572"/>
              <a:gd name="csY111" fmla="*/ 43995 h 1240128"/>
              <a:gd name="csX112" fmla="*/ 300108 w 697572"/>
              <a:gd name="csY112" fmla="*/ 85260 h 1240128"/>
              <a:gd name="csX113" fmla="*/ 343360 w 697572"/>
              <a:gd name="csY113" fmla="*/ 634332 h 1240128"/>
              <a:gd name="csX114" fmla="*/ 340877 w 697572"/>
              <a:gd name="csY114" fmla="*/ 732259 h 1240128"/>
              <a:gd name="csX115" fmla="*/ 338360 w 697572"/>
              <a:gd name="csY115" fmla="*/ 810538 h 1240128"/>
              <a:gd name="csX116" fmla="*/ 337115 w 697572"/>
              <a:gd name="csY116" fmla="*/ 817736 h 1240128"/>
              <a:gd name="csX117" fmla="*/ 336516 w 697572"/>
              <a:gd name="csY117" fmla="*/ 863022 h 1240128"/>
              <a:gd name="csX118" fmla="*/ 343436 w 697572"/>
              <a:gd name="csY118" fmla="*/ 864027 h 1240128"/>
              <a:gd name="csX119" fmla="*/ 406718 w 697572"/>
              <a:gd name="csY119" fmla="*/ 862982 h 1240128"/>
              <a:gd name="csX120" fmla="*/ 456888 w 697572"/>
              <a:gd name="csY120" fmla="*/ 861794 h 1240128"/>
              <a:gd name="csX121" fmla="*/ 495873 w 697572"/>
              <a:gd name="csY121" fmla="*/ 863963 h 1240128"/>
              <a:gd name="csX122" fmla="*/ 509286 w 697572"/>
              <a:gd name="csY122" fmla="*/ 863595 h 1240128"/>
              <a:gd name="csX123" fmla="*/ 516956 w 697572"/>
              <a:gd name="csY123" fmla="*/ 856791 h 1240128"/>
              <a:gd name="csX124" fmla="*/ 513920 w 697572"/>
              <a:gd name="csY124" fmla="*/ 848709 h 1240128"/>
              <a:gd name="csX125" fmla="*/ 506683 w 697572"/>
              <a:gd name="csY125" fmla="*/ 839054 h 1240128"/>
              <a:gd name="csX126" fmla="*/ 488629 w 697572"/>
              <a:gd name="csY126" fmla="*/ 799037 h 1240128"/>
              <a:gd name="csX127" fmla="*/ 456922 w 697572"/>
              <a:gd name="csY127" fmla="*/ 696297 h 1240128"/>
              <a:gd name="csX128" fmla="*/ 441346 w 697572"/>
              <a:gd name="csY128" fmla="*/ 619885 h 1240128"/>
              <a:gd name="csX129" fmla="*/ 435963 w 697572"/>
              <a:gd name="csY129" fmla="*/ 582529 h 1240128"/>
              <a:gd name="csX130" fmla="*/ 429497 w 697572"/>
              <a:gd name="csY130" fmla="*/ 521990 h 1240128"/>
              <a:gd name="csX131" fmla="*/ 426887 w 697572"/>
              <a:gd name="csY131" fmla="*/ 471989 h 1240128"/>
              <a:gd name="csX132" fmla="*/ 413744 w 697572"/>
              <a:gd name="csY132" fmla="*/ 461077 h 1240128"/>
              <a:gd name="csX133" fmla="*/ 353573 w 697572"/>
              <a:gd name="csY133" fmla="*/ 461120 h 1240128"/>
              <a:gd name="csX134" fmla="*/ 344160 w 697572"/>
              <a:gd name="csY134" fmla="*/ 462286 h 1240128"/>
              <a:gd name="csX135" fmla="*/ 343404 w 697572"/>
              <a:gd name="csY135" fmla="*/ 469192 h 1240128"/>
              <a:gd name="csX136" fmla="*/ 343469 w 697572"/>
              <a:gd name="csY136" fmla="*/ 574797 h 1240128"/>
              <a:gd name="csX137" fmla="*/ 345522 w 697572"/>
              <a:gd name="csY137" fmla="*/ 591669 h 1240128"/>
              <a:gd name="csX138" fmla="*/ 343360 w 697572"/>
              <a:gd name="csY138" fmla="*/ 634332 h 1240128"/>
              <a:gd name="csX139" fmla="*/ 416946 w 697572"/>
              <a:gd name="csY139" fmla="*/ 385943 h 1240128"/>
              <a:gd name="csX140" fmla="*/ 401091 w 697572"/>
              <a:gd name="csY140" fmla="*/ 387162 h 1240128"/>
              <a:gd name="csX141" fmla="*/ 369218 w 697572"/>
              <a:gd name="csY141" fmla="*/ 387708 h 1240128"/>
              <a:gd name="csX142" fmla="*/ 351833 w 697572"/>
              <a:gd name="csY142" fmla="*/ 398991 h 1240128"/>
              <a:gd name="csX143" fmla="*/ 349778 w 697572"/>
              <a:gd name="csY143" fmla="*/ 426021 h 1240128"/>
              <a:gd name="csX144" fmla="*/ 361839 w 697572"/>
              <a:gd name="csY144" fmla="*/ 426538 h 1240128"/>
              <a:gd name="csX145" fmla="*/ 455022 w 697572"/>
              <a:gd name="csY145" fmla="*/ 426922 h 1240128"/>
              <a:gd name="csX146" fmla="*/ 481958 w 697572"/>
              <a:gd name="csY146" fmla="*/ 426527 h 1240128"/>
              <a:gd name="csX147" fmla="*/ 499817 w 697572"/>
              <a:gd name="csY147" fmla="*/ 419888 h 1240128"/>
              <a:gd name="csX148" fmla="*/ 499439 w 697572"/>
              <a:gd name="csY148" fmla="*/ 400719 h 1240128"/>
              <a:gd name="csX149" fmla="*/ 468062 w 697572"/>
              <a:gd name="csY149" fmla="*/ 387775 h 1240128"/>
              <a:gd name="csX150" fmla="*/ 416946 w 697572"/>
              <a:gd name="csY150" fmla="*/ 385943 h 1240128"/>
              <a:gd name="csX151" fmla="*/ 636802 w 697572"/>
              <a:gd name="csY151" fmla="*/ 1190940 h 1240128"/>
              <a:gd name="csX152" fmla="*/ 666492 w 697572"/>
              <a:gd name="csY152" fmla="*/ 1184186 h 1240128"/>
              <a:gd name="csX153" fmla="*/ 674465 w 697572"/>
              <a:gd name="csY153" fmla="*/ 1170880 h 1240128"/>
              <a:gd name="csX154" fmla="*/ 662462 w 697572"/>
              <a:gd name="csY154" fmla="*/ 1141464 h 1240128"/>
              <a:gd name="csX155" fmla="*/ 645564 w 697572"/>
              <a:gd name="csY155" fmla="*/ 1131937 h 1240128"/>
              <a:gd name="csX156" fmla="*/ 627387 w 697572"/>
              <a:gd name="csY156" fmla="*/ 1133618 h 1240128"/>
              <a:gd name="csX157" fmla="*/ 583917 w 697572"/>
              <a:gd name="csY157" fmla="*/ 1139222 h 1240128"/>
              <a:gd name="csX158" fmla="*/ 543741 w 697572"/>
              <a:gd name="csY158" fmla="*/ 1141869 h 1240128"/>
              <a:gd name="csX159" fmla="*/ 512146 w 697572"/>
              <a:gd name="csY159" fmla="*/ 1144418 h 1240128"/>
              <a:gd name="csX160" fmla="*/ 447711 w 697572"/>
              <a:gd name="csY160" fmla="*/ 1148973 h 1240128"/>
              <a:gd name="csX161" fmla="*/ 351979 w 697572"/>
              <a:gd name="csY161" fmla="*/ 1149200 h 1240128"/>
              <a:gd name="csX162" fmla="*/ 338443 w 697572"/>
              <a:gd name="csY162" fmla="*/ 1150040 h 1240128"/>
              <a:gd name="csX163" fmla="*/ 338451 w 697572"/>
              <a:gd name="csY163" fmla="*/ 1190780 h 1240128"/>
              <a:gd name="csX164" fmla="*/ 351082 w 697572"/>
              <a:gd name="csY164" fmla="*/ 1207015 h 1240128"/>
              <a:gd name="csX165" fmla="*/ 358298 w 697572"/>
              <a:gd name="csY165" fmla="*/ 1208094 h 1240128"/>
              <a:gd name="csX166" fmla="*/ 521229 w 697572"/>
              <a:gd name="csY166" fmla="*/ 1205646 h 1240128"/>
              <a:gd name="csX167" fmla="*/ 523675 w 697572"/>
              <a:gd name="csY167" fmla="*/ 1205490 h 1240128"/>
              <a:gd name="csX168" fmla="*/ 580423 w 697572"/>
              <a:gd name="csY168" fmla="*/ 1198350 h 1240128"/>
              <a:gd name="csX169" fmla="*/ 636802 w 697572"/>
              <a:gd name="csY169" fmla="*/ 1190940 h 124012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</a:cxnLst>
            <a:rect l="l" t="t" r="r" b="b"/>
            <a:pathLst>
              <a:path w="697572" h="1240128">
                <a:moveTo>
                  <a:pt x="581793" y="1234401"/>
                </a:moveTo>
                <a:cubicBezTo>
                  <a:pt x="580693" y="1234661"/>
                  <a:pt x="579594" y="1234922"/>
                  <a:pt x="577427" y="1234156"/>
                </a:cubicBezTo>
                <a:cubicBezTo>
                  <a:pt x="571216" y="1227899"/>
                  <a:pt x="564912" y="1230441"/>
                  <a:pt x="559133" y="1230909"/>
                </a:cubicBezTo>
                <a:cubicBezTo>
                  <a:pt x="544971" y="1232056"/>
                  <a:pt x="530869" y="1233971"/>
                  <a:pt x="516706" y="1235117"/>
                </a:cubicBezTo>
                <a:cubicBezTo>
                  <a:pt x="502910" y="1236232"/>
                  <a:pt x="489077" y="1237097"/>
                  <a:pt x="475244" y="1237506"/>
                </a:cubicBezTo>
                <a:cubicBezTo>
                  <a:pt x="440539" y="1238535"/>
                  <a:pt x="405696" y="1241458"/>
                  <a:pt x="371154" y="1239428"/>
                </a:cubicBezTo>
                <a:cubicBezTo>
                  <a:pt x="339645" y="1237575"/>
                  <a:pt x="308239" y="1238753"/>
                  <a:pt x="276813" y="1237654"/>
                </a:cubicBezTo>
                <a:cubicBezTo>
                  <a:pt x="273949" y="1237553"/>
                  <a:pt x="271079" y="1237652"/>
                  <a:pt x="268212" y="1237635"/>
                </a:cubicBezTo>
                <a:cubicBezTo>
                  <a:pt x="266165" y="1237623"/>
                  <a:pt x="264111" y="1237668"/>
                  <a:pt x="262072" y="1237523"/>
                </a:cubicBezTo>
                <a:cubicBezTo>
                  <a:pt x="239751" y="1235944"/>
                  <a:pt x="217441" y="1234201"/>
                  <a:pt x="195111" y="1232775"/>
                </a:cubicBezTo>
                <a:cubicBezTo>
                  <a:pt x="178437" y="1231710"/>
                  <a:pt x="161712" y="1231378"/>
                  <a:pt x="145060" y="1230076"/>
                </a:cubicBezTo>
                <a:cubicBezTo>
                  <a:pt x="134969" y="1229287"/>
                  <a:pt x="124987" y="1227177"/>
                  <a:pt x="114933" y="1225832"/>
                </a:cubicBezTo>
                <a:cubicBezTo>
                  <a:pt x="100834" y="1223946"/>
                  <a:pt x="86554" y="1223022"/>
                  <a:pt x="72642" y="1220237"/>
                </a:cubicBezTo>
                <a:cubicBezTo>
                  <a:pt x="51920" y="1216091"/>
                  <a:pt x="31443" y="1210723"/>
                  <a:pt x="10894" y="1205737"/>
                </a:cubicBezTo>
                <a:cubicBezTo>
                  <a:pt x="9027" y="1205284"/>
                  <a:pt x="6196" y="1204140"/>
                  <a:pt x="5856" y="1202799"/>
                </a:cubicBezTo>
                <a:cubicBezTo>
                  <a:pt x="3474" y="1193418"/>
                  <a:pt x="-438" y="1183796"/>
                  <a:pt x="40" y="1174450"/>
                </a:cubicBezTo>
                <a:cubicBezTo>
                  <a:pt x="1079" y="1154149"/>
                  <a:pt x="9757" y="1135843"/>
                  <a:pt x="19831" y="1118410"/>
                </a:cubicBezTo>
                <a:cubicBezTo>
                  <a:pt x="21968" y="1114713"/>
                  <a:pt x="22970" y="1111858"/>
                  <a:pt x="22004" y="1107240"/>
                </a:cubicBezTo>
                <a:cubicBezTo>
                  <a:pt x="17168" y="1084118"/>
                  <a:pt x="17717" y="1061168"/>
                  <a:pt x="25947" y="1038650"/>
                </a:cubicBezTo>
                <a:cubicBezTo>
                  <a:pt x="32954" y="1019481"/>
                  <a:pt x="44478" y="1003118"/>
                  <a:pt x="58234" y="988567"/>
                </a:cubicBezTo>
                <a:cubicBezTo>
                  <a:pt x="77769" y="967902"/>
                  <a:pt x="97978" y="947832"/>
                  <a:pt x="118645" y="928298"/>
                </a:cubicBezTo>
                <a:cubicBezTo>
                  <a:pt x="130104" y="917467"/>
                  <a:pt x="131835" y="905961"/>
                  <a:pt x="126320" y="892015"/>
                </a:cubicBezTo>
                <a:cubicBezTo>
                  <a:pt x="123798" y="885637"/>
                  <a:pt x="122123" y="878904"/>
                  <a:pt x="120345" y="872258"/>
                </a:cubicBezTo>
                <a:cubicBezTo>
                  <a:pt x="119029" y="867341"/>
                  <a:pt x="120162" y="863613"/>
                  <a:pt x="125668" y="861640"/>
                </a:cubicBezTo>
                <a:cubicBezTo>
                  <a:pt x="135266" y="858201"/>
                  <a:pt x="144535" y="853788"/>
                  <a:pt x="154237" y="850716"/>
                </a:cubicBezTo>
                <a:cubicBezTo>
                  <a:pt x="161882" y="848296"/>
                  <a:pt x="167110" y="843897"/>
                  <a:pt x="170248" y="836767"/>
                </a:cubicBezTo>
                <a:cubicBezTo>
                  <a:pt x="176168" y="823316"/>
                  <a:pt x="182193" y="809907"/>
                  <a:pt x="187840" y="796341"/>
                </a:cubicBezTo>
                <a:cubicBezTo>
                  <a:pt x="195194" y="778679"/>
                  <a:pt x="202250" y="760894"/>
                  <a:pt x="209346" y="743126"/>
                </a:cubicBezTo>
                <a:cubicBezTo>
                  <a:pt x="210083" y="741280"/>
                  <a:pt x="210252" y="739200"/>
                  <a:pt x="210630" y="737219"/>
                </a:cubicBezTo>
                <a:cubicBezTo>
                  <a:pt x="211694" y="731645"/>
                  <a:pt x="212425" y="725987"/>
                  <a:pt x="213836" y="720505"/>
                </a:cubicBezTo>
                <a:cubicBezTo>
                  <a:pt x="218406" y="702764"/>
                  <a:pt x="223811" y="685219"/>
                  <a:pt x="227791" y="667353"/>
                </a:cubicBezTo>
                <a:cubicBezTo>
                  <a:pt x="232826" y="644755"/>
                  <a:pt x="237367" y="622009"/>
                  <a:pt x="241013" y="599151"/>
                </a:cubicBezTo>
                <a:cubicBezTo>
                  <a:pt x="244018" y="580319"/>
                  <a:pt x="246001" y="561272"/>
                  <a:pt x="247322" y="542242"/>
                </a:cubicBezTo>
                <a:cubicBezTo>
                  <a:pt x="248312" y="527975"/>
                  <a:pt x="246344" y="513451"/>
                  <a:pt x="247948" y="499296"/>
                </a:cubicBezTo>
                <a:cubicBezTo>
                  <a:pt x="249066" y="489432"/>
                  <a:pt x="247923" y="480014"/>
                  <a:pt x="247577" y="470384"/>
                </a:cubicBezTo>
                <a:cubicBezTo>
                  <a:pt x="247364" y="464453"/>
                  <a:pt x="245121" y="461397"/>
                  <a:pt x="238877" y="460987"/>
                </a:cubicBezTo>
                <a:cubicBezTo>
                  <a:pt x="233224" y="460615"/>
                  <a:pt x="227461" y="459920"/>
                  <a:pt x="222040" y="458353"/>
                </a:cubicBezTo>
                <a:cubicBezTo>
                  <a:pt x="203991" y="453134"/>
                  <a:pt x="185737" y="448229"/>
                  <a:pt x="172193" y="433714"/>
                </a:cubicBezTo>
                <a:cubicBezTo>
                  <a:pt x="162702" y="423544"/>
                  <a:pt x="160887" y="408134"/>
                  <a:pt x="168410" y="396591"/>
                </a:cubicBezTo>
                <a:cubicBezTo>
                  <a:pt x="178294" y="381428"/>
                  <a:pt x="193736" y="373793"/>
                  <a:pt x="209826" y="367773"/>
                </a:cubicBezTo>
                <a:cubicBezTo>
                  <a:pt x="223159" y="362784"/>
                  <a:pt x="237124" y="359493"/>
                  <a:pt x="250732" y="355208"/>
                </a:cubicBezTo>
                <a:cubicBezTo>
                  <a:pt x="253085" y="354467"/>
                  <a:pt x="255058" y="352518"/>
                  <a:pt x="258289" y="350426"/>
                </a:cubicBezTo>
                <a:cubicBezTo>
                  <a:pt x="250173" y="342610"/>
                  <a:pt x="241833" y="337880"/>
                  <a:pt x="233274" y="333513"/>
                </a:cubicBezTo>
                <a:cubicBezTo>
                  <a:pt x="232377" y="333055"/>
                  <a:pt x="230890" y="333758"/>
                  <a:pt x="229677" y="333922"/>
                </a:cubicBezTo>
                <a:cubicBezTo>
                  <a:pt x="229677" y="333922"/>
                  <a:pt x="230323" y="333834"/>
                  <a:pt x="230149" y="332979"/>
                </a:cubicBezTo>
                <a:cubicBezTo>
                  <a:pt x="229023" y="330409"/>
                  <a:pt x="228502" y="328059"/>
                  <a:pt x="227053" y="327076"/>
                </a:cubicBezTo>
                <a:cubicBezTo>
                  <a:pt x="213615" y="317962"/>
                  <a:pt x="204643" y="305332"/>
                  <a:pt x="196769" y="291380"/>
                </a:cubicBezTo>
                <a:cubicBezTo>
                  <a:pt x="191792" y="282564"/>
                  <a:pt x="185421" y="274665"/>
                  <a:pt x="184389" y="264042"/>
                </a:cubicBezTo>
                <a:cubicBezTo>
                  <a:pt x="184179" y="261874"/>
                  <a:pt x="181925" y="259908"/>
                  <a:pt x="180630" y="257839"/>
                </a:cubicBezTo>
                <a:cubicBezTo>
                  <a:pt x="179137" y="255454"/>
                  <a:pt x="177317" y="253204"/>
                  <a:pt x="176231" y="250643"/>
                </a:cubicBezTo>
                <a:cubicBezTo>
                  <a:pt x="161865" y="216749"/>
                  <a:pt x="159606" y="182060"/>
                  <a:pt x="170073" y="146723"/>
                </a:cubicBezTo>
                <a:cubicBezTo>
                  <a:pt x="173311" y="135795"/>
                  <a:pt x="177248" y="125074"/>
                  <a:pt x="180929" y="114280"/>
                </a:cubicBezTo>
                <a:cubicBezTo>
                  <a:pt x="182396" y="109981"/>
                  <a:pt x="183922" y="105742"/>
                  <a:pt x="180839" y="101501"/>
                </a:cubicBezTo>
                <a:cubicBezTo>
                  <a:pt x="192473" y="75833"/>
                  <a:pt x="211344" y="56271"/>
                  <a:pt x="233536" y="39653"/>
                </a:cubicBezTo>
                <a:cubicBezTo>
                  <a:pt x="267321" y="14353"/>
                  <a:pt x="305621" y="873"/>
                  <a:pt x="347618" y="35"/>
                </a:cubicBezTo>
                <a:cubicBezTo>
                  <a:pt x="379125" y="-593"/>
                  <a:pt x="409214" y="7172"/>
                  <a:pt x="437139" y="22396"/>
                </a:cubicBezTo>
                <a:cubicBezTo>
                  <a:pt x="481844" y="46766"/>
                  <a:pt x="514077" y="82116"/>
                  <a:pt x="529052" y="131093"/>
                </a:cubicBezTo>
                <a:cubicBezTo>
                  <a:pt x="543544" y="178495"/>
                  <a:pt x="541630" y="225548"/>
                  <a:pt x="518497" y="271517"/>
                </a:cubicBezTo>
                <a:cubicBezTo>
                  <a:pt x="511428" y="277096"/>
                  <a:pt x="503848" y="281136"/>
                  <a:pt x="500808" y="287385"/>
                </a:cubicBezTo>
                <a:cubicBezTo>
                  <a:pt x="493932" y="301522"/>
                  <a:pt x="483805" y="312513"/>
                  <a:pt x="472948" y="323290"/>
                </a:cubicBezTo>
                <a:cubicBezTo>
                  <a:pt x="470972" y="325253"/>
                  <a:pt x="470533" y="328767"/>
                  <a:pt x="469385" y="331565"/>
                </a:cubicBezTo>
                <a:cubicBezTo>
                  <a:pt x="469385" y="331565"/>
                  <a:pt x="469172" y="331584"/>
                  <a:pt x="468293" y="331320"/>
                </a:cubicBezTo>
                <a:cubicBezTo>
                  <a:pt x="461937" y="330836"/>
                  <a:pt x="458618" y="332772"/>
                  <a:pt x="459542" y="338942"/>
                </a:cubicBezTo>
                <a:cubicBezTo>
                  <a:pt x="459542" y="338942"/>
                  <a:pt x="459473" y="338913"/>
                  <a:pt x="458492" y="338671"/>
                </a:cubicBezTo>
                <a:cubicBezTo>
                  <a:pt x="450936" y="342653"/>
                  <a:pt x="440712" y="341355"/>
                  <a:pt x="436978" y="352226"/>
                </a:cubicBezTo>
                <a:cubicBezTo>
                  <a:pt x="449178" y="355911"/>
                  <a:pt x="460733" y="359469"/>
                  <a:pt x="472329" y="362890"/>
                </a:cubicBezTo>
                <a:cubicBezTo>
                  <a:pt x="491728" y="368613"/>
                  <a:pt x="510182" y="375784"/>
                  <a:pt x="523779" y="391962"/>
                </a:cubicBezTo>
                <a:cubicBezTo>
                  <a:pt x="535849" y="406326"/>
                  <a:pt x="534845" y="420076"/>
                  <a:pt x="527344" y="430096"/>
                </a:cubicBezTo>
                <a:cubicBezTo>
                  <a:pt x="521323" y="438139"/>
                  <a:pt x="513928" y="445333"/>
                  <a:pt x="504112" y="449628"/>
                </a:cubicBezTo>
                <a:cubicBezTo>
                  <a:pt x="489776" y="455901"/>
                  <a:pt x="475173" y="460486"/>
                  <a:pt x="459430" y="461116"/>
                </a:cubicBezTo>
                <a:cubicBezTo>
                  <a:pt x="448415" y="461557"/>
                  <a:pt x="446384" y="463369"/>
                  <a:pt x="446666" y="474229"/>
                </a:cubicBezTo>
                <a:cubicBezTo>
                  <a:pt x="447164" y="493376"/>
                  <a:pt x="447839" y="512533"/>
                  <a:pt x="449133" y="531639"/>
                </a:cubicBezTo>
                <a:cubicBezTo>
                  <a:pt x="450424" y="550696"/>
                  <a:pt x="451783" y="569809"/>
                  <a:pt x="454546" y="588688"/>
                </a:cubicBezTo>
                <a:cubicBezTo>
                  <a:pt x="457543" y="609164"/>
                  <a:pt x="462165" y="629403"/>
                  <a:pt x="466126" y="649736"/>
                </a:cubicBezTo>
                <a:cubicBezTo>
                  <a:pt x="475845" y="699621"/>
                  <a:pt x="493414" y="746980"/>
                  <a:pt x="512154" y="794006"/>
                </a:cubicBezTo>
                <a:cubicBezTo>
                  <a:pt x="517387" y="807138"/>
                  <a:pt x="525145" y="819463"/>
                  <a:pt x="525763" y="834323"/>
                </a:cubicBezTo>
                <a:cubicBezTo>
                  <a:pt x="525919" y="838081"/>
                  <a:pt x="527739" y="843335"/>
                  <a:pt x="530555" y="845114"/>
                </a:cubicBezTo>
                <a:cubicBezTo>
                  <a:pt x="537981" y="849801"/>
                  <a:pt x="546243" y="853278"/>
                  <a:pt x="554424" y="856618"/>
                </a:cubicBezTo>
                <a:cubicBezTo>
                  <a:pt x="560391" y="859054"/>
                  <a:pt x="567041" y="859887"/>
                  <a:pt x="572880" y="862546"/>
                </a:cubicBezTo>
                <a:cubicBezTo>
                  <a:pt x="581470" y="866458"/>
                  <a:pt x="582467" y="871415"/>
                  <a:pt x="578643" y="880396"/>
                </a:cubicBezTo>
                <a:cubicBezTo>
                  <a:pt x="575969" y="886677"/>
                  <a:pt x="572900" y="893182"/>
                  <a:pt x="572188" y="899820"/>
                </a:cubicBezTo>
                <a:cubicBezTo>
                  <a:pt x="570960" y="911271"/>
                  <a:pt x="576506" y="920944"/>
                  <a:pt x="582698" y="930382"/>
                </a:cubicBezTo>
                <a:cubicBezTo>
                  <a:pt x="589569" y="940856"/>
                  <a:pt x="600933" y="947930"/>
                  <a:pt x="604747" y="960852"/>
                </a:cubicBezTo>
                <a:cubicBezTo>
                  <a:pt x="605684" y="964030"/>
                  <a:pt x="610294" y="967128"/>
                  <a:pt x="613863" y="968311"/>
                </a:cubicBezTo>
                <a:cubicBezTo>
                  <a:pt x="620963" y="970665"/>
                  <a:pt x="625924" y="974774"/>
                  <a:pt x="629435" y="981186"/>
                </a:cubicBezTo>
                <a:cubicBezTo>
                  <a:pt x="630381" y="982913"/>
                  <a:pt x="631977" y="984459"/>
                  <a:pt x="633611" y="985609"/>
                </a:cubicBezTo>
                <a:cubicBezTo>
                  <a:pt x="655878" y="1001272"/>
                  <a:pt x="668032" y="1023762"/>
                  <a:pt x="673790" y="1049348"/>
                </a:cubicBezTo>
                <a:cubicBezTo>
                  <a:pt x="676936" y="1063327"/>
                  <a:pt x="679769" y="1077802"/>
                  <a:pt x="675873" y="1092839"/>
                </a:cubicBezTo>
                <a:cubicBezTo>
                  <a:pt x="672677" y="1105174"/>
                  <a:pt x="673042" y="1116963"/>
                  <a:pt x="681668" y="1129292"/>
                </a:cubicBezTo>
                <a:cubicBezTo>
                  <a:pt x="695321" y="1148802"/>
                  <a:pt x="698550" y="1172235"/>
                  <a:pt x="697338" y="1196079"/>
                </a:cubicBezTo>
                <a:cubicBezTo>
                  <a:pt x="697087" y="1201014"/>
                  <a:pt x="694979" y="1203886"/>
                  <a:pt x="690637" y="1205035"/>
                </a:cubicBezTo>
                <a:cubicBezTo>
                  <a:pt x="673723" y="1209511"/>
                  <a:pt x="656856" y="1214241"/>
                  <a:pt x="639777" y="1217994"/>
                </a:cubicBezTo>
                <a:cubicBezTo>
                  <a:pt x="622334" y="1221827"/>
                  <a:pt x="604691" y="1224790"/>
                  <a:pt x="587072" y="1227761"/>
                </a:cubicBezTo>
                <a:cubicBezTo>
                  <a:pt x="582708" y="1228497"/>
                  <a:pt x="581724" y="1230736"/>
                  <a:pt x="581793" y="1234401"/>
                </a:cubicBezTo>
                <a:moveTo>
                  <a:pt x="357446" y="903795"/>
                </a:moveTo>
                <a:cubicBezTo>
                  <a:pt x="353141" y="903795"/>
                  <a:pt x="348835" y="903795"/>
                  <a:pt x="344445" y="903795"/>
                </a:cubicBezTo>
                <a:cubicBezTo>
                  <a:pt x="346169" y="920562"/>
                  <a:pt x="347908" y="935520"/>
                  <a:pt x="349212" y="950515"/>
                </a:cubicBezTo>
                <a:cubicBezTo>
                  <a:pt x="352656" y="990125"/>
                  <a:pt x="351941" y="1029743"/>
                  <a:pt x="349538" y="1069392"/>
                </a:cubicBezTo>
                <a:cubicBezTo>
                  <a:pt x="348759" y="1082241"/>
                  <a:pt x="349415" y="1095176"/>
                  <a:pt x="349415" y="1108925"/>
                </a:cubicBezTo>
                <a:cubicBezTo>
                  <a:pt x="449467" y="1111953"/>
                  <a:pt x="548509" y="1104712"/>
                  <a:pt x="647726" y="1089872"/>
                </a:cubicBezTo>
                <a:cubicBezTo>
                  <a:pt x="647726" y="1084313"/>
                  <a:pt x="648180" y="1080225"/>
                  <a:pt x="647654" y="1076267"/>
                </a:cubicBezTo>
                <a:cubicBezTo>
                  <a:pt x="643515" y="1045124"/>
                  <a:pt x="633172" y="1016714"/>
                  <a:pt x="610267" y="994126"/>
                </a:cubicBezTo>
                <a:cubicBezTo>
                  <a:pt x="597451" y="981485"/>
                  <a:pt x="584392" y="969090"/>
                  <a:pt x="571459" y="956568"/>
                </a:cubicBezTo>
                <a:cubicBezTo>
                  <a:pt x="555751" y="941359"/>
                  <a:pt x="544836" y="923558"/>
                  <a:pt x="541653" y="901544"/>
                </a:cubicBezTo>
                <a:cubicBezTo>
                  <a:pt x="541430" y="900007"/>
                  <a:pt x="540528" y="898570"/>
                  <a:pt x="539477" y="895908"/>
                </a:cubicBezTo>
                <a:cubicBezTo>
                  <a:pt x="479736" y="901652"/>
                  <a:pt x="419815" y="904536"/>
                  <a:pt x="357446" y="903795"/>
                </a:cubicBezTo>
                <a:moveTo>
                  <a:pt x="300108" y="85260"/>
                </a:moveTo>
                <a:cubicBezTo>
                  <a:pt x="293656" y="98745"/>
                  <a:pt x="289202" y="113094"/>
                  <a:pt x="290213" y="127888"/>
                </a:cubicBezTo>
                <a:cubicBezTo>
                  <a:pt x="292527" y="161736"/>
                  <a:pt x="304185" y="191723"/>
                  <a:pt x="331056" y="214168"/>
                </a:cubicBezTo>
                <a:cubicBezTo>
                  <a:pt x="358172" y="236816"/>
                  <a:pt x="388435" y="249934"/>
                  <a:pt x="424717" y="245160"/>
                </a:cubicBezTo>
                <a:cubicBezTo>
                  <a:pt x="468593" y="239387"/>
                  <a:pt x="509574" y="203365"/>
                  <a:pt x="496752" y="141256"/>
                </a:cubicBezTo>
                <a:cubicBezTo>
                  <a:pt x="487021" y="94124"/>
                  <a:pt x="447261" y="51874"/>
                  <a:pt x="390320" y="43995"/>
                </a:cubicBezTo>
                <a:cubicBezTo>
                  <a:pt x="353241" y="38865"/>
                  <a:pt x="321136" y="48750"/>
                  <a:pt x="300108" y="85260"/>
                </a:cubicBezTo>
                <a:moveTo>
                  <a:pt x="343360" y="634332"/>
                </a:moveTo>
                <a:cubicBezTo>
                  <a:pt x="342539" y="666975"/>
                  <a:pt x="341785" y="699619"/>
                  <a:pt x="340877" y="732259"/>
                </a:cubicBezTo>
                <a:cubicBezTo>
                  <a:pt x="340151" y="758355"/>
                  <a:pt x="339265" y="784447"/>
                  <a:pt x="338360" y="810538"/>
                </a:cubicBezTo>
                <a:cubicBezTo>
                  <a:pt x="338277" y="812948"/>
                  <a:pt x="337465" y="815325"/>
                  <a:pt x="337115" y="817736"/>
                </a:cubicBezTo>
                <a:cubicBezTo>
                  <a:pt x="334935" y="832710"/>
                  <a:pt x="336026" y="847647"/>
                  <a:pt x="336516" y="863022"/>
                </a:cubicBezTo>
                <a:cubicBezTo>
                  <a:pt x="339537" y="863479"/>
                  <a:pt x="341490" y="864053"/>
                  <a:pt x="343436" y="864027"/>
                </a:cubicBezTo>
                <a:cubicBezTo>
                  <a:pt x="364531" y="863739"/>
                  <a:pt x="385626" y="863422"/>
                  <a:pt x="406718" y="862982"/>
                </a:cubicBezTo>
                <a:cubicBezTo>
                  <a:pt x="423444" y="862634"/>
                  <a:pt x="440168" y="861675"/>
                  <a:pt x="456888" y="861794"/>
                </a:cubicBezTo>
                <a:cubicBezTo>
                  <a:pt x="469887" y="861886"/>
                  <a:pt x="482872" y="863302"/>
                  <a:pt x="495873" y="863963"/>
                </a:cubicBezTo>
                <a:cubicBezTo>
                  <a:pt x="500358" y="864191"/>
                  <a:pt x="505108" y="864773"/>
                  <a:pt x="509286" y="863595"/>
                </a:cubicBezTo>
                <a:cubicBezTo>
                  <a:pt x="512346" y="862732"/>
                  <a:pt x="515714" y="859703"/>
                  <a:pt x="516956" y="856791"/>
                </a:cubicBezTo>
                <a:cubicBezTo>
                  <a:pt x="517783" y="854851"/>
                  <a:pt x="515475" y="851192"/>
                  <a:pt x="513920" y="848709"/>
                </a:cubicBezTo>
                <a:cubicBezTo>
                  <a:pt x="511791" y="845308"/>
                  <a:pt x="508393" y="842606"/>
                  <a:pt x="506683" y="839054"/>
                </a:cubicBezTo>
                <a:cubicBezTo>
                  <a:pt x="500331" y="825864"/>
                  <a:pt x="493224" y="812855"/>
                  <a:pt x="488629" y="799037"/>
                </a:cubicBezTo>
                <a:cubicBezTo>
                  <a:pt x="477322" y="765031"/>
                  <a:pt x="466537" y="730814"/>
                  <a:pt x="456922" y="696297"/>
                </a:cubicBezTo>
                <a:cubicBezTo>
                  <a:pt x="449953" y="671276"/>
                  <a:pt x="443477" y="646020"/>
                  <a:pt x="441346" y="619885"/>
                </a:cubicBezTo>
                <a:cubicBezTo>
                  <a:pt x="440327" y="607371"/>
                  <a:pt x="437466" y="595018"/>
                  <a:pt x="435963" y="582529"/>
                </a:cubicBezTo>
                <a:cubicBezTo>
                  <a:pt x="433539" y="562380"/>
                  <a:pt x="431154" y="542212"/>
                  <a:pt x="429497" y="521990"/>
                </a:cubicBezTo>
                <a:cubicBezTo>
                  <a:pt x="428135" y="505363"/>
                  <a:pt x="428437" y="488593"/>
                  <a:pt x="426887" y="471989"/>
                </a:cubicBezTo>
                <a:cubicBezTo>
                  <a:pt x="425874" y="461140"/>
                  <a:pt x="424983" y="461120"/>
                  <a:pt x="413744" y="461077"/>
                </a:cubicBezTo>
                <a:cubicBezTo>
                  <a:pt x="393687" y="461000"/>
                  <a:pt x="373630" y="461011"/>
                  <a:pt x="353573" y="461120"/>
                </a:cubicBezTo>
                <a:cubicBezTo>
                  <a:pt x="350472" y="461137"/>
                  <a:pt x="347374" y="461869"/>
                  <a:pt x="344160" y="462286"/>
                </a:cubicBezTo>
                <a:cubicBezTo>
                  <a:pt x="343828" y="465198"/>
                  <a:pt x="343406" y="467195"/>
                  <a:pt x="343404" y="469192"/>
                </a:cubicBezTo>
                <a:cubicBezTo>
                  <a:pt x="343360" y="504394"/>
                  <a:pt x="343267" y="539596"/>
                  <a:pt x="343469" y="574797"/>
                </a:cubicBezTo>
                <a:cubicBezTo>
                  <a:pt x="343501" y="580426"/>
                  <a:pt x="345652" y="586065"/>
                  <a:pt x="345522" y="591669"/>
                </a:cubicBezTo>
                <a:cubicBezTo>
                  <a:pt x="345214" y="605082"/>
                  <a:pt x="344131" y="618478"/>
                  <a:pt x="343360" y="634332"/>
                </a:cubicBezTo>
                <a:moveTo>
                  <a:pt x="416946" y="385943"/>
                </a:moveTo>
                <a:cubicBezTo>
                  <a:pt x="411661" y="386365"/>
                  <a:pt x="406384" y="387006"/>
                  <a:pt x="401091" y="387162"/>
                </a:cubicBezTo>
                <a:cubicBezTo>
                  <a:pt x="390470" y="387477"/>
                  <a:pt x="379841" y="387447"/>
                  <a:pt x="369218" y="387708"/>
                </a:cubicBezTo>
                <a:cubicBezTo>
                  <a:pt x="361167" y="387906"/>
                  <a:pt x="354429" y="391368"/>
                  <a:pt x="351833" y="398991"/>
                </a:cubicBezTo>
                <a:cubicBezTo>
                  <a:pt x="348989" y="407342"/>
                  <a:pt x="347050" y="416214"/>
                  <a:pt x="349778" y="426021"/>
                </a:cubicBezTo>
                <a:cubicBezTo>
                  <a:pt x="353876" y="426204"/>
                  <a:pt x="357857" y="426517"/>
                  <a:pt x="361839" y="426538"/>
                </a:cubicBezTo>
                <a:cubicBezTo>
                  <a:pt x="392900" y="426701"/>
                  <a:pt x="423961" y="426826"/>
                  <a:pt x="455022" y="426922"/>
                </a:cubicBezTo>
                <a:cubicBezTo>
                  <a:pt x="464013" y="426950"/>
                  <a:pt x="473106" y="427654"/>
                  <a:pt x="481958" y="426527"/>
                </a:cubicBezTo>
                <a:cubicBezTo>
                  <a:pt x="488144" y="425740"/>
                  <a:pt x="494821" y="423501"/>
                  <a:pt x="499817" y="419888"/>
                </a:cubicBezTo>
                <a:cubicBezTo>
                  <a:pt x="507869" y="414066"/>
                  <a:pt x="507286" y="406755"/>
                  <a:pt x="499439" y="400719"/>
                </a:cubicBezTo>
                <a:cubicBezTo>
                  <a:pt x="490179" y="393597"/>
                  <a:pt x="479486" y="388885"/>
                  <a:pt x="468062" y="387775"/>
                </a:cubicBezTo>
                <a:cubicBezTo>
                  <a:pt x="451873" y="386202"/>
                  <a:pt x="435520" y="386321"/>
                  <a:pt x="416946" y="385943"/>
                </a:cubicBezTo>
                <a:moveTo>
                  <a:pt x="636802" y="1190940"/>
                </a:moveTo>
                <a:cubicBezTo>
                  <a:pt x="646709" y="1188723"/>
                  <a:pt x="656705" y="1186841"/>
                  <a:pt x="666492" y="1184186"/>
                </a:cubicBezTo>
                <a:cubicBezTo>
                  <a:pt x="674710" y="1181958"/>
                  <a:pt x="676989" y="1178509"/>
                  <a:pt x="674465" y="1170880"/>
                </a:cubicBezTo>
                <a:cubicBezTo>
                  <a:pt x="671144" y="1160843"/>
                  <a:pt x="667026" y="1151009"/>
                  <a:pt x="662462" y="1141464"/>
                </a:cubicBezTo>
                <a:cubicBezTo>
                  <a:pt x="659273" y="1134795"/>
                  <a:pt x="653671" y="1130908"/>
                  <a:pt x="645564" y="1131937"/>
                </a:cubicBezTo>
                <a:cubicBezTo>
                  <a:pt x="639532" y="1132703"/>
                  <a:pt x="633423" y="1132867"/>
                  <a:pt x="627387" y="1133618"/>
                </a:cubicBezTo>
                <a:cubicBezTo>
                  <a:pt x="612888" y="1135421"/>
                  <a:pt x="598449" y="1137770"/>
                  <a:pt x="583917" y="1139222"/>
                </a:cubicBezTo>
                <a:cubicBezTo>
                  <a:pt x="570571" y="1140557"/>
                  <a:pt x="557130" y="1140930"/>
                  <a:pt x="543741" y="1141869"/>
                </a:cubicBezTo>
                <a:cubicBezTo>
                  <a:pt x="533202" y="1142610"/>
                  <a:pt x="522682" y="1143623"/>
                  <a:pt x="512146" y="1144418"/>
                </a:cubicBezTo>
                <a:cubicBezTo>
                  <a:pt x="490671" y="1146038"/>
                  <a:pt x="469214" y="1148450"/>
                  <a:pt x="447711" y="1148973"/>
                </a:cubicBezTo>
                <a:cubicBezTo>
                  <a:pt x="415817" y="1149749"/>
                  <a:pt x="383891" y="1149136"/>
                  <a:pt x="351979" y="1149200"/>
                </a:cubicBezTo>
                <a:cubicBezTo>
                  <a:pt x="347698" y="1149209"/>
                  <a:pt x="343419" y="1149717"/>
                  <a:pt x="338443" y="1150040"/>
                </a:cubicBezTo>
                <a:cubicBezTo>
                  <a:pt x="338443" y="1164651"/>
                  <a:pt x="338413" y="1177715"/>
                  <a:pt x="338451" y="1190780"/>
                </a:cubicBezTo>
                <a:cubicBezTo>
                  <a:pt x="338490" y="1204031"/>
                  <a:pt x="338512" y="1204062"/>
                  <a:pt x="351082" y="1207015"/>
                </a:cubicBezTo>
                <a:cubicBezTo>
                  <a:pt x="353445" y="1207570"/>
                  <a:pt x="355895" y="1208128"/>
                  <a:pt x="358298" y="1208094"/>
                </a:cubicBezTo>
                <a:cubicBezTo>
                  <a:pt x="412608" y="1207329"/>
                  <a:pt x="466919" y="1206484"/>
                  <a:pt x="521229" y="1205646"/>
                </a:cubicBezTo>
                <a:cubicBezTo>
                  <a:pt x="522045" y="1205634"/>
                  <a:pt x="522865" y="1205591"/>
                  <a:pt x="523675" y="1205490"/>
                </a:cubicBezTo>
                <a:cubicBezTo>
                  <a:pt x="542593" y="1203123"/>
                  <a:pt x="561519" y="1200820"/>
                  <a:pt x="580423" y="1198350"/>
                </a:cubicBezTo>
                <a:cubicBezTo>
                  <a:pt x="598523" y="1195985"/>
                  <a:pt x="616599" y="1193446"/>
                  <a:pt x="636802" y="1190940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3" name="Free-form: Shape 22">
            <a:extLst>
              <a:ext uri="{FF2B5EF4-FFF2-40B4-BE49-F238E27FC236}">
                <a16:creationId xmlns:a16="http://schemas.microsoft.com/office/drawing/2014/main" id="{7ED0C52A-B5E2-802E-4ED8-908A91971963}"/>
              </a:ext>
            </a:extLst>
          </p:cNvPr>
          <p:cNvSpPr/>
          <p:nvPr/>
        </p:nvSpPr>
        <p:spPr>
          <a:xfrm>
            <a:off x="1123639" y="3007514"/>
            <a:ext cx="17183" cy="1817"/>
          </a:xfrm>
          <a:custGeom>
            <a:avLst/>
            <a:gdLst>
              <a:gd name="csX0" fmla="*/ 0 w 27674"/>
              <a:gd name="csY0" fmla="*/ 2915 h 2925"/>
              <a:gd name="csX1" fmla="*/ 27675 w 27674"/>
              <a:gd name="csY1" fmla="*/ 1550 h 2925"/>
              <a:gd name="csX2" fmla="*/ 0 w 27674"/>
              <a:gd name="csY2" fmla="*/ 2915 h 292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27674" h="2925">
                <a:moveTo>
                  <a:pt x="0" y="2915"/>
                </a:moveTo>
                <a:cubicBezTo>
                  <a:pt x="8211" y="-1939"/>
                  <a:pt x="17625" y="498"/>
                  <a:pt x="27675" y="1550"/>
                </a:cubicBezTo>
                <a:cubicBezTo>
                  <a:pt x="19225" y="2593"/>
                  <a:pt x="10029" y="2999"/>
                  <a:pt x="0" y="2915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4" name="Free-form: Shape 23">
            <a:extLst>
              <a:ext uri="{FF2B5EF4-FFF2-40B4-BE49-F238E27FC236}">
                <a16:creationId xmlns:a16="http://schemas.microsoft.com/office/drawing/2014/main" id="{C6762867-27EF-9109-74E4-A7654DD01CC4}"/>
              </a:ext>
            </a:extLst>
          </p:cNvPr>
          <p:cNvSpPr/>
          <p:nvPr/>
        </p:nvSpPr>
        <p:spPr>
          <a:xfrm>
            <a:off x="1076335" y="3008538"/>
            <a:ext cx="11179" cy="700"/>
          </a:xfrm>
          <a:custGeom>
            <a:avLst/>
            <a:gdLst>
              <a:gd name="csX0" fmla="*/ 0 w 18003"/>
              <a:gd name="csY0" fmla="*/ 1050 h 1128"/>
              <a:gd name="csX1" fmla="*/ 18004 w 18003"/>
              <a:gd name="csY1" fmla="*/ 93 h 1128"/>
              <a:gd name="csX2" fmla="*/ 0 w 18003"/>
              <a:gd name="csY2" fmla="*/ 1050 h 112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8003" h="1128">
                <a:moveTo>
                  <a:pt x="0" y="1050"/>
                </a:moveTo>
                <a:cubicBezTo>
                  <a:pt x="5276" y="182"/>
                  <a:pt x="11306" y="-189"/>
                  <a:pt x="18004" y="93"/>
                </a:cubicBezTo>
                <a:cubicBezTo>
                  <a:pt x="12699" y="1013"/>
                  <a:pt x="6726" y="1280"/>
                  <a:pt x="0" y="1050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5" name="Free-form: Shape 24">
            <a:extLst>
              <a:ext uri="{FF2B5EF4-FFF2-40B4-BE49-F238E27FC236}">
                <a16:creationId xmlns:a16="http://schemas.microsoft.com/office/drawing/2014/main" id="{75671714-40C6-4DDF-EFC9-B5F4043DFDD8}"/>
              </a:ext>
            </a:extLst>
          </p:cNvPr>
          <p:cNvSpPr/>
          <p:nvPr/>
        </p:nvSpPr>
        <p:spPr>
          <a:xfrm>
            <a:off x="1157302" y="2441738"/>
            <a:ext cx="5257" cy="4867"/>
          </a:xfrm>
          <a:custGeom>
            <a:avLst/>
            <a:gdLst>
              <a:gd name="csX0" fmla="*/ 473 w 8466"/>
              <a:gd name="csY0" fmla="*/ 7839 h 7838"/>
              <a:gd name="csX1" fmla="*/ 8466 w 8466"/>
              <a:gd name="csY1" fmla="*/ 61 h 7838"/>
              <a:gd name="csX2" fmla="*/ 473 w 8466"/>
              <a:gd name="csY2" fmla="*/ 7839 h 783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66" h="7838">
                <a:moveTo>
                  <a:pt x="473" y="7839"/>
                </a:moveTo>
                <a:cubicBezTo>
                  <a:pt x="-1298" y="1550"/>
                  <a:pt x="2020" y="-386"/>
                  <a:pt x="8466" y="61"/>
                </a:cubicBezTo>
                <a:cubicBezTo>
                  <a:pt x="6730" y="2845"/>
                  <a:pt x="4026" y="5401"/>
                  <a:pt x="473" y="7839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6" name="Free-form: Shape 25">
            <a:extLst>
              <a:ext uri="{FF2B5EF4-FFF2-40B4-BE49-F238E27FC236}">
                <a16:creationId xmlns:a16="http://schemas.microsoft.com/office/drawing/2014/main" id="{023F4A4E-A21F-5FBD-AB1A-2B6FD33E757F}"/>
              </a:ext>
            </a:extLst>
          </p:cNvPr>
          <p:cNvSpPr/>
          <p:nvPr/>
        </p:nvSpPr>
        <p:spPr>
          <a:xfrm>
            <a:off x="1021306" y="3007024"/>
            <a:ext cx="5265" cy="618"/>
          </a:xfrm>
          <a:custGeom>
            <a:avLst/>
            <a:gdLst>
              <a:gd name="csX0" fmla="*/ 0 w 8480"/>
              <a:gd name="csY0" fmla="*/ 896 h 996"/>
              <a:gd name="csX1" fmla="*/ 8480 w 8480"/>
              <a:gd name="csY1" fmla="*/ 110 h 996"/>
              <a:gd name="csX2" fmla="*/ 0 w 8480"/>
              <a:gd name="csY2" fmla="*/ 896 h 99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80" h="996">
                <a:moveTo>
                  <a:pt x="0" y="896"/>
                </a:moveTo>
                <a:cubicBezTo>
                  <a:pt x="2285" y="115"/>
                  <a:pt x="5130" y="-182"/>
                  <a:pt x="8480" y="110"/>
                </a:cubicBezTo>
                <a:cubicBezTo>
                  <a:pt x="6177" y="927"/>
                  <a:pt x="3368" y="1153"/>
                  <a:pt x="0" y="896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7" name="Free-form: Shape 26">
            <a:extLst>
              <a:ext uri="{FF2B5EF4-FFF2-40B4-BE49-F238E27FC236}">
                <a16:creationId xmlns:a16="http://schemas.microsoft.com/office/drawing/2014/main" id="{9752FC82-9E99-8937-5610-89DACFA88018}"/>
              </a:ext>
            </a:extLst>
          </p:cNvPr>
          <p:cNvSpPr/>
          <p:nvPr/>
        </p:nvSpPr>
        <p:spPr>
          <a:xfrm>
            <a:off x="1308067" y="2980495"/>
            <a:ext cx="763" cy="4134"/>
          </a:xfrm>
          <a:custGeom>
            <a:avLst/>
            <a:gdLst>
              <a:gd name="csX0" fmla="*/ 132 w 1229"/>
              <a:gd name="csY0" fmla="*/ 6659 h 6658"/>
              <a:gd name="csX1" fmla="*/ 1107 w 1229"/>
              <a:gd name="csY1" fmla="*/ 0 h 6658"/>
              <a:gd name="csX2" fmla="*/ 132 w 1229"/>
              <a:gd name="csY2" fmla="*/ 6659 h 665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229" h="6658">
                <a:moveTo>
                  <a:pt x="132" y="6659"/>
                </a:moveTo>
                <a:cubicBezTo>
                  <a:pt x="-219" y="4616"/>
                  <a:pt x="139" y="2560"/>
                  <a:pt x="1107" y="0"/>
                </a:cubicBezTo>
                <a:cubicBezTo>
                  <a:pt x="1425" y="1879"/>
                  <a:pt x="1133" y="4263"/>
                  <a:pt x="132" y="6659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" name="Free-form: Shape 27">
            <a:extLst>
              <a:ext uri="{FF2B5EF4-FFF2-40B4-BE49-F238E27FC236}">
                <a16:creationId xmlns:a16="http://schemas.microsoft.com/office/drawing/2014/main" id="{81E897D2-8B78-8FAB-B5FF-1D7B6F2FF4A5}"/>
              </a:ext>
            </a:extLst>
          </p:cNvPr>
          <p:cNvSpPr/>
          <p:nvPr/>
        </p:nvSpPr>
        <p:spPr>
          <a:xfrm>
            <a:off x="1240871" y="3000772"/>
            <a:ext cx="2352" cy="847"/>
          </a:xfrm>
          <a:custGeom>
            <a:avLst/>
            <a:gdLst>
              <a:gd name="csX0" fmla="*/ 0 w 3788"/>
              <a:gd name="csY0" fmla="*/ 1364 h 1364"/>
              <a:gd name="csX1" fmla="*/ 3788 w 3788"/>
              <a:gd name="csY1" fmla="*/ 0 h 1364"/>
              <a:gd name="csX2" fmla="*/ 0 w 3788"/>
              <a:gd name="csY2" fmla="*/ 1364 h 136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788" h="1364">
                <a:moveTo>
                  <a:pt x="0" y="1364"/>
                </a:moveTo>
                <a:cubicBezTo>
                  <a:pt x="856" y="517"/>
                  <a:pt x="2126" y="39"/>
                  <a:pt x="3788" y="0"/>
                </a:cubicBezTo>
                <a:cubicBezTo>
                  <a:pt x="2925" y="870"/>
                  <a:pt x="1670" y="1303"/>
                  <a:pt x="0" y="1364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9" name="Free-form: Shape 28">
            <a:extLst>
              <a:ext uri="{FF2B5EF4-FFF2-40B4-BE49-F238E27FC236}">
                <a16:creationId xmlns:a16="http://schemas.microsoft.com/office/drawing/2014/main" id="{62094B12-2E5F-C227-9C67-69363B32AA11}"/>
              </a:ext>
            </a:extLst>
          </p:cNvPr>
          <p:cNvSpPr/>
          <p:nvPr/>
        </p:nvSpPr>
        <p:spPr>
          <a:xfrm>
            <a:off x="969288" y="3004046"/>
            <a:ext cx="2478" cy="515"/>
          </a:xfrm>
          <a:custGeom>
            <a:avLst/>
            <a:gdLst>
              <a:gd name="csX0" fmla="*/ 0 w 3990"/>
              <a:gd name="csY0" fmla="*/ 719 h 829"/>
              <a:gd name="csX1" fmla="*/ 3990 w 3990"/>
              <a:gd name="csY1" fmla="*/ 119 h 829"/>
              <a:gd name="csX2" fmla="*/ 0 w 3990"/>
              <a:gd name="csY2" fmla="*/ 719 h 82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990" h="829">
                <a:moveTo>
                  <a:pt x="0" y="719"/>
                </a:moveTo>
                <a:cubicBezTo>
                  <a:pt x="982" y="66"/>
                  <a:pt x="2323" y="-163"/>
                  <a:pt x="3990" y="119"/>
                </a:cubicBezTo>
                <a:cubicBezTo>
                  <a:pt x="2998" y="800"/>
                  <a:pt x="1678" y="972"/>
                  <a:pt x="0" y="719"/>
                </a:cubicBezTo>
                <a:close/>
              </a:path>
            </a:pathLst>
          </a:custGeom>
          <a:solidFill>
            <a:srgbClr val="959DA0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0" name="Free-form: Shape 29">
            <a:extLst>
              <a:ext uri="{FF2B5EF4-FFF2-40B4-BE49-F238E27FC236}">
                <a16:creationId xmlns:a16="http://schemas.microsoft.com/office/drawing/2014/main" id="{203770BC-B355-7519-6CF4-BAE29EB8C768}"/>
              </a:ext>
            </a:extLst>
          </p:cNvPr>
          <p:cNvSpPr/>
          <p:nvPr/>
        </p:nvSpPr>
        <p:spPr>
          <a:xfrm>
            <a:off x="1179836" y="3007002"/>
            <a:ext cx="2417" cy="705"/>
          </a:xfrm>
          <a:custGeom>
            <a:avLst/>
            <a:gdLst>
              <a:gd name="csX0" fmla="*/ 0 w 3893"/>
              <a:gd name="csY0" fmla="*/ 1133 h 1135"/>
              <a:gd name="csX1" fmla="*/ 3893 w 3893"/>
              <a:gd name="csY1" fmla="*/ 7 h 1135"/>
              <a:gd name="csX2" fmla="*/ 0 w 3893"/>
              <a:gd name="csY2" fmla="*/ 1133 h 113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893" h="1135">
                <a:moveTo>
                  <a:pt x="0" y="1133"/>
                </a:moveTo>
                <a:cubicBezTo>
                  <a:pt x="902" y="349"/>
                  <a:pt x="2213" y="-60"/>
                  <a:pt x="3893" y="7"/>
                </a:cubicBezTo>
                <a:cubicBezTo>
                  <a:pt x="2978" y="825"/>
                  <a:pt x="1693" y="1167"/>
                  <a:pt x="0" y="1133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1" name="Free-form: Shape 30">
            <a:extLst>
              <a:ext uri="{FF2B5EF4-FFF2-40B4-BE49-F238E27FC236}">
                <a16:creationId xmlns:a16="http://schemas.microsoft.com/office/drawing/2014/main" id="{B0865AF5-DAAB-BACF-3AE6-5AFD3CE0A132}"/>
              </a:ext>
            </a:extLst>
          </p:cNvPr>
          <p:cNvSpPr/>
          <p:nvPr/>
        </p:nvSpPr>
        <p:spPr>
          <a:xfrm>
            <a:off x="1080240" y="2522338"/>
            <a:ext cx="112588" cy="250407"/>
          </a:xfrm>
          <a:custGeom>
            <a:avLst/>
            <a:gdLst>
              <a:gd name="csX0" fmla="*/ 7554 w 181323"/>
              <a:gd name="csY0" fmla="*/ 172079 h 403282"/>
              <a:gd name="csX1" fmla="*/ 9716 w 181323"/>
              <a:gd name="csY1" fmla="*/ 130641 h 403282"/>
              <a:gd name="csX2" fmla="*/ 7663 w 181323"/>
              <a:gd name="csY2" fmla="*/ 113770 h 403282"/>
              <a:gd name="csX3" fmla="*/ 7598 w 181323"/>
              <a:gd name="csY3" fmla="*/ 8165 h 403282"/>
              <a:gd name="csX4" fmla="*/ 8353 w 181323"/>
              <a:gd name="csY4" fmla="*/ 1259 h 403282"/>
              <a:gd name="csX5" fmla="*/ 17767 w 181323"/>
              <a:gd name="csY5" fmla="*/ 93 h 403282"/>
              <a:gd name="csX6" fmla="*/ 77938 w 181323"/>
              <a:gd name="csY6" fmla="*/ 50 h 403282"/>
              <a:gd name="csX7" fmla="*/ 91081 w 181323"/>
              <a:gd name="csY7" fmla="*/ 10962 h 403282"/>
              <a:gd name="csX8" fmla="*/ 93691 w 181323"/>
              <a:gd name="csY8" fmla="*/ 60963 h 403282"/>
              <a:gd name="csX9" fmla="*/ 100157 w 181323"/>
              <a:gd name="csY9" fmla="*/ 121501 h 403282"/>
              <a:gd name="csX10" fmla="*/ 105540 w 181323"/>
              <a:gd name="csY10" fmla="*/ 158857 h 403282"/>
              <a:gd name="csX11" fmla="*/ 121116 w 181323"/>
              <a:gd name="csY11" fmla="*/ 235269 h 403282"/>
              <a:gd name="csX12" fmla="*/ 152823 w 181323"/>
              <a:gd name="csY12" fmla="*/ 338010 h 403282"/>
              <a:gd name="csX13" fmla="*/ 170877 w 181323"/>
              <a:gd name="csY13" fmla="*/ 378027 h 403282"/>
              <a:gd name="csX14" fmla="*/ 178114 w 181323"/>
              <a:gd name="csY14" fmla="*/ 387682 h 403282"/>
              <a:gd name="csX15" fmla="*/ 181150 w 181323"/>
              <a:gd name="csY15" fmla="*/ 395764 h 403282"/>
              <a:gd name="csX16" fmla="*/ 173480 w 181323"/>
              <a:gd name="csY16" fmla="*/ 402568 h 403282"/>
              <a:gd name="csX17" fmla="*/ 160067 w 181323"/>
              <a:gd name="csY17" fmla="*/ 402936 h 403282"/>
              <a:gd name="csX18" fmla="*/ 121081 w 181323"/>
              <a:gd name="csY18" fmla="*/ 400766 h 403282"/>
              <a:gd name="csX19" fmla="*/ 70912 w 181323"/>
              <a:gd name="csY19" fmla="*/ 401955 h 403282"/>
              <a:gd name="csX20" fmla="*/ 7630 w 181323"/>
              <a:gd name="csY20" fmla="*/ 402999 h 403282"/>
              <a:gd name="csX21" fmla="*/ 710 w 181323"/>
              <a:gd name="csY21" fmla="*/ 401995 h 403282"/>
              <a:gd name="csX22" fmla="*/ 1308 w 181323"/>
              <a:gd name="csY22" fmla="*/ 356708 h 403282"/>
              <a:gd name="csX23" fmla="*/ 2554 w 181323"/>
              <a:gd name="csY23" fmla="*/ 349510 h 403282"/>
              <a:gd name="csX24" fmla="*/ 5071 w 181323"/>
              <a:gd name="csY24" fmla="*/ 271231 h 403282"/>
              <a:gd name="csX25" fmla="*/ 7554 w 181323"/>
              <a:gd name="csY25" fmla="*/ 172079 h 403282"/>
              <a:gd name="csX26" fmla="*/ 98286 w 181323"/>
              <a:gd name="csY26" fmla="*/ 163566 h 403282"/>
              <a:gd name="csX27" fmla="*/ 83497 w 181323"/>
              <a:gd name="csY27" fmla="*/ 8289 h 403282"/>
              <a:gd name="csX28" fmla="*/ 15161 w 181323"/>
              <a:gd name="csY28" fmla="*/ 9148 h 403282"/>
              <a:gd name="csX29" fmla="*/ 15058 w 181323"/>
              <a:gd name="csY29" fmla="*/ 137939 h 403282"/>
              <a:gd name="csX30" fmla="*/ 12252 w 181323"/>
              <a:gd name="csY30" fmla="*/ 266862 h 403282"/>
              <a:gd name="csX31" fmla="*/ 7068 w 181323"/>
              <a:gd name="csY31" fmla="*/ 395996 h 403282"/>
              <a:gd name="csX32" fmla="*/ 171647 w 181323"/>
              <a:gd name="csY32" fmla="*/ 395996 h 403282"/>
              <a:gd name="csX33" fmla="*/ 119950 w 181323"/>
              <a:gd name="csY33" fmla="*/ 259496 h 403282"/>
              <a:gd name="csX34" fmla="*/ 98286 w 181323"/>
              <a:gd name="csY34" fmla="*/ 163566 h 40328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</a:cxnLst>
            <a:rect l="l" t="t" r="r" b="b"/>
            <a:pathLst>
              <a:path w="181323" h="403282">
                <a:moveTo>
                  <a:pt x="7554" y="172079"/>
                </a:moveTo>
                <a:cubicBezTo>
                  <a:pt x="8325" y="157451"/>
                  <a:pt x="9408" y="144055"/>
                  <a:pt x="9716" y="130641"/>
                </a:cubicBezTo>
                <a:cubicBezTo>
                  <a:pt x="9846" y="125037"/>
                  <a:pt x="7695" y="119399"/>
                  <a:pt x="7663" y="113770"/>
                </a:cubicBezTo>
                <a:cubicBezTo>
                  <a:pt x="7461" y="78569"/>
                  <a:pt x="7554" y="43367"/>
                  <a:pt x="7598" y="8165"/>
                </a:cubicBezTo>
                <a:cubicBezTo>
                  <a:pt x="7600" y="6167"/>
                  <a:pt x="8022" y="4170"/>
                  <a:pt x="8353" y="1259"/>
                </a:cubicBezTo>
                <a:cubicBezTo>
                  <a:pt x="11568" y="842"/>
                  <a:pt x="14666" y="109"/>
                  <a:pt x="17767" y="93"/>
                </a:cubicBezTo>
                <a:cubicBezTo>
                  <a:pt x="37824" y="-17"/>
                  <a:pt x="57881" y="-27"/>
                  <a:pt x="77938" y="50"/>
                </a:cubicBezTo>
                <a:cubicBezTo>
                  <a:pt x="89177" y="93"/>
                  <a:pt x="90068" y="113"/>
                  <a:pt x="91081" y="10962"/>
                </a:cubicBezTo>
                <a:cubicBezTo>
                  <a:pt x="92631" y="27565"/>
                  <a:pt x="92329" y="44335"/>
                  <a:pt x="93691" y="60963"/>
                </a:cubicBezTo>
                <a:cubicBezTo>
                  <a:pt x="95348" y="81184"/>
                  <a:pt x="97732" y="101353"/>
                  <a:pt x="100157" y="121501"/>
                </a:cubicBezTo>
                <a:cubicBezTo>
                  <a:pt x="101660" y="133990"/>
                  <a:pt x="104521" y="146343"/>
                  <a:pt x="105540" y="158857"/>
                </a:cubicBezTo>
                <a:cubicBezTo>
                  <a:pt x="107671" y="184993"/>
                  <a:pt x="114147" y="210249"/>
                  <a:pt x="121116" y="235269"/>
                </a:cubicBezTo>
                <a:cubicBezTo>
                  <a:pt x="130731" y="269786"/>
                  <a:pt x="141516" y="304004"/>
                  <a:pt x="152823" y="338010"/>
                </a:cubicBezTo>
                <a:cubicBezTo>
                  <a:pt x="157418" y="351828"/>
                  <a:pt x="164524" y="364837"/>
                  <a:pt x="170877" y="378027"/>
                </a:cubicBezTo>
                <a:cubicBezTo>
                  <a:pt x="172587" y="381579"/>
                  <a:pt x="175985" y="384280"/>
                  <a:pt x="178114" y="387682"/>
                </a:cubicBezTo>
                <a:cubicBezTo>
                  <a:pt x="179669" y="390165"/>
                  <a:pt x="181977" y="393824"/>
                  <a:pt x="181150" y="395764"/>
                </a:cubicBezTo>
                <a:cubicBezTo>
                  <a:pt x="179907" y="398676"/>
                  <a:pt x="176540" y="401705"/>
                  <a:pt x="173480" y="402568"/>
                </a:cubicBezTo>
                <a:cubicBezTo>
                  <a:pt x="169302" y="403746"/>
                  <a:pt x="164551" y="403164"/>
                  <a:pt x="160067" y="402936"/>
                </a:cubicBezTo>
                <a:cubicBezTo>
                  <a:pt x="147066" y="402274"/>
                  <a:pt x="134081" y="400859"/>
                  <a:pt x="121081" y="400766"/>
                </a:cubicBezTo>
                <a:cubicBezTo>
                  <a:pt x="104362" y="400647"/>
                  <a:pt x="87638" y="401607"/>
                  <a:pt x="70912" y="401955"/>
                </a:cubicBezTo>
                <a:cubicBezTo>
                  <a:pt x="49820" y="402394"/>
                  <a:pt x="28725" y="402712"/>
                  <a:pt x="7630" y="402999"/>
                </a:cubicBezTo>
                <a:cubicBezTo>
                  <a:pt x="5684" y="403026"/>
                  <a:pt x="3731" y="402452"/>
                  <a:pt x="710" y="401995"/>
                </a:cubicBezTo>
                <a:cubicBezTo>
                  <a:pt x="219" y="386620"/>
                  <a:pt x="-871" y="371682"/>
                  <a:pt x="1308" y="356708"/>
                </a:cubicBezTo>
                <a:cubicBezTo>
                  <a:pt x="1659" y="354298"/>
                  <a:pt x="2471" y="351920"/>
                  <a:pt x="2554" y="349510"/>
                </a:cubicBezTo>
                <a:cubicBezTo>
                  <a:pt x="3459" y="323419"/>
                  <a:pt x="4345" y="297328"/>
                  <a:pt x="5071" y="271231"/>
                </a:cubicBezTo>
                <a:cubicBezTo>
                  <a:pt x="5979" y="238591"/>
                  <a:pt x="6733" y="205947"/>
                  <a:pt x="7554" y="172079"/>
                </a:cubicBezTo>
                <a:moveTo>
                  <a:pt x="98286" y="163566"/>
                </a:moveTo>
                <a:cubicBezTo>
                  <a:pt x="89288" y="112116"/>
                  <a:pt x="86355" y="60033"/>
                  <a:pt x="83497" y="8289"/>
                </a:cubicBezTo>
                <a:cubicBezTo>
                  <a:pt x="65606" y="5845"/>
                  <a:pt x="24110" y="6470"/>
                  <a:pt x="15161" y="9148"/>
                </a:cubicBezTo>
                <a:cubicBezTo>
                  <a:pt x="15161" y="52045"/>
                  <a:pt x="15527" y="94996"/>
                  <a:pt x="15058" y="137939"/>
                </a:cubicBezTo>
                <a:cubicBezTo>
                  <a:pt x="14587" y="180919"/>
                  <a:pt x="13597" y="223900"/>
                  <a:pt x="12252" y="266862"/>
                </a:cubicBezTo>
                <a:cubicBezTo>
                  <a:pt x="10912" y="309638"/>
                  <a:pt x="8849" y="352391"/>
                  <a:pt x="7068" y="395996"/>
                </a:cubicBezTo>
                <a:cubicBezTo>
                  <a:pt x="62774" y="395996"/>
                  <a:pt x="116821" y="395996"/>
                  <a:pt x="171647" y="395996"/>
                </a:cubicBezTo>
                <a:cubicBezTo>
                  <a:pt x="148550" y="352016"/>
                  <a:pt x="132566" y="306307"/>
                  <a:pt x="119950" y="259496"/>
                </a:cubicBezTo>
                <a:cubicBezTo>
                  <a:pt x="111608" y="228543"/>
                  <a:pt x="105493" y="196989"/>
                  <a:pt x="98286" y="163566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" name="Free-form: Shape 31">
            <a:extLst>
              <a:ext uri="{FF2B5EF4-FFF2-40B4-BE49-F238E27FC236}">
                <a16:creationId xmlns:a16="http://schemas.microsoft.com/office/drawing/2014/main" id="{A4FCC791-D4DD-A2C2-511E-BD5BD957037A}"/>
              </a:ext>
            </a:extLst>
          </p:cNvPr>
          <p:cNvSpPr/>
          <p:nvPr/>
        </p:nvSpPr>
        <p:spPr>
          <a:xfrm>
            <a:off x="1081871" y="2938819"/>
            <a:ext cx="209255" cy="47389"/>
          </a:xfrm>
          <a:custGeom>
            <a:avLst/>
            <a:gdLst>
              <a:gd name="csX0" fmla="*/ 297312 w 337008"/>
              <a:gd name="csY0" fmla="*/ 59188 h 76321"/>
              <a:gd name="csX1" fmla="*/ 241991 w 337008"/>
              <a:gd name="csY1" fmla="*/ 66577 h 76321"/>
              <a:gd name="csX2" fmla="*/ 185243 w 337008"/>
              <a:gd name="csY2" fmla="*/ 73717 h 76321"/>
              <a:gd name="csX3" fmla="*/ 182797 w 337008"/>
              <a:gd name="csY3" fmla="*/ 73873 h 76321"/>
              <a:gd name="csX4" fmla="*/ 19866 w 337008"/>
              <a:gd name="csY4" fmla="*/ 76320 h 76321"/>
              <a:gd name="csX5" fmla="*/ 12650 w 337008"/>
              <a:gd name="csY5" fmla="*/ 75242 h 76321"/>
              <a:gd name="csX6" fmla="*/ 19 w 337008"/>
              <a:gd name="csY6" fmla="*/ 59006 h 76321"/>
              <a:gd name="csX7" fmla="*/ 11 w 337008"/>
              <a:gd name="csY7" fmla="*/ 18266 h 76321"/>
              <a:gd name="csX8" fmla="*/ 13547 w 337008"/>
              <a:gd name="csY8" fmla="*/ 17427 h 76321"/>
              <a:gd name="csX9" fmla="*/ 109279 w 337008"/>
              <a:gd name="csY9" fmla="*/ 17200 h 76321"/>
              <a:gd name="csX10" fmla="*/ 173714 w 337008"/>
              <a:gd name="csY10" fmla="*/ 12645 h 76321"/>
              <a:gd name="csX11" fmla="*/ 205309 w 337008"/>
              <a:gd name="csY11" fmla="*/ 10096 h 76321"/>
              <a:gd name="csX12" fmla="*/ 245485 w 337008"/>
              <a:gd name="csY12" fmla="*/ 7449 h 76321"/>
              <a:gd name="csX13" fmla="*/ 288955 w 337008"/>
              <a:gd name="csY13" fmla="*/ 1844 h 76321"/>
              <a:gd name="csX14" fmla="*/ 307132 w 337008"/>
              <a:gd name="csY14" fmla="*/ 164 h 76321"/>
              <a:gd name="csX15" fmla="*/ 324030 w 337008"/>
              <a:gd name="csY15" fmla="*/ 9691 h 76321"/>
              <a:gd name="csX16" fmla="*/ 336033 w 337008"/>
              <a:gd name="csY16" fmla="*/ 39107 h 76321"/>
              <a:gd name="csX17" fmla="*/ 328060 w 337008"/>
              <a:gd name="csY17" fmla="*/ 52413 h 76321"/>
              <a:gd name="csX18" fmla="*/ 297312 w 337008"/>
              <a:gd name="csY18" fmla="*/ 59188 h 76321"/>
              <a:gd name="csX19" fmla="*/ 207688 w 337008"/>
              <a:gd name="csY19" fmla="*/ 64284 h 76321"/>
              <a:gd name="csX20" fmla="*/ 330050 w 337008"/>
              <a:gd name="csY20" fmla="*/ 45606 h 76321"/>
              <a:gd name="csX21" fmla="*/ 317356 w 337008"/>
              <a:gd name="csY21" fmla="*/ 11297 h 76321"/>
              <a:gd name="csX22" fmla="*/ 304170 w 337008"/>
              <a:gd name="csY22" fmla="*/ 5545 h 76321"/>
              <a:gd name="csX23" fmla="*/ 273851 w 337008"/>
              <a:gd name="csY23" fmla="*/ 10014 h 76321"/>
              <a:gd name="csX24" fmla="*/ 163935 w 337008"/>
              <a:gd name="csY24" fmla="*/ 20274 h 76321"/>
              <a:gd name="csX25" fmla="*/ 17973 w 337008"/>
              <a:gd name="csY25" fmla="*/ 22950 h 76321"/>
              <a:gd name="csX26" fmla="*/ 7372 w 337008"/>
              <a:gd name="csY26" fmla="*/ 23601 h 76321"/>
              <a:gd name="csX27" fmla="*/ 7372 w 337008"/>
              <a:gd name="csY27" fmla="*/ 67898 h 76321"/>
              <a:gd name="csX28" fmla="*/ 207688 w 337008"/>
              <a:gd name="csY28" fmla="*/ 64284 h 7632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</a:cxnLst>
            <a:rect l="l" t="t" r="r" b="b"/>
            <a:pathLst>
              <a:path w="337008" h="76321">
                <a:moveTo>
                  <a:pt x="297312" y="59188"/>
                </a:moveTo>
                <a:cubicBezTo>
                  <a:pt x="278167" y="61672"/>
                  <a:pt x="260091" y="64212"/>
                  <a:pt x="241991" y="66577"/>
                </a:cubicBezTo>
                <a:cubicBezTo>
                  <a:pt x="223087" y="69047"/>
                  <a:pt x="204161" y="71350"/>
                  <a:pt x="185243" y="73717"/>
                </a:cubicBezTo>
                <a:cubicBezTo>
                  <a:pt x="184433" y="73818"/>
                  <a:pt x="183613" y="73861"/>
                  <a:pt x="182797" y="73873"/>
                </a:cubicBezTo>
                <a:cubicBezTo>
                  <a:pt x="128487" y="74710"/>
                  <a:pt x="74176" y="75556"/>
                  <a:pt x="19866" y="76320"/>
                </a:cubicBezTo>
                <a:cubicBezTo>
                  <a:pt x="17463" y="76354"/>
                  <a:pt x="15013" y="75797"/>
                  <a:pt x="12650" y="75242"/>
                </a:cubicBezTo>
                <a:cubicBezTo>
                  <a:pt x="80" y="72288"/>
                  <a:pt x="58" y="72258"/>
                  <a:pt x="19" y="59006"/>
                </a:cubicBezTo>
                <a:cubicBezTo>
                  <a:pt x="-19" y="45942"/>
                  <a:pt x="11" y="32877"/>
                  <a:pt x="11" y="18266"/>
                </a:cubicBezTo>
                <a:cubicBezTo>
                  <a:pt x="4987" y="17944"/>
                  <a:pt x="9266" y="17435"/>
                  <a:pt x="13547" y="17427"/>
                </a:cubicBezTo>
                <a:cubicBezTo>
                  <a:pt x="45459" y="17362"/>
                  <a:pt x="77385" y="17975"/>
                  <a:pt x="109279" y="17200"/>
                </a:cubicBezTo>
                <a:cubicBezTo>
                  <a:pt x="130782" y="16677"/>
                  <a:pt x="152239" y="14265"/>
                  <a:pt x="173714" y="12645"/>
                </a:cubicBezTo>
                <a:cubicBezTo>
                  <a:pt x="184250" y="11850"/>
                  <a:pt x="194770" y="10836"/>
                  <a:pt x="205309" y="10096"/>
                </a:cubicBezTo>
                <a:cubicBezTo>
                  <a:pt x="218698" y="9156"/>
                  <a:pt x="232139" y="8783"/>
                  <a:pt x="245485" y="7449"/>
                </a:cubicBezTo>
                <a:cubicBezTo>
                  <a:pt x="260017" y="5997"/>
                  <a:pt x="274456" y="3648"/>
                  <a:pt x="288955" y="1844"/>
                </a:cubicBezTo>
                <a:cubicBezTo>
                  <a:pt x="294991" y="1094"/>
                  <a:pt x="301100" y="930"/>
                  <a:pt x="307132" y="164"/>
                </a:cubicBezTo>
                <a:cubicBezTo>
                  <a:pt x="315239" y="-865"/>
                  <a:pt x="320841" y="3022"/>
                  <a:pt x="324030" y="9691"/>
                </a:cubicBezTo>
                <a:cubicBezTo>
                  <a:pt x="328594" y="19236"/>
                  <a:pt x="332712" y="29070"/>
                  <a:pt x="336033" y="39107"/>
                </a:cubicBezTo>
                <a:cubicBezTo>
                  <a:pt x="338557" y="46735"/>
                  <a:pt x="336278" y="50185"/>
                  <a:pt x="328060" y="52413"/>
                </a:cubicBezTo>
                <a:cubicBezTo>
                  <a:pt x="318273" y="55068"/>
                  <a:pt x="308277" y="56950"/>
                  <a:pt x="297312" y="59188"/>
                </a:cubicBezTo>
                <a:moveTo>
                  <a:pt x="207688" y="64284"/>
                </a:moveTo>
                <a:cubicBezTo>
                  <a:pt x="248681" y="60632"/>
                  <a:pt x="289317" y="54812"/>
                  <a:pt x="330050" y="45606"/>
                </a:cubicBezTo>
                <a:cubicBezTo>
                  <a:pt x="327603" y="32443"/>
                  <a:pt x="323777" y="21532"/>
                  <a:pt x="317356" y="11297"/>
                </a:cubicBezTo>
                <a:cubicBezTo>
                  <a:pt x="313908" y="5803"/>
                  <a:pt x="310145" y="4465"/>
                  <a:pt x="304170" y="5545"/>
                </a:cubicBezTo>
                <a:cubicBezTo>
                  <a:pt x="294121" y="7361"/>
                  <a:pt x="284007" y="9006"/>
                  <a:pt x="273851" y="10014"/>
                </a:cubicBezTo>
                <a:cubicBezTo>
                  <a:pt x="237233" y="13650"/>
                  <a:pt x="200632" y="17661"/>
                  <a:pt x="163935" y="20274"/>
                </a:cubicBezTo>
                <a:cubicBezTo>
                  <a:pt x="115360" y="23734"/>
                  <a:pt x="66701" y="25937"/>
                  <a:pt x="17973" y="22950"/>
                </a:cubicBezTo>
                <a:cubicBezTo>
                  <a:pt x="14492" y="22737"/>
                  <a:pt x="10959" y="23361"/>
                  <a:pt x="7372" y="23601"/>
                </a:cubicBezTo>
                <a:cubicBezTo>
                  <a:pt x="7372" y="38609"/>
                  <a:pt x="7372" y="52361"/>
                  <a:pt x="7372" y="67898"/>
                </a:cubicBezTo>
                <a:cubicBezTo>
                  <a:pt x="74001" y="69806"/>
                  <a:pt x="139746" y="71025"/>
                  <a:pt x="207688" y="64284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" name="Free-form: Shape 32">
            <a:extLst>
              <a:ext uri="{FF2B5EF4-FFF2-40B4-BE49-F238E27FC236}">
                <a16:creationId xmlns:a16="http://schemas.microsoft.com/office/drawing/2014/main" id="{AFE7CDE2-15CC-B7B5-1E8C-FFF304E894FB}"/>
              </a:ext>
            </a:extLst>
          </p:cNvPr>
          <p:cNvSpPr/>
          <p:nvPr/>
        </p:nvSpPr>
        <p:spPr>
          <a:xfrm>
            <a:off x="1085604" y="2792365"/>
            <a:ext cx="188426" cy="132688"/>
          </a:xfrm>
          <a:custGeom>
            <a:avLst/>
            <a:gdLst>
              <a:gd name="csX0" fmla="*/ 14160 w 303463"/>
              <a:gd name="csY0" fmla="*/ 7889 h 213695"/>
              <a:gd name="csX1" fmla="*/ 195033 w 303463"/>
              <a:gd name="csY1" fmla="*/ 0 h 213695"/>
              <a:gd name="csX2" fmla="*/ 197208 w 303463"/>
              <a:gd name="csY2" fmla="*/ 5635 h 213695"/>
              <a:gd name="csX3" fmla="*/ 227014 w 303463"/>
              <a:gd name="csY3" fmla="*/ 60660 h 213695"/>
              <a:gd name="csX4" fmla="*/ 265823 w 303463"/>
              <a:gd name="csY4" fmla="*/ 98217 h 213695"/>
              <a:gd name="csX5" fmla="*/ 303210 w 303463"/>
              <a:gd name="csY5" fmla="*/ 180358 h 213695"/>
              <a:gd name="csX6" fmla="*/ 303282 w 303463"/>
              <a:gd name="csY6" fmla="*/ 193964 h 213695"/>
              <a:gd name="csX7" fmla="*/ 4971 w 303463"/>
              <a:gd name="csY7" fmla="*/ 213017 h 213695"/>
              <a:gd name="csX8" fmla="*/ 5093 w 303463"/>
              <a:gd name="csY8" fmla="*/ 173484 h 213695"/>
              <a:gd name="csX9" fmla="*/ 4767 w 303463"/>
              <a:gd name="csY9" fmla="*/ 54607 h 213695"/>
              <a:gd name="csX10" fmla="*/ 0 w 303463"/>
              <a:gd name="csY10" fmla="*/ 7887 h 213695"/>
              <a:gd name="csX11" fmla="*/ 14160 w 303463"/>
              <a:gd name="csY11" fmla="*/ 7889 h 21369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303463" h="213695">
                <a:moveTo>
                  <a:pt x="14160" y="7889"/>
                </a:moveTo>
                <a:cubicBezTo>
                  <a:pt x="75371" y="8627"/>
                  <a:pt x="135292" y="5744"/>
                  <a:pt x="195033" y="0"/>
                </a:cubicBezTo>
                <a:cubicBezTo>
                  <a:pt x="196084" y="2662"/>
                  <a:pt x="196986" y="4099"/>
                  <a:pt x="197208" y="5635"/>
                </a:cubicBezTo>
                <a:cubicBezTo>
                  <a:pt x="200391" y="27650"/>
                  <a:pt x="211307" y="45450"/>
                  <a:pt x="227014" y="60660"/>
                </a:cubicBezTo>
                <a:cubicBezTo>
                  <a:pt x="239947" y="73182"/>
                  <a:pt x="253006" y="85577"/>
                  <a:pt x="265823" y="98217"/>
                </a:cubicBezTo>
                <a:cubicBezTo>
                  <a:pt x="288727" y="120806"/>
                  <a:pt x="299071" y="149215"/>
                  <a:pt x="303210" y="180358"/>
                </a:cubicBezTo>
                <a:cubicBezTo>
                  <a:pt x="303735" y="184317"/>
                  <a:pt x="303282" y="188405"/>
                  <a:pt x="303282" y="193964"/>
                </a:cubicBezTo>
                <a:cubicBezTo>
                  <a:pt x="204065" y="208804"/>
                  <a:pt x="105022" y="216044"/>
                  <a:pt x="4971" y="213017"/>
                </a:cubicBezTo>
                <a:cubicBezTo>
                  <a:pt x="4971" y="199268"/>
                  <a:pt x="4314" y="186332"/>
                  <a:pt x="5093" y="173484"/>
                </a:cubicBezTo>
                <a:cubicBezTo>
                  <a:pt x="7497" y="133835"/>
                  <a:pt x="8211" y="94216"/>
                  <a:pt x="4767" y="54607"/>
                </a:cubicBezTo>
                <a:cubicBezTo>
                  <a:pt x="3464" y="39611"/>
                  <a:pt x="1725" y="24653"/>
                  <a:pt x="0" y="7887"/>
                </a:cubicBezTo>
                <a:cubicBezTo>
                  <a:pt x="4390" y="7887"/>
                  <a:pt x="8696" y="7887"/>
                  <a:pt x="14160" y="7889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" name="Free-form: Shape 33">
            <a:extLst>
              <a:ext uri="{FF2B5EF4-FFF2-40B4-BE49-F238E27FC236}">
                <a16:creationId xmlns:a16="http://schemas.microsoft.com/office/drawing/2014/main" id="{58B3EA40-34D2-0220-DC8F-0A01278E7609}"/>
              </a:ext>
            </a:extLst>
          </p:cNvPr>
          <p:cNvSpPr/>
          <p:nvPr/>
        </p:nvSpPr>
        <p:spPr>
          <a:xfrm>
            <a:off x="1051842" y="2262609"/>
            <a:ext cx="129814" cy="126299"/>
          </a:xfrm>
          <a:custGeom>
            <a:avLst/>
            <a:gdLst>
              <a:gd name="csX0" fmla="*/ 10475 w 209067"/>
              <a:gd name="csY0" fmla="*/ 41718 h 203406"/>
              <a:gd name="csX1" fmla="*/ 100250 w 209067"/>
              <a:gd name="csY1" fmla="*/ 1265 h 203406"/>
              <a:gd name="csX2" fmla="*/ 206681 w 209067"/>
              <a:gd name="csY2" fmla="*/ 98526 h 203406"/>
              <a:gd name="csX3" fmla="*/ 134647 w 209067"/>
              <a:gd name="csY3" fmla="*/ 202431 h 203406"/>
              <a:gd name="csX4" fmla="*/ 40986 w 209067"/>
              <a:gd name="csY4" fmla="*/ 171438 h 203406"/>
              <a:gd name="csX5" fmla="*/ 143 w 209067"/>
              <a:gd name="csY5" fmla="*/ 85158 h 203406"/>
              <a:gd name="csX6" fmla="*/ 10475 w 209067"/>
              <a:gd name="csY6" fmla="*/ 41718 h 20340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</a:cxnLst>
            <a:rect l="l" t="t" r="r" b="b"/>
            <a:pathLst>
              <a:path w="209067" h="203406">
                <a:moveTo>
                  <a:pt x="10475" y="41718"/>
                </a:moveTo>
                <a:cubicBezTo>
                  <a:pt x="31065" y="6021"/>
                  <a:pt x="63171" y="-3865"/>
                  <a:pt x="100250" y="1265"/>
                </a:cubicBezTo>
                <a:cubicBezTo>
                  <a:pt x="157191" y="9144"/>
                  <a:pt x="196951" y="51394"/>
                  <a:pt x="206681" y="98526"/>
                </a:cubicBezTo>
                <a:cubicBezTo>
                  <a:pt x="219504" y="160635"/>
                  <a:pt x="178523" y="196657"/>
                  <a:pt x="134647" y="202431"/>
                </a:cubicBezTo>
                <a:cubicBezTo>
                  <a:pt x="98365" y="207204"/>
                  <a:pt x="68101" y="194086"/>
                  <a:pt x="40986" y="171438"/>
                </a:cubicBezTo>
                <a:cubicBezTo>
                  <a:pt x="14115" y="148994"/>
                  <a:pt x="2457" y="119007"/>
                  <a:pt x="143" y="85158"/>
                </a:cubicBezTo>
                <a:cubicBezTo>
                  <a:pt x="-869" y="70364"/>
                  <a:pt x="3586" y="56015"/>
                  <a:pt x="10475" y="41718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" name="Free-form: Shape 34">
            <a:extLst>
              <a:ext uri="{FF2B5EF4-FFF2-40B4-BE49-F238E27FC236}">
                <a16:creationId xmlns:a16="http://schemas.microsoft.com/office/drawing/2014/main" id="{278508FF-3769-6B7D-818D-B9E5A74BD69B}"/>
              </a:ext>
            </a:extLst>
          </p:cNvPr>
          <p:cNvSpPr/>
          <p:nvPr/>
        </p:nvSpPr>
        <p:spPr>
          <a:xfrm>
            <a:off x="1088101" y="2475647"/>
            <a:ext cx="97564" cy="25665"/>
          </a:xfrm>
          <a:custGeom>
            <a:avLst/>
            <a:gdLst>
              <a:gd name="csX0" fmla="*/ 69625 w 157129"/>
              <a:gd name="csY0" fmla="*/ 0 h 41334"/>
              <a:gd name="csX1" fmla="*/ 119596 w 157129"/>
              <a:gd name="csY1" fmla="*/ 1945 h 41334"/>
              <a:gd name="csX2" fmla="*/ 150973 w 157129"/>
              <a:gd name="csY2" fmla="*/ 14889 h 41334"/>
              <a:gd name="csX3" fmla="*/ 151351 w 157129"/>
              <a:gd name="csY3" fmla="*/ 34058 h 41334"/>
              <a:gd name="csX4" fmla="*/ 133492 w 157129"/>
              <a:gd name="csY4" fmla="*/ 40697 h 41334"/>
              <a:gd name="csX5" fmla="*/ 106556 w 157129"/>
              <a:gd name="csY5" fmla="*/ 41092 h 41334"/>
              <a:gd name="csX6" fmla="*/ 13373 w 157129"/>
              <a:gd name="csY6" fmla="*/ 40708 h 41334"/>
              <a:gd name="csX7" fmla="*/ 1312 w 157129"/>
              <a:gd name="csY7" fmla="*/ 40191 h 41334"/>
              <a:gd name="csX8" fmla="*/ 3367 w 157129"/>
              <a:gd name="csY8" fmla="*/ 13162 h 41334"/>
              <a:gd name="csX9" fmla="*/ 20752 w 157129"/>
              <a:gd name="csY9" fmla="*/ 1879 h 41334"/>
              <a:gd name="csX10" fmla="*/ 52625 w 157129"/>
              <a:gd name="csY10" fmla="*/ 1332 h 41334"/>
              <a:gd name="csX11" fmla="*/ 69625 w 157129"/>
              <a:gd name="csY11" fmla="*/ 0 h 4133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157129" h="41334">
                <a:moveTo>
                  <a:pt x="69625" y="0"/>
                </a:moveTo>
                <a:cubicBezTo>
                  <a:pt x="87054" y="491"/>
                  <a:pt x="103407" y="373"/>
                  <a:pt x="119596" y="1945"/>
                </a:cubicBezTo>
                <a:cubicBezTo>
                  <a:pt x="131020" y="3055"/>
                  <a:pt x="141713" y="7767"/>
                  <a:pt x="150973" y="14889"/>
                </a:cubicBezTo>
                <a:cubicBezTo>
                  <a:pt x="158820" y="20925"/>
                  <a:pt x="159403" y="28236"/>
                  <a:pt x="151351" y="34058"/>
                </a:cubicBezTo>
                <a:cubicBezTo>
                  <a:pt x="146355" y="37671"/>
                  <a:pt x="139678" y="39910"/>
                  <a:pt x="133492" y="40697"/>
                </a:cubicBezTo>
                <a:cubicBezTo>
                  <a:pt x="124640" y="41824"/>
                  <a:pt x="115547" y="41120"/>
                  <a:pt x="106556" y="41092"/>
                </a:cubicBezTo>
                <a:cubicBezTo>
                  <a:pt x="75495" y="40996"/>
                  <a:pt x="44434" y="40872"/>
                  <a:pt x="13373" y="40708"/>
                </a:cubicBezTo>
                <a:cubicBezTo>
                  <a:pt x="9391" y="40687"/>
                  <a:pt x="5410" y="40374"/>
                  <a:pt x="1312" y="40191"/>
                </a:cubicBezTo>
                <a:cubicBezTo>
                  <a:pt x="-1416" y="30384"/>
                  <a:pt x="523" y="21512"/>
                  <a:pt x="3367" y="13162"/>
                </a:cubicBezTo>
                <a:cubicBezTo>
                  <a:pt x="5963" y="5538"/>
                  <a:pt x="12701" y="2077"/>
                  <a:pt x="20752" y="1879"/>
                </a:cubicBezTo>
                <a:cubicBezTo>
                  <a:pt x="31375" y="1617"/>
                  <a:pt x="42004" y="1647"/>
                  <a:pt x="52625" y="1332"/>
                </a:cubicBezTo>
                <a:cubicBezTo>
                  <a:pt x="57918" y="1176"/>
                  <a:pt x="63195" y="535"/>
                  <a:pt x="69625" y="0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6" name="Free-form: Shape 35">
            <a:extLst>
              <a:ext uri="{FF2B5EF4-FFF2-40B4-BE49-F238E27FC236}">
                <a16:creationId xmlns:a16="http://schemas.microsoft.com/office/drawing/2014/main" id="{2160C06B-3D5A-3E57-7C19-E108EF15DBE4}"/>
              </a:ext>
            </a:extLst>
          </p:cNvPr>
          <p:cNvSpPr/>
          <p:nvPr/>
        </p:nvSpPr>
        <p:spPr>
          <a:xfrm>
            <a:off x="1084628" y="2526534"/>
            <a:ext cx="102191" cy="241686"/>
          </a:xfrm>
          <a:custGeom>
            <a:avLst/>
            <a:gdLst>
              <a:gd name="csX0" fmla="*/ 91265 w 164579"/>
              <a:gd name="csY0" fmla="*/ 157878 h 389238"/>
              <a:gd name="csX1" fmla="*/ 112882 w 164579"/>
              <a:gd name="csY1" fmla="*/ 252738 h 389238"/>
              <a:gd name="csX2" fmla="*/ 164579 w 164579"/>
              <a:gd name="csY2" fmla="*/ 389238 h 389238"/>
              <a:gd name="csX3" fmla="*/ 0 w 164579"/>
              <a:gd name="csY3" fmla="*/ 389238 h 389238"/>
              <a:gd name="csX4" fmla="*/ 5184 w 164579"/>
              <a:gd name="csY4" fmla="*/ 260105 h 389238"/>
              <a:gd name="csX5" fmla="*/ 7989 w 164579"/>
              <a:gd name="csY5" fmla="*/ 131182 h 389238"/>
              <a:gd name="csX6" fmla="*/ 8093 w 164579"/>
              <a:gd name="csY6" fmla="*/ 2390 h 389238"/>
              <a:gd name="csX7" fmla="*/ 76429 w 164579"/>
              <a:gd name="csY7" fmla="*/ 1531 h 389238"/>
              <a:gd name="csX8" fmla="*/ 91265 w 164579"/>
              <a:gd name="csY8" fmla="*/ 157878 h 38923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</a:cxnLst>
            <a:rect l="l" t="t" r="r" b="b"/>
            <a:pathLst>
              <a:path w="164579" h="389238">
                <a:moveTo>
                  <a:pt x="91265" y="157878"/>
                </a:moveTo>
                <a:cubicBezTo>
                  <a:pt x="98425" y="190232"/>
                  <a:pt x="104539" y="221785"/>
                  <a:pt x="112882" y="252738"/>
                </a:cubicBezTo>
                <a:cubicBezTo>
                  <a:pt x="125498" y="299549"/>
                  <a:pt x="141482" y="345258"/>
                  <a:pt x="164579" y="389238"/>
                </a:cubicBezTo>
                <a:cubicBezTo>
                  <a:pt x="109753" y="389238"/>
                  <a:pt x="55706" y="389238"/>
                  <a:pt x="0" y="389238"/>
                </a:cubicBezTo>
                <a:cubicBezTo>
                  <a:pt x="1781" y="345633"/>
                  <a:pt x="3844" y="302880"/>
                  <a:pt x="5184" y="260105"/>
                </a:cubicBezTo>
                <a:cubicBezTo>
                  <a:pt x="6529" y="217143"/>
                  <a:pt x="7519" y="174162"/>
                  <a:pt x="7989" y="131182"/>
                </a:cubicBezTo>
                <a:cubicBezTo>
                  <a:pt x="8459" y="88239"/>
                  <a:pt x="8093" y="45287"/>
                  <a:pt x="8093" y="2390"/>
                </a:cubicBezTo>
                <a:cubicBezTo>
                  <a:pt x="17041" y="-288"/>
                  <a:pt x="58537" y="-913"/>
                  <a:pt x="76429" y="1531"/>
                </a:cubicBezTo>
                <a:cubicBezTo>
                  <a:pt x="79287" y="53276"/>
                  <a:pt x="82219" y="105359"/>
                  <a:pt x="91265" y="157878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7" name="Free-form: Shape 36">
            <a:extLst>
              <a:ext uri="{FF2B5EF4-FFF2-40B4-BE49-F238E27FC236}">
                <a16:creationId xmlns:a16="http://schemas.microsoft.com/office/drawing/2014/main" id="{B7A44983-F1AF-05F5-9C35-8AEF10DAF516}"/>
              </a:ext>
            </a:extLst>
          </p:cNvPr>
          <p:cNvSpPr/>
          <p:nvPr/>
        </p:nvSpPr>
        <p:spPr>
          <a:xfrm>
            <a:off x="1086447" y="2942047"/>
            <a:ext cx="200357" cy="39865"/>
          </a:xfrm>
          <a:custGeom>
            <a:avLst/>
            <a:gdLst>
              <a:gd name="csX0" fmla="*/ 199184 w 322677"/>
              <a:gd name="csY0" fmla="*/ 59136 h 64202"/>
              <a:gd name="csX1" fmla="*/ 0 w 322677"/>
              <a:gd name="csY1" fmla="*/ 62697 h 64202"/>
              <a:gd name="csX2" fmla="*/ 0 w 322677"/>
              <a:gd name="csY2" fmla="*/ 18400 h 64202"/>
              <a:gd name="csX3" fmla="*/ 10601 w 322677"/>
              <a:gd name="csY3" fmla="*/ 17750 h 64202"/>
              <a:gd name="csX4" fmla="*/ 156563 w 322677"/>
              <a:gd name="csY4" fmla="*/ 15074 h 64202"/>
              <a:gd name="csX5" fmla="*/ 266479 w 322677"/>
              <a:gd name="csY5" fmla="*/ 4814 h 64202"/>
              <a:gd name="csX6" fmla="*/ 296798 w 322677"/>
              <a:gd name="csY6" fmla="*/ 344 h 64202"/>
              <a:gd name="csX7" fmla="*/ 309983 w 322677"/>
              <a:gd name="csY7" fmla="*/ 6097 h 64202"/>
              <a:gd name="csX8" fmla="*/ 322678 w 322677"/>
              <a:gd name="csY8" fmla="*/ 40406 h 64202"/>
              <a:gd name="csX9" fmla="*/ 199184 w 322677"/>
              <a:gd name="csY9" fmla="*/ 59136 h 6420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322677" h="64202">
                <a:moveTo>
                  <a:pt x="199184" y="59136"/>
                </a:moveTo>
                <a:cubicBezTo>
                  <a:pt x="132374" y="65824"/>
                  <a:pt x="66629" y="64605"/>
                  <a:pt x="0" y="62697"/>
                </a:cubicBezTo>
                <a:cubicBezTo>
                  <a:pt x="0" y="47160"/>
                  <a:pt x="0" y="33409"/>
                  <a:pt x="0" y="18400"/>
                </a:cubicBezTo>
                <a:cubicBezTo>
                  <a:pt x="3587" y="18160"/>
                  <a:pt x="7120" y="17536"/>
                  <a:pt x="10601" y="17750"/>
                </a:cubicBezTo>
                <a:cubicBezTo>
                  <a:pt x="59329" y="20736"/>
                  <a:pt x="107987" y="18533"/>
                  <a:pt x="156563" y="15074"/>
                </a:cubicBezTo>
                <a:cubicBezTo>
                  <a:pt x="193260" y="12461"/>
                  <a:pt x="229860" y="8449"/>
                  <a:pt x="266479" y="4814"/>
                </a:cubicBezTo>
                <a:cubicBezTo>
                  <a:pt x="276635" y="3806"/>
                  <a:pt x="286748" y="2160"/>
                  <a:pt x="296798" y="344"/>
                </a:cubicBezTo>
                <a:cubicBezTo>
                  <a:pt x="302773" y="-735"/>
                  <a:pt x="306536" y="602"/>
                  <a:pt x="309983" y="6097"/>
                </a:cubicBezTo>
                <a:cubicBezTo>
                  <a:pt x="316405" y="16331"/>
                  <a:pt x="320231" y="27243"/>
                  <a:pt x="322678" y="40406"/>
                </a:cubicBezTo>
                <a:cubicBezTo>
                  <a:pt x="281944" y="49611"/>
                  <a:pt x="241309" y="55431"/>
                  <a:pt x="199184" y="59136"/>
                </a:cubicBezTo>
                <a:close/>
              </a:path>
            </a:pathLst>
          </a:custGeom>
          <a:solidFill>
            <a:schemeClr val="bg1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6DC59540-7F8B-0AAB-71C9-760C474AC4DB}"/>
              </a:ext>
            </a:extLst>
          </p:cNvPr>
          <p:cNvSpPr txBox="1"/>
          <p:nvPr/>
        </p:nvSpPr>
        <p:spPr>
          <a:xfrm>
            <a:off x="678439" y="2996229"/>
            <a:ext cx="863983" cy="3927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-CHOP</a:t>
            </a:r>
          </a:p>
        </p:txBody>
      </p:sp>
      <p:sp>
        <p:nvSpPr>
          <p:cNvPr id="39" name="Slide Number Placeholder 38">
            <a:extLst>
              <a:ext uri="{FF2B5EF4-FFF2-40B4-BE49-F238E27FC236}">
                <a16:creationId xmlns:a16="http://schemas.microsoft.com/office/drawing/2014/main" id="{030E1127-2FD2-A029-6CEF-D725C58344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01CC8E-1CEF-6746-999E-CF29FF00B1D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82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1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093" name="Free-form: Shape 9092">
            <a:extLst>
              <a:ext uri="{FF2B5EF4-FFF2-40B4-BE49-F238E27FC236}">
                <a16:creationId xmlns:a16="http://schemas.microsoft.com/office/drawing/2014/main" id="{D8A036ED-921D-DB7B-2000-E9A636FAE35F}"/>
              </a:ext>
            </a:extLst>
          </p:cNvPr>
          <p:cNvSpPr/>
          <p:nvPr/>
        </p:nvSpPr>
        <p:spPr>
          <a:xfrm>
            <a:off x="2955393" y="4742453"/>
            <a:ext cx="1273326" cy="314908"/>
          </a:xfrm>
          <a:custGeom>
            <a:avLst/>
            <a:gdLst>
              <a:gd name="csX0" fmla="*/ 433404 w 1540725"/>
              <a:gd name="csY0" fmla="*/ 0 h 381039"/>
              <a:gd name="csX1" fmla="*/ 1540725 w 1540725"/>
              <a:gd name="csY1" fmla="*/ 0 h 381039"/>
              <a:gd name="csX2" fmla="*/ 1222293 w 1540725"/>
              <a:gd name="csY2" fmla="*/ 381039 h 381039"/>
              <a:gd name="csX3" fmla="*/ 0 w 1540725"/>
              <a:gd name="csY3" fmla="*/ 381039 h 381039"/>
              <a:gd name="csX4" fmla="*/ 433404 w 1540725"/>
              <a:gd name="csY4" fmla="*/ 0 h 38103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540725" h="381039">
                <a:moveTo>
                  <a:pt x="433404" y="0"/>
                </a:moveTo>
                <a:lnTo>
                  <a:pt x="1540725" y="0"/>
                </a:lnTo>
                <a:lnTo>
                  <a:pt x="1222293" y="381039"/>
                </a:lnTo>
                <a:lnTo>
                  <a:pt x="0" y="381039"/>
                </a:lnTo>
                <a:lnTo>
                  <a:pt x="433404" y="0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094" name="Free-form: Shape 9093">
            <a:extLst>
              <a:ext uri="{FF2B5EF4-FFF2-40B4-BE49-F238E27FC236}">
                <a16:creationId xmlns:a16="http://schemas.microsoft.com/office/drawing/2014/main" id="{81206D2B-BD95-B2FA-80BC-A7D78572AC2D}"/>
              </a:ext>
            </a:extLst>
          </p:cNvPr>
          <p:cNvSpPr/>
          <p:nvPr/>
        </p:nvSpPr>
        <p:spPr>
          <a:xfrm>
            <a:off x="6280606" y="3764022"/>
            <a:ext cx="697225" cy="142291"/>
          </a:xfrm>
          <a:custGeom>
            <a:avLst/>
            <a:gdLst>
              <a:gd name="csX0" fmla="*/ 47178 w 843642"/>
              <a:gd name="csY0" fmla="*/ 0 h 172172"/>
              <a:gd name="csX1" fmla="*/ 843642 w 843642"/>
              <a:gd name="csY1" fmla="*/ 0 h 172172"/>
              <a:gd name="csX2" fmla="*/ 842652 w 843642"/>
              <a:gd name="csY2" fmla="*/ 172172 h 172172"/>
              <a:gd name="csX3" fmla="*/ 0 w 843642"/>
              <a:gd name="csY3" fmla="*/ 172172 h 172172"/>
              <a:gd name="csX4" fmla="*/ 47178 w 843642"/>
              <a:gd name="csY4" fmla="*/ 0 h 17217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843642" h="172172">
                <a:moveTo>
                  <a:pt x="47178" y="0"/>
                </a:moveTo>
                <a:lnTo>
                  <a:pt x="843642" y="0"/>
                </a:lnTo>
                <a:lnTo>
                  <a:pt x="842652" y="172172"/>
                </a:lnTo>
                <a:lnTo>
                  <a:pt x="0" y="172172"/>
                </a:lnTo>
                <a:lnTo>
                  <a:pt x="47178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095" name="Free-form: Shape 9094">
            <a:extLst>
              <a:ext uri="{FF2B5EF4-FFF2-40B4-BE49-F238E27FC236}">
                <a16:creationId xmlns:a16="http://schemas.microsoft.com/office/drawing/2014/main" id="{C0D232DC-91CC-F543-4E0B-8A5CD3D8D15D}"/>
              </a:ext>
            </a:extLst>
          </p:cNvPr>
          <p:cNvSpPr/>
          <p:nvPr/>
        </p:nvSpPr>
        <p:spPr>
          <a:xfrm>
            <a:off x="5487328" y="3908342"/>
            <a:ext cx="792722" cy="173778"/>
          </a:xfrm>
          <a:custGeom>
            <a:avLst/>
            <a:gdLst>
              <a:gd name="csX0" fmla="*/ 116817 w 959194"/>
              <a:gd name="csY0" fmla="*/ 0 h 210271"/>
              <a:gd name="csX1" fmla="*/ 959194 w 959194"/>
              <a:gd name="csY1" fmla="*/ 0 h 210271"/>
              <a:gd name="csX2" fmla="*/ 901577 w 959194"/>
              <a:gd name="csY2" fmla="*/ 210271 h 210271"/>
              <a:gd name="csX3" fmla="*/ 0 w 959194"/>
              <a:gd name="csY3" fmla="*/ 210271 h 210271"/>
              <a:gd name="csX4" fmla="*/ 116817 w 959194"/>
              <a:gd name="csY4" fmla="*/ 0 h 21027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959194" h="210271">
                <a:moveTo>
                  <a:pt x="116817" y="0"/>
                </a:moveTo>
                <a:lnTo>
                  <a:pt x="959194" y="0"/>
                </a:lnTo>
                <a:lnTo>
                  <a:pt x="901577" y="210271"/>
                </a:lnTo>
                <a:lnTo>
                  <a:pt x="0" y="210271"/>
                </a:lnTo>
                <a:lnTo>
                  <a:pt x="116817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096" name="Free-form: Shape 9095">
            <a:extLst>
              <a:ext uri="{FF2B5EF4-FFF2-40B4-BE49-F238E27FC236}">
                <a16:creationId xmlns:a16="http://schemas.microsoft.com/office/drawing/2014/main" id="{5E2B90E0-1F56-0E61-CA7A-85224A5BF991}"/>
              </a:ext>
            </a:extLst>
          </p:cNvPr>
          <p:cNvSpPr/>
          <p:nvPr/>
        </p:nvSpPr>
        <p:spPr>
          <a:xfrm>
            <a:off x="6976002" y="3908342"/>
            <a:ext cx="718291" cy="173778"/>
          </a:xfrm>
          <a:custGeom>
            <a:avLst/>
            <a:gdLst>
              <a:gd name="csX0" fmla="*/ 1208 w 869132"/>
              <a:gd name="csY0" fmla="*/ 0 h 210271"/>
              <a:gd name="csX1" fmla="*/ 809226 w 869132"/>
              <a:gd name="csY1" fmla="*/ 0 h 210271"/>
              <a:gd name="csX2" fmla="*/ 869132 w 869132"/>
              <a:gd name="csY2" fmla="*/ 210271 h 210271"/>
              <a:gd name="csX3" fmla="*/ 0 w 869132"/>
              <a:gd name="csY3" fmla="*/ 210271 h 210271"/>
              <a:gd name="csX4" fmla="*/ 1208 w 869132"/>
              <a:gd name="csY4" fmla="*/ 0 h 21027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869132" h="210271">
                <a:moveTo>
                  <a:pt x="1208" y="0"/>
                </a:moveTo>
                <a:lnTo>
                  <a:pt x="809226" y="0"/>
                </a:lnTo>
                <a:lnTo>
                  <a:pt x="869132" y="210271"/>
                </a:lnTo>
                <a:lnTo>
                  <a:pt x="0" y="210271"/>
                </a:lnTo>
                <a:lnTo>
                  <a:pt x="1208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097" name="Free-form: Shape 9096">
            <a:extLst>
              <a:ext uri="{FF2B5EF4-FFF2-40B4-BE49-F238E27FC236}">
                <a16:creationId xmlns:a16="http://schemas.microsoft.com/office/drawing/2014/main" id="{DB2D08C0-78ED-A93E-925B-F23791F822D1}"/>
              </a:ext>
            </a:extLst>
          </p:cNvPr>
          <p:cNvSpPr/>
          <p:nvPr/>
        </p:nvSpPr>
        <p:spPr>
          <a:xfrm>
            <a:off x="6180665" y="4082119"/>
            <a:ext cx="795337" cy="188926"/>
          </a:xfrm>
          <a:custGeom>
            <a:avLst/>
            <a:gdLst>
              <a:gd name="csX0" fmla="*/ 62639 w 962358"/>
              <a:gd name="csY0" fmla="*/ 0 h 228600"/>
              <a:gd name="csX1" fmla="*/ 962358 w 962358"/>
              <a:gd name="csY1" fmla="*/ 0 h 228600"/>
              <a:gd name="csX2" fmla="*/ 961044 w 962358"/>
              <a:gd name="csY2" fmla="*/ 228600 h 228600"/>
              <a:gd name="csX3" fmla="*/ 0 w 962358"/>
              <a:gd name="csY3" fmla="*/ 228600 h 228600"/>
              <a:gd name="csX4" fmla="*/ 62639 w 962358"/>
              <a:gd name="csY4" fmla="*/ 0 h 22860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962358" h="228600">
                <a:moveTo>
                  <a:pt x="62639" y="0"/>
                </a:moveTo>
                <a:lnTo>
                  <a:pt x="962358" y="0"/>
                </a:lnTo>
                <a:lnTo>
                  <a:pt x="961044" y="228600"/>
                </a:lnTo>
                <a:lnTo>
                  <a:pt x="0" y="228600"/>
                </a:lnTo>
                <a:lnTo>
                  <a:pt x="62639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098" name="Free-form: Shape 9097">
            <a:extLst>
              <a:ext uri="{FF2B5EF4-FFF2-40B4-BE49-F238E27FC236}">
                <a16:creationId xmlns:a16="http://schemas.microsoft.com/office/drawing/2014/main" id="{84A4A684-AC7C-55A8-DA3E-95C8B000243A}"/>
              </a:ext>
            </a:extLst>
          </p:cNvPr>
          <p:cNvSpPr/>
          <p:nvPr/>
        </p:nvSpPr>
        <p:spPr>
          <a:xfrm>
            <a:off x="7813155" y="4499329"/>
            <a:ext cx="989864" cy="248679"/>
          </a:xfrm>
          <a:custGeom>
            <a:avLst/>
            <a:gdLst>
              <a:gd name="csX0" fmla="*/ 0 w 1197736"/>
              <a:gd name="csY0" fmla="*/ 0 h 300901"/>
              <a:gd name="csX1" fmla="*/ 1030091 w 1197736"/>
              <a:gd name="csY1" fmla="*/ 0 h 300901"/>
              <a:gd name="csX2" fmla="*/ 1197736 w 1197736"/>
              <a:gd name="csY2" fmla="*/ 300901 h 300901"/>
              <a:gd name="csX3" fmla="*/ 85727 w 1197736"/>
              <a:gd name="csY3" fmla="*/ 300901 h 300901"/>
              <a:gd name="csX4" fmla="*/ 0 w 1197736"/>
              <a:gd name="csY4" fmla="*/ 0 h 30090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197736" h="300901">
                <a:moveTo>
                  <a:pt x="0" y="0"/>
                </a:moveTo>
                <a:lnTo>
                  <a:pt x="1030091" y="0"/>
                </a:lnTo>
                <a:lnTo>
                  <a:pt x="1197736" y="300901"/>
                </a:lnTo>
                <a:lnTo>
                  <a:pt x="85727" y="300901"/>
                </a:lnTo>
                <a:lnTo>
                  <a:pt x="0" y="0"/>
                </a:lnTo>
                <a:close/>
              </a:path>
            </a:pathLst>
          </a:custGeom>
          <a:solidFill>
            <a:srgbClr val="DDE5E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099" name="Free-form: Shape 9098">
            <a:extLst>
              <a:ext uri="{FF2B5EF4-FFF2-40B4-BE49-F238E27FC236}">
                <a16:creationId xmlns:a16="http://schemas.microsoft.com/office/drawing/2014/main" id="{A57136D0-8B28-C3F7-8D41-50690203B150}"/>
              </a:ext>
            </a:extLst>
          </p:cNvPr>
          <p:cNvSpPr/>
          <p:nvPr/>
        </p:nvSpPr>
        <p:spPr>
          <a:xfrm>
            <a:off x="4067009" y="3908340"/>
            <a:ext cx="859446" cy="173779"/>
          </a:xfrm>
          <a:custGeom>
            <a:avLst/>
            <a:gdLst>
              <a:gd name="csX0" fmla="*/ 239169 w 1039930"/>
              <a:gd name="csY0" fmla="*/ 0 h 210272"/>
              <a:gd name="csX1" fmla="*/ 239170 w 1039930"/>
              <a:gd name="csY1" fmla="*/ 0 h 210272"/>
              <a:gd name="csX2" fmla="*/ 239169 w 1039930"/>
              <a:gd name="csY2" fmla="*/ 1 h 210272"/>
              <a:gd name="csX3" fmla="*/ 1039930 w 1039930"/>
              <a:gd name="csY3" fmla="*/ 1 h 210272"/>
              <a:gd name="csX4" fmla="*/ 864208 w 1039930"/>
              <a:gd name="csY4" fmla="*/ 210272 h 210272"/>
              <a:gd name="csX5" fmla="*/ 0 w 1039930"/>
              <a:gd name="csY5" fmla="*/ 210272 h 210272"/>
              <a:gd name="csX6" fmla="*/ 239169 w 1039930"/>
              <a:gd name="csY6" fmla="*/ 0 h 21027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</a:cxnLst>
            <a:rect l="l" t="t" r="r" b="b"/>
            <a:pathLst>
              <a:path w="1039930" h="210272">
                <a:moveTo>
                  <a:pt x="239169" y="0"/>
                </a:moveTo>
                <a:lnTo>
                  <a:pt x="239170" y="0"/>
                </a:lnTo>
                <a:lnTo>
                  <a:pt x="239169" y="1"/>
                </a:lnTo>
                <a:lnTo>
                  <a:pt x="1039930" y="1"/>
                </a:lnTo>
                <a:lnTo>
                  <a:pt x="864208" y="210272"/>
                </a:lnTo>
                <a:lnTo>
                  <a:pt x="0" y="210272"/>
                </a:lnTo>
                <a:lnTo>
                  <a:pt x="239169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100" name="Free-form: Shape 9099">
            <a:extLst>
              <a:ext uri="{FF2B5EF4-FFF2-40B4-BE49-F238E27FC236}">
                <a16:creationId xmlns:a16="http://schemas.microsoft.com/office/drawing/2014/main" id="{FAA0AE2A-227C-A6EE-92F7-201E86A9BBF0}"/>
              </a:ext>
            </a:extLst>
          </p:cNvPr>
          <p:cNvSpPr/>
          <p:nvPr/>
        </p:nvSpPr>
        <p:spPr>
          <a:xfrm>
            <a:off x="3592464" y="4271045"/>
            <a:ext cx="1030881" cy="228284"/>
          </a:xfrm>
          <a:custGeom>
            <a:avLst/>
            <a:gdLst>
              <a:gd name="csX0" fmla="*/ 314185 w 1247366"/>
              <a:gd name="csY0" fmla="*/ 0 h 276224"/>
              <a:gd name="csX1" fmla="*/ 1247366 w 1247366"/>
              <a:gd name="csY1" fmla="*/ 0 h 276224"/>
              <a:gd name="csX2" fmla="*/ 1016527 w 1247366"/>
              <a:gd name="csY2" fmla="*/ 276224 h 276224"/>
              <a:gd name="csX3" fmla="*/ 0 w 1247366"/>
              <a:gd name="csY3" fmla="*/ 276224 h 276224"/>
              <a:gd name="csX4" fmla="*/ 314185 w 1247366"/>
              <a:gd name="csY4" fmla="*/ 0 h 27622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247366" h="276224">
                <a:moveTo>
                  <a:pt x="314185" y="0"/>
                </a:moveTo>
                <a:lnTo>
                  <a:pt x="1247366" y="0"/>
                </a:lnTo>
                <a:lnTo>
                  <a:pt x="1016527" y="276224"/>
                </a:lnTo>
                <a:lnTo>
                  <a:pt x="0" y="276224"/>
                </a:lnTo>
                <a:lnTo>
                  <a:pt x="314185" y="0"/>
                </a:lnTo>
                <a:close/>
              </a:path>
            </a:pathLst>
          </a:custGeom>
          <a:solidFill>
            <a:srgbClr val="DDE5E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101" name="Free-form: Shape 9100">
            <a:extLst>
              <a:ext uri="{FF2B5EF4-FFF2-40B4-BE49-F238E27FC236}">
                <a16:creationId xmlns:a16="http://schemas.microsoft.com/office/drawing/2014/main" id="{3598F6F4-44E4-662E-2F62-D3765483429A}"/>
              </a:ext>
            </a:extLst>
          </p:cNvPr>
          <p:cNvSpPr/>
          <p:nvPr/>
        </p:nvSpPr>
        <p:spPr>
          <a:xfrm>
            <a:off x="4224750" y="4499329"/>
            <a:ext cx="1030793" cy="248679"/>
          </a:xfrm>
          <a:custGeom>
            <a:avLst/>
            <a:gdLst>
              <a:gd name="csX0" fmla="*/ 251461 w 1247260"/>
              <a:gd name="csY0" fmla="*/ 0 h 300901"/>
              <a:gd name="csX1" fmla="*/ 1247260 w 1247260"/>
              <a:gd name="csY1" fmla="*/ 0 h 300901"/>
              <a:gd name="csX2" fmla="*/ 1080093 w 1247260"/>
              <a:gd name="csY2" fmla="*/ 300901 h 300901"/>
              <a:gd name="csX3" fmla="*/ 0 w 1247260"/>
              <a:gd name="csY3" fmla="*/ 300901 h 300901"/>
              <a:gd name="csX4" fmla="*/ 251461 w 1247260"/>
              <a:gd name="csY4" fmla="*/ 0 h 30090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247260" h="300901">
                <a:moveTo>
                  <a:pt x="251461" y="0"/>
                </a:moveTo>
                <a:lnTo>
                  <a:pt x="1247260" y="0"/>
                </a:lnTo>
                <a:lnTo>
                  <a:pt x="1080093" y="300901"/>
                </a:lnTo>
                <a:lnTo>
                  <a:pt x="0" y="300901"/>
                </a:lnTo>
                <a:lnTo>
                  <a:pt x="251461" y="0"/>
                </a:lnTo>
                <a:close/>
              </a:path>
            </a:pathLst>
          </a:custGeom>
          <a:solidFill>
            <a:srgbClr val="F79B7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102" name="Free-form: Shape 9101">
            <a:extLst>
              <a:ext uri="{FF2B5EF4-FFF2-40B4-BE49-F238E27FC236}">
                <a16:creationId xmlns:a16="http://schemas.microsoft.com/office/drawing/2014/main" id="{1EB21873-717B-01B5-2336-E0FFA350A4E3}"/>
              </a:ext>
            </a:extLst>
          </p:cNvPr>
          <p:cNvSpPr/>
          <p:nvPr/>
        </p:nvSpPr>
        <p:spPr>
          <a:xfrm>
            <a:off x="6049972" y="4499329"/>
            <a:ext cx="923632" cy="248679"/>
          </a:xfrm>
          <a:custGeom>
            <a:avLst/>
            <a:gdLst>
              <a:gd name="csX0" fmla="*/ 82451 w 1117595"/>
              <a:gd name="csY0" fmla="*/ 0 h 300902"/>
              <a:gd name="csX1" fmla="*/ 1117595 w 1117595"/>
              <a:gd name="csY1" fmla="*/ 0 h 300902"/>
              <a:gd name="csX2" fmla="*/ 1115866 w 1117595"/>
              <a:gd name="csY2" fmla="*/ 300902 h 300902"/>
              <a:gd name="csX3" fmla="*/ 0 w 1117595"/>
              <a:gd name="csY3" fmla="*/ 300902 h 300902"/>
              <a:gd name="csX4" fmla="*/ 82451 w 1117595"/>
              <a:gd name="csY4" fmla="*/ 0 h 30090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117595" h="300902">
                <a:moveTo>
                  <a:pt x="82451" y="0"/>
                </a:moveTo>
                <a:lnTo>
                  <a:pt x="1117595" y="0"/>
                </a:lnTo>
                <a:lnTo>
                  <a:pt x="1115866" y="300902"/>
                </a:lnTo>
                <a:lnTo>
                  <a:pt x="0" y="300902"/>
                </a:lnTo>
                <a:lnTo>
                  <a:pt x="82451" y="0"/>
                </a:lnTo>
                <a:close/>
              </a:path>
            </a:pathLst>
          </a:custGeom>
          <a:solidFill>
            <a:srgbClr val="DDE5E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103" name="Free-form: Shape 9102">
            <a:extLst>
              <a:ext uri="{FF2B5EF4-FFF2-40B4-BE49-F238E27FC236}">
                <a16:creationId xmlns:a16="http://schemas.microsoft.com/office/drawing/2014/main" id="{328B1B0A-08CE-FE08-AFC8-B4C71FC5A4A8}"/>
              </a:ext>
            </a:extLst>
          </p:cNvPr>
          <p:cNvSpPr/>
          <p:nvPr/>
        </p:nvSpPr>
        <p:spPr>
          <a:xfrm>
            <a:off x="7973721" y="5062916"/>
            <a:ext cx="1225011" cy="395346"/>
          </a:xfrm>
          <a:custGeom>
            <a:avLst/>
            <a:gdLst>
              <a:gd name="csX0" fmla="*/ 0 w 1482263"/>
              <a:gd name="csY0" fmla="*/ 0 h 478368"/>
              <a:gd name="csX1" fmla="*/ 1215744 w 1482263"/>
              <a:gd name="csY1" fmla="*/ 0 h 478368"/>
              <a:gd name="csX2" fmla="*/ 1482263 w 1482263"/>
              <a:gd name="csY2" fmla="*/ 478368 h 478368"/>
              <a:gd name="csX3" fmla="*/ 136287 w 1482263"/>
              <a:gd name="csY3" fmla="*/ 478368 h 478368"/>
              <a:gd name="csX4" fmla="*/ 0 w 1482263"/>
              <a:gd name="csY4" fmla="*/ 0 h 47836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482263" h="478368">
                <a:moveTo>
                  <a:pt x="0" y="0"/>
                </a:moveTo>
                <a:lnTo>
                  <a:pt x="1215744" y="0"/>
                </a:lnTo>
                <a:lnTo>
                  <a:pt x="1482263" y="478368"/>
                </a:lnTo>
                <a:lnTo>
                  <a:pt x="136287" y="478368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104" name="Oval 9103">
            <a:extLst>
              <a:ext uri="{FF2B5EF4-FFF2-40B4-BE49-F238E27FC236}">
                <a16:creationId xmlns:a16="http://schemas.microsoft.com/office/drawing/2014/main" id="{DDC3A2E6-5A04-7DF9-2559-C9DFBFB05136}"/>
              </a:ext>
            </a:extLst>
          </p:cNvPr>
          <p:cNvSpPr/>
          <p:nvPr/>
        </p:nvSpPr>
        <p:spPr>
          <a:xfrm>
            <a:off x="8146265" y="5200216"/>
            <a:ext cx="593138" cy="114548"/>
          </a:xfrm>
          <a:prstGeom prst="ellipse">
            <a:avLst/>
          </a:prstGeom>
          <a:solidFill>
            <a:schemeClr val="tx1">
              <a:alpha val="6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105" name="Free-form: Shape 9104">
            <a:extLst>
              <a:ext uri="{FF2B5EF4-FFF2-40B4-BE49-F238E27FC236}">
                <a16:creationId xmlns:a16="http://schemas.microsoft.com/office/drawing/2014/main" id="{524C82AA-3B48-8F63-0EDA-09F5258027A8}"/>
              </a:ext>
            </a:extLst>
          </p:cNvPr>
          <p:cNvSpPr/>
          <p:nvPr/>
        </p:nvSpPr>
        <p:spPr>
          <a:xfrm>
            <a:off x="8244931" y="4451500"/>
            <a:ext cx="433137" cy="847024"/>
          </a:xfrm>
          <a:custGeom>
            <a:avLst/>
            <a:gdLst>
              <a:gd name="csX0" fmla="*/ 581793 w 697572"/>
              <a:gd name="csY0" fmla="*/ 1234401 h 1240128"/>
              <a:gd name="csX1" fmla="*/ 577427 w 697572"/>
              <a:gd name="csY1" fmla="*/ 1234156 h 1240128"/>
              <a:gd name="csX2" fmla="*/ 559133 w 697572"/>
              <a:gd name="csY2" fmla="*/ 1230909 h 1240128"/>
              <a:gd name="csX3" fmla="*/ 516706 w 697572"/>
              <a:gd name="csY3" fmla="*/ 1235117 h 1240128"/>
              <a:gd name="csX4" fmla="*/ 475244 w 697572"/>
              <a:gd name="csY4" fmla="*/ 1237506 h 1240128"/>
              <a:gd name="csX5" fmla="*/ 371154 w 697572"/>
              <a:gd name="csY5" fmla="*/ 1239428 h 1240128"/>
              <a:gd name="csX6" fmla="*/ 276813 w 697572"/>
              <a:gd name="csY6" fmla="*/ 1237654 h 1240128"/>
              <a:gd name="csX7" fmla="*/ 268212 w 697572"/>
              <a:gd name="csY7" fmla="*/ 1237635 h 1240128"/>
              <a:gd name="csX8" fmla="*/ 262072 w 697572"/>
              <a:gd name="csY8" fmla="*/ 1237523 h 1240128"/>
              <a:gd name="csX9" fmla="*/ 195111 w 697572"/>
              <a:gd name="csY9" fmla="*/ 1232775 h 1240128"/>
              <a:gd name="csX10" fmla="*/ 145060 w 697572"/>
              <a:gd name="csY10" fmla="*/ 1230076 h 1240128"/>
              <a:gd name="csX11" fmla="*/ 114933 w 697572"/>
              <a:gd name="csY11" fmla="*/ 1225832 h 1240128"/>
              <a:gd name="csX12" fmla="*/ 72642 w 697572"/>
              <a:gd name="csY12" fmla="*/ 1220237 h 1240128"/>
              <a:gd name="csX13" fmla="*/ 10894 w 697572"/>
              <a:gd name="csY13" fmla="*/ 1205737 h 1240128"/>
              <a:gd name="csX14" fmla="*/ 5856 w 697572"/>
              <a:gd name="csY14" fmla="*/ 1202799 h 1240128"/>
              <a:gd name="csX15" fmla="*/ 40 w 697572"/>
              <a:gd name="csY15" fmla="*/ 1174450 h 1240128"/>
              <a:gd name="csX16" fmla="*/ 19831 w 697572"/>
              <a:gd name="csY16" fmla="*/ 1118410 h 1240128"/>
              <a:gd name="csX17" fmla="*/ 22004 w 697572"/>
              <a:gd name="csY17" fmla="*/ 1107240 h 1240128"/>
              <a:gd name="csX18" fmla="*/ 25947 w 697572"/>
              <a:gd name="csY18" fmla="*/ 1038650 h 1240128"/>
              <a:gd name="csX19" fmla="*/ 58234 w 697572"/>
              <a:gd name="csY19" fmla="*/ 988567 h 1240128"/>
              <a:gd name="csX20" fmla="*/ 118645 w 697572"/>
              <a:gd name="csY20" fmla="*/ 928298 h 1240128"/>
              <a:gd name="csX21" fmla="*/ 126320 w 697572"/>
              <a:gd name="csY21" fmla="*/ 892015 h 1240128"/>
              <a:gd name="csX22" fmla="*/ 120345 w 697572"/>
              <a:gd name="csY22" fmla="*/ 872258 h 1240128"/>
              <a:gd name="csX23" fmla="*/ 125668 w 697572"/>
              <a:gd name="csY23" fmla="*/ 861640 h 1240128"/>
              <a:gd name="csX24" fmla="*/ 154237 w 697572"/>
              <a:gd name="csY24" fmla="*/ 850716 h 1240128"/>
              <a:gd name="csX25" fmla="*/ 170248 w 697572"/>
              <a:gd name="csY25" fmla="*/ 836767 h 1240128"/>
              <a:gd name="csX26" fmla="*/ 187840 w 697572"/>
              <a:gd name="csY26" fmla="*/ 796341 h 1240128"/>
              <a:gd name="csX27" fmla="*/ 209346 w 697572"/>
              <a:gd name="csY27" fmla="*/ 743126 h 1240128"/>
              <a:gd name="csX28" fmla="*/ 210630 w 697572"/>
              <a:gd name="csY28" fmla="*/ 737219 h 1240128"/>
              <a:gd name="csX29" fmla="*/ 213836 w 697572"/>
              <a:gd name="csY29" fmla="*/ 720505 h 1240128"/>
              <a:gd name="csX30" fmla="*/ 227791 w 697572"/>
              <a:gd name="csY30" fmla="*/ 667353 h 1240128"/>
              <a:gd name="csX31" fmla="*/ 241013 w 697572"/>
              <a:gd name="csY31" fmla="*/ 599151 h 1240128"/>
              <a:gd name="csX32" fmla="*/ 247322 w 697572"/>
              <a:gd name="csY32" fmla="*/ 542242 h 1240128"/>
              <a:gd name="csX33" fmla="*/ 247948 w 697572"/>
              <a:gd name="csY33" fmla="*/ 499296 h 1240128"/>
              <a:gd name="csX34" fmla="*/ 247577 w 697572"/>
              <a:gd name="csY34" fmla="*/ 470384 h 1240128"/>
              <a:gd name="csX35" fmla="*/ 238877 w 697572"/>
              <a:gd name="csY35" fmla="*/ 460987 h 1240128"/>
              <a:gd name="csX36" fmla="*/ 222040 w 697572"/>
              <a:gd name="csY36" fmla="*/ 458353 h 1240128"/>
              <a:gd name="csX37" fmla="*/ 172193 w 697572"/>
              <a:gd name="csY37" fmla="*/ 433714 h 1240128"/>
              <a:gd name="csX38" fmla="*/ 168410 w 697572"/>
              <a:gd name="csY38" fmla="*/ 396591 h 1240128"/>
              <a:gd name="csX39" fmla="*/ 209826 w 697572"/>
              <a:gd name="csY39" fmla="*/ 367773 h 1240128"/>
              <a:gd name="csX40" fmla="*/ 250732 w 697572"/>
              <a:gd name="csY40" fmla="*/ 355208 h 1240128"/>
              <a:gd name="csX41" fmla="*/ 258289 w 697572"/>
              <a:gd name="csY41" fmla="*/ 350426 h 1240128"/>
              <a:gd name="csX42" fmla="*/ 233274 w 697572"/>
              <a:gd name="csY42" fmla="*/ 333513 h 1240128"/>
              <a:gd name="csX43" fmla="*/ 229677 w 697572"/>
              <a:gd name="csY43" fmla="*/ 333922 h 1240128"/>
              <a:gd name="csX44" fmla="*/ 230149 w 697572"/>
              <a:gd name="csY44" fmla="*/ 332979 h 1240128"/>
              <a:gd name="csX45" fmla="*/ 227053 w 697572"/>
              <a:gd name="csY45" fmla="*/ 327076 h 1240128"/>
              <a:gd name="csX46" fmla="*/ 196769 w 697572"/>
              <a:gd name="csY46" fmla="*/ 291380 h 1240128"/>
              <a:gd name="csX47" fmla="*/ 184389 w 697572"/>
              <a:gd name="csY47" fmla="*/ 264042 h 1240128"/>
              <a:gd name="csX48" fmla="*/ 180630 w 697572"/>
              <a:gd name="csY48" fmla="*/ 257839 h 1240128"/>
              <a:gd name="csX49" fmla="*/ 176231 w 697572"/>
              <a:gd name="csY49" fmla="*/ 250643 h 1240128"/>
              <a:gd name="csX50" fmla="*/ 170073 w 697572"/>
              <a:gd name="csY50" fmla="*/ 146723 h 1240128"/>
              <a:gd name="csX51" fmla="*/ 180929 w 697572"/>
              <a:gd name="csY51" fmla="*/ 114280 h 1240128"/>
              <a:gd name="csX52" fmla="*/ 180839 w 697572"/>
              <a:gd name="csY52" fmla="*/ 101501 h 1240128"/>
              <a:gd name="csX53" fmla="*/ 233536 w 697572"/>
              <a:gd name="csY53" fmla="*/ 39653 h 1240128"/>
              <a:gd name="csX54" fmla="*/ 347618 w 697572"/>
              <a:gd name="csY54" fmla="*/ 35 h 1240128"/>
              <a:gd name="csX55" fmla="*/ 437139 w 697572"/>
              <a:gd name="csY55" fmla="*/ 22396 h 1240128"/>
              <a:gd name="csX56" fmla="*/ 529052 w 697572"/>
              <a:gd name="csY56" fmla="*/ 131093 h 1240128"/>
              <a:gd name="csX57" fmla="*/ 518497 w 697572"/>
              <a:gd name="csY57" fmla="*/ 271517 h 1240128"/>
              <a:gd name="csX58" fmla="*/ 500808 w 697572"/>
              <a:gd name="csY58" fmla="*/ 287385 h 1240128"/>
              <a:gd name="csX59" fmla="*/ 472948 w 697572"/>
              <a:gd name="csY59" fmla="*/ 323290 h 1240128"/>
              <a:gd name="csX60" fmla="*/ 469385 w 697572"/>
              <a:gd name="csY60" fmla="*/ 331565 h 1240128"/>
              <a:gd name="csX61" fmla="*/ 468293 w 697572"/>
              <a:gd name="csY61" fmla="*/ 331320 h 1240128"/>
              <a:gd name="csX62" fmla="*/ 459542 w 697572"/>
              <a:gd name="csY62" fmla="*/ 338942 h 1240128"/>
              <a:gd name="csX63" fmla="*/ 458492 w 697572"/>
              <a:gd name="csY63" fmla="*/ 338671 h 1240128"/>
              <a:gd name="csX64" fmla="*/ 436978 w 697572"/>
              <a:gd name="csY64" fmla="*/ 352226 h 1240128"/>
              <a:gd name="csX65" fmla="*/ 472329 w 697572"/>
              <a:gd name="csY65" fmla="*/ 362890 h 1240128"/>
              <a:gd name="csX66" fmla="*/ 523779 w 697572"/>
              <a:gd name="csY66" fmla="*/ 391962 h 1240128"/>
              <a:gd name="csX67" fmla="*/ 527344 w 697572"/>
              <a:gd name="csY67" fmla="*/ 430096 h 1240128"/>
              <a:gd name="csX68" fmla="*/ 504112 w 697572"/>
              <a:gd name="csY68" fmla="*/ 449628 h 1240128"/>
              <a:gd name="csX69" fmla="*/ 459430 w 697572"/>
              <a:gd name="csY69" fmla="*/ 461116 h 1240128"/>
              <a:gd name="csX70" fmla="*/ 446666 w 697572"/>
              <a:gd name="csY70" fmla="*/ 474229 h 1240128"/>
              <a:gd name="csX71" fmla="*/ 449133 w 697572"/>
              <a:gd name="csY71" fmla="*/ 531639 h 1240128"/>
              <a:gd name="csX72" fmla="*/ 454546 w 697572"/>
              <a:gd name="csY72" fmla="*/ 588688 h 1240128"/>
              <a:gd name="csX73" fmla="*/ 466126 w 697572"/>
              <a:gd name="csY73" fmla="*/ 649736 h 1240128"/>
              <a:gd name="csX74" fmla="*/ 512154 w 697572"/>
              <a:gd name="csY74" fmla="*/ 794006 h 1240128"/>
              <a:gd name="csX75" fmla="*/ 525763 w 697572"/>
              <a:gd name="csY75" fmla="*/ 834323 h 1240128"/>
              <a:gd name="csX76" fmla="*/ 530555 w 697572"/>
              <a:gd name="csY76" fmla="*/ 845114 h 1240128"/>
              <a:gd name="csX77" fmla="*/ 554424 w 697572"/>
              <a:gd name="csY77" fmla="*/ 856618 h 1240128"/>
              <a:gd name="csX78" fmla="*/ 572880 w 697572"/>
              <a:gd name="csY78" fmla="*/ 862546 h 1240128"/>
              <a:gd name="csX79" fmla="*/ 578643 w 697572"/>
              <a:gd name="csY79" fmla="*/ 880396 h 1240128"/>
              <a:gd name="csX80" fmla="*/ 572188 w 697572"/>
              <a:gd name="csY80" fmla="*/ 899820 h 1240128"/>
              <a:gd name="csX81" fmla="*/ 582698 w 697572"/>
              <a:gd name="csY81" fmla="*/ 930382 h 1240128"/>
              <a:gd name="csX82" fmla="*/ 604747 w 697572"/>
              <a:gd name="csY82" fmla="*/ 960852 h 1240128"/>
              <a:gd name="csX83" fmla="*/ 613863 w 697572"/>
              <a:gd name="csY83" fmla="*/ 968311 h 1240128"/>
              <a:gd name="csX84" fmla="*/ 629435 w 697572"/>
              <a:gd name="csY84" fmla="*/ 981186 h 1240128"/>
              <a:gd name="csX85" fmla="*/ 633611 w 697572"/>
              <a:gd name="csY85" fmla="*/ 985609 h 1240128"/>
              <a:gd name="csX86" fmla="*/ 673790 w 697572"/>
              <a:gd name="csY86" fmla="*/ 1049348 h 1240128"/>
              <a:gd name="csX87" fmla="*/ 675873 w 697572"/>
              <a:gd name="csY87" fmla="*/ 1092839 h 1240128"/>
              <a:gd name="csX88" fmla="*/ 681668 w 697572"/>
              <a:gd name="csY88" fmla="*/ 1129292 h 1240128"/>
              <a:gd name="csX89" fmla="*/ 697338 w 697572"/>
              <a:gd name="csY89" fmla="*/ 1196079 h 1240128"/>
              <a:gd name="csX90" fmla="*/ 690637 w 697572"/>
              <a:gd name="csY90" fmla="*/ 1205035 h 1240128"/>
              <a:gd name="csX91" fmla="*/ 639777 w 697572"/>
              <a:gd name="csY91" fmla="*/ 1217994 h 1240128"/>
              <a:gd name="csX92" fmla="*/ 587072 w 697572"/>
              <a:gd name="csY92" fmla="*/ 1227761 h 1240128"/>
              <a:gd name="csX93" fmla="*/ 581793 w 697572"/>
              <a:gd name="csY93" fmla="*/ 1234401 h 1240128"/>
              <a:gd name="csX94" fmla="*/ 357446 w 697572"/>
              <a:gd name="csY94" fmla="*/ 903795 h 1240128"/>
              <a:gd name="csX95" fmla="*/ 344445 w 697572"/>
              <a:gd name="csY95" fmla="*/ 903795 h 1240128"/>
              <a:gd name="csX96" fmla="*/ 349212 w 697572"/>
              <a:gd name="csY96" fmla="*/ 950515 h 1240128"/>
              <a:gd name="csX97" fmla="*/ 349538 w 697572"/>
              <a:gd name="csY97" fmla="*/ 1069392 h 1240128"/>
              <a:gd name="csX98" fmla="*/ 349415 w 697572"/>
              <a:gd name="csY98" fmla="*/ 1108925 h 1240128"/>
              <a:gd name="csX99" fmla="*/ 647726 w 697572"/>
              <a:gd name="csY99" fmla="*/ 1089872 h 1240128"/>
              <a:gd name="csX100" fmla="*/ 647654 w 697572"/>
              <a:gd name="csY100" fmla="*/ 1076267 h 1240128"/>
              <a:gd name="csX101" fmla="*/ 610267 w 697572"/>
              <a:gd name="csY101" fmla="*/ 994126 h 1240128"/>
              <a:gd name="csX102" fmla="*/ 571459 w 697572"/>
              <a:gd name="csY102" fmla="*/ 956568 h 1240128"/>
              <a:gd name="csX103" fmla="*/ 541653 w 697572"/>
              <a:gd name="csY103" fmla="*/ 901544 h 1240128"/>
              <a:gd name="csX104" fmla="*/ 539477 w 697572"/>
              <a:gd name="csY104" fmla="*/ 895908 h 1240128"/>
              <a:gd name="csX105" fmla="*/ 357446 w 697572"/>
              <a:gd name="csY105" fmla="*/ 903795 h 1240128"/>
              <a:gd name="csX106" fmla="*/ 300108 w 697572"/>
              <a:gd name="csY106" fmla="*/ 85260 h 1240128"/>
              <a:gd name="csX107" fmla="*/ 290213 w 697572"/>
              <a:gd name="csY107" fmla="*/ 127888 h 1240128"/>
              <a:gd name="csX108" fmla="*/ 331056 w 697572"/>
              <a:gd name="csY108" fmla="*/ 214168 h 1240128"/>
              <a:gd name="csX109" fmla="*/ 424717 w 697572"/>
              <a:gd name="csY109" fmla="*/ 245160 h 1240128"/>
              <a:gd name="csX110" fmla="*/ 496752 w 697572"/>
              <a:gd name="csY110" fmla="*/ 141256 h 1240128"/>
              <a:gd name="csX111" fmla="*/ 390320 w 697572"/>
              <a:gd name="csY111" fmla="*/ 43995 h 1240128"/>
              <a:gd name="csX112" fmla="*/ 300108 w 697572"/>
              <a:gd name="csY112" fmla="*/ 85260 h 1240128"/>
              <a:gd name="csX113" fmla="*/ 343360 w 697572"/>
              <a:gd name="csY113" fmla="*/ 634332 h 1240128"/>
              <a:gd name="csX114" fmla="*/ 340877 w 697572"/>
              <a:gd name="csY114" fmla="*/ 732259 h 1240128"/>
              <a:gd name="csX115" fmla="*/ 338360 w 697572"/>
              <a:gd name="csY115" fmla="*/ 810538 h 1240128"/>
              <a:gd name="csX116" fmla="*/ 337115 w 697572"/>
              <a:gd name="csY116" fmla="*/ 817736 h 1240128"/>
              <a:gd name="csX117" fmla="*/ 336516 w 697572"/>
              <a:gd name="csY117" fmla="*/ 863022 h 1240128"/>
              <a:gd name="csX118" fmla="*/ 343436 w 697572"/>
              <a:gd name="csY118" fmla="*/ 864027 h 1240128"/>
              <a:gd name="csX119" fmla="*/ 406718 w 697572"/>
              <a:gd name="csY119" fmla="*/ 862982 h 1240128"/>
              <a:gd name="csX120" fmla="*/ 456888 w 697572"/>
              <a:gd name="csY120" fmla="*/ 861794 h 1240128"/>
              <a:gd name="csX121" fmla="*/ 495873 w 697572"/>
              <a:gd name="csY121" fmla="*/ 863963 h 1240128"/>
              <a:gd name="csX122" fmla="*/ 509286 w 697572"/>
              <a:gd name="csY122" fmla="*/ 863595 h 1240128"/>
              <a:gd name="csX123" fmla="*/ 516956 w 697572"/>
              <a:gd name="csY123" fmla="*/ 856791 h 1240128"/>
              <a:gd name="csX124" fmla="*/ 513920 w 697572"/>
              <a:gd name="csY124" fmla="*/ 848709 h 1240128"/>
              <a:gd name="csX125" fmla="*/ 506683 w 697572"/>
              <a:gd name="csY125" fmla="*/ 839054 h 1240128"/>
              <a:gd name="csX126" fmla="*/ 488629 w 697572"/>
              <a:gd name="csY126" fmla="*/ 799037 h 1240128"/>
              <a:gd name="csX127" fmla="*/ 456922 w 697572"/>
              <a:gd name="csY127" fmla="*/ 696297 h 1240128"/>
              <a:gd name="csX128" fmla="*/ 441346 w 697572"/>
              <a:gd name="csY128" fmla="*/ 619885 h 1240128"/>
              <a:gd name="csX129" fmla="*/ 435963 w 697572"/>
              <a:gd name="csY129" fmla="*/ 582529 h 1240128"/>
              <a:gd name="csX130" fmla="*/ 429497 w 697572"/>
              <a:gd name="csY130" fmla="*/ 521990 h 1240128"/>
              <a:gd name="csX131" fmla="*/ 426887 w 697572"/>
              <a:gd name="csY131" fmla="*/ 471989 h 1240128"/>
              <a:gd name="csX132" fmla="*/ 413744 w 697572"/>
              <a:gd name="csY132" fmla="*/ 461077 h 1240128"/>
              <a:gd name="csX133" fmla="*/ 353573 w 697572"/>
              <a:gd name="csY133" fmla="*/ 461120 h 1240128"/>
              <a:gd name="csX134" fmla="*/ 344160 w 697572"/>
              <a:gd name="csY134" fmla="*/ 462286 h 1240128"/>
              <a:gd name="csX135" fmla="*/ 343404 w 697572"/>
              <a:gd name="csY135" fmla="*/ 469192 h 1240128"/>
              <a:gd name="csX136" fmla="*/ 343469 w 697572"/>
              <a:gd name="csY136" fmla="*/ 574797 h 1240128"/>
              <a:gd name="csX137" fmla="*/ 345522 w 697572"/>
              <a:gd name="csY137" fmla="*/ 591669 h 1240128"/>
              <a:gd name="csX138" fmla="*/ 343360 w 697572"/>
              <a:gd name="csY138" fmla="*/ 634332 h 1240128"/>
              <a:gd name="csX139" fmla="*/ 416946 w 697572"/>
              <a:gd name="csY139" fmla="*/ 385943 h 1240128"/>
              <a:gd name="csX140" fmla="*/ 401091 w 697572"/>
              <a:gd name="csY140" fmla="*/ 387162 h 1240128"/>
              <a:gd name="csX141" fmla="*/ 369218 w 697572"/>
              <a:gd name="csY141" fmla="*/ 387708 h 1240128"/>
              <a:gd name="csX142" fmla="*/ 351833 w 697572"/>
              <a:gd name="csY142" fmla="*/ 398991 h 1240128"/>
              <a:gd name="csX143" fmla="*/ 349778 w 697572"/>
              <a:gd name="csY143" fmla="*/ 426021 h 1240128"/>
              <a:gd name="csX144" fmla="*/ 361839 w 697572"/>
              <a:gd name="csY144" fmla="*/ 426538 h 1240128"/>
              <a:gd name="csX145" fmla="*/ 455022 w 697572"/>
              <a:gd name="csY145" fmla="*/ 426922 h 1240128"/>
              <a:gd name="csX146" fmla="*/ 481958 w 697572"/>
              <a:gd name="csY146" fmla="*/ 426527 h 1240128"/>
              <a:gd name="csX147" fmla="*/ 499817 w 697572"/>
              <a:gd name="csY147" fmla="*/ 419888 h 1240128"/>
              <a:gd name="csX148" fmla="*/ 499439 w 697572"/>
              <a:gd name="csY148" fmla="*/ 400719 h 1240128"/>
              <a:gd name="csX149" fmla="*/ 468062 w 697572"/>
              <a:gd name="csY149" fmla="*/ 387775 h 1240128"/>
              <a:gd name="csX150" fmla="*/ 416946 w 697572"/>
              <a:gd name="csY150" fmla="*/ 385943 h 1240128"/>
              <a:gd name="csX151" fmla="*/ 636802 w 697572"/>
              <a:gd name="csY151" fmla="*/ 1190940 h 1240128"/>
              <a:gd name="csX152" fmla="*/ 666492 w 697572"/>
              <a:gd name="csY152" fmla="*/ 1184186 h 1240128"/>
              <a:gd name="csX153" fmla="*/ 674465 w 697572"/>
              <a:gd name="csY153" fmla="*/ 1170880 h 1240128"/>
              <a:gd name="csX154" fmla="*/ 662462 w 697572"/>
              <a:gd name="csY154" fmla="*/ 1141464 h 1240128"/>
              <a:gd name="csX155" fmla="*/ 645564 w 697572"/>
              <a:gd name="csY155" fmla="*/ 1131937 h 1240128"/>
              <a:gd name="csX156" fmla="*/ 627387 w 697572"/>
              <a:gd name="csY156" fmla="*/ 1133618 h 1240128"/>
              <a:gd name="csX157" fmla="*/ 583917 w 697572"/>
              <a:gd name="csY157" fmla="*/ 1139222 h 1240128"/>
              <a:gd name="csX158" fmla="*/ 543741 w 697572"/>
              <a:gd name="csY158" fmla="*/ 1141869 h 1240128"/>
              <a:gd name="csX159" fmla="*/ 512146 w 697572"/>
              <a:gd name="csY159" fmla="*/ 1144418 h 1240128"/>
              <a:gd name="csX160" fmla="*/ 447711 w 697572"/>
              <a:gd name="csY160" fmla="*/ 1148973 h 1240128"/>
              <a:gd name="csX161" fmla="*/ 351979 w 697572"/>
              <a:gd name="csY161" fmla="*/ 1149200 h 1240128"/>
              <a:gd name="csX162" fmla="*/ 338443 w 697572"/>
              <a:gd name="csY162" fmla="*/ 1150040 h 1240128"/>
              <a:gd name="csX163" fmla="*/ 338451 w 697572"/>
              <a:gd name="csY163" fmla="*/ 1190780 h 1240128"/>
              <a:gd name="csX164" fmla="*/ 351082 w 697572"/>
              <a:gd name="csY164" fmla="*/ 1207015 h 1240128"/>
              <a:gd name="csX165" fmla="*/ 358298 w 697572"/>
              <a:gd name="csY165" fmla="*/ 1208094 h 1240128"/>
              <a:gd name="csX166" fmla="*/ 521229 w 697572"/>
              <a:gd name="csY166" fmla="*/ 1205646 h 1240128"/>
              <a:gd name="csX167" fmla="*/ 523675 w 697572"/>
              <a:gd name="csY167" fmla="*/ 1205490 h 1240128"/>
              <a:gd name="csX168" fmla="*/ 580423 w 697572"/>
              <a:gd name="csY168" fmla="*/ 1198350 h 1240128"/>
              <a:gd name="csX169" fmla="*/ 636802 w 697572"/>
              <a:gd name="csY169" fmla="*/ 1190940 h 124012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</a:cxnLst>
            <a:rect l="l" t="t" r="r" b="b"/>
            <a:pathLst>
              <a:path w="697572" h="1240128">
                <a:moveTo>
                  <a:pt x="581793" y="1234401"/>
                </a:moveTo>
                <a:cubicBezTo>
                  <a:pt x="580693" y="1234661"/>
                  <a:pt x="579594" y="1234922"/>
                  <a:pt x="577427" y="1234156"/>
                </a:cubicBezTo>
                <a:cubicBezTo>
                  <a:pt x="571216" y="1227899"/>
                  <a:pt x="564912" y="1230441"/>
                  <a:pt x="559133" y="1230909"/>
                </a:cubicBezTo>
                <a:cubicBezTo>
                  <a:pt x="544971" y="1232056"/>
                  <a:pt x="530869" y="1233971"/>
                  <a:pt x="516706" y="1235117"/>
                </a:cubicBezTo>
                <a:cubicBezTo>
                  <a:pt x="502910" y="1236232"/>
                  <a:pt x="489077" y="1237097"/>
                  <a:pt x="475244" y="1237506"/>
                </a:cubicBezTo>
                <a:cubicBezTo>
                  <a:pt x="440539" y="1238535"/>
                  <a:pt x="405696" y="1241458"/>
                  <a:pt x="371154" y="1239428"/>
                </a:cubicBezTo>
                <a:cubicBezTo>
                  <a:pt x="339645" y="1237575"/>
                  <a:pt x="308239" y="1238753"/>
                  <a:pt x="276813" y="1237654"/>
                </a:cubicBezTo>
                <a:cubicBezTo>
                  <a:pt x="273949" y="1237553"/>
                  <a:pt x="271079" y="1237652"/>
                  <a:pt x="268212" y="1237635"/>
                </a:cubicBezTo>
                <a:cubicBezTo>
                  <a:pt x="266165" y="1237623"/>
                  <a:pt x="264111" y="1237668"/>
                  <a:pt x="262072" y="1237523"/>
                </a:cubicBezTo>
                <a:cubicBezTo>
                  <a:pt x="239751" y="1235944"/>
                  <a:pt x="217441" y="1234201"/>
                  <a:pt x="195111" y="1232775"/>
                </a:cubicBezTo>
                <a:cubicBezTo>
                  <a:pt x="178437" y="1231710"/>
                  <a:pt x="161712" y="1231378"/>
                  <a:pt x="145060" y="1230076"/>
                </a:cubicBezTo>
                <a:cubicBezTo>
                  <a:pt x="134969" y="1229287"/>
                  <a:pt x="124987" y="1227177"/>
                  <a:pt x="114933" y="1225832"/>
                </a:cubicBezTo>
                <a:cubicBezTo>
                  <a:pt x="100834" y="1223946"/>
                  <a:pt x="86554" y="1223022"/>
                  <a:pt x="72642" y="1220237"/>
                </a:cubicBezTo>
                <a:cubicBezTo>
                  <a:pt x="51920" y="1216091"/>
                  <a:pt x="31443" y="1210723"/>
                  <a:pt x="10894" y="1205737"/>
                </a:cubicBezTo>
                <a:cubicBezTo>
                  <a:pt x="9027" y="1205284"/>
                  <a:pt x="6196" y="1204140"/>
                  <a:pt x="5856" y="1202799"/>
                </a:cubicBezTo>
                <a:cubicBezTo>
                  <a:pt x="3474" y="1193418"/>
                  <a:pt x="-438" y="1183796"/>
                  <a:pt x="40" y="1174450"/>
                </a:cubicBezTo>
                <a:cubicBezTo>
                  <a:pt x="1079" y="1154149"/>
                  <a:pt x="9757" y="1135843"/>
                  <a:pt x="19831" y="1118410"/>
                </a:cubicBezTo>
                <a:cubicBezTo>
                  <a:pt x="21968" y="1114713"/>
                  <a:pt x="22970" y="1111858"/>
                  <a:pt x="22004" y="1107240"/>
                </a:cubicBezTo>
                <a:cubicBezTo>
                  <a:pt x="17168" y="1084118"/>
                  <a:pt x="17717" y="1061168"/>
                  <a:pt x="25947" y="1038650"/>
                </a:cubicBezTo>
                <a:cubicBezTo>
                  <a:pt x="32954" y="1019481"/>
                  <a:pt x="44478" y="1003118"/>
                  <a:pt x="58234" y="988567"/>
                </a:cubicBezTo>
                <a:cubicBezTo>
                  <a:pt x="77769" y="967902"/>
                  <a:pt x="97978" y="947832"/>
                  <a:pt x="118645" y="928298"/>
                </a:cubicBezTo>
                <a:cubicBezTo>
                  <a:pt x="130104" y="917467"/>
                  <a:pt x="131835" y="905961"/>
                  <a:pt x="126320" y="892015"/>
                </a:cubicBezTo>
                <a:cubicBezTo>
                  <a:pt x="123798" y="885637"/>
                  <a:pt x="122123" y="878904"/>
                  <a:pt x="120345" y="872258"/>
                </a:cubicBezTo>
                <a:cubicBezTo>
                  <a:pt x="119029" y="867341"/>
                  <a:pt x="120162" y="863613"/>
                  <a:pt x="125668" y="861640"/>
                </a:cubicBezTo>
                <a:cubicBezTo>
                  <a:pt x="135266" y="858201"/>
                  <a:pt x="144535" y="853788"/>
                  <a:pt x="154237" y="850716"/>
                </a:cubicBezTo>
                <a:cubicBezTo>
                  <a:pt x="161882" y="848296"/>
                  <a:pt x="167110" y="843897"/>
                  <a:pt x="170248" y="836767"/>
                </a:cubicBezTo>
                <a:cubicBezTo>
                  <a:pt x="176168" y="823316"/>
                  <a:pt x="182193" y="809907"/>
                  <a:pt x="187840" y="796341"/>
                </a:cubicBezTo>
                <a:cubicBezTo>
                  <a:pt x="195194" y="778679"/>
                  <a:pt x="202250" y="760894"/>
                  <a:pt x="209346" y="743126"/>
                </a:cubicBezTo>
                <a:cubicBezTo>
                  <a:pt x="210083" y="741280"/>
                  <a:pt x="210252" y="739200"/>
                  <a:pt x="210630" y="737219"/>
                </a:cubicBezTo>
                <a:cubicBezTo>
                  <a:pt x="211694" y="731645"/>
                  <a:pt x="212425" y="725987"/>
                  <a:pt x="213836" y="720505"/>
                </a:cubicBezTo>
                <a:cubicBezTo>
                  <a:pt x="218406" y="702764"/>
                  <a:pt x="223811" y="685219"/>
                  <a:pt x="227791" y="667353"/>
                </a:cubicBezTo>
                <a:cubicBezTo>
                  <a:pt x="232826" y="644755"/>
                  <a:pt x="237367" y="622009"/>
                  <a:pt x="241013" y="599151"/>
                </a:cubicBezTo>
                <a:cubicBezTo>
                  <a:pt x="244018" y="580319"/>
                  <a:pt x="246001" y="561272"/>
                  <a:pt x="247322" y="542242"/>
                </a:cubicBezTo>
                <a:cubicBezTo>
                  <a:pt x="248312" y="527975"/>
                  <a:pt x="246344" y="513451"/>
                  <a:pt x="247948" y="499296"/>
                </a:cubicBezTo>
                <a:cubicBezTo>
                  <a:pt x="249066" y="489432"/>
                  <a:pt x="247923" y="480014"/>
                  <a:pt x="247577" y="470384"/>
                </a:cubicBezTo>
                <a:cubicBezTo>
                  <a:pt x="247364" y="464453"/>
                  <a:pt x="245121" y="461397"/>
                  <a:pt x="238877" y="460987"/>
                </a:cubicBezTo>
                <a:cubicBezTo>
                  <a:pt x="233224" y="460615"/>
                  <a:pt x="227461" y="459920"/>
                  <a:pt x="222040" y="458353"/>
                </a:cubicBezTo>
                <a:cubicBezTo>
                  <a:pt x="203991" y="453134"/>
                  <a:pt x="185737" y="448229"/>
                  <a:pt x="172193" y="433714"/>
                </a:cubicBezTo>
                <a:cubicBezTo>
                  <a:pt x="162702" y="423544"/>
                  <a:pt x="160887" y="408134"/>
                  <a:pt x="168410" y="396591"/>
                </a:cubicBezTo>
                <a:cubicBezTo>
                  <a:pt x="178294" y="381428"/>
                  <a:pt x="193736" y="373793"/>
                  <a:pt x="209826" y="367773"/>
                </a:cubicBezTo>
                <a:cubicBezTo>
                  <a:pt x="223159" y="362784"/>
                  <a:pt x="237124" y="359493"/>
                  <a:pt x="250732" y="355208"/>
                </a:cubicBezTo>
                <a:cubicBezTo>
                  <a:pt x="253085" y="354467"/>
                  <a:pt x="255058" y="352518"/>
                  <a:pt x="258289" y="350426"/>
                </a:cubicBezTo>
                <a:cubicBezTo>
                  <a:pt x="250173" y="342610"/>
                  <a:pt x="241833" y="337880"/>
                  <a:pt x="233274" y="333513"/>
                </a:cubicBezTo>
                <a:cubicBezTo>
                  <a:pt x="232377" y="333055"/>
                  <a:pt x="230890" y="333758"/>
                  <a:pt x="229677" y="333922"/>
                </a:cubicBezTo>
                <a:cubicBezTo>
                  <a:pt x="229677" y="333922"/>
                  <a:pt x="230323" y="333834"/>
                  <a:pt x="230149" y="332979"/>
                </a:cubicBezTo>
                <a:cubicBezTo>
                  <a:pt x="229023" y="330409"/>
                  <a:pt x="228502" y="328059"/>
                  <a:pt x="227053" y="327076"/>
                </a:cubicBezTo>
                <a:cubicBezTo>
                  <a:pt x="213615" y="317962"/>
                  <a:pt x="204643" y="305332"/>
                  <a:pt x="196769" y="291380"/>
                </a:cubicBezTo>
                <a:cubicBezTo>
                  <a:pt x="191792" y="282564"/>
                  <a:pt x="185421" y="274665"/>
                  <a:pt x="184389" y="264042"/>
                </a:cubicBezTo>
                <a:cubicBezTo>
                  <a:pt x="184179" y="261874"/>
                  <a:pt x="181925" y="259908"/>
                  <a:pt x="180630" y="257839"/>
                </a:cubicBezTo>
                <a:cubicBezTo>
                  <a:pt x="179137" y="255454"/>
                  <a:pt x="177317" y="253204"/>
                  <a:pt x="176231" y="250643"/>
                </a:cubicBezTo>
                <a:cubicBezTo>
                  <a:pt x="161865" y="216749"/>
                  <a:pt x="159606" y="182060"/>
                  <a:pt x="170073" y="146723"/>
                </a:cubicBezTo>
                <a:cubicBezTo>
                  <a:pt x="173311" y="135795"/>
                  <a:pt x="177248" y="125074"/>
                  <a:pt x="180929" y="114280"/>
                </a:cubicBezTo>
                <a:cubicBezTo>
                  <a:pt x="182396" y="109981"/>
                  <a:pt x="183922" y="105742"/>
                  <a:pt x="180839" y="101501"/>
                </a:cubicBezTo>
                <a:cubicBezTo>
                  <a:pt x="192473" y="75833"/>
                  <a:pt x="211344" y="56271"/>
                  <a:pt x="233536" y="39653"/>
                </a:cubicBezTo>
                <a:cubicBezTo>
                  <a:pt x="267321" y="14353"/>
                  <a:pt x="305621" y="873"/>
                  <a:pt x="347618" y="35"/>
                </a:cubicBezTo>
                <a:cubicBezTo>
                  <a:pt x="379125" y="-593"/>
                  <a:pt x="409214" y="7172"/>
                  <a:pt x="437139" y="22396"/>
                </a:cubicBezTo>
                <a:cubicBezTo>
                  <a:pt x="481844" y="46766"/>
                  <a:pt x="514077" y="82116"/>
                  <a:pt x="529052" y="131093"/>
                </a:cubicBezTo>
                <a:cubicBezTo>
                  <a:pt x="543544" y="178495"/>
                  <a:pt x="541630" y="225548"/>
                  <a:pt x="518497" y="271517"/>
                </a:cubicBezTo>
                <a:cubicBezTo>
                  <a:pt x="511428" y="277096"/>
                  <a:pt x="503848" y="281136"/>
                  <a:pt x="500808" y="287385"/>
                </a:cubicBezTo>
                <a:cubicBezTo>
                  <a:pt x="493932" y="301522"/>
                  <a:pt x="483805" y="312513"/>
                  <a:pt x="472948" y="323290"/>
                </a:cubicBezTo>
                <a:cubicBezTo>
                  <a:pt x="470972" y="325253"/>
                  <a:pt x="470533" y="328767"/>
                  <a:pt x="469385" y="331565"/>
                </a:cubicBezTo>
                <a:cubicBezTo>
                  <a:pt x="469385" y="331565"/>
                  <a:pt x="469172" y="331584"/>
                  <a:pt x="468293" y="331320"/>
                </a:cubicBezTo>
                <a:cubicBezTo>
                  <a:pt x="461937" y="330836"/>
                  <a:pt x="458618" y="332772"/>
                  <a:pt x="459542" y="338942"/>
                </a:cubicBezTo>
                <a:cubicBezTo>
                  <a:pt x="459542" y="338942"/>
                  <a:pt x="459473" y="338913"/>
                  <a:pt x="458492" y="338671"/>
                </a:cubicBezTo>
                <a:cubicBezTo>
                  <a:pt x="450936" y="342653"/>
                  <a:pt x="440712" y="341355"/>
                  <a:pt x="436978" y="352226"/>
                </a:cubicBezTo>
                <a:cubicBezTo>
                  <a:pt x="449178" y="355911"/>
                  <a:pt x="460733" y="359469"/>
                  <a:pt x="472329" y="362890"/>
                </a:cubicBezTo>
                <a:cubicBezTo>
                  <a:pt x="491728" y="368613"/>
                  <a:pt x="510182" y="375784"/>
                  <a:pt x="523779" y="391962"/>
                </a:cubicBezTo>
                <a:cubicBezTo>
                  <a:pt x="535849" y="406326"/>
                  <a:pt x="534845" y="420076"/>
                  <a:pt x="527344" y="430096"/>
                </a:cubicBezTo>
                <a:cubicBezTo>
                  <a:pt x="521323" y="438139"/>
                  <a:pt x="513928" y="445333"/>
                  <a:pt x="504112" y="449628"/>
                </a:cubicBezTo>
                <a:cubicBezTo>
                  <a:pt x="489776" y="455901"/>
                  <a:pt x="475173" y="460486"/>
                  <a:pt x="459430" y="461116"/>
                </a:cubicBezTo>
                <a:cubicBezTo>
                  <a:pt x="448415" y="461557"/>
                  <a:pt x="446384" y="463369"/>
                  <a:pt x="446666" y="474229"/>
                </a:cubicBezTo>
                <a:cubicBezTo>
                  <a:pt x="447164" y="493376"/>
                  <a:pt x="447839" y="512533"/>
                  <a:pt x="449133" y="531639"/>
                </a:cubicBezTo>
                <a:cubicBezTo>
                  <a:pt x="450424" y="550696"/>
                  <a:pt x="451783" y="569809"/>
                  <a:pt x="454546" y="588688"/>
                </a:cubicBezTo>
                <a:cubicBezTo>
                  <a:pt x="457543" y="609164"/>
                  <a:pt x="462165" y="629403"/>
                  <a:pt x="466126" y="649736"/>
                </a:cubicBezTo>
                <a:cubicBezTo>
                  <a:pt x="475845" y="699621"/>
                  <a:pt x="493414" y="746980"/>
                  <a:pt x="512154" y="794006"/>
                </a:cubicBezTo>
                <a:cubicBezTo>
                  <a:pt x="517387" y="807138"/>
                  <a:pt x="525145" y="819463"/>
                  <a:pt x="525763" y="834323"/>
                </a:cubicBezTo>
                <a:cubicBezTo>
                  <a:pt x="525919" y="838081"/>
                  <a:pt x="527739" y="843335"/>
                  <a:pt x="530555" y="845114"/>
                </a:cubicBezTo>
                <a:cubicBezTo>
                  <a:pt x="537981" y="849801"/>
                  <a:pt x="546243" y="853278"/>
                  <a:pt x="554424" y="856618"/>
                </a:cubicBezTo>
                <a:cubicBezTo>
                  <a:pt x="560391" y="859054"/>
                  <a:pt x="567041" y="859887"/>
                  <a:pt x="572880" y="862546"/>
                </a:cubicBezTo>
                <a:cubicBezTo>
                  <a:pt x="581470" y="866458"/>
                  <a:pt x="582467" y="871415"/>
                  <a:pt x="578643" y="880396"/>
                </a:cubicBezTo>
                <a:cubicBezTo>
                  <a:pt x="575969" y="886677"/>
                  <a:pt x="572900" y="893182"/>
                  <a:pt x="572188" y="899820"/>
                </a:cubicBezTo>
                <a:cubicBezTo>
                  <a:pt x="570960" y="911271"/>
                  <a:pt x="576506" y="920944"/>
                  <a:pt x="582698" y="930382"/>
                </a:cubicBezTo>
                <a:cubicBezTo>
                  <a:pt x="589569" y="940856"/>
                  <a:pt x="600933" y="947930"/>
                  <a:pt x="604747" y="960852"/>
                </a:cubicBezTo>
                <a:cubicBezTo>
                  <a:pt x="605684" y="964030"/>
                  <a:pt x="610294" y="967128"/>
                  <a:pt x="613863" y="968311"/>
                </a:cubicBezTo>
                <a:cubicBezTo>
                  <a:pt x="620963" y="970665"/>
                  <a:pt x="625924" y="974774"/>
                  <a:pt x="629435" y="981186"/>
                </a:cubicBezTo>
                <a:cubicBezTo>
                  <a:pt x="630381" y="982913"/>
                  <a:pt x="631977" y="984459"/>
                  <a:pt x="633611" y="985609"/>
                </a:cubicBezTo>
                <a:cubicBezTo>
                  <a:pt x="655878" y="1001272"/>
                  <a:pt x="668032" y="1023762"/>
                  <a:pt x="673790" y="1049348"/>
                </a:cubicBezTo>
                <a:cubicBezTo>
                  <a:pt x="676936" y="1063327"/>
                  <a:pt x="679769" y="1077802"/>
                  <a:pt x="675873" y="1092839"/>
                </a:cubicBezTo>
                <a:cubicBezTo>
                  <a:pt x="672677" y="1105174"/>
                  <a:pt x="673042" y="1116963"/>
                  <a:pt x="681668" y="1129292"/>
                </a:cubicBezTo>
                <a:cubicBezTo>
                  <a:pt x="695321" y="1148802"/>
                  <a:pt x="698550" y="1172235"/>
                  <a:pt x="697338" y="1196079"/>
                </a:cubicBezTo>
                <a:cubicBezTo>
                  <a:pt x="697087" y="1201014"/>
                  <a:pt x="694979" y="1203886"/>
                  <a:pt x="690637" y="1205035"/>
                </a:cubicBezTo>
                <a:cubicBezTo>
                  <a:pt x="673723" y="1209511"/>
                  <a:pt x="656856" y="1214241"/>
                  <a:pt x="639777" y="1217994"/>
                </a:cubicBezTo>
                <a:cubicBezTo>
                  <a:pt x="622334" y="1221827"/>
                  <a:pt x="604691" y="1224790"/>
                  <a:pt x="587072" y="1227761"/>
                </a:cubicBezTo>
                <a:cubicBezTo>
                  <a:pt x="582708" y="1228497"/>
                  <a:pt x="581724" y="1230736"/>
                  <a:pt x="581793" y="1234401"/>
                </a:cubicBezTo>
                <a:moveTo>
                  <a:pt x="357446" y="903795"/>
                </a:moveTo>
                <a:cubicBezTo>
                  <a:pt x="353141" y="903795"/>
                  <a:pt x="348835" y="903795"/>
                  <a:pt x="344445" y="903795"/>
                </a:cubicBezTo>
                <a:cubicBezTo>
                  <a:pt x="346169" y="920562"/>
                  <a:pt x="347908" y="935520"/>
                  <a:pt x="349212" y="950515"/>
                </a:cubicBezTo>
                <a:cubicBezTo>
                  <a:pt x="352656" y="990125"/>
                  <a:pt x="351941" y="1029743"/>
                  <a:pt x="349538" y="1069392"/>
                </a:cubicBezTo>
                <a:cubicBezTo>
                  <a:pt x="348759" y="1082241"/>
                  <a:pt x="349415" y="1095176"/>
                  <a:pt x="349415" y="1108925"/>
                </a:cubicBezTo>
                <a:cubicBezTo>
                  <a:pt x="449467" y="1111953"/>
                  <a:pt x="548509" y="1104712"/>
                  <a:pt x="647726" y="1089872"/>
                </a:cubicBezTo>
                <a:cubicBezTo>
                  <a:pt x="647726" y="1084313"/>
                  <a:pt x="648180" y="1080225"/>
                  <a:pt x="647654" y="1076267"/>
                </a:cubicBezTo>
                <a:cubicBezTo>
                  <a:pt x="643515" y="1045124"/>
                  <a:pt x="633172" y="1016714"/>
                  <a:pt x="610267" y="994126"/>
                </a:cubicBezTo>
                <a:cubicBezTo>
                  <a:pt x="597451" y="981485"/>
                  <a:pt x="584392" y="969090"/>
                  <a:pt x="571459" y="956568"/>
                </a:cubicBezTo>
                <a:cubicBezTo>
                  <a:pt x="555751" y="941359"/>
                  <a:pt x="544836" y="923558"/>
                  <a:pt x="541653" y="901544"/>
                </a:cubicBezTo>
                <a:cubicBezTo>
                  <a:pt x="541430" y="900007"/>
                  <a:pt x="540528" y="898570"/>
                  <a:pt x="539477" y="895908"/>
                </a:cubicBezTo>
                <a:cubicBezTo>
                  <a:pt x="479736" y="901652"/>
                  <a:pt x="419815" y="904536"/>
                  <a:pt x="357446" y="903795"/>
                </a:cubicBezTo>
                <a:moveTo>
                  <a:pt x="300108" y="85260"/>
                </a:moveTo>
                <a:cubicBezTo>
                  <a:pt x="293656" y="98745"/>
                  <a:pt x="289202" y="113094"/>
                  <a:pt x="290213" y="127888"/>
                </a:cubicBezTo>
                <a:cubicBezTo>
                  <a:pt x="292527" y="161736"/>
                  <a:pt x="304185" y="191723"/>
                  <a:pt x="331056" y="214168"/>
                </a:cubicBezTo>
                <a:cubicBezTo>
                  <a:pt x="358172" y="236816"/>
                  <a:pt x="388435" y="249934"/>
                  <a:pt x="424717" y="245160"/>
                </a:cubicBezTo>
                <a:cubicBezTo>
                  <a:pt x="468593" y="239387"/>
                  <a:pt x="509574" y="203365"/>
                  <a:pt x="496752" y="141256"/>
                </a:cubicBezTo>
                <a:cubicBezTo>
                  <a:pt x="487021" y="94124"/>
                  <a:pt x="447261" y="51874"/>
                  <a:pt x="390320" y="43995"/>
                </a:cubicBezTo>
                <a:cubicBezTo>
                  <a:pt x="353241" y="38865"/>
                  <a:pt x="321136" y="48750"/>
                  <a:pt x="300108" y="85260"/>
                </a:cubicBezTo>
                <a:moveTo>
                  <a:pt x="343360" y="634332"/>
                </a:moveTo>
                <a:cubicBezTo>
                  <a:pt x="342539" y="666975"/>
                  <a:pt x="341785" y="699619"/>
                  <a:pt x="340877" y="732259"/>
                </a:cubicBezTo>
                <a:cubicBezTo>
                  <a:pt x="340151" y="758355"/>
                  <a:pt x="339265" y="784447"/>
                  <a:pt x="338360" y="810538"/>
                </a:cubicBezTo>
                <a:cubicBezTo>
                  <a:pt x="338277" y="812948"/>
                  <a:pt x="337465" y="815325"/>
                  <a:pt x="337115" y="817736"/>
                </a:cubicBezTo>
                <a:cubicBezTo>
                  <a:pt x="334935" y="832710"/>
                  <a:pt x="336026" y="847647"/>
                  <a:pt x="336516" y="863022"/>
                </a:cubicBezTo>
                <a:cubicBezTo>
                  <a:pt x="339537" y="863479"/>
                  <a:pt x="341490" y="864053"/>
                  <a:pt x="343436" y="864027"/>
                </a:cubicBezTo>
                <a:cubicBezTo>
                  <a:pt x="364531" y="863739"/>
                  <a:pt x="385626" y="863422"/>
                  <a:pt x="406718" y="862982"/>
                </a:cubicBezTo>
                <a:cubicBezTo>
                  <a:pt x="423444" y="862634"/>
                  <a:pt x="440168" y="861675"/>
                  <a:pt x="456888" y="861794"/>
                </a:cubicBezTo>
                <a:cubicBezTo>
                  <a:pt x="469887" y="861886"/>
                  <a:pt x="482872" y="863302"/>
                  <a:pt x="495873" y="863963"/>
                </a:cubicBezTo>
                <a:cubicBezTo>
                  <a:pt x="500358" y="864191"/>
                  <a:pt x="505108" y="864773"/>
                  <a:pt x="509286" y="863595"/>
                </a:cubicBezTo>
                <a:cubicBezTo>
                  <a:pt x="512346" y="862732"/>
                  <a:pt x="515714" y="859703"/>
                  <a:pt x="516956" y="856791"/>
                </a:cubicBezTo>
                <a:cubicBezTo>
                  <a:pt x="517783" y="854851"/>
                  <a:pt x="515475" y="851192"/>
                  <a:pt x="513920" y="848709"/>
                </a:cubicBezTo>
                <a:cubicBezTo>
                  <a:pt x="511791" y="845308"/>
                  <a:pt x="508393" y="842606"/>
                  <a:pt x="506683" y="839054"/>
                </a:cubicBezTo>
                <a:cubicBezTo>
                  <a:pt x="500331" y="825864"/>
                  <a:pt x="493224" y="812855"/>
                  <a:pt x="488629" y="799037"/>
                </a:cubicBezTo>
                <a:cubicBezTo>
                  <a:pt x="477322" y="765031"/>
                  <a:pt x="466537" y="730814"/>
                  <a:pt x="456922" y="696297"/>
                </a:cubicBezTo>
                <a:cubicBezTo>
                  <a:pt x="449953" y="671276"/>
                  <a:pt x="443477" y="646020"/>
                  <a:pt x="441346" y="619885"/>
                </a:cubicBezTo>
                <a:cubicBezTo>
                  <a:pt x="440327" y="607371"/>
                  <a:pt x="437466" y="595018"/>
                  <a:pt x="435963" y="582529"/>
                </a:cubicBezTo>
                <a:cubicBezTo>
                  <a:pt x="433539" y="562380"/>
                  <a:pt x="431154" y="542212"/>
                  <a:pt x="429497" y="521990"/>
                </a:cubicBezTo>
                <a:cubicBezTo>
                  <a:pt x="428135" y="505363"/>
                  <a:pt x="428437" y="488593"/>
                  <a:pt x="426887" y="471989"/>
                </a:cubicBezTo>
                <a:cubicBezTo>
                  <a:pt x="425874" y="461140"/>
                  <a:pt x="424983" y="461120"/>
                  <a:pt x="413744" y="461077"/>
                </a:cubicBezTo>
                <a:cubicBezTo>
                  <a:pt x="393687" y="461000"/>
                  <a:pt x="373630" y="461011"/>
                  <a:pt x="353573" y="461120"/>
                </a:cubicBezTo>
                <a:cubicBezTo>
                  <a:pt x="350472" y="461137"/>
                  <a:pt x="347374" y="461869"/>
                  <a:pt x="344160" y="462286"/>
                </a:cubicBezTo>
                <a:cubicBezTo>
                  <a:pt x="343828" y="465198"/>
                  <a:pt x="343406" y="467195"/>
                  <a:pt x="343404" y="469192"/>
                </a:cubicBezTo>
                <a:cubicBezTo>
                  <a:pt x="343360" y="504394"/>
                  <a:pt x="343267" y="539596"/>
                  <a:pt x="343469" y="574797"/>
                </a:cubicBezTo>
                <a:cubicBezTo>
                  <a:pt x="343501" y="580426"/>
                  <a:pt x="345652" y="586065"/>
                  <a:pt x="345522" y="591669"/>
                </a:cubicBezTo>
                <a:cubicBezTo>
                  <a:pt x="345214" y="605082"/>
                  <a:pt x="344131" y="618478"/>
                  <a:pt x="343360" y="634332"/>
                </a:cubicBezTo>
                <a:moveTo>
                  <a:pt x="416946" y="385943"/>
                </a:moveTo>
                <a:cubicBezTo>
                  <a:pt x="411661" y="386365"/>
                  <a:pt x="406384" y="387006"/>
                  <a:pt x="401091" y="387162"/>
                </a:cubicBezTo>
                <a:cubicBezTo>
                  <a:pt x="390470" y="387477"/>
                  <a:pt x="379841" y="387447"/>
                  <a:pt x="369218" y="387708"/>
                </a:cubicBezTo>
                <a:cubicBezTo>
                  <a:pt x="361167" y="387906"/>
                  <a:pt x="354429" y="391368"/>
                  <a:pt x="351833" y="398991"/>
                </a:cubicBezTo>
                <a:cubicBezTo>
                  <a:pt x="348989" y="407342"/>
                  <a:pt x="347050" y="416214"/>
                  <a:pt x="349778" y="426021"/>
                </a:cubicBezTo>
                <a:cubicBezTo>
                  <a:pt x="353876" y="426204"/>
                  <a:pt x="357857" y="426517"/>
                  <a:pt x="361839" y="426538"/>
                </a:cubicBezTo>
                <a:cubicBezTo>
                  <a:pt x="392900" y="426701"/>
                  <a:pt x="423961" y="426826"/>
                  <a:pt x="455022" y="426922"/>
                </a:cubicBezTo>
                <a:cubicBezTo>
                  <a:pt x="464013" y="426950"/>
                  <a:pt x="473106" y="427654"/>
                  <a:pt x="481958" y="426527"/>
                </a:cubicBezTo>
                <a:cubicBezTo>
                  <a:pt x="488144" y="425740"/>
                  <a:pt x="494821" y="423501"/>
                  <a:pt x="499817" y="419888"/>
                </a:cubicBezTo>
                <a:cubicBezTo>
                  <a:pt x="507869" y="414066"/>
                  <a:pt x="507286" y="406755"/>
                  <a:pt x="499439" y="400719"/>
                </a:cubicBezTo>
                <a:cubicBezTo>
                  <a:pt x="490179" y="393597"/>
                  <a:pt x="479486" y="388885"/>
                  <a:pt x="468062" y="387775"/>
                </a:cubicBezTo>
                <a:cubicBezTo>
                  <a:pt x="451873" y="386202"/>
                  <a:pt x="435520" y="386321"/>
                  <a:pt x="416946" y="385943"/>
                </a:cubicBezTo>
                <a:moveTo>
                  <a:pt x="636802" y="1190940"/>
                </a:moveTo>
                <a:cubicBezTo>
                  <a:pt x="646709" y="1188723"/>
                  <a:pt x="656705" y="1186841"/>
                  <a:pt x="666492" y="1184186"/>
                </a:cubicBezTo>
                <a:cubicBezTo>
                  <a:pt x="674710" y="1181958"/>
                  <a:pt x="676989" y="1178509"/>
                  <a:pt x="674465" y="1170880"/>
                </a:cubicBezTo>
                <a:cubicBezTo>
                  <a:pt x="671144" y="1160843"/>
                  <a:pt x="667026" y="1151009"/>
                  <a:pt x="662462" y="1141464"/>
                </a:cubicBezTo>
                <a:cubicBezTo>
                  <a:pt x="659273" y="1134795"/>
                  <a:pt x="653671" y="1130908"/>
                  <a:pt x="645564" y="1131937"/>
                </a:cubicBezTo>
                <a:cubicBezTo>
                  <a:pt x="639532" y="1132703"/>
                  <a:pt x="633423" y="1132867"/>
                  <a:pt x="627387" y="1133618"/>
                </a:cubicBezTo>
                <a:cubicBezTo>
                  <a:pt x="612888" y="1135421"/>
                  <a:pt x="598449" y="1137770"/>
                  <a:pt x="583917" y="1139222"/>
                </a:cubicBezTo>
                <a:cubicBezTo>
                  <a:pt x="570571" y="1140557"/>
                  <a:pt x="557130" y="1140930"/>
                  <a:pt x="543741" y="1141869"/>
                </a:cubicBezTo>
                <a:cubicBezTo>
                  <a:pt x="533202" y="1142610"/>
                  <a:pt x="522682" y="1143623"/>
                  <a:pt x="512146" y="1144418"/>
                </a:cubicBezTo>
                <a:cubicBezTo>
                  <a:pt x="490671" y="1146038"/>
                  <a:pt x="469214" y="1148450"/>
                  <a:pt x="447711" y="1148973"/>
                </a:cubicBezTo>
                <a:cubicBezTo>
                  <a:pt x="415817" y="1149749"/>
                  <a:pt x="383891" y="1149136"/>
                  <a:pt x="351979" y="1149200"/>
                </a:cubicBezTo>
                <a:cubicBezTo>
                  <a:pt x="347698" y="1149209"/>
                  <a:pt x="343419" y="1149717"/>
                  <a:pt x="338443" y="1150040"/>
                </a:cubicBezTo>
                <a:cubicBezTo>
                  <a:pt x="338443" y="1164651"/>
                  <a:pt x="338413" y="1177715"/>
                  <a:pt x="338451" y="1190780"/>
                </a:cubicBezTo>
                <a:cubicBezTo>
                  <a:pt x="338490" y="1204031"/>
                  <a:pt x="338512" y="1204062"/>
                  <a:pt x="351082" y="1207015"/>
                </a:cubicBezTo>
                <a:cubicBezTo>
                  <a:pt x="353445" y="1207570"/>
                  <a:pt x="355895" y="1208128"/>
                  <a:pt x="358298" y="1208094"/>
                </a:cubicBezTo>
                <a:cubicBezTo>
                  <a:pt x="412608" y="1207329"/>
                  <a:pt x="466919" y="1206484"/>
                  <a:pt x="521229" y="1205646"/>
                </a:cubicBezTo>
                <a:cubicBezTo>
                  <a:pt x="522045" y="1205634"/>
                  <a:pt x="522865" y="1205591"/>
                  <a:pt x="523675" y="1205490"/>
                </a:cubicBezTo>
                <a:cubicBezTo>
                  <a:pt x="542593" y="1203123"/>
                  <a:pt x="561519" y="1200820"/>
                  <a:pt x="580423" y="1198350"/>
                </a:cubicBezTo>
                <a:cubicBezTo>
                  <a:pt x="598523" y="1195985"/>
                  <a:pt x="616599" y="1193446"/>
                  <a:pt x="636802" y="1190940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106" name="Free-form: Shape 9105">
            <a:extLst>
              <a:ext uri="{FF2B5EF4-FFF2-40B4-BE49-F238E27FC236}">
                <a16:creationId xmlns:a16="http://schemas.microsoft.com/office/drawing/2014/main" id="{4AC483A1-A6D4-BA43-5ECE-C4083A3116B2}"/>
              </a:ext>
            </a:extLst>
          </p:cNvPr>
          <p:cNvSpPr/>
          <p:nvPr/>
        </p:nvSpPr>
        <p:spPr>
          <a:xfrm>
            <a:off x="8496839" y="5300081"/>
            <a:ext cx="17183" cy="1998"/>
          </a:xfrm>
          <a:custGeom>
            <a:avLst/>
            <a:gdLst>
              <a:gd name="csX0" fmla="*/ 0 w 27674"/>
              <a:gd name="csY0" fmla="*/ 2915 h 2925"/>
              <a:gd name="csX1" fmla="*/ 27675 w 27674"/>
              <a:gd name="csY1" fmla="*/ 1550 h 2925"/>
              <a:gd name="csX2" fmla="*/ 0 w 27674"/>
              <a:gd name="csY2" fmla="*/ 2915 h 292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27674" h="2925">
                <a:moveTo>
                  <a:pt x="0" y="2915"/>
                </a:moveTo>
                <a:cubicBezTo>
                  <a:pt x="8211" y="-1939"/>
                  <a:pt x="17625" y="498"/>
                  <a:pt x="27675" y="1550"/>
                </a:cubicBezTo>
                <a:cubicBezTo>
                  <a:pt x="19225" y="2593"/>
                  <a:pt x="10029" y="2999"/>
                  <a:pt x="0" y="2915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107" name="Free-form: Shape 9106">
            <a:extLst>
              <a:ext uri="{FF2B5EF4-FFF2-40B4-BE49-F238E27FC236}">
                <a16:creationId xmlns:a16="http://schemas.microsoft.com/office/drawing/2014/main" id="{ACF468A1-D795-087F-2413-35595446B246}"/>
              </a:ext>
            </a:extLst>
          </p:cNvPr>
          <p:cNvSpPr/>
          <p:nvPr/>
        </p:nvSpPr>
        <p:spPr>
          <a:xfrm>
            <a:off x="8449535" y="5301208"/>
            <a:ext cx="11179" cy="770"/>
          </a:xfrm>
          <a:custGeom>
            <a:avLst/>
            <a:gdLst>
              <a:gd name="csX0" fmla="*/ 0 w 18003"/>
              <a:gd name="csY0" fmla="*/ 1050 h 1128"/>
              <a:gd name="csX1" fmla="*/ 18004 w 18003"/>
              <a:gd name="csY1" fmla="*/ 93 h 1128"/>
              <a:gd name="csX2" fmla="*/ 0 w 18003"/>
              <a:gd name="csY2" fmla="*/ 1050 h 112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8003" h="1128">
                <a:moveTo>
                  <a:pt x="0" y="1050"/>
                </a:moveTo>
                <a:cubicBezTo>
                  <a:pt x="5276" y="182"/>
                  <a:pt x="11306" y="-189"/>
                  <a:pt x="18004" y="93"/>
                </a:cubicBezTo>
                <a:cubicBezTo>
                  <a:pt x="12699" y="1013"/>
                  <a:pt x="6726" y="1280"/>
                  <a:pt x="0" y="1050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108" name="Free-form: Shape 9107">
            <a:extLst>
              <a:ext uri="{FF2B5EF4-FFF2-40B4-BE49-F238E27FC236}">
                <a16:creationId xmlns:a16="http://schemas.microsoft.com/office/drawing/2014/main" id="{00E6F733-76D9-7428-B48E-403760948283}"/>
              </a:ext>
            </a:extLst>
          </p:cNvPr>
          <p:cNvSpPr/>
          <p:nvPr/>
        </p:nvSpPr>
        <p:spPr>
          <a:xfrm>
            <a:off x="8530502" y="4677728"/>
            <a:ext cx="5257" cy="5354"/>
          </a:xfrm>
          <a:custGeom>
            <a:avLst/>
            <a:gdLst>
              <a:gd name="csX0" fmla="*/ 473 w 8466"/>
              <a:gd name="csY0" fmla="*/ 7839 h 7838"/>
              <a:gd name="csX1" fmla="*/ 8466 w 8466"/>
              <a:gd name="csY1" fmla="*/ 61 h 7838"/>
              <a:gd name="csX2" fmla="*/ 473 w 8466"/>
              <a:gd name="csY2" fmla="*/ 7839 h 783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66" h="7838">
                <a:moveTo>
                  <a:pt x="473" y="7839"/>
                </a:moveTo>
                <a:cubicBezTo>
                  <a:pt x="-1298" y="1550"/>
                  <a:pt x="2020" y="-386"/>
                  <a:pt x="8466" y="61"/>
                </a:cubicBezTo>
                <a:cubicBezTo>
                  <a:pt x="6730" y="2845"/>
                  <a:pt x="4026" y="5401"/>
                  <a:pt x="473" y="7839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109" name="Free-form: Shape 9108">
            <a:extLst>
              <a:ext uri="{FF2B5EF4-FFF2-40B4-BE49-F238E27FC236}">
                <a16:creationId xmlns:a16="http://schemas.microsoft.com/office/drawing/2014/main" id="{8EA00E7D-D51F-67A9-3966-0BB20DF5FDDC}"/>
              </a:ext>
            </a:extLst>
          </p:cNvPr>
          <p:cNvSpPr/>
          <p:nvPr/>
        </p:nvSpPr>
        <p:spPr>
          <a:xfrm>
            <a:off x="8394506" y="5299542"/>
            <a:ext cx="5265" cy="680"/>
          </a:xfrm>
          <a:custGeom>
            <a:avLst/>
            <a:gdLst>
              <a:gd name="csX0" fmla="*/ 0 w 8480"/>
              <a:gd name="csY0" fmla="*/ 896 h 996"/>
              <a:gd name="csX1" fmla="*/ 8480 w 8480"/>
              <a:gd name="csY1" fmla="*/ 110 h 996"/>
              <a:gd name="csX2" fmla="*/ 0 w 8480"/>
              <a:gd name="csY2" fmla="*/ 896 h 99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80" h="996">
                <a:moveTo>
                  <a:pt x="0" y="896"/>
                </a:moveTo>
                <a:cubicBezTo>
                  <a:pt x="2285" y="115"/>
                  <a:pt x="5130" y="-182"/>
                  <a:pt x="8480" y="110"/>
                </a:cubicBezTo>
                <a:cubicBezTo>
                  <a:pt x="6177" y="927"/>
                  <a:pt x="3368" y="1153"/>
                  <a:pt x="0" y="896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110" name="Free-form: Shape 9109">
            <a:extLst>
              <a:ext uri="{FF2B5EF4-FFF2-40B4-BE49-F238E27FC236}">
                <a16:creationId xmlns:a16="http://schemas.microsoft.com/office/drawing/2014/main" id="{BA7AD40F-B612-080D-F8D1-3EC4A8A6BFEF}"/>
              </a:ext>
            </a:extLst>
          </p:cNvPr>
          <p:cNvSpPr/>
          <p:nvPr/>
        </p:nvSpPr>
        <p:spPr>
          <a:xfrm>
            <a:off x="8681267" y="5270361"/>
            <a:ext cx="763" cy="4547"/>
          </a:xfrm>
          <a:custGeom>
            <a:avLst/>
            <a:gdLst>
              <a:gd name="csX0" fmla="*/ 132 w 1229"/>
              <a:gd name="csY0" fmla="*/ 6659 h 6658"/>
              <a:gd name="csX1" fmla="*/ 1107 w 1229"/>
              <a:gd name="csY1" fmla="*/ 0 h 6658"/>
              <a:gd name="csX2" fmla="*/ 132 w 1229"/>
              <a:gd name="csY2" fmla="*/ 6659 h 665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229" h="6658">
                <a:moveTo>
                  <a:pt x="132" y="6659"/>
                </a:moveTo>
                <a:cubicBezTo>
                  <a:pt x="-219" y="4616"/>
                  <a:pt x="139" y="2560"/>
                  <a:pt x="1107" y="0"/>
                </a:cubicBezTo>
                <a:cubicBezTo>
                  <a:pt x="1425" y="1879"/>
                  <a:pt x="1133" y="4263"/>
                  <a:pt x="132" y="6659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111" name="Free-form: Shape 9110">
            <a:extLst>
              <a:ext uri="{FF2B5EF4-FFF2-40B4-BE49-F238E27FC236}">
                <a16:creationId xmlns:a16="http://schemas.microsoft.com/office/drawing/2014/main" id="{A5932E6B-286B-18A8-AEDC-979056A5B9C4}"/>
              </a:ext>
            </a:extLst>
          </p:cNvPr>
          <p:cNvSpPr/>
          <p:nvPr/>
        </p:nvSpPr>
        <p:spPr>
          <a:xfrm>
            <a:off x="8614071" y="5292666"/>
            <a:ext cx="2352" cy="932"/>
          </a:xfrm>
          <a:custGeom>
            <a:avLst/>
            <a:gdLst>
              <a:gd name="csX0" fmla="*/ 0 w 3788"/>
              <a:gd name="csY0" fmla="*/ 1364 h 1364"/>
              <a:gd name="csX1" fmla="*/ 3788 w 3788"/>
              <a:gd name="csY1" fmla="*/ 0 h 1364"/>
              <a:gd name="csX2" fmla="*/ 0 w 3788"/>
              <a:gd name="csY2" fmla="*/ 1364 h 136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788" h="1364">
                <a:moveTo>
                  <a:pt x="0" y="1364"/>
                </a:moveTo>
                <a:cubicBezTo>
                  <a:pt x="856" y="517"/>
                  <a:pt x="2126" y="39"/>
                  <a:pt x="3788" y="0"/>
                </a:cubicBezTo>
                <a:cubicBezTo>
                  <a:pt x="2925" y="870"/>
                  <a:pt x="1670" y="1303"/>
                  <a:pt x="0" y="1364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112" name="Free-form: Shape 9111">
            <a:extLst>
              <a:ext uri="{FF2B5EF4-FFF2-40B4-BE49-F238E27FC236}">
                <a16:creationId xmlns:a16="http://schemas.microsoft.com/office/drawing/2014/main" id="{49A33811-AEAC-A003-A0A5-185287EABD26}"/>
              </a:ext>
            </a:extLst>
          </p:cNvPr>
          <p:cNvSpPr/>
          <p:nvPr/>
        </p:nvSpPr>
        <p:spPr>
          <a:xfrm>
            <a:off x="8342488" y="5296267"/>
            <a:ext cx="2478" cy="566"/>
          </a:xfrm>
          <a:custGeom>
            <a:avLst/>
            <a:gdLst>
              <a:gd name="csX0" fmla="*/ 0 w 3990"/>
              <a:gd name="csY0" fmla="*/ 719 h 829"/>
              <a:gd name="csX1" fmla="*/ 3990 w 3990"/>
              <a:gd name="csY1" fmla="*/ 119 h 829"/>
              <a:gd name="csX2" fmla="*/ 0 w 3990"/>
              <a:gd name="csY2" fmla="*/ 719 h 82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990" h="829">
                <a:moveTo>
                  <a:pt x="0" y="719"/>
                </a:moveTo>
                <a:cubicBezTo>
                  <a:pt x="982" y="66"/>
                  <a:pt x="2323" y="-163"/>
                  <a:pt x="3990" y="119"/>
                </a:cubicBezTo>
                <a:cubicBezTo>
                  <a:pt x="2998" y="800"/>
                  <a:pt x="1678" y="972"/>
                  <a:pt x="0" y="719"/>
                </a:cubicBezTo>
                <a:close/>
              </a:path>
            </a:pathLst>
          </a:custGeom>
          <a:solidFill>
            <a:srgbClr val="959DA0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113" name="Free-form: Shape 9112">
            <a:extLst>
              <a:ext uri="{FF2B5EF4-FFF2-40B4-BE49-F238E27FC236}">
                <a16:creationId xmlns:a16="http://schemas.microsoft.com/office/drawing/2014/main" id="{C1529391-88C7-D6E2-902A-4C68B090EC0C}"/>
              </a:ext>
            </a:extLst>
          </p:cNvPr>
          <p:cNvSpPr/>
          <p:nvPr/>
        </p:nvSpPr>
        <p:spPr>
          <a:xfrm>
            <a:off x="8553036" y="5299519"/>
            <a:ext cx="2417" cy="775"/>
          </a:xfrm>
          <a:custGeom>
            <a:avLst/>
            <a:gdLst>
              <a:gd name="csX0" fmla="*/ 0 w 3893"/>
              <a:gd name="csY0" fmla="*/ 1133 h 1135"/>
              <a:gd name="csX1" fmla="*/ 3893 w 3893"/>
              <a:gd name="csY1" fmla="*/ 7 h 1135"/>
              <a:gd name="csX2" fmla="*/ 0 w 3893"/>
              <a:gd name="csY2" fmla="*/ 1133 h 113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893" h="1135">
                <a:moveTo>
                  <a:pt x="0" y="1133"/>
                </a:moveTo>
                <a:cubicBezTo>
                  <a:pt x="902" y="349"/>
                  <a:pt x="2213" y="-60"/>
                  <a:pt x="3893" y="7"/>
                </a:cubicBezTo>
                <a:cubicBezTo>
                  <a:pt x="2978" y="825"/>
                  <a:pt x="1693" y="1167"/>
                  <a:pt x="0" y="1133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114" name="Free-form: Shape 9113">
            <a:extLst>
              <a:ext uri="{FF2B5EF4-FFF2-40B4-BE49-F238E27FC236}">
                <a16:creationId xmlns:a16="http://schemas.microsoft.com/office/drawing/2014/main" id="{FE9174EF-AD58-07F0-5F70-6B2A09C2C679}"/>
              </a:ext>
            </a:extLst>
          </p:cNvPr>
          <p:cNvSpPr/>
          <p:nvPr/>
        </p:nvSpPr>
        <p:spPr>
          <a:xfrm>
            <a:off x="8453440" y="4766387"/>
            <a:ext cx="112588" cy="275447"/>
          </a:xfrm>
          <a:custGeom>
            <a:avLst/>
            <a:gdLst>
              <a:gd name="csX0" fmla="*/ 7554 w 181323"/>
              <a:gd name="csY0" fmla="*/ 172079 h 403282"/>
              <a:gd name="csX1" fmla="*/ 9716 w 181323"/>
              <a:gd name="csY1" fmla="*/ 130641 h 403282"/>
              <a:gd name="csX2" fmla="*/ 7663 w 181323"/>
              <a:gd name="csY2" fmla="*/ 113770 h 403282"/>
              <a:gd name="csX3" fmla="*/ 7598 w 181323"/>
              <a:gd name="csY3" fmla="*/ 8165 h 403282"/>
              <a:gd name="csX4" fmla="*/ 8353 w 181323"/>
              <a:gd name="csY4" fmla="*/ 1259 h 403282"/>
              <a:gd name="csX5" fmla="*/ 17767 w 181323"/>
              <a:gd name="csY5" fmla="*/ 93 h 403282"/>
              <a:gd name="csX6" fmla="*/ 77938 w 181323"/>
              <a:gd name="csY6" fmla="*/ 50 h 403282"/>
              <a:gd name="csX7" fmla="*/ 91081 w 181323"/>
              <a:gd name="csY7" fmla="*/ 10962 h 403282"/>
              <a:gd name="csX8" fmla="*/ 93691 w 181323"/>
              <a:gd name="csY8" fmla="*/ 60963 h 403282"/>
              <a:gd name="csX9" fmla="*/ 100157 w 181323"/>
              <a:gd name="csY9" fmla="*/ 121501 h 403282"/>
              <a:gd name="csX10" fmla="*/ 105540 w 181323"/>
              <a:gd name="csY10" fmla="*/ 158857 h 403282"/>
              <a:gd name="csX11" fmla="*/ 121116 w 181323"/>
              <a:gd name="csY11" fmla="*/ 235269 h 403282"/>
              <a:gd name="csX12" fmla="*/ 152823 w 181323"/>
              <a:gd name="csY12" fmla="*/ 338010 h 403282"/>
              <a:gd name="csX13" fmla="*/ 170877 w 181323"/>
              <a:gd name="csY13" fmla="*/ 378027 h 403282"/>
              <a:gd name="csX14" fmla="*/ 178114 w 181323"/>
              <a:gd name="csY14" fmla="*/ 387682 h 403282"/>
              <a:gd name="csX15" fmla="*/ 181150 w 181323"/>
              <a:gd name="csY15" fmla="*/ 395764 h 403282"/>
              <a:gd name="csX16" fmla="*/ 173480 w 181323"/>
              <a:gd name="csY16" fmla="*/ 402568 h 403282"/>
              <a:gd name="csX17" fmla="*/ 160067 w 181323"/>
              <a:gd name="csY17" fmla="*/ 402936 h 403282"/>
              <a:gd name="csX18" fmla="*/ 121081 w 181323"/>
              <a:gd name="csY18" fmla="*/ 400766 h 403282"/>
              <a:gd name="csX19" fmla="*/ 70912 w 181323"/>
              <a:gd name="csY19" fmla="*/ 401955 h 403282"/>
              <a:gd name="csX20" fmla="*/ 7630 w 181323"/>
              <a:gd name="csY20" fmla="*/ 402999 h 403282"/>
              <a:gd name="csX21" fmla="*/ 710 w 181323"/>
              <a:gd name="csY21" fmla="*/ 401995 h 403282"/>
              <a:gd name="csX22" fmla="*/ 1308 w 181323"/>
              <a:gd name="csY22" fmla="*/ 356708 h 403282"/>
              <a:gd name="csX23" fmla="*/ 2554 w 181323"/>
              <a:gd name="csY23" fmla="*/ 349510 h 403282"/>
              <a:gd name="csX24" fmla="*/ 5071 w 181323"/>
              <a:gd name="csY24" fmla="*/ 271231 h 403282"/>
              <a:gd name="csX25" fmla="*/ 7554 w 181323"/>
              <a:gd name="csY25" fmla="*/ 172079 h 403282"/>
              <a:gd name="csX26" fmla="*/ 98286 w 181323"/>
              <a:gd name="csY26" fmla="*/ 163566 h 403282"/>
              <a:gd name="csX27" fmla="*/ 83497 w 181323"/>
              <a:gd name="csY27" fmla="*/ 8289 h 403282"/>
              <a:gd name="csX28" fmla="*/ 15161 w 181323"/>
              <a:gd name="csY28" fmla="*/ 9148 h 403282"/>
              <a:gd name="csX29" fmla="*/ 15058 w 181323"/>
              <a:gd name="csY29" fmla="*/ 137939 h 403282"/>
              <a:gd name="csX30" fmla="*/ 12252 w 181323"/>
              <a:gd name="csY30" fmla="*/ 266862 h 403282"/>
              <a:gd name="csX31" fmla="*/ 7068 w 181323"/>
              <a:gd name="csY31" fmla="*/ 395996 h 403282"/>
              <a:gd name="csX32" fmla="*/ 171647 w 181323"/>
              <a:gd name="csY32" fmla="*/ 395996 h 403282"/>
              <a:gd name="csX33" fmla="*/ 119950 w 181323"/>
              <a:gd name="csY33" fmla="*/ 259496 h 403282"/>
              <a:gd name="csX34" fmla="*/ 98286 w 181323"/>
              <a:gd name="csY34" fmla="*/ 163566 h 40328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</a:cxnLst>
            <a:rect l="l" t="t" r="r" b="b"/>
            <a:pathLst>
              <a:path w="181323" h="403282">
                <a:moveTo>
                  <a:pt x="7554" y="172079"/>
                </a:moveTo>
                <a:cubicBezTo>
                  <a:pt x="8325" y="157451"/>
                  <a:pt x="9408" y="144055"/>
                  <a:pt x="9716" y="130641"/>
                </a:cubicBezTo>
                <a:cubicBezTo>
                  <a:pt x="9846" y="125037"/>
                  <a:pt x="7695" y="119399"/>
                  <a:pt x="7663" y="113770"/>
                </a:cubicBezTo>
                <a:cubicBezTo>
                  <a:pt x="7461" y="78569"/>
                  <a:pt x="7554" y="43367"/>
                  <a:pt x="7598" y="8165"/>
                </a:cubicBezTo>
                <a:cubicBezTo>
                  <a:pt x="7600" y="6167"/>
                  <a:pt x="8022" y="4170"/>
                  <a:pt x="8353" y="1259"/>
                </a:cubicBezTo>
                <a:cubicBezTo>
                  <a:pt x="11568" y="842"/>
                  <a:pt x="14666" y="109"/>
                  <a:pt x="17767" y="93"/>
                </a:cubicBezTo>
                <a:cubicBezTo>
                  <a:pt x="37824" y="-17"/>
                  <a:pt x="57881" y="-27"/>
                  <a:pt x="77938" y="50"/>
                </a:cubicBezTo>
                <a:cubicBezTo>
                  <a:pt x="89177" y="93"/>
                  <a:pt x="90068" y="113"/>
                  <a:pt x="91081" y="10962"/>
                </a:cubicBezTo>
                <a:cubicBezTo>
                  <a:pt x="92631" y="27565"/>
                  <a:pt x="92329" y="44335"/>
                  <a:pt x="93691" y="60963"/>
                </a:cubicBezTo>
                <a:cubicBezTo>
                  <a:pt x="95348" y="81184"/>
                  <a:pt x="97732" y="101353"/>
                  <a:pt x="100157" y="121501"/>
                </a:cubicBezTo>
                <a:cubicBezTo>
                  <a:pt x="101660" y="133990"/>
                  <a:pt x="104521" y="146343"/>
                  <a:pt x="105540" y="158857"/>
                </a:cubicBezTo>
                <a:cubicBezTo>
                  <a:pt x="107671" y="184993"/>
                  <a:pt x="114147" y="210249"/>
                  <a:pt x="121116" y="235269"/>
                </a:cubicBezTo>
                <a:cubicBezTo>
                  <a:pt x="130731" y="269786"/>
                  <a:pt x="141516" y="304004"/>
                  <a:pt x="152823" y="338010"/>
                </a:cubicBezTo>
                <a:cubicBezTo>
                  <a:pt x="157418" y="351828"/>
                  <a:pt x="164524" y="364837"/>
                  <a:pt x="170877" y="378027"/>
                </a:cubicBezTo>
                <a:cubicBezTo>
                  <a:pt x="172587" y="381579"/>
                  <a:pt x="175985" y="384280"/>
                  <a:pt x="178114" y="387682"/>
                </a:cubicBezTo>
                <a:cubicBezTo>
                  <a:pt x="179669" y="390165"/>
                  <a:pt x="181977" y="393824"/>
                  <a:pt x="181150" y="395764"/>
                </a:cubicBezTo>
                <a:cubicBezTo>
                  <a:pt x="179907" y="398676"/>
                  <a:pt x="176540" y="401705"/>
                  <a:pt x="173480" y="402568"/>
                </a:cubicBezTo>
                <a:cubicBezTo>
                  <a:pt x="169302" y="403746"/>
                  <a:pt x="164551" y="403164"/>
                  <a:pt x="160067" y="402936"/>
                </a:cubicBezTo>
                <a:cubicBezTo>
                  <a:pt x="147066" y="402274"/>
                  <a:pt x="134081" y="400859"/>
                  <a:pt x="121081" y="400766"/>
                </a:cubicBezTo>
                <a:cubicBezTo>
                  <a:pt x="104362" y="400647"/>
                  <a:pt x="87638" y="401607"/>
                  <a:pt x="70912" y="401955"/>
                </a:cubicBezTo>
                <a:cubicBezTo>
                  <a:pt x="49820" y="402394"/>
                  <a:pt x="28725" y="402712"/>
                  <a:pt x="7630" y="402999"/>
                </a:cubicBezTo>
                <a:cubicBezTo>
                  <a:pt x="5684" y="403026"/>
                  <a:pt x="3731" y="402452"/>
                  <a:pt x="710" y="401995"/>
                </a:cubicBezTo>
                <a:cubicBezTo>
                  <a:pt x="219" y="386620"/>
                  <a:pt x="-871" y="371682"/>
                  <a:pt x="1308" y="356708"/>
                </a:cubicBezTo>
                <a:cubicBezTo>
                  <a:pt x="1659" y="354298"/>
                  <a:pt x="2471" y="351920"/>
                  <a:pt x="2554" y="349510"/>
                </a:cubicBezTo>
                <a:cubicBezTo>
                  <a:pt x="3459" y="323419"/>
                  <a:pt x="4345" y="297328"/>
                  <a:pt x="5071" y="271231"/>
                </a:cubicBezTo>
                <a:cubicBezTo>
                  <a:pt x="5979" y="238591"/>
                  <a:pt x="6733" y="205947"/>
                  <a:pt x="7554" y="172079"/>
                </a:cubicBezTo>
                <a:moveTo>
                  <a:pt x="98286" y="163566"/>
                </a:moveTo>
                <a:cubicBezTo>
                  <a:pt x="89288" y="112116"/>
                  <a:pt x="86355" y="60033"/>
                  <a:pt x="83497" y="8289"/>
                </a:cubicBezTo>
                <a:cubicBezTo>
                  <a:pt x="65606" y="5845"/>
                  <a:pt x="24110" y="6470"/>
                  <a:pt x="15161" y="9148"/>
                </a:cubicBezTo>
                <a:cubicBezTo>
                  <a:pt x="15161" y="52045"/>
                  <a:pt x="15527" y="94996"/>
                  <a:pt x="15058" y="137939"/>
                </a:cubicBezTo>
                <a:cubicBezTo>
                  <a:pt x="14587" y="180919"/>
                  <a:pt x="13597" y="223900"/>
                  <a:pt x="12252" y="266862"/>
                </a:cubicBezTo>
                <a:cubicBezTo>
                  <a:pt x="10912" y="309638"/>
                  <a:pt x="8849" y="352391"/>
                  <a:pt x="7068" y="395996"/>
                </a:cubicBezTo>
                <a:cubicBezTo>
                  <a:pt x="62774" y="395996"/>
                  <a:pt x="116821" y="395996"/>
                  <a:pt x="171647" y="395996"/>
                </a:cubicBezTo>
                <a:cubicBezTo>
                  <a:pt x="148550" y="352016"/>
                  <a:pt x="132566" y="306307"/>
                  <a:pt x="119950" y="259496"/>
                </a:cubicBezTo>
                <a:cubicBezTo>
                  <a:pt x="111608" y="228543"/>
                  <a:pt x="105493" y="196989"/>
                  <a:pt x="98286" y="163566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115" name="Free-form: Shape 9114">
            <a:extLst>
              <a:ext uri="{FF2B5EF4-FFF2-40B4-BE49-F238E27FC236}">
                <a16:creationId xmlns:a16="http://schemas.microsoft.com/office/drawing/2014/main" id="{306B937F-1BA4-DCB0-CA94-DDA4FFCF1CCB}"/>
              </a:ext>
            </a:extLst>
          </p:cNvPr>
          <p:cNvSpPr/>
          <p:nvPr/>
        </p:nvSpPr>
        <p:spPr>
          <a:xfrm>
            <a:off x="8455071" y="5224517"/>
            <a:ext cx="209255" cy="52128"/>
          </a:xfrm>
          <a:custGeom>
            <a:avLst/>
            <a:gdLst>
              <a:gd name="csX0" fmla="*/ 297312 w 337008"/>
              <a:gd name="csY0" fmla="*/ 59188 h 76321"/>
              <a:gd name="csX1" fmla="*/ 241991 w 337008"/>
              <a:gd name="csY1" fmla="*/ 66577 h 76321"/>
              <a:gd name="csX2" fmla="*/ 185243 w 337008"/>
              <a:gd name="csY2" fmla="*/ 73717 h 76321"/>
              <a:gd name="csX3" fmla="*/ 182797 w 337008"/>
              <a:gd name="csY3" fmla="*/ 73873 h 76321"/>
              <a:gd name="csX4" fmla="*/ 19866 w 337008"/>
              <a:gd name="csY4" fmla="*/ 76320 h 76321"/>
              <a:gd name="csX5" fmla="*/ 12650 w 337008"/>
              <a:gd name="csY5" fmla="*/ 75242 h 76321"/>
              <a:gd name="csX6" fmla="*/ 19 w 337008"/>
              <a:gd name="csY6" fmla="*/ 59006 h 76321"/>
              <a:gd name="csX7" fmla="*/ 11 w 337008"/>
              <a:gd name="csY7" fmla="*/ 18266 h 76321"/>
              <a:gd name="csX8" fmla="*/ 13547 w 337008"/>
              <a:gd name="csY8" fmla="*/ 17427 h 76321"/>
              <a:gd name="csX9" fmla="*/ 109279 w 337008"/>
              <a:gd name="csY9" fmla="*/ 17200 h 76321"/>
              <a:gd name="csX10" fmla="*/ 173714 w 337008"/>
              <a:gd name="csY10" fmla="*/ 12645 h 76321"/>
              <a:gd name="csX11" fmla="*/ 205309 w 337008"/>
              <a:gd name="csY11" fmla="*/ 10096 h 76321"/>
              <a:gd name="csX12" fmla="*/ 245485 w 337008"/>
              <a:gd name="csY12" fmla="*/ 7449 h 76321"/>
              <a:gd name="csX13" fmla="*/ 288955 w 337008"/>
              <a:gd name="csY13" fmla="*/ 1844 h 76321"/>
              <a:gd name="csX14" fmla="*/ 307132 w 337008"/>
              <a:gd name="csY14" fmla="*/ 164 h 76321"/>
              <a:gd name="csX15" fmla="*/ 324030 w 337008"/>
              <a:gd name="csY15" fmla="*/ 9691 h 76321"/>
              <a:gd name="csX16" fmla="*/ 336033 w 337008"/>
              <a:gd name="csY16" fmla="*/ 39107 h 76321"/>
              <a:gd name="csX17" fmla="*/ 328060 w 337008"/>
              <a:gd name="csY17" fmla="*/ 52413 h 76321"/>
              <a:gd name="csX18" fmla="*/ 297312 w 337008"/>
              <a:gd name="csY18" fmla="*/ 59188 h 76321"/>
              <a:gd name="csX19" fmla="*/ 207688 w 337008"/>
              <a:gd name="csY19" fmla="*/ 64284 h 76321"/>
              <a:gd name="csX20" fmla="*/ 330050 w 337008"/>
              <a:gd name="csY20" fmla="*/ 45606 h 76321"/>
              <a:gd name="csX21" fmla="*/ 317356 w 337008"/>
              <a:gd name="csY21" fmla="*/ 11297 h 76321"/>
              <a:gd name="csX22" fmla="*/ 304170 w 337008"/>
              <a:gd name="csY22" fmla="*/ 5545 h 76321"/>
              <a:gd name="csX23" fmla="*/ 273851 w 337008"/>
              <a:gd name="csY23" fmla="*/ 10014 h 76321"/>
              <a:gd name="csX24" fmla="*/ 163935 w 337008"/>
              <a:gd name="csY24" fmla="*/ 20274 h 76321"/>
              <a:gd name="csX25" fmla="*/ 17973 w 337008"/>
              <a:gd name="csY25" fmla="*/ 22950 h 76321"/>
              <a:gd name="csX26" fmla="*/ 7372 w 337008"/>
              <a:gd name="csY26" fmla="*/ 23601 h 76321"/>
              <a:gd name="csX27" fmla="*/ 7372 w 337008"/>
              <a:gd name="csY27" fmla="*/ 67898 h 76321"/>
              <a:gd name="csX28" fmla="*/ 207688 w 337008"/>
              <a:gd name="csY28" fmla="*/ 64284 h 7632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</a:cxnLst>
            <a:rect l="l" t="t" r="r" b="b"/>
            <a:pathLst>
              <a:path w="337008" h="76321">
                <a:moveTo>
                  <a:pt x="297312" y="59188"/>
                </a:moveTo>
                <a:cubicBezTo>
                  <a:pt x="278167" y="61672"/>
                  <a:pt x="260091" y="64212"/>
                  <a:pt x="241991" y="66577"/>
                </a:cubicBezTo>
                <a:cubicBezTo>
                  <a:pt x="223087" y="69047"/>
                  <a:pt x="204161" y="71350"/>
                  <a:pt x="185243" y="73717"/>
                </a:cubicBezTo>
                <a:cubicBezTo>
                  <a:pt x="184433" y="73818"/>
                  <a:pt x="183613" y="73861"/>
                  <a:pt x="182797" y="73873"/>
                </a:cubicBezTo>
                <a:cubicBezTo>
                  <a:pt x="128487" y="74710"/>
                  <a:pt x="74176" y="75556"/>
                  <a:pt x="19866" y="76320"/>
                </a:cubicBezTo>
                <a:cubicBezTo>
                  <a:pt x="17463" y="76354"/>
                  <a:pt x="15013" y="75797"/>
                  <a:pt x="12650" y="75242"/>
                </a:cubicBezTo>
                <a:cubicBezTo>
                  <a:pt x="80" y="72288"/>
                  <a:pt x="58" y="72258"/>
                  <a:pt x="19" y="59006"/>
                </a:cubicBezTo>
                <a:cubicBezTo>
                  <a:pt x="-19" y="45942"/>
                  <a:pt x="11" y="32877"/>
                  <a:pt x="11" y="18266"/>
                </a:cubicBezTo>
                <a:cubicBezTo>
                  <a:pt x="4987" y="17944"/>
                  <a:pt x="9266" y="17435"/>
                  <a:pt x="13547" y="17427"/>
                </a:cubicBezTo>
                <a:cubicBezTo>
                  <a:pt x="45459" y="17362"/>
                  <a:pt x="77385" y="17975"/>
                  <a:pt x="109279" y="17200"/>
                </a:cubicBezTo>
                <a:cubicBezTo>
                  <a:pt x="130782" y="16677"/>
                  <a:pt x="152239" y="14265"/>
                  <a:pt x="173714" y="12645"/>
                </a:cubicBezTo>
                <a:cubicBezTo>
                  <a:pt x="184250" y="11850"/>
                  <a:pt x="194770" y="10836"/>
                  <a:pt x="205309" y="10096"/>
                </a:cubicBezTo>
                <a:cubicBezTo>
                  <a:pt x="218698" y="9156"/>
                  <a:pt x="232139" y="8783"/>
                  <a:pt x="245485" y="7449"/>
                </a:cubicBezTo>
                <a:cubicBezTo>
                  <a:pt x="260017" y="5997"/>
                  <a:pt x="274456" y="3648"/>
                  <a:pt x="288955" y="1844"/>
                </a:cubicBezTo>
                <a:cubicBezTo>
                  <a:pt x="294991" y="1094"/>
                  <a:pt x="301100" y="930"/>
                  <a:pt x="307132" y="164"/>
                </a:cubicBezTo>
                <a:cubicBezTo>
                  <a:pt x="315239" y="-865"/>
                  <a:pt x="320841" y="3022"/>
                  <a:pt x="324030" y="9691"/>
                </a:cubicBezTo>
                <a:cubicBezTo>
                  <a:pt x="328594" y="19236"/>
                  <a:pt x="332712" y="29070"/>
                  <a:pt x="336033" y="39107"/>
                </a:cubicBezTo>
                <a:cubicBezTo>
                  <a:pt x="338557" y="46735"/>
                  <a:pt x="336278" y="50185"/>
                  <a:pt x="328060" y="52413"/>
                </a:cubicBezTo>
                <a:cubicBezTo>
                  <a:pt x="318273" y="55068"/>
                  <a:pt x="308277" y="56950"/>
                  <a:pt x="297312" y="59188"/>
                </a:cubicBezTo>
                <a:moveTo>
                  <a:pt x="207688" y="64284"/>
                </a:moveTo>
                <a:cubicBezTo>
                  <a:pt x="248681" y="60632"/>
                  <a:pt x="289317" y="54812"/>
                  <a:pt x="330050" y="45606"/>
                </a:cubicBezTo>
                <a:cubicBezTo>
                  <a:pt x="327603" y="32443"/>
                  <a:pt x="323777" y="21532"/>
                  <a:pt x="317356" y="11297"/>
                </a:cubicBezTo>
                <a:cubicBezTo>
                  <a:pt x="313908" y="5803"/>
                  <a:pt x="310145" y="4465"/>
                  <a:pt x="304170" y="5545"/>
                </a:cubicBezTo>
                <a:cubicBezTo>
                  <a:pt x="294121" y="7361"/>
                  <a:pt x="284007" y="9006"/>
                  <a:pt x="273851" y="10014"/>
                </a:cubicBezTo>
                <a:cubicBezTo>
                  <a:pt x="237233" y="13650"/>
                  <a:pt x="200632" y="17661"/>
                  <a:pt x="163935" y="20274"/>
                </a:cubicBezTo>
                <a:cubicBezTo>
                  <a:pt x="115360" y="23734"/>
                  <a:pt x="66701" y="25937"/>
                  <a:pt x="17973" y="22950"/>
                </a:cubicBezTo>
                <a:cubicBezTo>
                  <a:pt x="14492" y="22737"/>
                  <a:pt x="10959" y="23361"/>
                  <a:pt x="7372" y="23601"/>
                </a:cubicBezTo>
                <a:cubicBezTo>
                  <a:pt x="7372" y="38609"/>
                  <a:pt x="7372" y="52361"/>
                  <a:pt x="7372" y="67898"/>
                </a:cubicBezTo>
                <a:cubicBezTo>
                  <a:pt x="74001" y="69806"/>
                  <a:pt x="139746" y="71025"/>
                  <a:pt x="207688" y="64284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116" name="Free-form: Shape 9115">
            <a:extLst>
              <a:ext uri="{FF2B5EF4-FFF2-40B4-BE49-F238E27FC236}">
                <a16:creationId xmlns:a16="http://schemas.microsoft.com/office/drawing/2014/main" id="{6AB29902-FB20-BFF4-A429-3B005C195680}"/>
              </a:ext>
            </a:extLst>
          </p:cNvPr>
          <p:cNvSpPr/>
          <p:nvPr/>
        </p:nvSpPr>
        <p:spPr>
          <a:xfrm>
            <a:off x="8458804" y="5063418"/>
            <a:ext cx="188426" cy="145956"/>
          </a:xfrm>
          <a:custGeom>
            <a:avLst/>
            <a:gdLst>
              <a:gd name="csX0" fmla="*/ 14160 w 303463"/>
              <a:gd name="csY0" fmla="*/ 7889 h 213695"/>
              <a:gd name="csX1" fmla="*/ 195033 w 303463"/>
              <a:gd name="csY1" fmla="*/ 0 h 213695"/>
              <a:gd name="csX2" fmla="*/ 197208 w 303463"/>
              <a:gd name="csY2" fmla="*/ 5635 h 213695"/>
              <a:gd name="csX3" fmla="*/ 227014 w 303463"/>
              <a:gd name="csY3" fmla="*/ 60660 h 213695"/>
              <a:gd name="csX4" fmla="*/ 265823 w 303463"/>
              <a:gd name="csY4" fmla="*/ 98217 h 213695"/>
              <a:gd name="csX5" fmla="*/ 303210 w 303463"/>
              <a:gd name="csY5" fmla="*/ 180358 h 213695"/>
              <a:gd name="csX6" fmla="*/ 303282 w 303463"/>
              <a:gd name="csY6" fmla="*/ 193964 h 213695"/>
              <a:gd name="csX7" fmla="*/ 4971 w 303463"/>
              <a:gd name="csY7" fmla="*/ 213017 h 213695"/>
              <a:gd name="csX8" fmla="*/ 5093 w 303463"/>
              <a:gd name="csY8" fmla="*/ 173484 h 213695"/>
              <a:gd name="csX9" fmla="*/ 4767 w 303463"/>
              <a:gd name="csY9" fmla="*/ 54607 h 213695"/>
              <a:gd name="csX10" fmla="*/ 0 w 303463"/>
              <a:gd name="csY10" fmla="*/ 7887 h 213695"/>
              <a:gd name="csX11" fmla="*/ 14160 w 303463"/>
              <a:gd name="csY11" fmla="*/ 7889 h 21369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303463" h="213695">
                <a:moveTo>
                  <a:pt x="14160" y="7889"/>
                </a:moveTo>
                <a:cubicBezTo>
                  <a:pt x="75371" y="8627"/>
                  <a:pt x="135292" y="5744"/>
                  <a:pt x="195033" y="0"/>
                </a:cubicBezTo>
                <a:cubicBezTo>
                  <a:pt x="196084" y="2662"/>
                  <a:pt x="196986" y="4099"/>
                  <a:pt x="197208" y="5635"/>
                </a:cubicBezTo>
                <a:cubicBezTo>
                  <a:pt x="200391" y="27650"/>
                  <a:pt x="211307" y="45450"/>
                  <a:pt x="227014" y="60660"/>
                </a:cubicBezTo>
                <a:cubicBezTo>
                  <a:pt x="239947" y="73182"/>
                  <a:pt x="253006" y="85577"/>
                  <a:pt x="265823" y="98217"/>
                </a:cubicBezTo>
                <a:cubicBezTo>
                  <a:pt x="288727" y="120806"/>
                  <a:pt x="299071" y="149215"/>
                  <a:pt x="303210" y="180358"/>
                </a:cubicBezTo>
                <a:cubicBezTo>
                  <a:pt x="303735" y="184317"/>
                  <a:pt x="303282" y="188405"/>
                  <a:pt x="303282" y="193964"/>
                </a:cubicBezTo>
                <a:cubicBezTo>
                  <a:pt x="204065" y="208804"/>
                  <a:pt x="105022" y="216044"/>
                  <a:pt x="4971" y="213017"/>
                </a:cubicBezTo>
                <a:cubicBezTo>
                  <a:pt x="4971" y="199268"/>
                  <a:pt x="4314" y="186332"/>
                  <a:pt x="5093" y="173484"/>
                </a:cubicBezTo>
                <a:cubicBezTo>
                  <a:pt x="7497" y="133835"/>
                  <a:pt x="8211" y="94216"/>
                  <a:pt x="4767" y="54607"/>
                </a:cubicBezTo>
                <a:cubicBezTo>
                  <a:pt x="3464" y="39611"/>
                  <a:pt x="1725" y="24653"/>
                  <a:pt x="0" y="7887"/>
                </a:cubicBezTo>
                <a:cubicBezTo>
                  <a:pt x="4390" y="7887"/>
                  <a:pt x="8696" y="7887"/>
                  <a:pt x="14160" y="7889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117" name="Free-form: Shape 9116">
            <a:extLst>
              <a:ext uri="{FF2B5EF4-FFF2-40B4-BE49-F238E27FC236}">
                <a16:creationId xmlns:a16="http://schemas.microsoft.com/office/drawing/2014/main" id="{625420A7-B04B-263A-C316-2C6F0A771468}"/>
              </a:ext>
            </a:extLst>
          </p:cNvPr>
          <p:cNvSpPr/>
          <p:nvPr/>
        </p:nvSpPr>
        <p:spPr>
          <a:xfrm>
            <a:off x="8425042" y="4480685"/>
            <a:ext cx="129814" cy="138929"/>
          </a:xfrm>
          <a:custGeom>
            <a:avLst/>
            <a:gdLst>
              <a:gd name="csX0" fmla="*/ 10475 w 209067"/>
              <a:gd name="csY0" fmla="*/ 41718 h 203406"/>
              <a:gd name="csX1" fmla="*/ 100250 w 209067"/>
              <a:gd name="csY1" fmla="*/ 1265 h 203406"/>
              <a:gd name="csX2" fmla="*/ 206681 w 209067"/>
              <a:gd name="csY2" fmla="*/ 98526 h 203406"/>
              <a:gd name="csX3" fmla="*/ 134647 w 209067"/>
              <a:gd name="csY3" fmla="*/ 202431 h 203406"/>
              <a:gd name="csX4" fmla="*/ 40986 w 209067"/>
              <a:gd name="csY4" fmla="*/ 171438 h 203406"/>
              <a:gd name="csX5" fmla="*/ 143 w 209067"/>
              <a:gd name="csY5" fmla="*/ 85158 h 203406"/>
              <a:gd name="csX6" fmla="*/ 10475 w 209067"/>
              <a:gd name="csY6" fmla="*/ 41718 h 20340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</a:cxnLst>
            <a:rect l="l" t="t" r="r" b="b"/>
            <a:pathLst>
              <a:path w="209067" h="203406">
                <a:moveTo>
                  <a:pt x="10475" y="41718"/>
                </a:moveTo>
                <a:cubicBezTo>
                  <a:pt x="31065" y="6021"/>
                  <a:pt x="63171" y="-3865"/>
                  <a:pt x="100250" y="1265"/>
                </a:cubicBezTo>
                <a:cubicBezTo>
                  <a:pt x="157191" y="9144"/>
                  <a:pt x="196951" y="51394"/>
                  <a:pt x="206681" y="98526"/>
                </a:cubicBezTo>
                <a:cubicBezTo>
                  <a:pt x="219504" y="160635"/>
                  <a:pt x="178523" y="196657"/>
                  <a:pt x="134647" y="202431"/>
                </a:cubicBezTo>
                <a:cubicBezTo>
                  <a:pt x="98365" y="207204"/>
                  <a:pt x="68101" y="194086"/>
                  <a:pt x="40986" y="171438"/>
                </a:cubicBezTo>
                <a:cubicBezTo>
                  <a:pt x="14115" y="148994"/>
                  <a:pt x="2457" y="119007"/>
                  <a:pt x="143" y="85158"/>
                </a:cubicBezTo>
                <a:cubicBezTo>
                  <a:pt x="-869" y="70364"/>
                  <a:pt x="3586" y="56015"/>
                  <a:pt x="10475" y="41718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118" name="Free-form: Shape 9117">
            <a:extLst>
              <a:ext uri="{FF2B5EF4-FFF2-40B4-BE49-F238E27FC236}">
                <a16:creationId xmlns:a16="http://schemas.microsoft.com/office/drawing/2014/main" id="{2B259ED9-D567-55EE-1B74-E4BC32AA90E2}"/>
              </a:ext>
            </a:extLst>
          </p:cNvPr>
          <p:cNvSpPr/>
          <p:nvPr/>
        </p:nvSpPr>
        <p:spPr>
          <a:xfrm>
            <a:off x="8461301" y="4715027"/>
            <a:ext cx="97564" cy="28232"/>
          </a:xfrm>
          <a:custGeom>
            <a:avLst/>
            <a:gdLst>
              <a:gd name="csX0" fmla="*/ 69625 w 157129"/>
              <a:gd name="csY0" fmla="*/ 0 h 41334"/>
              <a:gd name="csX1" fmla="*/ 119596 w 157129"/>
              <a:gd name="csY1" fmla="*/ 1945 h 41334"/>
              <a:gd name="csX2" fmla="*/ 150973 w 157129"/>
              <a:gd name="csY2" fmla="*/ 14889 h 41334"/>
              <a:gd name="csX3" fmla="*/ 151351 w 157129"/>
              <a:gd name="csY3" fmla="*/ 34058 h 41334"/>
              <a:gd name="csX4" fmla="*/ 133492 w 157129"/>
              <a:gd name="csY4" fmla="*/ 40697 h 41334"/>
              <a:gd name="csX5" fmla="*/ 106556 w 157129"/>
              <a:gd name="csY5" fmla="*/ 41092 h 41334"/>
              <a:gd name="csX6" fmla="*/ 13373 w 157129"/>
              <a:gd name="csY6" fmla="*/ 40708 h 41334"/>
              <a:gd name="csX7" fmla="*/ 1312 w 157129"/>
              <a:gd name="csY7" fmla="*/ 40191 h 41334"/>
              <a:gd name="csX8" fmla="*/ 3367 w 157129"/>
              <a:gd name="csY8" fmla="*/ 13162 h 41334"/>
              <a:gd name="csX9" fmla="*/ 20752 w 157129"/>
              <a:gd name="csY9" fmla="*/ 1879 h 41334"/>
              <a:gd name="csX10" fmla="*/ 52625 w 157129"/>
              <a:gd name="csY10" fmla="*/ 1332 h 41334"/>
              <a:gd name="csX11" fmla="*/ 69625 w 157129"/>
              <a:gd name="csY11" fmla="*/ 0 h 4133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157129" h="41334">
                <a:moveTo>
                  <a:pt x="69625" y="0"/>
                </a:moveTo>
                <a:cubicBezTo>
                  <a:pt x="87054" y="491"/>
                  <a:pt x="103407" y="373"/>
                  <a:pt x="119596" y="1945"/>
                </a:cubicBezTo>
                <a:cubicBezTo>
                  <a:pt x="131020" y="3055"/>
                  <a:pt x="141713" y="7767"/>
                  <a:pt x="150973" y="14889"/>
                </a:cubicBezTo>
                <a:cubicBezTo>
                  <a:pt x="158820" y="20925"/>
                  <a:pt x="159403" y="28236"/>
                  <a:pt x="151351" y="34058"/>
                </a:cubicBezTo>
                <a:cubicBezTo>
                  <a:pt x="146355" y="37671"/>
                  <a:pt x="139678" y="39910"/>
                  <a:pt x="133492" y="40697"/>
                </a:cubicBezTo>
                <a:cubicBezTo>
                  <a:pt x="124640" y="41824"/>
                  <a:pt x="115547" y="41120"/>
                  <a:pt x="106556" y="41092"/>
                </a:cubicBezTo>
                <a:cubicBezTo>
                  <a:pt x="75495" y="40996"/>
                  <a:pt x="44434" y="40872"/>
                  <a:pt x="13373" y="40708"/>
                </a:cubicBezTo>
                <a:cubicBezTo>
                  <a:pt x="9391" y="40687"/>
                  <a:pt x="5410" y="40374"/>
                  <a:pt x="1312" y="40191"/>
                </a:cubicBezTo>
                <a:cubicBezTo>
                  <a:pt x="-1416" y="30384"/>
                  <a:pt x="523" y="21512"/>
                  <a:pt x="3367" y="13162"/>
                </a:cubicBezTo>
                <a:cubicBezTo>
                  <a:pt x="5963" y="5538"/>
                  <a:pt x="12701" y="2077"/>
                  <a:pt x="20752" y="1879"/>
                </a:cubicBezTo>
                <a:cubicBezTo>
                  <a:pt x="31375" y="1617"/>
                  <a:pt x="42004" y="1647"/>
                  <a:pt x="52625" y="1332"/>
                </a:cubicBezTo>
                <a:cubicBezTo>
                  <a:pt x="57918" y="1176"/>
                  <a:pt x="63195" y="535"/>
                  <a:pt x="69625" y="0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119" name="Free-form: Shape 9118">
            <a:extLst>
              <a:ext uri="{FF2B5EF4-FFF2-40B4-BE49-F238E27FC236}">
                <a16:creationId xmlns:a16="http://schemas.microsoft.com/office/drawing/2014/main" id="{6FB401F6-4B07-6B07-A51C-0924C7BBF603}"/>
              </a:ext>
            </a:extLst>
          </p:cNvPr>
          <p:cNvSpPr/>
          <p:nvPr/>
        </p:nvSpPr>
        <p:spPr>
          <a:xfrm>
            <a:off x="8457829" y="4771004"/>
            <a:ext cx="102191" cy="265855"/>
          </a:xfrm>
          <a:custGeom>
            <a:avLst/>
            <a:gdLst>
              <a:gd name="csX0" fmla="*/ 91265 w 164579"/>
              <a:gd name="csY0" fmla="*/ 157878 h 389238"/>
              <a:gd name="csX1" fmla="*/ 112882 w 164579"/>
              <a:gd name="csY1" fmla="*/ 252738 h 389238"/>
              <a:gd name="csX2" fmla="*/ 164579 w 164579"/>
              <a:gd name="csY2" fmla="*/ 389238 h 389238"/>
              <a:gd name="csX3" fmla="*/ 0 w 164579"/>
              <a:gd name="csY3" fmla="*/ 389238 h 389238"/>
              <a:gd name="csX4" fmla="*/ 5184 w 164579"/>
              <a:gd name="csY4" fmla="*/ 260105 h 389238"/>
              <a:gd name="csX5" fmla="*/ 7989 w 164579"/>
              <a:gd name="csY5" fmla="*/ 131182 h 389238"/>
              <a:gd name="csX6" fmla="*/ 8093 w 164579"/>
              <a:gd name="csY6" fmla="*/ 2390 h 389238"/>
              <a:gd name="csX7" fmla="*/ 76429 w 164579"/>
              <a:gd name="csY7" fmla="*/ 1531 h 389238"/>
              <a:gd name="csX8" fmla="*/ 91265 w 164579"/>
              <a:gd name="csY8" fmla="*/ 157878 h 38923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</a:cxnLst>
            <a:rect l="l" t="t" r="r" b="b"/>
            <a:pathLst>
              <a:path w="164579" h="389238">
                <a:moveTo>
                  <a:pt x="91265" y="157878"/>
                </a:moveTo>
                <a:cubicBezTo>
                  <a:pt x="98425" y="190232"/>
                  <a:pt x="104539" y="221785"/>
                  <a:pt x="112882" y="252738"/>
                </a:cubicBezTo>
                <a:cubicBezTo>
                  <a:pt x="125498" y="299549"/>
                  <a:pt x="141482" y="345258"/>
                  <a:pt x="164579" y="389238"/>
                </a:cubicBezTo>
                <a:cubicBezTo>
                  <a:pt x="109753" y="389238"/>
                  <a:pt x="55706" y="389238"/>
                  <a:pt x="0" y="389238"/>
                </a:cubicBezTo>
                <a:cubicBezTo>
                  <a:pt x="1781" y="345633"/>
                  <a:pt x="3844" y="302880"/>
                  <a:pt x="5184" y="260105"/>
                </a:cubicBezTo>
                <a:cubicBezTo>
                  <a:pt x="6529" y="217143"/>
                  <a:pt x="7519" y="174162"/>
                  <a:pt x="7989" y="131182"/>
                </a:cubicBezTo>
                <a:cubicBezTo>
                  <a:pt x="8459" y="88239"/>
                  <a:pt x="8093" y="45287"/>
                  <a:pt x="8093" y="2390"/>
                </a:cubicBezTo>
                <a:cubicBezTo>
                  <a:pt x="17041" y="-288"/>
                  <a:pt x="58537" y="-913"/>
                  <a:pt x="76429" y="1531"/>
                </a:cubicBezTo>
                <a:cubicBezTo>
                  <a:pt x="79287" y="53276"/>
                  <a:pt x="82219" y="105359"/>
                  <a:pt x="91265" y="157878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120" name="Free-form: Shape 9119">
            <a:extLst>
              <a:ext uri="{FF2B5EF4-FFF2-40B4-BE49-F238E27FC236}">
                <a16:creationId xmlns:a16="http://schemas.microsoft.com/office/drawing/2014/main" id="{57A19AFC-57AA-8EA5-8098-D2907BE6BCB1}"/>
              </a:ext>
            </a:extLst>
          </p:cNvPr>
          <p:cNvSpPr/>
          <p:nvPr/>
        </p:nvSpPr>
        <p:spPr>
          <a:xfrm>
            <a:off x="8459648" y="5228068"/>
            <a:ext cx="200357" cy="43852"/>
          </a:xfrm>
          <a:custGeom>
            <a:avLst/>
            <a:gdLst>
              <a:gd name="csX0" fmla="*/ 199184 w 322677"/>
              <a:gd name="csY0" fmla="*/ 59136 h 64202"/>
              <a:gd name="csX1" fmla="*/ 0 w 322677"/>
              <a:gd name="csY1" fmla="*/ 62697 h 64202"/>
              <a:gd name="csX2" fmla="*/ 0 w 322677"/>
              <a:gd name="csY2" fmla="*/ 18400 h 64202"/>
              <a:gd name="csX3" fmla="*/ 10601 w 322677"/>
              <a:gd name="csY3" fmla="*/ 17750 h 64202"/>
              <a:gd name="csX4" fmla="*/ 156563 w 322677"/>
              <a:gd name="csY4" fmla="*/ 15074 h 64202"/>
              <a:gd name="csX5" fmla="*/ 266479 w 322677"/>
              <a:gd name="csY5" fmla="*/ 4814 h 64202"/>
              <a:gd name="csX6" fmla="*/ 296798 w 322677"/>
              <a:gd name="csY6" fmla="*/ 344 h 64202"/>
              <a:gd name="csX7" fmla="*/ 309983 w 322677"/>
              <a:gd name="csY7" fmla="*/ 6097 h 64202"/>
              <a:gd name="csX8" fmla="*/ 322678 w 322677"/>
              <a:gd name="csY8" fmla="*/ 40406 h 64202"/>
              <a:gd name="csX9" fmla="*/ 199184 w 322677"/>
              <a:gd name="csY9" fmla="*/ 59136 h 6420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322677" h="64202">
                <a:moveTo>
                  <a:pt x="199184" y="59136"/>
                </a:moveTo>
                <a:cubicBezTo>
                  <a:pt x="132374" y="65824"/>
                  <a:pt x="66629" y="64605"/>
                  <a:pt x="0" y="62697"/>
                </a:cubicBezTo>
                <a:cubicBezTo>
                  <a:pt x="0" y="47160"/>
                  <a:pt x="0" y="33409"/>
                  <a:pt x="0" y="18400"/>
                </a:cubicBezTo>
                <a:cubicBezTo>
                  <a:pt x="3587" y="18160"/>
                  <a:pt x="7120" y="17536"/>
                  <a:pt x="10601" y="17750"/>
                </a:cubicBezTo>
                <a:cubicBezTo>
                  <a:pt x="59329" y="20736"/>
                  <a:pt x="107987" y="18533"/>
                  <a:pt x="156563" y="15074"/>
                </a:cubicBezTo>
                <a:cubicBezTo>
                  <a:pt x="193260" y="12461"/>
                  <a:pt x="229860" y="8449"/>
                  <a:pt x="266479" y="4814"/>
                </a:cubicBezTo>
                <a:cubicBezTo>
                  <a:pt x="276635" y="3806"/>
                  <a:pt x="286748" y="2160"/>
                  <a:pt x="296798" y="344"/>
                </a:cubicBezTo>
                <a:cubicBezTo>
                  <a:pt x="302773" y="-735"/>
                  <a:pt x="306536" y="602"/>
                  <a:pt x="309983" y="6097"/>
                </a:cubicBezTo>
                <a:cubicBezTo>
                  <a:pt x="316405" y="16331"/>
                  <a:pt x="320231" y="27243"/>
                  <a:pt x="322678" y="40406"/>
                </a:cubicBezTo>
                <a:cubicBezTo>
                  <a:pt x="281944" y="49611"/>
                  <a:pt x="241309" y="55431"/>
                  <a:pt x="199184" y="59136"/>
                </a:cubicBezTo>
                <a:close/>
              </a:path>
            </a:pathLst>
          </a:custGeom>
          <a:solidFill>
            <a:schemeClr val="bg1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121" name="Free-form: Shape 9120">
            <a:extLst>
              <a:ext uri="{FF2B5EF4-FFF2-40B4-BE49-F238E27FC236}">
                <a16:creationId xmlns:a16="http://schemas.microsoft.com/office/drawing/2014/main" id="{78429310-07E8-9FB2-7D6D-6834334BCCFF}"/>
              </a:ext>
            </a:extLst>
          </p:cNvPr>
          <p:cNvSpPr/>
          <p:nvPr/>
        </p:nvSpPr>
        <p:spPr>
          <a:xfrm>
            <a:off x="8673736" y="5225719"/>
            <a:ext cx="2645" cy="6187"/>
          </a:xfrm>
          <a:custGeom>
            <a:avLst/>
            <a:gdLst>
              <a:gd name="csX0" fmla="*/ 815 w 2910"/>
              <a:gd name="csY0" fmla="*/ 0 h 6187"/>
              <a:gd name="csX1" fmla="*/ 113 w 2910"/>
              <a:gd name="csY1" fmla="*/ 6187 h 6187"/>
              <a:gd name="csX2" fmla="*/ 815 w 2910"/>
              <a:gd name="csY2" fmla="*/ 0 h 618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2910" h="6187">
                <a:moveTo>
                  <a:pt x="815" y="0"/>
                </a:moveTo>
                <a:cubicBezTo>
                  <a:pt x="4660" y="1891"/>
                  <a:pt x="2480" y="3840"/>
                  <a:pt x="113" y="6187"/>
                </a:cubicBezTo>
                <a:cubicBezTo>
                  <a:pt x="-172" y="4565"/>
                  <a:pt x="89" y="2579"/>
                  <a:pt x="815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122" name="Free-form: Shape 9121">
            <a:extLst>
              <a:ext uri="{FF2B5EF4-FFF2-40B4-BE49-F238E27FC236}">
                <a16:creationId xmlns:a16="http://schemas.microsoft.com/office/drawing/2014/main" id="{4183317F-8745-C500-F895-3257C4C1A184}"/>
              </a:ext>
            </a:extLst>
          </p:cNvPr>
          <p:cNvSpPr/>
          <p:nvPr/>
        </p:nvSpPr>
        <p:spPr>
          <a:xfrm>
            <a:off x="4904111" y="3760908"/>
            <a:ext cx="777434" cy="153278"/>
          </a:xfrm>
          <a:custGeom>
            <a:avLst/>
            <a:gdLst>
              <a:gd name="csX0" fmla="*/ 191041 w 1045419"/>
              <a:gd name="csY0" fmla="*/ 0 h 228601"/>
              <a:gd name="csX1" fmla="*/ 1045419 w 1045419"/>
              <a:gd name="csY1" fmla="*/ 0 h 228601"/>
              <a:gd name="csX2" fmla="*/ 918418 w 1045419"/>
              <a:gd name="csY2" fmla="*/ 228601 h 228601"/>
              <a:gd name="csX3" fmla="*/ 0 w 1045419"/>
              <a:gd name="csY3" fmla="*/ 228601 h 228601"/>
              <a:gd name="csX4" fmla="*/ 191041 w 1045419"/>
              <a:gd name="csY4" fmla="*/ 0 h 22860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045419" h="228601">
                <a:moveTo>
                  <a:pt x="191041" y="0"/>
                </a:moveTo>
                <a:lnTo>
                  <a:pt x="1045419" y="0"/>
                </a:lnTo>
                <a:lnTo>
                  <a:pt x="918418" y="228601"/>
                </a:lnTo>
                <a:lnTo>
                  <a:pt x="0" y="228601"/>
                </a:lnTo>
                <a:lnTo>
                  <a:pt x="191041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123" name="Free-form: Shape 9122">
            <a:extLst>
              <a:ext uri="{FF2B5EF4-FFF2-40B4-BE49-F238E27FC236}">
                <a16:creationId xmlns:a16="http://schemas.microsoft.com/office/drawing/2014/main" id="{D3FA8C47-F486-CE02-36CA-308141F31B27}"/>
              </a:ext>
            </a:extLst>
          </p:cNvPr>
          <p:cNvSpPr/>
          <p:nvPr/>
        </p:nvSpPr>
        <p:spPr>
          <a:xfrm>
            <a:off x="1984375" y="5458262"/>
            <a:ext cx="1646821" cy="454861"/>
          </a:xfrm>
          <a:custGeom>
            <a:avLst/>
            <a:gdLst>
              <a:gd name="csX0" fmla="*/ 626019 w 1992654"/>
              <a:gd name="csY0" fmla="*/ 0 h 550382"/>
              <a:gd name="csX1" fmla="*/ 1992654 w 1992654"/>
              <a:gd name="csY1" fmla="*/ 0 h 550382"/>
              <a:gd name="csX2" fmla="*/ 1532703 w 1992654"/>
              <a:gd name="csY2" fmla="*/ 550382 h 550382"/>
              <a:gd name="csX3" fmla="*/ 0 w 1992654"/>
              <a:gd name="csY3" fmla="*/ 550382 h 550382"/>
              <a:gd name="csX4" fmla="*/ 626019 w 1992654"/>
              <a:gd name="csY4" fmla="*/ 0 h 55038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992654" h="550382">
                <a:moveTo>
                  <a:pt x="626019" y="0"/>
                </a:moveTo>
                <a:lnTo>
                  <a:pt x="1992654" y="0"/>
                </a:lnTo>
                <a:lnTo>
                  <a:pt x="1532703" y="550382"/>
                </a:lnTo>
                <a:lnTo>
                  <a:pt x="0" y="550382"/>
                </a:lnTo>
                <a:lnTo>
                  <a:pt x="626019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124" name="Free-form: Shape 9123">
            <a:extLst>
              <a:ext uri="{FF2B5EF4-FFF2-40B4-BE49-F238E27FC236}">
                <a16:creationId xmlns:a16="http://schemas.microsoft.com/office/drawing/2014/main" id="{19E80D43-AEB3-46CC-C73F-35A06B4C98D8}"/>
              </a:ext>
            </a:extLst>
          </p:cNvPr>
          <p:cNvSpPr/>
          <p:nvPr/>
        </p:nvSpPr>
        <p:spPr>
          <a:xfrm>
            <a:off x="4286828" y="5458262"/>
            <a:ext cx="1568526" cy="454861"/>
          </a:xfrm>
          <a:custGeom>
            <a:avLst/>
            <a:gdLst>
              <a:gd name="csX0" fmla="*/ 527533 w 1897917"/>
              <a:gd name="csY0" fmla="*/ 0 h 550382"/>
              <a:gd name="csX1" fmla="*/ 1897917 w 1897917"/>
              <a:gd name="csY1" fmla="*/ 0 h 550382"/>
              <a:gd name="csX2" fmla="*/ 1747106 w 1897917"/>
              <a:gd name="csY2" fmla="*/ 550382 h 550382"/>
              <a:gd name="csX3" fmla="*/ 0 w 1897917"/>
              <a:gd name="csY3" fmla="*/ 550382 h 550382"/>
              <a:gd name="csX4" fmla="*/ 223004 w 1897917"/>
              <a:gd name="csY4" fmla="*/ 548152 h 550382"/>
              <a:gd name="csX5" fmla="*/ 527533 w 1897917"/>
              <a:gd name="csY5" fmla="*/ 0 h 55038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</a:cxnLst>
            <a:rect l="l" t="t" r="r" b="b"/>
            <a:pathLst>
              <a:path w="1897917" h="550382">
                <a:moveTo>
                  <a:pt x="527533" y="0"/>
                </a:moveTo>
                <a:lnTo>
                  <a:pt x="1897917" y="0"/>
                </a:lnTo>
                <a:lnTo>
                  <a:pt x="1747106" y="550382"/>
                </a:lnTo>
                <a:lnTo>
                  <a:pt x="0" y="550382"/>
                </a:lnTo>
                <a:lnTo>
                  <a:pt x="223004" y="548152"/>
                </a:lnTo>
                <a:lnTo>
                  <a:pt x="527533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125" name="Free-form: Shape 9124">
            <a:extLst>
              <a:ext uri="{FF2B5EF4-FFF2-40B4-BE49-F238E27FC236}">
                <a16:creationId xmlns:a16="http://schemas.microsoft.com/office/drawing/2014/main" id="{78365D0F-A706-815F-01FC-F6C2A27445F0}"/>
              </a:ext>
            </a:extLst>
          </p:cNvPr>
          <p:cNvSpPr/>
          <p:nvPr/>
        </p:nvSpPr>
        <p:spPr>
          <a:xfrm>
            <a:off x="6965560" y="5458262"/>
            <a:ext cx="1247364" cy="444260"/>
          </a:xfrm>
          <a:custGeom>
            <a:avLst/>
            <a:gdLst>
              <a:gd name="csX0" fmla="*/ 3065 w 1509311"/>
              <a:gd name="csY0" fmla="*/ 0 h 537554"/>
              <a:gd name="csX1" fmla="*/ 1356162 w 1509311"/>
              <a:gd name="csY1" fmla="*/ 0 h 537554"/>
              <a:gd name="csX2" fmla="*/ 1509311 w 1509311"/>
              <a:gd name="csY2" fmla="*/ 537554 h 537554"/>
              <a:gd name="csX3" fmla="*/ 0 w 1509311"/>
              <a:gd name="csY3" fmla="*/ 533283 h 537554"/>
              <a:gd name="csX4" fmla="*/ 3065 w 1509311"/>
              <a:gd name="csY4" fmla="*/ 0 h 53755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509311" h="537554">
                <a:moveTo>
                  <a:pt x="3065" y="0"/>
                </a:moveTo>
                <a:lnTo>
                  <a:pt x="1356162" y="0"/>
                </a:lnTo>
                <a:lnTo>
                  <a:pt x="1509311" y="537554"/>
                </a:lnTo>
                <a:lnTo>
                  <a:pt x="0" y="533283"/>
                </a:lnTo>
                <a:cubicBezTo>
                  <a:pt x="1022" y="355522"/>
                  <a:pt x="2043" y="177761"/>
                  <a:pt x="3065" y="0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126" name="Free-form: Shape 9125">
            <a:extLst>
              <a:ext uri="{FF2B5EF4-FFF2-40B4-BE49-F238E27FC236}">
                <a16:creationId xmlns:a16="http://schemas.microsoft.com/office/drawing/2014/main" id="{80FA36F3-5214-F0A8-1101-5814A22025B4}"/>
              </a:ext>
            </a:extLst>
          </p:cNvPr>
          <p:cNvSpPr/>
          <p:nvPr/>
        </p:nvSpPr>
        <p:spPr>
          <a:xfrm>
            <a:off x="9198732" y="5458263"/>
            <a:ext cx="1478271" cy="451232"/>
          </a:xfrm>
          <a:custGeom>
            <a:avLst/>
            <a:gdLst>
              <a:gd name="csX0" fmla="*/ 0 w 1788708"/>
              <a:gd name="csY0" fmla="*/ 0 h 545991"/>
              <a:gd name="csX1" fmla="*/ 1331921 w 1788708"/>
              <a:gd name="csY1" fmla="*/ 0 h 545991"/>
              <a:gd name="csX2" fmla="*/ 1788708 w 1788708"/>
              <a:gd name="csY2" fmla="*/ 545991 h 545991"/>
              <a:gd name="csX3" fmla="*/ 241609 w 1788708"/>
              <a:gd name="csY3" fmla="*/ 541613 h 545991"/>
              <a:gd name="csX4" fmla="*/ 301257 w 1788708"/>
              <a:gd name="csY4" fmla="*/ 540718 h 545991"/>
              <a:gd name="csX5" fmla="*/ 0 w 1788708"/>
              <a:gd name="csY5" fmla="*/ 0 h 54599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</a:cxnLst>
            <a:rect l="l" t="t" r="r" b="b"/>
            <a:pathLst>
              <a:path w="1788708" h="545991">
                <a:moveTo>
                  <a:pt x="0" y="0"/>
                </a:moveTo>
                <a:lnTo>
                  <a:pt x="1331921" y="0"/>
                </a:lnTo>
                <a:lnTo>
                  <a:pt x="1788708" y="545991"/>
                </a:lnTo>
                <a:lnTo>
                  <a:pt x="241609" y="541613"/>
                </a:lnTo>
                <a:lnTo>
                  <a:pt x="301257" y="540718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127" name="Free-form: Shape 9126">
            <a:extLst>
              <a:ext uri="{FF2B5EF4-FFF2-40B4-BE49-F238E27FC236}">
                <a16:creationId xmlns:a16="http://schemas.microsoft.com/office/drawing/2014/main" id="{8A2DE44F-DA12-43AA-D777-440F2DCBFD3B}"/>
              </a:ext>
            </a:extLst>
          </p:cNvPr>
          <p:cNvSpPr/>
          <p:nvPr/>
        </p:nvSpPr>
        <p:spPr>
          <a:xfrm>
            <a:off x="3631196" y="5062916"/>
            <a:ext cx="1311245" cy="395346"/>
          </a:xfrm>
          <a:custGeom>
            <a:avLst/>
            <a:gdLst>
              <a:gd name="csX0" fmla="*/ 399769 w 1586606"/>
              <a:gd name="csY0" fmla="*/ 0 h 478368"/>
              <a:gd name="csX1" fmla="*/ 1586606 w 1586606"/>
              <a:gd name="csY1" fmla="*/ 0 h 478368"/>
              <a:gd name="csX2" fmla="*/ 1320846 w 1586606"/>
              <a:gd name="csY2" fmla="*/ 478368 h 478368"/>
              <a:gd name="csX3" fmla="*/ 0 w 1586606"/>
              <a:gd name="csY3" fmla="*/ 478368 h 478368"/>
              <a:gd name="csX4" fmla="*/ 399769 w 1586606"/>
              <a:gd name="csY4" fmla="*/ 0 h 47836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586606" h="478368">
                <a:moveTo>
                  <a:pt x="399769" y="0"/>
                </a:moveTo>
                <a:lnTo>
                  <a:pt x="1586606" y="0"/>
                </a:lnTo>
                <a:lnTo>
                  <a:pt x="1320846" y="478368"/>
                </a:lnTo>
                <a:lnTo>
                  <a:pt x="0" y="478368"/>
                </a:lnTo>
                <a:lnTo>
                  <a:pt x="399769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128" name="Free-form: Shape 9127">
            <a:extLst>
              <a:ext uri="{FF2B5EF4-FFF2-40B4-BE49-F238E27FC236}">
                <a16:creationId xmlns:a16="http://schemas.microsoft.com/office/drawing/2014/main" id="{6E6C160C-DF0B-0340-27FD-B70629FA2D90}"/>
              </a:ext>
            </a:extLst>
          </p:cNvPr>
          <p:cNvSpPr/>
          <p:nvPr/>
        </p:nvSpPr>
        <p:spPr>
          <a:xfrm>
            <a:off x="5855354" y="5062916"/>
            <a:ext cx="1115011" cy="395346"/>
          </a:xfrm>
          <a:custGeom>
            <a:avLst/>
            <a:gdLst>
              <a:gd name="csX0" fmla="*/ 131078 w 1349163"/>
              <a:gd name="csY0" fmla="*/ 0 h 478368"/>
              <a:gd name="csX1" fmla="*/ 1349163 w 1349163"/>
              <a:gd name="csY1" fmla="*/ 0 h 478368"/>
              <a:gd name="csX2" fmla="*/ 1346414 w 1349163"/>
              <a:gd name="csY2" fmla="*/ 478368 h 478368"/>
              <a:gd name="csX3" fmla="*/ 0 w 1349163"/>
              <a:gd name="csY3" fmla="*/ 478368 h 478368"/>
              <a:gd name="csX4" fmla="*/ 131078 w 1349163"/>
              <a:gd name="csY4" fmla="*/ 0 h 47836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349163" h="478368">
                <a:moveTo>
                  <a:pt x="131078" y="0"/>
                </a:moveTo>
                <a:lnTo>
                  <a:pt x="1349163" y="0"/>
                </a:lnTo>
                <a:lnTo>
                  <a:pt x="1346414" y="478368"/>
                </a:lnTo>
                <a:lnTo>
                  <a:pt x="0" y="478368"/>
                </a:lnTo>
                <a:lnTo>
                  <a:pt x="131078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129" name="Free-form: Shape 9128">
            <a:extLst>
              <a:ext uri="{FF2B5EF4-FFF2-40B4-BE49-F238E27FC236}">
                <a16:creationId xmlns:a16="http://schemas.microsoft.com/office/drawing/2014/main" id="{E0F0E24E-1168-BAA8-E00D-E73FB4D58C4D}"/>
              </a:ext>
            </a:extLst>
          </p:cNvPr>
          <p:cNvSpPr/>
          <p:nvPr/>
        </p:nvSpPr>
        <p:spPr>
          <a:xfrm>
            <a:off x="9968740" y="5062916"/>
            <a:ext cx="1462821" cy="395346"/>
          </a:xfrm>
          <a:custGeom>
            <a:avLst/>
            <a:gdLst>
              <a:gd name="csX0" fmla="*/ 0 w 1770014"/>
              <a:gd name="csY0" fmla="*/ 0 h 478368"/>
              <a:gd name="csX1" fmla="*/ 1231679 w 1770014"/>
              <a:gd name="csY1" fmla="*/ 0 h 478368"/>
              <a:gd name="csX2" fmla="*/ 1770014 w 1770014"/>
              <a:gd name="csY2" fmla="*/ 478368 h 478368"/>
              <a:gd name="csX3" fmla="*/ 400212 w 1770014"/>
              <a:gd name="csY3" fmla="*/ 478368 h 478368"/>
              <a:gd name="csX4" fmla="*/ 0 w 1770014"/>
              <a:gd name="csY4" fmla="*/ 0 h 47836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770014" h="478368">
                <a:moveTo>
                  <a:pt x="0" y="0"/>
                </a:moveTo>
                <a:lnTo>
                  <a:pt x="1231679" y="0"/>
                </a:lnTo>
                <a:lnTo>
                  <a:pt x="1770014" y="478368"/>
                </a:lnTo>
                <a:lnTo>
                  <a:pt x="400212" y="478368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130" name="Free-form: Shape 9129">
            <a:extLst>
              <a:ext uri="{FF2B5EF4-FFF2-40B4-BE49-F238E27FC236}">
                <a16:creationId xmlns:a16="http://schemas.microsoft.com/office/drawing/2014/main" id="{BC72855E-96FF-7941-4535-8C23257E3C3A}"/>
              </a:ext>
            </a:extLst>
          </p:cNvPr>
          <p:cNvSpPr/>
          <p:nvPr/>
        </p:nvSpPr>
        <p:spPr>
          <a:xfrm>
            <a:off x="8913616" y="3760909"/>
            <a:ext cx="1718658" cy="987102"/>
          </a:xfrm>
          <a:custGeom>
            <a:avLst/>
            <a:gdLst>
              <a:gd name="csX0" fmla="*/ 1734208 w 2079576"/>
              <a:gd name="csY0" fmla="*/ 893490 h 1194393"/>
              <a:gd name="csX1" fmla="*/ 1740954 w 2079576"/>
              <a:gd name="csY1" fmla="*/ 893490 h 1194393"/>
              <a:gd name="csX2" fmla="*/ 2079576 w 2079576"/>
              <a:gd name="csY2" fmla="*/ 1194392 h 1194393"/>
              <a:gd name="csX3" fmla="*/ 1492572 w 2079576"/>
              <a:gd name="csY3" fmla="*/ 1194392 h 1194393"/>
              <a:gd name="csX4" fmla="*/ 1492573 w 2079576"/>
              <a:gd name="csY4" fmla="*/ 1194393 h 1194393"/>
              <a:gd name="csX5" fmla="*/ 957918 w 2079576"/>
              <a:gd name="csY5" fmla="*/ 1194393 h 1194393"/>
              <a:gd name="csX6" fmla="*/ 706177 w 2079576"/>
              <a:gd name="csY6" fmla="*/ 893491 h 1194393"/>
              <a:gd name="csX7" fmla="*/ 1734209 w 2079576"/>
              <a:gd name="csY7" fmla="*/ 893491 h 1194393"/>
              <a:gd name="csX8" fmla="*/ 1428628 w 2079576"/>
              <a:gd name="csY8" fmla="*/ 612504 h 1194393"/>
              <a:gd name="csX9" fmla="*/ 1433390 w 2079576"/>
              <a:gd name="csY9" fmla="*/ 617266 h 1194393"/>
              <a:gd name="csX10" fmla="*/ 1430104 w 2079576"/>
              <a:gd name="csY10" fmla="*/ 617266 h 1194393"/>
              <a:gd name="csX11" fmla="*/ 1424767 w 2079576"/>
              <a:gd name="csY11" fmla="*/ 612523 h 1194393"/>
              <a:gd name="csX12" fmla="*/ 283831 w 2079576"/>
              <a:gd name="csY12" fmla="*/ 388666 h 1194393"/>
              <a:gd name="csX13" fmla="*/ 631714 w 2079576"/>
              <a:gd name="csY13" fmla="*/ 388666 h 1194393"/>
              <a:gd name="csX14" fmla="*/ 1158324 w 2079576"/>
              <a:gd name="csY14" fmla="*/ 388666 h 1194393"/>
              <a:gd name="csX15" fmla="*/ 1172848 w 2079576"/>
              <a:gd name="csY15" fmla="*/ 388666 h 1194393"/>
              <a:gd name="csX16" fmla="*/ 1424767 w 2079576"/>
              <a:gd name="csY16" fmla="*/ 612523 h 1194393"/>
              <a:gd name="csX17" fmla="*/ 475083 w 2079576"/>
              <a:gd name="csY17" fmla="*/ 617267 h 1194393"/>
              <a:gd name="csX18" fmla="*/ 735460 w 2079576"/>
              <a:gd name="csY18" fmla="*/ 0 h 1194393"/>
              <a:gd name="csX19" fmla="*/ 936218 w 2079576"/>
              <a:gd name="csY19" fmla="*/ 178395 h 1194393"/>
              <a:gd name="csX20" fmla="*/ 918454 w 2079576"/>
              <a:gd name="csY20" fmla="*/ 178395 h 1194393"/>
              <a:gd name="csX21" fmla="*/ 918453 w 2079576"/>
              <a:gd name="csY21" fmla="*/ 178394 h 1194393"/>
              <a:gd name="csX22" fmla="*/ 918452 w 2079576"/>
              <a:gd name="csY22" fmla="*/ 178394 h 1194393"/>
              <a:gd name="csX23" fmla="*/ 105862 w 2079576"/>
              <a:gd name="csY23" fmla="*/ 175942 h 1194393"/>
              <a:gd name="csX24" fmla="*/ 0 w 2079576"/>
              <a:gd name="csY24" fmla="*/ 7665 h 119439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</a:cxnLst>
            <a:rect l="l" t="t" r="r" b="b"/>
            <a:pathLst>
              <a:path w="2079576" h="1194393">
                <a:moveTo>
                  <a:pt x="1734208" y="893490"/>
                </a:moveTo>
                <a:lnTo>
                  <a:pt x="1740954" y="893490"/>
                </a:lnTo>
                <a:lnTo>
                  <a:pt x="2079576" y="1194392"/>
                </a:lnTo>
                <a:lnTo>
                  <a:pt x="1492572" y="1194392"/>
                </a:lnTo>
                <a:lnTo>
                  <a:pt x="1492573" y="1194393"/>
                </a:lnTo>
                <a:lnTo>
                  <a:pt x="957918" y="1194393"/>
                </a:lnTo>
                <a:lnTo>
                  <a:pt x="706177" y="893491"/>
                </a:lnTo>
                <a:lnTo>
                  <a:pt x="1734209" y="893491"/>
                </a:lnTo>
                <a:close/>
                <a:moveTo>
                  <a:pt x="1428628" y="612504"/>
                </a:moveTo>
                <a:lnTo>
                  <a:pt x="1433390" y="617266"/>
                </a:lnTo>
                <a:lnTo>
                  <a:pt x="1430104" y="617266"/>
                </a:lnTo>
                <a:lnTo>
                  <a:pt x="1424767" y="612523"/>
                </a:lnTo>
                <a:close/>
                <a:moveTo>
                  <a:pt x="283831" y="388666"/>
                </a:moveTo>
                <a:lnTo>
                  <a:pt x="631714" y="388666"/>
                </a:lnTo>
                <a:lnTo>
                  <a:pt x="1158324" y="388666"/>
                </a:lnTo>
                <a:lnTo>
                  <a:pt x="1172848" y="388666"/>
                </a:lnTo>
                <a:lnTo>
                  <a:pt x="1424767" y="612523"/>
                </a:lnTo>
                <a:lnTo>
                  <a:pt x="475083" y="617267"/>
                </a:lnTo>
                <a:close/>
                <a:moveTo>
                  <a:pt x="735460" y="0"/>
                </a:moveTo>
                <a:lnTo>
                  <a:pt x="936218" y="178395"/>
                </a:lnTo>
                <a:lnTo>
                  <a:pt x="918454" y="178395"/>
                </a:lnTo>
                <a:lnTo>
                  <a:pt x="918453" y="178394"/>
                </a:lnTo>
                <a:lnTo>
                  <a:pt x="918452" y="178394"/>
                </a:lnTo>
                <a:lnTo>
                  <a:pt x="105862" y="175942"/>
                </a:lnTo>
                <a:lnTo>
                  <a:pt x="0" y="7665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131" name="Free-form: Shape 9130">
            <a:extLst>
              <a:ext uri="{FF2B5EF4-FFF2-40B4-BE49-F238E27FC236}">
                <a16:creationId xmlns:a16="http://schemas.microsoft.com/office/drawing/2014/main" id="{4B230ACB-6E33-3011-908D-5FC63B31C959}"/>
              </a:ext>
            </a:extLst>
          </p:cNvPr>
          <p:cNvSpPr/>
          <p:nvPr/>
        </p:nvSpPr>
        <p:spPr>
          <a:xfrm>
            <a:off x="8335207" y="3908342"/>
            <a:ext cx="812979" cy="173778"/>
          </a:xfrm>
          <a:custGeom>
            <a:avLst/>
            <a:gdLst>
              <a:gd name="csX0" fmla="*/ 0 w 983705"/>
              <a:gd name="csY0" fmla="*/ 0 h 210271"/>
              <a:gd name="csX1" fmla="*/ 807788 w 983705"/>
              <a:gd name="csY1" fmla="*/ 0 h 210271"/>
              <a:gd name="csX2" fmla="*/ 983705 w 983705"/>
              <a:gd name="csY2" fmla="*/ 210271 h 210271"/>
              <a:gd name="csX3" fmla="*/ 117151 w 983705"/>
              <a:gd name="csY3" fmla="*/ 210271 h 210271"/>
              <a:gd name="csX4" fmla="*/ 0 w 983705"/>
              <a:gd name="csY4" fmla="*/ 0 h 21027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983705" h="210271">
                <a:moveTo>
                  <a:pt x="0" y="0"/>
                </a:moveTo>
                <a:lnTo>
                  <a:pt x="807788" y="0"/>
                </a:lnTo>
                <a:lnTo>
                  <a:pt x="983705" y="210271"/>
                </a:lnTo>
                <a:lnTo>
                  <a:pt x="117151" y="21027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132" name="Free-form: Shape 9131">
            <a:extLst>
              <a:ext uri="{FF2B5EF4-FFF2-40B4-BE49-F238E27FC236}">
                <a16:creationId xmlns:a16="http://schemas.microsoft.com/office/drawing/2014/main" id="{2117CA81-18F5-A3EC-A403-346DEAF6F740}"/>
              </a:ext>
            </a:extLst>
          </p:cNvPr>
          <p:cNvSpPr/>
          <p:nvPr/>
        </p:nvSpPr>
        <p:spPr>
          <a:xfrm>
            <a:off x="4623346" y="4082119"/>
            <a:ext cx="863983" cy="188926"/>
          </a:xfrm>
          <a:custGeom>
            <a:avLst/>
            <a:gdLst>
              <a:gd name="csX0" fmla="*/ 191041 w 1045419"/>
              <a:gd name="csY0" fmla="*/ 0 h 228601"/>
              <a:gd name="csX1" fmla="*/ 1045419 w 1045419"/>
              <a:gd name="csY1" fmla="*/ 0 h 228601"/>
              <a:gd name="csX2" fmla="*/ 918418 w 1045419"/>
              <a:gd name="csY2" fmla="*/ 228601 h 228601"/>
              <a:gd name="csX3" fmla="*/ 0 w 1045419"/>
              <a:gd name="csY3" fmla="*/ 228601 h 228601"/>
              <a:gd name="csX4" fmla="*/ 191041 w 1045419"/>
              <a:gd name="csY4" fmla="*/ 0 h 22860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045419" h="228601">
                <a:moveTo>
                  <a:pt x="191041" y="0"/>
                </a:moveTo>
                <a:lnTo>
                  <a:pt x="1045419" y="0"/>
                </a:lnTo>
                <a:lnTo>
                  <a:pt x="918418" y="228601"/>
                </a:lnTo>
                <a:lnTo>
                  <a:pt x="0" y="228601"/>
                </a:lnTo>
                <a:lnTo>
                  <a:pt x="191041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133" name="Free-form: Shape 9132">
            <a:extLst>
              <a:ext uri="{FF2B5EF4-FFF2-40B4-BE49-F238E27FC236}">
                <a16:creationId xmlns:a16="http://schemas.microsoft.com/office/drawing/2014/main" id="{12A20717-FB39-F498-4023-F0D212CB7EC7}"/>
              </a:ext>
            </a:extLst>
          </p:cNvPr>
          <p:cNvSpPr/>
          <p:nvPr/>
        </p:nvSpPr>
        <p:spPr>
          <a:xfrm>
            <a:off x="5255544" y="4271045"/>
            <a:ext cx="925121" cy="228284"/>
          </a:xfrm>
          <a:custGeom>
            <a:avLst/>
            <a:gdLst>
              <a:gd name="csX0" fmla="*/ 153458 w 1119397"/>
              <a:gd name="csY0" fmla="*/ 0 h 276224"/>
              <a:gd name="csX1" fmla="*/ 1119397 w 1119397"/>
              <a:gd name="csY1" fmla="*/ 0 h 276224"/>
              <a:gd name="csX2" fmla="*/ 1043709 w 1119397"/>
              <a:gd name="csY2" fmla="*/ 276224 h 276224"/>
              <a:gd name="csX3" fmla="*/ 0 w 1119397"/>
              <a:gd name="csY3" fmla="*/ 276224 h 276224"/>
              <a:gd name="csX4" fmla="*/ 153458 w 1119397"/>
              <a:gd name="csY4" fmla="*/ 0 h 27622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119397" h="276224">
                <a:moveTo>
                  <a:pt x="153458" y="0"/>
                </a:moveTo>
                <a:lnTo>
                  <a:pt x="1119397" y="0"/>
                </a:lnTo>
                <a:lnTo>
                  <a:pt x="1043709" y="276224"/>
                </a:lnTo>
                <a:lnTo>
                  <a:pt x="0" y="276224"/>
                </a:lnTo>
                <a:lnTo>
                  <a:pt x="153458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134" name="Free-form: Shape 9133">
            <a:extLst>
              <a:ext uri="{FF2B5EF4-FFF2-40B4-BE49-F238E27FC236}">
                <a16:creationId xmlns:a16="http://schemas.microsoft.com/office/drawing/2014/main" id="{F10DC6BC-3484-5942-E5DA-0F80FE64110E}"/>
              </a:ext>
            </a:extLst>
          </p:cNvPr>
          <p:cNvSpPr/>
          <p:nvPr/>
        </p:nvSpPr>
        <p:spPr>
          <a:xfrm>
            <a:off x="6973604" y="4271045"/>
            <a:ext cx="839552" cy="228284"/>
          </a:xfrm>
          <a:custGeom>
            <a:avLst/>
            <a:gdLst>
              <a:gd name="csX0" fmla="*/ 1588 w 1015858"/>
              <a:gd name="csY0" fmla="*/ 0 h 276224"/>
              <a:gd name="csX1" fmla="*/ 937162 w 1015858"/>
              <a:gd name="csY1" fmla="*/ 0 h 276224"/>
              <a:gd name="csX2" fmla="*/ 1015858 w 1015858"/>
              <a:gd name="csY2" fmla="*/ 276224 h 276224"/>
              <a:gd name="csX3" fmla="*/ 0 w 1015858"/>
              <a:gd name="csY3" fmla="*/ 276224 h 276224"/>
              <a:gd name="csX4" fmla="*/ 1588 w 1015858"/>
              <a:gd name="csY4" fmla="*/ 0 h 27622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015858" h="276224">
                <a:moveTo>
                  <a:pt x="1588" y="0"/>
                </a:moveTo>
                <a:lnTo>
                  <a:pt x="937162" y="0"/>
                </a:lnTo>
                <a:lnTo>
                  <a:pt x="1015858" y="276224"/>
                </a:lnTo>
                <a:lnTo>
                  <a:pt x="0" y="276224"/>
                </a:lnTo>
                <a:lnTo>
                  <a:pt x="1588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135" name="Free-form: Shape 9134">
            <a:extLst>
              <a:ext uri="{FF2B5EF4-FFF2-40B4-BE49-F238E27FC236}">
                <a16:creationId xmlns:a16="http://schemas.microsoft.com/office/drawing/2014/main" id="{23CEC858-96AB-CC24-79C0-8F2F4DE7B143}"/>
              </a:ext>
            </a:extLst>
          </p:cNvPr>
          <p:cNvSpPr/>
          <p:nvPr/>
        </p:nvSpPr>
        <p:spPr>
          <a:xfrm>
            <a:off x="8537283" y="4271045"/>
            <a:ext cx="959949" cy="228284"/>
          </a:xfrm>
          <a:custGeom>
            <a:avLst/>
            <a:gdLst>
              <a:gd name="csX0" fmla="*/ 0 w 1161538"/>
              <a:gd name="csY0" fmla="*/ 0 h 276224"/>
              <a:gd name="csX1" fmla="*/ 930444 w 1161538"/>
              <a:gd name="csY1" fmla="*/ 0 h 276224"/>
              <a:gd name="csX2" fmla="*/ 1161538 w 1161538"/>
              <a:gd name="csY2" fmla="*/ 276224 h 276224"/>
              <a:gd name="csX3" fmla="*/ 153896 w 1161538"/>
              <a:gd name="csY3" fmla="*/ 276224 h 276224"/>
              <a:gd name="csX4" fmla="*/ 0 w 1161538"/>
              <a:gd name="csY4" fmla="*/ 0 h 27622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161538" h="276224">
                <a:moveTo>
                  <a:pt x="0" y="0"/>
                </a:moveTo>
                <a:lnTo>
                  <a:pt x="930444" y="0"/>
                </a:lnTo>
                <a:lnTo>
                  <a:pt x="1161538" y="276224"/>
                </a:lnTo>
                <a:lnTo>
                  <a:pt x="153896" y="276224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136" name="Free-form: Shape 9135">
            <a:extLst>
              <a:ext uri="{FF2B5EF4-FFF2-40B4-BE49-F238E27FC236}">
                <a16:creationId xmlns:a16="http://schemas.microsoft.com/office/drawing/2014/main" id="{ACCE62A4-6694-A569-6478-0634CC973F0B}"/>
              </a:ext>
            </a:extLst>
          </p:cNvPr>
          <p:cNvSpPr/>
          <p:nvPr/>
        </p:nvSpPr>
        <p:spPr>
          <a:xfrm>
            <a:off x="4942440" y="4748009"/>
            <a:ext cx="1107531" cy="314908"/>
          </a:xfrm>
          <a:custGeom>
            <a:avLst/>
            <a:gdLst>
              <a:gd name="csX0" fmla="*/ 211688 w 1340113"/>
              <a:gd name="csY0" fmla="*/ 0 h 381039"/>
              <a:gd name="csX1" fmla="*/ 1340113 w 1340113"/>
              <a:gd name="csY1" fmla="*/ 0 h 381039"/>
              <a:gd name="csX2" fmla="*/ 1235704 w 1340113"/>
              <a:gd name="csY2" fmla="*/ 381039 h 381039"/>
              <a:gd name="csX3" fmla="*/ 0 w 1340113"/>
              <a:gd name="csY3" fmla="*/ 381039 h 381039"/>
              <a:gd name="csX4" fmla="*/ 211688 w 1340113"/>
              <a:gd name="csY4" fmla="*/ 0 h 38103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340113" h="381039">
                <a:moveTo>
                  <a:pt x="211688" y="0"/>
                </a:moveTo>
                <a:lnTo>
                  <a:pt x="1340113" y="0"/>
                </a:lnTo>
                <a:lnTo>
                  <a:pt x="1235704" y="381039"/>
                </a:lnTo>
                <a:lnTo>
                  <a:pt x="0" y="381039"/>
                </a:lnTo>
                <a:lnTo>
                  <a:pt x="211688" y="0"/>
                </a:lnTo>
                <a:close/>
              </a:path>
            </a:pathLst>
          </a:custGeom>
          <a:solidFill>
            <a:srgbClr val="DDE5E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137" name="Free-form: Shape 9136">
            <a:extLst>
              <a:ext uri="{FF2B5EF4-FFF2-40B4-BE49-F238E27FC236}">
                <a16:creationId xmlns:a16="http://schemas.microsoft.com/office/drawing/2014/main" id="{28F7AD7E-A4F3-AD0E-7DD2-3B2B38ABF8AD}"/>
              </a:ext>
            </a:extLst>
          </p:cNvPr>
          <p:cNvSpPr/>
          <p:nvPr/>
        </p:nvSpPr>
        <p:spPr>
          <a:xfrm>
            <a:off x="6970366" y="4748009"/>
            <a:ext cx="1003356" cy="314908"/>
          </a:xfrm>
          <a:custGeom>
            <a:avLst/>
            <a:gdLst>
              <a:gd name="csX0" fmla="*/ 2190 w 1214061"/>
              <a:gd name="csY0" fmla="*/ 0 h 381039"/>
              <a:gd name="csX1" fmla="*/ 1105503 w 1214061"/>
              <a:gd name="csY1" fmla="*/ 0 h 381039"/>
              <a:gd name="csX2" fmla="*/ 1214061 w 1214061"/>
              <a:gd name="csY2" fmla="*/ 381039 h 381039"/>
              <a:gd name="csX3" fmla="*/ 0 w 1214061"/>
              <a:gd name="csY3" fmla="*/ 381039 h 381039"/>
              <a:gd name="csX4" fmla="*/ 2190 w 1214061"/>
              <a:gd name="csY4" fmla="*/ 0 h 38103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214061" h="381039">
                <a:moveTo>
                  <a:pt x="2190" y="0"/>
                </a:moveTo>
                <a:lnTo>
                  <a:pt x="1105503" y="0"/>
                </a:lnTo>
                <a:lnTo>
                  <a:pt x="1214061" y="381039"/>
                </a:lnTo>
                <a:lnTo>
                  <a:pt x="0" y="381039"/>
                </a:lnTo>
                <a:lnTo>
                  <a:pt x="2190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138" name="Free-form: Shape 9137">
            <a:extLst>
              <a:ext uri="{FF2B5EF4-FFF2-40B4-BE49-F238E27FC236}">
                <a16:creationId xmlns:a16="http://schemas.microsoft.com/office/drawing/2014/main" id="{9D2A1015-9A8D-8257-5764-457B54AB51BA}"/>
              </a:ext>
            </a:extLst>
          </p:cNvPr>
          <p:cNvSpPr/>
          <p:nvPr/>
        </p:nvSpPr>
        <p:spPr>
          <a:xfrm>
            <a:off x="8803020" y="4748009"/>
            <a:ext cx="1165721" cy="314908"/>
          </a:xfrm>
          <a:custGeom>
            <a:avLst/>
            <a:gdLst>
              <a:gd name="csX0" fmla="*/ 0 w 1410522"/>
              <a:gd name="csY0" fmla="*/ 0 h 381039"/>
              <a:gd name="csX1" fmla="*/ 1091737 w 1410522"/>
              <a:gd name="csY1" fmla="*/ 0 h 381039"/>
              <a:gd name="csX2" fmla="*/ 1410522 w 1410522"/>
              <a:gd name="csY2" fmla="*/ 381039 h 381039"/>
              <a:gd name="csX3" fmla="*/ 212293 w 1410522"/>
              <a:gd name="csY3" fmla="*/ 381039 h 381039"/>
              <a:gd name="csX4" fmla="*/ 0 w 1410522"/>
              <a:gd name="csY4" fmla="*/ 0 h 38103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410522" h="381039">
                <a:moveTo>
                  <a:pt x="0" y="0"/>
                </a:moveTo>
                <a:lnTo>
                  <a:pt x="1091737" y="0"/>
                </a:lnTo>
                <a:lnTo>
                  <a:pt x="1410522" y="381039"/>
                </a:lnTo>
                <a:lnTo>
                  <a:pt x="212293" y="381039"/>
                </a:lnTo>
                <a:lnTo>
                  <a:pt x="0" y="0"/>
                </a:lnTo>
                <a:close/>
              </a:path>
            </a:pathLst>
          </a:custGeom>
          <a:solidFill>
            <a:srgbClr val="DDE5E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139" name="Oval 9138">
            <a:extLst>
              <a:ext uri="{FF2B5EF4-FFF2-40B4-BE49-F238E27FC236}">
                <a16:creationId xmlns:a16="http://schemas.microsoft.com/office/drawing/2014/main" id="{31FCF386-FEE9-2995-7DE7-938BF0598C4A}"/>
              </a:ext>
            </a:extLst>
          </p:cNvPr>
          <p:cNvSpPr/>
          <p:nvPr/>
        </p:nvSpPr>
        <p:spPr>
          <a:xfrm>
            <a:off x="4317914" y="3740938"/>
            <a:ext cx="656485" cy="147620"/>
          </a:xfrm>
          <a:prstGeom prst="ellipse">
            <a:avLst/>
          </a:prstGeom>
          <a:solidFill>
            <a:schemeClr val="tx1">
              <a:alpha val="5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140" name="Free-form: Shape 9139">
            <a:extLst>
              <a:ext uri="{FF2B5EF4-FFF2-40B4-BE49-F238E27FC236}">
                <a16:creationId xmlns:a16="http://schemas.microsoft.com/office/drawing/2014/main" id="{D2ED6C26-B8B6-E942-B3E1-FC1346084761}"/>
              </a:ext>
            </a:extLst>
          </p:cNvPr>
          <p:cNvSpPr/>
          <p:nvPr/>
        </p:nvSpPr>
        <p:spPr>
          <a:xfrm>
            <a:off x="4231935" y="2993658"/>
            <a:ext cx="880396" cy="841622"/>
          </a:xfrm>
          <a:custGeom>
            <a:avLst/>
            <a:gdLst>
              <a:gd name="csX0" fmla="*/ 401579 w 1609516"/>
              <a:gd name="csY0" fmla="*/ 1495809 h 1538630"/>
              <a:gd name="csX1" fmla="*/ 400190 w 1609516"/>
              <a:gd name="csY1" fmla="*/ 1496004 h 1538630"/>
              <a:gd name="csX2" fmla="*/ 401224 w 1609516"/>
              <a:gd name="csY2" fmla="*/ 1496470 h 1538630"/>
              <a:gd name="csX3" fmla="*/ 401224 w 1609516"/>
              <a:gd name="csY3" fmla="*/ 1498590 h 1538630"/>
              <a:gd name="csX4" fmla="*/ 401579 w 1609516"/>
              <a:gd name="csY4" fmla="*/ 1498628 h 1538630"/>
              <a:gd name="csX5" fmla="*/ 401579 w 1609516"/>
              <a:gd name="csY5" fmla="*/ 1495809 h 1538630"/>
              <a:gd name="csX6" fmla="*/ 368755 w 1609516"/>
              <a:gd name="csY6" fmla="*/ 1486512 h 1538630"/>
              <a:gd name="csX7" fmla="*/ 364089 w 1609516"/>
              <a:gd name="csY7" fmla="*/ 1487354 h 1538630"/>
              <a:gd name="csX8" fmla="*/ 364089 w 1609516"/>
              <a:gd name="csY8" fmla="*/ 1487908 h 1538630"/>
              <a:gd name="csX9" fmla="*/ 1049801 w 1609516"/>
              <a:gd name="csY9" fmla="*/ 1484562 h 1538630"/>
              <a:gd name="csX10" fmla="*/ 1046735 w 1609516"/>
              <a:gd name="csY10" fmla="*/ 1485945 h 1538630"/>
              <a:gd name="csX11" fmla="*/ 1046955 w 1609516"/>
              <a:gd name="csY11" fmla="*/ 1486045 h 1538630"/>
              <a:gd name="csX12" fmla="*/ 1049801 w 1609516"/>
              <a:gd name="csY12" fmla="*/ 1485188 h 1538630"/>
              <a:gd name="csX13" fmla="*/ 351234 w 1609516"/>
              <a:gd name="csY13" fmla="*/ 1444508 h 1538630"/>
              <a:gd name="csX14" fmla="*/ 351234 w 1609516"/>
              <a:gd name="csY14" fmla="*/ 1444997 h 1538630"/>
              <a:gd name="csX15" fmla="*/ 351592 w 1609516"/>
              <a:gd name="csY15" fmla="*/ 1445078 h 1538630"/>
              <a:gd name="csX16" fmla="*/ 351908 w 1609516"/>
              <a:gd name="csY16" fmla="*/ 1431206 h 1538630"/>
              <a:gd name="csX17" fmla="*/ 351234 w 1609516"/>
              <a:gd name="csY17" fmla="*/ 1431611 h 1538630"/>
              <a:gd name="csX18" fmla="*/ 351234 w 1609516"/>
              <a:gd name="csY18" fmla="*/ 1432274 h 1538630"/>
              <a:gd name="csX19" fmla="*/ 358162 w 1609516"/>
              <a:gd name="csY19" fmla="*/ 1421494 h 1538630"/>
              <a:gd name="csX20" fmla="*/ 355921 w 1609516"/>
              <a:gd name="csY20" fmla="*/ 1423156 h 1538630"/>
              <a:gd name="csX21" fmla="*/ 355921 w 1609516"/>
              <a:gd name="csY21" fmla="*/ 1423548 h 1538630"/>
              <a:gd name="csX22" fmla="*/ 376098 w 1609516"/>
              <a:gd name="csY22" fmla="*/ 1408347 h 1538630"/>
              <a:gd name="csX23" fmla="*/ 370750 w 1609516"/>
              <a:gd name="csY23" fmla="*/ 1412245 h 1538630"/>
              <a:gd name="csX24" fmla="*/ 375023 w 1609516"/>
              <a:gd name="csY24" fmla="*/ 1411256 h 1538630"/>
              <a:gd name="csX25" fmla="*/ 421956 w 1609516"/>
              <a:gd name="csY25" fmla="*/ 1365623 h 1538630"/>
              <a:gd name="csX26" fmla="*/ 421765 w 1609516"/>
              <a:gd name="csY26" fmla="*/ 1366161 h 1538630"/>
              <a:gd name="csX27" fmla="*/ 421887 w 1609516"/>
              <a:gd name="csY27" fmla="*/ 1366161 h 1538630"/>
              <a:gd name="csX28" fmla="*/ 754553 w 1609516"/>
              <a:gd name="csY28" fmla="*/ 1360575 h 1538630"/>
              <a:gd name="csX29" fmla="*/ 754089 w 1609516"/>
              <a:gd name="csY29" fmla="*/ 1361433 h 1538630"/>
              <a:gd name="csX30" fmla="*/ 754431 w 1609516"/>
              <a:gd name="csY30" fmla="*/ 1361125 h 1538630"/>
              <a:gd name="csX31" fmla="*/ 1277973 w 1609516"/>
              <a:gd name="csY31" fmla="*/ 1332923 h 1538630"/>
              <a:gd name="csX32" fmla="*/ 1277944 w 1609516"/>
              <a:gd name="csY32" fmla="*/ 1332936 h 1538630"/>
              <a:gd name="csX33" fmla="*/ 1277949 w 1609516"/>
              <a:gd name="csY33" fmla="*/ 1333139 h 1538630"/>
              <a:gd name="csX34" fmla="*/ 1268556 w 1609516"/>
              <a:gd name="csY34" fmla="*/ 1321066 h 1538630"/>
              <a:gd name="csX35" fmla="*/ 1268556 w 1609516"/>
              <a:gd name="csY35" fmla="*/ 1325294 h 1538630"/>
              <a:gd name="csX36" fmla="*/ 1265432 w 1609516"/>
              <a:gd name="csY36" fmla="*/ 1325294 h 1538630"/>
              <a:gd name="csX37" fmla="*/ 1265432 w 1609516"/>
              <a:gd name="csY37" fmla="*/ 1340795 h 1538630"/>
              <a:gd name="csX38" fmla="*/ 1265476 w 1609516"/>
              <a:gd name="csY38" fmla="*/ 1340714 h 1538630"/>
              <a:gd name="csX39" fmla="*/ 1265476 w 1609516"/>
              <a:gd name="csY39" fmla="*/ 1325877 h 1538630"/>
              <a:gd name="csX40" fmla="*/ 1268600 w 1609516"/>
              <a:gd name="csY40" fmla="*/ 1325877 h 1538630"/>
              <a:gd name="csX41" fmla="*/ 1268600 w 1609516"/>
              <a:gd name="csY41" fmla="*/ 1321649 h 1538630"/>
              <a:gd name="csX42" fmla="*/ 1273286 w 1609516"/>
              <a:gd name="csY42" fmla="*/ 1321649 h 1538630"/>
              <a:gd name="csX43" fmla="*/ 1273227 w 1609516"/>
              <a:gd name="csY43" fmla="*/ 1321066 h 1538630"/>
              <a:gd name="csX44" fmla="*/ 827891 w 1609516"/>
              <a:gd name="csY44" fmla="*/ 1291474 h 1538630"/>
              <a:gd name="csX45" fmla="*/ 822601 w 1609516"/>
              <a:gd name="csY45" fmla="*/ 1291544 h 1538630"/>
              <a:gd name="csX46" fmla="*/ 818272 w 1609516"/>
              <a:gd name="csY46" fmla="*/ 1292220 h 1538630"/>
              <a:gd name="csX47" fmla="*/ 827891 w 1609516"/>
              <a:gd name="csY47" fmla="*/ 1292047 h 1538630"/>
              <a:gd name="csX48" fmla="*/ 856397 w 1609516"/>
              <a:gd name="csY48" fmla="*/ 1288691 h 1538630"/>
              <a:gd name="csX49" fmla="*/ 865903 w 1609516"/>
              <a:gd name="csY49" fmla="*/ 1290590 h 1538630"/>
              <a:gd name="csX50" fmla="*/ 859999 w 1609516"/>
              <a:gd name="csY50" fmla="*/ 1288752 h 1538630"/>
              <a:gd name="csX51" fmla="*/ 834694 w 1609516"/>
              <a:gd name="csY51" fmla="*/ 1288572 h 1538630"/>
              <a:gd name="csX52" fmla="*/ 828038 w 1609516"/>
              <a:gd name="csY52" fmla="*/ 1288654 h 1538630"/>
              <a:gd name="csX53" fmla="*/ 828038 w 1609516"/>
              <a:gd name="csY53" fmla="*/ 1289214 h 1538630"/>
              <a:gd name="csX54" fmla="*/ 229746 w 1609516"/>
              <a:gd name="csY54" fmla="*/ 1191418 h 1538630"/>
              <a:gd name="csX55" fmla="*/ 227402 w 1609516"/>
              <a:gd name="csY55" fmla="*/ 1191947 h 1538630"/>
              <a:gd name="csX56" fmla="*/ 229315 w 1609516"/>
              <a:gd name="csY56" fmla="*/ 1191947 h 1538630"/>
              <a:gd name="csX57" fmla="*/ 229315 w 1609516"/>
              <a:gd name="csY57" fmla="*/ 1194765 h 1538630"/>
              <a:gd name="csX58" fmla="*/ 231321 w 1609516"/>
              <a:gd name="csY58" fmla="*/ 1194765 h 1538630"/>
              <a:gd name="csX59" fmla="*/ 229746 w 1609516"/>
              <a:gd name="csY59" fmla="*/ 1194236 h 1538630"/>
              <a:gd name="csX60" fmla="*/ 229746 w 1609516"/>
              <a:gd name="csY60" fmla="*/ 1191418 h 1538630"/>
              <a:gd name="csX61" fmla="*/ 215687 w 1609516"/>
              <a:gd name="csY61" fmla="*/ 1187190 h 1538630"/>
              <a:gd name="csX62" fmla="*/ 215198 w 1609516"/>
              <a:gd name="csY62" fmla="*/ 1187720 h 1538630"/>
              <a:gd name="csX63" fmla="*/ 215256 w 1609516"/>
              <a:gd name="csY63" fmla="*/ 1187720 h 1538630"/>
              <a:gd name="csX64" fmla="*/ 215256 w 1609516"/>
              <a:gd name="csY64" fmla="*/ 1191947 h 1538630"/>
              <a:gd name="csX65" fmla="*/ 222721 w 1609516"/>
              <a:gd name="csY65" fmla="*/ 1191947 h 1538630"/>
              <a:gd name="csX66" fmla="*/ 215687 w 1609516"/>
              <a:gd name="csY66" fmla="*/ 1191418 h 1538630"/>
              <a:gd name="csX67" fmla="*/ 215687 w 1609516"/>
              <a:gd name="csY67" fmla="*/ 1187190 h 1538630"/>
              <a:gd name="csX68" fmla="*/ 1279678 w 1609516"/>
              <a:gd name="csY68" fmla="*/ 1082356 h 1538630"/>
              <a:gd name="csX69" fmla="*/ 1271680 w 1609516"/>
              <a:gd name="csY69" fmla="*/ 1084589 h 1538630"/>
              <a:gd name="csX70" fmla="*/ 1282181 w 1609516"/>
              <a:gd name="csY70" fmla="*/ 1082544 h 1538630"/>
              <a:gd name="csX71" fmla="*/ 117703 w 1609516"/>
              <a:gd name="csY71" fmla="*/ 941507 h 1538630"/>
              <a:gd name="csX72" fmla="*/ 112587 w 1609516"/>
              <a:gd name="csY72" fmla="*/ 941985 h 1538630"/>
              <a:gd name="csX73" fmla="*/ 112565 w 1609516"/>
              <a:gd name="csY73" fmla="*/ 942333 h 1538630"/>
              <a:gd name="csX74" fmla="*/ 115665 w 1609516"/>
              <a:gd name="csY74" fmla="*/ 941837 h 1538630"/>
              <a:gd name="csX75" fmla="*/ 144268 w 1609516"/>
              <a:gd name="csY75" fmla="*/ 939395 h 1538630"/>
              <a:gd name="csX76" fmla="*/ 143354 w 1609516"/>
              <a:gd name="csY76" fmla="*/ 939580 h 1538630"/>
              <a:gd name="csX77" fmla="*/ 144077 w 1609516"/>
              <a:gd name="csY77" fmla="*/ 939739 h 1538630"/>
              <a:gd name="csX78" fmla="*/ 162575 w 1609516"/>
              <a:gd name="csY78" fmla="*/ 933530 h 1538630"/>
              <a:gd name="csX79" fmla="*/ 161704 w 1609516"/>
              <a:gd name="csY79" fmla="*/ 935101 h 1538630"/>
              <a:gd name="csX80" fmla="*/ 170045 w 1609516"/>
              <a:gd name="csY80" fmla="*/ 933585 h 1538630"/>
              <a:gd name="csX81" fmla="*/ 1321645 w 1609516"/>
              <a:gd name="csY81" fmla="*/ 918415 h 1538630"/>
              <a:gd name="csX82" fmla="*/ 1321534 w 1609516"/>
              <a:gd name="csY82" fmla="*/ 920177 h 1538630"/>
              <a:gd name="csX83" fmla="*/ 1321740 w 1609516"/>
              <a:gd name="csY83" fmla="*/ 918415 h 1538630"/>
              <a:gd name="csX84" fmla="*/ 1319333 w 1609516"/>
              <a:gd name="csY84" fmla="*/ 915183 h 1538630"/>
              <a:gd name="csX85" fmla="*/ 1318544 w 1609516"/>
              <a:gd name="csY85" fmla="*/ 918029 h 1538630"/>
              <a:gd name="csX86" fmla="*/ 1318702 w 1609516"/>
              <a:gd name="csY86" fmla="*/ 918029 h 1538630"/>
              <a:gd name="csX87" fmla="*/ 1326355 w 1609516"/>
              <a:gd name="csY87" fmla="*/ 907109 h 1538630"/>
              <a:gd name="csX88" fmla="*/ 1326355 w 1609516"/>
              <a:gd name="csY88" fmla="*/ 910983 h 1538630"/>
              <a:gd name="csX89" fmla="*/ 1325831 w 1609516"/>
              <a:gd name="csY89" fmla="*/ 911101 h 1538630"/>
              <a:gd name="csX90" fmla="*/ 1326426 w 1609516"/>
              <a:gd name="csY90" fmla="*/ 911369 h 1538630"/>
              <a:gd name="csX91" fmla="*/ 1326426 w 1609516"/>
              <a:gd name="csY91" fmla="*/ 907141 h 1538630"/>
              <a:gd name="csX92" fmla="*/ 1328144 w 1609516"/>
              <a:gd name="csY92" fmla="*/ 892192 h 1538630"/>
              <a:gd name="csX93" fmla="*/ 1327667 w 1609516"/>
              <a:gd name="csY93" fmla="*/ 893446 h 1538630"/>
              <a:gd name="csX94" fmla="*/ 1327989 w 1609516"/>
              <a:gd name="csY94" fmla="*/ 893049 h 1538630"/>
              <a:gd name="csX95" fmla="*/ 49605 w 1609516"/>
              <a:gd name="csY95" fmla="*/ 887420 h 1538630"/>
              <a:gd name="csX96" fmla="*/ 48549 w 1609516"/>
              <a:gd name="csY96" fmla="*/ 891229 h 1538630"/>
              <a:gd name="csX97" fmla="*/ 49956 w 1609516"/>
              <a:gd name="csY97" fmla="*/ 887420 h 1538630"/>
              <a:gd name="csX98" fmla="*/ 1332266 w 1609516"/>
              <a:gd name="csY98" fmla="*/ 883369 h 1538630"/>
              <a:gd name="csX99" fmla="*/ 1329479 w 1609516"/>
              <a:gd name="csY99" fmla="*/ 884207 h 1538630"/>
              <a:gd name="csX100" fmla="*/ 1329509 w 1609516"/>
              <a:gd name="csY100" fmla="*/ 884816 h 1538630"/>
              <a:gd name="csX101" fmla="*/ 1329551 w 1609516"/>
              <a:gd name="csY101" fmla="*/ 884594 h 1538630"/>
              <a:gd name="csX102" fmla="*/ 1555987 w 1609516"/>
              <a:gd name="csY102" fmla="*/ 821766 h 1538630"/>
              <a:gd name="csX103" fmla="*/ 1555987 w 1609516"/>
              <a:gd name="csY103" fmla="*/ 822201 h 1538630"/>
              <a:gd name="csX104" fmla="*/ 1556081 w 1609516"/>
              <a:gd name="csY104" fmla="*/ 822189 h 1538630"/>
              <a:gd name="csX105" fmla="*/ 1565360 w 1609516"/>
              <a:gd name="csY105" fmla="*/ 810928 h 1538630"/>
              <a:gd name="csX106" fmla="*/ 1564871 w 1609516"/>
              <a:gd name="csY106" fmla="*/ 811809 h 1538630"/>
              <a:gd name="csX107" fmla="*/ 1567314 w 1609516"/>
              <a:gd name="csY107" fmla="*/ 810928 h 1538630"/>
              <a:gd name="csX108" fmla="*/ 1563797 w 1609516"/>
              <a:gd name="csY108" fmla="*/ 810928 h 1538630"/>
              <a:gd name="csX109" fmla="*/ 1556762 w 1609516"/>
              <a:gd name="csY109" fmla="*/ 814736 h 1538630"/>
              <a:gd name="csX110" fmla="*/ 1563797 w 1609516"/>
              <a:gd name="csY110" fmla="*/ 812197 h 1538630"/>
              <a:gd name="csX111" fmla="*/ 265833 w 1609516"/>
              <a:gd name="csY111" fmla="*/ 806020 h 1538630"/>
              <a:gd name="csX112" fmla="*/ 263704 w 1609516"/>
              <a:gd name="csY112" fmla="*/ 809861 h 1538630"/>
              <a:gd name="csX113" fmla="*/ 263704 w 1609516"/>
              <a:gd name="csY113" fmla="*/ 816750 h 1538630"/>
              <a:gd name="csX114" fmla="*/ 264113 w 1609516"/>
              <a:gd name="csY114" fmla="*/ 816565 h 1538630"/>
              <a:gd name="csX115" fmla="*/ 263918 w 1609516"/>
              <a:gd name="csY115" fmla="*/ 812777 h 1538630"/>
              <a:gd name="csX116" fmla="*/ 263774 w 1609516"/>
              <a:gd name="csY116" fmla="*/ 779374 h 1538630"/>
              <a:gd name="csX117" fmla="*/ 263704 w 1609516"/>
              <a:gd name="csY117" fmla="*/ 783086 h 1538630"/>
              <a:gd name="csX118" fmla="*/ 264484 w 1609516"/>
              <a:gd name="csY118" fmla="*/ 785816 h 1538630"/>
              <a:gd name="csX119" fmla="*/ 265265 w 1609516"/>
              <a:gd name="csY119" fmla="*/ 794448 h 1538630"/>
              <a:gd name="csX120" fmla="*/ 265217 w 1609516"/>
              <a:gd name="csY120" fmla="*/ 799730 h 1538630"/>
              <a:gd name="csX121" fmla="*/ 266556 w 1609516"/>
              <a:gd name="csY121" fmla="*/ 803466 h 1538630"/>
              <a:gd name="csX122" fmla="*/ 267237 w 1609516"/>
              <a:gd name="csY122" fmla="*/ 801063 h 1538630"/>
              <a:gd name="csX123" fmla="*/ 265675 w 1609516"/>
              <a:gd name="csY123" fmla="*/ 799654 h 1538630"/>
              <a:gd name="csX124" fmla="*/ 265675 w 1609516"/>
              <a:gd name="csY124" fmla="*/ 793841 h 1538630"/>
              <a:gd name="csX125" fmla="*/ 260988 w 1609516"/>
              <a:gd name="csY125" fmla="*/ 770061 h 1538630"/>
              <a:gd name="csX126" fmla="*/ 260988 w 1609516"/>
              <a:gd name="csY126" fmla="*/ 771364 h 1538630"/>
              <a:gd name="csX127" fmla="*/ 263497 w 1609516"/>
              <a:gd name="csY127" fmla="*/ 777263 h 1538630"/>
              <a:gd name="csX128" fmla="*/ 262551 w 1609516"/>
              <a:gd name="csY128" fmla="*/ 770061 h 1538630"/>
              <a:gd name="csX129" fmla="*/ 260988 w 1609516"/>
              <a:gd name="csY129" fmla="*/ 770061 h 1538630"/>
              <a:gd name="csX130" fmla="*/ 157888 w 1609516"/>
              <a:gd name="csY130" fmla="*/ 651686 h 1538630"/>
              <a:gd name="csX131" fmla="*/ 157415 w 1609516"/>
              <a:gd name="csY131" fmla="*/ 651764 h 1538630"/>
              <a:gd name="csX132" fmla="*/ 160373 w 1609516"/>
              <a:gd name="csY132" fmla="*/ 652274 h 1538630"/>
              <a:gd name="csX133" fmla="*/ 267237 w 1609516"/>
              <a:gd name="csY133" fmla="*/ 426537 h 1538630"/>
              <a:gd name="csX134" fmla="*/ 267237 w 1609516"/>
              <a:gd name="csY134" fmla="*/ 427619 h 1538630"/>
              <a:gd name="csX135" fmla="*/ 270380 w 1609516"/>
              <a:gd name="csY135" fmla="*/ 428137 h 1538630"/>
              <a:gd name="csX136" fmla="*/ 273548 w 1609516"/>
              <a:gd name="csY136" fmla="*/ 428680 h 1538630"/>
              <a:gd name="csX137" fmla="*/ 37605 w 1609516"/>
              <a:gd name="csY137" fmla="*/ 359270 h 1538630"/>
              <a:gd name="csX138" fmla="*/ 37103 w 1609516"/>
              <a:gd name="csY138" fmla="*/ 361533 h 1538630"/>
              <a:gd name="csX139" fmla="*/ 37605 w 1609516"/>
              <a:gd name="csY139" fmla="*/ 361382 h 1538630"/>
              <a:gd name="csX140" fmla="*/ 52477 w 1609516"/>
              <a:gd name="csY140" fmla="*/ 337570 h 1538630"/>
              <a:gd name="csX141" fmla="*/ 47288 w 1609516"/>
              <a:gd name="csY141" fmla="*/ 342340 h 1538630"/>
              <a:gd name="csX142" fmla="*/ 45805 w 1609516"/>
              <a:gd name="csY142" fmla="*/ 345093 h 1538630"/>
              <a:gd name="csX143" fmla="*/ 104291 w 1609516"/>
              <a:gd name="csY143" fmla="*/ 336166 h 1538630"/>
              <a:gd name="csX144" fmla="*/ 103776 w 1609516"/>
              <a:gd name="csY144" fmla="*/ 337559 h 1538630"/>
              <a:gd name="csX145" fmla="*/ 108925 w 1609516"/>
              <a:gd name="csY145" fmla="*/ 336166 h 1538630"/>
              <a:gd name="csX146" fmla="*/ 1309237 w 1609516"/>
              <a:gd name="csY146" fmla="*/ 322954 h 1538630"/>
              <a:gd name="csX147" fmla="*/ 1309180 w 1609516"/>
              <a:gd name="csY147" fmla="*/ 330559 h 1538630"/>
              <a:gd name="csX148" fmla="*/ 1309237 w 1609516"/>
              <a:gd name="csY148" fmla="*/ 330520 h 1538630"/>
              <a:gd name="csX149" fmla="*/ 1308964 w 1609516"/>
              <a:gd name="csY149" fmla="*/ 317715 h 1538630"/>
              <a:gd name="csX150" fmla="*/ 1309237 w 1609516"/>
              <a:gd name="csY150" fmla="*/ 318569 h 1538630"/>
              <a:gd name="csX151" fmla="*/ 1309237 w 1609516"/>
              <a:gd name="csY151" fmla="*/ 317838 h 1538630"/>
              <a:gd name="csX152" fmla="*/ 1310087 w 1609516"/>
              <a:gd name="csY152" fmla="*/ 313153 h 1538630"/>
              <a:gd name="csX153" fmla="*/ 1307609 w 1609516"/>
              <a:gd name="csY153" fmla="*/ 313473 h 1538630"/>
              <a:gd name="csX154" fmla="*/ 1308045 w 1609516"/>
              <a:gd name="csY154" fmla="*/ 314836 h 1538630"/>
              <a:gd name="csX155" fmla="*/ 1318544 w 1609516"/>
              <a:gd name="csY155" fmla="*/ 312064 h 1538630"/>
              <a:gd name="csX156" fmla="*/ 1316298 w 1609516"/>
              <a:gd name="csY156" fmla="*/ 312353 h 1538630"/>
              <a:gd name="csX157" fmla="*/ 1318544 w 1609516"/>
              <a:gd name="csY157" fmla="*/ 312205 h 1538630"/>
              <a:gd name="csX158" fmla="*/ 1084622 w 1609516"/>
              <a:gd name="csY158" fmla="*/ 267674 h 1538630"/>
              <a:gd name="csX159" fmla="*/ 1084227 w 1609516"/>
              <a:gd name="csY159" fmla="*/ 268378 h 1538630"/>
              <a:gd name="csX160" fmla="*/ 1079540 w 1609516"/>
              <a:gd name="csY160" fmla="*/ 268378 h 1538630"/>
              <a:gd name="csX161" fmla="*/ 1079603 w 1609516"/>
              <a:gd name="csY161" fmla="*/ 268477 h 1538630"/>
              <a:gd name="csX162" fmla="*/ 1084192 w 1609516"/>
              <a:gd name="csY162" fmla="*/ 268477 h 1538630"/>
              <a:gd name="csX163" fmla="*/ 956410 w 1609516"/>
              <a:gd name="csY163" fmla="*/ 266968 h 1538630"/>
              <a:gd name="csX164" fmla="*/ 957576 w 1609516"/>
              <a:gd name="csY164" fmla="*/ 267083 h 1538630"/>
              <a:gd name="csX165" fmla="*/ 957576 w 1609516"/>
              <a:gd name="csY165" fmla="*/ 269776 h 1538630"/>
              <a:gd name="csX166" fmla="*/ 957694 w 1609516"/>
              <a:gd name="csY166" fmla="*/ 269787 h 1538630"/>
              <a:gd name="csX167" fmla="*/ 957694 w 1609516"/>
              <a:gd name="csY167" fmla="*/ 266968 h 1538630"/>
              <a:gd name="csX168" fmla="*/ 1089372 w 1609516"/>
              <a:gd name="csY168" fmla="*/ 259220 h 1538630"/>
              <a:gd name="csX169" fmla="*/ 1085856 w 1609516"/>
              <a:gd name="csY169" fmla="*/ 265479 h 1538630"/>
              <a:gd name="csX170" fmla="*/ 1088878 w 1609516"/>
              <a:gd name="csY170" fmla="*/ 261431 h 1538630"/>
              <a:gd name="csX171" fmla="*/ 1018517 w 1609516"/>
              <a:gd name="csY171" fmla="*/ 223356 h 1538630"/>
              <a:gd name="csX172" fmla="*/ 1013866 w 1609516"/>
              <a:gd name="csY172" fmla="*/ 226190 h 1538630"/>
              <a:gd name="csX173" fmla="*/ 1013024 w 1609516"/>
              <a:gd name="csY173" fmla="*/ 227709 h 1538630"/>
              <a:gd name="csX174" fmla="*/ 1017055 w 1609516"/>
              <a:gd name="csY174" fmla="*/ 224692 h 1538630"/>
              <a:gd name="csX175" fmla="*/ 850645 w 1609516"/>
              <a:gd name="csY175" fmla="*/ 220099 h 1538630"/>
              <a:gd name="csX176" fmla="*/ 850897 w 1609516"/>
              <a:gd name="csY176" fmla="*/ 221488 h 1538630"/>
              <a:gd name="csX177" fmla="*/ 851470 w 1609516"/>
              <a:gd name="csY177" fmla="*/ 224692 h 1538630"/>
              <a:gd name="csX178" fmla="*/ 852860 w 1609516"/>
              <a:gd name="csY178" fmla="*/ 224692 h 1538630"/>
              <a:gd name="csX179" fmla="*/ 1155019 w 1609516"/>
              <a:gd name="csY179" fmla="*/ 35 h 1538630"/>
              <a:gd name="csX180" fmla="*/ 1174829 w 1609516"/>
              <a:gd name="csY180" fmla="*/ 4853 h 1538630"/>
              <a:gd name="csX181" fmla="*/ 1179418 w 1609516"/>
              <a:gd name="csY181" fmla="*/ 5998 h 1538630"/>
              <a:gd name="csX182" fmla="*/ 1201385 w 1609516"/>
              <a:gd name="csY182" fmla="*/ 22997 h 1538630"/>
              <a:gd name="csX183" fmla="*/ 1201678 w 1609516"/>
              <a:gd name="csY183" fmla="*/ 62191 h 1538630"/>
              <a:gd name="csX184" fmla="*/ 1198261 w 1609516"/>
              <a:gd name="csY184" fmla="*/ 68268 h 1538630"/>
              <a:gd name="csX185" fmla="*/ 1195723 w 1609516"/>
              <a:gd name="csY185" fmla="*/ 72672 h 1538630"/>
              <a:gd name="csX186" fmla="*/ 1193575 w 1609516"/>
              <a:gd name="csY186" fmla="*/ 75314 h 1538630"/>
              <a:gd name="csX187" fmla="*/ 1190450 w 1609516"/>
              <a:gd name="csY187" fmla="*/ 75314 h 1538630"/>
              <a:gd name="csX188" fmla="*/ 1189474 w 1609516"/>
              <a:gd name="csY188" fmla="*/ 79366 h 1538630"/>
              <a:gd name="csX189" fmla="*/ 1182445 w 1609516"/>
              <a:gd name="csY189" fmla="*/ 85707 h 1538630"/>
              <a:gd name="csX190" fmla="*/ 1177953 w 1609516"/>
              <a:gd name="csY190" fmla="*/ 86588 h 1538630"/>
              <a:gd name="csX191" fmla="*/ 1177953 w 1609516"/>
              <a:gd name="csY191" fmla="*/ 89406 h 1538630"/>
              <a:gd name="csX192" fmla="*/ 1170045 w 1609516"/>
              <a:gd name="csY192" fmla="*/ 94251 h 1538630"/>
              <a:gd name="csX193" fmla="*/ 1143806 w 1609516"/>
              <a:gd name="csY193" fmla="*/ 132828 h 1538630"/>
              <a:gd name="csX194" fmla="*/ 1137338 w 1609516"/>
              <a:gd name="csY194" fmla="*/ 141548 h 1538630"/>
              <a:gd name="csX195" fmla="*/ 1133970 w 1609516"/>
              <a:gd name="csY195" fmla="*/ 149403 h 1538630"/>
              <a:gd name="csX196" fmla="*/ 1127965 w 1609516"/>
              <a:gd name="csY196" fmla="*/ 164095 h 1538630"/>
              <a:gd name="csX197" fmla="*/ 1124762 w 1609516"/>
              <a:gd name="csY197" fmla="*/ 171802 h 1538630"/>
              <a:gd name="csX198" fmla="*/ 1119359 w 1609516"/>
              <a:gd name="csY198" fmla="*/ 184798 h 1538630"/>
              <a:gd name="csX199" fmla="*/ 1111014 w 1609516"/>
              <a:gd name="csY199" fmla="*/ 204941 h 1538630"/>
              <a:gd name="csX200" fmla="*/ 1109729 w 1609516"/>
              <a:gd name="csY200" fmla="*/ 208059 h 1538630"/>
              <a:gd name="csX201" fmla="*/ 1106395 w 1609516"/>
              <a:gd name="csY201" fmla="*/ 216170 h 1538630"/>
              <a:gd name="csX202" fmla="*/ 1102147 w 1609516"/>
              <a:gd name="csY202" fmla="*/ 224810 h 1538630"/>
              <a:gd name="csX203" fmla="*/ 1098261 w 1609516"/>
              <a:gd name="csY203" fmla="*/ 227262 h 1538630"/>
              <a:gd name="csX204" fmla="*/ 1098367 w 1609516"/>
              <a:gd name="csY204" fmla="*/ 238475 h 1538630"/>
              <a:gd name="csX205" fmla="*/ 1097331 w 1609516"/>
              <a:gd name="csY205" fmla="*/ 242358 h 1538630"/>
              <a:gd name="csX206" fmla="*/ 1096201 w 1609516"/>
              <a:gd name="csY206" fmla="*/ 246458 h 1538630"/>
              <a:gd name="csX207" fmla="*/ 1089440 w 1609516"/>
              <a:gd name="csY207" fmla="*/ 279206 h 1538630"/>
              <a:gd name="csX208" fmla="*/ 1087316 w 1609516"/>
              <a:gd name="csY208" fmla="*/ 283978 h 1538630"/>
              <a:gd name="csX209" fmla="*/ 1086822 w 1609516"/>
              <a:gd name="csY209" fmla="*/ 291822 h 1538630"/>
              <a:gd name="csX210" fmla="*/ 1086623 w 1609516"/>
              <a:gd name="csY210" fmla="*/ 296625 h 1538630"/>
              <a:gd name="csX211" fmla="*/ 1086437 w 1609516"/>
              <a:gd name="csY211" fmla="*/ 301681 h 1538630"/>
              <a:gd name="csX212" fmla="*/ 1086233 w 1609516"/>
              <a:gd name="csY212" fmla="*/ 306754 h 1538630"/>
              <a:gd name="csX213" fmla="*/ 1086007 w 1609516"/>
              <a:gd name="csY213" fmla="*/ 312619 h 1538630"/>
              <a:gd name="csX214" fmla="*/ 1087470 w 1609516"/>
              <a:gd name="csY214" fmla="*/ 320554 h 1538630"/>
              <a:gd name="csX215" fmla="*/ 1098285 w 1609516"/>
              <a:gd name="csY215" fmla="*/ 334611 h 1538630"/>
              <a:gd name="csX216" fmla="*/ 1102607 w 1609516"/>
              <a:gd name="csY216" fmla="*/ 337679 h 1538630"/>
              <a:gd name="csX217" fmla="*/ 1106095 w 1609516"/>
              <a:gd name="csY217" fmla="*/ 340248 h 1538630"/>
              <a:gd name="csX218" fmla="*/ 1106095 w 1609516"/>
              <a:gd name="csY218" fmla="*/ 343066 h 1538630"/>
              <a:gd name="csX219" fmla="*/ 1109220 w 1609516"/>
              <a:gd name="csY219" fmla="*/ 343419 h 1538630"/>
              <a:gd name="csX220" fmla="*/ 1126403 w 1609516"/>
              <a:gd name="csY220" fmla="*/ 350112 h 1538630"/>
              <a:gd name="csX221" fmla="*/ 1131871 w 1609516"/>
              <a:gd name="csY221" fmla="*/ 352579 h 1538630"/>
              <a:gd name="csX222" fmla="*/ 1135776 w 1609516"/>
              <a:gd name="csY222" fmla="*/ 354340 h 1538630"/>
              <a:gd name="csX223" fmla="*/ 1135776 w 1609516"/>
              <a:gd name="csY223" fmla="*/ 357158 h 1538630"/>
              <a:gd name="csX224" fmla="*/ 1170143 w 1609516"/>
              <a:gd name="csY224" fmla="*/ 354340 h 1538630"/>
              <a:gd name="csX225" fmla="*/ 1174634 w 1609516"/>
              <a:gd name="csY225" fmla="*/ 352579 h 1538630"/>
              <a:gd name="csX226" fmla="*/ 1190890 w 1609516"/>
              <a:gd name="csY226" fmla="*/ 342907 h 1538630"/>
              <a:gd name="csX227" fmla="*/ 1204021 w 1609516"/>
              <a:gd name="csY227" fmla="*/ 335404 h 1538630"/>
              <a:gd name="csX228" fmla="*/ 1223255 w 1609516"/>
              <a:gd name="csY228" fmla="*/ 319110 h 1538630"/>
              <a:gd name="csX229" fmla="*/ 1226868 w 1609516"/>
              <a:gd name="csY229" fmla="*/ 315587 h 1538630"/>
              <a:gd name="csX230" fmla="*/ 1231859 w 1609516"/>
              <a:gd name="csY230" fmla="*/ 303559 h 1538630"/>
              <a:gd name="csX231" fmla="*/ 1234178 w 1609516"/>
              <a:gd name="csY231" fmla="*/ 298059 h 1538630"/>
              <a:gd name="csX232" fmla="*/ 1237314 w 1609516"/>
              <a:gd name="csY232" fmla="*/ 288195 h 1538630"/>
              <a:gd name="csX233" fmla="*/ 1249811 w 1609516"/>
              <a:gd name="csY233" fmla="*/ 265559 h 1538630"/>
              <a:gd name="csX234" fmla="*/ 1252935 w 1609516"/>
              <a:gd name="csY234" fmla="*/ 265559 h 1538630"/>
              <a:gd name="csX235" fmla="*/ 1252935 w 1609516"/>
              <a:gd name="csY235" fmla="*/ 262741 h 1538630"/>
              <a:gd name="csX236" fmla="*/ 1296675 w 1609516"/>
              <a:gd name="csY236" fmla="*/ 252876 h 1538630"/>
              <a:gd name="csX237" fmla="*/ 1307609 w 1609516"/>
              <a:gd name="csY237" fmla="*/ 255695 h 1538630"/>
              <a:gd name="csX238" fmla="*/ 1307609 w 1609516"/>
              <a:gd name="csY238" fmla="*/ 258513 h 1538630"/>
              <a:gd name="csX239" fmla="*/ 1311887 w 1609516"/>
              <a:gd name="csY239" fmla="*/ 258832 h 1538630"/>
              <a:gd name="csX240" fmla="*/ 1326715 w 1609516"/>
              <a:gd name="csY240" fmla="*/ 269969 h 1538630"/>
              <a:gd name="csX241" fmla="*/ 1334165 w 1609516"/>
              <a:gd name="csY241" fmla="*/ 307836 h 1538630"/>
              <a:gd name="csX242" fmla="*/ 1329479 w 1609516"/>
              <a:gd name="csY242" fmla="*/ 314882 h 1538630"/>
              <a:gd name="csX243" fmla="*/ 1323231 w 1609516"/>
              <a:gd name="csY243" fmla="*/ 314882 h 1538630"/>
              <a:gd name="csX244" fmla="*/ 1323231 w 1609516"/>
              <a:gd name="csY244" fmla="*/ 317700 h 1538630"/>
              <a:gd name="csX245" fmla="*/ 1322774 w 1609516"/>
              <a:gd name="csY245" fmla="*/ 317838 h 1538630"/>
              <a:gd name="csX246" fmla="*/ 1323295 w 1609516"/>
              <a:gd name="csY246" fmla="*/ 317838 h 1538630"/>
              <a:gd name="csX247" fmla="*/ 1323295 w 1609516"/>
              <a:gd name="csY247" fmla="*/ 315019 h 1538630"/>
              <a:gd name="csX248" fmla="*/ 1327982 w 1609516"/>
              <a:gd name="csY248" fmla="*/ 315019 h 1538630"/>
              <a:gd name="csX249" fmla="*/ 1317047 w 1609516"/>
              <a:gd name="csY249" fmla="*/ 327702 h 1538630"/>
              <a:gd name="csX250" fmla="*/ 1315484 w 1609516"/>
              <a:gd name="csY250" fmla="*/ 331930 h 1538630"/>
              <a:gd name="csX251" fmla="*/ 1309139 w 1609516"/>
              <a:gd name="csY251" fmla="*/ 333603 h 1538630"/>
              <a:gd name="csX252" fmla="*/ 1305666 w 1609516"/>
              <a:gd name="csY252" fmla="*/ 334280 h 1538630"/>
              <a:gd name="csX253" fmla="*/ 1302988 w 1609516"/>
              <a:gd name="csY253" fmla="*/ 334748 h 1538630"/>
              <a:gd name="csX254" fmla="*/ 1305905 w 1609516"/>
              <a:gd name="csY254" fmla="*/ 332775 h 1538630"/>
              <a:gd name="csX255" fmla="*/ 1304485 w 1609516"/>
              <a:gd name="csY255" fmla="*/ 333202 h 1538630"/>
              <a:gd name="csX256" fmla="*/ 1301459 w 1609516"/>
              <a:gd name="csY256" fmla="*/ 336108 h 1538630"/>
              <a:gd name="csX257" fmla="*/ 1291989 w 1609516"/>
              <a:gd name="csY257" fmla="*/ 338839 h 1538630"/>
              <a:gd name="csX258" fmla="*/ 1290426 w 1609516"/>
              <a:gd name="csY258" fmla="*/ 343066 h 1538630"/>
              <a:gd name="csX259" fmla="*/ 1285740 w 1609516"/>
              <a:gd name="csY259" fmla="*/ 344123 h 1538630"/>
              <a:gd name="csX260" fmla="*/ 1237314 w 1609516"/>
              <a:gd name="csY260" fmla="*/ 382525 h 1538630"/>
              <a:gd name="csX261" fmla="*/ 1232628 w 1609516"/>
              <a:gd name="csY261" fmla="*/ 392389 h 1538630"/>
              <a:gd name="csX262" fmla="*/ 1228625 w 1609516"/>
              <a:gd name="csY262" fmla="*/ 398731 h 1538630"/>
              <a:gd name="csX263" fmla="*/ 1222822 w 1609516"/>
              <a:gd name="csY263" fmla="*/ 434798 h 1538630"/>
              <a:gd name="csX264" fmla="*/ 1260746 w 1609516"/>
              <a:gd name="csY264" fmla="*/ 485398 h 1538630"/>
              <a:gd name="csX265" fmla="*/ 1268556 w 1609516"/>
              <a:gd name="csY265" fmla="*/ 488216 h 1538630"/>
              <a:gd name="csX266" fmla="*/ 1268556 w 1609516"/>
              <a:gd name="csY266" fmla="*/ 491034 h 1538630"/>
              <a:gd name="csX267" fmla="*/ 1338852 w 1609516"/>
              <a:gd name="csY267" fmla="*/ 489625 h 1538630"/>
              <a:gd name="csX268" fmla="*/ 1347444 w 1609516"/>
              <a:gd name="csY268" fmla="*/ 488480 h 1538630"/>
              <a:gd name="csX269" fmla="*/ 1369362 w 1609516"/>
              <a:gd name="csY269" fmla="*/ 482513 h 1538630"/>
              <a:gd name="csX270" fmla="*/ 1388840 w 1609516"/>
              <a:gd name="csY270" fmla="*/ 478351 h 1538630"/>
              <a:gd name="csX271" fmla="*/ 1388840 w 1609516"/>
              <a:gd name="csY271" fmla="*/ 475533 h 1538630"/>
              <a:gd name="csX272" fmla="*/ 1395576 w 1609516"/>
              <a:gd name="csY272" fmla="*/ 473419 h 1538630"/>
              <a:gd name="csX273" fmla="*/ 1399365 w 1609516"/>
              <a:gd name="csY273" fmla="*/ 472230 h 1538630"/>
              <a:gd name="csX274" fmla="*/ 1407585 w 1609516"/>
              <a:gd name="csY274" fmla="*/ 471305 h 1538630"/>
              <a:gd name="csX275" fmla="*/ 1409147 w 1609516"/>
              <a:gd name="csY275" fmla="*/ 467078 h 1538630"/>
              <a:gd name="csX276" fmla="*/ 1416470 w 1609516"/>
              <a:gd name="csY276" fmla="*/ 464259 h 1538630"/>
              <a:gd name="csX277" fmla="*/ 1437949 w 1609516"/>
              <a:gd name="csY277" fmla="*/ 455011 h 1538630"/>
              <a:gd name="csX278" fmla="*/ 1452887 w 1609516"/>
              <a:gd name="csY278" fmla="*/ 450167 h 1538630"/>
              <a:gd name="csX279" fmla="*/ 1452887 w 1609516"/>
              <a:gd name="csY279" fmla="*/ 447349 h 1538630"/>
              <a:gd name="csX280" fmla="*/ 1455394 w 1609516"/>
              <a:gd name="csY280" fmla="*/ 446122 h 1538630"/>
              <a:gd name="csX281" fmla="*/ 1466653 w 1609516"/>
              <a:gd name="csY281" fmla="*/ 440567 h 1538630"/>
              <a:gd name="csX282" fmla="*/ 1470598 w 1609516"/>
              <a:gd name="csY282" fmla="*/ 438637 h 1538630"/>
              <a:gd name="csX283" fmla="*/ 1474397 w 1609516"/>
              <a:gd name="csY283" fmla="*/ 436752 h 1538630"/>
              <a:gd name="csX284" fmla="*/ 1477892 w 1609516"/>
              <a:gd name="csY284" fmla="*/ 435030 h 1538630"/>
              <a:gd name="csX285" fmla="*/ 1485691 w 1609516"/>
              <a:gd name="csY285" fmla="*/ 429029 h 1538630"/>
              <a:gd name="csX286" fmla="*/ 1488858 w 1609516"/>
              <a:gd name="csY286" fmla="*/ 427653 h 1538630"/>
              <a:gd name="csX287" fmla="*/ 1495943 w 1609516"/>
              <a:gd name="csY287" fmla="*/ 421454 h 1538630"/>
              <a:gd name="csX288" fmla="*/ 1538608 w 1609516"/>
              <a:gd name="csY288" fmla="*/ 388338 h 1538630"/>
              <a:gd name="csX289" fmla="*/ 1543490 w 1609516"/>
              <a:gd name="csY289" fmla="*/ 388161 h 1538630"/>
              <a:gd name="csX290" fmla="*/ 1547621 w 1609516"/>
              <a:gd name="csY290" fmla="*/ 387804 h 1538630"/>
              <a:gd name="csX291" fmla="*/ 1579418 w 1609516"/>
              <a:gd name="csY291" fmla="*/ 396617 h 1538630"/>
              <a:gd name="csX292" fmla="*/ 1583342 w 1609516"/>
              <a:gd name="csY292" fmla="*/ 398780 h 1538630"/>
              <a:gd name="csX293" fmla="*/ 1601288 w 1609516"/>
              <a:gd name="csY293" fmla="*/ 423392 h 1538630"/>
              <a:gd name="csX294" fmla="*/ 1594484 w 1609516"/>
              <a:gd name="csY294" fmla="*/ 460159 h 1538630"/>
              <a:gd name="csX295" fmla="*/ 1574732 w 1609516"/>
              <a:gd name="csY295" fmla="*/ 475533 h 1538630"/>
              <a:gd name="csX296" fmla="*/ 1572097 w 1609516"/>
              <a:gd name="csY296" fmla="*/ 477078 h 1538630"/>
              <a:gd name="csX297" fmla="*/ 1556066 w 1609516"/>
              <a:gd name="csY297" fmla="*/ 478737 h 1538630"/>
              <a:gd name="csX298" fmla="*/ 1548631 w 1609516"/>
              <a:gd name="csY298" fmla="*/ 478825 h 1538630"/>
              <a:gd name="csX299" fmla="*/ 1536991 w 1609516"/>
              <a:gd name="csY299" fmla="*/ 478889 h 1538630"/>
              <a:gd name="csX300" fmla="*/ 1498188 w 1609516"/>
              <a:gd name="csY300" fmla="*/ 485398 h 1538630"/>
              <a:gd name="csX301" fmla="*/ 1493892 w 1609516"/>
              <a:gd name="csY301" fmla="*/ 487600 h 1538630"/>
              <a:gd name="csX302" fmla="*/ 1490377 w 1609516"/>
              <a:gd name="csY302" fmla="*/ 489625 h 1538630"/>
              <a:gd name="csX303" fmla="*/ 1471650 w 1609516"/>
              <a:gd name="csY303" fmla="*/ 498185 h 1538630"/>
              <a:gd name="csX304" fmla="*/ 1459135 w 1609516"/>
              <a:gd name="csY304" fmla="*/ 505127 h 1538630"/>
              <a:gd name="csX305" fmla="*/ 1452594 w 1609516"/>
              <a:gd name="csY305" fmla="*/ 508033 h 1538630"/>
              <a:gd name="csX306" fmla="*/ 1427795 w 1609516"/>
              <a:gd name="csY306" fmla="*/ 520100 h 1538630"/>
              <a:gd name="csX307" fmla="*/ 1423733 w 1609516"/>
              <a:gd name="csY307" fmla="*/ 522148 h 1538630"/>
              <a:gd name="csX308" fmla="*/ 1419929 w 1609516"/>
              <a:gd name="csY308" fmla="*/ 524118 h 1538630"/>
              <a:gd name="csX309" fmla="*/ 1416487 w 1609516"/>
              <a:gd name="csY309" fmla="*/ 525883 h 1538630"/>
              <a:gd name="csX310" fmla="*/ 1412271 w 1609516"/>
              <a:gd name="csY310" fmla="*/ 531902 h 1538630"/>
              <a:gd name="csX311" fmla="*/ 1396650 w 1609516"/>
              <a:gd name="csY311" fmla="*/ 537539 h 1538630"/>
              <a:gd name="csX312" fmla="*/ 1396650 w 1609516"/>
              <a:gd name="csY312" fmla="*/ 540357 h 1538630"/>
              <a:gd name="csX313" fmla="*/ 1393495 w 1609516"/>
              <a:gd name="csY313" fmla="*/ 541502 h 1538630"/>
              <a:gd name="csX314" fmla="*/ 1362284 w 1609516"/>
              <a:gd name="csY314" fmla="*/ 558678 h 1538630"/>
              <a:gd name="csX315" fmla="*/ 1355937 w 1609516"/>
              <a:gd name="csY315" fmla="*/ 562905 h 1538630"/>
              <a:gd name="csX316" fmla="*/ 1334165 w 1609516"/>
              <a:gd name="csY316" fmla="*/ 578406 h 1538630"/>
              <a:gd name="csX317" fmla="*/ 1331200 w 1609516"/>
              <a:gd name="csY317" fmla="*/ 580559 h 1538630"/>
              <a:gd name="csX318" fmla="*/ 1322175 w 1609516"/>
              <a:gd name="csY318" fmla="*/ 596793 h 1538630"/>
              <a:gd name="csX319" fmla="*/ 1320106 w 1609516"/>
              <a:gd name="csY319" fmla="*/ 602363 h 1538630"/>
              <a:gd name="csX320" fmla="*/ 1328015 w 1609516"/>
              <a:gd name="csY320" fmla="*/ 647640 h 1538630"/>
              <a:gd name="csX321" fmla="*/ 1332604 w 1609516"/>
              <a:gd name="csY321" fmla="*/ 675643 h 1538630"/>
              <a:gd name="csX322" fmla="*/ 1335727 w 1609516"/>
              <a:gd name="csY322" fmla="*/ 675643 h 1538630"/>
              <a:gd name="csX323" fmla="*/ 1337741 w 1609516"/>
              <a:gd name="csY323" fmla="*/ 690059 h 1538630"/>
              <a:gd name="csX324" fmla="*/ 1338003 w 1609516"/>
              <a:gd name="csY324" fmla="*/ 696222 h 1538630"/>
              <a:gd name="csX325" fmla="*/ 1338340 w 1609516"/>
              <a:gd name="csY325" fmla="*/ 705887 h 1538630"/>
              <a:gd name="csX326" fmla="*/ 1345277 w 1609516"/>
              <a:gd name="csY326" fmla="*/ 733245 h 1538630"/>
              <a:gd name="csX327" fmla="*/ 1363162 w 1609516"/>
              <a:gd name="csY327" fmla="*/ 741612 h 1538630"/>
              <a:gd name="csX328" fmla="*/ 1384154 w 1609516"/>
              <a:gd name="csY328" fmla="*/ 748922 h 1538630"/>
              <a:gd name="csX329" fmla="*/ 1391476 w 1609516"/>
              <a:gd name="csY329" fmla="*/ 750419 h 1538630"/>
              <a:gd name="csX330" fmla="*/ 1395564 w 1609516"/>
              <a:gd name="csY330" fmla="*/ 751080 h 1538630"/>
              <a:gd name="csX331" fmla="*/ 1399775 w 1609516"/>
              <a:gd name="csY331" fmla="*/ 751740 h 1538630"/>
              <a:gd name="csX332" fmla="*/ 1403887 w 1609516"/>
              <a:gd name="csY332" fmla="*/ 752489 h 1538630"/>
              <a:gd name="csX333" fmla="*/ 1465383 w 1609516"/>
              <a:gd name="csY333" fmla="*/ 755969 h 1538630"/>
              <a:gd name="csX334" fmla="*/ 1470339 w 1609516"/>
              <a:gd name="csY334" fmla="*/ 755897 h 1538630"/>
              <a:gd name="csX335" fmla="*/ 1496809 w 1609516"/>
              <a:gd name="csY335" fmla="*/ 749313 h 1538630"/>
              <a:gd name="csX336" fmla="*/ 1515371 w 1609516"/>
              <a:gd name="csY336" fmla="*/ 743285 h 1538630"/>
              <a:gd name="csX337" fmla="*/ 1515371 w 1609516"/>
              <a:gd name="csY337" fmla="*/ 740467 h 1538630"/>
              <a:gd name="csX338" fmla="*/ 1537632 w 1609516"/>
              <a:gd name="csY338" fmla="*/ 737120 h 1538630"/>
              <a:gd name="csX339" fmla="*/ 1541657 w 1609516"/>
              <a:gd name="csY339" fmla="*/ 737127 h 1538630"/>
              <a:gd name="csX340" fmla="*/ 1574732 w 1609516"/>
              <a:gd name="csY340" fmla="*/ 748922 h 1538630"/>
              <a:gd name="csX341" fmla="*/ 1588791 w 1609516"/>
              <a:gd name="csY341" fmla="*/ 792608 h 1538630"/>
              <a:gd name="csX342" fmla="*/ 1584105 w 1609516"/>
              <a:gd name="csY342" fmla="*/ 805291 h 1538630"/>
              <a:gd name="csX343" fmla="*/ 1580981 w 1609516"/>
              <a:gd name="csY343" fmla="*/ 806700 h 1538630"/>
              <a:gd name="csX344" fmla="*/ 1578735 w 1609516"/>
              <a:gd name="csY344" fmla="*/ 810311 h 1538630"/>
              <a:gd name="csX345" fmla="*/ 1576295 w 1609516"/>
              <a:gd name="csY345" fmla="*/ 813746 h 1538630"/>
              <a:gd name="csX346" fmla="*/ 1571652 w 1609516"/>
              <a:gd name="csY346" fmla="*/ 813746 h 1538630"/>
              <a:gd name="csX347" fmla="*/ 1571785 w 1609516"/>
              <a:gd name="csY347" fmla="*/ 814106 h 1538630"/>
              <a:gd name="csX348" fmla="*/ 1574909 w 1609516"/>
              <a:gd name="csY348" fmla="*/ 815515 h 1538630"/>
              <a:gd name="csX349" fmla="*/ 1565463 w 1609516"/>
              <a:gd name="csY349" fmla="*/ 821839 h 1538630"/>
              <a:gd name="csX350" fmla="*/ 1562085 w 1609516"/>
              <a:gd name="csY350" fmla="*/ 822101 h 1538630"/>
              <a:gd name="csX351" fmla="*/ 1551301 w 1609516"/>
              <a:gd name="csY351" fmla="*/ 825020 h 1538630"/>
              <a:gd name="csX352" fmla="*/ 1551301 w 1609516"/>
              <a:gd name="csY352" fmla="*/ 827838 h 1538630"/>
              <a:gd name="csX353" fmla="*/ 1485380 w 1609516"/>
              <a:gd name="csY353" fmla="*/ 815007 h 1538630"/>
              <a:gd name="csX354" fmla="*/ 1431603 w 1609516"/>
              <a:gd name="csY354" fmla="*/ 808726 h 1538630"/>
              <a:gd name="csX355" fmla="*/ 1424140 w 1609516"/>
              <a:gd name="csY355" fmla="*/ 808542 h 1538630"/>
              <a:gd name="csX356" fmla="*/ 1406023 w 1609516"/>
              <a:gd name="csY356" fmla="*/ 808109 h 1538630"/>
              <a:gd name="csX357" fmla="*/ 1406023 w 1609516"/>
              <a:gd name="csY357" fmla="*/ 810928 h 1538630"/>
              <a:gd name="csX358" fmla="*/ 1403383 w 1609516"/>
              <a:gd name="csY358" fmla="*/ 811311 h 1538630"/>
              <a:gd name="csX359" fmla="*/ 1345442 w 1609516"/>
              <a:gd name="csY359" fmla="*/ 828907 h 1538630"/>
              <a:gd name="csX360" fmla="*/ 1337875 w 1609516"/>
              <a:gd name="csY360" fmla="*/ 856639 h 1538630"/>
              <a:gd name="csX361" fmla="*/ 1337692 w 1609516"/>
              <a:gd name="csY361" fmla="*/ 860171 h 1538630"/>
              <a:gd name="csX362" fmla="*/ 1337290 w 1609516"/>
              <a:gd name="csY362" fmla="*/ 868706 h 1538630"/>
              <a:gd name="csX363" fmla="*/ 1334165 w 1609516"/>
              <a:gd name="csY363" fmla="*/ 868706 h 1538630"/>
              <a:gd name="csX364" fmla="*/ 1334165 w 1609516"/>
              <a:gd name="csY364" fmla="*/ 870034 h 1538630"/>
              <a:gd name="csX365" fmla="*/ 1334237 w 1609516"/>
              <a:gd name="csY365" fmla="*/ 869093 h 1538630"/>
              <a:gd name="csX366" fmla="*/ 1335800 w 1609516"/>
              <a:gd name="csY366" fmla="*/ 869093 h 1538630"/>
              <a:gd name="csX367" fmla="*/ 1335995 w 1609516"/>
              <a:gd name="csY367" fmla="*/ 876491 h 1538630"/>
              <a:gd name="csX368" fmla="*/ 1336105 w 1609516"/>
              <a:gd name="csY368" fmla="*/ 880653 h 1538630"/>
              <a:gd name="csX369" fmla="*/ 1334294 w 1609516"/>
              <a:gd name="csY369" fmla="*/ 887271 h 1538630"/>
              <a:gd name="csX370" fmla="*/ 1331455 w 1609516"/>
              <a:gd name="csY370" fmla="*/ 896440 h 1538630"/>
              <a:gd name="csX371" fmla="*/ 1330887 w 1609516"/>
              <a:gd name="csY371" fmla="*/ 899969 h 1538630"/>
              <a:gd name="csX372" fmla="*/ 1330332 w 1609516"/>
              <a:gd name="csY372" fmla="*/ 903618 h 1538630"/>
              <a:gd name="csX373" fmla="*/ 1329209 w 1609516"/>
              <a:gd name="csY373" fmla="*/ 910797 h 1538630"/>
              <a:gd name="csX374" fmla="*/ 1328724 w 1609516"/>
              <a:gd name="csY374" fmla="*/ 913998 h 1538630"/>
              <a:gd name="csX375" fmla="*/ 1324865 w 1609516"/>
              <a:gd name="csY375" fmla="*/ 922643 h 1538630"/>
              <a:gd name="csX376" fmla="*/ 1322619 w 1609516"/>
              <a:gd name="csY376" fmla="*/ 937979 h 1538630"/>
              <a:gd name="csX377" fmla="*/ 1318744 w 1609516"/>
              <a:gd name="csY377" fmla="*/ 944961 h 1538630"/>
              <a:gd name="csX378" fmla="*/ 1318544 w 1609516"/>
              <a:gd name="csY378" fmla="*/ 946213 h 1538630"/>
              <a:gd name="csX379" fmla="*/ 1318251 w 1609516"/>
              <a:gd name="csY379" fmla="*/ 955285 h 1538630"/>
              <a:gd name="csX380" fmla="*/ 1318184 w 1609516"/>
              <a:gd name="csY380" fmla="*/ 960036 h 1538630"/>
              <a:gd name="csX381" fmla="*/ 1324024 w 1609516"/>
              <a:gd name="csY381" fmla="*/ 973660 h 1538630"/>
              <a:gd name="csX382" fmla="*/ 1329284 w 1609516"/>
              <a:gd name="csY382" fmla="*/ 983382 h 1538630"/>
              <a:gd name="csX383" fmla="*/ 1340414 w 1609516"/>
              <a:gd name="csY383" fmla="*/ 998354 h 1538630"/>
              <a:gd name="csX384" fmla="*/ 1346272 w 1609516"/>
              <a:gd name="csY384" fmla="*/ 1005048 h 1538630"/>
              <a:gd name="csX385" fmla="*/ 1394716 w 1609516"/>
              <a:gd name="csY385" fmla="*/ 1042740 h 1538630"/>
              <a:gd name="csX386" fmla="*/ 1401953 w 1609516"/>
              <a:gd name="csY386" fmla="*/ 1047374 h 1538630"/>
              <a:gd name="csX387" fmla="*/ 1427197 w 1609516"/>
              <a:gd name="csY387" fmla="*/ 1059061 h 1538630"/>
              <a:gd name="csX388" fmla="*/ 1437265 w 1609516"/>
              <a:gd name="csY388" fmla="*/ 1064588 h 1538630"/>
              <a:gd name="csX389" fmla="*/ 1437265 w 1609516"/>
              <a:gd name="csY389" fmla="*/ 1067406 h 1538630"/>
              <a:gd name="csX390" fmla="*/ 1440878 w 1609516"/>
              <a:gd name="csY390" fmla="*/ 1067847 h 1538630"/>
              <a:gd name="csX391" fmla="*/ 1447175 w 1609516"/>
              <a:gd name="csY391" fmla="*/ 1070753 h 1538630"/>
              <a:gd name="csX392" fmla="*/ 1457866 w 1609516"/>
              <a:gd name="csY392" fmla="*/ 1076830 h 1538630"/>
              <a:gd name="csX393" fmla="*/ 1462132 w 1609516"/>
              <a:gd name="csY393" fmla="*/ 1078696 h 1538630"/>
              <a:gd name="csX394" fmla="*/ 1465383 w 1609516"/>
              <a:gd name="csY394" fmla="*/ 1080089 h 1538630"/>
              <a:gd name="csX395" fmla="*/ 1465383 w 1609516"/>
              <a:gd name="csY395" fmla="*/ 1082908 h 1538630"/>
              <a:gd name="csX396" fmla="*/ 1468758 w 1609516"/>
              <a:gd name="csY396" fmla="*/ 1083975 h 1538630"/>
              <a:gd name="csX397" fmla="*/ 1481688 w 1609516"/>
              <a:gd name="csY397" fmla="*/ 1091187 h 1538630"/>
              <a:gd name="csX398" fmla="*/ 1486283 w 1609516"/>
              <a:gd name="csY398" fmla="*/ 1094236 h 1538630"/>
              <a:gd name="csX399" fmla="*/ 1494869 w 1609516"/>
              <a:gd name="csY399" fmla="*/ 1100171 h 1538630"/>
              <a:gd name="csX400" fmla="*/ 1544335 w 1609516"/>
              <a:gd name="csY400" fmla="*/ 1109518 h 1538630"/>
              <a:gd name="csX401" fmla="*/ 1593477 w 1609516"/>
              <a:gd name="csY401" fmla="*/ 1119900 h 1538630"/>
              <a:gd name="csX402" fmla="*/ 1605975 w 1609516"/>
              <a:gd name="csY402" fmla="*/ 1144913 h 1538630"/>
              <a:gd name="csX403" fmla="*/ 1609099 w 1609516"/>
              <a:gd name="csY403" fmla="*/ 1144913 h 1538630"/>
              <a:gd name="csX404" fmla="*/ 1609392 w 1609516"/>
              <a:gd name="csY404" fmla="*/ 1156892 h 1538630"/>
              <a:gd name="csX405" fmla="*/ 1609511 w 1609516"/>
              <a:gd name="csY405" fmla="*/ 1160272 h 1538630"/>
              <a:gd name="csX406" fmla="*/ 1604412 w 1609516"/>
              <a:gd name="csY406" fmla="*/ 1181553 h 1538630"/>
              <a:gd name="csX407" fmla="*/ 1601288 w 1609516"/>
              <a:gd name="csY407" fmla="*/ 1190009 h 1538630"/>
              <a:gd name="csX408" fmla="*/ 1598164 w 1609516"/>
              <a:gd name="csY408" fmla="*/ 1190009 h 1538630"/>
              <a:gd name="csX409" fmla="*/ 1597187 w 1609516"/>
              <a:gd name="csY409" fmla="*/ 1192739 h 1538630"/>
              <a:gd name="csX410" fmla="*/ 1595040 w 1609516"/>
              <a:gd name="csY410" fmla="*/ 1195645 h 1538630"/>
              <a:gd name="csX411" fmla="*/ 1585667 w 1609516"/>
              <a:gd name="csY411" fmla="*/ 1197055 h 1538630"/>
              <a:gd name="csX412" fmla="*/ 1582543 w 1609516"/>
              <a:gd name="csY412" fmla="*/ 1202691 h 1538630"/>
              <a:gd name="csX413" fmla="*/ 1562431 w 1609516"/>
              <a:gd name="csY413" fmla="*/ 1204365 h 1538630"/>
              <a:gd name="csX414" fmla="*/ 1558690 w 1609516"/>
              <a:gd name="csY414" fmla="*/ 1204417 h 1538630"/>
              <a:gd name="csX415" fmla="*/ 1521102 w 1609516"/>
              <a:gd name="csY415" fmla="*/ 1189585 h 1538630"/>
              <a:gd name="csX416" fmla="*/ 1505022 w 1609516"/>
              <a:gd name="csY416" fmla="*/ 1172041 h 1538630"/>
              <a:gd name="csX417" fmla="*/ 1457573 w 1609516"/>
              <a:gd name="csY417" fmla="*/ 1140686 h 1538630"/>
              <a:gd name="csX418" fmla="*/ 1457573 w 1609516"/>
              <a:gd name="csY418" fmla="*/ 1137867 h 1538630"/>
              <a:gd name="csX419" fmla="*/ 1452985 w 1609516"/>
              <a:gd name="csY419" fmla="*/ 1137339 h 1538630"/>
              <a:gd name="csX420" fmla="*/ 1448200 w 1609516"/>
              <a:gd name="csY420" fmla="*/ 1136458 h 1538630"/>
              <a:gd name="csX421" fmla="*/ 1446638 w 1609516"/>
              <a:gd name="csY421" fmla="*/ 1133640 h 1538630"/>
              <a:gd name="csX422" fmla="*/ 1438937 w 1609516"/>
              <a:gd name="csY422" fmla="*/ 1130601 h 1538630"/>
              <a:gd name="csX423" fmla="*/ 1429260 w 1609516"/>
              <a:gd name="csY423" fmla="*/ 1126770 h 1538630"/>
              <a:gd name="csX424" fmla="*/ 1411393 w 1609516"/>
              <a:gd name="csY424" fmla="*/ 1120340 h 1538630"/>
              <a:gd name="csX425" fmla="*/ 1391427 w 1609516"/>
              <a:gd name="csY425" fmla="*/ 1111191 h 1538630"/>
              <a:gd name="csX426" fmla="*/ 1381029 w 1609516"/>
              <a:gd name="csY426" fmla="*/ 1106865 h 1538630"/>
              <a:gd name="csX427" fmla="*/ 1381029 w 1609516"/>
              <a:gd name="csY427" fmla="*/ 1104046 h 1538630"/>
              <a:gd name="csX428" fmla="*/ 1377221 w 1609516"/>
              <a:gd name="csY428" fmla="*/ 1103605 h 1538630"/>
              <a:gd name="csX429" fmla="*/ 1357597 w 1609516"/>
              <a:gd name="csY429" fmla="*/ 1098409 h 1538630"/>
              <a:gd name="csX430" fmla="*/ 1352032 w 1609516"/>
              <a:gd name="csY430" fmla="*/ 1096736 h 1538630"/>
              <a:gd name="csX431" fmla="*/ 1348225 w 1609516"/>
              <a:gd name="csY431" fmla="*/ 1095590 h 1538630"/>
              <a:gd name="csX432" fmla="*/ 1348225 w 1609516"/>
              <a:gd name="csY432" fmla="*/ 1092772 h 1538630"/>
              <a:gd name="csX433" fmla="*/ 1337290 w 1609516"/>
              <a:gd name="csY433" fmla="*/ 1091363 h 1538630"/>
              <a:gd name="csX434" fmla="*/ 1337290 w 1609516"/>
              <a:gd name="csY434" fmla="*/ 1088544 h 1538630"/>
              <a:gd name="csX435" fmla="*/ 1331529 w 1609516"/>
              <a:gd name="csY435" fmla="*/ 1088104 h 1538630"/>
              <a:gd name="csX436" fmla="*/ 1323297 w 1609516"/>
              <a:gd name="csY436" fmla="*/ 1086611 h 1538630"/>
              <a:gd name="csX437" fmla="*/ 1323297 w 1609516"/>
              <a:gd name="csY437" fmla="*/ 1087618 h 1538630"/>
              <a:gd name="csX438" fmla="*/ 1319789 w 1609516"/>
              <a:gd name="csY438" fmla="*/ 1087310 h 1538630"/>
              <a:gd name="csX439" fmla="*/ 1262375 w 1609516"/>
              <a:gd name="csY439" fmla="*/ 1089028 h 1538630"/>
              <a:gd name="csX440" fmla="*/ 1258728 w 1609516"/>
              <a:gd name="csY440" fmla="*/ 1088205 h 1538630"/>
              <a:gd name="csX441" fmla="*/ 1246964 w 1609516"/>
              <a:gd name="csY441" fmla="*/ 1091489 h 1538630"/>
              <a:gd name="csX442" fmla="*/ 1223224 w 1609516"/>
              <a:gd name="csY442" fmla="*/ 1112865 h 1538630"/>
              <a:gd name="csX443" fmla="*/ 1213883 w 1609516"/>
              <a:gd name="csY443" fmla="*/ 1122366 h 1538630"/>
              <a:gd name="csX444" fmla="*/ 1212505 w 1609516"/>
              <a:gd name="csY444" fmla="*/ 1125708 h 1538630"/>
              <a:gd name="csX445" fmla="*/ 1204180 w 1609516"/>
              <a:gd name="csY445" fmla="*/ 1135561 h 1538630"/>
              <a:gd name="csX446" fmla="*/ 1200238 w 1609516"/>
              <a:gd name="csY446" fmla="*/ 1138999 h 1538630"/>
              <a:gd name="csX447" fmla="*/ 1192025 w 1609516"/>
              <a:gd name="csY447" fmla="*/ 1146022 h 1538630"/>
              <a:gd name="csX448" fmla="*/ 1173945 w 1609516"/>
              <a:gd name="csY448" fmla="*/ 1174749 h 1538630"/>
              <a:gd name="csX449" fmla="*/ 1173950 w 1609516"/>
              <a:gd name="csY449" fmla="*/ 1182610 h 1538630"/>
              <a:gd name="csX450" fmla="*/ 1173989 w 1609516"/>
              <a:gd name="csY450" fmla="*/ 1186765 h 1538630"/>
              <a:gd name="csX451" fmla="*/ 1182640 w 1609516"/>
              <a:gd name="csY451" fmla="*/ 1215374 h 1538630"/>
              <a:gd name="csX452" fmla="*/ 1185764 w 1609516"/>
              <a:gd name="csY452" fmla="*/ 1221804 h 1538630"/>
              <a:gd name="csX453" fmla="*/ 1187301 w 1609516"/>
              <a:gd name="csY453" fmla="*/ 1224859 h 1538630"/>
              <a:gd name="csX454" fmla="*/ 1190573 w 1609516"/>
              <a:gd name="csY454" fmla="*/ 1231740 h 1538630"/>
              <a:gd name="csX455" fmla="*/ 1205925 w 1609516"/>
              <a:gd name="csY455" fmla="*/ 1255163 h 1538630"/>
              <a:gd name="csX456" fmla="*/ 1212174 w 1609516"/>
              <a:gd name="csY456" fmla="*/ 1263134 h 1538630"/>
              <a:gd name="csX457" fmla="*/ 1235556 w 1609516"/>
              <a:gd name="csY457" fmla="*/ 1282538 h 1538630"/>
              <a:gd name="csX458" fmla="*/ 1238876 w 1609516"/>
              <a:gd name="csY458" fmla="*/ 1284426 h 1538630"/>
              <a:gd name="csX459" fmla="*/ 1238876 w 1609516"/>
              <a:gd name="csY459" fmla="*/ 1287245 h 1538630"/>
              <a:gd name="csX460" fmla="*/ 1242245 w 1609516"/>
              <a:gd name="csY460" fmla="*/ 1287663 h 1538630"/>
              <a:gd name="csX461" fmla="*/ 1271681 w 1609516"/>
              <a:gd name="csY461" fmla="*/ 1305565 h 1538630"/>
              <a:gd name="csX462" fmla="*/ 1271742 w 1609516"/>
              <a:gd name="csY462" fmla="*/ 1306172 h 1538630"/>
              <a:gd name="csX463" fmla="*/ 1278525 w 1609516"/>
              <a:gd name="csY463" fmla="*/ 1315767 h 1538630"/>
              <a:gd name="csX464" fmla="*/ 1281097 w 1609516"/>
              <a:gd name="csY464" fmla="*/ 1327286 h 1538630"/>
              <a:gd name="csX465" fmla="*/ 1277973 w 1609516"/>
              <a:gd name="csY465" fmla="*/ 1355470 h 1538630"/>
              <a:gd name="csX466" fmla="*/ 1277460 w 1609516"/>
              <a:gd name="csY466" fmla="*/ 1347025 h 1538630"/>
              <a:gd name="csX467" fmla="*/ 1273531 w 1609516"/>
              <a:gd name="csY467" fmla="*/ 1357991 h 1538630"/>
              <a:gd name="csX468" fmla="*/ 1263870 w 1609516"/>
              <a:gd name="csY468" fmla="*/ 1368980 h 1538630"/>
              <a:gd name="csX469" fmla="*/ 1246686 w 1609516"/>
              <a:gd name="csY469" fmla="*/ 1376026 h 1538630"/>
              <a:gd name="csX470" fmla="*/ 1246686 w 1609516"/>
              <a:gd name="csY470" fmla="*/ 1378844 h 1538630"/>
              <a:gd name="csX471" fmla="*/ 1231651 w 1609516"/>
              <a:gd name="csY471" fmla="*/ 1379196 h 1538630"/>
              <a:gd name="csX472" fmla="*/ 1227373 w 1609516"/>
              <a:gd name="csY472" fmla="*/ 1379340 h 1538630"/>
              <a:gd name="csX473" fmla="*/ 1206071 w 1609516"/>
              <a:gd name="csY473" fmla="*/ 1373207 h 1538630"/>
              <a:gd name="csX474" fmla="*/ 1202069 w 1609516"/>
              <a:gd name="csY474" fmla="*/ 1371798 h 1538630"/>
              <a:gd name="csX475" fmla="*/ 1184104 w 1609516"/>
              <a:gd name="csY475" fmla="*/ 1356176 h 1538630"/>
              <a:gd name="csX476" fmla="*/ 1177270 w 1609516"/>
              <a:gd name="csY476" fmla="*/ 1335247 h 1538630"/>
              <a:gd name="csX477" fmla="*/ 1169002 w 1609516"/>
              <a:gd name="csY477" fmla="*/ 1313464 h 1538630"/>
              <a:gd name="csX478" fmla="*/ 1163504 w 1609516"/>
              <a:gd name="csY478" fmla="*/ 1302130 h 1538630"/>
              <a:gd name="csX479" fmla="*/ 1162015 w 1609516"/>
              <a:gd name="csY479" fmla="*/ 1298788 h 1538630"/>
              <a:gd name="csX480" fmla="*/ 1160111 w 1609516"/>
              <a:gd name="csY480" fmla="*/ 1292656 h 1538630"/>
              <a:gd name="csX481" fmla="*/ 1154522 w 1609516"/>
              <a:gd name="csY481" fmla="*/ 1287245 h 1538630"/>
              <a:gd name="csX482" fmla="*/ 1151398 w 1609516"/>
              <a:gd name="csY482" fmla="*/ 1280199 h 1538630"/>
              <a:gd name="csX483" fmla="*/ 1144173 w 1609516"/>
              <a:gd name="csY483" fmla="*/ 1270774 h 1538630"/>
              <a:gd name="csX484" fmla="*/ 1142065 w 1609516"/>
              <a:gd name="csY484" fmla="*/ 1268160 h 1538630"/>
              <a:gd name="csX485" fmla="*/ 1135776 w 1609516"/>
              <a:gd name="csY485" fmla="*/ 1260470 h 1538630"/>
              <a:gd name="csX486" fmla="*/ 1132353 w 1609516"/>
              <a:gd name="csY486" fmla="*/ 1256247 h 1538630"/>
              <a:gd name="csX487" fmla="*/ 1112344 w 1609516"/>
              <a:gd name="csY487" fmla="*/ 1240741 h 1538630"/>
              <a:gd name="csX488" fmla="*/ 1106193 w 1609516"/>
              <a:gd name="csY488" fmla="*/ 1237570 h 1538630"/>
              <a:gd name="csX489" fmla="*/ 1101409 w 1609516"/>
              <a:gd name="csY489" fmla="*/ 1235104 h 1538630"/>
              <a:gd name="csX490" fmla="*/ 1101409 w 1609516"/>
              <a:gd name="csY490" fmla="*/ 1230876 h 1538630"/>
              <a:gd name="csX491" fmla="*/ 1065480 w 1609516"/>
              <a:gd name="csY491" fmla="*/ 1230876 h 1538630"/>
              <a:gd name="csX492" fmla="*/ 1063919 w 1609516"/>
              <a:gd name="csY492" fmla="*/ 1235104 h 1538630"/>
              <a:gd name="csX493" fmla="*/ 1059232 w 1609516"/>
              <a:gd name="csY493" fmla="*/ 1235104 h 1538630"/>
              <a:gd name="csX494" fmla="*/ 1059232 w 1609516"/>
              <a:gd name="csY494" fmla="*/ 1237922 h 1538630"/>
              <a:gd name="csX495" fmla="*/ 1040194 w 1609516"/>
              <a:gd name="csY495" fmla="*/ 1245761 h 1538630"/>
              <a:gd name="csX496" fmla="*/ 1030333 w 1609516"/>
              <a:gd name="csY496" fmla="*/ 1249901 h 1538630"/>
              <a:gd name="csX497" fmla="*/ 1013931 w 1609516"/>
              <a:gd name="csY497" fmla="*/ 1256242 h 1538630"/>
              <a:gd name="csX498" fmla="*/ 1005925 w 1609516"/>
              <a:gd name="csY498" fmla="*/ 1261615 h 1538630"/>
              <a:gd name="csX499" fmla="*/ 1004558 w 1609516"/>
              <a:gd name="csY499" fmla="*/ 1264697 h 1538630"/>
              <a:gd name="csX500" fmla="*/ 1002959 w 1609516"/>
              <a:gd name="csY500" fmla="*/ 1267961 h 1538630"/>
              <a:gd name="csX501" fmla="*/ 1000653 w 1609516"/>
              <a:gd name="csY501" fmla="*/ 1278965 h 1538630"/>
              <a:gd name="csX502" fmla="*/ 998297 w 1609516"/>
              <a:gd name="csY502" fmla="*/ 1294137 h 1538630"/>
              <a:gd name="csX503" fmla="*/ 996162 w 1609516"/>
              <a:gd name="csY503" fmla="*/ 1324765 h 1538630"/>
              <a:gd name="csX504" fmla="*/ 996164 w 1609516"/>
              <a:gd name="csY504" fmla="*/ 1327846 h 1538630"/>
              <a:gd name="csX505" fmla="*/ 1007780 w 1609516"/>
              <a:gd name="csY505" fmla="*/ 1403329 h 1538630"/>
              <a:gd name="csX506" fmla="*/ 1008940 w 1609516"/>
              <a:gd name="csY506" fmla="*/ 1407701 h 1538630"/>
              <a:gd name="csX507" fmla="*/ 1010080 w 1609516"/>
              <a:gd name="csY507" fmla="*/ 1411730 h 1538630"/>
              <a:gd name="csX508" fmla="*/ 1011075 w 1609516"/>
              <a:gd name="csY508" fmla="*/ 1415277 h 1538630"/>
              <a:gd name="csX509" fmla="*/ 1017055 w 1609516"/>
              <a:gd name="csY509" fmla="*/ 1422530 h 1538630"/>
              <a:gd name="csX510" fmla="*/ 1020277 w 1609516"/>
              <a:gd name="csY510" fmla="*/ 1427991 h 1538630"/>
              <a:gd name="csX511" fmla="*/ 1021796 w 1609516"/>
              <a:gd name="csY511" fmla="*/ 1430798 h 1538630"/>
              <a:gd name="csX512" fmla="*/ 1024579 w 1609516"/>
              <a:gd name="csY512" fmla="*/ 1437239 h 1538630"/>
              <a:gd name="csX513" fmla="*/ 1034043 w 1609516"/>
              <a:gd name="csY513" fmla="*/ 1448072 h 1538630"/>
              <a:gd name="csX514" fmla="*/ 1043782 w 1609516"/>
              <a:gd name="csY514" fmla="*/ 1464320 h 1538630"/>
              <a:gd name="csX515" fmla="*/ 1050458 w 1609516"/>
              <a:gd name="csY515" fmla="*/ 1472189 h 1538630"/>
              <a:gd name="csX516" fmla="*/ 1052926 w 1609516"/>
              <a:gd name="csY516" fmla="*/ 1482370 h 1538630"/>
              <a:gd name="csX517" fmla="*/ 1053316 w 1609516"/>
              <a:gd name="csY517" fmla="*/ 1496903 h 1538630"/>
              <a:gd name="csX518" fmla="*/ 1053352 w 1609516"/>
              <a:gd name="csY518" fmla="*/ 1500660 h 1538630"/>
              <a:gd name="csX519" fmla="*/ 1053341 w 1609516"/>
              <a:gd name="csY519" fmla="*/ 1504285 h 1538630"/>
              <a:gd name="csX520" fmla="*/ 1053329 w 1609516"/>
              <a:gd name="csY520" fmla="*/ 1507529 h 1538630"/>
              <a:gd name="csX521" fmla="*/ 1049801 w 1609516"/>
              <a:gd name="csY521" fmla="*/ 1516192 h 1538630"/>
              <a:gd name="csX522" fmla="*/ 1047312 w 1609516"/>
              <a:gd name="csY522" fmla="*/ 1516192 h 1538630"/>
              <a:gd name="csX523" fmla="*/ 1043611 w 1609516"/>
              <a:gd name="csY523" fmla="*/ 1522585 h 1538630"/>
              <a:gd name="csX524" fmla="*/ 1029552 w 1609516"/>
              <a:gd name="csY524" fmla="*/ 1529631 h 1538630"/>
              <a:gd name="csX525" fmla="*/ 1028771 w 1609516"/>
              <a:gd name="csY525" fmla="*/ 1532273 h 1538630"/>
              <a:gd name="csX526" fmla="*/ 1018013 w 1609516"/>
              <a:gd name="csY526" fmla="*/ 1537640 h 1538630"/>
              <a:gd name="csX527" fmla="*/ 981126 w 1609516"/>
              <a:gd name="csY527" fmla="*/ 1533859 h 1538630"/>
              <a:gd name="csX528" fmla="*/ 977227 w 1609516"/>
              <a:gd name="csY528" fmla="*/ 1531943 h 1538630"/>
              <a:gd name="csX529" fmla="*/ 955376 w 1609516"/>
              <a:gd name="csY529" fmla="*/ 1508751 h 1538630"/>
              <a:gd name="csX530" fmla="*/ 954571 w 1609516"/>
              <a:gd name="csY530" fmla="*/ 1500037 h 1538630"/>
              <a:gd name="csX531" fmla="*/ 951446 w 1609516"/>
              <a:gd name="csY531" fmla="*/ 1500037 h 1538630"/>
              <a:gd name="csX532" fmla="*/ 951251 w 1609516"/>
              <a:gd name="csY532" fmla="*/ 1487883 h 1538630"/>
              <a:gd name="csX533" fmla="*/ 951171 w 1609516"/>
              <a:gd name="csY533" fmla="*/ 1484431 h 1538630"/>
              <a:gd name="csX534" fmla="*/ 954571 w 1609516"/>
              <a:gd name="csY534" fmla="*/ 1466216 h 1538630"/>
              <a:gd name="csX535" fmla="*/ 954961 w 1609516"/>
              <a:gd name="csY535" fmla="*/ 1455118 h 1538630"/>
              <a:gd name="csX536" fmla="*/ 954932 w 1609516"/>
              <a:gd name="csY536" fmla="*/ 1451972 h 1538630"/>
              <a:gd name="csX537" fmla="*/ 945099 w 1609516"/>
              <a:gd name="csY537" fmla="*/ 1403594 h 1538630"/>
              <a:gd name="csX538" fmla="*/ 942366 w 1609516"/>
              <a:gd name="csY538" fmla="*/ 1393553 h 1538630"/>
              <a:gd name="csX539" fmla="*/ 934451 w 1609516"/>
              <a:gd name="csY539" fmla="*/ 1372734 h 1538630"/>
              <a:gd name="csX540" fmla="*/ 931974 w 1609516"/>
              <a:gd name="csY540" fmla="*/ 1365754 h 1538630"/>
              <a:gd name="csX541" fmla="*/ 931138 w 1609516"/>
              <a:gd name="csY541" fmla="*/ 1363343 h 1538630"/>
              <a:gd name="csX542" fmla="*/ 926452 w 1609516"/>
              <a:gd name="csY542" fmla="*/ 1361933 h 1538630"/>
              <a:gd name="csX543" fmla="*/ 918641 w 1609516"/>
              <a:gd name="csY543" fmla="*/ 1340795 h 1538630"/>
              <a:gd name="csX544" fmla="*/ 917079 w 1609516"/>
              <a:gd name="csY544" fmla="*/ 1335158 h 1538630"/>
              <a:gd name="csX545" fmla="*/ 913955 w 1609516"/>
              <a:gd name="csY545" fmla="*/ 1335158 h 1538630"/>
              <a:gd name="csX546" fmla="*/ 912057 w 1609516"/>
              <a:gd name="csY546" fmla="*/ 1330793 h 1538630"/>
              <a:gd name="csX547" fmla="*/ 902142 w 1609516"/>
              <a:gd name="csY547" fmla="*/ 1316222 h 1538630"/>
              <a:gd name="csX548" fmla="*/ 900091 w 1609516"/>
              <a:gd name="csY548" fmla="*/ 1313828 h 1538630"/>
              <a:gd name="csX549" fmla="*/ 878026 w 1609516"/>
              <a:gd name="csY549" fmla="*/ 1295700 h 1538630"/>
              <a:gd name="csX550" fmla="*/ 875134 w 1609516"/>
              <a:gd name="csY550" fmla="*/ 1293465 h 1538630"/>
              <a:gd name="csX551" fmla="*/ 869869 w 1609516"/>
              <a:gd name="csY551" fmla="*/ 1291826 h 1538630"/>
              <a:gd name="csX552" fmla="*/ 862384 w 1609516"/>
              <a:gd name="csY552" fmla="*/ 1291327 h 1538630"/>
              <a:gd name="csX553" fmla="*/ 844390 w 1609516"/>
              <a:gd name="csY553" fmla="*/ 1290461 h 1538630"/>
              <a:gd name="csX554" fmla="*/ 840476 w 1609516"/>
              <a:gd name="csY554" fmla="*/ 1290500 h 1538630"/>
              <a:gd name="csX555" fmla="*/ 831015 w 1609516"/>
              <a:gd name="csY555" fmla="*/ 1290637 h 1538630"/>
              <a:gd name="csX556" fmla="*/ 831015 w 1609516"/>
              <a:gd name="csY556" fmla="*/ 1293456 h 1538630"/>
              <a:gd name="csX557" fmla="*/ 818225 w 1609516"/>
              <a:gd name="csY557" fmla="*/ 1295570 h 1538630"/>
              <a:gd name="csX558" fmla="*/ 796774 w 1609516"/>
              <a:gd name="csY558" fmla="*/ 1297671 h 1538630"/>
              <a:gd name="csX559" fmla="*/ 783646 w 1609516"/>
              <a:gd name="csY559" fmla="*/ 1305736 h 1538630"/>
              <a:gd name="csX560" fmla="*/ 769263 w 1609516"/>
              <a:gd name="csY560" fmla="*/ 1327143 h 1538630"/>
              <a:gd name="csX561" fmla="*/ 764797 w 1609516"/>
              <a:gd name="csY561" fmla="*/ 1334360 h 1538630"/>
              <a:gd name="csX562" fmla="*/ 757875 w 1609516"/>
              <a:gd name="csY562" fmla="*/ 1353503 h 1538630"/>
              <a:gd name="csX563" fmla="*/ 755676 w 1609516"/>
              <a:gd name="csY563" fmla="*/ 1367455 h 1538630"/>
              <a:gd name="csX564" fmla="*/ 750558 w 1609516"/>
              <a:gd name="csY564" fmla="*/ 1399690 h 1538630"/>
              <a:gd name="csX565" fmla="*/ 753057 w 1609516"/>
              <a:gd name="csY565" fmla="*/ 1411256 h 1538630"/>
              <a:gd name="csX566" fmla="*/ 753057 w 1609516"/>
              <a:gd name="csY566" fmla="*/ 1416893 h 1538630"/>
              <a:gd name="csX567" fmla="*/ 756181 w 1609516"/>
              <a:gd name="csY567" fmla="*/ 1416893 h 1538630"/>
              <a:gd name="csX568" fmla="*/ 758133 w 1609516"/>
              <a:gd name="csY568" fmla="*/ 1436182 h 1538630"/>
              <a:gd name="csX569" fmla="*/ 758231 w 1609516"/>
              <a:gd name="csY569" fmla="*/ 1440781 h 1538630"/>
              <a:gd name="csX570" fmla="*/ 750713 w 1609516"/>
              <a:gd name="csY570" fmla="*/ 1465704 h 1538630"/>
              <a:gd name="csX571" fmla="*/ 748370 w 1609516"/>
              <a:gd name="csY571" fmla="*/ 1467185 h 1538630"/>
              <a:gd name="csX572" fmla="*/ 741633 w 1609516"/>
              <a:gd name="csY572" fmla="*/ 1473526 h 1538630"/>
              <a:gd name="csX573" fmla="*/ 728154 w 1609516"/>
              <a:gd name="csY573" fmla="*/ 1478343 h 1538630"/>
              <a:gd name="csX574" fmla="*/ 721814 w 1609516"/>
              <a:gd name="csY574" fmla="*/ 1480308 h 1538630"/>
              <a:gd name="csX575" fmla="*/ 708341 w 1609516"/>
              <a:gd name="csY575" fmla="*/ 1480661 h 1538630"/>
              <a:gd name="csX576" fmla="*/ 704637 w 1609516"/>
              <a:gd name="csY576" fmla="*/ 1480748 h 1538630"/>
              <a:gd name="csX577" fmla="*/ 668507 w 1609516"/>
              <a:gd name="csY577" fmla="*/ 1468418 h 1538630"/>
              <a:gd name="csX578" fmla="*/ 660178 w 1609516"/>
              <a:gd name="csY578" fmla="*/ 1450027 h 1538630"/>
              <a:gd name="csX579" fmla="*/ 657767 w 1609516"/>
              <a:gd name="csY579" fmla="*/ 1445078 h 1538630"/>
              <a:gd name="csX580" fmla="*/ 663369 w 1609516"/>
              <a:gd name="csY580" fmla="*/ 1409390 h 1538630"/>
              <a:gd name="csX581" fmla="*/ 671826 w 1609516"/>
              <a:gd name="csY581" fmla="*/ 1401392 h 1538630"/>
              <a:gd name="csX582" fmla="*/ 678075 w 1609516"/>
              <a:gd name="csY582" fmla="*/ 1390118 h 1538630"/>
              <a:gd name="csX583" fmla="*/ 684323 w 1609516"/>
              <a:gd name="csY583" fmla="*/ 1388709 h 1538630"/>
              <a:gd name="csX584" fmla="*/ 685293 w 1609516"/>
              <a:gd name="csY584" fmla="*/ 1384233 h 1538630"/>
              <a:gd name="csX585" fmla="*/ 686569 w 1609516"/>
              <a:gd name="csY585" fmla="*/ 1378404 h 1538630"/>
              <a:gd name="csX586" fmla="*/ 687207 w 1609516"/>
              <a:gd name="csY586" fmla="*/ 1375456 h 1538630"/>
              <a:gd name="csX587" fmla="*/ 690572 w 1609516"/>
              <a:gd name="csY587" fmla="*/ 1363343 h 1538630"/>
              <a:gd name="csX588" fmla="*/ 692495 w 1609516"/>
              <a:gd name="csY588" fmla="*/ 1323376 h 1538630"/>
              <a:gd name="csX589" fmla="*/ 692625 w 1609516"/>
              <a:gd name="csY589" fmla="*/ 1315006 h 1538630"/>
              <a:gd name="csX590" fmla="*/ 687447 w 1609516"/>
              <a:gd name="csY590" fmla="*/ 1287245 h 1538630"/>
              <a:gd name="csX591" fmla="*/ 682761 w 1609516"/>
              <a:gd name="csY591" fmla="*/ 1285835 h 1538630"/>
              <a:gd name="csX592" fmla="*/ 678954 w 1609516"/>
              <a:gd name="csY592" fmla="*/ 1281608 h 1538630"/>
              <a:gd name="csX593" fmla="*/ 668702 w 1609516"/>
              <a:gd name="csY593" fmla="*/ 1275971 h 1538630"/>
              <a:gd name="csX594" fmla="*/ 662454 w 1609516"/>
              <a:gd name="csY594" fmla="*/ 1270334 h 1538630"/>
              <a:gd name="csX595" fmla="*/ 654643 w 1609516"/>
              <a:gd name="csY595" fmla="*/ 1267516 h 1538630"/>
              <a:gd name="csX596" fmla="*/ 654643 w 1609516"/>
              <a:gd name="csY596" fmla="*/ 1264697 h 1538630"/>
              <a:gd name="csX597" fmla="*/ 650152 w 1609516"/>
              <a:gd name="csY597" fmla="*/ 1264345 h 1538630"/>
              <a:gd name="csX598" fmla="*/ 628087 w 1609516"/>
              <a:gd name="csY598" fmla="*/ 1257651 h 1538630"/>
              <a:gd name="csX599" fmla="*/ 628087 w 1609516"/>
              <a:gd name="csY599" fmla="*/ 1254833 h 1538630"/>
              <a:gd name="csX600" fmla="*/ 625121 w 1609516"/>
              <a:gd name="csY600" fmla="*/ 1254315 h 1538630"/>
              <a:gd name="csX601" fmla="*/ 621252 w 1609516"/>
              <a:gd name="csY601" fmla="*/ 1253600 h 1538630"/>
              <a:gd name="csX602" fmla="*/ 617409 w 1609516"/>
              <a:gd name="csY602" fmla="*/ 1252906 h 1538630"/>
              <a:gd name="csX603" fmla="*/ 610904 w 1609516"/>
              <a:gd name="csY603" fmla="*/ 1249196 h 1538630"/>
              <a:gd name="csX604" fmla="*/ 565739 w 1609516"/>
              <a:gd name="csY604" fmla="*/ 1271742 h 1538630"/>
              <a:gd name="csX605" fmla="*/ 546924 w 1609516"/>
              <a:gd name="csY605" fmla="*/ 1290829 h 1538630"/>
              <a:gd name="csX606" fmla="*/ 543635 w 1609516"/>
              <a:gd name="csY606" fmla="*/ 1294643 h 1538630"/>
              <a:gd name="csX607" fmla="*/ 540651 w 1609516"/>
              <a:gd name="csY607" fmla="*/ 1298188 h 1538630"/>
              <a:gd name="csX608" fmla="*/ 529673 w 1609516"/>
              <a:gd name="csY608" fmla="*/ 1305565 h 1538630"/>
              <a:gd name="csX609" fmla="*/ 526549 w 1609516"/>
              <a:gd name="csY609" fmla="*/ 1311202 h 1538630"/>
              <a:gd name="csX610" fmla="*/ 523425 w 1609516"/>
              <a:gd name="csY610" fmla="*/ 1311202 h 1538630"/>
              <a:gd name="csX611" fmla="*/ 523230 w 1609516"/>
              <a:gd name="csY611" fmla="*/ 1313580 h 1538630"/>
              <a:gd name="csX612" fmla="*/ 517732 w 1609516"/>
              <a:gd name="csY612" fmla="*/ 1319739 h 1538630"/>
              <a:gd name="csX613" fmla="*/ 502239 w 1609516"/>
              <a:gd name="csY613" fmla="*/ 1337096 h 1538630"/>
              <a:gd name="csX614" fmla="*/ 497058 w 1609516"/>
              <a:gd name="csY614" fmla="*/ 1344087 h 1538630"/>
              <a:gd name="csX615" fmla="*/ 494572 w 1609516"/>
              <a:gd name="csY615" fmla="*/ 1347465 h 1538630"/>
              <a:gd name="csX616" fmla="*/ 487776 w 1609516"/>
              <a:gd name="csY616" fmla="*/ 1356181 h 1538630"/>
              <a:gd name="csX617" fmla="*/ 481248 w 1609516"/>
              <a:gd name="csY617" fmla="*/ 1367571 h 1538630"/>
              <a:gd name="csX618" fmla="*/ 478123 w 1609516"/>
              <a:gd name="csY618" fmla="*/ 1367571 h 1538630"/>
              <a:gd name="csX619" fmla="*/ 477635 w 1609516"/>
              <a:gd name="csY619" fmla="*/ 1370565 h 1538630"/>
              <a:gd name="csX620" fmla="*/ 465626 w 1609516"/>
              <a:gd name="csY620" fmla="*/ 1388709 h 1538630"/>
              <a:gd name="csX621" fmla="*/ 461233 w 1609516"/>
              <a:gd name="csY621" fmla="*/ 1397340 h 1538630"/>
              <a:gd name="csX622" fmla="*/ 455765 w 1609516"/>
              <a:gd name="csY622" fmla="*/ 1408086 h 1538630"/>
              <a:gd name="csX623" fmla="*/ 439070 w 1609516"/>
              <a:gd name="csY623" fmla="*/ 1477490 h 1538630"/>
              <a:gd name="csX624" fmla="*/ 434384 w 1609516"/>
              <a:gd name="csY624" fmla="*/ 1478899 h 1538630"/>
              <a:gd name="csX625" fmla="*/ 432431 w 1609516"/>
              <a:gd name="csY625" fmla="*/ 1481982 h 1538630"/>
              <a:gd name="csX626" fmla="*/ 418763 w 1609516"/>
              <a:gd name="csY626" fmla="*/ 1494401 h 1538630"/>
              <a:gd name="csX627" fmla="*/ 415639 w 1609516"/>
              <a:gd name="csY627" fmla="*/ 1494401 h 1538630"/>
              <a:gd name="csX628" fmla="*/ 415639 w 1609516"/>
              <a:gd name="csY628" fmla="*/ 1497219 h 1538630"/>
              <a:gd name="csX629" fmla="*/ 406265 w 1609516"/>
              <a:gd name="csY629" fmla="*/ 1498628 h 1538630"/>
              <a:gd name="csX630" fmla="*/ 406265 w 1609516"/>
              <a:gd name="csY630" fmla="*/ 1501447 h 1538630"/>
              <a:gd name="csX631" fmla="*/ 375023 w 1609516"/>
              <a:gd name="csY631" fmla="*/ 1501447 h 1538630"/>
              <a:gd name="csX632" fmla="*/ 375023 w 1609516"/>
              <a:gd name="csY632" fmla="*/ 1499438 h 1538630"/>
              <a:gd name="csX633" fmla="*/ 374964 w 1609516"/>
              <a:gd name="csY633" fmla="*/ 1499436 h 1538630"/>
              <a:gd name="csX634" fmla="*/ 373179 w 1609516"/>
              <a:gd name="csY634" fmla="*/ 1498628 h 1538630"/>
              <a:gd name="csX635" fmla="*/ 365650 w 1609516"/>
              <a:gd name="csY635" fmla="*/ 1498628 h 1538630"/>
              <a:gd name="csX636" fmla="*/ 363134 w 1609516"/>
              <a:gd name="csY636" fmla="*/ 1494087 h 1538630"/>
              <a:gd name="csX637" fmla="*/ 362171 w 1609516"/>
              <a:gd name="csY637" fmla="*/ 1493651 h 1538630"/>
              <a:gd name="csX638" fmla="*/ 360609 w 1609516"/>
              <a:gd name="csY638" fmla="*/ 1490833 h 1538630"/>
              <a:gd name="csX639" fmla="*/ 363733 w 1609516"/>
              <a:gd name="csY639" fmla="*/ 1490833 h 1538630"/>
              <a:gd name="csX640" fmla="*/ 363733 w 1609516"/>
              <a:gd name="csY640" fmla="*/ 1489980 h 1538630"/>
              <a:gd name="csX641" fmla="*/ 348467 w 1609516"/>
              <a:gd name="csY641" fmla="*/ 1481717 h 1538630"/>
              <a:gd name="csX642" fmla="*/ 343872 w 1609516"/>
              <a:gd name="csY642" fmla="*/ 1461078 h 1538630"/>
              <a:gd name="csX643" fmla="*/ 343656 w 1609516"/>
              <a:gd name="csY643" fmla="*/ 1463649 h 1538630"/>
              <a:gd name="csX644" fmla="*/ 343424 w 1609516"/>
              <a:gd name="csY644" fmla="*/ 1466842 h 1538630"/>
              <a:gd name="csX645" fmla="*/ 341861 w 1609516"/>
              <a:gd name="csY645" fmla="*/ 1466842 h 1538630"/>
              <a:gd name="csX646" fmla="*/ 354143 w 1609516"/>
              <a:gd name="csY646" fmla="*/ 1420549 h 1538630"/>
              <a:gd name="csX647" fmla="*/ 376229 w 1609516"/>
              <a:gd name="csY647" fmla="*/ 1403427 h 1538630"/>
              <a:gd name="csX648" fmla="*/ 379491 w 1609516"/>
              <a:gd name="csY648" fmla="*/ 1404408 h 1538630"/>
              <a:gd name="csX649" fmla="*/ 379710 w 1609516"/>
              <a:gd name="csY649" fmla="*/ 1404210 h 1538630"/>
              <a:gd name="csX650" fmla="*/ 380882 w 1609516"/>
              <a:gd name="csY650" fmla="*/ 1401568 h 1538630"/>
              <a:gd name="csX651" fmla="*/ 392207 w 1609516"/>
              <a:gd name="csY651" fmla="*/ 1392936 h 1538630"/>
              <a:gd name="csX652" fmla="*/ 399542 w 1609516"/>
              <a:gd name="csY652" fmla="*/ 1386774 h 1538630"/>
              <a:gd name="csX653" fmla="*/ 405485 w 1609516"/>
              <a:gd name="csY653" fmla="*/ 1378917 h 1538630"/>
              <a:gd name="csX654" fmla="*/ 412008 w 1609516"/>
              <a:gd name="csY654" fmla="*/ 1369481 h 1538630"/>
              <a:gd name="csX655" fmla="*/ 421130 w 1609516"/>
              <a:gd name="csY655" fmla="*/ 1357057 h 1538630"/>
              <a:gd name="csX656" fmla="*/ 424676 w 1609516"/>
              <a:gd name="csY656" fmla="*/ 1348443 h 1538630"/>
              <a:gd name="csX657" fmla="*/ 427275 w 1609516"/>
              <a:gd name="csY657" fmla="*/ 1348443 h 1538630"/>
              <a:gd name="csX658" fmla="*/ 428135 w 1609516"/>
              <a:gd name="csY658" fmla="*/ 1345727 h 1538630"/>
              <a:gd name="csX659" fmla="*/ 432822 w 1609516"/>
              <a:gd name="csY659" fmla="*/ 1335158 h 1538630"/>
              <a:gd name="csX660" fmla="*/ 435946 w 1609516"/>
              <a:gd name="csY660" fmla="*/ 1335158 h 1538630"/>
              <a:gd name="csX661" fmla="*/ 437704 w 1609516"/>
              <a:gd name="csY661" fmla="*/ 1329786 h 1538630"/>
              <a:gd name="csX662" fmla="*/ 447394 w 1609516"/>
              <a:gd name="csY662" fmla="*/ 1311196 h 1538630"/>
              <a:gd name="csX663" fmla="*/ 469287 w 1609516"/>
              <a:gd name="csY663" fmla="*/ 1265964 h 1538630"/>
              <a:gd name="csX664" fmla="*/ 478178 w 1609516"/>
              <a:gd name="csY664" fmla="*/ 1246787 h 1538630"/>
              <a:gd name="csX665" fmla="*/ 480179 w 1609516"/>
              <a:gd name="csY665" fmla="*/ 1225768 h 1538630"/>
              <a:gd name="csX666" fmla="*/ 480250 w 1609516"/>
              <a:gd name="csY666" fmla="*/ 1217149 h 1538630"/>
              <a:gd name="csX667" fmla="*/ 462972 w 1609516"/>
              <a:gd name="csY667" fmla="*/ 1174827 h 1538630"/>
              <a:gd name="csX668" fmla="*/ 457468 w 1609516"/>
              <a:gd name="csY668" fmla="*/ 1169949 h 1538630"/>
              <a:gd name="csX669" fmla="*/ 440657 w 1609516"/>
              <a:gd name="csY669" fmla="*/ 1152570 h 1538630"/>
              <a:gd name="csX670" fmla="*/ 403142 w 1609516"/>
              <a:gd name="csY670" fmla="*/ 1122366 h 1538630"/>
              <a:gd name="csX671" fmla="*/ 401579 w 1609516"/>
              <a:gd name="csY671" fmla="*/ 1119547 h 1538630"/>
              <a:gd name="csX672" fmla="*/ 364564 w 1609516"/>
              <a:gd name="csY672" fmla="*/ 1118209 h 1538630"/>
              <a:gd name="csX673" fmla="*/ 357822 w 1609516"/>
              <a:gd name="csY673" fmla="*/ 1122041 h 1538630"/>
              <a:gd name="csX674" fmla="*/ 348077 w 1609516"/>
              <a:gd name="csY674" fmla="*/ 1125273 h 1538630"/>
              <a:gd name="csX675" fmla="*/ 334408 w 1609516"/>
              <a:gd name="csY675" fmla="*/ 1132230 h 1538630"/>
              <a:gd name="csX676" fmla="*/ 327964 w 1609516"/>
              <a:gd name="csY676" fmla="*/ 1134080 h 1538630"/>
              <a:gd name="csX677" fmla="*/ 279734 w 1609516"/>
              <a:gd name="csY677" fmla="*/ 1166051 h 1538630"/>
              <a:gd name="csX678" fmla="*/ 276609 w 1609516"/>
              <a:gd name="csY678" fmla="*/ 1173098 h 1538630"/>
              <a:gd name="csX679" fmla="*/ 260988 w 1609516"/>
              <a:gd name="csY679" fmla="*/ 1188599 h 1538630"/>
              <a:gd name="csX680" fmla="*/ 257956 w 1609516"/>
              <a:gd name="csY680" fmla="*/ 1191132 h 1538630"/>
              <a:gd name="csX681" fmla="*/ 243805 w 1609516"/>
              <a:gd name="csY681" fmla="*/ 1196629 h 1538630"/>
              <a:gd name="csX682" fmla="*/ 243805 w 1609516"/>
              <a:gd name="csY682" fmla="*/ 1194236 h 1538630"/>
              <a:gd name="csX683" fmla="*/ 240288 w 1609516"/>
              <a:gd name="csY683" fmla="*/ 1194765 h 1538630"/>
              <a:gd name="csX684" fmla="*/ 243374 w 1609516"/>
              <a:gd name="csY684" fmla="*/ 1194765 h 1538630"/>
              <a:gd name="csX685" fmla="*/ 243374 w 1609516"/>
              <a:gd name="csY685" fmla="*/ 1196797 h 1538630"/>
              <a:gd name="csX686" fmla="*/ 243805 w 1609516"/>
              <a:gd name="csY686" fmla="*/ 1196629 h 1538630"/>
              <a:gd name="csX687" fmla="*/ 243805 w 1609516"/>
              <a:gd name="csY687" fmla="*/ 1197055 h 1538630"/>
              <a:gd name="csX688" fmla="*/ 243374 w 1609516"/>
              <a:gd name="csY688" fmla="*/ 1197055 h 1538630"/>
              <a:gd name="csX689" fmla="*/ 243374 w 1609516"/>
              <a:gd name="csY689" fmla="*/ 1197584 h 1538630"/>
              <a:gd name="csX690" fmla="*/ 241319 w 1609516"/>
              <a:gd name="csY690" fmla="*/ 1197595 h 1538630"/>
              <a:gd name="csX691" fmla="*/ 238009 w 1609516"/>
              <a:gd name="csY691" fmla="*/ 1198881 h 1538630"/>
              <a:gd name="csX692" fmla="*/ 215687 w 1609516"/>
              <a:gd name="csY692" fmla="*/ 1198464 h 1538630"/>
              <a:gd name="csX693" fmla="*/ 215687 w 1609516"/>
              <a:gd name="csY693" fmla="*/ 1197734 h 1538630"/>
              <a:gd name="csX694" fmla="*/ 213936 w 1609516"/>
              <a:gd name="csY694" fmla="*/ 1197744 h 1538630"/>
              <a:gd name="csX695" fmla="*/ 207446 w 1609516"/>
              <a:gd name="csY695" fmla="*/ 1196175 h 1538630"/>
              <a:gd name="csX696" fmla="*/ 207822 w 1609516"/>
              <a:gd name="csY696" fmla="*/ 1195610 h 1538630"/>
              <a:gd name="csX697" fmla="*/ 184737 w 1609516"/>
              <a:gd name="csY697" fmla="*/ 1180936 h 1538630"/>
              <a:gd name="csX698" fmla="*/ 179270 w 1609516"/>
              <a:gd name="csY698" fmla="*/ 1154866 h 1538630"/>
              <a:gd name="csX699" fmla="*/ 179194 w 1609516"/>
              <a:gd name="csY699" fmla="*/ 1151621 h 1538630"/>
              <a:gd name="csX700" fmla="*/ 193195 w 1609516"/>
              <a:gd name="csY700" fmla="*/ 1120065 h 1538630"/>
              <a:gd name="csX701" fmla="*/ 229551 w 1609516"/>
              <a:gd name="csY701" fmla="*/ 1110299 h 1538630"/>
              <a:gd name="csX702" fmla="*/ 260988 w 1609516"/>
              <a:gd name="csY702" fmla="*/ 1108274 h 1538630"/>
              <a:gd name="csX703" fmla="*/ 260988 w 1609516"/>
              <a:gd name="csY703" fmla="*/ 1105455 h 1538630"/>
              <a:gd name="csX704" fmla="*/ 263911 w 1609516"/>
              <a:gd name="csY704" fmla="*/ 1104310 h 1538630"/>
              <a:gd name="csX705" fmla="*/ 286995 w 1609516"/>
              <a:gd name="csY705" fmla="*/ 1090185 h 1538630"/>
              <a:gd name="csX706" fmla="*/ 299358 w 1609516"/>
              <a:gd name="csY706" fmla="*/ 1080970 h 1538630"/>
              <a:gd name="csX707" fmla="*/ 317762 w 1609516"/>
              <a:gd name="csY707" fmla="*/ 1063272 h 1538630"/>
              <a:gd name="csX708" fmla="*/ 325035 w 1609516"/>
              <a:gd name="csY708" fmla="*/ 1057542 h 1538630"/>
              <a:gd name="csX709" fmla="*/ 325328 w 1609516"/>
              <a:gd name="csY709" fmla="*/ 1023104 h 1538630"/>
              <a:gd name="csX710" fmla="*/ 324544 w 1609516"/>
              <a:gd name="csY710" fmla="*/ 1019247 h 1538630"/>
              <a:gd name="csX711" fmla="*/ 317225 w 1609516"/>
              <a:gd name="csY711" fmla="*/ 996945 h 1538630"/>
              <a:gd name="csX712" fmla="*/ 315388 w 1609516"/>
              <a:gd name="csY712" fmla="*/ 992690 h 1538630"/>
              <a:gd name="csX713" fmla="*/ 276232 w 1609516"/>
              <a:gd name="csY713" fmla="*/ 950666 h 1538630"/>
              <a:gd name="csX714" fmla="*/ 271923 w 1609516"/>
              <a:gd name="csY714" fmla="*/ 949031 h 1538630"/>
              <a:gd name="csX715" fmla="*/ 268299 w 1609516"/>
              <a:gd name="csY715" fmla="*/ 947441 h 1538630"/>
              <a:gd name="csX716" fmla="*/ 199187 w 1609516"/>
              <a:gd name="csY716" fmla="*/ 938991 h 1538630"/>
              <a:gd name="csX717" fmla="*/ 193719 w 1609516"/>
              <a:gd name="csY717" fmla="*/ 938971 h 1538630"/>
              <a:gd name="csX718" fmla="*/ 188539 w 1609516"/>
              <a:gd name="csY718" fmla="*/ 938980 h 1538630"/>
              <a:gd name="csX719" fmla="*/ 183874 w 1609516"/>
              <a:gd name="csY719" fmla="*/ 938985 h 1538630"/>
              <a:gd name="csX720" fmla="*/ 173509 w 1609516"/>
              <a:gd name="csY720" fmla="*/ 940576 h 1538630"/>
              <a:gd name="csX721" fmla="*/ 161403 w 1609516"/>
              <a:gd name="csY721" fmla="*/ 940664 h 1538630"/>
              <a:gd name="csX722" fmla="*/ 158102 w 1609516"/>
              <a:gd name="csY722" fmla="*/ 940645 h 1538630"/>
              <a:gd name="csX723" fmla="*/ 150875 w 1609516"/>
              <a:gd name="csY723" fmla="*/ 940583 h 1538630"/>
              <a:gd name="csX724" fmla="*/ 148425 w 1609516"/>
              <a:gd name="csY724" fmla="*/ 940717 h 1538630"/>
              <a:gd name="csX725" fmla="*/ 149617 w 1609516"/>
              <a:gd name="csY725" fmla="*/ 940995 h 1538630"/>
              <a:gd name="csX726" fmla="*/ 149617 w 1609516"/>
              <a:gd name="csY726" fmla="*/ 942404 h 1538630"/>
              <a:gd name="csX727" fmla="*/ 146627 w 1609516"/>
              <a:gd name="csY727" fmla="*/ 942871 h 1538630"/>
              <a:gd name="csX728" fmla="*/ 110564 w 1609516"/>
              <a:gd name="csY728" fmla="*/ 949449 h 1538630"/>
              <a:gd name="csX729" fmla="*/ 111283 w 1609516"/>
              <a:gd name="csY729" fmla="*/ 946205 h 1538630"/>
              <a:gd name="csX730" fmla="*/ 101652 w 1609516"/>
              <a:gd name="csY730" fmla="*/ 956078 h 1538630"/>
              <a:gd name="csX731" fmla="*/ 98052 w 1609516"/>
              <a:gd name="csY731" fmla="*/ 958467 h 1538630"/>
              <a:gd name="csX732" fmla="*/ 67286 w 1609516"/>
              <a:gd name="csY732" fmla="*/ 972989 h 1538630"/>
              <a:gd name="csX733" fmla="*/ 67286 w 1609516"/>
              <a:gd name="csY733" fmla="*/ 975807 h 1538630"/>
              <a:gd name="csX734" fmla="*/ 31942 w 1609516"/>
              <a:gd name="csY734" fmla="*/ 976423 h 1538630"/>
              <a:gd name="csX735" fmla="*/ 5673 w 1609516"/>
              <a:gd name="csY735" fmla="*/ 953419 h 1538630"/>
              <a:gd name="csX736" fmla="*/ 4801 w 1609516"/>
              <a:gd name="csY736" fmla="*/ 944804 h 1538630"/>
              <a:gd name="csX737" fmla="*/ 1676 w 1609516"/>
              <a:gd name="csY737" fmla="*/ 944804 h 1538630"/>
              <a:gd name="csX738" fmla="*/ 17 w 1609516"/>
              <a:gd name="csY738" fmla="*/ 931857 h 1538630"/>
              <a:gd name="csX739" fmla="*/ 59 w 1609516"/>
              <a:gd name="csY739" fmla="*/ 927216 h 1538630"/>
              <a:gd name="csX740" fmla="*/ 115 w 1609516"/>
              <a:gd name="csY740" fmla="*/ 923666 h 1538630"/>
              <a:gd name="csX741" fmla="*/ 3238 w 1609516"/>
              <a:gd name="csY741" fmla="*/ 923666 h 1538630"/>
              <a:gd name="csX742" fmla="*/ 3238 w 1609516"/>
              <a:gd name="csY742" fmla="*/ 918029 h 1538630"/>
              <a:gd name="csX743" fmla="*/ 6363 w 1609516"/>
              <a:gd name="csY743" fmla="*/ 918029 h 1538630"/>
              <a:gd name="csX744" fmla="*/ 6656 w 1609516"/>
              <a:gd name="csY744" fmla="*/ 912832 h 1538630"/>
              <a:gd name="csX745" fmla="*/ 15736 w 1609516"/>
              <a:gd name="csY745" fmla="*/ 899709 h 1538630"/>
              <a:gd name="csX746" fmla="*/ 17243 w 1609516"/>
              <a:gd name="csY746" fmla="*/ 898894 h 1538630"/>
              <a:gd name="csX747" fmla="*/ 16800 w 1609516"/>
              <a:gd name="csY747" fmla="*/ 898694 h 1538630"/>
              <a:gd name="csX748" fmla="*/ 24988 w 1609516"/>
              <a:gd name="csY748" fmla="*/ 894101 h 1538630"/>
              <a:gd name="csX749" fmla="*/ 26768 w 1609516"/>
              <a:gd name="csY749" fmla="*/ 892399 h 1538630"/>
              <a:gd name="csX750" fmla="*/ 30198 w 1609516"/>
              <a:gd name="csY750" fmla="*/ 890164 h 1538630"/>
              <a:gd name="csX751" fmla="*/ 32204 w 1609516"/>
              <a:gd name="csY751" fmla="*/ 890054 h 1538630"/>
              <a:gd name="csX752" fmla="*/ 38914 w 1609516"/>
              <a:gd name="csY752" fmla="*/ 886291 h 1538630"/>
              <a:gd name="csX753" fmla="*/ 63664 w 1609516"/>
              <a:gd name="csY753" fmla="*/ 886011 h 1538630"/>
              <a:gd name="csX754" fmla="*/ 63664 w 1609516"/>
              <a:gd name="csY754" fmla="*/ 886531 h 1538630"/>
              <a:gd name="csX755" fmla="*/ 70784 w 1609516"/>
              <a:gd name="csY755" fmla="*/ 886647 h 1538630"/>
              <a:gd name="csX756" fmla="*/ 82126 w 1609516"/>
              <a:gd name="csY756" fmla="*/ 889845 h 1538630"/>
              <a:gd name="csX757" fmla="*/ 114149 w 1609516"/>
              <a:gd name="csY757" fmla="*/ 892663 h 1538630"/>
              <a:gd name="csX758" fmla="*/ 118836 w 1609516"/>
              <a:gd name="csY758" fmla="*/ 889845 h 1538630"/>
              <a:gd name="csX759" fmla="*/ 131626 w 1609516"/>
              <a:gd name="csY759" fmla="*/ 887114 h 1538630"/>
              <a:gd name="csX760" fmla="*/ 155116 w 1609516"/>
              <a:gd name="csY760" fmla="*/ 880913 h 1538630"/>
              <a:gd name="csX761" fmla="*/ 165406 w 1609516"/>
              <a:gd name="csY761" fmla="*/ 878483 h 1538630"/>
              <a:gd name="csX762" fmla="*/ 176634 w 1609516"/>
              <a:gd name="csY762" fmla="*/ 874343 h 1538630"/>
              <a:gd name="csX763" fmla="*/ 186397 w 1609516"/>
              <a:gd name="csY763" fmla="*/ 871524 h 1538630"/>
              <a:gd name="csX764" fmla="*/ 191871 w 1609516"/>
              <a:gd name="csY764" fmla="*/ 870033 h 1538630"/>
              <a:gd name="csX765" fmla="*/ 203483 w 1609516"/>
              <a:gd name="csY765" fmla="*/ 867208 h 1538630"/>
              <a:gd name="csX766" fmla="*/ 211001 w 1609516"/>
              <a:gd name="csY766" fmla="*/ 861660 h 1538630"/>
              <a:gd name="csX767" fmla="*/ 218031 w 1609516"/>
              <a:gd name="csY767" fmla="*/ 858577 h 1538630"/>
              <a:gd name="csX768" fmla="*/ 254740 w 1609516"/>
              <a:gd name="csY768" fmla="*/ 825020 h 1538630"/>
              <a:gd name="csX769" fmla="*/ 257864 w 1609516"/>
              <a:gd name="csY769" fmla="*/ 820792 h 1538630"/>
              <a:gd name="csX770" fmla="*/ 258318 w 1609516"/>
              <a:gd name="csY770" fmla="*/ 813810 h 1538630"/>
              <a:gd name="csX771" fmla="*/ 258378 w 1609516"/>
              <a:gd name="csY771" fmla="*/ 809502 h 1538630"/>
              <a:gd name="csX772" fmla="*/ 258389 w 1609516"/>
              <a:gd name="csY772" fmla="*/ 804845 h 1538630"/>
              <a:gd name="csX773" fmla="*/ 258420 w 1609516"/>
              <a:gd name="csY773" fmla="*/ 800036 h 1538630"/>
              <a:gd name="csX774" fmla="*/ 258443 w 1609516"/>
              <a:gd name="csY774" fmla="*/ 789939 h 1538630"/>
              <a:gd name="csX775" fmla="*/ 258566 w 1609516"/>
              <a:gd name="csY775" fmla="*/ 774594 h 1538630"/>
              <a:gd name="csX776" fmla="*/ 258584 w 1609516"/>
              <a:gd name="csY776" fmla="*/ 764771 h 1538630"/>
              <a:gd name="csX777" fmla="*/ 258652 w 1609516"/>
              <a:gd name="csY777" fmla="*/ 760174 h 1538630"/>
              <a:gd name="csX778" fmla="*/ 251616 w 1609516"/>
              <a:gd name="csY778" fmla="*/ 733421 h 1538630"/>
              <a:gd name="csX779" fmla="*/ 247613 w 1609516"/>
              <a:gd name="csY779" fmla="*/ 721883 h 1538630"/>
              <a:gd name="csX780" fmla="*/ 241291 w 1609516"/>
              <a:gd name="csY780" fmla="*/ 705644 h 1538630"/>
              <a:gd name="csX781" fmla="*/ 237557 w 1609516"/>
              <a:gd name="csY781" fmla="*/ 689735 h 1538630"/>
              <a:gd name="csX782" fmla="*/ 248492 w 1609516"/>
              <a:gd name="csY782" fmla="*/ 685507 h 1538630"/>
              <a:gd name="csX783" fmla="*/ 248492 w 1609516"/>
              <a:gd name="csY783" fmla="*/ 681279 h 1538630"/>
              <a:gd name="csX784" fmla="*/ 240681 w 1609516"/>
              <a:gd name="csY784" fmla="*/ 679870 h 1538630"/>
              <a:gd name="csX785" fmla="*/ 240681 w 1609516"/>
              <a:gd name="csY785" fmla="*/ 677052 h 1538630"/>
              <a:gd name="csX786" fmla="*/ 238094 w 1609516"/>
              <a:gd name="csY786" fmla="*/ 676645 h 1538630"/>
              <a:gd name="csX787" fmla="*/ 225841 w 1609516"/>
              <a:gd name="csY787" fmla="*/ 670886 h 1538630"/>
              <a:gd name="csX788" fmla="*/ 201531 w 1609516"/>
              <a:gd name="csY788" fmla="*/ 662508 h 1538630"/>
              <a:gd name="csX789" fmla="*/ 188252 w 1609516"/>
              <a:gd name="csY789" fmla="*/ 658644 h 1538630"/>
              <a:gd name="csX790" fmla="*/ 182431 w 1609516"/>
              <a:gd name="csY790" fmla="*/ 657327 h 1538630"/>
              <a:gd name="csX791" fmla="*/ 182431 w 1609516"/>
              <a:gd name="csY791" fmla="*/ 657613 h 1538630"/>
              <a:gd name="csX792" fmla="*/ 146503 w 1609516"/>
              <a:gd name="csY792" fmla="*/ 656204 h 1538630"/>
              <a:gd name="csX793" fmla="*/ 146503 w 1609516"/>
              <a:gd name="csY793" fmla="*/ 659022 h 1538630"/>
              <a:gd name="csX794" fmla="*/ 110378 w 1609516"/>
              <a:gd name="csY794" fmla="*/ 663778 h 1538630"/>
              <a:gd name="csX795" fmla="*/ 106453 w 1609516"/>
              <a:gd name="csY795" fmla="*/ 663836 h 1538630"/>
              <a:gd name="csX796" fmla="*/ 102751 w 1609516"/>
              <a:gd name="csY796" fmla="*/ 663811 h 1538630"/>
              <a:gd name="csX797" fmla="*/ 99449 w 1609516"/>
              <a:gd name="csY797" fmla="*/ 663797 h 1538630"/>
              <a:gd name="csX798" fmla="*/ 91828 w 1609516"/>
              <a:gd name="csY798" fmla="*/ 659022 h 1538630"/>
              <a:gd name="csX799" fmla="*/ 98077 w 1609516"/>
              <a:gd name="csY799" fmla="*/ 659022 h 1538630"/>
              <a:gd name="csX800" fmla="*/ 98077 w 1609516"/>
              <a:gd name="csY800" fmla="*/ 661841 h 1538630"/>
              <a:gd name="csX801" fmla="*/ 119023 w 1609516"/>
              <a:gd name="csY801" fmla="*/ 661357 h 1538630"/>
              <a:gd name="csX802" fmla="*/ 119536 w 1609516"/>
              <a:gd name="csY802" fmla="*/ 661197 h 1538630"/>
              <a:gd name="csX803" fmla="*/ 109853 w 1609516"/>
              <a:gd name="csY803" fmla="*/ 661639 h 1538630"/>
              <a:gd name="csX804" fmla="*/ 106552 w 1609516"/>
              <a:gd name="csY804" fmla="*/ 661619 h 1538630"/>
              <a:gd name="csX805" fmla="*/ 98528 w 1609516"/>
              <a:gd name="csY805" fmla="*/ 661550 h 1538630"/>
              <a:gd name="csX806" fmla="*/ 98528 w 1609516"/>
              <a:gd name="csY806" fmla="*/ 658732 h 1538630"/>
              <a:gd name="csX807" fmla="*/ 89155 w 1609516"/>
              <a:gd name="csY807" fmla="*/ 657323 h 1538630"/>
              <a:gd name="csX808" fmla="*/ 89155 w 1609516"/>
              <a:gd name="csY808" fmla="*/ 654504 h 1538630"/>
              <a:gd name="csX809" fmla="*/ 86397 w 1609516"/>
              <a:gd name="csY809" fmla="*/ 653442 h 1538630"/>
              <a:gd name="csX810" fmla="*/ 77049 w 1609516"/>
              <a:gd name="csY810" fmla="*/ 646137 h 1538630"/>
              <a:gd name="csX811" fmla="*/ 74145 w 1609516"/>
              <a:gd name="csY811" fmla="*/ 643192 h 1538630"/>
              <a:gd name="csX812" fmla="*/ 71972 w 1609516"/>
              <a:gd name="csY812" fmla="*/ 636185 h 1538630"/>
              <a:gd name="csX813" fmla="*/ 68848 w 1609516"/>
              <a:gd name="csY813" fmla="*/ 636185 h 1538630"/>
              <a:gd name="csX814" fmla="*/ 70410 w 1609516"/>
              <a:gd name="csY814" fmla="*/ 595317 h 1538630"/>
              <a:gd name="csX815" fmla="*/ 79782 w 1609516"/>
              <a:gd name="csY815" fmla="*/ 584043 h 1538630"/>
              <a:gd name="csX816" fmla="*/ 82656 w 1609516"/>
              <a:gd name="csY816" fmla="*/ 581115 h 1538630"/>
              <a:gd name="csX817" fmla="*/ 116694 w 1609516"/>
              <a:gd name="csY817" fmla="*/ 572323 h 1538630"/>
              <a:gd name="csX818" fmla="*/ 152031 w 1609516"/>
              <a:gd name="csY818" fmla="*/ 590385 h 1538630"/>
              <a:gd name="csX819" fmla="*/ 191474 w 1609516"/>
              <a:gd name="csY819" fmla="*/ 605886 h 1538630"/>
              <a:gd name="csX820" fmla="*/ 206314 w 1609516"/>
              <a:gd name="csY820" fmla="*/ 608000 h 1538630"/>
              <a:gd name="csX821" fmla="*/ 206314 w 1609516"/>
              <a:gd name="csY821" fmla="*/ 610818 h 1538630"/>
              <a:gd name="csX822" fmla="*/ 234433 w 1609516"/>
              <a:gd name="csY822" fmla="*/ 610818 h 1538630"/>
              <a:gd name="csX823" fmla="*/ 239522 w 1609516"/>
              <a:gd name="csY823" fmla="*/ 610802 h 1538630"/>
              <a:gd name="csX824" fmla="*/ 268799 w 1609516"/>
              <a:gd name="csY824" fmla="*/ 600954 h 1538630"/>
              <a:gd name="csX825" fmla="*/ 271740 w 1609516"/>
              <a:gd name="csY825" fmla="*/ 599325 h 1538630"/>
              <a:gd name="csX826" fmla="*/ 284420 w 1609516"/>
              <a:gd name="csY826" fmla="*/ 579816 h 1538630"/>
              <a:gd name="csX827" fmla="*/ 289399 w 1609516"/>
              <a:gd name="csY827" fmla="*/ 568630 h 1538630"/>
              <a:gd name="csX828" fmla="*/ 293958 w 1609516"/>
              <a:gd name="csY828" fmla="*/ 535838 h 1538630"/>
              <a:gd name="csX829" fmla="*/ 289107 w 1609516"/>
              <a:gd name="csY829" fmla="*/ 529084 h 1538630"/>
              <a:gd name="csX830" fmla="*/ 289107 w 1609516"/>
              <a:gd name="csY830" fmla="*/ 526265 h 1538630"/>
              <a:gd name="csX831" fmla="*/ 284420 w 1609516"/>
              <a:gd name="csY831" fmla="*/ 524856 h 1538630"/>
              <a:gd name="csX832" fmla="*/ 282858 w 1609516"/>
              <a:gd name="csY832" fmla="*/ 520628 h 1538630"/>
              <a:gd name="csX833" fmla="*/ 277977 w 1609516"/>
              <a:gd name="csY833" fmla="*/ 516577 h 1538630"/>
              <a:gd name="csX834" fmla="*/ 264925 w 1609516"/>
              <a:gd name="csY834" fmla="*/ 506443 h 1538630"/>
              <a:gd name="csX835" fmla="*/ 229746 w 1609516"/>
              <a:gd name="csY835" fmla="*/ 481170 h 1538630"/>
              <a:gd name="csX836" fmla="*/ 221057 w 1609516"/>
              <a:gd name="csY836" fmla="*/ 475445 h 1538630"/>
              <a:gd name="csX837" fmla="*/ 212563 w 1609516"/>
              <a:gd name="csY837" fmla="*/ 469896 h 1538630"/>
              <a:gd name="csX838" fmla="*/ 208889 w 1609516"/>
              <a:gd name="csY838" fmla="*/ 467491 h 1538630"/>
              <a:gd name="csX839" fmla="*/ 190406 w 1609516"/>
              <a:gd name="csY839" fmla="*/ 456382 h 1538630"/>
              <a:gd name="csX840" fmla="*/ 186942 w 1609516"/>
              <a:gd name="csY840" fmla="*/ 454460 h 1538630"/>
              <a:gd name="csX841" fmla="*/ 180041 w 1609516"/>
              <a:gd name="csY841" fmla="*/ 450696 h 1538630"/>
              <a:gd name="csX842" fmla="*/ 171948 w 1609516"/>
              <a:gd name="csY842" fmla="*/ 445940 h 1538630"/>
              <a:gd name="csX843" fmla="*/ 171948 w 1609516"/>
              <a:gd name="csY843" fmla="*/ 443121 h 1538630"/>
              <a:gd name="csX844" fmla="*/ 168482 w 1609516"/>
              <a:gd name="csY844" fmla="*/ 442708 h 1538630"/>
              <a:gd name="csX845" fmla="*/ 157107 w 1609516"/>
              <a:gd name="csY845" fmla="*/ 437044 h 1538630"/>
              <a:gd name="csX846" fmla="*/ 132559 w 1609516"/>
              <a:gd name="csY846" fmla="*/ 427510 h 1538630"/>
              <a:gd name="csX847" fmla="*/ 123522 w 1609516"/>
              <a:gd name="csY847" fmla="*/ 421983 h 1538630"/>
              <a:gd name="csX848" fmla="*/ 107986 w 1609516"/>
              <a:gd name="csY848" fmla="*/ 418730 h 1538630"/>
              <a:gd name="csX849" fmla="*/ 102494 w 1609516"/>
              <a:gd name="csY849" fmla="*/ 418622 h 1538630"/>
              <a:gd name="csX850" fmla="*/ 91157 w 1609516"/>
              <a:gd name="csY850" fmla="*/ 418490 h 1538630"/>
              <a:gd name="csX851" fmla="*/ 55277 w 1609516"/>
              <a:gd name="csY851" fmla="*/ 410445 h 1538630"/>
              <a:gd name="csX852" fmla="*/ 51665 w 1609516"/>
              <a:gd name="csY852" fmla="*/ 406481 h 1538630"/>
              <a:gd name="csX853" fmla="*/ 45904 w 1609516"/>
              <a:gd name="csY853" fmla="*/ 400492 h 1538630"/>
              <a:gd name="csX854" fmla="*/ 43152 w 1609516"/>
              <a:gd name="csY854" fmla="*/ 397564 h 1538630"/>
              <a:gd name="csX855" fmla="*/ 37605 w 1609516"/>
              <a:gd name="csY855" fmla="*/ 393798 h 1538630"/>
              <a:gd name="csX856" fmla="*/ 38995 w 1609516"/>
              <a:gd name="csY856" fmla="*/ 368712 h 1538630"/>
              <a:gd name="csX857" fmla="*/ 38666 w 1609516"/>
              <a:gd name="csY857" fmla="*/ 369724 h 1538630"/>
              <a:gd name="csX858" fmla="*/ 35542 w 1609516"/>
              <a:gd name="csY858" fmla="*/ 384081 h 1538630"/>
              <a:gd name="csX859" fmla="*/ 33326 w 1609516"/>
              <a:gd name="csY859" fmla="*/ 357791 h 1538630"/>
              <a:gd name="csX860" fmla="*/ 52725 w 1609516"/>
              <a:gd name="csY860" fmla="*/ 333349 h 1538630"/>
              <a:gd name="csX861" fmla="*/ 55222 w 1609516"/>
              <a:gd name="csY861" fmla="*/ 334475 h 1538630"/>
              <a:gd name="csX862" fmla="*/ 56222 w 1609516"/>
              <a:gd name="csY862" fmla="*/ 333347 h 1538630"/>
              <a:gd name="csX863" fmla="*/ 55871 w 1609516"/>
              <a:gd name="csY863" fmla="*/ 333347 h 1538630"/>
              <a:gd name="csX864" fmla="*/ 56346 w 1609516"/>
              <a:gd name="csY864" fmla="*/ 333207 h 1538630"/>
              <a:gd name="csX865" fmla="*/ 56351 w 1609516"/>
              <a:gd name="csY865" fmla="*/ 333202 h 1538630"/>
              <a:gd name="csX866" fmla="*/ 56365 w 1609516"/>
              <a:gd name="csY866" fmla="*/ 333202 h 1538630"/>
              <a:gd name="csX867" fmla="*/ 79571 w 1609516"/>
              <a:gd name="csY867" fmla="*/ 326360 h 1538630"/>
              <a:gd name="csX868" fmla="*/ 104297 w 1609516"/>
              <a:gd name="csY868" fmla="*/ 330529 h 1538630"/>
              <a:gd name="csX869" fmla="*/ 107170 w 1609516"/>
              <a:gd name="csY869" fmla="*/ 334417 h 1538630"/>
              <a:gd name="csX870" fmla="*/ 109366 w 1609516"/>
              <a:gd name="csY870" fmla="*/ 336046 h 1538630"/>
              <a:gd name="csX871" fmla="*/ 109463 w 1609516"/>
              <a:gd name="csY871" fmla="*/ 336020 h 1538630"/>
              <a:gd name="csX872" fmla="*/ 109463 w 1609516"/>
              <a:gd name="csY872" fmla="*/ 336118 h 1538630"/>
              <a:gd name="csX873" fmla="*/ 115226 w 1609516"/>
              <a:gd name="csY873" fmla="*/ 340394 h 1538630"/>
              <a:gd name="csX874" fmla="*/ 114010 w 1609516"/>
              <a:gd name="csY874" fmla="*/ 340120 h 1538630"/>
              <a:gd name="csX875" fmla="*/ 133285 w 1609516"/>
              <a:gd name="csY875" fmla="*/ 357423 h 1538630"/>
              <a:gd name="csX876" fmla="*/ 173509 w 1609516"/>
              <a:gd name="csY876" fmla="*/ 389571 h 1538630"/>
              <a:gd name="csX877" fmla="*/ 181711 w 1609516"/>
              <a:gd name="csY877" fmla="*/ 393270 h 1538630"/>
              <a:gd name="csX878" fmla="*/ 185507 w 1609516"/>
              <a:gd name="csY878" fmla="*/ 394976 h 1538630"/>
              <a:gd name="csX879" fmla="*/ 192658 w 1609516"/>
              <a:gd name="csY879" fmla="*/ 398257 h 1538630"/>
              <a:gd name="csX880" fmla="*/ 195966 w 1609516"/>
              <a:gd name="csY880" fmla="*/ 399788 h 1538630"/>
              <a:gd name="csX881" fmla="*/ 198833 w 1609516"/>
              <a:gd name="csY881" fmla="*/ 401131 h 1538630"/>
              <a:gd name="csX882" fmla="*/ 207877 w 1609516"/>
              <a:gd name="csY882" fmla="*/ 403663 h 1538630"/>
              <a:gd name="csX883" fmla="*/ 207877 w 1609516"/>
              <a:gd name="csY883" fmla="*/ 406481 h 1538630"/>
              <a:gd name="csX884" fmla="*/ 248492 w 1609516"/>
              <a:gd name="csY884" fmla="*/ 419428 h 1538630"/>
              <a:gd name="csX885" fmla="*/ 253965 w 1609516"/>
              <a:gd name="csY885" fmla="*/ 421000 h 1538630"/>
              <a:gd name="csX886" fmla="*/ 267237 w 1609516"/>
              <a:gd name="csY886" fmla="*/ 424801 h 1538630"/>
              <a:gd name="csX887" fmla="*/ 267237 w 1609516"/>
              <a:gd name="csY887" fmla="*/ 426451 h 1538630"/>
              <a:gd name="csX888" fmla="*/ 288701 w 1609516"/>
              <a:gd name="csY888" fmla="*/ 429217 h 1538630"/>
              <a:gd name="csX889" fmla="*/ 288701 w 1609516"/>
              <a:gd name="csY889" fmla="*/ 432036 h 1538630"/>
              <a:gd name="csX890" fmla="*/ 327010 w 1609516"/>
              <a:gd name="csY890" fmla="*/ 433628 h 1538630"/>
              <a:gd name="csX891" fmla="*/ 337486 w 1609516"/>
              <a:gd name="csY891" fmla="*/ 433637 h 1538630"/>
              <a:gd name="csX892" fmla="*/ 344229 w 1609516"/>
              <a:gd name="csY892" fmla="*/ 433632 h 1538630"/>
              <a:gd name="csX893" fmla="*/ 350323 w 1609516"/>
              <a:gd name="csY893" fmla="*/ 433627 h 1538630"/>
              <a:gd name="csX894" fmla="*/ 365245 w 1609516"/>
              <a:gd name="csY894" fmla="*/ 432036 h 1538630"/>
              <a:gd name="csX895" fmla="*/ 360797 w 1609516"/>
              <a:gd name="csY895" fmla="*/ 433759 h 1538630"/>
              <a:gd name="csX896" fmla="*/ 365650 w 1609516"/>
              <a:gd name="csY896" fmla="*/ 433257 h 1538630"/>
              <a:gd name="csX897" fmla="*/ 367213 w 1609516"/>
              <a:gd name="csY897" fmla="*/ 429029 h 1538630"/>
              <a:gd name="csX898" fmla="*/ 375188 w 1609516"/>
              <a:gd name="csY898" fmla="*/ 424906 h 1538630"/>
              <a:gd name="csX899" fmla="*/ 404704 w 1609516"/>
              <a:gd name="csY899" fmla="*/ 389571 h 1538630"/>
              <a:gd name="csX900" fmla="*/ 406265 w 1609516"/>
              <a:gd name="csY900" fmla="*/ 388161 h 1538630"/>
              <a:gd name="csX901" fmla="*/ 406559 w 1609516"/>
              <a:gd name="csY901" fmla="*/ 370106 h 1538630"/>
              <a:gd name="csX902" fmla="*/ 406617 w 1609516"/>
              <a:gd name="csY902" fmla="*/ 364973 h 1538630"/>
              <a:gd name="csX903" fmla="*/ 406626 w 1609516"/>
              <a:gd name="csY903" fmla="*/ 360038 h 1538630"/>
              <a:gd name="csX904" fmla="*/ 406645 w 1609516"/>
              <a:gd name="csY904" fmla="*/ 355503 h 1538630"/>
              <a:gd name="csX905" fmla="*/ 403142 w 1609516"/>
              <a:gd name="csY905" fmla="*/ 345885 h 1538630"/>
              <a:gd name="csX906" fmla="*/ 401579 w 1609516"/>
              <a:gd name="csY906" fmla="*/ 338663 h 1538630"/>
              <a:gd name="csX907" fmla="*/ 390938 w 1609516"/>
              <a:gd name="csY907" fmla="*/ 315939 h 1538630"/>
              <a:gd name="csX908" fmla="*/ 388976 w 1609516"/>
              <a:gd name="csY908" fmla="*/ 312762 h 1538630"/>
              <a:gd name="csX909" fmla="*/ 377934 w 1609516"/>
              <a:gd name="csY909" fmla="*/ 297817 h 1538630"/>
              <a:gd name="csX910" fmla="*/ 368775 w 1609516"/>
              <a:gd name="csY910" fmla="*/ 282470 h 1538630"/>
              <a:gd name="csX911" fmla="*/ 359890 w 1609516"/>
              <a:gd name="csY911" fmla="*/ 271284 h 1538630"/>
              <a:gd name="csX912" fmla="*/ 357374 w 1609516"/>
              <a:gd name="csY912" fmla="*/ 268288 h 1538630"/>
              <a:gd name="csX913" fmla="*/ 337533 w 1609516"/>
              <a:gd name="csY913" fmla="*/ 248649 h 1538630"/>
              <a:gd name="csX914" fmla="*/ 335214 w 1609516"/>
              <a:gd name="csY914" fmla="*/ 246369 h 1538630"/>
              <a:gd name="csX915" fmla="*/ 327085 w 1609516"/>
              <a:gd name="csY915" fmla="*/ 242571 h 1538630"/>
              <a:gd name="csX916" fmla="*/ 288785 w 1609516"/>
              <a:gd name="csY916" fmla="*/ 207968 h 1538630"/>
              <a:gd name="csX917" fmla="*/ 286373 w 1609516"/>
              <a:gd name="csY917" fmla="*/ 192544 h 1538630"/>
              <a:gd name="csX918" fmla="*/ 286385 w 1609516"/>
              <a:gd name="csY918" fmla="*/ 189190 h 1538630"/>
              <a:gd name="csX919" fmla="*/ 300042 w 1609516"/>
              <a:gd name="csY919" fmla="*/ 164095 h 1538630"/>
              <a:gd name="csX920" fmla="*/ 302757 w 1609516"/>
              <a:gd name="csY920" fmla="*/ 161381 h 1538630"/>
              <a:gd name="csX921" fmla="*/ 338411 w 1609516"/>
              <a:gd name="csY921" fmla="*/ 152293 h 1538630"/>
              <a:gd name="csX922" fmla="*/ 368482 w 1609516"/>
              <a:gd name="csY922" fmla="*/ 161893 h 1538630"/>
              <a:gd name="csX923" fmla="*/ 371899 w 1609516"/>
              <a:gd name="csY923" fmla="*/ 165505 h 1538630"/>
              <a:gd name="csX924" fmla="*/ 375121 w 1609516"/>
              <a:gd name="csY924" fmla="*/ 168587 h 1538630"/>
              <a:gd name="csX925" fmla="*/ 384982 w 1609516"/>
              <a:gd name="csY925" fmla="*/ 193777 h 1538630"/>
              <a:gd name="csX926" fmla="*/ 390352 w 1609516"/>
              <a:gd name="csY926" fmla="*/ 214563 h 1538630"/>
              <a:gd name="csX927" fmla="*/ 391529 w 1609516"/>
              <a:gd name="csY927" fmla="*/ 217626 h 1538630"/>
              <a:gd name="csX928" fmla="*/ 401579 w 1609516"/>
              <a:gd name="csY928" fmla="*/ 234556 h 1538630"/>
              <a:gd name="csX929" fmla="*/ 401579 w 1609516"/>
              <a:gd name="csY929" fmla="*/ 238784 h 1538630"/>
              <a:gd name="csX930" fmla="*/ 404215 w 1609516"/>
              <a:gd name="csY930" fmla="*/ 239753 h 1538630"/>
              <a:gd name="csX931" fmla="*/ 417811 w 1609516"/>
              <a:gd name="csY931" fmla="*/ 251996 h 1538630"/>
              <a:gd name="csX932" fmla="*/ 426866 w 1609516"/>
              <a:gd name="csY932" fmla="*/ 262300 h 1538630"/>
              <a:gd name="csX933" fmla="*/ 450097 w 1609516"/>
              <a:gd name="csY933" fmla="*/ 287628 h 1538630"/>
              <a:gd name="csX934" fmla="*/ 457425 w 1609516"/>
              <a:gd name="csY934" fmla="*/ 293920 h 1538630"/>
              <a:gd name="csX935" fmla="*/ 460940 w 1609516"/>
              <a:gd name="csY935" fmla="*/ 296562 h 1538630"/>
              <a:gd name="csX936" fmla="*/ 460940 w 1609516"/>
              <a:gd name="csY936" fmla="*/ 300790 h 1538630"/>
              <a:gd name="csX937" fmla="*/ 473437 w 1609516"/>
              <a:gd name="csY937" fmla="*/ 305018 h 1538630"/>
              <a:gd name="csX938" fmla="*/ 473437 w 1609516"/>
              <a:gd name="csY938" fmla="*/ 307836 h 1538630"/>
              <a:gd name="csX939" fmla="*/ 479881 w 1609516"/>
              <a:gd name="csY939" fmla="*/ 309862 h 1538630"/>
              <a:gd name="csX940" fmla="*/ 483505 w 1609516"/>
              <a:gd name="csY940" fmla="*/ 311001 h 1538630"/>
              <a:gd name="csX941" fmla="*/ 548419 w 1609516"/>
              <a:gd name="csY941" fmla="*/ 306427 h 1538630"/>
              <a:gd name="csX942" fmla="*/ 551842 w 1609516"/>
              <a:gd name="csY942" fmla="*/ 305127 h 1538630"/>
              <a:gd name="csX943" fmla="*/ 560232 w 1609516"/>
              <a:gd name="csY943" fmla="*/ 298148 h 1538630"/>
              <a:gd name="csX944" fmla="*/ 562972 w 1609516"/>
              <a:gd name="csY944" fmla="*/ 295252 h 1538630"/>
              <a:gd name="csX945" fmla="*/ 568086 w 1609516"/>
              <a:gd name="csY945" fmla="*/ 289152 h 1538630"/>
              <a:gd name="csX946" fmla="*/ 570289 w 1609516"/>
              <a:gd name="csY946" fmla="*/ 286697 h 1538630"/>
              <a:gd name="csX947" fmla="*/ 573413 w 1609516"/>
              <a:gd name="csY947" fmla="*/ 286697 h 1538630"/>
              <a:gd name="csX948" fmla="*/ 577220 w 1609516"/>
              <a:gd name="csY948" fmla="*/ 257016 h 1538630"/>
              <a:gd name="csX949" fmla="*/ 577235 w 1609516"/>
              <a:gd name="csY949" fmla="*/ 254206 h 1538630"/>
              <a:gd name="csX950" fmla="*/ 569443 w 1609516"/>
              <a:gd name="csY950" fmla="*/ 206049 h 1538630"/>
              <a:gd name="csX951" fmla="*/ 568726 w 1609516"/>
              <a:gd name="csY951" fmla="*/ 200735 h 1538630"/>
              <a:gd name="csX952" fmla="*/ 565602 w 1609516"/>
              <a:gd name="csY952" fmla="*/ 200735 h 1538630"/>
              <a:gd name="csX953" fmla="*/ 559549 w 1609516"/>
              <a:gd name="csY953" fmla="*/ 184441 h 1538630"/>
              <a:gd name="csX954" fmla="*/ 537484 w 1609516"/>
              <a:gd name="csY954" fmla="*/ 159867 h 1538630"/>
              <a:gd name="csX955" fmla="*/ 531235 w 1609516"/>
              <a:gd name="csY955" fmla="*/ 154230 h 1538630"/>
              <a:gd name="csX956" fmla="*/ 531235 w 1609516"/>
              <a:gd name="csY956" fmla="*/ 151412 h 1538630"/>
              <a:gd name="csX957" fmla="*/ 526549 w 1609516"/>
              <a:gd name="csY957" fmla="*/ 150003 h 1538630"/>
              <a:gd name="csX958" fmla="*/ 524304 w 1609516"/>
              <a:gd name="csY958" fmla="*/ 107198 h 1538630"/>
              <a:gd name="csX959" fmla="*/ 547052 w 1609516"/>
              <a:gd name="csY959" fmla="*/ 85972 h 1538630"/>
              <a:gd name="csX960" fmla="*/ 588460 w 1609516"/>
              <a:gd name="csY960" fmla="*/ 83538 h 1538630"/>
              <a:gd name="csX961" fmla="*/ 617152 w 1609516"/>
              <a:gd name="csY961" fmla="*/ 111954 h 1538630"/>
              <a:gd name="csX962" fmla="*/ 617884 w 1609516"/>
              <a:gd name="csY962" fmla="*/ 124175 h 1538630"/>
              <a:gd name="csX963" fmla="*/ 617917 w 1609516"/>
              <a:gd name="csY963" fmla="*/ 127607 h 1538630"/>
              <a:gd name="csX964" fmla="*/ 617919 w 1609516"/>
              <a:gd name="csY964" fmla="*/ 141969 h 1538630"/>
              <a:gd name="csX965" fmla="*/ 630625 w 1609516"/>
              <a:gd name="csY965" fmla="*/ 191311 h 1538630"/>
              <a:gd name="csX966" fmla="*/ 637850 w 1609516"/>
              <a:gd name="csY966" fmla="*/ 205139 h 1538630"/>
              <a:gd name="csX967" fmla="*/ 643708 w 1609516"/>
              <a:gd name="csY967" fmla="*/ 212009 h 1538630"/>
              <a:gd name="csX968" fmla="*/ 647027 w 1609516"/>
              <a:gd name="csY968" fmla="*/ 217645 h 1538630"/>
              <a:gd name="csX969" fmla="*/ 670264 w 1609516"/>
              <a:gd name="csY969" fmla="*/ 241603 h 1538630"/>
              <a:gd name="csX970" fmla="*/ 670264 w 1609516"/>
              <a:gd name="csY970" fmla="*/ 244421 h 1538630"/>
              <a:gd name="csX971" fmla="*/ 675634 w 1609516"/>
              <a:gd name="csY971" fmla="*/ 245742 h 1538630"/>
              <a:gd name="csX972" fmla="*/ 682761 w 1609516"/>
              <a:gd name="csY972" fmla="*/ 248649 h 1538630"/>
              <a:gd name="csX973" fmla="*/ 752092 w 1609516"/>
              <a:gd name="csY973" fmla="*/ 245076 h 1538630"/>
              <a:gd name="csX974" fmla="*/ 758433 w 1609516"/>
              <a:gd name="csY974" fmla="*/ 240485 h 1538630"/>
              <a:gd name="csX975" fmla="*/ 763991 w 1609516"/>
              <a:gd name="csY975" fmla="*/ 238784 h 1538630"/>
              <a:gd name="csX976" fmla="*/ 765315 w 1609516"/>
              <a:gd name="csY976" fmla="*/ 235778 h 1538630"/>
              <a:gd name="csX977" fmla="*/ 770923 w 1609516"/>
              <a:gd name="csY977" fmla="*/ 223459 h 1538630"/>
              <a:gd name="csX978" fmla="*/ 772998 w 1609516"/>
              <a:gd name="csY978" fmla="*/ 218934 h 1538630"/>
              <a:gd name="csX979" fmla="*/ 777562 w 1609516"/>
              <a:gd name="csY979" fmla="*/ 209895 h 1538630"/>
              <a:gd name="csX980" fmla="*/ 781175 w 1609516"/>
              <a:gd name="csY980" fmla="*/ 124637 h 1538630"/>
              <a:gd name="csX981" fmla="*/ 778051 w 1609516"/>
              <a:gd name="csY981" fmla="*/ 124637 h 1538630"/>
              <a:gd name="csX982" fmla="*/ 767116 w 1609516"/>
              <a:gd name="csY982" fmla="*/ 79542 h 1538630"/>
              <a:gd name="csX983" fmla="*/ 793379 w 1609516"/>
              <a:gd name="csY983" fmla="*/ 54000 h 1538630"/>
              <a:gd name="csX984" fmla="*/ 840688 w 1609516"/>
              <a:gd name="csY984" fmla="*/ 55503 h 1538630"/>
              <a:gd name="csX985" fmla="*/ 851470 w 1609516"/>
              <a:gd name="csY985" fmla="*/ 64040 h 1538630"/>
              <a:gd name="csX986" fmla="*/ 853997 w 1609516"/>
              <a:gd name="csY986" fmla="*/ 66529 h 1538630"/>
              <a:gd name="csX987" fmla="*/ 861488 w 1609516"/>
              <a:gd name="csY987" fmla="*/ 82057 h 1538630"/>
              <a:gd name="csX988" fmla="*/ 861937 w 1609516"/>
              <a:gd name="csY988" fmla="*/ 90492 h 1538630"/>
              <a:gd name="csX989" fmla="*/ 863826 w 1609516"/>
              <a:gd name="csY989" fmla="*/ 100715 h 1538630"/>
              <a:gd name="csX990" fmla="*/ 857577 w 1609516"/>
              <a:gd name="csY990" fmla="*/ 121853 h 1538630"/>
              <a:gd name="csX991" fmla="*/ 856015 w 1609516"/>
              <a:gd name="csY991" fmla="*/ 121853 h 1538630"/>
              <a:gd name="csX992" fmla="*/ 855442 w 1609516"/>
              <a:gd name="csY992" fmla="*/ 118919 h 1538630"/>
              <a:gd name="csX993" fmla="*/ 855417 w 1609516"/>
              <a:gd name="csY993" fmla="*/ 118798 h 1538630"/>
              <a:gd name="csX994" fmla="*/ 856157 w 1609516"/>
              <a:gd name="csY994" fmla="*/ 124637 h 1538630"/>
              <a:gd name="csX995" fmla="*/ 850623 w 1609516"/>
              <a:gd name="csY995" fmla="*/ 134701 h 1538630"/>
              <a:gd name="csX996" fmla="*/ 851325 w 1609516"/>
              <a:gd name="csY996" fmla="*/ 135968 h 1538630"/>
              <a:gd name="csX997" fmla="*/ 849886 w 1609516"/>
              <a:gd name="csY997" fmla="*/ 139843 h 1538630"/>
              <a:gd name="csX998" fmla="*/ 847786 w 1609516"/>
              <a:gd name="csY998" fmla="*/ 152889 h 1538630"/>
              <a:gd name="csX999" fmla="*/ 847767 w 1609516"/>
              <a:gd name="csY999" fmla="*/ 157768 h 1538630"/>
              <a:gd name="csX1000" fmla="*/ 847810 w 1609516"/>
              <a:gd name="csY1000" fmla="*/ 162919 h 1538630"/>
              <a:gd name="csX1001" fmla="*/ 847832 w 1609516"/>
              <a:gd name="csY1001" fmla="*/ 168227 h 1538630"/>
              <a:gd name="csX1002" fmla="*/ 850903 w 1609516"/>
              <a:gd name="csY1002" fmla="*/ 209013 h 1538630"/>
              <a:gd name="csX1003" fmla="*/ 852880 w 1609516"/>
              <a:gd name="csY1003" fmla="*/ 224692 h 1538630"/>
              <a:gd name="csX1004" fmla="*/ 854595 w 1609516"/>
              <a:gd name="csY1004" fmla="*/ 224692 h 1538630"/>
              <a:gd name="csX1005" fmla="*/ 856083 w 1609516"/>
              <a:gd name="csY1005" fmla="*/ 227268 h 1538630"/>
              <a:gd name="csX1006" fmla="*/ 879588 w 1609516"/>
              <a:gd name="csY1006" fmla="*/ 247239 h 1538630"/>
              <a:gd name="csX1007" fmla="*/ 885739 w 1609516"/>
              <a:gd name="csY1007" fmla="*/ 249618 h 1538630"/>
              <a:gd name="csX1008" fmla="*/ 890523 w 1609516"/>
              <a:gd name="csY1008" fmla="*/ 251467 h 1538630"/>
              <a:gd name="csX1009" fmla="*/ 890523 w 1609516"/>
              <a:gd name="csY1009" fmla="*/ 254285 h 1538630"/>
              <a:gd name="csX1010" fmla="*/ 920203 w 1609516"/>
              <a:gd name="csY1010" fmla="*/ 261332 h 1538630"/>
              <a:gd name="csX1011" fmla="*/ 920203 w 1609516"/>
              <a:gd name="csY1011" fmla="*/ 262741 h 1538630"/>
              <a:gd name="csX1012" fmla="*/ 910831 w 1609516"/>
              <a:gd name="csY1012" fmla="*/ 262741 h 1538630"/>
              <a:gd name="csX1013" fmla="*/ 910831 w 1609516"/>
              <a:gd name="csY1013" fmla="*/ 262864 h 1538630"/>
              <a:gd name="csX1014" fmla="*/ 927993 w 1609516"/>
              <a:gd name="csY1014" fmla="*/ 264177 h 1538630"/>
              <a:gd name="csX1015" fmla="*/ 939273 w 1609516"/>
              <a:gd name="csY1015" fmla="*/ 265285 h 1538630"/>
              <a:gd name="csX1016" fmla="*/ 940456 w 1609516"/>
              <a:gd name="csY1016" fmla="*/ 265191 h 1538630"/>
              <a:gd name="csX1017" fmla="*/ 991622 w 1609516"/>
              <a:gd name="csY1017" fmla="*/ 242329 h 1538630"/>
              <a:gd name="csX1018" fmla="*/ 1000803 w 1609516"/>
              <a:gd name="csY1018" fmla="*/ 236505 h 1538630"/>
              <a:gd name="csX1019" fmla="*/ 999806 w 1609516"/>
              <a:gd name="csY1019" fmla="*/ 236055 h 1538630"/>
              <a:gd name="csX1020" fmla="*/ 1003126 w 1609516"/>
              <a:gd name="csY1020" fmla="*/ 232851 h 1538630"/>
              <a:gd name="csX1021" fmla="*/ 1029487 w 1609516"/>
              <a:gd name="csY1021" fmla="*/ 205052 h 1538630"/>
              <a:gd name="csX1022" fmla="*/ 1029872 w 1609516"/>
              <a:gd name="csY1022" fmla="*/ 206442 h 1538630"/>
              <a:gd name="csX1023" fmla="*/ 1031614 w 1609516"/>
              <a:gd name="csY1023" fmla="*/ 203719 h 1538630"/>
              <a:gd name="csX1024" fmla="*/ 1038924 w 1609516"/>
              <a:gd name="csY1024" fmla="*/ 192280 h 1538630"/>
              <a:gd name="csX1025" fmla="*/ 1042049 w 1609516"/>
              <a:gd name="csY1025" fmla="*/ 190870 h 1538630"/>
              <a:gd name="csX1026" fmla="*/ 1044294 w 1609516"/>
              <a:gd name="csY1026" fmla="*/ 186026 h 1538630"/>
              <a:gd name="csX1027" fmla="*/ 1051422 w 1609516"/>
              <a:gd name="csY1027" fmla="*/ 178188 h 1538630"/>
              <a:gd name="csX1028" fmla="*/ 1052984 w 1609516"/>
              <a:gd name="csY1028" fmla="*/ 172551 h 1538630"/>
              <a:gd name="csX1029" fmla="*/ 1056108 w 1609516"/>
              <a:gd name="csY1029" fmla="*/ 172551 h 1538630"/>
              <a:gd name="csX1030" fmla="*/ 1059232 w 1609516"/>
              <a:gd name="csY1030" fmla="*/ 162686 h 1538630"/>
              <a:gd name="csX1031" fmla="*/ 1062357 w 1609516"/>
              <a:gd name="csY1031" fmla="*/ 162686 h 1538630"/>
              <a:gd name="csX1032" fmla="*/ 1063162 w 1609516"/>
              <a:gd name="csY1032" fmla="*/ 160258 h 1538630"/>
              <a:gd name="csX1033" fmla="*/ 1073292 w 1609516"/>
              <a:gd name="csY1033" fmla="*/ 140138 h 1538630"/>
              <a:gd name="csX1034" fmla="*/ 1076415 w 1609516"/>
              <a:gd name="csY1034" fmla="*/ 140138 h 1538630"/>
              <a:gd name="csX1035" fmla="*/ 1085294 w 1609516"/>
              <a:gd name="csY1035" fmla="*/ 117569 h 1538630"/>
              <a:gd name="csX1036" fmla="*/ 1087350 w 1609516"/>
              <a:gd name="csY1036" fmla="*/ 113363 h 1538630"/>
              <a:gd name="csX1037" fmla="*/ 1092037 w 1609516"/>
              <a:gd name="csY1037" fmla="*/ 111954 h 1538630"/>
              <a:gd name="csX1038" fmla="*/ 1092623 w 1609516"/>
              <a:gd name="csY1038" fmla="*/ 108695 h 1538630"/>
              <a:gd name="csX1039" fmla="*/ 1096723 w 1609516"/>
              <a:gd name="csY1039" fmla="*/ 100680 h 1538630"/>
              <a:gd name="csX1040" fmla="*/ 1098188 w 1609516"/>
              <a:gd name="csY1040" fmla="*/ 96013 h 1538630"/>
              <a:gd name="csX1041" fmla="*/ 1102288 w 1609516"/>
              <a:gd name="csY1041" fmla="*/ 87029 h 1538630"/>
              <a:gd name="csX1042" fmla="*/ 1104534 w 1609516"/>
              <a:gd name="csY1042" fmla="*/ 61222 h 1538630"/>
              <a:gd name="csX1043" fmla="*/ 1104381 w 1609516"/>
              <a:gd name="csY1043" fmla="*/ 55569 h 1538630"/>
              <a:gd name="csX1044" fmla="*/ 1104397 w 1609516"/>
              <a:gd name="csY1044" fmla="*/ 52335 h 1538630"/>
              <a:gd name="csX1045" fmla="*/ 1104436 w 1609516"/>
              <a:gd name="csY1045" fmla="*/ 48979 h 1538630"/>
              <a:gd name="csX1046" fmla="*/ 1104457 w 1609516"/>
              <a:gd name="csY1046" fmla="*/ 45575 h 1538630"/>
              <a:gd name="csX1047" fmla="*/ 1104534 w 1609516"/>
              <a:gd name="csY1047" fmla="*/ 37265 h 1538630"/>
              <a:gd name="csX1048" fmla="*/ 1107658 w 1609516"/>
              <a:gd name="csY1048" fmla="*/ 37265 h 1538630"/>
              <a:gd name="csX1049" fmla="*/ 1107463 w 1609516"/>
              <a:gd name="csY1049" fmla="*/ 31805 h 1538630"/>
              <a:gd name="csX1050" fmla="*/ 1107658 w 1609516"/>
              <a:gd name="csY1050" fmla="*/ 25991 h 1538630"/>
              <a:gd name="csX1051" fmla="*/ 1110782 w 1609516"/>
              <a:gd name="csY1051" fmla="*/ 23173 h 1538630"/>
              <a:gd name="csX1052" fmla="*/ 1111759 w 1609516"/>
              <a:gd name="csY1052" fmla="*/ 20091 h 1538630"/>
              <a:gd name="csX1053" fmla="*/ 1134507 w 1609516"/>
              <a:gd name="csY1053" fmla="*/ 2828 h 1538630"/>
              <a:gd name="csX1054" fmla="*/ 1155019 w 1609516"/>
              <a:gd name="csY1054" fmla="*/ 35 h 153863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  <a:cxn ang="0">
                <a:pos x="csX170" y="csY170"/>
              </a:cxn>
              <a:cxn ang="0">
                <a:pos x="csX171" y="csY171"/>
              </a:cxn>
              <a:cxn ang="0">
                <a:pos x="csX172" y="csY172"/>
              </a:cxn>
              <a:cxn ang="0">
                <a:pos x="csX173" y="csY173"/>
              </a:cxn>
              <a:cxn ang="0">
                <a:pos x="csX174" y="csY174"/>
              </a:cxn>
              <a:cxn ang="0">
                <a:pos x="csX175" y="csY175"/>
              </a:cxn>
              <a:cxn ang="0">
                <a:pos x="csX176" y="csY176"/>
              </a:cxn>
              <a:cxn ang="0">
                <a:pos x="csX177" y="csY177"/>
              </a:cxn>
              <a:cxn ang="0">
                <a:pos x="csX178" y="csY178"/>
              </a:cxn>
              <a:cxn ang="0">
                <a:pos x="csX179" y="csY179"/>
              </a:cxn>
              <a:cxn ang="0">
                <a:pos x="csX180" y="csY180"/>
              </a:cxn>
              <a:cxn ang="0">
                <a:pos x="csX181" y="csY181"/>
              </a:cxn>
              <a:cxn ang="0">
                <a:pos x="csX182" y="csY182"/>
              </a:cxn>
              <a:cxn ang="0">
                <a:pos x="csX183" y="csY183"/>
              </a:cxn>
              <a:cxn ang="0">
                <a:pos x="csX184" y="csY184"/>
              </a:cxn>
              <a:cxn ang="0">
                <a:pos x="csX185" y="csY185"/>
              </a:cxn>
              <a:cxn ang="0">
                <a:pos x="csX186" y="csY186"/>
              </a:cxn>
              <a:cxn ang="0">
                <a:pos x="csX187" y="csY187"/>
              </a:cxn>
              <a:cxn ang="0">
                <a:pos x="csX188" y="csY188"/>
              </a:cxn>
              <a:cxn ang="0">
                <a:pos x="csX189" y="csY189"/>
              </a:cxn>
              <a:cxn ang="0">
                <a:pos x="csX190" y="csY190"/>
              </a:cxn>
              <a:cxn ang="0">
                <a:pos x="csX191" y="csY191"/>
              </a:cxn>
              <a:cxn ang="0">
                <a:pos x="csX192" y="csY192"/>
              </a:cxn>
              <a:cxn ang="0">
                <a:pos x="csX193" y="csY193"/>
              </a:cxn>
              <a:cxn ang="0">
                <a:pos x="csX194" y="csY194"/>
              </a:cxn>
              <a:cxn ang="0">
                <a:pos x="csX195" y="csY195"/>
              </a:cxn>
              <a:cxn ang="0">
                <a:pos x="csX196" y="csY196"/>
              </a:cxn>
              <a:cxn ang="0">
                <a:pos x="csX197" y="csY197"/>
              </a:cxn>
              <a:cxn ang="0">
                <a:pos x="csX198" y="csY198"/>
              </a:cxn>
              <a:cxn ang="0">
                <a:pos x="csX199" y="csY199"/>
              </a:cxn>
              <a:cxn ang="0">
                <a:pos x="csX200" y="csY200"/>
              </a:cxn>
              <a:cxn ang="0">
                <a:pos x="csX201" y="csY201"/>
              </a:cxn>
              <a:cxn ang="0">
                <a:pos x="csX202" y="csY202"/>
              </a:cxn>
              <a:cxn ang="0">
                <a:pos x="csX203" y="csY203"/>
              </a:cxn>
              <a:cxn ang="0">
                <a:pos x="csX204" y="csY204"/>
              </a:cxn>
              <a:cxn ang="0">
                <a:pos x="csX205" y="csY205"/>
              </a:cxn>
              <a:cxn ang="0">
                <a:pos x="csX206" y="csY206"/>
              </a:cxn>
              <a:cxn ang="0">
                <a:pos x="csX207" y="csY207"/>
              </a:cxn>
              <a:cxn ang="0">
                <a:pos x="csX208" y="csY208"/>
              </a:cxn>
              <a:cxn ang="0">
                <a:pos x="csX209" y="csY209"/>
              </a:cxn>
              <a:cxn ang="0">
                <a:pos x="csX210" y="csY210"/>
              </a:cxn>
              <a:cxn ang="0">
                <a:pos x="csX211" y="csY211"/>
              </a:cxn>
              <a:cxn ang="0">
                <a:pos x="csX212" y="csY212"/>
              </a:cxn>
              <a:cxn ang="0">
                <a:pos x="csX213" y="csY213"/>
              </a:cxn>
              <a:cxn ang="0">
                <a:pos x="csX214" y="csY214"/>
              </a:cxn>
              <a:cxn ang="0">
                <a:pos x="csX215" y="csY215"/>
              </a:cxn>
              <a:cxn ang="0">
                <a:pos x="csX216" y="csY216"/>
              </a:cxn>
              <a:cxn ang="0">
                <a:pos x="csX217" y="csY217"/>
              </a:cxn>
              <a:cxn ang="0">
                <a:pos x="csX218" y="csY218"/>
              </a:cxn>
              <a:cxn ang="0">
                <a:pos x="csX219" y="csY219"/>
              </a:cxn>
              <a:cxn ang="0">
                <a:pos x="csX220" y="csY220"/>
              </a:cxn>
              <a:cxn ang="0">
                <a:pos x="csX221" y="csY221"/>
              </a:cxn>
              <a:cxn ang="0">
                <a:pos x="csX222" y="csY222"/>
              </a:cxn>
              <a:cxn ang="0">
                <a:pos x="csX223" y="csY223"/>
              </a:cxn>
              <a:cxn ang="0">
                <a:pos x="csX224" y="csY224"/>
              </a:cxn>
              <a:cxn ang="0">
                <a:pos x="csX225" y="csY225"/>
              </a:cxn>
              <a:cxn ang="0">
                <a:pos x="csX226" y="csY226"/>
              </a:cxn>
              <a:cxn ang="0">
                <a:pos x="csX227" y="csY227"/>
              </a:cxn>
              <a:cxn ang="0">
                <a:pos x="csX228" y="csY228"/>
              </a:cxn>
              <a:cxn ang="0">
                <a:pos x="csX229" y="csY229"/>
              </a:cxn>
              <a:cxn ang="0">
                <a:pos x="csX230" y="csY230"/>
              </a:cxn>
              <a:cxn ang="0">
                <a:pos x="csX231" y="csY231"/>
              </a:cxn>
              <a:cxn ang="0">
                <a:pos x="csX232" y="csY232"/>
              </a:cxn>
              <a:cxn ang="0">
                <a:pos x="csX233" y="csY233"/>
              </a:cxn>
              <a:cxn ang="0">
                <a:pos x="csX234" y="csY234"/>
              </a:cxn>
              <a:cxn ang="0">
                <a:pos x="csX235" y="csY235"/>
              </a:cxn>
              <a:cxn ang="0">
                <a:pos x="csX236" y="csY236"/>
              </a:cxn>
              <a:cxn ang="0">
                <a:pos x="csX237" y="csY237"/>
              </a:cxn>
              <a:cxn ang="0">
                <a:pos x="csX238" y="csY238"/>
              </a:cxn>
              <a:cxn ang="0">
                <a:pos x="csX239" y="csY239"/>
              </a:cxn>
              <a:cxn ang="0">
                <a:pos x="csX240" y="csY240"/>
              </a:cxn>
              <a:cxn ang="0">
                <a:pos x="csX241" y="csY241"/>
              </a:cxn>
              <a:cxn ang="0">
                <a:pos x="csX242" y="csY242"/>
              </a:cxn>
              <a:cxn ang="0">
                <a:pos x="csX243" y="csY243"/>
              </a:cxn>
              <a:cxn ang="0">
                <a:pos x="csX244" y="csY244"/>
              </a:cxn>
              <a:cxn ang="0">
                <a:pos x="csX245" y="csY245"/>
              </a:cxn>
              <a:cxn ang="0">
                <a:pos x="csX246" y="csY246"/>
              </a:cxn>
              <a:cxn ang="0">
                <a:pos x="csX247" y="csY247"/>
              </a:cxn>
              <a:cxn ang="0">
                <a:pos x="csX248" y="csY248"/>
              </a:cxn>
              <a:cxn ang="0">
                <a:pos x="csX249" y="csY249"/>
              </a:cxn>
              <a:cxn ang="0">
                <a:pos x="csX250" y="csY250"/>
              </a:cxn>
              <a:cxn ang="0">
                <a:pos x="csX251" y="csY251"/>
              </a:cxn>
              <a:cxn ang="0">
                <a:pos x="csX252" y="csY252"/>
              </a:cxn>
              <a:cxn ang="0">
                <a:pos x="csX253" y="csY253"/>
              </a:cxn>
              <a:cxn ang="0">
                <a:pos x="csX254" y="csY254"/>
              </a:cxn>
              <a:cxn ang="0">
                <a:pos x="csX255" y="csY255"/>
              </a:cxn>
              <a:cxn ang="0">
                <a:pos x="csX256" y="csY256"/>
              </a:cxn>
              <a:cxn ang="0">
                <a:pos x="csX257" y="csY257"/>
              </a:cxn>
              <a:cxn ang="0">
                <a:pos x="csX258" y="csY258"/>
              </a:cxn>
              <a:cxn ang="0">
                <a:pos x="csX259" y="csY259"/>
              </a:cxn>
              <a:cxn ang="0">
                <a:pos x="csX260" y="csY260"/>
              </a:cxn>
              <a:cxn ang="0">
                <a:pos x="csX261" y="csY261"/>
              </a:cxn>
              <a:cxn ang="0">
                <a:pos x="csX262" y="csY262"/>
              </a:cxn>
              <a:cxn ang="0">
                <a:pos x="csX263" y="csY263"/>
              </a:cxn>
              <a:cxn ang="0">
                <a:pos x="csX264" y="csY264"/>
              </a:cxn>
              <a:cxn ang="0">
                <a:pos x="csX265" y="csY265"/>
              </a:cxn>
              <a:cxn ang="0">
                <a:pos x="csX266" y="csY266"/>
              </a:cxn>
              <a:cxn ang="0">
                <a:pos x="csX267" y="csY267"/>
              </a:cxn>
              <a:cxn ang="0">
                <a:pos x="csX268" y="csY268"/>
              </a:cxn>
              <a:cxn ang="0">
                <a:pos x="csX269" y="csY269"/>
              </a:cxn>
              <a:cxn ang="0">
                <a:pos x="csX270" y="csY270"/>
              </a:cxn>
              <a:cxn ang="0">
                <a:pos x="csX271" y="csY271"/>
              </a:cxn>
              <a:cxn ang="0">
                <a:pos x="csX272" y="csY272"/>
              </a:cxn>
              <a:cxn ang="0">
                <a:pos x="csX273" y="csY273"/>
              </a:cxn>
              <a:cxn ang="0">
                <a:pos x="csX274" y="csY274"/>
              </a:cxn>
              <a:cxn ang="0">
                <a:pos x="csX275" y="csY275"/>
              </a:cxn>
              <a:cxn ang="0">
                <a:pos x="csX276" y="csY276"/>
              </a:cxn>
              <a:cxn ang="0">
                <a:pos x="csX277" y="csY277"/>
              </a:cxn>
              <a:cxn ang="0">
                <a:pos x="csX278" y="csY278"/>
              </a:cxn>
              <a:cxn ang="0">
                <a:pos x="csX279" y="csY279"/>
              </a:cxn>
              <a:cxn ang="0">
                <a:pos x="csX280" y="csY280"/>
              </a:cxn>
              <a:cxn ang="0">
                <a:pos x="csX281" y="csY281"/>
              </a:cxn>
              <a:cxn ang="0">
                <a:pos x="csX282" y="csY282"/>
              </a:cxn>
              <a:cxn ang="0">
                <a:pos x="csX283" y="csY283"/>
              </a:cxn>
              <a:cxn ang="0">
                <a:pos x="csX284" y="csY284"/>
              </a:cxn>
              <a:cxn ang="0">
                <a:pos x="csX285" y="csY285"/>
              </a:cxn>
              <a:cxn ang="0">
                <a:pos x="csX286" y="csY286"/>
              </a:cxn>
              <a:cxn ang="0">
                <a:pos x="csX287" y="csY287"/>
              </a:cxn>
              <a:cxn ang="0">
                <a:pos x="csX288" y="csY288"/>
              </a:cxn>
              <a:cxn ang="0">
                <a:pos x="csX289" y="csY289"/>
              </a:cxn>
              <a:cxn ang="0">
                <a:pos x="csX290" y="csY290"/>
              </a:cxn>
              <a:cxn ang="0">
                <a:pos x="csX291" y="csY291"/>
              </a:cxn>
              <a:cxn ang="0">
                <a:pos x="csX292" y="csY292"/>
              </a:cxn>
              <a:cxn ang="0">
                <a:pos x="csX293" y="csY293"/>
              </a:cxn>
              <a:cxn ang="0">
                <a:pos x="csX294" y="csY294"/>
              </a:cxn>
              <a:cxn ang="0">
                <a:pos x="csX295" y="csY295"/>
              </a:cxn>
              <a:cxn ang="0">
                <a:pos x="csX296" y="csY296"/>
              </a:cxn>
              <a:cxn ang="0">
                <a:pos x="csX297" y="csY297"/>
              </a:cxn>
              <a:cxn ang="0">
                <a:pos x="csX298" y="csY298"/>
              </a:cxn>
              <a:cxn ang="0">
                <a:pos x="csX299" y="csY299"/>
              </a:cxn>
              <a:cxn ang="0">
                <a:pos x="csX300" y="csY300"/>
              </a:cxn>
              <a:cxn ang="0">
                <a:pos x="csX301" y="csY301"/>
              </a:cxn>
              <a:cxn ang="0">
                <a:pos x="csX302" y="csY302"/>
              </a:cxn>
              <a:cxn ang="0">
                <a:pos x="csX303" y="csY303"/>
              </a:cxn>
              <a:cxn ang="0">
                <a:pos x="csX304" y="csY304"/>
              </a:cxn>
              <a:cxn ang="0">
                <a:pos x="csX305" y="csY305"/>
              </a:cxn>
              <a:cxn ang="0">
                <a:pos x="csX306" y="csY306"/>
              </a:cxn>
              <a:cxn ang="0">
                <a:pos x="csX307" y="csY307"/>
              </a:cxn>
              <a:cxn ang="0">
                <a:pos x="csX308" y="csY308"/>
              </a:cxn>
              <a:cxn ang="0">
                <a:pos x="csX309" y="csY309"/>
              </a:cxn>
              <a:cxn ang="0">
                <a:pos x="csX310" y="csY310"/>
              </a:cxn>
              <a:cxn ang="0">
                <a:pos x="csX311" y="csY311"/>
              </a:cxn>
              <a:cxn ang="0">
                <a:pos x="csX312" y="csY312"/>
              </a:cxn>
              <a:cxn ang="0">
                <a:pos x="csX313" y="csY313"/>
              </a:cxn>
              <a:cxn ang="0">
                <a:pos x="csX314" y="csY314"/>
              </a:cxn>
              <a:cxn ang="0">
                <a:pos x="csX315" y="csY315"/>
              </a:cxn>
              <a:cxn ang="0">
                <a:pos x="csX316" y="csY316"/>
              </a:cxn>
              <a:cxn ang="0">
                <a:pos x="csX317" y="csY317"/>
              </a:cxn>
              <a:cxn ang="0">
                <a:pos x="csX318" y="csY318"/>
              </a:cxn>
              <a:cxn ang="0">
                <a:pos x="csX319" y="csY319"/>
              </a:cxn>
              <a:cxn ang="0">
                <a:pos x="csX320" y="csY320"/>
              </a:cxn>
              <a:cxn ang="0">
                <a:pos x="csX321" y="csY321"/>
              </a:cxn>
              <a:cxn ang="0">
                <a:pos x="csX322" y="csY322"/>
              </a:cxn>
              <a:cxn ang="0">
                <a:pos x="csX323" y="csY323"/>
              </a:cxn>
              <a:cxn ang="0">
                <a:pos x="csX324" y="csY324"/>
              </a:cxn>
              <a:cxn ang="0">
                <a:pos x="csX325" y="csY325"/>
              </a:cxn>
              <a:cxn ang="0">
                <a:pos x="csX326" y="csY326"/>
              </a:cxn>
              <a:cxn ang="0">
                <a:pos x="csX327" y="csY327"/>
              </a:cxn>
              <a:cxn ang="0">
                <a:pos x="csX328" y="csY328"/>
              </a:cxn>
              <a:cxn ang="0">
                <a:pos x="csX329" y="csY329"/>
              </a:cxn>
              <a:cxn ang="0">
                <a:pos x="csX330" y="csY330"/>
              </a:cxn>
              <a:cxn ang="0">
                <a:pos x="csX331" y="csY331"/>
              </a:cxn>
              <a:cxn ang="0">
                <a:pos x="csX332" y="csY332"/>
              </a:cxn>
              <a:cxn ang="0">
                <a:pos x="csX333" y="csY333"/>
              </a:cxn>
              <a:cxn ang="0">
                <a:pos x="csX334" y="csY334"/>
              </a:cxn>
              <a:cxn ang="0">
                <a:pos x="csX335" y="csY335"/>
              </a:cxn>
              <a:cxn ang="0">
                <a:pos x="csX336" y="csY336"/>
              </a:cxn>
              <a:cxn ang="0">
                <a:pos x="csX337" y="csY337"/>
              </a:cxn>
              <a:cxn ang="0">
                <a:pos x="csX338" y="csY338"/>
              </a:cxn>
              <a:cxn ang="0">
                <a:pos x="csX339" y="csY339"/>
              </a:cxn>
              <a:cxn ang="0">
                <a:pos x="csX340" y="csY340"/>
              </a:cxn>
              <a:cxn ang="0">
                <a:pos x="csX341" y="csY341"/>
              </a:cxn>
              <a:cxn ang="0">
                <a:pos x="csX342" y="csY342"/>
              </a:cxn>
              <a:cxn ang="0">
                <a:pos x="csX343" y="csY343"/>
              </a:cxn>
              <a:cxn ang="0">
                <a:pos x="csX344" y="csY344"/>
              </a:cxn>
              <a:cxn ang="0">
                <a:pos x="csX345" y="csY345"/>
              </a:cxn>
              <a:cxn ang="0">
                <a:pos x="csX346" y="csY346"/>
              </a:cxn>
              <a:cxn ang="0">
                <a:pos x="csX347" y="csY347"/>
              </a:cxn>
              <a:cxn ang="0">
                <a:pos x="csX348" y="csY348"/>
              </a:cxn>
              <a:cxn ang="0">
                <a:pos x="csX349" y="csY349"/>
              </a:cxn>
              <a:cxn ang="0">
                <a:pos x="csX350" y="csY350"/>
              </a:cxn>
              <a:cxn ang="0">
                <a:pos x="csX351" y="csY351"/>
              </a:cxn>
              <a:cxn ang="0">
                <a:pos x="csX352" y="csY352"/>
              </a:cxn>
              <a:cxn ang="0">
                <a:pos x="csX353" y="csY353"/>
              </a:cxn>
              <a:cxn ang="0">
                <a:pos x="csX354" y="csY354"/>
              </a:cxn>
              <a:cxn ang="0">
                <a:pos x="csX355" y="csY355"/>
              </a:cxn>
              <a:cxn ang="0">
                <a:pos x="csX356" y="csY356"/>
              </a:cxn>
              <a:cxn ang="0">
                <a:pos x="csX357" y="csY357"/>
              </a:cxn>
              <a:cxn ang="0">
                <a:pos x="csX358" y="csY358"/>
              </a:cxn>
              <a:cxn ang="0">
                <a:pos x="csX359" y="csY359"/>
              </a:cxn>
              <a:cxn ang="0">
                <a:pos x="csX360" y="csY360"/>
              </a:cxn>
              <a:cxn ang="0">
                <a:pos x="csX361" y="csY361"/>
              </a:cxn>
              <a:cxn ang="0">
                <a:pos x="csX362" y="csY362"/>
              </a:cxn>
              <a:cxn ang="0">
                <a:pos x="csX363" y="csY363"/>
              </a:cxn>
              <a:cxn ang="0">
                <a:pos x="csX364" y="csY364"/>
              </a:cxn>
              <a:cxn ang="0">
                <a:pos x="csX365" y="csY365"/>
              </a:cxn>
              <a:cxn ang="0">
                <a:pos x="csX366" y="csY366"/>
              </a:cxn>
              <a:cxn ang="0">
                <a:pos x="csX367" y="csY367"/>
              </a:cxn>
              <a:cxn ang="0">
                <a:pos x="csX368" y="csY368"/>
              </a:cxn>
              <a:cxn ang="0">
                <a:pos x="csX369" y="csY369"/>
              </a:cxn>
              <a:cxn ang="0">
                <a:pos x="csX370" y="csY370"/>
              </a:cxn>
              <a:cxn ang="0">
                <a:pos x="csX371" y="csY371"/>
              </a:cxn>
              <a:cxn ang="0">
                <a:pos x="csX372" y="csY372"/>
              </a:cxn>
              <a:cxn ang="0">
                <a:pos x="csX373" y="csY373"/>
              </a:cxn>
              <a:cxn ang="0">
                <a:pos x="csX374" y="csY374"/>
              </a:cxn>
              <a:cxn ang="0">
                <a:pos x="csX375" y="csY375"/>
              </a:cxn>
              <a:cxn ang="0">
                <a:pos x="csX376" y="csY376"/>
              </a:cxn>
              <a:cxn ang="0">
                <a:pos x="csX377" y="csY377"/>
              </a:cxn>
              <a:cxn ang="0">
                <a:pos x="csX378" y="csY378"/>
              </a:cxn>
              <a:cxn ang="0">
                <a:pos x="csX379" y="csY379"/>
              </a:cxn>
              <a:cxn ang="0">
                <a:pos x="csX380" y="csY380"/>
              </a:cxn>
              <a:cxn ang="0">
                <a:pos x="csX381" y="csY381"/>
              </a:cxn>
              <a:cxn ang="0">
                <a:pos x="csX382" y="csY382"/>
              </a:cxn>
              <a:cxn ang="0">
                <a:pos x="csX383" y="csY383"/>
              </a:cxn>
              <a:cxn ang="0">
                <a:pos x="csX384" y="csY384"/>
              </a:cxn>
              <a:cxn ang="0">
                <a:pos x="csX385" y="csY385"/>
              </a:cxn>
              <a:cxn ang="0">
                <a:pos x="csX386" y="csY386"/>
              </a:cxn>
              <a:cxn ang="0">
                <a:pos x="csX387" y="csY387"/>
              </a:cxn>
              <a:cxn ang="0">
                <a:pos x="csX388" y="csY388"/>
              </a:cxn>
              <a:cxn ang="0">
                <a:pos x="csX389" y="csY389"/>
              </a:cxn>
              <a:cxn ang="0">
                <a:pos x="csX390" y="csY390"/>
              </a:cxn>
              <a:cxn ang="0">
                <a:pos x="csX391" y="csY391"/>
              </a:cxn>
              <a:cxn ang="0">
                <a:pos x="csX392" y="csY392"/>
              </a:cxn>
              <a:cxn ang="0">
                <a:pos x="csX393" y="csY393"/>
              </a:cxn>
              <a:cxn ang="0">
                <a:pos x="csX394" y="csY394"/>
              </a:cxn>
              <a:cxn ang="0">
                <a:pos x="csX395" y="csY395"/>
              </a:cxn>
              <a:cxn ang="0">
                <a:pos x="csX396" y="csY396"/>
              </a:cxn>
              <a:cxn ang="0">
                <a:pos x="csX397" y="csY397"/>
              </a:cxn>
              <a:cxn ang="0">
                <a:pos x="csX398" y="csY398"/>
              </a:cxn>
              <a:cxn ang="0">
                <a:pos x="csX399" y="csY399"/>
              </a:cxn>
              <a:cxn ang="0">
                <a:pos x="csX400" y="csY400"/>
              </a:cxn>
              <a:cxn ang="0">
                <a:pos x="csX401" y="csY401"/>
              </a:cxn>
              <a:cxn ang="0">
                <a:pos x="csX402" y="csY402"/>
              </a:cxn>
              <a:cxn ang="0">
                <a:pos x="csX403" y="csY403"/>
              </a:cxn>
              <a:cxn ang="0">
                <a:pos x="csX404" y="csY404"/>
              </a:cxn>
              <a:cxn ang="0">
                <a:pos x="csX405" y="csY405"/>
              </a:cxn>
              <a:cxn ang="0">
                <a:pos x="csX406" y="csY406"/>
              </a:cxn>
              <a:cxn ang="0">
                <a:pos x="csX407" y="csY407"/>
              </a:cxn>
              <a:cxn ang="0">
                <a:pos x="csX408" y="csY408"/>
              </a:cxn>
              <a:cxn ang="0">
                <a:pos x="csX409" y="csY409"/>
              </a:cxn>
              <a:cxn ang="0">
                <a:pos x="csX410" y="csY410"/>
              </a:cxn>
              <a:cxn ang="0">
                <a:pos x="csX411" y="csY411"/>
              </a:cxn>
              <a:cxn ang="0">
                <a:pos x="csX412" y="csY412"/>
              </a:cxn>
              <a:cxn ang="0">
                <a:pos x="csX413" y="csY413"/>
              </a:cxn>
              <a:cxn ang="0">
                <a:pos x="csX414" y="csY414"/>
              </a:cxn>
              <a:cxn ang="0">
                <a:pos x="csX415" y="csY415"/>
              </a:cxn>
              <a:cxn ang="0">
                <a:pos x="csX416" y="csY416"/>
              </a:cxn>
              <a:cxn ang="0">
                <a:pos x="csX417" y="csY417"/>
              </a:cxn>
              <a:cxn ang="0">
                <a:pos x="csX418" y="csY418"/>
              </a:cxn>
              <a:cxn ang="0">
                <a:pos x="csX419" y="csY419"/>
              </a:cxn>
              <a:cxn ang="0">
                <a:pos x="csX420" y="csY420"/>
              </a:cxn>
              <a:cxn ang="0">
                <a:pos x="csX421" y="csY421"/>
              </a:cxn>
              <a:cxn ang="0">
                <a:pos x="csX422" y="csY422"/>
              </a:cxn>
              <a:cxn ang="0">
                <a:pos x="csX423" y="csY423"/>
              </a:cxn>
              <a:cxn ang="0">
                <a:pos x="csX424" y="csY424"/>
              </a:cxn>
              <a:cxn ang="0">
                <a:pos x="csX425" y="csY425"/>
              </a:cxn>
              <a:cxn ang="0">
                <a:pos x="csX426" y="csY426"/>
              </a:cxn>
              <a:cxn ang="0">
                <a:pos x="csX427" y="csY427"/>
              </a:cxn>
              <a:cxn ang="0">
                <a:pos x="csX428" y="csY428"/>
              </a:cxn>
              <a:cxn ang="0">
                <a:pos x="csX429" y="csY429"/>
              </a:cxn>
              <a:cxn ang="0">
                <a:pos x="csX430" y="csY430"/>
              </a:cxn>
              <a:cxn ang="0">
                <a:pos x="csX431" y="csY431"/>
              </a:cxn>
              <a:cxn ang="0">
                <a:pos x="csX432" y="csY432"/>
              </a:cxn>
              <a:cxn ang="0">
                <a:pos x="csX433" y="csY433"/>
              </a:cxn>
              <a:cxn ang="0">
                <a:pos x="csX434" y="csY434"/>
              </a:cxn>
              <a:cxn ang="0">
                <a:pos x="csX435" y="csY435"/>
              </a:cxn>
              <a:cxn ang="0">
                <a:pos x="csX436" y="csY436"/>
              </a:cxn>
              <a:cxn ang="0">
                <a:pos x="csX437" y="csY437"/>
              </a:cxn>
              <a:cxn ang="0">
                <a:pos x="csX438" y="csY438"/>
              </a:cxn>
              <a:cxn ang="0">
                <a:pos x="csX439" y="csY439"/>
              </a:cxn>
              <a:cxn ang="0">
                <a:pos x="csX440" y="csY440"/>
              </a:cxn>
              <a:cxn ang="0">
                <a:pos x="csX441" y="csY441"/>
              </a:cxn>
              <a:cxn ang="0">
                <a:pos x="csX442" y="csY442"/>
              </a:cxn>
              <a:cxn ang="0">
                <a:pos x="csX443" y="csY443"/>
              </a:cxn>
              <a:cxn ang="0">
                <a:pos x="csX444" y="csY444"/>
              </a:cxn>
              <a:cxn ang="0">
                <a:pos x="csX445" y="csY445"/>
              </a:cxn>
              <a:cxn ang="0">
                <a:pos x="csX446" y="csY446"/>
              </a:cxn>
              <a:cxn ang="0">
                <a:pos x="csX447" y="csY447"/>
              </a:cxn>
              <a:cxn ang="0">
                <a:pos x="csX448" y="csY448"/>
              </a:cxn>
              <a:cxn ang="0">
                <a:pos x="csX449" y="csY449"/>
              </a:cxn>
              <a:cxn ang="0">
                <a:pos x="csX450" y="csY450"/>
              </a:cxn>
              <a:cxn ang="0">
                <a:pos x="csX451" y="csY451"/>
              </a:cxn>
              <a:cxn ang="0">
                <a:pos x="csX452" y="csY452"/>
              </a:cxn>
              <a:cxn ang="0">
                <a:pos x="csX453" y="csY453"/>
              </a:cxn>
              <a:cxn ang="0">
                <a:pos x="csX454" y="csY454"/>
              </a:cxn>
              <a:cxn ang="0">
                <a:pos x="csX455" y="csY455"/>
              </a:cxn>
              <a:cxn ang="0">
                <a:pos x="csX456" y="csY456"/>
              </a:cxn>
              <a:cxn ang="0">
                <a:pos x="csX457" y="csY457"/>
              </a:cxn>
              <a:cxn ang="0">
                <a:pos x="csX458" y="csY458"/>
              </a:cxn>
              <a:cxn ang="0">
                <a:pos x="csX459" y="csY459"/>
              </a:cxn>
              <a:cxn ang="0">
                <a:pos x="csX460" y="csY460"/>
              </a:cxn>
              <a:cxn ang="0">
                <a:pos x="csX461" y="csY461"/>
              </a:cxn>
              <a:cxn ang="0">
                <a:pos x="csX462" y="csY462"/>
              </a:cxn>
              <a:cxn ang="0">
                <a:pos x="csX463" y="csY463"/>
              </a:cxn>
              <a:cxn ang="0">
                <a:pos x="csX464" y="csY464"/>
              </a:cxn>
              <a:cxn ang="0">
                <a:pos x="csX465" y="csY465"/>
              </a:cxn>
              <a:cxn ang="0">
                <a:pos x="csX466" y="csY466"/>
              </a:cxn>
              <a:cxn ang="0">
                <a:pos x="csX467" y="csY467"/>
              </a:cxn>
              <a:cxn ang="0">
                <a:pos x="csX468" y="csY468"/>
              </a:cxn>
              <a:cxn ang="0">
                <a:pos x="csX469" y="csY469"/>
              </a:cxn>
              <a:cxn ang="0">
                <a:pos x="csX470" y="csY470"/>
              </a:cxn>
              <a:cxn ang="0">
                <a:pos x="csX471" y="csY471"/>
              </a:cxn>
              <a:cxn ang="0">
                <a:pos x="csX472" y="csY472"/>
              </a:cxn>
              <a:cxn ang="0">
                <a:pos x="csX473" y="csY473"/>
              </a:cxn>
              <a:cxn ang="0">
                <a:pos x="csX474" y="csY474"/>
              </a:cxn>
              <a:cxn ang="0">
                <a:pos x="csX475" y="csY475"/>
              </a:cxn>
              <a:cxn ang="0">
                <a:pos x="csX476" y="csY476"/>
              </a:cxn>
              <a:cxn ang="0">
                <a:pos x="csX477" y="csY477"/>
              </a:cxn>
              <a:cxn ang="0">
                <a:pos x="csX478" y="csY478"/>
              </a:cxn>
              <a:cxn ang="0">
                <a:pos x="csX479" y="csY479"/>
              </a:cxn>
              <a:cxn ang="0">
                <a:pos x="csX480" y="csY480"/>
              </a:cxn>
              <a:cxn ang="0">
                <a:pos x="csX481" y="csY481"/>
              </a:cxn>
              <a:cxn ang="0">
                <a:pos x="csX482" y="csY482"/>
              </a:cxn>
              <a:cxn ang="0">
                <a:pos x="csX483" y="csY483"/>
              </a:cxn>
              <a:cxn ang="0">
                <a:pos x="csX484" y="csY484"/>
              </a:cxn>
              <a:cxn ang="0">
                <a:pos x="csX485" y="csY485"/>
              </a:cxn>
              <a:cxn ang="0">
                <a:pos x="csX486" y="csY486"/>
              </a:cxn>
              <a:cxn ang="0">
                <a:pos x="csX487" y="csY487"/>
              </a:cxn>
              <a:cxn ang="0">
                <a:pos x="csX488" y="csY488"/>
              </a:cxn>
              <a:cxn ang="0">
                <a:pos x="csX489" y="csY489"/>
              </a:cxn>
              <a:cxn ang="0">
                <a:pos x="csX490" y="csY490"/>
              </a:cxn>
              <a:cxn ang="0">
                <a:pos x="csX491" y="csY491"/>
              </a:cxn>
              <a:cxn ang="0">
                <a:pos x="csX492" y="csY492"/>
              </a:cxn>
              <a:cxn ang="0">
                <a:pos x="csX493" y="csY493"/>
              </a:cxn>
              <a:cxn ang="0">
                <a:pos x="csX494" y="csY494"/>
              </a:cxn>
              <a:cxn ang="0">
                <a:pos x="csX495" y="csY495"/>
              </a:cxn>
              <a:cxn ang="0">
                <a:pos x="csX496" y="csY496"/>
              </a:cxn>
              <a:cxn ang="0">
                <a:pos x="csX497" y="csY497"/>
              </a:cxn>
              <a:cxn ang="0">
                <a:pos x="csX498" y="csY498"/>
              </a:cxn>
              <a:cxn ang="0">
                <a:pos x="csX499" y="csY499"/>
              </a:cxn>
              <a:cxn ang="0">
                <a:pos x="csX500" y="csY500"/>
              </a:cxn>
              <a:cxn ang="0">
                <a:pos x="csX501" y="csY501"/>
              </a:cxn>
              <a:cxn ang="0">
                <a:pos x="csX502" y="csY502"/>
              </a:cxn>
              <a:cxn ang="0">
                <a:pos x="csX503" y="csY503"/>
              </a:cxn>
              <a:cxn ang="0">
                <a:pos x="csX504" y="csY504"/>
              </a:cxn>
              <a:cxn ang="0">
                <a:pos x="csX505" y="csY505"/>
              </a:cxn>
              <a:cxn ang="0">
                <a:pos x="csX506" y="csY506"/>
              </a:cxn>
              <a:cxn ang="0">
                <a:pos x="csX507" y="csY507"/>
              </a:cxn>
              <a:cxn ang="0">
                <a:pos x="csX508" y="csY508"/>
              </a:cxn>
              <a:cxn ang="0">
                <a:pos x="csX509" y="csY509"/>
              </a:cxn>
              <a:cxn ang="0">
                <a:pos x="csX510" y="csY510"/>
              </a:cxn>
              <a:cxn ang="0">
                <a:pos x="csX511" y="csY511"/>
              </a:cxn>
              <a:cxn ang="0">
                <a:pos x="csX512" y="csY512"/>
              </a:cxn>
              <a:cxn ang="0">
                <a:pos x="csX513" y="csY513"/>
              </a:cxn>
              <a:cxn ang="0">
                <a:pos x="csX514" y="csY514"/>
              </a:cxn>
              <a:cxn ang="0">
                <a:pos x="csX515" y="csY515"/>
              </a:cxn>
              <a:cxn ang="0">
                <a:pos x="csX516" y="csY516"/>
              </a:cxn>
              <a:cxn ang="0">
                <a:pos x="csX517" y="csY517"/>
              </a:cxn>
              <a:cxn ang="0">
                <a:pos x="csX518" y="csY518"/>
              </a:cxn>
              <a:cxn ang="0">
                <a:pos x="csX519" y="csY519"/>
              </a:cxn>
              <a:cxn ang="0">
                <a:pos x="csX520" y="csY520"/>
              </a:cxn>
              <a:cxn ang="0">
                <a:pos x="csX521" y="csY521"/>
              </a:cxn>
              <a:cxn ang="0">
                <a:pos x="csX522" y="csY522"/>
              </a:cxn>
              <a:cxn ang="0">
                <a:pos x="csX523" y="csY523"/>
              </a:cxn>
              <a:cxn ang="0">
                <a:pos x="csX524" y="csY524"/>
              </a:cxn>
              <a:cxn ang="0">
                <a:pos x="csX525" y="csY525"/>
              </a:cxn>
              <a:cxn ang="0">
                <a:pos x="csX526" y="csY526"/>
              </a:cxn>
              <a:cxn ang="0">
                <a:pos x="csX527" y="csY527"/>
              </a:cxn>
              <a:cxn ang="0">
                <a:pos x="csX528" y="csY528"/>
              </a:cxn>
              <a:cxn ang="0">
                <a:pos x="csX529" y="csY529"/>
              </a:cxn>
              <a:cxn ang="0">
                <a:pos x="csX530" y="csY530"/>
              </a:cxn>
              <a:cxn ang="0">
                <a:pos x="csX531" y="csY531"/>
              </a:cxn>
              <a:cxn ang="0">
                <a:pos x="csX532" y="csY532"/>
              </a:cxn>
              <a:cxn ang="0">
                <a:pos x="csX533" y="csY533"/>
              </a:cxn>
              <a:cxn ang="0">
                <a:pos x="csX534" y="csY534"/>
              </a:cxn>
              <a:cxn ang="0">
                <a:pos x="csX535" y="csY535"/>
              </a:cxn>
              <a:cxn ang="0">
                <a:pos x="csX536" y="csY536"/>
              </a:cxn>
              <a:cxn ang="0">
                <a:pos x="csX537" y="csY537"/>
              </a:cxn>
              <a:cxn ang="0">
                <a:pos x="csX538" y="csY538"/>
              </a:cxn>
              <a:cxn ang="0">
                <a:pos x="csX539" y="csY539"/>
              </a:cxn>
              <a:cxn ang="0">
                <a:pos x="csX540" y="csY540"/>
              </a:cxn>
              <a:cxn ang="0">
                <a:pos x="csX541" y="csY541"/>
              </a:cxn>
              <a:cxn ang="0">
                <a:pos x="csX542" y="csY542"/>
              </a:cxn>
              <a:cxn ang="0">
                <a:pos x="csX543" y="csY543"/>
              </a:cxn>
              <a:cxn ang="0">
                <a:pos x="csX544" y="csY544"/>
              </a:cxn>
              <a:cxn ang="0">
                <a:pos x="csX545" y="csY545"/>
              </a:cxn>
              <a:cxn ang="0">
                <a:pos x="csX546" y="csY546"/>
              </a:cxn>
              <a:cxn ang="0">
                <a:pos x="csX547" y="csY547"/>
              </a:cxn>
              <a:cxn ang="0">
                <a:pos x="csX548" y="csY548"/>
              </a:cxn>
              <a:cxn ang="0">
                <a:pos x="csX549" y="csY549"/>
              </a:cxn>
              <a:cxn ang="0">
                <a:pos x="csX550" y="csY550"/>
              </a:cxn>
              <a:cxn ang="0">
                <a:pos x="csX551" y="csY551"/>
              </a:cxn>
              <a:cxn ang="0">
                <a:pos x="csX552" y="csY552"/>
              </a:cxn>
              <a:cxn ang="0">
                <a:pos x="csX553" y="csY553"/>
              </a:cxn>
              <a:cxn ang="0">
                <a:pos x="csX554" y="csY554"/>
              </a:cxn>
              <a:cxn ang="0">
                <a:pos x="csX555" y="csY555"/>
              </a:cxn>
              <a:cxn ang="0">
                <a:pos x="csX556" y="csY556"/>
              </a:cxn>
              <a:cxn ang="0">
                <a:pos x="csX557" y="csY557"/>
              </a:cxn>
              <a:cxn ang="0">
                <a:pos x="csX558" y="csY558"/>
              </a:cxn>
              <a:cxn ang="0">
                <a:pos x="csX559" y="csY559"/>
              </a:cxn>
              <a:cxn ang="0">
                <a:pos x="csX560" y="csY560"/>
              </a:cxn>
              <a:cxn ang="0">
                <a:pos x="csX561" y="csY561"/>
              </a:cxn>
              <a:cxn ang="0">
                <a:pos x="csX562" y="csY562"/>
              </a:cxn>
              <a:cxn ang="0">
                <a:pos x="csX563" y="csY563"/>
              </a:cxn>
              <a:cxn ang="0">
                <a:pos x="csX564" y="csY564"/>
              </a:cxn>
              <a:cxn ang="0">
                <a:pos x="csX565" y="csY565"/>
              </a:cxn>
              <a:cxn ang="0">
                <a:pos x="csX566" y="csY566"/>
              </a:cxn>
              <a:cxn ang="0">
                <a:pos x="csX567" y="csY567"/>
              </a:cxn>
              <a:cxn ang="0">
                <a:pos x="csX568" y="csY568"/>
              </a:cxn>
              <a:cxn ang="0">
                <a:pos x="csX569" y="csY569"/>
              </a:cxn>
              <a:cxn ang="0">
                <a:pos x="csX570" y="csY570"/>
              </a:cxn>
              <a:cxn ang="0">
                <a:pos x="csX571" y="csY571"/>
              </a:cxn>
              <a:cxn ang="0">
                <a:pos x="csX572" y="csY572"/>
              </a:cxn>
              <a:cxn ang="0">
                <a:pos x="csX573" y="csY573"/>
              </a:cxn>
              <a:cxn ang="0">
                <a:pos x="csX574" y="csY574"/>
              </a:cxn>
              <a:cxn ang="0">
                <a:pos x="csX575" y="csY575"/>
              </a:cxn>
              <a:cxn ang="0">
                <a:pos x="csX576" y="csY576"/>
              </a:cxn>
              <a:cxn ang="0">
                <a:pos x="csX577" y="csY577"/>
              </a:cxn>
              <a:cxn ang="0">
                <a:pos x="csX578" y="csY578"/>
              </a:cxn>
              <a:cxn ang="0">
                <a:pos x="csX579" y="csY579"/>
              </a:cxn>
              <a:cxn ang="0">
                <a:pos x="csX580" y="csY580"/>
              </a:cxn>
              <a:cxn ang="0">
                <a:pos x="csX581" y="csY581"/>
              </a:cxn>
              <a:cxn ang="0">
                <a:pos x="csX582" y="csY582"/>
              </a:cxn>
              <a:cxn ang="0">
                <a:pos x="csX583" y="csY583"/>
              </a:cxn>
              <a:cxn ang="0">
                <a:pos x="csX584" y="csY584"/>
              </a:cxn>
              <a:cxn ang="0">
                <a:pos x="csX585" y="csY585"/>
              </a:cxn>
              <a:cxn ang="0">
                <a:pos x="csX586" y="csY586"/>
              </a:cxn>
              <a:cxn ang="0">
                <a:pos x="csX587" y="csY587"/>
              </a:cxn>
              <a:cxn ang="0">
                <a:pos x="csX588" y="csY588"/>
              </a:cxn>
              <a:cxn ang="0">
                <a:pos x="csX589" y="csY589"/>
              </a:cxn>
              <a:cxn ang="0">
                <a:pos x="csX590" y="csY590"/>
              </a:cxn>
              <a:cxn ang="0">
                <a:pos x="csX591" y="csY591"/>
              </a:cxn>
              <a:cxn ang="0">
                <a:pos x="csX592" y="csY592"/>
              </a:cxn>
              <a:cxn ang="0">
                <a:pos x="csX593" y="csY593"/>
              </a:cxn>
              <a:cxn ang="0">
                <a:pos x="csX594" y="csY594"/>
              </a:cxn>
              <a:cxn ang="0">
                <a:pos x="csX595" y="csY595"/>
              </a:cxn>
              <a:cxn ang="0">
                <a:pos x="csX596" y="csY596"/>
              </a:cxn>
              <a:cxn ang="0">
                <a:pos x="csX597" y="csY597"/>
              </a:cxn>
              <a:cxn ang="0">
                <a:pos x="csX598" y="csY598"/>
              </a:cxn>
              <a:cxn ang="0">
                <a:pos x="csX599" y="csY599"/>
              </a:cxn>
              <a:cxn ang="0">
                <a:pos x="csX600" y="csY600"/>
              </a:cxn>
              <a:cxn ang="0">
                <a:pos x="csX601" y="csY601"/>
              </a:cxn>
              <a:cxn ang="0">
                <a:pos x="csX602" y="csY602"/>
              </a:cxn>
              <a:cxn ang="0">
                <a:pos x="csX603" y="csY603"/>
              </a:cxn>
              <a:cxn ang="0">
                <a:pos x="csX604" y="csY604"/>
              </a:cxn>
              <a:cxn ang="0">
                <a:pos x="csX605" y="csY605"/>
              </a:cxn>
              <a:cxn ang="0">
                <a:pos x="csX606" y="csY606"/>
              </a:cxn>
              <a:cxn ang="0">
                <a:pos x="csX607" y="csY607"/>
              </a:cxn>
              <a:cxn ang="0">
                <a:pos x="csX608" y="csY608"/>
              </a:cxn>
              <a:cxn ang="0">
                <a:pos x="csX609" y="csY609"/>
              </a:cxn>
              <a:cxn ang="0">
                <a:pos x="csX610" y="csY610"/>
              </a:cxn>
              <a:cxn ang="0">
                <a:pos x="csX611" y="csY611"/>
              </a:cxn>
              <a:cxn ang="0">
                <a:pos x="csX612" y="csY612"/>
              </a:cxn>
              <a:cxn ang="0">
                <a:pos x="csX613" y="csY613"/>
              </a:cxn>
              <a:cxn ang="0">
                <a:pos x="csX614" y="csY614"/>
              </a:cxn>
              <a:cxn ang="0">
                <a:pos x="csX615" y="csY615"/>
              </a:cxn>
              <a:cxn ang="0">
                <a:pos x="csX616" y="csY616"/>
              </a:cxn>
              <a:cxn ang="0">
                <a:pos x="csX617" y="csY617"/>
              </a:cxn>
              <a:cxn ang="0">
                <a:pos x="csX618" y="csY618"/>
              </a:cxn>
              <a:cxn ang="0">
                <a:pos x="csX619" y="csY619"/>
              </a:cxn>
              <a:cxn ang="0">
                <a:pos x="csX620" y="csY620"/>
              </a:cxn>
              <a:cxn ang="0">
                <a:pos x="csX621" y="csY621"/>
              </a:cxn>
              <a:cxn ang="0">
                <a:pos x="csX622" y="csY622"/>
              </a:cxn>
              <a:cxn ang="0">
                <a:pos x="csX623" y="csY623"/>
              </a:cxn>
              <a:cxn ang="0">
                <a:pos x="csX624" y="csY624"/>
              </a:cxn>
              <a:cxn ang="0">
                <a:pos x="csX625" y="csY625"/>
              </a:cxn>
              <a:cxn ang="0">
                <a:pos x="csX626" y="csY626"/>
              </a:cxn>
              <a:cxn ang="0">
                <a:pos x="csX627" y="csY627"/>
              </a:cxn>
              <a:cxn ang="0">
                <a:pos x="csX628" y="csY628"/>
              </a:cxn>
              <a:cxn ang="0">
                <a:pos x="csX629" y="csY629"/>
              </a:cxn>
              <a:cxn ang="0">
                <a:pos x="csX630" y="csY630"/>
              </a:cxn>
              <a:cxn ang="0">
                <a:pos x="csX631" y="csY631"/>
              </a:cxn>
              <a:cxn ang="0">
                <a:pos x="csX632" y="csY632"/>
              </a:cxn>
              <a:cxn ang="0">
                <a:pos x="csX633" y="csY633"/>
              </a:cxn>
              <a:cxn ang="0">
                <a:pos x="csX634" y="csY634"/>
              </a:cxn>
              <a:cxn ang="0">
                <a:pos x="csX635" y="csY635"/>
              </a:cxn>
              <a:cxn ang="0">
                <a:pos x="csX636" y="csY636"/>
              </a:cxn>
              <a:cxn ang="0">
                <a:pos x="csX637" y="csY637"/>
              </a:cxn>
              <a:cxn ang="0">
                <a:pos x="csX638" y="csY638"/>
              </a:cxn>
              <a:cxn ang="0">
                <a:pos x="csX639" y="csY639"/>
              </a:cxn>
              <a:cxn ang="0">
                <a:pos x="csX640" y="csY640"/>
              </a:cxn>
              <a:cxn ang="0">
                <a:pos x="csX641" y="csY641"/>
              </a:cxn>
              <a:cxn ang="0">
                <a:pos x="csX642" y="csY642"/>
              </a:cxn>
              <a:cxn ang="0">
                <a:pos x="csX643" y="csY643"/>
              </a:cxn>
              <a:cxn ang="0">
                <a:pos x="csX644" y="csY644"/>
              </a:cxn>
              <a:cxn ang="0">
                <a:pos x="csX645" y="csY645"/>
              </a:cxn>
              <a:cxn ang="0">
                <a:pos x="csX646" y="csY646"/>
              </a:cxn>
              <a:cxn ang="0">
                <a:pos x="csX647" y="csY647"/>
              </a:cxn>
              <a:cxn ang="0">
                <a:pos x="csX648" y="csY648"/>
              </a:cxn>
              <a:cxn ang="0">
                <a:pos x="csX649" y="csY649"/>
              </a:cxn>
              <a:cxn ang="0">
                <a:pos x="csX650" y="csY650"/>
              </a:cxn>
              <a:cxn ang="0">
                <a:pos x="csX651" y="csY651"/>
              </a:cxn>
              <a:cxn ang="0">
                <a:pos x="csX652" y="csY652"/>
              </a:cxn>
              <a:cxn ang="0">
                <a:pos x="csX653" y="csY653"/>
              </a:cxn>
              <a:cxn ang="0">
                <a:pos x="csX654" y="csY654"/>
              </a:cxn>
              <a:cxn ang="0">
                <a:pos x="csX655" y="csY655"/>
              </a:cxn>
              <a:cxn ang="0">
                <a:pos x="csX656" y="csY656"/>
              </a:cxn>
              <a:cxn ang="0">
                <a:pos x="csX657" y="csY657"/>
              </a:cxn>
              <a:cxn ang="0">
                <a:pos x="csX658" y="csY658"/>
              </a:cxn>
              <a:cxn ang="0">
                <a:pos x="csX659" y="csY659"/>
              </a:cxn>
              <a:cxn ang="0">
                <a:pos x="csX660" y="csY660"/>
              </a:cxn>
              <a:cxn ang="0">
                <a:pos x="csX661" y="csY661"/>
              </a:cxn>
              <a:cxn ang="0">
                <a:pos x="csX662" y="csY662"/>
              </a:cxn>
              <a:cxn ang="0">
                <a:pos x="csX663" y="csY663"/>
              </a:cxn>
              <a:cxn ang="0">
                <a:pos x="csX664" y="csY664"/>
              </a:cxn>
              <a:cxn ang="0">
                <a:pos x="csX665" y="csY665"/>
              </a:cxn>
              <a:cxn ang="0">
                <a:pos x="csX666" y="csY666"/>
              </a:cxn>
              <a:cxn ang="0">
                <a:pos x="csX667" y="csY667"/>
              </a:cxn>
              <a:cxn ang="0">
                <a:pos x="csX668" y="csY668"/>
              </a:cxn>
              <a:cxn ang="0">
                <a:pos x="csX669" y="csY669"/>
              </a:cxn>
              <a:cxn ang="0">
                <a:pos x="csX670" y="csY670"/>
              </a:cxn>
              <a:cxn ang="0">
                <a:pos x="csX671" y="csY671"/>
              </a:cxn>
              <a:cxn ang="0">
                <a:pos x="csX672" y="csY672"/>
              </a:cxn>
              <a:cxn ang="0">
                <a:pos x="csX673" y="csY673"/>
              </a:cxn>
              <a:cxn ang="0">
                <a:pos x="csX674" y="csY674"/>
              </a:cxn>
              <a:cxn ang="0">
                <a:pos x="csX675" y="csY675"/>
              </a:cxn>
              <a:cxn ang="0">
                <a:pos x="csX676" y="csY676"/>
              </a:cxn>
              <a:cxn ang="0">
                <a:pos x="csX677" y="csY677"/>
              </a:cxn>
              <a:cxn ang="0">
                <a:pos x="csX678" y="csY678"/>
              </a:cxn>
              <a:cxn ang="0">
                <a:pos x="csX679" y="csY679"/>
              </a:cxn>
              <a:cxn ang="0">
                <a:pos x="csX680" y="csY680"/>
              </a:cxn>
              <a:cxn ang="0">
                <a:pos x="csX681" y="csY681"/>
              </a:cxn>
              <a:cxn ang="0">
                <a:pos x="csX682" y="csY682"/>
              </a:cxn>
              <a:cxn ang="0">
                <a:pos x="csX683" y="csY683"/>
              </a:cxn>
              <a:cxn ang="0">
                <a:pos x="csX684" y="csY684"/>
              </a:cxn>
              <a:cxn ang="0">
                <a:pos x="csX685" y="csY685"/>
              </a:cxn>
              <a:cxn ang="0">
                <a:pos x="csX686" y="csY686"/>
              </a:cxn>
              <a:cxn ang="0">
                <a:pos x="csX687" y="csY687"/>
              </a:cxn>
              <a:cxn ang="0">
                <a:pos x="csX688" y="csY688"/>
              </a:cxn>
              <a:cxn ang="0">
                <a:pos x="csX689" y="csY689"/>
              </a:cxn>
              <a:cxn ang="0">
                <a:pos x="csX690" y="csY690"/>
              </a:cxn>
              <a:cxn ang="0">
                <a:pos x="csX691" y="csY691"/>
              </a:cxn>
              <a:cxn ang="0">
                <a:pos x="csX692" y="csY692"/>
              </a:cxn>
              <a:cxn ang="0">
                <a:pos x="csX693" y="csY693"/>
              </a:cxn>
              <a:cxn ang="0">
                <a:pos x="csX694" y="csY694"/>
              </a:cxn>
              <a:cxn ang="0">
                <a:pos x="csX695" y="csY695"/>
              </a:cxn>
              <a:cxn ang="0">
                <a:pos x="csX696" y="csY696"/>
              </a:cxn>
              <a:cxn ang="0">
                <a:pos x="csX697" y="csY697"/>
              </a:cxn>
              <a:cxn ang="0">
                <a:pos x="csX698" y="csY698"/>
              </a:cxn>
              <a:cxn ang="0">
                <a:pos x="csX699" y="csY699"/>
              </a:cxn>
              <a:cxn ang="0">
                <a:pos x="csX700" y="csY700"/>
              </a:cxn>
              <a:cxn ang="0">
                <a:pos x="csX701" y="csY701"/>
              </a:cxn>
              <a:cxn ang="0">
                <a:pos x="csX702" y="csY702"/>
              </a:cxn>
              <a:cxn ang="0">
                <a:pos x="csX703" y="csY703"/>
              </a:cxn>
              <a:cxn ang="0">
                <a:pos x="csX704" y="csY704"/>
              </a:cxn>
              <a:cxn ang="0">
                <a:pos x="csX705" y="csY705"/>
              </a:cxn>
              <a:cxn ang="0">
                <a:pos x="csX706" y="csY706"/>
              </a:cxn>
              <a:cxn ang="0">
                <a:pos x="csX707" y="csY707"/>
              </a:cxn>
              <a:cxn ang="0">
                <a:pos x="csX708" y="csY708"/>
              </a:cxn>
              <a:cxn ang="0">
                <a:pos x="csX709" y="csY709"/>
              </a:cxn>
              <a:cxn ang="0">
                <a:pos x="csX710" y="csY710"/>
              </a:cxn>
              <a:cxn ang="0">
                <a:pos x="csX711" y="csY711"/>
              </a:cxn>
              <a:cxn ang="0">
                <a:pos x="csX712" y="csY712"/>
              </a:cxn>
              <a:cxn ang="0">
                <a:pos x="csX713" y="csY713"/>
              </a:cxn>
              <a:cxn ang="0">
                <a:pos x="csX714" y="csY714"/>
              </a:cxn>
              <a:cxn ang="0">
                <a:pos x="csX715" y="csY715"/>
              </a:cxn>
              <a:cxn ang="0">
                <a:pos x="csX716" y="csY716"/>
              </a:cxn>
              <a:cxn ang="0">
                <a:pos x="csX717" y="csY717"/>
              </a:cxn>
              <a:cxn ang="0">
                <a:pos x="csX718" y="csY718"/>
              </a:cxn>
              <a:cxn ang="0">
                <a:pos x="csX719" y="csY719"/>
              </a:cxn>
              <a:cxn ang="0">
                <a:pos x="csX720" y="csY720"/>
              </a:cxn>
              <a:cxn ang="0">
                <a:pos x="csX721" y="csY721"/>
              </a:cxn>
              <a:cxn ang="0">
                <a:pos x="csX722" y="csY722"/>
              </a:cxn>
              <a:cxn ang="0">
                <a:pos x="csX723" y="csY723"/>
              </a:cxn>
              <a:cxn ang="0">
                <a:pos x="csX724" y="csY724"/>
              </a:cxn>
              <a:cxn ang="0">
                <a:pos x="csX725" y="csY725"/>
              </a:cxn>
              <a:cxn ang="0">
                <a:pos x="csX726" y="csY726"/>
              </a:cxn>
              <a:cxn ang="0">
                <a:pos x="csX727" y="csY727"/>
              </a:cxn>
              <a:cxn ang="0">
                <a:pos x="csX728" y="csY728"/>
              </a:cxn>
              <a:cxn ang="0">
                <a:pos x="csX729" y="csY729"/>
              </a:cxn>
              <a:cxn ang="0">
                <a:pos x="csX730" y="csY730"/>
              </a:cxn>
              <a:cxn ang="0">
                <a:pos x="csX731" y="csY731"/>
              </a:cxn>
              <a:cxn ang="0">
                <a:pos x="csX732" y="csY732"/>
              </a:cxn>
              <a:cxn ang="0">
                <a:pos x="csX733" y="csY733"/>
              </a:cxn>
              <a:cxn ang="0">
                <a:pos x="csX734" y="csY734"/>
              </a:cxn>
              <a:cxn ang="0">
                <a:pos x="csX735" y="csY735"/>
              </a:cxn>
              <a:cxn ang="0">
                <a:pos x="csX736" y="csY736"/>
              </a:cxn>
              <a:cxn ang="0">
                <a:pos x="csX737" y="csY737"/>
              </a:cxn>
              <a:cxn ang="0">
                <a:pos x="csX738" y="csY738"/>
              </a:cxn>
              <a:cxn ang="0">
                <a:pos x="csX739" y="csY739"/>
              </a:cxn>
              <a:cxn ang="0">
                <a:pos x="csX740" y="csY740"/>
              </a:cxn>
              <a:cxn ang="0">
                <a:pos x="csX741" y="csY741"/>
              </a:cxn>
              <a:cxn ang="0">
                <a:pos x="csX742" y="csY742"/>
              </a:cxn>
              <a:cxn ang="0">
                <a:pos x="csX743" y="csY743"/>
              </a:cxn>
              <a:cxn ang="0">
                <a:pos x="csX744" y="csY744"/>
              </a:cxn>
              <a:cxn ang="0">
                <a:pos x="csX745" y="csY745"/>
              </a:cxn>
              <a:cxn ang="0">
                <a:pos x="csX746" y="csY746"/>
              </a:cxn>
              <a:cxn ang="0">
                <a:pos x="csX747" y="csY747"/>
              </a:cxn>
              <a:cxn ang="0">
                <a:pos x="csX748" y="csY748"/>
              </a:cxn>
              <a:cxn ang="0">
                <a:pos x="csX749" y="csY749"/>
              </a:cxn>
              <a:cxn ang="0">
                <a:pos x="csX750" y="csY750"/>
              </a:cxn>
              <a:cxn ang="0">
                <a:pos x="csX751" y="csY751"/>
              </a:cxn>
              <a:cxn ang="0">
                <a:pos x="csX752" y="csY752"/>
              </a:cxn>
              <a:cxn ang="0">
                <a:pos x="csX753" y="csY753"/>
              </a:cxn>
              <a:cxn ang="0">
                <a:pos x="csX754" y="csY754"/>
              </a:cxn>
              <a:cxn ang="0">
                <a:pos x="csX755" y="csY755"/>
              </a:cxn>
              <a:cxn ang="0">
                <a:pos x="csX756" y="csY756"/>
              </a:cxn>
              <a:cxn ang="0">
                <a:pos x="csX757" y="csY757"/>
              </a:cxn>
              <a:cxn ang="0">
                <a:pos x="csX758" y="csY758"/>
              </a:cxn>
              <a:cxn ang="0">
                <a:pos x="csX759" y="csY759"/>
              </a:cxn>
              <a:cxn ang="0">
                <a:pos x="csX760" y="csY760"/>
              </a:cxn>
              <a:cxn ang="0">
                <a:pos x="csX761" y="csY761"/>
              </a:cxn>
              <a:cxn ang="0">
                <a:pos x="csX762" y="csY762"/>
              </a:cxn>
              <a:cxn ang="0">
                <a:pos x="csX763" y="csY763"/>
              </a:cxn>
              <a:cxn ang="0">
                <a:pos x="csX764" y="csY764"/>
              </a:cxn>
              <a:cxn ang="0">
                <a:pos x="csX765" y="csY765"/>
              </a:cxn>
              <a:cxn ang="0">
                <a:pos x="csX766" y="csY766"/>
              </a:cxn>
              <a:cxn ang="0">
                <a:pos x="csX767" y="csY767"/>
              </a:cxn>
              <a:cxn ang="0">
                <a:pos x="csX768" y="csY768"/>
              </a:cxn>
              <a:cxn ang="0">
                <a:pos x="csX769" y="csY769"/>
              </a:cxn>
              <a:cxn ang="0">
                <a:pos x="csX770" y="csY770"/>
              </a:cxn>
              <a:cxn ang="0">
                <a:pos x="csX771" y="csY771"/>
              </a:cxn>
              <a:cxn ang="0">
                <a:pos x="csX772" y="csY772"/>
              </a:cxn>
              <a:cxn ang="0">
                <a:pos x="csX773" y="csY773"/>
              </a:cxn>
              <a:cxn ang="0">
                <a:pos x="csX774" y="csY774"/>
              </a:cxn>
              <a:cxn ang="0">
                <a:pos x="csX775" y="csY775"/>
              </a:cxn>
              <a:cxn ang="0">
                <a:pos x="csX776" y="csY776"/>
              </a:cxn>
              <a:cxn ang="0">
                <a:pos x="csX777" y="csY777"/>
              </a:cxn>
              <a:cxn ang="0">
                <a:pos x="csX778" y="csY778"/>
              </a:cxn>
              <a:cxn ang="0">
                <a:pos x="csX779" y="csY779"/>
              </a:cxn>
              <a:cxn ang="0">
                <a:pos x="csX780" y="csY780"/>
              </a:cxn>
              <a:cxn ang="0">
                <a:pos x="csX781" y="csY781"/>
              </a:cxn>
              <a:cxn ang="0">
                <a:pos x="csX782" y="csY782"/>
              </a:cxn>
              <a:cxn ang="0">
                <a:pos x="csX783" y="csY783"/>
              </a:cxn>
              <a:cxn ang="0">
                <a:pos x="csX784" y="csY784"/>
              </a:cxn>
              <a:cxn ang="0">
                <a:pos x="csX785" y="csY785"/>
              </a:cxn>
              <a:cxn ang="0">
                <a:pos x="csX786" y="csY786"/>
              </a:cxn>
              <a:cxn ang="0">
                <a:pos x="csX787" y="csY787"/>
              </a:cxn>
              <a:cxn ang="0">
                <a:pos x="csX788" y="csY788"/>
              </a:cxn>
              <a:cxn ang="0">
                <a:pos x="csX789" y="csY789"/>
              </a:cxn>
              <a:cxn ang="0">
                <a:pos x="csX790" y="csY790"/>
              </a:cxn>
              <a:cxn ang="0">
                <a:pos x="csX791" y="csY791"/>
              </a:cxn>
              <a:cxn ang="0">
                <a:pos x="csX792" y="csY792"/>
              </a:cxn>
              <a:cxn ang="0">
                <a:pos x="csX793" y="csY793"/>
              </a:cxn>
              <a:cxn ang="0">
                <a:pos x="csX794" y="csY794"/>
              </a:cxn>
              <a:cxn ang="0">
                <a:pos x="csX795" y="csY795"/>
              </a:cxn>
              <a:cxn ang="0">
                <a:pos x="csX796" y="csY796"/>
              </a:cxn>
              <a:cxn ang="0">
                <a:pos x="csX797" y="csY797"/>
              </a:cxn>
              <a:cxn ang="0">
                <a:pos x="csX798" y="csY798"/>
              </a:cxn>
              <a:cxn ang="0">
                <a:pos x="csX799" y="csY799"/>
              </a:cxn>
              <a:cxn ang="0">
                <a:pos x="csX800" y="csY800"/>
              </a:cxn>
              <a:cxn ang="0">
                <a:pos x="csX801" y="csY801"/>
              </a:cxn>
              <a:cxn ang="0">
                <a:pos x="csX802" y="csY802"/>
              </a:cxn>
              <a:cxn ang="0">
                <a:pos x="csX803" y="csY803"/>
              </a:cxn>
              <a:cxn ang="0">
                <a:pos x="csX804" y="csY804"/>
              </a:cxn>
              <a:cxn ang="0">
                <a:pos x="csX805" y="csY805"/>
              </a:cxn>
              <a:cxn ang="0">
                <a:pos x="csX806" y="csY806"/>
              </a:cxn>
              <a:cxn ang="0">
                <a:pos x="csX807" y="csY807"/>
              </a:cxn>
              <a:cxn ang="0">
                <a:pos x="csX808" y="csY808"/>
              </a:cxn>
              <a:cxn ang="0">
                <a:pos x="csX809" y="csY809"/>
              </a:cxn>
              <a:cxn ang="0">
                <a:pos x="csX810" y="csY810"/>
              </a:cxn>
              <a:cxn ang="0">
                <a:pos x="csX811" y="csY811"/>
              </a:cxn>
              <a:cxn ang="0">
                <a:pos x="csX812" y="csY812"/>
              </a:cxn>
              <a:cxn ang="0">
                <a:pos x="csX813" y="csY813"/>
              </a:cxn>
              <a:cxn ang="0">
                <a:pos x="csX814" y="csY814"/>
              </a:cxn>
              <a:cxn ang="0">
                <a:pos x="csX815" y="csY815"/>
              </a:cxn>
              <a:cxn ang="0">
                <a:pos x="csX816" y="csY816"/>
              </a:cxn>
              <a:cxn ang="0">
                <a:pos x="csX817" y="csY817"/>
              </a:cxn>
              <a:cxn ang="0">
                <a:pos x="csX818" y="csY818"/>
              </a:cxn>
              <a:cxn ang="0">
                <a:pos x="csX819" y="csY819"/>
              </a:cxn>
              <a:cxn ang="0">
                <a:pos x="csX820" y="csY820"/>
              </a:cxn>
              <a:cxn ang="0">
                <a:pos x="csX821" y="csY821"/>
              </a:cxn>
              <a:cxn ang="0">
                <a:pos x="csX822" y="csY822"/>
              </a:cxn>
              <a:cxn ang="0">
                <a:pos x="csX823" y="csY823"/>
              </a:cxn>
              <a:cxn ang="0">
                <a:pos x="csX824" y="csY824"/>
              </a:cxn>
              <a:cxn ang="0">
                <a:pos x="csX825" y="csY825"/>
              </a:cxn>
              <a:cxn ang="0">
                <a:pos x="csX826" y="csY826"/>
              </a:cxn>
              <a:cxn ang="0">
                <a:pos x="csX827" y="csY827"/>
              </a:cxn>
              <a:cxn ang="0">
                <a:pos x="csX828" y="csY828"/>
              </a:cxn>
              <a:cxn ang="0">
                <a:pos x="csX829" y="csY829"/>
              </a:cxn>
              <a:cxn ang="0">
                <a:pos x="csX830" y="csY830"/>
              </a:cxn>
              <a:cxn ang="0">
                <a:pos x="csX831" y="csY831"/>
              </a:cxn>
              <a:cxn ang="0">
                <a:pos x="csX832" y="csY832"/>
              </a:cxn>
              <a:cxn ang="0">
                <a:pos x="csX833" y="csY833"/>
              </a:cxn>
              <a:cxn ang="0">
                <a:pos x="csX834" y="csY834"/>
              </a:cxn>
              <a:cxn ang="0">
                <a:pos x="csX835" y="csY835"/>
              </a:cxn>
              <a:cxn ang="0">
                <a:pos x="csX836" y="csY836"/>
              </a:cxn>
              <a:cxn ang="0">
                <a:pos x="csX837" y="csY837"/>
              </a:cxn>
              <a:cxn ang="0">
                <a:pos x="csX838" y="csY838"/>
              </a:cxn>
              <a:cxn ang="0">
                <a:pos x="csX839" y="csY839"/>
              </a:cxn>
              <a:cxn ang="0">
                <a:pos x="csX840" y="csY840"/>
              </a:cxn>
              <a:cxn ang="0">
                <a:pos x="csX841" y="csY841"/>
              </a:cxn>
              <a:cxn ang="0">
                <a:pos x="csX842" y="csY842"/>
              </a:cxn>
              <a:cxn ang="0">
                <a:pos x="csX843" y="csY843"/>
              </a:cxn>
              <a:cxn ang="0">
                <a:pos x="csX844" y="csY844"/>
              </a:cxn>
              <a:cxn ang="0">
                <a:pos x="csX845" y="csY845"/>
              </a:cxn>
              <a:cxn ang="0">
                <a:pos x="csX846" y="csY846"/>
              </a:cxn>
              <a:cxn ang="0">
                <a:pos x="csX847" y="csY847"/>
              </a:cxn>
              <a:cxn ang="0">
                <a:pos x="csX848" y="csY848"/>
              </a:cxn>
              <a:cxn ang="0">
                <a:pos x="csX849" y="csY849"/>
              </a:cxn>
              <a:cxn ang="0">
                <a:pos x="csX850" y="csY850"/>
              </a:cxn>
              <a:cxn ang="0">
                <a:pos x="csX851" y="csY851"/>
              </a:cxn>
              <a:cxn ang="0">
                <a:pos x="csX852" y="csY852"/>
              </a:cxn>
              <a:cxn ang="0">
                <a:pos x="csX853" y="csY853"/>
              </a:cxn>
              <a:cxn ang="0">
                <a:pos x="csX854" y="csY854"/>
              </a:cxn>
              <a:cxn ang="0">
                <a:pos x="csX855" y="csY855"/>
              </a:cxn>
              <a:cxn ang="0">
                <a:pos x="csX856" y="csY856"/>
              </a:cxn>
              <a:cxn ang="0">
                <a:pos x="csX857" y="csY857"/>
              </a:cxn>
              <a:cxn ang="0">
                <a:pos x="csX858" y="csY858"/>
              </a:cxn>
              <a:cxn ang="0">
                <a:pos x="csX859" y="csY859"/>
              </a:cxn>
              <a:cxn ang="0">
                <a:pos x="csX860" y="csY860"/>
              </a:cxn>
              <a:cxn ang="0">
                <a:pos x="csX861" y="csY861"/>
              </a:cxn>
              <a:cxn ang="0">
                <a:pos x="csX862" y="csY862"/>
              </a:cxn>
              <a:cxn ang="0">
                <a:pos x="csX863" y="csY863"/>
              </a:cxn>
              <a:cxn ang="0">
                <a:pos x="csX864" y="csY864"/>
              </a:cxn>
              <a:cxn ang="0">
                <a:pos x="csX865" y="csY865"/>
              </a:cxn>
              <a:cxn ang="0">
                <a:pos x="csX866" y="csY866"/>
              </a:cxn>
              <a:cxn ang="0">
                <a:pos x="csX867" y="csY867"/>
              </a:cxn>
              <a:cxn ang="0">
                <a:pos x="csX868" y="csY868"/>
              </a:cxn>
              <a:cxn ang="0">
                <a:pos x="csX869" y="csY869"/>
              </a:cxn>
              <a:cxn ang="0">
                <a:pos x="csX870" y="csY870"/>
              </a:cxn>
              <a:cxn ang="0">
                <a:pos x="csX871" y="csY871"/>
              </a:cxn>
              <a:cxn ang="0">
                <a:pos x="csX872" y="csY872"/>
              </a:cxn>
              <a:cxn ang="0">
                <a:pos x="csX873" y="csY873"/>
              </a:cxn>
              <a:cxn ang="0">
                <a:pos x="csX874" y="csY874"/>
              </a:cxn>
              <a:cxn ang="0">
                <a:pos x="csX875" y="csY875"/>
              </a:cxn>
              <a:cxn ang="0">
                <a:pos x="csX876" y="csY876"/>
              </a:cxn>
              <a:cxn ang="0">
                <a:pos x="csX877" y="csY877"/>
              </a:cxn>
              <a:cxn ang="0">
                <a:pos x="csX878" y="csY878"/>
              </a:cxn>
              <a:cxn ang="0">
                <a:pos x="csX879" y="csY879"/>
              </a:cxn>
              <a:cxn ang="0">
                <a:pos x="csX880" y="csY880"/>
              </a:cxn>
              <a:cxn ang="0">
                <a:pos x="csX881" y="csY881"/>
              </a:cxn>
              <a:cxn ang="0">
                <a:pos x="csX882" y="csY882"/>
              </a:cxn>
              <a:cxn ang="0">
                <a:pos x="csX883" y="csY883"/>
              </a:cxn>
              <a:cxn ang="0">
                <a:pos x="csX884" y="csY884"/>
              </a:cxn>
              <a:cxn ang="0">
                <a:pos x="csX885" y="csY885"/>
              </a:cxn>
              <a:cxn ang="0">
                <a:pos x="csX886" y="csY886"/>
              </a:cxn>
              <a:cxn ang="0">
                <a:pos x="csX887" y="csY887"/>
              </a:cxn>
              <a:cxn ang="0">
                <a:pos x="csX888" y="csY888"/>
              </a:cxn>
              <a:cxn ang="0">
                <a:pos x="csX889" y="csY889"/>
              </a:cxn>
              <a:cxn ang="0">
                <a:pos x="csX890" y="csY890"/>
              </a:cxn>
              <a:cxn ang="0">
                <a:pos x="csX891" y="csY891"/>
              </a:cxn>
              <a:cxn ang="0">
                <a:pos x="csX892" y="csY892"/>
              </a:cxn>
              <a:cxn ang="0">
                <a:pos x="csX893" y="csY893"/>
              </a:cxn>
              <a:cxn ang="0">
                <a:pos x="csX894" y="csY894"/>
              </a:cxn>
              <a:cxn ang="0">
                <a:pos x="csX895" y="csY895"/>
              </a:cxn>
              <a:cxn ang="0">
                <a:pos x="csX896" y="csY896"/>
              </a:cxn>
              <a:cxn ang="0">
                <a:pos x="csX897" y="csY897"/>
              </a:cxn>
              <a:cxn ang="0">
                <a:pos x="csX898" y="csY898"/>
              </a:cxn>
              <a:cxn ang="0">
                <a:pos x="csX899" y="csY899"/>
              </a:cxn>
              <a:cxn ang="0">
                <a:pos x="csX900" y="csY900"/>
              </a:cxn>
              <a:cxn ang="0">
                <a:pos x="csX901" y="csY901"/>
              </a:cxn>
              <a:cxn ang="0">
                <a:pos x="csX902" y="csY902"/>
              </a:cxn>
              <a:cxn ang="0">
                <a:pos x="csX903" y="csY903"/>
              </a:cxn>
              <a:cxn ang="0">
                <a:pos x="csX904" y="csY904"/>
              </a:cxn>
              <a:cxn ang="0">
                <a:pos x="csX905" y="csY905"/>
              </a:cxn>
              <a:cxn ang="0">
                <a:pos x="csX906" y="csY906"/>
              </a:cxn>
              <a:cxn ang="0">
                <a:pos x="csX907" y="csY907"/>
              </a:cxn>
              <a:cxn ang="0">
                <a:pos x="csX908" y="csY908"/>
              </a:cxn>
              <a:cxn ang="0">
                <a:pos x="csX909" y="csY909"/>
              </a:cxn>
              <a:cxn ang="0">
                <a:pos x="csX910" y="csY910"/>
              </a:cxn>
              <a:cxn ang="0">
                <a:pos x="csX911" y="csY911"/>
              </a:cxn>
              <a:cxn ang="0">
                <a:pos x="csX912" y="csY912"/>
              </a:cxn>
              <a:cxn ang="0">
                <a:pos x="csX913" y="csY913"/>
              </a:cxn>
              <a:cxn ang="0">
                <a:pos x="csX914" y="csY914"/>
              </a:cxn>
              <a:cxn ang="0">
                <a:pos x="csX915" y="csY915"/>
              </a:cxn>
              <a:cxn ang="0">
                <a:pos x="csX916" y="csY916"/>
              </a:cxn>
              <a:cxn ang="0">
                <a:pos x="csX917" y="csY917"/>
              </a:cxn>
              <a:cxn ang="0">
                <a:pos x="csX918" y="csY918"/>
              </a:cxn>
              <a:cxn ang="0">
                <a:pos x="csX919" y="csY919"/>
              </a:cxn>
              <a:cxn ang="0">
                <a:pos x="csX920" y="csY920"/>
              </a:cxn>
              <a:cxn ang="0">
                <a:pos x="csX921" y="csY921"/>
              </a:cxn>
              <a:cxn ang="0">
                <a:pos x="csX922" y="csY922"/>
              </a:cxn>
              <a:cxn ang="0">
                <a:pos x="csX923" y="csY923"/>
              </a:cxn>
              <a:cxn ang="0">
                <a:pos x="csX924" y="csY924"/>
              </a:cxn>
              <a:cxn ang="0">
                <a:pos x="csX925" y="csY925"/>
              </a:cxn>
              <a:cxn ang="0">
                <a:pos x="csX926" y="csY926"/>
              </a:cxn>
              <a:cxn ang="0">
                <a:pos x="csX927" y="csY927"/>
              </a:cxn>
              <a:cxn ang="0">
                <a:pos x="csX928" y="csY928"/>
              </a:cxn>
              <a:cxn ang="0">
                <a:pos x="csX929" y="csY929"/>
              </a:cxn>
              <a:cxn ang="0">
                <a:pos x="csX930" y="csY930"/>
              </a:cxn>
              <a:cxn ang="0">
                <a:pos x="csX931" y="csY931"/>
              </a:cxn>
              <a:cxn ang="0">
                <a:pos x="csX932" y="csY932"/>
              </a:cxn>
              <a:cxn ang="0">
                <a:pos x="csX933" y="csY933"/>
              </a:cxn>
              <a:cxn ang="0">
                <a:pos x="csX934" y="csY934"/>
              </a:cxn>
              <a:cxn ang="0">
                <a:pos x="csX935" y="csY935"/>
              </a:cxn>
              <a:cxn ang="0">
                <a:pos x="csX936" y="csY936"/>
              </a:cxn>
              <a:cxn ang="0">
                <a:pos x="csX937" y="csY937"/>
              </a:cxn>
              <a:cxn ang="0">
                <a:pos x="csX938" y="csY938"/>
              </a:cxn>
              <a:cxn ang="0">
                <a:pos x="csX939" y="csY939"/>
              </a:cxn>
              <a:cxn ang="0">
                <a:pos x="csX940" y="csY940"/>
              </a:cxn>
              <a:cxn ang="0">
                <a:pos x="csX941" y="csY941"/>
              </a:cxn>
              <a:cxn ang="0">
                <a:pos x="csX942" y="csY942"/>
              </a:cxn>
              <a:cxn ang="0">
                <a:pos x="csX943" y="csY943"/>
              </a:cxn>
              <a:cxn ang="0">
                <a:pos x="csX944" y="csY944"/>
              </a:cxn>
              <a:cxn ang="0">
                <a:pos x="csX945" y="csY945"/>
              </a:cxn>
              <a:cxn ang="0">
                <a:pos x="csX946" y="csY946"/>
              </a:cxn>
              <a:cxn ang="0">
                <a:pos x="csX947" y="csY947"/>
              </a:cxn>
              <a:cxn ang="0">
                <a:pos x="csX948" y="csY948"/>
              </a:cxn>
              <a:cxn ang="0">
                <a:pos x="csX949" y="csY949"/>
              </a:cxn>
              <a:cxn ang="0">
                <a:pos x="csX950" y="csY950"/>
              </a:cxn>
              <a:cxn ang="0">
                <a:pos x="csX951" y="csY951"/>
              </a:cxn>
              <a:cxn ang="0">
                <a:pos x="csX952" y="csY952"/>
              </a:cxn>
              <a:cxn ang="0">
                <a:pos x="csX953" y="csY953"/>
              </a:cxn>
              <a:cxn ang="0">
                <a:pos x="csX954" y="csY954"/>
              </a:cxn>
              <a:cxn ang="0">
                <a:pos x="csX955" y="csY955"/>
              </a:cxn>
              <a:cxn ang="0">
                <a:pos x="csX956" y="csY956"/>
              </a:cxn>
              <a:cxn ang="0">
                <a:pos x="csX957" y="csY957"/>
              </a:cxn>
              <a:cxn ang="0">
                <a:pos x="csX958" y="csY958"/>
              </a:cxn>
              <a:cxn ang="0">
                <a:pos x="csX959" y="csY959"/>
              </a:cxn>
              <a:cxn ang="0">
                <a:pos x="csX960" y="csY960"/>
              </a:cxn>
              <a:cxn ang="0">
                <a:pos x="csX961" y="csY961"/>
              </a:cxn>
              <a:cxn ang="0">
                <a:pos x="csX962" y="csY962"/>
              </a:cxn>
              <a:cxn ang="0">
                <a:pos x="csX963" y="csY963"/>
              </a:cxn>
              <a:cxn ang="0">
                <a:pos x="csX964" y="csY964"/>
              </a:cxn>
              <a:cxn ang="0">
                <a:pos x="csX965" y="csY965"/>
              </a:cxn>
              <a:cxn ang="0">
                <a:pos x="csX966" y="csY966"/>
              </a:cxn>
              <a:cxn ang="0">
                <a:pos x="csX967" y="csY967"/>
              </a:cxn>
              <a:cxn ang="0">
                <a:pos x="csX968" y="csY968"/>
              </a:cxn>
              <a:cxn ang="0">
                <a:pos x="csX969" y="csY969"/>
              </a:cxn>
              <a:cxn ang="0">
                <a:pos x="csX970" y="csY970"/>
              </a:cxn>
              <a:cxn ang="0">
                <a:pos x="csX971" y="csY971"/>
              </a:cxn>
              <a:cxn ang="0">
                <a:pos x="csX972" y="csY972"/>
              </a:cxn>
              <a:cxn ang="0">
                <a:pos x="csX973" y="csY973"/>
              </a:cxn>
              <a:cxn ang="0">
                <a:pos x="csX974" y="csY974"/>
              </a:cxn>
              <a:cxn ang="0">
                <a:pos x="csX975" y="csY975"/>
              </a:cxn>
              <a:cxn ang="0">
                <a:pos x="csX976" y="csY976"/>
              </a:cxn>
              <a:cxn ang="0">
                <a:pos x="csX977" y="csY977"/>
              </a:cxn>
              <a:cxn ang="0">
                <a:pos x="csX978" y="csY978"/>
              </a:cxn>
              <a:cxn ang="0">
                <a:pos x="csX979" y="csY979"/>
              </a:cxn>
              <a:cxn ang="0">
                <a:pos x="csX980" y="csY980"/>
              </a:cxn>
              <a:cxn ang="0">
                <a:pos x="csX981" y="csY981"/>
              </a:cxn>
              <a:cxn ang="0">
                <a:pos x="csX982" y="csY982"/>
              </a:cxn>
              <a:cxn ang="0">
                <a:pos x="csX983" y="csY983"/>
              </a:cxn>
              <a:cxn ang="0">
                <a:pos x="csX984" y="csY984"/>
              </a:cxn>
              <a:cxn ang="0">
                <a:pos x="csX985" y="csY985"/>
              </a:cxn>
              <a:cxn ang="0">
                <a:pos x="csX986" y="csY986"/>
              </a:cxn>
              <a:cxn ang="0">
                <a:pos x="csX987" y="csY987"/>
              </a:cxn>
              <a:cxn ang="0">
                <a:pos x="csX988" y="csY988"/>
              </a:cxn>
              <a:cxn ang="0">
                <a:pos x="csX989" y="csY989"/>
              </a:cxn>
              <a:cxn ang="0">
                <a:pos x="csX990" y="csY990"/>
              </a:cxn>
              <a:cxn ang="0">
                <a:pos x="csX991" y="csY991"/>
              </a:cxn>
              <a:cxn ang="0">
                <a:pos x="csX992" y="csY992"/>
              </a:cxn>
              <a:cxn ang="0">
                <a:pos x="csX993" y="csY993"/>
              </a:cxn>
              <a:cxn ang="0">
                <a:pos x="csX994" y="csY994"/>
              </a:cxn>
              <a:cxn ang="0">
                <a:pos x="csX995" y="csY995"/>
              </a:cxn>
              <a:cxn ang="0">
                <a:pos x="csX996" y="csY996"/>
              </a:cxn>
              <a:cxn ang="0">
                <a:pos x="csX997" y="csY997"/>
              </a:cxn>
              <a:cxn ang="0">
                <a:pos x="csX998" y="csY998"/>
              </a:cxn>
              <a:cxn ang="0">
                <a:pos x="csX999" y="csY999"/>
              </a:cxn>
              <a:cxn ang="0">
                <a:pos x="csX1000" y="csY1000"/>
              </a:cxn>
              <a:cxn ang="0">
                <a:pos x="csX1001" y="csY1001"/>
              </a:cxn>
              <a:cxn ang="0">
                <a:pos x="csX1002" y="csY1002"/>
              </a:cxn>
              <a:cxn ang="0">
                <a:pos x="csX1003" y="csY1003"/>
              </a:cxn>
              <a:cxn ang="0">
                <a:pos x="csX1004" y="csY1004"/>
              </a:cxn>
              <a:cxn ang="0">
                <a:pos x="csX1005" y="csY1005"/>
              </a:cxn>
              <a:cxn ang="0">
                <a:pos x="csX1006" y="csY1006"/>
              </a:cxn>
              <a:cxn ang="0">
                <a:pos x="csX1007" y="csY1007"/>
              </a:cxn>
              <a:cxn ang="0">
                <a:pos x="csX1008" y="csY1008"/>
              </a:cxn>
              <a:cxn ang="0">
                <a:pos x="csX1009" y="csY1009"/>
              </a:cxn>
              <a:cxn ang="0">
                <a:pos x="csX1010" y="csY1010"/>
              </a:cxn>
              <a:cxn ang="0">
                <a:pos x="csX1011" y="csY1011"/>
              </a:cxn>
              <a:cxn ang="0">
                <a:pos x="csX1012" y="csY1012"/>
              </a:cxn>
              <a:cxn ang="0">
                <a:pos x="csX1013" y="csY1013"/>
              </a:cxn>
              <a:cxn ang="0">
                <a:pos x="csX1014" y="csY1014"/>
              </a:cxn>
              <a:cxn ang="0">
                <a:pos x="csX1015" y="csY1015"/>
              </a:cxn>
              <a:cxn ang="0">
                <a:pos x="csX1016" y="csY1016"/>
              </a:cxn>
              <a:cxn ang="0">
                <a:pos x="csX1017" y="csY1017"/>
              </a:cxn>
              <a:cxn ang="0">
                <a:pos x="csX1018" y="csY1018"/>
              </a:cxn>
              <a:cxn ang="0">
                <a:pos x="csX1019" y="csY1019"/>
              </a:cxn>
              <a:cxn ang="0">
                <a:pos x="csX1020" y="csY1020"/>
              </a:cxn>
              <a:cxn ang="0">
                <a:pos x="csX1021" y="csY1021"/>
              </a:cxn>
              <a:cxn ang="0">
                <a:pos x="csX1022" y="csY1022"/>
              </a:cxn>
              <a:cxn ang="0">
                <a:pos x="csX1023" y="csY1023"/>
              </a:cxn>
              <a:cxn ang="0">
                <a:pos x="csX1024" y="csY1024"/>
              </a:cxn>
              <a:cxn ang="0">
                <a:pos x="csX1025" y="csY1025"/>
              </a:cxn>
              <a:cxn ang="0">
                <a:pos x="csX1026" y="csY1026"/>
              </a:cxn>
              <a:cxn ang="0">
                <a:pos x="csX1027" y="csY1027"/>
              </a:cxn>
              <a:cxn ang="0">
                <a:pos x="csX1028" y="csY1028"/>
              </a:cxn>
              <a:cxn ang="0">
                <a:pos x="csX1029" y="csY1029"/>
              </a:cxn>
              <a:cxn ang="0">
                <a:pos x="csX1030" y="csY1030"/>
              </a:cxn>
              <a:cxn ang="0">
                <a:pos x="csX1031" y="csY1031"/>
              </a:cxn>
              <a:cxn ang="0">
                <a:pos x="csX1032" y="csY1032"/>
              </a:cxn>
              <a:cxn ang="0">
                <a:pos x="csX1033" y="csY1033"/>
              </a:cxn>
              <a:cxn ang="0">
                <a:pos x="csX1034" y="csY1034"/>
              </a:cxn>
              <a:cxn ang="0">
                <a:pos x="csX1035" y="csY1035"/>
              </a:cxn>
              <a:cxn ang="0">
                <a:pos x="csX1036" y="csY1036"/>
              </a:cxn>
              <a:cxn ang="0">
                <a:pos x="csX1037" y="csY1037"/>
              </a:cxn>
              <a:cxn ang="0">
                <a:pos x="csX1038" y="csY1038"/>
              </a:cxn>
              <a:cxn ang="0">
                <a:pos x="csX1039" y="csY1039"/>
              </a:cxn>
              <a:cxn ang="0">
                <a:pos x="csX1040" y="csY1040"/>
              </a:cxn>
              <a:cxn ang="0">
                <a:pos x="csX1041" y="csY1041"/>
              </a:cxn>
              <a:cxn ang="0">
                <a:pos x="csX1042" y="csY1042"/>
              </a:cxn>
              <a:cxn ang="0">
                <a:pos x="csX1043" y="csY1043"/>
              </a:cxn>
              <a:cxn ang="0">
                <a:pos x="csX1044" y="csY1044"/>
              </a:cxn>
              <a:cxn ang="0">
                <a:pos x="csX1045" y="csY1045"/>
              </a:cxn>
              <a:cxn ang="0">
                <a:pos x="csX1046" y="csY1046"/>
              </a:cxn>
              <a:cxn ang="0">
                <a:pos x="csX1047" y="csY1047"/>
              </a:cxn>
              <a:cxn ang="0">
                <a:pos x="csX1048" y="csY1048"/>
              </a:cxn>
              <a:cxn ang="0">
                <a:pos x="csX1049" y="csY1049"/>
              </a:cxn>
              <a:cxn ang="0">
                <a:pos x="csX1050" y="csY1050"/>
              </a:cxn>
              <a:cxn ang="0">
                <a:pos x="csX1051" y="csY1051"/>
              </a:cxn>
              <a:cxn ang="0">
                <a:pos x="csX1052" y="csY1052"/>
              </a:cxn>
              <a:cxn ang="0">
                <a:pos x="csX1053" y="csY1053"/>
              </a:cxn>
              <a:cxn ang="0">
                <a:pos x="csX1054" y="csY1054"/>
              </a:cxn>
            </a:cxnLst>
            <a:rect l="l" t="t" r="r" b="b"/>
            <a:pathLst>
              <a:path w="1609516" h="1538630">
                <a:moveTo>
                  <a:pt x="401579" y="1495809"/>
                </a:moveTo>
                <a:lnTo>
                  <a:pt x="400190" y="1496004"/>
                </a:lnTo>
                <a:lnTo>
                  <a:pt x="401224" y="1496470"/>
                </a:lnTo>
                <a:lnTo>
                  <a:pt x="401224" y="1498590"/>
                </a:lnTo>
                <a:lnTo>
                  <a:pt x="401579" y="1498628"/>
                </a:lnTo>
                <a:cubicBezTo>
                  <a:pt x="401579" y="1497698"/>
                  <a:pt x="401579" y="1496768"/>
                  <a:pt x="401579" y="1495809"/>
                </a:cubicBezTo>
                <a:close/>
                <a:moveTo>
                  <a:pt x="368755" y="1486512"/>
                </a:moveTo>
                <a:lnTo>
                  <a:pt x="364089" y="1487354"/>
                </a:lnTo>
                <a:lnTo>
                  <a:pt x="364089" y="1487908"/>
                </a:lnTo>
                <a:close/>
                <a:moveTo>
                  <a:pt x="1049801" y="1484562"/>
                </a:moveTo>
                <a:lnTo>
                  <a:pt x="1046735" y="1485945"/>
                </a:lnTo>
                <a:lnTo>
                  <a:pt x="1046955" y="1486045"/>
                </a:lnTo>
                <a:lnTo>
                  <a:pt x="1049801" y="1485188"/>
                </a:lnTo>
                <a:close/>
                <a:moveTo>
                  <a:pt x="351234" y="1444508"/>
                </a:moveTo>
                <a:lnTo>
                  <a:pt x="351234" y="1444997"/>
                </a:lnTo>
                <a:lnTo>
                  <a:pt x="351592" y="1445078"/>
                </a:lnTo>
                <a:close/>
                <a:moveTo>
                  <a:pt x="351908" y="1431206"/>
                </a:moveTo>
                <a:lnTo>
                  <a:pt x="351234" y="1431611"/>
                </a:lnTo>
                <a:lnTo>
                  <a:pt x="351234" y="1432274"/>
                </a:lnTo>
                <a:close/>
                <a:moveTo>
                  <a:pt x="358162" y="1421494"/>
                </a:moveTo>
                <a:lnTo>
                  <a:pt x="355921" y="1423156"/>
                </a:lnTo>
                <a:lnTo>
                  <a:pt x="355921" y="1423548"/>
                </a:lnTo>
                <a:close/>
                <a:moveTo>
                  <a:pt x="376098" y="1408347"/>
                </a:moveTo>
                <a:lnTo>
                  <a:pt x="370750" y="1412245"/>
                </a:lnTo>
                <a:lnTo>
                  <a:pt x="375023" y="1411256"/>
                </a:lnTo>
                <a:close/>
                <a:moveTo>
                  <a:pt x="421956" y="1365623"/>
                </a:moveTo>
                <a:lnTo>
                  <a:pt x="421765" y="1366161"/>
                </a:lnTo>
                <a:lnTo>
                  <a:pt x="421887" y="1366161"/>
                </a:lnTo>
                <a:close/>
                <a:moveTo>
                  <a:pt x="754553" y="1360575"/>
                </a:moveTo>
                <a:lnTo>
                  <a:pt x="754089" y="1361433"/>
                </a:lnTo>
                <a:lnTo>
                  <a:pt x="754431" y="1361125"/>
                </a:lnTo>
                <a:close/>
                <a:moveTo>
                  <a:pt x="1277973" y="1332923"/>
                </a:moveTo>
                <a:lnTo>
                  <a:pt x="1277944" y="1332936"/>
                </a:lnTo>
                <a:lnTo>
                  <a:pt x="1277949" y="1333139"/>
                </a:lnTo>
                <a:close/>
                <a:moveTo>
                  <a:pt x="1268556" y="1321066"/>
                </a:moveTo>
                <a:cubicBezTo>
                  <a:pt x="1268556" y="1322461"/>
                  <a:pt x="1268556" y="1323856"/>
                  <a:pt x="1268556" y="1325294"/>
                </a:cubicBezTo>
                <a:cubicBezTo>
                  <a:pt x="1267525" y="1325294"/>
                  <a:pt x="1266495" y="1325294"/>
                  <a:pt x="1265432" y="1325294"/>
                </a:cubicBezTo>
                <a:cubicBezTo>
                  <a:pt x="1265432" y="1330409"/>
                  <a:pt x="1265432" y="1335525"/>
                  <a:pt x="1265432" y="1340795"/>
                </a:cubicBezTo>
                <a:lnTo>
                  <a:pt x="1265476" y="1340714"/>
                </a:lnTo>
                <a:lnTo>
                  <a:pt x="1265476" y="1325877"/>
                </a:lnTo>
                <a:cubicBezTo>
                  <a:pt x="1266507" y="1325877"/>
                  <a:pt x="1267538" y="1325877"/>
                  <a:pt x="1268600" y="1325877"/>
                </a:cubicBezTo>
                <a:cubicBezTo>
                  <a:pt x="1268600" y="1324482"/>
                  <a:pt x="1268600" y="1323086"/>
                  <a:pt x="1268600" y="1321649"/>
                </a:cubicBezTo>
                <a:cubicBezTo>
                  <a:pt x="1270147" y="1321649"/>
                  <a:pt x="1271693" y="1321649"/>
                  <a:pt x="1273286" y="1321649"/>
                </a:cubicBezTo>
                <a:lnTo>
                  <a:pt x="1273227" y="1321066"/>
                </a:lnTo>
                <a:close/>
                <a:moveTo>
                  <a:pt x="827891" y="1291474"/>
                </a:moveTo>
                <a:lnTo>
                  <a:pt x="822601" y="1291544"/>
                </a:lnTo>
                <a:lnTo>
                  <a:pt x="818272" y="1292220"/>
                </a:lnTo>
                <a:lnTo>
                  <a:pt x="827891" y="1292047"/>
                </a:lnTo>
                <a:close/>
                <a:moveTo>
                  <a:pt x="856397" y="1288691"/>
                </a:moveTo>
                <a:lnTo>
                  <a:pt x="865903" y="1290590"/>
                </a:lnTo>
                <a:lnTo>
                  <a:pt x="859999" y="1288752"/>
                </a:lnTo>
                <a:close/>
                <a:moveTo>
                  <a:pt x="834694" y="1288572"/>
                </a:moveTo>
                <a:lnTo>
                  <a:pt x="828038" y="1288654"/>
                </a:lnTo>
                <a:lnTo>
                  <a:pt x="828038" y="1289214"/>
                </a:lnTo>
                <a:close/>
                <a:moveTo>
                  <a:pt x="229746" y="1191418"/>
                </a:moveTo>
                <a:lnTo>
                  <a:pt x="227402" y="1191947"/>
                </a:lnTo>
                <a:lnTo>
                  <a:pt x="229315" y="1191947"/>
                </a:lnTo>
                <a:cubicBezTo>
                  <a:pt x="229315" y="1192877"/>
                  <a:pt x="229315" y="1193807"/>
                  <a:pt x="229315" y="1194765"/>
                </a:cubicBezTo>
                <a:lnTo>
                  <a:pt x="231321" y="1194765"/>
                </a:lnTo>
                <a:lnTo>
                  <a:pt x="229746" y="1194236"/>
                </a:lnTo>
                <a:cubicBezTo>
                  <a:pt x="229746" y="1193306"/>
                  <a:pt x="229746" y="1192376"/>
                  <a:pt x="229746" y="1191418"/>
                </a:cubicBezTo>
                <a:close/>
                <a:moveTo>
                  <a:pt x="215687" y="1187190"/>
                </a:moveTo>
                <a:lnTo>
                  <a:pt x="215198" y="1187720"/>
                </a:lnTo>
                <a:lnTo>
                  <a:pt x="215256" y="1187720"/>
                </a:lnTo>
                <a:cubicBezTo>
                  <a:pt x="215256" y="1189115"/>
                  <a:pt x="215256" y="1190510"/>
                  <a:pt x="215256" y="1191947"/>
                </a:cubicBezTo>
                <a:lnTo>
                  <a:pt x="222721" y="1191947"/>
                </a:lnTo>
                <a:lnTo>
                  <a:pt x="215687" y="1191418"/>
                </a:lnTo>
                <a:cubicBezTo>
                  <a:pt x="215687" y="1190023"/>
                  <a:pt x="215687" y="1188628"/>
                  <a:pt x="215687" y="1187190"/>
                </a:cubicBezTo>
                <a:close/>
                <a:moveTo>
                  <a:pt x="1279678" y="1082356"/>
                </a:moveTo>
                <a:lnTo>
                  <a:pt x="1271680" y="1084589"/>
                </a:lnTo>
                <a:lnTo>
                  <a:pt x="1282181" y="1082544"/>
                </a:lnTo>
                <a:close/>
                <a:moveTo>
                  <a:pt x="117703" y="941507"/>
                </a:moveTo>
                <a:lnTo>
                  <a:pt x="112587" y="941985"/>
                </a:lnTo>
                <a:lnTo>
                  <a:pt x="112565" y="942333"/>
                </a:lnTo>
                <a:lnTo>
                  <a:pt x="115665" y="941837"/>
                </a:lnTo>
                <a:close/>
                <a:moveTo>
                  <a:pt x="144268" y="939395"/>
                </a:moveTo>
                <a:lnTo>
                  <a:pt x="143354" y="939580"/>
                </a:lnTo>
                <a:lnTo>
                  <a:pt x="144077" y="939739"/>
                </a:lnTo>
                <a:close/>
                <a:moveTo>
                  <a:pt x="162575" y="933530"/>
                </a:moveTo>
                <a:lnTo>
                  <a:pt x="161704" y="935101"/>
                </a:lnTo>
                <a:lnTo>
                  <a:pt x="170045" y="933585"/>
                </a:lnTo>
                <a:close/>
                <a:moveTo>
                  <a:pt x="1321645" y="918415"/>
                </a:moveTo>
                <a:lnTo>
                  <a:pt x="1321534" y="920177"/>
                </a:lnTo>
                <a:lnTo>
                  <a:pt x="1321740" y="918415"/>
                </a:lnTo>
                <a:close/>
                <a:moveTo>
                  <a:pt x="1319333" y="915183"/>
                </a:moveTo>
                <a:lnTo>
                  <a:pt x="1318544" y="918029"/>
                </a:lnTo>
                <a:lnTo>
                  <a:pt x="1318702" y="918029"/>
                </a:lnTo>
                <a:close/>
                <a:moveTo>
                  <a:pt x="1326355" y="907109"/>
                </a:moveTo>
                <a:lnTo>
                  <a:pt x="1326355" y="910983"/>
                </a:lnTo>
                <a:lnTo>
                  <a:pt x="1325831" y="911101"/>
                </a:lnTo>
                <a:lnTo>
                  <a:pt x="1326426" y="911369"/>
                </a:lnTo>
                <a:cubicBezTo>
                  <a:pt x="1326426" y="909974"/>
                  <a:pt x="1326426" y="908579"/>
                  <a:pt x="1326426" y="907141"/>
                </a:cubicBezTo>
                <a:close/>
                <a:moveTo>
                  <a:pt x="1328144" y="892192"/>
                </a:moveTo>
                <a:lnTo>
                  <a:pt x="1327667" y="893446"/>
                </a:lnTo>
                <a:lnTo>
                  <a:pt x="1327989" y="893049"/>
                </a:lnTo>
                <a:close/>
                <a:moveTo>
                  <a:pt x="49605" y="887420"/>
                </a:moveTo>
                <a:lnTo>
                  <a:pt x="48549" y="891229"/>
                </a:lnTo>
                <a:lnTo>
                  <a:pt x="49956" y="887420"/>
                </a:lnTo>
                <a:close/>
                <a:moveTo>
                  <a:pt x="1332266" y="883369"/>
                </a:moveTo>
                <a:lnTo>
                  <a:pt x="1329479" y="884207"/>
                </a:lnTo>
                <a:lnTo>
                  <a:pt x="1329509" y="884816"/>
                </a:lnTo>
                <a:lnTo>
                  <a:pt x="1329551" y="884594"/>
                </a:lnTo>
                <a:close/>
                <a:moveTo>
                  <a:pt x="1555987" y="821766"/>
                </a:moveTo>
                <a:lnTo>
                  <a:pt x="1555987" y="822201"/>
                </a:lnTo>
                <a:lnTo>
                  <a:pt x="1556081" y="822189"/>
                </a:lnTo>
                <a:close/>
                <a:moveTo>
                  <a:pt x="1565360" y="810928"/>
                </a:moveTo>
                <a:lnTo>
                  <a:pt x="1564871" y="811809"/>
                </a:lnTo>
                <a:lnTo>
                  <a:pt x="1567314" y="810928"/>
                </a:lnTo>
                <a:close/>
                <a:moveTo>
                  <a:pt x="1563797" y="810928"/>
                </a:moveTo>
                <a:lnTo>
                  <a:pt x="1556762" y="814736"/>
                </a:lnTo>
                <a:lnTo>
                  <a:pt x="1563797" y="812197"/>
                </a:lnTo>
                <a:close/>
                <a:moveTo>
                  <a:pt x="265833" y="806020"/>
                </a:moveTo>
                <a:lnTo>
                  <a:pt x="263704" y="809861"/>
                </a:lnTo>
                <a:lnTo>
                  <a:pt x="263704" y="816750"/>
                </a:lnTo>
                <a:lnTo>
                  <a:pt x="264113" y="816565"/>
                </a:lnTo>
                <a:cubicBezTo>
                  <a:pt x="264048" y="815315"/>
                  <a:pt x="263984" y="814065"/>
                  <a:pt x="263918" y="812777"/>
                </a:cubicBezTo>
                <a:close/>
                <a:moveTo>
                  <a:pt x="263774" y="779374"/>
                </a:moveTo>
                <a:lnTo>
                  <a:pt x="263704" y="783086"/>
                </a:lnTo>
                <a:cubicBezTo>
                  <a:pt x="263961" y="783987"/>
                  <a:pt x="264219" y="784888"/>
                  <a:pt x="264484" y="785816"/>
                </a:cubicBezTo>
                <a:cubicBezTo>
                  <a:pt x="265299" y="788846"/>
                  <a:pt x="265316" y="791337"/>
                  <a:pt x="265265" y="794448"/>
                </a:cubicBezTo>
                <a:cubicBezTo>
                  <a:pt x="265103" y="797155"/>
                  <a:pt x="265022" y="798508"/>
                  <a:pt x="265217" y="799730"/>
                </a:cubicBezTo>
                <a:lnTo>
                  <a:pt x="266556" y="803466"/>
                </a:lnTo>
                <a:lnTo>
                  <a:pt x="267237" y="801063"/>
                </a:lnTo>
                <a:cubicBezTo>
                  <a:pt x="266721" y="800598"/>
                  <a:pt x="266206" y="800133"/>
                  <a:pt x="265675" y="799654"/>
                </a:cubicBezTo>
                <a:cubicBezTo>
                  <a:pt x="265601" y="797718"/>
                  <a:pt x="265617" y="795778"/>
                  <a:pt x="265675" y="793841"/>
                </a:cubicBezTo>
                <a:close/>
                <a:moveTo>
                  <a:pt x="260988" y="770061"/>
                </a:moveTo>
                <a:lnTo>
                  <a:pt x="260988" y="771364"/>
                </a:lnTo>
                <a:lnTo>
                  <a:pt x="263497" y="777263"/>
                </a:lnTo>
                <a:lnTo>
                  <a:pt x="262551" y="770061"/>
                </a:lnTo>
                <a:cubicBezTo>
                  <a:pt x="262035" y="770061"/>
                  <a:pt x="261520" y="770061"/>
                  <a:pt x="260988" y="770061"/>
                </a:cubicBezTo>
                <a:close/>
                <a:moveTo>
                  <a:pt x="157888" y="651686"/>
                </a:moveTo>
                <a:lnTo>
                  <a:pt x="157415" y="651764"/>
                </a:lnTo>
                <a:lnTo>
                  <a:pt x="160373" y="652274"/>
                </a:lnTo>
                <a:close/>
                <a:moveTo>
                  <a:pt x="267237" y="426537"/>
                </a:moveTo>
                <a:lnTo>
                  <a:pt x="267237" y="427619"/>
                </a:lnTo>
                <a:cubicBezTo>
                  <a:pt x="268274" y="427791"/>
                  <a:pt x="269311" y="427961"/>
                  <a:pt x="270380" y="428137"/>
                </a:cubicBezTo>
                <a:lnTo>
                  <a:pt x="273548" y="428680"/>
                </a:lnTo>
                <a:close/>
                <a:moveTo>
                  <a:pt x="37605" y="359270"/>
                </a:moveTo>
                <a:lnTo>
                  <a:pt x="37103" y="361533"/>
                </a:lnTo>
                <a:lnTo>
                  <a:pt x="37605" y="361382"/>
                </a:lnTo>
                <a:close/>
                <a:moveTo>
                  <a:pt x="52477" y="337570"/>
                </a:moveTo>
                <a:lnTo>
                  <a:pt x="47288" y="342340"/>
                </a:lnTo>
                <a:lnTo>
                  <a:pt x="45805" y="345093"/>
                </a:lnTo>
                <a:close/>
                <a:moveTo>
                  <a:pt x="104291" y="336166"/>
                </a:moveTo>
                <a:lnTo>
                  <a:pt x="103776" y="337559"/>
                </a:lnTo>
                <a:lnTo>
                  <a:pt x="108925" y="336166"/>
                </a:lnTo>
                <a:close/>
                <a:moveTo>
                  <a:pt x="1309237" y="322954"/>
                </a:moveTo>
                <a:lnTo>
                  <a:pt x="1309180" y="330559"/>
                </a:lnTo>
                <a:lnTo>
                  <a:pt x="1309237" y="330520"/>
                </a:lnTo>
                <a:close/>
                <a:moveTo>
                  <a:pt x="1308964" y="317715"/>
                </a:moveTo>
                <a:lnTo>
                  <a:pt x="1309237" y="318569"/>
                </a:lnTo>
                <a:lnTo>
                  <a:pt x="1309237" y="317838"/>
                </a:lnTo>
                <a:close/>
                <a:moveTo>
                  <a:pt x="1310087" y="313153"/>
                </a:moveTo>
                <a:lnTo>
                  <a:pt x="1307609" y="313473"/>
                </a:lnTo>
                <a:lnTo>
                  <a:pt x="1308045" y="314836"/>
                </a:lnTo>
                <a:close/>
                <a:moveTo>
                  <a:pt x="1318544" y="312064"/>
                </a:moveTo>
                <a:lnTo>
                  <a:pt x="1316298" y="312353"/>
                </a:lnTo>
                <a:lnTo>
                  <a:pt x="1318544" y="312205"/>
                </a:lnTo>
                <a:close/>
                <a:moveTo>
                  <a:pt x="1084622" y="267674"/>
                </a:moveTo>
                <a:lnTo>
                  <a:pt x="1084227" y="268378"/>
                </a:lnTo>
                <a:cubicBezTo>
                  <a:pt x="1082679" y="268378"/>
                  <a:pt x="1081133" y="268378"/>
                  <a:pt x="1079540" y="268378"/>
                </a:cubicBezTo>
                <a:lnTo>
                  <a:pt x="1079603" y="268477"/>
                </a:lnTo>
                <a:lnTo>
                  <a:pt x="1084192" y="268477"/>
                </a:lnTo>
                <a:close/>
                <a:moveTo>
                  <a:pt x="956410" y="266968"/>
                </a:moveTo>
                <a:lnTo>
                  <a:pt x="957576" y="267083"/>
                </a:lnTo>
                <a:lnTo>
                  <a:pt x="957576" y="269776"/>
                </a:lnTo>
                <a:lnTo>
                  <a:pt x="957694" y="269787"/>
                </a:lnTo>
                <a:cubicBezTo>
                  <a:pt x="957694" y="268857"/>
                  <a:pt x="957694" y="267927"/>
                  <a:pt x="957694" y="266968"/>
                </a:cubicBezTo>
                <a:close/>
                <a:moveTo>
                  <a:pt x="1089372" y="259220"/>
                </a:moveTo>
                <a:lnTo>
                  <a:pt x="1085856" y="265479"/>
                </a:lnTo>
                <a:lnTo>
                  <a:pt x="1088878" y="261431"/>
                </a:lnTo>
                <a:close/>
                <a:moveTo>
                  <a:pt x="1018517" y="223356"/>
                </a:moveTo>
                <a:lnTo>
                  <a:pt x="1013866" y="226190"/>
                </a:lnTo>
                <a:lnTo>
                  <a:pt x="1013024" y="227709"/>
                </a:lnTo>
                <a:lnTo>
                  <a:pt x="1017055" y="224692"/>
                </a:lnTo>
                <a:close/>
                <a:moveTo>
                  <a:pt x="850645" y="220099"/>
                </a:moveTo>
                <a:lnTo>
                  <a:pt x="850897" y="221488"/>
                </a:lnTo>
                <a:cubicBezTo>
                  <a:pt x="851086" y="222545"/>
                  <a:pt x="851275" y="223602"/>
                  <a:pt x="851470" y="224692"/>
                </a:cubicBezTo>
                <a:lnTo>
                  <a:pt x="852860" y="224692"/>
                </a:lnTo>
                <a:close/>
                <a:moveTo>
                  <a:pt x="1155019" y="35"/>
                </a:moveTo>
                <a:cubicBezTo>
                  <a:pt x="1161775" y="275"/>
                  <a:pt x="1168415" y="1783"/>
                  <a:pt x="1174829" y="4853"/>
                </a:cubicBezTo>
                <a:cubicBezTo>
                  <a:pt x="1176343" y="5231"/>
                  <a:pt x="1177858" y="5609"/>
                  <a:pt x="1179418" y="5998"/>
                </a:cubicBezTo>
                <a:cubicBezTo>
                  <a:pt x="1189392" y="9487"/>
                  <a:pt x="1196322" y="14392"/>
                  <a:pt x="1201385" y="22997"/>
                </a:cubicBezTo>
                <a:cubicBezTo>
                  <a:pt x="1206849" y="35244"/>
                  <a:pt x="1206940" y="49865"/>
                  <a:pt x="1201678" y="62191"/>
                </a:cubicBezTo>
                <a:cubicBezTo>
                  <a:pt x="1200594" y="64241"/>
                  <a:pt x="1199461" y="66271"/>
                  <a:pt x="1198261" y="68268"/>
                </a:cubicBezTo>
                <a:cubicBezTo>
                  <a:pt x="1197423" y="69721"/>
                  <a:pt x="1196586" y="71175"/>
                  <a:pt x="1195723" y="72672"/>
                </a:cubicBezTo>
                <a:cubicBezTo>
                  <a:pt x="1194659" y="73980"/>
                  <a:pt x="1194659" y="73980"/>
                  <a:pt x="1193575" y="75314"/>
                </a:cubicBezTo>
                <a:cubicBezTo>
                  <a:pt x="1192544" y="75314"/>
                  <a:pt x="1191512" y="75314"/>
                  <a:pt x="1190450" y="75314"/>
                </a:cubicBezTo>
                <a:cubicBezTo>
                  <a:pt x="1190128" y="76651"/>
                  <a:pt x="1189806" y="77988"/>
                  <a:pt x="1189474" y="79366"/>
                </a:cubicBezTo>
                <a:cubicBezTo>
                  <a:pt x="1187326" y="83769"/>
                  <a:pt x="1187326" y="83769"/>
                  <a:pt x="1182445" y="85707"/>
                </a:cubicBezTo>
                <a:cubicBezTo>
                  <a:pt x="1180962" y="85998"/>
                  <a:pt x="1179480" y="86289"/>
                  <a:pt x="1177953" y="86588"/>
                </a:cubicBezTo>
                <a:cubicBezTo>
                  <a:pt x="1177953" y="87518"/>
                  <a:pt x="1177953" y="88448"/>
                  <a:pt x="1177953" y="89406"/>
                </a:cubicBezTo>
                <a:cubicBezTo>
                  <a:pt x="1175369" y="91088"/>
                  <a:pt x="1172720" y="92688"/>
                  <a:pt x="1170045" y="94251"/>
                </a:cubicBezTo>
                <a:cubicBezTo>
                  <a:pt x="1154651" y="104199"/>
                  <a:pt x="1148918" y="116979"/>
                  <a:pt x="1143806" y="132828"/>
                </a:cubicBezTo>
                <a:cubicBezTo>
                  <a:pt x="1142095" y="137144"/>
                  <a:pt x="1140989" y="138617"/>
                  <a:pt x="1137338" y="141548"/>
                </a:cubicBezTo>
                <a:cubicBezTo>
                  <a:pt x="1136166" y="144148"/>
                  <a:pt x="1134992" y="146751"/>
                  <a:pt x="1133970" y="149403"/>
                </a:cubicBezTo>
                <a:cubicBezTo>
                  <a:pt x="1132069" y="154334"/>
                  <a:pt x="1130006" y="159210"/>
                  <a:pt x="1127965" y="164095"/>
                </a:cubicBezTo>
                <a:cubicBezTo>
                  <a:pt x="1126897" y="166664"/>
                  <a:pt x="1125830" y="169233"/>
                  <a:pt x="1124762" y="171802"/>
                </a:cubicBezTo>
                <a:cubicBezTo>
                  <a:pt x="1122961" y="176134"/>
                  <a:pt x="1121160" y="180466"/>
                  <a:pt x="1119359" y="184798"/>
                </a:cubicBezTo>
                <a:cubicBezTo>
                  <a:pt x="1116567" y="191508"/>
                  <a:pt x="1113778" y="198220"/>
                  <a:pt x="1111014" y="204941"/>
                </a:cubicBezTo>
                <a:cubicBezTo>
                  <a:pt x="1110590" y="205970"/>
                  <a:pt x="1110165" y="206999"/>
                  <a:pt x="1109729" y="208059"/>
                </a:cubicBezTo>
                <a:cubicBezTo>
                  <a:pt x="1108615" y="210762"/>
                  <a:pt x="1107505" y="213466"/>
                  <a:pt x="1106395" y="216170"/>
                </a:cubicBezTo>
                <a:cubicBezTo>
                  <a:pt x="1104320" y="220956"/>
                  <a:pt x="1103283" y="223349"/>
                  <a:pt x="1102147" y="224810"/>
                </a:cubicBezTo>
                <a:lnTo>
                  <a:pt x="1098261" y="227262"/>
                </a:lnTo>
                <a:lnTo>
                  <a:pt x="1098367" y="238475"/>
                </a:lnTo>
                <a:cubicBezTo>
                  <a:pt x="1098025" y="239757"/>
                  <a:pt x="1097684" y="241038"/>
                  <a:pt x="1097331" y="242358"/>
                </a:cubicBezTo>
                <a:cubicBezTo>
                  <a:pt x="1096958" y="243711"/>
                  <a:pt x="1096585" y="245064"/>
                  <a:pt x="1096201" y="246458"/>
                </a:cubicBezTo>
                <a:cubicBezTo>
                  <a:pt x="1093302" y="257363"/>
                  <a:pt x="1090901" y="268062"/>
                  <a:pt x="1089440" y="279206"/>
                </a:cubicBezTo>
                <a:cubicBezTo>
                  <a:pt x="1088878" y="282569"/>
                  <a:pt x="1088878" y="282569"/>
                  <a:pt x="1087316" y="283978"/>
                </a:cubicBezTo>
                <a:cubicBezTo>
                  <a:pt x="1087070" y="286587"/>
                  <a:pt x="1086924" y="289205"/>
                  <a:pt x="1086822" y="291822"/>
                </a:cubicBezTo>
                <a:cubicBezTo>
                  <a:pt x="1086756" y="293408"/>
                  <a:pt x="1086691" y="294993"/>
                  <a:pt x="1086623" y="296625"/>
                </a:cubicBezTo>
                <a:cubicBezTo>
                  <a:pt x="1086562" y="298294"/>
                  <a:pt x="1086501" y="299962"/>
                  <a:pt x="1086437" y="301681"/>
                </a:cubicBezTo>
                <a:cubicBezTo>
                  <a:pt x="1086336" y="304192"/>
                  <a:pt x="1086336" y="304192"/>
                  <a:pt x="1086233" y="306754"/>
                </a:cubicBezTo>
                <a:lnTo>
                  <a:pt x="1086007" y="312619"/>
                </a:lnTo>
                <a:lnTo>
                  <a:pt x="1087470" y="320554"/>
                </a:lnTo>
                <a:cubicBezTo>
                  <a:pt x="1089648" y="325409"/>
                  <a:pt x="1093111" y="329799"/>
                  <a:pt x="1098285" y="334611"/>
                </a:cubicBezTo>
                <a:cubicBezTo>
                  <a:pt x="1100424" y="336130"/>
                  <a:pt x="1100424" y="336130"/>
                  <a:pt x="1102607" y="337679"/>
                </a:cubicBezTo>
                <a:cubicBezTo>
                  <a:pt x="1104334" y="338951"/>
                  <a:pt x="1104334" y="338951"/>
                  <a:pt x="1106095" y="340248"/>
                </a:cubicBezTo>
                <a:cubicBezTo>
                  <a:pt x="1106095" y="341178"/>
                  <a:pt x="1106095" y="342108"/>
                  <a:pt x="1106095" y="343066"/>
                </a:cubicBezTo>
                <a:cubicBezTo>
                  <a:pt x="1107127" y="343183"/>
                  <a:pt x="1108158" y="343299"/>
                  <a:pt x="1109220" y="343419"/>
                </a:cubicBezTo>
                <a:cubicBezTo>
                  <a:pt x="1115473" y="344829"/>
                  <a:pt x="1120724" y="347416"/>
                  <a:pt x="1126403" y="350112"/>
                </a:cubicBezTo>
                <a:cubicBezTo>
                  <a:pt x="1128207" y="350926"/>
                  <a:pt x="1130012" y="351740"/>
                  <a:pt x="1131871" y="352579"/>
                </a:cubicBezTo>
                <a:cubicBezTo>
                  <a:pt x="1133159" y="353160"/>
                  <a:pt x="1134448" y="353741"/>
                  <a:pt x="1135776" y="354340"/>
                </a:cubicBezTo>
                <a:cubicBezTo>
                  <a:pt x="1135776" y="355270"/>
                  <a:pt x="1135776" y="356200"/>
                  <a:pt x="1135776" y="357158"/>
                </a:cubicBezTo>
                <a:cubicBezTo>
                  <a:pt x="1148107" y="360029"/>
                  <a:pt x="1158679" y="359101"/>
                  <a:pt x="1170143" y="354340"/>
                </a:cubicBezTo>
                <a:cubicBezTo>
                  <a:pt x="1172366" y="353468"/>
                  <a:pt x="1172366" y="353468"/>
                  <a:pt x="1174634" y="352579"/>
                </a:cubicBezTo>
                <a:cubicBezTo>
                  <a:pt x="1180354" y="349689"/>
                  <a:pt x="1185568" y="346355"/>
                  <a:pt x="1190890" y="342907"/>
                </a:cubicBezTo>
                <a:cubicBezTo>
                  <a:pt x="1195169" y="340228"/>
                  <a:pt x="1199557" y="337821"/>
                  <a:pt x="1204021" y="335404"/>
                </a:cubicBezTo>
                <a:cubicBezTo>
                  <a:pt x="1211989" y="330886"/>
                  <a:pt x="1217509" y="325766"/>
                  <a:pt x="1223255" y="319110"/>
                </a:cubicBezTo>
                <a:cubicBezTo>
                  <a:pt x="1224447" y="317947"/>
                  <a:pt x="1225639" y="316784"/>
                  <a:pt x="1226868" y="315587"/>
                </a:cubicBezTo>
                <a:cubicBezTo>
                  <a:pt x="1229855" y="311593"/>
                  <a:pt x="1230852" y="308240"/>
                  <a:pt x="1231859" y="303559"/>
                </a:cubicBezTo>
                <a:cubicBezTo>
                  <a:pt x="1232628" y="300790"/>
                  <a:pt x="1232628" y="300790"/>
                  <a:pt x="1234178" y="298059"/>
                </a:cubicBezTo>
                <a:cubicBezTo>
                  <a:pt x="1235964" y="294761"/>
                  <a:pt x="1236623" y="291807"/>
                  <a:pt x="1237314" y="288195"/>
                </a:cubicBezTo>
                <a:cubicBezTo>
                  <a:pt x="1239360" y="278571"/>
                  <a:pt x="1242414" y="272733"/>
                  <a:pt x="1249811" y="265559"/>
                </a:cubicBezTo>
                <a:cubicBezTo>
                  <a:pt x="1250842" y="265559"/>
                  <a:pt x="1251873" y="265559"/>
                  <a:pt x="1252935" y="265559"/>
                </a:cubicBezTo>
                <a:cubicBezTo>
                  <a:pt x="1252935" y="264629"/>
                  <a:pt x="1252935" y="263699"/>
                  <a:pt x="1252935" y="262741"/>
                </a:cubicBezTo>
                <a:cubicBezTo>
                  <a:pt x="1265591" y="253427"/>
                  <a:pt x="1280762" y="251648"/>
                  <a:pt x="1296675" y="252876"/>
                </a:cubicBezTo>
                <a:cubicBezTo>
                  <a:pt x="1300535" y="253563"/>
                  <a:pt x="1303901" y="254478"/>
                  <a:pt x="1307609" y="255695"/>
                </a:cubicBezTo>
                <a:cubicBezTo>
                  <a:pt x="1307609" y="256625"/>
                  <a:pt x="1307609" y="257555"/>
                  <a:pt x="1307609" y="258513"/>
                </a:cubicBezTo>
                <a:cubicBezTo>
                  <a:pt x="1309021" y="258619"/>
                  <a:pt x="1310432" y="258723"/>
                  <a:pt x="1311887" y="258832"/>
                </a:cubicBezTo>
                <a:cubicBezTo>
                  <a:pt x="1319573" y="260476"/>
                  <a:pt x="1322149" y="264416"/>
                  <a:pt x="1326715" y="269969"/>
                </a:cubicBezTo>
                <a:cubicBezTo>
                  <a:pt x="1334402" y="281220"/>
                  <a:pt x="1336114" y="294839"/>
                  <a:pt x="1334165" y="307836"/>
                </a:cubicBezTo>
                <a:cubicBezTo>
                  <a:pt x="1332176" y="311898"/>
                  <a:pt x="1332176" y="311898"/>
                  <a:pt x="1329479" y="314882"/>
                </a:cubicBezTo>
                <a:cubicBezTo>
                  <a:pt x="1327417" y="314882"/>
                  <a:pt x="1325355" y="314882"/>
                  <a:pt x="1323231" y="314882"/>
                </a:cubicBezTo>
                <a:cubicBezTo>
                  <a:pt x="1323231" y="315812"/>
                  <a:pt x="1323231" y="316742"/>
                  <a:pt x="1323231" y="317700"/>
                </a:cubicBezTo>
                <a:lnTo>
                  <a:pt x="1322774" y="317838"/>
                </a:lnTo>
                <a:lnTo>
                  <a:pt x="1323295" y="317838"/>
                </a:lnTo>
                <a:cubicBezTo>
                  <a:pt x="1323295" y="316907"/>
                  <a:pt x="1323295" y="315977"/>
                  <a:pt x="1323295" y="315019"/>
                </a:cubicBezTo>
                <a:cubicBezTo>
                  <a:pt x="1324842" y="315019"/>
                  <a:pt x="1326388" y="315019"/>
                  <a:pt x="1327982" y="315019"/>
                </a:cubicBezTo>
                <a:cubicBezTo>
                  <a:pt x="1325845" y="321328"/>
                  <a:pt x="1322753" y="323742"/>
                  <a:pt x="1317047" y="327702"/>
                </a:cubicBezTo>
                <a:cubicBezTo>
                  <a:pt x="1316531" y="329097"/>
                  <a:pt x="1316016" y="330492"/>
                  <a:pt x="1315484" y="331930"/>
                </a:cubicBezTo>
                <a:cubicBezTo>
                  <a:pt x="1312599" y="332959"/>
                  <a:pt x="1312599" y="332959"/>
                  <a:pt x="1309139" y="333603"/>
                </a:cubicBezTo>
                <a:cubicBezTo>
                  <a:pt x="1307993" y="333827"/>
                  <a:pt x="1306847" y="334050"/>
                  <a:pt x="1305666" y="334280"/>
                </a:cubicBezTo>
                <a:cubicBezTo>
                  <a:pt x="1304783" y="334434"/>
                  <a:pt x="1303899" y="334589"/>
                  <a:pt x="1302988" y="334748"/>
                </a:cubicBezTo>
                <a:lnTo>
                  <a:pt x="1305905" y="332775"/>
                </a:lnTo>
                <a:lnTo>
                  <a:pt x="1304485" y="333202"/>
                </a:lnTo>
                <a:cubicBezTo>
                  <a:pt x="1302987" y="334640"/>
                  <a:pt x="1302987" y="334640"/>
                  <a:pt x="1301459" y="336108"/>
                </a:cubicBezTo>
                <a:cubicBezTo>
                  <a:pt x="1298237" y="338839"/>
                  <a:pt x="1298237" y="338839"/>
                  <a:pt x="1291989" y="338839"/>
                </a:cubicBezTo>
                <a:cubicBezTo>
                  <a:pt x="1291473" y="340234"/>
                  <a:pt x="1290957" y="341629"/>
                  <a:pt x="1290426" y="343066"/>
                </a:cubicBezTo>
                <a:cubicBezTo>
                  <a:pt x="1288879" y="343415"/>
                  <a:pt x="1287333" y="343764"/>
                  <a:pt x="1285740" y="344123"/>
                </a:cubicBezTo>
                <a:cubicBezTo>
                  <a:pt x="1266905" y="348491"/>
                  <a:pt x="1249005" y="369098"/>
                  <a:pt x="1237314" y="382525"/>
                </a:cubicBezTo>
                <a:cubicBezTo>
                  <a:pt x="1235678" y="385783"/>
                  <a:pt x="1234122" y="389075"/>
                  <a:pt x="1232628" y="392389"/>
                </a:cubicBezTo>
                <a:cubicBezTo>
                  <a:pt x="1231317" y="394515"/>
                  <a:pt x="1229981" y="396629"/>
                  <a:pt x="1228625" y="398731"/>
                </a:cubicBezTo>
                <a:cubicBezTo>
                  <a:pt x="1221457" y="410300"/>
                  <a:pt x="1219465" y="421836"/>
                  <a:pt x="1222822" y="434798"/>
                </a:cubicBezTo>
                <a:cubicBezTo>
                  <a:pt x="1229360" y="453710"/>
                  <a:pt x="1244088" y="472467"/>
                  <a:pt x="1260746" y="485398"/>
                </a:cubicBezTo>
                <a:cubicBezTo>
                  <a:pt x="1264961" y="487349"/>
                  <a:pt x="1264961" y="487349"/>
                  <a:pt x="1268556" y="488216"/>
                </a:cubicBezTo>
                <a:cubicBezTo>
                  <a:pt x="1268556" y="489146"/>
                  <a:pt x="1268556" y="490076"/>
                  <a:pt x="1268556" y="491034"/>
                </a:cubicBezTo>
                <a:cubicBezTo>
                  <a:pt x="1288790" y="497071"/>
                  <a:pt x="1319055" y="498555"/>
                  <a:pt x="1338852" y="489625"/>
                </a:cubicBezTo>
                <a:cubicBezTo>
                  <a:pt x="1341711" y="489213"/>
                  <a:pt x="1344575" y="488837"/>
                  <a:pt x="1347444" y="488480"/>
                </a:cubicBezTo>
                <a:cubicBezTo>
                  <a:pt x="1355372" y="487345"/>
                  <a:pt x="1362033" y="485390"/>
                  <a:pt x="1369362" y="482513"/>
                </a:cubicBezTo>
                <a:cubicBezTo>
                  <a:pt x="1375665" y="480318"/>
                  <a:pt x="1382189" y="479322"/>
                  <a:pt x="1388840" y="478351"/>
                </a:cubicBezTo>
                <a:cubicBezTo>
                  <a:pt x="1388840" y="477421"/>
                  <a:pt x="1388840" y="476492"/>
                  <a:pt x="1388840" y="475533"/>
                </a:cubicBezTo>
                <a:cubicBezTo>
                  <a:pt x="1391083" y="474821"/>
                  <a:pt x="1393329" y="474118"/>
                  <a:pt x="1395576" y="473419"/>
                </a:cubicBezTo>
                <a:cubicBezTo>
                  <a:pt x="1396827" y="473027"/>
                  <a:pt x="1398077" y="472635"/>
                  <a:pt x="1399365" y="472230"/>
                </a:cubicBezTo>
                <a:cubicBezTo>
                  <a:pt x="1402899" y="471305"/>
                  <a:pt x="1402899" y="471305"/>
                  <a:pt x="1407585" y="471305"/>
                </a:cubicBezTo>
                <a:cubicBezTo>
                  <a:pt x="1408101" y="469910"/>
                  <a:pt x="1408616" y="468515"/>
                  <a:pt x="1409147" y="467078"/>
                </a:cubicBezTo>
                <a:cubicBezTo>
                  <a:pt x="1412388" y="465580"/>
                  <a:pt x="1412388" y="465580"/>
                  <a:pt x="1416470" y="464259"/>
                </a:cubicBezTo>
                <a:cubicBezTo>
                  <a:pt x="1424029" y="461705"/>
                  <a:pt x="1431130" y="458955"/>
                  <a:pt x="1437949" y="455011"/>
                </a:cubicBezTo>
                <a:cubicBezTo>
                  <a:pt x="1442765" y="452574"/>
                  <a:pt x="1447553" y="451394"/>
                  <a:pt x="1452887" y="450167"/>
                </a:cubicBezTo>
                <a:cubicBezTo>
                  <a:pt x="1452887" y="449237"/>
                  <a:pt x="1452887" y="448307"/>
                  <a:pt x="1452887" y="447349"/>
                </a:cubicBezTo>
                <a:cubicBezTo>
                  <a:pt x="1453714" y="446944"/>
                  <a:pt x="1454541" y="446539"/>
                  <a:pt x="1455394" y="446122"/>
                </a:cubicBezTo>
                <a:cubicBezTo>
                  <a:pt x="1459151" y="444278"/>
                  <a:pt x="1462902" y="442422"/>
                  <a:pt x="1466653" y="440567"/>
                </a:cubicBezTo>
                <a:cubicBezTo>
                  <a:pt x="1467955" y="439930"/>
                  <a:pt x="1469256" y="439293"/>
                  <a:pt x="1470598" y="438637"/>
                </a:cubicBezTo>
                <a:cubicBezTo>
                  <a:pt x="1471852" y="438016"/>
                  <a:pt x="1473105" y="437393"/>
                  <a:pt x="1474397" y="436752"/>
                </a:cubicBezTo>
                <a:cubicBezTo>
                  <a:pt x="1475550" y="436184"/>
                  <a:pt x="1476703" y="435616"/>
                  <a:pt x="1477892" y="435030"/>
                </a:cubicBezTo>
                <a:cubicBezTo>
                  <a:pt x="1480966" y="433279"/>
                  <a:pt x="1483173" y="431373"/>
                  <a:pt x="1485691" y="429029"/>
                </a:cubicBezTo>
                <a:cubicBezTo>
                  <a:pt x="1486737" y="428575"/>
                  <a:pt x="1487781" y="428121"/>
                  <a:pt x="1488858" y="427653"/>
                </a:cubicBezTo>
                <a:cubicBezTo>
                  <a:pt x="1492438" y="425977"/>
                  <a:pt x="1493705" y="424453"/>
                  <a:pt x="1495943" y="421454"/>
                </a:cubicBezTo>
                <a:cubicBezTo>
                  <a:pt x="1507114" y="407544"/>
                  <a:pt x="1519758" y="393513"/>
                  <a:pt x="1538608" y="388338"/>
                </a:cubicBezTo>
                <a:cubicBezTo>
                  <a:pt x="1541025" y="388250"/>
                  <a:pt x="1541025" y="388250"/>
                  <a:pt x="1543490" y="388161"/>
                </a:cubicBezTo>
                <a:cubicBezTo>
                  <a:pt x="1545535" y="387984"/>
                  <a:pt x="1545535" y="387984"/>
                  <a:pt x="1547621" y="387804"/>
                </a:cubicBezTo>
                <a:cubicBezTo>
                  <a:pt x="1560659" y="387094"/>
                  <a:pt x="1568716" y="390117"/>
                  <a:pt x="1579418" y="396617"/>
                </a:cubicBezTo>
                <a:cubicBezTo>
                  <a:pt x="1581361" y="397687"/>
                  <a:pt x="1581361" y="397687"/>
                  <a:pt x="1583342" y="398780"/>
                </a:cubicBezTo>
                <a:cubicBezTo>
                  <a:pt x="1593703" y="405068"/>
                  <a:pt x="1598513" y="412459"/>
                  <a:pt x="1601288" y="423392"/>
                </a:cubicBezTo>
                <a:cubicBezTo>
                  <a:pt x="1603295" y="436596"/>
                  <a:pt x="1603517" y="449033"/>
                  <a:pt x="1594484" y="460159"/>
                </a:cubicBezTo>
                <a:cubicBezTo>
                  <a:pt x="1588468" y="466462"/>
                  <a:pt x="1582607" y="471150"/>
                  <a:pt x="1574732" y="475533"/>
                </a:cubicBezTo>
                <a:cubicBezTo>
                  <a:pt x="1573862" y="476043"/>
                  <a:pt x="1572993" y="476553"/>
                  <a:pt x="1572097" y="477078"/>
                </a:cubicBezTo>
                <a:cubicBezTo>
                  <a:pt x="1566828" y="478935"/>
                  <a:pt x="1561641" y="478744"/>
                  <a:pt x="1556066" y="478737"/>
                </a:cubicBezTo>
                <a:cubicBezTo>
                  <a:pt x="1553587" y="478765"/>
                  <a:pt x="1551109" y="478795"/>
                  <a:pt x="1548631" y="478825"/>
                </a:cubicBezTo>
                <a:cubicBezTo>
                  <a:pt x="1544751" y="478857"/>
                  <a:pt x="1540871" y="478880"/>
                  <a:pt x="1536991" y="478889"/>
                </a:cubicBezTo>
                <a:cubicBezTo>
                  <a:pt x="1516714" y="478693"/>
                  <a:pt x="1516714" y="478693"/>
                  <a:pt x="1498188" y="485398"/>
                </a:cubicBezTo>
                <a:cubicBezTo>
                  <a:pt x="1496062" y="486488"/>
                  <a:pt x="1496062" y="486488"/>
                  <a:pt x="1493892" y="487600"/>
                </a:cubicBezTo>
                <a:cubicBezTo>
                  <a:pt x="1492733" y="488268"/>
                  <a:pt x="1491573" y="488937"/>
                  <a:pt x="1490377" y="489625"/>
                </a:cubicBezTo>
                <a:cubicBezTo>
                  <a:pt x="1484304" y="493012"/>
                  <a:pt x="1478212" y="495675"/>
                  <a:pt x="1471650" y="498185"/>
                </a:cubicBezTo>
                <a:cubicBezTo>
                  <a:pt x="1467148" y="500054"/>
                  <a:pt x="1463242" y="502632"/>
                  <a:pt x="1459135" y="505127"/>
                </a:cubicBezTo>
                <a:cubicBezTo>
                  <a:pt x="1456968" y="506120"/>
                  <a:pt x="1454786" y="507086"/>
                  <a:pt x="1452594" y="508033"/>
                </a:cubicBezTo>
                <a:cubicBezTo>
                  <a:pt x="1444148" y="511772"/>
                  <a:pt x="1435969" y="515903"/>
                  <a:pt x="1427795" y="520100"/>
                </a:cubicBezTo>
                <a:cubicBezTo>
                  <a:pt x="1425784" y="521114"/>
                  <a:pt x="1425784" y="521114"/>
                  <a:pt x="1423733" y="522148"/>
                </a:cubicBezTo>
                <a:cubicBezTo>
                  <a:pt x="1422478" y="522798"/>
                  <a:pt x="1421223" y="523449"/>
                  <a:pt x="1419929" y="524118"/>
                </a:cubicBezTo>
                <a:cubicBezTo>
                  <a:pt x="1418794" y="524701"/>
                  <a:pt x="1417658" y="525283"/>
                  <a:pt x="1416487" y="525883"/>
                </a:cubicBezTo>
                <a:cubicBezTo>
                  <a:pt x="1413349" y="527646"/>
                  <a:pt x="1413349" y="527646"/>
                  <a:pt x="1412271" y="531902"/>
                </a:cubicBezTo>
                <a:cubicBezTo>
                  <a:pt x="1407205" y="535203"/>
                  <a:pt x="1402819" y="536744"/>
                  <a:pt x="1396650" y="537539"/>
                </a:cubicBezTo>
                <a:cubicBezTo>
                  <a:pt x="1396650" y="538469"/>
                  <a:pt x="1396650" y="539399"/>
                  <a:pt x="1396650" y="540357"/>
                </a:cubicBezTo>
                <a:cubicBezTo>
                  <a:pt x="1395609" y="540735"/>
                  <a:pt x="1394568" y="541113"/>
                  <a:pt x="1393495" y="541502"/>
                </a:cubicBezTo>
                <a:cubicBezTo>
                  <a:pt x="1381840" y="545973"/>
                  <a:pt x="1372279" y="551715"/>
                  <a:pt x="1362284" y="558678"/>
                </a:cubicBezTo>
                <a:cubicBezTo>
                  <a:pt x="1360170" y="560088"/>
                  <a:pt x="1358055" y="561497"/>
                  <a:pt x="1355937" y="562905"/>
                </a:cubicBezTo>
                <a:cubicBezTo>
                  <a:pt x="1348556" y="567937"/>
                  <a:pt x="1341292" y="573085"/>
                  <a:pt x="1334165" y="578406"/>
                </a:cubicBezTo>
                <a:cubicBezTo>
                  <a:pt x="1332697" y="579472"/>
                  <a:pt x="1332697" y="579472"/>
                  <a:pt x="1331200" y="580559"/>
                </a:cubicBezTo>
                <a:cubicBezTo>
                  <a:pt x="1325067" y="585430"/>
                  <a:pt x="1323406" y="589771"/>
                  <a:pt x="1322175" y="596793"/>
                </a:cubicBezTo>
                <a:cubicBezTo>
                  <a:pt x="1321669" y="599545"/>
                  <a:pt x="1321669" y="599545"/>
                  <a:pt x="1320106" y="602363"/>
                </a:cubicBezTo>
                <a:cubicBezTo>
                  <a:pt x="1318419" y="618189"/>
                  <a:pt x="1322416" y="632767"/>
                  <a:pt x="1328015" y="647640"/>
                </a:cubicBezTo>
                <a:cubicBezTo>
                  <a:pt x="1331267" y="656625"/>
                  <a:pt x="1333170" y="666179"/>
                  <a:pt x="1332604" y="675643"/>
                </a:cubicBezTo>
                <a:cubicBezTo>
                  <a:pt x="1333634" y="675643"/>
                  <a:pt x="1334665" y="675643"/>
                  <a:pt x="1335727" y="675643"/>
                </a:cubicBezTo>
                <a:cubicBezTo>
                  <a:pt x="1337571" y="680632"/>
                  <a:pt x="1337591" y="684795"/>
                  <a:pt x="1337741" y="690059"/>
                </a:cubicBezTo>
                <a:cubicBezTo>
                  <a:pt x="1337826" y="692114"/>
                  <a:pt x="1337913" y="694168"/>
                  <a:pt x="1338003" y="696222"/>
                </a:cubicBezTo>
                <a:cubicBezTo>
                  <a:pt x="1338142" y="699444"/>
                  <a:pt x="1338266" y="702664"/>
                  <a:pt x="1338340" y="705887"/>
                </a:cubicBezTo>
                <a:cubicBezTo>
                  <a:pt x="1338372" y="720474"/>
                  <a:pt x="1338372" y="720474"/>
                  <a:pt x="1345277" y="733245"/>
                </a:cubicBezTo>
                <a:cubicBezTo>
                  <a:pt x="1350822" y="737861"/>
                  <a:pt x="1355921" y="739823"/>
                  <a:pt x="1363162" y="741612"/>
                </a:cubicBezTo>
                <a:cubicBezTo>
                  <a:pt x="1370672" y="743533"/>
                  <a:pt x="1377197" y="745750"/>
                  <a:pt x="1384154" y="748922"/>
                </a:cubicBezTo>
                <a:cubicBezTo>
                  <a:pt x="1387833" y="749898"/>
                  <a:pt x="1387833" y="749898"/>
                  <a:pt x="1391476" y="750419"/>
                </a:cubicBezTo>
                <a:cubicBezTo>
                  <a:pt x="1393499" y="750747"/>
                  <a:pt x="1393499" y="750747"/>
                  <a:pt x="1395564" y="751080"/>
                </a:cubicBezTo>
                <a:cubicBezTo>
                  <a:pt x="1397648" y="751407"/>
                  <a:pt x="1397648" y="751407"/>
                  <a:pt x="1399775" y="751740"/>
                </a:cubicBezTo>
                <a:cubicBezTo>
                  <a:pt x="1401810" y="752111"/>
                  <a:pt x="1401810" y="752111"/>
                  <a:pt x="1403887" y="752489"/>
                </a:cubicBezTo>
                <a:cubicBezTo>
                  <a:pt x="1424247" y="756131"/>
                  <a:pt x="1444708" y="756350"/>
                  <a:pt x="1465383" y="755969"/>
                </a:cubicBezTo>
                <a:cubicBezTo>
                  <a:pt x="1467019" y="755945"/>
                  <a:pt x="1468654" y="755921"/>
                  <a:pt x="1470339" y="755897"/>
                </a:cubicBezTo>
                <a:cubicBezTo>
                  <a:pt x="1480128" y="755450"/>
                  <a:pt x="1487899" y="752933"/>
                  <a:pt x="1496809" y="749313"/>
                </a:cubicBezTo>
                <a:cubicBezTo>
                  <a:pt x="1502876" y="746888"/>
                  <a:pt x="1509049" y="745091"/>
                  <a:pt x="1515371" y="743285"/>
                </a:cubicBezTo>
                <a:cubicBezTo>
                  <a:pt x="1515371" y="742356"/>
                  <a:pt x="1515371" y="741425"/>
                  <a:pt x="1515371" y="740467"/>
                </a:cubicBezTo>
                <a:cubicBezTo>
                  <a:pt x="1522710" y="737103"/>
                  <a:pt x="1529583" y="737106"/>
                  <a:pt x="1537632" y="737120"/>
                </a:cubicBezTo>
                <a:cubicBezTo>
                  <a:pt x="1538960" y="737122"/>
                  <a:pt x="1540289" y="737124"/>
                  <a:pt x="1541657" y="737127"/>
                </a:cubicBezTo>
                <a:cubicBezTo>
                  <a:pt x="1555502" y="737372"/>
                  <a:pt x="1564314" y="740697"/>
                  <a:pt x="1574732" y="748922"/>
                </a:cubicBezTo>
                <a:cubicBezTo>
                  <a:pt x="1586507" y="762822"/>
                  <a:pt x="1590347" y="775219"/>
                  <a:pt x="1588791" y="792608"/>
                </a:cubicBezTo>
                <a:cubicBezTo>
                  <a:pt x="1587728" y="797050"/>
                  <a:pt x="1586468" y="801261"/>
                  <a:pt x="1584105" y="805291"/>
                </a:cubicBezTo>
                <a:cubicBezTo>
                  <a:pt x="1583074" y="805756"/>
                  <a:pt x="1582043" y="806221"/>
                  <a:pt x="1580981" y="806700"/>
                </a:cubicBezTo>
                <a:cubicBezTo>
                  <a:pt x="1580240" y="807892"/>
                  <a:pt x="1579499" y="809083"/>
                  <a:pt x="1578735" y="810311"/>
                </a:cubicBezTo>
                <a:cubicBezTo>
                  <a:pt x="1577930" y="811445"/>
                  <a:pt x="1577124" y="812579"/>
                  <a:pt x="1576295" y="813746"/>
                </a:cubicBezTo>
                <a:lnTo>
                  <a:pt x="1571652" y="813746"/>
                </a:lnTo>
                <a:lnTo>
                  <a:pt x="1571785" y="814106"/>
                </a:lnTo>
                <a:cubicBezTo>
                  <a:pt x="1572816" y="814571"/>
                  <a:pt x="1573846" y="815036"/>
                  <a:pt x="1574909" y="815515"/>
                </a:cubicBezTo>
                <a:cubicBezTo>
                  <a:pt x="1572126" y="818758"/>
                  <a:pt x="1569968" y="820871"/>
                  <a:pt x="1565463" y="821839"/>
                </a:cubicBezTo>
                <a:lnTo>
                  <a:pt x="1562085" y="822101"/>
                </a:lnTo>
                <a:lnTo>
                  <a:pt x="1551301" y="825020"/>
                </a:lnTo>
                <a:cubicBezTo>
                  <a:pt x="1551301" y="825950"/>
                  <a:pt x="1551301" y="826880"/>
                  <a:pt x="1551301" y="827838"/>
                </a:cubicBezTo>
                <a:cubicBezTo>
                  <a:pt x="1526697" y="828735"/>
                  <a:pt x="1507496" y="825036"/>
                  <a:pt x="1485380" y="815007"/>
                </a:cubicBezTo>
                <a:cubicBezTo>
                  <a:pt x="1468723" y="807743"/>
                  <a:pt x="1449749" y="809144"/>
                  <a:pt x="1431603" y="808726"/>
                </a:cubicBezTo>
                <a:cubicBezTo>
                  <a:pt x="1429115" y="808665"/>
                  <a:pt x="1426627" y="808604"/>
                  <a:pt x="1424140" y="808542"/>
                </a:cubicBezTo>
                <a:cubicBezTo>
                  <a:pt x="1418101" y="808392"/>
                  <a:pt x="1412062" y="808249"/>
                  <a:pt x="1406023" y="808109"/>
                </a:cubicBezTo>
                <a:cubicBezTo>
                  <a:pt x="1406023" y="809040"/>
                  <a:pt x="1406023" y="809970"/>
                  <a:pt x="1406023" y="810928"/>
                </a:cubicBezTo>
                <a:cubicBezTo>
                  <a:pt x="1404716" y="811118"/>
                  <a:pt x="1404716" y="811118"/>
                  <a:pt x="1403383" y="811311"/>
                </a:cubicBezTo>
                <a:cubicBezTo>
                  <a:pt x="1372054" y="815110"/>
                  <a:pt x="1372054" y="815110"/>
                  <a:pt x="1345442" y="828907"/>
                </a:cubicBezTo>
                <a:cubicBezTo>
                  <a:pt x="1338843" y="837605"/>
                  <a:pt x="1338313" y="846434"/>
                  <a:pt x="1337875" y="856639"/>
                </a:cubicBezTo>
                <a:cubicBezTo>
                  <a:pt x="1337815" y="857805"/>
                  <a:pt x="1337754" y="858970"/>
                  <a:pt x="1337692" y="860171"/>
                </a:cubicBezTo>
                <a:cubicBezTo>
                  <a:pt x="1337547" y="863016"/>
                  <a:pt x="1337417" y="865861"/>
                  <a:pt x="1337290" y="868706"/>
                </a:cubicBezTo>
                <a:cubicBezTo>
                  <a:pt x="1336258" y="868706"/>
                  <a:pt x="1335228" y="868706"/>
                  <a:pt x="1334165" y="868706"/>
                </a:cubicBezTo>
                <a:lnTo>
                  <a:pt x="1334165" y="870034"/>
                </a:lnTo>
                <a:lnTo>
                  <a:pt x="1334237" y="869093"/>
                </a:lnTo>
                <a:cubicBezTo>
                  <a:pt x="1334753" y="869093"/>
                  <a:pt x="1335268" y="869093"/>
                  <a:pt x="1335800" y="869093"/>
                </a:cubicBezTo>
                <a:cubicBezTo>
                  <a:pt x="1335884" y="871559"/>
                  <a:pt x="1335944" y="874025"/>
                  <a:pt x="1335995" y="876491"/>
                </a:cubicBezTo>
                <a:cubicBezTo>
                  <a:pt x="1336030" y="877865"/>
                  <a:pt x="1336067" y="879238"/>
                  <a:pt x="1336105" y="880653"/>
                </a:cubicBezTo>
                <a:cubicBezTo>
                  <a:pt x="1335800" y="884594"/>
                  <a:pt x="1335800" y="884594"/>
                  <a:pt x="1334294" y="887271"/>
                </a:cubicBezTo>
                <a:cubicBezTo>
                  <a:pt x="1332567" y="890428"/>
                  <a:pt x="1331982" y="892964"/>
                  <a:pt x="1331455" y="896440"/>
                </a:cubicBezTo>
                <a:cubicBezTo>
                  <a:pt x="1331267" y="897605"/>
                  <a:pt x="1331080" y="898769"/>
                  <a:pt x="1330887" y="899969"/>
                </a:cubicBezTo>
                <a:cubicBezTo>
                  <a:pt x="1330704" y="901174"/>
                  <a:pt x="1330521" y="902378"/>
                  <a:pt x="1330332" y="903618"/>
                </a:cubicBezTo>
                <a:cubicBezTo>
                  <a:pt x="1329968" y="906013"/>
                  <a:pt x="1329594" y="908405"/>
                  <a:pt x="1329209" y="910797"/>
                </a:cubicBezTo>
                <a:cubicBezTo>
                  <a:pt x="1329049" y="911853"/>
                  <a:pt x="1328889" y="912910"/>
                  <a:pt x="1328724" y="913998"/>
                </a:cubicBezTo>
                <a:cubicBezTo>
                  <a:pt x="1327933" y="917233"/>
                  <a:pt x="1326525" y="919703"/>
                  <a:pt x="1324865" y="922643"/>
                </a:cubicBezTo>
                <a:cubicBezTo>
                  <a:pt x="1323924" y="927743"/>
                  <a:pt x="1323282" y="932845"/>
                  <a:pt x="1322619" y="937979"/>
                </a:cubicBezTo>
                <a:lnTo>
                  <a:pt x="1318744" y="944961"/>
                </a:lnTo>
                <a:lnTo>
                  <a:pt x="1318544" y="946213"/>
                </a:lnTo>
                <a:cubicBezTo>
                  <a:pt x="1318360" y="949234"/>
                  <a:pt x="1318271" y="952260"/>
                  <a:pt x="1318251" y="955285"/>
                </a:cubicBezTo>
                <a:cubicBezTo>
                  <a:pt x="1318218" y="957637"/>
                  <a:pt x="1318218" y="957637"/>
                  <a:pt x="1318184" y="960036"/>
                </a:cubicBezTo>
                <a:cubicBezTo>
                  <a:pt x="1318624" y="965530"/>
                  <a:pt x="1319569" y="969724"/>
                  <a:pt x="1324024" y="973660"/>
                </a:cubicBezTo>
                <a:cubicBezTo>
                  <a:pt x="1327197" y="976583"/>
                  <a:pt x="1327950" y="979494"/>
                  <a:pt x="1329284" y="983382"/>
                </a:cubicBezTo>
                <a:cubicBezTo>
                  <a:pt x="1331875" y="990106"/>
                  <a:pt x="1334445" y="993582"/>
                  <a:pt x="1340414" y="998354"/>
                </a:cubicBezTo>
                <a:cubicBezTo>
                  <a:pt x="1342397" y="1000564"/>
                  <a:pt x="1344347" y="1002798"/>
                  <a:pt x="1346272" y="1005048"/>
                </a:cubicBezTo>
                <a:cubicBezTo>
                  <a:pt x="1360055" y="1020713"/>
                  <a:pt x="1376247" y="1031879"/>
                  <a:pt x="1394716" y="1042740"/>
                </a:cubicBezTo>
                <a:cubicBezTo>
                  <a:pt x="1397172" y="1044228"/>
                  <a:pt x="1399581" y="1045779"/>
                  <a:pt x="1401953" y="1047374"/>
                </a:cubicBezTo>
                <a:cubicBezTo>
                  <a:pt x="1410065" y="1052802"/>
                  <a:pt x="1417529" y="1056366"/>
                  <a:pt x="1427197" y="1059061"/>
                </a:cubicBezTo>
                <a:cubicBezTo>
                  <a:pt x="1431243" y="1060437"/>
                  <a:pt x="1434061" y="1061979"/>
                  <a:pt x="1437265" y="1064588"/>
                </a:cubicBezTo>
                <a:cubicBezTo>
                  <a:pt x="1437265" y="1065518"/>
                  <a:pt x="1437265" y="1066448"/>
                  <a:pt x="1437265" y="1067406"/>
                </a:cubicBezTo>
                <a:cubicBezTo>
                  <a:pt x="1439053" y="1067624"/>
                  <a:pt x="1439053" y="1067624"/>
                  <a:pt x="1440878" y="1067847"/>
                </a:cubicBezTo>
                <a:cubicBezTo>
                  <a:pt x="1445076" y="1068815"/>
                  <a:pt x="1445076" y="1068815"/>
                  <a:pt x="1447175" y="1070753"/>
                </a:cubicBezTo>
                <a:cubicBezTo>
                  <a:pt x="1450417" y="1073622"/>
                  <a:pt x="1453781" y="1075060"/>
                  <a:pt x="1457866" y="1076830"/>
                </a:cubicBezTo>
                <a:cubicBezTo>
                  <a:pt x="1459274" y="1077446"/>
                  <a:pt x="1460681" y="1078062"/>
                  <a:pt x="1462132" y="1078696"/>
                </a:cubicBezTo>
                <a:cubicBezTo>
                  <a:pt x="1463204" y="1079156"/>
                  <a:pt x="1464278" y="1079616"/>
                  <a:pt x="1465383" y="1080089"/>
                </a:cubicBezTo>
                <a:cubicBezTo>
                  <a:pt x="1465383" y="1081019"/>
                  <a:pt x="1465383" y="1081949"/>
                  <a:pt x="1465383" y="1082908"/>
                </a:cubicBezTo>
                <a:cubicBezTo>
                  <a:pt x="1466497" y="1083260"/>
                  <a:pt x="1467611" y="1083612"/>
                  <a:pt x="1468758" y="1083975"/>
                </a:cubicBezTo>
                <a:cubicBezTo>
                  <a:pt x="1473648" y="1085905"/>
                  <a:pt x="1477426" y="1088296"/>
                  <a:pt x="1481688" y="1091187"/>
                </a:cubicBezTo>
                <a:cubicBezTo>
                  <a:pt x="1483204" y="1092193"/>
                  <a:pt x="1484721" y="1093200"/>
                  <a:pt x="1486283" y="1094236"/>
                </a:cubicBezTo>
                <a:cubicBezTo>
                  <a:pt x="1489170" y="1096185"/>
                  <a:pt x="1492029" y="1098166"/>
                  <a:pt x="1494869" y="1100171"/>
                </a:cubicBezTo>
                <a:cubicBezTo>
                  <a:pt x="1510181" y="1107906"/>
                  <a:pt x="1527080" y="1109898"/>
                  <a:pt x="1544335" y="1109518"/>
                </a:cubicBezTo>
                <a:cubicBezTo>
                  <a:pt x="1579932" y="1108798"/>
                  <a:pt x="1579932" y="1108798"/>
                  <a:pt x="1593477" y="1119900"/>
                </a:cubicBezTo>
                <a:cubicBezTo>
                  <a:pt x="1600636" y="1127255"/>
                  <a:pt x="1604889" y="1135120"/>
                  <a:pt x="1605975" y="1144913"/>
                </a:cubicBezTo>
                <a:cubicBezTo>
                  <a:pt x="1607006" y="1144913"/>
                  <a:pt x="1608036" y="1144913"/>
                  <a:pt x="1609099" y="1144913"/>
                </a:cubicBezTo>
                <a:cubicBezTo>
                  <a:pt x="1609227" y="1148907"/>
                  <a:pt x="1609319" y="1152897"/>
                  <a:pt x="1609392" y="1156892"/>
                </a:cubicBezTo>
                <a:cubicBezTo>
                  <a:pt x="1609451" y="1158565"/>
                  <a:pt x="1609451" y="1158565"/>
                  <a:pt x="1609511" y="1160272"/>
                </a:cubicBezTo>
                <a:cubicBezTo>
                  <a:pt x="1609621" y="1168378"/>
                  <a:pt x="1607970" y="1174108"/>
                  <a:pt x="1604412" y="1181553"/>
                </a:cubicBezTo>
                <a:cubicBezTo>
                  <a:pt x="1603354" y="1184367"/>
                  <a:pt x="1602306" y="1187183"/>
                  <a:pt x="1601288" y="1190009"/>
                </a:cubicBezTo>
                <a:cubicBezTo>
                  <a:pt x="1600257" y="1190009"/>
                  <a:pt x="1599226" y="1190009"/>
                  <a:pt x="1598164" y="1190009"/>
                </a:cubicBezTo>
                <a:cubicBezTo>
                  <a:pt x="1597842" y="1190910"/>
                  <a:pt x="1597520" y="1191810"/>
                  <a:pt x="1597187" y="1192739"/>
                </a:cubicBezTo>
                <a:cubicBezTo>
                  <a:pt x="1596479" y="1193698"/>
                  <a:pt x="1595770" y="1194657"/>
                  <a:pt x="1595040" y="1195645"/>
                </a:cubicBezTo>
                <a:cubicBezTo>
                  <a:pt x="1591916" y="1196115"/>
                  <a:pt x="1588791" y="1196585"/>
                  <a:pt x="1585667" y="1197055"/>
                </a:cubicBezTo>
                <a:cubicBezTo>
                  <a:pt x="1583871" y="1199826"/>
                  <a:pt x="1583871" y="1199826"/>
                  <a:pt x="1582543" y="1202691"/>
                </a:cubicBezTo>
                <a:cubicBezTo>
                  <a:pt x="1575997" y="1204710"/>
                  <a:pt x="1569266" y="1204360"/>
                  <a:pt x="1562431" y="1204365"/>
                </a:cubicBezTo>
                <a:cubicBezTo>
                  <a:pt x="1561196" y="1204382"/>
                  <a:pt x="1559962" y="1204399"/>
                  <a:pt x="1558690" y="1204417"/>
                </a:cubicBezTo>
                <a:cubicBezTo>
                  <a:pt x="1543339" y="1204452"/>
                  <a:pt x="1531981" y="1199267"/>
                  <a:pt x="1521102" y="1189585"/>
                </a:cubicBezTo>
                <a:cubicBezTo>
                  <a:pt x="1515403" y="1183953"/>
                  <a:pt x="1510116" y="1178123"/>
                  <a:pt x="1505022" y="1172041"/>
                </a:cubicBezTo>
                <a:cubicBezTo>
                  <a:pt x="1493200" y="1158177"/>
                  <a:pt x="1475492" y="1147115"/>
                  <a:pt x="1457573" y="1140686"/>
                </a:cubicBezTo>
                <a:cubicBezTo>
                  <a:pt x="1457573" y="1139755"/>
                  <a:pt x="1457573" y="1138826"/>
                  <a:pt x="1457573" y="1137867"/>
                </a:cubicBezTo>
                <a:cubicBezTo>
                  <a:pt x="1456059" y="1137693"/>
                  <a:pt x="1454544" y="1137518"/>
                  <a:pt x="1452985" y="1137339"/>
                </a:cubicBezTo>
                <a:cubicBezTo>
                  <a:pt x="1451406" y="1137048"/>
                  <a:pt x="1449827" y="1136758"/>
                  <a:pt x="1448200" y="1136458"/>
                </a:cubicBezTo>
                <a:cubicBezTo>
                  <a:pt x="1447685" y="1135528"/>
                  <a:pt x="1447169" y="1134598"/>
                  <a:pt x="1446638" y="1133640"/>
                </a:cubicBezTo>
                <a:cubicBezTo>
                  <a:pt x="1444091" y="1132586"/>
                  <a:pt x="1441535" y="1131550"/>
                  <a:pt x="1438937" y="1130601"/>
                </a:cubicBezTo>
                <a:cubicBezTo>
                  <a:pt x="1435668" y="1129399"/>
                  <a:pt x="1432469" y="1128095"/>
                  <a:pt x="1429260" y="1126770"/>
                </a:cubicBezTo>
                <a:cubicBezTo>
                  <a:pt x="1423389" y="1124389"/>
                  <a:pt x="1417431" y="1122349"/>
                  <a:pt x="1411393" y="1120340"/>
                </a:cubicBezTo>
                <a:cubicBezTo>
                  <a:pt x="1404143" y="1117867"/>
                  <a:pt x="1397842" y="1115090"/>
                  <a:pt x="1391427" y="1111191"/>
                </a:cubicBezTo>
                <a:cubicBezTo>
                  <a:pt x="1388139" y="1109274"/>
                  <a:pt x="1384723" y="1108010"/>
                  <a:pt x="1381029" y="1106865"/>
                </a:cubicBezTo>
                <a:cubicBezTo>
                  <a:pt x="1381029" y="1105934"/>
                  <a:pt x="1381029" y="1105004"/>
                  <a:pt x="1381029" y="1104046"/>
                </a:cubicBezTo>
                <a:cubicBezTo>
                  <a:pt x="1379773" y="1103901"/>
                  <a:pt x="1378516" y="1103755"/>
                  <a:pt x="1377221" y="1103605"/>
                </a:cubicBezTo>
                <a:cubicBezTo>
                  <a:pt x="1370425" y="1102422"/>
                  <a:pt x="1364120" y="1100465"/>
                  <a:pt x="1357597" y="1098409"/>
                </a:cubicBezTo>
                <a:cubicBezTo>
                  <a:pt x="1355761" y="1097857"/>
                  <a:pt x="1353924" y="1097304"/>
                  <a:pt x="1352032" y="1096736"/>
                </a:cubicBezTo>
                <a:cubicBezTo>
                  <a:pt x="1350776" y="1096358"/>
                  <a:pt x="1349519" y="1095980"/>
                  <a:pt x="1348225" y="1095590"/>
                </a:cubicBezTo>
                <a:cubicBezTo>
                  <a:pt x="1348225" y="1094661"/>
                  <a:pt x="1348225" y="1093730"/>
                  <a:pt x="1348225" y="1092772"/>
                </a:cubicBezTo>
                <a:cubicBezTo>
                  <a:pt x="1344616" y="1092307"/>
                  <a:pt x="1341007" y="1091842"/>
                  <a:pt x="1337290" y="1091363"/>
                </a:cubicBezTo>
                <a:cubicBezTo>
                  <a:pt x="1337290" y="1090433"/>
                  <a:pt x="1337290" y="1089503"/>
                  <a:pt x="1337290" y="1088544"/>
                </a:cubicBezTo>
                <a:cubicBezTo>
                  <a:pt x="1334438" y="1088327"/>
                  <a:pt x="1334438" y="1088327"/>
                  <a:pt x="1331529" y="1088104"/>
                </a:cubicBezTo>
                <a:lnTo>
                  <a:pt x="1323297" y="1086611"/>
                </a:lnTo>
                <a:lnTo>
                  <a:pt x="1323297" y="1087618"/>
                </a:lnTo>
                <a:cubicBezTo>
                  <a:pt x="1322139" y="1087517"/>
                  <a:pt x="1320982" y="1087415"/>
                  <a:pt x="1319789" y="1087310"/>
                </a:cubicBezTo>
                <a:cubicBezTo>
                  <a:pt x="1300429" y="1085771"/>
                  <a:pt x="1281330" y="1084680"/>
                  <a:pt x="1262375" y="1089028"/>
                </a:cubicBezTo>
                <a:lnTo>
                  <a:pt x="1258728" y="1088205"/>
                </a:lnTo>
                <a:lnTo>
                  <a:pt x="1246964" y="1091489"/>
                </a:lnTo>
                <a:cubicBezTo>
                  <a:pt x="1237239" y="1097222"/>
                  <a:pt x="1228703" y="1103434"/>
                  <a:pt x="1223224" y="1112865"/>
                </a:cubicBezTo>
                <a:cubicBezTo>
                  <a:pt x="1220867" y="1116643"/>
                  <a:pt x="1217262" y="1119317"/>
                  <a:pt x="1213883" y="1122366"/>
                </a:cubicBezTo>
                <a:cubicBezTo>
                  <a:pt x="1213428" y="1123469"/>
                  <a:pt x="1212973" y="1124572"/>
                  <a:pt x="1212505" y="1125708"/>
                </a:cubicBezTo>
                <a:cubicBezTo>
                  <a:pt x="1210449" y="1130067"/>
                  <a:pt x="1207984" y="1132315"/>
                  <a:pt x="1204180" y="1135561"/>
                </a:cubicBezTo>
                <a:cubicBezTo>
                  <a:pt x="1202879" y="1136695"/>
                  <a:pt x="1201578" y="1137829"/>
                  <a:pt x="1200238" y="1138999"/>
                </a:cubicBezTo>
                <a:cubicBezTo>
                  <a:pt x="1197504" y="1141343"/>
                  <a:pt x="1194765" y="1143684"/>
                  <a:pt x="1192025" y="1146022"/>
                </a:cubicBezTo>
                <a:cubicBezTo>
                  <a:pt x="1181899" y="1154869"/>
                  <a:pt x="1174983" y="1161763"/>
                  <a:pt x="1173945" y="1174749"/>
                </a:cubicBezTo>
                <a:cubicBezTo>
                  <a:pt x="1173902" y="1177369"/>
                  <a:pt x="1173905" y="1179990"/>
                  <a:pt x="1173950" y="1182610"/>
                </a:cubicBezTo>
                <a:cubicBezTo>
                  <a:pt x="1173963" y="1183981"/>
                  <a:pt x="1173975" y="1185352"/>
                  <a:pt x="1173989" y="1186765"/>
                </a:cubicBezTo>
                <a:cubicBezTo>
                  <a:pt x="1174321" y="1197573"/>
                  <a:pt x="1176809" y="1205883"/>
                  <a:pt x="1182640" y="1215374"/>
                </a:cubicBezTo>
                <a:cubicBezTo>
                  <a:pt x="1183703" y="1217509"/>
                  <a:pt x="1184746" y="1219652"/>
                  <a:pt x="1185764" y="1221804"/>
                </a:cubicBezTo>
                <a:cubicBezTo>
                  <a:pt x="1186271" y="1222812"/>
                  <a:pt x="1186779" y="1223821"/>
                  <a:pt x="1187301" y="1224859"/>
                </a:cubicBezTo>
                <a:cubicBezTo>
                  <a:pt x="1188431" y="1227137"/>
                  <a:pt x="1189517" y="1229433"/>
                  <a:pt x="1190573" y="1231740"/>
                </a:cubicBezTo>
                <a:cubicBezTo>
                  <a:pt x="1194650" y="1240409"/>
                  <a:pt x="1199581" y="1247688"/>
                  <a:pt x="1205925" y="1255163"/>
                </a:cubicBezTo>
                <a:cubicBezTo>
                  <a:pt x="1208103" y="1257757"/>
                  <a:pt x="1210188" y="1260417"/>
                  <a:pt x="1212174" y="1263134"/>
                </a:cubicBezTo>
                <a:cubicBezTo>
                  <a:pt x="1218757" y="1272043"/>
                  <a:pt x="1225157" y="1277324"/>
                  <a:pt x="1235556" y="1282538"/>
                </a:cubicBezTo>
                <a:cubicBezTo>
                  <a:pt x="1236652" y="1283161"/>
                  <a:pt x="1237747" y="1283784"/>
                  <a:pt x="1238876" y="1284426"/>
                </a:cubicBezTo>
                <a:cubicBezTo>
                  <a:pt x="1238876" y="1285356"/>
                  <a:pt x="1238876" y="1286287"/>
                  <a:pt x="1238876" y="1287245"/>
                </a:cubicBezTo>
                <a:cubicBezTo>
                  <a:pt x="1239988" y="1287383"/>
                  <a:pt x="1241099" y="1287521"/>
                  <a:pt x="1242245" y="1287663"/>
                </a:cubicBezTo>
                <a:cubicBezTo>
                  <a:pt x="1253043" y="1290072"/>
                  <a:pt x="1264916" y="1297690"/>
                  <a:pt x="1271681" y="1305565"/>
                </a:cubicBezTo>
                <a:lnTo>
                  <a:pt x="1271742" y="1306172"/>
                </a:lnTo>
                <a:lnTo>
                  <a:pt x="1278525" y="1315767"/>
                </a:lnTo>
                <a:cubicBezTo>
                  <a:pt x="1279797" y="1319398"/>
                  <a:pt x="1280365" y="1323346"/>
                  <a:pt x="1281097" y="1327286"/>
                </a:cubicBezTo>
                <a:cubicBezTo>
                  <a:pt x="1281916" y="1337121"/>
                  <a:pt x="1281807" y="1346176"/>
                  <a:pt x="1277973" y="1355470"/>
                </a:cubicBezTo>
                <a:lnTo>
                  <a:pt x="1277460" y="1347025"/>
                </a:lnTo>
                <a:lnTo>
                  <a:pt x="1273531" y="1357991"/>
                </a:lnTo>
                <a:cubicBezTo>
                  <a:pt x="1270940" y="1361892"/>
                  <a:pt x="1267521" y="1365435"/>
                  <a:pt x="1263870" y="1368980"/>
                </a:cubicBezTo>
                <a:cubicBezTo>
                  <a:pt x="1258351" y="1372929"/>
                  <a:pt x="1253850" y="1376026"/>
                  <a:pt x="1246686" y="1376026"/>
                </a:cubicBezTo>
                <a:cubicBezTo>
                  <a:pt x="1246686" y="1376956"/>
                  <a:pt x="1246686" y="1377886"/>
                  <a:pt x="1246686" y="1378844"/>
                </a:cubicBezTo>
                <a:cubicBezTo>
                  <a:pt x="1241676" y="1379009"/>
                  <a:pt x="1236665" y="1379109"/>
                  <a:pt x="1231651" y="1379196"/>
                </a:cubicBezTo>
                <a:cubicBezTo>
                  <a:pt x="1230240" y="1379244"/>
                  <a:pt x="1228828" y="1379291"/>
                  <a:pt x="1227373" y="1379340"/>
                </a:cubicBezTo>
                <a:cubicBezTo>
                  <a:pt x="1218287" y="1379460"/>
                  <a:pt x="1213363" y="1378568"/>
                  <a:pt x="1206071" y="1373207"/>
                </a:cubicBezTo>
                <a:cubicBezTo>
                  <a:pt x="1204751" y="1372742"/>
                  <a:pt x="1203430" y="1372277"/>
                  <a:pt x="1202069" y="1371798"/>
                </a:cubicBezTo>
                <a:cubicBezTo>
                  <a:pt x="1193777" y="1368730"/>
                  <a:pt x="1188124" y="1363294"/>
                  <a:pt x="1184104" y="1356176"/>
                </a:cubicBezTo>
                <a:cubicBezTo>
                  <a:pt x="1180965" y="1349259"/>
                  <a:pt x="1178852" y="1342590"/>
                  <a:pt x="1177270" y="1335247"/>
                </a:cubicBezTo>
                <a:cubicBezTo>
                  <a:pt x="1175525" y="1327352"/>
                  <a:pt x="1172911" y="1320677"/>
                  <a:pt x="1169002" y="1313464"/>
                </a:cubicBezTo>
                <a:cubicBezTo>
                  <a:pt x="1166989" y="1309737"/>
                  <a:pt x="1165215" y="1305976"/>
                  <a:pt x="1163504" y="1302130"/>
                </a:cubicBezTo>
                <a:cubicBezTo>
                  <a:pt x="1163013" y="1301027"/>
                  <a:pt x="1162521" y="1299924"/>
                  <a:pt x="1162015" y="1298788"/>
                </a:cubicBezTo>
                <a:cubicBezTo>
                  <a:pt x="1160770" y="1295700"/>
                  <a:pt x="1160770" y="1295700"/>
                  <a:pt x="1160111" y="1292656"/>
                </a:cubicBezTo>
                <a:cubicBezTo>
                  <a:pt x="1159345" y="1289507"/>
                  <a:pt x="1159345" y="1289507"/>
                  <a:pt x="1154522" y="1287245"/>
                </a:cubicBezTo>
                <a:cubicBezTo>
                  <a:pt x="1153465" y="1284902"/>
                  <a:pt x="1152426" y="1282552"/>
                  <a:pt x="1151398" y="1280199"/>
                </a:cubicBezTo>
                <a:cubicBezTo>
                  <a:pt x="1149056" y="1276983"/>
                  <a:pt x="1146686" y="1273874"/>
                  <a:pt x="1144173" y="1270774"/>
                </a:cubicBezTo>
                <a:cubicBezTo>
                  <a:pt x="1143477" y="1269912"/>
                  <a:pt x="1142782" y="1269049"/>
                  <a:pt x="1142065" y="1268160"/>
                </a:cubicBezTo>
                <a:cubicBezTo>
                  <a:pt x="1139981" y="1265589"/>
                  <a:pt x="1137880" y="1263029"/>
                  <a:pt x="1135776" y="1260470"/>
                </a:cubicBezTo>
                <a:cubicBezTo>
                  <a:pt x="1134647" y="1259076"/>
                  <a:pt x="1133517" y="1257683"/>
                  <a:pt x="1132353" y="1256247"/>
                </a:cubicBezTo>
                <a:cubicBezTo>
                  <a:pt x="1126291" y="1249045"/>
                  <a:pt x="1121408" y="1244606"/>
                  <a:pt x="1112344" y="1240741"/>
                </a:cubicBezTo>
                <a:cubicBezTo>
                  <a:pt x="1110285" y="1239698"/>
                  <a:pt x="1108234" y="1238642"/>
                  <a:pt x="1106193" y="1237570"/>
                </a:cubicBezTo>
                <a:cubicBezTo>
                  <a:pt x="1104615" y="1236756"/>
                  <a:pt x="1103036" y="1235942"/>
                  <a:pt x="1101409" y="1235104"/>
                </a:cubicBezTo>
                <a:cubicBezTo>
                  <a:pt x="1101409" y="1233708"/>
                  <a:pt x="1101409" y="1232313"/>
                  <a:pt x="1101409" y="1230876"/>
                </a:cubicBezTo>
                <a:cubicBezTo>
                  <a:pt x="1089553" y="1230876"/>
                  <a:pt x="1077697" y="1230876"/>
                  <a:pt x="1065480" y="1230876"/>
                </a:cubicBezTo>
                <a:cubicBezTo>
                  <a:pt x="1064965" y="1232271"/>
                  <a:pt x="1064450" y="1233666"/>
                  <a:pt x="1063919" y="1235104"/>
                </a:cubicBezTo>
                <a:cubicBezTo>
                  <a:pt x="1062372" y="1235104"/>
                  <a:pt x="1060826" y="1235104"/>
                  <a:pt x="1059232" y="1235104"/>
                </a:cubicBezTo>
                <a:cubicBezTo>
                  <a:pt x="1059232" y="1236033"/>
                  <a:pt x="1059232" y="1236964"/>
                  <a:pt x="1059232" y="1237922"/>
                </a:cubicBezTo>
                <a:cubicBezTo>
                  <a:pt x="1052964" y="1240850"/>
                  <a:pt x="1046842" y="1243613"/>
                  <a:pt x="1040194" y="1245761"/>
                </a:cubicBezTo>
                <a:cubicBezTo>
                  <a:pt x="1036552" y="1246941"/>
                  <a:pt x="1033682" y="1248088"/>
                  <a:pt x="1030333" y="1249901"/>
                </a:cubicBezTo>
                <a:cubicBezTo>
                  <a:pt x="1025129" y="1252717"/>
                  <a:pt x="1019615" y="1254371"/>
                  <a:pt x="1013931" y="1256242"/>
                </a:cubicBezTo>
                <a:cubicBezTo>
                  <a:pt x="1009870" y="1257688"/>
                  <a:pt x="1008221" y="1258277"/>
                  <a:pt x="1005925" y="1261615"/>
                </a:cubicBezTo>
                <a:cubicBezTo>
                  <a:pt x="1005474" y="1262632"/>
                  <a:pt x="1005023" y="1263649"/>
                  <a:pt x="1004558" y="1264697"/>
                </a:cubicBezTo>
                <a:cubicBezTo>
                  <a:pt x="1004030" y="1265774"/>
                  <a:pt x="1003503" y="1266852"/>
                  <a:pt x="1002959" y="1267961"/>
                </a:cubicBezTo>
                <a:cubicBezTo>
                  <a:pt x="1001408" y="1271808"/>
                  <a:pt x="1000922" y="1274896"/>
                  <a:pt x="1000653" y="1278965"/>
                </a:cubicBezTo>
                <a:cubicBezTo>
                  <a:pt x="1000303" y="1284158"/>
                  <a:pt x="999467" y="1289055"/>
                  <a:pt x="998297" y="1294137"/>
                </a:cubicBezTo>
                <a:cubicBezTo>
                  <a:pt x="996204" y="1304306"/>
                  <a:pt x="996129" y="1314460"/>
                  <a:pt x="996162" y="1324765"/>
                </a:cubicBezTo>
                <a:cubicBezTo>
                  <a:pt x="996163" y="1325782"/>
                  <a:pt x="996163" y="1326799"/>
                  <a:pt x="996164" y="1327846"/>
                </a:cubicBezTo>
                <a:cubicBezTo>
                  <a:pt x="996263" y="1353742"/>
                  <a:pt x="1001081" y="1378188"/>
                  <a:pt x="1007780" y="1403329"/>
                </a:cubicBezTo>
                <a:cubicBezTo>
                  <a:pt x="1008163" y="1404772"/>
                  <a:pt x="1008546" y="1406215"/>
                  <a:pt x="1008940" y="1407701"/>
                </a:cubicBezTo>
                <a:cubicBezTo>
                  <a:pt x="1009316" y="1409030"/>
                  <a:pt x="1009693" y="1410360"/>
                  <a:pt x="1010080" y="1411730"/>
                </a:cubicBezTo>
                <a:cubicBezTo>
                  <a:pt x="1010409" y="1412900"/>
                  <a:pt x="1010737" y="1414071"/>
                  <a:pt x="1011075" y="1415277"/>
                </a:cubicBezTo>
                <a:cubicBezTo>
                  <a:pt x="1012501" y="1418612"/>
                  <a:pt x="1014136" y="1420168"/>
                  <a:pt x="1017055" y="1422530"/>
                </a:cubicBezTo>
                <a:cubicBezTo>
                  <a:pt x="1018770" y="1425162"/>
                  <a:pt x="1018770" y="1425162"/>
                  <a:pt x="1020277" y="1427991"/>
                </a:cubicBezTo>
                <a:cubicBezTo>
                  <a:pt x="1020778" y="1428917"/>
                  <a:pt x="1021280" y="1429844"/>
                  <a:pt x="1021796" y="1430798"/>
                </a:cubicBezTo>
                <a:cubicBezTo>
                  <a:pt x="1023303" y="1433804"/>
                  <a:pt x="1023303" y="1433804"/>
                  <a:pt x="1024579" y="1437239"/>
                </a:cubicBezTo>
                <a:cubicBezTo>
                  <a:pt x="1026915" y="1441803"/>
                  <a:pt x="1030098" y="1444534"/>
                  <a:pt x="1034043" y="1448072"/>
                </a:cubicBezTo>
                <a:lnTo>
                  <a:pt x="1043782" y="1464320"/>
                </a:lnTo>
                <a:lnTo>
                  <a:pt x="1050458" y="1472189"/>
                </a:lnTo>
                <a:cubicBezTo>
                  <a:pt x="1051737" y="1475181"/>
                  <a:pt x="1052277" y="1478513"/>
                  <a:pt x="1052926" y="1482370"/>
                </a:cubicBezTo>
                <a:cubicBezTo>
                  <a:pt x="1053325" y="1487224"/>
                  <a:pt x="1053364" y="1492038"/>
                  <a:pt x="1053316" y="1496903"/>
                </a:cubicBezTo>
                <a:cubicBezTo>
                  <a:pt x="1053328" y="1498142"/>
                  <a:pt x="1053340" y="1499382"/>
                  <a:pt x="1053352" y="1500660"/>
                </a:cubicBezTo>
                <a:cubicBezTo>
                  <a:pt x="1053348" y="1501856"/>
                  <a:pt x="1053344" y="1503052"/>
                  <a:pt x="1053341" y="1504285"/>
                </a:cubicBezTo>
                <a:cubicBezTo>
                  <a:pt x="1053336" y="1505355"/>
                  <a:pt x="1053333" y="1506426"/>
                  <a:pt x="1053329" y="1507529"/>
                </a:cubicBezTo>
                <a:cubicBezTo>
                  <a:pt x="1052876" y="1510927"/>
                  <a:pt x="1051672" y="1513237"/>
                  <a:pt x="1049801" y="1516192"/>
                </a:cubicBezTo>
                <a:lnTo>
                  <a:pt x="1047312" y="1516192"/>
                </a:lnTo>
                <a:lnTo>
                  <a:pt x="1043611" y="1522585"/>
                </a:lnTo>
                <a:cubicBezTo>
                  <a:pt x="1035301" y="1529631"/>
                  <a:pt x="1035301" y="1529631"/>
                  <a:pt x="1029552" y="1529631"/>
                </a:cubicBezTo>
                <a:cubicBezTo>
                  <a:pt x="1029294" y="1530503"/>
                  <a:pt x="1029036" y="1531375"/>
                  <a:pt x="1028771" y="1532273"/>
                </a:cubicBezTo>
                <a:cubicBezTo>
                  <a:pt x="1025795" y="1536076"/>
                  <a:pt x="1022970" y="1536733"/>
                  <a:pt x="1018013" y="1537640"/>
                </a:cubicBezTo>
                <a:cubicBezTo>
                  <a:pt x="1005216" y="1539038"/>
                  <a:pt x="992573" y="1539816"/>
                  <a:pt x="981126" y="1533859"/>
                </a:cubicBezTo>
                <a:cubicBezTo>
                  <a:pt x="979840" y="1533226"/>
                  <a:pt x="978553" y="1532594"/>
                  <a:pt x="977227" y="1531943"/>
                </a:cubicBezTo>
                <a:cubicBezTo>
                  <a:pt x="965286" y="1525877"/>
                  <a:pt x="959626" y="1520520"/>
                  <a:pt x="955376" y="1508751"/>
                </a:cubicBezTo>
                <a:cubicBezTo>
                  <a:pt x="954571" y="1505674"/>
                  <a:pt x="954571" y="1505674"/>
                  <a:pt x="954571" y="1500037"/>
                </a:cubicBezTo>
                <a:cubicBezTo>
                  <a:pt x="953539" y="1500037"/>
                  <a:pt x="952508" y="1500037"/>
                  <a:pt x="951446" y="1500037"/>
                </a:cubicBezTo>
                <a:cubicBezTo>
                  <a:pt x="951361" y="1495986"/>
                  <a:pt x="951299" y="1491935"/>
                  <a:pt x="951251" y="1487883"/>
                </a:cubicBezTo>
                <a:cubicBezTo>
                  <a:pt x="951224" y="1486744"/>
                  <a:pt x="951198" y="1485605"/>
                  <a:pt x="951171" y="1484431"/>
                </a:cubicBezTo>
                <a:cubicBezTo>
                  <a:pt x="951110" y="1477657"/>
                  <a:pt x="952093" y="1472660"/>
                  <a:pt x="954571" y="1466216"/>
                </a:cubicBezTo>
                <a:cubicBezTo>
                  <a:pt x="954867" y="1462451"/>
                  <a:pt x="955016" y="1458876"/>
                  <a:pt x="954961" y="1455118"/>
                </a:cubicBezTo>
                <a:cubicBezTo>
                  <a:pt x="954951" y="1454080"/>
                  <a:pt x="954942" y="1453042"/>
                  <a:pt x="954932" y="1451972"/>
                </a:cubicBezTo>
                <a:cubicBezTo>
                  <a:pt x="954606" y="1435235"/>
                  <a:pt x="952568" y="1419050"/>
                  <a:pt x="945099" y="1403594"/>
                </a:cubicBezTo>
                <a:cubicBezTo>
                  <a:pt x="943714" y="1400177"/>
                  <a:pt x="943046" y="1397128"/>
                  <a:pt x="942366" y="1393553"/>
                </a:cubicBezTo>
                <a:cubicBezTo>
                  <a:pt x="940837" y="1386134"/>
                  <a:pt x="937840" y="1379609"/>
                  <a:pt x="934451" y="1372734"/>
                </a:cubicBezTo>
                <a:cubicBezTo>
                  <a:pt x="932701" y="1368980"/>
                  <a:pt x="932701" y="1368980"/>
                  <a:pt x="931974" y="1365754"/>
                </a:cubicBezTo>
                <a:cubicBezTo>
                  <a:pt x="931699" y="1364958"/>
                  <a:pt x="931422" y="1364162"/>
                  <a:pt x="931138" y="1363343"/>
                </a:cubicBezTo>
                <a:cubicBezTo>
                  <a:pt x="929592" y="1362878"/>
                  <a:pt x="928045" y="1362413"/>
                  <a:pt x="926452" y="1361933"/>
                </a:cubicBezTo>
                <a:cubicBezTo>
                  <a:pt x="921830" y="1355261"/>
                  <a:pt x="920323" y="1348382"/>
                  <a:pt x="918641" y="1340795"/>
                </a:cubicBezTo>
                <a:cubicBezTo>
                  <a:pt x="918133" y="1338914"/>
                  <a:pt x="917616" y="1337034"/>
                  <a:pt x="917079" y="1335158"/>
                </a:cubicBezTo>
                <a:cubicBezTo>
                  <a:pt x="916048" y="1335158"/>
                  <a:pt x="915018" y="1335158"/>
                  <a:pt x="913955" y="1335158"/>
                </a:cubicBezTo>
                <a:cubicBezTo>
                  <a:pt x="913329" y="1333718"/>
                  <a:pt x="912703" y="1332277"/>
                  <a:pt x="912057" y="1330793"/>
                </a:cubicBezTo>
                <a:cubicBezTo>
                  <a:pt x="909497" y="1325424"/>
                  <a:pt x="906114" y="1320822"/>
                  <a:pt x="902142" y="1316222"/>
                </a:cubicBezTo>
                <a:cubicBezTo>
                  <a:pt x="901465" y="1315432"/>
                  <a:pt x="900788" y="1314642"/>
                  <a:pt x="900091" y="1313828"/>
                </a:cubicBezTo>
                <a:cubicBezTo>
                  <a:pt x="893705" y="1306618"/>
                  <a:pt x="886350" y="1301049"/>
                  <a:pt x="878026" y="1295700"/>
                </a:cubicBezTo>
                <a:cubicBezTo>
                  <a:pt x="876595" y="1294594"/>
                  <a:pt x="876595" y="1294594"/>
                  <a:pt x="875134" y="1293465"/>
                </a:cubicBezTo>
                <a:lnTo>
                  <a:pt x="869869" y="1291826"/>
                </a:lnTo>
                <a:lnTo>
                  <a:pt x="862384" y="1291327"/>
                </a:lnTo>
                <a:cubicBezTo>
                  <a:pt x="856441" y="1290067"/>
                  <a:pt x="850461" y="1290346"/>
                  <a:pt x="844390" y="1290461"/>
                </a:cubicBezTo>
                <a:cubicBezTo>
                  <a:pt x="842453" y="1290480"/>
                  <a:pt x="842453" y="1290480"/>
                  <a:pt x="840476" y="1290500"/>
                </a:cubicBezTo>
                <a:cubicBezTo>
                  <a:pt x="837322" y="1290532"/>
                  <a:pt x="834169" y="1290583"/>
                  <a:pt x="831015" y="1290637"/>
                </a:cubicBezTo>
                <a:cubicBezTo>
                  <a:pt x="831015" y="1291568"/>
                  <a:pt x="831015" y="1292498"/>
                  <a:pt x="831015" y="1293456"/>
                </a:cubicBezTo>
                <a:cubicBezTo>
                  <a:pt x="826519" y="1294808"/>
                  <a:pt x="822922" y="1295235"/>
                  <a:pt x="818225" y="1295570"/>
                </a:cubicBezTo>
                <a:lnTo>
                  <a:pt x="796774" y="1297671"/>
                </a:lnTo>
                <a:lnTo>
                  <a:pt x="783646" y="1305736"/>
                </a:lnTo>
                <a:cubicBezTo>
                  <a:pt x="776915" y="1312506"/>
                  <a:pt x="772692" y="1318638"/>
                  <a:pt x="769263" y="1327143"/>
                </a:cubicBezTo>
                <a:cubicBezTo>
                  <a:pt x="767116" y="1332340"/>
                  <a:pt x="767116" y="1332340"/>
                  <a:pt x="764797" y="1334360"/>
                </a:cubicBezTo>
                <a:lnTo>
                  <a:pt x="757875" y="1353503"/>
                </a:lnTo>
                <a:lnTo>
                  <a:pt x="755676" y="1367455"/>
                </a:lnTo>
                <a:lnTo>
                  <a:pt x="750558" y="1399690"/>
                </a:lnTo>
                <a:lnTo>
                  <a:pt x="753057" y="1411256"/>
                </a:lnTo>
                <a:cubicBezTo>
                  <a:pt x="753057" y="1413117"/>
                  <a:pt x="753057" y="1414976"/>
                  <a:pt x="753057" y="1416893"/>
                </a:cubicBezTo>
                <a:cubicBezTo>
                  <a:pt x="754087" y="1416893"/>
                  <a:pt x="755119" y="1416893"/>
                  <a:pt x="756181" y="1416893"/>
                </a:cubicBezTo>
                <a:cubicBezTo>
                  <a:pt x="759348" y="1422607"/>
                  <a:pt x="758101" y="1429902"/>
                  <a:pt x="758133" y="1436182"/>
                </a:cubicBezTo>
                <a:cubicBezTo>
                  <a:pt x="758182" y="1438458"/>
                  <a:pt x="758182" y="1438458"/>
                  <a:pt x="758231" y="1440781"/>
                </a:cubicBezTo>
                <a:cubicBezTo>
                  <a:pt x="758283" y="1450271"/>
                  <a:pt x="758174" y="1458360"/>
                  <a:pt x="750713" y="1465704"/>
                </a:cubicBezTo>
                <a:cubicBezTo>
                  <a:pt x="749940" y="1466193"/>
                  <a:pt x="749167" y="1466681"/>
                  <a:pt x="748370" y="1467185"/>
                </a:cubicBezTo>
                <a:cubicBezTo>
                  <a:pt x="743665" y="1470047"/>
                  <a:pt x="743665" y="1470047"/>
                  <a:pt x="741633" y="1473526"/>
                </a:cubicBezTo>
                <a:cubicBezTo>
                  <a:pt x="737793" y="1477248"/>
                  <a:pt x="733582" y="1477483"/>
                  <a:pt x="728154" y="1478343"/>
                </a:cubicBezTo>
                <a:cubicBezTo>
                  <a:pt x="724855" y="1478778"/>
                  <a:pt x="724855" y="1478778"/>
                  <a:pt x="721814" y="1480308"/>
                </a:cubicBezTo>
                <a:cubicBezTo>
                  <a:pt x="717303" y="1480523"/>
                  <a:pt x="712854" y="1480634"/>
                  <a:pt x="708341" y="1480661"/>
                </a:cubicBezTo>
                <a:cubicBezTo>
                  <a:pt x="707118" y="1480690"/>
                  <a:pt x="705896" y="1480719"/>
                  <a:pt x="704637" y="1480748"/>
                </a:cubicBezTo>
                <a:cubicBezTo>
                  <a:pt x="690446" y="1480834"/>
                  <a:pt x="679632" y="1476246"/>
                  <a:pt x="668507" y="1468418"/>
                </a:cubicBezTo>
                <a:cubicBezTo>
                  <a:pt x="662823" y="1463224"/>
                  <a:pt x="661745" y="1456995"/>
                  <a:pt x="660178" y="1450027"/>
                </a:cubicBezTo>
                <a:cubicBezTo>
                  <a:pt x="659725" y="1446589"/>
                  <a:pt x="659725" y="1446589"/>
                  <a:pt x="657767" y="1445078"/>
                </a:cubicBezTo>
                <a:cubicBezTo>
                  <a:pt x="656859" y="1433686"/>
                  <a:pt x="655965" y="1419178"/>
                  <a:pt x="663369" y="1409390"/>
                </a:cubicBezTo>
                <a:cubicBezTo>
                  <a:pt x="666078" y="1406601"/>
                  <a:pt x="668921" y="1404013"/>
                  <a:pt x="671826" y="1401392"/>
                </a:cubicBezTo>
                <a:cubicBezTo>
                  <a:pt x="675197" y="1397623"/>
                  <a:pt x="677125" y="1394916"/>
                  <a:pt x="678075" y="1390118"/>
                </a:cubicBezTo>
                <a:cubicBezTo>
                  <a:pt x="680137" y="1389653"/>
                  <a:pt x="682199" y="1389188"/>
                  <a:pt x="684323" y="1388709"/>
                </a:cubicBezTo>
                <a:cubicBezTo>
                  <a:pt x="684643" y="1387232"/>
                  <a:pt x="684964" y="1385755"/>
                  <a:pt x="685293" y="1384233"/>
                </a:cubicBezTo>
                <a:cubicBezTo>
                  <a:pt x="685718" y="1382290"/>
                  <a:pt x="686144" y="1380347"/>
                  <a:pt x="686569" y="1378404"/>
                </a:cubicBezTo>
                <a:cubicBezTo>
                  <a:pt x="686885" y="1376945"/>
                  <a:pt x="686885" y="1376945"/>
                  <a:pt x="687207" y="1375456"/>
                </a:cubicBezTo>
                <a:cubicBezTo>
                  <a:pt x="688115" y="1371315"/>
                  <a:pt x="689090" y="1367353"/>
                  <a:pt x="690572" y="1363343"/>
                </a:cubicBezTo>
                <a:cubicBezTo>
                  <a:pt x="692411" y="1350128"/>
                  <a:pt x="692374" y="1336672"/>
                  <a:pt x="692495" y="1323376"/>
                </a:cubicBezTo>
                <a:cubicBezTo>
                  <a:pt x="692524" y="1320586"/>
                  <a:pt x="692574" y="1317796"/>
                  <a:pt x="692625" y="1315006"/>
                </a:cubicBezTo>
                <a:cubicBezTo>
                  <a:pt x="692853" y="1300589"/>
                  <a:pt x="692853" y="1300589"/>
                  <a:pt x="687447" y="1287245"/>
                </a:cubicBezTo>
                <a:cubicBezTo>
                  <a:pt x="685901" y="1286780"/>
                  <a:pt x="684354" y="1286315"/>
                  <a:pt x="682761" y="1285835"/>
                </a:cubicBezTo>
                <a:cubicBezTo>
                  <a:pt x="680876" y="1283743"/>
                  <a:pt x="680876" y="1283743"/>
                  <a:pt x="678954" y="1281608"/>
                </a:cubicBezTo>
                <a:cubicBezTo>
                  <a:pt x="674854" y="1277278"/>
                  <a:pt x="674356" y="1276958"/>
                  <a:pt x="668702" y="1275971"/>
                </a:cubicBezTo>
                <a:cubicBezTo>
                  <a:pt x="666619" y="1274092"/>
                  <a:pt x="664536" y="1272213"/>
                  <a:pt x="662454" y="1270334"/>
                </a:cubicBezTo>
                <a:cubicBezTo>
                  <a:pt x="658341" y="1268566"/>
                  <a:pt x="658341" y="1268566"/>
                  <a:pt x="654643" y="1267516"/>
                </a:cubicBezTo>
                <a:cubicBezTo>
                  <a:pt x="654643" y="1266585"/>
                  <a:pt x="654643" y="1265656"/>
                  <a:pt x="654643" y="1264697"/>
                </a:cubicBezTo>
                <a:cubicBezTo>
                  <a:pt x="653161" y="1264581"/>
                  <a:pt x="651679" y="1264465"/>
                  <a:pt x="650152" y="1264345"/>
                </a:cubicBezTo>
                <a:cubicBezTo>
                  <a:pt x="642318" y="1263373"/>
                  <a:pt x="635297" y="1260465"/>
                  <a:pt x="628087" y="1257651"/>
                </a:cubicBezTo>
                <a:cubicBezTo>
                  <a:pt x="628087" y="1256721"/>
                  <a:pt x="628087" y="1255791"/>
                  <a:pt x="628087" y="1254833"/>
                </a:cubicBezTo>
                <a:cubicBezTo>
                  <a:pt x="627108" y="1254662"/>
                  <a:pt x="626129" y="1254491"/>
                  <a:pt x="625121" y="1254315"/>
                </a:cubicBezTo>
                <a:cubicBezTo>
                  <a:pt x="623845" y="1254079"/>
                  <a:pt x="622568" y="1253843"/>
                  <a:pt x="621252" y="1253600"/>
                </a:cubicBezTo>
                <a:cubicBezTo>
                  <a:pt x="619984" y="1253371"/>
                  <a:pt x="618716" y="1253142"/>
                  <a:pt x="617409" y="1252906"/>
                </a:cubicBezTo>
                <a:cubicBezTo>
                  <a:pt x="614027" y="1252014"/>
                  <a:pt x="614027" y="1252014"/>
                  <a:pt x="610904" y="1249196"/>
                </a:cubicBezTo>
                <a:cubicBezTo>
                  <a:pt x="592259" y="1248653"/>
                  <a:pt x="578635" y="1260869"/>
                  <a:pt x="565739" y="1271742"/>
                </a:cubicBezTo>
                <a:cubicBezTo>
                  <a:pt x="558808" y="1277725"/>
                  <a:pt x="552763" y="1283983"/>
                  <a:pt x="546924" y="1290829"/>
                </a:cubicBezTo>
                <a:cubicBezTo>
                  <a:pt x="545838" y="1292087"/>
                  <a:pt x="544753" y="1293346"/>
                  <a:pt x="543635" y="1294643"/>
                </a:cubicBezTo>
                <a:cubicBezTo>
                  <a:pt x="542650" y="1295813"/>
                  <a:pt x="541666" y="1296983"/>
                  <a:pt x="540651" y="1298188"/>
                </a:cubicBezTo>
                <a:cubicBezTo>
                  <a:pt x="537294" y="1301526"/>
                  <a:pt x="533978" y="1303337"/>
                  <a:pt x="529673" y="1305565"/>
                </a:cubicBezTo>
                <a:cubicBezTo>
                  <a:pt x="527599" y="1308478"/>
                  <a:pt x="527599" y="1308478"/>
                  <a:pt x="526549" y="1311202"/>
                </a:cubicBezTo>
                <a:cubicBezTo>
                  <a:pt x="525518" y="1311202"/>
                  <a:pt x="524487" y="1311202"/>
                  <a:pt x="523425" y="1311202"/>
                </a:cubicBezTo>
                <a:cubicBezTo>
                  <a:pt x="523360" y="1311986"/>
                  <a:pt x="523296" y="1312771"/>
                  <a:pt x="523230" y="1313580"/>
                </a:cubicBezTo>
                <a:cubicBezTo>
                  <a:pt x="521863" y="1316839"/>
                  <a:pt x="521863" y="1316839"/>
                  <a:pt x="517732" y="1319739"/>
                </a:cubicBezTo>
                <a:cubicBezTo>
                  <a:pt x="511111" y="1324565"/>
                  <a:pt x="506875" y="1330731"/>
                  <a:pt x="502239" y="1337096"/>
                </a:cubicBezTo>
                <a:cubicBezTo>
                  <a:pt x="500512" y="1339427"/>
                  <a:pt x="498785" y="1341757"/>
                  <a:pt x="497058" y="1344087"/>
                </a:cubicBezTo>
                <a:cubicBezTo>
                  <a:pt x="495827" y="1345760"/>
                  <a:pt x="495827" y="1345760"/>
                  <a:pt x="494572" y="1347465"/>
                </a:cubicBezTo>
                <a:cubicBezTo>
                  <a:pt x="492366" y="1350414"/>
                  <a:pt x="490094" y="1353304"/>
                  <a:pt x="487776" y="1356181"/>
                </a:cubicBezTo>
                <a:cubicBezTo>
                  <a:pt x="484805" y="1359972"/>
                  <a:pt x="482865" y="1363193"/>
                  <a:pt x="481248" y="1367571"/>
                </a:cubicBezTo>
                <a:cubicBezTo>
                  <a:pt x="480216" y="1367571"/>
                  <a:pt x="479186" y="1367571"/>
                  <a:pt x="478123" y="1367571"/>
                </a:cubicBezTo>
                <a:cubicBezTo>
                  <a:pt x="477963" y="1368558"/>
                  <a:pt x="477801" y="1369547"/>
                  <a:pt x="477635" y="1370565"/>
                </a:cubicBezTo>
                <a:cubicBezTo>
                  <a:pt x="475602" y="1378236"/>
                  <a:pt x="471952" y="1383371"/>
                  <a:pt x="465626" y="1388709"/>
                </a:cubicBezTo>
                <a:cubicBezTo>
                  <a:pt x="462272" y="1392748"/>
                  <a:pt x="462272" y="1392748"/>
                  <a:pt x="461233" y="1397340"/>
                </a:cubicBezTo>
                <a:cubicBezTo>
                  <a:pt x="460030" y="1401461"/>
                  <a:pt x="458298" y="1404501"/>
                  <a:pt x="455765" y="1408086"/>
                </a:cubicBezTo>
                <a:cubicBezTo>
                  <a:pt x="442829" y="1428603"/>
                  <a:pt x="441572" y="1454548"/>
                  <a:pt x="439070" y="1477490"/>
                </a:cubicBezTo>
                <a:cubicBezTo>
                  <a:pt x="437524" y="1477955"/>
                  <a:pt x="435977" y="1478420"/>
                  <a:pt x="434384" y="1478899"/>
                </a:cubicBezTo>
                <a:cubicBezTo>
                  <a:pt x="433739" y="1479916"/>
                  <a:pt x="433095" y="1480933"/>
                  <a:pt x="432431" y="1481982"/>
                </a:cubicBezTo>
                <a:cubicBezTo>
                  <a:pt x="428860" y="1487159"/>
                  <a:pt x="424291" y="1490903"/>
                  <a:pt x="418763" y="1494401"/>
                </a:cubicBezTo>
                <a:cubicBezTo>
                  <a:pt x="417731" y="1494401"/>
                  <a:pt x="416701" y="1494401"/>
                  <a:pt x="415639" y="1494401"/>
                </a:cubicBezTo>
                <a:cubicBezTo>
                  <a:pt x="415639" y="1495330"/>
                  <a:pt x="415639" y="1496260"/>
                  <a:pt x="415639" y="1497219"/>
                </a:cubicBezTo>
                <a:cubicBezTo>
                  <a:pt x="412546" y="1497684"/>
                  <a:pt x="409453" y="1498149"/>
                  <a:pt x="406265" y="1498628"/>
                </a:cubicBezTo>
                <a:cubicBezTo>
                  <a:pt x="406265" y="1499559"/>
                  <a:pt x="406265" y="1500488"/>
                  <a:pt x="406265" y="1501447"/>
                </a:cubicBezTo>
                <a:cubicBezTo>
                  <a:pt x="395955" y="1501447"/>
                  <a:pt x="385645" y="1501447"/>
                  <a:pt x="375023" y="1501447"/>
                </a:cubicBezTo>
                <a:lnTo>
                  <a:pt x="375023" y="1499438"/>
                </a:lnTo>
                <a:lnTo>
                  <a:pt x="374964" y="1499436"/>
                </a:lnTo>
                <a:lnTo>
                  <a:pt x="373179" y="1498628"/>
                </a:lnTo>
                <a:lnTo>
                  <a:pt x="365650" y="1498628"/>
                </a:lnTo>
                <a:lnTo>
                  <a:pt x="363134" y="1494087"/>
                </a:lnTo>
                <a:lnTo>
                  <a:pt x="362171" y="1493651"/>
                </a:lnTo>
                <a:cubicBezTo>
                  <a:pt x="361656" y="1492722"/>
                  <a:pt x="361140" y="1491791"/>
                  <a:pt x="360609" y="1490833"/>
                </a:cubicBezTo>
                <a:cubicBezTo>
                  <a:pt x="361640" y="1490833"/>
                  <a:pt x="362671" y="1490833"/>
                  <a:pt x="363733" y="1490833"/>
                </a:cubicBezTo>
                <a:lnTo>
                  <a:pt x="363733" y="1489980"/>
                </a:lnTo>
                <a:lnTo>
                  <a:pt x="348467" y="1481717"/>
                </a:lnTo>
                <a:lnTo>
                  <a:pt x="343872" y="1461078"/>
                </a:lnTo>
                <a:lnTo>
                  <a:pt x="343656" y="1463649"/>
                </a:lnTo>
                <a:cubicBezTo>
                  <a:pt x="343541" y="1465230"/>
                  <a:pt x="343541" y="1465230"/>
                  <a:pt x="343424" y="1466842"/>
                </a:cubicBezTo>
                <a:cubicBezTo>
                  <a:pt x="342908" y="1466842"/>
                  <a:pt x="342393" y="1466842"/>
                  <a:pt x="341861" y="1466842"/>
                </a:cubicBezTo>
                <a:cubicBezTo>
                  <a:pt x="340987" y="1449564"/>
                  <a:pt x="340999" y="1434331"/>
                  <a:pt x="354143" y="1420549"/>
                </a:cubicBezTo>
                <a:cubicBezTo>
                  <a:pt x="360765" y="1414011"/>
                  <a:pt x="367631" y="1407790"/>
                  <a:pt x="376229" y="1403427"/>
                </a:cubicBezTo>
                <a:lnTo>
                  <a:pt x="379491" y="1404408"/>
                </a:lnTo>
                <a:lnTo>
                  <a:pt x="379710" y="1404210"/>
                </a:lnTo>
                <a:cubicBezTo>
                  <a:pt x="380290" y="1402902"/>
                  <a:pt x="380290" y="1402902"/>
                  <a:pt x="380882" y="1401568"/>
                </a:cubicBezTo>
                <a:cubicBezTo>
                  <a:pt x="383675" y="1397284"/>
                  <a:pt x="387587" y="1395610"/>
                  <a:pt x="392207" y="1392936"/>
                </a:cubicBezTo>
                <a:lnTo>
                  <a:pt x="399542" y="1386774"/>
                </a:lnTo>
                <a:lnTo>
                  <a:pt x="405485" y="1378917"/>
                </a:lnTo>
                <a:cubicBezTo>
                  <a:pt x="408065" y="1375974"/>
                  <a:pt x="410029" y="1372774"/>
                  <a:pt x="412008" y="1369481"/>
                </a:cubicBezTo>
                <a:cubicBezTo>
                  <a:pt x="414759" y="1365166"/>
                  <a:pt x="417963" y="1361131"/>
                  <a:pt x="421130" y="1357057"/>
                </a:cubicBezTo>
                <a:cubicBezTo>
                  <a:pt x="423073" y="1354140"/>
                  <a:pt x="423985" y="1351767"/>
                  <a:pt x="424676" y="1348443"/>
                </a:cubicBezTo>
                <a:lnTo>
                  <a:pt x="427275" y="1348443"/>
                </a:lnTo>
                <a:lnTo>
                  <a:pt x="428135" y="1345727"/>
                </a:lnTo>
                <a:cubicBezTo>
                  <a:pt x="429370" y="1341828"/>
                  <a:pt x="430645" y="1338666"/>
                  <a:pt x="432822" y="1335158"/>
                </a:cubicBezTo>
                <a:cubicBezTo>
                  <a:pt x="433853" y="1335158"/>
                  <a:pt x="434884" y="1335158"/>
                  <a:pt x="435946" y="1335158"/>
                </a:cubicBezTo>
                <a:cubicBezTo>
                  <a:pt x="436526" y="1333385"/>
                  <a:pt x="437106" y="1331613"/>
                  <a:pt x="437704" y="1329786"/>
                </a:cubicBezTo>
                <a:cubicBezTo>
                  <a:pt x="440162" y="1323132"/>
                  <a:pt x="443602" y="1317301"/>
                  <a:pt x="447394" y="1311196"/>
                </a:cubicBezTo>
                <a:cubicBezTo>
                  <a:pt x="456493" y="1296485"/>
                  <a:pt x="463325" y="1281864"/>
                  <a:pt x="469287" y="1265964"/>
                </a:cubicBezTo>
                <a:cubicBezTo>
                  <a:pt x="474589" y="1252134"/>
                  <a:pt x="474589" y="1252134"/>
                  <a:pt x="478178" y="1246787"/>
                </a:cubicBezTo>
                <a:cubicBezTo>
                  <a:pt x="481232" y="1240246"/>
                  <a:pt x="480204" y="1232766"/>
                  <a:pt x="480179" y="1225768"/>
                </a:cubicBezTo>
                <a:cubicBezTo>
                  <a:pt x="480174" y="1222894"/>
                  <a:pt x="480210" y="1220023"/>
                  <a:pt x="480250" y="1217149"/>
                </a:cubicBezTo>
                <a:cubicBezTo>
                  <a:pt x="480260" y="1199291"/>
                  <a:pt x="476718" y="1187768"/>
                  <a:pt x="462972" y="1174827"/>
                </a:cubicBezTo>
                <a:cubicBezTo>
                  <a:pt x="461148" y="1173192"/>
                  <a:pt x="459312" y="1171566"/>
                  <a:pt x="457468" y="1169949"/>
                </a:cubicBezTo>
                <a:cubicBezTo>
                  <a:pt x="451412" y="1164522"/>
                  <a:pt x="445876" y="1158660"/>
                  <a:pt x="440657" y="1152570"/>
                </a:cubicBezTo>
                <a:cubicBezTo>
                  <a:pt x="430474" y="1140786"/>
                  <a:pt x="418230" y="1128998"/>
                  <a:pt x="403142" y="1122366"/>
                </a:cubicBezTo>
                <a:cubicBezTo>
                  <a:pt x="402626" y="1121436"/>
                  <a:pt x="402110" y="1120506"/>
                  <a:pt x="401579" y="1119547"/>
                </a:cubicBezTo>
                <a:cubicBezTo>
                  <a:pt x="390472" y="1115326"/>
                  <a:pt x="375918" y="1114217"/>
                  <a:pt x="364564" y="1118209"/>
                </a:cubicBezTo>
                <a:cubicBezTo>
                  <a:pt x="362278" y="1119428"/>
                  <a:pt x="360026" y="1120704"/>
                  <a:pt x="357822" y="1122041"/>
                </a:cubicBezTo>
                <a:cubicBezTo>
                  <a:pt x="354521" y="1123884"/>
                  <a:pt x="351862" y="1124582"/>
                  <a:pt x="348077" y="1125273"/>
                </a:cubicBezTo>
                <a:cubicBezTo>
                  <a:pt x="341765" y="1126696"/>
                  <a:pt x="339382" y="1128619"/>
                  <a:pt x="334408" y="1132230"/>
                </a:cubicBezTo>
                <a:cubicBezTo>
                  <a:pt x="332284" y="1132909"/>
                  <a:pt x="330131" y="1133519"/>
                  <a:pt x="327964" y="1134080"/>
                </a:cubicBezTo>
                <a:cubicBezTo>
                  <a:pt x="309975" y="1139067"/>
                  <a:pt x="290592" y="1152117"/>
                  <a:pt x="279734" y="1166051"/>
                </a:cubicBezTo>
                <a:cubicBezTo>
                  <a:pt x="277929" y="1169534"/>
                  <a:pt x="277929" y="1169534"/>
                  <a:pt x="276609" y="1173098"/>
                </a:cubicBezTo>
                <a:cubicBezTo>
                  <a:pt x="272413" y="1180804"/>
                  <a:pt x="269322" y="1184144"/>
                  <a:pt x="260988" y="1188599"/>
                </a:cubicBezTo>
                <a:cubicBezTo>
                  <a:pt x="259988" y="1189435"/>
                  <a:pt x="258987" y="1190271"/>
                  <a:pt x="257956" y="1191132"/>
                </a:cubicBezTo>
                <a:lnTo>
                  <a:pt x="243805" y="1196629"/>
                </a:lnTo>
                <a:lnTo>
                  <a:pt x="243805" y="1194236"/>
                </a:lnTo>
                <a:lnTo>
                  <a:pt x="240288" y="1194765"/>
                </a:lnTo>
                <a:lnTo>
                  <a:pt x="243374" y="1194765"/>
                </a:lnTo>
                <a:lnTo>
                  <a:pt x="243374" y="1196797"/>
                </a:lnTo>
                <a:lnTo>
                  <a:pt x="243805" y="1196629"/>
                </a:lnTo>
                <a:lnTo>
                  <a:pt x="243805" y="1197055"/>
                </a:lnTo>
                <a:lnTo>
                  <a:pt x="243374" y="1197055"/>
                </a:lnTo>
                <a:lnTo>
                  <a:pt x="243374" y="1197584"/>
                </a:lnTo>
                <a:lnTo>
                  <a:pt x="241319" y="1197595"/>
                </a:lnTo>
                <a:lnTo>
                  <a:pt x="238009" y="1198881"/>
                </a:lnTo>
                <a:cubicBezTo>
                  <a:pt x="231012" y="1199584"/>
                  <a:pt x="223620" y="1198927"/>
                  <a:pt x="215687" y="1198464"/>
                </a:cubicBezTo>
                <a:lnTo>
                  <a:pt x="215687" y="1197734"/>
                </a:lnTo>
                <a:lnTo>
                  <a:pt x="213936" y="1197744"/>
                </a:lnTo>
                <a:cubicBezTo>
                  <a:pt x="210570" y="1197584"/>
                  <a:pt x="210570" y="1197584"/>
                  <a:pt x="207446" y="1196175"/>
                </a:cubicBezTo>
                <a:lnTo>
                  <a:pt x="207822" y="1195610"/>
                </a:lnTo>
                <a:lnTo>
                  <a:pt x="184737" y="1180936"/>
                </a:lnTo>
                <a:cubicBezTo>
                  <a:pt x="180258" y="1172216"/>
                  <a:pt x="179226" y="1164355"/>
                  <a:pt x="179270" y="1154866"/>
                </a:cubicBezTo>
                <a:cubicBezTo>
                  <a:pt x="179233" y="1153260"/>
                  <a:pt x="179233" y="1153260"/>
                  <a:pt x="179194" y="1151621"/>
                </a:cubicBezTo>
                <a:cubicBezTo>
                  <a:pt x="179182" y="1139523"/>
                  <a:pt x="183658" y="1128837"/>
                  <a:pt x="193195" y="1120065"/>
                </a:cubicBezTo>
                <a:cubicBezTo>
                  <a:pt x="204265" y="1110959"/>
                  <a:pt x="215062" y="1110626"/>
                  <a:pt x="229551" y="1110299"/>
                </a:cubicBezTo>
                <a:cubicBezTo>
                  <a:pt x="240132" y="1110024"/>
                  <a:pt x="250506" y="1109652"/>
                  <a:pt x="260988" y="1108274"/>
                </a:cubicBezTo>
                <a:cubicBezTo>
                  <a:pt x="260988" y="1107344"/>
                  <a:pt x="260988" y="1106413"/>
                  <a:pt x="260988" y="1105455"/>
                </a:cubicBezTo>
                <a:cubicBezTo>
                  <a:pt x="261953" y="1105078"/>
                  <a:pt x="262918" y="1104699"/>
                  <a:pt x="263911" y="1104310"/>
                </a:cubicBezTo>
                <a:cubicBezTo>
                  <a:pt x="272903" y="1100557"/>
                  <a:pt x="279802" y="1096307"/>
                  <a:pt x="286995" y="1090185"/>
                </a:cubicBezTo>
                <a:cubicBezTo>
                  <a:pt x="290956" y="1086897"/>
                  <a:pt x="295114" y="1083955"/>
                  <a:pt x="299358" y="1080970"/>
                </a:cubicBezTo>
                <a:cubicBezTo>
                  <a:pt x="306613" y="1075692"/>
                  <a:pt x="312234" y="1070023"/>
                  <a:pt x="317762" y="1063272"/>
                </a:cubicBezTo>
                <a:cubicBezTo>
                  <a:pt x="320349" y="1060360"/>
                  <a:pt x="320349" y="1060360"/>
                  <a:pt x="325035" y="1057542"/>
                </a:cubicBezTo>
                <a:cubicBezTo>
                  <a:pt x="329912" y="1045734"/>
                  <a:pt x="327928" y="1035103"/>
                  <a:pt x="325328" y="1023104"/>
                </a:cubicBezTo>
                <a:cubicBezTo>
                  <a:pt x="325069" y="1021831"/>
                  <a:pt x="324811" y="1020559"/>
                  <a:pt x="324544" y="1019247"/>
                </a:cubicBezTo>
                <a:cubicBezTo>
                  <a:pt x="322876" y="1011407"/>
                  <a:pt x="320562" y="1004340"/>
                  <a:pt x="317225" y="996945"/>
                </a:cubicBezTo>
                <a:cubicBezTo>
                  <a:pt x="316619" y="995541"/>
                  <a:pt x="316013" y="994137"/>
                  <a:pt x="315388" y="992690"/>
                </a:cubicBezTo>
                <a:cubicBezTo>
                  <a:pt x="306307" y="972561"/>
                  <a:pt x="298931" y="959343"/>
                  <a:pt x="276232" y="950666"/>
                </a:cubicBezTo>
                <a:cubicBezTo>
                  <a:pt x="274810" y="950127"/>
                  <a:pt x="273388" y="949587"/>
                  <a:pt x="271923" y="949031"/>
                </a:cubicBezTo>
                <a:cubicBezTo>
                  <a:pt x="270129" y="948244"/>
                  <a:pt x="270129" y="948244"/>
                  <a:pt x="268299" y="947441"/>
                </a:cubicBezTo>
                <a:cubicBezTo>
                  <a:pt x="247071" y="938140"/>
                  <a:pt x="222259" y="939051"/>
                  <a:pt x="199187" y="938991"/>
                </a:cubicBezTo>
                <a:cubicBezTo>
                  <a:pt x="197383" y="938984"/>
                  <a:pt x="195579" y="938978"/>
                  <a:pt x="193719" y="938971"/>
                </a:cubicBezTo>
                <a:cubicBezTo>
                  <a:pt x="192010" y="938974"/>
                  <a:pt x="190300" y="938977"/>
                  <a:pt x="188539" y="938980"/>
                </a:cubicBezTo>
                <a:cubicBezTo>
                  <a:pt x="187000" y="938981"/>
                  <a:pt x="185460" y="938983"/>
                  <a:pt x="183874" y="938985"/>
                </a:cubicBezTo>
                <a:cubicBezTo>
                  <a:pt x="180148" y="939150"/>
                  <a:pt x="177092" y="939720"/>
                  <a:pt x="173509" y="940576"/>
                </a:cubicBezTo>
                <a:cubicBezTo>
                  <a:pt x="169458" y="940674"/>
                  <a:pt x="165452" y="940710"/>
                  <a:pt x="161403" y="940664"/>
                </a:cubicBezTo>
                <a:cubicBezTo>
                  <a:pt x="160314" y="940658"/>
                  <a:pt x="159224" y="940651"/>
                  <a:pt x="158102" y="940645"/>
                </a:cubicBezTo>
                <a:lnTo>
                  <a:pt x="150875" y="940583"/>
                </a:lnTo>
                <a:lnTo>
                  <a:pt x="148425" y="940717"/>
                </a:lnTo>
                <a:lnTo>
                  <a:pt x="149617" y="940995"/>
                </a:lnTo>
                <a:cubicBezTo>
                  <a:pt x="149617" y="941459"/>
                  <a:pt x="149617" y="941924"/>
                  <a:pt x="149617" y="942404"/>
                </a:cubicBezTo>
                <a:cubicBezTo>
                  <a:pt x="148630" y="942558"/>
                  <a:pt x="147643" y="942712"/>
                  <a:pt x="146627" y="942871"/>
                </a:cubicBezTo>
                <a:cubicBezTo>
                  <a:pt x="134541" y="944804"/>
                  <a:pt x="122553" y="947081"/>
                  <a:pt x="110564" y="949449"/>
                </a:cubicBezTo>
                <a:lnTo>
                  <a:pt x="111283" y="946205"/>
                </a:lnTo>
                <a:lnTo>
                  <a:pt x="101652" y="956078"/>
                </a:lnTo>
                <a:cubicBezTo>
                  <a:pt x="99870" y="957260"/>
                  <a:pt x="99870" y="957260"/>
                  <a:pt x="98052" y="958467"/>
                </a:cubicBezTo>
                <a:cubicBezTo>
                  <a:pt x="75683" y="972989"/>
                  <a:pt x="75683" y="972989"/>
                  <a:pt x="67286" y="972989"/>
                </a:cubicBezTo>
                <a:cubicBezTo>
                  <a:pt x="67286" y="973918"/>
                  <a:pt x="67286" y="974848"/>
                  <a:pt x="67286" y="975807"/>
                </a:cubicBezTo>
                <a:cubicBezTo>
                  <a:pt x="55713" y="979519"/>
                  <a:pt x="43549" y="980689"/>
                  <a:pt x="31942" y="976423"/>
                </a:cubicBezTo>
                <a:cubicBezTo>
                  <a:pt x="19953" y="970870"/>
                  <a:pt x="10774" y="964932"/>
                  <a:pt x="5673" y="953419"/>
                </a:cubicBezTo>
                <a:cubicBezTo>
                  <a:pt x="4801" y="950441"/>
                  <a:pt x="4801" y="950441"/>
                  <a:pt x="4801" y="944804"/>
                </a:cubicBezTo>
                <a:cubicBezTo>
                  <a:pt x="3770" y="944804"/>
                  <a:pt x="2739" y="944804"/>
                  <a:pt x="1676" y="944804"/>
                </a:cubicBezTo>
                <a:cubicBezTo>
                  <a:pt x="-34" y="940174"/>
                  <a:pt x="-41" y="936720"/>
                  <a:pt x="17" y="931857"/>
                </a:cubicBezTo>
                <a:cubicBezTo>
                  <a:pt x="31" y="930325"/>
                  <a:pt x="45" y="928794"/>
                  <a:pt x="59" y="927216"/>
                </a:cubicBezTo>
                <a:cubicBezTo>
                  <a:pt x="78" y="926044"/>
                  <a:pt x="96" y="924873"/>
                  <a:pt x="115" y="923666"/>
                </a:cubicBezTo>
                <a:cubicBezTo>
                  <a:pt x="1145" y="923666"/>
                  <a:pt x="2176" y="923666"/>
                  <a:pt x="3238" y="923666"/>
                </a:cubicBezTo>
                <a:cubicBezTo>
                  <a:pt x="3238" y="921805"/>
                  <a:pt x="3238" y="919945"/>
                  <a:pt x="3238" y="918029"/>
                </a:cubicBezTo>
                <a:cubicBezTo>
                  <a:pt x="4270" y="918029"/>
                  <a:pt x="5300" y="918029"/>
                  <a:pt x="6363" y="918029"/>
                </a:cubicBezTo>
                <a:cubicBezTo>
                  <a:pt x="6459" y="916314"/>
                  <a:pt x="6556" y="914599"/>
                  <a:pt x="6656" y="912832"/>
                </a:cubicBezTo>
                <a:cubicBezTo>
                  <a:pt x="7542" y="906455"/>
                  <a:pt x="10104" y="903750"/>
                  <a:pt x="15736" y="899709"/>
                </a:cubicBezTo>
                <a:lnTo>
                  <a:pt x="17243" y="898894"/>
                </a:lnTo>
                <a:lnTo>
                  <a:pt x="16800" y="898694"/>
                </a:lnTo>
                <a:lnTo>
                  <a:pt x="24988" y="894101"/>
                </a:lnTo>
                <a:lnTo>
                  <a:pt x="26768" y="892399"/>
                </a:lnTo>
                <a:cubicBezTo>
                  <a:pt x="28282" y="891122"/>
                  <a:pt x="29038" y="890483"/>
                  <a:pt x="30198" y="890164"/>
                </a:cubicBezTo>
                <a:lnTo>
                  <a:pt x="32204" y="890054"/>
                </a:lnTo>
                <a:lnTo>
                  <a:pt x="38914" y="886291"/>
                </a:lnTo>
                <a:cubicBezTo>
                  <a:pt x="47169" y="885770"/>
                  <a:pt x="55396" y="885800"/>
                  <a:pt x="63664" y="886011"/>
                </a:cubicBezTo>
                <a:lnTo>
                  <a:pt x="63664" y="886531"/>
                </a:lnTo>
                <a:lnTo>
                  <a:pt x="70784" y="886647"/>
                </a:lnTo>
                <a:cubicBezTo>
                  <a:pt x="74787" y="887000"/>
                  <a:pt x="77233" y="887948"/>
                  <a:pt x="82126" y="889845"/>
                </a:cubicBezTo>
                <a:cubicBezTo>
                  <a:pt x="92427" y="893791"/>
                  <a:pt x="103139" y="893710"/>
                  <a:pt x="114149" y="892663"/>
                </a:cubicBezTo>
                <a:cubicBezTo>
                  <a:pt x="115696" y="891733"/>
                  <a:pt x="117242" y="890803"/>
                  <a:pt x="118836" y="889845"/>
                </a:cubicBezTo>
                <a:cubicBezTo>
                  <a:pt x="123097" y="888850"/>
                  <a:pt x="127325" y="887944"/>
                  <a:pt x="131626" y="887114"/>
                </a:cubicBezTo>
                <a:cubicBezTo>
                  <a:pt x="139750" y="885542"/>
                  <a:pt x="147376" y="883653"/>
                  <a:pt x="155116" y="880913"/>
                </a:cubicBezTo>
                <a:cubicBezTo>
                  <a:pt x="158498" y="879775"/>
                  <a:pt x="161861" y="879076"/>
                  <a:pt x="165406" y="878483"/>
                </a:cubicBezTo>
                <a:cubicBezTo>
                  <a:pt x="170342" y="877655"/>
                  <a:pt x="172265" y="876971"/>
                  <a:pt x="176634" y="874343"/>
                </a:cubicBezTo>
                <a:cubicBezTo>
                  <a:pt x="179863" y="873335"/>
                  <a:pt x="183123" y="872404"/>
                  <a:pt x="186397" y="871524"/>
                </a:cubicBezTo>
                <a:cubicBezTo>
                  <a:pt x="189107" y="870786"/>
                  <a:pt x="189107" y="870786"/>
                  <a:pt x="191871" y="870033"/>
                </a:cubicBezTo>
                <a:cubicBezTo>
                  <a:pt x="195731" y="869023"/>
                  <a:pt x="199587" y="868093"/>
                  <a:pt x="203483" y="867208"/>
                </a:cubicBezTo>
                <a:cubicBezTo>
                  <a:pt x="208339" y="866199"/>
                  <a:pt x="208339" y="866199"/>
                  <a:pt x="211001" y="861660"/>
                </a:cubicBezTo>
                <a:cubicBezTo>
                  <a:pt x="214174" y="860102"/>
                  <a:pt x="214174" y="860102"/>
                  <a:pt x="218031" y="858577"/>
                </a:cubicBezTo>
                <a:cubicBezTo>
                  <a:pt x="236068" y="850629"/>
                  <a:pt x="245199" y="840442"/>
                  <a:pt x="254740" y="825020"/>
                </a:cubicBezTo>
                <a:cubicBezTo>
                  <a:pt x="255771" y="823625"/>
                  <a:pt x="256802" y="822230"/>
                  <a:pt x="257864" y="820792"/>
                </a:cubicBezTo>
                <a:cubicBezTo>
                  <a:pt x="258359" y="817506"/>
                  <a:pt x="258359" y="817506"/>
                  <a:pt x="258318" y="813810"/>
                </a:cubicBezTo>
                <a:cubicBezTo>
                  <a:pt x="258338" y="812388"/>
                  <a:pt x="258358" y="810967"/>
                  <a:pt x="258378" y="809502"/>
                </a:cubicBezTo>
                <a:cubicBezTo>
                  <a:pt x="258382" y="807965"/>
                  <a:pt x="258385" y="806429"/>
                  <a:pt x="258389" y="804845"/>
                </a:cubicBezTo>
                <a:cubicBezTo>
                  <a:pt x="258399" y="803258"/>
                  <a:pt x="258410" y="801671"/>
                  <a:pt x="258420" y="800036"/>
                </a:cubicBezTo>
                <a:cubicBezTo>
                  <a:pt x="258436" y="796670"/>
                  <a:pt x="258443" y="793305"/>
                  <a:pt x="258443" y="789939"/>
                </a:cubicBezTo>
                <a:cubicBezTo>
                  <a:pt x="258450" y="784823"/>
                  <a:pt x="258506" y="779709"/>
                  <a:pt x="258566" y="774594"/>
                </a:cubicBezTo>
                <a:cubicBezTo>
                  <a:pt x="258575" y="771319"/>
                  <a:pt x="258581" y="768045"/>
                  <a:pt x="258584" y="764771"/>
                </a:cubicBezTo>
                <a:cubicBezTo>
                  <a:pt x="258618" y="762495"/>
                  <a:pt x="258618" y="762495"/>
                  <a:pt x="258652" y="760174"/>
                </a:cubicBezTo>
                <a:cubicBezTo>
                  <a:pt x="258586" y="750030"/>
                  <a:pt x="256266" y="742584"/>
                  <a:pt x="251616" y="733421"/>
                </a:cubicBezTo>
                <a:cubicBezTo>
                  <a:pt x="250163" y="729605"/>
                  <a:pt x="248880" y="725752"/>
                  <a:pt x="247613" y="721883"/>
                </a:cubicBezTo>
                <a:cubicBezTo>
                  <a:pt x="245789" y="716328"/>
                  <a:pt x="243913" y="710939"/>
                  <a:pt x="241291" y="705644"/>
                </a:cubicBezTo>
                <a:cubicBezTo>
                  <a:pt x="238691" y="700096"/>
                  <a:pt x="238136" y="695685"/>
                  <a:pt x="237557" y="689735"/>
                </a:cubicBezTo>
                <a:cubicBezTo>
                  <a:pt x="244977" y="685507"/>
                  <a:pt x="244977" y="685507"/>
                  <a:pt x="248492" y="685507"/>
                </a:cubicBezTo>
                <a:cubicBezTo>
                  <a:pt x="248492" y="684112"/>
                  <a:pt x="248492" y="682717"/>
                  <a:pt x="248492" y="681279"/>
                </a:cubicBezTo>
                <a:cubicBezTo>
                  <a:pt x="245914" y="680815"/>
                  <a:pt x="243337" y="680350"/>
                  <a:pt x="240681" y="679870"/>
                </a:cubicBezTo>
                <a:cubicBezTo>
                  <a:pt x="240681" y="678940"/>
                  <a:pt x="240681" y="678010"/>
                  <a:pt x="240681" y="677052"/>
                </a:cubicBezTo>
                <a:cubicBezTo>
                  <a:pt x="239827" y="676917"/>
                  <a:pt x="238973" y="676783"/>
                  <a:pt x="238094" y="676645"/>
                </a:cubicBezTo>
                <a:cubicBezTo>
                  <a:pt x="233442" y="675371"/>
                  <a:pt x="229939" y="673242"/>
                  <a:pt x="225841" y="670886"/>
                </a:cubicBezTo>
                <a:cubicBezTo>
                  <a:pt x="217808" y="666564"/>
                  <a:pt x="210635" y="664241"/>
                  <a:pt x="201531" y="662508"/>
                </a:cubicBezTo>
                <a:cubicBezTo>
                  <a:pt x="196896" y="661541"/>
                  <a:pt x="192682" y="660199"/>
                  <a:pt x="188252" y="658644"/>
                </a:cubicBezTo>
                <a:lnTo>
                  <a:pt x="182431" y="657327"/>
                </a:lnTo>
                <a:lnTo>
                  <a:pt x="182431" y="657613"/>
                </a:lnTo>
                <a:cubicBezTo>
                  <a:pt x="170575" y="657148"/>
                  <a:pt x="158718" y="656683"/>
                  <a:pt x="146503" y="656204"/>
                </a:cubicBezTo>
                <a:cubicBezTo>
                  <a:pt x="146503" y="657133"/>
                  <a:pt x="146503" y="658064"/>
                  <a:pt x="146503" y="659022"/>
                </a:cubicBezTo>
                <a:cubicBezTo>
                  <a:pt x="134359" y="662326"/>
                  <a:pt x="123013" y="663700"/>
                  <a:pt x="110378" y="663778"/>
                </a:cubicBezTo>
                <a:cubicBezTo>
                  <a:pt x="108435" y="663806"/>
                  <a:pt x="108435" y="663806"/>
                  <a:pt x="106453" y="663836"/>
                </a:cubicBezTo>
                <a:cubicBezTo>
                  <a:pt x="105231" y="663828"/>
                  <a:pt x="104009" y="663820"/>
                  <a:pt x="102751" y="663811"/>
                </a:cubicBezTo>
                <a:cubicBezTo>
                  <a:pt x="101117" y="663804"/>
                  <a:pt x="101117" y="663804"/>
                  <a:pt x="99449" y="663797"/>
                </a:cubicBezTo>
                <a:cubicBezTo>
                  <a:pt x="95696" y="663097"/>
                  <a:pt x="94265" y="661615"/>
                  <a:pt x="91828" y="659022"/>
                </a:cubicBezTo>
                <a:cubicBezTo>
                  <a:pt x="93890" y="659022"/>
                  <a:pt x="95953" y="659022"/>
                  <a:pt x="98077" y="659022"/>
                </a:cubicBezTo>
                <a:cubicBezTo>
                  <a:pt x="98077" y="659952"/>
                  <a:pt x="98077" y="660882"/>
                  <a:pt x="98077" y="661841"/>
                </a:cubicBezTo>
                <a:cubicBezTo>
                  <a:pt x="108735" y="662045"/>
                  <a:pt x="114063" y="662148"/>
                  <a:pt x="119023" y="661357"/>
                </a:cubicBezTo>
                <a:lnTo>
                  <a:pt x="119536" y="661197"/>
                </a:lnTo>
                <a:lnTo>
                  <a:pt x="109853" y="661639"/>
                </a:lnTo>
                <a:cubicBezTo>
                  <a:pt x="108764" y="661632"/>
                  <a:pt x="107675" y="661626"/>
                  <a:pt x="106552" y="661619"/>
                </a:cubicBezTo>
                <a:cubicBezTo>
                  <a:pt x="103877" y="661603"/>
                  <a:pt x="101203" y="661577"/>
                  <a:pt x="98528" y="661550"/>
                </a:cubicBezTo>
                <a:cubicBezTo>
                  <a:pt x="98528" y="660620"/>
                  <a:pt x="98528" y="659691"/>
                  <a:pt x="98528" y="658732"/>
                </a:cubicBezTo>
                <a:cubicBezTo>
                  <a:pt x="95435" y="658267"/>
                  <a:pt x="92342" y="657802"/>
                  <a:pt x="89155" y="657323"/>
                </a:cubicBezTo>
                <a:cubicBezTo>
                  <a:pt x="89155" y="656393"/>
                  <a:pt x="89155" y="655462"/>
                  <a:pt x="89155" y="654504"/>
                </a:cubicBezTo>
                <a:cubicBezTo>
                  <a:pt x="87790" y="653978"/>
                  <a:pt x="87790" y="653978"/>
                  <a:pt x="86397" y="653442"/>
                </a:cubicBezTo>
                <a:cubicBezTo>
                  <a:pt x="82415" y="651438"/>
                  <a:pt x="80039" y="649232"/>
                  <a:pt x="77049" y="646137"/>
                </a:cubicBezTo>
                <a:cubicBezTo>
                  <a:pt x="75611" y="644679"/>
                  <a:pt x="75611" y="644679"/>
                  <a:pt x="74145" y="643192"/>
                </a:cubicBezTo>
                <a:cubicBezTo>
                  <a:pt x="71972" y="640412"/>
                  <a:pt x="71972" y="640412"/>
                  <a:pt x="71972" y="636185"/>
                </a:cubicBezTo>
                <a:cubicBezTo>
                  <a:pt x="70941" y="636185"/>
                  <a:pt x="69910" y="636185"/>
                  <a:pt x="68848" y="636185"/>
                </a:cubicBezTo>
                <a:cubicBezTo>
                  <a:pt x="64250" y="621928"/>
                  <a:pt x="64695" y="609404"/>
                  <a:pt x="70410" y="595317"/>
                </a:cubicBezTo>
                <a:cubicBezTo>
                  <a:pt x="73096" y="591142"/>
                  <a:pt x="76144" y="587574"/>
                  <a:pt x="79782" y="584043"/>
                </a:cubicBezTo>
                <a:cubicBezTo>
                  <a:pt x="81205" y="582594"/>
                  <a:pt x="81205" y="582594"/>
                  <a:pt x="82656" y="581115"/>
                </a:cubicBezTo>
                <a:cubicBezTo>
                  <a:pt x="91488" y="574027"/>
                  <a:pt x="105133" y="571806"/>
                  <a:pt x="116694" y="572323"/>
                </a:cubicBezTo>
                <a:cubicBezTo>
                  <a:pt x="131556" y="574113"/>
                  <a:pt x="142046" y="580551"/>
                  <a:pt x="152031" y="590385"/>
                </a:cubicBezTo>
                <a:cubicBezTo>
                  <a:pt x="162272" y="600009"/>
                  <a:pt x="176992" y="605062"/>
                  <a:pt x="191474" y="605886"/>
                </a:cubicBezTo>
                <a:cubicBezTo>
                  <a:pt x="196845" y="606192"/>
                  <a:pt x="201203" y="606463"/>
                  <a:pt x="206314" y="608000"/>
                </a:cubicBezTo>
                <a:cubicBezTo>
                  <a:pt x="206314" y="608930"/>
                  <a:pt x="206314" y="609860"/>
                  <a:pt x="206314" y="610818"/>
                </a:cubicBezTo>
                <a:cubicBezTo>
                  <a:pt x="215689" y="610902"/>
                  <a:pt x="225058" y="610898"/>
                  <a:pt x="234433" y="610818"/>
                </a:cubicBezTo>
                <a:cubicBezTo>
                  <a:pt x="236112" y="610813"/>
                  <a:pt x="237791" y="610808"/>
                  <a:pt x="239522" y="610802"/>
                </a:cubicBezTo>
                <a:cubicBezTo>
                  <a:pt x="251005" y="610364"/>
                  <a:pt x="259257" y="606564"/>
                  <a:pt x="268799" y="600954"/>
                </a:cubicBezTo>
                <a:cubicBezTo>
                  <a:pt x="269770" y="600416"/>
                  <a:pt x="270740" y="599879"/>
                  <a:pt x="271740" y="599325"/>
                </a:cubicBezTo>
                <a:cubicBezTo>
                  <a:pt x="279452" y="594430"/>
                  <a:pt x="281420" y="587464"/>
                  <a:pt x="284420" y="579816"/>
                </a:cubicBezTo>
                <a:cubicBezTo>
                  <a:pt x="286047" y="576075"/>
                  <a:pt x="287725" y="572353"/>
                  <a:pt x="289399" y="568630"/>
                </a:cubicBezTo>
                <a:cubicBezTo>
                  <a:pt x="294095" y="558121"/>
                  <a:pt x="299004" y="547070"/>
                  <a:pt x="293958" y="535838"/>
                </a:cubicBezTo>
                <a:cubicBezTo>
                  <a:pt x="292436" y="533533"/>
                  <a:pt x="290781" y="531301"/>
                  <a:pt x="289107" y="529084"/>
                </a:cubicBezTo>
                <a:cubicBezTo>
                  <a:pt x="289107" y="528153"/>
                  <a:pt x="289107" y="527223"/>
                  <a:pt x="289107" y="526265"/>
                </a:cubicBezTo>
                <a:cubicBezTo>
                  <a:pt x="287560" y="525800"/>
                  <a:pt x="286014" y="525335"/>
                  <a:pt x="284420" y="524856"/>
                </a:cubicBezTo>
                <a:cubicBezTo>
                  <a:pt x="283905" y="523461"/>
                  <a:pt x="283389" y="522066"/>
                  <a:pt x="282858" y="520628"/>
                </a:cubicBezTo>
                <a:cubicBezTo>
                  <a:pt x="280750" y="518590"/>
                  <a:pt x="280750" y="518590"/>
                  <a:pt x="277977" y="516577"/>
                </a:cubicBezTo>
                <a:cubicBezTo>
                  <a:pt x="273591" y="513232"/>
                  <a:pt x="269227" y="509874"/>
                  <a:pt x="264925" y="506443"/>
                </a:cubicBezTo>
                <a:cubicBezTo>
                  <a:pt x="253596" y="497433"/>
                  <a:pt x="242132" y="488987"/>
                  <a:pt x="229746" y="481170"/>
                </a:cubicBezTo>
                <a:cubicBezTo>
                  <a:pt x="226846" y="479266"/>
                  <a:pt x="223950" y="477358"/>
                  <a:pt x="221057" y="475445"/>
                </a:cubicBezTo>
                <a:cubicBezTo>
                  <a:pt x="218227" y="473594"/>
                  <a:pt x="215396" y="471744"/>
                  <a:pt x="212563" y="469896"/>
                </a:cubicBezTo>
                <a:cubicBezTo>
                  <a:pt x="211351" y="469102"/>
                  <a:pt x="210138" y="468309"/>
                  <a:pt x="208889" y="467491"/>
                </a:cubicBezTo>
                <a:cubicBezTo>
                  <a:pt x="202848" y="463599"/>
                  <a:pt x="196732" y="459888"/>
                  <a:pt x="190406" y="456382"/>
                </a:cubicBezTo>
                <a:cubicBezTo>
                  <a:pt x="189263" y="455748"/>
                  <a:pt x="188119" y="455114"/>
                  <a:pt x="186942" y="454460"/>
                </a:cubicBezTo>
                <a:cubicBezTo>
                  <a:pt x="184648" y="453196"/>
                  <a:pt x="182348" y="451941"/>
                  <a:pt x="180041" y="450696"/>
                </a:cubicBezTo>
                <a:cubicBezTo>
                  <a:pt x="177292" y="449185"/>
                  <a:pt x="174612" y="447571"/>
                  <a:pt x="171948" y="445940"/>
                </a:cubicBezTo>
                <a:cubicBezTo>
                  <a:pt x="171948" y="445009"/>
                  <a:pt x="171948" y="444079"/>
                  <a:pt x="171948" y="443121"/>
                </a:cubicBezTo>
                <a:cubicBezTo>
                  <a:pt x="170804" y="442985"/>
                  <a:pt x="169660" y="442848"/>
                  <a:pt x="168482" y="442708"/>
                </a:cubicBezTo>
                <a:cubicBezTo>
                  <a:pt x="163547" y="441576"/>
                  <a:pt x="161063" y="439897"/>
                  <a:pt x="157107" y="437044"/>
                </a:cubicBezTo>
                <a:cubicBezTo>
                  <a:pt x="149345" y="431895"/>
                  <a:pt x="141843" y="429626"/>
                  <a:pt x="132559" y="427510"/>
                </a:cubicBezTo>
                <a:cubicBezTo>
                  <a:pt x="128067" y="426168"/>
                  <a:pt x="126607" y="425060"/>
                  <a:pt x="123522" y="421983"/>
                </a:cubicBezTo>
                <a:cubicBezTo>
                  <a:pt x="118310" y="419033"/>
                  <a:pt x="114076" y="418794"/>
                  <a:pt x="107986" y="418730"/>
                </a:cubicBezTo>
                <a:cubicBezTo>
                  <a:pt x="106174" y="418694"/>
                  <a:pt x="104362" y="418659"/>
                  <a:pt x="102494" y="418622"/>
                </a:cubicBezTo>
                <a:cubicBezTo>
                  <a:pt x="98715" y="418573"/>
                  <a:pt x="94936" y="418529"/>
                  <a:pt x="91157" y="418490"/>
                </a:cubicBezTo>
                <a:cubicBezTo>
                  <a:pt x="78470" y="418231"/>
                  <a:pt x="65485" y="417940"/>
                  <a:pt x="55277" y="410445"/>
                </a:cubicBezTo>
                <a:cubicBezTo>
                  <a:pt x="54084" y="409137"/>
                  <a:pt x="52893" y="407829"/>
                  <a:pt x="51665" y="406481"/>
                </a:cubicBezTo>
                <a:cubicBezTo>
                  <a:pt x="49752" y="404480"/>
                  <a:pt x="47831" y="402483"/>
                  <a:pt x="45904" y="400492"/>
                </a:cubicBezTo>
                <a:cubicBezTo>
                  <a:pt x="44996" y="399526"/>
                  <a:pt x="44088" y="398559"/>
                  <a:pt x="43152" y="397564"/>
                </a:cubicBezTo>
                <a:cubicBezTo>
                  <a:pt x="40865" y="395062"/>
                  <a:pt x="40865" y="395062"/>
                  <a:pt x="37605" y="393798"/>
                </a:cubicBezTo>
                <a:lnTo>
                  <a:pt x="38995" y="368712"/>
                </a:lnTo>
                <a:lnTo>
                  <a:pt x="38666" y="369724"/>
                </a:lnTo>
                <a:cubicBezTo>
                  <a:pt x="37003" y="374506"/>
                  <a:pt x="36202" y="379113"/>
                  <a:pt x="35542" y="384081"/>
                </a:cubicBezTo>
                <a:cubicBezTo>
                  <a:pt x="30313" y="376119"/>
                  <a:pt x="31188" y="366593"/>
                  <a:pt x="33326" y="357791"/>
                </a:cubicBezTo>
                <a:cubicBezTo>
                  <a:pt x="37176" y="347767"/>
                  <a:pt x="44536" y="340769"/>
                  <a:pt x="52725" y="333349"/>
                </a:cubicBezTo>
                <a:lnTo>
                  <a:pt x="55222" y="334475"/>
                </a:lnTo>
                <a:lnTo>
                  <a:pt x="56222" y="333347"/>
                </a:lnTo>
                <a:lnTo>
                  <a:pt x="55871" y="333347"/>
                </a:lnTo>
                <a:lnTo>
                  <a:pt x="56346" y="333207"/>
                </a:lnTo>
                <a:lnTo>
                  <a:pt x="56351" y="333202"/>
                </a:lnTo>
                <a:lnTo>
                  <a:pt x="56365" y="333202"/>
                </a:lnTo>
                <a:lnTo>
                  <a:pt x="79571" y="326360"/>
                </a:lnTo>
                <a:cubicBezTo>
                  <a:pt x="87782" y="326037"/>
                  <a:pt x="96164" y="327572"/>
                  <a:pt x="104297" y="330529"/>
                </a:cubicBezTo>
                <a:lnTo>
                  <a:pt x="107170" y="334417"/>
                </a:lnTo>
                <a:lnTo>
                  <a:pt x="109366" y="336046"/>
                </a:lnTo>
                <a:lnTo>
                  <a:pt x="109463" y="336020"/>
                </a:lnTo>
                <a:lnTo>
                  <a:pt x="109463" y="336118"/>
                </a:lnTo>
                <a:lnTo>
                  <a:pt x="115226" y="340394"/>
                </a:lnTo>
                <a:lnTo>
                  <a:pt x="114010" y="340120"/>
                </a:lnTo>
                <a:lnTo>
                  <a:pt x="133285" y="357423"/>
                </a:lnTo>
                <a:cubicBezTo>
                  <a:pt x="142471" y="373187"/>
                  <a:pt x="155564" y="382744"/>
                  <a:pt x="173509" y="389571"/>
                </a:cubicBezTo>
                <a:cubicBezTo>
                  <a:pt x="176254" y="390785"/>
                  <a:pt x="178988" y="392017"/>
                  <a:pt x="181711" y="393270"/>
                </a:cubicBezTo>
                <a:cubicBezTo>
                  <a:pt x="182964" y="393833"/>
                  <a:pt x="184216" y="394396"/>
                  <a:pt x="185507" y="394976"/>
                </a:cubicBezTo>
                <a:cubicBezTo>
                  <a:pt x="187897" y="396058"/>
                  <a:pt x="190281" y="397151"/>
                  <a:pt x="192658" y="398257"/>
                </a:cubicBezTo>
                <a:cubicBezTo>
                  <a:pt x="193749" y="398762"/>
                  <a:pt x="194841" y="399267"/>
                  <a:pt x="195966" y="399788"/>
                </a:cubicBezTo>
                <a:cubicBezTo>
                  <a:pt x="196912" y="400231"/>
                  <a:pt x="197858" y="400674"/>
                  <a:pt x="198833" y="401131"/>
                </a:cubicBezTo>
                <a:cubicBezTo>
                  <a:pt x="201808" y="402326"/>
                  <a:pt x="204701" y="403032"/>
                  <a:pt x="207877" y="403663"/>
                </a:cubicBezTo>
                <a:cubicBezTo>
                  <a:pt x="207877" y="404593"/>
                  <a:pt x="207877" y="405523"/>
                  <a:pt x="207877" y="406481"/>
                </a:cubicBezTo>
                <a:cubicBezTo>
                  <a:pt x="221233" y="411377"/>
                  <a:pt x="234752" y="415503"/>
                  <a:pt x="248492" y="419428"/>
                </a:cubicBezTo>
                <a:cubicBezTo>
                  <a:pt x="250298" y="419947"/>
                  <a:pt x="252104" y="420466"/>
                  <a:pt x="253965" y="421000"/>
                </a:cubicBezTo>
                <a:cubicBezTo>
                  <a:pt x="258388" y="422270"/>
                  <a:pt x="262812" y="423537"/>
                  <a:pt x="267237" y="424801"/>
                </a:cubicBezTo>
                <a:lnTo>
                  <a:pt x="267237" y="426451"/>
                </a:lnTo>
                <a:lnTo>
                  <a:pt x="288701" y="429217"/>
                </a:lnTo>
                <a:cubicBezTo>
                  <a:pt x="288701" y="430147"/>
                  <a:pt x="288701" y="431078"/>
                  <a:pt x="288701" y="432036"/>
                </a:cubicBezTo>
                <a:cubicBezTo>
                  <a:pt x="301487" y="433472"/>
                  <a:pt x="314148" y="433662"/>
                  <a:pt x="327010" y="433628"/>
                </a:cubicBezTo>
                <a:cubicBezTo>
                  <a:pt x="330502" y="433621"/>
                  <a:pt x="333994" y="433628"/>
                  <a:pt x="337486" y="433637"/>
                </a:cubicBezTo>
                <a:cubicBezTo>
                  <a:pt x="339734" y="433637"/>
                  <a:pt x="341982" y="433635"/>
                  <a:pt x="344229" y="433632"/>
                </a:cubicBezTo>
                <a:cubicBezTo>
                  <a:pt x="347246" y="433630"/>
                  <a:pt x="347246" y="433630"/>
                  <a:pt x="350323" y="433627"/>
                </a:cubicBezTo>
                <a:cubicBezTo>
                  <a:pt x="355445" y="433459"/>
                  <a:pt x="360220" y="432915"/>
                  <a:pt x="365245" y="432036"/>
                </a:cubicBezTo>
                <a:lnTo>
                  <a:pt x="360797" y="433759"/>
                </a:lnTo>
                <a:lnTo>
                  <a:pt x="365650" y="433257"/>
                </a:lnTo>
                <a:cubicBezTo>
                  <a:pt x="366166" y="431861"/>
                  <a:pt x="366682" y="430466"/>
                  <a:pt x="367213" y="429029"/>
                </a:cubicBezTo>
                <a:cubicBezTo>
                  <a:pt x="369854" y="427628"/>
                  <a:pt x="372501" y="426234"/>
                  <a:pt x="375188" y="424906"/>
                </a:cubicBezTo>
                <a:cubicBezTo>
                  <a:pt x="390245" y="417204"/>
                  <a:pt x="397438" y="403183"/>
                  <a:pt x="404704" y="389571"/>
                </a:cubicBezTo>
                <a:cubicBezTo>
                  <a:pt x="405219" y="389105"/>
                  <a:pt x="405734" y="388641"/>
                  <a:pt x="406265" y="388161"/>
                </a:cubicBezTo>
                <a:cubicBezTo>
                  <a:pt x="406663" y="382152"/>
                  <a:pt x="406555" y="376125"/>
                  <a:pt x="406559" y="370106"/>
                </a:cubicBezTo>
                <a:cubicBezTo>
                  <a:pt x="406578" y="368412"/>
                  <a:pt x="406597" y="366718"/>
                  <a:pt x="406617" y="364973"/>
                </a:cubicBezTo>
                <a:cubicBezTo>
                  <a:pt x="406620" y="363344"/>
                  <a:pt x="406622" y="361715"/>
                  <a:pt x="406626" y="360038"/>
                </a:cubicBezTo>
                <a:cubicBezTo>
                  <a:pt x="406632" y="358541"/>
                  <a:pt x="406638" y="357045"/>
                  <a:pt x="406645" y="355503"/>
                </a:cubicBezTo>
                <a:cubicBezTo>
                  <a:pt x="406264" y="351503"/>
                  <a:pt x="405326" y="349318"/>
                  <a:pt x="403142" y="345885"/>
                </a:cubicBezTo>
                <a:cubicBezTo>
                  <a:pt x="402583" y="343484"/>
                  <a:pt x="402067" y="341075"/>
                  <a:pt x="401579" y="338663"/>
                </a:cubicBezTo>
                <a:cubicBezTo>
                  <a:pt x="399365" y="330323"/>
                  <a:pt x="395538" y="323370"/>
                  <a:pt x="390938" y="315939"/>
                </a:cubicBezTo>
                <a:cubicBezTo>
                  <a:pt x="390290" y="314890"/>
                  <a:pt x="389642" y="313842"/>
                  <a:pt x="388976" y="312762"/>
                </a:cubicBezTo>
                <a:cubicBezTo>
                  <a:pt x="385623" y="307500"/>
                  <a:pt x="382070" y="302607"/>
                  <a:pt x="377934" y="297817"/>
                </a:cubicBezTo>
                <a:cubicBezTo>
                  <a:pt x="373788" y="292978"/>
                  <a:pt x="371423" y="288111"/>
                  <a:pt x="368775" y="282470"/>
                </a:cubicBezTo>
                <a:cubicBezTo>
                  <a:pt x="366035" y="278585"/>
                  <a:pt x="362994" y="274937"/>
                  <a:pt x="359890" y="271284"/>
                </a:cubicBezTo>
                <a:cubicBezTo>
                  <a:pt x="359059" y="270296"/>
                  <a:pt x="358230" y="269307"/>
                  <a:pt x="357374" y="268288"/>
                </a:cubicBezTo>
                <a:cubicBezTo>
                  <a:pt x="351312" y="261177"/>
                  <a:pt x="344882" y="254704"/>
                  <a:pt x="337533" y="248649"/>
                </a:cubicBezTo>
                <a:cubicBezTo>
                  <a:pt x="336767" y="247896"/>
                  <a:pt x="336002" y="247144"/>
                  <a:pt x="335214" y="246369"/>
                </a:cubicBezTo>
                <a:cubicBezTo>
                  <a:pt x="332597" y="243963"/>
                  <a:pt x="332597" y="243963"/>
                  <a:pt x="327085" y="242571"/>
                </a:cubicBezTo>
                <a:cubicBezTo>
                  <a:pt x="309670" y="236923"/>
                  <a:pt x="296614" y="222751"/>
                  <a:pt x="288785" y="207968"/>
                </a:cubicBezTo>
                <a:cubicBezTo>
                  <a:pt x="286673" y="202851"/>
                  <a:pt x="286348" y="197968"/>
                  <a:pt x="286373" y="192544"/>
                </a:cubicBezTo>
                <a:cubicBezTo>
                  <a:pt x="286377" y="191437"/>
                  <a:pt x="286381" y="190330"/>
                  <a:pt x="286385" y="189190"/>
                </a:cubicBezTo>
                <a:cubicBezTo>
                  <a:pt x="286881" y="178340"/>
                  <a:pt x="291581" y="171728"/>
                  <a:pt x="300042" y="164095"/>
                </a:cubicBezTo>
                <a:cubicBezTo>
                  <a:pt x="301386" y="162752"/>
                  <a:pt x="301386" y="162752"/>
                  <a:pt x="302757" y="161381"/>
                </a:cubicBezTo>
                <a:cubicBezTo>
                  <a:pt x="312597" y="152504"/>
                  <a:pt x="325185" y="152675"/>
                  <a:pt x="338411" y="152293"/>
                </a:cubicBezTo>
                <a:cubicBezTo>
                  <a:pt x="350839" y="152463"/>
                  <a:pt x="359094" y="154554"/>
                  <a:pt x="368482" y="161893"/>
                </a:cubicBezTo>
                <a:cubicBezTo>
                  <a:pt x="369609" y="163085"/>
                  <a:pt x="370737" y="164277"/>
                  <a:pt x="371899" y="165505"/>
                </a:cubicBezTo>
                <a:cubicBezTo>
                  <a:pt x="372962" y="166522"/>
                  <a:pt x="374026" y="167539"/>
                  <a:pt x="375121" y="168587"/>
                </a:cubicBezTo>
                <a:cubicBezTo>
                  <a:pt x="381050" y="176351"/>
                  <a:pt x="384520" y="184328"/>
                  <a:pt x="384982" y="193777"/>
                </a:cubicBezTo>
                <a:cubicBezTo>
                  <a:pt x="385464" y="201192"/>
                  <a:pt x="387638" y="207607"/>
                  <a:pt x="390352" y="214563"/>
                </a:cubicBezTo>
                <a:cubicBezTo>
                  <a:pt x="390934" y="216079"/>
                  <a:pt x="390934" y="216079"/>
                  <a:pt x="391529" y="217626"/>
                </a:cubicBezTo>
                <a:cubicBezTo>
                  <a:pt x="394082" y="223926"/>
                  <a:pt x="397412" y="228969"/>
                  <a:pt x="401579" y="234556"/>
                </a:cubicBezTo>
                <a:cubicBezTo>
                  <a:pt x="401579" y="235952"/>
                  <a:pt x="401579" y="237347"/>
                  <a:pt x="401579" y="238784"/>
                </a:cubicBezTo>
                <a:cubicBezTo>
                  <a:pt x="402884" y="239263"/>
                  <a:pt x="402884" y="239263"/>
                  <a:pt x="404215" y="239753"/>
                </a:cubicBezTo>
                <a:cubicBezTo>
                  <a:pt x="410099" y="242765"/>
                  <a:pt x="414395" y="246733"/>
                  <a:pt x="417811" y="251996"/>
                </a:cubicBezTo>
                <a:cubicBezTo>
                  <a:pt x="420462" y="255897"/>
                  <a:pt x="423407" y="258959"/>
                  <a:pt x="426866" y="262300"/>
                </a:cubicBezTo>
                <a:cubicBezTo>
                  <a:pt x="435101" y="270407"/>
                  <a:pt x="442641" y="278936"/>
                  <a:pt x="450097" y="287628"/>
                </a:cubicBezTo>
                <a:cubicBezTo>
                  <a:pt x="453081" y="291117"/>
                  <a:pt x="453081" y="291117"/>
                  <a:pt x="457425" y="293920"/>
                </a:cubicBezTo>
                <a:cubicBezTo>
                  <a:pt x="458585" y="294792"/>
                  <a:pt x="459745" y="295664"/>
                  <a:pt x="460940" y="296562"/>
                </a:cubicBezTo>
                <a:cubicBezTo>
                  <a:pt x="460940" y="297957"/>
                  <a:pt x="460940" y="299352"/>
                  <a:pt x="460940" y="300790"/>
                </a:cubicBezTo>
                <a:cubicBezTo>
                  <a:pt x="465063" y="302782"/>
                  <a:pt x="468862" y="304133"/>
                  <a:pt x="473437" y="305018"/>
                </a:cubicBezTo>
                <a:cubicBezTo>
                  <a:pt x="473437" y="305947"/>
                  <a:pt x="473437" y="306877"/>
                  <a:pt x="473437" y="307836"/>
                </a:cubicBezTo>
                <a:cubicBezTo>
                  <a:pt x="475581" y="308519"/>
                  <a:pt x="477730" y="309193"/>
                  <a:pt x="479881" y="309862"/>
                </a:cubicBezTo>
                <a:cubicBezTo>
                  <a:pt x="481077" y="310237"/>
                  <a:pt x="482273" y="310614"/>
                  <a:pt x="483505" y="311001"/>
                </a:cubicBezTo>
                <a:cubicBezTo>
                  <a:pt x="505448" y="316843"/>
                  <a:pt x="527690" y="314359"/>
                  <a:pt x="548419" y="306427"/>
                </a:cubicBezTo>
                <a:cubicBezTo>
                  <a:pt x="549548" y="305998"/>
                  <a:pt x="550678" y="305569"/>
                  <a:pt x="551842" y="305127"/>
                </a:cubicBezTo>
                <a:cubicBezTo>
                  <a:pt x="555376" y="303227"/>
                  <a:pt x="557584" y="300980"/>
                  <a:pt x="560232" y="298148"/>
                </a:cubicBezTo>
                <a:cubicBezTo>
                  <a:pt x="561137" y="297192"/>
                  <a:pt x="562041" y="296236"/>
                  <a:pt x="562972" y="295252"/>
                </a:cubicBezTo>
                <a:cubicBezTo>
                  <a:pt x="564755" y="293274"/>
                  <a:pt x="566459" y="291237"/>
                  <a:pt x="568086" y="289152"/>
                </a:cubicBezTo>
                <a:cubicBezTo>
                  <a:pt x="568813" y="288342"/>
                  <a:pt x="569539" y="287532"/>
                  <a:pt x="570289" y="286697"/>
                </a:cubicBezTo>
                <a:cubicBezTo>
                  <a:pt x="571319" y="286697"/>
                  <a:pt x="572350" y="286697"/>
                  <a:pt x="573413" y="286697"/>
                </a:cubicBezTo>
                <a:cubicBezTo>
                  <a:pt x="577408" y="276984"/>
                  <a:pt x="577197" y="267284"/>
                  <a:pt x="577220" y="257016"/>
                </a:cubicBezTo>
                <a:cubicBezTo>
                  <a:pt x="577227" y="255625"/>
                  <a:pt x="577227" y="255625"/>
                  <a:pt x="577235" y="254206"/>
                </a:cubicBezTo>
                <a:cubicBezTo>
                  <a:pt x="577257" y="237553"/>
                  <a:pt x="574604" y="222055"/>
                  <a:pt x="569443" y="206049"/>
                </a:cubicBezTo>
                <a:cubicBezTo>
                  <a:pt x="568726" y="203553"/>
                  <a:pt x="568726" y="203553"/>
                  <a:pt x="568726" y="200735"/>
                </a:cubicBezTo>
                <a:cubicBezTo>
                  <a:pt x="567695" y="200735"/>
                  <a:pt x="566664" y="200735"/>
                  <a:pt x="565602" y="200735"/>
                </a:cubicBezTo>
                <a:cubicBezTo>
                  <a:pt x="563274" y="195295"/>
                  <a:pt x="561092" y="190108"/>
                  <a:pt x="559549" y="184441"/>
                </a:cubicBezTo>
                <a:cubicBezTo>
                  <a:pt x="555572" y="173477"/>
                  <a:pt x="547043" y="167105"/>
                  <a:pt x="537484" y="159867"/>
                </a:cubicBezTo>
                <a:cubicBezTo>
                  <a:pt x="533579" y="156609"/>
                  <a:pt x="533579" y="156609"/>
                  <a:pt x="531235" y="154230"/>
                </a:cubicBezTo>
                <a:cubicBezTo>
                  <a:pt x="531235" y="153301"/>
                  <a:pt x="531235" y="152371"/>
                  <a:pt x="531235" y="151412"/>
                </a:cubicBezTo>
                <a:cubicBezTo>
                  <a:pt x="529689" y="150947"/>
                  <a:pt x="528143" y="150482"/>
                  <a:pt x="526549" y="150003"/>
                </a:cubicBezTo>
                <a:cubicBezTo>
                  <a:pt x="519904" y="137298"/>
                  <a:pt x="519105" y="120357"/>
                  <a:pt x="524304" y="107198"/>
                </a:cubicBezTo>
                <a:cubicBezTo>
                  <a:pt x="529443" y="97376"/>
                  <a:pt x="535781" y="90193"/>
                  <a:pt x="547052" y="85972"/>
                </a:cubicBezTo>
                <a:cubicBezTo>
                  <a:pt x="559924" y="81835"/>
                  <a:pt x="575221" y="79746"/>
                  <a:pt x="588460" y="83538"/>
                </a:cubicBezTo>
                <a:cubicBezTo>
                  <a:pt x="601643" y="89713"/>
                  <a:pt x="611835" y="99450"/>
                  <a:pt x="617152" y="111954"/>
                </a:cubicBezTo>
                <a:cubicBezTo>
                  <a:pt x="617935" y="116052"/>
                  <a:pt x="617954" y="120024"/>
                  <a:pt x="617884" y="124175"/>
                </a:cubicBezTo>
                <a:cubicBezTo>
                  <a:pt x="617896" y="125307"/>
                  <a:pt x="617906" y="126440"/>
                  <a:pt x="617917" y="127607"/>
                </a:cubicBezTo>
                <a:cubicBezTo>
                  <a:pt x="617963" y="132394"/>
                  <a:pt x="617938" y="137181"/>
                  <a:pt x="617919" y="141969"/>
                </a:cubicBezTo>
                <a:cubicBezTo>
                  <a:pt x="617899" y="160184"/>
                  <a:pt x="619422" y="175572"/>
                  <a:pt x="630625" y="191311"/>
                </a:cubicBezTo>
                <a:cubicBezTo>
                  <a:pt x="633753" y="195891"/>
                  <a:pt x="636431" y="199900"/>
                  <a:pt x="637850" y="205139"/>
                </a:cubicBezTo>
                <a:cubicBezTo>
                  <a:pt x="638615" y="209623"/>
                  <a:pt x="638615" y="209623"/>
                  <a:pt x="643708" y="212009"/>
                </a:cubicBezTo>
                <a:cubicBezTo>
                  <a:pt x="645380" y="214563"/>
                  <a:pt x="645380" y="214563"/>
                  <a:pt x="647027" y="217645"/>
                </a:cubicBezTo>
                <a:cubicBezTo>
                  <a:pt x="652549" y="227016"/>
                  <a:pt x="660443" y="235696"/>
                  <a:pt x="670264" y="241603"/>
                </a:cubicBezTo>
                <a:cubicBezTo>
                  <a:pt x="670264" y="242532"/>
                  <a:pt x="670264" y="243462"/>
                  <a:pt x="670264" y="244421"/>
                </a:cubicBezTo>
                <a:cubicBezTo>
                  <a:pt x="672036" y="244857"/>
                  <a:pt x="673808" y="245293"/>
                  <a:pt x="675634" y="245742"/>
                </a:cubicBezTo>
                <a:cubicBezTo>
                  <a:pt x="681199" y="247239"/>
                  <a:pt x="681199" y="247239"/>
                  <a:pt x="682761" y="248649"/>
                </a:cubicBezTo>
                <a:cubicBezTo>
                  <a:pt x="704487" y="252065"/>
                  <a:pt x="732606" y="256402"/>
                  <a:pt x="752092" y="245076"/>
                </a:cubicBezTo>
                <a:cubicBezTo>
                  <a:pt x="754252" y="243599"/>
                  <a:pt x="756372" y="242073"/>
                  <a:pt x="758433" y="240485"/>
                </a:cubicBezTo>
                <a:cubicBezTo>
                  <a:pt x="760867" y="238784"/>
                  <a:pt x="760867" y="238784"/>
                  <a:pt x="763991" y="238784"/>
                </a:cubicBezTo>
                <a:cubicBezTo>
                  <a:pt x="764647" y="237296"/>
                  <a:pt x="764647" y="237296"/>
                  <a:pt x="765315" y="235778"/>
                </a:cubicBezTo>
                <a:cubicBezTo>
                  <a:pt x="767151" y="231659"/>
                  <a:pt x="769030" y="227557"/>
                  <a:pt x="770923" y="223459"/>
                </a:cubicBezTo>
                <a:cubicBezTo>
                  <a:pt x="771608" y="221966"/>
                  <a:pt x="772292" y="220472"/>
                  <a:pt x="772998" y="218934"/>
                </a:cubicBezTo>
                <a:cubicBezTo>
                  <a:pt x="774429" y="215885"/>
                  <a:pt x="775968" y="212878"/>
                  <a:pt x="777562" y="209895"/>
                </a:cubicBezTo>
                <a:cubicBezTo>
                  <a:pt x="787607" y="185732"/>
                  <a:pt x="788559" y="149501"/>
                  <a:pt x="781175" y="124637"/>
                </a:cubicBezTo>
                <a:cubicBezTo>
                  <a:pt x="780144" y="124637"/>
                  <a:pt x="779113" y="124637"/>
                  <a:pt x="778051" y="124637"/>
                </a:cubicBezTo>
                <a:cubicBezTo>
                  <a:pt x="768501" y="110080"/>
                  <a:pt x="762898" y="96653"/>
                  <a:pt x="767116" y="79542"/>
                </a:cubicBezTo>
                <a:cubicBezTo>
                  <a:pt x="772286" y="69057"/>
                  <a:pt x="781456" y="58252"/>
                  <a:pt x="793379" y="54000"/>
                </a:cubicBezTo>
                <a:cubicBezTo>
                  <a:pt x="808369" y="49250"/>
                  <a:pt x="826058" y="49579"/>
                  <a:pt x="840688" y="55503"/>
                </a:cubicBezTo>
                <a:cubicBezTo>
                  <a:pt x="845183" y="57759"/>
                  <a:pt x="848037" y="60575"/>
                  <a:pt x="851470" y="64040"/>
                </a:cubicBezTo>
                <a:cubicBezTo>
                  <a:pt x="852721" y="65272"/>
                  <a:pt x="852721" y="65272"/>
                  <a:pt x="853997" y="66529"/>
                </a:cubicBezTo>
                <a:cubicBezTo>
                  <a:pt x="858396" y="71505"/>
                  <a:pt x="860490" y="76640"/>
                  <a:pt x="861488" y="82057"/>
                </a:cubicBezTo>
                <a:lnTo>
                  <a:pt x="861937" y="90492"/>
                </a:lnTo>
                <a:lnTo>
                  <a:pt x="863826" y="100715"/>
                </a:lnTo>
                <a:cubicBezTo>
                  <a:pt x="862141" y="107853"/>
                  <a:pt x="859866" y="114857"/>
                  <a:pt x="857577" y="121853"/>
                </a:cubicBezTo>
                <a:cubicBezTo>
                  <a:pt x="857062" y="121853"/>
                  <a:pt x="856547" y="121853"/>
                  <a:pt x="856015" y="121853"/>
                </a:cubicBezTo>
                <a:cubicBezTo>
                  <a:pt x="855731" y="120401"/>
                  <a:pt x="855731" y="120401"/>
                  <a:pt x="855442" y="118919"/>
                </a:cubicBezTo>
                <a:lnTo>
                  <a:pt x="855417" y="118798"/>
                </a:lnTo>
                <a:lnTo>
                  <a:pt x="856157" y="124637"/>
                </a:lnTo>
                <a:lnTo>
                  <a:pt x="850623" y="134701"/>
                </a:lnTo>
                <a:lnTo>
                  <a:pt x="851325" y="135968"/>
                </a:lnTo>
                <a:cubicBezTo>
                  <a:pt x="850851" y="137246"/>
                  <a:pt x="850376" y="138525"/>
                  <a:pt x="849886" y="139843"/>
                </a:cubicBezTo>
                <a:cubicBezTo>
                  <a:pt x="848171" y="144505"/>
                  <a:pt x="847798" y="148002"/>
                  <a:pt x="847786" y="152889"/>
                </a:cubicBezTo>
                <a:cubicBezTo>
                  <a:pt x="847779" y="154500"/>
                  <a:pt x="847773" y="156109"/>
                  <a:pt x="847767" y="157768"/>
                </a:cubicBezTo>
                <a:cubicBezTo>
                  <a:pt x="847782" y="159468"/>
                  <a:pt x="847796" y="161167"/>
                  <a:pt x="847810" y="162919"/>
                </a:cubicBezTo>
                <a:cubicBezTo>
                  <a:pt x="847821" y="165546"/>
                  <a:pt x="847821" y="165546"/>
                  <a:pt x="847832" y="168227"/>
                </a:cubicBezTo>
                <a:cubicBezTo>
                  <a:pt x="847980" y="181934"/>
                  <a:pt x="849003" y="195419"/>
                  <a:pt x="850903" y="209013"/>
                </a:cubicBezTo>
                <a:lnTo>
                  <a:pt x="852880" y="224692"/>
                </a:lnTo>
                <a:lnTo>
                  <a:pt x="854595" y="224692"/>
                </a:lnTo>
                <a:cubicBezTo>
                  <a:pt x="855086" y="225542"/>
                  <a:pt x="855577" y="226392"/>
                  <a:pt x="856083" y="227268"/>
                </a:cubicBezTo>
                <a:cubicBezTo>
                  <a:pt x="862358" y="237839"/>
                  <a:pt x="866924" y="242785"/>
                  <a:pt x="879588" y="247239"/>
                </a:cubicBezTo>
                <a:cubicBezTo>
                  <a:pt x="881642" y="248025"/>
                  <a:pt x="883692" y="248817"/>
                  <a:pt x="885739" y="249618"/>
                </a:cubicBezTo>
                <a:cubicBezTo>
                  <a:pt x="887318" y="250227"/>
                  <a:pt x="888897" y="250838"/>
                  <a:pt x="890523" y="251467"/>
                </a:cubicBezTo>
                <a:cubicBezTo>
                  <a:pt x="890523" y="252397"/>
                  <a:pt x="890523" y="253327"/>
                  <a:pt x="890523" y="254285"/>
                </a:cubicBezTo>
                <a:cubicBezTo>
                  <a:pt x="900347" y="257061"/>
                  <a:pt x="910127" y="259425"/>
                  <a:pt x="920203" y="261332"/>
                </a:cubicBezTo>
                <a:cubicBezTo>
                  <a:pt x="920203" y="261796"/>
                  <a:pt x="920203" y="262262"/>
                  <a:pt x="920203" y="262741"/>
                </a:cubicBezTo>
                <a:cubicBezTo>
                  <a:pt x="917111" y="262741"/>
                  <a:pt x="914018" y="262741"/>
                  <a:pt x="910831" y="262741"/>
                </a:cubicBezTo>
                <a:lnTo>
                  <a:pt x="910831" y="262864"/>
                </a:lnTo>
                <a:lnTo>
                  <a:pt x="927993" y="264177"/>
                </a:lnTo>
                <a:lnTo>
                  <a:pt x="939273" y="265285"/>
                </a:lnTo>
                <a:lnTo>
                  <a:pt x="940456" y="265191"/>
                </a:lnTo>
                <a:cubicBezTo>
                  <a:pt x="962552" y="263054"/>
                  <a:pt x="974979" y="255295"/>
                  <a:pt x="991622" y="242329"/>
                </a:cubicBezTo>
                <a:lnTo>
                  <a:pt x="1000803" y="236505"/>
                </a:lnTo>
                <a:lnTo>
                  <a:pt x="999806" y="236055"/>
                </a:lnTo>
                <a:cubicBezTo>
                  <a:pt x="1000902" y="234997"/>
                  <a:pt x="1001997" y="233941"/>
                  <a:pt x="1003126" y="232851"/>
                </a:cubicBezTo>
                <a:cubicBezTo>
                  <a:pt x="1012364" y="223880"/>
                  <a:pt x="1021184" y="214752"/>
                  <a:pt x="1029487" y="205052"/>
                </a:cubicBezTo>
                <a:lnTo>
                  <a:pt x="1029872" y="206442"/>
                </a:lnTo>
                <a:lnTo>
                  <a:pt x="1031614" y="203719"/>
                </a:lnTo>
                <a:cubicBezTo>
                  <a:pt x="1033221" y="199204"/>
                  <a:pt x="1035713" y="196017"/>
                  <a:pt x="1038924" y="192280"/>
                </a:cubicBezTo>
                <a:cubicBezTo>
                  <a:pt x="1039956" y="191815"/>
                  <a:pt x="1040987" y="191349"/>
                  <a:pt x="1042049" y="190870"/>
                </a:cubicBezTo>
                <a:cubicBezTo>
                  <a:pt x="1043161" y="188473"/>
                  <a:pt x="1043161" y="188473"/>
                  <a:pt x="1044294" y="186026"/>
                </a:cubicBezTo>
                <a:cubicBezTo>
                  <a:pt x="1046735" y="181006"/>
                  <a:pt x="1046735" y="181006"/>
                  <a:pt x="1051422" y="178188"/>
                </a:cubicBezTo>
                <a:cubicBezTo>
                  <a:pt x="1052553" y="175286"/>
                  <a:pt x="1052553" y="175286"/>
                  <a:pt x="1052984" y="172551"/>
                </a:cubicBezTo>
                <a:cubicBezTo>
                  <a:pt x="1054014" y="172551"/>
                  <a:pt x="1055046" y="172551"/>
                  <a:pt x="1056108" y="172551"/>
                </a:cubicBezTo>
                <a:cubicBezTo>
                  <a:pt x="1057139" y="169295"/>
                  <a:pt x="1058170" y="166040"/>
                  <a:pt x="1059232" y="162686"/>
                </a:cubicBezTo>
                <a:cubicBezTo>
                  <a:pt x="1060263" y="162686"/>
                  <a:pt x="1061295" y="162686"/>
                  <a:pt x="1062357" y="162686"/>
                </a:cubicBezTo>
                <a:cubicBezTo>
                  <a:pt x="1062755" y="161484"/>
                  <a:pt x="1062755" y="161484"/>
                  <a:pt x="1063162" y="160258"/>
                </a:cubicBezTo>
                <a:cubicBezTo>
                  <a:pt x="1065716" y="152917"/>
                  <a:pt x="1068813" y="146686"/>
                  <a:pt x="1073292" y="140138"/>
                </a:cubicBezTo>
                <a:cubicBezTo>
                  <a:pt x="1074322" y="140138"/>
                  <a:pt x="1075353" y="140138"/>
                  <a:pt x="1076415" y="140138"/>
                </a:cubicBezTo>
                <a:cubicBezTo>
                  <a:pt x="1079808" y="132748"/>
                  <a:pt x="1082509" y="125160"/>
                  <a:pt x="1085294" y="117569"/>
                </a:cubicBezTo>
                <a:cubicBezTo>
                  <a:pt x="1085972" y="116181"/>
                  <a:pt x="1086651" y="114793"/>
                  <a:pt x="1087350" y="113363"/>
                </a:cubicBezTo>
                <a:cubicBezTo>
                  <a:pt x="1089671" y="112666"/>
                  <a:pt x="1089671" y="112666"/>
                  <a:pt x="1092037" y="111954"/>
                </a:cubicBezTo>
                <a:cubicBezTo>
                  <a:pt x="1092230" y="110879"/>
                  <a:pt x="1092423" y="109803"/>
                  <a:pt x="1092623" y="108695"/>
                </a:cubicBezTo>
                <a:cubicBezTo>
                  <a:pt x="1093599" y="104908"/>
                  <a:pt x="1093599" y="104908"/>
                  <a:pt x="1096723" y="100680"/>
                </a:cubicBezTo>
                <a:cubicBezTo>
                  <a:pt x="1097207" y="99140"/>
                  <a:pt x="1097689" y="97599"/>
                  <a:pt x="1098188" y="96013"/>
                </a:cubicBezTo>
                <a:cubicBezTo>
                  <a:pt x="1099847" y="90815"/>
                  <a:pt x="1099847" y="90815"/>
                  <a:pt x="1102288" y="87029"/>
                </a:cubicBezTo>
                <a:cubicBezTo>
                  <a:pt x="1106061" y="79186"/>
                  <a:pt x="1107564" y="69424"/>
                  <a:pt x="1104534" y="61222"/>
                </a:cubicBezTo>
                <a:cubicBezTo>
                  <a:pt x="1104409" y="59341"/>
                  <a:pt x="1104366" y="57454"/>
                  <a:pt x="1104381" y="55569"/>
                </a:cubicBezTo>
                <a:cubicBezTo>
                  <a:pt x="1104386" y="54501"/>
                  <a:pt x="1104391" y="53434"/>
                  <a:pt x="1104397" y="52335"/>
                </a:cubicBezTo>
                <a:cubicBezTo>
                  <a:pt x="1104410" y="51228"/>
                  <a:pt x="1104423" y="50120"/>
                  <a:pt x="1104436" y="48979"/>
                </a:cubicBezTo>
                <a:cubicBezTo>
                  <a:pt x="1104443" y="47856"/>
                  <a:pt x="1104451" y="46733"/>
                  <a:pt x="1104457" y="45575"/>
                </a:cubicBezTo>
                <a:cubicBezTo>
                  <a:pt x="1104476" y="42805"/>
                  <a:pt x="1104504" y="40035"/>
                  <a:pt x="1104534" y="37265"/>
                </a:cubicBezTo>
                <a:cubicBezTo>
                  <a:pt x="1105565" y="37265"/>
                  <a:pt x="1106596" y="37265"/>
                  <a:pt x="1107658" y="37265"/>
                </a:cubicBezTo>
                <a:cubicBezTo>
                  <a:pt x="1107561" y="34562"/>
                  <a:pt x="1107561" y="34562"/>
                  <a:pt x="1107463" y="31805"/>
                </a:cubicBezTo>
                <a:cubicBezTo>
                  <a:pt x="1107353" y="28733"/>
                  <a:pt x="1107353" y="28733"/>
                  <a:pt x="1107658" y="25991"/>
                </a:cubicBezTo>
                <a:cubicBezTo>
                  <a:pt x="1108689" y="25062"/>
                  <a:pt x="1109720" y="24131"/>
                  <a:pt x="1110782" y="23173"/>
                </a:cubicBezTo>
                <a:cubicBezTo>
                  <a:pt x="1111104" y="22156"/>
                  <a:pt x="1111427" y="21138"/>
                  <a:pt x="1111759" y="20091"/>
                </a:cubicBezTo>
                <a:cubicBezTo>
                  <a:pt x="1116393" y="11539"/>
                  <a:pt x="1124927" y="6390"/>
                  <a:pt x="1134507" y="2828"/>
                </a:cubicBezTo>
                <a:cubicBezTo>
                  <a:pt x="1141389" y="825"/>
                  <a:pt x="1148262" y="-204"/>
                  <a:pt x="1155019" y="35"/>
                </a:cubicBezTo>
                <a:close/>
              </a:path>
            </a:pathLst>
          </a:custGeom>
          <a:solidFill>
            <a:schemeClr val="accent3"/>
          </a:solidFill>
          <a:ln w="2232" cap="flat">
            <a:noFill/>
            <a:prstDash val="solid"/>
            <a:miter/>
          </a:ln>
          <a:effectLst>
            <a:innerShdw blurRad="63500" dist="190500" dir="8100000">
              <a:schemeClr val="accent3">
                <a:lumMod val="75000"/>
                <a:alpha val="50000"/>
              </a:schemeClr>
            </a:innerShdw>
          </a:effectLst>
        </p:spPr>
        <p:txBody>
          <a:bodyPr wrap="squar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141" name="Oval 9140">
            <a:extLst>
              <a:ext uri="{FF2B5EF4-FFF2-40B4-BE49-F238E27FC236}">
                <a16:creationId xmlns:a16="http://schemas.microsoft.com/office/drawing/2014/main" id="{E6C45A07-2F96-C0ED-F838-523CB887C7C5}"/>
              </a:ext>
            </a:extLst>
          </p:cNvPr>
          <p:cNvSpPr/>
          <p:nvPr/>
        </p:nvSpPr>
        <p:spPr>
          <a:xfrm>
            <a:off x="4551183" y="3226737"/>
            <a:ext cx="96793" cy="96793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142" name="Oval 9141">
            <a:extLst>
              <a:ext uri="{FF2B5EF4-FFF2-40B4-BE49-F238E27FC236}">
                <a16:creationId xmlns:a16="http://schemas.microsoft.com/office/drawing/2014/main" id="{F2CACAFE-321F-C395-C1A8-21E5A11A9026}"/>
              </a:ext>
            </a:extLst>
          </p:cNvPr>
          <p:cNvSpPr/>
          <p:nvPr/>
        </p:nvSpPr>
        <p:spPr>
          <a:xfrm>
            <a:off x="4680395" y="3311489"/>
            <a:ext cx="96793" cy="96793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143" name="Oval 9142">
            <a:extLst>
              <a:ext uri="{FF2B5EF4-FFF2-40B4-BE49-F238E27FC236}">
                <a16:creationId xmlns:a16="http://schemas.microsoft.com/office/drawing/2014/main" id="{AFA5BC14-E586-2690-8311-C9527E9FAC07}"/>
              </a:ext>
            </a:extLst>
          </p:cNvPr>
          <p:cNvSpPr/>
          <p:nvPr/>
        </p:nvSpPr>
        <p:spPr>
          <a:xfrm>
            <a:off x="4586612" y="3469181"/>
            <a:ext cx="75769" cy="75769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144" name="Oval 9143">
            <a:extLst>
              <a:ext uri="{FF2B5EF4-FFF2-40B4-BE49-F238E27FC236}">
                <a16:creationId xmlns:a16="http://schemas.microsoft.com/office/drawing/2014/main" id="{0B1DE5E5-31C8-9EBD-9E2A-394E70A46439}"/>
              </a:ext>
            </a:extLst>
          </p:cNvPr>
          <p:cNvSpPr/>
          <p:nvPr/>
        </p:nvSpPr>
        <p:spPr>
          <a:xfrm>
            <a:off x="4788765" y="3451814"/>
            <a:ext cx="96793" cy="96793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145" name="Oval 9144">
            <a:extLst>
              <a:ext uri="{FF2B5EF4-FFF2-40B4-BE49-F238E27FC236}">
                <a16:creationId xmlns:a16="http://schemas.microsoft.com/office/drawing/2014/main" id="{E9894720-DFA3-11C5-E521-1ECE1B1473EA}"/>
              </a:ext>
            </a:extLst>
          </p:cNvPr>
          <p:cNvSpPr/>
          <p:nvPr/>
        </p:nvSpPr>
        <p:spPr>
          <a:xfrm>
            <a:off x="4820025" y="3250356"/>
            <a:ext cx="65532" cy="65532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146" name="Free-form: Shape 9145">
            <a:extLst>
              <a:ext uri="{FF2B5EF4-FFF2-40B4-BE49-F238E27FC236}">
                <a16:creationId xmlns:a16="http://schemas.microsoft.com/office/drawing/2014/main" id="{98EE9B5A-7050-42C0-E5BF-A1B2F1D2C7F9}"/>
              </a:ext>
            </a:extLst>
          </p:cNvPr>
          <p:cNvSpPr/>
          <p:nvPr/>
        </p:nvSpPr>
        <p:spPr>
          <a:xfrm>
            <a:off x="7597039" y="3760908"/>
            <a:ext cx="744826" cy="151965"/>
          </a:xfrm>
          <a:custGeom>
            <a:avLst/>
            <a:gdLst>
              <a:gd name="csX0" fmla="*/ 0 w 1020019"/>
              <a:gd name="csY0" fmla="*/ 0 h 228600"/>
              <a:gd name="csX1" fmla="*/ 892656 w 1020019"/>
              <a:gd name="csY1" fmla="*/ 0 h 228600"/>
              <a:gd name="csX2" fmla="*/ 1020019 w 1020019"/>
              <a:gd name="csY2" fmla="*/ 228600 h 228600"/>
              <a:gd name="csX3" fmla="*/ 65128 w 1020019"/>
              <a:gd name="csY3" fmla="*/ 228600 h 228600"/>
              <a:gd name="csX4" fmla="*/ 0 w 1020019"/>
              <a:gd name="csY4" fmla="*/ 0 h 22860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020019" h="228600">
                <a:moveTo>
                  <a:pt x="0" y="0"/>
                </a:moveTo>
                <a:lnTo>
                  <a:pt x="892656" y="0"/>
                </a:lnTo>
                <a:lnTo>
                  <a:pt x="1020019" y="228600"/>
                </a:lnTo>
                <a:lnTo>
                  <a:pt x="65128" y="2286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147" name="Free-form: Shape 9146">
            <a:extLst>
              <a:ext uri="{FF2B5EF4-FFF2-40B4-BE49-F238E27FC236}">
                <a16:creationId xmlns:a16="http://schemas.microsoft.com/office/drawing/2014/main" id="{4A435816-83AD-3451-3981-F15BBA0D7BDA}"/>
              </a:ext>
            </a:extLst>
          </p:cNvPr>
          <p:cNvSpPr/>
          <p:nvPr/>
        </p:nvSpPr>
        <p:spPr>
          <a:xfrm>
            <a:off x="7688878" y="4075784"/>
            <a:ext cx="856070" cy="205101"/>
          </a:xfrm>
          <a:custGeom>
            <a:avLst/>
            <a:gdLst>
              <a:gd name="csX0" fmla="*/ 0 w 1020019"/>
              <a:gd name="csY0" fmla="*/ 0 h 228600"/>
              <a:gd name="csX1" fmla="*/ 892656 w 1020019"/>
              <a:gd name="csY1" fmla="*/ 0 h 228600"/>
              <a:gd name="csX2" fmla="*/ 1020019 w 1020019"/>
              <a:gd name="csY2" fmla="*/ 228600 h 228600"/>
              <a:gd name="csX3" fmla="*/ 65128 w 1020019"/>
              <a:gd name="csY3" fmla="*/ 228600 h 228600"/>
              <a:gd name="csX4" fmla="*/ 0 w 1020019"/>
              <a:gd name="csY4" fmla="*/ 0 h 228600"/>
              <a:gd name="csX0" fmla="*/ 0 w 1020019"/>
              <a:gd name="csY0" fmla="*/ 0 h 230815"/>
              <a:gd name="csX1" fmla="*/ 892656 w 1020019"/>
              <a:gd name="csY1" fmla="*/ 0 h 230815"/>
              <a:gd name="csX2" fmla="*/ 1020019 w 1020019"/>
              <a:gd name="csY2" fmla="*/ 228600 h 230815"/>
              <a:gd name="csX3" fmla="*/ 67512 w 1020019"/>
              <a:gd name="csY3" fmla="*/ 230815 h 230815"/>
              <a:gd name="csX4" fmla="*/ 0 w 1020019"/>
              <a:gd name="csY4" fmla="*/ 0 h 230815"/>
              <a:gd name="csX0" fmla="*/ 0 w 1036702"/>
              <a:gd name="csY0" fmla="*/ 0 h 230815"/>
              <a:gd name="csX1" fmla="*/ 892656 w 1036702"/>
              <a:gd name="csY1" fmla="*/ 0 h 230815"/>
              <a:gd name="csX2" fmla="*/ 1036702 w 1036702"/>
              <a:gd name="csY2" fmla="*/ 226385 h 230815"/>
              <a:gd name="csX3" fmla="*/ 67512 w 1036702"/>
              <a:gd name="csY3" fmla="*/ 230815 h 230815"/>
              <a:gd name="csX4" fmla="*/ 0 w 1036702"/>
              <a:gd name="csY4" fmla="*/ 0 h 23081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036702" h="230815">
                <a:moveTo>
                  <a:pt x="0" y="0"/>
                </a:moveTo>
                <a:lnTo>
                  <a:pt x="892656" y="0"/>
                </a:lnTo>
                <a:lnTo>
                  <a:pt x="1036702" y="226385"/>
                </a:lnTo>
                <a:lnTo>
                  <a:pt x="67512" y="23081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148" name="Oval 9147">
            <a:extLst>
              <a:ext uri="{FF2B5EF4-FFF2-40B4-BE49-F238E27FC236}">
                <a16:creationId xmlns:a16="http://schemas.microsoft.com/office/drawing/2014/main" id="{EF189969-CEF3-9A25-8650-6B013DDD001D}"/>
              </a:ext>
            </a:extLst>
          </p:cNvPr>
          <p:cNvSpPr/>
          <p:nvPr/>
        </p:nvSpPr>
        <p:spPr>
          <a:xfrm>
            <a:off x="7175594" y="5714986"/>
            <a:ext cx="717698" cy="104135"/>
          </a:xfrm>
          <a:prstGeom prst="ellipse">
            <a:avLst/>
          </a:prstGeom>
          <a:solidFill>
            <a:schemeClr val="tx1">
              <a:alpha val="6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149" name="Oval 9148">
            <a:extLst>
              <a:ext uri="{FF2B5EF4-FFF2-40B4-BE49-F238E27FC236}">
                <a16:creationId xmlns:a16="http://schemas.microsoft.com/office/drawing/2014/main" id="{FA385DE6-B487-E16B-D710-12765D886A5F}"/>
              </a:ext>
            </a:extLst>
          </p:cNvPr>
          <p:cNvSpPr/>
          <p:nvPr/>
        </p:nvSpPr>
        <p:spPr>
          <a:xfrm>
            <a:off x="2426342" y="5714986"/>
            <a:ext cx="717698" cy="104135"/>
          </a:xfrm>
          <a:prstGeom prst="ellipse">
            <a:avLst/>
          </a:prstGeom>
          <a:solidFill>
            <a:schemeClr val="tx1">
              <a:alpha val="6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150" name="Oval 9149">
            <a:extLst>
              <a:ext uri="{FF2B5EF4-FFF2-40B4-BE49-F238E27FC236}">
                <a16:creationId xmlns:a16="http://schemas.microsoft.com/office/drawing/2014/main" id="{36793D7A-2D80-9482-4AD5-3D48388DBB8B}"/>
              </a:ext>
            </a:extLst>
          </p:cNvPr>
          <p:cNvSpPr/>
          <p:nvPr/>
        </p:nvSpPr>
        <p:spPr>
          <a:xfrm>
            <a:off x="10689917" y="5714986"/>
            <a:ext cx="717698" cy="104135"/>
          </a:xfrm>
          <a:prstGeom prst="ellipse">
            <a:avLst/>
          </a:prstGeom>
          <a:solidFill>
            <a:schemeClr val="tx1">
              <a:alpha val="6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151" name="Oval 9150">
            <a:extLst>
              <a:ext uri="{FF2B5EF4-FFF2-40B4-BE49-F238E27FC236}">
                <a16:creationId xmlns:a16="http://schemas.microsoft.com/office/drawing/2014/main" id="{B0CE8CC4-1D52-8717-65C3-322626384ACA}"/>
              </a:ext>
            </a:extLst>
          </p:cNvPr>
          <p:cNvSpPr/>
          <p:nvPr/>
        </p:nvSpPr>
        <p:spPr>
          <a:xfrm>
            <a:off x="3612119" y="5714986"/>
            <a:ext cx="717698" cy="104135"/>
          </a:xfrm>
          <a:prstGeom prst="ellipse">
            <a:avLst/>
          </a:prstGeom>
          <a:solidFill>
            <a:schemeClr val="tx1">
              <a:alpha val="6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152" name="Free-form: Shape 9151">
            <a:extLst>
              <a:ext uri="{FF2B5EF4-FFF2-40B4-BE49-F238E27FC236}">
                <a16:creationId xmlns:a16="http://schemas.microsoft.com/office/drawing/2014/main" id="{798C30AD-E39B-4CF9-0053-685B12DF4975}"/>
              </a:ext>
            </a:extLst>
          </p:cNvPr>
          <p:cNvSpPr/>
          <p:nvPr/>
        </p:nvSpPr>
        <p:spPr>
          <a:xfrm>
            <a:off x="6557036" y="4949924"/>
            <a:ext cx="17183" cy="1817"/>
          </a:xfrm>
          <a:custGeom>
            <a:avLst/>
            <a:gdLst>
              <a:gd name="csX0" fmla="*/ 0 w 27674"/>
              <a:gd name="csY0" fmla="*/ 2915 h 2925"/>
              <a:gd name="csX1" fmla="*/ 27675 w 27674"/>
              <a:gd name="csY1" fmla="*/ 1550 h 2925"/>
              <a:gd name="csX2" fmla="*/ 0 w 27674"/>
              <a:gd name="csY2" fmla="*/ 2915 h 292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27674" h="2925">
                <a:moveTo>
                  <a:pt x="0" y="2915"/>
                </a:moveTo>
                <a:cubicBezTo>
                  <a:pt x="8211" y="-1939"/>
                  <a:pt x="17625" y="498"/>
                  <a:pt x="27675" y="1550"/>
                </a:cubicBezTo>
                <a:cubicBezTo>
                  <a:pt x="19225" y="2593"/>
                  <a:pt x="10029" y="2999"/>
                  <a:pt x="0" y="2915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153" name="Free-form: Shape 9152">
            <a:extLst>
              <a:ext uri="{FF2B5EF4-FFF2-40B4-BE49-F238E27FC236}">
                <a16:creationId xmlns:a16="http://schemas.microsoft.com/office/drawing/2014/main" id="{F857EAD1-D243-1B0A-D4CA-9C2CABC73BF0}"/>
              </a:ext>
            </a:extLst>
          </p:cNvPr>
          <p:cNvSpPr/>
          <p:nvPr/>
        </p:nvSpPr>
        <p:spPr>
          <a:xfrm>
            <a:off x="6509732" y="4950948"/>
            <a:ext cx="11179" cy="700"/>
          </a:xfrm>
          <a:custGeom>
            <a:avLst/>
            <a:gdLst>
              <a:gd name="csX0" fmla="*/ 0 w 18003"/>
              <a:gd name="csY0" fmla="*/ 1050 h 1128"/>
              <a:gd name="csX1" fmla="*/ 18004 w 18003"/>
              <a:gd name="csY1" fmla="*/ 93 h 1128"/>
              <a:gd name="csX2" fmla="*/ 0 w 18003"/>
              <a:gd name="csY2" fmla="*/ 1050 h 112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8003" h="1128">
                <a:moveTo>
                  <a:pt x="0" y="1050"/>
                </a:moveTo>
                <a:cubicBezTo>
                  <a:pt x="5276" y="182"/>
                  <a:pt x="11306" y="-189"/>
                  <a:pt x="18004" y="93"/>
                </a:cubicBezTo>
                <a:cubicBezTo>
                  <a:pt x="12699" y="1013"/>
                  <a:pt x="6726" y="1280"/>
                  <a:pt x="0" y="1050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154" name="Free-form: Shape 9153">
            <a:extLst>
              <a:ext uri="{FF2B5EF4-FFF2-40B4-BE49-F238E27FC236}">
                <a16:creationId xmlns:a16="http://schemas.microsoft.com/office/drawing/2014/main" id="{ACD60CCF-AE4C-A67B-B1A7-6D09A1B50307}"/>
              </a:ext>
            </a:extLst>
          </p:cNvPr>
          <p:cNvSpPr/>
          <p:nvPr/>
        </p:nvSpPr>
        <p:spPr>
          <a:xfrm>
            <a:off x="6590699" y="4384148"/>
            <a:ext cx="5257" cy="4867"/>
          </a:xfrm>
          <a:custGeom>
            <a:avLst/>
            <a:gdLst>
              <a:gd name="csX0" fmla="*/ 473 w 8466"/>
              <a:gd name="csY0" fmla="*/ 7839 h 7838"/>
              <a:gd name="csX1" fmla="*/ 8466 w 8466"/>
              <a:gd name="csY1" fmla="*/ 61 h 7838"/>
              <a:gd name="csX2" fmla="*/ 473 w 8466"/>
              <a:gd name="csY2" fmla="*/ 7839 h 783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66" h="7838">
                <a:moveTo>
                  <a:pt x="473" y="7839"/>
                </a:moveTo>
                <a:cubicBezTo>
                  <a:pt x="-1298" y="1550"/>
                  <a:pt x="2020" y="-386"/>
                  <a:pt x="8466" y="61"/>
                </a:cubicBezTo>
                <a:cubicBezTo>
                  <a:pt x="6730" y="2845"/>
                  <a:pt x="4026" y="5401"/>
                  <a:pt x="473" y="7839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155" name="Free-form: Shape 9154">
            <a:extLst>
              <a:ext uri="{FF2B5EF4-FFF2-40B4-BE49-F238E27FC236}">
                <a16:creationId xmlns:a16="http://schemas.microsoft.com/office/drawing/2014/main" id="{5EA04E5C-E95B-BB91-2860-8BA5C21D1759}"/>
              </a:ext>
            </a:extLst>
          </p:cNvPr>
          <p:cNvSpPr/>
          <p:nvPr/>
        </p:nvSpPr>
        <p:spPr>
          <a:xfrm>
            <a:off x="6454703" y="4949434"/>
            <a:ext cx="5265" cy="618"/>
          </a:xfrm>
          <a:custGeom>
            <a:avLst/>
            <a:gdLst>
              <a:gd name="csX0" fmla="*/ 0 w 8480"/>
              <a:gd name="csY0" fmla="*/ 896 h 996"/>
              <a:gd name="csX1" fmla="*/ 8480 w 8480"/>
              <a:gd name="csY1" fmla="*/ 110 h 996"/>
              <a:gd name="csX2" fmla="*/ 0 w 8480"/>
              <a:gd name="csY2" fmla="*/ 896 h 99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80" h="996">
                <a:moveTo>
                  <a:pt x="0" y="896"/>
                </a:moveTo>
                <a:cubicBezTo>
                  <a:pt x="2285" y="115"/>
                  <a:pt x="5130" y="-182"/>
                  <a:pt x="8480" y="110"/>
                </a:cubicBezTo>
                <a:cubicBezTo>
                  <a:pt x="6177" y="927"/>
                  <a:pt x="3368" y="1153"/>
                  <a:pt x="0" y="896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156" name="Free-form: Shape 9155">
            <a:extLst>
              <a:ext uri="{FF2B5EF4-FFF2-40B4-BE49-F238E27FC236}">
                <a16:creationId xmlns:a16="http://schemas.microsoft.com/office/drawing/2014/main" id="{A263DDFF-55A4-8A5B-E05C-27E44D734339}"/>
              </a:ext>
            </a:extLst>
          </p:cNvPr>
          <p:cNvSpPr/>
          <p:nvPr/>
        </p:nvSpPr>
        <p:spPr>
          <a:xfrm>
            <a:off x="6741464" y="4922905"/>
            <a:ext cx="763" cy="4134"/>
          </a:xfrm>
          <a:custGeom>
            <a:avLst/>
            <a:gdLst>
              <a:gd name="csX0" fmla="*/ 132 w 1229"/>
              <a:gd name="csY0" fmla="*/ 6659 h 6658"/>
              <a:gd name="csX1" fmla="*/ 1107 w 1229"/>
              <a:gd name="csY1" fmla="*/ 0 h 6658"/>
              <a:gd name="csX2" fmla="*/ 132 w 1229"/>
              <a:gd name="csY2" fmla="*/ 6659 h 665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229" h="6658">
                <a:moveTo>
                  <a:pt x="132" y="6659"/>
                </a:moveTo>
                <a:cubicBezTo>
                  <a:pt x="-219" y="4616"/>
                  <a:pt x="139" y="2560"/>
                  <a:pt x="1107" y="0"/>
                </a:cubicBezTo>
                <a:cubicBezTo>
                  <a:pt x="1425" y="1879"/>
                  <a:pt x="1133" y="4263"/>
                  <a:pt x="132" y="6659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157" name="Free-form: Shape 9156">
            <a:extLst>
              <a:ext uri="{FF2B5EF4-FFF2-40B4-BE49-F238E27FC236}">
                <a16:creationId xmlns:a16="http://schemas.microsoft.com/office/drawing/2014/main" id="{F60D43C1-0768-90E6-F078-88F7B1E9EDBA}"/>
              </a:ext>
            </a:extLst>
          </p:cNvPr>
          <p:cNvSpPr/>
          <p:nvPr/>
        </p:nvSpPr>
        <p:spPr>
          <a:xfrm>
            <a:off x="6674268" y="4943182"/>
            <a:ext cx="2352" cy="847"/>
          </a:xfrm>
          <a:custGeom>
            <a:avLst/>
            <a:gdLst>
              <a:gd name="csX0" fmla="*/ 0 w 3788"/>
              <a:gd name="csY0" fmla="*/ 1364 h 1364"/>
              <a:gd name="csX1" fmla="*/ 3788 w 3788"/>
              <a:gd name="csY1" fmla="*/ 0 h 1364"/>
              <a:gd name="csX2" fmla="*/ 0 w 3788"/>
              <a:gd name="csY2" fmla="*/ 1364 h 136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788" h="1364">
                <a:moveTo>
                  <a:pt x="0" y="1364"/>
                </a:moveTo>
                <a:cubicBezTo>
                  <a:pt x="856" y="517"/>
                  <a:pt x="2126" y="39"/>
                  <a:pt x="3788" y="0"/>
                </a:cubicBezTo>
                <a:cubicBezTo>
                  <a:pt x="2925" y="870"/>
                  <a:pt x="1670" y="1303"/>
                  <a:pt x="0" y="1364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158" name="Free-form: Shape 9157">
            <a:extLst>
              <a:ext uri="{FF2B5EF4-FFF2-40B4-BE49-F238E27FC236}">
                <a16:creationId xmlns:a16="http://schemas.microsoft.com/office/drawing/2014/main" id="{289D43E8-E07D-92A0-91EB-FD07998328D3}"/>
              </a:ext>
            </a:extLst>
          </p:cNvPr>
          <p:cNvSpPr/>
          <p:nvPr/>
        </p:nvSpPr>
        <p:spPr>
          <a:xfrm>
            <a:off x="6402685" y="4946456"/>
            <a:ext cx="2478" cy="515"/>
          </a:xfrm>
          <a:custGeom>
            <a:avLst/>
            <a:gdLst>
              <a:gd name="csX0" fmla="*/ 0 w 3990"/>
              <a:gd name="csY0" fmla="*/ 719 h 829"/>
              <a:gd name="csX1" fmla="*/ 3990 w 3990"/>
              <a:gd name="csY1" fmla="*/ 119 h 829"/>
              <a:gd name="csX2" fmla="*/ 0 w 3990"/>
              <a:gd name="csY2" fmla="*/ 719 h 82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990" h="829">
                <a:moveTo>
                  <a:pt x="0" y="719"/>
                </a:moveTo>
                <a:cubicBezTo>
                  <a:pt x="982" y="66"/>
                  <a:pt x="2323" y="-163"/>
                  <a:pt x="3990" y="119"/>
                </a:cubicBezTo>
                <a:cubicBezTo>
                  <a:pt x="2998" y="800"/>
                  <a:pt x="1678" y="972"/>
                  <a:pt x="0" y="719"/>
                </a:cubicBezTo>
                <a:close/>
              </a:path>
            </a:pathLst>
          </a:custGeom>
          <a:solidFill>
            <a:srgbClr val="959DA0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159" name="Free-form: Shape 9158">
            <a:extLst>
              <a:ext uri="{FF2B5EF4-FFF2-40B4-BE49-F238E27FC236}">
                <a16:creationId xmlns:a16="http://schemas.microsoft.com/office/drawing/2014/main" id="{FBF7FCE8-640F-5841-6C03-C3E0A37647ED}"/>
              </a:ext>
            </a:extLst>
          </p:cNvPr>
          <p:cNvSpPr/>
          <p:nvPr/>
        </p:nvSpPr>
        <p:spPr>
          <a:xfrm>
            <a:off x="6613233" y="4949412"/>
            <a:ext cx="2417" cy="705"/>
          </a:xfrm>
          <a:custGeom>
            <a:avLst/>
            <a:gdLst>
              <a:gd name="csX0" fmla="*/ 0 w 3893"/>
              <a:gd name="csY0" fmla="*/ 1133 h 1135"/>
              <a:gd name="csX1" fmla="*/ 3893 w 3893"/>
              <a:gd name="csY1" fmla="*/ 7 h 1135"/>
              <a:gd name="csX2" fmla="*/ 0 w 3893"/>
              <a:gd name="csY2" fmla="*/ 1133 h 113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893" h="1135">
                <a:moveTo>
                  <a:pt x="0" y="1133"/>
                </a:moveTo>
                <a:cubicBezTo>
                  <a:pt x="902" y="349"/>
                  <a:pt x="2213" y="-60"/>
                  <a:pt x="3893" y="7"/>
                </a:cubicBezTo>
                <a:cubicBezTo>
                  <a:pt x="2978" y="825"/>
                  <a:pt x="1693" y="1167"/>
                  <a:pt x="0" y="1133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160" name="Free-form: Shape 9159">
            <a:extLst>
              <a:ext uri="{FF2B5EF4-FFF2-40B4-BE49-F238E27FC236}">
                <a16:creationId xmlns:a16="http://schemas.microsoft.com/office/drawing/2014/main" id="{A8EADD37-6629-5EE3-2F46-1B648B4D996E}"/>
              </a:ext>
            </a:extLst>
          </p:cNvPr>
          <p:cNvSpPr/>
          <p:nvPr/>
        </p:nvSpPr>
        <p:spPr>
          <a:xfrm>
            <a:off x="6521498" y="4418057"/>
            <a:ext cx="97564" cy="25665"/>
          </a:xfrm>
          <a:custGeom>
            <a:avLst/>
            <a:gdLst>
              <a:gd name="csX0" fmla="*/ 69625 w 157129"/>
              <a:gd name="csY0" fmla="*/ 0 h 41334"/>
              <a:gd name="csX1" fmla="*/ 119596 w 157129"/>
              <a:gd name="csY1" fmla="*/ 1945 h 41334"/>
              <a:gd name="csX2" fmla="*/ 150973 w 157129"/>
              <a:gd name="csY2" fmla="*/ 14889 h 41334"/>
              <a:gd name="csX3" fmla="*/ 151351 w 157129"/>
              <a:gd name="csY3" fmla="*/ 34058 h 41334"/>
              <a:gd name="csX4" fmla="*/ 133492 w 157129"/>
              <a:gd name="csY4" fmla="*/ 40697 h 41334"/>
              <a:gd name="csX5" fmla="*/ 106556 w 157129"/>
              <a:gd name="csY5" fmla="*/ 41092 h 41334"/>
              <a:gd name="csX6" fmla="*/ 13373 w 157129"/>
              <a:gd name="csY6" fmla="*/ 40708 h 41334"/>
              <a:gd name="csX7" fmla="*/ 1312 w 157129"/>
              <a:gd name="csY7" fmla="*/ 40191 h 41334"/>
              <a:gd name="csX8" fmla="*/ 3367 w 157129"/>
              <a:gd name="csY8" fmla="*/ 13162 h 41334"/>
              <a:gd name="csX9" fmla="*/ 20752 w 157129"/>
              <a:gd name="csY9" fmla="*/ 1879 h 41334"/>
              <a:gd name="csX10" fmla="*/ 52625 w 157129"/>
              <a:gd name="csY10" fmla="*/ 1332 h 41334"/>
              <a:gd name="csX11" fmla="*/ 69625 w 157129"/>
              <a:gd name="csY11" fmla="*/ 0 h 4133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157129" h="41334">
                <a:moveTo>
                  <a:pt x="69625" y="0"/>
                </a:moveTo>
                <a:cubicBezTo>
                  <a:pt x="87054" y="491"/>
                  <a:pt x="103407" y="373"/>
                  <a:pt x="119596" y="1945"/>
                </a:cubicBezTo>
                <a:cubicBezTo>
                  <a:pt x="131020" y="3055"/>
                  <a:pt x="141713" y="7767"/>
                  <a:pt x="150973" y="14889"/>
                </a:cubicBezTo>
                <a:cubicBezTo>
                  <a:pt x="158820" y="20925"/>
                  <a:pt x="159403" y="28236"/>
                  <a:pt x="151351" y="34058"/>
                </a:cubicBezTo>
                <a:cubicBezTo>
                  <a:pt x="146355" y="37671"/>
                  <a:pt x="139678" y="39910"/>
                  <a:pt x="133492" y="40697"/>
                </a:cubicBezTo>
                <a:cubicBezTo>
                  <a:pt x="124640" y="41824"/>
                  <a:pt x="115547" y="41120"/>
                  <a:pt x="106556" y="41092"/>
                </a:cubicBezTo>
                <a:cubicBezTo>
                  <a:pt x="75495" y="40996"/>
                  <a:pt x="44434" y="40872"/>
                  <a:pt x="13373" y="40708"/>
                </a:cubicBezTo>
                <a:cubicBezTo>
                  <a:pt x="9391" y="40687"/>
                  <a:pt x="5410" y="40374"/>
                  <a:pt x="1312" y="40191"/>
                </a:cubicBezTo>
                <a:cubicBezTo>
                  <a:pt x="-1416" y="30384"/>
                  <a:pt x="523" y="21512"/>
                  <a:pt x="3367" y="13162"/>
                </a:cubicBezTo>
                <a:cubicBezTo>
                  <a:pt x="5963" y="5538"/>
                  <a:pt x="12701" y="2077"/>
                  <a:pt x="20752" y="1879"/>
                </a:cubicBezTo>
                <a:cubicBezTo>
                  <a:pt x="31375" y="1617"/>
                  <a:pt x="42004" y="1647"/>
                  <a:pt x="52625" y="1332"/>
                </a:cubicBezTo>
                <a:cubicBezTo>
                  <a:pt x="57918" y="1176"/>
                  <a:pt x="63195" y="535"/>
                  <a:pt x="69625" y="0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161" name="Free-form: Shape 9160">
            <a:extLst>
              <a:ext uri="{FF2B5EF4-FFF2-40B4-BE49-F238E27FC236}">
                <a16:creationId xmlns:a16="http://schemas.microsoft.com/office/drawing/2014/main" id="{D781D39D-6B70-C4AE-E3C0-C9EBBB540DCB}"/>
              </a:ext>
            </a:extLst>
          </p:cNvPr>
          <p:cNvSpPr/>
          <p:nvPr/>
        </p:nvSpPr>
        <p:spPr>
          <a:xfrm>
            <a:off x="7518630" y="5259199"/>
            <a:ext cx="18902" cy="1998"/>
          </a:xfrm>
          <a:custGeom>
            <a:avLst/>
            <a:gdLst>
              <a:gd name="csX0" fmla="*/ 0 w 27674"/>
              <a:gd name="csY0" fmla="*/ 2915 h 2925"/>
              <a:gd name="csX1" fmla="*/ 27675 w 27674"/>
              <a:gd name="csY1" fmla="*/ 1550 h 2925"/>
              <a:gd name="csX2" fmla="*/ 0 w 27674"/>
              <a:gd name="csY2" fmla="*/ 2915 h 292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27674" h="2925">
                <a:moveTo>
                  <a:pt x="0" y="2915"/>
                </a:moveTo>
                <a:cubicBezTo>
                  <a:pt x="8211" y="-1939"/>
                  <a:pt x="17625" y="498"/>
                  <a:pt x="27675" y="1550"/>
                </a:cubicBezTo>
                <a:cubicBezTo>
                  <a:pt x="19225" y="2593"/>
                  <a:pt x="10029" y="2999"/>
                  <a:pt x="0" y="2915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162" name="Free-form: Shape 9161">
            <a:extLst>
              <a:ext uri="{FF2B5EF4-FFF2-40B4-BE49-F238E27FC236}">
                <a16:creationId xmlns:a16="http://schemas.microsoft.com/office/drawing/2014/main" id="{AF3329D6-82AB-175E-2147-3CCFF211C575}"/>
              </a:ext>
            </a:extLst>
          </p:cNvPr>
          <p:cNvSpPr/>
          <p:nvPr/>
        </p:nvSpPr>
        <p:spPr>
          <a:xfrm>
            <a:off x="7466595" y="5260325"/>
            <a:ext cx="12297" cy="770"/>
          </a:xfrm>
          <a:custGeom>
            <a:avLst/>
            <a:gdLst>
              <a:gd name="csX0" fmla="*/ 0 w 18003"/>
              <a:gd name="csY0" fmla="*/ 1050 h 1128"/>
              <a:gd name="csX1" fmla="*/ 18004 w 18003"/>
              <a:gd name="csY1" fmla="*/ 93 h 1128"/>
              <a:gd name="csX2" fmla="*/ 0 w 18003"/>
              <a:gd name="csY2" fmla="*/ 1050 h 112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8003" h="1128">
                <a:moveTo>
                  <a:pt x="0" y="1050"/>
                </a:moveTo>
                <a:cubicBezTo>
                  <a:pt x="5276" y="182"/>
                  <a:pt x="11306" y="-189"/>
                  <a:pt x="18004" y="93"/>
                </a:cubicBezTo>
                <a:cubicBezTo>
                  <a:pt x="12699" y="1013"/>
                  <a:pt x="6726" y="1280"/>
                  <a:pt x="0" y="1050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163" name="Free-form: Shape 9162">
            <a:extLst>
              <a:ext uri="{FF2B5EF4-FFF2-40B4-BE49-F238E27FC236}">
                <a16:creationId xmlns:a16="http://schemas.microsoft.com/office/drawing/2014/main" id="{F46C7968-64EF-B1D1-A75F-DF0FC2C3E92E}"/>
              </a:ext>
            </a:extLst>
          </p:cNvPr>
          <p:cNvSpPr/>
          <p:nvPr/>
        </p:nvSpPr>
        <p:spPr>
          <a:xfrm>
            <a:off x="7555659" y="4636845"/>
            <a:ext cx="5783" cy="5354"/>
          </a:xfrm>
          <a:custGeom>
            <a:avLst/>
            <a:gdLst>
              <a:gd name="csX0" fmla="*/ 473 w 8466"/>
              <a:gd name="csY0" fmla="*/ 7839 h 7838"/>
              <a:gd name="csX1" fmla="*/ 8466 w 8466"/>
              <a:gd name="csY1" fmla="*/ 61 h 7838"/>
              <a:gd name="csX2" fmla="*/ 473 w 8466"/>
              <a:gd name="csY2" fmla="*/ 7839 h 783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66" h="7838">
                <a:moveTo>
                  <a:pt x="473" y="7839"/>
                </a:moveTo>
                <a:cubicBezTo>
                  <a:pt x="-1298" y="1550"/>
                  <a:pt x="2020" y="-386"/>
                  <a:pt x="8466" y="61"/>
                </a:cubicBezTo>
                <a:cubicBezTo>
                  <a:pt x="6730" y="2845"/>
                  <a:pt x="4026" y="5401"/>
                  <a:pt x="473" y="7839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164" name="Free-form: Shape 9163">
            <a:extLst>
              <a:ext uri="{FF2B5EF4-FFF2-40B4-BE49-F238E27FC236}">
                <a16:creationId xmlns:a16="http://schemas.microsoft.com/office/drawing/2014/main" id="{C4F49289-DCA2-6C8D-91FE-CAD0055F57AE}"/>
              </a:ext>
            </a:extLst>
          </p:cNvPr>
          <p:cNvSpPr/>
          <p:nvPr/>
        </p:nvSpPr>
        <p:spPr>
          <a:xfrm>
            <a:off x="7406063" y="5258659"/>
            <a:ext cx="5792" cy="680"/>
          </a:xfrm>
          <a:custGeom>
            <a:avLst/>
            <a:gdLst>
              <a:gd name="csX0" fmla="*/ 0 w 8480"/>
              <a:gd name="csY0" fmla="*/ 896 h 996"/>
              <a:gd name="csX1" fmla="*/ 8480 w 8480"/>
              <a:gd name="csY1" fmla="*/ 110 h 996"/>
              <a:gd name="csX2" fmla="*/ 0 w 8480"/>
              <a:gd name="csY2" fmla="*/ 896 h 99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80" h="996">
                <a:moveTo>
                  <a:pt x="0" y="896"/>
                </a:moveTo>
                <a:cubicBezTo>
                  <a:pt x="2285" y="115"/>
                  <a:pt x="5130" y="-182"/>
                  <a:pt x="8480" y="110"/>
                </a:cubicBezTo>
                <a:cubicBezTo>
                  <a:pt x="6177" y="927"/>
                  <a:pt x="3368" y="1153"/>
                  <a:pt x="0" y="896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165" name="Free-form: Shape 9164">
            <a:extLst>
              <a:ext uri="{FF2B5EF4-FFF2-40B4-BE49-F238E27FC236}">
                <a16:creationId xmlns:a16="http://schemas.microsoft.com/office/drawing/2014/main" id="{C3D941DC-60A4-F2B0-6B31-05D908F1CB12}"/>
              </a:ext>
            </a:extLst>
          </p:cNvPr>
          <p:cNvSpPr/>
          <p:nvPr/>
        </p:nvSpPr>
        <p:spPr>
          <a:xfrm>
            <a:off x="7721500" y="5229478"/>
            <a:ext cx="840" cy="4547"/>
          </a:xfrm>
          <a:custGeom>
            <a:avLst/>
            <a:gdLst>
              <a:gd name="csX0" fmla="*/ 132 w 1229"/>
              <a:gd name="csY0" fmla="*/ 6659 h 6658"/>
              <a:gd name="csX1" fmla="*/ 1107 w 1229"/>
              <a:gd name="csY1" fmla="*/ 0 h 6658"/>
              <a:gd name="csX2" fmla="*/ 132 w 1229"/>
              <a:gd name="csY2" fmla="*/ 6659 h 665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229" h="6658">
                <a:moveTo>
                  <a:pt x="132" y="6659"/>
                </a:moveTo>
                <a:cubicBezTo>
                  <a:pt x="-219" y="4616"/>
                  <a:pt x="139" y="2560"/>
                  <a:pt x="1107" y="0"/>
                </a:cubicBezTo>
                <a:cubicBezTo>
                  <a:pt x="1425" y="1879"/>
                  <a:pt x="1133" y="4263"/>
                  <a:pt x="132" y="6659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166" name="Free-form: Shape 9165">
            <a:extLst>
              <a:ext uri="{FF2B5EF4-FFF2-40B4-BE49-F238E27FC236}">
                <a16:creationId xmlns:a16="http://schemas.microsoft.com/office/drawing/2014/main" id="{A2731EB3-3C74-66E0-5614-BEDA67DE1B68}"/>
              </a:ext>
            </a:extLst>
          </p:cNvPr>
          <p:cNvSpPr/>
          <p:nvPr/>
        </p:nvSpPr>
        <p:spPr>
          <a:xfrm>
            <a:off x="7647584" y="5251783"/>
            <a:ext cx="2588" cy="931"/>
          </a:xfrm>
          <a:custGeom>
            <a:avLst/>
            <a:gdLst>
              <a:gd name="csX0" fmla="*/ 0 w 3788"/>
              <a:gd name="csY0" fmla="*/ 1364 h 1364"/>
              <a:gd name="csX1" fmla="*/ 3788 w 3788"/>
              <a:gd name="csY1" fmla="*/ 0 h 1364"/>
              <a:gd name="csX2" fmla="*/ 0 w 3788"/>
              <a:gd name="csY2" fmla="*/ 1364 h 136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788" h="1364">
                <a:moveTo>
                  <a:pt x="0" y="1364"/>
                </a:moveTo>
                <a:cubicBezTo>
                  <a:pt x="856" y="517"/>
                  <a:pt x="2126" y="39"/>
                  <a:pt x="3788" y="0"/>
                </a:cubicBezTo>
                <a:cubicBezTo>
                  <a:pt x="2925" y="870"/>
                  <a:pt x="1670" y="1303"/>
                  <a:pt x="0" y="1364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167" name="Free-form: Shape 9166">
            <a:extLst>
              <a:ext uri="{FF2B5EF4-FFF2-40B4-BE49-F238E27FC236}">
                <a16:creationId xmlns:a16="http://schemas.microsoft.com/office/drawing/2014/main" id="{5C095A8D-3A1C-76CD-6DDC-B2AA66929109}"/>
              </a:ext>
            </a:extLst>
          </p:cNvPr>
          <p:cNvSpPr/>
          <p:nvPr/>
        </p:nvSpPr>
        <p:spPr>
          <a:xfrm>
            <a:off x="7348844" y="5255383"/>
            <a:ext cx="2726" cy="566"/>
          </a:xfrm>
          <a:custGeom>
            <a:avLst/>
            <a:gdLst>
              <a:gd name="csX0" fmla="*/ 0 w 3990"/>
              <a:gd name="csY0" fmla="*/ 719 h 829"/>
              <a:gd name="csX1" fmla="*/ 3990 w 3990"/>
              <a:gd name="csY1" fmla="*/ 119 h 829"/>
              <a:gd name="csX2" fmla="*/ 0 w 3990"/>
              <a:gd name="csY2" fmla="*/ 719 h 82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990" h="829">
                <a:moveTo>
                  <a:pt x="0" y="719"/>
                </a:moveTo>
                <a:cubicBezTo>
                  <a:pt x="982" y="66"/>
                  <a:pt x="2323" y="-163"/>
                  <a:pt x="3990" y="119"/>
                </a:cubicBezTo>
                <a:cubicBezTo>
                  <a:pt x="2998" y="800"/>
                  <a:pt x="1678" y="972"/>
                  <a:pt x="0" y="719"/>
                </a:cubicBezTo>
                <a:close/>
              </a:path>
            </a:pathLst>
          </a:custGeom>
          <a:solidFill>
            <a:srgbClr val="959DA0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168" name="Free-form: Shape 9167">
            <a:extLst>
              <a:ext uri="{FF2B5EF4-FFF2-40B4-BE49-F238E27FC236}">
                <a16:creationId xmlns:a16="http://schemas.microsoft.com/office/drawing/2014/main" id="{6452B48C-4A0B-7672-6188-9FFF9EB650FB}"/>
              </a:ext>
            </a:extLst>
          </p:cNvPr>
          <p:cNvSpPr/>
          <p:nvPr/>
        </p:nvSpPr>
        <p:spPr>
          <a:xfrm>
            <a:off x="7580446" y="5258636"/>
            <a:ext cx="2659" cy="775"/>
          </a:xfrm>
          <a:custGeom>
            <a:avLst/>
            <a:gdLst>
              <a:gd name="csX0" fmla="*/ 0 w 3893"/>
              <a:gd name="csY0" fmla="*/ 1133 h 1135"/>
              <a:gd name="csX1" fmla="*/ 3893 w 3893"/>
              <a:gd name="csY1" fmla="*/ 7 h 1135"/>
              <a:gd name="csX2" fmla="*/ 0 w 3893"/>
              <a:gd name="csY2" fmla="*/ 1133 h 113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893" h="1135">
                <a:moveTo>
                  <a:pt x="0" y="1133"/>
                </a:moveTo>
                <a:cubicBezTo>
                  <a:pt x="902" y="349"/>
                  <a:pt x="2213" y="-60"/>
                  <a:pt x="3893" y="7"/>
                </a:cubicBezTo>
                <a:cubicBezTo>
                  <a:pt x="2978" y="825"/>
                  <a:pt x="1693" y="1167"/>
                  <a:pt x="0" y="1133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169" name="Free-form: Shape 9168">
            <a:extLst>
              <a:ext uri="{FF2B5EF4-FFF2-40B4-BE49-F238E27FC236}">
                <a16:creationId xmlns:a16="http://schemas.microsoft.com/office/drawing/2014/main" id="{8C507630-91E4-2706-E08A-F2B0AC08EB91}"/>
              </a:ext>
            </a:extLst>
          </p:cNvPr>
          <p:cNvSpPr/>
          <p:nvPr/>
        </p:nvSpPr>
        <p:spPr>
          <a:xfrm>
            <a:off x="7470890" y="4725505"/>
            <a:ext cx="123846" cy="275447"/>
          </a:xfrm>
          <a:custGeom>
            <a:avLst/>
            <a:gdLst>
              <a:gd name="csX0" fmla="*/ 7554 w 181323"/>
              <a:gd name="csY0" fmla="*/ 172079 h 403282"/>
              <a:gd name="csX1" fmla="*/ 9716 w 181323"/>
              <a:gd name="csY1" fmla="*/ 130641 h 403282"/>
              <a:gd name="csX2" fmla="*/ 7663 w 181323"/>
              <a:gd name="csY2" fmla="*/ 113770 h 403282"/>
              <a:gd name="csX3" fmla="*/ 7598 w 181323"/>
              <a:gd name="csY3" fmla="*/ 8165 h 403282"/>
              <a:gd name="csX4" fmla="*/ 8353 w 181323"/>
              <a:gd name="csY4" fmla="*/ 1259 h 403282"/>
              <a:gd name="csX5" fmla="*/ 17767 w 181323"/>
              <a:gd name="csY5" fmla="*/ 93 h 403282"/>
              <a:gd name="csX6" fmla="*/ 77938 w 181323"/>
              <a:gd name="csY6" fmla="*/ 50 h 403282"/>
              <a:gd name="csX7" fmla="*/ 91081 w 181323"/>
              <a:gd name="csY7" fmla="*/ 10962 h 403282"/>
              <a:gd name="csX8" fmla="*/ 93691 w 181323"/>
              <a:gd name="csY8" fmla="*/ 60963 h 403282"/>
              <a:gd name="csX9" fmla="*/ 100157 w 181323"/>
              <a:gd name="csY9" fmla="*/ 121501 h 403282"/>
              <a:gd name="csX10" fmla="*/ 105540 w 181323"/>
              <a:gd name="csY10" fmla="*/ 158857 h 403282"/>
              <a:gd name="csX11" fmla="*/ 121116 w 181323"/>
              <a:gd name="csY11" fmla="*/ 235269 h 403282"/>
              <a:gd name="csX12" fmla="*/ 152823 w 181323"/>
              <a:gd name="csY12" fmla="*/ 338010 h 403282"/>
              <a:gd name="csX13" fmla="*/ 170877 w 181323"/>
              <a:gd name="csY13" fmla="*/ 378027 h 403282"/>
              <a:gd name="csX14" fmla="*/ 178114 w 181323"/>
              <a:gd name="csY14" fmla="*/ 387682 h 403282"/>
              <a:gd name="csX15" fmla="*/ 181150 w 181323"/>
              <a:gd name="csY15" fmla="*/ 395764 h 403282"/>
              <a:gd name="csX16" fmla="*/ 173480 w 181323"/>
              <a:gd name="csY16" fmla="*/ 402568 h 403282"/>
              <a:gd name="csX17" fmla="*/ 160067 w 181323"/>
              <a:gd name="csY17" fmla="*/ 402936 h 403282"/>
              <a:gd name="csX18" fmla="*/ 121081 w 181323"/>
              <a:gd name="csY18" fmla="*/ 400766 h 403282"/>
              <a:gd name="csX19" fmla="*/ 70912 w 181323"/>
              <a:gd name="csY19" fmla="*/ 401955 h 403282"/>
              <a:gd name="csX20" fmla="*/ 7630 w 181323"/>
              <a:gd name="csY20" fmla="*/ 402999 h 403282"/>
              <a:gd name="csX21" fmla="*/ 710 w 181323"/>
              <a:gd name="csY21" fmla="*/ 401995 h 403282"/>
              <a:gd name="csX22" fmla="*/ 1308 w 181323"/>
              <a:gd name="csY22" fmla="*/ 356708 h 403282"/>
              <a:gd name="csX23" fmla="*/ 2554 w 181323"/>
              <a:gd name="csY23" fmla="*/ 349510 h 403282"/>
              <a:gd name="csX24" fmla="*/ 5071 w 181323"/>
              <a:gd name="csY24" fmla="*/ 271231 h 403282"/>
              <a:gd name="csX25" fmla="*/ 7554 w 181323"/>
              <a:gd name="csY25" fmla="*/ 172079 h 403282"/>
              <a:gd name="csX26" fmla="*/ 98286 w 181323"/>
              <a:gd name="csY26" fmla="*/ 163566 h 403282"/>
              <a:gd name="csX27" fmla="*/ 83497 w 181323"/>
              <a:gd name="csY27" fmla="*/ 8289 h 403282"/>
              <a:gd name="csX28" fmla="*/ 15161 w 181323"/>
              <a:gd name="csY28" fmla="*/ 9148 h 403282"/>
              <a:gd name="csX29" fmla="*/ 15058 w 181323"/>
              <a:gd name="csY29" fmla="*/ 137939 h 403282"/>
              <a:gd name="csX30" fmla="*/ 12252 w 181323"/>
              <a:gd name="csY30" fmla="*/ 266862 h 403282"/>
              <a:gd name="csX31" fmla="*/ 7068 w 181323"/>
              <a:gd name="csY31" fmla="*/ 395996 h 403282"/>
              <a:gd name="csX32" fmla="*/ 171647 w 181323"/>
              <a:gd name="csY32" fmla="*/ 395996 h 403282"/>
              <a:gd name="csX33" fmla="*/ 119950 w 181323"/>
              <a:gd name="csY33" fmla="*/ 259496 h 403282"/>
              <a:gd name="csX34" fmla="*/ 98286 w 181323"/>
              <a:gd name="csY34" fmla="*/ 163566 h 40328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</a:cxnLst>
            <a:rect l="l" t="t" r="r" b="b"/>
            <a:pathLst>
              <a:path w="181323" h="403282">
                <a:moveTo>
                  <a:pt x="7554" y="172079"/>
                </a:moveTo>
                <a:cubicBezTo>
                  <a:pt x="8325" y="157451"/>
                  <a:pt x="9408" y="144055"/>
                  <a:pt x="9716" y="130641"/>
                </a:cubicBezTo>
                <a:cubicBezTo>
                  <a:pt x="9846" y="125037"/>
                  <a:pt x="7695" y="119399"/>
                  <a:pt x="7663" y="113770"/>
                </a:cubicBezTo>
                <a:cubicBezTo>
                  <a:pt x="7461" y="78569"/>
                  <a:pt x="7554" y="43367"/>
                  <a:pt x="7598" y="8165"/>
                </a:cubicBezTo>
                <a:cubicBezTo>
                  <a:pt x="7600" y="6167"/>
                  <a:pt x="8022" y="4170"/>
                  <a:pt x="8353" y="1259"/>
                </a:cubicBezTo>
                <a:cubicBezTo>
                  <a:pt x="11568" y="842"/>
                  <a:pt x="14666" y="109"/>
                  <a:pt x="17767" y="93"/>
                </a:cubicBezTo>
                <a:cubicBezTo>
                  <a:pt x="37824" y="-17"/>
                  <a:pt x="57881" y="-27"/>
                  <a:pt x="77938" y="50"/>
                </a:cubicBezTo>
                <a:cubicBezTo>
                  <a:pt x="89177" y="93"/>
                  <a:pt x="90068" y="113"/>
                  <a:pt x="91081" y="10962"/>
                </a:cubicBezTo>
                <a:cubicBezTo>
                  <a:pt x="92631" y="27565"/>
                  <a:pt x="92329" y="44335"/>
                  <a:pt x="93691" y="60963"/>
                </a:cubicBezTo>
                <a:cubicBezTo>
                  <a:pt x="95348" y="81184"/>
                  <a:pt x="97732" y="101353"/>
                  <a:pt x="100157" y="121501"/>
                </a:cubicBezTo>
                <a:cubicBezTo>
                  <a:pt x="101660" y="133990"/>
                  <a:pt x="104521" y="146343"/>
                  <a:pt x="105540" y="158857"/>
                </a:cubicBezTo>
                <a:cubicBezTo>
                  <a:pt x="107671" y="184993"/>
                  <a:pt x="114147" y="210249"/>
                  <a:pt x="121116" y="235269"/>
                </a:cubicBezTo>
                <a:cubicBezTo>
                  <a:pt x="130731" y="269786"/>
                  <a:pt x="141516" y="304004"/>
                  <a:pt x="152823" y="338010"/>
                </a:cubicBezTo>
                <a:cubicBezTo>
                  <a:pt x="157418" y="351828"/>
                  <a:pt x="164524" y="364837"/>
                  <a:pt x="170877" y="378027"/>
                </a:cubicBezTo>
                <a:cubicBezTo>
                  <a:pt x="172587" y="381579"/>
                  <a:pt x="175985" y="384280"/>
                  <a:pt x="178114" y="387682"/>
                </a:cubicBezTo>
                <a:cubicBezTo>
                  <a:pt x="179669" y="390165"/>
                  <a:pt x="181977" y="393824"/>
                  <a:pt x="181150" y="395764"/>
                </a:cubicBezTo>
                <a:cubicBezTo>
                  <a:pt x="179907" y="398676"/>
                  <a:pt x="176540" y="401705"/>
                  <a:pt x="173480" y="402568"/>
                </a:cubicBezTo>
                <a:cubicBezTo>
                  <a:pt x="169302" y="403746"/>
                  <a:pt x="164551" y="403164"/>
                  <a:pt x="160067" y="402936"/>
                </a:cubicBezTo>
                <a:cubicBezTo>
                  <a:pt x="147066" y="402274"/>
                  <a:pt x="134081" y="400859"/>
                  <a:pt x="121081" y="400766"/>
                </a:cubicBezTo>
                <a:cubicBezTo>
                  <a:pt x="104362" y="400647"/>
                  <a:pt x="87638" y="401607"/>
                  <a:pt x="70912" y="401955"/>
                </a:cubicBezTo>
                <a:cubicBezTo>
                  <a:pt x="49820" y="402394"/>
                  <a:pt x="28725" y="402712"/>
                  <a:pt x="7630" y="402999"/>
                </a:cubicBezTo>
                <a:cubicBezTo>
                  <a:pt x="5684" y="403026"/>
                  <a:pt x="3731" y="402452"/>
                  <a:pt x="710" y="401995"/>
                </a:cubicBezTo>
                <a:cubicBezTo>
                  <a:pt x="219" y="386620"/>
                  <a:pt x="-871" y="371682"/>
                  <a:pt x="1308" y="356708"/>
                </a:cubicBezTo>
                <a:cubicBezTo>
                  <a:pt x="1659" y="354298"/>
                  <a:pt x="2471" y="351920"/>
                  <a:pt x="2554" y="349510"/>
                </a:cubicBezTo>
                <a:cubicBezTo>
                  <a:pt x="3459" y="323419"/>
                  <a:pt x="4345" y="297328"/>
                  <a:pt x="5071" y="271231"/>
                </a:cubicBezTo>
                <a:cubicBezTo>
                  <a:pt x="5979" y="238591"/>
                  <a:pt x="6733" y="205947"/>
                  <a:pt x="7554" y="172079"/>
                </a:cubicBezTo>
                <a:moveTo>
                  <a:pt x="98286" y="163566"/>
                </a:moveTo>
                <a:cubicBezTo>
                  <a:pt x="89288" y="112116"/>
                  <a:pt x="86355" y="60033"/>
                  <a:pt x="83497" y="8289"/>
                </a:cubicBezTo>
                <a:cubicBezTo>
                  <a:pt x="65606" y="5845"/>
                  <a:pt x="24110" y="6470"/>
                  <a:pt x="15161" y="9148"/>
                </a:cubicBezTo>
                <a:cubicBezTo>
                  <a:pt x="15161" y="52045"/>
                  <a:pt x="15527" y="94996"/>
                  <a:pt x="15058" y="137939"/>
                </a:cubicBezTo>
                <a:cubicBezTo>
                  <a:pt x="14587" y="180919"/>
                  <a:pt x="13597" y="223900"/>
                  <a:pt x="12252" y="266862"/>
                </a:cubicBezTo>
                <a:cubicBezTo>
                  <a:pt x="10912" y="309638"/>
                  <a:pt x="8849" y="352391"/>
                  <a:pt x="7068" y="395996"/>
                </a:cubicBezTo>
                <a:cubicBezTo>
                  <a:pt x="62774" y="395996"/>
                  <a:pt x="116821" y="395996"/>
                  <a:pt x="171647" y="395996"/>
                </a:cubicBezTo>
                <a:cubicBezTo>
                  <a:pt x="148550" y="352016"/>
                  <a:pt x="132566" y="306307"/>
                  <a:pt x="119950" y="259496"/>
                </a:cubicBezTo>
                <a:cubicBezTo>
                  <a:pt x="111608" y="228543"/>
                  <a:pt x="105493" y="196989"/>
                  <a:pt x="98286" y="163566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170" name="Free-form: Shape 9169">
            <a:extLst>
              <a:ext uri="{FF2B5EF4-FFF2-40B4-BE49-F238E27FC236}">
                <a16:creationId xmlns:a16="http://schemas.microsoft.com/office/drawing/2014/main" id="{D3135E28-8AA0-E345-7398-3507D9B8EFE1}"/>
              </a:ext>
            </a:extLst>
          </p:cNvPr>
          <p:cNvSpPr/>
          <p:nvPr/>
        </p:nvSpPr>
        <p:spPr>
          <a:xfrm>
            <a:off x="7472684" y="5183634"/>
            <a:ext cx="230181" cy="52128"/>
          </a:xfrm>
          <a:custGeom>
            <a:avLst/>
            <a:gdLst>
              <a:gd name="csX0" fmla="*/ 297312 w 337008"/>
              <a:gd name="csY0" fmla="*/ 59188 h 76321"/>
              <a:gd name="csX1" fmla="*/ 241991 w 337008"/>
              <a:gd name="csY1" fmla="*/ 66577 h 76321"/>
              <a:gd name="csX2" fmla="*/ 185243 w 337008"/>
              <a:gd name="csY2" fmla="*/ 73717 h 76321"/>
              <a:gd name="csX3" fmla="*/ 182797 w 337008"/>
              <a:gd name="csY3" fmla="*/ 73873 h 76321"/>
              <a:gd name="csX4" fmla="*/ 19866 w 337008"/>
              <a:gd name="csY4" fmla="*/ 76320 h 76321"/>
              <a:gd name="csX5" fmla="*/ 12650 w 337008"/>
              <a:gd name="csY5" fmla="*/ 75242 h 76321"/>
              <a:gd name="csX6" fmla="*/ 19 w 337008"/>
              <a:gd name="csY6" fmla="*/ 59006 h 76321"/>
              <a:gd name="csX7" fmla="*/ 11 w 337008"/>
              <a:gd name="csY7" fmla="*/ 18266 h 76321"/>
              <a:gd name="csX8" fmla="*/ 13547 w 337008"/>
              <a:gd name="csY8" fmla="*/ 17427 h 76321"/>
              <a:gd name="csX9" fmla="*/ 109279 w 337008"/>
              <a:gd name="csY9" fmla="*/ 17200 h 76321"/>
              <a:gd name="csX10" fmla="*/ 173714 w 337008"/>
              <a:gd name="csY10" fmla="*/ 12645 h 76321"/>
              <a:gd name="csX11" fmla="*/ 205309 w 337008"/>
              <a:gd name="csY11" fmla="*/ 10096 h 76321"/>
              <a:gd name="csX12" fmla="*/ 245485 w 337008"/>
              <a:gd name="csY12" fmla="*/ 7449 h 76321"/>
              <a:gd name="csX13" fmla="*/ 288955 w 337008"/>
              <a:gd name="csY13" fmla="*/ 1844 h 76321"/>
              <a:gd name="csX14" fmla="*/ 307132 w 337008"/>
              <a:gd name="csY14" fmla="*/ 164 h 76321"/>
              <a:gd name="csX15" fmla="*/ 324030 w 337008"/>
              <a:gd name="csY15" fmla="*/ 9691 h 76321"/>
              <a:gd name="csX16" fmla="*/ 336033 w 337008"/>
              <a:gd name="csY16" fmla="*/ 39107 h 76321"/>
              <a:gd name="csX17" fmla="*/ 328060 w 337008"/>
              <a:gd name="csY17" fmla="*/ 52413 h 76321"/>
              <a:gd name="csX18" fmla="*/ 297312 w 337008"/>
              <a:gd name="csY18" fmla="*/ 59188 h 76321"/>
              <a:gd name="csX19" fmla="*/ 207688 w 337008"/>
              <a:gd name="csY19" fmla="*/ 64284 h 76321"/>
              <a:gd name="csX20" fmla="*/ 330050 w 337008"/>
              <a:gd name="csY20" fmla="*/ 45606 h 76321"/>
              <a:gd name="csX21" fmla="*/ 317356 w 337008"/>
              <a:gd name="csY21" fmla="*/ 11297 h 76321"/>
              <a:gd name="csX22" fmla="*/ 304170 w 337008"/>
              <a:gd name="csY22" fmla="*/ 5545 h 76321"/>
              <a:gd name="csX23" fmla="*/ 273851 w 337008"/>
              <a:gd name="csY23" fmla="*/ 10014 h 76321"/>
              <a:gd name="csX24" fmla="*/ 163935 w 337008"/>
              <a:gd name="csY24" fmla="*/ 20274 h 76321"/>
              <a:gd name="csX25" fmla="*/ 17973 w 337008"/>
              <a:gd name="csY25" fmla="*/ 22950 h 76321"/>
              <a:gd name="csX26" fmla="*/ 7372 w 337008"/>
              <a:gd name="csY26" fmla="*/ 23601 h 76321"/>
              <a:gd name="csX27" fmla="*/ 7372 w 337008"/>
              <a:gd name="csY27" fmla="*/ 67898 h 76321"/>
              <a:gd name="csX28" fmla="*/ 207688 w 337008"/>
              <a:gd name="csY28" fmla="*/ 64284 h 7632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</a:cxnLst>
            <a:rect l="l" t="t" r="r" b="b"/>
            <a:pathLst>
              <a:path w="337008" h="76321">
                <a:moveTo>
                  <a:pt x="297312" y="59188"/>
                </a:moveTo>
                <a:cubicBezTo>
                  <a:pt x="278167" y="61672"/>
                  <a:pt x="260091" y="64212"/>
                  <a:pt x="241991" y="66577"/>
                </a:cubicBezTo>
                <a:cubicBezTo>
                  <a:pt x="223087" y="69047"/>
                  <a:pt x="204161" y="71350"/>
                  <a:pt x="185243" y="73717"/>
                </a:cubicBezTo>
                <a:cubicBezTo>
                  <a:pt x="184433" y="73818"/>
                  <a:pt x="183613" y="73861"/>
                  <a:pt x="182797" y="73873"/>
                </a:cubicBezTo>
                <a:cubicBezTo>
                  <a:pt x="128487" y="74710"/>
                  <a:pt x="74176" y="75556"/>
                  <a:pt x="19866" y="76320"/>
                </a:cubicBezTo>
                <a:cubicBezTo>
                  <a:pt x="17463" y="76354"/>
                  <a:pt x="15013" y="75797"/>
                  <a:pt x="12650" y="75242"/>
                </a:cubicBezTo>
                <a:cubicBezTo>
                  <a:pt x="80" y="72288"/>
                  <a:pt x="58" y="72258"/>
                  <a:pt x="19" y="59006"/>
                </a:cubicBezTo>
                <a:cubicBezTo>
                  <a:pt x="-19" y="45942"/>
                  <a:pt x="11" y="32877"/>
                  <a:pt x="11" y="18266"/>
                </a:cubicBezTo>
                <a:cubicBezTo>
                  <a:pt x="4987" y="17944"/>
                  <a:pt x="9266" y="17435"/>
                  <a:pt x="13547" y="17427"/>
                </a:cubicBezTo>
                <a:cubicBezTo>
                  <a:pt x="45459" y="17362"/>
                  <a:pt x="77385" y="17975"/>
                  <a:pt x="109279" y="17200"/>
                </a:cubicBezTo>
                <a:cubicBezTo>
                  <a:pt x="130782" y="16677"/>
                  <a:pt x="152239" y="14265"/>
                  <a:pt x="173714" y="12645"/>
                </a:cubicBezTo>
                <a:cubicBezTo>
                  <a:pt x="184250" y="11850"/>
                  <a:pt x="194770" y="10836"/>
                  <a:pt x="205309" y="10096"/>
                </a:cubicBezTo>
                <a:cubicBezTo>
                  <a:pt x="218698" y="9156"/>
                  <a:pt x="232139" y="8783"/>
                  <a:pt x="245485" y="7449"/>
                </a:cubicBezTo>
                <a:cubicBezTo>
                  <a:pt x="260017" y="5997"/>
                  <a:pt x="274456" y="3648"/>
                  <a:pt x="288955" y="1844"/>
                </a:cubicBezTo>
                <a:cubicBezTo>
                  <a:pt x="294991" y="1094"/>
                  <a:pt x="301100" y="930"/>
                  <a:pt x="307132" y="164"/>
                </a:cubicBezTo>
                <a:cubicBezTo>
                  <a:pt x="315239" y="-865"/>
                  <a:pt x="320841" y="3022"/>
                  <a:pt x="324030" y="9691"/>
                </a:cubicBezTo>
                <a:cubicBezTo>
                  <a:pt x="328594" y="19236"/>
                  <a:pt x="332712" y="29070"/>
                  <a:pt x="336033" y="39107"/>
                </a:cubicBezTo>
                <a:cubicBezTo>
                  <a:pt x="338557" y="46735"/>
                  <a:pt x="336278" y="50185"/>
                  <a:pt x="328060" y="52413"/>
                </a:cubicBezTo>
                <a:cubicBezTo>
                  <a:pt x="318273" y="55068"/>
                  <a:pt x="308277" y="56950"/>
                  <a:pt x="297312" y="59188"/>
                </a:cubicBezTo>
                <a:moveTo>
                  <a:pt x="207688" y="64284"/>
                </a:moveTo>
                <a:cubicBezTo>
                  <a:pt x="248681" y="60632"/>
                  <a:pt x="289317" y="54812"/>
                  <a:pt x="330050" y="45606"/>
                </a:cubicBezTo>
                <a:cubicBezTo>
                  <a:pt x="327603" y="32443"/>
                  <a:pt x="323777" y="21532"/>
                  <a:pt x="317356" y="11297"/>
                </a:cubicBezTo>
                <a:cubicBezTo>
                  <a:pt x="313908" y="5803"/>
                  <a:pt x="310145" y="4465"/>
                  <a:pt x="304170" y="5545"/>
                </a:cubicBezTo>
                <a:cubicBezTo>
                  <a:pt x="294121" y="7361"/>
                  <a:pt x="284007" y="9006"/>
                  <a:pt x="273851" y="10014"/>
                </a:cubicBezTo>
                <a:cubicBezTo>
                  <a:pt x="237233" y="13650"/>
                  <a:pt x="200632" y="17661"/>
                  <a:pt x="163935" y="20274"/>
                </a:cubicBezTo>
                <a:cubicBezTo>
                  <a:pt x="115360" y="23734"/>
                  <a:pt x="66701" y="25937"/>
                  <a:pt x="17973" y="22950"/>
                </a:cubicBezTo>
                <a:cubicBezTo>
                  <a:pt x="14492" y="22737"/>
                  <a:pt x="10959" y="23361"/>
                  <a:pt x="7372" y="23601"/>
                </a:cubicBezTo>
                <a:cubicBezTo>
                  <a:pt x="7372" y="38609"/>
                  <a:pt x="7372" y="52361"/>
                  <a:pt x="7372" y="67898"/>
                </a:cubicBezTo>
                <a:cubicBezTo>
                  <a:pt x="74001" y="69806"/>
                  <a:pt x="139746" y="71025"/>
                  <a:pt x="207688" y="64284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171" name="Free-form: Shape 9170">
            <a:extLst>
              <a:ext uri="{FF2B5EF4-FFF2-40B4-BE49-F238E27FC236}">
                <a16:creationId xmlns:a16="http://schemas.microsoft.com/office/drawing/2014/main" id="{4616A4C2-427B-2660-7D87-ACDA638B5B1F}"/>
              </a:ext>
            </a:extLst>
          </p:cNvPr>
          <p:cNvSpPr/>
          <p:nvPr/>
        </p:nvSpPr>
        <p:spPr>
          <a:xfrm>
            <a:off x="7476790" y="5022534"/>
            <a:ext cx="207269" cy="145956"/>
          </a:xfrm>
          <a:custGeom>
            <a:avLst/>
            <a:gdLst>
              <a:gd name="csX0" fmla="*/ 14160 w 303463"/>
              <a:gd name="csY0" fmla="*/ 7889 h 213695"/>
              <a:gd name="csX1" fmla="*/ 195033 w 303463"/>
              <a:gd name="csY1" fmla="*/ 0 h 213695"/>
              <a:gd name="csX2" fmla="*/ 197208 w 303463"/>
              <a:gd name="csY2" fmla="*/ 5635 h 213695"/>
              <a:gd name="csX3" fmla="*/ 227014 w 303463"/>
              <a:gd name="csY3" fmla="*/ 60660 h 213695"/>
              <a:gd name="csX4" fmla="*/ 265823 w 303463"/>
              <a:gd name="csY4" fmla="*/ 98217 h 213695"/>
              <a:gd name="csX5" fmla="*/ 303210 w 303463"/>
              <a:gd name="csY5" fmla="*/ 180358 h 213695"/>
              <a:gd name="csX6" fmla="*/ 303282 w 303463"/>
              <a:gd name="csY6" fmla="*/ 193964 h 213695"/>
              <a:gd name="csX7" fmla="*/ 4971 w 303463"/>
              <a:gd name="csY7" fmla="*/ 213017 h 213695"/>
              <a:gd name="csX8" fmla="*/ 5093 w 303463"/>
              <a:gd name="csY8" fmla="*/ 173484 h 213695"/>
              <a:gd name="csX9" fmla="*/ 4767 w 303463"/>
              <a:gd name="csY9" fmla="*/ 54607 h 213695"/>
              <a:gd name="csX10" fmla="*/ 0 w 303463"/>
              <a:gd name="csY10" fmla="*/ 7887 h 213695"/>
              <a:gd name="csX11" fmla="*/ 14160 w 303463"/>
              <a:gd name="csY11" fmla="*/ 7889 h 21369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303463" h="213695">
                <a:moveTo>
                  <a:pt x="14160" y="7889"/>
                </a:moveTo>
                <a:cubicBezTo>
                  <a:pt x="75371" y="8627"/>
                  <a:pt x="135292" y="5744"/>
                  <a:pt x="195033" y="0"/>
                </a:cubicBezTo>
                <a:cubicBezTo>
                  <a:pt x="196084" y="2662"/>
                  <a:pt x="196986" y="4099"/>
                  <a:pt x="197208" y="5635"/>
                </a:cubicBezTo>
                <a:cubicBezTo>
                  <a:pt x="200391" y="27650"/>
                  <a:pt x="211307" y="45450"/>
                  <a:pt x="227014" y="60660"/>
                </a:cubicBezTo>
                <a:cubicBezTo>
                  <a:pt x="239947" y="73182"/>
                  <a:pt x="253006" y="85577"/>
                  <a:pt x="265823" y="98217"/>
                </a:cubicBezTo>
                <a:cubicBezTo>
                  <a:pt x="288727" y="120806"/>
                  <a:pt x="299071" y="149215"/>
                  <a:pt x="303210" y="180358"/>
                </a:cubicBezTo>
                <a:cubicBezTo>
                  <a:pt x="303735" y="184317"/>
                  <a:pt x="303282" y="188405"/>
                  <a:pt x="303282" y="193964"/>
                </a:cubicBezTo>
                <a:cubicBezTo>
                  <a:pt x="204065" y="208804"/>
                  <a:pt x="105022" y="216044"/>
                  <a:pt x="4971" y="213017"/>
                </a:cubicBezTo>
                <a:cubicBezTo>
                  <a:pt x="4971" y="199268"/>
                  <a:pt x="4314" y="186332"/>
                  <a:pt x="5093" y="173484"/>
                </a:cubicBezTo>
                <a:cubicBezTo>
                  <a:pt x="7497" y="133835"/>
                  <a:pt x="8211" y="94216"/>
                  <a:pt x="4767" y="54607"/>
                </a:cubicBezTo>
                <a:cubicBezTo>
                  <a:pt x="3464" y="39611"/>
                  <a:pt x="1725" y="24653"/>
                  <a:pt x="0" y="7887"/>
                </a:cubicBezTo>
                <a:cubicBezTo>
                  <a:pt x="4390" y="7887"/>
                  <a:pt x="8696" y="7887"/>
                  <a:pt x="14160" y="7889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172" name="Free-form: Shape 9171">
            <a:extLst>
              <a:ext uri="{FF2B5EF4-FFF2-40B4-BE49-F238E27FC236}">
                <a16:creationId xmlns:a16="http://schemas.microsoft.com/office/drawing/2014/main" id="{1FC5D787-2B06-7512-0AD0-AAF38796CFD3}"/>
              </a:ext>
            </a:extLst>
          </p:cNvPr>
          <p:cNvSpPr/>
          <p:nvPr/>
        </p:nvSpPr>
        <p:spPr>
          <a:xfrm>
            <a:off x="7479537" y="4674144"/>
            <a:ext cx="107321" cy="28231"/>
          </a:xfrm>
          <a:custGeom>
            <a:avLst/>
            <a:gdLst>
              <a:gd name="csX0" fmla="*/ 69625 w 157129"/>
              <a:gd name="csY0" fmla="*/ 0 h 41334"/>
              <a:gd name="csX1" fmla="*/ 119596 w 157129"/>
              <a:gd name="csY1" fmla="*/ 1945 h 41334"/>
              <a:gd name="csX2" fmla="*/ 150973 w 157129"/>
              <a:gd name="csY2" fmla="*/ 14889 h 41334"/>
              <a:gd name="csX3" fmla="*/ 151351 w 157129"/>
              <a:gd name="csY3" fmla="*/ 34058 h 41334"/>
              <a:gd name="csX4" fmla="*/ 133492 w 157129"/>
              <a:gd name="csY4" fmla="*/ 40697 h 41334"/>
              <a:gd name="csX5" fmla="*/ 106556 w 157129"/>
              <a:gd name="csY5" fmla="*/ 41092 h 41334"/>
              <a:gd name="csX6" fmla="*/ 13373 w 157129"/>
              <a:gd name="csY6" fmla="*/ 40708 h 41334"/>
              <a:gd name="csX7" fmla="*/ 1312 w 157129"/>
              <a:gd name="csY7" fmla="*/ 40191 h 41334"/>
              <a:gd name="csX8" fmla="*/ 3367 w 157129"/>
              <a:gd name="csY8" fmla="*/ 13162 h 41334"/>
              <a:gd name="csX9" fmla="*/ 20752 w 157129"/>
              <a:gd name="csY9" fmla="*/ 1879 h 41334"/>
              <a:gd name="csX10" fmla="*/ 52625 w 157129"/>
              <a:gd name="csY10" fmla="*/ 1332 h 41334"/>
              <a:gd name="csX11" fmla="*/ 69625 w 157129"/>
              <a:gd name="csY11" fmla="*/ 0 h 4133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157129" h="41334">
                <a:moveTo>
                  <a:pt x="69625" y="0"/>
                </a:moveTo>
                <a:cubicBezTo>
                  <a:pt x="87054" y="491"/>
                  <a:pt x="103407" y="373"/>
                  <a:pt x="119596" y="1945"/>
                </a:cubicBezTo>
                <a:cubicBezTo>
                  <a:pt x="131020" y="3055"/>
                  <a:pt x="141713" y="7767"/>
                  <a:pt x="150973" y="14889"/>
                </a:cubicBezTo>
                <a:cubicBezTo>
                  <a:pt x="158820" y="20925"/>
                  <a:pt x="159403" y="28236"/>
                  <a:pt x="151351" y="34058"/>
                </a:cubicBezTo>
                <a:cubicBezTo>
                  <a:pt x="146355" y="37671"/>
                  <a:pt x="139678" y="39910"/>
                  <a:pt x="133492" y="40697"/>
                </a:cubicBezTo>
                <a:cubicBezTo>
                  <a:pt x="124640" y="41824"/>
                  <a:pt x="115547" y="41120"/>
                  <a:pt x="106556" y="41092"/>
                </a:cubicBezTo>
                <a:cubicBezTo>
                  <a:pt x="75495" y="40996"/>
                  <a:pt x="44434" y="40872"/>
                  <a:pt x="13373" y="40708"/>
                </a:cubicBezTo>
                <a:cubicBezTo>
                  <a:pt x="9391" y="40687"/>
                  <a:pt x="5410" y="40374"/>
                  <a:pt x="1312" y="40191"/>
                </a:cubicBezTo>
                <a:cubicBezTo>
                  <a:pt x="-1416" y="30384"/>
                  <a:pt x="523" y="21512"/>
                  <a:pt x="3367" y="13162"/>
                </a:cubicBezTo>
                <a:cubicBezTo>
                  <a:pt x="5963" y="5538"/>
                  <a:pt x="12701" y="2077"/>
                  <a:pt x="20752" y="1879"/>
                </a:cubicBezTo>
                <a:cubicBezTo>
                  <a:pt x="31375" y="1617"/>
                  <a:pt x="42004" y="1647"/>
                  <a:pt x="52625" y="1332"/>
                </a:cubicBezTo>
                <a:cubicBezTo>
                  <a:pt x="57918" y="1176"/>
                  <a:pt x="63195" y="535"/>
                  <a:pt x="69625" y="0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173" name="Free-form: Shape 9172">
            <a:extLst>
              <a:ext uri="{FF2B5EF4-FFF2-40B4-BE49-F238E27FC236}">
                <a16:creationId xmlns:a16="http://schemas.microsoft.com/office/drawing/2014/main" id="{2FA89B62-2994-77A9-6C62-919395DD0CDC}"/>
              </a:ext>
            </a:extLst>
          </p:cNvPr>
          <p:cNvSpPr/>
          <p:nvPr/>
        </p:nvSpPr>
        <p:spPr>
          <a:xfrm>
            <a:off x="7475718" y="4730120"/>
            <a:ext cx="112410" cy="265855"/>
          </a:xfrm>
          <a:custGeom>
            <a:avLst/>
            <a:gdLst>
              <a:gd name="csX0" fmla="*/ 91265 w 164579"/>
              <a:gd name="csY0" fmla="*/ 157878 h 389238"/>
              <a:gd name="csX1" fmla="*/ 112882 w 164579"/>
              <a:gd name="csY1" fmla="*/ 252738 h 389238"/>
              <a:gd name="csX2" fmla="*/ 164579 w 164579"/>
              <a:gd name="csY2" fmla="*/ 389238 h 389238"/>
              <a:gd name="csX3" fmla="*/ 0 w 164579"/>
              <a:gd name="csY3" fmla="*/ 389238 h 389238"/>
              <a:gd name="csX4" fmla="*/ 5184 w 164579"/>
              <a:gd name="csY4" fmla="*/ 260105 h 389238"/>
              <a:gd name="csX5" fmla="*/ 7989 w 164579"/>
              <a:gd name="csY5" fmla="*/ 131182 h 389238"/>
              <a:gd name="csX6" fmla="*/ 8093 w 164579"/>
              <a:gd name="csY6" fmla="*/ 2390 h 389238"/>
              <a:gd name="csX7" fmla="*/ 76429 w 164579"/>
              <a:gd name="csY7" fmla="*/ 1531 h 389238"/>
              <a:gd name="csX8" fmla="*/ 91265 w 164579"/>
              <a:gd name="csY8" fmla="*/ 157878 h 38923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</a:cxnLst>
            <a:rect l="l" t="t" r="r" b="b"/>
            <a:pathLst>
              <a:path w="164579" h="389238">
                <a:moveTo>
                  <a:pt x="91265" y="157878"/>
                </a:moveTo>
                <a:cubicBezTo>
                  <a:pt x="98425" y="190232"/>
                  <a:pt x="104539" y="221785"/>
                  <a:pt x="112882" y="252738"/>
                </a:cubicBezTo>
                <a:cubicBezTo>
                  <a:pt x="125498" y="299549"/>
                  <a:pt x="141482" y="345258"/>
                  <a:pt x="164579" y="389238"/>
                </a:cubicBezTo>
                <a:cubicBezTo>
                  <a:pt x="109753" y="389238"/>
                  <a:pt x="55706" y="389238"/>
                  <a:pt x="0" y="389238"/>
                </a:cubicBezTo>
                <a:cubicBezTo>
                  <a:pt x="1781" y="345633"/>
                  <a:pt x="3844" y="302880"/>
                  <a:pt x="5184" y="260105"/>
                </a:cubicBezTo>
                <a:cubicBezTo>
                  <a:pt x="6529" y="217143"/>
                  <a:pt x="7519" y="174162"/>
                  <a:pt x="7989" y="131182"/>
                </a:cubicBezTo>
                <a:cubicBezTo>
                  <a:pt x="8459" y="88239"/>
                  <a:pt x="8093" y="45287"/>
                  <a:pt x="8093" y="2390"/>
                </a:cubicBezTo>
                <a:cubicBezTo>
                  <a:pt x="17041" y="-288"/>
                  <a:pt x="58537" y="-913"/>
                  <a:pt x="76429" y="1531"/>
                </a:cubicBezTo>
                <a:cubicBezTo>
                  <a:pt x="79287" y="53276"/>
                  <a:pt x="82219" y="105359"/>
                  <a:pt x="91265" y="157878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174" name="Free-form: Shape 9173">
            <a:extLst>
              <a:ext uri="{FF2B5EF4-FFF2-40B4-BE49-F238E27FC236}">
                <a16:creationId xmlns:a16="http://schemas.microsoft.com/office/drawing/2014/main" id="{C8F257C4-3F26-796E-8D8F-48C6AB861EF5}"/>
              </a:ext>
            </a:extLst>
          </p:cNvPr>
          <p:cNvSpPr/>
          <p:nvPr/>
        </p:nvSpPr>
        <p:spPr>
          <a:xfrm>
            <a:off x="7477718" y="5187184"/>
            <a:ext cx="220393" cy="43851"/>
          </a:xfrm>
          <a:custGeom>
            <a:avLst/>
            <a:gdLst>
              <a:gd name="csX0" fmla="*/ 199184 w 322677"/>
              <a:gd name="csY0" fmla="*/ 59136 h 64202"/>
              <a:gd name="csX1" fmla="*/ 0 w 322677"/>
              <a:gd name="csY1" fmla="*/ 62697 h 64202"/>
              <a:gd name="csX2" fmla="*/ 0 w 322677"/>
              <a:gd name="csY2" fmla="*/ 18400 h 64202"/>
              <a:gd name="csX3" fmla="*/ 10601 w 322677"/>
              <a:gd name="csY3" fmla="*/ 17750 h 64202"/>
              <a:gd name="csX4" fmla="*/ 156563 w 322677"/>
              <a:gd name="csY4" fmla="*/ 15074 h 64202"/>
              <a:gd name="csX5" fmla="*/ 266479 w 322677"/>
              <a:gd name="csY5" fmla="*/ 4814 h 64202"/>
              <a:gd name="csX6" fmla="*/ 296798 w 322677"/>
              <a:gd name="csY6" fmla="*/ 344 h 64202"/>
              <a:gd name="csX7" fmla="*/ 309983 w 322677"/>
              <a:gd name="csY7" fmla="*/ 6097 h 64202"/>
              <a:gd name="csX8" fmla="*/ 322678 w 322677"/>
              <a:gd name="csY8" fmla="*/ 40406 h 64202"/>
              <a:gd name="csX9" fmla="*/ 199184 w 322677"/>
              <a:gd name="csY9" fmla="*/ 59136 h 6420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322677" h="64202">
                <a:moveTo>
                  <a:pt x="199184" y="59136"/>
                </a:moveTo>
                <a:cubicBezTo>
                  <a:pt x="132374" y="65824"/>
                  <a:pt x="66629" y="64605"/>
                  <a:pt x="0" y="62697"/>
                </a:cubicBezTo>
                <a:cubicBezTo>
                  <a:pt x="0" y="47160"/>
                  <a:pt x="0" y="33409"/>
                  <a:pt x="0" y="18400"/>
                </a:cubicBezTo>
                <a:cubicBezTo>
                  <a:pt x="3587" y="18160"/>
                  <a:pt x="7120" y="17536"/>
                  <a:pt x="10601" y="17750"/>
                </a:cubicBezTo>
                <a:cubicBezTo>
                  <a:pt x="59329" y="20736"/>
                  <a:pt x="107987" y="18533"/>
                  <a:pt x="156563" y="15074"/>
                </a:cubicBezTo>
                <a:cubicBezTo>
                  <a:pt x="193260" y="12461"/>
                  <a:pt x="229860" y="8449"/>
                  <a:pt x="266479" y="4814"/>
                </a:cubicBezTo>
                <a:cubicBezTo>
                  <a:pt x="276635" y="3806"/>
                  <a:pt x="286748" y="2160"/>
                  <a:pt x="296798" y="344"/>
                </a:cubicBezTo>
                <a:cubicBezTo>
                  <a:pt x="302773" y="-735"/>
                  <a:pt x="306536" y="602"/>
                  <a:pt x="309983" y="6097"/>
                </a:cubicBezTo>
                <a:cubicBezTo>
                  <a:pt x="316405" y="16331"/>
                  <a:pt x="320231" y="27243"/>
                  <a:pt x="322678" y="40406"/>
                </a:cubicBezTo>
                <a:cubicBezTo>
                  <a:pt x="281944" y="49611"/>
                  <a:pt x="241309" y="55431"/>
                  <a:pt x="199184" y="59136"/>
                </a:cubicBezTo>
                <a:close/>
              </a:path>
            </a:pathLst>
          </a:custGeom>
          <a:solidFill>
            <a:schemeClr val="bg1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175" name="Free-form: Shape 9174">
            <a:extLst>
              <a:ext uri="{FF2B5EF4-FFF2-40B4-BE49-F238E27FC236}">
                <a16:creationId xmlns:a16="http://schemas.microsoft.com/office/drawing/2014/main" id="{2D466B35-500B-6D86-7E4A-96FDB9BF314D}"/>
              </a:ext>
            </a:extLst>
          </p:cNvPr>
          <p:cNvSpPr/>
          <p:nvPr/>
        </p:nvSpPr>
        <p:spPr>
          <a:xfrm>
            <a:off x="7558694" y="4470003"/>
            <a:ext cx="61317" cy="24570"/>
          </a:xfrm>
          <a:custGeom>
            <a:avLst/>
            <a:gdLst>
              <a:gd name="csX0" fmla="*/ 94424 w 144688"/>
              <a:gd name="csY0" fmla="*/ 9299 h 52707"/>
              <a:gd name="csX1" fmla="*/ 121261 w 144688"/>
              <a:gd name="csY1" fmla="*/ 16460 h 52707"/>
              <a:gd name="csX2" fmla="*/ 143563 w 144688"/>
              <a:gd name="csY2" fmla="*/ 43347 h 52707"/>
              <a:gd name="csX3" fmla="*/ 144689 w 144688"/>
              <a:gd name="csY3" fmla="*/ 52708 h 52707"/>
              <a:gd name="csX4" fmla="*/ 349 w 144688"/>
              <a:gd name="csY4" fmla="*/ 52708 h 52707"/>
              <a:gd name="csX5" fmla="*/ 738 w 144688"/>
              <a:gd name="csY5" fmla="*/ 572 h 52707"/>
              <a:gd name="csX6" fmla="*/ 94424 w 144688"/>
              <a:gd name="csY6" fmla="*/ 9299 h 5270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</a:cxnLst>
            <a:rect l="l" t="t" r="r" b="b"/>
            <a:pathLst>
              <a:path w="144688" h="52707">
                <a:moveTo>
                  <a:pt x="94424" y="9299"/>
                </a:moveTo>
                <a:cubicBezTo>
                  <a:pt x="104138" y="11826"/>
                  <a:pt x="112739" y="14007"/>
                  <a:pt x="121261" y="16460"/>
                </a:cubicBezTo>
                <a:cubicBezTo>
                  <a:pt x="134742" y="20340"/>
                  <a:pt x="143121" y="28544"/>
                  <a:pt x="143563" y="43347"/>
                </a:cubicBezTo>
                <a:cubicBezTo>
                  <a:pt x="143645" y="46090"/>
                  <a:pt x="144206" y="48818"/>
                  <a:pt x="144689" y="52708"/>
                </a:cubicBezTo>
                <a:cubicBezTo>
                  <a:pt x="96675" y="52708"/>
                  <a:pt x="49316" y="52708"/>
                  <a:pt x="349" y="52708"/>
                </a:cubicBezTo>
                <a:cubicBezTo>
                  <a:pt x="-379" y="35695"/>
                  <a:pt x="172" y="18742"/>
                  <a:pt x="738" y="572"/>
                </a:cubicBezTo>
                <a:cubicBezTo>
                  <a:pt x="32910" y="-1712"/>
                  <a:pt x="63133" y="3179"/>
                  <a:pt x="94424" y="9299"/>
                </a:cubicBezTo>
                <a:close/>
              </a:path>
            </a:pathLst>
          </a:custGeom>
          <a:solidFill>
            <a:srgbClr val="FBFCFB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176" name="Free-form: Shape 9175">
            <a:extLst>
              <a:ext uri="{FF2B5EF4-FFF2-40B4-BE49-F238E27FC236}">
                <a16:creationId xmlns:a16="http://schemas.microsoft.com/office/drawing/2014/main" id="{D8C6E1E3-5420-015F-1FAD-B1B10BC638E5}"/>
              </a:ext>
            </a:extLst>
          </p:cNvPr>
          <p:cNvSpPr/>
          <p:nvPr/>
        </p:nvSpPr>
        <p:spPr>
          <a:xfrm>
            <a:off x="7557211" y="4980451"/>
            <a:ext cx="149086" cy="475360"/>
          </a:xfrm>
          <a:custGeom>
            <a:avLst/>
            <a:gdLst>
              <a:gd name="csX0" fmla="*/ 0 w 351791"/>
              <a:gd name="csY0" fmla="*/ 975370 h 1019713"/>
              <a:gd name="csX1" fmla="*/ 2187 w 351791"/>
              <a:gd name="csY1" fmla="*/ 923083 h 1019713"/>
              <a:gd name="csX2" fmla="*/ 2287 w 351791"/>
              <a:gd name="csY2" fmla="*/ 897079 h 1019713"/>
              <a:gd name="csX3" fmla="*/ 2799 w 351791"/>
              <a:gd name="csY3" fmla="*/ 849144 h 1019713"/>
              <a:gd name="csX4" fmla="*/ 5052 w 351791"/>
              <a:gd name="csY4" fmla="*/ 773650 h 1019713"/>
              <a:gd name="csX5" fmla="*/ 7113 w 351791"/>
              <a:gd name="csY5" fmla="*/ 630071 h 1019713"/>
              <a:gd name="csX6" fmla="*/ 9133 w 351791"/>
              <a:gd name="csY6" fmla="*/ 528600 h 1019713"/>
              <a:gd name="csX7" fmla="*/ 9163 w 351791"/>
              <a:gd name="csY7" fmla="*/ 497413 h 1019713"/>
              <a:gd name="csX8" fmla="*/ 11812 w 351791"/>
              <a:gd name="csY8" fmla="*/ 379910 h 1019713"/>
              <a:gd name="csX9" fmla="*/ 12024 w 351791"/>
              <a:gd name="csY9" fmla="*/ 348726 h 1019713"/>
              <a:gd name="csX10" fmla="*/ 14645 w 351791"/>
              <a:gd name="csY10" fmla="*/ 239691 h 1019713"/>
              <a:gd name="csX11" fmla="*/ 14784 w 351791"/>
              <a:gd name="csY11" fmla="*/ 214091 h 1019713"/>
              <a:gd name="csX12" fmla="*/ 17570 w 351791"/>
              <a:gd name="csY12" fmla="*/ 88165 h 1019713"/>
              <a:gd name="csX13" fmla="*/ 17615 w 351791"/>
              <a:gd name="csY13" fmla="*/ 37421 h 1019713"/>
              <a:gd name="csX14" fmla="*/ 18182 w 351791"/>
              <a:gd name="csY14" fmla="*/ 15484 h 1019713"/>
              <a:gd name="csX15" fmla="*/ 22091 w 351791"/>
              <a:gd name="csY15" fmla="*/ 2787 h 1019713"/>
              <a:gd name="csX16" fmla="*/ 54703 w 351791"/>
              <a:gd name="csY16" fmla="*/ 2968 h 1019713"/>
              <a:gd name="csX17" fmla="*/ 102677 w 351791"/>
              <a:gd name="csY17" fmla="*/ 2086 h 1019713"/>
              <a:gd name="csX18" fmla="*/ 175262 w 351791"/>
              <a:gd name="csY18" fmla="*/ 0 h 1019713"/>
              <a:gd name="csX19" fmla="*/ 189022 w 351791"/>
              <a:gd name="csY19" fmla="*/ 1595 h 1019713"/>
              <a:gd name="csX20" fmla="*/ 190628 w 351791"/>
              <a:gd name="csY20" fmla="*/ 112461 h 1019713"/>
              <a:gd name="csX21" fmla="*/ 191584 w 351791"/>
              <a:gd name="csY21" fmla="*/ 129605 h 1019713"/>
              <a:gd name="csX22" fmla="*/ 193429 w 351791"/>
              <a:gd name="csY22" fmla="*/ 173943 h 1019713"/>
              <a:gd name="csX23" fmla="*/ 194215 w 351791"/>
              <a:gd name="csY23" fmla="*/ 182908 h 1019713"/>
              <a:gd name="csX24" fmla="*/ 196316 w 351791"/>
              <a:gd name="csY24" fmla="*/ 215902 h 1019713"/>
              <a:gd name="csX25" fmla="*/ 196980 w 351791"/>
              <a:gd name="csY25" fmla="*/ 222182 h 1019713"/>
              <a:gd name="csX26" fmla="*/ 198972 w 351791"/>
              <a:gd name="csY26" fmla="*/ 249680 h 1019713"/>
              <a:gd name="csX27" fmla="*/ 199949 w 351791"/>
              <a:gd name="csY27" fmla="*/ 258553 h 1019713"/>
              <a:gd name="csX28" fmla="*/ 201912 w 351791"/>
              <a:gd name="csY28" fmla="*/ 280418 h 1019713"/>
              <a:gd name="csX29" fmla="*/ 202686 w 351791"/>
              <a:gd name="csY29" fmla="*/ 286632 h 1019713"/>
              <a:gd name="csX30" fmla="*/ 204600 w 351791"/>
              <a:gd name="csY30" fmla="*/ 308453 h 1019713"/>
              <a:gd name="csX31" fmla="*/ 205443 w 351791"/>
              <a:gd name="csY31" fmla="*/ 314650 h 1019713"/>
              <a:gd name="csX32" fmla="*/ 207431 w 351791"/>
              <a:gd name="csY32" fmla="*/ 333707 h 1019713"/>
              <a:gd name="csX33" fmla="*/ 208345 w 351791"/>
              <a:gd name="csY33" fmla="*/ 339842 h 1019713"/>
              <a:gd name="csX34" fmla="*/ 210218 w 351791"/>
              <a:gd name="csY34" fmla="*/ 356144 h 1019713"/>
              <a:gd name="csX35" fmla="*/ 211157 w 351791"/>
              <a:gd name="csY35" fmla="*/ 362375 h 1019713"/>
              <a:gd name="csX36" fmla="*/ 215820 w 351791"/>
              <a:gd name="csY36" fmla="*/ 398224 h 1019713"/>
              <a:gd name="csX37" fmla="*/ 216821 w 351791"/>
              <a:gd name="csY37" fmla="*/ 404425 h 1019713"/>
              <a:gd name="csX38" fmla="*/ 224187 w 351791"/>
              <a:gd name="csY38" fmla="*/ 451440 h 1019713"/>
              <a:gd name="csX39" fmla="*/ 225295 w 351791"/>
              <a:gd name="csY39" fmla="*/ 457691 h 1019713"/>
              <a:gd name="csX40" fmla="*/ 226831 w 351791"/>
              <a:gd name="csY40" fmla="*/ 468268 h 1019713"/>
              <a:gd name="csX41" fmla="*/ 228069 w 351791"/>
              <a:gd name="csY41" fmla="*/ 474360 h 1019713"/>
              <a:gd name="csX42" fmla="*/ 229778 w 351791"/>
              <a:gd name="csY42" fmla="*/ 485181 h 1019713"/>
              <a:gd name="csX43" fmla="*/ 230932 w 351791"/>
              <a:gd name="csY43" fmla="*/ 491348 h 1019713"/>
              <a:gd name="csX44" fmla="*/ 238095 w 351791"/>
              <a:gd name="csY44" fmla="*/ 532855 h 1019713"/>
              <a:gd name="csX45" fmla="*/ 239424 w 351791"/>
              <a:gd name="csY45" fmla="*/ 539021 h 1019713"/>
              <a:gd name="csX46" fmla="*/ 252120 w 351791"/>
              <a:gd name="csY46" fmla="*/ 605725 h 1019713"/>
              <a:gd name="csX47" fmla="*/ 253460 w 351791"/>
              <a:gd name="csY47" fmla="*/ 611945 h 1019713"/>
              <a:gd name="csX48" fmla="*/ 258622 w 351791"/>
              <a:gd name="csY48" fmla="*/ 639154 h 1019713"/>
              <a:gd name="csX49" fmla="*/ 285765 w 351791"/>
              <a:gd name="csY49" fmla="*/ 762817 h 1019713"/>
              <a:gd name="csX50" fmla="*/ 287284 w 351791"/>
              <a:gd name="csY50" fmla="*/ 768970 h 1019713"/>
              <a:gd name="csX51" fmla="*/ 351792 w 351791"/>
              <a:gd name="csY51" fmla="*/ 1017474 h 1019713"/>
              <a:gd name="csX52" fmla="*/ 308062 w 351791"/>
              <a:gd name="csY52" fmla="*/ 1016918 h 1019713"/>
              <a:gd name="csX53" fmla="*/ 241358 w 351791"/>
              <a:gd name="csY53" fmla="*/ 1016276 h 1019713"/>
              <a:gd name="csX54" fmla="*/ 229231 w 351791"/>
              <a:gd name="csY54" fmla="*/ 1017881 h 1019713"/>
              <a:gd name="csX55" fmla="*/ 0 w 351791"/>
              <a:gd name="csY55" fmla="*/ 1019714 h 1019713"/>
              <a:gd name="csX56" fmla="*/ 0 w 351791"/>
              <a:gd name="csY56" fmla="*/ 975370 h 101971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</a:cxnLst>
            <a:rect l="l" t="t" r="r" b="b"/>
            <a:pathLst>
              <a:path w="351791" h="1019713">
                <a:moveTo>
                  <a:pt x="0" y="975370"/>
                </a:moveTo>
                <a:cubicBezTo>
                  <a:pt x="743" y="957941"/>
                  <a:pt x="1582" y="940516"/>
                  <a:pt x="2187" y="923083"/>
                </a:cubicBezTo>
                <a:cubicBezTo>
                  <a:pt x="2458" y="915260"/>
                  <a:pt x="2262" y="907422"/>
                  <a:pt x="2287" y="897079"/>
                </a:cubicBezTo>
                <a:cubicBezTo>
                  <a:pt x="2463" y="879425"/>
                  <a:pt x="2631" y="864284"/>
                  <a:pt x="2799" y="849144"/>
                </a:cubicBezTo>
                <a:cubicBezTo>
                  <a:pt x="3544" y="824817"/>
                  <a:pt x="4289" y="800489"/>
                  <a:pt x="5052" y="773650"/>
                </a:cubicBezTo>
                <a:cubicBezTo>
                  <a:pt x="5751" y="724115"/>
                  <a:pt x="6432" y="677093"/>
                  <a:pt x="7113" y="630071"/>
                </a:cubicBezTo>
                <a:cubicBezTo>
                  <a:pt x="7598" y="596560"/>
                  <a:pt x="8084" y="563050"/>
                  <a:pt x="9133" y="528600"/>
                </a:cubicBezTo>
                <a:cubicBezTo>
                  <a:pt x="9465" y="518010"/>
                  <a:pt x="9234" y="508360"/>
                  <a:pt x="9163" y="497413"/>
                </a:cubicBezTo>
                <a:cubicBezTo>
                  <a:pt x="9957" y="457690"/>
                  <a:pt x="10592" y="419261"/>
                  <a:pt x="11812" y="379910"/>
                </a:cubicBezTo>
                <a:cubicBezTo>
                  <a:pt x="12221" y="369334"/>
                  <a:pt x="12045" y="359680"/>
                  <a:pt x="12024" y="348726"/>
                </a:cubicBezTo>
                <a:cubicBezTo>
                  <a:pt x="12813" y="311813"/>
                  <a:pt x="13446" y="276201"/>
                  <a:pt x="14645" y="239691"/>
                </a:cubicBezTo>
                <a:cubicBezTo>
                  <a:pt x="15021" y="230992"/>
                  <a:pt x="14832" y="223190"/>
                  <a:pt x="14784" y="214091"/>
                </a:cubicBezTo>
                <a:cubicBezTo>
                  <a:pt x="15615" y="171575"/>
                  <a:pt x="16305" y="130355"/>
                  <a:pt x="17570" y="88165"/>
                </a:cubicBezTo>
                <a:cubicBezTo>
                  <a:pt x="17924" y="71015"/>
                  <a:pt x="17703" y="54835"/>
                  <a:pt x="17615" y="37421"/>
                </a:cubicBezTo>
                <a:cubicBezTo>
                  <a:pt x="17715" y="29569"/>
                  <a:pt x="17682" y="22951"/>
                  <a:pt x="18182" y="15484"/>
                </a:cubicBezTo>
                <a:cubicBezTo>
                  <a:pt x="19427" y="10639"/>
                  <a:pt x="20141" y="6642"/>
                  <a:pt x="22091" y="2787"/>
                </a:cubicBezTo>
                <a:cubicBezTo>
                  <a:pt x="33455" y="2760"/>
                  <a:pt x="43581" y="2592"/>
                  <a:pt x="54703" y="2968"/>
                </a:cubicBezTo>
                <a:cubicBezTo>
                  <a:pt x="70921" y="2997"/>
                  <a:pt x="86144" y="2480"/>
                  <a:pt x="102677" y="2086"/>
                </a:cubicBezTo>
                <a:cubicBezTo>
                  <a:pt x="127444" y="1303"/>
                  <a:pt x="150901" y="399"/>
                  <a:pt x="175262" y="0"/>
                </a:cubicBezTo>
                <a:cubicBezTo>
                  <a:pt x="180415" y="388"/>
                  <a:pt x="184664" y="270"/>
                  <a:pt x="189022" y="1595"/>
                </a:cubicBezTo>
                <a:cubicBezTo>
                  <a:pt x="189796" y="39233"/>
                  <a:pt x="190459" y="75430"/>
                  <a:pt x="190628" y="112461"/>
                </a:cubicBezTo>
                <a:cubicBezTo>
                  <a:pt x="190659" y="118310"/>
                  <a:pt x="191185" y="123324"/>
                  <a:pt x="191584" y="129605"/>
                </a:cubicBezTo>
                <a:cubicBezTo>
                  <a:pt x="192268" y="145024"/>
                  <a:pt x="193079" y="159176"/>
                  <a:pt x="193429" y="173943"/>
                </a:cubicBezTo>
                <a:cubicBezTo>
                  <a:pt x="193407" y="176938"/>
                  <a:pt x="193846" y="179318"/>
                  <a:pt x="194215" y="182908"/>
                </a:cubicBezTo>
                <a:cubicBezTo>
                  <a:pt x="195008" y="194551"/>
                  <a:pt x="195871" y="204983"/>
                  <a:pt x="196316" y="215902"/>
                </a:cubicBezTo>
                <a:cubicBezTo>
                  <a:pt x="196287" y="217918"/>
                  <a:pt x="196676" y="219447"/>
                  <a:pt x="196980" y="222182"/>
                </a:cubicBezTo>
                <a:cubicBezTo>
                  <a:pt x="197737" y="231943"/>
                  <a:pt x="198578" y="240498"/>
                  <a:pt x="198972" y="249680"/>
                </a:cubicBezTo>
                <a:cubicBezTo>
                  <a:pt x="199023" y="252674"/>
                  <a:pt x="199521" y="255040"/>
                  <a:pt x="199949" y="258553"/>
                </a:cubicBezTo>
                <a:cubicBezTo>
                  <a:pt x="200695" y="266443"/>
                  <a:pt x="201512" y="273186"/>
                  <a:pt x="201912" y="280418"/>
                </a:cubicBezTo>
                <a:cubicBezTo>
                  <a:pt x="201915" y="282431"/>
                  <a:pt x="202335" y="283954"/>
                  <a:pt x="202686" y="286632"/>
                </a:cubicBezTo>
                <a:cubicBezTo>
                  <a:pt x="203420" y="294511"/>
                  <a:pt x="204221" y="301235"/>
                  <a:pt x="204600" y="308453"/>
                </a:cubicBezTo>
                <a:cubicBezTo>
                  <a:pt x="204617" y="310478"/>
                  <a:pt x="205056" y="312010"/>
                  <a:pt x="205443" y="314650"/>
                </a:cubicBezTo>
                <a:cubicBezTo>
                  <a:pt x="206209" y="321575"/>
                  <a:pt x="207026" y="327392"/>
                  <a:pt x="207431" y="333707"/>
                </a:cubicBezTo>
                <a:cubicBezTo>
                  <a:pt x="207477" y="335726"/>
                  <a:pt x="207935" y="337248"/>
                  <a:pt x="208345" y="339842"/>
                </a:cubicBezTo>
                <a:cubicBezTo>
                  <a:pt x="209075" y="345825"/>
                  <a:pt x="209853" y="350735"/>
                  <a:pt x="210218" y="356144"/>
                </a:cubicBezTo>
                <a:cubicBezTo>
                  <a:pt x="210268" y="358165"/>
                  <a:pt x="210732" y="359689"/>
                  <a:pt x="211157" y="362375"/>
                </a:cubicBezTo>
                <a:cubicBezTo>
                  <a:pt x="212820" y="374932"/>
                  <a:pt x="214522" y="386326"/>
                  <a:pt x="215820" y="398224"/>
                </a:cubicBezTo>
                <a:cubicBezTo>
                  <a:pt x="215896" y="400245"/>
                  <a:pt x="216376" y="401761"/>
                  <a:pt x="216821" y="404425"/>
                </a:cubicBezTo>
                <a:cubicBezTo>
                  <a:pt x="219381" y="420620"/>
                  <a:pt x="221974" y="435667"/>
                  <a:pt x="224187" y="451440"/>
                </a:cubicBezTo>
                <a:cubicBezTo>
                  <a:pt x="224310" y="453633"/>
                  <a:pt x="224814" y="455099"/>
                  <a:pt x="225295" y="457691"/>
                </a:cubicBezTo>
                <a:cubicBezTo>
                  <a:pt x="225916" y="461722"/>
                  <a:pt x="226560" y="464628"/>
                  <a:pt x="226831" y="468268"/>
                </a:cubicBezTo>
                <a:cubicBezTo>
                  <a:pt x="227002" y="470469"/>
                  <a:pt x="227545" y="471935"/>
                  <a:pt x="228069" y="474360"/>
                </a:cubicBezTo>
                <a:cubicBezTo>
                  <a:pt x="228757" y="478435"/>
                  <a:pt x="229465" y="481551"/>
                  <a:pt x="229778" y="485181"/>
                </a:cubicBezTo>
                <a:cubicBezTo>
                  <a:pt x="229895" y="487205"/>
                  <a:pt x="230405" y="488717"/>
                  <a:pt x="230932" y="491348"/>
                </a:cubicBezTo>
                <a:cubicBezTo>
                  <a:pt x="233462" y="505758"/>
                  <a:pt x="235976" y="519047"/>
                  <a:pt x="238095" y="532855"/>
                </a:cubicBezTo>
                <a:cubicBezTo>
                  <a:pt x="238266" y="534884"/>
                  <a:pt x="238832" y="536393"/>
                  <a:pt x="239424" y="539021"/>
                </a:cubicBezTo>
                <a:cubicBezTo>
                  <a:pt x="243794" y="561754"/>
                  <a:pt x="248139" y="583369"/>
                  <a:pt x="252120" y="605725"/>
                </a:cubicBezTo>
                <a:cubicBezTo>
                  <a:pt x="252314" y="607922"/>
                  <a:pt x="252872" y="609379"/>
                  <a:pt x="253460" y="611945"/>
                </a:cubicBezTo>
                <a:cubicBezTo>
                  <a:pt x="255190" y="621757"/>
                  <a:pt x="256700" y="630501"/>
                  <a:pt x="258622" y="639154"/>
                </a:cubicBezTo>
                <a:cubicBezTo>
                  <a:pt x="267724" y="680139"/>
                  <a:pt x="276939" y="721098"/>
                  <a:pt x="285765" y="762817"/>
                </a:cubicBezTo>
                <a:cubicBezTo>
                  <a:pt x="286023" y="765009"/>
                  <a:pt x="286629" y="766448"/>
                  <a:pt x="287284" y="768970"/>
                </a:cubicBezTo>
                <a:cubicBezTo>
                  <a:pt x="306160" y="852474"/>
                  <a:pt x="325237" y="934833"/>
                  <a:pt x="351792" y="1017474"/>
                </a:cubicBezTo>
                <a:cubicBezTo>
                  <a:pt x="335905" y="1017474"/>
                  <a:pt x="322480" y="1017474"/>
                  <a:pt x="308062" y="1016918"/>
                </a:cubicBezTo>
                <a:cubicBezTo>
                  <a:pt x="285165" y="1016306"/>
                  <a:pt x="263261" y="1016166"/>
                  <a:pt x="241358" y="1016276"/>
                </a:cubicBezTo>
                <a:cubicBezTo>
                  <a:pt x="237751" y="1016294"/>
                  <a:pt x="234149" y="1017408"/>
                  <a:pt x="229231" y="1017881"/>
                </a:cubicBezTo>
                <a:cubicBezTo>
                  <a:pt x="152375" y="1018399"/>
                  <a:pt x="76832" y="1019051"/>
                  <a:pt x="0" y="1019714"/>
                </a:cubicBezTo>
                <a:cubicBezTo>
                  <a:pt x="0" y="1004040"/>
                  <a:pt x="0" y="989705"/>
                  <a:pt x="0" y="975370"/>
                </a:cubicBezTo>
                <a:close/>
              </a:path>
            </a:pathLst>
          </a:custGeom>
          <a:solidFill>
            <a:srgbClr val="FEFEFD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177" name="Free-form: Shape 9176">
            <a:extLst>
              <a:ext uri="{FF2B5EF4-FFF2-40B4-BE49-F238E27FC236}">
                <a16:creationId xmlns:a16="http://schemas.microsoft.com/office/drawing/2014/main" id="{3F862AD4-972F-71F8-043F-F758F5F7298D}"/>
              </a:ext>
            </a:extLst>
          </p:cNvPr>
          <p:cNvSpPr/>
          <p:nvPr/>
        </p:nvSpPr>
        <p:spPr>
          <a:xfrm>
            <a:off x="7557096" y="5492258"/>
            <a:ext cx="242745" cy="166660"/>
          </a:xfrm>
          <a:custGeom>
            <a:avLst/>
            <a:gdLst>
              <a:gd name="csX0" fmla="*/ 344821 w 572791"/>
              <a:gd name="csY0" fmla="*/ 351014 h 357509"/>
              <a:gd name="csX1" fmla="*/ 0 w 572791"/>
              <a:gd name="csY1" fmla="*/ 355669 h 357509"/>
              <a:gd name="csX2" fmla="*/ 1306 w 572791"/>
              <a:gd name="csY2" fmla="*/ 18915 h 357509"/>
              <a:gd name="csX3" fmla="*/ 12212 w 572791"/>
              <a:gd name="csY3" fmla="*/ 17740 h 357509"/>
              <a:gd name="csX4" fmla="*/ 132738 w 572791"/>
              <a:gd name="csY4" fmla="*/ 15715 h 357509"/>
              <a:gd name="csX5" fmla="*/ 364924 w 572791"/>
              <a:gd name="csY5" fmla="*/ 2198 h 357509"/>
              <a:gd name="csX6" fmla="*/ 402207 w 572791"/>
              <a:gd name="csY6" fmla="*/ 0 h 357509"/>
              <a:gd name="csX7" fmla="*/ 403816 w 572791"/>
              <a:gd name="csY7" fmla="*/ 4817 h 357509"/>
              <a:gd name="csX8" fmla="*/ 443486 w 572791"/>
              <a:gd name="csY8" fmla="*/ 95035 h 357509"/>
              <a:gd name="csX9" fmla="*/ 503695 w 572791"/>
              <a:gd name="csY9" fmla="*/ 157671 h 357509"/>
              <a:gd name="csX10" fmla="*/ 544964 w 572791"/>
              <a:gd name="csY10" fmla="*/ 208741 h 357509"/>
              <a:gd name="csX11" fmla="*/ 572752 w 572791"/>
              <a:gd name="csY11" fmla="*/ 314190 h 357509"/>
              <a:gd name="csX12" fmla="*/ 571373 w 572791"/>
              <a:gd name="csY12" fmla="*/ 324914 h 357509"/>
              <a:gd name="csX13" fmla="*/ 344821 w 572791"/>
              <a:gd name="csY13" fmla="*/ 351014 h 35750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</a:cxnLst>
            <a:rect l="l" t="t" r="r" b="b"/>
            <a:pathLst>
              <a:path w="572791" h="357509">
                <a:moveTo>
                  <a:pt x="344821" y="351014"/>
                </a:moveTo>
                <a:cubicBezTo>
                  <a:pt x="229704" y="359270"/>
                  <a:pt x="115810" y="358215"/>
                  <a:pt x="0" y="355669"/>
                </a:cubicBezTo>
                <a:cubicBezTo>
                  <a:pt x="6641" y="242789"/>
                  <a:pt x="11423" y="131403"/>
                  <a:pt x="1306" y="18915"/>
                </a:cubicBezTo>
                <a:cubicBezTo>
                  <a:pt x="5142" y="18486"/>
                  <a:pt x="8671" y="17803"/>
                  <a:pt x="12212" y="17740"/>
                </a:cubicBezTo>
                <a:cubicBezTo>
                  <a:pt x="52386" y="17019"/>
                  <a:pt x="92565" y="16532"/>
                  <a:pt x="132738" y="15715"/>
                </a:cubicBezTo>
                <a:cubicBezTo>
                  <a:pt x="210300" y="14136"/>
                  <a:pt x="287658" y="8969"/>
                  <a:pt x="364924" y="2198"/>
                </a:cubicBezTo>
                <a:cubicBezTo>
                  <a:pt x="377346" y="1110"/>
                  <a:pt x="389829" y="713"/>
                  <a:pt x="402207" y="0"/>
                </a:cubicBezTo>
                <a:cubicBezTo>
                  <a:pt x="402989" y="2261"/>
                  <a:pt x="403828" y="3543"/>
                  <a:pt x="403816" y="4817"/>
                </a:cubicBezTo>
                <a:cubicBezTo>
                  <a:pt x="403458" y="40866"/>
                  <a:pt x="420668" y="69493"/>
                  <a:pt x="443486" y="95035"/>
                </a:cubicBezTo>
                <a:cubicBezTo>
                  <a:pt x="462767" y="116618"/>
                  <a:pt x="484228" y="136244"/>
                  <a:pt x="503695" y="157671"/>
                </a:cubicBezTo>
                <a:cubicBezTo>
                  <a:pt x="518401" y="173858"/>
                  <a:pt x="532941" y="190557"/>
                  <a:pt x="544964" y="208741"/>
                </a:cubicBezTo>
                <a:cubicBezTo>
                  <a:pt x="565917" y="240429"/>
                  <a:pt x="573411" y="276430"/>
                  <a:pt x="572752" y="314190"/>
                </a:cubicBezTo>
                <a:cubicBezTo>
                  <a:pt x="572696" y="317365"/>
                  <a:pt x="571957" y="320529"/>
                  <a:pt x="571373" y="324914"/>
                </a:cubicBezTo>
                <a:cubicBezTo>
                  <a:pt x="496226" y="334583"/>
                  <a:pt x="421404" y="344621"/>
                  <a:pt x="344821" y="351014"/>
                </a:cubicBezTo>
                <a:close/>
              </a:path>
            </a:pathLst>
          </a:custGeom>
          <a:solidFill>
            <a:srgbClr val="FEFEFD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178" name="Free-form: Shape 9177">
            <a:extLst>
              <a:ext uri="{FF2B5EF4-FFF2-40B4-BE49-F238E27FC236}">
                <a16:creationId xmlns:a16="http://schemas.microsoft.com/office/drawing/2014/main" id="{51C5A0CC-7C07-0C79-D22C-0BDDC381007F}"/>
              </a:ext>
            </a:extLst>
          </p:cNvPr>
          <p:cNvSpPr/>
          <p:nvPr/>
        </p:nvSpPr>
        <p:spPr>
          <a:xfrm>
            <a:off x="7556207" y="5684978"/>
            <a:ext cx="259324" cy="66477"/>
          </a:xfrm>
          <a:custGeom>
            <a:avLst/>
            <a:gdLst>
              <a:gd name="csX0" fmla="*/ 298270 w 611913"/>
              <a:gd name="csY0" fmla="*/ 29215 h 142602"/>
              <a:gd name="csX1" fmla="*/ 512796 w 611913"/>
              <a:gd name="csY1" fmla="*/ 6951 h 142602"/>
              <a:gd name="csX2" fmla="*/ 567029 w 611913"/>
              <a:gd name="csY2" fmla="*/ 256 h 142602"/>
              <a:gd name="csX3" fmla="*/ 586840 w 611913"/>
              <a:gd name="csY3" fmla="*/ 10038 h 142602"/>
              <a:gd name="csX4" fmla="*/ 593324 w 611913"/>
              <a:gd name="csY4" fmla="*/ 20837 h 142602"/>
              <a:gd name="csX5" fmla="*/ 611914 w 611913"/>
              <a:gd name="csY5" fmla="*/ 96596 h 142602"/>
              <a:gd name="csX6" fmla="*/ 598468 w 611913"/>
              <a:gd name="csY6" fmla="*/ 100799 h 142602"/>
              <a:gd name="csX7" fmla="*/ 410669 w 611913"/>
              <a:gd name="csY7" fmla="*/ 132209 h 142602"/>
              <a:gd name="csX8" fmla="*/ 125026 w 611913"/>
              <a:gd name="csY8" fmla="*/ 141814 h 142602"/>
              <a:gd name="csX9" fmla="*/ 11546 w 611913"/>
              <a:gd name="csY9" fmla="*/ 137848 h 142602"/>
              <a:gd name="csX10" fmla="*/ 0 w 611913"/>
              <a:gd name="csY10" fmla="*/ 136841 h 142602"/>
              <a:gd name="csX11" fmla="*/ 6226 w 611913"/>
              <a:gd name="csY11" fmla="*/ 34049 h 142602"/>
              <a:gd name="csX12" fmla="*/ 25148 w 611913"/>
              <a:gd name="csY12" fmla="*/ 34049 h 142602"/>
              <a:gd name="csX13" fmla="*/ 203168 w 611913"/>
              <a:gd name="csY13" fmla="*/ 33784 h 142602"/>
              <a:gd name="csX14" fmla="*/ 298270 w 611913"/>
              <a:gd name="csY14" fmla="*/ 29215 h 14260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</a:cxnLst>
            <a:rect l="l" t="t" r="r" b="b"/>
            <a:pathLst>
              <a:path w="611913" h="142602">
                <a:moveTo>
                  <a:pt x="298270" y="29215"/>
                </a:moveTo>
                <a:cubicBezTo>
                  <a:pt x="370954" y="24666"/>
                  <a:pt x="441996" y="17008"/>
                  <a:pt x="512796" y="6951"/>
                </a:cubicBezTo>
                <a:cubicBezTo>
                  <a:pt x="530827" y="4390"/>
                  <a:pt x="548992" y="2783"/>
                  <a:pt x="567029" y="256"/>
                </a:cubicBezTo>
                <a:cubicBezTo>
                  <a:pt x="576202" y="-1030"/>
                  <a:pt x="582311" y="2575"/>
                  <a:pt x="586840" y="10038"/>
                </a:cubicBezTo>
                <a:cubicBezTo>
                  <a:pt x="589020" y="13630"/>
                  <a:pt x="591618" y="17033"/>
                  <a:pt x="593324" y="20837"/>
                </a:cubicBezTo>
                <a:cubicBezTo>
                  <a:pt x="603952" y="44539"/>
                  <a:pt x="608111" y="69801"/>
                  <a:pt x="611914" y="96596"/>
                </a:cubicBezTo>
                <a:cubicBezTo>
                  <a:pt x="607052" y="98130"/>
                  <a:pt x="602824" y="99720"/>
                  <a:pt x="598468" y="100799"/>
                </a:cubicBezTo>
                <a:cubicBezTo>
                  <a:pt x="536680" y="116108"/>
                  <a:pt x="473961" y="125773"/>
                  <a:pt x="410669" y="132209"/>
                </a:cubicBezTo>
                <a:cubicBezTo>
                  <a:pt x="315660" y="141870"/>
                  <a:pt x="220411" y="144010"/>
                  <a:pt x="125026" y="141814"/>
                </a:cubicBezTo>
                <a:cubicBezTo>
                  <a:pt x="87189" y="140943"/>
                  <a:pt x="49371" y="139223"/>
                  <a:pt x="11546" y="137848"/>
                </a:cubicBezTo>
                <a:cubicBezTo>
                  <a:pt x="8331" y="137731"/>
                  <a:pt x="5128" y="137299"/>
                  <a:pt x="0" y="136841"/>
                </a:cubicBezTo>
                <a:cubicBezTo>
                  <a:pt x="917" y="102718"/>
                  <a:pt x="4600" y="69125"/>
                  <a:pt x="6226" y="34049"/>
                </a:cubicBezTo>
                <a:cubicBezTo>
                  <a:pt x="13237" y="34049"/>
                  <a:pt x="19192" y="34051"/>
                  <a:pt x="25148" y="34049"/>
                </a:cubicBezTo>
                <a:cubicBezTo>
                  <a:pt x="84488" y="34030"/>
                  <a:pt x="143836" y="34519"/>
                  <a:pt x="203168" y="33784"/>
                </a:cubicBezTo>
                <a:cubicBezTo>
                  <a:pt x="234447" y="33397"/>
                  <a:pt x="265701" y="30872"/>
                  <a:pt x="298270" y="29215"/>
                </a:cubicBezTo>
                <a:close/>
              </a:path>
            </a:pathLst>
          </a:custGeom>
          <a:solidFill>
            <a:srgbClr val="FEFDFB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179" name="Free-form: Shape 9178">
            <a:extLst>
              <a:ext uri="{FF2B5EF4-FFF2-40B4-BE49-F238E27FC236}">
                <a16:creationId xmlns:a16="http://schemas.microsoft.com/office/drawing/2014/main" id="{07CBD3D7-ECB0-3D77-313F-31164028641A}"/>
              </a:ext>
            </a:extLst>
          </p:cNvPr>
          <p:cNvSpPr/>
          <p:nvPr/>
        </p:nvSpPr>
        <p:spPr>
          <a:xfrm>
            <a:off x="7565097" y="4918059"/>
            <a:ext cx="130728" cy="33077"/>
          </a:xfrm>
          <a:custGeom>
            <a:avLst/>
            <a:gdLst>
              <a:gd name="csX0" fmla="*/ 113686 w 308472"/>
              <a:gd name="csY0" fmla="*/ 4708 h 70954"/>
              <a:gd name="csX1" fmla="*/ 238304 w 308472"/>
              <a:gd name="csY1" fmla="*/ 79 h 70954"/>
              <a:gd name="csX2" fmla="*/ 293684 w 308472"/>
              <a:gd name="csY2" fmla="*/ 16423 h 70954"/>
              <a:gd name="csX3" fmla="*/ 308469 w 308472"/>
              <a:gd name="csY3" fmla="*/ 46566 h 70954"/>
              <a:gd name="csX4" fmla="*/ 296679 w 308472"/>
              <a:gd name="csY4" fmla="*/ 60539 h 70954"/>
              <a:gd name="csX5" fmla="*/ 281393 w 308472"/>
              <a:gd name="csY5" fmla="*/ 62359 h 70954"/>
              <a:gd name="csX6" fmla="*/ 13891 w 308472"/>
              <a:gd name="csY6" fmla="*/ 70892 h 70954"/>
              <a:gd name="csX7" fmla="*/ 0 w 308472"/>
              <a:gd name="csY7" fmla="*/ 70909 h 70954"/>
              <a:gd name="csX8" fmla="*/ 4414 w 308472"/>
              <a:gd name="csY8" fmla="*/ 8877 h 70954"/>
              <a:gd name="csX9" fmla="*/ 59085 w 308472"/>
              <a:gd name="csY9" fmla="*/ 6769 h 70954"/>
              <a:gd name="csX10" fmla="*/ 113686 w 308472"/>
              <a:gd name="csY10" fmla="*/ 4708 h 7095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</a:cxnLst>
            <a:rect l="l" t="t" r="r" b="b"/>
            <a:pathLst>
              <a:path w="308472" h="70954">
                <a:moveTo>
                  <a:pt x="113686" y="4708"/>
                </a:moveTo>
                <a:cubicBezTo>
                  <a:pt x="156156" y="3151"/>
                  <a:pt x="197235" y="1744"/>
                  <a:pt x="238304" y="79"/>
                </a:cubicBezTo>
                <a:cubicBezTo>
                  <a:pt x="258693" y="-748"/>
                  <a:pt x="277061" y="4922"/>
                  <a:pt x="293684" y="16423"/>
                </a:cubicBezTo>
                <a:cubicBezTo>
                  <a:pt x="304119" y="23641"/>
                  <a:pt x="308615" y="34077"/>
                  <a:pt x="308469" y="46566"/>
                </a:cubicBezTo>
                <a:cubicBezTo>
                  <a:pt x="308355" y="56359"/>
                  <a:pt x="306312" y="58808"/>
                  <a:pt x="296679" y="60539"/>
                </a:cubicBezTo>
                <a:cubicBezTo>
                  <a:pt x="291635" y="61446"/>
                  <a:pt x="286506" y="62192"/>
                  <a:pt x="281393" y="62359"/>
                </a:cubicBezTo>
                <a:cubicBezTo>
                  <a:pt x="192228" y="65269"/>
                  <a:pt x="103059" y="68083"/>
                  <a:pt x="13891" y="70892"/>
                </a:cubicBezTo>
                <a:cubicBezTo>
                  <a:pt x="9772" y="71022"/>
                  <a:pt x="5645" y="70909"/>
                  <a:pt x="0" y="70909"/>
                </a:cubicBezTo>
                <a:cubicBezTo>
                  <a:pt x="1487" y="50015"/>
                  <a:pt x="2892" y="30265"/>
                  <a:pt x="4414" y="8877"/>
                </a:cubicBezTo>
                <a:cubicBezTo>
                  <a:pt x="23034" y="7159"/>
                  <a:pt x="41075" y="7283"/>
                  <a:pt x="59085" y="6769"/>
                </a:cubicBezTo>
                <a:cubicBezTo>
                  <a:pt x="76825" y="6262"/>
                  <a:pt x="94556" y="5438"/>
                  <a:pt x="113686" y="4708"/>
                </a:cubicBezTo>
                <a:close/>
              </a:path>
            </a:pathLst>
          </a:custGeom>
          <a:solidFill>
            <a:srgbClr val="FEFDFB"/>
          </a:solidFill>
          <a:ln w="1401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180" name="Free-form: Shape 9179">
            <a:extLst>
              <a:ext uri="{FF2B5EF4-FFF2-40B4-BE49-F238E27FC236}">
                <a16:creationId xmlns:a16="http://schemas.microsoft.com/office/drawing/2014/main" id="{D9206D1E-2DFE-D0C3-DDE5-ABA5E5846731}"/>
              </a:ext>
            </a:extLst>
          </p:cNvPr>
          <p:cNvSpPr/>
          <p:nvPr/>
        </p:nvSpPr>
        <p:spPr>
          <a:xfrm>
            <a:off x="7557254" y="4517692"/>
            <a:ext cx="162064" cy="275701"/>
          </a:xfrm>
          <a:custGeom>
            <a:avLst/>
            <a:gdLst>
              <a:gd name="csX0" fmla="*/ 14188 w 382415"/>
              <a:gd name="csY0" fmla="*/ 447946 h 591415"/>
              <a:gd name="csX1" fmla="*/ 12298 w 382415"/>
              <a:gd name="csY1" fmla="*/ 381038 h 591415"/>
              <a:gd name="csX2" fmla="*/ 11200 w 382415"/>
              <a:gd name="csY2" fmla="*/ 363835 h 591415"/>
              <a:gd name="csX3" fmla="*/ 9378 w 382415"/>
              <a:gd name="csY3" fmla="*/ 305508 h 591415"/>
              <a:gd name="csX4" fmla="*/ 8516 w 382415"/>
              <a:gd name="csY4" fmla="*/ 296482 h 591415"/>
              <a:gd name="csX5" fmla="*/ 6728 w 382415"/>
              <a:gd name="csY5" fmla="*/ 223958 h 591415"/>
              <a:gd name="csX6" fmla="*/ 5645 w 382415"/>
              <a:gd name="csY6" fmla="*/ 206735 h 591415"/>
              <a:gd name="csX7" fmla="*/ 3964 w 382415"/>
              <a:gd name="csY7" fmla="*/ 137053 h 591415"/>
              <a:gd name="csX8" fmla="*/ 2902 w 382415"/>
              <a:gd name="csY8" fmla="*/ 122565 h 591415"/>
              <a:gd name="csX9" fmla="*/ 1011 w 382415"/>
              <a:gd name="csY9" fmla="*/ 47301 h 591415"/>
              <a:gd name="csX10" fmla="*/ 20 w 382415"/>
              <a:gd name="csY10" fmla="*/ 32821 h 591415"/>
              <a:gd name="csX11" fmla="*/ 512 w 382415"/>
              <a:gd name="csY11" fmla="*/ 4394 h 591415"/>
              <a:gd name="csX12" fmla="*/ 2417 w 382415"/>
              <a:gd name="csY12" fmla="*/ 1592 h 591415"/>
              <a:gd name="csX13" fmla="*/ 115794 w 382415"/>
              <a:gd name="csY13" fmla="*/ 4 h 591415"/>
              <a:gd name="csX14" fmla="*/ 162265 w 382415"/>
              <a:gd name="csY14" fmla="*/ 2117 h 591415"/>
              <a:gd name="csX15" fmla="*/ 168630 w 382415"/>
              <a:gd name="csY15" fmla="*/ 1773 h 591415"/>
              <a:gd name="csX16" fmla="*/ 314663 w 382415"/>
              <a:gd name="csY16" fmla="*/ 18731 h 591415"/>
              <a:gd name="csX17" fmla="*/ 367127 w 382415"/>
              <a:gd name="csY17" fmla="*/ 32924 h 591415"/>
              <a:gd name="csX18" fmla="*/ 382384 w 382415"/>
              <a:gd name="csY18" fmla="*/ 56466 h 591415"/>
              <a:gd name="csX19" fmla="*/ 368394 w 382415"/>
              <a:gd name="csY19" fmla="*/ 120544 h 591415"/>
              <a:gd name="csX20" fmla="*/ 314675 w 382415"/>
              <a:gd name="csY20" fmla="*/ 270961 h 591415"/>
              <a:gd name="csX21" fmla="*/ 213644 w 382415"/>
              <a:gd name="csY21" fmla="*/ 563667 h 591415"/>
              <a:gd name="csX22" fmla="*/ 205897 w 382415"/>
              <a:gd name="csY22" fmla="*/ 585758 h 591415"/>
              <a:gd name="csX23" fmla="*/ 138249 w 382415"/>
              <a:gd name="csY23" fmla="*/ 587362 h 591415"/>
              <a:gd name="csX24" fmla="*/ 118197 w 382415"/>
              <a:gd name="csY24" fmla="*/ 588344 h 591415"/>
              <a:gd name="csX25" fmla="*/ 59707 w 382415"/>
              <a:gd name="csY25" fmla="*/ 590000 h 591415"/>
              <a:gd name="csX26" fmla="*/ 42516 w 382415"/>
              <a:gd name="csY26" fmla="*/ 591416 h 591415"/>
              <a:gd name="csX27" fmla="*/ 20811 w 382415"/>
              <a:gd name="csY27" fmla="*/ 591416 h 591415"/>
              <a:gd name="csX28" fmla="*/ 17902 w 382415"/>
              <a:gd name="csY28" fmla="*/ 546518 h 591415"/>
              <a:gd name="csX29" fmla="*/ 16779 w 382415"/>
              <a:gd name="csY29" fmla="*/ 526538 h 591415"/>
              <a:gd name="csX30" fmla="*/ 15163 w 382415"/>
              <a:gd name="csY30" fmla="*/ 459741 h 591415"/>
              <a:gd name="csX31" fmla="*/ 14188 w 382415"/>
              <a:gd name="csY31" fmla="*/ 447946 h 59141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</a:cxnLst>
            <a:rect l="l" t="t" r="r" b="b"/>
            <a:pathLst>
              <a:path w="382415" h="591415">
                <a:moveTo>
                  <a:pt x="14188" y="447946"/>
                </a:moveTo>
                <a:cubicBezTo>
                  <a:pt x="13448" y="426344"/>
                  <a:pt x="12708" y="404741"/>
                  <a:pt x="12298" y="381038"/>
                </a:cubicBezTo>
                <a:cubicBezTo>
                  <a:pt x="12152" y="373904"/>
                  <a:pt x="11676" y="368869"/>
                  <a:pt x="11200" y="363835"/>
                </a:cubicBezTo>
                <a:cubicBezTo>
                  <a:pt x="10498" y="345020"/>
                  <a:pt x="9796" y="326206"/>
                  <a:pt x="9378" y="305508"/>
                </a:cubicBezTo>
                <a:cubicBezTo>
                  <a:pt x="9280" y="301244"/>
                  <a:pt x="8898" y="298863"/>
                  <a:pt x="8516" y="296482"/>
                </a:cubicBezTo>
                <a:cubicBezTo>
                  <a:pt x="7809" y="273008"/>
                  <a:pt x="7102" y="249535"/>
                  <a:pt x="6728" y="223958"/>
                </a:cubicBezTo>
                <a:cubicBezTo>
                  <a:pt x="6589" y="216815"/>
                  <a:pt x="6117" y="211775"/>
                  <a:pt x="5645" y="206735"/>
                </a:cubicBezTo>
                <a:cubicBezTo>
                  <a:pt x="4976" y="184187"/>
                  <a:pt x="4307" y="161639"/>
                  <a:pt x="3964" y="137053"/>
                </a:cubicBezTo>
                <a:cubicBezTo>
                  <a:pt x="3828" y="130865"/>
                  <a:pt x="3365" y="126715"/>
                  <a:pt x="2902" y="122565"/>
                </a:cubicBezTo>
                <a:cubicBezTo>
                  <a:pt x="2158" y="98167"/>
                  <a:pt x="1414" y="73768"/>
                  <a:pt x="1011" y="47301"/>
                </a:cubicBezTo>
                <a:cubicBezTo>
                  <a:pt x="908" y="41095"/>
                  <a:pt x="464" y="36958"/>
                  <a:pt x="20" y="32821"/>
                </a:cubicBezTo>
                <a:cubicBezTo>
                  <a:pt x="-19" y="23766"/>
                  <a:pt x="-59" y="14711"/>
                  <a:pt x="512" y="4394"/>
                </a:cubicBezTo>
                <a:cubicBezTo>
                  <a:pt x="1883" y="2894"/>
                  <a:pt x="2314" y="2381"/>
                  <a:pt x="2417" y="1592"/>
                </a:cubicBezTo>
                <a:cubicBezTo>
                  <a:pt x="40209" y="1024"/>
                  <a:pt x="78000" y="223"/>
                  <a:pt x="115794" y="4"/>
                </a:cubicBezTo>
                <a:cubicBezTo>
                  <a:pt x="130708" y="-82"/>
                  <a:pt x="145630" y="1128"/>
                  <a:pt x="162265" y="2117"/>
                </a:cubicBezTo>
                <a:cubicBezTo>
                  <a:pt x="165531" y="2247"/>
                  <a:pt x="167081" y="2010"/>
                  <a:pt x="168630" y="1773"/>
                </a:cubicBezTo>
                <a:cubicBezTo>
                  <a:pt x="217325" y="7297"/>
                  <a:pt x="266121" y="12088"/>
                  <a:pt x="314663" y="18731"/>
                </a:cubicBezTo>
                <a:cubicBezTo>
                  <a:pt x="332471" y="21168"/>
                  <a:pt x="349777" y="27666"/>
                  <a:pt x="367127" y="32924"/>
                </a:cubicBezTo>
                <a:cubicBezTo>
                  <a:pt x="378391" y="36339"/>
                  <a:pt x="382842" y="44413"/>
                  <a:pt x="382384" y="56466"/>
                </a:cubicBezTo>
                <a:cubicBezTo>
                  <a:pt x="381538" y="78749"/>
                  <a:pt x="375716" y="99822"/>
                  <a:pt x="368394" y="120544"/>
                </a:cubicBezTo>
                <a:cubicBezTo>
                  <a:pt x="350655" y="170742"/>
                  <a:pt x="332173" y="220680"/>
                  <a:pt x="314675" y="270961"/>
                </a:cubicBezTo>
                <a:cubicBezTo>
                  <a:pt x="280751" y="368444"/>
                  <a:pt x="247300" y="466091"/>
                  <a:pt x="213644" y="563667"/>
                </a:cubicBezTo>
                <a:cubicBezTo>
                  <a:pt x="211232" y="570661"/>
                  <a:pt x="208750" y="577629"/>
                  <a:pt x="205897" y="585758"/>
                </a:cubicBezTo>
                <a:cubicBezTo>
                  <a:pt x="184079" y="586417"/>
                  <a:pt x="162247" y="587077"/>
                  <a:pt x="138249" y="587362"/>
                </a:cubicBezTo>
                <a:cubicBezTo>
                  <a:pt x="130120" y="587439"/>
                  <a:pt x="124159" y="587891"/>
                  <a:pt x="118197" y="588344"/>
                </a:cubicBezTo>
                <a:cubicBezTo>
                  <a:pt x="99397" y="589004"/>
                  <a:pt x="80596" y="589663"/>
                  <a:pt x="59707" y="590000"/>
                </a:cubicBezTo>
                <a:cubicBezTo>
                  <a:pt x="52584" y="590258"/>
                  <a:pt x="47550" y="590837"/>
                  <a:pt x="42516" y="591416"/>
                </a:cubicBezTo>
                <a:cubicBezTo>
                  <a:pt x="35565" y="591416"/>
                  <a:pt x="28614" y="591416"/>
                  <a:pt x="20811" y="591416"/>
                </a:cubicBezTo>
                <a:cubicBezTo>
                  <a:pt x="16891" y="577297"/>
                  <a:pt x="18678" y="562841"/>
                  <a:pt x="17902" y="546518"/>
                </a:cubicBezTo>
                <a:cubicBezTo>
                  <a:pt x="17764" y="538425"/>
                  <a:pt x="17271" y="532482"/>
                  <a:pt x="16779" y="526538"/>
                </a:cubicBezTo>
                <a:cubicBezTo>
                  <a:pt x="16131" y="504937"/>
                  <a:pt x="15482" y="483336"/>
                  <a:pt x="15163" y="459741"/>
                </a:cubicBezTo>
                <a:cubicBezTo>
                  <a:pt x="15057" y="454480"/>
                  <a:pt x="14622" y="451213"/>
                  <a:pt x="14188" y="447946"/>
                </a:cubicBezTo>
                <a:close/>
              </a:path>
            </a:pathLst>
          </a:custGeom>
          <a:solidFill>
            <a:srgbClr val="FEFEFD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181" name="Free-form: Shape 9180">
            <a:extLst>
              <a:ext uri="{FF2B5EF4-FFF2-40B4-BE49-F238E27FC236}">
                <a16:creationId xmlns:a16="http://schemas.microsoft.com/office/drawing/2014/main" id="{C4875DDD-B9DB-87F5-DA8E-7D41CB400F15}"/>
              </a:ext>
            </a:extLst>
          </p:cNvPr>
          <p:cNvSpPr/>
          <p:nvPr/>
        </p:nvSpPr>
        <p:spPr>
          <a:xfrm>
            <a:off x="7565442" y="4828404"/>
            <a:ext cx="100308" cy="62743"/>
          </a:xfrm>
          <a:custGeom>
            <a:avLst/>
            <a:gdLst>
              <a:gd name="csX0" fmla="*/ 105130 w 236692"/>
              <a:gd name="csY0" fmla="*/ 130054 h 134592"/>
              <a:gd name="csX1" fmla="*/ 4609 w 236692"/>
              <a:gd name="csY1" fmla="*/ 134592 h 134592"/>
              <a:gd name="csX2" fmla="*/ 3775 w 236692"/>
              <a:gd name="csY2" fmla="*/ 121667 h 134592"/>
              <a:gd name="csX3" fmla="*/ 3868 w 236692"/>
              <a:gd name="csY3" fmla="*/ 51573 h 134592"/>
              <a:gd name="csX4" fmla="*/ 0 w 236692"/>
              <a:gd name="csY4" fmla="*/ 9673 h 134592"/>
              <a:gd name="csX5" fmla="*/ 184850 w 236692"/>
              <a:gd name="csY5" fmla="*/ 471 h 134592"/>
              <a:gd name="csX6" fmla="*/ 185564 w 236692"/>
              <a:gd name="csY6" fmla="*/ 15071 h 134592"/>
              <a:gd name="csX7" fmla="*/ 204819 w 236692"/>
              <a:gd name="csY7" fmla="*/ 54944 h 134592"/>
              <a:gd name="csX8" fmla="*/ 236693 w 236692"/>
              <a:gd name="csY8" fmla="*/ 123534 h 134592"/>
              <a:gd name="csX9" fmla="*/ 170865 w 236692"/>
              <a:gd name="csY9" fmla="*/ 126995 h 134592"/>
              <a:gd name="csX10" fmla="*/ 105130 w 236692"/>
              <a:gd name="csY10" fmla="*/ 130054 h 13459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</a:cxnLst>
            <a:rect l="l" t="t" r="r" b="b"/>
            <a:pathLst>
              <a:path w="236692" h="134592">
                <a:moveTo>
                  <a:pt x="105130" y="130054"/>
                </a:moveTo>
                <a:cubicBezTo>
                  <a:pt x="71180" y="131586"/>
                  <a:pt x="38558" y="133059"/>
                  <a:pt x="4609" y="134592"/>
                </a:cubicBezTo>
                <a:cubicBezTo>
                  <a:pt x="4277" y="129680"/>
                  <a:pt x="3770" y="125673"/>
                  <a:pt x="3775" y="121667"/>
                </a:cubicBezTo>
                <a:cubicBezTo>
                  <a:pt x="3800" y="98301"/>
                  <a:pt x="4430" y="74923"/>
                  <a:pt x="3868" y="51573"/>
                </a:cubicBezTo>
                <a:cubicBezTo>
                  <a:pt x="3536" y="37759"/>
                  <a:pt x="1384" y="23989"/>
                  <a:pt x="0" y="9673"/>
                </a:cubicBezTo>
                <a:cubicBezTo>
                  <a:pt x="9728" y="5925"/>
                  <a:pt x="156314" y="-2008"/>
                  <a:pt x="184850" y="471"/>
                </a:cubicBezTo>
                <a:cubicBezTo>
                  <a:pt x="185096" y="5177"/>
                  <a:pt x="185626" y="10128"/>
                  <a:pt x="185564" y="15071"/>
                </a:cubicBezTo>
                <a:cubicBezTo>
                  <a:pt x="185359" y="31609"/>
                  <a:pt x="191283" y="44787"/>
                  <a:pt x="204819" y="54944"/>
                </a:cubicBezTo>
                <a:cubicBezTo>
                  <a:pt x="227073" y="71641"/>
                  <a:pt x="235149" y="95272"/>
                  <a:pt x="236693" y="123534"/>
                </a:cubicBezTo>
                <a:cubicBezTo>
                  <a:pt x="214423" y="127191"/>
                  <a:pt x="192555" y="125928"/>
                  <a:pt x="170865" y="126995"/>
                </a:cubicBezTo>
                <a:cubicBezTo>
                  <a:pt x="149400" y="128051"/>
                  <a:pt x="127929" y="128999"/>
                  <a:pt x="105130" y="130054"/>
                </a:cubicBezTo>
                <a:close/>
              </a:path>
            </a:pathLst>
          </a:custGeom>
          <a:solidFill>
            <a:srgbClr val="FEFDFB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182" name="Free-form: Shape 9181">
            <a:extLst>
              <a:ext uri="{FF2B5EF4-FFF2-40B4-BE49-F238E27FC236}">
                <a16:creationId xmlns:a16="http://schemas.microsoft.com/office/drawing/2014/main" id="{4BBF0403-5C5B-4C43-87ED-4C838A72515E}"/>
              </a:ext>
            </a:extLst>
          </p:cNvPr>
          <p:cNvSpPr/>
          <p:nvPr/>
        </p:nvSpPr>
        <p:spPr>
          <a:xfrm>
            <a:off x="2562825" y="4505549"/>
            <a:ext cx="593502" cy="1281815"/>
          </a:xfrm>
          <a:custGeom>
            <a:avLst/>
            <a:gdLst>
              <a:gd name="csX0" fmla="*/ 576414 w 768725"/>
              <a:gd name="csY0" fmla="*/ 893042 h 1509319"/>
              <a:gd name="csX1" fmla="*/ 613047 w 768725"/>
              <a:gd name="csY1" fmla="*/ 1059329 h 1509319"/>
              <a:gd name="csX2" fmla="*/ 623337 w 768725"/>
              <a:gd name="csY2" fmla="*/ 1071825 h 1509319"/>
              <a:gd name="csX3" fmla="*/ 639863 w 768725"/>
              <a:gd name="csY3" fmla="*/ 1079946 h 1509319"/>
              <a:gd name="csX4" fmla="*/ 652266 w 768725"/>
              <a:gd name="csY4" fmla="*/ 1109045 h 1509319"/>
              <a:gd name="csX5" fmla="*/ 645501 w 768725"/>
              <a:gd name="csY5" fmla="*/ 1127466 h 1509319"/>
              <a:gd name="csX6" fmla="*/ 645547 w 768725"/>
              <a:gd name="csY6" fmla="*/ 1144138 h 1509319"/>
              <a:gd name="csX7" fmla="*/ 664589 w 768725"/>
              <a:gd name="csY7" fmla="*/ 1175322 h 1509319"/>
              <a:gd name="csX8" fmla="*/ 712015 w 768725"/>
              <a:gd name="csY8" fmla="*/ 1225118 h 1509319"/>
              <a:gd name="csX9" fmla="*/ 744465 w 768725"/>
              <a:gd name="csY9" fmla="*/ 1300385 h 1509319"/>
              <a:gd name="csX10" fmla="*/ 743270 w 768725"/>
              <a:gd name="csY10" fmla="*/ 1350524 h 1509319"/>
              <a:gd name="csX11" fmla="*/ 745429 w 768725"/>
              <a:gd name="csY11" fmla="*/ 1363274 h 1509319"/>
              <a:gd name="csX12" fmla="*/ 768672 w 768725"/>
              <a:gd name="csY12" fmla="*/ 1456512 h 1509319"/>
              <a:gd name="csX13" fmla="*/ 758521 w 768725"/>
              <a:gd name="csY13" fmla="*/ 1472434 h 1509319"/>
              <a:gd name="csX14" fmla="*/ 730455 w 768725"/>
              <a:gd name="csY14" fmla="*/ 1481228 h 1509319"/>
              <a:gd name="csX15" fmla="*/ 594867 w 768725"/>
              <a:gd name="csY15" fmla="*/ 1502210 h 1509319"/>
              <a:gd name="csX16" fmla="*/ 320018 w 768725"/>
              <a:gd name="csY16" fmla="*/ 1508300 h 1509319"/>
              <a:gd name="csX17" fmla="*/ 186464 w 768725"/>
              <a:gd name="csY17" fmla="*/ 1501258 h 1509319"/>
              <a:gd name="csX18" fmla="*/ 26582 w 768725"/>
              <a:gd name="csY18" fmla="*/ 1477021 h 1509319"/>
              <a:gd name="csX19" fmla="*/ 3929 w 768725"/>
              <a:gd name="csY19" fmla="*/ 1465652 h 1509319"/>
              <a:gd name="csX20" fmla="*/ 18 w 768725"/>
              <a:gd name="csY20" fmla="*/ 1456203 h 1509319"/>
              <a:gd name="csX21" fmla="*/ 4393 w 768725"/>
              <a:gd name="csY21" fmla="*/ 1417235 h 1509319"/>
              <a:gd name="csX22" fmla="*/ 19158 w 768725"/>
              <a:gd name="csY22" fmla="*/ 1370678 h 1509319"/>
              <a:gd name="csX23" fmla="*/ 23255 w 768725"/>
              <a:gd name="csY23" fmla="*/ 1342388 h 1509319"/>
              <a:gd name="csX24" fmla="*/ 38705 w 768725"/>
              <a:gd name="csY24" fmla="*/ 1247261 h 1509319"/>
              <a:gd name="csX25" fmla="*/ 58454 w 768725"/>
              <a:gd name="csY25" fmla="*/ 1220807 h 1509319"/>
              <a:gd name="csX26" fmla="*/ 103638 w 768725"/>
              <a:gd name="csY26" fmla="*/ 1175667 h 1509319"/>
              <a:gd name="csX27" fmla="*/ 122996 w 768725"/>
              <a:gd name="csY27" fmla="*/ 1146131 h 1509319"/>
              <a:gd name="csX28" fmla="*/ 122689 w 768725"/>
              <a:gd name="csY28" fmla="*/ 1128316 h 1509319"/>
              <a:gd name="csX29" fmla="*/ 116576 w 768725"/>
              <a:gd name="csY29" fmla="*/ 1113575 h 1509319"/>
              <a:gd name="csX30" fmla="*/ 127479 w 768725"/>
              <a:gd name="csY30" fmla="*/ 1081076 h 1509319"/>
              <a:gd name="csX31" fmla="*/ 137480 w 768725"/>
              <a:gd name="csY31" fmla="*/ 1076482 h 1509319"/>
              <a:gd name="csX32" fmla="*/ 157312 w 768725"/>
              <a:gd name="csY32" fmla="*/ 1053855 h 1509319"/>
              <a:gd name="csX33" fmla="*/ 178876 w 768725"/>
              <a:gd name="csY33" fmla="*/ 958120 h 1509319"/>
              <a:gd name="csX34" fmla="*/ 210165 w 768725"/>
              <a:gd name="csY34" fmla="*/ 781849 h 1509319"/>
              <a:gd name="csX35" fmla="*/ 223295 w 768725"/>
              <a:gd name="csY35" fmla="*/ 674755 h 1509319"/>
              <a:gd name="csX36" fmla="*/ 231121 w 768725"/>
              <a:gd name="csY36" fmla="*/ 564636 h 1509319"/>
              <a:gd name="csX37" fmla="*/ 235173 w 768725"/>
              <a:gd name="csY37" fmla="*/ 453038 h 1509319"/>
              <a:gd name="csX38" fmla="*/ 235001 w 768725"/>
              <a:gd name="csY38" fmla="*/ 443215 h 1509319"/>
              <a:gd name="csX39" fmla="*/ 224321 w 768725"/>
              <a:gd name="csY39" fmla="*/ 428479 h 1509319"/>
              <a:gd name="csX40" fmla="*/ 204712 w 768725"/>
              <a:gd name="csY40" fmla="*/ 418450 h 1509319"/>
              <a:gd name="csX41" fmla="*/ 184069 w 768725"/>
              <a:gd name="csY41" fmla="*/ 366060 h 1509319"/>
              <a:gd name="csX42" fmla="*/ 206519 w 768725"/>
              <a:gd name="csY42" fmla="*/ 338181 h 1509319"/>
              <a:gd name="csX43" fmla="*/ 226643 w 768725"/>
              <a:gd name="csY43" fmla="*/ 329113 h 1509319"/>
              <a:gd name="csX44" fmla="*/ 232085 w 768725"/>
              <a:gd name="csY44" fmla="*/ 311135 h 1509319"/>
              <a:gd name="csX45" fmla="*/ 221280 w 768725"/>
              <a:gd name="csY45" fmla="*/ 299552 h 1509319"/>
              <a:gd name="csX46" fmla="*/ 173478 w 768725"/>
              <a:gd name="csY46" fmla="*/ 230303 h 1509319"/>
              <a:gd name="csX47" fmla="*/ 141864 w 768725"/>
              <a:gd name="csY47" fmla="*/ 95780 h 1509319"/>
              <a:gd name="csX48" fmla="*/ 137158 w 768725"/>
              <a:gd name="csY48" fmla="*/ 37107 h 1509319"/>
              <a:gd name="csX49" fmla="*/ 148750 w 768725"/>
              <a:gd name="csY49" fmla="*/ 22335 h 1509319"/>
              <a:gd name="csX50" fmla="*/ 236982 w 768725"/>
              <a:gd name="csY50" fmla="*/ 7640 h 1509319"/>
              <a:gd name="csX51" fmla="*/ 246862 w 768725"/>
              <a:gd name="csY51" fmla="*/ 7580 h 1509319"/>
              <a:gd name="csX52" fmla="*/ 261473 w 768725"/>
              <a:gd name="csY52" fmla="*/ 86763 h 1509319"/>
              <a:gd name="csX53" fmla="*/ 306246 w 768725"/>
              <a:gd name="csY53" fmla="*/ 83559 h 1509319"/>
              <a:gd name="csX54" fmla="*/ 306960 w 768725"/>
              <a:gd name="csY54" fmla="*/ 71087 h 1509319"/>
              <a:gd name="csX55" fmla="*/ 306724 w 768725"/>
              <a:gd name="csY55" fmla="*/ 19491 h 1509319"/>
              <a:gd name="csX56" fmla="*/ 319581 w 768725"/>
              <a:gd name="csY56" fmla="*/ 4733 h 1509319"/>
              <a:gd name="csX57" fmla="*/ 430956 w 768725"/>
              <a:gd name="csY57" fmla="*/ 2070 h 1509319"/>
              <a:gd name="csX58" fmla="*/ 437066 w 768725"/>
              <a:gd name="csY58" fmla="*/ 2646 h 1509319"/>
              <a:gd name="csX59" fmla="*/ 460335 w 768725"/>
              <a:gd name="csY59" fmla="*/ 24205 h 1509319"/>
              <a:gd name="csX60" fmla="*/ 463579 w 768725"/>
              <a:gd name="csY60" fmla="*/ 62081 h 1509319"/>
              <a:gd name="csX61" fmla="*/ 463652 w 768725"/>
              <a:gd name="csY61" fmla="*/ 82953 h 1509319"/>
              <a:gd name="csX62" fmla="*/ 507205 w 768725"/>
              <a:gd name="csY62" fmla="*/ 85553 h 1509319"/>
              <a:gd name="csX63" fmla="*/ 513271 w 768725"/>
              <a:gd name="csY63" fmla="*/ 61890 h 1509319"/>
              <a:gd name="csX64" fmla="*/ 520203 w 768725"/>
              <a:gd name="csY64" fmla="*/ 18323 h 1509319"/>
              <a:gd name="csX65" fmla="*/ 534008 w 768725"/>
              <a:gd name="csY65" fmla="*/ 7785 h 1509319"/>
              <a:gd name="csX66" fmla="*/ 595925 w 768725"/>
              <a:gd name="csY66" fmla="*/ 16407 h 1509319"/>
              <a:gd name="csX67" fmla="*/ 619972 w 768725"/>
              <a:gd name="csY67" fmla="*/ 21156 h 1509319"/>
              <a:gd name="csX68" fmla="*/ 631161 w 768725"/>
              <a:gd name="csY68" fmla="*/ 36134 h 1509319"/>
              <a:gd name="csX69" fmla="*/ 628140 w 768725"/>
              <a:gd name="csY69" fmla="*/ 85104 h 1509319"/>
              <a:gd name="csX70" fmla="*/ 613954 w 768725"/>
              <a:gd name="csY70" fmla="*/ 179618 h 1509319"/>
              <a:gd name="csX71" fmla="*/ 586196 w 768725"/>
              <a:gd name="csY71" fmla="*/ 256886 h 1509319"/>
              <a:gd name="csX72" fmla="*/ 554619 w 768725"/>
              <a:gd name="csY72" fmla="*/ 295312 h 1509319"/>
              <a:gd name="csX73" fmla="*/ 538601 w 768725"/>
              <a:gd name="csY73" fmla="*/ 315001 h 1509319"/>
              <a:gd name="csX74" fmla="*/ 542630 w 768725"/>
              <a:gd name="csY74" fmla="*/ 326199 h 1509319"/>
              <a:gd name="csX75" fmla="*/ 560240 w 768725"/>
              <a:gd name="csY75" fmla="*/ 334912 h 1509319"/>
              <a:gd name="csX76" fmla="*/ 586933 w 768725"/>
              <a:gd name="csY76" fmla="*/ 371800 h 1509319"/>
              <a:gd name="csX77" fmla="*/ 563039 w 768725"/>
              <a:gd name="csY77" fmla="*/ 418184 h 1509319"/>
              <a:gd name="csX78" fmla="*/ 545522 w 768725"/>
              <a:gd name="csY78" fmla="*/ 427008 h 1509319"/>
              <a:gd name="csX79" fmla="*/ 535507 w 768725"/>
              <a:gd name="csY79" fmla="*/ 440667 h 1509319"/>
              <a:gd name="csX80" fmla="*/ 536723 w 768725"/>
              <a:gd name="csY80" fmla="*/ 537651 h 1509319"/>
              <a:gd name="csX81" fmla="*/ 539820 w 768725"/>
              <a:gd name="csY81" fmla="*/ 595237 h 1509319"/>
              <a:gd name="csX82" fmla="*/ 553105 w 768725"/>
              <a:gd name="csY82" fmla="*/ 746727 h 1509319"/>
              <a:gd name="csX83" fmla="*/ 576414 w 768725"/>
              <a:gd name="csY83" fmla="*/ 893042 h 1509319"/>
              <a:gd name="csX84" fmla="*/ 500356 w 768725"/>
              <a:gd name="csY84" fmla="*/ 473996 h 1509319"/>
              <a:gd name="csX85" fmla="*/ 499749 w 768725"/>
              <a:gd name="csY85" fmla="*/ 463598 h 1509319"/>
              <a:gd name="csX86" fmla="*/ 392525 w 768725"/>
              <a:gd name="csY86" fmla="*/ 471627 h 1509319"/>
              <a:gd name="csX87" fmla="*/ 392518 w 768725"/>
              <a:gd name="csY87" fmla="*/ 482742 h 1509319"/>
              <a:gd name="csX88" fmla="*/ 390814 w 768725"/>
              <a:gd name="csY88" fmla="*/ 596913 h 1509319"/>
              <a:gd name="csX89" fmla="*/ 385953 w 768725"/>
              <a:gd name="csY89" fmla="*/ 788374 h 1509319"/>
              <a:gd name="csX90" fmla="*/ 383485 w 768725"/>
              <a:gd name="csY90" fmla="*/ 884103 h 1509319"/>
              <a:gd name="csX91" fmla="*/ 380173 w 768725"/>
              <a:gd name="csY91" fmla="*/ 1035109 h 1509319"/>
              <a:gd name="csX92" fmla="*/ 378826 w 768725"/>
              <a:gd name="csY92" fmla="*/ 1068199 h 1509319"/>
              <a:gd name="csX93" fmla="*/ 380180 w 768725"/>
              <a:gd name="csY93" fmla="*/ 1074648 h 1509319"/>
              <a:gd name="csX94" fmla="*/ 446854 w 768725"/>
              <a:gd name="csY94" fmla="*/ 1074654 h 1509319"/>
              <a:gd name="csX95" fmla="*/ 513191 w 768725"/>
              <a:gd name="csY95" fmla="*/ 1074731 h 1509319"/>
              <a:gd name="csX96" fmla="*/ 580317 w 768725"/>
              <a:gd name="csY96" fmla="*/ 1075095 h 1509319"/>
              <a:gd name="csX97" fmla="*/ 500356 w 768725"/>
              <a:gd name="csY97" fmla="*/ 473996 h 1509319"/>
              <a:gd name="csX98" fmla="*/ 459731 w 768725"/>
              <a:gd name="csY98" fmla="*/ 1135086 h 1509319"/>
              <a:gd name="csX99" fmla="*/ 383756 w 768725"/>
              <a:gd name="csY99" fmla="*/ 1135086 h 1509319"/>
              <a:gd name="csX100" fmla="*/ 387612 w 768725"/>
              <a:gd name="csY100" fmla="*/ 1242590 h 1509319"/>
              <a:gd name="csX101" fmla="*/ 383907 w 768725"/>
              <a:gd name="csY101" fmla="*/ 1351330 h 1509319"/>
              <a:gd name="csX102" fmla="*/ 707112 w 768725"/>
              <a:gd name="csY102" fmla="*/ 1330559 h 1509319"/>
              <a:gd name="csX103" fmla="*/ 686366 w 768725"/>
              <a:gd name="csY103" fmla="*/ 1251637 h 1509319"/>
              <a:gd name="csX104" fmla="*/ 639403 w 768725"/>
              <a:gd name="csY104" fmla="*/ 1199952 h 1509319"/>
              <a:gd name="csX105" fmla="*/ 606292 w 768725"/>
              <a:gd name="csY105" fmla="*/ 1135508 h 1509319"/>
              <a:gd name="csX106" fmla="*/ 602971 w 768725"/>
              <a:gd name="csY106" fmla="*/ 1123400 h 1509319"/>
              <a:gd name="csX107" fmla="*/ 591474 w 768725"/>
              <a:gd name="csY107" fmla="*/ 1124633 h 1509319"/>
              <a:gd name="csX108" fmla="*/ 530551 w 768725"/>
              <a:gd name="csY108" fmla="*/ 1130880 h 1509319"/>
              <a:gd name="csX109" fmla="*/ 459731 w 768725"/>
              <a:gd name="csY109" fmla="*/ 1135086 h 1509319"/>
              <a:gd name="csX110" fmla="*/ 469505 w 768725"/>
              <a:gd name="csY110" fmla="*/ 116252 h 1509319"/>
              <a:gd name="csX111" fmla="*/ 443782 w 768725"/>
              <a:gd name="csY111" fmla="*/ 114911 h 1509319"/>
              <a:gd name="csX112" fmla="*/ 430007 w 768725"/>
              <a:gd name="csY112" fmla="*/ 99878 h 1509319"/>
              <a:gd name="csX113" fmla="*/ 429331 w 768725"/>
              <a:gd name="csY113" fmla="*/ 69197 h 1509319"/>
              <a:gd name="csX114" fmla="*/ 426333 w 768725"/>
              <a:gd name="csY114" fmla="*/ 34606 h 1509319"/>
              <a:gd name="csX115" fmla="*/ 377548 w 768725"/>
              <a:gd name="csY115" fmla="*/ 34613 h 1509319"/>
              <a:gd name="csX116" fmla="*/ 368004 w 768725"/>
              <a:gd name="csY116" fmla="*/ 44529 h 1509319"/>
              <a:gd name="csX117" fmla="*/ 366185 w 768725"/>
              <a:gd name="csY117" fmla="*/ 76343 h 1509319"/>
              <a:gd name="csX118" fmla="*/ 379384 w 768725"/>
              <a:gd name="csY118" fmla="*/ 206619 h 1509319"/>
              <a:gd name="csX119" fmla="*/ 390997 w 768725"/>
              <a:gd name="csY119" fmla="*/ 277965 h 1509319"/>
              <a:gd name="csX120" fmla="*/ 394040 w 768725"/>
              <a:gd name="csY120" fmla="*/ 305053 h 1509319"/>
              <a:gd name="csX121" fmla="*/ 501758 w 768725"/>
              <a:gd name="csY121" fmla="*/ 304814 h 1509319"/>
              <a:gd name="csX122" fmla="*/ 510340 w 768725"/>
              <a:gd name="csY122" fmla="*/ 299427 h 1509319"/>
              <a:gd name="csX123" fmla="*/ 526940 w 768725"/>
              <a:gd name="csY123" fmla="*/ 279822 h 1509319"/>
              <a:gd name="csX124" fmla="*/ 576920 w 768725"/>
              <a:gd name="csY124" fmla="*/ 192342 h 1509319"/>
              <a:gd name="csX125" fmla="*/ 594042 w 768725"/>
              <a:gd name="csY125" fmla="*/ 74918 h 1509319"/>
              <a:gd name="csX126" fmla="*/ 594159 w 768725"/>
              <a:gd name="csY126" fmla="*/ 49195 h 1509319"/>
              <a:gd name="csX127" fmla="*/ 554791 w 768725"/>
              <a:gd name="csY127" fmla="*/ 42552 h 1509319"/>
              <a:gd name="csX128" fmla="*/ 552461 w 768725"/>
              <a:gd name="csY128" fmla="*/ 55598 h 1509319"/>
              <a:gd name="csX129" fmla="*/ 544678 w 768725"/>
              <a:gd name="csY129" fmla="*/ 102721 h 1509319"/>
              <a:gd name="csX130" fmla="*/ 525701 w 768725"/>
              <a:gd name="csY130" fmla="*/ 118186 h 1509319"/>
              <a:gd name="csX131" fmla="*/ 469505 w 768725"/>
              <a:gd name="csY131" fmla="*/ 116252 h 1509319"/>
              <a:gd name="csX132" fmla="*/ 513928 w 768725"/>
              <a:gd name="csY132" fmla="*/ 1403203 h 1509319"/>
              <a:gd name="csX133" fmla="*/ 379322 w 768725"/>
              <a:gd name="csY133" fmla="*/ 1404000 h 1509319"/>
              <a:gd name="csX134" fmla="*/ 379322 w 768725"/>
              <a:gd name="csY134" fmla="*/ 1460424 h 1509319"/>
              <a:gd name="csX135" fmla="*/ 726554 w 768725"/>
              <a:gd name="csY135" fmla="*/ 1439225 h 1509319"/>
              <a:gd name="csX136" fmla="*/ 721089 w 768725"/>
              <a:gd name="csY136" fmla="*/ 1397750 h 1509319"/>
              <a:gd name="csX137" fmla="*/ 697967 w 768725"/>
              <a:gd name="csY137" fmla="*/ 1385046 h 1509319"/>
              <a:gd name="csX138" fmla="*/ 619039 w 768725"/>
              <a:gd name="csY138" fmla="*/ 1395892 h 1509319"/>
              <a:gd name="csX139" fmla="*/ 513928 w 768725"/>
              <a:gd name="csY139" fmla="*/ 1403203 h 1509319"/>
              <a:gd name="csX140" fmla="*/ 462814 w 768725"/>
              <a:gd name="csY140" fmla="*/ 375981 h 1509319"/>
              <a:gd name="csX141" fmla="*/ 538992 w 768725"/>
              <a:gd name="csY141" fmla="*/ 375736 h 1509319"/>
              <a:gd name="csX142" fmla="*/ 551835 w 768725"/>
              <a:gd name="csY142" fmla="*/ 373923 h 1509319"/>
              <a:gd name="csX143" fmla="*/ 539689 w 768725"/>
              <a:gd name="csY143" fmla="*/ 356085 h 1509319"/>
              <a:gd name="csX144" fmla="*/ 521074 w 768725"/>
              <a:gd name="csY144" fmla="*/ 344186 h 1509319"/>
              <a:gd name="csX145" fmla="*/ 503789 w 768725"/>
              <a:gd name="csY145" fmla="*/ 339280 h 1509319"/>
              <a:gd name="csX146" fmla="*/ 404270 w 768725"/>
              <a:gd name="csY146" fmla="*/ 339994 h 1509319"/>
              <a:gd name="csX147" fmla="*/ 393081 w 768725"/>
              <a:gd name="csY147" fmla="*/ 340868 h 1509319"/>
              <a:gd name="csX148" fmla="*/ 395001 w 768725"/>
              <a:gd name="csY148" fmla="*/ 375976 h 1509319"/>
              <a:gd name="csX149" fmla="*/ 462814 w 768725"/>
              <a:gd name="csY149" fmla="*/ 375981 h 150931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</a:cxnLst>
            <a:rect l="l" t="t" r="r" b="b"/>
            <a:pathLst>
              <a:path w="768725" h="1509319">
                <a:moveTo>
                  <a:pt x="576414" y="893042"/>
                </a:moveTo>
                <a:cubicBezTo>
                  <a:pt x="588806" y="949146"/>
                  <a:pt x="601091" y="1004202"/>
                  <a:pt x="613047" y="1059329"/>
                </a:cubicBezTo>
                <a:cubicBezTo>
                  <a:pt x="614432" y="1065716"/>
                  <a:pt x="617736" y="1069332"/>
                  <a:pt x="623337" y="1071825"/>
                </a:cubicBezTo>
                <a:cubicBezTo>
                  <a:pt x="628942" y="1074320"/>
                  <a:pt x="634521" y="1076938"/>
                  <a:pt x="639863" y="1079946"/>
                </a:cubicBezTo>
                <a:cubicBezTo>
                  <a:pt x="650944" y="1086186"/>
                  <a:pt x="655598" y="1096871"/>
                  <a:pt x="652266" y="1109045"/>
                </a:cubicBezTo>
                <a:cubicBezTo>
                  <a:pt x="650545" y="1115333"/>
                  <a:pt x="647953" y="1121401"/>
                  <a:pt x="645501" y="1127466"/>
                </a:cubicBezTo>
                <a:cubicBezTo>
                  <a:pt x="643225" y="1133097"/>
                  <a:pt x="643438" y="1138435"/>
                  <a:pt x="645547" y="1144138"/>
                </a:cubicBezTo>
                <a:cubicBezTo>
                  <a:pt x="649868" y="1155821"/>
                  <a:pt x="655892" y="1166306"/>
                  <a:pt x="664589" y="1175322"/>
                </a:cubicBezTo>
                <a:cubicBezTo>
                  <a:pt x="680503" y="1191819"/>
                  <a:pt x="696298" y="1208434"/>
                  <a:pt x="712015" y="1225118"/>
                </a:cubicBezTo>
                <a:cubicBezTo>
                  <a:pt x="731931" y="1246258"/>
                  <a:pt x="740856" y="1272032"/>
                  <a:pt x="744465" y="1300385"/>
                </a:cubicBezTo>
                <a:cubicBezTo>
                  <a:pt x="746614" y="1317273"/>
                  <a:pt x="744537" y="1333855"/>
                  <a:pt x="743270" y="1350524"/>
                </a:cubicBezTo>
                <a:cubicBezTo>
                  <a:pt x="742916" y="1355183"/>
                  <a:pt x="743079" y="1358990"/>
                  <a:pt x="745429" y="1363274"/>
                </a:cubicBezTo>
                <a:cubicBezTo>
                  <a:pt x="761335" y="1392276"/>
                  <a:pt x="766719" y="1423956"/>
                  <a:pt x="768672" y="1456512"/>
                </a:cubicBezTo>
                <a:cubicBezTo>
                  <a:pt x="769161" y="1464651"/>
                  <a:pt x="766327" y="1469951"/>
                  <a:pt x="758521" y="1472434"/>
                </a:cubicBezTo>
                <a:cubicBezTo>
                  <a:pt x="749176" y="1475406"/>
                  <a:pt x="739961" y="1478919"/>
                  <a:pt x="730455" y="1481228"/>
                </a:cubicBezTo>
                <a:cubicBezTo>
                  <a:pt x="685866" y="1492058"/>
                  <a:pt x="640613" y="1498445"/>
                  <a:pt x="594867" y="1502210"/>
                </a:cubicBezTo>
                <a:cubicBezTo>
                  <a:pt x="503351" y="1509743"/>
                  <a:pt x="411695" y="1510364"/>
                  <a:pt x="320018" y="1508300"/>
                </a:cubicBezTo>
                <a:cubicBezTo>
                  <a:pt x="275466" y="1507297"/>
                  <a:pt x="230913" y="1504582"/>
                  <a:pt x="186464" y="1501258"/>
                </a:cubicBezTo>
                <a:cubicBezTo>
                  <a:pt x="132610" y="1497231"/>
                  <a:pt x="79072" y="1490389"/>
                  <a:pt x="26582" y="1477021"/>
                </a:cubicBezTo>
                <a:cubicBezTo>
                  <a:pt x="18195" y="1474885"/>
                  <a:pt x="9735" y="1472585"/>
                  <a:pt x="3929" y="1465652"/>
                </a:cubicBezTo>
                <a:cubicBezTo>
                  <a:pt x="1807" y="1463117"/>
                  <a:pt x="-213" y="1459275"/>
                  <a:pt x="18" y="1456203"/>
                </a:cubicBezTo>
                <a:cubicBezTo>
                  <a:pt x="995" y="1443177"/>
                  <a:pt x="2714" y="1430200"/>
                  <a:pt x="4393" y="1417235"/>
                </a:cubicBezTo>
                <a:cubicBezTo>
                  <a:pt x="6515" y="1400846"/>
                  <a:pt x="11310" y="1385118"/>
                  <a:pt x="19158" y="1370678"/>
                </a:cubicBezTo>
                <a:cubicBezTo>
                  <a:pt x="24205" y="1361393"/>
                  <a:pt x="24576" y="1352443"/>
                  <a:pt x="23255" y="1342388"/>
                </a:cubicBezTo>
                <a:cubicBezTo>
                  <a:pt x="18901" y="1309218"/>
                  <a:pt x="21603" y="1276876"/>
                  <a:pt x="38705" y="1247261"/>
                </a:cubicBezTo>
                <a:cubicBezTo>
                  <a:pt x="44179" y="1237783"/>
                  <a:pt x="50956" y="1228786"/>
                  <a:pt x="58454" y="1220807"/>
                </a:cubicBezTo>
                <a:cubicBezTo>
                  <a:pt x="73024" y="1205299"/>
                  <a:pt x="88543" y="1190683"/>
                  <a:pt x="103638" y="1175667"/>
                </a:cubicBezTo>
                <a:cubicBezTo>
                  <a:pt x="112161" y="1167189"/>
                  <a:pt x="118801" y="1157513"/>
                  <a:pt x="122996" y="1146131"/>
                </a:cubicBezTo>
                <a:cubicBezTo>
                  <a:pt x="125249" y="1140016"/>
                  <a:pt x="125488" y="1134282"/>
                  <a:pt x="122689" y="1128316"/>
                </a:cubicBezTo>
                <a:cubicBezTo>
                  <a:pt x="120431" y="1123504"/>
                  <a:pt x="118446" y="1118553"/>
                  <a:pt x="116576" y="1113575"/>
                </a:cubicBezTo>
                <a:cubicBezTo>
                  <a:pt x="111153" y="1099133"/>
                  <a:pt x="114404" y="1089299"/>
                  <a:pt x="127479" y="1081076"/>
                </a:cubicBezTo>
                <a:cubicBezTo>
                  <a:pt x="130563" y="1079137"/>
                  <a:pt x="134000" y="1077564"/>
                  <a:pt x="137480" y="1076482"/>
                </a:cubicBezTo>
                <a:cubicBezTo>
                  <a:pt x="148800" y="1072962"/>
                  <a:pt x="154794" y="1065351"/>
                  <a:pt x="157312" y="1053855"/>
                </a:cubicBezTo>
                <a:cubicBezTo>
                  <a:pt x="164312" y="1021900"/>
                  <a:pt x="172752" y="990234"/>
                  <a:pt x="178876" y="958120"/>
                </a:cubicBezTo>
                <a:cubicBezTo>
                  <a:pt x="190055" y="899504"/>
                  <a:pt x="200649" y="840756"/>
                  <a:pt x="210165" y="781849"/>
                </a:cubicBezTo>
                <a:cubicBezTo>
                  <a:pt x="215898" y="746366"/>
                  <a:pt x="219868" y="710550"/>
                  <a:pt x="223295" y="674755"/>
                </a:cubicBezTo>
                <a:cubicBezTo>
                  <a:pt x="226801" y="638133"/>
                  <a:pt x="229185" y="601381"/>
                  <a:pt x="231121" y="564636"/>
                </a:cubicBezTo>
                <a:cubicBezTo>
                  <a:pt x="233079" y="527469"/>
                  <a:pt x="233899" y="490241"/>
                  <a:pt x="235173" y="453038"/>
                </a:cubicBezTo>
                <a:cubicBezTo>
                  <a:pt x="235285" y="449770"/>
                  <a:pt x="235108" y="446488"/>
                  <a:pt x="235001" y="443215"/>
                </a:cubicBezTo>
                <a:cubicBezTo>
                  <a:pt x="234761" y="435907"/>
                  <a:pt x="231291" y="431283"/>
                  <a:pt x="224321" y="428479"/>
                </a:cubicBezTo>
                <a:cubicBezTo>
                  <a:pt x="217531" y="425747"/>
                  <a:pt x="210873" y="422395"/>
                  <a:pt x="204712" y="418450"/>
                </a:cubicBezTo>
                <a:cubicBezTo>
                  <a:pt x="187562" y="407468"/>
                  <a:pt x="179141" y="385623"/>
                  <a:pt x="184069" y="366060"/>
                </a:cubicBezTo>
                <a:cubicBezTo>
                  <a:pt x="187270" y="353354"/>
                  <a:pt x="195406" y="344379"/>
                  <a:pt x="206519" y="338181"/>
                </a:cubicBezTo>
                <a:cubicBezTo>
                  <a:pt x="212922" y="334611"/>
                  <a:pt x="219930" y="332132"/>
                  <a:pt x="226643" y="329113"/>
                </a:cubicBezTo>
                <a:cubicBezTo>
                  <a:pt x="236636" y="324620"/>
                  <a:pt x="238185" y="320246"/>
                  <a:pt x="232085" y="311135"/>
                </a:cubicBezTo>
                <a:cubicBezTo>
                  <a:pt x="229169" y="306779"/>
                  <a:pt x="225643" y="302195"/>
                  <a:pt x="221280" y="299552"/>
                </a:cubicBezTo>
                <a:cubicBezTo>
                  <a:pt x="194874" y="283553"/>
                  <a:pt x="183766" y="257401"/>
                  <a:pt x="173478" y="230303"/>
                </a:cubicBezTo>
                <a:cubicBezTo>
                  <a:pt x="156973" y="186824"/>
                  <a:pt x="146078" y="142097"/>
                  <a:pt x="141864" y="95780"/>
                </a:cubicBezTo>
                <a:cubicBezTo>
                  <a:pt x="140086" y="76240"/>
                  <a:pt x="138323" y="56689"/>
                  <a:pt x="137158" y="37107"/>
                </a:cubicBezTo>
                <a:cubicBezTo>
                  <a:pt x="136482" y="25735"/>
                  <a:pt x="137408" y="24372"/>
                  <a:pt x="148750" y="22335"/>
                </a:cubicBezTo>
                <a:cubicBezTo>
                  <a:pt x="178094" y="17065"/>
                  <a:pt x="207551" y="12418"/>
                  <a:pt x="236982" y="7640"/>
                </a:cubicBezTo>
                <a:cubicBezTo>
                  <a:pt x="239748" y="7191"/>
                  <a:pt x="242650" y="7580"/>
                  <a:pt x="246862" y="7580"/>
                </a:cubicBezTo>
                <a:cubicBezTo>
                  <a:pt x="255824" y="32568"/>
                  <a:pt x="255201" y="59502"/>
                  <a:pt x="261473" y="86763"/>
                </a:cubicBezTo>
                <a:cubicBezTo>
                  <a:pt x="276122" y="85715"/>
                  <a:pt x="290587" y="84680"/>
                  <a:pt x="306246" y="83559"/>
                </a:cubicBezTo>
                <a:cubicBezTo>
                  <a:pt x="306524" y="78935"/>
                  <a:pt x="306966" y="75011"/>
                  <a:pt x="306960" y="71087"/>
                </a:cubicBezTo>
                <a:cubicBezTo>
                  <a:pt x="306936" y="53888"/>
                  <a:pt x="306633" y="36688"/>
                  <a:pt x="306724" y="19491"/>
                </a:cubicBezTo>
                <a:cubicBezTo>
                  <a:pt x="306789" y="7258"/>
                  <a:pt x="307148" y="6664"/>
                  <a:pt x="319581" y="4733"/>
                </a:cubicBezTo>
                <a:cubicBezTo>
                  <a:pt x="356571" y="-1011"/>
                  <a:pt x="393735" y="-1048"/>
                  <a:pt x="430956" y="2070"/>
                </a:cubicBezTo>
                <a:cubicBezTo>
                  <a:pt x="432994" y="2241"/>
                  <a:pt x="435026" y="2485"/>
                  <a:pt x="437066" y="2646"/>
                </a:cubicBezTo>
                <a:cubicBezTo>
                  <a:pt x="455684" y="4122"/>
                  <a:pt x="457626" y="5472"/>
                  <a:pt x="460335" y="24205"/>
                </a:cubicBezTo>
                <a:cubicBezTo>
                  <a:pt x="462146" y="36727"/>
                  <a:pt x="462770" y="49435"/>
                  <a:pt x="463579" y="62081"/>
                </a:cubicBezTo>
                <a:cubicBezTo>
                  <a:pt x="463995" y="68573"/>
                  <a:pt x="463652" y="75113"/>
                  <a:pt x="463652" y="82953"/>
                </a:cubicBezTo>
                <a:cubicBezTo>
                  <a:pt x="478793" y="83857"/>
                  <a:pt x="492851" y="84696"/>
                  <a:pt x="507205" y="85553"/>
                </a:cubicBezTo>
                <a:cubicBezTo>
                  <a:pt x="512102" y="78145"/>
                  <a:pt x="511920" y="69770"/>
                  <a:pt x="513271" y="61890"/>
                </a:cubicBezTo>
                <a:cubicBezTo>
                  <a:pt x="515756" y="47397"/>
                  <a:pt x="517439" y="32758"/>
                  <a:pt x="520203" y="18323"/>
                </a:cubicBezTo>
                <a:cubicBezTo>
                  <a:pt x="522330" y="7216"/>
                  <a:pt x="522926" y="6539"/>
                  <a:pt x="534008" y="7785"/>
                </a:cubicBezTo>
                <a:cubicBezTo>
                  <a:pt x="554709" y="10113"/>
                  <a:pt x="575316" y="13322"/>
                  <a:pt x="595925" y="16407"/>
                </a:cubicBezTo>
                <a:cubicBezTo>
                  <a:pt x="604001" y="17616"/>
                  <a:pt x="612093" y="19051"/>
                  <a:pt x="619972" y="21156"/>
                </a:cubicBezTo>
                <a:cubicBezTo>
                  <a:pt x="628887" y="23538"/>
                  <a:pt x="631496" y="26848"/>
                  <a:pt x="631161" y="36134"/>
                </a:cubicBezTo>
                <a:cubicBezTo>
                  <a:pt x="630572" y="52475"/>
                  <a:pt x="629765" y="68840"/>
                  <a:pt x="628140" y="85104"/>
                </a:cubicBezTo>
                <a:cubicBezTo>
                  <a:pt x="624968" y="116827"/>
                  <a:pt x="621618" y="148545"/>
                  <a:pt x="613954" y="179618"/>
                </a:cubicBezTo>
                <a:cubicBezTo>
                  <a:pt x="607361" y="206344"/>
                  <a:pt x="597791" y="231950"/>
                  <a:pt x="586196" y="256886"/>
                </a:cubicBezTo>
                <a:cubicBezTo>
                  <a:pt x="578940" y="272491"/>
                  <a:pt x="568647" y="285371"/>
                  <a:pt x="554619" y="295312"/>
                </a:cubicBezTo>
                <a:cubicBezTo>
                  <a:pt x="547467" y="300381"/>
                  <a:pt x="541673" y="306562"/>
                  <a:pt x="538601" y="315001"/>
                </a:cubicBezTo>
                <a:cubicBezTo>
                  <a:pt x="536802" y="319945"/>
                  <a:pt x="537533" y="323761"/>
                  <a:pt x="542630" y="326199"/>
                </a:cubicBezTo>
                <a:cubicBezTo>
                  <a:pt x="548539" y="329025"/>
                  <a:pt x="554513" y="331748"/>
                  <a:pt x="560240" y="334912"/>
                </a:cubicBezTo>
                <a:cubicBezTo>
                  <a:pt x="574874" y="342998"/>
                  <a:pt x="586216" y="353688"/>
                  <a:pt x="586933" y="371800"/>
                </a:cubicBezTo>
                <a:cubicBezTo>
                  <a:pt x="587721" y="391697"/>
                  <a:pt x="581146" y="407998"/>
                  <a:pt x="563039" y="418184"/>
                </a:cubicBezTo>
                <a:cubicBezTo>
                  <a:pt x="557338" y="421391"/>
                  <a:pt x="551634" y="424825"/>
                  <a:pt x="545522" y="427008"/>
                </a:cubicBezTo>
                <a:cubicBezTo>
                  <a:pt x="538690" y="429449"/>
                  <a:pt x="535443" y="433770"/>
                  <a:pt x="535507" y="440667"/>
                </a:cubicBezTo>
                <a:cubicBezTo>
                  <a:pt x="535813" y="472997"/>
                  <a:pt x="535953" y="505332"/>
                  <a:pt x="536723" y="537651"/>
                </a:cubicBezTo>
                <a:cubicBezTo>
                  <a:pt x="537181" y="556862"/>
                  <a:pt x="538274" y="576081"/>
                  <a:pt x="539820" y="595237"/>
                </a:cubicBezTo>
                <a:cubicBezTo>
                  <a:pt x="543897" y="645768"/>
                  <a:pt x="546950" y="696441"/>
                  <a:pt x="553105" y="746727"/>
                </a:cubicBezTo>
                <a:cubicBezTo>
                  <a:pt x="559060" y="795370"/>
                  <a:pt x="568372" y="843602"/>
                  <a:pt x="576414" y="893042"/>
                </a:cubicBezTo>
                <a:moveTo>
                  <a:pt x="500356" y="473996"/>
                </a:moveTo>
                <a:cubicBezTo>
                  <a:pt x="500146" y="470396"/>
                  <a:pt x="499936" y="466797"/>
                  <a:pt x="499749" y="463598"/>
                </a:cubicBezTo>
                <a:cubicBezTo>
                  <a:pt x="463731" y="466295"/>
                  <a:pt x="428548" y="468929"/>
                  <a:pt x="392525" y="471627"/>
                </a:cubicBezTo>
                <a:cubicBezTo>
                  <a:pt x="392525" y="475456"/>
                  <a:pt x="392570" y="479099"/>
                  <a:pt x="392518" y="482742"/>
                </a:cubicBezTo>
                <a:cubicBezTo>
                  <a:pt x="391977" y="520799"/>
                  <a:pt x="391669" y="558862"/>
                  <a:pt x="390814" y="596913"/>
                </a:cubicBezTo>
                <a:cubicBezTo>
                  <a:pt x="389379" y="660737"/>
                  <a:pt x="387596" y="724554"/>
                  <a:pt x="385953" y="788374"/>
                </a:cubicBezTo>
                <a:cubicBezTo>
                  <a:pt x="385132" y="820284"/>
                  <a:pt x="384217" y="852191"/>
                  <a:pt x="383485" y="884103"/>
                </a:cubicBezTo>
                <a:cubicBezTo>
                  <a:pt x="382329" y="934437"/>
                  <a:pt x="381336" y="984775"/>
                  <a:pt x="380173" y="1035109"/>
                </a:cubicBezTo>
                <a:cubicBezTo>
                  <a:pt x="379918" y="1046143"/>
                  <a:pt x="379172" y="1057166"/>
                  <a:pt x="378826" y="1068199"/>
                </a:cubicBezTo>
                <a:cubicBezTo>
                  <a:pt x="378768" y="1070073"/>
                  <a:pt x="379592" y="1071975"/>
                  <a:pt x="380180" y="1074648"/>
                </a:cubicBezTo>
                <a:cubicBezTo>
                  <a:pt x="402724" y="1074648"/>
                  <a:pt x="424789" y="1074626"/>
                  <a:pt x="446854" y="1074654"/>
                </a:cubicBezTo>
                <a:cubicBezTo>
                  <a:pt x="468967" y="1074682"/>
                  <a:pt x="491084" y="1075062"/>
                  <a:pt x="513191" y="1074731"/>
                </a:cubicBezTo>
                <a:cubicBezTo>
                  <a:pt x="535020" y="1074404"/>
                  <a:pt x="556890" y="1078397"/>
                  <a:pt x="580317" y="1075095"/>
                </a:cubicBezTo>
                <a:cubicBezTo>
                  <a:pt x="530688" y="877741"/>
                  <a:pt x="498514" y="679261"/>
                  <a:pt x="500356" y="473996"/>
                </a:cubicBezTo>
                <a:moveTo>
                  <a:pt x="459731" y="1135086"/>
                </a:moveTo>
                <a:cubicBezTo>
                  <a:pt x="434501" y="1135086"/>
                  <a:pt x="409270" y="1135086"/>
                  <a:pt x="383756" y="1135086"/>
                </a:cubicBezTo>
                <a:cubicBezTo>
                  <a:pt x="385145" y="1171037"/>
                  <a:pt x="387590" y="1206813"/>
                  <a:pt x="387612" y="1242590"/>
                </a:cubicBezTo>
                <a:cubicBezTo>
                  <a:pt x="387634" y="1278699"/>
                  <a:pt x="385252" y="1314810"/>
                  <a:pt x="383907" y="1351330"/>
                </a:cubicBezTo>
                <a:cubicBezTo>
                  <a:pt x="493016" y="1355954"/>
                  <a:pt x="600298" y="1349068"/>
                  <a:pt x="707112" y="1330559"/>
                </a:cubicBezTo>
                <a:cubicBezTo>
                  <a:pt x="710922" y="1301049"/>
                  <a:pt x="703971" y="1274394"/>
                  <a:pt x="686366" y="1251637"/>
                </a:cubicBezTo>
                <a:cubicBezTo>
                  <a:pt x="672164" y="1233278"/>
                  <a:pt x="655625" y="1216649"/>
                  <a:pt x="639403" y="1199952"/>
                </a:cubicBezTo>
                <a:cubicBezTo>
                  <a:pt x="621690" y="1181720"/>
                  <a:pt x="611031" y="1160243"/>
                  <a:pt x="606292" y="1135508"/>
                </a:cubicBezTo>
                <a:cubicBezTo>
                  <a:pt x="605546" y="1131614"/>
                  <a:pt x="604205" y="1127833"/>
                  <a:pt x="602971" y="1123400"/>
                </a:cubicBezTo>
                <a:cubicBezTo>
                  <a:pt x="598647" y="1123864"/>
                  <a:pt x="595062" y="1124258"/>
                  <a:pt x="591474" y="1124633"/>
                </a:cubicBezTo>
                <a:cubicBezTo>
                  <a:pt x="571170" y="1126753"/>
                  <a:pt x="550896" y="1129262"/>
                  <a:pt x="530551" y="1130880"/>
                </a:cubicBezTo>
                <a:cubicBezTo>
                  <a:pt x="507752" y="1132694"/>
                  <a:pt x="484887" y="1133699"/>
                  <a:pt x="459731" y="1135086"/>
                </a:cubicBezTo>
                <a:moveTo>
                  <a:pt x="469505" y="116252"/>
                </a:moveTo>
                <a:cubicBezTo>
                  <a:pt x="460926" y="115846"/>
                  <a:pt x="452288" y="115932"/>
                  <a:pt x="443782" y="114911"/>
                </a:cubicBezTo>
                <a:cubicBezTo>
                  <a:pt x="433023" y="113619"/>
                  <a:pt x="430601" y="110848"/>
                  <a:pt x="430007" y="99878"/>
                </a:cubicBezTo>
                <a:cubicBezTo>
                  <a:pt x="429457" y="89668"/>
                  <a:pt x="429903" y="79404"/>
                  <a:pt x="429331" y="69197"/>
                </a:cubicBezTo>
                <a:cubicBezTo>
                  <a:pt x="428702" y="57943"/>
                  <a:pt x="427414" y="46725"/>
                  <a:pt x="426333" y="34606"/>
                </a:cubicBezTo>
                <a:cubicBezTo>
                  <a:pt x="409217" y="34606"/>
                  <a:pt x="393383" y="34593"/>
                  <a:pt x="377548" y="34613"/>
                </a:cubicBezTo>
                <a:cubicBezTo>
                  <a:pt x="370973" y="34621"/>
                  <a:pt x="368175" y="37880"/>
                  <a:pt x="368004" y="44529"/>
                </a:cubicBezTo>
                <a:cubicBezTo>
                  <a:pt x="367731" y="55142"/>
                  <a:pt x="366531" y="65729"/>
                  <a:pt x="366185" y="76343"/>
                </a:cubicBezTo>
                <a:cubicBezTo>
                  <a:pt x="364748" y="120348"/>
                  <a:pt x="372586" y="163440"/>
                  <a:pt x="379384" y="206619"/>
                </a:cubicBezTo>
                <a:cubicBezTo>
                  <a:pt x="383132" y="230420"/>
                  <a:pt x="387281" y="254159"/>
                  <a:pt x="390997" y="277965"/>
                </a:cubicBezTo>
                <a:cubicBezTo>
                  <a:pt x="392356" y="286668"/>
                  <a:pt x="392988" y="295485"/>
                  <a:pt x="394040" y="305053"/>
                </a:cubicBezTo>
                <a:cubicBezTo>
                  <a:pt x="430625" y="305053"/>
                  <a:pt x="466194" y="305182"/>
                  <a:pt x="501758" y="304814"/>
                </a:cubicBezTo>
                <a:cubicBezTo>
                  <a:pt x="504672" y="304784"/>
                  <a:pt x="508099" y="301870"/>
                  <a:pt x="510340" y="299427"/>
                </a:cubicBezTo>
                <a:cubicBezTo>
                  <a:pt x="516125" y="293119"/>
                  <a:pt x="520822" y="285749"/>
                  <a:pt x="526940" y="279822"/>
                </a:cubicBezTo>
                <a:cubicBezTo>
                  <a:pt x="552103" y="255447"/>
                  <a:pt x="566819" y="225104"/>
                  <a:pt x="576920" y="192342"/>
                </a:cubicBezTo>
                <a:cubicBezTo>
                  <a:pt x="588690" y="154165"/>
                  <a:pt x="590063" y="114309"/>
                  <a:pt x="594042" y="74918"/>
                </a:cubicBezTo>
                <a:cubicBezTo>
                  <a:pt x="594852" y="66901"/>
                  <a:pt x="594159" y="58731"/>
                  <a:pt x="594159" y="49195"/>
                </a:cubicBezTo>
                <a:cubicBezTo>
                  <a:pt x="581125" y="46996"/>
                  <a:pt x="568493" y="44864"/>
                  <a:pt x="554791" y="42552"/>
                </a:cubicBezTo>
                <a:cubicBezTo>
                  <a:pt x="553857" y="47762"/>
                  <a:pt x="553099" y="51670"/>
                  <a:pt x="552461" y="55598"/>
                </a:cubicBezTo>
                <a:cubicBezTo>
                  <a:pt x="549905" y="71314"/>
                  <a:pt x="547903" y="87144"/>
                  <a:pt x="544678" y="102721"/>
                </a:cubicBezTo>
                <a:cubicBezTo>
                  <a:pt x="542363" y="113902"/>
                  <a:pt x="537010" y="118223"/>
                  <a:pt x="525701" y="118186"/>
                </a:cubicBezTo>
                <a:cubicBezTo>
                  <a:pt x="507730" y="118128"/>
                  <a:pt x="489762" y="117027"/>
                  <a:pt x="469505" y="116252"/>
                </a:cubicBezTo>
                <a:moveTo>
                  <a:pt x="513928" y="1403203"/>
                </a:moveTo>
                <a:cubicBezTo>
                  <a:pt x="469441" y="1403467"/>
                  <a:pt x="424955" y="1403730"/>
                  <a:pt x="379322" y="1404000"/>
                </a:cubicBezTo>
                <a:cubicBezTo>
                  <a:pt x="379322" y="1423089"/>
                  <a:pt x="379322" y="1440883"/>
                  <a:pt x="379322" y="1460424"/>
                </a:cubicBezTo>
                <a:cubicBezTo>
                  <a:pt x="496078" y="1471584"/>
                  <a:pt x="611510" y="1462301"/>
                  <a:pt x="726554" y="1439225"/>
                </a:cubicBezTo>
                <a:cubicBezTo>
                  <a:pt x="728615" y="1424350"/>
                  <a:pt x="725601" y="1410872"/>
                  <a:pt x="721089" y="1397750"/>
                </a:cubicBezTo>
                <a:cubicBezTo>
                  <a:pt x="717269" y="1386638"/>
                  <a:pt x="709802" y="1383286"/>
                  <a:pt x="697967" y="1385046"/>
                </a:cubicBezTo>
                <a:cubicBezTo>
                  <a:pt x="671697" y="1388954"/>
                  <a:pt x="645454" y="1393360"/>
                  <a:pt x="619039" y="1395892"/>
                </a:cubicBezTo>
                <a:cubicBezTo>
                  <a:pt x="584863" y="1399168"/>
                  <a:pt x="550531" y="1400815"/>
                  <a:pt x="513928" y="1403203"/>
                </a:cubicBezTo>
                <a:moveTo>
                  <a:pt x="462814" y="375981"/>
                </a:moveTo>
                <a:cubicBezTo>
                  <a:pt x="488207" y="375927"/>
                  <a:pt x="513601" y="375954"/>
                  <a:pt x="538992" y="375736"/>
                </a:cubicBezTo>
                <a:cubicBezTo>
                  <a:pt x="543170" y="375700"/>
                  <a:pt x="547338" y="374587"/>
                  <a:pt x="551835" y="373923"/>
                </a:cubicBezTo>
                <a:cubicBezTo>
                  <a:pt x="550780" y="364535"/>
                  <a:pt x="545320" y="360090"/>
                  <a:pt x="539689" y="356085"/>
                </a:cubicBezTo>
                <a:cubicBezTo>
                  <a:pt x="533696" y="351821"/>
                  <a:pt x="527145" y="348349"/>
                  <a:pt x="521074" y="344186"/>
                </a:cubicBezTo>
                <a:cubicBezTo>
                  <a:pt x="515783" y="340559"/>
                  <a:pt x="510232" y="339198"/>
                  <a:pt x="503789" y="339280"/>
                </a:cubicBezTo>
                <a:cubicBezTo>
                  <a:pt x="470618" y="339700"/>
                  <a:pt x="437443" y="339744"/>
                  <a:pt x="404270" y="339994"/>
                </a:cubicBezTo>
                <a:cubicBezTo>
                  <a:pt x="400758" y="340021"/>
                  <a:pt x="397250" y="340529"/>
                  <a:pt x="393081" y="340868"/>
                </a:cubicBezTo>
                <a:cubicBezTo>
                  <a:pt x="393653" y="352908"/>
                  <a:pt x="392145" y="363845"/>
                  <a:pt x="395001" y="375976"/>
                </a:cubicBezTo>
                <a:cubicBezTo>
                  <a:pt x="417133" y="375976"/>
                  <a:pt x="438745" y="375976"/>
                  <a:pt x="462814" y="375981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183" name="Free-form: Shape 9182">
            <a:extLst>
              <a:ext uri="{FF2B5EF4-FFF2-40B4-BE49-F238E27FC236}">
                <a16:creationId xmlns:a16="http://schemas.microsoft.com/office/drawing/2014/main" id="{87389FA0-8A5E-DBAD-B440-AB80691C0A68}"/>
              </a:ext>
            </a:extLst>
          </p:cNvPr>
          <p:cNvSpPr/>
          <p:nvPr/>
        </p:nvSpPr>
        <p:spPr>
          <a:xfrm>
            <a:off x="2855301" y="4899267"/>
            <a:ext cx="155564" cy="520442"/>
          </a:xfrm>
          <a:custGeom>
            <a:avLst/>
            <a:gdLst>
              <a:gd name="csX0" fmla="*/ 121535 w 201493"/>
              <a:gd name="csY0" fmla="*/ 11562 h 612813"/>
              <a:gd name="csX1" fmla="*/ 201493 w 201493"/>
              <a:gd name="csY1" fmla="*/ 611498 h 612813"/>
              <a:gd name="csX2" fmla="*/ 134368 w 201493"/>
              <a:gd name="csY2" fmla="*/ 611133 h 612813"/>
              <a:gd name="csX3" fmla="*/ 68030 w 201493"/>
              <a:gd name="csY3" fmla="*/ 611056 h 612813"/>
              <a:gd name="csX4" fmla="*/ 1357 w 201493"/>
              <a:gd name="csY4" fmla="*/ 611050 h 612813"/>
              <a:gd name="csX5" fmla="*/ 3 w 201493"/>
              <a:gd name="csY5" fmla="*/ 604601 h 612813"/>
              <a:gd name="csX6" fmla="*/ 1350 w 201493"/>
              <a:gd name="csY6" fmla="*/ 571511 h 612813"/>
              <a:gd name="csX7" fmla="*/ 4661 w 201493"/>
              <a:gd name="csY7" fmla="*/ 420505 h 612813"/>
              <a:gd name="csX8" fmla="*/ 7130 w 201493"/>
              <a:gd name="csY8" fmla="*/ 324777 h 612813"/>
              <a:gd name="csX9" fmla="*/ 11991 w 201493"/>
              <a:gd name="csY9" fmla="*/ 133315 h 612813"/>
              <a:gd name="csX10" fmla="*/ 13695 w 201493"/>
              <a:gd name="csY10" fmla="*/ 19144 h 612813"/>
              <a:gd name="csX11" fmla="*/ 13702 w 201493"/>
              <a:gd name="csY11" fmla="*/ 8029 h 612813"/>
              <a:gd name="csX12" fmla="*/ 120926 w 201493"/>
              <a:gd name="csY12" fmla="*/ 0 h 612813"/>
              <a:gd name="csX13" fmla="*/ 121535 w 201493"/>
              <a:gd name="csY13" fmla="*/ 11562 h 61281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</a:cxnLst>
            <a:rect l="l" t="t" r="r" b="b"/>
            <a:pathLst>
              <a:path w="201493" h="612813">
                <a:moveTo>
                  <a:pt x="121535" y="11562"/>
                </a:moveTo>
                <a:cubicBezTo>
                  <a:pt x="119691" y="215664"/>
                  <a:pt x="151865" y="414144"/>
                  <a:pt x="201493" y="611498"/>
                </a:cubicBezTo>
                <a:cubicBezTo>
                  <a:pt x="178066" y="614799"/>
                  <a:pt x="156197" y="610806"/>
                  <a:pt x="134368" y="611133"/>
                </a:cubicBezTo>
                <a:cubicBezTo>
                  <a:pt x="112261" y="611465"/>
                  <a:pt x="90143" y="611084"/>
                  <a:pt x="68030" y="611056"/>
                </a:cubicBezTo>
                <a:cubicBezTo>
                  <a:pt x="45965" y="611028"/>
                  <a:pt x="23900" y="611050"/>
                  <a:pt x="1357" y="611050"/>
                </a:cubicBezTo>
                <a:cubicBezTo>
                  <a:pt x="769" y="608377"/>
                  <a:pt x="-56" y="606475"/>
                  <a:pt x="3" y="604601"/>
                </a:cubicBezTo>
                <a:cubicBezTo>
                  <a:pt x="349" y="593568"/>
                  <a:pt x="1095" y="582545"/>
                  <a:pt x="1350" y="571511"/>
                </a:cubicBezTo>
                <a:cubicBezTo>
                  <a:pt x="2513" y="521177"/>
                  <a:pt x="3506" y="470839"/>
                  <a:pt x="4661" y="420505"/>
                </a:cubicBezTo>
                <a:cubicBezTo>
                  <a:pt x="5393" y="388594"/>
                  <a:pt x="6308" y="356686"/>
                  <a:pt x="7130" y="324777"/>
                </a:cubicBezTo>
                <a:cubicBezTo>
                  <a:pt x="8772" y="260956"/>
                  <a:pt x="10555" y="197140"/>
                  <a:pt x="11991" y="133315"/>
                </a:cubicBezTo>
                <a:cubicBezTo>
                  <a:pt x="12846" y="95264"/>
                  <a:pt x="13154" y="57201"/>
                  <a:pt x="13695" y="19144"/>
                </a:cubicBezTo>
                <a:cubicBezTo>
                  <a:pt x="13746" y="15501"/>
                  <a:pt x="13702" y="11858"/>
                  <a:pt x="13702" y="8029"/>
                </a:cubicBezTo>
                <a:cubicBezTo>
                  <a:pt x="49725" y="5331"/>
                  <a:pt x="84908" y="2697"/>
                  <a:pt x="120926" y="0"/>
                </a:cubicBezTo>
                <a:cubicBezTo>
                  <a:pt x="121113" y="3199"/>
                  <a:pt x="121323" y="6798"/>
                  <a:pt x="121535" y="11562"/>
                </a:cubicBezTo>
                <a:close/>
              </a:path>
            </a:pathLst>
          </a:custGeom>
          <a:solidFill>
            <a:srgbClr val="FDFDFD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184" name="Free-form: Shape 9183">
            <a:extLst>
              <a:ext uri="{FF2B5EF4-FFF2-40B4-BE49-F238E27FC236}">
                <a16:creationId xmlns:a16="http://schemas.microsoft.com/office/drawing/2014/main" id="{02ABA8F6-9B5B-07FD-88AA-CC4ACDE13165}"/>
              </a:ext>
            </a:extLst>
          </p:cNvPr>
          <p:cNvSpPr/>
          <p:nvPr/>
        </p:nvSpPr>
        <p:spPr>
          <a:xfrm>
            <a:off x="2859109" y="5459616"/>
            <a:ext cx="250431" cy="194755"/>
          </a:xfrm>
          <a:custGeom>
            <a:avLst/>
            <a:gdLst>
              <a:gd name="csX0" fmla="*/ 77135 w 324367"/>
              <a:gd name="csY0" fmla="*/ 11670 h 229322"/>
              <a:gd name="csX1" fmla="*/ 146795 w 324367"/>
              <a:gd name="csY1" fmla="*/ 7480 h 229322"/>
              <a:gd name="csX2" fmla="*/ 207718 w 324367"/>
              <a:gd name="csY2" fmla="*/ 1232 h 229322"/>
              <a:gd name="csX3" fmla="*/ 219215 w 324367"/>
              <a:gd name="csY3" fmla="*/ 0 h 229322"/>
              <a:gd name="csX4" fmla="*/ 222536 w 324367"/>
              <a:gd name="csY4" fmla="*/ 12108 h 229322"/>
              <a:gd name="csX5" fmla="*/ 255647 w 324367"/>
              <a:gd name="csY5" fmla="*/ 76552 h 229322"/>
              <a:gd name="csX6" fmla="*/ 302610 w 324367"/>
              <a:gd name="csY6" fmla="*/ 128236 h 229322"/>
              <a:gd name="csX7" fmla="*/ 323355 w 324367"/>
              <a:gd name="csY7" fmla="*/ 207159 h 229322"/>
              <a:gd name="csX8" fmla="*/ 151 w 324367"/>
              <a:gd name="csY8" fmla="*/ 227930 h 229322"/>
              <a:gd name="csX9" fmla="*/ 3855 w 324367"/>
              <a:gd name="csY9" fmla="*/ 119190 h 229322"/>
              <a:gd name="csX10" fmla="*/ 0 w 324367"/>
              <a:gd name="csY10" fmla="*/ 11685 h 229322"/>
              <a:gd name="csX11" fmla="*/ 77135 w 324367"/>
              <a:gd name="csY11" fmla="*/ 11670 h 22932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324367" h="229322">
                <a:moveTo>
                  <a:pt x="77135" y="11670"/>
                </a:moveTo>
                <a:cubicBezTo>
                  <a:pt x="101131" y="10299"/>
                  <a:pt x="123996" y="9293"/>
                  <a:pt x="146795" y="7480"/>
                </a:cubicBezTo>
                <a:cubicBezTo>
                  <a:pt x="167139" y="5862"/>
                  <a:pt x="187413" y="3352"/>
                  <a:pt x="207718" y="1232"/>
                </a:cubicBezTo>
                <a:cubicBezTo>
                  <a:pt x="211305" y="858"/>
                  <a:pt x="214891" y="464"/>
                  <a:pt x="219215" y="0"/>
                </a:cubicBezTo>
                <a:cubicBezTo>
                  <a:pt x="220448" y="4433"/>
                  <a:pt x="221789" y="8213"/>
                  <a:pt x="222536" y="12108"/>
                </a:cubicBezTo>
                <a:cubicBezTo>
                  <a:pt x="227274" y="36843"/>
                  <a:pt x="237933" y="58320"/>
                  <a:pt x="255647" y="76552"/>
                </a:cubicBezTo>
                <a:cubicBezTo>
                  <a:pt x="271868" y="93249"/>
                  <a:pt x="288407" y="109878"/>
                  <a:pt x="302610" y="128236"/>
                </a:cubicBezTo>
                <a:cubicBezTo>
                  <a:pt x="320215" y="150993"/>
                  <a:pt x="327166" y="177648"/>
                  <a:pt x="323355" y="207159"/>
                </a:cubicBezTo>
                <a:cubicBezTo>
                  <a:pt x="216542" y="225668"/>
                  <a:pt x="109259" y="232554"/>
                  <a:pt x="151" y="227930"/>
                </a:cubicBezTo>
                <a:cubicBezTo>
                  <a:pt x="1495" y="191410"/>
                  <a:pt x="3878" y="155299"/>
                  <a:pt x="3855" y="119190"/>
                </a:cubicBezTo>
                <a:cubicBezTo>
                  <a:pt x="3834" y="83413"/>
                  <a:pt x="1388" y="47637"/>
                  <a:pt x="0" y="11685"/>
                </a:cubicBezTo>
                <a:cubicBezTo>
                  <a:pt x="25514" y="11685"/>
                  <a:pt x="50744" y="11685"/>
                  <a:pt x="77135" y="11670"/>
                </a:cubicBezTo>
                <a:close/>
              </a:path>
            </a:pathLst>
          </a:custGeom>
          <a:solidFill>
            <a:srgbClr val="FDFEFE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185" name="Free-form: Shape 9184">
            <a:extLst>
              <a:ext uri="{FF2B5EF4-FFF2-40B4-BE49-F238E27FC236}">
                <a16:creationId xmlns:a16="http://schemas.microsoft.com/office/drawing/2014/main" id="{3F950397-4CF2-1CBC-456A-EB1FE1CC834B}"/>
              </a:ext>
            </a:extLst>
          </p:cNvPr>
          <p:cNvSpPr/>
          <p:nvPr/>
        </p:nvSpPr>
        <p:spPr>
          <a:xfrm>
            <a:off x="2845410" y="4534935"/>
            <a:ext cx="176355" cy="229704"/>
          </a:xfrm>
          <a:custGeom>
            <a:avLst/>
            <a:gdLst>
              <a:gd name="csX0" fmla="*/ 104636 w 228422"/>
              <a:gd name="csY0" fmla="*/ 81707 h 270473"/>
              <a:gd name="csX1" fmla="*/ 159689 w 228422"/>
              <a:gd name="csY1" fmla="*/ 83584 h 270473"/>
              <a:gd name="csX2" fmla="*/ 178665 w 228422"/>
              <a:gd name="csY2" fmla="*/ 68119 h 270473"/>
              <a:gd name="csX3" fmla="*/ 186448 w 228422"/>
              <a:gd name="csY3" fmla="*/ 20996 h 270473"/>
              <a:gd name="csX4" fmla="*/ 188779 w 228422"/>
              <a:gd name="csY4" fmla="*/ 7950 h 270473"/>
              <a:gd name="csX5" fmla="*/ 228146 w 228422"/>
              <a:gd name="csY5" fmla="*/ 14593 h 270473"/>
              <a:gd name="csX6" fmla="*/ 228030 w 228422"/>
              <a:gd name="csY6" fmla="*/ 40316 h 270473"/>
              <a:gd name="csX7" fmla="*/ 210907 w 228422"/>
              <a:gd name="csY7" fmla="*/ 157740 h 270473"/>
              <a:gd name="csX8" fmla="*/ 160928 w 228422"/>
              <a:gd name="csY8" fmla="*/ 245220 h 270473"/>
              <a:gd name="csX9" fmla="*/ 144327 w 228422"/>
              <a:gd name="csY9" fmla="*/ 264825 h 270473"/>
              <a:gd name="csX10" fmla="*/ 135745 w 228422"/>
              <a:gd name="csY10" fmla="*/ 270212 h 270473"/>
              <a:gd name="csX11" fmla="*/ 28028 w 228422"/>
              <a:gd name="csY11" fmla="*/ 270451 h 270473"/>
              <a:gd name="csX12" fmla="*/ 24984 w 228422"/>
              <a:gd name="csY12" fmla="*/ 243363 h 270473"/>
              <a:gd name="csX13" fmla="*/ 13372 w 228422"/>
              <a:gd name="csY13" fmla="*/ 172017 h 270473"/>
              <a:gd name="csX14" fmla="*/ 172 w 228422"/>
              <a:gd name="csY14" fmla="*/ 41741 h 270473"/>
              <a:gd name="csX15" fmla="*/ 1991 w 228422"/>
              <a:gd name="csY15" fmla="*/ 9927 h 270473"/>
              <a:gd name="csX16" fmla="*/ 11535 w 228422"/>
              <a:gd name="csY16" fmla="*/ 11 h 270473"/>
              <a:gd name="csX17" fmla="*/ 60320 w 228422"/>
              <a:gd name="csY17" fmla="*/ 4 h 270473"/>
              <a:gd name="csX18" fmla="*/ 63319 w 228422"/>
              <a:gd name="csY18" fmla="*/ 34595 h 270473"/>
              <a:gd name="csX19" fmla="*/ 63995 w 228422"/>
              <a:gd name="csY19" fmla="*/ 65276 h 270473"/>
              <a:gd name="csX20" fmla="*/ 77770 w 228422"/>
              <a:gd name="csY20" fmla="*/ 80309 h 270473"/>
              <a:gd name="csX21" fmla="*/ 104636 w 228422"/>
              <a:gd name="csY21" fmla="*/ 81707 h 27047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</a:cxnLst>
            <a:rect l="l" t="t" r="r" b="b"/>
            <a:pathLst>
              <a:path w="228422" h="270473">
                <a:moveTo>
                  <a:pt x="104636" y="81707"/>
                </a:moveTo>
                <a:cubicBezTo>
                  <a:pt x="123750" y="82425"/>
                  <a:pt x="141717" y="83526"/>
                  <a:pt x="159689" y="83584"/>
                </a:cubicBezTo>
                <a:cubicBezTo>
                  <a:pt x="170998" y="83621"/>
                  <a:pt x="176351" y="79300"/>
                  <a:pt x="178665" y="68119"/>
                </a:cubicBezTo>
                <a:cubicBezTo>
                  <a:pt x="181890" y="52542"/>
                  <a:pt x="183892" y="36712"/>
                  <a:pt x="186448" y="20996"/>
                </a:cubicBezTo>
                <a:cubicBezTo>
                  <a:pt x="187087" y="17068"/>
                  <a:pt x="187844" y="13160"/>
                  <a:pt x="188779" y="7950"/>
                </a:cubicBezTo>
                <a:cubicBezTo>
                  <a:pt x="202480" y="10262"/>
                  <a:pt x="215113" y="12394"/>
                  <a:pt x="228146" y="14593"/>
                </a:cubicBezTo>
                <a:cubicBezTo>
                  <a:pt x="228146" y="24129"/>
                  <a:pt x="228839" y="32299"/>
                  <a:pt x="228030" y="40316"/>
                </a:cubicBezTo>
                <a:cubicBezTo>
                  <a:pt x="224051" y="79707"/>
                  <a:pt x="222678" y="119563"/>
                  <a:pt x="210907" y="157740"/>
                </a:cubicBezTo>
                <a:cubicBezTo>
                  <a:pt x="200806" y="190502"/>
                  <a:pt x="186090" y="220845"/>
                  <a:pt x="160928" y="245220"/>
                </a:cubicBezTo>
                <a:cubicBezTo>
                  <a:pt x="154810" y="251147"/>
                  <a:pt x="150112" y="258517"/>
                  <a:pt x="144327" y="264825"/>
                </a:cubicBezTo>
                <a:cubicBezTo>
                  <a:pt x="142086" y="267268"/>
                  <a:pt x="138659" y="270182"/>
                  <a:pt x="135745" y="270212"/>
                </a:cubicBezTo>
                <a:cubicBezTo>
                  <a:pt x="100181" y="270580"/>
                  <a:pt x="64612" y="270451"/>
                  <a:pt x="28028" y="270451"/>
                </a:cubicBezTo>
                <a:cubicBezTo>
                  <a:pt x="26976" y="260883"/>
                  <a:pt x="26343" y="252066"/>
                  <a:pt x="24984" y="243363"/>
                </a:cubicBezTo>
                <a:cubicBezTo>
                  <a:pt x="21268" y="219557"/>
                  <a:pt x="17119" y="195818"/>
                  <a:pt x="13372" y="172017"/>
                </a:cubicBezTo>
                <a:cubicBezTo>
                  <a:pt x="6574" y="128838"/>
                  <a:pt x="-1265" y="85746"/>
                  <a:pt x="172" y="41741"/>
                </a:cubicBezTo>
                <a:cubicBezTo>
                  <a:pt x="518" y="31127"/>
                  <a:pt x="1719" y="20540"/>
                  <a:pt x="1991" y="9927"/>
                </a:cubicBezTo>
                <a:cubicBezTo>
                  <a:pt x="2163" y="3278"/>
                  <a:pt x="4961" y="19"/>
                  <a:pt x="11535" y="11"/>
                </a:cubicBezTo>
                <a:cubicBezTo>
                  <a:pt x="27370" y="-9"/>
                  <a:pt x="43205" y="4"/>
                  <a:pt x="60320" y="4"/>
                </a:cubicBezTo>
                <a:cubicBezTo>
                  <a:pt x="61401" y="12123"/>
                  <a:pt x="62689" y="23341"/>
                  <a:pt x="63319" y="34595"/>
                </a:cubicBezTo>
                <a:cubicBezTo>
                  <a:pt x="63890" y="44802"/>
                  <a:pt x="63444" y="55066"/>
                  <a:pt x="63995" y="65276"/>
                </a:cubicBezTo>
                <a:cubicBezTo>
                  <a:pt x="64588" y="76246"/>
                  <a:pt x="67011" y="79017"/>
                  <a:pt x="77770" y="80309"/>
                </a:cubicBezTo>
                <a:cubicBezTo>
                  <a:pt x="86275" y="81330"/>
                  <a:pt x="94914" y="81244"/>
                  <a:pt x="104636" y="81707"/>
                </a:cubicBezTo>
                <a:close/>
              </a:path>
            </a:pathLst>
          </a:custGeom>
          <a:solidFill>
            <a:srgbClr val="FDFDFD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186" name="Free-form: Shape 9185">
            <a:extLst>
              <a:ext uri="{FF2B5EF4-FFF2-40B4-BE49-F238E27FC236}">
                <a16:creationId xmlns:a16="http://schemas.microsoft.com/office/drawing/2014/main" id="{1BE6FA6F-0819-6D01-517A-89E6804B0E45}"/>
              </a:ext>
            </a:extLst>
          </p:cNvPr>
          <p:cNvSpPr/>
          <p:nvPr/>
        </p:nvSpPr>
        <p:spPr>
          <a:xfrm>
            <a:off x="2855685" y="5681448"/>
            <a:ext cx="268594" cy="68395"/>
          </a:xfrm>
          <a:custGeom>
            <a:avLst/>
            <a:gdLst>
              <a:gd name="csX0" fmla="*/ 135775 w 347893"/>
              <a:gd name="csY0" fmla="*/ 18580 h 80534"/>
              <a:gd name="csX1" fmla="*/ 239717 w 347893"/>
              <a:gd name="csY1" fmla="*/ 11288 h 80534"/>
              <a:gd name="csX2" fmla="*/ 318645 w 347893"/>
              <a:gd name="csY2" fmla="*/ 442 h 80534"/>
              <a:gd name="csX3" fmla="*/ 341767 w 347893"/>
              <a:gd name="csY3" fmla="*/ 13145 h 80534"/>
              <a:gd name="csX4" fmla="*/ 347232 w 347893"/>
              <a:gd name="csY4" fmla="*/ 54621 h 80534"/>
              <a:gd name="csX5" fmla="*/ 0 w 347893"/>
              <a:gd name="csY5" fmla="*/ 75820 h 80534"/>
              <a:gd name="csX6" fmla="*/ 0 w 347893"/>
              <a:gd name="csY6" fmla="*/ 19396 h 80534"/>
              <a:gd name="csX7" fmla="*/ 135775 w 347893"/>
              <a:gd name="csY7" fmla="*/ 18580 h 8053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</a:cxnLst>
            <a:rect l="l" t="t" r="r" b="b"/>
            <a:pathLst>
              <a:path w="347893" h="80534">
                <a:moveTo>
                  <a:pt x="135775" y="18580"/>
                </a:moveTo>
                <a:cubicBezTo>
                  <a:pt x="171209" y="16211"/>
                  <a:pt x="205541" y="14564"/>
                  <a:pt x="239717" y="11288"/>
                </a:cubicBezTo>
                <a:cubicBezTo>
                  <a:pt x="266132" y="8756"/>
                  <a:pt x="292375" y="4350"/>
                  <a:pt x="318645" y="442"/>
                </a:cubicBezTo>
                <a:cubicBezTo>
                  <a:pt x="330480" y="-1319"/>
                  <a:pt x="337947" y="2033"/>
                  <a:pt x="341767" y="13145"/>
                </a:cubicBezTo>
                <a:cubicBezTo>
                  <a:pt x="346279" y="26268"/>
                  <a:pt x="349293" y="39746"/>
                  <a:pt x="347232" y="54621"/>
                </a:cubicBezTo>
                <a:cubicBezTo>
                  <a:pt x="232188" y="77697"/>
                  <a:pt x="116756" y="86979"/>
                  <a:pt x="0" y="75820"/>
                </a:cubicBezTo>
                <a:cubicBezTo>
                  <a:pt x="0" y="56279"/>
                  <a:pt x="0" y="38485"/>
                  <a:pt x="0" y="19396"/>
                </a:cubicBezTo>
                <a:cubicBezTo>
                  <a:pt x="45633" y="19126"/>
                  <a:pt x="90119" y="18862"/>
                  <a:pt x="135775" y="18580"/>
                </a:cubicBezTo>
                <a:close/>
              </a:path>
            </a:pathLst>
          </a:custGeom>
          <a:solidFill>
            <a:srgbClr val="FCFDFD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187" name="Free-form: Shape 9186">
            <a:extLst>
              <a:ext uri="{FF2B5EF4-FFF2-40B4-BE49-F238E27FC236}">
                <a16:creationId xmlns:a16="http://schemas.microsoft.com/office/drawing/2014/main" id="{EF7E8FD5-0B8A-F811-5D4E-6AD39D6084F8}"/>
              </a:ext>
            </a:extLst>
          </p:cNvPr>
          <p:cNvSpPr/>
          <p:nvPr/>
        </p:nvSpPr>
        <p:spPr>
          <a:xfrm>
            <a:off x="10826401" y="4505549"/>
            <a:ext cx="593502" cy="1281815"/>
          </a:xfrm>
          <a:custGeom>
            <a:avLst/>
            <a:gdLst>
              <a:gd name="csX0" fmla="*/ 576414 w 768725"/>
              <a:gd name="csY0" fmla="*/ 893042 h 1509319"/>
              <a:gd name="csX1" fmla="*/ 613047 w 768725"/>
              <a:gd name="csY1" fmla="*/ 1059329 h 1509319"/>
              <a:gd name="csX2" fmla="*/ 623337 w 768725"/>
              <a:gd name="csY2" fmla="*/ 1071825 h 1509319"/>
              <a:gd name="csX3" fmla="*/ 639863 w 768725"/>
              <a:gd name="csY3" fmla="*/ 1079946 h 1509319"/>
              <a:gd name="csX4" fmla="*/ 652266 w 768725"/>
              <a:gd name="csY4" fmla="*/ 1109045 h 1509319"/>
              <a:gd name="csX5" fmla="*/ 645501 w 768725"/>
              <a:gd name="csY5" fmla="*/ 1127466 h 1509319"/>
              <a:gd name="csX6" fmla="*/ 645547 w 768725"/>
              <a:gd name="csY6" fmla="*/ 1144138 h 1509319"/>
              <a:gd name="csX7" fmla="*/ 664589 w 768725"/>
              <a:gd name="csY7" fmla="*/ 1175322 h 1509319"/>
              <a:gd name="csX8" fmla="*/ 712015 w 768725"/>
              <a:gd name="csY8" fmla="*/ 1225118 h 1509319"/>
              <a:gd name="csX9" fmla="*/ 744465 w 768725"/>
              <a:gd name="csY9" fmla="*/ 1300385 h 1509319"/>
              <a:gd name="csX10" fmla="*/ 743270 w 768725"/>
              <a:gd name="csY10" fmla="*/ 1350524 h 1509319"/>
              <a:gd name="csX11" fmla="*/ 745429 w 768725"/>
              <a:gd name="csY11" fmla="*/ 1363274 h 1509319"/>
              <a:gd name="csX12" fmla="*/ 768672 w 768725"/>
              <a:gd name="csY12" fmla="*/ 1456512 h 1509319"/>
              <a:gd name="csX13" fmla="*/ 758521 w 768725"/>
              <a:gd name="csY13" fmla="*/ 1472434 h 1509319"/>
              <a:gd name="csX14" fmla="*/ 730455 w 768725"/>
              <a:gd name="csY14" fmla="*/ 1481228 h 1509319"/>
              <a:gd name="csX15" fmla="*/ 594867 w 768725"/>
              <a:gd name="csY15" fmla="*/ 1502210 h 1509319"/>
              <a:gd name="csX16" fmla="*/ 320018 w 768725"/>
              <a:gd name="csY16" fmla="*/ 1508300 h 1509319"/>
              <a:gd name="csX17" fmla="*/ 186464 w 768725"/>
              <a:gd name="csY17" fmla="*/ 1501258 h 1509319"/>
              <a:gd name="csX18" fmla="*/ 26582 w 768725"/>
              <a:gd name="csY18" fmla="*/ 1477021 h 1509319"/>
              <a:gd name="csX19" fmla="*/ 3929 w 768725"/>
              <a:gd name="csY19" fmla="*/ 1465652 h 1509319"/>
              <a:gd name="csX20" fmla="*/ 18 w 768725"/>
              <a:gd name="csY20" fmla="*/ 1456203 h 1509319"/>
              <a:gd name="csX21" fmla="*/ 4393 w 768725"/>
              <a:gd name="csY21" fmla="*/ 1417235 h 1509319"/>
              <a:gd name="csX22" fmla="*/ 19158 w 768725"/>
              <a:gd name="csY22" fmla="*/ 1370678 h 1509319"/>
              <a:gd name="csX23" fmla="*/ 23255 w 768725"/>
              <a:gd name="csY23" fmla="*/ 1342388 h 1509319"/>
              <a:gd name="csX24" fmla="*/ 38705 w 768725"/>
              <a:gd name="csY24" fmla="*/ 1247261 h 1509319"/>
              <a:gd name="csX25" fmla="*/ 58454 w 768725"/>
              <a:gd name="csY25" fmla="*/ 1220807 h 1509319"/>
              <a:gd name="csX26" fmla="*/ 103638 w 768725"/>
              <a:gd name="csY26" fmla="*/ 1175667 h 1509319"/>
              <a:gd name="csX27" fmla="*/ 122996 w 768725"/>
              <a:gd name="csY27" fmla="*/ 1146131 h 1509319"/>
              <a:gd name="csX28" fmla="*/ 122689 w 768725"/>
              <a:gd name="csY28" fmla="*/ 1128316 h 1509319"/>
              <a:gd name="csX29" fmla="*/ 116576 w 768725"/>
              <a:gd name="csY29" fmla="*/ 1113575 h 1509319"/>
              <a:gd name="csX30" fmla="*/ 127479 w 768725"/>
              <a:gd name="csY30" fmla="*/ 1081076 h 1509319"/>
              <a:gd name="csX31" fmla="*/ 137480 w 768725"/>
              <a:gd name="csY31" fmla="*/ 1076482 h 1509319"/>
              <a:gd name="csX32" fmla="*/ 157312 w 768725"/>
              <a:gd name="csY32" fmla="*/ 1053855 h 1509319"/>
              <a:gd name="csX33" fmla="*/ 178876 w 768725"/>
              <a:gd name="csY33" fmla="*/ 958120 h 1509319"/>
              <a:gd name="csX34" fmla="*/ 210165 w 768725"/>
              <a:gd name="csY34" fmla="*/ 781849 h 1509319"/>
              <a:gd name="csX35" fmla="*/ 223295 w 768725"/>
              <a:gd name="csY35" fmla="*/ 674755 h 1509319"/>
              <a:gd name="csX36" fmla="*/ 231121 w 768725"/>
              <a:gd name="csY36" fmla="*/ 564636 h 1509319"/>
              <a:gd name="csX37" fmla="*/ 235173 w 768725"/>
              <a:gd name="csY37" fmla="*/ 453038 h 1509319"/>
              <a:gd name="csX38" fmla="*/ 235001 w 768725"/>
              <a:gd name="csY38" fmla="*/ 443215 h 1509319"/>
              <a:gd name="csX39" fmla="*/ 224321 w 768725"/>
              <a:gd name="csY39" fmla="*/ 428479 h 1509319"/>
              <a:gd name="csX40" fmla="*/ 204712 w 768725"/>
              <a:gd name="csY40" fmla="*/ 418450 h 1509319"/>
              <a:gd name="csX41" fmla="*/ 184069 w 768725"/>
              <a:gd name="csY41" fmla="*/ 366060 h 1509319"/>
              <a:gd name="csX42" fmla="*/ 206519 w 768725"/>
              <a:gd name="csY42" fmla="*/ 338181 h 1509319"/>
              <a:gd name="csX43" fmla="*/ 226643 w 768725"/>
              <a:gd name="csY43" fmla="*/ 329113 h 1509319"/>
              <a:gd name="csX44" fmla="*/ 232085 w 768725"/>
              <a:gd name="csY44" fmla="*/ 311135 h 1509319"/>
              <a:gd name="csX45" fmla="*/ 221280 w 768725"/>
              <a:gd name="csY45" fmla="*/ 299552 h 1509319"/>
              <a:gd name="csX46" fmla="*/ 173478 w 768725"/>
              <a:gd name="csY46" fmla="*/ 230303 h 1509319"/>
              <a:gd name="csX47" fmla="*/ 141864 w 768725"/>
              <a:gd name="csY47" fmla="*/ 95780 h 1509319"/>
              <a:gd name="csX48" fmla="*/ 137158 w 768725"/>
              <a:gd name="csY48" fmla="*/ 37107 h 1509319"/>
              <a:gd name="csX49" fmla="*/ 148750 w 768725"/>
              <a:gd name="csY49" fmla="*/ 22335 h 1509319"/>
              <a:gd name="csX50" fmla="*/ 236982 w 768725"/>
              <a:gd name="csY50" fmla="*/ 7640 h 1509319"/>
              <a:gd name="csX51" fmla="*/ 246862 w 768725"/>
              <a:gd name="csY51" fmla="*/ 7580 h 1509319"/>
              <a:gd name="csX52" fmla="*/ 261473 w 768725"/>
              <a:gd name="csY52" fmla="*/ 86763 h 1509319"/>
              <a:gd name="csX53" fmla="*/ 306246 w 768725"/>
              <a:gd name="csY53" fmla="*/ 83559 h 1509319"/>
              <a:gd name="csX54" fmla="*/ 306960 w 768725"/>
              <a:gd name="csY54" fmla="*/ 71087 h 1509319"/>
              <a:gd name="csX55" fmla="*/ 306724 w 768725"/>
              <a:gd name="csY55" fmla="*/ 19491 h 1509319"/>
              <a:gd name="csX56" fmla="*/ 319581 w 768725"/>
              <a:gd name="csY56" fmla="*/ 4733 h 1509319"/>
              <a:gd name="csX57" fmla="*/ 430956 w 768725"/>
              <a:gd name="csY57" fmla="*/ 2070 h 1509319"/>
              <a:gd name="csX58" fmla="*/ 437066 w 768725"/>
              <a:gd name="csY58" fmla="*/ 2646 h 1509319"/>
              <a:gd name="csX59" fmla="*/ 460335 w 768725"/>
              <a:gd name="csY59" fmla="*/ 24205 h 1509319"/>
              <a:gd name="csX60" fmla="*/ 463579 w 768725"/>
              <a:gd name="csY60" fmla="*/ 62081 h 1509319"/>
              <a:gd name="csX61" fmla="*/ 463652 w 768725"/>
              <a:gd name="csY61" fmla="*/ 82953 h 1509319"/>
              <a:gd name="csX62" fmla="*/ 507205 w 768725"/>
              <a:gd name="csY62" fmla="*/ 85553 h 1509319"/>
              <a:gd name="csX63" fmla="*/ 513271 w 768725"/>
              <a:gd name="csY63" fmla="*/ 61890 h 1509319"/>
              <a:gd name="csX64" fmla="*/ 520203 w 768725"/>
              <a:gd name="csY64" fmla="*/ 18323 h 1509319"/>
              <a:gd name="csX65" fmla="*/ 534008 w 768725"/>
              <a:gd name="csY65" fmla="*/ 7785 h 1509319"/>
              <a:gd name="csX66" fmla="*/ 595925 w 768725"/>
              <a:gd name="csY66" fmla="*/ 16407 h 1509319"/>
              <a:gd name="csX67" fmla="*/ 619972 w 768725"/>
              <a:gd name="csY67" fmla="*/ 21156 h 1509319"/>
              <a:gd name="csX68" fmla="*/ 631161 w 768725"/>
              <a:gd name="csY68" fmla="*/ 36134 h 1509319"/>
              <a:gd name="csX69" fmla="*/ 628140 w 768725"/>
              <a:gd name="csY69" fmla="*/ 85104 h 1509319"/>
              <a:gd name="csX70" fmla="*/ 613954 w 768725"/>
              <a:gd name="csY70" fmla="*/ 179618 h 1509319"/>
              <a:gd name="csX71" fmla="*/ 586196 w 768725"/>
              <a:gd name="csY71" fmla="*/ 256886 h 1509319"/>
              <a:gd name="csX72" fmla="*/ 554619 w 768725"/>
              <a:gd name="csY72" fmla="*/ 295312 h 1509319"/>
              <a:gd name="csX73" fmla="*/ 538601 w 768725"/>
              <a:gd name="csY73" fmla="*/ 315001 h 1509319"/>
              <a:gd name="csX74" fmla="*/ 542630 w 768725"/>
              <a:gd name="csY74" fmla="*/ 326199 h 1509319"/>
              <a:gd name="csX75" fmla="*/ 560240 w 768725"/>
              <a:gd name="csY75" fmla="*/ 334912 h 1509319"/>
              <a:gd name="csX76" fmla="*/ 586933 w 768725"/>
              <a:gd name="csY76" fmla="*/ 371800 h 1509319"/>
              <a:gd name="csX77" fmla="*/ 563039 w 768725"/>
              <a:gd name="csY77" fmla="*/ 418184 h 1509319"/>
              <a:gd name="csX78" fmla="*/ 545522 w 768725"/>
              <a:gd name="csY78" fmla="*/ 427008 h 1509319"/>
              <a:gd name="csX79" fmla="*/ 535507 w 768725"/>
              <a:gd name="csY79" fmla="*/ 440667 h 1509319"/>
              <a:gd name="csX80" fmla="*/ 536723 w 768725"/>
              <a:gd name="csY80" fmla="*/ 537651 h 1509319"/>
              <a:gd name="csX81" fmla="*/ 539820 w 768725"/>
              <a:gd name="csY81" fmla="*/ 595237 h 1509319"/>
              <a:gd name="csX82" fmla="*/ 553105 w 768725"/>
              <a:gd name="csY82" fmla="*/ 746727 h 1509319"/>
              <a:gd name="csX83" fmla="*/ 576414 w 768725"/>
              <a:gd name="csY83" fmla="*/ 893042 h 1509319"/>
              <a:gd name="csX84" fmla="*/ 500356 w 768725"/>
              <a:gd name="csY84" fmla="*/ 473996 h 1509319"/>
              <a:gd name="csX85" fmla="*/ 499749 w 768725"/>
              <a:gd name="csY85" fmla="*/ 463598 h 1509319"/>
              <a:gd name="csX86" fmla="*/ 392525 w 768725"/>
              <a:gd name="csY86" fmla="*/ 471627 h 1509319"/>
              <a:gd name="csX87" fmla="*/ 392518 w 768725"/>
              <a:gd name="csY87" fmla="*/ 482742 h 1509319"/>
              <a:gd name="csX88" fmla="*/ 390814 w 768725"/>
              <a:gd name="csY88" fmla="*/ 596913 h 1509319"/>
              <a:gd name="csX89" fmla="*/ 385953 w 768725"/>
              <a:gd name="csY89" fmla="*/ 788374 h 1509319"/>
              <a:gd name="csX90" fmla="*/ 383485 w 768725"/>
              <a:gd name="csY90" fmla="*/ 884103 h 1509319"/>
              <a:gd name="csX91" fmla="*/ 380173 w 768725"/>
              <a:gd name="csY91" fmla="*/ 1035109 h 1509319"/>
              <a:gd name="csX92" fmla="*/ 378826 w 768725"/>
              <a:gd name="csY92" fmla="*/ 1068199 h 1509319"/>
              <a:gd name="csX93" fmla="*/ 380180 w 768725"/>
              <a:gd name="csY93" fmla="*/ 1074648 h 1509319"/>
              <a:gd name="csX94" fmla="*/ 446854 w 768725"/>
              <a:gd name="csY94" fmla="*/ 1074654 h 1509319"/>
              <a:gd name="csX95" fmla="*/ 513191 w 768725"/>
              <a:gd name="csY95" fmla="*/ 1074731 h 1509319"/>
              <a:gd name="csX96" fmla="*/ 580317 w 768725"/>
              <a:gd name="csY96" fmla="*/ 1075095 h 1509319"/>
              <a:gd name="csX97" fmla="*/ 500356 w 768725"/>
              <a:gd name="csY97" fmla="*/ 473996 h 1509319"/>
              <a:gd name="csX98" fmla="*/ 459731 w 768725"/>
              <a:gd name="csY98" fmla="*/ 1135086 h 1509319"/>
              <a:gd name="csX99" fmla="*/ 383756 w 768725"/>
              <a:gd name="csY99" fmla="*/ 1135086 h 1509319"/>
              <a:gd name="csX100" fmla="*/ 387612 w 768725"/>
              <a:gd name="csY100" fmla="*/ 1242590 h 1509319"/>
              <a:gd name="csX101" fmla="*/ 383907 w 768725"/>
              <a:gd name="csY101" fmla="*/ 1351330 h 1509319"/>
              <a:gd name="csX102" fmla="*/ 707112 w 768725"/>
              <a:gd name="csY102" fmla="*/ 1330559 h 1509319"/>
              <a:gd name="csX103" fmla="*/ 686366 w 768725"/>
              <a:gd name="csY103" fmla="*/ 1251637 h 1509319"/>
              <a:gd name="csX104" fmla="*/ 639403 w 768725"/>
              <a:gd name="csY104" fmla="*/ 1199952 h 1509319"/>
              <a:gd name="csX105" fmla="*/ 606292 w 768725"/>
              <a:gd name="csY105" fmla="*/ 1135508 h 1509319"/>
              <a:gd name="csX106" fmla="*/ 602971 w 768725"/>
              <a:gd name="csY106" fmla="*/ 1123400 h 1509319"/>
              <a:gd name="csX107" fmla="*/ 591474 w 768725"/>
              <a:gd name="csY107" fmla="*/ 1124633 h 1509319"/>
              <a:gd name="csX108" fmla="*/ 530551 w 768725"/>
              <a:gd name="csY108" fmla="*/ 1130880 h 1509319"/>
              <a:gd name="csX109" fmla="*/ 459731 w 768725"/>
              <a:gd name="csY109" fmla="*/ 1135086 h 1509319"/>
              <a:gd name="csX110" fmla="*/ 469505 w 768725"/>
              <a:gd name="csY110" fmla="*/ 116252 h 1509319"/>
              <a:gd name="csX111" fmla="*/ 443782 w 768725"/>
              <a:gd name="csY111" fmla="*/ 114911 h 1509319"/>
              <a:gd name="csX112" fmla="*/ 430007 w 768725"/>
              <a:gd name="csY112" fmla="*/ 99878 h 1509319"/>
              <a:gd name="csX113" fmla="*/ 429331 w 768725"/>
              <a:gd name="csY113" fmla="*/ 69197 h 1509319"/>
              <a:gd name="csX114" fmla="*/ 426333 w 768725"/>
              <a:gd name="csY114" fmla="*/ 34606 h 1509319"/>
              <a:gd name="csX115" fmla="*/ 377548 w 768725"/>
              <a:gd name="csY115" fmla="*/ 34613 h 1509319"/>
              <a:gd name="csX116" fmla="*/ 368004 w 768725"/>
              <a:gd name="csY116" fmla="*/ 44529 h 1509319"/>
              <a:gd name="csX117" fmla="*/ 366185 w 768725"/>
              <a:gd name="csY117" fmla="*/ 76343 h 1509319"/>
              <a:gd name="csX118" fmla="*/ 379384 w 768725"/>
              <a:gd name="csY118" fmla="*/ 206619 h 1509319"/>
              <a:gd name="csX119" fmla="*/ 390997 w 768725"/>
              <a:gd name="csY119" fmla="*/ 277965 h 1509319"/>
              <a:gd name="csX120" fmla="*/ 394040 w 768725"/>
              <a:gd name="csY120" fmla="*/ 305053 h 1509319"/>
              <a:gd name="csX121" fmla="*/ 501758 w 768725"/>
              <a:gd name="csY121" fmla="*/ 304814 h 1509319"/>
              <a:gd name="csX122" fmla="*/ 510340 w 768725"/>
              <a:gd name="csY122" fmla="*/ 299427 h 1509319"/>
              <a:gd name="csX123" fmla="*/ 526940 w 768725"/>
              <a:gd name="csY123" fmla="*/ 279822 h 1509319"/>
              <a:gd name="csX124" fmla="*/ 576920 w 768725"/>
              <a:gd name="csY124" fmla="*/ 192342 h 1509319"/>
              <a:gd name="csX125" fmla="*/ 594042 w 768725"/>
              <a:gd name="csY125" fmla="*/ 74918 h 1509319"/>
              <a:gd name="csX126" fmla="*/ 594159 w 768725"/>
              <a:gd name="csY126" fmla="*/ 49195 h 1509319"/>
              <a:gd name="csX127" fmla="*/ 554791 w 768725"/>
              <a:gd name="csY127" fmla="*/ 42552 h 1509319"/>
              <a:gd name="csX128" fmla="*/ 552461 w 768725"/>
              <a:gd name="csY128" fmla="*/ 55598 h 1509319"/>
              <a:gd name="csX129" fmla="*/ 544678 w 768725"/>
              <a:gd name="csY129" fmla="*/ 102721 h 1509319"/>
              <a:gd name="csX130" fmla="*/ 525701 w 768725"/>
              <a:gd name="csY130" fmla="*/ 118186 h 1509319"/>
              <a:gd name="csX131" fmla="*/ 469505 w 768725"/>
              <a:gd name="csY131" fmla="*/ 116252 h 1509319"/>
              <a:gd name="csX132" fmla="*/ 513928 w 768725"/>
              <a:gd name="csY132" fmla="*/ 1403203 h 1509319"/>
              <a:gd name="csX133" fmla="*/ 379322 w 768725"/>
              <a:gd name="csY133" fmla="*/ 1404000 h 1509319"/>
              <a:gd name="csX134" fmla="*/ 379322 w 768725"/>
              <a:gd name="csY134" fmla="*/ 1460424 h 1509319"/>
              <a:gd name="csX135" fmla="*/ 726554 w 768725"/>
              <a:gd name="csY135" fmla="*/ 1439225 h 1509319"/>
              <a:gd name="csX136" fmla="*/ 721089 w 768725"/>
              <a:gd name="csY136" fmla="*/ 1397750 h 1509319"/>
              <a:gd name="csX137" fmla="*/ 697967 w 768725"/>
              <a:gd name="csY137" fmla="*/ 1385046 h 1509319"/>
              <a:gd name="csX138" fmla="*/ 619039 w 768725"/>
              <a:gd name="csY138" fmla="*/ 1395892 h 1509319"/>
              <a:gd name="csX139" fmla="*/ 513928 w 768725"/>
              <a:gd name="csY139" fmla="*/ 1403203 h 1509319"/>
              <a:gd name="csX140" fmla="*/ 462814 w 768725"/>
              <a:gd name="csY140" fmla="*/ 375981 h 1509319"/>
              <a:gd name="csX141" fmla="*/ 538992 w 768725"/>
              <a:gd name="csY141" fmla="*/ 375736 h 1509319"/>
              <a:gd name="csX142" fmla="*/ 551835 w 768725"/>
              <a:gd name="csY142" fmla="*/ 373923 h 1509319"/>
              <a:gd name="csX143" fmla="*/ 539689 w 768725"/>
              <a:gd name="csY143" fmla="*/ 356085 h 1509319"/>
              <a:gd name="csX144" fmla="*/ 521074 w 768725"/>
              <a:gd name="csY144" fmla="*/ 344186 h 1509319"/>
              <a:gd name="csX145" fmla="*/ 503789 w 768725"/>
              <a:gd name="csY145" fmla="*/ 339280 h 1509319"/>
              <a:gd name="csX146" fmla="*/ 404270 w 768725"/>
              <a:gd name="csY146" fmla="*/ 339994 h 1509319"/>
              <a:gd name="csX147" fmla="*/ 393081 w 768725"/>
              <a:gd name="csY147" fmla="*/ 340868 h 1509319"/>
              <a:gd name="csX148" fmla="*/ 395001 w 768725"/>
              <a:gd name="csY148" fmla="*/ 375976 h 1509319"/>
              <a:gd name="csX149" fmla="*/ 462814 w 768725"/>
              <a:gd name="csY149" fmla="*/ 375981 h 150931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</a:cxnLst>
            <a:rect l="l" t="t" r="r" b="b"/>
            <a:pathLst>
              <a:path w="768725" h="1509319">
                <a:moveTo>
                  <a:pt x="576414" y="893042"/>
                </a:moveTo>
                <a:cubicBezTo>
                  <a:pt x="588806" y="949146"/>
                  <a:pt x="601091" y="1004202"/>
                  <a:pt x="613047" y="1059329"/>
                </a:cubicBezTo>
                <a:cubicBezTo>
                  <a:pt x="614432" y="1065716"/>
                  <a:pt x="617736" y="1069332"/>
                  <a:pt x="623337" y="1071825"/>
                </a:cubicBezTo>
                <a:cubicBezTo>
                  <a:pt x="628942" y="1074320"/>
                  <a:pt x="634521" y="1076938"/>
                  <a:pt x="639863" y="1079946"/>
                </a:cubicBezTo>
                <a:cubicBezTo>
                  <a:pt x="650944" y="1086186"/>
                  <a:pt x="655598" y="1096871"/>
                  <a:pt x="652266" y="1109045"/>
                </a:cubicBezTo>
                <a:cubicBezTo>
                  <a:pt x="650545" y="1115333"/>
                  <a:pt x="647953" y="1121401"/>
                  <a:pt x="645501" y="1127466"/>
                </a:cubicBezTo>
                <a:cubicBezTo>
                  <a:pt x="643225" y="1133097"/>
                  <a:pt x="643438" y="1138435"/>
                  <a:pt x="645547" y="1144138"/>
                </a:cubicBezTo>
                <a:cubicBezTo>
                  <a:pt x="649868" y="1155821"/>
                  <a:pt x="655892" y="1166306"/>
                  <a:pt x="664589" y="1175322"/>
                </a:cubicBezTo>
                <a:cubicBezTo>
                  <a:pt x="680503" y="1191819"/>
                  <a:pt x="696298" y="1208434"/>
                  <a:pt x="712015" y="1225118"/>
                </a:cubicBezTo>
                <a:cubicBezTo>
                  <a:pt x="731931" y="1246258"/>
                  <a:pt x="740856" y="1272032"/>
                  <a:pt x="744465" y="1300385"/>
                </a:cubicBezTo>
                <a:cubicBezTo>
                  <a:pt x="746614" y="1317273"/>
                  <a:pt x="744537" y="1333855"/>
                  <a:pt x="743270" y="1350524"/>
                </a:cubicBezTo>
                <a:cubicBezTo>
                  <a:pt x="742916" y="1355183"/>
                  <a:pt x="743079" y="1358990"/>
                  <a:pt x="745429" y="1363274"/>
                </a:cubicBezTo>
                <a:cubicBezTo>
                  <a:pt x="761335" y="1392276"/>
                  <a:pt x="766719" y="1423956"/>
                  <a:pt x="768672" y="1456512"/>
                </a:cubicBezTo>
                <a:cubicBezTo>
                  <a:pt x="769161" y="1464651"/>
                  <a:pt x="766327" y="1469951"/>
                  <a:pt x="758521" y="1472434"/>
                </a:cubicBezTo>
                <a:cubicBezTo>
                  <a:pt x="749176" y="1475406"/>
                  <a:pt x="739961" y="1478919"/>
                  <a:pt x="730455" y="1481228"/>
                </a:cubicBezTo>
                <a:cubicBezTo>
                  <a:pt x="685866" y="1492058"/>
                  <a:pt x="640613" y="1498445"/>
                  <a:pt x="594867" y="1502210"/>
                </a:cubicBezTo>
                <a:cubicBezTo>
                  <a:pt x="503351" y="1509743"/>
                  <a:pt x="411695" y="1510364"/>
                  <a:pt x="320018" y="1508300"/>
                </a:cubicBezTo>
                <a:cubicBezTo>
                  <a:pt x="275466" y="1507297"/>
                  <a:pt x="230913" y="1504582"/>
                  <a:pt x="186464" y="1501258"/>
                </a:cubicBezTo>
                <a:cubicBezTo>
                  <a:pt x="132610" y="1497231"/>
                  <a:pt x="79072" y="1490389"/>
                  <a:pt x="26582" y="1477021"/>
                </a:cubicBezTo>
                <a:cubicBezTo>
                  <a:pt x="18195" y="1474885"/>
                  <a:pt x="9735" y="1472585"/>
                  <a:pt x="3929" y="1465652"/>
                </a:cubicBezTo>
                <a:cubicBezTo>
                  <a:pt x="1807" y="1463117"/>
                  <a:pt x="-213" y="1459275"/>
                  <a:pt x="18" y="1456203"/>
                </a:cubicBezTo>
                <a:cubicBezTo>
                  <a:pt x="995" y="1443177"/>
                  <a:pt x="2714" y="1430200"/>
                  <a:pt x="4393" y="1417235"/>
                </a:cubicBezTo>
                <a:cubicBezTo>
                  <a:pt x="6515" y="1400846"/>
                  <a:pt x="11310" y="1385118"/>
                  <a:pt x="19158" y="1370678"/>
                </a:cubicBezTo>
                <a:cubicBezTo>
                  <a:pt x="24205" y="1361393"/>
                  <a:pt x="24576" y="1352443"/>
                  <a:pt x="23255" y="1342388"/>
                </a:cubicBezTo>
                <a:cubicBezTo>
                  <a:pt x="18901" y="1309218"/>
                  <a:pt x="21603" y="1276876"/>
                  <a:pt x="38705" y="1247261"/>
                </a:cubicBezTo>
                <a:cubicBezTo>
                  <a:pt x="44179" y="1237783"/>
                  <a:pt x="50956" y="1228786"/>
                  <a:pt x="58454" y="1220807"/>
                </a:cubicBezTo>
                <a:cubicBezTo>
                  <a:pt x="73024" y="1205299"/>
                  <a:pt x="88543" y="1190683"/>
                  <a:pt x="103638" y="1175667"/>
                </a:cubicBezTo>
                <a:cubicBezTo>
                  <a:pt x="112161" y="1167189"/>
                  <a:pt x="118801" y="1157513"/>
                  <a:pt x="122996" y="1146131"/>
                </a:cubicBezTo>
                <a:cubicBezTo>
                  <a:pt x="125249" y="1140016"/>
                  <a:pt x="125488" y="1134282"/>
                  <a:pt x="122689" y="1128316"/>
                </a:cubicBezTo>
                <a:cubicBezTo>
                  <a:pt x="120431" y="1123504"/>
                  <a:pt x="118446" y="1118553"/>
                  <a:pt x="116576" y="1113575"/>
                </a:cubicBezTo>
                <a:cubicBezTo>
                  <a:pt x="111153" y="1099133"/>
                  <a:pt x="114404" y="1089299"/>
                  <a:pt x="127479" y="1081076"/>
                </a:cubicBezTo>
                <a:cubicBezTo>
                  <a:pt x="130563" y="1079137"/>
                  <a:pt x="134000" y="1077564"/>
                  <a:pt x="137480" y="1076482"/>
                </a:cubicBezTo>
                <a:cubicBezTo>
                  <a:pt x="148800" y="1072962"/>
                  <a:pt x="154794" y="1065351"/>
                  <a:pt x="157312" y="1053855"/>
                </a:cubicBezTo>
                <a:cubicBezTo>
                  <a:pt x="164312" y="1021900"/>
                  <a:pt x="172752" y="990234"/>
                  <a:pt x="178876" y="958120"/>
                </a:cubicBezTo>
                <a:cubicBezTo>
                  <a:pt x="190055" y="899504"/>
                  <a:pt x="200649" y="840756"/>
                  <a:pt x="210165" y="781849"/>
                </a:cubicBezTo>
                <a:cubicBezTo>
                  <a:pt x="215898" y="746366"/>
                  <a:pt x="219868" y="710550"/>
                  <a:pt x="223295" y="674755"/>
                </a:cubicBezTo>
                <a:cubicBezTo>
                  <a:pt x="226801" y="638133"/>
                  <a:pt x="229185" y="601381"/>
                  <a:pt x="231121" y="564636"/>
                </a:cubicBezTo>
                <a:cubicBezTo>
                  <a:pt x="233079" y="527469"/>
                  <a:pt x="233899" y="490241"/>
                  <a:pt x="235173" y="453038"/>
                </a:cubicBezTo>
                <a:cubicBezTo>
                  <a:pt x="235285" y="449770"/>
                  <a:pt x="235108" y="446488"/>
                  <a:pt x="235001" y="443215"/>
                </a:cubicBezTo>
                <a:cubicBezTo>
                  <a:pt x="234761" y="435907"/>
                  <a:pt x="231291" y="431283"/>
                  <a:pt x="224321" y="428479"/>
                </a:cubicBezTo>
                <a:cubicBezTo>
                  <a:pt x="217531" y="425747"/>
                  <a:pt x="210873" y="422395"/>
                  <a:pt x="204712" y="418450"/>
                </a:cubicBezTo>
                <a:cubicBezTo>
                  <a:pt x="187562" y="407468"/>
                  <a:pt x="179141" y="385623"/>
                  <a:pt x="184069" y="366060"/>
                </a:cubicBezTo>
                <a:cubicBezTo>
                  <a:pt x="187270" y="353354"/>
                  <a:pt x="195406" y="344379"/>
                  <a:pt x="206519" y="338181"/>
                </a:cubicBezTo>
                <a:cubicBezTo>
                  <a:pt x="212922" y="334611"/>
                  <a:pt x="219930" y="332132"/>
                  <a:pt x="226643" y="329113"/>
                </a:cubicBezTo>
                <a:cubicBezTo>
                  <a:pt x="236636" y="324620"/>
                  <a:pt x="238185" y="320246"/>
                  <a:pt x="232085" y="311135"/>
                </a:cubicBezTo>
                <a:cubicBezTo>
                  <a:pt x="229169" y="306779"/>
                  <a:pt x="225643" y="302195"/>
                  <a:pt x="221280" y="299552"/>
                </a:cubicBezTo>
                <a:cubicBezTo>
                  <a:pt x="194874" y="283553"/>
                  <a:pt x="183766" y="257401"/>
                  <a:pt x="173478" y="230303"/>
                </a:cubicBezTo>
                <a:cubicBezTo>
                  <a:pt x="156973" y="186824"/>
                  <a:pt x="146078" y="142097"/>
                  <a:pt x="141864" y="95780"/>
                </a:cubicBezTo>
                <a:cubicBezTo>
                  <a:pt x="140086" y="76240"/>
                  <a:pt x="138323" y="56689"/>
                  <a:pt x="137158" y="37107"/>
                </a:cubicBezTo>
                <a:cubicBezTo>
                  <a:pt x="136482" y="25735"/>
                  <a:pt x="137408" y="24372"/>
                  <a:pt x="148750" y="22335"/>
                </a:cubicBezTo>
                <a:cubicBezTo>
                  <a:pt x="178094" y="17065"/>
                  <a:pt x="207551" y="12418"/>
                  <a:pt x="236982" y="7640"/>
                </a:cubicBezTo>
                <a:cubicBezTo>
                  <a:pt x="239748" y="7191"/>
                  <a:pt x="242650" y="7580"/>
                  <a:pt x="246862" y="7580"/>
                </a:cubicBezTo>
                <a:cubicBezTo>
                  <a:pt x="255824" y="32568"/>
                  <a:pt x="255201" y="59502"/>
                  <a:pt x="261473" y="86763"/>
                </a:cubicBezTo>
                <a:cubicBezTo>
                  <a:pt x="276122" y="85715"/>
                  <a:pt x="290587" y="84680"/>
                  <a:pt x="306246" y="83559"/>
                </a:cubicBezTo>
                <a:cubicBezTo>
                  <a:pt x="306524" y="78935"/>
                  <a:pt x="306966" y="75011"/>
                  <a:pt x="306960" y="71087"/>
                </a:cubicBezTo>
                <a:cubicBezTo>
                  <a:pt x="306936" y="53888"/>
                  <a:pt x="306633" y="36688"/>
                  <a:pt x="306724" y="19491"/>
                </a:cubicBezTo>
                <a:cubicBezTo>
                  <a:pt x="306789" y="7258"/>
                  <a:pt x="307148" y="6664"/>
                  <a:pt x="319581" y="4733"/>
                </a:cubicBezTo>
                <a:cubicBezTo>
                  <a:pt x="356571" y="-1011"/>
                  <a:pt x="393735" y="-1048"/>
                  <a:pt x="430956" y="2070"/>
                </a:cubicBezTo>
                <a:cubicBezTo>
                  <a:pt x="432994" y="2241"/>
                  <a:pt x="435026" y="2485"/>
                  <a:pt x="437066" y="2646"/>
                </a:cubicBezTo>
                <a:cubicBezTo>
                  <a:pt x="455684" y="4122"/>
                  <a:pt x="457626" y="5472"/>
                  <a:pt x="460335" y="24205"/>
                </a:cubicBezTo>
                <a:cubicBezTo>
                  <a:pt x="462146" y="36727"/>
                  <a:pt x="462770" y="49435"/>
                  <a:pt x="463579" y="62081"/>
                </a:cubicBezTo>
                <a:cubicBezTo>
                  <a:pt x="463995" y="68573"/>
                  <a:pt x="463652" y="75113"/>
                  <a:pt x="463652" y="82953"/>
                </a:cubicBezTo>
                <a:cubicBezTo>
                  <a:pt x="478793" y="83857"/>
                  <a:pt x="492851" y="84696"/>
                  <a:pt x="507205" y="85553"/>
                </a:cubicBezTo>
                <a:cubicBezTo>
                  <a:pt x="512102" y="78145"/>
                  <a:pt x="511920" y="69770"/>
                  <a:pt x="513271" y="61890"/>
                </a:cubicBezTo>
                <a:cubicBezTo>
                  <a:pt x="515756" y="47397"/>
                  <a:pt x="517439" y="32758"/>
                  <a:pt x="520203" y="18323"/>
                </a:cubicBezTo>
                <a:cubicBezTo>
                  <a:pt x="522330" y="7216"/>
                  <a:pt x="522926" y="6539"/>
                  <a:pt x="534008" y="7785"/>
                </a:cubicBezTo>
                <a:cubicBezTo>
                  <a:pt x="554709" y="10113"/>
                  <a:pt x="575316" y="13322"/>
                  <a:pt x="595925" y="16407"/>
                </a:cubicBezTo>
                <a:cubicBezTo>
                  <a:pt x="604001" y="17616"/>
                  <a:pt x="612093" y="19051"/>
                  <a:pt x="619972" y="21156"/>
                </a:cubicBezTo>
                <a:cubicBezTo>
                  <a:pt x="628887" y="23538"/>
                  <a:pt x="631496" y="26848"/>
                  <a:pt x="631161" y="36134"/>
                </a:cubicBezTo>
                <a:cubicBezTo>
                  <a:pt x="630572" y="52475"/>
                  <a:pt x="629765" y="68840"/>
                  <a:pt x="628140" y="85104"/>
                </a:cubicBezTo>
                <a:cubicBezTo>
                  <a:pt x="624968" y="116827"/>
                  <a:pt x="621618" y="148545"/>
                  <a:pt x="613954" y="179618"/>
                </a:cubicBezTo>
                <a:cubicBezTo>
                  <a:pt x="607361" y="206344"/>
                  <a:pt x="597791" y="231950"/>
                  <a:pt x="586196" y="256886"/>
                </a:cubicBezTo>
                <a:cubicBezTo>
                  <a:pt x="578940" y="272491"/>
                  <a:pt x="568647" y="285371"/>
                  <a:pt x="554619" y="295312"/>
                </a:cubicBezTo>
                <a:cubicBezTo>
                  <a:pt x="547467" y="300381"/>
                  <a:pt x="541673" y="306562"/>
                  <a:pt x="538601" y="315001"/>
                </a:cubicBezTo>
                <a:cubicBezTo>
                  <a:pt x="536802" y="319945"/>
                  <a:pt x="537533" y="323761"/>
                  <a:pt x="542630" y="326199"/>
                </a:cubicBezTo>
                <a:cubicBezTo>
                  <a:pt x="548539" y="329025"/>
                  <a:pt x="554513" y="331748"/>
                  <a:pt x="560240" y="334912"/>
                </a:cubicBezTo>
                <a:cubicBezTo>
                  <a:pt x="574874" y="342998"/>
                  <a:pt x="586216" y="353688"/>
                  <a:pt x="586933" y="371800"/>
                </a:cubicBezTo>
                <a:cubicBezTo>
                  <a:pt x="587721" y="391697"/>
                  <a:pt x="581146" y="407998"/>
                  <a:pt x="563039" y="418184"/>
                </a:cubicBezTo>
                <a:cubicBezTo>
                  <a:pt x="557338" y="421391"/>
                  <a:pt x="551634" y="424825"/>
                  <a:pt x="545522" y="427008"/>
                </a:cubicBezTo>
                <a:cubicBezTo>
                  <a:pt x="538690" y="429449"/>
                  <a:pt x="535443" y="433770"/>
                  <a:pt x="535507" y="440667"/>
                </a:cubicBezTo>
                <a:cubicBezTo>
                  <a:pt x="535813" y="472997"/>
                  <a:pt x="535953" y="505332"/>
                  <a:pt x="536723" y="537651"/>
                </a:cubicBezTo>
                <a:cubicBezTo>
                  <a:pt x="537181" y="556862"/>
                  <a:pt x="538274" y="576081"/>
                  <a:pt x="539820" y="595237"/>
                </a:cubicBezTo>
                <a:cubicBezTo>
                  <a:pt x="543897" y="645768"/>
                  <a:pt x="546950" y="696441"/>
                  <a:pt x="553105" y="746727"/>
                </a:cubicBezTo>
                <a:cubicBezTo>
                  <a:pt x="559060" y="795370"/>
                  <a:pt x="568372" y="843602"/>
                  <a:pt x="576414" y="893042"/>
                </a:cubicBezTo>
                <a:moveTo>
                  <a:pt x="500356" y="473996"/>
                </a:moveTo>
                <a:cubicBezTo>
                  <a:pt x="500146" y="470396"/>
                  <a:pt x="499936" y="466797"/>
                  <a:pt x="499749" y="463598"/>
                </a:cubicBezTo>
                <a:cubicBezTo>
                  <a:pt x="463731" y="466295"/>
                  <a:pt x="428548" y="468929"/>
                  <a:pt x="392525" y="471627"/>
                </a:cubicBezTo>
                <a:cubicBezTo>
                  <a:pt x="392525" y="475456"/>
                  <a:pt x="392570" y="479099"/>
                  <a:pt x="392518" y="482742"/>
                </a:cubicBezTo>
                <a:cubicBezTo>
                  <a:pt x="391977" y="520799"/>
                  <a:pt x="391669" y="558862"/>
                  <a:pt x="390814" y="596913"/>
                </a:cubicBezTo>
                <a:cubicBezTo>
                  <a:pt x="389379" y="660737"/>
                  <a:pt x="387596" y="724554"/>
                  <a:pt x="385953" y="788374"/>
                </a:cubicBezTo>
                <a:cubicBezTo>
                  <a:pt x="385132" y="820284"/>
                  <a:pt x="384217" y="852191"/>
                  <a:pt x="383485" y="884103"/>
                </a:cubicBezTo>
                <a:cubicBezTo>
                  <a:pt x="382329" y="934437"/>
                  <a:pt x="381336" y="984775"/>
                  <a:pt x="380173" y="1035109"/>
                </a:cubicBezTo>
                <a:cubicBezTo>
                  <a:pt x="379918" y="1046143"/>
                  <a:pt x="379172" y="1057166"/>
                  <a:pt x="378826" y="1068199"/>
                </a:cubicBezTo>
                <a:cubicBezTo>
                  <a:pt x="378768" y="1070073"/>
                  <a:pt x="379592" y="1071975"/>
                  <a:pt x="380180" y="1074648"/>
                </a:cubicBezTo>
                <a:cubicBezTo>
                  <a:pt x="402724" y="1074648"/>
                  <a:pt x="424789" y="1074626"/>
                  <a:pt x="446854" y="1074654"/>
                </a:cubicBezTo>
                <a:cubicBezTo>
                  <a:pt x="468967" y="1074682"/>
                  <a:pt x="491084" y="1075062"/>
                  <a:pt x="513191" y="1074731"/>
                </a:cubicBezTo>
                <a:cubicBezTo>
                  <a:pt x="535020" y="1074404"/>
                  <a:pt x="556890" y="1078397"/>
                  <a:pt x="580317" y="1075095"/>
                </a:cubicBezTo>
                <a:cubicBezTo>
                  <a:pt x="530688" y="877741"/>
                  <a:pt x="498514" y="679261"/>
                  <a:pt x="500356" y="473996"/>
                </a:cubicBezTo>
                <a:moveTo>
                  <a:pt x="459731" y="1135086"/>
                </a:moveTo>
                <a:cubicBezTo>
                  <a:pt x="434501" y="1135086"/>
                  <a:pt x="409270" y="1135086"/>
                  <a:pt x="383756" y="1135086"/>
                </a:cubicBezTo>
                <a:cubicBezTo>
                  <a:pt x="385145" y="1171037"/>
                  <a:pt x="387590" y="1206813"/>
                  <a:pt x="387612" y="1242590"/>
                </a:cubicBezTo>
                <a:cubicBezTo>
                  <a:pt x="387634" y="1278699"/>
                  <a:pt x="385252" y="1314810"/>
                  <a:pt x="383907" y="1351330"/>
                </a:cubicBezTo>
                <a:cubicBezTo>
                  <a:pt x="493016" y="1355954"/>
                  <a:pt x="600298" y="1349068"/>
                  <a:pt x="707112" y="1330559"/>
                </a:cubicBezTo>
                <a:cubicBezTo>
                  <a:pt x="710922" y="1301049"/>
                  <a:pt x="703971" y="1274394"/>
                  <a:pt x="686366" y="1251637"/>
                </a:cubicBezTo>
                <a:cubicBezTo>
                  <a:pt x="672164" y="1233278"/>
                  <a:pt x="655625" y="1216649"/>
                  <a:pt x="639403" y="1199952"/>
                </a:cubicBezTo>
                <a:cubicBezTo>
                  <a:pt x="621690" y="1181720"/>
                  <a:pt x="611031" y="1160243"/>
                  <a:pt x="606292" y="1135508"/>
                </a:cubicBezTo>
                <a:cubicBezTo>
                  <a:pt x="605546" y="1131614"/>
                  <a:pt x="604205" y="1127833"/>
                  <a:pt x="602971" y="1123400"/>
                </a:cubicBezTo>
                <a:cubicBezTo>
                  <a:pt x="598647" y="1123864"/>
                  <a:pt x="595062" y="1124258"/>
                  <a:pt x="591474" y="1124633"/>
                </a:cubicBezTo>
                <a:cubicBezTo>
                  <a:pt x="571170" y="1126753"/>
                  <a:pt x="550896" y="1129262"/>
                  <a:pt x="530551" y="1130880"/>
                </a:cubicBezTo>
                <a:cubicBezTo>
                  <a:pt x="507752" y="1132694"/>
                  <a:pt x="484887" y="1133699"/>
                  <a:pt x="459731" y="1135086"/>
                </a:cubicBezTo>
                <a:moveTo>
                  <a:pt x="469505" y="116252"/>
                </a:moveTo>
                <a:cubicBezTo>
                  <a:pt x="460926" y="115846"/>
                  <a:pt x="452288" y="115932"/>
                  <a:pt x="443782" y="114911"/>
                </a:cubicBezTo>
                <a:cubicBezTo>
                  <a:pt x="433023" y="113619"/>
                  <a:pt x="430601" y="110848"/>
                  <a:pt x="430007" y="99878"/>
                </a:cubicBezTo>
                <a:cubicBezTo>
                  <a:pt x="429457" y="89668"/>
                  <a:pt x="429903" y="79404"/>
                  <a:pt x="429331" y="69197"/>
                </a:cubicBezTo>
                <a:cubicBezTo>
                  <a:pt x="428702" y="57943"/>
                  <a:pt x="427414" y="46725"/>
                  <a:pt x="426333" y="34606"/>
                </a:cubicBezTo>
                <a:cubicBezTo>
                  <a:pt x="409217" y="34606"/>
                  <a:pt x="393383" y="34593"/>
                  <a:pt x="377548" y="34613"/>
                </a:cubicBezTo>
                <a:cubicBezTo>
                  <a:pt x="370973" y="34621"/>
                  <a:pt x="368175" y="37880"/>
                  <a:pt x="368004" y="44529"/>
                </a:cubicBezTo>
                <a:cubicBezTo>
                  <a:pt x="367731" y="55142"/>
                  <a:pt x="366531" y="65729"/>
                  <a:pt x="366185" y="76343"/>
                </a:cubicBezTo>
                <a:cubicBezTo>
                  <a:pt x="364748" y="120348"/>
                  <a:pt x="372586" y="163440"/>
                  <a:pt x="379384" y="206619"/>
                </a:cubicBezTo>
                <a:cubicBezTo>
                  <a:pt x="383132" y="230420"/>
                  <a:pt x="387281" y="254159"/>
                  <a:pt x="390997" y="277965"/>
                </a:cubicBezTo>
                <a:cubicBezTo>
                  <a:pt x="392356" y="286668"/>
                  <a:pt x="392988" y="295485"/>
                  <a:pt x="394040" y="305053"/>
                </a:cubicBezTo>
                <a:cubicBezTo>
                  <a:pt x="430625" y="305053"/>
                  <a:pt x="466194" y="305182"/>
                  <a:pt x="501758" y="304814"/>
                </a:cubicBezTo>
                <a:cubicBezTo>
                  <a:pt x="504672" y="304784"/>
                  <a:pt x="508099" y="301870"/>
                  <a:pt x="510340" y="299427"/>
                </a:cubicBezTo>
                <a:cubicBezTo>
                  <a:pt x="516125" y="293119"/>
                  <a:pt x="520822" y="285749"/>
                  <a:pt x="526940" y="279822"/>
                </a:cubicBezTo>
                <a:cubicBezTo>
                  <a:pt x="552103" y="255447"/>
                  <a:pt x="566819" y="225104"/>
                  <a:pt x="576920" y="192342"/>
                </a:cubicBezTo>
                <a:cubicBezTo>
                  <a:pt x="588690" y="154165"/>
                  <a:pt x="590063" y="114309"/>
                  <a:pt x="594042" y="74918"/>
                </a:cubicBezTo>
                <a:cubicBezTo>
                  <a:pt x="594852" y="66901"/>
                  <a:pt x="594159" y="58731"/>
                  <a:pt x="594159" y="49195"/>
                </a:cubicBezTo>
                <a:cubicBezTo>
                  <a:pt x="581125" y="46996"/>
                  <a:pt x="568493" y="44864"/>
                  <a:pt x="554791" y="42552"/>
                </a:cubicBezTo>
                <a:cubicBezTo>
                  <a:pt x="553857" y="47762"/>
                  <a:pt x="553099" y="51670"/>
                  <a:pt x="552461" y="55598"/>
                </a:cubicBezTo>
                <a:cubicBezTo>
                  <a:pt x="549905" y="71314"/>
                  <a:pt x="547903" y="87144"/>
                  <a:pt x="544678" y="102721"/>
                </a:cubicBezTo>
                <a:cubicBezTo>
                  <a:pt x="542363" y="113902"/>
                  <a:pt x="537010" y="118223"/>
                  <a:pt x="525701" y="118186"/>
                </a:cubicBezTo>
                <a:cubicBezTo>
                  <a:pt x="507730" y="118128"/>
                  <a:pt x="489762" y="117027"/>
                  <a:pt x="469505" y="116252"/>
                </a:cubicBezTo>
                <a:moveTo>
                  <a:pt x="513928" y="1403203"/>
                </a:moveTo>
                <a:cubicBezTo>
                  <a:pt x="469441" y="1403467"/>
                  <a:pt x="424955" y="1403730"/>
                  <a:pt x="379322" y="1404000"/>
                </a:cubicBezTo>
                <a:cubicBezTo>
                  <a:pt x="379322" y="1423089"/>
                  <a:pt x="379322" y="1440883"/>
                  <a:pt x="379322" y="1460424"/>
                </a:cubicBezTo>
                <a:cubicBezTo>
                  <a:pt x="496078" y="1471584"/>
                  <a:pt x="611510" y="1462301"/>
                  <a:pt x="726554" y="1439225"/>
                </a:cubicBezTo>
                <a:cubicBezTo>
                  <a:pt x="728615" y="1424350"/>
                  <a:pt x="725601" y="1410872"/>
                  <a:pt x="721089" y="1397750"/>
                </a:cubicBezTo>
                <a:cubicBezTo>
                  <a:pt x="717269" y="1386638"/>
                  <a:pt x="709802" y="1383286"/>
                  <a:pt x="697967" y="1385046"/>
                </a:cubicBezTo>
                <a:cubicBezTo>
                  <a:pt x="671697" y="1388954"/>
                  <a:pt x="645454" y="1393360"/>
                  <a:pt x="619039" y="1395892"/>
                </a:cubicBezTo>
                <a:cubicBezTo>
                  <a:pt x="584863" y="1399168"/>
                  <a:pt x="550531" y="1400815"/>
                  <a:pt x="513928" y="1403203"/>
                </a:cubicBezTo>
                <a:moveTo>
                  <a:pt x="462814" y="375981"/>
                </a:moveTo>
                <a:cubicBezTo>
                  <a:pt x="488207" y="375927"/>
                  <a:pt x="513601" y="375954"/>
                  <a:pt x="538992" y="375736"/>
                </a:cubicBezTo>
                <a:cubicBezTo>
                  <a:pt x="543170" y="375700"/>
                  <a:pt x="547338" y="374587"/>
                  <a:pt x="551835" y="373923"/>
                </a:cubicBezTo>
                <a:cubicBezTo>
                  <a:pt x="550780" y="364535"/>
                  <a:pt x="545320" y="360090"/>
                  <a:pt x="539689" y="356085"/>
                </a:cubicBezTo>
                <a:cubicBezTo>
                  <a:pt x="533696" y="351821"/>
                  <a:pt x="527145" y="348349"/>
                  <a:pt x="521074" y="344186"/>
                </a:cubicBezTo>
                <a:cubicBezTo>
                  <a:pt x="515783" y="340559"/>
                  <a:pt x="510232" y="339198"/>
                  <a:pt x="503789" y="339280"/>
                </a:cubicBezTo>
                <a:cubicBezTo>
                  <a:pt x="470618" y="339700"/>
                  <a:pt x="437443" y="339744"/>
                  <a:pt x="404270" y="339994"/>
                </a:cubicBezTo>
                <a:cubicBezTo>
                  <a:pt x="400758" y="340021"/>
                  <a:pt x="397250" y="340529"/>
                  <a:pt x="393081" y="340868"/>
                </a:cubicBezTo>
                <a:cubicBezTo>
                  <a:pt x="393653" y="352908"/>
                  <a:pt x="392145" y="363845"/>
                  <a:pt x="395001" y="375976"/>
                </a:cubicBezTo>
                <a:cubicBezTo>
                  <a:pt x="417133" y="375976"/>
                  <a:pt x="438745" y="375976"/>
                  <a:pt x="462814" y="375981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188" name="Free-form: Shape 9187">
            <a:extLst>
              <a:ext uri="{FF2B5EF4-FFF2-40B4-BE49-F238E27FC236}">
                <a16:creationId xmlns:a16="http://schemas.microsoft.com/office/drawing/2014/main" id="{8B198936-3B02-5925-2B93-18B180C01244}"/>
              </a:ext>
            </a:extLst>
          </p:cNvPr>
          <p:cNvSpPr/>
          <p:nvPr/>
        </p:nvSpPr>
        <p:spPr>
          <a:xfrm>
            <a:off x="11118876" y="4899267"/>
            <a:ext cx="155564" cy="520442"/>
          </a:xfrm>
          <a:custGeom>
            <a:avLst/>
            <a:gdLst>
              <a:gd name="csX0" fmla="*/ 121535 w 201493"/>
              <a:gd name="csY0" fmla="*/ 11562 h 612813"/>
              <a:gd name="csX1" fmla="*/ 201493 w 201493"/>
              <a:gd name="csY1" fmla="*/ 611498 h 612813"/>
              <a:gd name="csX2" fmla="*/ 134368 w 201493"/>
              <a:gd name="csY2" fmla="*/ 611133 h 612813"/>
              <a:gd name="csX3" fmla="*/ 68030 w 201493"/>
              <a:gd name="csY3" fmla="*/ 611056 h 612813"/>
              <a:gd name="csX4" fmla="*/ 1357 w 201493"/>
              <a:gd name="csY4" fmla="*/ 611050 h 612813"/>
              <a:gd name="csX5" fmla="*/ 3 w 201493"/>
              <a:gd name="csY5" fmla="*/ 604601 h 612813"/>
              <a:gd name="csX6" fmla="*/ 1350 w 201493"/>
              <a:gd name="csY6" fmla="*/ 571511 h 612813"/>
              <a:gd name="csX7" fmla="*/ 4661 w 201493"/>
              <a:gd name="csY7" fmla="*/ 420505 h 612813"/>
              <a:gd name="csX8" fmla="*/ 7130 w 201493"/>
              <a:gd name="csY8" fmla="*/ 324777 h 612813"/>
              <a:gd name="csX9" fmla="*/ 11991 w 201493"/>
              <a:gd name="csY9" fmla="*/ 133315 h 612813"/>
              <a:gd name="csX10" fmla="*/ 13695 w 201493"/>
              <a:gd name="csY10" fmla="*/ 19144 h 612813"/>
              <a:gd name="csX11" fmla="*/ 13702 w 201493"/>
              <a:gd name="csY11" fmla="*/ 8029 h 612813"/>
              <a:gd name="csX12" fmla="*/ 120926 w 201493"/>
              <a:gd name="csY12" fmla="*/ 0 h 612813"/>
              <a:gd name="csX13" fmla="*/ 121535 w 201493"/>
              <a:gd name="csY13" fmla="*/ 11562 h 61281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</a:cxnLst>
            <a:rect l="l" t="t" r="r" b="b"/>
            <a:pathLst>
              <a:path w="201493" h="612813">
                <a:moveTo>
                  <a:pt x="121535" y="11562"/>
                </a:moveTo>
                <a:cubicBezTo>
                  <a:pt x="119691" y="215664"/>
                  <a:pt x="151865" y="414144"/>
                  <a:pt x="201493" y="611498"/>
                </a:cubicBezTo>
                <a:cubicBezTo>
                  <a:pt x="178066" y="614799"/>
                  <a:pt x="156197" y="610806"/>
                  <a:pt x="134368" y="611133"/>
                </a:cubicBezTo>
                <a:cubicBezTo>
                  <a:pt x="112261" y="611465"/>
                  <a:pt x="90143" y="611084"/>
                  <a:pt x="68030" y="611056"/>
                </a:cubicBezTo>
                <a:cubicBezTo>
                  <a:pt x="45965" y="611028"/>
                  <a:pt x="23900" y="611050"/>
                  <a:pt x="1357" y="611050"/>
                </a:cubicBezTo>
                <a:cubicBezTo>
                  <a:pt x="769" y="608377"/>
                  <a:pt x="-56" y="606475"/>
                  <a:pt x="3" y="604601"/>
                </a:cubicBezTo>
                <a:cubicBezTo>
                  <a:pt x="349" y="593568"/>
                  <a:pt x="1095" y="582545"/>
                  <a:pt x="1350" y="571511"/>
                </a:cubicBezTo>
                <a:cubicBezTo>
                  <a:pt x="2513" y="521177"/>
                  <a:pt x="3506" y="470839"/>
                  <a:pt x="4661" y="420505"/>
                </a:cubicBezTo>
                <a:cubicBezTo>
                  <a:pt x="5393" y="388594"/>
                  <a:pt x="6308" y="356686"/>
                  <a:pt x="7130" y="324777"/>
                </a:cubicBezTo>
                <a:cubicBezTo>
                  <a:pt x="8772" y="260956"/>
                  <a:pt x="10555" y="197140"/>
                  <a:pt x="11991" y="133315"/>
                </a:cubicBezTo>
                <a:cubicBezTo>
                  <a:pt x="12846" y="95264"/>
                  <a:pt x="13154" y="57201"/>
                  <a:pt x="13695" y="19144"/>
                </a:cubicBezTo>
                <a:cubicBezTo>
                  <a:pt x="13746" y="15501"/>
                  <a:pt x="13702" y="11858"/>
                  <a:pt x="13702" y="8029"/>
                </a:cubicBezTo>
                <a:cubicBezTo>
                  <a:pt x="49725" y="5331"/>
                  <a:pt x="84908" y="2697"/>
                  <a:pt x="120926" y="0"/>
                </a:cubicBezTo>
                <a:cubicBezTo>
                  <a:pt x="121113" y="3199"/>
                  <a:pt x="121323" y="6798"/>
                  <a:pt x="121535" y="11562"/>
                </a:cubicBezTo>
                <a:close/>
              </a:path>
            </a:pathLst>
          </a:custGeom>
          <a:solidFill>
            <a:srgbClr val="FDFDFD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189" name="Free-form: Shape 9188">
            <a:extLst>
              <a:ext uri="{FF2B5EF4-FFF2-40B4-BE49-F238E27FC236}">
                <a16:creationId xmlns:a16="http://schemas.microsoft.com/office/drawing/2014/main" id="{3B03B9E3-B152-B9B4-EA28-DC60DB5574B4}"/>
              </a:ext>
            </a:extLst>
          </p:cNvPr>
          <p:cNvSpPr/>
          <p:nvPr/>
        </p:nvSpPr>
        <p:spPr>
          <a:xfrm>
            <a:off x="11122684" y="5459616"/>
            <a:ext cx="250431" cy="194755"/>
          </a:xfrm>
          <a:custGeom>
            <a:avLst/>
            <a:gdLst>
              <a:gd name="csX0" fmla="*/ 77135 w 324367"/>
              <a:gd name="csY0" fmla="*/ 11670 h 229322"/>
              <a:gd name="csX1" fmla="*/ 146795 w 324367"/>
              <a:gd name="csY1" fmla="*/ 7480 h 229322"/>
              <a:gd name="csX2" fmla="*/ 207718 w 324367"/>
              <a:gd name="csY2" fmla="*/ 1232 h 229322"/>
              <a:gd name="csX3" fmla="*/ 219215 w 324367"/>
              <a:gd name="csY3" fmla="*/ 0 h 229322"/>
              <a:gd name="csX4" fmla="*/ 222536 w 324367"/>
              <a:gd name="csY4" fmla="*/ 12108 h 229322"/>
              <a:gd name="csX5" fmla="*/ 255647 w 324367"/>
              <a:gd name="csY5" fmla="*/ 76552 h 229322"/>
              <a:gd name="csX6" fmla="*/ 302610 w 324367"/>
              <a:gd name="csY6" fmla="*/ 128236 h 229322"/>
              <a:gd name="csX7" fmla="*/ 323355 w 324367"/>
              <a:gd name="csY7" fmla="*/ 207159 h 229322"/>
              <a:gd name="csX8" fmla="*/ 151 w 324367"/>
              <a:gd name="csY8" fmla="*/ 227930 h 229322"/>
              <a:gd name="csX9" fmla="*/ 3855 w 324367"/>
              <a:gd name="csY9" fmla="*/ 119190 h 229322"/>
              <a:gd name="csX10" fmla="*/ 0 w 324367"/>
              <a:gd name="csY10" fmla="*/ 11685 h 229322"/>
              <a:gd name="csX11" fmla="*/ 77135 w 324367"/>
              <a:gd name="csY11" fmla="*/ 11670 h 22932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324367" h="229322">
                <a:moveTo>
                  <a:pt x="77135" y="11670"/>
                </a:moveTo>
                <a:cubicBezTo>
                  <a:pt x="101131" y="10299"/>
                  <a:pt x="123996" y="9293"/>
                  <a:pt x="146795" y="7480"/>
                </a:cubicBezTo>
                <a:cubicBezTo>
                  <a:pt x="167139" y="5862"/>
                  <a:pt x="187413" y="3352"/>
                  <a:pt x="207718" y="1232"/>
                </a:cubicBezTo>
                <a:cubicBezTo>
                  <a:pt x="211305" y="858"/>
                  <a:pt x="214891" y="464"/>
                  <a:pt x="219215" y="0"/>
                </a:cubicBezTo>
                <a:cubicBezTo>
                  <a:pt x="220448" y="4433"/>
                  <a:pt x="221789" y="8213"/>
                  <a:pt x="222536" y="12108"/>
                </a:cubicBezTo>
                <a:cubicBezTo>
                  <a:pt x="227274" y="36843"/>
                  <a:pt x="237933" y="58320"/>
                  <a:pt x="255647" y="76552"/>
                </a:cubicBezTo>
                <a:cubicBezTo>
                  <a:pt x="271868" y="93249"/>
                  <a:pt x="288407" y="109878"/>
                  <a:pt x="302610" y="128236"/>
                </a:cubicBezTo>
                <a:cubicBezTo>
                  <a:pt x="320215" y="150993"/>
                  <a:pt x="327166" y="177648"/>
                  <a:pt x="323355" y="207159"/>
                </a:cubicBezTo>
                <a:cubicBezTo>
                  <a:pt x="216542" y="225668"/>
                  <a:pt x="109259" y="232554"/>
                  <a:pt x="151" y="227930"/>
                </a:cubicBezTo>
                <a:cubicBezTo>
                  <a:pt x="1495" y="191410"/>
                  <a:pt x="3878" y="155299"/>
                  <a:pt x="3855" y="119190"/>
                </a:cubicBezTo>
                <a:cubicBezTo>
                  <a:pt x="3834" y="83413"/>
                  <a:pt x="1388" y="47637"/>
                  <a:pt x="0" y="11685"/>
                </a:cubicBezTo>
                <a:cubicBezTo>
                  <a:pt x="25514" y="11685"/>
                  <a:pt x="50744" y="11685"/>
                  <a:pt x="77135" y="11670"/>
                </a:cubicBezTo>
                <a:close/>
              </a:path>
            </a:pathLst>
          </a:custGeom>
          <a:solidFill>
            <a:srgbClr val="FDFEFE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190" name="Free-form: Shape 9189">
            <a:extLst>
              <a:ext uri="{FF2B5EF4-FFF2-40B4-BE49-F238E27FC236}">
                <a16:creationId xmlns:a16="http://schemas.microsoft.com/office/drawing/2014/main" id="{E94E0110-40A9-3F88-AC5C-D873ECC7BD19}"/>
              </a:ext>
            </a:extLst>
          </p:cNvPr>
          <p:cNvSpPr/>
          <p:nvPr/>
        </p:nvSpPr>
        <p:spPr>
          <a:xfrm>
            <a:off x="11108985" y="4534935"/>
            <a:ext cx="176355" cy="229704"/>
          </a:xfrm>
          <a:custGeom>
            <a:avLst/>
            <a:gdLst>
              <a:gd name="csX0" fmla="*/ 104636 w 228422"/>
              <a:gd name="csY0" fmla="*/ 81707 h 270473"/>
              <a:gd name="csX1" fmla="*/ 159689 w 228422"/>
              <a:gd name="csY1" fmla="*/ 83584 h 270473"/>
              <a:gd name="csX2" fmla="*/ 178665 w 228422"/>
              <a:gd name="csY2" fmla="*/ 68119 h 270473"/>
              <a:gd name="csX3" fmla="*/ 186448 w 228422"/>
              <a:gd name="csY3" fmla="*/ 20996 h 270473"/>
              <a:gd name="csX4" fmla="*/ 188779 w 228422"/>
              <a:gd name="csY4" fmla="*/ 7950 h 270473"/>
              <a:gd name="csX5" fmla="*/ 228146 w 228422"/>
              <a:gd name="csY5" fmla="*/ 14593 h 270473"/>
              <a:gd name="csX6" fmla="*/ 228030 w 228422"/>
              <a:gd name="csY6" fmla="*/ 40316 h 270473"/>
              <a:gd name="csX7" fmla="*/ 210907 w 228422"/>
              <a:gd name="csY7" fmla="*/ 157740 h 270473"/>
              <a:gd name="csX8" fmla="*/ 160928 w 228422"/>
              <a:gd name="csY8" fmla="*/ 245220 h 270473"/>
              <a:gd name="csX9" fmla="*/ 144327 w 228422"/>
              <a:gd name="csY9" fmla="*/ 264825 h 270473"/>
              <a:gd name="csX10" fmla="*/ 135745 w 228422"/>
              <a:gd name="csY10" fmla="*/ 270212 h 270473"/>
              <a:gd name="csX11" fmla="*/ 28028 w 228422"/>
              <a:gd name="csY11" fmla="*/ 270451 h 270473"/>
              <a:gd name="csX12" fmla="*/ 24984 w 228422"/>
              <a:gd name="csY12" fmla="*/ 243363 h 270473"/>
              <a:gd name="csX13" fmla="*/ 13372 w 228422"/>
              <a:gd name="csY13" fmla="*/ 172017 h 270473"/>
              <a:gd name="csX14" fmla="*/ 172 w 228422"/>
              <a:gd name="csY14" fmla="*/ 41741 h 270473"/>
              <a:gd name="csX15" fmla="*/ 1991 w 228422"/>
              <a:gd name="csY15" fmla="*/ 9927 h 270473"/>
              <a:gd name="csX16" fmla="*/ 11535 w 228422"/>
              <a:gd name="csY16" fmla="*/ 11 h 270473"/>
              <a:gd name="csX17" fmla="*/ 60320 w 228422"/>
              <a:gd name="csY17" fmla="*/ 4 h 270473"/>
              <a:gd name="csX18" fmla="*/ 63319 w 228422"/>
              <a:gd name="csY18" fmla="*/ 34595 h 270473"/>
              <a:gd name="csX19" fmla="*/ 63995 w 228422"/>
              <a:gd name="csY19" fmla="*/ 65276 h 270473"/>
              <a:gd name="csX20" fmla="*/ 77770 w 228422"/>
              <a:gd name="csY20" fmla="*/ 80309 h 270473"/>
              <a:gd name="csX21" fmla="*/ 104636 w 228422"/>
              <a:gd name="csY21" fmla="*/ 81707 h 27047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</a:cxnLst>
            <a:rect l="l" t="t" r="r" b="b"/>
            <a:pathLst>
              <a:path w="228422" h="270473">
                <a:moveTo>
                  <a:pt x="104636" y="81707"/>
                </a:moveTo>
                <a:cubicBezTo>
                  <a:pt x="123750" y="82425"/>
                  <a:pt x="141717" y="83526"/>
                  <a:pt x="159689" y="83584"/>
                </a:cubicBezTo>
                <a:cubicBezTo>
                  <a:pt x="170998" y="83621"/>
                  <a:pt x="176351" y="79300"/>
                  <a:pt x="178665" y="68119"/>
                </a:cubicBezTo>
                <a:cubicBezTo>
                  <a:pt x="181890" y="52542"/>
                  <a:pt x="183892" y="36712"/>
                  <a:pt x="186448" y="20996"/>
                </a:cubicBezTo>
                <a:cubicBezTo>
                  <a:pt x="187087" y="17068"/>
                  <a:pt x="187844" y="13160"/>
                  <a:pt x="188779" y="7950"/>
                </a:cubicBezTo>
                <a:cubicBezTo>
                  <a:pt x="202480" y="10262"/>
                  <a:pt x="215113" y="12394"/>
                  <a:pt x="228146" y="14593"/>
                </a:cubicBezTo>
                <a:cubicBezTo>
                  <a:pt x="228146" y="24129"/>
                  <a:pt x="228839" y="32299"/>
                  <a:pt x="228030" y="40316"/>
                </a:cubicBezTo>
                <a:cubicBezTo>
                  <a:pt x="224051" y="79707"/>
                  <a:pt x="222678" y="119563"/>
                  <a:pt x="210907" y="157740"/>
                </a:cubicBezTo>
                <a:cubicBezTo>
                  <a:pt x="200806" y="190502"/>
                  <a:pt x="186090" y="220845"/>
                  <a:pt x="160928" y="245220"/>
                </a:cubicBezTo>
                <a:cubicBezTo>
                  <a:pt x="154810" y="251147"/>
                  <a:pt x="150112" y="258517"/>
                  <a:pt x="144327" y="264825"/>
                </a:cubicBezTo>
                <a:cubicBezTo>
                  <a:pt x="142086" y="267268"/>
                  <a:pt x="138659" y="270182"/>
                  <a:pt x="135745" y="270212"/>
                </a:cubicBezTo>
                <a:cubicBezTo>
                  <a:pt x="100181" y="270580"/>
                  <a:pt x="64612" y="270451"/>
                  <a:pt x="28028" y="270451"/>
                </a:cubicBezTo>
                <a:cubicBezTo>
                  <a:pt x="26976" y="260883"/>
                  <a:pt x="26343" y="252066"/>
                  <a:pt x="24984" y="243363"/>
                </a:cubicBezTo>
                <a:cubicBezTo>
                  <a:pt x="21268" y="219557"/>
                  <a:pt x="17119" y="195818"/>
                  <a:pt x="13372" y="172017"/>
                </a:cubicBezTo>
                <a:cubicBezTo>
                  <a:pt x="6574" y="128838"/>
                  <a:pt x="-1265" y="85746"/>
                  <a:pt x="172" y="41741"/>
                </a:cubicBezTo>
                <a:cubicBezTo>
                  <a:pt x="518" y="31127"/>
                  <a:pt x="1719" y="20540"/>
                  <a:pt x="1991" y="9927"/>
                </a:cubicBezTo>
                <a:cubicBezTo>
                  <a:pt x="2163" y="3278"/>
                  <a:pt x="4961" y="19"/>
                  <a:pt x="11535" y="11"/>
                </a:cubicBezTo>
                <a:cubicBezTo>
                  <a:pt x="27370" y="-9"/>
                  <a:pt x="43205" y="4"/>
                  <a:pt x="60320" y="4"/>
                </a:cubicBezTo>
                <a:cubicBezTo>
                  <a:pt x="61401" y="12123"/>
                  <a:pt x="62689" y="23341"/>
                  <a:pt x="63319" y="34595"/>
                </a:cubicBezTo>
                <a:cubicBezTo>
                  <a:pt x="63890" y="44802"/>
                  <a:pt x="63444" y="55066"/>
                  <a:pt x="63995" y="65276"/>
                </a:cubicBezTo>
                <a:cubicBezTo>
                  <a:pt x="64588" y="76246"/>
                  <a:pt x="67011" y="79017"/>
                  <a:pt x="77770" y="80309"/>
                </a:cubicBezTo>
                <a:cubicBezTo>
                  <a:pt x="86275" y="81330"/>
                  <a:pt x="94914" y="81244"/>
                  <a:pt x="104636" y="81707"/>
                </a:cubicBezTo>
                <a:close/>
              </a:path>
            </a:pathLst>
          </a:custGeom>
          <a:solidFill>
            <a:srgbClr val="FDFDFD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191" name="Free-form: Shape 9190">
            <a:extLst>
              <a:ext uri="{FF2B5EF4-FFF2-40B4-BE49-F238E27FC236}">
                <a16:creationId xmlns:a16="http://schemas.microsoft.com/office/drawing/2014/main" id="{7C9663E0-F815-80EA-B9C6-EAD5C89DEFCA}"/>
              </a:ext>
            </a:extLst>
          </p:cNvPr>
          <p:cNvSpPr/>
          <p:nvPr/>
        </p:nvSpPr>
        <p:spPr>
          <a:xfrm>
            <a:off x="11119260" y="5681448"/>
            <a:ext cx="268594" cy="68395"/>
          </a:xfrm>
          <a:custGeom>
            <a:avLst/>
            <a:gdLst>
              <a:gd name="csX0" fmla="*/ 135775 w 347893"/>
              <a:gd name="csY0" fmla="*/ 18580 h 80534"/>
              <a:gd name="csX1" fmla="*/ 239717 w 347893"/>
              <a:gd name="csY1" fmla="*/ 11288 h 80534"/>
              <a:gd name="csX2" fmla="*/ 318645 w 347893"/>
              <a:gd name="csY2" fmla="*/ 442 h 80534"/>
              <a:gd name="csX3" fmla="*/ 341767 w 347893"/>
              <a:gd name="csY3" fmla="*/ 13145 h 80534"/>
              <a:gd name="csX4" fmla="*/ 347232 w 347893"/>
              <a:gd name="csY4" fmla="*/ 54621 h 80534"/>
              <a:gd name="csX5" fmla="*/ 0 w 347893"/>
              <a:gd name="csY5" fmla="*/ 75820 h 80534"/>
              <a:gd name="csX6" fmla="*/ 0 w 347893"/>
              <a:gd name="csY6" fmla="*/ 19396 h 80534"/>
              <a:gd name="csX7" fmla="*/ 135775 w 347893"/>
              <a:gd name="csY7" fmla="*/ 18580 h 8053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</a:cxnLst>
            <a:rect l="l" t="t" r="r" b="b"/>
            <a:pathLst>
              <a:path w="347893" h="80534">
                <a:moveTo>
                  <a:pt x="135775" y="18580"/>
                </a:moveTo>
                <a:cubicBezTo>
                  <a:pt x="171209" y="16211"/>
                  <a:pt x="205541" y="14564"/>
                  <a:pt x="239717" y="11288"/>
                </a:cubicBezTo>
                <a:cubicBezTo>
                  <a:pt x="266132" y="8756"/>
                  <a:pt x="292375" y="4350"/>
                  <a:pt x="318645" y="442"/>
                </a:cubicBezTo>
                <a:cubicBezTo>
                  <a:pt x="330480" y="-1319"/>
                  <a:pt x="337947" y="2033"/>
                  <a:pt x="341767" y="13145"/>
                </a:cubicBezTo>
                <a:cubicBezTo>
                  <a:pt x="346279" y="26268"/>
                  <a:pt x="349293" y="39746"/>
                  <a:pt x="347232" y="54621"/>
                </a:cubicBezTo>
                <a:cubicBezTo>
                  <a:pt x="232188" y="77697"/>
                  <a:pt x="116756" y="86979"/>
                  <a:pt x="0" y="75820"/>
                </a:cubicBezTo>
                <a:cubicBezTo>
                  <a:pt x="0" y="56279"/>
                  <a:pt x="0" y="38485"/>
                  <a:pt x="0" y="19396"/>
                </a:cubicBezTo>
                <a:cubicBezTo>
                  <a:pt x="45633" y="19126"/>
                  <a:pt x="90119" y="18862"/>
                  <a:pt x="135775" y="18580"/>
                </a:cubicBezTo>
                <a:close/>
              </a:path>
            </a:pathLst>
          </a:custGeom>
          <a:solidFill>
            <a:srgbClr val="FCFDFD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192" name="Free-form: Shape 9191">
            <a:extLst>
              <a:ext uri="{FF2B5EF4-FFF2-40B4-BE49-F238E27FC236}">
                <a16:creationId xmlns:a16="http://schemas.microsoft.com/office/drawing/2014/main" id="{F45A69B0-27C1-2518-730A-EA0A8226927A}"/>
              </a:ext>
            </a:extLst>
          </p:cNvPr>
          <p:cNvSpPr/>
          <p:nvPr/>
        </p:nvSpPr>
        <p:spPr>
          <a:xfrm>
            <a:off x="11129883" y="4793685"/>
            <a:ext cx="122568" cy="31169"/>
          </a:xfrm>
          <a:custGeom>
            <a:avLst/>
            <a:gdLst>
              <a:gd name="csX0" fmla="*/ 68505 w 158754"/>
              <a:gd name="csY0" fmla="*/ 36702 h 36701"/>
              <a:gd name="csX1" fmla="*/ 1920 w 158754"/>
              <a:gd name="csY1" fmla="*/ 36699 h 36701"/>
              <a:gd name="csX2" fmla="*/ 0 w 158754"/>
              <a:gd name="csY2" fmla="*/ 1592 h 36701"/>
              <a:gd name="csX3" fmla="*/ 11189 w 158754"/>
              <a:gd name="csY3" fmla="*/ 718 h 36701"/>
              <a:gd name="csX4" fmla="*/ 110708 w 158754"/>
              <a:gd name="csY4" fmla="*/ 3 h 36701"/>
              <a:gd name="csX5" fmla="*/ 127993 w 158754"/>
              <a:gd name="csY5" fmla="*/ 4910 h 36701"/>
              <a:gd name="csX6" fmla="*/ 146608 w 158754"/>
              <a:gd name="csY6" fmla="*/ 16808 h 36701"/>
              <a:gd name="csX7" fmla="*/ 158755 w 158754"/>
              <a:gd name="csY7" fmla="*/ 34647 h 36701"/>
              <a:gd name="csX8" fmla="*/ 145911 w 158754"/>
              <a:gd name="csY8" fmla="*/ 36459 h 36701"/>
              <a:gd name="csX9" fmla="*/ 68505 w 158754"/>
              <a:gd name="csY9" fmla="*/ 36702 h 3670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158754" h="36701">
                <a:moveTo>
                  <a:pt x="68505" y="36702"/>
                </a:moveTo>
                <a:cubicBezTo>
                  <a:pt x="45664" y="36699"/>
                  <a:pt x="24052" y="36699"/>
                  <a:pt x="1920" y="36699"/>
                </a:cubicBezTo>
                <a:cubicBezTo>
                  <a:pt x="-935" y="24569"/>
                  <a:pt x="572" y="13631"/>
                  <a:pt x="0" y="1592"/>
                </a:cubicBezTo>
                <a:cubicBezTo>
                  <a:pt x="4169" y="1253"/>
                  <a:pt x="7677" y="744"/>
                  <a:pt x="11189" y="718"/>
                </a:cubicBezTo>
                <a:cubicBezTo>
                  <a:pt x="44362" y="468"/>
                  <a:pt x="77538" y="423"/>
                  <a:pt x="110708" y="3"/>
                </a:cubicBezTo>
                <a:cubicBezTo>
                  <a:pt x="117152" y="-78"/>
                  <a:pt x="122702" y="1282"/>
                  <a:pt x="127993" y="4910"/>
                </a:cubicBezTo>
                <a:cubicBezTo>
                  <a:pt x="134065" y="9072"/>
                  <a:pt x="140615" y="12545"/>
                  <a:pt x="146608" y="16808"/>
                </a:cubicBezTo>
                <a:cubicBezTo>
                  <a:pt x="152239" y="20814"/>
                  <a:pt x="157699" y="25259"/>
                  <a:pt x="158755" y="34647"/>
                </a:cubicBezTo>
                <a:cubicBezTo>
                  <a:pt x="154257" y="35310"/>
                  <a:pt x="150089" y="36424"/>
                  <a:pt x="145911" y="36459"/>
                </a:cubicBezTo>
                <a:cubicBezTo>
                  <a:pt x="120520" y="36677"/>
                  <a:pt x="95126" y="36650"/>
                  <a:pt x="68505" y="36702"/>
                </a:cubicBezTo>
                <a:close/>
              </a:path>
            </a:pathLst>
          </a:custGeom>
          <a:solidFill>
            <a:srgbClr val="FBFCFB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193" name="Free-form: Shape 9192">
            <a:extLst>
              <a:ext uri="{FF2B5EF4-FFF2-40B4-BE49-F238E27FC236}">
                <a16:creationId xmlns:a16="http://schemas.microsoft.com/office/drawing/2014/main" id="{C3360DDF-A8D2-23B5-8CAD-A6F8B438DE59}"/>
              </a:ext>
            </a:extLst>
          </p:cNvPr>
          <p:cNvSpPr/>
          <p:nvPr/>
        </p:nvSpPr>
        <p:spPr>
          <a:xfrm>
            <a:off x="3707163" y="4521102"/>
            <a:ext cx="634942" cy="1266262"/>
          </a:xfrm>
          <a:custGeom>
            <a:avLst/>
            <a:gdLst>
              <a:gd name="csX0" fmla="*/ 703087 w 763849"/>
              <a:gd name="csY0" fmla="*/ 1241174 h 1523340"/>
              <a:gd name="csX1" fmla="*/ 732932 w 763849"/>
              <a:gd name="csY1" fmla="*/ 1359634 h 1523340"/>
              <a:gd name="csX2" fmla="*/ 735544 w 763849"/>
              <a:gd name="csY2" fmla="*/ 1377287 h 1523340"/>
              <a:gd name="csX3" fmla="*/ 756764 w 763849"/>
              <a:gd name="csY3" fmla="*/ 1458577 h 1523340"/>
              <a:gd name="csX4" fmla="*/ 757108 w 763849"/>
              <a:gd name="csY4" fmla="*/ 1465940 h 1523340"/>
              <a:gd name="csX5" fmla="*/ 744215 w 763849"/>
              <a:gd name="csY5" fmla="*/ 1488332 h 1523340"/>
              <a:gd name="csX6" fmla="*/ 712781 w 763849"/>
              <a:gd name="csY6" fmla="*/ 1498472 h 1523340"/>
              <a:gd name="csX7" fmla="*/ 625540 w 763849"/>
              <a:gd name="csY7" fmla="*/ 1511981 h 1523340"/>
              <a:gd name="csX8" fmla="*/ 488540 w 763849"/>
              <a:gd name="csY8" fmla="*/ 1522029 h 1523340"/>
              <a:gd name="csX9" fmla="*/ 306789 w 763849"/>
              <a:gd name="csY9" fmla="*/ 1523231 h 1523340"/>
              <a:gd name="csX10" fmla="*/ 200103 w 763849"/>
              <a:gd name="csY10" fmla="*/ 1518579 h 1523340"/>
              <a:gd name="csX11" fmla="*/ 31607 w 763849"/>
              <a:gd name="csY11" fmla="*/ 1493880 h 1523340"/>
              <a:gd name="csX12" fmla="*/ 5860 w 763849"/>
              <a:gd name="csY12" fmla="*/ 1482933 h 1523340"/>
              <a:gd name="csX13" fmla="*/ 32 w 763849"/>
              <a:gd name="csY13" fmla="*/ 1471774 h 1523340"/>
              <a:gd name="csX14" fmla="*/ 21295 w 763849"/>
              <a:gd name="csY14" fmla="*/ 1378237 h 1523340"/>
              <a:gd name="csX15" fmla="*/ 23169 w 763849"/>
              <a:gd name="csY15" fmla="*/ 1364271 h 1523340"/>
              <a:gd name="csX16" fmla="*/ 23871 w 763849"/>
              <a:gd name="csY16" fmla="*/ 1303132 h 1523340"/>
              <a:gd name="csX17" fmla="*/ 59740 w 763849"/>
              <a:gd name="csY17" fmla="*/ 1234649 h 1523340"/>
              <a:gd name="csX18" fmla="*/ 98899 w 763849"/>
              <a:gd name="csY18" fmla="*/ 1195619 h 1523340"/>
              <a:gd name="csX19" fmla="*/ 131493 w 763849"/>
              <a:gd name="csY19" fmla="*/ 1127593 h 1523340"/>
              <a:gd name="csX20" fmla="*/ 108213 w 763849"/>
              <a:gd name="csY20" fmla="*/ 1058723 h 1523340"/>
              <a:gd name="csX21" fmla="*/ 74370 w 763849"/>
              <a:gd name="csY21" fmla="*/ 1024929 h 1523340"/>
              <a:gd name="csX22" fmla="*/ 68137 w 763849"/>
              <a:gd name="csY22" fmla="*/ 987550 h 1523340"/>
              <a:gd name="csX23" fmla="*/ 86420 w 763849"/>
              <a:gd name="csY23" fmla="*/ 941991 h 1523340"/>
              <a:gd name="csX24" fmla="*/ 97082 w 763849"/>
              <a:gd name="csY24" fmla="*/ 828037 h 1523340"/>
              <a:gd name="csX25" fmla="*/ 61782 w 763849"/>
              <a:gd name="csY25" fmla="*/ 696973 h 1523340"/>
              <a:gd name="csX26" fmla="*/ 26901 w 763849"/>
              <a:gd name="csY26" fmla="*/ 547868 h 1523340"/>
              <a:gd name="csX27" fmla="*/ 20221 w 763849"/>
              <a:gd name="csY27" fmla="*/ 479529 h 1523340"/>
              <a:gd name="csX28" fmla="*/ 40808 w 763849"/>
              <a:gd name="csY28" fmla="*/ 334388 h 1523340"/>
              <a:gd name="csX29" fmla="*/ 65171 w 763849"/>
              <a:gd name="csY29" fmla="*/ 263707 h 1523340"/>
              <a:gd name="csX30" fmla="*/ 142827 w 763849"/>
              <a:gd name="csY30" fmla="*/ 171003 h 1523340"/>
              <a:gd name="csX31" fmla="*/ 172290 w 763849"/>
              <a:gd name="csY31" fmla="*/ 155872 h 1523340"/>
              <a:gd name="csX32" fmla="*/ 189008 w 763849"/>
              <a:gd name="csY32" fmla="*/ 148158 h 1523340"/>
              <a:gd name="csX33" fmla="*/ 212828 w 763849"/>
              <a:gd name="csY33" fmla="*/ 126123 h 1523340"/>
              <a:gd name="csX34" fmla="*/ 217217 w 763849"/>
              <a:gd name="csY34" fmla="*/ 118740 h 1523340"/>
              <a:gd name="csX35" fmla="*/ 253000 w 763849"/>
              <a:gd name="csY35" fmla="*/ 88998 h 1523340"/>
              <a:gd name="csX36" fmla="*/ 322085 w 763849"/>
              <a:gd name="csY36" fmla="*/ 72193 h 1523340"/>
              <a:gd name="csX37" fmla="*/ 330478 w 763849"/>
              <a:gd name="csY37" fmla="*/ 70387 h 1523340"/>
              <a:gd name="csX38" fmla="*/ 388016 w 763849"/>
              <a:gd name="csY38" fmla="*/ 35457 h 1523340"/>
              <a:gd name="csX39" fmla="*/ 421527 w 763849"/>
              <a:gd name="csY39" fmla="*/ 0 h 1523340"/>
              <a:gd name="csX40" fmla="*/ 424538 w 763849"/>
              <a:gd name="csY40" fmla="*/ 10833 h 1523340"/>
              <a:gd name="csX41" fmla="*/ 436339 w 763849"/>
              <a:gd name="csY41" fmla="*/ 121836 h 1523340"/>
              <a:gd name="csX42" fmla="*/ 449983 w 763849"/>
              <a:gd name="csY42" fmla="*/ 141450 h 1523340"/>
              <a:gd name="csX43" fmla="*/ 503299 w 763849"/>
              <a:gd name="csY43" fmla="*/ 169290 h 1523340"/>
              <a:gd name="csX44" fmla="*/ 551461 w 763849"/>
              <a:gd name="csY44" fmla="*/ 203111 h 1523340"/>
              <a:gd name="csX45" fmla="*/ 588803 w 763849"/>
              <a:gd name="csY45" fmla="*/ 252797 h 1523340"/>
              <a:gd name="csX46" fmla="*/ 634209 w 763849"/>
              <a:gd name="csY46" fmla="*/ 327081 h 1523340"/>
              <a:gd name="csX47" fmla="*/ 697923 w 763849"/>
              <a:gd name="csY47" fmla="*/ 384157 h 1523340"/>
              <a:gd name="csX48" fmla="*/ 729658 w 763849"/>
              <a:gd name="csY48" fmla="*/ 407288 h 1523340"/>
              <a:gd name="csX49" fmla="*/ 763354 w 763849"/>
              <a:gd name="csY49" fmla="*/ 471325 h 1523340"/>
              <a:gd name="csX50" fmla="*/ 757092 w 763849"/>
              <a:gd name="csY50" fmla="*/ 527116 h 1523340"/>
              <a:gd name="csX51" fmla="*/ 720673 w 763849"/>
              <a:gd name="csY51" fmla="*/ 570023 h 1523340"/>
              <a:gd name="csX52" fmla="*/ 704918 w 763849"/>
              <a:gd name="csY52" fmla="*/ 581294 h 1523340"/>
              <a:gd name="csX53" fmla="*/ 671960 w 763849"/>
              <a:gd name="csY53" fmla="*/ 595325 h 1523340"/>
              <a:gd name="csX54" fmla="*/ 633021 w 763849"/>
              <a:gd name="csY54" fmla="*/ 591397 h 1523340"/>
              <a:gd name="csX55" fmla="*/ 580696 w 763849"/>
              <a:gd name="csY55" fmla="*/ 556742 h 1523340"/>
              <a:gd name="csX56" fmla="*/ 545415 w 763849"/>
              <a:gd name="csY56" fmla="*/ 524617 h 1523340"/>
              <a:gd name="csX57" fmla="*/ 518889 w 763849"/>
              <a:gd name="csY57" fmla="*/ 516179 h 1523340"/>
              <a:gd name="csX58" fmla="*/ 472309 w 763849"/>
              <a:gd name="csY58" fmla="*/ 517812 h 1523340"/>
              <a:gd name="csX59" fmla="*/ 415953 w 763849"/>
              <a:gd name="csY59" fmla="*/ 517245 h 1523340"/>
              <a:gd name="csX60" fmla="*/ 403392 w 763849"/>
              <a:gd name="csY60" fmla="*/ 516539 h 1523340"/>
              <a:gd name="csX61" fmla="*/ 407957 w 763849"/>
              <a:gd name="csY61" fmla="*/ 542045 h 1523340"/>
              <a:gd name="csX62" fmla="*/ 434134 w 763849"/>
              <a:gd name="csY62" fmla="*/ 583349 h 1523340"/>
              <a:gd name="csX63" fmla="*/ 524267 w 763849"/>
              <a:gd name="csY63" fmla="*/ 683922 h 1523340"/>
              <a:gd name="csX64" fmla="*/ 614317 w 763849"/>
              <a:gd name="csY64" fmla="*/ 786085 h 1523340"/>
              <a:gd name="csX65" fmla="*/ 669590 w 763849"/>
              <a:gd name="csY65" fmla="*/ 921089 h 1523340"/>
              <a:gd name="csX66" fmla="*/ 647360 w 763849"/>
              <a:gd name="csY66" fmla="*/ 1057245 h 1523340"/>
              <a:gd name="csX67" fmla="*/ 627872 w 763849"/>
              <a:gd name="csY67" fmla="*/ 1102111 h 1523340"/>
              <a:gd name="csX68" fmla="*/ 642300 w 763849"/>
              <a:gd name="csY68" fmla="*/ 1175941 h 1523340"/>
              <a:gd name="csX69" fmla="*/ 668829 w 763849"/>
              <a:gd name="csY69" fmla="*/ 1206449 h 1523340"/>
              <a:gd name="csX70" fmla="*/ 703087 w 763849"/>
              <a:gd name="csY70" fmla="*/ 1241174 h 1523340"/>
              <a:gd name="csX71" fmla="*/ 648750 w 763849"/>
              <a:gd name="csY71" fmla="*/ 562343 h 1523340"/>
              <a:gd name="csX72" fmla="*/ 674049 w 763849"/>
              <a:gd name="csY72" fmla="*/ 562834 h 1523340"/>
              <a:gd name="csX73" fmla="*/ 660781 w 763849"/>
              <a:gd name="csY73" fmla="*/ 550178 h 1523340"/>
              <a:gd name="csX74" fmla="*/ 650911 w 763849"/>
              <a:gd name="csY74" fmla="*/ 534051 h 1523340"/>
              <a:gd name="csX75" fmla="*/ 660724 w 763849"/>
              <a:gd name="csY75" fmla="*/ 537605 h 1523340"/>
              <a:gd name="csX76" fmla="*/ 688133 w 763849"/>
              <a:gd name="csY76" fmla="*/ 543363 h 1523340"/>
              <a:gd name="csX77" fmla="*/ 731514 w 763849"/>
              <a:gd name="csY77" fmla="*/ 510767 h 1523340"/>
              <a:gd name="csX78" fmla="*/ 733611 w 763849"/>
              <a:gd name="csY78" fmla="*/ 466905 h 1523340"/>
              <a:gd name="csX79" fmla="*/ 708076 w 763849"/>
              <a:gd name="csY79" fmla="*/ 425975 h 1523340"/>
              <a:gd name="csX80" fmla="*/ 667538 w 763849"/>
              <a:gd name="csY80" fmla="*/ 398254 h 1523340"/>
              <a:gd name="csX81" fmla="*/ 601016 w 763849"/>
              <a:gd name="csY81" fmla="*/ 332127 h 1523340"/>
              <a:gd name="csX82" fmla="*/ 565354 w 763849"/>
              <a:gd name="csY82" fmla="*/ 270526 h 1523340"/>
              <a:gd name="csX83" fmla="*/ 490657 w 763849"/>
              <a:gd name="csY83" fmla="*/ 195121 h 1523340"/>
              <a:gd name="csX84" fmla="*/ 432834 w 763849"/>
              <a:gd name="csY84" fmla="*/ 165243 h 1523340"/>
              <a:gd name="csX85" fmla="*/ 407594 w 763849"/>
              <a:gd name="csY85" fmla="*/ 127852 h 1523340"/>
              <a:gd name="csX86" fmla="*/ 405020 w 763849"/>
              <a:gd name="csY86" fmla="*/ 69029 h 1523340"/>
              <a:gd name="csX87" fmla="*/ 403638 w 763849"/>
              <a:gd name="csY87" fmla="*/ 58130 h 1523340"/>
              <a:gd name="csX88" fmla="*/ 349776 w 763849"/>
              <a:gd name="csY88" fmla="*/ 133259 h 1523340"/>
              <a:gd name="csX89" fmla="*/ 326975 w 763849"/>
              <a:gd name="csY89" fmla="*/ 159669 h 1523340"/>
              <a:gd name="csX90" fmla="*/ 240374 w 763849"/>
              <a:gd name="csY90" fmla="*/ 221714 h 1523340"/>
              <a:gd name="csX91" fmla="*/ 171637 w 763849"/>
              <a:gd name="csY91" fmla="*/ 309087 h 1523340"/>
              <a:gd name="csX92" fmla="*/ 138048 w 763849"/>
              <a:gd name="csY92" fmla="*/ 516954 h 1523340"/>
              <a:gd name="csX93" fmla="*/ 163889 w 763849"/>
              <a:gd name="csY93" fmla="*/ 641780 h 1523340"/>
              <a:gd name="csX94" fmla="*/ 204800 w 763849"/>
              <a:gd name="csY94" fmla="*/ 787055 h 1523340"/>
              <a:gd name="csX95" fmla="*/ 218549 w 763849"/>
              <a:gd name="csY95" fmla="*/ 949545 h 1523340"/>
              <a:gd name="csX96" fmla="*/ 191487 w 763849"/>
              <a:gd name="csY96" fmla="*/ 1033064 h 1523340"/>
              <a:gd name="csX97" fmla="*/ 188729 w 763849"/>
              <a:gd name="csY97" fmla="*/ 1039835 h 1523340"/>
              <a:gd name="csX98" fmla="*/ 221417 w 763849"/>
              <a:gd name="csY98" fmla="*/ 1040799 h 1523340"/>
              <a:gd name="csX99" fmla="*/ 348895 w 763849"/>
              <a:gd name="csY99" fmla="*/ 1046759 h 1523340"/>
              <a:gd name="csX100" fmla="*/ 545369 w 763849"/>
              <a:gd name="csY100" fmla="*/ 1044456 h 1523340"/>
              <a:gd name="csX101" fmla="*/ 612424 w 763849"/>
              <a:gd name="csY101" fmla="*/ 1037365 h 1523340"/>
              <a:gd name="csX102" fmla="*/ 623169 w 763849"/>
              <a:gd name="csY102" fmla="*/ 1028873 h 1523340"/>
              <a:gd name="csX103" fmla="*/ 638508 w 763849"/>
              <a:gd name="csY103" fmla="*/ 959599 h 1523340"/>
              <a:gd name="csX104" fmla="*/ 609213 w 763849"/>
              <a:gd name="csY104" fmla="*/ 842075 h 1523340"/>
              <a:gd name="csX105" fmla="*/ 529367 w 763849"/>
              <a:gd name="csY105" fmla="*/ 735065 h 1523340"/>
              <a:gd name="csX106" fmla="*/ 403792 w 763849"/>
              <a:gd name="csY106" fmla="*/ 596993 h 1523340"/>
              <a:gd name="csX107" fmla="*/ 344708 w 763849"/>
              <a:gd name="csY107" fmla="*/ 511366 h 1523340"/>
              <a:gd name="csX108" fmla="*/ 324464 w 763849"/>
              <a:gd name="csY108" fmla="*/ 380084 h 1523340"/>
              <a:gd name="csX109" fmla="*/ 327688 w 763849"/>
              <a:gd name="csY109" fmla="*/ 373535 h 1523340"/>
              <a:gd name="csX110" fmla="*/ 330334 w 763849"/>
              <a:gd name="csY110" fmla="*/ 373641 h 1523340"/>
              <a:gd name="csX111" fmla="*/ 334272 w 763849"/>
              <a:gd name="csY111" fmla="*/ 384645 h 1523340"/>
              <a:gd name="csX112" fmla="*/ 365260 w 763849"/>
              <a:gd name="csY112" fmla="*/ 453955 h 1523340"/>
              <a:gd name="csX113" fmla="*/ 408246 w 763849"/>
              <a:gd name="csY113" fmla="*/ 483592 h 1523340"/>
              <a:gd name="csX114" fmla="*/ 464529 w 763849"/>
              <a:gd name="csY114" fmla="*/ 486187 h 1523340"/>
              <a:gd name="csX115" fmla="*/ 511119 w 763849"/>
              <a:gd name="csY115" fmla="*/ 484308 h 1523340"/>
              <a:gd name="csX116" fmla="*/ 567913 w 763849"/>
              <a:gd name="csY116" fmla="*/ 503736 h 1523340"/>
              <a:gd name="csX117" fmla="*/ 607611 w 763849"/>
              <a:gd name="csY117" fmla="*/ 540326 h 1523340"/>
              <a:gd name="csX118" fmla="*/ 648750 w 763849"/>
              <a:gd name="csY118" fmla="*/ 562343 h 1523340"/>
              <a:gd name="csX119" fmla="*/ 462594 w 763849"/>
              <a:gd name="csY119" fmla="*/ 1369008 h 1523340"/>
              <a:gd name="csX120" fmla="*/ 510357 w 763849"/>
              <a:gd name="csY120" fmla="*/ 1366345 h 1523340"/>
              <a:gd name="csX121" fmla="*/ 549434 w 763849"/>
              <a:gd name="csY121" fmla="*/ 1362956 h 1523340"/>
              <a:gd name="csX122" fmla="*/ 632369 w 763849"/>
              <a:gd name="csY122" fmla="*/ 1354439 h 1523340"/>
              <a:gd name="csX123" fmla="*/ 697252 w 763849"/>
              <a:gd name="csY123" fmla="*/ 1346424 h 1523340"/>
              <a:gd name="csX124" fmla="*/ 676674 w 763849"/>
              <a:gd name="csY124" fmla="*/ 1266396 h 1523340"/>
              <a:gd name="csX125" fmla="*/ 646594 w 763849"/>
              <a:gd name="csY125" fmla="*/ 1234108 h 1523340"/>
              <a:gd name="csX126" fmla="*/ 612063 w 763849"/>
              <a:gd name="csY126" fmla="*/ 1194382 h 1523340"/>
              <a:gd name="csX127" fmla="*/ 591616 w 763849"/>
              <a:gd name="csY127" fmla="*/ 1111541 h 1523340"/>
              <a:gd name="csX128" fmla="*/ 594320 w 763849"/>
              <a:gd name="csY128" fmla="*/ 1089609 h 1523340"/>
              <a:gd name="csX129" fmla="*/ 578634 w 763849"/>
              <a:gd name="csY129" fmla="*/ 1089642 h 1523340"/>
              <a:gd name="csX130" fmla="*/ 443931 w 763849"/>
              <a:gd name="csY130" fmla="*/ 1096700 h 1523340"/>
              <a:gd name="csX131" fmla="*/ 403417 w 763849"/>
              <a:gd name="csY131" fmla="*/ 1097156 h 1523340"/>
              <a:gd name="csX132" fmla="*/ 388348 w 763849"/>
              <a:gd name="csY132" fmla="*/ 1111502 h 1523340"/>
              <a:gd name="csX133" fmla="*/ 385048 w 763849"/>
              <a:gd name="csY133" fmla="*/ 1176431 h 1523340"/>
              <a:gd name="csX134" fmla="*/ 377687 w 763849"/>
              <a:gd name="csY134" fmla="*/ 1308672 h 1523340"/>
              <a:gd name="csX135" fmla="*/ 376823 w 763849"/>
              <a:gd name="csY135" fmla="*/ 1320897 h 1523340"/>
              <a:gd name="csX136" fmla="*/ 376781 w 763849"/>
              <a:gd name="csY136" fmla="*/ 1366151 h 1523340"/>
              <a:gd name="csX137" fmla="*/ 462594 w 763849"/>
              <a:gd name="csY137" fmla="*/ 1369008 h 1523340"/>
              <a:gd name="csX138" fmla="*/ 648494 w 763849"/>
              <a:gd name="csY138" fmla="*/ 1463981 h 1523340"/>
              <a:gd name="csX139" fmla="*/ 718746 w 763849"/>
              <a:gd name="csY139" fmla="*/ 1451892 h 1523340"/>
              <a:gd name="csX140" fmla="*/ 711827 w 763849"/>
              <a:gd name="csY140" fmla="*/ 1416835 h 1523340"/>
              <a:gd name="csX141" fmla="*/ 685812 w 763849"/>
              <a:gd name="csY141" fmla="*/ 1398502 h 1523340"/>
              <a:gd name="csX142" fmla="*/ 680924 w 763849"/>
              <a:gd name="csY142" fmla="*/ 1398973 h 1523340"/>
              <a:gd name="csX143" fmla="*/ 598278 w 763849"/>
              <a:gd name="csY143" fmla="*/ 1409218 h 1523340"/>
              <a:gd name="csX144" fmla="*/ 474765 w 763849"/>
              <a:gd name="csY144" fmla="*/ 1417945 h 1523340"/>
              <a:gd name="csX145" fmla="*/ 385143 w 763849"/>
              <a:gd name="csY145" fmla="*/ 1418978 h 1523340"/>
              <a:gd name="csX146" fmla="*/ 376639 w 763849"/>
              <a:gd name="csY146" fmla="*/ 1419613 h 1523340"/>
              <a:gd name="csX147" fmla="*/ 376639 w 763849"/>
              <a:gd name="csY147" fmla="*/ 1473939 h 1523340"/>
              <a:gd name="csX148" fmla="*/ 382089 w 763849"/>
              <a:gd name="csY148" fmla="*/ 1474854 h 1523340"/>
              <a:gd name="csX149" fmla="*/ 449536 w 763849"/>
              <a:gd name="csY149" fmla="*/ 1476855 h 1523340"/>
              <a:gd name="csX150" fmla="*/ 559930 w 763849"/>
              <a:gd name="csY150" fmla="*/ 1474307 h 1523340"/>
              <a:gd name="csX151" fmla="*/ 648494 w 763849"/>
              <a:gd name="csY151" fmla="*/ 1463981 h 152334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</a:cxnLst>
            <a:rect l="l" t="t" r="r" b="b"/>
            <a:pathLst>
              <a:path w="763849" h="1523340">
                <a:moveTo>
                  <a:pt x="703087" y="1241174"/>
                </a:moveTo>
                <a:cubicBezTo>
                  <a:pt x="732418" y="1276379"/>
                  <a:pt x="738825" y="1316526"/>
                  <a:pt x="732932" y="1359634"/>
                </a:cubicBezTo>
                <a:cubicBezTo>
                  <a:pt x="732067" y="1365959"/>
                  <a:pt x="732453" y="1371428"/>
                  <a:pt x="735544" y="1377287"/>
                </a:cubicBezTo>
                <a:cubicBezTo>
                  <a:pt x="748937" y="1402675"/>
                  <a:pt x="755318" y="1430010"/>
                  <a:pt x="756764" y="1458577"/>
                </a:cubicBezTo>
                <a:cubicBezTo>
                  <a:pt x="756887" y="1461031"/>
                  <a:pt x="756895" y="1463494"/>
                  <a:pt x="757108" y="1465940"/>
                </a:cubicBezTo>
                <a:cubicBezTo>
                  <a:pt x="758375" y="1480486"/>
                  <a:pt x="757802" y="1482498"/>
                  <a:pt x="744215" y="1488332"/>
                </a:cubicBezTo>
                <a:cubicBezTo>
                  <a:pt x="734126" y="1492664"/>
                  <a:pt x="723536" y="1496562"/>
                  <a:pt x="712781" y="1498472"/>
                </a:cubicBezTo>
                <a:cubicBezTo>
                  <a:pt x="683814" y="1503617"/>
                  <a:pt x="654674" y="1507832"/>
                  <a:pt x="625540" y="1511981"/>
                </a:cubicBezTo>
                <a:cubicBezTo>
                  <a:pt x="580114" y="1518449"/>
                  <a:pt x="534395" y="1521481"/>
                  <a:pt x="488540" y="1522029"/>
                </a:cubicBezTo>
                <a:cubicBezTo>
                  <a:pt x="427958" y="1522752"/>
                  <a:pt x="367367" y="1523658"/>
                  <a:pt x="306789" y="1523231"/>
                </a:cubicBezTo>
                <a:cubicBezTo>
                  <a:pt x="271215" y="1522980"/>
                  <a:pt x="235625" y="1520833"/>
                  <a:pt x="200103" y="1518579"/>
                </a:cubicBezTo>
                <a:cubicBezTo>
                  <a:pt x="143289" y="1514974"/>
                  <a:pt x="86915" y="1507766"/>
                  <a:pt x="31607" y="1493880"/>
                </a:cubicBezTo>
                <a:cubicBezTo>
                  <a:pt x="22666" y="1491635"/>
                  <a:pt x="14297" y="1486920"/>
                  <a:pt x="5860" y="1482933"/>
                </a:cubicBezTo>
                <a:cubicBezTo>
                  <a:pt x="1433" y="1480841"/>
                  <a:pt x="-262" y="1476934"/>
                  <a:pt x="32" y="1471774"/>
                </a:cubicBezTo>
                <a:cubicBezTo>
                  <a:pt x="1880" y="1439401"/>
                  <a:pt x="3993" y="1407192"/>
                  <a:pt x="21295" y="1378237"/>
                </a:cubicBezTo>
                <a:cubicBezTo>
                  <a:pt x="23526" y="1374504"/>
                  <a:pt x="23666" y="1368858"/>
                  <a:pt x="23169" y="1364271"/>
                </a:cubicBezTo>
                <a:cubicBezTo>
                  <a:pt x="20957" y="1343833"/>
                  <a:pt x="20482" y="1323540"/>
                  <a:pt x="23871" y="1303132"/>
                </a:cubicBezTo>
                <a:cubicBezTo>
                  <a:pt x="28332" y="1276267"/>
                  <a:pt x="41045" y="1253887"/>
                  <a:pt x="59740" y="1234649"/>
                </a:cubicBezTo>
                <a:cubicBezTo>
                  <a:pt x="72582" y="1221434"/>
                  <a:pt x="85657" y="1208434"/>
                  <a:pt x="98899" y="1195619"/>
                </a:cubicBezTo>
                <a:cubicBezTo>
                  <a:pt x="118216" y="1176926"/>
                  <a:pt x="130484" y="1154702"/>
                  <a:pt x="131493" y="1127593"/>
                </a:cubicBezTo>
                <a:cubicBezTo>
                  <a:pt x="132448" y="1101948"/>
                  <a:pt x="127125" y="1077868"/>
                  <a:pt x="108213" y="1058723"/>
                </a:cubicBezTo>
                <a:cubicBezTo>
                  <a:pt x="97010" y="1047381"/>
                  <a:pt x="85438" y="1036399"/>
                  <a:pt x="74370" y="1024929"/>
                </a:cubicBezTo>
                <a:cubicBezTo>
                  <a:pt x="63868" y="1014043"/>
                  <a:pt x="62267" y="1001475"/>
                  <a:pt x="68137" y="987550"/>
                </a:cubicBezTo>
                <a:cubicBezTo>
                  <a:pt x="74493" y="972473"/>
                  <a:pt x="80703" y="957319"/>
                  <a:pt x="86420" y="941991"/>
                </a:cubicBezTo>
                <a:cubicBezTo>
                  <a:pt x="100218" y="905001"/>
                  <a:pt x="99441" y="866690"/>
                  <a:pt x="97082" y="828037"/>
                </a:cubicBezTo>
                <a:cubicBezTo>
                  <a:pt x="94260" y="781809"/>
                  <a:pt x="76370" y="739899"/>
                  <a:pt x="61782" y="696973"/>
                </a:cubicBezTo>
                <a:cubicBezTo>
                  <a:pt x="45282" y="648419"/>
                  <a:pt x="33285" y="598770"/>
                  <a:pt x="26901" y="547868"/>
                </a:cubicBezTo>
                <a:cubicBezTo>
                  <a:pt x="24054" y="525160"/>
                  <a:pt x="21110" y="502364"/>
                  <a:pt x="20221" y="479529"/>
                </a:cubicBezTo>
                <a:cubicBezTo>
                  <a:pt x="18293" y="430013"/>
                  <a:pt x="26126" y="381610"/>
                  <a:pt x="40808" y="334388"/>
                </a:cubicBezTo>
                <a:cubicBezTo>
                  <a:pt x="48208" y="310588"/>
                  <a:pt x="55162" y="286441"/>
                  <a:pt x="65171" y="263707"/>
                </a:cubicBezTo>
                <a:cubicBezTo>
                  <a:pt x="81946" y="225606"/>
                  <a:pt x="106517" y="193071"/>
                  <a:pt x="142827" y="171003"/>
                </a:cubicBezTo>
                <a:cubicBezTo>
                  <a:pt x="152238" y="165283"/>
                  <a:pt x="162401" y="160787"/>
                  <a:pt x="172290" y="155872"/>
                </a:cubicBezTo>
                <a:cubicBezTo>
                  <a:pt x="177784" y="153142"/>
                  <a:pt x="183393" y="150635"/>
                  <a:pt x="189008" y="148158"/>
                </a:cubicBezTo>
                <a:cubicBezTo>
                  <a:pt x="199487" y="143534"/>
                  <a:pt x="207598" y="136426"/>
                  <a:pt x="212828" y="126123"/>
                </a:cubicBezTo>
                <a:cubicBezTo>
                  <a:pt x="214121" y="123575"/>
                  <a:pt x="215966" y="121304"/>
                  <a:pt x="217217" y="118740"/>
                </a:cubicBezTo>
                <a:cubicBezTo>
                  <a:pt x="224688" y="103433"/>
                  <a:pt x="237053" y="93440"/>
                  <a:pt x="253000" y="88998"/>
                </a:cubicBezTo>
                <a:cubicBezTo>
                  <a:pt x="275818" y="82642"/>
                  <a:pt x="299033" y="77711"/>
                  <a:pt x="322085" y="72193"/>
                </a:cubicBezTo>
                <a:cubicBezTo>
                  <a:pt x="324867" y="71527"/>
                  <a:pt x="327694" y="71045"/>
                  <a:pt x="330478" y="70387"/>
                </a:cubicBezTo>
                <a:cubicBezTo>
                  <a:pt x="364731" y="62297"/>
                  <a:pt x="364569" y="62151"/>
                  <a:pt x="388016" y="35457"/>
                </a:cubicBezTo>
                <a:cubicBezTo>
                  <a:pt x="398189" y="23875"/>
                  <a:pt x="409180" y="13010"/>
                  <a:pt x="421527" y="0"/>
                </a:cubicBezTo>
                <a:cubicBezTo>
                  <a:pt x="423000" y="5190"/>
                  <a:pt x="424219" y="7961"/>
                  <a:pt x="424538" y="10833"/>
                </a:cubicBezTo>
                <a:cubicBezTo>
                  <a:pt x="428638" y="47817"/>
                  <a:pt x="433030" y="84779"/>
                  <a:pt x="436339" y="121836"/>
                </a:cubicBezTo>
                <a:cubicBezTo>
                  <a:pt x="437236" y="131893"/>
                  <a:pt x="441545" y="137271"/>
                  <a:pt x="449983" y="141450"/>
                </a:cubicBezTo>
                <a:cubicBezTo>
                  <a:pt x="467954" y="150348"/>
                  <a:pt x="486187" y="158915"/>
                  <a:pt x="503299" y="169290"/>
                </a:cubicBezTo>
                <a:cubicBezTo>
                  <a:pt x="520041" y="179441"/>
                  <a:pt x="535883" y="191197"/>
                  <a:pt x="551461" y="203111"/>
                </a:cubicBezTo>
                <a:cubicBezTo>
                  <a:pt x="568416" y="216079"/>
                  <a:pt x="579195" y="234146"/>
                  <a:pt x="588803" y="252797"/>
                </a:cubicBezTo>
                <a:cubicBezTo>
                  <a:pt x="602134" y="278677"/>
                  <a:pt x="616556" y="303835"/>
                  <a:pt x="634209" y="327081"/>
                </a:cubicBezTo>
                <a:cubicBezTo>
                  <a:pt x="651797" y="350241"/>
                  <a:pt x="673980" y="368103"/>
                  <a:pt x="697923" y="384157"/>
                </a:cubicBezTo>
                <a:cubicBezTo>
                  <a:pt x="708787" y="391441"/>
                  <a:pt x="719007" y="399678"/>
                  <a:pt x="729658" y="407288"/>
                </a:cubicBezTo>
                <a:cubicBezTo>
                  <a:pt x="751657" y="423004"/>
                  <a:pt x="761259" y="445265"/>
                  <a:pt x="763354" y="471325"/>
                </a:cubicBezTo>
                <a:cubicBezTo>
                  <a:pt x="764877" y="490275"/>
                  <a:pt x="762919" y="509064"/>
                  <a:pt x="757092" y="527116"/>
                </a:cubicBezTo>
                <a:cubicBezTo>
                  <a:pt x="750932" y="546198"/>
                  <a:pt x="738296" y="560266"/>
                  <a:pt x="720673" y="570023"/>
                </a:cubicBezTo>
                <a:cubicBezTo>
                  <a:pt x="715048" y="573138"/>
                  <a:pt x="709487" y="576825"/>
                  <a:pt x="704918" y="581294"/>
                </a:cubicBezTo>
                <a:cubicBezTo>
                  <a:pt x="695625" y="590383"/>
                  <a:pt x="684728" y="595697"/>
                  <a:pt x="671960" y="595325"/>
                </a:cubicBezTo>
                <a:cubicBezTo>
                  <a:pt x="658939" y="594945"/>
                  <a:pt x="645743" y="594018"/>
                  <a:pt x="633021" y="591397"/>
                </a:cubicBezTo>
                <a:cubicBezTo>
                  <a:pt x="611233" y="586907"/>
                  <a:pt x="595034" y="572939"/>
                  <a:pt x="580696" y="556742"/>
                </a:cubicBezTo>
                <a:cubicBezTo>
                  <a:pt x="570081" y="544750"/>
                  <a:pt x="559052" y="533306"/>
                  <a:pt x="545415" y="524617"/>
                </a:cubicBezTo>
                <a:cubicBezTo>
                  <a:pt x="537261" y="519422"/>
                  <a:pt x="528551" y="515996"/>
                  <a:pt x="518889" y="516179"/>
                </a:cubicBezTo>
                <a:cubicBezTo>
                  <a:pt x="503357" y="516473"/>
                  <a:pt x="487839" y="517663"/>
                  <a:pt x="472309" y="517812"/>
                </a:cubicBezTo>
                <a:cubicBezTo>
                  <a:pt x="453527" y="517993"/>
                  <a:pt x="434738" y="517514"/>
                  <a:pt x="415953" y="517245"/>
                </a:cubicBezTo>
                <a:cubicBezTo>
                  <a:pt x="411976" y="517189"/>
                  <a:pt x="408003" y="516808"/>
                  <a:pt x="403392" y="516539"/>
                </a:cubicBezTo>
                <a:cubicBezTo>
                  <a:pt x="401207" y="526363"/>
                  <a:pt x="404857" y="534293"/>
                  <a:pt x="407957" y="542045"/>
                </a:cubicBezTo>
                <a:cubicBezTo>
                  <a:pt x="414092" y="557387"/>
                  <a:pt x="423168" y="571042"/>
                  <a:pt x="434134" y="583349"/>
                </a:cubicBezTo>
                <a:cubicBezTo>
                  <a:pt x="464083" y="616959"/>
                  <a:pt x="493980" y="650618"/>
                  <a:pt x="524267" y="683922"/>
                </a:cubicBezTo>
                <a:cubicBezTo>
                  <a:pt x="554818" y="717518"/>
                  <a:pt x="588291" y="748619"/>
                  <a:pt x="614317" y="786085"/>
                </a:cubicBezTo>
                <a:cubicBezTo>
                  <a:pt x="642656" y="826881"/>
                  <a:pt x="663974" y="871159"/>
                  <a:pt x="669590" y="921089"/>
                </a:cubicBezTo>
                <a:cubicBezTo>
                  <a:pt x="674894" y="968240"/>
                  <a:pt x="669774" y="1014226"/>
                  <a:pt x="647360" y="1057245"/>
                </a:cubicBezTo>
                <a:cubicBezTo>
                  <a:pt x="639830" y="1071697"/>
                  <a:pt x="630533" y="1085565"/>
                  <a:pt x="627872" y="1102111"/>
                </a:cubicBezTo>
                <a:cubicBezTo>
                  <a:pt x="623640" y="1128439"/>
                  <a:pt x="626183" y="1153784"/>
                  <a:pt x="642300" y="1175941"/>
                </a:cubicBezTo>
                <a:cubicBezTo>
                  <a:pt x="650201" y="1186801"/>
                  <a:pt x="659595" y="1196636"/>
                  <a:pt x="668829" y="1206449"/>
                </a:cubicBezTo>
                <a:cubicBezTo>
                  <a:pt x="679770" y="1218075"/>
                  <a:pt x="691267" y="1229177"/>
                  <a:pt x="703087" y="1241174"/>
                </a:cubicBezTo>
                <a:moveTo>
                  <a:pt x="648750" y="562343"/>
                </a:moveTo>
                <a:cubicBezTo>
                  <a:pt x="656729" y="562558"/>
                  <a:pt x="664698" y="567407"/>
                  <a:pt x="674049" y="562834"/>
                </a:cubicBezTo>
                <a:cubicBezTo>
                  <a:pt x="668990" y="558037"/>
                  <a:pt x="664729" y="554259"/>
                  <a:pt x="660781" y="550178"/>
                </a:cubicBezTo>
                <a:cubicBezTo>
                  <a:pt x="656713" y="545973"/>
                  <a:pt x="651493" y="542363"/>
                  <a:pt x="650911" y="534051"/>
                </a:cubicBezTo>
                <a:cubicBezTo>
                  <a:pt x="654940" y="535536"/>
                  <a:pt x="657753" y="536907"/>
                  <a:pt x="660724" y="537605"/>
                </a:cubicBezTo>
                <a:cubicBezTo>
                  <a:pt x="669824" y="539743"/>
                  <a:pt x="678915" y="542853"/>
                  <a:pt x="688133" y="543363"/>
                </a:cubicBezTo>
                <a:cubicBezTo>
                  <a:pt x="712019" y="544686"/>
                  <a:pt x="726964" y="534053"/>
                  <a:pt x="731514" y="510767"/>
                </a:cubicBezTo>
                <a:cubicBezTo>
                  <a:pt x="734296" y="496535"/>
                  <a:pt x="734146" y="481511"/>
                  <a:pt x="733611" y="466905"/>
                </a:cubicBezTo>
                <a:cubicBezTo>
                  <a:pt x="732951" y="448863"/>
                  <a:pt x="723348" y="435653"/>
                  <a:pt x="708076" y="425975"/>
                </a:cubicBezTo>
                <a:cubicBezTo>
                  <a:pt x="694258" y="417218"/>
                  <a:pt x="681056" y="407489"/>
                  <a:pt x="667538" y="398254"/>
                </a:cubicBezTo>
                <a:cubicBezTo>
                  <a:pt x="641278" y="380314"/>
                  <a:pt x="617580" y="359743"/>
                  <a:pt x="601016" y="332127"/>
                </a:cubicBezTo>
                <a:cubicBezTo>
                  <a:pt x="588810" y="311778"/>
                  <a:pt x="576093" y="291645"/>
                  <a:pt x="565354" y="270526"/>
                </a:cubicBezTo>
                <a:cubicBezTo>
                  <a:pt x="548401" y="237186"/>
                  <a:pt x="523821" y="212104"/>
                  <a:pt x="490657" y="195121"/>
                </a:cubicBezTo>
                <a:cubicBezTo>
                  <a:pt x="471346" y="185231"/>
                  <a:pt x="452394" y="174606"/>
                  <a:pt x="432834" y="165243"/>
                </a:cubicBezTo>
                <a:cubicBezTo>
                  <a:pt x="416725" y="157532"/>
                  <a:pt x="408325" y="145526"/>
                  <a:pt x="407594" y="127852"/>
                </a:cubicBezTo>
                <a:cubicBezTo>
                  <a:pt x="406783" y="108242"/>
                  <a:pt x="405935" y="88634"/>
                  <a:pt x="405020" y="69029"/>
                </a:cubicBezTo>
                <a:cubicBezTo>
                  <a:pt x="404882" y="66067"/>
                  <a:pt x="404287" y="63127"/>
                  <a:pt x="403638" y="58130"/>
                </a:cubicBezTo>
                <a:cubicBezTo>
                  <a:pt x="381792" y="82321"/>
                  <a:pt x="361650" y="104820"/>
                  <a:pt x="349776" y="133259"/>
                </a:cubicBezTo>
                <a:cubicBezTo>
                  <a:pt x="345032" y="144621"/>
                  <a:pt x="337822" y="153814"/>
                  <a:pt x="326975" y="159669"/>
                </a:cubicBezTo>
                <a:cubicBezTo>
                  <a:pt x="295461" y="176681"/>
                  <a:pt x="266610" y="197333"/>
                  <a:pt x="240374" y="221714"/>
                </a:cubicBezTo>
                <a:cubicBezTo>
                  <a:pt x="212881" y="247263"/>
                  <a:pt x="188313" y="275340"/>
                  <a:pt x="171637" y="309087"/>
                </a:cubicBezTo>
                <a:cubicBezTo>
                  <a:pt x="139180" y="374765"/>
                  <a:pt x="129692" y="444532"/>
                  <a:pt x="138048" y="516954"/>
                </a:cubicBezTo>
                <a:cubicBezTo>
                  <a:pt x="142936" y="559318"/>
                  <a:pt x="152518" y="600762"/>
                  <a:pt x="163889" y="641780"/>
                </a:cubicBezTo>
                <a:cubicBezTo>
                  <a:pt x="177329" y="690261"/>
                  <a:pt x="191989" y="738413"/>
                  <a:pt x="204800" y="787055"/>
                </a:cubicBezTo>
                <a:cubicBezTo>
                  <a:pt x="218820" y="840287"/>
                  <a:pt x="228587" y="894088"/>
                  <a:pt x="218549" y="949545"/>
                </a:cubicBezTo>
                <a:cubicBezTo>
                  <a:pt x="213279" y="978659"/>
                  <a:pt x="207130" y="1007359"/>
                  <a:pt x="191487" y="1033064"/>
                </a:cubicBezTo>
                <a:cubicBezTo>
                  <a:pt x="190499" y="1034686"/>
                  <a:pt x="190018" y="1036618"/>
                  <a:pt x="188729" y="1039835"/>
                </a:cubicBezTo>
                <a:cubicBezTo>
                  <a:pt x="200470" y="1040170"/>
                  <a:pt x="210952" y="1040298"/>
                  <a:pt x="221417" y="1040799"/>
                </a:cubicBezTo>
                <a:cubicBezTo>
                  <a:pt x="263912" y="1042835"/>
                  <a:pt x="306390" y="1046436"/>
                  <a:pt x="348895" y="1046759"/>
                </a:cubicBezTo>
                <a:cubicBezTo>
                  <a:pt x="414380" y="1047258"/>
                  <a:pt x="479896" y="1046092"/>
                  <a:pt x="545369" y="1044456"/>
                </a:cubicBezTo>
                <a:cubicBezTo>
                  <a:pt x="567764" y="1043897"/>
                  <a:pt x="590066" y="1039744"/>
                  <a:pt x="612424" y="1037365"/>
                </a:cubicBezTo>
                <a:cubicBezTo>
                  <a:pt x="617948" y="1036777"/>
                  <a:pt x="621342" y="1034139"/>
                  <a:pt x="623169" y="1028873"/>
                </a:cubicBezTo>
                <a:cubicBezTo>
                  <a:pt x="630975" y="1006370"/>
                  <a:pt x="637026" y="983472"/>
                  <a:pt x="638508" y="959599"/>
                </a:cubicBezTo>
                <a:cubicBezTo>
                  <a:pt x="641131" y="917363"/>
                  <a:pt x="628970" y="878727"/>
                  <a:pt x="609213" y="842075"/>
                </a:cubicBezTo>
                <a:cubicBezTo>
                  <a:pt x="587874" y="802491"/>
                  <a:pt x="559403" y="768169"/>
                  <a:pt x="529367" y="735065"/>
                </a:cubicBezTo>
                <a:cubicBezTo>
                  <a:pt x="487563" y="688992"/>
                  <a:pt x="445474" y="643176"/>
                  <a:pt x="403792" y="596993"/>
                </a:cubicBezTo>
                <a:cubicBezTo>
                  <a:pt x="380393" y="571066"/>
                  <a:pt x="360083" y="542922"/>
                  <a:pt x="344708" y="511366"/>
                </a:cubicBezTo>
                <a:cubicBezTo>
                  <a:pt x="324385" y="469655"/>
                  <a:pt x="317321" y="425966"/>
                  <a:pt x="324464" y="380084"/>
                </a:cubicBezTo>
                <a:cubicBezTo>
                  <a:pt x="324821" y="377789"/>
                  <a:pt x="326581" y="375713"/>
                  <a:pt x="327688" y="373535"/>
                </a:cubicBezTo>
                <a:cubicBezTo>
                  <a:pt x="328570" y="373570"/>
                  <a:pt x="329452" y="373606"/>
                  <a:pt x="330334" y="373641"/>
                </a:cubicBezTo>
                <a:cubicBezTo>
                  <a:pt x="331649" y="377308"/>
                  <a:pt x="333001" y="380963"/>
                  <a:pt x="334272" y="384645"/>
                </a:cubicBezTo>
                <a:cubicBezTo>
                  <a:pt x="342569" y="408660"/>
                  <a:pt x="351164" y="432573"/>
                  <a:pt x="365260" y="453955"/>
                </a:cubicBezTo>
                <a:cubicBezTo>
                  <a:pt x="375537" y="469544"/>
                  <a:pt x="388811" y="481767"/>
                  <a:pt x="408246" y="483592"/>
                </a:cubicBezTo>
                <a:cubicBezTo>
                  <a:pt x="426928" y="485346"/>
                  <a:pt x="445757" y="486037"/>
                  <a:pt x="464529" y="486187"/>
                </a:cubicBezTo>
                <a:cubicBezTo>
                  <a:pt x="480053" y="486311"/>
                  <a:pt x="495582" y="484792"/>
                  <a:pt x="511119" y="484308"/>
                </a:cubicBezTo>
                <a:cubicBezTo>
                  <a:pt x="532443" y="483644"/>
                  <a:pt x="551690" y="490014"/>
                  <a:pt x="567913" y="503736"/>
                </a:cubicBezTo>
                <a:cubicBezTo>
                  <a:pt x="581642" y="515348"/>
                  <a:pt x="594604" y="527888"/>
                  <a:pt x="607611" y="540326"/>
                </a:cubicBezTo>
                <a:cubicBezTo>
                  <a:pt x="618811" y="551038"/>
                  <a:pt x="631177" y="559300"/>
                  <a:pt x="648750" y="562343"/>
                </a:cubicBezTo>
                <a:moveTo>
                  <a:pt x="462594" y="1369008"/>
                </a:moveTo>
                <a:cubicBezTo>
                  <a:pt x="478517" y="1368137"/>
                  <a:pt x="494449" y="1367429"/>
                  <a:pt x="510357" y="1366345"/>
                </a:cubicBezTo>
                <a:cubicBezTo>
                  <a:pt x="523399" y="1365456"/>
                  <a:pt x="536424" y="1364247"/>
                  <a:pt x="549434" y="1362956"/>
                </a:cubicBezTo>
                <a:cubicBezTo>
                  <a:pt x="577089" y="1360213"/>
                  <a:pt x="604749" y="1357503"/>
                  <a:pt x="632369" y="1354439"/>
                </a:cubicBezTo>
                <a:cubicBezTo>
                  <a:pt x="653805" y="1352062"/>
                  <a:pt x="675183" y="1349170"/>
                  <a:pt x="697252" y="1346424"/>
                </a:cubicBezTo>
                <a:cubicBezTo>
                  <a:pt x="701148" y="1316348"/>
                  <a:pt x="695768" y="1289474"/>
                  <a:pt x="676674" y="1266396"/>
                </a:cubicBezTo>
                <a:cubicBezTo>
                  <a:pt x="667313" y="1255080"/>
                  <a:pt x="656878" y="1244625"/>
                  <a:pt x="646594" y="1234108"/>
                </a:cubicBezTo>
                <a:cubicBezTo>
                  <a:pt x="634298" y="1221533"/>
                  <a:pt x="621353" y="1209623"/>
                  <a:pt x="612063" y="1194382"/>
                </a:cubicBezTo>
                <a:cubicBezTo>
                  <a:pt x="596511" y="1168867"/>
                  <a:pt x="588079" y="1141707"/>
                  <a:pt x="591616" y="1111541"/>
                </a:cubicBezTo>
                <a:cubicBezTo>
                  <a:pt x="592450" y="1104432"/>
                  <a:pt x="593365" y="1097332"/>
                  <a:pt x="594320" y="1089609"/>
                </a:cubicBezTo>
                <a:cubicBezTo>
                  <a:pt x="588294" y="1089609"/>
                  <a:pt x="583452" y="1089392"/>
                  <a:pt x="578634" y="1089642"/>
                </a:cubicBezTo>
                <a:cubicBezTo>
                  <a:pt x="533732" y="1091976"/>
                  <a:pt x="488841" y="1094525"/>
                  <a:pt x="443931" y="1096700"/>
                </a:cubicBezTo>
                <a:cubicBezTo>
                  <a:pt x="430451" y="1097353"/>
                  <a:pt x="416923" y="1097005"/>
                  <a:pt x="403417" y="1097156"/>
                </a:cubicBezTo>
                <a:cubicBezTo>
                  <a:pt x="389337" y="1097313"/>
                  <a:pt x="388961" y="1097850"/>
                  <a:pt x="388348" y="1111502"/>
                </a:cubicBezTo>
                <a:cubicBezTo>
                  <a:pt x="387375" y="1133151"/>
                  <a:pt x="386231" y="1154793"/>
                  <a:pt x="385048" y="1176431"/>
                </a:cubicBezTo>
                <a:cubicBezTo>
                  <a:pt x="382637" y="1220514"/>
                  <a:pt x="380158" y="1264593"/>
                  <a:pt x="377687" y="1308672"/>
                </a:cubicBezTo>
                <a:cubicBezTo>
                  <a:pt x="377458" y="1312751"/>
                  <a:pt x="376852" y="1316821"/>
                  <a:pt x="376823" y="1320897"/>
                </a:cubicBezTo>
                <a:cubicBezTo>
                  <a:pt x="376717" y="1335880"/>
                  <a:pt x="376781" y="1350864"/>
                  <a:pt x="376781" y="1366151"/>
                </a:cubicBezTo>
                <a:cubicBezTo>
                  <a:pt x="404707" y="1370397"/>
                  <a:pt x="432477" y="1369351"/>
                  <a:pt x="462594" y="1369008"/>
                </a:cubicBezTo>
                <a:moveTo>
                  <a:pt x="648494" y="1463981"/>
                </a:moveTo>
                <a:cubicBezTo>
                  <a:pt x="671329" y="1460052"/>
                  <a:pt x="694163" y="1456122"/>
                  <a:pt x="718746" y="1451892"/>
                </a:cubicBezTo>
                <a:cubicBezTo>
                  <a:pt x="716257" y="1439067"/>
                  <a:pt x="714578" y="1427816"/>
                  <a:pt x="711827" y="1416835"/>
                </a:cubicBezTo>
                <a:cubicBezTo>
                  <a:pt x="707611" y="1400009"/>
                  <a:pt x="703502" y="1397423"/>
                  <a:pt x="685812" y="1398502"/>
                </a:cubicBezTo>
                <a:cubicBezTo>
                  <a:pt x="684179" y="1398602"/>
                  <a:pt x="682547" y="1398768"/>
                  <a:pt x="680924" y="1398973"/>
                </a:cubicBezTo>
                <a:cubicBezTo>
                  <a:pt x="653380" y="1402446"/>
                  <a:pt x="625911" y="1406752"/>
                  <a:pt x="598278" y="1409218"/>
                </a:cubicBezTo>
                <a:cubicBezTo>
                  <a:pt x="557171" y="1412886"/>
                  <a:pt x="515983" y="1415946"/>
                  <a:pt x="474765" y="1417945"/>
                </a:cubicBezTo>
                <a:cubicBezTo>
                  <a:pt x="444944" y="1419391"/>
                  <a:pt x="415021" y="1418680"/>
                  <a:pt x="385143" y="1418978"/>
                </a:cubicBezTo>
                <a:cubicBezTo>
                  <a:pt x="382419" y="1419005"/>
                  <a:pt x="379697" y="1419376"/>
                  <a:pt x="376639" y="1419613"/>
                </a:cubicBezTo>
                <a:cubicBezTo>
                  <a:pt x="376639" y="1438152"/>
                  <a:pt x="376639" y="1455909"/>
                  <a:pt x="376639" y="1473939"/>
                </a:cubicBezTo>
                <a:cubicBezTo>
                  <a:pt x="378971" y="1474343"/>
                  <a:pt x="380523" y="1474802"/>
                  <a:pt x="382089" y="1474854"/>
                </a:cubicBezTo>
                <a:cubicBezTo>
                  <a:pt x="404571" y="1475605"/>
                  <a:pt x="427058" y="1476986"/>
                  <a:pt x="449536" y="1476855"/>
                </a:cubicBezTo>
                <a:cubicBezTo>
                  <a:pt x="486344" y="1476639"/>
                  <a:pt x="523207" y="1476480"/>
                  <a:pt x="559930" y="1474307"/>
                </a:cubicBezTo>
                <a:cubicBezTo>
                  <a:pt x="588839" y="1472596"/>
                  <a:pt x="617570" y="1467884"/>
                  <a:pt x="648494" y="1463981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194" name="Free-form: Shape 9193">
            <a:extLst>
              <a:ext uri="{FF2B5EF4-FFF2-40B4-BE49-F238E27FC236}">
                <a16:creationId xmlns:a16="http://schemas.microsoft.com/office/drawing/2014/main" id="{C4354590-7C38-839B-9F44-AF5E445CE9A0}"/>
              </a:ext>
            </a:extLst>
          </p:cNvPr>
          <p:cNvSpPr/>
          <p:nvPr/>
        </p:nvSpPr>
        <p:spPr>
          <a:xfrm>
            <a:off x="3819527" y="4569422"/>
            <a:ext cx="497702" cy="821885"/>
          </a:xfrm>
          <a:custGeom>
            <a:avLst/>
            <a:gdLst>
              <a:gd name="csX0" fmla="*/ 512604 w 598747"/>
              <a:gd name="csY0" fmla="*/ 503918 h 988745"/>
              <a:gd name="csX1" fmla="*/ 472435 w 598747"/>
              <a:gd name="csY1" fmla="*/ 482196 h 988745"/>
              <a:gd name="csX2" fmla="*/ 432737 w 598747"/>
              <a:gd name="csY2" fmla="*/ 445605 h 988745"/>
              <a:gd name="csX3" fmla="*/ 375943 w 598747"/>
              <a:gd name="csY3" fmla="*/ 426178 h 988745"/>
              <a:gd name="csX4" fmla="*/ 329354 w 598747"/>
              <a:gd name="csY4" fmla="*/ 428057 h 988745"/>
              <a:gd name="csX5" fmla="*/ 273070 w 598747"/>
              <a:gd name="csY5" fmla="*/ 425461 h 988745"/>
              <a:gd name="csX6" fmla="*/ 230084 w 598747"/>
              <a:gd name="csY6" fmla="*/ 395825 h 988745"/>
              <a:gd name="csX7" fmla="*/ 199097 w 598747"/>
              <a:gd name="csY7" fmla="*/ 326515 h 988745"/>
              <a:gd name="csX8" fmla="*/ 195158 w 598747"/>
              <a:gd name="csY8" fmla="*/ 315511 h 988745"/>
              <a:gd name="csX9" fmla="*/ 192512 w 598747"/>
              <a:gd name="csY9" fmla="*/ 315405 h 988745"/>
              <a:gd name="csX10" fmla="*/ 189288 w 598747"/>
              <a:gd name="csY10" fmla="*/ 321954 h 988745"/>
              <a:gd name="csX11" fmla="*/ 209532 w 598747"/>
              <a:gd name="csY11" fmla="*/ 453235 h 988745"/>
              <a:gd name="csX12" fmla="*/ 268616 w 598747"/>
              <a:gd name="csY12" fmla="*/ 538863 h 988745"/>
              <a:gd name="csX13" fmla="*/ 394191 w 598747"/>
              <a:gd name="csY13" fmla="*/ 676935 h 988745"/>
              <a:gd name="csX14" fmla="*/ 474037 w 598747"/>
              <a:gd name="csY14" fmla="*/ 783945 h 988745"/>
              <a:gd name="csX15" fmla="*/ 503332 w 598747"/>
              <a:gd name="csY15" fmla="*/ 901469 h 988745"/>
              <a:gd name="csX16" fmla="*/ 487993 w 598747"/>
              <a:gd name="csY16" fmla="*/ 970743 h 988745"/>
              <a:gd name="csX17" fmla="*/ 477248 w 598747"/>
              <a:gd name="csY17" fmla="*/ 979235 h 988745"/>
              <a:gd name="csX18" fmla="*/ 410194 w 598747"/>
              <a:gd name="csY18" fmla="*/ 986326 h 988745"/>
              <a:gd name="csX19" fmla="*/ 213720 w 598747"/>
              <a:gd name="csY19" fmla="*/ 988629 h 988745"/>
              <a:gd name="csX20" fmla="*/ 86242 w 598747"/>
              <a:gd name="csY20" fmla="*/ 982669 h 988745"/>
              <a:gd name="csX21" fmla="*/ 53553 w 598747"/>
              <a:gd name="csY21" fmla="*/ 981705 h 988745"/>
              <a:gd name="csX22" fmla="*/ 56311 w 598747"/>
              <a:gd name="csY22" fmla="*/ 974933 h 988745"/>
              <a:gd name="csX23" fmla="*/ 83373 w 598747"/>
              <a:gd name="csY23" fmla="*/ 891414 h 988745"/>
              <a:gd name="csX24" fmla="*/ 69625 w 598747"/>
              <a:gd name="csY24" fmla="*/ 728925 h 988745"/>
              <a:gd name="csX25" fmla="*/ 28713 w 598747"/>
              <a:gd name="csY25" fmla="*/ 583650 h 988745"/>
              <a:gd name="csX26" fmla="*/ 2872 w 598747"/>
              <a:gd name="csY26" fmla="*/ 458823 h 988745"/>
              <a:gd name="csX27" fmla="*/ 36461 w 598747"/>
              <a:gd name="csY27" fmla="*/ 250957 h 988745"/>
              <a:gd name="csX28" fmla="*/ 105198 w 598747"/>
              <a:gd name="csY28" fmla="*/ 163584 h 988745"/>
              <a:gd name="csX29" fmla="*/ 191800 w 598747"/>
              <a:gd name="csY29" fmla="*/ 101539 h 988745"/>
              <a:gd name="csX30" fmla="*/ 214600 w 598747"/>
              <a:gd name="csY30" fmla="*/ 75129 h 988745"/>
              <a:gd name="csX31" fmla="*/ 268462 w 598747"/>
              <a:gd name="csY31" fmla="*/ 0 h 988745"/>
              <a:gd name="csX32" fmla="*/ 269844 w 598747"/>
              <a:gd name="csY32" fmla="*/ 10898 h 988745"/>
              <a:gd name="csX33" fmla="*/ 272418 w 598747"/>
              <a:gd name="csY33" fmla="*/ 69722 h 988745"/>
              <a:gd name="csX34" fmla="*/ 297658 w 598747"/>
              <a:gd name="csY34" fmla="*/ 107113 h 988745"/>
              <a:gd name="csX35" fmla="*/ 355481 w 598747"/>
              <a:gd name="csY35" fmla="*/ 136991 h 988745"/>
              <a:gd name="csX36" fmla="*/ 430178 w 598747"/>
              <a:gd name="csY36" fmla="*/ 212396 h 988745"/>
              <a:gd name="csX37" fmla="*/ 465840 w 598747"/>
              <a:gd name="csY37" fmla="*/ 273997 h 988745"/>
              <a:gd name="csX38" fmla="*/ 532362 w 598747"/>
              <a:gd name="csY38" fmla="*/ 340124 h 988745"/>
              <a:gd name="csX39" fmla="*/ 572901 w 598747"/>
              <a:gd name="csY39" fmla="*/ 367845 h 988745"/>
              <a:gd name="csX40" fmla="*/ 598436 w 598747"/>
              <a:gd name="csY40" fmla="*/ 408775 h 988745"/>
              <a:gd name="csX41" fmla="*/ 596339 w 598747"/>
              <a:gd name="csY41" fmla="*/ 452637 h 988745"/>
              <a:gd name="csX42" fmla="*/ 552957 w 598747"/>
              <a:gd name="csY42" fmla="*/ 485233 h 988745"/>
              <a:gd name="csX43" fmla="*/ 525548 w 598747"/>
              <a:gd name="csY43" fmla="*/ 479475 h 988745"/>
              <a:gd name="csX44" fmla="*/ 515736 w 598747"/>
              <a:gd name="csY44" fmla="*/ 475921 h 988745"/>
              <a:gd name="csX45" fmla="*/ 525605 w 598747"/>
              <a:gd name="csY45" fmla="*/ 492048 h 988745"/>
              <a:gd name="csX46" fmla="*/ 538873 w 598747"/>
              <a:gd name="csY46" fmla="*/ 504704 h 988745"/>
              <a:gd name="csX47" fmla="*/ 512604 w 598747"/>
              <a:gd name="csY47" fmla="*/ 503918 h 988745"/>
              <a:gd name="csX48" fmla="*/ 332072 w 598747"/>
              <a:gd name="csY48" fmla="*/ 218143 h 988745"/>
              <a:gd name="csX49" fmla="*/ 334388 w 598747"/>
              <a:gd name="csY49" fmla="*/ 226400 h 988745"/>
              <a:gd name="csX50" fmla="*/ 372370 w 598747"/>
              <a:gd name="csY50" fmla="*/ 254505 h 988745"/>
              <a:gd name="csX51" fmla="*/ 405258 w 598747"/>
              <a:gd name="csY51" fmla="*/ 252089 h 988745"/>
              <a:gd name="csX52" fmla="*/ 409167 w 598747"/>
              <a:gd name="csY52" fmla="*/ 244359 h 988745"/>
              <a:gd name="csX53" fmla="*/ 396364 w 598747"/>
              <a:gd name="csY53" fmla="*/ 219471 h 988745"/>
              <a:gd name="csX54" fmla="*/ 365755 w 598747"/>
              <a:gd name="csY54" fmla="*/ 195821 h 988745"/>
              <a:gd name="csX55" fmla="*/ 333572 w 598747"/>
              <a:gd name="csY55" fmla="*/ 188536 h 988745"/>
              <a:gd name="csX56" fmla="*/ 322931 w 598747"/>
              <a:gd name="csY56" fmla="*/ 190843 h 988745"/>
              <a:gd name="csX57" fmla="*/ 329041 w 598747"/>
              <a:gd name="csY57" fmla="*/ 203001 h 988745"/>
              <a:gd name="csX58" fmla="*/ 332072 w 598747"/>
              <a:gd name="csY58" fmla="*/ 218143 h 98874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</a:cxnLst>
            <a:rect l="l" t="t" r="r" b="b"/>
            <a:pathLst>
              <a:path w="598747" h="988745">
                <a:moveTo>
                  <a:pt x="512604" y="503918"/>
                </a:moveTo>
                <a:cubicBezTo>
                  <a:pt x="496002" y="501170"/>
                  <a:pt x="483635" y="492907"/>
                  <a:pt x="472435" y="482196"/>
                </a:cubicBezTo>
                <a:cubicBezTo>
                  <a:pt x="459429" y="469758"/>
                  <a:pt x="446467" y="457218"/>
                  <a:pt x="432737" y="445605"/>
                </a:cubicBezTo>
                <a:cubicBezTo>
                  <a:pt x="416514" y="431883"/>
                  <a:pt x="397267" y="425513"/>
                  <a:pt x="375943" y="426178"/>
                </a:cubicBezTo>
                <a:cubicBezTo>
                  <a:pt x="360407" y="426662"/>
                  <a:pt x="344877" y="428180"/>
                  <a:pt x="329354" y="428057"/>
                </a:cubicBezTo>
                <a:cubicBezTo>
                  <a:pt x="310581" y="427907"/>
                  <a:pt x="291752" y="427215"/>
                  <a:pt x="273070" y="425461"/>
                </a:cubicBezTo>
                <a:cubicBezTo>
                  <a:pt x="253636" y="423637"/>
                  <a:pt x="240361" y="411413"/>
                  <a:pt x="230084" y="395825"/>
                </a:cubicBezTo>
                <a:cubicBezTo>
                  <a:pt x="215988" y="374443"/>
                  <a:pt x="207393" y="350530"/>
                  <a:pt x="199097" y="326515"/>
                </a:cubicBezTo>
                <a:cubicBezTo>
                  <a:pt x="197825" y="322833"/>
                  <a:pt x="196473" y="319178"/>
                  <a:pt x="195158" y="315511"/>
                </a:cubicBezTo>
                <a:cubicBezTo>
                  <a:pt x="194276" y="315475"/>
                  <a:pt x="193394" y="315440"/>
                  <a:pt x="192512" y="315405"/>
                </a:cubicBezTo>
                <a:cubicBezTo>
                  <a:pt x="191405" y="317583"/>
                  <a:pt x="189646" y="319659"/>
                  <a:pt x="189288" y="321954"/>
                </a:cubicBezTo>
                <a:cubicBezTo>
                  <a:pt x="182145" y="367836"/>
                  <a:pt x="189209" y="411525"/>
                  <a:pt x="209532" y="453235"/>
                </a:cubicBezTo>
                <a:cubicBezTo>
                  <a:pt x="224908" y="484792"/>
                  <a:pt x="245217" y="512936"/>
                  <a:pt x="268616" y="538863"/>
                </a:cubicBezTo>
                <a:cubicBezTo>
                  <a:pt x="310298" y="585046"/>
                  <a:pt x="352387" y="630861"/>
                  <a:pt x="394191" y="676935"/>
                </a:cubicBezTo>
                <a:cubicBezTo>
                  <a:pt x="424227" y="710039"/>
                  <a:pt x="452698" y="744360"/>
                  <a:pt x="474037" y="783945"/>
                </a:cubicBezTo>
                <a:cubicBezTo>
                  <a:pt x="493795" y="820596"/>
                  <a:pt x="505956" y="859233"/>
                  <a:pt x="503332" y="901469"/>
                </a:cubicBezTo>
                <a:cubicBezTo>
                  <a:pt x="501850" y="925342"/>
                  <a:pt x="495799" y="948239"/>
                  <a:pt x="487993" y="970743"/>
                </a:cubicBezTo>
                <a:cubicBezTo>
                  <a:pt x="486166" y="976009"/>
                  <a:pt x="482772" y="978647"/>
                  <a:pt x="477248" y="979235"/>
                </a:cubicBezTo>
                <a:cubicBezTo>
                  <a:pt x="454890" y="981614"/>
                  <a:pt x="432589" y="985767"/>
                  <a:pt x="410194" y="986326"/>
                </a:cubicBezTo>
                <a:cubicBezTo>
                  <a:pt x="344720" y="987961"/>
                  <a:pt x="279205" y="989128"/>
                  <a:pt x="213720" y="988629"/>
                </a:cubicBezTo>
                <a:cubicBezTo>
                  <a:pt x="171215" y="988306"/>
                  <a:pt x="128736" y="984705"/>
                  <a:pt x="86242" y="982669"/>
                </a:cubicBezTo>
                <a:cubicBezTo>
                  <a:pt x="75776" y="982167"/>
                  <a:pt x="65294" y="982040"/>
                  <a:pt x="53553" y="981705"/>
                </a:cubicBezTo>
                <a:cubicBezTo>
                  <a:pt x="54842" y="978488"/>
                  <a:pt x="55323" y="976556"/>
                  <a:pt x="56311" y="974933"/>
                </a:cubicBezTo>
                <a:cubicBezTo>
                  <a:pt x="71955" y="949229"/>
                  <a:pt x="78103" y="920529"/>
                  <a:pt x="83373" y="891414"/>
                </a:cubicBezTo>
                <a:cubicBezTo>
                  <a:pt x="93411" y="835958"/>
                  <a:pt x="83645" y="782156"/>
                  <a:pt x="69625" y="728925"/>
                </a:cubicBezTo>
                <a:cubicBezTo>
                  <a:pt x="56813" y="680283"/>
                  <a:pt x="42153" y="632130"/>
                  <a:pt x="28713" y="583650"/>
                </a:cubicBezTo>
                <a:cubicBezTo>
                  <a:pt x="17342" y="542631"/>
                  <a:pt x="7760" y="501188"/>
                  <a:pt x="2872" y="458823"/>
                </a:cubicBezTo>
                <a:cubicBezTo>
                  <a:pt x="-5484" y="386401"/>
                  <a:pt x="4005" y="316635"/>
                  <a:pt x="36461" y="250957"/>
                </a:cubicBezTo>
                <a:cubicBezTo>
                  <a:pt x="53137" y="217210"/>
                  <a:pt x="77705" y="189133"/>
                  <a:pt x="105198" y="163584"/>
                </a:cubicBezTo>
                <a:cubicBezTo>
                  <a:pt x="131434" y="139203"/>
                  <a:pt x="160285" y="118551"/>
                  <a:pt x="191800" y="101539"/>
                </a:cubicBezTo>
                <a:cubicBezTo>
                  <a:pt x="202646" y="95684"/>
                  <a:pt x="209856" y="86491"/>
                  <a:pt x="214600" y="75129"/>
                </a:cubicBezTo>
                <a:cubicBezTo>
                  <a:pt x="226474" y="46689"/>
                  <a:pt x="246616" y="24191"/>
                  <a:pt x="268462" y="0"/>
                </a:cubicBezTo>
                <a:cubicBezTo>
                  <a:pt x="269111" y="4997"/>
                  <a:pt x="269706" y="7937"/>
                  <a:pt x="269844" y="10898"/>
                </a:cubicBezTo>
                <a:cubicBezTo>
                  <a:pt x="270760" y="30504"/>
                  <a:pt x="271607" y="50112"/>
                  <a:pt x="272418" y="69722"/>
                </a:cubicBezTo>
                <a:cubicBezTo>
                  <a:pt x="273150" y="87396"/>
                  <a:pt x="281549" y="99401"/>
                  <a:pt x="297658" y="107113"/>
                </a:cubicBezTo>
                <a:cubicBezTo>
                  <a:pt x="317218" y="116476"/>
                  <a:pt x="336170" y="127101"/>
                  <a:pt x="355481" y="136991"/>
                </a:cubicBezTo>
                <a:cubicBezTo>
                  <a:pt x="388645" y="153974"/>
                  <a:pt x="413226" y="179056"/>
                  <a:pt x="430178" y="212396"/>
                </a:cubicBezTo>
                <a:cubicBezTo>
                  <a:pt x="440917" y="233515"/>
                  <a:pt x="453634" y="253647"/>
                  <a:pt x="465840" y="273997"/>
                </a:cubicBezTo>
                <a:cubicBezTo>
                  <a:pt x="482404" y="301613"/>
                  <a:pt x="506102" y="322183"/>
                  <a:pt x="532362" y="340124"/>
                </a:cubicBezTo>
                <a:cubicBezTo>
                  <a:pt x="545881" y="349359"/>
                  <a:pt x="559082" y="359088"/>
                  <a:pt x="572901" y="367845"/>
                </a:cubicBezTo>
                <a:cubicBezTo>
                  <a:pt x="588172" y="377523"/>
                  <a:pt x="597775" y="390733"/>
                  <a:pt x="598436" y="408775"/>
                </a:cubicBezTo>
                <a:cubicBezTo>
                  <a:pt x="598970" y="423381"/>
                  <a:pt x="599120" y="438404"/>
                  <a:pt x="596339" y="452637"/>
                </a:cubicBezTo>
                <a:cubicBezTo>
                  <a:pt x="591789" y="475923"/>
                  <a:pt x="576843" y="486555"/>
                  <a:pt x="552957" y="485233"/>
                </a:cubicBezTo>
                <a:cubicBezTo>
                  <a:pt x="543740" y="484722"/>
                  <a:pt x="534648" y="481613"/>
                  <a:pt x="525548" y="479475"/>
                </a:cubicBezTo>
                <a:cubicBezTo>
                  <a:pt x="522577" y="478776"/>
                  <a:pt x="519764" y="477405"/>
                  <a:pt x="515736" y="475921"/>
                </a:cubicBezTo>
                <a:cubicBezTo>
                  <a:pt x="516318" y="484233"/>
                  <a:pt x="521537" y="487842"/>
                  <a:pt x="525605" y="492048"/>
                </a:cubicBezTo>
                <a:cubicBezTo>
                  <a:pt x="529554" y="496129"/>
                  <a:pt x="533815" y="499907"/>
                  <a:pt x="538873" y="504704"/>
                </a:cubicBezTo>
                <a:cubicBezTo>
                  <a:pt x="529522" y="509277"/>
                  <a:pt x="521553" y="504428"/>
                  <a:pt x="512604" y="503918"/>
                </a:cubicBezTo>
                <a:moveTo>
                  <a:pt x="332072" y="218143"/>
                </a:moveTo>
                <a:cubicBezTo>
                  <a:pt x="332837" y="220898"/>
                  <a:pt x="333478" y="223695"/>
                  <a:pt x="334388" y="226400"/>
                </a:cubicBezTo>
                <a:cubicBezTo>
                  <a:pt x="341073" y="246268"/>
                  <a:pt x="351614" y="254460"/>
                  <a:pt x="372370" y="254505"/>
                </a:cubicBezTo>
                <a:cubicBezTo>
                  <a:pt x="383333" y="254529"/>
                  <a:pt x="394312" y="253121"/>
                  <a:pt x="405258" y="252089"/>
                </a:cubicBezTo>
                <a:cubicBezTo>
                  <a:pt x="409961" y="251646"/>
                  <a:pt x="411340" y="248568"/>
                  <a:pt x="409167" y="244359"/>
                </a:cubicBezTo>
                <a:cubicBezTo>
                  <a:pt x="404885" y="236068"/>
                  <a:pt x="400139" y="227985"/>
                  <a:pt x="396364" y="219471"/>
                </a:cubicBezTo>
                <a:cubicBezTo>
                  <a:pt x="390350" y="205908"/>
                  <a:pt x="379963" y="198663"/>
                  <a:pt x="365755" y="195821"/>
                </a:cubicBezTo>
                <a:cubicBezTo>
                  <a:pt x="354973" y="193665"/>
                  <a:pt x="344291" y="191003"/>
                  <a:pt x="333572" y="188536"/>
                </a:cubicBezTo>
                <a:cubicBezTo>
                  <a:pt x="329511" y="187602"/>
                  <a:pt x="325579" y="187007"/>
                  <a:pt x="322931" y="190843"/>
                </a:cubicBezTo>
                <a:cubicBezTo>
                  <a:pt x="325138" y="195129"/>
                  <a:pt x="327613" y="198884"/>
                  <a:pt x="329041" y="203001"/>
                </a:cubicBezTo>
                <a:cubicBezTo>
                  <a:pt x="330500" y="207204"/>
                  <a:pt x="330929" y="211764"/>
                  <a:pt x="332072" y="218143"/>
                </a:cubicBezTo>
                <a:close/>
              </a:path>
            </a:pathLst>
          </a:custGeom>
          <a:solidFill>
            <a:srgbClr val="FEFEFE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195" name="Free-form: Shape 9194">
            <a:extLst>
              <a:ext uri="{FF2B5EF4-FFF2-40B4-BE49-F238E27FC236}">
                <a16:creationId xmlns:a16="http://schemas.microsoft.com/office/drawing/2014/main" id="{474BBE15-97ED-4D2C-E20F-06D2C560054D}"/>
              </a:ext>
            </a:extLst>
          </p:cNvPr>
          <p:cNvSpPr/>
          <p:nvPr/>
        </p:nvSpPr>
        <p:spPr>
          <a:xfrm>
            <a:off x="4020344" y="5426757"/>
            <a:ext cx="267393" cy="232628"/>
          </a:xfrm>
          <a:custGeom>
            <a:avLst/>
            <a:gdLst>
              <a:gd name="csX0" fmla="*/ 84645 w 321679"/>
              <a:gd name="csY0" fmla="*/ 279507 h 279857"/>
              <a:gd name="csX1" fmla="*/ 19 w 321679"/>
              <a:gd name="csY1" fmla="*/ 276629 h 279857"/>
              <a:gd name="csX2" fmla="*/ 61 w 321679"/>
              <a:gd name="csY2" fmla="*/ 231376 h 279857"/>
              <a:gd name="csX3" fmla="*/ 925 w 321679"/>
              <a:gd name="csY3" fmla="*/ 219150 h 279857"/>
              <a:gd name="csX4" fmla="*/ 8286 w 321679"/>
              <a:gd name="csY4" fmla="*/ 86910 h 279857"/>
              <a:gd name="csX5" fmla="*/ 11586 w 321679"/>
              <a:gd name="csY5" fmla="*/ 21981 h 279857"/>
              <a:gd name="csX6" fmla="*/ 26655 w 321679"/>
              <a:gd name="csY6" fmla="*/ 7635 h 279857"/>
              <a:gd name="csX7" fmla="*/ 67169 w 321679"/>
              <a:gd name="csY7" fmla="*/ 7178 h 279857"/>
              <a:gd name="csX8" fmla="*/ 201872 w 321679"/>
              <a:gd name="csY8" fmla="*/ 121 h 279857"/>
              <a:gd name="csX9" fmla="*/ 217558 w 321679"/>
              <a:gd name="csY9" fmla="*/ 87 h 279857"/>
              <a:gd name="csX10" fmla="*/ 214854 w 321679"/>
              <a:gd name="csY10" fmla="*/ 22019 h 279857"/>
              <a:gd name="csX11" fmla="*/ 235301 w 321679"/>
              <a:gd name="csY11" fmla="*/ 104861 h 279857"/>
              <a:gd name="csX12" fmla="*/ 269832 w 321679"/>
              <a:gd name="csY12" fmla="*/ 144587 h 279857"/>
              <a:gd name="csX13" fmla="*/ 299912 w 321679"/>
              <a:gd name="csY13" fmla="*/ 176874 h 279857"/>
              <a:gd name="csX14" fmla="*/ 320491 w 321679"/>
              <a:gd name="csY14" fmla="*/ 256903 h 279857"/>
              <a:gd name="csX15" fmla="*/ 255607 w 321679"/>
              <a:gd name="csY15" fmla="*/ 264918 h 279857"/>
              <a:gd name="csX16" fmla="*/ 172672 w 321679"/>
              <a:gd name="csY16" fmla="*/ 273435 h 279857"/>
              <a:gd name="csX17" fmla="*/ 133595 w 321679"/>
              <a:gd name="csY17" fmla="*/ 276823 h 279857"/>
              <a:gd name="csX18" fmla="*/ 84645 w 321679"/>
              <a:gd name="csY18" fmla="*/ 279507 h 27985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</a:cxnLst>
            <a:rect l="l" t="t" r="r" b="b"/>
            <a:pathLst>
              <a:path w="321679" h="279857">
                <a:moveTo>
                  <a:pt x="84645" y="279507"/>
                </a:moveTo>
                <a:cubicBezTo>
                  <a:pt x="55716" y="279830"/>
                  <a:pt x="27945" y="280875"/>
                  <a:pt x="19" y="276629"/>
                </a:cubicBezTo>
                <a:cubicBezTo>
                  <a:pt x="19" y="261343"/>
                  <a:pt x="-45" y="246359"/>
                  <a:pt x="61" y="231376"/>
                </a:cubicBezTo>
                <a:cubicBezTo>
                  <a:pt x="90" y="227299"/>
                  <a:pt x="696" y="223229"/>
                  <a:pt x="925" y="219150"/>
                </a:cubicBezTo>
                <a:cubicBezTo>
                  <a:pt x="3396" y="175071"/>
                  <a:pt x="5876" y="130992"/>
                  <a:pt x="8286" y="86910"/>
                </a:cubicBezTo>
                <a:cubicBezTo>
                  <a:pt x="9469" y="65271"/>
                  <a:pt x="10613" y="43630"/>
                  <a:pt x="11586" y="21981"/>
                </a:cubicBezTo>
                <a:cubicBezTo>
                  <a:pt x="12199" y="8328"/>
                  <a:pt x="12576" y="7792"/>
                  <a:pt x="26655" y="7635"/>
                </a:cubicBezTo>
                <a:cubicBezTo>
                  <a:pt x="40161" y="7484"/>
                  <a:pt x="53689" y="7831"/>
                  <a:pt x="67169" y="7178"/>
                </a:cubicBezTo>
                <a:cubicBezTo>
                  <a:pt x="112079" y="5004"/>
                  <a:pt x="156970" y="2455"/>
                  <a:pt x="201872" y="121"/>
                </a:cubicBezTo>
                <a:cubicBezTo>
                  <a:pt x="206690" y="-130"/>
                  <a:pt x="211533" y="87"/>
                  <a:pt x="217558" y="87"/>
                </a:cubicBezTo>
                <a:cubicBezTo>
                  <a:pt x="216603" y="7811"/>
                  <a:pt x="215688" y="14910"/>
                  <a:pt x="214854" y="22019"/>
                </a:cubicBezTo>
                <a:cubicBezTo>
                  <a:pt x="211318" y="52185"/>
                  <a:pt x="219749" y="79345"/>
                  <a:pt x="235301" y="104861"/>
                </a:cubicBezTo>
                <a:cubicBezTo>
                  <a:pt x="244591" y="120102"/>
                  <a:pt x="257536" y="132012"/>
                  <a:pt x="269832" y="144587"/>
                </a:cubicBezTo>
                <a:cubicBezTo>
                  <a:pt x="280116" y="155103"/>
                  <a:pt x="290551" y="165559"/>
                  <a:pt x="299912" y="176874"/>
                </a:cubicBezTo>
                <a:cubicBezTo>
                  <a:pt x="319006" y="199953"/>
                  <a:pt x="324386" y="226827"/>
                  <a:pt x="320491" y="256903"/>
                </a:cubicBezTo>
                <a:cubicBezTo>
                  <a:pt x="298421" y="259649"/>
                  <a:pt x="277043" y="262541"/>
                  <a:pt x="255607" y="264918"/>
                </a:cubicBezTo>
                <a:cubicBezTo>
                  <a:pt x="227987" y="267981"/>
                  <a:pt x="200327" y="270692"/>
                  <a:pt x="172672" y="273435"/>
                </a:cubicBezTo>
                <a:cubicBezTo>
                  <a:pt x="159662" y="274725"/>
                  <a:pt x="146637" y="275935"/>
                  <a:pt x="133595" y="276823"/>
                </a:cubicBezTo>
                <a:cubicBezTo>
                  <a:pt x="117688" y="277907"/>
                  <a:pt x="101755" y="278616"/>
                  <a:pt x="84645" y="279507"/>
                </a:cubicBezTo>
                <a:close/>
              </a:path>
            </a:pathLst>
          </a:custGeom>
          <a:solidFill>
            <a:srgbClr val="FDFEFE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196" name="Free-form: Shape 9195">
            <a:extLst>
              <a:ext uri="{FF2B5EF4-FFF2-40B4-BE49-F238E27FC236}">
                <a16:creationId xmlns:a16="http://schemas.microsoft.com/office/drawing/2014/main" id="{E3D10543-E925-BD34-391B-65601A577051}"/>
              </a:ext>
            </a:extLst>
          </p:cNvPr>
          <p:cNvSpPr/>
          <p:nvPr/>
        </p:nvSpPr>
        <p:spPr>
          <a:xfrm>
            <a:off x="4020241" y="5683418"/>
            <a:ext cx="284373" cy="65313"/>
          </a:xfrm>
          <a:custGeom>
            <a:avLst/>
            <a:gdLst>
              <a:gd name="csX0" fmla="*/ 270798 w 342106"/>
              <a:gd name="csY0" fmla="*/ 65953 h 78573"/>
              <a:gd name="csX1" fmla="*/ 183290 w 342106"/>
              <a:gd name="csY1" fmla="*/ 76017 h 78573"/>
              <a:gd name="csX2" fmla="*/ 72897 w 342106"/>
              <a:gd name="csY2" fmla="*/ 78565 h 78573"/>
              <a:gd name="csX3" fmla="*/ 5450 w 342106"/>
              <a:gd name="csY3" fmla="*/ 76564 h 78573"/>
              <a:gd name="csX4" fmla="*/ 0 w 342106"/>
              <a:gd name="csY4" fmla="*/ 75649 h 78573"/>
              <a:gd name="csX5" fmla="*/ 0 w 342106"/>
              <a:gd name="csY5" fmla="*/ 21324 h 78573"/>
              <a:gd name="csX6" fmla="*/ 8504 w 342106"/>
              <a:gd name="csY6" fmla="*/ 20688 h 78573"/>
              <a:gd name="csX7" fmla="*/ 98126 w 342106"/>
              <a:gd name="csY7" fmla="*/ 19655 h 78573"/>
              <a:gd name="csX8" fmla="*/ 221639 w 342106"/>
              <a:gd name="csY8" fmla="*/ 10929 h 78573"/>
              <a:gd name="csX9" fmla="*/ 304285 w 342106"/>
              <a:gd name="csY9" fmla="*/ 683 h 78573"/>
              <a:gd name="csX10" fmla="*/ 309173 w 342106"/>
              <a:gd name="csY10" fmla="*/ 212 h 78573"/>
              <a:gd name="csX11" fmla="*/ 335187 w 342106"/>
              <a:gd name="csY11" fmla="*/ 18545 h 78573"/>
              <a:gd name="csX12" fmla="*/ 342106 w 342106"/>
              <a:gd name="csY12" fmla="*/ 53602 h 78573"/>
              <a:gd name="csX13" fmla="*/ 270798 w 342106"/>
              <a:gd name="csY13" fmla="*/ 65953 h 7857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</a:cxnLst>
            <a:rect l="l" t="t" r="r" b="b"/>
            <a:pathLst>
              <a:path w="342106" h="78573">
                <a:moveTo>
                  <a:pt x="270798" y="65953"/>
                </a:moveTo>
                <a:cubicBezTo>
                  <a:pt x="240931" y="69594"/>
                  <a:pt x="212199" y="74306"/>
                  <a:pt x="183290" y="76017"/>
                </a:cubicBezTo>
                <a:cubicBezTo>
                  <a:pt x="146568" y="78191"/>
                  <a:pt x="109704" y="78349"/>
                  <a:pt x="72897" y="78565"/>
                </a:cubicBezTo>
                <a:cubicBezTo>
                  <a:pt x="50419" y="78697"/>
                  <a:pt x="27931" y="77315"/>
                  <a:pt x="5450" y="76564"/>
                </a:cubicBezTo>
                <a:cubicBezTo>
                  <a:pt x="3884" y="76512"/>
                  <a:pt x="2332" y="76053"/>
                  <a:pt x="0" y="75649"/>
                </a:cubicBezTo>
                <a:cubicBezTo>
                  <a:pt x="0" y="57619"/>
                  <a:pt x="0" y="39863"/>
                  <a:pt x="0" y="21324"/>
                </a:cubicBezTo>
                <a:cubicBezTo>
                  <a:pt x="3058" y="21086"/>
                  <a:pt x="5779" y="20715"/>
                  <a:pt x="8504" y="20688"/>
                </a:cubicBezTo>
                <a:cubicBezTo>
                  <a:pt x="38382" y="20390"/>
                  <a:pt x="68305" y="21101"/>
                  <a:pt x="98126" y="19655"/>
                </a:cubicBezTo>
                <a:cubicBezTo>
                  <a:pt x="139343" y="17657"/>
                  <a:pt x="180532" y="14597"/>
                  <a:pt x="221639" y="10929"/>
                </a:cubicBezTo>
                <a:cubicBezTo>
                  <a:pt x="249272" y="8463"/>
                  <a:pt x="276741" y="4156"/>
                  <a:pt x="304285" y="683"/>
                </a:cubicBezTo>
                <a:cubicBezTo>
                  <a:pt x="305908" y="478"/>
                  <a:pt x="307539" y="312"/>
                  <a:pt x="309173" y="212"/>
                </a:cubicBezTo>
                <a:cubicBezTo>
                  <a:pt x="326863" y="-867"/>
                  <a:pt x="330972" y="1719"/>
                  <a:pt x="335187" y="18545"/>
                </a:cubicBezTo>
                <a:cubicBezTo>
                  <a:pt x="337939" y="29526"/>
                  <a:pt x="339618" y="40777"/>
                  <a:pt x="342106" y="53602"/>
                </a:cubicBezTo>
                <a:cubicBezTo>
                  <a:pt x="317523" y="57833"/>
                  <a:pt x="294689" y="61762"/>
                  <a:pt x="270798" y="65953"/>
                </a:cubicBezTo>
                <a:close/>
              </a:path>
            </a:pathLst>
          </a:custGeom>
          <a:solidFill>
            <a:srgbClr val="FCFCFC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197" name="Free-form: Shape 9196">
            <a:extLst>
              <a:ext uri="{FF2B5EF4-FFF2-40B4-BE49-F238E27FC236}">
                <a16:creationId xmlns:a16="http://schemas.microsoft.com/office/drawing/2014/main" id="{5DA7A7F4-0E57-50DE-FE8D-971DF3D71ED8}"/>
              </a:ext>
            </a:extLst>
          </p:cNvPr>
          <p:cNvSpPr/>
          <p:nvPr/>
        </p:nvSpPr>
        <p:spPr>
          <a:xfrm>
            <a:off x="4087960" y="4725562"/>
            <a:ext cx="72517" cy="55415"/>
          </a:xfrm>
          <a:custGeom>
            <a:avLst/>
            <a:gdLst>
              <a:gd name="csX0" fmla="*/ 9010 w 87239"/>
              <a:gd name="csY0" fmla="*/ 29316 h 66665"/>
              <a:gd name="csX1" fmla="*/ 6110 w 87239"/>
              <a:gd name="csY1" fmla="*/ 15162 h 66665"/>
              <a:gd name="csX2" fmla="*/ 0 w 87239"/>
              <a:gd name="csY2" fmla="*/ 3003 h 66665"/>
              <a:gd name="csX3" fmla="*/ 10641 w 87239"/>
              <a:gd name="csY3" fmla="*/ 697 h 66665"/>
              <a:gd name="csX4" fmla="*/ 42824 w 87239"/>
              <a:gd name="csY4" fmla="*/ 7981 h 66665"/>
              <a:gd name="csX5" fmla="*/ 73433 w 87239"/>
              <a:gd name="csY5" fmla="*/ 31631 h 66665"/>
              <a:gd name="csX6" fmla="*/ 86236 w 87239"/>
              <a:gd name="csY6" fmla="*/ 56519 h 66665"/>
              <a:gd name="csX7" fmla="*/ 82327 w 87239"/>
              <a:gd name="csY7" fmla="*/ 64249 h 66665"/>
              <a:gd name="csX8" fmla="*/ 49439 w 87239"/>
              <a:gd name="csY8" fmla="*/ 66665 h 66665"/>
              <a:gd name="csX9" fmla="*/ 11457 w 87239"/>
              <a:gd name="csY9" fmla="*/ 38560 h 66665"/>
              <a:gd name="csX10" fmla="*/ 9010 w 87239"/>
              <a:gd name="csY10" fmla="*/ 29316 h 6666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</a:cxnLst>
            <a:rect l="l" t="t" r="r" b="b"/>
            <a:pathLst>
              <a:path w="87239" h="66665">
                <a:moveTo>
                  <a:pt x="9010" y="29316"/>
                </a:moveTo>
                <a:cubicBezTo>
                  <a:pt x="7998" y="23924"/>
                  <a:pt x="7568" y="19365"/>
                  <a:pt x="6110" y="15162"/>
                </a:cubicBezTo>
                <a:cubicBezTo>
                  <a:pt x="4682" y="11044"/>
                  <a:pt x="2207" y="7289"/>
                  <a:pt x="0" y="3003"/>
                </a:cubicBezTo>
                <a:cubicBezTo>
                  <a:pt x="2648" y="-833"/>
                  <a:pt x="6580" y="-238"/>
                  <a:pt x="10641" y="697"/>
                </a:cubicBezTo>
                <a:cubicBezTo>
                  <a:pt x="21360" y="3163"/>
                  <a:pt x="32042" y="5825"/>
                  <a:pt x="42824" y="7981"/>
                </a:cubicBezTo>
                <a:cubicBezTo>
                  <a:pt x="57032" y="10823"/>
                  <a:pt x="67419" y="18068"/>
                  <a:pt x="73433" y="31631"/>
                </a:cubicBezTo>
                <a:cubicBezTo>
                  <a:pt x="77208" y="40146"/>
                  <a:pt x="81954" y="48228"/>
                  <a:pt x="86236" y="56519"/>
                </a:cubicBezTo>
                <a:cubicBezTo>
                  <a:pt x="88409" y="60728"/>
                  <a:pt x="87030" y="63806"/>
                  <a:pt x="82327" y="64249"/>
                </a:cubicBezTo>
                <a:cubicBezTo>
                  <a:pt x="71381" y="65282"/>
                  <a:pt x="60402" y="66689"/>
                  <a:pt x="49439" y="66665"/>
                </a:cubicBezTo>
                <a:cubicBezTo>
                  <a:pt x="28683" y="66620"/>
                  <a:pt x="18142" y="58428"/>
                  <a:pt x="11457" y="38560"/>
                </a:cubicBezTo>
                <a:cubicBezTo>
                  <a:pt x="10547" y="35855"/>
                  <a:pt x="9906" y="33058"/>
                  <a:pt x="9010" y="29316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198" name="Oval 9197">
            <a:extLst>
              <a:ext uri="{FF2B5EF4-FFF2-40B4-BE49-F238E27FC236}">
                <a16:creationId xmlns:a16="http://schemas.microsoft.com/office/drawing/2014/main" id="{062DAEA4-87D5-6959-AD7B-99CD11772A00}"/>
              </a:ext>
            </a:extLst>
          </p:cNvPr>
          <p:cNvSpPr/>
          <p:nvPr/>
        </p:nvSpPr>
        <p:spPr>
          <a:xfrm>
            <a:off x="4819245" y="5666931"/>
            <a:ext cx="739960" cy="152189"/>
          </a:xfrm>
          <a:prstGeom prst="ellipse">
            <a:avLst/>
          </a:prstGeom>
          <a:solidFill>
            <a:schemeClr val="tx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199" name="Free-form: Shape 9198">
            <a:extLst>
              <a:ext uri="{FF2B5EF4-FFF2-40B4-BE49-F238E27FC236}">
                <a16:creationId xmlns:a16="http://schemas.microsoft.com/office/drawing/2014/main" id="{47723B3B-96EF-E2D7-B430-4B468962D894}"/>
              </a:ext>
            </a:extLst>
          </p:cNvPr>
          <p:cNvSpPr/>
          <p:nvPr/>
        </p:nvSpPr>
        <p:spPr>
          <a:xfrm>
            <a:off x="4899209" y="4365354"/>
            <a:ext cx="650203" cy="1414846"/>
          </a:xfrm>
          <a:custGeom>
            <a:avLst/>
            <a:gdLst>
              <a:gd name="csX0" fmla="*/ 466852 w 715223"/>
              <a:gd name="csY0" fmla="*/ 229083 h 1556330"/>
              <a:gd name="csX1" fmla="*/ 462328 w 715223"/>
              <a:gd name="csY1" fmla="*/ 242604 h 1556330"/>
              <a:gd name="csX2" fmla="*/ 496944 w 715223"/>
              <a:gd name="csY2" fmla="*/ 204739 h 1556330"/>
              <a:gd name="csX3" fmla="*/ 534359 w 715223"/>
              <a:gd name="csY3" fmla="*/ 270960 h 1556330"/>
              <a:gd name="csX4" fmla="*/ 540589 w 715223"/>
              <a:gd name="csY4" fmla="*/ 445986 h 1556330"/>
              <a:gd name="csX5" fmla="*/ 509727 w 715223"/>
              <a:gd name="csY5" fmla="*/ 496924 h 1556330"/>
              <a:gd name="csX6" fmla="*/ 505366 w 715223"/>
              <a:gd name="csY6" fmla="*/ 511893 h 1556330"/>
              <a:gd name="csX7" fmla="*/ 501982 w 715223"/>
              <a:gd name="csY7" fmla="*/ 530377 h 1556330"/>
              <a:gd name="csX8" fmla="*/ 505678 w 715223"/>
              <a:gd name="csY8" fmla="*/ 556455 h 1556330"/>
              <a:gd name="csX9" fmla="*/ 526115 w 715223"/>
              <a:gd name="csY9" fmla="*/ 591784 h 1556330"/>
              <a:gd name="csX10" fmla="*/ 541579 w 715223"/>
              <a:gd name="csY10" fmla="*/ 612264 h 1556330"/>
              <a:gd name="csX11" fmla="*/ 569572 w 715223"/>
              <a:gd name="csY11" fmla="*/ 643441 h 1556330"/>
              <a:gd name="csX12" fmla="*/ 555234 w 715223"/>
              <a:gd name="csY12" fmla="*/ 688473 h 1556330"/>
              <a:gd name="csX13" fmla="*/ 513278 w 715223"/>
              <a:gd name="csY13" fmla="*/ 700556 h 1556330"/>
              <a:gd name="csX14" fmla="*/ 488559 w 715223"/>
              <a:gd name="csY14" fmla="*/ 702821 h 1556330"/>
              <a:gd name="csX15" fmla="*/ 488544 w 715223"/>
              <a:gd name="csY15" fmla="*/ 718085 h 1556330"/>
              <a:gd name="csX16" fmla="*/ 526561 w 715223"/>
              <a:gd name="csY16" fmla="*/ 1010212 h 1556330"/>
              <a:gd name="csX17" fmla="*/ 569986 w 715223"/>
              <a:gd name="csY17" fmla="*/ 1153317 h 1556330"/>
              <a:gd name="csX18" fmla="*/ 587389 w 715223"/>
              <a:gd name="csY18" fmla="*/ 1172173 h 1556330"/>
              <a:gd name="csX19" fmla="*/ 606286 w 715223"/>
              <a:gd name="csY19" fmla="*/ 1180891 h 1556330"/>
              <a:gd name="csX20" fmla="*/ 613400 w 715223"/>
              <a:gd name="csY20" fmla="*/ 1204260 h 1556330"/>
              <a:gd name="csX21" fmla="*/ 605350 w 715223"/>
              <a:gd name="csY21" fmla="*/ 1216760 h 1556330"/>
              <a:gd name="csX22" fmla="*/ 600268 w 715223"/>
              <a:gd name="csY22" fmla="*/ 1220273 h 1556330"/>
              <a:gd name="csX23" fmla="*/ 610574 w 715223"/>
              <a:gd name="csY23" fmla="*/ 1258750 h 1556330"/>
              <a:gd name="csX24" fmla="*/ 672371 w 715223"/>
              <a:gd name="csY24" fmla="*/ 1319810 h 1556330"/>
              <a:gd name="csX25" fmla="*/ 675494 w 715223"/>
              <a:gd name="csY25" fmla="*/ 1323366 h 1556330"/>
              <a:gd name="csX26" fmla="*/ 692949 w 715223"/>
              <a:gd name="csY26" fmla="*/ 1396068 h 1556330"/>
              <a:gd name="csX27" fmla="*/ 690628 w 715223"/>
              <a:gd name="csY27" fmla="*/ 1414117 h 1556330"/>
              <a:gd name="csX28" fmla="*/ 695588 w 715223"/>
              <a:gd name="csY28" fmla="*/ 1421035 h 1556330"/>
              <a:gd name="csX29" fmla="*/ 694353 w 715223"/>
              <a:gd name="csY29" fmla="*/ 1425190 h 1556330"/>
              <a:gd name="csX30" fmla="*/ 689106 w 715223"/>
              <a:gd name="csY30" fmla="*/ 1428714 h 1556330"/>
              <a:gd name="csX31" fmla="*/ 695093 w 715223"/>
              <a:gd name="csY31" fmla="*/ 1428433 h 1556330"/>
              <a:gd name="csX32" fmla="*/ 697643 w 715223"/>
              <a:gd name="csY32" fmla="*/ 1432864 h 1556330"/>
              <a:gd name="csX33" fmla="*/ 698207 w 715223"/>
              <a:gd name="csY33" fmla="*/ 1441988 h 1556330"/>
              <a:gd name="csX34" fmla="*/ 715183 w 715223"/>
              <a:gd name="csY34" fmla="*/ 1508752 h 1556330"/>
              <a:gd name="csX35" fmla="*/ 701540 w 715223"/>
              <a:gd name="csY35" fmla="*/ 1526524 h 1556330"/>
              <a:gd name="csX36" fmla="*/ 581715 w 715223"/>
              <a:gd name="csY36" fmla="*/ 1548559 h 1556330"/>
              <a:gd name="csX37" fmla="*/ 522168 w 715223"/>
              <a:gd name="csY37" fmla="*/ 1553543 h 1556330"/>
              <a:gd name="csX38" fmla="*/ 450008 w 715223"/>
              <a:gd name="csY38" fmla="*/ 1556019 h 1556330"/>
              <a:gd name="csX39" fmla="*/ 245169 w 715223"/>
              <a:gd name="csY39" fmla="*/ 1553749 h 1556330"/>
              <a:gd name="csX40" fmla="*/ 221854 w 715223"/>
              <a:gd name="csY40" fmla="*/ 1553306 h 1556330"/>
              <a:gd name="csX41" fmla="*/ 168405 w 715223"/>
              <a:gd name="csY41" fmla="*/ 1548828 h 1556330"/>
              <a:gd name="csX42" fmla="*/ 126970 w 715223"/>
              <a:gd name="csY42" fmla="*/ 1546091 h 1556330"/>
              <a:gd name="csX43" fmla="*/ 104053 w 715223"/>
              <a:gd name="csY43" fmla="*/ 1542912 h 1556330"/>
              <a:gd name="csX44" fmla="*/ 65625 w 715223"/>
              <a:gd name="csY44" fmla="*/ 1536401 h 1556330"/>
              <a:gd name="csX45" fmla="*/ 10909 w 715223"/>
              <a:gd name="csY45" fmla="*/ 1524010 h 1556330"/>
              <a:gd name="csX46" fmla="*/ 8 w 715223"/>
              <a:gd name="csY46" fmla="*/ 1509263 h 1556330"/>
              <a:gd name="csX47" fmla="*/ 21158 w 715223"/>
              <a:gd name="csY47" fmla="*/ 1433611 h 1556330"/>
              <a:gd name="csX48" fmla="*/ 23462 w 715223"/>
              <a:gd name="csY48" fmla="*/ 1418658 h 1556330"/>
              <a:gd name="csX49" fmla="*/ 19643 w 715223"/>
              <a:gd name="csY49" fmla="*/ 1382324 h 1556330"/>
              <a:gd name="csX50" fmla="*/ 49060 w 715223"/>
              <a:gd name="csY50" fmla="*/ 1311832 h 1556330"/>
              <a:gd name="csX51" fmla="*/ 109176 w 715223"/>
              <a:gd name="csY51" fmla="*/ 1254078 h 1556330"/>
              <a:gd name="csX52" fmla="*/ 118319 w 715223"/>
              <a:gd name="csY52" fmla="*/ 1214801 h 1556330"/>
              <a:gd name="csX53" fmla="*/ 113082 w 715223"/>
              <a:gd name="csY53" fmla="*/ 1201084 h 1556330"/>
              <a:gd name="csX54" fmla="*/ 120417 w 715223"/>
              <a:gd name="csY54" fmla="*/ 1183950 h 1556330"/>
              <a:gd name="csX55" fmla="*/ 135209 w 715223"/>
              <a:gd name="csY55" fmla="*/ 1178138 h 1556330"/>
              <a:gd name="csX56" fmla="*/ 156535 w 715223"/>
              <a:gd name="csY56" fmla="*/ 1156396 h 1556330"/>
              <a:gd name="csX57" fmla="*/ 185647 w 715223"/>
              <a:gd name="csY57" fmla="*/ 1061682 h 1556330"/>
              <a:gd name="csX58" fmla="*/ 201074 w 715223"/>
              <a:gd name="csY58" fmla="*/ 1005093 h 1556330"/>
              <a:gd name="csX59" fmla="*/ 213864 w 715223"/>
              <a:gd name="csY59" fmla="*/ 943040 h 1556330"/>
              <a:gd name="csX60" fmla="*/ 223580 w 715223"/>
              <a:gd name="csY60" fmla="*/ 884167 h 1556330"/>
              <a:gd name="csX61" fmla="*/ 228827 w 715223"/>
              <a:gd name="csY61" fmla="*/ 839382 h 1556330"/>
              <a:gd name="csX62" fmla="*/ 233251 w 715223"/>
              <a:gd name="csY62" fmla="*/ 794539 h 1556330"/>
              <a:gd name="csX63" fmla="*/ 233413 w 715223"/>
              <a:gd name="csY63" fmla="*/ 708554 h 1556330"/>
              <a:gd name="csX64" fmla="*/ 232253 w 715223"/>
              <a:gd name="csY64" fmla="*/ 699181 h 1556330"/>
              <a:gd name="csX65" fmla="*/ 192775 w 715223"/>
              <a:gd name="csY65" fmla="*/ 693131 h 1556330"/>
              <a:gd name="csX66" fmla="*/ 166222 w 715223"/>
              <a:gd name="csY66" fmla="*/ 684229 h 1556330"/>
              <a:gd name="csX67" fmla="*/ 153485 w 715223"/>
              <a:gd name="csY67" fmla="*/ 649704 h 1556330"/>
              <a:gd name="csX68" fmla="*/ 179302 w 715223"/>
              <a:gd name="csY68" fmla="*/ 621006 h 1556330"/>
              <a:gd name="csX69" fmla="*/ 192182 w 715223"/>
              <a:gd name="csY69" fmla="*/ 601675 h 1556330"/>
              <a:gd name="csX70" fmla="*/ 204894 w 715223"/>
              <a:gd name="csY70" fmla="*/ 583417 h 1556330"/>
              <a:gd name="csX71" fmla="*/ 233213 w 715223"/>
              <a:gd name="csY71" fmla="*/ 564393 h 1556330"/>
              <a:gd name="csX72" fmla="*/ 229725 w 715223"/>
              <a:gd name="csY72" fmla="*/ 538177 h 1556330"/>
              <a:gd name="csX73" fmla="*/ 218771 w 715223"/>
              <a:gd name="csY73" fmla="*/ 532633 h 1556330"/>
              <a:gd name="csX74" fmla="*/ 215183 w 715223"/>
              <a:gd name="csY74" fmla="*/ 521568 h 1556330"/>
              <a:gd name="csX75" fmla="*/ 223368 w 715223"/>
              <a:gd name="csY75" fmla="*/ 508901 h 1556330"/>
              <a:gd name="csX76" fmla="*/ 218372 w 715223"/>
              <a:gd name="csY76" fmla="*/ 498135 h 1556330"/>
              <a:gd name="csX77" fmla="*/ 181440 w 715223"/>
              <a:gd name="csY77" fmla="*/ 432308 h 1556330"/>
              <a:gd name="csX78" fmla="*/ 167535 w 715223"/>
              <a:gd name="csY78" fmla="*/ 349841 h 1556330"/>
              <a:gd name="csX79" fmla="*/ 193488 w 715223"/>
              <a:gd name="csY79" fmla="*/ 262518 h 1556330"/>
              <a:gd name="csX80" fmla="*/ 237748 w 715223"/>
              <a:gd name="csY80" fmla="*/ 190690 h 1556330"/>
              <a:gd name="csX81" fmla="*/ 309459 w 715223"/>
              <a:gd name="csY81" fmla="*/ 102623 h 1556330"/>
              <a:gd name="csX82" fmla="*/ 310459 w 715223"/>
              <a:gd name="csY82" fmla="*/ 78521 h 1556330"/>
              <a:gd name="csX83" fmla="*/ 300267 w 715223"/>
              <a:gd name="csY83" fmla="*/ 57856 h 1556330"/>
              <a:gd name="csX84" fmla="*/ 332242 w 715223"/>
              <a:gd name="csY84" fmla="*/ 4422 h 1556330"/>
              <a:gd name="csX85" fmla="*/ 384904 w 715223"/>
              <a:gd name="csY85" fmla="*/ 5551 h 1556330"/>
              <a:gd name="csX86" fmla="*/ 409773 w 715223"/>
              <a:gd name="csY86" fmla="*/ 26778 h 1556330"/>
              <a:gd name="csX87" fmla="*/ 407026 w 715223"/>
              <a:gd name="csY87" fmla="*/ 46052 h 1556330"/>
              <a:gd name="csX88" fmla="*/ 402771 w 715223"/>
              <a:gd name="csY88" fmla="*/ 30951 h 1556330"/>
              <a:gd name="csX89" fmla="*/ 397038 w 715223"/>
              <a:gd name="csY89" fmla="*/ 30361 h 1556330"/>
              <a:gd name="csX90" fmla="*/ 360694 w 715223"/>
              <a:gd name="csY90" fmla="*/ 22760 h 1556330"/>
              <a:gd name="csX91" fmla="*/ 351669 w 715223"/>
              <a:gd name="csY91" fmla="*/ 31736 h 1556330"/>
              <a:gd name="csX92" fmla="*/ 351426 w 715223"/>
              <a:gd name="csY92" fmla="*/ 43987 h 1556330"/>
              <a:gd name="csX93" fmla="*/ 390968 w 715223"/>
              <a:gd name="csY93" fmla="*/ 68762 h 1556330"/>
              <a:gd name="csX94" fmla="*/ 401770 w 715223"/>
              <a:gd name="csY94" fmla="*/ 59025 h 1556330"/>
              <a:gd name="csX95" fmla="*/ 409619 w 715223"/>
              <a:gd name="csY95" fmla="*/ 55786 h 1556330"/>
              <a:gd name="csX96" fmla="*/ 410427 w 715223"/>
              <a:gd name="csY96" fmla="*/ 64256 h 1556330"/>
              <a:gd name="csX97" fmla="*/ 399453 w 715223"/>
              <a:gd name="csY97" fmla="*/ 81811 h 1556330"/>
              <a:gd name="csX98" fmla="*/ 399346 w 715223"/>
              <a:gd name="csY98" fmla="*/ 98083 h 1556330"/>
              <a:gd name="csX99" fmla="*/ 471592 w 715223"/>
              <a:gd name="csY99" fmla="*/ 180524 h 1556330"/>
              <a:gd name="csX100" fmla="*/ 473550 w 715223"/>
              <a:gd name="csY100" fmla="*/ 200923 h 1556330"/>
              <a:gd name="csX101" fmla="*/ 463677 w 715223"/>
              <a:gd name="csY101" fmla="*/ 223311 h 1556330"/>
              <a:gd name="csX102" fmla="*/ 466852 w 715223"/>
              <a:gd name="csY102" fmla="*/ 229083 h 1556330"/>
              <a:gd name="csX103" fmla="*/ 474186 w 715223"/>
              <a:gd name="csY103" fmla="*/ 928382 h 1556330"/>
              <a:gd name="csX104" fmla="*/ 459927 w 715223"/>
              <a:gd name="csY104" fmla="*/ 817790 h 1556330"/>
              <a:gd name="csX105" fmla="*/ 456025 w 715223"/>
              <a:gd name="csY105" fmla="*/ 706469 h 1556330"/>
              <a:gd name="csX106" fmla="*/ 366863 w 715223"/>
              <a:gd name="csY106" fmla="*/ 710754 h 1556330"/>
              <a:gd name="csX107" fmla="*/ 366159 w 715223"/>
              <a:gd name="csY107" fmla="*/ 719219 h 1556330"/>
              <a:gd name="csX108" fmla="*/ 364159 w 715223"/>
              <a:gd name="csY108" fmla="*/ 834581 h 1556330"/>
              <a:gd name="csX109" fmla="*/ 361633 w 715223"/>
              <a:gd name="csY109" fmla="*/ 940117 h 1556330"/>
              <a:gd name="csX110" fmla="*/ 358313 w 715223"/>
              <a:gd name="csY110" fmla="*/ 1053005 h 1556330"/>
              <a:gd name="csX111" fmla="*/ 358081 w 715223"/>
              <a:gd name="csY111" fmla="*/ 1057912 h 1556330"/>
              <a:gd name="csX112" fmla="*/ 353706 w 715223"/>
              <a:gd name="csY112" fmla="*/ 1164570 h 1556330"/>
              <a:gd name="csX113" fmla="*/ 354951 w 715223"/>
              <a:gd name="csY113" fmla="*/ 1172547 h 1556330"/>
              <a:gd name="csX114" fmla="*/ 540959 w 715223"/>
              <a:gd name="csY114" fmla="*/ 1175972 h 1556330"/>
              <a:gd name="csX115" fmla="*/ 474186 w 715223"/>
              <a:gd name="csY115" fmla="*/ 928382 h 1556330"/>
              <a:gd name="csX116" fmla="*/ 513768 w 715223"/>
              <a:gd name="csY116" fmla="*/ 1417676 h 1556330"/>
              <a:gd name="csX117" fmla="*/ 519822 w 715223"/>
              <a:gd name="csY117" fmla="*/ 1416700 h 1556330"/>
              <a:gd name="csX118" fmla="*/ 632041 w 715223"/>
              <a:gd name="csY118" fmla="*/ 1406122 h 1556330"/>
              <a:gd name="csX119" fmla="*/ 665040 w 715223"/>
              <a:gd name="csY119" fmla="*/ 1400634 h 1556330"/>
              <a:gd name="csX120" fmla="*/ 665677 w 715223"/>
              <a:gd name="csY120" fmla="*/ 1396126 h 1556330"/>
              <a:gd name="csX121" fmla="*/ 665529 w 715223"/>
              <a:gd name="csY121" fmla="*/ 1389994 h 1556330"/>
              <a:gd name="csX122" fmla="*/ 623046 w 715223"/>
              <a:gd name="csY122" fmla="*/ 1306238 h 1556330"/>
              <a:gd name="csX123" fmla="*/ 596015 w 715223"/>
              <a:gd name="csY123" fmla="*/ 1281285 h 1556330"/>
              <a:gd name="csX124" fmla="*/ 567683 w 715223"/>
              <a:gd name="csY124" fmla="*/ 1220059 h 1556330"/>
              <a:gd name="csX125" fmla="*/ 540273 w 715223"/>
              <a:gd name="csY125" fmla="*/ 1220129 h 1556330"/>
              <a:gd name="csX126" fmla="*/ 424010 w 715223"/>
              <a:gd name="csY126" fmla="*/ 1226781 h 1556330"/>
              <a:gd name="csX127" fmla="*/ 357832 w 715223"/>
              <a:gd name="csY127" fmla="*/ 1229178 h 1556330"/>
              <a:gd name="csX128" fmla="*/ 352386 w 715223"/>
              <a:gd name="csY128" fmla="*/ 1230616 h 1556330"/>
              <a:gd name="csX129" fmla="*/ 355852 w 715223"/>
              <a:gd name="csY129" fmla="*/ 1324222 h 1556330"/>
              <a:gd name="csX130" fmla="*/ 352930 w 715223"/>
              <a:gd name="csY130" fmla="*/ 1417867 h 1556330"/>
              <a:gd name="csX131" fmla="*/ 513768 w 715223"/>
              <a:gd name="csY131" fmla="*/ 1417676 h 1556330"/>
              <a:gd name="csX132" fmla="*/ 387930 w 715223"/>
              <a:gd name="csY132" fmla="*/ 499741 h 1556330"/>
              <a:gd name="csX133" fmla="*/ 456529 w 715223"/>
              <a:gd name="csY133" fmla="*/ 496826 h 1556330"/>
              <a:gd name="csX134" fmla="*/ 482355 w 715223"/>
              <a:gd name="csY134" fmla="*/ 485095 h 1556330"/>
              <a:gd name="csX135" fmla="*/ 528016 w 715223"/>
              <a:gd name="csY135" fmla="*/ 374829 h 1556330"/>
              <a:gd name="csX136" fmla="*/ 501375 w 715223"/>
              <a:gd name="csY136" fmla="*/ 261643 h 1556330"/>
              <a:gd name="csX137" fmla="*/ 493534 w 715223"/>
              <a:gd name="csY137" fmla="*/ 249818 h 1556330"/>
              <a:gd name="csX138" fmla="*/ 485920 w 715223"/>
              <a:gd name="csY138" fmla="*/ 260010 h 1556330"/>
              <a:gd name="csX139" fmla="*/ 453305 w 715223"/>
              <a:gd name="csY139" fmla="*/ 310523 h 1556330"/>
              <a:gd name="csX140" fmla="*/ 433678 w 715223"/>
              <a:gd name="csY140" fmla="*/ 338672 h 1556330"/>
              <a:gd name="csX141" fmla="*/ 403713 w 715223"/>
              <a:gd name="csY141" fmla="*/ 343710 h 1556330"/>
              <a:gd name="csX142" fmla="*/ 396427 w 715223"/>
              <a:gd name="csY142" fmla="*/ 315612 h 1556330"/>
              <a:gd name="csX143" fmla="*/ 399663 w 715223"/>
              <a:gd name="csY143" fmla="*/ 309000 h 1556330"/>
              <a:gd name="csX144" fmla="*/ 452097 w 715223"/>
              <a:gd name="csY144" fmla="*/ 200770 h 1556330"/>
              <a:gd name="csX145" fmla="*/ 450118 w 715223"/>
              <a:gd name="csY145" fmla="*/ 180596 h 1556330"/>
              <a:gd name="csX146" fmla="*/ 376545 w 715223"/>
              <a:gd name="csY146" fmla="*/ 105525 h 1556330"/>
              <a:gd name="csX147" fmla="*/ 368791 w 715223"/>
              <a:gd name="csY147" fmla="*/ 101653 h 1556330"/>
              <a:gd name="csX148" fmla="*/ 366449 w 715223"/>
              <a:gd name="csY148" fmla="*/ 144676 h 1556330"/>
              <a:gd name="csX149" fmla="*/ 365447 w 715223"/>
              <a:gd name="csY149" fmla="*/ 183946 h 1556330"/>
              <a:gd name="csX150" fmla="*/ 364738 w 715223"/>
              <a:gd name="csY150" fmla="*/ 298022 h 1556330"/>
              <a:gd name="csX151" fmla="*/ 373865 w 715223"/>
              <a:gd name="csY151" fmla="*/ 430096 h 1556330"/>
              <a:gd name="csX152" fmla="*/ 381088 w 715223"/>
              <a:gd name="csY152" fmla="*/ 492169 h 1556330"/>
              <a:gd name="csX153" fmla="*/ 387930 w 715223"/>
              <a:gd name="csY153" fmla="*/ 499741 h 1556330"/>
              <a:gd name="csX154" fmla="*/ 455850 w 715223"/>
              <a:gd name="csY154" fmla="*/ 1521476 h 1556330"/>
              <a:gd name="csX155" fmla="*/ 685121 w 715223"/>
              <a:gd name="csY155" fmla="*/ 1496509 h 1556330"/>
              <a:gd name="csX156" fmla="*/ 672999 w 715223"/>
              <a:gd name="csY156" fmla="*/ 1456665 h 1556330"/>
              <a:gd name="csX157" fmla="*/ 660009 w 715223"/>
              <a:gd name="csY157" fmla="*/ 1450249 h 1556330"/>
              <a:gd name="csX158" fmla="*/ 633248 w 715223"/>
              <a:gd name="csY158" fmla="*/ 1453589 h 1556330"/>
              <a:gd name="csX159" fmla="*/ 451131 w 715223"/>
              <a:gd name="csY159" fmla="*/ 1467458 h 1556330"/>
              <a:gd name="csX160" fmla="*/ 362719 w 715223"/>
              <a:gd name="csY160" fmla="*/ 1467934 h 1556330"/>
              <a:gd name="csX161" fmla="*/ 349983 w 715223"/>
              <a:gd name="csY161" fmla="*/ 1467936 h 1556330"/>
              <a:gd name="csX162" fmla="*/ 352220 w 715223"/>
              <a:gd name="csY162" fmla="*/ 1519140 h 1556330"/>
              <a:gd name="csX163" fmla="*/ 455850 w 715223"/>
              <a:gd name="csY163" fmla="*/ 1521476 h 1556330"/>
              <a:gd name="csX164" fmla="*/ 368682 w 715223"/>
              <a:gd name="csY164" fmla="*/ 544846 h 1556330"/>
              <a:gd name="csX165" fmla="*/ 363600 w 715223"/>
              <a:gd name="csY165" fmla="*/ 605633 h 1556330"/>
              <a:gd name="csX166" fmla="*/ 496351 w 715223"/>
              <a:gd name="csY166" fmla="*/ 601466 h 1556330"/>
              <a:gd name="csX167" fmla="*/ 485068 w 715223"/>
              <a:gd name="csY167" fmla="*/ 579288 h 1556330"/>
              <a:gd name="csX168" fmla="*/ 466524 w 715223"/>
              <a:gd name="csY168" fmla="*/ 541026 h 1556330"/>
              <a:gd name="csX169" fmla="*/ 465000 w 715223"/>
              <a:gd name="csY169" fmla="*/ 536289 h 1556330"/>
              <a:gd name="csX170" fmla="*/ 451328 w 715223"/>
              <a:gd name="csY170" fmla="*/ 536316 h 1556330"/>
              <a:gd name="csX171" fmla="*/ 390140 w 715223"/>
              <a:gd name="csY171" fmla="*/ 538979 h 1556330"/>
              <a:gd name="csX172" fmla="*/ 374215 w 715223"/>
              <a:gd name="csY172" fmla="*/ 539303 h 1556330"/>
              <a:gd name="csX173" fmla="*/ 368682 w 715223"/>
              <a:gd name="csY173" fmla="*/ 544846 h 1556330"/>
              <a:gd name="csX174" fmla="*/ 453915 w 715223"/>
              <a:gd name="csY174" fmla="*/ 635267 h 1556330"/>
              <a:gd name="csX175" fmla="*/ 374200 w 715223"/>
              <a:gd name="csY175" fmla="*/ 639402 h 1556330"/>
              <a:gd name="csX176" fmla="*/ 374200 w 715223"/>
              <a:gd name="csY176" fmla="*/ 673206 h 1556330"/>
              <a:gd name="csX177" fmla="*/ 386639 w 715223"/>
              <a:gd name="csY177" fmla="*/ 673718 h 1556330"/>
              <a:gd name="csX178" fmla="*/ 521198 w 715223"/>
              <a:gd name="csY178" fmla="*/ 668541 h 1556330"/>
              <a:gd name="csX179" fmla="*/ 534198 w 715223"/>
              <a:gd name="csY179" fmla="*/ 665521 h 1556330"/>
              <a:gd name="csX180" fmla="*/ 538413 w 715223"/>
              <a:gd name="csY180" fmla="*/ 652526 h 1556330"/>
              <a:gd name="csX181" fmla="*/ 529377 w 715223"/>
              <a:gd name="csY181" fmla="*/ 642895 h 1556330"/>
              <a:gd name="csX182" fmla="*/ 502829 w 715223"/>
              <a:gd name="csY182" fmla="*/ 634808 h 1556330"/>
              <a:gd name="csX183" fmla="*/ 453915 w 715223"/>
              <a:gd name="csY183" fmla="*/ 635267 h 155633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  <a:cxn ang="0">
                <a:pos x="csX170" y="csY170"/>
              </a:cxn>
              <a:cxn ang="0">
                <a:pos x="csX171" y="csY171"/>
              </a:cxn>
              <a:cxn ang="0">
                <a:pos x="csX172" y="csY172"/>
              </a:cxn>
              <a:cxn ang="0">
                <a:pos x="csX173" y="csY173"/>
              </a:cxn>
              <a:cxn ang="0">
                <a:pos x="csX174" y="csY174"/>
              </a:cxn>
              <a:cxn ang="0">
                <a:pos x="csX175" y="csY175"/>
              </a:cxn>
              <a:cxn ang="0">
                <a:pos x="csX176" y="csY176"/>
              </a:cxn>
              <a:cxn ang="0">
                <a:pos x="csX177" y="csY177"/>
              </a:cxn>
              <a:cxn ang="0">
                <a:pos x="csX178" y="csY178"/>
              </a:cxn>
              <a:cxn ang="0">
                <a:pos x="csX179" y="csY179"/>
              </a:cxn>
              <a:cxn ang="0">
                <a:pos x="csX180" y="csY180"/>
              </a:cxn>
              <a:cxn ang="0">
                <a:pos x="csX181" y="csY181"/>
              </a:cxn>
              <a:cxn ang="0">
                <a:pos x="csX182" y="csY182"/>
              </a:cxn>
              <a:cxn ang="0">
                <a:pos x="csX183" y="csY183"/>
              </a:cxn>
            </a:cxnLst>
            <a:rect l="l" t="t" r="r" b="b"/>
            <a:pathLst>
              <a:path w="715223" h="1556330">
                <a:moveTo>
                  <a:pt x="466852" y="229083"/>
                </a:moveTo>
                <a:cubicBezTo>
                  <a:pt x="465344" y="233590"/>
                  <a:pt x="463836" y="238097"/>
                  <a:pt x="462328" y="242604"/>
                </a:cubicBezTo>
                <a:cubicBezTo>
                  <a:pt x="476604" y="232528"/>
                  <a:pt x="484219" y="216936"/>
                  <a:pt x="496944" y="204739"/>
                </a:cubicBezTo>
                <a:cubicBezTo>
                  <a:pt x="511903" y="225901"/>
                  <a:pt x="524807" y="247414"/>
                  <a:pt x="534359" y="270960"/>
                </a:cubicBezTo>
                <a:cubicBezTo>
                  <a:pt x="557740" y="328591"/>
                  <a:pt x="560223" y="386926"/>
                  <a:pt x="540589" y="445986"/>
                </a:cubicBezTo>
                <a:cubicBezTo>
                  <a:pt x="534197" y="465215"/>
                  <a:pt x="524450" y="482672"/>
                  <a:pt x="509727" y="496924"/>
                </a:cubicBezTo>
                <a:cubicBezTo>
                  <a:pt x="505277" y="501232"/>
                  <a:pt x="502734" y="505157"/>
                  <a:pt x="505366" y="511893"/>
                </a:cubicBezTo>
                <a:cubicBezTo>
                  <a:pt x="507828" y="518196"/>
                  <a:pt x="505953" y="524402"/>
                  <a:pt x="501982" y="530377"/>
                </a:cubicBezTo>
                <a:cubicBezTo>
                  <a:pt x="495613" y="539961"/>
                  <a:pt x="496865" y="548901"/>
                  <a:pt x="505678" y="556455"/>
                </a:cubicBezTo>
                <a:cubicBezTo>
                  <a:pt x="516748" y="565943"/>
                  <a:pt x="523694" y="577557"/>
                  <a:pt x="526115" y="591784"/>
                </a:cubicBezTo>
                <a:cubicBezTo>
                  <a:pt x="527758" y="601445"/>
                  <a:pt x="532593" y="608029"/>
                  <a:pt x="541579" y="612264"/>
                </a:cubicBezTo>
                <a:cubicBezTo>
                  <a:pt x="555150" y="618662"/>
                  <a:pt x="564081" y="629523"/>
                  <a:pt x="569572" y="643441"/>
                </a:cubicBezTo>
                <a:cubicBezTo>
                  <a:pt x="576413" y="660776"/>
                  <a:pt x="570996" y="678245"/>
                  <a:pt x="555234" y="688473"/>
                </a:cubicBezTo>
                <a:cubicBezTo>
                  <a:pt x="542486" y="696746"/>
                  <a:pt x="528127" y="699474"/>
                  <a:pt x="513278" y="700556"/>
                </a:cubicBezTo>
                <a:cubicBezTo>
                  <a:pt x="505590" y="701115"/>
                  <a:pt x="497922" y="701952"/>
                  <a:pt x="488559" y="702821"/>
                </a:cubicBezTo>
                <a:cubicBezTo>
                  <a:pt x="488559" y="708552"/>
                  <a:pt x="488653" y="713320"/>
                  <a:pt x="488544" y="718085"/>
                </a:cubicBezTo>
                <a:cubicBezTo>
                  <a:pt x="486284" y="817406"/>
                  <a:pt x="502313" y="914319"/>
                  <a:pt x="526561" y="1010212"/>
                </a:cubicBezTo>
                <a:cubicBezTo>
                  <a:pt x="538799" y="1058612"/>
                  <a:pt x="553050" y="1106345"/>
                  <a:pt x="569986" y="1153317"/>
                </a:cubicBezTo>
                <a:cubicBezTo>
                  <a:pt x="573328" y="1162590"/>
                  <a:pt x="578279" y="1168740"/>
                  <a:pt x="587389" y="1172173"/>
                </a:cubicBezTo>
                <a:cubicBezTo>
                  <a:pt x="593869" y="1174616"/>
                  <a:pt x="600289" y="1177449"/>
                  <a:pt x="606286" y="1180891"/>
                </a:cubicBezTo>
                <a:cubicBezTo>
                  <a:pt x="617185" y="1187146"/>
                  <a:pt x="618776" y="1192931"/>
                  <a:pt x="613400" y="1204260"/>
                </a:cubicBezTo>
                <a:cubicBezTo>
                  <a:pt x="611475" y="1208315"/>
                  <a:pt x="609140" y="1212177"/>
                  <a:pt x="605350" y="1216760"/>
                </a:cubicBezTo>
                <a:cubicBezTo>
                  <a:pt x="602514" y="1218347"/>
                  <a:pt x="600399" y="1219189"/>
                  <a:pt x="600268" y="1220273"/>
                </a:cubicBezTo>
                <a:cubicBezTo>
                  <a:pt x="598551" y="1234430"/>
                  <a:pt x="599473" y="1247881"/>
                  <a:pt x="610574" y="1258750"/>
                </a:cubicBezTo>
                <a:cubicBezTo>
                  <a:pt x="631265" y="1279009"/>
                  <a:pt x="651790" y="1299438"/>
                  <a:pt x="672371" y="1319810"/>
                </a:cubicBezTo>
                <a:cubicBezTo>
                  <a:pt x="673495" y="1320922"/>
                  <a:pt x="674892" y="1321987"/>
                  <a:pt x="675494" y="1323366"/>
                </a:cubicBezTo>
                <a:cubicBezTo>
                  <a:pt x="685626" y="1346558"/>
                  <a:pt x="694775" y="1370031"/>
                  <a:pt x="692949" y="1396068"/>
                </a:cubicBezTo>
                <a:cubicBezTo>
                  <a:pt x="692525" y="1402108"/>
                  <a:pt x="691276" y="1408087"/>
                  <a:pt x="690628" y="1414117"/>
                </a:cubicBezTo>
                <a:cubicBezTo>
                  <a:pt x="690241" y="1417713"/>
                  <a:pt x="691290" y="1420628"/>
                  <a:pt x="695588" y="1421035"/>
                </a:cubicBezTo>
                <a:cubicBezTo>
                  <a:pt x="695527" y="1422155"/>
                  <a:pt x="695467" y="1423274"/>
                  <a:pt x="694353" y="1425190"/>
                </a:cubicBezTo>
                <a:cubicBezTo>
                  <a:pt x="691901" y="1426894"/>
                  <a:pt x="690503" y="1427804"/>
                  <a:pt x="689106" y="1428714"/>
                </a:cubicBezTo>
                <a:cubicBezTo>
                  <a:pt x="691101" y="1428620"/>
                  <a:pt x="693098" y="1428527"/>
                  <a:pt x="695093" y="1428433"/>
                </a:cubicBezTo>
                <a:cubicBezTo>
                  <a:pt x="695976" y="1429430"/>
                  <a:pt x="696859" y="1430427"/>
                  <a:pt x="697643" y="1432864"/>
                </a:cubicBezTo>
                <a:cubicBezTo>
                  <a:pt x="697724" y="1436887"/>
                  <a:pt x="697087" y="1439912"/>
                  <a:pt x="698207" y="1441988"/>
                </a:cubicBezTo>
                <a:cubicBezTo>
                  <a:pt x="709464" y="1462853"/>
                  <a:pt x="715798" y="1484864"/>
                  <a:pt x="715183" y="1508752"/>
                </a:cubicBezTo>
                <a:cubicBezTo>
                  <a:pt x="714863" y="1521166"/>
                  <a:pt x="713458" y="1523372"/>
                  <a:pt x="701540" y="1526524"/>
                </a:cubicBezTo>
                <a:cubicBezTo>
                  <a:pt x="662165" y="1536936"/>
                  <a:pt x="622006" y="1543243"/>
                  <a:pt x="581715" y="1548559"/>
                </a:cubicBezTo>
                <a:cubicBezTo>
                  <a:pt x="561988" y="1551162"/>
                  <a:pt x="542052" y="1552457"/>
                  <a:pt x="522168" y="1553543"/>
                </a:cubicBezTo>
                <a:cubicBezTo>
                  <a:pt x="498138" y="1554856"/>
                  <a:pt x="474063" y="1556013"/>
                  <a:pt x="450008" y="1556019"/>
                </a:cubicBezTo>
                <a:cubicBezTo>
                  <a:pt x="381724" y="1556035"/>
                  <a:pt x="313415" y="1557550"/>
                  <a:pt x="245169" y="1553749"/>
                </a:cubicBezTo>
                <a:cubicBezTo>
                  <a:pt x="237413" y="1553317"/>
                  <a:pt x="229596" y="1553867"/>
                  <a:pt x="221854" y="1553306"/>
                </a:cubicBezTo>
                <a:cubicBezTo>
                  <a:pt x="204023" y="1552015"/>
                  <a:pt x="186231" y="1550202"/>
                  <a:pt x="168405" y="1548828"/>
                </a:cubicBezTo>
                <a:cubicBezTo>
                  <a:pt x="154605" y="1547764"/>
                  <a:pt x="140762" y="1547242"/>
                  <a:pt x="126970" y="1546091"/>
                </a:cubicBezTo>
                <a:cubicBezTo>
                  <a:pt x="119295" y="1545451"/>
                  <a:pt x="111668" y="1544132"/>
                  <a:pt x="104053" y="1542912"/>
                </a:cubicBezTo>
                <a:cubicBezTo>
                  <a:pt x="91223" y="1540858"/>
                  <a:pt x="78344" y="1539011"/>
                  <a:pt x="65625" y="1536401"/>
                </a:cubicBezTo>
                <a:cubicBezTo>
                  <a:pt x="47307" y="1532642"/>
                  <a:pt x="29006" y="1528694"/>
                  <a:pt x="10909" y="1524010"/>
                </a:cubicBezTo>
                <a:cubicBezTo>
                  <a:pt x="744" y="1521379"/>
                  <a:pt x="119" y="1519620"/>
                  <a:pt x="8" y="1509263"/>
                </a:cubicBezTo>
                <a:cubicBezTo>
                  <a:pt x="-283" y="1482004"/>
                  <a:pt x="7525" y="1456906"/>
                  <a:pt x="21158" y="1433611"/>
                </a:cubicBezTo>
                <a:cubicBezTo>
                  <a:pt x="24128" y="1428537"/>
                  <a:pt x="25100" y="1424162"/>
                  <a:pt x="23462" y="1418658"/>
                </a:cubicBezTo>
                <a:cubicBezTo>
                  <a:pt x="19938" y="1406814"/>
                  <a:pt x="19145" y="1394638"/>
                  <a:pt x="19643" y="1382324"/>
                </a:cubicBezTo>
                <a:cubicBezTo>
                  <a:pt x="20741" y="1355171"/>
                  <a:pt x="29461" y="1331114"/>
                  <a:pt x="49060" y="1311832"/>
                </a:cubicBezTo>
                <a:cubicBezTo>
                  <a:pt x="68866" y="1292344"/>
                  <a:pt x="89102" y="1273294"/>
                  <a:pt x="109176" y="1254078"/>
                </a:cubicBezTo>
                <a:cubicBezTo>
                  <a:pt x="120788" y="1242961"/>
                  <a:pt x="123122" y="1229673"/>
                  <a:pt x="118319" y="1214801"/>
                </a:cubicBezTo>
                <a:cubicBezTo>
                  <a:pt x="116817" y="1210150"/>
                  <a:pt x="114697" y="1205702"/>
                  <a:pt x="113082" y="1201084"/>
                </a:cubicBezTo>
                <a:cubicBezTo>
                  <a:pt x="109606" y="1191147"/>
                  <a:pt x="110855" y="1188189"/>
                  <a:pt x="120417" y="1183950"/>
                </a:cubicBezTo>
                <a:cubicBezTo>
                  <a:pt x="125262" y="1181801"/>
                  <a:pt x="130109" y="1179394"/>
                  <a:pt x="135209" y="1178138"/>
                </a:cubicBezTo>
                <a:cubicBezTo>
                  <a:pt x="146972" y="1175241"/>
                  <a:pt x="153194" y="1166910"/>
                  <a:pt x="156535" y="1156396"/>
                </a:cubicBezTo>
                <a:cubicBezTo>
                  <a:pt x="166535" y="1124919"/>
                  <a:pt x="176229" y="1093339"/>
                  <a:pt x="185647" y="1061682"/>
                </a:cubicBezTo>
                <a:cubicBezTo>
                  <a:pt x="191222" y="1042945"/>
                  <a:pt x="196570" y="1024108"/>
                  <a:pt x="201074" y="1005093"/>
                </a:cubicBezTo>
                <a:cubicBezTo>
                  <a:pt x="205941" y="984550"/>
                  <a:pt x="210000" y="963801"/>
                  <a:pt x="213864" y="943040"/>
                </a:cubicBezTo>
                <a:cubicBezTo>
                  <a:pt x="217503" y="923489"/>
                  <a:pt x="220701" y="903846"/>
                  <a:pt x="223580" y="884167"/>
                </a:cubicBezTo>
                <a:cubicBezTo>
                  <a:pt x="225754" y="869301"/>
                  <a:pt x="227195" y="854324"/>
                  <a:pt x="228827" y="839382"/>
                </a:cubicBezTo>
                <a:cubicBezTo>
                  <a:pt x="230459" y="824446"/>
                  <a:pt x="232880" y="809515"/>
                  <a:pt x="233251" y="794539"/>
                </a:cubicBezTo>
                <a:cubicBezTo>
                  <a:pt x="233961" y="765893"/>
                  <a:pt x="233499" y="737217"/>
                  <a:pt x="233413" y="708554"/>
                </a:cubicBezTo>
                <a:cubicBezTo>
                  <a:pt x="233404" y="705465"/>
                  <a:pt x="232667" y="702378"/>
                  <a:pt x="232253" y="699181"/>
                </a:cubicBezTo>
                <a:cubicBezTo>
                  <a:pt x="218443" y="697138"/>
                  <a:pt x="205461" y="695831"/>
                  <a:pt x="192775" y="693131"/>
                </a:cubicBezTo>
                <a:cubicBezTo>
                  <a:pt x="183686" y="691197"/>
                  <a:pt x="174549" y="688305"/>
                  <a:pt x="166222" y="684229"/>
                </a:cubicBezTo>
                <a:cubicBezTo>
                  <a:pt x="151266" y="676909"/>
                  <a:pt x="147247" y="664789"/>
                  <a:pt x="153485" y="649704"/>
                </a:cubicBezTo>
                <a:cubicBezTo>
                  <a:pt x="158693" y="637111"/>
                  <a:pt x="168160" y="628190"/>
                  <a:pt x="179302" y="621006"/>
                </a:cubicBezTo>
                <a:cubicBezTo>
                  <a:pt x="186548" y="616334"/>
                  <a:pt x="191317" y="611105"/>
                  <a:pt x="192182" y="601675"/>
                </a:cubicBezTo>
                <a:cubicBezTo>
                  <a:pt x="192878" y="594094"/>
                  <a:pt x="197099" y="587626"/>
                  <a:pt x="204894" y="583417"/>
                </a:cubicBezTo>
                <a:cubicBezTo>
                  <a:pt x="214873" y="578030"/>
                  <a:pt x="224643" y="571774"/>
                  <a:pt x="233213" y="564393"/>
                </a:cubicBezTo>
                <a:cubicBezTo>
                  <a:pt x="242623" y="556289"/>
                  <a:pt x="240441" y="544193"/>
                  <a:pt x="229725" y="538177"/>
                </a:cubicBezTo>
                <a:cubicBezTo>
                  <a:pt x="226159" y="536176"/>
                  <a:pt x="222483" y="534351"/>
                  <a:pt x="218771" y="532633"/>
                </a:cubicBezTo>
                <a:cubicBezTo>
                  <a:pt x="213503" y="530196"/>
                  <a:pt x="212651" y="526226"/>
                  <a:pt x="215183" y="521568"/>
                </a:cubicBezTo>
                <a:cubicBezTo>
                  <a:pt x="217485" y="517332"/>
                  <a:pt x="220405" y="513432"/>
                  <a:pt x="223368" y="508901"/>
                </a:cubicBezTo>
                <a:cubicBezTo>
                  <a:pt x="221781" y="505376"/>
                  <a:pt x="220809" y="501165"/>
                  <a:pt x="218372" y="498135"/>
                </a:cubicBezTo>
                <a:cubicBezTo>
                  <a:pt x="202366" y="478231"/>
                  <a:pt x="190774" y="455961"/>
                  <a:pt x="181440" y="432308"/>
                </a:cubicBezTo>
                <a:cubicBezTo>
                  <a:pt x="170959" y="405748"/>
                  <a:pt x="164933" y="378186"/>
                  <a:pt x="167535" y="349841"/>
                </a:cubicBezTo>
                <a:cubicBezTo>
                  <a:pt x="170341" y="319265"/>
                  <a:pt x="179208" y="289917"/>
                  <a:pt x="193488" y="262518"/>
                </a:cubicBezTo>
                <a:cubicBezTo>
                  <a:pt x="206512" y="237529"/>
                  <a:pt x="220831" y="213359"/>
                  <a:pt x="237748" y="190690"/>
                </a:cubicBezTo>
                <a:cubicBezTo>
                  <a:pt x="260421" y="160310"/>
                  <a:pt x="282602" y="129592"/>
                  <a:pt x="309459" y="102623"/>
                </a:cubicBezTo>
                <a:cubicBezTo>
                  <a:pt x="316627" y="95424"/>
                  <a:pt x="316261" y="87541"/>
                  <a:pt x="310459" y="78521"/>
                </a:cubicBezTo>
                <a:cubicBezTo>
                  <a:pt x="306309" y="72071"/>
                  <a:pt x="301695" y="65150"/>
                  <a:pt x="300267" y="57856"/>
                </a:cubicBezTo>
                <a:cubicBezTo>
                  <a:pt x="295286" y="32423"/>
                  <a:pt x="314502" y="10133"/>
                  <a:pt x="332242" y="4422"/>
                </a:cubicBezTo>
                <a:cubicBezTo>
                  <a:pt x="349540" y="-1148"/>
                  <a:pt x="367530" y="-2176"/>
                  <a:pt x="384904" y="5551"/>
                </a:cubicBezTo>
                <a:cubicBezTo>
                  <a:pt x="395271" y="10161"/>
                  <a:pt x="403310" y="17760"/>
                  <a:pt x="409773" y="26778"/>
                </a:cubicBezTo>
                <a:cubicBezTo>
                  <a:pt x="415168" y="34307"/>
                  <a:pt x="413749" y="41584"/>
                  <a:pt x="407026" y="46052"/>
                </a:cubicBezTo>
                <a:cubicBezTo>
                  <a:pt x="405624" y="40964"/>
                  <a:pt x="404503" y="35849"/>
                  <a:pt x="402771" y="30951"/>
                </a:cubicBezTo>
                <a:cubicBezTo>
                  <a:pt x="401450" y="27216"/>
                  <a:pt x="399383" y="28477"/>
                  <a:pt x="397038" y="30361"/>
                </a:cubicBezTo>
                <a:cubicBezTo>
                  <a:pt x="384440" y="15986"/>
                  <a:pt x="377037" y="14494"/>
                  <a:pt x="360694" y="22760"/>
                </a:cubicBezTo>
                <a:cubicBezTo>
                  <a:pt x="353707" y="22767"/>
                  <a:pt x="352275" y="27176"/>
                  <a:pt x="351669" y="31736"/>
                </a:cubicBezTo>
                <a:cubicBezTo>
                  <a:pt x="351136" y="35760"/>
                  <a:pt x="351383" y="39899"/>
                  <a:pt x="351426" y="43987"/>
                </a:cubicBezTo>
                <a:cubicBezTo>
                  <a:pt x="351648" y="64919"/>
                  <a:pt x="372389" y="78115"/>
                  <a:pt x="390968" y="68762"/>
                </a:cubicBezTo>
                <a:cubicBezTo>
                  <a:pt x="395158" y="66653"/>
                  <a:pt x="398534" y="62629"/>
                  <a:pt x="401770" y="59025"/>
                </a:cubicBezTo>
                <a:cubicBezTo>
                  <a:pt x="404045" y="56491"/>
                  <a:pt x="405661" y="53409"/>
                  <a:pt x="409619" y="55786"/>
                </a:cubicBezTo>
                <a:cubicBezTo>
                  <a:pt x="413544" y="58145"/>
                  <a:pt x="412176" y="61347"/>
                  <a:pt x="410427" y="64256"/>
                </a:cubicBezTo>
                <a:cubicBezTo>
                  <a:pt x="406872" y="70170"/>
                  <a:pt x="403244" y="76046"/>
                  <a:pt x="399453" y="81811"/>
                </a:cubicBezTo>
                <a:cubicBezTo>
                  <a:pt x="394663" y="89097"/>
                  <a:pt x="394382" y="94032"/>
                  <a:pt x="399346" y="98083"/>
                </a:cubicBezTo>
                <a:cubicBezTo>
                  <a:pt x="428062" y="121519"/>
                  <a:pt x="450822" y="150083"/>
                  <a:pt x="471592" y="180524"/>
                </a:cubicBezTo>
                <a:cubicBezTo>
                  <a:pt x="476398" y="187569"/>
                  <a:pt x="476844" y="193688"/>
                  <a:pt x="473550" y="200923"/>
                </a:cubicBezTo>
                <a:cubicBezTo>
                  <a:pt x="470171" y="208346"/>
                  <a:pt x="467091" y="215905"/>
                  <a:pt x="463677" y="223311"/>
                </a:cubicBezTo>
                <a:cubicBezTo>
                  <a:pt x="461993" y="226965"/>
                  <a:pt x="462995" y="228697"/>
                  <a:pt x="466852" y="229083"/>
                </a:cubicBezTo>
                <a:moveTo>
                  <a:pt x="474186" y="928382"/>
                </a:moveTo>
                <a:cubicBezTo>
                  <a:pt x="469297" y="891529"/>
                  <a:pt x="462961" y="854794"/>
                  <a:pt x="459927" y="817790"/>
                </a:cubicBezTo>
                <a:cubicBezTo>
                  <a:pt x="456905" y="780939"/>
                  <a:pt x="457197" y="743817"/>
                  <a:pt x="456025" y="706469"/>
                </a:cubicBezTo>
                <a:cubicBezTo>
                  <a:pt x="425780" y="707923"/>
                  <a:pt x="396554" y="709327"/>
                  <a:pt x="366863" y="710754"/>
                </a:cubicBezTo>
                <a:cubicBezTo>
                  <a:pt x="366546" y="714450"/>
                  <a:pt x="366201" y="716832"/>
                  <a:pt x="366159" y="719219"/>
                </a:cubicBezTo>
                <a:cubicBezTo>
                  <a:pt x="365479" y="757672"/>
                  <a:pt x="364935" y="796129"/>
                  <a:pt x="364159" y="834581"/>
                </a:cubicBezTo>
                <a:cubicBezTo>
                  <a:pt x="363450" y="869762"/>
                  <a:pt x="362581" y="904941"/>
                  <a:pt x="361633" y="940117"/>
                </a:cubicBezTo>
                <a:cubicBezTo>
                  <a:pt x="360619" y="977749"/>
                  <a:pt x="359431" y="1015376"/>
                  <a:pt x="358313" y="1053005"/>
                </a:cubicBezTo>
                <a:cubicBezTo>
                  <a:pt x="358265" y="1054641"/>
                  <a:pt x="358149" y="1056276"/>
                  <a:pt x="358081" y="1057912"/>
                </a:cubicBezTo>
                <a:cubicBezTo>
                  <a:pt x="356598" y="1093463"/>
                  <a:pt x="355081" y="1129014"/>
                  <a:pt x="353706" y="1164570"/>
                </a:cubicBezTo>
                <a:cubicBezTo>
                  <a:pt x="353604" y="1167221"/>
                  <a:pt x="354516" y="1169911"/>
                  <a:pt x="354951" y="1172547"/>
                </a:cubicBezTo>
                <a:cubicBezTo>
                  <a:pt x="416984" y="1173689"/>
                  <a:pt x="478158" y="1174816"/>
                  <a:pt x="540959" y="1175972"/>
                </a:cubicBezTo>
                <a:cubicBezTo>
                  <a:pt x="513162" y="1094194"/>
                  <a:pt x="489081" y="1013598"/>
                  <a:pt x="474186" y="928382"/>
                </a:cubicBezTo>
                <a:moveTo>
                  <a:pt x="513768" y="1417676"/>
                </a:moveTo>
                <a:cubicBezTo>
                  <a:pt x="515785" y="1417344"/>
                  <a:pt x="517792" y="1416889"/>
                  <a:pt x="519822" y="1416700"/>
                </a:cubicBezTo>
                <a:cubicBezTo>
                  <a:pt x="557234" y="1413220"/>
                  <a:pt x="594682" y="1410089"/>
                  <a:pt x="632041" y="1406122"/>
                </a:cubicBezTo>
                <a:cubicBezTo>
                  <a:pt x="643122" y="1404945"/>
                  <a:pt x="654730" y="1405292"/>
                  <a:pt x="665040" y="1400634"/>
                </a:cubicBezTo>
                <a:cubicBezTo>
                  <a:pt x="665352" y="1398517"/>
                  <a:pt x="665651" y="1397324"/>
                  <a:pt x="665677" y="1396126"/>
                </a:cubicBezTo>
                <a:cubicBezTo>
                  <a:pt x="665722" y="1394084"/>
                  <a:pt x="665674" y="1392032"/>
                  <a:pt x="665529" y="1389994"/>
                </a:cubicBezTo>
                <a:cubicBezTo>
                  <a:pt x="663118" y="1356121"/>
                  <a:pt x="650063" y="1327787"/>
                  <a:pt x="623046" y="1306238"/>
                </a:cubicBezTo>
                <a:cubicBezTo>
                  <a:pt x="613485" y="1298611"/>
                  <a:pt x="605001" y="1289635"/>
                  <a:pt x="596015" y="1281285"/>
                </a:cubicBezTo>
                <a:cubicBezTo>
                  <a:pt x="578506" y="1265018"/>
                  <a:pt x="567837" y="1245446"/>
                  <a:pt x="567683" y="1220059"/>
                </a:cubicBezTo>
                <a:cubicBezTo>
                  <a:pt x="558046" y="1220059"/>
                  <a:pt x="549136" y="1219649"/>
                  <a:pt x="540273" y="1220129"/>
                </a:cubicBezTo>
                <a:cubicBezTo>
                  <a:pt x="501512" y="1222229"/>
                  <a:pt x="462775" y="1224768"/>
                  <a:pt x="424010" y="1226781"/>
                </a:cubicBezTo>
                <a:cubicBezTo>
                  <a:pt x="401969" y="1227926"/>
                  <a:pt x="379889" y="1228330"/>
                  <a:pt x="357832" y="1229178"/>
                </a:cubicBezTo>
                <a:cubicBezTo>
                  <a:pt x="355938" y="1229251"/>
                  <a:pt x="354076" y="1230151"/>
                  <a:pt x="352386" y="1230616"/>
                </a:cubicBezTo>
                <a:cubicBezTo>
                  <a:pt x="353642" y="1262222"/>
                  <a:pt x="355769" y="1293219"/>
                  <a:pt x="355852" y="1324222"/>
                </a:cubicBezTo>
                <a:cubicBezTo>
                  <a:pt x="355936" y="1355438"/>
                  <a:pt x="353988" y="1386659"/>
                  <a:pt x="352930" y="1417867"/>
                </a:cubicBezTo>
                <a:cubicBezTo>
                  <a:pt x="406069" y="1417867"/>
                  <a:pt x="458771" y="1417867"/>
                  <a:pt x="513768" y="1417676"/>
                </a:cubicBezTo>
                <a:moveTo>
                  <a:pt x="387930" y="499741"/>
                </a:moveTo>
                <a:cubicBezTo>
                  <a:pt x="410797" y="498777"/>
                  <a:pt x="433665" y="497860"/>
                  <a:pt x="456529" y="496826"/>
                </a:cubicBezTo>
                <a:cubicBezTo>
                  <a:pt x="466656" y="496369"/>
                  <a:pt x="475418" y="493371"/>
                  <a:pt x="482355" y="485095"/>
                </a:cubicBezTo>
                <a:cubicBezTo>
                  <a:pt x="509188" y="453083"/>
                  <a:pt x="525387" y="416636"/>
                  <a:pt x="528016" y="374829"/>
                </a:cubicBezTo>
                <a:cubicBezTo>
                  <a:pt x="530547" y="334558"/>
                  <a:pt x="520095" y="297041"/>
                  <a:pt x="501375" y="261643"/>
                </a:cubicBezTo>
                <a:cubicBezTo>
                  <a:pt x="499379" y="257869"/>
                  <a:pt x="496654" y="254482"/>
                  <a:pt x="493534" y="249818"/>
                </a:cubicBezTo>
                <a:cubicBezTo>
                  <a:pt x="490233" y="254212"/>
                  <a:pt x="487883" y="256986"/>
                  <a:pt x="485920" y="260010"/>
                </a:cubicBezTo>
                <a:cubicBezTo>
                  <a:pt x="475010" y="276824"/>
                  <a:pt x="464300" y="293767"/>
                  <a:pt x="453305" y="310523"/>
                </a:cubicBezTo>
                <a:cubicBezTo>
                  <a:pt x="447028" y="320089"/>
                  <a:pt x="440916" y="329858"/>
                  <a:pt x="433678" y="338672"/>
                </a:cubicBezTo>
                <a:cubicBezTo>
                  <a:pt x="425909" y="348131"/>
                  <a:pt x="413084" y="349691"/>
                  <a:pt x="403713" y="343710"/>
                </a:cubicBezTo>
                <a:cubicBezTo>
                  <a:pt x="394358" y="337739"/>
                  <a:pt x="391675" y="327526"/>
                  <a:pt x="396427" y="315612"/>
                </a:cubicBezTo>
                <a:cubicBezTo>
                  <a:pt x="397334" y="313339"/>
                  <a:pt x="398595" y="311210"/>
                  <a:pt x="399663" y="309000"/>
                </a:cubicBezTo>
                <a:cubicBezTo>
                  <a:pt x="417094" y="272900"/>
                  <a:pt x="434331" y="236704"/>
                  <a:pt x="452097" y="200770"/>
                </a:cubicBezTo>
                <a:cubicBezTo>
                  <a:pt x="455910" y="193060"/>
                  <a:pt x="455310" y="187173"/>
                  <a:pt x="450118" y="180596"/>
                </a:cubicBezTo>
                <a:cubicBezTo>
                  <a:pt x="428273" y="152922"/>
                  <a:pt x="405805" y="125901"/>
                  <a:pt x="376545" y="105525"/>
                </a:cubicBezTo>
                <a:cubicBezTo>
                  <a:pt x="374483" y="104089"/>
                  <a:pt x="372013" y="103239"/>
                  <a:pt x="368791" y="101653"/>
                </a:cubicBezTo>
                <a:cubicBezTo>
                  <a:pt x="367942" y="116965"/>
                  <a:pt x="367019" y="130814"/>
                  <a:pt x="366449" y="144676"/>
                </a:cubicBezTo>
                <a:cubicBezTo>
                  <a:pt x="365912" y="157758"/>
                  <a:pt x="365593" y="170854"/>
                  <a:pt x="365447" y="183946"/>
                </a:cubicBezTo>
                <a:cubicBezTo>
                  <a:pt x="365020" y="221975"/>
                  <a:pt x="363367" y="260055"/>
                  <a:pt x="364738" y="298022"/>
                </a:cubicBezTo>
                <a:cubicBezTo>
                  <a:pt x="366329" y="342101"/>
                  <a:pt x="370336" y="386106"/>
                  <a:pt x="373865" y="430096"/>
                </a:cubicBezTo>
                <a:cubicBezTo>
                  <a:pt x="375530" y="450849"/>
                  <a:pt x="378387" y="471514"/>
                  <a:pt x="381088" y="492169"/>
                </a:cubicBezTo>
                <a:cubicBezTo>
                  <a:pt x="381433" y="494807"/>
                  <a:pt x="384102" y="497143"/>
                  <a:pt x="387930" y="499741"/>
                </a:cubicBezTo>
                <a:moveTo>
                  <a:pt x="455850" y="1521476"/>
                </a:moveTo>
                <a:cubicBezTo>
                  <a:pt x="533043" y="1519612"/>
                  <a:pt x="609810" y="1514084"/>
                  <a:pt x="685121" y="1496509"/>
                </a:cubicBezTo>
                <a:cubicBezTo>
                  <a:pt x="683922" y="1481705"/>
                  <a:pt x="679199" y="1467708"/>
                  <a:pt x="672999" y="1456665"/>
                </a:cubicBezTo>
                <a:cubicBezTo>
                  <a:pt x="669933" y="1451203"/>
                  <a:pt x="666057" y="1449329"/>
                  <a:pt x="660009" y="1450249"/>
                </a:cubicBezTo>
                <a:cubicBezTo>
                  <a:pt x="651125" y="1451601"/>
                  <a:pt x="642144" y="1452308"/>
                  <a:pt x="633248" y="1453589"/>
                </a:cubicBezTo>
                <a:cubicBezTo>
                  <a:pt x="572852" y="1462289"/>
                  <a:pt x="511993" y="1465134"/>
                  <a:pt x="451131" y="1467458"/>
                </a:cubicBezTo>
                <a:cubicBezTo>
                  <a:pt x="421697" y="1468582"/>
                  <a:pt x="392192" y="1467837"/>
                  <a:pt x="362719" y="1467934"/>
                </a:cubicBezTo>
                <a:cubicBezTo>
                  <a:pt x="358386" y="1467948"/>
                  <a:pt x="354052" y="1467936"/>
                  <a:pt x="349983" y="1467936"/>
                </a:cubicBezTo>
                <a:cubicBezTo>
                  <a:pt x="347592" y="1485362"/>
                  <a:pt x="348606" y="1509458"/>
                  <a:pt x="352220" y="1519140"/>
                </a:cubicBezTo>
                <a:cubicBezTo>
                  <a:pt x="385617" y="1519916"/>
                  <a:pt x="419507" y="1520703"/>
                  <a:pt x="455850" y="1521476"/>
                </a:cubicBezTo>
                <a:moveTo>
                  <a:pt x="368682" y="544846"/>
                </a:moveTo>
                <a:cubicBezTo>
                  <a:pt x="374258" y="564891"/>
                  <a:pt x="370074" y="584394"/>
                  <a:pt x="363600" y="605633"/>
                </a:cubicBezTo>
                <a:cubicBezTo>
                  <a:pt x="408859" y="604212"/>
                  <a:pt x="452263" y="602850"/>
                  <a:pt x="496351" y="601466"/>
                </a:cubicBezTo>
                <a:cubicBezTo>
                  <a:pt x="496109" y="591095"/>
                  <a:pt x="491408" y="584247"/>
                  <a:pt x="485068" y="579288"/>
                </a:cubicBezTo>
                <a:cubicBezTo>
                  <a:pt x="472414" y="569391"/>
                  <a:pt x="466934" y="556602"/>
                  <a:pt x="466524" y="541026"/>
                </a:cubicBezTo>
                <a:cubicBezTo>
                  <a:pt x="466485" y="539528"/>
                  <a:pt x="465591" y="538053"/>
                  <a:pt x="465000" y="536289"/>
                </a:cubicBezTo>
                <a:cubicBezTo>
                  <a:pt x="460209" y="536289"/>
                  <a:pt x="455761" y="536132"/>
                  <a:pt x="451328" y="536316"/>
                </a:cubicBezTo>
                <a:cubicBezTo>
                  <a:pt x="430930" y="537159"/>
                  <a:pt x="410538" y="538137"/>
                  <a:pt x="390140" y="538979"/>
                </a:cubicBezTo>
                <a:cubicBezTo>
                  <a:pt x="384834" y="539198"/>
                  <a:pt x="379484" y="538790"/>
                  <a:pt x="374215" y="539303"/>
                </a:cubicBezTo>
                <a:cubicBezTo>
                  <a:pt x="372259" y="539494"/>
                  <a:pt x="370480" y="541498"/>
                  <a:pt x="368682" y="544846"/>
                </a:cubicBezTo>
                <a:moveTo>
                  <a:pt x="453915" y="635267"/>
                </a:moveTo>
                <a:cubicBezTo>
                  <a:pt x="427589" y="636632"/>
                  <a:pt x="401262" y="637998"/>
                  <a:pt x="374200" y="639402"/>
                </a:cubicBezTo>
                <a:cubicBezTo>
                  <a:pt x="374200" y="651578"/>
                  <a:pt x="374200" y="661970"/>
                  <a:pt x="374200" y="673206"/>
                </a:cubicBezTo>
                <a:cubicBezTo>
                  <a:pt x="378672" y="673406"/>
                  <a:pt x="382666" y="673863"/>
                  <a:pt x="386639" y="673718"/>
                </a:cubicBezTo>
                <a:cubicBezTo>
                  <a:pt x="431495" y="672082"/>
                  <a:pt x="476352" y="670422"/>
                  <a:pt x="521198" y="668541"/>
                </a:cubicBezTo>
                <a:cubicBezTo>
                  <a:pt x="525584" y="668357"/>
                  <a:pt x="530162" y="667254"/>
                  <a:pt x="534198" y="665521"/>
                </a:cubicBezTo>
                <a:cubicBezTo>
                  <a:pt x="540213" y="662938"/>
                  <a:pt x="541802" y="658194"/>
                  <a:pt x="538413" y="652526"/>
                </a:cubicBezTo>
                <a:cubicBezTo>
                  <a:pt x="536192" y="648813"/>
                  <a:pt x="532979" y="645251"/>
                  <a:pt x="529377" y="642895"/>
                </a:cubicBezTo>
                <a:cubicBezTo>
                  <a:pt x="521426" y="637695"/>
                  <a:pt x="512576" y="634669"/>
                  <a:pt x="502829" y="634808"/>
                </a:cubicBezTo>
                <a:cubicBezTo>
                  <a:pt x="487311" y="635030"/>
                  <a:pt x="471791" y="635092"/>
                  <a:pt x="453915" y="635267"/>
                </a:cubicBezTo>
                <a:close/>
              </a:path>
            </a:pathLst>
          </a:custGeom>
          <a:solidFill>
            <a:srgbClr val="CDD9DF"/>
          </a:solidFill>
          <a:ln w="12700" cap="flat">
            <a:solidFill>
              <a:srgbClr val="CDD9DF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200" name="Free-form: Shape 9199">
            <a:extLst>
              <a:ext uri="{FF2B5EF4-FFF2-40B4-BE49-F238E27FC236}">
                <a16:creationId xmlns:a16="http://schemas.microsoft.com/office/drawing/2014/main" id="{D22B0FD2-B9EE-087F-997F-8EA98889F4BA}"/>
              </a:ext>
            </a:extLst>
          </p:cNvPr>
          <p:cNvSpPr/>
          <p:nvPr/>
        </p:nvSpPr>
        <p:spPr>
          <a:xfrm>
            <a:off x="4890871" y="4358634"/>
            <a:ext cx="665488" cy="1428730"/>
          </a:xfrm>
          <a:custGeom>
            <a:avLst/>
            <a:gdLst>
              <a:gd name="csX0" fmla="*/ 406842 w 732037"/>
              <a:gd name="csY0" fmla="*/ 38347 h 1571603"/>
              <a:gd name="csX1" fmla="*/ 411944 w 732037"/>
              <a:gd name="csY1" fmla="*/ 38343 h 1571603"/>
              <a:gd name="csX2" fmla="*/ 416198 w 732037"/>
              <a:gd name="csY2" fmla="*/ 53444 h 1571603"/>
              <a:gd name="csX3" fmla="*/ 418945 w 732037"/>
              <a:gd name="csY3" fmla="*/ 34170 h 1571603"/>
              <a:gd name="csX4" fmla="*/ 394077 w 732037"/>
              <a:gd name="csY4" fmla="*/ 12943 h 1571603"/>
              <a:gd name="csX5" fmla="*/ 341415 w 732037"/>
              <a:gd name="csY5" fmla="*/ 11814 h 1571603"/>
              <a:gd name="csX6" fmla="*/ 309440 w 732037"/>
              <a:gd name="csY6" fmla="*/ 65249 h 1571603"/>
              <a:gd name="csX7" fmla="*/ 319632 w 732037"/>
              <a:gd name="csY7" fmla="*/ 85914 h 1571603"/>
              <a:gd name="csX8" fmla="*/ 318632 w 732037"/>
              <a:gd name="csY8" fmla="*/ 110015 h 1571603"/>
              <a:gd name="csX9" fmla="*/ 246921 w 732037"/>
              <a:gd name="csY9" fmla="*/ 198083 h 1571603"/>
              <a:gd name="csX10" fmla="*/ 202660 w 732037"/>
              <a:gd name="csY10" fmla="*/ 269911 h 1571603"/>
              <a:gd name="csX11" fmla="*/ 176707 w 732037"/>
              <a:gd name="csY11" fmla="*/ 357233 h 1571603"/>
              <a:gd name="csX12" fmla="*/ 190612 w 732037"/>
              <a:gd name="csY12" fmla="*/ 439700 h 1571603"/>
              <a:gd name="csX13" fmla="*/ 227544 w 732037"/>
              <a:gd name="csY13" fmla="*/ 505527 h 1571603"/>
              <a:gd name="csX14" fmla="*/ 232541 w 732037"/>
              <a:gd name="csY14" fmla="*/ 516294 h 1571603"/>
              <a:gd name="csX15" fmla="*/ 224356 w 732037"/>
              <a:gd name="csY15" fmla="*/ 528960 h 1571603"/>
              <a:gd name="csX16" fmla="*/ 227944 w 732037"/>
              <a:gd name="csY16" fmla="*/ 540026 h 1571603"/>
              <a:gd name="csX17" fmla="*/ 238897 w 732037"/>
              <a:gd name="csY17" fmla="*/ 545570 h 1571603"/>
              <a:gd name="csX18" fmla="*/ 242386 w 732037"/>
              <a:gd name="csY18" fmla="*/ 571785 h 1571603"/>
              <a:gd name="csX19" fmla="*/ 214067 w 732037"/>
              <a:gd name="csY19" fmla="*/ 590809 h 1571603"/>
              <a:gd name="csX20" fmla="*/ 201355 w 732037"/>
              <a:gd name="csY20" fmla="*/ 609067 h 1571603"/>
              <a:gd name="csX21" fmla="*/ 188474 w 732037"/>
              <a:gd name="csY21" fmla="*/ 628398 h 1571603"/>
              <a:gd name="csX22" fmla="*/ 162658 w 732037"/>
              <a:gd name="csY22" fmla="*/ 657096 h 1571603"/>
              <a:gd name="csX23" fmla="*/ 175395 w 732037"/>
              <a:gd name="csY23" fmla="*/ 691621 h 1571603"/>
              <a:gd name="csX24" fmla="*/ 201948 w 732037"/>
              <a:gd name="csY24" fmla="*/ 700523 h 1571603"/>
              <a:gd name="csX25" fmla="*/ 241426 w 732037"/>
              <a:gd name="csY25" fmla="*/ 706574 h 1571603"/>
              <a:gd name="csX26" fmla="*/ 242586 w 732037"/>
              <a:gd name="csY26" fmla="*/ 715946 h 1571603"/>
              <a:gd name="csX27" fmla="*/ 242424 w 732037"/>
              <a:gd name="csY27" fmla="*/ 801932 h 1571603"/>
              <a:gd name="csX28" fmla="*/ 238000 w 732037"/>
              <a:gd name="csY28" fmla="*/ 846774 h 1571603"/>
              <a:gd name="csX29" fmla="*/ 232752 w 732037"/>
              <a:gd name="csY29" fmla="*/ 891559 h 1571603"/>
              <a:gd name="csX30" fmla="*/ 223037 w 732037"/>
              <a:gd name="csY30" fmla="*/ 950433 h 1571603"/>
              <a:gd name="csX31" fmla="*/ 210247 w 732037"/>
              <a:gd name="csY31" fmla="*/ 1012485 h 1571603"/>
              <a:gd name="csX32" fmla="*/ 194820 w 732037"/>
              <a:gd name="csY32" fmla="*/ 1069074 h 1571603"/>
              <a:gd name="csX33" fmla="*/ 165707 w 732037"/>
              <a:gd name="csY33" fmla="*/ 1163788 h 1571603"/>
              <a:gd name="csX34" fmla="*/ 144382 w 732037"/>
              <a:gd name="csY34" fmla="*/ 1185530 h 1571603"/>
              <a:gd name="csX35" fmla="*/ 129590 w 732037"/>
              <a:gd name="csY35" fmla="*/ 1191342 h 1571603"/>
              <a:gd name="csX36" fmla="*/ 122255 w 732037"/>
              <a:gd name="csY36" fmla="*/ 1208476 h 1571603"/>
              <a:gd name="csX37" fmla="*/ 127491 w 732037"/>
              <a:gd name="csY37" fmla="*/ 1222193 h 1571603"/>
              <a:gd name="csX38" fmla="*/ 118348 w 732037"/>
              <a:gd name="csY38" fmla="*/ 1261470 h 1571603"/>
              <a:gd name="csX39" fmla="*/ 58232 w 732037"/>
              <a:gd name="csY39" fmla="*/ 1319224 h 1571603"/>
              <a:gd name="csX40" fmla="*/ 28815 w 732037"/>
              <a:gd name="csY40" fmla="*/ 1389717 h 1571603"/>
              <a:gd name="csX41" fmla="*/ 32634 w 732037"/>
              <a:gd name="csY41" fmla="*/ 1426050 h 1571603"/>
              <a:gd name="csX42" fmla="*/ 30331 w 732037"/>
              <a:gd name="csY42" fmla="*/ 1441003 h 1571603"/>
              <a:gd name="csX43" fmla="*/ 9180 w 732037"/>
              <a:gd name="csY43" fmla="*/ 1516655 h 1571603"/>
              <a:gd name="csX44" fmla="*/ 20082 w 732037"/>
              <a:gd name="csY44" fmla="*/ 1531402 h 1571603"/>
              <a:gd name="csX45" fmla="*/ 74798 w 732037"/>
              <a:gd name="csY45" fmla="*/ 1543794 h 1571603"/>
              <a:gd name="csX46" fmla="*/ 113225 w 732037"/>
              <a:gd name="csY46" fmla="*/ 1550305 h 1571603"/>
              <a:gd name="csX47" fmla="*/ 136142 w 732037"/>
              <a:gd name="csY47" fmla="*/ 1553484 h 1571603"/>
              <a:gd name="csX48" fmla="*/ 177578 w 732037"/>
              <a:gd name="csY48" fmla="*/ 1556220 h 1571603"/>
              <a:gd name="csX49" fmla="*/ 231027 w 732037"/>
              <a:gd name="csY49" fmla="*/ 1560698 h 1571603"/>
              <a:gd name="csX50" fmla="*/ 254342 w 732037"/>
              <a:gd name="csY50" fmla="*/ 1561142 h 1571603"/>
              <a:gd name="csX51" fmla="*/ 459180 w 732037"/>
              <a:gd name="csY51" fmla="*/ 1563411 h 1571603"/>
              <a:gd name="csX52" fmla="*/ 531340 w 732037"/>
              <a:gd name="csY52" fmla="*/ 1560936 h 1571603"/>
              <a:gd name="csX53" fmla="*/ 590888 w 732037"/>
              <a:gd name="csY53" fmla="*/ 1555951 h 1571603"/>
              <a:gd name="csX54" fmla="*/ 710712 w 732037"/>
              <a:gd name="csY54" fmla="*/ 1533916 h 1571603"/>
              <a:gd name="csX55" fmla="*/ 724356 w 732037"/>
              <a:gd name="csY55" fmla="*/ 1516144 h 1571603"/>
              <a:gd name="csX56" fmla="*/ 707380 w 732037"/>
              <a:gd name="csY56" fmla="*/ 1449380 h 1571603"/>
              <a:gd name="csX57" fmla="*/ 707050 w 732037"/>
              <a:gd name="csY57" fmla="*/ 1440881 h 1571603"/>
              <a:gd name="csX58" fmla="*/ 731479 w 732037"/>
              <a:gd name="csY58" fmla="*/ 1500017 h 1571603"/>
              <a:gd name="csX59" fmla="*/ 731163 w 732037"/>
              <a:gd name="csY59" fmla="*/ 1513759 h 1571603"/>
              <a:gd name="csX60" fmla="*/ 731650 w 732037"/>
              <a:gd name="csY60" fmla="*/ 1521766 h 1571603"/>
              <a:gd name="csX61" fmla="*/ 721896 w 732037"/>
              <a:gd name="csY61" fmla="*/ 1537319 h 1571603"/>
              <a:gd name="csX62" fmla="*/ 657740 w 732037"/>
              <a:gd name="csY62" fmla="*/ 1553265 h 1571603"/>
              <a:gd name="csX63" fmla="*/ 507791 w 732037"/>
              <a:gd name="csY63" fmla="*/ 1568943 h 1571603"/>
              <a:gd name="csX64" fmla="*/ 264676 w 732037"/>
              <a:gd name="csY64" fmla="*/ 1569724 h 1571603"/>
              <a:gd name="csX65" fmla="*/ 82743 w 732037"/>
              <a:gd name="csY65" fmla="*/ 1553254 h 1571603"/>
              <a:gd name="csX66" fmla="*/ 17072 w 732037"/>
              <a:gd name="csY66" fmla="*/ 1538153 h 1571603"/>
              <a:gd name="csX67" fmla="*/ 275 w 732037"/>
              <a:gd name="csY67" fmla="*/ 1513030 h 1571603"/>
              <a:gd name="csX68" fmla="*/ 20923 w 732037"/>
              <a:gd name="csY68" fmla="*/ 1441861 h 1571603"/>
              <a:gd name="csX69" fmla="*/ 23045 w 732037"/>
              <a:gd name="csY69" fmla="*/ 1423105 h 1571603"/>
              <a:gd name="csX70" fmla="*/ 30564 w 732037"/>
              <a:gd name="csY70" fmla="*/ 1346289 h 1571603"/>
              <a:gd name="csX71" fmla="*/ 71350 w 732037"/>
              <a:gd name="csY71" fmla="*/ 1295039 h 1571603"/>
              <a:gd name="csX72" fmla="*/ 112257 w 732037"/>
              <a:gd name="csY72" fmla="*/ 1255093 h 1571603"/>
              <a:gd name="csX73" fmla="*/ 115864 w 732037"/>
              <a:gd name="csY73" fmla="*/ 1217271 h 1571603"/>
              <a:gd name="csX74" fmla="*/ 112256 w 732037"/>
              <a:gd name="csY74" fmla="*/ 1210870 h 1571603"/>
              <a:gd name="csX75" fmla="*/ 121141 w 732037"/>
              <a:gd name="csY75" fmla="*/ 1186548 h 1571603"/>
              <a:gd name="csX76" fmla="*/ 136571 w 732037"/>
              <a:gd name="csY76" fmla="*/ 1179850 h 1571603"/>
              <a:gd name="csX77" fmla="*/ 158281 w 732037"/>
              <a:gd name="csY77" fmla="*/ 1157879 h 1571603"/>
              <a:gd name="csX78" fmla="*/ 187986 w 732037"/>
              <a:gd name="csY78" fmla="*/ 1059736 h 1571603"/>
              <a:gd name="csX79" fmla="*/ 217119 w 732037"/>
              <a:gd name="csY79" fmla="*/ 938896 h 1571603"/>
              <a:gd name="csX80" fmla="*/ 225792 w 732037"/>
              <a:gd name="csY80" fmla="*/ 893236 h 1571603"/>
              <a:gd name="csX81" fmla="*/ 226150 w 732037"/>
              <a:gd name="csY81" fmla="*/ 887970 h 1571603"/>
              <a:gd name="csX82" fmla="*/ 230782 w 732037"/>
              <a:gd name="csY82" fmla="*/ 853969 h 1571603"/>
              <a:gd name="csX83" fmla="*/ 230786 w 732037"/>
              <a:gd name="csY83" fmla="*/ 848558 h 1571603"/>
              <a:gd name="csX84" fmla="*/ 233315 w 732037"/>
              <a:gd name="csY84" fmla="*/ 824438 h 1571603"/>
              <a:gd name="csX85" fmla="*/ 233199 w 732037"/>
              <a:gd name="csY85" fmla="*/ 819050 h 1571603"/>
              <a:gd name="csX86" fmla="*/ 235848 w 732037"/>
              <a:gd name="csY86" fmla="*/ 782380 h 1571603"/>
              <a:gd name="csX87" fmla="*/ 237465 w 732037"/>
              <a:gd name="csY87" fmla="*/ 719113 h 1571603"/>
              <a:gd name="csX88" fmla="*/ 233057 w 732037"/>
              <a:gd name="csY88" fmla="*/ 713160 h 1571603"/>
              <a:gd name="csX89" fmla="*/ 203056 w 732037"/>
              <a:gd name="csY89" fmla="*/ 708405 h 1571603"/>
              <a:gd name="csX90" fmla="*/ 169628 w 732037"/>
              <a:gd name="csY90" fmla="*/ 698106 h 1571603"/>
              <a:gd name="csX91" fmla="*/ 153237 w 732037"/>
              <a:gd name="csY91" fmla="*/ 659111 h 1571603"/>
              <a:gd name="csX92" fmla="*/ 178365 w 732037"/>
              <a:gd name="csY92" fmla="*/ 626008 h 1571603"/>
              <a:gd name="csX93" fmla="*/ 191885 w 732037"/>
              <a:gd name="csY93" fmla="*/ 617513 h 1571603"/>
              <a:gd name="csX94" fmla="*/ 193681 w 732037"/>
              <a:gd name="csY94" fmla="*/ 610098 h 1571603"/>
              <a:gd name="csX95" fmla="*/ 213301 w 732037"/>
              <a:gd name="csY95" fmla="*/ 579885 h 1571603"/>
              <a:gd name="csX96" fmla="*/ 229635 w 732037"/>
              <a:gd name="csY96" fmla="*/ 571429 h 1571603"/>
              <a:gd name="csX97" fmla="*/ 237351 w 732037"/>
              <a:gd name="csY97" fmla="*/ 565882 h 1571603"/>
              <a:gd name="csX98" fmla="*/ 233673 w 732037"/>
              <a:gd name="csY98" fmla="*/ 550926 h 1571603"/>
              <a:gd name="csX99" fmla="*/ 226799 w 732037"/>
              <a:gd name="csY99" fmla="*/ 548359 h 1571603"/>
              <a:gd name="csX100" fmla="*/ 218639 w 732037"/>
              <a:gd name="csY100" fmla="*/ 522664 h 1571603"/>
              <a:gd name="csX101" fmla="*/ 218264 w 732037"/>
              <a:gd name="csY101" fmla="*/ 505463 h 1571603"/>
              <a:gd name="csX102" fmla="*/ 181762 w 732037"/>
              <a:gd name="csY102" fmla="*/ 437574 h 1571603"/>
              <a:gd name="csX103" fmla="*/ 185971 w 732037"/>
              <a:gd name="csY103" fmla="*/ 289069 h 1571603"/>
              <a:gd name="csX104" fmla="*/ 253787 w 732037"/>
              <a:gd name="csY104" fmla="*/ 175580 h 1571603"/>
              <a:gd name="csX105" fmla="*/ 309639 w 732037"/>
              <a:gd name="csY105" fmla="*/ 108695 h 1571603"/>
              <a:gd name="csX106" fmla="*/ 318061 w 732037"/>
              <a:gd name="csY106" fmla="*/ 98855 h 1571603"/>
              <a:gd name="csX107" fmla="*/ 304967 w 732037"/>
              <a:gd name="csY107" fmla="*/ 70056 h 1571603"/>
              <a:gd name="csX108" fmla="*/ 317012 w 732037"/>
              <a:gd name="csY108" fmla="*/ 19436 h 1571603"/>
              <a:gd name="csX109" fmla="*/ 415542 w 732037"/>
              <a:gd name="csY109" fmla="*/ 18221 h 1571603"/>
              <a:gd name="csX110" fmla="*/ 423203 w 732037"/>
              <a:gd name="csY110" fmla="*/ 82660 h 1571603"/>
              <a:gd name="csX111" fmla="*/ 413361 w 732037"/>
              <a:gd name="csY111" fmla="*/ 97975 h 1571603"/>
              <a:gd name="csX112" fmla="*/ 421654 w 732037"/>
              <a:gd name="csY112" fmla="*/ 106676 h 1571603"/>
              <a:gd name="csX113" fmla="*/ 487032 w 732037"/>
              <a:gd name="csY113" fmla="*/ 184632 h 1571603"/>
              <a:gd name="csX114" fmla="*/ 489213 w 732037"/>
              <a:gd name="csY114" fmla="*/ 208238 h 1571603"/>
              <a:gd name="csX115" fmla="*/ 476520 w 732037"/>
              <a:gd name="csY115" fmla="*/ 235738 h 1571603"/>
              <a:gd name="csX116" fmla="*/ 472850 w 732037"/>
              <a:gd name="csY116" fmla="*/ 230703 h 1571603"/>
              <a:gd name="csX117" fmla="*/ 482723 w 732037"/>
              <a:gd name="csY117" fmla="*/ 208315 h 1571603"/>
              <a:gd name="csX118" fmla="*/ 480764 w 732037"/>
              <a:gd name="csY118" fmla="*/ 187916 h 1571603"/>
              <a:gd name="csX119" fmla="*/ 408519 w 732037"/>
              <a:gd name="csY119" fmla="*/ 105475 h 1571603"/>
              <a:gd name="csX120" fmla="*/ 408625 w 732037"/>
              <a:gd name="csY120" fmla="*/ 89203 h 1571603"/>
              <a:gd name="csX121" fmla="*/ 419600 w 732037"/>
              <a:gd name="csY121" fmla="*/ 71648 h 1571603"/>
              <a:gd name="csX122" fmla="*/ 418792 w 732037"/>
              <a:gd name="csY122" fmla="*/ 63179 h 1571603"/>
              <a:gd name="csX123" fmla="*/ 410943 w 732037"/>
              <a:gd name="csY123" fmla="*/ 66417 h 1571603"/>
              <a:gd name="csX124" fmla="*/ 400140 w 732037"/>
              <a:gd name="csY124" fmla="*/ 76155 h 1571603"/>
              <a:gd name="csX125" fmla="*/ 360599 w 732037"/>
              <a:gd name="csY125" fmla="*/ 51379 h 1571603"/>
              <a:gd name="csX126" fmla="*/ 360842 w 732037"/>
              <a:gd name="csY126" fmla="*/ 39128 h 1571603"/>
              <a:gd name="csX127" fmla="*/ 369470 w 732037"/>
              <a:gd name="csY127" fmla="*/ 30960 h 1571603"/>
              <a:gd name="csX128" fmla="*/ 365613 w 732037"/>
              <a:gd name="csY128" fmla="*/ 49108 h 1571603"/>
              <a:gd name="csX129" fmla="*/ 389468 w 732037"/>
              <a:gd name="csY129" fmla="*/ 71608 h 1571603"/>
              <a:gd name="csX130" fmla="*/ 408822 w 732037"/>
              <a:gd name="csY130" fmla="*/ 46613 h 1571603"/>
              <a:gd name="csX131" fmla="*/ 406842 w 732037"/>
              <a:gd name="csY131" fmla="*/ 38347 h 157160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</a:cxnLst>
            <a:rect l="l" t="t" r="r" b="b"/>
            <a:pathLst>
              <a:path w="732037" h="1571603">
                <a:moveTo>
                  <a:pt x="406842" y="38347"/>
                </a:moveTo>
                <a:cubicBezTo>
                  <a:pt x="408555" y="35869"/>
                  <a:pt x="410622" y="34608"/>
                  <a:pt x="411944" y="38343"/>
                </a:cubicBezTo>
                <a:cubicBezTo>
                  <a:pt x="413676" y="43242"/>
                  <a:pt x="414797" y="48356"/>
                  <a:pt x="416198" y="53444"/>
                </a:cubicBezTo>
                <a:cubicBezTo>
                  <a:pt x="422922" y="48977"/>
                  <a:pt x="424340" y="41699"/>
                  <a:pt x="418945" y="34170"/>
                </a:cubicBezTo>
                <a:cubicBezTo>
                  <a:pt x="412483" y="25152"/>
                  <a:pt x="404444" y="17554"/>
                  <a:pt x="394077" y="12943"/>
                </a:cubicBezTo>
                <a:cubicBezTo>
                  <a:pt x="376702" y="5216"/>
                  <a:pt x="358713" y="6244"/>
                  <a:pt x="341415" y="11814"/>
                </a:cubicBezTo>
                <a:cubicBezTo>
                  <a:pt x="323675" y="17525"/>
                  <a:pt x="304459" y="39816"/>
                  <a:pt x="309440" y="65249"/>
                </a:cubicBezTo>
                <a:cubicBezTo>
                  <a:pt x="310868" y="72543"/>
                  <a:pt x="315482" y="79463"/>
                  <a:pt x="319632" y="85914"/>
                </a:cubicBezTo>
                <a:cubicBezTo>
                  <a:pt x="325434" y="94933"/>
                  <a:pt x="325800" y="102817"/>
                  <a:pt x="318632" y="110015"/>
                </a:cubicBezTo>
                <a:cubicBezTo>
                  <a:pt x="291775" y="136984"/>
                  <a:pt x="269594" y="167702"/>
                  <a:pt x="246921" y="198083"/>
                </a:cubicBezTo>
                <a:cubicBezTo>
                  <a:pt x="230003" y="220751"/>
                  <a:pt x="215685" y="244921"/>
                  <a:pt x="202660" y="269911"/>
                </a:cubicBezTo>
                <a:cubicBezTo>
                  <a:pt x="188381" y="297309"/>
                  <a:pt x="179513" y="326657"/>
                  <a:pt x="176707" y="357233"/>
                </a:cubicBezTo>
                <a:cubicBezTo>
                  <a:pt x="174106" y="385578"/>
                  <a:pt x="180131" y="413140"/>
                  <a:pt x="190612" y="439700"/>
                </a:cubicBezTo>
                <a:cubicBezTo>
                  <a:pt x="199946" y="463353"/>
                  <a:pt x="211538" y="485623"/>
                  <a:pt x="227544" y="505527"/>
                </a:cubicBezTo>
                <a:cubicBezTo>
                  <a:pt x="229982" y="508558"/>
                  <a:pt x="230954" y="512768"/>
                  <a:pt x="232541" y="516294"/>
                </a:cubicBezTo>
                <a:cubicBezTo>
                  <a:pt x="229578" y="520824"/>
                  <a:pt x="226658" y="524724"/>
                  <a:pt x="224356" y="528960"/>
                </a:cubicBezTo>
                <a:cubicBezTo>
                  <a:pt x="221823" y="533618"/>
                  <a:pt x="222675" y="537588"/>
                  <a:pt x="227944" y="540026"/>
                </a:cubicBezTo>
                <a:cubicBezTo>
                  <a:pt x="231656" y="541743"/>
                  <a:pt x="235331" y="543568"/>
                  <a:pt x="238897" y="545570"/>
                </a:cubicBezTo>
                <a:cubicBezTo>
                  <a:pt x="249613" y="551585"/>
                  <a:pt x="251795" y="563681"/>
                  <a:pt x="242386" y="571785"/>
                </a:cubicBezTo>
                <a:cubicBezTo>
                  <a:pt x="233816" y="579166"/>
                  <a:pt x="224045" y="585423"/>
                  <a:pt x="214067" y="590809"/>
                </a:cubicBezTo>
                <a:cubicBezTo>
                  <a:pt x="206271" y="595018"/>
                  <a:pt x="202051" y="601487"/>
                  <a:pt x="201355" y="609067"/>
                </a:cubicBezTo>
                <a:cubicBezTo>
                  <a:pt x="200489" y="618497"/>
                  <a:pt x="195720" y="623726"/>
                  <a:pt x="188474" y="628398"/>
                </a:cubicBezTo>
                <a:cubicBezTo>
                  <a:pt x="177332" y="635582"/>
                  <a:pt x="167866" y="644503"/>
                  <a:pt x="162658" y="657096"/>
                </a:cubicBezTo>
                <a:cubicBezTo>
                  <a:pt x="156420" y="672181"/>
                  <a:pt x="160439" y="684301"/>
                  <a:pt x="175395" y="691621"/>
                </a:cubicBezTo>
                <a:cubicBezTo>
                  <a:pt x="183722" y="695697"/>
                  <a:pt x="192859" y="698589"/>
                  <a:pt x="201948" y="700523"/>
                </a:cubicBezTo>
                <a:cubicBezTo>
                  <a:pt x="214634" y="703224"/>
                  <a:pt x="227616" y="704530"/>
                  <a:pt x="241426" y="706574"/>
                </a:cubicBezTo>
                <a:cubicBezTo>
                  <a:pt x="241839" y="709770"/>
                  <a:pt x="242576" y="712857"/>
                  <a:pt x="242586" y="715946"/>
                </a:cubicBezTo>
                <a:cubicBezTo>
                  <a:pt x="242672" y="744610"/>
                  <a:pt x="243133" y="773285"/>
                  <a:pt x="242424" y="801932"/>
                </a:cubicBezTo>
                <a:cubicBezTo>
                  <a:pt x="242053" y="816907"/>
                  <a:pt x="239631" y="831838"/>
                  <a:pt x="238000" y="846774"/>
                </a:cubicBezTo>
                <a:cubicBezTo>
                  <a:pt x="236368" y="861717"/>
                  <a:pt x="234927" y="876693"/>
                  <a:pt x="232752" y="891559"/>
                </a:cubicBezTo>
                <a:cubicBezTo>
                  <a:pt x="229873" y="911238"/>
                  <a:pt x="226675" y="930882"/>
                  <a:pt x="223037" y="950433"/>
                </a:cubicBezTo>
                <a:cubicBezTo>
                  <a:pt x="219173" y="971193"/>
                  <a:pt x="215113" y="991942"/>
                  <a:pt x="210247" y="1012485"/>
                </a:cubicBezTo>
                <a:cubicBezTo>
                  <a:pt x="205743" y="1031500"/>
                  <a:pt x="200395" y="1050337"/>
                  <a:pt x="194820" y="1069074"/>
                </a:cubicBezTo>
                <a:cubicBezTo>
                  <a:pt x="185401" y="1100731"/>
                  <a:pt x="175708" y="1132311"/>
                  <a:pt x="165707" y="1163788"/>
                </a:cubicBezTo>
                <a:cubicBezTo>
                  <a:pt x="162367" y="1174302"/>
                  <a:pt x="156145" y="1182634"/>
                  <a:pt x="144382" y="1185530"/>
                </a:cubicBezTo>
                <a:cubicBezTo>
                  <a:pt x="139281" y="1186787"/>
                  <a:pt x="134434" y="1189193"/>
                  <a:pt x="129590" y="1191342"/>
                </a:cubicBezTo>
                <a:cubicBezTo>
                  <a:pt x="120028" y="1195581"/>
                  <a:pt x="118779" y="1198539"/>
                  <a:pt x="122255" y="1208476"/>
                </a:cubicBezTo>
                <a:cubicBezTo>
                  <a:pt x="123870" y="1213094"/>
                  <a:pt x="125990" y="1217542"/>
                  <a:pt x="127491" y="1222193"/>
                </a:cubicBezTo>
                <a:cubicBezTo>
                  <a:pt x="132294" y="1237066"/>
                  <a:pt x="129961" y="1250353"/>
                  <a:pt x="118348" y="1261470"/>
                </a:cubicBezTo>
                <a:cubicBezTo>
                  <a:pt x="98275" y="1280686"/>
                  <a:pt x="78038" y="1299737"/>
                  <a:pt x="58232" y="1319224"/>
                </a:cubicBezTo>
                <a:cubicBezTo>
                  <a:pt x="38634" y="1338507"/>
                  <a:pt x="29913" y="1362564"/>
                  <a:pt x="28815" y="1389717"/>
                </a:cubicBezTo>
                <a:cubicBezTo>
                  <a:pt x="28318" y="1402031"/>
                  <a:pt x="29110" y="1414206"/>
                  <a:pt x="32634" y="1426050"/>
                </a:cubicBezTo>
                <a:cubicBezTo>
                  <a:pt x="34273" y="1431554"/>
                  <a:pt x="33300" y="1435929"/>
                  <a:pt x="30331" y="1441003"/>
                </a:cubicBezTo>
                <a:cubicBezTo>
                  <a:pt x="16698" y="1464298"/>
                  <a:pt x="8890" y="1489397"/>
                  <a:pt x="9180" y="1516655"/>
                </a:cubicBezTo>
                <a:cubicBezTo>
                  <a:pt x="9291" y="1527012"/>
                  <a:pt x="9917" y="1528771"/>
                  <a:pt x="20082" y="1531402"/>
                </a:cubicBezTo>
                <a:cubicBezTo>
                  <a:pt x="38179" y="1536086"/>
                  <a:pt x="56480" y="1540035"/>
                  <a:pt x="74798" y="1543794"/>
                </a:cubicBezTo>
                <a:cubicBezTo>
                  <a:pt x="87517" y="1546403"/>
                  <a:pt x="100396" y="1548250"/>
                  <a:pt x="113225" y="1550305"/>
                </a:cubicBezTo>
                <a:cubicBezTo>
                  <a:pt x="120841" y="1551524"/>
                  <a:pt x="128467" y="1552843"/>
                  <a:pt x="136142" y="1553484"/>
                </a:cubicBezTo>
                <a:cubicBezTo>
                  <a:pt x="149934" y="1554635"/>
                  <a:pt x="163778" y="1555156"/>
                  <a:pt x="177578" y="1556220"/>
                </a:cubicBezTo>
                <a:cubicBezTo>
                  <a:pt x="195403" y="1557595"/>
                  <a:pt x="213196" y="1559407"/>
                  <a:pt x="231027" y="1560698"/>
                </a:cubicBezTo>
                <a:cubicBezTo>
                  <a:pt x="238768" y="1561259"/>
                  <a:pt x="246585" y="1560709"/>
                  <a:pt x="254342" y="1561142"/>
                </a:cubicBezTo>
                <a:cubicBezTo>
                  <a:pt x="322588" y="1564942"/>
                  <a:pt x="390896" y="1563427"/>
                  <a:pt x="459180" y="1563411"/>
                </a:cubicBezTo>
                <a:cubicBezTo>
                  <a:pt x="483236" y="1563406"/>
                  <a:pt x="507311" y="1562248"/>
                  <a:pt x="531340" y="1560936"/>
                </a:cubicBezTo>
                <a:cubicBezTo>
                  <a:pt x="551225" y="1559849"/>
                  <a:pt x="571160" y="1558554"/>
                  <a:pt x="590888" y="1555951"/>
                </a:cubicBezTo>
                <a:cubicBezTo>
                  <a:pt x="631179" y="1550635"/>
                  <a:pt x="671338" y="1544328"/>
                  <a:pt x="710712" y="1533916"/>
                </a:cubicBezTo>
                <a:cubicBezTo>
                  <a:pt x="722630" y="1530764"/>
                  <a:pt x="724036" y="1528558"/>
                  <a:pt x="724356" y="1516144"/>
                </a:cubicBezTo>
                <a:cubicBezTo>
                  <a:pt x="724970" y="1492256"/>
                  <a:pt x="718637" y="1470245"/>
                  <a:pt x="707380" y="1449380"/>
                </a:cubicBezTo>
                <a:cubicBezTo>
                  <a:pt x="706259" y="1447304"/>
                  <a:pt x="706896" y="1444279"/>
                  <a:pt x="707050" y="1440881"/>
                </a:cubicBezTo>
                <a:cubicBezTo>
                  <a:pt x="722747" y="1457101"/>
                  <a:pt x="728653" y="1477963"/>
                  <a:pt x="731479" y="1500017"/>
                </a:cubicBezTo>
                <a:cubicBezTo>
                  <a:pt x="731992" y="1504029"/>
                  <a:pt x="731781" y="1508135"/>
                  <a:pt x="731163" y="1513759"/>
                </a:cubicBezTo>
                <a:cubicBezTo>
                  <a:pt x="730831" y="1517468"/>
                  <a:pt x="731241" y="1519618"/>
                  <a:pt x="731650" y="1521766"/>
                </a:cubicBezTo>
                <a:cubicBezTo>
                  <a:pt x="733191" y="1529956"/>
                  <a:pt x="730165" y="1535242"/>
                  <a:pt x="721896" y="1537319"/>
                </a:cubicBezTo>
                <a:cubicBezTo>
                  <a:pt x="700520" y="1542690"/>
                  <a:pt x="679367" y="1549248"/>
                  <a:pt x="657740" y="1553265"/>
                </a:cubicBezTo>
                <a:cubicBezTo>
                  <a:pt x="608220" y="1562464"/>
                  <a:pt x="558146" y="1566701"/>
                  <a:pt x="507791" y="1568943"/>
                </a:cubicBezTo>
                <a:cubicBezTo>
                  <a:pt x="426738" y="1572552"/>
                  <a:pt x="345677" y="1572161"/>
                  <a:pt x="264676" y="1569724"/>
                </a:cubicBezTo>
                <a:cubicBezTo>
                  <a:pt x="203800" y="1567891"/>
                  <a:pt x="142882" y="1563907"/>
                  <a:pt x="82743" y="1553254"/>
                </a:cubicBezTo>
                <a:cubicBezTo>
                  <a:pt x="60647" y="1549341"/>
                  <a:pt x="38739" y="1544032"/>
                  <a:pt x="17072" y="1538153"/>
                </a:cubicBezTo>
                <a:cubicBezTo>
                  <a:pt x="1381" y="1533894"/>
                  <a:pt x="-938" y="1529341"/>
                  <a:pt x="275" y="1513030"/>
                </a:cubicBezTo>
                <a:cubicBezTo>
                  <a:pt x="2146" y="1487871"/>
                  <a:pt x="7321" y="1463566"/>
                  <a:pt x="20923" y="1441861"/>
                </a:cubicBezTo>
                <a:cubicBezTo>
                  <a:pt x="24812" y="1435656"/>
                  <a:pt x="24566" y="1429699"/>
                  <a:pt x="23045" y="1423105"/>
                </a:cubicBezTo>
                <a:cubicBezTo>
                  <a:pt x="16952" y="1396684"/>
                  <a:pt x="19689" y="1370924"/>
                  <a:pt x="30564" y="1346289"/>
                </a:cubicBezTo>
                <a:cubicBezTo>
                  <a:pt x="39621" y="1325774"/>
                  <a:pt x="54481" y="1309709"/>
                  <a:pt x="71350" y="1295039"/>
                </a:cubicBezTo>
                <a:cubicBezTo>
                  <a:pt x="85712" y="1282550"/>
                  <a:pt x="99164" y="1268932"/>
                  <a:pt x="112257" y="1255093"/>
                </a:cubicBezTo>
                <a:cubicBezTo>
                  <a:pt x="122891" y="1243852"/>
                  <a:pt x="124955" y="1230879"/>
                  <a:pt x="115864" y="1217271"/>
                </a:cubicBezTo>
                <a:cubicBezTo>
                  <a:pt x="114506" y="1215239"/>
                  <a:pt x="113304" y="1213078"/>
                  <a:pt x="112256" y="1210870"/>
                </a:cubicBezTo>
                <a:cubicBezTo>
                  <a:pt x="106526" y="1198808"/>
                  <a:pt x="109052" y="1191969"/>
                  <a:pt x="121141" y="1186548"/>
                </a:cubicBezTo>
                <a:cubicBezTo>
                  <a:pt x="126274" y="1184246"/>
                  <a:pt x="131201" y="1180803"/>
                  <a:pt x="136571" y="1179850"/>
                </a:cubicBezTo>
                <a:cubicBezTo>
                  <a:pt x="149372" y="1177579"/>
                  <a:pt x="154892" y="1168948"/>
                  <a:pt x="158281" y="1157879"/>
                </a:cubicBezTo>
                <a:cubicBezTo>
                  <a:pt x="168288" y="1125194"/>
                  <a:pt x="179178" y="1092742"/>
                  <a:pt x="187986" y="1059736"/>
                </a:cubicBezTo>
                <a:cubicBezTo>
                  <a:pt x="198666" y="1019713"/>
                  <a:pt x="207813" y="979272"/>
                  <a:pt x="217119" y="938896"/>
                </a:cubicBezTo>
                <a:cubicBezTo>
                  <a:pt x="220491" y="924267"/>
                  <a:pt x="222410" y="909302"/>
                  <a:pt x="225792" y="893236"/>
                </a:cubicBezTo>
                <a:cubicBezTo>
                  <a:pt x="226444" y="890644"/>
                  <a:pt x="226297" y="889307"/>
                  <a:pt x="226150" y="887970"/>
                </a:cubicBezTo>
                <a:cubicBezTo>
                  <a:pt x="227450" y="877085"/>
                  <a:pt x="228750" y="866198"/>
                  <a:pt x="230782" y="853969"/>
                </a:cubicBezTo>
                <a:cubicBezTo>
                  <a:pt x="231271" y="851270"/>
                  <a:pt x="231029" y="849914"/>
                  <a:pt x="230786" y="848558"/>
                </a:cubicBezTo>
                <a:cubicBezTo>
                  <a:pt x="231390" y="840967"/>
                  <a:pt x="231993" y="833375"/>
                  <a:pt x="233315" y="824438"/>
                </a:cubicBezTo>
                <a:cubicBezTo>
                  <a:pt x="233755" y="821744"/>
                  <a:pt x="233477" y="820397"/>
                  <a:pt x="233199" y="819050"/>
                </a:cubicBezTo>
                <a:cubicBezTo>
                  <a:pt x="233786" y="807422"/>
                  <a:pt x="234374" y="795794"/>
                  <a:pt x="235848" y="782380"/>
                </a:cubicBezTo>
                <a:cubicBezTo>
                  <a:pt x="237047" y="760099"/>
                  <a:pt x="237488" y="739606"/>
                  <a:pt x="237465" y="719113"/>
                </a:cubicBezTo>
                <a:cubicBezTo>
                  <a:pt x="237463" y="717127"/>
                  <a:pt x="234595" y="715144"/>
                  <a:pt x="233057" y="713160"/>
                </a:cubicBezTo>
                <a:cubicBezTo>
                  <a:pt x="223043" y="711630"/>
                  <a:pt x="212881" y="710731"/>
                  <a:pt x="203056" y="708405"/>
                </a:cubicBezTo>
                <a:cubicBezTo>
                  <a:pt x="191716" y="705720"/>
                  <a:pt x="180144" y="702931"/>
                  <a:pt x="169628" y="698106"/>
                </a:cubicBezTo>
                <a:cubicBezTo>
                  <a:pt x="154505" y="691164"/>
                  <a:pt x="148867" y="675179"/>
                  <a:pt x="153237" y="659111"/>
                </a:cubicBezTo>
                <a:cubicBezTo>
                  <a:pt x="157196" y="644561"/>
                  <a:pt x="166649" y="634454"/>
                  <a:pt x="178365" y="626008"/>
                </a:cubicBezTo>
                <a:cubicBezTo>
                  <a:pt x="182258" y="623202"/>
                  <a:pt x="186579" y="620992"/>
                  <a:pt x="191885" y="617513"/>
                </a:cubicBezTo>
                <a:cubicBezTo>
                  <a:pt x="194882" y="614532"/>
                  <a:pt x="197062" y="612583"/>
                  <a:pt x="193681" y="610098"/>
                </a:cubicBezTo>
                <a:cubicBezTo>
                  <a:pt x="193381" y="595591"/>
                  <a:pt x="202034" y="586776"/>
                  <a:pt x="213301" y="579885"/>
                </a:cubicBezTo>
                <a:cubicBezTo>
                  <a:pt x="218517" y="576695"/>
                  <a:pt x="224270" y="574393"/>
                  <a:pt x="229635" y="571429"/>
                </a:cubicBezTo>
                <a:cubicBezTo>
                  <a:pt x="232401" y="569901"/>
                  <a:pt x="235344" y="568225"/>
                  <a:pt x="237351" y="565882"/>
                </a:cubicBezTo>
                <a:cubicBezTo>
                  <a:pt x="243193" y="559063"/>
                  <a:pt x="242021" y="554779"/>
                  <a:pt x="233673" y="550926"/>
                </a:cubicBezTo>
                <a:cubicBezTo>
                  <a:pt x="231458" y="549904"/>
                  <a:pt x="229049" y="549314"/>
                  <a:pt x="226799" y="548359"/>
                </a:cubicBezTo>
                <a:cubicBezTo>
                  <a:pt x="215108" y="543398"/>
                  <a:pt x="211118" y="532802"/>
                  <a:pt x="218639" y="522664"/>
                </a:cubicBezTo>
                <a:cubicBezTo>
                  <a:pt x="223647" y="515913"/>
                  <a:pt x="222661" y="511633"/>
                  <a:pt x="218264" y="505463"/>
                </a:cubicBezTo>
                <a:cubicBezTo>
                  <a:pt x="203255" y="484407"/>
                  <a:pt x="190650" y="461993"/>
                  <a:pt x="181762" y="437574"/>
                </a:cubicBezTo>
                <a:cubicBezTo>
                  <a:pt x="163530" y="387483"/>
                  <a:pt x="165826" y="338057"/>
                  <a:pt x="185971" y="289069"/>
                </a:cubicBezTo>
                <a:cubicBezTo>
                  <a:pt x="202921" y="247851"/>
                  <a:pt x="226229" y="210377"/>
                  <a:pt x="253787" y="175580"/>
                </a:cubicBezTo>
                <a:cubicBezTo>
                  <a:pt x="271814" y="152817"/>
                  <a:pt x="290973" y="130951"/>
                  <a:pt x="309639" y="108695"/>
                </a:cubicBezTo>
                <a:cubicBezTo>
                  <a:pt x="312744" y="104993"/>
                  <a:pt x="315922" y="101352"/>
                  <a:pt x="318061" y="98855"/>
                </a:cubicBezTo>
                <a:cubicBezTo>
                  <a:pt x="313257" y="88362"/>
                  <a:pt x="308695" y="79376"/>
                  <a:pt x="304967" y="70056"/>
                </a:cubicBezTo>
                <a:cubicBezTo>
                  <a:pt x="297146" y="50504"/>
                  <a:pt x="303366" y="33481"/>
                  <a:pt x="317012" y="19436"/>
                </a:cubicBezTo>
                <a:cubicBezTo>
                  <a:pt x="344741" y="-9105"/>
                  <a:pt x="393463" y="-3345"/>
                  <a:pt x="415542" y="18221"/>
                </a:cubicBezTo>
                <a:cubicBezTo>
                  <a:pt x="429559" y="31914"/>
                  <a:pt x="438373" y="56968"/>
                  <a:pt x="423203" y="82660"/>
                </a:cubicBezTo>
                <a:cubicBezTo>
                  <a:pt x="420306" y="87568"/>
                  <a:pt x="417047" y="92262"/>
                  <a:pt x="413361" y="97975"/>
                </a:cubicBezTo>
                <a:cubicBezTo>
                  <a:pt x="416167" y="100932"/>
                  <a:pt x="418781" y="103940"/>
                  <a:pt x="421654" y="106676"/>
                </a:cubicBezTo>
                <a:cubicBezTo>
                  <a:pt x="446372" y="130213"/>
                  <a:pt x="467902" y="156374"/>
                  <a:pt x="487032" y="184632"/>
                </a:cubicBezTo>
                <a:cubicBezTo>
                  <a:pt x="492374" y="192525"/>
                  <a:pt x="493990" y="199495"/>
                  <a:pt x="489213" y="208238"/>
                </a:cubicBezTo>
                <a:cubicBezTo>
                  <a:pt x="484525" y="216819"/>
                  <a:pt x="481033" y="226053"/>
                  <a:pt x="476520" y="235738"/>
                </a:cubicBezTo>
                <a:cubicBezTo>
                  <a:pt x="472168" y="236089"/>
                  <a:pt x="471165" y="234358"/>
                  <a:pt x="472850" y="230703"/>
                </a:cubicBezTo>
                <a:cubicBezTo>
                  <a:pt x="476263" y="223297"/>
                  <a:pt x="479344" y="215738"/>
                  <a:pt x="482723" y="208315"/>
                </a:cubicBezTo>
                <a:cubicBezTo>
                  <a:pt x="486016" y="201080"/>
                  <a:pt x="485571" y="194961"/>
                  <a:pt x="480764" y="187916"/>
                </a:cubicBezTo>
                <a:cubicBezTo>
                  <a:pt x="459995" y="157475"/>
                  <a:pt x="437234" y="128912"/>
                  <a:pt x="408519" y="105475"/>
                </a:cubicBezTo>
                <a:cubicBezTo>
                  <a:pt x="403555" y="101425"/>
                  <a:pt x="403835" y="96489"/>
                  <a:pt x="408625" y="89203"/>
                </a:cubicBezTo>
                <a:cubicBezTo>
                  <a:pt x="412416" y="83438"/>
                  <a:pt x="416045" y="77562"/>
                  <a:pt x="419600" y="71648"/>
                </a:cubicBezTo>
                <a:cubicBezTo>
                  <a:pt x="421349" y="68739"/>
                  <a:pt x="422717" y="65537"/>
                  <a:pt x="418792" y="63179"/>
                </a:cubicBezTo>
                <a:cubicBezTo>
                  <a:pt x="414834" y="60801"/>
                  <a:pt x="413218" y="63883"/>
                  <a:pt x="410943" y="66417"/>
                </a:cubicBezTo>
                <a:cubicBezTo>
                  <a:pt x="407706" y="70022"/>
                  <a:pt x="404330" y="74045"/>
                  <a:pt x="400140" y="76155"/>
                </a:cubicBezTo>
                <a:cubicBezTo>
                  <a:pt x="381561" y="85507"/>
                  <a:pt x="360821" y="72312"/>
                  <a:pt x="360599" y="51379"/>
                </a:cubicBezTo>
                <a:cubicBezTo>
                  <a:pt x="360556" y="47292"/>
                  <a:pt x="360308" y="43152"/>
                  <a:pt x="360842" y="39128"/>
                </a:cubicBezTo>
                <a:cubicBezTo>
                  <a:pt x="361447" y="34568"/>
                  <a:pt x="362880" y="30159"/>
                  <a:pt x="369470" y="30960"/>
                </a:cubicBezTo>
                <a:cubicBezTo>
                  <a:pt x="368501" y="37551"/>
                  <a:pt x="365745" y="43300"/>
                  <a:pt x="365613" y="49108"/>
                </a:cubicBezTo>
                <a:cubicBezTo>
                  <a:pt x="365328" y="61659"/>
                  <a:pt x="377498" y="72522"/>
                  <a:pt x="389468" y="71608"/>
                </a:cubicBezTo>
                <a:cubicBezTo>
                  <a:pt x="401478" y="70690"/>
                  <a:pt x="410127" y="59637"/>
                  <a:pt x="408822" y="46613"/>
                </a:cubicBezTo>
                <a:cubicBezTo>
                  <a:pt x="408542" y="43819"/>
                  <a:pt x="407521" y="41100"/>
                  <a:pt x="406842" y="38347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201" name="Free-form: Shape 9200">
            <a:extLst>
              <a:ext uri="{FF2B5EF4-FFF2-40B4-BE49-F238E27FC236}">
                <a16:creationId xmlns:a16="http://schemas.microsoft.com/office/drawing/2014/main" id="{A00A3EEC-5461-F552-66FD-82D44150096B}"/>
              </a:ext>
            </a:extLst>
          </p:cNvPr>
          <p:cNvSpPr/>
          <p:nvPr/>
        </p:nvSpPr>
        <p:spPr>
          <a:xfrm>
            <a:off x="5444293" y="5472025"/>
            <a:ext cx="91545" cy="184495"/>
          </a:xfrm>
          <a:custGeom>
            <a:avLst/>
            <a:gdLst>
              <a:gd name="csX0" fmla="*/ 96534 w 100699"/>
              <a:gd name="csY0" fmla="*/ 202912 h 202945"/>
              <a:gd name="csX1" fmla="*/ 91036 w 100699"/>
              <a:gd name="csY1" fmla="*/ 196780 h 202945"/>
              <a:gd name="csX2" fmla="*/ 93357 w 100699"/>
              <a:gd name="csY2" fmla="*/ 178731 h 202945"/>
              <a:gd name="csX3" fmla="*/ 75903 w 100699"/>
              <a:gd name="csY3" fmla="*/ 106029 h 202945"/>
              <a:gd name="csX4" fmla="*/ 72780 w 100699"/>
              <a:gd name="csY4" fmla="*/ 102473 h 202945"/>
              <a:gd name="csX5" fmla="*/ 10982 w 100699"/>
              <a:gd name="csY5" fmla="*/ 41414 h 202945"/>
              <a:gd name="csX6" fmla="*/ 676 w 100699"/>
              <a:gd name="csY6" fmla="*/ 2936 h 202945"/>
              <a:gd name="csX7" fmla="*/ 5198 w 100699"/>
              <a:gd name="csY7" fmla="*/ 0 h 202945"/>
              <a:gd name="csX8" fmla="*/ 15435 w 100699"/>
              <a:gd name="csY8" fmla="*/ 35855 h 202945"/>
              <a:gd name="csX9" fmla="*/ 44498 w 100699"/>
              <a:gd name="csY9" fmla="*/ 63833 h 202945"/>
              <a:gd name="csX10" fmla="*/ 81385 w 100699"/>
              <a:gd name="csY10" fmla="*/ 106005 h 202945"/>
              <a:gd name="csX11" fmla="*/ 98950 w 100699"/>
              <a:gd name="csY11" fmla="*/ 190063 h 202945"/>
              <a:gd name="csX12" fmla="*/ 96534 w 100699"/>
              <a:gd name="csY12" fmla="*/ 202912 h 20294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</a:cxnLst>
            <a:rect l="l" t="t" r="r" b="b"/>
            <a:pathLst>
              <a:path w="100699" h="202945">
                <a:moveTo>
                  <a:pt x="96534" y="202912"/>
                </a:moveTo>
                <a:cubicBezTo>
                  <a:pt x="91699" y="203291"/>
                  <a:pt x="90650" y="200377"/>
                  <a:pt x="91036" y="196780"/>
                </a:cubicBezTo>
                <a:cubicBezTo>
                  <a:pt x="91685" y="190750"/>
                  <a:pt x="92933" y="184771"/>
                  <a:pt x="93357" y="178731"/>
                </a:cubicBezTo>
                <a:cubicBezTo>
                  <a:pt x="95183" y="152694"/>
                  <a:pt x="86034" y="129222"/>
                  <a:pt x="75903" y="106029"/>
                </a:cubicBezTo>
                <a:cubicBezTo>
                  <a:pt x="75300" y="104650"/>
                  <a:pt x="73904" y="103585"/>
                  <a:pt x="72780" y="102473"/>
                </a:cubicBezTo>
                <a:cubicBezTo>
                  <a:pt x="52199" y="82101"/>
                  <a:pt x="31673" y="61673"/>
                  <a:pt x="10982" y="41414"/>
                </a:cubicBezTo>
                <a:cubicBezTo>
                  <a:pt x="-119" y="30544"/>
                  <a:pt x="-1041" y="17093"/>
                  <a:pt x="676" y="2936"/>
                </a:cubicBezTo>
                <a:cubicBezTo>
                  <a:pt x="808" y="1852"/>
                  <a:pt x="2922" y="1010"/>
                  <a:pt x="5198" y="0"/>
                </a:cubicBezTo>
                <a:cubicBezTo>
                  <a:pt x="2043" y="13772"/>
                  <a:pt x="5665" y="25821"/>
                  <a:pt x="15435" y="35855"/>
                </a:cubicBezTo>
                <a:cubicBezTo>
                  <a:pt x="24811" y="45486"/>
                  <a:pt x="35301" y="54047"/>
                  <a:pt x="44498" y="63833"/>
                </a:cubicBezTo>
                <a:cubicBezTo>
                  <a:pt x="57293" y="77447"/>
                  <a:pt x="70760" y="90773"/>
                  <a:pt x="81385" y="106005"/>
                </a:cubicBezTo>
                <a:cubicBezTo>
                  <a:pt x="98896" y="131109"/>
                  <a:pt x="103759" y="159808"/>
                  <a:pt x="98950" y="190063"/>
                </a:cubicBezTo>
                <a:cubicBezTo>
                  <a:pt x="98311" y="194082"/>
                  <a:pt x="97697" y="198105"/>
                  <a:pt x="96534" y="202912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202" name="Free-form: Shape 9201">
            <a:extLst>
              <a:ext uri="{FF2B5EF4-FFF2-40B4-BE49-F238E27FC236}">
                <a16:creationId xmlns:a16="http://schemas.microsoft.com/office/drawing/2014/main" id="{A19FF0FC-8033-AFFA-3BA6-83EACBCCAF1D}"/>
              </a:ext>
            </a:extLst>
          </p:cNvPr>
          <p:cNvSpPr/>
          <p:nvPr/>
        </p:nvSpPr>
        <p:spPr>
          <a:xfrm>
            <a:off x="5103009" y="5007989"/>
            <a:ext cx="3739" cy="60936"/>
          </a:xfrm>
          <a:custGeom>
            <a:avLst/>
            <a:gdLst>
              <a:gd name="csX0" fmla="*/ 0 w 4113"/>
              <a:gd name="csY0" fmla="*/ 0 h 67029"/>
              <a:gd name="csX1" fmla="*/ 4113 w 4113"/>
              <a:gd name="csY1" fmla="*/ 4824 h 67029"/>
              <a:gd name="csX2" fmla="*/ 2662 w 4113"/>
              <a:gd name="csY2" fmla="*/ 67030 h 67029"/>
              <a:gd name="csX3" fmla="*/ 631 w 4113"/>
              <a:gd name="csY3" fmla="*/ 55883 h 67029"/>
              <a:gd name="csX4" fmla="*/ 0 w 4113"/>
              <a:gd name="csY4" fmla="*/ 0 h 6702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4113" h="67029">
                <a:moveTo>
                  <a:pt x="0" y="0"/>
                </a:moveTo>
                <a:cubicBezTo>
                  <a:pt x="1242" y="855"/>
                  <a:pt x="4111" y="2838"/>
                  <a:pt x="4113" y="4824"/>
                </a:cubicBezTo>
                <a:cubicBezTo>
                  <a:pt x="4135" y="25317"/>
                  <a:pt x="3695" y="45810"/>
                  <a:pt x="2662" y="67030"/>
                </a:cubicBezTo>
                <a:cubicBezTo>
                  <a:pt x="1483" y="63799"/>
                  <a:pt x="680" y="59846"/>
                  <a:pt x="631" y="55883"/>
                </a:cubicBezTo>
                <a:cubicBezTo>
                  <a:pt x="404" y="37633"/>
                  <a:pt x="388" y="19381"/>
                  <a:pt x="0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203" name="Free-form: Shape 9202">
            <a:extLst>
              <a:ext uri="{FF2B5EF4-FFF2-40B4-BE49-F238E27FC236}">
                <a16:creationId xmlns:a16="http://schemas.microsoft.com/office/drawing/2014/main" id="{BA527E15-3816-0D99-943F-6FA35E819120}"/>
              </a:ext>
            </a:extLst>
          </p:cNvPr>
          <p:cNvSpPr/>
          <p:nvPr/>
        </p:nvSpPr>
        <p:spPr>
          <a:xfrm>
            <a:off x="5555398" y="5735789"/>
            <a:ext cx="1060" cy="5803"/>
          </a:xfrm>
          <a:custGeom>
            <a:avLst/>
            <a:gdLst>
              <a:gd name="csX0" fmla="*/ 1130 w 1165"/>
              <a:gd name="csY0" fmla="*/ 6385 h 6384"/>
              <a:gd name="csX1" fmla="*/ 49 w 1165"/>
              <a:gd name="csY1" fmla="*/ 0 h 6384"/>
              <a:gd name="csX2" fmla="*/ 1130 w 1165"/>
              <a:gd name="csY2" fmla="*/ 6385 h 638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165" h="6384">
                <a:moveTo>
                  <a:pt x="1130" y="6385"/>
                </a:moveTo>
                <a:cubicBezTo>
                  <a:pt x="260" y="4748"/>
                  <a:pt x="-149" y="2599"/>
                  <a:pt x="49" y="0"/>
                </a:cubicBezTo>
                <a:cubicBezTo>
                  <a:pt x="969" y="1658"/>
                  <a:pt x="1279" y="3765"/>
                  <a:pt x="1130" y="6385"/>
                </a:cubicBezTo>
                <a:close/>
              </a:path>
            </a:pathLst>
          </a:custGeom>
          <a:solidFill>
            <a:srgbClr val="939B9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204" name="Free-form: Shape 9203">
            <a:extLst>
              <a:ext uri="{FF2B5EF4-FFF2-40B4-BE49-F238E27FC236}">
                <a16:creationId xmlns:a16="http://schemas.microsoft.com/office/drawing/2014/main" id="{BBF7F675-6A57-B248-36C8-A0DCE242968E}"/>
              </a:ext>
            </a:extLst>
          </p:cNvPr>
          <p:cNvSpPr/>
          <p:nvPr/>
        </p:nvSpPr>
        <p:spPr>
          <a:xfrm>
            <a:off x="5525669" y="5661694"/>
            <a:ext cx="5440" cy="2491"/>
          </a:xfrm>
          <a:custGeom>
            <a:avLst/>
            <a:gdLst>
              <a:gd name="csX0" fmla="*/ 5985 w 5984"/>
              <a:gd name="csY0" fmla="*/ 1832 h 2740"/>
              <a:gd name="csX1" fmla="*/ 0 w 5984"/>
              <a:gd name="csY1" fmla="*/ 2740 h 2740"/>
              <a:gd name="csX2" fmla="*/ 4930 w 5984"/>
              <a:gd name="csY2" fmla="*/ 0 h 2740"/>
              <a:gd name="csX3" fmla="*/ 5985 w 5984"/>
              <a:gd name="csY3" fmla="*/ 1832 h 274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</a:cxnLst>
            <a:rect l="l" t="t" r="r" b="b"/>
            <a:pathLst>
              <a:path w="5984" h="2740">
                <a:moveTo>
                  <a:pt x="5985" y="1832"/>
                </a:moveTo>
                <a:cubicBezTo>
                  <a:pt x="3992" y="2553"/>
                  <a:pt x="1996" y="2646"/>
                  <a:pt x="0" y="2740"/>
                </a:cubicBezTo>
                <a:cubicBezTo>
                  <a:pt x="1398" y="1830"/>
                  <a:pt x="2796" y="920"/>
                  <a:pt x="4930" y="0"/>
                </a:cubicBezTo>
                <a:cubicBezTo>
                  <a:pt x="5772" y="394"/>
                  <a:pt x="5877" y="799"/>
                  <a:pt x="5985" y="1832"/>
                </a:cubicBezTo>
                <a:close/>
              </a:path>
            </a:pathLst>
          </a:custGeom>
          <a:solidFill>
            <a:srgbClr val="8E9395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205" name="Free-form: Shape 9204">
            <a:extLst>
              <a:ext uri="{FF2B5EF4-FFF2-40B4-BE49-F238E27FC236}">
                <a16:creationId xmlns:a16="http://schemas.microsoft.com/office/drawing/2014/main" id="{744E30E0-6140-0992-4785-6939943ACDFF}"/>
              </a:ext>
            </a:extLst>
          </p:cNvPr>
          <p:cNvSpPr/>
          <p:nvPr/>
        </p:nvSpPr>
        <p:spPr>
          <a:xfrm>
            <a:off x="5065782" y="4913809"/>
            <a:ext cx="2645" cy="5625"/>
          </a:xfrm>
          <a:custGeom>
            <a:avLst/>
            <a:gdLst>
              <a:gd name="csX0" fmla="*/ 815 w 2910"/>
              <a:gd name="csY0" fmla="*/ 0 h 6187"/>
              <a:gd name="csX1" fmla="*/ 113 w 2910"/>
              <a:gd name="csY1" fmla="*/ 6187 h 6187"/>
              <a:gd name="csX2" fmla="*/ 815 w 2910"/>
              <a:gd name="csY2" fmla="*/ 0 h 618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2910" h="6187">
                <a:moveTo>
                  <a:pt x="815" y="0"/>
                </a:moveTo>
                <a:cubicBezTo>
                  <a:pt x="4660" y="1891"/>
                  <a:pt x="2480" y="3840"/>
                  <a:pt x="113" y="6187"/>
                </a:cubicBezTo>
                <a:cubicBezTo>
                  <a:pt x="-172" y="4565"/>
                  <a:pt x="89" y="2579"/>
                  <a:pt x="815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206" name="Free-form: Shape 9205">
            <a:extLst>
              <a:ext uri="{FF2B5EF4-FFF2-40B4-BE49-F238E27FC236}">
                <a16:creationId xmlns:a16="http://schemas.microsoft.com/office/drawing/2014/main" id="{7653F7AD-C6B0-F830-8961-A6A1C2D0A48D}"/>
              </a:ext>
            </a:extLst>
          </p:cNvPr>
          <p:cNvSpPr/>
          <p:nvPr/>
        </p:nvSpPr>
        <p:spPr>
          <a:xfrm>
            <a:off x="5100197" y="5130383"/>
            <a:ext cx="770" cy="3664"/>
          </a:xfrm>
          <a:custGeom>
            <a:avLst/>
            <a:gdLst>
              <a:gd name="csX0" fmla="*/ 106 w 847"/>
              <a:gd name="csY0" fmla="*/ 0 h 4030"/>
              <a:gd name="csX1" fmla="*/ 732 w 847"/>
              <a:gd name="csY1" fmla="*/ 4031 h 4030"/>
              <a:gd name="csX2" fmla="*/ 106 w 847"/>
              <a:gd name="csY2" fmla="*/ 0 h 403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7" h="4030">
                <a:moveTo>
                  <a:pt x="106" y="0"/>
                </a:moveTo>
                <a:cubicBezTo>
                  <a:pt x="770" y="990"/>
                  <a:pt x="1013" y="2346"/>
                  <a:pt x="732" y="4031"/>
                </a:cubicBezTo>
                <a:cubicBezTo>
                  <a:pt x="34" y="3029"/>
                  <a:pt x="-141" y="1697"/>
                  <a:pt x="106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207" name="Free-form: Shape 9206">
            <a:extLst>
              <a:ext uri="{FF2B5EF4-FFF2-40B4-BE49-F238E27FC236}">
                <a16:creationId xmlns:a16="http://schemas.microsoft.com/office/drawing/2014/main" id="{EEA585CE-CDFB-478B-93B6-1000FD712C98}"/>
              </a:ext>
            </a:extLst>
          </p:cNvPr>
          <p:cNvSpPr/>
          <p:nvPr/>
        </p:nvSpPr>
        <p:spPr>
          <a:xfrm>
            <a:off x="5095873" y="5166177"/>
            <a:ext cx="703" cy="3631"/>
          </a:xfrm>
          <a:custGeom>
            <a:avLst/>
            <a:gdLst>
              <a:gd name="csX0" fmla="*/ 195 w 774"/>
              <a:gd name="csY0" fmla="*/ 0 h 3994"/>
              <a:gd name="csX1" fmla="*/ 575 w 774"/>
              <a:gd name="csY1" fmla="*/ 3994 h 3994"/>
              <a:gd name="csX2" fmla="*/ 195 w 774"/>
              <a:gd name="csY2" fmla="*/ 0 h 399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774" h="3994">
                <a:moveTo>
                  <a:pt x="195" y="0"/>
                </a:moveTo>
                <a:cubicBezTo>
                  <a:pt x="794" y="1011"/>
                  <a:pt x="941" y="2348"/>
                  <a:pt x="575" y="3994"/>
                </a:cubicBezTo>
                <a:cubicBezTo>
                  <a:pt x="-44" y="2978"/>
                  <a:pt x="-151" y="1652"/>
                  <a:pt x="195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208" name="Free-form: Shape 9207">
            <a:extLst>
              <a:ext uri="{FF2B5EF4-FFF2-40B4-BE49-F238E27FC236}">
                <a16:creationId xmlns:a16="http://schemas.microsoft.com/office/drawing/2014/main" id="{63E7A7B8-9873-5326-2F57-32A1C64B4CCE}"/>
              </a:ext>
            </a:extLst>
          </p:cNvPr>
          <p:cNvSpPr/>
          <p:nvPr/>
        </p:nvSpPr>
        <p:spPr>
          <a:xfrm>
            <a:off x="5102450" y="5103573"/>
            <a:ext cx="787" cy="3631"/>
          </a:xfrm>
          <a:custGeom>
            <a:avLst/>
            <a:gdLst>
              <a:gd name="csX0" fmla="*/ 71 w 865"/>
              <a:gd name="csY0" fmla="*/ 0 h 3995"/>
              <a:gd name="csX1" fmla="*/ 783 w 865"/>
              <a:gd name="csY1" fmla="*/ 3996 h 3995"/>
              <a:gd name="csX2" fmla="*/ 71 w 865"/>
              <a:gd name="csY2" fmla="*/ 0 h 399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65" h="3995">
                <a:moveTo>
                  <a:pt x="71" y="0"/>
                </a:moveTo>
                <a:cubicBezTo>
                  <a:pt x="740" y="963"/>
                  <a:pt x="1018" y="2311"/>
                  <a:pt x="783" y="3996"/>
                </a:cubicBezTo>
                <a:cubicBezTo>
                  <a:pt x="73" y="3017"/>
                  <a:pt x="-124" y="1701"/>
                  <a:pt x="71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209" name="Free-form: Shape 9208">
            <a:extLst>
              <a:ext uri="{FF2B5EF4-FFF2-40B4-BE49-F238E27FC236}">
                <a16:creationId xmlns:a16="http://schemas.microsoft.com/office/drawing/2014/main" id="{C4C63649-AB13-FCE9-1F71-86A5406D8650}"/>
              </a:ext>
            </a:extLst>
          </p:cNvPr>
          <p:cNvSpPr/>
          <p:nvPr/>
        </p:nvSpPr>
        <p:spPr>
          <a:xfrm>
            <a:off x="5220754" y="5007599"/>
            <a:ext cx="170236" cy="426821"/>
          </a:xfrm>
          <a:custGeom>
            <a:avLst/>
            <a:gdLst>
              <a:gd name="csX0" fmla="*/ 120604 w 187260"/>
              <a:gd name="csY0" fmla="*/ 222968 h 469503"/>
              <a:gd name="csX1" fmla="*/ 187261 w 187260"/>
              <a:gd name="csY1" fmla="*/ 469503 h 469503"/>
              <a:gd name="csX2" fmla="*/ 1253 w 187260"/>
              <a:gd name="csY2" fmla="*/ 466078 h 469503"/>
              <a:gd name="csX3" fmla="*/ 8 w 187260"/>
              <a:gd name="csY3" fmla="*/ 458101 h 469503"/>
              <a:gd name="csX4" fmla="*/ 4383 w 187260"/>
              <a:gd name="csY4" fmla="*/ 351443 h 469503"/>
              <a:gd name="csX5" fmla="*/ 4615 w 187260"/>
              <a:gd name="csY5" fmla="*/ 346536 h 469503"/>
              <a:gd name="csX6" fmla="*/ 7935 w 187260"/>
              <a:gd name="csY6" fmla="*/ 233648 h 469503"/>
              <a:gd name="csX7" fmla="*/ 10461 w 187260"/>
              <a:gd name="csY7" fmla="*/ 128112 h 469503"/>
              <a:gd name="csX8" fmla="*/ 12461 w 187260"/>
              <a:gd name="csY8" fmla="*/ 12750 h 469503"/>
              <a:gd name="csX9" fmla="*/ 13165 w 187260"/>
              <a:gd name="csY9" fmla="*/ 4285 h 469503"/>
              <a:gd name="csX10" fmla="*/ 102327 w 187260"/>
              <a:gd name="csY10" fmla="*/ 0 h 469503"/>
              <a:gd name="csX11" fmla="*/ 106229 w 187260"/>
              <a:gd name="csY11" fmla="*/ 111321 h 469503"/>
              <a:gd name="csX12" fmla="*/ 120604 w 187260"/>
              <a:gd name="csY12" fmla="*/ 222968 h 46950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</a:cxnLst>
            <a:rect l="l" t="t" r="r" b="b"/>
            <a:pathLst>
              <a:path w="187260" h="469503">
                <a:moveTo>
                  <a:pt x="120604" y="222968"/>
                </a:moveTo>
                <a:cubicBezTo>
                  <a:pt x="135383" y="307129"/>
                  <a:pt x="159464" y="387725"/>
                  <a:pt x="187261" y="469503"/>
                </a:cubicBezTo>
                <a:cubicBezTo>
                  <a:pt x="124460" y="468347"/>
                  <a:pt x="63286" y="467220"/>
                  <a:pt x="1253" y="466078"/>
                </a:cubicBezTo>
                <a:cubicBezTo>
                  <a:pt x="818" y="463442"/>
                  <a:pt x="-95" y="460752"/>
                  <a:pt x="8" y="458101"/>
                </a:cubicBezTo>
                <a:cubicBezTo>
                  <a:pt x="1383" y="422545"/>
                  <a:pt x="2900" y="386994"/>
                  <a:pt x="4383" y="351443"/>
                </a:cubicBezTo>
                <a:cubicBezTo>
                  <a:pt x="4451" y="349807"/>
                  <a:pt x="4566" y="348172"/>
                  <a:pt x="4615" y="346536"/>
                </a:cubicBezTo>
                <a:cubicBezTo>
                  <a:pt x="5732" y="308907"/>
                  <a:pt x="6921" y="271280"/>
                  <a:pt x="7935" y="233648"/>
                </a:cubicBezTo>
                <a:cubicBezTo>
                  <a:pt x="8883" y="198472"/>
                  <a:pt x="9752" y="163293"/>
                  <a:pt x="10461" y="128112"/>
                </a:cubicBezTo>
                <a:cubicBezTo>
                  <a:pt x="11237" y="89660"/>
                  <a:pt x="11781" y="51204"/>
                  <a:pt x="12461" y="12750"/>
                </a:cubicBezTo>
                <a:cubicBezTo>
                  <a:pt x="12503" y="10363"/>
                  <a:pt x="12848" y="7981"/>
                  <a:pt x="13165" y="4285"/>
                </a:cubicBezTo>
                <a:cubicBezTo>
                  <a:pt x="42856" y="2858"/>
                  <a:pt x="72082" y="1454"/>
                  <a:pt x="102327" y="0"/>
                </a:cubicBezTo>
                <a:cubicBezTo>
                  <a:pt x="103499" y="37348"/>
                  <a:pt x="103207" y="74470"/>
                  <a:pt x="106229" y="111321"/>
                </a:cubicBezTo>
                <a:cubicBezTo>
                  <a:pt x="109263" y="148326"/>
                  <a:pt x="115599" y="185060"/>
                  <a:pt x="120604" y="222968"/>
                </a:cubicBezTo>
                <a:close/>
              </a:path>
            </a:pathLst>
          </a:custGeom>
          <a:solidFill>
            <a:srgbClr val="FDFDFD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210" name="Free-form: Shape 9209">
            <a:extLst>
              <a:ext uri="{FF2B5EF4-FFF2-40B4-BE49-F238E27FC236}">
                <a16:creationId xmlns:a16="http://schemas.microsoft.com/office/drawing/2014/main" id="{337A8329-CE53-F300-0E6A-55CDB7251F0B}"/>
              </a:ext>
            </a:extLst>
          </p:cNvPr>
          <p:cNvSpPr/>
          <p:nvPr/>
        </p:nvSpPr>
        <p:spPr>
          <a:xfrm>
            <a:off x="5219561" y="5474351"/>
            <a:ext cx="284824" cy="179974"/>
          </a:xfrm>
          <a:custGeom>
            <a:avLst/>
            <a:gdLst>
              <a:gd name="csX0" fmla="*/ 160234 w 313306"/>
              <a:gd name="csY0" fmla="*/ 197876 h 197971"/>
              <a:gd name="csX1" fmla="*/ 544 w 313306"/>
              <a:gd name="csY1" fmla="*/ 197972 h 197971"/>
              <a:gd name="csX2" fmla="*/ 3466 w 313306"/>
              <a:gd name="csY2" fmla="*/ 104326 h 197971"/>
              <a:gd name="csX3" fmla="*/ 0 w 313306"/>
              <a:gd name="csY3" fmla="*/ 10720 h 197971"/>
              <a:gd name="csX4" fmla="*/ 5445 w 313306"/>
              <a:gd name="csY4" fmla="*/ 9282 h 197971"/>
              <a:gd name="csX5" fmla="*/ 71623 w 313306"/>
              <a:gd name="csY5" fmla="*/ 6885 h 197971"/>
              <a:gd name="csX6" fmla="*/ 187887 w 313306"/>
              <a:gd name="csY6" fmla="*/ 233 h 197971"/>
              <a:gd name="csX7" fmla="*/ 215297 w 313306"/>
              <a:gd name="csY7" fmla="*/ 163 h 197971"/>
              <a:gd name="csX8" fmla="*/ 243629 w 313306"/>
              <a:gd name="csY8" fmla="*/ 61389 h 197971"/>
              <a:gd name="csX9" fmla="*/ 270660 w 313306"/>
              <a:gd name="csY9" fmla="*/ 86342 h 197971"/>
              <a:gd name="csX10" fmla="*/ 313142 w 313306"/>
              <a:gd name="csY10" fmla="*/ 170098 h 197971"/>
              <a:gd name="csX11" fmla="*/ 313291 w 313306"/>
              <a:gd name="csY11" fmla="*/ 176231 h 197971"/>
              <a:gd name="csX12" fmla="*/ 312654 w 313306"/>
              <a:gd name="csY12" fmla="*/ 180738 h 197971"/>
              <a:gd name="csX13" fmla="*/ 279655 w 313306"/>
              <a:gd name="csY13" fmla="*/ 186226 h 197971"/>
              <a:gd name="csX14" fmla="*/ 167436 w 313306"/>
              <a:gd name="csY14" fmla="*/ 196805 h 197971"/>
              <a:gd name="csX15" fmla="*/ 160234 w 313306"/>
              <a:gd name="csY15" fmla="*/ 197876 h 19797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</a:cxnLst>
            <a:rect l="l" t="t" r="r" b="b"/>
            <a:pathLst>
              <a:path w="313306" h="197971">
                <a:moveTo>
                  <a:pt x="160234" y="197876"/>
                </a:moveTo>
                <a:cubicBezTo>
                  <a:pt x="106384" y="197972"/>
                  <a:pt x="53682" y="197972"/>
                  <a:pt x="544" y="197972"/>
                </a:cubicBezTo>
                <a:cubicBezTo>
                  <a:pt x="1602" y="166763"/>
                  <a:pt x="3550" y="135542"/>
                  <a:pt x="3466" y="104326"/>
                </a:cubicBezTo>
                <a:cubicBezTo>
                  <a:pt x="3383" y="73323"/>
                  <a:pt x="1255" y="42326"/>
                  <a:pt x="0" y="10720"/>
                </a:cubicBezTo>
                <a:cubicBezTo>
                  <a:pt x="1689" y="10255"/>
                  <a:pt x="3551" y="9355"/>
                  <a:pt x="5445" y="9282"/>
                </a:cubicBezTo>
                <a:cubicBezTo>
                  <a:pt x="27503" y="8435"/>
                  <a:pt x="49582" y="8030"/>
                  <a:pt x="71623" y="6885"/>
                </a:cubicBezTo>
                <a:cubicBezTo>
                  <a:pt x="110388" y="4872"/>
                  <a:pt x="149126" y="2333"/>
                  <a:pt x="187887" y="233"/>
                </a:cubicBezTo>
                <a:cubicBezTo>
                  <a:pt x="196749" y="-247"/>
                  <a:pt x="205660" y="163"/>
                  <a:pt x="215297" y="163"/>
                </a:cubicBezTo>
                <a:cubicBezTo>
                  <a:pt x="215450" y="25550"/>
                  <a:pt x="226120" y="45122"/>
                  <a:pt x="243629" y="61389"/>
                </a:cubicBezTo>
                <a:cubicBezTo>
                  <a:pt x="252615" y="69739"/>
                  <a:pt x="261099" y="78715"/>
                  <a:pt x="270660" y="86342"/>
                </a:cubicBezTo>
                <a:cubicBezTo>
                  <a:pt x="297676" y="107892"/>
                  <a:pt x="310731" y="136225"/>
                  <a:pt x="313142" y="170098"/>
                </a:cubicBezTo>
                <a:cubicBezTo>
                  <a:pt x="313287" y="172136"/>
                  <a:pt x="313335" y="174188"/>
                  <a:pt x="313291" y="176231"/>
                </a:cubicBezTo>
                <a:cubicBezTo>
                  <a:pt x="313265" y="177429"/>
                  <a:pt x="312966" y="178621"/>
                  <a:pt x="312654" y="180738"/>
                </a:cubicBezTo>
                <a:cubicBezTo>
                  <a:pt x="302343" y="185396"/>
                  <a:pt x="290736" y="185049"/>
                  <a:pt x="279655" y="186226"/>
                </a:cubicBezTo>
                <a:cubicBezTo>
                  <a:pt x="242295" y="190193"/>
                  <a:pt x="204847" y="193324"/>
                  <a:pt x="167436" y="196805"/>
                </a:cubicBezTo>
                <a:cubicBezTo>
                  <a:pt x="165405" y="196994"/>
                  <a:pt x="163399" y="197449"/>
                  <a:pt x="160234" y="197876"/>
                </a:cubicBezTo>
                <a:close/>
              </a:path>
            </a:pathLst>
          </a:custGeom>
          <a:solidFill>
            <a:srgbClr val="FDFEFE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211" name="Free-form: Shape 9210">
            <a:extLst>
              <a:ext uri="{FF2B5EF4-FFF2-40B4-BE49-F238E27FC236}">
                <a16:creationId xmlns:a16="http://schemas.microsoft.com/office/drawing/2014/main" id="{5C6BEC2D-3EEC-08CA-D28D-B36F0006CA57}"/>
              </a:ext>
            </a:extLst>
          </p:cNvPr>
          <p:cNvSpPr/>
          <p:nvPr/>
        </p:nvSpPr>
        <p:spPr>
          <a:xfrm>
            <a:off x="5230304" y="4457767"/>
            <a:ext cx="149260" cy="361842"/>
          </a:xfrm>
          <a:custGeom>
            <a:avLst/>
            <a:gdLst>
              <a:gd name="csX0" fmla="*/ 22609 w 164186"/>
              <a:gd name="csY0" fmla="*/ 398026 h 398026"/>
              <a:gd name="csX1" fmla="*/ 16884 w 164186"/>
              <a:gd name="csY1" fmla="*/ 390515 h 398026"/>
              <a:gd name="csX2" fmla="*/ 9661 w 164186"/>
              <a:gd name="csY2" fmla="*/ 328443 h 398026"/>
              <a:gd name="csX3" fmla="*/ 534 w 164186"/>
              <a:gd name="csY3" fmla="*/ 196369 h 398026"/>
              <a:gd name="csX4" fmla="*/ 1243 w 164186"/>
              <a:gd name="csY4" fmla="*/ 82293 h 398026"/>
              <a:gd name="csX5" fmla="*/ 2245 w 164186"/>
              <a:gd name="csY5" fmla="*/ 43023 h 398026"/>
              <a:gd name="csX6" fmla="*/ 4587 w 164186"/>
              <a:gd name="csY6" fmla="*/ 0 h 398026"/>
              <a:gd name="csX7" fmla="*/ 12341 w 164186"/>
              <a:gd name="csY7" fmla="*/ 3872 h 398026"/>
              <a:gd name="csX8" fmla="*/ 85914 w 164186"/>
              <a:gd name="csY8" fmla="*/ 78943 h 398026"/>
              <a:gd name="csX9" fmla="*/ 87893 w 164186"/>
              <a:gd name="csY9" fmla="*/ 99117 h 398026"/>
              <a:gd name="csX10" fmla="*/ 35459 w 164186"/>
              <a:gd name="csY10" fmla="*/ 207346 h 398026"/>
              <a:gd name="csX11" fmla="*/ 32223 w 164186"/>
              <a:gd name="csY11" fmla="*/ 213959 h 398026"/>
              <a:gd name="csX12" fmla="*/ 39509 w 164186"/>
              <a:gd name="csY12" fmla="*/ 242056 h 398026"/>
              <a:gd name="csX13" fmla="*/ 69474 w 164186"/>
              <a:gd name="csY13" fmla="*/ 237019 h 398026"/>
              <a:gd name="csX14" fmla="*/ 89101 w 164186"/>
              <a:gd name="csY14" fmla="*/ 208870 h 398026"/>
              <a:gd name="csX15" fmla="*/ 121716 w 164186"/>
              <a:gd name="csY15" fmla="*/ 158357 h 398026"/>
              <a:gd name="csX16" fmla="*/ 129330 w 164186"/>
              <a:gd name="csY16" fmla="*/ 148165 h 398026"/>
              <a:gd name="csX17" fmla="*/ 137171 w 164186"/>
              <a:gd name="csY17" fmla="*/ 159989 h 398026"/>
              <a:gd name="csX18" fmla="*/ 163812 w 164186"/>
              <a:gd name="csY18" fmla="*/ 273175 h 398026"/>
              <a:gd name="csX19" fmla="*/ 118151 w 164186"/>
              <a:gd name="csY19" fmla="*/ 383442 h 398026"/>
              <a:gd name="csX20" fmla="*/ 92325 w 164186"/>
              <a:gd name="csY20" fmla="*/ 395173 h 398026"/>
              <a:gd name="csX21" fmla="*/ 22609 w 164186"/>
              <a:gd name="csY21" fmla="*/ 398026 h 39802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</a:cxnLst>
            <a:rect l="l" t="t" r="r" b="b"/>
            <a:pathLst>
              <a:path w="164186" h="398026">
                <a:moveTo>
                  <a:pt x="22609" y="398026"/>
                </a:moveTo>
                <a:cubicBezTo>
                  <a:pt x="19898" y="395489"/>
                  <a:pt x="17229" y="393154"/>
                  <a:pt x="16884" y="390515"/>
                </a:cubicBezTo>
                <a:cubicBezTo>
                  <a:pt x="14183" y="369861"/>
                  <a:pt x="11326" y="349196"/>
                  <a:pt x="9661" y="328443"/>
                </a:cubicBezTo>
                <a:cubicBezTo>
                  <a:pt x="6132" y="284452"/>
                  <a:pt x="2125" y="240448"/>
                  <a:pt x="534" y="196369"/>
                </a:cubicBezTo>
                <a:cubicBezTo>
                  <a:pt x="-837" y="158401"/>
                  <a:pt x="816" y="120322"/>
                  <a:pt x="1243" y="82293"/>
                </a:cubicBezTo>
                <a:cubicBezTo>
                  <a:pt x="1389" y="69201"/>
                  <a:pt x="1708" y="56105"/>
                  <a:pt x="2245" y="43023"/>
                </a:cubicBezTo>
                <a:cubicBezTo>
                  <a:pt x="2815" y="29160"/>
                  <a:pt x="3738" y="15312"/>
                  <a:pt x="4587" y="0"/>
                </a:cubicBezTo>
                <a:cubicBezTo>
                  <a:pt x="7809" y="1586"/>
                  <a:pt x="10279" y="2436"/>
                  <a:pt x="12341" y="3872"/>
                </a:cubicBezTo>
                <a:cubicBezTo>
                  <a:pt x="41601" y="24248"/>
                  <a:pt x="64069" y="51269"/>
                  <a:pt x="85914" y="78943"/>
                </a:cubicBezTo>
                <a:cubicBezTo>
                  <a:pt x="91106" y="85520"/>
                  <a:pt x="91706" y="91406"/>
                  <a:pt x="87893" y="99117"/>
                </a:cubicBezTo>
                <a:cubicBezTo>
                  <a:pt x="70127" y="135051"/>
                  <a:pt x="52890" y="171246"/>
                  <a:pt x="35459" y="207346"/>
                </a:cubicBezTo>
                <a:cubicBezTo>
                  <a:pt x="34391" y="209557"/>
                  <a:pt x="33130" y="211686"/>
                  <a:pt x="32223" y="213959"/>
                </a:cubicBezTo>
                <a:cubicBezTo>
                  <a:pt x="27471" y="225873"/>
                  <a:pt x="30154" y="236086"/>
                  <a:pt x="39509" y="242056"/>
                </a:cubicBezTo>
                <a:cubicBezTo>
                  <a:pt x="48880" y="248038"/>
                  <a:pt x="61705" y="246477"/>
                  <a:pt x="69474" y="237019"/>
                </a:cubicBezTo>
                <a:cubicBezTo>
                  <a:pt x="76712" y="228205"/>
                  <a:pt x="82824" y="218436"/>
                  <a:pt x="89101" y="208870"/>
                </a:cubicBezTo>
                <a:cubicBezTo>
                  <a:pt x="100096" y="192114"/>
                  <a:pt x="110806" y="175170"/>
                  <a:pt x="121716" y="158357"/>
                </a:cubicBezTo>
                <a:cubicBezTo>
                  <a:pt x="123679" y="155333"/>
                  <a:pt x="126029" y="152559"/>
                  <a:pt x="129330" y="148165"/>
                </a:cubicBezTo>
                <a:cubicBezTo>
                  <a:pt x="132450" y="152828"/>
                  <a:pt x="135175" y="156216"/>
                  <a:pt x="137171" y="159989"/>
                </a:cubicBezTo>
                <a:cubicBezTo>
                  <a:pt x="155891" y="195388"/>
                  <a:pt x="166343" y="232905"/>
                  <a:pt x="163812" y="273175"/>
                </a:cubicBezTo>
                <a:cubicBezTo>
                  <a:pt x="161183" y="314982"/>
                  <a:pt x="144984" y="351430"/>
                  <a:pt x="118151" y="383442"/>
                </a:cubicBezTo>
                <a:cubicBezTo>
                  <a:pt x="111214" y="391718"/>
                  <a:pt x="102452" y="394716"/>
                  <a:pt x="92325" y="395173"/>
                </a:cubicBezTo>
                <a:cubicBezTo>
                  <a:pt x="69461" y="396207"/>
                  <a:pt x="46593" y="397123"/>
                  <a:pt x="22609" y="398026"/>
                </a:cubicBezTo>
                <a:close/>
              </a:path>
            </a:pathLst>
          </a:custGeom>
          <a:solidFill>
            <a:srgbClr val="FCFDFD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212" name="Free-form: Shape 9211">
            <a:extLst>
              <a:ext uri="{FF2B5EF4-FFF2-40B4-BE49-F238E27FC236}">
                <a16:creationId xmlns:a16="http://schemas.microsoft.com/office/drawing/2014/main" id="{A64E77D0-29DE-37AC-3265-B48F081975F9}"/>
              </a:ext>
            </a:extLst>
          </p:cNvPr>
          <p:cNvSpPr/>
          <p:nvPr/>
        </p:nvSpPr>
        <p:spPr>
          <a:xfrm>
            <a:off x="5216197" y="5683558"/>
            <a:ext cx="305850" cy="64961"/>
          </a:xfrm>
          <a:custGeom>
            <a:avLst/>
            <a:gdLst>
              <a:gd name="csX0" fmla="*/ 105937 w 336434"/>
              <a:gd name="csY0" fmla="*/ 71458 h 71457"/>
              <a:gd name="csX1" fmla="*/ 3534 w 336434"/>
              <a:gd name="csY1" fmla="*/ 69115 h 71457"/>
              <a:gd name="csX2" fmla="*/ 1296 w 336434"/>
              <a:gd name="csY2" fmla="*/ 17910 h 71457"/>
              <a:gd name="csX3" fmla="*/ 14032 w 336434"/>
              <a:gd name="csY3" fmla="*/ 17908 h 71457"/>
              <a:gd name="csX4" fmla="*/ 102444 w 336434"/>
              <a:gd name="csY4" fmla="*/ 17433 h 71457"/>
              <a:gd name="csX5" fmla="*/ 284561 w 336434"/>
              <a:gd name="csY5" fmla="*/ 3564 h 71457"/>
              <a:gd name="csX6" fmla="*/ 311323 w 336434"/>
              <a:gd name="csY6" fmla="*/ 224 h 71457"/>
              <a:gd name="csX7" fmla="*/ 324313 w 336434"/>
              <a:gd name="csY7" fmla="*/ 6639 h 71457"/>
              <a:gd name="csX8" fmla="*/ 336434 w 336434"/>
              <a:gd name="csY8" fmla="*/ 46484 h 71457"/>
              <a:gd name="csX9" fmla="*/ 105937 w 336434"/>
              <a:gd name="csY9" fmla="*/ 71458 h 7145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336434" h="71457">
                <a:moveTo>
                  <a:pt x="105937" y="71458"/>
                </a:moveTo>
                <a:cubicBezTo>
                  <a:pt x="70820" y="70678"/>
                  <a:pt x="36930" y="69891"/>
                  <a:pt x="3534" y="69115"/>
                </a:cubicBezTo>
                <a:cubicBezTo>
                  <a:pt x="-81" y="59433"/>
                  <a:pt x="-1094" y="35337"/>
                  <a:pt x="1296" y="17910"/>
                </a:cubicBezTo>
                <a:cubicBezTo>
                  <a:pt x="5366" y="17910"/>
                  <a:pt x="9699" y="17923"/>
                  <a:pt x="14032" y="17908"/>
                </a:cubicBezTo>
                <a:cubicBezTo>
                  <a:pt x="43505" y="17812"/>
                  <a:pt x="73011" y="18557"/>
                  <a:pt x="102444" y="17433"/>
                </a:cubicBezTo>
                <a:cubicBezTo>
                  <a:pt x="163306" y="15109"/>
                  <a:pt x="224166" y="12264"/>
                  <a:pt x="284561" y="3564"/>
                </a:cubicBezTo>
                <a:cubicBezTo>
                  <a:pt x="293458" y="2283"/>
                  <a:pt x="302438" y="1575"/>
                  <a:pt x="311323" y="224"/>
                </a:cubicBezTo>
                <a:cubicBezTo>
                  <a:pt x="317371" y="-696"/>
                  <a:pt x="321247" y="1177"/>
                  <a:pt x="324313" y="6639"/>
                </a:cubicBezTo>
                <a:cubicBezTo>
                  <a:pt x="330512" y="17683"/>
                  <a:pt x="335236" y="31679"/>
                  <a:pt x="336434" y="46484"/>
                </a:cubicBezTo>
                <a:cubicBezTo>
                  <a:pt x="261124" y="64059"/>
                  <a:pt x="184356" y="69587"/>
                  <a:pt x="105937" y="71458"/>
                </a:cubicBezTo>
                <a:close/>
              </a:path>
            </a:pathLst>
          </a:custGeom>
          <a:solidFill>
            <a:srgbClr val="FCFCFC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213" name="Free-form: Shape 9212">
            <a:extLst>
              <a:ext uri="{FF2B5EF4-FFF2-40B4-BE49-F238E27FC236}">
                <a16:creationId xmlns:a16="http://schemas.microsoft.com/office/drawing/2014/main" id="{5C17303A-FCFC-7000-ACD5-128F72A4AAE4}"/>
              </a:ext>
            </a:extLst>
          </p:cNvPr>
          <p:cNvSpPr/>
          <p:nvPr/>
        </p:nvSpPr>
        <p:spPr>
          <a:xfrm>
            <a:off x="5229754" y="4852834"/>
            <a:ext cx="120683" cy="63097"/>
          </a:xfrm>
          <a:custGeom>
            <a:avLst/>
            <a:gdLst>
              <a:gd name="csX0" fmla="*/ 5051 w 132751"/>
              <a:gd name="csY0" fmla="*/ 7534 h 69406"/>
              <a:gd name="csX1" fmla="*/ 10615 w 132751"/>
              <a:gd name="csY1" fmla="*/ 3077 h 69406"/>
              <a:gd name="csX2" fmla="*/ 26541 w 132751"/>
              <a:gd name="csY2" fmla="*/ 2752 h 69406"/>
              <a:gd name="csX3" fmla="*/ 87728 w 132751"/>
              <a:gd name="csY3" fmla="*/ 89 h 69406"/>
              <a:gd name="csX4" fmla="*/ 101400 w 132751"/>
              <a:gd name="csY4" fmla="*/ 62 h 69406"/>
              <a:gd name="csX5" fmla="*/ 102924 w 132751"/>
              <a:gd name="csY5" fmla="*/ 4800 h 69406"/>
              <a:gd name="csX6" fmla="*/ 121469 w 132751"/>
              <a:gd name="csY6" fmla="*/ 43062 h 69406"/>
              <a:gd name="csX7" fmla="*/ 132751 w 132751"/>
              <a:gd name="csY7" fmla="*/ 65240 h 69406"/>
              <a:gd name="csX8" fmla="*/ 0 w 132751"/>
              <a:gd name="csY8" fmla="*/ 69406 h 69406"/>
              <a:gd name="csX9" fmla="*/ 5051 w 132751"/>
              <a:gd name="csY9" fmla="*/ 7534 h 6940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132751" h="69406">
                <a:moveTo>
                  <a:pt x="5051" y="7534"/>
                </a:moveTo>
                <a:cubicBezTo>
                  <a:pt x="6880" y="5272"/>
                  <a:pt x="8659" y="3268"/>
                  <a:pt x="10615" y="3077"/>
                </a:cubicBezTo>
                <a:cubicBezTo>
                  <a:pt x="15884" y="2564"/>
                  <a:pt x="21234" y="2972"/>
                  <a:pt x="26541" y="2752"/>
                </a:cubicBezTo>
                <a:cubicBezTo>
                  <a:pt x="46938" y="1911"/>
                  <a:pt x="67330" y="933"/>
                  <a:pt x="87728" y="89"/>
                </a:cubicBezTo>
                <a:cubicBezTo>
                  <a:pt x="92161" y="-94"/>
                  <a:pt x="96609" y="62"/>
                  <a:pt x="101400" y="62"/>
                </a:cubicBezTo>
                <a:cubicBezTo>
                  <a:pt x="101991" y="1827"/>
                  <a:pt x="102885" y="3302"/>
                  <a:pt x="102924" y="4800"/>
                </a:cubicBezTo>
                <a:cubicBezTo>
                  <a:pt x="103334" y="20376"/>
                  <a:pt x="108815" y="33165"/>
                  <a:pt x="121469" y="43062"/>
                </a:cubicBezTo>
                <a:cubicBezTo>
                  <a:pt x="127809" y="48021"/>
                  <a:pt x="132509" y="54869"/>
                  <a:pt x="132751" y="65240"/>
                </a:cubicBezTo>
                <a:cubicBezTo>
                  <a:pt x="88663" y="66624"/>
                  <a:pt x="45259" y="67986"/>
                  <a:pt x="0" y="69406"/>
                </a:cubicBezTo>
                <a:cubicBezTo>
                  <a:pt x="6474" y="48167"/>
                  <a:pt x="10658" y="28665"/>
                  <a:pt x="5051" y="7534"/>
                </a:cubicBezTo>
                <a:close/>
              </a:path>
            </a:pathLst>
          </a:custGeom>
          <a:solidFill>
            <a:srgbClr val="FBFCFB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214" name="Free-form: Shape 9213">
            <a:extLst>
              <a:ext uri="{FF2B5EF4-FFF2-40B4-BE49-F238E27FC236}">
                <a16:creationId xmlns:a16="http://schemas.microsoft.com/office/drawing/2014/main" id="{B5A81E47-55A0-FC0E-7401-178B5D0DAEFF}"/>
              </a:ext>
            </a:extLst>
          </p:cNvPr>
          <p:cNvSpPr/>
          <p:nvPr/>
        </p:nvSpPr>
        <p:spPr>
          <a:xfrm>
            <a:off x="5239391" y="4942448"/>
            <a:ext cx="150878" cy="35402"/>
          </a:xfrm>
          <a:custGeom>
            <a:avLst/>
            <a:gdLst>
              <a:gd name="csX0" fmla="*/ 80894 w 165965"/>
              <a:gd name="csY0" fmla="*/ 440 h 38942"/>
              <a:gd name="csX1" fmla="*/ 128629 w 165965"/>
              <a:gd name="csY1" fmla="*/ 5 h 38942"/>
              <a:gd name="csX2" fmla="*/ 155177 w 165965"/>
              <a:gd name="csY2" fmla="*/ 8091 h 38942"/>
              <a:gd name="csX3" fmla="*/ 164213 w 165965"/>
              <a:gd name="csY3" fmla="*/ 17723 h 38942"/>
              <a:gd name="csX4" fmla="*/ 159998 w 165965"/>
              <a:gd name="csY4" fmla="*/ 30717 h 38942"/>
              <a:gd name="csX5" fmla="*/ 146998 w 165965"/>
              <a:gd name="csY5" fmla="*/ 33737 h 38942"/>
              <a:gd name="csX6" fmla="*/ 12439 w 165965"/>
              <a:gd name="csY6" fmla="*/ 38914 h 38942"/>
              <a:gd name="csX7" fmla="*/ 0 w 165965"/>
              <a:gd name="csY7" fmla="*/ 38402 h 38942"/>
              <a:gd name="csX8" fmla="*/ 0 w 165965"/>
              <a:gd name="csY8" fmla="*/ 4598 h 38942"/>
              <a:gd name="csX9" fmla="*/ 80894 w 165965"/>
              <a:gd name="csY9" fmla="*/ 440 h 3894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165965" h="38942">
                <a:moveTo>
                  <a:pt x="80894" y="440"/>
                </a:moveTo>
                <a:cubicBezTo>
                  <a:pt x="97591" y="288"/>
                  <a:pt x="113111" y="227"/>
                  <a:pt x="128629" y="5"/>
                </a:cubicBezTo>
                <a:cubicBezTo>
                  <a:pt x="138376" y="-135"/>
                  <a:pt x="147226" y="2891"/>
                  <a:pt x="155177" y="8091"/>
                </a:cubicBezTo>
                <a:cubicBezTo>
                  <a:pt x="158779" y="10447"/>
                  <a:pt x="161992" y="14009"/>
                  <a:pt x="164213" y="17723"/>
                </a:cubicBezTo>
                <a:cubicBezTo>
                  <a:pt x="167602" y="23390"/>
                  <a:pt x="166013" y="28134"/>
                  <a:pt x="159998" y="30717"/>
                </a:cubicBezTo>
                <a:cubicBezTo>
                  <a:pt x="155963" y="32450"/>
                  <a:pt x="151384" y="33554"/>
                  <a:pt x="146998" y="33737"/>
                </a:cubicBezTo>
                <a:cubicBezTo>
                  <a:pt x="102152" y="35619"/>
                  <a:pt x="57295" y="37279"/>
                  <a:pt x="12439" y="38914"/>
                </a:cubicBezTo>
                <a:cubicBezTo>
                  <a:pt x="8467" y="39059"/>
                  <a:pt x="4472" y="38602"/>
                  <a:pt x="0" y="38402"/>
                </a:cubicBezTo>
                <a:cubicBezTo>
                  <a:pt x="0" y="27166"/>
                  <a:pt x="0" y="16774"/>
                  <a:pt x="0" y="4598"/>
                </a:cubicBezTo>
                <a:cubicBezTo>
                  <a:pt x="27063" y="3194"/>
                  <a:pt x="53389" y="1829"/>
                  <a:pt x="80894" y="440"/>
                </a:cubicBezTo>
                <a:close/>
              </a:path>
            </a:pathLst>
          </a:custGeom>
          <a:solidFill>
            <a:srgbClr val="FBFCFB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215" name="Free-form: Shape 9214">
            <a:extLst>
              <a:ext uri="{FF2B5EF4-FFF2-40B4-BE49-F238E27FC236}">
                <a16:creationId xmlns:a16="http://schemas.microsoft.com/office/drawing/2014/main" id="{C9BE1681-E636-FD62-09D9-8446A22095F2}"/>
              </a:ext>
            </a:extLst>
          </p:cNvPr>
          <p:cNvSpPr/>
          <p:nvPr/>
        </p:nvSpPr>
        <p:spPr>
          <a:xfrm>
            <a:off x="5223242" y="4381624"/>
            <a:ext cx="39402" cy="42156"/>
          </a:xfrm>
          <a:custGeom>
            <a:avLst/>
            <a:gdLst>
              <a:gd name="csX0" fmla="*/ 40602 w 43343"/>
              <a:gd name="csY0" fmla="*/ 12465 h 46372"/>
              <a:gd name="csX1" fmla="*/ 43214 w 43343"/>
              <a:gd name="csY1" fmla="*/ 21324 h 46372"/>
              <a:gd name="csX2" fmla="*/ 23859 w 43343"/>
              <a:gd name="csY2" fmla="*/ 46319 h 46372"/>
              <a:gd name="csX3" fmla="*/ 5 w 43343"/>
              <a:gd name="csY3" fmla="*/ 23820 h 46372"/>
              <a:gd name="csX4" fmla="*/ 4855 w 43343"/>
              <a:gd name="csY4" fmla="*/ 5679 h 46372"/>
              <a:gd name="csX5" fmla="*/ 40602 w 43343"/>
              <a:gd name="csY5" fmla="*/ 12465 h 4637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</a:cxnLst>
            <a:rect l="l" t="t" r="r" b="b"/>
            <a:pathLst>
              <a:path w="43343" h="46372">
                <a:moveTo>
                  <a:pt x="40602" y="12465"/>
                </a:moveTo>
                <a:cubicBezTo>
                  <a:pt x="41913" y="15811"/>
                  <a:pt x="42933" y="18530"/>
                  <a:pt x="43214" y="21324"/>
                </a:cubicBezTo>
                <a:cubicBezTo>
                  <a:pt x="44519" y="34348"/>
                  <a:pt x="35870" y="45401"/>
                  <a:pt x="23859" y="46319"/>
                </a:cubicBezTo>
                <a:cubicBezTo>
                  <a:pt x="11890" y="47233"/>
                  <a:pt x="-280" y="36371"/>
                  <a:pt x="5" y="23820"/>
                </a:cubicBezTo>
                <a:cubicBezTo>
                  <a:pt x="136" y="18011"/>
                  <a:pt x="2893" y="12263"/>
                  <a:pt x="4855" y="5679"/>
                </a:cubicBezTo>
                <a:cubicBezTo>
                  <a:pt x="20601" y="-3403"/>
                  <a:pt x="28004" y="-1910"/>
                  <a:pt x="40602" y="12465"/>
                </a:cubicBezTo>
                <a:close/>
              </a:path>
            </a:pathLst>
          </a:custGeom>
          <a:solidFill>
            <a:srgbClr val="FBFCFB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216" name="Oval 9215">
            <a:extLst>
              <a:ext uri="{FF2B5EF4-FFF2-40B4-BE49-F238E27FC236}">
                <a16:creationId xmlns:a16="http://schemas.microsoft.com/office/drawing/2014/main" id="{A3920215-4A68-C140-AD22-CD4FAB6D1F8B}"/>
              </a:ext>
            </a:extLst>
          </p:cNvPr>
          <p:cNvSpPr/>
          <p:nvPr/>
        </p:nvSpPr>
        <p:spPr>
          <a:xfrm>
            <a:off x="8361601" y="5666931"/>
            <a:ext cx="739960" cy="152189"/>
          </a:xfrm>
          <a:prstGeom prst="ellipse">
            <a:avLst/>
          </a:prstGeom>
          <a:solidFill>
            <a:schemeClr val="tx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217" name="Free-form: Shape 9216">
            <a:extLst>
              <a:ext uri="{FF2B5EF4-FFF2-40B4-BE49-F238E27FC236}">
                <a16:creationId xmlns:a16="http://schemas.microsoft.com/office/drawing/2014/main" id="{E2995F1A-473A-6107-F3BF-389C781325AA}"/>
              </a:ext>
            </a:extLst>
          </p:cNvPr>
          <p:cNvSpPr/>
          <p:nvPr/>
        </p:nvSpPr>
        <p:spPr>
          <a:xfrm>
            <a:off x="8441564" y="4365354"/>
            <a:ext cx="650203" cy="1414846"/>
          </a:xfrm>
          <a:custGeom>
            <a:avLst/>
            <a:gdLst>
              <a:gd name="csX0" fmla="*/ 466852 w 715223"/>
              <a:gd name="csY0" fmla="*/ 229083 h 1556330"/>
              <a:gd name="csX1" fmla="*/ 462328 w 715223"/>
              <a:gd name="csY1" fmla="*/ 242604 h 1556330"/>
              <a:gd name="csX2" fmla="*/ 496944 w 715223"/>
              <a:gd name="csY2" fmla="*/ 204739 h 1556330"/>
              <a:gd name="csX3" fmla="*/ 534359 w 715223"/>
              <a:gd name="csY3" fmla="*/ 270960 h 1556330"/>
              <a:gd name="csX4" fmla="*/ 540589 w 715223"/>
              <a:gd name="csY4" fmla="*/ 445986 h 1556330"/>
              <a:gd name="csX5" fmla="*/ 509727 w 715223"/>
              <a:gd name="csY5" fmla="*/ 496924 h 1556330"/>
              <a:gd name="csX6" fmla="*/ 505366 w 715223"/>
              <a:gd name="csY6" fmla="*/ 511893 h 1556330"/>
              <a:gd name="csX7" fmla="*/ 501982 w 715223"/>
              <a:gd name="csY7" fmla="*/ 530377 h 1556330"/>
              <a:gd name="csX8" fmla="*/ 505678 w 715223"/>
              <a:gd name="csY8" fmla="*/ 556455 h 1556330"/>
              <a:gd name="csX9" fmla="*/ 526115 w 715223"/>
              <a:gd name="csY9" fmla="*/ 591784 h 1556330"/>
              <a:gd name="csX10" fmla="*/ 541579 w 715223"/>
              <a:gd name="csY10" fmla="*/ 612264 h 1556330"/>
              <a:gd name="csX11" fmla="*/ 569572 w 715223"/>
              <a:gd name="csY11" fmla="*/ 643441 h 1556330"/>
              <a:gd name="csX12" fmla="*/ 555234 w 715223"/>
              <a:gd name="csY12" fmla="*/ 688473 h 1556330"/>
              <a:gd name="csX13" fmla="*/ 513278 w 715223"/>
              <a:gd name="csY13" fmla="*/ 700556 h 1556330"/>
              <a:gd name="csX14" fmla="*/ 488559 w 715223"/>
              <a:gd name="csY14" fmla="*/ 702821 h 1556330"/>
              <a:gd name="csX15" fmla="*/ 488544 w 715223"/>
              <a:gd name="csY15" fmla="*/ 718085 h 1556330"/>
              <a:gd name="csX16" fmla="*/ 526561 w 715223"/>
              <a:gd name="csY16" fmla="*/ 1010212 h 1556330"/>
              <a:gd name="csX17" fmla="*/ 569986 w 715223"/>
              <a:gd name="csY17" fmla="*/ 1153317 h 1556330"/>
              <a:gd name="csX18" fmla="*/ 587389 w 715223"/>
              <a:gd name="csY18" fmla="*/ 1172173 h 1556330"/>
              <a:gd name="csX19" fmla="*/ 606286 w 715223"/>
              <a:gd name="csY19" fmla="*/ 1180891 h 1556330"/>
              <a:gd name="csX20" fmla="*/ 613400 w 715223"/>
              <a:gd name="csY20" fmla="*/ 1204260 h 1556330"/>
              <a:gd name="csX21" fmla="*/ 605350 w 715223"/>
              <a:gd name="csY21" fmla="*/ 1216760 h 1556330"/>
              <a:gd name="csX22" fmla="*/ 600268 w 715223"/>
              <a:gd name="csY22" fmla="*/ 1220273 h 1556330"/>
              <a:gd name="csX23" fmla="*/ 610574 w 715223"/>
              <a:gd name="csY23" fmla="*/ 1258750 h 1556330"/>
              <a:gd name="csX24" fmla="*/ 672371 w 715223"/>
              <a:gd name="csY24" fmla="*/ 1319810 h 1556330"/>
              <a:gd name="csX25" fmla="*/ 675494 w 715223"/>
              <a:gd name="csY25" fmla="*/ 1323366 h 1556330"/>
              <a:gd name="csX26" fmla="*/ 692949 w 715223"/>
              <a:gd name="csY26" fmla="*/ 1396068 h 1556330"/>
              <a:gd name="csX27" fmla="*/ 690628 w 715223"/>
              <a:gd name="csY27" fmla="*/ 1414117 h 1556330"/>
              <a:gd name="csX28" fmla="*/ 695588 w 715223"/>
              <a:gd name="csY28" fmla="*/ 1421035 h 1556330"/>
              <a:gd name="csX29" fmla="*/ 694353 w 715223"/>
              <a:gd name="csY29" fmla="*/ 1425190 h 1556330"/>
              <a:gd name="csX30" fmla="*/ 689106 w 715223"/>
              <a:gd name="csY30" fmla="*/ 1428714 h 1556330"/>
              <a:gd name="csX31" fmla="*/ 695093 w 715223"/>
              <a:gd name="csY31" fmla="*/ 1428433 h 1556330"/>
              <a:gd name="csX32" fmla="*/ 697643 w 715223"/>
              <a:gd name="csY32" fmla="*/ 1432864 h 1556330"/>
              <a:gd name="csX33" fmla="*/ 698207 w 715223"/>
              <a:gd name="csY33" fmla="*/ 1441988 h 1556330"/>
              <a:gd name="csX34" fmla="*/ 715183 w 715223"/>
              <a:gd name="csY34" fmla="*/ 1508752 h 1556330"/>
              <a:gd name="csX35" fmla="*/ 701540 w 715223"/>
              <a:gd name="csY35" fmla="*/ 1526524 h 1556330"/>
              <a:gd name="csX36" fmla="*/ 581715 w 715223"/>
              <a:gd name="csY36" fmla="*/ 1548559 h 1556330"/>
              <a:gd name="csX37" fmla="*/ 522168 w 715223"/>
              <a:gd name="csY37" fmla="*/ 1553543 h 1556330"/>
              <a:gd name="csX38" fmla="*/ 450008 w 715223"/>
              <a:gd name="csY38" fmla="*/ 1556019 h 1556330"/>
              <a:gd name="csX39" fmla="*/ 245169 w 715223"/>
              <a:gd name="csY39" fmla="*/ 1553749 h 1556330"/>
              <a:gd name="csX40" fmla="*/ 221854 w 715223"/>
              <a:gd name="csY40" fmla="*/ 1553306 h 1556330"/>
              <a:gd name="csX41" fmla="*/ 168405 w 715223"/>
              <a:gd name="csY41" fmla="*/ 1548828 h 1556330"/>
              <a:gd name="csX42" fmla="*/ 126970 w 715223"/>
              <a:gd name="csY42" fmla="*/ 1546091 h 1556330"/>
              <a:gd name="csX43" fmla="*/ 104053 w 715223"/>
              <a:gd name="csY43" fmla="*/ 1542912 h 1556330"/>
              <a:gd name="csX44" fmla="*/ 65625 w 715223"/>
              <a:gd name="csY44" fmla="*/ 1536401 h 1556330"/>
              <a:gd name="csX45" fmla="*/ 10909 w 715223"/>
              <a:gd name="csY45" fmla="*/ 1524010 h 1556330"/>
              <a:gd name="csX46" fmla="*/ 8 w 715223"/>
              <a:gd name="csY46" fmla="*/ 1509263 h 1556330"/>
              <a:gd name="csX47" fmla="*/ 21158 w 715223"/>
              <a:gd name="csY47" fmla="*/ 1433611 h 1556330"/>
              <a:gd name="csX48" fmla="*/ 23462 w 715223"/>
              <a:gd name="csY48" fmla="*/ 1418658 h 1556330"/>
              <a:gd name="csX49" fmla="*/ 19643 w 715223"/>
              <a:gd name="csY49" fmla="*/ 1382324 h 1556330"/>
              <a:gd name="csX50" fmla="*/ 49060 w 715223"/>
              <a:gd name="csY50" fmla="*/ 1311832 h 1556330"/>
              <a:gd name="csX51" fmla="*/ 109176 w 715223"/>
              <a:gd name="csY51" fmla="*/ 1254078 h 1556330"/>
              <a:gd name="csX52" fmla="*/ 118319 w 715223"/>
              <a:gd name="csY52" fmla="*/ 1214801 h 1556330"/>
              <a:gd name="csX53" fmla="*/ 113082 w 715223"/>
              <a:gd name="csY53" fmla="*/ 1201084 h 1556330"/>
              <a:gd name="csX54" fmla="*/ 120417 w 715223"/>
              <a:gd name="csY54" fmla="*/ 1183950 h 1556330"/>
              <a:gd name="csX55" fmla="*/ 135209 w 715223"/>
              <a:gd name="csY55" fmla="*/ 1178138 h 1556330"/>
              <a:gd name="csX56" fmla="*/ 156535 w 715223"/>
              <a:gd name="csY56" fmla="*/ 1156396 h 1556330"/>
              <a:gd name="csX57" fmla="*/ 185647 w 715223"/>
              <a:gd name="csY57" fmla="*/ 1061682 h 1556330"/>
              <a:gd name="csX58" fmla="*/ 201074 w 715223"/>
              <a:gd name="csY58" fmla="*/ 1005093 h 1556330"/>
              <a:gd name="csX59" fmla="*/ 213864 w 715223"/>
              <a:gd name="csY59" fmla="*/ 943040 h 1556330"/>
              <a:gd name="csX60" fmla="*/ 223580 w 715223"/>
              <a:gd name="csY60" fmla="*/ 884167 h 1556330"/>
              <a:gd name="csX61" fmla="*/ 228827 w 715223"/>
              <a:gd name="csY61" fmla="*/ 839382 h 1556330"/>
              <a:gd name="csX62" fmla="*/ 233251 w 715223"/>
              <a:gd name="csY62" fmla="*/ 794539 h 1556330"/>
              <a:gd name="csX63" fmla="*/ 233413 w 715223"/>
              <a:gd name="csY63" fmla="*/ 708554 h 1556330"/>
              <a:gd name="csX64" fmla="*/ 232253 w 715223"/>
              <a:gd name="csY64" fmla="*/ 699181 h 1556330"/>
              <a:gd name="csX65" fmla="*/ 192775 w 715223"/>
              <a:gd name="csY65" fmla="*/ 693131 h 1556330"/>
              <a:gd name="csX66" fmla="*/ 166222 w 715223"/>
              <a:gd name="csY66" fmla="*/ 684229 h 1556330"/>
              <a:gd name="csX67" fmla="*/ 153485 w 715223"/>
              <a:gd name="csY67" fmla="*/ 649704 h 1556330"/>
              <a:gd name="csX68" fmla="*/ 179302 w 715223"/>
              <a:gd name="csY68" fmla="*/ 621006 h 1556330"/>
              <a:gd name="csX69" fmla="*/ 192182 w 715223"/>
              <a:gd name="csY69" fmla="*/ 601675 h 1556330"/>
              <a:gd name="csX70" fmla="*/ 204894 w 715223"/>
              <a:gd name="csY70" fmla="*/ 583417 h 1556330"/>
              <a:gd name="csX71" fmla="*/ 233213 w 715223"/>
              <a:gd name="csY71" fmla="*/ 564393 h 1556330"/>
              <a:gd name="csX72" fmla="*/ 229725 w 715223"/>
              <a:gd name="csY72" fmla="*/ 538177 h 1556330"/>
              <a:gd name="csX73" fmla="*/ 218771 w 715223"/>
              <a:gd name="csY73" fmla="*/ 532633 h 1556330"/>
              <a:gd name="csX74" fmla="*/ 215183 w 715223"/>
              <a:gd name="csY74" fmla="*/ 521568 h 1556330"/>
              <a:gd name="csX75" fmla="*/ 223368 w 715223"/>
              <a:gd name="csY75" fmla="*/ 508901 h 1556330"/>
              <a:gd name="csX76" fmla="*/ 218372 w 715223"/>
              <a:gd name="csY76" fmla="*/ 498135 h 1556330"/>
              <a:gd name="csX77" fmla="*/ 181440 w 715223"/>
              <a:gd name="csY77" fmla="*/ 432308 h 1556330"/>
              <a:gd name="csX78" fmla="*/ 167535 w 715223"/>
              <a:gd name="csY78" fmla="*/ 349841 h 1556330"/>
              <a:gd name="csX79" fmla="*/ 193488 w 715223"/>
              <a:gd name="csY79" fmla="*/ 262518 h 1556330"/>
              <a:gd name="csX80" fmla="*/ 237748 w 715223"/>
              <a:gd name="csY80" fmla="*/ 190690 h 1556330"/>
              <a:gd name="csX81" fmla="*/ 309459 w 715223"/>
              <a:gd name="csY81" fmla="*/ 102623 h 1556330"/>
              <a:gd name="csX82" fmla="*/ 310459 w 715223"/>
              <a:gd name="csY82" fmla="*/ 78521 h 1556330"/>
              <a:gd name="csX83" fmla="*/ 300267 w 715223"/>
              <a:gd name="csY83" fmla="*/ 57856 h 1556330"/>
              <a:gd name="csX84" fmla="*/ 332242 w 715223"/>
              <a:gd name="csY84" fmla="*/ 4422 h 1556330"/>
              <a:gd name="csX85" fmla="*/ 384904 w 715223"/>
              <a:gd name="csY85" fmla="*/ 5551 h 1556330"/>
              <a:gd name="csX86" fmla="*/ 409773 w 715223"/>
              <a:gd name="csY86" fmla="*/ 26778 h 1556330"/>
              <a:gd name="csX87" fmla="*/ 407026 w 715223"/>
              <a:gd name="csY87" fmla="*/ 46052 h 1556330"/>
              <a:gd name="csX88" fmla="*/ 402771 w 715223"/>
              <a:gd name="csY88" fmla="*/ 30951 h 1556330"/>
              <a:gd name="csX89" fmla="*/ 397038 w 715223"/>
              <a:gd name="csY89" fmla="*/ 30361 h 1556330"/>
              <a:gd name="csX90" fmla="*/ 360694 w 715223"/>
              <a:gd name="csY90" fmla="*/ 22760 h 1556330"/>
              <a:gd name="csX91" fmla="*/ 351669 w 715223"/>
              <a:gd name="csY91" fmla="*/ 31736 h 1556330"/>
              <a:gd name="csX92" fmla="*/ 351426 w 715223"/>
              <a:gd name="csY92" fmla="*/ 43987 h 1556330"/>
              <a:gd name="csX93" fmla="*/ 390968 w 715223"/>
              <a:gd name="csY93" fmla="*/ 68762 h 1556330"/>
              <a:gd name="csX94" fmla="*/ 401770 w 715223"/>
              <a:gd name="csY94" fmla="*/ 59025 h 1556330"/>
              <a:gd name="csX95" fmla="*/ 409619 w 715223"/>
              <a:gd name="csY95" fmla="*/ 55786 h 1556330"/>
              <a:gd name="csX96" fmla="*/ 410427 w 715223"/>
              <a:gd name="csY96" fmla="*/ 64256 h 1556330"/>
              <a:gd name="csX97" fmla="*/ 399453 w 715223"/>
              <a:gd name="csY97" fmla="*/ 81811 h 1556330"/>
              <a:gd name="csX98" fmla="*/ 399346 w 715223"/>
              <a:gd name="csY98" fmla="*/ 98083 h 1556330"/>
              <a:gd name="csX99" fmla="*/ 471592 w 715223"/>
              <a:gd name="csY99" fmla="*/ 180524 h 1556330"/>
              <a:gd name="csX100" fmla="*/ 473550 w 715223"/>
              <a:gd name="csY100" fmla="*/ 200923 h 1556330"/>
              <a:gd name="csX101" fmla="*/ 463677 w 715223"/>
              <a:gd name="csY101" fmla="*/ 223311 h 1556330"/>
              <a:gd name="csX102" fmla="*/ 466852 w 715223"/>
              <a:gd name="csY102" fmla="*/ 229083 h 1556330"/>
              <a:gd name="csX103" fmla="*/ 474186 w 715223"/>
              <a:gd name="csY103" fmla="*/ 928382 h 1556330"/>
              <a:gd name="csX104" fmla="*/ 459927 w 715223"/>
              <a:gd name="csY104" fmla="*/ 817790 h 1556330"/>
              <a:gd name="csX105" fmla="*/ 456025 w 715223"/>
              <a:gd name="csY105" fmla="*/ 706469 h 1556330"/>
              <a:gd name="csX106" fmla="*/ 366863 w 715223"/>
              <a:gd name="csY106" fmla="*/ 710754 h 1556330"/>
              <a:gd name="csX107" fmla="*/ 366159 w 715223"/>
              <a:gd name="csY107" fmla="*/ 719219 h 1556330"/>
              <a:gd name="csX108" fmla="*/ 364159 w 715223"/>
              <a:gd name="csY108" fmla="*/ 834581 h 1556330"/>
              <a:gd name="csX109" fmla="*/ 361633 w 715223"/>
              <a:gd name="csY109" fmla="*/ 940117 h 1556330"/>
              <a:gd name="csX110" fmla="*/ 358313 w 715223"/>
              <a:gd name="csY110" fmla="*/ 1053005 h 1556330"/>
              <a:gd name="csX111" fmla="*/ 358081 w 715223"/>
              <a:gd name="csY111" fmla="*/ 1057912 h 1556330"/>
              <a:gd name="csX112" fmla="*/ 353706 w 715223"/>
              <a:gd name="csY112" fmla="*/ 1164570 h 1556330"/>
              <a:gd name="csX113" fmla="*/ 354951 w 715223"/>
              <a:gd name="csY113" fmla="*/ 1172547 h 1556330"/>
              <a:gd name="csX114" fmla="*/ 540959 w 715223"/>
              <a:gd name="csY114" fmla="*/ 1175972 h 1556330"/>
              <a:gd name="csX115" fmla="*/ 474186 w 715223"/>
              <a:gd name="csY115" fmla="*/ 928382 h 1556330"/>
              <a:gd name="csX116" fmla="*/ 513768 w 715223"/>
              <a:gd name="csY116" fmla="*/ 1417676 h 1556330"/>
              <a:gd name="csX117" fmla="*/ 519822 w 715223"/>
              <a:gd name="csY117" fmla="*/ 1416700 h 1556330"/>
              <a:gd name="csX118" fmla="*/ 632041 w 715223"/>
              <a:gd name="csY118" fmla="*/ 1406122 h 1556330"/>
              <a:gd name="csX119" fmla="*/ 665040 w 715223"/>
              <a:gd name="csY119" fmla="*/ 1400634 h 1556330"/>
              <a:gd name="csX120" fmla="*/ 665677 w 715223"/>
              <a:gd name="csY120" fmla="*/ 1396126 h 1556330"/>
              <a:gd name="csX121" fmla="*/ 665529 w 715223"/>
              <a:gd name="csY121" fmla="*/ 1389994 h 1556330"/>
              <a:gd name="csX122" fmla="*/ 623046 w 715223"/>
              <a:gd name="csY122" fmla="*/ 1306238 h 1556330"/>
              <a:gd name="csX123" fmla="*/ 596015 w 715223"/>
              <a:gd name="csY123" fmla="*/ 1281285 h 1556330"/>
              <a:gd name="csX124" fmla="*/ 567683 w 715223"/>
              <a:gd name="csY124" fmla="*/ 1220059 h 1556330"/>
              <a:gd name="csX125" fmla="*/ 540273 w 715223"/>
              <a:gd name="csY125" fmla="*/ 1220129 h 1556330"/>
              <a:gd name="csX126" fmla="*/ 424010 w 715223"/>
              <a:gd name="csY126" fmla="*/ 1226781 h 1556330"/>
              <a:gd name="csX127" fmla="*/ 357832 w 715223"/>
              <a:gd name="csY127" fmla="*/ 1229178 h 1556330"/>
              <a:gd name="csX128" fmla="*/ 352386 w 715223"/>
              <a:gd name="csY128" fmla="*/ 1230616 h 1556330"/>
              <a:gd name="csX129" fmla="*/ 355852 w 715223"/>
              <a:gd name="csY129" fmla="*/ 1324222 h 1556330"/>
              <a:gd name="csX130" fmla="*/ 352930 w 715223"/>
              <a:gd name="csY130" fmla="*/ 1417867 h 1556330"/>
              <a:gd name="csX131" fmla="*/ 513768 w 715223"/>
              <a:gd name="csY131" fmla="*/ 1417676 h 1556330"/>
              <a:gd name="csX132" fmla="*/ 387930 w 715223"/>
              <a:gd name="csY132" fmla="*/ 499741 h 1556330"/>
              <a:gd name="csX133" fmla="*/ 456529 w 715223"/>
              <a:gd name="csY133" fmla="*/ 496826 h 1556330"/>
              <a:gd name="csX134" fmla="*/ 482355 w 715223"/>
              <a:gd name="csY134" fmla="*/ 485095 h 1556330"/>
              <a:gd name="csX135" fmla="*/ 528016 w 715223"/>
              <a:gd name="csY135" fmla="*/ 374829 h 1556330"/>
              <a:gd name="csX136" fmla="*/ 501375 w 715223"/>
              <a:gd name="csY136" fmla="*/ 261643 h 1556330"/>
              <a:gd name="csX137" fmla="*/ 493534 w 715223"/>
              <a:gd name="csY137" fmla="*/ 249818 h 1556330"/>
              <a:gd name="csX138" fmla="*/ 485920 w 715223"/>
              <a:gd name="csY138" fmla="*/ 260010 h 1556330"/>
              <a:gd name="csX139" fmla="*/ 453305 w 715223"/>
              <a:gd name="csY139" fmla="*/ 310523 h 1556330"/>
              <a:gd name="csX140" fmla="*/ 433678 w 715223"/>
              <a:gd name="csY140" fmla="*/ 338672 h 1556330"/>
              <a:gd name="csX141" fmla="*/ 403713 w 715223"/>
              <a:gd name="csY141" fmla="*/ 343710 h 1556330"/>
              <a:gd name="csX142" fmla="*/ 396427 w 715223"/>
              <a:gd name="csY142" fmla="*/ 315612 h 1556330"/>
              <a:gd name="csX143" fmla="*/ 399663 w 715223"/>
              <a:gd name="csY143" fmla="*/ 309000 h 1556330"/>
              <a:gd name="csX144" fmla="*/ 452097 w 715223"/>
              <a:gd name="csY144" fmla="*/ 200770 h 1556330"/>
              <a:gd name="csX145" fmla="*/ 450118 w 715223"/>
              <a:gd name="csY145" fmla="*/ 180596 h 1556330"/>
              <a:gd name="csX146" fmla="*/ 376545 w 715223"/>
              <a:gd name="csY146" fmla="*/ 105525 h 1556330"/>
              <a:gd name="csX147" fmla="*/ 368791 w 715223"/>
              <a:gd name="csY147" fmla="*/ 101653 h 1556330"/>
              <a:gd name="csX148" fmla="*/ 366449 w 715223"/>
              <a:gd name="csY148" fmla="*/ 144676 h 1556330"/>
              <a:gd name="csX149" fmla="*/ 365447 w 715223"/>
              <a:gd name="csY149" fmla="*/ 183946 h 1556330"/>
              <a:gd name="csX150" fmla="*/ 364738 w 715223"/>
              <a:gd name="csY150" fmla="*/ 298022 h 1556330"/>
              <a:gd name="csX151" fmla="*/ 373865 w 715223"/>
              <a:gd name="csY151" fmla="*/ 430096 h 1556330"/>
              <a:gd name="csX152" fmla="*/ 381088 w 715223"/>
              <a:gd name="csY152" fmla="*/ 492169 h 1556330"/>
              <a:gd name="csX153" fmla="*/ 387930 w 715223"/>
              <a:gd name="csY153" fmla="*/ 499741 h 1556330"/>
              <a:gd name="csX154" fmla="*/ 455850 w 715223"/>
              <a:gd name="csY154" fmla="*/ 1521476 h 1556330"/>
              <a:gd name="csX155" fmla="*/ 685121 w 715223"/>
              <a:gd name="csY155" fmla="*/ 1496509 h 1556330"/>
              <a:gd name="csX156" fmla="*/ 672999 w 715223"/>
              <a:gd name="csY156" fmla="*/ 1456665 h 1556330"/>
              <a:gd name="csX157" fmla="*/ 660009 w 715223"/>
              <a:gd name="csY157" fmla="*/ 1450249 h 1556330"/>
              <a:gd name="csX158" fmla="*/ 633248 w 715223"/>
              <a:gd name="csY158" fmla="*/ 1453589 h 1556330"/>
              <a:gd name="csX159" fmla="*/ 451131 w 715223"/>
              <a:gd name="csY159" fmla="*/ 1467458 h 1556330"/>
              <a:gd name="csX160" fmla="*/ 362719 w 715223"/>
              <a:gd name="csY160" fmla="*/ 1467934 h 1556330"/>
              <a:gd name="csX161" fmla="*/ 349983 w 715223"/>
              <a:gd name="csY161" fmla="*/ 1467936 h 1556330"/>
              <a:gd name="csX162" fmla="*/ 352220 w 715223"/>
              <a:gd name="csY162" fmla="*/ 1519140 h 1556330"/>
              <a:gd name="csX163" fmla="*/ 455850 w 715223"/>
              <a:gd name="csY163" fmla="*/ 1521476 h 1556330"/>
              <a:gd name="csX164" fmla="*/ 368682 w 715223"/>
              <a:gd name="csY164" fmla="*/ 544846 h 1556330"/>
              <a:gd name="csX165" fmla="*/ 363600 w 715223"/>
              <a:gd name="csY165" fmla="*/ 605633 h 1556330"/>
              <a:gd name="csX166" fmla="*/ 496351 w 715223"/>
              <a:gd name="csY166" fmla="*/ 601466 h 1556330"/>
              <a:gd name="csX167" fmla="*/ 485068 w 715223"/>
              <a:gd name="csY167" fmla="*/ 579288 h 1556330"/>
              <a:gd name="csX168" fmla="*/ 466524 w 715223"/>
              <a:gd name="csY168" fmla="*/ 541026 h 1556330"/>
              <a:gd name="csX169" fmla="*/ 465000 w 715223"/>
              <a:gd name="csY169" fmla="*/ 536289 h 1556330"/>
              <a:gd name="csX170" fmla="*/ 451328 w 715223"/>
              <a:gd name="csY170" fmla="*/ 536316 h 1556330"/>
              <a:gd name="csX171" fmla="*/ 390140 w 715223"/>
              <a:gd name="csY171" fmla="*/ 538979 h 1556330"/>
              <a:gd name="csX172" fmla="*/ 374215 w 715223"/>
              <a:gd name="csY172" fmla="*/ 539303 h 1556330"/>
              <a:gd name="csX173" fmla="*/ 368682 w 715223"/>
              <a:gd name="csY173" fmla="*/ 544846 h 1556330"/>
              <a:gd name="csX174" fmla="*/ 453915 w 715223"/>
              <a:gd name="csY174" fmla="*/ 635267 h 1556330"/>
              <a:gd name="csX175" fmla="*/ 374200 w 715223"/>
              <a:gd name="csY175" fmla="*/ 639402 h 1556330"/>
              <a:gd name="csX176" fmla="*/ 374200 w 715223"/>
              <a:gd name="csY176" fmla="*/ 673206 h 1556330"/>
              <a:gd name="csX177" fmla="*/ 386639 w 715223"/>
              <a:gd name="csY177" fmla="*/ 673718 h 1556330"/>
              <a:gd name="csX178" fmla="*/ 521198 w 715223"/>
              <a:gd name="csY178" fmla="*/ 668541 h 1556330"/>
              <a:gd name="csX179" fmla="*/ 534198 w 715223"/>
              <a:gd name="csY179" fmla="*/ 665521 h 1556330"/>
              <a:gd name="csX180" fmla="*/ 538413 w 715223"/>
              <a:gd name="csY180" fmla="*/ 652526 h 1556330"/>
              <a:gd name="csX181" fmla="*/ 529377 w 715223"/>
              <a:gd name="csY181" fmla="*/ 642895 h 1556330"/>
              <a:gd name="csX182" fmla="*/ 502829 w 715223"/>
              <a:gd name="csY182" fmla="*/ 634808 h 1556330"/>
              <a:gd name="csX183" fmla="*/ 453915 w 715223"/>
              <a:gd name="csY183" fmla="*/ 635267 h 155633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  <a:cxn ang="0">
                <a:pos x="csX170" y="csY170"/>
              </a:cxn>
              <a:cxn ang="0">
                <a:pos x="csX171" y="csY171"/>
              </a:cxn>
              <a:cxn ang="0">
                <a:pos x="csX172" y="csY172"/>
              </a:cxn>
              <a:cxn ang="0">
                <a:pos x="csX173" y="csY173"/>
              </a:cxn>
              <a:cxn ang="0">
                <a:pos x="csX174" y="csY174"/>
              </a:cxn>
              <a:cxn ang="0">
                <a:pos x="csX175" y="csY175"/>
              </a:cxn>
              <a:cxn ang="0">
                <a:pos x="csX176" y="csY176"/>
              </a:cxn>
              <a:cxn ang="0">
                <a:pos x="csX177" y="csY177"/>
              </a:cxn>
              <a:cxn ang="0">
                <a:pos x="csX178" y="csY178"/>
              </a:cxn>
              <a:cxn ang="0">
                <a:pos x="csX179" y="csY179"/>
              </a:cxn>
              <a:cxn ang="0">
                <a:pos x="csX180" y="csY180"/>
              </a:cxn>
              <a:cxn ang="0">
                <a:pos x="csX181" y="csY181"/>
              </a:cxn>
              <a:cxn ang="0">
                <a:pos x="csX182" y="csY182"/>
              </a:cxn>
              <a:cxn ang="0">
                <a:pos x="csX183" y="csY183"/>
              </a:cxn>
            </a:cxnLst>
            <a:rect l="l" t="t" r="r" b="b"/>
            <a:pathLst>
              <a:path w="715223" h="1556330">
                <a:moveTo>
                  <a:pt x="466852" y="229083"/>
                </a:moveTo>
                <a:cubicBezTo>
                  <a:pt x="465344" y="233590"/>
                  <a:pt x="463836" y="238097"/>
                  <a:pt x="462328" y="242604"/>
                </a:cubicBezTo>
                <a:cubicBezTo>
                  <a:pt x="476604" y="232528"/>
                  <a:pt x="484219" y="216936"/>
                  <a:pt x="496944" y="204739"/>
                </a:cubicBezTo>
                <a:cubicBezTo>
                  <a:pt x="511903" y="225901"/>
                  <a:pt x="524807" y="247414"/>
                  <a:pt x="534359" y="270960"/>
                </a:cubicBezTo>
                <a:cubicBezTo>
                  <a:pt x="557740" y="328591"/>
                  <a:pt x="560223" y="386926"/>
                  <a:pt x="540589" y="445986"/>
                </a:cubicBezTo>
                <a:cubicBezTo>
                  <a:pt x="534197" y="465215"/>
                  <a:pt x="524450" y="482672"/>
                  <a:pt x="509727" y="496924"/>
                </a:cubicBezTo>
                <a:cubicBezTo>
                  <a:pt x="505277" y="501232"/>
                  <a:pt x="502734" y="505157"/>
                  <a:pt x="505366" y="511893"/>
                </a:cubicBezTo>
                <a:cubicBezTo>
                  <a:pt x="507828" y="518196"/>
                  <a:pt x="505953" y="524402"/>
                  <a:pt x="501982" y="530377"/>
                </a:cubicBezTo>
                <a:cubicBezTo>
                  <a:pt x="495613" y="539961"/>
                  <a:pt x="496865" y="548901"/>
                  <a:pt x="505678" y="556455"/>
                </a:cubicBezTo>
                <a:cubicBezTo>
                  <a:pt x="516748" y="565943"/>
                  <a:pt x="523694" y="577557"/>
                  <a:pt x="526115" y="591784"/>
                </a:cubicBezTo>
                <a:cubicBezTo>
                  <a:pt x="527758" y="601445"/>
                  <a:pt x="532593" y="608029"/>
                  <a:pt x="541579" y="612264"/>
                </a:cubicBezTo>
                <a:cubicBezTo>
                  <a:pt x="555150" y="618662"/>
                  <a:pt x="564081" y="629523"/>
                  <a:pt x="569572" y="643441"/>
                </a:cubicBezTo>
                <a:cubicBezTo>
                  <a:pt x="576413" y="660776"/>
                  <a:pt x="570996" y="678245"/>
                  <a:pt x="555234" y="688473"/>
                </a:cubicBezTo>
                <a:cubicBezTo>
                  <a:pt x="542486" y="696746"/>
                  <a:pt x="528127" y="699474"/>
                  <a:pt x="513278" y="700556"/>
                </a:cubicBezTo>
                <a:cubicBezTo>
                  <a:pt x="505590" y="701115"/>
                  <a:pt x="497922" y="701952"/>
                  <a:pt x="488559" y="702821"/>
                </a:cubicBezTo>
                <a:cubicBezTo>
                  <a:pt x="488559" y="708552"/>
                  <a:pt x="488653" y="713320"/>
                  <a:pt x="488544" y="718085"/>
                </a:cubicBezTo>
                <a:cubicBezTo>
                  <a:pt x="486284" y="817406"/>
                  <a:pt x="502313" y="914319"/>
                  <a:pt x="526561" y="1010212"/>
                </a:cubicBezTo>
                <a:cubicBezTo>
                  <a:pt x="538799" y="1058612"/>
                  <a:pt x="553050" y="1106345"/>
                  <a:pt x="569986" y="1153317"/>
                </a:cubicBezTo>
                <a:cubicBezTo>
                  <a:pt x="573328" y="1162590"/>
                  <a:pt x="578279" y="1168740"/>
                  <a:pt x="587389" y="1172173"/>
                </a:cubicBezTo>
                <a:cubicBezTo>
                  <a:pt x="593869" y="1174616"/>
                  <a:pt x="600289" y="1177449"/>
                  <a:pt x="606286" y="1180891"/>
                </a:cubicBezTo>
                <a:cubicBezTo>
                  <a:pt x="617185" y="1187146"/>
                  <a:pt x="618776" y="1192931"/>
                  <a:pt x="613400" y="1204260"/>
                </a:cubicBezTo>
                <a:cubicBezTo>
                  <a:pt x="611475" y="1208315"/>
                  <a:pt x="609140" y="1212177"/>
                  <a:pt x="605350" y="1216760"/>
                </a:cubicBezTo>
                <a:cubicBezTo>
                  <a:pt x="602514" y="1218347"/>
                  <a:pt x="600399" y="1219189"/>
                  <a:pt x="600268" y="1220273"/>
                </a:cubicBezTo>
                <a:cubicBezTo>
                  <a:pt x="598551" y="1234430"/>
                  <a:pt x="599473" y="1247881"/>
                  <a:pt x="610574" y="1258750"/>
                </a:cubicBezTo>
                <a:cubicBezTo>
                  <a:pt x="631265" y="1279009"/>
                  <a:pt x="651790" y="1299438"/>
                  <a:pt x="672371" y="1319810"/>
                </a:cubicBezTo>
                <a:cubicBezTo>
                  <a:pt x="673495" y="1320922"/>
                  <a:pt x="674892" y="1321987"/>
                  <a:pt x="675494" y="1323366"/>
                </a:cubicBezTo>
                <a:cubicBezTo>
                  <a:pt x="685626" y="1346558"/>
                  <a:pt x="694775" y="1370031"/>
                  <a:pt x="692949" y="1396068"/>
                </a:cubicBezTo>
                <a:cubicBezTo>
                  <a:pt x="692525" y="1402108"/>
                  <a:pt x="691276" y="1408087"/>
                  <a:pt x="690628" y="1414117"/>
                </a:cubicBezTo>
                <a:cubicBezTo>
                  <a:pt x="690241" y="1417713"/>
                  <a:pt x="691290" y="1420628"/>
                  <a:pt x="695588" y="1421035"/>
                </a:cubicBezTo>
                <a:cubicBezTo>
                  <a:pt x="695527" y="1422155"/>
                  <a:pt x="695467" y="1423274"/>
                  <a:pt x="694353" y="1425190"/>
                </a:cubicBezTo>
                <a:cubicBezTo>
                  <a:pt x="691901" y="1426894"/>
                  <a:pt x="690503" y="1427804"/>
                  <a:pt x="689106" y="1428714"/>
                </a:cubicBezTo>
                <a:cubicBezTo>
                  <a:pt x="691101" y="1428620"/>
                  <a:pt x="693098" y="1428527"/>
                  <a:pt x="695093" y="1428433"/>
                </a:cubicBezTo>
                <a:cubicBezTo>
                  <a:pt x="695976" y="1429430"/>
                  <a:pt x="696859" y="1430427"/>
                  <a:pt x="697643" y="1432864"/>
                </a:cubicBezTo>
                <a:cubicBezTo>
                  <a:pt x="697724" y="1436887"/>
                  <a:pt x="697087" y="1439912"/>
                  <a:pt x="698207" y="1441988"/>
                </a:cubicBezTo>
                <a:cubicBezTo>
                  <a:pt x="709464" y="1462853"/>
                  <a:pt x="715798" y="1484864"/>
                  <a:pt x="715183" y="1508752"/>
                </a:cubicBezTo>
                <a:cubicBezTo>
                  <a:pt x="714863" y="1521166"/>
                  <a:pt x="713458" y="1523372"/>
                  <a:pt x="701540" y="1526524"/>
                </a:cubicBezTo>
                <a:cubicBezTo>
                  <a:pt x="662165" y="1536936"/>
                  <a:pt x="622006" y="1543243"/>
                  <a:pt x="581715" y="1548559"/>
                </a:cubicBezTo>
                <a:cubicBezTo>
                  <a:pt x="561988" y="1551162"/>
                  <a:pt x="542052" y="1552457"/>
                  <a:pt x="522168" y="1553543"/>
                </a:cubicBezTo>
                <a:cubicBezTo>
                  <a:pt x="498138" y="1554856"/>
                  <a:pt x="474063" y="1556013"/>
                  <a:pt x="450008" y="1556019"/>
                </a:cubicBezTo>
                <a:cubicBezTo>
                  <a:pt x="381724" y="1556035"/>
                  <a:pt x="313415" y="1557550"/>
                  <a:pt x="245169" y="1553749"/>
                </a:cubicBezTo>
                <a:cubicBezTo>
                  <a:pt x="237413" y="1553317"/>
                  <a:pt x="229596" y="1553867"/>
                  <a:pt x="221854" y="1553306"/>
                </a:cubicBezTo>
                <a:cubicBezTo>
                  <a:pt x="204023" y="1552015"/>
                  <a:pt x="186231" y="1550202"/>
                  <a:pt x="168405" y="1548828"/>
                </a:cubicBezTo>
                <a:cubicBezTo>
                  <a:pt x="154605" y="1547764"/>
                  <a:pt x="140762" y="1547242"/>
                  <a:pt x="126970" y="1546091"/>
                </a:cubicBezTo>
                <a:cubicBezTo>
                  <a:pt x="119295" y="1545451"/>
                  <a:pt x="111668" y="1544132"/>
                  <a:pt x="104053" y="1542912"/>
                </a:cubicBezTo>
                <a:cubicBezTo>
                  <a:pt x="91223" y="1540858"/>
                  <a:pt x="78344" y="1539011"/>
                  <a:pt x="65625" y="1536401"/>
                </a:cubicBezTo>
                <a:cubicBezTo>
                  <a:pt x="47307" y="1532642"/>
                  <a:pt x="29006" y="1528694"/>
                  <a:pt x="10909" y="1524010"/>
                </a:cubicBezTo>
                <a:cubicBezTo>
                  <a:pt x="744" y="1521379"/>
                  <a:pt x="119" y="1519620"/>
                  <a:pt x="8" y="1509263"/>
                </a:cubicBezTo>
                <a:cubicBezTo>
                  <a:pt x="-283" y="1482004"/>
                  <a:pt x="7525" y="1456906"/>
                  <a:pt x="21158" y="1433611"/>
                </a:cubicBezTo>
                <a:cubicBezTo>
                  <a:pt x="24128" y="1428537"/>
                  <a:pt x="25100" y="1424162"/>
                  <a:pt x="23462" y="1418658"/>
                </a:cubicBezTo>
                <a:cubicBezTo>
                  <a:pt x="19938" y="1406814"/>
                  <a:pt x="19145" y="1394638"/>
                  <a:pt x="19643" y="1382324"/>
                </a:cubicBezTo>
                <a:cubicBezTo>
                  <a:pt x="20741" y="1355171"/>
                  <a:pt x="29461" y="1331114"/>
                  <a:pt x="49060" y="1311832"/>
                </a:cubicBezTo>
                <a:cubicBezTo>
                  <a:pt x="68866" y="1292344"/>
                  <a:pt x="89102" y="1273294"/>
                  <a:pt x="109176" y="1254078"/>
                </a:cubicBezTo>
                <a:cubicBezTo>
                  <a:pt x="120788" y="1242961"/>
                  <a:pt x="123122" y="1229673"/>
                  <a:pt x="118319" y="1214801"/>
                </a:cubicBezTo>
                <a:cubicBezTo>
                  <a:pt x="116817" y="1210150"/>
                  <a:pt x="114697" y="1205702"/>
                  <a:pt x="113082" y="1201084"/>
                </a:cubicBezTo>
                <a:cubicBezTo>
                  <a:pt x="109606" y="1191147"/>
                  <a:pt x="110855" y="1188189"/>
                  <a:pt x="120417" y="1183950"/>
                </a:cubicBezTo>
                <a:cubicBezTo>
                  <a:pt x="125262" y="1181801"/>
                  <a:pt x="130109" y="1179394"/>
                  <a:pt x="135209" y="1178138"/>
                </a:cubicBezTo>
                <a:cubicBezTo>
                  <a:pt x="146972" y="1175241"/>
                  <a:pt x="153194" y="1166910"/>
                  <a:pt x="156535" y="1156396"/>
                </a:cubicBezTo>
                <a:cubicBezTo>
                  <a:pt x="166535" y="1124919"/>
                  <a:pt x="176229" y="1093339"/>
                  <a:pt x="185647" y="1061682"/>
                </a:cubicBezTo>
                <a:cubicBezTo>
                  <a:pt x="191222" y="1042945"/>
                  <a:pt x="196570" y="1024108"/>
                  <a:pt x="201074" y="1005093"/>
                </a:cubicBezTo>
                <a:cubicBezTo>
                  <a:pt x="205941" y="984550"/>
                  <a:pt x="210000" y="963801"/>
                  <a:pt x="213864" y="943040"/>
                </a:cubicBezTo>
                <a:cubicBezTo>
                  <a:pt x="217503" y="923489"/>
                  <a:pt x="220701" y="903846"/>
                  <a:pt x="223580" y="884167"/>
                </a:cubicBezTo>
                <a:cubicBezTo>
                  <a:pt x="225754" y="869301"/>
                  <a:pt x="227195" y="854324"/>
                  <a:pt x="228827" y="839382"/>
                </a:cubicBezTo>
                <a:cubicBezTo>
                  <a:pt x="230459" y="824446"/>
                  <a:pt x="232880" y="809515"/>
                  <a:pt x="233251" y="794539"/>
                </a:cubicBezTo>
                <a:cubicBezTo>
                  <a:pt x="233961" y="765893"/>
                  <a:pt x="233499" y="737217"/>
                  <a:pt x="233413" y="708554"/>
                </a:cubicBezTo>
                <a:cubicBezTo>
                  <a:pt x="233404" y="705465"/>
                  <a:pt x="232667" y="702378"/>
                  <a:pt x="232253" y="699181"/>
                </a:cubicBezTo>
                <a:cubicBezTo>
                  <a:pt x="218443" y="697138"/>
                  <a:pt x="205461" y="695831"/>
                  <a:pt x="192775" y="693131"/>
                </a:cubicBezTo>
                <a:cubicBezTo>
                  <a:pt x="183686" y="691197"/>
                  <a:pt x="174549" y="688305"/>
                  <a:pt x="166222" y="684229"/>
                </a:cubicBezTo>
                <a:cubicBezTo>
                  <a:pt x="151266" y="676909"/>
                  <a:pt x="147247" y="664789"/>
                  <a:pt x="153485" y="649704"/>
                </a:cubicBezTo>
                <a:cubicBezTo>
                  <a:pt x="158693" y="637111"/>
                  <a:pt x="168160" y="628190"/>
                  <a:pt x="179302" y="621006"/>
                </a:cubicBezTo>
                <a:cubicBezTo>
                  <a:pt x="186548" y="616334"/>
                  <a:pt x="191317" y="611105"/>
                  <a:pt x="192182" y="601675"/>
                </a:cubicBezTo>
                <a:cubicBezTo>
                  <a:pt x="192878" y="594094"/>
                  <a:pt x="197099" y="587626"/>
                  <a:pt x="204894" y="583417"/>
                </a:cubicBezTo>
                <a:cubicBezTo>
                  <a:pt x="214873" y="578030"/>
                  <a:pt x="224643" y="571774"/>
                  <a:pt x="233213" y="564393"/>
                </a:cubicBezTo>
                <a:cubicBezTo>
                  <a:pt x="242623" y="556289"/>
                  <a:pt x="240441" y="544193"/>
                  <a:pt x="229725" y="538177"/>
                </a:cubicBezTo>
                <a:cubicBezTo>
                  <a:pt x="226159" y="536176"/>
                  <a:pt x="222483" y="534351"/>
                  <a:pt x="218771" y="532633"/>
                </a:cubicBezTo>
                <a:cubicBezTo>
                  <a:pt x="213503" y="530196"/>
                  <a:pt x="212651" y="526226"/>
                  <a:pt x="215183" y="521568"/>
                </a:cubicBezTo>
                <a:cubicBezTo>
                  <a:pt x="217485" y="517332"/>
                  <a:pt x="220405" y="513432"/>
                  <a:pt x="223368" y="508901"/>
                </a:cubicBezTo>
                <a:cubicBezTo>
                  <a:pt x="221781" y="505376"/>
                  <a:pt x="220809" y="501165"/>
                  <a:pt x="218372" y="498135"/>
                </a:cubicBezTo>
                <a:cubicBezTo>
                  <a:pt x="202366" y="478231"/>
                  <a:pt x="190774" y="455961"/>
                  <a:pt x="181440" y="432308"/>
                </a:cubicBezTo>
                <a:cubicBezTo>
                  <a:pt x="170959" y="405748"/>
                  <a:pt x="164933" y="378186"/>
                  <a:pt x="167535" y="349841"/>
                </a:cubicBezTo>
                <a:cubicBezTo>
                  <a:pt x="170341" y="319265"/>
                  <a:pt x="179208" y="289917"/>
                  <a:pt x="193488" y="262518"/>
                </a:cubicBezTo>
                <a:cubicBezTo>
                  <a:pt x="206512" y="237529"/>
                  <a:pt x="220831" y="213359"/>
                  <a:pt x="237748" y="190690"/>
                </a:cubicBezTo>
                <a:cubicBezTo>
                  <a:pt x="260421" y="160310"/>
                  <a:pt x="282602" y="129592"/>
                  <a:pt x="309459" y="102623"/>
                </a:cubicBezTo>
                <a:cubicBezTo>
                  <a:pt x="316627" y="95424"/>
                  <a:pt x="316261" y="87541"/>
                  <a:pt x="310459" y="78521"/>
                </a:cubicBezTo>
                <a:cubicBezTo>
                  <a:pt x="306309" y="72071"/>
                  <a:pt x="301695" y="65150"/>
                  <a:pt x="300267" y="57856"/>
                </a:cubicBezTo>
                <a:cubicBezTo>
                  <a:pt x="295286" y="32423"/>
                  <a:pt x="314502" y="10133"/>
                  <a:pt x="332242" y="4422"/>
                </a:cubicBezTo>
                <a:cubicBezTo>
                  <a:pt x="349540" y="-1148"/>
                  <a:pt x="367530" y="-2176"/>
                  <a:pt x="384904" y="5551"/>
                </a:cubicBezTo>
                <a:cubicBezTo>
                  <a:pt x="395271" y="10161"/>
                  <a:pt x="403310" y="17760"/>
                  <a:pt x="409773" y="26778"/>
                </a:cubicBezTo>
                <a:cubicBezTo>
                  <a:pt x="415168" y="34307"/>
                  <a:pt x="413749" y="41584"/>
                  <a:pt x="407026" y="46052"/>
                </a:cubicBezTo>
                <a:cubicBezTo>
                  <a:pt x="405624" y="40964"/>
                  <a:pt x="404503" y="35849"/>
                  <a:pt x="402771" y="30951"/>
                </a:cubicBezTo>
                <a:cubicBezTo>
                  <a:pt x="401450" y="27216"/>
                  <a:pt x="399383" y="28477"/>
                  <a:pt x="397038" y="30361"/>
                </a:cubicBezTo>
                <a:cubicBezTo>
                  <a:pt x="384440" y="15986"/>
                  <a:pt x="377037" y="14494"/>
                  <a:pt x="360694" y="22760"/>
                </a:cubicBezTo>
                <a:cubicBezTo>
                  <a:pt x="353707" y="22767"/>
                  <a:pt x="352275" y="27176"/>
                  <a:pt x="351669" y="31736"/>
                </a:cubicBezTo>
                <a:cubicBezTo>
                  <a:pt x="351136" y="35760"/>
                  <a:pt x="351383" y="39899"/>
                  <a:pt x="351426" y="43987"/>
                </a:cubicBezTo>
                <a:cubicBezTo>
                  <a:pt x="351648" y="64919"/>
                  <a:pt x="372389" y="78115"/>
                  <a:pt x="390968" y="68762"/>
                </a:cubicBezTo>
                <a:cubicBezTo>
                  <a:pt x="395158" y="66653"/>
                  <a:pt x="398534" y="62629"/>
                  <a:pt x="401770" y="59025"/>
                </a:cubicBezTo>
                <a:cubicBezTo>
                  <a:pt x="404045" y="56491"/>
                  <a:pt x="405661" y="53409"/>
                  <a:pt x="409619" y="55786"/>
                </a:cubicBezTo>
                <a:cubicBezTo>
                  <a:pt x="413544" y="58145"/>
                  <a:pt x="412176" y="61347"/>
                  <a:pt x="410427" y="64256"/>
                </a:cubicBezTo>
                <a:cubicBezTo>
                  <a:pt x="406872" y="70170"/>
                  <a:pt x="403244" y="76046"/>
                  <a:pt x="399453" y="81811"/>
                </a:cubicBezTo>
                <a:cubicBezTo>
                  <a:pt x="394663" y="89097"/>
                  <a:pt x="394382" y="94032"/>
                  <a:pt x="399346" y="98083"/>
                </a:cubicBezTo>
                <a:cubicBezTo>
                  <a:pt x="428062" y="121519"/>
                  <a:pt x="450822" y="150083"/>
                  <a:pt x="471592" y="180524"/>
                </a:cubicBezTo>
                <a:cubicBezTo>
                  <a:pt x="476398" y="187569"/>
                  <a:pt x="476844" y="193688"/>
                  <a:pt x="473550" y="200923"/>
                </a:cubicBezTo>
                <a:cubicBezTo>
                  <a:pt x="470171" y="208346"/>
                  <a:pt x="467091" y="215905"/>
                  <a:pt x="463677" y="223311"/>
                </a:cubicBezTo>
                <a:cubicBezTo>
                  <a:pt x="461993" y="226965"/>
                  <a:pt x="462995" y="228697"/>
                  <a:pt x="466852" y="229083"/>
                </a:cubicBezTo>
                <a:moveTo>
                  <a:pt x="474186" y="928382"/>
                </a:moveTo>
                <a:cubicBezTo>
                  <a:pt x="469297" y="891529"/>
                  <a:pt x="462961" y="854794"/>
                  <a:pt x="459927" y="817790"/>
                </a:cubicBezTo>
                <a:cubicBezTo>
                  <a:pt x="456905" y="780939"/>
                  <a:pt x="457197" y="743817"/>
                  <a:pt x="456025" y="706469"/>
                </a:cubicBezTo>
                <a:cubicBezTo>
                  <a:pt x="425780" y="707923"/>
                  <a:pt x="396554" y="709327"/>
                  <a:pt x="366863" y="710754"/>
                </a:cubicBezTo>
                <a:cubicBezTo>
                  <a:pt x="366546" y="714450"/>
                  <a:pt x="366201" y="716832"/>
                  <a:pt x="366159" y="719219"/>
                </a:cubicBezTo>
                <a:cubicBezTo>
                  <a:pt x="365479" y="757672"/>
                  <a:pt x="364935" y="796129"/>
                  <a:pt x="364159" y="834581"/>
                </a:cubicBezTo>
                <a:cubicBezTo>
                  <a:pt x="363450" y="869762"/>
                  <a:pt x="362581" y="904941"/>
                  <a:pt x="361633" y="940117"/>
                </a:cubicBezTo>
                <a:cubicBezTo>
                  <a:pt x="360619" y="977749"/>
                  <a:pt x="359431" y="1015376"/>
                  <a:pt x="358313" y="1053005"/>
                </a:cubicBezTo>
                <a:cubicBezTo>
                  <a:pt x="358265" y="1054641"/>
                  <a:pt x="358149" y="1056276"/>
                  <a:pt x="358081" y="1057912"/>
                </a:cubicBezTo>
                <a:cubicBezTo>
                  <a:pt x="356598" y="1093463"/>
                  <a:pt x="355081" y="1129014"/>
                  <a:pt x="353706" y="1164570"/>
                </a:cubicBezTo>
                <a:cubicBezTo>
                  <a:pt x="353604" y="1167221"/>
                  <a:pt x="354516" y="1169911"/>
                  <a:pt x="354951" y="1172547"/>
                </a:cubicBezTo>
                <a:cubicBezTo>
                  <a:pt x="416984" y="1173689"/>
                  <a:pt x="478158" y="1174816"/>
                  <a:pt x="540959" y="1175972"/>
                </a:cubicBezTo>
                <a:cubicBezTo>
                  <a:pt x="513162" y="1094194"/>
                  <a:pt x="489081" y="1013598"/>
                  <a:pt x="474186" y="928382"/>
                </a:cubicBezTo>
                <a:moveTo>
                  <a:pt x="513768" y="1417676"/>
                </a:moveTo>
                <a:cubicBezTo>
                  <a:pt x="515785" y="1417344"/>
                  <a:pt x="517792" y="1416889"/>
                  <a:pt x="519822" y="1416700"/>
                </a:cubicBezTo>
                <a:cubicBezTo>
                  <a:pt x="557234" y="1413220"/>
                  <a:pt x="594682" y="1410089"/>
                  <a:pt x="632041" y="1406122"/>
                </a:cubicBezTo>
                <a:cubicBezTo>
                  <a:pt x="643122" y="1404945"/>
                  <a:pt x="654730" y="1405292"/>
                  <a:pt x="665040" y="1400634"/>
                </a:cubicBezTo>
                <a:cubicBezTo>
                  <a:pt x="665352" y="1398517"/>
                  <a:pt x="665651" y="1397324"/>
                  <a:pt x="665677" y="1396126"/>
                </a:cubicBezTo>
                <a:cubicBezTo>
                  <a:pt x="665722" y="1394084"/>
                  <a:pt x="665674" y="1392032"/>
                  <a:pt x="665529" y="1389994"/>
                </a:cubicBezTo>
                <a:cubicBezTo>
                  <a:pt x="663118" y="1356121"/>
                  <a:pt x="650063" y="1327787"/>
                  <a:pt x="623046" y="1306238"/>
                </a:cubicBezTo>
                <a:cubicBezTo>
                  <a:pt x="613485" y="1298611"/>
                  <a:pt x="605001" y="1289635"/>
                  <a:pt x="596015" y="1281285"/>
                </a:cubicBezTo>
                <a:cubicBezTo>
                  <a:pt x="578506" y="1265018"/>
                  <a:pt x="567837" y="1245446"/>
                  <a:pt x="567683" y="1220059"/>
                </a:cubicBezTo>
                <a:cubicBezTo>
                  <a:pt x="558046" y="1220059"/>
                  <a:pt x="549136" y="1219649"/>
                  <a:pt x="540273" y="1220129"/>
                </a:cubicBezTo>
                <a:cubicBezTo>
                  <a:pt x="501512" y="1222229"/>
                  <a:pt x="462775" y="1224768"/>
                  <a:pt x="424010" y="1226781"/>
                </a:cubicBezTo>
                <a:cubicBezTo>
                  <a:pt x="401969" y="1227926"/>
                  <a:pt x="379889" y="1228330"/>
                  <a:pt x="357832" y="1229178"/>
                </a:cubicBezTo>
                <a:cubicBezTo>
                  <a:pt x="355938" y="1229251"/>
                  <a:pt x="354076" y="1230151"/>
                  <a:pt x="352386" y="1230616"/>
                </a:cubicBezTo>
                <a:cubicBezTo>
                  <a:pt x="353642" y="1262222"/>
                  <a:pt x="355769" y="1293219"/>
                  <a:pt x="355852" y="1324222"/>
                </a:cubicBezTo>
                <a:cubicBezTo>
                  <a:pt x="355936" y="1355438"/>
                  <a:pt x="353988" y="1386659"/>
                  <a:pt x="352930" y="1417867"/>
                </a:cubicBezTo>
                <a:cubicBezTo>
                  <a:pt x="406069" y="1417867"/>
                  <a:pt x="458771" y="1417867"/>
                  <a:pt x="513768" y="1417676"/>
                </a:cubicBezTo>
                <a:moveTo>
                  <a:pt x="387930" y="499741"/>
                </a:moveTo>
                <a:cubicBezTo>
                  <a:pt x="410797" y="498777"/>
                  <a:pt x="433665" y="497860"/>
                  <a:pt x="456529" y="496826"/>
                </a:cubicBezTo>
                <a:cubicBezTo>
                  <a:pt x="466656" y="496369"/>
                  <a:pt x="475418" y="493371"/>
                  <a:pt x="482355" y="485095"/>
                </a:cubicBezTo>
                <a:cubicBezTo>
                  <a:pt x="509188" y="453083"/>
                  <a:pt x="525387" y="416636"/>
                  <a:pt x="528016" y="374829"/>
                </a:cubicBezTo>
                <a:cubicBezTo>
                  <a:pt x="530547" y="334558"/>
                  <a:pt x="520095" y="297041"/>
                  <a:pt x="501375" y="261643"/>
                </a:cubicBezTo>
                <a:cubicBezTo>
                  <a:pt x="499379" y="257869"/>
                  <a:pt x="496654" y="254482"/>
                  <a:pt x="493534" y="249818"/>
                </a:cubicBezTo>
                <a:cubicBezTo>
                  <a:pt x="490233" y="254212"/>
                  <a:pt x="487883" y="256986"/>
                  <a:pt x="485920" y="260010"/>
                </a:cubicBezTo>
                <a:cubicBezTo>
                  <a:pt x="475010" y="276824"/>
                  <a:pt x="464300" y="293767"/>
                  <a:pt x="453305" y="310523"/>
                </a:cubicBezTo>
                <a:cubicBezTo>
                  <a:pt x="447028" y="320089"/>
                  <a:pt x="440916" y="329858"/>
                  <a:pt x="433678" y="338672"/>
                </a:cubicBezTo>
                <a:cubicBezTo>
                  <a:pt x="425909" y="348131"/>
                  <a:pt x="413084" y="349691"/>
                  <a:pt x="403713" y="343710"/>
                </a:cubicBezTo>
                <a:cubicBezTo>
                  <a:pt x="394358" y="337739"/>
                  <a:pt x="391675" y="327526"/>
                  <a:pt x="396427" y="315612"/>
                </a:cubicBezTo>
                <a:cubicBezTo>
                  <a:pt x="397334" y="313339"/>
                  <a:pt x="398595" y="311210"/>
                  <a:pt x="399663" y="309000"/>
                </a:cubicBezTo>
                <a:cubicBezTo>
                  <a:pt x="417094" y="272900"/>
                  <a:pt x="434331" y="236704"/>
                  <a:pt x="452097" y="200770"/>
                </a:cubicBezTo>
                <a:cubicBezTo>
                  <a:pt x="455910" y="193060"/>
                  <a:pt x="455310" y="187173"/>
                  <a:pt x="450118" y="180596"/>
                </a:cubicBezTo>
                <a:cubicBezTo>
                  <a:pt x="428273" y="152922"/>
                  <a:pt x="405805" y="125901"/>
                  <a:pt x="376545" y="105525"/>
                </a:cubicBezTo>
                <a:cubicBezTo>
                  <a:pt x="374483" y="104089"/>
                  <a:pt x="372013" y="103239"/>
                  <a:pt x="368791" y="101653"/>
                </a:cubicBezTo>
                <a:cubicBezTo>
                  <a:pt x="367942" y="116965"/>
                  <a:pt x="367019" y="130814"/>
                  <a:pt x="366449" y="144676"/>
                </a:cubicBezTo>
                <a:cubicBezTo>
                  <a:pt x="365912" y="157758"/>
                  <a:pt x="365593" y="170854"/>
                  <a:pt x="365447" y="183946"/>
                </a:cubicBezTo>
                <a:cubicBezTo>
                  <a:pt x="365020" y="221975"/>
                  <a:pt x="363367" y="260055"/>
                  <a:pt x="364738" y="298022"/>
                </a:cubicBezTo>
                <a:cubicBezTo>
                  <a:pt x="366329" y="342101"/>
                  <a:pt x="370336" y="386106"/>
                  <a:pt x="373865" y="430096"/>
                </a:cubicBezTo>
                <a:cubicBezTo>
                  <a:pt x="375530" y="450849"/>
                  <a:pt x="378387" y="471514"/>
                  <a:pt x="381088" y="492169"/>
                </a:cubicBezTo>
                <a:cubicBezTo>
                  <a:pt x="381433" y="494807"/>
                  <a:pt x="384102" y="497143"/>
                  <a:pt x="387930" y="499741"/>
                </a:cubicBezTo>
                <a:moveTo>
                  <a:pt x="455850" y="1521476"/>
                </a:moveTo>
                <a:cubicBezTo>
                  <a:pt x="533043" y="1519612"/>
                  <a:pt x="609810" y="1514084"/>
                  <a:pt x="685121" y="1496509"/>
                </a:cubicBezTo>
                <a:cubicBezTo>
                  <a:pt x="683922" y="1481705"/>
                  <a:pt x="679199" y="1467708"/>
                  <a:pt x="672999" y="1456665"/>
                </a:cubicBezTo>
                <a:cubicBezTo>
                  <a:pt x="669933" y="1451203"/>
                  <a:pt x="666057" y="1449329"/>
                  <a:pt x="660009" y="1450249"/>
                </a:cubicBezTo>
                <a:cubicBezTo>
                  <a:pt x="651125" y="1451601"/>
                  <a:pt x="642144" y="1452308"/>
                  <a:pt x="633248" y="1453589"/>
                </a:cubicBezTo>
                <a:cubicBezTo>
                  <a:pt x="572852" y="1462289"/>
                  <a:pt x="511993" y="1465134"/>
                  <a:pt x="451131" y="1467458"/>
                </a:cubicBezTo>
                <a:cubicBezTo>
                  <a:pt x="421697" y="1468582"/>
                  <a:pt x="392192" y="1467837"/>
                  <a:pt x="362719" y="1467934"/>
                </a:cubicBezTo>
                <a:cubicBezTo>
                  <a:pt x="358386" y="1467948"/>
                  <a:pt x="354052" y="1467936"/>
                  <a:pt x="349983" y="1467936"/>
                </a:cubicBezTo>
                <a:cubicBezTo>
                  <a:pt x="347592" y="1485362"/>
                  <a:pt x="348606" y="1509458"/>
                  <a:pt x="352220" y="1519140"/>
                </a:cubicBezTo>
                <a:cubicBezTo>
                  <a:pt x="385617" y="1519916"/>
                  <a:pt x="419507" y="1520703"/>
                  <a:pt x="455850" y="1521476"/>
                </a:cubicBezTo>
                <a:moveTo>
                  <a:pt x="368682" y="544846"/>
                </a:moveTo>
                <a:cubicBezTo>
                  <a:pt x="374258" y="564891"/>
                  <a:pt x="370074" y="584394"/>
                  <a:pt x="363600" y="605633"/>
                </a:cubicBezTo>
                <a:cubicBezTo>
                  <a:pt x="408859" y="604212"/>
                  <a:pt x="452263" y="602850"/>
                  <a:pt x="496351" y="601466"/>
                </a:cubicBezTo>
                <a:cubicBezTo>
                  <a:pt x="496109" y="591095"/>
                  <a:pt x="491408" y="584247"/>
                  <a:pt x="485068" y="579288"/>
                </a:cubicBezTo>
                <a:cubicBezTo>
                  <a:pt x="472414" y="569391"/>
                  <a:pt x="466934" y="556602"/>
                  <a:pt x="466524" y="541026"/>
                </a:cubicBezTo>
                <a:cubicBezTo>
                  <a:pt x="466485" y="539528"/>
                  <a:pt x="465591" y="538053"/>
                  <a:pt x="465000" y="536289"/>
                </a:cubicBezTo>
                <a:cubicBezTo>
                  <a:pt x="460209" y="536289"/>
                  <a:pt x="455761" y="536132"/>
                  <a:pt x="451328" y="536316"/>
                </a:cubicBezTo>
                <a:cubicBezTo>
                  <a:pt x="430930" y="537159"/>
                  <a:pt x="410538" y="538137"/>
                  <a:pt x="390140" y="538979"/>
                </a:cubicBezTo>
                <a:cubicBezTo>
                  <a:pt x="384834" y="539198"/>
                  <a:pt x="379484" y="538790"/>
                  <a:pt x="374215" y="539303"/>
                </a:cubicBezTo>
                <a:cubicBezTo>
                  <a:pt x="372259" y="539494"/>
                  <a:pt x="370480" y="541498"/>
                  <a:pt x="368682" y="544846"/>
                </a:cubicBezTo>
                <a:moveTo>
                  <a:pt x="453915" y="635267"/>
                </a:moveTo>
                <a:cubicBezTo>
                  <a:pt x="427589" y="636632"/>
                  <a:pt x="401262" y="637998"/>
                  <a:pt x="374200" y="639402"/>
                </a:cubicBezTo>
                <a:cubicBezTo>
                  <a:pt x="374200" y="651578"/>
                  <a:pt x="374200" y="661970"/>
                  <a:pt x="374200" y="673206"/>
                </a:cubicBezTo>
                <a:cubicBezTo>
                  <a:pt x="378672" y="673406"/>
                  <a:pt x="382666" y="673863"/>
                  <a:pt x="386639" y="673718"/>
                </a:cubicBezTo>
                <a:cubicBezTo>
                  <a:pt x="431495" y="672082"/>
                  <a:pt x="476352" y="670422"/>
                  <a:pt x="521198" y="668541"/>
                </a:cubicBezTo>
                <a:cubicBezTo>
                  <a:pt x="525584" y="668357"/>
                  <a:pt x="530162" y="667254"/>
                  <a:pt x="534198" y="665521"/>
                </a:cubicBezTo>
                <a:cubicBezTo>
                  <a:pt x="540213" y="662938"/>
                  <a:pt x="541802" y="658194"/>
                  <a:pt x="538413" y="652526"/>
                </a:cubicBezTo>
                <a:cubicBezTo>
                  <a:pt x="536192" y="648813"/>
                  <a:pt x="532979" y="645251"/>
                  <a:pt x="529377" y="642895"/>
                </a:cubicBezTo>
                <a:cubicBezTo>
                  <a:pt x="521426" y="637695"/>
                  <a:pt x="512576" y="634669"/>
                  <a:pt x="502829" y="634808"/>
                </a:cubicBezTo>
                <a:cubicBezTo>
                  <a:pt x="487311" y="635030"/>
                  <a:pt x="471791" y="635092"/>
                  <a:pt x="453915" y="635267"/>
                </a:cubicBezTo>
                <a:close/>
              </a:path>
            </a:pathLst>
          </a:custGeom>
          <a:solidFill>
            <a:srgbClr val="CDD9DF"/>
          </a:solidFill>
          <a:ln w="12700" cap="flat">
            <a:solidFill>
              <a:srgbClr val="CDD9DF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218" name="Free-form: Shape 9217">
            <a:extLst>
              <a:ext uri="{FF2B5EF4-FFF2-40B4-BE49-F238E27FC236}">
                <a16:creationId xmlns:a16="http://schemas.microsoft.com/office/drawing/2014/main" id="{9D0EED75-49CD-9232-E1FD-DA9535BB9EAF}"/>
              </a:ext>
            </a:extLst>
          </p:cNvPr>
          <p:cNvSpPr/>
          <p:nvPr/>
        </p:nvSpPr>
        <p:spPr>
          <a:xfrm>
            <a:off x="8433226" y="4358634"/>
            <a:ext cx="665488" cy="1428730"/>
          </a:xfrm>
          <a:custGeom>
            <a:avLst/>
            <a:gdLst>
              <a:gd name="csX0" fmla="*/ 406842 w 732037"/>
              <a:gd name="csY0" fmla="*/ 38347 h 1571603"/>
              <a:gd name="csX1" fmla="*/ 411944 w 732037"/>
              <a:gd name="csY1" fmla="*/ 38343 h 1571603"/>
              <a:gd name="csX2" fmla="*/ 416198 w 732037"/>
              <a:gd name="csY2" fmla="*/ 53444 h 1571603"/>
              <a:gd name="csX3" fmla="*/ 418945 w 732037"/>
              <a:gd name="csY3" fmla="*/ 34170 h 1571603"/>
              <a:gd name="csX4" fmla="*/ 394077 w 732037"/>
              <a:gd name="csY4" fmla="*/ 12943 h 1571603"/>
              <a:gd name="csX5" fmla="*/ 341415 w 732037"/>
              <a:gd name="csY5" fmla="*/ 11814 h 1571603"/>
              <a:gd name="csX6" fmla="*/ 309440 w 732037"/>
              <a:gd name="csY6" fmla="*/ 65249 h 1571603"/>
              <a:gd name="csX7" fmla="*/ 319632 w 732037"/>
              <a:gd name="csY7" fmla="*/ 85914 h 1571603"/>
              <a:gd name="csX8" fmla="*/ 318632 w 732037"/>
              <a:gd name="csY8" fmla="*/ 110015 h 1571603"/>
              <a:gd name="csX9" fmla="*/ 246921 w 732037"/>
              <a:gd name="csY9" fmla="*/ 198083 h 1571603"/>
              <a:gd name="csX10" fmla="*/ 202660 w 732037"/>
              <a:gd name="csY10" fmla="*/ 269911 h 1571603"/>
              <a:gd name="csX11" fmla="*/ 176707 w 732037"/>
              <a:gd name="csY11" fmla="*/ 357233 h 1571603"/>
              <a:gd name="csX12" fmla="*/ 190612 w 732037"/>
              <a:gd name="csY12" fmla="*/ 439700 h 1571603"/>
              <a:gd name="csX13" fmla="*/ 227544 w 732037"/>
              <a:gd name="csY13" fmla="*/ 505527 h 1571603"/>
              <a:gd name="csX14" fmla="*/ 232541 w 732037"/>
              <a:gd name="csY14" fmla="*/ 516294 h 1571603"/>
              <a:gd name="csX15" fmla="*/ 224356 w 732037"/>
              <a:gd name="csY15" fmla="*/ 528960 h 1571603"/>
              <a:gd name="csX16" fmla="*/ 227944 w 732037"/>
              <a:gd name="csY16" fmla="*/ 540026 h 1571603"/>
              <a:gd name="csX17" fmla="*/ 238897 w 732037"/>
              <a:gd name="csY17" fmla="*/ 545570 h 1571603"/>
              <a:gd name="csX18" fmla="*/ 242386 w 732037"/>
              <a:gd name="csY18" fmla="*/ 571785 h 1571603"/>
              <a:gd name="csX19" fmla="*/ 214067 w 732037"/>
              <a:gd name="csY19" fmla="*/ 590809 h 1571603"/>
              <a:gd name="csX20" fmla="*/ 201355 w 732037"/>
              <a:gd name="csY20" fmla="*/ 609067 h 1571603"/>
              <a:gd name="csX21" fmla="*/ 188474 w 732037"/>
              <a:gd name="csY21" fmla="*/ 628398 h 1571603"/>
              <a:gd name="csX22" fmla="*/ 162658 w 732037"/>
              <a:gd name="csY22" fmla="*/ 657096 h 1571603"/>
              <a:gd name="csX23" fmla="*/ 175395 w 732037"/>
              <a:gd name="csY23" fmla="*/ 691621 h 1571603"/>
              <a:gd name="csX24" fmla="*/ 201948 w 732037"/>
              <a:gd name="csY24" fmla="*/ 700523 h 1571603"/>
              <a:gd name="csX25" fmla="*/ 241426 w 732037"/>
              <a:gd name="csY25" fmla="*/ 706574 h 1571603"/>
              <a:gd name="csX26" fmla="*/ 242586 w 732037"/>
              <a:gd name="csY26" fmla="*/ 715946 h 1571603"/>
              <a:gd name="csX27" fmla="*/ 242424 w 732037"/>
              <a:gd name="csY27" fmla="*/ 801932 h 1571603"/>
              <a:gd name="csX28" fmla="*/ 238000 w 732037"/>
              <a:gd name="csY28" fmla="*/ 846774 h 1571603"/>
              <a:gd name="csX29" fmla="*/ 232752 w 732037"/>
              <a:gd name="csY29" fmla="*/ 891559 h 1571603"/>
              <a:gd name="csX30" fmla="*/ 223037 w 732037"/>
              <a:gd name="csY30" fmla="*/ 950433 h 1571603"/>
              <a:gd name="csX31" fmla="*/ 210247 w 732037"/>
              <a:gd name="csY31" fmla="*/ 1012485 h 1571603"/>
              <a:gd name="csX32" fmla="*/ 194820 w 732037"/>
              <a:gd name="csY32" fmla="*/ 1069074 h 1571603"/>
              <a:gd name="csX33" fmla="*/ 165707 w 732037"/>
              <a:gd name="csY33" fmla="*/ 1163788 h 1571603"/>
              <a:gd name="csX34" fmla="*/ 144382 w 732037"/>
              <a:gd name="csY34" fmla="*/ 1185530 h 1571603"/>
              <a:gd name="csX35" fmla="*/ 129590 w 732037"/>
              <a:gd name="csY35" fmla="*/ 1191342 h 1571603"/>
              <a:gd name="csX36" fmla="*/ 122255 w 732037"/>
              <a:gd name="csY36" fmla="*/ 1208476 h 1571603"/>
              <a:gd name="csX37" fmla="*/ 127491 w 732037"/>
              <a:gd name="csY37" fmla="*/ 1222193 h 1571603"/>
              <a:gd name="csX38" fmla="*/ 118348 w 732037"/>
              <a:gd name="csY38" fmla="*/ 1261470 h 1571603"/>
              <a:gd name="csX39" fmla="*/ 58232 w 732037"/>
              <a:gd name="csY39" fmla="*/ 1319224 h 1571603"/>
              <a:gd name="csX40" fmla="*/ 28815 w 732037"/>
              <a:gd name="csY40" fmla="*/ 1389717 h 1571603"/>
              <a:gd name="csX41" fmla="*/ 32634 w 732037"/>
              <a:gd name="csY41" fmla="*/ 1426050 h 1571603"/>
              <a:gd name="csX42" fmla="*/ 30331 w 732037"/>
              <a:gd name="csY42" fmla="*/ 1441003 h 1571603"/>
              <a:gd name="csX43" fmla="*/ 9180 w 732037"/>
              <a:gd name="csY43" fmla="*/ 1516655 h 1571603"/>
              <a:gd name="csX44" fmla="*/ 20082 w 732037"/>
              <a:gd name="csY44" fmla="*/ 1531402 h 1571603"/>
              <a:gd name="csX45" fmla="*/ 74798 w 732037"/>
              <a:gd name="csY45" fmla="*/ 1543794 h 1571603"/>
              <a:gd name="csX46" fmla="*/ 113225 w 732037"/>
              <a:gd name="csY46" fmla="*/ 1550305 h 1571603"/>
              <a:gd name="csX47" fmla="*/ 136142 w 732037"/>
              <a:gd name="csY47" fmla="*/ 1553484 h 1571603"/>
              <a:gd name="csX48" fmla="*/ 177578 w 732037"/>
              <a:gd name="csY48" fmla="*/ 1556220 h 1571603"/>
              <a:gd name="csX49" fmla="*/ 231027 w 732037"/>
              <a:gd name="csY49" fmla="*/ 1560698 h 1571603"/>
              <a:gd name="csX50" fmla="*/ 254342 w 732037"/>
              <a:gd name="csY50" fmla="*/ 1561142 h 1571603"/>
              <a:gd name="csX51" fmla="*/ 459180 w 732037"/>
              <a:gd name="csY51" fmla="*/ 1563411 h 1571603"/>
              <a:gd name="csX52" fmla="*/ 531340 w 732037"/>
              <a:gd name="csY52" fmla="*/ 1560936 h 1571603"/>
              <a:gd name="csX53" fmla="*/ 590888 w 732037"/>
              <a:gd name="csY53" fmla="*/ 1555951 h 1571603"/>
              <a:gd name="csX54" fmla="*/ 710712 w 732037"/>
              <a:gd name="csY54" fmla="*/ 1533916 h 1571603"/>
              <a:gd name="csX55" fmla="*/ 724356 w 732037"/>
              <a:gd name="csY55" fmla="*/ 1516144 h 1571603"/>
              <a:gd name="csX56" fmla="*/ 707380 w 732037"/>
              <a:gd name="csY56" fmla="*/ 1449380 h 1571603"/>
              <a:gd name="csX57" fmla="*/ 707050 w 732037"/>
              <a:gd name="csY57" fmla="*/ 1440881 h 1571603"/>
              <a:gd name="csX58" fmla="*/ 731479 w 732037"/>
              <a:gd name="csY58" fmla="*/ 1500017 h 1571603"/>
              <a:gd name="csX59" fmla="*/ 731163 w 732037"/>
              <a:gd name="csY59" fmla="*/ 1513759 h 1571603"/>
              <a:gd name="csX60" fmla="*/ 731650 w 732037"/>
              <a:gd name="csY60" fmla="*/ 1521766 h 1571603"/>
              <a:gd name="csX61" fmla="*/ 721896 w 732037"/>
              <a:gd name="csY61" fmla="*/ 1537319 h 1571603"/>
              <a:gd name="csX62" fmla="*/ 657740 w 732037"/>
              <a:gd name="csY62" fmla="*/ 1553265 h 1571603"/>
              <a:gd name="csX63" fmla="*/ 507791 w 732037"/>
              <a:gd name="csY63" fmla="*/ 1568943 h 1571603"/>
              <a:gd name="csX64" fmla="*/ 264676 w 732037"/>
              <a:gd name="csY64" fmla="*/ 1569724 h 1571603"/>
              <a:gd name="csX65" fmla="*/ 82743 w 732037"/>
              <a:gd name="csY65" fmla="*/ 1553254 h 1571603"/>
              <a:gd name="csX66" fmla="*/ 17072 w 732037"/>
              <a:gd name="csY66" fmla="*/ 1538153 h 1571603"/>
              <a:gd name="csX67" fmla="*/ 275 w 732037"/>
              <a:gd name="csY67" fmla="*/ 1513030 h 1571603"/>
              <a:gd name="csX68" fmla="*/ 20923 w 732037"/>
              <a:gd name="csY68" fmla="*/ 1441861 h 1571603"/>
              <a:gd name="csX69" fmla="*/ 23045 w 732037"/>
              <a:gd name="csY69" fmla="*/ 1423105 h 1571603"/>
              <a:gd name="csX70" fmla="*/ 30564 w 732037"/>
              <a:gd name="csY70" fmla="*/ 1346289 h 1571603"/>
              <a:gd name="csX71" fmla="*/ 71350 w 732037"/>
              <a:gd name="csY71" fmla="*/ 1295039 h 1571603"/>
              <a:gd name="csX72" fmla="*/ 112257 w 732037"/>
              <a:gd name="csY72" fmla="*/ 1255093 h 1571603"/>
              <a:gd name="csX73" fmla="*/ 115864 w 732037"/>
              <a:gd name="csY73" fmla="*/ 1217271 h 1571603"/>
              <a:gd name="csX74" fmla="*/ 112256 w 732037"/>
              <a:gd name="csY74" fmla="*/ 1210870 h 1571603"/>
              <a:gd name="csX75" fmla="*/ 121141 w 732037"/>
              <a:gd name="csY75" fmla="*/ 1186548 h 1571603"/>
              <a:gd name="csX76" fmla="*/ 136571 w 732037"/>
              <a:gd name="csY76" fmla="*/ 1179850 h 1571603"/>
              <a:gd name="csX77" fmla="*/ 158281 w 732037"/>
              <a:gd name="csY77" fmla="*/ 1157879 h 1571603"/>
              <a:gd name="csX78" fmla="*/ 187986 w 732037"/>
              <a:gd name="csY78" fmla="*/ 1059736 h 1571603"/>
              <a:gd name="csX79" fmla="*/ 217119 w 732037"/>
              <a:gd name="csY79" fmla="*/ 938896 h 1571603"/>
              <a:gd name="csX80" fmla="*/ 225792 w 732037"/>
              <a:gd name="csY80" fmla="*/ 893236 h 1571603"/>
              <a:gd name="csX81" fmla="*/ 226150 w 732037"/>
              <a:gd name="csY81" fmla="*/ 887970 h 1571603"/>
              <a:gd name="csX82" fmla="*/ 230782 w 732037"/>
              <a:gd name="csY82" fmla="*/ 853969 h 1571603"/>
              <a:gd name="csX83" fmla="*/ 230786 w 732037"/>
              <a:gd name="csY83" fmla="*/ 848558 h 1571603"/>
              <a:gd name="csX84" fmla="*/ 233315 w 732037"/>
              <a:gd name="csY84" fmla="*/ 824438 h 1571603"/>
              <a:gd name="csX85" fmla="*/ 233199 w 732037"/>
              <a:gd name="csY85" fmla="*/ 819050 h 1571603"/>
              <a:gd name="csX86" fmla="*/ 235848 w 732037"/>
              <a:gd name="csY86" fmla="*/ 782380 h 1571603"/>
              <a:gd name="csX87" fmla="*/ 237465 w 732037"/>
              <a:gd name="csY87" fmla="*/ 719113 h 1571603"/>
              <a:gd name="csX88" fmla="*/ 233057 w 732037"/>
              <a:gd name="csY88" fmla="*/ 713160 h 1571603"/>
              <a:gd name="csX89" fmla="*/ 203056 w 732037"/>
              <a:gd name="csY89" fmla="*/ 708405 h 1571603"/>
              <a:gd name="csX90" fmla="*/ 169628 w 732037"/>
              <a:gd name="csY90" fmla="*/ 698106 h 1571603"/>
              <a:gd name="csX91" fmla="*/ 153237 w 732037"/>
              <a:gd name="csY91" fmla="*/ 659111 h 1571603"/>
              <a:gd name="csX92" fmla="*/ 178365 w 732037"/>
              <a:gd name="csY92" fmla="*/ 626008 h 1571603"/>
              <a:gd name="csX93" fmla="*/ 191885 w 732037"/>
              <a:gd name="csY93" fmla="*/ 617513 h 1571603"/>
              <a:gd name="csX94" fmla="*/ 193681 w 732037"/>
              <a:gd name="csY94" fmla="*/ 610098 h 1571603"/>
              <a:gd name="csX95" fmla="*/ 213301 w 732037"/>
              <a:gd name="csY95" fmla="*/ 579885 h 1571603"/>
              <a:gd name="csX96" fmla="*/ 229635 w 732037"/>
              <a:gd name="csY96" fmla="*/ 571429 h 1571603"/>
              <a:gd name="csX97" fmla="*/ 237351 w 732037"/>
              <a:gd name="csY97" fmla="*/ 565882 h 1571603"/>
              <a:gd name="csX98" fmla="*/ 233673 w 732037"/>
              <a:gd name="csY98" fmla="*/ 550926 h 1571603"/>
              <a:gd name="csX99" fmla="*/ 226799 w 732037"/>
              <a:gd name="csY99" fmla="*/ 548359 h 1571603"/>
              <a:gd name="csX100" fmla="*/ 218639 w 732037"/>
              <a:gd name="csY100" fmla="*/ 522664 h 1571603"/>
              <a:gd name="csX101" fmla="*/ 218264 w 732037"/>
              <a:gd name="csY101" fmla="*/ 505463 h 1571603"/>
              <a:gd name="csX102" fmla="*/ 181762 w 732037"/>
              <a:gd name="csY102" fmla="*/ 437574 h 1571603"/>
              <a:gd name="csX103" fmla="*/ 185971 w 732037"/>
              <a:gd name="csY103" fmla="*/ 289069 h 1571603"/>
              <a:gd name="csX104" fmla="*/ 253787 w 732037"/>
              <a:gd name="csY104" fmla="*/ 175580 h 1571603"/>
              <a:gd name="csX105" fmla="*/ 309639 w 732037"/>
              <a:gd name="csY105" fmla="*/ 108695 h 1571603"/>
              <a:gd name="csX106" fmla="*/ 318061 w 732037"/>
              <a:gd name="csY106" fmla="*/ 98855 h 1571603"/>
              <a:gd name="csX107" fmla="*/ 304967 w 732037"/>
              <a:gd name="csY107" fmla="*/ 70056 h 1571603"/>
              <a:gd name="csX108" fmla="*/ 317012 w 732037"/>
              <a:gd name="csY108" fmla="*/ 19436 h 1571603"/>
              <a:gd name="csX109" fmla="*/ 415542 w 732037"/>
              <a:gd name="csY109" fmla="*/ 18221 h 1571603"/>
              <a:gd name="csX110" fmla="*/ 423203 w 732037"/>
              <a:gd name="csY110" fmla="*/ 82660 h 1571603"/>
              <a:gd name="csX111" fmla="*/ 413361 w 732037"/>
              <a:gd name="csY111" fmla="*/ 97975 h 1571603"/>
              <a:gd name="csX112" fmla="*/ 421654 w 732037"/>
              <a:gd name="csY112" fmla="*/ 106676 h 1571603"/>
              <a:gd name="csX113" fmla="*/ 487032 w 732037"/>
              <a:gd name="csY113" fmla="*/ 184632 h 1571603"/>
              <a:gd name="csX114" fmla="*/ 489213 w 732037"/>
              <a:gd name="csY114" fmla="*/ 208238 h 1571603"/>
              <a:gd name="csX115" fmla="*/ 476520 w 732037"/>
              <a:gd name="csY115" fmla="*/ 235738 h 1571603"/>
              <a:gd name="csX116" fmla="*/ 472850 w 732037"/>
              <a:gd name="csY116" fmla="*/ 230703 h 1571603"/>
              <a:gd name="csX117" fmla="*/ 482723 w 732037"/>
              <a:gd name="csY117" fmla="*/ 208315 h 1571603"/>
              <a:gd name="csX118" fmla="*/ 480764 w 732037"/>
              <a:gd name="csY118" fmla="*/ 187916 h 1571603"/>
              <a:gd name="csX119" fmla="*/ 408519 w 732037"/>
              <a:gd name="csY119" fmla="*/ 105475 h 1571603"/>
              <a:gd name="csX120" fmla="*/ 408625 w 732037"/>
              <a:gd name="csY120" fmla="*/ 89203 h 1571603"/>
              <a:gd name="csX121" fmla="*/ 419600 w 732037"/>
              <a:gd name="csY121" fmla="*/ 71648 h 1571603"/>
              <a:gd name="csX122" fmla="*/ 418792 w 732037"/>
              <a:gd name="csY122" fmla="*/ 63179 h 1571603"/>
              <a:gd name="csX123" fmla="*/ 410943 w 732037"/>
              <a:gd name="csY123" fmla="*/ 66417 h 1571603"/>
              <a:gd name="csX124" fmla="*/ 400140 w 732037"/>
              <a:gd name="csY124" fmla="*/ 76155 h 1571603"/>
              <a:gd name="csX125" fmla="*/ 360599 w 732037"/>
              <a:gd name="csY125" fmla="*/ 51379 h 1571603"/>
              <a:gd name="csX126" fmla="*/ 360842 w 732037"/>
              <a:gd name="csY126" fmla="*/ 39128 h 1571603"/>
              <a:gd name="csX127" fmla="*/ 369470 w 732037"/>
              <a:gd name="csY127" fmla="*/ 30960 h 1571603"/>
              <a:gd name="csX128" fmla="*/ 365613 w 732037"/>
              <a:gd name="csY128" fmla="*/ 49108 h 1571603"/>
              <a:gd name="csX129" fmla="*/ 389468 w 732037"/>
              <a:gd name="csY129" fmla="*/ 71608 h 1571603"/>
              <a:gd name="csX130" fmla="*/ 408822 w 732037"/>
              <a:gd name="csY130" fmla="*/ 46613 h 1571603"/>
              <a:gd name="csX131" fmla="*/ 406842 w 732037"/>
              <a:gd name="csY131" fmla="*/ 38347 h 157160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</a:cxnLst>
            <a:rect l="l" t="t" r="r" b="b"/>
            <a:pathLst>
              <a:path w="732037" h="1571603">
                <a:moveTo>
                  <a:pt x="406842" y="38347"/>
                </a:moveTo>
                <a:cubicBezTo>
                  <a:pt x="408555" y="35869"/>
                  <a:pt x="410622" y="34608"/>
                  <a:pt x="411944" y="38343"/>
                </a:cubicBezTo>
                <a:cubicBezTo>
                  <a:pt x="413676" y="43242"/>
                  <a:pt x="414797" y="48356"/>
                  <a:pt x="416198" y="53444"/>
                </a:cubicBezTo>
                <a:cubicBezTo>
                  <a:pt x="422922" y="48977"/>
                  <a:pt x="424340" y="41699"/>
                  <a:pt x="418945" y="34170"/>
                </a:cubicBezTo>
                <a:cubicBezTo>
                  <a:pt x="412483" y="25152"/>
                  <a:pt x="404444" y="17554"/>
                  <a:pt x="394077" y="12943"/>
                </a:cubicBezTo>
                <a:cubicBezTo>
                  <a:pt x="376702" y="5216"/>
                  <a:pt x="358713" y="6244"/>
                  <a:pt x="341415" y="11814"/>
                </a:cubicBezTo>
                <a:cubicBezTo>
                  <a:pt x="323675" y="17525"/>
                  <a:pt x="304459" y="39816"/>
                  <a:pt x="309440" y="65249"/>
                </a:cubicBezTo>
                <a:cubicBezTo>
                  <a:pt x="310868" y="72543"/>
                  <a:pt x="315482" y="79463"/>
                  <a:pt x="319632" y="85914"/>
                </a:cubicBezTo>
                <a:cubicBezTo>
                  <a:pt x="325434" y="94933"/>
                  <a:pt x="325800" y="102817"/>
                  <a:pt x="318632" y="110015"/>
                </a:cubicBezTo>
                <a:cubicBezTo>
                  <a:pt x="291775" y="136984"/>
                  <a:pt x="269594" y="167702"/>
                  <a:pt x="246921" y="198083"/>
                </a:cubicBezTo>
                <a:cubicBezTo>
                  <a:pt x="230003" y="220751"/>
                  <a:pt x="215685" y="244921"/>
                  <a:pt x="202660" y="269911"/>
                </a:cubicBezTo>
                <a:cubicBezTo>
                  <a:pt x="188381" y="297309"/>
                  <a:pt x="179513" y="326657"/>
                  <a:pt x="176707" y="357233"/>
                </a:cubicBezTo>
                <a:cubicBezTo>
                  <a:pt x="174106" y="385578"/>
                  <a:pt x="180131" y="413140"/>
                  <a:pt x="190612" y="439700"/>
                </a:cubicBezTo>
                <a:cubicBezTo>
                  <a:pt x="199946" y="463353"/>
                  <a:pt x="211538" y="485623"/>
                  <a:pt x="227544" y="505527"/>
                </a:cubicBezTo>
                <a:cubicBezTo>
                  <a:pt x="229982" y="508558"/>
                  <a:pt x="230954" y="512768"/>
                  <a:pt x="232541" y="516294"/>
                </a:cubicBezTo>
                <a:cubicBezTo>
                  <a:pt x="229578" y="520824"/>
                  <a:pt x="226658" y="524724"/>
                  <a:pt x="224356" y="528960"/>
                </a:cubicBezTo>
                <a:cubicBezTo>
                  <a:pt x="221823" y="533618"/>
                  <a:pt x="222675" y="537588"/>
                  <a:pt x="227944" y="540026"/>
                </a:cubicBezTo>
                <a:cubicBezTo>
                  <a:pt x="231656" y="541743"/>
                  <a:pt x="235331" y="543568"/>
                  <a:pt x="238897" y="545570"/>
                </a:cubicBezTo>
                <a:cubicBezTo>
                  <a:pt x="249613" y="551585"/>
                  <a:pt x="251795" y="563681"/>
                  <a:pt x="242386" y="571785"/>
                </a:cubicBezTo>
                <a:cubicBezTo>
                  <a:pt x="233816" y="579166"/>
                  <a:pt x="224045" y="585423"/>
                  <a:pt x="214067" y="590809"/>
                </a:cubicBezTo>
                <a:cubicBezTo>
                  <a:pt x="206271" y="595018"/>
                  <a:pt x="202051" y="601487"/>
                  <a:pt x="201355" y="609067"/>
                </a:cubicBezTo>
                <a:cubicBezTo>
                  <a:pt x="200489" y="618497"/>
                  <a:pt x="195720" y="623726"/>
                  <a:pt x="188474" y="628398"/>
                </a:cubicBezTo>
                <a:cubicBezTo>
                  <a:pt x="177332" y="635582"/>
                  <a:pt x="167866" y="644503"/>
                  <a:pt x="162658" y="657096"/>
                </a:cubicBezTo>
                <a:cubicBezTo>
                  <a:pt x="156420" y="672181"/>
                  <a:pt x="160439" y="684301"/>
                  <a:pt x="175395" y="691621"/>
                </a:cubicBezTo>
                <a:cubicBezTo>
                  <a:pt x="183722" y="695697"/>
                  <a:pt x="192859" y="698589"/>
                  <a:pt x="201948" y="700523"/>
                </a:cubicBezTo>
                <a:cubicBezTo>
                  <a:pt x="214634" y="703224"/>
                  <a:pt x="227616" y="704530"/>
                  <a:pt x="241426" y="706574"/>
                </a:cubicBezTo>
                <a:cubicBezTo>
                  <a:pt x="241839" y="709770"/>
                  <a:pt x="242576" y="712857"/>
                  <a:pt x="242586" y="715946"/>
                </a:cubicBezTo>
                <a:cubicBezTo>
                  <a:pt x="242672" y="744610"/>
                  <a:pt x="243133" y="773285"/>
                  <a:pt x="242424" y="801932"/>
                </a:cubicBezTo>
                <a:cubicBezTo>
                  <a:pt x="242053" y="816907"/>
                  <a:pt x="239631" y="831838"/>
                  <a:pt x="238000" y="846774"/>
                </a:cubicBezTo>
                <a:cubicBezTo>
                  <a:pt x="236368" y="861717"/>
                  <a:pt x="234927" y="876693"/>
                  <a:pt x="232752" y="891559"/>
                </a:cubicBezTo>
                <a:cubicBezTo>
                  <a:pt x="229873" y="911238"/>
                  <a:pt x="226675" y="930882"/>
                  <a:pt x="223037" y="950433"/>
                </a:cubicBezTo>
                <a:cubicBezTo>
                  <a:pt x="219173" y="971193"/>
                  <a:pt x="215113" y="991942"/>
                  <a:pt x="210247" y="1012485"/>
                </a:cubicBezTo>
                <a:cubicBezTo>
                  <a:pt x="205743" y="1031500"/>
                  <a:pt x="200395" y="1050337"/>
                  <a:pt x="194820" y="1069074"/>
                </a:cubicBezTo>
                <a:cubicBezTo>
                  <a:pt x="185401" y="1100731"/>
                  <a:pt x="175708" y="1132311"/>
                  <a:pt x="165707" y="1163788"/>
                </a:cubicBezTo>
                <a:cubicBezTo>
                  <a:pt x="162367" y="1174302"/>
                  <a:pt x="156145" y="1182634"/>
                  <a:pt x="144382" y="1185530"/>
                </a:cubicBezTo>
                <a:cubicBezTo>
                  <a:pt x="139281" y="1186787"/>
                  <a:pt x="134434" y="1189193"/>
                  <a:pt x="129590" y="1191342"/>
                </a:cubicBezTo>
                <a:cubicBezTo>
                  <a:pt x="120028" y="1195581"/>
                  <a:pt x="118779" y="1198539"/>
                  <a:pt x="122255" y="1208476"/>
                </a:cubicBezTo>
                <a:cubicBezTo>
                  <a:pt x="123870" y="1213094"/>
                  <a:pt x="125990" y="1217542"/>
                  <a:pt x="127491" y="1222193"/>
                </a:cubicBezTo>
                <a:cubicBezTo>
                  <a:pt x="132294" y="1237066"/>
                  <a:pt x="129961" y="1250353"/>
                  <a:pt x="118348" y="1261470"/>
                </a:cubicBezTo>
                <a:cubicBezTo>
                  <a:pt x="98275" y="1280686"/>
                  <a:pt x="78038" y="1299737"/>
                  <a:pt x="58232" y="1319224"/>
                </a:cubicBezTo>
                <a:cubicBezTo>
                  <a:pt x="38634" y="1338507"/>
                  <a:pt x="29913" y="1362564"/>
                  <a:pt x="28815" y="1389717"/>
                </a:cubicBezTo>
                <a:cubicBezTo>
                  <a:pt x="28318" y="1402031"/>
                  <a:pt x="29110" y="1414206"/>
                  <a:pt x="32634" y="1426050"/>
                </a:cubicBezTo>
                <a:cubicBezTo>
                  <a:pt x="34273" y="1431554"/>
                  <a:pt x="33300" y="1435929"/>
                  <a:pt x="30331" y="1441003"/>
                </a:cubicBezTo>
                <a:cubicBezTo>
                  <a:pt x="16698" y="1464298"/>
                  <a:pt x="8890" y="1489397"/>
                  <a:pt x="9180" y="1516655"/>
                </a:cubicBezTo>
                <a:cubicBezTo>
                  <a:pt x="9291" y="1527012"/>
                  <a:pt x="9917" y="1528771"/>
                  <a:pt x="20082" y="1531402"/>
                </a:cubicBezTo>
                <a:cubicBezTo>
                  <a:pt x="38179" y="1536086"/>
                  <a:pt x="56480" y="1540035"/>
                  <a:pt x="74798" y="1543794"/>
                </a:cubicBezTo>
                <a:cubicBezTo>
                  <a:pt x="87517" y="1546403"/>
                  <a:pt x="100396" y="1548250"/>
                  <a:pt x="113225" y="1550305"/>
                </a:cubicBezTo>
                <a:cubicBezTo>
                  <a:pt x="120841" y="1551524"/>
                  <a:pt x="128467" y="1552843"/>
                  <a:pt x="136142" y="1553484"/>
                </a:cubicBezTo>
                <a:cubicBezTo>
                  <a:pt x="149934" y="1554635"/>
                  <a:pt x="163778" y="1555156"/>
                  <a:pt x="177578" y="1556220"/>
                </a:cubicBezTo>
                <a:cubicBezTo>
                  <a:pt x="195403" y="1557595"/>
                  <a:pt x="213196" y="1559407"/>
                  <a:pt x="231027" y="1560698"/>
                </a:cubicBezTo>
                <a:cubicBezTo>
                  <a:pt x="238768" y="1561259"/>
                  <a:pt x="246585" y="1560709"/>
                  <a:pt x="254342" y="1561142"/>
                </a:cubicBezTo>
                <a:cubicBezTo>
                  <a:pt x="322588" y="1564942"/>
                  <a:pt x="390896" y="1563427"/>
                  <a:pt x="459180" y="1563411"/>
                </a:cubicBezTo>
                <a:cubicBezTo>
                  <a:pt x="483236" y="1563406"/>
                  <a:pt x="507311" y="1562248"/>
                  <a:pt x="531340" y="1560936"/>
                </a:cubicBezTo>
                <a:cubicBezTo>
                  <a:pt x="551225" y="1559849"/>
                  <a:pt x="571160" y="1558554"/>
                  <a:pt x="590888" y="1555951"/>
                </a:cubicBezTo>
                <a:cubicBezTo>
                  <a:pt x="631179" y="1550635"/>
                  <a:pt x="671338" y="1544328"/>
                  <a:pt x="710712" y="1533916"/>
                </a:cubicBezTo>
                <a:cubicBezTo>
                  <a:pt x="722630" y="1530764"/>
                  <a:pt x="724036" y="1528558"/>
                  <a:pt x="724356" y="1516144"/>
                </a:cubicBezTo>
                <a:cubicBezTo>
                  <a:pt x="724970" y="1492256"/>
                  <a:pt x="718637" y="1470245"/>
                  <a:pt x="707380" y="1449380"/>
                </a:cubicBezTo>
                <a:cubicBezTo>
                  <a:pt x="706259" y="1447304"/>
                  <a:pt x="706896" y="1444279"/>
                  <a:pt x="707050" y="1440881"/>
                </a:cubicBezTo>
                <a:cubicBezTo>
                  <a:pt x="722747" y="1457101"/>
                  <a:pt x="728653" y="1477963"/>
                  <a:pt x="731479" y="1500017"/>
                </a:cubicBezTo>
                <a:cubicBezTo>
                  <a:pt x="731992" y="1504029"/>
                  <a:pt x="731781" y="1508135"/>
                  <a:pt x="731163" y="1513759"/>
                </a:cubicBezTo>
                <a:cubicBezTo>
                  <a:pt x="730831" y="1517468"/>
                  <a:pt x="731241" y="1519618"/>
                  <a:pt x="731650" y="1521766"/>
                </a:cubicBezTo>
                <a:cubicBezTo>
                  <a:pt x="733191" y="1529956"/>
                  <a:pt x="730165" y="1535242"/>
                  <a:pt x="721896" y="1537319"/>
                </a:cubicBezTo>
                <a:cubicBezTo>
                  <a:pt x="700520" y="1542690"/>
                  <a:pt x="679367" y="1549248"/>
                  <a:pt x="657740" y="1553265"/>
                </a:cubicBezTo>
                <a:cubicBezTo>
                  <a:pt x="608220" y="1562464"/>
                  <a:pt x="558146" y="1566701"/>
                  <a:pt x="507791" y="1568943"/>
                </a:cubicBezTo>
                <a:cubicBezTo>
                  <a:pt x="426738" y="1572552"/>
                  <a:pt x="345677" y="1572161"/>
                  <a:pt x="264676" y="1569724"/>
                </a:cubicBezTo>
                <a:cubicBezTo>
                  <a:pt x="203800" y="1567891"/>
                  <a:pt x="142882" y="1563907"/>
                  <a:pt x="82743" y="1553254"/>
                </a:cubicBezTo>
                <a:cubicBezTo>
                  <a:pt x="60647" y="1549341"/>
                  <a:pt x="38739" y="1544032"/>
                  <a:pt x="17072" y="1538153"/>
                </a:cubicBezTo>
                <a:cubicBezTo>
                  <a:pt x="1381" y="1533894"/>
                  <a:pt x="-938" y="1529341"/>
                  <a:pt x="275" y="1513030"/>
                </a:cubicBezTo>
                <a:cubicBezTo>
                  <a:pt x="2146" y="1487871"/>
                  <a:pt x="7321" y="1463566"/>
                  <a:pt x="20923" y="1441861"/>
                </a:cubicBezTo>
                <a:cubicBezTo>
                  <a:pt x="24812" y="1435656"/>
                  <a:pt x="24566" y="1429699"/>
                  <a:pt x="23045" y="1423105"/>
                </a:cubicBezTo>
                <a:cubicBezTo>
                  <a:pt x="16952" y="1396684"/>
                  <a:pt x="19689" y="1370924"/>
                  <a:pt x="30564" y="1346289"/>
                </a:cubicBezTo>
                <a:cubicBezTo>
                  <a:pt x="39621" y="1325774"/>
                  <a:pt x="54481" y="1309709"/>
                  <a:pt x="71350" y="1295039"/>
                </a:cubicBezTo>
                <a:cubicBezTo>
                  <a:pt x="85712" y="1282550"/>
                  <a:pt x="99164" y="1268932"/>
                  <a:pt x="112257" y="1255093"/>
                </a:cubicBezTo>
                <a:cubicBezTo>
                  <a:pt x="122891" y="1243852"/>
                  <a:pt x="124955" y="1230879"/>
                  <a:pt x="115864" y="1217271"/>
                </a:cubicBezTo>
                <a:cubicBezTo>
                  <a:pt x="114506" y="1215239"/>
                  <a:pt x="113304" y="1213078"/>
                  <a:pt x="112256" y="1210870"/>
                </a:cubicBezTo>
                <a:cubicBezTo>
                  <a:pt x="106526" y="1198808"/>
                  <a:pt x="109052" y="1191969"/>
                  <a:pt x="121141" y="1186548"/>
                </a:cubicBezTo>
                <a:cubicBezTo>
                  <a:pt x="126274" y="1184246"/>
                  <a:pt x="131201" y="1180803"/>
                  <a:pt x="136571" y="1179850"/>
                </a:cubicBezTo>
                <a:cubicBezTo>
                  <a:pt x="149372" y="1177579"/>
                  <a:pt x="154892" y="1168948"/>
                  <a:pt x="158281" y="1157879"/>
                </a:cubicBezTo>
                <a:cubicBezTo>
                  <a:pt x="168288" y="1125194"/>
                  <a:pt x="179178" y="1092742"/>
                  <a:pt x="187986" y="1059736"/>
                </a:cubicBezTo>
                <a:cubicBezTo>
                  <a:pt x="198666" y="1019713"/>
                  <a:pt x="207813" y="979272"/>
                  <a:pt x="217119" y="938896"/>
                </a:cubicBezTo>
                <a:cubicBezTo>
                  <a:pt x="220491" y="924267"/>
                  <a:pt x="222410" y="909302"/>
                  <a:pt x="225792" y="893236"/>
                </a:cubicBezTo>
                <a:cubicBezTo>
                  <a:pt x="226444" y="890644"/>
                  <a:pt x="226297" y="889307"/>
                  <a:pt x="226150" y="887970"/>
                </a:cubicBezTo>
                <a:cubicBezTo>
                  <a:pt x="227450" y="877085"/>
                  <a:pt x="228750" y="866198"/>
                  <a:pt x="230782" y="853969"/>
                </a:cubicBezTo>
                <a:cubicBezTo>
                  <a:pt x="231271" y="851270"/>
                  <a:pt x="231029" y="849914"/>
                  <a:pt x="230786" y="848558"/>
                </a:cubicBezTo>
                <a:cubicBezTo>
                  <a:pt x="231390" y="840967"/>
                  <a:pt x="231993" y="833375"/>
                  <a:pt x="233315" y="824438"/>
                </a:cubicBezTo>
                <a:cubicBezTo>
                  <a:pt x="233755" y="821744"/>
                  <a:pt x="233477" y="820397"/>
                  <a:pt x="233199" y="819050"/>
                </a:cubicBezTo>
                <a:cubicBezTo>
                  <a:pt x="233786" y="807422"/>
                  <a:pt x="234374" y="795794"/>
                  <a:pt x="235848" y="782380"/>
                </a:cubicBezTo>
                <a:cubicBezTo>
                  <a:pt x="237047" y="760099"/>
                  <a:pt x="237488" y="739606"/>
                  <a:pt x="237465" y="719113"/>
                </a:cubicBezTo>
                <a:cubicBezTo>
                  <a:pt x="237463" y="717127"/>
                  <a:pt x="234595" y="715144"/>
                  <a:pt x="233057" y="713160"/>
                </a:cubicBezTo>
                <a:cubicBezTo>
                  <a:pt x="223043" y="711630"/>
                  <a:pt x="212881" y="710731"/>
                  <a:pt x="203056" y="708405"/>
                </a:cubicBezTo>
                <a:cubicBezTo>
                  <a:pt x="191716" y="705720"/>
                  <a:pt x="180144" y="702931"/>
                  <a:pt x="169628" y="698106"/>
                </a:cubicBezTo>
                <a:cubicBezTo>
                  <a:pt x="154505" y="691164"/>
                  <a:pt x="148867" y="675179"/>
                  <a:pt x="153237" y="659111"/>
                </a:cubicBezTo>
                <a:cubicBezTo>
                  <a:pt x="157196" y="644561"/>
                  <a:pt x="166649" y="634454"/>
                  <a:pt x="178365" y="626008"/>
                </a:cubicBezTo>
                <a:cubicBezTo>
                  <a:pt x="182258" y="623202"/>
                  <a:pt x="186579" y="620992"/>
                  <a:pt x="191885" y="617513"/>
                </a:cubicBezTo>
                <a:cubicBezTo>
                  <a:pt x="194882" y="614532"/>
                  <a:pt x="197062" y="612583"/>
                  <a:pt x="193681" y="610098"/>
                </a:cubicBezTo>
                <a:cubicBezTo>
                  <a:pt x="193381" y="595591"/>
                  <a:pt x="202034" y="586776"/>
                  <a:pt x="213301" y="579885"/>
                </a:cubicBezTo>
                <a:cubicBezTo>
                  <a:pt x="218517" y="576695"/>
                  <a:pt x="224270" y="574393"/>
                  <a:pt x="229635" y="571429"/>
                </a:cubicBezTo>
                <a:cubicBezTo>
                  <a:pt x="232401" y="569901"/>
                  <a:pt x="235344" y="568225"/>
                  <a:pt x="237351" y="565882"/>
                </a:cubicBezTo>
                <a:cubicBezTo>
                  <a:pt x="243193" y="559063"/>
                  <a:pt x="242021" y="554779"/>
                  <a:pt x="233673" y="550926"/>
                </a:cubicBezTo>
                <a:cubicBezTo>
                  <a:pt x="231458" y="549904"/>
                  <a:pt x="229049" y="549314"/>
                  <a:pt x="226799" y="548359"/>
                </a:cubicBezTo>
                <a:cubicBezTo>
                  <a:pt x="215108" y="543398"/>
                  <a:pt x="211118" y="532802"/>
                  <a:pt x="218639" y="522664"/>
                </a:cubicBezTo>
                <a:cubicBezTo>
                  <a:pt x="223647" y="515913"/>
                  <a:pt x="222661" y="511633"/>
                  <a:pt x="218264" y="505463"/>
                </a:cubicBezTo>
                <a:cubicBezTo>
                  <a:pt x="203255" y="484407"/>
                  <a:pt x="190650" y="461993"/>
                  <a:pt x="181762" y="437574"/>
                </a:cubicBezTo>
                <a:cubicBezTo>
                  <a:pt x="163530" y="387483"/>
                  <a:pt x="165826" y="338057"/>
                  <a:pt x="185971" y="289069"/>
                </a:cubicBezTo>
                <a:cubicBezTo>
                  <a:pt x="202921" y="247851"/>
                  <a:pt x="226229" y="210377"/>
                  <a:pt x="253787" y="175580"/>
                </a:cubicBezTo>
                <a:cubicBezTo>
                  <a:pt x="271814" y="152817"/>
                  <a:pt x="290973" y="130951"/>
                  <a:pt x="309639" y="108695"/>
                </a:cubicBezTo>
                <a:cubicBezTo>
                  <a:pt x="312744" y="104993"/>
                  <a:pt x="315922" y="101352"/>
                  <a:pt x="318061" y="98855"/>
                </a:cubicBezTo>
                <a:cubicBezTo>
                  <a:pt x="313257" y="88362"/>
                  <a:pt x="308695" y="79376"/>
                  <a:pt x="304967" y="70056"/>
                </a:cubicBezTo>
                <a:cubicBezTo>
                  <a:pt x="297146" y="50504"/>
                  <a:pt x="303366" y="33481"/>
                  <a:pt x="317012" y="19436"/>
                </a:cubicBezTo>
                <a:cubicBezTo>
                  <a:pt x="344741" y="-9105"/>
                  <a:pt x="393463" y="-3345"/>
                  <a:pt x="415542" y="18221"/>
                </a:cubicBezTo>
                <a:cubicBezTo>
                  <a:pt x="429559" y="31914"/>
                  <a:pt x="438373" y="56968"/>
                  <a:pt x="423203" y="82660"/>
                </a:cubicBezTo>
                <a:cubicBezTo>
                  <a:pt x="420306" y="87568"/>
                  <a:pt x="417047" y="92262"/>
                  <a:pt x="413361" y="97975"/>
                </a:cubicBezTo>
                <a:cubicBezTo>
                  <a:pt x="416167" y="100932"/>
                  <a:pt x="418781" y="103940"/>
                  <a:pt x="421654" y="106676"/>
                </a:cubicBezTo>
                <a:cubicBezTo>
                  <a:pt x="446372" y="130213"/>
                  <a:pt x="467902" y="156374"/>
                  <a:pt x="487032" y="184632"/>
                </a:cubicBezTo>
                <a:cubicBezTo>
                  <a:pt x="492374" y="192525"/>
                  <a:pt x="493990" y="199495"/>
                  <a:pt x="489213" y="208238"/>
                </a:cubicBezTo>
                <a:cubicBezTo>
                  <a:pt x="484525" y="216819"/>
                  <a:pt x="481033" y="226053"/>
                  <a:pt x="476520" y="235738"/>
                </a:cubicBezTo>
                <a:cubicBezTo>
                  <a:pt x="472168" y="236089"/>
                  <a:pt x="471165" y="234358"/>
                  <a:pt x="472850" y="230703"/>
                </a:cubicBezTo>
                <a:cubicBezTo>
                  <a:pt x="476263" y="223297"/>
                  <a:pt x="479344" y="215738"/>
                  <a:pt x="482723" y="208315"/>
                </a:cubicBezTo>
                <a:cubicBezTo>
                  <a:pt x="486016" y="201080"/>
                  <a:pt x="485571" y="194961"/>
                  <a:pt x="480764" y="187916"/>
                </a:cubicBezTo>
                <a:cubicBezTo>
                  <a:pt x="459995" y="157475"/>
                  <a:pt x="437234" y="128912"/>
                  <a:pt x="408519" y="105475"/>
                </a:cubicBezTo>
                <a:cubicBezTo>
                  <a:pt x="403555" y="101425"/>
                  <a:pt x="403835" y="96489"/>
                  <a:pt x="408625" y="89203"/>
                </a:cubicBezTo>
                <a:cubicBezTo>
                  <a:pt x="412416" y="83438"/>
                  <a:pt x="416045" y="77562"/>
                  <a:pt x="419600" y="71648"/>
                </a:cubicBezTo>
                <a:cubicBezTo>
                  <a:pt x="421349" y="68739"/>
                  <a:pt x="422717" y="65537"/>
                  <a:pt x="418792" y="63179"/>
                </a:cubicBezTo>
                <a:cubicBezTo>
                  <a:pt x="414834" y="60801"/>
                  <a:pt x="413218" y="63883"/>
                  <a:pt x="410943" y="66417"/>
                </a:cubicBezTo>
                <a:cubicBezTo>
                  <a:pt x="407706" y="70022"/>
                  <a:pt x="404330" y="74045"/>
                  <a:pt x="400140" y="76155"/>
                </a:cubicBezTo>
                <a:cubicBezTo>
                  <a:pt x="381561" y="85507"/>
                  <a:pt x="360821" y="72312"/>
                  <a:pt x="360599" y="51379"/>
                </a:cubicBezTo>
                <a:cubicBezTo>
                  <a:pt x="360556" y="47292"/>
                  <a:pt x="360308" y="43152"/>
                  <a:pt x="360842" y="39128"/>
                </a:cubicBezTo>
                <a:cubicBezTo>
                  <a:pt x="361447" y="34568"/>
                  <a:pt x="362880" y="30159"/>
                  <a:pt x="369470" y="30960"/>
                </a:cubicBezTo>
                <a:cubicBezTo>
                  <a:pt x="368501" y="37551"/>
                  <a:pt x="365745" y="43300"/>
                  <a:pt x="365613" y="49108"/>
                </a:cubicBezTo>
                <a:cubicBezTo>
                  <a:pt x="365328" y="61659"/>
                  <a:pt x="377498" y="72522"/>
                  <a:pt x="389468" y="71608"/>
                </a:cubicBezTo>
                <a:cubicBezTo>
                  <a:pt x="401478" y="70690"/>
                  <a:pt x="410127" y="59637"/>
                  <a:pt x="408822" y="46613"/>
                </a:cubicBezTo>
                <a:cubicBezTo>
                  <a:pt x="408542" y="43819"/>
                  <a:pt x="407521" y="41100"/>
                  <a:pt x="406842" y="38347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219" name="Free-form: Shape 9218">
            <a:extLst>
              <a:ext uri="{FF2B5EF4-FFF2-40B4-BE49-F238E27FC236}">
                <a16:creationId xmlns:a16="http://schemas.microsoft.com/office/drawing/2014/main" id="{B15A2DF9-13E8-56E9-462F-5CA804F6914F}"/>
              </a:ext>
            </a:extLst>
          </p:cNvPr>
          <p:cNvSpPr/>
          <p:nvPr/>
        </p:nvSpPr>
        <p:spPr>
          <a:xfrm>
            <a:off x="8986649" y="5472025"/>
            <a:ext cx="91545" cy="184495"/>
          </a:xfrm>
          <a:custGeom>
            <a:avLst/>
            <a:gdLst>
              <a:gd name="csX0" fmla="*/ 96534 w 100699"/>
              <a:gd name="csY0" fmla="*/ 202912 h 202945"/>
              <a:gd name="csX1" fmla="*/ 91036 w 100699"/>
              <a:gd name="csY1" fmla="*/ 196780 h 202945"/>
              <a:gd name="csX2" fmla="*/ 93357 w 100699"/>
              <a:gd name="csY2" fmla="*/ 178731 h 202945"/>
              <a:gd name="csX3" fmla="*/ 75903 w 100699"/>
              <a:gd name="csY3" fmla="*/ 106029 h 202945"/>
              <a:gd name="csX4" fmla="*/ 72780 w 100699"/>
              <a:gd name="csY4" fmla="*/ 102473 h 202945"/>
              <a:gd name="csX5" fmla="*/ 10982 w 100699"/>
              <a:gd name="csY5" fmla="*/ 41414 h 202945"/>
              <a:gd name="csX6" fmla="*/ 676 w 100699"/>
              <a:gd name="csY6" fmla="*/ 2936 h 202945"/>
              <a:gd name="csX7" fmla="*/ 5198 w 100699"/>
              <a:gd name="csY7" fmla="*/ 0 h 202945"/>
              <a:gd name="csX8" fmla="*/ 15435 w 100699"/>
              <a:gd name="csY8" fmla="*/ 35855 h 202945"/>
              <a:gd name="csX9" fmla="*/ 44498 w 100699"/>
              <a:gd name="csY9" fmla="*/ 63833 h 202945"/>
              <a:gd name="csX10" fmla="*/ 81385 w 100699"/>
              <a:gd name="csY10" fmla="*/ 106005 h 202945"/>
              <a:gd name="csX11" fmla="*/ 98950 w 100699"/>
              <a:gd name="csY11" fmla="*/ 190063 h 202945"/>
              <a:gd name="csX12" fmla="*/ 96534 w 100699"/>
              <a:gd name="csY12" fmla="*/ 202912 h 20294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</a:cxnLst>
            <a:rect l="l" t="t" r="r" b="b"/>
            <a:pathLst>
              <a:path w="100699" h="202945">
                <a:moveTo>
                  <a:pt x="96534" y="202912"/>
                </a:moveTo>
                <a:cubicBezTo>
                  <a:pt x="91699" y="203291"/>
                  <a:pt x="90650" y="200377"/>
                  <a:pt x="91036" y="196780"/>
                </a:cubicBezTo>
                <a:cubicBezTo>
                  <a:pt x="91685" y="190750"/>
                  <a:pt x="92933" y="184771"/>
                  <a:pt x="93357" y="178731"/>
                </a:cubicBezTo>
                <a:cubicBezTo>
                  <a:pt x="95183" y="152694"/>
                  <a:pt x="86034" y="129222"/>
                  <a:pt x="75903" y="106029"/>
                </a:cubicBezTo>
                <a:cubicBezTo>
                  <a:pt x="75300" y="104650"/>
                  <a:pt x="73904" y="103585"/>
                  <a:pt x="72780" y="102473"/>
                </a:cubicBezTo>
                <a:cubicBezTo>
                  <a:pt x="52199" y="82101"/>
                  <a:pt x="31673" y="61673"/>
                  <a:pt x="10982" y="41414"/>
                </a:cubicBezTo>
                <a:cubicBezTo>
                  <a:pt x="-119" y="30544"/>
                  <a:pt x="-1041" y="17093"/>
                  <a:pt x="676" y="2936"/>
                </a:cubicBezTo>
                <a:cubicBezTo>
                  <a:pt x="808" y="1852"/>
                  <a:pt x="2922" y="1010"/>
                  <a:pt x="5198" y="0"/>
                </a:cubicBezTo>
                <a:cubicBezTo>
                  <a:pt x="2043" y="13772"/>
                  <a:pt x="5665" y="25821"/>
                  <a:pt x="15435" y="35855"/>
                </a:cubicBezTo>
                <a:cubicBezTo>
                  <a:pt x="24811" y="45486"/>
                  <a:pt x="35301" y="54047"/>
                  <a:pt x="44498" y="63833"/>
                </a:cubicBezTo>
                <a:cubicBezTo>
                  <a:pt x="57293" y="77447"/>
                  <a:pt x="70760" y="90773"/>
                  <a:pt x="81385" y="106005"/>
                </a:cubicBezTo>
                <a:cubicBezTo>
                  <a:pt x="98896" y="131109"/>
                  <a:pt x="103759" y="159808"/>
                  <a:pt x="98950" y="190063"/>
                </a:cubicBezTo>
                <a:cubicBezTo>
                  <a:pt x="98311" y="194082"/>
                  <a:pt x="97697" y="198105"/>
                  <a:pt x="96534" y="202912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220" name="Free-form: Shape 9219">
            <a:extLst>
              <a:ext uri="{FF2B5EF4-FFF2-40B4-BE49-F238E27FC236}">
                <a16:creationId xmlns:a16="http://schemas.microsoft.com/office/drawing/2014/main" id="{1703BFC9-7ADF-3068-1614-26D8B24D6B06}"/>
              </a:ext>
            </a:extLst>
          </p:cNvPr>
          <p:cNvSpPr/>
          <p:nvPr/>
        </p:nvSpPr>
        <p:spPr>
          <a:xfrm>
            <a:off x="8645364" y="5007989"/>
            <a:ext cx="3739" cy="60936"/>
          </a:xfrm>
          <a:custGeom>
            <a:avLst/>
            <a:gdLst>
              <a:gd name="csX0" fmla="*/ 0 w 4113"/>
              <a:gd name="csY0" fmla="*/ 0 h 67029"/>
              <a:gd name="csX1" fmla="*/ 4113 w 4113"/>
              <a:gd name="csY1" fmla="*/ 4824 h 67029"/>
              <a:gd name="csX2" fmla="*/ 2662 w 4113"/>
              <a:gd name="csY2" fmla="*/ 67030 h 67029"/>
              <a:gd name="csX3" fmla="*/ 631 w 4113"/>
              <a:gd name="csY3" fmla="*/ 55883 h 67029"/>
              <a:gd name="csX4" fmla="*/ 0 w 4113"/>
              <a:gd name="csY4" fmla="*/ 0 h 6702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4113" h="67029">
                <a:moveTo>
                  <a:pt x="0" y="0"/>
                </a:moveTo>
                <a:cubicBezTo>
                  <a:pt x="1242" y="855"/>
                  <a:pt x="4111" y="2838"/>
                  <a:pt x="4113" y="4824"/>
                </a:cubicBezTo>
                <a:cubicBezTo>
                  <a:pt x="4135" y="25317"/>
                  <a:pt x="3695" y="45810"/>
                  <a:pt x="2662" y="67030"/>
                </a:cubicBezTo>
                <a:cubicBezTo>
                  <a:pt x="1483" y="63799"/>
                  <a:pt x="680" y="59846"/>
                  <a:pt x="631" y="55883"/>
                </a:cubicBezTo>
                <a:cubicBezTo>
                  <a:pt x="404" y="37633"/>
                  <a:pt x="388" y="19381"/>
                  <a:pt x="0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221" name="Free-form: Shape 9220">
            <a:extLst>
              <a:ext uri="{FF2B5EF4-FFF2-40B4-BE49-F238E27FC236}">
                <a16:creationId xmlns:a16="http://schemas.microsoft.com/office/drawing/2014/main" id="{904B2D51-9D74-BE93-8678-BD0AA280F273}"/>
              </a:ext>
            </a:extLst>
          </p:cNvPr>
          <p:cNvSpPr/>
          <p:nvPr/>
        </p:nvSpPr>
        <p:spPr>
          <a:xfrm>
            <a:off x="9097754" y="5735789"/>
            <a:ext cx="1060" cy="5803"/>
          </a:xfrm>
          <a:custGeom>
            <a:avLst/>
            <a:gdLst>
              <a:gd name="csX0" fmla="*/ 1130 w 1165"/>
              <a:gd name="csY0" fmla="*/ 6385 h 6384"/>
              <a:gd name="csX1" fmla="*/ 49 w 1165"/>
              <a:gd name="csY1" fmla="*/ 0 h 6384"/>
              <a:gd name="csX2" fmla="*/ 1130 w 1165"/>
              <a:gd name="csY2" fmla="*/ 6385 h 638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165" h="6384">
                <a:moveTo>
                  <a:pt x="1130" y="6385"/>
                </a:moveTo>
                <a:cubicBezTo>
                  <a:pt x="260" y="4748"/>
                  <a:pt x="-149" y="2599"/>
                  <a:pt x="49" y="0"/>
                </a:cubicBezTo>
                <a:cubicBezTo>
                  <a:pt x="969" y="1658"/>
                  <a:pt x="1279" y="3765"/>
                  <a:pt x="1130" y="6385"/>
                </a:cubicBezTo>
                <a:close/>
              </a:path>
            </a:pathLst>
          </a:custGeom>
          <a:solidFill>
            <a:srgbClr val="939B9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222" name="Free-form: Shape 9221">
            <a:extLst>
              <a:ext uri="{FF2B5EF4-FFF2-40B4-BE49-F238E27FC236}">
                <a16:creationId xmlns:a16="http://schemas.microsoft.com/office/drawing/2014/main" id="{5B3A2C1B-F8C2-100C-98DF-356297E58A55}"/>
              </a:ext>
            </a:extLst>
          </p:cNvPr>
          <p:cNvSpPr/>
          <p:nvPr/>
        </p:nvSpPr>
        <p:spPr>
          <a:xfrm>
            <a:off x="9068025" y="5661694"/>
            <a:ext cx="5440" cy="2491"/>
          </a:xfrm>
          <a:custGeom>
            <a:avLst/>
            <a:gdLst>
              <a:gd name="csX0" fmla="*/ 5985 w 5984"/>
              <a:gd name="csY0" fmla="*/ 1832 h 2740"/>
              <a:gd name="csX1" fmla="*/ 0 w 5984"/>
              <a:gd name="csY1" fmla="*/ 2740 h 2740"/>
              <a:gd name="csX2" fmla="*/ 4930 w 5984"/>
              <a:gd name="csY2" fmla="*/ 0 h 2740"/>
              <a:gd name="csX3" fmla="*/ 5985 w 5984"/>
              <a:gd name="csY3" fmla="*/ 1832 h 274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</a:cxnLst>
            <a:rect l="l" t="t" r="r" b="b"/>
            <a:pathLst>
              <a:path w="5984" h="2740">
                <a:moveTo>
                  <a:pt x="5985" y="1832"/>
                </a:moveTo>
                <a:cubicBezTo>
                  <a:pt x="3992" y="2553"/>
                  <a:pt x="1996" y="2646"/>
                  <a:pt x="0" y="2740"/>
                </a:cubicBezTo>
                <a:cubicBezTo>
                  <a:pt x="1398" y="1830"/>
                  <a:pt x="2796" y="920"/>
                  <a:pt x="4930" y="0"/>
                </a:cubicBezTo>
                <a:cubicBezTo>
                  <a:pt x="5772" y="394"/>
                  <a:pt x="5877" y="799"/>
                  <a:pt x="5985" y="1832"/>
                </a:cubicBezTo>
                <a:close/>
              </a:path>
            </a:pathLst>
          </a:custGeom>
          <a:solidFill>
            <a:srgbClr val="8E9395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223" name="Free-form: Shape 9222">
            <a:extLst>
              <a:ext uri="{FF2B5EF4-FFF2-40B4-BE49-F238E27FC236}">
                <a16:creationId xmlns:a16="http://schemas.microsoft.com/office/drawing/2014/main" id="{2A9B1CE9-8FA0-D835-7720-77310200535D}"/>
              </a:ext>
            </a:extLst>
          </p:cNvPr>
          <p:cNvSpPr/>
          <p:nvPr/>
        </p:nvSpPr>
        <p:spPr>
          <a:xfrm>
            <a:off x="8642552" y="5130383"/>
            <a:ext cx="770" cy="3664"/>
          </a:xfrm>
          <a:custGeom>
            <a:avLst/>
            <a:gdLst>
              <a:gd name="csX0" fmla="*/ 106 w 847"/>
              <a:gd name="csY0" fmla="*/ 0 h 4030"/>
              <a:gd name="csX1" fmla="*/ 732 w 847"/>
              <a:gd name="csY1" fmla="*/ 4031 h 4030"/>
              <a:gd name="csX2" fmla="*/ 106 w 847"/>
              <a:gd name="csY2" fmla="*/ 0 h 403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7" h="4030">
                <a:moveTo>
                  <a:pt x="106" y="0"/>
                </a:moveTo>
                <a:cubicBezTo>
                  <a:pt x="770" y="990"/>
                  <a:pt x="1013" y="2346"/>
                  <a:pt x="732" y="4031"/>
                </a:cubicBezTo>
                <a:cubicBezTo>
                  <a:pt x="34" y="3029"/>
                  <a:pt x="-141" y="1697"/>
                  <a:pt x="106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224" name="Free-form: Shape 9223">
            <a:extLst>
              <a:ext uri="{FF2B5EF4-FFF2-40B4-BE49-F238E27FC236}">
                <a16:creationId xmlns:a16="http://schemas.microsoft.com/office/drawing/2014/main" id="{0686655C-12CB-3444-D774-8FE33D90AB53}"/>
              </a:ext>
            </a:extLst>
          </p:cNvPr>
          <p:cNvSpPr/>
          <p:nvPr/>
        </p:nvSpPr>
        <p:spPr>
          <a:xfrm>
            <a:off x="8638228" y="5166177"/>
            <a:ext cx="703" cy="3631"/>
          </a:xfrm>
          <a:custGeom>
            <a:avLst/>
            <a:gdLst>
              <a:gd name="csX0" fmla="*/ 195 w 774"/>
              <a:gd name="csY0" fmla="*/ 0 h 3994"/>
              <a:gd name="csX1" fmla="*/ 575 w 774"/>
              <a:gd name="csY1" fmla="*/ 3994 h 3994"/>
              <a:gd name="csX2" fmla="*/ 195 w 774"/>
              <a:gd name="csY2" fmla="*/ 0 h 399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774" h="3994">
                <a:moveTo>
                  <a:pt x="195" y="0"/>
                </a:moveTo>
                <a:cubicBezTo>
                  <a:pt x="794" y="1011"/>
                  <a:pt x="941" y="2348"/>
                  <a:pt x="575" y="3994"/>
                </a:cubicBezTo>
                <a:cubicBezTo>
                  <a:pt x="-44" y="2978"/>
                  <a:pt x="-151" y="1652"/>
                  <a:pt x="195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225" name="Free-form: Shape 9224">
            <a:extLst>
              <a:ext uri="{FF2B5EF4-FFF2-40B4-BE49-F238E27FC236}">
                <a16:creationId xmlns:a16="http://schemas.microsoft.com/office/drawing/2014/main" id="{DDAB3B01-2CCD-9C62-DB11-2463FC78C618}"/>
              </a:ext>
            </a:extLst>
          </p:cNvPr>
          <p:cNvSpPr/>
          <p:nvPr/>
        </p:nvSpPr>
        <p:spPr>
          <a:xfrm>
            <a:off x="8644806" y="5103573"/>
            <a:ext cx="787" cy="3631"/>
          </a:xfrm>
          <a:custGeom>
            <a:avLst/>
            <a:gdLst>
              <a:gd name="csX0" fmla="*/ 71 w 865"/>
              <a:gd name="csY0" fmla="*/ 0 h 3995"/>
              <a:gd name="csX1" fmla="*/ 783 w 865"/>
              <a:gd name="csY1" fmla="*/ 3996 h 3995"/>
              <a:gd name="csX2" fmla="*/ 71 w 865"/>
              <a:gd name="csY2" fmla="*/ 0 h 399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65" h="3995">
                <a:moveTo>
                  <a:pt x="71" y="0"/>
                </a:moveTo>
                <a:cubicBezTo>
                  <a:pt x="740" y="963"/>
                  <a:pt x="1018" y="2311"/>
                  <a:pt x="783" y="3996"/>
                </a:cubicBezTo>
                <a:cubicBezTo>
                  <a:pt x="73" y="3017"/>
                  <a:pt x="-124" y="1701"/>
                  <a:pt x="71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226" name="Free-form: Shape 9225">
            <a:extLst>
              <a:ext uri="{FF2B5EF4-FFF2-40B4-BE49-F238E27FC236}">
                <a16:creationId xmlns:a16="http://schemas.microsoft.com/office/drawing/2014/main" id="{843D436F-A9E6-8302-CFC0-9E06C6FD1B37}"/>
              </a:ext>
            </a:extLst>
          </p:cNvPr>
          <p:cNvSpPr/>
          <p:nvPr/>
        </p:nvSpPr>
        <p:spPr>
          <a:xfrm>
            <a:off x="8763109" y="5007599"/>
            <a:ext cx="170236" cy="426821"/>
          </a:xfrm>
          <a:custGeom>
            <a:avLst/>
            <a:gdLst>
              <a:gd name="csX0" fmla="*/ 120604 w 187260"/>
              <a:gd name="csY0" fmla="*/ 222968 h 469503"/>
              <a:gd name="csX1" fmla="*/ 187261 w 187260"/>
              <a:gd name="csY1" fmla="*/ 469503 h 469503"/>
              <a:gd name="csX2" fmla="*/ 1253 w 187260"/>
              <a:gd name="csY2" fmla="*/ 466078 h 469503"/>
              <a:gd name="csX3" fmla="*/ 8 w 187260"/>
              <a:gd name="csY3" fmla="*/ 458101 h 469503"/>
              <a:gd name="csX4" fmla="*/ 4383 w 187260"/>
              <a:gd name="csY4" fmla="*/ 351443 h 469503"/>
              <a:gd name="csX5" fmla="*/ 4615 w 187260"/>
              <a:gd name="csY5" fmla="*/ 346536 h 469503"/>
              <a:gd name="csX6" fmla="*/ 7935 w 187260"/>
              <a:gd name="csY6" fmla="*/ 233648 h 469503"/>
              <a:gd name="csX7" fmla="*/ 10461 w 187260"/>
              <a:gd name="csY7" fmla="*/ 128112 h 469503"/>
              <a:gd name="csX8" fmla="*/ 12461 w 187260"/>
              <a:gd name="csY8" fmla="*/ 12750 h 469503"/>
              <a:gd name="csX9" fmla="*/ 13165 w 187260"/>
              <a:gd name="csY9" fmla="*/ 4285 h 469503"/>
              <a:gd name="csX10" fmla="*/ 102327 w 187260"/>
              <a:gd name="csY10" fmla="*/ 0 h 469503"/>
              <a:gd name="csX11" fmla="*/ 106229 w 187260"/>
              <a:gd name="csY11" fmla="*/ 111321 h 469503"/>
              <a:gd name="csX12" fmla="*/ 120604 w 187260"/>
              <a:gd name="csY12" fmla="*/ 222968 h 46950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</a:cxnLst>
            <a:rect l="l" t="t" r="r" b="b"/>
            <a:pathLst>
              <a:path w="187260" h="469503">
                <a:moveTo>
                  <a:pt x="120604" y="222968"/>
                </a:moveTo>
                <a:cubicBezTo>
                  <a:pt x="135383" y="307129"/>
                  <a:pt x="159464" y="387725"/>
                  <a:pt x="187261" y="469503"/>
                </a:cubicBezTo>
                <a:cubicBezTo>
                  <a:pt x="124460" y="468347"/>
                  <a:pt x="63286" y="467220"/>
                  <a:pt x="1253" y="466078"/>
                </a:cubicBezTo>
                <a:cubicBezTo>
                  <a:pt x="818" y="463442"/>
                  <a:pt x="-95" y="460752"/>
                  <a:pt x="8" y="458101"/>
                </a:cubicBezTo>
                <a:cubicBezTo>
                  <a:pt x="1383" y="422545"/>
                  <a:pt x="2900" y="386994"/>
                  <a:pt x="4383" y="351443"/>
                </a:cubicBezTo>
                <a:cubicBezTo>
                  <a:pt x="4451" y="349807"/>
                  <a:pt x="4566" y="348172"/>
                  <a:pt x="4615" y="346536"/>
                </a:cubicBezTo>
                <a:cubicBezTo>
                  <a:pt x="5732" y="308907"/>
                  <a:pt x="6921" y="271280"/>
                  <a:pt x="7935" y="233648"/>
                </a:cubicBezTo>
                <a:cubicBezTo>
                  <a:pt x="8883" y="198472"/>
                  <a:pt x="9752" y="163293"/>
                  <a:pt x="10461" y="128112"/>
                </a:cubicBezTo>
                <a:cubicBezTo>
                  <a:pt x="11237" y="89660"/>
                  <a:pt x="11781" y="51204"/>
                  <a:pt x="12461" y="12750"/>
                </a:cubicBezTo>
                <a:cubicBezTo>
                  <a:pt x="12503" y="10363"/>
                  <a:pt x="12848" y="7981"/>
                  <a:pt x="13165" y="4285"/>
                </a:cubicBezTo>
                <a:cubicBezTo>
                  <a:pt x="42856" y="2858"/>
                  <a:pt x="72082" y="1454"/>
                  <a:pt x="102327" y="0"/>
                </a:cubicBezTo>
                <a:cubicBezTo>
                  <a:pt x="103499" y="37348"/>
                  <a:pt x="103207" y="74470"/>
                  <a:pt x="106229" y="111321"/>
                </a:cubicBezTo>
                <a:cubicBezTo>
                  <a:pt x="109263" y="148326"/>
                  <a:pt x="115599" y="185060"/>
                  <a:pt x="120604" y="222968"/>
                </a:cubicBezTo>
                <a:close/>
              </a:path>
            </a:pathLst>
          </a:custGeom>
          <a:solidFill>
            <a:srgbClr val="FDFDFD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227" name="Free-form: Shape 9226">
            <a:extLst>
              <a:ext uri="{FF2B5EF4-FFF2-40B4-BE49-F238E27FC236}">
                <a16:creationId xmlns:a16="http://schemas.microsoft.com/office/drawing/2014/main" id="{3AD011FB-B8AA-6B15-D05F-FF2F3AE42041}"/>
              </a:ext>
            </a:extLst>
          </p:cNvPr>
          <p:cNvSpPr/>
          <p:nvPr/>
        </p:nvSpPr>
        <p:spPr>
          <a:xfrm>
            <a:off x="8761916" y="5474351"/>
            <a:ext cx="284824" cy="179974"/>
          </a:xfrm>
          <a:custGeom>
            <a:avLst/>
            <a:gdLst>
              <a:gd name="csX0" fmla="*/ 160234 w 313306"/>
              <a:gd name="csY0" fmla="*/ 197876 h 197971"/>
              <a:gd name="csX1" fmla="*/ 544 w 313306"/>
              <a:gd name="csY1" fmla="*/ 197972 h 197971"/>
              <a:gd name="csX2" fmla="*/ 3466 w 313306"/>
              <a:gd name="csY2" fmla="*/ 104326 h 197971"/>
              <a:gd name="csX3" fmla="*/ 0 w 313306"/>
              <a:gd name="csY3" fmla="*/ 10720 h 197971"/>
              <a:gd name="csX4" fmla="*/ 5445 w 313306"/>
              <a:gd name="csY4" fmla="*/ 9282 h 197971"/>
              <a:gd name="csX5" fmla="*/ 71623 w 313306"/>
              <a:gd name="csY5" fmla="*/ 6885 h 197971"/>
              <a:gd name="csX6" fmla="*/ 187887 w 313306"/>
              <a:gd name="csY6" fmla="*/ 233 h 197971"/>
              <a:gd name="csX7" fmla="*/ 215297 w 313306"/>
              <a:gd name="csY7" fmla="*/ 163 h 197971"/>
              <a:gd name="csX8" fmla="*/ 243629 w 313306"/>
              <a:gd name="csY8" fmla="*/ 61389 h 197971"/>
              <a:gd name="csX9" fmla="*/ 270660 w 313306"/>
              <a:gd name="csY9" fmla="*/ 86342 h 197971"/>
              <a:gd name="csX10" fmla="*/ 313142 w 313306"/>
              <a:gd name="csY10" fmla="*/ 170098 h 197971"/>
              <a:gd name="csX11" fmla="*/ 313291 w 313306"/>
              <a:gd name="csY11" fmla="*/ 176231 h 197971"/>
              <a:gd name="csX12" fmla="*/ 312654 w 313306"/>
              <a:gd name="csY12" fmla="*/ 180738 h 197971"/>
              <a:gd name="csX13" fmla="*/ 279655 w 313306"/>
              <a:gd name="csY13" fmla="*/ 186226 h 197971"/>
              <a:gd name="csX14" fmla="*/ 167436 w 313306"/>
              <a:gd name="csY14" fmla="*/ 196805 h 197971"/>
              <a:gd name="csX15" fmla="*/ 160234 w 313306"/>
              <a:gd name="csY15" fmla="*/ 197876 h 19797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</a:cxnLst>
            <a:rect l="l" t="t" r="r" b="b"/>
            <a:pathLst>
              <a:path w="313306" h="197971">
                <a:moveTo>
                  <a:pt x="160234" y="197876"/>
                </a:moveTo>
                <a:cubicBezTo>
                  <a:pt x="106384" y="197972"/>
                  <a:pt x="53682" y="197972"/>
                  <a:pt x="544" y="197972"/>
                </a:cubicBezTo>
                <a:cubicBezTo>
                  <a:pt x="1602" y="166763"/>
                  <a:pt x="3550" y="135542"/>
                  <a:pt x="3466" y="104326"/>
                </a:cubicBezTo>
                <a:cubicBezTo>
                  <a:pt x="3383" y="73323"/>
                  <a:pt x="1255" y="42326"/>
                  <a:pt x="0" y="10720"/>
                </a:cubicBezTo>
                <a:cubicBezTo>
                  <a:pt x="1689" y="10255"/>
                  <a:pt x="3551" y="9355"/>
                  <a:pt x="5445" y="9282"/>
                </a:cubicBezTo>
                <a:cubicBezTo>
                  <a:pt x="27503" y="8435"/>
                  <a:pt x="49582" y="8030"/>
                  <a:pt x="71623" y="6885"/>
                </a:cubicBezTo>
                <a:cubicBezTo>
                  <a:pt x="110388" y="4872"/>
                  <a:pt x="149126" y="2333"/>
                  <a:pt x="187887" y="233"/>
                </a:cubicBezTo>
                <a:cubicBezTo>
                  <a:pt x="196749" y="-247"/>
                  <a:pt x="205660" y="163"/>
                  <a:pt x="215297" y="163"/>
                </a:cubicBezTo>
                <a:cubicBezTo>
                  <a:pt x="215450" y="25550"/>
                  <a:pt x="226120" y="45122"/>
                  <a:pt x="243629" y="61389"/>
                </a:cubicBezTo>
                <a:cubicBezTo>
                  <a:pt x="252615" y="69739"/>
                  <a:pt x="261099" y="78715"/>
                  <a:pt x="270660" y="86342"/>
                </a:cubicBezTo>
                <a:cubicBezTo>
                  <a:pt x="297676" y="107892"/>
                  <a:pt x="310731" y="136225"/>
                  <a:pt x="313142" y="170098"/>
                </a:cubicBezTo>
                <a:cubicBezTo>
                  <a:pt x="313287" y="172136"/>
                  <a:pt x="313335" y="174188"/>
                  <a:pt x="313291" y="176231"/>
                </a:cubicBezTo>
                <a:cubicBezTo>
                  <a:pt x="313265" y="177429"/>
                  <a:pt x="312966" y="178621"/>
                  <a:pt x="312654" y="180738"/>
                </a:cubicBezTo>
                <a:cubicBezTo>
                  <a:pt x="302343" y="185396"/>
                  <a:pt x="290736" y="185049"/>
                  <a:pt x="279655" y="186226"/>
                </a:cubicBezTo>
                <a:cubicBezTo>
                  <a:pt x="242295" y="190193"/>
                  <a:pt x="204847" y="193324"/>
                  <a:pt x="167436" y="196805"/>
                </a:cubicBezTo>
                <a:cubicBezTo>
                  <a:pt x="165405" y="196994"/>
                  <a:pt x="163399" y="197449"/>
                  <a:pt x="160234" y="197876"/>
                </a:cubicBezTo>
                <a:close/>
              </a:path>
            </a:pathLst>
          </a:custGeom>
          <a:solidFill>
            <a:srgbClr val="FDFEFE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228" name="Free-form: Shape 9227">
            <a:extLst>
              <a:ext uri="{FF2B5EF4-FFF2-40B4-BE49-F238E27FC236}">
                <a16:creationId xmlns:a16="http://schemas.microsoft.com/office/drawing/2014/main" id="{E2EFBFE0-9133-6243-9E57-8DC0D5DE2F2B}"/>
              </a:ext>
            </a:extLst>
          </p:cNvPr>
          <p:cNvSpPr/>
          <p:nvPr/>
        </p:nvSpPr>
        <p:spPr>
          <a:xfrm>
            <a:off x="8772659" y="4457767"/>
            <a:ext cx="149260" cy="361842"/>
          </a:xfrm>
          <a:custGeom>
            <a:avLst/>
            <a:gdLst>
              <a:gd name="csX0" fmla="*/ 22609 w 164186"/>
              <a:gd name="csY0" fmla="*/ 398026 h 398026"/>
              <a:gd name="csX1" fmla="*/ 16884 w 164186"/>
              <a:gd name="csY1" fmla="*/ 390515 h 398026"/>
              <a:gd name="csX2" fmla="*/ 9661 w 164186"/>
              <a:gd name="csY2" fmla="*/ 328443 h 398026"/>
              <a:gd name="csX3" fmla="*/ 534 w 164186"/>
              <a:gd name="csY3" fmla="*/ 196369 h 398026"/>
              <a:gd name="csX4" fmla="*/ 1243 w 164186"/>
              <a:gd name="csY4" fmla="*/ 82293 h 398026"/>
              <a:gd name="csX5" fmla="*/ 2245 w 164186"/>
              <a:gd name="csY5" fmla="*/ 43023 h 398026"/>
              <a:gd name="csX6" fmla="*/ 4587 w 164186"/>
              <a:gd name="csY6" fmla="*/ 0 h 398026"/>
              <a:gd name="csX7" fmla="*/ 12341 w 164186"/>
              <a:gd name="csY7" fmla="*/ 3872 h 398026"/>
              <a:gd name="csX8" fmla="*/ 85914 w 164186"/>
              <a:gd name="csY8" fmla="*/ 78943 h 398026"/>
              <a:gd name="csX9" fmla="*/ 87893 w 164186"/>
              <a:gd name="csY9" fmla="*/ 99117 h 398026"/>
              <a:gd name="csX10" fmla="*/ 35459 w 164186"/>
              <a:gd name="csY10" fmla="*/ 207346 h 398026"/>
              <a:gd name="csX11" fmla="*/ 32223 w 164186"/>
              <a:gd name="csY11" fmla="*/ 213959 h 398026"/>
              <a:gd name="csX12" fmla="*/ 39509 w 164186"/>
              <a:gd name="csY12" fmla="*/ 242056 h 398026"/>
              <a:gd name="csX13" fmla="*/ 69474 w 164186"/>
              <a:gd name="csY13" fmla="*/ 237019 h 398026"/>
              <a:gd name="csX14" fmla="*/ 89101 w 164186"/>
              <a:gd name="csY14" fmla="*/ 208870 h 398026"/>
              <a:gd name="csX15" fmla="*/ 121716 w 164186"/>
              <a:gd name="csY15" fmla="*/ 158357 h 398026"/>
              <a:gd name="csX16" fmla="*/ 129330 w 164186"/>
              <a:gd name="csY16" fmla="*/ 148165 h 398026"/>
              <a:gd name="csX17" fmla="*/ 137171 w 164186"/>
              <a:gd name="csY17" fmla="*/ 159989 h 398026"/>
              <a:gd name="csX18" fmla="*/ 163812 w 164186"/>
              <a:gd name="csY18" fmla="*/ 273175 h 398026"/>
              <a:gd name="csX19" fmla="*/ 118151 w 164186"/>
              <a:gd name="csY19" fmla="*/ 383442 h 398026"/>
              <a:gd name="csX20" fmla="*/ 92325 w 164186"/>
              <a:gd name="csY20" fmla="*/ 395173 h 398026"/>
              <a:gd name="csX21" fmla="*/ 22609 w 164186"/>
              <a:gd name="csY21" fmla="*/ 398026 h 39802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</a:cxnLst>
            <a:rect l="l" t="t" r="r" b="b"/>
            <a:pathLst>
              <a:path w="164186" h="398026">
                <a:moveTo>
                  <a:pt x="22609" y="398026"/>
                </a:moveTo>
                <a:cubicBezTo>
                  <a:pt x="19898" y="395489"/>
                  <a:pt x="17229" y="393154"/>
                  <a:pt x="16884" y="390515"/>
                </a:cubicBezTo>
                <a:cubicBezTo>
                  <a:pt x="14183" y="369861"/>
                  <a:pt x="11326" y="349196"/>
                  <a:pt x="9661" y="328443"/>
                </a:cubicBezTo>
                <a:cubicBezTo>
                  <a:pt x="6132" y="284452"/>
                  <a:pt x="2125" y="240448"/>
                  <a:pt x="534" y="196369"/>
                </a:cubicBezTo>
                <a:cubicBezTo>
                  <a:pt x="-837" y="158401"/>
                  <a:pt x="816" y="120322"/>
                  <a:pt x="1243" y="82293"/>
                </a:cubicBezTo>
                <a:cubicBezTo>
                  <a:pt x="1389" y="69201"/>
                  <a:pt x="1708" y="56105"/>
                  <a:pt x="2245" y="43023"/>
                </a:cubicBezTo>
                <a:cubicBezTo>
                  <a:pt x="2815" y="29160"/>
                  <a:pt x="3738" y="15312"/>
                  <a:pt x="4587" y="0"/>
                </a:cubicBezTo>
                <a:cubicBezTo>
                  <a:pt x="7809" y="1586"/>
                  <a:pt x="10279" y="2436"/>
                  <a:pt x="12341" y="3872"/>
                </a:cubicBezTo>
                <a:cubicBezTo>
                  <a:pt x="41601" y="24248"/>
                  <a:pt x="64069" y="51269"/>
                  <a:pt x="85914" y="78943"/>
                </a:cubicBezTo>
                <a:cubicBezTo>
                  <a:pt x="91106" y="85520"/>
                  <a:pt x="91706" y="91406"/>
                  <a:pt x="87893" y="99117"/>
                </a:cubicBezTo>
                <a:cubicBezTo>
                  <a:pt x="70127" y="135051"/>
                  <a:pt x="52890" y="171246"/>
                  <a:pt x="35459" y="207346"/>
                </a:cubicBezTo>
                <a:cubicBezTo>
                  <a:pt x="34391" y="209557"/>
                  <a:pt x="33130" y="211686"/>
                  <a:pt x="32223" y="213959"/>
                </a:cubicBezTo>
                <a:cubicBezTo>
                  <a:pt x="27471" y="225873"/>
                  <a:pt x="30154" y="236086"/>
                  <a:pt x="39509" y="242056"/>
                </a:cubicBezTo>
                <a:cubicBezTo>
                  <a:pt x="48880" y="248038"/>
                  <a:pt x="61705" y="246477"/>
                  <a:pt x="69474" y="237019"/>
                </a:cubicBezTo>
                <a:cubicBezTo>
                  <a:pt x="76712" y="228205"/>
                  <a:pt x="82824" y="218436"/>
                  <a:pt x="89101" y="208870"/>
                </a:cubicBezTo>
                <a:cubicBezTo>
                  <a:pt x="100096" y="192114"/>
                  <a:pt x="110806" y="175170"/>
                  <a:pt x="121716" y="158357"/>
                </a:cubicBezTo>
                <a:cubicBezTo>
                  <a:pt x="123679" y="155333"/>
                  <a:pt x="126029" y="152559"/>
                  <a:pt x="129330" y="148165"/>
                </a:cubicBezTo>
                <a:cubicBezTo>
                  <a:pt x="132450" y="152828"/>
                  <a:pt x="135175" y="156216"/>
                  <a:pt x="137171" y="159989"/>
                </a:cubicBezTo>
                <a:cubicBezTo>
                  <a:pt x="155891" y="195388"/>
                  <a:pt x="166343" y="232905"/>
                  <a:pt x="163812" y="273175"/>
                </a:cubicBezTo>
                <a:cubicBezTo>
                  <a:pt x="161183" y="314982"/>
                  <a:pt x="144984" y="351430"/>
                  <a:pt x="118151" y="383442"/>
                </a:cubicBezTo>
                <a:cubicBezTo>
                  <a:pt x="111214" y="391718"/>
                  <a:pt x="102452" y="394716"/>
                  <a:pt x="92325" y="395173"/>
                </a:cubicBezTo>
                <a:cubicBezTo>
                  <a:pt x="69461" y="396207"/>
                  <a:pt x="46593" y="397123"/>
                  <a:pt x="22609" y="398026"/>
                </a:cubicBezTo>
                <a:close/>
              </a:path>
            </a:pathLst>
          </a:custGeom>
          <a:solidFill>
            <a:srgbClr val="FCFDFD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229" name="Free-form: Shape 9228">
            <a:extLst>
              <a:ext uri="{FF2B5EF4-FFF2-40B4-BE49-F238E27FC236}">
                <a16:creationId xmlns:a16="http://schemas.microsoft.com/office/drawing/2014/main" id="{6D4CEA1A-9AD5-A3FD-63E6-6FBDDE643C9A}"/>
              </a:ext>
            </a:extLst>
          </p:cNvPr>
          <p:cNvSpPr/>
          <p:nvPr/>
        </p:nvSpPr>
        <p:spPr>
          <a:xfrm>
            <a:off x="8758553" y="5683558"/>
            <a:ext cx="305850" cy="64961"/>
          </a:xfrm>
          <a:custGeom>
            <a:avLst/>
            <a:gdLst>
              <a:gd name="csX0" fmla="*/ 105937 w 336434"/>
              <a:gd name="csY0" fmla="*/ 71458 h 71457"/>
              <a:gd name="csX1" fmla="*/ 3534 w 336434"/>
              <a:gd name="csY1" fmla="*/ 69115 h 71457"/>
              <a:gd name="csX2" fmla="*/ 1296 w 336434"/>
              <a:gd name="csY2" fmla="*/ 17910 h 71457"/>
              <a:gd name="csX3" fmla="*/ 14032 w 336434"/>
              <a:gd name="csY3" fmla="*/ 17908 h 71457"/>
              <a:gd name="csX4" fmla="*/ 102444 w 336434"/>
              <a:gd name="csY4" fmla="*/ 17433 h 71457"/>
              <a:gd name="csX5" fmla="*/ 284561 w 336434"/>
              <a:gd name="csY5" fmla="*/ 3564 h 71457"/>
              <a:gd name="csX6" fmla="*/ 311323 w 336434"/>
              <a:gd name="csY6" fmla="*/ 224 h 71457"/>
              <a:gd name="csX7" fmla="*/ 324313 w 336434"/>
              <a:gd name="csY7" fmla="*/ 6639 h 71457"/>
              <a:gd name="csX8" fmla="*/ 336434 w 336434"/>
              <a:gd name="csY8" fmla="*/ 46484 h 71457"/>
              <a:gd name="csX9" fmla="*/ 105937 w 336434"/>
              <a:gd name="csY9" fmla="*/ 71458 h 7145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336434" h="71457">
                <a:moveTo>
                  <a:pt x="105937" y="71458"/>
                </a:moveTo>
                <a:cubicBezTo>
                  <a:pt x="70820" y="70678"/>
                  <a:pt x="36930" y="69891"/>
                  <a:pt x="3534" y="69115"/>
                </a:cubicBezTo>
                <a:cubicBezTo>
                  <a:pt x="-81" y="59433"/>
                  <a:pt x="-1094" y="35337"/>
                  <a:pt x="1296" y="17910"/>
                </a:cubicBezTo>
                <a:cubicBezTo>
                  <a:pt x="5366" y="17910"/>
                  <a:pt x="9699" y="17923"/>
                  <a:pt x="14032" y="17908"/>
                </a:cubicBezTo>
                <a:cubicBezTo>
                  <a:pt x="43505" y="17812"/>
                  <a:pt x="73011" y="18557"/>
                  <a:pt x="102444" y="17433"/>
                </a:cubicBezTo>
                <a:cubicBezTo>
                  <a:pt x="163306" y="15109"/>
                  <a:pt x="224166" y="12264"/>
                  <a:pt x="284561" y="3564"/>
                </a:cubicBezTo>
                <a:cubicBezTo>
                  <a:pt x="293458" y="2283"/>
                  <a:pt x="302438" y="1575"/>
                  <a:pt x="311323" y="224"/>
                </a:cubicBezTo>
                <a:cubicBezTo>
                  <a:pt x="317371" y="-696"/>
                  <a:pt x="321247" y="1177"/>
                  <a:pt x="324313" y="6639"/>
                </a:cubicBezTo>
                <a:cubicBezTo>
                  <a:pt x="330512" y="17683"/>
                  <a:pt x="335236" y="31679"/>
                  <a:pt x="336434" y="46484"/>
                </a:cubicBezTo>
                <a:cubicBezTo>
                  <a:pt x="261124" y="64059"/>
                  <a:pt x="184356" y="69587"/>
                  <a:pt x="105937" y="71458"/>
                </a:cubicBezTo>
                <a:close/>
              </a:path>
            </a:pathLst>
          </a:custGeom>
          <a:solidFill>
            <a:srgbClr val="FCFCFC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230" name="Free-form: Shape 9229">
            <a:extLst>
              <a:ext uri="{FF2B5EF4-FFF2-40B4-BE49-F238E27FC236}">
                <a16:creationId xmlns:a16="http://schemas.microsoft.com/office/drawing/2014/main" id="{017E40D7-B44F-652A-30F9-B0B648DBBE30}"/>
              </a:ext>
            </a:extLst>
          </p:cNvPr>
          <p:cNvSpPr/>
          <p:nvPr/>
        </p:nvSpPr>
        <p:spPr>
          <a:xfrm>
            <a:off x="8772110" y="4852834"/>
            <a:ext cx="120683" cy="63097"/>
          </a:xfrm>
          <a:custGeom>
            <a:avLst/>
            <a:gdLst>
              <a:gd name="csX0" fmla="*/ 5051 w 132751"/>
              <a:gd name="csY0" fmla="*/ 7534 h 69406"/>
              <a:gd name="csX1" fmla="*/ 10615 w 132751"/>
              <a:gd name="csY1" fmla="*/ 3077 h 69406"/>
              <a:gd name="csX2" fmla="*/ 26541 w 132751"/>
              <a:gd name="csY2" fmla="*/ 2752 h 69406"/>
              <a:gd name="csX3" fmla="*/ 87728 w 132751"/>
              <a:gd name="csY3" fmla="*/ 89 h 69406"/>
              <a:gd name="csX4" fmla="*/ 101400 w 132751"/>
              <a:gd name="csY4" fmla="*/ 62 h 69406"/>
              <a:gd name="csX5" fmla="*/ 102924 w 132751"/>
              <a:gd name="csY5" fmla="*/ 4800 h 69406"/>
              <a:gd name="csX6" fmla="*/ 121469 w 132751"/>
              <a:gd name="csY6" fmla="*/ 43062 h 69406"/>
              <a:gd name="csX7" fmla="*/ 132751 w 132751"/>
              <a:gd name="csY7" fmla="*/ 65240 h 69406"/>
              <a:gd name="csX8" fmla="*/ 0 w 132751"/>
              <a:gd name="csY8" fmla="*/ 69406 h 69406"/>
              <a:gd name="csX9" fmla="*/ 5051 w 132751"/>
              <a:gd name="csY9" fmla="*/ 7534 h 6940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132751" h="69406">
                <a:moveTo>
                  <a:pt x="5051" y="7534"/>
                </a:moveTo>
                <a:cubicBezTo>
                  <a:pt x="6880" y="5272"/>
                  <a:pt x="8659" y="3268"/>
                  <a:pt x="10615" y="3077"/>
                </a:cubicBezTo>
                <a:cubicBezTo>
                  <a:pt x="15884" y="2564"/>
                  <a:pt x="21234" y="2972"/>
                  <a:pt x="26541" y="2752"/>
                </a:cubicBezTo>
                <a:cubicBezTo>
                  <a:pt x="46938" y="1911"/>
                  <a:pt x="67330" y="933"/>
                  <a:pt x="87728" y="89"/>
                </a:cubicBezTo>
                <a:cubicBezTo>
                  <a:pt x="92161" y="-94"/>
                  <a:pt x="96609" y="62"/>
                  <a:pt x="101400" y="62"/>
                </a:cubicBezTo>
                <a:cubicBezTo>
                  <a:pt x="101991" y="1827"/>
                  <a:pt x="102885" y="3302"/>
                  <a:pt x="102924" y="4800"/>
                </a:cubicBezTo>
                <a:cubicBezTo>
                  <a:pt x="103334" y="20376"/>
                  <a:pt x="108815" y="33165"/>
                  <a:pt x="121469" y="43062"/>
                </a:cubicBezTo>
                <a:cubicBezTo>
                  <a:pt x="127809" y="48021"/>
                  <a:pt x="132509" y="54869"/>
                  <a:pt x="132751" y="65240"/>
                </a:cubicBezTo>
                <a:cubicBezTo>
                  <a:pt x="88663" y="66624"/>
                  <a:pt x="45259" y="67986"/>
                  <a:pt x="0" y="69406"/>
                </a:cubicBezTo>
                <a:cubicBezTo>
                  <a:pt x="6474" y="48167"/>
                  <a:pt x="10658" y="28665"/>
                  <a:pt x="5051" y="7534"/>
                </a:cubicBezTo>
                <a:close/>
              </a:path>
            </a:pathLst>
          </a:custGeom>
          <a:solidFill>
            <a:srgbClr val="FBFCFB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231" name="Free-form: Shape 9230">
            <a:extLst>
              <a:ext uri="{FF2B5EF4-FFF2-40B4-BE49-F238E27FC236}">
                <a16:creationId xmlns:a16="http://schemas.microsoft.com/office/drawing/2014/main" id="{CFCF3C99-7B71-BADB-2DAC-5804043EDD53}"/>
              </a:ext>
            </a:extLst>
          </p:cNvPr>
          <p:cNvSpPr/>
          <p:nvPr/>
        </p:nvSpPr>
        <p:spPr>
          <a:xfrm>
            <a:off x="8781746" y="4942448"/>
            <a:ext cx="150878" cy="35402"/>
          </a:xfrm>
          <a:custGeom>
            <a:avLst/>
            <a:gdLst>
              <a:gd name="csX0" fmla="*/ 80894 w 165965"/>
              <a:gd name="csY0" fmla="*/ 440 h 38942"/>
              <a:gd name="csX1" fmla="*/ 128629 w 165965"/>
              <a:gd name="csY1" fmla="*/ 5 h 38942"/>
              <a:gd name="csX2" fmla="*/ 155177 w 165965"/>
              <a:gd name="csY2" fmla="*/ 8091 h 38942"/>
              <a:gd name="csX3" fmla="*/ 164213 w 165965"/>
              <a:gd name="csY3" fmla="*/ 17723 h 38942"/>
              <a:gd name="csX4" fmla="*/ 159998 w 165965"/>
              <a:gd name="csY4" fmla="*/ 30717 h 38942"/>
              <a:gd name="csX5" fmla="*/ 146998 w 165965"/>
              <a:gd name="csY5" fmla="*/ 33737 h 38942"/>
              <a:gd name="csX6" fmla="*/ 12439 w 165965"/>
              <a:gd name="csY6" fmla="*/ 38914 h 38942"/>
              <a:gd name="csX7" fmla="*/ 0 w 165965"/>
              <a:gd name="csY7" fmla="*/ 38402 h 38942"/>
              <a:gd name="csX8" fmla="*/ 0 w 165965"/>
              <a:gd name="csY8" fmla="*/ 4598 h 38942"/>
              <a:gd name="csX9" fmla="*/ 80894 w 165965"/>
              <a:gd name="csY9" fmla="*/ 440 h 3894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165965" h="38942">
                <a:moveTo>
                  <a:pt x="80894" y="440"/>
                </a:moveTo>
                <a:cubicBezTo>
                  <a:pt x="97591" y="288"/>
                  <a:pt x="113111" y="227"/>
                  <a:pt x="128629" y="5"/>
                </a:cubicBezTo>
                <a:cubicBezTo>
                  <a:pt x="138376" y="-135"/>
                  <a:pt x="147226" y="2891"/>
                  <a:pt x="155177" y="8091"/>
                </a:cubicBezTo>
                <a:cubicBezTo>
                  <a:pt x="158779" y="10447"/>
                  <a:pt x="161992" y="14009"/>
                  <a:pt x="164213" y="17723"/>
                </a:cubicBezTo>
                <a:cubicBezTo>
                  <a:pt x="167602" y="23390"/>
                  <a:pt x="166013" y="28134"/>
                  <a:pt x="159998" y="30717"/>
                </a:cubicBezTo>
                <a:cubicBezTo>
                  <a:pt x="155963" y="32450"/>
                  <a:pt x="151384" y="33554"/>
                  <a:pt x="146998" y="33737"/>
                </a:cubicBezTo>
                <a:cubicBezTo>
                  <a:pt x="102152" y="35619"/>
                  <a:pt x="57295" y="37279"/>
                  <a:pt x="12439" y="38914"/>
                </a:cubicBezTo>
                <a:cubicBezTo>
                  <a:pt x="8467" y="39059"/>
                  <a:pt x="4472" y="38602"/>
                  <a:pt x="0" y="38402"/>
                </a:cubicBezTo>
                <a:cubicBezTo>
                  <a:pt x="0" y="27166"/>
                  <a:pt x="0" y="16774"/>
                  <a:pt x="0" y="4598"/>
                </a:cubicBezTo>
                <a:cubicBezTo>
                  <a:pt x="27063" y="3194"/>
                  <a:pt x="53389" y="1829"/>
                  <a:pt x="80894" y="440"/>
                </a:cubicBezTo>
                <a:close/>
              </a:path>
            </a:pathLst>
          </a:custGeom>
          <a:solidFill>
            <a:srgbClr val="FBFCFB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232" name="Free-form: Shape 9231">
            <a:extLst>
              <a:ext uri="{FF2B5EF4-FFF2-40B4-BE49-F238E27FC236}">
                <a16:creationId xmlns:a16="http://schemas.microsoft.com/office/drawing/2014/main" id="{2EC6B4E0-12FB-4DA5-6D50-F7A8743775E5}"/>
              </a:ext>
            </a:extLst>
          </p:cNvPr>
          <p:cNvSpPr/>
          <p:nvPr/>
        </p:nvSpPr>
        <p:spPr>
          <a:xfrm>
            <a:off x="8765597" y="4381624"/>
            <a:ext cx="39402" cy="42156"/>
          </a:xfrm>
          <a:custGeom>
            <a:avLst/>
            <a:gdLst>
              <a:gd name="csX0" fmla="*/ 40602 w 43343"/>
              <a:gd name="csY0" fmla="*/ 12465 h 46372"/>
              <a:gd name="csX1" fmla="*/ 43214 w 43343"/>
              <a:gd name="csY1" fmla="*/ 21324 h 46372"/>
              <a:gd name="csX2" fmla="*/ 23859 w 43343"/>
              <a:gd name="csY2" fmla="*/ 46319 h 46372"/>
              <a:gd name="csX3" fmla="*/ 5 w 43343"/>
              <a:gd name="csY3" fmla="*/ 23820 h 46372"/>
              <a:gd name="csX4" fmla="*/ 4855 w 43343"/>
              <a:gd name="csY4" fmla="*/ 5679 h 46372"/>
              <a:gd name="csX5" fmla="*/ 40602 w 43343"/>
              <a:gd name="csY5" fmla="*/ 12465 h 4637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</a:cxnLst>
            <a:rect l="l" t="t" r="r" b="b"/>
            <a:pathLst>
              <a:path w="43343" h="46372">
                <a:moveTo>
                  <a:pt x="40602" y="12465"/>
                </a:moveTo>
                <a:cubicBezTo>
                  <a:pt x="41913" y="15811"/>
                  <a:pt x="42933" y="18530"/>
                  <a:pt x="43214" y="21324"/>
                </a:cubicBezTo>
                <a:cubicBezTo>
                  <a:pt x="44519" y="34348"/>
                  <a:pt x="35870" y="45401"/>
                  <a:pt x="23859" y="46319"/>
                </a:cubicBezTo>
                <a:cubicBezTo>
                  <a:pt x="11890" y="47233"/>
                  <a:pt x="-280" y="36371"/>
                  <a:pt x="5" y="23820"/>
                </a:cubicBezTo>
                <a:cubicBezTo>
                  <a:pt x="136" y="18011"/>
                  <a:pt x="2893" y="12263"/>
                  <a:pt x="4855" y="5679"/>
                </a:cubicBezTo>
                <a:cubicBezTo>
                  <a:pt x="20601" y="-3403"/>
                  <a:pt x="28004" y="-1910"/>
                  <a:pt x="40602" y="12465"/>
                </a:cubicBezTo>
                <a:close/>
              </a:path>
            </a:pathLst>
          </a:custGeom>
          <a:solidFill>
            <a:srgbClr val="FBFCFB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233" name="Oval 9232">
            <a:extLst>
              <a:ext uri="{FF2B5EF4-FFF2-40B4-BE49-F238E27FC236}">
                <a16:creationId xmlns:a16="http://schemas.microsoft.com/office/drawing/2014/main" id="{47E0D6B8-4D4A-0DC0-588E-66AB771FE78D}"/>
              </a:ext>
            </a:extLst>
          </p:cNvPr>
          <p:cNvSpPr/>
          <p:nvPr/>
        </p:nvSpPr>
        <p:spPr>
          <a:xfrm>
            <a:off x="5989561" y="5714986"/>
            <a:ext cx="717698" cy="104135"/>
          </a:xfrm>
          <a:prstGeom prst="ellipse">
            <a:avLst/>
          </a:prstGeom>
          <a:solidFill>
            <a:schemeClr val="tx1">
              <a:alpha val="6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234" name="Free-form: Shape 9233">
            <a:extLst>
              <a:ext uri="{FF2B5EF4-FFF2-40B4-BE49-F238E27FC236}">
                <a16:creationId xmlns:a16="http://schemas.microsoft.com/office/drawing/2014/main" id="{9CE2179A-8B16-7C5A-F417-569EBBEDBD48}"/>
              </a:ext>
            </a:extLst>
          </p:cNvPr>
          <p:cNvSpPr/>
          <p:nvPr/>
        </p:nvSpPr>
        <p:spPr>
          <a:xfrm flipH="1">
            <a:off x="6123444" y="4289649"/>
            <a:ext cx="557648" cy="1497715"/>
          </a:xfrm>
          <a:custGeom>
            <a:avLst/>
            <a:gdLst>
              <a:gd name="csX0" fmla="*/ 96263 w 729419"/>
              <a:gd name="csY0" fmla="*/ 2076207 h 2076207"/>
              <a:gd name="csX1" fmla="*/ 63862 w 729419"/>
              <a:gd name="csY1" fmla="*/ 2065388 h 2076207"/>
              <a:gd name="csX2" fmla="*/ 16555 w 729419"/>
              <a:gd name="csY2" fmla="*/ 2050152 h 2076207"/>
              <a:gd name="csX3" fmla="*/ 15 w 729419"/>
              <a:gd name="csY3" fmla="*/ 2023802 h 2076207"/>
              <a:gd name="csX4" fmla="*/ 18368 w 729419"/>
              <a:gd name="csY4" fmla="*/ 1940709 h 2076207"/>
              <a:gd name="csX5" fmla="*/ 22139 w 729419"/>
              <a:gd name="csY5" fmla="*/ 1907268 h 2076207"/>
              <a:gd name="csX6" fmla="*/ 57941 w 729419"/>
              <a:gd name="csY6" fmla="*/ 1774163 h 2076207"/>
              <a:gd name="csX7" fmla="*/ 102478 w 729419"/>
              <a:gd name="csY7" fmla="*/ 1720275 h 2076207"/>
              <a:gd name="csX8" fmla="*/ 108579 w 729419"/>
              <a:gd name="csY8" fmla="*/ 1650967 h 2076207"/>
              <a:gd name="csX9" fmla="*/ 115628 w 729419"/>
              <a:gd name="csY9" fmla="*/ 1625405 h 2076207"/>
              <a:gd name="csX10" fmla="*/ 156323 w 729419"/>
              <a:gd name="csY10" fmla="*/ 1560181 h 2076207"/>
              <a:gd name="csX11" fmla="*/ 199424 w 729419"/>
              <a:gd name="csY11" fmla="*/ 1364729 h 2076207"/>
              <a:gd name="csX12" fmla="*/ 216779 w 729419"/>
              <a:gd name="csY12" fmla="*/ 1219490 h 2076207"/>
              <a:gd name="csX13" fmla="*/ 229755 w 729419"/>
              <a:gd name="csY13" fmla="*/ 1099357 h 2076207"/>
              <a:gd name="csX14" fmla="*/ 232707 w 729419"/>
              <a:gd name="csY14" fmla="*/ 1056423 h 2076207"/>
              <a:gd name="csX15" fmla="*/ 235622 w 729419"/>
              <a:gd name="csY15" fmla="*/ 952675 h 2076207"/>
              <a:gd name="csX16" fmla="*/ 235445 w 729419"/>
              <a:gd name="csY16" fmla="*/ 780278 h 2076207"/>
              <a:gd name="csX17" fmla="*/ 214544 w 729419"/>
              <a:gd name="csY17" fmla="*/ 756435 h 2076207"/>
              <a:gd name="csX18" fmla="*/ 172569 w 729419"/>
              <a:gd name="csY18" fmla="*/ 742582 h 2076207"/>
              <a:gd name="csX19" fmla="*/ 168784 w 729419"/>
              <a:gd name="csY19" fmla="*/ 669116 h 2076207"/>
              <a:gd name="csX20" fmla="*/ 191657 w 729419"/>
              <a:gd name="csY20" fmla="*/ 630765 h 2076207"/>
              <a:gd name="csX21" fmla="*/ 208150 w 729419"/>
              <a:gd name="csY21" fmla="*/ 609084 h 2076207"/>
              <a:gd name="csX22" fmla="*/ 216756 w 729419"/>
              <a:gd name="csY22" fmla="*/ 558673 h 2076207"/>
              <a:gd name="csX23" fmla="*/ 209092 w 729419"/>
              <a:gd name="csY23" fmla="*/ 521540 h 2076207"/>
              <a:gd name="csX24" fmla="*/ 204683 w 729419"/>
              <a:gd name="csY24" fmla="*/ 474024 h 2076207"/>
              <a:gd name="csX25" fmla="*/ 115483 w 729419"/>
              <a:gd name="csY25" fmla="*/ 213499 h 2076207"/>
              <a:gd name="csX26" fmla="*/ 102909 w 729419"/>
              <a:gd name="csY26" fmla="*/ 182297 h 2076207"/>
              <a:gd name="csX27" fmla="*/ 104315 w 729419"/>
              <a:gd name="csY27" fmla="*/ 163968 h 2076207"/>
              <a:gd name="csX28" fmla="*/ 122444 w 729419"/>
              <a:gd name="csY28" fmla="*/ 160805 h 2076207"/>
              <a:gd name="csX29" fmla="*/ 170283 w 729419"/>
              <a:gd name="csY29" fmla="*/ 187783 h 2076207"/>
              <a:gd name="csX30" fmla="*/ 180938 w 729419"/>
              <a:gd name="csY30" fmla="*/ 195322 h 2076207"/>
              <a:gd name="csX31" fmla="*/ 221419 w 729419"/>
              <a:gd name="csY31" fmla="*/ 138058 h 2076207"/>
              <a:gd name="csX32" fmla="*/ 294099 w 729419"/>
              <a:gd name="csY32" fmla="*/ 91372 h 2076207"/>
              <a:gd name="csX33" fmla="*/ 302307 w 729419"/>
              <a:gd name="csY33" fmla="*/ 76560 h 2076207"/>
              <a:gd name="csX34" fmla="*/ 320284 w 729419"/>
              <a:gd name="csY34" fmla="*/ 8414 h 2076207"/>
              <a:gd name="csX35" fmla="*/ 324784 w 729419"/>
              <a:gd name="csY35" fmla="*/ 946 h 2076207"/>
              <a:gd name="csX36" fmla="*/ 399212 w 729419"/>
              <a:gd name="csY36" fmla="*/ 0 h 2076207"/>
              <a:gd name="csX37" fmla="*/ 425980 w 729419"/>
              <a:gd name="csY37" fmla="*/ 78301 h 2076207"/>
              <a:gd name="csX38" fmla="*/ 431861 w 729419"/>
              <a:gd name="csY38" fmla="*/ 90312 h 2076207"/>
              <a:gd name="csX39" fmla="*/ 540349 w 729419"/>
              <a:gd name="csY39" fmla="*/ 187946 h 2076207"/>
              <a:gd name="csX40" fmla="*/ 545555 w 729419"/>
              <a:gd name="csY40" fmla="*/ 197828 h 2076207"/>
              <a:gd name="csX41" fmla="*/ 587318 w 729419"/>
              <a:gd name="csY41" fmla="*/ 171260 h 2076207"/>
              <a:gd name="csX42" fmla="*/ 601503 w 729419"/>
              <a:gd name="csY42" fmla="*/ 163707 h 2076207"/>
              <a:gd name="csX43" fmla="*/ 625254 w 729419"/>
              <a:gd name="csY43" fmla="*/ 163123 h 2076207"/>
              <a:gd name="csX44" fmla="*/ 625468 w 729419"/>
              <a:gd name="csY44" fmla="*/ 187579 h 2076207"/>
              <a:gd name="csX45" fmla="*/ 597543 w 729419"/>
              <a:gd name="csY45" fmla="*/ 251872 h 2076207"/>
              <a:gd name="csX46" fmla="*/ 531831 w 729419"/>
              <a:gd name="csY46" fmla="*/ 442689 h 2076207"/>
              <a:gd name="csX47" fmla="*/ 519888 w 729419"/>
              <a:gd name="csY47" fmla="*/ 501474 h 2076207"/>
              <a:gd name="csX48" fmla="*/ 522506 w 729419"/>
              <a:gd name="csY48" fmla="*/ 525086 h 2076207"/>
              <a:gd name="csX49" fmla="*/ 516235 w 729419"/>
              <a:gd name="csY49" fmla="*/ 555946 h 2076207"/>
              <a:gd name="csX50" fmla="*/ 521332 w 729419"/>
              <a:gd name="csY50" fmla="*/ 610676 h 2076207"/>
              <a:gd name="csX51" fmla="*/ 541382 w 729419"/>
              <a:gd name="csY51" fmla="*/ 642597 h 2076207"/>
              <a:gd name="csX52" fmla="*/ 557031 w 729419"/>
              <a:gd name="csY52" fmla="*/ 667949 h 2076207"/>
              <a:gd name="csX53" fmla="*/ 553994 w 729419"/>
              <a:gd name="csY53" fmla="*/ 744146 h 2076207"/>
              <a:gd name="csX54" fmla="*/ 508215 w 729419"/>
              <a:gd name="csY54" fmla="*/ 758841 h 2076207"/>
              <a:gd name="csX55" fmla="*/ 497442 w 729419"/>
              <a:gd name="csY55" fmla="*/ 771256 h 2076207"/>
              <a:gd name="csX56" fmla="*/ 493005 w 729419"/>
              <a:gd name="csY56" fmla="*/ 922055 h 2076207"/>
              <a:gd name="csX57" fmla="*/ 502900 w 729419"/>
              <a:gd name="csY57" fmla="*/ 1114191 h 2076207"/>
              <a:gd name="csX58" fmla="*/ 508800 w 729419"/>
              <a:gd name="csY58" fmla="*/ 1205474 h 2076207"/>
              <a:gd name="csX59" fmla="*/ 522952 w 729419"/>
              <a:gd name="csY59" fmla="*/ 1320065 h 2076207"/>
              <a:gd name="csX60" fmla="*/ 554682 w 729419"/>
              <a:gd name="csY60" fmla="*/ 1501203 h 2076207"/>
              <a:gd name="csX61" fmla="*/ 576958 w 729419"/>
              <a:gd name="csY61" fmla="*/ 1593963 h 2076207"/>
              <a:gd name="csX62" fmla="*/ 595349 w 729419"/>
              <a:gd name="csY62" fmla="*/ 1613498 h 2076207"/>
              <a:gd name="csX63" fmla="*/ 613936 w 729419"/>
              <a:gd name="csY63" fmla="*/ 1624058 h 2076207"/>
              <a:gd name="csX64" fmla="*/ 620938 w 729419"/>
              <a:gd name="csY64" fmla="*/ 1652071 h 2076207"/>
              <a:gd name="csX65" fmla="*/ 630805 w 729419"/>
              <a:gd name="csY65" fmla="*/ 1721702 h 2076207"/>
              <a:gd name="csX66" fmla="*/ 685830 w 729419"/>
              <a:gd name="csY66" fmla="*/ 1792915 h 2076207"/>
              <a:gd name="csX67" fmla="*/ 708904 w 729419"/>
              <a:gd name="csY67" fmla="*/ 1890290 h 2076207"/>
              <a:gd name="csX68" fmla="*/ 716580 w 729419"/>
              <a:gd name="csY68" fmla="*/ 1951136 h 2076207"/>
              <a:gd name="csX69" fmla="*/ 729397 w 729419"/>
              <a:gd name="csY69" fmla="*/ 2030261 h 2076207"/>
              <a:gd name="csX70" fmla="*/ 714212 w 729419"/>
              <a:gd name="csY70" fmla="*/ 2049544 h 2076207"/>
              <a:gd name="csX71" fmla="*/ 645428 w 729419"/>
              <a:gd name="csY71" fmla="*/ 2070825 h 2076207"/>
              <a:gd name="csX72" fmla="*/ 635822 w 729419"/>
              <a:gd name="csY72" fmla="*/ 2075145 h 2076207"/>
              <a:gd name="csX73" fmla="*/ 588428 w 729419"/>
              <a:gd name="csY73" fmla="*/ 2075144 h 2076207"/>
              <a:gd name="csX74" fmla="*/ 590041 w 729419"/>
              <a:gd name="csY74" fmla="*/ 2071383 h 2076207"/>
              <a:gd name="csX75" fmla="*/ 667788 w 729419"/>
              <a:gd name="csY75" fmla="*/ 2056852 h 2076207"/>
              <a:gd name="csX76" fmla="*/ 706629 w 729419"/>
              <a:gd name="csY76" fmla="*/ 2044290 h 2076207"/>
              <a:gd name="csX77" fmla="*/ 702674 w 729419"/>
              <a:gd name="csY77" fmla="*/ 2041581 h 2076207"/>
              <a:gd name="csX78" fmla="*/ 544974 w 729419"/>
              <a:gd name="csY78" fmla="*/ 2071274 h 2076207"/>
              <a:gd name="csX79" fmla="*/ 538352 w 729419"/>
              <a:gd name="csY79" fmla="*/ 2076207 h 2076207"/>
              <a:gd name="csX80" fmla="*/ 96263 w 729419"/>
              <a:gd name="csY80" fmla="*/ 2076207 h 2076207"/>
              <a:gd name="csX81" fmla="*/ 489970 w 729419"/>
              <a:gd name="csY81" fmla="*/ 152208 h 2076207"/>
              <a:gd name="csX82" fmla="*/ 490754 w 729419"/>
              <a:gd name="csY82" fmla="*/ 152592 h 2076207"/>
              <a:gd name="csX83" fmla="*/ 489489 w 729419"/>
              <a:gd name="csY83" fmla="*/ 149547 h 2076207"/>
              <a:gd name="csX84" fmla="*/ 393621 w 729419"/>
              <a:gd name="csY84" fmla="*/ 99259 h 2076207"/>
              <a:gd name="csX85" fmla="*/ 390419 w 729419"/>
              <a:gd name="csY85" fmla="*/ 18568 h 2076207"/>
              <a:gd name="csX86" fmla="*/ 334131 w 729419"/>
              <a:gd name="csY86" fmla="*/ 24327 h 2076207"/>
              <a:gd name="csX87" fmla="*/ 344678 w 729419"/>
              <a:gd name="csY87" fmla="*/ 101259 h 2076207"/>
              <a:gd name="csX88" fmla="*/ 298854 w 729419"/>
              <a:gd name="csY88" fmla="*/ 114003 h 2076207"/>
              <a:gd name="csX89" fmla="*/ 237456 w 729419"/>
              <a:gd name="csY89" fmla="*/ 154340 h 2076207"/>
              <a:gd name="csX90" fmla="*/ 240382 w 729419"/>
              <a:gd name="csY90" fmla="*/ 154035 h 2076207"/>
              <a:gd name="csX91" fmla="*/ 262731 w 729419"/>
              <a:gd name="csY91" fmla="*/ 170426 h 2076207"/>
              <a:gd name="csX92" fmla="*/ 279169 w 729419"/>
              <a:gd name="csY92" fmla="*/ 193173 h 2076207"/>
              <a:gd name="csX93" fmla="*/ 327717 w 729419"/>
              <a:gd name="csY93" fmla="*/ 188556 h 2076207"/>
              <a:gd name="csX94" fmla="*/ 348052 w 729419"/>
              <a:gd name="csY94" fmla="*/ 156919 h 2076207"/>
              <a:gd name="csX95" fmla="*/ 380330 w 729419"/>
              <a:gd name="csY95" fmla="*/ 156483 h 2076207"/>
              <a:gd name="csX96" fmla="*/ 408490 w 729419"/>
              <a:gd name="csY96" fmla="*/ 195400 h 2076207"/>
              <a:gd name="csX97" fmla="*/ 445346 w 729419"/>
              <a:gd name="csY97" fmla="*/ 197582 h 2076207"/>
              <a:gd name="csX98" fmla="*/ 464798 w 729419"/>
              <a:gd name="csY98" fmla="*/ 174107 h 2076207"/>
              <a:gd name="csX99" fmla="*/ 489970 w 729419"/>
              <a:gd name="csY99" fmla="*/ 152208 h 2076207"/>
              <a:gd name="csX100" fmla="*/ 140694 w 729419"/>
              <a:gd name="csY100" fmla="*/ 201837 h 2076207"/>
              <a:gd name="csX101" fmla="*/ 139834 w 729419"/>
              <a:gd name="csY101" fmla="*/ 201482 h 2076207"/>
              <a:gd name="csX102" fmla="*/ 140812 w 729419"/>
              <a:gd name="csY102" fmla="*/ 204941 h 2076207"/>
              <a:gd name="csX103" fmla="*/ 144631 w 729419"/>
              <a:gd name="csY103" fmla="*/ 217811 h 2076207"/>
              <a:gd name="csX104" fmla="*/ 201241 w 729419"/>
              <a:gd name="csY104" fmla="*/ 373387 h 2076207"/>
              <a:gd name="csX105" fmla="*/ 235971 w 729419"/>
              <a:gd name="csY105" fmla="*/ 504451 h 2076207"/>
              <a:gd name="csX106" fmla="*/ 247475 w 729419"/>
              <a:gd name="csY106" fmla="*/ 513241 h 2076207"/>
              <a:gd name="csX107" fmla="*/ 289066 w 729419"/>
              <a:gd name="csY107" fmla="*/ 511170 h 2076207"/>
              <a:gd name="csX108" fmla="*/ 378229 w 729419"/>
              <a:gd name="csY108" fmla="*/ 511084 h 2076207"/>
              <a:gd name="csX109" fmla="*/ 470850 w 729419"/>
              <a:gd name="csY109" fmla="*/ 516341 h 2076207"/>
              <a:gd name="csX110" fmla="*/ 492933 w 729419"/>
              <a:gd name="csY110" fmla="*/ 497969 h 2076207"/>
              <a:gd name="csX111" fmla="*/ 557617 w 729419"/>
              <a:gd name="csY111" fmla="*/ 280398 h 2076207"/>
              <a:gd name="csX112" fmla="*/ 588788 w 729419"/>
              <a:gd name="csY112" fmla="*/ 200385 h 2076207"/>
              <a:gd name="csX113" fmla="*/ 530958 w 729419"/>
              <a:gd name="csY113" fmla="*/ 232968 h 2076207"/>
              <a:gd name="csX114" fmla="*/ 483823 w 729419"/>
              <a:gd name="csY114" fmla="*/ 190364 h 2076207"/>
              <a:gd name="csX115" fmla="*/ 466649 w 729419"/>
              <a:gd name="csY115" fmla="*/ 209061 h 2076207"/>
              <a:gd name="csX116" fmla="*/ 399941 w 729419"/>
              <a:gd name="csY116" fmla="*/ 216988 h 2076207"/>
              <a:gd name="csX117" fmla="*/ 363018 w 729419"/>
              <a:gd name="csY117" fmla="*/ 179615 h 2076207"/>
              <a:gd name="csX118" fmla="*/ 308839 w 729419"/>
              <a:gd name="csY118" fmla="*/ 227846 h 2076207"/>
              <a:gd name="csX119" fmla="*/ 245077 w 729419"/>
              <a:gd name="csY119" fmla="*/ 192402 h 2076207"/>
              <a:gd name="csX120" fmla="*/ 242829 w 729419"/>
              <a:gd name="csY120" fmla="*/ 198815 h 2076207"/>
              <a:gd name="csX121" fmla="*/ 168452 w 729419"/>
              <a:gd name="csY121" fmla="*/ 219348 h 2076207"/>
              <a:gd name="csX122" fmla="*/ 140694 w 729419"/>
              <a:gd name="csY122" fmla="*/ 201837 h 2076207"/>
              <a:gd name="csX123" fmla="*/ 259999 w 729419"/>
              <a:gd name="csY123" fmla="*/ 966699 h 2076207"/>
              <a:gd name="csX124" fmla="*/ 257072 w 729419"/>
              <a:gd name="csY124" fmla="*/ 1070424 h 2076207"/>
              <a:gd name="csX125" fmla="*/ 251372 w 729419"/>
              <a:gd name="csY125" fmla="*/ 1157618 h 2076207"/>
              <a:gd name="csX126" fmla="*/ 232677 w 729419"/>
              <a:gd name="csY126" fmla="*/ 1320279 h 2076207"/>
              <a:gd name="csX127" fmla="*/ 209182 w 729419"/>
              <a:gd name="csY127" fmla="*/ 1468667 h 2076207"/>
              <a:gd name="csX128" fmla="*/ 175302 w 729419"/>
              <a:gd name="csY128" fmla="*/ 1616623 h 2076207"/>
              <a:gd name="csX129" fmla="*/ 182769 w 729419"/>
              <a:gd name="csY129" fmla="*/ 1629786 h 2076207"/>
              <a:gd name="csX130" fmla="*/ 212156 w 729419"/>
              <a:gd name="csY130" fmla="*/ 1632656 h 2076207"/>
              <a:gd name="csX131" fmla="*/ 351295 w 729419"/>
              <a:gd name="csY131" fmla="*/ 1632801 h 2076207"/>
              <a:gd name="csX132" fmla="*/ 376150 w 729419"/>
              <a:gd name="csY132" fmla="*/ 1608307 h 2076207"/>
              <a:gd name="csX133" fmla="*/ 373450 w 729419"/>
              <a:gd name="csY133" fmla="*/ 1457291 h 2076207"/>
              <a:gd name="csX134" fmla="*/ 370936 w 729419"/>
              <a:gd name="csY134" fmla="*/ 1342736 h 2076207"/>
              <a:gd name="csX135" fmla="*/ 368328 w 729419"/>
              <a:gd name="csY135" fmla="*/ 1203878 h 2076207"/>
              <a:gd name="csX136" fmla="*/ 367836 w 729419"/>
              <a:gd name="csY136" fmla="*/ 813478 h 2076207"/>
              <a:gd name="csX137" fmla="*/ 365240 w 729419"/>
              <a:gd name="csY137" fmla="*/ 773243 h 2076207"/>
              <a:gd name="csX138" fmla="*/ 353084 w 729419"/>
              <a:gd name="csY138" fmla="*/ 762083 h 2076207"/>
              <a:gd name="csX139" fmla="*/ 280966 w 729419"/>
              <a:gd name="csY139" fmla="*/ 759855 h 2076207"/>
              <a:gd name="csX140" fmla="*/ 259965 w 729419"/>
              <a:gd name="csY140" fmla="*/ 779553 h 2076207"/>
              <a:gd name="csX141" fmla="*/ 262341 w 729419"/>
              <a:gd name="csY141" fmla="*/ 856275 h 2076207"/>
              <a:gd name="csX142" fmla="*/ 259999 w 729419"/>
              <a:gd name="csY142" fmla="*/ 966699 h 2076207"/>
              <a:gd name="csX143" fmla="*/ 55556 w 729419"/>
              <a:gd name="csY143" fmla="*/ 1835827 h 2076207"/>
              <a:gd name="csX144" fmla="*/ 49393 w 729419"/>
              <a:gd name="csY144" fmla="*/ 1878155 h 2076207"/>
              <a:gd name="csX145" fmla="*/ 73949 w 729419"/>
              <a:gd name="csY145" fmla="*/ 1905781 h 2076207"/>
              <a:gd name="csX146" fmla="*/ 110073 w 729419"/>
              <a:gd name="csY146" fmla="*/ 1909068 h 2076207"/>
              <a:gd name="csX147" fmla="*/ 224745 w 729419"/>
              <a:gd name="csY147" fmla="*/ 1921652 h 2076207"/>
              <a:gd name="csX148" fmla="*/ 347327 w 729419"/>
              <a:gd name="csY148" fmla="*/ 1924778 h 2076207"/>
              <a:gd name="csX149" fmla="*/ 363345 w 729419"/>
              <a:gd name="csY149" fmla="*/ 1923293 h 2076207"/>
              <a:gd name="csX150" fmla="*/ 373787 w 729419"/>
              <a:gd name="csY150" fmla="*/ 1911200 h 2076207"/>
              <a:gd name="csX151" fmla="*/ 376623 w 729419"/>
              <a:gd name="csY151" fmla="*/ 1696741 h 2076207"/>
              <a:gd name="csX152" fmla="*/ 360437 w 729419"/>
              <a:gd name="csY152" fmla="*/ 1681289 h 2076207"/>
              <a:gd name="csX153" fmla="*/ 263503 w 729419"/>
              <a:gd name="csY153" fmla="*/ 1678179 h 2076207"/>
              <a:gd name="csX154" fmla="*/ 160381 w 729419"/>
              <a:gd name="csY154" fmla="*/ 1670405 h 2076207"/>
              <a:gd name="csX155" fmla="*/ 143321 w 729419"/>
              <a:gd name="csY155" fmla="*/ 1685538 h 2076207"/>
              <a:gd name="csX156" fmla="*/ 124769 w 729419"/>
              <a:gd name="csY156" fmla="*/ 1738195 h 2076207"/>
              <a:gd name="csX157" fmla="*/ 90593 w 729419"/>
              <a:gd name="csY157" fmla="*/ 1779570 h 2076207"/>
              <a:gd name="csX158" fmla="*/ 55556 w 729419"/>
              <a:gd name="csY158" fmla="*/ 1835827 h 2076207"/>
              <a:gd name="csX159" fmla="*/ 378900 w 729419"/>
              <a:gd name="csY159" fmla="*/ 2007280 h 2076207"/>
              <a:gd name="csX160" fmla="*/ 378887 w 729419"/>
              <a:gd name="csY160" fmla="*/ 1995127 h 2076207"/>
              <a:gd name="csX161" fmla="*/ 359084 w 729419"/>
              <a:gd name="csY161" fmla="*/ 1975964 h 2076207"/>
              <a:gd name="csX162" fmla="*/ 247288 w 729419"/>
              <a:gd name="csY162" fmla="*/ 1973305 h 2076207"/>
              <a:gd name="csX163" fmla="*/ 201692 w 729419"/>
              <a:gd name="csY163" fmla="*/ 1970275 h 2076207"/>
              <a:gd name="csX164" fmla="*/ 57962 w 729419"/>
              <a:gd name="csY164" fmla="*/ 1952648 h 2076207"/>
              <a:gd name="csX165" fmla="*/ 39194 w 729419"/>
              <a:gd name="csY165" fmla="*/ 1963552 h 2076207"/>
              <a:gd name="csX166" fmla="*/ 30066 w 729419"/>
              <a:gd name="csY166" fmla="*/ 2006631 h 2076207"/>
              <a:gd name="csX167" fmla="*/ 40232 w 729419"/>
              <a:gd name="csY167" fmla="*/ 2019486 h 2076207"/>
              <a:gd name="csX168" fmla="*/ 238186 w 729419"/>
              <a:gd name="csY168" fmla="*/ 2046096 h 2076207"/>
              <a:gd name="csX169" fmla="*/ 342155 w 729419"/>
              <a:gd name="csY169" fmla="*/ 2046441 h 2076207"/>
              <a:gd name="csX170" fmla="*/ 378900 w 729419"/>
              <a:gd name="csY170" fmla="*/ 2007280 h 2076207"/>
              <a:gd name="csX171" fmla="*/ 310220 w 729419"/>
              <a:gd name="csY171" fmla="*/ 554288 h 2076207"/>
              <a:gd name="csX172" fmla="*/ 259136 w 729419"/>
              <a:gd name="csY172" fmla="*/ 556881 h 2076207"/>
              <a:gd name="csX173" fmla="*/ 249085 w 729419"/>
              <a:gd name="csY173" fmla="*/ 567981 h 2076207"/>
              <a:gd name="csX174" fmla="*/ 249141 w 729419"/>
              <a:gd name="csY174" fmla="*/ 605644 h 2076207"/>
              <a:gd name="csX175" fmla="*/ 262628 w 729419"/>
              <a:gd name="csY175" fmla="*/ 605627 h 2076207"/>
              <a:gd name="csX176" fmla="*/ 369608 w 729419"/>
              <a:gd name="csY176" fmla="*/ 603027 h 2076207"/>
              <a:gd name="csX177" fmla="*/ 463931 w 729419"/>
              <a:gd name="csY177" fmla="*/ 605146 h 2076207"/>
              <a:gd name="csX178" fmla="*/ 478113 w 729419"/>
              <a:gd name="csY178" fmla="*/ 595843 h 2076207"/>
              <a:gd name="csX179" fmla="*/ 478796 w 729419"/>
              <a:gd name="csY179" fmla="*/ 556832 h 2076207"/>
              <a:gd name="csX180" fmla="*/ 310220 w 729419"/>
              <a:gd name="csY180" fmla="*/ 554288 h 2076207"/>
              <a:gd name="csX181" fmla="*/ 348836 w 729419"/>
              <a:gd name="csY181" fmla="*/ 684115 h 2076207"/>
              <a:gd name="csX182" fmla="*/ 281333 w 729419"/>
              <a:gd name="csY182" fmla="*/ 683313 h 2076207"/>
              <a:gd name="csX183" fmla="*/ 212728 w 729419"/>
              <a:gd name="csY183" fmla="*/ 681931 h 2076207"/>
              <a:gd name="csX184" fmla="*/ 187283 w 729419"/>
              <a:gd name="csY184" fmla="*/ 689555 h 2076207"/>
              <a:gd name="csX185" fmla="*/ 186163 w 729419"/>
              <a:gd name="csY185" fmla="*/ 718266 h 2076207"/>
              <a:gd name="csX186" fmla="*/ 209894 w 729419"/>
              <a:gd name="csY186" fmla="*/ 726798 h 2076207"/>
              <a:gd name="csX187" fmla="*/ 334814 w 729419"/>
              <a:gd name="csY187" fmla="*/ 732494 h 2076207"/>
              <a:gd name="csX188" fmla="*/ 364856 w 729419"/>
              <a:gd name="csY188" fmla="*/ 707963 h 2076207"/>
              <a:gd name="csX189" fmla="*/ 348836 w 729419"/>
              <a:gd name="csY189" fmla="*/ 684115 h 2076207"/>
              <a:gd name="csX190" fmla="*/ 298865 w 729419"/>
              <a:gd name="csY190" fmla="*/ 621954 h 2076207"/>
              <a:gd name="csX191" fmla="*/ 251619 w 729419"/>
              <a:gd name="csY191" fmla="*/ 622133 h 2076207"/>
              <a:gd name="csX192" fmla="*/ 214459 w 729419"/>
              <a:gd name="csY192" fmla="*/ 636230 h 2076207"/>
              <a:gd name="csX193" fmla="*/ 221436 w 729419"/>
              <a:gd name="csY193" fmla="*/ 654205 h 2076207"/>
              <a:gd name="csX194" fmla="*/ 272412 w 729419"/>
              <a:gd name="csY194" fmla="*/ 657250 h 2076207"/>
              <a:gd name="csX195" fmla="*/ 349094 w 729419"/>
              <a:gd name="csY195" fmla="*/ 659282 h 2076207"/>
              <a:gd name="csX196" fmla="*/ 362996 w 729419"/>
              <a:gd name="csY196" fmla="*/ 644234 h 2076207"/>
              <a:gd name="csX197" fmla="*/ 348472 w 729419"/>
              <a:gd name="csY197" fmla="*/ 624649 h 2076207"/>
              <a:gd name="csX198" fmla="*/ 298865 w 729419"/>
              <a:gd name="csY198" fmla="*/ 621954 h 2076207"/>
              <a:gd name="csX199" fmla="*/ 227796 w 729419"/>
              <a:gd name="csY199" fmla="*/ 528000 h 2076207"/>
              <a:gd name="csX200" fmla="*/ 241009 w 729419"/>
              <a:gd name="csY200" fmla="*/ 545897 h 2076207"/>
              <a:gd name="csX201" fmla="*/ 282607 w 729419"/>
              <a:gd name="csY201" fmla="*/ 543480 h 2076207"/>
              <a:gd name="csX202" fmla="*/ 354213 w 729419"/>
              <a:gd name="csY202" fmla="*/ 543384 h 2076207"/>
              <a:gd name="csX203" fmla="*/ 365334 w 729419"/>
              <a:gd name="csY203" fmla="*/ 533397 h 2076207"/>
              <a:gd name="csX204" fmla="*/ 354531 w 729419"/>
              <a:gd name="csY204" fmla="*/ 521620 h 2076207"/>
              <a:gd name="csX205" fmla="*/ 259169 w 729419"/>
              <a:gd name="csY205" fmla="*/ 521978 h 2076207"/>
              <a:gd name="csX206" fmla="*/ 227796 w 729419"/>
              <a:gd name="csY206" fmla="*/ 528000 h 2076207"/>
              <a:gd name="csX207" fmla="*/ 508068 w 729419"/>
              <a:gd name="csY207" fmla="*/ 190710 h 2076207"/>
              <a:gd name="csX208" fmla="*/ 521293 w 729419"/>
              <a:gd name="csY208" fmla="*/ 205907 h 2076207"/>
              <a:gd name="csX209" fmla="*/ 525175 w 729419"/>
              <a:gd name="csY209" fmla="*/ 202985 h 2076207"/>
              <a:gd name="csX210" fmla="*/ 500276 w 729419"/>
              <a:gd name="csY210" fmla="*/ 160640 h 2076207"/>
              <a:gd name="csX211" fmla="*/ 497122 w 729419"/>
              <a:gd name="csY211" fmla="*/ 162007 h 2076207"/>
              <a:gd name="csX212" fmla="*/ 508068 w 729419"/>
              <a:gd name="csY212" fmla="*/ 190710 h 2076207"/>
              <a:gd name="csX213" fmla="*/ 215522 w 729419"/>
              <a:gd name="csY213" fmla="*/ 197296 h 2076207"/>
              <a:gd name="csX214" fmla="*/ 234029 w 729419"/>
              <a:gd name="csY214" fmla="*/ 162725 h 2076207"/>
              <a:gd name="csX215" fmla="*/ 229000 w 729419"/>
              <a:gd name="csY215" fmla="*/ 159902 h 2076207"/>
              <a:gd name="csX216" fmla="*/ 204824 w 729419"/>
              <a:gd name="csY216" fmla="*/ 199677 h 2076207"/>
              <a:gd name="csX217" fmla="*/ 207990 w 729419"/>
              <a:gd name="csY217" fmla="*/ 202198 h 2076207"/>
              <a:gd name="csX218" fmla="*/ 215522 w 729419"/>
              <a:gd name="csY218" fmla="*/ 197296 h 2076207"/>
              <a:gd name="csX219" fmla="*/ 484400 w 729419"/>
              <a:gd name="csY219" fmla="*/ 863693 h 2076207"/>
              <a:gd name="csX220" fmla="*/ 484400 w 729419"/>
              <a:gd name="csY220" fmla="*/ 896678 h 2076207"/>
              <a:gd name="csX221" fmla="*/ 486181 w 729419"/>
              <a:gd name="csY221" fmla="*/ 896585 h 2076207"/>
              <a:gd name="csX222" fmla="*/ 486181 w 729419"/>
              <a:gd name="csY222" fmla="*/ 795289 h 2076207"/>
              <a:gd name="csX223" fmla="*/ 484406 w 729419"/>
              <a:gd name="csY223" fmla="*/ 795283 h 2076207"/>
              <a:gd name="csX224" fmla="*/ 484400 w 729419"/>
              <a:gd name="csY224" fmla="*/ 863693 h 2076207"/>
              <a:gd name="csX225" fmla="*/ 720241 w 729419"/>
              <a:gd name="csY225" fmla="*/ 2030666 h 2076207"/>
              <a:gd name="csX226" fmla="*/ 721175 w 729419"/>
              <a:gd name="csY226" fmla="*/ 2029733 h 2076207"/>
              <a:gd name="csX227" fmla="*/ 720241 w 729419"/>
              <a:gd name="csY227" fmla="*/ 2030666 h 2076207"/>
              <a:gd name="csX228" fmla="*/ 715702 w 729419"/>
              <a:gd name="csY228" fmla="*/ 2037051 h 2076207"/>
              <a:gd name="csX229" fmla="*/ 715702 w 729419"/>
              <a:gd name="csY229" fmla="*/ 2037051 h 2076207"/>
              <a:gd name="csX230" fmla="*/ 709953 w 729419"/>
              <a:gd name="csY230" fmla="*/ 2040017 h 2076207"/>
              <a:gd name="csX231" fmla="*/ 710209 w 729419"/>
              <a:gd name="csY231" fmla="*/ 2039597 h 2076207"/>
              <a:gd name="csX232" fmla="*/ 709953 w 729419"/>
              <a:gd name="csY232" fmla="*/ 2040017 h 2076207"/>
              <a:gd name="csX0" fmla="*/ 96263 w 729419"/>
              <a:gd name="csY0" fmla="*/ 2076207 h 2076207"/>
              <a:gd name="csX1" fmla="*/ 63862 w 729419"/>
              <a:gd name="csY1" fmla="*/ 2065388 h 2076207"/>
              <a:gd name="csX2" fmla="*/ 16555 w 729419"/>
              <a:gd name="csY2" fmla="*/ 2050152 h 2076207"/>
              <a:gd name="csX3" fmla="*/ 15 w 729419"/>
              <a:gd name="csY3" fmla="*/ 2023802 h 2076207"/>
              <a:gd name="csX4" fmla="*/ 18368 w 729419"/>
              <a:gd name="csY4" fmla="*/ 1940709 h 2076207"/>
              <a:gd name="csX5" fmla="*/ 22139 w 729419"/>
              <a:gd name="csY5" fmla="*/ 1907268 h 2076207"/>
              <a:gd name="csX6" fmla="*/ 57941 w 729419"/>
              <a:gd name="csY6" fmla="*/ 1774163 h 2076207"/>
              <a:gd name="csX7" fmla="*/ 102478 w 729419"/>
              <a:gd name="csY7" fmla="*/ 1720275 h 2076207"/>
              <a:gd name="csX8" fmla="*/ 108579 w 729419"/>
              <a:gd name="csY8" fmla="*/ 1650967 h 2076207"/>
              <a:gd name="csX9" fmla="*/ 115628 w 729419"/>
              <a:gd name="csY9" fmla="*/ 1625405 h 2076207"/>
              <a:gd name="csX10" fmla="*/ 156323 w 729419"/>
              <a:gd name="csY10" fmla="*/ 1560181 h 2076207"/>
              <a:gd name="csX11" fmla="*/ 199424 w 729419"/>
              <a:gd name="csY11" fmla="*/ 1364729 h 2076207"/>
              <a:gd name="csX12" fmla="*/ 216779 w 729419"/>
              <a:gd name="csY12" fmla="*/ 1219490 h 2076207"/>
              <a:gd name="csX13" fmla="*/ 229755 w 729419"/>
              <a:gd name="csY13" fmla="*/ 1099357 h 2076207"/>
              <a:gd name="csX14" fmla="*/ 232707 w 729419"/>
              <a:gd name="csY14" fmla="*/ 1056423 h 2076207"/>
              <a:gd name="csX15" fmla="*/ 235622 w 729419"/>
              <a:gd name="csY15" fmla="*/ 952675 h 2076207"/>
              <a:gd name="csX16" fmla="*/ 235445 w 729419"/>
              <a:gd name="csY16" fmla="*/ 780278 h 2076207"/>
              <a:gd name="csX17" fmla="*/ 214544 w 729419"/>
              <a:gd name="csY17" fmla="*/ 756435 h 2076207"/>
              <a:gd name="csX18" fmla="*/ 172569 w 729419"/>
              <a:gd name="csY18" fmla="*/ 742582 h 2076207"/>
              <a:gd name="csX19" fmla="*/ 168784 w 729419"/>
              <a:gd name="csY19" fmla="*/ 669116 h 2076207"/>
              <a:gd name="csX20" fmla="*/ 191657 w 729419"/>
              <a:gd name="csY20" fmla="*/ 630765 h 2076207"/>
              <a:gd name="csX21" fmla="*/ 208150 w 729419"/>
              <a:gd name="csY21" fmla="*/ 609084 h 2076207"/>
              <a:gd name="csX22" fmla="*/ 216756 w 729419"/>
              <a:gd name="csY22" fmla="*/ 558673 h 2076207"/>
              <a:gd name="csX23" fmla="*/ 209092 w 729419"/>
              <a:gd name="csY23" fmla="*/ 521540 h 2076207"/>
              <a:gd name="csX24" fmla="*/ 204683 w 729419"/>
              <a:gd name="csY24" fmla="*/ 474024 h 2076207"/>
              <a:gd name="csX25" fmla="*/ 115483 w 729419"/>
              <a:gd name="csY25" fmla="*/ 213499 h 2076207"/>
              <a:gd name="csX26" fmla="*/ 102909 w 729419"/>
              <a:gd name="csY26" fmla="*/ 182297 h 2076207"/>
              <a:gd name="csX27" fmla="*/ 104315 w 729419"/>
              <a:gd name="csY27" fmla="*/ 163968 h 2076207"/>
              <a:gd name="csX28" fmla="*/ 122444 w 729419"/>
              <a:gd name="csY28" fmla="*/ 160805 h 2076207"/>
              <a:gd name="csX29" fmla="*/ 170283 w 729419"/>
              <a:gd name="csY29" fmla="*/ 187783 h 2076207"/>
              <a:gd name="csX30" fmla="*/ 180938 w 729419"/>
              <a:gd name="csY30" fmla="*/ 195322 h 2076207"/>
              <a:gd name="csX31" fmla="*/ 221419 w 729419"/>
              <a:gd name="csY31" fmla="*/ 138058 h 2076207"/>
              <a:gd name="csX32" fmla="*/ 294099 w 729419"/>
              <a:gd name="csY32" fmla="*/ 91372 h 2076207"/>
              <a:gd name="csX33" fmla="*/ 302307 w 729419"/>
              <a:gd name="csY33" fmla="*/ 76560 h 2076207"/>
              <a:gd name="csX34" fmla="*/ 320284 w 729419"/>
              <a:gd name="csY34" fmla="*/ 8414 h 2076207"/>
              <a:gd name="csX35" fmla="*/ 324784 w 729419"/>
              <a:gd name="csY35" fmla="*/ 946 h 2076207"/>
              <a:gd name="csX36" fmla="*/ 399212 w 729419"/>
              <a:gd name="csY36" fmla="*/ 0 h 2076207"/>
              <a:gd name="csX37" fmla="*/ 425980 w 729419"/>
              <a:gd name="csY37" fmla="*/ 78301 h 2076207"/>
              <a:gd name="csX38" fmla="*/ 431861 w 729419"/>
              <a:gd name="csY38" fmla="*/ 90312 h 2076207"/>
              <a:gd name="csX39" fmla="*/ 540349 w 729419"/>
              <a:gd name="csY39" fmla="*/ 187946 h 2076207"/>
              <a:gd name="csX40" fmla="*/ 545555 w 729419"/>
              <a:gd name="csY40" fmla="*/ 197828 h 2076207"/>
              <a:gd name="csX41" fmla="*/ 587318 w 729419"/>
              <a:gd name="csY41" fmla="*/ 171260 h 2076207"/>
              <a:gd name="csX42" fmla="*/ 601503 w 729419"/>
              <a:gd name="csY42" fmla="*/ 163707 h 2076207"/>
              <a:gd name="csX43" fmla="*/ 625254 w 729419"/>
              <a:gd name="csY43" fmla="*/ 163123 h 2076207"/>
              <a:gd name="csX44" fmla="*/ 625468 w 729419"/>
              <a:gd name="csY44" fmla="*/ 187579 h 2076207"/>
              <a:gd name="csX45" fmla="*/ 597543 w 729419"/>
              <a:gd name="csY45" fmla="*/ 251872 h 2076207"/>
              <a:gd name="csX46" fmla="*/ 531831 w 729419"/>
              <a:gd name="csY46" fmla="*/ 442689 h 2076207"/>
              <a:gd name="csX47" fmla="*/ 519888 w 729419"/>
              <a:gd name="csY47" fmla="*/ 501474 h 2076207"/>
              <a:gd name="csX48" fmla="*/ 522506 w 729419"/>
              <a:gd name="csY48" fmla="*/ 525086 h 2076207"/>
              <a:gd name="csX49" fmla="*/ 516235 w 729419"/>
              <a:gd name="csY49" fmla="*/ 555946 h 2076207"/>
              <a:gd name="csX50" fmla="*/ 521332 w 729419"/>
              <a:gd name="csY50" fmla="*/ 610676 h 2076207"/>
              <a:gd name="csX51" fmla="*/ 541382 w 729419"/>
              <a:gd name="csY51" fmla="*/ 642597 h 2076207"/>
              <a:gd name="csX52" fmla="*/ 557031 w 729419"/>
              <a:gd name="csY52" fmla="*/ 667949 h 2076207"/>
              <a:gd name="csX53" fmla="*/ 553994 w 729419"/>
              <a:gd name="csY53" fmla="*/ 744146 h 2076207"/>
              <a:gd name="csX54" fmla="*/ 508215 w 729419"/>
              <a:gd name="csY54" fmla="*/ 758841 h 2076207"/>
              <a:gd name="csX55" fmla="*/ 497442 w 729419"/>
              <a:gd name="csY55" fmla="*/ 771256 h 2076207"/>
              <a:gd name="csX56" fmla="*/ 493005 w 729419"/>
              <a:gd name="csY56" fmla="*/ 922055 h 2076207"/>
              <a:gd name="csX57" fmla="*/ 502900 w 729419"/>
              <a:gd name="csY57" fmla="*/ 1114191 h 2076207"/>
              <a:gd name="csX58" fmla="*/ 508800 w 729419"/>
              <a:gd name="csY58" fmla="*/ 1205474 h 2076207"/>
              <a:gd name="csX59" fmla="*/ 522952 w 729419"/>
              <a:gd name="csY59" fmla="*/ 1320065 h 2076207"/>
              <a:gd name="csX60" fmla="*/ 554682 w 729419"/>
              <a:gd name="csY60" fmla="*/ 1501203 h 2076207"/>
              <a:gd name="csX61" fmla="*/ 576958 w 729419"/>
              <a:gd name="csY61" fmla="*/ 1593963 h 2076207"/>
              <a:gd name="csX62" fmla="*/ 595349 w 729419"/>
              <a:gd name="csY62" fmla="*/ 1613498 h 2076207"/>
              <a:gd name="csX63" fmla="*/ 613936 w 729419"/>
              <a:gd name="csY63" fmla="*/ 1624058 h 2076207"/>
              <a:gd name="csX64" fmla="*/ 620938 w 729419"/>
              <a:gd name="csY64" fmla="*/ 1652071 h 2076207"/>
              <a:gd name="csX65" fmla="*/ 630805 w 729419"/>
              <a:gd name="csY65" fmla="*/ 1721702 h 2076207"/>
              <a:gd name="csX66" fmla="*/ 685830 w 729419"/>
              <a:gd name="csY66" fmla="*/ 1792915 h 2076207"/>
              <a:gd name="csX67" fmla="*/ 708904 w 729419"/>
              <a:gd name="csY67" fmla="*/ 1890290 h 2076207"/>
              <a:gd name="csX68" fmla="*/ 716580 w 729419"/>
              <a:gd name="csY68" fmla="*/ 1951136 h 2076207"/>
              <a:gd name="csX69" fmla="*/ 729397 w 729419"/>
              <a:gd name="csY69" fmla="*/ 2030261 h 2076207"/>
              <a:gd name="csX70" fmla="*/ 714212 w 729419"/>
              <a:gd name="csY70" fmla="*/ 2049544 h 2076207"/>
              <a:gd name="csX71" fmla="*/ 645428 w 729419"/>
              <a:gd name="csY71" fmla="*/ 2070825 h 2076207"/>
              <a:gd name="csX72" fmla="*/ 635822 w 729419"/>
              <a:gd name="csY72" fmla="*/ 2075145 h 2076207"/>
              <a:gd name="csX73" fmla="*/ 588428 w 729419"/>
              <a:gd name="csY73" fmla="*/ 2075144 h 2076207"/>
              <a:gd name="csX74" fmla="*/ 590041 w 729419"/>
              <a:gd name="csY74" fmla="*/ 2071383 h 2076207"/>
              <a:gd name="csX75" fmla="*/ 667788 w 729419"/>
              <a:gd name="csY75" fmla="*/ 2056852 h 2076207"/>
              <a:gd name="csX76" fmla="*/ 706629 w 729419"/>
              <a:gd name="csY76" fmla="*/ 2044290 h 2076207"/>
              <a:gd name="csX77" fmla="*/ 702674 w 729419"/>
              <a:gd name="csY77" fmla="*/ 2041581 h 2076207"/>
              <a:gd name="csX78" fmla="*/ 544974 w 729419"/>
              <a:gd name="csY78" fmla="*/ 2071274 h 2076207"/>
              <a:gd name="csX79" fmla="*/ 538352 w 729419"/>
              <a:gd name="csY79" fmla="*/ 2076207 h 2076207"/>
              <a:gd name="csX80" fmla="*/ 96263 w 729419"/>
              <a:gd name="csY80" fmla="*/ 2076207 h 2076207"/>
              <a:gd name="csX81" fmla="*/ 489970 w 729419"/>
              <a:gd name="csY81" fmla="*/ 152208 h 2076207"/>
              <a:gd name="csX82" fmla="*/ 490754 w 729419"/>
              <a:gd name="csY82" fmla="*/ 152592 h 2076207"/>
              <a:gd name="csX83" fmla="*/ 489489 w 729419"/>
              <a:gd name="csY83" fmla="*/ 149547 h 2076207"/>
              <a:gd name="csX84" fmla="*/ 393621 w 729419"/>
              <a:gd name="csY84" fmla="*/ 99259 h 2076207"/>
              <a:gd name="csX85" fmla="*/ 390419 w 729419"/>
              <a:gd name="csY85" fmla="*/ 18568 h 2076207"/>
              <a:gd name="csX86" fmla="*/ 334131 w 729419"/>
              <a:gd name="csY86" fmla="*/ 24327 h 2076207"/>
              <a:gd name="csX87" fmla="*/ 344678 w 729419"/>
              <a:gd name="csY87" fmla="*/ 101259 h 2076207"/>
              <a:gd name="csX88" fmla="*/ 298854 w 729419"/>
              <a:gd name="csY88" fmla="*/ 114003 h 2076207"/>
              <a:gd name="csX89" fmla="*/ 237456 w 729419"/>
              <a:gd name="csY89" fmla="*/ 154340 h 2076207"/>
              <a:gd name="csX90" fmla="*/ 240382 w 729419"/>
              <a:gd name="csY90" fmla="*/ 154035 h 2076207"/>
              <a:gd name="csX91" fmla="*/ 262731 w 729419"/>
              <a:gd name="csY91" fmla="*/ 170426 h 2076207"/>
              <a:gd name="csX92" fmla="*/ 279169 w 729419"/>
              <a:gd name="csY92" fmla="*/ 193173 h 2076207"/>
              <a:gd name="csX93" fmla="*/ 327717 w 729419"/>
              <a:gd name="csY93" fmla="*/ 188556 h 2076207"/>
              <a:gd name="csX94" fmla="*/ 348052 w 729419"/>
              <a:gd name="csY94" fmla="*/ 156919 h 2076207"/>
              <a:gd name="csX95" fmla="*/ 380330 w 729419"/>
              <a:gd name="csY95" fmla="*/ 156483 h 2076207"/>
              <a:gd name="csX96" fmla="*/ 408490 w 729419"/>
              <a:gd name="csY96" fmla="*/ 195400 h 2076207"/>
              <a:gd name="csX97" fmla="*/ 445346 w 729419"/>
              <a:gd name="csY97" fmla="*/ 197582 h 2076207"/>
              <a:gd name="csX98" fmla="*/ 464798 w 729419"/>
              <a:gd name="csY98" fmla="*/ 174107 h 2076207"/>
              <a:gd name="csX99" fmla="*/ 489970 w 729419"/>
              <a:gd name="csY99" fmla="*/ 152208 h 2076207"/>
              <a:gd name="csX100" fmla="*/ 140694 w 729419"/>
              <a:gd name="csY100" fmla="*/ 201837 h 2076207"/>
              <a:gd name="csX101" fmla="*/ 139834 w 729419"/>
              <a:gd name="csY101" fmla="*/ 201482 h 2076207"/>
              <a:gd name="csX102" fmla="*/ 140812 w 729419"/>
              <a:gd name="csY102" fmla="*/ 204941 h 2076207"/>
              <a:gd name="csX103" fmla="*/ 144631 w 729419"/>
              <a:gd name="csY103" fmla="*/ 217811 h 2076207"/>
              <a:gd name="csX104" fmla="*/ 201241 w 729419"/>
              <a:gd name="csY104" fmla="*/ 373387 h 2076207"/>
              <a:gd name="csX105" fmla="*/ 235971 w 729419"/>
              <a:gd name="csY105" fmla="*/ 504451 h 2076207"/>
              <a:gd name="csX106" fmla="*/ 247475 w 729419"/>
              <a:gd name="csY106" fmla="*/ 513241 h 2076207"/>
              <a:gd name="csX107" fmla="*/ 289066 w 729419"/>
              <a:gd name="csY107" fmla="*/ 511170 h 2076207"/>
              <a:gd name="csX108" fmla="*/ 378229 w 729419"/>
              <a:gd name="csY108" fmla="*/ 511084 h 2076207"/>
              <a:gd name="csX109" fmla="*/ 470850 w 729419"/>
              <a:gd name="csY109" fmla="*/ 516341 h 2076207"/>
              <a:gd name="csX110" fmla="*/ 492933 w 729419"/>
              <a:gd name="csY110" fmla="*/ 497969 h 2076207"/>
              <a:gd name="csX111" fmla="*/ 557617 w 729419"/>
              <a:gd name="csY111" fmla="*/ 280398 h 2076207"/>
              <a:gd name="csX112" fmla="*/ 588788 w 729419"/>
              <a:gd name="csY112" fmla="*/ 200385 h 2076207"/>
              <a:gd name="csX113" fmla="*/ 530958 w 729419"/>
              <a:gd name="csY113" fmla="*/ 232968 h 2076207"/>
              <a:gd name="csX114" fmla="*/ 483823 w 729419"/>
              <a:gd name="csY114" fmla="*/ 190364 h 2076207"/>
              <a:gd name="csX115" fmla="*/ 466649 w 729419"/>
              <a:gd name="csY115" fmla="*/ 209061 h 2076207"/>
              <a:gd name="csX116" fmla="*/ 399941 w 729419"/>
              <a:gd name="csY116" fmla="*/ 216988 h 2076207"/>
              <a:gd name="csX117" fmla="*/ 363018 w 729419"/>
              <a:gd name="csY117" fmla="*/ 179615 h 2076207"/>
              <a:gd name="csX118" fmla="*/ 308839 w 729419"/>
              <a:gd name="csY118" fmla="*/ 227846 h 2076207"/>
              <a:gd name="csX119" fmla="*/ 245077 w 729419"/>
              <a:gd name="csY119" fmla="*/ 192402 h 2076207"/>
              <a:gd name="csX120" fmla="*/ 242829 w 729419"/>
              <a:gd name="csY120" fmla="*/ 198815 h 2076207"/>
              <a:gd name="csX121" fmla="*/ 168452 w 729419"/>
              <a:gd name="csY121" fmla="*/ 219348 h 2076207"/>
              <a:gd name="csX122" fmla="*/ 140694 w 729419"/>
              <a:gd name="csY122" fmla="*/ 201837 h 2076207"/>
              <a:gd name="csX123" fmla="*/ 259999 w 729419"/>
              <a:gd name="csY123" fmla="*/ 966699 h 2076207"/>
              <a:gd name="csX124" fmla="*/ 257072 w 729419"/>
              <a:gd name="csY124" fmla="*/ 1070424 h 2076207"/>
              <a:gd name="csX125" fmla="*/ 251372 w 729419"/>
              <a:gd name="csY125" fmla="*/ 1157618 h 2076207"/>
              <a:gd name="csX126" fmla="*/ 232677 w 729419"/>
              <a:gd name="csY126" fmla="*/ 1320279 h 2076207"/>
              <a:gd name="csX127" fmla="*/ 209182 w 729419"/>
              <a:gd name="csY127" fmla="*/ 1468667 h 2076207"/>
              <a:gd name="csX128" fmla="*/ 175302 w 729419"/>
              <a:gd name="csY128" fmla="*/ 1616623 h 2076207"/>
              <a:gd name="csX129" fmla="*/ 182769 w 729419"/>
              <a:gd name="csY129" fmla="*/ 1629786 h 2076207"/>
              <a:gd name="csX130" fmla="*/ 212156 w 729419"/>
              <a:gd name="csY130" fmla="*/ 1632656 h 2076207"/>
              <a:gd name="csX131" fmla="*/ 351295 w 729419"/>
              <a:gd name="csY131" fmla="*/ 1632801 h 2076207"/>
              <a:gd name="csX132" fmla="*/ 376150 w 729419"/>
              <a:gd name="csY132" fmla="*/ 1608307 h 2076207"/>
              <a:gd name="csX133" fmla="*/ 373450 w 729419"/>
              <a:gd name="csY133" fmla="*/ 1457291 h 2076207"/>
              <a:gd name="csX134" fmla="*/ 370936 w 729419"/>
              <a:gd name="csY134" fmla="*/ 1342736 h 2076207"/>
              <a:gd name="csX135" fmla="*/ 368328 w 729419"/>
              <a:gd name="csY135" fmla="*/ 1203878 h 2076207"/>
              <a:gd name="csX136" fmla="*/ 367836 w 729419"/>
              <a:gd name="csY136" fmla="*/ 813478 h 2076207"/>
              <a:gd name="csX137" fmla="*/ 365240 w 729419"/>
              <a:gd name="csY137" fmla="*/ 773243 h 2076207"/>
              <a:gd name="csX138" fmla="*/ 353084 w 729419"/>
              <a:gd name="csY138" fmla="*/ 762083 h 2076207"/>
              <a:gd name="csX139" fmla="*/ 280966 w 729419"/>
              <a:gd name="csY139" fmla="*/ 759855 h 2076207"/>
              <a:gd name="csX140" fmla="*/ 259965 w 729419"/>
              <a:gd name="csY140" fmla="*/ 779553 h 2076207"/>
              <a:gd name="csX141" fmla="*/ 262341 w 729419"/>
              <a:gd name="csY141" fmla="*/ 856275 h 2076207"/>
              <a:gd name="csX142" fmla="*/ 259999 w 729419"/>
              <a:gd name="csY142" fmla="*/ 966699 h 2076207"/>
              <a:gd name="csX143" fmla="*/ 55556 w 729419"/>
              <a:gd name="csY143" fmla="*/ 1835827 h 2076207"/>
              <a:gd name="csX144" fmla="*/ 49393 w 729419"/>
              <a:gd name="csY144" fmla="*/ 1878155 h 2076207"/>
              <a:gd name="csX145" fmla="*/ 73949 w 729419"/>
              <a:gd name="csY145" fmla="*/ 1905781 h 2076207"/>
              <a:gd name="csX146" fmla="*/ 110073 w 729419"/>
              <a:gd name="csY146" fmla="*/ 1909068 h 2076207"/>
              <a:gd name="csX147" fmla="*/ 224745 w 729419"/>
              <a:gd name="csY147" fmla="*/ 1921652 h 2076207"/>
              <a:gd name="csX148" fmla="*/ 347327 w 729419"/>
              <a:gd name="csY148" fmla="*/ 1924778 h 2076207"/>
              <a:gd name="csX149" fmla="*/ 363345 w 729419"/>
              <a:gd name="csY149" fmla="*/ 1923293 h 2076207"/>
              <a:gd name="csX150" fmla="*/ 373787 w 729419"/>
              <a:gd name="csY150" fmla="*/ 1911200 h 2076207"/>
              <a:gd name="csX151" fmla="*/ 376623 w 729419"/>
              <a:gd name="csY151" fmla="*/ 1696741 h 2076207"/>
              <a:gd name="csX152" fmla="*/ 360437 w 729419"/>
              <a:gd name="csY152" fmla="*/ 1681289 h 2076207"/>
              <a:gd name="csX153" fmla="*/ 263503 w 729419"/>
              <a:gd name="csY153" fmla="*/ 1678179 h 2076207"/>
              <a:gd name="csX154" fmla="*/ 160381 w 729419"/>
              <a:gd name="csY154" fmla="*/ 1670405 h 2076207"/>
              <a:gd name="csX155" fmla="*/ 143321 w 729419"/>
              <a:gd name="csY155" fmla="*/ 1685538 h 2076207"/>
              <a:gd name="csX156" fmla="*/ 124769 w 729419"/>
              <a:gd name="csY156" fmla="*/ 1738195 h 2076207"/>
              <a:gd name="csX157" fmla="*/ 90593 w 729419"/>
              <a:gd name="csY157" fmla="*/ 1779570 h 2076207"/>
              <a:gd name="csX158" fmla="*/ 55556 w 729419"/>
              <a:gd name="csY158" fmla="*/ 1835827 h 2076207"/>
              <a:gd name="csX159" fmla="*/ 378900 w 729419"/>
              <a:gd name="csY159" fmla="*/ 2007280 h 2076207"/>
              <a:gd name="csX160" fmla="*/ 378887 w 729419"/>
              <a:gd name="csY160" fmla="*/ 1995127 h 2076207"/>
              <a:gd name="csX161" fmla="*/ 359084 w 729419"/>
              <a:gd name="csY161" fmla="*/ 1975964 h 2076207"/>
              <a:gd name="csX162" fmla="*/ 247288 w 729419"/>
              <a:gd name="csY162" fmla="*/ 1973305 h 2076207"/>
              <a:gd name="csX163" fmla="*/ 201692 w 729419"/>
              <a:gd name="csY163" fmla="*/ 1970275 h 2076207"/>
              <a:gd name="csX164" fmla="*/ 57962 w 729419"/>
              <a:gd name="csY164" fmla="*/ 1952648 h 2076207"/>
              <a:gd name="csX165" fmla="*/ 39194 w 729419"/>
              <a:gd name="csY165" fmla="*/ 1963552 h 2076207"/>
              <a:gd name="csX166" fmla="*/ 30066 w 729419"/>
              <a:gd name="csY166" fmla="*/ 2006631 h 2076207"/>
              <a:gd name="csX167" fmla="*/ 40232 w 729419"/>
              <a:gd name="csY167" fmla="*/ 2019486 h 2076207"/>
              <a:gd name="csX168" fmla="*/ 238186 w 729419"/>
              <a:gd name="csY168" fmla="*/ 2046096 h 2076207"/>
              <a:gd name="csX169" fmla="*/ 342155 w 729419"/>
              <a:gd name="csY169" fmla="*/ 2046441 h 2076207"/>
              <a:gd name="csX170" fmla="*/ 378900 w 729419"/>
              <a:gd name="csY170" fmla="*/ 2007280 h 2076207"/>
              <a:gd name="csX171" fmla="*/ 310220 w 729419"/>
              <a:gd name="csY171" fmla="*/ 554288 h 2076207"/>
              <a:gd name="csX172" fmla="*/ 259136 w 729419"/>
              <a:gd name="csY172" fmla="*/ 556881 h 2076207"/>
              <a:gd name="csX173" fmla="*/ 249085 w 729419"/>
              <a:gd name="csY173" fmla="*/ 567981 h 2076207"/>
              <a:gd name="csX174" fmla="*/ 249141 w 729419"/>
              <a:gd name="csY174" fmla="*/ 605644 h 2076207"/>
              <a:gd name="csX175" fmla="*/ 262628 w 729419"/>
              <a:gd name="csY175" fmla="*/ 605627 h 2076207"/>
              <a:gd name="csX176" fmla="*/ 369608 w 729419"/>
              <a:gd name="csY176" fmla="*/ 603027 h 2076207"/>
              <a:gd name="csX177" fmla="*/ 463931 w 729419"/>
              <a:gd name="csY177" fmla="*/ 605146 h 2076207"/>
              <a:gd name="csX178" fmla="*/ 478113 w 729419"/>
              <a:gd name="csY178" fmla="*/ 595843 h 2076207"/>
              <a:gd name="csX179" fmla="*/ 478796 w 729419"/>
              <a:gd name="csY179" fmla="*/ 556832 h 2076207"/>
              <a:gd name="csX180" fmla="*/ 310220 w 729419"/>
              <a:gd name="csY180" fmla="*/ 554288 h 2076207"/>
              <a:gd name="csX181" fmla="*/ 348836 w 729419"/>
              <a:gd name="csY181" fmla="*/ 684115 h 2076207"/>
              <a:gd name="csX182" fmla="*/ 281333 w 729419"/>
              <a:gd name="csY182" fmla="*/ 683313 h 2076207"/>
              <a:gd name="csX183" fmla="*/ 212728 w 729419"/>
              <a:gd name="csY183" fmla="*/ 681931 h 2076207"/>
              <a:gd name="csX184" fmla="*/ 187283 w 729419"/>
              <a:gd name="csY184" fmla="*/ 689555 h 2076207"/>
              <a:gd name="csX185" fmla="*/ 186163 w 729419"/>
              <a:gd name="csY185" fmla="*/ 718266 h 2076207"/>
              <a:gd name="csX186" fmla="*/ 209894 w 729419"/>
              <a:gd name="csY186" fmla="*/ 726798 h 2076207"/>
              <a:gd name="csX187" fmla="*/ 334814 w 729419"/>
              <a:gd name="csY187" fmla="*/ 732494 h 2076207"/>
              <a:gd name="csX188" fmla="*/ 364856 w 729419"/>
              <a:gd name="csY188" fmla="*/ 707963 h 2076207"/>
              <a:gd name="csX189" fmla="*/ 348836 w 729419"/>
              <a:gd name="csY189" fmla="*/ 684115 h 2076207"/>
              <a:gd name="csX190" fmla="*/ 298865 w 729419"/>
              <a:gd name="csY190" fmla="*/ 621954 h 2076207"/>
              <a:gd name="csX191" fmla="*/ 251619 w 729419"/>
              <a:gd name="csY191" fmla="*/ 622133 h 2076207"/>
              <a:gd name="csX192" fmla="*/ 214459 w 729419"/>
              <a:gd name="csY192" fmla="*/ 636230 h 2076207"/>
              <a:gd name="csX193" fmla="*/ 221436 w 729419"/>
              <a:gd name="csY193" fmla="*/ 654205 h 2076207"/>
              <a:gd name="csX194" fmla="*/ 272412 w 729419"/>
              <a:gd name="csY194" fmla="*/ 657250 h 2076207"/>
              <a:gd name="csX195" fmla="*/ 349094 w 729419"/>
              <a:gd name="csY195" fmla="*/ 659282 h 2076207"/>
              <a:gd name="csX196" fmla="*/ 362996 w 729419"/>
              <a:gd name="csY196" fmla="*/ 644234 h 2076207"/>
              <a:gd name="csX197" fmla="*/ 348472 w 729419"/>
              <a:gd name="csY197" fmla="*/ 624649 h 2076207"/>
              <a:gd name="csX198" fmla="*/ 298865 w 729419"/>
              <a:gd name="csY198" fmla="*/ 621954 h 2076207"/>
              <a:gd name="csX199" fmla="*/ 227796 w 729419"/>
              <a:gd name="csY199" fmla="*/ 528000 h 2076207"/>
              <a:gd name="csX200" fmla="*/ 241009 w 729419"/>
              <a:gd name="csY200" fmla="*/ 545897 h 2076207"/>
              <a:gd name="csX201" fmla="*/ 282607 w 729419"/>
              <a:gd name="csY201" fmla="*/ 543480 h 2076207"/>
              <a:gd name="csX202" fmla="*/ 354213 w 729419"/>
              <a:gd name="csY202" fmla="*/ 543384 h 2076207"/>
              <a:gd name="csX203" fmla="*/ 365334 w 729419"/>
              <a:gd name="csY203" fmla="*/ 533397 h 2076207"/>
              <a:gd name="csX204" fmla="*/ 354531 w 729419"/>
              <a:gd name="csY204" fmla="*/ 521620 h 2076207"/>
              <a:gd name="csX205" fmla="*/ 259169 w 729419"/>
              <a:gd name="csY205" fmla="*/ 521978 h 2076207"/>
              <a:gd name="csX206" fmla="*/ 227796 w 729419"/>
              <a:gd name="csY206" fmla="*/ 528000 h 2076207"/>
              <a:gd name="csX207" fmla="*/ 508068 w 729419"/>
              <a:gd name="csY207" fmla="*/ 190710 h 2076207"/>
              <a:gd name="csX208" fmla="*/ 521293 w 729419"/>
              <a:gd name="csY208" fmla="*/ 205907 h 2076207"/>
              <a:gd name="csX209" fmla="*/ 525175 w 729419"/>
              <a:gd name="csY209" fmla="*/ 202985 h 2076207"/>
              <a:gd name="csX210" fmla="*/ 500276 w 729419"/>
              <a:gd name="csY210" fmla="*/ 160640 h 2076207"/>
              <a:gd name="csX211" fmla="*/ 497122 w 729419"/>
              <a:gd name="csY211" fmla="*/ 162007 h 2076207"/>
              <a:gd name="csX212" fmla="*/ 508068 w 729419"/>
              <a:gd name="csY212" fmla="*/ 190710 h 2076207"/>
              <a:gd name="csX213" fmla="*/ 215522 w 729419"/>
              <a:gd name="csY213" fmla="*/ 197296 h 2076207"/>
              <a:gd name="csX214" fmla="*/ 234029 w 729419"/>
              <a:gd name="csY214" fmla="*/ 162725 h 2076207"/>
              <a:gd name="csX215" fmla="*/ 229000 w 729419"/>
              <a:gd name="csY215" fmla="*/ 159902 h 2076207"/>
              <a:gd name="csX216" fmla="*/ 204824 w 729419"/>
              <a:gd name="csY216" fmla="*/ 199677 h 2076207"/>
              <a:gd name="csX217" fmla="*/ 207990 w 729419"/>
              <a:gd name="csY217" fmla="*/ 202198 h 2076207"/>
              <a:gd name="csX218" fmla="*/ 215522 w 729419"/>
              <a:gd name="csY218" fmla="*/ 197296 h 2076207"/>
              <a:gd name="csX219" fmla="*/ 484400 w 729419"/>
              <a:gd name="csY219" fmla="*/ 863693 h 2076207"/>
              <a:gd name="csX220" fmla="*/ 484400 w 729419"/>
              <a:gd name="csY220" fmla="*/ 896678 h 2076207"/>
              <a:gd name="csX221" fmla="*/ 486181 w 729419"/>
              <a:gd name="csY221" fmla="*/ 896585 h 2076207"/>
              <a:gd name="csX222" fmla="*/ 486181 w 729419"/>
              <a:gd name="csY222" fmla="*/ 795289 h 2076207"/>
              <a:gd name="csX223" fmla="*/ 484400 w 729419"/>
              <a:gd name="csY223" fmla="*/ 863693 h 2076207"/>
              <a:gd name="csX224" fmla="*/ 720241 w 729419"/>
              <a:gd name="csY224" fmla="*/ 2030666 h 2076207"/>
              <a:gd name="csX225" fmla="*/ 721175 w 729419"/>
              <a:gd name="csY225" fmla="*/ 2029733 h 2076207"/>
              <a:gd name="csX226" fmla="*/ 720241 w 729419"/>
              <a:gd name="csY226" fmla="*/ 2030666 h 2076207"/>
              <a:gd name="csX227" fmla="*/ 715702 w 729419"/>
              <a:gd name="csY227" fmla="*/ 2037051 h 2076207"/>
              <a:gd name="csX228" fmla="*/ 715702 w 729419"/>
              <a:gd name="csY228" fmla="*/ 2037051 h 2076207"/>
              <a:gd name="csX229" fmla="*/ 709953 w 729419"/>
              <a:gd name="csY229" fmla="*/ 2040017 h 2076207"/>
              <a:gd name="csX230" fmla="*/ 710209 w 729419"/>
              <a:gd name="csY230" fmla="*/ 2039597 h 2076207"/>
              <a:gd name="csX231" fmla="*/ 709953 w 729419"/>
              <a:gd name="csY231" fmla="*/ 2040017 h 2076207"/>
              <a:gd name="csX0" fmla="*/ 96263 w 729419"/>
              <a:gd name="csY0" fmla="*/ 2076207 h 2076207"/>
              <a:gd name="csX1" fmla="*/ 63862 w 729419"/>
              <a:gd name="csY1" fmla="*/ 2065388 h 2076207"/>
              <a:gd name="csX2" fmla="*/ 16555 w 729419"/>
              <a:gd name="csY2" fmla="*/ 2050152 h 2076207"/>
              <a:gd name="csX3" fmla="*/ 15 w 729419"/>
              <a:gd name="csY3" fmla="*/ 2023802 h 2076207"/>
              <a:gd name="csX4" fmla="*/ 18368 w 729419"/>
              <a:gd name="csY4" fmla="*/ 1940709 h 2076207"/>
              <a:gd name="csX5" fmla="*/ 22139 w 729419"/>
              <a:gd name="csY5" fmla="*/ 1907268 h 2076207"/>
              <a:gd name="csX6" fmla="*/ 57941 w 729419"/>
              <a:gd name="csY6" fmla="*/ 1774163 h 2076207"/>
              <a:gd name="csX7" fmla="*/ 102478 w 729419"/>
              <a:gd name="csY7" fmla="*/ 1720275 h 2076207"/>
              <a:gd name="csX8" fmla="*/ 108579 w 729419"/>
              <a:gd name="csY8" fmla="*/ 1650967 h 2076207"/>
              <a:gd name="csX9" fmla="*/ 115628 w 729419"/>
              <a:gd name="csY9" fmla="*/ 1625405 h 2076207"/>
              <a:gd name="csX10" fmla="*/ 156323 w 729419"/>
              <a:gd name="csY10" fmla="*/ 1560181 h 2076207"/>
              <a:gd name="csX11" fmla="*/ 199424 w 729419"/>
              <a:gd name="csY11" fmla="*/ 1364729 h 2076207"/>
              <a:gd name="csX12" fmla="*/ 216779 w 729419"/>
              <a:gd name="csY12" fmla="*/ 1219490 h 2076207"/>
              <a:gd name="csX13" fmla="*/ 229755 w 729419"/>
              <a:gd name="csY13" fmla="*/ 1099357 h 2076207"/>
              <a:gd name="csX14" fmla="*/ 232707 w 729419"/>
              <a:gd name="csY14" fmla="*/ 1056423 h 2076207"/>
              <a:gd name="csX15" fmla="*/ 235622 w 729419"/>
              <a:gd name="csY15" fmla="*/ 952675 h 2076207"/>
              <a:gd name="csX16" fmla="*/ 235445 w 729419"/>
              <a:gd name="csY16" fmla="*/ 780278 h 2076207"/>
              <a:gd name="csX17" fmla="*/ 214544 w 729419"/>
              <a:gd name="csY17" fmla="*/ 756435 h 2076207"/>
              <a:gd name="csX18" fmla="*/ 172569 w 729419"/>
              <a:gd name="csY18" fmla="*/ 742582 h 2076207"/>
              <a:gd name="csX19" fmla="*/ 168784 w 729419"/>
              <a:gd name="csY19" fmla="*/ 669116 h 2076207"/>
              <a:gd name="csX20" fmla="*/ 191657 w 729419"/>
              <a:gd name="csY20" fmla="*/ 630765 h 2076207"/>
              <a:gd name="csX21" fmla="*/ 208150 w 729419"/>
              <a:gd name="csY21" fmla="*/ 609084 h 2076207"/>
              <a:gd name="csX22" fmla="*/ 216756 w 729419"/>
              <a:gd name="csY22" fmla="*/ 558673 h 2076207"/>
              <a:gd name="csX23" fmla="*/ 209092 w 729419"/>
              <a:gd name="csY23" fmla="*/ 521540 h 2076207"/>
              <a:gd name="csX24" fmla="*/ 204683 w 729419"/>
              <a:gd name="csY24" fmla="*/ 474024 h 2076207"/>
              <a:gd name="csX25" fmla="*/ 115483 w 729419"/>
              <a:gd name="csY25" fmla="*/ 213499 h 2076207"/>
              <a:gd name="csX26" fmla="*/ 102909 w 729419"/>
              <a:gd name="csY26" fmla="*/ 182297 h 2076207"/>
              <a:gd name="csX27" fmla="*/ 104315 w 729419"/>
              <a:gd name="csY27" fmla="*/ 163968 h 2076207"/>
              <a:gd name="csX28" fmla="*/ 122444 w 729419"/>
              <a:gd name="csY28" fmla="*/ 160805 h 2076207"/>
              <a:gd name="csX29" fmla="*/ 170283 w 729419"/>
              <a:gd name="csY29" fmla="*/ 187783 h 2076207"/>
              <a:gd name="csX30" fmla="*/ 180938 w 729419"/>
              <a:gd name="csY30" fmla="*/ 195322 h 2076207"/>
              <a:gd name="csX31" fmla="*/ 221419 w 729419"/>
              <a:gd name="csY31" fmla="*/ 138058 h 2076207"/>
              <a:gd name="csX32" fmla="*/ 294099 w 729419"/>
              <a:gd name="csY32" fmla="*/ 91372 h 2076207"/>
              <a:gd name="csX33" fmla="*/ 302307 w 729419"/>
              <a:gd name="csY33" fmla="*/ 76560 h 2076207"/>
              <a:gd name="csX34" fmla="*/ 320284 w 729419"/>
              <a:gd name="csY34" fmla="*/ 8414 h 2076207"/>
              <a:gd name="csX35" fmla="*/ 324784 w 729419"/>
              <a:gd name="csY35" fmla="*/ 946 h 2076207"/>
              <a:gd name="csX36" fmla="*/ 399212 w 729419"/>
              <a:gd name="csY36" fmla="*/ 0 h 2076207"/>
              <a:gd name="csX37" fmla="*/ 425980 w 729419"/>
              <a:gd name="csY37" fmla="*/ 78301 h 2076207"/>
              <a:gd name="csX38" fmla="*/ 431861 w 729419"/>
              <a:gd name="csY38" fmla="*/ 90312 h 2076207"/>
              <a:gd name="csX39" fmla="*/ 540349 w 729419"/>
              <a:gd name="csY39" fmla="*/ 187946 h 2076207"/>
              <a:gd name="csX40" fmla="*/ 545555 w 729419"/>
              <a:gd name="csY40" fmla="*/ 197828 h 2076207"/>
              <a:gd name="csX41" fmla="*/ 587318 w 729419"/>
              <a:gd name="csY41" fmla="*/ 171260 h 2076207"/>
              <a:gd name="csX42" fmla="*/ 601503 w 729419"/>
              <a:gd name="csY42" fmla="*/ 163707 h 2076207"/>
              <a:gd name="csX43" fmla="*/ 625254 w 729419"/>
              <a:gd name="csY43" fmla="*/ 163123 h 2076207"/>
              <a:gd name="csX44" fmla="*/ 625468 w 729419"/>
              <a:gd name="csY44" fmla="*/ 187579 h 2076207"/>
              <a:gd name="csX45" fmla="*/ 597543 w 729419"/>
              <a:gd name="csY45" fmla="*/ 251872 h 2076207"/>
              <a:gd name="csX46" fmla="*/ 531831 w 729419"/>
              <a:gd name="csY46" fmla="*/ 442689 h 2076207"/>
              <a:gd name="csX47" fmla="*/ 519888 w 729419"/>
              <a:gd name="csY47" fmla="*/ 501474 h 2076207"/>
              <a:gd name="csX48" fmla="*/ 522506 w 729419"/>
              <a:gd name="csY48" fmla="*/ 525086 h 2076207"/>
              <a:gd name="csX49" fmla="*/ 516235 w 729419"/>
              <a:gd name="csY49" fmla="*/ 555946 h 2076207"/>
              <a:gd name="csX50" fmla="*/ 521332 w 729419"/>
              <a:gd name="csY50" fmla="*/ 610676 h 2076207"/>
              <a:gd name="csX51" fmla="*/ 541382 w 729419"/>
              <a:gd name="csY51" fmla="*/ 642597 h 2076207"/>
              <a:gd name="csX52" fmla="*/ 557031 w 729419"/>
              <a:gd name="csY52" fmla="*/ 667949 h 2076207"/>
              <a:gd name="csX53" fmla="*/ 553994 w 729419"/>
              <a:gd name="csY53" fmla="*/ 744146 h 2076207"/>
              <a:gd name="csX54" fmla="*/ 508215 w 729419"/>
              <a:gd name="csY54" fmla="*/ 758841 h 2076207"/>
              <a:gd name="csX55" fmla="*/ 497442 w 729419"/>
              <a:gd name="csY55" fmla="*/ 771256 h 2076207"/>
              <a:gd name="csX56" fmla="*/ 493005 w 729419"/>
              <a:gd name="csY56" fmla="*/ 922055 h 2076207"/>
              <a:gd name="csX57" fmla="*/ 502900 w 729419"/>
              <a:gd name="csY57" fmla="*/ 1114191 h 2076207"/>
              <a:gd name="csX58" fmla="*/ 508800 w 729419"/>
              <a:gd name="csY58" fmla="*/ 1205474 h 2076207"/>
              <a:gd name="csX59" fmla="*/ 522952 w 729419"/>
              <a:gd name="csY59" fmla="*/ 1320065 h 2076207"/>
              <a:gd name="csX60" fmla="*/ 554682 w 729419"/>
              <a:gd name="csY60" fmla="*/ 1501203 h 2076207"/>
              <a:gd name="csX61" fmla="*/ 576958 w 729419"/>
              <a:gd name="csY61" fmla="*/ 1593963 h 2076207"/>
              <a:gd name="csX62" fmla="*/ 595349 w 729419"/>
              <a:gd name="csY62" fmla="*/ 1613498 h 2076207"/>
              <a:gd name="csX63" fmla="*/ 613936 w 729419"/>
              <a:gd name="csY63" fmla="*/ 1624058 h 2076207"/>
              <a:gd name="csX64" fmla="*/ 620938 w 729419"/>
              <a:gd name="csY64" fmla="*/ 1652071 h 2076207"/>
              <a:gd name="csX65" fmla="*/ 630805 w 729419"/>
              <a:gd name="csY65" fmla="*/ 1721702 h 2076207"/>
              <a:gd name="csX66" fmla="*/ 685830 w 729419"/>
              <a:gd name="csY66" fmla="*/ 1792915 h 2076207"/>
              <a:gd name="csX67" fmla="*/ 708904 w 729419"/>
              <a:gd name="csY67" fmla="*/ 1890290 h 2076207"/>
              <a:gd name="csX68" fmla="*/ 716580 w 729419"/>
              <a:gd name="csY68" fmla="*/ 1951136 h 2076207"/>
              <a:gd name="csX69" fmla="*/ 729397 w 729419"/>
              <a:gd name="csY69" fmla="*/ 2030261 h 2076207"/>
              <a:gd name="csX70" fmla="*/ 714212 w 729419"/>
              <a:gd name="csY70" fmla="*/ 2049544 h 2076207"/>
              <a:gd name="csX71" fmla="*/ 645428 w 729419"/>
              <a:gd name="csY71" fmla="*/ 2070825 h 2076207"/>
              <a:gd name="csX72" fmla="*/ 635822 w 729419"/>
              <a:gd name="csY72" fmla="*/ 2075145 h 2076207"/>
              <a:gd name="csX73" fmla="*/ 588428 w 729419"/>
              <a:gd name="csY73" fmla="*/ 2075144 h 2076207"/>
              <a:gd name="csX74" fmla="*/ 590041 w 729419"/>
              <a:gd name="csY74" fmla="*/ 2071383 h 2076207"/>
              <a:gd name="csX75" fmla="*/ 667788 w 729419"/>
              <a:gd name="csY75" fmla="*/ 2056852 h 2076207"/>
              <a:gd name="csX76" fmla="*/ 706629 w 729419"/>
              <a:gd name="csY76" fmla="*/ 2044290 h 2076207"/>
              <a:gd name="csX77" fmla="*/ 702674 w 729419"/>
              <a:gd name="csY77" fmla="*/ 2041581 h 2076207"/>
              <a:gd name="csX78" fmla="*/ 544974 w 729419"/>
              <a:gd name="csY78" fmla="*/ 2071274 h 2076207"/>
              <a:gd name="csX79" fmla="*/ 538352 w 729419"/>
              <a:gd name="csY79" fmla="*/ 2076207 h 2076207"/>
              <a:gd name="csX80" fmla="*/ 96263 w 729419"/>
              <a:gd name="csY80" fmla="*/ 2076207 h 2076207"/>
              <a:gd name="csX81" fmla="*/ 489970 w 729419"/>
              <a:gd name="csY81" fmla="*/ 152208 h 2076207"/>
              <a:gd name="csX82" fmla="*/ 490754 w 729419"/>
              <a:gd name="csY82" fmla="*/ 152592 h 2076207"/>
              <a:gd name="csX83" fmla="*/ 489489 w 729419"/>
              <a:gd name="csY83" fmla="*/ 149547 h 2076207"/>
              <a:gd name="csX84" fmla="*/ 393621 w 729419"/>
              <a:gd name="csY84" fmla="*/ 99259 h 2076207"/>
              <a:gd name="csX85" fmla="*/ 390419 w 729419"/>
              <a:gd name="csY85" fmla="*/ 18568 h 2076207"/>
              <a:gd name="csX86" fmla="*/ 334131 w 729419"/>
              <a:gd name="csY86" fmla="*/ 24327 h 2076207"/>
              <a:gd name="csX87" fmla="*/ 344678 w 729419"/>
              <a:gd name="csY87" fmla="*/ 101259 h 2076207"/>
              <a:gd name="csX88" fmla="*/ 298854 w 729419"/>
              <a:gd name="csY88" fmla="*/ 114003 h 2076207"/>
              <a:gd name="csX89" fmla="*/ 237456 w 729419"/>
              <a:gd name="csY89" fmla="*/ 154340 h 2076207"/>
              <a:gd name="csX90" fmla="*/ 240382 w 729419"/>
              <a:gd name="csY90" fmla="*/ 154035 h 2076207"/>
              <a:gd name="csX91" fmla="*/ 262731 w 729419"/>
              <a:gd name="csY91" fmla="*/ 170426 h 2076207"/>
              <a:gd name="csX92" fmla="*/ 279169 w 729419"/>
              <a:gd name="csY92" fmla="*/ 193173 h 2076207"/>
              <a:gd name="csX93" fmla="*/ 327717 w 729419"/>
              <a:gd name="csY93" fmla="*/ 188556 h 2076207"/>
              <a:gd name="csX94" fmla="*/ 348052 w 729419"/>
              <a:gd name="csY94" fmla="*/ 156919 h 2076207"/>
              <a:gd name="csX95" fmla="*/ 380330 w 729419"/>
              <a:gd name="csY95" fmla="*/ 156483 h 2076207"/>
              <a:gd name="csX96" fmla="*/ 408490 w 729419"/>
              <a:gd name="csY96" fmla="*/ 195400 h 2076207"/>
              <a:gd name="csX97" fmla="*/ 445346 w 729419"/>
              <a:gd name="csY97" fmla="*/ 197582 h 2076207"/>
              <a:gd name="csX98" fmla="*/ 464798 w 729419"/>
              <a:gd name="csY98" fmla="*/ 174107 h 2076207"/>
              <a:gd name="csX99" fmla="*/ 489970 w 729419"/>
              <a:gd name="csY99" fmla="*/ 152208 h 2076207"/>
              <a:gd name="csX100" fmla="*/ 140694 w 729419"/>
              <a:gd name="csY100" fmla="*/ 201837 h 2076207"/>
              <a:gd name="csX101" fmla="*/ 139834 w 729419"/>
              <a:gd name="csY101" fmla="*/ 201482 h 2076207"/>
              <a:gd name="csX102" fmla="*/ 140812 w 729419"/>
              <a:gd name="csY102" fmla="*/ 204941 h 2076207"/>
              <a:gd name="csX103" fmla="*/ 144631 w 729419"/>
              <a:gd name="csY103" fmla="*/ 217811 h 2076207"/>
              <a:gd name="csX104" fmla="*/ 201241 w 729419"/>
              <a:gd name="csY104" fmla="*/ 373387 h 2076207"/>
              <a:gd name="csX105" fmla="*/ 235971 w 729419"/>
              <a:gd name="csY105" fmla="*/ 504451 h 2076207"/>
              <a:gd name="csX106" fmla="*/ 247475 w 729419"/>
              <a:gd name="csY106" fmla="*/ 513241 h 2076207"/>
              <a:gd name="csX107" fmla="*/ 289066 w 729419"/>
              <a:gd name="csY107" fmla="*/ 511170 h 2076207"/>
              <a:gd name="csX108" fmla="*/ 378229 w 729419"/>
              <a:gd name="csY108" fmla="*/ 511084 h 2076207"/>
              <a:gd name="csX109" fmla="*/ 470850 w 729419"/>
              <a:gd name="csY109" fmla="*/ 516341 h 2076207"/>
              <a:gd name="csX110" fmla="*/ 492933 w 729419"/>
              <a:gd name="csY110" fmla="*/ 497969 h 2076207"/>
              <a:gd name="csX111" fmla="*/ 557617 w 729419"/>
              <a:gd name="csY111" fmla="*/ 280398 h 2076207"/>
              <a:gd name="csX112" fmla="*/ 588788 w 729419"/>
              <a:gd name="csY112" fmla="*/ 200385 h 2076207"/>
              <a:gd name="csX113" fmla="*/ 530958 w 729419"/>
              <a:gd name="csY113" fmla="*/ 232968 h 2076207"/>
              <a:gd name="csX114" fmla="*/ 483823 w 729419"/>
              <a:gd name="csY114" fmla="*/ 190364 h 2076207"/>
              <a:gd name="csX115" fmla="*/ 466649 w 729419"/>
              <a:gd name="csY115" fmla="*/ 209061 h 2076207"/>
              <a:gd name="csX116" fmla="*/ 399941 w 729419"/>
              <a:gd name="csY116" fmla="*/ 216988 h 2076207"/>
              <a:gd name="csX117" fmla="*/ 363018 w 729419"/>
              <a:gd name="csY117" fmla="*/ 179615 h 2076207"/>
              <a:gd name="csX118" fmla="*/ 308839 w 729419"/>
              <a:gd name="csY118" fmla="*/ 227846 h 2076207"/>
              <a:gd name="csX119" fmla="*/ 245077 w 729419"/>
              <a:gd name="csY119" fmla="*/ 192402 h 2076207"/>
              <a:gd name="csX120" fmla="*/ 242829 w 729419"/>
              <a:gd name="csY120" fmla="*/ 198815 h 2076207"/>
              <a:gd name="csX121" fmla="*/ 168452 w 729419"/>
              <a:gd name="csY121" fmla="*/ 219348 h 2076207"/>
              <a:gd name="csX122" fmla="*/ 140694 w 729419"/>
              <a:gd name="csY122" fmla="*/ 201837 h 2076207"/>
              <a:gd name="csX123" fmla="*/ 259999 w 729419"/>
              <a:gd name="csY123" fmla="*/ 966699 h 2076207"/>
              <a:gd name="csX124" fmla="*/ 257072 w 729419"/>
              <a:gd name="csY124" fmla="*/ 1070424 h 2076207"/>
              <a:gd name="csX125" fmla="*/ 251372 w 729419"/>
              <a:gd name="csY125" fmla="*/ 1157618 h 2076207"/>
              <a:gd name="csX126" fmla="*/ 232677 w 729419"/>
              <a:gd name="csY126" fmla="*/ 1320279 h 2076207"/>
              <a:gd name="csX127" fmla="*/ 209182 w 729419"/>
              <a:gd name="csY127" fmla="*/ 1468667 h 2076207"/>
              <a:gd name="csX128" fmla="*/ 175302 w 729419"/>
              <a:gd name="csY128" fmla="*/ 1616623 h 2076207"/>
              <a:gd name="csX129" fmla="*/ 182769 w 729419"/>
              <a:gd name="csY129" fmla="*/ 1629786 h 2076207"/>
              <a:gd name="csX130" fmla="*/ 212156 w 729419"/>
              <a:gd name="csY130" fmla="*/ 1632656 h 2076207"/>
              <a:gd name="csX131" fmla="*/ 351295 w 729419"/>
              <a:gd name="csY131" fmla="*/ 1632801 h 2076207"/>
              <a:gd name="csX132" fmla="*/ 376150 w 729419"/>
              <a:gd name="csY132" fmla="*/ 1608307 h 2076207"/>
              <a:gd name="csX133" fmla="*/ 373450 w 729419"/>
              <a:gd name="csY133" fmla="*/ 1457291 h 2076207"/>
              <a:gd name="csX134" fmla="*/ 370936 w 729419"/>
              <a:gd name="csY134" fmla="*/ 1342736 h 2076207"/>
              <a:gd name="csX135" fmla="*/ 368328 w 729419"/>
              <a:gd name="csY135" fmla="*/ 1203878 h 2076207"/>
              <a:gd name="csX136" fmla="*/ 367836 w 729419"/>
              <a:gd name="csY136" fmla="*/ 813478 h 2076207"/>
              <a:gd name="csX137" fmla="*/ 365240 w 729419"/>
              <a:gd name="csY137" fmla="*/ 773243 h 2076207"/>
              <a:gd name="csX138" fmla="*/ 353084 w 729419"/>
              <a:gd name="csY138" fmla="*/ 762083 h 2076207"/>
              <a:gd name="csX139" fmla="*/ 280966 w 729419"/>
              <a:gd name="csY139" fmla="*/ 759855 h 2076207"/>
              <a:gd name="csX140" fmla="*/ 259965 w 729419"/>
              <a:gd name="csY140" fmla="*/ 779553 h 2076207"/>
              <a:gd name="csX141" fmla="*/ 262341 w 729419"/>
              <a:gd name="csY141" fmla="*/ 856275 h 2076207"/>
              <a:gd name="csX142" fmla="*/ 259999 w 729419"/>
              <a:gd name="csY142" fmla="*/ 966699 h 2076207"/>
              <a:gd name="csX143" fmla="*/ 55556 w 729419"/>
              <a:gd name="csY143" fmla="*/ 1835827 h 2076207"/>
              <a:gd name="csX144" fmla="*/ 49393 w 729419"/>
              <a:gd name="csY144" fmla="*/ 1878155 h 2076207"/>
              <a:gd name="csX145" fmla="*/ 73949 w 729419"/>
              <a:gd name="csY145" fmla="*/ 1905781 h 2076207"/>
              <a:gd name="csX146" fmla="*/ 110073 w 729419"/>
              <a:gd name="csY146" fmla="*/ 1909068 h 2076207"/>
              <a:gd name="csX147" fmla="*/ 224745 w 729419"/>
              <a:gd name="csY147" fmla="*/ 1921652 h 2076207"/>
              <a:gd name="csX148" fmla="*/ 347327 w 729419"/>
              <a:gd name="csY148" fmla="*/ 1924778 h 2076207"/>
              <a:gd name="csX149" fmla="*/ 363345 w 729419"/>
              <a:gd name="csY149" fmla="*/ 1923293 h 2076207"/>
              <a:gd name="csX150" fmla="*/ 373787 w 729419"/>
              <a:gd name="csY150" fmla="*/ 1911200 h 2076207"/>
              <a:gd name="csX151" fmla="*/ 376623 w 729419"/>
              <a:gd name="csY151" fmla="*/ 1696741 h 2076207"/>
              <a:gd name="csX152" fmla="*/ 360437 w 729419"/>
              <a:gd name="csY152" fmla="*/ 1681289 h 2076207"/>
              <a:gd name="csX153" fmla="*/ 263503 w 729419"/>
              <a:gd name="csY153" fmla="*/ 1678179 h 2076207"/>
              <a:gd name="csX154" fmla="*/ 160381 w 729419"/>
              <a:gd name="csY154" fmla="*/ 1670405 h 2076207"/>
              <a:gd name="csX155" fmla="*/ 143321 w 729419"/>
              <a:gd name="csY155" fmla="*/ 1685538 h 2076207"/>
              <a:gd name="csX156" fmla="*/ 124769 w 729419"/>
              <a:gd name="csY156" fmla="*/ 1738195 h 2076207"/>
              <a:gd name="csX157" fmla="*/ 90593 w 729419"/>
              <a:gd name="csY157" fmla="*/ 1779570 h 2076207"/>
              <a:gd name="csX158" fmla="*/ 55556 w 729419"/>
              <a:gd name="csY158" fmla="*/ 1835827 h 2076207"/>
              <a:gd name="csX159" fmla="*/ 378900 w 729419"/>
              <a:gd name="csY159" fmla="*/ 2007280 h 2076207"/>
              <a:gd name="csX160" fmla="*/ 378887 w 729419"/>
              <a:gd name="csY160" fmla="*/ 1995127 h 2076207"/>
              <a:gd name="csX161" fmla="*/ 359084 w 729419"/>
              <a:gd name="csY161" fmla="*/ 1975964 h 2076207"/>
              <a:gd name="csX162" fmla="*/ 247288 w 729419"/>
              <a:gd name="csY162" fmla="*/ 1973305 h 2076207"/>
              <a:gd name="csX163" fmla="*/ 201692 w 729419"/>
              <a:gd name="csY163" fmla="*/ 1970275 h 2076207"/>
              <a:gd name="csX164" fmla="*/ 57962 w 729419"/>
              <a:gd name="csY164" fmla="*/ 1952648 h 2076207"/>
              <a:gd name="csX165" fmla="*/ 39194 w 729419"/>
              <a:gd name="csY165" fmla="*/ 1963552 h 2076207"/>
              <a:gd name="csX166" fmla="*/ 30066 w 729419"/>
              <a:gd name="csY166" fmla="*/ 2006631 h 2076207"/>
              <a:gd name="csX167" fmla="*/ 40232 w 729419"/>
              <a:gd name="csY167" fmla="*/ 2019486 h 2076207"/>
              <a:gd name="csX168" fmla="*/ 238186 w 729419"/>
              <a:gd name="csY168" fmla="*/ 2046096 h 2076207"/>
              <a:gd name="csX169" fmla="*/ 342155 w 729419"/>
              <a:gd name="csY169" fmla="*/ 2046441 h 2076207"/>
              <a:gd name="csX170" fmla="*/ 378900 w 729419"/>
              <a:gd name="csY170" fmla="*/ 2007280 h 2076207"/>
              <a:gd name="csX171" fmla="*/ 310220 w 729419"/>
              <a:gd name="csY171" fmla="*/ 554288 h 2076207"/>
              <a:gd name="csX172" fmla="*/ 259136 w 729419"/>
              <a:gd name="csY172" fmla="*/ 556881 h 2076207"/>
              <a:gd name="csX173" fmla="*/ 249085 w 729419"/>
              <a:gd name="csY173" fmla="*/ 567981 h 2076207"/>
              <a:gd name="csX174" fmla="*/ 249141 w 729419"/>
              <a:gd name="csY174" fmla="*/ 605644 h 2076207"/>
              <a:gd name="csX175" fmla="*/ 262628 w 729419"/>
              <a:gd name="csY175" fmla="*/ 605627 h 2076207"/>
              <a:gd name="csX176" fmla="*/ 369608 w 729419"/>
              <a:gd name="csY176" fmla="*/ 603027 h 2076207"/>
              <a:gd name="csX177" fmla="*/ 463931 w 729419"/>
              <a:gd name="csY177" fmla="*/ 605146 h 2076207"/>
              <a:gd name="csX178" fmla="*/ 478113 w 729419"/>
              <a:gd name="csY178" fmla="*/ 595843 h 2076207"/>
              <a:gd name="csX179" fmla="*/ 478796 w 729419"/>
              <a:gd name="csY179" fmla="*/ 556832 h 2076207"/>
              <a:gd name="csX180" fmla="*/ 310220 w 729419"/>
              <a:gd name="csY180" fmla="*/ 554288 h 2076207"/>
              <a:gd name="csX181" fmla="*/ 348836 w 729419"/>
              <a:gd name="csY181" fmla="*/ 684115 h 2076207"/>
              <a:gd name="csX182" fmla="*/ 281333 w 729419"/>
              <a:gd name="csY182" fmla="*/ 683313 h 2076207"/>
              <a:gd name="csX183" fmla="*/ 212728 w 729419"/>
              <a:gd name="csY183" fmla="*/ 681931 h 2076207"/>
              <a:gd name="csX184" fmla="*/ 187283 w 729419"/>
              <a:gd name="csY184" fmla="*/ 689555 h 2076207"/>
              <a:gd name="csX185" fmla="*/ 186163 w 729419"/>
              <a:gd name="csY185" fmla="*/ 718266 h 2076207"/>
              <a:gd name="csX186" fmla="*/ 209894 w 729419"/>
              <a:gd name="csY186" fmla="*/ 726798 h 2076207"/>
              <a:gd name="csX187" fmla="*/ 334814 w 729419"/>
              <a:gd name="csY187" fmla="*/ 732494 h 2076207"/>
              <a:gd name="csX188" fmla="*/ 364856 w 729419"/>
              <a:gd name="csY188" fmla="*/ 707963 h 2076207"/>
              <a:gd name="csX189" fmla="*/ 348836 w 729419"/>
              <a:gd name="csY189" fmla="*/ 684115 h 2076207"/>
              <a:gd name="csX190" fmla="*/ 298865 w 729419"/>
              <a:gd name="csY190" fmla="*/ 621954 h 2076207"/>
              <a:gd name="csX191" fmla="*/ 251619 w 729419"/>
              <a:gd name="csY191" fmla="*/ 622133 h 2076207"/>
              <a:gd name="csX192" fmla="*/ 214459 w 729419"/>
              <a:gd name="csY192" fmla="*/ 636230 h 2076207"/>
              <a:gd name="csX193" fmla="*/ 221436 w 729419"/>
              <a:gd name="csY193" fmla="*/ 654205 h 2076207"/>
              <a:gd name="csX194" fmla="*/ 272412 w 729419"/>
              <a:gd name="csY194" fmla="*/ 657250 h 2076207"/>
              <a:gd name="csX195" fmla="*/ 349094 w 729419"/>
              <a:gd name="csY195" fmla="*/ 659282 h 2076207"/>
              <a:gd name="csX196" fmla="*/ 362996 w 729419"/>
              <a:gd name="csY196" fmla="*/ 644234 h 2076207"/>
              <a:gd name="csX197" fmla="*/ 348472 w 729419"/>
              <a:gd name="csY197" fmla="*/ 624649 h 2076207"/>
              <a:gd name="csX198" fmla="*/ 298865 w 729419"/>
              <a:gd name="csY198" fmla="*/ 621954 h 2076207"/>
              <a:gd name="csX199" fmla="*/ 227796 w 729419"/>
              <a:gd name="csY199" fmla="*/ 528000 h 2076207"/>
              <a:gd name="csX200" fmla="*/ 241009 w 729419"/>
              <a:gd name="csY200" fmla="*/ 545897 h 2076207"/>
              <a:gd name="csX201" fmla="*/ 282607 w 729419"/>
              <a:gd name="csY201" fmla="*/ 543480 h 2076207"/>
              <a:gd name="csX202" fmla="*/ 354213 w 729419"/>
              <a:gd name="csY202" fmla="*/ 543384 h 2076207"/>
              <a:gd name="csX203" fmla="*/ 365334 w 729419"/>
              <a:gd name="csY203" fmla="*/ 533397 h 2076207"/>
              <a:gd name="csX204" fmla="*/ 354531 w 729419"/>
              <a:gd name="csY204" fmla="*/ 521620 h 2076207"/>
              <a:gd name="csX205" fmla="*/ 259169 w 729419"/>
              <a:gd name="csY205" fmla="*/ 521978 h 2076207"/>
              <a:gd name="csX206" fmla="*/ 227796 w 729419"/>
              <a:gd name="csY206" fmla="*/ 528000 h 2076207"/>
              <a:gd name="csX207" fmla="*/ 508068 w 729419"/>
              <a:gd name="csY207" fmla="*/ 190710 h 2076207"/>
              <a:gd name="csX208" fmla="*/ 521293 w 729419"/>
              <a:gd name="csY208" fmla="*/ 205907 h 2076207"/>
              <a:gd name="csX209" fmla="*/ 525175 w 729419"/>
              <a:gd name="csY209" fmla="*/ 202985 h 2076207"/>
              <a:gd name="csX210" fmla="*/ 500276 w 729419"/>
              <a:gd name="csY210" fmla="*/ 160640 h 2076207"/>
              <a:gd name="csX211" fmla="*/ 497122 w 729419"/>
              <a:gd name="csY211" fmla="*/ 162007 h 2076207"/>
              <a:gd name="csX212" fmla="*/ 508068 w 729419"/>
              <a:gd name="csY212" fmla="*/ 190710 h 2076207"/>
              <a:gd name="csX213" fmla="*/ 215522 w 729419"/>
              <a:gd name="csY213" fmla="*/ 197296 h 2076207"/>
              <a:gd name="csX214" fmla="*/ 234029 w 729419"/>
              <a:gd name="csY214" fmla="*/ 162725 h 2076207"/>
              <a:gd name="csX215" fmla="*/ 229000 w 729419"/>
              <a:gd name="csY215" fmla="*/ 159902 h 2076207"/>
              <a:gd name="csX216" fmla="*/ 204824 w 729419"/>
              <a:gd name="csY216" fmla="*/ 199677 h 2076207"/>
              <a:gd name="csX217" fmla="*/ 207990 w 729419"/>
              <a:gd name="csY217" fmla="*/ 202198 h 2076207"/>
              <a:gd name="csX218" fmla="*/ 215522 w 729419"/>
              <a:gd name="csY218" fmla="*/ 197296 h 2076207"/>
              <a:gd name="csX219" fmla="*/ 484400 w 729419"/>
              <a:gd name="csY219" fmla="*/ 863693 h 2076207"/>
              <a:gd name="csX220" fmla="*/ 484400 w 729419"/>
              <a:gd name="csY220" fmla="*/ 896678 h 2076207"/>
              <a:gd name="csX221" fmla="*/ 486181 w 729419"/>
              <a:gd name="csY221" fmla="*/ 896585 h 2076207"/>
              <a:gd name="csX222" fmla="*/ 486181 w 729419"/>
              <a:gd name="csY222" fmla="*/ 795289 h 2076207"/>
              <a:gd name="csX223" fmla="*/ 720241 w 729419"/>
              <a:gd name="csY223" fmla="*/ 2030666 h 2076207"/>
              <a:gd name="csX224" fmla="*/ 721175 w 729419"/>
              <a:gd name="csY224" fmla="*/ 2029733 h 2076207"/>
              <a:gd name="csX225" fmla="*/ 720241 w 729419"/>
              <a:gd name="csY225" fmla="*/ 2030666 h 2076207"/>
              <a:gd name="csX226" fmla="*/ 715702 w 729419"/>
              <a:gd name="csY226" fmla="*/ 2037051 h 2076207"/>
              <a:gd name="csX227" fmla="*/ 715702 w 729419"/>
              <a:gd name="csY227" fmla="*/ 2037051 h 2076207"/>
              <a:gd name="csX228" fmla="*/ 709953 w 729419"/>
              <a:gd name="csY228" fmla="*/ 2040017 h 2076207"/>
              <a:gd name="csX229" fmla="*/ 710209 w 729419"/>
              <a:gd name="csY229" fmla="*/ 2039597 h 2076207"/>
              <a:gd name="csX230" fmla="*/ 709953 w 729419"/>
              <a:gd name="csY230" fmla="*/ 2040017 h 2076207"/>
              <a:gd name="csX0" fmla="*/ 96263 w 729419"/>
              <a:gd name="csY0" fmla="*/ 2076207 h 2076207"/>
              <a:gd name="csX1" fmla="*/ 63862 w 729419"/>
              <a:gd name="csY1" fmla="*/ 2065388 h 2076207"/>
              <a:gd name="csX2" fmla="*/ 16555 w 729419"/>
              <a:gd name="csY2" fmla="*/ 2050152 h 2076207"/>
              <a:gd name="csX3" fmla="*/ 15 w 729419"/>
              <a:gd name="csY3" fmla="*/ 2023802 h 2076207"/>
              <a:gd name="csX4" fmla="*/ 18368 w 729419"/>
              <a:gd name="csY4" fmla="*/ 1940709 h 2076207"/>
              <a:gd name="csX5" fmla="*/ 22139 w 729419"/>
              <a:gd name="csY5" fmla="*/ 1907268 h 2076207"/>
              <a:gd name="csX6" fmla="*/ 57941 w 729419"/>
              <a:gd name="csY6" fmla="*/ 1774163 h 2076207"/>
              <a:gd name="csX7" fmla="*/ 102478 w 729419"/>
              <a:gd name="csY7" fmla="*/ 1720275 h 2076207"/>
              <a:gd name="csX8" fmla="*/ 108579 w 729419"/>
              <a:gd name="csY8" fmla="*/ 1650967 h 2076207"/>
              <a:gd name="csX9" fmla="*/ 115628 w 729419"/>
              <a:gd name="csY9" fmla="*/ 1625405 h 2076207"/>
              <a:gd name="csX10" fmla="*/ 156323 w 729419"/>
              <a:gd name="csY10" fmla="*/ 1560181 h 2076207"/>
              <a:gd name="csX11" fmla="*/ 199424 w 729419"/>
              <a:gd name="csY11" fmla="*/ 1364729 h 2076207"/>
              <a:gd name="csX12" fmla="*/ 216779 w 729419"/>
              <a:gd name="csY12" fmla="*/ 1219490 h 2076207"/>
              <a:gd name="csX13" fmla="*/ 229755 w 729419"/>
              <a:gd name="csY13" fmla="*/ 1099357 h 2076207"/>
              <a:gd name="csX14" fmla="*/ 232707 w 729419"/>
              <a:gd name="csY14" fmla="*/ 1056423 h 2076207"/>
              <a:gd name="csX15" fmla="*/ 235622 w 729419"/>
              <a:gd name="csY15" fmla="*/ 952675 h 2076207"/>
              <a:gd name="csX16" fmla="*/ 235445 w 729419"/>
              <a:gd name="csY16" fmla="*/ 780278 h 2076207"/>
              <a:gd name="csX17" fmla="*/ 214544 w 729419"/>
              <a:gd name="csY17" fmla="*/ 756435 h 2076207"/>
              <a:gd name="csX18" fmla="*/ 172569 w 729419"/>
              <a:gd name="csY18" fmla="*/ 742582 h 2076207"/>
              <a:gd name="csX19" fmla="*/ 168784 w 729419"/>
              <a:gd name="csY19" fmla="*/ 669116 h 2076207"/>
              <a:gd name="csX20" fmla="*/ 191657 w 729419"/>
              <a:gd name="csY20" fmla="*/ 630765 h 2076207"/>
              <a:gd name="csX21" fmla="*/ 208150 w 729419"/>
              <a:gd name="csY21" fmla="*/ 609084 h 2076207"/>
              <a:gd name="csX22" fmla="*/ 216756 w 729419"/>
              <a:gd name="csY22" fmla="*/ 558673 h 2076207"/>
              <a:gd name="csX23" fmla="*/ 209092 w 729419"/>
              <a:gd name="csY23" fmla="*/ 521540 h 2076207"/>
              <a:gd name="csX24" fmla="*/ 204683 w 729419"/>
              <a:gd name="csY24" fmla="*/ 474024 h 2076207"/>
              <a:gd name="csX25" fmla="*/ 115483 w 729419"/>
              <a:gd name="csY25" fmla="*/ 213499 h 2076207"/>
              <a:gd name="csX26" fmla="*/ 102909 w 729419"/>
              <a:gd name="csY26" fmla="*/ 182297 h 2076207"/>
              <a:gd name="csX27" fmla="*/ 104315 w 729419"/>
              <a:gd name="csY27" fmla="*/ 163968 h 2076207"/>
              <a:gd name="csX28" fmla="*/ 122444 w 729419"/>
              <a:gd name="csY28" fmla="*/ 160805 h 2076207"/>
              <a:gd name="csX29" fmla="*/ 170283 w 729419"/>
              <a:gd name="csY29" fmla="*/ 187783 h 2076207"/>
              <a:gd name="csX30" fmla="*/ 180938 w 729419"/>
              <a:gd name="csY30" fmla="*/ 195322 h 2076207"/>
              <a:gd name="csX31" fmla="*/ 221419 w 729419"/>
              <a:gd name="csY31" fmla="*/ 138058 h 2076207"/>
              <a:gd name="csX32" fmla="*/ 294099 w 729419"/>
              <a:gd name="csY32" fmla="*/ 91372 h 2076207"/>
              <a:gd name="csX33" fmla="*/ 302307 w 729419"/>
              <a:gd name="csY33" fmla="*/ 76560 h 2076207"/>
              <a:gd name="csX34" fmla="*/ 320284 w 729419"/>
              <a:gd name="csY34" fmla="*/ 8414 h 2076207"/>
              <a:gd name="csX35" fmla="*/ 324784 w 729419"/>
              <a:gd name="csY35" fmla="*/ 946 h 2076207"/>
              <a:gd name="csX36" fmla="*/ 399212 w 729419"/>
              <a:gd name="csY36" fmla="*/ 0 h 2076207"/>
              <a:gd name="csX37" fmla="*/ 425980 w 729419"/>
              <a:gd name="csY37" fmla="*/ 78301 h 2076207"/>
              <a:gd name="csX38" fmla="*/ 431861 w 729419"/>
              <a:gd name="csY38" fmla="*/ 90312 h 2076207"/>
              <a:gd name="csX39" fmla="*/ 540349 w 729419"/>
              <a:gd name="csY39" fmla="*/ 187946 h 2076207"/>
              <a:gd name="csX40" fmla="*/ 545555 w 729419"/>
              <a:gd name="csY40" fmla="*/ 197828 h 2076207"/>
              <a:gd name="csX41" fmla="*/ 587318 w 729419"/>
              <a:gd name="csY41" fmla="*/ 171260 h 2076207"/>
              <a:gd name="csX42" fmla="*/ 601503 w 729419"/>
              <a:gd name="csY42" fmla="*/ 163707 h 2076207"/>
              <a:gd name="csX43" fmla="*/ 625254 w 729419"/>
              <a:gd name="csY43" fmla="*/ 163123 h 2076207"/>
              <a:gd name="csX44" fmla="*/ 625468 w 729419"/>
              <a:gd name="csY44" fmla="*/ 187579 h 2076207"/>
              <a:gd name="csX45" fmla="*/ 597543 w 729419"/>
              <a:gd name="csY45" fmla="*/ 251872 h 2076207"/>
              <a:gd name="csX46" fmla="*/ 531831 w 729419"/>
              <a:gd name="csY46" fmla="*/ 442689 h 2076207"/>
              <a:gd name="csX47" fmla="*/ 519888 w 729419"/>
              <a:gd name="csY47" fmla="*/ 501474 h 2076207"/>
              <a:gd name="csX48" fmla="*/ 522506 w 729419"/>
              <a:gd name="csY48" fmla="*/ 525086 h 2076207"/>
              <a:gd name="csX49" fmla="*/ 516235 w 729419"/>
              <a:gd name="csY49" fmla="*/ 555946 h 2076207"/>
              <a:gd name="csX50" fmla="*/ 521332 w 729419"/>
              <a:gd name="csY50" fmla="*/ 610676 h 2076207"/>
              <a:gd name="csX51" fmla="*/ 541382 w 729419"/>
              <a:gd name="csY51" fmla="*/ 642597 h 2076207"/>
              <a:gd name="csX52" fmla="*/ 557031 w 729419"/>
              <a:gd name="csY52" fmla="*/ 667949 h 2076207"/>
              <a:gd name="csX53" fmla="*/ 553994 w 729419"/>
              <a:gd name="csY53" fmla="*/ 744146 h 2076207"/>
              <a:gd name="csX54" fmla="*/ 508215 w 729419"/>
              <a:gd name="csY54" fmla="*/ 758841 h 2076207"/>
              <a:gd name="csX55" fmla="*/ 497442 w 729419"/>
              <a:gd name="csY55" fmla="*/ 771256 h 2076207"/>
              <a:gd name="csX56" fmla="*/ 493005 w 729419"/>
              <a:gd name="csY56" fmla="*/ 922055 h 2076207"/>
              <a:gd name="csX57" fmla="*/ 502900 w 729419"/>
              <a:gd name="csY57" fmla="*/ 1114191 h 2076207"/>
              <a:gd name="csX58" fmla="*/ 508800 w 729419"/>
              <a:gd name="csY58" fmla="*/ 1205474 h 2076207"/>
              <a:gd name="csX59" fmla="*/ 522952 w 729419"/>
              <a:gd name="csY59" fmla="*/ 1320065 h 2076207"/>
              <a:gd name="csX60" fmla="*/ 554682 w 729419"/>
              <a:gd name="csY60" fmla="*/ 1501203 h 2076207"/>
              <a:gd name="csX61" fmla="*/ 576958 w 729419"/>
              <a:gd name="csY61" fmla="*/ 1593963 h 2076207"/>
              <a:gd name="csX62" fmla="*/ 595349 w 729419"/>
              <a:gd name="csY62" fmla="*/ 1613498 h 2076207"/>
              <a:gd name="csX63" fmla="*/ 613936 w 729419"/>
              <a:gd name="csY63" fmla="*/ 1624058 h 2076207"/>
              <a:gd name="csX64" fmla="*/ 620938 w 729419"/>
              <a:gd name="csY64" fmla="*/ 1652071 h 2076207"/>
              <a:gd name="csX65" fmla="*/ 630805 w 729419"/>
              <a:gd name="csY65" fmla="*/ 1721702 h 2076207"/>
              <a:gd name="csX66" fmla="*/ 685830 w 729419"/>
              <a:gd name="csY66" fmla="*/ 1792915 h 2076207"/>
              <a:gd name="csX67" fmla="*/ 708904 w 729419"/>
              <a:gd name="csY67" fmla="*/ 1890290 h 2076207"/>
              <a:gd name="csX68" fmla="*/ 716580 w 729419"/>
              <a:gd name="csY68" fmla="*/ 1951136 h 2076207"/>
              <a:gd name="csX69" fmla="*/ 729397 w 729419"/>
              <a:gd name="csY69" fmla="*/ 2030261 h 2076207"/>
              <a:gd name="csX70" fmla="*/ 714212 w 729419"/>
              <a:gd name="csY70" fmla="*/ 2049544 h 2076207"/>
              <a:gd name="csX71" fmla="*/ 645428 w 729419"/>
              <a:gd name="csY71" fmla="*/ 2070825 h 2076207"/>
              <a:gd name="csX72" fmla="*/ 635822 w 729419"/>
              <a:gd name="csY72" fmla="*/ 2075145 h 2076207"/>
              <a:gd name="csX73" fmla="*/ 588428 w 729419"/>
              <a:gd name="csY73" fmla="*/ 2075144 h 2076207"/>
              <a:gd name="csX74" fmla="*/ 590041 w 729419"/>
              <a:gd name="csY74" fmla="*/ 2071383 h 2076207"/>
              <a:gd name="csX75" fmla="*/ 667788 w 729419"/>
              <a:gd name="csY75" fmla="*/ 2056852 h 2076207"/>
              <a:gd name="csX76" fmla="*/ 706629 w 729419"/>
              <a:gd name="csY76" fmla="*/ 2044290 h 2076207"/>
              <a:gd name="csX77" fmla="*/ 702674 w 729419"/>
              <a:gd name="csY77" fmla="*/ 2041581 h 2076207"/>
              <a:gd name="csX78" fmla="*/ 544974 w 729419"/>
              <a:gd name="csY78" fmla="*/ 2071274 h 2076207"/>
              <a:gd name="csX79" fmla="*/ 538352 w 729419"/>
              <a:gd name="csY79" fmla="*/ 2076207 h 2076207"/>
              <a:gd name="csX80" fmla="*/ 96263 w 729419"/>
              <a:gd name="csY80" fmla="*/ 2076207 h 2076207"/>
              <a:gd name="csX81" fmla="*/ 489970 w 729419"/>
              <a:gd name="csY81" fmla="*/ 152208 h 2076207"/>
              <a:gd name="csX82" fmla="*/ 490754 w 729419"/>
              <a:gd name="csY82" fmla="*/ 152592 h 2076207"/>
              <a:gd name="csX83" fmla="*/ 489489 w 729419"/>
              <a:gd name="csY83" fmla="*/ 149547 h 2076207"/>
              <a:gd name="csX84" fmla="*/ 393621 w 729419"/>
              <a:gd name="csY84" fmla="*/ 99259 h 2076207"/>
              <a:gd name="csX85" fmla="*/ 390419 w 729419"/>
              <a:gd name="csY85" fmla="*/ 18568 h 2076207"/>
              <a:gd name="csX86" fmla="*/ 334131 w 729419"/>
              <a:gd name="csY86" fmla="*/ 24327 h 2076207"/>
              <a:gd name="csX87" fmla="*/ 344678 w 729419"/>
              <a:gd name="csY87" fmla="*/ 101259 h 2076207"/>
              <a:gd name="csX88" fmla="*/ 298854 w 729419"/>
              <a:gd name="csY88" fmla="*/ 114003 h 2076207"/>
              <a:gd name="csX89" fmla="*/ 237456 w 729419"/>
              <a:gd name="csY89" fmla="*/ 154340 h 2076207"/>
              <a:gd name="csX90" fmla="*/ 240382 w 729419"/>
              <a:gd name="csY90" fmla="*/ 154035 h 2076207"/>
              <a:gd name="csX91" fmla="*/ 262731 w 729419"/>
              <a:gd name="csY91" fmla="*/ 170426 h 2076207"/>
              <a:gd name="csX92" fmla="*/ 279169 w 729419"/>
              <a:gd name="csY92" fmla="*/ 193173 h 2076207"/>
              <a:gd name="csX93" fmla="*/ 327717 w 729419"/>
              <a:gd name="csY93" fmla="*/ 188556 h 2076207"/>
              <a:gd name="csX94" fmla="*/ 348052 w 729419"/>
              <a:gd name="csY94" fmla="*/ 156919 h 2076207"/>
              <a:gd name="csX95" fmla="*/ 380330 w 729419"/>
              <a:gd name="csY95" fmla="*/ 156483 h 2076207"/>
              <a:gd name="csX96" fmla="*/ 408490 w 729419"/>
              <a:gd name="csY96" fmla="*/ 195400 h 2076207"/>
              <a:gd name="csX97" fmla="*/ 445346 w 729419"/>
              <a:gd name="csY97" fmla="*/ 197582 h 2076207"/>
              <a:gd name="csX98" fmla="*/ 464798 w 729419"/>
              <a:gd name="csY98" fmla="*/ 174107 h 2076207"/>
              <a:gd name="csX99" fmla="*/ 489970 w 729419"/>
              <a:gd name="csY99" fmla="*/ 152208 h 2076207"/>
              <a:gd name="csX100" fmla="*/ 140694 w 729419"/>
              <a:gd name="csY100" fmla="*/ 201837 h 2076207"/>
              <a:gd name="csX101" fmla="*/ 139834 w 729419"/>
              <a:gd name="csY101" fmla="*/ 201482 h 2076207"/>
              <a:gd name="csX102" fmla="*/ 140812 w 729419"/>
              <a:gd name="csY102" fmla="*/ 204941 h 2076207"/>
              <a:gd name="csX103" fmla="*/ 144631 w 729419"/>
              <a:gd name="csY103" fmla="*/ 217811 h 2076207"/>
              <a:gd name="csX104" fmla="*/ 201241 w 729419"/>
              <a:gd name="csY104" fmla="*/ 373387 h 2076207"/>
              <a:gd name="csX105" fmla="*/ 235971 w 729419"/>
              <a:gd name="csY105" fmla="*/ 504451 h 2076207"/>
              <a:gd name="csX106" fmla="*/ 247475 w 729419"/>
              <a:gd name="csY106" fmla="*/ 513241 h 2076207"/>
              <a:gd name="csX107" fmla="*/ 289066 w 729419"/>
              <a:gd name="csY107" fmla="*/ 511170 h 2076207"/>
              <a:gd name="csX108" fmla="*/ 378229 w 729419"/>
              <a:gd name="csY108" fmla="*/ 511084 h 2076207"/>
              <a:gd name="csX109" fmla="*/ 470850 w 729419"/>
              <a:gd name="csY109" fmla="*/ 516341 h 2076207"/>
              <a:gd name="csX110" fmla="*/ 492933 w 729419"/>
              <a:gd name="csY110" fmla="*/ 497969 h 2076207"/>
              <a:gd name="csX111" fmla="*/ 557617 w 729419"/>
              <a:gd name="csY111" fmla="*/ 280398 h 2076207"/>
              <a:gd name="csX112" fmla="*/ 588788 w 729419"/>
              <a:gd name="csY112" fmla="*/ 200385 h 2076207"/>
              <a:gd name="csX113" fmla="*/ 530958 w 729419"/>
              <a:gd name="csY113" fmla="*/ 232968 h 2076207"/>
              <a:gd name="csX114" fmla="*/ 483823 w 729419"/>
              <a:gd name="csY114" fmla="*/ 190364 h 2076207"/>
              <a:gd name="csX115" fmla="*/ 466649 w 729419"/>
              <a:gd name="csY115" fmla="*/ 209061 h 2076207"/>
              <a:gd name="csX116" fmla="*/ 399941 w 729419"/>
              <a:gd name="csY116" fmla="*/ 216988 h 2076207"/>
              <a:gd name="csX117" fmla="*/ 363018 w 729419"/>
              <a:gd name="csY117" fmla="*/ 179615 h 2076207"/>
              <a:gd name="csX118" fmla="*/ 308839 w 729419"/>
              <a:gd name="csY118" fmla="*/ 227846 h 2076207"/>
              <a:gd name="csX119" fmla="*/ 245077 w 729419"/>
              <a:gd name="csY119" fmla="*/ 192402 h 2076207"/>
              <a:gd name="csX120" fmla="*/ 242829 w 729419"/>
              <a:gd name="csY120" fmla="*/ 198815 h 2076207"/>
              <a:gd name="csX121" fmla="*/ 168452 w 729419"/>
              <a:gd name="csY121" fmla="*/ 219348 h 2076207"/>
              <a:gd name="csX122" fmla="*/ 140694 w 729419"/>
              <a:gd name="csY122" fmla="*/ 201837 h 2076207"/>
              <a:gd name="csX123" fmla="*/ 259999 w 729419"/>
              <a:gd name="csY123" fmla="*/ 966699 h 2076207"/>
              <a:gd name="csX124" fmla="*/ 257072 w 729419"/>
              <a:gd name="csY124" fmla="*/ 1070424 h 2076207"/>
              <a:gd name="csX125" fmla="*/ 251372 w 729419"/>
              <a:gd name="csY125" fmla="*/ 1157618 h 2076207"/>
              <a:gd name="csX126" fmla="*/ 232677 w 729419"/>
              <a:gd name="csY126" fmla="*/ 1320279 h 2076207"/>
              <a:gd name="csX127" fmla="*/ 209182 w 729419"/>
              <a:gd name="csY127" fmla="*/ 1468667 h 2076207"/>
              <a:gd name="csX128" fmla="*/ 175302 w 729419"/>
              <a:gd name="csY128" fmla="*/ 1616623 h 2076207"/>
              <a:gd name="csX129" fmla="*/ 182769 w 729419"/>
              <a:gd name="csY129" fmla="*/ 1629786 h 2076207"/>
              <a:gd name="csX130" fmla="*/ 212156 w 729419"/>
              <a:gd name="csY130" fmla="*/ 1632656 h 2076207"/>
              <a:gd name="csX131" fmla="*/ 351295 w 729419"/>
              <a:gd name="csY131" fmla="*/ 1632801 h 2076207"/>
              <a:gd name="csX132" fmla="*/ 376150 w 729419"/>
              <a:gd name="csY132" fmla="*/ 1608307 h 2076207"/>
              <a:gd name="csX133" fmla="*/ 373450 w 729419"/>
              <a:gd name="csY133" fmla="*/ 1457291 h 2076207"/>
              <a:gd name="csX134" fmla="*/ 370936 w 729419"/>
              <a:gd name="csY134" fmla="*/ 1342736 h 2076207"/>
              <a:gd name="csX135" fmla="*/ 368328 w 729419"/>
              <a:gd name="csY135" fmla="*/ 1203878 h 2076207"/>
              <a:gd name="csX136" fmla="*/ 367836 w 729419"/>
              <a:gd name="csY136" fmla="*/ 813478 h 2076207"/>
              <a:gd name="csX137" fmla="*/ 365240 w 729419"/>
              <a:gd name="csY137" fmla="*/ 773243 h 2076207"/>
              <a:gd name="csX138" fmla="*/ 353084 w 729419"/>
              <a:gd name="csY138" fmla="*/ 762083 h 2076207"/>
              <a:gd name="csX139" fmla="*/ 280966 w 729419"/>
              <a:gd name="csY139" fmla="*/ 759855 h 2076207"/>
              <a:gd name="csX140" fmla="*/ 259965 w 729419"/>
              <a:gd name="csY140" fmla="*/ 779553 h 2076207"/>
              <a:gd name="csX141" fmla="*/ 262341 w 729419"/>
              <a:gd name="csY141" fmla="*/ 856275 h 2076207"/>
              <a:gd name="csX142" fmla="*/ 259999 w 729419"/>
              <a:gd name="csY142" fmla="*/ 966699 h 2076207"/>
              <a:gd name="csX143" fmla="*/ 55556 w 729419"/>
              <a:gd name="csY143" fmla="*/ 1835827 h 2076207"/>
              <a:gd name="csX144" fmla="*/ 49393 w 729419"/>
              <a:gd name="csY144" fmla="*/ 1878155 h 2076207"/>
              <a:gd name="csX145" fmla="*/ 73949 w 729419"/>
              <a:gd name="csY145" fmla="*/ 1905781 h 2076207"/>
              <a:gd name="csX146" fmla="*/ 110073 w 729419"/>
              <a:gd name="csY146" fmla="*/ 1909068 h 2076207"/>
              <a:gd name="csX147" fmla="*/ 224745 w 729419"/>
              <a:gd name="csY147" fmla="*/ 1921652 h 2076207"/>
              <a:gd name="csX148" fmla="*/ 347327 w 729419"/>
              <a:gd name="csY148" fmla="*/ 1924778 h 2076207"/>
              <a:gd name="csX149" fmla="*/ 363345 w 729419"/>
              <a:gd name="csY149" fmla="*/ 1923293 h 2076207"/>
              <a:gd name="csX150" fmla="*/ 373787 w 729419"/>
              <a:gd name="csY150" fmla="*/ 1911200 h 2076207"/>
              <a:gd name="csX151" fmla="*/ 376623 w 729419"/>
              <a:gd name="csY151" fmla="*/ 1696741 h 2076207"/>
              <a:gd name="csX152" fmla="*/ 360437 w 729419"/>
              <a:gd name="csY152" fmla="*/ 1681289 h 2076207"/>
              <a:gd name="csX153" fmla="*/ 263503 w 729419"/>
              <a:gd name="csY153" fmla="*/ 1678179 h 2076207"/>
              <a:gd name="csX154" fmla="*/ 160381 w 729419"/>
              <a:gd name="csY154" fmla="*/ 1670405 h 2076207"/>
              <a:gd name="csX155" fmla="*/ 143321 w 729419"/>
              <a:gd name="csY155" fmla="*/ 1685538 h 2076207"/>
              <a:gd name="csX156" fmla="*/ 124769 w 729419"/>
              <a:gd name="csY156" fmla="*/ 1738195 h 2076207"/>
              <a:gd name="csX157" fmla="*/ 90593 w 729419"/>
              <a:gd name="csY157" fmla="*/ 1779570 h 2076207"/>
              <a:gd name="csX158" fmla="*/ 55556 w 729419"/>
              <a:gd name="csY158" fmla="*/ 1835827 h 2076207"/>
              <a:gd name="csX159" fmla="*/ 378900 w 729419"/>
              <a:gd name="csY159" fmla="*/ 2007280 h 2076207"/>
              <a:gd name="csX160" fmla="*/ 378887 w 729419"/>
              <a:gd name="csY160" fmla="*/ 1995127 h 2076207"/>
              <a:gd name="csX161" fmla="*/ 359084 w 729419"/>
              <a:gd name="csY161" fmla="*/ 1975964 h 2076207"/>
              <a:gd name="csX162" fmla="*/ 247288 w 729419"/>
              <a:gd name="csY162" fmla="*/ 1973305 h 2076207"/>
              <a:gd name="csX163" fmla="*/ 201692 w 729419"/>
              <a:gd name="csY163" fmla="*/ 1970275 h 2076207"/>
              <a:gd name="csX164" fmla="*/ 57962 w 729419"/>
              <a:gd name="csY164" fmla="*/ 1952648 h 2076207"/>
              <a:gd name="csX165" fmla="*/ 39194 w 729419"/>
              <a:gd name="csY165" fmla="*/ 1963552 h 2076207"/>
              <a:gd name="csX166" fmla="*/ 30066 w 729419"/>
              <a:gd name="csY166" fmla="*/ 2006631 h 2076207"/>
              <a:gd name="csX167" fmla="*/ 40232 w 729419"/>
              <a:gd name="csY167" fmla="*/ 2019486 h 2076207"/>
              <a:gd name="csX168" fmla="*/ 238186 w 729419"/>
              <a:gd name="csY168" fmla="*/ 2046096 h 2076207"/>
              <a:gd name="csX169" fmla="*/ 342155 w 729419"/>
              <a:gd name="csY169" fmla="*/ 2046441 h 2076207"/>
              <a:gd name="csX170" fmla="*/ 378900 w 729419"/>
              <a:gd name="csY170" fmla="*/ 2007280 h 2076207"/>
              <a:gd name="csX171" fmla="*/ 310220 w 729419"/>
              <a:gd name="csY171" fmla="*/ 554288 h 2076207"/>
              <a:gd name="csX172" fmla="*/ 259136 w 729419"/>
              <a:gd name="csY172" fmla="*/ 556881 h 2076207"/>
              <a:gd name="csX173" fmla="*/ 249085 w 729419"/>
              <a:gd name="csY173" fmla="*/ 567981 h 2076207"/>
              <a:gd name="csX174" fmla="*/ 249141 w 729419"/>
              <a:gd name="csY174" fmla="*/ 605644 h 2076207"/>
              <a:gd name="csX175" fmla="*/ 262628 w 729419"/>
              <a:gd name="csY175" fmla="*/ 605627 h 2076207"/>
              <a:gd name="csX176" fmla="*/ 369608 w 729419"/>
              <a:gd name="csY176" fmla="*/ 603027 h 2076207"/>
              <a:gd name="csX177" fmla="*/ 463931 w 729419"/>
              <a:gd name="csY177" fmla="*/ 605146 h 2076207"/>
              <a:gd name="csX178" fmla="*/ 478113 w 729419"/>
              <a:gd name="csY178" fmla="*/ 595843 h 2076207"/>
              <a:gd name="csX179" fmla="*/ 478796 w 729419"/>
              <a:gd name="csY179" fmla="*/ 556832 h 2076207"/>
              <a:gd name="csX180" fmla="*/ 310220 w 729419"/>
              <a:gd name="csY180" fmla="*/ 554288 h 2076207"/>
              <a:gd name="csX181" fmla="*/ 348836 w 729419"/>
              <a:gd name="csY181" fmla="*/ 684115 h 2076207"/>
              <a:gd name="csX182" fmla="*/ 281333 w 729419"/>
              <a:gd name="csY182" fmla="*/ 683313 h 2076207"/>
              <a:gd name="csX183" fmla="*/ 212728 w 729419"/>
              <a:gd name="csY183" fmla="*/ 681931 h 2076207"/>
              <a:gd name="csX184" fmla="*/ 187283 w 729419"/>
              <a:gd name="csY184" fmla="*/ 689555 h 2076207"/>
              <a:gd name="csX185" fmla="*/ 186163 w 729419"/>
              <a:gd name="csY185" fmla="*/ 718266 h 2076207"/>
              <a:gd name="csX186" fmla="*/ 209894 w 729419"/>
              <a:gd name="csY186" fmla="*/ 726798 h 2076207"/>
              <a:gd name="csX187" fmla="*/ 334814 w 729419"/>
              <a:gd name="csY187" fmla="*/ 732494 h 2076207"/>
              <a:gd name="csX188" fmla="*/ 364856 w 729419"/>
              <a:gd name="csY188" fmla="*/ 707963 h 2076207"/>
              <a:gd name="csX189" fmla="*/ 348836 w 729419"/>
              <a:gd name="csY189" fmla="*/ 684115 h 2076207"/>
              <a:gd name="csX190" fmla="*/ 298865 w 729419"/>
              <a:gd name="csY190" fmla="*/ 621954 h 2076207"/>
              <a:gd name="csX191" fmla="*/ 251619 w 729419"/>
              <a:gd name="csY191" fmla="*/ 622133 h 2076207"/>
              <a:gd name="csX192" fmla="*/ 214459 w 729419"/>
              <a:gd name="csY192" fmla="*/ 636230 h 2076207"/>
              <a:gd name="csX193" fmla="*/ 221436 w 729419"/>
              <a:gd name="csY193" fmla="*/ 654205 h 2076207"/>
              <a:gd name="csX194" fmla="*/ 272412 w 729419"/>
              <a:gd name="csY194" fmla="*/ 657250 h 2076207"/>
              <a:gd name="csX195" fmla="*/ 349094 w 729419"/>
              <a:gd name="csY195" fmla="*/ 659282 h 2076207"/>
              <a:gd name="csX196" fmla="*/ 362996 w 729419"/>
              <a:gd name="csY196" fmla="*/ 644234 h 2076207"/>
              <a:gd name="csX197" fmla="*/ 348472 w 729419"/>
              <a:gd name="csY197" fmla="*/ 624649 h 2076207"/>
              <a:gd name="csX198" fmla="*/ 298865 w 729419"/>
              <a:gd name="csY198" fmla="*/ 621954 h 2076207"/>
              <a:gd name="csX199" fmla="*/ 227796 w 729419"/>
              <a:gd name="csY199" fmla="*/ 528000 h 2076207"/>
              <a:gd name="csX200" fmla="*/ 241009 w 729419"/>
              <a:gd name="csY200" fmla="*/ 545897 h 2076207"/>
              <a:gd name="csX201" fmla="*/ 282607 w 729419"/>
              <a:gd name="csY201" fmla="*/ 543480 h 2076207"/>
              <a:gd name="csX202" fmla="*/ 354213 w 729419"/>
              <a:gd name="csY202" fmla="*/ 543384 h 2076207"/>
              <a:gd name="csX203" fmla="*/ 365334 w 729419"/>
              <a:gd name="csY203" fmla="*/ 533397 h 2076207"/>
              <a:gd name="csX204" fmla="*/ 354531 w 729419"/>
              <a:gd name="csY204" fmla="*/ 521620 h 2076207"/>
              <a:gd name="csX205" fmla="*/ 259169 w 729419"/>
              <a:gd name="csY205" fmla="*/ 521978 h 2076207"/>
              <a:gd name="csX206" fmla="*/ 227796 w 729419"/>
              <a:gd name="csY206" fmla="*/ 528000 h 2076207"/>
              <a:gd name="csX207" fmla="*/ 508068 w 729419"/>
              <a:gd name="csY207" fmla="*/ 190710 h 2076207"/>
              <a:gd name="csX208" fmla="*/ 521293 w 729419"/>
              <a:gd name="csY208" fmla="*/ 205907 h 2076207"/>
              <a:gd name="csX209" fmla="*/ 525175 w 729419"/>
              <a:gd name="csY209" fmla="*/ 202985 h 2076207"/>
              <a:gd name="csX210" fmla="*/ 500276 w 729419"/>
              <a:gd name="csY210" fmla="*/ 160640 h 2076207"/>
              <a:gd name="csX211" fmla="*/ 497122 w 729419"/>
              <a:gd name="csY211" fmla="*/ 162007 h 2076207"/>
              <a:gd name="csX212" fmla="*/ 508068 w 729419"/>
              <a:gd name="csY212" fmla="*/ 190710 h 2076207"/>
              <a:gd name="csX213" fmla="*/ 215522 w 729419"/>
              <a:gd name="csY213" fmla="*/ 197296 h 2076207"/>
              <a:gd name="csX214" fmla="*/ 234029 w 729419"/>
              <a:gd name="csY214" fmla="*/ 162725 h 2076207"/>
              <a:gd name="csX215" fmla="*/ 229000 w 729419"/>
              <a:gd name="csY215" fmla="*/ 159902 h 2076207"/>
              <a:gd name="csX216" fmla="*/ 204824 w 729419"/>
              <a:gd name="csY216" fmla="*/ 199677 h 2076207"/>
              <a:gd name="csX217" fmla="*/ 207990 w 729419"/>
              <a:gd name="csY217" fmla="*/ 202198 h 2076207"/>
              <a:gd name="csX218" fmla="*/ 215522 w 729419"/>
              <a:gd name="csY218" fmla="*/ 197296 h 2076207"/>
              <a:gd name="csX219" fmla="*/ 484400 w 729419"/>
              <a:gd name="csY219" fmla="*/ 896678 h 2076207"/>
              <a:gd name="csX220" fmla="*/ 486181 w 729419"/>
              <a:gd name="csY220" fmla="*/ 896585 h 2076207"/>
              <a:gd name="csX221" fmla="*/ 486181 w 729419"/>
              <a:gd name="csY221" fmla="*/ 795289 h 2076207"/>
              <a:gd name="csX222" fmla="*/ 720241 w 729419"/>
              <a:gd name="csY222" fmla="*/ 2030666 h 2076207"/>
              <a:gd name="csX223" fmla="*/ 721175 w 729419"/>
              <a:gd name="csY223" fmla="*/ 2029733 h 2076207"/>
              <a:gd name="csX224" fmla="*/ 720241 w 729419"/>
              <a:gd name="csY224" fmla="*/ 2030666 h 2076207"/>
              <a:gd name="csX225" fmla="*/ 715702 w 729419"/>
              <a:gd name="csY225" fmla="*/ 2037051 h 2076207"/>
              <a:gd name="csX226" fmla="*/ 715702 w 729419"/>
              <a:gd name="csY226" fmla="*/ 2037051 h 2076207"/>
              <a:gd name="csX227" fmla="*/ 709953 w 729419"/>
              <a:gd name="csY227" fmla="*/ 2040017 h 2076207"/>
              <a:gd name="csX228" fmla="*/ 710209 w 729419"/>
              <a:gd name="csY228" fmla="*/ 2039597 h 2076207"/>
              <a:gd name="csX229" fmla="*/ 709953 w 729419"/>
              <a:gd name="csY229" fmla="*/ 2040017 h 2076207"/>
              <a:gd name="csX0" fmla="*/ 96263 w 729419"/>
              <a:gd name="csY0" fmla="*/ 2076207 h 2076207"/>
              <a:gd name="csX1" fmla="*/ 63862 w 729419"/>
              <a:gd name="csY1" fmla="*/ 2065388 h 2076207"/>
              <a:gd name="csX2" fmla="*/ 16555 w 729419"/>
              <a:gd name="csY2" fmla="*/ 2050152 h 2076207"/>
              <a:gd name="csX3" fmla="*/ 15 w 729419"/>
              <a:gd name="csY3" fmla="*/ 2023802 h 2076207"/>
              <a:gd name="csX4" fmla="*/ 18368 w 729419"/>
              <a:gd name="csY4" fmla="*/ 1940709 h 2076207"/>
              <a:gd name="csX5" fmla="*/ 22139 w 729419"/>
              <a:gd name="csY5" fmla="*/ 1907268 h 2076207"/>
              <a:gd name="csX6" fmla="*/ 57941 w 729419"/>
              <a:gd name="csY6" fmla="*/ 1774163 h 2076207"/>
              <a:gd name="csX7" fmla="*/ 102478 w 729419"/>
              <a:gd name="csY7" fmla="*/ 1720275 h 2076207"/>
              <a:gd name="csX8" fmla="*/ 108579 w 729419"/>
              <a:gd name="csY8" fmla="*/ 1650967 h 2076207"/>
              <a:gd name="csX9" fmla="*/ 115628 w 729419"/>
              <a:gd name="csY9" fmla="*/ 1625405 h 2076207"/>
              <a:gd name="csX10" fmla="*/ 156323 w 729419"/>
              <a:gd name="csY10" fmla="*/ 1560181 h 2076207"/>
              <a:gd name="csX11" fmla="*/ 199424 w 729419"/>
              <a:gd name="csY11" fmla="*/ 1364729 h 2076207"/>
              <a:gd name="csX12" fmla="*/ 216779 w 729419"/>
              <a:gd name="csY12" fmla="*/ 1219490 h 2076207"/>
              <a:gd name="csX13" fmla="*/ 229755 w 729419"/>
              <a:gd name="csY13" fmla="*/ 1099357 h 2076207"/>
              <a:gd name="csX14" fmla="*/ 232707 w 729419"/>
              <a:gd name="csY14" fmla="*/ 1056423 h 2076207"/>
              <a:gd name="csX15" fmla="*/ 235622 w 729419"/>
              <a:gd name="csY15" fmla="*/ 952675 h 2076207"/>
              <a:gd name="csX16" fmla="*/ 235445 w 729419"/>
              <a:gd name="csY16" fmla="*/ 780278 h 2076207"/>
              <a:gd name="csX17" fmla="*/ 214544 w 729419"/>
              <a:gd name="csY17" fmla="*/ 756435 h 2076207"/>
              <a:gd name="csX18" fmla="*/ 172569 w 729419"/>
              <a:gd name="csY18" fmla="*/ 742582 h 2076207"/>
              <a:gd name="csX19" fmla="*/ 168784 w 729419"/>
              <a:gd name="csY19" fmla="*/ 669116 h 2076207"/>
              <a:gd name="csX20" fmla="*/ 191657 w 729419"/>
              <a:gd name="csY20" fmla="*/ 630765 h 2076207"/>
              <a:gd name="csX21" fmla="*/ 208150 w 729419"/>
              <a:gd name="csY21" fmla="*/ 609084 h 2076207"/>
              <a:gd name="csX22" fmla="*/ 216756 w 729419"/>
              <a:gd name="csY22" fmla="*/ 558673 h 2076207"/>
              <a:gd name="csX23" fmla="*/ 209092 w 729419"/>
              <a:gd name="csY23" fmla="*/ 521540 h 2076207"/>
              <a:gd name="csX24" fmla="*/ 204683 w 729419"/>
              <a:gd name="csY24" fmla="*/ 474024 h 2076207"/>
              <a:gd name="csX25" fmla="*/ 115483 w 729419"/>
              <a:gd name="csY25" fmla="*/ 213499 h 2076207"/>
              <a:gd name="csX26" fmla="*/ 102909 w 729419"/>
              <a:gd name="csY26" fmla="*/ 182297 h 2076207"/>
              <a:gd name="csX27" fmla="*/ 104315 w 729419"/>
              <a:gd name="csY27" fmla="*/ 163968 h 2076207"/>
              <a:gd name="csX28" fmla="*/ 122444 w 729419"/>
              <a:gd name="csY28" fmla="*/ 160805 h 2076207"/>
              <a:gd name="csX29" fmla="*/ 170283 w 729419"/>
              <a:gd name="csY29" fmla="*/ 187783 h 2076207"/>
              <a:gd name="csX30" fmla="*/ 180938 w 729419"/>
              <a:gd name="csY30" fmla="*/ 195322 h 2076207"/>
              <a:gd name="csX31" fmla="*/ 221419 w 729419"/>
              <a:gd name="csY31" fmla="*/ 138058 h 2076207"/>
              <a:gd name="csX32" fmla="*/ 294099 w 729419"/>
              <a:gd name="csY32" fmla="*/ 91372 h 2076207"/>
              <a:gd name="csX33" fmla="*/ 302307 w 729419"/>
              <a:gd name="csY33" fmla="*/ 76560 h 2076207"/>
              <a:gd name="csX34" fmla="*/ 320284 w 729419"/>
              <a:gd name="csY34" fmla="*/ 8414 h 2076207"/>
              <a:gd name="csX35" fmla="*/ 324784 w 729419"/>
              <a:gd name="csY35" fmla="*/ 946 h 2076207"/>
              <a:gd name="csX36" fmla="*/ 399212 w 729419"/>
              <a:gd name="csY36" fmla="*/ 0 h 2076207"/>
              <a:gd name="csX37" fmla="*/ 425980 w 729419"/>
              <a:gd name="csY37" fmla="*/ 78301 h 2076207"/>
              <a:gd name="csX38" fmla="*/ 431861 w 729419"/>
              <a:gd name="csY38" fmla="*/ 90312 h 2076207"/>
              <a:gd name="csX39" fmla="*/ 540349 w 729419"/>
              <a:gd name="csY39" fmla="*/ 187946 h 2076207"/>
              <a:gd name="csX40" fmla="*/ 545555 w 729419"/>
              <a:gd name="csY40" fmla="*/ 197828 h 2076207"/>
              <a:gd name="csX41" fmla="*/ 587318 w 729419"/>
              <a:gd name="csY41" fmla="*/ 171260 h 2076207"/>
              <a:gd name="csX42" fmla="*/ 601503 w 729419"/>
              <a:gd name="csY42" fmla="*/ 163707 h 2076207"/>
              <a:gd name="csX43" fmla="*/ 625254 w 729419"/>
              <a:gd name="csY43" fmla="*/ 163123 h 2076207"/>
              <a:gd name="csX44" fmla="*/ 625468 w 729419"/>
              <a:gd name="csY44" fmla="*/ 187579 h 2076207"/>
              <a:gd name="csX45" fmla="*/ 597543 w 729419"/>
              <a:gd name="csY45" fmla="*/ 251872 h 2076207"/>
              <a:gd name="csX46" fmla="*/ 531831 w 729419"/>
              <a:gd name="csY46" fmla="*/ 442689 h 2076207"/>
              <a:gd name="csX47" fmla="*/ 519888 w 729419"/>
              <a:gd name="csY47" fmla="*/ 501474 h 2076207"/>
              <a:gd name="csX48" fmla="*/ 522506 w 729419"/>
              <a:gd name="csY48" fmla="*/ 525086 h 2076207"/>
              <a:gd name="csX49" fmla="*/ 516235 w 729419"/>
              <a:gd name="csY49" fmla="*/ 555946 h 2076207"/>
              <a:gd name="csX50" fmla="*/ 521332 w 729419"/>
              <a:gd name="csY50" fmla="*/ 610676 h 2076207"/>
              <a:gd name="csX51" fmla="*/ 541382 w 729419"/>
              <a:gd name="csY51" fmla="*/ 642597 h 2076207"/>
              <a:gd name="csX52" fmla="*/ 557031 w 729419"/>
              <a:gd name="csY52" fmla="*/ 667949 h 2076207"/>
              <a:gd name="csX53" fmla="*/ 553994 w 729419"/>
              <a:gd name="csY53" fmla="*/ 744146 h 2076207"/>
              <a:gd name="csX54" fmla="*/ 508215 w 729419"/>
              <a:gd name="csY54" fmla="*/ 758841 h 2076207"/>
              <a:gd name="csX55" fmla="*/ 497442 w 729419"/>
              <a:gd name="csY55" fmla="*/ 771256 h 2076207"/>
              <a:gd name="csX56" fmla="*/ 493005 w 729419"/>
              <a:gd name="csY56" fmla="*/ 922055 h 2076207"/>
              <a:gd name="csX57" fmla="*/ 502900 w 729419"/>
              <a:gd name="csY57" fmla="*/ 1114191 h 2076207"/>
              <a:gd name="csX58" fmla="*/ 508800 w 729419"/>
              <a:gd name="csY58" fmla="*/ 1205474 h 2076207"/>
              <a:gd name="csX59" fmla="*/ 522952 w 729419"/>
              <a:gd name="csY59" fmla="*/ 1320065 h 2076207"/>
              <a:gd name="csX60" fmla="*/ 554682 w 729419"/>
              <a:gd name="csY60" fmla="*/ 1501203 h 2076207"/>
              <a:gd name="csX61" fmla="*/ 576958 w 729419"/>
              <a:gd name="csY61" fmla="*/ 1593963 h 2076207"/>
              <a:gd name="csX62" fmla="*/ 595349 w 729419"/>
              <a:gd name="csY62" fmla="*/ 1613498 h 2076207"/>
              <a:gd name="csX63" fmla="*/ 613936 w 729419"/>
              <a:gd name="csY63" fmla="*/ 1624058 h 2076207"/>
              <a:gd name="csX64" fmla="*/ 620938 w 729419"/>
              <a:gd name="csY64" fmla="*/ 1652071 h 2076207"/>
              <a:gd name="csX65" fmla="*/ 630805 w 729419"/>
              <a:gd name="csY65" fmla="*/ 1721702 h 2076207"/>
              <a:gd name="csX66" fmla="*/ 685830 w 729419"/>
              <a:gd name="csY66" fmla="*/ 1792915 h 2076207"/>
              <a:gd name="csX67" fmla="*/ 708904 w 729419"/>
              <a:gd name="csY67" fmla="*/ 1890290 h 2076207"/>
              <a:gd name="csX68" fmla="*/ 716580 w 729419"/>
              <a:gd name="csY68" fmla="*/ 1951136 h 2076207"/>
              <a:gd name="csX69" fmla="*/ 729397 w 729419"/>
              <a:gd name="csY69" fmla="*/ 2030261 h 2076207"/>
              <a:gd name="csX70" fmla="*/ 714212 w 729419"/>
              <a:gd name="csY70" fmla="*/ 2049544 h 2076207"/>
              <a:gd name="csX71" fmla="*/ 645428 w 729419"/>
              <a:gd name="csY71" fmla="*/ 2070825 h 2076207"/>
              <a:gd name="csX72" fmla="*/ 635822 w 729419"/>
              <a:gd name="csY72" fmla="*/ 2075145 h 2076207"/>
              <a:gd name="csX73" fmla="*/ 588428 w 729419"/>
              <a:gd name="csY73" fmla="*/ 2075144 h 2076207"/>
              <a:gd name="csX74" fmla="*/ 590041 w 729419"/>
              <a:gd name="csY74" fmla="*/ 2071383 h 2076207"/>
              <a:gd name="csX75" fmla="*/ 667788 w 729419"/>
              <a:gd name="csY75" fmla="*/ 2056852 h 2076207"/>
              <a:gd name="csX76" fmla="*/ 706629 w 729419"/>
              <a:gd name="csY76" fmla="*/ 2044290 h 2076207"/>
              <a:gd name="csX77" fmla="*/ 702674 w 729419"/>
              <a:gd name="csY77" fmla="*/ 2041581 h 2076207"/>
              <a:gd name="csX78" fmla="*/ 544974 w 729419"/>
              <a:gd name="csY78" fmla="*/ 2071274 h 2076207"/>
              <a:gd name="csX79" fmla="*/ 538352 w 729419"/>
              <a:gd name="csY79" fmla="*/ 2076207 h 2076207"/>
              <a:gd name="csX80" fmla="*/ 96263 w 729419"/>
              <a:gd name="csY80" fmla="*/ 2076207 h 2076207"/>
              <a:gd name="csX81" fmla="*/ 489970 w 729419"/>
              <a:gd name="csY81" fmla="*/ 152208 h 2076207"/>
              <a:gd name="csX82" fmla="*/ 490754 w 729419"/>
              <a:gd name="csY82" fmla="*/ 152592 h 2076207"/>
              <a:gd name="csX83" fmla="*/ 489489 w 729419"/>
              <a:gd name="csY83" fmla="*/ 149547 h 2076207"/>
              <a:gd name="csX84" fmla="*/ 393621 w 729419"/>
              <a:gd name="csY84" fmla="*/ 99259 h 2076207"/>
              <a:gd name="csX85" fmla="*/ 390419 w 729419"/>
              <a:gd name="csY85" fmla="*/ 18568 h 2076207"/>
              <a:gd name="csX86" fmla="*/ 334131 w 729419"/>
              <a:gd name="csY86" fmla="*/ 24327 h 2076207"/>
              <a:gd name="csX87" fmla="*/ 344678 w 729419"/>
              <a:gd name="csY87" fmla="*/ 101259 h 2076207"/>
              <a:gd name="csX88" fmla="*/ 298854 w 729419"/>
              <a:gd name="csY88" fmla="*/ 114003 h 2076207"/>
              <a:gd name="csX89" fmla="*/ 237456 w 729419"/>
              <a:gd name="csY89" fmla="*/ 154340 h 2076207"/>
              <a:gd name="csX90" fmla="*/ 240382 w 729419"/>
              <a:gd name="csY90" fmla="*/ 154035 h 2076207"/>
              <a:gd name="csX91" fmla="*/ 262731 w 729419"/>
              <a:gd name="csY91" fmla="*/ 170426 h 2076207"/>
              <a:gd name="csX92" fmla="*/ 279169 w 729419"/>
              <a:gd name="csY92" fmla="*/ 193173 h 2076207"/>
              <a:gd name="csX93" fmla="*/ 327717 w 729419"/>
              <a:gd name="csY93" fmla="*/ 188556 h 2076207"/>
              <a:gd name="csX94" fmla="*/ 348052 w 729419"/>
              <a:gd name="csY94" fmla="*/ 156919 h 2076207"/>
              <a:gd name="csX95" fmla="*/ 380330 w 729419"/>
              <a:gd name="csY95" fmla="*/ 156483 h 2076207"/>
              <a:gd name="csX96" fmla="*/ 408490 w 729419"/>
              <a:gd name="csY96" fmla="*/ 195400 h 2076207"/>
              <a:gd name="csX97" fmla="*/ 445346 w 729419"/>
              <a:gd name="csY97" fmla="*/ 197582 h 2076207"/>
              <a:gd name="csX98" fmla="*/ 464798 w 729419"/>
              <a:gd name="csY98" fmla="*/ 174107 h 2076207"/>
              <a:gd name="csX99" fmla="*/ 489970 w 729419"/>
              <a:gd name="csY99" fmla="*/ 152208 h 2076207"/>
              <a:gd name="csX100" fmla="*/ 140694 w 729419"/>
              <a:gd name="csY100" fmla="*/ 201837 h 2076207"/>
              <a:gd name="csX101" fmla="*/ 139834 w 729419"/>
              <a:gd name="csY101" fmla="*/ 201482 h 2076207"/>
              <a:gd name="csX102" fmla="*/ 140812 w 729419"/>
              <a:gd name="csY102" fmla="*/ 204941 h 2076207"/>
              <a:gd name="csX103" fmla="*/ 144631 w 729419"/>
              <a:gd name="csY103" fmla="*/ 217811 h 2076207"/>
              <a:gd name="csX104" fmla="*/ 201241 w 729419"/>
              <a:gd name="csY104" fmla="*/ 373387 h 2076207"/>
              <a:gd name="csX105" fmla="*/ 235971 w 729419"/>
              <a:gd name="csY105" fmla="*/ 504451 h 2076207"/>
              <a:gd name="csX106" fmla="*/ 247475 w 729419"/>
              <a:gd name="csY106" fmla="*/ 513241 h 2076207"/>
              <a:gd name="csX107" fmla="*/ 289066 w 729419"/>
              <a:gd name="csY107" fmla="*/ 511170 h 2076207"/>
              <a:gd name="csX108" fmla="*/ 378229 w 729419"/>
              <a:gd name="csY108" fmla="*/ 511084 h 2076207"/>
              <a:gd name="csX109" fmla="*/ 470850 w 729419"/>
              <a:gd name="csY109" fmla="*/ 516341 h 2076207"/>
              <a:gd name="csX110" fmla="*/ 492933 w 729419"/>
              <a:gd name="csY110" fmla="*/ 497969 h 2076207"/>
              <a:gd name="csX111" fmla="*/ 557617 w 729419"/>
              <a:gd name="csY111" fmla="*/ 280398 h 2076207"/>
              <a:gd name="csX112" fmla="*/ 588788 w 729419"/>
              <a:gd name="csY112" fmla="*/ 200385 h 2076207"/>
              <a:gd name="csX113" fmla="*/ 530958 w 729419"/>
              <a:gd name="csY113" fmla="*/ 232968 h 2076207"/>
              <a:gd name="csX114" fmla="*/ 483823 w 729419"/>
              <a:gd name="csY114" fmla="*/ 190364 h 2076207"/>
              <a:gd name="csX115" fmla="*/ 466649 w 729419"/>
              <a:gd name="csY115" fmla="*/ 209061 h 2076207"/>
              <a:gd name="csX116" fmla="*/ 399941 w 729419"/>
              <a:gd name="csY116" fmla="*/ 216988 h 2076207"/>
              <a:gd name="csX117" fmla="*/ 363018 w 729419"/>
              <a:gd name="csY117" fmla="*/ 179615 h 2076207"/>
              <a:gd name="csX118" fmla="*/ 308839 w 729419"/>
              <a:gd name="csY118" fmla="*/ 227846 h 2076207"/>
              <a:gd name="csX119" fmla="*/ 245077 w 729419"/>
              <a:gd name="csY119" fmla="*/ 192402 h 2076207"/>
              <a:gd name="csX120" fmla="*/ 242829 w 729419"/>
              <a:gd name="csY120" fmla="*/ 198815 h 2076207"/>
              <a:gd name="csX121" fmla="*/ 168452 w 729419"/>
              <a:gd name="csY121" fmla="*/ 219348 h 2076207"/>
              <a:gd name="csX122" fmla="*/ 140694 w 729419"/>
              <a:gd name="csY122" fmla="*/ 201837 h 2076207"/>
              <a:gd name="csX123" fmla="*/ 259999 w 729419"/>
              <a:gd name="csY123" fmla="*/ 966699 h 2076207"/>
              <a:gd name="csX124" fmla="*/ 257072 w 729419"/>
              <a:gd name="csY124" fmla="*/ 1070424 h 2076207"/>
              <a:gd name="csX125" fmla="*/ 251372 w 729419"/>
              <a:gd name="csY125" fmla="*/ 1157618 h 2076207"/>
              <a:gd name="csX126" fmla="*/ 232677 w 729419"/>
              <a:gd name="csY126" fmla="*/ 1320279 h 2076207"/>
              <a:gd name="csX127" fmla="*/ 209182 w 729419"/>
              <a:gd name="csY127" fmla="*/ 1468667 h 2076207"/>
              <a:gd name="csX128" fmla="*/ 175302 w 729419"/>
              <a:gd name="csY128" fmla="*/ 1616623 h 2076207"/>
              <a:gd name="csX129" fmla="*/ 182769 w 729419"/>
              <a:gd name="csY129" fmla="*/ 1629786 h 2076207"/>
              <a:gd name="csX130" fmla="*/ 212156 w 729419"/>
              <a:gd name="csY130" fmla="*/ 1632656 h 2076207"/>
              <a:gd name="csX131" fmla="*/ 351295 w 729419"/>
              <a:gd name="csY131" fmla="*/ 1632801 h 2076207"/>
              <a:gd name="csX132" fmla="*/ 376150 w 729419"/>
              <a:gd name="csY132" fmla="*/ 1608307 h 2076207"/>
              <a:gd name="csX133" fmla="*/ 373450 w 729419"/>
              <a:gd name="csY133" fmla="*/ 1457291 h 2076207"/>
              <a:gd name="csX134" fmla="*/ 370936 w 729419"/>
              <a:gd name="csY134" fmla="*/ 1342736 h 2076207"/>
              <a:gd name="csX135" fmla="*/ 368328 w 729419"/>
              <a:gd name="csY135" fmla="*/ 1203878 h 2076207"/>
              <a:gd name="csX136" fmla="*/ 367836 w 729419"/>
              <a:gd name="csY136" fmla="*/ 813478 h 2076207"/>
              <a:gd name="csX137" fmla="*/ 365240 w 729419"/>
              <a:gd name="csY137" fmla="*/ 773243 h 2076207"/>
              <a:gd name="csX138" fmla="*/ 353084 w 729419"/>
              <a:gd name="csY138" fmla="*/ 762083 h 2076207"/>
              <a:gd name="csX139" fmla="*/ 280966 w 729419"/>
              <a:gd name="csY139" fmla="*/ 759855 h 2076207"/>
              <a:gd name="csX140" fmla="*/ 259965 w 729419"/>
              <a:gd name="csY140" fmla="*/ 779553 h 2076207"/>
              <a:gd name="csX141" fmla="*/ 262341 w 729419"/>
              <a:gd name="csY141" fmla="*/ 856275 h 2076207"/>
              <a:gd name="csX142" fmla="*/ 259999 w 729419"/>
              <a:gd name="csY142" fmla="*/ 966699 h 2076207"/>
              <a:gd name="csX143" fmla="*/ 55556 w 729419"/>
              <a:gd name="csY143" fmla="*/ 1835827 h 2076207"/>
              <a:gd name="csX144" fmla="*/ 49393 w 729419"/>
              <a:gd name="csY144" fmla="*/ 1878155 h 2076207"/>
              <a:gd name="csX145" fmla="*/ 73949 w 729419"/>
              <a:gd name="csY145" fmla="*/ 1905781 h 2076207"/>
              <a:gd name="csX146" fmla="*/ 110073 w 729419"/>
              <a:gd name="csY146" fmla="*/ 1909068 h 2076207"/>
              <a:gd name="csX147" fmla="*/ 224745 w 729419"/>
              <a:gd name="csY147" fmla="*/ 1921652 h 2076207"/>
              <a:gd name="csX148" fmla="*/ 347327 w 729419"/>
              <a:gd name="csY148" fmla="*/ 1924778 h 2076207"/>
              <a:gd name="csX149" fmla="*/ 363345 w 729419"/>
              <a:gd name="csY149" fmla="*/ 1923293 h 2076207"/>
              <a:gd name="csX150" fmla="*/ 373787 w 729419"/>
              <a:gd name="csY150" fmla="*/ 1911200 h 2076207"/>
              <a:gd name="csX151" fmla="*/ 376623 w 729419"/>
              <a:gd name="csY151" fmla="*/ 1696741 h 2076207"/>
              <a:gd name="csX152" fmla="*/ 360437 w 729419"/>
              <a:gd name="csY152" fmla="*/ 1681289 h 2076207"/>
              <a:gd name="csX153" fmla="*/ 263503 w 729419"/>
              <a:gd name="csY153" fmla="*/ 1678179 h 2076207"/>
              <a:gd name="csX154" fmla="*/ 160381 w 729419"/>
              <a:gd name="csY154" fmla="*/ 1670405 h 2076207"/>
              <a:gd name="csX155" fmla="*/ 143321 w 729419"/>
              <a:gd name="csY155" fmla="*/ 1685538 h 2076207"/>
              <a:gd name="csX156" fmla="*/ 124769 w 729419"/>
              <a:gd name="csY156" fmla="*/ 1738195 h 2076207"/>
              <a:gd name="csX157" fmla="*/ 90593 w 729419"/>
              <a:gd name="csY157" fmla="*/ 1779570 h 2076207"/>
              <a:gd name="csX158" fmla="*/ 55556 w 729419"/>
              <a:gd name="csY158" fmla="*/ 1835827 h 2076207"/>
              <a:gd name="csX159" fmla="*/ 378900 w 729419"/>
              <a:gd name="csY159" fmla="*/ 2007280 h 2076207"/>
              <a:gd name="csX160" fmla="*/ 378887 w 729419"/>
              <a:gd name="csY160" fmla="*/ 1995127 h 2076207"/>
              <a:gd name="csX161" fmla="*/ 359084 w 729419"/>
              <a:gd name="csY161" fmla="*/ 1975964 h 2076207"/>
              <a:gd name="csX162" fmla="*/ 247288 w 729419"/>
              <a:gd name="csY162" fmla="*/ 1973305 h 2076207"/>
              <a:gd name="csX163" fmla="*/ 201692 w 729419"/>
              <a:gd name="csY163" fmla="*/ 1970275 h 2076207"/>
              <a:gd name="csX164" fmla="*/ 57962 w 729419"/>
              <a:gd name="csY164" fmla="*/ 1952648 h 2076207"/>
              <a:gd name="csX165" fmla="*/ 39194 w 729419"/>
              <a:gd name="csY165" fmla="*/ 1963552 h 2076207"/>
              <a:gd name="csX166" fmla="*/ 30066 w 729419"/>
              <a:gd name="csY166" fmla="*/ 2006631 h 2076207"/>
              <a:gd name="csX167" fmla="*/ 40232 w 729419"/>
              <a:gd name="csY167" fmla="*/ 2019486 h 2076207"/>
              <a:gd name="csX168" fmla="*/ 238186 w 729419"/>
              <a:gd name="csY168" fmla="*/ 2046096 h 2076207"/>
              <a:gd name="csX169" fmla="*/ 342155 w 729419"/>
              <a:gd name="csY169" fmla="*/ 2046441 h 2076207"/>
              <a:gd name="csX170" fmla="*/ 378900 w 729419"/>
              <a:gd name="csY170" fmla="*/ 2007280 h 2076207"/>
              <a:gd name="csX171" fmla="*/ 310220 w 729419"/>
              <a:gd name="csY171" fmla="*/ 554288 h 2076207"/>
              <a:gd name="csX172" fmla="*/ 259136 w 729419"/>
              <a:gd name="csY172" fmla="*/ 556881 h 2076207"/>
              <a:gd name="csX173" fmla="*/ 249085 w 729419"/>
              <a:gd name="csY173" fmla="*/ 567981 h 2076207"/>
              <a:gd name="csX174" fmla="*/ 249141 w 729419"/>
              <a:gd name="csY174" fmla="*/ 605644 h 2076207"/>
              <a:gd name="csX175" fmla="*/ 262628 w 729419"/>
              <a:gd name="csY175" fmla="*/ 605627 h 2076207"/>
              <a:gd name="csX176" fmla="*/ 369608 w 729419"/>
              <a:gd name="csY176" fmla="*/ 603027 h 2076207"/>
              <a:gd name="csX177" fmla="*/ 463931 w 729419"/>
              <a:gd name="csY177" fmla="*/ 605146 h 2076207"/>
              <a:gd name="csX178" fmla="*/ 478113 w 729419"/>
              <a:gd name="csY178" fmla="*/ 595843 h 2076207"/>
              <a:gd name="csX179" fmla="*/ 478796 w 729419"/>
              <a:gd name="csY179" fmla="*/ 556832 h 2076207"/>
              <a:gd name="csX180" fmla="*/ 310220 w 729419"/>
              <a:gd name="csY180" fmla="*/ 554288 h 2076207"/>
              <a:gd name="csX181" fmla="*/ 348836 w 729419"/>
              <a:gd name="csY181" fmla="*/ 684115 h 2076207"/>
              <a:gd name="csX182" fmla="*/ 281333 w 729419"/>
              <a:gd name="csY182" fmla="*/ 683313 h 2076207"/>
              <a:gd name="csX183" fmla="*/ 212728 w 729419"/>
              <a:gd name="csY183" fmla="*/ 681931 h 2076207"/>
              <a:gd name="csX184" fmla="*/ 187283 w 729419"/>
              <a:gd name="csY184" fmla="*/ 689555 h 2076207"/>
              <a:gd name="csX185" fmla="*/ 186163 w 729419"/>
              <a:gd name="csY185" fmla="*/ 718266 h 2076207"/>
              <a:gd name="csX186" fmla="*/ 209894 w 729419"/>
              <a:gd name="csY186" fmla="*/ 726798 h 2076207"/>
              <a:gd name="csX187" fmla="*/ 334814 w 729419"/>
              <a:gd name="csY187" fmla="*/ 732494 h 2076207"/>
              <a:gd name="csX188" fmla="*/ 364856 w 729419"/>
              <a:gd name="csY188" fmla="*/ 707963 h 2076207"/>
              <a:gd name="csX189" fmla="*/ 348836 w 729419"/>
              <a:gd name="csY189" fmla="*/ 684115 h 2076207"/>
              <a:gd name="csX190" fmla="*/ 298865 w 729419"/>
              <a:gd name="csY190" fmla="*/ 621954 h 2076207"/>
              <a:gd name="csX191" fmla="*/ 251619 w 729419"/>
              <a:gd name="csY191" fmla="*/ 622133 h 2076207"/>
              <a:gd name="csX192" fmla="*/ 214459 w 729419"/>
              <a:gd name="csY192" fmla="*/ 636230 h 2076207"/>
              <a:gd name="csX193" fmla="*/ 221436 w 729419"/>
              <a:gd name="csY193" fmla="*/ 654205 h 2076207"/>
              <a:gd name="csX194" fmla="*/ 272412 w 729419"/>
              <a:gd name="csY194" fmla="*/ 657250 h 2076207"/>
              <a:gd name="csX195" fmla="*/ 349094 w 729419"/>
              <a:gd name="csY195" fmla="*/ 659282 h 2076207"/>
              <a:gd name="csX196" fmla="*/ 362996 w 729419"/>
              <a:gd name="csY196" fmla="*/ 644234 h 2076207"/>
              <a:gd name="csX197" fmla="*/ 348472 w 729419"/>
              <a:gd name="csY197" fmla="*/ 624649 h 2076207"/>
              <a:gd name="csX198" fmla="*/ 298865 w 729419"/>
              <a:gd name="csY198" fmla="*/ 621954 h 2076207"/>
              <a:gd name="csX199" fmla="*/ 227796 w 729419"/>
              <a:gd name="csY199" fmla="*/ 528000 h 2076207"/>
              <a:gd name="csX200" fmla="*/ 241009 w 729419"/>
              <a:gd name="csY200" fmla="*/ 545897 h 2076207"/>
              <a:gd name="csX201" fmla="*/ 282607 w 729419"/>
              <a:gd name="csY201" fmla="*/ 543480 h 2076207"/>
              <a:gd name="csX202" fmla="*/ 354213 w 729419"/>
              <a:gd name="csY202" fmla="*/ 543384 h 2076207"/>
              <a:gd name="csX203" fmla="*/ 365334 w 729419"/>
              <a:gd name="csY203" fmla="*/ 533397 h 2076207"/>
              <a:gd name="csX204" fmla="*/ 354531 w 729419"/>
              <a:gd name="csY204" fmla="*/ 521620 h 2076207"/>
              <a:gd name="csX205" fmla="*/ 259169 w 729419"/>
              <a:gd name="csY205" fmla="*/ 521978 h 2076207"/>
              <a:gd name="csX206" fmla="*/ 227796 w 729419"/>
              <a:gd name="csY206" fmla="*/ 528000 h 2076207"/>
              <a:gd name="csX207" fmla="*/ 508068 w 729419"/>
              <a:gd name="csY207" fmla="*/ 190710 h 2076207"/>
              <a:gd name="csX208" fmla="*/ 521293 w 729419"/>
              <a:gd name="csY208" fmla="*/ 205907 h 2076207"/>
              <a:gd name="csX209" fmla="*/ 525175 w 729419"/>
              <a:gd name="csY209" fmla="*/ 202985 h 2076207"/>
              <a:gd name="csX210" fmla="*/ 500276 w 729419"/>
              <a:gd name="csY210" fmla="*/ 160640 h 2076207"/>
              <a:gd name="csX211" fmla="*/ 497122 w 729419"/>
              <a:gd name="csY211" fmla="*/ 162007 h 2076207"/>
              <a:gd name="csX212" fmla="*/ 508068 w 729419"/>
              <a:gd name="csY212" fmla="*/ 190710 h 2076207"/>
              <a:gd name="csX213" fmla="*/ 215522 w 729419"/>
              <a:gd name="csY213" fmla="*/ 197296 h 2076207"/>
              <a:gd name="csX214" fmla="*/ 234029 w 729419"/>
              <a:gd name="csY214" fmla="*/ 162725 h 2076207"/>
              <a:gd name="csX215" fmla="*/ 229000 w 729419"/>
              <a:gd name="csY215" fmla="*/ 159902 h 2076207"/>
              <a:gd name="csX216" fmla="*/ 204824 w 729419"/>
              <a:gd name="csY216" fmla="*/ 199677 h 2076207"/>
              <a:gd name="csX217" fmla="*/ 207990 w 729419"/>
              <a:gd name="csY217" fmla="*/ 202198 h 2076207"/>
              <a:gd name="csX218" fmla="*/ 215522 w 729419"/>
              <a:gd name="csY218" fmla="*/ 197296 h 2076207"/>
              <a:gd name="csX219" fmla="*/ 484400 w 729419"/>
              <a:gd name="csY219" fmla="*/ 896678 h 2076207"/>
              <a:gd name="csX220" fmla="*/ 486181 w 729419"/>
              <a:gd name="csY220" fmla="*/ 896585 h 2076207"/>
              <a:gd name="csX221" fmla="*/ 486181 w 729419"/>
              <a:gd name="csY221" fmla="*/ 795289 h 2076207"/>
              <a:gd name="csX222" fmla="*/ 720241 w 729419"/>
              <a:gd name="csY222" fmla="*/ 2030666 h 2076207"/>
              <a:gd name="csX223" fmla="*/ 721175 w 729419"/>
              <a:gd name="csY223" fmla="*/ 2029733 h 2076207"/>
              <a:gd name="csX224" fmla="*/ 720241 w 729419"/>
              <a:gd name="csY224" fmla="*/ 2030666 h 2076207"/>
              <a:gd name="csX225" fmla="*/ 715702 w 729419"/>
              <a:gd name="csY225" fmla="*/ 2037051 h 2076207"/>
              <a:gd name="csX226" fmla="*/ 715702 w 729419"/>
              <a:gd name="csY226" fmla="*/ 2037051 h 2076207"/>
              <a:gd name="csX0" fmla="*/ 96263 w 729419"/>
              <a:gd name="csY0" fmla="*/ 2076207 h 2091729"/>
              <a:gd name="csX1" fmla="*/ 63862 w 729419"/>
              <a:gd name="csY1" fmla="*/ 2065388 h 2091729"/>
              <a:gd name="csX2" fmla="*/ 16555 w 729419"/>
              <a:gd name="csY2" fmla="*/ 2050152 h 2091729"/>
              <a:gd name="csX3" fmla="*/ 15 w 729419"/>
              <a:gd name="csY3" fmla="*/ 2023802 h 2091729"/>
              <a:gd name="csX4" fmla="*/ 18368 w 729419"/>
              <a:gd name="csY4" fmla="*/ 1940709 h 2091729"/>
              <a:gd name="csX5" fmla="*/ 22139 w 729419"/>
              <a:gd name="csY5" fmla="*/ 1907268 h 2091729"/>
              <a:gd name="csX6" fmla="*/ 57941 w 729419"/>
              <a:gd name="csY6" fmla="*/ 1774163 h 2091729"/>
              <a:gd name="csX7" fmla="*/ 102478 w 729419"/>
              <a:gd name="csY7" fmla="*/ 1720275 h 2091729"/>
              <a:gd name="csX8" fmla="*/ 108579 w 729419"/>
              <a:gd name="csY8" fmla="*/ 1650967 h 2091729"/>
              <a:gd name="csX9" fmla="*/ 115628 w 729419"/>
              <a:gd name="csY9" fmla="*/ 1625405 h 2091729"/>
              <a:gd name="csX10" fmla="*/ 156323 w 729419"/>
              <a:gd name="csY10" fmla="*/ 1560181 h 2091729"/>
              <a:gd name="csX11" fmla="*/ 199424 w 729419"/>
              <a:gd name="csY11" fmla="*/ 1364729 h 2091729"/>
              <a:gd name="csX12" fmla="*/ 216779 w 729419"/>
              <a:gd name="csY12" fmla="*/ 1219490 h 2091729"/>
              <a:gd name="csX13" fmla="*/ 229755 w 729419"/>
              <a:gd name="csY13" fmla="*/ 1099357 h 2091729"/>
              <a:gd name="csX14" fmla="*/ 232707 w 729419"/>
              <a:gd name="csY14" fmla="*/ 1056423 h 2091729"/>
              <a:gd name="csX15" fmla="*/ 235622 w 729419"/>
              <a:gd name="csY15" fmla="*/ 952675 h 2091729"/>
              <a:gd name="csX16" fmla="*/ 235445 w 729419"/>
              <a:gd name="csY16" fmla="*/ 780278 h 2091729"/>
              <a:gd name="csX17" fmla="*/ 214544 w 729419"/>
              <a:gd name="csY17" fmla="*/ 756435 h 2091729"/>
              <a:gd name="csX18" fmla="*/ 172569 w 729419"/>
              <a:gd name="csY18" fmla="*/ 742582 h 2091729"/>
              <a:gd name="csX19" fmla="*/ 168784 w 729419"/>
              <a:gd name="csY19" fmla="*/ 669116 h 2091729"/>
              <a:gd name="csX20" fmla="*/ 191657 w 729419"/>
              <a:gd name="csY20" fmla="*/ 630765 h 2091729"/>
              <a:gd name="csX21" fmla="*/ 208150 w 729419"/>
              <a:gd name="csY21" fmla="*/ 609084 h 2091729"/>
              <a:gd name="csX22" fmla="*/ 216756 w 729419"/>
              <a:gd name="csY22" fmla="*/ 558673 h 2091729"/>
              <a:gd name="csX23" fmla="*/ 209092 w 729419"/>
              <a:gd name="csY23" fmla="*/ 521540 h 2091729"/>
              <a:gd name="csX24" fmla="*/ 204683 w 729419"/>
              <a:gd name="csY24" fmla="*/ 474024 h 2091729"/>
              <a:gd name="csX25" fmla="*/ 115483 w 729419"/>
              <a:gd name="csY25" fmla="*/ 213499 h 2091729"/>
              <a:gd name="csX26" fmla="*/ 102909 w 729419"/>
              <a:gd name="csY26" fmla="*/ 182297 h 2091729"/>
              <a:gd name="csX27" fmla="*/ 104315 w 729419"/>
              <a:gd name="csY27" fmla="*/ 163968 h 2091729"/>
              <a:gd name="csX28" fmla="*/ 122444 w 729419"/>
              <a:gd name="csY28" fmla="*/ 160805 h 2091729"/>
              <a:gd name="csX29" fmla="*/ 170283 w 729419"/>
              <a:gd name="csY29" fmla="*/ 187783 h 2091729"/>
              <a:gd name="csX30" fmla="*/ 180938 w 729419"/>
              <a:gd name="csY30" fmla="*/ 195322 h 2091729"/>
              <a:gd name="csX31" fmla="*/ 221419 w 729419"/>
              <a:gd name="csY31" fmla="*/ 138058 h 2091729"/>
              <a:gd name="csX32" fmla="*/ 294099 w 729419"/>
              <a:gd name="csY32" fmla="*/ 91372 h 2091729"/>
              <a:gd name="csX33" fmla="*/ 302307 w 729419"/>
              <a:gd name="csY33" fmla="*/ 76560 h 2091729"/>
              <a:gd name="csX34" fmla="*/ 320284 w 729419"/>
              <a:gd name="csY34" fmla="*/ 8414 h 2091729"/>
              <a:gd name="csX35" fmla="*/ 324784 w 729419"/>
              <a:gd name="csY35" fmla="*/ 946 h 2091729"/>
              <a:gd name="csX36" fmla="*/ 399212 w 729419"/>
              <a:gd name="csY36" fmla="*/ 0 h 2091729"/>
              <a:gd name="csX37" fmla="*/ 425980 w 729419"/>
              <a:gd name="csY37" fmla="*/ 78301 h 2091729"/>
              <a:gd name="csX38" fmla="*/ 431861 w 729419"/>
              <a:gd name="csY38" fmla="*/ 90312 h 2091729"/>
              <a:gd name="csX39" fmla="*/ 540349 w 729419"/>
              <a:gd name="csY39" fmla="*/ 187946 h 2091729"/>
              <a:gd name="csX40" fmla="*/ 545555 w 729419"/>
              <a:gd name="csY40" fmla="*/ 197828 h 2091729"/>
              <a:gd name="csX41" fmla="*/ 587318 w 729419"/>
              <a:gd name="csY41" fmla="*/ 171260 h 2091729"/>
              <a:gd name="csX42" fmla="*/ 601503 w 729419"/>
              <a:gd name="csY42" fmla="*/ 163707 h 2091729"/>
              <a:gd name="csX43" fmla="*/ 625254 w 729419"/>
              <a:gd name="csY43" fmla="*/ 163123 h 2091729"/>
              <a:gd name="csX44" fmla="*/ 625468 w 729419"/>
              <a:gd name="csY44" fmla="*/ 187579 h 2091729"/>
              <a:gd name="csX45" fmla="*/ 597543 w 729419"/>
              <a:gd name="csY45" fmla="*/ 251872 h 2091729"/>
              <a:gd name="csX46" fmla="*/ 531831 w 729419"/>
              <a:gd name="csY46" fmla="*/ 442689 h 2091729"/>
              <a:gd name="csX47" fmla="*/ 519888 w 729419"/>
              <a:gd name="csY47" fmla="*/ 501474 h 2091729"/>
              <a:gd name="csX48" fmla="*/ 522506 w 729419"/>
              <a:gd name="csY48" fmla="*/ 525086 h 2091729"/>
              <a:gd name="csX49" fmla="*/ 516235 w 729419"/>
              <a:gd name="csY49" fmla="*/ 555946 h 2091729"/>
              <a:gd name="csX50" fmla="*/ 521332 w 729419"/>
              <a:gd name="csY50" fmla="*/ 610676 h 2091729"/>
              <a:gd name="csX51" fmla="*/ 541382 w 729419"/>
              <a:gd name="csY51" fmla="*/ 642597 h 2091729"/>
              <a:gd name="csX52" fmla="*/ 557031 w 729419"/>
              <a:gd name="csY52" fmla="*/ 667949 h 2091729"/>
              <a:gd name="csX53" fmla="*/ 553994 w 729419"/>
              <a:gd name="csY53" fmla="*/ 744146 h 2091729"/>
              <a:gd name="csX54" fmla="*/ 508215 w 729419"/>
              <a:gd name="csY54" fmla="*/ 758841 h 2091729"/>
              <a:gd name="csX55" fmla="*/ 497442 w 729419"/>
              <a:gd name="csY55" fmla="*/ 771256 h 2091729"/>
              <a:gd name="csX56" fmla="*/ 493005 w 729419"/>
              <a:gd name="csY56" fmla="*/ 922055 h 2091729"/>
              <a:gd name="csX57" fmla="*/ 502900 w 729419"/>
              <a:gd name="csY57" fmla="*/ 1114191 h 2091729"/>
              <a:gd name="csX58" fmla="*/ 508800 w 729419"/>
              <a:gd name="csY58" fmla="*/ 1205474 h 2091729"/>
              <a:gd name="csX59" fmla="*/ 522952 w 729419"/>
              <a:gd name="csY59" fmla="*/ 1320065 h 2091729"/>
              <a:gd name="csX60" fmla="*/ 554682 w 729419"/>
              <a:gd name="csY60" fmla="*/ 1501203 h 2091729"/>
              <a:gd name="csX61" fmla="*/ 576958 w 729419"/>
              <a:gd name="csY61" fmla="*/ 1593963 h 2091729"/>
              <a:gd name="csX62" fmla="*/ 595349 w 729419"/>
              <a:gd name="csY62" fmla="*/ 1613498 h 2091729"/>
              <a:gd name="csX63" fmla="*/ 613936 w 729419"/>
              <a:gd name="csY63" fmla="*/ 1624058 h 2091729"/>
              <a:gd name="csX64" fmla="*/ 620938 w 729419"/>
              <a:gd name="csY64" fmla="*/ 1652071 h 2091729"/>
              <a:gd name="csX65" fmla="*/ 630805 w 729419"/>
              <a:gd name="csY65" fmla="*/ 1721702 h 2091729"/>
              <a:gd name="csX66" fmla="*/ 685830 w 729419"/>
              <a:gd name="csY66" fmla="*/ 1792915 h 2091729"/>
              <a:gd name="csX67" fmla="*/ 708904 w 729419"/>
              <a:gd name="csY67" fmla="*/ 1890290 h 2091729"/>
              <a:gd name="csX68" fmla="*/ 716580 w 729419"/>
              <a:gd name="csY68" fmla="*/ 1951136 h 2091729"/>
              <a:gd name="csX69" fmla="*/ 729397 w 729419"/>
              <a:gd name="csY69" fmla="*/ 2030261 h 2091729"/>
              <a:gd name="csX70" fmla="*/ 714212 w 729419"/>
              <a:gd name="csY70" fmla="*/ 2049544 h 2091729"/>
              <a:gd name="csX71" fmla="*/ 645428 w 729419"/>
              <a:gd name="csY71" fmla="*/ 2070825 h 2091729"/>
              <a:gd name="csX72" fmla="*/ 635822 w 729419"/>
              <a:gd name="csY72" fmla="*/ 2075145 h 2091729"/>
              <a:gd name="csX73" fmla="*/ 588428 w 729419"/>
              <a:gd name="csY73" fmla="*/ 2075144 h 2091729"/>
              <a:gd name="csX74" fmla="*/ 590041 w 729419"/>
              <a:gd name="csY74" fmla="*/ 2071383 h 2091729"/>
              <a:gd name="csX75" fmla="*/ 667788 w 729419"/>
              <a:gd name="csY75" fmla="*/ 2056852 h 2091729"/>
              <a:gd name="csX76" fmla="*/ 706629 w 729419"/>
              <a:gd name="csY76" fmla="*/ 2044290 h 2091729"/>
              <a:gd name="csX77" fmla="*/ 702674 w 729419"/>
              <a:gd name="csY77" fmla="*/ 2041581 h 2091729"/>
              <a:gd name="csX78" fmla="*/ 544974 w 729419"/>
              <a:gd name="csY78" fmla="*/ 2071274 h 2091729"/>
              <a:gd name="csX79" fmla="*/ 538352 w 729419"/>
              <a:gd name="csY79" fmla="*/ 2076207 h 2091729"/>
              <a:gd name="csX80" fmla="*/ 96263 w 729419"/>
              <a:gd name="csY80" fmla="*/ 2076207 h 2091729"/>
              <a:gd name="csX81" fmla="*/ 489970 w 729419"/>
              <a:gd name="csY81" fmla="*/ 152208 h 2091729"/>
              <a:gd name="csX82" fmla="*/ 490754 w 729419"/>
              <a:gd name="csY82" fmla="*/ 152592 h 2091729"/>
              <a:gd name="csX83" fmla="*/ 489489 w 729419"/>
              <a:gd name="csY83" fmla="*/ 149547 h 2091729"/>
              <a:gd name="csX84" fmla="*/ 393621 w 729419"/>
              <a:gd name="csY84" fmla="*/ 99259 h 2091729"/>
              <a:gd name="csX85" fmla="*/ 390419 w 729419"/>
              <a:gd name="csY85" fmla="*/ 18568 h 2091729"/>
              <a:gd name="csX86" fmla="*/ 334131 w 729419"/>
              <a:gd name="csY86" fmla="*/ 24327 h 2091729"/>
              <a:gd name="csX87" fmla="*/ 344678 w 729419"/>
              <a:gd name="csY87" fmla="*/ 101259 h 2091729"/>
              <a:gd name="csX88" fmla="*/ 298854 w 729419"/>
              <a:gd name="csY88" fmla="*/ 114003 h 2091729"/>
              <a:gd name="csX89" fmla="*/ 237456 w 729419"/>
              <a:gd name="csY89" fmla="*/ 154340 h 2091729"/>
              <a:gd name="csX90" fmla="*/ 240382 w 729419"/>
              <a:gd name="csY90" fmla="*/ 154035 h 2091729"/>
              <a:gd name="csX91" fmla="*/ 262731 w 729419"/>
              <a:gd name="csY91" fmla="*/ 170426 h 2091729"/>
              <a:gd name="csX92" fmla="*/ 279169 w 729419"/>
              <a:gd name="csY92" fmla="*/ 193173 h 2091729"/>
              <a:gd name="csX93" fmla="*/ 327717 w 729419"/>
              <a:gd name="csY93" fmla="*/ 188556 h 2091729"/>
              <a:gd name="csX94" fmla="*/ 348052 w 729419"/>
              <a:gd name="csY94" fmla="*/ 156919 h 2091729"/>
              <a:gd name="csX95" fmla="*/ 380330 w 729419"/>
              <a:gd name="csY95" fmla="*/ 156483 h 2091729"/>
              <a:gd name="csX96" fmla="*/ 408490 w 729419"/>
              <a:gd name="csY96" fmla="*/ 195400 h 2091729"/>
              <a:gd name="csX97" fmla="*/ 445346 w 729419"/>
              <a:gd name="csY97" fmla="*/ 197582 h 2091729"/>
              <a:gd name="csX98" fmla="*/ 464798 w 729419"/>
              <a:gd name="csY98" fmla="*/ 174107 h 2091729"/>
              <a:gd name="csX99" fmla="*/ 489970 w 729419"/>
              <a:gd name="csY99" fmla="*/ 152208 h 2091729"/>
              <a:gd name="csX100" fmla="*/ 140694 w 729419"/>
              <a:gd name="csY100" fmla="*/ 201837 h 2091729"/>
              <a:gd name="csX101" fmla="*/ 139834 w 729419"/>
              <a:gd name="csY101" fmla="*/ 201482 h 2091729"/>
              <a:gd name="csX102" fmla="*/ 140812 w 729419"/>
              <a:gd name="csY102" fmla="*/ 204941 h 2091729"/>
              <a:gd name="csX103" fmla="*/ 144631 w 729419"/>
              <a:gd name="csY103" fmla="*/ 217811 h 2091729"/>
              <a:gd name="csX104" fmla="*/ 201241 w 729419"/>
              <a:gd name="csY104" fmla="*/ 373387 h 2091729"/>
              <a:gd name="csX105" fmla="*/ 235971 w 729419"/>
              <a:gd name="csY105" fmla="*/ 504451 h 2091729"/>
              <a:gd name="csX106" fmla="*/ 247475 w 729419"/>
              <a:gd name="csY106" fmla="*/ 513241 h 2091729"/>
              <a:gd name="csX107" fmla="*/ 289066 w 729419"/>
              <a:gd name="csY107" fmla="*/ 511170 h 2091729"/>
              <a:gd name="csX108" fmla="*/ 378229 w 729419"/>
              <a:gd name="csY108" fmla="*/ 511084 h 2091729"/>
              <a:gd name="csX109" fmla="*/ 470850 w 729419"/>
              <a:gd name="csY109" fmla="*/ 516341 h 2091729"/>
              <a:gd name="csX110" fmla="*/ 492933 w 729419"/>
              <a:gd name="csY110" fmla="*/ 497969 h 2091729"/>
              <a:gd name="csX111" fmla="*/ 557617 w 729419"/>
              <a:gd name="csY111" fmla="*/ 280398 h 2091729"/>
              <a:gd name="csX112" fmla="*/ 588788 w 729419"/>
              <a:gd name="csY112" fmla="*/ 200385 h 2091729"/>
              <a:gd name="csX113" fmla="*/ 530958 w 729419"/>
              <a:gd name="csY113" fmla="*/ 232968 h 2091729"/>
              <a:gd name="csX114" fmla="*/ 483823 w 729419"/>
              <a:gd name="csY114" fmla="*/ 190364 h 2091729"/>
              <a:gd name="csX115" fmla="*/ 466649 w 729419"/>
              <a:gd name="csY115" fmla="*/ 209061 h 2091729"/>
              <a:gd name="csX116" fmla="*/ 399941 w 729419"/>
              <a:gd name="csY116" fmla="*/ 216988 h 2091729"/>
              <a:gd name="csX117" fmla="*/ 363018 w 729419"/>
              <a:gd name="csY117" fmla="*/ 179615 h 2091729"/>
              <a:gd name="csX118" fmla="*/ 308839 w 729419"/>
              <a:gd name="csY118" fmla="*/ 227846 h 2091729"/>
              <a:gd name="csX119" fmla="*/ 245077 w 729419"/>
              <a:gd name="csY119" fmla="*/ 192402 h 2091729"/>
              <a:gd name="csX120" fmla="*/ 242829 w 729419"/>
              <a:gd name="csY120" fmla="*/ 198815 h 2091729"/>
              <a:gd name="csX121" fmla="*/ 168452 w 729419"/>
              <a:gd name="csY121" fmla="*/ 219348 h 2091729"/>
              <a:gd name="csX122" fmla="*/ 140694 w 729419"/>
              <a:gd name="csY122" fmla="*/ 201837 h 2091729"/>
              <a:gd name="csX123" fmla="*/ 259999 w 729419"/>
              <a:gd name="csY123" fmla="*/ 966699 h 2091729"/>
              <a:gd name="csX124" fmla="*/ 257072 w 729419"/>
              <a:gd name="csY124" fmla="*/ 1070424 h 2091729"/>
              <a:gd name="csX125" fmla="*/ 251372 w 729419"/>
              <a:gd name="csY125" fmla="*/ 1157618 h 2091729"/>
              <a:gd name="csX126" fmla="*/ 232677 w 729419"/>
              <a:gd name="csY126" fmla="*/ 1320279 h 2091729"/>
              <a:gd name="csX127" fmla="*/ 209182 w 729419"/>
              <a:gd name="csY127" fmla="*/ 1468667 h 2091729"/>
              <a:gd name="csX128" fmla="*/ 175302 w 729419"/>
              <a:gd name="csY128" fmla="*/ 1616623 h 2091729"/>
              <a:gd name="csX129" fmla="*/ 182769 w 729419"/>
              <a:gd name="csY129" fmla="*/ 1629786 h 2091729"/>
              <a:gd name="csX130" fmla="*/ 212156 w 729419"/>
              <a:gd name="csY130" fmla="*/ 1632656 h 2091729"/>
              <a:gd name="csX131" fmla="*/ 351295 w 729419"/>
              <a:gd name="csY131" fmla="*/ 1632801 h 2091729"/>
              <a:gd name="csX132" fmla="*/ 376150 w 729419"/>
              <a:gd name="csY132" fmla="*/ 1608307 h 2091729"/>
              <a:gd name="csX133" fmla="*/ 373450 w 729419"/>
              <a:gd name="csY133" fmla="*/ 1457291 h 2091729"/>
              <a:gd name="csX134" fmla="*/ 370936 w 729419"/>
              <a:gd name="csY134" fmla="*/ 1342736 h 2091729"/>
              <a:gd name="csX135" fmla="*/ 368328 w 729419"/>
              <a:gd name="csY135" fmla="*/ 1203878 h 2091729"/>
              <a:gd name="csX136" fmla="*/ 367836 w 729419"/>
              <a:gd name="csY136" fmla="*/ 813478 h 2091729"/>
              <a:gd name="csX137" fmla="*/ 365240 w 729419"/>
              <a:gd name="csY137" fmla="*/ 773243 h 2091729"/>
              <a:gd name="csX138" fmla="*/ 353084 w 729419"/>
              <a:gd name="csY138" fmla="*/ 762083 h 2091729"/>
              <a:gd name="csX139" fmla="*/ 280966 w 729419"/>
              <a:gd name="csY139" fmla="*/ 759855 h 2091729"/>
              <a:gd name="csX140" fmla="*/ 259965 w 729419"/>
              <a:gd name="csY140" fmla="*/ 779553 h 2091729"/>
              <a:gd name="csX141" fmla="*/ 262341 w 729419"/>
              <a:gd name="csY141" fmla="*/ 856275 h 2091729"/>
              <a:gd name="csX142" fmla="*/ 259999 w 729419"/>
              <a:gd name="csY142" fmla="*/ 966699 h 2091729"/>
              <a:gd name="csX143" fmla="*/ 55556 w 729419"/>
              <a:gd name="csY143" fmla="*/ 1835827 h 2091729"/>
              <a:gd name="csX144" fmla="*/ 49393 w 729419"/>
              <a:gd name="csY144" fmla="*/ 1878155 h 2091729"/>
              <a:gd name="csX145" fmla="*/ 73949 w 729419"/>
              <a:gd name="csY145" fmla="*/ 1905781 h 2091729"/>
              <a:gd name="csX146" fmla="*/ 110073 w 729419"/>
              <a:gd name="csY146" fmla="*/ 1909068 h 2091729"/>
              <a:gd name="csX147" fmla="*/ 224745 w 729419"/>
              <a:gd name="csY147" fmla="*/ 1921652 h 2091729"/>
              <a:gd name="csX148" fmla="*/ 347327 w 729419"/>
              <a:gd name="csY148" fmla="*/ 1924778 h 2091729"/>
              <a:gd name="csX149" fmla="*/ 363345 w 729419"/>
              <a:gd name="csY149" fmla="*/ 1923293 h 2091729"/>
              <a:gd name="csX150" fmla="*/ 373787 w 729419"/>
              <a:gd name="csY150" fmla="*/ 1911200 h 2091729"/>
              <a:gd name="csX151" fmla="*/ 376623 w 729419"/>
              <a:gd name="csY151" fmla="*/ 1696741 h 2091729"/>
              <a:gd name="csX152" fmla="*/ 360437 w 729419"/>
              <a:gd name="csY152" fmla="*/ 1681289 h 2091729"/>
              <a:gd name="csX153" fmla="*/ 263503 w 729419"/>
              <a:gd name="csY153" fmla="*/ 1678179 h 2091729"/>
              <a:gd name="csX154" fmla="*/ 160381 w 729419"/>
              <a:gd name="csY154" fmla="*/ 1670405 h 2091729"/>
              <a:gd name="csX155" fmla="*/ 143321 w 729419"/>
              <a:gd name="csY155" fmla="*/ 1685538 h 2091729"/>
              <a:gd name="csX156" fmla="*/ 124769 w 729419"/>
              <a:gd name="csY156" fmla="*/ 1738195 h 2091729"/>
              <a:gd name="csX157" fmla="*/ 90593 w 729419"/>
              <a:gd name="csY157" fmla="*/ 1779570 h 2091729"/>
              <a:gd name="csX158" fmla="*/ 55556 w 729419"/>
              <a:gd name="csY158" fmla="*/ 1835827 h 2091729"/>
              <a:gd name="csX159" fmla="*/ 378900 w 729419"/>
              <a:gd name="csY159" fmla="*/ 2007280 h 2091729"/>
              <a:gd name="csX160" fmla="*/ 378887 w 729419"/>
              <a:gd name="csY160" fmla="*/ 1995127 h 2091729"/>
              <a:gd name="csX161" fmla="*/ 359084 w 729419"/>
              <a:gd name="csY161" fmla="*/ 1975964 h 2091729"/>
              <a:gd name="csX162" fmla="*/ 247288 w 729419"/>
              <a:gd name="csY162" fmla="*/ 1973305 h 2091729"/>
              <a:gd name="csX163" fmla="*/ 201692 w 729419"/>
              <a:gd name="csY163" fmla="*/ 1970275 h 2091729"/>
              <a:gd name="csX164" fmla="*/ 57962 w 729419"/>
              <a:gd name="csY164" fmla="*/ 1952648 h 2091729"/>
              <a:gd name="csX165" fmla="*/ 39194 w 729419"/>
              <a:gd name="csY165" fmla="*/ 1963552 h 2091729"/>
              <a:gd name="csX166" fmla="*/ 30066 w 729419"/>
              <a:gd name="csY166" fmla="*/ 2006631 h 2091729"/>
              <a:gd name="csX167" fmla="*/ 40232 w 729419"/>
              <a:gd name="csY167" fmla="*/ 2019486 h 2091729"/>
              <a:gd name="csX168" fmla="*/ 238186 w 729419"/>
              <a:gd name="csY168" fmla="*/ 2046096 h 2091729"/>
              <a:gd name="csX169" fmla="*/ 342155 w 729419"/>
              <a:gd name="csY169" fmla="*/ 2046441 h 2091729"/>
              <a:gd name="csX170" fmla="*/ 378900 w 729419"/>
              <a:gd name="csY170" fmla="*/ 2007280 h 2091729"/>
              <a:gd name="csX171" fmla="*/ 310220 w 729419"/>
              <a:gd name="csY171" fmla="*/ 554288 h 2091729"/>
              <a:gd name="csX172" fmla="*/ 259136 w 729419"/>
              <a:gd name="csY172" fmla="*/ 556881 h 2091729"/>
              <a:gd name="csX173" fmla="*/ 249085 w 729419"/>
              <a:gd name="csY173" fmla="*/ 567981 h 2091729"/>
              <a:gd name="csX174" fmla="*/ 249141 w 729419"/>
              <a:gd name="csY174" fmla="*/ 605644 h 2091729"/>
              <a:gd name="csX175" fmla="*/ 262628 w 729419"/>
              <a:gd name="csY175" fmla="*/ 605627 h 2091729"/>
              <a:gd name="csX176" fmla="*/ 369608 w 729419"/>
              <a:gd name="csY176" fmla="*/ 603027 h 2091729"/>
              <a:gd name="csX177" fmla="*/ 463931 w 729419"/>
              <a:gd name="csY177" fmla="*/ 605146 h 2091729"/>
              <a:gd name="csX178" fmla="*/ 478113 w 729419"/>
              <a:gd name="csY178" fmla="*/ 595843 h 2091729"/>
              <a:gd name="csX179" fmla="*/ 478796 w 729419"/>
              <a:gd name="csY179" fmla="*/ 556832 h 2091729"/>
              <a:gd name="csX180" fmla="*/ 310220 w 729419"/>
              <a:gd name="csY180" fmla="*/ 554288 h 2091729"/>
              <a:gd name="csX181" fmla="*/ 348836 w 729419"/>
              <a:gd name="csY181" fmla="*/ 684115 h 2091729"/>
              <a:gd name="csX182" fmla="*/ 281333 w 729419"/>
              <a:gd name="csY182" fmla="*/ 683313 h 2091729"/>
              <a:gd name="csX183" fmla="*/ 212728 w 729419"/>
              <a:gd name="csY183" fmla="*/ 681931 h 2091729"/>
              <a:gd name="csX184" fmla="*/ 187283 w 729419"/>
              <a:gd name="csY184" fmla="*/ 689555 h 2091729"/>
              <a:gd name="csX185" fmla="*/ 186163 w 729419"/>
              <a:gd name="csY185" fmla="*/ 718266 h 2091729"/>
              <a:gd name="csX186" fmla="*/ 209894 w 729419"/>
              <a:gd name="csY186" fmla="*/ 726798 h 2091729"/>
              <a:gd name="csX187" fmla="*/ 334814 w 729419"/>
              <a:gd name="csY187" fmla="*/ 732494 h 2091729"/>
              <a:gd name="csX188" fmla="*/ 364856 w 729419"/>
              <a:gd name="csY188" fmla="*/ 707963 h 2091729"/>
              <a:gd name="csX189" fmla="*/ 348836 w 729419"/>
              <a:gd name="csY189" fmla="*/ 684115 h 2091729"/>
              <a:gd name="csX190" fmla="*/ 298865 w 729419"/>
              <a:gd name="csY190" fmla="*/ 621954 h 2091729"/>
              <a:gd name="csX191" fmla="*/ 251619 w 729419"/>
              <a:gd name="csY191" fmla="*/ 622133 h 2091729"/>
              <a:gd name="csX192" fmla="*/ 214459 w 729419"/>
              <a:gd name="csY192" fmla="*/ 636230 h 2091729"/>
              <a:gd name="csX193" fmla="*/ 221436 w 729419"/>
              <a:gd name="csY193" fmla="*/ 654205 h 2091729"/>
              <a:gd name="csX194" fmla="*/ 272412 w 729419"/>
              <a:gd name="csY194" fmla="*/ 657250 h 2091729"/>
              <a:gd name="csX195" fmla="*/ 349094 w 729419"/>
              <a:gd name="csY195" fmla="*/ 659282 h 2091729"/>
              <a:gd name="csX196" fmla="*/ 362996 w 729419"/>
              <a:gd name="csY196" fmla="*/ 644234 h 2091729"/>
              <a:gd name="csX197" fmla="*/ 348472 w 729419"/>
              <a:gd name="csY197" fmla="*/ 624649 h 2091729"/>
              <a:gd name="csX198" fmla="*/ 298865 w 729419"/>
              <a:gd name="csY198" fmla="*/ 621954 h 2091729"/>
              <a:gd name="csX199" fmla="*/ 227796 w 729419"/>
              <a:gd name="csY199" fmla="*/ 528000 h 2091729"/>
              <a:gd name="csX200" fmla="*/ 241009 w 729419"/>
              <a:gd name="csY200" fmla="*/ 545897 h 2091729"/>
              <a:gd name="csX201" fmla="*/ 282607 w 729419"/>
              <a:gd name="csY201" fmla="*/ 543480 h 2091729"/>
              <a:gd name="csX202" fmla="*/ 354213 w 729419"/>
              <a:gd name="csY202" fmla="*/ 543384 h 2091729"/>
              <a:gd name="csX203" fmla="*/ 365334 w 729419"/>
              <a:gd name="csY203" fmla="*/ 533397 h 2091729"/>
              <a:gd name="csX204" fmla="*/ 354531 w 729419"/>
              <a:gd name="csY204" fmla="*/ 521620 h 2091729"/>
              <a:gd name="csX205" fmla="*/ 259169 w 729419"/>
              <a:gd name="csY205" fmla="*/ 521978 h 2091729"/>
              <a:gd name="csX206" fmla="*/ 227796 w 729419"/>
              <a:gd name="csY206" fmla="*/ 528000 h 2091729"/>
              <a:gd name="csX207" fmla="*/ 508068 w 729419"/>
              <a:gd name="csY207" fmla="*/ 190710 h 2091729"/>
              <a:gd name="csX208" fmla="*/ 521293 w 729419"/>
              <a:gd name="csY208" fmla="*/ 205907 h 2091729"/>
              <a:gd name="csX209" fmla="*/ 525175 w 729419"/>
              <a:gd name="csY209" fmla="*/ 202985 h 2091729"/>
              <a:gd name="csX210" fmla="*/ 500276 w 729419"/>
              <a:gd name="csY210" fmla="*/ 160640 h 2091729"/>
              <a:gd name="csX211" fmla="*/ 497122 w 729419"/>
              <a:gd name="csY211" fmla="*/ 162007 h 2091729"/>
              <a:gd name="csX212" fmla="*/ 508068 w 729419"/>
              <a:gd name="csY212" fmla="*/ 190710 h 2091729"/>
              <a:gd name="csX213" fmla="*/ 215522 w 729419"/>
              <a:gd name="csY213" fmla="*/ 197296 h 2091729"/>
              <a:gd name="csX214" fmla="*/ 234029 w 729419"/>
              <a:gd name="csY214" fmla="*/ 162725 h 2091729"/>
              <a:gd name="csX215" fmla="*/ 229000 w 729419"/>
              <a:gd name="csY215" fmla="*/ 159902 h 2091729"/>
              <a:gd name="csX216" fmla="*/ 204824 w 729419"/>
              <a:gd name="csY216" fmla="*/ 199677 h 2091729"/>
              <a:gd name="csX217" fmla="*/ 207990 w 729419"/>
              <a:gd name="csY217" fmla="*/ 202198 h 2091729"/>
              <a:gd name="csX218" fmla="*/ 215522 w 729419"/>
              <a:gd name="csY218" fmla="*/ 197296 h 2091729"/>
              <a:gd name="csX219" fmla="*/ 484400 w 729419"/>
              <a:gd name="csY219" fmla="*/ 896678 h 2091729"/>
              <a:gd name="csX220" fmla="*/ 486181 w 729419"/>
              <a:gd name="csY220" fmla="*/ 896585 h 2091729"/>
              <a:gd name="csX221" fmla="*/ 486181 w 729419"/>
              <a:gd name="csY221" fmla="*/ 795289 h 2091729"/>
              <a:gd name="csX222" fmla="*/ 720241 w 729419"/>
              <a:gd name="csY222" fmla="*/ 2030666 h 2091729"/>
              <a:gd name="csX223" fmla="*/ 721175 w 729419"/>
              <a:gd name="csY223" fmla="*/ 2029733 h 2091729"/>
              <a:gd name="csX224" fmla="*/ 720241 w 729419"/>
              <a:gd name="csY224" fmla="*/ 2030666 h 2091729"/>
              <a:gd name="csX225" fmla="*/ 715702 w 729419"/>
              <a:gd name="csY225" fmla="*/ 2037051 h 2091729"/>
              <a:gd name="csX226" fmla="*/ 715702 w 729419"/>
              <a:gd name="csY226" fmla="*/ 2037051 h 2091729"/>
              <a:gd name="csX0" fmla="*/ 96263 w 729419"/>
              <a:gd name="csY0" fmla="*/ 2076207 h 2102400"/>
              <a:gd name="csX1" fmla="*/ 63862 w 729419"/>
              <a:gd name="csY1" fmla="*/ 2065388 h 2102400"/>
              <a:gd name="csX2" fmla="*/ 16555 w 729419"/>
              <a:gd name="csY2" fmla="*/ 2050152 h 2102400"/>
              <a:gd name="csX3" fmla="*/ 15 w 729419"/>
              <a:gd name="csY3" fmla="*/ 2023802 h 2102400"/>
              <a:gd name="csX4" fmla="*/ 18368 w 729419"/>
              <a:gd name="csY4" fmla="*/ 1940709 h 2102400"/>
              <a:gd name="csX5" fmla="*/ 22139 w 729419"/>
              <a:gd name="csY5" fmla="*/ 1907268 h 2102400"/>
              <a:gd name="csX6" fmla="*/ 57941 w 729419"/>
              <a:gd name="csY6" fmla="*/ 1774163 h 2102400"/>
              <a:gd name="csX7" fmla="*/ 102478 w 729419"/>
              <a:gd name="csY7" fmla="*/ 1720275 h 2102400"/>
              <a:gd name="csX8" fmla="*/ 108579 w 729419"/>
              <a:gd name="csY8" fmla="*/ 1650967 h 2102400"/>
              <a:gd name="csX9" fmla="*/ 115628 w 729419"/>
              <a:gd name="csY9" fmla="*/ 1625405 h 2102400"/>
              <a:gd name="csX10" fmla="*/ 156323 w 729419"/>
              <a:gd name="csY10" fmla="*/ 1560181 h 2102400"/>
              <a:gd name="csX11" fmla="*/ 199424 w 729419"/>
              <a:gd name="csY11" fmla="*/ 1364729 h 2102400"/>
              <a:gd name="csX12" fmla="*/ 216779 w 729419"/>
              <a:gd name="csY12" fmla="*/ 1219490 h 2102400"/>
              <a:gd name="csX13" fmla="*/ 229755 w 729419"/>
              <a:gd name="csY13" fmla="*/ 1099357 h 2102400"/>
              <a:gd name="csX14" fmla="*/ 232707 w 729419"/>
              <a:gd name="csY14" fmla="*/ 1056423 h 2102400"/>
              <a:gd name="csX15" fmla="*/ 235622 w 729419"/>
              <a:gd name="csY15" fmla="*/ 952675 h 2102400"/>
              <a:gd name="csX16" fmla="*/ 235445 w 729419"/>
              <a:gd name="csY16" fmla="*/ 780278 h 2102400"/>
              <a:gd name="csX17" fmla="*/ 214544 w 729419"/>
              <a:gd name="csY17" fmla="*/ 756435 h 2102400"/>
              <a:gd name="csX18" fmla="*/ 172569 w 729419"/>
              <a:gd name="csY18" fmla="*/ 742582 h 2102400"/>
              <a:gd name="csX19" fmla="*/ 168784 w 729419"/>
              <a:gd name="csY19" fmla="*/ 669116 h 2102400"/>
              <a:gd name="csX20" fmla="*/ 191657 w 729419"/>
              <a:gd name="csY20" fmla="*/ 630765 h 2102400"/>
              <a:gd name="csX21" fmla="*/ 208150 w 729419"/>
              <a:gd name="csY21" fmla="*/ 609084 h 2102400"/>
              <a:gd name="csX22" fmla="*/ 216756 w 729419"/>
              <a:gd name="csY22" fmla="*/ 558673 h 2102400"/>
              <a:gd name="csX23" fmla="*/ 209092 w 729419"/>
              <a:gd name="csY23" fmla="*/ 521540 h 2102400"/>
              <a:gd name="csX24" fmla="*/ 204683 w 729419"/>
              <a:gd name="csY24" fmla="*/ 474024 h 2102400"/>
              <a:gd name="csX25" fmla="*/ 115483 w 729419"/>
              <a:gd name="csY25" fmla="*/ 213499 h 2102400"/>
              <a:gd name="csX26" fmla="*/ 102909 w 729419"/>
              <a:gd name="csY26" fmla="*/ 182297 h 2102400"/>
              <a:gd name="csX27" fmla="*/ 104315 w 729419"/>
              <a:gd name="csY27" fmla="*/ 163968 h 2102400"/>
              <a:gd name="csX28" fmla="*/ 122444 w 729419"/>
              <a:gd name="csY28" fmla="*/ 160805 h 2102400"/>
              <a:gd name="csX29" fmla="*/ 170283 w 729419"/>
              <a:gd name="csY29" fmla="*/ 187783 h 2102400"/>
              <a:gd name="csX30" fmla="*/ 180938 w 729419"/>
              <a:gd name="csY30" fmla="*/ 195322 h 2102400"/>
              <a:gd name="csX31" fmla="*/ 221419 w 729419"/>
              <a:gd name="csY31" fmla="*/ 138058 h 2102400"/>
              <a:gd name="csX32" fmla="*/ 294099 w 729419"/>
              <a:gd name="csY32" fmla="*/ 91372 h 2102400"/>
              <a:gd name="csX33" fmla="*/ 302307 w 729419"/>
              <a:gd name="csY33" fmla="*/ 76560 h 2102400"/>
              <a:gd name="csX34" fmla="*/ 320284 w 729419"/>
              <a:gd name="csY34" fmla="*/ 8414 h 2102400"/>
              <a:gd name="csX35" fmla="*/ 324784 w 729419"/>
              <a:gd name="csY35" fmla="*/ 946 h 2102400"/>
              <a:gd name="csX36" fmla="*/ 399212 w 729419"/>
              <a:gd name="csY36" fmla="*/ 0 h 2102400"/>
              <a:gd name="csX37" fmla="*/ 425980 w 729419"/>
              <a:gd name="csY37" fmla="*/ 78301 h 2102400"/>
              <a:gd name="csX38" fmla="*/ 431861 w 729419"/>
              <a:gd name="csY38" fmla="*/ 90312 h 2102400"/>
              <a:gd name="csX39" fmla="*/ 540349 w 729419"/>
              <a:gd name="csY39" fmla="*/ 187946 h 2102400"/>
              <a:gd name="csX40" fmla="*/ 545555 w 729419"/>
              <a:gd name="csY40" fmla="*/ 197828 h 2102400"/>
              <a:gd name="csX41" fmla="*/ 587318 w 729419"/>
              <a:gd name="csY41" fmla="*/ 171260 h 2102400"/>
              <a:gd name="csX42" fmla="*/ 601503 w 729419"/>
              <a:gd name="csY42" fmla="*/ 163707 h 2102400"/>
              <a:gd name="csX43" fmla="*/ 625254 w 729419"/>
              <a:gd name="csY43" fmla="*/ 163123 h 2102400"/>
              <a:gd name="csX44" fmla="*/ 625468 w 729419"/>
              <a:gd name="csY44" fmla="*/ 187579 h 2102400"/>
              <a:gd name="csX45" fmla="*/ 597543 w 729419"/>
              <a:gd name="csY45" fmla="*/ 251872 h 2102400"/>
              <a:gd name="csX46" fmla="*/ 531831 w 729419"/>
              <a:gd name="csY46" fmla="*/ 442689 h 2102400"/>
              <a:gd name="csX47" fmla="*/ 519888 w 729419"/>
              <a:gd name="csY47" fmla="*/ 501474 h 2102400"/>
              <a:gd name="csX48" fmla="*/ 522506 w 729419"/>
              <a:gd name="csY48" fmla="*/ 525086 h 2102400"/>
              <a:gd name="csX49" fmla="*/ 516235 w 729419"/>
              <a:gd name="csY49" fmla="*/ 555946 h 2102400"/>
              <a:gd name="csX50" fmla="*/ 521332 w 729419"/>
              <a:gd name="csY50" fmla="*/ 610676 h 2102400"/>
              <a:gd name="csX51" fmla="*/ 541382 w 729419"/>
              <a:gd name="csY51" fmla="*/ 642597 h 2102400"/>
              <a:gd name="csX52" fmla="*/ 557031 w 729419"/>
              <a:gd name="csY52" fmla="*/ 667949 h 2102400"/>
              <a:gd name="csX53" fmla="*/ 553994 w 729419"/>
              <a:gd name="csY53" fmla="*/ 744146 h 2102400"/>
              <a:gd name="csX54" fmla="*/ 508215 w 729419"/>
              <a:gd name="csY54" fmla="*/ 758841 h 2102400"/>
              <a:gd name="csX55" fmla="*/ 497442 w 729419"/>
              <a:gd name="csY55" fmla="*/ 771256 h 2102400"/>
              <a:gd name="csX56" fmla="*/ 493005 w 729419"/>
              <a:gd name="csY56" fmla="*/ 922055 h 2102400"/>
              <a:gd name="csX57" fmla="*/ 502900 w 729419"/>
              <a:gd name="csY57" fmla="*/ 1114191 h 2102400"/>
              <a:gd name="csX58" fmla="*/ 508800 w 729419"/>
              <a:gd name="csY58" fmla="*/ 1205474 h 2102400"/>
              <a:gd name="csX59" fmla="*/ 522952 w 729419"/>
              <a:gd name="csY59" fmla="*/ 1320065 h 2102400"/>
              <a:gd name="csX60" fmla="*/ 554682 w 729419"/>
              <a:gd name="csY60" fmla="*/ 1501203 h 2102400"/>
              <a:gd name="csX61" fmla="*/ 576958 w 729419"/>
              <a:gd name="csY61" fmla="*/ 1593963 h 2102400"/>
              <a:gd name="csX62" fmla="*/ 595349 w 729419"/>
              <a:gd name="csY62" fmla="*/ 1613498 h 2102400"/>
              <a:gd name="csX63" fmla="*/ 613936 w 729419"/>
              <a:gd name="csY63" fmla="*/ 1624058 h 2102400"/>
              <a:gd name="csX64" fmla="*/ 620938 w 729419"/>
              <a:gd name="csY64" fmla="*/ 1652071 h 2102400"/>
              <a:gd name="csX65" fmla="*/ 630805 w 729419"/>
              <a:gd name="csY65" fmla="*/ 1721702 h 2102400"/>
              <a:gd name="csX66" fmla="*/ 685830 w 729419"/>
              <a:gd name="csY66" fmla="*/ 1792915 h 2102400"/>
              <a:gd name="csX67" fmla="*/ 708904 w 729419"/>
              <a:gd name="csY67" fmla="*/ 1890290 h 2102400"/>
              <a:gd name="csX68" fmla="*/ 716580 w 729419"/>
              <a:gd name="csY68" fmla="*/ 1951136 h 2102400"/>
              <a:gd name="csX69" fmla="*/ 729397 w 729419"/>
              <a:gd name="csY69" fmla="*/ 2030261 h 2102400"/>
              <a:gd name="csX70" fmla="*/ 714212 w 729419"/>
              <a:gd name="csY70" fmla="*/ 2049544 h 2102400"/>
              <a:gd name="csX71" fmla="*/ 645428 w 729419"/>
              <a:gd name="csY71" fmla="*/ 2070825 h 2102400"/>
              <a:gd name="csX72" fmla="*/ 635822 w 729419"/>
              <a:gd name="csY72" fmla="*/ 2075145 h 2102400"/>
              <a:gd name="csX73" fmla="*/ 588428 w 729419"/>
              <a:gd name="csY73" fmla="*/ 2075144 h 2102400"/>
              <a:gd name="csX74" fmla="*/ 590041 w 729419"/>
              <a:gd name="csY74" fmla="*/ 2071383 h 2102400"/>
              <a:gd name="csX75" fmla="*/ 667788 w 729419"/>
              <a:gd name="csY75" fmla="*/ 2056852 h 2102400"/>
              <a:gd name="csX76" fmla="*/ 706629 w 729419"/>
              <a:gd name="csY76" fmla="*/ 2044290 h 2102400"/>
              <a:gd name="csX77" fmla="*/ 702674 w 729419"/>
              <a:gd name="csY77" fmla="*/ 2041581 h 2102400"/>
              <a:gd name="csX78" fmla="*/ 544974 w 729419"/>
              <a:gd name="csY78" fmla="*/ 2071274 h 2102400"/>
              <a:gd name="csX79" fmla="*/ 538352 w 729419"/>
              <a:gd name="csY79" fmla="*/ 2076207 h 2102400"/>
              <a:gd name="csX80" fmla="*/ 96263 w 729419"/>
              <a:gd name="csY80" fmla="*/ 2076207 h 2102400"/>
              <a:gd name="csX81" fmla="*/ 489970 w 729419"/>
              <a:gd name="csY81" fmla="*/ 152208 h 2102400"/>
              <a:gd name="csX82" fmla="*/ 490754 w 729419"/>
              <a:gd name="csY82" fmla="*/ 152592 h 2102400"/>
              <a:gd name="csX83" fmla="*/ 489489 w 729419"/>
              <a:gd name="csY83" fmla="*/ 149547 h 2102400"/>
              <a:gd name="csX84" fmla="*/ 393621 w 729419"/>
              <a:gd name="csY84" fmla="*/ 99259 h 2102400"/>
              <a:gd name="csX85" fmla="*/ 390419 w 729419"/>
              <a:gd name="csY85" fmla="*/ 18568 h 2102400"/>
              <a:gd name="csX86" fmla="*/ 334131 w 729419"/>
              <a:gd name="csY86" fmla="*/ 24327 h 2102400"/>
              <a:gd name="csX87" fmla="*/ 344678 w 729419"/>
              <a:gd name="csY87" fmla="*/ 101259 h 2102400"/>
              <a:gd name="csX88" fmla="*/ 298854 w 729419"/>
              <a:gd name="csY88" fmla="*/ 114003 h 2102400"/>
              <a:gd name="csX89" fmla="*/ 237456 w 729419"/>
              <a:gd name="csY89" fmla="*/ 154340 h 2102400"/>
              <a:gd name="csX90" fmla="*/ 240382 w 729419"/>
              <a:gd name="csY90" fmla="*/ 154035 h 2102400"/>
              <a:gd name="csX91" fmla="*/ 262731 w 729419"/>
              <a:gd name="csY91" fmla="*/ 170426 h 2102400"/>
              <a:gd name="csX92" fmla="*/ 279169 w 729419"/>
              <a:gd name="csY92" fmla="*/ 193173 h 2102400"/>
              <a:gd name="csX93" fmla="*/ 327717 w 729419"/>
              <a:gd name="csY93" fmla="*/ 188556 h 2102400"/>
              <a:gd name="csX94" fmla="*/ 348052 w 729419"/>
              <a:gd name="csY94" fmla="*/ 156919 h 2102400"/>
              <a:gd name="csX95" fmla="*/ 380330 w 729419"/>
              <a:gd name="csY95" fmla="*/ 156483 h 2102400"/>
              <a:gd name="csX96" fmla="*/ 408490 w 729419"/>
              <a:gd name="csY96" fmla="*/ 195400 h 2102400"/>
              <a:gd name="csX97" fmla="*/ 445346 w 729419"/>
              <a:gd name="csY97" fmla="*/ 197582 h 2102400"/>
              <a:gd name="csX98" fmla="*/ 464798 w 729419"/>
              <a:gd name="csY98" fmla="*/ 174107 h 2102400"/>
              <a:gd name="csX99" fmla="*/ 489970 w 729419"/>
              <a:gd name="csY99" fmla="*/ 152208 h 2102400"/>
              <a:gd name="csX100" fmla="*/ 140694 w 729419"/>
              <a:gd name="csY100" fmla="*/ 201837 h 2102400"/>
              <a:gd name="csX101" fmla="*/ 139834 w 729419"/>
              <a:gd name="csY101" fmla="*/ 201482 h 2102400"/>
              <a:gd name="csX102" fmla="*/ 140812 w 729419"/>
              <a:gd name="csY102" fmla="*/ 204941 h 2102400"/>
              <a:gd name="csX103" fmla="*/ 144631 w 729419"/>
              <a:gd name="csY103" fmla="*/ 217811 h 2102400"/>
              <a:gd name="csX104" fmla="*/ 201241 w 729419"/>
              <a:gd name="csY104" fmla="*/ 373387 h 2102400"/>
              <a:gd name="csX105" fmla="*/ 235971 w 729419"/>
              <a:gd name="csY105" fmla="*/ 504451 h 2102400"/>
              <a:gd name="csX106" fmla="*/ 247475 w 729419"/>
              <a:gd name="csY106" fmla="*/ 513241 h 2102400"/>
              <a:gd name="csX107" fmla="*/ 289066 w 729419"/>
              <a:gd name="csY107" fmla="*/ 511170 h 2102400"/>
              <a:gd name="csX108" fmla="*/ 378229 w 729419"/>
              <a:gd name="csY108" fmla="*/ 511084 h 2102400"/>
              <a:gd name="csX109" fmla="*/ 470850 w 729419"/>
              <a:gd name="csY109" fmla="*/ 516341 h 2102400"/>
              <a:gd name="csX110" fmla="*/ 492933 w 729419"/>
              <a:gd name="csY110" fmla="*/ 497969 h 2102400"/>
              <a:gd name="csX111" fmla="*/ 557617 w 729419"/>
              <a:gd name="csY111" fmla="*/ 280398 h 2102400"/>
              <a:gd name="csX112" fmla="*/ 588788 w 729419"/>
              <a:gd name="csY112" fmla="*/ 200385 h 2102400"/>
              <a:gd name="csX113" fmla="*/ 530958 w 729419"/>
              <a:gd name="csY113" fmla="*/ 232968 h 2102400"/>
              <a:gd name="csX114" fmla="*/ 483823 w 729419"/>
              <a:gd name="csY114" fmla="*/ 190364 h 2102400"/>
              <a:gd name="csX115" fmla="*/ 466649 w 729419"/>
              <a:gd name="csY115" fmla="*/ 209061 h 2102400"/>
              <a:gd name="csX116" fmla="*/ 399941 w 729419"/>
              <a:gd name="csY116" fmla="*/ 216988 h 2102400"/>
              <a:gd name="csX117" fmla="*/ 363018 w 729419"/>
              <a:gd name="csY117" fmla="*/ 179615 h 2102400"/>
              <a:gd name="csX118" fmla="*/ 308839 w 729419"/>
              <a:gd name="csY118" fmla="*/ 227846 h 2102400"/>
              <a:gd name="csX119" fmla="*/ 245077 w 729419"/>
              <a:gd name="csY119" fmla="*/ 192402 h 2102400"/>
              <a:gd name="csX120" fmla="*/ 242829 w 729419"/>
              <a:gd name="csY120" fmla="*/ 198815 h 2102400"/>
              <a:gd name="csX121" fmla="*/ 168452 w 729419"/>
              <a:gd name="csY121" fmla="*/ 219348 h 2102400"/>
              <a:gd name="csX122" fmla="*/ 140694 w 729419"/>
              <a:gd name="csY122" fmla="*/ 201837 h 2102400"/>
              <a:gd name="csX123" fmla="*/ 259999 w 729419"/>
              <a:gd name="csY123" fmla="*/ 966699 h 2102400"/>
              <a:gd name="csX124" fmla="*/ 257072 w 729419"/>
              <a:gd name="csY124" fmla="*/ 1070424 h 2102400"/>
              <a:gd name="csX125" fmla="*/ 251372 w 729419"/>
              <a:gd name="csY125" fmla="*/ 1157618 h 2102400"/>
              <a:gd name="csX126" fmla="*/ 232677 w 729419"/>
              <a:gd name="csY126" fmla="*/ 1320279 h 2102400"/>
              <a:gd name="csX127" fmla="*/ 209182 w 729419"/>
              <a:gd name="csY127" fmla="*/ 1468667 h 2102400"/>
              <a:gd name="csX128" fmla="*/ 175302 w 729419"/>
              <a:gd name="csY128" fmla="*/ 1616623 h 2102400"/>
              <a:gd name="csX129" fmla="*/ 182769 w 729419"/>
              <a:gd name="csY129" fmla="*/ 1629786 h 2102400"/>
              <a:gd name="csX130" fmla="*/ 212156 w 729419"/>
              <a:gd name="csY130" fmla="*/ 1632656 h 2102400"/>
              <a:gd name="csX131" fmla="*/ 351295 w 729419"/>
              <a:gd name="csY131" fmla="*/ 1632801 h 2102400"/>
              <a:gd name="csX132" fmla="*/ 376150 w 729419"/>
              <a:gd name="csY132" fmla="*/ 1608307 h 2102400"/>
              <a:gd name="csX133" fmla="*/ 373450 w 729419"/>
              <a:gd name="csY133" fmla="*/ 1457291 h 2102400"/>
              <a:gd name="csX134" fmla="*/ 370936 w 729419"/>
              <a:gd name="csY134" fmla="*/ 1342736 h 2102400"/>
              <a:gd name="csX135" fmla="*/ 368328 w 729419"/>
              <a:gd name="csY135" fmla="*/ 1203878 h 2102400"/>
              <a:gd name="csX136" fmla="*/ 367836 w 729419"/>
              <a:gd name="csY136" fmla="*/ 813478 h 2102400"/>
              <a:gd name="csX137" fmla="*/ 365240 w 729419"/>
              <a:gd name="csY137" fmla="*/ 773243 h 2102400"/>
              <a:gd name="csX138" fmla="*/ 353084 w 729419"/>
              <a:gd name="csY138" fmla="*/ 762083 h 2102400"/>
              <a:gd name="csX139" fmla="*/ 280966 w 729419"/>
              <a:gd name="csY139" fmla="*/ 759855 h 2102400"/>
              <a:gd name="csX140" fmla="*/ 259965 w 729419"/>
              <a:gd name="csY140" fmla="*/ 779553 h 2102400"/>
              <a:gd name="csX141" fmla="*/ 262341 w 729419"/>
              <a:gd name="csY141" fmla="*/ 856275 h 2102400"/>
              <a:gd name="csX142" fmla="*/ 259999 w 729419"/>
              <a:gd name="csY142" fmla="*/ 966699 h 2102400"/>
              <a:gd name="csX143" fmla="*/ 55556 w 729419"/>
              <a:gd name="csY143" fmla="*/ 1835827 h 2102400"/>
              <a:gd name="csX144" fmla="*/ 49393 w 729419"/>
              <a:gd name="csY144" fmla="*/ 1878155 h 2102400"/>
              <a:gd name="csX145" fmla="*/ 73949 w 729419"/>
              <a:gd name="csY145" fmla="*/ 1905781 h 2102400"/>
              <a:gd name="csX146" fmla="*/ 110073 w 729419"/>
              <a:gd name="csY146" fmla="*/ 1909068 h 2102400"/>
              <a:gd name="csX147" fmla="*/ 224745 w 729419"/>
              <a:gd name="csY147" fmla="*/ 1921652 h 2102400"/>
              <a:gd name="csX148" fmla="*/ 347327 w 729419"/>
              <a:gd name="csY148" fmla="*/ 1924778 h 2102400"/>
              <a:gd name="csX149" fmla="*/ 363345 w 729419"/>
              <a:gd name="csY149" fmla="*/ 1923293 h 2102400"/>
              <a:gd name="csX150" fmla="*/ 373787 w 729419"/>
              <a:gd name="csY150" fmla="*/ 1911200 h 2102400"/>
              <a:gd name="csX151" fmla="*/ 376623 w 729419"/>
              <a:gd name="csY151" fmla="*/ 1696741 h 2102400"/>
              <a:gd name="csX152" fmla="*/ 360437 w 729419"/>
              <a:gd name="csY152" fmla="*/ 1681289 h 2102400"/>
              <a:gd name="csX153" fmla="*/ 263503 w 729419"/>
              <a:gd name="csY153" fmla="*/ 1678179 h 2102400"/>
              <a:gd name="csX154" fmla="*/ 160381 w 729419"/>
              <a:gd name="csY154" fmla="*/ 1670405 h 2102400"/>
              <a:gd name="csX155" fmla="*/ 143321 w 729419"/>
              <a:gd name="csY155" fmla="*/ 1685538 h 2102400"/>
              <a:gd name="csX156" fmla="*/ 124769 w 729419"/>
              <a:gd name="csY156" fmla="*/ 1738195 h 2102400"/>
              <a:gd name="csX157" fmla="*/ 90593 w 729419"/>
              <a:gd name="csY157" fmla="*/ 1779570 h 2102400"/>
              <a:gd name="csX158" fmla="*/ 55556 w 729419"/>
              <a:gd name="csY158" fmla="*/ 1835827 h 2102400"/>
              <a:gd name="csX159" fmla="*/ 378900 w 729419"/>
              <a:gd name="csY159" fmla="*/ 2007280 h 2102400"/>
              <a:gd name="csX160" fmla="*/ 378887 w 729419"/>
              <a:gd name="csY160" fmla="*/ 1995127 h 2102400"/>
              <a:gd name="csX161" fmla="*/ 359084 w 729419"/>
              <a:gd name="csY161" fmla="*/ 1975964 h 2102400"/>
              <a:gd name="csX162" fmla="*/ 247288 w 729419"/>
              <a:gd name="csY162" fmla="*/ 1973305 h 2102400"/>
              <a:gd name="csX163" fmla="*/ 201692 w 729419"/>
              <a:gd name="csY163" fmla="*/ 1970275 h 2102400"/>
              <a:gd name="csX164" fmla="*/ 57962 w 729419"/>
              <a:gd name="csY164" fmla="*/ 1952648 h 2102400"/>
              <a:gd name="csX165" fmla="*/ 39194 w 729419"/>
              <a:gd name="csY165" fmla="*/ 1963552 h 2102400"/>
              <a:gd name="csX166" fmla="*/ 30066 w 729419"/>
              <a:gd name="csY166" fmla="*/ 2006631 h 2102400"/>
              <a:gd name="csX167" fmla="*/ 40232 w 729419"/>
              <a:gd name="csY167" fmla="*/ 2019486 h 2102400"/>
              <a:gd name="csX168" fmla="*/ 238186 w 729419"/>
              <a:gd name="csY168" fmla="*/ 2046096 h 2102400"/>
              <a:gd name="csX169" fmla="*/ 342155 w 729419"/>
              <a:gd name="csY169" fmla="*/ 2046441 h 2102400"/>
              <a:gd name="csX170" fmla="*/ 378900 w 729419"/>
              <a:gd name="csY170" fmla="*/ 2007280 h 2102400"/>
              <a:gd name="csX171" fmla="*/ 310220 w 729419"/>
              <a:gd name="csY171" fmla="*/ 554288 h 2102400"/>
              <a:gd name="csX172" fmla="*/ 259136 w 729419"/>
              <a:gd name="csY172" fmla="*/ 556881 h 2102400"/>
              <a:gd name="csX173" fmla="*/ 249085 w 729419"/>
              <a:gd name="csY173" fmla="*/ 567981 h 2102400"/>
              <a:gd name="csX174" fmla="*/ 249141 w 729419"/>
              <a:gd name="csY174" fmla="*/ 605644 h 2102400"/>
              <a:gd name="csX175" fmla="*/ 262628 w 729419"/>
              <a:gd name="csY175" fmla="*/ 605627 h 2102400"/>
              <a:gd name="csX176" fmla="*/ 369608 w 729419"/>
              <a:gd name="csY176" fmla="*/ 603027 h 2102400"/>
              <a:gd name="csX177" fmla="*/ 463931 w 729419"/>
              <a:gd name="csY177" fmla="*/ 605146 h 2102400"/>
              <a:gd name="csX178" fmla="*/ 478113 w 729419"/>
              <a:gd name="csY178" fmla="*/ 595843 h 2102400"/>
              <a:gd name="csX179" fmla="*/ 478796 w 729419"/>
              <a:gd name="csY179" fmla="*/ 556832 h 2102400"/>
              <a:gd name="csX180" fmla="*/ 310220 w 729419"/>
              <a:gd name="csY180" fmla="*/ 554288 h 2102400"/>
              <a:gd name="csX181" fmla="*/ 348836 w 729419"/>
              <a:gd name="csY181" fmla="*/ 684115 h 2102400"/>
              <a:gd name="csX182" fmla="*/ 281333 w 729419"/>
              <a:gd name="csY182" fmla="*/ 683313 h 2102400"/>
              <a:gd name="csX183" fmla="*/ 212728 w 729419"/>
              <a:gd name="csY183" fmla="*/ 681931 h 2102400"/>
              <a:gd name="csX184" fmla="*/ 187283 w 729419"/>
              <a:gd name="csY184" fmla="*/ 689555 h 2102400"/>
              <a:gd name="csX185" fmla="*/ 186163 w 729419"/>
              <a:gd name="csY185" fmla="*/ 718266 h 2102400"/>
              <a:gd name="csX186" fmla="*/ 209894 w 729419"/>
              <a:gd name="csY186" fmla="*/ 726798 h 2102400"/>
              <a:gd name="csX187" fmla="*/ 334814 w 729419"/>
              <a:gd name="csY187" fmla="*/ 732494 h 2102400"/>
              <a:gd name="csX188" fmla="*/ 364856 w 729419"/>
              <a:gd name="csY188" fmla="*/ 707963 h 2102400"/>
              <a:gd name="csX189" fmla="*/ 348836 w 729419"/>
              <a:gd name="csY189" fmla="*/ 684115 h 2102400"/>
              <a:gd name="csX190" fmla="*/ 298865 w 729419"/>
              <a:gd name="csY190" fmla="*/ 621954 h 2102400"/>
              <a:gd name="csX191" fmla="*/ 251619 w 729419"/>
              <a:gd name="csY191" fmla="*/ 622133 h 2102400"/>
              <a:gd name="csX192" fmla="*/ 214459 w 729419"/>
              <a:gd name="csY192" fmla="*/ 636230 h 2102400"/>
              <a:gd name="csX193" fmla="*/ 221436 w 729419"/>
              <a:gd name="csY193" fmla="*/ 654205 h 2102400"/>
              <a:gd name="csX194" fmla="*/ 272412 w 729419"/>
              <a:gd name="csY194" fmla="*/ 657250 h 2102400"/>
              <a:gd name="csX195" fmla="*/ 349094 w 729419"/>
              <a:gd name="csY195" fmla="*/ 659282 h 2102400"/>
              <a:gd name="csX196" fmla="*/ 362996 w 729419"/>
              <a:gd name="csY196" fmla="*/ 644234 h 2102400"/>
              <a:gd name="csX197" fmla="*/ 348472 w 729419"/>
              <a:gd name="csY197" fmla="*/ 624649 h 2102400"/>
              <a:gd name="csX198" fmla="*/ 298865 w 729419"/>
              <a:gd name="csY198" fmla="*/ 621954 h 2102400"/>
              <a:gd name="csX199" fmla="*/ 227796 w 729419"/>
              <a:gd name="csY199" fmla="*/ 528000 h 2102400"/>
              <a:gd name="csX200" fmla="*/ 241009 w 729419"/>
              <a:gd name="csY200" fmla="*/ 545897 h 2102400"/>
              <a:gd name="csX201" fmla="*/ 282607 w 729419"/>
              <a:gd name="csY201" fmla="*/ 543480 h 2102400"/>
              <a:gd name="csX202" fmla="*/ 354213 w 729419"/>
              <a:gd name="csY202" fmla="*/ 543384 h 2102400"/>
              <a:gd name="csX203" fmla="*/ 365334 w 729419"/>
              <a:gd name="csY203" fmla="*/ 533397 h 2102400"/>
              <a:gd name="csX204" fmla="*/ 354531 w 729419"/>
              <a:gd name="csY204" fmla="*/ 521620 h 2102400"/>
              <a:gd name="csX205" fmla="*/ 259169 w 729419"/>
              <a:gd name="csY205" fmla="*/ 521978 h 2102400"/>
              <a:gd name="csX206" fmla="*/ 227796 w 729419"/>
              <a:gd name="csY206" fmla="*/ 528000 h 2102400"/>
              <a:gd name="csX207" fmla="*/ 508068 w 729419"/>
              <a:gd name="csY207" fmla="*/ 190710 h 2102400"/>
              <a:gd name="csX208" fmla="*/ 521293 w 729419"/>
              <a:gd name="csY208" fmla="*/ 205907 h 2102400"/>
              <a:gd name="csX209" fmla="*/ 525175 w 729419"/>
              <a:gd name="csY209" fmla="*/ 202985 h 2102400"/>
              <a:gd name="csX210" fmla="*/ 500276 w 729419"/>
              <a:gd name="csY210" fmla="*/ 160640 h 2102400"/>
              <a:gd name="csX211" fmla="*/ 497122 w 729419"/>
              <a:gd name="csY211" fmla="*/ 162007 h 2102400"/>
              <a:gd name="csX212" fmla="*/ 508068 w 729419"/>
              <a:gd name="csY212" fmla="*/ 190710 h 2102400"/>
              <a:gd name="csX213" fmla="*/ 215522 w 729419"/>
              <a:gd name="csY213" fmla="*/ 197296 h 2102400"/>
              <a:gd name="csX214" fmla="*/ 234029 w 729419"/>
              <a:gd name="csY214" fmla="*/ 162725 h 2102400"/>
              <a:gd name="csX215" fmla="*/ 229000 w 729419"/>
              <a:gd name="csY215" fmla="*/ 159902 h 2102400"/>
              <a:gd name="csX216" fmla="*/ 204824 w 729419"/>
              <a:gd name="csY216" fmla="*/ 199677 h 2102400"/>
              <a:gd name="csX217" fmla="*/ 207990 w 729419"/>
              <a:gd name="csY217" fmla="*/ 202198 h 2102400"/>
              <a:gd name="csX218" fmla="*/ 215522 w 729419"/>
              <a:gd name="csY218" fmla="*/ 197296 h 2102400"/>
              <a:gd name="csX219" fmla="*/ 484400 w 729419"/>
              <a:gd name="csY219" fmla="*/ 896678 h 2102400"/>
              <a:gd name="csX220" fmla="*/ 486181 w 729419"/>
              <a:gd name="csY220" fmla="*/ 896585 h 2102400"/>
              <a:gd name="csX221" fmla="*/ 486181 w 729419"/>
              <a:gd name="csY221" fmla="*/ 795289 h 2102400"/>
              <a:gd name="csX222" fmla="*/ 720241 w 729419"/>
              <a:gd name="csY222" fmla="*/ 2030666 h 2102400"/>
              <a:gd name="csX223" fmla="*/ 721175 w 729419"/>
              <a:gd name="csY223" fmla="*/ 2029733 h 2102400"/>
              <a:gd name="csX224" fmla="*/ 720241 w 729419"/>
              <a:gd name="csY224" fmla="*/ 2030666 h 2102400"/>
              <a:gd name="csX225" fmla="*/ 715702 w 729419"/>
              <a:gd name="csY225" fmla="*/ 2037051 h 2102400"/>
              <a:gd name="csX226" fmla="*/ 715702 w 729419"/>
              <a:gd name="csY226" fmla="*/ 2037051 h 2102400"/>
              <a:gd name="csX0" fmla="*/ 96263 w 729419"/>
              <a:gd name="csY0" fmla="*/ 2076207 h 2076207"/>
              <a:gd name="csX1" fmla="*/ 63862 w 729419"/>
              <a:gd name="csY1" fmla="*/ 2065388 h 2076207"/>
              <a:gd name="csX2" fmla="*/ 16555 w 729419"/>
              <a:gd name="csY2" fmla="*/ 2050152 h 2076207"/>
              <a:gd name="csX3" fmla="*/ 15 w 729419"/>
              <a:gd name="csY3" fmla="*/ 2023802 h 2076207"/>
              <a:gd name="csX4" fmla="*/ 18368 w 729419"/>
              <a:gd name="csY4" fmla="*/ 1940709 h 2076207"/>
              <a:gd name="csX5" fmla="*/ 22139 w 729419"/>
              <a:gd name="csY5" fmla="*/ 1907268 h 2076207"/>
              <a:gd name="csX6" fmla="*/ 57941 w 729419"/>
              <a:gd name="csY6" fmla="*/ 1774163 h 2076207"/>
              <a:gd name="csX7" fmla="*/ 102478 w 729419"/>
              <a:gd name="csY7" fmla="*/ 1720275 h 2076207"/>
              <a:gd name="csX8" fmla="*/ 108579 w 729419"/>
              <a:gd name="csY8" fmla="*/ 1650967 h 2076207"/>
              <a:gd name="csX9" fmla="*/ 115628 w 729419"/>
              <a:gd name="csY9" fmla="*/ 1625405 h 2076207"/>
              <a:gd name="csX10" fmla="*/ 156323 w 729419"/>
              <a:gd name="csY10" fmla="*/ 1560181 h 2076207"/>
              <a:gd name="csX11" fmla="*/ 199424 w 729419"/>
              <a:gd name="csY11" fmla="*/ 1364729 h 2076207"/>
              <a:gd name="csX12" fmla="*/ 216779 w 729419"/>
              <a:gd name="csY12" fmla="*/ 1219490 h 2076207"/>
              <a:gd name="csX13" fmla="*/ 229755 w 729419"/>
              <a:gd name="csY13" fmla="*/ 1099357 h 2076207"/>
              <a:gd name="csX14" fmla="*/ 232707 w 729419"/>
              <a:gd name="csY14" fmla="*/ 1056423 h 2076207"/>
              <a:gd name="csX15" fmla="*/ 235622 w 729419"/>
              <a:gd name="csY15" fmla="*/ 952675 h 2076207"/>
              <a:gd name="csX16" fmla="*/ 235445 w 729419"/>
              <a:gd name="csY16" fmla="*/ 780278 h 2076207"/>
              <a:gd name="csX17" fmla="*/ 214544 w 729419"/>
              <a:gd name="csY17" fmla="*/ 756435 h 2076207"/>
              <a:gd name="csX18" fmla="*/ 172569 w 729419"/>
              <a:gd name="csY18" fmla="*/ 742582 h 2076207"/>
              <a:gd name="csX19" fmla="*/ 168784 w 729419"/>
              <a:gd name="csY19" fmla="*/ 669116 h 2076207"/>
              <a:gd name="csX20" fmla="*/ 191657 w 729419"/>
              <a:gd name="csY20" fmla="*/ 630765 h 2076207"/>
              <a:gd name="csX21" fmla="*/ 208150 w 729419"/>
              <a:gd name="csY21" fmla="*/ 609084 h 2076207"/>
              <a:gd name="csX22" fmla="*/ 216756 w 729419"/>
              <a:gd name="csY22" fmla="*/ 558673 h 2076207"/>
              <a:gd name="csX23" fmla="*/ 209092 w 729419"/>
              <a:gd name="csY23" fmla="*/ 521540 h 2076207"/>
              <a:gd name="csX24" fmla="*/ 204683 w 729419"/>
              <a:gd name="csY24" fmla="*/ 474024 h 2076207"/>
              <a:gd name="csX25" fmla="*/ 115483 w 729419"/>
              <a:gd name="csY25" fmla="*/ 213499 h 2076207"/>
              <a:gd name="csX26" fmla="*/ 102909 w 729419"/>
              <a:gd name="csY26" fmla="*/ 182297 h 2076207"/>
              <a:gd name="csX27" fmla="*/ 104315 w 729419"/>
              <a:gd name="csY27" fmla="*/ 163968 h 2076207"/>
              <a:gd name="csX28" fmla="*/ 122444 w 729419"/>
              <a:gd name="csY28" fmla="*/ 160805 h 2076207"/>
              <a:gd name="csX29" fmla="*/ 170283 w 729419"/>
              <a:gd name="csY29" fmla="*/ 187783 h 2076207"/>
              <a:gd name="csX30" fmla="*/ 180938 w 729419"/>
              <a:gd name="csY30" fmla="*/ 195322 h 2076207"/>
              <a:gd name="csX31" fmla="*/ 221419 w 729419"/>
              <a:gd name="csY31" fmla="*/ 138058 h 2076207"/>
              <a:gd name="csX32" fmla="*/ 294099 w 729419"/>
              <a:gd name="csY32" fmla="*/ 91372 h 2076207"/>
              <a:gd name="csX33" fmla="*/ 302307 w 729419"/>
              <a:gd name="csY33" fmla="*/ 76560 h 2076207"/>
              <a:gd name="csX34" fmla="*/ 320284 w 729419"/>
              <a:gd name="csY34" fmla="*/ 8414 h 2076207"/>
              <a:gd name="csX35" fmla="*/ 324784 w 729419"/>
              <a:gd name="csY35" fmla="*/ 946 h 2076207"/>
              <a:gd name="csX36" fmla="*/ 399212 w 729419"/>
              <a:gd name="csY36" fmla="*/ 0 h 2076207"/>
              <a:gd name="csX37" fmla="*/ 425980 w 729419"/>
              <a:gd name="csY37" fmla="*/ 78301 h 2076207"/>
              <a:gd name="csX38" fmla="*/ 431861 w 729419"/>
              <a:gd name="csY38" fmla="*/ 90312 h 2076207"/>
              <a:gd name="csX39" fmla="*/ 540349 w 729419"/>
              <a:gd name="csY39" fmla="*/ 187946 h 2076207"/>
              <a:gd name="csX40" fmla="*/ 545555 w 729419"/>
              <a:gd name="csY40" fmla="*/ 197828 h 2076207"/>
              <a:gd name="csX41" fmla="*/ 587318 w 729419"/>
              <a:gd name="csY41" fmla="*/ 171260 h 2076207"/>
              <a:gd name="csX42" fmla="*/ 601503 w 729419"/>
              <a:gd name="csY42" fmla="*/ 163707 h 2076207"/>
              <a:gd name="csX43" fmla="*/ 625254 w 729419"/>
              <a:gd name="csY43" fmla="*/ 163123 h 2076207"/>
              <a:gd name="csX44" fmla="*/ 625468 w 729419"/>
              <a:gd name="csY44" fmla="*/ 187579 h 2076207"/>
              <a:gd name="csX45" fmla="*/ 597543 w 729419"/>
              <a:gd name="csY45" fmla="*/ 251872 h 2076207"/>
              <a:gd name="csX46" fmla="*/ 531831 w 729419"/>
              <a:gd name="csY46" fmla="*/ 442689 h 2076207"/>
              <a:gd name="csX47" fmla="*/ 519888 w 729419"/>
              <a:gd name="csY47" fmla="*/ 501474 h 2076207"/>
              <a:gd name="csX48" fmla="*/ 522506 w 729419"/>
              <a:gd name="csY48" fmla="*/ 525086 h 2076207"/>
              <a:gd name="csX49" fmla="*/ 516235 w 729419"/>
              <a:gd name="csY49" fmla="*/ 555946 h 2076207"/>
              <a:gd name="csX50" fmla="*/ 521332 w 729419"/>
              <a:gd name="csY50" fmla="*/ 610676 h 2076207"/>
              <a:gd name="csX51" fmla="*/ 541382 w 729419"/>
              <a:gd name="csY51" fmla="*/ 642597 h 2076207"/>
              <a:gd name="csX52" fmla="*/ 557031 w 729419"/>
              <a:gd name="csY52" fmla="*/ 667949 h 2076207"/>
              <a:gd name="csX53" fmla="*/ 553994 w 729419"/>
              <a:gd name="csY53" fmla="*/ 744146 h 2076207"/>
              <a:gd name="csX54" fmla="*/ 508215 w 729419"/>
              <a:gd name="csY54" fmla="*/ 758841 h 2076207"/>
              <a:gd name="csX55" fmla="*/ 497442 w 729419"/>
              <a:gd name="csY55" fmla="*/ 771256 h 2076207"/>
              <a:gd name="csX56" fmla="*/ 493005 w 729419"/>
              <a:gd name="csY56" fmla="*/ 922055 h 2076207"/>
              <a:gd name="csX57" fmla="*/ 502900 w 729419"/>
              <a:gd name="csY57" fmla="*/ 1114191 h 2076207"/>
              <a:gd name="csX58" fmla="*/ 508800 w 729419"/>
              <a:gd name="csY58" fmla="*/ 1205474 h 2076207"/>
              <a:gd name="csX59" fmla="*/ 522952 w 729419"/>
              <a:gd name="csY59" fmla="*/ 1320065 h 2076207"/>
              <a:gd name="csX60" fmla="*/ 554682 w 729419"/>
              <a:gd name="csY60" fmla="*/ 1501203 h 2076207"/>
              <a:gd name="csX61" fmla="*/ 576958 w 729419"/>
              <a:gd name="csY61" fmla="*/ 1593963 h 2076207"/>
              <a:gd name="csX62" fmla="*/ 595349 w 729419"/>
              <a:gd name="csY62" fmla="*/ 1613498 h 2076207"/>
              <a:gd name="csX63" fmla="*/ 613936 w 729419"/>
              <a:gd name="csY63" fmla="*/ 1624058 h 2076207"/>
              <a:gd name="csX64" fmla="*/ 620938 w 729419"/>
              <a:gd name="csY64" fmla="*/ 1652071 h 2076207"/>
              <a:gd name="csX65" fmla="*/ 630805 w 729419"/>
              <a:gd name="csY65" fmla="*/ 1721702 h 2076207"/>
              <a:gd name="csX66" fmla="*/ 685830 w 729419"/>
              <a:gd name="csY66" fmla="*/ 1792915 h 2076207"/>
              <a:gd name="csX67" fmla="*/ 708904 w 729419"/>
              <a:gd name="csY67" fmla="*/ 1890290 h 2076207"/>
              <a:gd name="csX68" fmla="*/ 716580 w 729419"/>
              <a:gd name="csY68" fmla="*/ 1951136 h 2076207"/>
              <a:gd name="csX69" fmla="*/ 729397 w 729419"/>
              <a:gd name="csY69" fmla="*/ 2030261 h 2076207"/>
              <a:gd name="csX70" fmla="*/ 714212 w 729419"/>
              <a:gd name="csY70" fmla="*/ 2049544 h 2076207"/>
              <a:gd name="csX71" fmla="*/ 645428 w 729419"/>
              <a:gd name="csY71" fmla="*/ 2070825 h 2076207"/>
              <a:gd name="csX72" fmla="*/ 635822 w 729419"/>
              <a:gd name="csY72" fmla="*/ 2075145 h 2076207"/>
              <a:gd name="csX73" fmla="*/ 588428 w 729419"/>
              <a:gd name="csY73" fmla="*/ 2075144 h 2076207"/>
              <a:gd name="csX74" fmla="*/ 590041 w 729419"/>
              <a:gd name="csY74" fmla="*/ 2071383 h 2076207"/>
              <a:gd name="csX75" fmla="*/ 667788 w 729419"/>
              <a:gd name="csY75" fmla="*/ 2056852 h 2076207"/>
              <a:gd name="csX76" fmla="*/ 706629 w 729419"/>
              <a:gd name="csY76" fmla="*/ 2044290 h 2076207"/>
              <a:gd name="csX77" fmla="*/ 702674 w 729419"/>
              <a:gd name="csY77" fmla="*/ 2041581 h 2076207"/>
              <a:gd name="csX78" fmla="*/ 544974 w 729419"/>
              <a:gd name="csY78" fmla="*/ 2071274 h 2076207"/>
              <a:gd name="csX79" fmla="*/ 96263 w 729419"/>
              <a:gd name="csY79" fmla="*/ 2076207 h 2076207"/>
              <a:gd name="csX80" fmla="*/ 489970 w 729419"/>
              <a:gd name="csY80" fmla="*/ 152208 h 2076207"/>
              <a:gd name="csX81" fmla="*/ 490754 w 729419"/>
              <a:gd name="csY81" fmla="*/ 152592 h 2076207"/>
              <a:gd name="csX82" fmla="*/ 489489 w 729419"/>
              <a:gd name="csY82" fmla="*/ 149547 h 2076207"/>
              <a:gd name="csX83" fmla="*/ 393621 w 729419"/>
              <a:gd name="csY83" fmla="*/ 99259 h 2076207"/>
              <a:gd name="csX84" fmla="*/ 390419 w 729419"/>
              <a:gd name="csY84" fmla="*/ 18568 h 2076207"/>
              <a:gd name="csX85" fmla="*/ 334131 w 729419"/>
              <a:gd name="csY85" fmla="*/ 24327 h 2076207"/>
              <a:gd name="csX86" fmla="*/ 344678 w 729419"/>
              <a:gd name="csY86" fmla="*/ 101259 h 2076207"/>
              <a:gd name="csX87" fmla="*/ 298854 w 729419"/>
              <a:gd name="csY87" fmla="*/ 114003 h 2076207"/>
              <a:gd name="csX88" fmla="*/ 237456 w 729419"/>
              <a:gd name="csY88" fmla="*/ 154340 h 2076207"/>
              <a:gd name="csX89" fmla="*/ 240382 w 729419"/>
              <a:gd name="csY89" fmla="*/ 154035 h 2076207"/>
              <a:gd name="csX90" fmla="*/ 262731 w 729419"/>
              <a:gd name="csY90" fmla="*/ 170426 h 2076207"/>
              <a:gd name="csX91" fmla="*/ 279169 w 729419"/>
              <a:gd name="csY91" fmla="*/ 193173 h 2076207"/>
              <a:gd name="csX92" fmla="*/ 327717 w 729419"/>
              <a:gd name="csY92" fmla="*/ 188556 h 2076207"/>
              <a:gd name="csX93" fmla="*/ 348052 w 729419"/>
              <a:gd name="csY93" fmla="*/ 156919 h 2076207"/>
              <a:gd name="csX94" fmla="*/ 380330 w 729419"/>
              <a:gd name="csY94" fmla="*/ 156483 h 2076207"/>
              <a:gd name="csX95" fmla="*/ 408490 w 729419"/>
              <a:gd name="csY95" fmla="*/ 195400 h 2076207"/>
              <a:gd name="csX96" fmla="*/ 445346 w 729419"/>
              <a:gd name="csY96" fmla="*/ 197582 h 2076207"/>
              <a:gd name="csX97" fmla="*/ 464798 w 729419"/>
              <a:gd name="csY97" fmla="*/ 174107 h 2076207"/>
              <a:gd name="csX98" fmla="*/ 489970 w 729419"/>
              <a:gd name="csY98" fmla="*/ 152208 h 2076207"/>
              <a:gd name="csX99" fmla="*/ 140694 w 729419"/>
              <a:gd name="csY99" fmla="*/ 201837 h 2076207"/>
              <a:gd name="csX100" fmla="*/ 139834 w 729419"/>
              <a:gd name="csY100" fmla="*/ 201482 h 2076207"/>
              <a:gd name="csX101" fmla="*/ 140812 w 729419"/>
              <a:gd name="csY101" fmla="*/ 204941 h 2076207"/>
              <a:gd name="csX102" fmla="*/ 144631 w 729419"/>
              <a:gd name="csY102" fmla="*/ 217811 h 2076207"/>
              <a:gd name="csX103" fmla="*/ 201241 w 729419"/>
              <a:gd name="csY103" fmla="*/ 373387 h 2076207"/>
              <a:gd name="csX104" fmla="*/ 235971 w 729419"/>
              <a:gd name="csY104" fmla="*/ 504451 h 2076207"/>
              <a:gd name="csX105" fmla="*/ 247475 w 729419"/>
              <a:gd name="csY105" fmla="*/ 513241 h 2076207"/>
              <a:gd name="csX106" fmla="*/ 289066 w 729419"/>
              <a:gd name="csY106" fmla="*/ 511170 h 2076207"/>
              <a:gd name="csX107" fmla="*/ 378229 w 729419"/>
              <a:gd name="csY107" fmla="*/ 511084 h 2076207"/>
              <a:gd name="csX108" fmla="*/ 470850 w 729419"/>
              <a:gd name="csY108" fmla="*/ 516341 h 2076207"/>
              <a:gd name="csX109" fmla="*/ 492933 w 729419"/>
              <a:gd name="csY109" fmla="*/ 497969 h 2076207"/>
              <a:gd name="csX110" fmla="*/ 557617 w 729419"/>
              <a:gd name="csY110" fmla="*/ 280398 h 2076207"/>
              <a:gd name="csX111" fmla="*/ 588788 w 729419"/>
              <a:gd name="csY111" fmla="*/ 200385 h 2076207"/>
              <a:gd name="csX112" fmla="*/ 530958 w 729419"/>
              <a:gd name="csY112" fmla="*/ 232968 h 2076207"/>
              <a:gd name="csX113" fmla="*/ 483823 w 729419"/>
              <a:gd name="csY113" fmla="*/ 190364 h 2076207"/>
              <a:gd name="csX114" fmla="*/ 466649 w 729419"/>
              <a:gd name="csY114" fmla="*/ 209061 h 2076207"/>
              <a:gd name="csX115" fmla="*/ 399941 w 729419"/>
              <a:gd name="csY115" fmla="*/ 216988 h 2076207"/>
              <a:gd name="csX116" fmla="*/ 363018 w 729419"/>
              <a:gd name="csY116" fmla="*/ 179615 h 2076207"/>
              <a:gd name="csX117" fmla="*/ 308839 w 729419"/>
              <a:gd name="csY117" fmla="*/ 227846 h 2076207"/>
              <a:gd name="csX118" fmla="*/ 245077 w 729419"/>
              <a:gd name="csY118" fmla="*/ 192402 h 2076207"/>
              <a:gd name="csX119" fmla="*/ 242829 w 729419"/>
              <a:gd name="csY119" fmla="*/ 198815 h 2076207"/>
              <a:gd name="csX120" fmla="*/ 168452 w 729419"/>
              <a:gd name="csY120" fmla="*/ 219348 h 2076207"/>
              <a:gd name="csX121" fmla="*/ 140694 w 729419"/>
              <a:gd name="csY121" fmla="*/ 201837 h 2076207"/>
              <a:gd name="csX122" fmla="*/ 259999 w 729419"/>
              <a:gd name="csY122" fmla="*/ 966699 h 2076207"/>
              <a:gd name="csX123" fmla="*/ 257072 w 729419"/>
              <a:gd name="csY123" fmla="*/ 1070424 h 2076207"/>
              <a:gd name="csX124" fmla="*/ 251372 w 729419"/>
              <a:gd name="csY124" fmla="*/ 1157618 h 2076207"/>
              <a:gd name="csX125" fmla="*/ 232677 w 729419"/>
              <a:gd name="csY125" fmla="*/ 1320279 h 2076207"/>
              <a:gd name="csX126" fmla="*/ 209182 w 729419"/>
              <a:gd name="csY126" fmla="*/ 1468667 h 2076207"/>
              <a:gd name="csX127" fmla="*/ 175302 w 729419"/>
              <a:gd name="csY127" fmla="*/ 1616623 h 2076207"/>
              <a:gd name="csX128" fmla="*/ 182769 w 729419"/>
              <a:gd name="csY128" fmla="*/ 1629786 h 2076207"/>
              <a:gd name="csX129" fmla="*/ 212156 w 729419"/>
              <a:gd name="csY129" fmla="*/ 1632656 h 2076207"/>
              <a:gd name="csX130" fmla="*/ 351295 w 729419"/>
              <a:gd name="csY130" fmla="*/ 1632801 h 2076207"/>
              <a:gd name="csX131" fmla="*/ 376150 w 729419"/>
              <a:gd name="csY131" fmla="*/ 1608307 h 2076207"/>
              <a:gd name="csX132" fmla="*/ 373450 w 729419"/>
              <a:gd name="csY132" fmla="*/ 1457291 h 2076207"/>
              <a:gd name="csX133" fmla="*/ 370936 w 729419"/>
              <a:gd name="csY133" fmla="*/ 1342736 h 2076207"/>
              <a:gd name="csX134" fmla="*/ 368328 w 729419"/>
              <a:gd name="csY134" fmla="*/ 1203878 h 2076207"/>
              <a:gd name="csX135" fmla="*/ 367836 w 729419"/>
              <a:gd name="csY135" fmla="*/ 813478 h 2076207"/>
              <a:gd name="csX136" fmla="*/ 365240 w 729419"/>
              <a:gd name="csY136" fmla="*/ 773243 h 2076207"/>
              <a:gd name="csX137" fmla="*/ 353084 w 729419"/>
              <a:gd name="csY137" fmla="*/ 762083 h 2076207"/>
              <a:gd name="csX138" fmla="*/ 280966 w 729419"/>
              <a:gd name="csY138" fmla="*/ 759855 h 2076207"/>
              <a:gd name="csX139" fmla="*/ 259965 w 729419"/>
              <a:gd name="csY139" fmla="*/ 779553 h 2076207"/>
              <a:gd name="csX140" fmla="*/ 262341 w 729419"/>
              <a:gd name="csY140" fmla="*/ 856275 h 2076207"/>
              <a:gd name="csX141" fmla="*/ 259999 w 729419"/>
              <a:gd name="csY141" fmla="*/ 966699 h 2076207"/>
              <a:gd name="csX142" fmla="*/ 55556 w 729419"/>
              <a:gd name="csY142" fmla="*/ 1835827 h 2076207"/>
              <a:gd name="csX143" fmla="*/ 49393 w 729419"/>
              <a:gd name="csY143" fmla="*/ 1878155 h 2076207"/>
              <a:gd name="csX144" fmla="*/ 73949 w 729419"/>
              <a:gd name="csY144" fmla="*/ 1905781 h 2076207"/>
              <a:gd name="csX145" fmla="*/ 110073 w 729419"/>
              <a:gd name="csY145" fmla="*/ 1909068 h 2076207"/>
              <a:gd name="csX146" fmla="*/ 224745 w 729419"/>
              <a:gd name="csY146" fmla="*/ 1921652 h 2076207"/>
              <a:gd name="csX147" fmla="*/ 347327 w 729419"/>
              <a:gd name="csY147" fmla="*/ 1924778 h 2076207"/>
              <a:gd name="csX148" fmla="*/ 363345 w 729419"/>
              <a:gd name="csY148" fmla="*/ 1923293 h 2076207"/>
              <a:gd name="csX149" fmla="*/ 373787 w 729419"/>
              <a:gd name="csY149" fmla="*/ 1911200 h 2076207"/>
              <a:gd name="csX150" fmla="*/ 376623 w 729419"/>
              <a:gd name="csY150" fmla="*/ 1696741 h 2076207"/>
              <a:gd name="csX151" fmla="*/ 360437 w 729419"/>
              <a:gd name="csY151" fmla="*/ 1681289 h 2076207"/>
              <a:gd name="csX152" fmla="*/ 263503 w 729419"/>
              <a:gd name="csY152" fmla="*/ 1678179 h 2076207"/>
              <a:gd name="csX153" fmla="*/ 160381 w 729419"/>
              <a:gd name="csY153" fmla="*/ 1670405 h 2076207"/>
              <a:gd name="csX154" fmla="*/ 143321 w 729419"/>
              <a:gd name="csY154" fmla="*/ 1685538 h 2076207"/>
              <a:gd name="csX155" fmla="*/ 124769 w 729419"/>
              <a:gd name="csY155" fmla="*/ 1738195 h 2076207"/>
              <a:gd name="csX156" fmla="*/ 90593 w 729419"/>
              <a:gd name="csY156" fmla="*/ 1779570 h 2076207"/>
              <a:gd name="csX157" fmla="*/ 55556 w 729419"/>
              <a:gd name="csY157" fmla="*/ 1835827 h 2076207"/>
              <a:gd name="csX158" fmla="*/ 378900 w 729419"/>
              <a:gd name="csY158" fmla="*/ 2007280 h 2076207"/>
              <a:gd name="csX159" fmla="*/ 378887 w 729419"/>
              <a:gd name="csY159" fmla="*/ 1995127 h 2076207"/>
              <a:gd name="csX160" fmla="*/ 359084 w 729419"/>
              <a:gd name="csY160" fmla="*/ 1975964 h 2076207"/>
              <a:gd name="csX161" fmla="*/ 247288 w 729419"/>
              <a:gd name="csY161" fmla="*/ 1973305 h 2076207"/>
              <a:gd name="csX162" fmla="*/ 201692 w 729419"/>
              <a:gd name="csY162" fmla="*/ 1970275 h 2076207"/>
              <a:gd name="csX163" fmla="*/ 57962 w 729419"/>
              <a:gd name="csY163" fmla="*/ 1952648 h 2076207"/>
              <a:gd name="csX164" fmla="*/ 39194 w 729419"/>
              <a:gd name="csY164" fmla="*/ 1963552 h 2076207"/>
              <a:gd name="csX165" fmla="*/ 30066 w 729419"/>
              <a:gd name="csY165" fmla="*/ 2006631 h 2076207"/>
              <a:gd name="csX166" fmla="*/ 40232 w 729419"/>
              <a:gd name="csY166" fmla="*/ 2019486 h 2076207"/>
              <a:gd name="csX167" fmla="*/ 238186 w 729419"/>
              <a:gd name="csY167" fmla="*/ 2046096 h 2076207"/>
              <a:gd name="csX168" fmla="*/ 342155 w 729419"/>
              <a:gd name="csY168" fmla="*/ 2046441 h 2076207"/>
              <a:gd name="csX169" fmla="*/ 378900 w 729419"/>
              <a:gd name="csY169" fmla="*/ 2007280 h 2076207"/>
              <a:gd name="csX170" fmla="*/ 310220 w 729419"/>
              <a:gd name="csY170" fmla="*/ 554288 h 2076207"/>
              <a:gd name="csX171" fmla="*/ 259136 w 729419"/>
              <a:gd name="csY171" fmla="*/ 556881 h 2076207"/>
              <a:gd name="csX172" fmla="*/ 249085 w 729419"/>
              <a:gd name="csY172" fmla="*/ 567981 h 2076207"/>
              <a:gd name="csX173" fmla="*/ 249141 w 729419"/>
              <a:gd name="csY173" fmla="*/ 605644 h 2076207"/>
              <a:gd name="csX174" fmla="*/ 262628 w 729419"/>
              <a:gd name="csY174" fmla="*/ 605627 h 2076207"/>
              <a:gd name="csX175" fmla="*/ 369608 w 729419"/>
              <a:gd name="csY175" fmla="*/ 603027 h 2076207"/>
              <a:gd name="csX176" fmla="*/ 463931 w 729419"/>
              <a:gd name="csY176" fmla="*/ 605146 h 2076207"/>
              <a:gd name="csX177" fmla="*/ 478113 w 729419"/>
              <a:gd name="csY177" fmla="*/ 595843 h 2076207"/>
              <a:gd name="csX178" fmla="*/ 478796 w 729419"/>
              <a:gd name="csY178" fmla="*/ 556832 h 2076207"/>
              <a:gd name="csX179" fmla="*/ 310220 w 729419"/>
              <a:gd name="csY179" fmla="*/ 554288 h 2076207"/>
              <a:gd name="csX180" fmla="*/ 348836 w 729419"/>
              <a:gd name="csY180" fmla="*/ 684115 h 2076207"/>
              <a:gd name="csX181" fmla="*/ 281333 w 729419"/>
              <a:gd name="csY181" fmla="*/ 683313 h 2076207"/>
              <a:gd name="csX182" fmla="*/ 212728 w 729419"/>
              <a:gd name="csY182" fmla="*/ 681931 h 2076207"/>
              <a:gd name="csX183" fmla="*/ 187283 w 729419"/>
              <a:gd name="csY183" fmla="*/ 689555 h 2076207"/>
              <a:gd name="csX184" fmla="*/ 186163 w 729419"/>
              <a:gd name="csY184" fmla="*/ 718266 h 2076207"/>
              <a:gd name="csX185" fmla="*/ 209894 w 729419"/>
              <a:gd name="csY185" fmla="*/ 726798 h 2076207"/>
              <a:gd name="csX186" fmla="*/ 334814 w 729419"/>
              <a:gd name="csY186" fmla="*/ 732494 h 2076207"/>
              <a:gd name="csX187" fmla="*/ 364856 w 729419"/>
              <a:gd name="csY187" fmla="*/ 707963 h 2076207"/>
              <a:gd name="csX188" fmla="*/ 348836 w 729419"/>
              <a:gd name="csY188" fmla="*/ 684115 h 2076207"/>
              <a:gd name="csX189" fmla="*/ 298865 w 729419"/>
              <a:gd name="csY189" fmla="*/ 621954 h 2076207"/>
              <a:gd name="csX190" fmla="*/ 251619 w 729419"/>
              <a:gd name="csY190" fmla="*/ 622133 h 2076207"/>
              <a:gd name="csX191" fmla="*/ 214459 w 729419"/>
              <a:gd name="csY191" fmla="*/ 636230 h 2076207"/>
              <a:gd name="csX192" fmla="*/ 221436 w 729419"/>
              <a:gd name="csY192" fmla="*/ 654205 h 2076207"/>
              <a:gd name="csX193" fmla="*/ 272412 w 729419"/>
              <a:gd name="csY193" fmla="*/ 657250 h 2076207"/>
              <a:gd name="csX194" fmla="*/ 349094 w 729419"/>
              <a:gd name="csY194" fmla="*/ 659282 h 2076207"/>
              <a:gd name="csX195" fmla="*/ 362996 w 729419"/>
              <a:gd name="csY195" fmla="*/ 644234 h 2076207"/>
              <a:gd name="csX196" fmla="*/ 348472 w 729419"/>
              <a:gd name="csY196" fmla="*/ 624649 h 2076207"/>
              <a:gd name="csX197" fmla="*/ 298865 w 729419"/>
              <a:gd name="csY197" fmla="*/ 621954 h 2076207"/>
              <a:gd name="csX198" fmla="*/ 227796 w 729419"/>
              <a:gd name="csY198" fmla="*/ 528000 h 2076207"/>
              <a:gd name="csX199" fmla="*/ 241009 w 729419"/>
              <a:gd name="csY199" fmla="*/ 545897 h 2076207"/>
              <a:gd name="csX200" fmla="*/ 282607 w 729419"/>
              <a:gd name="csY200" fmla="*/ 543480 h 2076207"/>
              <a:gd name="csX201" fmla="*/ 354213 w 729419"/>
              <a:gd name="csY201" fmla="*/ 543384 h 2076207"/>
              <a:gd name="csX202" fmla="*/ 365334 w 729419"/>
              <a:gd name="csY202" fmla="*/ 533397 h 2076207"/>
              <a:gd name="csX203" fmla="*/ 354531 w 729419"/>
              <a:gd name="csY203" fmla="*/ 521620 h 2076207"/>
              <a:gd name="csX204" fmla="*/ 259169 w 729419"/>
              <a:gd name="csY204" fmla="*/ 521978 h 2076207"/>
              <a:gd name="csX205" fmla="*/ 227796 w 729419"/>
              <a:gd name="csY205" fmla="*/ 528000 h 2076207"/>
              <a:gd name="csX206" fmla="*/ 508068 w 729419"/>
              <a:gd name="csY206" fmla="*/ 190710 h 2076207"/>
              <a:gd name="csX207" fmla="*/ 521293 w 729419"/>
              <a:gd name="csY207" fmla="*/ 205907 h 2076207"/>
              <a:gd name="csX208" fmla="*/ 525175 w 729419"/>
              <a:gd name="csY208" fmla="*/ 202985 h 2076207"/>
              <a:gd name="csX209" fmla="*/ 500276 w 729419"/>
              <a:gd name="csY209" fmla="*/ 160640 h 2076207"/>
              <a:gd name="csX210" fmla="*/ 497122 w 729419"/>
              <a:gd name="csY210" fmla="*/ 162007 h 2076207"/>
              <a:gd name="csX211" fmla="*/ 508068 w 729419"/>
              <a:gd name="csY211" fmla="*/ 190710 h 2076207"/>
              <a:gd name="csX212" fmla="*/ 215522 w 729419"/>
              <a:gd name="csY212" fmla="*/ 197296 h 2076207"/>
              <a:gd name="csX213" fmla="*/ 234029 w 729419"/>
              <a:gd name="csY213" fmla="*/ 162725 h 2076207"/>
              <a:gd name="csX214" fmla="*/ 229000 w 729419"/>
              <a:gd name="csY214" fmla="*/ 159902 h 2076207"/>
              <a:gd name="csX215" fmla="*/ 204824 w 729419"/>
              <a:gd name="csY215" fmla="*/ 199677 h 2076207"/>
              <a:gd name="csX216" fmla="*/ 207990 w 729419"/>
              <a:gd name="csY216" fmla="*/ 202198 h 2076207"/>
              <a:gd name="csX217" fmla="*/ 215522 w 729419"/>
              <a:gd name="csY217" fmla="*/ 197296 h 2076207"/>
              <a:gd name="csX218" fmla="*/ 484400 w 729419"/>
              <a:gd name="csY218" fmla="*/ 896678 h 2076207"/>
              <a:gd name="csX219" fmla="*/ 486181 w 729419"/>
              <a:gd name="csY219" fmla="*/ 896585 h 2076207"/>
              <a:gd name="csX220" fmla="*/ 486181 w 729419"/>
              <a:gd name="csY220" fmla="*/ 795289 h 2076207"/>
              <a:gd name="csX221" fmla="*/ 720241 w 729419"/>
              <a:gd name="csY221" fmla="*/ 2030666 h 2076207"/>
              <a:gd name="csX222" fmla="*/ 721175 w 729419"/>
              <a:gd name="csY222" fmla="*/ 2029733 h 2076207"/>
              <a:gd name="csX223" fmla="*/ 720241 w 729419"/>
              <a:gd name="csY223" fmla="*/ 2030666 h 2076207"/>
              <a:gd name="csX224" fmla="*/ 715702 w 729419"/>
              <a:gd name="csY224" fmla="*/ 2037051 h 2076207"/>
              <a:gd name="csX225" fmla="*/ 715702 w 729419"/>
              <a:gd name="csY225" fmla="*/ 2037051 h 2076207"/>
              <a:gd name="csX0" fmla="*/ 96263 w 748195"/>
              <a:gd name="csY0" fmla="*/ 2076207 h 2076207"/>
              <a:gd name="csX1" fmla="*/ 63862 w 748195"/>
              <a:gd name="csY1" fmla="*/ 2065388 h 2076207"/>
              <a:gd name="csX2" fmla="*/ 16555 w 748195"/>
              <a:gd name="csY2" fmla="*/ 2050152 h 2076207"/>
              <a:gd name="csX3" fmla="*/ 15 w 748195"/>
              <a:gd name="csY3" fmla="*/ 2023802 h 2076207"/>
              <a:gd name="csX4" fmla="*/ 18368 w 748195"/>
              <a:gd name="csY4" fmla="*/ 1940709 h 2076207"/>
              <a:gd name="csX5" fmla="*/ 22139 w 748195"/>
              <a:gd name="csY5" fmla="*/ 1907268 h 2076207"/>
              <a:gd name="csX6" fmla="*/ 57941 w 748195"/>
              <a:gd name="csY6" fmla="*/ 1774163 h 2076207"/>
              <a:gd name="csX7" fmla="*/ 102478 w 748195"/>
              <a:gd name="csY7" fmla="*/ 1720275 h 2076207"/>
              <a:gd name="csX8" fmla="*/ 108579 w 748195"/>
              <a:gd name="csY8" fmla="*/ 1650967 h 2076207"/>
              <a:gd name="csX9" fmla="*/ 115628 w 748195"/>
              <a:gd name="csY9" fmla="*/ 1625405 h 2076207"/>
              <a:gd name="csX10" fmla="*/ 156323 w 748195"/>
              <a:gd name="csY10" fmla="*/ 1560181 h 2076207"/>
              <a:gd name="csX11" fmla="*/ 199424 w 748195"/>
              <a:gd name="csY11" fmla="*/ 1364729 h 2076207"/>
              <a:gd name="csX12" fmla="*/ 216779 w 748195"/>
              <a:gd name="csY12" fmla="*/ 1219490 h 2076207"/>
              <a:gd name="csX13" fmla="*/ 229755 w 748195"/>
              <a:gd name="csY13" fmla="*/ 1099357 h 2076207"/>
              <a:gd name="csX14" fmla="*/ 232707 w 748195"/>
              <a:gd name="csY14" fmla="*/ 1056423 h 2076207"/>
              <a:gd name="csX15" fmla="*/ 235622 w 748195"/>
              <a:gd name="csY15" fmla="*/ 952675 h 2076207"/>
              <a:gd name="csX16" fmla="*/ 235445 w 748195"/>
              <a:gd name="csY16" fmla="*/ 780278 h 2076207"/>
              <a:gd name="csX17" fmla="*/ 214544 w 748195"/>
              <a:gd name="csY17" fmla="*/ 756435 h 2076207"/>
              <a:gd name="csX18" fmla="*/ 172569 w 748195"/>
              <a:gd name="csY18" fmla="*/ 742582 h 2076207"/>
              <a:gd name="csX19" fmla="*/ 168784 w 748195"/>
              <a:gd name="csY19" fmla="*/ 669116 h 2076207"/>
              <a:gd name="csX20" fmla="*/ 191657 w 748195"/>
              <a:gd name="csY20" fmla="*/ 630765 h 2076207"/>
              <a:gd name="csX21" fmla="*/ 208150 w 748195"/>
              <a:gd name="csY21" fmla="*/ 609084 h 2076207"/>
              <a:gd name="csX22" fmla="*/ 216756 w 748195"/>
              <a:gd name="csY22" fmla="*/ 558673 h 2076207"/>
              <a:gd name="csX23" fmla="*/ 209092 w 748195"/>
              <a:gd name="csY23" fmla="*/ 521540 h 2076207"/>
              <a:gd name="csX24" fmla="*/ 204683 w 748195"/>
              <a:gd name="csY24" fmla="*/ 474024 h 2076207"/>
              <a:gd name="csX25" fmla="*/ 115483 w 748195"/>
              <a:gd name="csY25" fmla="*/ 213499 h 2076207"/>
              <a:gd name="csX26" fmla="*/ 102909 w 748195"/>
              <a:gd name="csY26" fmla="*/ 182297 h 2076207"/>
              <a:gd name="csX27" fmla="*/ 104315 w 748195"/>
              <a:gd name="csY27" fmla="*/ 163968 h 2076207"/>
              <a:gd name="csX28" fmla="*/ 122444 w 748195"/>
              <a:gd name="csY28" fmla="*/ 160805 h 2076207"/>
              <a:gd name="csX29" fmla="*/ 170283 w 748195"/>
              <a:gd name="csY29" fmla="*/ 187783 h 2076207"/>
              <a:gd name="csX30" fmla="*/ 180938 w 748195"/>
              <a:gd name="csY30" fmla="*/ 195322 h 2076207"/>
              <a:gd name="csX31" fmla="*/ 221419 w 748195"/>
              <a:gd name="csY31" fmla="*/ 138058 h 2076207"/>
              <a:gd name="csX32" fmla="*/ 294099 w 748195"/>
              <a:gd name="csY32" fmla="*/ 91372 h 2076207"/>
              <a:gd name="csX33" fmla="*/ 302307 w 748195"/>
              <a:gd name="csY33" fmla="*/ 76560 h 2076207"/>
              <a:gd name="csX34" fmla="*/ 320284 w 748195"/>
              <a:gd name="csY34" fmla="*/ 8414 h 2076207"/>
              <a:gd name="csX35" fmla="*/ 324784 w 748195"/>
              <a:gd name="csY35" fmla="*/ 946 h 2076207"/>
              <a:gd name="csX36" fmla="*/ 399212 w 748195"/>
              <a:gd name="csY36" fmla="*/ 0 h 2076207"/>
              <a:gd name="csX37" fmla="*/ 425980 w 748195"/>
              <a:gd name="csY37" fmla="*/ 78301 h 2076207"/>
              <a:gd name="csX38" fmla="*/ 431861 w 748195"/>
              <a:gd name="csY38" fmla="*/ 90312 h 2076207"/>
              <a:gd name="csX39" fmla="*/ 540349 w 748195"/>
              <a:gd name="csY39" fmla="*/ 187946 h 2076207"/>
              <a:gd name="csX40" fmla="*/ 545555 w 748195"/>
              <a:gd name="csY40" fmla="*/ 197828 h 2076207"/>
              <a:gd name="csX41" fmla="*/ 587318 w 748195"/>
              <a:gd name="csY41" fmla="*/ 171260 h 2076207"/>
              <a:gd name="csX42" fmla="*/ 601503 w 748195"/>
              <a:gd name="csY42" fmla="*/ 163707 h 2076207"/>
              <a:gd name="csX43" fmla="*/ 625254 w 748195"/>
              <a:gd name="csY43" fmla="*/ 163123 h 2076207"/>
              <a:gd name="csX44" fmla="*/ 625468 w 748195"/>
              <a:gd name="csY44" fmla="*/ 187579 h 2076207"/>
              <a:gd name="csX45" fmla="*/ 597543 w 748195"/>
              <a:gd name="csY45" fmla="*/ 251872 h 2076207"/>
              <a:gd name="csX46" fmla="*/ 531831 w 748195"/>
              <a:gd name="csY46" fmla="*/ 442689 h 2076207"/>
              <a:gd name="csX47" fmla="*/ 519888 w 748195"/>
              <a:gd name="csY47" fmla="*/ 501474 h 2076207"/>
              <a:gd name="csX48" fmla="*/ 522506 w 748195"/>
              <a:gd name="csY48" fmla="*/ 525086 h 2076207"/>
              <a:gd name="csX49" fmla="*/ 516235 w 748195"/>
              <a:gd name="csY49" fmla="*/ 555946 h 2076207"/>
              <a:gd name="csX50" fmla="*/ 521332 w 748195"/>
              <a:gd name="csY50" fmla="*/ 610676 h 2076207"/>
              <a:gd name="csX51" fmla="*/ 541382 w 748195"/>
              <a:gd name="csY51" fmla="*/ 642597 h 2076207"/>
              <a:gd name="csX52" fmla="*/ 557031 w 748195"/>
              <a:gd name="csY52" fmla="*/ 667949 h 2076207"/>
              <a:gd name="csX53" fmla="*/ 553994 w 748195"/>
              <a:gd name="csY53" fmla="*/ 744146 h 2076207"/>
              <a:gd name="csX54" fmla="*/ 508215 w 748195"/>
              <a:gd name="csY54" fmla="*/ 758841 h 2076207"/>
              <a:gd name="csX55" fmla="*/ 497442 w 748195"/>
              <a:gd name="csY55" fmla="*/ 771256 h 2076207"/>
              <a:gd name="csX56" fmla="*/ 493005 w 748195"/>
              <a:gd name="csY56" fmla="*/ 922055 h 2076207"/>
              <a:gd name="csX57" fmla="*/ 502900 w 748195"/>
              <a:gd name="csY57" fmla="*/ 1114191 h 2076207"/>
              <a:gd name="csX58" fmla="*/ 508800 w 748195"/>
              <a:gd name="csY58" fmla="*/ 1205474 h 2076207"/>
              <a:gd name="csX59" fmla="*/ 522952 w 748195"/>
              <a:gd name="csY59" fmla="*/ 1320065 h 2076207"/>
              <a:gd name="csX60" fmla="*/ 554682 w 748195"/>
              <a:gd name="csY60" fmla="*/ 1501203 h 2076207"/>
              <a:gd name="csX61" fmla="*/ 576958 w 748195"/>
              <a:gd name="csY61" fmla="*/ 1593963 h 2076207"/>
              <a:gd name="csX62" fmla="*/ 595349 w 748195"/>
              <a:gd name="csY62" fmla="*/ 1613498 h 2076207"/>
              <a:gd name="csX63" fmla="*/ 613936 w 748195"/>
              <a:gd name="csY63" fmla="*/ 1624058 h 2076207"/>
              <a:gd name="csX64" fmla="*/ 620938 w 748195"/>
              <a:gd name="csY64" fmla="*/ 1652071 h 2076207"/>
              <a:gd name="csX65" fmla="*/ 630805 w 748195"/>
              <a:gd name="csY65" fmla="*/ 1721702 h 2076207"/>
              <a:gd name="csX66" fmla="*/ 685830 w 748195"/>
              <a:gd name="csY66" fmla="*/ 1792915 h 2076207"/>
              <a:gd name="csX67" fmla="*/ 708904 w 748195"/>
              <a:gd name="csY67" fmla="*/ 1890290 h 2076207"/>
              <a:gd name="csX68" fmla="*/ 716580 w 748195"/>
              <a:gd name="csY68" fmla="*/ 1951136 h 2076207"/>
              <a:gd name="csX69" fmla="*/ 729397 w 748195"/>
              <a:gd name="csY69" fmla="*/ 2030261 h 2076207"/>
              <a:gd name="csX70" fmla="*/ 714212 w 748195"/>
              <a:gd name="csY70" fmla="*/ 2049544 h 2076207"/>
              <a:gd name="csX71" fmla="*/ 645428 w 748195"/>
              <a:gd name="csY71" fmla="*/ 2070825 h 2076207"/>
              <a:gd name="csX72" fmla="*/ 635822 w 748195"/>
              <a:gd name="csY72" fmla="*/ 2075145 h 2076207"/>
              <a:gd name="csX73" fmla="*/ 588428 w 748195"/>
              <a:gd name="csY73" fmla="*/ 2075144 h 2076207"/>
              <a:gd name="csX74" fmla="*/ 590041 w 748195"/>
              <a:gd name="csY74" fmla="*/ 2071383 h 2076207"/>
              <a:gd name="csX75" fmla="*/ 667788 w 748195"/>
              <a:gd name="csY75" fmla="*/ 2056852 h 2076207"/>
              <a:gd name="csX76" fmla="*/ 706629 w 748195"/>
              <a:gd name="csY76" fmla="*/ 2044290 h 2076207"/>
              <a:gd name="csX77" fmla="*/ 702674 w 748195"/>
              <a:gd name="csY77" fmla="*/ 2041581 h 2076207"/>
              <a:gd name="csX78" fmla="*/ 96263 w 748195"/>
              <a:gd name="csY78" fmla="*/ 2076207 h 2076207"/>
              <a:gd name="csX79" fmla="*/ 489970 w 748195"/>
              <a:gd name="csY79" fmla="*/ 152208 h 2076207"/>
              <a:gd name="csX80" fmla="*/ 490754 w 748195"/>
              <a:gd name="csY80" fmla="*/ 152592 h 2076207"/>
              <a:gd name="csX81" fmla="*/ 489489 w 748195"/>
              <a:gd name="csY81" fmla="*/ 149547 h 2076207"/>
              <a:gd name="csX82" fmla="*/ 393621 w 748195"/>
              <a:gd name="csY82" fmla="*/ 99259 h 2076207"/>
              <a:gd name="csX83" fmla="*/ 390419 w 748195"/>
              <a:gd name="csY83" fmla="*/ 18568 h 2076207"/>
              <a:gd name="csX84" fmla="*/ 334131 w 748195"/>
              <a:gd name="csY84" fmla="*/ 24327 h 2076207"/>
              <a:gd name="csX85" fmla="*/ 344678 w 748195"/>
              <a:gd name="csY85" fmla="*/ 101259 h 2076207"/>
              <a:gd name="csX86" fmla="*/ 298854 w 748195"/>
              <a:gd name="csY86" fmla="*/ 114003 h 2076207"/>
              <a:gd name="csX87" fmla="*/ 237456 w 748195"/>
              <a:gd name="csY87" fmla="*/ 154340 h 2076207"/>
              <a:gd name="csX88" fmla="*/ 240382 w 748195"/>
              <a:gd name="csY88" fmla="*/ 154035 h 2076207"/>
              <a:gd name="csX89" fmla="*/ 262731 w 748195"/>
              <a:gd name="csY89" fmla="*/ 170426 h 2076207"/>
              <a:gd name="csX90" fmla="*/ 279169 w 748195"/>
              <a:gd name="csY90" fmla="*/ 193173 h 2076207"/>
              <a:gd name="csX91" fmla="*/ 327717 w 748195"/>
              <a:gd name="csY91" fmla="*/ 188556 h 2076207"/>
              <a:gd name="csX92" fmla="*/ 348052 w 748195"/>
              <a:gd name="csY92" fmla="*/ 156919 h 2076207"/>
              <a:gd name="csX93" fmla="*/ 380330 w 748195"/>
              <a:gd name="csY93" fmla="*/ 156483 h 2076207"/>
              <a:gd name="csX94" fmla="*/ 408490 w 748195"/>
              <a:gd name="csY94" fmla="*/ 195400 h 2076207"/>
              <a:gd name="csX95" fmla="*/ 445346 w 748195"/>
              <a:gd name="csY95" fmla="*/ 197582 h 2076207"/>
              <a:gd name="csX96" fmla="*/ 464798 w 748195"/>
              <a:gd name="csY96" fmla="*/ 174107 h 2076207"/>
              <a:gd name="csX97" fmla="*/ 489970 w 748195"/>
              <a:gd name="csY97" fmla="*/ 152208 h 2076207"/>
              <a:gd name="csX98" fmla="*/ 140694 w 748195"/>
              <a:gd name="csY98" fmla="*/ 201837 h 2076207"/>
              <a:gd name="csX99" fmla="*/ 139834 w 748195"/>
              <a:gd name="csY99" fmla="*/ 201482 h 2076207"/>
              <a:gd name="csX100" fmla="*/ 140812 w 748195"/>
              <a:gd name="csY100" fmla="*/ 204941 h 2076207"/>
              <a:gd name="csX101" fmla="*/ 144631 w 748195"/>
              <a:gd name="csY101" fmla="*/ 217811 h 2076207"/>
              <a:gd name="csX102" fmla="*/ 201241 w 748195"/>
              <a:gd name="csY102" fmla="*/ 373387 h 2076207"/>
              <a:gd name="csX103" fmla="*/ 235971 w 748195"/>
              <a:gd name="csY103" fmla="*/ 504451 h 2076207"/>
              <a:gd name="csX104" fmla="*/ 247475 w 748195"/>
              <a:gd name="csY104" fmla="*/ 513241 h 2076207"/>
              <a:gd name="csX105" fmla="*/ 289066 w 748195"/>
              <a:gd name="csY105" fmla="*/ 511170 h 2076207"/>
              <a:gd name="csX106" fmla="*/ 378229 w 748195"/>
              <a:gd name="csY106" fmla="*/ 511084 h 2076207"/>
              <a:gd name="csX107" fmla="*/ 470850 w 748195"/>
              <a:gd name="csY107" fmla="*/ 516341 h 2076207"/>
              <a:gd name="csX108" fmla="*/ 492933 w 748195"/>
              <a:gd name="csY108" fmla="*/ 497969 h 2076207"/>
              <a:gd name="csX109" fmla="*/ 557617 w 748195"/>
              <a:gd name="csY109" fmla="*/ 280398 h 2076207"/>
              <a:gd name="csX110" fmla="*/ 588788 w 748195"/>
              <a:gd name="csY110" fmla="*/ 200385 h 2076207"/>
              <a:gd name="csX111" fmla="*/ 530958 w 748195"/>
              <a:gd name="csY111" fmla="*/ 232968 h 2076207"/>
              <a:gd name="csX112" fmla="*/ 483823 w 748195"/>
              <a:gd name="csY112" fmla="*/ 190364 h 2076207"/>
              <a:gd name="csX113" fmla="*/ 466649 w 748195"/>
              <a:gd name="csY113" fmla="*/ 209061 h 2076207"/>
              <a:gd name="csX114" fmla="*/ 399941 w 748195"/>
              <a:gd name="csY114" fmla="*/ 216988 h 2076207"/>
              <a:gd name="csX115" fmla="*/ 363018 w 748195"/>
              <a:gd name="csY115" fmla="*/ 179615 h 2076207"/>
              <a:gd name="csX116" fmla="*/ 308839 w 748195"/>
              <a:gd name="csY116" fmla="*/ 227846 h 2076207"/>
              <a:gd name="csX117" fmla="*/ 245077 w 748195"/>
              <a:gd name="csY117" fmla="*/ 192402 h 2076207"/>
              <a:gd name="csX118" fmla="*/ 242829 w 748195"/>
              <a:gd name="csY118" fmla="*/ 198815 h 2076207"/>
              <a:gd name="csX119" fmla="*/ 168452 w 748195"/>
              <a:gd name="csY119" fmla="*/ 219348 h 2076207"/>
              <a:gd name="csX120" fmla="*/ 140694 w 748195"/>
              <a:gd name="csY120" fmla="*/ 201837 h 2076207"/>
              <a:gd name="csX121" fmla="*/ 259999 w 748195"/>
              <a:gd name="csY121" fmla="*/ 966699 h 2076207"/>
              <a:gd name="csX122" fmla="*/ 257072 w 748195"/>
              <a:gd name="csY122" fmla="*/ 1070424 h 2076207"/>
              <a:gd name="csX123" fmla="*/ 251372 w 748195"/>
              <a:gd name="csY123" fmla="*/ 1157618 h 2076207"/>
              <a:gd name="csX124" fmla="*/ 232677 w 748195"/>
              <a:gd name="csY124" fmla="*/ 1320279 h 2076207"/>
              <a:gd name="csX125" fmla="*/ 209182 w 748195"/>
              <a:gd name="csY125" fmla="*/ 1468667 h 2076207"/>
              <a:gd name="csX126" fmla="*/ 175302 w 748195"/>
              <a:gd name="csY126" fmla="*/ 1616623 h 2076207"/>
              <a:gd name="csX127" fmla="*/ 182769 w 748195"/>
              <a:gd name="csY127" fmla="*/ 1629786 h 2076207"/>
              <a:gd name="csX128" fmla="*/ 212156 w 748195"/>
              <a:gd name="csY128" fmla="*/ 1632656 h 2076207"/>
              <a:gd name="csX129" fmla="*/ 351295 w 748195"/>
              <a:gd name="csY129" fmla="*/ 1632801 h 2076207"/>
              <a:gd name="csX130" fmla="*/ 376150 w 748195"/>
              <a:gd name="csY130" fmla="*/ 1608307 h 2076207"/>
              <a:gd name="csX131" fmla="*/ 373450 w 748195"/>
              <a:gd name="csY131" fmla="*/ 1457291 h 2076207"/>
              <a:gd name="csX132" fmla="*/ 370936 w 748195"/>
              <a:gd name="csY132" fmla="*/ 1342736 h 2076207"/>
              <a:gd name="csX133" fmla="*/ 368328 w 748195"/>
              <a:gd name="csY133" fmla="*/ 1203878 h 2076207"/>
              <a:gd name="csX134" fmla="*/ 367836 w 748195"/>
              <a:gd name="csY134" fmla="*/ 813478 h 2076207"/>
              <a:gd name="csX135" fmla="*/ 365240 w 748195"/>
              <a:gd name="csY135" fmla="*/ 773243 h 2076207"/>
              <a:gd name="csX136" fmla="*/ 353084 w 748195"/>
              <a:gd name="csY136" fmla="*/ 762083 h 2076207"/>
              <a:gd name="csX137" fmla="*/ 280966 w 748195"/>
              <a:gd name="csY137" fmla="*/ 759855 h 2076207"/>
              <a:gd name="csX138" fmla="*/ 259965 w 748195"/>
              <a:gd name="csY138" fmla="*/ 779553 h 2076207"/>
              <a:gd name="csX139" fmla="*/ 262341 w 748195"/>
              <a:gd name="csY139" fmla="*/ 856275 h 2076207"/>
              <a:gd name="csX140" fmla="*/ 259999 w 748195"/>
              <a:gd name="csY140" fmla="*/ 966699 h 2076207"/>
              <a:gd name="csX141" fmla="*/ 55556 w 748195"/>
              <a:gd name="csY141" fmla="*/ 1835827 h 2076207"/>
              <a:gd name="csX142" fmla="*/ 49393 w 748195"/>
              <a:gd name="csY142" fmla="*/ 1878155 h 2076207"/>
              <a:gd name="csX143" fmla="*/ 73949 w 748195"/>
              <a:gd name="csY143" fmla="*/ 1905781 h 2076207"/>
              <a:gd name="csX144" fmla="*/ 110073 w 748195"/>
              <a:gd name="csY144" fmla="*/ 1909068 h 2076207"/>
              <a:gd name="csX145" fmla="*/ 224745 w 748195"/>
              <a:gd name="csY145" fmla="*/ 1921652 h 2076207"/>
              <a:gd name="csX146" fmla="*/ 347327 w 748195"/>
              <a:gd name="csY146" fmla="*/ 1924778 h 2076207"/>
              <a:gd name="csX147" fmla="*/ 363345 w 748195"/>
              <a:gd name="csY147" fmla="*/ 1923293 h 2076207"/>
              <a:gd name="csX148" fmla="*/ 373787 w 748195"/>
              <a:gd name="csY148" fmla="*/ 1911200 h 2076207"/>
              <a:gd name="csX149" fmla="*/ 376623 w 748195"/>
              <a:gd name="csY149" fmla="*/ 1696741 h 2076207"/>
              <a:gd name="csX150" fmla="*/ 360437 w 748195"/>
              <a:gd name="csY150" fmla="*/ 1681289 h 2076207"/>
              <a:gd name="csX151" fmla="*/ 263503 w 748195"/>
              <a:gd name="csY151" fmla="*/ 1678179 h 2076207"/>
              <a:gd name="csX152" fmla="*/ 160381 w 748195"/>
              <a:gd name="csY152" fmla="*/ 1670405 h 2076207"/>
              <a:gd name="csX153" fmla="*/ 143321 w 748195"/>
              <a:gd name="csY153" fmla="*/ 1685538 h 2076207"/>
              <a:gd name="csX154" fmla="*/ 124769 w 748195"/>
              <a:gd name="csY154" fmla="*/ 1738195 h 2076207"/>
              <a:gd name="csX155" fmla="*/ 90593 w 748195"/>
              <a:gd name="csY155" fmla="*/ 1779570 h 2076207"/>
              <a:gd name="csX156" fmla="*/ 55556 w 748195"/>
              <a:gd name="csY156" fmla="*/ 1835827 h 2076207"/>
              <a:gd name="csX157" fmla="*/ 378900 w 748195"/>
              <a:gd name="csY157" fmla="*/ 2007280 h 2076207"/>
              <a:gd name="csX158" fmla="*/ 378887 w 748195"/>
              <a:gd name="csY158" fmla="*/ 1995127 h 2076207"/>
              <a:gd name="csX159" fmla="*/ 359084 w 748195"/>
              <a:gd name="csY159" fmla="*/ 1975964 h 2076207"/>
              <a:gd name="csX160" fmla="*/ 247288 w 748195"/>
              <a:gd name="csY160" fmla="*/ 1973305 h 2076207"/>
              <a:gd name="csX161" fmla="*/ 201692 w 748195"/>
              <a:gd name="csY161" fmla="*/ 1970275 h 2076207"/>
              <a:gd name="csX162" fmla="*/ 57962 w 748195"/>
              <a:gd name="csY162" fmla="*/ 1952648 h 2076207"/>
              <a:gd name="csX163" fmla="*/ 39194 w 748195"/>
              <a:gd name="csY163" fmla="*/ 1963552 h 2076207"/>
              <a:gd name="csX164" fmla="*/ 30066 w 748195"/>
              <a:gd name="csY164" fmla="*/ 2006631 h 2076207"/>
              <a:gd name="csX165" fmla="*/ 40232 w 748195"/>
              <a:gd name="csY165" fmla="*/ 2019486 h 2076207"/>
              <a:gd name="csX166" fmla="*/ 238186 w 748195"/>
              <a:gd name="csY166" fmla="*/ 2046096 h 2076207"/>
              <a:gd name="csX167" fmla="*/ 342155 w 748195"/>
              <a:gd name="csY167" fmla="*/ 2046441 h 2076207"/>
              <a:gd name="csX168" fmla="*/ 378900 w 748195"/>
              <a:gd name="csY168" fmla="*/ 2007280 h 2076207"/>
              <a:gd name="csX169" fmla="*/ 310220 w 748195"/>
              <a:gd name="csY169" fmla="*/ 554288 h 2076207"/>
              <a:gd name="csX170" fmla="*/ 259136 w 748195"/>
              <a:gd name="csY170" fmla="*/ 556881 h 2076207"/>
              <a:gd name="csX171" fmla="*/ 249085 w 748195"/>
              <a:gd name="csY171" fmla="*/ 567981 h 2076207"/>
              <a:gd name="csX172" fmla="*/ 249141 w 748195"/>
              <a:gd name="csY172" fmla="*/ 605644 h 2076207"/>
              <a:gd name="csX173" fmla="*/ 262628 w 748195"/>
              <a:gd name="csY173" fmla="*/ 605627 h 2076207"/>
              <a:gd name="csX174" fmla="*/ 369608 w 748195"/>
              <a:gd name="csY174" fmla="*/ 603027 h 2076207"/>
              <a:gd name="csX175" fmla="*/ 463931 w 748195"/>
              <a:gd name="csY175" fmla="*/ 605146 h 2076207"/>
              <a:gd name="csX176" fmla="*/ 478113 w 748195"/>
              <a:gd name="csY176" fmla="*/ 595843 h 2076207"/>
              <a:gd name="csX177" fmla="*/ 478796 w 748195"/>
              <a:gd name="csY177" fmla="*/ 556832 h 2076207"/>
              <a:gd name="csX178" fmla="*/ 310220 w 748195"/>
              <a:gd name="csY178" fmla="*/ 554288 h 2076207"/>
              <a:gd name="csX179" fmla="*/ 348836 w 748195"/>
              <a:gd name="csY179" fmla="*/ 684115 h 2076207"/>
              <a:gd name="csX180" fmla="*/ 281333 w 748195"/>
              <a:gd name="csY180" fmla="*/ 683313 h 2076207"/>
              <a:gd name="csX181" fmla="*/ 212728 w 748195"/>
              <a:gd name="csY181" fmla="*/ 681931 h 2076207"/>
              <a:gd name="csX182" fmla="*/ 187283 w 748195"/>
              <a:gd name="csY182" fmla="*/ 689555 h 2076207"/>
              <a:gd name="csX183" fmla="*/ 186163 w 748195"/>
              <a:gd name="csY183" fmla="*/ 718266 h 2076207"/>
              <a:gd name="csX184" fmla="*/ 209894 w 748195"/>
              <a:gd name="csY184" fmla="*/ 726798 h 2076207"/>
              <a:gd name="csX185" fmla="*/ 334814 w 748195"/>
              <a:gd name="csY185" fmla="*/ 732494 h 2076207"/>
              <a:gd name="csX186" fmla="*/ 364856 w 748195"/>
              <a:gd name="csY186" fmla="*/ 707963 h 2076207"/>
              <a:gd name="csX187" fmla="*/ 348836 w 748195"/>
              <a:gd name="csY187" fmla="*/ 684115 h 2076207"/>
              <a:gd name="csX188" fmla="*/ 298865 w 748195"/>
              <a:gd name="csY188" fmla="*/ 621954 h 2076207"/>
              <a:gd name="csX189" fmla="*/ 251619 w 748195"/>
              <a:gd name="csY189" fmla="*/ 622133 h 2076207"/>
              <a:gd name="csX190" fmla="*/ 214459 w 748195"/>
              <a:gd name="csY190" fmla="*/ 636230 h 2076207"/>
              <a:gd name="csX191" fmla="*/ 221436 w 748195"/>
              <a:gd name="csY191" fmla="*/ 654205 h 2076207"/>
              <a:gd name="csX192" fmla="*/ 272412 w 748195"/>
              <a:gd name="csY192" fmla="*/ 657250 h 2076207"/>
              <a:gd name="csX193" fmla="*/ 349094 w 748195"/>
              <a:gd name="csY193" fmla="*/ 659282 h 2076207"/>
              <a:gd name="csX194" fmla="*/ 362996 w 748195"/>
              <a:gd name="csY194" fmla="*/ 644234 h 2076207"/>
              <a:gd name="csX195" fmla="*/ 348472 w 748195"/>
              <a:gd name="csY195" fmla="*/ 624649 h 2076207"/>
              <a:gd name="csX196" fmla="*/ 298865 w 748195"/>
              <a:gd name="csY196" fmla="*/ 621954 h 2076207"/>
              <a:gd name="csX197" fmla="*/ 227796 w 748195"/>
              <a:gd name="csY197" fmla="*/ 528000 h 2076207"/>
              <a:gd name="csX198" fmla="*/ 241009 w 748195"/>
              <a:gd name="csY198" fmla="*/ 545897 h 2076207"/>
              <a:gd name="csX199" fmla="*/ 282607 w 748195"/>
              <a:gd name="csY199" fmla="*/ 543480 h 2076207"/>
              <a:gd name="csX200" fmla="*/ 354213 w 748195"/>
              <a:gd name="csY200" fmla="*/ 543384 h 2076207"/>
              <a:gd name="csX201" fmla="*/ 365334 w 748195"/>
              <a:gd name="csY201" fmla="*/ 533397 h 2076207"/>
              <a:gd name="csX202" fmla="*/ 354531 w 748195"/>
              <a:gd name="csY202" fmla="*/ 521620 h 2076207"/>
              <a:gd name="csX203" fmla="*/ 259169 w 748195"/>
              <a:gd name="csY203" fmla="*/ 521978 h 2076207"/>
              <a:gd name="csX204" fmla="*/ 227796 w 748195"/>
              <a:gd name="csY204" fmla="*/ 528000 h 2076207"/>
              <a:gd name="csX205" fmla="*/ 508068 w 748195"/>
              <a:gd name="csY205" fmla="*/ 190710 h 2076207"/>
              <a:gd name="csX206" fmla="*/ 521293 w 748195"/>
              <a:gd name="csY206" fmla="*/ 205907 h 2076207"/>
              <a:gd name="csX207" fmla="*/ 525175 w 748195"/>
              <a:gd name="csY207" fmla="*/ 202985 h 2076207"/>
              <a:gd name="csX208" fmla="*/ 500276 w 748195"/>
              <a:gd name="csY208" fmla="*/ 160640 h 2076207"/>
              <a:gd name="csX209" fmla="*/ 497122 w 748195"/>
              <a:gd name="csY209" fmla="*/ 162007 h 2076207"/>
              <a:gd name="csX210" fmla="*/ 508068 w 748195"/>
              <a:gd name="csY210" fmla="*/ 190710 h 2076207"/>
              <a:gd name="csX211" fmla="*/ 215522 w 748195"/>
              <a:gd name="csY211" fmla="*/ 197296 h 2076207"/>
              <a:gd name="csX212" fmla="*/ 234029 w 748195"/>
              <a:gd name="csY212" fmla="*/ 162725 h 2076207"/>
              <a:gd name="csX213" fmla="*/ 229000 w 748195"/>
              <a:gd name="csY213" fmla="*/ 159902 h 2076207"/>
              <a:gd name="csX214" fmla="*/ 204824 w 748195"/>
              <a:gd name="csY214" fmla="*/ 199677 h 2076207"/>
              <a:gd name="csX215" fmla="*/ 207990 w 748195"/>
              <a:gd name="csY215" fmla="*/ 202198 h 2076207"/>
              <a:gd name="csX216" fmla="*/ 215522 w 748195"/>
              <a:gd name="csY216" fmla="*/ 197296 h 2076207"/>
              <a:gd name="csX217" fmla="*/ 484400 w 748195"/>
              <a:gd name="csY217" fmla="*/ 896678 h 2076207"/>
              <a:gd name="csX218" fmla="*/ 486181 w 748195"/>
              <a:gd name="csY218" fmla="*/ 896585 h 2076207"/>
              <a:gd name="csX219" fmla="*/ 486181 w 748195"/>
              <a:gd name="csY219" fmla="*/ 795289 h 2076207"/>
              <a:gd name="csX220" fmla="*/ 720241 w 748195"/>
              <a:gd name="csY220" fmla="*/ 2030666 h 2076207"/>
              <a:gd name="csX221" fmla="*/ 721175 w 748195"/>
              <a:gd name="csY221" fmla="*/ 2029733 h 2076207"/>
              <a:gd name="csX222" fmla="*/ 720241 w 748195"/>
              <a:gd name="csY222" fmla="*/ 2030666 h 2076207"/>
              <a:gd name="csX223" fmla="*/ 715702 w 748195"/>
              <a:gd name="csY223" fmla="*/ 2037051 h 2076207"/>
              <a:gd name="csX224" fmla="*/ 715702 w 748195"/>
              <a:gd name="csY224" fmla="*/ 2037051 h 2076207"/>
              <a:gd name="csX0" fmla="*/ 96263 w 748195"/>
              <a:gd name="csY0" fmla="*/ 2076207 h 2076207"/>
              <a:gd name="csX1" fmla="*/ 63862 w 748195"/>
              <a:gd name="csY1" fmla="*/ 2065388 h 2076207"/>
              <a:gd name="csX2" fmla="*/ 16555 w 748195"/>
              <a:gd name="csY2" fmla="*/ 2050152 h 2076207"/>
              <a:gd name="csX3" fmla="*/ 15 w 748195"/>
              <a:gd name="csY3" fmla="*/ 2023802 h 2076207"/>
              <a:gd name="csX4" fmla="*/ 18368 w 748195"/>
              <a:gd name="csY4" fmla="*/ 1940709 h 2076207"/>
              <a:gd name="csX5" fmla="*/ 22139 w 748195"/>
              <a:gd name="csY5" fmla="*/ 1907268 h 2076207"/>
              <a:gd name="csX6" fmla="*/ 57941 w 748195"/>
              <a:gd name="csY6" fmla="*/ 1774163 h 2076207"/>
              <a:gd name="csX7" fmla="*/ 102478 w 748195"/>
              <a:gd name="csY7" fmla="*/ 1720275 h 2076207"/>
              <a:gd name="csX8" fmla="*/ 108579 w 748195"/>
              <a:gd name="csY8" fmla="*/ 1650967 h 2076207"/>
              <a:gd name="csX9" fmla="*/ 115628 w 748195"/>
              <a:gd name="csY9" fmla="*/ 1625405 h 2076207"/>
              <a:gd name="csX10" fmla="*/ 156323 w 748195"/>
              <a:gd name="csY10" fmla="*/ 1560181 h 2076207"/>
              <a:gd name="csX11" fmla="*/ 199424 w 748195"/>
              <a:gd name="csY11" fmla="*/ 1364729 h 2076207"/>
              <a:gd name="csX12" fmla="*/ 216779 w 748195"/>
              <a:gd name="csY12" fmla="*/ 1219490 h 2076207"/>
              <a:gd name="csX13" fmla="*/ 229755 w 748195"/>
              <a:gd name="csY13" fmla="*/ 1099357 h 2076207"/>
              <a:gd name="csX14" fmla="*/ 232707 w 748195"/>
              <a:gd name="csY14" fmla="*/ 1056423 h 2076207"/>
              <a:gd name="csX15" fmla="*/ 235622 w 748195"/>
              <a:gd name="csY15" fmla="*/ 952675 h 2076207"/>
              <a:gd name="csX16" fmla="*/ 235445 w 748195"/>
              <a:gd name="csY16" fmla="*/ 780278 h 2076207"/>
              <a:gd name="csX17" fmla="*/ 214544 w 748195"/>
              <a:gd name="csY17" fmla="*/ 756435 h 2076207"/>
              <a:gd name="csX18" fmla="*/ 172569 w 748195"/>
              <a:gd name="csY18" fmla="*/ 742582 h 2076207"/>
              <a:gd name="csX19" fmla="*/ 168784 w 748195"/>
              <a:gd name="csY19" fmla="*/ 669116 h 2076207"/>
              <a:gd name="csX20" fmla="*/ 191657 w 748195"/>
              <a:gd name="csY20" fmla="*/ 630765 h 2076207"/>
              <a:gd name="csX21" fmla="*/ 208150 w 748195"/>
              <a:gd name="csY21" fmla="*/ 609084 h 2076207"/>
              <a:gd name="csX22" fmla="*/ 216756 w 748195"/>
              <a:gd name="csY22" fmla="*/ 558673 h 2076207"/>
              <a:gd name="csX23" fmla="*/ 209092 w 748195"/>
              <a:gd name="csY23" fmla="*/ 521540 h 2076207"/>
              <a:gd name="csX24" fmla="*/ 204683 w 748195"/>
              <a:gd name="csY24" fmla="*/ 474024 h 2076207"/>
              <a:gd name="csX25" fmla="*/ 115483 w 748195"/>
              <a:gd name="csY25" fmla="*/ 213499 h 2076207"/>
              <a:gd name="csX26" fmla="*/ 102909 w 748195"/>
              <a:gd name="csY26" fmla="*/ 182297 h 2076207"/>
              <a:gd name="csX27" fmla="*/ 104315 w 748195"/>
              <a:gd name="csY27" fmla="*/ 163968 h 2076207"/>
              <a:gd name="csX28" fmla="*/ 122444 w 748195"/>
              <a:gd name="csY28" fmla="*/ 160805 h 2076207"/>
              <a:gd name="csX29" fmla="*/ 170283 w 748195"/>
              <a:gd name="csY29" fmla="*/ 187783 h 2076207"/>
              <a:gd name="csX30" fmla="*/ 180938 w 748195"/>
              <a:gd name="csY30" fmla="*/ 195322 h 2076207"/>
              <a:gd name="csX31" fmla="*/ 221419 w 748195"/>
              <a:gd name="csY31" fmla="*/ 138058 h 2076207"/>
              <a:gd name="csX32" fmla="*/ 294099 w 748195"/>
              <a:gd name="csY32" fmla="*/ 91372 h 2076207"/>
              <a:gd name="csX33" fmla="*/ 302307 w 748195"/>
              <a:gd name="csY33" fmla="*/ 76560 h 2076207"/>
              <a:gd name="csX34" fmla="*/ 320284 w 748195"/>
              <a:gd name="csY34" fmla="*/ 8414 h 2076207"/>
              <a:gd name="csX35" fmla="*/ 324784 w 748195"/>
              <a:gd name="csY35" fmla="*/ 946 h 2076207"/>
              <a:gd name="csX36" fmla="*/ 399212 w 748195"/>
              <a:gd name="csY36" fmla="*/ 0 h 2076207"/>
              <a:gd name="csX37" fmla="*/ 425980 w 748195"/>
              <a:gd name="csY37" fmla="*/ 78301 h 2076207"/>
              <a:gd name="csX38" fmla="*/ 431861 w 748195"/>
              <a:gd name="csY38" fmla="*/ 90312 h 2076207"/>
              <a:gd name="csX39" fmla="*/ 540349 w 748195"/>
              <a:gd name="csY39" fmla="*/ 187946 h 2076207"/>
              <a:gd name="csX40" fmla="*/ 545555 w 748195"/>
              <a:gd name="csY40" fmla="*/ 197828 h 2076207"/>
              <a:gd name="csX41" fmla="*/ 587318 w 748195"/>
              <a:gd name="csY41" fmla="*/ 171260 h 2076207"/>
              <a:gd name="csX42" fmla="*/ 601503 w 748195"/>
              <a:gd name="csY42" fmla="*/ 163707 h 2076207"/>
              <a:gd name="csX43" fmla="*/ 625254 w 748195"/>
              <a:gd name="csY43" fmla="*/ 163123 h 2076207"/>
              <a:gd name="csX44" fmla="*/ 625468 w 748195"/>
              <a:gd name="csY44" fmla="*/ 187579 h 2076207"/>
              <a:gd name="csX45" fmla="*/ 597543 w 748195"/>
              <a:gd name="csY45" fmla="*/ 251872 h 2076207"/>
              <a:gd name="csX46" fmla="*/ 531831 w 748195"/>
              <a:gd name="csY46" fmla="*/ 442689 h 2076207"/>
              <a:gd name="csX47" fmla="*/ 519888 w 748195"/>
              <a:gd name="csY47" fmla="*/ 501474 h 2076207"/>
              <a:gd name="csX48" fmla="*/ 522506 w 748195"/>
              <a:gd name="csY48" fmla="*/ 525086 h 2076207"/>
              <a:gd name="csX49" fmla="*/ 516235 w 748195"/>
              <a:gd name="csY49" fmla="*/ 555946 h 2076207"/>
              <a:gd name="csX50" fmla="*/ 521332 w 748195"/>
              <a:gd name="csY50" fmla="*/ 610676 h 2076207"/>
              <a:gd name="csX51" fmla="*/ 541382 w 748195"/>
              <a:gd name="csY51" fmla="*/ 642597 h 2076207"/>
              <a:gd name="csX52" fmla="*/ 557031 w 748195"/>
              <a:gd name="csY52" fmla="*/ 667949 h 2076207"/>
              <a:gd name="csX53" fmla="*/ 553994 w 748195"/>
              <a:gd name="csY53" fmla="*/ 744146 h 2076207"/>
              <a:gd name="csX54" fmla="*/ 508215 w 748195"/>
              <a:gd name="csY54" fmla="*/ 758841 h 2076207"/>
              <a:gd name="csX55" fmla="*/ 497442 w 748195"/>
              <a:gd name="csY55" fmla="*/ 771256 h 2076207"/>
              <a:gd name="csX56" fmla="*/ 493005 w 748195"/>
              <a:gd name="csY56" fmla="*/ 922055 h 2076207"/>
              <a:gd name="csX57" fmla="*/ 502900 w 748195"/>
              <a:gd name="csY57" fmla="*/ 1114191 h 2076207"/>
              <a:gd name="csX58" fmla="*/ 508800 w 748195"/>
              <a:gd name="csY58" fmla="*/ 1205474 h 2076207"/>
              <a:gd name="csX59" fmla="*/ 522952 w 748195"/>
              <a:gd name="csY59" fmla="*/ 1320065 h 2076207"/>
              <a:gd name="csX60" fmla="*/ 554682 w 748195"/>
              <a:gd name="csY60" fmla="*/ 1501203 h 2076207"/>
              <a:gd name="csX61" fmla="*/ 576958 w 748195"/>
              <a:gd name="csY61" fmla="*/ 1593963 h 2076207"/>
              <a:gd name="csX62" fmla="*/ 595349 w 748195"/>
              <a:gd name="csY62" fmla="*/ 1613498 h 2076207"/>
              <a:gd name="csX63" fmla="*/ 613936 w 748195"/>
              <a:gd name="csY63" fmla="*/ 1624058 h 2076207"/>
              <a:gd name="csX64" fmla="*/ 620938 w 748195"/>
              <a:gd name="csY64" fmla="*/ 1652071 h 2076207"/>
              <a:gd name="csX65" fmla="*/ 630805 w 748195"/>
              <a:gd name="csY65" fmla="*/ 1721702 h 2076207"/>
              <a:gd name="csX66" fmla="*/ 685830 w 748195"/>
              <a:gd name="csY66" fmla="*/ 1792915 h 2076207"/>
              <a:gd name="csX67" fmla="*/ 708904 w 748195"/>
              <a:gd name="csY67" fmla="*/ 1890290 h 2076207"/>
              <a:gd name="csX68" fmla="*/ 716580 w 748195"/>
              <a:gd name="csY68" fmla="*/ 1951136 h 2076207"/>
              <a:gd name="csX69" fmla="*/ 729397 w 748195"/>
              <a:gd name="csY69" fmla="*/ 2030261 h 2076207"/>
              <a:gd name="csX70" fmla="*/ 714212 w 748195"/>
              <a:gd name="csY70" fmla="*/ 2049544 h 2076207"/>
              <a:gd name="csX71" fmla="*/ 645428 w 748195"/>
              <a:gd name="csY71" fmla="*/ 2070825 h 2076207"/>
              <a:gd name="csX72" fmla="*/ 635822 w 748195"/>
              <a:gd name="csY72" fmla="*/ 2075145 h 2076207"/>
              <a:gd name="csX73" fmla="*/ 588428 w 748195"/>
              <a:gd name="csY73" fmla="*/ 2075144 h 2076207"/>
              <a:gd name="csX74" fmla="*/ 667788 w 748195"/>
              <a:gd name="csY74" fmla="*/ 2056852 h 2076207"/>
              <a:gd name="csX75" fmla="*/ 706629 w 748195"/>
              <a:gd name="csY75" fmla="*/ 2044290 h 2076207"/>
              <a:gd name="csX76" fmla="*/ 702674 w 748195"/>
              <a:gd name="csY76" fmla="*/ 2041581 h 2076207"/>
              <a:gd name="csX77" fmla="*/ 96263 w 748195"/>
              <a:gd name="csY77" fmla="*/ 2076207 h 2076207"/>
              <a:gd name="csX78" fmla="*/ 489970 w 748195"/>
              <a:gd name="csY78" fmla="*/ 152208 h 2076207"/>
              <a:gd name="csX79" fmla="*/ 490754 w 748195"/>
              <a:gd name="csY79" fmla="*/ 152592 h 2076207"/>
              <a:gd name="csX80" fmla="*/ 489489 w 748195"/>
              <a:gd name="csY80" fmla="*/ 149547 h 2076207"/>
              <a:gd name="csX81" fmla="*/ 393621 w 748195"/>
              <a:gd name="csY81" fmla="*/ 99259 h 2076207"/>
              <a:gd name="csX82" fmla="*/ 390419 w 748195"/>
              <a:gd name="csY82" fmla="*/ 18568 h 2076207"/>
              <a:gd name="csX83" fmla="*/ 334131 w 748195"/>
              <a:gd name="csY83" fmla="*/ 24327 h 2076207"/>
              <a:gd name="csX84" fmla="*/ 344678 w 748195"/>
              <a:gd name="csY84" fmla="*/ 101259 h 2076207"/>
              <a:gd name="csX85" fmla="*/ 298854 w 748195"/>
              <a:gd name="csY85" fmla="*/ 114003 h 2076207"/>
              <a:gd name="csX86" fmla="*/ 237456 w 748195"/>
              <a:gd name="csY86" fmla="*/ 154340 h 2076207"/>
              <a:gd name="csX87" fmla="*/ 240382 w 748195"/>
              <a:gd name="csY87" fmla="*/ 154035 h 2076207"/>
              <a:gd name="csX88" fmla="*/ 262731 w 748195"/>
              <a:gd name="csY88" fmla="*/ 170426 h 2076207"/>
              <a:gd name="csX89" fmla="*/ 279169 w 748195"/>
              <a:gd name="csY89" fmla="*/ 193173 h 2076207"/>
              <a:gd name="csX90" fmla="*/ 327717 w 748195"/>
              <a:gd name="csY90" fmla="*/ 188556 h 2076207"/>
              <a:gd name="csX91" fmla="*/ 348052 w 748195"/>
              <a:gd name="csY91" fmla="*/ 156919 h 2076207"/>
              <a:gd name="csX92" fmla="*/ 380330 w 748195"/>
              <a:gd name="csY92" fmla="*/ 156483 h 2076207"/>
              <a:gd name="csX93" fmla="*/ 408490 w 748195"/>
              <a:gd name="csY93" fmla="*/ 195400 h 2076207"/>
              <a:gd name="csX94" fmla="*/ 445346 w 748195"/>
              <a:gd name="csY94" fmla="*/ 197582 h 2076207"/>
              <a:gd name="csX95" fmla="*/ 464798 w 748195"/>
              <a:gd name="csY95" fmla="*/ 174107 h 2076207"/>
              <a:gd name="csX96" fmla="*/ 489970 w 748195"/>
              <a:gd name="csY96" fmla="*/ 152208 h 2076207"/>
              <a:gd name="csX97" fmla="*/ 140694 w 748195"/>
              <a:gd name="csY97" fmla="*/ 201837 h 2076207"/>
              <a:gd name="csX98" fmla="*/ 139834 w 748195"/>
              <a:gd name="csY98" fmla="*/ 201482 h 2076207"/>
              <a:gd name="csX99" fmla="*/ 140812 w 748195"/>
              <a:gd name="csY99" fmla="*/ 204941 h 2076207"/>
              <a:gd name="csX100" fmla="*/ 144631 w 748195"/>
              <a:gd name="csY100" fmla="*/ 217811 h 2076207"/>
              <a:gd name="csX101" fmla="*/ 201241 w 748195"/>
              <a:gd name="csY101" fmla="*/ 373387 h 2076207"/>
              <a:gd name="csX102" fmla="*/ 235971 w 748195"/>
              <a:gd name="csY102" fmla="*/ 504451 h 2076207"/>
              <a:gd name="csX103" fmla="*/ 247475 w 748195"/>
              <a:gd name="csY103" fmla="*/ 513241 h 2076207"/>
              <a:gd name="csX104" fmla="*/ 289066 w 748195"/>
              <a:gd name="csY104" fmla="*/ 511170 h 2076207"/>
              <a:gd name="csX105" fmla="*/ 378229 w 748195"/>
              <a:gd name="csY105" fmla="*/ 511084 h 2076207"/>
              <a:gd name="csX106" fmla="*/ 470850 w 748195"/>
              <a:gd name="csY106" fmla="*/ 516341 h 2076207"/>
              <a:gd name="csX107" fmla="*/ 492933 w 748195"/>
              <a:gd name="csY107" fmla="*/ 497969 h 2076207"/>
              <a:gd name="csX108" fmla="*/ 557617 w 748195"/>
              <a:gd name="csY108" fmla="*/ 280398 h 2076207"/>
              <a:gd name="csX109" fmla="*/ 588788 w 748195"/>
              <a:gd name="csY109" fmla="*/ 200385 h 2076207"/>
              <a:gd name="csX110" fmla="*/ 530958 w 748195"/>
              <a:gd name="csY110" fmla="*/ 232968 h 2076207"/>
              <a:gd name="csX111" fmla="*/ 483823 w 748195"/>
              <a:gd name="csY111" fmla="*/ 190364 h 2076207"/>
              <a:gd name="csX112" fmla="*/ 466649 w 748195"/>
              <a:gd name="csY112" fmla="*/ 209061 h 2076207"/>
              <a:gd name="csX113" fmla="*/ 399941 w 748195"/>
              <a:gd name="csY113" fmla="*/ 216988 h 2076207"/>
              <a:gd name="csX114" fmla="*/ 363018 w 748195"/>
              <a:gd name="csY114" fmla="*/ 179615 h 2076207"/>
              <a:gd name="csX115" fmla="*/ 308839 w 748195"/>
              <a:gd name="csY115" fmla="*/ 227846 h 2076207"/>
              <a:gd name="csX116" fmla="*/ 245077 w 748195"/>
              <a:gd name="csY116" fmla="*/ 192402 h 2076207"/>
              <a:gd name="csX117" fmla="*/ 242829 w 748195"/>
              <a:gd name="csY117" fmla="*/ 198815 h 2076207"/>
              <a:gd name="csX118" fmla="*/ 168452 w 748195"/>
              <a:gd name="csY118" fmla="*/ 219348 h 2076207"/>
              <a:gd name="csX119" fmla="*/ 140694 w 748195"/>
              <a:gd name="csY119" fmla="*/ 201837 h 2076207"/>
              <a:gd name="csX120" fmla="*/ 259999 w 748195"/>
              <a:gd name="csY120" fmla="*/ 966699 h 2076207"/>
              <a:gd name="csX121" fmla="*/ 257072 w 748195"/>
              <a:gd name="csY121" fmla="*/ 1070424 h 2076207"/>
              <a:gd name="csX122" fmla="*/ 251372 w 748195"/>
              <a:gd name="csY122" fmla="*/ 1157618 h 2076207"/>
              <a:gd name="csX123" fmla="*/ 232677 w 748195"/>
              <a:gd name="csY123" fmla="*/ 1320279 h 2076207"/>
              <a:gd name="csX124" fmla="*/ 209182 w 748195"/>
              <a:gd name="csY124" fmla="*/ 1468667 h 2076207"/>
              <a:gd name="csX125" fmla="*/ 175302 w 748195"/>
              <a:gd name="csY125" fmla="*/ 1616623 h 2076207"/>
              <a:gd name="csX126" fmla="*/ 182769 w 748195"/>
              <a:gd name="csY126" fmla="*/ 1629786 h 2076207"/>
              <a:gd name="csX127" fmla="*/ 212156 w 748195"/>
              <a:gd name="csY127" fmla="*/ 1632656 h 2076207"/>
              <a:gd name="csX128" fmla="*/ 351295 w 748195"/>
              <a:gd name="csY128" fmla="*/ 1632801 h 2076207"/>
              <a:gd name="csX129" fmla="*/ 376150 w 748195"/>
              <a:gd name="csY129" fmla="*/ 1608307 h 2076207"/>
              <a:gd name="csX130" fmla="*/ 373450 w 748195"/>
              <a:gd name="csY130" fmla="*/ 1457291 h 2076207"/>
              <a:gd name="csX131" fmla="*/ 370936 w 748195"/>
              <a:gd name="csY131" fmla="*/ 1342736 h 2076207"/>
              <a:gd name="csX132" fmla="*/ 368328 w 748195"/>
              <a:gd name="csY132" fmla="*/ 1203878 h 2076207"/>
              <a:gd name="csX133" fmla="*/ 367836 w 748195"/>
              <a:gd name="csY133" fmla="*/ 813478 h 2076207"/>
              <a:gd name="csX134" fmla="*/ 365240 w 748195"/>
              <a:gd name="csY134" fmla="*/ 773243 h 2076207"/>
              <a:gd name="csX135" fmla="*/ 353084 w 748195"/>
              <a:gd name="csY135" fmla="*/ 762083 h 2076207"/>
              <a:gd name="csX136" fmla="*/ 280966 w 748195"/>
              <a:gd name="csY136" fmla="*/ 759855 h 2076207"/>
              <a:gd name="csX137" fmla="*/ 259965 w 748195"/>
              <a:gd name="csY137" fmla="*/ 779553 h 2076207"/>
              <a:gd name="csX138" fmla="*/ 262341 w 748195"/>
              <a:gd name="csY138" fmla="*/ 856275 h 2076207"/>
              <a:gd name="csX139" fmla="*/ 259999 w 748195"/>
              <a:gd name="csY139" fmla="*/ 966699 h 2076207"/>
              <a:gd name="csX140" fmla="*/ 55556 w 748195"/>
              <a:gd name="csY140" fmla="*/ 1835827 h 2076207"/>
              <a:gd name="csX141" fmla="*/ 49393 w 748195"/>
              <a:gd name="csY141" fmla="*/ 1878155 h 2076207"/>
              <a:gd name="csX142" fmla="*/ 73949 w 748195"/>
              <a:gd name="csY142" fmla="*/ 1905781 h 2076207"/>
              <a:gd name="csX143" fmla="*/ 110073 w 748195"/>
              <a:gd name="csY143" fmla="*/ 1909068 h 2076207"/>
              <a:gd name="csX144" fmla="*/ 224745 w 748195"/>
              <a:gd name="csY144" fmla="*/ 1921652 h 2076207"/>
              <a:gd name="csX145" fmla="*/ 347327 w 748195"/>
              <a:gd name="csY145" fmla="*/ 1924778 h 2076207"/>
              <a:gd name="csX146" fmla="*/ 363345 w 748195"/>
              <a:gd name="csY146" fmla="*/ 1923293 h 2076207"/>
              <a:gd name="csX147" fmla="*/ 373787 w 748195"/>
              <a:gd name="csY147" fmla="*/ 1911200 h 2076207"/>
              <a:gd name="csX148" fmla="*/ 376623 w 748195"/>
              <a:gd name="csY148" fmla="*/ 1696741 h 2076207"/>
              <a:gd name="csX149" fmla="*/ 360437 w 748195"/>
              <a:gd name="csY149" fmla="*/ 1681289 h 2076207"/>
              <a:gd name="csX150" fmla="*/ 263503 w 748195"/>
              <a:gd name="csY150" fmla="*/ 1678179 h 2076207"/>
              <a:gd name="csX151" fmla="*/ 160381 w 748195"/>
              <a:gd name="csY151" fmla="*/ 1670405 h 2076207"/>
              <a:gd name="csX152" fmla="*/ 143321 w 748195"/>
              <a:gd name="csY152" fmla="*/ 1685538 h 2076207"/>
              <a:gd name="csX153" fmla="*/ 124769 w 748195"/>
              <a:gd name="csY153" fmla="*/ 1738195 h 2076207"/>
              <a:gd name="csX154" fmla="*/ 90593 w 748195"/>
              <a:gd name="csY154" fmla="*/ 1779570 h 2076207"/>
              <a:gd name="csX155" fmla="*/ 55556 w 748195"/>
              <a:gd name="csY155" fmla="*/ 1835827 h 2076207"/>
              <a:gd name="csX156" fmla="*/ 378900 w 748195"/>
              <a:gd name="csY156" fmla="*/ 2007280 h 2076207"/>
              <a:gd name="csX157" fmla="*/ 378887 w 748195"/>
              <a:gd name="csY157" fmla="*/ 1995127 h 2076207"/>
              <a:gd name="csX158" fmla="*/ 359084 w 748195"/>
              <a:gd name="csY158" fmla="*/ 1975964 h 2076207"/>
              <a:gd name="csX159" fmla="*/ 247288 w 748195"/>
              <a:gd name="csY159" fmla="*/ 1973305 h 2076207"/>
              <a:gd name="csX160" fmla="*/ 201692 w 748195"/>
              <a:gd name="csY160" fmla="*/ 1970275 h 2076207"/>
              <a:gd name="csX161" fmla="*/ 57962 w 748195"/>
              <a:gd name="csY161" fmla="*/ 1952648 h 2076207"/>
              <a:gd name="csX162" fmla="*/ 39194 w 748195"/>
              <a:gd name="csY162" fmla="*/ 1963552 h 2076207"/>
              <a:gd name="csX163" fmla="*/ 30066 w 748195"/>
              <a:gd name="csY163" fmla="*/ 2006631 h 2076207"/>
              <a:gd name="csX164" fmla="*/ 40232 w 748195"/>
              <a:gd name="csY164" fmla="*/ 2019486 h 2076207"/>
              <a:gd name="csX165" fmla="*/ 238186 w 748195"/>
              <a:gd name="csY165" fmla="*/ 2046096 h 2076207"/>
              <a:gd name="csX166" fmla="*/ 342155 w 748195"/>
              <a:gd name="csY166" fmla="*/ 2046441 h 2076207"/>
              <a:gd name="csX167" fmla="*/ 378900 w 748195"/>
              <a:gd name="csY167" fmla="*/ 2007280 h 2076207"/>
              <a:gd name="csX168" fmla="*/ 310220 w 748195"/>
              <a:gd name="csY168" fmla="*/ 554288 h 2076207"/>
              <a:gd name="csX169" fmla="*/ 259136 w 748195"/>
              <a:gd name="csY169" fmla="*/ 556881 h 2076207"/>
              <a:gd name="csX170" fmla="*/ 249085 w 748195"/>
              <a:gd name="csY170" fmla="*/ 567981 h 2076207"/>
              <a:gd name="csX171" fmla="*/ 249141 w 748195"/>
              <a:gd name="csY171" fmla="*/ 605644 h 2076207"/>
              <a:gd name="csX172" fmla="*/ 262628 w 748195"/>
              <a:gd name="csY172" fmla="*/ 605627 h 2076207"/>
              <a:gd name="csX173" fmla="*/ 369608 w 748195"/>
              <a:gd name="csY173" fmla="*/ 603027 h 2076207"/>
              <a:gd name="csX174" fmla="*/ 463931 w 748195"/>
              <a:gd name="csY174" fmla="*/ 605146 h 2076207"/>
              <a:gd name="csX175" fmla="*/ 478113 w 748195"/>
              <a:gd name="csY175" fmla="*/ 595843 h 2076207"/>
              <a:gd name="csX176" fmla="*/ 478796 w 748195"/>
              <a:gd name="csY176" fmla="*/ 556832 h 2076207"/>
              <a:gd name="csX177" fmla="*/ 310220 w 748195"/>
              <a:gd name="csY177" fmla="*/ 554288 h 2076207"/>
              <a:gd name="csX178" fmla="*/ 348836 w 748195"/>
              <a:gd name="csY178" fmla="*/ 684115 h 2076207"/>
              <a:gd name="csX179" fmla="*/ 281333 w 748195"/>
              <a:gd name="csY179" fmla="*/ 683313 h 2076207"/>
              <a:gd name="csX180" fmla="*/ 212728 w 748195"/>
              <a:gd name="csY180" fmla="*/ 681931 h 2076207"/>
              <a:gd name="csX181" fmla="*/ 187283 w 748195"/>
              <a:gd name="csY181" fmla="*/ 689555 h 2076207"/>
              <a:gd name="csX182" fmla="*/ 186163 w 748195"/>
              <a:gd name="csY182" fmla="*/ 718266 h 2076207"/>
              <a:gd name="csX183" fmla="*/ 209894 w 748195"/>
              <a:gd name="csY183" fmla="*/ 726798 h 2076207"/>
              <a:gd name="csX184" fmla="*/ 334814 w 748195"/>
              <a:gd name="csY184" fmla="*/ 732494 h 2076207"/>
              <a:gd name="csX185" fmla="*/ 364856 w 748195"/>
              <a:gd name="csY185" fmla="*/ 707963 h 2076207"/>
              <a:gd name="csX186" fmla="*/ 348836 w 748195"/>
              <a:gd name="csY186" fmla="*/ 684115 h 2076207"/>
              <a:gd name="csX187" fmla="*/ 298865 w 748195"/>
              <a:gd name="csY187" fmla="*/ 621954 h 2076207"/>
              <a:gd name="csX188" fmla="*/ 251619 w 748195"/>
              <a:gd name="csY188" fmla="*/ 622133 h 2076207"/>
              <a:gd name="csX189" fmla="*/ 214459 w 748195"/>
              <a:gd name="csY189" fmla="*/ 636230 h 2076207"/>
              <a:gd name="csX190" fmla="*/ 221436 w 748195"/>
              <a:gd name="csY190" fmla="*/ 654205 h 2076207"/>
              <a:gd name="csX191" fmla="*/ 272412 w 748195"/>
              <a:gd name="csY191" fmla="*/ 657250 h 2076207"/>
              <a:gd name="csX192" fmla="*/ 349094 w 748195"/>
              <a:gd name="csY192" fmla="*/ 659282 h 2076207"/>
              <a:gd name="csX193" fmla="*/ 362996 w 748195"/>
              <a:gd name="csY193" fmla="*/ 644234 h 2076207"/>
              <a:gd name="csX194" fmla="*/ 348472 w 748195"/>
              <a:gd name="csY194" fmla="*/ 624649 h 2076207"/>
              <a:gd name="csX195" fmla="*/ 298865 w 748195"/>
              <a:gd name="csY195" fmla="*/ 621954 h 2076207"/>
              <a:gd name="csX196" fmla="*/ 227796 w 748195"/>
              <a:gd name="csY196" fmla="*/ 528000 h 2076207"/>
              <a:gd name="csX197" fmla="*/ 241009 w 748195"/>
              <a:gd name="csY197" fmla="*/ 545897 h 2076207"/>
              <a:gd name="csX198" fmla="*/ 282607 w 748195"/>
              <a:gd name="csY198" fmla="*/ 543480 h 2076207"/>
              <a:gd name="csX199" fmla="*/ 354213 w 748195"/>
              <a:gd name="csY199" fmla="*/ 543384 h 2076207"/>
              <a:gd name="csX200" fmla="*/ 365334 w 748195"/>
              <a:gd name="csY200" fmla="*/ 533397 h 2076207"/>
              <a:gd name="csX201" fmla="*/ 354531 w 748195"/>
              <a:gd name="csY201" fmla="*/ 521620 h 2076207"/>
              <a:gd name="csX202" fmla="*/ 259169 w 748195"/>
              <a:gd name="csY202" fmla="*/ 521978 h 2076207"/>
              <a:gd name="csX203" fmla="*/ 227796 w 748195"/>
              <a:gd name="csY203" fmla="*/ 528000 h 2076207"/>
              <a:gd name="csX204" fmla="*/ 508068 w 748195"/>
              <a:gd name="csY204" fmla="*/ 190710 h 2076207"/>
              <a:gd name="csX205" fmla="*/ 521293 w 748195"/>
              <a:gd name="csY205" fmla="*/ 205907 h 2076207"/>
              <a:gd name="csX206" fmla="*/ 525175 w 748195"/>
              <a:gd name="csY206" fmla="*/ 202985 h 2076207"/>
              <a:gd name="csX207" fmla="*/ 500276 w 748195"/>
              <a:gd name="csY207" fmla="*/ 160640 h 2076207"/>
              <a:gd name="csX208" fmla="*/ 497122 w 748195"/>
              <a:gd name="csY208" fmla="*/ 162007 h 2076207"/>
              <a:gd name="csX209" fmla="*/ 508068 w 748195"/>
              <a:gd name="csY209" fmla="*/ 190710 h 2076207"/>
              <a:gd name="csX210" fmla="*/ 215522 w 748195"/>
              <a:gd name="csY210" fmla="*/ 197296 h 2076207"/>
              <a:gd name="csX211" fmla="*/ 234029 w 748195"/>
              <a:gd name="csY211" fmla="*/ 162725 h 2076207"/>
              <a:gd name="csX212" fmla="*/ 229000 w 748195"/>
              <a:gd name="csY212" fmla="*/ 159902 h 2076207"/>
              <a:gd name="csX213" fmla="*/ 204824 w 748195"/>
              <a:gd name="csY213" fmla="*/ 199677 h 2076207"/>
              <a:gd name="csX214" fmla="*/ 207990 w 748195"/>
              <a:gd name="csY214" fmla="*/ 202198 h 2076207"/>
              <a:gd name="csX215" fmla="*/ 215522 w 748195"/>
              <a:gd name="csY215" fmla="*/ 197296 h 2076207"/>
              <a:gd name="csX216" fmla="*/ 484400 w 748195"/>
              <a:gd name="csY216" fmla="*/ 896678 h 2076207"/>
              <a:gd name="csX217" fmla="*/ 486181 w 748195"/>
              <a:gd name="csY217" fmla="*/ 896585 h 2076207"/>
              <a:gd name="csX218" fmla="*/ 486181 w 748195"/>
              <a:gd name="csY218" fmla="*/ 795289 h 2076207"/>
              <a:gd name="csX219" fmla="*/ 720241 w 748195"/>
              <a:gd name="csY219" fmla="*/ 2030666 h 2076207"/>
              <a:gd name="csX220" fmla="*/ 721175 w 748195"/>
              <a:gd name="csY220" fmla="*/ 2029733 h 2076207"/>
              <a:gd name="csX221" fmla="*/ 720241 w 748195"/>
              <a:gd name="csY221" fmla="*/ 2030666 h 2076207"/>
              <a:gd name="csX222" fmla="*/ 715702 w 748195"/>
              <a:gd name="csY222" fmla="*/ 2037051 h 2076207"/>
              <a:gd name="csX223" fmla="*/ 715702 w 748195"/>
              <a:gd name="csY223" fmla="*/ 2037051 h 2076207"/>
              <a:gd name="csX0" fmla="*/ 96263 w 748195"/>
              <a:gd name="csY0" fmla="*/ 2076207 h 2076207"/>
              <a:gd name="csX1" fmla="*/ 63862 w 748195"/>
              <a:gd name="csY1" fmla="*/ 2065388 h 2076207"/>
              <a:gd name="csX2" fmla="*/ 16555 w 748195"/>
              <a:gd name="csY2" fmla="*/ 2050152 h 2076207"/>
              <a:gd name="csX3" fmla="*/ 15 w 748195"/>
              <a:gd name="csY3" fmla="*/ 2023802 h 2076207"/>
              <a:gd name="csX4" fmla="*/ 18368 w 748195"/>
              <a:gd name="csY4" fmla="*/ 1940709 h 2076207"/>
              <a:gd name="csX5" fmla="*/ 22139 w 748195"/>
              <a:gd name="csY5" fmla="*/ 1907268 h 2076207"/>
              <a:gd name="csX6" fmla="*/ 57941 w 748195"/>
              <a:gd name="csY6" fmla="*/ 1774163 h 2076207"/>
              <a:gd name="csX7" fmla="*/ 102478 w 748195"/>
              <a:gd name="csY7" fmla="*/ 1720275 h 2076207"/>
              <a:gd name="csX8" fmla="*/ 108579 w 748195"/>
              <a:gd name="csY8" fmla="*/ 1650967 h 2076207"/>
              <a:gd name="csX9" fmla="*/ 115628 w 748195"/>
              <a:gd name="csY9" fmla="*/ 1625405 h 2076207"/>
              <a:gd name="csX10" fmla="*/ 156323 w 748195"/>
              <a:gd name="csY10" fmla="*/ 1560181 h 2076207"/>
              <a:gd name="csX11" fmla="*/ 199424 w 748195"/>
              <a:gd name="csY11" fmla="*/ 1364729 h 2076207"/>
              <a:gd name="csX12" fmla="*/ 216779 w 748195"/>
              <a:gd name="csY12" fmla="*/ 1219490 h 2076207"/>
              <a:gd name="csX13" fmla="*/ 229755 w 748195"/>
              <a:gd name="csY13" fmla="*/ 1099357 h 2076207"/>
              <a:gd name="csX14" fmla="*/ 232707 w 748195"/>
              <a:gd name="csY14" fmla="*/ 1056423 h 2076207"/>
              <a:gd name="csX15" fmla="*/ 235622 w 748195"/>
              <a:gd name="csY15" fmla="*/ 952675 h 2076207"/>
              <a:gd name="csX16" fmla="*/ 235445 w 748195"/>
              <a:gd name="csY16" fmla="*/ 780278 h 2076207"/>
              <a:gd name="csX17" fmla="*/ 214544 w 748195"/>
              <a:gd name="csY17" fmla="*/ 756435 h 2076207"/>
              <a:gd name="csX18" fmla="*/ 172569 w 748195"/>
              <a:gd name="csY18" fmla="*/ 742582 h 2076207"/>
              <a:gd name="csX19" fmla="*/ 168784 w 748195"/>
              <a:gd name="csY19" fmla="*/ 669116 h 2076207"/>
              <a:gd name="csX20" fmla="*/ 191657 w 748195"/>
              <a:gd name="csY20" fmla="*/ 630765 h 2076207"/>
              <a:gd name="csX21" fmla="*/ 208150 w 748195"/>
              <a:gd name="csY21" fmla="*/ 609084 h 2076207"/>
              <a:gd name="csX22" fmla="*/ 216756 w 748195"/>
              <a:gd name="csY22" fmla="*/ 558673 h 2076207"/>
              <a:gd name="csX23" fmla="*/ 209092 w 748195"/>
              <a:gd name="csY23" fmla="*/ 521540 h 2076207"/>
              <a:gd name="csX24" fmla="*/ 204683 w 748195"/>
              <a:gd name="csY24" fmla="*/ 474024 h 2076207"/>
              <a:gd name="csX25" fmla="*/ 115483 w 748195"/>
              <a:gd name="csY25" fmla="*/ 213499 h 2076207"/>
              <a:gd name="csX26" fmla="*/ 102909 w 748195"/>
              <a:gd name="csY26" fmla="*/ 182297 h 2076207"/>
              <a:gd name="csX27" fmla="*/ 104315 w 748195"/>
              <a:gd name="csY27" fmla="*/ 163968 h 2076207"/>
              <a:gd name="csX28" fmla="*/ 122444 w 748195"/>
              <a:gd name="csY28" fmla="*/ 160805 h 2076207"/>
              <a:gd name="csX29" fmla="*/ 170283 w 748195"/>
              <a:gd name="csY29" fmla="*/ 187783 h 2076207"/>
              <a:gd name="csX30" fmla="*/ 180938 w 748195"/>
              <a:gd name="csY30" fmla="*/ 195322 h 2076207"/>
              <a:gd name="csX31" fmla="*/ 221419 w 748195"/>
              <a:gd name="csY31" fmla="*/ 138058 h 2076207"/>
              <a:gd name="csX32" fmla="*/ 294099 w 748195"/>
              <a:gd name="csY32" fmla="*/ 91372 h 2076207"/>
              <a:gd name="csX33" fmla="*/ 302307 w 748195"/>
              <a:gd name="csY33" fmla="*/ 76560 h 2076207"/>
              <a:gd name="csX34" fmla="*/ 320284 w 748195"/>
              <a:gd name="csY34" fmla="*/ 8414 h 2076207"/>
              <a:gd name="csX35" fmla="*/ 324784 w 748195"/>
              <a:gd name="csY35" fmla="*/ 946 h 2076207"/>
              <a:gd name="csX36" fmla="*/ 399212 w 748195"/>
              <a:gd name="csY36" fmla="*/ 0 h 2076207"/>
              <a:gd name="csX37" fmla="*/ 425980 w 748195"/>
              <a:gd name="csY37" fmla="*/ 78301 h 2076207"/>
              <a:gd name="csX38" fmla="*/ 431861 w 748195"/>
              <a:gd name="csY38" fmla="*/ 90312 h 2076207"/>
              <a:gd name="csX39" fmla="*/ 540349 w 748195"/>
              <a:gd name="csY39" fmla="*/ 187946 h 2076207"/>
              <a:gd name="csX40" fmla="*/ 545555 w 748195"/>
              <a:gd name="csY40" fmla="*/ 197828 h 2076207"/>
              <a:gd name="csX41" fmla="*/ 587318 w 748195"/>
              <a:gd name="csY41" fmla="*/ 171260 h 2076207"/>
              <a:gd name="csX42" fmla="*/ 601503 w 748195"/>
              <a:gd name="csY42" fmla="*/ 163707 h 2076207"/>
              <a:gd name="csX43" fmla="*/ 625254 w 748195"/>
              <a:gd name="csY43" fmla="*/ 163123 h 2076207"/>
              <a:gd name="csX44" fmla="*/ 625468 w 748195"/>
              <a:gd name="csY44" fmla="*/ 187579 h 2076207"/>
              <a:gd name="csX45" fmla="*/ 597543 w 748195"/>
              <a:gd name="csY45" fmla="*/ 251872 h 2076207"/>
              <a:gd name="csX46" fmla="*/ 531831 w 748195"/>
              <a:gd name="csY46" fmla="*/ 442689 h 2076207"/>
              <a:gd name="csX47" fmla="*/ 519888 w 748195"/>
              <a:gd name="csY47" fmla="*/ 501474 h 2076207"/>
              <a:gd name="csX48" fmla="*/ 522506 w 748195"/>
              <a:gd name="csY48" fmla="*/ 525086 h 2076207"/>
              <a:gd name="csX49" fmla="*/ 516235 w 748195"/>
              <a:gd name="csY49" fmla="*/ 555946 h 2076207"/>
              <a:gd name="csX50" fmla="*/ 521332 w 748195"/>
              <a:gd name="csY50" fmla="*/ 610676 h 2076207"/>
              <a:gd name="csX51" fmla="*/ 541382 w 748195"/>
              <a:gd name="csY51" fmla="*/ 642597 h 2076207"/>
              <a:gd name="csX52" fmla="*/ 557031 w 748195"/>
              <a:gd name="csY52" fmla="*/ 667949 h 2076207"/>
              <a:gd name="csX53" fmla="*/ 553994 w 748195"/>
              <a:gd name="csY53" fmla="*/ 744146 h 2076207"/>
              <a:gd name="csX54" fmla="*/ 508215 w 748195"/>
              <a:gd name="csY54" fmla="*/ 758841 h 2076207"/>
              <a:gd name="csX55" fmla="*/ 497442 w 748195"/>
              <a:gd name="csY55" fmla="*/ 771256 h 2076207"/>
              <a:gd name="csX56" fmla="*/ 493005 w 748195"/>
              <a:gd name="csY56" fmla="*/ 922055 h 2076207"/>
              <a:gd name="csX57" fmla="*/ 502900 w 748195"/>
              <a:gd name="csY57" fmla="*/ 1114191 h 2076207"/>
              <a:gd name="csX58" fmla="*/ 508800 w 748195"/>
              <a:gd name="csY58" fmla="*/ 1205474 h 2076207"/>
              <a:gd name="csX59" fmla="*/ 522952 w 748195"/>
              <a:gd name="csY59" fmla="*/ 1320065 h 2076207"/>
              <a:gd name="csX60" fmla="*/ 554682 w 748195"/>
              <a:gd name="csY60" fmla="*/ 1501203 h 2076207"/>
              <a:gd name="csX61" fmla="*/ 576958 w 748195"/>
              <a:gd name="csY61" fmla="*/ 1593963 h 2076207"/>
              <a:gd name="csX62" fmla="*/ 595349 w 748195"/>
              <a:gd name="csY62" fmla="*/ 1613498 h 2076207"/>
              <a:gd name="csX63" fmla="*/ 613936 w 748195"/>
              <a:gd name="csY63" fmla="*/ 1624058 h 2076207"/>
              <a:gd name="csX64" fmla="*/ 620938 w 748195"/>
              <a:gd name="csY64" fmla="*/ 1652071 h 2076207"/>
              <a:gd name="csX65" fmla="*/ 630805 w 748195"/>
              <a:gd name="csY65" fmla="*/ 1721702 h 2076207"/>
              <a:gd name="csX66" fmla="*/ 685830 w 748195"/>
              <a:gd name="csY66" fmla="*/ 1792915 h 2076207"/>
              <a:gd name="csX67" fmla="*/ 708904 w 748195"/>
              <a:gd name="csY67" fmla="*/ 1890290 h 2076207"/>
              <a:gd name="csX68" fmla="*/ 716580 w 748195"/>
              <a:gd name="csY68" fmla="*/ 1951136 h 2076207"/>
              <a:gd name="csX69" fmla="*/ 729397 w 748195"/>
              <a:gd name="csY69" fmla="*/ 2030261 h 2076207"/>
              <a:gd name="csX70" fmla="*/ 714212 w 748195"/>
              <a:gd name="csY70" fmla="*/ 2049544 h 2076207"/>
              <a:gd name="csX71" fmla="*/ 645428 w 748195"/>
              <a:gd name="csY71" fmla="*/ 2070825 h 2076207"/>
              <a:gd name="csX72" fmla="*/ 588428 w 748195"/>
              <a:gd name="csY72" fmla="*/ 2075144 h 2076207"/>
              <a:gd name="csX73" fmla="*/ 667788 w 748195"/>
              <a:gd name="csY73" fmla="*/ 2056852 h 2076207"/>
              <a:gd name="csX74" fmla="*/ 706629 w 748195"/>
              <a:gd name="csY74" fmla="*/ 2044290 h 2076207"/>
              <a:gd name="csX75" fmla="*/ 702674 w 748195"/>
              <a:gd name="csY75" fmla="*/ 2041581 h 2076207"/>
              <a:gd name="csX76" fmla="*/ 96263 w 748195"/>
              <a:gd name="csY76" fmla="*/ 2076207 h 2076207"/>
              <a:gd name="csX77" fmla="*/ 489970 w 748195"/>
              <a:gd name="csY77" fmla="*/ 152208 h 2076207"/>
              <a:gd name="csX78" fmla="*/ 490754 w 748195"/>
              <a:gd name="csY78" fmla="*/ 152592 h 2076207"/>
              <a:gd name="csX79" fmla="*/ 489489 w 748195"/>
              <a:gd name="csY79" fmla="*/ 149547 h 2076207"/>
              <a:gd name="csX80" fmla="*/ 393621 w 748195"/>
              <a:gd name="csY80" fmla="*/ 99259 h 2076207"/>
              <a:gd name="csX81" fmla="*/ 390419 w 748195"/>
              <a:gd name="csY81" fmla="*/ 18568 h 2076207"/>
              <a:gd name="csX82" fmla="*/ 334131 w 748195"/>
              <a:gd name="csY82" fmla="*/ 24327 h 2076207"/>
              <a:gd name="csX83" fmla="*/ 344678 w 748195"/>
              <a:gd name="csY83" fmla="*/ 101259 h 2076207"/>
              <a:gd name="csX84" fmla="*/ 298854 w 748195"/>
              <a:gd name="csY84" fmla="*/ 114003 h 2076207"/>
              <a:gd name="csX85" fmla="*/ 237456 w 748195"/>
              <a:gd name="csY85" fmla="*/ 154340 h 2076207"/>
              <a:gd name="csX86" fmla="*/ 240382 w 748195"/>
              <a:gd name="csY86" fmla="*/ 154035 h 2076207"/>
              <a:gd name="csX87" fmla="*/ 262731 w 748195"/>
              <a:gd name="csY87" fmla="*/ 170426 h 2076207"/>
              <a:gd name="csX88" fmla="*/ 279169 w 748195"/>
              <a:gd name="csY88" fmla="*/ 193173 h 2076207"/>
              <a:gd name="csX89" fmla="*/ 327717 w 748195"/>
              <a:gd name="csY89" fmla="*/ 188556 h 2076207"/>
              <a:gd name="csX90" fmla="*/ 348052 w 748195"/>
              <a:gd name="csY90" fmla="*/ 156919 h 2076207"/>
              <a:gd name="csX91" fmla="*/ 380330 w 748195"/>
              <a:gd name="csY91" fmla="*/ 156483 h 2076207"/>
              <a:gd name="csX92" fmla="*/ 408490 w 748195"/>
              <a:gd name="csY92" fmla="*/ 195400 h 2076207"/>
              <a:gd name="csX93" fmla="*/ 445346 w 748195"/>
              <a:gd name="csY93" fmla="*/ 197582 h 2076207"/>
              <a:gd name="csX94" fmla="*/ 464798 w 748195"/>
              <a:gd name="csY94" fmla="*/ 174107 h 2076207"/>
              <a:gd name="csX95" fmla="*/ 489970 w 748195"/>
              <a:gd name="csY95" fmla="*/ 152208 h 2076207"/>
              <a:gd name="csX96" fmla="*/ 140694 w 748195"/>
              <a:gd name="csY96" fmla="*/ 201837 h 2076207"/>
              <a:gd name="csX97" fmla="*/ 139834 w 748195"/>
              <a:gd name="csY97" fmla="*/ 201482 h 2076207"/>
              <a:gd name="csX98" fmla="*/ 140812 w 748195"/>
              <a:gd name="csY98" fmla="*/ 204941 h 2076207"/>
              <a:gd name="csX99" fmla="*/ 144631 w 748195"/>
              <a:gd name="csY99" fmla="*/ 217811 h 2076207"/>
              <a:gd name="csX100" fmla="*/ 201241 w 748195"/>
              <a:gd name="csY100" fmla="*/ 373387 h 2076207"/>
              <a:gd name="csX101" fmla="*/ 235971 w 748195"/>
              <a:gd name="csY101" fmla="*/ 504451 h 2076207"/>
              <a:gd name="csX102" fmla="*/ 247475 w 748195"/>
              <a:gd name="csY102" fmla="*/ 513241 h 2076207"/>
              <a:gd name="csX103" fmla="*/ 289066 w 748195"/>
              <a:gd name="csY103" fmla="*/ 511170 h 2076207"/>
              <a:gd name="csX104" fmla="*/ 378229 w 748195"/>
              <a:gd name="csY104" fmla="*/ 511084 h 2076207"/>
              <a:gd name="csX105" fmla="*/ 470850 w 748195"/>
              <a:gd name="csY105" fmla="*/ 516341 h 2076207"/>
              <a:gd name="csX106" fmla="*/ 492933 w 748195"/>
              <a:gd name="csY106" fmla="*/ 497969 h 2076207"/>
              <a:gd name="csX107" fmla="*/ 557617 w 748195"/>
              <a:gd name="csY107" fmla="*/ 280398 h 2076207"/>
              <a:gd name="csX108" fmla="*/ 588788 w 748195"/>
              <a:gd name="csY108" fmla="*/ 200385 h 2076207"/>
              <a:gd name="csX109" fmla="*/ 530958 w 748195"/>
              <a:gd name="csY109" fmla="*/ 232968 h 2076207"/>
              <a:gd name="csX110" fmla="*/ 483823 w 748195"/>
              <a:gd name="csY110" fmla="*/ 190364 h 2076207"/>
              <a:gd name="csX111" fmla="*/ 466649 w 748195"/>
              <a:gd name="csY111" fmla="*/ 209061 h 2076207"/>
              <a:gd name="csX112" fmla="*/ 399941 w 748195"/>
              <a:gd name="csY112" fmla="*/ 216988 h 2076207"/>
              <a:gd name="csX113" fmla="*/ 363018 w 748195"/>
              <a:gd name="csY113" fmla="*/ 179615 h 2076207"/>
              <a:gd name="csX114" fmla="*/ 308839 w 748195"/>
              <a:gd name="csY114" fmla="*/ 227846 h 2076207"/>
              <a:gd name="csX115" fmla="*/ 245077 w 748195"/>
              <a:gd name="csY115" fmla="*/ 192402 h 2076207"/>
              <a:gd name="csX116" fmla="*/ 242829 w 748195"/>
              <a:gd name="csY116" fmla="*/ 198815 h 2076207"/>
              <a:gd name="csX117" fmla="*/ 168452 w 748195"/>
              <a:gd name="csY117" fmla="*/ 219348 h 2076207"/>
              <a:gd name="csX118" fmla="*/ 140694 w 748195"/>
              <a:gd name="csY118" fmla="*/ 201837 h 2076207"/>
              <a:gd name="csX119" fmla="*/ 259999 w 748195"/>
              <a:gd name="csY119" fmla="*/ 966699 h 2076207"/>
              <a:gd name="csX120" fmla="*/ 257072 w 748195"/>
              <a:gd name="csY120" fmla="*/ 1070424 h 2076207"/>
              <a:gd name="csX121" fmla="*/ 251372 w 748195"/>
              <a:gd name="csY121" fmla="*/ 1157618 h 2076207"/>
              <a:gd name="csX122" fmla="*/ 232677 w 748195"/>
              <a:gd name="csY122" fmla="*/ 1320279 h 2076207"/>
              <a:gd name="csX123" fmla="*/ 209182 w 748195"/>
              <a:gd name="csY123" fmla="*/ 1468667 h 2076207"/>
              <a:gd name="csX124" fmla="*/ 175302 w 748195"/>
              <a:gd name="csY124" fmla="*/ 1616623 h 2076207"/>
              <a:gd name="csX125" fmla="*/ 182769 w 748195"/>
              <a:gd name="csY125" fmla="*/ 1629786 h 2076207"/>
              <a:gd name="csX126" fmla="*/ 212156 w 748195"/>
              <a:gd name="csY126" fmla="*/ 1632656 h 2076207"/>
              <a:gd name="csX127" fmla="*/ 351295 w 748195"/>
              <a:gd name="csY127" fmla="*/ 1632801 h 2076207"/>
              <a:gd name="csX128" fmla="*/ 376150 w 748195"/>
              <a:gd name="csY128" fmla="*/ 1608307 h 2076207"/>
              <a:gd name="csX129" fmla="*/ 373450 w 748195"/>
              <a:gd name="csY129" fmla="*/ 1457291 h 2076207"/>
              <a:gd name="csX130" fmla="*/ 370936 w 748195"/>
              <a:gd name="csY130" fmla="*/ 1342736 h 2076207"/>
              <a:gd name="csX131" fmla="*/ 368328 w 748195"/>
              <a:gd name="csY131" fmla="*/ 1203878 h 2076207"/>
              <a:gd name="csX132" fmla="*/ 367836 w 748195"/>
              <a:gd name="csY132" fmla="*/ 813478 h 2076207"/>
              <a:gd name="csX133" fmla="*/ 365240 w 748195"/>
              <a:gd name="csY133" fmla="*/ 773243 h 2076207"/>
              <a:gd name="csX134" fmla="*/ 353084 w 748195"/>
              <a:gd name="csY134" fmla="*/ 762083 h 2076207"/>
              <a:gd name="csX135" fmla="*/ 280966 w 748195"/>
              <a:gd name="csY135" fmla="*/ 759855 h 2076207"/>
              <a:gd name="csX136" fmla="*/ 259965 w 748195"/>
              <a:gd name="csY136" fmla="*/ 779553 h 2076207"/>
              <a:gd name="csX137" fmla="*/ 262341 w 748195"/>
              <a:gd name="csY137" fmla="*/ 856275 h 2076207"/>
              <a:gd name="csX138" fmla="*/ 259999 w 748195"/>
              <a:gd name="csY138" fmla="*/ 966699 h 2076207"/>
              <a:gd name="csX139" fmla="*/ 55556 w 748195"/>
              <a:gd name="csY139" fmla="*/ 1835827 h 2076207"/>
              <a:gd name="csX140" fmla="*/ 49393 w 748195"/>
              <a:gd name="csY140" fmla="*/ 1878155 h 2076207"/>
              <a:gd name="csX141" fmla="*/ 73949 w 748195"/>
              <a:gd name="csY141" fmla="*/ 1905781 h 2076207"/>
              <a:gd name="csX142" fmla="*/ 110073 w 748195"/>
              <a:gd name="csY142" fmla="*/ 1909068 h 2076207"/>
              <a:gd name="csX143" fmla="*/ 224745 w 748195"/>
              <a:gd name="csY143" fmla="*/ 1921652 h 2076207"/>
              <a:gd name="csX144" fmla="*/ 347327 w 748195"/>
              <a:gd name="csY144" fmla="*/ 1924778 h 2076207"/>
              <a:gd name="csX145" fmla="*/ 363345 w 748195"/>
              <a:gd name="csY145" fmla="*/ 1923293 h 2076207"/>
              <a:gd name="csX146" fmla="*/ 373787 w 748195"/>
              <a:gd name="csY146" fmla="*/ 1911200 h 2076207"/>
              <a:gd name="csX147" fmla="*/ 376623 w 748195"/>
              <a:gd name="csY147" fmla="*/ 1696741 h 2076207"/>
              <a:gd name="csX148" fmla="*/ 360437 w 748195"/>
              <a:gd name="csY148" fmla="*/ 1681289 h 2076207"/>
              <a:gd name="csX149" fmla="*/ 263503 w 748195"/>
              <a:gd name="csY149" fmla="*/ 1678179 h 2076207"/>
              <a:gd name="csX150" fmla="*/ 160381 w 748195"/>
              <a:gd name="csY150" fmla="*/ 1670405 h 2076207"/>
              <a:gd name="csX151" fmla="*/ 143321 w 748195"/>
              <a:gd name="csY151" fmla="*/ 1685538 h 2076207"/>
              <a:gd name="csX152" fmla="*/ 124769 w 748195"/>
              <a:gd name="csY152" fmla="*/ 1738195 h 2076207"/>
              <a:gd name="csX153" fmla="*/ 90593 w 748195"/>
              <a:gd name="csY153" fmla="*/ 1779570 h 2076207"/>
              <a:gd name="csX154" fmla="*/ 55556 w 748195"/>
              <a:gd name="csY154" fmla="*/ 1835827 h 2076207"/>
              <a:gd name="csX155" fmla="*/ 378900 w 748195"/>
              <a:gd name="csY155" fmla="*/ 2007280 h 2076207"/>
              <a:gd name="csX156" fmla="*/ 378887 w 748195"/>
              <a:gd name="csY156" fmla="*/ 1995127 h 2076207"/>
              <a:gd name="csX157" fmla="*/ 359084 w 748195"/>
              <a:gd name="csY157" fmla="*/ 1975964 h 2076207"/>
              <a:gd name="csX158" fmla="*/ 247288 w 748195"/>
              <a:gd name="csY158" fmla="*/ 1973305 h 2076207"/>
              <a:gd name="csX159" fmla="*/ 201692 w 748195"/>
              <a:gd name="csY159" fmla="*/ 1970275 h 2076207"/>
              <a:gd name="csX160" fmla="*/ 57962 w 748195"/>
              <a:gd name="csY160" fmla="*/ 1952648 h 2076207"/>
              <a:gd name="csX161" fmla="*/ 39194 w 748195"/>
              <a:gd name="csY161" fmla="*/ 1963552 h 2076207"/>
              <a:gd name="csX162" fmla="*/ 30066 w 748195"/>
              <a:gd name="csY162" fmla="*/ 2006631 h 2076207"/>
              <a:gd name="csX163" fmla="*/ 40232 w 748195"/>
              <a:gd name="csY163" fmla="*/ 2019486 h 2076207"/>
              <a:gd name="csX164" fmla="*/ 238186 w 748195"/>
              <a:gd name="csY164" fmla="*/ 2046096 h 2076207"/>
              <a:gd name="csX165" fmla="*/ 342155 w 748195"/>
              <a:gd name="csY165" fmla="*/ 2046441 h 2076207"/>
              <a:gd name="csX166" fmla="*/ 378900 w 748195"/>
              <a:gd name="csY166" fmla="*/ 2007280 h 2076207"/>
              <a:gd name="csX167" fmla="*/ 310220 w 748195"/>
              <a:gd name="csY167" fmla="*/ 554288 h 2076207"/>
              <a:gd name="csX168" fmla="*/ 259136 w 748195"/>
              <a:gd name="csY168" fmla="*/ 556881 h 2076207"/>
              <a:gd name="csX169" fmla="*/ 249085 w 748195"/>
              <a:gd name="csY169" fmla="*/ 567981 h 2076207"/>
              <a:gd name="csX170" fmla="*/ 249141 w 748195"/>
              <a:gd name="csY170" fmla="*/ 605644 h 2076207"/>
              <a:gd name="csX171" fmla="*/ 262628 w 748195"/>
              <a:gd name="csY171" fmla="*/ 605627 h 2076207"/>
              <a:gd name="csX172" fmla="*/ 369608 w 748195"/>
              <a:gd name="csY172" fmla="*/ 603027 h 2076207"/>
              <a:gd name="csX173" fmla="*/ 463931 w 748195"/>
              <a:gd name="csY173" fmla="*/ 605146 h 2076207"/>
              <a:gd name="csX174" fmla="*/ 478113 w 748195"/>
              <a:gd name="csY174" fmla="*/ 595843 h 2076207"/>
              <a:gd name="csX175" fmla="*/ 478796 w 748195"/>
              <a:gd name="csY175" fmla="*/ 556832 h 2076207"/>
              <a:gd name="csX176" fmla="*/ 310220 w 748195"/>
              <a:gd name="csY176" fmla="*/ 554288 h 2076207"/>
              <a:gd name="csX177" fmla="*/ 348836 w 748195"/>
              <a:gd name="csY177" fmla="*/ 684115 h 2076207"/>
              <a:gd name="csX178" fmla="*/ 281333 w 748195"/>
              <a:gd name="csY178" fmla="*/ 683313 h 2076207"/>
              <a:gd name="csX179" fmla="*/ 212728 w 748195"/>
              <a:gd name="csY179" fmla="*/ 681931 h 2076207"/>
              <a:gd name="csX180" fmla="*/ 187283 w 748195"/>
              <a:gd name="csY180" fmla="*/ 689555 h 2076207"/>
              <a:gd name="csX181" fmla="*/ 186163 w 748195"/>
              <a:gd name="csY181" fmla="*/ 718266 h 2076207"/>
              <a:gd name="csX182" fmla="*/ 209894 w 748195"/>
              <a:gd name="csY182" fmla="*/ 726798 h 2076207"/>
              <a:gd name="csX183" fmla="*/ 334814 w 748195"/>
              <a:gd name="csY183" fmla="*/ 732494 h 2076207"/>
              <a:gd name="csX184" fmla="*/ 364856 w 748195"/>
              <a:gd name="csY184" fmla="*/ 707963 h 2076207"/>
              <a:gd name="csX185" fmla="*/ 348836 w 748195"/>
              <a:gd name="csY185" fmla="*/ 684115 h 2076207"/>
              <a:gd name="csX186" fmla="*/ 298865 w 748195"/>
              <a:gd name="csY186" fmla="*/ 621954 h 2076207"/>
              <a:gd name="csX187" fmla="*/ 251619 w 748195"/>
              <a:gd name="csY187" fmla="*/ 622133 h 2076207"/>
              <a:gd name="csX188" fmla="*/ 214459 w 748195"/>
              <a:gd name="csY188" fmla="*/ 636230 h 2076207"/>
              <a:gd name="csX189" fmla="*/ 221436 w 748195"/>
              <a:gd name="csY189" fmla="*/ 654205 h 2076207"/>
              <a:gd name="csX190" fmla="*/ 272412 w 748195"/>
              <a:gd name="csY190" fmla="*/ 657250 h 2076207"/>
              <a:gd name="csX191" fmla="*/ 349094 w 748195"/>
              <a:gd name="csY191" fmla="*/ 659282 h 2076207"/>
              <a:gd name="csX192" fmla="*/ 362996 w 748195"/>
              <a:gd name="csY192" fmla="*/ 644234 h 2076207"/>
              <a:gd name="csX193" fmla="*/ 348472 w 748195"/>
              <a:gd name="csY193" fmla="*/ 624649 h 2076207"/>
              <a:gd name="csX194" fmla="*/ 298865 w 748195"/>
              <a:gd name="csY194" fmla="*/ 621954 h 2076207"/>
              <a:gd name="csX195" fmla="*/ 227796 w 748195"/>
              <a:gd name="csY195" fmla="*/ 528000 h 2076207"/>
              <a:gd name="csX196" fmla="*/ 241009 w 748195"/>
              <a:gd name="csY196" fmla="*/ 545897 h 2076207"/>
              <a:gd name="csX197" fmla="*/ 282607 w 748195"/>
              <a:gd name="csY197" fmla="*/ 543480 h 2076207"/>
              <a:gd name="csX198" fmla="*/ 354213 w 748195"/>
              <a:gd name="csY198" fmla="*/ 543384 h 2076207"/>
              <a:gd name="csX199" fmla="*/ 365334 w 748195"/>
              <a:gd name="csY199" fmla="*/ 533397 h 2076207"/>
              <a:gd name="csX200" fmla="*/ 354531 w 748195"/>
              <a:gd name="csY200" fmla="*/ 521620 h 2076207"/>
              <a:gd name="csX201" fmla="*/ 259169 w 748195"/>
              <a:gd name="csY201" fmla="*/ 521978 h 2076207"/>
              <a:gd name="csX202" fmla="*/ 227796 w 748195"/>
              <a:gd name="csY202" fmla="*/ 528000 h 2076207"/>
              <a:gd name="csX203" fmla="*/ 508068 w 748195"/>
              <a:gd name="csY203" fmla="*/ 190710 h 2076207"/>
              <a:gd name="csX204" fmla="*/ 521293 w 748195"/>
              <a:gd name="csY204" fmla="*/ 205907 h 2076207"/>
              <a:gd name="csX205" fmla="*/ 525175 w 748195"/>
              <a:gd name="csY205" fmla="*/ 202985 h 2076207"/>
              <a:gd name="csX206" fmla="*/ 500276 w 748195"/>
              <a:gd name="csY206" fmla="*/ 160640 h 2076207"/>
              <a:gd name="csX207" fmla="*/ 497122 w 748195"/>
              <a:gd name="csY207" fmla="*/ 162007 h 2076207"/>
              <a:gd name="csX208" fmla="*/ 508068 w 748195"/>
              <a:gd name="csY208" fmla="*/ 190710 h 2076207"/>
              <a:gd name="csX209" fmla="*/ 215522 w 748195"/>
              <a:gd name="csY209" fmla="*/ 197296 h 2076207"/>
              <a:gd name="csX210" fmla="*/ 234029 w 748195"/>
              <a:gd name="csY210" fmla="*/ 162725 h 2076207"/>
              <a:gd name="csX211" fmla="*/ 229000 w 748195"/>
              <a:gd name="csY211" fmla="*/ 159902 h 2076207"/>
              <a:gd name="csX212" fmla="*/ 204824 w 748195"/>
              <a:gd name="csY212" fmla="*/ 199677 h 2076207"/>
              <a:gd name="csX213" fmla="*/ 207990 w 748195"/>
              <a:gd name="csY213" fmla="*/ 202198 h 2076207"/>
              <a:gd name="csX214" fmla="*/ 215522 w 748195"/>
              <a:gd name="csY214" fmla="*/ 197296 h 2076207"/>
              <a:gd name="csX215" fmla="*/ 484400 w 748195"/>
              <a:gd name="csY215" fmla="*/ 896678 h 2076207"/>
              <a:gd name="csX216" fmla="*/ 486181 w 748195"/>
              <a:gd name="csY216" fmla="*/ 896585 h 2076207"/>
              <a:gd name="csX217" fmla="*/ 486181 w 748195"/>
              <a:gd name="csY217" fmla="*/ 795289 h 2076207"/>
              <a:gd name="csX218" fmla="*/ 720241 w 748195"/>
              <a:gd name="csY218" fmla="*/ 2030666 h 2076207"/>
              <a:gd name="csX219" fmla="*/ 721175 w 748195"/>
              <a:gd name="csY219" fmla="*/ 2029733 h 2076207"/>
              <a:gd name="csX220" fmla="*/ 720241 w 748195"/>
              <a:gd name="csY220" fmla="*/ 2030666 h 2076207"/>
              <a:gd name="csX221" fmla="*/ 715702 w 748195"/>
              <a:gd name="csY221" fmla="*/ 2037051 h 2076207"/>
              <a:gd name="csX222" fmla="*/ 715702 w 748195"/>
              <a:gd name="csY222" fmla="*/ 2037051 h 2076207"/>
              <a:gd name="csX0" fmla="*/ 96263 w 748195"/>
              <a:gd name="csY0" fmla="*/ 2076207 h 2076207"/>
              <a:gd name="csX1" fmla="*/ 63862 w 748195"/>
              <a:gd name="csY1" fmla="*/ 2065388 h 2076207"/>
              <a:gd name="csX2" fmla="*/ 16555 w 748195"/>
              <a:gd name="csY2" fmla="*/ 2050152 h 2076207"/>
              <a:gd name="csX3" fmla="*/ 15 w 748195"/>
              <a:gd name="csY3" fmla="*/ 2023802 h 2076207"/>
              <a:gd name="csX4" fmla="*/ 18368 w 748195"/>
              <a:gd name="csY4" fmla="*/ 1940709 h 2076207"/>
              <a:gd name="csX5" fmla="*/ 22139 w 748195"/>
              <a:gd name="csY5" fmla="*/ 1907268 h 2076207"/>
              <a:gd name="csX6" fmla="*/ 57941 w 748195"/>
              <a:gd name="csY6" fmla="*/ 1774163 h 2076207"/>
              <a:gd name="csX7" fmla="*/ 102478 w 748195"/>
              <a:gd name="csY7" fmla="*/ 1720275 h 2076207"/>
              <a:gd name="csX8" fmla="*/ 108579 w 748195"/>
              <a:gd name="csY8" fmla="*/ 1650967 h 2076207"/>
              <a:gd name="csX9" fmla="*/ 115628 w 748195"/>
              <a:gd name="csY9" fmla="*/ 1625405 h 2076207"/>
              <a:gd name="csX10" fmla="*/ 156323 w 748195"/>
              <a:gd name="csY10" fmla="*/ 1560181 h 2076207"/>
              <a:gd name="csX11" fmla="*/ 199424 w 748195"/>
              <a:gd name="csY11" fmla="*/ 1364729 h 2076207"/>
              <a:gd name="csX12" fmla="*/ 216779 w 748195"/>
              <a:gd name="csY12" fmla="*/ 1219490 h 2076207"/>
              <a:gd name="csX13" fmla="*/ 229755 w 748195"/>
              <a:gd name="csY13" fmla="*/ 1099357 h 2076207"/>
              <a:gd name="csX14" fmla="*/ 232707 w 748195"/>
              <a:gd name="csY14" fmla="*/ 1056423 h 2076207"/>
              <a:gd name="csX15" fmla="*/ 235622 w 748195"/>
              <a:gd name="csY15" fmla="*/ 952675 h 2076207"/>
              <a:gd name="csX16" fmla="*/ 235445 w 748195"/>
              <a:gd name="csY16" fmla="*/ 780278 h 2076207"/>
              <a:gd name="csX17" fmla="*/ 214544 w 748195"/>
              <a:gd name="csY17" fmla="*/ 756435 h 2076207"/>
              <a:gd name="csX18" fmla="*/ 172569 w 748195"/>
              <a:gd name="csY18" fmla="*/ 742582 h 2076207"/>
              <a:gd name="csX19" fmla="*/ 168784 w 748195"/>
              <a:gd name="csY19" fmla="*/ 669116 h 2076207"/>
              <a:gd name="csX20" fmla="*/ 191657 w 748195"/>
              <a:gd name="csY20" fmla="*/ 630765 h 2076207"/>
              <a:gd name="csX21" fmla="*/ 208150 w 748195"/>
              <a:gd name="csY21" fmla="*/ 609084 h 2076207"/>
              <a:gd name="csX22" fmla="*/ 216756 w 748195"/>
              <a:gd name="csY22" fmla="*/ 558673 h 2076207"/>
              <a:gd name="csX23" fmla="*/ 209092 w 748195"/>
              <a:gd name="csY23" fmla="*/ 521540 h 2076207"/>
              <a:gd name="csX24" fmla="*/ 204683 w 748195"/>
              <a:gd name="csY24" fmla="*/ 474024 h 2076207"/>
              <a:gd name="csX25" fmla="*/ 115483 w 748195"/>
              <a:gd name="csY25" fmla="*/ 213499 h 2076207"/>
              <a:gd name="csX26" fmla="*/ 102909 w 748195"/>
              <a:gd name="csY26" fmla="*/ 182297 h 2076207"/>
              <a:gd name="csX27" fmla="*/ 104315 w 748195"/>
              <a:gd name="csY27" fmla="*/ 163968 h 2076207"/>
              <a:gd name="csX28" fmla="*/ 122444 w 748195"/>
              <a:gd name="csY28" fmla="*/ 160805 h 2076207"/>
              <a:gd name="csX29" fmla="*/ 170283 w 748195"/>
              <a:gd name="csY29" fmla="*/ 187783 h 2076207"/>
              <a:gd name="csX30" fmla="*/ 180938 w 748195"/>
              <a:gd name="csY30" fmla="*/ 195322 h 2076207"/>
              <a:gd name="csX31" fmla="*/ 221419 w 748195"/>
              <a:gd name="csY31" fmla="*/ 138058 h 2076207"/>
              <a:gd name="csX32" fmla="*/ 294099 w 748195"/>
              <a:gd name="csY32" fmla="*/ 91372 h 2076207"/>
              <a:gd name="csX33" fmla="*/ 302307 w 748195"/>
              <a:gd name="csY33" fmla="*/ 76560 h 2076207"/>
              <a:gd name="csX34" fmla="*/ 320284 w 748195"/>
              <a:gd name="csY34" fmla="*/ 8414 h 2076207"/>
              <a:gd name="csX35" fmla="*/ 324784 w 748195"/>
              <a:gd name="csY35" fmla="*/ 946 h 2076207"/>
              <a:gd name="csX36" fmla="*/ 399212 w 748195"/>
              <a:gd name="csY36" fmla="*/ 0 h 2076207"/>
              <a:gd name="csX37" fmla="*/ 425980 w 748195"/>
              <a:gd name="csY37" fmla="*/ 78301 h 2076207"/>
              <a:gd name="csX38" fmla="*/ 431861 w 748195"/>
              <a:gd name="csY38" fmla="*/ 90312 h 2076207"/>
              <a:gd name="csX39" fmla="*/ 540349 w 748195"/>
              <a:gd name="csY39" fmla="*/ 187946 h 2076207"/>
              <a:gd name="csX40" fmla="*/ 545555 w 748195"/>
              <a:gd name="csY40" fmla="*/ 197828 h 2076207"/>
              <a:gd name="csX41" fmla="*/ 587318 w 748195"/>
              <a:gd name="csY41" fmla="*/ 171260 h 2076207"/>
              <a:gd name="csX42" fmla="*/ 601503 w 748195"/>
              <a:gd name="csY42" fmla="*/ 163707 h 2076207"/>
              <a:gd name="csX43" fmla="*/ 625254 w 748195"/>
              <a:gd name="csY43" fmla="*/ 163123 h 2076207"/>
              <a:gd name="csX44" fmla="*/ 625468 w 748195"/>
              <a:gd name="csY44" fmla="*/ 187579 h 2076207"/>
              <a:gd name="csX45" fmla="*/ 597543 w 748195"/>
              <a:gd name="csY45" fmla="*/ 251872 h 2076207"/>
              <a:gd name="csX46" fmla="*/ 531831 w 748195"/>
              <a:gd name="csY46" fmla="*/ 442689 h 2076207"/>
              <a:gd name="csX47" fmla="*/ 519888 w 748195"/>
              <a:gd name="csY47" fmla="*/ 501474 h 2076207"/>
              <a:gd name="csX48" fmla="*/ 522506 w 748195"/>
              <a:gd name="csY48" fmla="*/ 525086 h 2076207"/>
              <a:gd name="csX49" fmla="*/ 516235 w 748195"/>
              <a:gd name="csY49" fmla="*/ 555946 h 2076207"/>
              <a:gd name="csX50" fmla="*/ 521332 w 748195"/>
              <a:gd name="csY50" fmla="*/ 610676 h 2076207"/>
              <a:gd name="csX51" fmla="*/ 541382 w 748195"/>
              <a:gd name="csY51" fmla="*/ 642597 h 2076207"/>
              <a:gd name="csX52" fmla="*/ 557031 w 748195"/>
              <a:gd name="csY52" fmla="*/ 667949 h 2076207"/>
              <a:gd name="csX53" fmla="*/ 553994 w 748195"/>
              <a:gd name="csY53" fmla="*/ 744146 h 2076207"/>
              <a:gd name="csX54" fmla="*/ 508215 w 748195"/>
              <a:gd name="csY54" fmla="*/ 758841 h 2076207"/>
              <a:gd name="csX55" fmla="*/ 497442 w 748195"/>
              <a:gd name="csY55" fmla="*/ 771256 h 2076207"/>
              <a:gd name="csX56" fmla="*/ 493005 w 748195"/>
              <a:gd name="csY56" fmla="*/ 922055 h 2076207"/>
              <a:gd name="csX57" fmla="*/ 502900 w 748195"/>
              <a:gd name="csY57" fmla="*/ 1114191 h 2076207"/>
              <a:gd name="csX58" fmla="*/ 508800 w 748195"/>
              <a:gd name="csY58" fmla="*/ 1205474 h 2076207"/>
              <a:gd name="csX59" fmla="*/ 522952 w 748195"/>
              <a:gd name="csY59" fmla="*/ 1320065 h 2076207"/>
              <a:gd name="csX60" fmla="*/ 554682 w 748195"/>
              <a:gd name="csY60" fmla="*/ 1501203 h 2076207"/>
              <a:gd name="csX61" fmla="*/ 576958 w 748195"/>
              <a:gd name="csY61" fmla="*/ 1593963 h 2076207"/>
              <a:gd name="csX62" fmla="*/ 595349 w 748195"/>
              <a:gd name="csY62" fmla="*/ 1613498 h 2076207"/>
              <a:gd name="csX63" fmla="*/ 613936 w 748195"/>
              <a:gd name="csY63" fmla="*/ 1624058 h 2076207"/>
              <a:gd name="csX64" fmla="*/ 620938 w 748195"/>
              <a:gd name="csY64" fmla="*/ 1652071 h 2076207"/>
              <a:gd name="csX65" fmla="*/ 630805 w 748195"/>
              <a:gd name="csY65" fmla="*/ 1721702 h 2076207"/>
              <a:gd name="csX66" fmla="*/ 685830 w 748195"/>
              <a:gd name="csY66" fmla="*/ 1792915 h 2076207"/>
              <a:gd name="csX67" fmla="*/ 708904 w 748195"/>
              <a:gd name="csY67" fmla="*/ 1890290 h 2076207"/>
              <a:gd name="csX68" fmla="*/ 716580 w 748195"/>
              <a:gd name="csY68" fmla="*/ 1951136 h 2076207"/>
              <a:gd name="csX69" fmla="*/ 729397 w 748195"/>
              <a:gd name="csY69" fmla="*/ 2030261 h 2076207"/>
              <a:gd name="csX70" fmla="*/ 714212 w 748195"/>
              <a:gd name="csY70" fmla="*/ 2049544 h 2076207"/>
              <a:gd name="csX71" fmla="*/ 645428 w 748195"/>
              <a:gd name="csY71" fmla="*/ 2070825 h 2076207"/>
              <a:gd name="csX72" fmla="*/ 667788 w 748195"/>
              <a:gd name="csY72" fmla="*/ 2056852 h 2076207"/>
              <a:gd name="csX73" fmla="*/ 706629 w 748195"/>
              <a:gd name="csY73" fmla="*/ 2044290 h 2076207"/>
              <a:gd name="csX74" fmla="*/ 702674 w 748195"/>
              <a:gd name="csY74" fmla="*/ 2041581 h 2076207"/>
              <a:gd name="csX75" fmla="*/ 96263 w 748195"/>
              <a:gd name="csY75" fmla="*/ 2076207 h 2076207"/>
              <a:gd name="csX76" fmla="*/ 489970 w 748195"/>
              <a:gd name="csY76" fmla="*/ 152208 h 2076207"/>
              <a:gd name="csX77" fmla="*/ 490754 w 748195"/>
              <a:gd name="csY77" fmla="*/ 152592 h 2076207"/>
              <a:gd name="csX78" fmla="*/ 489489 w 748195"/>
              <a:gd name="csY78" fmla="*/ 149547 h 2076207"/>
              <a:gd name="csX79" fmla="*/ 393621 w 748195"/>
              <a:gd name="csY79" fmla="*/ 99259 h 2076207"/>
              <a:gd name="csX80" fmla="*/ 390419 w 748195"/>
              <a:gd name="csY80" fmla="*/ 18568 h 2076207"/>
              <a:gd name="csX81" fmla="*/ 334131 w 748195"/>
              <a:gd name="csY81" fmla="*/ 24327 h 2076207"/>
              <a:gd name="csX82" fmla="*/ 344678 w 748195"/>
              <a:gd name="csY82" fmla="*/ 101259 h 2076207"/>
              <a:gd name="csX83" fmla="*/ 298854 w 748195"/>
              <a:gd name="csY83" fmla="*/ 114003 h 2076207"/>
              <a:gd name="csX84" fmla="*/ 237456 w 748195"/>
              <a:gd name="csY84" fmla="*/ 154340 h 2076207"/>
              <a:gd name="csX85" fmla="*/ 240382 w 748195"/>
              <a:gd name="csY85" fmla="*/ 154035 h 2076207"/>
              <a:gd name="csX86" fmla="*/ 262731 w 748195"/>
              <a:gd name="csY86" fmla="*/ 170426 h 2076207"/>
              <a:gd name="csX87" fmla="*/ 279169 w 748195"/>
              <a:gd name="csY87" fmla="*/ 193173 h 2076207"/>
              <a:gd name="csX88" fmla="*/ 327717 w 748195"/>
              <a:gd name="csY88" fmla="*/ 188556 h 2076207"/>
              <a:gd name="csX89" fmla="*/ 348052 w 748195"/>
              <a:gd name="csY89" fmla="*/ 156919 h 2076207"/>
              <a:gd name="csX90" fmla="*/ 380330 w 748195"/>
              <a:gd name="csY90" fmla="*/ 156483 h 2076207"/>
              <a:gd name="csX91" fmla="*/ 408490 w 748195"/>
              <a:gd name="csY91" fmla="*/ 195400 h 2076207"/>
              <a:gd name="csX92" fmla="*/ 445346 w 748195"/>
              <a:gd name="csY92" fmla="*/ 197582 h 2076207"/>
              <a:gd name="csX93" fmla="*/ 464798 w 748195"/>
              <a:gd name="csY93" fmla="*/ 174107 h 2076207"/>
              <a:gd name="csX94" fmla="*/ 489970 w 748195"/>
              <a:gd name="csY94" fmla="*/ 152208 h 2076207"/>
              <a:gd name="csX95" fmla="*/ 140694 w 748195"/>
              <a:gd name="csY95" fmla="*/ 201837 h 2076207"/>
              <a:gd name="csX96" fmla="*/ 139834 w 748195"/>
              <a:gd name="csY96" fmla="*/ 201482 h 2076207"/>
              <a:gd name="csX97" fmla="*/ 140812 w 748195"/>
              <a:gd name="csY97" fmla="*/ 204941 h 2076207"/>
              <a:gd name="csX98" fmla="*/ 144631 w 748195"/>
              <a:gd name="csY98" fmla="*/ 217811 h 2076207"/>
              <a:gd name="csX99" fmla="*/ 201241 w 748195"/>
              <a:gd name="csY99" fmla="*/ 373387 h 2076207"/>
              <a:gd name="csX100" fmla="*/ 235971 w 748195"/>
              <a:gd name="csY100" fmla="*/ 504451 h 2076207"/>
              <a:gd name="csX101" fmla="*/ 247475 w 748195"/>
              <a:gd name="csY101" fmla="*/ 513241 h 2076207"/>
              <a:gd name="csX102" fmla="*/ 289066 w 748195"/>
              <a:gd name="csY102" fmla="*/ 511170 h 2076207"/>
              <a:gd name="csX103" fmla="*/ 378229 w 748195"/>
              <a:gd name="csY103" fmla="*/ 511084 h 2076207"/>
              <a:gd name="csX104" fmla="*/ 470850 w 748195"/>
              <a:gd name="csY104" fmla="*/ 516341 h 2076207"/>
              <a:gd name="csX105" fmla="*/ 492933 w 748195"/>
              <a:gd name="csY105" fmla="*/ 497969 h 2076207"/>
              <a:gd name="csX106" fmla="*/ 557617 w 748195"/>
              <a:gd name="csY106" fmla="*/ 280398 h 2076207"/>
              <a:gd name="csX107" fmla="*/ 588788 w 748195"/>
              <a:gd name="csY107" fmla="*/ 200385 h 2076207"/>
              <a:gd name="csX108" fmla="*/ 530958 w 748195"/>
              <a:gd name="csY108" fmla="*/ 232968 h 2076207"/>
              <a:gd name="csX109" fmla="*/ 483823 w 748195"/>
              <a:gd name="csY109" fmla="*/ 190364 h 2076207"/>
              <a:gd name="csX110" fmla="*/ 466649 w 748195"/>
              <a:gd name="csY110" fmla="*/ 209061 h 2076207"/>
              <a:gd name="csX111" fmla="*/ 399941 w 748195"/>
              <a:gd name="csY111" fmla="*/ 216988 h 2076207"/>
              <a:gd name="csX112" fmla="*/ 363018 w 748195"/>
              <a:gd name="csY112" fmla="*/ 179615 h 2076207"/>
              <a:gd name="csX113" fmla="*/ 308839 w 748195"/>
              <a:gd name="csY113" fmla="*/ 227846 h 2076207"/>
              <a:gd name="csX114" fmla="*/ 245077 w 748195"/>
              <a:gd name="csY114" fmla="*/ 192402 h 2076207"/>
              <a:gd name="csX115" fmla="*/ 242829 w 748195"/>
              <a:gd name="csY115" fmla="*/ 198815 h 2076207"/>
              <a:gd name="csX116" fmla="*/ 168452 w 748195"/>
              <a:gd name="csY116" fmla="*/ 219348 h 2076207"/>
              <a:gd name="csX117" fmla="*/ 140694 w 748195"/>
              <a:gd name="csY117" fmla="*/ 201837 h 2076207"/>
              <a:gd name="csX118" fmla="*/ 259999 w 748195"/>
              <a:gd name="csY118" fmla="*/ 966699 h 2076207"/>
              <a:gd name="csX119" fmla="*/ 257072 w 748195"/>
              <a:gd name="csY119" fmla="*/ 1070424 h 2076207"/>
              <a:gd name="csX120" fmla="*/ 251372 w 748195"/>
              <a:gd name="csY120" fmla="*/ 1157618 h 2076207"/>
              <a:gd name="csX121" fmla="*/ 232677 w 748195"/>
              <a:gd name="csY121" fmla="*/ 1320279 h 2076207"/>
              <a:gd name="csX122" fmla="*/ 209182 w 748195"/>
              <a:gd name="csY122" fmla="*/ 1468667 h 2076207"/>
              <a:gd name="csX123" fmla="*/ 175302 w 748195"/>
              <a:gd name="csY123" fmla="*/ 1616623 h 2076207"/>
              <a:gd name="csX124" fmla="*/ 182769 w 748195"/>
              <a:gd name="csY124" fmla="*/ 1629786 h 2076207"/>
              <a:gd name="csX125" fmla="*/ 212156 w 748195"/>
              <a:gd name="csY125" fmla="*/ 1632656 h 2076207"/>
              <a:gd name="csX126" fmla="*/ 351295 w 748195"/>
              <a:gd name="csY126" fmla="*/ 1632801 h 2076207"/>
              <a:gd name="csX127" fmla="*/ 376150 w 748195"/>
              <a:gd name="csY127" fmla="*/ 1608307 h 2076207"/>
              <a:gd name="csX128" fmla="*/ 373450 w 748195"/>
              <a:gd name="csY128" fmla="*/ 1457291 h 2076207"/>
              <a:gd name="csX129" fmla="*/ 370936 w 748195"/>
              <a:gd name="csY129" fmla="*/ 1342736 h 2076207"/>
              <a:gd name="csX130" fmla="*/ 368328 w 748195"/>
              <a:gd name="csY130" fmla="*/ 1203878 h 2076207"/>
              <a:gd name="csX131" fmla="*/ 367836 w 748195"/>
              <a:gd name="csY131" fmla="*/ 813478 h 2076207"/>
              <a:gd name="csX132" fmla="*/ 365240 w 748195"/>
              <a:gd name="csY132" fmla="*/ 773243 h 2076207"/>
              <a:gd name="csX133" fmla="*/ 353084 w 748195"/>
              <a:gd name="csY133" fmla="*/ 762083 h 2076207"/>
              <a:gd name="csX134" fmla="*/ 280966 w 748195"/>
              <a:gd name="csY134" fmla="*/ 759855 h 2076207"/>
              <a:gd name="csX135" fmla="*/ 259965 w 748195"/>
              <a:gd name="csY135" fmla="*/ 779553 h 2076207"/>
              <a:gd name="csX136" fmla="*/ 262341 w 748195"/>
              <a:gd name="csY136" fmla="*/ 856275 h 2076207"/>
              <a:gd name="csX137" fmla="*/ 259999 w 748195"/>
              <a:gd name="csY137" fmla="*/ 966699 h 2076207"/>
              <a:gd name="csX138" fmla="*/ 55556 w 748195"/>
              <a:gd name="csY138" fmla="*/ 1835827 h 2076207"/>
              <a:gd name="csX139" fmla="*/ 49393 w 748195"/>
              <a:gd name="csY139" fmla="*/ 1878155 h 2076207"/>
              <a:gd name="csX140" fmla="*/ 73949 w 748195"/>
              <a:gd name="csY140" fmla="*/ 1905781 h 2076207"/>
              <a:gd name="csX141" fmla="*/ 110073 w 748195"/>
              <a:gd name="csY141" fmla="*/ 1909068 h 2076207"/>
              <a:gd name="csX142" fmla="*/ 224745 w 748195"/>
              <a:gd name="csY142" fmla="*/ 1921652 h 2076207"/>
              <a:gd name="csX143" fmla="*/ 347327 w 748195"/>
              <a:gd name="csY143" fmla="*/ 1924778 h 2076207"/>
              <a:gd name="csX144" fmla="*/ 363345 w 748195"/>
              <a:gd name="csY144" fmla="*/ 1923293 h 2076207"/>
              <a:gd name="csX145" fmla="*/ 373787 w 748195"/>
              <a:gd name="csY145" fmla="*/ 1911200 h 2076207"/>
              <a:gd name="csX146" fmla="*/ 376623 w 748195"/>
              <a:gd name="csY146" fmla="*/ 1696741 h 2076207"/>
              <a:gd name="csX147" fmla="*/ 360437 w 748195"/>
              <a:gd name="csY147" fmla="*/ 1681289 h 2076207"/>
              <a:gd name="csX148" fmla="*/ 263503 w 748195"/>
              <a:gd name="csY148" fmla="*/ 1678179 h 2076207"/>
              <a:gd name="csX149" fmla="*/ 160381 w 748195"/>
              <a:gd name="csY149" fmla="*/ 1670405 h 2076207"/>
              <a:gd name="csX150" fmla="*/ 143321 w 748195"/>
              <a:gd name="csY150" fmla="*/ 1685538 h 2076207"/>
              <a:gd name="csX151" fmla="*/ 124769 w 748195"/>
              <a:gd name="csY151" fmla="*/ 1738195 h 2076207"/>
              <a:gd name="csX152" fmla="*/ 90593 w 748195"/>
              <a:gd name="csY152" fmla="*/ 1779570 h 2076207"/>
              <a:gd name="csX153" fmla="*/ 55556 w 748195"/>
              <a:gd name="csY153" fmla="*/ 1835827 h 2076207"/>
              <a:gd name="csX154" fmla="*/ 378900 w 748195"/>
              <a:gd name="csY154" fmla="*/ 2007280 h 2076207"/>
              <a:gd name="csX155" fmla="*/ 378887 w 748195"/>
              <a:gd name="csY155" fmla="*/ 1995127 h 2076207"/>
              <a:gd name="csX156" fmla="*/ 359084 w 748195"/>
              <a:gd name="csY156" fmla="*/ 1975964 h 2076207"/>
              <a:gd name="csX157" fmla="*/ 247288 w 748195"/>
              <a:gd name="csY157" fmla="*/ 1973305 h 2076207"/>
              <a:gd name="csX158" fmla="*/ 201692 w 748195"/>
              <a:gd name="csY158" fmla="*/ 1970275 h 2076207"/>
              <a:gd name="csX159" fmla="*/ 57962 w 748195"/>
              <a:gd name="csY159" fmla="*/ 1952648 h 2076207"/>
              <a:gd name="csX160" fmla="*/ 39194 w 748195"/>
              <a:gd name="csY160" fmla="*/ 1963552 h 2076207"/>
              <a:gd name="csX161" fmla="*/ 30066 w 748195"/>
              <a:gd name="csY161" fmla="*/ 2006631 h 2076207"/>
              <a:gd name="csX162" fmla="*/ 40232 w 748195"/>
              <a:gd name="csY162" fmla="*/ 2019486 h 2076207"/>
              <a:gd name="csX163" fmla="*/ 238186 w 748195"/>
              <a:gd name="csY163" fmla="*/ 2046096 h 2076207"/>
              <a:gd name="csX164" fmla="*/ 342155 w 748195"/>
              <a:gd name="csY164" fmla="*/ 2046441 h 2076207"/>
              <a:gd name="csX165" fmla="*/ 378900 w 748195"/>
              <a:gd name="csY165" fmla="*/ 2007280 h 2076207"/>
              <a:gd name="csX166" fmla="*/ 310220 w 748195"/>
              <a:gd name="csY166" fmla="*/ 554288 h 2076207"/>
              <a:gd name="csX167" fmla="*/ 259136 w 748195"/>
              <a:gd name="csY167" fmla="*/ 556881 h 2076207"/>
              <a:gd name="csX168" fmla="*/ 249085 w 748195"/>
              <a:gd name="csY168" fmla="*/ 567981 h 2076207"/>
              <a:gd name="csX169" fmla="*/ 249141 w 748195"/>
              <a:gd name="csY169" fmla="*/ 605644 h 2076207"/>
              <a:gd name="csX170" fmla="*/ 262628 w 748195"/>
              <a:gd name="csY170" fmla="*/ 605627 h 2076207"/>
              <a:gd name="csX171" fmla="*/ 369608 w 748195"/>
              <a:gd name="csY171" fmla="*/ 603027 h 2076207"/>
              <a:gd name="csX172" fmla="*/ 463931 w 748195"/>
              <a:gd name="csY172" fmla="*/ 605146 h 2076207"/>
              <a:gd name="csX173" fmla="*/ 478113 w 748195"/>
              <a:gd name="csY173" fmla="*/ 595843 h 2076207"/>
              <a:gd name="csX174" fmla="*/ 478796 w 748195"/>
              <a:gd name="csY174" fmla="*/ 556832 h 2076207"/>
              <a:gd name="csX175" fmla="*/ 310220 w 748195"/>
              <a:gd name="csY175" fmla="*/ 554288 h 2076207"/>
              <a:gd name="csX176" fmla="*/ 348836 w 748195"/>
              <a:gd name="csY176" fmla="*/ 684115 h 2076207"/>
              <a:gd name="csX177" fmla="*/ 281333 w 748195"/>
              <a:gd name="csY177" fmla="*/ 683313 h 2076207"/>
              <a:gd name="csX178" fmla="*/ 212728 w 748195"/>
              <a:gd name="csY178" fmla="*/ 681931 h 2076207"/>
              <a:gd name="csX179" fmla="*/ 187283 w 748195"/>
              <a:gd name="csY179" fmla="*/ 689555 h 2076207"/>
              <a:gd name="csX180" fmla="*/ 186163 w 748195"/>
              <a:gd name="csY180" fmla="*/ 718266 h 2076207"/>
              <a:gd name="csX181" fmla="*/ 209894 w 748195"/>
              <a:gd name="csY181" fmla="*/ 726798 h 2076207"/>
              <a:gd name="csX182" fmla="*/ 334814 w 748195"/>
              <a:gd name="csY182" fmla="*/ 732494 h 2076207"/>
              <a:gd name="csX183" fmla="*/ 364856 w 748195"/>
              <a:gd name="csY183" fmla="*/ 707963 h 2076207"/>
              <a:gd name="csX184" fmla="*/ 348836 w 748195"/>
              <a:gd name="csY184" fmla="*/ 684115 h 2076207"/>
              <a:gd name="csX185" fmla="*/ 298865 w 748195"/>
              <a:gd name="csY185" fmla="*/ 621954 h 2076207"/>
              <a:gd name="csX186" fmla="*/ 251619 w 748195"/>
              <a:gd name="csY186" fmla="*/ 622133 h 2076207"/>
              <a:gd name="csX187" fmla="*/ 214459 w 748195"/>
              <a:gd name="csY187" fmla="*/ 636230 h 2076207"/>
              <a:gd name="csX188" fmla="*/ 221436 w 748195"/>
              <a:gd name="csY188" fmla="*/ 654205 h 2076207"/>
              <a:gd name="csX189" fmla="*/ 272412 w 748195"/>
              <a:gd name="csY189" fmla="*/ 657250 h 2076207"/>
              <a:gd name="csX190" fmla="*/ 349094 w 748195"/>
              <a:gd name="csY190" fmla="*/ 659282 h 2076207"/>
              <a:gd name="csX191" fmla="*/ 362996 w 748195"/>
              <a:gd name="csY191" fmla="*/ 644234 h 2076207"/>
              <a:gd name="csX192" fmla="*/ 348472 w 748195"/>
              <a:gd name="csY192" fmla="*/ 624649 h 2076207"/>
              <a:gd name="csX193" fmla="*/ 298865 w 748195"/>
              <a:gd name="csY193" fmla="*/ 621954 h 2076207"/>
              <a:gd name="csX194" fmla="*/ 227796 w 748195"/>
              <a:gd name="csY194" fmla="*/ 528000 h 2076207"/>
              <a:gd name="csX195" fmla="*/ 241009 w 748195"/>
              <a:gd name="csY195" fmla="*/ 545897 h 2076207"/>
              <a:gd name="csX196" fmla="*/ 282607 w 748195"/>
              <a:gd name="csY196" fmla="*/ 543480 h 2076207"/>
              <a:gd name="csX197" fmla="*/ 354213 w 748195"/>
              <a:gd name="csY197" fmla="*/ 543384 h 2076207"/>
              <a:gd name="csX198" fmla="*/ 365334 w 748195"/>
              <a:gd name="csY198" fmla="*/ 533397 h 2076207"/>
              <a:gd name="csX199" fmla="*/ 354531 w 748195"/>
              <a:gd name="csY199" fmla="*/ 521620 h 2076207"/>
              <a:gd name="csX200" fmla="*/ 259169 w 748195"/>
              <a:gd name="csY200" fmla="*/ 521978 h 2076207"/>
              <a:gd name="csX201" fmla="*/ 227796 w 748195"/>
              <a:gd name="csY201" fmla="*/ 528000 h 2076207"/>
              <a:gd name="csX202" fmla="*/ 508068 w 748195"/>
              <a:gd name="csY202" fmla="*/ 190710 h 2076207"/>
              <a:gd name="csX203" fmla="*/ 521293 w 748195"/>
              <a:gd name="csY203" fmla="*/ 205907 h 2076207"/>
              <a:gd name="csX204" fmla="*/ 525175 w 748195"/>
              <a:gd name="csY204" fmla="*/ 202985 h 2076207"/>
              <a:gd name="csX205" fmla="*/ 500276 w 748195"/>
              <a:gd name="csY205" fmla="*/ 160640 h 2076207"/>
              <a:gd name="csX206" fmla="*/ 497122 w 748195"/>
              <a:gd name="csY206" fmla="*/ 162007 h 2076207"/>
              <a:gd name="csX207" fmla="*/ 508068 w 748195"/>
              <a:gd name="csY207" fmla="*/ 190710 h 2076207"/>
              <a:gd name="csX208" fmla="*/ 215522 w 748195"/>
              <a:gd name="csY208" fmla="*/ 197296 h 2076207"/>
              <a:gd name="csX209" fmla="*/ 234029 w 748195"/>
              <a:gd name="csY209" fmla="*/ 162725 h 2076207"/>
              <a:gd name="csX210" fmla="*/ 229000 w 748195"/>
              <a:gd name="csY210" fmla="*/ 159902 h 2076207"/>
              <a:gd name="csX211" fmla="*/ 204824 w 748195"/>
              <a:gd name="csY211" fmla="*/ 199677 h 2076207"/>
              <a:gd name="csX212" fmla="*/ 207990 w 748195"/>
              <a:gd name="csY212" fmla="*/ 202198 h 2076207"/>
              <a:gd name="csX213" fmla="*/ 215522 w 748195"/>
              <a:gd name="csY213" fmla="*/ 197296 h 2076207"/>
              <a:gd name="csX214" fmla="*/ 484400 w 748195"/>
              <a:gd name="csY214" fmla="*/ 896678 h 2076207"/>
              <a:gd name="csX215" fmla="*/ 486181 w 748195"/>
              <a:gd name="csY215" fmla="*/ 896585 h 2076207"/>
              <a:gd name="csX216" fmla="*/ 486181 w 748195"/>
              <a:gd name="csY216" fmla="*/ 795289 h 2076207"/>
              <a:gd name="csX217" fmla="*/ 720241 w 748195"/>
              <a:gd name="csY217" fmla="*/ 2030666 h 2076207"/>
              <a:gd name="csX218" fmla="*/ 721175 w 748195"/>
              <a:gd name="csY218" fmla="*/ 2029733 h 2076207"/>
              <a:gd name="csX219" fmla="*/ 720241 w 748195"/>
              <a:gd name="csY219" fmla="*/ 2030666 h 2076207"/>
              <a:gd name="csX220" fmla="*/ 715702 w 748195"/>
              <a:gd name="csY220" fmla="*/ 2037051 h 2076207"/>
              <a:gd name="csX221" fmla="*/ 715702 w 748195"/>
              <a:gd name="csY221" fmla="*/ 2037051 h 2076207"/>
              <a:gd name="csX0" fmla="*/ 96263 w 748195"/>
              <a:gd name="csY0" fmla="*/ 2076207 h 2076207"/>
              <a:gd name="csX1" fmla="*/ 63862 w 748195"/>
              <a:gd name="csY1" fmla="*/ 2065388 h 2076207"/>
              <a:gd name="csX2" fmla="*/ 16555 w 748195"/>
              <a:gd name="csY2" fmla="*/ 2050152 h 2076207"/>
              <a:gd name="csX3" fmla="*/ 15 w 748195"/>
              <a:gd name="csY3" fmla="*/ 2023802 h 2076207"/>
              <a:gd name="csX4" fmla="*/ 18368 w 748195"/>
              <a:gd name="csY4" fmla="*/ 1940709 h 2076207"/>
              <a:gd name="csX5" fmla="*/ 22139 w 748195"/>
              <a:gd name="csY5" fmla="*/ 1907268 h 2076207"/>
              <a:gd name="csX6" fmla="*/ 57941 w 748195"/>
              <a:gd name="csY6" fmla="*/ 1774163 h 2076207"/>
              <a:gd name="csX7" fmla="*/ 102478 w 748195"/>
              <a:gd name="csY7" fmla="*/ 1720275 h 2076207"/>
              <a:gd name="csX8" fmla="*/ 108579 w 748195"/>
              <a:gd name="csY8" fmla="*/ 1650967 h 2076207"/>
              <a:gd name="csX9" fmla="*/ 115628 w 748195"/>
              <a:gd name="csY9" fmla="*/ 1625405 h 2076207"/>
              <a:gd name="csX10" fmla="*/ 156323 w 748195"/>
              <a:gd name="csY10" fmla="*/ 1560181 h 2076207"/>
              <a:gd name="csX11" fmla="*/ 199424 w 748195"/>
              <a:gd name="csY11" fmla="*/ 1364729 h 2076207"/>
              <a:gd name="csX12" fmla="*/ 216779 w 748195"/>
              <a:gd name="csY12" fmla="*/ 1219490 h 2076207"/>
              <a:gd name="csX13" fmla="*/ 229755 w 748195"/>
              <a:gd name="csY13" fmla="*/ 1099357 h 2076207"/>
              <a:gd name="csX14" fmla="*/ 232707 w 748195"/>
              <a:gd name="csY14" fmla="*/ 1056423 h 2076207"/>
              <a:gd name="csX15" fmla="*/ 235622 w 748195"/>
              <a:gd name="csY15" fmla="*/ 952675 h 2076207"/>
              <a:gd name="csX16" fmla="*/ 235445 w 748195"/>
              <a:gd name="csY16" fmla="*/ 780278 h 2076207"/>
              <a:gd name="csX17" fmla="*/ 214544 w 748195"/>
              <a:gd name="csY17" fmla="*/ 756435 h 2076207"/>
              <a:gd name="csX18" fmla="*/ 172569 w 748195"/>
              <a:gd name="csY18" fmla="*/ 742582 h 2076207"/>
              <a:gd name="csX19" fmla="*/ 168784 w 748195"/>
              <a:gd name="csY19" fmla="*/ 669116 h 2076207"/>
              <a:gd name="csX20" fmla="*/ 191657 w 748195"/>
              <a:gd name="csY20" fmla="*/ 630765 h 2076207"/>
              <a:gd name="csX21" fmla="*/ 208150 w 748195"/>
              <a:gd name="csY21" fmla="*/ 609084 h 2076207"/>
              <a:gd name="csX22" fmla="*/ 216756 w 748195"/>
              <a:gd name="csY22" fmla="*/ 558673 h 2076207"/>
              <a:gd name="csX23" fmla="*/ 209092 w 748195"/>
              <a:gd name="csY23" fmla="*/ 521540 h 2076207"/>
              <a:gd name="csX24" fmla="*/ 204683 w 748195"/>
              <a:gd name="csY24" fmla="*/ 474024 h 2076207"/>
              <a:gd name="csX25" fmla="*/ 115483 w 748195"/>
              <a:gd name="csY25" fmla="*/ 213499 h 2076207"/>
              <a:gd name="csX26" fmla="*/ 102909 w 748195"/>
              <a:gd name="csY26" fmla="*/ 182297 h 2076207"/>
              <a:gd name="csX27" fmla="*/ 104315 w 748195"/>
              <a:gd name="csY27" fmla="*/ 163968 h 2076207"/>
              <a:gd name="csX28" fmla="*/ 122444 w 748195"/>
              <a:gd name="csY28" fmla="*/ 160805 h 2076207"/>
              <a:gd name="csX29" fmla="*/ 170283 w 748195"/>
              <a:gd name="csY29" fmla="*/ 187783 h 2076207"/>
              <a:gd name="csX30" fmla="*/ 180938 w 748195"/>
              <a:gd name="csY30" fmla="*/ 195322 h 2076207"/>
              <a:gd name="csX31" fmla="*/ 221419 w 748195"/>
              <a:gd name="csY31" fmla="*/ 138058 h 2076207"/>
              <a:gd name="csX32" fmla="*/ 294099 w 748195"/>
              <a:gd name="csY32" fmla="*/ 91372 h 2076207"/>
              <a:gd name="csX33" fmla="*/ 302307 w 748195"/>
              <a:gd name="csY33" fmla="*/ 76560 h 2076207"/>
              <a:gd name="csX34" fmla="*/ 320284 w 748195"/>
              <a:gd name="csY34" fmla="*/ 8414 h 2076207"/>
              <a:gd name="csX35" fmla="*/ 324784 w 748195"/>
              <a:gd name="csY35" fmla="*/ 946 h 2076207"/>
              <a:gd name="csX36" fmla="*/ 399212 w 748195"/>
              <a:gd name="csY36" fmla="*/ 0 h 2076207"/>
              <a:gd name="csX37" fmla="*/ 425980 w 748195"/>
              <a:gd name="csY37" fmla="*/ 78301 h 2076207"/>
              <a:gd name="csX38" fmla="*/ 431861 w 748195"/>
              <a:gd name="csY38" fmla="*/ 90312 h 2076207"/>
              <a:gd name="csX39" fmla="*/ 540349 w 748195"/>
              <a:gd name="csY39" fmla="*/ 187946 h 2076207"/>
              <a:gd name="csX40" fmla="*/ 545555 w 748195"/>
              <a:gd name="csY40" fmla="*/ 197828 h 2076207"/>
              <a:gd name="csX41" fmla="*/ 587318 w 748195"/>
              <a:gd name="csY41" fmla="*/ 171260 h 2076207"/>
              <a:gd name="csX42" fmla="*/ 601503 w 748195"/>
              <a:gd name="csY42" fmla="*/ 163707 h 2076207"/>
              <a:gd name="csX43" fmla="*/ 625254 w 748195"/>
              <a:gd name="csY43" fmla="*/ 163123 h 2076207"/>
              <a:gd name="csX44" fmla="*/ 625468 w 748195"/>
              <a:gd name="csY44" fmla="*/ 187579 h 2076207"/>
              <a:gd name="csX45" fmla="*/ 597543 w 748195"/>
              <a:gd name="csY45" fmla="*/ 251872 h 2076207"/>
              <a:gd name="csX46" fmla="*/ 531831 w 748195"/>
              <a:gd name="csY46" fmla="*/ 442689 h 2076207"/>
              <a:gd name="csX47" fmla="*/ 519888 w 748195"/>
              <a:gd name="csY47" fmla="*/ 501474 h 2076207"/>
              <a:gd name="csX48" fmla="*/ 522506 w 748195"/>
              <a:gd name="csY48" fmla="*/ 525086 h 2076207"/>
              <a:gd name="csX49" fmla="*/ 516235 w 748195"/>
              <a:gd name="csY49" fmla="*/ 555946 h 2076207"/>
              <a:gd name="csX50" fmla="*/ 521332 w 748195"/>
              <a:gd name="csY50" fmla="*/ 610676 h 2076207"/>
              <a:gd name="csX51" fmla="*/ 541382 w 748195"/>
              <a:gd name="csY51" fmla="*/ 642597 h 2076207"/>
              <a:gd name="csX52" fmla="*/ 557031 w 748195"/>
              <a:gd name="csY52" fmla="*/ 667949 h 2076207"/>
              <a:gd name="csX53" fmla="*/ 553994 w 748195"/>
              <a:gd name="csY53" fmla="*/ 744146 h 2076207"/>
              <a:gd name="csX54" fmla="*/ 508215 w 748195"/>
              <a:gd name="csY54" fmla="*/ 758841 h 2076207"/>
              <a:gd name="csX55" fmla="*/ 497442 w 748195"/>
              <a:gd name="csY55" fmla="*/ 771256 h 2076207"/>
              <a:gd name="csX56" fmla="*/ 493005 w 748195"/>
              <a:gd name="csY56" fmla="*/ 922055 h 2076207"/>
              <a:gd name="csX57" fmla="*/ 502900 w 748195"/>
              <a:gd name="csY57" fmla="*/ 1114191 h 2076207"/>
              <a:gd name="csX58" fmla="*/ 508800 w 748195"/>
              <a:gd name="csY58" fmla="*/ 1205474 h 2076207"/>
              <a:gd name="csX59" fmla="*/ 522952 w 748195"/>
              <a:gd name="csY59" fmla="*/ 1320065 h 2076207"/>
              <a:gd name="csX60" fmla="*/ 554682 w 748195"/>
              <a:gd name="csY60" fmla="*/ 1501203 h 2076207"/>
              <a:gd name="csX61" fmla="*/ 576958 w 748195"/>
              <a:gd name="csY61" fmla="*/ 1593963 h 2076207"/>
              <a:gd name="csX62" fmla="*/ 595349 w 748195"/>
              <a:gd name="csY62" fmla="*/ 1613498 h 2076207"/>
              <a:gd name="csX63" fmla="*/ 613936 w 748195"/>
              <a:gd name="csY63" fmla="*/ 1624058 h 2076207"/>
              <a:gd name="csX64" fmla="*/ 620938 w 748195"/>
              <a:gd name="csY64" fmla="*/ 1652071 h 2076207"/>
              <a:gd name="csX65" fmla="*/ 630805 w 748195"/>
              <a:gd name="csY65" fmla="*/ 1721702 h 2076207"/>
              <a:gd name="csX66" fmla="*/ 685830 w 748195"/>
              <a:gd name="csY66" fmla="*/ 1792915 h 2076207"/>
              <a:gd name="csX67" fmla="*/ 708904 w 748195"/>
              <a:gd name="csY67" fmla="*/ 1890290 h 2076207"/>
              <a:gd name="csX68" fmla="*/ 716580 w 748195"/>
              <a:gd name="csY68" fmla="*/ 1951136 h 2076207"/>
              <a:gd name="csX69" fmla="*/ 729397 w 748195"/>
              <a:gd name="csY69" fmla="*/ 2030261 h 2076207"/>
              <a:gd name="csX70" fmla="*/ 714212 w 748195"/>
              <a:gd name="csY70" fmla="*/ 2049544 h 2076207"/>
              <a:gd name="csX71" fmla="*/ 667788 w 748195"/>
              <a:gd name="csY71" fmla="*/ 2056852 h 2076207"/>
              <a:gd name="csX72" fmla="*/ 706629 w 748195"/>
              <a:gd name="csY72" fmla="*/ 2044290 h 2076207"/>
              <a:gd name="csX73" fmla="*/ 702674 w 748195"/>
              <a:gd name="csY73" fmla="*/ 2041581 h 2076207"/>
              <a:gd name="csX74" fmla="*/ 96263 w 748195"/>
              <a:gd name="csY74" fmla="*/ 2076207 h 2076207"/>
              <a:gd name="csX75" fmla="*/ 489970 w 748195"/>
              <a:gd name="csY75" fmla="*/ 152208 h 2076207"/>
              <a:gd name="csX76" fmla="*/ 490754 w 748195"/>
              <a:gd name="csY76" fmla="*/ 152592 h 2076207"/>
              <a:gd name="csX77" fmla="*/ 489489 w 748195"/>
              <a:gd name="csY77" fmla="*/ 149547 h 2076207"/>
              <a:gd name="csX78" fmla="*/ 393621 w 748195"/>
              <a:gd name="csY78" fmla="*/ 99259 h 2076207"/>
              <a:gd name="csX79" fmla="*/ 390419 w 748195"/>
              <a:gd name="csY79" fmla="*/ 18568 h 2076207"/>
              <a:gd name="csX80" fmla="*/ 334131 w 748195"/>
              <a:gd name="csY80" fmla="*/ 24327 h 2076207"/>
              <a:gd name="csX81" fmla="*/ 344678 w 748195"/>
              <a:gd name="csY81" fmla="*/ 101259 h 2076207"/>
              <a:gd name="csX82" fmla="*/ 298854 w 748195"/>
              <a:gd name="csY82" fmla="*/ 114003 h 2076207"/>
              <a:gd name="csX83" fmla="*/ 237456 w 748195"/>
              <a:gd name="csY83" fmla="*/ 154340 h 2076207"/>
              <a:gd name="csX84" fmla="*/ 240382 w 748195"/>
              <a:gd name="csY84" fmla="*/ 154035 h 2076207"/>
              <a:gd name="csX85" fmla="*/ 262731 w 748195"/>
              <a:gd name="csY85" fmla="*/ 170426 h 2076207"/>
              <a:gd name="csX86" fmla="*/ 279169 w 748195"/>
              <a:gd name="csY86" fmla="*/ 193173 h 2076207"/>
              <a:gd name="csX87" fmla="*/ 327717 w 748195"/>
              <a:gd name="csY87" fmla="*/ 188556 h 2076207"/>
              <a:gd name="csX88" fmla="*/ 348052 w 748195"/>
              <a:gd name="csY88" fmla="*/ 156919 h 2076207"/>
              <a:gd name="csX89" fmla="*/ 380330 w 748195"/>
              <a:gd name="csY89" fmla="*/ 156483 h 2076207"/>
              <a:gd name="csX90" fmla="*/ 408490 w 748195"/>
              <a:gd name="csY90" fmla="*/ 195400 h 2076207"/>
              <a:gd name="csX91" fmla="*/ 445346 w 748195"/>
              <a:gd name="csY91" fmla="*/ 197582 h 2076207"/>
              <a:gd name="csX92" fmla="*/ 464798 w 748195"/>
              <a:gd name="csY92" fmla="*/ 174107 h 2076207"/>
              <a:gd name="csX93" fmla="*/ 489970 w 748195"/>
              <a:gd name="csY93" fmla="*/ 152208 h 2076207"/>
              <a:gd name="csX94" fmla="*/ 140694 w 748195"/>
              <a:gd name="csY94" fmla="*/ 201837 h 2076207"/>
              <a:gd name="csX95" fmla="*/ 139834 w 748195"/>
              <a:gd name="csY95" fmla="*/ 201482 h 2076207"/>
              <a:gd name="csX96" fmla="*/ 140812 w 748195"/>
              <a:gd name="csY96" fmla="*/ 204941 h 2076207"/>
              <a:gd name="csX97" fmla="*/ 144631 w 748195"/>
              <a:gd name="csY97" fmla="*/ 217811 h 2076207"/>
              <a:gd name="csX98" fmla="*/ 201241 w 748195"/>
              <a:gd name="csY98" fmla="*/ 373387 h 2076207"/>
              <a:gd name="csX99" fmla="*/ 235971 w 748195"/>
              <a:gd name="csY99" fmla="*/ 504451 h 2076207"/>
              <a:gd name="csX100" fmla="*/ 247475 w 748195"/>
              <a:gd name="csY100" fmla="*/ 513241 h 2076207"/>
              <a:gd name="csX101" fmla="*/ 289066 w 748195"/>
              <a:gd name="csY101" fmla="*/ 511170 h 2076207"/>
              <a:gd name="csX102" fmla="*/ 378229 w 748195"/>
              <a:gd name="csY102" fmla="*/ 511084 h 2076207"/>
              <a:gd name="csX103" fmla="*/ 470850 w 748195"/>
              <a:gd name="csY103" fmla="*/ 516341 h 2076207"/>
              <a:gd name="csX104" fmla="*/ 492933 w 748195"/>
              <a:gd name="csY104" fmla="*/ 497969 h 2076207"/>
              <a:gd name="csX105" fmla="*/ 557617 w 748195"/>
              <a:gd name="csY105" fmla="*/ 280398 h 2076207"/>
              <a:gd name="csX106" fmla="*/ 588788 w 748195"/>
              <a:gd name="csY106" fmla="*/ 200385 h 2076207"/>
              <a:gd name="csX107" fmla="*/ 530958 w 748195"/>
              <a:gd name="csY107" fmla="*/ 232968 h 2076207"/>
              <a:gd name="csX108" fmla="*/ 483823 w 748195"/>
              <a:gd name="csY108" fmla="*/ 190364 h 2076207"/>
              <a:gd name="csX109" fmla="*/ 466649 w 748195"/>
              <a:gd name="csY109" fmla="*/ 209061 h 2076207"/>
              <a:gd name="csX110" fmla="*/ 399941 w 748195"/>
              <a:gd name="csY110" fmla="*/ 216988 h 2076207"/>
              <a:gd name="csX111" fmla="*/ 363018 w 748195"/>
              <a:gd name="csY111" fmla="*/ 179615 h 2076207"/>
              <a:gd name="csX112" fmla="*/ 308839 w 748195"/>
              <a:gd name="csY112" fmla="*/ 227846 h 2076207"/>
              <a:gd name="csX113" fmla="*/ 245077 w 748195"/>
              <a:gd name="csY113" fmla="*/ 192402 h 2076207"/>
              <a:gd name="csX114" fmla="*/ 242829 w 748195"/>
              <a:gd name="csY114" fmla="*/ 198815 h 2076207"/>
              <a:gd name="csX115" fmla="*/ 168452 w 748195"/>
              <a:gd name="csY115" fmla="*/ 219348 h 2076207"/>
              <a:gd name="csX116" fmla="*/ 140694 w 748195"/>
              <a:gd name="csY116" fmla="*/ 201837 h 2076207"/>
              <a:gd name="csX117" fmla="*/ 259999 w 748195"/>
              <a:gd name="csY117" fmla="*/ 966699 h 2076207"/>
              <a:gd name="csX118" fmla="*/ 257072 w 748195"/>
              <a:gd name="csY118" fmla="*/ 1070424 h 2076207"/>
              <a:gd name="csX119" fmla="*/ 251372 w 748195"/>
              <a:gd name="csY119" fmla="*/ 1157618 h 2076207"/>
              <a:gd name="csX120" fmla="*/ 232677 w 748195"/>
              <a:gd name="csY120" fmla="*/ 1320279 h 2076207"/>
              <a:gd name="csX121" fmla="*/ 209182 w 748195"/>
              <a:gd name="csY121" fmla="*/ 1468667 h 2076207"/>
              <a:gd name="csX122" fmla="*/ 175302 w 748195"/>
              <a:gd name="csY122" fmla="*/ 1616623 h 2076207"/>
              <a:gd name="csX123" fmla="*/ 182769 w 748195"/>
              <a:gd name="csY123" fmla="*/ 1629786 h 2076207"/>
              <a:gd name="csX124" fmla="*/ 212156 w 748195"/>
              <a:gd name="csY124" fmla="*/ 1632656 h 2076207"/>
              <a:gd name="csX125" fmla="*/ 351295 w 748195"/>
              <a:gd name="csY125" fmla="*/ 1632801 h 2076207"/>
              <a:gd name="csX126" fmla="*/ 376150 w 748195"/>
              <a:gd name="csY126" fmla="*/ 1608307 h 2076207"/>
              <a:gd name="csX127" fmla="*/ 373450 w 748195"/>
              <a:gd name="csY127" fmla="*/ 1457291 h 2076207"/>
              <a:gd name="csX128" fmla="*/ 370936 w 748195"/>
              <a:gd name="csY128" fmla="*/ 1342736 h 2076207"/>
              <a:gd name="csX129" fmla="*/ 368328 w 748195"/>
              <a:gd name="csY129" fmla="*/ 1203878 h 2076207"/>
              <a:gd name="csX130" fmla="*/ 367836 w 748195"/>
              <a:gd name="csY130" fmla="*/ 813478 h 2076207"/>
              <a:gd name="csX131" fmla="*/ 365240 w 748195"/>
              <a:gd name="csY131" fmla="*/ 773243 h 2076207"/>
              <a:gd name="csX132" fmla="*/ 353084 w 748195"/>
              <a:gd name="csY132" fmla="*/ 762083 h 2076207"/>
              <a:gd name="csX133" fmla="*/ 280966 w 748195"/>
              <a:gd name="csY133" fmla="*/ 759855 h 2076207"/>
              <a:gd name="csX134" fmla="*/ 259965 w 748195"/>
              <a:gd name="csY134" fmla="*/ 779553 h 2076207"/>
              <a:gd name="csX135" fmla="*/ 262341 w 748195"/>
              <a:gd name="csY135" fmla="*/ 856275 h 2076207"/>
              <a:gd name="csX136" fmla="*/ 259999 w 748195"/>
              <a:gd name="csY136" fmla="*/ 966699 h 2076207"/>
              <a:gd name="csX137" fmla="*/ 55556 w 748195"/>
              <a:gd name="csY137" fmla="*/ 1835827 h 2076207"/>
              <a:gd name="csX138" fmla="*/ 49393 w 748195"/>
              <a:gd name="csY138" fmla="*/ 1878155 h 2076207"/>
              <a:gd name="csX139" fmla="*/ 73949 w 748195"/>
              <a:gd name="csY139" fmla="*/ 1905781 h 2076207"/>
              <a:gd name="csX140" fmla="*/ 110073 w 748195"/>
              <a:gd name="csY140" fmla="*/ 1909068 h 2076207"/>
              <a:gd name="csX141" fmla="*/ 224745 w 748195"/>
              <a:gd name="csY141" fmla="*/ 1921652 h 2076207"/>
              <a:gd name="csX142" fmla="*/ 347327 w 748195"/>
              <a:gd name="csY142" fmla="*/ 1924778 h 2076207"/>
              <a:gd name="csX143" fmla="*/ 363345 w 748195"/>
              <a:gd name="csY143" fmla="*/ 1923293 h 2076207"/>
              <a:gd name="csX144" fmla="*/ 373787 w 748195"/>
              <a:gd name="csY144" fmla="*/ 1911200 h 2076207"/>
              <a:gd name="csX145" fmla="*/ 376623 w 748195"/>
              <a:gd name="csY145" fmla="*/ 1696741 h 2076207"/>
              <a:gd name="csX146" fmla="*/ 360437 w 748195"/>
              <a:gd name="csY146" fmla="*/ 1681289 h 2076207"/>
              <a:gd name="csX147" fmla="*/ 263503 w 748195"/>
              <a:gd name="csY147" fmla="*/ 1678179 h 2076207"/>
              <a:gd name="csX148" fmla="*/ 160381 w 748195"/>
              <a:gd name="csY148" fmla="*/ 1670405 h 2076207"/>
              <a:gd name="csX149" fmla="*/ 143321 w 748195"/>
              <a:gd name="csY149" fmla="*/ 1685538 h 2076207"/>
              <a:gd name="csX150" fmla="*/ 124769 w 748195"/>
              <a:gd name="csY150" fmla="*/ 1738195 h 2076207"/>
              <a:gd name="csX151" fmla="*/ 90593 w 748195"/>
              <a:gd name="csY151" fmla="*/ 1779570 h 2076207"/>
              <a:gd name="csX152" fmla="*/ 55556 w 748195"/>
              <a:gd name="csY152" fmla="*/ 1835827 h 2076207"/>
              <a:gd name="csX153" fmla="*/ 378900 w 748195"/>
              <a:gd name="csY153" fmla="*/ 2007280 h 2076207"/>
              <a:gd name="csX154" fmla="*/ 378887 w 748195"/>
              <a:gd name="csY154" fmla="*/ 1995127 h 2076207"/>
              <a:gd name="csX155" fmla="*/ 359084 w 748195"/>
              <a:gd name="csY155" fmla="*/ 1975964 h 2076207"/>
              <a:gd name="csX156" fmla="*/ 247288 w 748195"/>
              <a:gd name="csY156" fmla="*/ 1973305 h 2076207"/>
              <a:gd name="csX157" fmla="*/ 201692 w 748195"/>
              <a:gd name="csY157" fmla="*/ 1970275 h 2076207"/>
              <a:gd name="csX158" fmla="*/ 57962 w 748195"/>
              <a:gd name="csY158" fmla="*/ 1952648 h 2076207"/>
              <a:gd name="csX159" fmla="*/ 39194 w 748195"/>
              <a:gd name="csY159" fmla="*/ 1963552 h 2076207"/>
              <a:gd name="csX160" fmla="*/ 30066 w 748195"/>
              <a:gd name="csY160" fmla="*/ 2006631 h 2076207"/>
              <a:gd name="csX161" fmla="*/ 40232 w 748195"/>
              <a:gd name="csY161" fmla="*/ 2019486 h 2076207"/>
              <a:gd name="csX162" fmla="*/ 238186 w 748195"/>
              <a:gd name="csY162" fmla="*/ 2046096 h 2076207"/>
              <a:gd name="csX163" fmla="*/ 342155 w 748195"/>
              <a:gd name="csY163" fmla="*/ 2046441 h 2076207"/>
              <a:gd name="csX164" fmla="*/ 378900 w 748195"/>
              <a:gd name="csY164" fmla="*/ 2007280 h 2076207"/>
              <a:gd name="csX165" fmla="*/ 310220 w 748195"/>
              <a:gd name="csY165" fmla="*/ 554288 h 2076207"/>
              <a:gd name="csX166" fmla="*/ 259136 w 748195"/>
              <a:gd name="csY166" fmla="*/ 556881 h 2076207"/>
              <a:gd name="csX167" fmla="*/ 249085 w 748195"/>
              <a:gd name="csY167" fmla="*/ 567981 h 2076207"/>
              <a:gd name="csX168" fmla="*/ 249141 w 748195"/>
              <a:gd name="csY168" fmla="*/ 605644 h 2076207"/>
              <a:gd name="csX169" fmla="*/ 262628 w 748195"/>
              <a:gd name="csY169" fmla="*/ 605627 h 2076207"/>
              <a:gd name="csX170" fmla="*/ 369608 w 748195"/>
              <a:gd name="csY170" fmla="*/ 603027 h 2076207"/>
              <a:gd name="csX171" fmla="*/ 463931 w 748195"/>
              <a:gd name="csY171" fmla="*/ 605146 h 2076207"/>
              <a:gd name="csX172" fmla="*/ 478113 w 748195"/>
              <a:gd name="csY172" fmla="*/ 595843 h 2076207"/>
              <a:gd name="csX173" fmla="*/ 478796 w 748195"/>
              <a:gd name="csY173" fmla="*/ 556832 h 2076207"/>
              <a:gd name="csX174" fmla="*/ 310220 w 748195"/>
              <a:gd name="csY174" fmla="*/ 554288 h 2076207"/>
              <a:gd name="csX175" fmla="*/ 348836 w 748195"/>
              <a:gd name="csY175" fmla="*/ 684115 h 2076207"/>
              <a:gd name="csX176" fmla="*/ 281333 w 748195"/>
              <a:gd name="csY176" fmla="*/ 683313 h 2076207"/>
              <a:gd name="csX177" fmla="*/ 212728 w 748195"/>
              <a:gd name="csY177" fmla="*/ 681931 h 2076207"/>
              <a:gd name="csX178" fmla="*/ 187283 w 748195"/>
              <a:gd name="csY178" fmla="*/ 689555 h 2076207"/>
              <a:gd name="csX179" fmla="*/ 186163 w 748195"/>
              <a:gd name="csY179" fmla="*/ 718266 h 2076207"/>
              <a:gd name="csX180" fmla="*/ 209894 w 748195"/>
              <a:gd name="csY180" fmla="*/ 726798 h 2076207"/>
              <a:gd name="csX181" fmla="*/ 334814 w 748195"/>
              <a:gd name="csY181" fmla="*/ 732494 h 2076207"/>
              <a:gd name="csX182" fmla="*/ 364856 w 748195"/>
              <a:gd name="csY182" fmla="*/ 707963 h 2076207"/>
              <a:gd name="csX183" fmla="*/ 348836 w 748195"/>
              <a:gd name="csY183" fmla="*/ 684115 h 2076207"/>
              <a:gd name="csX184" fmla="*/ 298865 w 748195"/>
              <a:gd name="csY184" fmla="*/ 621954 h 2076207"/>
              <a:gd name="csX185" fmla="*/ 251619 w 748195"/>
              <a:gd name="csY185" fmla="*/ 622133 h 2076207"/>
              <a:gd name="csX186" fmla="*/ 214459 w 748195"/>
              <a:gd name="csY186" fmla="*/ 636230 h 2076207"/>
              <a:gd name="csX187" fmla="*/ 221436 w 748195"/>
              <a:gd name="csY187" fmla="*/ 654205 h 2076207"/>
              <a:gd name="csX188" fmla="*/ 272412 w 748195"/>
              <a:gd name="csY188" fmla="*/ 657250 h 2076207"/>
              <a:gd name="csX189" fmla="*/ 349094 w 748195"/>
              <a:gd name="csY189" fmla="*/ 659282 h 2076207"/>
              <a:gd name="csX190" fmla="*/ 362996 w 748195"/>
              <a:gd name="csY190" fmla="*/ 644234 h 2076207"/>
              <a:gd name="csX191" fmla="*/ 348472 w 748195"/>
              <a:gd name="csY191" fmla="*/ 624649 h 2076207"/>
              <a:gd name="csX192" fmla="*/ 298865 w 748195"/>
              <a:gd name="csY192" fmla="*/ 621954 h 2076207"/>
              <a:gd name="csX193" fmla="*/ 227796 w 748195"/>
              <a:gd name="csY193" fmla="*/ 528000 h 2076207"/>
              <a:gd name="csX194" fmla="*/ 241009 w 748195"/>
              <a:gd name="csY194" fmla="*/ 545897 h 2076207"/>
              <a:gd name="csX195" fmla="*/ 282607 w 748195"/>
              <a:gd name="csY195" fmla="*/ 543480 h 2076207"/>
              <a:gd name="csX196" fmla="*/ 354213 w 748195"/>
              <a:gd name="csY196" fmla="*/ 543384 h 2076207"/>
              <a:gd name="csX197" fmla="*/ 365334 w 748195"/>
              <a:gd name="csY197" fmla="*/ 533397 h 2076207"/>
              <a:gd name="csX198" fmla="*/ 354531 w 748195"/>
              <a:gd name="csY198" fmla="*/ 521620 h 2076207"/>
              <a:gd name="csX199" fmla="*/ 259169 w 748195"/>
              <a:gd name="csY199" fmla="*/ 521978 h 2076207"/>
              <a:gd name="csX200" fmla="*/ 227796 w 748195"/>
              <a:gd name="csY200" fmla="*/ 528000 h 2076207"/>
              <a:gd name="csX201" fmla="*/ 508068 w 748195"/>
              <a:gd name="csY201" fmla="*/ 190710 h 2076207"/>
              <a:gd name="csX202" fmla="*/ 521293 w 748195"/>
              <a:gd name="csY202" fmla="*/ 205907 h 2076207"/>
              <a:gd name="csX203" fmla="*/ 525175 w 748195"/>
              <a:gd name="csY203" fmla="*/ 202985 h 2076207"/>
              <a:gd name="csX204" fmla="*/ 500276 w 748195"/>
              <a:gd name="csY204" fmla="*/ 160640 h 2076207"/>
              <a:gd name="csX205" fmla="*/ 497122 w 748195"/>
              <a:gd name="csY205" fmla="*/ 162007 h 2076207"/>
              <a:gd name="csX206" fmla="*/ 508068 w 748195"/>
              <a:gd name="csY206" fmla="*/ 190710 h 2076207"/>
              <a:gd name="csX207" fmla="*/ 215522 w 748195"/>
              <a:gd name="csY207" fmla="*/ 197296 h 2076207"/>
              <a:gd name="csX208" fmla="*/ 234029 w 748195"/>
              <a:gd name="csY208" fmla="*/ 162725 h 2076207"/>
              <a:gd name="csX209" fmla="*/ 229000 w 748195"/>
              <a:gd name="csY209" fmla="*/ 159902 h 2076207"/>
              <a:gd name="csX210" fmla="*/ 204824 w 748195"/>
              <a:gd name="csY210" fmla="*/ 199677 h 2076207"/>
              <a:gd name="csX211" fmla="*/ 207990 w 748195"/>
              <a:gd name="csY211" fmla="*/ 202198 h 2076207"/>
              <a:gd name="csX212" fmla="*/ 215522 w 748195"/>
              <a:gd name="csY212" fmla="*/ 197296 h 2076207"/>
              <a:gd name="csX213" fmla="*/ 484400 w 748195"/>
              <a:gd name="csY213" fmla="*/ 896678 h 2076207"/>
              <a:gd name="csX214" fmla="*/ 486181 w 748195"/>
              <a:gd name="csY214" fmla="*/ 896585 h 2076207"/>
              <a:gd name="csX215" fmla="*/ 486181 w 748195"/>
              <a:gd name="csY215" fmla="*/ 795289 h 2076207"/>
              <a:gd name="csX216" fmla="*/ 720241 w 748195"/>
              <a:gd name="csY216" fmla="*/ 2030666 h 2076207"/>
              <a:gd name="csX217" fmla="*/ 721175 w 748195"/>
              <a:gd name="csY217" fmla="*/ 2029733 h 2076207"/>
              <a:gd name="csX218" fmla="*/ 720241 w 748195"/>
              <a:gd name="csY218" fmla="*/ 2030666 h 2076207"/>
              <a:gd name="csX219" fmla="*/ 715702 w 748195"/>
              <a:gd name="csY219" fmla="*/ 2037051 h 2076207"/>
              <a:gd name="csX220" fmla="*/ 715702 w 748195"/>
              <a:gd name="csY220" fmla="*/ 2037051 h 2076207"/>
              <a:gd name="csX0" fmla="*/ 96263 w 748195"/>
              <a:gd name="csY0" fmla="*/ 2076207 h 2076207"/>
              <a:gd name="csX1" fmla="*/ 63862 w 748195"/>
              <a:gd name="csY1" fmla="*/ 2065388 h 2076207"/>
              <a:gd name="csX2" fmla="*/ 16555 w 748195"/>
              <a:gd name="csY2" fmla="*/ 2050152 h 2076207"/>
              <a:gd name="csX3" fmla="*/ 15 w 748195"/>
              <a:gd name="csY3" fmla="*/ 2023802 h 2076207"/>
              <a:gd name="csX4" fmla="*/ 18368 w 748195"/>
              <a:gd name="csY4" fmla="*/ 1940709 h 2076207"/>
              <a:gd name="csX5" fmla="*/ 22139 w 748195"/>
              <a:gd name="csY5" fmla="*/ 1907268 h 2076207"/>
              <a:gd name="csX6" fmla="*/ 57941 w 748195"/>
              <a:gd name="csY6" fmla="*/ 1774163 h 2076207"/>
              <a:gd name="csX7" fmla="*/ 102478 w 748195"/>
              <a:gd name="csY7" fmla="*/ 1720275 h 2076207"/>
              <a:gd name="csX8" fmla="*/ 108579 w 748195"/>
              <a:gd name="csY8" fmla="*/ 1650967 h 2076207"/>
              <a:gd name="csX9" fmla="*/ 115628 w 748195"/>
              <a:gd name="csY9" fmla="*/ 1625405 h 2076207"/>
              <a:gd name="csX10" fmla="*/ 156323 w 748195"/>
              <a:gd name="csY10" fmla="*/ 1560181 h 2076207"/>
              <a:gd name="csX11" fmla="*/ 199424 w 748195"/>
              <a:gd name="csY11" fmla="*/ 1364729 h 2076207"/>
              <a:gd name="csX12" fmla="*/ 216779 w 748195"/>
              <a:gd name="csY12" fmla="*/ 1219490 h 2076207"/>
              <a:gd name="csX13" fmla="*/ 229755 w 748195"/>
              <a:gd name="csY13" fmla="*/ 1099357 h 2076207"/>
              <a:gd name="csX14" fmla="*/ 232707 w 748195"/>
              <a:gd name="csY14" fmla="*/ 1056423 h 2076207"/>
              <a:gd name="csX15" fmla="*/ 235622 w 748195"/>
              <a:gd name="csY15" fmla="*/ 952675 h 2076207"/>
              <a:gd name="csX16" fmla="*/ 235445 w 748195"/>
              <a:gd name="csY16" fmla="*/ 780278 h 2076207"/>
              <a:gd name="csX17" fmla="*/ 214544 w 748195"/>
              <a:gd name="csY17" fmla="*/ 756435 h 2076207"/>
              <a:gd name="csX18" fmla="*/ 172569 w 748195"/>
              <a:gd name="csY18" fmla="*/ 742582 h 2076207"/>
              <a:gd name="csX19" fmla="*/ 168784 w 748195"/>
              <a:gd name="csY19" fmla="*/ 669116 h 2076207"/>
              <a:gd name="csX20" fmla="*/ 191657 w 748195"/>
              <a:gd name="csY20" fmla="*/ 630765 h 2076207"/>
              <a:gd name="csX21" fmla="*/ 208150 w 748195"/>
              <a:gd name="csY21" fmla="*/ 609084 h 2076207"/>
              <a:gd name="csX22" fmla="*/ 216756 w 748195"/>
              <a:gd name="csY22" fmla="*/ 558673 h 2076207"/>
              <a:gd name="csX23" fmla="*/ 209092 w 748195"/>
              <a:gd name="csY23" fmla="*/ 521540 h 2076207"/>
              <a:gd name="csX24" fmla="*/ 204683 w 748195"/>
              <a:gd name="csY24" fmla="*/ 474024 h 2076207"/>
              <a:gd name="csX25" fmla="*/ 115483 w 748195"/>
              <a:gd name="csY25" fmla="*/ 213499 h 2076207"/>
              <a:gd name="csX26" fmla="*/ 102909 w 748195"/>
              <a:gd name="csY26" fmla="*/ 182297 h 2076207"/>
              <a:gd name="csX27" fmla="*/ 104315 w 748195"/>
              <a:gd name="csY27" fmla="*/ 163968 h 2076207"/>
              <a:gd name="csX28" fmla="*/ 122444 w 748195"/>
              <a:gd name="csY28" fmla="*/ 160805 h 2076207"/>
              <a:gd name="csX29" fmla="*/ 170283 w 748195"/>
              <a:gd name="csY29" fmla="*/ 187783 h 2076207"/>
              <a:gd name="csX30" fmla="*/ 180938 w 748195"/>
              <a:gd name="csY30" fmla="*/ 195322 h 2076207"/>
              <a:gd name="csX31" fmla="*/ 221419 w 748195"/>
              <a:gd name="csY31" fmla="*/ 138058 h 2076207"/>
              <a:gd name="csX32" fmla="*/ 294099 w 748195"/>
              <a:gd name="csY32" fmla="*/ 91372 h 2076207"/>
              <a:gd name="csX33" fmla="*/ 302307 w 748195"/>
              <a:gd name="csY33" fmla="*/ 76560 h 2076207"/>
              <a:gd name="csX34" fmla="*/ 320284 w 748195"/>
              <a:gd name="csY34" fmla="*/ 8414 h 2076207"/>
              <a:gd name="csX35" fmla="*/ 324784 w 748195"/>
              <a:gd name="csY35" fmla="*/ 946 h 2076207"/>
              <a:gd name="csX36" fmla="*/ 399212 w 748195"/>
              <a:gd name="csY36" fmla="*/ 0 h 2076207"/>
              <a:gd name="csX37" fmla="*/ 425980 w 748195"/>
              <a:gd name="csY37" fmla="*/ 78301 h 2076207"/>
              <a:gd name="csX38" fmla="*/ 431861 w 748195"/>
              <a:gd name="csY38" fmla="*/ 90312 h 2076207"/>
              <a:gd name="csX39" fmla="*/ 540349 w 748195"/>
              <a:gd name="csY39" fmla="*/ 187946 h 2076207"/>
              <a:gd name="csX40" fmla="*/ 545555 w 748195"/>
              <a:gd name="csY40" fmla="*/ 197828 h 2076207"/>
              <a:gd name="csX41" fmla="*/ 587318 w 748195"/>
              <a:gd name="csY41" fmla="*/ 171260 h 2076207"/>
              <a:gd name="csX42" fmla="*/ 601503 w 748195"/>
              <a:gd name="csY42" fmla="*/ 163707 h 2076207"/>
              <a:gd name="csX43" fmla="*/ 625254 w 748195"/>
              <a:gd name="csY43" fmla="*/ 163123 h 2076207"/>
              <a:gd name="csX44" fmla="*/ 625468 w 748195"/>
              <a:gd name="csY44" fmla="*/ 187579 h 2076207"/>
              <a:gd name="csX45" fmla="*/ 597543 w 748195"/>
              <a:gd name="csY45" fmla="*/ 251872 h 2076207"/>
              <a:gd name="csX46" fmla="*/ 531831 w 748195"/>
              <a:gd name="csY46" fmla="*/ 442689 h 2076207"/>
              <a:gd name="csX47" fmla="*/ 519888 w 748195"/>
              <a:gd name="csY47" fmla="*/ 501474 h 2076207"/>
              <a:gd name="csX48" fmla="*/ 522506 w 748195"/>
              <a:gd name="csY48" fmla="*/ 525086 h 2076207"/>
              <a:gd name="csX49" fmla="*/ 516235 w 748195"/>
              <a:gd name="csY49" fmla="*/ 555946 h 2076207"/>
              <a:gd name="csX50" fmla="*/ 521332 w 748195"/>
              <a:gd name="csY50" fmla="*/ 610676 h 2076207"/>
              <a:gd name="csX51" fmla="*/ 541382 w 748195"/>
              <a:gd name="csY51" fmla="*/ 642597 h 2076207"/>
              <a:gd name="csX52" fmla="*/ 557031 w 748195"/>
              <a:gd name="csY52" fmla="*/ 667949 h 2076207"/>
              <a:gd name="csX53" fmla="*/ 553994 w 748195"/>
              <a:gd name="csY53" fmla="*/ 744146 h 2076207"/>
              <a:gd name="csX54" fmla="*/ 508215 w 748195"/>
              <a:gd name="csY54" fmla="*/ 758841 h 2076207"/>
              <a:gd name="csX55" fmla="*/ 497442 w 748195"/>
              <a:gd name="csY55" fmla="*/ 771256 h 2076207"/>
              <a:gd name="csX56" fmla="*/ 493005 w 748195"/>
              <a:gd name="csY56" fmla="*/ 922055 h 2076207"/>
              <a:gd name="csX57" fmla="*/ 502900 w 748195"/>
              <a:gd name="csY57" fmla="*/ 1114191 h 2076207"/>
              <a:gd name="csX58" fmla="*/ 508800 w 748195"/>
              <a:gd name="csY58" fmla="*/ 1205474 h 2076207"/>
              <a:gd name="csX59" fmla="*/ 522952 w 748195"/>
              <a:gd name="csY59" fmla="*/ 1320065 h 2076207"/>
              <a:gd name="csX60" fmla="*/ 554682 w 748195"/>
              <a:gd name="csY60" fmla="*/ 1501203 h 2076207"/>
              <a:gd name="csX61" fmla="*/ 576958 w 748195"/>
              <a:gd name="csY61" fmla="*/ 1593963 h 2076207"/>
              <a:gd name="csX62" fmla="*/ 595349 w 748195"/>
              <a:gd name="csY62" fmla="*/ 1613498 h 2076207"/>
              <a:gd name="csX63" fmla="*/ 613936 w 748195"/>
              <a:gd name="csY63" fmla="*/ 1624058 h 2076207"/>
              <a:gd name="csX64" fmla="*/ 620938 w 748195"/>
              <a:gd name="csY64" fmla="*/ 1652071 h 2076207"/>
              <a:gd name="csX65" fmla="*/ 630805 w 748195"/>
              <a:gd name="csY65" fmla="*/ 1721702 h 2076207"/>
              <a:gd name="csX66" fmla="*/ 685830 w 748195"/>
              <a:gd name="csY66" fmla="*/ 1792915 h 2076207"/>
              <a:gd name="csX67" fmla="*/ 708904 w 748195"/>
              <a:gd name="csY67" fmla="*/ 1890290 h 2076207"/>
              <a:gd name="csX68" fmla="*/ 716580 w 748195"/>
              <a:gd name="csY68" fmla="*/ 1951136 h 2076207"/>
              <a:gd name="csX69" fmla="*/ 729397 w 748195"/>
              <a:gd name="csY69" fmla="*/ 2030261 h 2076207"/>
              <a:gd name="csX70" fmla="*/ 714212 w 748195"/>
              <a:gd name="csY70" fmla="*/ 2049544 h 2076207"/>
              <a:gd name="csX71" fmla="*/ 706629 w 748195"/>
              <a:gd name="csY71" fmla="*/ 2044290 h 2076207"/>
              <a:gd name="csX72" fmla="*/ 702674 w 748195"/>
              <a:gd name="csY72" fmla="*/ 2041581 h 2076207"/>
              <a:gd name="csX73" fmla="*/ 96263 w 748195"/>
              <a:gd name="csY73" fmla="*/ 2076207 h 2076207"/>
              <a:gd name="csX74" fmla="*/ 489970 w 748195"/>
              <a:gd name="csY74" fmla="*/ 152208 h 2076207"/>
              <a:gd name="csX75" fmla="*/ 490754 w 748195"/>
              <a:gd name="csY75" fmla="*/ 152592 h 2076207"/>
              <a:gd name="csX76" fmla="*/ 489489 w 748195"/>
              <a:gd name="csY76" fmla="*/ 149547 h 2076207"/>
              <a:gd name="csX77" fmla="*/ 393621 w 748195"/>
              <a:gd name="csY77" fmla="*/ 99259 h 2076207"/>
              <a:gd name="csX78" fmla="*/ 390419 w 748195"/>
              <a:gd name="csY78" fmla="*/ 18568 h 2076207"/>
              <a:gd name="csX79" fmla="*/ 334131 w 748195"/>
              <a:gd name="csY79" fmla="*/ 24327 h 2076207"/>
              <a:gd name="csX80" fmla="*/ 344678 w 748195"/>
              <a:gd name="csY80" fmla="*/ 101259 h 2076207"/>
              <a:gd name="csX81" fmla="*/ 298854 w 748195"/>
              <a:gd name="csY81" fmla="*/ 114003 h 2076207"/>
              <a:gd name="csX82" fmla="*/ 237456 w 748195"/>
              <a:gd name="csY82" fmla="*/ 154340 h 2076207"/>
              <a:gd name="csX83" fmla="*/ 240382 w 748195"/>
              <a:gd name="csY83" fmla="*/ 154035 h 2076207"/>
              <a:gd name="csX84" fmla="*/ 262731 w 748195"/>
              <a:gd name="csY84" fmla="*/ 170426 h 2076207"/>
              <a:gd name="csX85" fmla="*/ 279169 w 748195"/>
              <a:gd name="csY85" fmla="*/ 193173 h 2076207"/>
              <a:gd name="csX86" fmla="*/ 327717 w 748195"/>
              <a:gd name="csY86" fmla="*/ 188556 h 2076207"/>
              <a:gd name="csX87" fmla="*/ 348052 w 748195"/>
              <a:gd name="csY87" fmla="*/ 156919 h 2076207"/>
              <a:gd name="csX88" fmla="*/ 380330 w 748195"/>
              <a:gd name="csY88" fmla="*/ 156483 h 2076207"/>
              <a:gd name="csX89" fmla="*/ 408490 w 748195"/>
              <a:gd name="csY89" fmla="*/ 195400 h 2076207"/>
              <a:gd name="csX90" fmla="*/ 445346 w 748195"/>
              <a:gd name="csY90" fmla="*/ 197582 h 2076207"/>
              <a:gd name="csX91" fmla="*/ 464798 w 748195"/>
              <a:gd name="csY91" fmla="*/ 174107 h 2076207"/>
              <a:gd name="csX92" fmla="*/ 489970 w 748195"/>
              <a:gd name="csY92" fmla="*/ 152208 h 2076207"/>
              <a:gd name="csX93" fmla="*/ 140694 w 748195"/>
              <a:gd name="csY93" fmla="*/ 201837 h 2076207"/>
              <a:gd name="csX94" fmla="*/ 139834 w 748195"/>
              <a:gd name="csY94" fmla="*/ 201482 h 2076207"/>
              <a:gd name="csX95" fmla="*/ 140812 w 748195"/>
              <a:gd name="csY95" fmla="*/ 204941 h 2076207"/>
              <a:gd name="csX96" fmla="*/ 144631 w 748195"/>
              <a:gd name="csY96" fmla="*/ 217811 h 2076207"/>
              <a:gd name="csX97" fmla="*/ 201241 w 748195"/>
              <a:gd name="csY97" fmla="*/ 373387 h 2076207"/>
              <a:gd name="csX98" fmla="*/ 235971 w 748195"/>
              <a:gd name="csY98" fmla="*/ 504451 h 2076207"/>
              <a:gd name="csX99" fmla="*/ 247475 w 748195"/>
              <a:gd name="csY99" fmla="*/ 513241 h 2076207"/>
              <a:gd name="csX100" fmla="*/ 289066 w 748195"/>
              <a:gd name="csY100" fmla="*/ 511170 h 2076207"/>
              <a:gd name="csX101" fmla="*/ 378229 w 748195"/>
              <a:gd name="csY101" fmla="*/ 511084 h 2076207"/>
              <a:gd name="csX102" fmla="*/ 470850 w 748195"/>
              <a:gd name="csY102" fmla="*/ 516341 h 2076207"/>
              <a:gd name="csX103" fmla="*/ 492933 w 748195"/>
              <a:gd name="csY103" fmla="*/ 497969 h 2076207"/>
              <a:gd name="csX104" fmla="*/ 557617 w 748195"/>
              <a:gd name="csY104" fmla="*/ 280398 h 2076207"/>
              <a:gd name="csX105" fmla="*/ 588788 w 748195"/>
              <a:gd name="csY105" fmla="*/ 200385 h 2076207"/>
              <a:gd name="csX106" fmla="*/ 530958 w 748195"/>
              <a:gd name="csY106" fmla="*/ 232968 h 2076207"/>
              <a:gd name="csX107" fmla="*/ 483823 w 748195"/>
              <a:gd name="csY107" fmla="*/ 190364 h 2076207"/>
              <a:gd name="csX108" fmla="*/ 466649 w 748195"/>
              <a:gd name="csY108" fmla="*/ 209061 h 2076207"/>
              <a:gd name="csX109" fmla="*/ 399941 w 748195"/>
              <a:gd name="csY109" fmla="*/ 216988 h 2076207"/>
              <a:gd name="csX110" fmla="*/ 363018 w 748195"/>
              <a:gd name="csY110" fmla="*/ 179615 h 2076207"/>
              <a:gd name="csX111" fmla="*/ 308839 w 748195"/>
              <a:gd name="csY111" fmla="*/ 227846 h 2076207"/>
              <a:gd name="csX112" fmla="*/ 245077 w 748195"/>
              <a:gd name="csY112" fmla="*/ 192402 h 2076207"/>
              <a:gd name="csX113" fmla="*/ 242829 w 748195"/>
              <a:gd name="csY113" fmla="*/ 198815 h 2076207"/>
              <a:gd name="csX114" fmla="*/ 168452 w 748195"/>
              <a:gd name="csY114" fmla="*/ 219348 h 2076207"/>
              <a:gd name="csX115" fmla="*/ 140694 w 748195"/>
              <a:gd name="csY115" fmla="*/ 201837 h 2076207"/>
              <a:gd name="csX116" fmla="*/ 259999 w 748195"/>
              <a:gd name="csY116" fmla="*/ 966699 h 2076207"/>
              <a:gd name="csX117" fmla="*/ 257072 w 748195"/>
              <a:gd name="csY117" fmla="*/ 1070424 h 2076207"/>
              <a:gd name="csX118" fmla="*/ 251372 w 748195"/>
              <a:gd name="csY118" fmla="*/ 1157618 h 2076207"/>
              <a:gd name="csX119" fmla="*/ 232677 w 748195"/>
              <a:gd name="csY119" fmla="*/ 1320279 h 2076207"/>
              <a:gd name="csX120" fmla="*/ 209182 w 748195"/>
              <a:gd name="csY120" fmla="*/ 1468667 h 2076207"/>
              <a:gd name="csX121" fmla="*/ 175302 w 748195"/>
              <a:gd name="csY121" fmla="*/ 1616623 h 2076207"/>
              <a:gd name="csX122" fmla="*/ 182769 w 748195"/>
              <a:gd name="csY122" fmla="*/ 1629786 h 2076207"/>
              <a:gd name="csX123" fmla="*/ 212156 w 748195"/>
              <a:gd name="csY123" fmla="*/ 1632656 h 2076207"/>
              <a:gd name="csX124" fmla="*/ 351295 w 748195"/>
              <a:gd name="csY124" fmla="*/ 1632801 h 2076207"/>
              <a:gd name="csX125" fmla="*/ 376150 w 748195"/>
              <a:gd name="csY125" fmla="*/ 1608307 h 2076207"/>
              <a:gd name="csX126" fmla="*/ 373450 w 748195"/>
              <a:gd name="csY126" fmla="*/ 1457291 h 2076207"/>
              <a:gd name="csX127" fmla="*/ 370936 w 748195"/>
              <a:gd name="csY127" fmla="*/ 1342736 h 2076207"/>
              <a:gd name="csX128" fmla="*/ 368328 w 748195"/>
              <a:gd name="csY128" fmla="*/ 1203878 h 2076207"/>
              <a:gd name="csX129" fmla="*/ 367836 w 748195"/>
              <a:gd name="csY129" fmla="*/ 813478 h 2076207"/>
              <a:gd name="csX130" fmla="*/ 365240 w 748195"/>
              <a:gd name="csY130" fmla="*/ 773243 h 2076207"/>
              <a:gd name="csX131" fmla="*/ 353084 w 748195"/>
              <a:gd name="csY131" fmla="*/ 762083 h 2076207"/>
              <a:gd name="csX132" fmla="*/ 280966 w 748195"/>
              <a:gd name="csY132" fmla="*/ 759855 h 2076207"/>
              <a:gd name="csX133" fmla="*/ 259965 w 748195"/>
              <a:gd name="csY133" fmla="*/ 779553 h 2076207"/>
              <a:gd name="csX134" fmla="*/ 262341 w 748195"/>
              <a:gd name="csY134" fmla="*/ 856275 h 2076207"/>
              <a:gd name="csX135" fmla="*/ 259999 w 748195"/>
              <a:gd name="csY135" fmla="*/ 966699 h 2076207"/>
              <a:gd name="csX136" fmla="*/ 55556 w 748195"/>
              <a:gd name="csY136" fmla="*/ 1835827 h 2076207"/>
              <a:gd name="csX137" fmla="*/ 49393 w 748195"/>
              <a:gd name="csY137" fmla="*/ 1878155 h 2076207"/>
              <a:gd name="csX138" fmla="*/ 73949 w 748195"/>
              <a:gd name="csY138" fmla="*/ 1905781 h 2076207"/>
              <a:gd name="csX139" fmla="*/ 110073 w 748195"/>
              <a:gd name="csY139" fmla="*/ 1909068 h 2076207"/>
              <a:gd name="csX140" fmla="*/ 224745 w 748195"/>
              <a:gd name="csY140" fmla="*/ 1921652 h 2076207"/>
              <a:gd name="csX141" fmla="*/ 347327 w 748195"/>
              <a:gd name="csY141" fmla="*/ 1924778 h 2076207"/>
              <a:gd name="csX142" fmla="*/ 363345 w 748195"/>
              <a:gd name="csY142" fmla="*/ 1923293 h 2076207"/>
              <a:gd name="csX143" fmla="*/ 373787 w 748195"/>
              <a:gd name="csY143" fmla="*/ 1911200 h 2076207"/>
              <a:gd name="csX144" fmla="*/ 376623 w 748195"/>
              <a:gd name="csY144" fmla="*/ 1696741 h 2076207"/>
              <a:gd name="csX145" fmla="*/ 360437 w 748195"/>
              <a:gd name="csY145" fmla="*/ 1681289 h 2076207"/>
              <a:gd name="csX146" fmla="*/ 263503 w 748195"/>
              <a:gd name="csY146" fmla="*/ 1678179 h 2076207"/>
              <a:gd name="csX147" fmla="*/ 160381 w 748195"/>
              <a:gd name="csY147" fmla="*/ 1670405 h 2076207"/>
              <a:gd name="csX148" fmla="*/ 143321 w 748195"/>
              <a:gd name="csY148" fmla="*/ 1685538 h 2076207"/>
              <a:gd name="csX149" fmla="*/ 124769 w 748195"/>
              <a:gd name="csY149" fmla="*/ 1738195 h 2076207"/>
              <a:gd name="csX150" fmla="*/ 90593 w 748195"/>
              <a:gd name="csY150" fmla="*/ 1779570 h 2076207"/>
              <a:gd name="csX151" fmla="*/ 55556 w 748195"/>
              <a:gd name="csY151" fmla="*/ 1835827 h 2076207"/>
              <a:gd name="csX152" fmla="*/ 378900 w 748195"/>
              <a:gd name="csY152" fmla="*/ 2007280 h 2076207"/>
              <a:gd name="csX153" fmla="*/ 378887 w 748195"/>
              <a:gd name="csY153" fmla="*/ 1995127 h 2076207"/>
              <a:gd name="csX154" fmla="*/ 359084 w 748195"/>
              <a:gd name="csY154" fmla="*/ 1975964 h 2076207"/>
              <a:gd name="csX155" fmla="*/ 247288 w 748195"/>
              <a:gd name="csY155" fmla="*/ 1973305 h 2076207"/>
              <a:gd name="csX156" fmla="*/ 201692 w 748195"/>
              <a:gd name="csY156" fmla="*/ 1970275 h 2076207"/>
              <a:gd name="csX157" fmla="*/ 57962 w 748195"/>
              <a:gd name="csY157" fmla="*/ 1952648 h 2076207"/>
              <a:gd name="csX158" fmla="*/ 39194 w 748195"/>
              <a:gd name="csY158" fmla="*/ 1963552 h 2076207"/>
              <a:gd name="csX159" fmla="*/ 30066 w 748195"/>
              <a:gd name="csY159" fmla="*/ 2006631 h 2076207"/>
              <a:gd name="csX160" fmla="*/ 40232 w 748195"/>
              <a:gd name="csY160" fmla="*/ 2019486 h 2076207"/>
              <a:gd name="csX161" fmla="*/ 238186 w 748195"/>
              <a:gd name="csY161" fmla="*/ 2046096 h 2076207"/>
              <a:gd name="csX162" fmla="*/ 342155 w 748195"/>
              <a:gd name="csY162" fmla="*/ 2046441 h 2076207"/>
              <a:gd name="csX163" fmla="*/ 378900 w 748195"/>
              <a:gd name="csY163" fmla="*/ 2007280 h 2076207"/>
              <a:gd name="csX164" fmla="*/ 310220 w 748195"/>
              <a:gd name="csY164" fmla="*/ 554288 h 2076207"/>
              <a:gd name="csX165" fmla="*/ 259136 w 748195"/>
              <a:gd name="csY165" fmla="*/ 556881 h 2076207"/>
              <a:gd name="csX166" fmla="*/ 249085 w 748195"/>
              <a:gd name="csY166" fmla="*/ 567981 h 2076207"/>
              <a:gd name="csX167" fmla="*/ 249141 w 748195"/>
              <a:gd name="csY167" fmla="*/ 605644 h 2076207"/>
              <a:gd name="csX168" fmla="*/ 262628 w 748195"/>
              <a:gd name="csY168" fmla="*/ 605627 h 2076207"/>
              <a:gd name="csX169" fmla="*/ 369608 w 748195"/>
              <a:gd name="csY169" fmla="*/ 603027 h 2076207"/>
              <a:gd name="csX170" fmla="*/ 463931 w 748195"/>
              <a:gd name="csY170" fmla="*/ 605146 h 2076207"/>
              <a:gd name="csX171" fmla="*/ 478113 w 748195"/>
              <a:gd name="csY171" fmla="*/ 595843 h 2076207"/>
              <a:gd name="csX172" fmla="*/ 478796 w 748195"/>
              <a:gd name="csY172" fmla="*/ 556832 h 2076207"/>
              <a:gd name="csX173" fmla="*/ 310220 w 748195"/>
              <a:gd name="csY173" fmla="*/ 554288 h 2076207"/>
              <a:gd name="csX174" fmla="*/ 348836 w 748195"/>
              <a:gd name="csY174" fmla="*/ 684115 h 2076207"/>
              <a:gd name="csX175" fmla="*/ 281333 w 748195"/>
              <a:gd name="csY175" fmla="*/ 683313 h 2076207"/>
              <a:gd name="csX176" fmla="*/ 212728 w 748195"/>
              <a:gd name="csY176" fmla="*/ 681931 h 2076207"/>
              <a:gd name="csX177" fmla="*/ 187283 w 748195"/>
              <a:gd name="csY177" fmla="*/ 689555 h 2076207"/>
              <a:gd name="csX178" fmla="*/ 186163 w 748195"/>
              <a:gd name="csY178" fmla="*/ 718266 h 2076207"/>
              <a:gd name="csX179" fmla="*/ 209894 w 748195"/>
              <a:gd name="csY179" fmla="*/ 726798 h 2076207"/>
              <a:gd name="csX180" fmla="*/ 334814 w 748195"/>
              <a:gd name="csY180" fmla="*/ 732494 h 2076207"/>
              <a:gd name="csX181" fmla="*/ 364856 w 748195"/>
              <a:gd name="csY181" fmla="*/ 707963 h 2076207"/>
              <a:gd name="csX182" fmla="*/ 348836 w 748195"/>
              <a:gd name="csY182" fmla="*/ 684115 h 2076207"/>
              <a:gd name="csX183" fmla="*/ 298865 w 748195"/>
              <a:gd name="csY183" fmla="*/ 621954 h 2076207"/>
              <a:gd name="csX184" fmla="*/ 251619 w 748195"/>
              <a:gd name="csY184" fmla="*/ 622133 h 2076207"/>
              <a:gd name="csX185" fmla="*/ 214459 w 748195"/>
              <a:gd name="csY185" fmla="*/ 636230 h 2076207"/>
              <a:gd name="csX186" fmla="*/ 221436 w 748195"/>
              <a:gd name="csY186" fmla="*/ 654205 h 2076207"/>
              <a:gd name="csX187" fmla="*/ 272412 w 748195"/>
              <a:gd name="csY187" fmla="*/ 657250 h 2076207"/>
              <a:gd name="csX188" fmla="*/ 349094 w 748195"/>
              <a:gd name="csY188" fmla="*/ 659282 h 2076207"/>
              <a:gd name="csX189" fmla="*/ 362996 w 748195"/>
              <a:gd name="csY189" fmla="*/ 644234 h 2076207"/>
              <a:gd name="csX190" fmla="*/ 348472 w 748195"/>
              <a:gd name="csY190" fmla="*/ 624649 h 2076207"/>
              <a:gd name="csX191" fmla="*/ 298865 w 748195"/>
              <a:gd name="csY191" fmla="*/ 621954 h 2076207"/>
              <a:gd name="csX192" fmla="*/ 227796 w 748195"/>
              <a:gd name="csY192" fmla="*/ 528000 h 2076207"/>
              <a:gd name="csX193" fmla="*/ 241009 w 748195"/>
              <a:gd name="csY193" fmla="*/ 545897 h 2076207"/>
              <a:gd name="csX194" fmla="*/ 282607 w 748195"/>
              <a:gd name="csY194" fmla="*/ 543480 h 2076207"/>
              <a:gd name="csX195" fmla="*/ 354213 w 748195"/>
              <a:gd name="csY195" fmla="*/ 543384 h 2076207"/>
              <a:gd name="csX196" fmla="*/ 365334 w 748195"/>
              <a:gd name="csY196" fmla="*/ 533397 h 2076207"/>
              <a:gd name="csX197" fmla="*/ 354531 w 748195"/>
              <a:gd name="csY197" fmla="*/ 521620 h 2076207"/>
              <a:gd name="csX198" fmla="*/ 259169 w 748195"/>
              <a:gd name="csY198" fmla="*/ 521978 h 2076207"/>
              <a:gd name="csX199" fmla="*/ 227796 w 748195"/>
              <a:gd name="csY199" fmla="*/ 528000 h 2076207"/>
              <a:gd name="csX200" fmla="*/ 508068 w 748195"/>
              <a:gd name="csY200" fmla="*/ 190710 h 2076207"/>
              <a:gd name="csX201" fmla="*/ 521293 w 748195"/>
              <a:gd name="csY201" fmla="*/ 205907 h 2076207"/>
              <a:gd name="csX202" fmla="*/ 525175 w 748195"/>
              <a:gd name="csY202" fmla="*/ 202985 h 2076207"/>
              <a:gd name="csX203" fmla="*/ 500276 w 748195"/>
              <a:gd name="csY203" fmla="*/ 160640 h 2076207"/>
              <a:gd name="csX204" fmla="*/ 497122 w 748195"/>
              <a:gd name="csY204" fmla="*/ 162007 h 2076207"/>
              <a:gd name="csX205" fmla="*/ 508068 w 748195"/>
              <a:gd name="csY205" fmla="*/ 190710 h 2076207"/>
              <a:gd name="csX206" fmla="*/ 215522 w 748195"/>
              <a:gd name="csY206" fmla="*/ 197296 h 2076207"/>
              <a:gd name="csX207" fmla="*/ 234029 w 748195"/>
              <a:gd name="csY207" fmla="*/ 162725 h 2076207"/>
              <a:gd name="csX208" fmla="*/ 229000 w 748195"/>
              <a:gd name="csY208" fmla="*/ 159902 h 2076207"/>
              <a:gd name="csX209" fmla="*/ 204824 w 748195"/>
              <a:gd name="csY209" fmla="*/ 199677 h 2076207"/>
              <a:gd name="csX210" fmla="*/ 207990 w 748195"/>
              <a:gd name="csY210" fmla="*/ 202198 h 2076207"/>
              <a:gd name="csX211" fmla="*/ 215522 w 748195"/>
              <a:gd name="csY211" fmla="*/ 197296 h 2076207"/>
              <a:gd name="csX212" fmla="*/ 484400 w 748195"/>
              <a:gd name="csY212" fmla="*/ 896678 h 2076207"/>
              <a:gd name="csX213" fmla="*/ 486181 w 748195"/>
              <a:gd name="csY213" fmla="*/ 896585 h 2076207"/>
              <a:gd name="csX214" fmla="*/ 486181 w 748195"/>
              <a:gd name="csY214" fmla="*/ 795289 h 2076207"/>
              <a:gd name="csX215" fmla="*/ 720241 w 748195"/>
              <a:gd name="csY215" fmla="*/ 2030666 h 2076207"/>
              <a:gd name="csX216" fmla="*/ 721175 w 748195"/>
              <a:gd name="csY216" fmla="*/ 2029733 h 2076207"/>
              <a:gd name="csX217" fmla="*/ 720241 w 748195"/>
              <a:gd name="csY217" fmla="*/ 2030666 h 2076207"/>
              <a:gd name="csX218" fmla="*/ 715702 w 748195"/>
              <a:gd name="csY218" fmla="*/ 2037051 h 2076207"/>
              <a:gd name="csX219" fmla="*/ 715702 w 748195"/>
              <a:gd name="csY219" fmla="*/ 2037051 h 2076207"/>
              <a:gd name="csX0" fmla="*/ 96263 w 729414"/>
              <a:gd name="csY0" fmla="*/ 2076207 h 2076207"/>
              <a:gd name="csX1" fmla="*/ 63862 w 729414"/>
              <a:gd name="csY1" fmla="*/ 2065388 h 2076207"/>
              <a:gd name="csX2" fmla="*/ 16555 w 729414"/>
              <a:gd name="csY2" fmla="*/ 2050152 h 2076207"/>
              <a:gd name="csX3" fmla="*/ 15 w 729414"/>
              <a:gd name="csY3" fmla="*/ 2023802 h 2076207"/>
              <a:gd name="csX4" fmla="*/ 18368 w 729414"/>
              <a:gd name="csY4" fmla="*/ 1940709 h 2076207"/>
              <a:gd name="csX5" fmla="*/ 22139 w 729414"/>
              <a:gd name="csY5" fmla="*/ 1907268 h 2076207"/>
              <a:gd name="csX6" fmla="*/ 57941 w 729414"/>
              <a:gd name="csY6" fmla="*/ 1774163 h 2076207"/>
              <a:gd name="csX7" fmla="*/ 102478 w 729414"/>
              <a:gd name="csY7" fmla="*/ 1720275 h 2076207"/>
              <a:gd name="csX8" fmla="*/ 108579 w 729414"/>
              <a:gd name="csY8" fmla="*/ 1650967 h 2076207"/>
              <a:gd name="csX9" fmla="*/ 115628 w 729414"/>
              <a:gd name="csY9" fmla="*/ 1625405 h 2076207"/>
              <a:gd name="csX10" fmla="*/ 156323 w 729414"/>
              <a:gd name="csY10" fmla="*/ 1560181 h 2076207"/>
              <a:gd name="csX11" fmla="*/ 199424 w 729414"/>
              <a:gd name="csY11" fmla="*/ 1364729 h 2076207"/>
              <a:gd name="csX12" fmla="*/ 216779 w 729414"/>
              <a:gd name="csY12" fmla="*/ 1219490 h 2076207"/>
              <a:gd name="csX13" fmla="*/ 229755 w 729414"/>
              <a:gd name="csY13" fmla="*/ 1099357 h 2076207"/>
              <a:gd name="csX14" fmla="*/ 232707 w 729414"/>
              <a:gd name="csY14" fmla="*/ 1056423 h 2076207"/>
              <a:gd name="csX15" fmla="*/ 235622 w 729414"/>
              <a:gd name="csY15" fmla="*/ 952675 h 2076207"/>
              <a:gd name="csX16" fmla="*/ 235445 w 729414"/>
              <a:gd name="csY16" fmla="*/ 780278 h 2076207"/>
              <a:gd name="csX17" fmla="*/ 214544 w 729414"/>
              <a:gd name="csY17" fmla="*/ 756435 h 2076207"/>
              <a:gd name="csX18" fmla="*/ 172569 w 729414"/>
              <a:gd name="csY18" fmla="*/ 742582 h 2076207"/>
              <a:gd name="csX19" fmla="*/ 168784 w 729414"/>
              <a:gd name="csY19" fmla="*/ 669116 h 2076207"/>
              <a:gd name="csX20" fmla="*/ 191657 w 729414"/>
              <a:gd name="csY20" fmla="*/ 630765 h 2076207"/>
              <a:gd name="csX21" fmla="*/ 208150 w 729414"/>
              <a:gd name="csY21" fmla="*/ 609084 h 2076207"/>
              <a:gd name="csX22" fmla="*/ 216756 w 729414"/>
              <a:gd name="csY22" fmla="*/ 558673 h 2076207"/>
              <a:gd name="csX23" fmla="*/ 209092 w 729414"/>
              <a:gd name="csY23" fmla="*/ 521540 h 2076207"/>
              <a:gd name="csX24" fmla="*/ 204683 w 729414"/>
              <a:gd name="csY24" fmla="*/ 474024 h 2076207"/>
              <a:gd name="csX25" fmla="*/ 115483 w 729414"/>
              <a:gd name="csY25" fmla="*/ 213499 h 2076207"/>
              <a:gd name="csX26" fmla="*/ 102909 w 729414"/>
              <a:gd name="csY26" fmla="*/ 182297 h 2076207"/>
              <a:gd name="csX27" fmla="*/ 104315 w 729414"/>
              <a:gd name="csY27" fmla="*/ 163968 h 2076207"/>
              <a:gd name="csX28" fmla="*/ 122444 w 729414"/>
              <a:gd name="csY28" fmla="*/ 160805 h 2076207"/>
              <a:gd name="csX29" fmla="*/ 170283 w 729414"/>
              <a:gd name="csY29" fmla="*/ 187783 h 2076207"/>
              <a:gd name="csX30" fmla="*/ 180938 w 729414"/>
              <a:gd name="csY30" fmla="*/ 195322 h 2076207"/>
              <a:gd name="csX31" fmla="*/ 221419 w 729414"/>
              <a:gd name="csY31" fmla="*/ 138058 h 2076207"/>
              <a:gd name="csX32" fmla="*/ 294099 w 729414"/>
              <a:gd name="csY32" fmla="*/ 91372 h 2076207"/>
              <a:gd name="csX33" fmla="*/ 302307 w 729414"/>
              <a:gd name="csY33" fmla="*/ 76560 h 2076207"/>
              <a:gd name="csX34" fmla="*/ 320284 w 729414"/>
              <a:gd name="csY34" fmla="*/ 8414 h 2076207"/>
              <a:gd name="csX35" fmla="*/ 324784 w 729414"/>
              <a:gd name="csY35" fmla="*/ 946 h 2076207"/>
              <a:gd name="csX36" fmla="*/ 399212 w 729414"/>
              <a:gd name="csY36" fmla="*/ 0 h 2076207"/>
              <a:gd name="csX37" fmla="*/ 425980 w 729414"/>
              <a:gd name="csY37" fmla="*/ 78301 h 2076207"/>
              <a:gd name="csX38" fmla="*/ 431861 w 729414"/>
              <a:gd name="csY38" fmla="*/ 90312 h 2076207"/>
              <a:gd name="csX39" fmla="*/ 540349 w 729414"/>
              <a:gd name="csY39" fmla="*/ 187946 h 2076207"/>
              <a:gd name="csX40" fmla="*/ 545555 w 729414"/>
              <a:gd name="csY40" fmla="*/ 197828 h 2076207"/>
              <a:gd name="csX41" fmla="*/ 587318 w 729414"/>
              <a:gd name="csY41" fmla="*/ 171260 h 2076207"/>
              <a:gd name="csX42" fmla="*/ 601503 w 729414"/>
              <a:gd name="csY42" fmla="*/ 163707 h 2076207"/>
              <a:gd name="csX43" fmla="*/ 625254 w 729414"/>
              <a:gd name="csY43" fmla="*/ 163123 h 2076207"/>
              <a:gd name="csX44" fmla="*/ 625468 w 729414"/>
              <a:gd name="csY44" fmla="*/ 187579 h 2076207"/>
              <a:gd name="csX45" fmla="*/ 597543 w 729414"/>
              <a:gd name="csY45" fmla="*/ 251872 h 2076207"/>
              <a:gd name="csX46" fmla="*/ 531831 w 729414"/>
              <a:gd name="csY46" fmla="*/ 442689 h 2076207"/>
              <a:gd name="csX47" fmla="*/ 519888 w 729414"/>
              <a:gd name="csY47" fmla="*/ 501474 h 2076207"/>
              <a:gd name="csX48" fmla="*/ 522506 w 729414"/>
              <a:gd name="csY48" fmla="*/ 525086 h 2076207"/>
              <a:gd name="csX49" fmla="*/ 516235 w 729414"/>
              <a:gd name="csY49" fmla="*/ 555946 h 2076207"/>
              <a:gd name="csX50" fmla="*/ 521332 w 729414"/>
              <a:gd name="csY50" fmla="*/ 610676 h 2076207"/>
              <a:gd name="csX51" fmla="*/ 541382 w 729414"/>
              <a:gd name="csY51" fmla="*/ 642597 h 2076207"/>
              <a:gd name="csX52" fmla="*/ 557031 w 729414"/>
              <a:gd name="csY52" fmla="*/ 667949 h 2076207"/>
              <a:gd name="csX53" fmla="*/ 553994 w 729414"/>
              <a:gd name="csY53" fmla="*/ 744146 h 2076207"/>
              <a:gd name="csX54" fmla="*/ 508215 w 729414"/>
              <a:gd name="csY54" fmla="*/ 758841 h 2076207"/>
              <a:gd name="csX55" fmla="*/ 497442 w 729414"/>
              <a:gd name="csY55" fmla="*/ 771256 h 2076207"/>
              <a:gd name="csX56" fmla="*/ 493005 w 729414"/>
              <a:gd name="csY56" fmla="*/ 922055 h 2076207"/>
              <a:gd name="csX57" fmla="*/ 502900 w 729414"/>
              <a:gd name="csY57" fmla="*/ 1114191 h 2076207"/>
              <a:gd name="csX58" fmla="*/ 508800 w 729414"/>
              <a:gd name="csY58" fmla="*/ 1205474 h 2076207"/>
              <a:gd name="csX59" fmla="*/ 522952 w 729414"/>
              <a:gd name="csY59" fmla="*/ 1320065 h 2076207"/>
              <a:gd name="csX60" fmla="*/ 554682 w 729414"/>
              <a:gd name="csY60" fmla="*/ 1501203 h 2076207"/>
              <a:gd name="csX61" fmla="*/ 576958 w 729414"/>
              <a:gd name="csY61" fmla="*/ 1593963 h 2076207"/>
              <a:gd name="csX62" fmla="*/ 595349 w 729414"/>
              <a:gd name="csY62" fmla="*/ 1613498 h 2076207"/>
              <a:gd name="csX63" fmla="*/ 613936 w 729414"/>
              <a:gd name="csY63" fmla="*/ 1624058 h 2076207"/>
              <a:gd name="csX64" fmla="*/ 620938 w 729414"/>
              <a:gd name="csY64" fmla="*/ 1652071 h 2076207"/>
              <a:gd name="csX65" fmla="*/ 630805 w 729414"/>
              <a:gd name="csY65" fmla="*/ 1721702 h 2076207"/>
              <a:gd name="csX66" fmla="*/ 685830 w 729414"/>
              <a:gd name="csY66" fmla="*/ 1792915 h 2076207"/>
              <a:gd name="csX67" fmla="*/ 708904 w 729414"/>
              <a:gd name="csY67" fmla="*/ 1890290 h 2076207"/>
              <a:gd name="csX68" fmla="*/ 716580 w 729414"/>
              <a:gd name="csY68" fmla="*/ 1951136 h 2076207"/>
              <a:gd name="csX69" fmla="*/ 729397 w 729414"/>
              <a:gd name="csY69" fmla="*/ 2030261 h 2076207"/>
              <a:gd name="csX70" fmla="*/ 714212 w 729414"/>
              <a:gd name="csY70" fmla="*/ 2049544 h 2076207"/>
              <a:gd name="csX71" fmla="*/ 706629 w 729414"/>
              <a:gd name="csY71" fmla="*/ 2044290 h 2076207"/>
              <a:gd name="csX72" fmla="*/ 96263 w 729414"/>
              <a:gd name="csY72" fmla="*/ 2076207 h 2076207"/>
              <a:gd name="csX73" fmla="*/ 489970 w 729414"/>
              <a:gd name="csY73" fmla="*/ 152208 h 2076207"/>
              <a:gd name="csX74" fmla="*/ 490754 w 729414"/>
              <a:gd name="csY74" fmla="*/ 152592 h 2076207"/>
              <a:gd name="csX75" fmla="*/ 489489 w 729414"/>
              <a:gd name="csY75" fmla="*/ 149547 h 2076207"/>
              <a:gd name="csX76" fmla="*/ 393621 w 729414"/>
              <a:gd name="csY76" fmla="*/ 99259 h 2076207"/>
              <a:gd name="csX77" fmla="*/ 390419 w 729414"/>
              <a:gd name="csY77" fmla="*/ 18568 h 2076207"/>
              <a:gd name="csX78" fmla="*/ 334131 w 729414"/>
              <a:gd name="csY78" fmla="*/ 24327 h 2076207"/>
              <a:gd name="csX79" fmla="*/ 344678 w 729414"/>
              <a:gd name="csY79" fmla="*/ 101259 h 2076207"/>
              <a:gd name="csX80" fmla="*/ 298854 w 729414"/>
              <a:gd name="csY80" fmla="*/ 114003 h 2076207"/>
              <a:gd name="csX81" fmla="*/ 237456 w 729414"/>
              <a:gd name="csY81" fmla="*/ 154340 h 2076207"/>
              <a:gd name="csX82" fmla="*/ 240382 w 729414"/>
              <a:gd name="csY82" fmla="*/ 154035 h 2076207"/>
              <a:gd name="csX83" fmla="*/ 262731 w 729414"/>
              <a:gd name="csY83" fmla="*/ 170426 h 2076207"/>
              <a:gd name="csX84" fmla="*/ 279169 w 729414"/>
              <a:gd name="csY84" fmla="*/ 193173 h 2076207"/>
              <a:gd name="csX85" fmla="*/ 327717 w 729414"/>
              <a:gd name="csY85" fmla="*/ 188556 h 2076207"/>
              <a:gd name="csX86" fmla="*/ 348052 w 729414"/>
              <a:gd name="csY86" fmla="*/ 156919 h 2076207"/>
              <a:gd name="csX87" fmla="*/ 380330 w 729414"/>
              <a:gd name="csY87" fmla="*/ 156483 h 2076207"/>
              <a:gd name="csX88" fmla="*/ 408490 w 729414"/>
              <a:gd name="csY88" fmla="*/ 195400 h 2076207"/>
              <a:gd name="csX89" fmla="*/ 445346 w 729414"/>
              <a:gd name="csY89" fmla="*/ 197582 h 2076207"/>
              <a:gd name="csX90" fmla="*/ 464798 w 729414"/>
              <a:gd name="csY90" fmla="*/ 174107 h 2076207"/>
              <a:gd name="csX91" fmla="*/ 489970 w 729414"/>
              <a:gd name="csY91" fmla="*/ 152208 h 2076207"/>
              <a:gd name="csX92" fmla="*/ 140694 w 729414"/>
              <a:gd name="csY92" fmla="*/ 201837 h 2076207"/>
              <a:gd name="csX93" fmla="*/ 139834 w 729414"/>
              <a:gd name="csY93" fmla="*/ 201482 h 2076207"/>
              <a:gd name="csX94" fmla="*/ 140812 w 729414"/>
              <a:gd name="csY94" fmla="*/ 204941 h 2076207"/>
              <a:gd name="csX95" fmla="*/ 144631 w 729414"/>
              <a:gd name="csY95" fmla="*/ 217811 h 2076207"/>
              <a:gd name="csX96" fmla="*/ 201241 w 729414"/>
              <a:gd name="csY96" fmla="*/ 373387 h 2076207"/>
              <a:gd name="csX97" fmla="*/ 235971 w 729414"/>
              <a:gd name="csY97" fmla="*/ 504451 h 2076207"/>
              <a:gd name="csX98" fmla="*/ 247475 w 729414"/>
              <a:gd name="csY98" fmla="*/ 513241 h 2076207"/>
              <a:gd name="csX99" fmla="*/ 289066 w 729414"/>
              <a:gd name="csY99" fmla="*/ 511170 h 2076207"/>
              <a:gd name="csX100" fmla="*/ 378229 w 729414"/>
              <a:gd name="csY100" fmla="*/ 511084 h 2076207"/>
              <a:gd name="csX101" fmla="*/ 470850 w 729414"/>
              <a:gd name="csY101" fmla="*/ 516341 h 2076207"/>
              <a:gd name="csX102" fmla="*/ 492933 w 729414"/>
              <a:gd name="csY102" fmla="*/ 497969 h 2076207"/>
              <a:gd name="csX103" fmla="*/ 557617 w 729414"/>
              <a:gd name="csY103" fmla="*/ 280398 h 2076207"/>
              <a:gd name="csX104" fmla="*/ 588788 w 729414"/>
              <a:gd name="csY104" fmla="*/ 200385 h 2076207"/>
              <a:gd name="csX105" fmla="*/ 530958 w 729414"/>
              <a:gd name="csY105" fmla="*/ 232968 h 2076207"/>
              <a:gd name="csX106" fmla="*/ 483823 w 729414"/>
              <a:gd name="csY106" fmla="*/ 190364 h 2076207"/>
              <a:gd name="csX107" fmla="*/ 466649 w 729414"/>
              <a:gd name="csY107" fmla="*/ 209061 h 2076207"/>
              <a:gd name="csX108" fmla="*/ 399941 w 729414"/>
              <a:gd name="csY108" fmla="*/ 216988 h 2076207"/>
              <a:gd name="csX109" fmla="*/ 363018 w 729414"/>
              <a:gd name="csY109" fmla="*/ 179615 h 2076207"/>
              <a:gd name="csX110" fmla="*/ 308839 w 729414"/>
              <a:gd name="csY110" fmla="*/ 227846 h 2076207"/>
              <a:gd name="csX111" fmla="*/ 245077 w 729414"/>
              <a:gd name="csY111" fmla="*/ 192402 h 2076207"/>
              <a:gd name="csX112" fmla="*/ 242829 w 729414"/>
              <a:gd name="csY112" fmla="*/ 198815 h 2076207"/>
              <a:gd name="csX113" fmla="*/ 168452 w 729414"/>
              <a:gd name="csY113" fmla="*/ 219348 h 2076207"/>
              <a:gd name="csX114" fmla="*/ 140694 w 729414"/>
              <a:gd name="csY114" fmla="*/ 201837 h 2076207"/>
              <a:gd name="csX115" fmla="*/ 259999 w 729414"/>
              <a:gd name="csY115" fmla="*/ 966699 h 2076207"/>
              <a:gd name="csX116" fmla="*/ 257072 w 729414"/>
              <a:gd name="csY116" fmla="*/ 1070424 h 2076207"/>
              <a:gd name="csX117" fmla="*/ 251372 w 729414"/>
              <a:gd name="csY117" fmla="*/ 1157618 h 2076207"/>
              <a:gd name="csX118" fmla="*/ 232677 w 729414"/>
              <a:gd name="csY118" fmla="*/ 1320279 h 2076207"/>
              <a:gd name="csX119" fmla="*/ 209182 w 729414"/>
              <a:gd name="csY119" fmla="*/ 1468667 h 2076207"/>
              <a:gd name="csX120" fmla="*/ 175302 w 729414"/>
              <a:gd name="csY120" fmla="*/ 1616623 h 2076207"/>
              <a:gd name="csX121" fmla="*/ 182769 w 729414"/>
              <a:gd name="csY121" fmla="*/ 1629786 h 2076207"/>
              <a:gd name="csX122" fmla="*/ 212156 w 729414"/>
              <a:gd name="csY122" fmla="*/ 1632656 h 2076207"/>
              <a:gd name="csX123" fmla="*/ 351295 w 729414"/>
              <a:gd name="csY123" fmla="*/ 1632801 h 2076207"/>
              <a:gd name="csX124" fmla="*/ 376150 w 729414"/>
              <a:gd name="csY124" fmla="*/ 1608307 h 2076207"/>
              <a:gd name="csX125" fmla="*/ 373450 w 729414"/>
              <a:gd name="csY125" fmla="*/ 1457291 h 2076207"/>
              <a:gd name="csX126" fmla="*/ 370936 w 729414"/>
              <a:gd name="csY126" fmla="*/ 1342736 h 2076207"/>
              <a:gd name="csX127" fmla="*/ 368328 w 729414"/>
              <a:gd name="csY127" fmla="*/ 1203878 h 2076207"/>
              <a:gd name="csX128" fmla="*/ 367836 w 729414"/>
              <a:gd name="csY128" fmla="*/ 813478 h 2076207"/>
              <a:gd name="csX129" fmla="*/ 365240 w 729414"/>
              <a:gd name="csY129" fmla="*/ 773243 h 2076207"/>
              <a:gd name="csX130" fmla="*/ 353084 w 729414"/>
              <a:gd name="csY130" fmla="*/ 762083 h 2076207"/>
              <a:gd name="csX131" fmla="*/ 280966 w 729414"/>
              <a:gd name="csY131" fmla="*/ 759855 h 2076207"/>
              <a:gd name="csX132" fmla="*/ 259965 w 729414"/>
              <a:gd name="csY132" fmla="*/ 779553 h 2076207"/>
              <a:gd name="csX133" fmla="*/ 262341 w 729414"/>
              <a:gd name="csY133" fmla="*/ 856275 h 2076207"/>
              <a:gd name="csX134" fmla="*/ 259999 w 729414"/>
              <a:gd name="csY134" fmla="*/ 966699 h 2076207"/>
              <a:gd name="csX135" fmla="*/ 55556 w 729414"/>
              <a:gd name="csY135" fmla="*/ 1835827 h 2076207"/>
              <a:gd name="csX136" fmla="*/ 49393 w 729414"/>
              <a:gd name="csY136" fmla="*/ 1878155 h 2076207"/>
              <a:gd name="csX137" fmla="*/ 73949 w 729414"/>
              <a:gd name="csY137" fmla="*/ 1905781 h 2076207"/>
              <a:gd name="csX138" fmla="*/ 110073 w 729414"/>
              <a:gd name="csY138" fmla="*/ 1909068 h 2076207"/>
              <a:gd name="csX139" fmla="*/ 224745 w 729414"/>
              <a:gd name="csY139" fmla="*/ 1921652 h 2076207"/>
              <a:gd name="csX140" fmla="*/ 347327 w 729414"/>
              <a:gd name="csY140" fmla="*/ 1924778 h 2076207"/>
              <a:gd name="csX141" fmla="*/ 363345 w 729414"/>
              <a:gd name="csY141" fmla="*/ 1923293 h 2076207"/>
              <a:gd name="csX142" fmla="*/ 373787 w 729414"/>
              <a:gd name="csY142" fmla="*/ 1911200 h 2076207"/>
              <a:gd name="csX143" fmla="*/ 376623 w 729414"/>
              <a:gd name="csY143" fmla="*/ 1696741 h 2076207"/>
              <a:gd name="csX144" fmla="*/ 360437 w 729414"/>
              <a:gd name="csY144" fmla="*/ 1681289 h 2076207"/>
              <a:gd name="csX145" fmla="*/ 263503 w 729414"/>
              <a:gd name="csY145" fmla="*/ 1678179 h 2076207"/>
              <a:gd name="csX146" fmla="*/ 160381 w 729414"/>
              <a:gd name="csY146" fmla="*/ 1670405 h 2076207"/>
              <a:gd name="csX147" fmla="*/ 143321 w 729414"/>
              <a:gd name="csY147" fmla="*/ 1685538 h 2076207"/>
              <a:gd name="csX148" fmla="*/ 124769 w 729414"/>
              <a:gd name="csY148" fmla="*/ 1738195 h 2076207"/>
              <a:gd name="csX149" fmla="*/ 90593 w 729414"/>
              <a:gd name="csY149" fmla="*/ 1779570 h 2076207"/>
              <a:gd name="csX150" fmla="*/ 55556 w 729414"/>
              <a:gd name="csY150" fmla="*/ 1835827 h 2076207"/>
              <a:gd name="csX151" fmla="*/ 378900 w 729414"/>
              <a:gd name="csY151" fmla="*/ 2007280 h 2076207"/>
              <a:gd name="csX152" fmla="*/ 378887 w 729414"/>
              <a:gd name="csY152" fmla="*/ 1995127 h 2076207"/>
              <a:gd name="csX153" fmla="*/ 359084 w 729414"/>
              <a:gd name="csY153" fmla="*/ 1975964 h 2076207"/>
              <a:gd name="csX154" fmla="*/ 247288 w 729414"/>
              <a:gd name="csY154" fmla="*/ 1973305 h 2076207"/>
              <a:gd name="csX155" fmla="*/ 201692 w 729414"/>
              <a:gd name="csY155" fmla="*/ 1970275 h 2076207"/>
              <a:gd name="csX156" fmla="*/ 57962 w 729414"/>
              <a:gd name="csY156" fmla="*/ 1952648 h 2076207"/>
              <a:gd name="csX157" fmla="*/ 39194 w 729414"/>
              <a:gd name="csY157" fmla="*/ 1963552 h 2076207"/>
              <a:gd name="csX158" fmla="*/ 30066 w 729414"/>
              <a:gd name="csY158" fmla="*/ 2006631 h 2076207"/>
              <a:gd name="csX159" fmla="*/ 40232 w 729414"/>
              <a:gd name="csY159" fmla="*/ 2019486 h 2076207"/>
              <a:gd name="csX160" fmla="*/ 238186 w 729414"/>
              <a:gd name="csY160" fmla="*/ 2046096 h 2076207"/>
              <a:gd name="csX161" fmla="*/ 342155 w 729414"/>
              <a:gd name="csY161" fmla="*/ 2046441 h 2076207"/>
              <a:gd name="csX162" fmla="*/ 378900 w 729414"/>
              <a:gd name="csY162" fmla="*/ 2007280 h 2076207"/>
              <a:gd name="csX163" fmla="*/ 310220 w 729414"/>
              <a:gd name="csY163" fmla="*/ 554288 h 2076207"/>
              <a:gd name="csX164" fmla="*/ 259136 w 729414"/>
              <a:gd name="csY164" fmla="*/ 556881 h 2076207"/>
              <a:gd name="csX165" fmla="*/ 249085 w 729414"/>
              <a:gd name="csY165" fmla="*/ 567981 h 2076207"/>
              <a:gd name="csX166" fmla="*/ 249141 w 729414"/>
              <a:gd name="csY166" fmla="*/ 605644 h 2076207"/>
              <a:gd name="csX167" fmla="*/ 262628 w 729414"/>
              <a:gd name="csY167" fmla="*/ 605627 h 2076207"/>
              <a:gd name="csX168" fmla="*/ 369608 w 729414"/>
              <a:gd name="csY168" fmla="*/ 603027 h 2076207"/>
              <a:gd name="csX169" fmla="*/ 463931 w 729414"/>
              <a:gd name="csY169" fmla="*/ 605146 h 2076207"/>
              <a:gd name="csX170" fmla="*/ 478113 w 729414"/>
              <a:gd name="csY170" fmla="*/ 595843 h 2076207"/>
              <a:gd name="csX171" fmla="*/ 478796 w 729414"/>
              <a:gd name="csY171" fmla="*/ 556832 h 2076207"/>
              <a:gd name="csX172" fmla="*/ 310220 w 729414"/>
              <a:gd name="csY172" fmla="*/ 554288 h 2076207"/>
              <a:gd name="csX173" fmla="*/ 348836 w 729414"/>
              <a:gd name="csY173" fmla="*/ 684115 h 2076207"/>
              <a:gd name="csX174" fmla="*/ 281333 w 729414"/>
              <a:gd name="csY174" fmla="*/ 683313 h 2076207"/>
              <a:gd name="csX175" fmla="*/ 212728 w 729414"/>
              <a:gd name="csY175" fmla="*/ 681931 h 2076207"/>
              <a:gd name="csX176" fmla="*/ 187283 w 729414"/>
              <a:gd name="csY176" fmla="*/ 689555 h 2076207"/>
              <a:gd name="csX177" fmla="*/ 186163 w 729414"/>
              <a:gd name="csY177" fmla="*/ 718266 h 2076207"/>
              <a:gd name="csX178" fmla="*/ 209894 w 729414"/>
              <a:gd name="csY178" fmla="*/ 726798 h 2076207"/>
              <a:gd name="csX179" fmla="*/ 334814 w 729414"/>
              <a:gd name="csY179" fmla="*/ 732494 h 2076207"/>
              <a:gd name="csX180" fmla="*/ 364856 w 729414"/>
              <a:gd name="csY180" fmla="*/ 707963 h 2076207"/>
              <a:gd name="csX181" fmla="*/ 348836 w 729414"/>
              <a:gd name="csY181" fmla="*/ 684115 h 2076207"/>
              <a:gd name="csX182" fmla="*/ 298865 w 729414"/>
              <a:gd name="csY182" fmla="*/ 621954 h 2076207"/>
              <a:gd name="csX183" fmla="*/ 251619 w 729414"/>
              <a:gd name="csY183" fmla="*/ 622133 h 2076207"/>
              <a:gd name="csX184" fmla="*/ 214459 w 729414"/>
              <a:gd name="csY184" fmla="*/ 636230 h 2076207"/>
              <a:gd name="csX185" fmla="*/ 221436 w 729414"/>
              <a:gd name="csY185" fmla="*/ 654205 h 2076207"/>
              <a:gd name="csX186" fmla="*/ 272412 w 729414"/>
              <a:gd name="csY186" fmla="*/ 657250 h 2076207"/>
              <a:gd name="csX187" fmla="*/ 349094 w 729414"/>
              <a:gd name="csY187" fmla="*/ 659282 h 2076207"/>
              <a:gd name="csX188" fmla="*/ 362996 w 729414"/>
              <a:gd name="csY188" fmla="*/ 644234 h 2076207"/>
              <a:gd name="csX189" fmla="*/ 348472 w 729414"/>
              <a:gd name="csY189" fmla="*/ 624649 h 2076207"/>
              <a:gd name="csX190" fmla="*/ 298865 w 729414"/>
              <a:gd name="csY190" fmla="*/ 621954 h 2076207"/>
              <a:gd name="csX191" fmla="*/ 227796 w 729414"/>
              <a:gd name="csY191" fmla="*/ 528000 h 2076207"/>
              <a:gd name="csX192" fmla="*/ 241009 w 729414"/>
              <a:gd name="csY192" fmla="*/ 545897 h 2076207"/>
              <a:gd name="csX193" fmla="*/ 282607 w 729414"/>
              <a:gd name="csY193" fmla="*/ 543480 h 2076207"/>
              <a:gd name="csX194" fmla="*/ 354213 w 729414"/>
              <a:gd name="csY194" fmla="*/ 543384 h 2076207"/>
              <a:gd name="csX195" fmla="*/ 365334 w 729414"/>
              <a:gd name="csY195" fmla="*/ 533397 h 2076207"/>
              <a:gd name="csX196" fmla="*/ 354531 w 729414"/>
              <a:gd name="csY196" fmla="*/ 521620 h 2076207"/>
              <a:gd name="csX197" fmla="*/ 259169 w 729414"/>
              <a:gd name="csY197" fmla="*/ 521978 h 2076207"/>
              <a:gd name="csX198" fmla="*/ 227796 w 729414"/>
              <a:gd name="csY198" fmla="*/ 528000 h 2076207"/>
              <a:gd name="csX199" fmla="*/ 508068 w 729414"/>
              <a:gd name="csY199" fmla="*/ 190710 h 2076207"/>
              <a:gd name="csX200" fmla="*/ 521293 w 729414"/>
              <a:gd name="csY200" fmla="*/ 205907 h 2076207"/>
              <a:gd name="csX201" fmla="*/ 525175 w 729414"/>
              <a:gd name="csY201" fmla="*/ 202985 h 2076207"/>
              <a:gd name="csX202" fmla="*/ 500276 w 729414"/>
              <a:gd name="csY202" fmla="*/ 160640 h 2076207"/>
              <a:gd name="csX203" fmla="*/ 497122 w 729414"/>
              <a:gd name="csY203" fmla="*/ 162007 h 2076207"/>
              <a:gd name="csX204" fmla="*/ 508068 w 729414"/>
              <a:gd name="csY204" fmla="*/ 190710 h 2076207"/>
              <a:gd name="csX205" fmla="*/ 215522 w 729414"/>
              <a:gd name="csY205" fmla="*/ 197296 h 2076207"/>
              <a:gd name="csX206" fmla="*/ 234029 w 729414"/>
              <a:gd name="csY206" fmla="*/ 162725 h 2076207"/>
              <a:gd name="csX207" fmla="*/ 229000 w 729414"/>
              <a:gd name="csY207" fmla="*/ 159902 h 2076207"/>
              <a:gd name="csX208" fmla="*/ 204824 w 729414"/>
              <a:gd name="csY208" fmla="*/ 199677 h 2076207"/>
              <a:gd name="csX209" fmla="*/ 207990 w 729414"/>
              <a:gd name="csY209" fmla="*/ 202198 h 2076207"/>
              <a:gd name="csX210" fmla="*/ 215522 w 729414"/>
              <a:gd name="csY210" fmla="*/ 197296 h 2076207"/>
              <a:gd name="csX211" fmla="*/ 484400 w 729414"/>
              <a:gd name="csY211" fmla="*/ 896678 h 2076207"/>
              <a:gd name="csX212" fmla="*/ 486181 w 729414"/>
              <a:gd name="csY212" fmla="*/ 896585 h 2076207"/>
              <a:gd name="csX213" fmla="*/ 486181 w 729414"/>
              <a:gd name="csY213" fmla="*/ 795289 h 2076207"/>
              <a:gd name="csX214" fmla="*/ 720241 w 729414"/>
              <a:gd name="csY214" fmla="*/ 2030666 h 2076207"/>
              <a:gd name="csX215" fmla="*/ 721175 w 729414"/>
              <a:gd name="csY215" fmla="*/ 2029733 h 2076207"/>
              <a:gd name="csX216" fmla="*/ 720241 w 729414"/>
              <a:gd name="csY216" fmla="*/ 2030666 h 2076207"/>
              <a:gd name="csX217" fmla="*/ 715702 w 729414"/>
              <a:gd name="csY217" fmla="*/ 2037051 h 2076207"/>
              <a:gd name="csX218" fmla="*/ 715702 w 729414"/>
              <a:gd name="csY218" fmla="*/ 2037051 h 2076207"/>
              <a:gd name="csX0" fmla="*/ 96263 w 765535"/>
              <a:gd name="csY0" fmla="*/ 2076207 h 2076207"/>
              <a:gd name="csX1" fmla="*/ 63862 w 765535"/>
              <a:gd name="csY1" fmla="*/ 2065388 h 2076207"/>
              <a:gd name="csX2" fmla="*/ 16555 w 765535"/>
              <a:gd name="csY2" fmla="*/ 2050152 h 2076207"/>
              <a:gd name="csX3" fmla="*/ 15 w 765535"/>
              <a:gd name="csY3" fmla="*/ 2023802 h 2076207"/>
              <a:gd name="csX4" fmla="*/ 18368 w 765535"/>
              <a:gd name="csY4" fmla="*/ 1940709 h 2076207"/>
              <a:gd name="csX5" fmla="*/ 22139 w 765535"/>
              <a:gd name="csY5" fmla="*/ 1907268 h 2076207"/>
              <a:gd name="csX6" fmla="*/ 57941 w 765535"/>
              <a:gd name="csY6" fmla="*/ 1774163 h 2076207"/>
              <a:gd name="csX7" fmla="*/ 102478 w 765535"/>
              <a:gd name="csY7" fmla="*/ 1720275 h 2076207"/>
              <a:gd name="csX8" fmla="*/ 108579 w 765535"/>
              <a:gd name="csY8" fmla="*/ 1650967 h 2076207"/>
              <a:gd name="csX9" fmla="*/ 115628 w 765535"/>
              <a:gd name="csY9" fmla="*/ 1625405 h 2076207"/>
              <a:gd name="csX10" fmla="*/ 156323 w 765535"/>
              <a:gd name="csY10" fmla="*/ 1560181 h 2076207"/>
              <a:gd name="csX11" fmla="*/ 199424 w 765535"/>
              <a:gd name="csY11" fmla="*/ 1364729 h 2076207"/>
              <a:gd name="csX12" fmla="*/ 216779 w 765535"/>
              <a:gd name="csY12" fmla="*/ 1219490 h 2076207"/>
              <a:gd name="csX13" fmla="*/ 229755 w 765535"/>
              <a:gd name="csY13" fmla="*/ 1099357 h 2076207"/>
              <a:gd name="csX14" fmla="*/ 232707 w 765535"/>
              <a:gd name="csY14" fmla="*/ 1056423 h 2076207"/>
              <a:gd name="csX15" fmla="*/ 235622 w 765535"/>
              <a:gd name="csY15" fmla="*/ 952675 h 2076207"/>
              <a:gd name="csX16" fmla="*/ 235445 w 765535"/>
              <a:gd name="csY16" fmla="*/ 780278 h 2076207"/>
              <a:gd name="csX17" fmla="*/ 214544 w 765535"/>
              <a:gd name="csY17" fmla="*/ 756435 h 2076207"/>
              <a:gd name="csX18" fmla="*/ 172569 w 765535"/>
              <a:gd name="csY18" fmla="*/ 742582 h 2076207"/>
              <a:gd name="csX19" fmla="*/ 168784 w 765535"/>
              <a:gd name="csY19" fmla="*/ 669116 h 2076207"/>
              <a:gd name="csX20" fmla="*/ 191657 w 765535"/>
              <a:gd name="csY20" fmla="*/ 630765 h 2076207"/>
              <a:gd name="csX21" fmla="*/ 208150 w 765535"/>
              <a:gd name="csY21" fmla="*/ 609084 h 2076207"/>
              <a:gd name="csX22" fmla="*/ 216756 w 765535"/>
              <a:gd name="csY22" fmla="*/ 558673 h 2076207"/>
              <a:gd name="csX23" fmla="*/ 209092 w 765535"/>
              <a:gd name="csY23" fmla="*/ 521540 h 2076207"/>
              <a:gd name="csX24" fmla="*/ 204683 w 765535"/>
              <a:gd name="csY24" fmla="*/ 474024 h 2076207"/>
              <a:gd name="csX25" fmla="*/ 115483 w 765535"/>
              <a:gd name="csY25" fmla="*/ 213499 h 2076207"/>
              <a:gd name="csX26" fmla="*/ 102909 w 765535"/>
              <a:gd name="csY26" fmla="*/ 182297 h 2076207"/>
              <a:gd name="csX27" fmla="*/ 104315 w 765535"/>
              <a:gd name="csY27" fmla="*/ 163968 h 2076207"/>
              <a:gd name="csX28" fmla="*/ 122444 w 765535"/>
              <a:gd name="csY28" fmla="*/ 160805 h 2076207"/>
              <a:gd name="csX29" fmla="*/ 170283 w 765535"/>
              <a:gd name="csY29" fmla="*/ 187783 h 2076207"/>
              <a:gd name="csX30" fmla="*/ 180938 w 765535"/>
              <a:gd name="csY30" fmla="*/ 195322 h 2076207"/>
              <a:gd name="csX31" fmla="*/ 221419 w 765535"/>
              <a:gd name="csY31" fmla="*/ 138058 h 2076207"/>
              <a:gd name="csX32" fmla="*/ 294099 w 765535"/>
              <a:gd name="csY32" fmla="*/ 91372 h 2076207"/>
              <a:gd name="csX33" fmla="*/ 302307 w 765535"/>
              <a:gd name="csY33" fmla="*/ 76560 h 2076207"/>
              <a:gd name="csX34" fmla="*/ 320284 w 765535"/>
              <a:gd name="csY34" fmla="*/ 8414 h 2076207"/>
              <a:gd name="csX35" fmla="*/ 324784 w 765535"/>
              <a:gd name="csY35" fmla="*/ 946 h 2076207"/>
              <a:gd name="csX36" fmla="*/ 399212 w 765535"/>
              <a:gd name="csY36" fmla="*/ 0 h 2076207"/>
              <a:gd name="csX37" fmla="*/ 425980 w 765535"/>
              <a:gd name="csY37" fmla="*/ 78301 h 2076207"/>
              <a:gd name="csX38" fmla="*/ 431861 w 765535"/>
              <a:gd name="csY38" fmla="*/ 90312 h 2076207"/>
              <a:gd name="csX39" fmla="*/ 540349 w 765535"/>
              <a:gd name="csY39" fmla="*/ 187946 h 2076207"/>
              <a:gd name="csX40" fmla="*/ 545555 w 765535"/>
              <a:gd name="csY40" fmla="*/ 197828 h 2076207"/>
              <a:gd name="csX41" fmla="*/ 587318 w 765535"/>
              <a:gd name="csY41" fmla="*/ 171260 h 2076207"/>
              <a:gd name="csX42" fmla="*/ 601503 w 765535"/>
              <a:gd name="csY42" fmla="*/ 163707 h 2076207"/>
              <a:gd name="csX43" fmla="*/ 625254 w 765535"/>
              <a:gd name="csY43" fmla="*/ 163123 h 2076207"/>
              <a:gd name="csX44" fmla="*/ 625468 w 765535"/>
              <a:gd name="csY44" fmla="*/ 187579 h 2076207"/>
              <a:gd name="csX45" fmla="*/ 597543 w 765535"/>
              <a:gd name="csY45" fmla="*/ 251872 h 2076207"/>
              <a:gd name="csX46" fmla="*/ 531831 w 765535"/>
              <a:gd name="csY46" fmla="*/ 442689 h 2076207"/>
              <a:gd name="csX47" fmla="*/ 519888 w 765535"/>
              <a:gd name="csY47" fmla="*/ 501474 h 2076207"/>
              <a:gd name="csX48" fmla="*/ 522506 w 765535"/>
              <a:gd name="csY48" fmla="*/ 525086 h 2076207"/>
              <a:gd name="csX49" fmla="*/ 516235 w 765535"/>
              <a:gd name="csY49" fmla="*/ 555946 h 2076207"/>
              <a:gd name="csX50" fmla="*/ 521332 w 765535"/>
              <a:gd name="csY50" fmla="*/ 610676 h 2076207"/>
              <a:gd name="csX51" fmla="*/ 541382 w 765535"/>
              <a:gd name="csY51" fmla="*/ 642597 h 2076207"/>
              <a:gd name="csX52" fmla="*/ 557031 w 765535"/>
              <a:gd name="csY52" fmla="*/ 667949 h 2076207"/>
              <a:gd name="csX53" fmla="*/ 553994 w 765535"/>
              <a:gd name="csY53" fmla="*/ 744146 h 2076207"/>
              <a:gd name="csX54" fmla="*/ 508215 w 765535"/>
              <a:gd name="csY54" fmla="*/ 758841 h 2076207"/>
              <a:gd name="csX55" fmla="*/ 497442 w 765535"/>
              <a:gd name="csY55" fmla="*/ 771256 h 2076207"/>
              <a:gd name="csX56" fmla="*/ 493005 w 765535"/>
              <a:gd name="csY56" fmla="*/ 922055 h 2076207"/>
              <a:gd name="csX57" fmla="*/ 502900 w 765535"/>
              <a:gd name="csY57" fmla="*/ 1114191 h 2076207"/>
              <a:gd name="csX58" fmla="*/ 508800 w 765535"/>
              <a:gd name="csY58" fmla="*/ 1205474 h 2076207"/>
              <a:gd name="csX59" fmla="*/ 522952 w 765535"/>
              <a:gd name="csY59" fmla="*/ 1320065 h 2076207"/>
              <a:gd name="csX60" fmla="*/ 554682 w 765535"/>
              <a:gd name="csY60" fmla="*/ 1501203 h 2076207"/>
              <a:gd name="csX61" fmla="*/ 576958 w 765535"/>
              <a:gd name="csY61" fmla="*/ 1593963 h 2076207"/>
              <a:gd name="csX62" fmla="*/ 595349 w 765535"/>
              <a:gd name="csY62" fmla="*/ 1613498 h 2076207"/>
              <a:gd name="csX63" fmla="*/ 613936 w 765535"/>
              <a:gd name="csY63" fmla="*/ 1624058 h 2076207"/>
              <a:gd name="csX64" fmla="*/ 620938 w 765535"/>
              <a:gd name="csY64" fmla="*/ 1652071 h 2076207"/>
              <a:gd name="csX65" fmla="*/ 630805 w 765535"/>
              <a:gd name="csY65" fmla="*/ 1721702 h 2076207"/>
              <a:gd name="csX66" fmla="*/ 685830 w 765535"/>
              <a:gd name="csY66" fmla="*/ 1792915 h 2076207"/>
              <a:gd name="csX67" fmla="*/ 708904 w 765535"/>
              <a:gd name="csY67" fmla="*/ 1890290 h 2076207"/>
              <a:gd name="csX68" fmla="*/ 716580 w 765535"/>
              <a:gd name="csY68" fmla="*/ 1951136 h 2076207"/>
              <a:gd name="csX69" fmla="*/ 729397 w 765535"/>
              <a:gd name="csY69" fmla="*/ 2030261 h 2076207"/>
              <a:gd name="csX70" fmla="*/ 714212 w 765535"/>
              <a:gd name="csY70" fmla="*/ 2049544 h 2076207"/>
              <a:gd name="csX71" fmla="*/ 96263 w 765535"/>
              <a:gd name="csY71" fmla="*/ 2076207 h 2076207"/>
              <a:gd name="csX72" fmla="*/ 489970 w 765535"/>
              <a:gd name="csY72" fmla="*/ 152208 h 2076207"/>
              <a:gd name="csX73" fmla="*/ 490754 w 765535"/>
              <a:gd name="csY73" fmla="*/ 152592 h 2076207"/>
              <a:gd name="csX74" fmla="*/ 489489 w 765535"/>
              <a:gd name="csY74" fmla="*/ 149547 h 2076207"/>
              <a:gd name="csX75" fmla="*/ 393621 w 765535"/>
              <a:gd name="csY75" fmla="*/ 99259 h 2076207"/>
              <a:gd name="csX76" fmla="*/ 390419 w 765535"/>
              <a:gd name="csY76" fmla="*/ 18568 h 2076207"/>
              <a:gd name="csX77" fmla="*/ 334131 w 765535"/>
              <a:gd name="csY77" fmla="*/ 24327 h 2076207"/>
              <a:gd name="csX78" fmla="*/ 344678 w 765535"/>
              <a:gd name="csY78" fmla="*/ 101259 h 2076207"/>
              <a:gd name="csX79" fmla="*/ 298854 w 765535"/>
              <a:gd name="csY79" fmla="*/ 114003 h 2076207"/>
              <a:gd name="csX80" fmla="*/ 237456 w 765535"/>
              <a:gd name="csY80" fmla="*/ 154340 h 2076207"/>
              <a:gd name="csX81" fmla="*/ 240382 w 765535"/>
              <a:gd name="csY81" fmla="*/ 154035 h 2076207"/>
              <a:gd name="csX82" fmla="*/ 262731 w 765535"/>
              <a:gd name="csY82" fmla="*/ 170426 h 2076207"/>
              <a:gd name="csX83" fmla="*/ 279169 w 765535"/>
              <a:gd name="csY83" fmla="*/ 193173 h 2076207"/>
              <a:gd name="csX84" fmla="*/ 327717 w 765535"/>
              <a:gd name="csY84" fmla="*/ 188556 h 2076207"/>
              <a:gd name="csX85" fmla="*/ 348052 w 765535"/>
              <a:gd name="csY85" fmla="*/ 156919 h 2076207"/>
              <a:gd name="csX86" fmla="*/ 380330 w 765535"/>
              <a:gd name="csY86" fmla="*/ 156483 h 2076207"/>
              <a:gd name="csX87" fmla="*/ 408490 w 765535"/>
              <a:gd name="csY87" fmla="*/ 195400 h 2076207"/>
              <a:gd name="csX88" fmla="*/ 445346 w 765535"/>
              <a:gd name="csY88" fmla="*/ 197582 h 2076207"/>
              <a:gd name="csX89" fmla="*/ 464798 w 765535"/>
              <a:gd name="csY89" fmla="*/ 174107 h 2076207"/>
              <a:gd name="csX90" fmla="*/ 489970 w 765535"/>
              <a:gd name="csY90" fmla="*/ 152208 h 2076207"/>
              <a:gd name="csX91" fmla="*/ 140694 w 765535"/>
              <a:gd name="csY91" fmla="*/ 201837 h 2076207"/>
              <a:gd name="csX92" fmla="*/ 139834 w 765535"/>
              <a:gd name="csY92" fmla="*/ 201482 h 2076207"/>
              <a:gd name="csX93" fmla="*/ 140812 w 765535"/>
              <a:gd name="csY93" fmla="*/ 204941 h 2076207"/>
              <a:gd name="csX94" fmla="*/ 144631 w 765535"/>
              <a:gd name="csY94" fmla="*/ 217811 h 2076207"/>
              <a:gd name="csX95" fmla="*/ 201241 w 765535"/>
              <a:gd name="csY95" fmla="*/ 373387 h 2076207"/>
              <a:gd name="csX96" fmla="*/ 235971 w 765535"/>
              <a:gd name="csY96" fmla="*/ 504451 h 2076207"/>
              <a:gd name="csX97" fmla="*/ 247475 w 765535"/>
              <a:gd name="csY97" fmla="*/ 513241 h 2076207"/>
              <a:gd name="csX98" fmla="*/ 289066 w 765535"/>
              <a:gd name="csY98" fmla="*/ 511170 h 2076207"/>
              <a:gd name="csX99" fmla="*/ 378229 w 765535"/>
              <a:gd name="csY99" fmla="*/ 511084 h 2076207"/>
              <a:gd name="csX100" fmla="*/ 470850 w 765535"/>
              <a:gd name="csY100" fmla="*/ 516341 h 2076207"/>
              <a:gd name="csX101" fmla="*/ 492933 w 765535"/>
              <a:gd name="csY101" fmla="*/ 497969 h 2076207"/>
              <a:gd name="csX102" fmla="*/ 557617 w 765535"/>
              <a:gd name="csY102" fmla="*/ 280398 h 2076207"/>
              <a:gd name="csX103" fmla="*/ 588788 w 765535"/>
              <a:gd name="csY103" fmla="*/ 200385 h 2076207"/>
              <a:gd name="csX104" fmla="*/ 530958 w 765535"/>
              <a:gd name="csY104" fmla="*/ 232968 h 2076207"/>
              <a:gd name="csX105" fmla="*/ 483823 w 765535"/>
              <a:gd name="csY105" fmla="*/ 190364 h 2076207"/>
              <a:gd name="csX106" fmla="*/ 466649 w 765535"/>
              <a:gd name="csY106" fmla="*/ 209061 h 2076207"/>
              <a:gd name="csX107" fmla="*/ 399941 w 765535"/>
              <a:gd name="csY107" fmla="*/ 216988 h 2076207"/>
              <a:gd name="csX108" fmla="*/ 363018 w 765535"/>
              <a:gd name="csY108" fmla="*/ 179615 h 2076207"/>
              <a:gd name="csX109" fmla="*/ 308839 w 765535"/>
              <a:gd name="csY109" fmla="*/ 227846 h 2076207"/>
              <a:gd name="csX110" fmla="*/ 245077 w 765535"/>
              <a:gd name="csY110" fmla="*/ 192402 h 2076207"/>
              <a:gd name="csX111" fmla="*/ 242829 w 765535"/>
              <a:gd name="csY111" fmla="*/ 198815 h 2076207"/>
              <a:gd name="csX112" fmla="*/ 168452 w 765535"/>
              <a:gd name="csY112" fmla="*/ 219348 h 2076207"/>
              <a:gd name="csX113" fmla="*/ 140694 w 765535"/>
              <a:gd name="csY113" fmla="*/ 201837 h 2076207"/>
              <a:gd name="csX114" fmla="*/ 259999 w 765535"/>
              <a:gd name="csY114" fmla="*/ 966699 h 2076207"/>
              <a:gd name="csX115" fmla="*/ 257072 w 765535"/>
              <a:gd name="csY115" fmla="*/ 1070424 h 2076207"/>
              <a:gd name="csX116" fmla="*/ 251372 w 765535"/>
              <a:gd name="csY116" fmla="*/ 1157618 h 2076207"/>
              <a:gd name="csX117" fmla="*/ 232677 w 765535"/>
              <a:gd name="csY117" fmla="*/ 1320279 h 2076207"/>
              <a:gd name="csX118" fmla="*/ 209182 w 765535"/>
              <a:gd name="csY118" fmla="*/ 1468667 h 2076207"/>
              <a:gd name="csX119" fmla="*/ 175302 w 765535"/>
              <a:gd name="csY119" fmla="*/ 1616623 h 2076207"/>
              <a:gd name="csX120" fmla="*/ 182769 w 765535"/>
              <a:gd name="csY120" fmla="*/ 1629786 h 2076207"/>
              <a:gd name="csX121" fmla="*/ 212156 w 765535"/>
              <a:gd name="csY121" fmla="*/ 1632656 h 2076207"/>
              <a:gd name="csX122" fmla="*/ 351295 w 765535"/>
              <a:gd name="csY122" fmla="*/ 1632801 h 2076207"/>
              <a:gd name="csX123" fmla="*/ 376150 w 765535"/>
              <a:gd name="csY123" fmla="*/ 1608307 h 2076207"/>
              <a:gd name="csX124" fmla="*/ 373450 w 765535"/>
              <a:gd name="csY124" fmla="*/ 1457291 h 2076207"/>
              <a:gd name="csX125" fmla="*/ 370936 w 765535"/>
              <a:gd name="csY125" fmla="*/ 1342736 h 2076207"/>
              <a:gd name="csX126" fmla="*/ 368328 w 765535"/>
              <a:gd name="csY126" fmla="*/ 1203878 h 2076207"/>
              <a:gd name="csX127" fmla="*/ 367836 w 765535"/>
              <a:gd name="csY127" fmla="*/ 813478 h 2076207"/>
              <a:gd name="csX128" fmla="*/ 365240 w 765535"/>
              <a:gd name="csY128" fmla="*/ 773243 h 2076207"/>
              <a:gd name="csX129" fmla="*/ 353084 w 765535"/>
              <a:gd name="csY129" fmla="*/ 762083 h 2076207"/>
              <a:gd name="csX130" fmla="*/ 280966 w 765535"/>
              <a:gd name="csY130" fmla="*/ 759855 h 2076207"/>
              <a:gd name="csX131" fmla="*/ 259965 w 765535"/>
              <a:gd name="csY131" fmla="*/ 779553 h 2076207"/>
              <a:gd name="csX132" fmla="*/ 262341 w 765535"/>
              <a:gd name="csY132" fmla="*/ 856275 h 2076207"/>
              <a:gd name="csX133" fmla="*/ 259999 w 765535"/>
              <a:gd name="csY133" fmla="*/ 966699 h 2076207"/>
              <a:gd name="csX134" fmla="*/ 55556 w 765535"/>
              <a:gd name="csY134" fmla="*/ 1835827 h 2076207"/>
              <a:gd name="csX135" fmla="*/ 49393 w 765535"/>
              <a:gd name="csY135" fmla="*/ 1878155 h 2076207"/>
              <a:gd name="csX136" fmla="*/ 73949 w 765535"/>
              <a:gd name="csY136" fmla="*/ 1905781 h 2076207"/>
              <a:gd name="csX137" fmla="*/ 110073 w 765535"/>
              <a:gd name="csY137" fmla="*/ 1909068 h 2076207"/>
              <a:gd name="csX138" fmla="*/ 224745 w 765535"/>
              <a:gd name="csY138" fmla="*/ 1921652 h 2076207"/>
              <a:gd name="csX139" fmla="*/ 347327 w 765535"/>
              <a:gd name="csY139" fmla="*/ 1924778 h 2076207"/>
              <a:gd name="csX140" fmla="*/ 363345 w 765535"/>
              <a:gd name="csY140" fmla="*/ 1923293 h 2076207"/>
              <a:gd name="csX141" fmla="*/ 373787 w 765535"/>
              <a:gd name="csY141" fmla="*/ 1911200 h 2076207"/>
              <a:gd name="csX142" fmla="*/ 376623 w 765535"/>
              <a:gd name="csY142" fmla="*/ 1696741 h 2076207"/>
              <a:gd name="csX143" fmla="*/ 360437 w 765535"/>
              <a:gd name="csY143" fmla="*/ 1681289 h 2076207"/>
              <a:gd name="csX144" fmla="*/ 263503 w 765535"/>
              <a:gd name="csY144" fmla="*/ 1678179 h 2076207"/>
              <a:gd name="csX145" fmla="*/ 160381 w 765535"/>
              <a:gd name="csY145" fmla="*/ 1670405 h 2076207"/>
              <a:gd name="csX146" fmla="*/ 143321 w 765535"/>
              <a:gd name="csY146" fmla="*/ 1685538 h 2076207"/>
              <a:gd name="csX147" fmla="*/ 124769 w 765535"/>
              <a:gd name="csY147" fmla="*/ 1738195 h 2076207"/>
              <a:gd name="csX148" fmla="*/ 90593 w 765535"/>
              <a:gd name="csY148" fmla="*/ 1779570 h 2076207"/>
              <a:gd name="csX149" fmla="*/ 55556 w 765535"/>
              <a:gd name="csY149" fmla="*/ 1835827 h 2076207"/>
              <a:gd name="csX150" fmla="*/ 378900 w 765535"/>
              <a:gd name="csY150" fmla="*/ 2007280 h 2076207"/>
              <a:gd name="csX151" fmla="*/ 378887 w 765535"/>
              <a:gd name="csY151" fmla="*/ 1995127 h 2076207"/>
              <a:gd name="csX152" fmla="*/ 359084 w 765535"/>
              <a:gd name="csY152" fmla="*/ 1975964 h 2076207"/>
              <a:gd name="csX153" fmla="*/ 247288 w 765535"/>
              <a:gd name="csY153" fmla="*/ 1973305 h 2076207"/>
              <a:gd name="csX154" fmla="*/ 201692 w 765535"/>
              <a:gd name="csY154" fmla="*/ 1970275 h 2076207"/>
              <a:gd name="csX155" fmla="*/ 57962 w 765535"/>
              <a:gd name="csY155" fmla="*/ 1952648 h 2076207"/>
              <a:gd name="csX156" fmla="*/ 39194 w 765535"/>
              <a:gd name="csY156" fmla="*/ 1963552 h 2076207"/>
              <a:gd name="csX157" fmla="*/ 30066 w 765535"/>
              <a:gd name="csY157" fmla="*/ 2006631 h 2076207"/>
              <a:gd name="csX158" fmla="*/ 40232 w 765535"/>
              <a:gd name="csY158" fmla="*/ 2019486 h 2076207"/>
              <a:gd name="csX159" fmla="*/ 238186 w 765535"/>
              <a:gd name="csY159" fmla="*/ 2046096 h 2076207"/>
              <a:gd name="csX160" fmla="*/ 342155 w 765535"/>
              <a:gd name="csY160" fmla="*/ 2046441 h 2076207"/>
              <a:gd name="csX161" fmla="*/ 378900 w 765535"/>
              <a:gd name="csY161" fmla="*/ 2007280 h 2076207"/>
              <a:gd name="csX162" fmla="*/ 310220 w 765535"/>
              <a:gd name="csY162" fmla="*/ 554288 h 2076207"/>
              <a:gd name="csX163" fmla="*/ 259136 w 765535"/>
              <a:gd name="csY163" fmla="*/ 556881 h 2076207"/>
              <a:gd name="csX164" fmla="*/ 249085 w 765535"/>
              <a:gd name="csY164" fmla="*/ 567981 h 2076207"/>
              <a:gd name="csX165" fmla="*/ 249141 w 765535"/>
              <a:gd name="csY165" fmla="*/ 605644 h 2076207"/>
              <a:gd name="csX166" fmla="*/ 262628 w 765535"/>
              <a:gd name="csY166" fmla="*/ 605627 h 2076207"/>
              <a:gd name="csX167" fmla="*/ 369608 w 765535"/>
              <a:gd name="csY167" fmla="*/ 603027 h 2076207"/>
              <a:gd name="csX168" fmla="*/ 463931 w 765535"/>
              <a:gd name="csY168" fmla="*/ 605146 h 2076207"/>
              <a:gd name="csX169" fmla="*/ 478113 w 765535"/>
              <a:gd name="csY169" fmla="*/ 595843 h 2076207"/>
              <a:gd name="csX170" fmla="*/ 478796 w 765535"/>
              <a:gd name="csY170" fmla="*/ 556832 h 2076207"/>
              <a:gd name="csX171" fmla="*/ 310220 w 765535"/>
              <a:gd name="csY171" fmla="*/ 554288 h 2076207"/>
              <a:gd name="csX172" fmla="*/ 348836 w 765535"/>
              <a:gd name="csY172" fmla="*/ 684115 h 2076207"/>
              <a:gd name="csX173" fmla="*/ 281333 w 765535"/>
              <a:gd name="csY173" fmla="*/ 683313 h 2076207"/>
              <a:gd name="csX174" fmla="*/ 212728 w 765535"/>
              <a:gd name="csY174" fmla="*/ 681931 h 2076207"/>
              <a:gd name="csX175" fmla="*/ 187283 w 765535"/>
              <a:gd name="csY175" fmla="*/ 689555 h 2076207"/>
              <a:gd name="csX176" fmla="*/ 186163 w 765535"/>
              <a:gd name="csY176" fmla="*/ 718266 h 2076207"/>
              <a:gd name="csX177" fmla="*/ 209894 w 765535"/>
              <a:gd name="csY177" fmla="*/ 726798 h 2076207"/>
              <a:gd name="csX178" fmla="*/ 334814 w 765535"/>
              <a:gd name="csY178" fmla="*/ 732494 h 2076207"/>
              <a:gd name="csX179" fmla="*/ 364856 w 765535"/>
              <a:gd name="csY179" fmla="*/ 707963 h 2076207"/>
              <a:gd name="csX180" fmla="*/ 348836 w 765535"/>
              <a:gd name="csY180" fmla="*/ 684115 h 2076207"/>
              <a:gd name="csX181" fmla="*/ 298865 w 765535"/>
              <a:gd name="csY181" fmla="*/ 621954 h 2076207"/>
              <a:gd name="csX182" fmla="*/ 251619 w 765535"/>
              <a:gd name="csY182" fmla="*/ 622133 h 2076207"/>
              <a:gd name="csX183" fmla="*/ 214459 w 765535"/>
              <a:gd name="csY183" fmla="*/ 636230 h 2076207"/>
              <a:gd name="csX184" fmla="*/ 221436 w 765535"/>
              <a:gd name="csY184" fmla="*/ 654205 h 2076207"/>
              <a:gd name="csX185" fmla="*/ 272412 w 765535"/>
              <a:gd name="csY185" fmla="*/ 657250 h 2076207"/>
              <a:gd name="csX186" fmla="*/ 349094 w 765535"/>
              <a:gd name="csY186" fmla="*/ 659282 h 2076207"/>
              <a:gd name="csX187" fmla="*/ 362996 w 765535"/>
              <a:gd name="csY187" fmla="*/ 644234 h 2076207"/>
              <a:gd name="csX188" fmla="*/ 348472 w 765535"/>
              <a:gd name="csY188" fmla="*/ 624649 h 2076207"/>
              <a:gd name="csX189" fmla="*/ 298865 w 765535"/>
              <a:gd name="csY189" fmla="*/ 621954 h 2076207"/>
              <a:gd name="csX190" fmla="*/ 227796 w 765535"/>
              <a:gd name="csY190" fmla="*/ 528000 h 2076207"/>
              <a:gd name="csX191" fmla="*/ 241009 w 765535"/>
              <a:gd name="csY191" fmla="*/ 545897 h 2076207"/>
              <a:gd name="csX192" fmla="*/ 282607 w 765535"/>
              <a:gd name="csY192" fmla="*/ 543480 h 2076207"/>
              <a:gd name="csX193" fmla="*/ 354213 w 765535"/>
              <a:gd name="csY193" fmla="*/ 543384 h 2076207"/>
              <a:gd name="csX194" fmla="*/ 365334 w 765535"/>
              <a:gd name="csY194" fmla="*/ 533397 h 2076207"/>
              <a:gd name="csX195" fmla="*/ 354531 w 765535"/>
              <a:gd name="csY195" fmla="*/ 521620 h 2076207"/>
              <a:gd name="csX196" fmla="*/ 259169 w 765535"/>
              <a:gd name="csY196" fmla="*/ 521978 h 2076207"/>
              <a:gd name="csX197" fmla="*/ 227796 w 765535"/>
              <a:gd name="csY197" fmla="*/ 528000 h 2076207"/>
              <a:gd name="csX198" fmla="*/ 508068 w 765535"/>
              <a:gd name="csY198" fmla="*/ 190710 h 2076207"/>
              <a:gd name="csX199" fmla="*/ 521293 w 765535"/>
              <a:gd name="csY199" fmla="*/ 205907 h 2076207"/>
              <a:gd name="csX200" fmla="*/ 525175 w 765535"/>
              <a:gd name="csY200" fmla="*/ 202985 h 2076207"/>
              <a:gd name="csX201" fmla="*/ 500276 w 765535"/>
              <a:gd name="csY201" fmla="*/ 160640 h 2076207"/>
              <a:gd name="csX202" fmla="*/ 497122 w 765535"/>
              <a:gd name="csY202" fmla="*/ 162007 h 2076207"/>
              <a:gd name="csX203" fmla="*/ 508068 w 765535"/>
              <a:gd name="csY203" fmla="*/ 190710 h 2076207"/>
              <a:gd name="csX204" fmla="*/ 215522 w 765535"/>
              <a:gd name="csY204" fmla="*/ 197296 h 2076207"/>
              <a:gd name="csX205" fmla="*/ 234029 w 765535"/>
              <a:gd name="csY205" fmla="*/ 162725 h 2076207"/>
              <a:gd name="csX206" fmla="*/ 229000 w 765535"/>
              <a:gd name="csY206" fmla="*/ 159902 h 2076207"/>
              <a:gd name="csX207" fmla="*/ 204824 w 765535"/>
              <a:gd name="csY207" fmla="*/ 199677 h 2076207"/>
              <a:gd name="csX208" fmla="*/ 207990 w 765535"/>
              <a:gd name="csY208" fmla="*/ 202198 h 2076207"/>
              <a:gd name="csX209" fmla="*/ 215522 w 765535"/>
              <a:gd name="csY209" fmla="*/ 197296 h 2076207"/>
              <a:gd name="csX210" fmla="*/ 484400 w 765535"/>
              <a:gd name="csY210" fmla="*/ 896678 h 2076207"/>
              <a:gd name="csX211" fmla="*/ 486181 w 765535"/>
              <a:gd name="csY211" fmla="*/ 896585 h 2076207"/>
              <a:gd name="csX212" fmla="*/ 486181 w 765535"/>
              <a:gd name="csY212" fmla="*/ 795289 h 2076207"/>
              <a:gd name="csX213" fmla="*/ 720241 w 765535"/>
              <a:gd name="csY213" fmla="*/ 2030666 h 2076207"/>
              <a:gd name="csX214" fmla="*/ 721175 w 765535"/>
              <a:gd name="csY214" fmla="*/ 2029733 h 2076207"/>
              <a:gd name="csX215" fmla="*/ 720241 w 765535"/>
              <a:gd name="csY215" fmla="*/ 2030666 h 2076207"/>
              <a:gd name="csX216" fmla="*/ 715702 w 765535"/>
              <a:gd name="csY216" fmla="*/ 2037051 h 2076207"/>
              <a:gd name="csX217" fmla="*/ 715702 w 765535"/>
              <a:gd name="csY217" fmla="*/ 2037051 h 2076207"/>
              <a:gd name="csX0" fmla="*/ 96263 w 733006"/>
              <a:gd name="csY0" fmla="*/ 2076207 h 2076207"/>
              <a:gd name="csX1" fmla="*/ 63862 w 733006"/>
              <a:gd name="csY1" fmla="*/ 2065388 h 2076207"/>
              <a:gd name="csX2" fmla="*/ 16555 w 733006"/>
              <a:gd name="csY2" fmla="*/ 2050152 h 2076207"/>
              <a:gd name="csX3" fmla="*/ 15 w 733006"/>
              <a:gd name="csY3" fmla="*/ 2023802 h 2076207"/>
              <a:gd name="csX4" fmla="*/ 18368 w 733006"/>
              <a:gd name="csY4" fmla="*/ 1940709 h 2076207"/>
              <a:gd name="csX5" fmla="*/ 22139 w 733006"/>
              <a:gd name="csY5" fmla="*/ 1907268 h 2076207"/>
              <a:gd name="csX6" fmla="*/ 57941 w 733006"/>
              <a:gd name="csY6" fmla="*/ 1774163 h 2076207"/>
              <a:gd name="csX7" fmla="*/ 102478 w 733006"/>
              <a:gd name="csY7" fmla="*/ 1720275 h 2076207"/>
              <a:gd name="csX8" fmla="*/ 108579 w 733006"/>
              <a:gd name="csY8" fmla="*/ 1650967 h 2076207"/>
              <a:gd name="csX9" fmla="*/ 115628 w 733006"/>
              <a:gd name="csY9" fmla="*/ 1625405 h 2076207"/>
              <a:gd name="csX10" fmla="*/ 156323 w 733006"/>
              <a:gd name="csY10" fmla="*/ 1560181 h 2076207"/>
              <a:gd name="csX11" fmla="*/ 199424 w 733006"/>
              <a:gd name="csY11" fmla="*/ 1364729 h 2076207"/>
              <a:gd name="csX12" fmla="*/ 216779 w 733006"/>
              <a:gd name="csY12" fmla="*/ 1219490 h 2076207"/>
              <a:gd name="csX13" fmla="*/ 229755 w 733006"/>
              <a:gd name="csY13" fmla="*/ 1099357 h 2076207"/>
              <a:gd name="csX14" fmla="*/ 232707 w 733006"/>
              <a:gd name="csY14" fmla="*/ 1056423 h 2076207"/>
              <a:gd name="csX15" fmla="*/ 235622 w 733006"/>
              <a:gd name="csY15" fmla="*/ 952675 h 2076207"/>
              <a:gd name="csX16" fmla="*/ 235445 w 733006"/>
              <a:gd name="csY16" fmla="*/ 780278 h 2076207"/>
              <a:gd name="csX17" fmla="*/ 214544 w 733006"/>
              <a:gd name="csY17" fmla="*/ 756435 h 2076207"/>
              <a:gd name="csX18" fmla="*/ 172569 w 733006"/>
              <a:gd name="csY18" fmla="*/ 742582 h 2076207"/>
              <a:gd name="csX19" fmla="*/ 168784 w 733006"/>
              <a:gd name="csY19" fmla="*/ 669116 h 2076207"/>
              <a:gd name="csX20" fmla="*/ 191657 w 733006"/>
              <a:gd name="csY20" fmla="*/ 630765 h 2076207"/>
              <a:gd name="csX21" fmla="*/ 208150 w 733006"/>
              <a:gd name="csY21" fmla="*/ 609084 h 2076207"/>
              <a:gd name="csX22" fmla="*/ 216756 w 733006"/>
              <a:gd name="csY22" fmla="*/ 558673 h 2076207"/>
              <a:gd name="csX23" fmla="*/ 209092 w 733006"/>
              <a:gd name="csY23" fmla="*/ 521540 h 2076207"/>
              <a:gd name="csX24" fmla="*/ 204683 w 733006"/>
              <a:gd name="csY24" fmla="*/ 474024 h 2076207"/>
              <a:gd name="csX25" fmla="*/ 115483 w 733006"/>
              <a:gd name="csY25" fmla="*/ 213499 h 2076207"/>
              <a:gd name="csX26" fmla="*/ 102909 w 733006"/>
              <a:gd name="csY26" fmla="*/ 182297 h 2076207"/>
              <a:gd name="csX27" fmla="*/ 104315 w 733006"/>
              <a:gd name="csY27" fmla="*/ 163968 h 2076207"/>
              <a:gd name="csX28" fmla="*/ 122444 w 733006"/>
              <a:gd name="csY28" fmla="*/ 160805 h 2076207"/>
              <a:gd name="csX29" fmla="*/ 170283 w 733006"/>
              <a:gd name="csY29" fmla="*/ 187783 h 2076207"/>
              <a:gd name="csX30" fmla="*/ 180938 w 733006"/>
              <a:gd name="csY30" fmla="*/ 195322 h 2076207"/>
              <a:gd name="csX31" fmla="*/ 221419 w 733006"/>
              <a:gd name="csY31" fmla="*/ 138058 h 2076207"/>
              <a:gd name="csX32" fmla="*/ 294099 w 733006"/>
              <a:gd name="csY32" fmla="*/ 91372 h 2076207"/>
              <a:gd name="csX33" fmla="*/ 302307 w 733006"/>
              <a:gd name="csY33" fmla="*/ 76560 h 2076207"/>
              <a:gd name="csX34" fmla="*/ 320284 w 733006"/>
              <a:gd name="csY34" fmla="*/ 8414 h 2076207"/>
              <a:gd name="csX35" fmla="*/ 324784 w 733006"/>
              <a:gd name="csY35" fmla="*/ 946 h 2076207"/>
              <a:gd name="csX36" fmla="*/ 399212 w 733006"/>
              <a:gd name="csY36" fmla="*/ 0 h 2076207"/>
              <a:gd name="csX37" fmla="*/ 425980 w 733006"/>
              <a:gd name="csY37" fmla="*/ 78301 h 2076207"/>
              <a:gd name="csX38" fmla="*/ 431861 w 733006"/>
              <a:gd name="csY38" fmla="*/ 90312 h 2076207"/>
              <a:gd name="csX39" fmla="*/ 540349 w 733006"/>
              <a:gd name="csY39" fmla="*/ 187946 h 2076207"/>
              <a:gd name="csX40" fmla="*/ 545555 w 733006"/>
              <a:gd name="csY40" fmla="*/ 197828 h 2076207"/>
              <a:gd name="csX41" fmla="*/ 587318 w 733006"/>
              <a:gd name="csY41" fmla="*/ 171260 h 2076207"/>
              <a:gd name="csX42" fmla="*/ 601503 w 733006"/>
              <a:gd name="csY42" fmla="*/ 163707 h 2076207"/>
              <a:gd name="csX43" fmla="*/ 625254 w 733006"/>
              <a:gd name="csY43" fmla="*/ 163123 h 2076207"/>
              <a:gd name="csX44" fmla="*/ 625468 w 733006"/>
              <a:gd name="csY44" fmla="*/ 187579 h 2076207"/>
              <a:gd name="csX45" fmla="*/ 597543 w 733006"/>
              <a:gd name="csY45" fmla="*/ 251872 h 2076207"/>
              <a:gd name="csX46" fmla="*/ 531831 w 733006"/>
              <a:gd name="csY46" fmla="*/ 442689 h 2076207"/>
              <a:gd name="csX47" fmla="*/ 519888 w 733006"/>
              <a:gd name="csY47" fmla="*/ 501474 h 2076207"/>
              <a:gd name="csX48" fmla="*/ 522506 w 733006"/>
              <a:gd name="csY48" fmla="*/ 525086 h 2076207"/>
              <a:gd name="csX49" fmla="*/ 516235 w 733006"/>
              <a:gd name="csY49" fmla="*/ 555946 h 2076207"/>
              <a:gd name="csX50" fmla="*/ 521332 w 733006"/>
              <a:gd name="csY50" fmla="*/ 610676 h 2076207"/>
              <a:gd name="csX51" fmla="*/ 541382 w 733006"/>
              <a:gd name="csY51" fmla="*/ 642597 h 2076207"/>
              <a:gd name="csX52" fmla="*/ 557031 w 733006"/>
              <a:gd name="csY52" fmla="*/ 667949 h 2076207"/>
              <a:gd name="csX53" fmla="*/ 553994 w 733006"/>
              <a:gd name="csY53" fmla="*/ 744146 h 2076207"/>
              <a:gd name="csX54" fmla="*/ 508215 w 733006"/>
              <a:gd name="csY54" fmla="*/ 758841 h 2076207"/>
              <a:gd name="csX55" fmla="*/ 497442 w 733006"/>
              <a:gd name="csY55" fmla="*/ 771256 h 2076207"/>
              <a:gd name="csX56" fmla="*/ 493005 w 733006"/>
              <a:gd name="csY56" fmla="*/ 922055 h 2076207"/>
              <a:gd name="csX57" fmla="*/ 502900 w 733006"/>
              <a:gd name="csY57" fmla="*/ 1114191 h 2076207"/>
              <a:gd name="csX58" fmla="*/ 508800 w 733006"/>
              <a:gd name="csY58" fmla="*/ 1205474 h 2076207"/>
              <a:gd name="csX59" fmla="*/ 522952 w 733006"/>
              <a:gd name="csY59" fmla="*/ 1320065 h 2076207"/>
              <a:gd name="csX60" fmla="*/ 554682 w 733006"/>
              <a:gd name="csY60" fmla="*/ 1501203 h 2076207"/>
              <a:gd name="csX61" fmla="*/ 576958 w 733006"/>
              <a:gd name="csY61" fmla="*/ 1593963 h 2076207"/>
              <a:gd name="csX62" fmla="*/ 595349 w 733006"/>
              <a:gd name="csY62" fmla="*/ 1613498 h 2076207"/>
              <a:gd name="csX63" fmla="*/ 613936 w 733006"/>
              <a:gd name="csY63" fmla="*/ 1624058 h 2076207"/>
              <a:gd name="csX64" fmla="*/ 620938 w 733006"/>
              <a:gd name="csY64" fmla="*/ 1652071 h 2076207"/>
              <a:gd name="csX65" fmla="*/ 630805 w 733006"/>
              <a:gd name="csY65" fmla="*/ 1721702 h 2076207"/>
              <a:gd name="csX66" fmla="*/ 685830 w 733006"/>
              <a:gd name="csY66" fmla="*/ 1792915 h 2076207"/>
              <a:gd name="csX67" fmla="*/ 708904 w 733006"/>
              <a:gd name="csY67" fmla="*/ 1890290 h 2076207"/>
              <a:gd name="csX68" fmla="*/ 716580 w 733006"/>
              <a:gd name="csY68" fmla="*/ 1951136 h 2076207"/>
              <a:gd name="csX69" fmla="*/ 729397 w 733006"/>
              <a:gd name="csY69" fmla="*/ 2030261 h 2076207"/>
              <a:gd name="csX70" fmla="*/ 714212 w 733006"/>
              <a:gd name="csY70" fmla="*/ 2049544 h 2076207"/>
              <a:gd name="csX71" fmla="*/ 96263 w 733006"/>
              <a:gd name="csY71" fmla="*/ 2076207 h 2076207"/>
              <a:gd name="csX72" fmla="*/ 489970 w 733006"/>
              <a:gd name="csY72" fmla="*/ 152208 h 2076207"/>
              <a:gd name="csX73" fmla="*/ 490754 w 733006"/>
              <a:gd name="csY73" fmla="*/ 152592 h 2076207"/>
              <a:gd name="csX74" fmla="*/ 489489 w 733006"/>
              <a:gd name="csY74" fmla="*/ 149547 h 2076207"/>
              <a:gd name="csX75" fmla="*/ 393621 w 733006"/>
              <a:gd name="csY75" fmla="*/ 99259 h 2076207"/>
              <a:gd name="csX76" fmla="*/ 390419 w 733006"/>
              <a:gd name="csY76" fmla="*/ 18568 h 2076207"/>
              <a:gd name="csX77" fmla="*/ 334131 w 733006"/>
              <a:gd name="csY77" fmla="*/ 24327 h 2076207"/>
              <a:gd name="csX78" fmla="*/ 344678 w 733006"/>
              <a:gd name="csY78" fmla="*/ 101259 h 2076207"/>
              <a:gd name="csX79" fmla="*/ 298854 w 733006"/>
              <a:gd name="csY79" fmla="*/ 114003 h 2076207"/>
              <a:gd name="csX80" fmla="*/ 237456 w 733006"/>
              <a:gd name="csY80" fmla="*/ 154340 h 2076207"/>
              <a:gd name="csX81" fmla="*/ 240382 w 733006"/>
              <a:gd name="csY81" fmla="*/ 154035 h 2076207"/>
              <a:gd name="csX82" fmla="*/ 262731 w 733006"/>
              <a:gd name="csY82" fmla="*/ 170426 h 2076207"/>
              <a:gd name="csX83" fmla="*/ 279169 w 733006"/>
              <a:gd name="csY83" fmla="*/ 193173 h 2076207"/>
              <a:gd name="csX84" fmla="*/ 327717 w 733006"/>
              <a:gd name="csY84" fmla="*/ 188556 h 2076207"/>
              <a:gd name="csX85" fmla="*/ 348052 w 733006"/>
              <a:gd name="csY85" fmla="*/ 156919 h 2076207"/>
              <a:gd name="csX86" fmla="*/ 380330 w 733006"/>
              <a:gd name="csY86" fmla="*/ 156483 h 2076207"/>
              <a:gd name="csX87" fmla="*/ 408490 w 733006"/>
              <a:gd name="csY87" fmla="*/ 195400 h 2076207"/>
              <a:gd name="csX88" fmla="*/ 445346 w 733006"/>
              <a:gd name="csY88" fmla="*/ 197582 h 2076207"/>
              <a:gd name="csX89" fmla="*/ 464798 w 733006"/>
              <a:gd name="csY89" fmla="*/ 174107 h 2076207"/>
              <a:gd name="csX90" fmla="*/ 489970 w 733006"/>
              <a:gd name="csY90" fmla="*/ 152208 h 2076207"/>
              <a:gd name="csX91" fmla="*/ 140694 w 733006"/>
              <a:gd name="csY91" fmla="*/ 201837 h 2076207"/>
              <a:gd name="csX92" fmla="*/ 139834 w 733006"/>
              <a:gd name="csY92" fmla="*/ 201482 h 2076207"/>
              <a:gd name="csX93" fmla="*/ 140812 w 733006"/>
              <a:gd name="csY93" fmla="*/ 204941 h 2076207"/>
              <a:gd name="csX94" fmla="*/ 144631 w 733006"/>
              <a:gd name="csY94" fmla="*/ 217811 h 2076207"/>
              <a:gd name="csX95" fmla="*/ 201241 w 733006"/>
              <a:gd name="csY95" fmla="*/ 373387 h 2076207"/>
              <a:gd name="csX96" fmla="*/ 235971 w 733006"/>
              <a:gd name="csY96" fmla="*/ 504451 h 2076207"/>
              <a:gd name="csX97" fmla="*/ 247475 w 733006"/>
              <a:gd name="csY97" fmla="*/ 513241 h 2076207"/>
              <a:gd name="csX98" fmla="*/ 289066 w 733006"/>
              <a:gd name="csY98" fmla="*/ 511170 h 2076207"/>
              <a:gd name="csX99" fmla="*/ 378229 w 733006"/>
              <a:gd name="csY99" fmla="*/ 511084 h 2076207"/>
              <a:gd name="csX100" fmla="*/ 470850 w 733006"/>
              <a:gd name="csY100" fmla="*/ 516341 h 2076207"/>
              <a:gd name="csX101" fmla="*/ 492933 w 733006"/>
              <a:gd name="csY101" fmla="*/ 497969 h 2076207"/>
              <a:gd name="csX102" fmla="*/ 557617 w 733006"/>
              <a:gd name="csY102" fmla="*/ 280398 h 2076207"/>
              <a:gd name="csX103" fmla="*/ 588788 w 733006"/>
              <a:gd name="csY103" fmla="*/ 200385 h 2076207"/>
              <a:gd name="csX104" fmla="*/ 530958 w 733006"/>
              <a:gd name="csY104" fmla="*/ 232968 h 2076207"/>
              <a:gd name="csX105" fmla="*/ 483823 w 733006"/>
              <a:gd name="csY105" fmla="*/ 190364 h 2076207"/>
              <a:gd name="csX106" fmla="*/ 466649 w 733006"/>
              <a:gd name="csY106" fmla="*/ 209061 h 2076207"/>
              <a:gd name="csX107" fmla="*/ 399941 w 733006"/>
              <a:gd name="csY107" fmla="*/ 216988 h 2076207"/>
              <a:gd name="csX108" fmla="*/ 363018 w 733006"/>
              <a:gd name="csY108" fmla="*/ 179615 h 2076207"/>
              <a:gd name="csX109" fmla="*/ 308839 w 733006"/>
              <a:gd name="csY109" fmla="*/ 227846 h 2076207"/>
              <a:gd name="csX110" fmla="*/ 245077 w 733006"/>
              <a:gd name="csY110" fmla="*/ 192402 h 2076207"/>
              <a:gd name="csX111" fmla="*/ 242829 w 733006"/>
              <a:gd name="csY111" fmla="*/ 198815 h 2076207"/>
              <a:gd name="csX112" fmla="*/ 168452 w 733006"/>
              <a:gd name="csY112" fmla="*/ 219348 h 2076207"/>
              <a:gd name="csX113" fmla="*/ 140694 w 733006"/>
              <a:gd name="csY113" fmla="*/ 201837 h 2076207"/>
              <a:gd name="csX114" fmla="*/ 259999 w 733006"/>
              <a:gd name="csY114" fmla="*/ 966699 h 2076207"/>
              <a:gd name="csX115" fmla="*/ 257072 w 733006"/>
              <a:gd name="csY115" fmla="*/ 1070424 h 2076207"/>
              <a:gd name="csX116" fmla="*/ 251372 w 733006"/>
              <a:gd name="csY116" fmla="*/ 1157618 h 2076207"/>
              <a:gd name="csX117" fmla="*/ 232677 w 733006"/>
              <a:gd name="csY117" fmla="*/ 1320279 h 2076207"/>
              <a:gd name="csX118" fmla="*/ 209182 w 733006"/>
              <a:gd name="csY118" fmla="*/ 1468667 h 2076207"/>
              <a:gd name="csX119" fmla="*/ 175302 w 733006"/>
              <a:gd name="csY119" fmla="*/ 1616623 h 2076207"/>
              <a:gd name="csX120" fmla="*/ 182769 w 733006"/>
              <a:gd name="csY120" fmla="*/ 1629786 h 2076207"/>
              <a:gd name="csX121" fmla="*/ 212156 w 733006"/>
              <a:gd name="csY121" fmla="*/ 1632656 h 2076207"/>
              <a:gd name="csX122" fmla="*/ 351295 w 733006"/>
              <a:gd name="csY122" fmla="*/ 1632801 h 2076207"/>
              <a:gd name="csX123" fmla="*/ 376150 w 733006"/>
              <a:gd name="csY123" fmla="*/ 1608307 h 2076207"/>
              <a:gd name="csX124" fmla="*/ 373450 w 733006"/>
              <a:gd name="csY124" fmla="*/ 1457291 h 2076207"/>
              <a:gd name="csX125" fmla="*/ 370936 w 733006"/>
              <a:gd name="csY125" fmla="*/ 1342736 h 2076207"/>
              <a:gd name="csX126" fmla="*/ 368328 w 733006"/>
              <a:gd name="csY126" fmla="*/ 1203878 h 2076207"/>
              <a:gd name="csX127" fmla="*/ 367836 w 733006"/>
              <a:gd name="csY127" fmla="*/ 813478 h 2076207"/>
              <a:gd name="csX128" fmla="*/ 365240 w 733006"/>
              <a:gd name="csY128" fmla="*/ 773243 h 2076207"/>
              <a:gd name="csX129" fmla="*/ 353084 w 733006"/>
              <a:gd name="csY129" fmla="*/ 762083 h 2076207"/>
              <a:gd name="csX130" fmla="*/ 280966 w 733006"/>
              <a:gd name="csY130" fmla="*/ 759855 h 2076207"/>
              <a:gd name="csX131" fmla="*/ 259965 w 733006"/>
              <a:gd name="csY131" fmla="*/ 779553 h 2076207"/>
              <a:gd name="csX132" fmla="*/ 262341 w 733006"/>
              <a:gd name="csY132" fmla="*/ 856275 h 2076207"/>
              <a:gd name="csX133" fmla="*/ 259999 w 733006"/>
              <a:gd name="csY133" fmla="*/ 966699 h 2076207"/>
              <a:gd name="csX134" fmla="*/ 55556 w 733006"/>
              <a:gd name="csY134" fmla="*/ 1835827 h 2076207"/>
              <a:gd name="csX135" fmla="*/ 49393 w 733006"/>
              <a:gd name="csY135" fmla="*/ 1878155 h 2076207"/>
              <a:gd name="csX136" fmla="*/ 73949 w 733006"/>
              <a:gd name="csY136" fmla="*/ 1905781 h 2076207"/>
              <a:gd name="csX137" fmla="*/ 110073 w 733006"/>
              <a:gd name="csY137" fmla="*/ 1909068 h 2076207"/>
              <a:gd name="csX138" fmla="*/ 224745 w 733006"/>
              <a:gd name="csY138" fmla="*/ 1921652 h 2076207"/>
              <a:gd name="csX139" fmla="*/ 347327 w 733006"/>
              <a:gd name="csY139" fmla="*/ 1924778 h 2076207"/>
              <a:gd name="csX140" fmla="*/ 363345 w 733006"/>
              <a:gd name="csY140" fmla="*/ 1923293 h 2076207"/>
              <a:gd name="csX141" fmla="*/ 373787 w 733006"/>
              <a:gd name="csY141" fmla="*/ 1911200 h 2076207"/>
              <a:gd name="csX142" fmla="*/ 376623 w 733006"/>
              <a:gd name="csY142" fmla="*/ 1696741 h 2076207"/>
              <a:gd name="csX143" fmla="*/ 360437 w 733006"/>
              <a:gd name="csY143" fmla="*/ 1681289 h 2076207"/>
              <a:gd name="csX144" fmla="*/ 263503 w 733006"/>
              <a:gd name="csY144" fmla="*/ 1678179 h 2076207"/>
              <a:gd name="csX145" fmla="*/ 160381 w 733006"/>
              <a:gd name="csY145" fmla="*/ 1670405 h 2076207"/>
              <a:gd name="csX146" fmla="*/ 143321 w 733006"/>
              <a:gd name="csY146" fmla="*/ 1685538 h 2076207"/>
              <a:gd name="csX147" fmla="*/ 124769 w 733006"/>
              <a:gd name="csY147" fmla="*/ 1738195 h 2076207"/>
              <a:gd name="csX148" fmla="*/ 90593 w 733006"/>
              <a:gd name="csY148" fmla="*/ 1779570 h 2076207"/>
              <a:gd name="csX149" fmla="*/ 55556 w 733006"/>
              <a:gd name="csY149" fmla="*/ 1835827 h 2076207"/>
              <a:gd name="csX150" fmla="*/ 378900 w 733006"/>
              <a:gd name="csY150" fmla="*/ 2007280 h 2076207"/>
              <a:gd name="csX151" fmla="*/ 378887 w 733006"/>
              <a:gd name="csY151" fmla="*/ 1995127 h 2076207"/>
              <a:gd name="csX152" fmla="*/ 359084 w 733006"/>
              <a:gd name="csY152" fmla="*/ 1975964 h 2076207"/>
              <a:gd name="csX153" fmla="*/ 247288 w 733006"/>
              <a:gd name="csY153" fmla="*/ 1973305 h 2076207"/>
              <a:gd name="csX154" fmla="*/ 201692 w 733006"/>
              <a:gd name="csY154" fmla="*/ 1970275 h 2076207"/>
              <a:gd name="csX155" fmla="*/ 57962 w 733006"/>
              <a:gd name="csY155" fmla="*/ 1952648 h 2076207"/>
              <a:gd name="csX156" fmla="*/ 39194 w 733006"/>
              <a:gd name="csY156" fmla="*/ 1963552 h 2076207"/>
              <a:gd name="csX157" fmla="*/ 30066 w 733006"/>
              <a:gd name="csY157" fmla="*/ 2006631 h 2076207"/>
              <a:gd name="csX158" fmla="*/ 40232 w 733006"/>
              <a:gd name="csY158" fmla="*/ 2019486 h 2076207"/>
              <a:gd name="csX159" fmla="*/ 238186 w 733006"/>
              <a:gd name="csY159" fmla="*/ 2046096 h 2076207"/>
              <a:gd name="csX160" fmla="*/ 342155 w 733006"/>
              <a:gd name="csY160" fmla="*/ 2046441 h 2076207"/>
              <a:gd name="csX161" fmla="*/ 378900 w 733006"/>
              <a:gd name="csY161" fmla="*/ 2007280 h 2076207"/>
              <a:gd name="csX162" fmla="*/ 310220 w 733006"/>
              <a:gd name="csY162" fmla="*/ 554288 h 2076207"/>
              <a:gd name="csX163" fmla="*/ 259136 w 733006"/>
              <a:gd name="csY163" fmla="*/ 556881 h 2076207"/>
              <a:gd name="csX164" fmla="*/ 249085 w 733006"/>
              <a:gd name="csY164" fmla="*/ 567981 h 2076207"/>
              <a:gd name="csX165" fmla="*/ 249141 w 733006"/>
              <a:gd name="csY165" fmla="*/ 605644 h 2076207"/>
              <a:gd name="csX166" fmla="*/ 262628 w 733006"/>
              <a:gd name="csY166" fmla="*/ 605627 h 2076207"/>
              <a:gd name="csX167" fmla="*/ 369608 w 733006"/>
              <a:gd name="csY167" fmla="*/ 603027 h 2076207"/>
              <a:gd name="csX168" fmla="*/ 463931 w 733006"/>
              <a:gd name="csY168" fmla="*/ 605146 h 2076207"/>
              <a:gd name="csX169" fmla="*/ 478113 w 733006"/>
              <a:gd name="csY169" fmla="*/ 595843 h 2076207"/>
              <a:gd name="csX170" fmla="*/ 478796 w 733006"/>
              <a:gd name="csY170" fmla="*/ 556832 h 2076207"/>
              <a:gd name="csX171" fmla="*/ 310220 w 733006"/>
              <a:gd name="csY171" fmla="*/ 554288 h 2076207"/>
              <a:gd name="csX172" fmla="*/ 348836 w 733006"/>
              <a:gd name="csY172" fmla="*/ 684115 h 2076207"/>
              <a:gd name="csX173" fmla="*/ 281333 w 733006"/>
              <a:gd name="csY173" fmla="*/ 683313 h 2076207"/>
              <a:gd name="csX174" fmla="*/ 212728 w 733006"/>
              <a:gd name="csY174" fmla="*/ 681931 h 2076207"/>
              <a:gd name="csX175" fmla="*/ 187283 w 733006"/>
              <a:gd name="csY175" fmla="*/ 689555 h 2076207"/>
              <a:gd name="csX176" fmla="*/ 186163 w 733006"/>
              <a:gd name="csY176" fmla="*/ 718266 h 2076207"/>
              <a:gd name="csX177" fmla="*/ 209894 w 733006"/>
              <a:gd name="csY177" fmla="*/ 726798 h 2076207"/>
              <a:gd name="csX178" fmla="*/ 334814 w 733006"/>
              <a:gd name="csY178" fmla="*/ 732494 h 2076207"/>
              <a:gd name="csX179" fmla="*/ 364856 w 733006"/>
              <a:gd name="csY179" fmla="*/ 707963 h 2076207"/>
              <a:gd name="csX180" fmla="*/ 348836 w 733006"/>
              <a:gd name="csY180" fmla="*/ 684115 h 2076207"/>
              <a:gd name="csX181" fmla="*/ 298865 w 733006"/>
              <a:gd name="csY181" fmla="*/ 621954 h 2076207"/>
              <a:gd name="csX182" fmla="*/ 251619 w 733006"/>
              <a:gd name="csY182" fmla="*/ 622133 h 2076207"/>
              <a:gd name="csX183" fmla="*/ 214459 w 733006"/>
              <a:gd name="csY183" fmla="*/ 636230 h 2076207"/>
              <a:gd name="csX184" fmla="*/ 221436 w 733006"/>
              <a:gd name="csY184" fmla="*/ 654205 h 2076207"/>
              <a:gd name="csX185" fmla="*/ 272412 w 733006"/>
              <a:gd name="csY185" fmla="*/ 657250 h 2076207"/>
              <a:gd name="csX186" fmla="*/ 349094 w 733006"/>
              <a:gd name="csY186" fmla="*/ 659282 h 2076207"/>
              <a:gd name="csX187" fmla="*/ 362996 w 733006"/>
              <a:gd name="csY187" fmla="*/ 644234 h 2076207"/>
              <a:gd name="csX188" fmla="*/ 348472 w 733006"/>
              <a:gd name="csY188" fmla="*/ 624649 h 2076207"/>
              <a:gd name="csX189" fmla="*/ 298865 w 733006"/>
              <a:gd name="csY189" fmla="*/ 621954 h 2076207"/>
              <a:gd name="csX190" fmla="*/ 227796 w 733006"/>
              <a:gd name="csY190" fmla="*/ 528000 h 2076207"/>
              <a:gd name="csX191" fmla="*/ 241009 w 733006"/>
              <a:gd name="csY191" fmla="*/ 545897 h 2076207"/>
              <a:gd name="csX192" fmla="*/ 282607 w 733006"/>
              <a:gd name="csY192" fmla="*/ 543480 h 2076207"/>
              <a:gd name="csX193" fmla="*/ 354213 w 733006"/>
              <a:gd name="csY193" fmla="*/ 543384 h 2076207"/>
              <a:gd name="csX194" fmla="*/ 365334 w 733006"/>
              <a:gd name="csY194" fmla="*/ 533397 h 2076207"/>
              <a:gd name="csX195" fmla="*/ 354531 w 733006"/>
              <a:gd name="csY195" fmla="*/ 521620 h 2076207"/>
              <a:gd name="csX196" fmla="*/ 259169 w 733006"/>
              <a:gd name="csY196" fmla="*/ 521978 h 2076207"/>
              <a:gd name="csX197" fmla="*/ 227796 w 733006"/>
              <a:gd name="csY197" fmla="*/ 528000 h 2076207"/>
              <a:gd name="csX198" fmla="*/ 508068 w 733006"/>
              <a:gd name="csY198" fmla="*/ 190710 h 2076207"/>
              <a:gd name="csX199" fmla="*/ 521293 w 733006"/>
              <a:gd name="csY199" fmla="*/ 205907 h 2076207"/>
              <a:gd name="csX200" fmla="*/ 525175 w 733006"/>
              <a:gd name="csY200" fmla="*/ 202985 h 2076207"/>
              <a:gd name="csX201" fmla="*/ 500276 w 733006"/>
              <a:gd name="csY201" fmla="*/ 160640 h 2076207"/>
              <a:gd name="csX202" fmla="*/ 497122 w 733006"/>
              <a:gd name="csY202" fmla="*/ 162007 h 2076207"/>
              <a:gd name="csX203" fmla="*/ 508068 w 733006"/>
              <a:gd name="csY203" fmla="*/ 190710 h 2076207"/>
              <a:gd name="csX204" fmla="*/ 215522 w 733006"/>
              <a:gd name="csY204" fmla="*/ 197296 h 2076207"/>
              <a:gd name="csX205" fmla="*/ 234029 w 733006"/>
              <a:gd name="csY205" fmla="*/ 162725 h 2076207"/>
              <a:gd name="csX206" fmla="*/ 229000 w 733006"/>
              <a:gd name="csY206" fmla="*/ 159902 h 2076207"/>
              <a:gd name="csX207" fmla="*/ 204824 w 733006"/>
              <a:gd name="csY207" fmla="*/ 199677 h 2076207"/>
              <a:gd name="csX208" fmla="*/ 207990 w 733006"/>
              <a:gd name="csY208" fmla="*/ 202198 h 2076207"/>
              <a:gd name="csX209" fmla="*/ 215522 w 733006"/>
              <a:gd name="csY209" fmla="*/ 197296 h 2076207"/>
              <a:gd name="csX210" fmla="*/ 484400 w 733006"/>
              <a:gd name="csY210" fmla="*/ 896678 h 2076207"/>
              <a:gd name="csX211" fmla="*/ 486181 w 733006"/>
              <a:gd name="csY211" fmla="*/ 896585 h 2076207"/>
              <a:gd name="csX212" fmla="*/ 486181 w 733006"/>
              <a:gd name="csY212" fmla="*/ 795289 h 2076207"/>
              <a:gd name="csX213" fmla="*/ 720241 w 733006"/>
              <a:gd name="csY213" fmla="*/ 2030666 h 2076207"/>
              <a:gd name="csX214" fmla="*/ 721175 w 733006"/>
              <a:gd name="csY214" fmla="*/ 2029733 h 2076207"/>
              <a:gd name="csX215" fmla="*/ 720241 w 733006"/>
              <a:gd name="csY215" fmla="*/ 2030666 h 2076207"/>
              <a:gd name="csX216" fmla="*/ 715702 w 733006"/>
              <a:gd name="csY216" fmla="*/ 2037051 h 2076207"/>
              <a:gd name="csX217" fmla="*/ 715702 w 733006"/>
              <a:gd name="csY217" fmla="*/ 2037051 h 2076207"/>
              <a:gd name="csX0" fmla="*/ 96263 w 733006"/>
              <a:gd name="csY0" fmla="*/ 2076207 h 2084524"/>
              <a:gd name="csX1" fmla="*/ 63862 w 733006"/>
              <a:gd name="csY1" fmla="*/ 2065388 h 2084524"/>
              <a:gd name="csX2" fmla="*/ 16555 w 733006"/>
              <a:gd name="csY2" fmla="*/ 2050152 h 2084524"/>
              <a:gd name="csX3" fmla="*/ 15 w 733006"/>
              <a:gd name="csY3" fmla="*/ 2023802 h 2084524"/>
              <a:gd name="csX4" fmla="*/ 18368 w 733006"/>
              <a:gd name="csY4" fmla="*/ 1940709 h 2084524"/>
              <a:gd name="csX5" fmla="*/ 22139 w 733006"/>
              <a:gd name="csY5" fmla="*/ 1907268 h 2084524"/>
              <a:gd name="csX6" fmla="*/ 57941 w 733006"/>
              <a:gd name="csY6" fmla="*/ 1774163 h 2084524"/>
              <a:gd name="csX7" fmla="*/ 102478 w 733006"/>
              <a:gd name="csY7" fmla="*/ 1720275 h 2084524"/>
              <a:gd name="csX8" fmla="*/ 108579 w 733006"/>
              <a:gd name="csY8" fmla="*/ 1650967 h 2084524"/>
              <a:gd name="csX9" fmla="*/ 115628 w 733006"/>
              <a:gd name="csY9" fmla="*/ 1625405 h 2084524"/>
              <a:gd name="csX10" fmla="*/ 156323 w 733006"/>
              <a:gd name="csY10" fmla="*/ 1560181 h 2084524"/>
              <a:gd name="csX11" fmla="*/ 199424 w 733006"/>
              <a:gd name="csY11" fmla="*/ 1364729 h 2084524"/>
              <a:gd name="csX12" fmla="*/ 216779 w 733006"/>
              <a:gd name="csY12" fmla="*/ 1219490 h 2084524"/>
              <a:gd name="csX13" fmla="*/ 229755 w 733006"/>
              <a:gd name="csY13" fmla="*/ 1099357 h 2084524"/>
              <a:gd name="csX14" fmla="*/ 232707 w 733006"/>
              <a:gd name="csY14" fmla="*/ 1056423 h 2084524"/>
              <a:gd name="csX15" fmla="*/ 235622 w 733006"/>
              <a:gd name="csY15" fmla="*/ 952675 h 2084524"/>
              <a:gd name="csX16" fmla="*/ 235445 w 733006"/>
              <a:gd name="csY16" fmla="*/ 780278 h 2084524"/>
              <a:gd name="csX17" fmla="*/ 214544 w 733006"/>
              <a:gd name="csY17" fmla="*/ 756435 h 2084524"/>
              <a:gd name="csX18" fmla="*/ 172569 w 733006"/>
              <a:gd name="csY18" fmla="*/ 742582 h 2084524"/>
              <a:gd name="csX19" fmla="*/ 168784 w 733006"/>
              <a:gd name="csY19" fmla="*/ 669116 h 2084524"/>
              <a:gd name="csX20" fmla="*/ 191657 w 733006"/>
              <a:gd name="csY20" fmla="*/ 630765 h 2084524"/>
              <a:gd name="csX21" fmla="*/ 208150 w 733006"/>
              <a:gd name="csY21" fmla="*/ 609084 h 2084524"/>
              <a:gd name="csX22" fmla="*/ 216756 w 733006"/>
              <a:gd name="csY22" fmla="*/ 558673 h 2084524"/>
              <a:gd name="csX23" fmla="*/ 209092 w 733006"/>
              <a:gd name="csY23" fmla="*/ 521540 h 2084524"/>
              <a:gd name="csX24" fmla="*/ 204683 w 733006"/>
              <a:gd name="csY24" fmla="*/ 474024 h 2084524"/>
              <a:gd name="csX25" fmla="*/ 115483 w 733006"/>
              <a:gd name="csY25" fmla="*/ 213499 h 2084524"/>
              <a:gd name="csX26" fmla="*/ 102909 w 733006"/>
              <a:gd name="csY26" fmla="*/ 182297 h 2084524"/>
              <a:gd name="csX27" fmla="*/ 104315 w 733006"/>
              <a:gd name="csY27" fmla="*/ 163968 h 2084524"/>
              <a:gd name="csX28" fmla="*/ 122444 w 733006"/>
              <a:gd name="csY28" fmla="*/ 160805 h 2084524"/>
              <a:gd name="csX29" fmla="*/ 170283 w 733006"/>
              <a:gd name="csY29" fmla="*/ 187783 h 2084524"/>
              <a:gd name="csX30" fmla="*/ 180938 w 733006"/>
              <a:gd name="csY30" fmla="*/ 195322 h 2084524"/>
              <a:gd name="csX31" fmla="*/ 221419 w 733006"/>
              <a:gd name="csY31" fmla="*/ 138058 h 2084524"/>
              <a:gd name="csX32" fmla="*/ 294099 w 733006"/>
              <a:gd name="csY32" fmla="*/ 91372 h 2084524"/>
              <a:gd name="csX33" fmla="*/ 302307 w 733006"/>
              <a:gd name="csY33" fmla="*/ 76560 h 2084524"/>
              <a:gd name="csX34" fmla="*/ 320284 w 733006"/>
              <a:gd name="csY34" fmla="*/ 8414 h 2084524"/>
              <a:gd name="csX35" fmla="*/ 324784 w 733006"/>
              <a:gd name="csY35" fmla="*/ 946 h 2084524"/>
              <a:gd name="csX36" fmla="*/ 399212 w 733006"/>
              <a:gd name="csY36" fmla="*/ 0 h 2084524"/>
              <a:gd name="csX37" fmla="*/ 425980 w 733006"/>
              <a:gd name="csY37" fmla="*/ 78301 h 2084524"/>
              <a:gd name="csX38" fmla="*/ 431861 w 733006"/>
              <a:gd name="csY38" fmla="*/ 90312 h 2084524"/>
              <a:gd name="csX39" fmla="*/ 540349 w 733006"/>
              <a:gd name="csY39" fmla="*/ 187946 h 2084524"/>
              <a:gd name="csX40" fmla="*/ 545555 w 733006"/>
              <a:gd name="csY40" fmla="*/ 197828 h 2084524"/>
              <a:gd name="csX41" fmla="*/ 587318 w 733006"/>
              <a:gd name="csY41" fmla="*/ 171260 h 2084524"/>
              <a:gd name="csX42" fmla="*/ 601503 w 733006"/>
              <a:gd name="csY42" fmla="*/ 163707 h 2084524"/>
              <a:gd name="csX43" fmla="*/ 625254 w 733006"/>
              <a:gd name="csY43" fmla="*/ 163123 h 2084524"/>
              <a:gd name="csX44" fmla="*/ 625468 w 733006"/>
              <a:gd name="csY44" fmla="*/ 187579 h 2084524"/>
              <a:gd name="csX45" fmla="*/ 597543 w 733006"/>
              <a:gd name="csY45" fmla="*/ 251872 h 2084524"/>
              <a:gd name="csX46" fmla="*/ 531831 w 733006"/>
              <a:gd name="csY46" fmla="*/ 442689 h 2084524"/>
              <a:gd name="csX47" fmla="*/ 519888 w 733006"/>
              <a:gd name="csY47" fmla="*/ 501474 h 2084524"/>
              <a:gd name="csX48" fmla="*/ 522506 w 733006"/>
              <a:gd name="csY48" fmla="*/ 525086 h 2084524"/>
              <a:gd name="csX49" fmla="*/ 516235 w 733006"/>
              <a:gd name="csY49" fmla="*/ 555946 h 2084524"/>
              <a:gd name="csX50" fmla="*/ 521332 w 733006"/>
              <a:gd name="csY50" fmla="*/ 610676 h 2084524"/>
              <a:gd name="csX51" fmla="*/ 541382 w 733006"/>
              <a:gd name="csY51" fmla="*/ 642597 h 2084524"/>
              <a:gd name="csX52" fmla="*/ 557031 w 733006"/>
              <a:gd name="csY52" fmla="*/ 667949 h 2084524"/>
              <a:gd name="csX53" fmla="*/ 553994 w 733006"/>
              <a:gd name="csY53" fmla="*/ 744146 h 2084524"/>
              <a:gd name="csX54" fmla="*/ 508215 w 733006"/>
              <a:gd name="csY54" fmla="*/ 758841 h 2084524"/>
              <a:gd name="csX55" fmla="*/ 497442 w 733006"/>
              <a:gd name="csY55" fmla="*/ 771256 h 2084524"/>
              <a:gd name="csX56" fmla="*/ 493005 w 733006"/>
              <a:gd name="csY56" fmla="*/ 922055 h 2084524"/>
              <a:gd name="csX57" fmla="*/ 502900 w 733006"/>
              <a:gd name="csY57" fmla="*/ 1114191 h 2084524"/>
              <a:gd name="csX58" fmla="*/ 508800 w 733006"/>
              <a:gd name="csY58" fmla="*/ 1205474 h 2084524"/>
              <a:gd name="csX59" fmla="*/ 522952 w 733006"/>
              <a:gd name="csY59" fmla="*/ 1320065 h 2084524"/>
              <a:gd name="csX60" fmla="*/ 554682 w 733006"/>
              <a:gd name="csY60" fmla="*/ 1501203 h 2084524"/>
              <a:gd name="csX61" fmla="*/ 576958 w 733006"/>
              <a:gd name="csY61" fmla="*/ 1593963 h 2084524"/>
              <a:gd name="csX62" fmla="*/ 595349 w 733006"/>
              <a:gd name="csY62" fmla="*/ 1613498 h 2084524"/>
              <a:gd name="csX63" fmla="*/ 613936 w 733006"/>
              <a:gd name="csY63" fmla="*/ 1624058 h 2084524"/>
              <a:gd name="csX64" fmla="*/ 620938 w 733006"/>
              <a:gd name="csY64" fmla="*/ 1652071 h 2084524"/>
              <a:gd name="csX65" fmla="*/ 630805 w 733006"/>
              <a:gd name="csY65" fmla="*/ 1721702 h 2084524"/>
              <a:gd name="csX66" fmla="*/ 685830 w 733006"/>
              <a:gd name="csY66" fmla="*/ 1792915 h 2084524"/>
              <a:gd name="csX67" fmla="*/ 708904 w 733006"/>
              <a:gd name="csY67" fmla="*/ 1890290 h 2084524"/>
              <a:gd name="csX68" fmla="*/ 716580 w 733006"/>
              <a:gd name="csY68" fmla="*/ 1951136 h 2084524"/>
              <a:gd name="csX69" fmla="*/ 729397 w 733006"/>
              <a:gd name="csY69" fmla="*/ 2030261 h 2084524"/>
              <a:gd name="csX70" fmla="*/ 714212 w 733006"/>
              <a:gd name="csY70" fmla="*/ 2049544 h 2084524"/>
              <a:gd name="csX71" fmla="*/ 96263 w 733006"/>
              <a:gd name="csY71" fmla="*/ 2076207 h 2084524"/>
              <a:gd name="csX72" fmla="*/ 489970 w 733006"/>
              <a:gd name="csY72" fmla="*/ 152208 h 2084524"/>
              <a:gd name="csX73" fmla="*/ 490754 w 733006"/>
              <a:gd name="csY73" fmla="*/ 152592 h 2084524"/>
              <a:gd name="csX74" fmla="*/ 489489 w 733006"/>
              <a:gd name="csY74" fmla="*/ 149547 h 2084524"/>
              <a:gd name="csX75" fmla="*/ 393621 w 733006"/>
              <a:gd name="csY75" fmla="*/ 99259 h 2084524"/>
              <a:gd name="csX76" fmla="*/ 390419 w 733006"/>
              <a:gd name="csY76" fmla="*/ 18568 h 2084524"/>
              <a:gd name="csX77" fmla="*/ 334131 w 733006"/>
              <a:gd name="csY77" fmla="*/ 24327 h 2084524"/>
              <a:gd name="csX78" fmla="*/ 344678 w 733006"/>
              <a:gd name="csY78" fmla="*/ 101259 h 2084524"/>
              <a:gd name="csX79" fmla="*/ 298854 w 733006"/>
              <a:gd name="csY79" fmla="*/ 114003 h 2084524"/>
              <a:gd name="csX80" fmla="*/ 237456 w 733006"/>
              <a:gd name="csY80" fmla="*/ 154340 h 2084524"/>
              <a:gd name="csX81" fmla="*/ 240382 w 733006"/>
              <a:gd name="csY81" fmla="*/ 154035 h 2084524"/>
              <a:gd name="csX82" fmla="*/ 262731 w 733006"/>
              <a:gd name="csY82" fmla="*/ 170426 h 2084524"/>
              <a:gd name="csX83" fmla="*/ 279169 w 733006"/>
              <a:gd name="csY83" fmla="*/ 193173 h 2084524"/>
              <a:gd name="csX84" fmla="*/ 327717 w 733006"/>
              <a:gd name="csY84" fmla="*/ 188556 h 2084524"/>
              <a:gd name="csX85" fmla="*/ 348052 w 733006"/>
              <a:gd name="csY85" fmla="*/ 156919 h 2084524"/>
              <a:gd name="csX86" fmla="*/ 380330 w 733006"/>
              <a:gd name="csY86" fmla="*/ 156483 h 2084524"/>
              <a:gd name="csX87" fmla="*/ 408490 w 733006"/>
              <a:gd name="csY87" fmla="*/ 195400 h 2084524"/>
              <a:gd name="csX88" fmla="*/ 445346 w 733006"/>
              <a:gd name="csY88" fmla="*/ 197582 h 2084524"/>
              <a:gd name="csX89" fmla="*/ 464798 w 733006"/>
              <a:gd name="csY89" fmla="*/ 174107 h 2084524"/>
              <a:gd name="csX90" fmla="*/ 489970 w 733006"/>
              <a:gd name="csY90" fmla="*/ 152208 h 2084524"/>
              <a:gd name="csX91" fmla="*/ 140694 w 733006"/>
              <a:gd name="csY91" fmla="*/ 201837 h 2084524"/>
              <a:gd name="csX92" fmla="*/ 139834 w 733006"/>
              <a:gd name="csY92" fmla="*/ 201482 h 2084524"/>
              <a:gd name="csX93" fmla="*/ 140812 w 733006"/>
              <a:gd name="csY93" fmla="*/ 204941 h 2084524"/>
              <a:gd name="csX94" fmla="*/ 144631 w 733006"/>
              <a:gd name="csY94" fmla="*/ 217811 h 2084524"/>
              <a:gd name="csX95" fmla="*/ 201241 w 733006"/>
              <a:gd name="csY95" fmla="*/ 373387 h 2084524"/>
              <a:gd name="csX96" fmla="*/ 235971 w 733006"/>
              <a:gd name="csY96" fmla="*/ 504451 h 2084524"/>
              <a:gd name="csX97" fmla="*/ 247475 w 733006"/>
              <a:gd name="csY97" fmla="*/ 513241 h 2084524"/>
              <a:gd name="csX98" fmla="*/ 289066 w 733006"/>
              <a:gd name="csY98" fmla="*/ 511170 h 2084524"/>
              <a:gd name="csX99" fmla="*/ 378229 w 733006"/>
              <a:gd name="csY99" fmla="*/ 511084 h 2084524"/>
              <a:gd name="csX100" fmla="*/ 470850 w 733006"/>
              <a:gd name="csY100" fmla="*/ 516341 h 2084524"/>
              <a:gd name="csX101" fmla="*/ 492933 w 733006"/>
              <a:gd name="csY101" fmla="*/ 497969 h 2084524"/>
              <a:gd name="csX102" fmla="*/ 557617 w 733006"/>
              <a:gd name="csY102" fmla="*/ 280398 h 2084524"/>
              <a:gd name="csX103" fmla="*/ 588788 w 733006"/>
              <a:gd name="csY103" fmla="*/ 200385 h 2084524"/>
              <a:gd name="csX104" fmla="*/ 530958 w 733006"/>
              <a:gd name="csY104" fmla="*/ 232968 h 2084524"/>
              <a:gd name="csX105" fmla="*/ 483823 w 733006"/>
              <a:gd name="csY105" fmla="*/ 190364 h 2084524"/>
              <a:gd name="csX106" fmla="*/ 466649 w 733006"/>
              <a:gd name="csY106" fmla="*/ 209061 h 2084524"/>
              <a:gd name="csX107" fmla="*/ 399941 w 733006"/>
              <a:gd name="csY107" fmla="*/ 216988 h 2084524"/>
              <a:gd name="csX108" fmla="*/ 363018 w 733006"/>
              <a:gd name="csY108" fmla="*/ 179615 h 2084524"/>
              <a:gd name="csX109" fmla="*/ 308839 w 733006"/>
              <a:gd name="csY109" fmla="*/ 227846 h 2084524"/>
              <a:gd name="csX110" fmla="*/ 245077 w 733006"/>
              <a:gd name="csY110" fmla="*/ 192402 h 2084524"/>
              <a:gd name="csX111" fmla="*/ 242829 w 733006"/>
              <a:gd name="csY111" fmla="*/ 198815 h 2084524"/>
              <a:gd name="csX112" fmla="*/ 168452 w 733006"/>
              <a:gd name="csY112" fmla="*/ 219348 h 2084524"/>
              <a:gd name="csX113" fmla="*/ 140694 w 733006"/>
              <a:gd name="csY113" fmla="*/ 201837 h 2084524"/>
              <a:gd name="csX114" fmla="*/ 259999 w 733006"/>
              <a:gd name="csY114" fmla="*/ 966699 h 2084524"/>
              <a:gd name="csX115" fmla="*/ 257072 w 733006"/>
              <a:gd name="csY115" fmla="*/ 1070424 h 2084524"/>
              <a:gd name="csX116" fmla="*/ 251372 w 733006"/>
              <a:gd name="csY116" fmla="*/ 1157618 h 2084524"/>
              <a:gd name="csX117" fmla="*/ 232677 w 733006"/>
              <a:gd name="csY117" fmla="*/ 1320279 h 2084524"/>
              <a:gd name="csX118" fmla="*/ 209182 w 733006"/>
              <a:gd name="csY118" fmla="*/ 1468667 h 2084524"/>
              <a:gd name="csX119" fmla="*/ 175302 w 733006"/>
              <a:gd name="csY119" fmla="*/ 1616623 h 2084524"/>
              <a:gd name="csX120" fmla="*/ 182769 w 733006"/>
              <a:gd name="csY120" fmla="*/ 1629786 h 2084524"/>
              <a:gd name="csX121" fmla="*/ 212156 w 733006"/>
              <a:gd name="csY121" fmla="*/ 1632656 h 2084524"/>
              <a:gd name="csX122" fmla="*/ 351295 w 733006"/>
              <a:gd name="csY122" fmla="*/ 1632801 h 2084524"/>
              <a:gd name="csX123" fmla="*/ 376150 w 733006"/>
              <a:gd name="csY123" fmla="*/ 1608307 h 2084524"/>
              <a:gd name="csX124" fmla="*/ 373450 w 733006"/>
              <a:gd name="csY124" fmla="*/ 1457291 h 2084524"/>
              <a:gd name="csX125" fmla="*/ 370936 w 733006"/>
              <a:gd name="csY125" fmla="*/ 1342736 h 2084524"/>
              <a:gd name="csX126" fmla="*/ 368328 w 733006"/>
              <a:gd name="csY126" fmla="*/ 1203878 h 2084524"/>
              <a:gd name="csX127" fmla="*/ 367836 w 733006"/>
              <a:gd name="csY127" fmla="*/ 813478 h 2084524"/>
              <a:gd name="csX128" fmla="*/ 365240 w 733006"/>
              <a:gd name="csY128" fmla="*/ 773243 h 2084524"/>
              <a:gd name="csX129" fmla="*/ 353084 w 733006"/>
              <a:gd name="csY129" fmla="*/ 762083 h 2084524"/>
              <a:gd name="csX130" fmla="*/ 280966 w 733006"/>
              <a:gd name="csY130" fmla="*/ 759855 h 2084524"/>
              <a:gd name="csX131" fmla="*/ 259965 w 733006"/>
              <a:gd name="csY131" fmla="*/ 779553 h 2084524"/>
              <a:gd name="csX132" fmla="*/ 262341 w 733006"/>
              <a:gd name="csY132" fmla="*/ 856275 h 2084524"/>
              <a:gd name="csX133" fmla="*/ 259999 w 733006"/>
              <a:gd name="csY133" fmla="*/ 966699 h 2084524"/>
              <a:gd name="csX134" fmla="*/ 55556 w 733006"/>
              <a:gd name="csY134" fmla="*/ 1835827 h 2084524"/>
              <a:gd name="csX135" fmla="*/ 49393 w 733006"/>
              <a:gd name="csY135" fmla="*/ 1878155 h 2084524"/>
              <a:gd name="csX136" fmla="*/ 73949 w 733006"/>
              <a:gd name="csY136" fmla="*/ 1905781 h 2084524"/>
              <a:gd name="csX137" fmla="*/ 110073 w 733006"/>
              <a:gd name="csY137" fmla="*/ 1909068 h 2084524"/>
              <a:gd name="csX138" fmla="*/ 224745 w 733006"/>
              <a:gd name="csY138" fmla="*/ 1921652 h 2084524"/>
              <a:gd name="csX139" fmla="*/ 347327 w 733006"/>
              <a:gd name="csY139" fmla="*/ 1924778 h 2084524"/>
              <a:gd name="csX140" fmla="*/ 363345 w 733006"/>
              <a:gd name="csY140" fmla="*/ 1923293 h 2084524"/>
              <a:gd name="csX141" fmla="*/ 373787 w 733006"/>
              <a:gd name="csY141" fmla="*/ 1911200 h 2084524"/>
              <a:gd name="csX142" fmla="*/ 376623 w 733006"/>
              <a:gd name="csY142" fmla="*/ 1696741 h 2084524"/>
              <a:gd name="csX143" fmla="*/ 360437 w 733006"/>
              <a:gd name="csY143" fmla="*/ 1681289 h 2084524"/>
              <a:gd name="csX144" fmla="*/ 263503 w 733006"/>
              <a:gd name="csY144" fmla="*/ 1678179 h 2084524"/>
              <a:gd name="csX145" fmla="*/ 160381 w 733006"/>
              <a:gd name="csY145" fmla="*/ 1670405 h 2084524"/>
              <a:gd name="csX146" fmla="*/ 143321 w 733006"/>
              <a:gd name="csY146" fmla="*/ 1685538 h 2084524"/>
              <a:gd name="csX147" fmla="*/ 124769 w 733006"/>
              <a:gd name="csY147" fmla="*/ 1738195 h 2084524"/>
              <a:gd name="csX148" fmla="*/ 90593 w 733006"/>
              <a:gd name="csY148" fmla="*/ 1779570 h 2084524"/>
              <a:gd name="csX149" fmla="*/ 55556 w 733006"/>
              <a:gd name="csY149" fmla="*/ 1835827 h 2084524"/>
              <a:gd name="csX150" fmla="*/ 378900 w 733006"/>
              <a:gd name="csY150" fmla="*/ 2007280 h 2084524"/>
              <a:gd name="csX151" fmla="*/ 378887 w 733006"/>
              <a:gd name="csY151" fmla="*/ 1995127 h 2084524"/>
              <a:gd name="csX152" fmla="*/ 359084 w 733006"/>
              <a:gd name="csY152" fmla="*/ 1975964 h 2084524"/>
              <a:gd name="csX153" fmla="*/ 247288 w 733006"/>
              <a:gd name="csY153" fmla="*/ 1973305 h 2084524"/>
              <a:gd name="csX154" fmla="*/ 201692 w 733006"/>
              <a:gd name="csY154" fmla="*/ 1970275 h 2084524"/>
              <a:gd name="csX155" fmla="*/ 57962 w 733006"/>
              <a:gd name="csY155" fmla="*/ 1952648 h 2084524"/>
              <a:gd name="csX156" fmla="*/ 39194 w 733006"/>
              <a:gd name="csY156" fmla="*/ 1963552 h 2084524"/>
              <a:gd name="csX157" fmla="*/ 30066 w 733006"/>
              <a:gd name="csY157" fmla="*/ 2006631 h 2084524"/>
              <a:gd name="csX158" fmla="*/ 40232 w 733006"/>
              <a:gd name="csY158" fmla="*/ 2019486 h 2084524"/>
              <a:gd name="csX159" fmla="*/ 238186 w 733006"/>
              <a:gd name="csY159" fmla="*/ 2046096 h 2084524"/>
              <a:gd name="csX160" fmla="*/ 342155 w 733006"/>
              <a:gd name="csY160" fmla="*/ 2046441 h 2084524"/>
              <a:gd name="csX161" fmla="*/ 378900 w 733006"/>
              <a:gd name="csY161" fmla="*/ 2007280 h 2084524"/>
              <a:gd name="csX162" fmla="*/ 310220 w 733006"/>
              <a:gd name="csY162" fmla="*/ 554288 h 2084524"/>
              <a:gd name="csX163" fmla="*/ 259136 w 733006"/>
              <a:gd name="csY163" fmla="*/ 556881 h 2084524"/>
              <a:gd name="csX164" fmla="*/ 249085 w 733006"/>
              <a:gd name="csY164" fmla="*/ 567981 h 2084524"/>
              <a:gd name="csX165" fmla="*/ 249141 w 733006"/>
              <a:gd name="csY165" fmla="*/ 605644 h 2084524"/>
              <a:gd name="csX166" fmla="*/ 262628 w 733006"/>
              <a:gd name="csY166" fmla="*/ 605627 h 2084524"/>
              <a:gd name="csX167" fmla="*/ 369608 w 733006"/>
              <a:gd name="csY167" fmla="*/ 603027 h 2084524"/>
              <a:gd name="csX168" fmla="*/ 463931 w 733006"/>
              <a:gd name="csY168" fmla="*/ 605146 h 2084524"/>
              <a:gd name="csX169" fmla="*/ 478113 w 733006"/>
              <a:gd name="csY169" fmla="*/ 595843 h 2084524"/>
              <a:gd name="csX170" fmla="*/ 478796 w 733006"/>
              <a:gd name="csY170" fmla="*/ 556832 h 2084524"/>
              <a:gd name="csX171" fmla="*/ 310220 w 733006"/>
              <a:gd name="csY171" fmla="*/ 554288 h 2084524"/>
              <a:gd name="csX172" fmla="*/ 348836 w 733006"/>
              <a:gd name="csY172" fmla="*/ 684115 h 2084524"/>
              <a:gd name="csX173" fmla="*/ 281333 w 733006"/>
              <a:gd name="csY173" fmla="*/ 683313 h 2084524"/>
              <a:gd name="csX174" fmla="*/ 212728 w 733006"/>
              <a:gd name="csY174" fmla="*/ 681931 h 2084524"/>
              <a:gd name="csX175" fmla="*/ 187283 w 733006"/>
              <a:gd name="csY175" fmla="*/ 689555 h 2084524"/>
              <a:gd name="csX176" fmla="*/ 186163 w 733006"/>
              <a:gd name="csY176" fmla="*/ 718266 h 2084524"/>
              <a:gd name="csX177" fmla="*/ 209894 w 733006"/>
              <a:gd name="csY177" fmla="*/ 726798 h 2084524"/>
              <a:gd name="csX178" fmla="*/ 334814 w 733006"/>
              <a:gd name="csY178" fmla="*/ 732494 h 2084524"/>
              <a:gd name="csX179" fmla="*/ 364856 w 733006"/>
              <a:gd name="csY179" fmla="*/ 707963 h 2084524"/>
              <a:gd name="csX180" fmla="*/ 348836 w 733006"/>
              <a:gd name="csY180" fmla="*/ 684115 h 2084524"/>
              <a:gd name="csX181" fmla="*/ 298865 w 733006"/>
              <a:gd name="csY181" fmla="*/ 621954 h 2084524"/>
              <a:gd name="csX182" fmla="*/ 251619 w 733006"/>
              <a:gd name="csY182" fmla="*/ 622133 h 2084524"/>
              <a:gd name="csX183" fmla="*/ 214459 w 733006"/>
              <a:gd name="csY183" fmla="*/ 636230 h 2084524"/>
              <a:gd name="csX184" fmla="*/ 221436 w 733006"/>
              <a:gd name="csY184" fmla="*/ 654205 h 2084524"/>
              <a:gd name="csX185" fmla="*/ 272412 w 733006"/>
              <a:gd name="csY185" fmla="*/ 657250 h 2084524"/>
              <a:gd name="csX186" fmla="*/ 349094 w 733006"/>
              <a:gd name="csY186" fmla="*/ 659282 h 2084524"/>
              <a:gd name="csX187" fmla="*/ 362996 w 733006"/>
              <a:gd name="csY187" fmla="*/ 644234 h 2084524"/>
              <a:gd name="csX188" fmla="*/ 348472 w 733006"/>
              <a:gd name="csY188" fmla="*/ 624649 h 2084524"/>
              <a:gd name="csX189" fmla="*/ 298865 w 733006"/>
              <a:gd name="csY189" fmla="*/ 621954 h 2084524"/>
              <a:gd name="csX190" fmla="*/ 227796 w 733006"/>
              <a:gd name="csY190" fmla="*/ 528000 h 2084524"/>
              <a:gd name="csX191" fmla="*/ 241009 w 733006"/>
              <a:gd name="csY191" fmla="*/ 545897 h 2084524"/>
              <a:gd name="csX192" fmla="*/ 282607 w 733006"/>
              <a:gd name="csY192" fmla="*/ 543480 h 2084524"/>
              <a:gd name="csX193" fmla="*/ 354213 w 733006"/>
              <a:gd name="csY193" fmla="*/ 543384 h 2084524"/>
              <a:gd name="csX194" fmla="*/ 365334 w 733006"/>
              <a:gd name="csY194" fmla="*/ 533397 h 2084524"/>
              <a:gd name="csX195" fmla="*/ 354531 w 733006"/>
              <a:gd name="csY195" fmla="*/ 521620 h 2084524"/>
              <a:gd name="csX196" fmla="*/ 259169 w 733006"/>
              <a:gd name="csY196" fmla="*/ 521978 h 2084524"/>
              <a:gd name="csX197" fmla="*/ 227796 w 733006"/>
              <a:gd name="csY197" fmla="*/ 528000 h 2084524"/>
              <a:gd name="csX198" fmla="*/ 508068 w 733006"/>
              <a:gd name="csY198" fmla="*/ 190710 h 2084524"/>
              <a:gd name="csX199" fmla="*/ 521293 w 733006"/>
              <a:gd name="csY199" fmla="*/ 205907 h 2084524"/>
              <a:gd name="csX200" fmla="*/ 525175 w 733006"/>
              <a:gd name="csY200" fmla="*/ 202985 h 2084524"/>
              <a:gd name="csX201" fmla="*/ 500276 w 733006"/>
              <a:gd name="csY201" fmla="*/ 160640 h 2084524"/>
              <a:gd name="csX202" fmla="*/ 497122 w 733006"/>
              <a:gd name="csY202" fmla="*/ 162007 h 2084524"/>
              <a:gd name="csX203" fmla="*/ 508068 w 733006"/>
              <a:gd name="csY203" fmla="*/ 190710 h 2084524"/>
              <a:gd name="csX204" fmla="*/ 215522 w 733006"/>
              <a:gd name="csY204" fmla="*/ 197296 h 2084524"/>
              <a:gd name="csX205" fmla="*/ 234029 w 733006"/>
              <a:gd name="csY205" fmla="*/ 162725 h 2084524"/>
              <a:gd name="csX206" fmla="*/ 229000 w 733006"/>
              <a:gd name="csY206" fmla="*/ 159902 h 2084524"/>
              <a:gd name="csX207" fmla="*/ 204824 w 733006"/>
              <a:gd name="csY207" fmla="*/ 199677 h 2084524"/>
              <a:gd name="csX208" fmla="*/ 207990 w 733006"/>
              <a:gd name="csY208" fmla="*/ 202198 h 2084524"/>
              <a:gd name="csX209" fmla="*/ 215522 w 733006"/>
              <a:gd name="csY209" fmla="*/ 197296 h 2084524"/>
              <a:gd name="csX210" fmla="*/ 484400 w 733006"/>
              <a:gd name="csY210" fmla="*/ 896678 h 2084524"/>
              <a:gd name="csX211" fmla="*/ 486181 w 733006"/>
              <a:gd name="csY211" fmla="*/ 896585 h 2084524"/>
              <a:gd name="csX212" fmla="*/ 486181 w 733006"/>
              <a:gd name="csY212" fmla="*/ 795289 h 2084524"/>
              <a:gd name="csX213" fmla="*/ 720241 w 733006"/>
              <a:gd name="csY213" fmla="*/ 2030666 h 2084524"/>
              <a:gd name="csX214" fmla="*/ 721175 w 733006"/>
              <a:gd name="csY214" fmla="*/ 2029733 h 2084524"/>
              <a:gd name="csX215" fmla="*/ 720241 w 733006"/>
              <a:gd name="csY215" fmla="*/ 2030666 h 2084524"/>
              <a:gd name="csX216" fmla="*/ 715702 w 733006"/>
              <a:gd name="csY216" fmla="*/ 2037051 h 2084524"/>
              <a:gd name="csX217" fmla="*/ 715702 w 733006"/>
              <a:gd name="csY217" fmla="*/ 2037051 h 2084524"/>
              <a:gd name="csX0" fmla="*/ 96263 w 733006"/>
              <a:gd name="csY0" fmla="*/ 2076207 h 2095135"/>
              <a:gd name="csX1" fmla="*/ 63862 w 733006"/>
              <a:gd name="csY1" fmla="*/ 2065388 h 2095135"/>
              <a:gd name="csX2" fmla="*/ 16555 w 733006"/>
              <a:gd name="csY2" fmla="*/ 2050152 h 2095135"/>
              <a:gd name="csX3" fmla="*/ 15 w 733006"/>
              <a:gd name="csY3" fmla="*/ 2023802 h 2095135"/>
              <a:gd name="csX4" fmla="*/ 18368 w 733006"/>
              <a:gd name="csY4" fmla="*/ 1940709 h 2095135"/>
              <a:gd name="csX5" fmla="*/ 22139 w 733006"/>
              <a:gd name="csY5" fmla="*/ 1907268 h 2095135"/>
              <a:gd name="csX6" fmla="*/ 57941 w 733006"/>
              <a:gd name="csY6" fmla="*/ 1774163 h 2095135"/>
              <a:gd name="csX7" fmla="*/ 102478 w 733006"/>
              <a:gd name="csY7" fmla="*/ 1720275 h 2095135"/>
              <a:gd name="csX8" fmla="*/ 108579 w 733006"/>
              <a:gd name="csY8" fmla="*/ 1650967 h 2095135"/>
              <a:gd name="csX9" fmla="*/ 115628 w 733006"/>
              <a:gd name="csY9" fmla="*/ 1625405 h 2095135"/>
              <a:gd name="csX10" fmla="*/ 156323 w 733006"/>
              <a:gd name="csY10" fmla="*/ 1560181 h 2095135"/>
              <a:gd name="csX11" fmla="*/ 199424 w 733006"/>
              <a:gd name="csY11" fmla="*/ 1364729 h 2095135"/>
              <a:gd name="csX12" fmla="*/ 216779 w 733006"/>
              <a:gd name="csY12" fmla="*/ 1219490 h 2095135"/>
              <a:gd name="csX13" fmla="*/ 229755 w 733006"/>
              <a:gd name="csY13" fmla="*/ 1099357 h 2095135"/>
              <a:gd name="csX14" fmla="*/ 232707 w 733006"/>
              <a:gd name="csY14" fmla="*/ 1056423 h 2095135"/>
              <a:gd name="csX15" fmla="*/ 235622 w 733006"/>
              <a:gd name="csY15" fmla="*/ 952675 h 2095135"/>
              <a:gd name="csX16" fmla="*/ 235445 w 733006"/>
              <a:gd name="csY16" fmla="*/ 780278 h 2095135"/>
              <a:gd name="csX17" fmla="*/ 214544 w 733006"/>
              <a:gd name="csY17" fmla="*/ 756435 h 2095135"/>
              <a:gd name="csX18" fmla="*/ 172569 w 733006"/>
              <a:gd name="csY18" fmla="*/ 742582 h 2095135"/>
              <a:gd name="csX19" fmla="*/ 168784 w 733006"/>
              <a:gd name="csY19" fmla="*/ 669116 h 2095135"/>
              <a:gd name="csX20" fmla="*/ 191657 w 733006"/>
              <a:gd name="csY20" fmla="*/ 630765 h 2095135"/>
              <a:gd name="csX21" fmla="*/ 208150 w 733006"/>
              <a:gd name="csY21" fmla="*/ 609084 h 2095135"/>
              <a:gd name="csX22" fmla="*/ 216756 w 733006"/>
              <a:gd name="csY22" fmla="*/ 558673 h 2095135"/>
              <a:gd name="csX23" fmla="*/ 209092 w 733006"/>
              <a:gd name="csY23" fmla="*/ 521540 h 2095135"/>
              <a:gd name="csX24" fmla="*/ 204683 w 733006"/>
              <a:gd name="csY24" fmla="*/ 474024 h 2095135"/>
              <a:gd name="csX25" fmla="*/ 115483 w 733006"/>
              <a:gd name="csY25" fmla="*/ 213499 h 2095135"/>
              <a:gd name="csX26" fmla="*/ 102909 w 733006"/>
              <a:gd name="csY26" fmla="*/ 182297 h 2095135"/>
              <a:gd name="csX27" fmla="*/ 104315 w 733006"/>
              <a:gd name="csY27" fmla="*/ 163968 h 2095135"/>
              <a:gd name="csX28" fmla="*/ 122444 w 733006"/>
              <a:gd name="csY28" fmla="*/ 160805 h 2095135"/>
              <a:gd name="csX29" fmla="*/ 170283 w 733006"/>
              <a:gd name="csY29" fmla="*/ 187783 h 2095135"/>
              <a:gd name="csX30" fmla="*/ 180938 w 733006"/>
              <a:gd name="csY30" fmla="*/ 195322 h 2095135"/>
              <a:gd name="csX31" fmla="*/ 221419 w 733006"/>
              <a:gd name="csY31" fmla="*/ 138058 h 2095135"/>
              <a:gd name="csX32" fmla="*/ 294099 w 733006"/>
              <a:gd name="csY32" fmla="*/ 91372 h 2095135"/>
              <a:gd name="csX33" fmla="*/ 302307 w 733006"/>
              <a:gd name="csY33" fmla="*/ 76560 h 2095135"/>
              <a:gd name="csX34" fmla="*/ 320284 w 733006"/>
              <a:gd name="csY34" fmla="*/ 8414 h 2095135"/>
              <a:gd name="csX35" fmla="*/ 324784 w 733006"/>
              <a:gd name="csY35" fmla="*/ 946 h 2095135"/>
              <a:gd name="csX36" fmla="*/ 399212 w 733006"/>
              <a:gd name="csY36" fmla="*/ 0 h 2095135"/>
              <a:gd name="csX37" fmla="*/ 425980 w 733006"/>
              <a:gd name="csY37" fmla="*/ 78301 h 2095135"/>
              <a:gd name="csX38" fmla="*/ 431861 w 733006"/>
              <a:gd name="csY38" fmla="*/ 90312 h 2095135"/>
              <a:gd name="csX39" fmla="*/ 540349 w 733006"/>
              <a:gd name="csY39" fmla="*/ 187946 h 2095135"/>
              <a:gd name="csX40" fmla="*/ 545555 w 733006"/>
              <a:gd name="csY40" fmla="*/ 197828 h 2095135"/>
              <a:gd name="csX41" fmla="*/ 587318 w 733006"/>
              <a:gd name="csY41" fmla="*/ 171260 h 2095135"/>
              <a:gd name="csX42" fmla="*/ 601503 w 733006"/>
              <a:gd name="csY42" fmla="*/ 163707 h 2095135"/>
              <a:gd name="csX43" fmla="*/ 625254 w 733006"/>
              <a:gd name="csY43" fmla="*/ 163123 h 2095135"/>
              <a:gd name="csX44" fmla="*/ 625468 w 733006"/>
              <a:gd name="csY44" fmla="*/ 187579 h 2095135"/>
              <a:gd name="csX45" fmla="*/ 597543 w 733006"/>
              <a:gd name="csY45" fmla="*/ 251872 h 2095135"/>
              <a:gd name="csX46" fmla="*/ 531831 w 733006"/>
              <a:gd name="csY46" fmla="*/ 442689 h 2095135"/>
              <a:gd name="csX47" fmla="*/ 519888 w 733006"/>
              <a:gd name="csY47" fmla="*/ 501474 h 2095135"/>
              <a:gd name="csX48" fmla="*/ 522506 w 733006"/>
              <a:gd name="csY48" fmla="*/ 525086 h 2095135"/>
              <a:gd name="csX49" fmla="*/ 516235 w 733006"/>
              <a:gd name="csY49" fmla="*/ 555946 h 2095135"/>
              <a:gd name="csX50" fmla="*/ 521332 w 733006"/>
              <a:gd name="csY50" fmla="*/ 610676 h 2095135"/>
              <a:gd name="csX51" fmla="*/ 541382 w 733006"/>
              <a:gd name="csY51" fmla="*/ 642597 h 2095135"/>
              <a:gd name="csX52" fmla="*/ 557031 w 733006"/>
              <a:gd name="csY52" fmla="*/ 667949 h 2095135"/>
              <a:gd name="csX53" fmla="*/ 553994 w 733006"/>
              <a:gd name="csY53" fmla="*/ 744146 h 2095135"/>
              <a:gd name="csX54" fmla="*/ 508215 w 733006"/>
              <a:gd name="csY54" fmla="*/ 758841 h 2095135"/>
              <a:gd name="csX55" fmla="*/ 497442 w 733006"/>
              <a:gd name="csY55" fmla="*/ 771256 h 2095135"/>
              <a:gd name="csX56" fmla="*/ 493005 w 733006"/>
              <a:gd name="csY56" fmla="*/ 922055 h 2095135"/>
              <a:gd name="csX57" fmla="*/ 502900 w 733006"/>
              <a:gd name="csY57" fmla="*/ 1114191 h 2095135"/>
              <a:gd name="csX58" fmla="*/ 508800 w 733006"/>
              <a:gd name="csY58" fmla="*/ 1205474 h 2095135"/>
              <a:gd name="csX59" fmla="*/ 522952 w 733006"/>
              <a:gd name="csY59" fmla="*/ 1320065 h 2095135"/>
              <a:gd name="csX60" fmla="*/ 554682 w 733006"/>
              <a:gd name="csY60" fmla="*/ 1501203 h 2095135"/>
              <a:gd name="csX61" fmla="*/ 576958 w 733006"/>
              <a:gd name="csY61" fmla="*/ 1593963 h 2095135"/>
              <a:gd name="csX62" fmla="*/ 595349 w 733006"/>
              <a:gd name="csY62" fmla="*/ 1613498 h 2095135"/>
              <a:gd name="csX63" fmla="*/ 613936 w 733006"/>
              <a:gd name="csY63" fmla="*/ 1624058 h 2095135"/>
              <a:gd name="csX64" fmla="*/ 620938 w 733006"/>
              <a:gd name="csY64" fmla="*/ 1652071 h 2095135"/>
              <a:gd name="csX65" fmla="*/ 630805 w 733006"/>
              <a:gd name="csY65" fmla="*/ 1721702 h 2095135"/>
              <a:gd name="csX66" fmla="*/ 685830 w 733006"/>
              <a:gd name="csY66" fmla="*/ 1792915 h 2095135"/>
              <a:gd name="csX67" fmla="*/ 708904 w 733006"/>
              <a:gd name="csY67" fmla="*/ 1890290 h 2095135"/>
              <a:gd name="csX68" fmla="*/ 716580 w 733006"/>
              <a:gd name="csY68" fmla="*/ 1951136 h 2095135"/>
              <a:gd name="csX69" fmla="*/ 729397 w 733006"/>
              <a:gd name="csY69" fmla="*/ 2030261 h 2095135"/>
              <a:gd name="csX70" fmla="*/ 714212 w 733006"/>
              <a:gd name="csY70" fmla="*/ 2049544 h 2095135"/>
              <a:gd name="csX71" fmla="*/ 96263 w 733006"/>
              <a:gd name="csY71" fmla="*/ 2076207 h 2095135"/>
              <a:gd name="csX72" fmla="*/ 489970 w 733006"/>
              <a:gd name="csY72" fmla="*/ 152208 h 2095135"/>
              <a:gd name="csX73" fmla="*/ 490754 w 733006"/>
              <a:gd name="csY73" fmla="*/ 152592 h 2095135"/>
              <a:gd name="csX74" fmla="*/ 489489 w 733006"/>
              <a:gd name="csY74" fmla="*/ 149547 h 2095135"/>
              <a:gd name="csX75" fmla="*/ 393621 w 733006"/>
              <a:gd name="csY75" fmla="*/ 99259 h 2095135"/>
              <a:gd name="csX76" fmla="*/ 390419 w 733006"/>
              <a:gd name="csY76" fmla="*/ 18568 h 2095135"/>
              <a:gd name="csX77" fmla="*/ 334131 w 733006"/>
              <a:gd name="csY77" fmla="*/ 24327 h 2095135"/>
              <a:gd name="csX78" fmla="*/ 344678 w 733006"/>
              <a:gd name="csY78" fmla="*/ 101259 h 2095135"/>
              <a:gd name="csX79" fmla="*/ 298854 w 733006"/>
              <a:gd name="csY79" fmla="*/ 114003 h 2095135"/>
              <a:gd name="csX80" fmla="*/ 237456 w 733006"/>
              <a:gd name="csY80" fmla="*/ 154340 h 2095135"/>
              <a:gd name="csX81" fmla="*/ 240382 w 733006"/>
              <a:gd name="csY81" fmla="*/ 154035 h 2095135"/>
              <a:gd name="csX82" fmla="*/ 262731 w 733006"/>
              <a:gd name="csY82" fmla="*/ 170426 h 2095135"/>
              <a:gd name="csX83" fmla="*/ 279169 w 733006"/>
              <a:gd name="csY83" fmla="*/ 193173 h 2095135"/>
              <a:gd name="csX84" fmla="*/ 327717 w 733006"/>
              <a:gd name="csY84" fmla="*/ 188556 h 2095135"/>
              <a:gd name="csX85" fmla="*/ 348052 w 733006"/>
              <a:gd name="csY85" fmla="*/ 156919 h 2095135"/>
              <a:gd name="csX86" fmla="*/ 380330 w 733006"/>
              <a:gd name="csY86" fmla="*/ 156483 h 2095135"/>
              <a:gd name="csX87" fmla="*/ 408490 w 733006"/>
              <a:gd name="csY87" fmla="*/ 195400 h 2095135"/>
              <a:gd name="csX88" fmla="*/ 445346 w 733006"/>
              <a:gd name="csY88" fmla="*/ 197582 h 2095135"/>
              <a:gd name="csX89" fmla="*/ 464798 w 733006"/>
              <a:gd name="csY89" fmla="*/ 174107 h 2095135"/>
              <a:gd name="csX90" fmla="*/ 489970 w 733006"/>
              <a:gd name="csY90" fmla="*/ 152208 h 2095135"/>
              <a:gd name="csX91" fmla="*/ 140694 w 733006"/>
              <a:gd name="csY91" fmla="*/ 201837 h 2095135"/>
              <a:gd name="csX92" fmla="*/ 139834 w 733006"/>
              <a:gd name="csY92" fmla="*/ 201482 h 2095135"/>
              <a:gd name="csX93" fmla="*/ 140812 w 733006"/>
              <a:gd name="csY93" fmla="*/ 204941 h 2095135"/>
              <a:gd name="csX94" fmla="*/ 144631 w 733006"/>
              <a:gd name="csY94" fmla="*/ 217811 h 2095135"/>
              <a:gd name="csX95" fmla="*/ 201241 w 733006"/>
              <a:gd name="csY95" fmla="*/ 373387 h 2095135"/>
              <a:gd name="csX96" fmla="*/ 235971 w 733006"/>
              <a:gd name="csY96" fmla="*/ 504451 h 2095135"/>
              <a:gd name="csX97" fmla="*/ 247475 w 733006"/>
              <a:gd name="csY97" fmla="*/ 513241 h 2095135"/>
              <a:gd name="csX98" fmla="*/ 289066 w 733006"/>
              <a:gd name="csY98" fmla="*/ 511170 h 2095135"/>
              <a:gd name="csX99" fmla="*/ 378229 w 733006"/>
              <a:gd name="csY99" fmla="*/ 511084 h 2095135"/>
              <a:gd name="csX100" fmla="*/ 470850 w 733006"/>
              <a:gd name="csY100" fmla="*/ 516341 h 2095135"/>
              <a:gd name="csX101" fmla="*/ 492933 w 733006"/>
              <a:gd name="csY101" fmla="*/ 497969 h 2095135"/>
              <a:gd name="csX102" fmla="*/ 557617 w 733006"/>
              <a:gd name="csY102" fmla="*/ 280398 h 2095135"/>
              <a:gd name="csX103" fmla="*/ 588788 w 733006"/>
              <a:gd name="csY103" fmla="*/ 200385 h 2095135"/>
              <a:gd name="csX104" fmla="*/ 530958 w 733006"/>
              <a:gd name="csY104" fmla="*/ 232968 h 2095135"/>
              <a:gd name="csX105" fmla="*/ 483823 w 733006"/>
              <a:gd name="csY105" fmla="*/ 190364 h 2095135"/>
              <a:gd name="csX106" fmla="*/ 466649 w 733006"/>
              <a:gd name="csY106" fmla="*/ 209061 h 2095135"/>
              <a:gd name="csX107" fmla="*/ 399941 w 733006"/>
              <a:gd name="csY107" fmla="*/ 216988 h 2095135"/>
              <a:gd name="csX108" fmla="*/ 363018 w 733006"/>
              <a:gd name="csY108" fmla="*/ 179615 h 2095135"/>
              <a:gd name="csX109" fmla="*/ 308839 w 733006"/>
              <a:gd name="csY109" fmla="*/ 227846 h 2095135"/>
              <a:gd name="csX110" fmla="*/ 245077 w 733006"/>
              <a:gd name="csY110" fmla="*/ 192402 h 2095135"/>
              <a:gd name="csX111" fmla="*/ 242829 w 733006"/>
              <a:gd name="csY111" fmla="*/ 198815 h 2095135"/>
              <a:gd name="csX112" fmla="*/ 168452 w 733006"/>
              <a:gd name="csY112" fmla="*/ 219348 h 2095135"/>
              <a:gd name="csX113" fmla="*/ 140694 w 733006"/>
              <a:gd name="csY113" fmla="*/ 201837 h 2095135"/>
              <a:gd name="csX114" fmla="*/ 259999 w 733006"/>
              <a:gd name="csY114" fmla="*/ 966699 h 2095135"/>
              <a:gd name="csX115" fmla="*/ 257072 w 733006"/>
              <a:gd name="csY115" fmla="*/ 1070424 h 2095135"/>
              <a:gd name="csX116" fmla="*/ 251372 w 733006"/>
              <a:gd name="csY116" fmla="*/ 1157618 h 2095135"/>
              <a:gd name="csX117" fmla="*/ 232677 w 733006"/>
              <a:gd name="csY117" fmla="*/ 1320279 h 2095135"/>
              <a:gd name="csX118" fmla="*/ 209182 w 733006"/>
              <a:gd name="csY118" fmla="*/ 1468667 h 2095135"/>
              <a:gd name="csX119" fmla="*/ 175302 w 733006"/>
              <a:gd name="csY119" fmla="*/ 1616623 h 2095135"/>
              <a:gd name="csX120" fmla="*/ 182769 w 733006"/>
              <a:gd name="csY120" fmla="*/ 1629786 h 2095135"/>
              <a:gd name="csX121" fmla="*/ 212156 w 733006"/>
              <a:gd name="csY121" fmla="*/ 1632656 h 2095135"/>
              <a:gd name="csX122" fmla="*/ 351295 w 733006"/>
              <a:gd name="csY122" fmla="*/ 1632801 h 2095135"/>
              <a:gd name="csX123" fmla="*/ 376150 w 733006"/>
              <a:gd name="csY123" fmla="*/ 1608307 h 2095135"/>
              <a:gd name="csX124" fmla="*/ 373450 w 733006"/>
              <a:gd name="csY124" fmla="*/ 1457291 h 2095135"/>
              <a:gd name="csX125" fmla="*/ 370936 w 733006"/>
              <a:gd name="csY125" fmla="*/ 1342736 h 2095135"/>
              <a:gd name="csX126" fmla="*/ 368328 w 733006"/>
              <a:gd name="csY126" fmla="*/ 1203878 h 2095135"/>
              <a:gd name="csX127" fmla="*/ 367836 w 733006"/>
              <a:gd name="csY127" fmla="*/ 813478 h 2095135"/>
              <a:gd name="csX128" fmla="*/ 365240 w 733006"/>
              <a:gd name="csY128" fmla="*/ 773243 h 2095135"/>
              <a:gd name="csX129" fmla="*/ 353084 w 733006"/>
              <a:gd name="csY129" fmla="*/ 762083 h 2095135"/>
              <a:gd name="csX130" fmla="*/ 280966 w 733006"/>
              <a:gd name="csY130" fmla="*/ 759855 h 2095135"/>
              <a:gd name="csX131" fmla="*/ 259965 w 733006"/>
              <a:gd name="csY131" fmla="*/ 779553 h 2095135"/>
              <a:gd name="csX132" fmla="*/ 262341 w 733006"/>
              <a:gd name="csY132" fmla="*/ 856275 h 2095135"/>
              <a:gd name="csX133" fmla="*/ 259999 w 733006"/>
              <a:gd name="csY133" fmla="*/ 966699 h 2095135"/>
              <a:gd name="csX134" fmla="*/ 55556 w 733006"/>
              <a:gd name="csY134" fmla="*/ 1835827 h 2095135"/>
              <a:gd name="csX135" fmla="*/ 49393 w 733006"/>
              <a:gd name="csY135" fmla="*/ 1878155 h 2095135"/>
              <a:gd name="csX136" fmla="*/ 73949 w 733006"/>
              <a:gd name="csY136" fmla="*/ 1905781 h 2095135"/>
              <a:gd name="csX137" fmla="*/ 110073 w 733006"/>
              <a:gd name="csY137" fmla="*/ 1909068 h 2095135"/>
              <a:gd name="csX138" fmla="*/ 224745 w 733006"/>
              <a:gd name="csY138" fmla="*/ 1921652 h 2095135"/>
              <a:gd name="csX139" fmla="*/ 347327 w 733006"/>
              <a:gd name="csY139" fmla="*/ 1924778 h 2095135"/>
              <a:gd name="csX140" fmla="*/ 363345 w 733006"/>
              <a:gd name="csY140" fmla="*/ 1923293 h 2095135"/>
              <a:gd name="csX141" fmla="*/ 373787 w 733006"/>
              <a:gd name="csY141" fmla="*/ 1911200 h 2095135"/>
              <a:gd name="csX142" fmla="*/ 376623 w 733006"/>
              <a:gd name="csY142" fmla="*/ 1696741 h 2095135"/>
              <a:gd name="csX143" fmla="*/ 360437 w 733006"/>
              <a:gd name="csY143" fmla="*/ 1681289 h 2095135"/>
              <a:gd name="csX144" fmla="*/ 263503 w 733006"/>
              <a:gd name="csY144" fmla="*/ 1678179 h 2095135"/>
              <a:gd name="csX145" fmla="*/ 160381 w 733006"/>
              <a:gd name="csY145" fmla="*/ 1670405 h 2095135"/>
              <a:gd name="csX146" fmla="*/ 143321 w 733006"/>
              <a:gd name="csY146" fmla="*/ 1685538 h 2095135"/>
              <a:gd name="csX147" fmla="*/ 124769 w 733006"/>
              <a:gd name="csY147" fmla="*/ 1738195 h 2095135"/>
              <a:gd name="csX148" fmla="*/ 90593 w 733006"/>
              <a:gd name="csY148" fmla="*/ 1779570 h 2095135"/>
              <a:gd name="csX149" fmla="*/ 55556 w 733006"/>
              <a:gd name="csY149" fmla="*/ 1835827 h 2095135"/>
              <a:gd name="csX150" fmla="*/ 378900 w 733006"/>
              <a:gd name="csY150" fmla="*/ 2007280 h 2095135"/>
              <a:gd name="csX151" fmla="*/ 378887 w 733006"/>
              <a:gd name="csY151" fmla="*/ 1995127 h 2095135"/>
              <a:gd name="csX152" fmla="*/ 359084 w 733006"/>
              <a:gd name="csY152" fmla="*/ 1975964 h 2095135"/>
              <a:gd name="csX153" fmla="*/ 247288 w 733006"/>
              <a:gd name="csY153" fmla="*/ 1973305 h 2095135"/>
              <a:gd name="csX154" fmla="*/ 201692 w 733006"/>
              <a:gd name="csY154" fmla="*/ 1970275 h 2095135"/>
              <a:gd name="csX155" fmla="*/ 57962 w 733006"/>
              <a:gd name="csY155" fmla="*/ 1952648 h 2095135"/>
              <a:gd name="csX156" fmla="*/ 39194 w 733006"/>
              <a:gd name="csY156" fmla="*/ 1963552 h 2095135"/>
              <a:gd name="csX157" fmla="*/ 30066 w 733006"/>
              <a:gd name="csY157" fmla="*/ 2006631 h 2095135"/>
              <a:gd name="csX158" fmla="*/ 40232 w 733006"/>
              <a:gd name="csY158" fmla="*/ 2019486 h 2095135"/>
              <a:gd name="csX159" fmla="*/ 238186 w 733006"/>
              <a:gd name="csY159" fmla="*/ 2046096 h 2095135"/>
              <a:gd name="csX160" fmla="*/ 342155 w 733006"/>
              <a:gd name="csY160" fmla="*/ 2046441 h 2095135"/>
              <a:gd name="csX161" fmla="*/ 378900 w 733006"/>
              <a:gd name="csY161" fmla="*/ 2007280 h 2095135"/>
              <a:gd name="csX162" fmla="*/ 310220 w 733006"/>
              <a:gd name="csY162" fmla="*/ 554288 h 2095135"/>
              <a:gd name="csX163" fmla="*/ 259136 w 733006"/>
              <a:gd name="csY163" fmla="*/ 556881 h 2095135"/>
              <a:gd name="csX164" fmla="*/ 249085 w 733006"/>
              <a:gd name="csY164" fmla="*/ 567981 h 2095135"/>
              <a:gd name="csX165" fmla="*/ 249141 w 733006"/>
              <a:gd name="csY165" fmla="*/ 605644 h 2095135"/>
              <a:gd name="csX166" fmla="*/ 262628 w 733006"/>
              <a:gd name="csY166" fmla="*/ 605627 h 2095135"/>
              <a:gd name="csX167" fmla="*/ 369608 w 733006"/>
              <a:gd name="csY167" fmla="*/ 603027 h 2095135"/>
              <a:gd name="csX168" fmla="*/ 463931 w 733006"/>
              <a:gd name="csY168" fmla="*/ 605146 h 2095135"/>
              <a:gd name="csX169" fmla="*/ 478113 w 733006"/>
              <a:gd name="csY169" fmla="*/ 595843 h 2095135"/>
              <a:gd name="csX170" fmla="*/ 478796 w 733006"/>
              <a:gd name="csY170" fmla="*/ 556832 h 2095135"/>
              <a:gd name="csX171" fmla="*/ 310220 w 733006"/>
              <a:gd name="csY171" fmla="*/ 554288 h 2095135"/>
              <a:gd name="csX172" fmla="*/ 348836 w 733006"/>
              <a:gd name="csY172" fmla="*/ 684115 h 2095135"/>
              <a:gd name="csX173" fmla="*/ 281333 w 733006"/>
              <a:gd name="csY173" fmla="*/ 683313 h 2095135"/>
              <a:gd name="csX174" fmla="*/ 212728 w 733006"/>
              <a:gd name="csY174" fmla="*/ 681931 h 2095135"/>
              <a:gd name="csX175" fmla="*/ 187283 w 733006"/>
              <a:gd name="csY175" fmla="*/ 689555 h 2095135"/>
              <a:gd name="csX176" fmla="*/ 186163 w 733006"/>
              <a:gd name="csY176" fmla="*/ 718266 h 2095135"/>
              <a:gd name="csX177" fmla="*/ 209894 w 733006"/>
              <a:gd name="csY177" fmla="*/ 726798 h 2095135"/>
              <a:gd name="csX178" fmla="*/ 334814 w 733006"/>
              <a:gd name="csY178" fmla="*/ 732494 h 2095135"/>
              <a:gd name="csX179" fmla="*/ 364856 w 733006"/>
              <a:gd name="csY179" fmla="*/ 707963 h 2095135"/>
              <a:gd name="csX180" fmla="*/ 348836 w 733006"/>
              <a:gd name="csY180" fmla="*/ 684115 h 2095135"/>
              <a:gd name="csX181" fmla="*/ 298865 w 733006"/>
              <a:gd name="csY181" fmla="*/ 621954 h 2095135"/>
              <a:gd name="csX182" fmla="*/ 251619 w 733006"/>
              <a:gd name="csY182" fmla="*/ 622133 h 2095135"/>
              <a:gd name="csX183" fmla="*/ 214459 w 733006"/>
              <a:gd name="csY183" fmla="*/ 636230 h 2095135"/>
              <a:gd name="csX184" fmla="*/ 221436 w 733006"/>
              <a:gd name="csY184" fmla="*/ 654205 h 2095135"/>
              <a:gd name="csX185" fmla="*/ 272412 w 733006"/>
              <a:gd name="csY185" fmla="*/ 657250 h 2095135"/>
              <a:gd name="csX186" fmla="*/ 349094 w 733006"/>
              <a:gd name="csY186" fmla="*/ 659282 h 2095135"/>
              <a:gd name="csX187" fmla="*/ 362996 w 733006"/>
              <a:gd name="csY187" fmla="*/ 644234 h 2095135"/>
              <a:gd name="csX188" fmla="*/ 348472 w 733006"/>
              <a:gd name="csY188" fmla="*/ 624649 h 2095135"/>
              <a:gd name="csX189" fmla="*/ 298865 w 733006"/>
              <a:gd name="csY189" fmla="*/ 621954 h 2095135"/>
              <a:gd name="csX190" fmla="*/ 227796 w 733006"/>
              <a:gd name="csY190" fmla="*/ 528000 h 2095135"/>
              <a:gd name="csX191" fmla="*/ 241009 w 733006"/>
              <a:gd name="csY191" fmla="*/ 545897 h 2095135"/>
              <a:gd name="csX192" fmla="*/ 282607 w 733006"/>
              <a:gd name="csY192" fmla="*/ 543480 h 2095135"/>
              <a:gd name="csX193" fmla="*/ 354213 w 733006"/>
              <a:gd name="csY193" fmla="*/ 543384 h 2095135"/>
              <a:gd name="csX194" fmla="*/ 365334 w 733006"/>
              <a:gd name="csY194" fmla="*/ 533397 h 2095135"/>
              <a:gd name="csX195" fmla="*/ 354531 w 733006"/>
              <a:gd name="csY195" fmla="*/ 521620 h 2095135"/>
              <a:gd name="csX196" fmla="*/ 259169 w 733006"/>
              <a:gd name="csY196" fmla="*/ 521978 h 2095135"/>
              <a:gd name="csX197" fmla="*/ 227796 w 733006"/>
              <a:gd name="csY197" fmla="*/ 528000 h 2095135"/>
              <a:gd name="csX198" fmla="*/ 508068 w 733006"/>
              <a:gd name="csY198" fmla="*/ 190710 h 2095135"/>
              <a:gd name="csX199" fmla="*/ 521293 w 733006"/>
              <a:gd name="csY199" fmla="*/ 205907 h 2095135"/>
              <a:gd name="csX200" fmla="*/ 525175 w 733006"/>
              <a:gd name="csY200" fmla="*/ 202985 h 2095135"/>
              <a:gd name="csX201" fmla="*/ 500276 w 733006"/>
              <a:gd name="csY201" fmla="*/ 160640 h 2095135"/>
              <a:gd name="csX202" fmla="*/ 497122 w 733006"/>
              <a:gd name="csY202" fmla="*/ 162007 h 2095135"/>
              <a:gd name="csX203" fmla="*/ 508068 w 733006"/>
              <a:gd name="csY203" fmla="*/ 190710 h 2095135"/>
              <a:gd name="csX204" fmla="*/ 215522 w 733006"/>
              <a:gd name="csY204" fmla="*/ 197296 h 2095135"/>
              <a:gd name="csX205" fmla="*/ 234029 w 733006"/>
              <a:gd name="csY205" fmla="*/ 162725 h 2095135"/>
              <a:gd name="csX206" fmla="*/ 229000 w 733006"/>
              <a:gd name="csY206" fmla="*/ 159902 h 2095135"/>
              <a:gd name="csX207" fmla="*/ 204824 w 733006"/>
              <a:gd name="csY207" fmla="*/ 199677 h 2095135"/>
              <a:gd name="csX208" fmla="*/ 207990 w 733006"/>
              <a:gd name="csY208" fmla="*/ 202198 h 2095135"/>
              <a:gd name="csX209" fmla="*/ 215522 w 733006"/>
              <a:gd name="csY209" fmla="*/ 197296 h 2095135"/>
              <a:gd name="csX210" fmla="*/ 484400 w 733006"/>
              <a:gd name="csY210" fmla="*/ 896678 h 2095135"/>
              <a:gd name="csX211" fmla="*/ 486181 w 733006"/>
              <a:gd name="csY211" fmla="*/ 896585 h 2095135"/>
              <a:gd name="csX212" fmla="*/ 486181 w 733006"/>
              <a:gd name="csY212" fmla="*/ 795289 h 2095135"/>
              <a:gd name="csX213" fmla="*/ 720241 w 733006"/>
              <a:gd name="csY213" fmla="*/ 2030666 h 2095135"/>
              <a:gd name="csX214" fmla="*/ 721175 w 733006"/>
              <a:gd name="csY214" fmla="*/ 2029733 h 2095135"/>
              <a:gd name="csX215" fmla="*/ 720241 w 733006"/>
              <a:gd name="csY215" fmla="*/ 2030666 h 2095135"/>
              <a:gd name="csX216" fmla="*/ 715702 w 733006"/>
              <a:gd name="csY216" fmla="*/ 2037051 h 2095135"/>
              <a:gd name="csX217" fmla="*/ 715702 w 733006"/>
              <a:gd name="csY217" fmla="*/ 2037051 h 2095135"/>
              <a:gd name="csX0" fmla="*/ 96263 w 733006"/>
              <a:gd name="csY0" fmla="*/ 2076207 h 2095135"/>
              <a:gd name="csX1" fmla="*/ 63862 w 733006"/>
              <a:gd name="csY1" fmla="*/ 2065388 h 2095135"/>
              <a:gd name="csX2" fmla="*/ 16555 w 733006"/>
              <a:gd name="csY2" fmla="*/ 2050152 h 2095135"/>
              <a:gd name="csX3" fmla="*/ 15 w 733006"/>
              <a:gd name="csY3" fmla="*/ 2023802 h 2095135"/>
              <a:gd name="csX4" fmla="*/ 18368 w 733006"/>
              <a:gd name="csY4" fmla="*/ 1940709 h 2095135"/>
              <a:gd name="csX5" fmla="*/ 22139 w 733006"/>
              <a:gd name="csY5" fmla="*/ 1907268 h 2095135"/>
              <a:gd name="csX6" fmla="*/ 57941 w 733006"/>
              <a:gd name="csY6" fmla="*/ 1774163 h 2095135"/>
              <a:gd name="csX7" fmla="*/ 102478 w 733006"/>
              <a:gd name="csY7" fmla="*/ 1720275 h 2095135"/>
              <a:gd name="csX8" fmla="*/ 108579 w 733006"/>
              <a:gd name="csY8" fmla="*/ 1650967 h 2095135"/>
              <a:gd name="csX9" fmla="*/ 115628 w 733006"/>
              <a:gd name="csY9" fmla="*/ 1625405 h 2095135"/>
              <a:gd name="csX10" fmla="*/ 156323 w 733006"/>
              <a:gd name="csY10" fmla="*/ 1560181 h 2095135"/>
              <a:gd name="csX11" fmla="*/ 199424 w 733006"/>
              <a:gd name="csY11" fmla="*/ 1364729 h 2095135"/>
              <a:gd name="csX12" fmla="*/ 216779 w 733006"/>
              <a:gd name="csY12" fmla="*/ 1219490 h 2095135"/>
              <a:gd name="csX13" fmla="*/ 229755 w 733006"/>
              <a:gd name="csY13" fmla="*/ 1099357 h 2095135"/>
              <a:gd name="csX14" fmla="*/ 232707 w 733006"/>
              <a:gd name="csY14" fmla="*/ 1056423 h 2095135"/>
              <a:gd name="csX15" fmla="*/ 235622 w 733006"/>
              <a:gd name="csY15" fmla="*/ 952675 h 2095135"/>
              <a:gd name="csX16" fmla="*/ 235445 w 733006"/>
              <a:gd name="csY16" fmla="*/ 780278 h 2095135"/>
              <a:gd name="csX17" fmla="*/ 214544 w 733006"/>
              <a:gd name="csY17" fmla="*/ 756435 h 2095135"/>
              <a:gd name="csX18" fmla="*/ 172569 w 733006"/>
              <a:gd name="csY18" fmla="*/ 742582 h 2095135"/>
              <a:gd name="csX19" fmla="*/ 168784 w 733006"/>
              <a:gd name="csY19" fmla="*/ 669116 h 2095135"/>
              <a:gd name="csX20" fmla="*/ 191657 w 733006"/>
              <a:gd name="csY20" fmla="*/ 630765 h 2095135"/>
              <a:gd name="csX21" fmla="*/ 208150 w 733006"/>
              <a:gd name="csY21" fmla="*/ 609084 h 2095135"/>
              <a:gd name="csX22" fmla="*/ 216756 w 733006"/>
              <a:gd name="csY22" fmla="*/ 558673 h 2095135"/>
              <a:gd name="csX23" fmla="*/ 209092 w 733006"/>
              <a:gd name="csY23" fmla="*/ 521540 h 2095135"/>
              <a:gd name="csX24" fmla="*/ 204683 w 733006"/>
              <a:gd name="csY24" fmla="*/ 474024 h 2095135"/>
              <a:gd name="csX25" fmla="*/ 115483 w 733006"/>
              <a:gd name="csY25" fmla="*/ 213499 h 2095135"/>
              <a:gd name="csX26" fmla="*/ 102909 w 733006"/>
              <a:gd name="csY26" fmla="*/ 182297 h 2095135"/>
              <a:gd name="csX27" fmla="*/ 104315 w 733006"/>
              <a:gd name="csY27" fmla="*/ 163968 h 2095135"/>
              <a:gd name="csX28" fmla="*/ 122444 w 733006"/>
              <a:gd name="csY28" fmla="*/ 160805 h 2095135"/>
              <a:gd name="csX29" fmla="*/ 170283 w 733006"/>
              <a:gd name="csY29" fmla="*/ 187783 h 2095135"/>
              <a:gd name="csX30" fmla="*/ 180938 w 733006"/>
              <a:gd name="csY30" fmla="*/ 195322 h 2095135"/>
              <a:gd name="csX31" fmla="*/ 221419 w 733006"/>
              <a:gd name="csY31" fmla="*/ 138058 h 2095135"/>
              <a:gd name="csX32" fmla="*/ 294099 w 733006"/>
              <a:gd name="csY32" fmla="*/ 91372 h 2095135"/>
              <a:gd name="csX33" fmla="*/ 302307 w 733006"/>
              <a:gd name="csY33" fmla="*/ 76560 h 2095135"/>
              <a:gd name="csX34" fmla="*/ 320284 w 733006"/>
              <a:gd name="csY34" fmla="*/ 8414 h 2095135"/>
              <a:gd name="csX35" fmla="*/ 324784 w 733006"/>
              <a:gd name="csY35" fmla="*/ 946 h 2095135"/>
              <a:gd name="csX36" fmla="*/ 399212 w 733006"/>
              <a:gd name="csY36" fmla="*/ 0 h 2095135"/>
              <a:gd name="csX37" fmla="*/ 425980 w 733006"/>
              <a:gd name="csY37" fmla="*/ 78301 h 2095135"/>
              <a:gd name="csX38" fmla="*/ 431861 w 733006"/>
              <a:gd name="csY38" fmla="*/ 90312 h 2095135"/>
              <a:gd name="csX39" fmla="*/ 540349 w 733006"/>
              <a:gd name="csY39" fmla="*/ 187946 h 2095135"/>
              <a:gd name="csX40" fmla="*/ 545555 w 733006"/>
              <a:gd name="csY40" fmla="*/ 197828 h 2095135"/>
              <a:gd name="csX41" fmla="*/ 587318 w 733006"/>
              <a:gd name="csY41" fmla="*/ 171260 h 2095135"/>
              <a:gd name="csX42" fmla="*/ 601503 w 733006"/>
              <a:gd name="csY42" fmla="*/ 163707 h 2095135"/>
              <a:gd name="csX43" fmla="*/ 625254 w 733006"/>
              <a:gd name="csY43" fmla="*/ 163123 h 2095135"/>
              <a:gd name="csX44" fmla="*/ 625468 w 733006"/>
              <a:gd name="csY44" fmla="*/ 187579 h 2095135"/>
              <a:gd name="csX45" fmla="*/ 597543 w 733006"/>
              <a:gd name="csY45" fmla="*/ 251872 h 2095135"/>
              <a:gd name="csX46" fmla="*/ 531831 w 733006"/>
              <a:gd name="csY46" fmla="*/ 442689 h 2095135"/>
              <a:gd name="csX47" fmla="*/ 519888 w 733006"/>
              <a:gd name="csY47" fmla="*/ 501474 h 2095135"/>
              <a:gd name="csX48" fmla="*/ 522506 w 733006"/>
              <a:gd name="csY48" fmla="*/ 525086 h 2095135"/>
              <a:gd name="csX49" fmla="*/ 516235 w 733006"/>
              <a:gd name="csY49" fmla="*/ 555946 h 2095135"/>
              <a:gd name="csX50" fmla="*/ 521332 w 733006"/>
              <a:gd name="csY50" fmla="*/ 610676 h 2095135"/>
              <a:gd name="csX51" fmla="*/ 541382 w 733006"/>
              <a:gd name="csY51" fmla="*/ 642597 h 2095135"/>
              <a:gd name="csX52" fmla="*/ 557031 w 733006"/>
              <a:gd name="csY52" fmla="*/ 667949 h 2095135"/>
              <a:gd name="csX53" fmla="*/ 553994 w 733006"/>
              <a:gd name="csY53" fmla="*/ 744146 h 2095135"/>
              <a:gd name="csX54" fmla="*/ 508215 w 733006"/>
              <a:gd name="csY54" fmla="*/ 758841 h 2095135"/>
              <a:gd name="csX55" fmla="*/ 497442 w 733006"/>
              <a:gd name="csY55" fmla="*/ 771256 h 2095135"/>
              <a:gd name="csX56" fmla="*/ 493005 w 733006"/>
              <a:gd name="csY56" fmla="*/ 922055 h 2095135"/>
              <a:gd name="csX57" fmla="*/ 502900 w 733006"/>
              <a:gd name="csY57" fmla="*/ 1114191 h 2095135"/>
              <a:gd name="csX58" fmla="*/ 508800 w 733006"/>
              <a:gd name="csY58" fmla="*/ 1205474 h 2095135"/>
              <a:gd name="csX59" fmla="*/ 522952 w 733006"/>
              <a:gd name="csY59" fmla="*/ 1320065 h 2095135"/>
              <a:gd name="csX60" fmla="*/ 554682 w 733006"/>
              <a:gd name="csY60" fmla="*/ 1501203 h 2095135"/>
              <a:gd name="csX61" fmla="*/ 576958 w 733006"/>
              <a:gd name="csY61" fmla="*/ 1593963 h 2095135"/>
              <a:gd name="csX62" fmla="*/ 595349 w 733006"/>
              <a:gd name="csY62" fmla="*/ 1613498 h 2095135"/>
              <a:gd name="csX63" fmla="*/ 613936 w 733006"/>
              <a:gd name="csY63" fmla="*/ 1624058 h 2095135"/>
              <a:gd name="csX64" fmla="*/ 620938 w 733006"/>
              <a:gd name="csY64" fmla="*/ 1652071 h 2095135"/>
              <a:gd name="csX65" fmla="*/ 630805 w 733006"/>
              <a:gd name="csY65" fmla="*/ 1721702 h 2095135"/>
              <a:gd name="csX66" fmla="*/ 685830 w 733006"/>
              <a:gd name="csY66" fmla="*/ 1792915 h 2095135"/>
              <a:gd name="csX67" fmla="*/ 708904 w 733006"/>
              <a:gd name="csY67" fmla="*/ 1890290 h 2095135"/>
              <a:gd name="csX68" fmla="*/ 716580 w 733006"/>
              <a:gd name="csY68" fmla="*/ 1951136 h 2095135"/>
              <a:gd name="csX69" fmla="*/ 729397 w 733006"/>
              <a:gd name="csY69" fmla="*/ 2030261 h 2095135"/>
              <a:gd name="csX70" fmla="*/ 714212 w 733006"/>
              <a:gd name="csY70" fmla="*/ 2049544 h 2095135"/>
              <a:gd name="csX71" fmla="*/ 96263 w 733006"/>
              <a:gd name="csY71" fmla="*/ 2076207 h 2095135"/>
              <a:gd name="csX72" fmla="*/ 489970 w 733006"/>
              <a:gd name="csY72" fmla="*/ 152208 h 2095135"/>
              <a:gd name="csX73" fmla="*/ 490754 w 733006"/>
              <a:gd name="csY73" fmla="*/ 152592 h 2095135"/>
              <a:gd name="csX74" fmla="*/ 489489 w 733006"/>
              <a:gd name="csY74" fmla="*/ 149547 h 2095135"/>
              <a:gd name="csX75" fmla="*/ 393621 w 733006"/>
              <a:gd name="csY75" fmla="*/ 99259 h 2095135"/>
              <a:gd name="csX76" fmla="*/ 390419 w 733006"/>
              <a:gd name="csY76" fmla="*/ 18568 h 2095135"/>
              <a:gd name="csX77" fmla="*/ 334131 w 733006"/>
              <a:gd name="csY77" fmla="*/ 24327 h 2095135"/>
              <a:gd name="csX78" fmla="*/ 344678 w 733006"/>
              <a:gd name="csY78" fmla="*/ 101259 h 2095135"/>
              <a:gd name="csX79" fmla="*/ 298854 w 733006"/>
              <a:gd name="csY79" fmla="*/ 114003 h 2095135"/>
              <a:gd name="csX80" fmla="*/ 237456 w 733006"/>
              <a:gd name="csY80" fmla="*/ 154340 h 2095135"/>
              <a:gd name="csX81" fmla="*/ 240382 w 733006"/>
              <a:gd name="csY81" fmla="*/ 154035 h 2095135"/>
              <a:gd name="csX82" fmla="*/ 262731 w 733006"/>
              <a:gd name="csY82" fmla="*/ 170426 h 2095135"/>
              <a:gd name="csX83" fmla="*/ 279169 w 733006"/>
              <a:gd name="csY83" fmla="*/ 193173 h 2095135"/>
              <a:gd name="csX84" fmla="*/ 327717 w 733006"/>
              <a:gd name="csY84" fmla="*/ 188556 h 2095135"/>
              <a:gd name="csX85" fmla="*/ 348052 w 733006"/>
              <a:gd name="csY85" fmla="*/ 156919 h 2095135"/>
              <a:gd name="csX86" fmla="*/ 380330 w 733006"/>
              <a:gd name="csY86" fmla="*/ 156483 h 2095135"/>
              <a:gd name="csX87" fmla="*/ 408490 w 733006"/>
              <a:gd name="csY87" fmla="*/ 195400 h 2095135"/>
              <a:gd name="csX88" fmla="*/ 445346 w 733006"/>
              <a:gd name="csY88" fmla="*/ 197582 h 2095135"/>
              <a:gd name="csX89" fmla="*/ 464798 w 733006"/>
              <a:gd name="csY89" fmla="*/ 174107 h 2095135"/>
              <a:gd name="csX90" fmla="*/ 489970 w 733006"/>
              <a:gd name="csY90" fmla="*/ 152208 h 2095135"/>
              <a:gd name="csX91" fmla="*/ 140694 w 733006"/>
              <a:gd name="csY91" fmla="*/ 201837 h 2095135"/>
              <a:gd name="csX92" fmla="*/ 139834 w 733006"/>
              <a:gd name="csY92" fmla="*/ 201482 h 2095135"/>
              <a:gd name="csX93" fmla="*/ 140812 w 733006"/>
              <a:gd name="csY93" fmla="*/ 204941 h 2095135"/>
              <a:gd name="csX94" fmla="*/ 144631 w 733006"/>
              <a:gd name="csY94" fmla="*/ 217811 h 2095135"/>
              <a:gd name="csX95" fmla="*/ 201241 w 733006"/>
              <a:gd name="csY95" fmla="*/ 373387 h 2095135"/>
              <a:gd name="csX96" fmla="*/ 235971 w 733006"/>
              <a:gd name="csY96" fmla="*/ 504451 h 2095135"/>
              <a:gd name="csX97" fmla="*/ 247475 w 733006"/>
              <a:gd name="csY97" fmla="*/ 513241 h 2095135"/>
              <a:gd name="csX98" fmla="*/ 289066 w 733006"/>
              <a:gd name="csY98" fmla="*/ 511170 h 2095135"/>
              <a:gd name="csX99" fmla="*/ 378229 w 733006"/>
              <a:gd name="csY99" fmla="*/ 511084 h 2095135"/>
              <a:gd name="csX100" fmla="*/ 470850 w 733006"/>
              <a:gd name="csY100" fmla="*/ 516341 h 2095135"/>
              <a:gd name="csX101" fmla="*/ 492933 w 733006"/>
              <a:gd name="csY101" fmla="*/ 497969 h 2095135"/>
              <a:gd name="csX102" fmla="*/ 557617 w 733006"/>
              <a:gd name="csY102" fmla="*/ 280398 h 2095135"/>
              <a:gd name="csX103" fmla="*/ 588788 w 733006"/>
              <a:gd name="csY103" fmla="*/ 200385 h 2095135"/>
              <a:gd name="csX104" fmla="*/ 530958 w 733006"/>
              <a:gd name="csY104" fmla="*/ 232968 h 2095135"/>
              <a:gd name="csX105" fmla="*/ 483823 w 733006"/>
              <a:gd name="csY105" fmla="*/ 190364 h 2095135"/>
              <a:gd name="csX106" fmla="*/ 466649 w 733006"/>
              <a:gd name="csY106" fmla="*/ 209061 h 2095135"/>
              <a:gd name="csX107" fmla="*/ 399941 w 733006"/>
              <a:gd name="csY107" fmla="*/ 216988 h 2095135"/>
              <a:gd name="csX108" fmla="*/ 363018 w 733006"/>
              <a:gd name="csY108" fmla="*/ 179615 h 2095135"/>
              <a:gd name="csX109" fmla="*/ 308839 w 733006"/>
              <a:gd name="csY109" fmla="*/ 227846 h 2095135"/>
              <a:gd name="csX110" fmla="*/ 245077 w 733006"/>
              <a:gd name="csY110" fmla="*/ 192402 h 2095135"/>
              <a:gd name="csX111" fmla="*/ 242829 w 733006"/>
              <a:gd name="csY111" fmla="*/ 198815 h 2095135"/>
              <a:gd name="csX112" fmla="*/ 168452 w 733006"/>
              <a:gd name="csY112" fmla="*/ 219348 h 2095135"/>
              <a:gd name="csX113" fmla="*/ 140694 w 733006"/>
              <a:gd name="csY113" fmla="*/ 201837 h 2095135"/>
              <a:gd name="csX114" fmla="*/ 259999 w 733006"/>
              <a:gd name="csY114" fmla="*/ 966699 h 2095135"/>
              <a:gd name="csX115" fmla="*/ 257072 w 733006"/>
              <a:gd name="csY115" fmla="*/ 1070424 h 2095135"/>
              <a:gd name="csX116" fmla="*/ 251372 w 733006"/>
              <a:gd name="csY116" fmla="*/ 1157618 h 2095135"/>
              <a:gd name="csX117" fmla="*/ 232677 w 733006"/>
              <a:gd name="csY117" fmla="*/ 1320279 h 2095135"/>
              <a:gd name="csX118" fmla="*/ 209182 w 733006"/>
              <a:gd name="csY118" fmla="*/ 1468667 h 2095135"/>
              <a:gd name="csX119" fmla="*/ 175302 w 733006"/>
              <a:gd name="csY119" fmla="*/ 1616623 h 2095135"/>
              <a:gd name="csX120" fmla="*/ 182769 w 733006"/>
              <a:gd name="csY120" fmla="*/ 1629786 h 2095135"/>
              <a:gd name="csX121" fmla="*/ 212156 w 733006"/>
              <a:gd name="csY121" fmla="*/ 1632656 h 2095135"/>
              <a:gd name="csX122" fmla="*/ 351295 w 733006"/>
              <a:gd name="csY122" fmla="*/ 1632801 h 2095135"/>
              <a:gd name="csX123" fmla="*/ 376150 w 733006"/>
              <a:gd name="csY123" fmla="*/ 1608307 h 2095135"/>
              <a:gd name="csX124" fmla="*/ 373450 w 733006"/>
              <a:gd name="csY124" fmla="*/ 1457291 h 2095135"/>
              <a:gd name="csX125" fmla="*/ 370936 w 733006"/>
              <a:gd name="csY125" fmla="*/ 1342736 h 2095135"/>
              <a:gd name="csX126" fmla="*/ 368328 w 733006"/>
              <a:gd name="csY126" fmla="*/ 1203878 h 2095135"/>
              <a:gd name="csX127" fmla="*/ 367836 w 733006"/>
              <a:gd name="csY127" fmla="*/ 813478 h 2095135"/>
              <a:gd name="csX128" fmla="*/ 365240 w 733006"/>
              <a:gd name="csY128" fmla="*/ 773243 h 2095135"/>
              <a:gd name="csX129" fmla="*/ 353084 w 733006"/>
              <a:gd name="csY129" fmla="*/ 762083 h 2095135"/>
              <a:gd name="csX130" fmla="*/ 280966 w 733006"/>
              <a:gd name="csY130" fmla="*/ 759855 h 2095135"/>
              <a:gd name="csX131" fmla="*/ 259965 w 733006"/>
              <a:gd name="csY131" fmla="*/ 779553 h 2095135"/>
              <a:gd name="csX132" fmla="*/ 262341 w 733006"/>
              <a:gd name="csY132" fmla="*/ 856275 h 2095135"/>
              <a:gd name="csX133" fmla="*/ 259999 w 733006"/>
              <a:gd name="csY133" fmla="*/ 966699 h 2095135"/>
              <a:gd name="csX134" fmla="*/ 55556 w 733006"/>
              <a:gd name="csY134" fmla="*/ 1835827 h 2095135"/>
              <a:gd name="csX135" fmla="*/ 49393 w 733006"/>
              <a:gd name="csY135" fmla="*/ 1878155 h 2095135"/>
              <a:gd name="csX136" fmla="*/ 73949 w 733006"/>
              <a:gd name="csY136" fmla="*/ 1905781 h 2095135"/>
              <a:gd name="csX137" fmla="*/ 110073 w 733006"/>
              <a:gd name="csY137" fmla="*/ 1909068 h 2095135"/>
              <a:gd name="csX138" fmla="*/ 224745 w 733006"/>
              <a:gd name="csY138" fmla="*/ 1921652 h 2095135"/>
              <a:gd name="csX139" fmla="*/ 347327 w 733006"/>
              <a:gd name="csY139" fmla="*/ 1924778 h 2095135"/>
              <a:gd name="csX140" fmla="*/ 363345 w 733006"/>
              <a:gd name="csY140" fmla="*/ 1923293 h 2095135"/>
              <a:gd name="csX141" fmla="*/ 373787 w 733006"/>
              <a:gd name="csY141" fmla="*/ 1911200 h 2095135"/>
              <a:gd name="csX142" fmla="*/ 376623 w 733006"/>
              <a:gd name="csY142" fmla="*/ 1696741 h 2095135"/>
              <a:gd name="csX143" fmla="*/ 360437 w 733006"/>
              <a:gd name="csY143" fmla="*/ 1681289 h 2095135"/>
              <a:gd name="csX144" fmla="*/ 263503 w 733006"/>
              <a:gd name="csY144" fmla="*/ 1678179 h 2095135"/>
              <a:gd name="csX145" fmla="*/ 160381 w 733006"/>
              <a:gd name="csY145" fmla="*/ 1670405 h 2095135"/>
              <a:gd name="csX146" fmla="*/ 143321 w 733006"/>
              <a:gd name="csY146" fmla="*/ 1685538 h 2095135"/>
              <a:gd name="csX147" fmla="*/ 124769 w 733006"/>
              <a:gd name="csY147" fmla="*/ 1738195 h 2095135"/>
              <a:gd name="csX148" fmla="*/ 90593 w 733006"/>
              <a:gd name="csY148" fmla="*/ 1779570 h 2095135"/>
              <a:gd name="csX149" fmla="*/ 55556 w 733006"/>
              <a:gd name="csY149" fmla="*/ 1835827 h 2095135"/>
              <a:gd name="csX150" fmla="*/ 378900 w 733006"/>
              <a:gd name="csY150" fmla="*/ 2007280 h 2095135"/>
              <a:gd name="csX151" fmla="*/ 378887 w 733006"/>
              <a:gd name="csY151" fmla="*/ 1995127 h 2095135"/>
              <a:gd name="csX152" fmla="*/ 359084 w 733006"/>
              <a:gd name="csY152" fmla="*/ 1975964 h 2095135"/>
              <a:gd name="csX153" fmla="*/ 247288 w 733006"/>
              <a:gd name="csY153" fmla="*/ 1973305 h 2095135"/>
              <a:gd name="csX154" fmla="*/ 201692 w 733006"/>
              <a:gd name="csY154" fmla="*/ 1970275 h 2095135"/>
              <a:gd name="csX155" fmla="*/ 57962 w 733006"/>
              <a:gd name="csY155" fmla="*/ 1952648 h 2095135"/>
              <a:gd name="csX156" fmla="*/ 39194 w 733006"/>
              <a:gd name="csY156" fmla="*/ 1963552 h 2095135"/>
              <a:gd name="csX157" fmla="*/ 30066 w 733006"/>
              <a:gd name="csY157" fmla="*/ 2006631 h 2095135"/>
              <a:gd name="csX158" fmla="*/ 40232 w 733006"/>
              <a:gd name="csY158" fmla="*/ 2019486 h 2095135"/>
              <a:gd name="csX159" fmla="*/ 238186 w 733006"/>
              <a:gd name="csY159" fmla="*/ 2046096 h 2095135"/>
              <a:gd name="csX160" fmla="*/ 342155 w 733006"/>
              <a:gd name="csY160" fmla="*/ 2046441 h 2095135"/>
              <a:gd name="csX161" fmla="*/ 378900 w 733006"/>
              <a:gd name="csY161" fmla="*/ 2007280 h 2095135"/>
              <a:gd name="csX162" fmla="*/ 310220 w 733006"/>
              <a:gd name="csY162" fmla="*/ 554288 h 2095135"/>
              <a:gd name="csX163" fmla="*/ 259136 w 733006"/>
              <a:gd name="csY163" fmla="*/ 556881 h 2095135"/>
              <a:gd name="csX164" fmla="*/ 249085 w 733006"/>
              <a:gd name="csY164" fmla="*/ 567981 h 2095135"/>
              <a:gd name="csX165" fmla="*/ 249141 w 733006"/>
              <a:gd name="csY165" fmla="*/ 605644 h 2095135"/>
              <a:gd name="csX166" fmla="*/ 262628 w 733006"/>
              <a:gd name="csY166" fmla="*/ 605627 h 2095135"/>
              <a:gd name="csX167" fmla="*/ 369608 w 733006"/>
              <a:gd name="csY167" fmla="*/ 603027 h 2095135"/>
              <a:gd name="csX168" fmla="*/ 463931 w 733006"/>
              <a:gd name="csY168" fmla="*/ 605146 h 2095135"/>
              <a:gd name="csX169" fmla="*/ 478113 w 733006"/>
              <a:gd name="csY169" fmla="*/ 595843 h 2095135"/>
              <a:gd name="csX170" fmla="*/ 478796 w 733006"/>
              <a:gd name="csY170" fmla="*/ 556832 h 2095135"/>
              <a:gd name="csX171" fmla="*/ 310220 w 733006"/>
              <a:gd name="csY171" fmla="*/ 554288 h 2095135"/>
              <a:gd name="csX172" fmla="*/ 348836 w 733006"/>
              <a:gd name="csY172" fmla="*/ 684115 h 2095135"/>
              <a:gd name="csX173" fmla="*/ 281333 w 733006"/>
              <a:gd name="csY173" fmla="*/ 683313 h 2095135"/>
              <a:gd name="csX174" fmla="*/ 212728 w 733006"/>
              <a:gd name="csY174" fmla="*/ 681931 h 2095135"/>
              <a:gd name="csX175" fmla="*/ 187283 w 733006"/>
              <a:gd name="csY175" fmla="*/ 689555 h 2095135"/>
              <a:gd name="csX176" fmla="*/ 186163 w 733006"/>
              <a:gd name="csY176" fmla="*/ 718266 h 2095135"/>
              <a:gd name="csX177" fmla="*/ 209894 w 733006"/>
              <a:gd name="csY177" fmla="*/ 726798 h 2095135"/>
              <a:gd name="csX178" fmla="*/ 334814 w 733006"/>
              <a:gd name="csY178" fmla="*/ 732494 h 2095135"/>
              <a:gd name="csX179" fmla="*/ 364856 w 733006"/>
              <a:gd name="csY179" fmla="*/ 707963 h 2095135"/>
              <a:gd name="csX180" fmla="*/ 348836 w 733006"/>
              <a:gd name="csY180" fmla="*/ 684115 h 2095135"/>
              <a:gd name="csX181" fmla="*/ 298865 w 733006"/>
              <a:gd name="csY181" fmla="*/ 621954 h 2095135"/>
              <a:gd name="csX182" fmla="*/ 251619 w 733006"/>
              <a:gd name="csY182" fmla="*/ 622133 h 2095135"/>
              <a:gd name="csX183" fmla="*/ 214459 w 733006"/>
              <a:gd name="csY183" fmla="*/ 636230 h 2095135"/>
              <a:gd name="csX184" fmla="*/ 221436 w 733006"/>
              <a:gd name="csY184" fmla="*/ 654205 h 2095135"/>
              <a:gd name="csX185" fmla="*/ 272412 w 733006"/>
              <a:gd name="csY185" fmla="*/ 657250 h 2095135"/>
              <a:gd name="csX186" fmla="*/ 349094 w 733006"/>
              <a:gd name="csY186" fmla="*/ 659282 h 2095135"/>
              <a:gd name="csX187" fmla="*/ 362996 w 733006"/>
              <a:gd name="csY187" fmla="*/ 644234 h 2095135"/>
              <a:gd name="csX188" fmla="*/ 348472 w 733006"/>
              <a:gd name="csY188" fmla="*/ 624649 h 2095135"/>
              <a:gd name="csX189" fmla="*/ 298865 w 733006"/>
              <a:gd name="csY189" fmla="*/ 621954 h 2095135"/>
              <a:gd name="csX190" fmla="*/ 227796 w 733006"/>
              <a:gd name="csY190" fmla="*/ 528000 h 2095135"/>
              <a:gd name="csX191" fmla="*/ 241009 w 733006"/>
              <a:gd name="csY191" fmla="*/ 545897 h 2095135"/>
              <a:gd name="csX192" fmla="*/ 282607 w 733006"/>
              <a:gd name="csY192" fmla="*/ 543480 h 2095135"/>
              <a:gd name="csX193" fmla="*/ 354213 w 733006"/>
              <a:gd name="csY193" fmla="*/ 543384 h 2095135"/>
              <a:gd name="csX194" fmla="*/ 365334 w 733006"/>
              <a:gd name="csY194" fmla="*/ 533397 h 2095135"/>
              <a:gd name="csX195" fmla="*/ 354531 w 733006"/>
              <a:gd name="csY195" fmla="*/ 521620 h 2095135"/>
              <a:gd name="csX196" fmla="*/ 259169 w 733006"/>
              <a:gd name="csY196" fmla="*/ 521978 h 2095135"/>
              <a:gd name="csX197" fmla="*/ 227796 w 733006"/>
              <a:gd name="csY197" fmla="*/ 528000 h 2095135"/>
              <a:gd name="csX198" fmla="*/ 508068 w 733006"/>
              <a:gd name="csY198" fmla="*/ 190710 h 2095135"/>
              <a:gd name="csX199" fmla="*/ 521293 w 733006"/>
              <a:gd name="csY199" fmla="*/ 205907 h 2095135"/>
              <a:gd name="csX200" fmla="*/ 525175 w 733006"/>
              <a:gd name="csY200" fmla="*/ 202985 h 2095135"/>
              <a:gd name="csX201" fmla="*/ 500276 w 733006"/>
              <a:gd name="csY201" fmla="*/ 160640 h 2095135"/>
              <a:gd name="csX202" fmla="*/ 497122 w 733006"/>
              <a:gd name="csY202" fmla="*/ 162007 h 2095135"/>
              <a:gd name="csX203" fmla="*/ 508068 w 733006"/>
              <a:gd name="csY203" fmla="*/ 190710 h 2095135"/>
              <a:gd name="csX204" fmla="*/ 215522 w 733006"/>
              <a:gd name="csY204" fmla="*/ 197296 h 2095135"/>
              <a:gd name="csX205" fmla="*/ 234029 w 733006"/>
              <a:gd name="csY205" fmla="*/ 162725 h 2095135"/>
              <a:gd name="csX206" fmla="*/ 229000 w 733006"/>
              <a:gd name="csY206" fmla="*/ 159902 h 2095135"/>
              <a:gd name="csX207" fmla="*/ 204824 w 733006"/>
              <a:gd name="csY207" fmla="*/ 199677 h 2095135"/>
              <a:gd name="csX208" fmla="*/ 207990 w 733006"/>
              <a:gd name="csY208" fmla="*/ 202198 h 2095135"/>
              <a:gd name="csX209" fmla="*/ 215522 w 733006"/>
              <a:gd name="csY209" fmla="*/ 197296 h 2095135"/>
              <a:gd name="csX210" fmla="*/ 484400 w 733006"/>
              <a:gd name="csY210" fmla="*/ 896678 h 2095135"/>
              <a:gd name="csX211" fmla="*/ 486181 w 733006"/>
              <a:gd name="csY211" fmla="*/ 896585 h 2095135"/>
              <a:gd name="csX212" fmla="*/ 486181 w 733006"/>
              <a:gd name="csY212" fmla="*/ 795289 h 2095135"/>
              <a:gd name="csX213" fmla="*/ 720241 w 733006"/>
              <a:gd name="csY213" fmla="*/ 2030666 h 2095135"/>
              <a:gd name="csX214" fmla="*/ 721175 w 733006"/>
              <a:gd name="csY214" fmla="*/ 2029733 h 2095135"/>
              <a:gd name="csX215" fmla="*/ 720241 w 733006"/>
              <a:gd name="csY215" fmla="*/ 2030666 h 2095135"/>
              <a:gd name="csX216" fmla="*/ 715702 w 733006"/>
              <a:gd name="csY216" fmla="*/ 2037051 h 2095135"/>
              <a:gd name="csX217" fmla="*/ 715702 w 733006"/>
              <a:gd name="csY217" fmla="*/ 2037051 h 2095135"/>
              <a:gd name="csX0" fmla="*/ 96263 w 733006"/>
              <a:gd name="csY0" fmla="*/ 2076207 h 2095135"/>
              <a:gd name="csX1" fmla="*/ 63862 w 733006"/>
              <a:gd name="csY1" fmla="*/ 2065388 h 2095135"/>
              <a:gd name="csX2" fmla="*/ 16555 w 733006"/>
              <a:gd name="csY2" fmla="*/ 2050152 h 2095135"/>
              <a:gd name="csX3" fmla="*/ 15 w 733006"/>
              <a:gd name="csY3" fmla="*/ 2023802 h 2095135"/>
              <a:gd name="csX4" fmla="*/ 18368 w 733006"/>
              <a:gd name="csY4" fmla="*/ 1940709 h 2095135"/>
              <a:gd name="csX5" fmla="*/ 22139 w 733006"/>
              <a:gd name="csY5" fmla="*/ 1907268 h 2095135"/>
              <a:gd name="csX6" fmla="*/ 57941 w 733006"/>
              <a:gd name="csY6" fmla="*/ 1774163 h 2095135"/>
              <a:gd name="csX7" fmla="*/ 102478 w 733006"/>
              <a:gd name="csY7" fmla="*/ 1720275 h 2095135"/>
              <a:gd name="csX8" fmla="*/ 108579 w 733006"/>
              <a:gd name="csY8" fmla="*/ 1650967 h 2095135"/>
              <a:gd name="csX9" fmla="*/ 115628 w 733006"/>
              <a:gd name="csY9" fmla="*/ 1625405 h 2095135"/>
              <a:gd name="csX10" fmla="*/ 156323 w 733006"/>
              <a:gd name="csY10" fmla="*/ 1560181 h 2095135"/>
              <a:gd name="csX11" fmla="*/ 199424 w 733006"/>
              <a:gd name="csY11" fmla="*/ 1364729 h 2095135"/>
              <a:gd name="csX12" fmla="*/ 216779 w 733006"/>
              <a:gd name="csY12" fmla="*/ 1219490 h 2095135"/>
              <a:gd name="csX13" fmla="*/ 229755 w 733006"/>
              <a:gd name="csY13" fmla="*/ 1099357 h 2095135"/>
              <a:gd name="csX14" fmla="*/ 232707 w 733006"/>
              <a:gd name="csY14" fmla="*/ 1056423 h 2095135"/>
              <a:gd name="csX15" fmla="*/ 235622 w 733006"/>
              <a:gd name="csY15" fmla="*/ 952675 h 2095135"/>
              <a:gd name="csX16" fmla="*/ 235445 w 733006"/>
              <a:gd name="csY16" fmla="*/ 780278 h 2095135"/>
              <a:gd name="csX17" fmla="*/ 214544 w 733006"/>
              <a:gd name="csY17" fmla="*/ 756435 h 2095135"/>
              <a:gd name="csX18" fmla="*/ 172569 w 733006"/>
              <a:gd name="csY18" fmla="*/ 742582 h 2095135"/>
              <a:gd name="csX19" fmla="*/ 168784 w 733006"/>
              <a:gd name="csY19" fmla="*/ 669116 h 2095135"/>
              <a:gd name="csX20" fmla="*/ 191657 w 733006"/>
              <a:gd name="csY20" fmla="*/ 630765 h 2095135"/>
              <a:gd name="csX21" fmla="*/ 208150 w 733006"/>
              <a:gd name="csY21" fmla="*/ 609084 h 2095135"/>
              <a:gd name="csX22" fmla="*/ 216756 w 733006"/>
              <a:gd name="csY22" fmla="*/ 558673 h 2095135"/>
              <a:gd name="csX23" fmla="*/ 209092 w 733006"/>
              <a:gd name="csY23" fmla="*/ 521540 h 2095135"/>
              <a:gd name="csX24" fmla="*/ 204683 w 733006"/>
              <a:gd name="csY24" fmla="*/ 474024 h 2095135"/>
              <a:gd name="csX25" fmla="*/ 115483 w 733006"/>
              <a:gd name="csY25" fmla="*/ 213499 h 2095135"/>
              <a:gd name="csX26" fmla="*/ 102909 w 733006"/>
              <a:gd name="csY26" fmla="*/ 182297 h 2095135"/>
              <a:gd name="csX27" fmla="*/ 104315 w 733006"/>
              <a:gd name="csY27" fmla="*/ 163968 h 2095135"/>
              <a:gd name="csX28" fmla="*/ 122444 w 733006"/>
              <a:gd name="csY28" fmla="*/ 160805 h 2095135"/>
              <a:gd name="csX29" fmla="*/ 170283 w 733006"/>
              <a:gd name="csY29" fmla="*/ 187783 h 2095135"/>
              <a:gd name="csX30" fmla="*/ 180938 w 733006"/>
              <a:gd name="csY30" fmla="*/ 195322 h 2095135"/>
              <a:gd name="csX31" fmla="*/ 221419 w 733006"/>
              <a:gd name="csY31" fmla="*/ 138058 h 2095135"/>
              <a:gd name="csX32" fmla="*/ 294099 w 733006"/>
              <a:gd name="csY32" fmla="*/ 91372 h 2095135"/>
              <a:gd name="csX33" fmla="*/ 302307 w 733006"/>
              <a:gd name="csY33" fmla="*/ 76560 h 2095135"/>
              <a:gd name="csX34" fmla="*/ 320284 w 733006"/>
              <a:gd name="csY34" fmla="*/ 8414 h 2095135"/>
              <a:gd name="csX35" fmla="*/ 324784 w 733006"/>
              <a:gd name="csY35" fmla="*/ 946 h 2095135"/>
              <a:gd name="csX36" fmla="*/ 399212 w 733006"/>
              <a:gd name="csY36" fmla="*/ 0 h 2095135"/>
              <a:gd name="csX37" fmla="*/ 425980 w 733006"/>
              <a:gd name="csY37" fmla="*/ 78301 h 2095135"/>
              <a:gd name="csX38" fmla="*/ 431861 w 733006"/>
              <a:gd name="csY38" fmla="*/ 90312 h 2095135"/>
              <a:gd name="csX39" fmla="*/ 540349 w 733006"/>
              <a:gd name="csY39" fmla="*/ 187946 h 2095135"/>
              <a:gd name="csX40" fmla="*/ 545555 w 733006"/>
              <a:gd name="csY40" fmla="*/ 197828 h 2095135"/>
              <a:gd name="csX41" fmla="*/ 587318 w 733006"/>
              <a:gd name="csY41" fmla="*/ 171260 h 2095135"/>
              <a:gd name="csX42" fmla="*/ 601503 w 733006"/>
              <a:gd name="csY42" fmla="*/ 163707 h 2095135"/>
              <a:gd name="csX43" fmla="*/ 625254 w 733006"/>
              <a:gd name="csY43" fmla="*/ 163123 h 2095135"/>
              <a:gd name="csX44" fmla="*/ 625468 w 733006"/>
              <a:gd name="csY44" fmla="*/ 187579 h 2095135"/>
              <a:gd name="csX45" fmla="*/ 597543 w 733006"/>
              <a:gd name="csY45" fmla="*/ 251872 h 2095135"/>
              <a:gd name="csX46" fmla="*/ 531831 w 733006"/>
              <a:gd name="csY46" fmla="*/ 442689 h 2095135"/>
              <a:gd name="csX47" fmla="*/ 519888 w 733006"/>
              <a:gd name="csY47" fmla="*/ 501474 h 2095135"/>
              <a:gd name="csX48" fmla="*/ 522506 w 733006"/>
              <a:gd name="csY48" fmla="*/ 525086 h 2095135"/>
              <a:gd name="csX49" fmla="*/ 516235 w 733006"/>
              <a:gd name="csY49" fmla="*/ 555946 h 2095135"/>
              <a:gd name="csX50" fmla="*/ 521332 w 733006"/>
              <a:gd name="csY50" fmla="*/ 610676 h 2095135"/>
              <a:gd name="csX51" fmla="*/ 541382 w 733006"/>
              <a:gd name="csY51" fmla="*/ 642597 h 2095135"/>
              <a:gd name="csX52" fmla="*/ 557031 w 733006"/>
              <a:gd name="csY52" fmla="*/ 667949 h 2095135"/>
              <a:gd name="csX53" fmla="*/ 553994 w 733006"/>
              <a:gd name="csY53" fmla="*/ 744146 h 2095135"/>
              <a:gd name="csX54" fmla="*/ 508215 w 733006"/>
              <a:gd name="csY54" fmla="*/ 758841 h 2095135"/>
              <a:gd name="csX55" fmla="*/ 497442 w 733006"/>
              <a:gd name="csY55" fmla="*/ 771256 h 2095135"/>
              <a:gd name="csX56" fmla="*/ 493005 w 733006"/>
              <a:gd name="csY56" fmla="*/ 922055 h 2095135"/>
              <a:gd name="csX57" fmla="*/ 502900 w 733006"/>
              <a:gd name="csY57" fmla="*/ 1114191 h 2095135"/>
              <a:gd name="csX58" fmla="*/ 508800 w 733006"/>
              <a:gd name="csY58" fmla="*/ 1205474 h 2095135"/>
              <a:gd name="csX59" fmla="*/ 522952 w 733006"/>
              <a:gd name="csY59" fmla="*/ 1320065 h 2095135"/>
              <a:gd name="csX60" fmla="*/ 554682 w 733006"/>
              <a:gd name="csY60" fmla="*/ 1501203 h 2095135"/>
              <a:gd name="csX61" fmla="*/ 576958 w 733006"/>
              <a:gd name="csY61" fmla="*/ 1593963 h 2095135"/>
              <a:gd name="csX62" fmla="*/ 595349 w 733006"/>
              <a:gd name="csY62" fmla="*/ 1613498 h 2095135"/>
              <a:gd name="csX63" fmla="*/ 613936 w 733006"/>
              <a:gd name="csY63" fmla="*/ 1624058 h 2095135"/>
              <a:gd name="csX64" fmla="*/ 620938 w 733006"/>
              <a:gd name="csY64" fmla="*/ 1652071 h 2095135"/>
              <a:gd name="csX65" fmla="*/ 630805 w 733006"/>
              <a:gd name="csY65" fmla="*/ 1721702 h 2095135"/>
              <a:gd name="csX66" fmla="*/ 685830 w 733006"/>
              <a:gd name="csY66" fmla="*/ 1792915 h 2095135"/>
              <a:gd name="csX67" fmla="*/ 708904 w 733006"/>
              <a:gd name="csY67" fmla="*/ 1890290 h 2095135"/>
              <a:gd name="csX68" fmla="*/ 716580 w 733006"/>
              <a:gd name="csY68" fmla="*/ 1951136 h 2095135"/>
              <a:gd name="csX69" fmla="*/ 729397 w 733006"/>
              <a:gd name="csY69" fmla="*/ 2030261 h 2095135"/>
              <a:gd name="csX70" fmla="*/ 714212 w 733006"/>
              <a:gd name="csY70" fmla="*/ 2049544 h 2095135"/>
              <a:gd name="csX71" fmla="*/ 96263 w 733006"/>
              <a:gd name="csY71" fmla="*/ 2076207 h 2095135"/>
              <a:gd name="csX72" fmla="*/ 489970 w 733006"/>
              <a:gd name="csY72" fmla="*/ 152208 h 2095135"/>
              <a:gd name="csX73" fmla="*/ 490754 w 733006"/>
              <a:gd name="csY73" fmla="*/ 152592 h 2095135"/>
              <a:gd name="csX74" fmla="*/ 489489 w 733006"/>
              <a:gd name="csY74" fmla="*/ 149547 h 2095135"/>
              <a:gd name="csX75" fmla="*/ 393621 w 733006"/>
              <a:gd name="csY75" fmla="*/ 99259 h 2095135"/>
              <a:gd name="csX76" fmla="*/ 390419 w 733006"/>
              <a:gd name="csY76" fmla="*/ 18568 h 2095135"/>
              <a:gd name="csX77" fmla="*/ 334131 w 733006"/>
              <a:gd name="csY77" fmla="*/ 24327 h 2095135"/>
              <a:gd name="csX78" fmla="*/ 344678 w 733006"/>
              <a:gd name="csY78" fmla="*/ 101259 h 2095135"/>
              <a:gd name="csX79" fmla="*/ 298854 w 733006"/>
              <a:gd name="csY79" fmla="*/ 114003 h 2095135"/>
              <a:gd name="csX80" fmla="*/ 237456 w 733006"/>
              <a:gd name="csY80" fmla="*/ 154340 h 2095135"/>
              <a:gd name="csX81" fmla="*/ 240382 w 733006"/>
              <a:gd name="csY81" fmla="*/ 154035 h 2095135"/>
              <a:gd name="csX82" fmla="*/ 262731 w 733006"/>
              <a:gd name="csY82" fmla="*/ 170426 h 2095135"/>
              <a:gd name="csX83" fmla="*/ 279169 w 733006"/>
              <a:gd name="csY83" fmla="*/ 193173 h 2095135"/>
              <a:gd name="csX84" fmla="*/ 327717 w 733006"/>
              <a:gd name="csY84" fmla="*/ 188556 h 2095135"/>
              <a:gd name="csX85" fmla="*/ 348052 w 733006"/>
              <a:gd name="csY85" fmla="*/ 156919 h 2095135"/>
              <a:gd name="csX86" fmla="*/ 380330 w 733006"/>
              <a:gd name="csY86" fmla="*/ 156483 h 2095135"/>
              <a:gd name="csX87" fmla="*/ 408490 w 733006"/>
              <a:gd name="csY87" fmla="*/ 195400 h 2095135"/>
              <a:gd name="csX88" fmla="*/ 445346 w 733006"/>
              <a:gd name="csY88" fmla="*/ 197582 h 2095135"/>
              <a:gd name="csX89" fmla="*/ 464798 w 733006"/>
              <a:gd name="csY89" fmla="*/ 174107 h 2095135"/>
              <a:gd name="csX90" fmla="*/ 489970 w 733006"/>
              <a:gd name="csY90" fmla="*/ 152208 h 2095135"/>
              <a:gd name="csX91" fmla="*/ 140694 w 733006"/>
              <a:gd name="csY91" fmla="*/ 201837 h 2095135"/>
              <a:gd name="csX92" fmla="*/ 139834 w 733006"/>
              <a:gd name="csY92" fmla="*/ 201482 h 2095135"/>
              <a:gd name="csX93" fmla="*/ 140812 w 733006"/>
              <a:gd name="csY93" fmla="*/ 204941 h 2095135"/>
              <a:gd name="csX94" fmla="*/ 144631 w 733006"/>
              <a:gd name="csY94" fmla="*/ 217811 h 2095135"/>
              <a:gd name="csX95" fmla="*/ 201241 w 733006"/>
              <a:gd name="csY95" fmla="*/ 373387 h 2095135"/>
              <a:gd name="csX96" fmla="*/ 235971 w 733006"/>
              <a:gd name="csY96" fmla="*/ 504451 h 2095135"/>
              <a:gd name="csX97" fmla="*/ 247475 w 733006"/>
              <a:gd name="csY97" fmla="*/ 513241 h 2095135"/>
              <a:gd name="csX98" fmla="*/ 289066 w 733006"/>
              <a:gd name="csY98" fmla="*/ 511170 h 2095135"/>
              <a:gd name="csX99" fmla="*/ 378229 w 733006"/>
              <a:gd name="csY99" fmla="*/ 511084 h 2095135"/>
              <a:gd name="csX100" fmla="*/ 470850 w 733006"/>
              <a:gd name="csY100" fmla="*/ 516341 h 2095135"/>
              <a:gd name="csX101" fmla="*/ 492933 w 733006"/>
              <a:gd name="csY101" fmla="*/ 497969 h 2095135"/>
              <a:gd name="csX102" fmla="*/ 557617 w 733006"/>
              <a:gd name="csY102" fmla="*/ 280398 h 2095135"/>
              <a:gd name="csX103" fmla="*/ 588788 w 733006"/>
              <a:gd name="csY103" fmla="*/ 200385 h 2095135"/>
              <a:gd name="csX104" fmla="*/ 530958 w 733006"/>
              <a:gd name="csY104" fmla="*/ 232968 h 2095135"/>
              <a:gd name="csX105" fmla="*/ 483823 w 733006"/>
              <a:gd name="csY105" fmla="*/ 190364 h 2095135"/>
              <a:gd name="csX106" fmla="*/ 466649 w 733006"/>
              <a:gd name="csY106" fmla="*/ 209061 h 2095135"/>
              <a:gd name="csX107" fmla="*/ 399941 w 733006"/>
              <a:gd name="csY107" fmla="*/ 216988 h 2095135"/>
              <a:gd name="csX108" fmla="*/ 363018 w 733006"/>
              <a:gd name="csY108" fmla="*/ 179615 h 2095135"/>
              <a:gd name="csX109" fmla="*/ 308839 w 733006"/>
              <a:gd name="csY109" fmla="*/ 227846 h 2095135"/>
              <a:gd name="csX110" fmla="*/ 245077 w 733006"/>
              <a:gd name="csY110" fmla="*/ 192402 h 2095135"/>
              <a:gd name="csX111" fmla="*/ 242829 w 733006"/>
              <a:gd name="csY111" fmla="*/ 198815 h 2095135"/>
              <a:gd name="csX112" fmla="*/ 168452 w 733006"/>
              <a:gd name="csY112" fmla="*/ 219348 h 2095135"/>
              <a:gd name="csX113" fmla="*/ 140694 w 733006"/>
              <a:gd name="csY113" fmla="*/ 201837 h 2095135"/>
              <a:gd name="csX114" fmla="*/ 259999 w 733006"/>
              <a:gd name="csY114" fmla="*/ 966699 h 2095135"/>
              <a:gd name="csX115" fmla="*/ 257072 w 733006"/>
              <a:gd name="csY115" fmla="*/ 1070424 h 2095135"/>
              <a:gd name="csX116" fmla="*/ 251372 w 733006"/>
              <a:gd name="csY116" fmla="*/ 1157618 h 2095135"/>
              <a:gd name="csX117" fmla="*/ 232677 w 733006"/>
              <a:gd name="csY117" fmla="*/ 1320279 h 2095135"/>
              <a:gd name="csX118" fmla="*/ 209182 w 733006"/>
              <a:gd name="csY118" fmla="*/ 1468667 h 2095135"/>
              <a:gd name="csX119" fmla="*/ 175302 w 733006"/>
              <a:gd name="csY119" fmla="*/ 1616623 h 2095135"/>
              <a:gd name="csX120" fmla="*/ 182769 w 733006"/>
              <a:gd name="csY120" fmla="*/ 1629786 h 2095135"/>
              <a:gd name="csX121" fmla="*/ 212156 w 733006"/>
              <a:gd name="csY121" fmla="*/ 1632656 h 2095135"/>
              <a:gd name="csX122" fmla="*/ 351295 w 733006"/>
              <a:gd name="csY122" fmla="*/ 1632801 h 2095135"/>
              <a:gd name="csX123" fmla="*/ 376150 w 733006"/>
              <a:gd name="csY123" fmla="*/ 1608307 h 2095135"/>
              <a:gd name="csX124" fmla="*/ 373450 w 733006"/>
              <a:gd name="csY124" fmla="*/ 1457291 h 2095135"/>
              <a:gd name="csX125" fmla="*/ 370936 w 733006"/>
              <a:gd name="csY125" fmla="*/ 1342736 h 2095135"/>
              <a:gd name="csX126" fmla="*/ 368328 w 733006"/>
              <a:gd name="csY126" fmla="*/ 1203878 h 2095135"/>
              <a:gd name="csX127" fmla="*/ 367836 w 733006"/>
              <a:gd name="csY127" fmla="*/ 813478 h 2095135"/>
              <a:gd name="csX128" fmla="*/ 365240 w 733006"/>
              <a:gd name="csY128" fmla="*/ 773243 h 2095135"/>
              <a:gd name="csX129" fmla="*/ 353084 w 733006"/>
              <a:gd name="csY129" fmla="*/ 762083 h 2095135"/>
              <a:gd name="csX130" fmla="*/ 280966 w 733006"/>
              <a:gd name="csY130" fmla="*/ 759855 h 2095135"/>
              <a:gd name="csX131" fmla="*/ 259965 w 733006"/>
              <a:gd name="csY131" fmla="*/ 779553 h 2095135"/>
              <a:gd name="csX132" fmla="*/ 262341 w 733006"/>
              <a:gd name="csY132" fmla="*/ 856275 h 2095135"/>
              <a:gd name="csX133" fmla="*/ 259999 w 733006"/>
              <a:gd name="csY133" fmla="*/ 966699 h 2095135"/>
              <a:gd name="csX134" fmla="*/ 55556 w 733006"/>
              <a:gd name="csY134" fmla="*/ 1835827 h 2095135"/>
              <a:gd name="csX135" fmla="*/ 49393 w 733006"/>
              <a:gd name="csY135" fmla="*/ 1878155 h 2095135"/>
              <a:gd name="csX136" fmla="*/ 73949 w 733006"/>
              <a:gd name="csY136" fmla="*/ 1905781 h 2095135"/>
              <a:gd name="csX137" fmla="*/ 110073 w 733006"/>
              <a:gd name="csY137" fmla="*/ 1909068 h 2095135"/>
              <a:gd name="csX138" fmla="*/ 224745 w 733006"/>
              <a:gd name="csY138" fmla="*/ 1921652 h 2095135"/>
              <a:gd name="csX139" fmla="*/ 347327 w 733006"/>
              <a:gd name="csY139" fmla="*/ 1924778 h 2095135"/>
              <a:gd name="csX140" fmla="*/ 363345 w 733006"/>
              <a:gd name="csY140" fmla="*/ 1923293 h 2095135"/>
              <a:gd name="csX141" fmla="*/ 373787 w 733006"/>
              <a:gd name="csY141" fmla="*/ 1911200 h 2095135"/>
              <a:gd name="csX142" fmla="*/ 376623 w 733006"/>
              <a:gd name="csY142" fmla="*/ 1696741 h 2095135"/>
              <a:gd name="csX143" fmla="*/ 360437 w 733006"/>
              <a:gd name="csY143" fmla="*/ 1681289 h 2095135"/>
              <a:gd name="csX144" fmla="*/ 263503 w 733006"/>
              <a:gd name="csY144" fmla="*/ 1678179 h 2095135"/>
              <a:gd name="csX145" fmla="*/ 160381 w 733006"/>
              <a:gd name="csY145" fmla="*/ 1670405 h 2095135"/>
              <a:gd name="csX146" fmla="*/ 143321 w 733006"/>
              <a:gd name="csY146" fmla="*/ 1685538 h 2095135"/>
              <a:gd name="csX147" fmla="*/ 124769 w 733006"/>
              <a:gd name="csY147" fmla="*/ 1738195 h 2095135"/>
              <a:gd name="csX148" fmla="*/ 90593 w 733006"/>
              <a:gd name="csY148" fmla="*/ 1779570 h 2095135"/>
              <a:gd name="csX149" fmla="*/ 55556 w 733006"/>
              <a:gd name="csY149" fmla="*/ 1835827 h 2095135"/>
              <a:gd name="csX150" fmla="*/ 378900 w 733006"/>
              <a:gd name="csY150" fmla="*/ 2007280 h 2095135"/>
              <a:gd name="csX151" fmla="*/ 378887 w 733006"/>
              <a:gd name="csY151" fmla="*/ 1995127 h 2095135"/>
              <a:gd name="csX152" fmla="*/ 359084 w 733006"/>
              <a:gd name="csY152" fmla="*/ 1975964 h 2095135"/>
              <a:gd name="csX153" fmla="*/ 247288 w 733006"/>
              <a:gd name="csY153" fmla="*/ 1973305 h 2095135"/>
              <a:gd name="csX154" fmla="*/ 201692 w 733006"/>
              <a:gd name="csY154" fmla="*/ 1970275 h 2095135"/>
              <a:gd name="csX155" fmla="*/ 57962 w 733006"/>
              <a:gd name="csY155" fmla="*/ 1952648 h 2095135"/>
              <a:gd name="csX156" fmla="*/ 39194 w 733006"/>
              <a:gd name="csY156" fmla="*/ 1963552 h 2095135"/>
              <a:gd name="csX157" fmla="*/ 30066 w 733006"/>
              <a:gd name="csY157" fmla="*/ 2006631 h 2095135"/>
              <a:gd name="csX158" fmla="*/ 40232 w 733006"/>
              <a:gd name="csY158" fmla="*/ 2019486 h 2095135"/>
              <a:gd name="csX159" fmla="*/ 238186 w 733006"/>
              <a:gd name="csY159" fmla="*/ 2046096 h 2095135"/>
              <a:gd name="csX160" fmla="*/ 342155 w 733006"/>
              <a:gd name="csY160" fmla="*/ 2046441 h 2095135"/>
              <a:gd name="csX161" fmla="*/ 378900 w 733006"/>
              <a:gd name="csY161" fmla="*/ 2007280 h 2095135"/>
              <a:gd name="csX162" fmla="*/ 310220 w 733006"/>
              <a:gd name="csY162" fmla="*/ 554288 h 2095135"/>
              <a:gd name="csX163" fmla="*/ 259136 w 733006"/>
              <a:gd name="csY163" fmla="*/ 556881 h 2095135"/>
              <a:gd name="csX164" fmla="*/ 249085 w 733006"/>
              <a:gd name="csY164" fmla="*/ 567981 h 2095135"/>
              <a:gd name="csX165" fmla="*/ 249141 w 733006"/>
              <a:gd name="csY165" fmla="*/ 605644 h 2095135"/>
              <a:gd name="csX166" fmla="*/ 262628 w 733006"/>
              <a:gd name="csY166" fmla="*/ 605627 h 2095135"/>
              <a:gd name="csX167" fmla="*/ 369608 w 733006"/>
              <a:gd name="csY167" fmla="*/ 603027 h 2095135"/>
              <a:gd name="csX168" fmla="*/ 463931 w 733006"/>
              <a:gd name="csY168" fmla="*/ 605146 h 2095135"/>
              <a:gd name="csX169" fmla="*/ 478113 w 733006"/>
              <a:gd name="csY169" fmla="*/ 595843 h 2095135"/>
              <a:gd name="csX170" fmla="*/ 478796 w 733006"/>
              <a:gd name="csY170" fmla="*/ 556832 h 2095135"/>
              <a:gd name="csX171" fmla="*/ 310220 w 733006"/>
              <a:gd name="csY171" fmla="*/ 554288 h 2095135"/>
              <a:gd name="csX172" fmla="*/ 348836 w 733006"/>
              <a:gd name="csY172" fmla="*/ 684115 h 2095135"/>
              <a:gd name="csX173" fmla="*/ 281333 w 733006"/>
              <a:gd name="csY173" fmla="*/ 683313 h 2095135"/>
              <a:gd name="csX174" fmla="*/ 212728 w 733006"/>
              <a:gd name="csY174" fmla="*/ 681931 h 2095135"/>
              <a:gd name="csX175" fmla="*/ 187283 w 733006"/>
              <a:gd name="csY175" fmla="*/ 689555 h 2095135"/>
              <a:gd name="csX176" fmla="*/ 186163 w 733006"/>
              <a:gd name="csY176" fmla="*/ 718266 h 2095135"/>
              <a:gd name="csX177" fmla="*/ 209894 w 733006"/>
              <a:gd name="csY177" fmla="*/ 726798 h 2095135"/>
              <a:gd name="csX178" fmla="*/ 334814 w 733006"/>
              <a:gd name="csY178" fmla="*/ 732494 h 2095135"/>
              <a:gd name="csX179" fmla="*/ 364856 w 733006"/>
              <a:gd name="csY179" fmla="*/ 707963 h 2095135"/>
              <a:gd name="csX180" fmla="*/ 348836 w 733006"/>
              <a:gd name="csY180" fmla="*/ 684115 h 2095135"/>
              <a:gd name="csX181" fmla="*/ 298865 w 733006"/>
              <a:gd name="csY181" fmla="*/ 621954 h 2095135"/>
              <a:gd name="csX182" fmla="*/ 251619 w 733006"/>
              <a:gd name="csY182" fmla="*/ 622133 h 2095135"/>
              <a:gd name="csX183" fmla="*/ 214459 w 733006"/>
              <a:gd name="csY183" fmla="*/ 636230 h 2095135"/>
              <a:gd name="csX184" fmla="*/ 221436 w 733006"/>
              <a:gd name="csY184" fmla="*/ 654205 h 2095135"/>
              <a:gd name="csX185" fmla="*/ 272412 w 733006"/>
              <a:gd name="csY185" fmla="*/ 657250 h 2095135"/>
              <a:gd name="csX186" fmla="*/ 349094 w 733006"/>
              <a:gd name="csY186" fmla="*/ 659282 h 2095135"/>
              <a:gd name="csX187" fmla="*/ 362996 w 733006"/>
              <a:gd name="csY187" fmla="*/ 644234 h 2095135"/>
              <a:gd name="csX188" fmla="*/ 348472 w 733006"/>
              <a:gd name="csY188" fmla="*/ 624649 h 2095135"/>
              <a:gd name="csX189" fmla="*/ 298865 w 733006"/>
              <a:gd name="csY189" fmla="*/ 621954 h 2095135"/>
              <a:gd name="csX190" fmla="*/ 227796 w 733006"/>
              <a:gd name="csY190" fmla="*/ 528000 h 2095135"/>
              <a:gd name="csX191" fmla="*/ 241009 w 733006"/>
              <a:gd name="csY191" fmla="*/ 545897 h 2095135"/>
              <a:gd name="csX192" fmla="*/ 282607 w 733006"/>
              <a:gd name="csY192" fmla="*/ 543480 h 2095135"/>
              <a:gd name="csX193" fmla="*/ 354213 w 733006"/>
              <a:gd name="csY193" fmla="*/ 543384 h 2095135"/>
              <a:gd name="csX194" fmla="*/ 365334 w 733006"/>
              <a:gd name="csY194" fmla="*/ 533397 h 2095135"/>
              <a:gd name="csX195" fmla="*/ 354531 w 733006"/>
              <a:gd name="csY195" fmla="*/ 521620 h 2095135"/>
              <a:gd name="csX196" fmla="*/ 259169 w 733006"/>
              <a:gd name="csY196" fmla="*/ 521978 h 2095135"/>
              <a:gd name="csX197" fmla="*/ 227796 w 733006"/>
              <a:gd name="csY197" fmla="*/ 528000 h 2095135"/>
              <a:gd name="csX198" fmla="*/ 508068 w 733006"/>
              <a:gd name="csY198" fmla="*/ 190710 h 2095135"/>
              <a:gd name="csX199" fmla="*/ 521293 w 733006"/>
              <a:gd name="csY199" fmla="*/ 205907 h 2095135"/>
              <a:gd name="csX200" fmla="*/ 525175 w 733006"/>
              <a:gd name="csY200" fmla="*/ 202985 h 2095135"/>
              <a:gd name="csX201" fmla="*/ 500276 w 733006"/>
              <a:gd name="csY201" fmla="*/ 160640 h 2095135"/>
              <a:gd name="csX202" fmla="*/ 497122 w 733006"/>
              <a:gd name="csY202" fmla="*/ 162007 h 2095135"/>
              <a:gd name="csX203" fmla="*/ 508068 w 733006"/>
              <a:gd name="csY203" fmla="*/ 190710 h 2095135"/>
              <a:gd name="csX204" fmla="*/ 215522 w 733006"/>
              <a:gd name="csY204" fmla="*/ 197296 h 2095135"/>
              <a:gd name="csX205" fmla="*/ 234029 w 733006"/>
              <a:gd name="csY205" fmla="*/ 162725 h 2095135"/>
              <a:gd name="csX206" fmla="*/ 229000 w 733006"/>
              <a:gd name="csY206" fmla="*/ 159902 h 2095135"/>
              <a:gd name="csX207" fmla="*/ 204824 w 733006"/>
              <a:gd name="csY207" fmla="*/ 199677 h 2095135"/>
              <a:gd name="csX208" fmla="*/ 207990 w 733006"/>
              <a:gd name="csY208" fmla="*/ 202198 h 2095135"/>
              <a:gd name="csX209" fmla="*/ 215522 w 733006"/>
              <a:gd name="csY209" fmla="*/ 197296 h 2095135"/>
              <a:gd name="csX210" fmla="*/ 484400 w 733006"/>
              <a:gd name="csY210" fmla="*/ 896678 h 2095135"/>
              <a:gd name="csX211" fmla="*/ 486181 w 733006"/>
              <a:gd name="csY211" fmla="*/ 896585 h 2095135"/>
              <a:gd name="csX212" fmla="*/ 486181 w 733006"/>
              <a:gd name="csY212" fmla="*/ 795289 h 2095135"/>
              <a:gd name="csX213" fmla="*/ 720241 w 733006"/>
              <a:gd name="csY213" fmla="*/ 2030666 h 2095135"/>
              <a:gd name="csX214" fmla="*/ 721175 w 733006"/>
              <a:gd name="csY214" fmla="*/ 2029733 h 2095135"/>
              <a:gd name="csX215" fmla="*/ 720241 w 733006"/>
              <a:gd name="csY215" fmla="*/ 2030666 h 2095135"/>
              <a:gd name="csX0" fmla="*/ 96263 w 733006"/>
              <a:gd name="csY0" fmla="*/ 2076207 h 2095135"/>
              <a:gd name="csX1" fmla="*/ 63862 w 733006"/>
              <a:gd name="csY1" fmla="*/ 2065388 h 2095135"/>
              <a:gd name="csX2" fmla="*/ 16555 w 733006"/>
              <a:gd name="csY2" fmla="*/ 2050152 h 2095135"/>
              <a:gd name="csX3" fmla="*/ 15 w 733006"/>
              <a:gd name="csY3" fmla="*/ 2023802 h 2095135"/>
              <a:gd name="csX4" fmla="*/ 18368 w 733006"/>
              <a:gd name="csY4" fmla="*/ 1940709 h 2095135"/>
              <a:gd name="csX5" fmla="*/ 22139 w 733006"/>
              <a:gd name="csY5" fmla="*/ 1907268 h 2095135"/>
              <a:gd name="csX6" fmla="*/ 57941 w 733006"/>
              <a:gd name="csY6" fmla="*/ 1774163 h 2095135"/>
              <a:gd name="csX7" fmla="*/ 102478 w 733006"/>
              <a:gd name="csY7" fmla="*/ 1720275 h 2095135"/>
              <a:gd name="csX8" fmla="*/ 108579 w 733006"/>
              <a:gd name="csY8" fmla="*/ 1650967 h 2095135"/>
              <a:gd name="csX9" fmla="*/ 115628 w 733006"/>
              <a:gd name="csY9" fmla="*/ 1625405 h 2095135"/>
              <a:gd name="csX10" fmla="*/ 156323 w 733006"/>
              <a:gd name="csY10" fmla="*/ 1560181 h 2095135"/>
              <a:gd name="csX11" fmla="*/ 199424 w 733006"/>
              <a:gd name="csY11" fmla="*/ 1364729 h 2095135"/>
              <a:gd name="csX12" fmla="*/ 216779 w 733006"/>
              <a:gd name="csY12" fmla="*/ 1219490 h 2095135"/>
              <a:gd name="csX13" fmla="*/ 229755 w 733006"/>
              <a:gd name="csY13" fmla="*/ 1099357 h 2095135"/>
              <a:gd name="csX14" fmla="*/ 232707 w 733006"/>
              <a:gd name="csY14" fmla="*/ 1056423 h 2095135"/>
              <a:gd name="csX15" fmla="*/ 235622 w 733006"/>
              <a:gd name="csY15" fmla="*/ 952675 h 2095135"/>
              <a:gd name="csX16" fmla="*/ 235445 w 733006"/>
              <a:gd name="csY16" fmla="*/ 780278 h 2095135"/>
              <a:gd name="csX17" fmla="*/ 214544 w 733006"/>
              <a:gd name="csY17" fmla="*/ 756435 h 2095135"/>
              <a:gd name="csX18" fmla="*/ 172569 w 733006"/>
              <a:gd name="csY18" fmla="*/ 742582 h 2095135"/>
              <a:gd name="csX19" fmla="*/ 168784 w 733006"/>
              <a:gd name="csY19" fmla="*/ 669116 h 2095135"/>
              <a:gd name="csX20" fmla="*/ 191657 w 733006"/>
              <a:gd name="csY20" fmla="*/ 630765 h 2095135"/>
              <a:gd name="csX21" fmla="*/ 208150 w 733006"/>
              <a:gd name="csY21" fmla="*/ 609084 h 2095135"/>
              <a:gd name="csX22" fmla="*/ 216756 w 733006"/>
              <a:gd name="csY22" fmla="*/ 558673 h 2095135"/>
              <a:gd name="csX23" fmla="*/ 209092 w 733006"/>
              <a:gd name="csY23" fmla="*/ 521540 h 2095135"/>
              <a:gd name="csX24" fmla="*/ 204683 w 733006"/>
              <a:gd name="csY24" fmla="*/ 474024 h 2095135"/>
              <a:gd name="csX25" fmla="*/ 115483 w 733006"/>
              <a:gd name="csY25" fmla="*/ 213499 h 2095135"/>
              <a:gd name="csX26" fmla="*/ 102909 w 733006"/>
              <a:gd name="csY26" fmla="*/ 182297 h 2095135"/>
              <a:gd name="csX27" fmla="*/ 104315 w 733006"/>
              <a:gd name="csY27" fmla="*/ 163968 h 2095135"/>
              <a:gd name="csX28" fmla="*/ 122444 w 733006"/>
              <a:gd name="csY28" fmla="*/ 160805 h 2095135"/>
              <a:gd name="csX29" fmla="*/ 170283 w 733006"/>
              <a:gd name="csY29" fmla="*/ 187783 h 2095135"/>
              <a:gd name="csX30" fmla="*/ 180938 w 733006"/>
              <a:gd name="csY30" fmla="*/ 195322 h 2095135"/>
              <a:gd name="csX31" fmla="*/ 221419 w 733006"/>
              <a:gd name="csY31" fmla="*/ 138058 h 2095135"/>
              <a:gd name="csX32" fmla="*/ 294099 w 733006"/>
              <a:gd name="csY32" fmla="*/ 91372 h 2095135"/>
              <a:gd name="csX33" fmla="*/ 302307 w 733006"/>
              <a:gd name="csY33" fmla="*/ 76560 h 2095135"/>
              <a:gd name="csX34" fmla="*/ 320284 w 733006"/>
              <a:gd name="csY34" fmla="*/ 8414 h 2095135"/>
              <a:gd name="csX35" fmla="*/ 324784 w 733006"/>
              <a:gd name="csY35" fmla="*/ 946 h 2095135"/>
              <a:gd name="csX36" fmla="*/ 399212 w 733006"/>
              <a:gd name="csY36" fmla="*/ 0 h 2095135"/>
              <a:gd name="csX37" fmla="*/ 425980 w 733006"/>
              <a:gd name="csY37" fmla="*/ 78301 h 2095135"/>
              <a:gd name="csX38" fmla="*/ 431861 w 733006"/>
              <a:gd name="csY38" fmla="*/ 90312 h 2095135"/>
              <a:gd name="csX39" fmla="*/ 540349 w 733006"/>
              <a:gd name="csY39" fmla="*/ 187946 h 2095135"/>
              <a:gd name="csX40" fmla="*/ 545555 w 733006"/>
              <a:gd name="csY40" fmla="*/ 197828 h 2095135"/>
              <a:gd name="csX41" fmla="*/ 587318 w 733006"/>
              <a:gd name="csY41" fmla="*/ 171260 h 2095135"/>
              <a:gd name="csX42" fmla="*/ 601503 w 733006"/>
              <a:gd name="csY42" fmla="*/ 163707 h 2095135"/>
              <a:gd name="csX43" fmla="*/ 625254 w 733006"/>
              <a:gd name="csY43" fmla="*/ 163123 h 2095135"/>
              <a:gd name="csX44" fmla="*/ 625468 w 733006"/>
              <a:gd name="csY44" fmla="*/ 187579 h 2095135"/>
              <a:gd name="csX45" fmla="*/ 597543 w 733006"/>
              <a:gd name="csY45" fmla="*/ 251872 h 2095135"/>
              <a:gd name="csX46" fmla="*/ 531831 w 733006"/>
              <a:gd name="csY46" fmla="*/ 442689 h 2095135"/>
              <a:gd name="csX47" fmla="*/ 519888 w 733006"/>
              <a:gd name="csY47" fmla="*/ 501474 h 2095135"/>
              <a:gd name="csX48" fmla="*/ 522506 w 733006"/>
              <a:gd name="csY48" fmla="*/ 525086 h 2095135"/>
              <a:gd name="csX49" fmla="*/ 516235 w 733006"/>
              <a:gd name="csY49" fmla="*/ 555946 h 2095135"/>
              <a:gd name="csX50" fmla="*/ 521332 w 733006"/>
              <a:gd name="csY50" fmla="*/ 610676 h 2095135"/>
              <a:gd name="csX51" fmla="*/ 541382 w 733006"/>
              <a:gd name="csY51" fmla="*/ 642597 h 2095135"/>
              <a:gd name="csX52" fmla="*/ 557031 w 733006"/>
              <a:gd name="csY52" fmla="*/ 667949 h 2095135"/>
              <a:gd name="csX53" fmla="*/ 553994 w 733006"/>
              <a:gd name="csY53" fmla="*/ 744146 h 2095135"/>
              <a:gd name="csX54" fmla="*/ 508215 w 733006"/>
              <a:gd name="csY54" fmla="*/ 758841 h 2095135"/>
              <a:gd name="csX55" fmla="*/ 497442 w 733006"/>
              <a:gd name="csY55" fmla="*/ 771256 h 2095135"/>
              <a:gd name="csX56" fmla="*/ 493005 w 733006"/>
              <a:gd name="csY56" fmla="*/ 922055 h 2095135"/>
              <a:gd name="csX57" fmla="*/ 502900 w 733006"/>
              <a:gd name="csY57" fmla="*/ 1114191 h 2095135"/>
              <a:gd name="csX58" fmla="*/ 508800 w 733006"/>
              <a:gd name="csY58" fmla="*/ 1205474 h 2095135"/>
              <a:gd name="csX59" fmla="*/ 522952 w 733006"/>
              <a:gd name="csY59" fmla="*/ 1320065 h 2095135"/>
              <a:gd name="csX60" fmla="*/ 554682 w 733006"/>
              <a:gd name="csY60" fmla="*/ 1501203 h 2095135"/>
              <a:gd name="csX61" fmla="*/ 576958 w 733006"/>
              <a:gd name="csY61" fmla="*/ 1593963 h 2095135"/>
              <a:gd name="csX62" fmla="*/ 595349 w 733006"/>
              <a:gd name="csY62" fmla="*/ 1613498 h 2095135"/>
              <a:gd name="csX63" fmla="*/ 613936 w 733006"/>
              <a:gd name="csY63" fmla="*/ 1624058 h 2095135"/>
              <a:gd name="csX64" fmla="*/ 620938 w 733006"/>
              <a:gd name="csY64" fmla="*/ 1652071 h 2095135"/>
              <a:gd name="csX65" fmla="*/ 630805 w 733006"/>
              <a:gd name="csY65" fmla="*/ 1721702 h 2095135"/>
              <a:gd name="csX66" fmla="*/ 685830 w 733006"/>
              <a:gd name="csY66" fmla="*/ 1792915 h 2095135"/>
              <a:gd name="csX67" fmla="*/ 708904 w 733006"/>
              <a:gd name="csY67" fmla="*/ 1890290 h 2095135"/>
              <a:gd name="csX68" fmla="*/ 716580 w 733006"/>
              <a:gd name="csY68" fmla="*/ 1951136 h 2095135"/>
              <a:gd name="csX69" fmla="*/ 729397 w 733006"/>
              <a:gd name="csY69" fmla="*/ 2030261 h 2095135"/>
              <a:gd name="csX70" fmla="*/ 714212 w 733006"/>
              <a:gd name="csY70" fmla="*/ 2049544 h 2095135"/>
              <a:gd name="csX71" fmla="*/ 96263 w 733006"/>
              <a:gd name="csY71" fmla="*/ 2076207 h 2095135"/>
              <a:gd name="csX72" fmla="*/ 489970 w 733006"/>
              <a:gd name="csY72" fmla="*/ 152208 h 2095135"/>
              <a:gd name="csX73" fmla="*/ 490754 w 733006"/>
              <a:gd name="csY73" fmla="*/ 152592 h 2095135"/>
              <a:gd name="csX74" fmla="*/ 489489 w 733006"/>
              <a:gd name="csY74" fmla="*/ 149547 h 2095135"/>
              <a:gd name="csX75" fmla="*/ 393621 w 733006"/>
              <a:gd name="csY75" fmla="*/ 99259 h 2095135"/>
              <a:gd name="csX76" fmla="*/ 390419 w 733006"/>
              <a:gd name="csY76" fmla="*/ 18568 h 2095135"/>
              <a:gd name="csX77" fmla="*/ 334131 w 733006"/>
              <a:gd name="csY77" fmla="*/ 24327 h 2095135"/>
              <a:gd name="csX78" fmla="*/ 344678 w 733006"/>
              <a:gd name="csY78" fmla="*/ 101259 h 2095135"/>
              <a:gd name="csX79" fmla="*/ 298854 w 733006"/>
              <a:gd name="csY79" fmla="*/ 114003 h 2095135"/>
              <a:gd name="csX80" fmla="*/ 237456 w 733006"/>
              <a:gd name="csY80" fmla="*/ 154340 h 2095135"/>
              <a:gd name="csX81" fmla="*/ 240382 w 733006"/>
              <a:gd name="csY81" fmla="*/ 154035 h 2095135"/>
              <a:gd name="csX82" fmla="*/ 262731 w 733006"/>
              <a:gd name="csY82" fmla="*/ 170426 h 2095135"/>
              <a:gd name="csX83" fmla="*/ 279169 w 733006"/>
              <a:gd name="csY83" fmla="*/ 193173 h 2095135"/>
              <a:gd name="csX84" fmla="*/ 327717 w 733006"/>
              <a:gd name="csY84" fmla="*/ 188556 h 2095135"/>
              <a:gd name="csX85" fmla="*/ 348052 w 733006"/>
              <a:gd name="csY85" fmla="*/ 156919 h 2095135"/>
              <a:gd name="csX86" fmla="*/ 380330 w 733006"/>
              <a:gd name="csY86" fmla="*/ 156483 h 2095135"/>
              <a:gd name="csX87" fmla="*/ 408490 w 733006"/>
              <a:gd name="csY87" fmla="*/ 195400 h 2095135"/>
              <a:gd name="csX88" fmla="*/ 445346 w 733006"/>
              <a:gd name="csY88" fmla="*/ 197582 h 2095135"/>
              <a:gd name="csX89" fmla="*/ 464798 w 733006"/>
              <a:gd name="csY89" fmla="*/ 174107 h 2095135"/>
              <a:gd name="csX90" fmla="*/ 489970 w 733006"/>
              <a:gd name="csY90" fmla="*/ 152208 h 2095135"/>
              <a:gd name="csX91" fmla="*/ 140694 w 733006"/>
              <a:gd name="csY91" fmla="*/ 201837 h 2095135"/>
              <a:gd name="csX92" fmla="*/ 139834 w 733006"/>
              <a:gd name="csY92" fmla="*/ 201482 h 2095135"/>
              <a:gd name="csX93" fmla="*/ 140812 w 733006"/>
              <a:gd name="csY93" fmla="*/ 204941 h 2095135"/>
              <a:gd name="csX94" fmla="*/ 144631 w 733006"/>
              <a:gd name="csY94" fmla="*/ 217811 h 2095135"/>
              <a:gd name="csX95" fmla="*/ 201241 w 733006"/>
              <a:gd name="csY95" fmla="*/ 373387 h 2095135"/>
              <a:gd name="csX96" fmla="*/ 235971 w 733006"/>
              <a:gd name="csY96" fmla="*/ 504451 h 2095135"/>
              <a:gd name="csX97" fmla="*/ 247475 w 733006"/>
              <a:gd name="csY97" fmla="*/ 513241 h 2095135"/>
              <a:gd name="csX98" fmla="*/ 289066 w 733006"/>
              <a:gd name="csY98" fmla="*/ 511170 h 2095135"/>
              <a:gd name="csX99" fmla="*/ 378229 w 733006"/>
              <a:gd name="csY99" fmla="*/ 511084 h 2095135"/>
              <a:gd name="csX100" fmla="*/ 470850 w 733006"/>
              <a:gd name="csY100" fmla="*/ 516341 h 2095135"/>
              <a:gd name="csX101" fmla="*/ 492933 w 733006"/>
              <a:gd name="csY101" fmla="*/ 497969 h 2095135"/>
              <a:gd name="csX102" fmla="*/ 557617 w 733006"/>
              <a:gd name="csY102" fmla="*/ 280398 h 2095135"/>
              <a:gd name="csX103" fmla="*/ 588788 w 733006"/>
              <a:gd name="csY103" fmla="*/ 200385 h 2095135"/>
              <a:gd name="csX104" fmla="*/ 530958 w 733006"/>
              <a:gd name="csY104" fmla="*/ 232968 h 2095135"/>
              <a:gd name="csX105" fmla="*/ 483823 w 733006"/>
              <a:gd name="csY105" fmla="*/ 190364 h 2095135"/>
              <a:gd name="csX106" fmla="*/ 466649 w 733006"/>
              <a:gd name="csY106" fmla="*/ 209061 h 2095135"/>
              <a:gd name="csX107" fmla="*/ 399941 w 733006"/>
              <a:gd name="csY107" fmla="*/ 216988 h 2095135"/>
              <a:gd name="csX108" fmla="*/ 363018 w 733006"/>
              <a:gd name="csY108" fmla="*/ 179615 h 2095135"/>
              <a:gd name="csX109" fmla="*/ 308839 w 733006"/>
              <a:gd name="csY109" fmla="*/ 227846 h 2095135"/>
              <a:gd name="csX110" fmla="*/ 245077 w 733006"/>
              <a:gd name="csY110" fmla="*/ 192402 h 2095135"/>
              <a:gd name="csX111" fmla="*/ 242829 w 733006"/>
              <a:gd name="csY111" fmla="*/ 198815 h 2095135"/>
              <a:gd name="csX112" fmla="*/ 168452 w 733006"/>
              <a:gd name="csY112" fmla="*/ 219348 h 2095135"/>
              <a:gd name="csX113" fmla="*/ 140694 w 733006"/>
              <a:gd name="csY113" fmla="*/ 201837 h 2095135"/>
              <a:gd name="csX114" fmla="*/ 259999 w 733006"/>
              <a:gd name="csY114" fmla="*/ 966699 h 2095135"/>
              <a:gd name="csX115" fmla="*/ 257072 w 733006"/>
              <a:gd name="csY115" fmla="*/ 1070424 h 2095135"/>
              <a:gd name="csX116" fmla="*/ 251372 w 733006"/>
              <a:gd name="csY116" fmla="*/ 1157618 h 2095135"/>
              <a:gd name="csX117" fmla="*/ 232677 w 733006"/>
              <a:gd name="csY117" fmla="*/ 1320279 h 2095135"/>
              <a:gd name="csX118" fmla="*/ 209182 w 733006"/>
              <a:gd name="csY118" fmla="*/ 1468667 h 2095135"/>
              <a:gd name="csX119" fmla="*/ 175302 w 733006"/>
              <a:gd name="csY119" fmla="*/ 1616623 h 2095135"/>
              <a:gd name="csX120" fmla="*/ 182769 w 733006"/>
              <a:gd name="csY120" fmla="*/ 1629786 h 2095135"/>
              <a:gd name="csX121" fmla="*/ 212156 w 733006"/>
              <a:gd name="csY121" fmla="*/ 1632656 h 2095135"/>
              <a:gd name="csX122" fmla="*/ 351295 w 733006"/>
              <a:gd name="csY122" fmla="*/ 1632801 h 2095135"/>
              <a:gd name="csX123" fmla="*/ 376150 w 733006"/>
              <a:gd name="csY123" fmla="*/ 1608307 h 2095135"/>
              <a:gd name="csX124" fmla="*/ 373450 w 733006"/>
              <a:gd name="csY124" fmla="*/ 1457291 h 2095135"/>
              <a:gd name="csX125" fmla="*/ 370936 w 733006"/>
              <a:gd name="csY125" fmla="*/ 1342736 h 2095135"/>
              <a:gd name="csX126" fmla="*/ 368328 w 733006"/>
              <a:gd name="csY126" fmla="*/ 1203878 h 2095135"/>
              <a:gd name="csX127" fmla="*/ 367836 w 733006"/>
              <a:gd name="csY127" fmla="*/ 813478 h 2095135"/>
              <a:gd name="csX128" fmla="*/ 365240 w 733006"/>
              <a:gd name="csY128" fmla="*/ 773243 h 2095135"/>
              <a:gd name="csX129" fmla="*/ 353084 w 733006"/>
              <a:gd name="csY129" fmla="*/ 762083 h 2095135"/>
              <a:gd name="csX130" fmla="*/ 280966 w 733006"/>
              <a:gd name="csY130" fmla="*/ 759855 h 2095135"/>
              <a:gd name="csX131" fmla="*/ 259965 w 733006"/>
              <a:gd name="csY131" fmla="*/ 779553 h 2095135"/>
              <a:gd name="csX132" fmla="*/ 262341 w 733006"/>
              <a:gd name="csY132" fmla="*/ 856275 h 2095135"/>
              <a:gd name="csX133" fmla="*/ 259999 w 733006"/>
              <a:gd name="csY133" fmla="*/ 966699 h 2095135"/>
              <a:gd name="csX134" fmla="*/ 55556 w 733006"/>
              <a:gd name="csY134" fmla="*/ 1835827 h 2095135"/>
              <a:gd name="csX135" fmla="*/ 49393 w 733006"/>
              <a:gd name="csY135" fmla="*/ 1878155 h 2095135"/>
              <a:gd name="csX136" fmla="*/ 73949 w 733006"/>
              <a:gd name="csY136" fmla="*/ 1905781 h 2095135"/>
              <a:gd name="csX137" fmla="*/ 110073 w 733006"/>
              <a:gd name="csY137" fmla="*/ 1909068 h 2095135"/>
              <a:gd name="csX138" fmla="*/ 224745 w 733006"/>
              <a:gd name="csY138" fmla="*/ 1921652 h 2095135"/>
              <a:gd name="csX139" fmla="*/ 347327 w 733006"/>
              <a:gd name="csY139" fmla="*/ 1924778 h 2095135"/>
              <a:gd name="csX140" fmla="*/ 363345 w 733006"/>
              <a:gd name="csY140" fmla="*/ 1923293 h 2095135"/>
              <a:gd name="csX141" fmla="*/ 373787 w 733006"/>
              <a:gd name="csY141" fmla="*/ 1911200 h 2095135"/>
              <a:gd name="csX142" fmla="*/ 376623 w 733006"/>
              <a:gd name="csY142" fmla="*/ 1696741 h 2095135"/>
              <a:gd name="csX143" fmla="*/ 360437 w 733006"/>
              <a:gd name="csY143" fmla="*/ 1681289 h 2095135"/>
              <a:gd name="csX144" fmla="*/ 263503 w 733006"/>
              <a:gd name="csY144" fmla="*/ 1678179 h 2095135"/>
              <a:gd name="csX145" fmla="*/ 160381 w 733006"/>
              <a:gd name="csY145" fmla="*/ 1670405 h 2095135"/>
              <a:gd name="csX146" fmla="*/ 143321 w 733006"/>
              <a:gd name="csY146" fmla="*/ 1685538 h 2095135"/>
              <a:gd name="csX147" fmla="*/ 124769 w 733006"/>
              <a:gd name="csY147" fmla="*/ 1738195 h 2095135"/>
              <a:gd name="csX148" fmla="*/ 90593 w 733006"/>
              <a:gd name="csY148" fmla="*/ 1779570 h 2095135"/>
              <a:gd name="csX149" fmla="*/ 55556 w 733006"/>
              <a:gd name="csY149" fmla="*/ 1835827 h 2095135"/>
              <a:gd name="csX150" fmla="*/ 378900 w 733006"/>
              <a:gd name="csY150" fmla="*/ 2007280 h 2095135"/>
              <a:gd name="csX151" fmla="*/ 378887 w 733006"/>
              <a:gd name="csY151" fmla="*/ 1995127 h 2095135"/>
              <a:gd name="csX152" fmla="*/ 359084 w 733006"/>
              <a:gd name="csY152" fmla="*/ 1975964 h 2095135"/>
              <a:gd name="csX153" fmla="*/ 247288 w 733006"/>
              <a:gd name="csY153" fmla="*/ 1973305 h 2095135"/>
              <a:gd name="csX154" fmla="*/ 201692 w 733006"/>
              <a:gd name="csY154" fmla="*/ 1970275 h 2095135"/>
              <a:gd name="csX155" fmla="*/ 57962 w 733006"/>
              <a:gd name="csY155" fmla="*/ 1952648 h 2095135"/>
              <a:gd name="csX156" fmla="*/ 39194 w 733006"/>
              <a:gd name="csY156" fmla="*/ 1963552 h 2095135"/>
              <a:gd name="csX157" fmla="*/ 30066 w 733006"/>
              <a:gd name="csY157" fmla="*/ 2006631 h 2095135"/>
              <a:gd name="csX158" fmla="*/ 40232 w 733006"/>
              <a:gd name="csY158" fmla="*/ 2019486 h 2095135"/>
              <a:gd name="csX159" fmla="*/ 238186 w 733006"/>
              <a:gd name="csY159" fmla="*/ 2046096 h 2095135"/>
              <a:gd name="csX160" fmla="*/ 342155 w 733006"/>
              <a:gd name="csY160" fmla="*/ 2046441 h 2095135"/>
              <a:gd name="csX161" fmla="*/ 378900 w 733006"/>
              <a:gd name="csY161" fmla="*/ 2007280 h 2095135"/>
              <a:gd name="csX162" fmla="*/ 310220 w 733006"/>
              <a:gd name="csY162" fmla="*/ 554288 h 2095135"/>
              <a:gd name="csX163" fmla="*/ 259136 w 733006"/>
              <a:gd name="csY163" fmla="*/ 556881 h 2095135"/>
              <a:gd name="csX164" fmla="*/ 249085 w 733006"/>
              <a:gd name="csY164" fmla="*/ 567981 h 2095135"/>
              <a:gd name="csX165" fmla="*/ 249141 w 733006"/>
              <a:gd name="csY165" fmla="*/ 605644 h 2095135"/>
              <a:gd name="csX166" fmla="*/ 262628 w 733006"/>
              <a:gd name="csY166" fmla="*/ 605627 h 2095135"/>
              <a:gd name="csX167" fmla="*/ 369608 w 733006"/>
              <a:gd name="csY167" fmla="*/ 603027 h 2095135"/>
              <a:gd name="csX168" fmla="*/ 463931 w 733006"/>
              <a:gd name="csY168" fmla="*/ 605146 h 2095135"/>
              <a:gd name="csX169" fmla="*/ 478113 w 733006"/>
              <a:gd name="csY169" fmla="*/ 595843 h 2095135"/>
              <a:gd name="csX170" fmla="*/ 478796 w 733006"/>
              <a:gd name="csY170" fmla="*/ 556832 h 2095135"/>
              <a:gd name="csX171" fmla="*/ 310220 w 733006"/>
              <a:gd name="csY171" fmla="*/ 554288 h 2095135"/>
              <a:gd name="csX172" fmla="*/ 348836 w 733006"/>
              <a:gd name="csY172" fmla="*/ 684115 h 2095135"/>
              <a:gd name="csX173" fmla="*/ 281333 w 733006"/>
              <a:gd name="csY173" fmla="*/ 683313 h 2095135"/>
              <a:gd name="csX174" fmla="*/ 212728 w 733006"/>
              <a:gd name="csY174" fmla="*/ 681931 h 2095135"/>
              <a:gd name="csX175" fmla="*/ 187283 w 733006"/>
              <a:gd name="csY175" fmla="*/ 689555 h 2095135"/>
              <a:gd name="csX176" fmla="*/ 186163 w 733006"/>
              <a:gd name="csY176" fmla="*/ 718266 h 2095135"/>
              <a:gd name="csX177" fmla="*/ 209894 w 733006"/>
              <a:gd name="csY177" fmla="*/ 726798 h 2095135"/>
              <a:gd name="csX178" fmla="*/ 334814 w 733006"/>
              <a:gd name="csY178" fmla="*/ 732494 h 2095135"/>
              <a:gd name="csX179" fmla="*/ 364856 w 733006"/>
              <a:gd name="csY179" fmla="*/ 707963 h 2095135"/>
              <a:gd name="csX180" fmla="*/ 348836 w 733006"/>
              <a:gd name="csY180" fmla="*/ 684115 h 2095135"/>
              <a:gd name="csX181" fmla="*/ 298865 w 733006"/>
              <a:gd name="csY181" fmla="*/ 621954 h 2095135"/>
              <a:gd name="csX182" fmla="*/ 251619 w 733006"/>
              <a:gd name="csY182" fmla="*/ 622133 h 2095135"/>
              <a:gd name="csX183" fmla="*/ 214459 w 733006"/>
              <a:gd name="csY183" fmla="*/ 636230 h 2095135"/>
              <a:gd name="csX184" fmla="*/ 221436 w 733006"/>
              <a:gd name="csY184" fmla="*/ 654205 h 2095135"/>
              <a:gd name="csX185" fmla="*/ 272412 w 733006"/>
              <a:gd name="csY185" fmla="*/ 657250 h 2095135"/>
              <a:gd name="csX186" fmla="*/ 349094 w 733006"/>
              <a:gd name="csY186" fmla="*/ 659282 h 2095135"/>
              <a:gd name="csX187" fmla="*/ 362996 w 733006"/>
              <a:gd name="csY187" fmla="*/ 644234 h 2095135"/>
              <a:gd name="csX188" fmla="*/ 348472 w 733006"/>
              <a:gd name="csY188" fmla="*/ 624649 h 2095135"/>
              <a:gd name="csX189" fmla="*/ 298865 w 733006"/>
              <a:gd name="csY189" fmla="*/ 621954 h 2095135"/>
              <a:gd name="csX190" fmla="*/ 227796 w 733006"/>
              <a:gd name="csY190" fmla="*/ 528000 h 2095135"/>
              <a:gd name="csX191" fmla="*/ 241009 w 733006"/>
              <a:gd name="csY191" fmla="*/ 545897 h 2095135"/>
              <a:gd name="csX192" fmla="*/ 282607 w 733006"/>
              <a:gd name="csY192" fmla="*/ 543480 h 2095135"/>
              <a:gd name="csX193" fmla="*/ 354213 w 733006"/>
              <a:gd name="csY193" fmla="*/ 543384 h 2095135"/>
              <a:gd name="csX194" fmla="*/ 365334 w 733006"/>
              <a:gd name="csY194" fmla="*/ 533397 h 2095135"/>
              <a:gd name="csX195" fmla="*/ 354531 w 733006"/>
              <a:gd name="csY195" fmla="*/ 521620 h 2095135"/>
              <a:gd name="csX196" fmla="*/ 259169 w 733006"/>
              <a:gd name="csY196" fmla="*/ 521978 h 2095135"/>
              <a:gd name="csX197" fmla="*/ 227796 w 733006"/>
              <a:gd name="csY197" fmla="*/ 528000 h 2095135"/>
              <a:gd name="csX198" fmla="*/ 508068 w 733006"/>
              <a:gd name="csY198" fmla="*/ 190710 h 2095135"/>
              <a:gd name="csX199" fmla="*/ 521293 w 733006"/>
              <a:gd name="csY199" fmla="*/ 205907 h 2095135"/>
              <a:gd name="csX200" fmla="*/ 525175 w 733006"/>
              <a:gd name="csY200" fmla="*/ 202985 h 2095135"/>
              <a:gd name="csX201" fmla="*/ 500276 w 733006"/>
              <a:gd name="csY201" fmla="*/ 160640 h 2095135"/>
              <a:gd name="csX202" fmla="*/ 497122 w 733006"/>
              <a:gd name="csY202" fmla="*/ 162007 h 2095135"/>
              <a:gd name="csX203" fmla="*/ 508068 w 733006"/>
              <a:gd name="csY203" fmla="*/ 190710 h 2095135"/>
              <a:gd name="csX204" fmla="*/ 215522 w 733006"/>
              <a:gd name="csY204" fmla="*/ 197296 h 2095135"/>
              <a:gd name="csX205" fmla="*/ 234029 w 733006"/>
              <a:gd name="csY205" fmla="*/ 162725 h 2095135"/>
              <a:gd name="csX206" fmla="*/ 229000 w 733006"/>
              <a:gd name="csY206" fmla="*/ 159902 h 2095135"/>
              <a:gd name="csX207" fmla="*/ 204824 w 733006"/>
              <a:gd name="csY207" fmla="*/ 199677 h 2095135"/>
              <a:gd name="csX208" fmla="*/ 207990 w 733006"/>
              <a:gd name="csY208" fmla="*/ 202198 h 2095135"/>
              <a:gd name="csX209" fmla="*/ 215522 w 733006"/>
              <a:gd name="csY209" fmla="*/ 197296 h 2095135"/>
              <a:gd name="csX210" fmla="*/ 484400 w 733006"/>
              <a:gd name="csY210" fmla="*/ 896678 h 2095135"/>
              <a:gd name="csX211" fmla="*/ 486181 w 733006"/>
              <a:gd name="csY211" fmla="*/ 896585 h 2095135"/>
              <a:gd name="csX212" fmla="*/ 486181 w 733006"/>
              <a:gd name="csY212" fmla="*/ 795289 h 2095135"/>
              <a:gd name="csX213" fmla="*/ 720241 w 733006"/>
              <a:gd name="csY213" fmla="*/ 2030666 h 2095135"/>
              <a:gd name="csX214" fmla="*/ 721175 w 733006"/>
              <a:gd name="csY214" fmla="*/ 2029733 h 2095135"/>
              <a:gd name="csX0" fmla="*/ 96263 w 733006"/>
              <a:gd name="csY0" fmla="*/ 2076207 h 2095135"/>
              <a:gd name="csX1" fmla="*/ 63862 w 733006"/>
              <a:gd name="csY1" fmla="*/ 2065388 h 2095135"/>
              <a:gd name="csX2" fmla="*/ 16555 w 733006"/>
              <a:gd name="csY2" fmla="*/ 2050152 h 2095135"/>
              <a:gd name="csX3" fmla="*/ 15 w 733006"/>
              <a:gd name="csY3" fmla="*/ 2023802 h 2095135"/>
              <a:gd name="csX4" fmla="*/ 18368 w 733006"/>
              <a:gd name="csY4" fmla="*/ 1940709 h 2095135"/>
              <a:gd name="csX5" fmla="*/ 22139 w 733006"/>
              <a:gd name="csY5" fmla="*/ 1907268 h 2095135"/>
              <a:gd name="csX6" fmla="*/ 57941 w 733006"/>
              <a:gd name="csY6" fmla="*/ 1774163 h 2095135"/>
              <a:gd name="csX7" fmla="*/ 102478 w 733006"/>
              <a:gd name="csY7" fmla="*/ 1720275 h 2095135"/>
              <a:gd name="csX8" fmla="*/ 108579 w 733006"/>
              <a:gd name="csY8" fmla="*/ 1650967 h 2095135"/>
              <a:gd name="csX9" fmla="*/ 115628 w 733006"/>
              <a:gd name="csY9" fmla="*/ 1625405 h 2095135"/>
              <a:gd name="csX10" fmla="*/ 156323 w 733006"/>
              <a:gd name="csY10" fmla="*/ 1560181 h 2095135"/>
              <a:gd name="csX11" fmla="*/ 199424 w 733006"/>
              <a:gd name="csY11" fmla="*/ 1364729 h 2095135"/>
              <a:gd name="csX12" fmla="*/ 216779 w 733006"/>
              <a:gd name="csY12" fmla="*/ 1219490 h 2095135"/>
              <a:gd name="csX13" fmla="*/ 229755 w 733006"/>
              <a:gd name="csY13" fmla="*/ 1099357 h 2095135"/>
              <a:gd name="csX14" fmla="*/ 232707 w 733006"/>
              <a:gd name="csY14" fmla="*/ 1056423 h 2095135"/>
              <a:gd name="csX15" fmla="*/ 235622 w 733006"/>
              <a:gd name="csY15" fmla="*/ 952675 h 2095135"/>
              <a:gd name="csX16" fmla="*/ 235445 w 733006"/>
              <a:gd name="csY16" fmla="*/ 780278 h 2095135"/>
              <a:gd name="csX17" fmla="*/ 214544 w 733006"/>
              <a:gd name="csY17" fmla="*/ 756435 h 2095135"/>
              <a:gd name="csX18" fmla="*/ 172569 w 733006"/>
              <a:gd name="csY18" fmla="*/ 742582 h 2095135"/>
              <a:gd name="csX19" fmla="*/ 168784 w 733006"/>
              <a:gd name="csY19" fmla="*/ 669116 h 2095135"/>
              <a:gd name="csX20" fmla="*/ 191657 w 733006"/>
              <a:gd name="csY20" fmla="*/ 630765 h 2095135"/>
              <a:gd name="csX21" fmla="*/ 208150 w 733006"/>
              <a:gd name="csY21" fmla="*/ 609084 h 2095135"/>
              <a:gd name="csX22" fmla="*/ 216756 w 733006"/>
              <a:gd name="csY22" fmla="*/ 558673 h 2095135"/>
              <a:gd name="csX23" fmla="*/ 209092 w 733006"/>
              <a:gd name="csY23" fmla="*/ 521540 h 2095135"/>
              <a:gd name="csX24" fmla="*/ 204683 w 733006"/>
              <a:gd name="csY24" fmla="*/ 474024 h 2095135"/>
              <a:gd name="csX25" fmla="*/ 115483 w 733006"/>
              <a:gd name="csY25" fmla="*/ 213499 h 2095135"/>
              <a:gd name="csX26" fmla="*/ 102909 w 733006"/>
              <a:gd name="csY26" fmla="*/ 182297 h 2095135"/>
              <a:gd name="csX27" fmla="*/ 104315 w 733006"/>
              <a:gd name="csY27" fmla="*/ 163968 h 2095135"/>
              <a:gd name="csX28" fmla="*/ 122444 w 733006"/>
              <a:gd name="csY28" fmla="*/ 160805 h 2095135"/>
              <a:gd name="csX29" fmla="*/ 170283 w 733006"/>
              <a:gd name="csY29" fmla="*/ 187783 h 2095135"/>
              <a:gd name="csX30" fmla="*/ 180938 w 733006"/>
              <a:gd name="csY30" fmla="*/ 195322 h 2095135"/>
              <a:gd name="csX31" fmla="*/ 221419 w 733006"/>
              <a:gd name="csY31" fmla="*/ 138058 h 2095135"/>
              <a:gd name="csX32" fmla="*/ 294099 w 733006"/>
              <a:gd name="csY32" fmla="*/ 91372 h 2095135"/>
              <a:gd name="csX33" fmla="*/ 302307 w 733006"/>
              <a:gd name="csY33" fmla="*/ 76560 h 2095135"/>
              <a:gd name="csX34" fmla="*/ 320284 w 733006"/>
              <a:gd name="csY34" fmla="*/ 8414 h 2095135"/>
              <a:gd name="csX35" fmla="*/ 324784 w 733006"/>
              <a:gd name="csY35" fmla="*/ 946 h 2095135"/>
              <a:gd name="csX36" fmla="*/ 399212 w 733006"/>
              <a:gd name="csY36" fmla="*/ 0 h 2095135"/>
              <a:gd name="csX37" fmla="*/ 425980 w 733006"/>
              <a:gd name="csY37" fmla="*/ 78301 h 2095135"/>
              <a:gd name="csX38" fmla="*/ 431861 w 733006"/>
              <a:gd name="csY38" fmla="*/ 90312 h 2095135"/>
              <a:gd name="csX39" fmla="*/ 540349 w 733006"/>
              <a:gd name="csY39" fmla="*/ 187946 h 2095135"/>
              <a:gd name="csX40" fmla="*/ 545555 w 733006"/>
              <a:gd name="csY40" fmla="*/ 197828 h 2095135"/>
              <a:gd name="csX41" fmla="*/ 587318 w 733006"/>
              <a:gd name="csY41" fmla="*/ 171260 h 2095135"/>
              <a:gd name="csX42" fmla="*/ 601503 w 733006"/>
              <a:gd name="csY42" fmla="*/ 163707 h 2095135"/>
              <a:gd name="csX43" fmla="*/ 625254 w 733006"/>
              <a:gd name="csY43" fmla="*/ 163123 h 2095135"/>
              <a:gd name="csX44" fmla="*/ 625468 w 733006"/>
              <a:gd name="csY44" fmla="*/ 187579 h 2095135"/>
              <a:gd name="csX45" fmla="*/ 597543 w 733006"/>
              <a:gd name="csY45" fmla="*/ 251872 h 2095135"/>
              <a:gd name="csX46" fmla="*/ 531831 w 733006"/>
              <a:gd name="csY46" fmla="*/ 442689 h 2095135"/>
              <a:gd name="csX47" fmla="*/ 519888 w 733006"/>
              <a:gd name="csY47" fmla="*/ 501474 h 2095135"/>
              <a:gd name="csX48" fmla="*/ 522506 w 733006"/>
              <a:gd name="csY48" fmla="*/ 525086 h 2095135"/>
              <a:gd name="csX49" fmla="*/ 516235 w 733006"/>
              <a:gd name="csY49" fmla="*/ 555946 h 2095135"/>
              <a:gd name="csX50" fmla="*/ 521332 w 733006"/>
              <a:gd name="csY50" fmla="*/ 610676 h 2095135"/>
              <a:gd name="csX51" fmla="*/ 541382 w 733006"/>
              <a:gd name="csY51" fmla="*/ 642597 h 2095135"/>
              <a:gd name="csX52" fmla="*/ 557031 w 733006"/>
              <a:gd name="csY52" fmla="*/ 667949 h 2095135"/>
              <a:gd name="csX53" fmla="*/ 553994 w 733006"/>
              <a:gd name="csY53" fmla="*/ 744146 h 2095135"/>
              <a:gd name="csX54" fmla="*/ 508215 w 733006"/>
              <a:gd name="csY54" fmla="*/ 758841 h 2095135"/>
              <a:gd name="csX55" fmla="*/ 497442 w 733006"/>
              <a:gd name="csY55" fmla="*/ 771256 h 2095135"/>
              <a:gd name="csX56" fmla="*/ 493005 w 733006"/>
              <a:gd name="csY56" fmla="*/ 922055 h 2095135"/>
              <a:gd name="csX57" fmla="*/ 502900 w 733006"/>
              <a:gd name="csY57" fmla="*/ 1114191 h 2095135"/>
              <a:gd name="csX58" fmla="*/ 508800 w 733006"/>
              <a:gd name="csY58" fmla="*/ 1205474 h 2095135"/>
              <a:gd name="csX59" fmla="*/ 522952 w 733006"/>
              <a:gd name="csY59" fmla="*/ 1320065 h 2095135"/>
              <a:gd name="csX60" fmla="*/ 554682 w 733006"/>
              <a:gd name="csY60" fmla="*/ 1501203 h 2095135"/>
              <a:gd name="csX61" fmla="*/ 576958 w 733006"/>
              <a:gd name="csY61" fmla="*/ 1593963 h 2095135"/>
              <a:gd name="csX62" fmla="*/ 595349 w 733006"/>
              <a:gd name="csY62" fmla="*/ 1613498 h 2095135"/>
              <a:gd name="csX63" fmla="*/ 613936 w 733006"/>
              <a:gd name="csY63" fmla="*/ 1624058 h 2095135"/>
              <a:gd name="csX64" fmla="*/ 620938 w 733006"/>
              <a:gd name="csY64" fmla="*/ 1652071 h 2095135"/>
              <a:gd name="csX65" fmla="*/ 630805 w 733006"/>
              <a:gd name="csY65" fmla="*/ 1721702 h 2095135"/>
              <a:gd name="csX66" fmla="*/ 685830 w 733006"/>
              <a:gd name="csY66" fmla="*/ 1792915 h 2095135"/>
              <a:gd name="csX67" fmla="*/ 708904 w 733006"/>
              <a:gd name="csY67" fmla="*/ 1890290 h 2095135"/>
              <a:gd name="csX68" fmla="*/ 716580 w 733006"/>
              <a:gd name="csY68" fmla="*/ 1951136 h 2095135"/>
              <a:gd name="csX69" fmla="*/ 729397 w 733006"/>
              <a:gd name="csY69" fmla="*/ 2030261 h 2095135"/>
              <a:gd name="csX70" fmla="*/ 714212 w 733006"/>
              <a:gd name="csY70" fmla="*/ 2049544 h 2095135"/>
              <a:gd name="csX71" fmla="*/ 96263 w 733006"/>
              <a:gd name="csY71" fmla="*/ 2076207 h 2095135"/>
              <a:gd name="csX72" fmla="*/ 489970 w 733006"/>
              <a:gd name="csY72" fmla="*/ 152208 h 2095135"/>
              <a:gd name="csX73" fmla="*/ 490754 w 733006"/>
              <a:gd name="csY73" fmla="*/ 152592 h 2095135"/>
              <a:gd name="csX74" fmla="*/ 489489 w 733006"/>
              <a:gd name="csY74" fmla="*/ 149547 h 2095135"/>
              <a:gd name="csX75" fmla="*/ 393621 w 733006"/>
              <a:gd name="csY75" fmla="*/ 99259 h 2095135"/>
              <a:gd name="csX76" fmla="*/ 390419 w 733006"/>
              <a:gd name="csY76" fmla="*/ 18568 h 2095135"/>
              <a:gd name="csX77" fmla="*/ 334131 w 733006"/>
              <a:gd name="csY77" fmla="*/ 24327 h 2095135"/>
              <a:gd name="csX78" fmla="*/ 344678 w 733006"/>
              <a:gd name="csY78" fmla="*/ 101259 h 2095135"/>
              <a:gd name="csX79" fmla="*/ 298854 w 733006"/>
              <a:gd name="csY79" fmla="*/ 114003 h 2095135"/>
              <a:gd name="csX80" fmla="*/ 237456 w 733006"/>
              <a:gd name="csY80" fmla="*/ 154340 h 2095135"/>
              <a:gd name="csX81" fmla="*/ 240382 w 733006"/>
              <a:gd name="csY81" fmla="*/ 154035 h 2095135"/>
              <a:gd name="csX82" fmla="*/ 262731 w 733006"/>
              <a:gd name="csY82" fmla="*/ 170426 h 2095135"/>
              <a:gd name="csX83" fmla="*/ 279169 w 733006"/>
              <a:gd name="csY83" fmla="*/ 193173 h 2095135"/>
              <a:gd name="csX84" fmla="*/ 327717 w 733006"/>
              <a:gd name="csY84" fmla="*/ 188556 h 2095135"/>
              <a:gd name="csX85" fmla="*/ 348052 w 733006"/>
              <a:gd name="csY85" fmla="*/ 156919 h 2095135"/>
              <a:gd name="csX86" fmla="*/ 380330 w 733006"/>
              <a:gd name="csY86" fmla="*/ 156483 h 2095135"/>
              <a:gd name="csX87" fmla="*/ 408490 w 733006"/>
              <a:gd name="csY87" fmla="*/ 195400 h 2095135"/>
              <a:gd name="csX88" fmla="*/ 445346 w 733006"/>
              <a:gd name="csY88" fmla="*/ 197582 h 2095135"/>
              <a:gd name="csX89" fmla="*/ 464798 w 733006"/>
              <a:gd name="csY89" fmla="*/ 174107 h 2095135"/>
              <a:gd name="csX90" fmla="*/ 489970 w 733006"/>
              <a:gd name="csY90" fmla="*/ 152208 h 2095135"/>
              <a:gd name="csX91" fmla="*/ 140694 w 733006"/>
              <a:gd name="csY91" fmla="*/ 201837 h 2095135"/>
              <a:gd name="csX92" fmla="*/ 139834 w 733006"/>
              <a:gd name="csY92" fmla="*/ 201482 h 2095135"/>
              <a:gd name="csX93" fmla="*/ 140812 w 733006"/>
              <a:gd name="csY93" fmla="*/ 204941 h 2095135"/>
              <a:gd name="csX94" fmla="*/ 144631 w 733006"/>
              <a:gd name="csY94" fmla="*/ 217811 h 2095135"/>
              <a:gd name="csX95" fmla="*/ 201241 w 733006"/>
              <a:gd name="csY95" fmla="*/ 373387 h 2095135"/>
              <a:gd name="csX96" fmla="*/ 235971 w 733006"/>
              <a:gd name="csY96" fmla="*/ 504451 h 2095135"/>
              <a:gd name="csX97" fmla="*/ 247475 w 733006"/>
              <a:gd name="csY97" fmla="*/ 513241 h 2095135"/>
              <a:gd name="csX98" fmla="*/ 289066 w 733006"/>
              <a:gd name="csY98" fmla="*/ 511170 h 2095135"/>
              <a:gd name="csX99" fmla="*/ 378229 w 733006"/>
              <a:gd name="csY99" fmla="*/ 511084 h 2095135"/>
              <a:gd name="csX100" fmla="*/ 470850 w 733006"/>
              <a:gd name="csY100" fmla="*/ 516341 h 2095135"/>
              <a:gd name="csX101" fmla="*/ 492933 w 733006"/>
              <a:gd name="csY101" fmla="*/ 497969 h 2095135"/>
              <a:gd name="csX102" fmla="*/ 557617 w 733006"/>
              <a:gd name="csY102" fmla="*/ 280398 h 2095135"/>
              <a:gd name="csX103" fmla="*/ 588788 w 733006"/>
              <a:gd name="csY103" fmla="*/ 200385 h 2095135"/>
              <a:gd name="csX104" fmla="*/ 530958 w 733006"/>
              <a:gd name="csY104" fmla="*/ 232968 h 2095135"/>
              <a:gd name="csX105" fmla="*/ 483823 w 733006"/>
              <a:gd name="csY105" fmla="*/ 190364 h 2095135"/>
              <a:gd name="csX106" fmla="*/ 466649 w 733006"/>
              <a:gd name="csY106" fmla="*/ 209061 h 2095135"/>
              <a:gd name="csX107" fmla="*/ 399941 w 733006"/>
              <a:gd name="csY107" fmla="*/ 216988 h 2095135"/>
              <a:gd name="csX108" fmla="*/ 363018 w 733006"/>
              <a:gd name="csY108" fmla="*/ 179615 h 2095135"/>
              <a:gd name="csX109" fmla="*/ 308839 w 733006"/>
              <a:gd name="csY109" fmla="*/ 227846 h 2095135"/>
              <a:gd name="csX110" fmla="*/ 245077 w 733006"/>
              <a:gd name="csY110" fmla="*/ 192402 h 2095135"/>
              <a:gd name="csX111" fmla="*/ 242829 w 733006"/>
              <a:gd name="csY111" fmla="*/ 198815 h 2095135"/>
              <a:gd name="csX112" fmla="*/ 168452 w 733006"/>
              <a:gd name="csY112" fmla="*/ 219348 h 2095135"/>
              <a:gd name="csX113" fmla="*/ 140694 w 733006"/>
              <a:gd name="csY113" fmla="*/ 201837 h 2095135"/>
              <a:gd name="csX114" fmla="*/ 259999 w 733006"/>
              <a:gd name="csY114" fmla="*/ 966699 h 2095135"/>
              <a:gd name="csX115" fmla="*/ 257072 w 733006"/>
              <a:gd name="csY115" fmla="*/ 1070424 h 2095135"/>
              <a:gd name="csX116" fmla="*/ 251372 w 733006"/>
              <a:gd name="csY116" fmla="*/ 1157618 h 2095135"/>
              <a:gd name="csX117" fmla="*/ 232677 w 733006"/>
              <a:gd name="csY117" fmla="*/ 1320279 h 2095135"/>
              <a:gd name="csX118" fmla="*/ 209182 w 733006"/>
              <a:gd name="csY118" fmla="*/ 1468667 h 2095135"/>
              <a:gd name="csX119" fmla="*/ 175302 w 733006"/>
              <a:gd name="csY119" fmla="*/ 1616623 h 2095135"/>
              <a:gd name="csX120" fmla="*/ 182769 w 733006"/>
              <a:gd name="csY120" fmla="*/ 1629786 h 2095135"/>
              <a:gd name="csX121" fmla="*/ 212156 w 733006"/>
              <a:gd name="csY121" fmla="*/ 1632656 h 2095135"/>
              <a:gd name="csX122" fmla="*/ 351295 w 733006"/>
              <a:gd name="csY122" fmla="*/ 1632801 h 2095135"/>
              <a:gd name="csX123" fmla="*/ 376150 w 733006"/>
              <a:gd name="csY123" fmla="*/ 1608307 h 2095135"/>
              <a:gd name="csX124" fmla="*/ 373450 w 733006"/>
              <a:gd name="csY124" fmla="*/ 1457291 h 2095135"/>
              <a:gd name="csX125" fmla="*/ 370936 w 733006"/>
              <a:gd name="csY125" fmla="*/ 1342736 h 2095135"/>
              <a:gd name="csX126" fmla="*/ 368328 w 733006"/>
              <a:gd name="csY126" fmla="*/ 1203878 h 2095135"/>
              <a:gd name="csX127" fmla="*/ 367836 w 733006"/>
              <a:gd name="csY127" fmla="*/ 813478 h 2095135"/>
              <a:gd name="csX128" fmla="*/ 365240 w 733006"/>
              <a:gd name="csY128" fmla="*/ 773243 h 2095135"/>
              <a:gd name="csX129" fmla="*/ 353084 w 733006"/>
              <a:gd name="csY129" fmla="*/ 762083 h 2095135"/>
              <a:gd name="csX130" fmla="*/ 280966 w 733006"/>
              <a:gd name="csY130" fmla="*/ 759855 h 2095135"/>
              <a:gd name="csX131" fmla="*/ 259965 w 733006"/>
              <a:gd name="csY131" fmla="*/ 779553 h 2095135"/>
              <a:gd name="csX132" fmla="*/ 262341 w 733006"/>
              <a:gd name="csY132" fmla="*/ 856275 h 2095135"/>
              <a:gd name="csX133" fmla="*/ 259999 w 733006"/>
              <a:gd name="csY133" fmla="*/ 966699 h 2095135"/>
              <a:gd name="csX134" fmla="*/ 55556 w 733006"/>
              <a:gd name="csY134" fmla="*/ 1835827 h 2095135"/>
              <a:gd name="csX135" fmla="*/ 49393 w 733006"/>
              <a:gd name="csY135" fmla="*/ 1878155 h 2095135"/>
              <a:gd name="csX136" fmla="*/ 73949 w 733006"/>
              <a:gd name="csY136" fmla="*/ 1905781 h 2095135"/>
              <a:gd name="csX137" fmla="*/ 110073 w 733006"/>
              <a:gd name="csY137" fmla="*/ 1909068 h 2095135"/>
              <a:gd name="csX138" fmla="*/ 224745 w 733006"/>
              <a:gd name="csY138" fmla="*/ 1921652 h 2095135"/>
              <a:gd name="csX139" fmla="*/ 347327 w 733006"/>
              <a:gd name="csY139" fmla="*/ 1924778 h 2095135"/>
              <a:gd name="csX140" fmla="*/ 363345 w 733006"/>
              <a:gd name="csY140" fmla="*/ 1923293 h 2095135"/>
              <a:gd name="csX141" fmla="*/ 373787 w 733006"/>
              <a:gd name="csY141" fmla="*/ 1911200 h 2095135"/>
              <a:gd name="csX142" fmla="*/ 376623 w 733006"/>
              <a:gd name="csY142" fmla="*/ 1696741 h 2095135"/>
              <a:gd name="csX143" fmla="*/ 360437 w 733006"/>
              <a:gd name="csY143" fmla="*/ 1681289 h 2095135"/>
              <a:gd name="csX144" fmla="*/ 263503 w 733006"/>
              <a:gd name="csY144" fmla="*/ 1678179 h 2095135"/>
              <a:gd name="csX145" fmla="*/ 160381 w 733006"/>
              <a:gd name="csY145" fmla="*/ 1670405 h 2095135"/>
              <a:gd name="csX146" fmla="*/ 143321 w 733006"/>
              <a:gd name="csY146" fmla="*/ 1685538 h 2095135"/>
              <a:gd name="csX147" fmla="*/ 124769 w 733006"/>
              <a:gd name="csY147" fmla="*/ 1738195 h 2095135"/>
              <a:gd name="csX148" fmla="*/ 90593 w 733006"/>
              <a:gd name="csY148" fmla="*/ 1779570 h 2095135"/>
              <a:gd name="csX149" fmla="*/ 55556 w 733006"/>
              <a:gd name="csY149" fmla="*/ 1835827 h 2095135"/>
              <a:gd name="csX150" fmla="*/ 378900 w 733006"/>
              <a:gd name="csY150" fmla="*/ 2007280 h 2095135"/>
              <a:gd name="csX151" fmla="*/ 378887 w 733006"/>
              <a:gd name="csY151" fmla="*/ 1995127 h 2095135"/>
              <a:gd name="csX152" fmla="*/ 359084 w 733006"/>
              <a:gd name="csY152" fmla="*/ 1975964 h 2095135"/>
              <a:gd name="csX153" fmla="*/ 247288 w 733006"/>
              <a:gd name="csY153" fmla="*/ 1973305 h 2095135"/>
              <a:gd name="csX154" fmla="*/ 201692 w 733006"/>
              <a:gd name="csY154" fmla="*/ 1970275 h 2095135"/>
              <a:gd name="csX155" fmla="*/ 57962 w 733006"/>
              <a:gd name="csY155" fmla="*/ 1952648 h 2095135"/>
              <a:gd name="csX156" fmla="*/ 39194 w 733006"/>
              <a:gd name="csY156" fmla="*/ 1963552 h 2095135"/>
              <a:gd name="csX157" fmla="*/ 30066 w 733006"/>
              <a:gd name="csY157" fmla="*/ 2006631 h 2095135"/>
              <a:gd name="csX158" fmla="*/ 40232 w 733006"/>
              <a:gd name="csY158" fmla="*/ 2019486 h 2095135"/>
              <a:gd name="csX159" fmla="*/ 238186 w 733006"/>
              <a:gd name="csY159" fmla="*/ 2046096 h 2095135"/>
              <a:gd name="csX160" fmla="*/ 342155 w 733006"/>
              <a:gd name="csY160" fmla="*/ 2046441 h 2095135"/>
              <a:gd name="csX161" fmla="*/ 378900 w 733006"/>
              <a:gd name="csY161" fmla="*/ 2007280 h 2095135"/>
              <a:gd name="csX162" fmla="*/ 310220 w 733006"/>
              <a:gd name="csY162" fmla="*/ 554288 h 2095135"/>
              <a:gd name="csX163" fmla="*/ 259136 w 733006"/>
              <a:gd name="csY163" fmla="*/ 556881 h 2095135"/>
              <a:gd name="csX164" fmla="*/ 249085 w 733006"/>
              <a:gd name="csY164" fmla="*/ 567981 h 2095135"/>
              <a:gd name="csX165" fmla="*/ 249141 w 733006"/>
              <a:gd name="csY165" fmla="*/ 605644 h 2095135"/>
              <a:gd name="csX166" fmla="*/ 262628 w 733006"/>
              <a:gd name="csY166" fmla="*/ 605627 h 2095135"/>
              <a:gd name="csX167" fmla="*/ 369608 w 733006"/>
              <a:gd name="csY167" fmla="*/ 603027 h 2095135"/>
              <a:gd name="csX168" fmla="*/ 463931 w 733006"/>
              <a:gd name="csY168" fmla="*/ 605146 h 2095135"/>
              <a:gd name="csX169" fmla="*/ 478113 w 733006"/>
              <a:gd name="csY169" fmla="*/ 595843 h 2095135"/>
              <a:gd name="csX170" fmla="*/ 478796 w 733006"/>
              <a:gd name="csY170" fmla="*/ 556832 h 2095135"/>
              <a:gd name="csX171" fmla="*/ 310220 w 733006"/>
              <a:gd name="csY171" fmla="*/ 554288 h 2095135"/>
              <a:gd name="csX172" fmla="*/ 348836 w 733006"/>
              <a:gd name="csY172" fmla="*/ 684115 h 2095135"/>
              <a:gd name="csX173" fmla="*/ 281333 w 733006"/>
              <a:gd name="csY173" fmla="*/ 683313 h 2095135"/>
              <a:gd name="csX174" fmla="*/ 212728 w 733006"/>
              <a:gd name="csY174" fmla="*/ 681931 h 2095135"/>
              <a:gd name="csX175" fmla="*/ 187283 w 733006"/>
              <a:gd name="csY175" fmla="*/ 689555 h 2095135"/>
              <a:gd name="csX176" fmla="*/ 186163 w 733006"/>
              <a:gd name="csY176" fmla="*/ 718266 h 2095135"/>
              <a:gd name="csX177" fmla="*/ 209894 w 733006"/>
              <a:gd name="csY177" fmla="*/ 726798 h 2095135"/>
              <a:gd name="csX178" fmla="*/ 334814 w 733006"/>
              <a:gd name="csY178" fmla="*/ 732494 h 2095135"/>
              <a:gd name="csX179" fmla="*/ 364856 w 733006"/>
              <a:gd name="csY179" fmla="*/ 707963 h 2095135"/>
              <a:gd name="csX180" fmla="*/ 348836 w 733006"/>
              <a:gd name="csY180" fmla="*/ 684115 h 2095135"/>
              <a:gd name="csX181" fmla="*/ 298865 w 733006"/>
              <a:gd name="csY181" fmla="*/ 621954 h 2095135"/>
              <a:gd name="csX182" fmla="*/ 251619 w 733006"/>
              <a:gd name="csY182" fmla="*/ 622133 h 2095135"/>
              <a:gd name="csX183" fmla="*/ 214459 w 733006"/>
              <a:gd name="csY183" fmla="*/ 636230 h 2095135"/>
              <a:gd name="csX184" fmla="*/ 221436 w 733006"/>
              <a:gd name="csY184" fmla="*/ 654205 h 2095135"/>
              <a:gd name="csX185" fmla="*/ 272412 w 733006"/>
              <a:gd name="csY185" fmla="*/ 657250 h 2095135"/>
              <a:gd name="csX186" fmla="*/ 349094 w 733006"/>
              <a:gd name="csY186" fmla="*/ 659282 h 2095135"/>
              <a:gd name="csX187" fmla="*/ 362996 w 733006"/>
              <a:gd name="csY187" fmla="*/ 644234 h 2095135"/>
              <a:gd name="csX188" fmla="*/ 348472 w 733006"/>
              <a:gd name="csY188" fmla="*/ 624649 h 2095135"/>
              <a:gd name="csX189" fmla="*/ 298865 w 733006"/>
              <a:gd name="csY189" fmla="*/ 621954 h 2095135"/>
              <a:gd name="csX190" fmla="*/ 227796 w 733006"/>
              <a:gd name="csY190" fmla="*/ 528000 h 2095135"/>
              <a:gd name="csX191" fmla="*/ 241009 w 733006"/>
              <a:gd name="csY191" fmla="*/ 545897 h 2095135"/>
              <a:gd name="csX192" fmla="*/ 282607 w 733006"/>
              <a:gd name="csY192" fmla="*/ 543480 h 2095135"/>
              <a:gd name="csX193" fmla="*/ 354213 w 733006"/>
              <a:gd name="csY193" fmla="*/ 543384 h 2095135"/>
              <a:gd name="csX194" fmla="*/ 365334 w 733006"/>
              <a:gd name="csY194" fmla="*/ 533397 h 2095135"/>
              <a:gd name="csX195" fmla="*/ 354531 w 733006"/>
              <a:gd name="csY195" fmla="*/ 521620 h 2095135"/>
              <a:gd name="csX196" fmla="*/ 259169 w 733006"/>
              <a:gd name="csY196" fmla="*/ 521978 h 2095135"/>
              <a:gd name="csX197" fmla="*/ 227796 w 733006"/>
              <a:gd name="csY197" fmla="*/ 528000 h 2095135"/>
              <a:gd name="csX198" fmla="*/ 508068 w 733006"/>
              <a:gd name="csY198" fmla="*/ 190710 h 2095135"/>
              <a:gd name="csX199" fmla="*/ 521293 w 733006"/>
              <a:gd name="csY199" fmla="*/ 205907 h 2095135"/>
              <a:gd name="csX200" fmla="*/ 525175 w 733006"/>
              <a:gd name="csY200" fmla="*/ 202985 h 2095135"/>
              <a:gd name="csX201" fmla="*/ 500276 w 733006"/>
              <a:gd name="csY201" fmla="*/ 160640 h 2095135"/>
              <a:gd name="csX202" fmla="*/ 497122 w 733006"/>
              <a:gd name="csY202" fmla="*/ 162007 h 2095135"/>
              <a:gd name="csX203" fmla="*/ 508068 w 733006"/>
              <a:gd name="csY203" fmla="*/ 190710 h 2095135"/>
              <a:gd name="csX204" fmla="*/ 215522 w 733006"/>
              <a:gd name="csY204" fmla="*/ 197296 h 2095135"/>
              <a:gd name="csX205" fmla="*/ 234029 w 733006"/>
              <a:gd name="csY205" fmla="*/ 162725 h 2095135"/>
              <a:gd name="csX206" fmla="*/ 229000 w 733006"/>
              <a:gd name="csY206" fmla="*/ 159902 h 2095135"/>
              <a:gd name="csX207" fmla="*/ 204824 w 733006"/>
              <a:gd name="csY207" fmla="*/ 199677 h 2095135"/>
              <a:gd name="csX208" fmla="*/ 207990 w 733006"/>
              <a:gd name="csY208" fmla="*/ 202198 h 2095135"/>
              <a:gd name="csX209" fmla="*/ 215522 w 733006"/>
              <a:gd name="csY209" fmla="*/ 197296 h 2095135"/>
              <a:gd name="csX210" fmla="*/ 484400 w 733006"/>
              <a:gd name="csY210" fmla="*/ 896678 h 2095135"/>
              <a:gd name="csX211" fmla="*/ 486181 w 733006"/>
              <a:gd name="csY211" fmla="*/ 896585 h 2095135"/>
              <a:gd name="csX212" fmla="*/ 486181 w 733006"/>
              <a:gd name="csY212" fmla="*/ 795289 h 2095135"/>
              <a:gd name="csX0" fmla="*/ 96263 w 733006"/>
              <a:gd name="csY0" fmla="*/ 2076207 h 2099709"/>
              <a:gd name="csX1" fmla="*/ 63862 w 733006"/>
              <a:gd name="csY1" fmla="*/ 2065388 h 2099709"/>
              <a:gd name="csX2" fmla="*/ 16555 w 733006"/>
              <a:gd name="csY2" fmla="*/ 2050152 h 2099709"/>
              <a:gd name="csX3" fmla="*/ 15 w 733006"/>
              <a:gd name="csY3" fmla="*/ 2023802 h 2099709"/>
              <a:gd name="csX4" fmla="*/ 18368 w 733006"/>
              <a:gd name="csY4" fmla="*/ 1940709 h 2099709"/>
              <a:gd name="csX5" fmla="*/ 22139 w 733006"/>
              <a:gd name="csY5" fmla="*/ 1907268 h 2099709"/>
              <a:gd name="csX6" fmla="*/ 57941 w 733006"/>
              <a:gd name="csY6" fmla="*/ 1774163 h 2099709"/>
              <a:gd name="csX7" fmla="*/ 102478 w 733006"/>
              <a:gd name="csY7" fmla="*/ 1720275 h 2099709"/>
              <a:gd name="csX8" fmla="*/ 108579 w 733006"/>
              <a:gd name="csY8" fmla="*/ 1650967 h 2099709"/>
              <a:gd name="csX9" fmla="*/ 115628 w 733006"/>
              <a:gd name="csY9" fmla="*/ 1625405 h 2099709"/>
              <a:gd name="csX10" fmla="*/ 156323 w 733006"/>
              <a:gd name="csY10" fmla="*/ 1560181 h 2099709"/>
              <a:gd name="csX11" fmla="*/ 199424 w 733006"/>
              <a:gd name="csY11" fmla="*/ 1364729 h 2099709"/>
              <a:gd name="csX12" fmla="*/ 216779 w 733006"/>
              <a:gd name="csY12" fmla="*/ 1219490 h 2099709"/>
              <a:gd name="csX13" fmla="*/ 229755 w 733006"/>
              <a:gd name="csY13" fmla="*/ 1099357 h 2099709"/>
              <a:gd name="csX14" fmla="*/ 232707 w 733006"/>
              <a:gd name="csY14" fmla="*/ 1056423 h 2099709"/>
              <a:gd name="csX15" fmla="*/ 235622 w 733006"/>
              <a:gd name="csY15" fmla="*/ 952675 h 2099709"/>
              <a:gd name="csX16" fmla="*/ 235445 w 733006"/>
              <a:gd name="csY16" fmla="*/ 780278 h 2099709"/>
              <a:gd name="csX17" fmla="*/ 214544 w 733006"/>
              <a:gd name="csY17" fmla="*/ 756435 h 2099709"/>
              <a:gd name="csX18" fmla="*/ 172569 w 733006"/>
              <a:gd name="csY18" fmla="*/ 742582 h 2099709"/>
              <a:gd name="csX19" fmla="*/ 168784 w 733006"/>
              <a:gd name="csY19" fmla="*/ 669116 h 2099709"/>
              <a:gd name="csX20" fmla="*/ 191657 w 733006"/>
              <a:gd name="csY20" fmla="*/ 630765 h 2099709"/>
              <a:gd name="csX21" fmla="*/ 208150 w 733006"/>
              <a:gd name="csY21" fmla="*/ 609084 h 2099709"/>
              <a:gd name="csX22" fmla="*/ 216756 w 733006"/>
              <a:gd name="csY22" fmla="*/ 558673 h 2099709"/>
              <a:gd name="csX23" fmla="*/ 209092 w 733006"/>
              <a:gd name="csY23" fmla="*/ 521540 h 2099709"/>
              <a:gd name="csX24" fmla="*/ 204683 w 733006"/>
              <a:gd name="csY24" fmla="*/ 474024 h 2099709"/>
              <a:gd name="csX25" fmla="*/ 115483 w 733006"/>
              <a:gd name="csY25" fmla="*/ 213499 h 2099709"/>
              <a:gd name="csX26" fmla="*/ 102909 w 733006"/>
              <a:gd name="csY26" fmla="*/ 182297 h 2099709"/>
              <a:gd name="csX27" fmla="*/ 104315 w 733006"/>
              <a:gd name="csY27" fmla="*/ 163968 h 2099709"/>
              <a:gd name="csX28" fmla="*/ 122444 w 733006"/>
              <a:gd name="csY28" fmla="*/ 160805 h 2099709"/>
              <a:gd name="csX29" fmla="*/ 170283 w 733006"/>
              <a:gd name="csY29" fmla="*/ 187783 h 2099709"/>
              <a:gd name="csX30" fmla="*/ 180938 w 733006"/>
              <a:gd name="csY30" fmla="*/ 195322 h 2099709"/>
              <a:gd name="csX31" fmla="*/ 221419 w 733006"/>
              <a:gd name="csY31" fmla="*/ 138058 h 2099709"/>
              <a:gd name="csX32" fmla="*/ 294099 w 733006"/>
              <a:gd name="csY32" fmla="*/ 91372 h 2099709"/>
              <a:gd name="csX33" fmla="*/ 302307 w 733006"/>
              <a:gd name="csY33" fmla="*/ 76560 h 2099709"/>
              <a:gd name="csX34" fmla="*/ 320284 w 733006"/>
              <a:gd name="csY34" fmla="*/ 8414 h 2099709"/>
              <a:gd name="csX35" fmla="*/ 324784 w 733006"/>
              <a:gd name="csY35" fmla="*/ 946 h 2099709"/>
              <a:gd name="csX36" fmla="*/ 399212 w 733006"/>
              <a:gd name="csY36" fmla="*/ 0 h 2099709"/>
              <a:gd name="csX37" fmla="*/ 425980 w 733006"/>
              <a:gd name="csY37" fmla="*/ 78301 h 2099709"/>
              <a:gd name="csX38" fmla="*/ 431861 w 733006"/>
              <a:gd name="csY38" fmla="*/ 90312 h 2099709"/>
              <a:gd name="csX39" fmla="*/ 540349 w 733006"/>
              <a:gd name="csY39" fmla="*/ 187946 h 2099709"/>
              <a:gd name="csX40" fmla="*/ 545555 w 733006"/>
              <a:gd name="csY40" fmla="*/ 197828 h 2099709"/>
              <a:gd name="csX41" fmla="*/ 587318 w 733006"/>
              <a:gd name="csY41" fmla="*/ 171260 h 2099709"/>
              <a:gd name="csX42" fmla="*/ 601503 w 733006"/>
              <a:gd name="csY42" fmla="*/ 163707 h 2099709"/>
              <a:gd name="csX43" fmla="*/ 625254 w 733006"/>
              <a:gd name="csY43" fmla="*/ 163123 h 2099709"/>
              <a:gd name="csX44" fmla="*/ 625468 w 733006"/>
              <a:gd name="csY44" fmla="*/ 187579 h 2099709"/>
              <a:gd name="csX45" fmla="*/ 597543 w 733006"/>
              <a:gd name="csY45" fmla="*/ 251872 h 2099709"/>
              <a:gd name="csX46" fmla="*/ 531831 w 733006"/>
              <a:gd name="csY46" fmla="*/ 442689 h 2099709"/>
              <a:gd name="csX47" fmla="*/ 519888 w 733006"/>
              <a:gd name="csY47" fmla="*/ 501474 h 2099709"/>
              <a:gd name="csX48" fmla="*/ 522506 w 733006"/>
              <a:gd name="csY48" fmla="*/ 525086 h 2099709"/>
              <a:gd name="csX49" fmla="*/ 516235 w 733006"/>
              <a:gd name="csY49" fmla="*/ 555946 h 2099709"/>
              <a:gd name="csX50" fmla="*/ 521332 w 733006"/>
              <a:gd name="csY50" fmla="*/ 610676 h 2099709"/>
              <a:gd name="csX51" fmla="*/ 541382 w 733006"/>
              <a:gd name="csY51" fmla="*/ 642597 h 2099709"/>
              <a:gd name="csX52" fmla="*/ 557031 w 733006"/>
              <a:gd name="csY52" fmla="*/ 667949 h 2099709"/>
              <a:gd name="csX53" fmla="*/ 553994 w 733006"/>
              <a:gd name="csY53" fmla="*/ 744146 h 2099709"/>
              <a:gd name="csX54" fmla="*/ 508215 w 733006"/>
              <a:gd name="csY54" fmla="*/ 758841 h 2099709"/>
              <a:gd name="csX55" fmla="*/ 497442 w 733006"/>
              <a:gd name="csY55" fmla="*/ 771256 h 2099709"/>
              <a:gd name="csX56" fmla="*/ 493005 w 733006"/>
              <a:gd name="csY56" fmla="*/ 922055 h 2099709"/>
              <a:gd name="csX57" fmla="*/ 502900 w 733006"/>
              <a:gd name="csY57" fmla="*/ 1114191 h 2099709"/>
              <a:gd name="csX58" fmla="*/ 508800 w 733006"/>
              <a:gd name="csY58" fmla="*/ 1205474 h 2099709"/>
              <a:gd name="csX59" fmla="*/ 522952 w 733006"/>
              <a:gd name="csY59" fmla="*/ 1320065 h 2099709"/>
              <a:gd name="csX60" fmla="*/ 554682 w 733006"/>
              <a:gd name="csY60" fmla="*/ 1501203 h 2099709"/>
              <a:gd name="csX61" fmla="*/ 576958 w 733006"/>
              <a:gd name="csY61" fmla="*/ 1593963 h 2099709"/>
              <a:gd name="csX62" fmla="*/ 595349 w 733006"/>
              <a:gd name="csY62" fmla="*/ 1613498 h 2099709"/>
              <a:gd name="csX63" fmla="*/ 613936 w 733006"/>
              <a:gd name="csY63" fmla="*/ 1624058 h 2099709"/>
              <a:gd name="csX64" fmla="*/ 620938 w 733006"/>
              <a:gd name="csY64" fmla="*/ 1652071 h 2099709"/>
              <a:gd name="csX65" fmla="*/ 630805 w 733006"/>
              <a:gd name="csY65" fmla="*/ 1721702 h 2099709"/>
              <a:gd name="csX66" fmla="*/ 685830 w 733006"/>
              <a:gd name="csY66" fmla="*/ 1792915 h 2099709"/>
              <a:gd name="csX67" fmla="*/ 708904 w 733006"/>
              <a:gd name="csY67" fmla="*/ 1890290 h 2099709"/>
              <a:gd name="csX68" fmla="*/ 716580 w 733006"/>
              <a:gd name="csY68" fmla="*/ 1951136 h 2099709"/>
              <a:gd name="csX69" fmla="*/ 729397 w 733006"/>
              <a:gd name="csY69" fmla="*/ 2030261 h 2099709"/>
              <a:gd name="csX70" fmla="*/ 714212 w 733006"/>
              <a:gd name="csY70" fmla="*/ 2059069 h 2099709"/>
              <a:gd name="csX71" fmla="*/ 96263 w 733006"/>
              <a:gd name="csY71" fmla="*/ 2076207 h 2099709"/>
              <a:gd name="csX72" fmla="*/ 489970 w 733006"/>
              <a:gd name="csY72" fmla="*/ 152208 h 2099709"/>
              <a:gd name="csX73" fmla="*/ 490754 w 733006"/>
              <a:gd name="csY73" fmla="*/ 152592 h 2099709"/>
              <a:gd name="csX74" fmla="*/ 489489 w 733006"/>
              <a:gd name="csY74" fmla="*/ 149547 h 2099709"/>
              <a:gd name="csX75" fmla="*/ 393621 w 733006"/>
              <a:gd name="csY75" fmla="*/ 99259 h 2099709"/>
              <a:gd name="csX76" fmla="*/ 390419 w 733006"/>
              <a:gd name="csY76" fmla="*/ 18568 h 2099709"/>
              <a:gd name="csX77" fmla="*/ 334131 w 733006"/>
              <a:gd name="csY77" fmla="*/ 24327 h 2099709"/>
              <a:gd name="csX78" fmla="*/ 344678 w 733006"/>
              <a:gd name="csY78" fmla="*/ 101259 h 2099709"/>
              <a:gd name="csX79" fmla="*/ 298854 w 733006"/>
              <a:gd name="csY79" fmla="*/ 114003 h 2099709"/>
              <a:gd name="csX80" fmla="*/ 237456 w 733006"/>
              <a:gd name="csY80" fmla="*/ 154340 h 2099709"/>
              <a:gd name="csX81" fmla="*/ 240382 w 733006"/>
              <a:gd name="csY81" fmla="*/ 154035 h 2099709"/>
              <a:gd name="csX82" fmla="*/ 262731 w 733006"/>
              <a:gd name="csY82" fmla="*/ 170426 h 2099709"/>
              <a:gd name="csX83" fmla="*/ 279169 w 733006"/>
              <a:gd name="csY83" fmla="*/ 193173 h 2099709"/>
              <a:gd name="csX84" fmla="*/ 327717 w 733006"/>
              <a:gd name="csY84" fmla="*/ 188556 h 2099709"/>
              <a:gd name="csX85" fmla="*/ 348052 w 733006"/>
              <a:gd name="csY85" fmla="*/ 156919 h 2099709"/>
              <a:gd name="csX86" fmla="*/ 380330 w 733006"/>
              <a:gd name="csY86" fmla="*/ 156483 h 2099709"/>
              <a:gd name="csX87" fmla="*/ 408490 w 733006"/>
              <a:gd name="csY87" fmla="*/ 195400 h 2099709"/>
              <a:gd name="csX88" fmla="*/ 445346 w 733006"/>
              <a:gd name="csY88" fmla="*/ 197582 h 2099709"/>
              <a:gd name="csX89" fmla="*/ 464798 w 733006"/>
              <a:gd name="csY89" fmla="*/ 174107 h 2099709"/>
              <a:gd name="csX90" fmla="*/ 489970 w 733006"/>
              <a:gd name="csY90" fmla="*/ 152208 h 2099709"/>
              <a:gd name="csX91" fmla="*/ 140694 w 733006"/>
              <a:gd name="csY91" fmla="*/ 201837 h 2099709"/>
              <a:gd name="csX92" fmla="*/ 139834 w 733006"/>
              <a:gd name="csY92" fmla="*/ 201482 h 2099709"/>
              <a:gd name="csX93" fmla="*/ 140812 w 733006"/>
              <a:gd name="csY93" fmla="*/ 204941 h 2099709"/>
              <a:gd name="csX94" fmla="*/ 144631 w 733006"/>
              <a:gd name="csY94" fmla="*/ 217811 h 2099709"/>
              <a:gd name="csX95" fmla="*/ 201241 w 733006"/>
              <a:gd name="csY95" fmla="*/ 373387 h 2099709"/>
              <a:gd name="csX96" fmla="*/ 235971 w 733006"/>
              <a:gd name="csY96" fmla="*/ 504451 h 2099709"/>
              <a:gd name="csX97" fmla="*/ 247475 w 733006"/>
              <a:gd name="csY97" fmla="*/ 513241 h 2099709"/>
              <a:gd name="csX98" fmla="*/ 289066 w 733006"/>
              <a:gd name="csY98" fmla="*/ 511170 h 2099709"/>
              <a:gd name="csX99" fmla="*/ 378229 w 733006"/>
              <a:gd name="csY99" fmla="*/ 511084 h 2099709"/>
              <a:gd name="csX100" fmla="*/ 470850 w 733006"/>
              <a:gd name="csY100" fmla="*/ 516341 h 2099709"/>
              <a:gd name="csX101" fmla="*/ 492933 w 733006"/>
              <a:gd name="csY101" fmla="*/ 497969 h 2099709"/>
              <a:gd name="csX102" fmla="*/ 557617 w 733006"/>
              <a:gd name="csY102" fmla="*/ 280398 h 2099709"/>
              <a:gd name="csX103" fmla="*/ 588788 w 733006"/>
              <a:gd name="csY103" fmla="*/ 200385 h 2099709"/>
              <a:gd name="csX104" fmla="*/ 530958 w 733006"/>
              <a:gd name="csY104" fmla="*/ 232968 h 2099709"/>
              <a:gd name="csX105" fmla="*/ 483823 w 733006"/>
              <a:gd name="csY105" fmla="*/ 190364 h 2099709"/>
              <a:gd name="csX106" fmla="*/ 466649 w 733006"/>
              <a:gd name="csY106" fmla="*/ 209061 h 2099709"/>
              <a:gd name="csX107" fmla="*/ 399941 w 733006"/>
              <a:gd name="csY107" fmla="*/ 216988 h 2099709"/>
              <a:gd name="csX108" fmla="*/ 363018 w 733006"/>
              <a:gd name="csY108" fmla="*/ 179615 h 2099709"/>
              <a:gd name="csX109" fmla="*/ 308839 w 733006"/>
              <a:gd name="csY109" fmla="*/ 227846 h 2099709"/>
              <a:gd name="csX110" fmla="*/ 245077 w 733006"/>
              <a:gd name="csY110" fmla="*/ 192402 h 2099709"/>
              <a:gd name="csX111" fmla="*/ 242829 w 733006"/>
              <a:gd name="csY111" fmla="*/ 198815 h 2099709"/>
              <a:gd name="csX112" fmla="*/ 168452 w 733006"/>
              <a:gd name="csY112" fmla="*/ 219348 h 2099709"/>
              <a:gd name="csX113" fmla="*/ 140694 w 733006"/>
              <a:gd name="csY113" fmla="*/ 201837 h 2099709"/>
              <a:gd name="csX114" fmla="*/ 259999 w 733006"/>
              <a:gd name="csY114" fmla="*/ 966699 h 2099709"/>
              <a:gd name="csX115" fmla="*/ 257072 w 733006"/>
              <a:gd name="csY115" fmla="*/ 1070424 h 2099709"/>
              <a:gd name="csX116" fmla="*/ 251372 w 733006"/>
              <a:gd name="csY116" fmla="*/ 1157618 h 2099709"/>
              <a:gd name="csX117" fmla="*/ 232677 w 733006"/>
              <a:gd name="csY117" fmla="*/ 1320279 h 2099709"/>
              <a:gd name="csX118" fmla="*/ 209182 w 733006"/>
              <a:gd name="csY118" fmla="*/ 1468667 h 2099709"/>
              <a:gd name="csX119" fmla="*/ 175302 w 733006"/>
              <a:gd name="csY119" fmla="*/ 1616623 h 2099709"/>
              <a:gd name="csX120" fmla="*/ 182769 w 733006"/>
              <a:gd name="csY120" fmla="*/ 1629786 h 2099709"/>
              <a:gd name="csX121" fmla="*/ 212156 w 733006"/>
              <a:gd name="csY121" fmla="*/ 1632656 h 2099709"/>
              <a:gd name="csX122" fmla="*/ 351295 w 733006"/>
              <a:gd name="csY122" fmla="*/ 1632801 h 2099709"/>
              <a:gd name="csX123" fmla="*/ 376150 w 733006"/>
              <a:gd name="csY123" fmla="*/ 1608307 h 2099709"/>
              <a:gd name="csX124" fmla="*/ 373450 w 733006"/>
              <a:gd name="csY124" fmla="*/ 1457291 h 2099709"/>
              <a:gd name="csX125" fmla="*/ 370936 w 733006"/>
              <a:gd name="csY125" fmla="*/ 1342736 h 2099709"/>
              <a:gd name="csX126" fmla="*/ 368328 w 733006"/>
              <a:gd name="csY126" fmla="*/ 1203878 h 2099709"/>
              <a:gd name="csX127" fmla="*/ 367836 w 733006"/>
              <a:gd name="csY127" fmla="*/ 813478 h 2099709"/>
              <a:gd name="csX128" fmla="*/ 365240 w 733006"/>
              <a:gd name="csY128" fmla="*/ 773243 h 2099709"/>
              <a:gd name="csX129" fmla="*/ 353084 w 733006"/>
              <a:gd name="csY129" fmla="*/ 762083 h 2099709"/>
              <a:gd name="csX130" fmla="*/ 280966 w 733006"/>
              <a:gd name="csY130" fmla="*/ 759855 h 2099709"/>
              <a:gd name="csX131" fmla="*/ 259965 w 733006"/>
              <a:gd name="csY131" fmla="*/ 779553 h 2099709"/>
              <a:gd name="csX132" fmla="*/ 262341 w 733006"/>
              <a:gd name="csY132" fmla="*/ 856275 h 2099709"/>
              <a:gd name="csX133" fmla="*/ 259999 w 733006"/>
              <a:gd name="csY133" fmla="*/ 966699 h 2099709"/>
              <a:gd name="csX134" fmla="*/ 55556 w 733006"/>
              <a:gd name="csY134" fmla="*/ 1835827 h 2099709"/>
              <a:gd name="csX135" fmla="*/ 49393 w 733006"/>
              <a:gd name="csY135" fmla="*/ 1878155 h 2099709"/>
              <a:gd name="csX136" fmla="*/ 73949 w 733006"/>
              <a:gd name="csY136" fmla="*/ 1905781 h 2099709"/>
              <a:gd name="csX137" fmla="*/ 110073 w 733006"/>
              <a:gd name="csY137" fmla="*/ 1909068 h 2099709"/>
              <a:gd name="csX138" fmla="*/ 224745 w 733006"/>
              <a:gd name="csY138" fmla="*/ 1921652 h 2099709"/>
              <a:gd name="csX139" fmla="*/ 347327 w 733006"/>
              <a:gd name="csY139" fmla="*/ 1924778 h 2099709"/>
              <a:gd name="csX140" fmla="*/ 363345 w 733006"/>
              <a:gd name="csY140" fmla="*/ 1923293 h 2099709"/>
              <a:gd name="csX141" fmla="*/ 373787 w 733006"/>
              <a:gd name="csY141" fmla="*/ 1911200 h 2099709"/>
              <a:gd name="csX142" fmla="*/ 376623 w 733006"/>
              <a:gd name="csY142" fmla="*/ 1696741 h 2099709"/>
              <a:gd name="csX143" fmla="*/ 360437 w 733006"/>
              <a:gd name="csY143" fmla="*/ 1681289 h 2099709"/>
              <a:gd name="csX144" fmla="*/ 263503 w 733006"/>
              <a:gd name="csY144" fmla="*/ 1678179 h 2099709"/>
              <a:gd name="csX145" fmla="*/ 160381 w 733006"/>
              <a:gd name="csY145" fmla="*/ 1670405 h 2099709"/>
              <a:gd name="csX146" fmla="*/ 143321 w 733006"/>
              <a:gd name="csY146" fmla="*/ 1685538 h 2099709"/>
              <a:gd name="csX147" fmla="*/ 124769 w 733006"/>
              <a:gd name="csY147" fmla="*/ 1738195 h 2099709"/>
              <a:gd name="csX148" fmla="*/ 90593 w 733006"/>
              <a:gd name="csY148" fmla="*/ 1779570 h 2099709"/>
              <a:gd name="csX149" fmla="*/ 55556 w 733006"/>
              <a:gd name="csY149" fmla="*/ 1835827 h 2099709"/>
              <a:gd name="csX150" fmla="*/ 378900 w 733006"/>
              <a:gd name="csY150" fmla="*/ 2007280 h 2099709"/>
              <a:gd name="csX151" fmla="*/ 378887 w 733006"/>
              <a:gd name="csY151" fmla="*/ 1995127 h 2099709"/>
              <a:gd name="csX152" fmla="*/ 359084 w 733006"/>
              <a:gd name="csY152" fmla="*/ 1975964 h 2099709"/>
              <a:gd name="csX153" fmla="*/ 247288 w 733006"/>
              <a:gd name="csY153" fmla="*/ 1973305 h 2099709"/>
              <a:gd name="csX154" fmla="*/ 201692 w 733006"/>
              <a:gd name="csY154" fmla="*/ 1970275 h 2099709"/>
              <a:gd name="csX155" fmla="*/ 57962 w 733006"/>
              <a:gd name="csY155" fmla="*/ 1952648 h 2099709"/>
              <a:gd name="csX156" fmla="*/ 39194 w 733006"/>
              <a:gd name="csY156" fmla="*/ 1963552 h 2099709"/>
              <a:gd name="csX157" fmla="*/ 30066 w 733006"/>
              <a:gd name="csY157" fmla="*/ 2006631 h 2099709"/>
              <a:gd name="csX158" fmla="*/ 40232 w 733006"/>
              <a:gd name="csY158" fmla="*/ 2019486 h 2099709"/>
              <a:gd name="csX159" fmla="*/ 238186 w 733006"/>
              <a:gd name="csY159" fmla="*/ 2046096 h 2099709"/>
              <a:gd name="csX160" fmla="*/ 342155 w 733006"/>
              <a:gd name="csY160" fmla="*/ 2046441 h 2099709"/>
              <a:gd name="csX161" fmla="*/ 378900 w 733006"/>
              <a:gd name="csY161" fmla="*/ 2007280 h 2099709"/>
              <a:gd name="csX162" fmla="*/ 310220 w 733006"/>
              <a:gd name="csY162" fmla="*/ 554288 h 2099709"/>
              <a:gd name="csX163" fmla="*/ 259136 w 733006"/>
              <a:gd name="csY163" fmla="*/ 556881 h 2099709"/>
              <a:gd name="csX164" fmla="*/ 249085 w 733006"/>
              <a:gd name="csY164" fmla="*/ 567981 h 2099709"/>
              <a:gd name="csX165" fmla="*/ 249141 w 733006"/>
              <a:gd name="csY165" fmla="*/ 605644 h 2099709"/>
              <a:gd name="csX166" fmla="*/ 262628 w 733006"/>
              <a:gd name="csY166" fmla="*/ 605627 h 2099709"/>
              <a:gd name="csX167" fmla="*/ 369608 w 733006"/>
              <a:gd name="csY167" fmla="*/ 603027 h 2099709"/>
              <a:gd name="csX168" fmla="*/ 463931 w 733006"/>
              <a:gd name="csY168" fmla="*/ 605146 h 2099709"/>
              <a:gd name="csX169" fmla="*/ 478113 w 733006"/>
              <a:gd name="csY169" fmla="*/ 595843 h 2099709"/>
              <a:gd name="csX170" fmla="*/ 478796 w 733006"/>
              <a:gd name="csY170" fmla="*/ 556832 h 2099709"/>
              <a:gd name="csX171" fmla="*/ 310220 w 733006"/>
              <a:gd name="csY171" fmla="*/ 554288 h 2099709"/>
              <a:gd name="csX172" fmla="*/ 348836 w 733006"/>
              <a:gd name="csY172" fmla="*/ 684115 h 2099709"/>
              <a:gd name="csX173" fmla="*/ 281333 w 733006"/>
              <a:gd name="csY173" fmla="*/ 683313 h 2099709"/>
              <a:gd name="csX174" fmla="*/ 212728 w 733006"/>
              <a:gd name="csY174" fmla="*/ 681931 h 2099709"/>
              <a:gd name="csX175" fmla="*/ 187283 w 733006"/>
              <a:gd name="csY175" fmla="*/ 689555 h 2099709"/>
              <a:gd name="csX176" fmla="*/ 186163 w 733006"/>
              <a:gd name="csY176" fmla="*/ 718266 h 2099709"/>
              <a:gd name="csX177" fmla="*/ 209894 w 733006"/>
              <a:gd name="csY177" fmla="*/ 726798 h 2099709"/>
              <a:gd name="csX178" fmla="*/ 334814 w 733006"/>
              <a:gd name="csY178" fmla="*/ 732494 h 2099709"/>
              <a:gd name="csX179" fmla="*/ 364856 w 733006"/>
              <a:gd name="csY179" fmla="*/ 707963 h 2099709"/>
              <a:gd name="csX180" fmla="*/ 348836 w 733006"/>
              <a:gd name="csY180" fmla="*/ 684115 h 2099709"/>
              <a:gd name="csX181" fmla="*/ 298865 w 733006"/>
              <a:gd name="csY181" fmla="*/ 621954 h 2099709"/>
              <a:gd name="csX182" fmla="*/ 251619 w 733006"/>
              <a:gd name="csY182" fmla="*/ 622133 h 2099709"/>
              <a:gd name="csX183" fmla="*/ 214459 w 733006"/>
              <a:gd name="csY183" fmla="*/ 636230 h 2099709"/>
              <a:gd name="csX184" fmla="*/ 221436 w 733006"/>
              <a:gd name="csY184" fmla="*/ 654205 h 2099709"/>
              <a:gd name="csX185" fmla="*/ 272412 w 733006"/>
              <a:gd name="csY185" fmla="*/ 657250 h 2099709"/>
              <a:gd name="csX186" fmla="*/ 349094 w 733006"/>
              <a:gd name="csY186" fmla="*/ 659282 h 2099709"/>
              <a:gd name="csX187" fmla="*/ 362996 w 733006"/>
              <a:gd name="csY187" fmla="*/ 644234 h 2099709"/>
              <a:gd name="csX188" fmla="*/ 348472 w 733006"/>
              <a:gd name="csY188" fmla="*/ 624649 h 2099709"/>
              <a:gd name="csX189" fmla="*/ 298865 w 733006"/>
              <a:gd name="csY189" fmla="*/ 621954 h 2099709"/>
              <a:gd name="csX190" fmla="*/ 227796 w 733006"/>
              <a:gd name="csY190" fmla="*/ 528000 h 2099709"/>
              <a:gd name="csX191" fmla="*/ 241009 w 733006"/>
              <a:gd name="csY191" fmla="*/ 545897 h 2099709"/>
              <a:gd name="csX192" fmla="*/ 282607 w 733006"/>
              <a:gd name="csY192" fmla="*/ 543480 h 2099709"/>
              <a:gd name="csX193" fmla="*/ 354213 w 733006"/>
              <a:gd name="csY193" fmla="*/ 543384 h 2099709"/>
              <a:gd name="csX194" fmla="*/ 365334 w 733006"/>
              <a:gd name="csY194" fmla="*/ 533397 h 2099709"/>
              <a:gd name="csX195" fmla="*/ 354531 w 733006"/>
              <a:gd name="csY195" fmla="*/ 521620 h 2099709"/>
              <a:gd name="csX196" fmla="*/ 259169 w 733006"/>
              <a:gd name="csY196" fmla="*/ 521978 h 2099709"/>
              <a:gd name="csX197" fmla="*/ 227796 w 733006"/>
              <a:gd name="csY197" fmla="*/ 528000 h 2099709"/>
              <a:gd name="csX198" fmla="*/ 508068 w 733006"/>
              <a:gd name="csY198" fmla="*/ 190710 h 2099709"/>
              <a:gd name="csX199" fmla="*/ 521293 w 733006"/>
              <a:gd name="csY199" fmla="*/ 205907 h 2099709"/>
              <a:gd name="csX200" fmla="*/ 525175 w 733006"/>
              <a:gd name="csY200" fmla="*/ 202985 h 2099709"/>
              <a:gd name="csX201" fmla="*/ 500276 w 733006"/>
              <a:gd name="csY201" fmla="*/ 160640 h 2099709"/>
              <a:gd name="csX202" fmla="*/ 497122 w 733006"/>
              <a:gd name="csY202" fmla="*/ 162007 h 2099709"/>
              <a:gd name="csX203" fmla="*/ 508068 w 733006"/>
              <a:gd name="csY203" fmla="*/ 190710 h 2099709"/>
              <a:gd name="csX204" fmla="*/ 215522 w 733006"/>
              <a:gd name="csY204" fmla="*/ 197296 h 2099709"/>
              <a:gd name="csX205" fmla="*/ 234029 w 733006"/>
              <a:gd name="csY205" fmla="*/ 162725 h 2099709"/>
              <a:gd name="csX206" fmla="*/ 229000 w 733006"/>
              <a:gd name="csY206" fmla="*/ 159902 h 2099709"/>
              <a:gd name="csX207" fmla="*/ 204824 w 733006"/>
              <a:gd name="csY207" fmla="*/ 199677 h 2099709"/>
              <a:gd name="csX208" fmla="*/ 207990 w 733006"/>
              <a:gd name="csY208" fmla="*/ 202198 h 2099709"/>
              <a:gd name="csX209" fmla="*/ 215522 w 733006"/>
              <a:gd name="csY209" fmla="*/ 197296 h 2099709"/>
              <a:gd name="csX210" fmla="*/ 484400 w 733006"/>
              <a:gd name="csY210" fmla="*/ 896678 h 2099709"/>
              <a:gd name="csX211" fmla="*/ 486181 w 733006"/>
              <a:gd name="csY211" fmla="*/ 896585 h 2099709"/>
              <a:gd name="csX212" fmla="*/ 486181 w 733006"/>
              <a:gd name="csY212" fmla="*/ 795289 h 2099709"/>
              <a:gd name="csX0" fmla="*/ 96263 w 733006"/>
              <a:gd name="csY0" fmla="*/ 2076207 h 2091287"/>
              <a:gd name="csX1" fmla="*/ 63862 w 733006"/>
              <a:gd name="csY1" fmla="*/ 2065388 h 2091287"/>
              <a:gd name="csX2" fmla="*/ 16555 w 733006"/>
              <a:gd name="csY2" fmla="*/ 2050152 h 2091287"/>
              <a:gd name="csX3" fmla="*/ 15 w 733006"/>
              <a:gd name="csY3" fmla="*/ 2023802 h 2091287"/>
              <a:gd name="csX4" fmla="*/ 18368 w 733006"/>
              <a:gd name="csY4" fmla="*/ 1940709 h 2091287"/>
              <a:gd name="csX5" fmla="*/ 22139 w 733006"/>
              <a:gd name="csY5" fmla="*/ 1907268 h 2091287"/>
              <a:gd name="csX6" fmla="*/ 57941 w 733006"/>
              <a:gd name="csY6" fmla="*/ 1774163 h 2091287"/>
              <a:gd name="csX7" fmla="*/ 102478 w 733006"/>
              <a:gd name="csY7" fmla="*/ 1720275 h 2091287"/>
              <a:gd name="csX8" fmla="*/ 108579 w 733006"/>
              <a:gd name="csY8" fmla="*/ 1650967 h 2091287"/>
              <a:gd name="csX9" fmla="*/ 115628 w 733006"/>
              <a:gd name="csY9" fmla="*/ 1625405 h 2091287"/>
              <a:gd name="csX10" fmla="*/ 156323 w 733006"/>
              <a:gd name="csY10" fmla="*/ 1560181 h 2091287"/>
              <a:gd name="csX11" fmla="*/ 199424 w 733006"/>
              <a:gd name="csY11" fmla="*/ 1364729 h 2091287"/>
              <a:gd name="csX12" fmla="*/ 216779 w 733006"/>
              <a:gd name="csY12" fmla="*/ 1219490 h 2091287"/>
              <a:gd name="csX13" fmla="*/ 229755 w 733006"/>
              <a:gd name="csY13" fmla="*/ 1099357 h 2091287"/>
              <a:gd name="csX14" fmla="*/ 232707 w 733006"/>
              <a:gd name="csY14" fmla="*/ 1056423 h 2091287"/>
              <a:gd name="csX15" fmla="*/ 235622 w 733006"/>
              <a:gd name="csY15" fmla="*/ 952675 h 2091287"/>
              <a:gd name="csX16" fmla="*/ 235445 w 733006"/>
              <a:gd name="csY16" fmla="*/ 780278 h 2091287"/>
              <a:gd name="csX17" fmla="*/ 214544 w 733006"/>
              <a:gd name="csY17" fmla="*/ 756435 h 2091287"/>
              <a:gd name="csX18" fmla="*/ 172569 w 733006"/>
              <a:gd name="csY18" fmla="*/ 742582 h 2091287"/>
              <a:gd name="csX19" fmla="*/ 168784 w 733006"/>
              <a:gd name="csY19" fmla="*/ 669116 h 2091287"/>
              <a:gd name="csX20" fmla="*/ 191657 w 733006"/>
              <a:gd name="csY20" fmla="*/ 630765 h 2091287"/>
              <a:gd name="csX21" fmla="*/ 208150 w 733006"/>
              <a:gd name="csY21" fmla="*/ 609084 h 2091287"/>
              <a:gd name="csX22" fmla="*/ 216756 w 733006"/>
              <a:gd name="csY22" fmla="*/ 558673 h 2091287"/>
              <a:gd name="csX23" fmla="*/ 209092 w 733006"/>
              <a:gd name="csY23" fmla="*/ 521540 h 2091287"/>
              <a:gd name="csX24" fmla="*/ 204683 w 733006"/>
              <a:gd name="csY24" fmla="*/ 474024 h 2091287"/>
              <a:gd name="csX25" fmla="*/ 115483 w 733006"/>
              <a:gd name="csY25" fmla="*/ 213499 h 2091287"/>
              <a:gd name="csX26" fmla="*/ 102909 w 733006"/>
              <a:gd name="csY26" fmla="*/ 182297 h 2091287"/>
              <a:gd name="csX27" fmla="*/ 104315 w 733006"/>
              <a:gd name="csY27" fmla="*/ 163968 h 2091287"/>
              <a:gd name="csX28" fmla="*/ 122444 w 733006"/>
              <a:gd name="csY28" fmla="*/ 160805 h 2091287"/>
              <a:gd name="csX29" fmla="*/ 170283 w 733006"/>
              <a:gd name="csY29" fmla="*/ 187783 h 2091287"/>
              <a:gd name="csX30" fmla="*/ 180938 w 733006"/>
              <a:gd name="csY30" fmla="*/ 195322 h 2091287"/>
              <a:gd name="csX31" fmla="*/ 221419 w 733006"/>
              <a:gd name="csY31" fmla="*/ 138058 h 2091287"/>
              <a:gd name="csX32" fmla="*/ 294099 w 733006"/>
              <a:gd name="csY32" fmla="*/ 91372 h 2091287"/>
              <a:gd name="csX33" fmla="*/ 302307 w 733006"/>
              <a:gd name="csY33" fmla="*/ 76560 h 2091287"/>
              <a:gd name="csX34" fmla="*/ 320284 w 733006"/>
              <a:gd name="csY34" fmla="*/ 8414 h 2091287"/>
              <a:gd name="csX35" fmla="*/ 324784 w 733006"/>
              <a:gd name="csY35" fmla="*/ 946 h 2091287"/>
              <a:gd name="csX36" fmla="*/ 399212 w 733006"/>
              <a:gd name="csY36" fmla="*/ 0 h 2091287"/>
              <a:gd name="csX37" fmla="*/ 425980 w 733006"/>
              <a:gd name="csY37" fmla="*/ 78301 h 2091287"/>
              <a:gd name="csX38" fmla="*/ 431861 w 733006"/>
              <a:gd name="csY38" fmla="*/ 90312 h 2091287"/>
              <a:gd name="csX39" fmla="*/ 540349 w 733006"/>
              <a:gd name="csY39" fmla="*/ 187946 h 2091287"/>
              <a:gd name="csX40" fmla="*/ 545555 w 733006"/>
              <a:gd name="csY40" fmla="*/ 197828 h 2091287"/>
              <a:gd name="csX41" fmla="*/ 587318 w 733006"/>
              <a:gd name="csY41" fmla="*/ 171260 h 2091287"/>
              <a:gd name="csX42" fmla="*/ 601503 w 733006"/>
              <a:gd name="csY42" fmla="*/ 163707 h 2091287"/>
              <a:gd name="csX43" fmla="*/ 625254 w 733006"/>
              <a:gd name="csY43" fmla="*/ 163123 h 2091287"/>
              <a:gd name="csX44" fmla="*/ 625468 w 733006"/>
              <a:gd name="csY44" fmla="*/ 187579 h 2091287"/>
              <a:gd name="csX45" fmla="*/ 597543 w 733006"/>
              <a:gd name="csY45" fmla="*/ 251872 h 2091287"/>
              <a:gd name="csX46" fmla="*/ 531831 w 733006"/>
              <a:gd name="csY46" fmla="*/ 442689 h 2091287"/>
              <a:gd name="csX47" fmla="*/ 519888 w 733006"/>
              <a:gd name="csY47" fmla="*/ 501474 h 2091287"/>
              <a:gd name="csX48" fmla="*/ 522506 w 733006"/>
              <a:gd name="csY48" fmla="*/ 525086 h 2091287"/>
              <a:gd name="csX49" fmla="*/ 516235 w 733006"/>
              <a:gd name="csY49" fmla="*/ 555946 h 2091287"/>
              <a:gd name="csX50" fmla="*/ 521332 w 733006"/>
              <a:gd name="csY50" fmla="*/ 610676 h 2091287"/>
              <a:gd name="csX51" fmla="*/ 541382 w 733006"/>
              <a:gd name="csY51" fmla="*/ 642597 h 2091287"/>
              <a:gd name="csX52" fmla="*/ 557031 w 733006"/>
              <a:gd name="csY52" fmla="*/ 667949 h 2091287"/>
              <a:gd name="csX53" fmla="*/ 553994 w 733006"/>
              <a:gd name="csY53" fmla="*/ 744146 h 2091287"/>
              <a:gd name="csX54" fmla="*/ 508215 w 733006"/>
              <a:gd name="csY54" fmla="*/ 758841 h 2091287"/>
              <a:gd name="csX55" fmla="*/ 497442 w 733006"/>
              <a:gd name="csY55" fmla="*/ 771256 h 2091287"/>
              <a:gd name="csX56" fmla="*/ 493005 w 733006"/>
              <a:gd name="csY56" fmla="*/ 922055 h 2091287"/>
              <a:gd name="csX57" fmla="*/ 502900 w 733006"/>
              <a:gd name="csY57" fmla="*/ 1114191 h 2091287"/>
              <a:gd name="csX58" fmla="*/ 508800 w 733006"/>
              <a:gd name="csY58" fmla="*/ 1205474 h 2091287"/>
              <a:gd name="csX59" fmla="*/ 522952 w 733006"/>
              <a:gd name="csY59" fmla="*/ 1320065 h 2091287"/>
              <a:gd name="csX60" fmla="*/ 554682 w 733006"/>
              <a:gd name="csY60" fmla="*/ 1501203 h 2091287"/>
              <a:gd name="csX61" fmla="*/ 576958 w 733006"/>
              <a:gd name="csY61" fmla="*/ 1593963 h 2091287"/>
              <a:gd name="csX62" fmla="*/ 595349 w 733006"/>
              <a:gd name="csY62" fmla="*/ 1613498 h 2091287"/>
              <a:gd name="csX63" fmla="*/ 613936 w 733006"/>
              <a:gd name="csY63" fmla="*/ 1624058 h 2091287"/>
              <a:gd name="csX64" fmla="*/ 620938 w 733006"/>
              <a:gd name="csY64" fmla="*/ 1652071 h 2091287"/>
              <a:gd name="csX65" fmla="*/ 630805 w 733006"/>
              <a:gd name="csY65" fmla="*/ 1721702 h 2091287"/>
              <a:gd name="csX66" fmla="*/ 685830 w 733006"/>
              <a:gd name="csY66" fmla="*/ 1792915 h 2091287"/>
              <a:gd name="csX67" fmla="*/ 708904 w 733006"/>
              <a:gd name="csY67" fmla="*/ 1890290 h 2091287"/>
              <a:gd name="csX68" fmla="*/ 716580 w 733006"/>
              <a:gd name="csY68" fmla="*/ 1951136 h 2091287"/>
              <a:gd name="csX69" fmla="*/ 729397 w 733006"/>
              <a:gd name="csY69" fmla="*/ 2030261 h 2091287"/>
              <a:gd name="csX70" fmla="*/ 714212 w 733006"/>
              <a:gd name="csY70" fmla="*/ 2059069 h 2091287"/>
              <a:gd name="csX71" fmla="*/ 96263 w 733006"/>
              <a:gd name="csY71" fmla="*/ 2076207 h 2091287"/>
              <a:gd name="csX72" fmla="*/ 489970 w 733006"/>
              <a:gd name="csY72" fmla="*/ 152208 h 2091287"/>
              <a:gd name="csX73" fmla="*/ 490754 w 733006"/>
              <a:gd name="csY73" fmla="*/ 152592 h 2091287"/>
              <a:gd name="csX74" fmla="*/ 489489 w 733006"/>
              <a:gd name="csY74" fmla="*/ 149547 h 2091287"/>
              <a:gd name="csX75" fmla="*/ 393621 w 733006"/>
              <a:gd name="csY75" fmla="*/ 99259 h 2091287"/>
              <a:gd name="csX76" fmla="*/ 390419 w 733006"/>
              <a:gd name="csY76" fmla="*/ 18568 h 2091287"/>
              <a:gd name="csX77" fmla="*/ 334131 w 733006"/>
              <a:gd name="csY77" fmla="*/ 24327 h 2091287"/>
              <a:gd name="csX78" fmla="*/ 344678 w 733006"/>
              <a:gd name="csY78" fmla="*/ 101259 h 2091287"/>
              <a:gd name="csX79" fmla="*/ 298854 w 733006"/>
              <a:gd name="csY79" fmla="*/ 114003 h 2091287"/>
              <a:gd name="csX80" fmla="*/ 237456 w 733006"/>
              <a:gd name="csY80" fmla="*/ 154340 h 2091287"/>
              <a:gd name="csX81" fmla="*/ 240382 w 733006"/>
              <a:gd name="csY81" fmla="*/ 154035 h 2091287"/>
              <a:gd name="csX82" fmla="*/ 262731 w 733006"/>
              <a:gd name="csY82" fmla="*/ 170426 h 2091287"/>
              <a:gd name="csX83" fmla="*/ 279169 w 733006"/>
              <a:gd name="csY83" fmla="*/ 193173 h 2091287"/>
              <a:gd name="csX84" fmla="*/ 327717 w 733006"/>
              <a:gd name="csY84" fmla="*/ 188556 h 2091287"/>
              <a:gd name="csX85" fmla="*/ 348052 w 733006"/>
              <a:gd name="csY85" fmla="*/ 156919 h 2091287"/>
              <a:gd name="csX86" fmla="*/ 380330 w 733006"/>
              <a:gd name="csY86" fmla="*/ 156483 h 2091287"/>
              <a:gd name="csX87" fmla="*/ 408490 w 733006"/>
              <a:gd name="csY87" fmla="*/ 195400 h 2091287"/>
              <a:gd name="csX88" fmla="*/ 445346 w 733006"/>
              <a:gd name="csY88" fmla="*/ 197582 h 2091287"/>
              <a:gd name="csX89" fmla="*/ 464798 w 733006"/>
              <a:gd name="csY89" fmla="*/ 174107 h 2091287"/>
              <a:gd name="csX90" fmla="*/ 489970 w 733006"/>
              <a:gd name="csY90" fmla="*/ 152208 h 2091287"/>
              <a:gd name="csX91" fmla="*/ 140694 w 733006"/>
              <a:gd name="csY91" fmla="*/ 201837 h 2091287"/>
              <a:gd name="csX92" fmla="*/ 139834 w 733006"/>
              <a:gd name="csY92" fmla="*/ 201482 h 2091287"/>
              <a:gd name="csX93" fmla="*/ 140812 w 733006"/>
              <a:gd name="csY93" fmla="*/ 204941 h 2091287"/>
              <a:gd name="csX94" fmla="*/ 144631 w 733006"/>
              <a:gd name="csY94" fmla="*/ 217811 h 2091287"/>
              <a:gd name="csX95" fmla="*/ 201241 w 733006"/>
              <a:gd name="csY95" fmla="*/ 373387 h 2091287"/>
              <a:gd name="csX96" fmla="*/ 235971 w 733006"/>
              <a:gd name="csY96" fmla="*/ 504451 h 2091287"/>
              <a:gd name="csX97" fmla="*/ 247475 w 733006"/>
              <a:gd name="csY97" fmla="*/ 513241 h 2091287"/>
              <a:gd name="csX98" fmla="*/ 289066 w 733006"/>
              <a:gd name="csY98" fmla="*/ 511170 h 2091287"/>
              <a:gd name="csX99" fmla="*/ 378229 w 733006"/>
              <a:gd name="csY99" fmla="*/ 511084 h 2091287"/>
              <a:gd name="csX100" fmla="*/ 470850 w 733006"/>
              <a:gd name="csY100" fmla="*/ 516341 h 2091287"/>
              <a:gd name="csX101" fmla="*/ 492933 w 733006"/>
              <a:gd name="csY101" fmla="*/ 497969 h 2091287"/>
              <a:gd name="csX102" fmla="*/ 557617 w 733006"/>
              <a:gd name="csY102" fmla="*/ 280398 h 2091287"/>
              <a:gd name="csX103" fmla="*/ 588788 w 733006"/>
              <a:gd name="csY103" fmla="*/ 200385 h 2091287"/>
              <a:gd name="csX104" fmla="*/ 530958 w 733006"/>
              <a:gd name="csY104" fmla="*/ 232968 h 2091287"/>
              <a:gd name="csX105" fmla="*/ 483823 w 733006"/>
              <a:gd name="csY105" fmla="*/ 190364 h 2091287"/>
              <a:gd name="csX106" fmla="*/ 466649 w 733006"/>
              <a:gd name="csY106" fmla="*/ 209061 h 2091287"/>
              <a:gd name="csX107" fmla="*/ 399941 w 733006"/>
              <a:gd name="csY107" fmla="*/ 216988 h 2091287"/>
              <a:gd name="csX108" fmla="*/ 363018 w 733006"/>
              <a:gd name="csY108" fmla="*/ 179615 h 2091287"/>
              <a:gd name="csX109" fmla="*/ 308839 w 733006"/>
              <a:gd name="csY109" fmla="*/ 227846 h 2091287"/>
              <a:gd name="csX110" fmla="*/ 245077 w 733006"/>
              <a:gd name="csY110" fmla="*/ 192402 h 2091287"/>
              <a:gd name="csX111" fmla="*/ 242829 w 733006"/>
              <a:gd name="csY111" fmla="*/ 198815 h 2091287"/>
              <a:gd name="csX112" fmla="*/ 168452 w 733006"/>
              <a:gd name="csY112" fmla="*/ 219348 h 2091287"/>
              <a:gd name="csX113" fmla="*/ 140694 w 733006"/>
              <a:gd name="csY113" fmla="*/ 201837 h 2091287"/>
              <a:gd name="csX114" fmla="*/ 259999 w 733006"/>
              <a:gd name="csY114" fmla="*/ 966699 h 2091287"/>
              <a:gd name="csX115" fmla="*/ 257072 w 733006"/>
              <a:gd name="csY115" fmla="*/ 1070424 h 2091287"/>
              <a:gd name="csX116" fmla="*/ 251372 w 733006"/>
              <a:gd name="csY116" fmla="*/ 1157618 h 2091287"/>
              <a:gd name="csX117" fmla="*/ 232677 w 733006"/>
              <a:gd name="csY117" fmla="*/ 1320279 h 2091287"/>
              <a:gd name="csX118" fmla="*/ 209182 w 733006"/>
              <a:gd name="csY118" fmla="*/ 1468667 h 2091287"/>
              <a:gd name="csX119" fmla="*/ 175302 w 733006"/>
              <a:gd name="csY119" fmla="*/ 1616623 h 2091287"/>
              <a:gd name="csX120" fmla="*/ 182769 w 733006"/>
              <a:gd name="csY120" fmla="*/ 1629786 h 2091287"/>
              <a:gd name="csX121" fmla="*/ 212156 w 733006"/>
              <a:gd name="csY121" fmla="*/ 1632656 h 2091287"/>
              <a:gd name="csX122" fmla="*/ 351295 w 733006"/>
              <a:gd name="csY122" fmla="*/ 1632801 h 2091287"/>
              <a:gd name="csX123" fmla="*/ 376150 w 733006"/>
              <a:gd name="csY123" fmla="*/ 1608307 h 2091287"/>
              <a:gd name="csX124" fmla="*/ 373450 w 733006"/>
              <a:gd name="csY124" fmla="*/ 1457291 h 2091287"/>
              <a:gd name="csX125" fmla="*/ 370936 w 733006"/>
              <a:gd name="csY125" fmla="*/ 1342736 h 2091287"/>
              <a:gd name="csX126" fmla="*/ 368328 w 733006"/>
              <a:gd name="csY126" fmla="*/ 1203878 h 2091287"/>
              <a:gd name="csX127" fmla="*/ 367836 w 733006"/>
              <a:gd name="csY127" fmla="*/ 813478 h 2091287"/>
              <a:gd name="csX128" fmla="*/ 365240 w 733006"/>
              <a:gd name="csY128" fmla="*/ 773243 h 2091287"/>
              <a:gd name="csX129" fmla="*/ 353084 w 733006"/>
              <a:gd name="csY129" fmla="*/ 762083 h 2091287"/>
              <a:gd name="csX130" fmla="*/ 280966 w 733006"/>
              <a:gd name="csY130" fmla="*/ 759855 h 2091287"/>
              <a:gd name="csX131" fmla="*/ 259965 w 733006"/>
              <a:gd name="csY131" fmla="*/ 779553 h 2091287"/>
              <a:gd name="csX132" fmla="*/ 262341 w 733006"/>
              <a:gd name="csY132" fmla="*/ 856275 h 2091287"/>
              <a:gd name="csX133" fmla="*/ 259999 w 733006"/>
              <a:gd name="csY133" fmla="*/ 966699 h 2091287"/>
              <a:gd name="csX134" fmla="*/ 55556 w 733006"/>
              <a:gd name="csY134" fmla="*/ 1835827 h 2091287"/>
              <a:gd name="csX135" fmla="*/ 49393 w 733006"/>
              <a:gd name="csY135" fmla="*/ 1878155 h 2091287"/>
              <a:gd name="csX136" fmla="*/ 73949 w 733006"/>
              <a:gd name="csY136" fmla="*/ 1905781 h 2091287"/>
              <a:gd name="csX137" fmla="*/ 110073 w 733006"/>
              <a:gd name="csY137" fmla="*/ 1909068 h 2091287"/>
              <a:gd name="csX138" fmla="*/ 224745 w 733006"/>
              <a:gd name="csY138" fmla="*/ 1921652 h 2091287"/>
              <a:gd name="csX139" fmla="*/ 347327 w 733006"/>
              <a:gd name="csY139" fmla="*/ 1924778 h 2091287"/>
              <a:gd name="csX140" fmla="*/ 363345 w 733006"/>
              <a:gd name="csY140" fmla="*/ 1923293 h 2091287"/>
              <a:gd name="csX141" fmla="*/ 373787 w 733006"/>
              <a:gd name="csY141" fmla="*/ 1911200 h 2091287"/>
              <a:gd name="csX142" fmla="*/ 376623 w 733006"/>
              <a:gd name="csY142" fmla="*/ 1696741 h 2091287"/>
              <a:gd name="csX143" fmla="*/ 360437 w 733006"/>
              <a:gd name="csY143" fmla="*/ 1681289 h 2091287"/>
              <a:gd name="csX144" fmla="*/ 263503 w 733006"/>
              <a:gd name="csY144" fmla="*/ 1678179 h 2091287"/>
              <a:gd name="csX145" fmla="*/ 160381 w 733006"/>
              <a:gd name="csY145" fmla="*/ 1670405 h 2091287"/>
              <a:gd name="csX146" fmla="*/ 143321 w 733006"/>
              <a:gd name="csY146" fmla="*/ 1685538 h 2091287"/>
              <a:gd name="csX147" fmla="*/ 124769 w 733006"/>
              <a:gd name="csY147" fmla="*/ 1738195 h 2091287"/>
              <a:gd name="csX148" fmla="*/ 90593 w 733006"/>
              <a:gd name="csY148" fmla="*/ 1779570 h 2091287"/>
              <a:gd name="csX149" fmla="*/ 55556 w 733006"/>
              <a:gd name="csY149" fmla="*/ 1835827 h 2091287"/>
              <a:gd name="csX150" fmla="*/ 378900 w 733006"/>
              <a:gd name="csY150" fmla="*/ 2007280 h 2091287"/>
              <a:gd name="csX151" fmla="*/ 378887 w 733006"/>
              <a:gd name="csY151" fmla="*/ 1995127 h 2091287"/>
              <a:gd name="csX152" fmla="*/ 359084 w 733006"/>
              <a:gd name="csY152" fmla="*/ 1975964 h 2091287"/>
              <a:gd name="csX153" fmla="*/ 247288 w 733006"/>
              <a:gd name="csY153" fmla="*/ 1973305 h 2091287"/>
              <a:gd name="csX154" fmla="*/ 201692 w 733006"/>
              <a:gd name="csY154" fmla="*/ 1970275 h 2091287"/>
              <a:gd name="csX155" fmla="*/ 57962 w 733006"/>
              <a:gd name="csY155" fmla="*/ 1952648 h 2091287"/>
              <a:gd name="csX156" fmla="*/ 39194 w 733006"/>
              <a:gd name="csY156" fmla="*/ 1963552 h 2091287"/>
              <a:gd name="csX157" fmla="*/ 30066 w 733006"/>
              <a:gd name="csY157" fmla="*/ 2006631 h 2091287"/>
              <a:gd name="csX158" fmla="*/ 40232 w 733006"/>
              <a:gd name="csY158" fmla="*/ 2019486 h 2091287"/>
              <a:gd name="csX159" fmla="*/ 238186 w 733006"/>
              <a:gd name="csY159" fmla="*/ 2046096 h 2091287"/>
              <a:gd name="csX160" fmla="*/ 342155 w 733006"/>
              <a:gd name="csY160" fmla="*/ 2046441 h 2091287"/>
              <a:gd name="csX161" fmla="*/ 378900 w 733006"/>
              <a:gd name="csY161" fmla="*/ 2007280 h 2091287"/>
              <a:gd name="csX162" fmla="*/ 310220 w 733006"/>
              <a:gd name="csY162" fmla="*/ 554288 h 2091287"/>
              <a:gd name="csX163" fmla="*/ 259136 w 733006"/>
              <a:gd name="csY163" fmla="*/ 556881 h 2091287"/>
              <a:gd name="csX164" fmla="*/ 249085 w 733006"/>
              <a:gd name="csY164" fmla="*/ 567981 h 2091287"/>
              <a:gd name="csX165" fmla="*/ 249141 w 733006"/>
              <a:gd name="csY165" fmla="*/ 605644 h 2091287"/>
              <a:gd name="csX166" fmla="*/ 262628 w 733006"/>
              <a:gd name="csY166" fmla="*/ 605627 h 2091287"/>
              <a:gd name="csX167" fmla="*/ 369608 w 733006"/>
              <a:gd name="csY167" fmla="*/ 603027 h 2091287"/>
              <a:gd name="csX168" fmla="*/ 463931 w 733006"/>
              <a:gd name="csY168" fmla="*/ 605146 h 2091287"/>
              <a:gd name="csX169" fmla="*/ 478113 w 733006"/>
              <a:gd name="csY169" fmla="*/ 595843 h 2091287"/>
              <a:gd name="csX170" fmla="*/ 478796 w 733006"/>
              <a:gd name="csY170" fmla="*/ 556832 h 2091287"/>
              <a:gd name="csX171" fmla="*/ 310220 w 733006"/>
              <a:gd name="csY171" fmla="*/ 554288 h 2091287"/>
              <a:gd name="csX172" fmla="*/ 348836 w 733006"/>
              <a:gd name="csY172" fmla="*/ 684115 h 2091287"/>
              <a:gd name="csX173" fmla="*/ 281333 w 733006"/>
              <a:gd name="csY173" fmla="*/ 683313 h 2091287"/>
              <a:gd name="csX174" fmla="*/ 212728 w 733006"/>
              <a:gd name="csY174" fmla="*/ 681931 h 2091287"/>
              <a:gd name="csX175" fmla="*/ 187283 w 733006"/>
              <a:gd name="csY175" fmla="*/ 689555 h 2091287"/>
              <a:gd name="csX176" fmla="*/ 186163 w 733006"/>
              <a:gd name="csY176" fmla="*/ 718266 h 2091287"/>
              <a:gd name="csX177" fmla="*/ 209894 w 733006"/>
              <a:gd name="csY177" fmla="*/ 726798 h 2091287"/>
              <a:gd name="csX178" fmla="*/ 334814 w 733006"/>
              <a:gd name="csY178" fmla="*/ 732494 h 2091287"/>
              <a:gd name="csX179" fmla="*/ 364856 w 733006"/>
              <a:gd name="csY179" fmla="*/ 707963 h 2091287"/>
              <a:gd name="csX180" fmla="*/ 348836 w 733006"/>
              <a:gd name="csY180" fmla="*/ 684115 h 2091287"/>
              <a:gd name="csX181" fmla="*/ 298865 w 733006"/>
              <a:gd name="csY181" fmla="*/ 621954 h 2091287"/>
              <a:gd name="csX182" fmla="*/ 251619 w 733006"/>
              <a:gd name="csY182" fmla="*/ 622133 h 2091287"/>
              <a:gd name="csX183" fmla="*/ 214459 w 733006"/>
              <a:gd name="csY183" fmla="*/ 636230 h 2091287"/>
              <a:gd name="csX184" fmla="*/ 221436 w 733006"/>
              <a:gd name="csY184" fmla="*/ 654205 h 2091287"/>
              <a:gd name="csX185" fmla="*/ 272412 w 733006"/>
              <a:gd name="csY185" fmla="*/ 657250 h 2091287"/>
              <a:gd name="csX186" fmla="*/ 349094 w 733006"/>
              <a:gd name="csY186" fmla="*/ 659282 h 2091287"/>
              <a:gd name="csX187" fmla="*/ 362996 w 733006"/>
              <a:gd name="csY187" fmla="*/ 644234 h 2091287"/>
              <a:gd name="csX188" fmla="*/ 348472 w 733006"/>
              <a:gd name="csY188" fmla="*/ 624649 h 2091287"/>
              <a:gd name="csX189" fmla="*/ 298865 w 733006"/>
              <a:gd name="csY189" fmla="*/ 621954 h 2091287"/>
              <a:gd name="csX190" fmla="*/ 227796 w 733006"/>
              <a:gd name="csY190" fmla="*/ 528000 h 2091287"/>
              <a:gd name="csX191" fmla="*/ 241009 w 733006"/>
              <a:gd name="csY191" fmla="*/ 545897 h 2091287"/>
              <a:gd name="csX192" fmla="*/ 282607 w 733006"/>
              <a:gd name="csY192" fmla="*/ 543480 h 2091287"/>
              <a:gd name="csX193" fmla="*/ 354213 w 733006"/>
              <a:gd name="csY193" fmla="*/ 543384 h 2091287"/>
              <a:gd name="csX194" fmla="*/ 365334 w 733006"/>
              <a:gd name="csY194" fmla="*/ 533397 h 2091287"/>
              <a:gd name="csX195" fmla="*/ 354531 w 733006"/>
              <a:gd name="csY195" fmla="*/ 521620 h 2091287"/>
              <a:gd name="csX196" fmla="*/ 259169 w 733006"/>
              <a:gd name="csY196" fmla="*/ 521978 h 2091287"/>
              <a:gd name="csX197" fmla="*/ 227796 w 733006"/>
              <a:gd name="csY197" fmla="*/ 528000 h 2091287"/>
              <a:gd name="csX198" fmla="*/ 508068 w 733006"/>
              <a:gd name="csY198" fmla="*/ 190710 h 2091287"/>
              <a:gd name="csX199" fmla="*/ 521293 w 733006"/>
              <a:gd name="csY199" fmla="*/ 205907 h 2091287"/>
              <a:gd name="csX200" fmla="*/ 525175 w 733006"/>
              <a:gd name="csY200" fmla="*/ 202985 h 2091287"/>
              <a:gd name="csX201" fmla="*/ 500276 w 733006"/>
              <a:gd name="csY201" fmla="*/ 160640 h 2091287"/>
              <a:gd name="csX202" fmla="*/ 497122 w 733006"/>
              <a:gd name="csY202" fmla="*/ 162007 h 2091287"/>
              <a:gd name="csX203" fmla="*/ 508068 w 733006"/>
              <a:gd name="csY203" fmla="*/ 190710 h 2091287"/>
              <a:gd name="csX204" fmla="*/ 215522 w 733006"/>
              <a:gd name="csY204" fmla="*/ 197296 h 2091287"/>
              <a:gd name="csX205" fmla="*/ 234029 w 733006"/>
              <a:gd name="csY205" fmla="*/ 162725 h 2091287"/>
              <a:gd name="csX206" fmla="*/ 229000 w 733006"/>
              <a:gd name="csY206" fmla="*/ 159902 h 2091287"/>
              <a:gd name="csX207" fmla="*/ 204824 w 733006"/>
              <a:gd name="csY207" fmla="*/ 199677 h 2091287"/>
              <a:gd name="csX208" fmla="*/ 207990 w 733006"/>
              <a:gd name="csY208" fmla="*/ 202198 h 2091287"/>
              <a:gd name="csX209" fmla="*/ 215522 w 733006"/>
              <a:gd name="csY209" fmla="*/ 197296 h 2091287"/>
              <a:gd name="csX210" fmla="*/ 484400 w 733006"/>
              <a:gd name="csY210" fmla="*/ 896678 h 2091287"/>
              <a:gd name="csX211" fmla="*/ 486181 w 733006"/>
              <a:gd name="csY211" fmla="*/ 896585 h 2091287"/>
              <a:gd name="csX212" fmla="*/ 486181 w 733006"/>
              <a:gd name="csY212" fmla="*/ 795289 h 2091287"/>
              <a:gd name="csX0" fmla="*/ 96263 w 733006"/>
              <a:gd name="csY0" fmla="*/ 2076207 h 2092038"/>
              <a:gd name="csX1" fmla="*/ 63862 w 733006"/>
              <a:gd name="csY1" fmla="*/ 2065388 h 2092038"/>
              <a:gd name="csX2" fmla="*/ 16555 w 733006"/>
              <a:gd name="csY2" fmla="*/ 2050152 h 2092038"/>
              <a:gd name="csX3" fmla="*/ 15 w 733006"/>
              <a:gd name="csY3" fmla="*/ 2023802 h 2092038"/>
              <a:gd name="csX4" fmla="*/ 18368 w 733006"/>
              <a:gd name="csY4" fmla="*/ 1940709 h 2092038"/>
              <a:gd name="csX5" fmla="*/ 22139 w 733006"/>
              <a:gd name="csY5" fmla="*/ 1907268 h 2092038"/>
              <a:gd name="csX6" fmla="*/ 57941 w 733006"/>
              <a:gd name="csY6" fmla="*/ 1774163 h 2092038"/>
              <a:gd name="csX7" fmla="*/ 102478 w 733006"/>
              <a:gd name="csY7" fmla="*/ 1720275 h 2092038"/>
              <a:gd name="csX8" fmla="*/ 108579 w 733006"/>
              <a:gd name="csY8" fmla="*/ 1650967 h 2092038"/>
              <a:gd name="csX9" fmla="*/ 115628 w 733006"/>
              <a:gd name="csY9" fmla="*/ 1625405 h 2092038"/>
              <a:gd name="csX10" fmla="*/ 156323 w 733006"/>
              <a:gd name="csY10" fmla="*/ 1560181 h 2092038"/>
              <a:gd name="csX11" fmla="*/ 199424 w 733006"/>
              <a:gd name="csY11" fmla="*/ 1364729 h 2092038"/>
              <a:gd name="csX12" fmla="*/ 216779 w 733006"/>
              <a:gd name="csY12" fmla="*/ 1219490 h 2092038"/>
              <a:gd name="csX13" fmla="*/ 229755 w 733006"/>
              <a:gd name="csY13" fmla="*/ 1099357 h 2092038"/>
              <a:gd name="csX14" fmla="*/ 232707 w 733006"/>
              <a:gd name="csY14" fmla="*/ 1056423 h 2092038"/>
              <a:gd name="csX15" fmla="*/ 235622 w 733006"/>
              <a:gd name="csY15" fmla="*/ 952675 h 2092038"/>
              <a:gd name="csX16" fmla="*/ 235445 w 733006"/>
              <a:gd name="csY16" fmla="*/ 780278 h 2092038"/>
              <a:gd name="csX17" fmla="*/ 214544 w 733006"/>
              <a:gd name="csY17" fmla="*/ 756435 h 2092038"/>
              <a:gd name="csX18" fmla="*/ 172569 w 733006"/>
              <a:gd name="csY18" fmla="*/ 742582 h 2092038"/>
              <a:gd name="csX19" fmla="*/ 168784 w 733006"/>
              <a:gd name="csY19" fmla="*/ 669116 h 2092038"/>
              <a:gd name="csX20" fmla="*/ 191657 w 733006"/>
              <a:gd name="csY20" fmla="*/ 630765 h 2092038"/>
              <a:gd name="csX21" fmla="*/ 208150 w 733006"/>
              <a:gd name="csY21" fmla="*/ 609084 h 2092038"/>
              <a:gd name="csX22" fmla="*/ 216756 w 733006"/>
              <a:gd name="csY22" fmla="*/ 558673 h 2092038"/>
              <a:gd name="csX23" fmla="*/ 209092 w 733006"/>
              <a:gd name="csY23" fmla="*/ 521540 h 2092038"/>
              <a:gd name="csX24" fmla="*/ 204683 w 733006"/>
              <a:gd name="csY24" fmla="*/ 474024 h 2092038"/>
              <a:gd name="csX25" fmla="*/ 115483 w 733006"/>
              <a:gd name="csY25" fmla="*/ 213499 h 2092038"/>
              <a:gd name="csX26" fmla="*/ 102909 w 733006"/>
              <a:gd name="csY26" fmla="*/ 182297 h 2092038"/>
              <a:gd name="csX27" fmla="*/ 104315 w 733006"/>
              <a:gd name="csY27" fmla="*/ 163968 h 2092038"/>
              <a:gd name="csX28" fmla="*/ 122444 w 733006"/>
              <a:gd name="csY28" fmla="*/ 160805 h 2092038"/>
              <a:gd name="csX29" fmla="*/ 170283 w 733006"/>
              <a:gd name="csY29" fmla="*/ 187783 h 2092038"/>
              <a:gd name="csX30" fmla="*/ 180938 w 733006"/>
              <a:gd name="csY30" fmla="*/ 195322 h 2092038"/>
              <a:gd name="csX31" fmla="*/ 221419 w 733006"/>
              <a:gd name="csY31" fmla="*/ 138058 h 2092038"/>
              <a:gd name="csX32" fmla="*/ 294099 w 733006"/>
              <a:gd name="csY32" fmla="*/ 91372 h 2092038"/>
              <a:gd name="csX33" fmla="*/ 302307 w 733006"/>
              <a:gd name="csY33" fmla="*/ 76560 h 2092038"/>
              <a:gd name="csX34" fmla="*/ 320284 w 733006"/>
              <a:gd name="csY34" fmla="*/ 8414 h 2092038"/>
              <a:gd name="csX35" fmla="*/ 324784 w 733006"/>
              <a:gd name="csY35" fmla="*/ 946 h 2092038"/>
              <a:gd name="csX36" fmla="*/ 399212 w 733006"/>
              <a:gd name="csY36" fmla="*/ 0 h 2092038"/>
              <a:gd name="csX37" fmla="*/ 425980 w 733006"/>
              <a:gd name="csY37" fmla="*/ 78301 h 2092038"/>
              <a:gd name="csX38" fmla="*/ 431861 w 733006"/>
              <a:gd name="csY38" fmla="*/ 90312 h 2092038"/>
              <a:gd name="csX39" fmla="*/ 540349 w 733006"/>
              <a:gd name="csY39" fmla="*/ 187946 h 2092038"/>
              <a:gd name="csX40" fmla="*/ 545555 w 733006"/>
              <a:gd name="csY40" fmla="*/ 197828 h 2092038"/>
              <a:gd name="csX41" fmla="*/ 587318 w 733006"/>
              <a:gd name="csY41" fmla="*/ 171260 h 2092038"/>
              <a:gd name="csX42" fmla="*/ 601503 w 733006"/>
              <a:gd name="csY42" fmla="*/ 163707 h 2092038"/>
              <a:gd name="csX43" fmla="*/ 625254 w 733006"/>
              <a:gd name="csY43" fmla="*/ 163123 h 2092038"/>
              <a:gd name="csX44" fmla="*/ 625468 w 733006"/>
              <a:gd name="csY44" fmla="*/ 187579 h 2092038"/>
              <a:gd name="csX45" fmla="*/ 597543 w 733006"/>
              <a:gd name="csY45" fmla="*/ 251872 h 2092038"/>
              <a:gd name="csX46" fmla="*/ 531831 w 733006"/>
              <a:gd name="csY46" fmla="*/ 442689 h 2092038"/>
              <a:gd name="csX47" fmla="*/ 519888 w 733006"/>
              <a:gd name="csY47" fmla="*/ 501474 h 2092038"/>
              <a:gd name="csX48" fmla="*/ 522506 w 733006"/>
              <a:gd name="csY48" fmla="*/ 525086 h 2092038"/>
              <a:gd name="csX49" fmla="*/ 516235 w 733006"/>
              <a:gd name="csY49" fmla="*/ 555946 h 2092038"/>
              <a:gd name="csX50" fmla="*/ 521332 w 733006"/>
              <a:gd name="csY50" fmla="*/ 610676 h 2092038"/>
              <a:gd name="csX51" fmla="*/ 541382 w 733006"/>
              <a:gd name="csY51" fmla="*/ 642597 h 2092038"/>
              <a:gd name="csX52" fmla="*/ 557031 w 733006"/>
              <a:gd name="csY52" fmla="*/ 667949 h 2092038"/>
              <a:gd name="csX53" fmla="*/ 553994 w 733006"/>
              <a:gd name="csY53" fmla="*/ 744146 h 2092038"/>
              <a:gd name="csX54" fmla="*/ 508215 w 733006"/>
              <a:gd name="csY54" fmla="*/ 758841 h 2092038"/>
              <a:gd name="csX55" fmla="*/ 497442 w 733006"/>
              <a:gd name="csY55" fmla="*/ 771256 h 2092038"/>
              <a:gd name="csX56" fmla="*/ 493005 w 733006"/>
              <a:gd name="csY56" fmla="*/ 922055 h 2092038"/>
              <a:gd name="csX57" fmla="*/ 502900 w 733006"/>
              <a:gd name="csY57" fmla="*/ 1114191 h 2092038"/>
              <a:gd name="csX58" fmla="*/ 508800 w 733006"/>
              <a:gd name="csY58" fmla="*/ 1205474 h 2092038"/>
              <a:gd name="csX59" fmla="*/ 522952 w 733006"/>
              <a:gd name="csY59" fmla="*/ 1320065 h 2092038"/>
              <a:gd name="csX60" fmla="*/ 554682 w 733006"/>
              <a:gd name="csY60" fmla="*/ 1501203 h 2092038"/>
              <a:gd name="csX61" fmla="*/ 576958 w 733006"/>
              <a:gd name="csY61" fmla="*/ 1593963 h 2092038"/>
              <a:gd name="csX62" fmla="*/ 595349 w 733006"/>
              <a:gd name="csY62" fmla="*/ 1613498 h 2092038"/>
              <a:gd name="csX63" fmla="*/ 613936 w 733006"/>
              <a:gd name="csY63" fmla="*/ 1624058 h 2092038"/>
              <a:gd name="csX64" fmla="*/ 620938 w 733006"/>
              <a:gd name="csY64" fmla="*/ 1652071 h 2092038"/>
              <a:gd name="csX65" fmla="*/ 630805 w 733006"/>
              <a:gd name="csY65" fmla="*/ 1721702 h 2092038"/>
              <a:gd name="csX66" fmla="*/ 685830 w 733006"/>
              <a:gd name="csY66" fmla="*/ 1792915 h 2092038"/>
              <a:gd name="csX67" fmla="*/ 708904 w 733006"/>
              <a:gd name="csY67" fmla="*/ 1890290 h 2092038"/>
              <a:gd name="csX68" fmla="*/ 716580 w 733006"/>
              <a:gd name="csY68" fmla="*/ 1951136 h 2092038"/>
              <a:gd name="csX69" fmla="*/ 729397 w 733006"/>
              <a:gd name="csY69" fmla="*/ 2030261 h 2092038"/>
              <a:gd name="csX70" fmla="*/ 714212 w 733006"/>
              <a:gd name="csY70" fmla="*/ 2059069 h 2092038"/>
              <a:gd name="csX71" fmla="*/ 96263 w 733006"/>
              <a:gd name="csY71" fmla="*/ 2076207 h 2092038"/>
              <a:gd name="csX72" fmla="*/ 489970 w 733006"/>
              <a:gd name="csY72" fmla="*/ 152208 h 2092038"/>
              <a:gd name="csX73" fmla="*/ 490754 w 733006"/>
              <a:gd name="csY73" fmla="*/ 152592 h 2092038"/>
              <a:gd name="csX74" fmla="*/ 489489 w 733006"/>
              <a:gd name="csY74" fmla="*/ 149547 h 2092038"/>
              <a:gd name="csX75" fmla="*/ 393621 w 733006"/>
              <a:gd name="csY75" fmla="*/ 99259 h 2092038"/>
              <a:gd name="csX76" fmla="*/ 390419 w 733006"/>
              <a:gd name="csY76" fmla="*/ 18568 h 2092038"/>
              <a:gd name="csX77" fmla="*/ 334131 w 733006"/>
              <a:gd name="csY77" fmla="*/ 24327 h 2092038"/>
              <a:gd name="csX78" fmla="*/ 344678 w 733006"/>
              <a:gd name="csY78" fmla="*/ 101259 h 2092038"/>
              <a:gd name="csX79" fmla="*/ 298854 w 733006"/>
              <a:gd name="csY79" fmla="*/ 114003 h 2092038"/>
              <a:gd name="csX80" fmla="*/ 237456 w 733006"/>
              <a:gd name="csY80" fmla="*/ 154340 h 2092038"/>
              <a:gd name="csX81" fmla="*/ 240382 w 733006"/>
              <a:gd name="csY81" fmla="*/ 154035 h 2092038"/>
              <a:gd name="csX82" fmla="*/ 262731 w 733006"/>
              <a:gd name="csY82" fmla="*/ 170426 h 2092038"/>
              <a:gd name="csX83" fmla="*/ 279169 w 733006"/>
              <a:gd name="csY83" fmla="*/ 193173 h 2092038"/>
              <a:gd name="csX84" fmla="*/ 327717 w 733006"/>
              <a:gd name="csY84" fmla="*/ 188556 h 2092038"/>
              <a:gd name="csX85" fmla="*/ 348052 w 733006"/>
              <a:gd name="csY85" fmla="*/ 156919 h 2092038"/>
              <a:gd name="csX86" fmla="*/ 380330 w 733006"/>
              <a:gd name="csY86" fmla="*/ 156483 h 2092038"/>
              <a:gd name="csX87" fmla="*/ 408490 w 733006"/>
              <a:gd name="csY87" fmla="*/ 195400 h 2092038"/>
              <a:gd name="csX88" fmla="*/ 445346 w 733006"/>
              <a:gd name="csY88" fmla="*/ 197582 h 2092038"/>
              <a:gd name="csX89" fmla="*/ 464798 w 733006"/>
              <a:gd name="csY89" fmla="*/ 174107 h 2092038"/>
              <a:gd name="csX90" fmla="*/ 489970 w 733006"/>
              <a:gd name="csY90" fmla="*/ 152208 h 2092038"/>
              <a:gd name="csX91" fmla="*/ 140694 w 733006"/>
              <a:gd name="csY91" fmla="*/ 201837 h 2092038"/>
              <a:gd name="csX92" fmla="*/ 139834 w 733006"/>
              <a:gd name="csY92" fmla="*/ 201482 h 2092038"/>
              <a:gd name="csX93" fmla="*/ 140812 w 733006"/>
              <a:gd name="csY93" fmla="*/ 204941 h 2092038"/>
              <a:gd name="csX94" fmla="*/ 144631 w 733006"/>
              <a:gd name="csY94" fmla="*/ 217811 h 2092038"/>
              <a:gd name="csX95" fmla="*/ 201241 w 733006"/>
              <a:gd name="csY95" fmla="*/ 373387 h 2092038"/>
              <a:gd name="csX96" fmla="*/ 235971 w 733006"/>
              <a:gd name="csY96" fmla="*/ 504451 h 2092038"/>
              <a:gd name="csX97" fmla="*/ 247475 w 733006"/>
              <a:gd name="csY97" fmla="*/ 513241 h 2092038"/>
              <a:gd name="csX98" fmla="*/ 289066 w 733006"/>
              <a:gd name="csY98" fmla="*/ 511170 h 2092038"/>
              <a:gd name="csX99" fmla="*/ 378229 w 733006"/>
              <a:gd name="csY99" fmla="*/ 511084 h 2092038"/>
              <a:gd name="csX100" fmla="*/ 470850 w 733006"/>
              <a:gd name="csY100" fmla="*/ 516341 h 2092038"/>
              <a:gd name="csX101" fmla="*/ 492933 w 733006"/>
              <a:gd name="csY101" fmla="*/ 497969 h 2092038"/>
              <a:gd name="csX102" fmla="*/ 557617 w 733006"/>
              <a:gd name="csY102" fmla="*/ 280398 h 2092038"/>
              <a:gd name="csX103" fmla="*/ 588788 w 733006"/>
              <a:gd name="csY103" fmla="*/ 200385 h 2092038"/>
              <a:gd name="csX104" fmla="*/ 530958 w 733006"/>
              <a:gd name="csY104" fmla="*/ 232968 h 2092038"/>
              <a:gd name="csX105" fmla="*/ 483823 w 733006"/>
              <a:gd name="csY105" fmla="*/ 190364 h 2092038"/>
              <a:gd name="csX106" fmla="*/ 466649 w 733006"/>
              <a:gd name="csY106" fmla="*/ 209061 h 2092038"/>
              <a:gd name="csX107" fmla="*/ 399941 w 733006"/>
              <a:gd name="csY107" fmla="*/ 216988 h 2092038"/>
              <a:gd name="csX108" fmla="*/ 363018 w 733006"/>
              <a:gd name="csY108" fmla="*/ 179615 h 2092038"/>
              <a:gd name="csX109" fmla="*/ 308839 w 733006"/>
              <a:gd name="csY109" fmla="*/ 227846 h 2092038"/>
              <a:gd name="csX110" fmla="*/ 245077 w 733006"/>
              <a:gd name="csY110" fmla="*/ 192402 h 2092038"/>
              <a:gd name="csX111" fmla="*/ 242829 w 733006"/>
              <a:gd name="csY111" fmla="*/ 198815 h 2092038"/>
              <a:gd name="csX112" fmla="*/ 168452 w 733006"/>
              <a:gd name="csY112" fmla="*/ 219348 h 2092038"/>
              <a:gd name="csX113" fmla="*/ 140694 w 733006"/>
              <a:gd name="csY113" fmla="*/ 201837 h 2092038"/>
              <a:gd name="csX114" fmla="*/ 259999 w 733006"/>
              <a:gd name="csY114" fmla="*/ 966699 h 2092038"/>
              <a:gd name="csX115" fmla="*/ 257072 w 733006"/>
              <a:gd name="csY115" fmla="*/ 1070424 h 2092038"/>
              <a:gd name="csX116" fmla="*/ 251372 w 733006"/>
              <a:gd name="csY116" fmla="*/ 1157618 h 2092038"/>
              <a:gd name="csX117" fmla="*/ 232677 w 733006"/>
              <a:gd name="csY117" fmla="*/ 1320279 h 2092038"/>
              <a:gd name="csX118" fmla="*/ 209182 w 733006"/>
              <a:gd name="csY118" fmla="*/ 1468667 h 2092038"/>
              <a:gd name="csX119" fmla="*/ 175302 w 733006"/>
              <a:gd name="csY119" fmla="*/ 1616623 h 2092038"/>
              <a:gd name="csX120" fmla="*/ 182769 w 733006"/>
              <a:gd name="csY120" fmla="*/ 1629786 h 2092038"/>
              <a:gd name="csX121" fmla="*/ 212156 w 733006"/>
              <a:gd name="csY121" fmla="*/ 1632656 h 2092038"/>
              <a:gd name="csX122" fmla="*/ 351295 w 733006"/>
              <a:gd name="csY122" fmla="*/ 1632801 h 2092038"/>
              <a:gd name="csX123" fmla="*/ 376150 w 733006"/>
              <a:gd name="csY123" fmla="*/ 1608307 h 2092038"/>
              <a:gd name="csX124" fmla="*/ 373450 w 733006"/>
              <a:gd name="csY124" fmla="*/ 1457291 h 2092038"/>
              <a:gd name="csX125" fmla="*/ 370936 w 733006"/>
              <a:gd name="csY125" fmla="*/ 1342736 h 2092038"/>
              <a:gd name="csX126" fmla="*/ 368328 w 733006"/>
              <a:gd name="csY126" fmla="*/ 1203878 h 2092038"/>
              <a:gd name="csX127" fmla="*/ 367836 w 733006"/>
              <a:gd name="csY127" fmla="*/ 813478 h 2092038"/>
              <a:gd name="csX128" fmla="*/ 365240 w 733006"/>
              <a:gd name="csY128" fmla="*/ 773243 h 2092038"/>
              <a:gd name="csX129" fmla="*/ 353084 w 733006"/>
              <a:gd name="csY129" fmla="*/ 762083 h 2092038"/>
              <a:gd name="csX130" fmla="*/ 280966 w 733006"/>
              <a:gd name="csY130" fmla="*/ 759855 h 2092038"/>
              <a:gd name="csX131" fmla="*/ 259965 w 733006"/>
              <a:gd name="csY131" fmla="*/ 779553 h 2092038"/>
              <a:gd name="csX132" fmla="*/ 262341 w 733006"/>
              <a:gd name="csY132" fmla="*/ 856275 h 2092038"/>
              <a:gd name="csX133" fmla="*/ 259999 w 733006"/>
              <a:gd name="csY133" fmla="*/ 966699 h 2092038"/>
              <a:gd name="csX134" fmla="*/ 55556 w 733006"/>
              <a:gd name="csY134" fmla="*/ 1835827 h 2092038"/>
              <a:gd name="csX135" fmla="*/ 49393 w 733006"/>
              <a:gd name="csY135" fmla="*/ 1878155 h 2092038"/>
              <a:gd name="csX136" fmla="*/ 73949 w 733006"/>
              <a:gd name="csY136" fmla="*/ 1905781 h 2092038"/>
              <a:gd name="csX137" fmla="*/ 110073 w 733006"/>
              <a:gd name="csY137" fmla="*/ 1909068 h 2092038"/>
              <a:gd name="csX138" fmla="*/ 224745 w 733006"/>
              <a:gd name="csY138" fmla="*/ 1921652 h 2092038"/>
              <a:gd name="csX139" fmla="*/ 347327 w 733006"/>
              <a:gd name="csY139" fmla="*/ 1924778 h 2092038"/>
              <a:gd name="csX140" fmla="*/ 363345 w 733006"/>
              <a:gd name="csY140" fmla="*/ 1923293 h 2092038"/>
              <a:gd name="csX141" fmla="*/ 373787 w 733006"/>
              <a:gd name="csY141" fmla="*/ 1911200 h 2092038"/>
              <a:gd name="csX142" fmla="*/ 376623 w 733006"/>
              <a:gd name="csY142" fmla="*/ 1696741 h 2092038"/>
              <a:gd name="csX143" fmla="*/ 360437 w 733006"/>
              <a:gd name="csY143" fmla="*/ 1681289 h 2092038"/>
              <a:gd name="csX144" fmla="*/ 263503 w 733006"/>
              <a:gd name="csY144" fmla="*/ 1678179 h 2092038"/>
              <a:gd name="csX145" fmla="*/ 160381 w 733006"/>
              <a:gd name="csY145" fmla="*/ 1670405 h 2092038"/>
              <a:gd name="csX146" fmla="*/ 143321 w 733006"/>
              <a:gd name="csY146" fmla="*/ 1685538 h 2092038"/>
              <a:gd name="csX147" fmla="*/ 124769 w 733006"/>
              <a:gd name="csY147" fmla="*/ 1738195 h 2092038"/>
              <a:gd name="csX148" fmla="*/ 90593 w 733006"/>
              <a:gd name="csY148" fmla="*/ 1779570 h 2092038"/>
              <a:gd name="csX149" fmla="*/ 55556 w 733006"/>
              <a:gd name="csY149" fmla="*/ 1835827 h 2092038"/>
              <a:gd name="csX150" fmla="*/ 378900 w 733006"/>
              <a:gd name="csY150" fmla="*/ 2007280 h 2092038"/>
              <a:gd name="csX151" fmla="*/ 378887 w 733006"/>
              <a:gd name="csY151" fmla="*/ 1995127 h 2092038"/>
              <a:gd name="csX152" fmla="*/ 359084 w 733006"/>
              <a:gd name="csY152" fmla="*/ 1975964 h 2092038"/>
              <a:gd name="csX153" fmla="*/ 247288 w 733006"/>
              <a:gd name="csY153" fmla="*/ 1973305 h 2092038"/>
              <a:gd name="csX154" fmla="*/ 201692 w 733006"/>
              <a:gd name="csY154" fmla="*/ 1970275 h 2092038"/>
              <a:gd name="csX155" fmla="*/ 57962 w 733006"/>
              <a:gd name="csY155" fmla="*/ 1952648 h 2092038"/>
              <a:gd name="csX156" fmla="*/ 39194 w 733006"/>
              <a:gd name="csY156" fmla="*/ 1963552 h 2092038"/>
              <a:gd name="csX157" fmla="*/ 30066 w 733006"/>
              <a:gd name="csY157" fmla="*/ 2006631 h 2092038"/>
              <a:gd name="csX158" fmla="*/ 40232 w 733006"/>
              <a:gd name="csY158" fmla="*/ 2019486 h 2092038"/>
              <a:gd name="csX159" fmla="*/ 238186 w 733006"/>
              <a:gd name="csY159" fmla="*/ 2046096 h 2092038"/>
              <a:gd name="csX160" fmla="*/ 342155 w 733006"/>
              <a:gd name="csY160" fmla="*/ 2046441 h 2092038"/>
              <a:gd name="csX161" fmla="*/ 378900 w 733006"/>
              <a:gd name="csY161" fmla="*/ 2007280 h 2092038"/>
              <a:gd name="csX162" fmla="*/ 310220 w 733006"/>
              <a:gd name="csY162" fmla="*/ 554288 h 2092038"/>
              <a:gd name="csX163" fmla="*/ 259136 w 733006"/>
              <a:gd name="csY163" fmla="*/ 556881 h 2092038"/>
              <a:gd name="csX164" fmla="*/ 249085 w 733006"/>
              <a:gd name="csY164" fmla="*/ 567981 h 2092038"/>
              <a:gd name="csX165" fmla="*/ 249141 w 733006"/>
              <a:gd name="csY165" fmla="*/ 605644 h 2092038"/>
              <a:gd name="csX166" fmla="*/ 262628 w 733006"/>
              <a:gd name="csY166" fmla="*/ 605627 h 2092038"/>
              <a:gd name="csX167" fmla="*/ 369608 w 733006"/>
              <a:gd name="csY167" fmla="*/ 603027 h 2092038"/>
              <a:gd name="csX168" fmla="*/ 463931 w 733006"/>
              <a:gd name="csY168" fmla="*/ 605146 h 2092038"/>
              <a:gd name="csX169" fmla="*/ 478113 w 733006"/>
              <a:gd name="csY169" fmla="*/ 595843 h 2092038"/>
              <a:gd name="csX170" fmla="*/ 478796 w 733006"/>
              <a:gd name="csY170" fmla="*/ 556832 h 2092038"/>
              <a:gd name="csX171" fmla="*/ 310220 w 733006"/>
              <a:gd name="csY171" fmla="*/ 554288 h 2092038"/>
              <a:gd name="csX172" fmla="*/ 348836 w 733006"/>
              <a:gd name="csY172" fmla="*/ 684115 h 2092038"/>
              <a:gd name="csX173" fmla="*/ 281333 w 733006"/>
              <a:gd name="csY173" fmla="*/ 683313 h 2092038"/>
              <a:gd name="csX174" fmla="*/ 212728 w 733006"/>
              <a:gd name="csY174" fmla="*/ 681931 h 2092038"/>
              <a:gd name="csX175" fmla="*/ 187283 w 733006"/>
              <a:gd name="csY175" fmla="*/ 689555 h 2092038"/>
              <a:gd name="csX176" fmla="*/ 186163 w 733006"/>
              <a:gd name="csY176" fmla="*/ 718266 h 2092038"/>
              <a:gd name="csX177" fmla="*/ 209894 w 733006"/>
              <a:gd name="csY177" fmla="*/ 726798 h 2092038"/>
              <a:gd name="csX178" fmla="*/ 334814 w 733006"/>
              <a:gd name="csY178" fmla="*/ 732494 h 2092038"/>
              <a:gd name="csX179" fmla="*/ 364856 w 733006"/>
              <a:gd name="csY179" fmla="*/ 707963 h 2092038"/>
              <a:gd name="csX180" fmla="*/ 348836 w 733006"/>
              <a:gd name="csY180" fmla="*/ 684115 h 2092038"/>
              <a:gd name="csX181" fmla="*/ 298865 w 733006"/>
              <a:gd name="csY181" fmla="*/ 621954 h 2092038"/>
              <a:gd name="csX182" fmla="*/ 251619 w 733006"/>
              <a:gd name="csY182" fmla="*/ 622133 h 2092038"/>
              <a:gd name="csX183" fmla="*/ 214459 w 733006"/>
              <a:gd name="csY183" fmla="*/ 636230 h 2092038"/>
              <a:gd name="csX184" fmla="*/ 221436 w 733006"/>
              <a:gd name="csY184" fmla="*/ 654205 h 2092038"/>
              <a:gd name="csX185" fmla="*/ 272412 w 733006"/>
              <a:gd name="csY185" fmla="*/ 657250 h 2092038"/>
              <a:gd name="csX186" fmla="*/ 349094 w 733006"/>
              <a:gd name="csY186" fmla="*/ 659282 h 2092038"/>
              <a:gd name="csX187" fmla="*/ 362996 w 733006"/>
              <a:gd name="csY187" fmla="*/ 644234 h 2092038"/>
              <a:gd name="csX188" fmla="*/ 348472 w 733006"/>
              <a:gd name="csY188" fmla="*/ 624649 h 2092038"/>
              <a:gd name="csX189" fmla="*/ 298865 w 733006"/>
              <a:gd name="csY189" fmla="*/ 621954 h 2092038"/>
              <a:gd name="csX190" fmla="*/ 227796 w 733006"/>
              <a:gd name="csY190" fmla="*/ 528000 h 2092038"/>
              <a:gd name="csX191" fmla="*/ 241009 w 733006"/>
              <a:gd name="csY191" fmla="*/ 545897 h 2092038"/>
              <a:gd name="csX192" fmla="*/ 282607 w 733006"/>
              <a:gd name="csY192" fmla="*/ 543480 h 2092038"/>
              <a:gd name="csX193" fmla="*/ 354213 w 733006"/>
              <a:gd name="csY193" fmla="*/ 543384 h 2092038"/>
              <a:gd name="csX194" fmla="*/ 365334 w 733006"/>
              <a:gd name="csY194" fmla="*/ 533397 h 2092038"/>
              <a:gd name="csX195" fmla="*/ 354531 w 733006"/>
              <a:gd name="csY195" fmla="*/ 521620 h 2092038"/>
              <a:gd name="csX196" fmla="*/ 259169 w 733006"/>
              <a:gd name="csY196" fmla="*/ 521978 h 2092038"/>
              <a:gd name="csX197" fmla="*/ 227796 w 733006"/>
              <a:gd name="csY197" fmla="*/ 528000 h 2092038"/>
              <a:gd name="csX198" fmla="*/ 508068 w 733006"/>
              <a:gd name="csY198" fmla="*/ 190710 h 2092038"/>
              <a:gd name="csX199" fmla="*/ 521293 w 733006"/>
              <a:gd name="csY199" fmla="*/ 205907 h 2092038"/>
              <a:gd name="csX200" fmla="*/ 525175 w 733006"/>
              <a:gd name="csY200" fmla="*/ 202985 h 2092038"/>
              <a:gd name="csX201" fmla="*/ 500276 w 733006"/>
              <a:gd name="csY201" fmla="*/ 160640 h 2092038"/>
              <a:gd name="csX202" fmla="*/ 497122 w 733006"/>
              <a:gd name="csY202" fmla="*/ 162007 h 2092038"/>
              <a:gd name="csX203" fmla="*/ 508068 w 733006"/>
              <a:gd name="csY203" fmla="*/ 190710 h 2092038"/>
              <a:gd name="csX204" fmla="*/ 215522 w 733006"/>
              <a:gd name="csY204" fmla="*/ 197296 h 2092038"/>
              <a:gd name="csX205" fmla="*/ 234029 w 733006"/>
              <a:gd name="csY205" fmla="*/ 162725 h 2092038"/>
              <a:gd name="csX206" fmla="*/ 229000 w 733006"/>
              <a:gd name="csY206" fmla="*/ 159902 h 2092038"/>
              <a:gd name="csX207" fmla="*/ 204824 w 733006"/>
              <a:gd name="csY207" fmla="*/ 199677 h 2092038"/>
              <a:gd name="csX208" fmla="*/ 207990 w 733006"/>
              <a:gd name="csY208" fmla="*/ 202198 h 2092038"/>
              <a:gd name="csX209" fmla="*/ 215522 w 733006"/>
              <a:gd name="csY209" fmla="*/ 197296 h 2092038"/>
              <a:gd name="csX210" fmla="*/ 484400 w 733006"/>
              <a:gd name="csY210" fmla="*/ 896678 h 2092038"/>
              <a:gd name="csX211" fmla="*/ 486181 w 733006"/>
              <a:gd name="csY211" fmla="*/ 896585 h 2092038"/>
              <a:gd name="csX212" fmla="*/ 486181 w 733006"/>
              <a:gd name="csY212" fmla="*/ 795289 h 2092038"/>
              <a:gd name="csX0" fmla="*/ 96263 w 733006"/>
              <a:gd name="csY0" fmla="*/ 2076207 h 2092038"/>
              <a:gd name="csX1" fmla="*/ 63862 w 733006"/>
              <a:gd name="csY1" fmla="*/ 2065388 h 2092038"/>
              <a:gd name="csX2" fmla="*/ 16555 w 733006"/>
              <a:gd name="csY2" fmla="*/ 2050152 h 2092038"/>
              <a:gd name="csX3" fmla="*/ 15 w 733006"/>
              <a:gd name="csY3" fmla="*/ 2023802 h 2092038"/>
              <a:gd name="csX4" fmla="*/ 18368 w 733006"/>
              <a:gd name="csY4" fmla="*/ 1940709 h 2092038"/>
              <a:gd name="csX5" fmla="*/ 22139 w 733006"/>
              <a:gd name="csY5" fmla="*/ 1907268 h 2092038"/>
              <a:gd name="csX6" fmla="*/ 57941 w 733006"/>
              <a:gd name="csY6" fmla="*/ 1774163 h 2092038"/>
              <a:gd name="csX7" fmla="*/ 102478 w 733006"/>
              <a:gd name="csY7" fmla="*/ 1720275 h 2092038"/>
              <a:gd name="csX8" fmla="*/ 108579 w 733006"/>
              <a:gd name="csY8" fmla="*/ 1650967 h 2092038"/>
              <a:gd name="csX9" fmla="*/ 115628 w 733006"/>
              <a:gd name="csY9" fmla="*/ 1625405 h 2092038"/>
              <a:gd name="csX10" fmla="*/ 156323 w 733006"/>
              <a:gd name="csY10" fmla="*/ 1560181 h 2092038"/>
              <a:gd name="csX11" fmla="*/ 199424 w 733006"/>
              <a:gd name="csY11" fmla="*/ 1364729 h 2092038"/>
              <a:gd name="csX12" fmla="*/ 216779 w 733006"/>
              <a:gd name="csY12" fmla="*/ 1219490 h 2092038"/>
              <a:gd name="csX13" fmla="*/ 229755 w 733006"/>
              <a:gd name="csY13" fmla="*/ 1099357 h 2092038"/>
              <a:gd name="csX14" fmla="*/ 232707 w 733006"/>
              <a:gd name="csY14" fmla="*/ 1056423 h 2092038"/>
              <a:gd name="csX15" fmla="*/ 235622 w 733006"/>
              <a:gd name="csY15" fmla="*/ 952675 h 2092038"/>
              <a:gd name="csX16" fmla="*/ 235445 w 733006"/>
              <a:gd name="csY16" fmla="*/ 780278 h 2092038"/>
              <a:gd name="csX17" fmla="*/ 214544 w 733006"/>
              <a:gd name="csY17" fmla="*/ 756435 h 2092038"/>
              <a:gd name="csX18" fmla="*/ 172569 w 733006"/>
              <a:gd name="csY18" fmla="*/ 742582 h 2092038"/>
              <a:gd name="csX19" fmla="*/ 168784 w 733006"/>
              <a:gd name="csY19" fmla="*/ 669116 h 2092038"/>
              <a:gd name="csX20" fmla="*/ 191657 w 733006"/>
              <a:gd name="csY20" fmla="*/ 630765 h 2092038"/>
              <a:gd name="csX21" fmla="*/ 208150 w 733006"/>
              <a:gd name="csY21" fmla="*/ 609084 h 2092038"/>
              <a:gd name="csX22" fmla="*/ 216756 w 733006"/>
              <a:gd name="csY22" fmla="*/ 558673 h 2092038"/>
              <a:gd name="csX23" fmla="*/ 209092 w 733006"/>
              <a:gd name="csY23" fmla="*/ 521540 h 2092038"/>
              <a:gd name="csX24" fmla="*/ 204683 w 733006"/>
              <a:gd name="csY24" fmla="*/ 474024 h 2092038"/>
              <a:gd name="csX25" fmla="*/ 115483 w 733006"/>
              <a:gd name="csY25" fmla="*/ 213499 h 2092038"/>
              <a:gd name="csX26" fmla="*/ 102909 w 733006"/>
              <a:gd name="csY26" fmla="*/ 182297 h 2092038"/>
              <a:gd name="csX27" fmla="*/ 104315 w 733006"/>
              <a:gd name="csY27" fmla="*/ 163968 h 2092038"/>
              <a:gd name="csX28" fmla="*/ 122444 w 733006"/>
              <a:gd name="csY28" fmla="*/ 160805 h 2092038"/>
              <a:gd name="csX29" fmla="*/ 170283 w 733006"/>
              <a:gd name="csY29" fmla="*/ 187783 h 2092038"/>
              <a:gd name="csX30" fmla="*/ 180938 w 733006"/>
              <a:gd name="csY30" fmla="*/ 195322 h 2092038"/>
              <a:gd name="csX31" fmla="*/ 221419 w 733006"/>
              <a:gd name="csY31" fmla="*/ 138058 h 2092038"/>
              <a:gd name="csX32" fmla="*/ 294099 w 733006"/>
              <a:gd name="csY32" fmla="*/ 91372 h 2092038"/>
              <a:gd name="csX33" fmla="*/ 302307 w 733006"/>
              <a:gd name="csY33" fmla="*/ 76560 h 2092038"/>
              <a:gd name="csX34" fmla="*/ 320284 w 733006"/>
              <a:gd name="csY34" fmla="*/ 8414 h 2092038"/>
              <a:gd name="csX35" fmla="*/ 324784 w 733006"/>
              <a:gd name="csY35" fmla="*/ 946 h 2092038"/>
              <a:gd name="csX36" fmla="*/ 399212 w 733006"/>
              <a:gd name="csY36" fmla="*/ 0 h 2092038"/>
              <a:gd name="csX37" fmla="*/ 425980 w 733006"/>
              <a:gd name="csY37" fmla="*/ 78301 h 2092038"/>
              <a:gd name="csX38" fmla="*/ 431861 w 733006"/>
              <a:gd name="csY38" fmla="*/ 90312 h 2092038"/>
              <a:gd name="csX39" fmla="*/ 540349 w 733006"/>
              <a:gd name="csY39" fmla="*/ 187946 h 2092038"/>
              <a:gd name="csX40" fmla="*/ 545555 w 733006"/>
              <a:gd name="csY40" fmla="*/ 197828 h 2092038"/>
              <a:gd name="csX41" fmla="*/ 587318 w 733006"/>
              <a:gd name="csY41" fmla="*/ 171260 h 2092038"/>
              <a:gd name="csX42" fmla="*/ 601503 w 733006"/>
              <a:gd name="csY42" fmla="*/ 163707 h 2092038"/>
              <a:gd name="csX43" fmla="*/ 625254 w 733006"/>
              <a:gd name="csY43" fmla="*/ 163123 h 2092038"/>
              <a:gd name="csX44" fmla="*/ 625468 w 733006"/>
              <a:gd name="csY44" fmla="*/ 187579 h 2092038"/>
              <a:gd name="csX45" fmla="*/ 597543 w 733006"/>
              <a:gd name="csY45" fmla="*/ 251872 h 2092038"/>
              <a:gd name="csX46" fmla="*/ 531831 w 733006"/>
              <a:gd name="csY46" fmla="*/ 442689 h 2092038"/>
              <a:gd name="csX47" fmla="*/ 519888 w 733006"/>
              <a:gd name="csY47" fmla="*/ 501474 h 2092038"/>
              <a:gd name="csX48" fmla="*/ 522506 w 733006"/>
              <a:gd name="csY48" fmla="*/ 525086 h 2092038"/>
              <a:gd name="csX49" fmla="*/ 516235 w 733006"/>
              <a:gd name="csY49" fmla="*/ 555946 h 2092038"/>
              <a:gd name="csX50" fmla="*/ 521332 w 733006"/>
              <a:gd name="csY50" fmla="*/ 610676 h 2092038"/>
              <a:gd name="csX51" fmla="*/ 541382 w 733006"/>
              <a:gd name="csY51" fmla="*/ 642597 h 2092038"/>
              <a:gd name="csX52" fmla="*/ 557031 w 733006"/>
              <a:gd name="csY52" fmla="*/ 667949 h 2092038"/>
              <a:gd name="csX53" fmla="*/ 553994 w 733006"/>
              <a:gd name="csY53" fmla="*/ 744146 h 2092038"/>
              <a:gd name="csX54" fmla="*/ 508215 w 733006"/>
              <a:gd name="csY54" fmla="*/ 758841 h 2092038"/>
              <a:gd name="csX55" fmla="*/ 497442 w 733006"/>
              <a:gd name="csY55" fmla="*/ 771256 h 2092038"/>
              <a:gd name="csX56" fmla="*/ 493005 w 733006"/>
              <a:gd name="csY56" fmla="*/ 922055 h 2092038"/>
              <a:gd name="csX57" fmla="*/ 502900 w 733006"/>
              <a:gd name="csY57" fmla="*/ 1114191 h 2092038"/>
              <a:gd name="csX58" fmla="*/ 508800 w 733006"/>
              <a:gd name="csY58" fmla="*/ 1205474 h 2092038"/>
              <a:gd name="csX59" fmla="*/ 522952 w 733006"/>
              <a:gd name="csY59" fmla="*/ 1320065 h 2092038"/>
              <a:gd name="csX60" fmla="*/ 554682 w 733006"/>
              <a:gd name="csY60" fmla="*/ 1501203 h 2092038"/>
              <a:gd name="csX61" fmla="*/ 576958 w 733006"/>
              <a:gd name="csY61" fmla="*/ 1593963 h 2092038"/>
              <a:gd name="csX62" fmla="*/ 595349 w 733006"/>
              <a:gd name="csY62" fmla="*/ 1613498 h 2092038"/>
              <a:gd name="csX63" fmla="*/ 613936 w 733006"/>
              <a:gd name="csY63" fmla="*/ 1624058 h 2092038"/>
              <a:gd name="csX64" fmla="*/ 620938 w 733006"/>
              <a:gd name="csY64" fmla="*/ 1652071 h 2092038"/>
              <a:gd name="csX65" fmla="*/ 630805 w 733006"/>
              <a:gd name="csY65" fmla="*/ 1721702 h 2092038"/>
              <a:gd name="csX66" fmla="*/ 685830 w 733006"/>
              <a:gd name="csY66" fmla="*/ 1792915 h 2092038"/>
              <a:gd name="csX67" fmla="*/ 708904 w 733006"/>
              <a:gd name="csY67" fmla="*/ 1890290 h 2092038"/>
              <a:gd name="csX68" fmla="*/ 716580 w 733006"/>
              <a:gd name="csY68" fmla="*/ 1951136 h 2092038"/>
              <a:gd name="csX69" fmla="*/ 729397 w 733006"/>
              <a:gd name="csY69" fmla="*/ 2030261 h 2092038"/>
              <a:gd name="csX70" fmla="*/ 714212 w 733006"/>
              <a:gd name="csY70" fmla="*/ 2059069 h 2092038"/>
              <a:gd name="csX71" fmla="*/ 96263 w 733006"/>
              <a:gd name="csY71" fmla="*/ 2076207 h 2092038"/>
              <a:gd name="csX72" fmla="*/ 489970 w 733006"/>
              <a:gd name="csY72" fmla="*/ 152208 h 2092038"/>
              <a:gd name="csX73" fmla="*/ 490754 w 733006"/>
              <a:gd name="csY73" fmla="*/ 152592 h 2092038"/>
              <a:gd name="csX74" fmla="*/ 489489 w 733006"/>
              <a:gd name="csY74" fmla="*/ 149547 h 2092038"/>
              <a:gd name="csX75" fmla="*/ 393621 w 733006"/>
              <a:gd name="csY75" fmla="*/ 99259 h 2092038"/>
              <a:gd name="csX76" fmla="*/ 390419 w 733006"/>
              <a:gd name="csY76" fmla="*/ 18568 h 2092038"/>
              <a:gd name="csX77" fmla="*/ 334131 w 733006"/>
              <a:gd name="csY77" fmla="*/ 24327 h 2092038"/>
              <a:gd name="csX78" fmla="*/ 344678 w 733006"/>
              <a:gd name="csY78" fmla="*/ 101259 h 2092038"/>
              <a:gd name="csX79" fmla="*/ 298854 w 733006"/>
              <a:gd name="csY79" fmla="*/ 114003 h 2092038"/>
              <a:gd name="csX80" fmla="*/ 237456 w 733006"/>
              <a:gd name="csY80" fmla="*/ 154340 h 2092038"/>
              <a:gd name="csX81" fmla="*/ 240382 w 733006"/>
              <a:gd name="csY81" fmla="*/ 154035 h 2092038"/>
              <a:gd name="csX82" fmla="*/ 262731 w 733006"/>
              <a:gd name="csY82" fmla="*/ 170426 h 2092038"/>
              <a:gd name="csX83" fmla="*/ 279169 w 733006"/>
              <a:gd name="csY83" fmla="*/ 193173 h 2092038"/>
              <a:gd name="csX84" fmla="*/ 327717 w 733006"/>
              <a:gd name="csY84" fmla="*/ 188556 h 2092038"/>
              <a:gd name="csX85" fmla="*/ 348052 w 733006"/>
              <a:gd name="csY85" fmla="*/ 156919 h 2092038"/>
              <a:gd name="csX86" fmla="*/ 380330 w 733006"/>
              <a:gd name="csY86" fmla="*/ 156483 h 2092038"/>
              <a:gd name="csX87" fmla="*/ 408490 w 733006"/>
              <a:gd name="csY87" fmla="*/ 195400 h 2092038"/>
              <a:gd name="csX88" fmla="*/ 445346 w 733006"/>
              <a:gd name="csY88" fmla="*/ 197582 h 2092038"/>
              <a:gd name="csX89" fmla="*/ 464798 w 733006"/>
              <a:gd name="csY89" fmla="*/ 174107 h 2092038"/>
              <a:gd name="csX90" fmla="*/ 489970 w 733006"/>
              <a:gd name="csY90" fmla="*/ 152208 h 2092038"/>
              <a:gd name="csX91" fmla="*/ 140694 w 733006"/>
              <a:gd name="csY91" fmla="*/ 201837 h 2092038"/>
              <a:gd name="csX92" fmla="*/ 139834 w 733006"/>
              <a:gd name="csY92" fmla="*/ 201482 h 2092038"/>
              <a:gd name="csX93" fmla="*/ 140812 w 733006"/>
              <a:gd name="csY93" fmla="*/ 204941 h 2092038"/>
              <a:gd name="csX94" fmla="*/ 144631 w 733006"/>
              <a:gd name="csY94" fmla="*/ 217811 h 2092038"/>
              <a:gd name="csX95" fmla="*/ 201241 w 733006"/>
              <a:gd name="csY95" fmla="*/ 373387 h 2092038"/>
              <a:gd name="csX96" fmla="*/ 235971 w 733006"/>
              <a:gd name="csY96" fmla="*/ 504451 h 2092038"/>
              <a:gd name="csX97" fmla="*/ 247475 w 733006"/>
              <a:gd name="csY97" fmla="*/ 513241 h 2092038"/>
              <a:gd name="csX98" fmla="*/ 289066 w 733006"/>
              <a:gd name="csY98" fmla="*/ 511170 h 2092038"/>
              <a:gd name="csX99" fmla="*/ 378229 w 733006"/>
              <a:gd name="csY99" fmla="*/ 511084 h 2092038"/>
              <a:gd name="csX100" fmla="*/ 470850 w 733006"/>
              <a:gd name="csY100" fmla="*/ 516341 h 2092038"/>
              <a:gd name="csX101" fmla="*/ 492933 w 733006"/>
              <a:gd name="csY101" fmla="*/ 497969 h 2092038"/>
              <a:gd name="csX102" fmla="*/ 557617 w 733006"/>
              <a:gd name="csY102" fmla="*/ 280398 h 2092038"/>
              <a:gd name="csX103" fmla="*/ 588788 w 733006"/>
              <a:gd name="csY103" fmla="*/ 200385 h 2092038"/>
              <a:gd name="csX104" fmla="*/ 530958 w 733006"/>
              <a:gd name="csY104" fmla="*/ 232968 h 2092038"/>
              <a:gd name="csX105" fmla="*/ 483823 w 733006"/>
              <a:gd name="csY105" fmla="*/ 190364 h 2092038"/>
              <a:gd name="csX106" fmla="*/ 466649 w 733006"/>
              <a:gd name="csY106" fmla="*/ 209061 h 2092038"/>
              <a:gd name="csX107" fmla="*/ 399941 w 733006"/>
              <a:gd name="csY107" fmla="*/ 216988 h 2092038"/>
              <a:gd name="csX108" fmla="*/ 363018 w 733006"/>
              <a:gd name="csY108" fmla="*/ 179615 h 2092038"/>
              <a:gd name="csX109" fmla="*/ 308839 w 733006"/>
              <a:gd name="csY109" fmla="*/ 227846 h 2092038"/>
              <a:gd name="csX110" fmla="*/ 245077 w 733006"/>
              <a:gd name="csY110" fmla="*/ 192402 h 2092038"/>
              <a:gd name="csX111" fmla="*/ 242829 w 733006"/>
              <a:gd name="csY111" fmla="*/ 198815 h 2092038"/>
              <a:gd name="csX112" fmla="*/ 168452 w 733006"/>
              <a:gd name="csY112" fmla="*/ 219348 h 2092038"/>
              <a:gd name="csX113" fmla="*/ 140694 w 733006"/>
              <a:gd name="csY113" fmla="*/ 201837 h 2092038"/>
              <a:gd name="csX114" fmla="*/ 259999 w 733006"/>
              <a:gd name="csY114" fmla="*/ 966699 h 2092038"/>
              <a:gd name="csX115" fmla="*/ 257072 w 733006"/>
              <a:gd name="csY115" fmla="*/ 1070424 h 2092038"/>
              <a:gd name="csX116" fmla="*/ 251372 w 733006"/>
              <a:gd name="csY116" fmla="*/ 1157618 h 2092038"/>
              <a:gd name="csX117" fmla="*/ 232677 w 733006"/>
              <a:gd name="csY117" fmla="*/ 1320279 h 2092038"/>
              <a:gd name="csX118" fmla="*/ 209182 w 733006"/>
              <a:gd name="csY118" fmla="*/ 1468667 h 2092038"/>
              <a:gd name="csX119" fmla="*/ 175302 w 733006"/>
              <a:gd name="csY119" fmla="*/ 1616623 h 2092038"/>
              <a:gd name="csX120" fmla="*/ 182769 w 733006"/>
              <a:gd name="csY120" fmla="*/ 1629786 h 2092038"/>
              <a:gd name="csX121" fmla="*/ 212156 w 733006"/>
              <a:gd name="csY121" fmla="*/ 1632656 h 2092038"/>
              <a:gd name="csX122" fmla="*/ 351295 w 733006"/>
              <a:gd name="csY122" fmla="*/ 1632801 h 2092038"/>
              <a:gd name="csX123" fmla="*/ 376150 w 733006"/>
              <a:gd name="csY123" fmla="*/ 1608307 h 2092038"/>
              <a:gd name="csX124" fmla="*/ 373450 w 733006"/>
              <a:gd name="csY124" fmla="*/ 1457291 h 2092038"/>
              <a:gd name="csX125" fmla="*/ 370936 w 733006"/>
              <a:gd name="csY125" fmla="*/ 1342736 h 2092038"/>
              <a:gd name="csX126" fmla="*/ 368328 w 733006"/>
              <a:gd name="csY126" fmla="*/ 1203878 h 2092038"/>
              <a:gd name="csX127" fmla="*/ 367836 w 733006"/>
              <a:gd name="csY127" fmla="*/ 813478 h 2092038"/>
              <a:gd name="csX128" fmla="*/ 365240 w 733006"/>
              <a:gd name="csY128" fmla="*/ 773243 h 2092038"/>
              <a:gd name="csX129" fmla="*/ 353084 w 733006"/>
              <a:gd name="csY129" fmla="*/ 762083 h 2092038"/>
              <a:gd name="csX130" fmla="*/ 280966 w 733006"/>
              <a:gd name="csY130" fmla="*/ 759855 h 2092038"/>
              <a:gd name="csX131" fmla="*/ 259965 w 733006"/>
              <a:gd name="csY131" fmla="*/ 779553 h 2092038"/>
              <a:gd name="csX132" fmla="*/ 262341 w 733006"/>
              <a:gd name="csY132" fmla="*/ 856275 h 2092038"/>
              <a:gd name="csX133" fmla="*/ 259999 w 733006"/>
              <a:gd name="csY133" fmla="*/ 966699 h 2092038"/>
              <a:gd name="csX134" fmla="*/ 55556 w 733006"/>
              <a:gd name="csY134" fmla="*/ 1835827 h 2092038"/>
              <a:gd name="csX135" fmla="*/ 49393 w 733006"/>
              <a:gd name="csY135" fmla="*/ 1878155 h 2092038"/>
              <a:gd name="csX136" fmla="*/ 73949 w 733006"/>
              <a:gd name="csY136" fmla="*/ 1905781 h 2092038"/>
              <a:gd name="csX137" fmla="*/ 110073 w 733006"/>
              <a:gd name="csY137" fmla="*/ 1909068 h 2092038"/>
              <a:gd name="csX138" fmla="*/ 224745 w 733006"/>
              <a:gd name="csY138" fmla="*/ 1921652 h 2092038"/>
              <a:gd name="csX139" fmla="*/ 347327 w 733006"/>
              <a:gd name="csY139" fmla="*/ 1924778 h 2092038"/>
              <a:gd name="csX140" fmla="*/ 363345 w 733006"/>
              <a:gd name="csY140" fmla="*/ 1923293 h 2092038"/>
              <a:gd name="csX141" fmla="*/ 373787 w 733006"/>
              <a:gd name="csY141" fmla="*/ 1911200 h 2092038"/>
              <a:gd name="csX142" fmla="*/ 376623 w 733006"/>
              <a:gd name="csY142" fmla="*/ 1696741 h 2092038"/>
              <a:gd name="csX143" fmla="*/ 360437 w 733006"/>
              <a:gd name="csY143" fmla="*/ 1681289 h 2092038"/>
              <a:gd name="csX144" fmla="*/ 263503 w 733006"/>
              <a:gd name="csY144" fmla="*/ 1678179 h 2092038"/>
              <a:gd name="csX145" fmla="*/ 160381 w 733006"/>
              <a:gd name="csY145" fmla="*/ 1670405 h 2092038"/>
              <a:gd name="csX146" fmla="*/ 143321 w 733006"/>
              <a:gd name="csY146" fmla="*/ 1685538 h 2092038"/>
              <a:gd name="csX147" fmla="*/ 124769 w 733006"/>
              <a:gd name="csY147" fmla="*/ 1738195 h 2092038"/>
              <a:gd name="csX148" fmla="*/ 90593 w 733006"/>
              <a:gd name="csY148" fmla="*/ 1779570 h 2092038"/>
              <a:gd name="csX149" fmla="*/ 55556 w 733006"/>
              <a:gd name="csY149" fmla="*/ 1835827 h 2092038"/>
              <a:gd name="csX150" fmla="*/ 378900 w 733006"/>
              <a:gd name="csY150" fmla="*/ 2007280 h 2092038"/>
              <a:gd name="csX151" fmla="*/ 378887 w 733006"/>
              <a:gd name="csY151" fmla="*/ 1995127 h 2092038"/>
              <a:gd name="csX152" fmla="*/ 359084 w 733006"/>
              <a:gd name="csY152" fmla="*/ 1975964 h 2092038"/>
              <a:gd name="csX153" fmla="*/ 247288 w 733006"/>
              <a:gd name="csY153" fmla="*/ 1973305 h 2092038"/>
              <a:gd name="csX154" fmla="*/ 201692 w 733006"/>
              <a:gd name="csY154" fmla="*/ 1970275 h 2092038"/>
              <a:gd name="csX155" fmla="*/ 57962 w 733006"/>
              <a:gd name="csY155" fmla="*/ 1952648 h 2092038"/>
              <a:gd name="csX156" fmla="*/ 39194 w 733006"/>
              <a:gd name="csY156" fmla="*/ 1963552 h 2092038"/>
              <a:gd name="csX157" fmla="*/ 30066 w 733006"/>
              <a:gd name="csY157" fmla="*/ 2006631 h 2092038"/>
              <a:gd name="csX158" fmla="*/ 40232 w 733006"/>
              <a:gd name="csY158" fmla="*/ 2019486 h 2092038"/>
              <a:gd name="csX159" fmla="*/ 238186 w 733006"/>
              <a:gd name="csY159" fmla="*/ 2046096 h 2092038"/>
              <a:gd name="csX160" fmla="*/ 342155 w 733006"/>
              <a:gd name="csY160" fmla="*/ 2046441 h 2092038"/>
              <a:gd name="csX161" fmla="*/ 378900 w 733006"/>
              <a:gd name="csY161" fmla="*/ 2007280 h 2092038"/>
              <a:gd name="csX162" fmla="*/ 310220 w 733006"/>
              <a:gd name="csY162" fmla="*/ 554288 h 2092038"/>
              <a:gd name="csX163" fmla="*/ 259136 w 733006"/>
              <a:gd name="csY163" fmla="*/ 556881 h 2092038"/>
              <a:gd name="csX164" fmla="*/ 249085 w 733006"/>
              <a:gd name="csY164" fmla="*/ 567981 h 2092038"/>
              <a:gd name="csX165" fmla="*/ 249141 w 733006"/>
              <a:gd name="csY165" fmla="*/ 605644 h 2092038"/>
              <a:gd name="csX166" fmla="*/ 262628 w 733006"/>
              <a:gd name="csY166" fmla="*/ 605627 h 2092038"/>
              <a:gd name="csX167" fmla="*/ 369608 w 733006"/>
              <a:gd name="csY167" fmla="*/ 603027 h 2092038"/>
              <a:gd name="csX168" fmla="*/ 463931 w 733006"/>
              <a:gd name="csY168" fmla="*/ 605146 h 2092038"/>
              <a:gd name="csX169" fmla="*/ 478113 w 733006"/>
              <a:gd name="csY169" fmla="*/ 595843 h 2092038"/>
              <a:gd name="csX170" fmla="*/ 478796 w 733006"/>
              <a:gd name="csY170" fmla="*/ 556832 h 2092038"/>
              <a:gd name="csX171" fmla="*/ 310220 w 733006"/>
              <a:gd name="csY171" fmla="*/ 554288 h 2092038"/>
              <a:gd name="csX172" fmla="*/ 348836 w 733006"/>
              <a:gd name="csY172" fmla="*/ 684115 h 2092038"/>
              <a:gd name="csX173" fmla="*/ 281333 w 733006"/>
              <a:gd name="csY173" fmla="*/ 683313 h 2092038"/>
              <a:gd name="csX174" fmla="*/ 212728 w 733006"/>
              <a:gd name="csY174" fmla="*/ 681931 h 2092038"/>
              <a:gd name="csX175" fmla="*/ 187283 w 733006"/>
              <a:gd name="csY175" fmla="*/ 689555 h 2092038"/>
              <a:gd name="csX176" fmla="*/ 186163 w 733006"/>
              <a:gd name="csY176" fmla="*/ 718266 h 2092038"/>
              <a:gd name="csX177" fmla="*/ 209894 w 733006"/>
              <a:gd name="csY177" fmla="*/ 726798 h 2092038"/>
              <a:gd name="csX178" fmla="*/ 334814 w 733006"/>
              <a:gd name="csY178" fmla="*/ 732494 h 2092038"/>
              <a:gd name="csX179" fmla="*/ 364856 w 733006"/>
              <a:gd name="csY179" fmla="*/ 707963 h 2092038"/>
              <a:gd name="csX180" fmla="*/ 348836 w 733006"/>
              <a:gd name="csY180" fmla="*/ 684115 h 2092038"/>
              <a:gd name="csX181" fmla="*/ 298865 w 733006"/>
              <a:gd name="csY181" fmla="*/ 621954 h 2092038"/>
              <a:gd name="csX182" fmla="*/ 251619 w 733006"/>
              <a:gd name="csY182" fmla="*/ 622133 h 2092038"/>
              <a:gd name="csX183" fmla="*/ 214459 w 733006"/>
              <a:gd name="csY183" fmla="*/ 636230 h 2092038"/>
              <a:gd name="csX184" fmla="*/ 221436 w 733006"/>
              <a:gd name="csY184" fmla="*/ 654205 h 2092038"/>
              <a:gd name="csX185" fmla="*/ 272412 w 733006"/>
              <a:gd name="csY185" fmla="*/ 657250 h 2092038"/>
              <a:gd name="csX186" fmla="*/ 349094 w 733006"/>
              <a:gd name="csY186" fmla="*/ 659282 h 2092038"/>
              <a:gd name="csX187" fmla="*/ 362996 w 733006"/>
              <a:gd name="csY187" fmla="*/ 644234 h 2092038"/>
              <a:gd name="csX188" fmla="*/ 348472 w 733006"/>
              <a:gd name="csY188" fmla="*/ 624649 h 2092038"/>
              <a:gd name="csX189" fmla="*/ 298865 w 733006"/>
              <a:gd name="csY189" fmla="*/ 621954 h 2092038"/>
              <a:gd name="csX190" fmla="*/ 227796 w 733006"/>
              <a:gd name="csY190" fmla="*/ 528000 h 2092038"/>
              <a:gd name="csX191" fmla="*/ 241009 w 733006"/>
              <a:gd name="csY191" fmla="*/ 545897 h 2092038"/>
              <a:gd name="csX192" fmla="*/ 282607 w 733006"/>
              <a:gd name="csY192" fmla="*/ 543480 h 2092038"/>
              <a:gd name="csX193" fmla="*/ 354213 w 733006"/>
              <a:gd name="csY193" fmla="*/ 543384 h 2092038"/>
              <a:gd name="csX194" fmla="*/ 365334 w 733006"/>
              <a:gd name="csY194" fmla="*/ 533397 h 2092038"/>
              <a:gd name="csX195" fmla="*/ 354531 w 733006"/>
              <a:gd name="csY195" fmla="*/ 521620 h 2092038"/>
              <a:gd name="csX196" fmla="*/ 259169 w 733006"/>
              <a:gd name="csY196" fmla="*/ 521978 h 2092038"/>
              <a:gd name="csX197" fmla="*/ 227796 w 733006"/>
              <a:gd name="csY197" fmla="*/ 528000 h 2092038"/>
              <a:gd name="csX198" fmla="*/ 508068 w 733006"/>
              <a:gd name="csY198" fmla="*/ 190710 h 2092038"/>
              <a:gd name="csX199" fmla="*/ 521293 w 733006"/>
              <a:gd name="csY199" fmla="*/ 205907 h 2092038"/>
              <a:gd name="csX200" fmla="*/ 525175 w 733006"/>
              <a:gd name="csY200" fmla="*/ 202985 h 2092038"/>
              <a:gd name="csX201" fmla="*/ 500276 w 733006"/>
              <a:gd name="csY201" fmla="*/ 160640 h 2092038"/>
              <a:gd name="csX202" fmla="*/ 497122 w 733006"/>
              <a:gd name="csY202" fmla="*/ 162007 h 2092038"/>
              <a:gd name="csX203" fmla="*/ 508068 w 733006"/>
              <a:gd name="csY203" fmla="*/ 190710 h 2092038"/>
              <a:gd name="csX204" fmla="*/ 215522 w 733006"/>
              <a:gd name="csY204" fmla="*/ 197296 h 2092038"/>
              <a:gd name="csX205" fmla="*/ 234029 w 733006"/>
              <a:gd name="csY205" fmla="*/ 162725 h 2092038"/>
              <a:gd name="csX206" fmla="*/ 229000 w 733006"/>
              <a:gd name="csY206" fmla="*/ 159902 h 2092038"/>
              <a:gd name="csX207" fmla="*/ 204824 w 733006"/>
              <a:gd name="csY207" fmla="*/ 199677 h 2092038"/>
              <a:gd name="csX208" fmla="*/ 207990 w 733006"/>
              <a:gd name="csY208" fmla="*/ 202198 h 2092038"/>
              <a:gd name="csX209" fmla="*/ 215522 w 733006"/>
              <a:gd name="csY209" fmla="*/ 197296 h 2092038"/>
              <a:gd name="csX210" fmla="*/ 484400 w 733006"/>
              <a:gd name="csY210" fmla="*/ 896678 h 2092038"/>
              <a:gd name="csX211" fmla="*/ 486181 w 733006"/>
              <a:gd name="csY211" fmla="*/ 896585 h 209203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  <a:cxn ang="0">
                <a:pos x="csX170" y="csY170"/>
              </a:cxn>
              <a:cxn ang="0">
                <a:pos x="csX171" y="csY171"/>
              </a:cxn>
              <a:cxn ang="0">
                <a:pos x="csX172" y="csY172"/>
              </a:cxn>
              <a:cxn ang="0">
                <a:pos x="csX173" y="csY173"/>
              </a:cxn>
              <a:cxn ang="0">
                <a:pos x="csX174" y="csY174"/>
              </a:cxn>
              <a:cxn ang="0">
                <a:pos x="csX175" y="csY175"/>
              </a:cxn>
              <a:cxn ang="0">
                <a:pos x="csX176" y="csY176"/>
              </a:cxn>
              <a:cxn ang="0">
                <a:pos x="csX177" y="csY177"/>
              </a:cxn>
              <a:cxn ang="0">
                <a:pos x="csX178" y="csY178"/>
              </a:cxn>
              <a:cxn ang="0">
                <a:pos x="csX179" y="csY179"/>
              </a:cxn>
              <a:cxn ang="0">
                <a:pos x="csX180" y="csY180"/>
              </a:cxn>
              <a:cxn ang="0">
                <a:pos x="csX181" y="csY181"/>
              </a:cxn>
              <a:cxn ang="0">
                <a:pos x="csX182" y="csY182"/>
              </a:cxn>
              <a:cxn ang="0">
                <a:pos x="csX183" y="csY183"/>
              </a:cxn>
              <a:cxn ang="0">
                <a:pos x="csX184" y="csY184"/>
              </a:cxn>
              <a:cxn ang="0">
                <a:pos x="csX185" y="csY185"/>
              </a:cxn>
              <a:cxn ang="0">
                <a:pos x="csX186" y="csY186"/>
              </a:cxn>
              <a:cxn ang="0">
                <a:pos x="csX187" y="csY187"/>
              </a:cxn>
              <a:cxn ang="0">
                <a:pos x="csX188" y="csY188"/>
              </a:cxn>
              <a:cxn ang="0">
                <a:pos x="csX189" y="csY189"/>
              </a:cxn>
              <a:cxn ang="0">
                <a:pos x="csX190" y="csY190"/>
              </a:cxn>
              <a:cxn ang="0">
                <a:pos x="csX191" y="csY191"/>
              </a:cxn>
              <a:cxn ang="0">
                <a:pos x="csX192" y="csY192"/>
              </a:cxn>
              <a:cxn ang="0">
                <a:pos x="csX193" y="csY193"/>
              </a:cxn>
              <a:cxn ang="0">
                <a:pos x="csX194" y="csY194"/>
              </a:cxn>
              <a:cxn ang="0">
                <a:pos x="csX195" y="csY195"/>
              </a:cxn>
              <a:cxn ang="0">
                <a:pos x="csX196" y="csY196"/>
              </a:cxn>
              <a:cxn ang="0">
                <a:pos x="csX197" y="csY197"/>
              </a:cxn>
              <a:cxn ang="0">
                <a:pos x="csX198" y="csY198"/>
              </a:cxn>
              <a:cxn ang="0">
                <a:pos x="csX199" y="csY199"/>
              </a:cxn>
              <a:cxn ang="0">
                <a:pos x="csX200" y="csY200"/>
              </a:cxn>
              <a:cxn ang="0">
                <a:pos x="csX201" y="csY201"/>
              </a:cxn>
              <a:cxn ang="0">
                <a:pos x="csX202" y="csY202"/>
              </a:cxn>
              <a:cxn ang="0">
                <a:pos x="csX203" y="csY203"/>
              </a:cxn>
              <a:cxn ang="0">
                <a:pos x="csX204" y="csY204"/>
              </a:cxn>
              <a:cxn ang="0">
                <a:pos x="csX205" y="csY205"/>
              </a:cxn>
              <a:cxn ang="0">
                <a:pos x="csX206" y="csY206"/>
              </a:cxn>
              <a:cxn ang="0">
                <a:pos x="csX207" y="csY207"/>
              </a:cxn>
              <a:cxn ang="0">
                <a:pos x="csX208" y="csY208"/>
              </a:cxn>
              <a:cxn ang="0">
                <a:pos x="csX209" y="csY209"/>
              </a:cxn>
              <a:cxn ang="0">
                <a:pos x="csX210" y="csY210"/>
              </a:cxn>
              <a:cxn ang="0">
                <a:pos x="csX211" y="csY211"/>
              </a:cxn>
            </a:cxnLst>
            <a:rect l="l" t="t" r="r" b="b"/>
            <a:pathLst>
              <a:path w="733006" h="2092038">
                <a:moveTo>
                  <a:pt x="96263" y="2076207"/>
                </a:moveTo>
                <a:cubicBezTo>
                  <a:pt x="84622" y="2072588"/>
                  <a:pt x="74304" y="2068797"/>
                  <a:pt x="63862" y="2065388"/>
                </a:cubicBezTo>
                <a:cubicBezTo>
                  <a:pt x="48109" y="2060246"/>
                  <a:pt x="32006" y="2056058"/>
                  <a:pt x="16555" y="2050152"/>
                </a:cubicBezTo>
                <a:cubicBezTo>
                  <a:pt x="5209" y="2045814"/>
                  <a:pt x="-330" y="2037145"/>
                  <a:pt x="15" y="2023802"/>
                </a:cubicBezTo>
                <a:cubicBezTo>
                  <a:pt x="765" y="1994802"/>
                  <a:pt x="4044" y="1967023"/>
                  <a:pt x="18368" y="1940709"/>
                </a:cubicBezTo>
                <a:cubicBezTo>
                  <a:pt x="23362" y="1931533"/>
                  <a:pt x="23064" y="1918361"/>
                  <a:pt x="22139" y="1907268"/>
                </a:cubicBezTo>
                <a:cubicBezTo>
                  <a:pt x="18065" y="1858417"/>
                  <a:pt x="26015" y="1813128"/>
                  <a:pt x="57941" y="1774163"/>
                </a:cubicBezTo>
                <a:cubicBezTo>
                  <a:pt x="72712" y="1756135"/>
                  <a:pt x="88476" y="1738872"/>
                  <a:pt x="102478" y="1720275"/>
                </a:cubicBezTo>
                <a:cubicBezTo>
                  <a:pt x="118580" y="1698889"/>
                  <a:pt x="125626" y="1676081"/>
                  <a:pt x="108579" y="1650967"/>
                </a:cubicBezTo>
                <a:cubicBezTo>
                  <a:pt x="101716" y="1640856"/>
                  <a:pt x="106464" y="1629113"/>
                  <a:pt x="115628" y="1625405"/>
                </a:cubicBezTo>
                <a:cubicBezTo>
                  <a:pt x="145731" y="1613224"/>
                  <a:pt x="150205" y="1585698"/>
                  <a:pt x="156323" y="1560181"/>
                </a:cubicBezTo>
                <a:cubicBezTo>
                  <a:pt x="171878" y="1495304"/>
                  <a:pt x="187443" y="1430322"/>
                  <a:pt x="199424" y="1364729"/>
                </a:cubicBezTo>
                <a:cubicBezTo>
                  <a:pt x="208169" y="1316855"/>
                  <a:pt x="211328" y="1267955"/>
                  <a:pt x="216779" y="1219490"/>
                </a:cubicBezTo>
                <a:cubicBezTo>
                  <a:pt x="221281" y="1179465"/>
                  <a:pt x="225637" y="1139423"/>
                  <a:pt x="229755" y="1099357"/>
                </a:cubicBezTo>
                <a:cubicBezTo>
                  <a:pt x="231222" y="1085094"/>
                  <a:pt x="232195" y="1070753"/>
                  <a:pt x="232707" y="1056423"/>
                </a:cubicBezTo>
                <a:cubicBezTo>
                  <a:pt x="233940" y="1021849"/>
                  <a:pt x="235378" y="987264"/>
                  <a:pt x="235622" y="952675"/>
                </a:cubicBezTo>
                <a:cubicBezTo>
                  <a:pt x="236027" y="895212"/>
                  <a:pt x="235593" y="837744"/>
                  <a:pt x="235445" y="780278"/>
                </a:cubicBezTo>
                <a:cubicBezTo>
                  <a:pt x="235394" y="760454"/>
                  <a:pt x="234309" y="760517"/>
                  <a:pt x="214544" y="756435"/>
                </a:cubicBezTo>
                <a:cubicBezTo>
                  <a:pt x="200172" y="753466"/>
                  <a:pt x="185446" y="749377"/>
                  <a:pt x="172569" y="742582"/>
                </a:cubicBezTo>
                <a:cubicBezTo>
                  <a:pt x="144482" y="727762"/>
                  <a:pt x="142615" y="693725"/>
                  <a:pt x="168784" y="669116"/>
                </a:cubicBezTo>
                <a:cubicBezTo>
                  <a:pt x="180480" y="658118"/>
                  <a:pt x="190377" y="648461"/>
                  <a:pt x="191657" y="630765"/>
                </a:cubicBezTo>
                <a:cubicBezTo>
                  <a:pt x="192214" y="623073"/>
                  <a:pt x="200977" y="614427"/>
                  <a:pt x="208150" y="609084"/>
                </a:cubicBezTo>
                <a:cubicBezTo>
                  <a:pt x="222906" y="598094"/>
                  <a:pt x="228637" y="573234"/>
                  <a:pt x="216756" y="558673"/>
                </a:cubicBezTo>
                <a:cubicBezTo>
                  <a:pt x="207342" y="547135"/>
                  <a:pt x="206480" y="536349"/>
                  <a:pt x="209092" y="521540"/>
                </a:cubicBezTo>
                <a:cubicBezTo>
                  <a:pt x="211760" y="506404"/>
                  <a:pt x="207878" y="489633"/>
                  <a:pt x="204683" y="474024"/>
                </a:cubicBezTo>
                <a:cubicBezTo>
                  <a:pt x="186129" y="383394"/>
                  <a:pt x="153540" y="297499"/>
                  <a:pt x="115483" y="213499"/>
                </a:cubicBezTo>
                <a:cubicBezTo>
                  <a:pt x="110852" y="203278"/>
                  <a:pt x="105956" y="193025"/>
                  <a:pt x="102909" y="182297"/>
                </a:cubicBezTo>
                <a:cubicBezTo>
                  <a:pt x="101269" y="176526"/>
                  <a:pt x="100978" y="167554"/>
                  <a:pt x="104315" y="163968"/>
                </a:cubicBezTo>
                <a:cubicBezTo>
                  <a:pt x="107766" y="160259"/>
                  <a:pt x="117669" y="158539"/>
                  <a:pt x="122444" y="160805"/>
                </a:cubicBezTo>
                <a:cubicBezTo>
                  <a:pt x="138944" y="168636"/>
                  <a:pt x="154489" y="178499"/>
                  <a:pt x="170283" y="187783"/>
                </a:cubicBezTo>
                <a:cubicBezTo>
                  <a:pt x="174481" y="190250"/>
                  <a:pt x="178270" y="193414"/>
                  <a:pt x="180938" y="195322"/>
                </a:cubicBezTo>
                <a:cubicBezTo>
                  <a:pt x="194562" y="175763"/>
                  <a:pt x="206327" y="155469"/>
                  <a:pt x="221419" y="138058"/>
                </a:cubicBezTo>
                <a:cubicBezTo>
                  <a:pt x="240743" y="115763"/>
                  <a:pt x="265109" y="99467"/>
                  <a:pt x="294099" y="91372"/>
                </a:cubicBezTo>
                <a:cubicBezTo>
                  <a:pt x="302124" y="89131"/>
                  <a:pt x="305271" y="84852"/>
                  <a:pt x="302307" y="76560"/>
                </a:cubicBezTo>
                <a:cubicBezTo>
                  <a:pt x="292733" y="49783"/>
                  <a:pt x="299732" y="27331"/>
                  <a:pt x="320284" y="8414"/>
                </a:cubicBezTo>
                <a:cubicBezTo>
                  <a:pt x="322179" y="6669"/>
                  <a:pt x="323302" y="4085"/>
                  <a:pt x="324784" y="946"/>
                </a:cubicBezTo>
                <a:cubicBezTo>
                  <a:pt x="349171" y="0"/>
                  <a:pt x="373558" y="0"/>
                  <a:pt x="399212" y="0"/>
                </a:cubicBezTo>
                <a:cubicBezTo>
                  <a:pt x="426476" y="20404"/>
                  <a:pt x="437031" y="45903"/>
                  <a:pt x="425980" y="78301"/>
                </a:cubicBezTo>
                <a:cubicBezTo>
                  <a:pt x="423801" y="84690"/>
                  <a:pt x="424928" y="88239"/>
                  <a:pt x="431861" y="90312"/>
                </a:cubicBezTo>
                <a:cubicBezTo>
                  <a:pt x="483382" y="105720"/>
                  <a:pt x="518342" y="139660"/>
                  <a:pt x="540349" y="187946"/>
                </a:cubicBezTo>
                <a:cubicBezTo>
                  <a:pt x="541642" y="190784"/>
                  <a:pt x="543251" y="193478"/>
                  <a:pt x="545555" y="197828"/>
                </a:cubicBezTo>
                <a:lnTo>
                  <a:pt x="587318" y="171260"/>
                </a:lnTo>
                <a:cubicBezTo>
                  <a:pt x="591878" y="168403"/>
                  <a:pt x="596472" y="164665"/>
                  <a:pt x="601503" y="163707"/>
                </a:cubicBezTo>
                <a:cubicBezTo>
                  <a:pt x="609371" y="162208"/>
                  <a:pt x="619646" y="159555"/>
                  <a:pt x="625254" y="163123"/>
                </a:cubicBezTo>
                <a:cubicBezTo>
                  <a:pt x="634332" y="168899"/>
                  <a:pt x="629055" y="179274"/>
                  <a:pt x="625468" y="187579"/>
                </a:cubicBezTo>
                <a:cubicBezTo>
                  <a:pt x="616205" y="209030"/>
                  <a:pt x="606562" y="230320"/>
                  <a:pt x="597543" y="251872"/>
                </a:cubicBezTo>
                <a:cubicBezTo>
                  <a:pt x="571520" y="314052"/>
                  <a:pt x="547757" y="377046"/>
                  <a:pt x="531831" y="442689"/>
                </a:cubicBezTo>
                <a:cubicBezTo>
                  <a:pt x="527117" y="462116"/>
                  <a:pt x="522945" y="481733"/>
                  <a:pt x="519888" y="501474"/>
                </a:cubicBezTo>
                <a:cubicBezTo>
                  <a:pt x="518711" y="509073"/>
                  <a:pt x="520088" y="517665"/>
                  <a:pt x="522506" y="525086"/>
                </a:cubicBezTo>
                <a:cubicBezTo>
                  <a:pt x="526398" y="537038"/>
                  <a:pt x="525185" y="546687"/>
                  <a:pt x="516235" y="555946"/>
                </a:cubicBezTo>
                <a:cubicBezTo>
                  <a:pt x="498902" y="573877"/>
                  <a:pt x="501328" y="596490"/>
                  <a:pt x="521332" y="610676"/>
                </a:cubicBezTo>
                <a:cubicBezTo>
                  <a:pt x="532355" y="618492"/>
                  <a:pt x="539977" y="628449"/>
                  <a:pt x="541382" y="642597"/>
                </a:cubicBezTo>
                <a:cubicBezTo>
                  <a:pt x="542451" y="653366"/>
                  <a:pt x="548191" y="661148"/>
                  <a:pt x="557031" y="667949"/>
                </a:cubicBezTo>
                <a:cubicBezTo>
                  <a:pt x="583453" y="688277"/>
                  <a:pt x="588691" y="725427"/>
                  <a:pt x="553994" y="744146"/>
                </a:cubicBezTo>
                <a:cubicBezTo>
                  <a:pt x="540107" y="751637"/>
                  <a:pt x="523756" y="754889"/>
                  <a:pt x="508215" y="758841"/>
                </a:cubicBezTo>
                <a:cubicBezTo>
                  <a:pt x="500805" y="760726"/>
                  <a:pt x="497665" y="763405"/>
                  <a:pt x="497442" y="771256"/>
                </a:cubicBezTo>
                <a:cubicBezTo>
                  <a:pt x="496012" y="821532"/>
                  <a:pt x="492028" y="871838"/>
                  <a:pt x="493005" y="922055"/>
                </a:cubicBezTo>
                <a:cubicBezTo>
                  <a:pt x="494253" y="986140"/>
                  <a:pt x="499320" y="1050155"/>
                  <a:pt x="502900" y="1114191"/>
                </a:cubicBezTo>
                <a:cubicBezTo>
                  <a:pt x="504603" y="1144637"/>
                  <a:pt x="505797" y="1175148"/>
                  <a:pt x="508800" y="1205474"/>
                </a:cubicBezTo>
                <a:cubicBezTo>
                  <a:pt x="512592" y="1243768"/>
                  <a:pt x="516901" y="1282076"/>
                  <a:pt x="522952" y="1320065"/>
                </a:cubicBezTo>
                <a:cubicBezTo>
                  <a:pt x="532594" y="1380596"/>
                  <a:pt x="543267" y="1440980"/>
                  <a:pt x="554682" y="1501203"/>
                </a:cubicBezTo>
                <a:cubicBezTo>
                  <a:pt x="560600" y="1532428"/>
                  <a:pt x="568175" y="1563425"/>
                  <a:pt x="576958" y="1593963"/>
                </a:cubicBezTo>
                <a:cubicBezTo>
                  <a:pt x="579170" y="1601655"/>
                  <a:pt x="588378" y="1607829"/>
                  <a:pt x="595349" y="1613498"/>
                </a:cubicBezTo>
                <a:cubicBezTo>
                  <a:pt x="600799" y="1617931"/>
                  <a:pt x="608289" y="1619804"/>
                  <a:pt x="613936" y="1624058"/>
                </a:cubicBezTo>
                <a:cubicBezTo>
                  <a:pt x="623433" y="1631212"/>
                  <a:pt x="627187" y="1639642"/>
                  <a:pt x="620938" y="1652071"/>
                </a:cubicBezTo>
                <a:cubicBezTo>
                  <a:pt x="606287" y="1681209"/>
                  <a:pt x="609918" y="1697027"/>
                  <a:pt x="630805" y="1721702"/>
                </a:cubicBezTo>
                <a:cubicBezTo>
                  <a:pt x="650178" y="1744588"/>
                  <a:pt x="669167" y="1768040"/>
                  <a:pt x="685830" y="1792915"/>
                </a:cubicBezTo>
                <a:cubicBezTo>
                  <a:pt x="705320" y="1822011"/>
                  <a:pt x="711650" y="1855198"/>
                  <a:pt x="708904" y="1890290"/>
                </a:cubicBezTo>
                <a:cubicBezTo>
                  <a:pt x="707288" y="1910935"/>
                  <a:pt x="700766" y="1942639"/>
                  <a:pt x="716580" y="1951136"/>
                </a:cubicBezTo>
                <a:cubicBezTo>
                  <a:pt x="724392" y="1976483"/>
                  <a:pt x="727122" y="2003652"/>
                  <a:pt x="729397" y="2030261"/>
                </a:cubicBezTo>
                <a:cubicBezTo>
                  <a:pt x="729925" y="2036427"/>
                  <a:pt x="743534" y="2056174"/>
                  <a:pt x="714212" y="2059069"/>
                </a:cubicBezTo>
                <a:cubicBezTo>
                  <a:pt x="561064" y="2100066"/>
                  <a:pt x="334540" y="2099227"/>
                  <a:pt x="96263" y="2076207"/>
                </a:cubicBezTo>
                <a:moveTo>
                  <a:pt x="489970" y="152208"/>
                </a:moveTo>
                <a:lnTo>
                  <a:pt x="490754" y="152592"/>
                </a:lnTo>
                <a:cubicBezTo>
                  <a:pt x="490404" y="152187"/>
                  <a:pt x="490054" y="151782"/>
                  <a:pt x="489489" y="149547"/>
                </a:cubicBezTo>
                <a:cubicBezTo>
                  <a:pt x="463400" y="121956"/>
                  <a:pt x="429823" y="108227"/>
                  <a:pt x="393621" y="99259"/>
                </a:cubicBezTo>
                <a:cubicBezTo>
                  <a:pt x="416086" y="61028"/>
                  <a:pt x="414929" y="37233"/>
                  <a:pt x="390419" y="18568"/>
                </a:cubicBezTo>
                <a:cubicBezTo>
                  <a:pt x="373896" y="5985"/>
                  <a:pt x="349634" y="8467"/>
                  <a:pt x="334131" y="24327"/>
                </a:cubicBezTo>
                <a:cubicBezTo>
                  <a:pt x="312288" y="46673"/>
                  <a:pt x="314608" y="63885"/>
                  <a:pt x="344678" y="101259"/>
                </a:cubicBezTo>
                <a:cubicBezTo>
                  <a:pt x="329276" y="105420"/>
                  <a:pt x="313421" y="108117"/>
                  <a:pt x="298854" y="114003"/>
                </a:cubicBezTo>
                <a:cubicBezTo>
                  <a:pt x="276159" y="123172"/>
                  <a:pt x="253379" y="133071"/>
                  <a:pt x="237456" y="154340"/>
                </a:cubicBezTo>
                <a:cubicBezTo>
                  <a:pt x="237723" y="154250"/>
                  <a:pt x="237990" y="154159"/>
                  <a:pt x="240382" y="154035"/>
                </a:cubicBezTo>
                <a:cubicBezTo>
                  <a:pt x="252637" y="152964"/>
                  <a:pt x="257233" y="162164"/>
                  <a:pt x="262731" y="170426"/>
                </a:cubicBezTo>
                <a:cubicBezTo>
                  <a:pt x="267919" y="178225"/>
                  <a:pt x="272568" y="186734"/>
                  <a:pt x="279169" y="193173"/>
                </a:cubicBezTo>
                <a:cubicBezTo>
                  <a:pt x="294554" y="208182"/>
                  <a:pt x="315173" y="206011"/>
                  <a:pt x="327717" y="188556"/>
                </a:cubicBezTo>
                <a:cubicBezTo>
                  <a:pt x="335023" y="178390"/>
                  <a:pt x="341313" y="167493"/>
                  <a:pt x="348052" y="156919"/>
                </a:cubicBezTo>
                <a:cubicBezTo>
                  <a:pt x="360173" y="137899"/>
                  <a:pt x="367728" y="137921"/>
                  <a:pt x="380330" y="156483"/>
                </a:cubicBezTo>
                <a:cubicBezTo>
                  <a:pt x="389331" y="169741"/>
                  <a:pt x="397761" y="183648"/>
                  <a:pt x="408490" y="195400"/>
                </a:cubicBezTo>
                <a:cubicBezTo>
                  <a:pt x="419907" y="207908"/>
                  <a:pt x="432311" y="208318"/>
                  <a:pt x="445346" y="197582"/>
                </a:cubicBezTo>
                <a:cubicBezTo>
                  <a:pt x="453059" y="191228"/>
                  <a:pt x="458941" y="182413"/>
                  <a:pt x="464798" y="174107"/>
                </a:cubicBezTo>
                <a:cubicBezTo>
                  <a:pt x="471492" y="164615"/>
                  <a:pt x="476269" y="153399"/>
                  <a:pt x="489970" y="152208"/>
                </a:cubicBezTo>
                <a:moveTo>
                  <a:pt x="140694" y="201837"/>
                </a:moveTo>
                <a:lnTo>
                  <a:pt x="139834" y="201482"/>
                </a:lnTo>
                <a:cubicBezTo>
                  <a:pt x="140167" y="201940"/>
                  <a:pt x="140499" y="202398"/>
                  <a:pt x="140812" y="204941"/>
                </a:cubicBezTo>
                <a:cubicBezTo>
                  <a:pt x="142073" y="209235"/>
                  <a:pt x="143094" y="213618"/>
                  <a:pt x="144631" y="217811"/>
                </a:cubicBezTo>
                <a:cubicBezTo>
                  <a:pt x="163630" y="269630"/>
                  <a:pt x="184359" y="320889"/>
                  <a:pt x="201241" y="373387"/>
                </a:cubicBezTo>
                <a:cubicBezTo>
                  <a:pt x="215057" y="416348"/>
                  <a:pt x="224086" y="460838"/>
                  <a:pt x="235971" y="504451"/>
                </a:cubicBezTo>
                <a:cubicBezTo>
                  <a:pt x="237017" y="508291"/>
                  <a:pt x="243450" y="513153"/>
                  <a:pt x="247475" y="513241"/>
                </a:cubicBezTo>
                <a:cubicBezTo>
                  <a:pt x="261316" y="513543"/>
                  <a:pt x="275190" y="511373"/>
                  <a:pt x="289066" y="511170"/>
                </a:cubicBezTo>
                <a:cubicBezTo>
                  <a:pt x="318784" y="510736"/>
                  <a:pt x="348532" y="510226"/>
                  <a:pt x="378229" y="511084"/>
                </a:cubicBezTo>
                <a:cubicBezTo>
                  <a:pt x="409129" y="511977"/>
                  <a:pt x="440005" y="514145"/>
                  <a:pt x="470850" y="516341"/>
                </a:cubicBezTo>
                <a:cubicBezTo>
                  <a:pt x="488515" y="517598"/>
                  <a:pt x="488581" y="517383"/>
                  <a:pt x="492933" y="497969"/>
                </a:cubicBezTo>
                <a:cubicBezTo>
                  <a:pt x="509517" y="423981"/>
                  <a:pt x="529141" y="350878"/>
                  <a:pt x="557617" y="280398"/>
                </a:cubicBezTo>
                <a:cubicBezTo>
                  <a:pt x="568115" y="254415"/>
                  <a:pt x="577983" y="228177"/>
                  <a:pt x="588788" y="200385"/>
                </a:cubicBezTo>
                <a:cubicBezTo>
                  <a:pt x="568882" y="211746"/>
                  <a:pt x="556897" y="233442"/>
                  <a:pt x="530958" y="232968"/>
                </a:cubicBezTo>
                <a:cubicBezTo>
                  <a:pt x="501919" y="232437"/>
                  <a:pt x="492615" y="212474"/>
                  <a:pt x="483823" y="190364"/>
                </a:cubicBezTo>
                <a:cubicBezTo>
                  <a:pt x="477516" y="197154"/>
                  <a:pt x="471372" y="202589"/>
                  <a:pt x="466649" y="209061"/>
                </a:cubicBezTo>
                <a:cubicBezTo>
                  <a:pt x="449398" y="232702"/>
                  <a:pt x="420396" y="235708"/>
                  <a:pt x="399941" y="216988"/>
                </a:cubicBezTo>
                <a:cubicBezTo>
                  <a:pt x="387278" y="205398"/>
                  <a:pt x="375741" y="192577"/>
                  <a:pt x="363018" y="179615"/>
                </a:cubicBezTo>
                <a:cubicBezTo>
                  <a:pt x="350255" y="200356"/>
                  <a:pt x="336990" y="223707"/>
                  <a:pt x="308839" y="227846"/>
                </a:cubicBezTo>
                <a:cubicBezTo>
                  <a:pt x="280122" y="232067"/>
                  <a:pt x="262039" y="213088"/>
                  <a:pt x="245077" y="192402"/>
                </a:cubicBezTo>
                <a:cubicBezTo>
                  <a:pt x="244011" y="195470"/>
                  <a:pt x="243549" y="197200"/>
                  <a:pt x="242829" y="198815"/>
                </a:cubicBezTo>
                <a:cubicBezTo>
                  <a:pt x="227987" y="232132"/>
                  <a:pt x="198552" y="240117"/>
                  <a:pt x="168452" y="219348"/>
                </a:cubicBezTo>
                <a:cubicBezTo>
                  <a:pt x="159660" y="213282"/>
                  <a:pt x="150196" y="208189"/>
                  <a:pt x="140694" y="201837"/>
                </a:cubicBezTo>
                <a:moveTo>
                  <a:pt x="259999" y="966699"/>
                </a:moveTo>
                <a:cubicBezTo>
                  <a:pt x="259066" y="1001276"/>
                  <a:pt x="258555" y="1035871"/>
                  <a:pt x="257072" y="1070424"/>
                </a:cubicBezTo>
                <a:cubicBezTo>
                  <a:pt x="255822" y="1099520"/>
                  <a:pt x="254332" y="1128659"/>
                  <a:pt x="251372" y="1157618"/>
                </a:cubicBezTo>
                <a:cubicBezTo>
                  <a:pt x="245822" y="1211910"/>
                  <a:pt x="239941" y="1266195"/>
                  <a:pt x="232677" y="1320279"/>
                </a:cubicBezTo>
                <a:cubicBezTo>
                  <a:pt x="226012" y="1369906"/>
                  <a:pt x="218692" y="1419525"/>
                  <a:pt x="209182" y="1468667"/>
                </a:cubicBezTo>
                <a:cubicBezTo>
                  <a:pt x="199574" y="1518317"/>
                  <a:pt x="187234" y="1567453"/>
                  <a:pt x="175302" y="1616623"/>
                </a:cubicBezTo>
                <a:cubicBezTo>
                  <a:pt x="173247" y="1625091"/>
                  <a:pt x="175038" y="1628715"/>
                  <a:pt x="182769" y="1629786"/>
                </a:cubicBezTo>
                <a:cubicBezTo>
                  <a:pt x="192516" y="1631137"/>
                  <a:pt x="202351" y="1632591"/>
                  <a:pt x="212156" y="1632656"/>
                </a:cubicBezTo>
                <a:lnTo>
                  <a:pt x="351295" y="1632801"/>
                </a:lnTo>
                <a:cubicBezTo>
                  <a:pt x="371086" y="1632783"/>
                  <a:pt x="376419" y="1627831"/>
                  <a:pt x="376150" y="1608307"/>
                </a:cubicBezTo>
                <a:cubicBezTo>
                  <a:pt x="375456" y="1557965"/>
                  <a:pt x="374444" y="1507628"/>
                  <a:pt x="373450" y="1457291"/>
                </a:cubicBezTo>
                <a:cubicBezTo>
                  <a:pt x="372695" y="1419104"/>
                  <a:pt x="371725" y="1380922"/>
                  <a:pt x="370936" y="1342736"/>
                </a:cubicBezTo>
                <a:cubicBezTo>
                  <a:pt x="369980" y="1296451"/>
                  <a:pt x="368481" y="1250167"/>
                  <a:pt x="368328" y="1203878"/>
                </a:cubicBezTo>
                <a:cubicBezTo>
                  <a:pt x="367898" y="1073746"/>
                  <a:pt x="368114" y="943611"/>
                  <a:pt x="367836" y="813478"/>
                </a:cubicBezTo>
                <a:cubicBezTo>
                  <a:pt x="367808" y="800064"/>
                  <a:pt x="366292" y="786643"/>
                  <a:pt x="365240" y="773243"/>
                </a:cubicBezTo>
                <a:cubicBezTo>
                  <a:pt x="364669" y="765967"/>
                  <a:pt x="361177" y="762219"/>
                  <a:pt x="353084" y="762083"/>
                </a:cubicBezTo>
                <a:cubicBezTo>
                  <a:pt x="329039" y="761680"/>
                  <a:pt x="305010" y="760323"/>
                  <a:pt x="280966" y="759855"/>
                </a:cubicBezTo>
                <a:cubicBezTo>
                  <a:pt x="262974" y="759505"/>
                  <a:pt x="259584" y="762728"/>
                  <a:pt x="259965" y="779553"/>
                </a:cubicBezTo>
                <a:cubicBezTo>
                  <a:pt x="260545" y="805134"/>
                  <a:pt x="262417" y="830704"/>
                  <a:pt x="262341" y="856275"/>
                </a:cubicBezTo>
                <a:cubicBezTo>
                  <a:pt x="262235" y="892209"/>
                  <a:pt x="260847" y="928139"/>
                  <a:pt x="259999" y="966699"/>
                </a:cubicBezTo>
                <a:moveTo>
                  <a:pt x="55556" y="1835827"/>
                </a:moveTo>
                <a:cubicBezTo>
                  <a:pt x="53401" y="1849932"/>
                  <a:pt x="49990" y="1863984"/>
                  <a:pt x="49393" y="1878155"/>
                </a:cubicBezTo>
                <a:cubicBezTo>
                  <a:pt x="48549" y="1898208"/>
                  <a:pt x="54196" y="1903667"/>
                  <a:pt x="73949" y="1905781"/>
                </a:cubicBezTo>
                <a:cubicBezTo>
                  <a:pt x="85970" y="1907068"/>
                  <a:pt x="98058" y="1907739"/>
                  <a:pt x="110073" y="1909068"/>
                </a:cubicBezTo>
                <a:cubicBezTo>
                  <a:pt x="148299" y="1913297"/>
                  <a:pt x="186412" y="1919134"/>
                  <a:pt x="224745" y="1921652"/>
                </a:cubicBezTo>
                <a:cubicBezTo>
                  <a:pt x="265500" y="1924329"/>
                  <a:pt x="306455" y="1923995"/>
                  <a:pt x="347327" y="1924778"/>
                </a:cubicBezTo>
                <a:cubicBezTo>
                  <a:pt x="352654" y="1924880"/>
                  <a:pt x="357999" y="1923751"/>
                  <a:pt x="363345" y="1923293"/>
                </a:cubicBezTo>
                <a:cubicBezTo>
                  <a:pt x="370812" y="1922652"/>
                  <a:pt x="373724" y="1919361"/>
                  <a:pt x="373787" y="1911200"/>
                </a:cubicBezTo>
                <a:cubicBezTo>
                  <a:pt x="374339" y="1839709"/>
                  <a:pt x="375066" y="1768215"/>
                  <a:pt x="376623" y="1696741"/>
                </a:cubicBezTo>
                <a:cubicBezTo>
                  <a:pt x="376910" y="1683555"/>
                  <a:pt x="372147" y="1681381"/>
                  <a:pt x="360437" y="1681289"/>
                </a:cubicBezTo>
                <a:cubicBezTo>
                  <a:pt x="328117" y="1681033"/>
                  <a:pt x="295777" y="1679974"/>
                  <a:pt x="263503" y="1678179"/>
                </a:cubicBezTo>
                <a:cubicBezTo>
                  <a:pt x="229090" y="1676266"/>
                  <a:pt x="194719" y="1673423"/>
                  <a:pt x="160381" y="1670405"/>
                </a:cubicBezTo>
                <a:cubicBezTo>
                  <a:pt x="148387" y="1669350"/>
                  <a:pt x="145963" y="1675505"/>
                  <a:pt x="143321" y="1685538"/>
                </a:cubicBezTo>
                <a:cubicBezTo>
                  <a:pt x="138582" y="1703537"/>
                  <a:pt x="133802" y="1722215"/>
                  <a:pt x="124769" y="1738195"/>
                </a:cubicBezTo>
                <a:cubicBezTo>
                  <a:pt x="116109" y="1753517"/>
                  <a:pt x="101000" y="1765040"/>
                  <a:pt x="90593" y="1779570"/>
                </a:cubicBezTo>
                <a:cubicBezTo>
                  <a:pt x="78162" y="1796924"/>
                  <a:pt x="67717" y="1815700"/>
                  <a:pt x="55556" y="1835827"/>
                </a:cubicBezTo>
                <a:moveTo>
                  <a:pt x="378900" y="2007280"/>
                </a:moveTo>
                <a:cubicBezTo>
                  <a:pt x="378896" y="2003229"/>
                  <a:pt x="378901" y="1999178"/>
                  <a:pt x="378887" y="1995127"/>
                </a:cubicBezTo>
                <a:cubicBezTo>
                  <a:pt x="378824" y="1976033"/>
                  <a:pt x="378817" y="1976317"/>
                  <a:pt x="359084" y="1975964"/>
                </a:cubicBezTo>
                <a:lnTo>
                  <a:pt x="247288" y="1973305"/>
                </a:lnTo>
                <a:cubicBezTo>
                  <a:pt x="232069" y="1972838"/>
                  <a:pt x="216796" y="1972093"/>
                  <a:pt x="201692" y="1970275"/>
                </a:cubicBezTo>
                <a:lnTo>
                  <a:pt x="57962" y="1952648"/>
                </a:lnTo>
                <a:cubicBezTo>
                  <a:pt x="51898" y="1952011"/>
                  <a:pt x="41206" y="1958134"/>
                  <a:pt x="39194" y="1963552"/>
                </a:cubicBezTo>
                <a:cubicBezTo>
                  <a:pt x="34138" y="1977168"/>
                  <a:pt x="32687" y="1992148"/>
                  <a:pt x="30066" y="2006631"/>
                </a:cubicBezTo>
                <a:cubicBezTo>
                  <a:pt x="28649" y="2014460"/>
                  <a:pt x="32955" y="2017729"/>
                  <a:pt x="40232" y="2019486"/>
                </a:cubicBezTo>
                <a:cubicBezTo>
                  <a:pt x="105307" y="2035198"/>
                  <a:pt x="171489" y="2043035"/>
                  <a:pt x="238186" y="2046096"/>
                </a:cubicBezTo>
                <a:cubicBezTo>
                  <a:pt x="272775" y="2047683"/>
                  <a:pt x="307494" y="2046505"/>
                  <a:pt x="342155" y="2046441"/>
                </a:cubicBezTo>
                <a:cubicBezTo>
                  <a:pt x="378858" y="2046373"/>
                  <a:pt x="378858" y="2046303"/>
                  <a:pt x="378900" y="2007280"/>
                </a:cubicBezTo>
                <a:moveTo>
                  <a:pt x="310220" y="554288"/>
                </a:moveTo>
                <a:lnTo>
                  <a:pt x="259136" y="556881"/>
                </a:lnTo>
                <a:cubicBezTo>
                  <a:pt x="251446" y="557144"/>
                  <a:pt x="248963" y="560888"/>
                  <a:pt x="249085" y="567981"/>
                </a:cubicBezTo>
                <a:cubicBezTo>
                  <a:pt x="249291" y="580007"/>
                  <a:pt x="249141" y="592039"/>
                  <a:pt x="249141" y="605644"/>
                </a:cubicBezTo>
                <a:cubicBezTo>
                  <a:pt x="252942" y="605644"/>
                  <a:pt x="257788" y="605750"/>
                  <a:pt x="262628" y="605627"/>
                </a:cubicBezTo>
                <a:cubicBezTo>
                  <a:pt x="298288" y="604718"/>
                  <a:pt x="333947" y="603084"/>
                  <a:pt x="369608" y="603027"/>
                </a:cubicBezTo>
                <a:cubicBezTo>
                  <a:pt x="401047" y="602977"/>
                  <a:pt x="432489" y="605109"/>
                  <a:pt x="463931" y="605146"/>
                </a:cubicBezTo>
                <a:cubicBezTo>
                  <a:pt x="468882" y="605152"/>
                  <a:pt x="477522" y="599724"/>
                  <a:pt x="478113" y="595843"/>
                </a:cubicBezTo>
                <a:cubicBezTo>
                  <a:pt x="479968" y="583658"/>
                  <a:pt x="478796" y="571012"/>
                  <a:pt x="478796" y="556832"/>
                </a:cubicBezTo>
                <a:lnTo>
                  <a:pt x="310220" y="554288"/>
                </a:lnTo>
                <a:moveTo>
                  <a:pt x="348836" y="684115"/>
                </a:moveTo>
                <a:lnTo>
                  <a:pt x="281333" y="683313"/>
                </a:lnTo>
                <a:cubicBezTo>
                  <a:pt x="258459" y="682880"/>
                  <a:pt x="235573" y="681397"/>
                  <a:pt x="212728" y="681931"/>
                </a:cubicBezTo>
                <a:cubicBezTo>
                  <a:pt x="204151" y="682132"/>
                  <a:pt x="195144" y="685643"/>
                  <a:pt x="187283" y="689555"/>
                </a:cubicBezTo>
                <a:cubicBezTo>
                  <a:pt x="176092" y="695122"/>
                  <a:pt x="175412" y="711787"/>
                  <a:pt x="186163" y="718266"/>
                </a:cubicBezTo>
                <a:cubicBezTo>
                  <a:pt x="193268" y="722548"/>
                  <a:pt x="201790" y="726298"/>
                  <a:pt x="209894" y="726798"/>
                </a:cubicBezTo>
                <a:cubicBezTo>
                  <a:pt x="251494" y="729369"/>
                  <a:pt x="293151" y="731218"/>
                  <a:pt x="334814" y="732494"/>
                </a:cubicBezTo>
                <a:cubicBezTo>
                  <a:pt x="360875" y="733292"/>
                  <a:pt x="360845" y="732630"/>
                  <a:pt x="364856" y="707963"/>
                </a:cubicBezTo>
                <a:cubicBezTo>
                  <a:pt x="366759" y="696261"/>
                  <a:pt x="364119" y="687361"/>
                  <a:pt x="348836" y="684115"/>
                </a:cubicBezTo>
                <a:moveTo>
                  <a:pt x="298865" y="621954"/>
                </a:moveTo>
                <a:cubicBezTo>
                  <a:pt x="283113" y="621947"/>
                  <a:pt x="267325" y="621283"/>
                  <a:pt x="251619" y="622133"/>
                </a:cubicBezTo>
                <a:cubicBezTo>
                  <a:pt x="238016" y="622869"/>
                  <a:pt x="223730" y="622855"/>
                  <a:pt x="214459" y="636230"/>
                </a:cubicBezTo>
                <a:cubicBezTo>
                  <a:pt x="208245" y="645195"/>
                  <a:pt x="210589" y="653121"/>
                  <a:pt x="221436" y="654205"/>
                </a:cubicBezTo>
                <a:cubicBezTo>
                  <a:pt x="238362" y="655895"/>
                  <a:pt x="255402" y="656613"/>
                  <a:pt x="272412" y="657250"/>
                </a:cubicBezTo>
                <a:cubicBezTo>
                  <a:pt x="297964" y="658207"/>
                  <a:pt x="323529" y="659053"/>
                  <a:pt x="349094" y="659282"/>
                </a:cubicBezTo>
                <a:cubicBezTo>
                  <a:pt x="358195" y="659363"/>
                  <a:pt x="363477" y="655246"/>
                  <a:pt x="362996" y="644234"/>
                </a:cubicBezTo>
                <a:cubicBezTo>
                  <a:pt x="362527" y="633519"/>
                  <a:pt x="361239" y="625376"/>
                  <a:pt x="348472" y="624649"/>
                </a:cubicBezTo>
                <a:lnTo>
                  <a:pt x="298865" y="621954"/>
                </a:lnTo>
                <a:moveTo>
                  <a:pt x="227796" y="528000"/>
                </a:moveTo>
                <a:cubicBezTo>
                  <a:pt x="224777" y="540795"/>
                  <a:pt x="228095" y="545993"/>
                  <a:pt x="241009" y="545897"/>
                </a:cubicBezTo>
                <a:cubicBezTo>
                  <a:pt x="254880" y="545792"/>
                  <a:pt x="268730" y="543734"/>
                  <a:pt x="282607" y="543480"/>
                </a:cubicBezTo>
                <a:cubicBezTo>
                  <a:pt x="306469" y="543043"/>
                  <a:pt x="330344" y="543266"/>
                  <a:pt x="354213" y="543384"/>
                </a:cubicBezTo>
                <a:cubicBezTo>
                  <a:pt x="361191" y="543419"/>
                  <a:pt x="365298" y="541242"/>
                  <a:pt x="365334" y="533397"/>
                </a:cubicBezTo>
                <a:cubicBezTo>
                  <a:pt x="365369" y="525778"/>
                  <a:pt x="362988" y="521561"/>
                  <a:pt x="354531" y="521620"/>
                </a:cubicBezTo>
                <a:lnTo>
                  <a:pt x="259169" y="521978"/>
                </a:lnTo>
                <a:cubicBezTo>
                  <a:pt x="249027" y="522159"/>
                  <a:pt x="238927" y="524679"/>
                  <a:pt x="227796" y="528000"/>
                </a:cubicBezTo>
                <a:moveTo>
                  <a:pt x="508068" y="190710"/>
                </a:moveTo>
                <a:lnTo>
                  <a:pt x="521293" y="205907"/>
                </a:lnTo>
                <a:lnTo>
                  <a:pt x="525175" y="202985"/>
                </a:lnTo>
                <a:cubicBezTo>
                  <a:pt x="522014" y="185953"/>
                  <a:pt x="510916" y="173426"/>
                  <a:pt x="500276" y="160640"/>
                </a:cubicBezTo>
                <a:lnTo>
                  <a:pt x="497122" y="162007"/>
                </a:lnTo>
                <a:cubicBezTo>
                  <a:pt x="500457" y="170983"/>
                  <a:pt x="503791" y="179959"/>
                  <a:pt x="508068" y="190710"/>
                </a:cubicBezTo>
                <a:moveTo>
                  <a:pt x="215522" y="197296"/>
                </a:moveTo>
                <a:lnTo>
                  <a:pt x="234029" y="162725"/>
                </a:lnTo>
                <a:lnTo>
                  <a:pt x="229000" y="159902"/>
                </a:lnTo>
                <a:lnTo>
                  <a:pt x="204824" y="199677"/>
                </a:lnTo>
                <a:lnTo>
                  <a:pt x="207990" y="202198"/>
                </a:lnTo>
                <a:cubicBezTo>
                  <a:pt x="210047" y="201020"/>
                  <a:pt x="212104" y="199843"/>
                  <a:pt x="215522" y="197296"/>
                </a:cubicBezTo>
                <a:moveTo>
                  <a:pt x="484400" y="896678"/>
                </a:moveTo>
                <a:lnTo>
                  <a:pt x="486181" y="896585"/>
                </a:lnTo>
              </a:path>
            </a:pathLst>
          </a:custGeom>
          <a:solidFill>
            <a:srgbClr val="CCD6DA"/>
          </a:solidFill>
          <a:ln w="2699" cap="flat">
            <a:solidFill>
              <a:srgbClr val="CDD9DF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235" name="Free-form: Shape 9234">
            <a:extLst>
              <a:ext uri="{FF2B5EF4-FFF2-40B4-BE49-F238E27FC236}">
                <a16:creationId xmlns:a16="http://schemas.microsoft.com/office/drawing/2014/main" id="{7051D2AF-A541-515E-32F7-FE6264D59AD2}"/>
              </a:ext>
            </a:extLst>
          </p:cNvPr>
          <p:cNvSpPr/>
          <p:nvPr/>
        </p:nvSpPr>
        <p:spPr>
          <a:xfrm flipH="1">
            <a:off x="6394923" y="4833619"/>
            <a:ext cx="153404" cy="625011"/>
          </a:xfrm>
          <a:custGeom>
            <a:avLst/>
            <a:gdLst>
              <a:gd name="csX0" fmla="*/ 85488 w 201644"/>
              <a:gd name="csY0" fmla="*/ 205555 h 873028"/>
              <a:gd name="csX1" fmla="*/ 87827 w 201644"/>
              <a:gd name="csY1" fmla="*/ 96444 h 873028"/>
              <a:gd name="csX2" fmla="*/ 85450 w 201644"/>
              <a:gd name="csY2" fmla="*/ 19723 h 873028"/>
              <a:gd name="csX3" fmla="*/ 106451 w 201644"/>
              <a:gd name="csY3" fmla="*/ 25 h 873028"/>
              <a:gd name="csX4" fmla="*/ 178569 w 201644"/>
              <a:gd name="csY4" fmla="*/ 2252 h 873028"/>
              <a:gd name="csX5" fmla="*/ 190725 w 201644"/>
              <a:gd name="csY5" fmla="*/ 13413 h 873028"/>
              <a:gd name="csX6" fmla="*/ 193322 w 201644"/>
              <a:gd name="csY6" fmla="*/ 53648 h 873028"/>
              <a:gd name="csX7" fmla="*/ 193813 w 201644"/>
              <a:gd name="csY7" fmla="*/ 444048 h 873028"/>
              <a:gd name="csX8" fmla="*/ 196421 w 201644"/>
              <a:gd name="csY8" fmla="*/ 582906 h 873028"/>
              <a:gd name="csX9" fmla="*/ 198935 w 201644"/>
              <a:gd name="csY9" fmla="*/ 697460 h 873028"/>
              <a:gd name="csX10" fmla="*/ 201635 w 201644"/>
              <a:gd name="csY10" fmla="*/ 848476 h 873028"/>
              <a:gd name="csX11" fmla="*/ 176780 w 201644"/>
              <a:gd name="csY11" fmla="*/ 872971 h 873028"/>
              <a:gd name="csX12" fmla="*/ 37642 w 201644"/>
              <a:gd name="csY12" fmla="*/ 872825 h 873028"/>
              <a:gd name="csX13" fmla="*/ 8254 w 201644"/>
              <a:gd name="csY13" fmla="*/ 869956 h 873028"/>
              <a:gd name="csX14" fmla="*/ 787 w 201644"/>
              <a:gd name="csY14" fmla="*/ 856792 h 873028"/>
              <a:gd name="csX15" fmla="*/ 34667 w 201644"/>
              <a:gd name="csY15" fmla="*/ 708837 h 873028"/>
              <a:gd name="csX16" fmla="*/ 58163 w 201644"/>
              <a:gd name="csY16" fmla="*/ 560448 h 873028"/>
              <a:gd name="csX17" fmla="*/ 76857 w 201644"/>
              <a:gd name="csY17" fmla="*/ 397787 h 873028"/>
              <a:gd name="csX18" fmla="*/ 82557 w 201644"/>
              <a:gd name="csY18" fmla="*/ 310594 h 873028"/>
              <a:gd name="csX19" fmla="*/ 85488 w 201644"/>
              <a:gd name="csY19" fmla="*/ 205555 h 87302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</a:cxnLst>
            <a:rect l="l" t="t" r="r" b="b"/>
            <a:pathLst>
              <a:path w="201644" h="873028">
                <a:moveTo>
                  <a:pt x="85488" y="205555"/>
                </a:moveTo>
                <a:cubicBezTo>
                  <a:pt x="86332" y="168309"/>
                  <a:pt x="87720" y="132378"/>
                  <a:pt x="87827" y="96444"/>
                </a:cubicBezTo>
                <a:cubicBezTo>
                  <a:pt x="87903" y="70874"/>
                  <a:pt x="86030" y="45303"/>
                  <a:pt x="85450" y="19723"/>
                </a:cubicBezTo>
                <a:cubicBezTo>
                  <a:pt x="85069" y="2897"/>
                  <a:pt x="88460" y="-326"/>
                  <a:pt x="106451" y="25"/>
                </a:cubicBezTo>
                <a:cubicBezTo>
                  <a:pt x="130496" y="493"/>
                  <a:pt x="154524" y="1849"/>
                  <a:pt x="178569" y="2252"/>
                </a:cubicBezTo>
                <a:cubicBezTo>
                  <a:pt x="186663" y="2388"/>
                  <a:pt x="190154" y="6137"/>
                  <a:pt x="190725" y="13413"/>
                </a:cubicBezTo>
                <a:cubicBezTo>
                  <a:pt x="191778" y="26813"/>
                  <a:pt x="193293" y="40233"/>
                  <a:pt x="193322" y="53648"/>
                </a:cubicBezTo>
                <a:cubicBezTo>
                  <a:pt x="193599" y="183781"/>
                  <a:pt x="193383" y="313915"/>
                  <a:pt x="193813" y="444048"/>
                </a:cubicBezTo>
                <a:cubicBezTo>
                  <a:pt x="193967" y="490336"/>
                  <a:pt x="195465" y="536621"/>
                  <a:pt x="196421" y="582906"/>
                </a:cubicBezTo>
                <a:cubicBezTo>
                  <a:pt x="197210" y="621092"/>
                  <a:pt x="198181" y="659274"/>
                  <a:pt x="198935" y="697460"/>
                </a:cubicBezTo>
                <a:cubicBezTo>
                  <a:pt x="199930" y="747797"/>
                  <a:pt x="200941" y="798134"/>
                  <a:pt x="201635" y="848476"/>
                </a:cubicBezTo>
                <a:cubicBezTo>
                  <a:pt x="201904" y="868001"/>
                  <a:pt x="196572" y="872953"/>
                  <a:pt x="176780" y="872971"/>
                </a:cubicBezTo>
                <a:cubicBezTo>
                  <a:pt x="130401" y="873012"/>
                  <a:pt x="84020" y="873131"/>
                  <a:pt x="37642" y="872825"/>
                </a:cubicBezTo>
                <a:cubicBezTo>
                  <a:pt x="27836" y="872761"/>
                  <a:pt x="18001" y="871306"/>
                  <a:pt x="8254" y="869956"/>
                </a:cubicBezTo>
                <a:cubicBezTo>
                  <a:pt x="524" y="868885"/>
                  <a:pt x="-1268" y="865260"/>
                  <a:pt x="787" y="856792"/>
                </a:cubicBezTo>
                <a:cubicBezTo>
                  <a:pt x="12720" y="807623"/>
                  <a:pt x="25059" y="758486"/>
                  <a:pt x="34667" y="708837"/>
                </a:cubicBezTo>
                <a:cubicBezTo>
                  <a:pt x="44177" y="659694"/>
                  <a:pt x="51498" y="610075"/>
                  <a:pt x="58163" y="560448"/>
                </a:cubicBezTo>
                <a:cubicBezTo>
                  <a:pt x="65426" y="506364"/>
                  <a:pt x="71307" y="452080"/>
                  <a:pt x="76857" y="397787"/>
                </a:cubicBezTo>
                <a:cubicBezTo>
                  <a:pt x="79817" y="368829"/>
                  <a:pt x="81308" y="339690"/>
                  <a:pt x="82557" y="310594"/>
                </a:cubicBezTo>
                <a:cubicBezTo>
                  <a:pt x="84040" y="276041"/>
                  <a:pt x="84552" y="241446"/>
                  <a:pt x="85488" y="205555"/>
                </a:cubicBezTo>
                <a:close/>
              </a:path>
            </a:pathLst>
          </a:custGeom>
          <a:solidFill>
            <a:schemeClr val="bg1"/>
          </a:solidFill>
          <a:ln w="2699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236" name="Free-form: Shape 9235">
            <a:extLst>
              <a:ext uri="{FF2B5EF4-FFF2-40B4-BE49-F238E27FC236}">
                <a16:creationId xmlns:a16="http://schemas.microsoft.com/office/drawing/2014/main" id="{1BDF73A0-CAD6-8EBC-DFBE-422FEB8E05AE}"/>
              </a:ext>
            </a:extLst>
          </p:cNvPr>
          <p:cNvSpPr/>
          <p:nvPr/>
        </p:nvSpPr>
        <p:spPr>
          <a:xfrm flipH="1">
            <a:off x="6230387" y="4411024"/>
            <a:ext cx="172350" cy="248589"/>
          </a:xfrm>
          <a:custGeom>
            <a:avLst/>
            <a:gdLst>
              <a:gd name="csX0" fmla="*/ 778 w 226548"/>
              <a:gd name="csY0" fmla="*/ 0 h 337161"/>
              <a:gd name="csX1" fmla="*/ 37702 w 226548"/>
              <a:gd name="csY1" fmla="*/ 37373 h 337161"/>
              <a:gd name="csX2" fmla="*/ 104410 w 226548"/>
              <a:gd name="csY2" fmla="*/ 29446 h 337161"/>
              <a:gd name="csX3" fmla="*/ 121584 w 226548"/>
              <a:gd name="csY3" fmla="*/ 10749 h 337161"/>
              <a:gd name="csX4" fmla="*/ 168719 w 226548"/>
              <a:gd name="csY4" fmla="*/ 53353 h 337161"/>
              <a:gd name="csX5" fmla="*/ 226548 w 226548"/>
              <a:gd name="csY5" fmla="*/ 20770 h 337161"/>
              <a:gd name="csX6" fmla="*/ 195378 w 226548"/>
              <a:gd name="csY6" fmla="*/ 100783 h 337161"/>
              <a:gd name="csX7" fmla="*/ 130693 w 226548"/>
              <a:gd name="csY7" fmla="*/ 318354 h 337161"/>
              <a:gd name="csX8" fmla="*/ 108611 w 226548"/>
              <a:gd name="csY8" fmla="*/ 336726 h 337161"/>
              <a:gd name="csX9" fmla="*/ 15990 w 226548"/>
              <a:gd name="csY9" fmla="*/ 331469 h 337161"/>
              <a:gd name="csX10" fmla="*/ 0 w 226548"/>
              <a:gd name="csY10" fmla="*/ 331485 h 337161"/>
              <a:gd name="csX11" fmla="*/ 0 w 226548"/>
              <a:gd name="csY11" fmla="*/ 1107 h 33716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226548" h="337161">
                <a:moveTo>
                  <a:pt x="778" y="0"/>
                </a:moveTo>
                <a:cubicBezTo>
                  <a:pt x="13501" y="12962"/>
                  <a:pt x="25038" y="25783"/>
                  <a:pt x="37702" y="37373"/>
                </a:cubicBezTo>
                <a:cubicBezTo>
                  <a:pt x="58156" y="56093"/>
                  <a:pt x="87159" y="53087"/>
                  <a:pt x="104410" y="29446"/>
                </a:cubicBezTo>
                <a:cubicBezTo>
                  <a:pt x="109133" y="22974"/>
                  <a:pt x="115276" y="17539"/>
                  <a:pt x="121584" y="10749"/>
                </a:cubicBezTo>
                <a:cubicBezTo>
                  <a:pt x="130376" y="32859"/>
                  <a:pt x="139680" y="52822"/>
                  <a:pt x="168719" y="53353"/>
                </a:cubicBezTo>
                <a:cubicBezTo>
                  <a:pt x="194658" y="53827"/>
                  <a:pt x="206643" y="32131"/>
                  <a:pt x="226548" y="20770"/>
                </a:cubicBezTo>
                <a:cubicBezTo>
                  <a:pt x="215744" y="48562"/>
                  <a:pt x="205876" y="74800"/>
                  <a:pt x="195378" y="100783"/>
                </a:cubicBezTo>
                <a:cubicBezTo>
                  <a:pt x="166902" y="171263"/>
                  <a:pt x="147278" y="244366"/>
                  <a:pt x="130693" y="318354"/>
                </a:cubicBezTo>
                <a:cubicBezTo>
                  <a:pt x="126342" y="337768"/>
                  <a:pt x="126276" y="337983"/>
                  <a:pt x="108611" y="336726"/>
                </a:cubicBezTo>
                <a:cubicBezTo>
                  <a:pt x="77766" y="334530"/>
                  <a:pt x="46890" y="332362"/>
                  <a:pt x="15990" y="331469"/>
                </a:cubicBezTo>
                <a:lnTo>
                  <a:pt x="0" y="331485"/>
                </a:lnTo>
                <a:lnTo>
                  <a:pt x="0" y="1107"/>
                </a:lnTo>
                <a:close/>
              </a:path>
            </a:pathLst>
          </a:custGeom>
          <a:solidFill>
            <a:srgbClr val="CCD6DA"/>
          </a:solidFill>
          <a:ln w="2699" cap="flat">
            <a:noFill/>
            <a:prstDash val="solid"/>
            <a:miter/>
          </a:ln>
        </p:spPr>
        <p:txBody>
          <a:bodyPr wrap="squar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237" name="Free-form: Shape 9236">
            <a:extLst>
              <a:ext uri="{FF2B5EF4-FFF2-40B4-BE49-F238E27FC236}">
                <a16:creationId xmlns:a16="http://schemas.microsoft.com/office/drawing/2014/main" id="{FA74CAC3-3D43-3EA8-316D-FF03A0B55C0D}"/>
              </a:ext>
            </a:extLst>
          </p:cNvPr>
          <p:cNvSpPr/>
          <p:nvPr/>
        </p:nvSpPr>
        <p:spPr>
          <a:xfrm flipH="1">
            <a:off x="6394560" y="5485426"/>
            <a:ext cx="249017" cy="182198"/>
          </a:xfrm>
          <a:custGeom>
            <a:avLst/>
            <a:gdLst>
              <a:gd name="csX0" fmla="*/ 6671 w 327322"/>
              <a:gd name="csY0" fmla="*/ 164556 h 254497"/>
              <a:gd name="csX1" fmla="*/ 41280 w 327322"/>
              <a:gd name="csY1" fmla="*/ 109282 h 254497"/>
              <a:gd name="csX2" fmla="*/ 75457 w 327322"/>
              <a:gd name="csY2" fmla="*/ 67908 h 254497"/>
              <a:gd name="csX3" fmla="*/ 94008 w 327322"/>
              <a:gd name="csY3" fmla="*/ 15251 h 254497"/>
              <a:gd name="csX4" fmla="*/ 111068 w 327322"/>
              <a:gd name="csY4" fmla="*/ 117 h 254497"/>
              <a:gd name="csX5" fmla="*/ 214190 w 327322"/>
              <a:gd name="csY5" fmla="*/ 7891 h 254497"/>
              <a:gd name="csX6" fmla="*/ 311124 w 327322"/>
              <a:gd name="csY6" fmla="*/ 11001 h 254497"/>
              <a:gd name="csX7" fmla="*/ 327310 w 327322"/>
              <a:gd name="csY7" fmla="*/ 26454 h 254497"/>
              <a:gd name="csX8" fmla="*/ 324474 w 327322"/>
              <a:gd name="csY8" fmla="*/ 240912 h 254497"/>
              <a:gd name="csX9" fmla="*/ 314032 w 327322"/>
              <a:gd name="csY9" fmla="*/ 253005 h 254497"/>
              <a:gd name="csX10" fmla="*/ 298014 w 327322"/>
              <a:gd name="csY10" fmla="*/ 254491 h 254497"/>
              <a:gd name="csX11" fmla="*/ 175432 w 327322"/>
              <a:gd name="csY11" fmla="*/ 251365 h 254497"/>
              <a:gd name="csX12" fmla="*/ 60761 w 327322"/>
              <a:gd name="csY12" fmla="*/ 238781 h 254497"/>
              <a:gd name="csX13" fmla="*/ 24636 w 327322"/>
              <a:gd name="csY13" fmla="*/ 235494 h 254497"/>
              <a:gd name="csX14" fmla="*/ 80 w 327322"/>
              <a:gd name="csY14" fmla="*/ 207868 h 254497"/>
              <a:gd name="csX15" fmla="*/ 6671 w 327322"/>
              <a:gd name="csY15" fmla="*/ 164556 h 25449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</a:cxnLst>
            <a:rect l="l" t="t" r="r" b="b"/>
            <a:pathLst>
              <a:path w="327322" h="254497">
                <a:moveTo>
                  <a:pt x="6671" y="164556"/>
                </a:moveTo>
                <a:cubicBezTo>
                  <a:pt x="18404" y="145412"/>
                  <a:pt x="28850" y="126637"/>
                  <a:pt x="41280" y="109282"/>
                </a:cubicBezTo>
                <a:cubicBezTo>
                  <a:pt x="51687" y="94752"/>
                  <a:pt x="66796" y="83230"/>
                  <a:pt x="75457" y="67908"/>
                </a:cubicBezTo>
                <a:cubicBezTo>
                  <a:pt x="84489" y="51927"/>
                  <a:pt x="89269" y="33249"/>
                  <a:pt x="94008" y="15251"/>
                </a:cubicBezTo>
                <a:cubicBezTo>
                  <a:pt x="96650" y="5217"/>
                  <a:pt x="99074" y="-938"/>
                  <a:pt x="111068" y="117"/>
                </a:cubicBezTo>
                <a:cubicBezTo>
                  <a:pt x="145406" y="3136"/>
                  <a:pt x="179777" y="5978"/>
                  <a:pt x="214190" y="7891"/>
                </a:cubicBezTo>
                <a:cubicBezTo>
                  <a:pt x="246464" y="9686"/>
                  <a:pt x="278804" y="10746"/>
                  <a:pt x="311124" y="11001"/>
                </a:cubicBezTo>
                <a:cubicBezTo>
                  <a:pt x="322834" y="11094"/>
                  <a:pt x="327597" y="13267"/>
                  <a:pt x="327310" y="26454"/>
                </a:cubicBezTo>
                <a:cubicBezTo>
                  <a:pt x="325754" y="97927"/>
                  <a:pt x="325026" y="169421"/>
                  <a:pt x="324474" y="240912"/>
                </a:cubicBezTo>
                <a:cubicBezTo>
                  <a:pt x="324411" y="249073"/>
                  <a:pt x="321499" y="252364"/>
                  <a:pt x="314032" y="253005"/>
                </a:cubicBezTo>
                <a:cubicBezTo>
                  <a:pt x="308686" y="253463"/>
                  <a:pt x="303341" y="254593"/>
                  <a:pt x="298014" y="254491"/>
                </a:cubicBezTo>
                <a:cubicBezTo>
                  <a:pt x="257142" y="253707"/>
                  <a:pt x="216187" y="254041"/>
                  <a:pt x="175432" y="251365"/>
                </a:cubicBezTo>
                <a:cubicBezTo>
                  <a:pt x="137099" y="248847"/>
                  <a:pt x="98986" y="243009"/>
                  <a:pt x="60761" y="238781"/>
                </a:cubicBezTo>
                <a:cubicBezTo>
                  <a:pt x="48745" y="237452"/>
                  <a:pt x="36657" y="236780"/>
                  <a:pt x="24636" y="235494"/>
                </a:cubicBezTo>
                <a:cubicBezTo>
                  <a:pt x="4883" y="233380"/>
                  <a:pt x="-764" y="227920"/>
                  <a:pt x="80" y="207868"/>
                </a:cubicBezTo>
                <a:cubicBezTo>
                  <a:pt x="677" y="193697"/>
                  <a:pt x="4088" y="179644"/>
                  <a:pt x="6671" y="164556"/>
                </a:cubicBezTo>
                <a:close/>
              </a:path>
            </a:pathLst>
          </a:custGeom>
          <a:solidFill>
            <a:schemeClr val="bg1"/>
          </a:solidFill>
          <a:ln w="2699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238" name="Free-form: Shape 9237">
            <a:extLst>
              <a:ext uri="{FF2B5EF4-FFF2-40B4-BE49-F238E27FC236}">
                <a16:creationId xmlns:a16="http://schemas.microsoft.com/office/drawing/2014/main" id="{0E8AB0F2-6A25-ADF2-6A57-49140241A336}"/>
              </a:ext>
            </a:extLst>
          </p:cNvPr>
          <p:cNvSpPr/>
          <p:nvPr/>
        </p:nvSpPr>
        <p:spPr>
          <a:xfrm flipH="1">
            <a:off x="6392837" y="5687539"/>
            <a:ext cx="265587" cy="67524"/>
          </a:xfrm>
          <a:custGeom>
            <a:avLst/>
            <a:gdLst>
              <a:gd name="csX0" fmla="*/ 349104 w 349103"/>
              <a:gd name="csY0" fmla="*/ 55996 h 94319"/>
              <a:gd name="csX1" fmla="*/ 312357 w 349103"/>
              <a:gd name="csY1" fmla="*/ 93839 h 94319"/>
              <a:gd name="csX2" fmla="*/ 208388 w 349103"/>
              <a:gd name="csY2" fmla="*/ 93494 h 94319"/>
              <a:gd name="csX3" fmla="*/ 10435 w 349103"/>
              <a:gd name="csY3" fmla="*/ 66884 h 94319"/>
              <a:gd name="csX4" fmla="*/ 269 w 349103"/>
              <a:gd name="csY4" fmla="*/ 54029 h 94319"/>
              <a:gd name="csX5" fmla="*/ 9397 w 349103"/>
              <a:gd name="csY5" fmla="*/ 10950 h 94319"/>
              <a:gd name="csX6" fmla="*/ 28165 w 349103"/>
              <a:gd name="csY6" fmla="*/ 46 h 94319"/>
              <a:gd name="csX7" fmla="*/ 171895 w 349103"/>
              <a:gd name="csY7" fmla="*/ 17673 h 94319"/>
              <a:gd name="csX8" fmla="*/ 217491 w 349103"/>
              <a:gd name="csY8" fmla="*/ 20703 h 94319"/>
              <a:gd name="csX9" fmla="*/ 329287 w 349103"/>
              <a:gd name="csY9" fmla="*/ 23362 h 94319"/>
              <a:gd name="csX10" fmla="*/ 349090 w 349103"/>
              <a:gd name="csY10" fmla="*/ 42524 h 94319"/>
              <a:gd name="csX11" fmla="*/ 349104 w 349103"/>
              <a:gd name="csY11" fmla="*/ 55996 h 9431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349103" h="94319">
                <a:moveTo>
                  <a:pt x="349104" y="55996"/>
                </a:moveTo>
                <a:cubicBezTo>
                  <a:pt x="349060" y="93701"/>
                  <a:pt x="349061" y="93771"/>
                  <a:pt x="312357" y="93839"/>
                </a:cubicBezTo>
                <a:cubicBezTo>
                  <a:pt x="277697" y="93903"/>
                  <a:pt x="242977" y="95081"/>
                  <a:pt x="208388" y="93494"/>
                </a:cubicBezTo>
                <a:cubicBezTo>
                  <a:pt x="141692" y="90433"/>
                  <a:pt x="75510" y="82596"/>
                  <a:pt x="10435" y="66884"/>
                </a:cubicBezTo>
                <a:cubicBezTo>
                  <a:pt x="3157" y="65127"/>
                  <a:pt x="-1148" y="61858"/>
                  <a:pt x="269" y="54029"/>
                </a:cubicBezTo>
                <a:cubicBezTo>
                  <a:pt x="2890" y="39546"/>
                  <a:pt x="4341" y="24565"/>
                  <a:pt x="9397" y="10950"/>
                </a:cubicBezTo>
                <a:cubicBezTo>
                  <a:pt x="11408" y="5532"/>
                  <a:pt x="22101" y="-591"/>
                  <a:pt x="28165" y="46"/>
                </a:cubicBezTo>
                <a:cubicBezTo>
                  <a:pt x="76162" y="5087"/>
                  <a:pt x="123969" y="11902"/>
                  <a:pt x="171895" y="17673"/>
                </a:cubicBezTo>
                <a:cubicBezTo>
                  <a:pt x="186999" y="19491"/>
                  <a:pt x="202271" y="20235"/>
                  <a:pt x="217491" y="20703"/>
                </a:cubicBezTo>
                <a:cubicBezTo>
                  <a:pt x="254748" y="21848"/>
                  <a:pt x="292017" y="22695"/>
                  <a:pt x="329287" y="23362"/>
                </a:cubicBezTo>
                <a:cubicBezTo>
                  <a:pt x="349020" y="23715"/>
                  <a:pt x="349026" y="23431"/>
                  <a:pt x="349090" y="42524"/>
                </a:cubicBezTo>
                <a:cubicBezTo>
                  <a:pt x="349103" y="46576"/>
                  <a:pt x="349099" y="50627"/>
                  <a:pt x="349104" y="55996"/>
                </a:cubicBezTo>
                <a:close/>
              </a:path>
            </a:pathLst>
          </a:custGeom>
          <a:solidFill>
            <a:schemeClr val="bg1"/>
          </a:solidFill>
          <a:ln w="2699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239" name="Free-form: Shape 9238">
            <a:extLst>
              <a:ext uri="{FF2B5EF4-FFF2-40B4-BE49-F238E27FC236}">
                <a16:creationId xmlns:a16="http://schemas.microsoft.com/office/drawing/2014/main" id="{CDE08704-BA06-4242-36DE-D136C7500D3E}"/>
              </a:ext>
            </a:extLst>
          </p:cNvPr>
          <p:cNvSpPr/>
          <p:nvPr/>
        </p:nvSpPr>
        <p:spPr>
          <a:xfrm flipH="1">
            <a:off x="6308561" y="4297206"/>
            <a:ext cx="191239" cy="139371"/>
          </a:xfrm>
          <a:custGeom>
            <a:avLst/>
            <a:gdLst>
              <a:gd name="csX0" fmla="*/ 0 w 251376"/>
              <a:gd name="csY0" fmla="*/ 143557 h 194676"/>
              <a:gd name="csX1" fmla="*/ 60552 w 251376"/>
              <a:gd name="csY1" fmla="*/ 103445 h 194676"/>
              <a:gd name="csX2" fmla="*/ 106376 w 251376"/>
              <a:gd name="csY2" fmla="*/ 90701 h 194676"/>
              <a:gd name="csX3" fmla="*/ 95829 w 251376"/>
              <a:gd name="csY3" fmla="*/ 13769 h 194676"/>
              <a:gd name="csX4" fmla="*/ 152117 w 251376"/>
              <a:gd name="csY4" fmla="*/ 8010 h 194676"/>
              <a:gd name="csX5" fmla="*/ 155319 w 251376"/>
              <a:gd name="csY5" fmla="*/ 88701 h 194676"/>
              <a:gd name="csX6" fmla="*/ 251288 w 251376"/>
              <a:gd name="csY6" fmla="*/ 139911 h 194676"/>
              <a:gd name="csX7" fmla="*/ 251376 w 251376"/>
              <a:gd name="csY7" fmla="*/ 140847 h 194676"/>
              <a:gd name="csX8" fmla="*/ 226496 w 251376"/>
              <a:gd name="csY8" fmla="*/ 163548 h 194676"/>
              <a:gd name="csX9" fmla="*/ 207044 w 251376"/>
              <a:gd name="csY9" fmla="*/ 187024 h 194676"/>
              <a:gd name="csX10" fmla="*/ 170188 w 251376"/>
              <a:gd name="csY10" fmla="*/ 184842 h 194676"/>
              <a:gd name="csX11" fmla="*/ 142028 w 251376"/>
              <a:gd name="csY11" fmla="*/ 145925 h 194676"/>
              <a:gd name="csX12" fmla="*/ 109750 w 251376"/>
              <a:gd name="csY12" fmla="*/ 146361 h 194676"/>
              <a:gd name="csX13" fmla="*/ 89415 w 251376"/>
              <a:gd name="csY13" fmla="*/ 177998 h 194676"/>
              <a:gd name="csX14" fmla="*/ 40867 w 251376"/>
              <a:gd name="csY14" fmla="*/ 182615 h 194676"/>
              <a:gd name="csX15" fmla="*/ 24429 w 251376"/>
              <a:gd name="csY15" fmla="*/ 159868 h 194676"/>
              <a:gd name="csX16" fmla="*/ 1027 w 251376"/>
              <a:gd name="csY16" fmla="*/ 143506 h 194676"/>
              <a:gd name="csX17" fmla="*/ 0 w 251376"/>
              <a:gd name="csY17" fmla="*/ 143557 h 19467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</a:cxnLst>
            <a:rect l="l" t="t" r="r" b="b"/>
            <a:pathLst>
              <a:path w="251376" h="194676">
                <a:moveTo>
                  <a:pt x="0" y="143557"/>
                </a:moveTo>
                <a:cubicBezTo>
                  <a:pt x="15077" y="122513"/>
                  <a:pt x="37857" y="112614"/>
                  <a:pt x="60552" y="103445"/>
                </a:cubicBezTo>
                <a:cubicBezTo>
                  <a:pt x="75119" y="97559"/>
                  <a:pt x="90974" y="94861"/>
                  <a:pt x="106376" y="90701"/>
                </a:cubicBezTo>
                <a:cubicBezTo>
                  <a:pt x="76306" y="53327"/>
                  <a:pt x="73986" y="36115"/>
                  <a:pt x="95829" y="13769"/>
                </a:cubicBezTo>
                <a:cubicBezTo>
                  <a:pt x="111332" y="-2091"/>
                  <a:pt x="135594" y="-4573"/>
                  <a:pt x="152117" y="8010"/>
                </a:cubicBezTo>
                <a:cubicBezTo>
                  <a:pt x="176627" y="26675"/>
                  <a:pt x="177784" y="50470"/>
                  <a:pt x="155319" y="88701"/>
                </a:cubicBezTo>
                <a:cubicBezTo>
                  <a:pt x="191521" y="97669"/>
                  <a:pt x="225098" y="111398"/>
                  <a:pt x="251288" y="139911"/>
                </a:cubicBezTo>
                <a:cubicBezTo>
                  <a:pt x="251389" y="140832"/>
                  <a:pt x="251376" y="140847"/>
                  <a:pt x="251376" y="140847"/>
                </a:cubicBezTo>
                <a:cubicBezTo>
                  <a:pt x="237967" y="142841"/>
                  <a:pt x="233190" y="154057"/>
                  <a:pt x="226496" y="163548"/>
                </a:cubicBezTo>
                <a:cubicBezTo>
                  <a:pt x="220639" y="171855"/>
                  <a:pt x="214757" y="180670"/>
                  <a:pt x="207044" y="187024"/>
                </a:cubicBezTo>
                <a:cubicBezTo>
                  <a:pt x="194009" y="197760"/>
                  <a:pt x="181605" y="197350"/>
                  <a:pt x="170188" y="184842"/>
                </a:cubicBezTo>
                <a:cubicBezTo>
                  <a:pt x="159459" y="173090"/>
                  <a:pt x="151029" y="159183"/>
                  <a:pt x="142028" y="145925"/>
                </a:cubicBezTo>
                <a:cubicBezTo>
                  <a:pt x="129426" y="127363"/>
                  <a:pt x="121871" y="127341"/>
                  <a:pt x="109750" y="146361"/>
                </a:cubicBezTo>
                <a:cubicBezTo>
                  <a:pt x="103011" y="156935"/>
                  <a:pt x="96721" y="167832"/>
                  <a:pt x="89415" y="177998"/>
                </a:cubicBezTo>
                <a:cubicBezTo>
                  <a:pt x="76871" y="195453"/>
                  <a:pt x="56252" y="197624"/>
                  <a:pt x="40867" y="182615"/>
                </a:cubicBezTo>
                <a:cubicBezTo>
                  <a:pt x="34266" y="176176"/>
                  <a:pt x="29617" y="167667"/>
                  <a:pt x="24429" y="159868"/>
                </a:cubicBezTo>
                <a:cubicBezTo>
                  <a:pt x="18931" y="151605"/>
                  <a:pt x="14335" y="142406"/>
                  <a:pt x="1027" y="143506"/>
                </a:cubicBezTo>
                <a:cubicBezTo>
                  <a:pt x="-26" y="143536"/>
                  <a:pt x="0" y="143557"/>
                  <a:pt x="0" y="143557"/>
                </a:cubicBezTo>
                <a:close/>
              </a:path>
            </a:pathLst>
          </a:custGeom>
          <a:solidFill>
            <a:srgbClr val="FCFCFB"/>
          </a:solidFill>
          <a:ln w="2699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240" name="Free-form: Shape 9239">
            <a:extLst>
              <a:ext uri="{FF2B5EF4-FFF2-40B4-BE49-F238E27FC236}">
                <a16:creationId xmlns:a16="http://schemas.microsoft.com/office/drawing/2014/main" id="{D230A65A-6098-EA0D-3282-34C73877F0B9}"/>
              </a:ext>
            </a:extLst>
          </p:cNvPr>
          <p:cNvSpPr/>
          <p:nvPr/>
        </p:nvSpPr>
        <p:spPr>
          <a:xfrm flipH="1">
            <a:off x="6404915" y="4686466"/>
            <a:ext cx="86686" cy="45131"/>
          </a:xfrm>
          <a:custGeom>
            <a:avLst/>
            <a:gdLst>
              <a:gd name="csX0" fmla="*/ 62457 w 230080"/>
              <a:gd name="csY0" fmla="*/ 0 h 51402"/>
              <a:gd name="csX1" fmla="*/ 229715 w 230080"/>
              <a:gd name="csY1" fmla="*/ 2548 h 51402"/>
              <a:gd name="csX2" fmla="*/ 229033 w 230080"/>
              <a:gd name="csY2" fmla="*/ 41559 h 51402"/>
              <a:gd name="csX3" fmla="*/ 214851 w 230080"/>
              <a:gd name="csY3" fmla="*/ 50862 h 51402"/>
              <a:gd name="csX4" fmla="*/ 120527 w 230080"/>
              <a:gd name="csY4" fmla="*/ 48743 h 51402"/>
              <a:gd name="csX5" fmla="*/ 13547 w 230080"/>
              <a:gd name="csY5" fmla="*/ 51342 h 51402"/>
              <a:gd name="csX6" fmla="*/ 61 w 230080"/>
              <a:gd name="csY6" fmla="*/ 51359 h 51402"/>
              <a:gd name="csX7" fmla="*/ 4 w 230080"/>
              <a:gd name="csY7" fmla="*/ 13697 h 51402"/>
              <a:gd name="csX8" fmla="*/ 10055 w 230080"/>
              <a:gd name="csY8" fmla="*/ 2596 h 51402"/>
              <a:gd name="csX9" fmla="*/ 62457 w 230080"/>
              <a:gd name="csY9" fmla="*/ 0 h 5140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230080" h="51402">
                <a:moveTo>
                  <a:pt x="62457" y="0"/>
                </a:moveTo>
                <a:cubicBezTo>
                  <a:pt x="118516" y="838"/>
                  <a:pt x="173258" y="1679"/>
                  <a:pt x="229715" y="2548"/>
                </a:cubicBezTo>
                <a:cubicBezTo>
                  <a:pt x="229715" y="16728"/>
                  <a:pt x="230888" y="29374"/>
                  <a:pt x="229033" y="41559"/>
                </a:cubicBezTo>
                <a:cubicBezTo>
                  <a:pt x="228442" y="45440"/>
                  <a:pt x="219802" y="50868"/>
                  <a:pt x="214851" y="50862"/>
                </a:cubicBezTo>
                <a:cubicBezTo>
                  <a:pt x="183409" y="50825"/>
                  <a:pt x="151967" y="48693"/>
                  <a:pt x="120527" y="48743"/>
                </a:cubicBezTo>
                <a:cubicBezTo>
                  <a:pt x="84866" y="48800"/>
                  <a:pt x="49208" y="50434"/>
                  <a:pt x="13547" y="51342"/>
                </a:cubicBezTo>
                <a:cubicBezTo>
                  <a:pt x="8707" y="51466"/>
                  <a:pt x="3861" y="51359"/>
                  <a:pt x="61" y="51359"/>
                </a:cubicBezTo>
                <a:cubicBezTo>
                  <a:pt x="61" y="37755"/>
                  <a:pt x="210" y="25723"/>
                  <a:pt x="4" y="13697"/>
                </a:cubicBezTo>
                <a:cubicBezTo>
                  <a:pt x="-117" y="6604"/>
                  <a:pt x="2365" y="2860"/>
                  <a:pt x="10055" y="2596"/>
                </a:cubicBezTo>
                <a:cubicBezTo>
                  <a:pt x="27093" y="2012"/>
                  <a:pt x="44112" y="901"/>
                  <a:pt x="62457" y="0"/>
                </a:cubicBezTo>
                <a:close/>
              </a:path>
            </a:pathLst>
          </a:custGeom>
          <a:solidFill>
            <a:srgbClr val="FCFCFB"/>
          </a:solidFill>
          <a:ln w="2699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241" name="Free-form: Shape 9240">
            <a:extLst>
              <a:ext uri="{FF2B5EF4-FFF2-40B4-BE49-F238E27FC236}">
                <a16:creationId xmlns:a16="http://schemas.microsoft.com/office/drawing/2014/main" id="{D98E21E8-021F-C814-18B7-01ED15FB042A}"/>
              </a:ext>
            </a:extLst>
          </p:cNvPr>
          <p:cNvSpPr/>
          <p:nvPr/>
        </p:nvSpPr>
        <p:spPr>
          <a:xfrm flipH="1">
            <a:off x="6403106" y="4777768"/>
            <a:ext cx="142202" cy="36415"/>
          </a:xfrm>
          <a:custGeom>
            <a:avLst/>
            <a:gdLst>
              <a:gd name="csX0" fmla="*/ 171523 w 186920"/>
              <a:gd name="csY0" fmla="*/ 2414 h 50865"/>
              <a:gd name="csX1" fmla="*/ 186375 w 186920"/>
              <a:gd name="csY1" fmla="*/ 26146 h 50865"/>
              <a:gd name="csX2" fmla="*/ 156333 w 186920"/>
              <a:gd name="csY2" fmla="*/ 50678 h 50865"/>
              <a:gd name="csX3" fmla="*/ 31413 w 186920"/>
              <a:gd name="csY3" fmla="*/ 44982 h 50865"/>
              <a:gd name="csX4" fmla="*/ 7682 w 186920"/>
              <a:gd name="csY4" fmla="*/ 36449 h 50865"/>
              <a:gd name="csX5" fmla="*/ 8802 w 186920"/>
              <a:gd name="csY5" fmla="*/ 7738 h 50865"/>
              <a:gd name="csX6" fmla="*/ 34247 w 186920"/>
              <a:gd name="csY6" fmla="*/ 115 h 50865"/>
              <a:gd name="csX7" fmla="*/ 102852 w 186920"/>
              <a:gd name="csY7" fmla="*/ 1497 h 50865"/>
              <a:gd name="csX8" fmla="*/ 171523 w 186920"/>
              <a:gd name="csY8" fmla="*/ 2414 h 5086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</a:cxnLst>
            <a:rect l="l" t="t" r="r" b="b"/>
            <a:pathLst>
              <a:path w="186920" h="50865">
                <a:moveTo>
                  <a:pt x="171523" y="2414"/>
                </a:moveTo>
                <a:cubicBezTo>
                  <a:pt x="185638" y="5545"/>
                  <a:pt x="188278" y="14444"/>
                  <a:pt x="186375" y="26146"/>
                </a:cubicBezTo>
                <a:cubicBezTo>
                  <a:pt x="182364" y="50813"/>
                  <a:pt x="182394" y="51476"/>
                  <a:pt x="156333" y="50678"/>
                </a:cubicBezTo>
                <a:cubicBezTo>
                  <a:pt x="114670" y="49402"/>
                  <a:pt x="73013" y="47552"/>
                  <a:pt x="31413" y="44982"/>
                </a:cubicBezTo>
                <a:cubicBezTo>
                  <a:pt x="23309" y="44481"/>
                  <a:pt x="14787" y="40731"/>
                  <a:pt x="7682" y="36449"/>
                </a:cubicBezTo>
                <a:cubicBezTo>
                  <a:pt x="-3069" y="29971"/>
                  <a:pt x="-2389" y="13306"/>
                  <a:pt x="8802" y="7738"/>
                </a:cubicBezTo>
                <a:cubicBezTo>
                  <a:pt x="16663" y="3827"/>
                  <a:pt x="25670" y="315"/>
                  <a:pt x="34247" y="115"/>
                </a:cubicBezTo>
                <a:cubicBezTo>
                  <a:pt x="57092" y="-420"/>
                  <a:pt x="79978" y="1064"/>
                  <a:pt x="102852" y="1497"/>
                </a:cubicBezTo>
                <a:cubicBezTo>
                  <a:pt x="125350" y="1922"/>
                  <a:pt x="147854" y="2044"/>
                  <a:pt x="171523" y="2414"/>
                </a:cubicBezTo>
                <a:close/>
              </a:path>
            </a:pathLst>
          </a:custGeom>
          <a:solidFill>
            <a:srgbClr val="FCFCFB"/>
          </a:solidFill>
          <a:ln w="2699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242" name="Free-form: Shape 9241">
            <a:extLst>
              <a:ext uri="{FF2B5EF4-FFF2-40B4-BE49-F238E27FC236}">
                <a16:creationId xmlns:a16="http://schemas.microsoft.com/office/drawing/2014/main" id="{439038A1-E2F8-7166-DF8E-D581EB7E585D}"/>
              </a:ext>
            </a:extLst>
          </p:cNvPr>
          <p:cNvSpPr/>
          <p:nvPr/>
        </p:nvSpPr>
        <p:spPr>
          <a:xfrm flipH="1">
            <a:off x="6404915" y="4734731"/>
            <a:ext cx="115601" cy="26906"/>
          </a:xfrm>
          <a:custGeom>
            <a:avLst/>
            <a:gdLst>
              <a:gd name="csX0" fmla="*/ 89107 w 151953"/>
              <a:gd name="csY0" fmla="*/ 252 h 37582"/>
              <a:gd name="csX1" fmla="*/ 137399 w 151953"/>
              <a:gd name="csY1" fmla="*/ 2948 h 37582"/>
              <a:gd name="csX2" fmla="*/ 151923 w 151953"/>
              <a:gd name="csY2" fmla="*/ 22533 h 37582"/>
              <a:gd name="csX3" fmla="*/ 138022 w 151953"/>
              <a:gd name="csY3" fmla="*/ 37581 h 37582"/>
              <a:gd name="csX4" fmla="*/ 61340 w 151953"/>
              <a:gd name="csY4" fmla="*/ 35549 h 37582"/>
              <a:gd name="csX5" fmla="*/ 10364 w 151953"/>
              <a:gd name="csY5" fmla="*/ 32504 h 37582"/>
              <a:gd name="csX6" fmla="*/ 3387 w 151953"/>
              <a:gd name="csY6" fmla="*/ 14529 h 37582"/>
              <a:gd name="csX7" fmla="*/ 40547 w 151953"/>
              <a:gd name="csY7" fmla="*/ 433 h 37582"/>
              <a:gd name="csX8" fmla="*/ 89107 w 151953"/>
              <a:gd name="csY8" fmla="*/ 252 h 3758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</a:cxnLst>
            <a:rect l="l" t="t" r="r" b="b"/>
            <a:pathLst>
              <a:path w="151953" h="37582">
                <a:moveTo>
                  <a:pt x="89107" y="252"/>
                </a:moveTo>
                <a:cubicBezTo>
                  <a:pt x="106080" y="1151"/>
                  <a:pt x="121739" y="2057"/>
                  <a:pt x="137399" y="2948"/>
                </a:cubicBezTo>
                <a:cubicBezTo>
                  <a:pt x="150166" y="3675"/>
                  <a:pt x="151455" y="11818"/>
                  <a:pt x="151923" y="22533"/>
                </a:cubicBezTo>
                <a:cubicBezTo>
                  <a:pt x="152405" y="33546"/>
                  <a:pt x="147123" y="37663"/>
                  <a:pt x="138022" y="37581"/>
                </a:cubicBezTo>
                <a:cubicBezTo>
                  <a:pt x="112456" y="37353"/>
                  <a:pt x="86891" y="36506"/>
                  <a:pt x="61340" y="35549"/>
                </a:cubicBezTo>
                <a:cubicBezTo>
                  <a:pt x="44330" y="34912"/>
                  <a:pt x="27290" y="34194"/>
                  <a:pt x="10364" y="32504"/>
                </a:cubicBezTo>
                <a:cubicBezTo>
                  <a:pt x="-484" y="31420"/>
                  <a:pt x="-2827" y="23494"/>
                  <a:pt x="3387" y="14529"/>
                </a:cubicBezTo>
                <a:cubicBezTo>
                  <a:pt x="12657" y="1154"/>
                  <a:pt x="26943" y="1169"/>
                  <a:pt x="40547" y="433"/>
                </a:cubicBezTo>
                <a:cubicBezTo>
                  <a:pt x="56253" y="-417"/>
                  <a:pt x="72041" y="246"/>
                  <a:pt x="89107" y="252"/>
                </a:cubicBezTo>
                <a:close/>
              </a:path>
            </a:pathLst>
          </a:custGeom>
          <a:solidFill>
            <a:srgbClr val="FCFCFB"/>
          </a:solidFill>
          <a:ln w="2699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243" name="Free-form: Shape 9242">
            <a:extLst>
              <a:ext uri="{FF2B5EF4-FFF2-40B4-BE49-F238E27FC236}">
                <a16:creationId xmlns:a16="http://schemas.microsoft.com/office/drawing/2014/main" id="{941D690F-D623-CA83-7D00-33B38A9ADC3D}"/>
              </a:ext>
            </a:extLst>
          </p:cNvPr>
          <p:cNvSpPr/>
          <p:nvPr/>
        </p:nvSpPr>
        <p:spPr>
          <a:xfrm flipH="1">
            <a:off x="6403158" y="4663081"/>
            <a:ext cx="105252" cy="17381"/>
          </a:xfrm>
          <a:custGeom>
            <a:avLst/>
            <a:gdLst>
              <a:gd name="csX0" fmla="*/ 1318 w 138350"/>
              <a:gd name="csY0" fmla="*/ 5445 h 24278"/>
              <a:gd name="csX1" fmla="*/ 32185 w 138350"/>
              <a:gd name="csY1" fmla="*/ 359 h 24278"/>
              <a:gd name="csX2" fmla="*/ 127547 w 138350"/>
              <a:gd name="csY2" fmla="*/ 1 h 24278"/>
              <a:gd name="csX3" fmla="*/ 138350 w 138350"/>
              <a:gd name="csY3" fmla="*/ 11778 h 24278"/>
              <a:gd name="csX4" fmla="*/ 127229 w 138350"/>
              <a:gd name="csY4" fmla="*/ 21765 h 24278"/>
              <a:gd name="csX5" fmla="*/ 55623 w 138350"/>
              <a:gd name="csY5" fmla="*/ 21860 h 24278"/>
              <a:gd name="csX6" fmla="*/ 14025 w 138350"/>
              <a:gd name="csY6" fmla="*/ 24277 h 24278"/>
              <a:gd name="csX7" fmla="*/ 1318 w 138350"/>
              <a:gd name="csY7" fmla="*/ 5445 h 2427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</a:cxnLst>
            <a:rect l="l" t="t" r="r" b="b"/>
            <a:pathLst>
              <a:path w="138350" h="24278">
                <a:moveTo>
                  <a:pt x="1318" y="5445"/>
                </a:moveTo>
                <a:cubicBezTo>
                  <a:pt x="11943" y="3060"/>
                  <a:pt x="22043" y="540"/>
                  <a:pt x="32185" y="359"/>
                </a:cubicBezTo>
                <a:cubicBezTo>
                  <a:pt x="63964" y="-209"/>
                  <a:pt x="95760" y="221"/>
                  <a:pt x="127547" y="1"/>
                </a:cubicBezTo>
                <a:cubicBezTo>
                  <a:pt x="136004" y="-58"/>
                  <a:pt x="138385" y="4159"/>
                  <a:pt x="138350" y="11778"/>
                </a:cubicBezTo>
                <a:cubicBezTo>
                  <a:pt x="138314" y="19623"/>
                  <a:pt x="134207" y="21799"/>
                  <a:pt x="127229" y="21765"/>
                </a:cubicBezTo>
                <a:cubicBezTo>
                  <a:pt x="103360" y="21647"/>
                  <a:pt x="79485" y="21423"/>
                  <a:pt x="55623" y="21860"/>
                </a:cubicBezTo>
                <a:cubicBezTo>
                  <a:pt x="41746" y="22114"/>
                  <a:pt x="27896" y="24173"/>
                  <a:pt x="14025" y="24277"/>
                </a:cubicBezTo>
                <a:cubicBezTo>
                  <a:pt x="1111" y="24374"/>
                  <a:pt x="-2207" y="19176"/>
                  <a:pt x="1318" y="5445"/>
                </a:cubicBezTo>
                <a:close/>
              </a:path>
            </a:pathLst>
          </a:custGeom>
          <a:solidFill>
            <a:srgbClr val="FCFCFB"/>
          </a:solidFill>
          <a:ln w="2699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244" name="Free-form: Shape 9243">
            <a:extLst>
              <a:ext uri="{FF2B5EF4-FFF2-40B4-BE49-F238E27FC236}">
                <a16:creationId xmlns:a16="http://schemas.microsoft.com/office/drawing/2014/main" id="{BBA8EF13-37ED-FCC5-DEA3-BAD95A231689}"/>
              </a:ext>
            </a:extLst>
          </p:cNvPr>
          <p:cNvSpPr/>
          <p:nvPr/>
        </p:nvSpPr>
        <p:spPr>
          <a:xfrm flipH="1">
            <a:off x="6281556" y="4404651"/>
            <a:ext cx="21342" cy="32407"/>
          </a:xfrm>
          <a:custGeom>
            <a:avLst/>
            <a:gdLst>
              <a:gd name="csX0" fmla="*/ 10475 w 28053"/>
              <a:gd name="csY0" fmla="*/ 29183 h 45267"/>
              <a:gd name="csX1" fmla="*/ 0 w 28053"/>
              <a:gd name="csY1" fmla="*/ 1367 h 45267"/>
              <a:gd name="csX2" fmla="*/ 3154 w 28053"/>
              <a:gd name="csY2" fmla="*/ 0 h 45267"/>
              <a:gd name="csX3" fmla="*/ 28053 w 28053"/>
              <a:gd name="csY3" fmla="*/ 42345 h 45267"/>
              <a:gd name="csX4" fmla="*/ 24171 w 28053"/>
              <a:gd name="csY4" fmla="*/ 45267 h 45267"/>
              <a:gd name="csX5" fmla="*/ 10475 w 28053"/>
              <a:gd name="csY5" fmla="*/ 29183 h 4526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</a:cxnLst>
            <a:rect l="l" t="t" r="r" b="b"/>
            <a:pathLst>
              <a:path w="28053" h="45267">
                <a:moveTo>
                  <a:pt x="10475" y="29183"/>
                </a:moveTo>
                <a:cubicBezTo>
                  <a:pt x="6669" y="19319"/>
                  <a:pt x="3335" y="10343"/>
                  <a:pt x="0" y="1367"/>
                </a:cubicBezTo>
                <a:cubicBezTo>
                  <a:pt x="1051" y="911"/>
                  <a:pt x="2102" y="456"/>
                  <a:pt x="3154" y="0"/>
                </a:cubicBezTo>
                <a:cubicBezTo>
                  <a:pt x="13794" y="12787"/>
                  <a:pt x="24893" y="25314"/>
                  <a:pt x="28053" y="42345"/>
                </a:cubicBezTo>
                <a:cubicBezTo>
                  <a:pt x="26759" y="43319"/>
                  <a:pt x="25465" y="44293"/>
                  <a:pt x="24171" y="45267"/>
                </a:cubicBezTo>
                <a:cubicBezTo>
                  <a:pt x="19762" y="40202"/>
                  <a:pt x="15354" y="35136"/>
                  <a:pt x="10475" y="29183"/>
                </a:cubicBezTo>
                <a:close/>
              </a:path>
            </a:pathLst>
          </a:custGeom>
          <a:solidFill>
            <a:srgbClr val="CCD6DA"/>
          </a:solidFill>
          <a:ln w="2699" cap="flat">
            <a:solidFill>
              <a:srgbClr val="CDD9DF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245" name="Free-form: Shape 9244">
            <a:extLst>
              <a:ext uri="{FF2B5EF4-FFF2-40B4-BE49-F238E27FC236}">
                <a16:creationId xmlns:a16="http://schemas.microsoft.com/office/drawing/2014/main" id="{C0AF1C77-E6B5-8188-1DC6-71E1E62F9445}"/>
              </a:ext>
            </a:extLst>
          </p:cNvPr>
          <p:cNvSpPr/>
          <p:nvPr/>
        </p:nvSpPr>
        <p:spPr>
          <a:xfrm flipH="1">
            <a:off x="6503052" y="4404124"/>
            <a:ext cx="22217" cy="30279"/>
          </a:xfrm>
          <a:custGeom>
            <a:avLst/>
            <a:gdLst>
              <a:gd name="csX0" fmla="*/ 10018 w 29204"/>
              <a:gd name="csY0" fmla="*/ 38080 h 42295"/>
              <a:gd name="csX1" fmla="*/ 3166 w 29204"/>
              <a:gd name="csY1" fmla="*/ 42296 h 42295"/>
              <a:gd name="csX2" fmla="*/ 0 w 29204"/>
              <a:gd name="csY2" fmla="*/ 39775 h 42295"/>
              <a:gd name="csX3" fmla="*/ 24176 w 29204"/>
              <a:gd name="csY3" fmla="*/ 0 h 42295"/>
              <a:gd name="csX4" fmla="*/ 29205 w 29204"/>
              <a:gd name="csY4" fmla="*/ 2823 h 42295"/>
              <a:gd name="csX5" fmla="*/ 10018 w 29204"/>
              <a:gd name="csY5" fmla="*/ 38080 h 4229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</a:cxnLst>
            <a:rect l="l" t="t" r="r" b="b"/>
            <a:pathLst>
              <a:path w="29204" h="42295">
                <a:moveTo>
                  <a:pt x="10018" y="38080"/>
                </a:moveTo>
                <a:cubicBezTo>
                  <a:pt x="7280" y="39942"/>
                  <a:pt x="5223" y="41119"/>
                  <a:pt x="3166" y="42296"/>
                </a:cubicBezTo>
                <a:cubicBezTo>
                  <a:pt x="2111" y="41456"/>
                  <a:pt x="1056" y="40615"/>
                  <a:pt x="0" y="39775"/>
                </a:cubicBezTo>
                <a:cubicBezTo>
                  <a:pt x="8059" y="26517"/>
                  <a:pt x="16118" y="13258"/>
                  <a:pt x="24176" y="0"/>
                </a:cubicBezTo>
                <a:cubicBezTo>
                  <a:pt x="25853" y="941"/>
                  <a:pt x="27529" y="1882"/>
                  <a:pt x="29205" y="2823"/>
                </a:cubicBezTo>
                <a:cubicBezTo>
                  <a:pt x="23036" y="14347"/>
                  <a:pt x="16867" y="25871"/>
                  <a:pt x="10018" y="38080"/>
                </a:cubicBezTo>
                <a:close/>
              </a:path>
            </a:pathLst>
          </a:custGeom>
          <a:solidFill>
            <a:srgbClr val="FCFCFB"/>
          </a:solidFill>
          <a:ln w="2699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246" name="Free-form: Shape 9245">
            <a:extLst>
              <a:ext uri="{FF2B5EF4-FFF2-40B4-BE49-F238E27FC236}">
                <a16:creationId xmlns:a16="http://schemas.microsoft.com/office/drawing/2014/main" id="{14994685-BB49-68EA-9470-D876EC5C27E7}"/>
              </a:ext>
            </a:extLst>
          </p:cNvPr>
          <p:cNvSpPr/>
          <p:nvPr/>
        </p:nvSpPr>
        <p:spPr>
          <a:xfrm flipH="1">
            <a:off x="6573851" y="4433891"/>
            <a:ext cx="860" cy="949"/>
          </a:xfrm>
          <a:custGeom>
            <a:avLst/>
            <a:gdLst>
              <a:gd name="csX0" fmla="*/ 1053 w 1130"/>
              <a:gd name="csY0" fmla="*/ 1326 h 1325"/>
              <a:gd name="csX1" fmla="*/ 0 w 1130"/>
              <a:gd name="csY1" fmla="*/ 0 h 1325"/>
              <a:gd name="csX2" fmla="*/ 1033 w 1130"/>
              <a:gd name="csY2" fmla="*/ 761 h 1325"/>
              <a:gd name="csX3" fmla="*/ 1053 w 1130"/>
              <a:gd name="csY3" fmla="*/ 1326 h 132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</a:cxnLst>
            <a:rect l="l" t="t" r="r" b="b"/>
            <a:pathLst>
              <a:path w="1130" h="1325">
                <a:moveTo>
                  <a:pt x="1053" y="1326"/>
                </a:moveTo>
                <a:cubicBezTo>
                  <a:pt x="665" y="916"/>
                  <a:pt x="333" y="458"/>
                  <a:pt x="0" y="0"/>
                </a:cubicBezTo>
                <a:cubicBezTo>
                  <a:pt x="287" y="118"/>
                  <a:pt x="574" y="236"/>
                  <a:pt x="1033" y="761"/>
                </a:cubicBezTo>
                <a:cubicBezTo>
                  <a:pt x="1206" y="1168"/>
                  <a:pt x="1108" y="1277"/>
                  <a:pt x="1053" y="1326"/>
                </a:cubicBezTo>
                <a:close/>
              </a:path>
            </a:pathLst>
          </a:custGeom>
          <a:solidFill>
            <a:srgbClr val="FCFCFB"/>
          </a:solidFill>
          <a:ln w="2699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247" name="Free-form: Shape 9246">
            <a:extLst>
              <a:ext uri="{FF2B5EF4-FFF2-40B4-BE49-F238E27FC236}">
                <a16:creationId xmlns:a16="http://schemas.microsoft.com/office/drawing/2014/main" id="{F6D6EF29-C43F-A34E-E68B-4F4C820301F5}"/>
              </a:ext>
            </a:extLst>
          </p:cNvPr>
          <p:cNvSpPr/>
          <p:nvPr/>
        </p:nvSpPr>
        <p:spPr>
          <a:xfrm flipH="1">
            <a:off x="6499825" y="4399957"/>
            <a:ext cx="332" cy="107"/>
          </a:xfrm>
          <a:custGeom>
            <a:avLst/>
            <a:gdLst>
              <a:gd name="csX0" fmla="*/ 434 w 437"/>
              <a:gd name="csY0" fmla="*/ 0 h 149"/>
              <a:gd name="csX1" fmla="*/ 46 w 437"/>
              <a:gd name="csY1" fmla="*/ 146 h 149"/>
              <a:gd name="csX2" fmla="*/ 434 w 437"/>
              <a:gd name="csY2" fmla="*/ 0 h 14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437" h="149">
                <a:moveTo>
                  <a:pt x="434" y="0"/>
                </a:moveTo>
                <a:cubicBezTo>
                  <a:pt x="157" y="78"/>
                  <a:pt x="-110" y="168"/>
                  <a:pt x="46" y="146"/>
                </a:cubicBezTo>
                <a:cubicBezTo>
                  <a:pt x="469" y="33"/>
                  <a:pt x="443" y="12"/>
                  <a:pt x="434" y="0"/>
                </a:cubicBezTo>
                <a:close/>
              </a:path>
            </a:pathLst>
          </a:custGeom>
          <a:solidFill>
            <a:srgbClr val="FCFCFB"/>
          </a:solidFill>
          <a:ln w="2699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248" name="Free-form: Shape 9247">
            <a:extLst>
              <a:ext uri="{FF2B5EF4-FFF2-40B4-BE49-F238E27FC236}">
                <a16:creationId xmlns:a16="http://schemas.microsoft.com/office/drawing/2014/main" id="{E74484CC-9E5F-DC5B-F387-6617C7B392F3}"/>
              </a:ext>
            </a:extLst>
          </p:cNvPr>
          <p:cNvSpPr/>
          <p:nvPr/>
        </p:nvSpPr>
        <p:spPr>
          <a:xfrm flipH="1">
            <a:off x="6307743" y="4398025"/>
            <a:ext cx="806" cy="864"/>
          </a:xfrm>
          <a:custGeom>
            <a:avLst/>
            <a:gdLst>
              <a:gd name="csX0" fmla="*/ 4 w 1059"/>
              <a:gd name="csY0" fmla="*/ 0 h 1207"/>
              <a:gd name="csX1" fmla="*/ 1060 w 1059"/>
              <a:gd name="csY1" fmla="*/ 1208 h 1207"/>
              <a:gd name="csX2" fmla="*/ 130 w 1059"/>
              <a:gd name="csY2" fmla="*/ 422 h 1207"/>
              <a:gd name="csX3" fmla="*/ 4 w 1059"/>
              <a:gd name="csY3" fmla="*/ 0 h 120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</a:cxnLst>
            <a:rect l="l" t="t" r="r" b="b"/>
            <a:pathLst>
              <a:path w="1059" h="1207">
                <a:moveTo>
                  <a:pt x="4" y="0"/>
                </a:moveTo>
                <a:cubicBezTo>
                  <a:pt x="360" y="398"/>
                  <a:pt x="710" y="803"/>
                  <a:pt x="1060" y="1208"/>
                </a:cubicBezTo>
                <a:cubicBezTo>
                  <a:pt x="798" y="1080"/>
                  <a:pt x="537" y="952"/>
                  <a:pt x="130" y="422"/>
                </a:cubicBezTo>
                <a:cubicBezTo>
                  <a:pt x="-16" y="21"/>
                  <a:pt x="-3" y="6"/>
                  <a:pt x="4" y="0"/>
                </a:cubicBezTo>
                <a:close/>
              </a:path>
            </a:pathLst>
          </a:custGeom>
          <a:solidFill>
            <a:srgbClr val="CCD6DA"/>
          </a:solidFill>
          <a:ln w="2699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249" name="Free-form: Shape 9248">
            <a:extLst>
              <a:ext uri="{FF2B5EF4-FFF2-40B4-BE49-F238E27FC236}">
                <a16:creationId xmlns:a16="http://schemas.microsoft.com/office/drawing/2014/main" id="{851F75EB-9276-0E61-9102-D7BB3F3889B6}"/>
              </a:ext>
            </a:extLst>
          </p:cNvPr>
          <p:cNvSpPr/>
          <p:nvPr/>
        </p:nvSpPr>
        <p:spPr>
          <a:xfrm flipH="1">
            <a:off x="6313128" y="4686466"/>
            <a:ext cx="86686" cy="45131"/>
          </a:xfrm>
          <a:custGeom>
            <a:avLst/>
            <a:gdLst>
              <a:gd name="csX0" fmla="*/ 62457 w 230080"/>
              <a:gd name="csY0" fmla="*/ 0 h 51402"/>
              <a:gd name="csX1" fmla="*/ 229715 w 230080"/>
              <a:gd name="csY1" fmla="*/ 2548 h 51402"/>
              <a:gd name="csX2" fmla="*/ 229033 w 230080"/>
              <a:gd name="csY2" fmla="*/ 41559 h 51402"/>
              <a:gd name="csX3" fmla="*/ 214851 w 230080"/>
              <a:gd name="csY3" fmla="*/ 50862 h 51402"/>
              <a:gd name="csX4" fmla="*/ 120527 w 230080"/>
              <a:gd name="csY4" fmla="*/ 48743 h 51402"/>
              <a:gd name="csX5" fmla="*/ 13547 w 230080"/>
              <a:gd name="csY5" fmla="*/ 51342 h 51402"/>
              <a:gd name="csX6" fmla="*/ 61 w 230080"/>
              <a:gd name="csY6" fmla="*/ 51359 h 51402"/>
              <a:gd name="csX7" fmla="*/ 4 w 230080"/>
              <a:gd name="csY7" fmla="*/ 13697 h 51402"/>
              <a:gd name="csX8" fmla="*/ 10055 w 230080"/>
              <a:gd name="csY8" fmla="*/ 2596 h 51402"/>
              <a:gd name="csX9" fmla="*/ 62457 w 230080"/>
              <a:gd name="csY9" fmla="*/ 0 h 5140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230080" h="51402">
                <a:moveTo>
                  <a:pt x="62457" y="0"/>
                </a:moveTo>
                <a:cubicBezTo>
                  <a:pt x="118516" y="838"/>
                  <a:pt x="173258" y="1679"/>
                  <a:pt x="229715" y="2548"/>
                </a:cubicBezTo>
                <a:cubicBezTo>
                  <a:pt x="229715" y="16728"/>
                  <a:pt x="230888" y="29374"/>
                  <a:pt x="229033" y="41559"/>
                </a:cubicBezTo>
                <a:cubicBezTo>
                  <a:pt x="228442" y="45440"/>
                  <a:pt x="219802" y="50868"/>
                  <a:pt x="214851" y="50862"/>
                </a:cubicBezTo>
                <a:cubicBezTo>
                  <a:pt x="183409" y="50825"/>
                  <a:pt x="151967" y="48693"/>
                  <a:pt x="120527" y="48743"/>
                </a:cubicBezTo>
                <a:cubicBezTo>
                  <a:pt x="84866" y="48800"/>
                  <a:pt x="49208" y="50434"/>
                  <a:pt x="13547" y="51342"/>
                </a:cubicBezTo>
                <a:cubicBezTo>
                  <a:pt x="8707" y="51466"/>
                  <a:pt x="3861" y="51359"/>
                  <a:pt x="61" y="51359"/>
                </a:cubicBezTo>
                <a:cubicBezTo>
                  <a:pt x="61" y="37755"/>
                  <a:pt x="210" y="25723"/>
                  <a:pt x="4" y="13697"/>
                </a:cubicBezTo>
                <a:cubicBezTo>
                  <a:pt x="-117" y="6604"/>
                  <a:pt x="2365" y="2860"/>
                  <a:pt x="10055" y="2596"/>
                </a:cubicBezTo>
                <a:cubicBezTo>
                  <a:pt x="27093" y="2012"/>
                  <a:pt x="44112" y="901"/>
                  <a:pt x="62457" y="0"/>
                </a:cubicBezTo>
                <a:close/>
              </a:path>
            </a:pathLst>
          </a:custGeom>
          <a:solidFill>
            <a:srgbClr val="CCD6DA"/>
          </a:solidFill>
          <a:ln w="2699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250" name="Free-form: Shape 9249">
            <a:extLst>
              <a:ext uri="{FF2B5EF4-FFF2-40B4-BE49-F238E27FC236}">
                <a16:creationId xmlns:a16="http://schemas.microsoft.com/office/drawing/2014/main" id="{F8EE7D2C-A6D9-9DA5-EE5A-D035014BB859}"/>
              </a:ext>
            </a:extLst>
          </p:cNvPr>
          <p:cNvSpPr/>
          <p:nvPr/>
        </p:nvSpPr>
        <p:spPr>
          <a:xfrm>
            <a:off x="6399473" y="4411024"/>
            <a:ext cx="181158" cy="248589"/>
          </a:xfrm>
          <a:custGeom>
            <a:avLst/>
            <a:gdLst>
              <a:gd name="csX0" fmla="*/ 778 w 226548"/>
              <a:gd name="csY0" fmla="*/ 0 h 337161"/>
              <a:gd name="csX1" fmla="*/ 37702 w 226548"/>
              <a:gd name="csY1" fmla="*/ 37373 h 337161"/>
              <a:gd name="csX2" fmla="*/ 104410 w 226548"/>
              <a:gd name="csY2" fmla="*/ 29446 h 337161"/>
              <a:gd name="csX3" fmla="*/ 121584 w 226548"/>
              <a:gd name="csY3" fmla="*/ 10749 h 337161"/>
              <a:gd name="csX4" fmla="*/ 168719 w 226548"/>
              <a:gd name="csY4" fmla="*/ 53353 h 337161"/>
              <a:gd name="csX5" fmla="*/ 226548 w 226548"/>
              <a:gd name="csY5" fmla="*/ 20770 h 337161"/>
              <a:gd name="csX6" fmla="*/ 195378 w 226548"/>
              <a:gd name="csY6" fmla="*/ 100783 h 337161"/>
              <a:gd name="csX7" fmla="*/ 130693 w 226548"/>
              <a:gd name="csY7" fmla="*/ 318354 h 337161"/>
              <a:gd name="csX8" fmla="*/ 108611 w 226548"/>
              <a:gd name="csY8" fmla="*/ 336726 h 337161"/>
              <a:gd name="csX9" fmla="*/ 15990 w 226548"/>
              <a:gd name="csY9" fmla="*/ 331469 h 337161"/>
              <a:gd name="csX10" fmla="*/ 0 w 226548"/>
              <a:gd name="csY10" fmla="*/ 331485 h 337161"/>
              <a:gd name="csX11" fmla="*/ 0 w 226548"/>
              <a:gd name="csY11" fmla="*/ 1107 h 33716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226548" h="337161">
                <a:moveTo>
                  <a:pt x="778" y="0"/>
                </a:moveTo>
                <a:cubicBezTo>
                  <a:pt x="13501" y="12962"/>
                  <a:pt x="25038" y="25783"/>
                  <a:pt x="37702" y="37373"/>
                </a:cubicBezTo>
                <a:cubicBezTo>
                  <a:pt x="58156" y="56093"/>
                  <a:pt x="87159" y="53087"/>
                  <a:pt x="104410" y="29446"/>
                </a:cubicBezTo>
                <a:cubicBezTo>
                  <a:pt x="109133" y="22974"/>
                  <a:pt x="115276" y="17539"/>
                  <a:pt x="121584" y="10749"/>
                </a:cubicBezTo>
                <a:cubicBezTo>
                  <a:pt x="130376" y="32859"/>
                  <a:pt x="139680" y="52822"/>
                  <a:pt x="168719" y="53353"/>
                </a:cubicBezTo>
                <a:cubicBezTo>
                  <a:pt x="194658" y="53827"/>
                  <a:pt x="206643" y="32131"/>
                  <a:pt x="226548" y="20770"/>
                </a:cubicBezTo>
                <a:cubicBezTo>
                  <a:pt x="215744" y="48562"/>
                  <a:pt x="205876" y="74800"/>
                  <a:pt x="195378" y="100783"/>
                </a:cubicBezTo>
                <a:cubicBezTo>
                  <a:pt x="166902" y="171263"/>
                  <a:pt x="147278" y="244366"/>
                  <a:pt x="130693" y="318354"/>
                </a:cubicBezTo>
                <a:cubicBezTo>
                  <a:pt x="126342" y="337768"/>
                  <a:pt x="126276" y="337983"/>
                  <a:pt x="108611" y="336726"/>
                </a:cubicBezTo>
                <a:cubicBezTo>
                  <a:pt x="77766" y="334530"/>
                  <a:pt x="46890" y="332362"/>
                  <a:pt x="15990" y="331469"/>
                </a:cubicBezTo>
                <a:lnTo>
                  <a:pt x="0" y="331485"/>
                </a:lnTo>
                <a:lnTo>
                  <a:pt x="0" y="1107"/>
                </a:lnTo>
                <a:close/>
              </a:path>
            </a:pathLst>
          </a:custGeom>
          <a:solidFill>
            <a:schemeClr val="bg1"/>
          </a:solidFill>
          <a:ln w="2699" cap="flat">
            <a:noFill/>
            <a:prstDash val="solid"/>
            <a:miter/>
          </a:ln>
        </p:spPr>
        <p:txBody>
          <a:bodyPr wrap="squar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251" name="Free-form: Shape 9250">
            <a:extLst>
              <a:ext uri="{FF2B5EF4-FFF2-40B4-BE49-F238E27FC236}">
                <a16:creationId xmlns:a16="http://schemas.microsoft.com/office/drawing/2014/main" id="{E9881BA9-81F2-6BD3-4D88-7BD581825FC1}"/>
              </a:ext>
            </a:extLst>
          </p:cNvPr>
          <p:cNvSpPr/>
          <p:nvPr/>
        </p:nvSpPr>
        <p:spPr>
          <a:xfrm flipH="1">
            <a:off x="6308146" y="4297589"/>
            <a:ext cx="96348" cy="138988"/>
          </a:xfrm>
          <a:custGeom>
            <a:avLst/>
            <a:gdLst>
              <a:gd name="csX0" fmla="*/ 0 w 126645"/>
              <a:gd name="csY0" fmla="*/ 0 h 194142"/>
              <a:gd name="csX1" fmla="*/ 27386 w 126645"/>
              <a:gd name="csY1" fmla="*/ 7476 h 194142"/>
              <a:gd name="csX2" fmla="*/ 30588 w 126645"/>
              <a:gd name="csY2" fmla="*/ 88167 h 194142"/>
              <a:gd name="csX3" fmla="*/ 126557 w 126645"/>
              <a:gd name="csY3" fmla="*/ 139377 h 194142"/>
              <a:gd name="csX4" fmla="*/ 126645 w 126645"/>
              <a:gd name="csY4" fmla="*/ 140313 h 194142"/>
              <a:gd name="csX5" fmla="*/ 101765 w 126645"/>
              <a:gd name="csY5" fmla="*/ 163014 h 194142"/>
              <a:gd name="csX6" fmla="*/ 82313 w 126645"/>
              <a:gd name="csY6" fmla="*/ 186490 h 194142"/>
              <a:gd name="csX7" fmla="*/ 45457 w 126645"/>
              <a:gd name="csY7" fmla="*/ 184308 h 194142"/>
              <a:gd name="csX8" fmla="*/ 17297 w 126645"/>
              <a:gd name="csY8" fmla="*/ 145391 h 194142"/>
              <a:gd name="csX9" fmla="*/ 978 w 126645"/>
              <a:gd name="csY9" fmla="*/ 131516 h 194142"/>
              <a:gd name="csX10" fmla="*/ 0 w 126645"/>
              <a:gd name="csY10" fmla="*/ 132393 h 194142"/>
              <a:gd name="csX11" fmla="*/ 0 w 126645"/>
              <a:gd name="csY11" fmla="*/ 0 h 19414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126645" h="194142">
                <a:moveTo>
                  <a:pt x="0" y="0"/>
                </a:moveTo>
                <a:lnTo>
                  <a:pt x="27386" y="7476"/>
                </a:lnTo>
                <a:cubicBezTo>
                  <a:pt x="51896" y="26141"/>
                  <a:pt x="53053" y="49936"/>
                  <a:pt x="30588" y="88167"/>
                </a:cubicBezTo>
                <a:cubicBezTo>
                  <a:pt x="66790" y="97135"/>
                  <a:pt x="100367" y="110864"/>
                  <a:pt x="126557" y="139377"/>
                </a:cubicBezTo>
                <a:cubicBezTo>
                  <a:pt x="126658" y="140298"/>
                  <a:pt x="126645" y="140313"/>
                  <a:pt x="126645" y="140313"/>
                </a:cubicBezTo>
                <a:cubicBezTo>
                  <a:pt x="113236" y="142307"/>
                  <a:pt x="108459" y="153523"/>
                  <a:pt x="101765" y="163014"/>
                </a:cubicBezTo>
                <a:cubicBezTo>
                  <a:pt x="95908" y="171321"/>
                  <a:pt x="90026" y="180136"/>
                  <a:pt x="82313" y="186490"/>
                </a:cubicBezTo>
                <a:cubicBezTo>
                  <a:pt x="69278" y="197226"/>
                  <a:pt x="56874" y="196816"/>
                  <a:pt x="45457" y="184308"/>
                </a:cubicBezTo>
                <a:cubicBezTo>
                  <a:pt x="34728" y="172556"/>
                  <a:pt x="26298" y="158649"/>
                  <a:pt x="17297" y="145391"/>
                </a:cubicBezTo>
                <a:cubicBezTo>
                  <a:pt x="10996" y="136110"/>
                  <a:pt x="5957" y="131464"/>
                  <a:pt x="978" y="131516"/>
                </a:cubicBezTo>
                <a:lnTo>
                  <a:pt x="0" y="132393"/>
                </a:lnTo>
                <a:lnTo>
                  <a:pt x="0" y="0"/>
                </a:lnTo>
                <a:close/>
              </a:path>
            </a:pathLst>
          </a:custGeom>
          <a:solidFill>
            <a:srgbClr val="CCD6DA"/>
          </a:solidFill>
          <a:ln w="2699" cap="flat">
            <a:solidFill>
              <a:srgbClr val="CDD9DF"/>
            </a:solidFill>
            <a:prstDash val="solid"/>
            <a:miter/>
          </a:ln>
        </p:spPr>
        <p:txBody>
          <a:bodyPr wrap="squar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252" name="Oval 9251">
            <a:extLst>
              <a:ext uri="{FF2B5EF4-FFF2-40B4-BE49-F238E27FC236}">
                <a16:creationId xmlns:a16="http://schemas.microsoft.com/office/drawing/2014/main" id="{0F0343EA-B6E2-435A-FE63-96F40D388D34}"/>
              </a:ext>
            </a:extLst>
          </p:cNvPr>
          <p:cNvSpPr/>
          <p:nvPr/>
        </p:nvSpPr>
        <p:spPr>
          <a:xfrm>
            <a:off x="7716407" y="3926769"/>
            <a:ext cx="656485" cy="147620"/>
          </a:xfrm>
          <a:prstGeom prst="ellipse">
            <a:avLst/>
          </a:prstGeom>
          <a:solidFill>
            <a:schemeClr val="tx1">
              <a:alpha val="5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253" name="Free-form: Shape 9252">
            <a:extLst>
              <a:ext uri="{FF2B5EF4-FFF2-40B4-BE49-F238E27FC236}">
                <a16:creationId xmlns:a16="http://schemas.microsoft.com/office/drawing/2014/main" id="{F384165C-A1F6-D0E6-1DEC-0F48CABE9FE9}"/>
              </a:ext>
            </a:extLst>
          </p:cNvPr>
          <p:cNvSpPr/>
          <p:nvPr/>
        </p:nvSpPr>
        <p:spPr>
          <a:xfrm>
            <a:off x="7630428" y="3179489"/>
            <a:ext cx="880396" cy="841622"/>
          </a:xfrm>
          <a:custGeom>
            <a:avLst/>
            <a:gdLst>
              <a:gd name="csX0" fmla="*/ 401579 w 1609516"/>
              <a:gd name="csY0" fmla="*/ 1495809 h 1538630"/>
              <a:gd name="csX1" fmla="*/ 400190 w 1609516"/>
              <a:gd name="csY1" fmla="*/ 1496004 h 1538630"/>
              <a:gd name="csX2" fmla="*/ 401224 w 1609516"/>
              <a:gd name="csY2" fmla="*/ 1496470 h 1538630"/>
              <a:gd name="csX3" fmla="*/ 401224 w 1609516"/>
              <a:gd name="csY3" fmla="*/ 1498590 h 1538630"/>
              <a:gd name="csX4" fmla="*/ 401579 w 1609516"/>
              <a:gd name="csY4" fmla="*/ 1498628 h 1538630"/>
              <a:gd name="csX5" fmla="*/ 401579 w 1609516"/>
              <a:gd name="csY5" fmla="*/ 1495809 h 1538630"/>
              <a:gd name="csX6" fmla="*/ 368755 w 1609516"/>
              <a:gd name="csY6" fmla="*/ 1486512 h 1538630"/>
              <a:gd name="csX7" fmla="*/ 364089 w 1609516"/>
              <a:gd name="csY7" fmla="*/ 1487354 h 1538630"/>
              <a:gd name="csX8" fmla="*/ 364089 w 1609516"/>
              <a:gd name="csY8" fmla="*/ 1487908 h 1538630"/>
              <a:gd name="csX9" fmla="*/ 1049801 w 1609516"/>
              <a:gd name="csY9" fmla="*/ 1484562 h 1538630"/>
              <a:gd name="csX10" fmla="*/ 1046735 w 1609516"/>
              <a:gd name="csY10" fmla="*/ 1485945 h 1538630"/>
              <a:gd name="csX11" fmla="*/ 1046955 w 1609516"/>
              <a:gd name="csY11" fmla="*/ 1486045 h 1538630"/>
              <a:gd name="csX12" fmla="*/ 1049801 w 1609516"/>
              <a:gd name="csY12" fmla="*/ 1485188 h 1538630"/>
              <a:gd name="csX13" fmla="*/ 351234 w 1609516"/>
              <a:gd name="csY13" fmla="*/ 1444508 h 1538630"/>
              <a:gd name="csX14" fmla="*/ 351234 w 1609516"/>
              <a:gd name="csY14" fmla="*/ 1444997 h 1538630"/>
              <a:gd name="csX15" fmla="*/ 351592 w 1609516"/>
              <a:gd name="csY15" fmla="*/ 1445078 h 1538630"/>
              <a:gd name="csX16" fmla="*/ 351908 w 1609516"/>
              <a:gd name="csY16" fmla="*/ 1431206 h 1538630"/>
              <a:gd name="csX17" fmla="*/ 351234 w 1609516"/>
              <a:gd name="csY17" fmla="*/ 1431611 h 1538630"/>
              <a:gd name="csX18" fmla="*/ 351234 w 1609516"/>
              <a:gd name="csY18" fmla="*/ 1432274 h 1538630"/>
              <a:gd name="csX19" fmla="*/ 358162 w 1609516"/>
              <a:gd name="csY19" fmla="*/ 1421494 h 1538630"/>
              <a:gd name="csX20" fmla="*/ 355921 w 1609516"/>
              <a:gd name="csY20" fmla="*/ 1423156 h 1538630"/>
              <a:gd name="csX21" fmla="*/ 355921 w 1609516"/>
              <a:gd name="csY21" fmla="*/ 1423548 h 1538630"/>
              <a:gd name="csX22" fmla="*/ 376098 w 1609516"/>
              <a:gd name="csY22" fmla="*/ 1408347 h 1538630"/>
              <a:gd name="csX23" fmla="*/ 370750 w 1609516"/>
              <a:gd name="csY23" fmla="*/ 1412245 h 1538630"/>
              <a:gd name="csX24" fmla="*/ 375023 w 1609516"/>
              <a:gd name="csY24" fmla="*/ 1411256 h 1538630"/>
              <a:gd name="csX25" fmla="*/ 421956 w 1609516"/>
              <a:gd name="csY25" fmla="*/ 1365623 h 1538630"/>
              <a:gd name="csX26" fmla="*/ 421765 w 1609516"/>
              <a:gd name="csY26" fmla="*/ 1366161 h 1538630"/>
              <a:gd name="csX27" fmla="*/ 421887 w 1609516"/>
              <a:gd name="csY27" fmla="*/ 1366161 h 1538630"/>
              <a:gd name="csX28" fmla="*/ 754553 w 1609516"/>
              <a:gd name="csY28" fmla="*/ 1360575 h 1538630"/>
              <a:gd name="csX29" fmla="*/ 754089 w 1609516"/>
              <a:gd name="csY29" fmla="*/ 1361433 h 1538630"/>
              <a:gd name="csX30" fmla="*/ 754431 w 1609516"/>
              <a:gd name="csY30" fmla="*/ 1361125 h 1538630"/>
              <a:gd name="csX31" fmla="*/ 1277973 w 1609516"/>
              <a:gd name="csY31" fmla="*/ 1332923 h 1538630"/>
              <a:gd name="csX32" fmla="*/ 1277944 w 1609516"/>
              <a:gd name="csY32" fmla="*/ 1332936 h 1538630"/>
              <a:gd name="csX33" fmla="*/ 1277949 w 1609516"/>
              <a:gd name="csY33" fmla="*/ 1333139 h 1538630"/>
              <a:gd name="csX34" fmla="*/ 1268556 w 1609516"/>
              <a:gd name="csY34" fmla="*/ 1321066 h 1538630"/>
              <a:gd name="csX35" fmla="*/ 1268556 w 1609516"/>
              <a:gd name="csY35" fmla="*/ 1325294 h 1538630"/>
              <a:gd name="csX36" fmla="*/ 1265432 w 1609516"/>
              <a:gd name="csY36" fmla="*/ 1325294 h 1538630"/>
              <a:gd name="csX37" fmla="*/ 1265432 w 1609516"/>
              <a:gd name="csY37" fmla="*/ 1340795 h 1538630"/>
              <a:gd name="csX38" fmla="*/ 1265476 w 1609516"/>
              <a:gd name="csY38" fmla="*/ 1340714 h 1538630"/>
              <a:gd name="csX39" fmla="*/ 1265476 w 1609516"/>
              <a:gd name="csY39" fmla="*/ 1325877 h 1538630"/>
              <a:gd name="csX40" fmla="*/ 1268600 w 1609516"/>
              <a:gd name="csY40" fmla="*/ 1325877 h 1538630"/>
              <a:gd name="csX41" fmla="*/ 1268600 w 1609516"/>
              <a:gd name="csY41" fmla="*/ 1321649 h 1538630"/>
              <a:gd name="csX42" fmla="*/ 1273286 w 1609516"/>
              <a:gd name="csY42" fmla="*/ 1321649 h 1538630"/>
              <a:gd name="csX43" fmla="*/ 1273227 w 1609516"/>
              <a:gd name="csY43" fmla="*/ 1321066 h 1538630"/>
              <a:gd name="csX44" fmla="*/ 827891 w 1609516"/>
              <a:gd name="csY44" fmla="*/ 1291474 h 1538630"/>
              <a:gd name="csX45" fmla="*/ 822601 w 1609516"/>
              <a:gd name="csY45" fmla="*/ 1291544 h 1538630"/>
              <a:gd name="csX46" fmla="*/ 818272 w 1609516"/>
              <a:gd name="csY46" fmla="*/ 1292220 h 1538630"/>
              <a:gd name="csX47" fmla="*/ 827891 w 1609516"/>
              <a:gd name="csY47" fmla="*/ 1292047 h 1538630"/>
              <a:gd name="csX48" fmla="*/ 856397 w 1609516"/>
              <a:gd name="csY48" fmla="*/ 1288691 h 1538630"/>
              <a:gd name="csX49" fmla="*/ 865903 w 1609516"/>
              <a:gd name="csY49" fmla="*/ 1290590 h 1538630"/>
              <a:gd name="csX50" fmla="*/ 859999 w 1609516"/>
              <a:gd name="csY50" fmla="*/ 1288752 h 1538630"/>
              <a:gd name="csX51" fmla="*/ 834694 w 1609516"/>
              <a:gd name="csY51" fmla="*/ 1288572 h 1538630"/>
              <a:gd name="csX52" fmla="*/ 828038 w 1609516"/>
              <a:gd name="csY52" fmla="*/ 1288654 h 1538630"/>
              <a:gd name="csX53" fmla="*/ 828038 w 1609516"/>
              <a:gd name="csY53" fmla="*/ 1289214 h 1538630"/>
              <a:gd name="csX54" fmla="*/ 229746 w 1609516"/>
              <a:gd name="csY54" fmla="*/ 1191418 h 1538630"/>
              <a:gd name="csX55" fmla="*/ 227402 w 1609516"/>
              <a:gd name="csY55" fmla="*/ 1191947 h 1538630"/>
              <a:gd name="csX56" fmla="*/ 229315 w 1609516"/>
              <a:gd name="csY56" fmla="*/ 1191947 h 1538630"/>
              <a:gd name="csX57" fmla="*/ 229315 w 1609516"/>
              <a:gd name="csY57" fmla="*/ 1194765 h 1538630"/>
              <a:gd name="csX58" fmla="*/ 231321 w 1609516"/>
              <a:gd name="csY58" fmla="*/ 1194765 h 1538630"/>
              <a:gd name="csX59" fmla="*/ 229746 w 1609516"/>
              <a:gd name="csY59" fmla="*/ 1194236 h 1538630"/>
              <a:gd name="csX60" fmla="*/ 229746 w 1609516"/>
              <a:gd name="csY60" fmla="*/ 1191418 h 1538630"/>
              <a:gd name="csX61" fmla="*/ 215687 w 1609516"/>
              <a:gd name="csY61" fmla="*/ 1187190 h 1538630"/>
              <a:gd name="csX62" fmla="*/ 215198 w 1609516"/>
              <a:gd name="csY62" fmla="*/ 1187720 h 1538630"/>
              <a:gd name="csX63" fmla="*/ 215256 w 1609516"/>
              <a:gd name="csY63" fmla="*/ 1187720 h 1538630"/>
              <a:gd name="csX64" fmla="*/ 215256 w 1609516"/>
              <a:gd name="csY64" fmla="*/ 1191947 h 1538630"/>
              <a:gd name="csX65" fmla="*/ 222721 w 1609516"/>
              <a:gd name="csY65" fmla="*/ 1191947 h 1538630"/>
              <a:gd name="csX66" fmla="*/ 215687 w 1609516"/>
              <a:gd name="csY66" fmla="*/ 1191418 h 1538630"/>
              <a:gd name="csX67" fmla="*/ 215687 w 1609516"/>
              <a:gd name="csY67" fmla="*/ 1187190 h 1538630"/>
              <a:gd name="csX68" fmla="*/ 1279678 w 1609516"/>
              <a:gd name="csY68" fmla="*/ 1082356 h 1538630"/>
              <a:gd name="csX69" fmla="*/ 1271680 w 1609516"/>
              <a:gd name="csY69" fmla="*/ 1084589 h 1538630"/>
              <a:gd name="csX70" fmla="*/ 1282181 w 1609516"/>
              <a:gd name="csY70" fmla="*/ 1082544 h 1538630"/>
              <a:gd name="csX71" fmla="*/ 117703 w 1609516"/>
              <a:gd name="csY71" fmla="*/ 941507 h 1538630"/>
              <a:gd name="csX72" fmla="*/ 112587 w 1609516"/>
              <a:gd name="csY72" fmla="*/ 941985 h 1538630"/>
              <a:gd name="csX73" fmla="*/ 112565 w 1609516"/>
              <a:gd name="csY73" fmla="*/ 942333 h 1538630"/>
              <a:gd name="csX74" fmla="*/ 115665 w 1609516"/>
              <a:gd name="csY74" fmla="*/ 941837 h 1538630"/>
              <a:gd name="csX75" fmla="*/ 144268 w 1609516"/>
              <a:gd name="csY75" fmla="*/ 939395 h 1538630"/>
              <a:gd name="csX76" fmla="*/ 143354 w 1609516"/>
              <a:gd name="csY76" fmla="*/ 939580 h 1538630"/>
              <a:gd name="csX77" fmla="*/ 144077 w 1609516"/>
              <a:gd name="csY77" fmla="*/ 939739 h 1538630"/>
              <a:gd name="csX78" fmla="*/ 162575 w 1609516"/>
              <a:gd name="csY78" fmla="*/ 933530 h 1538630"/>
              <a:gd name="csX79" fmla="*/ 161704 w 1609516"/>
              <a:gd name="csY79" fmla="*/ 935101 h 1538630"/>
              <a:gd name="csX80" fmla="*/ 170045 w 1609516"/>
              <a:gd name="csY80" fmla="*/ 933585 h 1538630"/>
              <a:gd name="csX81" fmla="*/ 1321645 w 1609516"/>
              <a:gd name="csY81" fmla="*/ 918415 h 1538630"/>
              <a:gd name="csX82" fmla="*/ 1321534 w 1609516"/>
              <a:gd name="csY82" fmla="*/ 920177 h 1538630"/>
              <a:gd name="csX83" fmla="*/ 1321740 w 1609516"/>
              <a:gd name="csY83" fmla="*/ 918415 h 1538630"/>
              <a:gd name="csX84" fmla="*/ 1319333 w 1609516"/>
              <a:gd name="csY84" fmla="*/ 915183 h 1538630"/>
              <a:gd name="csX85" fmla="*/ 1318544 w 1609516"/>
              <a:gd name="csY85" fmla="*/ 918029 h 1538630"/>
              <a:gd name="csX86" fmla="*/ 1318702 w 1609516"/>
              <a:gd name="csY86" fmla="*/ 918029 h 1538630"/>
              <a:gd name="csX87" fmla="*/ 1326355 w 1609516"/>
              <a:gd name="csY87" fmla="*/ 907109 h 1538630"/>
              <a:gd name="csX88" fmla="*/ 1326355 w 1609516"/>
              <a:gd name="csY88" fmla="*/ 910983 h 1538630"/>
              <a:gd name="csX89" fmla="*/ 1325831 w 1609516"/>
              <a:gd name="csY89" fmla="*/ 911101 h 1538630"/>
              <a:gd name="csX90" fmla="*/ 1326426 w 1609516"/>
              <a:gd name="csY90" fmla="*/ 911369 h 1538630"/>
              <a:gd name="csX91" fmla="*/ 1326426 w 1609516"/>
              <a:gd name="csY91" fmla="*/ 907141 h 1538630"/>
              <a:gd name="csX92" fmla="*/ 1328144 w 1609516"/>
              <a:gd name="csY92" fmla="*/ 892192 h 1538630"/>
              <a:gd name="csX93" fmla="*/ 1327667 w 1609516"/>
              <a:gd name="csY93" fmla="*/ 893446 h 1538630"/>
              <a:gd name="csX94" fmla="*/ 1327989 w 1609516"/>
              <a:gd name="csY94" fmla="*/ 893049 h 1538630"/>
              <a:gd name="csX95" fmla="*/ 49605 w 1609516"/>
              <a:gd name="csY95" fmla="*/ 887420 h 1538630"/>
              <a:gd name="csX96" fmla="*/ 48549 w 1609516"/>
              <a:gd name="csY96" fmla="*/ 891229 h 1538630"/>
              <a:gd name="csX97" fmla="*/ 49956 w 1609516"/>
              <a:gd name="csY97" fmla="*/ 887420 h 1538630"/>
              <a:gd name="csX98" fmla="*/ 1332266 w 1609516"/>
              <a:gd name="csY98" fmla="*/ 883369 h 1538630"/>
              <a:gd name="csX99" fmla="*/ 1329479 w 1609516"/>
              <a:gd name="csY99" fmla="*/ 884207 h 1538630"/>
              <a:gd name="csX100" fmla="*/ 1329509 w 1609516"/>
              <a:gd name="csY100" fmla="*/ 884816 h 1538630"/>
              <a:gd name="csX101" fmla="*/ 1329551 w 1609516"/>
              <a:gd name="csY101" fmla="*/ 884594 h 1538630"/>
              <a:gd name="csX102" fmla="*/ 1555987 w 1609516"/>
              <a:gd name="csY102" fmla="*/ 821766 h 1538630"/>
              <a:gd name="csX103" fmla="*/ 1555987 w 1609516"/>
              <a:gd name="csY103" fmla="*/ 822201 h 1538630"/>
              <a:gd name="csX104" fmla="*/ 1556081 w 1609516"/>
              <a:gd name="csY104" fmla="*/ 822189 h 1538630"/>
              <a:gd name="csX105" fmla="*/ 1565360 w 1609516"/>
              <a:gd name="csY105" fmla="*/ 810928 h 1538630"/>
              <a:gd name="csX106" fmla="*/ 1564871 w 1609516"/>
              <a:gd name="csY106" fmla="*/ 811809 h 1538630"/>
              <a:gd name="csX107" fmla="*/ 1567314 w 1609516"/>
              <a:gd name="csY107" fmla="*/ 810928 h 1538630"/>
              <a:gd name="csX108" fmla="*/ 1563797 w 1609516"/>
              <a:gd name="csY108" fmla="*/ 810928 h 1538630"/>
              <a:gd name="csX109" fmla="*/ 1556762 w 1609516"/>
              <a:gd name="csY109" fmla="*/ 814736 h 1538630"/>
              <a:gd name="csX110" fmla="*/ 1563797 w 1609516"/>
              <a:gd name="csY110" fmla="*/ 812197 h 1538630"/>
              <a:gd name="csX111" fmla="*/ 265833 w 1609516"/>
              <a:gd name="csY111" fmla="*/ 806020 h 1538630"/>
              <a:gd name="csX112" fmla="*/ 263704 w 1609516"/>
              <a:gd name="csY112" fmla="*/ 809861 h 1538630"/>
              <a:gd name="csX113" fmla="*/ 263704 w 1609516"/>
              <a:gd name="csY113" fmla="*/ 816750 h 1538630"/>
              <a:gd name="csX114" fmla="*/ 264113 w 1609516"/>
              <a:gd name="csY114" fmla="*/ 816565 h 1538630"/>
              <a:gd name="csX115" fmla="*/ 263918 w 1609516"/>
              <a:gd name="csY115" fmla="*/ 812777 h 1538630"/>
              <a:gd name="csX116" fmla="*/ 263774 w 1609516"/>
              <a:gd name="csY116" fmla="*/ 779374 h 1538630"/>
              <a:gd name="csX117" fmla="*/ 263704 w 1609516"/>
              <a:gd name="csY117" fmla="*/ 783086 h 1538630"/>
              <a:gd name="csX118" fmla="*/ 264484 w 1609516"/>
              <a:gd name="csY118" fmla="*/ 785816 h 1538630"/>
              <a:gd name="csX119" fmla="*/ 265265 w 1609516"/>
              <a:gd name="csY119" fmla="*/ 794448 h 1538630"/>
              <a:gd name="csX120" fmla="*/ 265217 w 1609516"/>
              <a:gd name="csY120" fmla="*/ 799730 h 1538630"/>
              <a:gd name="csX121" fmla="*/ 266556 w 1609516"/>
              <a:gd name="csY121" fmla="*/ 803466 h 1538630"/>
              <a:gd name="csX122" fmla="*/ 267237 w 1609516"/>
              <a:gd name="csY122" fmla="*/ 801063 h 1538630"/>
              <a:gd name="csX123" fmla="*/ 265675 w 1609516"/>
              <a:gd name="csY123" fmla="*/ 799654 h 1538630"/>
              <a:gd name="csX124" fmla="*/ 265675 w 1609516"/>
              <a:gd name="csY124" fmla="*/ 793841 h 1538630"/>
              <a:gd name="csX125" fmla="*/ 260988 w 1609516"/>
              <a:gd name="csY125" fmla="*/ 770061 h 1538630"/>
              <a:gd name="csX126" fmla="*/ 260988 w 1609516"/>
              <a:gd name="csY126" fmla="*/ 771364 h 1538630"/>
              <a:gd name="csX127" fmla="*/ 263497 w 1609516"/>
              <a:gd name="csY127" fmla="*/ 777263 h 1538630"/>
              <a:gd name="csX128" fmla="*/ 262551 w 1609516"/>
              <a:gd name="csY128" fmla="*/ 770061 h 1538630"/>
              <a:gd name="csX129" fmla="*/ 260988 w 1609516"/>
              <a:gd name="csY129" fmla="*/ 770061 h 1538630"/>
              <a:gd name="csX130" fmla="*/ 157888 w 1609516"/>
              <a:gd name="csY130" fmla="*/ 651686 h 1538630"/>
              <a:gd name="csX131" fmla="*/ 157415 w 1609516"/>
              <a:gd name="csY131" fmla="*/ 651764 h 1538630"/>
              <a:gd name="csX132" fmla="*/ 160373 w 1609516"/>
              <a:gd name="csY132" fmla="*/ 652274 h 1538630"/>
              <a:gd name="csX133" fmla="*/ 267237 w 1609516"/>
              <a:gd name="csY133" fmla="*/ 426537 h 1538630"/>
              <a:gd name="csX134" fmla="*/ 267237 w 1609516"/>
              <a:gd name="csY134" fmla="*/ 427619 h 1538630"/>
              <a:gd name="csX135" fmla="*/ 270380 w 1609516"/>
              <a:gd name="csY135" fmla="*/ 428137 h 1538630"/>
              <a:gd name="csX136" fmla="*/ 273548 w 1609516"/>
              <a:gd name="csY136" fmla="*/ 428680 h 1538630"/>
              <a:gd name="csX137" fmla="*/ 37605 w 1609516"/>
              <a:gd name="csY137" fmla="*/ 359270 h 1538630"/>
              <a:gd name="csX138" fmla="*/ 37103 w 1609516"/>
              <a:gd name="csY138" fmla="*/ 361533 h 1538630"/>
              <a:gd name="csX139" fmla="*/ 37605 w 1609516"/>
              <a:gd name="csY139" fmla="*/ 361382 h 1538630"/>
              <a:gd name="csX140" fmla="*/ 52477 w 1609516"/>
              <a:gd name="csY140" fmla="*/ 337570 h 1538630"/>
              <a:gd name="csX141" fmla="*/ 47288 w 1609516"/>
              <a:gd name="csY141" fmla="*/ 342340 h 1538630"/>
              <a:gd name="csX142" fmla="*/ 45805 w 1609516"/>
              <a:gd name="csY142" fmla="*/ 345093 h 1538630"/>
              <a:gd name="csX143" fmla="*/ 104291 w 1609516"/>
              <a:gd name="csY143" fmla="*/ 336166 h 1538630"/>
              <a:gd name="csX144" fmla="*/ 103776 w 1609516"/>
              <a:gd name="csY144" fmla="*/ 337559 h 1538630"/>
              <a:gd name="csX145" fmla="*/ 108925 w 1609516"/>
              <a:gd name="csY145" fmla="*/ 336166 h 1538630"/>
              <a:gd name="csX146" fmla="*/ 1309237 w 1609516"/>
              <a:gd name="csY146" fmla="*/ 322954 h 1538630"/>
              <a:gd name="csX147" fmla="*/ 1309180 w 1609516"/>
              <a:gd name="csY147" fmla="*/ 330559 h 1538630"/>
              <a:gd name="csX148" fmla="*/ 1309237 w 1609516"/>
              <a:gd name="csY148" fmla="*/ 330520 h 1538630"/>
              <a:gd name="csX149" fmla="*/ 1308964 w 1609516"/>
              <a:gd name="csY149" fmla="*/ 317715 h 1538630"/>
              <a:gd name="csX150" fmla="*/ 1309237 w 1609516"/>
              <a:gd name="csY150" fmla="*/ 318569 h 1538630"/>
              <a:gd name="csX151" fmla="*/ 1309237 w 1609516"/>
              <a:gd name="csY151" fmla="*/ 317838 h 1538630"/>
              <a:gd name="csX152" fmla="*/ 1310087 w 1609516"/>
              <a:gd name="csY152" fmla="*/ 313153 h 1538630"/>
              <a:gd name="csX153" fmla="*/ 1307609 w 1609516"/>
              <a:gd name="csY153" fmla="*/ 313473 h 1538630"/>
              <a:gd name="csX154" fmla="*/ 1308045 w 1609516"/>
              <a:gd name="csY154" fmla="*/ 314836 h 1538630"/>
              <a:gd name="csX155" fmla="*/ 1318544 w 1609516"/>
              <a:gd name="csY155" fmla="*/ 312064 h 1538630"/>
              <a:gd name="csX156" fmla="*/ 1316298 w 1609516"/>
              <a:gd name="csY156" fmla="*/ 312353 h 1538630"/>
              <a:gd name="csX157" fmla="*/ 1318544 w 1609516"/>
              <a:gd name="csY157" fmla="*/ 312205 h 1538630"/>
              <a:gd name="csX158" fmla="*/ 1084622 w 1609516"/>
              <a:gd name="csY158" fmla="*/ 267674 h 1538630"/>
              <a:gd name="csX159" fmla="*/ 1084227 w 1609516"/>
              <a:gd name="csY159" fmla="*/ 268378 h 1538630"/>
              <a:gd name="csX160" fmla="*/ 1079540 w 1609516"/>
              <a:gd name="csY160" fmla="*/ 268378 h 1538630"/>
              <a:gd name="csX161" fmla="*/ 1079603 w 1609516"/>
              <a:gd name="csY161" fmla="*/ 268477 h 1538630"/>
              <a:gd name="csX162" fmla="*/ 1084192 w 1609516"/>
              <a:gd name="csY162" fmla="*/ 268477 h 1538630"/>
              <a:gd name="csX163" fmla="*/ 956410 w 1609516"/>
              <a:gd name="csY163" fmla="*/ 266968 h 1538630"/>
              <a:gd name="csX164" fmla="*/ 957576 w 1609516"/>
              <a:gd name="csY164" fmla="*/ 267083 h 1538630"/>
              <a:gd name="csX165" fmla="*/ 957576 w 1609516"/>
              <a:gd name="csY165" fmla="*/ 269776 h 1538630"/>
              <a:gd name="csX166" fmla="*/ 957694 w 1609516"/>
              <a:gd name="csY166" fmla="*/ 269787 h 1538630"/>
              <a:gd name="csX167" fmla="*/ 957694 w 1609516"/>
              <a:gd name="csY167" fmla="*/ 266968 h 1538630"/>
              <a:gd name="csX168" fmla="*/ 1089372 w 1609516"/>
              <a:gd name="csY168" fmla="*/ 259220 h 1538630"/>
              <a:gd name="csX169" fmla="*/ 1085856 w 1609516"/>
              <a:gd name="csY169" fmla="*/ 265479 h 1538630"/>
              <a:gd name="csX170" fmla="*/ 1088878 w 1609516"/>
              <a:gd name="csY170" fmla="*/ 261431 h 1538630"/>
              <a:gd name="csX171" fmla="*/ 1018517 w 1609516"/>
              <a:gd name="csY171" fmla="*/ 223356 h 1538630"/>
              <a:gd name="csX172" fmla="*/ 1013866 w 1609516"/>
              <a:gd name="csY172" fmla="*/ 226190 h 1538630"/>
              <a:gd name="csX173" fmla="*/ 1013024 w 1609516"/>
              <a:gd name="csY173" fmla="*/ 227709 h 1538630"/>
              <a:gd name="csX174" fmla="*/ 1017055 w 1609516"/>
              <a:gd name="csY174" fmla="*/ 224692 h 1538630"/>
              <a:gd name="csX175" fmla="*/ 850645 w 1609516"/>
              <a:gd name="csY175" fmla="*/ 220099 h 1538630"/>
              <a:gd name="csX176" fmla="*/ 850897 w 1609516"/>
              <a:gd name="csY176" fmla="*/ 221488 h 1538630"/>
              <a:gd name="csX177" fmla="*/ 851470 w 1609516"/>
              <a:gd name="csY177" fmla="*/ 224692 h 1538630"/>
              <a:gd name="csX178" fmla="*/ 852860 w 1609516"/>
              <a:gd name="csY178" fmla="*/ 224692 h 1538630"/>
              <a:gd name="csX179" fmla="*/ 1155019 w 1609516"/>
              <a:gd name="csY179" fmla="*/ 35 h 1538630"/>
              <a:gd name="csX180" fmla="*/ 1174829 w 1609516"/>
              <a:gd name="csY180" fmla="*/ 4853 h 1538630"/>
              <a:gd name="csX181" fmla="*/ 1179418 w 1609516"/>
              <a:gd name="csY181" fmla="*/ 5998 h 1538630"/>
              <a:gd name="csX182" fmla="*/ 1201385 w 1609516"/>
              <a:gd name="csY182" fmla="*/ 22997 h 1538630"/>
              <a:gd name="csX183" fmla="*/ 1201678 w 1609516"/>
              <a:gd name="csY183" fmla="*/ 62191 h 1538630"/>
              <a:gd name="csX184" fmla="*/ 1198261 w 1609516"/>
              <a:gd name="csY184" fmla="*/ 68268 h 1538630"/>
              <a:gd name="csX185" fmla="*/ 1195723 w 1609516"/>
              <a:gd name="csY185" fmla="*/ 72672 h 1538630"/>
              <a:gd name="csX186" fmla="*/ 1193575 w 1609516"/>
              <a:gd name="csY186" fmla="*/ 75314 h 1538630"/>
              <a:gd name="csX187" fmla="*/ 1190450 w 1609516"/>
              <a:gd name="csY187" fmla="*/ 75314 h 1538630"/>
              <a:gd name="csX188" fmla="*/ 1189474 w 1609516"/>
              <a:gd name="csY188" fmla="*/ 79366 h 1538630"/>
              <a:gd name="csX189" fmla="*/ 1182445 w 1609516"/>
              <a:gd name="csY189" fmla="*/ 85707 h 1538630"/>
              <a:gd name="csX190" fmla="*/ 1177953 w 1609516"/>
              <a:gd name="csY190" fmla="*/ 86588 h 1538630"/>
              <a:gd name="csX191" fmla="*/ 1177953 w 1609516"/>
              <a:gd name="csY191" fmla="*/ 89406 h 1538630"/>
              <a:gd name="csX192" fmla="*/ 1170045 w 1609516"/>
              <a:gd name="csY192" fmla="*/ 94251 h 1538630"/>
              <a:gd name="csX193" fmla="*/ 1143806 w 1609516"/>
              <a:gd name="csY193" fmla="*/ 132828 h 1538630"/>
              <a:gd name="csX194" fmla="*/ 1137338 w 1609516"/>
              <a:gd name="csY194" fmla="*/ 141548 h 1538630"/>
              <a:gd name="csX195" fmla="*/ 1133970 w 1609516"/>
              <a:gd name="csY195" fmla="*/ 149403 h 1538630"/>
              <a:gd name="csX196" fmla="*/ 1127965 w 1609516"/>
              <a:gd name="csY196" fmla="*/ 164095 h 1538630"/>
              <a:gd name="csX197" fmla="*/ 1124762 w 1609516"/>
              <a:gd name="csY197" fmla="*/ 171802 h 1538630"/>
              <a:gd name="csX198" fmla="*/ 1119359 w 1609516"/>
              <a:gd name="csY198" fmla="*/ 184798 h 1538630"/>
              <a:gd name="csX199" fmla="*/ 1111014 w 1609516"/>
              <a:gd name="csY199" fmla="*/ 204941 h 1538630"/>
              <a:gd name="csX200" fmla="*/ 1109729 w 1609516"/>
              <a:gd name="csY200" fmla="*/ 208059 h 1538630"/>
              <a:gd name="csX201" fmla="*/ 1106395 w 1609516"/>
              <a:gd name="csY201" fmla="*/ 216170 h 1538630"/>
              <a:gd name="csX202" fmla="*/ 1102147 w 1609516"/>
              <a:gd name="csY202" fmla="*/ 224810 h 1538630"/>
              <a:gd name="csX203" fmla="*/ 1098261 w 1609516"/>
              <a:gd name="csY203" fmla="*/ 227262 h 1538630"/>
              <a:gd name="csX204" fmla="*/ 1098367 w 1609516"/>
              <a:gd name="csY204" fmla="*/ 238475 h 1538630"/>
              <a:gd name="csX205" fmla="*/ 1097331 w 1609516"/>
              <a:gd name="csY205" fmla="*/ 242358 h 1538630"/>
              <a:gd name="csX206" fmla="*/ 1096201 w 1609516"/>
              <a:gd name="csY206" fmla="*/ 246458 h 1538630"/>
              <a:gd name="csX207" fmla="*/ 1089440 w 1609516"/>
              <a:gd name="csY207" fmla="*/ 279206 h 1538630"/>
              <a:gd name="csX208" fmla="*/ 1087316 w 1609516"/>
              <a:gd name="csY208" fmla="*/ 283978 h 1538630"/>
              <a:gd name="csX209" fmla="*/ 1086822 w 1609516"/>
              <a:gd name="csY209" fmla="*/ 291822 h 1538630"/>
              <a:gd name="csX210" fmla="*/ 1086623 w 1609516"/>
              <a:gd name="csY210" fmla="*/ 296625 h 1538630"/>
              <a:gd name="csX211" fmla="*/ 1086437 w 1609516"/>
              <a:gd name="csY211" fmla="*/ 301681 h 1538630"/>
              <a:gd name="csX212" fmla="*/ 1086233 w 1609516"/>
              <a:gd name="csY212" fmla="*/ 306754 h 1538630"/>
              <a:gd name="csX213" fmla="*/ 1086007 w 1609516"/>
              <a:gd name="csY213" fmla="*/ 312619 h 1538630"/>
              <a:gd name="csX214" fmla="*/ 1087470 w 1609516"/>
              <a:gd name="csY214" fmla="*/ 320554 h 1538630"/>
              <a:gd name="csX215" fmla="*/ 1098285 w 1609516"/>
              <a:gd name="csY215" fmla="*/ 334611 h 1538630"/>
              <a:gd name="csX216" fmla="*/ 1102607 w 1609516"/>
              <a:gd name="csY216" fmla="*/ 337679 h 1538630"/>
              <a:gd name="csX217" fmla="*/ 1106095 w 1609516"/>
              <a:gd name="csY217" fmla="*/ 340248 h 1538630"/>
              <a:gd name="csX218" fmla="*/ 1106095 w 1609516"/>
              <a:gd name="csY218" fmla="*/ 343066 h 1538630"/>
              <a:gd name="csX219" fmla="*/ 1109220 w 1609516"/>
              <a:gd name="csY219" fmla="*/ 343419 h 1538630"/>
              <a:gd name="csX220" fmla="*/ 1126403 w 1609516"/>
              <a:gd name="csY220" fmla="*/ 350112 h 1538630"/>
              <a:gd name="csX221" fmla="*/ 1131871 w 1609516"/>
              <a:gd name="csY221" fmla="*/ 352579 h 1538630"/>
              <a:gd name="csX222" fmla="*/ 1135776 w 1609516"/>
              <a:gd name="csY222" fmla="*/ 354340 h 1538630"/>
              <a:gd name="csX223" fmla="*/ 1135776 w 1609516"/>
              <a:gd name="csY223" fmla="*/ 357158 h 1538630"/>
              <a:gd name="csX224" fmla="*/ 1170143 w 1609516"/>
              <a:gd name="csY224" fmla="*/ 354340 h 1538630"/>
              <a:gd name="csX225" fmla="*/ 1174634 w 1609516"/>
              <a:gd name="csY225" fmla="*/ 352579 h 1538630"/>
              <a:gd name="csX226" fmla="*/ 1190890 w 1609516"/>
              <a:gd name="csY226" fmla="*/ 342907 h 1538630"/>
              <a:gd name="csX227" fmla="*/ 1204021 w 1609516"/>
              <a:gd name="csY227" fmla="*/ 335404 h 1538630"/>
              <a:gd name="csX228" fmla="*/ 1223255 w 1609516"/>
              <a:gd name="csY228" fmla="*/ 319110 h 1538630"/>
              <a:gd name="csX229" fmla="*/ 1226868 w 1609516"/>
              <a:gd name="csY229" fmla="*/ 315587 h 1538630"/>
              <a:gd name="csX230" fmla="*/ 1231859 w 1609516"/>
              <a:gd name="csY230" fmla="*/ 303559 h 1538630"/>
              <a:gd name="csX231" fmla="*/ 1234178 w 1609516"/>
              <a:gd name="csY231" fmla="*/ 298059 h 1538630"/>
              <a:gd name="csX232" fmla="*/ 1237314 w 1609516"/>
              <a:gd name="csY232" fmla="*/ 288195 h 1538630"/>
              <a:gd name="csX233" fmla="*/ 1249811 w 1609516"/>
              <a:gd name="csY233" fmla="*/ 265559 h 1538630"/>
              <a:gd name="csX234" fmla="*/ 1252935 w 1609516"/>
              <a:gd name="csY234" fmla="*/ 265559 h 1538630"/>
              <a:gd name="csX235" fmla="*/ 1252935 w 1609516"/>
              <a:gd name="csY235" fmla="*/ 262741 h 1538630"/>
              <a:gd name="csX236" fmla="*/ 1296675 w 1609516"/>
              <a:gd name="csY236" fmla="*/ 252876 h 1538630"/>
              <a:gd name="csX237" fmla="*/ 1307609 w 1609516"/>
              <a:gd name="csY237" fmla="*/ 255695 h 1538630"/>
              <a:gd name="csX238" fmla="*/ 1307609 w 1609516"/>
              <a:gd name="csY238" fmla="*/ 258513 h 1538630"/>
              <a:gd name="csX239" fmla="*/ 1311887 w 1609516"/>
              <a:gd name="csY239" fmla="*/ 258832 h 1538630"/>
              <a:gd name="csX240" fmla="*/ 1326715 w 1609516"/>
              <a:gd name="csY240" fmla="*/ 269969 h 1538630"/>
              <a:gd name="csX241" fmla="*/ 1334165 w 1609516"/>
              <a:gd name="csY241" fmla="*/ 307836 h 1538630"/>
              <a:gd name="csX242" fmla="*/ 1329479 w 1609516"/>
              <a:gd name="csY242" fmla="*/ 314882 h 1538630"/>
              <a:gd name="csX243" fmla="*/ 1323231 w 1609516"/>
              <a:gd name="csY243" fmla="*/ 314882 h 1538630"/>
              <a:gd name="csX244" fmla="*/ 1323231 w 1609516"/>
              <a:gd name="csY244" fmla="*/ 317700 h 1538630"/>
              <a:gd name="csX245" fmla="*/ 1322774 w 1609516"/>
              <a:gd name="csY245" fmla="*/ 317838 h 1538630"/>
              <a:gd name="csX246" fmla="*/ 1323295 w 1609516"/>
              <a:gd name="csY246" fmla="*/ 317838 h 1538630"/>
              <a:gd name="csX247" fmla="*/ 1323295 w 1609516"/>
              <a:gd name="csY247" fmla="*/ 315019 h 1538630"/>
              <a:gd name="csX248" fmla="*/ 1327982 w 1609516"/>
              <a:gd name="csY248" fmla="*/ 315019 h 1538630"/>
              <a:gd name="csX249" fmla="*/ 1317047 w 1609516"/>
              <a:gd name="csY249" fmla="*/ 327702 h 1538630"/>
              <a:gd name="csX250" fmla="*/ 1315484 w 1609516"/>
              <a:gd name="csY250" fmla="*/ 331930 h 1538630"/>
              <a:gd name="csX251" fmla="*/ 1309139 w 1609516"/>
              <a:gd name="csY251" fmla="*/ 333603 h 1538630"/>
              <a:gd name="csX252" fmla="*/ 1305666 w 1609516"/>
              <a:gd name="csY252" fmla="*/ 334280 h 1538630"/>
              <a:gd name="csX253" fmla="*/ 1302988 w 1609516"/>
              <a:gd name="csY253" fmla="*/ 334748 h 1538630"/>
              <a:gd name="csX254" fmla="*/ 1305905 w 1609516"/>
              <a:gd name="csY254" fmla="*/ 332775 h 1538630"/>
              <a:gd name="csX255" fmla="*/ 1304485 w 1609516"/>
              <a:gd name="csY255" fmla="*/ 333202 h 1538630"/>
              <a:gd name="csX256" fmla="*/ 1301459 w 1609516"/>
              <a:gd name="csY256" fmla="*/ 336108 h 1538630"/>
              <a:gd name="csX257" fmla="*/ 1291989 w 1609516"/>
              <a:gd name="csY257" fmla="*/ 338839 h 1538630"/>
              <a:gd name="csX258" fmla="*/ 1290426 w 1609516"/>
              <a:gd name="csY258" fmla="*/ 343066 h 1538630"/>
              <a:gd name="csX259" fmla="*/ 1285740 w 1609516"/>
              <a:gd name="csY259" fmla="*/ 344123 h 1538630"/>
              <a:gd name="csX260" fmla="*/ 1237314 w 1609516"/>
              <a:gd name="csY260" fmla="*/ 382525 h 1538630"/>
              <a:gd name="csX261" fmla="*/ 1232628 w 1609516"/>
              <a:gd name="csY261" fmla="*/ 392389 h 1538630"/>
              <a:gd name="csX262" fmla="*/ 1228625 w 1609516"/>
              <a:gd name="csY262" fmla="*/ 398731 h 1538630"/>
              <a:gd name="csX263" fmla="*/ 1222822 w 1609516"/>
              <a:gd name="csY263" fmla="*/ 434798 h 1538630"/>
              <a:gd name="csX264" fmla="*/ 1260746 w 1609516"/>
              <a:gd name="csY264" fmla="*/ 485398 h 1538630"/>
              <a:gd name="csX265" fmla="*/ 1268556 w 1609516"/>
              <a:gd name="csY265" fmla="*/ 488216 h 1538630"/>
              <a:gd name="csX266" fmla="*/ 1268556 w 1609516"/>
              <a:gd name="csY266" fmla="*/ 491034 h 1538630"/>
              <a:gd name="csX267" fmla="*/ 1338852 w 1609516"/>
              <a:gd name="csY267" fmla="*/ 489625 h 1538630"/>
              <a:gd name="csX268" fmla="*/ 1347444 w 1609516"/>
              <a:gd name="csY268" fmla="*/ 488480 h 1538630"/>
              <a:gd name="csX269" fmla="*/ 1369362 w 1609516"/>
              <a:gd name="csY269" fmla="*/ 482513 h 1538630"/>
              <a:gd name="csX270" fmla="*/ 1388840 w 1609516"/>
              <a:gd name="csY270" fmla="*/ 478351 h 1538630"/>
              <a:gd name="csX271" fmla="*/ 1388840 w 1609516"/>
              <a:gd name="csY271" fmla="*/ 475533 h 1538630"/>
              <a:gd name="csX272" fmla="*/ 1395576 w 1609516"/>
              <a:gd name="csY272" fmla="*/ 473419 h 1538630"/>
              <a:gd name="csX273" fmla="*/ 1399365 w 1609516"/>
              <a:gd name="csY273" fmla="*/ 472230 h 1538630"/>
              <a:gd name="csX274" fmla="*/ 1407585 w 1609516"/>
              <a:gd name="csY274" fmla="*/ 471305 h 1538630"/>
              <a:gd name="csX275" fmla="*/ 1409147 w 1609516"/>
              <a:gd name="csY275" fmla="*/ 467078 h 1538630"/>
              <a:gd name="csX276" fmla="*/ 1416470 w 1609516"/>
              <a:gd name="csY276" fmla="*/ 464259 h 1538630"/>
              <a:gd name="csX277" fmla="*/ 1437949 w 1609516"/>
              <a:gd name="csY277" fmla="*/ 455011 h 1538630"/>
              <a:gd name="csX278" fmla="*/ 1452887 w 1609516"/>
              <a:gd name="csY278" fmla="*/ 450167 h 1538630"/>
              <a:gd name="csX279" fmla="*/ 1452887 w 1609516"/>
              <a:gd name="csY279" fmla="*/ 447349 h 1538630"/>
              <a:gd name="csX280" fmla="*/ 1455394 w 1609516"/>
              <a:gd name="csY280" fmla="*/ 446122 h 1538630"/>
              <a:gd name="csX281" fmla="*/ 1466653 w 1609516"/>
              <a:gd name="csY281" fmla="*/ 440567 h 1538630"/>
              <a:gd name="csX282" fmla="*/ 1470598 w 1609516"/>
              <a:gd name="csY282" fmla="*/ 438637 h 1538630"/>
              <a:gd name="csX283" fmla="*/ 1474397 w 1609516"/>
              <a:gd name="csY283" fmla="*/ 436752 h 1538630"/>
              <a:gd name="csX284" fmla="*/ 1477892 w 1609516"/>
              <a:gd name="csY284" fmla="*/ 435030 h 1538630"/>
              <a:gd name="csX285" fmla="*/ 1485691 w 1609516"/>
              <a:gd name="csY285" fmla="*/ 429029 h 1538630"/>
              <a:gd name="csX286" fmla="*/ 1488858 w 1609516"/>
              <a:gd name="csY286" fmla="*/ 427653 h 1538630"/>
              <a:gd name="csX287" fmla="*/ 1495943 w 1609516"/>
              <a:gd name="csY287" fmla="*/ 421454 h 1538630"/>
              <a:gd name="csX288" fmla="*/ 1538608 w 1609516"/>
              <a:gd name="csY288" fmla="*/ 388338 h 1538630"/>
              <a:gd name="csX289" fmla="*/ 1543490 w 1609516"/>
              <a:gd name="csY289" fmla="*/ 388161 h 1538630"/>
              <a:gd name="csX290" fmla="*/ 1547621 w 1609516"/>
              <a:gd name="csY290" fmla="*/ 387804 h 1538630"/>
              <a:gd name="csX291" fmla="*/ 1579418 w 1609516"/>
              <a:gd name="csY291" fmla="*/ 396617 h 1538630"/>
              <a:gd name="csX292" fmla="*/ 1583342 w 1609516"/>
              <a:gd name="csY292" fmla="*/ 398780 h 1538630"/>
              <a:gd name="csX293" fmla="*/ 1601288 w 1609516"/>
              <a:gd name="csY293" fmla="*/ 423392 h 1538630"/>
              <a:gd name="csX294" fmla="*/ 1594484 w 1609516"/>
              <a:gd name="csY294" fmla="*/ 460159 h 1538630"/>
              <a:gd name="csX295" fmla="*/ 1574732 w 1609516"/>
              <a:gd name="csY295" fmla="*/ 475533 h 1538630"/>
              <a:gd name="csX296" fmla="*/ 1572097 w 1609516"/>
              <a:gd name="csY296" fmla="*/ 477078 h 1538630"/>
              <a:gd name="csX297" fmla="*/ 1556066 w 1609516"/>
              <a:gd name="csY297" fmla="*/ 478737 h 1538630"/>
              <a:gd name="csX298" fmla="*/ 1548631 w 1609516"/>
              <a:gd name="csY298" fmla="*/ 478825 h 1538630"/>
              <a:gd name="csX299" fmla="*/ 1536991 w 1609516"/>
              <a:gd name="csY299" fmla="*/ 478889 h 1538630"/>
              <a:gd name="csX300" fmla="*/ 1498188 w 1609516"/>
              <a:gd name="csY300" fmla="*/ 485398 h 1538630"/>
              <a:gd name="csX301" fmla="*/ 1493892 w 1609516"/>
              <a:gd name="csY301" fmla="*/ 487600 h 1538630"/>
              <a:gd name="csX302" fmla="*/ 1490377 w 1609516"/>
              <a:gd name="csY302" fmla="*/ 489625 h 1538630"/>
              <a:gd name="csX303" fmla="*/ 1471650 w 1609516"/>
              <a:gd name="csY303" fmla="*/ 498185 h 1538630"/>
              <a:gd name="csX304" fmla="*/ 1459135 w 1609516"/>
              <a:gd name="csY304" fmla="*/ 505127 h 1538630"/>
              <a:gd name="csX305" fmla="*/ 1452594 w 1609516"/>
              <a:gd name="csY305" fmla="*/ 508033 h 1538630"/>
              <a:gd name="csX306" fmla="*/ 1427795 w 1609516"/>
              <a:gd name="csY306" fmla="*/ 520100 h 1538630"/>
              <a:gd name="csX307" fmla="*/ 1423733 w 1609516"/>
              <a:gd name="csY307" fmla="*/ 522148 h 1538630"/>
              <a:gd name="csX308" fmla="*/ 1419929 w 1609516"/>
              <a:gd name="csY308" fmla="*/ 524118 h 1538630"/>
              <a:gd name="csX309" fmla="*/ 1416487 w 1609516"/>
              <a:gd name="csY309" fmla="*/ 525883 h 1538630"/>
              <a:gd name="csX310" fmla="*/ 1412271 w 1609516"/>
              <a:gd name="csY310" fmla="*/ 531902 h 1538630"/>
              <a:gd name="csX311" fmla="*/ 1396650 w 1609516"/>
              <a:gd name="csY311" fmla="*/ 537539 h 1538630"/>
              <a:gd name="csX312" fmla="*/ 1396650 w 1609516"/>
              <a:gd name="csY312" fmla="*/ 540357 h 1538630"/>
              <a:gd name="csX313" fmla="*/ 1393495 w 1609516"/>
              <a:gd name="csY313" fmla="*/ 541502 h 1538630"/>
              <a:gd name="csX314" fmla="*/ 1362284 w 1609516"/>
              <a:gd name="csY314" fmla="*/ 558678 h 1538630"/>
              <a:gd name="csX315" fmla="*/ 1355937 w 1609516"/>
              <a:gd name="csY315" fmla="*/ 562905 h 1538630"/>
              <a:gd name="csX316" fmla="*/ 1334165 w 1609516"/>
              <a:gd name="csY316" fmla="*/ 578406 h 1538630"/>
              <a:gd name="csX317" fmla="*/ 1331200 w 1609516"/>
              <a:gd name="csY317" fmla="*/ 580559 h 1538630"/>
              <a:gd name="csX318" fmla="*/ 1322175 w 1609516"/>
              <a:gd name="csY318" fmla="*/ 596793 h 1538630"/>
              <a:gd name="csX319" fmla="*/ 1320106 w 1609516"/>
              <a:gd name="csY319" fmla="*/ 602363 h 1538630"/>
              <a:gd name="csX320" fmla="*/ 1328015 w 1609516"/>
              <a:gd name="csY320" fmla="*/ 647640 h 1538630"/>
              <a:gd name="csX321" fmla="*/ 1332604 w 1609516"/>
              <a:gd name="csY321" fmla="*/ 675643 h 1538630"/>
              <a:gd name="csX322" fmla="*/ 1335727 w 1609516"/>
              <a:gd name="csY322" fmla="*/ 675643 h 1538630"/>
              <a:gd name="csX323" fmla="*/ 1337741 w 1609516"/>
              <a:gd name="csY323" fmla="*/ 690059 h 1538630"/>
              <a:gd name="csX324" fmla="*/ 1338003 w 1609516"/>
              <a:gd name="csY324" fmla="*/ 696222 h 1538630"/>
              <a:gd name="csX325" fmla="*/ 1338340 w 1609516"/>
              <a:gd name="csY325" fmla="*/ 705887 h 1538630"/>
              <a:gd name="csX326" fmla="*/ 1345277 w 1609516"/>
              <a:gd name="csY326" fmla="*/ 733245 h 1538630"/>
              <a:gd name="csX327" fmla="*/ 1363162 w 1609516"/>
              <a:gd name="csY327" fmla="*/ 741612 h 1538630"/>
              <a:gd name="csX328" fmla="*/ 1384154 w 1609516"/>
              <a:gd name="csY328" fmla="*/ 748922 h 1538630"/>
              <a:gd name="csX329" fmla="*/ 1391476 w 1609516"/>
              <a:gd name="csY329" fmla="*/ 750419 h 1538630"/>
              <a:gd name="csX330" fmla="*/ 1395564 w 1609516"/>
              <a:gd name="csY330" fmla="*/ 751080 h 1538630"/>
              <a:gd name="csX331" fmla="*/ 1399775 w 1609516"/>
              <a:gd name="csY331" fmla="*/ 751740 h 1538630"/>
              <a:gd name="csX332" fmla="*/ 1403887 w 1609516"/>
              <a:gd name="csY332" fmla="*/ 752489 h 1538630"/>
              <a:gd name="csX333" fmla="*/ 1465383 w 1609516"/>
              <a:gd name="csY333" fmla="*/ 755969 h 1538630"/>
              <a:gd name="csX334" fmla="*/ 1470339 w 1609516"/>
              <a:gd name="csY334" fmla="*/ 755897 h 1538630"/>
              <a:gd name="csX335" fmla="*/ 1496809 w 1609516"/>
              <a:gd name="csY335" fmla="*/ 749313 h 1538630"/>
              <a:gd name="csX336" fmla="*/ 1515371 w 1609516"/>
              <a:gd name="csY336" fmla="*/ 743285 h 1538630"/>
              <a:gd name="csX337" fmla="*/ 1515371 w 1609516"/>
              <a:gd name="csY337" fmla="*/ 740467 h 1538630"/>
              <a:gd name="csX338" fmla="*/ 1537632 w 1609516"/>
              <a:gd name="csY338" fmla="*/ 737120 h 1538630"/>
              <a:gd name="csX339" fmla="*/ 1541657 w 1609516"/>
              <a:gd name="csY339" fmla="*/ 737127 h 1538630"/>
              <a:gd name="csX340" fmla="*/ 1574732 w 1609516"/>
              <a:gd name="csY340" fmla="*/ 748922 h 1538630"/>
              <a:gd name="csX341" fmla="*/ 1588791 w 1609516"/>
              <a:gd name="csY341" fmla="*/ 792608 h 1538630"/>
              <a:gd name="csX342" fmla="*/ 1584105 w 1609516"/>
              <a:gd name="csY342" fmla="*/ 805291 h 1538630"/>
              <a:gd name="csX343" fmla="*/ 1580981 w 1609516"/>
              <a:gd name="csY343" fmla="*/ 806700 h 1538630"/>
              <a:gd name="csX344" fmla="*/ 1578735 w 1609516"/>
              <a:gd name="csY344" fmla="*/ 810311 h 1538630"/>
              <a:gd name="csX345" fmla="*/ 1576295 w 1609516"/>
              <a:gd name="csY345" fmla="*/ 813746 h 1538630"/>
              <a:gd name="csX346" fmla="*/ 1571652 w 1609516"/>
              <a:gd name="csY346" fmla="*/ 813746 h 1538630"/>
              <a:gd name="csX347" fmla="*/ 1571785 w 1609516"/>
              <a:gd name="csY347" fmla="*/ 814106 h 1538630"/>
              <a:gd name="csX348" fmla="*/ 1574909 w 1609516"/>
              <a:gd name="csY348" fmla="*/ 815515 h 1538630"/>
              <a:gd name="csX349" fmla="*/ 1565463 w 1609516"/>
              <a:gd name="csY349" fmla="*/ 821839 h 1538630"/>
              <a:gd name="csX350" fmla="*/ 1562085 w 1609516"/>
              <a:gd name="csY350" fmla="*/ 822101 h 1538630"/>
              <a:gd name="csX351" fmla="*/ 1551301 w 1609516"/>
              <a:gd name="csY351" fmla="*/ 825020 h 1538630"/>
              <a:gd name="csX352" fmla="*/ 1551301 w 1609516"/>
              <a:gd name="csY352" fmla="*/ 827838 h 1538630"/>
              <a:gd name="csX353" fmla="*/ 1485380 w 1609516"/>
              <a:gd name="csY353" fmla="*/ 815007 h 1538630"/>
              <a:gd name="csX354" fmla="*/ 1431603 w 1609516"/>
              <a:gd name="csY354" fmla="*/ 808726 h 1538630"/>
              <a:gd name="csX355" fmla="*/ 1424140 w 1609516"/>
              <a:gd name="csY355" fmla="*/ 808542 h 1538630"/>
              <a:gd name="csX356" fmla="*/ 1406023 w 1609516"/>
              <a:gd name="csY356" fmla="*/ 808109 h 1538630"/>
              <a:gd name="csX357" fmla="*/ 1406023 w 1609516"/>
              <a:gd name="csY357" fmla="*/ 810928 h 1538630"/>
              <a:gd name="csX358" fmla="*/ 1403383 w 1609516"/>
              <a:gd name="csY358" fmla="*/ 811311 h 1538630"/>
              <a:gd name="csX359" fmla="*/ 1345442 w 1609516"/>
              <a:gd name="csY359" fmla="*/ 828907 h 1538630"/>
              <a:gd name="csX360" fmla="*/ 1337875 w 1609516"/>
              <a:gd name="csY360" fmla="*/ 856639 h 1538630"/>
              <a:gd name="csX361" fmla="*/ 1337692 w 1609516"/>
              <a:gd name="csY361" fmla="*/ 860171 h 1538630"/>
              <a:gd name="csX362" fmla="*/ 1337290 w 1609516"/>
              <a:gd name="csY362" fmla="*/ 868706 h 1538630"/>
              <a:gd name="csX363" fmla="*/ 1334165 w 1609516"/>
              <a:gd name="csY363" fmla="*/ 868706 h 1538630"/>
              <a:gd name="csX364" fmla="*/ 1334165 w 1609516"/>
              <a:gd name="csY364" fmla="*/ 870034 h 1538630"/>
              <a:gd name="csX365" fmla="*/ 1334237 w 1609516"/>
              <a:gd name="csY365" fmla="*/ 869093 h 1538630"/>
              <a:gd name="csX366" fmla="*/ 1335800 w 1609516"/>
              <a:gd name="csY366" fmla="*/ 869093 h 1538630"/>
              <a:gd name="csX367" fmla="*/ 1335995 w 1609516"/>
              <a:gd name="csY367" fmla="*/ 876491 h 1538630"/>
              <a:gd name="csX368" fmla="*/ 1336105 w 1609516"/>
              <a:gd name="csY368" fmla="*/ 880653 h 1538630"/>
              <a:gd name="csX369" fmla="*/ 1334294 w 1609516"/>
              <a:gd name="csY369" fmla="*/ 887271 h 1538630"/>
              <a:gd name="csX370" fmla="*/ 1331455 w 1609516"/>
              <a:gd name="csY370" fmla="*/ 896440 h 1538630"/>
              <a:gd name="csX371" fmla="*/ 1330887 w 1609516"/>
              <a:gd name="csY371" fmla="*/ 899969 h 1538630"/>
              <a:gd name="csX372" fmla="*/ 1330332 w 1609516"/>
              <a:gd name="csY372" fmla="*/ 903618 h 1538630"/>
              <a:gd name="csX373" fmla="*/ 1329209 w 1609516"/>
              <a:gd name="csY373" fmla="*/ 910797 h 1538630"/>
              <a:gd name="csX374" fmla="*/ 1328724 w 1609516"/>
              <a:gd name="csY374" fmla="*/ 913998 h 1538630"/>
              <a:gd name="csX375" fmla="*/ 1324865 w 1609516"/>
              <a:gd name="csY375" fmla="*/ 922643 h 1538630"/>
              <a:gd name="csX376" fmla="*/ 1322619 w 1609516"/>
              <a:gd name="csY376" fmla="*/ 937979 h 1538630"/>
              <a:gd name="csX377" fmla="*/ 1318744 w 1609516"/>
              <a:gd name="csY377" fmla="*/ 944961 h 1538630"/>
              <a:gd name="csX378" fmla="*/ 1318544 w 1609516"/>
              <a:gd name="csY378" fmla="*/ 946213 h 1538630"/>
              <a:gd name="csX379" fmla="*/ 1318251 w 1609516"/>
              <a:gd name="csY379" fmla="*/ 955285 h 1538630"/>
              <a:gd name="csX380" fmla="*/ 1318184 w 1609516"/>
              <a:gd name="csY380" fmla="*/ 960036 h 1538630"/>
              <a:gd name="csX381" fmla="*/ 1324024 w 1609516"/>
              <a:gd name="csY381" fmla="*/ 973660 h 1538630"/>
              <a:gd name="csX382" fmla="*/ 1329284 w 1609516"/>
              <a:gd name="csY382" fmla="*/ 983382 h 1538630"/>
              <a:gd name="csX383" fmla="*/ 1340414 w 1609516"/>
              <a:gd name="csY383" fmla="*/ 998354 h 1538630"/>
              <a:gd name="csX384" fmla="*/ 1346272 w 1609516"/>
              <a:gd name="csY384" fmla="*/ 1005048 h 1538630"/>
              <a:gd name="csX385" fmla="*/ 1394716 w 1609516"/>
              <a:gd name="csY385" fmla="*/ 1042740 h 1538630"/>
              <a:gd name="csX386" fmla="*/ 1401953 w 1609516"/>
              <a:gd name="csY386" fmla="*/ 1047374 h 1538630"/>
              <a:gd name="csX387" fmla="*/ 1427197 w 1609516"/>
              <a:gd name="csY387" fmla="*/ 1059061 h 1538630"/>
              <a:gd name="csX388" fmla="*/ 1437265 w 1609516"/>
              <a:gd name="csY388" fmla="*/ 1064588 h 1538630"/>
              <a:gd name="csX389" fmla="*/ 1437265 w 1609516"/>
              <a:gd name="csY389" fmla="*/ 1067406 h 1538630"/>
              <a:gd name="csX390" fmla="*/ 1440878 w 1609516"/>
              <a:gd name="csY390" fmla="*/ 1067847 h 1538630"/>
              <a:gd name="csX391" fmla="*/ 1447175 w 1609516"/>
              <a:gd name="csY391" fmla="*/ 1070753 h 1538630"/>
              <a:gd name="csX392" fmla="*/ 1457866 w 1609516"/>
              <a:gd name="csY392" fmla="*/ 1076830 h 1538630"/>
              <a:gd name="csX393" fmla="*/ 1462132 w 1609516"/>
              <a:gd name="csY393" fmla="*/ 1078696 h 1538630"/>
              <a:gd name="csX394" fmla="*/ 1465383 w 1609516"/>
              <a:gd name="csY394" fmla="*/ 1080089 h 1538630"/>
              <a:gd name="csX395" fmla="*/ 1465383 w 1609516"/>
              <a:gd name="csY395" fmla="*/ 1082908 h 1538630"/>
              <a:gd name="csX396" fmla="*/ 1468758 w 1609516"/>
              <a:gd name="csY396" fmla="*/ 1083975 h 1538630"/>
              <a:gd name="csX397" fmla="*/ 1481688 w 1609516"/>
              <a:gd name="csY397" fmla="*/ 1091187 h 1538630"/>
              <a:gd name="csX398" fmla="*/ 1486283 w 1609516"/>
              <a:gd name="csY398" fmla="*/ 1094236 h 1538630"/>
              <a:gd name="csX399" fmla="*/ 1494869 w 1609516"/>
              <a:gd name="csY399" fmla="*/ 1100171 h 1538630"/>
              <a:gd name="csX400" fmla="*/ 1544335 w 1609516"/>
              <a:gd name="csY400" fmla="*/ 1109518 h 1538630"/>
              <a:gd name="csX401" fmla="*/ 1593477 w 1609516"/>
              <a:gd name="csY401" fmla="*/ 1119900 h 1538630"/>
              <a:gd name="csX402" fmla="*/ 1605975 w 1609516"/>
              <a:gd name="csY402" fmla="*/ 1144913 h 1538630"/>
              <a:gd name="csX403" fmla="*/ 1609099 w 1609516"/>
              <a:gd name="csY403" fmla="*/ 1144913 h 1538630"/>
              <a:gd name="csX404" fmla="*/ 1609392 w 1609516"/>
              <a:gd name="csY404" fmla="*/ 1156892 h 1538630"/>
              <a:gd name="csX405" fmla="*/ 1609511 w 1609516"/>
              <a:gd name="csY405" fmla="*/ 1160272 h 1538630"/>
              <a:gd name="csX406" fmla="*/ 1604412 w 1609516"/>
              <a:gd name="csY406" fmla="*/ 1181553 h 1538630"/>
              <a:gd name="csX407" fmla="*/ 1601288 w 1609516"/>
              <a:gd name="csY407" fmla="*/ 1190009 h 1538630"/>
              <a:gd name="csX408" fmla="*/ 1598164 w 1609516"/>
              <a:gd name="csY408" fmla="*/ 1190009 h 1538630"/>
              <a:gd name="csX409" fmla="*/ 1597187 w 1609516"/>
              <a:gd name="csY409" fmla="*/ 1192739 h 1538630"/>
              <a:gd name="csX410" fmla="*/ 1595040 w 1609516"/>
              <a:gd name="csY410" fmla="*/ 1195645 h 1538630"/>
              <a:gd name="csX411" fmla="*/ 1585667 w 1609516"/>
              <a:gd name="csY411" fmla="*/ 1197055 h 1538630"/>
              <a:gd name="csX412" fmla="*/ 1582543 w 1609516"/>
              <a:gd name="csY412" fmla="*/ 1202691 h 1538630"/>
              <a:gd name="csX413" fmla="*/ 1562431 w 1609516"/>
              <a:gd name="csY413" fmla="*/ 1204365 h 1538630"/>
              <a:gd name="csX414" fmla="*/ 1558690 w 1609516"/>
              <a:gd name="csY414" fmla="*/ 1204417 h 1538630"/>
              <a:gd name="csX415" fmla="*/ 1521102 w 1609516"/>
              <a:gd name="csY415" fmla="*/ 1189585 h 1538630"/>
              <a:gd name="csX416" fmla="*/ 1505022 w 1609516"/>
              <a:gd name="csY416" fmla="*/ 1172041 h 1538630"/>
              <a:gd name="csX417" fmla="*/ 1457573 w 1609516"/>
              <a:gd name="csY417" fmla="*/ 1140686 h 1538630"/>
              <a:gd name="csX418" fmla="*/ 1457573 w 1609516"/>
              <a:gd name="csY418" fmla="*/ 1137867 h 1538630"/>
              <a:gd name="csX419" fmla="*/ 1452985 w 1609516"/>
              <a:gd name="csY419" fmla="*/ 1137339 h 1538630"/>
              <a:gd name="csX420" fmla="*/ 1448200 w 1609516"/>
              <a:gd name="csY420" fmla="*/ 1136458 h 1538630"/>
              <a:gd name="csX421" fmla="*/ 1446638 w 1609516"/>
              <a:gd name="csY421" fmla="*/ 1133640 h 1538630"/>
              <a:gd name="csX422" fmla="*/ 1438937 w 1609516"/>
              <a:gd name="csY422" fmla="*/ 1130601 h 1538630"/>
              <a:gd name="csX423" fmla="*/ 1429260 w 1609516"/>
              <a:gd name="csY423" fmla="*/ 1126770 h 1538630"/>
              <a:gd name="csX424" fmla="*/ 1411393 w 1609516"/>
              <a:gd name="csY424" fmla="*/ 1120340 h 1538630"/>
              <a:gd name="csX425" fmla="*/ 1391427 w 1609516"/>
              <a:gd name="csY425" fmla="*/ 1111191 h 1538630"/>
              <a:gd name="csX426" fmla="*/ 1381029 w 1609516"/>
              <a:gd name="csY426" fmla="*/ 1106865 h 1538630"/>
              <a:gd name="csX427" fmla="*/ 1381029 w 1609516"/>
              <a:gd name="csY427" fmla="*/ 1104046 h 1538630"/>
              <a:gd name="csX428" fmla="*/ 1377221 w 1609516"/>
              <a:gd name="csY428" fmla="*/ 1103605 h 1538630"/>
              <a:gd name="csX429" fmla="*/ 1357597 w 1609516"/>
              <a:gd name="csY429" fmla="*/ 1098409 h 1538630"/>
              <a:gd name="csX430" fmla="*/ 1352032 w 1609516"/>
              <a:gd name="csY430" fmla="*/ 1096736 h 1538630"/>
              <a:gd name="csX431" fmla="*/ 1348225 w 1609516"/>
              <a:gd name="csY431" fmla="*/ 1095590 h 1538630"/>
              <a:gd name="csX432" fmla="*/ 1348225 w 1609516"/>
              <a:gd name="csY432" fmla="*/ 1092772 h 1538630"/>
              <a:gd name="csX433" fmla="*/ 1337290 w 1609516"/>
              <a:gd name="csY433" fmla="*/ 1091363 h 1538630"/>
              <a:gd name="csX434" fmla="*/ 1337290 w 1609516"/>
              <a:gd name="csY434" fmla="*/ 1088544 h 1538630"/>
              <a:gd name="csX435" fmla="*/ 1331529 w 1609516"/>
              <a:gd name="csY435" fmla="*/ 1088104 h 1538630"/>
              <a:gd name="csX436" fmla="*/ 1323297 w 1609516"/>
              <a:gd name="csY436" fmla="*/ 1086611 h 1538630"/>
              <a:gd name="csX437" fmla="*/ 1323297 w 1609516"/>
              <a:gd name="csY437" fmla="*/ 1087618 h 1538630"/>
              <a:gd name="csX438" fmla="*/ 1319789 w 1609516"/>
              <a:gd name="csY438" fmla="*/ 1087310 h 1538630"/>
              <a:gd name="csX439" fmla="*/ 1262375 w 1609516"/>
              <a:gd name="csY439" fmla="*/ 1089028 h 1538630"/>
              <a:gd name="csX440" fmla="*/ 1258728 w 1609516"/>
              <a:gd name="csY440" fmla="*/ 1088205 h 1538630"/>
              <a:gd name="csX441" fmla="*/ 1246964 w 1609516"/>
              <a:gd name="csY441" fmla="*/ 1091489 h 1538630"/>
              <a:gd name="csX442" fmla="*/ 1223224 w 1609516"/>
              <a:gd name="csY442" fmla="*/ 1112865 h 1538630"/>
              <a:gd name="csX443" fmla="*/ 1213883 w 1609516"/>
              <a:gd name="csY443" fmla="*/ 1122366 h 1538630"/>
              <a:gd name="csX444" fmla="*/ 1212505 w 1609516"/>
              <a:gd name="csY444" fmla="*/ 1125708 h 1538630"/>
              <a:gd name="csX445" fmla="*/ 1204180 w 1609516"/>
              <a:gd name="csY445" fmla="*/ 1135561 h 1538630"/>
              <a:gd name="csX446" fmla="*/ 1200238 w 1609516"/>
              <a:gd name="csY446" fmla="*/ 1138999 h 1538630"/>
              <a:gd name="csX447" fmla="*/ 1192025 w 1609516"/>
              <a:gd name="csY447" fmla="*/ 1146022 h 1538630"/>
              <a:gd name="csX448" fmla="*/ 1173945 w 1609516"/>
              <a:gd name="csY448" fmla="*/ 1174749 h 1538630"/>
              <a:gd name="csX449" fmla="*/ 1173950 w 1609516"/>
              <a:gd name="csY449" fmla="*/ 1182610 h 1538630"/>
              <a:gd name="csX450" fmla="*/ 1173989 w 1609516"/>
              <a:gd name="csY450" fmla="*/ 1186765 h 1538630"/>
              <a:gd name="csX451" fmla="*/ 1182640 w 1609516"/>
              <a:gd name="csY451" fmla="*/ 1215374 h 1538630"/>
              <a:gd name="csX452" fmla="*/ 1185764 w 1609516"/>
              <a:gd name="csY452" fmla="*/ 1221804 h 1538630"/>
              <a:gd name="csX453" fmla="*/ 1187301 w 1609516"/>
              <a:gd name="csY453" fmla="*/ 1224859 h 1538630"/>
              <a:gd name="csX454" fmla="*/ 1190573 w 1609516"/>
              <a:gd name="csY454" fmla="*/ 1231740 h 1538630"/>
              <a:gd name="csX455" fmla="*/ 1205925 w 1609516"/>
              <a:gd name="csY455" fmla="*/ 1255163 h 1538630"/>
              <a:gd name="csX456" fmla="*/ 1212174 w 1609516"/>
              <a:gd name="csY456" fmla="*/ 1263134 h 1538630"/>
              <a:gd name="csX457" fmla="*/ 1235556 w 1609516"/>
              <a:gd name="csY457" fmla="*/ 1282538 h 1538630"/>
              <a:gd name="csX458" fmla="*/ 1238876 w 1609516"/>
              <a:gd name="csY458" fmla="*/ 1284426 h 1538630"/>
              <a:gd name="csX459" fmla="*/ 1238876 w 1609516"/>
              <a:gd name="csY459" fmla="*/ 1287245 h 1538630"/>
              <a:gd name="csX460" fmla="*/ 1242245 w 1609516"/>
              <a:gd name="csY460" fmla="*/ 1287663 h 1538630"/>
              <a:gd name="csX461" fmla="*/ 1271681 w 1609516"/>
              <a:gd name="csY461" fmla="*/ 1305565 h 1538630"/>
              <a:gd name="csX462" fmla="*/ 1271742 w 1609516"/>
              <a:gd name="csY462" fmla="*/ 1306172 h 1538630"/>
              <a:gd name="csX463" fmla="*/ 1278525 w 1609516"/>
              <a:gd name="csY463" fmla="*/ 1315767 h 1538630"/>
              <a:gd name="csX464" fmla="*/ 1281097 w 1609516"/>
              <a:gd name="csY464" fmla="*/ 1327286 h 1538630"/>
              <a:gd name="csX465" fmla="*/ 1277973 w 1609516"/>
              <a:gd name="csY465" fmla="*/ 1355470 h 1538630"/>
              <a:gd name="csX466" fmla="*/ 1277460 w 1609516"/>
              <a:gd name="csY466" fmla="*/ 1347025 h 1538630"/>
              <a:gd name="csX467" fmla="*/ 1273531 w 1609516"/>
              <a:gd name="csY467" fmla="*/ 1357991 h 1538630"/>
              <a:gd name="csX468" fmla="*/ 1263870 w 1609516"/>
              <a:gd name="csY468" fmla="*/ 1368980 h 1538630"/>
              <a:gd name="csX469" fmla="*/ 1246686 w 1609516"/>
              <a:gd name="csY469" fmla="*/ 1376026 h 1538630"/>
              <a:gd name="csX470" fmla="*/ 1246686 w 1609516"/>
              <a:gd name="csY470" fmla="*/ 1378844 h 1538630"/>
              <a:gd name="csX471" fmla="*/ 1231651 w 1609516"/>
              <a:gd name="csY471" fmla="*/ 1379196 h 1538630"/>
              <a:gd name="csX472" fmla="*/ 1227373 w 1609516"/>
              <a:gd name="csY472" fmla="*/ 1379340 h 1538630"/>
              <a:gd name="csX473" fmla="*/ 1206071 w 1609516"/>
              <a:gd name="csY473" fmla="*/ 1373207 h 1538630"/>
              <a:gd name="csX474" fmla="*/ 1202069 w 1609516"/>
              <a:gd name="csY474" fmla="*/ 1371798 h 1538630"/>
              <a:gd name="csX475" fmla="*/ 1184104 w 1609516"/>
              <a:gd name="csY475" fmla="*/ 1356176 h 1538630"/>
              <a:gd name="csX476" fmla="*/ 1177270 w 1609516"/>
              <a:gd name="csY476" fmla="*/ 1335247 h 1538630"/>
              <a:gd name="csX477" fmla="*/ 1169002 w 1609516"/>
              <a:gd name="csY477" fmla="*/ 1313464 h 1538630"/>
              <a:gd name="csX478" fmla="*/ 1163504 w 1609516"/>
              <a:gd name="csY478" fmla="*/ 1302130 h 1538630"/>
              <a:gd name="csX479" fmla="*/ 1162015 w 1609516"/>
              <a:gd name="csY479" fmla="*/ 1298788 h 1538630"/>
              <a:gd name="csX480" fmla="*/ 1160111 w 1609516"/>
              <a:gd name="csY480" fmla="*/ 1292656 h 1538630"/>
              <a:gd name="csX481" fmla="*/ 1154522 w 1609516"/>
              <a:gd name="csY481" fmla="*/ 1287245 h 1538630"/>
              <a:gd name="csX482" fmla="*/ 1151398 w 1609516"/>
              <a:gd name="csY482" fmla="*/ 1280199 h 1538630"/>
              <a:gd name="csX483" fmla="*/ 1144173 w 1609516"/>
              <a:gd name="csY483" fmla="*/ 1270774 h 1538630"/>
              <a:gd name="csX484" fmla="*/ 1142065 w 1609516"/>
              <a:gd name="csY484" fmla="*/ 1268160 h 1538630"/>
              <a:gd name="csX485" fmla="*/ 1135776 w 1609516"/>
              <a:gd name="csY485" fmla="*/ 1260470 h 1538630"/>
              <a:gd name="csX486" fmla="*/ 1132353 w 1609516"/>
              <a:gd name="csY486" fmla="*/ 1256247 h 1538630"/>
              <a:gd name="csX487" fmla="*/ 1112344 w 1609516"/>
              <a:gd name="csY487" fmla="*/ 1240741 h 1538630"/>
              <a:gd name="csX488" fmla="*/ 1106193 w 1609516"/>
              <a:gd name="csY488" fmla="*/ 1237570 h 1538630"/>
              <a:gd name="csX489" fmla="*/ 1101409 w 1609516"/>
              <a:gd name="csY489" fmla="*/ 1235104 h 1538630"/>
              <a:gd name="csX490" fmla="*/ 1101409 w 1609516"/>
              <a:gd name="csY490" fmla="*/ 1230876 h 1538630"/>
              <a:gd name="csX491" fmla="*/ 1065480 w 1609516"/>
              <a:gd name="csY491" fmla="*/ 1230876 h 1538630"/>
              <a:gd name="csX492" fmla="*/ 1063919 w 1609516"/>
              <a:gd name="csY492" fmla="*/ 1235104 h 1538630"/>
              <a:gd name="csX493" fmla="*/ 1059232 w 1609516"/>
              <a:gd name="csY493" fmla="*/ 1235104 h 1538630"/>
              <a:gd name="csX494" fmla="*/ 1059232 w 1609516"/>
              <a:gd name="csY494" fmla="*/ 1237922 h 1538630"/>
              <a:gd name="csX495" fmla="*/ 1040194 w 1609516"/>
              <a:gd name="csY495" fmla="*/ 1245761 h 1538630"/>
              <a:gd name="csX496" fmla="*/ 1030333 w 1609516"/>
              <a:gd name="csY496" fmla="*/ 1249901 h 1538630"/>
              <a:gd name="csX497" fmla="*/ 1013931 w 1609516"/>
              <a:gd name="csY497" fmla="*/ 1256242 h 1538630"/>
              <a:gd name="csX498" fmla="*/ 1005925 w 1609516"/>
              <a:gd name="csY498" fmla="*/ 1261615 h 1538630"/>
              <a:gd name="csX499" fmla="*/ 1004558 w 1609516"/>
              <a:gd name="csY499" fmla="*/ 1264697 h 1538630"/>
              <a:gd name="csX500" fmla="*/ 1002959 w 1609516"/>
              <a:gd name="csY500" fmla="*/ 1267961 h 1538630"/>
              <a:gd name="csX501" fmla="*/ 1000653 w 1609516"/>
              <a:gd name="csY501" fmla="*/ 1278965 h 1538630"/>
              <a:gd name="csX502" fmla="*/ 998297 w 1609516"/>
              <a:gd name="csY502" fmla="*/ 1294137 h 1538630"/>
              <a:gd name="csX503" fmla="*/ 996162 w 1609516"/>
              <a:gd name="csY503" fmla="*/ 1324765 h 1538630"/>
              <a:gd name="csX504" fmla="*/ 996164 w 1609516"/>
              <a:gd name="csY504" fmla="*/ 1327846 h 1538630"/>
              <a:gd name="csX505" fmla="*/ 1007780 w 1609516"/>
              <a:gd name="csY505" fmla="*/ 1403329 h 1538630"/>
              <a:gd name="csX506" fmla="*/ 1008940 w 1609516"/>
              <a:gd name="csY506" fmla="*/ 1407701 h 1538630"/>
              <a:gd name="csX507" fmla="*/ 1010080 w 1609516"/>
              <a:gd name="csY507" fmla="*/ 1411730 h 1538630"/>
              <a:gd name="csX508" fmla="*/ 1011075 w 1609516"/>
              <a:gd name="csY508" fmla="*/ 1415277 h 1538630"/>
              <a:gd name="csX509" fmla="*/ 1017055 w 1609516"/>
              <a:gd name="csY509" fmla="*/ 1422530 h 1538630"/>
              <a:gd name="csX510" fmla="*/ 1020277 w 1609516"/>
              <a:gd name="csY510" fmla="*/ 1427991 h 1538630"/>
              <a:gd name="csX511" fmla="*/ 1021796 w 1609516"/>
              <a:gd name="csY511" fmla="*/ 1430798 h 1538630"/>
              <a:gd name="csX512" fmla="*/ 1024579 w 1609516"/>
              <a:gd name="csY512" fmla="*/ 1437239 h 1538630"/>
              <a:gd name="csX513" fmla="*/ 1034043 w 1609516"/>
              <a:gd name="csY513" fmla="*/ 1448072 h 1538630"/>
              <a:gd name="csX514" fmla="*/ 1043782 w 1609516"/>
              <a:gd name="csY514" fmla="*/ 1464320 h 1538630"/>
              <a:gd name="csX515" fmla="*/ 1050458 w 1609516"/>
              <a:gd name="csY515" fmla="*/ 1472189 h 1538630"/>
              <a:gd name="csX516" fmla="*/ 1052926 w 1609516"/>
              <a:gd name="csY516" fmla="*/ 1482370 h 1538630"/>
              <a:gd name="csX517" fmla="*/ 1053316 w 1609516"/>
              <a:gd name="csY517" fmla="*/ 1496903 h 1538630"/>
              <a:gd name="csX518" fmla="*/ 1053352 w 1609516"/>
              <a:gd name="csY518" fmla="*/ 1500660 h 1538630"/>
              <a:gd name="csX519" fmla="*/ 1053341 w 1609516"/>
              <a:gd name="csY519" fmla="*/ 1504285 h 1538630"/>
              <a:gd name="csX520" fmla="*/ 1053329 w 1609516"/>
              <a:gd name="csY520" fmla="*/ 1507529 h 1538630"/>
              <a:gd name="csX521" fmla="*/ 1049801 w 1609516"/>
              <a:gd name="csY521" fmla="*/ 1516192 h 1538630"/>
              <a:gd name="csX522" fmla="*/ 1047312 w 1609516"/>
              <a:gd name="csY522" fmla="*/ 1516192 h 1538630"/>
              <a:gd name="csX523" fmla="*/ 1043611 w 1609516"/>
              <a:gd name="csY523" fmla="*/ 1522585 h 1538630"/>
              <a:gd name="csX524" fmla="*/ 1029552 w 1609516"/>
              <a:gd name="csY524" fmla="*/ 1529631 h 1538630"/>
              <a:gd name="csX525" fmla="*/ 1028771 w 1609516"/>
              <a:gd name="csY525" fmla="*/ 1532273 h 1538630"/>
              <a:gd name="csX526" fmla="*/ 1018013 w 1609516"/>
              <a:gd name="csY526" fmla="*/ 1537640 h 1538630"/>
              <a:gd name="csX527" fmla="*/ 981126 w 1609516"/>
              <a:gd name="csY527" fmla="*/ 1533859 h 1538630"/>
              <a:gd name="csX528" fmla="*/ 977227 w 1609516"/>
              <a:gd name="csY528" fmla="*/ 1531943 h 1538630"/>
              <a:gd name="csX529" fmla="*/ 955376 w 1609516"/>
              <a:gd name="csY529" fmla="*/ 1508751 h 1538630"/>
              <a:gd name="csX530" fmla="*/ 954571 w 1609516"/>
              <a:gd name="csY530" fmla="*/ 1500037 h 1538630"/>
              <a:gd name="csX531" fmla="*/ 951446 w 1609516"/>
              <a:gd name="csY531" fmla="*/ 1500037 h 1538630"/>
              <a:gd name="csX532" fmla="*/ 951251 w 1609516"/>
              <a:gd name="csY532" fmla="*/ 1487883 h 1538630"/>
              <a:gd name="csX533" fmla="*/ 951171 w 1609516"/>
              <a:gd name="csY533" fmla="*/ 1484431 h 1538630"/>
              <a:gd name="csX534" fmla="*/ 954571 w 1609516"/>
              <a:gd name="csY534" fmla="*/ 1466216 h 1538630"/>
              <a:gd name="csX535" fmla="*/ 954961 w 1609516"/>
              <a:gd name="csY535" fmla="*/ 1455118 h 1538630"/>
              <a:gd name="csX536" fmla="*/ 954932 w 1609516"/>
              <a:gd name="csY536" fmla="*/ 1451972 h 1538630"/>
              <a:gd name="csX537" fmla="*/ 945099 w 1609516"/>
              <a:gd name="csY537" fmla="*/ 1403594 h 1538630"/>
              <a:gd name="csX538" fmla="*/ 942366 w 1609516"/>
              <a:gd name="csY538" fmla="*/ 1393553 h 1538630"/>
              <a:gd name="csX539" fmla="*/ 934451 w 1609516"/>
              <a:gd name="csY539" fmla="*/ 1372734 h 1538630"/>
              <a:gd name="csX540" fmla="*/ 931974 w 1609516"/>
              <a:gd name="csY540" fmla="*/ 1365754 h 1538630"/>
              <a:gd name="csX541" fmla="*/ 931138 w 1609516"/>
              <a:gd name="csY541" fmla="*/ 1363343 h 1538630"/>
              <a:gd name="csX542" fmla="*/ 926452 w 1609516"/>
              <a:gd name="csY542" fmla="*/ 1361933 h 1538630"/>
              <a:gd name="csX543" fmla="*/ 918641 w 1609516"/>
              <a:gd name="csY543" fmla="*/ 1340795 h 1538630"/>
              <a:gd name="csX544" fmla="*/ 917079 w 1609516"/>
              <a:gd name="csY544" fmla="*/ 1335158 h 1538630"/>
              <a:gd name="csX545" fmla="*/ 913955 w 1609516"/>
              <a:gd name="csY545" fmla="*/ 1335158 h 1538630"/>
              <a:gd name="csX546" fmla="*/ 912057 w 1609516"/>
              <a:gd name="csY546" fmla="*/ 1330793 h 1538630"/>
              <a:gd name="csX547" fmla="*/ 902142 w 1609516"/>
              <a:gd name="csY547" fmla="*/ 1316222 h 1538630"/>
              <a:gd name="csX548" fmla="*/ 900091 w 1609516"/>
              <a:gd name="csY548" fmla="*/ 1313828 h 1538630"/>
              <a:gd name="csX549" fmla="*/ 878026 w 1609516"/>
              <a:gd name="csY549" fmla="*/ 1295700 h 1538630"/>
              <a:gd name="csX550" fmla="*/ 875134 w 1609516"/>
              <a:gd name="csY550" fmla="*/ 1293465 h 1538630"/>
              <a:gd name="csX551" fmla="*/ 869869 w 1609516"/>
              <a:gd name="csY551" fmla="*/ 1291826 h 1538630"/>
              <a:gd name="csX552" fmla="*/ 862384 w 1609516"/>
              <a:gd name="csY552" fmla="*/ 1291327 h 1538630"/>
              <a:gd name="csX553" fmla="*/ 844390 w 1609516"/>
              <a:gd name="csY553" fmla="*/ 1290461 h 1538630"/>
              <a:gd name="csX554" fmla="*/ 840476 w 1609516"/>
              <a:gd name="csY554" fmla="*/ 1290500 h 1538630"/>
              <a:gd name="csX555" fmla="*/ 831015 w 1609516"/>
              <a:gd name="csY555" fmla="*/ 1290637 h 1538630"/>
              <a:gd name="csX556" fmla="*/ 831015 w 1609516"/>
              <a:gd name="csY556" fmla="*/ 1293456 h 1538630"/>
              <a:gd name="csX557" fmla="*/ 818225 w 1609516"/>
              <a:gd name="csY557" fmla="*/ 1295570 h 1538630"/>
              <a:gd name="csX558" fmla="*/ 796774 w 1609516"/>
              <a:gd name="csY558" fmla="*/ 1297671 h 1538630"/>
              <a:gd name="csX559" fmla="*/ 783646 w 1609516"/>
              <a:gd name="csY559" fmla="*/ 1305736 h 1538630"/>
              <a:gd name="csX560" fmla="*/ 769263 w 1609516"/>
              <a:gd name="csY560" fmla="*/ 1327143 h 1538630"/>
              <a:gd name="csX561" fmla="*/ 764797 w 1609516"/>
              <a:gd name="csY561" fmla="*/ 1334360 h 1538630"/>
              <a:gd name="csX562" fmla="*/ 757875 w 1609516"/>
              <a:gd name="csY562" fmla="*/ 1353503 h 1538630"/>
              <a:gd name="csX563" fmla="*/ 755676 w 1609516"/>
              <a:gd name="csY563" fmla="*/ 1367455 h 1538630"/>
              <a:gd name="csX564" fmla="*/ 750558 w 1609516"/>
              <a:gd name="csY564" fmla="*/ 1399690 h 1538630"/>
              <a:gd name="csX565" fmla="*/ 753057 w 1609516"/>
              <a:gd name="csY565" fmla="*/ 1411256 h 1538630"/>
              <a:gd name="csX566" fmla="*/ 753057 w 1609516"/>
              <a:gd name="csY566" fmla="*/ 1416893 h 1538630"/>
              <a:gd name="csX567" fmla="*/ 756181 w 1609516"/>
              <a:gd name="csY567" fmla="*/ 1416893 h 1538630"/>
              <a:gd name="csX568" fmla="*/ 758133 w 1609516"/>
              <a:gd name="csY568" fmla="*/ 1436182 h 1538630"/>
              <a:gd name="csX569" fmla="*/ 758231 w 1609516"/>
              <a:gd name="csY569" fmla="*/ 1440781 h 1538630"/>
              <a:gd name="csX570" fmla="*/ 750713 w 1609516"/>
              <a:gd name="csY570" fmla="*/ 1465704 h 1538630"/>
              <a:gd name="csX571" fmla="*/ 748370 w 1609516"/>
              <a:gd name="csY571" fmla="*/ 1467185 h 1538630"/>
              <a:gd name="csX572" fmla="*/ 741633 w 1609516"/>
              <a:gd name="csY572" fmla="*/ 1473526 h 1538630"/>
              <a:gd name="csX573" fmla="*/ 728154 w 1609516"/>
              <a:gd name="csY573" fmla="*/ 1478343 h 1538630"/>
              <a:gd name="csX574" fmla="*/ 721814 w 1609516"/>
              <a:gd name="csY574" fmla="*/ 1480308 h 1538630"/>
              <a:gd name="csX575" fmla="*/ 708341 w 1609516"/>
              <a:gd name="csY575" fmla="*/ 1480661 h 1538630"/>
              <a:gd name="csX576" fmla="*/ 704637 w 1609516"/>
              <a:gd name="csY576" fmla="*/ 1480748 h 1538630"/>
              <a:gd name="csX577" fmla="*/ 668507 w 1609516"/>
              <a:gd name="csY577" fmla="*/ 1468418 h 1538630"/>
              <a:gd name="csX578" fmla="*/ 660178 w 1609516"/>
              <a:gd name="csY578" fmla="*/ 1450027 h 1538630"/>
              <a:gd name="csX579" fmla="*/ 657767 w 1609516"/>
              <a:gd name="csY579" fmla="*/ 1445078 h 1538630"/>
              <a:gd name="csX580" fmla="*/ 663369 w 1609516"/>
              <a:gd name="csY580" fmla="*/ 1409390 h 1538630"/>
              <a:gd name="csX581" fmla="*/ 671826 w 1609516"/>
              <a:gd name="csY581" fmla="*/ 1401392 h 1538630"/>
              <a:gd name="csX582" fmla="*/ 678075 w 1609516"/>
              <a:gd name="csY582" fmla="*/ 1390118 h 1538630"/>
              <a:gd name="csX583" fmla="*/ 684323 w 1609516"/>
              <a:gd name="csY583" fmla="*/ 1388709 h 1538630"/>
              <a:gd name="csX584" fmla="*/ 685293 w 1609516"/>
              <a:gd name="csY584" fmla="*/ 1384233 h 1538630"/>
              <a:gd name="csX585" fmla="*/ 686569 w 1609516"/>
              <a:gd name="csY585" fmla="*/ 1378404 h 1538630"/>
              <a:gd name="csX586" fmla="*/ 687207 w 1609516"/>
              <a:gd name="csY586" fmla="*/ 1375456 h 1538630"/>
              <a:gd name="csX587" fmla="*/ 690572 w 1609516"/>
              <a:gd name="csY587" fmla="*/ 1363343 h 1538630"/>
              <a:gd name="csX588" fmla="*/ 692495 w 1609516"/>
              <a:gd name="csY588" fmla="*/ 1323376 h 1538630"/>
              <a:gd name="csX589" fmla="*/ 692625 w 1609516"/>
              <a:gd name="csY589" fmla="*/ 1315006 h 1538630"/>
              <a:gd name="csX590" fmla="*/ 687447 w 1609516"/>
              <a:gd name="csY590" fmla="*/ 1287245 h 1538630"/>
              <a:gd name="csX591" fmla="*/ 682761 w 1609516"/>
              <a:gd name="csY591" fmla="*/ 1285835 h 1538630"/>
              <a:gd name="csX592" fmla="*/ 678954 w 1609516"/>
              <a:gd name="csY592" fmla="*/ 1281608 h 1538630"/>
              <a:gd name="csX593" fmla="*/ 668702 w 1609516"/>
              <a:gd name="csY593" fmla="*/ 1275971 h 1538630"/>
              <a:gd name="csX594" fmla="*/ 662454 w 1609516"/>
              <a:gd name="csY594" fmla="*/ 1270334 h 1538630"/>
              <a:gd name="csX595" fmla="*/ 654643 w 1609516"/>
              <a:gd name="csY595" fmla="*/ 1267516 h 1538630"/>
              <a:gd name="csX596" fmla="*/ 654643 w 1609516"/>
              <a:gd name="csY596" fmla="*/ 1264697 h 1538630"/>
              <a:gd name="csX597" fmla="*/ 650152 w 1609516"/>
              <a:gd name="csY597" fmla="*/ 1264345 h 1538630"/>
              <a:gd name="csX598" fmla="*/ 628087 w 1609516"/>
              <a:gd name="csY598" fmla="*/ 1257651 h 1538630"/>
              <a:gd name="csX599" fmla="*/ 628087 w 1609516"/>
              <a:gd name="csY599" fmla="*/ 1254833 h 1538630"/>
              <a:gd name="csX600" fmla="*/ 625121 w 1609516"/>
              <a:gd name="csY600" fmla="*/ 1254315 h 1538630"/>
              <a:gd name="csX601" fmla="*/ 621252 w 1609516"/>
              <a:gd name="csY601" fmla="*/ 1253600 h 1538630"/>
              <a:gd name="csX602" fmla="*/ 617409 w 1609516"/>
              <a:gd name="csY602" fmla="*/ 1252906 h 1538630"/>
              <a:gd name="csX603" fmla="*/ 610904 w 1609516"/>
              <a:gd name="csY603" fmla="*/ 1249196 h 1538630"/>
              <a:gd name="csX604" fmla="*/ 565739 w 1609516"/>
              <a:gd name="csY604" fmla="*/ 1271742 h 1538630"/>
              <a:gd name="csX605" fmla="*/ 546924 w 1609516"/>
              <a:gd name="csY605" fmla="*/ 1290829 h 1538630"/>
              <a:gd name="csX606" fmla="*/ 543635 w 1609516"/>
              <a:gd name="csY606" fmla="*/ 1294643 h 1538630"/>
              <a:gd name="csX607" fmla="*/ 540651 w 1609516"/>
              <a:gd name="csY607" fmla="*/ 1298188 h 1538630"/>
              <a:gd name="csX608" fmla="*/ 529673 w 1609516"/>
              <a:gd name="csY608" fmla="*/ 1305565 h 1538630"/>
              <a:gd name="csX609" fmla="*/ 526549 w 1609516"/>
              <a:gd name="csY609" fmla="*/ 1311202 h 1538630"/>
              <a:gd name="csX610" fmla="*/ 523425 w 1609516"/>
              <a:gd name="csY610" fmla="*/ 1311202 h 1538630"/>
              <a:gd name="csX611" fmla="*/ 523230 w 1609516"/>
              <a:gd name="csY611" fmla="*/ 1313580 h 1538630"/>
              <a:gd name="csX612" fmla="*/ 517732 w 1609516"/>
              <a:gd name="csY612" fmla="*/ 1319739 h 1538630"/>
              <a:gd name="csX613" fmla="*/ 502239 w 1609516"/>
              <a:gd name="csY613" fmla="*/ 1337096 h 1538630"/>
              <a:gd name="csX614" fmla="*/ 497058 w 1609516"/>
              <a:gd name="csY614" fmla="*/ 1344087 h 1538630"/>
              <a:gd name="csX615" fmla="*/ 494572 w 1609516"/>
              <a:gd name="csY615" fmla="*/ 1347465 h 1538630"/>
              <a:gd name="csX616" fmla="*/ 487776 w 1609516"/>
              <a:gd name="csY616" fmla="*/ 1356181 h 1538630"/>
              <a:gd name="csX617" fmla="*/ 481248 w 1609516"/>
              <a:gd name="csY617" fmla="*/ 1367571 h 1538630"/>
              <a:gd name="csX618" fmla="*/ 478123 w 1609516"/>
              <a:gd name="csY618" fmla="*/ 1367571 h 1538630"/>
              <a:gd name="csX619" fmla="*/ 477635 w 1609516"/>
              <a:gd name="csY619" fmla="*/ 1370565 h 1538630"/>
              <a:gd name="csX620" fmla="*/ 465626 w 1609516"/>
              <a:gd name="csY620" fmla="*/ 1388709 h 1538630"/>
              <a:gd name="csX621" fmla="*/ 461233 w 1609516"/>
              <a:gd name="csY621" fmla="*/ 1397340 h 1538630"/>
              <a:gd name="csX622" fmla="*/ 455765 w 1609516"/>
              <a:gd name="csY622" fmla="*/ 1408086 h 1538630"/>
              <a:gd name="csX623" fmla="*/ 439070 w 1609516"/>
              <a:gd name="csY623" fmla="*/ 1477490 h 1538630"/>
              <a:gd name="csX624" fmla="*/ 434384 w 1609516"/>
              <a:gd name="csY624" fmla="*/ 1478899 h 1538630"/>
              <a:gd name="csX625" fmla="*/ 432431 w 1609516"/>
              <a:gd name="csY625" fmla="*/ 1481982 h 1538630"/>
              <a:gd name="csX626" fmla="*/ 418763 w 1609516"/>
              <a:gd name="csY626" fmla="*/ 1494401 h 1538630"/>
              <a:gd name="csX627" fmla="*/ 415639 w 1609516"/>
              <a:gd name="csY627" fmla="*/ 1494401 h 1538630"/>
              <a:gd name="csX628" fmla="*/ 415639 w 1609516"/>
              <a:gd name="csY628" fmla="*/ 1497219 h 1538630"/>
              <a:gd name="csX629" fmla="*/ 406265 w 1609516"/>
              <a:gd name="csY629" fmla="*/ 1498628 h 1538630"/>
              <a:gd name="csX630" fmla="*/ 406265 w 1609516"/>
              <a:gd name="csY630" fmla="*/ 1501447 h 1538630"/>
              <a:gd name="csX631" fmla="*/ 375023 w 1609516"/>
              <a:gd name="csY631" fmla="*/ 1501447 h 1538630"/>
              <a:gd name="csX632" fmla="*/ 375023 w 1609516"/>
              <a:gd name="csY632" fmla="*/ 1499438 h 1538630"/>
              <a:gd name="csX633" fmla="*/ 374964 w 1609516"/>
              <a:gd name="csY633" fmla="*/ 1499436 h 1538630"/>
              <a:gd name="csX634" fmla="*/ 373179 w 1609516"/>
              <a:gd name="csY634" fmla="*/ 1498628 h 1538630"/>
              <a:gd name="csX635" fmla="*/ 365650 w 1609516"/>
              <a:gd name="csY635" fmla="*/ 1498628 h 1538630"/>
              <a:gd name="csX636" fmla="*/ 363134 w 1609516"/>
              <a:gd name="csY636" fmla="*/ 1494087 h 1538630"/>
              <a:gd name="csX637" fmla="*/ 362171 w 1609516"/>
              <a:gd name="csY637" fmla="*/ 1493651 h 1538630"/>
              <a:gd name="csX638" fmla="*/ 360609 w 1609516"/>
              <a:gd name="csY638" fmla="*/ 1490833 h 1538630"/>
              <a:gd name="csX639" fmla="*/ 363733 w 1609516"/>
              <a:gd name="csY639" fmla="*/ 1490833 h 1538630"/>
              <a:gd name="csX640" fmla="*/ 363733 w 1609516"/>
              <a:gd name="csY640" fmla="*/ 1489980 h 1538630"/>
              <a:gd name="csX641" fmla="*/ 348467 w 1609516"/>
              <a:gd name="csY641" fmla="*/ 1481717 h 1538630"/>
              <a:gd name="csX642" fmla="*/ 343872 w 1609516"/>
              <a:gd name="csY642" fmla="*/ 1461078 h 1538630"/>
              <a:gd name="csX643" fmla="*/ 343656 w 1609516"/>
              <a:gd name="csY643" fmla="*/ 1463649 h 1538630"/>
              <a:gd name="csX644" fmla="*/ 343424 w 1609516"/>
              <a:gd name="csY644" fmla="*/ 1466842 h 1538630"/>
              <a:gd name="csX645" fmla="*/ 341861 w 1609516"/>
              <a:gd name="csY645" fmla="*/ 1466842 h 1538630"/>
              <a:gd name="csX646" fmla="*/ 354143 w 1609516"/>
              <a:gd name="csY646" fmla="*/ 1420549 h 1538630"/>
              <a:gd name="csX647" fmla="*/ 376229 w 1609516"/>
              <a:gd name="csY647" fmla="*/ 1403427 h 1538630"/>
              <a:gd name="csX648" fmla="*/ 379491 w 1609516"/>
              <a:gd name="csY648" fmla="*/ 1404408 h 1538630"/>
              <a:gd name="csX649" fmla="*/ 379710 w 1609516"/>
              <a:gd name="csY649" fmla="*/ 1404210 h 1538630"/>
              <a:gd name="csX650" fmla="*/ 380882 w 1609516"/>
              <a:gd name="csY650" fmla="*/ 1401568 h 1538630"/>
              <a:gd name="csX651" fmla="*/ 392207 w 1609516"/>
              <a:gd name="csY651" fmla="*/ 1392936 h 1538630"/>
              <a:gd name="csX652" fmla="*/ 399542 w 1609516"/>
              <a:gd name="csY652" fmla="*/ 1386774 h 1538630"/>
              <a:gd name="csX653" fmla="*/ 405485 w 1609516"/>
              <a:gd name="csY653" fmla="*/ 1378917 h 1538630"/>
              <a:gd name="csX654" fmla="*/ 412008 w 1609516"/>
              <a:gd name="csY654" fmla="*/ 1369481 h 1538630"/>
              <a:gd name="csX655" fmla="*/ 421130 w 1609516"/>
              <a:gd name="csY655" fmla="*/ 1357057 h 1538630"/>
              <a:gd name="csX656" fmla="*/ 424676 w 1609516"/>
              <a:gd name="csY656" fmla="*/ 1348443 h 1538630"/>
              <a:gd name="csX657" fmla="*/ 427275 w 1609516"/>
              <a:gd name="csY657" fmla="*/ 1348443 h 1538630"/>
              <a:gd name="csX658" fmla="*/ 428135 w 1609516"/>
              <a:gd name="csY658" fmla="*/ 1345727 h 1538630"/>
              <a:gd name="csX659" fmla="*/ 432822 w 1609516"/>
              <a:gd name="csY659" fmla="*/ 1335158 h 1538630"/>
              <a:gd name="csX660" fmla="*/ 435946 w 1609516"/>
              <a:gd name="csY660" fmla="*/ 1335158 h 1538630"/>
              <a:gd name="csX661" fmla="*/ 437704 w 1609516"/>
              <a:gd name="csY661" fmla="*/ 1329786 h 1538630"/>
              <a:gd name="csX662" fmla="*/ 447394 w 1609516"/>
              <a:gd name="csY662" fmla="*/ 1311196 h 1538630"/>
              <a:gd name="csX663" fmla="*/ 469287 w 1609516"/>
              <a:gd name="csY663" fmla="*/ 1265964 h 1538630"/>
              <a:gd name="csX664" fmla="*/ 478178 w 1609516"/>
              <a:gd name="csY664" fmla="*/ 1246787 h 1538630"/>
              <a:gd name="csX665" fmla="*/ 480179 w 1609516"/>
              <a:gd name="csY665" fmla="*/ 1225768 h 1538630"/>
              <a:gd name="csX666" fmla="*/ 480250 w 1609516"/>
              <a:gd name="csY666" fmla="*/ 1217149 h 1538630"/>
              <a:gd name="csX667" fmla="*/ 462972 w 1609516"/>
              <a:gd name="csY667" fmla="*/ 1174827 h 1538630"/>
              <a:gd name="csX668" fmla="*/ 457468 w 1609516"/>
              <a:gd name="csY668" fmla="*/ 1169949 h 1538630"/>
              <a:gd name="csX669" fmla="*/ 440657 w 1609516"/>
              <a:gd name="csY669" fmla="*/ 1152570 h 1538630"/>
              <a:gd name="csX670" fmla="*/ 403142 w 1609516"/>
              <a:gd name="csY670" fmla="*/ 1122366 h 1538630"/>
              <a:gd name="csX671" fmla="*/ 401579 w 1609516"/>
              <a:gd name="csY671" fmla="*/ 1119547 h 1538630"/>
              <a:gd name="csX672" fmla="*/ 364564 w 1609516"/>
              <a:gd name="csY672" fmla="*/ 1118209 h 1538630"/>
              <a:gd name="csX673" fmla="*/ 357822 w 1609516"/>
              <a:gd name="csY673" fmla="*/ 1122041 h 1538630"/>
              <a:gd name="csX674" fmla="*/ 348077 w 1609516"/>
              <a:gd name="csY674" fmla="*/ 1125273 h 1538630"/>
              <a:gd name="csX675" fmla="*/ 334408 w 1609516"/>
              <a:gd name="csY675" fmla="*/ 1132230 h 1538630"/>
              <a:gd name="csX676" fmla="*/ 327964 w 1609516"/>
              <a:gd name="csY676" fmla="*/ 1134080 h 1538630"/>
              <a:gd name="csX677" fmla="*/ 279734 w 1609516"/>
              <a:gd name="csY677" fmla="*/ 1166051 h 1538630"/>
              <a:gd name="csX678" fmla="*/ 276609 w 1609516"/>
              <a:gd name="csY678" fmla="*/ 1173098 h 1538630"/>
              <a:gd name="csX679" fmla="*/ 260988 w 1609516"/>
              <a:gd name="csY679" fmla="*/ 1188599 h 1538630"/>
              <a:gd name="csX680" fmla="*/ 257956 w 1609516"/>
              <a:gd name="csY680" fmla="*/ 1191132 h 1538630"/>
              <a:gd name="csX681" fmla="*/ 243805 w 1609516"/>
              <a:gd name="csY681" fmla="*/ 1196629 h 1538630"/>
              <a:gd name="csX682" fmla="*/ 243805 w 1609516"/>
              <a:gd name="csY682" fmla="*/ 1194236 h 1538630"/>
              <a:gd name="csX683" fmla="*/ 240288 w 1609516"/>
              <a:gd name="csY683" fmla="*/ 1194765 h 1538630"/>
              <a:gd name="csX684" fmla="*/ 243374 w 1609516"/>
              <a:gd name="csY684" fmla="*/ 1194765 h 1538630"/>
              <a:gd name="csX685" fmla="*/ 243374 w 1609516"/>
              <a:gd name="csY685" fmla="*/ 1196797 h 1538630"/>
              <a:gd name="csX686" fmla="*/ 243805 w 1609516"/>
              <a:gd name="csY686" fmla="*/ 1196629 h 1538630"/>
              <a:gd name="csX687" fmla="*/ 243805 w 1609516"/>
              <a:gd name="csY687" fmla="*/ 1197055 h 1538630"/>
              <a:gd name="csX688" fmla="*/ 243374 w 1609516"/>
              <a:gd name="csY688" fmla="*/ 1197055 h 1538630"/>
              <a:gd name="csX689" fmla="*/ 243374 w 1609516"/>
              <a:gd name="csY689" fmla="*/ 1197584 h 1538630"/>
              <a:gd name="csX690" fmla="*/ 241319 w 1609516"/>
              <a:gd name="csY690" fmla="*/ 1197595 h 1538630"/>
              <a:gd name="csX691" fmla="*/ 238009 w 1609516"/>
              <a:gd name="csY691" fmla="*/ 1198881 h 1538630"/>
              <a:gd name="csX692" fmla="*/ 215687 w 1609516"/>
              <a:gd name="csY692" fmla="*/ 1198464 h 1538630"/>
              <a:gd name="csX693" fmla="*/ 215687 w 1609516"/>
              <a:gd name="csY693" fmla="*/ 1197734 h 1538630"/>
              <a:gd name="csX694" fmla="*/ 213936 w 1609516"/>
              <a:gd name="csY694" fmla="*/ 1197744 h 1538630"/>
              <a:gd name="csX695" fmla="*/ 207446 w 1609516"/>
              <a:gd name="csY695" fmla="*/ 1196175 h 1538630"/>
              <a:gd name="csX696" fmla="*/ 207822 w 1609516"/>
              <a:gd name="csY696" fmla="*/ 1195610 h 1538630"/>
              <a:gd name="csX697" fmla="*/ 184737 w 1609516"/>
              <a:gd name="csY697" fmla="*/ 1180936 h 1538630"/>
              <a:gd name="csX698" fmla="*/ 179270 w 1609516"/>
              <a:gd name="csY698" fmla="*/ 1154866 h 1538630"/>
              <a:gd name="csX699" fmla="*/ 179194 w 1609516"/>
              <a:gd name="csY699" fmla="*/ 1151621 h 1538630"/>
              <a:gd name="csX700" fmla="*/ 193195 w 1609516"/>
              <a:gd name="csY700" fmla="*/ 1120065 h 1538630"/>
              <a:gd name="csX701" fmla="*/ 229551 w 1609516"/>
              <a:gd name="csY701" fmla="*/ 1110299 h 1538630"/>
              <a:gd name="csX702" fmla="*/ 260988 w 1609516"/>
              <a:gd name="csY702" fmla="*/ 1108274 h 1538630"/>
              <a:gd name="csX703" fmla="*/ 260988 w 1609516"/>
              <a:gd name="csY703" fmla="*/ 1105455 h 1538630"/>
              <a:gd name="csX704" fmla="*/ 263911 w 1609516"/>
              <a:gd name="csY704" fmla="*/ 1104310 h 1538630"/>
              <a:gd name="csX705" fmla="*/ 286995 w 1609516"/>
              <a:gd name="csY705" fmla="*/ 1090185 h 1538630"/>
              <a:gd name="csX706" fmla="*/ 299358 w 1609516"/>
              <a:gd name="csY706" fmla="*/ 1080970 h 1538630"/>
              <a:gd name="csX707" fmla="*/ 317762 w 1609516"/>
              <a:gd name="csY707" fmla="*/ 1063272 h 1538630"/>
              <a:gd name="csX708" fmla="*/ 325035 w 1609516"/>
              <a:gd name="csY708" fmla="*/ 1057542 h 1538630"/>
              <a:gd name="csX709" fmla="*/ 325328 w 1609516"/>
              <a:gd name="csY709" fmla="*/ 1023104 h 1538630"/>
              <a:gd name="csX710" fmla="*/ 324544 w 1609516"/>
              <a:gd name="csY710" fmla="*/ 1019247 h 1538630"/>
              <a:gd name="csX711" fmla="*/ 317225 w 1609516"/>
              <a:gd name="csY711" fmla="*/ 996945 h 1538630"/>
              <a:gd name="csX712" fmla="*/ 315388 w 1609516"/>
              <a:gd name="csY712" fmla="*/ 992690 h 1538630"/>
              <a:gd name="csX713" fmla="*/ 276232 w 1609516"/>
              <a:gd name="csY713" fmla="*/ 950666 h 1538630"/>
              <a:gd name="csX714" fmla="*/ 271923 w 1609516"/>
              <a:gd name="csY714" fmla="*/ 949031 h 1538630"/>
              <a:gd name="csX715" fmla="*/ 268299 w 1609516"/>
              <a:gd name="csY715" fmla="*/ 947441 h 1538630"/>
              <a:gd name="csX716" fmla="*/ 199187 w 1609516"/>
              <a:gd name="csY716" fmla="*/ 938991 h 1538630"/>
              <a:gd name="csX717" fmla="*/ 193719 w 1609516"/>
              <a:gd name="csY717" fmla="*/ 938971 h 1538630"/>
              <a:gd name="csX718" fmla="*/ 188539 w 1609516"/>
              <a:gd name="csY718" fmla="*/ 938980 h 1538630"/>
              <a:gd name="csX719" fmla="*/ 183874 w 1609516"/>
              <a:gd name="csY719" fmla="*/ 938985 h 1538630"/>
              <a:gd name="csX720" fmla="*/ 173509 w 1609516"/>
              <a:gd name="csY720" fmla="*/ 940576 h 1538630"/>
              <a:gd name="csX721" fmla="*/ 161403 w 1609516"/>
              <a:gd name="csY721" fmla="*/ 940664 h 1538630"/>
              <a:gd name="csX722" fmla="*/ 158102 w 1609516"/>
              <a:gd name="csY722" fmla="*/ 940645 h 1538630"/>
              <a:gd name="csX723" fmla="*/ 150875 w 1609516"/>
              <a:gd name="csY723" fmla="*/ 940583 h 1538630"/>
              <a:gd name="csX724" fmla="*/ 148425 w 1609516"/>
              <a:gd name="csY724" fmla="*/ 940717 h 1538630"/>
              <a:gd name="csX725" fmla="*/ 149617 w 1609516"/>
              <a:gd name="csY725" fmla="*/ 940995 h 1538630"/>
              <a:gd name="csX726" fmla="*/ 149617 w 1609516"/>
              <a:gd name="csY726" fmla="*/ 942404 h 1538630"/>
              <a:gd name="csX727" fmla="*/ 146627 w 1609516"/>
              <a:gd name="csY727" fmla="*/ 942871 h 1538630"/>
              <a:gd name="csX728" fmla="*/ 110564 w 1609516"/>
              <a:gd name="csY728" fmla="*/ 949449 h 1538630"/>
              <a:gd name="csX729" fmla="*/ 111283 w 1609516"/>
              <a:gd name="csY729" fmla="*/ 946205 h 1538630"/>
              <a:gd name="csX730" fmla="*/ 101652 w 1609516"/>
              <a:gd name="csY730" fmla="*/ 956078 h 1538630"/>
              <a:gd name="csX731" fmla="*/ 98052 w 1609516"/>
              <a:gd name="csY731" fmla="*/ 958467 h 1538630"/>
              <a:gd name="csX732" fmla="*/ 67286 w 1609516"/>
              <a:gd name="csY732" fmla="*/ 972989 h 1538630"/>
              <a:gd name="csX733" fmla="*/ 67286 w 1609516"/>
              <a:gd name="csY733" fmla="*/ 975807 h 1538630"/>
              <a:gd name="csX734" fmla="*/ 31942 w 1609516"/>
              <a:gd name="csY734" fmla="*/ 976423 h 1538630"/>
              <a:gd name="csX735" fmla="*/ 5673 w 1609516"/>
              <a:gd name="csY735" fmla="*/ 953419 h 1538630"/>
              <a:gd name="csX736" fmla="*/ 4801 w 1609516"/>
              <a:gd name="csY736" fmla="*/ 944804 h 1538630"/>
              <a:gd name="csX737" fmla="*/ 1676 w 1609516"/>
              <a:gd name="csY737" fmla="*/ 944804 h 1538630"/>
              <a:gd name="csX738" fmla="*/ 17 w 1609516"/>
              <a:gd name="csY738" fmla="*/ 931857 h 1538630"/>
              <a:gd name="csX739" fmla="*/ 59 w 1609516"/>
              <a:gd name="csY739" fmla="*/ 927216 h 1538630"/>
              <a:gd name="csX740" fmla="*/ 115 w 1609516"/>
              <a:gd name="csY740" fmla="*/ 923666 h 1538630"/>
              <a:gd name="csX741" fmla="*/ 3238 w 1609516"/>
              <a:gd name="csY741" fmla="*/ 923666 h 1538630"/>
              <a:gd name="csX742" fmla="*/ 3238 w 1609516"/>
              <a:gd name="csY742" fmla="*/ 918029 h 1538630"/>
              <a:gd name="csX743" fmla="*/ 6363 w 1609516"/>
              <a:gd name="csY743" fmla="*/ 918029 h 1538630"/>
              <a:gd name="csX744" fmla="*/ 6656 w 1609516"/>
              <a:gd name="csY744" fmla="*/ 912832 h 1538630"/>
              <a:gd name="csX745" fmla="*/ 15736 w 1609516"/>
              <a:gd name="csY745" fmla="*/ 899709 h 1538630"/>
              <a:gd name="csX746" fmla="*/ 17243 w 1609516"/>
              <a:gd name="csY746" fmla="*/ 898894 h 1538630"/>
              <a:gd name="csX747" fmla="*/ 16800 w 1609516"/>
              <a:gd name="csY747" fmla="*/ 898694 h 1538630"/>
              <a:gd name="csX748" fmla="*/ 24988 w 1609516"/>
              <a:gd name="csY748" fmla="*/ 894101 h 1538630"/>
              <a:gd name="csX749" fmla="*/ 26768 w 1609516"/>
              <a:gd name="csY749" fmla="*/ 892399 h 1538630"/>
              <a:gd name="csX750" fmla="*/ 30198 w 1609516"/>
              <a:gd name="csY750" fmla="*/ 890164 h 1538630"/>
              <a:gd name="csX751" fmla="*/ 32204 w 1609516"/>
              <a:gd name="csY751" fmla="*/ 890054 h 1538630"/>
              <a:gd name="csX752" fmla="*/ 38914 w 1609516"/>
              <a:gd name="csY752" fmla="*/ 886291 h 1538630"/>
              <a:gd name="csX753" fmla="*/ 63664 w 1609516"/>
              <a:gd name="csY753" fmla="*/ 886011 h 1538630"/>
              <a:gd name="csX754" fmla="*/ 63664 w 1609516"/>
              <a:gd name="csY754" fmla="*/ 886531 h 1538630"/>
              <a:gd name="csX755" fmla="*/ 70784 w 1609516"/>
              <a:gd name="csY755" fmla="*/ 886647 h 1538630"/>
              <a:gd name="csX756" fmla="*/ 82126 w 1609516"/>
              <a:gd name="csY756" fmla="*/ 889845 h 1538630"/>
              <a:gd name="csX757" fmla="*/ 114149 w 1609516"/>
              <a:gd name="csY757" fmla="*/ 892663 h 1538630"/>
              <a:gd name="csX758" fmla="*/ 118836 w 1609516"/>
              <a:gd name="csY758" fmla="*/ 889845 h 1538630"/>
              <a:gd name="csX759" fmla="*/ 131626 w 1609516"/>
              <a:gd name="csY759" fmla="*/ 887114 h 1538630"/>
              <a:gd name="csX760" fmla="*/ 155116 w 1609516"/>
              <a:gd name="csY760" fmla="*/ 880913 h 1538630"/>
              <a:gd name="csX761" fmla="*/ 165406 w 1609516"/>
              <a:gd name="csY761" fmla="*/ 878483 h 1538630"/>
              <a:gd name="csX762" fmla="*/ 176634 w 1609516"/>
              <a:gd name="csY762" fmla="*/ 874343 h 1538630"/>
              <a:gd name="csX763" fmla="*/ 186397 w 1609516"/>
              <a:gd name="csY763" fmla="*/ 871524 h 1538630"/>
              <a:gd name="csX764" fmla="*/ 191871 w 1609516"/>
              <a:gd name="csY764" fmla="*/ 870033 h 1538630"/>
              <a:gd name="csX765" fmla="*/ 203483 w 1609516"/>
              <a:gd name="csY765" fmla="*/ 867208 h 1538630"/>
              <a:gd name="csX766" fmla="*/ 211001 w 1609516"/>
              <a:gd name="csY766" fmla="*/ 861660 h 1538630"/>
              <a:gd name="csX767" fmla="*/ 218031 w 1609516"/>
              <a:gd name="csY767" fmla="*/ 858577 h 1538630"/>
              <a:gd name="csX768" fmla="*/ 254740 w 1609516"/>
              <a:gd name="csY768" fmla="*/ 825020 h 1538630"/>
              <a:gd name="csX769" fmla="*/ 257864 w 1609516"/>
              <a:gd name="csY769" fmla="*/ 820792 h 1538630"/>
              <a:gd name="csX770" fmla="*/ 258318 w 1609516"/>
              <a:gd name="csY770" fmla="*/ 813810 h 1538630"/>
              <a:gd name="csX771" fmla="*/ 258378 w 1609516"/>
              <a:gd name="csY771" fmla="*/ 809502 h 1538630"/>
              <a:gd name="csX772" fmla="*/ 258389 w 1609516"/>
              <a:gd name="csY772" fmla="*/ 804845 h 1538630"/>
              <a:gd name="csX773" fmla="*/ 258420 w 1609516"/>
              <a:gd name="csY773" fmla="*/ 800036 h 1538630"/>
              <a:gd name="csX774" fmla="*/ 258443 w 1609516"/>
              <a:gd name="csY774" fmla="*/ 789939 h 1538630"/>
              <a:gd name="csX775" fmla="*/ 258566 w 1609516"/>
              <a:gd name="csY775" fmla="*/ 774594 h 1538630"/>
              <a:gd name="csX776" fmla="*/ 258584 w 1609516"/>
              <a:gd name="csY776" fmla="*/ 764771 h 1538630"/>
              <a:gd name="csX777" fmla="*/ 258652 w 1609516"/>
              <a:gd name="csY777" fmla="*/ 760174 h 1538630"/>
              <a:gd name="csX778" fmla="*/ 251616 w 1609516"/>
              <a:gd name="csY778" fmla="*/ 733421 h 1538630"/>
              <a:gd name="csX779" fmla="*/ 247613 w 1609516"/>
              <a:gd name="csY779" fmla="*/ 721883 h 1538630"/>
              <a:gd name="csX780" fmla="*/ 241291 w 1609516"/>
              <a:gd name="csY780" fmla="*/ 705644 h 1538630"/>
              <a:gd name="csX781" fmla="*/ 237557 w 1609516"/>
              <a:gd name="csY781" fmla="*/ 689735 h 1538630"/>
              <a:gd name="csX782" fmla="*/ 248492 w 1609516"/>
              <a:gd name="csY782" fmla="*/ 685507 h 1538630"/>
              <a:gd name="csX783" fmla="*/ 248492 w 1609516"/>
              <a:gd name="csY783" fmla="*/ 681279 h 1538630"/>
              <a:gd name="csX784" fmla="*/ 240681 w 1609516"/>
              <a:gd name="csY784" fmla="*/ 679870 h 1538630"/>
              <a:gd name="csX785" fmla="*/ 240681 w 1609516"/>
              <a:gd name="csY785" fmla="*/ 677052 h 1538630"/>
              <a:gd name="csX786" fmla="*/ 238094 w 1609516"/>
              <a:gd name="csY786" fmla="*/ 676645 h 1538630"/>
              <a:gd name="csX787" fmla="*/ 225841 w 1609516"/>
              <a:gd name="csY787" fmla="*/ 670886 h 1538630"/>
              <a:gd name="csX788" fmla="*/ 201531 w 1609516"/>
              <a:gd name="csY788" fmla="*/ 662508 h 1538630"/>
              <a:gd name="csX789" fmla="*/ 188252 w 1609516"/>
              <a:gd name="csY789" fmla="*/ 658644 h 1538630"/>
              <a:gd name="csX790" fmla="*/ 182431 w 1609516"/>
              <a:gd name="csY790" fmla="*/ 657327 h 1538630"/>
              <a:gd name="csX791" fmla="*/ 182431 w 1609516"/>
              <a:gd name="csY791" fmla="*/ 657613 h 1538630"/>
              <a:gd name="csX792" fmla="*/ 146503 w 1609516"/>
              <a:gd name="csY792" fmla="*/ 656204 h 1538630"/>
              <a:gd name="csX793" fmla="*/ 146503 w 1609516"/>
              <a:gd name="csY793" fmla="*/ 659022 h 1538630"/>
              <a:gd name="csX794" fmla="*/ 110378 w 1609516"/>
              <a:gd name="csY794" fmla="*/ 663778 h 1538630"/>
              <a:gd name="csX795" fmla="*/ 106453 w 1609516"/>
              <a:gd name="csY795" fmla="*/ 663836 h 1538630"/>
              <a:gd name="csX796" fmla="*/ 102751 w 1609516"/>
              <a:gd name="csY796" fmla="*/ 663811 h 1538630"/>
              <a:gd name="csX797" fmla="*/ 99449 w 1609516"/>
              <a:gd name="csY797" fmla="*/ 663797 h 1538630"/>
              <a:gd name="csX798" fmla="*/ 91828 w 1609516"/>
              <a:gd name="csY798" fmla="*/ 659022 h 1538630"/>
              <a:gd name="csX799" fmla="*/ 98077 w 1609516"/>
              <a:gd name="csY799" fmla="*/ 659022 h 1538630"/>
              <a:gd name="csX800" fmla="*/ 98077 w 1609516"/>
              <a:gd name="csY800" fmla="*/ 661841 h 1538630"/>
              <a:gd name="csX801" fmla="*/ 119023 w 1609516"/>
              <a:gd name="csY801" fmla="*/ 661357 h 1538630"/>
              <a:gd name="csX802" fmla="*/ 119536 w 1609516"/>
              <a:gd name="csY802" fmla="*/ 661197 h 1538630"/>
              <a:gd name="csX803" fmla="*/ 109853 w 1609516"/>
              <a:gd name="csY803" fmla="*/ 661639 h 1538630"/>
              <a:gd name="csX804" fmla="*/ 106552 w 1609516"/>
              <a:gd name="csY804" fmla="*/ 661619 h 1538630"/>
              <a:gd name="csX805" fmla="*/ 98528 w 1609516"/>
              <a:gd name="csY805" fmla="*/ 661550 h 1538630"/>
              <a:gd name="csX806" fmla="*/ 98528 w 1609516"/>
              <a:gd name="csY806" fmla="*/ 658732 h 1538630"/>
              <a:gd name="csX807" fmla="*/ 89155 w 1609516"/>
              <a:gd name="csY807" fmla="*/ 657323 h 1538630"/>
              <a:gd name="csX808" fmla="*/ 89155 w 1609516"/>
              <a:gd name="csY808" fmla="*/ 654504 h 1538630"/>
              <a:gd name="csX809" fmla="*/ 86397 w 1609516"/>
              <a:gd name="csY809" fmla="*/ 653442 h 1538630"/>
              <a:gd name="csX810" fmla="*/ 77049 w 1609516"/>
              <a:gd name="csY810" fmla="*/ 646137 h 1538630"/>
              <a:gd name="csX811" fmla="*/ 74145 w 1609516"/>
              <a:gd name="csY811" fmla="*/ 643192 h 1538630"/>
              <a:gd name="csX812" fmla="*/ 71972 w 1609516"/>
              <a:gd name="csY812" fmla="*/ 636185 h 1538630"/>
              <a:gd name="csX813" fmla="*/ 68848 w 1609516"/>
              <a:gd name="csY813" fmla="*/ 636185 h 1538630"/>
              <a:gd name="csX814" fmla="*/ 70410 w 1609516"/>
              <a:gd name="csY814" fmla="*/ 595317 h 1538630"/>
              <a:gd name="csX815" fmla="*/ 79782 w 1609516"/>
              <a:gd name="csY815" fmla="*/ 584043 h 1538630"/>
              <a:gd name="csX816" fmla="*/ 82656 w 1609516"/>
              <a:gd name="csY816" fmla="*/ 581115 h 1538630"/>
              <a:gd name="csX817" fmla="*/ 116694 w 1609516"/>
              <a:gd name="csY817" fmla="*/ 572323 h 1538630"/>
              <a:gd name="csX818" fmla="*/ 152031 w 1609516"/>
              <a:gd name="csY818" fmla="*/ 590385 h 1538630"/>
              <a:gd name="csX819" fmla="*/ 191474 w 1609516"/>
              <a:gd name="csY819" fmla="*/ 605886 h 1538630"/>
              <a:gd name="csX820" fmla="*/ 206314 w 1609516"/>
              <a:gd name="csY820" fmla="*/ 608000 h 1538630"/>
              <a:gd name="csX821" fmla="*/ 206314 w 1609516"/>
              <a:gd name="csY821" fmla="*/ 610818 h 1538630"/>
              <a:gd name="csX822" fmla="*/ 234433 w 1609516"/>
              <a:gd name="csY822" fmla="*/ 610818 h 1538630"/>
              <a:gd name="csX823" fmla="*/ 239522 w 1609516"/>
              <a:gd name="csY823" fmla="*/ 610802 h 1538630"/>
              <a:gd name="csX824" fmla="*/ 268799 w 1609516"/>
              <a:gd name="csY824" fmla="*/ 600954 h 1538630"/>
              <a:gd name="csX825" fmla="*/ 271740 w 1609516"/>
              <a:gd name="csY825" fmla="*/ 599325 h 1538630"/>
              <a:gd name="csX826" fmla="*/ 284420 w 1609516"/>
              <a:gd name="csY826" fmla="*/ 579816 h 1538630"/>
              <a:gd name="csX827" fmla="*/ 289399 w 1609516"/>
              <a:gd name="csY827" fmla="*/ 568630 h 1538630"/>
              <a:gd name="csX828" fmla="*/ 293958 w 1609516"/>
              <a:gd name="csY828" fmla="*/ 535838 h 1538630"/>
              <a:gd name="csX829" fmla="*/ 289107 w 1609516"/>
              <a:gd name="csY829" fmla="*/ 529084 h 1538630"/>
              <a:gd name="csX830" fmla="*/ 289107 w 1609516"/>
              <a:gd name="csY830" fmla="*/ 526265 h 1538630"/>
              <a:gd name="csX831" fmla="*/ 284420 w 1609516"/>
              <a:gd name="csY831" fmla="*/ 524856 h 1538630"/>
              <a:gd name="csX832" fmla="*/ 282858 w 1609516"/>
              <a:gd name="csY832" fmla="*/ 520628 h 1538630"/>
              <a:gd name="csX833" fmla="*/ 277977 w 1609516"/>
              <a:gd name="csY833" fmla="*/ 516577 h 1538630"/>
              <a:gd name="csX834" fmla="*/ 264925 w 1609516"/>
              <a:gd name="csY834" fmla="*/ 506443 h 1538630"/>
              <a:gd name="csX835" fmla="*/ 229746 w 1609516"/>
              <a:gd name="csY835" fmla="*/ 481170 h 1538630"/>
              <a:gd name="csX836" fmla="*/ 221057 w 1609516"/>
              <a:gd name="csY836" fmla="*/ 475445 h 1538630"/>
              <a:gd name="csX837" fmla="*/ 212563 w 1609516"/>
              <a:gd name="csY837" fmla="*/ 469896 h 1538630"/>
              <a:gd name="csX838" fmla="*/ 208889 w 1609516"/>
              <a:gd name="csY838" fmla="*/ 467491 h 1538630"/>
              <a:gd name="csX839" fmla="*/ 190406 w 1609516"/>
              <a:gd name="csY839" fmla="*/ 456382 h 1538630"/>
              <a:gd name="csX840" fmla="*/ 186942 w 1609516"/>
              <a:gd name="csY840" fmla="*/ 454460 h 1538630"/>
              <a:gd name="csX841" fmla="*/ 180041 w 1609516"/>
              <a:gd name="csY841" fmla="*/ 450696 h 1538630"/>
              <a:gd name="csX842" fmla="*/ 171948 w 1609516"/>
              <a:gd name="csY842" fmla="*/ 445940 h 1538630"/>
              <a:gd name="csX843" fmla="*/ 171948 w 1609516"/>
              <a:gd name="csY843" fmla="*/ 443121 h 1538630"/>
              <a:gd name="csX844" fmla="*/ 168482 w 1609516"/>
              <a:gd name="csY844" fmla="*/ 442708 h 1538630"/>
              <a:gd name="csX845" fmla="*/ 157107 w 1609516"/>
              <a:gd name="csY845" fmla="*/ 437044 h 1538630"/>
              <a:gd name="csX846" fmla="*/ 132559 w 1609516"/>
              <a:gd name="csY846" fmla="*/ 427510 h 1538630"/>
              <a:gd name="csX847" fmla="*/ 123522 w 1609516"/>
              <a:gd name="csY847" fmla="*/ 421983 h 1538630"/>
              <a:gd name="csX848" fmla="*/ 107986 w 1609516"/>
              <a:gd name="csY848" fmla="*/ 418730 h 1538630"/>
              <a:gd name="csX849" fmla="*/ 102494 w 1609516"/>
              <a:gd name="csY849" fmla="*/ 418622 h 1538630"/>
              <a:gd name="csX850" fmla="*/ 91157 w 1609516"/>
              <a:gd name="csY850" fmla="*/ 418490 h 1538630"/>
              <a:gd name="csX851" fmla="*/ 55277 w 1609516"/>
              <a:gd name="csY851" fmla="*/ 410445 h 1538630"/>
              <a:gd name="csX852" fmla="*/ 51665 w 1609516"/>
              <a:gd name="csY852" fmla="*/ 406481 h 1538630"/>
              <a:gd name="csX853" fmla="*/ 45904 w 1609516"/>
              <a:gd name="csY853" fmla="*/ 400492 h 1538630"/>
              <a:gd name="csX854" fmla="*/ 43152 w 1609516"/>
              <a:gd name="csY854" fmla="*/ 397564 h 1538630"/>
              <a:gd name="csX855" fmla="*/ 37605 w 1609516"/>
              <a:gd name="csY855" fmla="*/ 393798 h 1538630"/>
              <a:gd name="csX856" fmla="*/ 38995 w 1609516"/>
              <a:gd name="csY856" fmla="*/ 368712 h 1538630"/>
              <a:gd name="csX857" fmla="*/ 38666 w 1609516"/>
              <a:gd name="csY857" fmla="*/ 369724 h 1538630"/>
              <a:gd name="csX858" fmla="*/ 35542 w 1609516"/>
              <a:gd name="csY858" fmla="*/ 384081 h 1538630"/>
              <a:gd name="csX859" fmla="*/ 33326 w 1609516"/>
              <a:gd name="csY859" fmla="*/ 357791 h 1538630"/>
              <a:gd name="csX860" fmla="*/ 52725 w 1609516"/>
              <a:gd name="csY860" fmla="*/ 333349 h 1538630"/>
              <a:gd name="csX861" fmla="*/ 55222 w 1609516"/>
              <a:gd name="csY861" fmla="*/ 334475 h 1538630"/>
              <a:gd name="csX862" fmla="*/ 56222 w 1609516"/>
              <a:gd name="csY862" fmla="*/ 333347 h 1538630"/>
              <a:gd name="csX863" fmla="*/ 55871 w 1609516"/>
              <a:gd name="csY863" fmla="*/ 333347 h 1538630"/>
              <a:gd name="csX864" fmla="*/ 56346 w 1609516"/>
              <a:gd name="csY864" fmla="*/ 333207 h 1538630"/>
              <a:gd name="csX865" fmla="*/ 56351 w 1609516"/>
              <a:gd name="csY865" fmla="*/ 333202 h 1538630"/>
              <a:gd name="csX866" fmla="*/ 56365 w 1609516"/>
              <a:gd name="csY866" fmla="*/ 333202 h 1538630"/>
              <a:gd name="csX867" fmla="*/ 79571 w 1609516"/>
              <a:gd name="csY867" fmla="*/ 326360 h 1538630"/>
              <a:gd name="csX868" fmla="*/ 104297 w 1609516"/>
              <a:gd name="csY868" fmla="*/ 330529 h 1538630"/>
              <a:gd name="csX869" fmla="*/ 107170 w 1609516"/>
              <a:gd name="csY869" fmla="*/ 334417 h 1538630"/>
              <a:gd name="csX870" fmla="*/ 109366 w 1609516"/>
              <a:gd name="csY870" fmla="*/ 336046 h 1538630"/>
              <a:gd name="csX871" fmla="*/ 109463 w 1609516"/>
              <a:gd name="csY871" fmla="*/ 336020 h 1538630"/>
              <a:gd name="csX872" fmla="*/ 109463 w 1609516"/>
              <a:gd name="csY872" fmla="*/ 336118 h 1538630"/>
              <a:gd name="csX873" fmla="*/ 115226 w 1609516"/>
              <a:gd name="csY873" fmla="*/ 340394 h 1538630"/>
              <a:gd name="csX874" fmla="*/ 114010 w 1609516"/>
              <a:gd name="csY874" fmla="*/ 340120 h 1538630"/>
              <a:gd name="csX875" fmla="*/ 133285 w 1609516"/>
              <a:gd name="csY875" fmla="*/ 357423 h 1538630"/>
              <a:gd name="csX876" fmla="*/ 173509 w 1609516"/>
              <a:gd name="csY876" fmla="*/ 389571 h 1538630"/>
              <a:gd name="csX877" fmla="*/ 181711 w 1609516"/>
              <a:gd name="csY877" fmla="*/ 393270 h 1538630"/>
              <a:gd name="csX878" fmla="*/ 185507 w 1609516"/>
              <a:gd name="csY878" fmla="*/ 394976 h 1538630"/>
              <a:gd name="csX879" fmla="*/ 192658 w 1609516"/>
              <a:gd name="csY879" fmla="*/ 398257 h 1538630"/>
              <a:gd name="csX880" fmla="*/ 195966 w 1609516"/>
              <a:gd name="csY880" fmla="*/ 399788 h 1538630"/>
              <a:gd name="csX881" fmla="*/ 198833 w 1609516"/>
              <a:gd name="csY881" fmla="*/ 401131 h 1538630"/>
              <a:gd name="csX882" fmla="*/ 207877 w 1609516"/>
              <a:gd name="csY882" fmla="*/ 403663 h 1538630"/>
              <a:gd name="csX883" fmla="*/ 207877 w 1609516"/>
              <a:gd name="csY883" fmla="*/ 406481 h 1538630"/>
              <a:gd name="csX884" fmla="*/ 248492 w 1609516"/>
              <a:gd name="csY884" fmla="*/ 419428 h 1538630"/>
              <a:gd name="csX885" fmla="*/ 253965 w 1609516"/>
              <a:gd name="csY885" fmla="*/ 421000 h 1538630"/>
              <a:gd name="csX886" fmla="*/ 267237 w 1609516"/>
              <a:gd name="csY886" fmla="*/ 424801 h 1538630"/>
              <a:gd name="csX887" fmla="*/ 267237 w 1609516"/>
              <a:gd name="csY887" fmla="*/ 426451 h 1538630"/>
              <a:gd name="csX888" fmla="*/ 288701 w 1609516"/>
              <a:gd name="csY888" fmla="*/ 429217 h 1538630"/>
              <a:gd name="csX889" fmla="*/ 288701 w 1609516"/>
              <a:gd name="csY889" fmla="*/ 432036 h 1538630"/>
              <a:gd name="csX890" fmla="*/ 327010 w 1609516"/>
              <a:gd name="csY890" fmla="*/ 433628 h 1538630"/>
              <a:gd name="csX891" fmla="*/ 337486 w 1609516"/>
              <a:gd name="csY891" fmla="*/ 433637 h 1538630"/>
              <a:gd name="csX892" fmla="*/ 344229 w 1609516"/>
              <a:gd name="csY892" fmla="*/ 433632 h 1538630"/>
              <a:gd name="csX893" fmla="*/ 350323 w 1609516"/>
              <a:gd name="csY893" fmla="*/ 433627 h 1538630"/>
              <a:gd name="csX894" fmla="*/ 365245 w 1609516"/>
              <a:gd name="csY894" fmla="*/ 432036 h 1538630"/>
              <a:gd name="csX895" fmla="*/ 360797 w 1609516"/>
              <a:gd name="csY895" fmla="*/ 433759 h 1538630"/>
              <a:gd name="csX896" fmla="*/ 365650 w 1609516"/>
              <a:gd name="csY896" fmla="*/ 433257 h 1538630"/>
              <a:gd name="csX897" fmla="*/ 367213 w 1609516"/>
              <a:gd name="csY897" fmla="*/ 429029 h 1538630"/>
              <a:gd name="csX898" fmla="*/ 375188 w 1609516"/>
              <a:gd name="csY898" fmla="*/ 424906 h 1538630"/>
              <a:gd name="csX899" fmla="*/ 404704 w 1609516"/>
              <a:gd name="csY899" fmla="*/ 389571 h 1538630"/>
              <a:gd name="csX900" fmla="*/ 406265 w 1609516"/>
              <a:gd name="csY900" fmla="*/ 388161 h 1538630"/>
              <a:gd name="csX901" fmla="*/ 406559 w 1609516"/>
              <a:gd name="csY901" fmla="*/ 370106 h 1538630"/>
              <a:gd name="csX902" fmla="*/ 406617 w 1609516"/>
              <a:gd name="csY902" fmla="*/ 364973 h 1538630"/>
              <a:gd name="csX903" fmla="*/ 406626 w 1609516"/>
              <a:gd name="csY903" fmla="*/ 360038 h 1538630"/>
              <a:gd name="csX904" fmla="*/ 406645 w 1609516"/>
              <a:gd name="csY904" fmla="*/ 355503 h 1538630"/>
              <a:gd name="csX905" fmla="*/ 403142 w 1609516"/>
              <a:gd name="csY905" fmla="*/ 345885 h 1538630"/>
              <a:gd name="csX906" fmla="*/ 401579 w 1609516"/>
              <a:gd name="csY906" fmla="*/ 338663 h 1538630"/>
              <a:gd name="csX907" fmla="*/ 390938 w 1609516"/>
              <a:gd name="csY907" fmla="*/ 315939 h 1538630"/>
              <a:gd name="csX908" fmla="*/ 388976 w 1609516"/>
              <a:gd name="csY908" fmla="*/ 312762 h 1538630"/>
              <a:gd name="csX909" fmla="*/ 377934 w 1609516"/>
              <a:gd name="csY909" fmla="*/ 297817 h 1538630"/>
              <a:gd name="csX910" fmla="*/ 368775 w 1609516"/>
              <a:gd name="csY910" fmla="*/ 282470 h 1538630"/>
              <a:gd name="csX911" fmla="*/ 359890 w 1609516"/>
              <a:gd name="csY911" fmla="*/ 271284 h 1538630"/>
              <a:gd name="csX912" fmla="*/ 357374 w 1609516"/>
              <a:gd name="csY912" fmla="*/ 268288 h 1538630"/>
              <a:gd name="csX913" fmla="*/ 337533 w 1609516"/>
              <a:gd name="csY913" fmla="*/ 248649 h 1538630"/>
              <a:gd name="csX914" fmla="*/ 335214 w 1609516"/>
              <a:gd name="csY914" fmla="*/ 246369 h 1538630"/>
              <a:gd name="csX915" fmla="*/ 327085 w 1609516"/>
              <a:gd name="csY915" fmla="*/ 242571 h 1538630"/>
              <a:gd name="csX916" fmla="*/ 288785 w 1609516"/>
              <a:gd name="csY916" fmla="*/ 207968 h 1538630"/>
              <a:gd name="csX917" fmla="*/ 286373 w 1609516"/>
              <a:gd name="csY917" fmla="*/ 192544 h 1538630"/>
              <a:gd name="csX918" fmla="*/ 286385 w 1609516"/>
              <a:gd name="csY918" fmla="*/ 189190 h 1538630"/>
              <a:gd name="csX919" fmla="*/ 300042 w 1609516"/>
              <a:gd name="csY919" fmla="*/ 164095 h 1538630"/>
              <a:gd name="csX920" fmla="*/ 302757 w 1609516"/>
              <a:gd name="csY920" fmla="*/ 161381 h 1538630"/>
              <a:gd name="csX921" fmla="*/ 338411 w 1609516"/>
              <a:gd name="csY921" fmla="*/ 152293 h 1538630"/>
              <a:gd name="csX922" fmla="*/ 368482 w 1609516"/>
              <a:gd name="csY922" fmla="*/ 161893 h 1538630"/>
              <a:gd name="csX923" fmla="*/ 371899 w 1609516"/>
              <a:gd name="csY923" fmla="*/ 165505 h 1538630"/>
              <a:gd name="csX924" fmla="*/ 375121 w 1609516"/>
              <a:gd name="csY924" fmla="*/ 168587 h 1538630"/>
              <a:gd name="csX925" fmla="*/ 384982 w 1609516"/>
              <a:gd name="csY925" fmla="*/ 193777 h 1538630"/>
              <a:gd name="csX926" fmla="*/ 390352 w 1609516"/>
              <a:gd name="csY926" fmla="*/ 214563 h 1538630"/>
              <a:gd name="csX927" fmla="*/ 391529 w 1609516"/>
              <a:gd name="csY927" fmla="*/ 217626 h 1538630"/>
              <a:gd name="csX928" fmla="*/ 401579 w 1609516"/>
              <a:gd name="csY928" fmla="*/ 234556 h 1538630"/>
              <a:gd name="csX929" fmla="*/ 401579 w 1609516"/>
              <a:gd name="csY929" fmla="*/ 238784 h 1538630"/>
              <a:gd name="csX930" fmla="*/ 404215 w 1609516"/>
              <a:gd name="csY930" fmla="*/ 239753 h 1538630"/>
              <a:gd name="csX931" fmla="*/ 417811 w 1609516"/>
              <a:gd name="csY931" fmla="*/ 251996 h 1538630"/>
              <a:gd name="csX932" fmla="*/ 426866 w 1609516"/>
              <a:gd name="csY932" fmla="*/ 262300 h 1538630"/>
              <a:gd name="csX933" fmla="*/ 450097 w 1609516"/>
              <a:gd name="csY933" fmla="*/ 287628 h 1538630"/>
              <a:gd name="csX934" fmla="*/ 457425 w 1609516"/>
              <a:gd name="csY934" fmla="*/ 293920 h 1538630"/>
              <a:gd name="csX935" fmla="*/ 460940 w 1609516"/>
              <a:gd name="csY935" fmla="*/ 296562 h 1538630"/>
              <a:gd name="csX936" fmla="*/ 460940 w 1609516"/>
              <a:gd name="csY936" fmla="*/ 300790 h 1538630"/>
              <a:gd name="csX937" fmla="*/ 473437 w 1609516"/>
              <a:gd name="csY937" fmla="*/ 305018 h 1538630"/>
              <a:gd name="csX938" fmla="*/ 473437 w 1609516"/>
              <a:gd name="csY938" fmla="*/ 307836 h 1538630"/>
              <a:gd name="csX939" fmla="*/ 479881 w 1609516"/>
              <a:gd name="csY939" fmla="*/ 309862 h 1538630"/>
              <a:gd name="csX940" fmla="*/ 483505 w 1609516"/>
              <a:gd name="csY940" fmla="*/ 311001 h 1538630"/>
              <a:gd name="csX941" fmla="*/ 548419 w 1609516"/>
              <a:gd name="csY941" fmla="*/ 306427 h 1538630"/>
              <a:gd name="csX942" fmla="*/ 551842 w 1609516"/>
              <a:gd name="csY942" fmla="*/ 305127 h 1538630"/>
              <a:gd name="csX943" fmla="*/ 560232 w 1609516"/>
              <a:gd name="csY943" fmla="*/ 298148 h 1538630"/>
              <a:gd name="csX944" fmla="*/ 562972 w 1609516"/>
              <a:gd name="csY944" fmla="*/ 295252 h 1538630"/>
              <a:gd name="csX945" fmla="*/ 568086 w 1609516"/>
              <a:gd name="csY945" fmla="*/ 289152 h 1538630"/>
              <a:gd name="csX946" fmla="*/ 570289 w 1609516"/>
              <a:gd name="csY946" fmla="*/ 286697 h 1538630"/>
              <a:gd name="csX947" fmla="*/ 573413 w 1609516"/>
              <a:gd name="csY947" fmla="*/ 286697 h 1538630"/>
              <a:gd name="csX948" fmla="*/ 577220 w 1609516"/>
              <a:gd name="csY948" fmla="*/ 257016 h 1538630"/>
              <a:gd name="csX949" fmla="*/ 577235 w 1609516"/>
              <a:gd name="csY949" fmla="*/ 254206 h 1538630"/>
              <a:gd name="csX950" fmla="*/ 569443 w 1609516"/>
              <a:gd name="csY950" fmla="*/ 206049 h 1538630"/>
              <a:gd name="csX951" fmla="*/ 568726 w 1609516"/>
              <a:gd name="csY951" fmla="*/ 200735 h 1538630"/>
              <a:gd name="csX952" fmla="*/ 565602 w 1609516"/>
              <a:gd name="csY952" fmla="*/ 200735 h 1538630"/>
              <a:gd name="csX953" fmla="*/ 559549 w 1609516"/>
              <a:gd name="csY953" fmla="*/ 184441 h 1538630"/>
              <a:gd name="csX954" fmla="*/ 537484 w 1609516"/>
              <a:gd name="csY954" fmla="*/ 159867 h 1538630"/>
              <a:gd name="csX955" fmla="*/ 531235 w 1609516"/>
              <a:gd name="csY955" fmla="*/ 154230 h 1538630"/>
              <a:gd name="csX956" fmla="*/ 531235 w 1609516"/>
              <a:gd name="csY956" fmla="*/ 151412 h 1538630"/>
              <a:gd name="csX957" fmla="*/ 526549 w 1609516"/>
              <a:gd name="csY957" fmla="*/ 150003 h 1538630"/>
              <a:gd name="csX958" fmla="*/ 524304 w 1609516"/>
              <a:gd name="csY958" fmla="*/ 107198 h 1538630"/>
              <a:gd name="csX959" fmla="*/ 547052 w 1609516"/>
              <a:gd name="csY959" fmla="*/ 85972 h 1538630"/>
              <a:gd name="csX960" fmla="*/ 588460 w 1609516"/>
              <a:gd name="csY960" fmla="*/ 83538 h 1538630"/>
              <a:gd name="csX961" fmla="*/ 617152 w 1609516"/>
              <a:gd name="csY961" fmla="*/ 111954 h 1538630"/>
              <a:gd name="csX962" fmla="*/ 617884 w 1609516"/>
              <a:gd name="csY962" fmla="*/ 124175 h 1538630"/>
              <a:gd name="csX963" fmla="*/ 617917 w 1609516"/>
              <a:gd name="csY963" fmla="*/ 127607 h 1538630"/>
              <a:gd name="csX964" fmla="*/ 617919 w 1609516"/>
              <a:gd name="csY964" fmla="*/ 141969 h 1538630"/>
              <a:gd name="csX965" fmla="*/ 630625 w 1609516"/>
              <a:gd name="csY965" fmla="*/ 191311 h 1538630"/>
              <a:gd name="csX966" fmla="*/ 637850 w 1609516"/>
              <a:gd name="csY966" fmla="*/ 205139 h 1538630"/>
              <a:gd name="csX967" fmla="*/ 643708 w 1609516"/>
              <a:gd name="csY967" fmla="*/ 212009 h 1538630"/>
              <a:gd name="csX968" fmla="*/ 647027 w 1609516"/>
              <a:gd name="csY968" fmla="*/ 217645 h 1538630"/>
              <a:gd name="csX969" fmla="*/ 670264 w 1609516"/>
              <a:gd name="csY969" fmla="*/ 241603 h 1538630"/>
              <a:gd name="csX970" fmla="*/ 670264 w 1609516"/>
              <a:gd name="csY970" fmla="*/ 244421 h 1538630"/>
              <a:gd name="csX971" fmla="*/ 675634 w 1609516"/>
              <a:gd name="csY971" fmla="*/ 245742 h 1538630"/>
              <a:gd name="csX972" fmla="*/ 682761 w 1609516"/>
              <a:gd name="csY972" fmla="*/ 248649 h 1538630"/>
              <a:gd name="csX973" fmla="*/ 752092 w 1609516"/>
              <a:gd name="csY973" fmla="*/ 245076 h 1538630"/>
              <a:gd name="csX974" fmla="*/ 758433 w 1609516"/>
              <a:gd name="csY974" fmla="*/ 240485 h 1538630"/>
              <a:gd name="csX975" fmla="*/ 763991 w 1609516"/>
              <a:gd name="csY975" fmla="*/ 238784 h 1538630"/>
              <a:gd name="csX976" fmla="*/ 765315 w 1609516"/>
              <a:gd name="csY976" fmla="*/ 235778 h 1538630"/>
              <a:gd name="csX977" fmla="*/ 770923 w 1609516"/>
              <a:gd name="csY977" fmla="*/ 223459 h 1538630"/>
              <a:gd name="csX978" fmla="*/ 772998 w 1609516"/>
              <a:gd name="csY978" fmla="*/ 218934 h 1538630"/>
              <a:gd name="csX979" fmla="*/ 777562 w 1609516"/>
              <a:gd name="csY979" fmla="*/ 209895 h 1538630"/>
              <a:gd name="csX980" fmla="*/ 781175 w 1609516"/>
              <a:gd name="csY980" fmla="*/ 124637 h 1538630"/>
              <a:gd name="csX981" fmla="*/ 778051 w 1609516"/>
              <a:gd name="csY981" fmla="*/ 124637 h 1538630"/>
              <a:gd name="csX982" fmla="*/ 767116 w 1609516"/>
              <a:gd name="csY982" fmla="*/ 79542 h 1538630"/>
              <a:gd name="csX983" fmla="*/ 793379 w 1609516"/>
              <a:gd name="csY983" fmla="*/ 54000 h 1538630"/>
              <a:gd name="csX984" fmla="*/ 840688 w 1609516"/>
              <a:gd name="csY984" fmla="*/ 55503 h 1538630"/>
              <a:gd name="csX985" fmla="*/ 851470 w 1609516"/>
              <a:gd name="csY985" fmla="*/ 64040 h 1538630"/>
              <a:gd name="csX986" fmla="*/ 853997 w 1609516"/>
              <a:gd name="csY986" fmla="*/ 66529 h 1538630"/>
              <a:gd name="csX987" fmla="*/ 861488 w 1609516"/>
              <a:gd name="csY987" fmla="*/ 82057 h 1538630"/>
              <a:gd name="csX988" fmla="*/ 861937 w 1609516"/>
              <a:gd name="csY988" fmla="*/ 90492 h 1538630"/>
              <a:gd name="csX989" fmla="*/ 863826 w 1609516"/>
              <a:gd name="csY989" fmla="*/ 100715 h 1538630"/>
              <a:gd name="csX990" fmla="*/ 857577 w 1609516"/>
              <a:gd name="csY990" fmla="*/ 121853 h 1538630"/>
              <a:gd name="csX991" fmla="*/ 856015 w 1609516"/>
              <a:gd name="csY991" fmla="*/ 121853 h 1538630"/>
              <a:gd name="csX992" fmla="*/ 855442 w 1609516"/>
              <a:gd name="csY992" fmla="*/ 118919 h 1538630"/>
              <a:gd name="csX993" fmla="*/ 855417 w 1609516"/>
              <a:gd name="csY993" fmla="*/ 118798 h 1538630"/>
              <a:gd name="csX994" fmla="*/ 856157 w 1609516"/>
              <a:gd name="csY994" fmla="*/ 124637 h 1538630"/>
              <a:gd name="csX995" fmla="*/ 850623 w 1609516"/>
              <a:gd name="csY995" fmla="*/ 134701 h 1538630"/>
              <a:gd name="csX996" fmla="*/ 851325 w 1609516"/>
              <a:gd name="csY996" fmla="*/ 135968 h 1538630"/>
              <a:gd name="csX997" fmla="*/ 849886 w 1609516"/>
              <a:gd name="csY997" fmla="*/ 139843 h 1538630"/>
              <a:gd name="csX998" fmla="*/ 847786 w 1609516"/>
              <a:gd name="csY998" fmla="*/ 152889 h 1538630"/>
              <a:gd name="csX999" fmla="*/ 847767 w 1609516"/>
              <a:gd name="csY999" fmla="*/ 157768 h 1538630"/>
              <a:gd name="csX1000" fmla="*/ 847810 w 1609516"/>
              <a:gd name="csY1000" fmla="*/ 162919 h 1538630"/>
              <a:gd name="csX1001" fmla="*/ 847832 w 1609516"/>
              <a:gd name="csY1001" fmla="*/ 168227 h 1538630"/>
              <a:gd name="csX1002" fmla="*/ 850903 w 1609516"/>
              <a:gd name="csY1002" fmla="*/ 209013 h 1538630"/>
              <a:gd name="csX1003" fmla="*/ 852880 w 1609516"/>
              <a:gd name="csY1003" fmla="*/ 224692 h 1538630"/>
              <a:gd name="csX1004" fmla="*/ 854595 w 1609516"/>
              <a:gd name="csY1004" fmla="*/ 224692 h 1538630"/>
              <a:gd name="csX1005" fmla="*/ 856083 w 1609516"/>
              <a:gd name="csY1005" fmla="*/ 227268 h 1538630"/>
              <a:gd name="csX1006" fmla="*/ 879588 w 1609516"/>
              <a:gd name="csY1006" fmla="*/ 247239 h 1538630"/>
              <a:gd name="csX1007" fmla="*/ 885739 w 1609516"/>
              <a:gd name="csY1007" fmla="*/ 249618 h 1538630"/>
              <a:gd name="csX1008" fmla="*/ 890523 w 1609516"/>
              <a:gd name="csY1008" fmla="*/ 251467 h 1538630"/>
              <a:gd name="csX1009" fmla="*/ 890523 w 1609516"/>
              <a:gd name="csY1009" fmla="*/ 254285 h 1538630"/>
              <a:gd name="csX1010" fmla="*/ 920203 w 1609516"/>
              <a:gd name="csY1010" fmla="*/ 261332 h 1538630"/>
              <a:gd name="csX1011" fmla="*/ 920203 w 1609516"/>
              <a:gd name="csY1011" fmla="*/ 262741 h 1538630"/>
              <a:gd name="csX1012" fmla="*/ 910831 w 1609516"/>
              <a:gd name="csY1012" fmla="*/ 262741 h 1538630"/>
              <a:gd name="csX1013" fmla="*/ 910831 w 1609516"/>
              <a:gd name="csY1013" fmla="*/ 262864 h 1538630"/>
              <a:gd name="csX1014" fmla="*/ 927993 w 1609516"/>
              <a:gd name="csY1014" fmla="*/ 264177 h 1538630"/>
              <a:gd name="csX1015" fmla="*/ 939273 w 1609516"/>
              <a:gd name="csY1015" fmla="*/ 265285 h 1538630"/>
              <a:gd name="csX1016" fmla="*/ 940456 w 1609516"/>
              <a:gd name="csY1016" fmla="*/ 265191 h 1538630"/>
              <a:gd name="csX1017" fmla="*/ 991622 w 1609516"/>
              <a:gd name="csY1017" fmla="*/ 242329 h 1538630"/>
              <a:gd name="csX1018" fmla="*/ 1000803 w 1609516"/>
              <a:gd name="csY1018" fmla="*/ 236505 h 1538630"/>
              <a:gd name="csX1019" fmla="*/ 999806 w 1609516"/>
              <a:gd name="csY1019" fmla="*/ 236055 h 1538630"/>
              <a:gd name="csX1020" fmla="*/ 1003126 w 1609516"/>
              <a:gd name="csY1020" fmla="*/ 232851 h 1538630"/>
              <a:gd name="csX1021" fmla="*/ 1029487 w 1609516"/>
              <a:gd name="csY1021" fmla="*/ 205052 h 1538630"/>
              <a:gd name="csX1022" fmla="*/ 1029872 w 1609516"/>
              <a:gd name="csY1022" fmla="*/ 206442 h 1538630"/>
              <a:gd name="csX1023" fmla="*/ 1031614 w 1609516"/>
              <a:gd name="csY1023" fmla="*/ 203719 h 1538630"/>
              <a:gd name="csX1024" fmla="*/ 1038924 w 1609516"/>
              <a:gd name="csY1024" fmla="*/ 192280 h 1538630"/>
              <a:gd name="csX1025" fmla="*/ 1042049 w 1609516"/>
              <a:gd name="csY1025" fmla="*/ 190870 h 1538630"/>
              <a:gd name="csX1026" fmla="*/ 1044294 w 1609516"/>
              <a:gd name="csY1026" fmla="*/ 186026 h 1538630"/>
              <a:gd name="csX1027" fmla="*/ 1051422 w 1609516"/>
              <a:gd name="csY1027" fmla="*/ 178188 h 1538630"/>
              <a:gd name="csX1028" fmla="*/ 1052984 w 1609516"/>
              <a:gd name="csY1028" fmla="*/ 172551 h 1538630"/>
              <a:gd name="csX1029" fmla="*/ 1056108 w 1609516"/>
              <a:gd name="csY1029" fmla="*/ 172551 h 1538630"/>
              <a:gd name="csX1030" fmla="*/ 1059232 w 1609516"/>
              <a:gd name="csY1030" fmla="*/ 162686 h 1538630"/>
              <a:gd name="csX1031" fmla="*/ 1062357 w 1609516"/>
              <a:gd name="csY1031" fmla="*/ 162686 h 1538630"/>
              <a:gd name="csX1032" fmla="*/ 1063162 w 1609516"/>
              <a:gd name="csY1032" fmla="*/ 160258 h 1538630"/>
              <a:gd name="csX1033" fmla="*/ 1073292 w 1609516"/>
              <a:gd name="csY1033" fmla="*/ 140138 h 1538630"/>
              <a:gd name="csX1034" fmla="*/ 1076415 w 1609516"/>
              <a:gd name="csY1034" fmla="*/ 140138 h 1538630"/>
              <a:gd name="csX1035" fmla="*/ 1085294 w 1609516"/>
              <a:gd name="csY1035" fmla="*/ 117569 h 1538630"/>
              <a:gd name="csX1036" fmla="*/ 1087350 w 1609516"/>
              <a:gd name="csY1036" fmla="*/ 113363 h 1538630"/>
              <a:gd name="csX1037" fmla="*/ 1092037 w 1609516"/>
              <a:gd name="csY1037" fmla="*/ 111954 h 1538630"/>
              <a:gd name="csX1038" fmla="*/ 1092623 w 1609516"/>
              <a:gd name="csY1038" fmla="*/ 108695 h 1538630"/>
              <a:gd name="csX1039" fmla="*/ 1096723 w 1609516"/>
              <a:gd name="csY1039" fmla="*/ 100680 h 1538630"/>
              <a:gd name="csX1040" fmla="*/ 1098188 w 1609516"/>
              <a:gd name="csY1040" fmla="*/ 96013 h 1538630"/>
              <a:gd name="csX1041" fmla="*/ 1102288 w 1609516"/>
              <a:gd name="csY1041" fmla="*/ 87029 h 1538630"/>
              <a:gd name="csX1042" fmla="*/ 1104534 w 1609516"/>
              <a:gd name="csY1042" fmla="*/ 61222 h 1538630"/>
              <a:gd name="csX1043" fmla="*/ 1104381 w 1609516"/>
              <a:gd name="csY1043" fmla="*/ 55569 h 1538630"/>
              <a:gd name="csX1044" fmla="*/ 1104397 w 1609516"/>
              <a:gd name="csY1044" fmla="*/ 52335 h 1538630"/>
              <a:gd name="csX1045" fmla="*/ 1104436 w 1609516"/>
              <a:gd name="csY1045" fmla="*/ 48979 h 1538630"/>
              <a:gd name="csX1046" fmla="*/ 1104457 w 1609516"/>
              <a:gd name="csY1046" fmla="*/ 45575 h 1538630"/>
              <a:gd name="csX1047" fmla="*/ 1104534 w 1609516"/>
              <a:gd name="csY1047" fmla="*/ 37265 h 1538630"/>
              <a:gd name="csX1048" fmla="*/ 1107658 w 1609516"/>
              <a:gd name="csY1048" fmla="*/ 37265 h 1538630"/>
              <a:gd name="csX1049" fmla="*/ 1107463 w 1609516"/>
              <a:gd name="csY1049" fmla="*/ 31805 h 1538630"/>
              <a:gd name="csX1050" fmla="*/ 1107658 w 1609516"/>
              <a:gd name="csY1050" fmla="*/ 25991 h 1538630"/>
              <a:gd name="csX1051" fmla="*/ 1110782 w 1609516"/>
              <a:gd name="csY1051" fmla="*/ 23173 h 1538630"/>
              <a:gd name="csX1052" fmla="*/ 1111759 w 1609516"/>
              <a:gd name="csY1052" fmla="*/ 20091 h 1538630"/>
              <a:gd name="csX1053" fmla="*/ 1134507 w 1609516"/>
              <a:gd name="csY1053" fmla="*/ 2828 h 1538630"/>
              <a:gd name="csX1054" fmla="*/ 1155019 w 1609516"/>
              <a:gd name="csY1054" fmla="*/ 35 h 153863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  <a:cxn ang="0">
                <a:pos x="csX170" y="csY170"/>
              </a:cxn>
              <a:cxn ang="0">
                <a:pos x="csX171" y="csY171"/>
              </a:cxn>
              <a:cxn ang="0">
                <a:pos x="csX172" y="csY172"/>
              </a:cxn>
              <a:cxn ang="0">
                <a:pos x="csX173" y="csY173"/>
              </a:cxn>
              <a:cxn ang="0">
                <a:pos x="csX174" y="csY174"/>
              </a:cxn>
              <a:cxn ang="0">
                <a:pos x="csX175" y="csY175"/>
              </a:cxn>
              <a:cxn ang="0">
                <a:pos x="csX176" y="csY176"/>
              </a:cxn>
              <a:cxn ang="0">
                <a:pos x="csX177" y="csY177"/>
              </a:cxn>
              <a:cxn ang="0">
                <a:pos x="csX178" y="csY178"/>
              </a:cxn>
              <a:cxn ang="0">
                <a:pos x="csX179" y="csY179"/>
              </a:cxn>
              <a:cxn ang="0">
                <a:pos x="csX180" y="csY180"/>
              </a:cxn>
              <a:cxn ang="0">
                <a:pos x="csX181" y="csY181"/>
              </a:cxn>
              <a:cxn ang="0">
                <a:pos x="csX182" y="csY182"/>
              </a:cxn>
              <a:cxn ang="0">
                <a:pos x="csX183" y="csY183"/>
              </a:cxn>
              <a:cxn ang="0">
                <a:pos x="csX184" y="csY184"/>
              </a:cxn>
              <a:cxn ang="0">
                <a:pos x="csX185" y="csY185"/>
              </a:cxn>
              <a:cxn ang="0">
                <a:pos x="csX186" y="csY186"/>
              </a:cxn>
              <a:cxn ang="0">
                <a:pos x="csX187" y="csY187"/>
              </a:cxn>
              <a:cxn ang="0">
                <a:pos x="csX188" y="csY188"/>
              </a:cxn>
              <a:cxn ang="0">
                <a:pos x="csX189" y="csY189"/>
              </a:cxn>
              <a:cxn ang="0">
                <a:pos x="csX190" y="csY190"/>
              </a:cxn>
              <a:cxn ang="0">
                <a:pos x="csX191" y="csY191"/>
              </a:cxn>
              <a:cxn ang="0">
                <a:pos x="csX192" y="csY192"/>
              </a:cxn>
              <a:cxn ang="0">
                <a:pos x="csX193" y="csY193"/>
              </a:cxn>
              <a:cxn ang="0">
                <a:pos x="csX194" y="csY194"/>
              </a:cxn>
              <a:cxn ang="0">
                <a:pos x="csX195" y="csY195"/>
              </a:cxn>
              <a:cxn ang="0">
                <a:pos x="csX196" y="csY196"/>
              </a:cxn>
              <a:cxn ang="0">
                <a:pos x="csX197" y="csY197"/>
              </a:cxn>
              <a:cxn ang="0">
                <a:pos x="csX198" y="csY198"/>
              </a:cxn>
              <a:cxn ang="0">
                <a:pos x="csX199" y="csY199"/>
              </a:cxn>
              <a:cxn ang="0">
                <a:pos x="csX200" y="csY200"/>
              </a:cxn>
              <a:cxn ang="0">
                <a:pos x="csX201" y="csY201"/>
              </a:cxn>
              <a:cxn ang="0">
                <a:pos x="csX202" y="csY202"/>
              </a:cxn>
              <a:cxn ang="0">
                <a:pos x="csX203" y="csY203"/>
              </a:cxn>
              <a:cxn ang="0">
                <a:pos x="csX204" y="csY204"/>
              </a:cxn>
              <a:cxn ang="0">
                <a:pos x="csX205" y="csY205"/>
              </a:cxn>
              <a:cxn ang="0">
                <a:pos x="csX206" y="csY206"/>
              </a:cxn>
              <a:cxn ang="0">
                <a:pos x="csX207" y="csY207"/>
              </a:cxn>
              <a:cxn ang="0">
                <a:pos x="csX208" y="csY208"/>
              </a:cxn>
              <a:cxn ang="0">
                <a:pos x="csX209" y="csY209"/>
              </a:cxn>
              <a:cxn ang="0">
                <a:pos x="csX210" y="csY210"/>
              </a:cxn>
              <a:cxn ang="0">
                <a:pos x="csX211" y="csY211"/>
              </a:cxn>
              <a:cxn ang="0">
                <a:pos x="csX212" y="csY212"/>
              </a:cxn>
              <a:cxn ang="0">
                <a:pos x="csX213" y="csY213"/>
              </a:cxn>
              <a:cxn ang="0">
                <a:pos x="csX214" y="csY214"/>
              </a:cxn>
              <a:cxn ang="0">
                <a:pos x="csX215" y="csY215"/>
              </a:cxn>
              <a:cxn ang="0">
                <a:pos x="csX216" y="csY216"/>
              </a:cxn>
              <a:cxn ang="0">
                <a:pos x="csX217" y="csY217"/>
              </a:cxn>
              <a:cxn ang="0">
                <a:pos x="csX218" y="csY218"/>
              </a:cxn>
              <a:cxn ang="0">
                <a:pos x="csX219" y="csY219"/>
              </a:cxn>
              <a:cxn ang="0">
                <a:pos x="csX220" y="csY220"/>
              </a:cxn>
              <a:cxn ang="0">
                <a:pos x="csX221" y="csY221"/>
              </a:cxn>
              <a:cxn ang="0">
                <a:pos x="csX222" y="csY222"/>
              </a:cxn>
              <a:cxn ang="0">
                <a:pos x="csX223" y="csY223"/>
              </a:cxn>
              <a:cxn ang="0">
                <a:pos x="csX224" y="csY224"/>
              </a:cxn>
              <a:cxn ang="0">
                <a:pos x="csX225" y="csY225"/>
              </a:cxn>
              <a:cxn ang="0">
                <a:pos x="csX226" y="csY226"/>
              </a:cxn>
              <a:cxn ang="0">
                <a:pos x="csX227" y="csY227"/>
              </a:cxn>
              <a:cxn ang="0">
                <a:pos x="csX228" y="csY228"/>
              </a:cxn>
              <a:cxn ang="0">
                <a:pos x="csX229" y="csY229"/>
              </a:cxn>
              <a:cxn ang="0">
                <a:pos x="csX230" y="csY230"/>
              </a:cxn>
              <a:cxn ang="0">
                <a:pos x="csX231" y="csY231"/>
              </a:cxn>
              <a:cxn ang="0">
                <a:pos x="csX232" y="csY232"/>
              </a:cxn>
              <a:cxn ang="0">
                <a:pos x="csX233" y="csY233"/>
              </a:cxn>
              <a:cxn ang="0">
                <a:pos x="csX234" y="csY234"/>
              </a:cxn>
              <a:cxn ang="0">
                <a:pos x="csX235" y="csY235"/>
              </a:cxn>
              <a:cxn ang="0">
                <a:pos x="csX236" y="csY236"/>
              </a:cxn>
              <a:cxn ang="0">
                <a:pos x="csX237" y="csY237"/>
              </a:cxn>
              <a:cxn ang="0">
                <a:pos x="csX238" y="csY238"/>
              </a:cxn>
              <a:cxn ang="0">
                <a:pos x="csX239" y="csY239"/>
              </a:cxn>
              <a:cxn ang="0">
                <a:pos x="csX240" y="csY240"/>
              </a:cxn>
              <a:cxn ang="0">
                <a:pos x="csX241" y="csY241"/>
              </a:cxn>
              <a:cxn ang="0">
                <a:pos x="csX242" y="csY242"/>
              </a:cxn>
              <a:cxn ang="0">
                <a:pos x="csX243" y="csY243"/>
              </a:cxn>
              <a:cxn ang="0">
                <a:pos x="csX244" y="csY244"/>
              </a:cxn>
              <a:cxn ang="0">
                <a:pos x="csX245" y="csY245"/>
              </a:cxn>
              <a:cxn ang="0">
                <a:pos x="csX246" y="csY246"/>
              </a:cxn>
              <a:cxn ang="0">
                <a:pos x="csX247" y="csY247"/>
              </a:cxn>
              <a:cxn ang="0">
                <a:pos x="csX248" y="csY248"/>
              </a:cxn>
              <a:cxn ang="0">
                <a:pos x="csX249" y="csY249"/>
              </a:cxn>
              <a:cxn ang="0">
                <a:pos x="csX250" y="csY250"/>
              </a:cxn>
              <a:cxn ang="0">
                <a:pos x="csX251" y="csY251"/>
              </a:cxn>
              <a:cxn ang="0">
                <a:pos x="csX252" y="csY252"/>
              </a:cxn>
              <a:cxn ang="0">
                <a:pos x="csX253" y="csY253"/>
              </a:cxn>
              <a:cxn ang="0">
                <a:pos x="csX254" y="csY254"/>
              </a:cxn>
              <a:cxn ang="0">
                <a:pos x="csX255" y="csY255"/>
              </a:cxn>
              <a:cxn ang="0">
                <a:pos x="csX256" y="csY256"/>
              </a:cxn>
              <a:cxn ang="0">
                <a:pos x="csX257" y="csY257"/>
              </a:cxn>
              <a:cxn ang="0">
                <a:pos x="csX258" y="csY258"/>
              </a:cxn>
              <a:cxn ang="0">
                <a:pos x="csX259" y="csY259"/>
              </a:cxn>
              <a:cxn ang="0">
                <a:pos x="csX260" y="csY260"/>
              </a:cxn>
              <a:cxn ang="0">
                <a:pos x="csX261" y="csY261"/>
              </a:cxn>
              <a:cxn ang="0">
                <a:pos x="csX262" y="csY262"/>
              </a:cxn>
              <a:cxn ang="0">
                <a:pos x="csX263" y="csY263"/>
              </a:cxn>
              <a:cxn ang="0">
                <a:pos x="csX264" y="csY264"/>
              </a:cxn>
              <a:cxn ang="0">
                <a:pos x="csX265" y="csY265"/>
              </a:cxn>
              <a:cxn ang="0">
                <a:pos x="csX266" y="csY266"/>
              </a:cxn>
              <a:cxn ang="0">
                <a:pos x="csX267" y="csY267"/>
              </a:cxn>
              <a:cxn ang="0">
                <a:pos x="csX268" y="csY268"/>
              </a:cxn>
              <a:cxn ang="0">
                <a:pos x="csX269" y="csY269"/>
              </a:cxn>
              <a:cxn ang="0">
                <a:pos x="csX270" y="csY270"/>
              </a:cxn>
              <a:cxn ang="0">
                <a:pos x="csX271" y="csY271"/>
              </a:cxn>
              <a:cxn ang="0">
                <a:pos x="csX272" y="csY272"/>
              </a:cxn>
              <a:cxn ang="0">
                <a:pos x="csX273" y="csY273"/>
              </a:cxn>
              <a:cxn ang="0">
                <a:pos x="csX274" y="csY274"/>
              </a:cxn>
              <a:cxn ang="0">
                <a:pos x="csX275" y="csY275"/>
              </a:cxn>
              <a:cxn ang="0">
                <a:pos x="csX276" y="csY276"/>
              </a:cxn>
              <a:cxn ang="0">
                <a:pos x="csX277" y="csY277"/>
              </a:cxn>
              <a:cxn ang="0">
                <a:pos x="csX278" y="csY278"/>
              </a:cxn>
              <a:cxn ang="0">
                <a:pos x="csX279" y="csY279"/>
              </a:cxn>
              <a:cxn ang="0">
                <a:pos x="csX280" y="csY280"/>
              </a:cxn>
              <a:cxn ang="0">
                <a:pos x="csX281" y="csY281"/>
              </a:cxn>
              <a:cxn ang="0">
                <a:pos x="csX282" y="csY282"/>
              </a:cxn>
              <a:cxn ang="0">
                <a:pos x="csX283" y="csY283"/>
              </a:cxn>
              <a:cxn ang="0">
                <a:pos x="csX284" y="csY284"/>
              </a:cxn>
              <a:cxn ang="0">
                <a:pos x="csX285" y="csY285"/>
              </a:cxn>
              <a:cxn ang="0">
                <a:pos x="csX286" y="csY286"/>
              </a:cxn>
              <a:cxn ang="0">
                <a:pos x="csX287" y="csY287"/>
              </a:cxn>
              <a:cxn ang="0">
                <a:pos x="csX288" y="csY288"/>
              </a:cxn>
              <a:cxn ang="0">
                <a:pos x="csX289" y="csY289"/>
              </a:cxn>
              <a:cxn ang="0">
                <a:pos x="csX290" y="csY290"/>
              </a:cxn>
              <a:cxn ang="0">
                <a:pos x="csX291" y="csY291"/>
              </a:cxn>
              <a:cxn ang="0">
                <a:pos x="csX292" y="csY292"/>
              </a:cxn>
              <a:cxn ang="0">
                <a:pos x="csX293" y="csY293"/>
              </a:cxn>
              <a:cxn ang="0">
                <a:pos x="csX294" y="csY294"/>
              </a:cxn>
              <a:cxn ang="0">
                <a:pos x="csX295" y="csY295"/>
              </a:cxn>
              <a:cxn ang="0">
                <a:pos x="csX296" y="csY296"/>
              </a:cxn>
              <a:cxn ang="0">
                <a:pos x="csX297" y="csY297"/>
              </a:cxn>
              <a:cxn ang="0">
                <a:pos x="csX298" y="csY298"/>
              </a:cxn>
              <a:cxn ang="0">
                <a:pos x="csX299" y="csY299"/>
              </a:cxn>
              <a:cxn ang="0">
                <a:pos x="csX300" y="csY300"/>
              </a:cxn>
              <a:cxn ang="0">
                <a:pos x="csX301" y="csY301"/>
              </a:cxn>
              <a:cxn ang="0">
                <a:pos x="csX302" y="csY302"/>
              </a:cxn>
              <a:cxn ang="0">
                <a:pos x="csX303" y="csY303"/>
              </a:cxn>
              <a:cxn ang="0">
                <a:pos x="csX304" y="csY304"/>
              </a:cxn>
              <a:cxn ang="0">
                <a:pos x="csX305" y="csY305"/>
              </a:cxn>
              <a:cxn ang="0">
                <a:pos x="csX306" y="csY306"/>
              </a:cxn>
              <a:cxn ang="0">
                <a:pos x="csX307" y="csY307"/>
              </a:cxn>
              <a:cxn ang="0">
                <a:pos x="csX308" y="csY308"/>
              </a:cxn>
              <a:cxn ang="0">
                <a:pos x="csX309" y="csY309"/>
              </a:cxn>
              <a:cxn ang="0">
                <a:pos x="csX310" y="csY310"/>
              </a:cxn>
              <a:cxn ang="0">
                <a:pos x="csX311" y="csY311"/>
              </a:cxn>
              <a:cxn ang="0">
                <a:pos x="csX312" y="csY312"/>
              </a:cxn>
              <a:cxn ang="0">
                <a:pos x="csX313" y="csY313"/>
              </a:cxn>
              <a:cxn ang="0">
                <a:pos x="csX314" y="csY314"/>
              </a:cxn>
              <a:cxn ang="0">
                <a:pos x="csX315" y="csY315"/>
              </a:cxn>
              <a:cxn ang="0">
                <a:pos x="csX316" y="csY316"/>
              </a:cxn>
              <a:cxn ang="0">
                <a:pos x="csX317" y="csY317"/>
              </a:cxn>
              <a:cxn ang="0">
                <a:pos x="csX318" y="csY318"/>
              </a:cxn>
              <a:cxn ang="0">
                <a:pos x="csX319" y="csY319"/>
              </a:cxn>
              <a:cxn ang="0">
                <a:pos x="csX320" y="csY320"/>
              </a:cxn>
              <a:cxn ang="0">
                <a:pos x="csX321" y="csY321"/>
              </a:cxn>
              <a:cxn ang="0">
                <a:pos x="csX322" y="csY322"/>
              </a:cxn>
              <a:cxn ang="0">
                <a:pos x="csX323" y="csY323"/>
              </a:cxn>
              <a:cxn ang="0">
                <a:pos x="csX324" y="csY324"/>
              </a:cxn>
              <a:cxn ang="0">
                <a:pos x="csX325" y="csY325"/>
              </a:cxn>
              <a:cxn ang="0">
                <a:pos x="csX326" y="csY326"/>
              </a:cxn>
              <a:cxn ang="0">
                <a:pos x="csX327" y="csY327"/>
              </a:cxn>
              <a:cxn ang="0">
                <a:pos x="csX328" y="csY328"/>
              </a:cxn>
              <a:cxn ang="0">
                <a:pos x="csX329" y="csY329"/>
              </a:cxn>
              <a:cxn ang="0">
                <a:pos x="csX330" y="csY330"/>
              </a:cxn>
              <a:cxn ang="0">
                <a:pos x="csX331" y="csY331"/>
              </a:cxn>
              <a:cxn ang="0">
                <a:pos x="csX332" y="csY332"/>
              </a:cxn>
              <a:cxn ang="0">
                <a:pos x="csX333" y="csY333"/>
              </a:cxn>
              <a:cxn ang="0">
                <a:pos x="csX334" y="csY334"/>
              </a:cxn>
              <a:cxn ang="0">
                <a:pos x="csX335" y="csY335"/>
              </a:cxn>
              <a:cxn ang="0">
                <a:pos x="csX336" y="csY336"/>
              </a:cxn>
              <a:cxn ang="0">
                <a:pos x="csX337" y="csY337"/>
              </a:cxn>
              <a:cxn ang="0">
                <a:pos x="csX338" y="csY338"/>
              </a:cxn>
              <a:cxn ang="0">
                <a:pos x="csX339" y="csY339"/>
              </a:cxn>
              <a:cxn ang="0">
                <a:pos x="csX340" y="csY340"/>
              </a:cxn>
              <a:cxn ang="0">
                <a:pos x="csX341" y="csY341"/>
              </a:cxn>
              <a:cxn ang="0">
                <a:pos x="csX342" y="csY342"/>
              </a:cxn>
              <a:cxn ang="0">
                <a:pos x="csX343" y="csY343"/>
              </a:cxn>
              <a:cxn ang="0">
                <a:pos x="csX344" y="csY344"/>
              </a:cxn>
              <a:cxn ang="0">
                <a:pos x="csX345" y="csY345"/>
              </a:cxn>
              <a:cxn ang="0">
                <a:pos x="csX346" y="csY346"/>
              </a:cxn>
              <a:cxn ang="0">
                <a:pos x="csX347" y="csY347"/>
              </a:cxn>
              <a:cxn ang="0">
                <a:pos x="csX348" y="csY348"/>
              </a:cxn>
              <a:cxn ang="0">
                <a:pos x="csX349" y="csY349"/>
              </a:cxn>
              <a:cxn ang="0">
                <a:pos x="csX350" y="csY350"/>
              </a:cxn>
              <a:cxn ang="0">
                <a:pos x="csX351" y="csY351"/>
              </a:cxn>
              <a:cxn ang="0">
                <a:pos x="csX352" y="csY352"/>
              </a:cxn>
              <a:cxn ang="0">
                <a:pos x="csX353" y="csY353"/>
              </a:cxn>
              <a:cxn ang="0">
                <a:pos x="csX354" y="csY354"/>
              </a:cxn>
              <a:cxn ang="0">
                <a:pos x="csX355" y="csY355"/>
              </a:cxn>
              <a:cxn ang="0">
                <a:pos x="csX356" y="csY356"/>
              </a:cxn>
              <a:cxn ang="0">
                <a:pos x="csX357" y="csY357"/>
              </a:cxn>
              <a:cxn ang="0">
                <a:pos x="csX358" y="csY358"/>
              </a:cxn>
              <a:cxn ang="0">
                <a:pos x="csX359" y="csY359"/>
              </a:cxn>
              <a:cxn ang="0">
                <a:pos x="csX360" y="csY360"/>
              </a:cxn>
              <a:cxn ang="0">
                <a:pos x="csX361" y="csY361"/>
              </a:cxn>
              <a:cxn ang="0">
                <a:pos x="csX362" y="csY362"/>
              </a:cxn>
              <a:cxn ang="0">
                <a:pos x="csX363" y="csY363"/>
              </a:cxn>
              <a:cxn ang="0">
                <a:pos x="csX364" y="csY364"/>
              </a:cxn>
              <a:cxn ang="0">
                <a:pos x="csX365" y="csY365"/>
              </a:cxn>
              <a:cxn ang="0">
                <a:pos x="csX366" y="csY366"/>
              </a:cxn>
              <a:cxn ang="0">
                <a:pos x="csX367" y="csY367"/>
              </a:cxn>
              <a:cxn ang="0">
                <a:pos x="csX368" y="csY368"/>
              </a:cxn>
              <a:cxn ang="0">
                <a:pos x="csX369" y="csY369"/>
              </a:cxn>
              <a:cxn ang="0">
                <a:pos x="csX370" y="csY370"/>
              </a:cxn>
              <a:cxn ang="0">
                <a:pos x="csX371" y="csY371"/>
              </a:cxn>
              <a:cxn ang="0">
                <a:pos x="csX372" y="csY372"/>
              </a:cxn>
              <a:cxn ang="0">
                <a:pos x="csX373" y="csY373"/>
              </a:cxn>
              <a:cxn ang="0">
                <a:pos x="csX374" y="csY374"/>
              </a:cxn>
              <a:cxn ang="0">
                <a:pos x="csX375" y="csY375"/>
              </a:cxn>
              <a:cxn ang="0">
                <a:pos x="csX376" y="csY376"/>
              </a:cxn>
              <a:cxn ang="0">
                <a:pos x="csX377" y="csY377"/>
              </a:cxn>
              <a:cxn ang="0">
                <a:pos x="csX378" y="csY378"/>
              </a:cxn>
              <a:cxn ang="0">
                <a:pos x="csX379" y="csY379"/>
              </a:cxn>
              <a:cxn ang="0">
                <a:pos x="csX380" y="csY380"/>
              </a:cxn>
              <a:cxn ang="0">
                <a:pos x="csX381" y="csY381"/>
              </a:cxn>
              <a:cxn ang="0">
                <a:pos x="csX382" y="csY382"/>
              </a:cxn>
              <a:cxn ang="0">
                <a:pos x="csX383" y="csY383"/>
              </a:cxn>
              <a:cxn ang="0">
                <a:pos x="csX384" y="csY384"/>
              </a:cxn>
              <a:cxn ang="0">
                <a:pos x="csX385" y="csY385"/>
              </a:cxn>
              <a:cxn ang="0">
                <a:pos x="csX386" y="csY386"/>
              </a:cxn>
              <a:cxn ang="0">
                <a:pos x="csX387" y="csY387"/>
              </a:cxn>
              <a:cxn ang="0">
                <a:pos x="csX388" y="csY388"/>
              </a:cxn>
              <a:cxn ang="0">
                <a:pos x="csX389" y="csY389"/>
              </a:cxn>
              <a:cxn ang="0">
                <a:pos x="csX390" y="csY390"/>
              </a:cxn>
              <a:cxn ang="0">
                <a:pos x="csX391" y="csY391"/>
              </a:cxn>
              <a:cxn ang="0">
                <a:pos x="csX392" y="csY392"/>
              </a:cxn>
              <a:cxn ang="0">
                <a:pos x="csX393" y="csY393"/>
              </a:cxn>
              <a:cxn ang="0">
                <a:pos x="csX394" y="csY394"/>
              </a:cxn>
              <a:cxn ang="0">
                <a:pos x="csX395" y="csY395"/>
              </a:cxn>
              <a:cxn ang="0">
                <a:pos x="csX396" y="csY396"/>
              </a:cxn>
              <a:cxn ang="0">
                <a:pos x="csX397" y="csY397"/>
              </a:cxn>
              <a:cxn ang="0">
                <a:pos x="csX398" y="csY398"/>
              </a:cxn>
              <a:cxn ang="0">
                <a:pos x="csX399" y="csY399"/>
              </a:cxn>
              <a:cxn ang="0">
                <a:pos x="csX400" y="csY400"/>
              </a:cxn>
              <a:cxn ang="0">
                <a:pos x="csX401" y="csY401"/>
              </a:cxn>
              <a:cxn ang="0">
                <a:pos x="csX402" y="csY402"/>
              </a:cxn>
              <a:cxn ang="0">
                <a:pos x="csX403" y="csY403"/>
              </a:cxn>
              <a:cxn ang="0">
                <a:pos x="csX404" y="csY404"/>
              </a:cxn>
              <a:cxn ang="0">
                <a:pos x="csX405" y="csY405"/>
              </a:cxn>
              <a:cxn ang="0">
                <a:pos x="csX406" y="csY406"/>
              </a:cxn>
              <a:cxn ang="0">
                <a:pos x="csX407" y="csY407"/>
              </a:cxn>
              <a:cxn ang="0">
                <a:pos x="csX408" y="csY408"/>
              </a:cxn>
              <a:cxn ang="0">
                <a:pos x="csX409" y="csY409"/>
              </a:cxn>
              <a:cxn ang="0">
                <a:pos x="csX410" y="csY410"/>
              </a:cxn>
              <a:cxn ang="0">
                <a:pos x="csX411" y="csY411"/>
              </a:cxn>
              <a:cxn ang="0">
                <a:pos x="csX412" y="csY412"/>
              </a:cxn>
              <a:cxn ang="0">
                <a:pos x="csX413" y="csY413"/>
              </a:cxn>
              <a:cxn ang="0">
                <a:pos x="csX414" y="csY414"/>
              </a:cxn>
              <a:cxn ang="0">
                <a:pos x="csX415" y="csY415"/>
              </a:cxn>
              <a:cxn ang="0">
                <a:pos x="csX416" y="csY416"/>
              </a:cxn>
              <a:cxn ang="0">
                <a:pos x="csX417" y="csY417"/>
              </a:cxn>
              <a:cxn ang="0">
                <a:pos x="csX418" y="csY418"/>
              </a:cxn>
              <a:cxn ang="0">
                <a:pos x="csX419" y="csY419"/>
              </a:cxn>
              <a:cxn ang="0">
                <a:pos x="csX420" y="csY420"/>
              </a:cxn>
              <a:cxn ang="0">
                <a:pos x="csX421" y="csY421"/>
              </a:cxn>
              <a:cxn ang="0">
                <a:pos x="csX422" y="csY422"/>
              </a:cxn>
              <a:cxn ang="0">
                <a:pos x="csX423" y="csY423"/>
              </a:cxn>
              <a:cxn ang="0">
                <a:pos x="csX424" y="csY424"/>
              </a:cxn>
              <a:cxn ang="0">
                <a:pos x="csX425" y="csY425"/>
              </a:cxn>
              <a:cxn ang="0">
                <a:pos x="csX426" y="csY426"/>
              </a:cxn>
              <a:cxn ang="0">
                <a:pos x="csX427" y="csY427"/>
              </a:cxn>
              <a:cxn ang="0">
                <a:pos x="csX428" y="csY428"/>
              </a:cxn>
              <a:cxn ang="0">
                <a:pos x="csX429" y="csY429"/>
              </a:cxn>
              <a:cxn ang="0">
                <a:pos x="csX430" y="csY430"/>
              </a:cxn>
              <a:cxn ang="0">
                <a:pos x="csX431" y="csY431"/>
              </a:cxn>
              <a:cxn ang="0">
                <a:pos x="csX432" y="csY432"/>
              </a:cxn>
              <a:cxn ang="0">
                <a:pos x="csX433" y="csY433"/>
              </a:cxn>
              <a:cxn ang="0">
                <a:pos x="csX434" y="csY434"/>
              </a:cxn>
              <a:cxn ang="0">
                <a:pos x="csX435" y="csY435"/>
              </a:cxn>
              <a:cxn ang="0">
                <a:pos x="csX436" y="csY436"/>
              </a:cxn>
              <a:cxn ang="0">
                <a:pos x="csX437" y="csY437"/>
              </a:cxn>
              <a:cxn ang="0">
                <a:pos x="csX438" y="csY438"/>
              </a:cxn>
              <a:cxn ang="0">
                <a:pos x="csX439" y="csY439"/>
              </a:cxn>
              <a:cxn ang="0">
                <a:pos x="csX440" y="csY440"/>
              </a:cxn>
              <a:cxn ang="0">
                <a:pos x="csX441" y="csY441"/>
              </a:cxn>
              <a:cxn ang="0">
                <a:pos x="csX442" y="csY442"/>
              </a:cxn>
              <a:cxn ang="0">
                <a:pos x="csX443" y="csY443"/>
              </a:cxn>
              <a:cxn ang="0">
                <a:pos x="csX444" y="csY444"/>
              </a:cxn>
              <a:cxn ang="0">
                <a:pos x="csX445" y="csY445"/>
              </a:cxn>
              <a:cxn ang="0">
                <a:pos x="csX446" y="csY446"/>
              </a:cxn>
              <a:cxn ang="0">
                <a:pos x="csX447" y="csY447"/>
              </a:cxn>
              <a:cxn ang="0">
                <a:pos x="csX448" y="csY448"/>
              </a:cxn>
              <a:cxn ang="0">
                <a:pos x="csX449" y="csY449"/>
              </a:cxn>
              <a:cxn ang="0">
                <a:pos x="csX450" y="csY450"/>
              </a:cxn>
              <a:cxn ang="0">
                <a:pos x="csX451" y="csY451"/>
              </a:cxn>
              <a:cxn ang="0">
                <a:pos x="csX452" y="csY452"/>
              </a:cxn>
              <a:cxn ang="0">
                <a:pos x="csX453" y="csY453"/>
              </a:cxn>
              <a:cxn ang="0">
                <a:pos x="csX454" y="csY454"/>
              </a:cxn>
              <a:cxn ang="0">
                <a:pos x="csX455" y="csY455"/>
              </a:cxn>
              <a:cxn ang="0">
                <a:pos x="csX456" y="csY456"/>
              </a:cxn>
              <a:cxn ang="0">
                <a:pos x="csX457" y="csY457"/>
              </a:cxn>
              <a:cxn ang="0">
                <a:pos x="csX458" y="csY458"/>
              </a:cxn>
              <a:cxn ang="0">
                <a:pos x="csX459" y="csY459"/>
              </a:cxn>
              <a:cxn ang="0">
                <a:pos x="csX460" y="csY460"/>
              </a:cxn>
              <a:cxn ang="0">
                <a:pos x="csX461" y="csY461"/>
              </a:cxn>
              <a:cxn ang="0">
                <a:pos x="csX462" y="csY462"/>
              </a:cxn>
              <a:cxn ang="0">
                <a:pos x="csX463" y="csY463"/>
              </a:cxn>
              <a:cxn ang="0">
                <a:pos x="csX464" y="csY464"/>
              </a:cxn>
              <a:cxn ang="0">
                <a:pos x="csX465" y="csY465"/>
              </a:cxn>
              <a:cxn ang="0">
                <a:pos x="csX466" y="csY466"/>
              </a:cxn>
              <a:cxn ang="0">
                <a:pos x="csX467" y="csY467"/>
              </a:cxn>
              <a:cxn ang="0">
                <a:pos x="csX468" y="csY468"/>
              </a:cxn>
              <a:cxn ang="0">
                <a:pos x="csX469" y="csY469"/>
              </a:cxn>
              <a:cxn ang="0">
                <a:pos x="csX470" y="csY470"/>
              </a:cxn>
              <a:cxn ang="0">
                <a:pos x="csX471" y="csY471"/>
              </a:cxn>
              <a:cxn ang="0">
                <a:pos x="csX472" y="csY472"/>
              </a:cxn>
              <a:cxn ang="0">
                <a:pos x="csX473" y="csY473"/>
              </a:cxn>
              <a:cxn ang="0">
                <a:pos x="csX474" y="csY474"/>
              </a:cxn>
              <a:cxn ang="0">
                <a:pos x="csX475" y="csY475"/>
              </a:cxn>
              <a:cxn ang="0">
                <a:pos x="csX476" y="csY476"/>
              </a:cxn>
              <a:cxn ang="0">
                <a:pos x="csX477" y="csY477"/>
              </a:cxn>
              <a:cxn ang="0">
                <a:pos x="csX478" y="csY478"/>
              </a:cxn>
              <a:cxn ang="0">
                <a:pos x="csX479" y="csY479"/>
              </a:cxn>
              <a:cxn ang="0">
                <a:pos x="csX480" y="csY480"/>
              </a:cxn>
              <a:cxn ang="0">
                <a:pos x="csX481" y="csY481"/>
              </a:cxn>
              <a:cxn ang="0">
                <a:pos x="csX482" y="csY482"/>
              </a:cxn>
              <a:cxn ang="0">
                <a:pos x="csX483" y="csY483"/>
              </a:cxn>
              <a:cxn ang="0">
                <a:pos x="csX484" y="csY484"/>
              </a:cxn>
              <a:cxn ang="0">
                <a:pos x="csX485" y="csY485"/>
              </a:cxn>
              <a:cxn ang="0">
                <a:pos x="csX486" y="csY486"/>
              </a:cxn>
              <a:cxn ang="0">
                <a:pos x="csX487" y="csY487"/>
              </a:cxn>
              <a:cxn ang="0">
                <a:pos x="csX488" y="csY488"/>
              </a:cxn>
              <a:cxn ang="0">
                <a:pos x="csX489" y="csY489"/>
              </a:cxn>
              <a:cxn ang="0">
                <a:pos x="csX490" y="csY490"/>
              </a:cxn>
              <a:cxn ang="0">
                <a:pos x="csX491" y="csY491"/>
              </a:cxn>
              <a:cxn ang="0">
                <a:pos x="csX492" y="csY492"/>
              </a:cxn>
              <a:cxn ang="0">
                <a:pos x="csX493" y="csY493"/>
              </a:cxn>
              <a:cxn ang="0">
                <a:pos x="csX494" y="csY494"/>
              </a:cxn>
              <a:cxn ang="0">
                <a:pos x="csX495" y="csY495"/>
              </a:cxn>
              <a:cxn ang="0">
                <a:pos x="csX496" y="csY496"/>
              </a:cxn>
              <a:cxn ang="0">
                <a:pos x="csX497" y="csY497"/>
              </a:cxn>
              <a:cxn ang="0">
                <a:pos x="csX498" y="csY498"/>
              </a:cxn>
              <a:cxn ang="0">
                <a:pos x="csX499" y="csY499"/>
              </a:cxn>
              <a:cxn ang="0">
                <a:pos x="csX500" y="csY500"/>
              </a:cxn>
              <a:cxn ang="0">
                <a:pos x="csX501" y="csY501"/>
              </a:cxn>
              <a:cxn ang="0">
                <a:pos x="csX502" y="csY502"/>
              </a:cxn>
              <a:cxn ang="0">
                <a:pos x="csX503" y="csY503"/>
              </a:cxn>
              <a:cxn ang="0">
                <a:pos x="csX504" y="csY504"/>
              </a:cxn>
              <a:cxn ang="0">
                <a:pos x="csX505" y="csY505"/>
              </a:cxn>
              <a:cxn ang="0">
                <a:pos x="csX506" y="csY506"/>
              </a:cxn>
              <a:cxn ang="0">
                <a:pos x="csX507" y="csY507"/>
              </a:cxn>
              <a:cxn ang="0">
                <a:pos x="csX508" y="csY508"/>
              </a:cxn>
              <a:cxn ang="0">
                <a:pos x="csX509" y="csY509"/>
              </a:cxn>
              <a:cxn ang="0">
                <a:pos x="csX510" y="csY510"/>
              </a:cxn>
              <a:cxn ang="0">
                <a:pos x="csX511" y="csY511"/>
              </a:cxn>
              <a:cxn ang="0">
                <a:pos x="csX512" y="csY512"/>
              </a:cxn>
              <a:cxn ang="0">
                <a:pos x="csX513" y="csY513"/>
              </a:cxn>
              <a:cxn ang="0">
                <a:pos x="csX514" y="csY514"/>
              </a:cxn>
              <a:cxn ang="0">
                <a:pos x="csX515" y="csY515"/>
              </a:cxn>
              <a:cxn ang="0">
                <a:pos x="csX516" y="csY516"/>
              </a:cxn>
              <a:cxn ang="0">
                <a:pos x="csX517" y="csY517"/>
              </a:cxn>
              <a:cxn ang="0">
                <a:pos x="csX518" y="csY518"/>
              </a:cxn>
              <a:cxn ang="0">
                <a:pos x="csX519" y="csY519"/>
              </a:cxn>
              <a:cxn ang="0">
                <a:pos x="csX520" y="csY520"/>
              </a:cxn>
              <a:cxn ang="0">
                <a:pos x="csX521" y="csY521"/>
              </a:cxn>
              <a:cxn ang="0">
                <a:pos x="csX522" y="csY522"/>
              </a:cxn>
              <a:cxn ang="0">
                <a:pos x="csX523" y="csY523"/>
              </a:cxn>
              <a:cxn ang="0">
                <a:pos x="csX524" y="csY524"/>
              </a:cxn>
              <a:cxn ang="0">
                <a:pos x="csX525" y="csY525"/>
              </a:cxn>
              <a:cxn ang="0">
                <a:pos x="csX526" y="csY526"/>
              </a:cxn>
              <a:cxn ang="0">
                <a:pos x="csX527" y="csY527"/>
              </a:cxn>
              <a:cxn ang="0">
                <a:pos x="csX528" y="csY528"/>
              </a:cxn>
              <a:cxn ang="0">
                <a:pos x="csX529" y="csY529"/>
              </a:cxn>
              <a:cxn ang="0">
                <a:pos x="csX530" y="csY530"/>
              </a:cxn>
              <a:cxn ang="0">
                <a:pos x="csX531" y="csY531"/>
              </a:cxn>
              <a:cxn ang="0">
                <a:pos x="csX532" y="csY532"/>
              </a:cxn>
              <a:cxn ang="0">
                <a:pos x="csX533" y="csY533"/>
              </a:cxn>
              <a:cxn ang="0">
                <a:pos x="csX534" y="csY534"/>
              </a:cxn>
              <a:cxn ang="0">
                <a:pos x="csX535" y="csY535"/>
              </a:cxn>
              <a:cxn ang="0">
                <a:pos x="csX536" y="csY536"/>
              </a:cxn>
              <a:cxn ang="0">
                <a:pos x="csX537" y="csY537"/>
              </a:cxn>
              <a:cxn ang="0">
                <a:pos x="csX538" y="csY538"/>
              </a:cxn>
              <a:cxn ang="0">
                <a:pos x="csX539" y="csY539"/>
              </a:cxn>
              <a:cxn ang="0">
                <a:pos x="csX540" y="csY540"/>
              </a:cxn>
              <a:cxn ang="0">
                <a:pos x="csX541" y="csY541"/>
              </a:cxn>
              <a:cxn ang="0">
                <a:pos x="csX542" y="csY542"/>
              </a:cxn>
              <a:cxn ang="0">
                <a:pos x="csX543" y="csY543"/>
              </a:cxn>
              <a:cxn ang="0">
                <a:pos x="csX544" y="csY544"/>
              </a:cxn>
              <a:cxn ang="0">
                <a:pos x="csX545" y="csY545"/>
              </a:cxn>
              <a:cxn ang="0">
                <a:pos x="csX546" y="csY546"/>
              </a:cxn>
              <a:cxn ang="0">
                <a:pos x="csX547" y="csY547"/>
              </a:cxn>
              <a:cxn ang="0">
                <a:pos x="csX548" y="csY548"/>
              </a:cxn>
              <a:cxn ang="0">
                <a:pos x="csX549" y="csY549"/>
              </a:cxn>
              <a:cxn ang="0">
                <a:pos x="csX550" y="csY550"/>
              </a:cxn>
              <a:cxn ang="0">
                <a:pos x="csX551" y="csY551"/>
              </a:cxn>
              <a:cxn ang="0">
                <a:pos x="csX552" y="csY552"/>
              </a:cxn>
              <a:cxn ang="0">
                <a:pos x="csX553" y="csY553"/>
              </a:cxn>
              <a:cxn ang="0">
                <a:pos x="csX554" y="csY554"/>
              </a:cxn>
              <a:cxn ang="0">
                <a:pos x="csX555" y="csY555"/>
              </a:cxn>
              <a:cxn ang="0">
                <a:pos x="csX556" y="csY556"/>
              </a:cxn>
              <a:cxn ang="0">
                <a:pos x="csX557" y="csY557"/>
              </a:cxn>
              <a:cxn ang="0">
                <a:pos x="csX558" y="csY558"/>
              </a:cxn>
              <a:cxn ang="0">
                <a:pos x="csX559" y="csY559"/>
              </a:cxn>
              <a:cxn ang="0">
                <a:pos x="csX560" y="csY560"/>
              </a:cxn>
              <a:cxn ang="0">
                <a:pos x="csX561" y="csY561"/>
              </a:cxn>
              <a:cxn ang="0">
                <a:pos x="csX562" y="csY562"/>
              </a:cxn>
              <a:cxn ang="0">
                <a:pos x="csX563" y="csY563"/>
              </a:cxn>
              <a:cxn ang="0">
                <a:pos x="csX564" y="csY564"/>
              </a:cxn>
              <a:cxn ang="0">
                <a:pos x="csX565" y="csY565"/>
              </a:cxn>
              <a:cxn ang="0">
                <a:pos x="csX566" y="csY566"/>
              </a:cxn>
              <a:cxn ang="0">
                <a:pos x="csX567" y="csY567"/>
              </a:cxn>
              <a:cxn ang="0">
                <a:pos x="csX568" y="csY568"/>
              </a:cxn>
              <a:cxn ang="0">
                <a:pos x="csX569" y="csY569"/>
              </a:cxn>
              <a:cxn ang="0">
                <a:pos x="csX570" y="csY570"/>
              </a:cxn>
              <a:cxn ang="0">
                <a:pos x="csX571" y="csY571"/>
              </a:cxn>
              <a:cxn ang="0">
                <a:pos x="csX572" y="csY572"/>
              </a:cxn>
              <a:cxn ang="0">
                <a:pos x="csX573" y="csY573"/>
              </a:cxn>
              <a:cxn ang="0">
                <a:pos x="csX574" y="csY574"/>
              </a:cxn>
              <a:cxn ang="0">
                <a:pos x="csX575" y="csY575"/>
              </a:cxn>
              <a:cxn ang="0">
                <a:pos x="csX576" y="csY576"/>
              </a:cxn>
              <a:cxn ang="0">
                <a:pos x="csX577" y="csY577"/>
              </a:cxn>
              <a:cxn ang="0">
                <a:pos x="csX578" y="csY578"/>
              </a:cxn>
              <a:cxn ang="0">
                <a:pos x="csX579" y="csY579"/>
              </a:cxn>
              <a:cxn ang="0">
                <a:pos x="csX580" y="csY580"/>
              </a:cxn>
              <a:cxn ang="0">
                <a:pos x="csX581" y="csY581"/>
              </a:cxn>
              <a:cxn ang="0">
                <a:pos x="csX582" y="csY582"/>
              </a:cxn>
              <a:cxn ang="0">
                <a:pos x="csX583" y="csY583"/>
              </a:cxn>
              <a:cxn ang="0">
                <a:pos x="csX584" y="csY584"/>
              </a:cxn>
              <a:cxn ang="0">
                <a:pos x="csX585" y="csY585"/>
              </a:cxn>
              <a:cxn ang="0">
                <a:pos x="csX586" y="csY586"/>
              </a:cxn>
              <a:cxn ang="0">
                <a:pos x="csX587" y="csY587"/>
              </a:cxn>
              <a:cxn ang="0">
                <a:pos x="csX588" y="csY588"/>
              </a:cxn>
              <a:cxn ang="0">
                <a:pos x="csX589" y="csY589"/>
              </a:cxn>
              <a:cxn ang="0">
                <a:pos x="csX590" y="csY590"/>
              </a:cxn>
              <a:cxn ang="0">
                <a:pos x="csX591" y="csY591"/>
              </a:cxn>
              <a:cxn ang="0">
                <a:pos x="csX592" y="csY592"/>
              </a:cxn>
              <a:cxn ang="0">
                <a:pos x="csX593" y="csY593"/>
              </a:cxn>
              <a:cxn ang="0">
                <a:pos x="csX594" y="csY594"/>
              </a:cxn>
              <a:cxn ang="0">
                <a:pos x="csX595" y="csY595"/>
              </a:cxn>
              <a:cxn ang="0">
                <a:pos x="csX596" y="csY596"/>
              </a:cxn>
              <a:cxn ang="0">
                <a:pos x="csX597" y="csY597"/>
              </a:cxn>
              <a:cxn ang="0">
                <a:pos x="csX598" y="csY598"/>
              </a:cxn>
              <a:cxn ang="0">
                <a:pos x="csX599" y="csY599"/>
              </a:cxn>
              <a:cxn ang="0">
                <a:pos x="csX600" y="csY600"/>
              </a:cxn>
              <a:cxn ang="0">
                <a:pos x="csX601" y="csY601"/>
              </a:cxn>
              <a:cxn ang="0">
                <a:pos x="csX602" y="csY602"/>
              </a:cxn>
              <a:cxn ang="0">
                <a:pos x="csX603" y="csY603"/>
              </a:cxn>
              <a:cxn ang="0">
                <a:pos x="csX604" y="csY604"/>
              </a:cxn>
              <a:cxn ang="0">
                <a:pos x="csX605" y="csY605"/>
              </a:cxn>
              <a:cxn ang="0">
                <a:pos x="csX606" y="csY606"/>
              </a:cxn>
              <a:cxn ang="0">
                <a:pos x="csX607" y="csY607"/>
              </a:cxn>
              <a:cxn ang="0">
                <a:pos x="csX608" y="csY608"/>
              </a:cxn>
              <a:cxn ang="0">
                <a:pos x="csX609" y="csY609"/>
              </a:cxn>
              <a:cxn ang="0">
                <a:pos x="csX610" y="csY610"/>
              </a:cxn>
              <a:cxn ang="0">
                <a:pos x="csX611" y="csY611"/>
              </a:cxn>
              <a:cxn ang="0">
                <a:pos x="csX612" y="csY612"/>
              </a:cxn>
              <a:cxn ang="0">
                <a:pos x="csX613" y="csY613"/>
              </a:cxn>
              <a:cxn ang="0">
                <a:pos x="csX614" y="csY614"/>
              </a:cxn>
              <a:cxn ang="0">
                <a:pos x="csX615" y="csY615"/>
              </a:cxn>
              <a:cxn ang="0">
                <a:pos x="csX616" y="csY616"/>
              </a:cxn>
              <a:cxn ang="0">
                <a:pos x="csX617" y="csY617"/>
              </a:cxn>
              <a:cxn ang="0">
                <a:pos x="csX618" y="csY618"/>
              </a:cxn>
              <a:cxn ang="0">
                <a:pos x="csX619" y="csY619"/>
              </a:cxn>
              <a:cxn ang="0">
                <a:pos x="csX620" y="csY620"/>
              </a:cxn>
              <a:cxn ang="0">
                <a:pos x="csX621" y="csY621"/>
              </a:cxn>
              <a:cxn ang="0">
                <a:pos x="csX622" y="csY622"/>
              </a:cxn>
              <a:cxn ang="0">
                <a:pos x="csX623" y="csY623"/>
              </a:cxn>
              <a:cxn ang="0">
                <a:pos x="csX624" y="csY624"/>
              </a:cxn>
              <a:cxn ang="0">
                <a:pos x="csX625" y="csY625"/>
              </a:cxn>
              <a:cxn ang="0">
                <a:pos x="csX626" y="csY626"/>
              </a:cxn>
              <a:cxn ang="0">
                <a:pos x="csX627" y="csY627"/>
              </a:cxn>
              <a:cxn ang="0">
                <a:pos x="csX628" y="csY628"/>
              </a:cxn>
              <a:cxn ang="0">
                <a:pos x="csX629" y="csY629"/>
              </a:cxn>
              <a:cxn ang="0">
                <a:pos x="csX630" y="csY630"/>
              </a:cxn>
              <a:cxn ang="0">
                <a:pos x="csX631" y="csY631"/>
              </a:cxn>
              <a:cxn ang="0">
                <a:pos x="csX632" y="csY632"/>
              </a:cxn>
              <a:cxn ang="0">
                <a:pos x="csX633" y="csY633"/>
              </a:cxn>
              <a:cxn ang="0">
                <a:pos x="csX634" y="csY634"/>
              </a:cxn>
              <a:cxn ang="0">
                <a:pos x="csX635" y="csY635"/>
              </a:cxn>
              <a:cxn ang="0">
                <a:pos x="csX636" y="csY636"/>
              </a:cxn>
              <a:cxn ang="0">
                <a:pos x="csX637" y="csY637"/>
              </a:cxn>
              <a:cxn ang="0">
                <a:pos x="csX638" y="csY638"/>
              </a:cxn>
              <a:cxn ang="0">
                <a:pos x="csX639" y="csY639"/>
              </a:cxn>
              <a:cxn ang="0">
                <a:pos x="csX640" y="csY640"/>
              </a:cxn>
              <a:cxn ang="0">
                <a:pos x="csX641" y="csY641"/>
              </a:cxn>
              <a:cxn ang="0">
                <a:pos x="csX642" y="csY642"/>
              </a:cxn>
              <a:cxn ang="0">
                <a:pos x="csX643" y="csY643"/>
              </a:cxn>
              <a:cxn ang="0">
                <a:pos x="csX644" y="csY644"/>
              </a:cxn>
              <a:cxn ang="0">
                <a:pos x="csX645" y="csY645"/>
              </a:cxn>
              <a:cxn ang="0">
                <a:pos x="csX646" y="csY646"/>
              </a:cxn>
              <a:cxn ang="0">
                <a:pos x="csX647" y="csY647"/>
              </a:cxn>
              <a:cxn ang="0">
                <a:pos x="csX648" y="csY648"/>
              </a:cxn>
              <a:cxn ang="0">
                <a:pos x="csX649" y="csY649"/>
              </a:cxn>
              <a:cxn ang="0">
                <a:pos x="csX650" y="csY650"/>
              </a:cxn>
              <a:cxn ang="0">
                <a:pos x="csX651" y="csY651"/>
              </a:cxn>
              <a:cxn ang="0">
                <a:pos x="csX652" y="csY652"/>
              </a:cxn>
              <a:cxn ang="0">
                <a:pos x="csX653" y="csY653"/>
              </a:cxn>
              <a:cxn ang="0">
                <a:pos x="csX654" y="csY654"/>
              </a:cxn>
              <a:cxn ang="0">
                <a:pos x="csX655" y="csY655"/>
              </a:cxn>
              <a:cxn ang="0">
                <a:pos x="csX656" y="csY656"/>
              </a:cxn>
              <a:cxn ang="0">
                <a:pos x="csX657" y="csY657"/>
              </a:cxn>
              <a:cxn ang="0">
                <a:pos x="csX658" y="csY658"/>
              </a:cxn>
              <a:cxn ang="0">
                <a:pos x="csX659" y="csY659"/>
              </a:cxn>
              <a:cxn ang="0">
                <a:pos x="csX660" y="csY660"/>
              </a:cxn>
              <a:cxn ang="0">
                <a:pos x="csX661" y="csY661"/>
              </a:cxn>
              <a:cxn ang="0">
                <a:pos x="csX662" y="csY662"/>
              </a:cxn>
              <a:cxn ang="0">
                <a:pos x="csX663" y="csY663"/>
              </a:cxn>
              <a:cxn ang="0">
                <a:pos x="csX664" y="csY664"/>
              </a:cxn>
              <a:cxn ang="0">
                <a:pos x="csX665" y="csY665"/>
              </a:cxn>
              <a:cxn ang="0">
                <a:pos x="csX666" y="csY666"/>
              </a:cxn>
              <a:cxn ang="0">
                <a:pos x="csX667" y="csY667"/>
              </a:cxn>
              <a:cxn ang="0">
                <a:pos x="csX668" y="csY668"/>
              </a:cxn>
              <a:cxn ang="0">
                <a:pos x="csX669" y="csY669"/>
              </a:cxn>
              <a:cxn ang="0">
                <a:pos x="csX670" y="csY670"/>
              </a:cxn>
              <a:cxn ang="0">
                <a:pos x="csX671" y="csY671"/>
              </a:cxn>
              <a:cxn ang="0">
                <a:pos x="csX672" y="csY672"/>
              </a:cxn>
              <a:cxn ang="0">
                <a:pos x="csX673" y="csY673"/>
              </a:cxn>
              <a:cxn ang="0">
                <a:pos x="csX674" y="csY674"/>
              </a:cxn>
              <a:cxn ang="0">
                <a:pos x="csX675" y="csY675"/>
              </a:cxn>
              <a:cxn ang="0">
                <a:pos x="csX676" y="csY676"/>
              </a:cxn>
              <a:cxn ang="0">
                <a:pos x="csX677" y="csY677"/>
              </a:cxn>
              <a:cxn ang="0">
                <a:pos x="csX678" y="csY678"/>
              </a:cxn>
              <a:cxn ang="0">
                <a:pos x="csX679" y="csY679"/>
              </a:cxn>
              <a:cxn ang="0">
                <a:pos x="csX680" y="csY680"/>
              </a:cxn>
              <a:cxn ang="0">
                <a:pos x="csX681" y="csY681"/>
              </a:cxn>
              <a:cxn ang="0">
                <a:pos x="csX682" y="csY682"/>
              </a:cxn>
              <a:cxn ang="0">
                <a:pos x="csX683" y="csY683"/>
              </a:cxn>
              <a:cxn ang="0">
                <a:pos x="csX684" y="csY684"/>
              </a:cxn>
              <a:cxn ang="0">
                <a:pos x="csX685" y="csY685"/>
              </a:cxn>
              <a:cxn ang="0">
                <a:pos x="csX686" y="csY686"/>
              </a:cxn>
              <a:cxn ang="0">
                <a:pos x="csX687" y="csY687"/>
              </a:cxn>
              <a:cxn ang="0">
                <a:pos x="csX688" y="csY688"/>
              </a:cxn>
              <a:cxn ang="0">
                <a:pos x="csX689" y="csY689"/>
              </a:cxn>
              <a:cxn ang="0">
                <a:pos x="csX690" y="csY690"/>
              </a:cxn>
              <a:cxn ang="0">
                <a:pos x="csX691" y="csY691"/>
              </a:cxn>
              <a:cxn ang="0">
                <a:pos x="csX692" y="csY692"/>
              </a:cxn>
              <a:cxn ang="0">
                <a:pos x="csX693" y="csY693"/>
              </a:cxn>
              <a:cxn ang="0">
                <a:pos x="csX694" y="csY694"/>
              </a:cxn>
              <a:cxn ang="0">
                <a:pos x="csX695" y="csY695"/>
              </a:cxn>
              <a:cxn ang="0">
                <a:pos x="csX696" y="csY696"/>
              </a:cxn>
              <a:cxn ang="0">
                <a:pos x="csX697" y="csY697"/>
              </a:cxn>
              <a:cxn ang="0">
                <a:pos x="csX698" y="csY698"/>
              </a:cxn>
              <a:cxn ang="0">
                <a:pos x="csX699" y="csY699"/>
              </a:cxn>
              <a:cxn ang="0">
                <a:pos x="csX700" y="csY700"/>
              </a:cxn>
              <a:cxn ang="0">
                <a:pos x="csX701" y="csY701"/>
              </a:cxn>
              <a:cxn ang="0">
                <a:pos x="csX702" y="csY702"/>
              </a:cxn>
              <a:cxn ang="0">
                <a:pos x="csX703" y="csY703"/>
              </a:cxn>
              <a:cxn ang="0">
                <a:pos x="csX704" y="csY704"/>
              </a:cxn>
              <a:cxn ang="0">
                <a:pos x="csX705" y="csY705"/>
              </a:cxn>
              <a:cxn ang="0">
                <a:pos x="csX706" y="csY706"/>
              </a:cxn>
              <a:cxn ang="0">
                <a:pos x="csX707" y="csY707"/>
              </a:cxn>
              <a:cxn ang="0">
                <a:pos x="csX708" y="csY708"/>
              </a:cxn>
              <a:cxn ang="0">
                <a:pos x="csX709" y="csY709"/>
              </a:cxn>
              <a:cxn ang="0">
                <a:pos x="csX710" y="csY710"/>
              </a:cxn>
              <a:cxn ang="0">
                <a:pos x="csX711" y="csY711"/>
              </a:cxn>
              <a:cxn ang="0">
                <a:pos x="csX712" y="csY712"/>
              </a:cxn>
              <a:cxn ang="0">
                <a:pos x="csX713" y="csY713"/>
              </a:cxn>
              <a:cxn ang="0">
                <a:pos x="csX714" y="csY714"/>
              </a:cxn>
              <a:cxn ang="0">
                <a:pos x="csX715" y="csY715"/>
              </a:cxn>
              <a:cxn ang="0">
                <a:pos x="csX716" y="csY716"/>
              </a:cxn>
              <a:cxn ang="0">
                <a:pos x="csX717" y="csY717"/>
              </a:cxn>
              <a:cxn ang="0">
                <a:pos x="csX718" y="csY718"/>
              </a:cxn>
              <a:cxn ang="0">
                <a:pos x="csX719" y="csY719"/>
              </a:cxn>
              <a:cxn ang="0">
                <a:pos x="csX720" y="csY720"/>
              </a:cxn>
              <a:cxn ang="0">
                <a:pos x="csX721" y="csY721"/>
              </a:cxn>
              <a:cxn ang="0">
                <a:pos x="csX722" y="csY722"/>
              </a:cxn>
              <a:cxn ang="0">
                <a:pos x="csX723" y="csY723"/>
              </a:cxn>
              <a:cxn ang="0">
                <a:pos x="csX724" y="csY724"/>
              </a:cxn>
              <a:cxn ang="0">
                <a:pos x="csX725" y="csY725"/>
              </a:cxn>
              <a:cxn ang="0">
                <a:pos x="csX726" y="csY726"/>
              </a:cxn>
              <a:cxn ang="0">
                <a:pos x="csX727" y="csY727"/>
              </a:cxn>
              <a:cxn ang="0">
                <a:pos x="csX728" y="csY728"/>
              </a:cxn>
              <a:cxn ang="0">
                <a:pos x="csX729" y="csY729"/>
              </a:cxn>
              <a:cxn ang="0">
                <a:pos x="csX730" y="csY730"/>
              </a:cxn>
              <a:cxn ang="0">
                <a:pos x="csX731" y="csY731"/>
              </a:cxn>
              <a:cxn ang="0">
                <a:pos x="csX732" y="csY732"/>
              </a:cxn>
              <a:cxn ang="0">
                <a:pos x="csX733" y="csY733"/>
              </a:cxn>
              <a:cxn ang="0">
                <a:pos x="csX734" y="csY734"/>
              </a:cxn>
              <a:cxn ang="0">
                <a:pos x="csX735" y="csY735"/>
              </a:cxn>
              <a:cxn ang="0">
                <a:pos x="csX736" y="csY736"/>
              </a:cxn>
              <a:cxn ang="0">
                <a:pos x="csX737" y="csY737"/>
              </a:cxn>
              <a:cxn ang="0">
                <a:pos x="csX738" y="csY738"/>
              </a:cxn>
              <a:cxn ang="0">
                <a:pos x="csX739" y="csY739"/>
              </a:cxn>
              <a:cxn ang="0">
                <a:pos x="csX740" y="csY740"/>
              </a:cxn>
              <a:cxn ang="0">
                <a:pos x="csX741" y="csY741"/>
              </a:cxn>
              <a:cxn ang="0">
                <a:pos x="csX742" y="csY742"/>
              </a:cxn>
              <a:cxn ang="0">
                <a:pos x="csX743" y="csY743"/>
              </a:cxn>
              <a:cxn ang="0">
                <a:pos x="csX744" y="csY744"/>
              </a:cxn>
              <a:cxn ang="0">
                <a:pos x="csX745" y="csY745"/>
              </a:cxn>
              <a:cxn ang="0">
                <a:pos x="csX746" y="csY746"/>
              </a:cxn>
              <a:cxn ang="0">
                <a:pos x="csX747" y="csY747"/>
              </a:cxn>
              <a:cxn ang="0">
                <a:pos x="csX748" y="csY748"/>
              </a:cxn>
              <a:cxn ang="0">
                <a:pos x="csX749" y="csY749"/>
              </a:cxn>
              <a:cxn ang="0">
                <a:pos x="csX750" y="csY750"/>
              </a:cxn>
              <a:cxn ang="0">
                <a:pos x="csX751" y="csY751"/>
              </a:cxn>
              <a:cxn ang="0">
                <a:pos x="csX752" y="csY752"/>
              </a:cxn>
              <a:cxn ang="0">
                <a:pos x="csX753" y="csY753"/>
              </a:cxn>
              <a:cxn ang="0">
                <a:pos x="csX754" y="csY754"/>
              </a:cxn>
              <a:cxn ang="0">
                <a:pos x="csX755" y="csY755"/>
              </a:cxn>
              <a:cxn ang="0">
                <a:pos x="csX756" y="csY756"/>
              </a:cxn>
              <a:cxn ang="0">
                <a:pos x="csX757" y="csY757"/>
              </a:cxn>
              <a:cxn ang="0">
                <a:pos x="csX758" y="csY758"/>
              </a:cxn>
              <a:cxn ang="0">
                <a:pos x="csX759" y="csY759"/>
              </a:cxn>
              <a:cxn ang="0">
                <a:pos x="csX760" y="csY760"/>
              </a:cxn>
              <a:cxn ang="0">
                <a:pos x="csX761" y="csY761"/>
              </a:cxn>
              <a:cxn ang="0">
                <a:pos x="csX762" y="csY762"/>
              </a:cxn>
              <a:cxn ang="0">
                <a:pos x="csX763" y="csY763"/>
              </a:cxn>
              <a:cxn ang="0">
                <a:pos x="csX764" y="csY764"/>
              </a:cxn>
              <a:cxn ang="0">
                <a:pos x="csX765" y="csY765"/>
              </a:cxn>
              <a:cxn ang="0">
                <a:pos x="csX766" y="csY766"/>
              </a:cxn>
              <a:cxn ang="0">
                <a:pos x="csX767" y="csY767"/>
              </a:cxn>
              <a:cxn ang="0">
                <a:pos x="csX768" y="csY768"/>
              </a:cxn>
              <a:cxn ang="0">
                <a:pos x="csX769" y="csY769"/>
              </a:cxn>
              <a:cxn ang="0">
                <a:pos x="csX770" y="csY770"/>
              </a:cxn>
              <a:cxn ang="0">
                <a:pos x="csX771" y="csY771"/>
              </a:cxn>
              <a:cxn ang="0">
                <a:pos x="csX772" y="csY772"/>
              </a:cxn>
              <a:cxn ang="0">
                <a:pos x="csX773" y="csY773"/>
              </a:cxn>
              <a:cxn ang="0">
                <a:pos x="csX774" y="csY774"/>
              </a:cxn>
              <a:cxn ang="0">
                <a:pos x="csX775" y="csY775"/>
              </a:cxn>
              <a:cxn ang="0">
                <a:pos x="csX776" y="csY776"/>
              </a:cxn>
              <a:cxn ang="0">
                <a:pos x="csX777" y="csY777"/>
              </a:cxn>
              <a:cxn ang="0">
                <a:pos x="csX778" y="csY778"/>
              </a:cxn>
              <a:cxn ang="0">
                <a:pos x="csX779" y="csY779"/>
              </a:cxn>
              <a:cxn ang="0">
                <a:pos x="csX780" y="csY780"/>
              </a:cxn>
              <a:cxn ang="0">
                <a:pos x="csX781" y="csY781"/>
              </a:cxn>
              <a:cxn ang="0">
                <a:pos x="csX782" y="csY782"/>
              </a:cxn>
              <a:cxn ang="0">
                <a:pos x="csX783" y="csY783"/>
              </a:cxn>
              <a:cxn ang="0">
                <a:pos x="csX784" y="csY784"/>
              </a:cxn>
              <a:cxn ang="0">
                <a:pos x="csX785" y="csY785"/>
              </a:cxn>
              <a:cxn ang="0">
                <a:pos x="csX786" y="csY786"/>
              </a:cxn>
              <a:cxn ang="0">
                <a:pos x="csX787" y="csY787"/>
              </a:cxn>
              <a:cxn ang="0">
                <a:pos x="csX788" y="csY788"/>
              </a:cxn>
              <a:cxn ang="0">
                <a:pos x="csX789" y="csY789"/>
              </a:cxn>
              <a:cxn ang="0">
                <a:pos x="csX790" y="csY790"/>
              </a:cxn>
              <a:cxn ang="0">
                <a:pos x="csX791" y="csY791"/>
              </a:cxn>
              <a:cxn ang="0">
                <a:pos x="csX792" y="csY792"/>
              </a:cxn>
              <a:cxn ang="0">
                <a:pos x="csX793" y="csY793"/>
              </a:cxn>
              <a:cxn ang="0">
                <a:pos x="csX794" y="csY794"/>
              </a:cxn>
              <a:cxn ang="0">
                <a:pos x="csX795" y="csY795"/>
              </a:cxn>
              <a:cxn ang="0">
                <a:pos x="csX796" y="csY796"/>
              </a:cxn>
              <a:cxn ang="0">
                <a:pos x="csX797" y="csY797"/>
              </a:cxn>
              <a:cxn ang="0">
                <a:pos x="csX798" y="csY798"/>
              </a:cxn>
              <a:cxn ang="0">
                <a:pos x="csX799" y="csY799"/>
              </a:cxn>
              <a:cxn ang="0">
                <a:pos x="csX800" y="csY800"/>
              </a:cxn>
              <a:cxn ang="0">
                <a:pos x="csX801" y="csY801"/>
              </a:cxn>
              <a:cxn ang="0">
                <a:pos x="csX802" y="csY802"/>
              </a:cxn>
              <a:cxn ang="0">
                <a:pos x="csX803" y="csY803"/>
              </a:cxn>
              <a:cxn ang="0">
                <a:pos x="csX804" y="csY804"/>
              </a:cxn>
              <a:cxn ang="0">
                <a:pos x="csX805" y="csY805"/>
              </a:cxn>
              <a:cxn ang="0">
                <a:pos x="csX806" y="csY806"/>
              </a:cxn>
              <a:cxn ang="0">
                <a:pos x="csX807" y="csY807"/>
              </a:cxn>
              <a:cxn ang="0">
                <a:pos x="csX808" y="csY808"/>
              </a:cxn>
              <a:cxn ang="0">
                <a:pos x="csX809" y="csY809"/>
              </a:cxn>
              <a:cxn ang="0">
                <a:pos x="csX810" y="csY810"/>
              </a:cxn>
              <a:cxn ang="0">
                <a:pos x="csX811" y="csY811"/>
              </a:cxn>
              <a:cxn ang="0">
                <a:pos x="csX812" y="csY812"/>
              </a:cxn>
              <a:cxn ang="0">
                <a:pos x="csX813" y="csY813"/>
              </a:cxn>
              <a:cxn ang="0">
                <a:pos x="csX814" y="csY814"/>
              </a:cxn>
              <a:cxn ang="0">
                <a:pos x="csX815" y="csY815"/>
              </a:cxn>
              <a:cxn ang="0">
                <a:pos x="csX816" y="csY816"/>
              </a:cxn>
              <a:cxn ang="0">
                <a:pos x="csX817" y="csY817"/>
              </a:cxn>
              <a:cxn ang="0">
                <a:pos x="csX818" y="csY818"/>
              </a:cxn>
              <a:cxn ang="0">
                <a:pos x="csX819" y="csY819"/>
              </a:cxn>
              <a:cxn ang="0">
                <a:pos x="csX820" y="csY820"/>
              </a:cxn>
              <a:cxn ang="0">
                <a:pos x="csX821" y="csY821"/>
              </a:cxn>
              <a:cxn ang="0">
                <a:pos x="csX822" y="csY822"/>
              </a:cxn>
              <a:cxn ang="0">
                <a:pos x="csX823" y="csY823"/>
              </a:cxn>
              <a:cxn ang="0">
                <a:pos x="csX824" y="csY824"/>
              </a:cxn>
              <a:cxn ang="0">
                <a:pos x="csX825" y="csY825"/>
              </a:cxn>
              <a:cxn ang="0">
                <a:pos x="csX826" y="csY826"/>
              </a:cxn>
              <a:cxn ang="0">
                <a:pos x="csX827" y="csY827"/>
              </a:cxn>
              <a:cxn ang="0">
                <a:pos x="csX828" y="csY828"/>
              </a:cxn>
              <a:cxn ang="0">
                <a:pos x="csX829" y="csY829"/>
              </a:cxn>
              <a:cxn ang="0">
                <a:pos x="csX830" y="csY830"/>
              </a:cxn>
              <a:cxn ang="0">
                <a:pos x="csX831" y="csY831"/>
              </a:cxn>
              <a:cxn ang="0">
                <a:pos x="csX832" y="csY832"/>
              </a:cxn>
              <a:cxn ang="0">
                <a:pos x="csX833" y="csY833"/>
              </a:cxn>
              <a:cxn ang="0">
                <a:pos x="csX834" y="csY834"/>
              </a:cxn>
              <a:cxn ang="0">
                <a:pos x="csX835" y="csY835"/>
              </a:cxn>
              <a:cxn ang="0">
                <a:pos x="csX836" y="csY836"/>
              </a:cxn>
              <a:cxn ang="0">
                <a:pos x="csX837" y="csY837"/>
              </a:cxn>
              <a:cxn ang="0">
                <a:pos x="csX838" y="csY838"/>
              </a:cxn>
              <a:cxn ang="0">
                <a:pos x="csX839" y="csY839"/>
              </a:cxn>
              <a:cxn ang="0">
                <a:pos x="csX840" y="csY840"/>
              </a:cxn>
              <a:cxn ang="0">
                <a:pos x="csX841" y="csY841"/>
              </a:cxn>
              <a:cxn ang="0">
                <a:pos x="csX842" y="csY842"/>
              </a:cxn>
              <a:cxn ang="0">
                <a:pos x="csX843" y="csY843"/>
              </a:cxn>
              <a:cxn ang="0">
                <a:pos x="csX844" y="csY844"/>
              </a:cxn>
              <a:cxn ang="0">
                <a:pos x="csX845" y="csY845"/>
              </a:cxn>
              <a:cxn ang="0">
                <a:pos x="csX846" y="csY846"/>
              </a:cxn>
              <a:cxn ang="0">
                <a:pos x="csX847" y="csY847"/>
              </a:cxn>
              <a:cxn ang="0">
                <a:pos x="csX848" y="csY848"/>
              </a:cxn>
              <a:cxn ang="0">
                <a:pos x="csX849" y="csY849"/>
              </a:cxn>
              <a:cxn ang="0">
                <a:pos x="csX850" y="csY850"/>
              </a:cxn>
              <a:cxn ang="0">
                <a:pos x="csX851" y="csY851"/>
              </a:cxn>
              <a:cxn ang="0">
                <a:pos x="csX852" y="csY852"/>
              </a:cxn>
              <a:cxn ang="0">
                <a:pos x="csX853" y="csY853"/>
              </a:cxn>
              <a:cxn ang="0">
                <a:pos x="csX854" y="csY854"/>
              </a:cxn>
              <a:cxn ang="0">
                <a:pos x="csX855" y="csY855"/>
              </a:cxn>
              <a:cxn ang="0">
                <a:pos x="csX856" y="csY856"/>
              </a:cxn>
              <a:cxn ang="0">
                <a:pos x="csX857" y="csY857"/>
              </a:cxn>
              <a:cxn ang="0">
                <a:pos x="csX858" y="csY858"/>
              </a:cxn>
              <a:cxn ang="0">
                <a:pos x="csX859" y="csY859"/>
              </a:cxn>
              <a:cxn ang="0">
                <a:pos x="csX860" y="csY860"/>
              </a:cxn>
              <a:cxn ang="0">
                <a:pos x="csX861" y="csY861"/>
              </a:cxn>
              <a:cxn ang="0">
                <a:pos x="csX862" y="csY862"/>
              </a:cxn>
              <a:cxn ang="0">
                <a:pos x="csX863" y="csY863"/>
              </a:cxn>
              <a:cxn ang="0">
                <a:pos x="csX864" y="csY864"/>
              </a:cxn>
              <a:cxn ang="0">
                <a:pos x="csX865" y="csY865"/>
              </a:cxn>
              <a:cxn ang="0">
                <a:pos x="csX866" y="csY866"/>
              </a:cxn>
              <a:cxn ang="0">
                <a:pos x="csX867" y="csY867"/>
              </a:cxn>
              <a:cxn ang="0">
                <a:pos x="csX868" y="csY868"/>
              </a:cxn>
              <a:cxn ang="0">
                <a:pos x="csX869" y="csY869"/>
              </a:cxn>
              <a:cxn ang="0">
                <a:pos x="csX870" y="csY870"/>
              </a:cxn>
              <a:cxn ang="0">
                <a:pos x="csX871" y="csY871"/>
              </a:cxn>
              <a:cxn ang="0">
                <a:pos x="csX872" y="csY872"/>
              </a:cxn>
              <a:cxn ang="0">
                <a:pos x="csX873" y="csY873"/>
              </a:cxn>
              <a:cxn ang="0">
                <a:pos x="csX874" y="csY874"/>
              </a:cxn>
              <a:cxn ang="0">
                <a:pos x="csX875" y="csY875"/>
              </a:cxn>
              <a:cxn ang="0">
                <a:pos x="csX876" y="csY876"/>
              </a:cxn>
              <a:cxn ang="0">
                <a:pos x="csX877" y="csY877"/>
              </a:cxn>
              <a:cxn ang="0">
                <a:pos x="csX878" y="csY878"/>
              </a:cxn>
              <a:cxn ang="0">
                <a:pos x="csX879" y="csY879"/>
              </a:cxn>
              <a:cxn ang="0">
                <a:pos x="csX880" y="csY880"/>
              </a:cxn>
              <a:cxn ang="0">
                <a:pos x="csX881" y="csY881"/>
              </a:cxn>
              <a:cxn ang="0">
                <a:pos x="csX882" y="csY882"/>
              </a:cxn>
              <a:cxn ang="0">
                <a:pos x="csX883" y="csY883"/>
              </a:cxn>
              <a:cxn ang="0">
                <a:pos x="csX884" y="csY884"/>
              </a:cxn>
              <a:cxn ang="0">
                <a:pos x="csX885" y="csY885"/>
              </a:cxn>
              <a:cxn ang="0">
                <a:pos x="csX886" y="csY886"/>
              </a:cxn>
              <a:cxn ang="0">
                <a:pos x="csX887" y="csY887"/>
              </a:cxn>
              <a:cxn ang="0">
                <a:pos x="csX888" y="csY888"/>
              </a:cxn>
              <a:cxn ang="0">
                <a:pos x="csX889" y="csY889"/>
              </a:cxn>
              <a:cxn ang="0">
                <a:pos x="csX890" y="csY890"/>
              </a:cxn>
              <a:cxn ang="0">
                <a:pos x="csX891" y="csY891"/>
              </a:cxn>
              <a:cxn ang="0">
                <a:pos x="csX892" y="csY892"/>
              </a:cxn>
              <a:cxn ang="0">
                <a:pos x="csX893" y="csY893"/>
              </a:cxn>
              <a:cxn ang="0">
                <a:pos x="csX894" y="csY894"/>
              </a:cxn>
              <a:cxn ang="0">
                <a:pos x="csX895" y="csY895"/>
              </a:cxn>
              <a:cxn ang="0">
                <a:pos x="csX896" y="csY896"/>
              </a:cxn>
              <a:cxn ang="0">
                <a:pos x="csX897" y="csY897"/>
              </a:cxn>
              <a:cxn ang="0">
                <a:pos x="csX898" y="csY898"/>
              </a:cxn>
              <a:cxn ang="0">
                <a:pos x="csX899" y="csY899"/>
              </a:cxn>
              <a:cxn ang="0">
                <a:pos x="csX900" y="csY900"/>
              </a:cxn>
              <a:cxn ang="0">
                <a:pos x="csX901" y="csY901"/>
              </a:cxn>
              <a:cxn ang="0">
                <a:pos x="csX902" y="csY902"/>
              </a:cxn>
              <a:cxn ang="0">
                <a:pos x="csX903" y="csY903"/>
              </a:cxn>
              <a:cxn ang="0">
                <a:pos x="csX904" y="csY904"/>
              </a:cxn>
              <a:cxn ang="0">
                <a:pos x="csX905" y="csY905"/>
              </a:cxn>
              <a:cxn ang="0">
                <a:pos x="csX906" y="csY906"/>
              </a:cxn>
              <a:cxn ang="0">
                <a:pos x="csX907" y="csY907"/>
              </a:cxn>
              <a:cxn ang="0">
                <a:pos x="csX908" y="csY908"/>
              </a:cxn>
              <a:cxn ang="0">
                <a:pos x="csX909" y="csY909"/>
              </a:cxn>
              <a:cxn ang="0">
                <a:pos x="csX910" y="csY910"/>
              </a:cxn>
              <a:cxn ang="0">
                <a:pos x="csX911" y="csY911"/>
              </a:cxn>
              <a:cxn ang="0">
                <a:pos x="csX912" y="csY912"/>
              </a:cxn>
              <a:cxn ang="0">
                <a:pos x="csX913" y="csY913"/>
              </a:cxn>
              <a:cxn ang="0">
                <a:pos x="csX914" y="csY914"/>
              </a:cxn>
              <a:cxn ang="0">
                <a:pos x="csX915" y="csY915"/>
              </a:cxn>
              <a:cxn ang="0">
                <a:pos x="csX916" y="csY916"/>
              </a:cxn>
              <a:cxn ang="0">
                <a:pos x="csX917" y="csY917"/>
              </a:cxn>
              <a:cxn ang="0">
                <a:pos x="csX918" y="csY918"/>
              </a:cxn>
              <a:cxn ang="0">
                <a:pos x="csX919" y="csY919"/>
              </a:cxn>
              <a:cxn ang="0">
                <a:pos x="csX920" y="csY920"/>
              </a:cxn>
              <a:cxn ang="0">
                <a:pos x="csX921" y="csY921"/>
              </a:cxn>
              <a:cxn ang="0">
                <a:pos x="csX922" y="csY922"/>
              </a:cxn>
              <a:cxn ang="0">
                <a:pos x="csX923" y="csY923"/>
              </a:cxn>
              <a:cxn ang="0">
                <a:pos x="csX924" y="csY924"/>
              </a:cxn>
              <a:cxn ang="0">
                <a:pos x="csX925" y="csY925"/>
              </a:cxn>
              <a:cxn ang="0">
                <a:pos x="csX926" y="csY926"/>
              </a:cxn>
              <a:cxn ang="0">
                <a:pos x="csX927" y="csY927"/>
              </a:cxn>
              <a:cxn ang="0">
                <a:pos x="csX928" y="csY928"/>
              </a:cxn>
              <a:cxn ang="0">
                <a:pos x="csX929" y="csY929"/>
              </a:cxn>
              <a:cxn ang="0">
                <a:pos x="csX930" y="csY930"/>
              </a:cxn>
              <a:cxn ang="0">
                <a:pos x="csX931" y="csY931"/>
              </a:cxn>
              <a:cxn ang="0">
                <a:pos x="csX932" y="csY932"/>
              </a:cxn>
              <a:cxn ang="0">
                <a:pos x="csX933" y="csY933"/>
              </a:cxn>
              <a:cxn ang="0">
                <a:pos x="csX934" y="csY934"/>
              </a:cxn>
              <a:cxn ang="0">
                <a:pos x="csX935" y="csY935"/>
              </a:cxn>
              <a:cxn ang="0">
                <a:pos x="csX936" y="csY936"/>
              </a:cxn>
              <a:cxn ang="0">
                <a:pos x="csX937" y="csY937"/>
              </a:cxn>
              <a:cxn ang="0">
                <a:pos x="csX938" y="csY938"/>
              </a:cxn>
              <a:cxn ang="0">
                <a:pos x="csX939" y="csY939"/>
              </a:cxn>
              <a:cxn ang="0">
                <a:pos x="csX940" y="csY940"/>
              </a:cxn>
              <a:cxn ang="0">
                <a:pos x="csX941" y="csY941"/>
              </a:cxn>
              <a:cxn ang="0">
                <a:pos x="csX942" y="csY942"/>
              </a:cxn>
              <a:cxn ang="0">
                <a:pos x="csX943" y="csY943"/>
              </a:cxn>
              <a:cxn ang="0">
                <a:pos x="csX944" y="csY944"/>
              </a:cxn>
              <a:cxn ang="0">
                <a:pos x="csX945" y="csY945"/>
              </a:cxn>
              <a:cxn ang="0">
                <a:pos x="csX946" y="csY946"/>
              </a:cxn>
              <a:cxn ang="0">
                <a:pos x="csX947" y="csY947"/>
              </a:cxn>
              <a:cxn ang="0">
                <a:pos x="csX948" y="csY948"/>
              </a:cxn>
              <a:cxn ang="0">
                <a:pos x="csX949" y="csY949"/>
              </a:cxn>
              <a:cxn ang="0">
                <a:pos x="csX950" y="csY950"/>
              </a:cxn>
              <a:cxn ang="0">
                <a:pos x="csX951" y="csY951"/>
              </a:cxn>
              <a:cxn ang="0">
                <a:pos x="csX952" y="csY952"/>
              </a:cxn>
              <a:cxn ang="0">
                <a:pos x="csX953" y="csY953"/>
              </a:cxn>
              <a:cxn ang="0">
                <a:pos x="csX954" y="csY954"/>
              </a:cxn>
              <a:cxn ang="0">
                <a:pos x="csX955" y="csY955"/>
              </a:cxn>
              <a:cxn ang="0">
                <a:pos x="csX956" y="csY956"/>
              </a:cxn>
              <a:cxn ang="0">
                <a:pos x="csX957" y="csY957"/>
              </a:cxn>
              <a:cxn ang="0">
                <a:pos x="csX958" y="csY958"/>
              </a:cxn>
              <a:cxn ang="0">
                <a:pos x="csX959" y="csY959"/>
              </a:cxn>
              <a:cxn ang="0">
                <a:pos x="csX960" y="csY960"/>
              </a:cxn>
              <a:cxn ang="0">
                <a:pos x="csX961" y="csY961"/>
              </a:cxn>
              <a:cxn ang="0">
                <a:pos x="csX962" y="csY962"/>
              </a:cxn>
              <a:cxn ang="0">
                <a:pos x="csX963" y="csY963"/>
              </a:cxn>
              <a:cxn ang="0">
                <a:pos x="csX964" y="csY964"/>
              </a:cxn>
              <a:cxn ang="0">
                <a:pos x="csX965" y="csY965"/>
              </a:cxn>
              <a:cxn ang="0">
                <a:pos x="csX966" y="csY966"/>
              </a:cxn>
              <a:cxn ang="0">
                <a:pos x="csX967" y="csY967"/>
              </a:cxn>
              <a:cxn ang="0">
                <a:pos x="csX968" y="csY968"/>
              </a:cxn>
              <a:cxn ang="0">
                <a:pos x="csX969" y="csY969"/>
              </a:cxn>
              <a:cxn ang="0">
                <a:pos x="csX970" y="csY970"/>
              </a:cxn>
              <a:cxn ang="0">
                <a:pos x="csX971" y="csY971"/>
              </a:cxn>
              <a:cxn ang="0">
                <a:pos x="csX972" y="csY972"/>
              </a:cxn>
              <a:cxn ang="0">
                <a:pos x="csX973" y="csY973"/>
              </a:cxn>
              <a:cxn ang="0">
                <a:pos x="csX974" y="csY974"/>
              </a:cxn>
              <a:cxn ang="0">
                <a:pos x="csX975" y="csY975"/>
              </a:cxn>
              <a:cxn ang="0">
                <a:pos x="csX976" y="csY976"/>
              </a:cxn>
              <a:cxn ang="0">
                <a:pos x="csX977" y="csY977"/>
              </a:cxn>
              <a:cxn ang="0">
                <a:pos x="csX978" y="csY978"/>
              </a:cxn>
              <a:cxn ang="0">
                <a:pos x="csX979" y="csY979"/>
              </a:cxn>
              <a:cxn ang="0">
                <a:pos x="csX980" y="csY980"/>
              </a:cxn>
              <a:cxn ang="0">
                <a:pos x="csX981" y="csY981"/>
              </a:cxn>
              <a:cxn ang="0">
                <a:pos x="csX982" y="csY982"/>
              </a:cxn>
              <a:cxn ang="0">
                <a:pos x="csX983" y="csY983"/>
              </a:cxn>
              <a:cxn ang="0">
                <a:pos x="csX984" y="csY984"/>
              </a:cxn>
              <a:cxn ang="0">
                <a:pos x="csX985" y="csY985"/>
              </a:cxn>
              <a:cxn ang="0">
                <a:pos x="csX986" y="csY986"/>
              </a:cxn>
              <a:cxn ang="0">
                <a:pos x="csX987" y="csY987"/>
              </a:cxn>
              <a:cxn ang="0">
                <a:pos x="csX988" y="csY988"/>
              </a:cxn>
              <a:cxn ang="0">
                <a:pos x="csX989" y="csY989"/>
              </a:cxn>
              <a:cxn ang="0">
                <a:pos x="csX990" y="csY990"/>
              </a:cxn>
              <a:cxn ang="0">
                <a:pos x="csX991" y="csY991"/>
              </a:cxn>
              <a:cxn ang="0">
                <a:pos x="csX992" y="csY992"/>
              </a:cxn>
              <a:cxn ang="0">
                <a:pos x="csX993" y="csY993"/>
              </a:cxn>
              <a:cxn ang="0">
                <a:pos x="csX994" y="csY994"/>
              </a:cxn>
              <a:cxn ang="0">
                <a:pos x="csX995" y="csY995"/>
              </a:cxn>
              <a:cxn ang="0">
                <a:pos x="csX996" y="csY996"/>
              </a:cxn>
              <a:cxn ang="0">
                <a:pos x="csX997" y="csY997"/>
              </a:cxn>
              <a:cxn ang="0">
                <a:pos x="csX998" y="csY998"/>
              </a:cxn>
              <a:cxn ang="0">
                <a:pos x="csX999" y="csY999"/>
              </a:cxn>
              <a:cxn ang="0">
                <a:pos x="csX1000" y="csY1000"/>
              </a:cxn>
              <a:cxn ang="0">
                <a:pos x="csX1001" y="csY1001"/>
              </a:cxn>
              <a:cxn ang="0">
                <a:pos x="csX1002" y="csY1002"/>
              </a:cxn>
              <a:cxn ang="0">
                <a:pos x="csX1003" y="csY1003"/>
              </a:cxn>
              <a:cxn ang="0">
                <a:pos x="csX1004" y="csY1004"/>
              </a:cxn>
              <a:cxn ang="0">
                <a:pos x="csX1005" y="csY1005"/>
              </a:cxn>
              <a:cxn ang="0">
                <a:pos x="csX1006" y="csY1006"/>
              </a:cxn>
              <a:cxn ang="0">
                <a:pos x="csX1007" y="csY1007"/>
              </a:cxn>
              <a:cxn ang="0">
                <a:pos x="csX1008" y="csY1008"/>
              </a:cxn>
              <a:cxn ang="0">
                <a:pos x="csX1009" y="csY1009"/>
              </a:cxn>
              <a:cxn ang="0">
                <a:pos x="csX1010" y="csY1010"/>
              </a:cxn>
              <a:cxn ang="0">
                <a:pos x="csX1011" y="csY1011"/>
              </a:cxn>
              <a:cxn ang="0">
                <a:pos x="csX1012" y="csY1012"/>
              </a:cxn>
              <a:cxn ang="0">
                <a:pos x="csX1013" y="csY1013"/>
              </a:cxn>
              <a:cxn ang="0">
                <a:pos x="csX1014" y="csY1014"/>
              </a:cxn>
              <a:cxn ang="0">
                <a:pos x="csX1015" y="csY1015"/>
              </a:cxn>
              <a:cxn ang="0">
                <a:pos x="csX1016" y="csY1016"/>
              </a:cxn>
              <a:cxn ang="0">
                <a:pos x="csX1017" y="csY1017"/>
              </a:cxn>
              <a:cxn ang="0">
                <a:pos x="csX1018" y="csY1018"/>
              </a:cxn>
              <a:cxn ang="0">
                <a:pos x="csX1019" y="csY1019"/>
              </a:cxn>
              <a:cxn ang="0">
                <a:pos x="csX1020" y="csY1020"/>
              </a:cxn>
              <a:cxn ang="0">
                <a:pos x="csX1021" y="csY1021"/>
              </a:cxn>
              <a:cxn ang="0">
                <a:pos x="csX1022" y="csY1022"/>
              </a:cxn>
              <a:cxn ang="0">
                <a:pos x="csX1023" y="csY1023"/>
              </a:cxn>
              <a:cxn ang="0">
                <a:pos x="csX1024" y="csY1024"/>
              </a:cxn>
              <a:cxn ang="0">
                <a:pos x="csX1025" y="csY1025"/>
              </a:cxn>
              <a:cxn ang="0">
                <a:pos x="csX1026" y="csY1026"/>
              </a:cxn>
              <a:cxn ang="0">
                <a:pos x="csX1027" y="csY1027"/>
              </a:cxn>
              <a:cxn ang="0">
                <a:pos x="csX1028" y="csY1028"/>
              </a:cxn>
              <a:cxn ang="0">
                <a:pos x="csX1029" y="csY1029"/>
              </a:cxn>
              <a:cxn ang="0">
                <a:pos x="csX1030" y="csY1030"/>
              </a:cxn>
              <a:cxn ang="0">
                <a:pos x="csX1031" y="csY1031"/>
              </a:cxn>
              <a:cxn ang="0">
                <a:pos x="csX1032" y="csY1032"/>
              </a:cxn>
              <a:cxn ang="0">
                <a:pos x="csX1033" y="csY1033"/>
              </a:cxn>
              <a:cxn ang="0">
                <a:pos x="csX1034" y="csY1034"/>
              </a:cxn>
              <a:cxn ang="0">
                <a:pos x="csX1035" y="csY1035"/>
              </a:cxn>
              <a:cxn ang="0">
                <a:pos x="csX1036" y="csY1036"/>
              </a:cxn>
              <a:cxn ang="0">
                <a:pos x="csX1037" y="csY1037"/>
              </a:cxn>
              <a:cxn ang="0">
                <a:pos x="csX1038" y="csY1038"/>
              </a:cxn>
              <a:cxn ang="0">
                <a:pos x="csX1039" y="csY1039"/>
              </a:cxn>
              <a:cxn ang="0">
                <a:pos x="csX1040" y="csY1040"/>
              </a:cxn>
              <a:cxn ang="0">
                <a:pos x="csX1041" y="csY1041"/>
              </a:cxn>
              <a:cxn ang="0">
                <a:pos x="csX1042" y="csY1042"/>
              </a:cxn>
              <a:cxn ang="0">
                <a:pos x="csX1043" y="csY1043"/>
              </a:cxn>
              <a:cxn ang="0">
                <a:pos x="csX1044" y="csY1044"/>
              </a:cxn>
              <a:cxn ang="0">
                <a:pos x="csX1045" y="csY1045"/>
              </a:cxn>
              <a:cxn ang="0">
                <a:pos x="csX1046" y="csY1046"/>
              </a:cxn>
              <a:cxn ang="0">
                <a:pos x="csX1047" y="csY1047"/>
              </a:cxn>
              <a:cxn ang="0">
                <a:pos x="csX1048" y="csY1048"/>
              </a:cxn>
              <a:cxn ang="0">
                <a:pos x="csX1049" y="csY1049"/>
              </a:cxn>
              <a:cxn ang="0">
                <a:pos x="csX1050" y="csY1050"/>
              </a:cxn>
              <a:cxn ang="0">
                <a:pos x="csX1051" y="csY1051"/>
              </a:cxn>
              <a:cxn ang="0">
                <a:pos x="csX1052" y="csY1052"/>
              </a:cxn>
              <a:cxn ang="0">
                <a:pos x="csX1053" y="csY1053"/>
              </a:cxn>
              <a:cxn ang="0">
                <a:pos x="csX1054" y="csY1054"/>
              </a:cxn>
            </a:cxnLst>
            <a:rect l="l" t="t" r="r" b="b"/>
            <a:pathLst>
              <a:path w="1609516" h="1538630">
                <a:moveTo>
                  <a:pt x="401579" y="1495809"/>
                </a:moveTo>
                <a:lnTo>
                  <a:pt x="400190" y="1496004"/>
                </a:lnTo>
                <a:lnTo>
                  <a:pt x="401224" y="1496470"/>
                </a:lnTo>
                <a:lnTo>
                  <a:pt x="401224" y="1498590"/>
                </a:lnTo>
                <a:lnTo>
                  <a:pt x="401579" y="1498628"/>
                </a:lnTo>
                <a:cubicBezTo>
                  <a:pt x="401579" y="1497698"/>
                  <a:pt x="401579" y="1496768"/>
                  <a:pt x="401579" y="1495809"/>
                </a:cubicBezTo>
                <a:close/>
                <a:moveTo>
                  <a:pt x="368755" y="1486512"/>
                </a:moveTo>
                <a:lnTo>
                  <a:pt x="364089" y="1487354"/>
                </a:lnTo>
                <a:lnTo>
                  <a:pt x="364089" y="1487908"/>
                </a:lnTo>
                <a:close/>
                <a:moveTo>
                  <a:pt x="1049801" y="1484562"/>
                </a:moveTo>
                <a:lnTo>
                  <a:pt x="1046735" y="1485945"/>
                </a:lnTo>
                <a:lnTo>
                  <a:pt x="1046955" y="1486045"/>
                </a:lnTo>
                <a:lnTo>
                  <a:pt x="1049801" y="1485188"/>
                </a:lnTo>
                <a:close/>
                <a:moveTo>
                  <a:pt x="351234" y="1444508"/>
                </a:moveTo>
                <a:lnTo>
                  <a:pt x="351234" y="1444997"/>
                </a:lnTo>
                <a:lnTo>
                  <a:pt x="351592" y="1445078"/>
                </a:lnTo>
                <a:close/>
                <a:moveTo>
                  <a:pt x="351908" y="1431206"/>
                </a:moveTo>
                <a:lnTo>
                  <a:pt x="351234" y="1431611"/>
                </a:lnTo>
                <a:lnTo>
                  <a:pt x="351234" y="1432274"/>
                </a:lnTo>
                <a:close/>
                <a:moveTo>
                  <a:pt x="358162" y="1421494"/>
                </a:moveTo>
                <a:lnTo>
                  <a:pt x="355921" y="1423156"/>
                </a:lnTo>
                <a:lnTo>
                  <a:pt x="355921" y="1423548"/>
                </a:lnTo>
                <a:close/>
                <a:moveTo>
                  <a:pt x="376098" y="1408347"/>
                </a:moveTo>
                <a:lnTo>
                  <a:pt x="370750" y="1412245"/>
                </a:lnTo>
                <a:lnTo>
                  <a:pt x="375023" y="1411256"/>
                </a:lnTo>
                <a:close/>
                <a:moveTo>
                  <a:pt x="421956" y="1365623"/>
                </a:moveTo>
                <a:lnTo>
                  <a:pt x="421765" y="1366161"/>
                </a:lnTo>
                <a:lnTo>
                  <a:pt x="421887" y="1366161"/>
                </a:lnTo>
                <a:close/>
                <a:moveTo>
                  <a:pt x="754553" y="1360575"/>
                </a:moveTo>
                <a:lnTo>
                  <a:pt x="754089" y="1361433"/>
                </a:lnTo>
                <a:lnTo>
                  <a:pt x="754431" y="1361125"/>
                </a:lnTo>
                <a:close/>
                <a:moveTo>
                  <a:pt x="1277973" y="1332923"/>
                </a:moveTo>
                <a:lnTo>
                  <a:pt x="1277944" y="1332936"/>
                </a:lnTo>
                <a:lnTo>
                  <a:pt x="1277949" y="1333139"/>
                </a:lnTo>
                <a:close/>
                <a:moveTo>
                  <a:pt x="1268556" y="1321066"/>
                </a:moveTo>
                <a:cubicBezTo>
                  <a:pt x="1268556" y="1322461"/>
                  <a:pt x="1268556" y="1323856"/>
                  <a:pt x="1268556" y="1325294"/>
                </a:cubicBezTo>
                <a:cubicBezTo>
                  <a:pt x="1267525" y="1325294"/>
                  <a:pt x="1266495" y="1325294"/>
                  <a:pt x="1265432" y="1325294"/>
                </a:cubicBezTo>
                <a:cubicBezTo>
                  <a:pt x="1265432" y="1330409"/>
                  <a:pt x="1265432" y="1335525"/>
                  <a:pt x="1265432" y="1340795"/>
                </a:cubicBezTo>
                <a:lnTo>
                  <a:pt x="1265476" y="1340714"/>
                </a:lnTo>
                <a:lnTo>
                  <a:pt x="1265476" y="1325877"/>
                </a:lnTo>
                <a:cubicBezTo>
                  <a:pt x="1266507" y="1325877"/>
                  <a:pt x="1267538" y="1325877"/>
                  <a:pt x="1268600" y="1325877"/>
                </a:cubicBezTo>
                <a:cubicBezTo>
                  <a:pt x="1268600" y="1324482"/>
                  <a:pt x="1268600" y="1323086"/>
                  <a:pt x="1268600" y="1321649"/>
                </a:cubicBezTo>
                <a:cubicBezTo>
                  <a:pt x="1270147" y="1321649"/>
                  <a:pt x="1271693" y="1321649"/>
                  <a:pt x="1273286" y="1321649"/>
                </a:cubicBezTo>
                <a:lnTo>
                  <a:pt x="1273227" y="1321066"/>
                </a:lnTo>
                <a:close/>
                <a:moveTo>
                  <a:pt x="827891" y="1291474"/>
                </a:moveTo>
                <a:lnTo>
                  <a:pt x="822601" y="1291544"/>
                </a:lnTo>
                <a:lnTo>
                  <a:pt x="818272" y="1292220"/>
                </a:lnTo>
                <a:lnTo>
                  <a:pt x="827891" y="1292047"/>
                </a:lnTo>
                <a:close/>
                <a:moveTo>
                  <a:pt x="856397" y="1288691"/>
                </a:moveTo>
                <a:lnTo>
                  <a:pt x="865903" y="1290590"/>
                </a:lnTo>
                <a:lnTo>
                  <a:pt x="859999" y="1288752"/>
                </a:lnTo>
                <a:close/>
                <a:moveTo>
                  <a:pt x="834694" y="1288572"/>
                </a:moveTo>
                <a:lnTo>
                  <a:pt x="828038" y="1288654"/>
                </a:lnTo>
                <a:lnTo>
                  <a:pt x="828038" y="1289214"/>
                </a:lnTo>
                <a:close/>
                <a:moveTo>
                  <a:pt x="229746" y="1191418"/>
                </a:moveTo>
                <a:lnTo>
                  <a:pt x="227402" y="1191947"/>
                </a:lnTo>
                <a:lnTo>
                  <a:pt x="229315" y="1191947"/>
                </a:lnTo>
                <a:cubicBezTo>
                  <a:pt x="229315" y="1192877"/>
                  <a:pt x="229315" y="1193807"/>
                  <a:pt x="229315" y="1194765"/>
                </a:cubicBezTo>
                <a:lnTo>
                  <a:pt x="231321" y="1194765"/>
                </a:lnTo>
                <a:lnTo>
                  <a:pt x="229746" y="1194236"/>
                </a:lnTo>
                <a:cubicBezTo>
                  <a:pt x="229746" y="1193306"/>
                  <a:pt x="229746" y="1192376"/>
                  <a:pt x="229746" y="1191418"/>
                </a:cubicBezTo>
                <a:close/>
                <a:moveTo>
                  <a:pt x="215687" y="1187190"/>
                </a:moveTo>
                <a:lnTo>
                  <a:pt x="215198" y="1187720"/>
                </a:lnTo>
                <a:lnTo>
                  <a:pt x="215256" y="1187720"/>
                </a:lnTo>
                <a:cubicBezTo>
                  <a:pt x="215256" y="1189115"/>
                  <a:pt x="215256" y="1190510"/>
                  <a:pt x="215256" y="1191947"/>
                </a:cubicBezTo>
                <a:lnTo>
                  <a:pt x="222721" y="1191947"/>
                </a:lnTo>
                <a:lnTo>
                  <a:pt x="215687" y="1191418"/>
                </a:lnTo>
                <a:cubicBezTo>
                  <a:pt x="215687" y="1190023"/>
                  <a:pt x="215687" y="1188628"/>
                  <a:pt x="215687" y="1187190"/>
                </a:cubicBezTo>
                <a:close/>
                <a:moveTo>
                  <a:pt x="1279678" y="1082356"/>
                </a:moveTo>
                <a:lnTo>
                  <a:pt x="1271680" y="1084589"/>
                </a:lnTo>
                <a:lnTo>
                  <a:pt x="1282181" y="1082544"/>
                </a:lnTo>
                <a:close/>
                <a:moveTo>
                  <a:pt x="117703" y="941507"/>
                </a:moveTo>
                <a:lnTo>
                  <a:pt x="112587" y="941985"/>
                </a:lnTo>
                <a:lnTo>
                  <a:pt x="112565" y="942333"/>
                </a:lnTo>
                <a:lnTo>
                  <a:pt x="115665" y="941837"/>
                </a:lnTo>
                <a:close/>
                <a:moveTo>
                  <a:pt x="144268" y="939395"/>
                </a:moveTo>
                <a:lnTo>
                  <a:pt x="143354" y="939580"/>
                </a:lnTo>
                <a:lnTo>
                  <a:pt x="144077" y="939739"/>
                </a:lnTo>
                <a:close/>
                <a:moveTo>
                  <a:pt x="162575" y="933530"/>
                </a:moveTo>
                <a:lnTo>
                  <a:pt x="161704" y="935101"/>
                </a:lnTo>
                <a:lnTo>
                  <a:pt x="170045" y="933585"/>
                </a:lnTo>
                <a:close/>
                <a:moveTo>
                  <a:pt x="1321645" y="918415"/>
                </a:moveTo>
                <a:lnTo>
                  <a:pt x="1321534" y="920177"/>
                </a:lnTo>
                <a:lnTo>
                  <a:pt x="1321740" y="918415"/>
                </a:lnTo>
                <a:close/>
                <a:moveTo>
                  <a:pt x="1319333" y="915183"/>
                </a:moveTo>
                <a:lnTo>
                  <a:pt x="1318544" y="918029"/>
                </a:lnTo>
                <a:lnTo>
                  <a:pt x="1318702" y="918029"/>
                </a:lnTo>
                <a:close/>
                <a:moveTo>
                  <a:pt x="1326355" y="907109"/>
                </a:moveTo>
                <a:lnTo>
                  <a:pt x="1326355" y="910983"/>
                </a:lnTo>
                <a:lnTo>
                  <a:pt x="1325831" y="911101"/>
                </a:lnTo>
                <a:lnTo>
                  <a:pt x="1326426" y="911369"/>
                </a:lnTo>
                <a:cubicBezTo>
                  <a:pt x="1326426" y="909974"/>
                  <a:pt x="1326426" y="908579"/>
                  <a:pt x="1326426" y="907141"/>
                </a:cubicBezTo>
                <a:close/>
                <a:moveTo>
                  <a:pt x="1328144" y="892192"/>
                </a:moveTo>
                <a:lnTo>
                  <a:pt x="1327667" y="893446"/>
                </a:lnTo>
                <a:lnTo>
                  <a:pt x="1327989" y="893049"/>
                </a:lnTo>
                <a:close/>
                <a:moveTo>
                  <a:pt x="49605" y="887420"/>
                </a:moveTo>
                <a:lnTo>
                  <a:pt x="48549" y="891229"/>
                </a:lnTo>
                <a:lnTo>
                  <a:pt x="49956" y="887420"/>
                </a:lnTo>
                <a:close/>
                <a:moveTo>
                  <a:pt x="1332266" y="883369"/>
                </a:moveTo>
                <a:lnTo>
                  <a:pt x="1329479" y="884207"/>
                </a:lnTo>
                <a:lnTo>
                  <a:pt x="1329509" y="884816"/>
                </a:lnTo>
                <a:lnTo>
                  <a:pt x="1329551" y="884594"/>
                </a:lnTo>
                <a:close/>
                <a:moveTo>
                  <a:pt x="1555987" y="821766"/>
                </a:moveTo>
                <a:lnTo>
                  <a:pt x="1555987" y="822201"/>
                </a:lnTo>
                <a:lnTo>
                  <a:pt x="1556081" y="822189"/>
                </a:lnTo>
                <a:close/>
                <a:moveTo>
                  <a:pt x="1565360" y="810928"/>
                </a:moveTo>
                <a:lnTo>
                  <a:pt x="1564871" y="811809"/>
                </a:lnTo>
                <a:lnTo>
                  <a:pt x="1567314" y="810928"/>
                </a:lnTo>
                <a:close/>
                <a:moveTo>
                  <a:pt x="1563797" y="810928"/>
                </a:moveTo>
                <a:lnTo>
                  <a:pt x="1556762" y="814736"/>
                </a:lnTo>
                <a:lnTo>
                  <a:pt x="1563797" y="812197"/>
                </a:lnTo>
                <a:close/>
                <a:moveTo>
                  <a:pt x="265833" y="806020"/>
                </a:moveTo>
                <a:lnTo>
                  <a:pt x="263704" y="809861"/>
                </a:lnTo>
                <a:lnTo>
                  <a:pt x="263704" y="816750"/>
                </a:lnTo>
                <a:lnTo>
                  <a:pt x="264113" y="816565"/>
                </a:lnTo>
                <a:cubicBezTo>
                  <a:pt x="264048" y="815315"/>
                  <a:pt x="263984" y="814065"/>
                  <a:pt x="263918" y="812777"/>
                </a:cubicBezTo>
                <a:close/>
                <a:moveTo>
                  <a:pt x="263774" y="779374"/>
                </a:moveTo>
                <a:lnTo>
                  <a:pt x="263704" y="783086"/>
                </a:lnTo>
                <a:cubicBezTo>
                  <a:pt x="263961" y="783987"/>
                  <a:pt x="264219" y="784888"/>
                  <a:pt x="264484" y="785816"/>
                </a:cubicBezTo>
                <a:cubicBezTo>
                  <a:pt x="265299" y="788846"/>
                  <a:pt x="265316" y="791337"/>
                  <a:pt x="265265" y="794448"/>
                </a:cubicBezTo>
                <a:cubicBezTo>
                  <a:pt x="265103" y="797155"/>
                  <a:pt x="265022" y="798508"/>
                  <a:pt x="265217" y="799730"/>
                </a:cubicBezTo>
                <a:lnTo>
                  <a:pt x="266556" y="803466"/>
                </a:lnTo>
                <a:lnTo>
                  <a:pt x="267237" y="801063"/>
                </a:lnTo>
                <a:cubicBezTo>
                  <a:pt x="266721" y="800598"/>
                  <a:pt x="266206" y="800133"/>
                  <a:pt x="265675" y="799654"/>
                </a:cubicBezTo>
                <a:cubicBezTo>
                  <a:pt x="265601" y="797718"/>
                  <a:pt x="265617" y="795778"/>
                  <a:pt x="265675" y="793841"/>
                </a:cubicBezTo>
                <a:close/>
                <a:moveTo>
                  <a:pt x="260988" y="770061"/>
                </a:moveTo>
                <a:lnTo>
                  <a:pt x="260988" y="771364"/>
                </a:lnTo>
                <a:lnTo>
                  <a:pt x="263497" y="777263"/>
                </a:lnTo>
                <a:lnTo>
                  <a:pt x="262551" y="770061"/>
                </a:lnTo>
                <a:cubicBezTo>
                  <a:pt x="262035" y="770061"/>
                  <a:pt x="261520" y="770061"/>
                  <a:pt x="260988" y="770061"/>
                </a:cubicBezTo>
                <a:close/>
                <a:moveTo>
                  <a:pt x="157888" y="651686"/>
                </a:moveTo>
                <a:lnTo>
                  <a:pt x="157415" y="651764"/>
                </a:lnTo>
                <a:lnTo>
                  <a:pt x="160373" y="652274"/>
                </a:lnTo>
                <a:close/>
                <a:moveTo>
                  <a:pt x="267237" y="426537"/>
                </a:moveTo>
                <a:lnTo>
                  <a:pt x="267237" y="427619"/>
                </a:lnTo>
                <a:cubicBezTo>
                  <a:pt x="268274" y="427791"/>
                  <a:pt x="269311" y="427961"/>
                  <a:pt x="270380" y="428137"/>
                </a:cubicBezTo>
                <a:lnTo>
                  <a:pt x="273548" y="428680"/>
                </a:lnTo>
                <a:close/>
                <a:moveTo>
                  <a:pt x="37605" y="359270"/>
                </a:moveTo>
                <a:lnTo>
                  <a:pt x="37103" y="361533"/>
                </a:lnTo>
                <a:lnTo>
                  <a:pt x="37605" y="361382"/>
                </a:lnTo>
                <a:close/>
                <a:moveTo>
                  <a:pt x="52477" y="337570"/>
                </a:moveTo>
                <a:lnTo>
                  <a:pt x="47288" y="342340"/>
                </a:lnTo>
                <a:lnTo>
                  <a:pt x="45805" y="345093"/>
                </a:lnTo>
                <a:close/>
                <a:moveTo>
                  <a:pt x="104291" y="336166"/>
                </a:moveTo>
                <a:lnTo>
                  <a:pt x="103776" y="337559"/>
                </a:lnTo>
                <a:lnTo>
                  <a:pt x="108925" y="336166"/>
                </a:lnTo>
                <a:close/>
                <a:moveTo>
                  <a:pt x="1309237" y="322954"/>
                </a:moveTo>
                <a:lnTo>
                  <a:pt x="1309180" y="330559"/>
                </a:lnTo>
                <a:lnTo>
                  <a:pt x="1309237" y="330520"/>
                </a:lnTo>
                <a:close/>
                <a:moveTo>
                  <a:pt x="1308964" y="317715"/>
                </a:moveTo>
                <a:lnTo>
                  <a:pt x="1309237" y="318569"/>
                </a:lnTo>
                <a:lnTo>
                  <a:pt x="1309237" y="317838"/>
                </a:lnTo>
                <a:close/>
                <a:moveTo>
                  <a:pt x="1310087" y="313153"/>
                </a:moveTo>
                <a:lnTo>
                  <a:pt x="1307609" y="313473"/>
                </a:lnTo>
                <a:lnTo>
                  <a:pt x="1308045" y="314836"/>
                </a:lnTo>
                <a:close/>
                <a:moveTo>
                  <a:pt x="1318544" y="312064"/>
                </a:moveTo>
                <a:lnTo>
                  <a:pt x="1316298" y="312353"/>
                </a:lnTo>
                <a:lnTo>
                  <a:pt x="1318544" y="312205"/>
                </a:lnTo>
                <a:close/>
                <a:moveTo>
                  <a:pt x="1084622" y="267674"/>
                </a:moveTo>
                <a:lnTo>
                  <a:pt x="1084227" y="268378"/>
                </a:lnTo>
                <a:cubicBezTo>
                  <a:pt x="1082679" y="268378"/>
                  <a:pt x="1081133" y="268378"/>
                  <a:pt x="1079540" y="268378"/>
                </a:cubicBezTo>
                <a:lnTo>
                  <a:pt x="1079603" y="268477"/>
                </a:lnTo>
                <a:lnTo>
                  <a:pt x="1084192" y="268477"/>
                </a:lnTo>
                <a:close/>
                <a:moveTo>
                  <a:pt x="956410" y="266968"/>
                </a:moveTo>
                <a:lnTo>
                  <a:pt x="957576" y="267083"/>
                </a:lnTo>
                <a:lnTo>
                  <a:pt x="957576" y="269776"/>
                </a:lnTo>
                <a:lnTo>
                  <a:pt x="957694" y="269787"/>
                </a:lnTo>
                <a:cubicBezTo>
                  <a:pt x="957694" y="268857"/>
                  <a:pt x="957694" y="267927"/>
                  <a:pt x="957694" y="266968"/>
                </a:cubicBezTo>
                <a:close/>
                <a:moveTo>
                  <a:pt x="1089372" y="259220"/>
                </a:moveTo>
                <a:lnTo>
                  <a:pt x="1085856" y="265479"/>
                </a:lnTo>
                <a:lnTo>
                  <a:pt x="1088878" y="261431"/>
                </a:lnTo>
                <a:close/>
                <a:moveTo>
                  <a:pt x="1018517" y="223356"/>
                </a:moveTo>
                <a:lnTo>
                  <a:pt x="1013866" y="226190"/>
                </a:lnTo>
                <a:lnTo>
                  <a:pt x="1013024" y="227709"/>
                </a:lnTo>
                <a:lnTo>
                  <a:pt x="1017055" y="224692"/>
                </a:lnTo>
                <a:close/>
                <a:moveTo>
                  <a:pt x="850645" y="220099"/>
                </a:moveTo>
                <a:lnTo>
                  <a:pt x="850897" y="221488"/>
                </a:lnTo>
                <a:cubicBezTo>
                  <a:pt x="851086" y="222545"/>
                  <a:pt x="851275" y="223602"/>
                  <a:pt x="851470" y="224692"/>
                </a:cubicBezTo>
                <a:lnTo>
                  <a:pt x="852860" y="224692"/>
                </a:lnTo>
                <a:close/>
                <a:moveTo>
                  <a:pt x="1155019" y="35"/>
                </a:moveTo>
                <a:cubicBezTo>
                  <a:pt x="1161775" y="275"/>
                  <a:pt x="1168415" y="1783"/>
                  <a:pt x="1174829" y="4853"/>
                </a:cubicBezTo>
                <a:cubicBezTo>
                  <a:pt x="1176343" y="5231"/>
                  <a:pt x="1177858" y="5609"/>
                  <a:pt x="1179418" y="5998"/>
                </a:cubicBezTo>
                <a:cubicBezTo>
                  <a:pt x="1189392" y="9487"/>
                  <a:pt x="1196322" y="14392"/>
                  <a:pt x="1201385" y="22997"/>
                </a:cubicBezTo>
                <a:cubicBezTo>
                  <a:pt x="1206849" y="35244"/>
                  <a:pt x="1206940" y="49865"/>
                  <a:pt x="1201678" y="62191"/>
                </a:cubicBezTo>
                <a:cubicBezTo>
                  <a:pt x="1200594" y="64241"/>
                  <a:pt x="1199461" y="66271"/>
                  <a:pt x="1198261" y="68268"/>
                </a:cubicBezTo>
                <a:cubicBezTo>
                  <a:pt x="1197423" y="69721"/>
                  <a:pt x="1196586" y="71175"/>
                  <a:pt x="1195723" y="72672"/>
                </a:cubicBezTo>
                <a:cubicBezTo>
                  <a:pt x="1194659" y="73980"/>
                  <a:pt x="1194659" y="73980"/>
                  <a:pt x="1193575" y="75314"/>
                </a:cubicBezTo>
                <a:cubicBezTo>
                  <a:pt x="1192544" y="75314"/>
                  <a:pt x="1191512" y="75314"/>
                  <a:pt x="1190450" y="75314"/>
                </a:cubicBezTo>
                <a:cubicBezTo>
                  <a:pt x="1190128" y="76651"/>
                  <a:pt x="1189806" y="77988"/>
                  <a:pt x="1189474" y="79366"/>
                </a:cubicBezTo>
                <a:cubicBezTo>
                  <a:pt x="1187326" y="83769"/>
                  <a:pt x="1187326" y="83769"/>
                  <a:pt x="1182445" y="85707"/>
                </a:cubicBezTo>
                <a:cubicBezTo>
                  <a:pt x="1180962" y="85998"/>
                  <a:pt x="1179480" y="86289"/>
                  <a:pt x="1177953" y="86588"/>
                </a:cubicBezTo>
                <a:cubicBezTo>
                  <a:pt x="1177953" y="87518"/>
                  <a:pt x="1177953" y="88448"/>
                  <a:pt x="1177953" y="89406"/>
                </a:cubicBezTo>
                <a:cubicBezTo>
                  <a:pt x="1175369" y="91088"/>
                  <a:pt x="1172720" y="92688"/>
                  <a:pt x="1170045" y="94251"/>
                </a:cubicBezTo>
                <a:cubicBezTo>
                  <a:pt x="1154651" y="104199"/>
                  <a:pt x="1148918" y="116979"/>
                  <a:pt x="1143806" y="132828"/>
                </a:cubicBezTo>
                <a:cubicBezTo>
                  <a:pt x="1142095" y="137144"/>
                  <a:pt x="1140989" y="138617"/>
                  <a:pt x="1137338" y="141548"/>
                </a:cubicBezTo>
                <a:cubicBezTo>
                  <a:pt x="1136166" y="144148"/>
                  <a:pt x="1134992" y="146751"/>
                  <a:pt x="1133970" y="149403"/>
                </a:cubicBezTo>
                <a:cubicBezTo>
                  <a:pt x="1132069" y="154334"/>
                  <a:pt x="1130006" y="159210"/>
                  <a:pt x="1127965" y="164095"/>
                </a:cubicBezTo>
                <a:cubicBezTo>
                  <a:pt x="1126897" y="166664"/>
                  <a:pt x="1125830" y="169233"/>
                  <a:pt x="1124762" y="171802"/>
                </a:cubicBezTo>
                <a:cubicBezTo>
                  <a:pt x="1122961" y="176134"/>
                  <a:pt x="1121160" y="180466"/>
                  <a:pt x="1119359" y="184798"/>
                </a:cubicBezTo>
                <a:cubicBezTo>
                  <a:pt x="1116567" y="191508"/>
                  <a:pt x="1113778" y="198220"/>
                  <a:pt x="1111014" y="204941"/>
                </a:cubicBezTo>
                <a:cubicBezTo>
                  <a:pt x="1110590" y="205970"/>
                  <a:pt x="1110165" y="206999"/>
                  <a:pt x="1109729" y="208059"/>
                </a:cubicBezTo>
                <a:cubicBezTo>
                  <a:pt x="1108615" y="210762"/>
                  <a:pt x="1107505" y="213466"/>
                  <a:pt x="1106395" y="216170"/>
                </a:cubicBezTo>
                <a:cubicBezTo>
                  <a:pt x="1104320" y="220956"/>
                  <a:pt x="1103283" y="223349"/>
                  <a:pt x="1102147" y="224810"/>
                </a:cubicBezTo>
                <a:lnTo>
                  <a:pt x="1098261" y="227262"/>
                </a:lnTo>
                <a:lnTo>
                  <a:pt x="1098367" y="238475"/>
                </a:lnTo>
                <a:cubicBezTo>
                  <a:pt x="1098025" y="239757"/>
                  <a:pt x="1097684" y="241038"/>
                  <a:pt x="1097331" y="242358"/>
                </a:cubicBezTo>
                <a:cubicBezTo>
                  <a:pt x="1096958" y="243711"/>
                  <a:pt x="1096585" y="245064"/>
                  <a:pt x="1096201" y="246458"/>
                </a:cubicBezTo>
                <a:cubicBezTo>
                  <a:pt x="1093302" y="257363"/>
                  <a:pt x="1090901" y="268062"/>
                  <a:pt x="1089440" y="279206"/>
                </a:cubicBezTo>
                <a:cubicBezTo>
                  <a:pt x="1088878" y="282569"/>
                  <a:pt x="1088878" y="282569"/>
                  <a:pt x="1087316" y="283978"/>
                </a:cubicBezTo>
                <a:cubicBezTo>
                  <a:pt x="1087070" y="286587"/>
                  <a:pt x="1086924" y="289205"/>
                  <a:pt x="1086822" y="291822"/>
                </a:cubicBezTo>
                <a:cubicBezTo>
                  <a:pt x="1086756" y="293408"/>
                  <a:pt x="1086691" y="294993"/>
                  <a:pt x="1086623" y="296625"/>
                </a:cubicBezTo>
                <a:cubicBezTo>
                  <a:pt x="1086562" y="298294"/>
                  <a:pt x="1086501" y="299962"/>
                  <a:pt x="1086437" y="301681"/>
                </a:cubicBezTo>
                <a:cubicBezTo>
                  <a:pt x="1086336" y="304192"/>
                  <a:pt x="1086336" y="304192"/>
                  <a:pt x="1086233" y="306754"/>
                </a:cubicBezTo>
                <a:lnTo>
                  <a:pt x="1086007" y="312619"/>
                </a:lnTo>
                <a:lnTo>
                  <a:pt x="1087470" y="320554"/>
                </a:lnTo>
                <a:cubicBezTo>
                  <a:pt x="1089648" y="325409"/>
                  <a:pt x="1093111" y="329799"/>
                  <a:pt x="1098285" y="334611"/>
                </a:cubicBezTo>
                <a:cubicBezTo>
                  <a:pt x="1100424" y="336130"/>
                  <a:pt x="1100424" y="336130"/>
                  <a:pt x="1102607" y="337679"/>
                </a:cubicBezTo>
                <a:cubicBezTo>
                  <a:pt x="1104334" y="338951"/>
                  <a:pt x="1104334" y="338951"/>
                  <a:pt x="1106095" y="340248"/>
                </a:cubicBezTo>
                <a:cubicBezTo>
                  <a:pt x="1106095" y="341178"/>
                  <a:pt x="1106095" y="342108"/>
                  <a:pt x="1106095" y="343066"/>
                </a:cubicBezTo>
                <a:cubicBezTo>
                  <a:pt x="1107127" y="343183"/>
                  <a:pt x="1108158" y="343299"/>
                  <a:pt x="1109220" y="343419"/>
                </a:cubicBezTo>
                <a:cubicBezTo>
                  <a:pt x="1115473" y="344829"/>
                  <a:pt x="1120724" y="347416"/>
                  <a:pt x="1126403" y="350112"/>
                </a:cubicBezTo>
                <a:cubicBezTo>
                  <a:pt x="1128207" y="350926"/>
                  <a:pt x="1130012" y="351740"/>
                  <a:pt x="1131871" y="352579"/>
                </a:cubicBezTo>
                <a:cubicBezTo>
                  <a:pt x="1133159" y="353160"/>
                  <a:pt x="1134448" y="353741"/>
                  <a:pt x="1135776" y="354340"/>
                </a:cubicBezTo>
                <a:cubicBezTo>
                  <a:pt x="1135776" y="355270"/>
                  <a:pt x="1135776" y="356200"/>
                  <a:pt x="1135776" y="357158"/>
                </a:cubicBezTo>
                <a:cubicBezTo>
                  <a:pt x="1148107" y="360029"/>
                  <a:pt x="1158679" y="359101"/>
                  <a:pt x="1170143" y="354340"/>
                </a:cubicBezTo>
                <a:cubicBezTo>
                  <a:pt x="1172366" y="353468"/>
                  <a:pt x="1172366" y="353468"/>
                  <a:pt x="1174634" y="352579"/>
                </a:cubicBezTo>
                <a:cubicBezTo>
                  <a:pt x="1180354" y="349689"/>
                  <a:pt x="1185568" y="346355"/>
                  <a:pt x="1190890" y="342907"/>
                </a:cubicBezTo>
                <a:cubicBezTo>
                  <a:pt x="1195169" y="340228"/>
                  <a:pt x="1199557" y="337821"/>
                  <a:pt x="1204021" y="335404"/>
                </a:cubicBezTo>
                <a:cubicBezTo>
                  <a:pt x="1211989" y="330886"/>
                  <a:pt x="1217509" y="325766"/>
                  <a:pt x="1223255" y="319110"/>
                </a:cubicBezTo>
                <a:cubicBezTo>
                  <a:pt x="1224447" y="317947"/>
                  <a:pt x="1225639" y="316784"/>
                  <a:pt x="1226868" y="315587"/>
                </a:cubicBezTo>
                <a:cubicBezTo>
                  <a:pt x="1229855" y="311593"/>
                  <a:pt x="1230852" y="308240"/>
                  <a:pt x="1231859" y="303559"/>
                </a:cubicBezTo>
                <a:cubicBezTo>
                  <a:pt x="1232628" y="300790"/>
                  <a:pt x="1232628" y="300790"/>
                  <a:pt x="1234178" y="298059"/>
                </a:cubicBezTo>
                <a:cubicBezTo>
                  <a:pt x="1235964" y="294761"/>
                  <a:pt x="1236623" y="291807"/>
                  <a:pt x="1237314" y="288195"/>
                </a:cubicBezTo>
                <a:cubicBezTo>
                  <a:pt x="1239360" y="278571"/>
                  <a:pt x="1242414" y="272733"/>
                  <a:pt x="1249811" y="265559"/>
                </a:cubicBezTo>
                <a:cubicBezTo>
                  <a:pt x="1250842" y="265559"/>
                  <a:pt x="1251873" y="265559"/>
                  <a:pt x="1252935" y="265559"/>
                </a:cubicBezTo>
                <a:cubicBezTo>
                  <a:pt x="1252935" y="264629"/>
                  <a:pt x="1252935" y="263699"/>
                  <a:pt x="1252935" y="262741"/>
                </a:cubicBezTo>
                <a:cubicBezTo>
                  <a:pt x="1265591" y="253427"/>
                  <a:pt x="1280762" y="251648"/>
                  <a:pt x="1296675" y="252876"/>
                </a:cubicBezTo>
                <a:cubicBezTo>
                  <a:pt x="1300535" y="253563"/>
                  <a:pt x="1303901" y="254478"/>
                  <a:pt x="1307609" y="255695"/>
                </a:cubicBezTo>
                <a:cubicBezTo>
                  <a:pt x="1307609" y="256625"/>
                  <a:pt x="1307609" y="257555"/>
                  <a:pt x="1307609" y="258513"/>
                </a:cubicBezTo>
                <a:cubicBezTo>
                  <a:pt x="1309021" y="258619"/>
                  <a:pt x="1310432" y="258723"/>
                  <a:pt x="1311887" y="258832"/>
                </a:cubicBezTo>
                <a:cubicBezTo>
                  <a:pt x="1319573" y="260476"/>
                  <a:pt x="1322149" y="264416"/>
                  <a:pt x="1326715" y="269969"/>
                </a:cubicBezTo>
                <a:cubicBezTo>
                  <a:pt x="1334402" y="281220"/>
                  <a:pt x="1336114" y="294839"/>
                  <a:pt x="1334165" y="307836"/>
                </a:cubicBezTo>
                <a:cubicBezTo>
                  <a:pt x="1332176" y="311898"/>
                  <a:pt x="1332176" y="311898"/>
                  <a:pt x="1329479" y="314882"/>
                </a:cubicBezTo>
                <a:cubicBezTo>
                  <a:pt x="1327417" y="314882"/>
                  <a:pt x="1325355" y="314882"/>
                  <a:pt x="1323231" y="314882"/>
                </a:cubicBezTo>
                <a:cubicBezTo>
                  <a:pt x="1323231" y="315812"/>
                  <a:pt x="1323231" y="316742"/>
                  <a:pt x="1323231" y="317700"/>
                </a:cubicBezTo>
                <a:lnTo>
                  <a:pt x="1322774" y="317838"/>
                </a:lnTo>
                <a:lnTo>
                  <a:pt x="1323295" y="317838"/>
                </a:lnTo>
                <a:cubicBezTo>
                  <a:pt x="1323295" y="316907"/>
                  <a:pt x="1323295" y="315977"/>
                  <a:pt x="1323295" y="315019"/>
                </a:cubicBezTo>
                <a:cubicBezTo>
                  <a:pt x="1324842" y="315019"/>
                  <a:pt x="1326388" y="315019"/>
                  <a:pt x="1327982" y="315019"/>
                </a:cubicBezTo>
                <a:cubicBezTo>
                  <a:pt x="1325845" y="321328"/>
                  <a:pt x="1322753" y="323742"/>
                  <a:pt x="1317047" y="327702"/>
                </a:cubicBezTo>
                <a:cubicBezTo>
                  <a:pt x="1316531" y="329097"/>
                  <a:pt x="1316016" y="330492"/>
                  <a:pt x="1315484" y="331930"/>
                </a:cubicBezTo>
                <a:cubicBezTo>
                  <a:pt x="1312599" y="332959"/>
                  <a:pt x="1312599" y="332959"/>
                  <a:pt x="1309139" y="333603"/>
                </a:cubicBezTo>
                <a:cubicBezTo>
                  <a:pt x="1307993" y="333827"/>
                  <a:pt x="1306847" y="334050"/>
                  <a:pt x="1305666" y="334280"/>
                </a:cubicBezTo>
                <a:cubicBezTo>
                  <a:pt x="1304783" y="334434"/>
                  <a:pt x="1303899" y="334589"/>
                  <a:pt x="1302988" y="334748"/>
                </a:cubicBezTo>
                <a:lnTo>
                  <a:pt x="1305905" y="332775"/>
                </a:lnTo>
                <a:lnTo>
                  <a:pt x="1304485" y="333202"/>
                </a:lnTo>
                <a:cubicBezTo>
                  <a:pt x="1302987" y="334640"/>
                  <a:pt x="1302987" y="334640"/>
                  <a:pt x="1301459" y="336108"/>
                </a:cubicBezTo>
                <a:cubicBezTo>
                  <a:pt x="1298237" y="338839"/>
                  <a:pt x="1298237" y="338839"/>
                  <a:pt x="1291989" y="338839"/>
                </a:cubicBezTo>
                <a:cubicBezTo>
                  <a:pt x="1291473" y="340234"/>
                  <a:pt x="1290957" y="341629"/>
                  <a:pt x="1290426" y="343066"/>
                </a:cubicBezTo>
                <a:cubicBezTo>
                  <a:pt x="1288879" y="343415"/>
                  <a:pt x="1287333" y="343764"/>
                  <a:pt x="1285740" y="344123"/>
                </a:cubicBezTo>
                <a:cubicBezTo>
                  <a:pt x="1266905" y="348491"/>
                  <a:pt x="1249005" y="369098"/>
                  <a:pt x="1237314" y="382525"/>
                </a:cubicBezTo>
                <a:cubicBezTo>
                  <a:pt x="1235678" y="385783"/>
                  <a:pt x="1234122" y="389075"/>
                  <a:pt x="1232628" y="392389"/>
                </a:cubicBezTo>
                <a:cubicBezTo>
                  <a:pt x="1231317" y="394515"/>
                  <a:pt x="1229981" y="396629"/>
                  <a:pt x="1228625" y="398731"/>
                </a:cubicBezTo>
                <a:cubicBezTo>
                  <a:pt x="1221457" y="410300"/>
                  <a:pt x="1219465" y="421836"/>
                  <a:pt x="1222822" y="434798"/>
                </a:cubicBezTo>
                <a:cubicBezTo>
                  <a:pt x="1229360" y="453710"/>
                  <a:pt x="1244088" y="472467"/>
                  <a:pt x="1260746" y="485398"/>
                </a:cubicBezTo>
                <a:cubicBezTo>
                  <a:pt x="1264961" y="487349"/>
                  <a:pt x="1264961" y="487349"/>
                  <a:pt x="1268556" y="488216"/>
                </a:cubicBezTo>
                <a:cubicBezTo>
                  <a:pt x="1268556" y="489146"/>
                  <a:pt x="1268556" y="490076"/>
                  <a:pt x="1268556" y="491034"/>
                </a:cubicBezTo>
                <a:cubicBezTo>
                  <a:pt x="1288790" y="497071"/>
                  <a:pt x="1319055" y="498555"/>
                  <a:pt x="1338852" y="489625"/>
                </a:cubicBezTo>
                <a:cubicBezTo>
                  <a:pt x="1341711" y="489213"/>
                  <a:pt x="1344575" y="488837"/>
                  <a:pt x="1347444" y="488480"/>
                </a:cubicBezTo>
                <a:cubicBezTo>
                  <a:pt x="1355372" y="487345"/>
                  <a:pt x="1362033" y="485390"/>
                  <a:pt x="1369362" y="482513"/>
                </a:cubicBezTo>
                <a:cubicBezTo>
                  <a:pt x="1375665" y="480318"/>
                  <a:pt x="1382189" y="479322"/>
                  <a:pt x="1388840" y="478351"/>
                </a:cubicBezTo>
                <a:cubicBezTo>
                  <a:pt x="1388840" y="477421"/>
                  <a:pt x="1388840" y="476492"/>
                  <a:pt x="1388840" y="475533"/>
                </a:cubicBezTo>
                <a:cubicBezTo>
                  <a:pt x="1391083" y="474821"/>
                  <a:pt x="1393329" y="474118"/>
                  <a:pt x="1395576" y="473419"/>
                </a:cubicBezTo>
                <a:cubicBezTo>
                  <a:pt x="1396827" y="473027"/>
                  <a:pt x="1398077" y="472635"/>
                  <a:pt x="1399365" y="472230"/>
                </a:cubicBezTo>
                <a:cubicBezTo>
                  <a:pt x="1402899" y="471305"/>
                  <a:pt x="1402899" y="471305"/>
                  <a:pt x="1407585" y="471305"/>
                </a:cubicBezTo>
                <a:cubicBezTo>
                  <a:pt x="1408101" y="469910"/>
                  <a:pt x="1408616" y="468515"/>
                  <a:pt x="1409147" y="467078"/>
                </a:cubicBezTo>
                <a:cubicBezTo>
                  <a:pt x="1412388" y="465580"/>
                  <a:pt x="1412388" y="465580"/>
                  <a:pt x="1416470" y="464259"/>
                </a:cubicBezTo>
                <a:cubicBezTo>
                  <a:pt x="1424029" y="461705"/>
                  <a:pt x="1431130" y="458955"/>
                  <a:pt x="1437949" y="455011"/>
                </a:cubicBezTo>
                <a:cubicBezTo>
                  <a:pt x="1442765" y="452574"/>
                  <a:pt x="1447553" y="451394"/>
                  <a:pt x="1452887" y="450167"/>
                </a:cubicBezTo>
                <a:cubicBezTo>
                  <a:pt x="1452887" y="449237"/>
                  <a:pt x="1452887" y="448307"/>
                  <a:pt x="1452887" y="447349"/>
                </a:cubicBezTo>
                <a:cubicBezTo>
                  <a:pt x="1453714" y="446944"/>
                  <a:pt x="1454541" y="446539"/>
                  <a:pt x="1455394" y="446122"/>
                </a:cubicBezTo>
                <a:cubicBezTo>
                  <a:pt x="1459151" y="444278"/>
                  <a:pt x="1462902" y="442422"/>
                  <a:pt x="1466653" y="440567"/>
                </a:cubicBezTo>
                <a:cubicBezTo>
                  <a:pt x="1467955" y="439930"/>
                  <a:pt x="1469256" y="439293"/>
                  <a:pt x="1470598" y="438637"/>
                </a:cubicBezTo>
                <a:cubicBezTo>
                  <a:pt x="1471852" y="438016"/>
                  <a:pt x="1473105" y="437393"/>
                  <a:pt x="1474397" y="436752"/>
                </a:cubicBezTo>
                <a:cubicBezTo>
                  <a:pt x="1475550" y="436184"/>
                  <a:pt x="1476703" y="435616"/>
                  <a:pt x="1477892" y="435030"/>
                </a:cubicBezTo>
                <a:cubicBezTo>
                  <a:pt x="1480966" y="433279"/>
                  <a:pt x="1483173" y="431373"/>
                  <a:pt x="1485691" y="429029"/>
                </a:cubicBezTo>
                <a:cubicBezTo>
                  <a:pt x="1486737" y="428575"/>
                  <a:pt x="1487781" y="428121"/>
                  <a:pt x="1488858" y="427653"/>
                </a:cubicBezTo>
                <a:cubicBezTo>
                  <a:pt x="1492438" y="425977"/>
                  <a:pt x="1493705" y="424453"/>
                  <a:pt x="1495943" y="421454"/>
                </a:cubicBezTo>
                <a:cubicBezTo>
                  <a:pt x="1507114" y="407544"/>
                  <a:pt x="1519758" y="393513"/>
                  <a:pt x="1538608" y="388338"/>
                </a:cubicBezTo>
                <a:cubicBezTo>
                  <a:pt x="1541025" y="388250"/>
                  <a:pt x="1541025" y="388250"/>
                  <a:pt x="1543490" y="388161"/>
                </a:cubicBezTo>
                <a:cubicBezTo>
                  <a:pt x="1545535" y="387984"/>
                  <a:pt x="1545535" y="387984"/>
                  <a:pt x="1547621" y="387804"/>
                </a:cubicBezTo>
                <a:cubicBezTo>
                  <a:pt x="1560659" y="387094"/>
                  <a:pt x="1568716" y="390117"/>
                  <a:pt x="1579418" y="396617"/>
                </a:cubicBezTo>
                <a:cubicBezTo>
                  <a:pt x="1581361" y="397687"/>
                  <a:pt x="1581361" y="397687"/>
                  <a:pt x="1583342" y="398780"/>
                </a:cubicBezTo>
                <a:cubicBezTo>
                  <a:pt x="1593703" y="405068"/>
                  <a:pt x="1598513" y="412459"/>
                  <a:pt x="1601288" y="423392"/>
                </a:cubicBezTo>
                <a:cubicBezTo>
                  <a:pt x="1603295" y="436596"/>
                  <a:pt x="1603517" y="449033"/>
                  <a:pt x="1594484" y="460159"/>
                </a:cubicBezTo>
                <a:cubicBezTo>
                  <a:pt x="1588468" y="466462"/>
                  <a:pt x="1582607" y="471150"/>
                  <a:pt x="1574732" y="475533"/>
                </a:cubicBezTo>
                <a:cubicBezTo>
                  <a:pt x="1573862" y="476043"/>
                  <a:pt x="1572993" y="476553"/>
                  <a:pt x="1572097" y="477078"/>
                </a:cubicBezTo>
                <a:cubicBezTo>
                  <a:pt x="1566828" y="478935"/>
                  <a:pt x="1561641" y="478744"/>
                  <a:pt x="1556066" y="478737"/>
                </a:cubicBezTo>
                <a:cubicBezTo>
                  <a:pt x="1553587" y="478765"/>
                  <a:pt x="1551109" y="478795"/>
                  <a:pt x="1548631" y="478825"/>
                </a:cubicBezTo>
                <a:cubicBezTo>
                  <a:pt x="1544751" y="478857"/>
                  <a:pt x="1540871" y="478880"/>
                  <a:pt x="1536991" y="478889"/>
                </a:cubicBezTo>
                <a:cubicBezTo>
                  <a:pt x="1516714" y="478693"/>
                  <a:pt x="1516714" y="478693"/>
                  <a:pt x="1498188" y="485398"/>
                </a:cubicBezTo>
                <a:cubicBezTo>
                  <a:pt x="1496062" y="486488"/>
                  <a:pt x="1496062" y="486488"/>
                  <a:pt x="1493892" y="487600"/>
                </a:cubicBezTo>
                <a:cubicBezTo>
                  <a:pt x="1492733" y="488268"/>
                  <a:pt x="1491573" y="488937"/>
                  <a:pt x="1490377" y="489625"/>
                </a:cubicBezTo>
                <a:cubicBezTo>
                  <a:pt x="1484304" y="493012"/>
                  <a:pt x="1478212" y="495675"/>
                  <a:pt x="1471650" y="498185"/>
                </a:cubicBezTo>
                <a:cubicBezTo>
                  <a:pt x="1467148" y="500054"/>
                  <a:pt x="1463242" y="502632"/>
                  <a:pt x="1459135" y="505127"/>
                </a:cubicBezTo>
                <a:cubicBezTo>
                  <a:pt x="1456968" y="506120"/>
                  <a:pt x="1454786" y="507086"/>
                  <a:pt x="1452594" y="508033"/>
                </a:cubicBezTo>
                <a:cubicBezTo>
                  <a:pt x="1444148" y="511772"/>
                  <a:pt x="1435969" y="515903"/>
                  <a:pt x="1427795" y="520100"/>
                </a:cubicBezTo>
                <a:cubicBezTo>
                  <a:pt x="1425784" y="521114"/>
                  <a:pt x="1425784" y="521114"/>
                  <a:pt x="1423733" y="522148"/>
                </a:cubicBezTo>
                <a:cubicBezTo>
                  <a:pt x="1422478" y="522798"/>
                  <a:pt x="1421223" y="523449"/>
                  <a:pt x="1419929" y="524118"/>
                </a:cubicBezTo>
                <a:cubicBezTo>
                  <a:pt x="1418794" y="524701"/>
                  <a:pt x="1417658" y="525283"/>
                  <a:pt x="1416487" y="525883"/>
                </a:cubicBezTo>
                <a:cubicBezTo>
                  <a:pt x="1413349" y="527646"/>
                  <a:pt x="1413349" y="527646"/>
                  <a:pt x="1412271" y="531902"/>
                </a:cubicBezTo>
                <a:cubicBezTo>
                  <a:pt x="1407205" y="535203"/>
                  <a:pt x="1402819" y="536744"/>
                  <a:pt x="1396650" y="537539"/>
                </a:cubicBezTo>
                <a:cubicBezTo>
                  <a:pt x="1396650" y="538469"/>
                  <a:pt x="1396650" y="539399"/>
                  <a:pt x="1396650" y="540357"/>
                </a:cubicBezTo>
                <a:cubicBezTo>
                  <a:pt x="1395609" y="540735"/>
                  <a:pt x="1394568" y="541113"/>
                  <a:pt x="1393495" y="541502"/>
                </a:cubicBezTo>
                <a:cubicBezTo>
                  <a:pt x="1381840" y="545973"/>
                  <a:pt x="1372279" y="551715"/>
                  <a:pt x="1362284" y="558678"/>
                </a:cubicBezTo>
                <a:cubicBezTo>
                  <a:pt x="1360170" y="560088"/>
                  <a:pt x="1358055" y="561497"/>
                  <a:pt x="1355937" y="562905"/>
                </a:cubicBezTo>
                <a:cubicBezTo>
                  <a:pt x="1348556" y="567937"/>
                  <a:pt x="1341292" y="573085"/>
                  <a:pt x="1334165" y="578406"/>
                </a:cubicBezTo>
                <a:cubicBezTo>
                  <a:pt x="1332697" y="579472"/>
                  <a:pt x="1332697" y="579472"/>
                  <a:pt x="1331200" y="580559"/>
                </a:cubicBezTo>
                <a:cubicBezTo>
                  <a:pt x="1325067" y="585430"/>
                  <a:pt x="1323406" y="589771"/>
                  <a:pt x="1322175" y="596793"/>
                </a:cubicBezTo>
                <a:cubicBezTo>
                  <a:pt x="1321669" y="599545"/>
                  <a:pt x="1321669" y="599545"/>
                  <a:pt x="1320106" y="602363"/>
                </a:cubicBezTo>
                <a:cubicBezTo>
                  <a:pt x="1318419" y="618189"/>
                  <a:pt x="1322416" y="632767"/>
                  <a:pt x="1328015" y="647640"/>
                </a:cubicBezTo>
                <a:cubicBezTo>
                  <a:pt x="1331267" y="656625"/>
                  <a:pt x="1333170" y="666179"/>
                  <a:pt x="1332604" y="675643"/>
                </a:cubicBezTo>
                <a:cubicBezTo>
                  <a:pt x="1333634" y="675643"/>
                  <a:pt x="1334665" y="675643"/>
                  <a:pt x="1335727" y="675643"/>
                </a:cubicBezTo>
                <a:cubicBezTo>
                  <a:pt x="1337571" y="680632"/>
                  <a:pt x="1337591" y="684795"/>
                  <a:pt x="1337741" y="690059"/>
                </a:cubicBezTo>
                <a:cubicBezTo>
                  <a:pt x="1337826" y="692114"/>
                  <a:pt x="1337913" y="694168"/>
                  <a:pt x="1338003" y="696222"/>
                </a:cubicBezTo>
                <a:cubicBezTo>
                  <a:pt x="1338142" y="699444"/>
                  <a:pt x="1338266" y="702664"/>
                  <a:pt x="1338340" y="705887"/>
                </a:cubicBezTo>
                <a:cubicBezTo>
                  <a:pt x="1338372" y="720474"/>
                  <a:pt x="1338372" y="720474"/>
                  <a:pt x="1345277" y="733245"/>
                </a:cubicBezTo>
                <a:cubicBezTo>
                  <a:pt x="1350822" y="737861"/>
                  <a:pt x="1355921" y="739823"/>
                  <a:pt x="1363162" y="741612"/>
                </a:cubicBezTo>
                <a:cubicBezTo>
                  <a:pt x="1370672" y="743533"/>
                  <a:pt x="1377197" y="745750"/>
                  <a:pt x="1384154" y="748922"/>
                </a:cubicBezTo>
                <a:cubicBezTo>
                  <a:pt x="1387833" y="749898"/>
                  <a:pt x="1387833" y="749898"/>
                  <a:pt x="1391476" y="750419"/>
                </a:cubicBezTo>
                <a:cubicBezTo>
                  <a:pt x="1393499" y="750747"/>
                  <a:pt x="1393499" y="750747"/>
                  <a:pt x="1395564" y="751080"/>
                </a:cubicBezTo>
                <a:cubicBezTo>
                  <a:pt x="1397648" y="751407"/>
                  <a:pt x="1397648" y="751407"/>
                  <a:pt x="1399775" y="751740"/>
                </a:cubicBezTo>
                <a:cubicBezTo>
                  <a:pt x="1401810" y="752111"/>
                  <a:pt x="1401810" y="752111"/>
                  <a:pt x="1403887" y="752489"/>
                </a:cubicBezTo>
                <a:cubicBezTo>
                  <a:pt x="1424247" y="756131"/>
                  <a:pt x="1444708" y="756350"/>
                  <a:pt x="1465383" y="755969"/>
                </a:cubicBezTo>
                <a:cubicBezTo>
                  <a:pt x="1467019" y="755945"/>
                  <a:pt x="1468654" y="755921"/>
                  <a:pt x="1470339" y="755897"/>
                </a:cubicBezTo>
                <a:cubicBezTo>
                  <a:pt x="1480128" y="755450"/>
                  <a:pt x="1487899" y="752933"/>
                  <a:pt x="1496809" y="749313"/>
                </a:cubicBezTo>
                <a:cubicBezTo>
                  <a:pt x="1502876" y="746888"/>
                  <a:pt x="1509049" y="745091"/>
                  <a:pt x="1515371" y="743285"/>
                </a:cubicBezTo>
                <a:cubicBezTo>
                  <a:pt x="1515371" y="742356"/>
                  <a:pt x="1515371" y="741425"/>
                  <a:pt x="1515371" y="740467"/>
                </a:cubicBezTo>
                <a:cubicBezTo>
                  <a:pt x="1522710" y="737103"/>
                  <a:pt x="1529583" y="737106"/>
                  <a:pt x="1537632" y="737120"/>
                </a:cubicBezTo>
                <a:cubicBezTo>
                  <a:pt x="1538960" y="737122"/>
                  <a:pt x="1540289" y="737124"/>
                  <a:pt x="1541657" y="737127"/>
                </a:cubicBezTo>
                <a:cubicBezTo>
                  <a:pt x="1555502" y="737372"/>
                  <a:pt x="1564314" y="740697"/>
                  <a:pt x="1574732" y="748922"/>
                </a:cubicBezTo>
                <a:cubicBezTo>
                  <a:pt x="1586507" y="762822"/>
                  <a:pt x="1590347" y="775219"/>
                  <a:pt x="1588791" y="792608"/>
                </a:cubicBezTo>
                <a:cubicBezTo>
                  <a:pt x="1587728" y="797050"/>
                  <a:pt x="1586468" y="801261"/>
                  <a:pt x="1584105" y="805291"/>
                </a:cubicBezTo>
                <a:cubicBezTo>
                  <a:pt x="1583074" y="805756"/>
                  <a:pt x="1582043" y="806221"/>
                  <a:pt x="1580981" y="806700"/>
                </a:cubicBezTo>
                <a:cubicBezTo>
                  <a:pt x="1580240" y="807892"/>
                  <a:pt x="1579499" y="809083"/>
                  <a:pt x="1578735" y="810311"/>
                </a:cubicBezTo>
                <a:cubicBezTo>
                  <a:pt x="1577930" y="811445"/>
                  <a:pt x="1577124" y="812579"/>
                  <a:pt x="1576295" y="813746"/>
                </a:cubicBezTo>
                <a:lnTo>
                  <a:pt x="1571652" y="813746"/>
                </a:lnTo>
                <a:lnTo>
                  <a:pt x="1571785" y="814106"/>
                </a:lnTo>
                <a:cubicBezTo>
                  <a:pt x="1572816" y="814571"/>
                  <a:pt x="1573846" y="815036"/>
                  <a:pt x="1574909" y="815515"/>
                </a:cubicBezTo>
                <a:cubicBezTo>
                  <a:pt x="1572126" y="818758"/>
                  <a:pt x="1569968" y="820871"/>
                  <a:pt x="1565463" y="821839"/>
                </a:cubicBezTo>
                <a:lnTo>
                  <a:pt x="1562085" y="822101"/>
                </a:lnTo>
                <a:lnTo>
                  <a:pt x="1551301" y="825020"/>
                </a:lnTo>
                <a:cubicBezTo>
                  <a:pt x="1551301" y="825950"/>
                  <a:pt x="1551301" y="826880"/>
                  <a:pt x="1551301" y="827838"/>
                </a:cubicBezTo>
                <a:cubicBezTo>
                  <a:pt x="1526697" y="828735"/>
                  <a:pt x="1507496" y="825036"/>
                  <a:pt x="1485380" y="815007"/>
                </a:cubicBezTo>
                <a:cubicBezTo>
                  <a:pt x="1468723" y="807743"/>
                  <a:pt x="1449749" y="809144"/>
                  <a:pt x="1431603" y="808726"/>
                </a:cubicBezTo>
                <a:cubicBezTo>
                  <a:pt x="1429115" y="808665"/>
                  <a:pt x="1426627" y="808604"/>
                  <a:pt x="1424140" y="808542"/>
                </a:cubicBezTo>
                <a:cubicBezTo>
                  <a:pt x="1418101" y="808392"/>
                  <a:pt x="1412062" y="808249"/>
                  <a:pt x="1406023" y="808109"/>
                </a:cubicBezTo>
                <a:cubicBezTo>
                  <a:pt x="1406023" y="809040"/>
                  <a:pt x="1406023" y="809970"/>
                  <a:pt x="1406023" y="810928"/>
                </a:cubicBezTo>
                <a:cubicBezTo>
                  <a:pt x="1404716" y="811118"/>
                  <a:pt x="1404716" y="811118"/>
                  <a:pt x="1403383" y="811311"/>
                </a:cubicBezTo>
                <a:cubicBezTo>
                  <a:pt x="1372054" y="815110"/>
                  <a:pt x="1372054" y="815110"/>
                  <a:pt x="1345442" y="828907"/>
                </a:cubicBezTo>
                <a:cubicBezTo>
                  <a:pt x="1338843" y="837605"/>
                  <a:pt x="1338313" y="846434"/>
                  <a:pt x="1337875" y="856639"/>
                </a:cubicBezTo>
                <a:cubicBezTo>
                  <a:pt x="1337815" y="857805"/>
                  <a:pt x="1337754" y="858970"/>
                  <a:pt x="1337692" y="860171"/>
                </a:cubicBezTo>
                <a:cubicBezTo>
                  <a:pt x="1337547" y="863016"/>
                  <a:pt x="1337417" y="865861"/>
                  <a:pt x="1337290" y="868706"/>
                </a:cubicBezTo>
                <a:cubicBezTo>
                  <a:pt x="1336258" y="868706"/>
                  <a:pt x="1335228" y="868706"/>
                  <a:pt x="1334165" y="868706"/>
                </a:cubicBezTo>
                <a:lnTo>
                  <a:pt x="1334165" y="870034"/>
                </a:lnTo>
                <a:lnTo>
                  <a:pt x="1334237" y="869093"/>
                </a:lnTo>
                <a:cubicBezTo>
                  <a:pt x="1334753" y="869093"/>
                  <a:pt x="1335268" y="869093"/>
                  <a:pt x="1335800" y="869093"/>
                </a:cubicBezTo>
                <a:cubicBezTo>
                  <a:pt x="1335884" y="871559"/>
                  <a:pt x="1335944" y="874025"/>
                  <a:pt x="1335995" y="876491"/>
                </a:cubicBezTo>
                <a:cubicBezTo>
                  <a:pt x="1336030" y="877865"/>
                  <a:pt x="1336067" y="879238"/>
                  <a:pt x="1336105" y="880653"/>
                </a:cubicBezTo>
                <a:cubicBezTo>
                  <a:pt x="1335800" y="884594"/>
                  <a:pt x="1335800" y="884594"/>
                  <a:pt x="1334294" y="887271"/>
                </a:cubicBezTo>
                <a:cubicBezTo>
                  <a:pt x="1332567" y="890428"/>
                  <a:pt x="1331982" y="892964"/>
                  <a:pt x="1331455" y="896440"/>
                </a:cubicBezTo>
                <a:cubicBezTo>
                  <a:pt x="1331267" y="897605"/>
                  <a:pt x="1331080" y="898769"/>
                  <a:pt x="1330887" y="899969"/>
                </a:cubicBezTo>
                <a:cubicBezTo>
                  <a:pt x="1330704" y="901174"/>
                  <a:pt x="1330521" y="902378"/>
                  <a:pt x="1330332" y="903618"/>
                </a:cubicBezTo>
                <a:cubicBezTo>
                  <a:pt x="1329968" y="906013"/>
                  <a:pt x="1329594" y="908405"/>
                  <a:pt x="1329209" y="910797"/>
                </a:cubicBezTo>
                <a:cubicBezTo>
                  <a:pt x="1329049" y="911853"/>
                  <a:pt x="1328889" y="912910"/>
                  <a:pt x="1328724" y="913998"/>
                </a:cubicBezTo>
                <a:cubicBezTo>
                  <a:pt x="1327933" y="917233"/>
                  <a:pt x="1326525" y="919703"/>
                  <a:pt x="1324865" y="922643"/>
                </a:cubicBezTo>
                <a:cubicBezTo>
                  <a:pt x="1323924" y="927743"/>
                  <a:pt x="1323282" y="932845"/>
                  <a:pt x="1322619" y="937979"/>
                </a:cubicBezTo>
                <a:lnTo>
                  <a:pt x="1318744" y="944961"/>
                </a:lnTo>
                <a:lnTo>
                  <a:pt x="1318544" y="946213"/>
                </a:lnTo>
                <a:cubicBezTo>
                  <a:pt x="1318360" y="949234"/>
                  <a:pt x="1318271" y="952260"/>
                  <a:pt x="1318251" y="955285"/>
                </a:cubicBezTo>
                <a:cubicBezTo>
                  <a:pt x="1318218" y="957637"/>
                  <a:pt x="1318218" y="957637"/>
                  <a:pt x="1318184" y="960036"/>
                </a:cubicBezTo>
                <a:cubicBezTo>
                  <a:pt x="1318624" y="965530"/>
                  <a:pt x="1319569" y="969724"/>
                  <a:pt x="1324024" y="973660"/>
                </a:cubicBezTo>
                <a:cubicBezTo>
                  <a:pt x="1327197" y="976583"/>
                  <a:pt x="1327950" y="979494"/>
                  <a:pt x="1329284" y="983382"/>
                </a:cubicBezTo>
                <a:cubicBezTo>
                  <a:pt x="1331875" y="990106"/>
                  <a:pt x="1334445" y="993582"/>
                  <a:pt x="1340414" y="998354"/>
                </a:cubicBezTo>
                <a:cubicBezTo>
                  <a:pt x="1342397" y="1000564"/>
                  <a:pt x="1344347" y="1002798"/>
                  <a:pt x="1346272" y="1005048"/>
                </a:cubicBezTo>
                <a:cubicBezTo>
                  <a:pt x="1360055" y="1020713"/>
                  <a:pt x="1376247" y="1031879"/>
                  <a:pt x="1394716" y="1042740"/>
                </a:cubicBezTo>
                <a:cubicBezTo>
                  <a:pt x="1397172" y="1044228"/>
                  <a:pt x="1399581" y="1045779"/>
                  <a:pt x="1401953" y="1047374"/>
                </a:cubicBezTo>
                <a:cubicBezTo>
                  <a:pt x="1410065" y="1052802"/>
                  <a:pt x="1417529" y="1056366"/>
                  <a:pt x="1427197" y="1059061"/>
                </a:cubicBezTo>
                <a:cubicBezTo>
                  <a:pt x="1431243" y="1060437"/>
                  <a:pt x="1434061" y="1061979"/>
                  <a:pt x="1437265" y="1064588"/>
                </a:cubicBezTo>
                <a:cubicBezTo>
                  <a:pt x="1437265" y="1065518"/>
                  <a:pt x="1437265" y="1066448"/>
                  <a:pt x="1437265" y="1067406"/>
                </a:cubicBezTo>
                <a:cubicBezTo>
                  <a:pt x="1439053" y="1067624"/>
                  <a:pt x="1439053" y="1067624"/>
                  <a:pt x="1440878" y="1067847"/>
                </a:cubicBezTo>
                <a:cubicBezTo>
                  <a:pt x="1445076" y="1068815"/>
                  <a:pt x="1445076" y="1068815"/>
                  <a:pt x="1447175" y="1070753"/>
                </a:cubicBezTo>
                <a:cubicBezTo>
                  <a:pt x="1450417" y="1073622"/>
                  <a:pt x="1453781" y="1075060"/>
                  <a:pt x="1457866" y="1076830"/>
                </a:cubicBezTo>
                <a:cubicBezTo>
                  <a:pt x="1459274" y="1077446"/>
                  <a:pt x="1460681" y="1078062"/>
                  <a:pt x="1462132" y="1078696"/>
                </a:cubicBezTo>
                <a:cubicBezTo>
                  <a:pt x="1463204" y="1079156"/>
                  <a:pt x="1464278" y="1079616"/>
                  <a:pt x="1465383" y="1080089"/>
                </a:cubicBezTo>
                <a:cubicBezTo>
                  <a:pt x="1465383" y="1081019"/>
                  <a:pt x="1465383" y="1081949"/>
                  <a:pt x="1465383" y="1082908"/>
                </a:cubicBezTo>
                <a:cubicBezTo>
                  <a:pt x="1466497" y="1083260"/>
                  <a:pt x="1467611" y="1083612"/>
                  <a:pt x="1468758" y="1083975"/>
                </a:cubicBezTo>
                <a:cubicBezTo>
                  <a:pt x="1473648" y="1085905"/>
                  <a:pt x="1477426" y="1088296"/>
                  <a:pt x="1481688" y="1091187"/>
                </a:cubicBezTo>
                <a:cubicBezTo>
                  <a:pt x="1483204" y="1092193"/>
                  <a:pt x="1484721" y="1093200"/>
                  <a:pt x="1486283" y="1094236"/>
                </a:cubicBezTo>
                <a:cubicBezTo>
                  <a:pt x="1489170" y="1096185"/>
                  <a:pt x="1492029" y="1098166"/>
                  <a:pt x="1494869" y="1100171"/>
                </a:cubicBezTo>
                <a:cubicBezTo>
                  <a:pt x="1510181" y="1107906"/>
                  <a:pt x="1527080" y="1109898"/>
                  <a:pt x="1544335" y="1109518"/>
                </a:cubicBezTo>
                <a:cubicBezTo>
                  <a:pt x="1579932" y="1108798"/>
                  <a:pt x="1579932" y="1108798"/>
                  <a:pt x="1593477" y="1119900"/>
                </a:cubicBezTo>
                <a:cubicBezTo>
                  <a:pt x="1600636" y="1127255"/>
                  <a:pt x="1604889" y="1135120"/>
                  <a:pt x="1605975" y="1144913"/>
                </a:cubicBezTo>
                <a:cubicBezTo>
                  <a:pt x="1607006" y="1144913"/>
                  <a:pt x="1608036" y="1144913"/>
                  <a:pt x="1609099" y="1144913"/>
                </a:cubicBezTo>
                <a:cubicBezTo>
                  <a:pt x="1609227" y="1148907"/>
                  <a:pt x="1609319" y="1152897"/>
                  <a:pt x="1609392" y="1156892"/>
                </a:cubicBezTo>
                <a:cubicBezTo>
                  <a:pt x="1609451" y="1158565"/>
                  <a:pt x="1609451" y="1158565"/>
                  <a:pt x="1609511" y="1160272"/>
                </a:cubicBezTo>
                <a:cubicBezTo>
                  <a:pt x="1609621" y="1168378"/>
                  <a:pt x="1607970" y="1174108"/>
                  <a:pt x="1604412" y="1181553"/>
                </a:cubicBezTo>
                <a:cubicBezTo>
                  <a:pt x="1603354" y="1184367"/>
                  <a:pt x="1602306" y="1187183"/>
                  <a:pt x="1601288" y="1190009"/>
                </a:cubicBezTo>
                <a:cubicBezTo>
                  <a:pt x="1600257" y="1190009"/>
                  <a:pt x="1599226" y="1190009"/>
                  <a:pt x="1598164" y="1190009"/>
                </a:cubicBezTo>
                <a:cubicBezTo>
                  <a:pt x="1597842" y="1190910"/>
                  <a:pt x="1597520" y="1191810"/>
                  <a:pt x="1597187" y="1192739"/>
                </a:cubicBezTo>
                <a:cubicBezTo>
                  <a:pt x="1596479" y="1193698"/>
                  <a:pt x="1595770" y="1194657"/>
                  <a:pt x="1595040" y="1195645"/>
                </a:cubicBezTo>
                <a:cubicBezTo>
                  <a:pt x="1591916" y="1196115"/>
                  <a:pt x="1588791" y="1196585"/>
                  <a:pt x="1585667" y="1197055"/>
                </a:cubicBezTo>
                <a:cubicBezTo>
                  <a:pt x="1583871" y="1199826"/>
                  <a:pt x="1583871" y="1199826"/>
                  <a:pt x="1582543" y="1202691"/>
                </a:cubicBezTo>
                <a:cubicBezTo>
                  <a:pt x="1575997" y="1204710"/>
                  <a:pt x="1569266" y="1204360"/>
                  <a:pt x="1562431" y="1204365"/>
                </a:cubicBezTo>
                <a:cubicBezTo>
                  <a:pt x="1561196" y="1204382"/>
                  <a:pt x="1559962" y="1204399"/>
                  <a:pt x="1558690" y="1204417"/>
                </a:cubicBezTo>
                <a:cubicBezTo>
                  <a:pt x="1543339" y="1204452"/>
                  <a:pt x="1531981" y="1199267"/>
                  <a:pt x="1521102" y="1189585"/>
                </a:cubicBezTo>
                <a:cubicBezTo>
                  <a:pt x="1515403" y="1183953"/>
                  <a:pt x="1510116" y="1178123"/>
                  <a:pt x="1505022" y="1172041"/>
                </a:cubicBezTo>
                <a:cubicBezTo>
                  <a:pt x="1493200" y="1158177"/>
                  <a:pt x="1475492" y="1147115"/>
                  <a:pt x="1457573" y="1140686"/>
                </a:cubicBezTo>
                <a:cubicBezTo>
                  <a:pt x="1457573" y="1139755"/>
                  <a:pt x="1457573" y="1138826"/>
                  <a:pt x="1457573" y="1137867"/>
                </a:cubicBezTo>
                <a:cubicBezTo>
                  <a:pt x="1456059" y="1137693"/>
                  <a:pt x="1454544" y="1137518"/>
                  <a:pt x="1452985" y="1137339"/>
                </a:cubicBezTo>
                <a:cubicBezTo>
                  <a:pt x="1451406" y="1137048"/>
                  <a:pt x="1449827" y="1136758"/>
                  <a:pt x="1448200" y="1136458"/>
                </a:cubicBezTo>
                <a:cubicBezTo>
                  <a:pt x="1447685" y="1135528"/>
                  <a:pt x="1447169" y="1134598"/>
                  <a:pt x="1446638" y="1133640"/>
                </a:cubicBezTo>
                <a:cubicBezTo>
                  <a:pt x="1444091" y="1132586"/>
                  <a:pt x="1441535" y="1131550"/>
                  <a:pt x="1438937" y="1130601"/>
                </a:cubicBezTo>
                <a:cubicBezTo>
                  <a:pt x="1435668" y="1129399"/>
                  <a:pt x="1432469" y="1128095"/>
                  <a:pt x="1429260" y="1126770"/>
                </a:cubicBezTo>
                <a:cubicBezTo>
                  <a:pt x="1423389" y="1124389"/>
                  <a:pt x="1417431" y="1122349"/>
                  <a:pt x="1411393" y="1120340"/>
                </a:cubicBezTo>
                <a:cubicBezTo>
                  <a:pt x="1404143" y="1117867"/>
                  <a:pt x="1397842" y="1115090"/>
                  <a:pt x="1391427" y="1111191"/>
                </a:cubicBezTo>
                <a:cubicBezTo>
                  <a:pt x="1388139" y="1109274"/>
                  <a:pt x="1384723" y="1108010"/>
                  <a:pt x="1381029" y="1106865"/>
                </a:cubicBezTo>
                <a:cubicBezTo>
                  <a:pt x="1381029" y="1105934"/>
                  <a:pt x="1381029" y="1105004"/>
                  <a:pt x="1381029" y="1104046"/>
                </a:cubicBezTo>
                <a:cubicBezTo>
                  <a:pt x="1379773" y="1103901"/>
                  <a:pt x="1378516" y="1103755"/>
                  <a:pt x="1377221" y="1103605"/>
                </a:cubicBezTo>
                <a:cubicBezTo>
                  <a:pt x="1370425" y="1102422"/>
                  <a:pt x="1364120" y="1100465"/>
                  <a:pt x="1357597" y="1098409"/>
                </a:cubicBezTo>
                <a:cubicBezTo>
                  <a:pt x="1355761" y="1097857"/>
                  <a:pt x="1353924" y="1097304"/>
                  <a:pt x="1352032" y="1096736"/>
                </a:cubicBezTo>
                <a:cubicBezTo>
                  <a:pt x="1350776" y="1096358"/>
                  <a:pt x="1349519" y="1095980"/>
                  <a:pt x="1348225" y="1095590"/>
                </a:cubicBezTo>
                <a:cubicBezTo>
                  <a:pt x="1348225" y="1094661"/>
                  <a:pt x="1348225" y="1093730"/>
                  <a:pt x="1348225" y="1092772"/>
                </a:cubicBezTo>
                <a:cubicBezTo>
                  <a:pt x="1344616" y="1092307"/>
                  <a:pt x="1341007" y="1091842"/>
                  <a:pt x="1337290" y="1091363"/>
                </a:cubicBezTo>
                <a:cubicBezTo>
                  <a:pt x="1337290" y="1090433"/>
                  <a:pt x="1337290" y="1089503"/>
                  <a:pt x="1337290" y="1088544"/>
                </a:cubicBezTo>
                <a:cubicBezTo>
                  <a:pt x="1334438" y="1088327"/>
                  <a:pt x="1334438" y="1088327"/>
                  <a:pt x="1331529" y="1088104"/>
                </a:cubicBezTo>
                <a:lnTo>
                  <a:pt x="1323297" y="1086611"/>
                </a:lnTo>
                <a:lnTo>
                  <a:pt x="1323297" y="1087618"/>
                </a:lnTo>
                <a:cubicBezTo>
                  <a:pt x="1322139" y="1087517"/>
                  <a:pt x="1320982" y="1087415"/>
                  <a:pt x="1319789" y="1087310"/>
                </a:cubicBezTo>
                <a:cubicBezTo>
                  <a:pt x="1300429" y="1085771"/>
                  <a:pt x="1281330" y="1084680"/>
                  <a:pt x="1262375" y="1089028"/>
                </a:cubicBezTo>
                <a:lnTo>
                  <a:pt x="1258728" y="1088205"/>
                </a:lnTo>
                <a:lnTo>
                  <a:pt x="1246964" y="1091489"/>
                </a:lnTo>
                <a:cubicBezTo>
                  <a:pt x="1237239" y="1097222"/>
                  <a:pt x="1228703" y="1103434"/>
                  <a:pt x="1223224" y="1112865"/>
                </a:cubicBezTo>
                <a:cubicBezTo>
                  <a:pt x="1220867" y="1116643"/>
                  <a:pt x="1217262" y="1119317"/>
                  <a:pt x="1213883" y="1122366"/>
                </a:cubicBezTo>
                <a:cubicBezTo>
                  <a:pt x="1213428" y="1123469"/>
                  <a:pt x="1212973" y="1124572"/>
                  <a:pt x="1212505" y="1125708"/>
                </a:cubicBezTo>
                <a:cubicBezTo>
                  <a:pt x="1210449" y="1130067"/>
                  <a:pt x="1207984" y="1132315"/>
                  <a:pt x="1204180" y="1135561"/>
                </a:cubicBezTo>
                <a:cubicBezTo>
                  <a:pt x="1202879" y="1136695"/>
                  <a:pt x="1201578" y="1137829"/>
                  <a:pt x="1200238" y="1138999"/>
                </a:cubicBezTo>
                <a:cubicBezTo>
                  <a:pt x="1197504" y="1141343"/>
                  <a:pt x="1194765" y="1143684"/>
                  <a:pt x="1192025" y="1146022"/>
                </a:cubicBezTo>
                <a:cubicBezTo>
                  <a:pt x="1181899" y="1154869"/>
                  <a:pt x="1174983" y="1161763"/>
                  <a:pt x="1173945" y="1174749"/>
                </a:cubicBezTo>
                <a:cubicBezTo>
                  <a:pt x="1173902" y="1177369"/>
                  <a:pt x="1173905" y="1179990"/>
                  <a:pt x="1173950" y="1182610"/>
                </a:cubicBezTo>
                <a:cubicBezTo>
                  <a:pt x="1173963" y="1183981"/>
                  <a:pt x="1173975" y="1185352"/>
                  <a:pt x="1173989" y="1186765"/>
                </a:cubicBezTo>
                <a:cubicBezTo>
                  <a:pt x="1174321" y="1197573"/>
                  <a:pt x="1176809" y="1205883"/>
                  <a:pt x="1182640" y="1215374"/>
                </a:cubicBezTo>
                <a:cubicBezTo>
                  <a:pt x="1183703" y="1217509"/>
                  <a:pt x="1184746" y="1219652"/>
                  <a:pt x="1185764" y="1221804"/>
                </a:cubicBezTo>
                <a:cubicBezTo>
                  <a:pt x="1186271" y="1222812"/>
                  <a:pt x="1186779" y="1223821"/>
                  <a:pt x="1187301" y="1224859"/>
                </a:cubicBezTo>
                <a:cubicBezTo>
                  <a:pt x="1188431" y="1227137"/>
                  <a:pt x="1189517" y="1229433"/>
                  <a:pt x="1190573" y="1231740"/>
                </a:cubicBezTo>
                <a:cubicBezTo>
                  <a:pt x="1194650" y="1240409"/>
                  <a:pt x="1199581" y="1247688"/>
                  <a:pt x="1205925" y="1255163"/>
                </a:cubicBezTo>
                <a:cubicBezTo>
                  <a:pt x="1208103" y="1257757"/>
                  <a:pt x="1210188" y="1260417"/>
                  <a:pt x="1212174" y="1263134"/>
                </a:cubicBezTo>
                <a:cubicBezTo>
                  <a:pt x="1218757" y="1272043"/>
                  <a:pt x="1225157" y="1277324"/>
                  <a:pt x="1235556" y="1282538"/>
                </a:cubicBezTo>
                <a:cubicBezTo>
                  <a:pt x="1236652" y="1283161"/>
                  <a:pt x="1237747" y="1283784"/>
                  <a:pt x="1238876" y="1284426"/>
                </a:cubicBezTo>
                <a:cubicBezTo>
                  <a:pt x="1238876" y="1285356"/>
                  <a:pt x="1238876" y="1286287"/>
                  <a:pt x="1238876" y="1287245"/>
                </a:cubicBezTo>
                <a:cubicBezTo>
                  <a:pt x="1239988" y="1287383"/>
                  <a:pt x="1241099" y="1287521"/>
                  <a:pt x="1242245" y="1287663"/>
                </a:cubicBezTo>
                <a:cubicBezTo>
                  <a:pt x="1253043" y="1290072"/>
                  <a:pt x="1264916" y="1297690"/>
                  <a:pt x="1271681" y="1305565"/>
                </a:cubicBezTo>
                <a:lnTo>
                  <a:pt x="1271742" y="1306172"/>
                </a:lnTo>
                <a:lnTo>
                  <a:pt x="1278525" y="1315767"/>
                </a:lnTo>
                <a:cubicBezTo>
                  <a:pt x="1279797" y="1319398"/>
                  <a:pt x="1280365" y="1323346"/>
                  <a:pt x="1281097" y="1327286"/>
                </a:cubicBezTo>
                <a:cubicBezTo>
                  <a:pt x="1281916" y="1337121"/>
                  <a:pt x="1281807" y="1346176"/>
                  <a:pt x="1277973" y="1355470"/>
                </a:cubicBezTo>
                <a:lnTo>
                  <a:pt x="1277460" y="1347025"/>
                </a:lnTo>
                <a:lnTo>
                  <a:pt x="1273531" y="1357991"/>
                </a:lnTo>
                <a:cubicBezTo>
                  <a:pt x="1270940" y="1361892"/>
                  <a:pt x="1267521" y="1365435"/>
                  <a:pt x="1263870" y="1368980"/>
                </a:cubicBezTo>
                <a:cubicBezTo>
                  <a:pt x="1258351" y="1372929"/>
                  <a:pt x="1253850" y="1376026"/>
                  <a:pt x="1246686" y="1376026"/>
                </a:cubicBezTo>
                <a:cubicBezTo>
                  <a:pt x="1246686" y="1376956"/>
                  <a:pt x="1246686" y="1377886"/>
                  <a:pt x="1246686" y="1378844"/>
                </a:cubicBezTo>
                <a:cubicBezTo>
                  <a:pt x="1241676" y="1379009"/>
                  <a:pt x="1236665" y="1379109"/>
                  <a:pt x="1231651" y="1379196"/>
                </a:cubicBezTo>
                <a:cubicBezTo>
                  <a:pt x="1230240" y="1379244"/>
                  <a:pt x="1228828" y="1379291"/>
                  <a:pt x="1227373" y="1379340"/>
                </a:cubicBezTo>
                <a:cubicBezTo>
                  <a:pt x="1218287" y="1379460"/>
                  <a:pt x="1213363" y="1378568"/>
                  <a:pt x="1206071" y="1373207"/>
                </a:cubicBezTo>
                <a:cubicBezTo>
                  <a:pt x="1204751" y="1372742"/>
                  <a:pt x="1203430" y="1372277"/>
                  <a:pt x="1202069" y="1371798"/>
                </a:cubicBezTo>
                <a:cubicBezTo>
                  <a:pt x="1193777" y="1368730"/>
                  <a:pt x="1188124" y="1363294"/>
                  <a:pt x="1184104" y="1356176"/>
                </a:cubicBezTo>
                <a:cubicBezTo>
                  <a:pt x="1180965" y="1349259"/>
                  <a:pt x="1178852" y="1342590"/>
                  <a:pt x="1177270" y="1335247"/>
                </a:cubicBezTo>
                <a:cubicBezTo>
                  <a:pt x="1175525" y="1327352"/>
                  <a:pt x="1172911" y="1320677"/>
                  <a:pt x="1169002" y="1313464"/>
                </a:cubicBezTo>
                <a:cubicBezTo>
                  <a:pt x="1166989" y="1309737"/>
                  <a:pt x="1165215" y="1305976"/>
                  <a:pt x="1163504" y="1302130"/>
                </a:cubicBezTo>
                <a:cubicBezTo>
                  <a:pt x="1163013" y="1301027"/>
                  <a:pt x="1162521" y="1299924"/>
                  <a:pt x="1162015" y="1298788"/>
                </a:cubicBezTo>
                <a:cubicBezTo>
                  <a:pt x="1160770" y="1295700"/>
                  <a:pt x="1160770" y="1295700"/>
                  <a:pt x="1160111" y="1292656"/>
                </a:cubicBezTo>
                <a:cubicBezTo>
                  <a:pt x="1159345" y="1289507"/>
                  <a:pt x="1159345" y="1289507"/>
                  <a:pt x="1154522" y="1287245"/>
                </a:cubicBezTo>
                <a:cubicBezTo>
                  <a:pt x="1153465" y="1284902"/>
                  <a:pt x="1152426" y="1282552"/>
                  <a:pt x="1151398" y="1280199"/>
                </a:cubicBezTo>
                <a:cubicBezTo>
                  <a:pt x="1149056" y="1276983"/>
                  <a:pt x="1146686" y="1273874"/>
                  <a:pt x="1144173" y="1270774"/>
                </a:cubicBezTo>
                <a:cubicBezTo>
                  <a:pt x="1143477" y="1269912"/>
                  <a:pt x="1142782" y="1269049"/>
                  <a:pt x="1142065" y="1268160"/>
                </a:cubicBezTo>
                <a:cubicBezTo>
                  <a:pt x="1139981" y="1265589"/>
                  <a:pt x="1137880" y="1263029"/>
                  <a:pt x="1135776" y="1260470"/>
                </a:cubicBezTo>
                <a:cubicBezTo>
                  <a:pt x="1134647" y="1259076"/>
                  <a:pt x="1133517" y="1257683"/>
                  <a:pt x="1132353" y="1256247"/>
                </a:cubicBezTo>
                <a:cubicBezTo>
                  <a:pt x="1126291" y="1249045"/>
                  <a:pt x="1121408" y="1244606"/>
                  <a:pt x="1112344" y="1240741"/>
                </a:cubicBezTo>
                <a:cubicBezTo>
                  <a:pt x="1110285" y="1239698"/>
                  <a:pt x="1108234" y="1238642"/>
                  <a:pt x="1106193" y="1237570"/>
                </a:cubicBezTo>
                <a:cubicBezTo>
                  <a:pt x="1104615" y="1236756"/>
                  <a:pt x="1103036" y="1235942"/>
                  <a:pt x="1101409" y="1235104"/>
                </a:cubicBezTo>
                <a:cubicBezTo>
                  <a:pt x="1101409" y="1233708"/>
                  <a:pt x="1101409" y="1232313"/>
                  <a:pt x="1101409" y="1230876"/>
                </a:cubicBezTo>
                <a:cubicBezTo>
                  <a:pt x="1089553" y="1230876"/>
                  <a:pt x="1077697" y="1230876"/>
                  <a:pt x="1065480" y="1230876"/>
                </a:cubicBezTo>
                <a:cubicBezTo>
                  <a:pt x="1064965" y="1232271"/>
                  <a:pt x="1064450" y="1233666"/>
                  <a:pt x="1063919" y="1235104"/>
                </a:cubicBezTo>
                <a:cubicBezTo>
                  <a:pt x="1062372" y="1235104"/>
                  <a:pt x="1060826" y="1235104"/>
                  <a:pt x="1059232" y="1235104"/>
                </a:cubicBezTo>
                <a:cubicBezTo>
                  <a:pt x="1059232" y="1236033"/>
                  <a:pt x="1059232" y="1236964"/>
                  <a:pt x="1059232" y="1237922"/>
                </a:cubicBezTo>
                <a:cubicBezTo>
                  <a:pt x="1052964" y="1240850"/>
                  <a:pt x="1046842" y="1243613"/>
                  <a:pt x="1040194" y="1245761"/>
                </a:cubicBezTo>
                <a:cubicBezTo>
                  <a:pt x="1036552" y="1246941"/>
                  <a:pt x="1033682" y="1248088"/>
                  <a:pt x="1030333" y="1249901"/>
                </a:cubicBezTo>
                <a:cubicBezTo>
                  <a:pt x="1025129" y="1252717"/>
                  <a:pt x="1019615" y="1254371"/>
                  <a:pt x="1013931" y="1256242"/>
                </a:cubicBezTo>
                <a:cubicBezTo>
                  <a:pt x="1009870" y="1257688"/>
                  <a:pt x="1008221" y="1258277"/>
                  <a:pt x="1005925" y="1261615"/>
                </a:cubicBezTo>
                <a:cubicBezTo>
                  <a:pt x="1005474" y="1262632"/>
                  <a:pt x="1005023" y="1263649"/>
                  <a:pt x="1004558" y="1264697"/>
                </a:cubicBezTo>
                <a:cubicBezTo>
                  <a:pt x="1004030" y="1265774"/>
                  <a:pt x="1003503" y="1266852"/>
                  <a:pt x="1002959" y="1267961"/>
                </a:cubicBezTo>
                <a:cubicBezTo>
                  <a:pt x="1001408" y="1271808"/>
                  <a:pt x="1000922" y="1274896"/>
                  <a:pt x="1000653" y="1278965"/>
                </a:cubicBezTo>
                <a:cubicBezTo>
                  <a:pt x="1000303" y="1284158"/>
                  <a:pt x="999467" y="1289055"/>
                  <a:pt x="998297" y="1294137"/>
                </a:cubicBezTo>
                <a:cubicBezTo>
                  <a:pt x="996204" y="1304306"/>
                  <a:pt x="996129" y="1314460"/>
                  <a:pt x="996162" y="1324765"/>
                </a:cubicBezTo>
                <a:cubicBezTo>
                  <a:pt x="996163" y="1325782"/>
                  <a:pt x="996163" y="1326799"/>
                  <a:pt x="996164" y="1327846"/>
                </a:cubicBezTo>
                <a:cubicBezTo>
                  <a:pt x="996263" y="1353742"/>
                  <a:pt x="1001081" y="1378188"/>
                  <a:pt x="1007780" y="1403329"/>
                </a:cubicBezTo>
                <a:cubicBezTo>
                  <a:pt x="1008163" y="1404772"/>
                  <a:pt x="1008546" y="1406215"/>
                  <a:pt x="1008940" y="1407701"/>
                </a:cubicBezTo>
                <a:cubicBezTo>
                  <a:pt x="1009316" y="1409030"/>
                  <a:pt x="1009693" y="1410360"/>
                  <a:pt x="1010080" y="1411730"/>
                </a:cubicBezTo>
                <a:cubicBezTo>
                  <a:pt x="1010409" y="1412900"/>
                  <a:pt x="1010737" y="1414071"/>
                  <a:pt x="1011075" y="1415277"/>
                </a:cubicBezTo>
                <a:cubicBezTo>
                  <a:pt x="1012501" y="1418612"/>
                  <a:pt x="1014136" y="1420168"/>
                  <a:pt x="1017055" y="1422530"/>
                </a:cubicBezTo>
                <a:cubicBezTo>
                  <a:pt x="1018770" y="1425162"/>
                  <a:pt x="1018770" y="1425162"/>
                  <a:pt x="1020277" y="1427991"/>
                </a:cubicBezTo>
                <a:cubicBezTo>
                  <a:pt x="1020778" y="1428917"/>
                  <a:pt x="1021280" y="1429844"/>
                  <a:pt x="1021796" y="1430798"/>
                </a:cubicBezTo>
                <a:cubicBezTo>
                  <a:pt x="1023303" y="1433804"/>
                  <a:pt x="1023303" y="1433804"/>
                  <a:pt x="1024579" y="1437239"/>
                </a:cubicBezTo>
                <a:cubicBezTo>
                  <a:pt x="1026915" y="1441803"/>
                  <a:pt x="1030098" y="1444534"/>
                  <a:pt x="1034043" y="1448072"/>
                </a:cubicBezTo>
                <a:lnTo>
                  <a:pt x="1043782" y="1464320"/>
                </a:lnTo>
                <a:lnTo>
                  <a:pt x="1050458" y="1472189"/>
                </a:lnTo>
                <a:cubicBezTo>
                  <a:pt x="1051737" y="1475181"/>
                  <a:pt x="1052277" y="1478513"/>
                  <a:pt x="1052926" y="1482370"/>
                </a:cubicBezTo>
                <a:cubicBezTo>
                  <a:pt x="1053325" y="1487224"/>
                  <a:pt x="1053364" y="1492038"/>
                  <a:pt x="1053316" y="1496903"/>
                </a:cubicBezTo>
                <a:cubicBezTo>
                  <a:pt x="1053328" y="1498142"/>
                  <a:pt x="1053340" y="1499382"/>
                  <a:pt x="1053352" y="1500660"/>
                </a:cubicBezTo>
                <a:cubicBezTo>
                  <a:pt x="1053348" y="1501856"/>
                  <a:pt x="1053344" y="1503052"/>
                  <a:pt x="1053341" y="1504285"/>
                </a:cubicBezTo>
                <a:cubicBezTo>
                  <a:pt x="1053336" y="1505355"/>
                  <a:pt x="1053333" y="1506426"/>
                  <a:pt x="1053329" y="1507529"/>
                </a:cubicBezTo>
                <a:cubicBezTo>
                  <a:pt x="1052876" y="1510927"/>
                  <a:pt x="1051672" y="1513237"/>
                  <a:pt x="1049801" y="1516192"/>
                </a:cubicBezTo>
                <a:lnTo>
                  <a:pt x="1047312" y="1516192"/>
                </a:lnTo>
                <a:lnTo>
                  <a:pt x="1043611" y="1522585"/>
                </a:lnTo>
                <a:cubicBezTo>
                  <a:pt x="1035301" y="1529631"/>
                  <a:pt x="1035301" y="1529631"/>
                  <a:pt x="1029552" y="1529631"/>
                </a:cubicBezTo>
                <a:cubicBezTo>
                  <a:pt x="1029294" y="1530503"/>
                  <a:pt x="1029036" y="1531375"/>
                  <a:pt x="1028771" y="1532273"/>
                </a:cubicBezTo>
                <a:cubicBezTo>
                  <a:pt x="1025795" y="1536076"/>
                  <a:pt x="1022970" y="1536733"/>
                  <a:pt x="1018013" y="1537640"/>
                </a:cubicBezTo>
                <a:cubicBezTo>
                  <a:pt x="1005216" y="1539038"/>
                  <a:pt x="992573" y="1539816"/>
                  <a:pt x="981126" y="1533859"/>
                </a:cubicBezTo>
                <a:cubicBezTo>
                  <a:pt x="979840" y="1533226"/>
                  <a:pt x="978553" y="1532594"/>
                  <a:pt x="977227" y="1531943"/>
                </a:cubicBezTo>
                <a:cubicBezTo>
                  <a:pt x="965286" y="1525877"/>
                  <a:pt x="959626" y="1520520"/>
                  <a:pt x="955376" y="1508751"/>
                </a:cubicBezTo>
                <a:cubicBezTo>
                  <a:pt x="954571" y="1505674"/>
                  <a:pt x="954571" y="1505674"/>
                  <a:pt x="954571" y="1500037"/>
                </a:cubicBezTo>
                <a:cubicBezTo>
                  <a:pt x="953539" y="1500037"/>
                  <a:pt x="952508" y="1500037"/>
                  <a:pt x="951446" y="1500037"/>
                </a:cubicBezTo>
                <a:cubicBezTo>
                  <a:pt x="951361" y="1495986"/>
                  <a:pt x="951299" y="1491935"/>
                  <a:pt x="951251" y="1487883"/>
                </a:cubicBezTo>
                <a:cubicBezTo>
                  <a:pt x="951224" y="1486744"/>
                  <a:pt x="951198" y="1485605"/>
                  <a:pt x="951171" y="1484431"/>
                </a:cubicBezTo>
                <a:cubicBezTo>
                  <a:pt x="951110" y="1477657"/>
                  <a:pt x="952093" y="1472660"/>
                  <a:pt x="954571" y="1466216"/>
                </a:cubicBezTo>
                <a:cubicBezTo>
                  <a:pt x="954867" y="1462451"/>
                  <a:pt x="955016" y="1458876"/>
                  <a:pt x="954961" y="1455118"/>
                </a:cubicBezTo>
                <a:cubicBezTo>
                  <a:pt x="954951" y="1454080"/>
                  <a:pt x="954942" y="1453042"/>
                  <a:pt x="954932" y="1451972"/>
                </a:cubicBezTo>
                <a:cubicBezTo>
                  <a:pt x="954606" y="1435235"/>
                  <a:pt x="952568" y="1419050"/>
                  <a:pt x="945099" y="1403594"/>
                </a:cubicBezTo>
                <a:cubicBezTo>
                  <a:pt x="943714" y="1400177"/>
                  <a:pt x="943046" y="1397128"/>
                  <a:pt x="942366" y="1393553"/>
                </a:cubicBezTo>
                <a:cubicBezTo>
                  <a:pt x="940837" y="1386134"/>
                  <a:pt x="937840" y="1379609"/>
                  <a:pt x="934451" y="1372734"/>
                </a:cubicBezTo>
                <a:cubicBezTo>
                  <a:pt x="932701" y="1368980"/>
                  <a:pt x="932701" y="1368980"/>
                  <a:pt x="931974" y="1365754"/>
                </a:cubicBezTo>
                <a:cubicBezTo>
                  <a:pt x="931699" y="1364958"/>
                  <a:pt x="931422" y="1364162"/>
                  <a:pt x="931138" y="1363343"/>
                </a:cubicBezTo>
                <a:cubicBezTo>
                  <a:pt x="929592" y="1362878"/>
                  <a:pt x="928045" y="1362413"/>
                  <a:pt x="926452" y="1361933"/>
                </a:cubicBezTo>
                <a:cubicBezTo>
                  <a:pt x="921830" y="1355261"/>
                  <a:pt x="920323" y="1348382"/>
                  <a:pt x="918641" y="1340795"/>
                </a:cubicBezTo>
                <a:cubicBezTo>
                  <a:pt x="918133" y="1338914"/>
                  <a:pt x="917616" y="1337034"/>
                  <a:pt x="917079" y="1335158"/>
                </a:cubicBezTo>
                <a:cubicBezTo>
                  <a:pt x="916048" y="1335158"/>
                  <a:pt x="915018" y="1335158"/>
                  <a:pt x="913955" y="1335158"/>
                </a:cubicBezTo>
                <a:cubicBezTo>
                  <a:pt x="913329" y="1333718"/>
                  <a:pt x="912703" y="1332277"/>
                  <a:pt x="912057" y="1330793"/>
                </a:cubicBezTo>
                <a:cubicBezTo>
                  <a:pt x="909497" y="1325424"/>
                  <a:pt x="906114" y="1320822"/>
                  <a:pt x="902142" y="1316222"/>
                </a:cubicBezTo>
                <a:cubicBezTo>
                  <a:pt x="901465" y="1315432"/>
                  <a:pt x="900788" y="1314642"/>
                  <a:pt x="900091" y="1313828"/>
                </a:cubicBezTo>
                <a:cubicBezTo>
                  <a:pt x="893705" y="1306618"/>
                  <a:pt x="886350" y="1301049"/>
                  <a:pt x="878026" y="1295700"/>
                </a:cubicBezTo>
                <a:cubicBezTo>
                  <a:pt x="876595" y="1294594"/>
                  <a:pt x="876595" y="1294594"/>
                  <a:pt x="875134" y="1293465"/>
                </a:cubicBezTo>
                <a:lnTo>
                  <a:pt x="869869" y="1291826"/>
                </a:lnTo>
                <a:lnTo>
                  <a:pt x="862384" y="1291327"/>
                </a:lnTo>
                <a:cubicBezTo>
                  <a:pt x="856441" y="1290067"/>
                  <a:pt x="850461" y="1290346"/>
                  <a:pt x="844390" y="1290461"/>
                </a:cubicBezTo>
                <a:cubicBezTo>
                  <a:pt x="842453" y="1290480"/>
                  <a:pt x="842453" y="1290480"/>
                  <a:pt x="840476" y="1290500"/>
                </a:cubicBezTo>
                <a:cubicBezTo>
                  <a:pt x="837322" y="1290532"/>
                  <a:pt x="834169" y="1290583"/>
                  <a:pt x="831015" y="1290637"/>
                </a:cubicBezTo>
                <a:cubicBezTo>
                  <a:pt x="831015" y="1291568"/>
                  <a:pt x="831015" y="1292498"/>
                  <a:pt x="831015" y="1293456"/>
                </a:cubicBezTo>
                <a:cubicBezTo>
                  <a:pt x="826519" y="1294808"/>
                  <a:pt x="822922" y="1295235"/>
                  <a:pt x="818225" y="1295570"/>
                </a:cubicBezTo>
                <a:lnTo>
                  <a:pt x="796774" y="1297671"/>
                </a:lnTo>
                <a:lnTo>
                  <a:pt x="783646" y="1305736"/>
                </a:lnTo>
                <a:cubicBezTo>
                  <a:pt x="776915" y="1312506"/>
                  <a:pt x="772692" y="1318638"/>
                  <a:pt x="769263" y="1327143"/>
                </a:cubicBezTo>
                <a:cubicBezTo>
                  <a:pt x="767116" y="1332340"/>
                  <a:pt x="767116" y="1332340"/>
                  <a:pt x="764797" y="1334360"/>
                </a:cubicBezTo>
                <a:lnTo>
                  <a:pt x="757875" y="1353503"/>
                </a:lnTo>
                <a:lnTo>
                  <a:pt x="755676" y="1367455"/>
                </a:lnTo>
                <a:lnTo>
                  <a:pt x="750558" y="1399690"/>
                </a:lnTo>
                <a:lnTo>
                  <a:pt x="753057" y="1411256"/>
                </a:lnTo>
                <a:cubicBezTo>
                  <a:pt x="753057" y="1413117"/>
                  <a:pt x="753057" y="1414976"/>
                  <a:pt x="753057" y="1416893"/>
                </a:cubicBezTo>
                <a:cubicBezTo>
                  <a:pt x="754087" y="1416893"/>
                  <a:pt x="755119" y="1416893"/>
                  <a:pt x="756181" y="1416893"/>
                </a:cubicBezTo>
                <a:cubicBezTo>
                  <a:pt x="759348" y="1422607"/>
                  <a:pt x="758101" y="1429902"/>
                  <a:pt x="758133" y="1436182"/>
                </a:cubicBezTo>
                <a:cubicBezTo>
                  <a:pt x="758182" y="1438458"/>
                  <a:pt x="758182" y="1438458"/>
                  <a:pt x="758231" y="1440781"/>
                </a:cubicBezTo>
                <a:cubicBezTo>
                  <a:pt x="758283" y="1450271"/>
                  <a:pt x="758174" y="1458360"/>
                  <a:pt x="750713" y="1465704"/>
                </a:cubicBezTo>
                <a:cubicBezTo>
                  <a:pt x="749940" y="1466193"/>
                  <a:pt x="749167" y="1466681"/>
                  <a:pt x="748370" y="1467185"/>
                </a:cubicBezTo>
                <a:cubicBezTo>
                  <a:pt x="743665" y="1470047"/>
                  <a:pt x="743665" y="1470047"/>
                  <a:pt x="741633" y="1473526"/>
                </a:cubicBezTo>
                <a:cubicBezTo>
                  <a:pt x="737793" y="1477248"/>
                  <a:pt x="733582" y="1477483"/>
                  <a:pt x="728154" y="1478343"/>
                </a:cubicBezTo>
                <a:cubicBezTo>
                  <a:pt x="724855" y="1478778"/>
                  <a:pt x="724855" y="1478778"/>
                  <a:pt x="721814" y="1480308"/>
                </a:cubicBezTo>
                <a:cubicBezTo>
                  <a:pt x="717303" y="1480523"/>
                  <a:pt x="712854" y="1480634"/>
                  <a:pt x="708341" y="1480661"/>
                </a:cubicBezTo>
                <a:cubicBezTo>
                  <a:pt x="707118" y="1480690"/>
                  <a:pt x="705896" y="1480719"/>
                  <a:pt x="704637" y="1480748"/>
                </a:cubicBezTo>
                <a:cubicBezTo>
                  <a:pt x="690446" y="1480834"/>
                  <a:pt x="679632" y="1476246"/>
                  <a:pt x="668507" y="1468418"/>
                </a:cubicBezTo>
                <a:cubicBezTo>
                  <a:pt x="662823" y="1463224"/>
                  <a:pt x="661745" y="1456995"/>
                  <a:pt x="660178" y="1450027"/>
                </a:cubicBezTo>
                <a:cubicBezTo>
                  <a:pt x="659725" y="1446589"/>
                  <a:pt x="659725" y="1446589"/>
                  <a:pt x="657767" y="1445078"/>
                </a:cubicBezTo>
                <a:cubicBezTo>
                  <a:pt x="656859" y="1433686"/>
                  <a:pt x="655965" y="1419178"/>
                  <a:pt x="663369" y="1409390"/>
                </a:cubicBezTo>
                <a:cubicBezTo>
                  <a:pt x="666078" y="1406601"/>
                  <a:pt x="668921" y="1404013"/>
                  <a:pt x="671826" y="1401392"/>
                </a:cubicBezTo>
                <a:cubicBezTo>
                  <a:pt x="675197" y="1397623"/>
                  <a:pt x="677125" y="1394916"/>
                  <a:pt x="678075" y="1390118"/>
                </a:cubicBezTo>
                <a:cubicBezTo>
                  <a:pt x="680137" y="1389653"/>
                  <a:pt x="682199" y="1389188"/>
                  <a:pt x="684323" y="1388709"/>
                </a:cubicBezTo>
                <a:cubicBezTo>
                  <a:pt x="684643" y="1387232"/>
                  <a:pt x="684964" y="1385755"/>
                  <a:pt x="685293" y="1384233"/>
                </a:cubicBezTo>
                <a:cubicBezTo>
                  <a:pt x="685718" y="1382290"/>
                  <a:pt x="686144" y="1380347"/>
                  <a:pt x="686569" y="1378404"/>
                </a:cubicBezTo>
                <a:cubicBezTo>
                  <a:pt x="686885" y="1376945"/>
                  <a:pt x="686885" y="1376945"/>
                  <a:pt x="687207" y="1375456"/>
                </a:cubicBezTo>
                <a:cubicBezTo>
                  <a:pt x="688115" y="1371315"/>
                  <a:pt x="689090" y="1367353"/>
                  <a:pt x="690572" y="1363343"/>
                </a:cubicBezTo>
                <a:cubicBezTo>
                  <a:pt x="692411" y="1350128"/>
                  <a:pt x="692374" y="1336672"/>
                  <a:pt x="692495" y="1323376"/>
                </a:cubicBezTo>
                <a:cubicBezTo>
                  <a:pt x="692524" y="1320586"/>
                  <a:pt x="692574" y="1317796"/>
                  <a:pt x="692625" y="1315006"/>
                </a:cubicBezTo>
                <a:cubicBezTo>
                  <a:pt x="692853" y="1300589"/>
                  <a:pt x="692853" y="1300589"/>
                  <a:pt x="687447" y="1287245"/>
                </a:cubicBezTo>
                <a:cubicBezTo>
                  <a:pt x="685901" y="1286780"/>
                  <a:pt x="684354" y="1286315"/>
                  <a:pt x="682761" y="1285835"/>
                </a:cubicBezTo>
                <a:cubicBezTo>
                  <a:pt x="680876" y="1283743"/>
                  <a:pt x="680876" y="1283743"/>
                  <a:pt x="678954" y="1281608"/>
                </a:cubicBezTo>
                <a:cubicBezTo>
                  <a:pt x="674854" y="1277278"/>
                  <a:pt x="674356" y="1276958"/>
                  <a:pt x="668702" y="1275971"/>
                </a:cubicBezTo>
                <a:cubicBezTo>
                  <a:pt x="666619" y="1274092"/>
                  <a:pt x="664536" y="1272213"/>
                  <a:pt x="662454" y="1270334"/>
                </a:cubicBezTo>
                <a:cubicBezTo>
                  <a:pt x="658341" y="1268566"/>
                  <a:pt x="658341" y="1268566"/>
                  <a:pt x="654643" y="1267516"/>
                </a:cubicBezTo>
                <a:cubicBezTo>
                  <a:pt x="654643" y="1266585"/>
                  <a:pt x="654643" y="1265656"/>
                  <a:pt x="654643" y="1264697"/>
                </a:cubicBezTo>
                <a:cubicBezTo>
                  <a:pt x="653161" y="1264581"/>
                  <a:pt x="651679" y="1264465"/>
                  <a:pt x="650152" y="1264345"/>
                </a:cubicBezTo>
                <a:cubicBezTo>
                  <a:pt x="642318" y="1263373"/>
                  <a:pt x="635297" y="1260465"/>
                  <a:pt x="628087" y="1257651"/>
                </a:cubicBezTo>
                <a:cubicBezTo>
                  <a:pt x="628087" y="1256721"/>
                  <a:pt x="628087" y="1255791"/>
                  <a:pt x="628087" y="1254833"/>
                </a:cubicBezTo>
                <a:cubicBezTo>
                  <a:pt x="627108" y="1254662"/>
                  <a:pt x="626129" y="1254491"/>
                  <a:pt x="625121" y="1254315"/>
                </a:cubicBezTo>
                <a:cubicBezTo>
                  <a:pt x="623845" y="1254079"/>
                  <a:pt x="622568" y="1253843"/>
                  <a:pt x="621252" y="1253600"/>
                </a:cubicBezTo>
                <a:cubicBezTo>
                  <a:pt x="619984" y="1253371"/>
                  <a:pt x="618716" y="1253142"/>
                  <a:pt x="617409" y="1252906"/>
                </a:cubicBezTo>
                <a:cubicBezTo>
                  <a:pt x="614027" y="1252014"/>
                  <a:pt x="614027" y="1252014"/>
                  <a:pt x="610904" y="1249196"/>
                </a:cubicBezTo>
                <a:cubicBezTo>
                  <a:pt x="592259" y="1248653"/>
                  <a:pt x="578635" y="1260869"/>
                  <a:pt x="565739" y="1271742"/>
                </a:cubicBezTo>
                <a:cubicBezTo>
                  <a:pt x="558808" y="1277725"/>
                  <a:pt x="552763" y="1283983"/>
                  <a:pt x="546924" y="1290829"/>
                </a:cubicBezTo>
                <a:cubicBezTo>
                  <a:pt x="545838" y="1292087"/>
                  <a:pt x="544753" y="1293346"/>
                  <a:pt x="543635" y="1294643"/>
                </a:cubicBezTo>
                <a:cubicBezTo>
                  <a:pt x="542650" y="1295813"/>
                  <a:pt x="541666" y="1296983"/>
                  <a:pt x="540651" y="1298188"/>
                </a:cubicBezTo>
                <a:cubicBezTo>
                  <a:pt x="537294" y="1301526"/>
                  <a:pt x="533978" y="1303337"/>
                  <a:pt x="529673" y="1305565"/>
                </a:cubicBezTo>
                <a:cubicBezTo>
                  <a:pt x="527599" y="1308478"/>
                  <a:pt x="527599" y="1308478"/>
                  <a:pt x="526549" y="1311202"/>
                </a:cubicBezTo>
                <a:cubicBezTo>
                  <a:pt x="525518" y="1311202"/>
                  <a:pt x="524487" y="1311202"/>
                  <a:pt x="523425" y="1311202"/>
                </a:cubicBezTo>
                <a:cubicBezTo>
                  <a:pt x="523360" y="1311986"/>
                  <a:pt x="523296" y="1312771"/>
                  <a:pt x="523230" y="1313580"/>
                </a:cubicBezTo>
                <a:cubicBezTo>
                  <a:pt x="521863" y="1316839"/>
                  <a:pt x="521863" y="1316839"/>
                  <a:pt x="517732" y="1319739"/>
                </a:cubicBezTo>
                <a:cubicBezTo>
                  <a:pt x="511111" y="1324565"/>
                  <a:pt x="506875" y="1330731"/>
                  <a:pt x="502239" y="1337096"/>
                </a:cubicBezTo>
                <a:cubicBezTo>
                  <a:pt x="500512" y="1339427"/>
                  <a:pt x="498785" y="1341757"/>
                  <a:pt x="497058" y="1344087"/>
                </a:cubicBezTo>
                <a:cubicBezTo>
                  <a:pt x="495827" y="1345760"/>
                  <a:pt x="495827" y="1345760"/>
                  <a:pt x="494572" y="1347465"/>
                </a:cubicBezTo>
                <a:cubicBezTo>
                  <a:pt x="492366" y="1350414"/>
                  <a:pt x="490094" y="1353304"/>
                  <a:pt x="487776" y="1356181"/>
                </a:cubicBezTo>
                <a:cubicBezTo>
                  <a:pt x="484805" y="1359972"/>
                  <a:pt x="482865" y="1363193"/>
                  <a:pt x="481248" y="1367571"/>
                </a:cubicBezTo>
                <a:cubicBezTo>
                  <a:pt x="480216" y="1367571"/>
                  <a:pt x="479186" y="1367571"/>
                  <a:pt x="478123" y="1367571"/>
                </a:cubicBezTo>
                <a:cubicBezTo>
                  <a:pt x="477963" y="1368558"/>
                  <a:pt x="477801" y="1369547"/>
                  <a:pt x="477635" y="1370565"/>
                </a:cubicBezTo>
                <a:cubicBezTo>
                  <a:pt x="475602" y="1378236"/>
                  <a:pt x="471952" y="1383371"/>
                  <a:pt x="465626" y="1388709"/>
                </a:cubicBezTo>
                <a:cubicBezTo>
                  <a:pt x="462272" y="1392748"/>
                  <a:pt x="462272" y="1392748"/>
                  <a:pt x="461233" y="1397340"/>
                </a:cubicBezTo>
                <a:cubicBezTo>
                  <a:pt x="460030" y="1401461"/>
                  <a:pt x="458298" y="1404501"/>
                  <a:pt x="455765" y="1408086"/>
                </a:cubicBezTo>
                <a:cubicBezTo>
                  <a:pt x="442829" y="1428603"/>
                  <a:pt x="441572" y="1454548"/>
                  <a:pt x="439070" y="1477490"/>
                </a:cubicBezTo>
                <a:cubicBezTo>
                  <a:pt x="437524" y="1477955"/>
                  <a:pt x="435977" y="1478420"/>
                  <a:pt x="434384" y="1478899"/>
                </a:cubicBezTo>
                <a:cubicBezTo>
                  <a:pt x="433739" y="1479916"/>
                  <a:pt x="433095" y="1480933"/>
                  <a:pt x="432431" y="1481982"/>
                </a:cubicBezTo>
                <a:cubicBezTo>
                  <a:pt x="428860" y="1487159"/>
                  <a:pt x="424291" y="1490903"/>
                  <a:pt x="418763" y="1494401"/>
                </a:cubicBezTo>
                <a:cubicBezTo>
                  <a:pt x="417731" y="1494401"/>
                  <a:pt x="416701" y="1494401"/>
                  <a:pt x="415639" y="1494401"/>
                </a:cubicBezTo>
                <a:cubicBezTo>
                  <a:pt x="415639" y="1495330"/>
                  <a:pt x="415639" y="1496260"/>
                  <a:pt x="415639" y="1497219"/>
                </a:cubicBezTo>
                <a:cubicBezTo>
                  <a:pt x="412546" y="1497684"/>
                  <a:pt x="409453" y="1498149"/>
                  <a:pt x="406265" y="1498628"/>
                </a:cubicBezTo>
                <a:cubicBezTo>
                  <a:pt x="406265" y="1499559"/>
                  <a:pt x="406265" y="1500488"/>
                  <a:pt x="406265" y="1501447"/>
                </a:cubicBezTo>
                <a:cubicBezTo>
                  <a:pt x="395955" y="1501447"/>
                  <a:pt x="385645" y="1501447"/>
                  <a:pt x="375023" y="1501447"/>
                </a:cubicBezTo>
                <a:lnTo>
                  <a:pt x="375023" y="1499438"/>
                </a:lnTo>
                <a:lnTo>
                  <a:pt x="374964" y="1499436"/>
                </a:lnTo>
                <a:lnTo>
                  <a:pt x="373179" y="1498628"/>
                </a:lnTo>
                <a:lnTo>
                  <a:pt x="365650" y="1498628"/>
                </a:lnTo>
                <a:lnTo>
                  <a:pt x="363134" y="1494087"/>
                </a:lnTo>
                <a:lnTo>
                  <a:pt x="362171" y="1493651"/>
                </a:lnTo>
                <a:cubicBezTo>
                  <a:pt x="361656" y="1492722"/>
                  <a:pt x="361140" y="1491791"/>
                  <a:pt x="360609" y="1490833"/>
                </a:cubicBezTo>
                <a:cubicBezTo>
                  <a:pt x="361640" y="1490833"/>
                  <a:pt x="362671" y="1490833"/>
                  <a:pt x="363733" y="1490833"/>
                </a:cubicBezTo>
                <a:lnTo>
                  <a:pt x="363733" y="1489980"/>
                </a:lnTo>
                <a:lnTo>
                  <a:pt x="348467" y="1481717"/>
                </a:lnTo>
                <a:lnTo>
                  <a:pt x="343872" y="1461078"/>
                </a:lnTo>
                <a:lnTo>
                  <a:pt x="343656" y="1463649"/>
                </a:lnTo>
                <a:cubicBezTo>
                  <a:pt x="343541" y="1465230"/>
                  <a:pt x="343541" y="1465230"/>
                  <a:pt x="343424" y="1466842"/>
                </a:cubicBezTo>
                <a:cubicBezTo>
                  <a:pt x="342908" y="1466842"/>
                  <a:pt x="342393" y="1466842"/>
                  <a:pt x="341861" y="1466842"/>
                </a:cubicBezTo>
                <a:cubicBezTo>
                  <a:pt x="340987" y="1449564"/>
                  <a:pt x="340999" y="1434331"/>
                  <a:pt x="354143" y="1420549"/>
                </a:cubicBezTo>
                <a:cubicBezTo>
                  <a:pt x="360765" y="1414011"/>
                  <a:pt x="367631" y="1407790"/>
                  <a:pt x="376229" y="1403427"/>
                </a:cubicBezTo>
                <a:lnTo>
                  <a:pt x="379491" y="1404408"/>
                </a:lnTo>
                <a:lnTo>
                  <a:pt x="379710" y="1404210"/>
                </a:lnTo>
                <a:cubicBezTo>
                  <a:pt x="380290" y="1402902"/>
                  <a:pt x="380290" y="1402902"/>
                  <a:pt x="380882" y="1401568"/>
                </a:cubicBezTo>
                <a:cubicBezTo>
                  <a:pt x="383675" y="1397284"/>
                  <a:pt x="387587" y="1395610"/>
                  <a:pt x="392207" y="1392936"/>
                </a:cubicBezTo>
                <a:lnTo>
                  <a:pt x="399542" y="1386774"/>
                </a:lnTo>
                <a:lnTo>
                  <a:pt x="405485" y="1378917"/>
                </a:lnTo>
                <a:cubicBezTo>
                  <a:pt x="408065" y="1375974"/>
                  <a:pt x="410029" y="1372774"/>
                  <a:pt x="412008" y="1369481"/>
                </a:cubicBezTo>
                <a:cubicBezTo>
                  <a:pt x="414759" y="1365166"/>
                  <a:pt x="417963" y="1361131"/>
                  <a:pt x="421130" y="1357057"/>
                </a:cubicBezTo>
                <a:cubicBezTo>
                  <a:pt x="423073" y="1354140"/>
                  <a:pt x="423985" y="1351767"/>
                  <a:pt x="424676" y="1348443"/>
                </a:cubicBezTo>
                <a:lnTo>
                  <a:pt x="427275" y="1348443"/>
                </a:lnTo>
                <a:lnTo>
                  <a:pt x="428135" y="1345727"/>
                </a:lnTo>
                <a:cubicBezTo>
                  <a:pt x="429370" y="1341828"/>
                  <a:pt x="430645" y="1338666"/>
                  <a:pt x="432822" y="1335158"/>
                </a:cubicBezTo>
                <a:cubicBezTo>
                  <a:pt x="433853" y="1335158"/>
                  <a:pt x="434884" y="1335158"/>
                  <a:pt x="435946" y="1335158"/>
                </a:cubicBezTo>
                <a:cubicBezTo>
                  <a:pt x="436526" y="1333385"/>
                  <a:pt x="437106" y="1331613"/>
                  <a:pt x="437704" y="1329786"/>
                </a:cubicBezTo>
                <a:cubicBezTo>
                  <a:pt x="440162" y="1323132"/>
                  <a:pt x="443602" y="1317301"/>
                  <a:pt x="447394" y="1311196"/>
                </a:cubicBezTo>
                <a:cubicBezTo>
                  <a:pt x="456493" y="1296485"/>
                  <a:pt x="463325" y="1281864"/>
                  <a:pt x="469287" y="1265964"/>
                </a:cubicBezTo>
                <a:cubicBezTo>
                  <a:pt x="474589" y="1252134"/>
                  <a:pt x="474589" y="1252134"/>
                  <a:pt x="478178" y="1246787"/>
                </a:cubicBezTo>
                <a:cubicBezTo>
                  <a:pt x="481232" y="1240246"/>
                  <a:pt x="480204" y="1232766"/>
                  <a:pt x="480179" y="1225768"/>
                </a:cubicBezTo>
                <a:cubicBezTo>
                  <a:pt x="480174" y="1222894"/>
                  <a:pt x="480210" y="1220023"/>
                  <a:pt x="480250" y="1217149"/>
                </a:cubicBezTo>
                <a:cubicBezTo>
                  <a:pt x="480260" y="1199291"/>
                  <a:pt x="476718" y="1187768"/>
                  <a:pt x="462972" y="1174827"/>
                </a:cubicBezTo>
                <a:cubicBezTo>
                  <a:pt x="461148" y="1173192"/>
                  <a:pt x="459312" y="1171566"/>
                  <a:pt x="457468" y="1169949"/>
                </a:cubicBezTo>
                <a:cubicBezTo>
                  <a:pt x="451412" y="1164522"/>
                  <a:pt x="445876" y="1158660"/>
                  <a:pt x="440657" y="1152570"/>
                </a:cubicBezTo>
                <a:cubicBezTo>
                  <a:pt x="430474" y="1140786"/>
                  <a:pt x="418230" y="1128998"/>
                  <a:pt x="403142" y="1122366"/>
                </a:cubicBezTo>
                <a:cubicBezTo>
                  <a:pt x="402626" y="1121436"/>
                  <a:pt x="402110" y="1120506"/>
                  <a:pt x="401579" y="1119547"/>
                </a:cubicBezTo>
                <a:cubicBezTo>
                  <a:pt x="390472" y="1115326"/>
                  <a:pt x="375918" y="1114217"/>
                  <a:pt x="364564" y="1118209"/>
                </a:cubicBezTo>
                <a:cubicBezTo>
                  <a:pt x="362278" y="1119428"/>
                  <a:pt x="360026" y="1120704"/>
                  <a:pt x="357822" y="1122041"/>
                </a:cubicBezTo>
                <a:cubicBezTo>
                  <a:pt x="354521" y="1123884"/>
                  <a:pt x="351862" y="1124582"/>
                  <a:pt x="348077" y="1125273"/>
                </a:cubicBezTo>
                <a:cubicBezTo>
                  <a:pt x="341765" y="1126696"/>
                  <a:pt x="339382" y="1128619"/>
                  <a:pt x="334408" y="1132230"/>
                </a:cubicBezTo>
                <a:cubicBezTo>
                  <a:pt x="332284" y="1132909"/>
                  <a:pt x="330131" y="1133519"/>
                  <a:pt x="327964" y="1134080"/>
                </a:cubicBezTo>
                <a:cubicBezTo>
                  <a:pt x="309975" y="1139067"/>
                  <a:pt x="290592" y="1152117"/>
                  <a:pt x="279734" y="1166051"/>
                </a:cubicBezTo>
                <a:cubicBezTo>
                  <a:pt x="277929" y="1169534"/>
                  <a:pt x="277929" y="1169534"/>
                  <a:pt x="276609" y="1173098"/>
                </a:cubicBezTo>
                <a:cubicBezTo>
                  <a:pt x="272413" y="1180804"/>
                  <a:pt x="269322" y="1184144"/>
                  <a:pt x="260988" y="1188599"/>
                </a:cubicBezTo>
                <a:cubicBezTo>
                  <a:pt x="259988" y="1189435"/>
                  <a:pt x="258987" y="1190271"/>
                  <a:pt x="257956" y="1191132"/>
                </a:cubicBezTo>
                <a:lnTo>
                  <a:pt x="243805" y="1196629"/>
                </a:lnTo>
                <a:lnTo>
                  <a:pt x="243805" y="1194236"/>
                </a:lnTo>
                <a:lnTo>
                  <a:pt x="240288" y="1194765"/>
                </a:lnTo>
                <a:lnTo>
                  <a:pt x="243374" y="1194765"/>
                </a:lnTo>
                <a:lnTo>
                  <a:pt x="243374" y="1196797"/>
                </a:lnTo>
                <a:lnTo>
                  <a:pt x="243805" y="1196629"/>
                </a:lnTo>
                <a:lnTo>
                  <a:pt x="243805" y="1197055"/>
                </a:lnTo>
                <a:lnTo>
                  <a:pt x="243374" y="1197055"/>
                </a:lnTo>
                <a:lnTo>
                  <a:pt x="243374" y="1197584"/>
                </a:lnTo>
                <a:lnTo>
                  <a:pt x="241319" y="1197595"/>
                </a:lnTo>
                <a:lnTo>
                  <a:pt x="238009" y="1198881"/>
                </a:lnTo>
                <a:cubicBezTo>
                  <a:pt x="231012" y="1199584"/>
                  <a:pt x="223620" y="1198927"/>
                  <a:pt x="215687" y="1198464"/>
                </a:cubicBezTo>
                <a:lnTo>
                  <a:pt x="215687" y="1197734"/>
                </a:lnTo>
                <a:lnTo>
                  <a:pt x="213936" y="1197744"/>
                </a:lnTo>
                <a:cubicBezTo>
                  <a:pt x="210570" y="1197584"/>
                  <a:pt x="210570" y="1197584"/>
                  <a:pt x="207446" y="1196175"/>
                </a:cubicBezTo>
                <a:lnTo>
                  <a:pt x="207822" y="1195610"/>
                </a:lnTo>
                <a:lnTo>
                  <a:pt x="184737" y="1180936"/>
                </a:lnTo>
                <a:cubicBezTo>
                  <a:pt x="180258" y="1172216"/>
                  <a:pt x="179226" y="1164355"/>
                  <a:pt x="179270" y="1154866"/>
                </a:cubicBezTo>
                <a:cubicBezTo>
                  <a:pt x="179233" y="1153260"/>
                  <a:pt x="179233" y="1153260"/>
                  <a:pt x="179194" y="1151621"/>
                </a:cubicBezTo>
                <a:cubicBezTo>
                  <a:pt x="179182" y="1139523"/>
                  <a:pt x="183658" y="1128837"/>
                  <a:pt x="193195" y="1120065"/>
                </a:cubicBezTo>
                <a:cubicBezTo>
                  <a:pt x="204265" y="1110959"/>
                  <a:pt x="215062" y="1110626"/>
                  <a:pt x="229551" y="1110299"/>
                </a:cubicBezTo>
                <a:cubicBezTo>
                  <a:pt x="240132" y="1110024"/>
                  <a:pt x="250506" y="1109652"/>
                  <a:pt x="260988" y="1108274"/>
                </a:cubicBezTo>
                <a:cubicBezTo>
                  <a:pt x="260988" y="1107344"/>
                  <a:pt x="260988" y="1106413"/>
                  <a:pt x="260988" y="1105455"/>
                </a:cubicBezTo>
                <a:cubicBezTo>
                  <a:pt x="261953" y="1105078"/>
                  <a:pt x="262918" y="1104699"/>
                  <a:pt x="263911" y="1104310"/>
                </a:cubicBezTo>
                <a:cubicBezTo>
                  <a:pt x="272903" y="1100557"/>
                  <a:pt x="279802" y="1096307"/>
                  <a:pt x="286995" y="1090185"/>
                </a:cubicBezTo>
                <a:cubicBezTo>
                  <a:pt x="290956" y="1086897"/>
                  <a:pt x="295114" y="1083955"/>
                  <a:pt x="299358" y="1080970"/>
                </a:cubicBezTo>
                <a:cubicBezTo>
                  <a:pt x="306613" y="1075692"/>
                  <a:pt x="312234" y="1070023"/>
                  <a:pt x="317762" y="1063272"/>
                </a:cubicBezTo>
                <a:cubicBezTo>
                  <a:pt x="320349" y="1060360"/>
                  <a:pt x="320349" y="1060360"/>
                  <a:pt x="325035" y="1057542"/>
                </a:cubicBezTo>
                <a:cubicBezTo>
                  <a:pt x="329912" y="1045734"/>
                  <a:pt x="327928" y="1035103"/>
                  <a:pt x="325328" y="1023104"/>
                </a:cubicBezTo>
                <a:cubicBezTo>
                  <a:pt x="325069" y="1021831"/>
                  <a:pt x="324811" y="1020559"/>
                  <a:pt x="324544" y="1019247"/>
                </a:cubicBezTo>
                <a:cubicBezTo>
                  <a:pt x="322876" y="1011407"/>
                  <a:pt x="320562" y="1004340"/>
                  <a:pt x="317225" y="996945"/>
                </a:cubicBezTo>
                <a:cubicBezTo>
                  <a:pt x="316619" y="995541"/>
                  <a:pt x="316013" y="994137"/>
                  <a:pt x="315388" y="992690"/>
                </a:cubicBezTo>
                <a:cubicBezTo>
                  <a:pt x="306307" y="972561"/>
                  <a:pt x="298931" y="959343"/>
                  <a:pt x="276232" y="950666"/>
                </a:cubicBezTo>
                <a:cubicBezTo>
                  <a:pt x="274810" y="950127"/>
                  <a:pt x="273388" y="949587"/>
                  <a:pt x="271923" y="949031"/>
                </a:cubicBezTo>
                <a:cubicBezTo>
                  <a:pt x="270129" y="948244"/>
                  <a:pt x="270129" y="948244"/>
                  <a:pt x="268299" y="947441"/>
                </a:cubicBezTo>
                <a:cubicBezTo>
                  <a:pt x="247071" y="938140"/>
                  <a:pt x="222259" y="939051"/>
                  <a:pt x="199187" y="938991"/>
                </a:cubicBezTo>
                <a:cubicBezTo>
                  <a:pt x="197383" y="938984"/>
                  <a:pt x="195579" y="938978"/>
                  <a:pt x="193719" y="938971"/>
                </a:cubicBezTo>
                <a:cubicBezTo>
                  <a:pt x="192010" y="938974"/>
                  <a:pt x="190300" y="938977"/>
                  <a:pt x="188539" y="938980"/>
                </a:cubicBezTo>
                <a:cubicBezTo>
                  <a:pt x="187000" y="938981"/>
                  <a:pt x="185460" y="938983"/>
                  <a:pt x="183874" y="938985"/>
                </a:cubicBezTo>
                <a:cubicBezTo>
                  <a:pt x="180148" y="939150"/>
                  <a:pt x="177092" y="939720"/>
                  <a:pt x="173509" y="940576"/>
                </a:cubicBezTo>
                <a:cubicBezTo>
                  <a:pt x="169458" y="940674"/>
                  <a:pt x="165452" y="940710"/>
                  <a:pt x="161403" y="940664"/>
                </a:cubicBezTo>
                <a:cubicBezTo>
                  <a:pt x="160314" y="940658"/>
                  <a:pt x="159224" y="940651"/>
                  <a:pt x="158102" y="940645"/>
                </a:cubicBezTo>
                <a:lnTo>
                  <a:pt x="150875" y="940583"/>
                </a:lnTo>
                <a:lnTo>
                  <a:pt x="148425" y="940717"/>
                </a:lnTo>
                <a:lnTo>
                  <a:pt x="149617" y="940995"/>
                </a:lnTo>
                <a:cubicBezTo>
                  <a:pt x="149617" y="941459"/>
                  <a:pt x="149617" y="941924"/>
                  <a:pt x="149617" y="942404"/>
                </a:cubicBezTo>
                <a:cubicBezTo>
                  <a:pt x="148630" y="942558"/>
                  <a:pt x="147643" y="942712"/>
                  <a:pt x="146627" y="942871"/>
                </a:cubicBezTo>
                <a:cubicBezTo>
                  <a:pt x="134541" y="944804"/>
                  <a:pt x="122553" y="947081"/>
                  <a:pt x="110564" y="949449"/>
                </a:cubicBezTo>
                <a:lnTo>
                  <a:pt x="111283" y="946205"/>
                </a:lnTo>
                <a:lnTo>
                  <a:pt x="101652" y="956078"/>
                </a:lnTo>
                <a:cubicBezTo>
                  <a:pt x="99870" y="957260"/>
                  <a:pt x="99870" y="957260"/>
                  <a:pt x="98052" y="958467"/>
                </a:cubicBezTo>
                <a:cubicBezTo>
                  <a:pt x="75683" y="972989"/>
                  <a:pt x="75683" y="972989"/>
                  <a:pt x="67286" y="972989"/>
                </a:cubicBezTo>
                <a:cubicBezTo>
                  <a:pt x="67286" y="973918"/>
                  <a:pt x="67286" y="974848"/>
                  <a:pt x="67286" y="975807"/>
                </a:cubicBezTo>
                <a:cubicBezTo>
                  <a:pt x="55713" y="979519"/>
                  <a:pt x="43549" y="980689"/>
                  <a:pt x="31942" y="976423"/>
                </a:cubicBezTo>
                <a:cubicBezTo>
                  <a:pt x="19953" y="970870"/>
                  <a:pt x="10774" y="964932"/>
                  <a:pt x="5673" y="953419"/>
                </a:cubicBezTo>
                <a:cubicBezTo>
                  <a:pt x="4801" y="950441"/>
                  <a:pt x="4801" y="950441"/>
                  <a:pt x="4801" y="944804"/>
                </a:cubicBezTo>
                <a:cubicBezTo>
                  <a:pt x="3770" y="944804"/>
                  <a:pt x="2739" y="944804"/>
                  <a:pt x="1676" y="944804"/>
                </a:cubicBezTo>
                <a:cubicBezTo>
                  <a:pt x="-34" y="940174"/>
                  <a:pt x="-41" y="936720"/>
                  <a:pt x="17" y="931857"/>
                </a:cubicBezTo>
                <a:cubicBezTo>
                  <a:pt x="31" y="930325"/>
                  <a:pt x="45" y="928794"/>
                  <a:pt x="59" y="927216"/>
                </a:cubicBezTo>
                <a:cubicBezTo>
                  <a:pt x="78" y="926044"/>
                  <a:pt x="96" y="924873"/>
                  <a:pt x="115" y="923666"/>
                </a:cubicBezTo>
                <a:cubicBezTo>
                  <a:pt x="1145" y="923666"/>
                  <a:pt x="2176" y="923666"/>
                  <a:pt x="3238" y="923666"/>
                </a:cubicBezTo>
                <a:cubicBezTo>
                  <a:pt x="3238" y="921805"/>
                  <a:pt x="3238" y="919945"/>
                  <a:pt x="3238" y="918029"/>
                </a:cubicBezTo>
                <a:cubicBezTo>
                  <a:pt x="4270" y="918029"/>
                  <a:pt x="5300" y="918029"/>
                  <a:pt x="6363" y="918029"/>
                </a:cubicBezTo>
                <a:cubicBezTo>
                  <a:pt x="6459" y="916314"/>
                  <a:pt x="6556" y="914599"/>
                  <a:pt x="6656" y="912832"/>
                </a:cubicBezTo>
                <a:cubicBezTo>
                  <a:pt x="7542" y="906455"/>
                  <a:pt x="10104" y="903750"/>
                  <a:pt x="15736" y="899709"/>
                </a:cubicBezTo>
                <a:lnTo>
                  <a:pt x="17243" y="898894"/>
                </a:lnTo>
                <a:lnTo>
                  <a:pt x="16800" y="898694"/>
                </a:lnTo>
                <a:lnTo>
                  <a:pt x="24988" y="894101"/>
                </a:lnTo>
                <a:lnTo>
                  <a:pt x="26768" y="892399"/>
                </a:lnTo>
                <a:cubicBezTo>
                  <a:pt x="28282" y="891122"/>
                  <a:pt x="29038" y="890483"/>
                  <a:pt x="30198" y="890164"/>
                </a:cubicBezTo>
                <a:lnTo>
                  <a:pt x="32204" y="890054"/>
                </a:lnTo>
                <a:lnTo>
                  <a:pt x="38914" y="886291"/>
                </a:lnTo>
                <a:cubicBezTo>
                  <a:pt x="47169" y="885770"/>
                  <a:pt x="55396" y="885800"/>
                  <a:pt x="63664" y="886011"/>
                </a:cubicBezTo>
                <a:lnTo>
                  <a:pt x="63664" y="886531"/>
                </a:lnTo>
                <a:lnTo>
                  <a:pt x="70784" y="886647"/>
                </a:lnTo>
                <a:cubicBezTo>
                  <a:pt x="74787" y="887000"/>
                  <a:pt x="77233" y="887948"/>
                  <a:pt x="82126" y="889845"/>
                </a:cubicBezTo>
                <a:cubicBezTo>
                  <a:pt x="92427" y="893791"/>
                  <a:pt x="103139" y="893710"/>
                  <a:pt x="114149" y="892663"/>
                </a:cubicBezTo>
                <a:cubicBezTo>
                  <a:pt x="115696" y="891733"/>
                  <a:pt x="117242" y="890803"/>
                  <a:pt x="118836" y="889845"/>
                </a:cubicBezTo>
                <a:cubicBezTo>
                  <a:pt x="123097" y="888850"/>
                  <a:pt x="127325" y="887944"/>
                  <a:pt x="131626" y="887114"/>
                </a:cubicBezTo>
                <a:cubicBezTo>
                  <a:pt x="139750" y="885542"/>
                  <a:pt x="147376" y="883653"/>
                  <a:pt x="155116" y="880913"/>
                </a:cubicBezTo>
                <a:cubicBezTo>
                  <a:pt x="158498" y="879775"/>
                  <a:pt x="161861" y="879076"/>
                  <a:pt x="165406" y="878483"/>
                </a:cubicBezTo>
                <a:cubicBezTo>
                  <a:pt x="170342" y="877655"/>
                  <a:pt x="172265" y="876971"/>
                  <a:pt x="176634" y="874343"/>
                </a:cubicBezTo>
                <a:cubicBezTo>
                  <a:pt x="179863" y="873335"/>
                  <a:pt x="183123" y="872404"/>
                  <a:pt x="186397" y="871524"/>
                </a:cubicBezTo>
                <a:cubicBezTo>
                  <a:pt x="189107" y="870786"/>
                  <a:pt x="189107" y="870786"/>
                  <a:pt x="191871" y="870033"/>
                </a:cubicBezTo>
                <a:cubicBezTo>
                  <a:pt x="195731" y="869023"/>
                  <a:pt x="199587" y="868093"/>
                  <a:pt x="203483" y="867208"/>
                </a:cubicBezTo>
                <a:cubicBezTo>
                  <a:pt x="208339" y="866199"/>
                  <a:pt x="208339" y="866199"/>
                  <a:pt x="211001" y="861660"/>
                </a:cubicBezTo>
                <a:cubicBezTo>
                  <a:pt x="214174" y="860102"/>
                  <a:pt x="214174" y="860102"/>
                  <a:pt x="218031" y="858577"/>
                </a:cubicBezTo>
                <a:cubicBezTo>
                  <a:pt x="236068" y="850629"/>
                  <a:pt x="245199" y="840442"/>
                  <a:pt x="254740" y="825020"/>
                </a:cubicBezTo>
                <a:cubicBezTo>
                  <a:pt x="255771" y="823625"/>
                  <a:pt x="256802" y="822230"/>
                  <a:pt x="257864" y="820792"/>
                </a:cubicBezTo>
                <a:cubicBezTo>
                  <a:pt x="258359" y="817506"/>
                  <a:pt x="258359" y="817506"/>
                  <a:pt x="258318" y="813810"/>
                </a:cubicBezTo>
                <a:cubicBezTo>
                  <a:pt x="258338" y="812388"/>
                  <a:pt x="258358" y="810967"/>
                  <a:pt x="258378" y="809502"/>
                </a:cubicBezTo>
                <a:cubicBezTo>
                  <a:pt x="258382" y="807965"/>
                  <a:pt x="258385" y="806429"/>
                  <a:pt x="258389" y="804845"/>
                </a:cubicBezTo>
                <a:cubicBezTo>
                  <a:pt x="258399" y="803258"/>
                  <a:pt x="258410" y="801671"/>
                  <a:pt x="258420" y="800036"/>
                </a:cubicBezTo>
                <a:cubicBezTo>
                  <a:pt x="258436" y="796670"/>
                  <a:pt x="258443" y="793305"/>
                  <a:pt x="258443" y="789939"/>
                </a:cubicBezTo>
                <a:cubicBezTo>
                  <a:pt x="258450" y="784823"/>
                  <a:pt x="258506" y="779709"/>
                  <a:pt x="258566" y="774594"/>
                </a:cubicBezTo>
                <a:cubicBezTo>
                  <a:pt x="258575" y="771319"/>
                  <a:pt x="258581" y="768045"/>
                  <a:pt x="258584" y="764771"/>
                </a:cubicBezTo>
                <a:cubicBezTo>
                  <a:pt x="258618" y="762495"/>
                  <a:pt x="258618" y="762495"/>
                  <a:pt x="258652" y="760174"/>
                </a:cubicBezTo>
                <a:cubicBezTo>
                  <a:pt x="258586" y="750030"/>
                  <a:pt x="256266" y="742584"/>
                  <a:pt x="251616" y="733421"/>
                </a:cubicBezTo>
                <a:cubicBezTo>
                  <a:pt x="250163" y="729605"/>
                  <a:pt x="248880" y="725752"/>
                  <a:pt x="247613" y="721883"/>
                </a:cubicBezTo>
                <a:cubicBezTo>
                  <a:pt x="245789" y="716328"/>
                  <a:pt x="243913" y="710939"/>
                  <a:pt x="241291" y="705644"/>
                </a:cubicBezTo>
                <a:cubicBezTo>
                  <a:pt x="238691" y="700096"/>
                  <a:pt x="238136" y="695685"/>
                  <a:pt x="237557" y="689735"/>
                </a:cubicBezTo>
                <a:cubicBezTo>
                  <a:pt x="244977" y="685507"/>
                  <a:pt x="244977" y="685507"/>
                  <a:pt x="248492" y="685507"/>
                </a:cubicBezTo>
                <a:cubicBezTo>
                  <a:pt x="248492" y="684112"/>
                  <a:pt x="248492" y="682717"/>
                  <a:pt x="248492" y="681279"/>
                </a:cubicBezTo>
                <a:cubicBezTo>
                  <a:pt x="245914" y="680815"/>
                  <a:pt x="243337" y="680350"/>
                  <a:pt x="240681" y="679870"/>
                </a:cubicBezTo>
                <a:cubicBezTo>
                  <a:pt x="240681" y="678940"/>
                  <a:pt x="240681" y="678010"/>
                  <a:pt x="240681" y="677052"/>
                </a:cubicBezTo>
                <a:cubicBezTo>
                  <a:pt x="239827" y="676917"/>
                  <a:pt x="238973" y="676783"/>
                  <a:pt x="238094" y="676645"/>
                </a:cubicBezTo>
                <a:cubicBezTo>
                  <a:pt x="233442" y="675371"/>
                  <a:pt x="229939" y="673242"/>
                  <a:pt x="225841" y="670886"/>
                </a:cubicBezTo>
                <a:cubicBezTo>
                  <a:pt x="217808" y="666564"/>
                  <a:pt x="210635" y="664241"/>
                  <a:pt x="201531" y="662508"/>
                </a:cubicBezTo>
                <a:cubicBezTo>
                  <a:pt x="196896" y="661541"/>
                  <a:pt x="192682" y="660199"/>
                  <a:pt x="188252" y="658644"/>
                </a:cubicBezTo>
                <a:lnTo>
                  <a:pt x="182431" y="657327"/>
                </a:lnTo>
                <a:lnTo>
                  <a:pt x="182431" y="657613"/>
                </a:lnTo>
                <a:cubicBezTo>
                  <a:pt x="170575" y="657148"/>
                  <a:pt x="158718" y="656683"/>
                  <a:pt x="146503" y="656204"/>
                </a:cubicBezTo>
                <a:cubicBezTo>
                  <a:pt x="146503" y="657133"/>
                  <a:pt x="146503" y="658064"/>
                  <a:pt x="146503" y="659022"/>
                </a:cubicBezTo>
                <a:cubicBezTo>
                  <a:pt x="134359" y="662326"/>
                  <a:pt x="123013" y="663700"/>
                  <a:pt x="110378" y="663778"/>
                </a:cubicBezTo>
                <a:cubicBezTo>
                  <a:pt x="108435" y="663806"/>
                  <a:pt x="108435" y="663806"/>
                  <a:pt x="106453" y="663836"/>
                </a:cubicBezTo>
                <a:cubicBezTo>
                  <a:pt x="105231" y="663828"/>
                  <a:pt x="104009" y="663820"/>
                  <a:pt x="102751" y="663811"/>
                </a:cubicBezTo>
                <a:cubicBezTo>
                  <a:pt x="101117" y="663804"/>
                  <a:pt x="101117" y="663804"/>
                  <a:pt x="99449" y="663797"/>
                </a:cubicBezTo>
                <a:cubicBezTo>
                  <a:pt x="95696" y="663097"/>
                  <a:pt x="94265" y="661615"/>
                  <a:pt x="91828" y="659022"/>
                </a:cubicBezTo>
                <a:cubicBezTo>
                  <a:pt x="93890" y="659022"/>
                  <a:pt x="95953" y="659022"/>
                  <a:pt x="98077" y="659022"/>
                </a:cubicBezTo>
                <a:cubicBezTo>
                  <a:pt x="98077" y="659952"/>
                  <a:pt x="98077" y="660882"/>
                  <a:pt x="98077" y="661841"/>
                </a:cubicBezTo>
                <a:cubicBezTo>
                  <a:pt x="108735" y="662045"/>
                  <a:pt x="114063" y="662148"/>
                  <a:pt x="119023" y="661357"/>
                </a:cubicBezTo>
                <a:lnTo>
                  <a:pt x="119536" y="661197"/>
                </a:lnTo>
                <a:lnTo>
                  <a:pt x="109853" y="661639"/>
                </a:lnTo>
                <a:cubicBezTo>
                  <a:pt x="108764" y="661632"/>
                  <a:pt x="107675" y="661626"/>
                  <a:pt x="106552" y="661619"/>
                </a:cubicBezTo>
                <a:cubicBezTo>
                  <a:pt x="103877" y="661603"/>
                  <a:pt x="101203" y="661577"/>
                  <a:pt x="98528" y="661550"/>
                </a:cubicBezTo>
                <a:cubicBezTo>
                  <a:pt x="98528" y="660620"/>
                  <a:pt x="98528" y="659691"/>
                  <a:pt x="98528" y="658732"/>
                </a:cubicBezTo>
                <a:cubicBezTo>
                  <a:pt x="95435" y="658267"/>
                  <a:pt x="92342" y="657802"/>
                  <a:pt x="89155" y="657323"/>
                </a:cubicBezTo>
                <a:cubicBezTo>
                  <a:pt x="89155" y="656393"/>
                  <a:pt x="89155" y="655462"/>
                  <a:pt x="89155" y="654504"/>
                </a:cubicBezTo>
                <a:cubicBezTo>
                  <a:pt x="87790" y="653978"/>
                  <a:pt x="87790" y="653978"/>
                  <a:pt x="86397" y="653442"/>
                </a:cubicBezTo>
                <a:cubicBezTo>
                  <a:pt x="82415" y="651438"/>
                  <a:pt x="80039" y="649232"/>
                  <a:pt x="77049" y="646137"/>
                </a:cubicBezTo>
                <a:cubicBezTo>
                  <a:pt x="75611" y="644679"/>
                  <a:pt x="75611" y="644679"/>
                  <a:pt x="74145" y="643192"/>
                </a:cubicBezTo>
                <a:cubicBezTo>
                  <a:pt x="71972" y="640412"/>
                  <a:pt x="71972" y="640412"/>
                  <a:pt x="71972" y="636185"/>
                </a:cubicBezTo>
                <a:cubicBezTo>
                  <a:pt x="70941" y="636185"/>
                  <a:pt x="69910" y="636185"/>
                  <a:pt x="68848" y="636185"/>
                </a:cubicBezTo>
                <a:cubicBezTo>
                  <a:pt x="64250" y="621928"/>
                  <a:pt x="64695" y="609404"/>
                  <a:pt x="70410" y="595317"/>
                </a:cubicBezTo>
                <a:cubicBezTo>
                  <a:pt x="73096" y="591142"/>
                  <a:pt x="76144" y="587574"/>
                  <a:pt x="79782" y="584043"/>
                </a:cubicBezTo>
                <a:cubicBezTo>
                  <a:pt x="81205" y="582594"/>
                  <a:pt x="81205" y="582594"/>
                  <a:pt x="82656" y="581115"/>
                </a:cubicBezTo>
                <a:cubicBezTo>
                  <a:pt x="91488" y="574027"/>
                  <a:pt x="105133" y="571806"/>
                  <a:pt x="116694" y="572323"/>
                </a:cubicBezTo>
                <a:cubicBezTo>
                  <a:pt x="131556" y="574113"/>
                  <a:pt x="142046" y="580551"/>
                  <a:pt x="152031" y="590385"/>
                </a:cubicBezTo>
                <a:cubicBezTo>
                  <a:pt x="162272" y="600009"/>
                  <a:pt x="176992" y="605062"/>
                  <a:pt x="191474" y="605886"/>
                </a:cubicBezTo>
                <a:cubicBezTo>
                  <a:pt x="196845" y="606192"/>
                  <a:pt x="201203" y="606463"/>
                  <a:pt x="206314" y="608000"/>
                </a:cubicBezTo>
                <a:cubicBezTo>
                  <a:pt x="206314" y="608930"/>
                  <a:pt x="206314" y="609860"/>
                  <a:pt x="206314" y="610818"/>
                </a:cubicBezTo>
                <a:cubicBezTo>
                  <a:pt x="215689" y="610902"/>
                  <a:pt x="225058" y="610898"/>
                  <a:pt x="234433" y="610818"/>
                </a:cubicBezTo>
                <a:cubicBezTo>
                  <a:pt x="236112" y="610813"/>
                  <a:pt x="237791" y="610808"/>
                  <a:pt x="239522" y="610802"/>
                </a:cubicBezTo>
                <a:cubicBezTo>
                  <a:pt x="251005" y="610364"/>
                  <a:pt x="259257" y="606564"/>
                  <a:pt x="268799" y="600954"/>
                </a:cubicBezTo>
                <a:cubicBezTo>
                  <a:pt x="269770" y="600416"/>
                  <a:pt x="270740" y="599879"/>
                  <a:pt x="271740" y="599325"/>
                </a:cubicBezTo>
                <a:cubicBezTo>
                  <a:pt x="279452" y="594430"/>
                  <a:pt x="281420" y="587464"/>
                  <a:pt x="284420" y="579816"/>
                </a:cubicBezTo>
                <a:cubicBezTo>
                  <a:pt x="286047" y="576075"/>
                  <a:pt x="287725" y="572353"/>
                  <a:pt x="289399" y="568630"/>
                </a:cubicBezTo>
                <a:cubicBezTo>
                  <a:pt x="294095" y="558121"/>
                  <a:pt x="299004" y="547070"/>
                  <a:pt x="293958" y="535838"/>
                </a:cubicBezTo>
                <a:cubicBezTo>
                  <a:pt x="292436" y="533533"/>
                  <a:pt x="290781" y="531301"/>
                  <a:pt x="289107" y="529084"/>
                </a:cubicBezTo>
                <a:cubicBezTo>
                  <a:pt x="289107" y="528153"/>
                  <a:pt x="289107" y="527223"/>
                  <a:pt x="289107" y="526265"/>
                </a:cubicBezTo>
                <a:cubicBezTo>
                  <a:pt x="287560" y="525800"/>
                  <a:pt x="286014" y="525335"/>
                  <a:pt x="284420" y="524856"/>
                </a:cubicBezTo>
                <a:cubicBezTo>
                  <a:pt x="283905" y="523461"/>
                  <a:pt x="283389" y="522066"/>
                  <a:pt x="282858" y="520628"/>
                </a:cubicBezTo>
                <a:cubicBezTo>
                  <a:pt x="280750" y="518590"/>
                  <a:pt x="280750" y="518590"/>
                  <a:pt x="277977" y="516577"/>
                </a:cubicBezTo>
                <a:cubicBezTo>
                  <a:pt x="273591" y="513232"/>
                  <a:pt x="269227" y="509874"/>
                  <a:pt x="264925" y="506443"/>
                </a:cubicBezTo>
                <a:cubicBezTo>
                  <a:pt x="253596" y="497433"/>
                  <a:pt x="242132" y="488987"/>
                  <a:pt x="229746" y="481170"/>
                </a:cubicBezTo>
                <a:cubicBezTo>
                  <a:pt x="226846" y="479266"/>
                  <a:pt x="223950" y="477358"/>
                  <a:pt x="221057" y="475445"/>
                </a:cubicBezTo>
                <a:cubicBezTo>
                  <a:pt x="218227" y="473594"/>
                  <a:pt x="215396" y="471744"/>
                  <a:pt x="212563" y="469896"/>
                </a:cubicBezTo>
                <a:cubicBezTo>
                  <a:pt x="211351" y="469102"/>
                  <a:pt x="210138" y="468309"/>
                  <a:pt x="208889" y="467491"/>
                </a:cubicBezTo>
                <a:cubicBezTo>
                  <a:pt x="202848" y="463599"/>
                  <a:pt x="196732" y="459888"/>
                  <a:pt x="190406" y="456382"/>
                </a:cubicBezTo>
                <a:cubicBezTo>
                  <a:pt x="189263" y="455748"/>
                  <a:pt x="188119" y="455114"/>
                  <a:pt x="186942" y="454460"/>
                </a:cubicBezTo>
                <a:cubicBezTo>
                  <a:pt x="184648" y="453196"/>
                  <a:pt x="182348" y="451941"/>
                  <a:pt x="180041" y="450696"/>
                </a:cubicBezTo>
                <a:cubicBezTo>
                  <a:pt x="177292" y="449185"/>
                  <a:pt x="174612" y="447571"/>
                  <a:pt x="171948" y="445940"/>
                </a:cubicBezTo>
                <a:cubicBezTo>
                  <a:pt x="171948" y="445009"/>
                  <a:pt x="171948" y="444079"/>
                  <a:pt x="171948" y="443121"/>
                </a:cubicBezTo>
                <a:cubicBezTo>
                  <a:pt x="170804" y="442985"/>
                  <a:pt x="169660" y="442848"/>
                  <a:pt x="168482" y="442708"/>
                </a:cubicBezTo>
                <a:cubicBezTo>
                  <a:pt x="163547" y="441576"/>
                  <a:pt x="161063" y="439897"/>
                  <a:pt x="157107" y="437044"/>
                </a:cubicBezTo>
                <a:cubicBezTo>
                  <a:pt x="149345" y="431895"/>
                  <a:pt x="141843" y="429626"/>
                  <a:pt x="132559" y="427510"/>
                </a:cubicBezTo>
                <a:cubicBezTo>
                  <a:pt x="128067" y="426168"/>
                  <a:pt x="126607" y="425060"/>
                  <a:pt x="123522" y="421983"/>
                </a:cubicBezTo>
                <a:cubicBezTo>
                  <a:pt x="118310" y="419033"/>
                  <a:pt x="114076" y="418794"/>
                  <a:pt x="107986" y="418730"/>
                </a:cubicBezTo>
                <a:cubicBezTo>
                  <a:pt x="106174" y="418694"/>
                  <a:pt x="104362" y="418659"/>
                  <a:pt x="102494" y="418622"/>
                </a:cubicBezTo>
                <a:cubicBezTo>
                  <a:pt x="98715" y="418573"/>
                  <a:pt x="94936" y="418529"/>
                  <a:pt x="91157" y="418490"/>
                </a:cubicBezTo>
                <a:cubicBezTo>
                  <a:pt x="78470" y="418231"/>
                  <a:pt x="65485" y="417940"/>
                  <a:pt x="55277" y="410445"/>
                </a:cubicBezTo>
                <a:cubicBezTo>
                  <a:pt x="54084" y="409137"/>
                  <a:pt x="52893" y="407829"/>
                  <a:pt x="51665" y="406481"/>
                </a:cubicBezTo>
                <a:cubicBezTo>
                  <a:pt x="49752" y="404480"/>
                  <a:pt x="47831" y="402483"/>
                  <a:pt x="45904" y="400492"/>
                </a:cubicBezTo>
                <a:cubicBezTo>
                  <a:pt x="44996" y="399526"/>
                  <a:pt x="44088" y="398559"/>
                  <a:pt x="43152" y="397564"/>
                </a:cubicBezTo>
                <a:cubicBezTo>
                  <a:pt x="40865" y="395062"/>
                  <a:pt x="40865" y="395062"/>
                  <a:pt x="37605" y="393798"/>
                </a:cubicBezTo>
                <a:lnTo>
                  <a:pt x="38995" y="368712"/>
                </a:lnTo>
                <a:lnTo>
                  <a:pt x="38666" y="369724"/>
                </a:lnTo>
                <a:cubicBezTo>
                  <a:pt x="37003" y="374506"/>
                  <a:pt x="36202" y="379113"/>
                  <a:pt x="35542" y="384081"/>
                </a:cubicBezTo>
                <a:cubicBezTo>
                  <a:pt x="30313" y="376119"/>
                  <a:pt x="31188" y="366593"/>
                  <a:pt x="33326" y="357791"/>
                </a:cubicBezTo>
                <a:cubicBezTo>
                  <a:pt x="37176" y="347767"/>
                  <a:pt x="44536" y="340769"/>
                  <a:pt x="52725" y="333349"/>
                </a:cubicBezTo>
                <a:lnTo>
                  <a:pt x="55222" y="334475"/>
                </a:lnTo>
                <a:lnTo>
                  <a:pt x="56222" y="333347"/>
                </a:lnTo>
                <a:lnTo>
                  <a:pt x="55871" y="333347"/>
                </a:lnTo>
                <a:lnTo>
                  <a:pt x="56346" y="333207"/>
                </a:lnTo>
                <a:lnTo>
                  <a:pt x="56351" y="333202"/>
                </a:lnTo>
                <a:lnTo>
                  <a:pt x="56365" y="333202"/>
                </a:lnTo>
                <a:lnTo>
                  <a:pt x="79571" y="326360"/>
                </a:lnTo>
                <a:cubicBezTo>
                  <a:pt x="87782" y="326037"/>
                  <a:pt x="96164" y="327572"/>
                  <a:pt x="104297" y="330529"/>
                </a:cubicBezTo>
                <a:lnTo>
                  <a:pt x="107170" y="334417"/>
                </a:lnTo>
                <a:lnTo>
                  <a:pt x="109366" y="336046"/>
                </a:lnTo>
                <a:lnTo>
                  <a:pt x="109463" y="336020"/>
                </a:lnTo>
                <a:lnTo>
                  <a:pt x="109463" y="336118"/>
                </a:lnTo>
                <a:lnTo>
                  <a:pt x="115226" y="340394"/>
                </a:lnTo>
                <a:lnTo>
                  <a:pt x="114010" y="340120"/>
                </a:lnTo>
                <a:lnTo>
                  <a:pt x="133285" y="357423"/>
                </a:lnTo>
                <a:cubicBezTo>
                  <a:pt x="142471" y="373187"/>
                  <a:pt x="155564" y="382744"/>
                  <a:pt x="173509" y="389571"/>
                </a:cubicBezTo>
                <a:cubicBezTo>
                  <a:pt x="176254" y="390785"/>
                  <a:pt x="178988" y="392017"/>
                  <a:pt x="181711" y="393270"/>
                </a:cubicBezTo>
                <a:cubicBezTo>
                  <a:pt x="182964" y="393833"/>
                  <a:pt x="184216" y="394396"/>
                  <a:pt x="185507" y="394976"/>
                </a:cubicBezTo>
                <a:cubicBezTo>
                  <a:pt x="187897" y="396058"/>
                  <a:pt x="190281" y="397151"/>
                  <a:pt x="192658" y="398257"/>
                </a:cubicBezTo>
                <a:cubicBezTo>
                  <a:pt x="193749" y="398762"/>
                  <a:pt x="194841" y="399267"/>
                  <a:pt x="195966" y="399788"/>
                </a:cubicBezTo>
                <a:cubicBezTo>
                  <a:pt x="196912" y="400231"/>
                  <a:pt x="197858" y="400674"/>
                  <a:pt x="198833" y="401131"/>
                </a:cubicBezTo>
                <a:cubicBezTo>
                  <a:pt x="201808" y="402326"/>
                  <a:pt x="204701" y="403032"/>
                  <a:pt x="207877" y="403663"/>
                </a:cubicBezTo>
                <a:cubicBezTo>
                  <a:pt x="207877" y="404593"/>
                  <a:pt x="207877" y="405523"/>
                  <a:pt x="207877" y="406481"/>
                </a:cubicBezTo>
                <a:cubicBezTo>
                  <a:pt x="221233" y="411377"/>
                  <a:pt x="234752" y="415503"/>
                  <a:pt x="248492" y="419428"/>
                </a:cubicBezTo>
                <a:cubicBezTo>
                  <a:pt x="250298" y="419947"/>
                  <a:pt x="252104" y="420466"/>
                  <a:pt x="253965" y="421000"/>
                </a:cubicBezTo>
                <a:cubicBezTo>
                  <a:pt x="258388" y="422270"/>
                  <a:pt x="262812" y="423537"/>
                  <a:pt x="267237" y="424801"/>
                </a:cubicBezTo>
                <a:lnTo>
                  <a:pt x="267237" y="426451"/>
                </a:lnTo>
                <a:lnTo>
                  <a:pt x="288701" y="429217"/>
                </a:lnTo>
                <a:cubicBezTo>
                  <a:pt x="288701" y="430147"/>
                  <a:pt x="288701" y="431078"/>
                  <a:pt x="288701" y="432036"/>
                </a:cubicBezTo>
                <a:cubicBezTo>
                  <a:pt x="301487" y="433472"/>
                  <a:pt x="314148" y="433662"/>
                  <a:pt x="327010" y="433628"/>
                </a:cubicBezTo>
                <a:cubicBezTo>
                  <a:pt x="330502" y="433621"/>
                  <a:pt x="333994" y="433628"/>
                  <a:pt x="337486" y="433637"/>
                </a:cubicBezTo>
                <a:cubicBezTo>
                  <a:pt x="339734" y="433637"/>
                  <a:pt x="341982" y="433635"/>
                  <a:pt x="344229" y="433632"/>
                </a:cubicBezTo>
                <a:cubicBezTo>
                  <a:pt x="347246" y="433630"/>
                  <a:pt x="347246" y="433630"/>
                  <a:pt x="350323" y="433627"/>
                </a:cubicBezTo>
                <a:cubicBezTo>
                  <a:pt x="355445" y="433459"/>
                  <a:pt x="360220" y="432915"/>
                  <a:pt x="365245" y="432036"/>
                </a:cubicBezTo>
                <a:lnTo>
                  <a:pt x="360797" y="433759"/>
                </a:lnTo>
                <a:lnTo>
                  <a:pt x="365650" y="433257"/>
                </a:lnTo>
                <a:cubicBezTo>
                  <a:pt x="366166" y="431861"/>
                  <a:pt x="366682" y="430466"/>
                  <a:pt x="367213" y="429029"/>
                </a:cubicBezTo>
                <a:cubicBezTo>
                  <a:pt x="369854" y="427628"/>
                  <a:pt x="372501" y="426234"/>
                  <a:pt x="375188" y="424906"/>
                </a:cubicBezTo>
                <a:cubicBezTo>
                  <a:pt x="390245" y="417204"/>
                  <a:pt x="397438" y="403183"/>
                  <a:pt x="404704" y="389571"/>
                </a:cubicBezTo>
                <a:cubicBezTo>
                  <a:pt x="405219" y="389105"/>
                  <a:pt x="405734" y="388641"/>
                  <a:pt x="406265" y="388161"/>
                </a:cubicBezTo>
                <a:cubicBezTo>
                  <a:pt x="406663" y="382152"/>
                  <a:pt x="406555" y="376125"/>
                  <a:pt x="406559" y="370106"/>
                </a:cubicBezTo>
                <a:cubicBezTo>
                  <a:pt x="406578" y="368412"/>
                  <a:pt x="406597" y="366718"/>
                  <a:pt x="406617" y="364973"/>
                </a:cubicBezTo>
                <a:cubicBezTo>
                  <a:pt x="406620" y="363344"/>
                  <a:pt x="406622" y="361715"/>
                  <a:pt x="406626" y="360038"/>
                </a:cubicBezTo>
                <a:cubicBezTo>
                  <a:pt x="406632" y="358541"/>
                  <a:pt x="406638" y="357045"/>
                  <a:pt x="406645" y="355503"/>
                </a:cubicBezTo>
                <a:cubicBezTo>
                  <a:pt x="406264" y="351503"/>
                  <a:pt x="405326" y="349318"/>
                  <a:pt x="403142" y="345885"/>
                </a:cubicBezTo>
                <a:cubicBezTo>
                  <a:pt x="402583" y="343484"/>
                  <a:pt x="402067" y="341075"/>
                  <a:pt x="401579" y="338663"/>
                </a:cubicBezTo>
                <a:cubicBezTo>
                  <a:pt x="399365" y="330323"/>
                  <a:pt x="395538" y="323370"/>
                  <a:pt x="390938" y="315939"/>
                </a:cubicBezTo>
                <a:cubicBezTo>
                  <a:pt x="390290" y="314890"/>
                  <a:pt x="389642" y="313842"/>
                  <a:pt x="388976" y="312762"/>
                </a:cubicBezTo>
                <a:cubicBezTo>
                  <a:pt x="385623" y="307500"/>
                  <a:pt x="382070" y="302607"/>
                  <a:pt x="377934" y="297817"/>
                </a:cubicBezTo>
                <a:cubicBezTo>
                  <a:pt x="373788" y="292978"/>
                  <a:pt x="371423" y="288111"/>
                  <a:pt x="368775" y="282470"/>
                </a:cubicBezTo>
                <a:cubicBezTo>
                  <a:pt x="366035" y="278585"/>
                  <a:pt x="362994" y="274937"/>
                  <a:pt x="359890" y="271284"/>
                </a:cubicBezTo>
                <a:cubicBezTo>
                  <a:pt x="359059" y="270296"/>
                  <a:pt x="358230" y="269307"/>
                  <a:pt x="357374" y="268288"/>
                </a:cubicBezTo>
                <a:cubicBezTo>
                  <a:pt x="351312" y="261177"/>
                  <a:pt x="344882" y="254704"/>
                  <a:pt x="337533" y="248649"/>
                </a:cubicBezTo>
                <a:cubicBezTo>
                  <a:pt x="336767" y="247896"/>
                  <a:pt x="336002" y="247144"/>
                  <a:pt x="335214" y="246369"/>
                </a:cubicBezTo>
                <a:cubicBezTo>
                  <a:pt x="332597" y="243963"/>
                  <a:pt x="332597" y="243963"/>
                  <a:pt x="327085" y="242571"/>
                </a:cubicBezTo>
                <a:cubicBezTo>
                  <a:pt x="309670" y="236923"/>
                  <a:pt x="296614" y="222751"/>
                  <a:pt x="288785" y="207968"/>
                </a:cubicBezTo>
                <a:cubicBezTo>
                  <a:pt x="286673" y="202851"/>
                  <a:pt x="286348" y="197968"/>
                  <a:pt x="286373" y="192544"/>
                </a:cubicBezTo>
                <a:cubicBezTo>
                  <a:pt x="286377" y="191437"/>
                  <a:pt x="286381" y="190330"/>
                  <a:pt x="286385" y="189190"/>
                </a:cubicBezTo>
                <a:cubicBezTo>
                  <a:pt x="286881" y="178340"/>
                  <a:pt x="291581" y="171728"/>
                  <a:pt x="300042" y="164095"/>
                </a:cubicBezTo>
                <a:cubicBezTo>
                  <a:pt x="301386" y="162752"/>
                  <a:pt x="301386" y="162752"/>
                  <a:pt x="302757" y="161381"/>
                </a:cubicBezTo>
                <a:cubicBezTo>
                  <a:pt x="312597" y="152504"/>
                  <a:pt x="325185" y="152675"/>
                  <a:pt x="338411" y="152293"/>
                </a:cubicBezTo>
                <a:cubicBezTo>
                  <a:pt x="350839" y="152463"/>
                  <a:pt x="359094" y="154554"/>
                  <a:pt x="368482" y="161893"/>
                </a:cubicBezTo>
                <a:cubicBezTo>
                  <a:pt x="369609" y="163085"/>
                  <a:pt x="370737" y="164277"/>
                  <a:pt x="371899" y="165505"/>
                </a:cubicBezTo>
                <a:cubicBezTo>
                  <a:pt x="372962" y="166522"/>
                  <a:pt x="374026" y="167539"/>
                  <a:pt x="375121" y="168587"/>
                </a:cubicBezTo>
                <a:cubicBezTo>
                  <a:pt x="381050" y="176351"/>
                  <a:pt x="384520" y="184328"/>
                  <a:pt x="384982" y="193777"/>
                </a:cubicBezTo>
                <a:cubicBezTo>
                  <a:pt x="385464" y="201192"/>
                  <a:pt x="387638" y="207607"/>
                  <a:pt x="390352" y="214563"/>
                </a:cubicBezTo>
                <a:cubicBezTo>
                  <a:pt x="390934" y="216079"/>
                  <a:pt x="390934" y="216079"/>
                  <a:pt x="391529" y="217626"/>
                </a:cubicBezTo>
                <a:cubicBezTo>
                  <a:pt x="394082" y="223926"/>
                  <a:pt x="397412" y="228969"/>
                  <a:pt x="401579" y="234556"/>
                </a:cubicBezTo>
                <a:cubicBezTo>
                  <a:pt x="401579" y="235952"/>
                  <a:pt x="401579" y="237347"/>
                  <a:pt x="401579" y="238784"/>
                </a:cubicBezTo>
                <a:cubicBezTo>
                  <a:pt x="402884" y="239263"/>
                  <a:pt x="402884" y="239263"/>
                  <a:pt x="404215" y="239753"/>
                </a:cubicBezTo>
                <a:cubicBezTo>
                  <a:pt x="410099" y="242765"/>
                  <a:pt x="414395" y="246733"/>
                  <a:pt x="417811" y="251996"/>
                </a:cubicBezTo>
                <a:cubicBezTo>
                  <a:pt x="420462" y="255897"/>
                  <a:pt x="423407" y="258959"/>
                  <a:pt x="426866" y="262300"/>
                </a:cubicBezTo>
                <a:cubicBezTo>
                  <a:pt x="435101" y="270407"/>
                  <a:pt x="442641" y="278936"/>
                  <a:pt x="450097" y="287628"/>
                </a:cubicBezTo>
                <a:cubicBezTo>
                  <a:pt x="453081" y="291117"/>
                  <a:pt x="453081" y="291117"/>
                  <a:pt x="457425" y="293920"/>
                </a:cubicBezTo>
                <a:cubicBezTo>
                  <a:pt x="458585" y="294792"/>
                  <a:pt x="459745" y="295664"/>
                  <a:pt x="460940" y="296562"/>
                </a:cubicBezTo>
                <a:cubicBezTo>
                  <a:pt x="460940" y="297957"/>
                  <a:pt x="460940" y="299352"/>
                  <a:pt x="460940" y="300790"/>
                </a:cubicBezTo>
                <a:cubicBezTo>
                  <a:pt x="465063" y="302782"/>
                  <a:pt x="468862" y="304133"/>
                  <a:pt x="473437" y="305018"/>
                </a:cubicBezTo>
                <a:cubicBezTo>
                  <a:pt x="473437" y="305947"/>
                  <a:pt x="473437" y="306877"/>
                  <a:pt x="473437" y="307836"/>
                </a:cubicBezTo>
                <a:cubicBezTo>
                  <a:pt x="475581" y="308519"/>
                  <a:pt x="477730" y="309193"/>
                  <a:pt x="479881" y="309862"/>
                </a:cubicBezTo>
                <a:cubicBezTo>
                  <a:pt x="481077" y="310237"/>
                  <a:pt x="482273" y="310614"/>
                  <a:pt x="483505" y="311001"/>
                </a:cubicBezTo>
                <a:cubicBezTo>
                  <a:pt x="505448" y="316843"/>
                  <a:pt x="527690" y="314359"/>
                  <a:pt x="548419" y="306427"/>
                </a:cubicBezTo>
                <a:cubicBezTo>
                  <a:pt x="549548" y="305998"/>
                  <a:pt x="550678" y="305569"/>
                  <a:pt x="551842" y="305127"/>
                </a:cubicBezTo>
                <a:cubicBezTo>
                  <a:pt x="555376" y="303227"/>
                  <a:pt x="557584" y="300980"/>
                  <a:pt x="560232" y="298148"/>
                </a:cubicBezTo>
                <a:cubicBezTo>
                  <a:pt x="561137" y="297192"/>
                  <a:pt x="562041" y="296236"/>
                  <a:pt x="562972" y="295252"/>
                </a:cubicBezTo>
                <a:cubicBezTo>
                  <a:pt x="564755" y="293274"/>
                  <a:pt x="566459" y="291237"/>
                  <a:pt x="568086" y="289152"/>
                </a:cubicBezTo>
                <a:cubicBezTo>
                  <a:pt x="568813" y="288342"/>
                  <a:pt x="569539" y="287532"/>
                  <a:pt x="570289" y="286697"/>
                </a:cubicBezTo>
                <a:cubicBezTo>
                  <a:pt x="571319" y="286697"/>
                  <a:pt x="572350" y="286697"/>
                  <a:pt x="573413" y="286697"/>
                </a:cubicBezTo>
                <a:cubicBezTo>
                  <a:pt x="577408" y="276984"/>
                  <a:pt x="577197" y="267284"/>
                  <a:pt x="577220" y="257016"/>
                </a:cubicBezTo>
                <a:cubicBezTo>
                  <a:pt x="577227" y="255625"/>
                  <a:pt x="577227" y="255625"/>
                  <a:pt x="577235" y="254206"/>
                </a:cubicBezTo>
                <a:cubicBezTo>
                  <a:pt x="577257" y="237553"/>
                  <a:pt x="574604" y="222055"/>
                  <a:pt x="569443" y="206049"/>
                </a:cubicBezTo>
                <a:cubicBezTo>
                  <a:pt x="568726" y="203553"/>
                  <a:pt x="568726" y="203553"/>
                  <a:pt x="568726" y="200735"/>
                </a:cubicBezTo>
                <a:cubicBezTo>
                  <a:pt x="567695" y="200735"/>
                  <a:pt x="566664" y="200735"/>
                  <a:pt x="565602" y="200735"/>
                </a:cubicBezTo>
                <a:cubicBezTo>
                  <a:pt x="563274" y="195295"/>
                  <a:pt x="561092" y="190108"/>
                  <a:pt x="559549" y="184441"/>
                </a:cubicBezTo>
                <a:cubicBezTo>
                  <a:pt x="555572" y="173477"/>
                  <a:pt x="547043" y="167105"/>
                  <a:pt x="537484" y="159867"/>
                </a:cubicBezTo>
                <a:cubicBezTo>
                  <a:pt x="533579" y="156609"/>
                  <a:pt x="533579" y="156609"/>
                  <a:pt x="531235" y="154230"/>
                </a:cubicBezTo>
                <a:cubicBezTo>
                  <a:pt x="531235" y="153301"/>
                  <a:pt x="531235" y="152371"/>
                  <a:pt x="531235" y="151412"/>
                </a:cubicBezTo>
                <a:cubicBezTo>
                  <a:pt x="529689" y="150947"/>
                  <a:pt x="528143" y="150482"/>
                  <a:pt x="526549" y="150003"/>
                </a:cubicBezTo>
                <a:cubicBezTo>
                  <a:pt x="519904" y="137298"/>
                  <a:pt x="519105" y="120357"/>
                  <a:pt x="524304" y="107198"/>
                </a:cubicBezTo>
                <a:cubicBezTo>
                  <a:pt x="529443" y="97376"/>
                  <a:pt x="535781" y="90193"/>
                  <a:pt x="547052" y="85972"/>
                </a:cubicBezTo>
                <a:cubicBezTo>
                  <a:pt x="559924" y="81835"/>
                  <a:pt x="575221" y="79746"/>
                  <a:pt x="588460" y="83538"/>
                </a:cubicBezTo>
                <a:cubicBezTo>
                  <a:pt x="601643" y="89713"/>
                  <a:pt x="611835" y="99450"/>
                  <a:pt x="617152" y="111954"/>
                </a:cubicBezTo>
                <a:cubicBezTo>
                  <a:pt x="617935" y="116052"/>
                  <a:pt x="617954" y="120024"/>
                  <a:pt x="617884" y="124175"/>
                </a:cubicBezTo>
                <a:cubicBezTo>
                  <a:pt x="617896" y="125307"/>
                  <a:pt x="617906" y="126440"/>
                  <a:pt x="617917" y="127607"/>
                </a:cubicBezTo>
                <a:cubicBezTo>
                  <a:pt x="617963" y="132394"/>
                  <a:pt x="617938" y="137181"/>
                  <a:pt x="617919" y="141969"/>
                </a:cubicBezTo>
                <a:cubicBezTo>
                  <a:pt x="617899" y="160184"/>
                  <a:pt x="619422" y="175572"/>
                  <a:pt x="630625" y="191311"/>
                </a:cubicBezTo>
                <a:cubicBezTo>
                  <a:pt x="633753" y="195891"/>
                  <a:pt x="636431" y="199900"/>
                  <a:pt x="637850" y="205139"/>
                </a:cubicBezTo>
                <a:cubicBezTo>
                  <a:pt x="638615" y="209623"/>
                  <a:pt x="638615" y="209623"/>
                  <a:pt x="643708" y="212009"/>
                </a:cubicBezTo>
                <a:cubicBezTo>
                  <a:pt x="645380" y="214563"/>
                  <a:pt x="645380" y="214563"/>
                  <a:pt x="647027" y="217645"/>
                </a:cubicBezTo>
                <a:cubicBezTo>
                  <a:pt x="652549" y="227016"/>
                  <a:pt x="660443" y="235696"/>
                  <a:pt x="670264" y="241603"/>
                </a:cubicBezTo>
                <a:cubicBezTo>
                  <a:pt x="670264" y="242532"/>
                  <a:pt x="670264" y="243462"/>
                  <a:pt x="670264" y="244421"/>
                </a:cubicBezTo>
                <a:cubicBezTo>
                  <a:pt x="672036" y="244857"/>
                  <a:pt x="673808" y="245293"/>
                  <a:pt x="675634" y="245742"/>
                </a:cubicBezTo>
                <a:cubicBezTo>
                  <a:pt x="681199" y="247239"/>
                  <a:pt x="681199" y="247239"/>
                  <a:pt x="682761" y="248649"/>
                </a:cubicBezTo>
                <a:cubicBezTo>
                  <a:pt x="704487" y="252065"/>
                  <a:pt x="732606" y="256402"/>
                  <a:pt x="752092" y="245076"/>
                </a:cubicBezTo>
                <a:cubicBezTo>
                  <a:pt x="754252" y="243599"/>
                  <a:pt x="756372" y="242073"/>
                  <a:pt x="758433" y="240485"/>
                </a:cubicBezTo>
                <a:cubicBezTo>
                  <a:pt x="760867" y="238784"/>
                  <a:pt x="760867" y="238784"/>
                  <a:pt x="763991" y="238784"/>
                </a:cubicBezTo>
                <a:cubicBezTo>
                  <a:pt x="764647" y="237296"/>
                  <a:pt x="764647" y="237296"/>
                  <a:pt x="765315" y="235778"/>
                </a:cubicBezTo>
                <a:cubicBezTo>
                  <a:pt x="767151" y="231659"/>
                  <a:pt x="769030" y="227557"/>
                  <a:pt x="770923" y="223459"/>
                </a:cubicBezTo>
                <a:cubicBezTo>
                  <a:pt x="771608" y="221966"/>
                  <a:pt x="772292" y="220472"/>
                  <a:pt x="772998" y="218934"/>
                </a:cubicBezTo>
                <a:cubicBezTo>
                  <a:pt x="774429" y="215885"/>
                  <a:pt x="775968" y="212878"/>
                  <a:pt x="777562" y="209895"/>
                </a:cubicBezTo>
                <a:cubicBezTo>
                  <a:pt x="787607" y="185732"/>
                  <a:pt x="788559" y="149501"/>
                  <a:pt x="781175" y="124637"/>
                </a:cubicBezTo>
                <a:cubicBezTo>
                  <a:pt x="780144" y="124637"/>
                  <a:pt x="779113" y="124637"/>
                  <a:pt x="778051" y="124637"/>
                </a:cubicBezTo>
                <a:cubicBezTo>
                  <a:pt x="768501" y="110080"/>
                  <a:pt x="762898" y="96653"/>
                  <a:pt x="767116" y="79542"/>
                </a:cubicBezTo>
                <a:cubicBezTo>
                  <a:pt x="772286" y="69057"/>
                  <a:pt x="781456" y="58252"/>
                  <a:pt x="793379" y="54000"/>
                </a:cubicBezTo>
                <a:cubicBezTo>
                  <a:pt x="808369" y="49250"/>
                  <a:pt x="826058" y="49579"/>
                  <a:pt x="840688" y="55503"/>
                </a:cubicBezTo>
                <a:cubicBezTo>
                  <a:pt x="845183" y="57759"/>
                  <a:pt x="848037" y="60575"/>
                  <a:pt x="851470" y="64040"/>
                </a:cubicBezTo>
                <a:cubicBezTo>
                  <a:pt x="852721" y="65272"/>
                  <a:pt x="852721" y="65272"/>
                  <a:pt x="853997" y="66529"/>
                </a:cubicBezTo>
                <a:cubicBezTo>
                  <a:pt x="858396" y="71505"/>
                  <a:pt x="860490" y="76640"/>
                  <a:pt x="861488" y="82057"/>
                </a:cubicBezTo>
                <a:lnTo>
                  <a:pt x="861937" y="90492"/>
                </a:lnTo>
                <a:lnTo>
                  <a:pt x="863826" y="100715"/>
                </a:lnTo>
                <a:cubicBezTo>
                  <a:pt x="862141" y="107853"/>
                  <a:pt x="859866" y="114857"/>
                  <a:pt x="857577" y="121853"/>
                </a:cubicBezTo>
                <a:cubicBezTo>
                  <a:pt x="857062" y="121853"/>
                  <a:pt x="856547" y="121853"/>
                  <a:pt x="856015" y="121853"/>
                </a:cubicBezTo>
                <a:cubicBezTo>
                  <a:pt x="855731" y="120401"/>
                  <a:pt x="855731" y="120401"/>
                  <a:pt x="855442" y="118919"/>
                </a:cubicBezTo>
                <a:lnTo>
                  <a:pt x="855417" y="118798"/>
                </a:lnTo>
                <a:lnTo>
                  <a:pt x="856157" y="124637"/>
                </a:lnTo>
                <a:lnTo>
                  <a:pt x="850623" y="134701"/>
                </a:lnTo>
                <a:lnTo>
                  <a:pt x="851325" y="135968"/>
                </a:lnTo>
                <a:cubicBezTo>
                  <a:pt x="850851" y="137246"/>
                  <a:pt x="850376" y="138525"/>
                  <a:pt x="849886" y="139843"/>
                </a:cubicBezTo>
                <a:cubicBezTo>
                  <a:pt x="848171" y="144505"/>
                  <a:pt x="847798" y="148002"/>
                  <a:pt x="847786" y="152889"/>
                </a:cubicBezTo>
                <a:cubicBezTo>
                  <a:pt x="847779" y="154500"/>
                  <a:pt x="847773" y="156109"/>
                  <a:pt x="847767" y="157768"/>
                </a:cubicBezTo>
                <a:cubicBezTo>
                  <a:pt x="847782" y="159468"/>
                  <a:pt x="847796" y="161167"/>
                  <a:pt x="847810" y="162919"/>
                </a:cubicBezTo>
                <a:cubicBezTo>
                  <a:pt x="847821" y="165546"/>
                  <a:pt x="847821" y="165546"/>
                  <a:pt x="847832" y="168227"/>
                </a:cubicBezTo>
                <a:cubicBezTo>
                  <a:pt x="847980" y="181934"/>
                  <a:pt x="849003" y="195419"/>
                  <a:pt x="850903" y="209013"/>
                </a:cubicBezTo>
                <a:lnTo>
                  <a:pt x="852880" y="224692"/>
                </a:lnTo>
                <a:lnTo>
                  <a:pt x="854595" y="224692"/>
                </a:lnTo>
                <a:cubicBezTo>
                  <a:pt x="855086" y="225542"/>
                  <a:pt x="855577" y="226392"/>
                  <a:pt x="856083" y="227268"/>
                </a:cubicBezTo>
                <a:cubicBezTo>
                  <a:pt x="862358" y="237839"/>
                  <a:pt x="866924" y="242785"/>
                  <a:pt x="879588" y="247239"/>
                </a:cubicBezTo>
                <a:cubicBezTo>
                  <a:pt x="881642" y="248025"/>
                  <a:pt x="883692" y="248817"/>
                  <a:pt x="885739" y="249618"/>
                </a:cubicBezTo>
                <a:cubicBezTo>
                  <a:pt x="887318" y="250227"/>
                  <a:pt x="888897" y="250838"/>
                  <a:pt x="890523" y="251467"/>
                </a:cubicBezTo>
                <a:cubicBezTo>
                  <a:pt x="890523" y="252397"/>
                  <a:pt x="890523" y="253327"/>
                  <a:pt x="890523" y="254285"/>
                </a:cubicBezTo>
                <a:cubicBezTo>
                  <a:pt x="900347" y="257061"/>
                  <a:pt x="910127" y="259425"/>
                  <a:pt x="920203" y="261332"/>
                </a:cubicBezTo>
                <a:cubicBezTo>
                  <a:pt x="920203" y="261796"/>
                  <a:pt x="920203" y="262262"/>
                  <a:pt x="920203" y="262741"/>
                </a:cubicBezTo>
                <a:cubicBezTo>
                  <a:pt x="917111" y="262741"/>
                  <a:pt x="914018" y="262741"/>
                  <a:pt x="910831" y="262741"/>
                </a:cubicBezTo>
                <a:lnTo>
                  <a:pt x="910831" y="262864"/>
                </a:lnTo>
                <a:lnTo>
                  <a:pt x="927993" y="264177"/>
                </a:lnTo>
                <a:lnTo>
                  <a:pt x="939273" y="265285"/>
                </a:lnTo>
                <a:lnTo>
                  <a:pt x="940456" y="265191"/>
                </a:lnTo>
                <a:cubicBezTo>
                  <a:pt x="962552" y="263054"/>
                  <a:pt x="974979" y="255295"/>
                  <a:pt x="991622" y="242329"/>
                </a:cubicBezTo>
                <a:lnTo>
                  <a:pt x="1000803" y="236505"/>
                </a:lnTo>
                <a:lnTo>
                  <a:pt x="999806" y="236055"/>
                </a:lnTo>
                <a:cubicBezTo>
                  <a:pt x="1000902" y="234997"/>
                  <a:pt x="1001997" y="233941"/>
                  <a:pt x="1003126" y="232851"/>
                </a:cubicBezTo>
                <a:cubicBezTo>
                  <a:pt x="1012364" y="223880"/>
                  <a:pt x="1021184" y="214752"/>
                  <a:pt x="1029487" y="205052"/>
                </a:cubicBezTo>
                <a:lnTo>
                  <a:pt x="1029872" y="206442"/>
                </a:lnTo>
                <a:lnTo>
                  <a:pt x="1031614" y="203719"/>
                </a:lnTo>
                <a:cubicBezTo>
                  <a:pt x="1033221" y="199204"/>
                  <a:pt x="1035713" y="196017"/>
                  <a:pt x="1038924" y="192280"/>
                </a:cubicBezTo>
                <a:cubicBezTo>
                  <a:pt x="1039956" y="191815"/>
                  <a:pt x="1040987" y="191349"/>
                  <a:pt x="1042049" y="190870"/>
                </a:cubicBezTo>
                <a:cubicBezTo>
                  <a:pt x="1043161" y="188473"/>
                  <a:pt x="1043161" y="188473"/>
                  <a:pt x="1044294" y="186026"/>
                </a:cubicBezTo>
                <a:cubicBezTo>
                  <a:pt x="1046735" y="181006"/>
                  <a:pt x="1046735" y="181006"/>
                  <a:pt x="1051422" y="178188"/>
                </a:cubicBezTo>
                <a:cubicBezTo>
                  <a:pt x="1052553" y="175286"/>
                  <a:pt x="1052553" y="175286"/>
                  <a:pt x="1052984" y="172551"/>
                </a:cubicBezTo>
                <a:cubicBezTo>
                  <a:pt x="1054014" y="172551"/>
                  <a:pt x="1055046" y="172551"/>
                  <a:pt x="1056108" y="172551"/>
                </a:cubicBezTo>
                <a:cubicBezTo>
                  <a:pt x="1057139" y="169295"/>
                  <a:pt x="1058170" y="166040"/>
                  <a:pt x="1059232" y="162686"/>
                </a:cubicBezTo>
                <a:cubicBezTo>
                  <a:pt x="1060263" y="162686"/>
                  <a:pt x="1061295" y="162686"/>
                  <a:pt x="1062357" y="162686"/>
                </a:cubicBezTo>
                <a:cubicBezTo>
                  <a:pt x="1062755" y="161484"/>
                  <a:pt x="1062755" y="161484"/>
                  <a:pt x="1063162" y="160258"/>
                </a:cubicBezTo>
                <a:cubicBezTo>
                  <a:pt x="1065716" y="152917"/>
                  <a:pt x="1068813" y="146686"/>
                  <a:pt x="1073292" y="140138"/>
                </a:cubicBezTo>
                <a:cubicBezTo>
                  <a:pt x="1074322" y="140138"/>
                  <a:pt x="1075353" y="140138"/>
                  <a:pt x="1076415" y="140138"/>
                </a:cubicBezTo>
                <a:cubicBezTo>
                  <a:pt x="1079808" y="132748"/>
                  <a:pt x="1082509" y="125160"/>
                  <a:pt x="1085294" y="117569"/>
                </a:cubicBezTo>
                <a:cubicBezTo>
                  <a:pt x="1085972" y="116181"/>
                  <a:pt x="1086651" y="114793"/>
                  <a:pt x="1087350" y="113363"/>
                </a:cubicBezTo>
                <a:cubicBezTo>
                  <a:pt x="1089671" y="112666"/>
                  <a:pt x="1089671" y="112666"/>
                  <a:pt x="1092037" y="111954"/>
                </a:cubicBezTo>
                <a:cubicBezTo>
                  <a:pt x="1092230" y="110879"/>
                  <a:pt x="1092423" y="109803"/>
                  <a:pt x="1092623" y="108695"/>
                </a:cubicBezTo>
                <a:cubicBezTo>
                  <a:pt x="1093599" y="104908"/>
                  <a:pt x="1093599" y="104908"/>
                  <a:pt x="1096723" y="100680"/>
                </a:cubicBezTo>
                <a:cubicBezTo>
                  <a:pt x="1097207" y="99140"/>
                  <a:pt x="1097689" y="97599"/>
                  <a:pt x="1098188" y="96013"/>
                </a:cubicBezTo>
                <a:cubicBezTo>
                  <a:pt x="1099847" y="90815"/>
                  <a:pt x="1099847" y="90815"/>
                  <a:pt x="1102288" y="87029"/>
                </a:cubicBezTo>
                <a:cubicBezTo>
                  <a:pt x="1106061" y="79186"/>
                  <a:pt x="1107564" y="69424"/>
                  <a:pt x="1104534" y="61222"/>
                </a:cubicBezTo>
                <a:cubicBezTo>
                  <a:pt x="1104409" y="59341"/>
                  <a:pt x="1104366" y="57454"/>
                  <a:pt x="1104381" y="55569"/>
                </a:cubicBezTo>
                <a:cubicBezTo>
                  <a:pt x="1104386" y="54501"/>
                  <a:pt x="1104391" y="53434"/>
                  <a:pt x="1104397" y="52335"/>
                </a:cubicBezTo>
                <a:cubicBezTo>
                  <a:pt x="1104410" y="51228"/>
                  <a:pt x="1104423" y="50120"/>
                  <a:pt x="1104436" y="48979"/>
                </a:cubicBezTo>
                <a:cubicBezTo>
                  <a:pt x="1104443" y="47856"/>
                  <a:pt x="1104451" y="46733"/>
                  <a:pt x="1104457" y="45575"/>
                </a:cubicBezTo>
                <a:cubicBezTo>
                  <a:pt x="1104476" y="42805"/>
                  <a:pt x="1104504" y="40035"/>
                  <a:pt x="1104534" y="37265"/>
                </a:cubicBezTo>
                <a:cubicBezTo>
                  <a:pt x="1105565" y="37265"/>
                  <a:pt x="1106596" y="37265"/>
                  <a:pt x="1107658" y="37265"/>
                </a:cubicBezTo>
                <a:cubicBezTo>
                  <a:pt x="1107561" y="34562"/>
                  <a:pt x="1107561" y="34562"/>
                  <a:pt x="1107463" y="31805"/>
                </a:cubicBezTo>
                <a:cubicBezTo>
                  <a:pt x="1107353" y="28733"/>
                  <a:pt x="1107353" y="28733"/>
                  <a:pt x="1107658" y="25991"/>
                </a:cubicBezTo>
                <a:cubicBezTo>
                  <a:pt x="1108689" y="25062"/>
                  <a:pt x="1109720" y="24131"/>
                  <a:pt x="1110782" y="23173"/>
                </a:cubicBezTo>
                <a:cubicBezTo>
                  <a:pt x="1111104" y="22156"/>
                  <a:pt x="1111427" y="21138"/>
                  <a:pt x="1111759" y="20091"/>
                </a:cubicBezTo>
                <a:cubicBezTo>
                  <a:pt x="1116393" y="11539"/>
                  <a:pt x="1124927" y="6390"/>
                  <a:pt x="1134507" y="2828"/>
                </a:cubicBezTo>
                <a:cubicBezTo>
                  <a:pt x="1141389" y="825"/>
                  <a:pt x="1148262" y="-204"/>
                  <a:pt x="1155019" y="35"/>
                </a:cubicBezTo>
                <a:close/>
              </a:path>
            </a:pathLst>
          </a:custGeom>
          <a:solidFill>
            <a:schemeClr val="accent3"/>
          </a:solidFill>
          <a:ln w="2232" cap="flat">
            <a:noFill/>
            <a:prstDash val="solid"/>
            <a:miter/>
          </a:ln>
          <a:effectLst>
            <a:innerShdw blurRad="63500" dist="190500" dir="8100000">
              <a:schemeClr val="accent3">
                <a:lumMod val="75000"/>
                <a:alpha val="50000"/>
              </a:schemeClr>
            </a:innerShdw>
          </a:effectLst>
        </p:spPr>
        <p:txBody>
          <a:bodyPr wrap="squar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254" name="Oval 9253">
            <a:extLst>
              <a:ext uri="{FF2B5EF4-FFF2-40B4-BE49-F238E27FC236}">
                <a16:creationId xmlns:a16="http://schemas.microsoft.com/office/drawing/2014/main" id="{3AF7432B-09F9-995D-D643-706CE0B88AC7}"/>
              </a:ext>
            </a:extLst>
          </p:cNvPr>
          <p:cNvSpPr/>
          <p:nvPr/>
        </p:nvSpPr>
        <p:spPr>
          <a:xfrm>
            <a:off x="9067296" y="3910621"/>
            <a:ext cx="722134" cy="162382"/>
          </a:xfrm>
          <a:prstGeom prst="ellipse">
            <a:avLst/>
          </a:prstGeom>
          <a:solidFill>
            <a:schemeClr val="tx1">
              <a:alpha val="5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255" name="Free-form: Shape 9254">
            <a:extLst>
              <a:ext uri="{FF2B5EF4-FFF2-40B4-BE49-F238E27FC236}">
                <a16:creationId xmlns:a16="http://schemas.microsoft.com/office/drawing/2014/main" id="{A86BD7DD-64E3-0509-EE24-04893500C12F}"/>
              </a:ext>
            </a:extLst>
          </p:cNvPr>
          <p:cNvSpPr/>
          <p:nvPr/>
        </p:nvSpPr>
        <p:spPr>
          <a:xfrm>
            <a:off x="8972719" y="3088613"/>
            <a:ext cx="968436" cy="925784"/>
          </a:xfrm>
          <a:custGeom>
            <a:avLst/>
            <a:gdLst>
              <a:gd name="csX0" fmla="*/ 401579 w 1609516"/>
              <a:gd name="csY0" fmla="*/ 1495809 h 1538630"/>
              <a:gd name="csX1" fmla="*/ 400190 w 1609516"/>
              <a:gd name="csY1" fmla="*/ 1496004 h 1538630"/>
              <a:gd name="csX2" fmla="*/ 401224 w 1609516"/>
              <a:gd name="csY2" fmla="*/ 1496470 h 1538630"/>
              <a:gd name="csX3" fmla="*/ 401224 w 1609516"/>
              <a:gd name="csY3" fmla="*/ 1498590 h 1538630"/>
              <a:gd name="csX4" fmla="*/ 401579 w 1609516"/>
              <a:gd name="csY4" fmla="*/ 1498628 h 1538630"/>
              <a:gd name="csX5" fmla="*/ 401579 w 1609516"/>
              <a:gd name="csY5" fmla="*/ 1495809 h 1538630"/>
              <a:gd name="csX6" fmla="*/ 368755 w 1609516"/>
              <a:gd name="csY6" fmla="*/ 1486512 h 1538630"/>
              <a:gd name="csX7" fmla="*/ 364089 w 1609516"/>
              <a:gd name="csY7" fmla="*/ 1487354 h 1538630"/>
              <a:gd name="csX8" fmla="*/ 364089 w 1609516"/>
              <a:gd name="csY8" fmla="*/ 1487908 h 1538630"/>
              <a:gd name="csX9" fmla="*/ 1049801 w 1609516"/>
              <a:gd name="csY9" fmla="*/ 1484562 h 1538630"/>
              <a:gd name="csX10" fmla="*/ 1046735 w 1609516"/>
              <a:gd name="csY10" fmla="*/ 1485945 h 1538630"/>
              <a:gd name="csX11" fmla="*/ 1046955 w 1609516"/>
              <a:gd name="csY11" fmla="*/ 1486045 h 1538630"/>
              <a:gd name="csX12" fmla="*/ 1049801 w 1609516"/>
              <a:gd name="csY12" fmla="*/ 1485188 h 1538630"/>
              <a:gd name="csX13" fmla="*/ 351234 w 1609516"/>
              <a:gd name="csY13" fmla="*/ 1444508 h 1538630"/>
              <a:gd name="csX14" fmla="*/ 351234 w 1609516"/>
              <a:gd name="csY14" fmla="*/ 1444997 h 1538630"/>
              <a:gd name="csX15" fmla="*/ 351592 w 1609516"/>
              <a:gd name="csY15" fmla="*/ 1445078 h 1538630"/>
              <a:gd name="csX16" fmla="*/ 351908 w 1609516"/>
              <a:gd name="csY16" fmla="*/ 1431206 h 1538630"/>
              <a:gd name="csX17" fmla="*/ 351234 w 1609516"/>
              <a:gd name="csY17" fmla="*/ 1431611 h 1538630"/>
              <a:gd name="csX18" fmla="*/ 351234 w 1609516"/>
              <a:gd name="csY18" fmla="*/ 1432274 h 1538630"/>
              <a:gd name="csX19" fmla="*/ 358162 w 1609516"/>
              <a:gd name="csY19" fmla="*/ 1421494 h 1538630"/>
              <a:gd name="csX20" fmla="*/ 355921 w 1609516"/>
              <a:gd name="csY20" fmla="*/ 1423156 h 1538630"/>
              <a:gd name="csX21" fmla="*/ 355921 w 1609516"/>
              <a:gd name="csY21" fmla="*/ 1423548 h 1538630"/>
              <a:gd name="csX22" fmla="*/ 376098 w 1609516"/>
              <a:gd name="csY22" fmla="*/ 1408347 h 1538630"/>
              <a:gd name="csX23" fmla="*/ 370750 w 1609516"/>
              <a:gd name="csY23" fmla="*/ 1412245 h 1538630"/>
              <a:gd name="csX24" fmla="*/ 375023 w 1609516"/>
              <a:gd name="csY24" fmla="*/ 1411256 h 1538630"/>
              <a:gd name="csX25" fmla="*/ 421956 w 1609516"/>
              <a:gd name="csY25" fmla="*/ 1365623 h 1538630"/>
              <a:gd name="csX26" fmla="*/ 421765 w 1609516"/>
              <a:gd name="csY26" fmla="*/ 1366161 h 1538630"/>
              <a:gd name="csX27" fmla="*/ 421887 w 1609516"/>
              <a:gd name="csY27" fmla="*/ 1366161 h 1538630"/>
              <a:gd name="csX28" fmla="*/ 754553 w 1609516"/>
              <a:gd name="csY28" fmla="*/ 1360575 h 1538630"/>
              <a:gd name="csX29" fmla="*/ 754089 w 1609516"/>
              <a:gd name="csY29" fmla="*/ 1361433 h 1538630"/>
              <a:gd name="csX30" fmla="*/ 754431 w 1609516"/>
              <a:gd name="csY30" fmla="*/ 1361125 h 1538630"/>
              <a:gd name="csX31" fmla="*/ 1277973 w 1609516"/>
              <a:gd name="csY31" fmla="*/ 1332923 h 1538630"/>
              <a:gd name="csX32" fmla="*/ 1277944 w 1609516"/>
              <a:gd name="csY32" fmla="*/ 1332936 h 1538630"/>
              <a:gd name="csX33" fmla="*/ 1277949 w 1609516"/>
              <a:gd name="csY33" fmla="*/ 1333139 h 1538630"/>
              <a:gd name="csX34" fmla="*/ 1268556 w 1609516"/>
              <a:gd name="csY34" fmla="*/ 1321066 h 1538630"/>
              <a:gd name="csX35" fmla="*/ 1268556 w 1609516"/>
              <a:gd name="csY35" fmla="*/ 1325294 h 1538630"/>
              <a:gd name="csX36" fmla="*/ 1265432 w 1609516"/>
              <a:gd name="csY36" fmla="*/ 1325294 h 1538630"/>
              <a:gd name="csX37" fmla="*/ 1265432 w 1609516"/>
              <a:gd name="csY37" fmla="*/ 1340795 h 1538630"/>
              <a:gd name="csX38" fmla="*/ 1265476 w 1609516"/>
              <a:gd name="csY38" fmla="*/ 1340714 h 1538630"/>
              <a:gd name="csX39" fmla="*/ 1265476 w 1609516"/>
              <a:gd name="csY39" fmla="*/ 1325877 h 1538630"/>
              <a:gd name="csX40" fmla="*/ 1268600 w 1609516"/>
              <a:gd name="csY40" fmla="*/ 1325877 h 1538630"/>
              <a:gd name="csX41" fmla="*/ 1268600 w 1609516"/>
              <a:gd name="csY41" fmla="*/ 1321649 h 1538630"/>
              <a:gd name="csX42" fmla="*/ 1273286 w 1609516"/>
              <a:gd name="csY42" fmla="*/ 1321649 h 1538630"/>
              <a:gd name="csX43" fmla="*/ 1273227 w 1609516"/>
              <a:gd name="csY43" fmla="*/ 1321066 h 1538630"/>
              <a:gd name="csX44" fmla="*/ 827891 w 1609516"/>
              <a:gd name="csY44" fmla="*/ 1291474 h 1538630"/>
              <a:gd name="csX45" fmla="*/ 822601 w 1609516"/>
              <a:gd name="csY45" fmla="*/ 1291544 h 1538630"/>
              <a:gd name="csX46" fmla="*/ 818272 w 1609516"/>
              <a:gd name="csY46" fmla="*/ 1292220 h 1538630"/>
              <a:gd name="csX47" fmla="*/ 827891 w 1609516"/>
              <a:gd name="csY47" fmla="*/ 1292047 h 1538630"/>
              <a:gd name="csX48" fmla="*/ 856397 w 1609516"/>
              <a:gd name="csY48" fmla="*/ 1288691 h 1538630"/>
              <a:gd name="csX49" fmla="*/ 865903 w 1609516"/>
              <a:gd name="csY49" fmla="*/ 1290590 h 1538630"/>
              <a:gd name="csX50" fmla="*/ 859999 w 1609516"/>
              <a:gd name="csY50" fmla="*/ 1288752 h 1538630"/>
              <a:gd name="csX51" fmla="*/ 834694 w 1609516"/>
              <a:gd name="csY51" fmla="*/ 1288572 h 1538630"/>
              <a:gd name="csX52" fmla="*/ 828038 w 1609516"/>
              <a:gd name="csY52" fmla="*/ 1288654 h 1538630"/>
              <a:gd name="csX53" fmla="*/ 828038 w 1609516"/>
              <a:gd name="csY53" fmla="*/ 1289214 h 1538630"/>
              <a:gd name="csX54" fmla="*/ 229746 w 1609516"/>
              <a:gd name="csY54" fmla="*/ 1191418 h 1538630"/>
              <a:gd name="csX55" fmla="*/ 227402 w 1609516"/>
              <a:gd name="csY55" fmla="*/ 1191947 h 1538630"/>
              <a:gd name="csX56" fmla="*/ 229315 w 1609516"/>
              <a:gd name="csY56" fmla="*/ 1191947 h 1538630"/>
              <a:gd name="csX57" fmla="*/ 229315 w 1609516"/>
              <a:gd name="csY57" fmla="*/ 1194765 h 1538630"/>
              <a:gd name="csX58" fmla="*/ 231321 w 1609516"/>
              <a:gd name="csY58" fmla="*/ 1194765 h 1538630"/>
              <a:gd name="csX59" fmla="*/ 229746 w 1609516"/>
              <a:gd name="csY59" fmla="*/ 1194236 h 1538630"/>
              <a:gd name="csX60" fmla="*/ 229746 w 1609516"/>
              <a:gd name="csY60" fmla="*/ 1191418 h 1538630"/>
              <a:gd name="csX61" fmla="*/ 215687 w 1609516"/>
              <a:gd name="csY61" fmla="*/ 1187190 h 1538630"/>
              <a:gd name="csX62" fmla="*/ 215198 w 1609516"/>
              <a:gd name="csY62" fmla="*/ 1187720 h 1538630"/>
              <a:gd name="csX63" fmla="*/ 215256 w 1609516"/>
              <a:gd name="csY63" fmla="*/ 1187720 h 1538630"/>
              <a:gd name="csX64" fmla="*/ 215256 w 1609516"/>
              <a:gd name="csY64" fmla="*/ 1191947 h 1538630"/>
              <a:gd name="csX65" fmla="*/ 222721 w 1609516"/>
              <a:gd name="csY65" fmla="*/ 1191947 h 1538630"/>
              <a:gd name="csX66" fmla="*/ 215687 w 1609516"/>
              <a:gd name="csY66" fmla="*/ 1191418 h 1538630"/>
              <a:gd name="csX67" fmla="*/ 215687 w 1609516"/>
              <a:gd name="csY67" fmla="*/ 1187190 h 1538630"/>
              <a:gd name="csX68" fmla="*/ 1279678 w 1609516"/>
              <a:gd name="csY68" fmla="*/ 1082356 h 1538630"/>
              <a:gd name="csX69" fmla="*/ 1271680 w 1609516"/>
              <a:gd name="csY69" fmla="*/ 1084589 h 1538630"/>
              <a:gd name="csX70" fmla="*/ 1282181 w 1609516"/>
              <a:gd name="csY70" fmla="*/ 1082544 h 1538630"/>
              <a:gd name="csX71" fmla="*/ 117703 w 1609516"/>
              <a:gd name="csY71" fmla="*/ 941507 h 1538630"/>
              <a:gd name="csX72" fmla="*/ 112587 w 1609516"/>
              <a:gd name="csY72" fmla="*/ 941985 h 1538630"/>
              <a:gd name="csX73" fmla="*/ 112565 w 1609516"/>
              <a:gd name="csY73" fmla="*/ 942333 h 1538630"/>
              <a:gd name="csX74" fmla="*/ 115665 w 1609516"/>
              <a:gd name="csY74" fmla="*/ 941837 h 1538630"/>
              <a:gd name="csX75" fmla="*/ 144268 w 1609516"/>
              <a:gd name="csY75" fmla="*/ 939395 h 1538630"/>
              <a:gd name="csX76" fmla="*/ 143354 w 1609516"/>
              <a:gd name="csY76" fmla="*/ 939580 h 1538630"/>
              <a:gd name="csX77" fmla="*/ 144077 w 1609516"/>
              <a:gd name="csY77" fmla="*/ 939739 h 1538630"/>
              <a:gd name="csX78" fmla="*/ 162575 w 1609516"/>
              <a:gd name="csY78" fmla="*/ 933530 h 1538630"/>
              <a:gd name="csX79" fmla="*/ 161704 w 1609516"/>
              <a:gd name="csY79" fmla="*/ 935101 h 1538630"/>
              <a:gd name="csX80" fmla="*/ 170045 w 1609516"/>
              <a:gd name="csY80" fmla="*/ 933585 h 1538630"/>
              <a:gd name="csX81" fmla="*/ 1321645 w 1609516"/>
              <a:gd name="csY81" fmla="*/ 918415 h 1538630"/>
              <a:gd name="csX82" fmla="*/ 1321534 w 1609516"/>
              <a:gd name="csY82" fmla="*/ 920177 h 1538630"/>
              <a:gd name="csX83" fmla="*/ 1321740 w 1609516"/>
              <a:gd name="csY83" fmla="*/ 918415 h 1538630"/>
              <a:gd name="csX84" fmla="*/ 1319333 w 1609516"/>
              <a:gd name="csY84" fmla="*/ 915183 h 1538630"/>
              <a:gd name="csX85" fmla="*/ 1318544 w 1609516"/>
              <a:gd name="csY85" fmla="*/ 918029 h 1538630"/>
              <a:gd name="csX86" fmla="*/ 1318702 w 1609516"/>
              <a:gd name="csY86" fmla="*/ 918029 h 1538630"/>
              <a:gd name="csX87" fmla="*/ 1326355 w 1609516"/>
              <a:gd name="csY87" fmla="*/ 907109 h 1538630"/>
              <a:gd name="csX88" fmla="*/ 1326355 w 1609516"/>
              <a:gd name="csY88" fmla="*/ 910983 h 1538630"/>
              <a:gd name="csX89" fmla="*/ 1325831 w 1609516"/>
              <a:gd name="csY89" fmla="*/ 911101 h 1538630"/>
              <a:gd name="csX90" fmla="*/ 1326426 w 1609516"/>
              <a:gd name="csY90" fmla="*/ 911369 h 1538630"/>
              <a:gd name="csX91" fmla="*/ 1326426 w 1609516"/>
              <a:gd name="csY91" fmla="*/ 907141 h 1538630"/>
              <a:gd name="csX92" fmla="*/ 1328144 w 1609516"/>
              <a:gd name="csY92" fmla="*/ 892192 h 1538630"/>
              <a:gd name="csX93" fmla="*/ 1327667 w 1609516"/>
              <a:gd name="csY93" fmla="*/ 893446 h 1538630"/>
              <a:gd name="csX94" fmla="*/ 1327989 w 1609516"/>
              <a:gd name="csY94" fmla="*/ 893049 h 1538630"/>
              <a:gd name="csX95" fmla="*/ 49605 w 1609516"/>
              <a:gd name="csY95" fmla="*/ 887420 h 1538630"/>
              <a:gd name="csX96" fmla="*/ 48549 w 1609516"/>
              <a:gd name="csY96" fmla="*/ 891229 h 1538630"/>
              <a:gd name="csX97" fmla="*/ 49956 w 1609516"/>
              <a:gd name="csY97" fmla="*/ 887420 h 1538630"/>
              <a:gd name="csX98" fmla="*/ 1332266 w 1609516"/>
              <a:gd name="csY98" fmla="*/ 883369 h 1538630"/>
              <a:gd name="csX99" fmla="*/ 1329479 w 1609516"/>
              <a:gd name="csY99" fmla="*/ 884207 h 1538630"/>
              <a:gd name="csX100" fmla="*/ 1329509 w 1609516"/>
              <a:gd name="csY100" fmla="*/ 884816 h 1538630"/>
              <a:gd name="csX101" fmla="*/ 1329551 w 1609516"/>
              <a:gd name="csY101" fmla="*/ 884594 h 1538630"/>
              <a:gd name="csX102" fmla="*/ 1555987 w 1609516"/>
              <a:gd name="csY102" fmla="*/ 821766 h 1538630"/>
              <a:gd name="csX103" fmla="*/ 1555987 w 1609516"/>
              <a:gd name="csY103" fmla="*/ 822201 h 1538630"/>
              <a:gd name="csX104" fmla="*/ 1556081 w 1609516"/>
              <a:gd name="csY104" fmla="*/ 822189 h 1538630"/>
              <a:gd name="csX105" fmla="*/ 1565360 w 1609516"/>
              <a:gd name="csY105" fmla="*/ 810928 h 1538630"/>
              <a:gd name="csX106" fmla="*/ 1564871 w 1609516"/>
              <a:gd name="csY106" fmla="*/ 811809 h 1538630"/>
              <a:gd name="csX107" fmla="*/ 1567314 w 1609516"/>
              <a:gd name="csY107" fmla="*/ 810928 h 1538630"/>
              <a:gd name="csX108" fmla="*/ 1563797 w 1609516"/>
              <a:gd name="csY108" fmla="*/ 810928 h 1538630"/>
              <a:gd name="csX109" fmla="*/ 1556762 w 1609516"/>
              <a:gd name="csY109" fmla="*/ 814736 h 1538630"/>
              <a:gd name="csX110" fmla="*/ 1563797 w 1609516"/>
              <a:gd name="csY110" fmla="*/ 812197 h 1538630"/>
              <a:gd name="csX111" fmla="*/ 265833 w 1609516"/>
              <a:gd name="csY111" fmla="*/ 806020 h 1538630"/>
              <a:gd name="csX112" fmla="*/ 263704 w 1609516"/>
              <a:gd name="csY112" fmla="*/ 809861 h 1538630"/>
              <a:gd name="csX113" fmla="*/ 263704 w 1609516"/>
              <a:gd name="csY113" fmla="*/ 816750 h 1538630"/>
              <a:gd name="csX114" fmla="*/ 264113 w 1609516"/>
              <a:gd name="csY114" fmla="*/ 816565 h 1538630"/>
              <a:gd name="csX115" fmla="*/ 263918 w 1609516"/>
              <a:gd name="csY115" fmla="*/ 812777 h 1538630"/>
              <a:gd name="csX116" fmla="*/ 263774 w 1609516"/>
              <a:gd name="csY116" fmla="*/ 779374 h 1538630"/>
              <a:gd name="csX117" fmla="*/ 263704 w 1609516"/>
              <a:gd name="csY117" fmla="*/ 783086 h 1538630"/>
              <a:gd name="csX118" fmla="*/ 264484 w 1609516"/>
              <a:gd name="csY118" fmla="*/ 785816 h 1538630"/>
              <a:gd name="csX119" fmla="*/ 265265 w 1609516"/>
              <a:gd name="csY119" fmla="*/ 794448 h 1538630"/>
              <a:gd name="csX120" fmla="*/ 265217 w 1609516"/>
              <a:gd name="csY120" fmla="*/ 799730 h 1538630"/>
              <a:gd name="csX121" fmla="*/ 266556 w 1609516"/>
              <a:gd name="csY121" fmla="*/ 803466 h 1538630"/>
              <a:gd name="csX122" fmla="*/ 267237 w 1609516"/>
              <a:gd name="csY122" fmla="*/ 801063 h 1538630"/>
              <a:gd name="csX123" fmla="*/ 265675 w 1609516"/>
              <a:gd name="csY123" fmla="*/ 799654 h 1538630"/>
              <a:gd name="csX124" fmla="*/ 265675 w 1609516"/>
              <a:gd name="csY124" fmla="*/ 793841 h 1538630"/>
              <a:gd name="csX125" fmla="*/ 260988 w 1609516"/>
              <a:gd name="csY125" fmla="*/ 770061 h 1538630"/>
              <a:gd name="csX126" fmla="*/ 260988 w 1609516"/>
              <a:gd name="csY126" fmla="*/ 771364 h 1538630"/>
              <a:gd name="csX127" fmla="*/ 263497 w 1609516"/>
              <a:gd name="csY127" fmla="*/ 777263 h 1538630"/>
              <a:gd name="csX128" fmla="*/ 262551 w 1609516"/>
              <a:gd name="csY128" fmla="*/ 770061 h 1538630"/>
              <a:gd name="csX129" fmla="*/ 260988 w 1609516"/>
              <a:gd name="csY129" fmla="*/ 770061 h 1538630"/>
              <a:gd name="csX130" fmla="*/ 157888 w 1609516"/>
              <a:gd name="csY130" fmla="*/ 651686 h 1538630"/>
              <a:gd name="csX131" fmla="*/ 157415 w 1609516"/>
              <a:gd name="csY131" fmla="*/ 651764 h 1538630"/>
              <a:gd name="csX132" fmla="*/ 160373 w 1609516"/>
              <a:gd name="csY132" fmla="*/ 652274 h 1538630"/>
              <a:gd name="csX133" fmla="*/ 267237 w 1609516"/>
              <a:gd name="csY133" fmla="*/ 426537 h 1538630"/>
              <a:gd name="csX134" fmla="*/ 267237 w 1609516"/>
              <a:gd name="csY134" fmla="*/ 427619 h 1538630"/>
              <a:gd name="csX135" fmla="*/ 270380 w 1609516"/>
              <a:gd name="csY135" fmla="*/ 428137 h 1538630"/>
              <a:gd name="csX136" fmla="*/ 273548 w 1609516"/>
              <a:gd name="csY136" fmla="*/ 428680 h 1538630"/>
              <a:gd name="csX137" fmla="*/ 37605 w 1609516"/>
              <a:gd name="csY137" fmla="*/ 359270 h 1538630"/>
              <a:gd name="csX138" fmla="*/ 37103 w 1609516"/>
              <a:gd name="csY138" fmla="*/ 361533 h 1538630"/>
              <a:gd name="csX139" fmla="*/ 37605 w 1609516"/>
              <a:gd name="csY139" fmla="*/ 361382 h 1538630"/>
              <a:gd name="csX140" fmla="*/ 52477 w 1609516"/>
              <a:gd name="csY140" fmla="*/ 337570 h 1538630"/>
              <a:gd name="csX141" fmla="*/ 47288 w 1609516"/>
              <a:gd name="csY141" fmla="*/ 342340 h 1538630"/>
              <a:gd name="csX142" fmla="*/ 45805 w 1609516"/>
              <a:gd name="csY142" fmla="*/ 345093 h 1538630"/>
              <a:gd name="csX143" fmla="*/ 104291 w 1609516"/>
              <a:gd name="csY143" fmla="*/ 336166 h 1538630"/>
              <a:gd name="csX144" fmla="*/ 103776 w 1609516"/>
              <a:gd name="csY144" fmla="*/ 337559 h 1538630"/>
              <a:gd name="csX145" fmla="*/ 108925 w 1609516"/>
              <a:gd name="csY145" fmla="*/ 336166 h 1538630"/>
              <a:gd name="csX146" fmla="*/ 1309237 w 1609516"/>
              <a:gd name="csY146" fmla="*/ 322954 h 1538630"/>
              <a:gd name="csX147" fmla="*/ 1309180 w 1609516"/>
              <a:gd name="csY147" fmla="*/ 330559 h 1538630"/>
              <a:gd name="csX148" fmla="*/ 1309237 w 1609516"/>
              <a:gd name="csY148" fmla="*/ 330520 h 1538630"/>
              <a:gd name="csX149" fmla="*/ 1308964 w 1609516"/>
              <a:gd name="csY149" fmla="*/ 317715 h 1538630"/>
              <a:gd name="csX150" fmla="*/ 1309237 w 1609516"/>
              <a:gd name="csY150" fmla="*/ 318569 h 1538630"/>
              <a:gd name="csX151" fmla="*/ 1309237 w 1609516"/>
              <a:gd name="csY151" fmla="*/ 317838 h 1538630"/>
              <a:gd name="csX152" fmla="*/ 1310087 w 1609516"/>
              <a:gd name="csY152" fmla="*/ 313153 h 1538630"/>
              <a:gd name="csX153" fmla="*/ 1307609 w 1609516"/>
              <a:gd name="csY153" fmla="*/ 313473 h 1538630"/>
              <a:gd name="csX154" fmla="*/ 1308045 w 1609516"/>
              <a:gd name="csY154" fmla="*/ 314836 h 1538630"/>
              <a:gd name="csX155" fmla="*/ 1318544 w 1609516"/>
              <a:gd name="csY155" fmla="*/ 312064 h 1538630"/>
              <a:gd name="csX156" fmla="*/ 1316298 w 1609516"/>
              <a:gd name="csY156" fmla="*/ 312353 h 1538630"/>
              <a:gd name="csX157" fmla="*/ 1318544 w 1609516"/>
              <a:gd name="csY157" fmla="*/ 312205 h 1538630"/>
              <a:gd name="csX158" fmla="*/ 1084622 w 1609516"/>
              <a:gd name="csY158" fmla="*/ 267674 h 1538630"/>
              <a:gd name="csX159" fmla="*/ 1084227 w 1609516"/>
              <a:gd name="csY159" fmla="*/ 268378 h 1538630"/>
              <a:gd name="csX160" fmla="*/ 1079540 w 1609516"/>
              <a:gd name="csY160" fmla="*/ 268378 h 1538630"/>
              <a:gd name="csX161" fmla="*/ 1079603 w 1609516"/>
              <a:gd name="csY161" fmla="*/ 268477 h 1538630"/>
              <a:gd name="csX162" fmla="*/ 1084192 w 1609516"/>
              <a:gd name="csY162" fmla="*/ 268477 h 1538630"/>
              <a:gd name="csX163" fmla="*/ 956410 w 1609516"/>
              <a:gd name="csY163" fmla="*/ 266968 h 1538630"/>
              <a:gd name="csX164" fmla="*/ 957576 w 1609516"/>
              <a:gd name="csY164" fmla="*/ 267083 h 1538630"/>
              <a:gd name="csX165" fmla="*/ 957576 w 1609516"/>
              <a:gd name="csY165" fmla="*/ 269776 h 1538630"/>
              <a:gd name="csX166" fmla="*/ 957694 w 1609516"/>
              <a:gd name="csY166" fmla="*/ 269787 h 1538630"/>
              <a:gd name="csX167" fmla="*/ 957694 w 1609516"/>
              <a:gd name="csY167" fmla="*/ 266968 h 1538630"/>
              <a:gd name="csX168" fmla="*/ 1089372 w 1609516"/>
              <a:gd name="csY168" fmla="*/ 259220 h 1538630"/>
              <a:gd name="csX169" fmla="*/ 1085856 w 1609516"/>
              <a:gd name="csY169" fmla="*/ 265479 h 1538630"/>
              <a:gd name="csX170" fmla="*/ 1088878 w 1609516"/>
              <a:gd name="csY170" fmla="*/ 261431 h 1538630"/>
              <a:gd name="csX171" fmla="*/ 1018517 w 1609516"/>
              <a:gd name="csY171" fmla="*/ 223356 h 1538630"/>
              <a:gd name="csX172" fmla="*/ 1013866 w 1609516"/>
              <a:gd name="csY172" fmla="*/ 226190 h 1538630"/>
              <a:gd name="csX173" fmla="*/ 1013024 w 1609516"/>
              <a:gd name="csY173" fmla="*/ 227709 h 1538630"/>
              <a:gd name="csX174" fmla="*/ 1017055 w 1609516"/>
              <a:gd name="csY174" fmla="*/ 224692 h 1538630"/>
              <a:gd name="csX175" fmla="*/ 850645 w 1609516"/>
              <a:gd name="csY175" fmla="*/ 220099 h 1538630"/>
              <a:gd name="csX176" fmla="*/ 850897 w 1609516"/>
              <a:gd name="csY176" fmla="*/ 221488 h 1538630"/>
              <a:gd name="csX177" fmla="*/ 851470 w 1609516"/>
              <a:gd name="csY177" fmla="*/ 224692 h 1538630"/>
              <a:gd name="csX178" fmla="*/ 852860 w 1609516"/>
              <a:gd name="csY178" fmla="*/ 224692 h 1538630"/>
              <a:gd name="csX179" fmla="*/ 1155019 w 1609516"/>
              <a:gd name="csY179" fmla="*/ 35 h 1538630"/>
              <a:gd name="csX180" fmla="*/ 1174829 w 1609516"/>
              <a:gd name="csY180" fmla="*/ 4853 h 1538630"/>
              <a:gd name="csX181" fmla="*/ 1179418 w 1609516"/>
              <a:gd name="csY181" fmla="*/ 5998 h 1538630"/>
              <a:gd name="csX182" fmla="*/ 1201385 w 1609516"/>
              <a:gd name="csY182" fmla="*/ 22997 h 1538630"/>
              <a:gd name="csX183" fmla="*/ 1201678 w 1609516"/>
              <a:gd name="csY183" fmla="*/ 62191 h 1538630"/>
              <a:gd name="csX184" fmla="*/ 1198261 w 1609516"/>
              <a:gd name="csY184" fmla="*/ 68268 h 1538630"/>
              <a:gd name="csX185" fmla="*/ 1195723 w 1609516"/>
              <a:gd name="csY185" fmla="*/ 72672 h 1538630"/>
              <a:gd name="csX186" fmla="*/ 1193575 w 1609516"/>
              <a:gd name="csY186" fmla="*/ 75314 h 1538630"/>
              <a:gd name="csX187" fmla="*/ 1190450 w 1609516"/>
              <a:gd name="csY187" fmla="*/ 75314 h 1538630"/>
              <a:gd name="csX188" fmla="*/ 1189474 w 1609516"/>
              <a:gd name="csY188" fmla="*/ 79366 h 1538630"/>
              <a:gd name="csX189" fmla="*/ 1182445 w 1609516"/>
              <a:gd name="csY189" fmla="*/ 85707 h 1538630"/>
              <a:gd name="csX190" fmla="*/ 1177953 w 1609516"/>
              <a:gd name="csY190" fmla="*/ 86588 h 1538630"/>
              <a:gd name="csX191" fmla="*/ 1177953 w 1609516"/>
              <a:gd name="csY191" fmla="*/ 89406 h 1538630"/>
              <a:gd name="csX192" fmla="*/ 1170045 w 1609516"/>
              <a:gd name="csY192" fmla="*/ 94251 h 1538630"/>
              <a:gd name="csX193" fmla="*/ 1143806 w 1609516"/>
              <a:gd name="csY193" fmla="*/ 132828 h 1538630"/>
              <a:gd name="csX194" fmla="*/ 1137338 w 1609516"/>
              <a:gd name="csY194" fmla="*/ 141548 h 1538630"/>
              <a:gd name="csX195" fmla="*/ 1133970 w 1609516"/>
              <a:gd name="csY195" fmla="*/ 149403 h 1538630"/>
              <a:gd name="csX196" fmla="*/ 1127965 w 1609516"/>
              <a:gd name="csY196" fmla="*/ 164095 h 1538630"/>
              <a:gd name="csX197" fmla="*/ 1124762 w 1609516"/>
              <a:gd name="csY197" fmla="*/ 171802 h 1538630"/>
              <a:gd name="csX198" fmla="*/ 1119359 w 1609516"/>
              <a:gd name="csY198" fmla="*/ 184798 h 1538630"/>
              <a:gd name="csX199" fmla="*/ 1111014 w 1609516"/>
              <a:gd name="csY199" fmla="*/ 204941 h 1538630"/>
              <a:gd name="csX200" fmla="*/ 1109729 w 1609516"/>
              <a:gd name="csY200" fmla="*/ 208059 h 1538630"/>
              <a:gd name="csX201" fmla="*/ 1106395 w 1609516"/>
              <a:gd name="csY201" fmla="*/ 216170 h 1538630"/>
              <a:gd name="csX202" fmla="*/ 1102147 w 1609516"/>
              <a:gd name="csY202" fmla="*/ 224810 h 1538630"/>
              <a:gd name="csX203" fmla="*/ 1098261 w 1609516"/>
              <a:gd name="csY203" fmla="*/ 227262 h 1538630"/>
              <a:gd name="csX204" fmla="*/ 1098367 w 1609516"/>
              <a:gd name="csY204" fmla="*/ 238475 h 1538630"/>
              <a:gd name="csX205" fmla="*/ 1097331 w 1609516"/>
              <a:gd name="csY205" fmla="*/ 242358 h 1538630"/>
              <a:gd name="csX206" fmla="*/ 1096201 w 1609516"/>
              <a:gd name="csY206" fmla="*/ 246458 h 1538630"/>
              <a:gd name="csX207" fmla="*/ 1089440 w 1609516"/>
              <a:gd name="csY207" fmla="*/ 279206 h 1538630"/>
              <a:gd name="csX208" fmla="*/ 1087316 w 1609516"/>
              <a:gd name="csY208" fmla="*/ 283978 h 1538630"/>
              <a:gd name="csX209" fmla="*/ 1086822 w 1609516"/>
              <a:gd name="csY209" fmla="*/ 291822 h 1538630"/>
              <a:gd name="csX210" fmla="*/ 1086623 w 1609516"/>
              <a:gd name="csY210" fmla="*/ 296625 h 1538630"/>
              <a:gd name="csX211" fmla="*/ 1086437 w 1609516"/>
              <a:gd name="csY211" fmla="*/ 301681 h 1538630"/>
              <a:gd name="csX212" fmla="*/ 1086233 w 1609516"/>
              <a:gd name="csY212" fmla="*/ 306754 h 1538630"/>
              <a:gd name="csX213" fmla="*/ 1086007 w 1609516"/>
              <a:gd name="csY213" fmla="*/ 312619 h 1538630"/>
              <a:gd name="csX214" fmla="*/ 1087470 w 1609516"/>
              <a:gd name="csY214" fmla="*/ 320554 h 1538630"/>
              <a:gd name="csX215" fmla="*/ 1098285 w 1609516"/>
              <a:gd name="csY215" fmla="*/ 334611 h 1538630"/>
              <a:gd name="csX216" fmla="*/ 1102607 w 1609516"/>
              <a:gd name="csY216" fmla="*/ 337679 h 1538630"/>
              <a:gd name="csX217" fmla="*/ 1106095 w 1609516"/>
              <a:gd name="csY217" fmla="*/ 340248 h 1538630"/>
              <a:gd name="csX218" fmla="*/ 1106095 w 1609516"/>
              <a:gd name="csY218" fmla="*/ 343066 h 1538630"/>
              <a:gd name="csX219" fmla="*/ 1109220 w 1609516"/>
              <a:gd name="csY219" fmla="*/ 343419 h 1538630"/>
              <a:gd name="csX220" fmla="*/ 1126403 w 1609516"/>
              <a:gd name="csY220" fmla="*/ 350112 h 1538630"/>
              <a:gd name="csX221" fmla="*/ 1131871 w 1609516"/>
              <a:gd name="csY221" fmla="*/ 352579 h 1538630"/>
              <a:gd name="csX222" fmla="*/ 1135776 w 1609516"/>
              <a:gd name="csY222" fmla="*/ 354340 h 1538630"/>
              <a:gd name="csX223" fmla="*/ 1135776 w 1609516"/>
              <a:gd name="csY223" fmla="*/ 357158 h 1538630"/>
              <a:gd name="csX224" fmla="*/ 1170143 w 1609516"/>
              <a:gd name="csY224" fmla="*/ 354340 h 1538630"/>
              <a:gd name="csX225" fmla="*/ 1174634 w 1609516"/>
              <a:gd name="csY225" fmla="*/ 352579 h 1538630"/>
              <a:gd name="csX226" fmla="*/ 1190890 w 1609516"/>
              <a:gd name="csY226" fmla="*/ 342907 h 1538630"/>
              <a:gd name="csX227" fmla="*/ 1204021 w 1609516"/>
              <a:gd name="csY227" fmla="*/ 335404 h 1538630"/>
              <a:gd name="csX228" fmla="*/ 1223255 w 1609516"/>
              <a:gd name="csY228" fmla="*/ 319110 h 1538630"/>
              <a:gd name="csX229" fmla="*/ 1226868 w 1609516"/>
              <a:gd name="csY229" fmla="*/ 315587 h 1538630"/>
              <a:gd name="csX230" fmla="*/ 1231859 w 1609516"/>
              <a:gd name="csY230" fmla="*/ 303559 h 1538630"/>
              <a:gd name="csX231" fmla="*/ 1234178 w 1609516"/>
              <a:gd name="csY231" fmla="*/ 298059 h 1538630"/>
              <a:gd name="csX232" fmla="*/ 1237314 w 1609516"/>
              <a:gd name="csY232" fmla="*/ 288195 h 1538630"/>
              <a:gd name="csX233" fmla="*/ 1249811 w 1609516"/>
              <a:gd name="csY233" fmla="*/ 265559 h 1538630"/>
              <a:gd name="csX234" fmla="*/ 1252935 w 1609516"/>
              <a:gd name="csY234" fmla="*/ 265559 h 1538630"/>
              <a:gd name="csX235" fmla="*/ 1252935 w 1609516"/>
              <a:gd name="csY235" fmla="*/ 262741 h 1538630"/>
              <a:gd name="csX236" fmla="*/ 1296675 w 1609516"/>
              <a:gd name="csY236" fmla="*/ 252876 h 1538630"/>
              <a:gd name="csX237" fmla="*/ 1307609 w 1609516"/>
              <a:gd name="csY237" fmla="*/ 255695 h 1538630"/>
              <a:gd name="csX238" fmla="*/ 1307609 w 1609516"/>
              <a:gd name="csY238" fmla="*/ 258513 h 1538630"/>
              <a:gd name="csX239" fmla="*/ 1311887 w 1609516"/>
              <a:gd name="csY239" fmla="*/ 258832 h 1538630"/>
              <a:gd name="csX240" fmla="*/ 1326715 w 1609516"/>
              <a:gd name="csY240" fmla="*/ 269969 h 1538630"/>
              <a:gd name="csX241" fmla="*/ 1334165 w 1609516"/>
              <a:gd name="csY241" fmla="*/ 307836 h 1538630"/>
              <a:gd name="csX242" fmla="*/ 1329479 w 1609516"/>
              <a:gd name="csY242" fmla="*/ 314882 h 1538630"/>
              <a:gd name="csX243" fmla="*/ 1323231 w 1609516"/>
              <a:gd name="csY243" fmla="*/ 314882 h 1538630"/>
              <a:gd name="csX244" fmla="*/ 1323231 w 1609516"/>
              <a:gd name="csY244" fmla="*/ 317700 h 1538630"/>
              <a:gd name="csX245" fmla="*/ 1322774 w 1609516"/>
              <a:gd name="csY245" fmla="*/ 317838 h 1538630"/>
              <a:gd name="csX246" fmla="*/ 1323295 w 1609516"/>
              <a:gd name="csY246" fmla="*/ 317838 h 1538630"/>
              <a:gd name="csX247" fmla="*/ 1323295 w 1609516"/>
              <a:gd name="csY247" fmla="*/ 315019 h 1538630"/>
              <a:gd name="csX248" fmla="*/ 1327982 w 1609516"/>
              <a:gd name="csY248" fmla="*/ 315019 h 1538630"/>
              <a:gd name="csX249" fmla="*/ 1317047 w 1609516"/>
              <a:gd name="csY249" fmla="*/ 327702 h 1538630"/>
              <a:gd name="csX250" fmla="*/ 1315484 w 1609516"/>
              <a:gd name="csY250" fmla="*/ 331930 h 1538630"/>
              <a:gd name="csX251" fmla="*/ 1309139 w 1609516"/>
              <a:gd name="csY251" fmla="*/ 333603 h 1538630"/>
              <a:gd name="csX252" fmla="*/ 1305666 w 1609516"/>
              <a:gd name="csY252" fmla="*/ 334280 h 1538630"/>
              <a:gd name="csX253" fmla="*/ 1302988 w 1609516"/>
              <a:gd name="csY253" fmla="*/ 334748 h 1538630"/>
              <a:gd name="csX254" fmla="*/ 1305905 w 1609516"/>
              <a:gd name="csY254" fmla="*/ 332775 h 1538630"/>
              <a:gd name="csX255" fmla="*/ 1304485 w 1609516"/>
              <a:gd name="csY255" fmla="*/ 333202 h 1538630"/>
              <a:gd name="csX256" fmla="*/ 1301459 w 1609516"/>
              <a:gd name="csY256" fmla="*/ 336108 h 1538630"/>
              <a:gd name="csX257" fmla="*/ 1291989 w 1609516"/>
              <a:gd name="csY257" fmla="*/ 338839 h 1538630"/>
              <a:gd name="csX258" fmla="*/ 1290426 w 1609516"/>
              <a:gd name="csY258" fmla="*/ 343066 h 1538630"/>
              <a:gd name="csX259" fmla="*/ 1285740 w 1609516"/>
              <a:gd name="csY259" fmla="*/ 344123 h 1538630"/>
              <a:gd name="csX260" fmla="*/ 1237314 w 1609516"/>
              <a:gd name="csY260" fmla="*/ 382525 h 1538630"/>
              <a:gd name="csX261" fmla="*/ 1232628 w 1609516"/>
              <a:gd name="csY261" fmla="*/ 392389 h 1538630"/>
              <a:gd name="csX262" fmla="*/ 1228625 w 1609516"/>
              <a:gd name="csY262" fmla="*/ 398731 h 1538630"/>
              <a:gd name="csX263" fmla="*/ 1222822 w 1609516"/>
              <a:gd name="csY263" fmla="*/ 434798 h 1538630"/>
              <a:gd name="csX264" fmla="*/ 1260746 w 1609516"/>
              <a:gd name="csY264" fmla="*/ 485398 h 1538630"/>
              <a:gd name="csX265" fmla="*/ 1268556 w 1609516"/>
              <a:gd name="csY265" fmla="*/ 488216 h 1538630"/>
              <a:gd name="csX266" fmla="*/ 1268556 w 1609516"/>
              <a:gd name="csY266" fmla="*/ 491034 h 1538630"/>
              <a:gd name="csX267" fmla="*/ 1338852 w 1609516"/>
              <a:gd name="csY267" fmla="*/ 489625 h 1538630"/>
              <a:gd name="csX268" fmla="*/ 1347444 w 1609516"/>
              <a:gd name="csY268" fmla="*/ 488480 h 1538630"/>
              <a:gd name="csX269" fmla="*/ 1369362 w 1609516"/>
              <a:gd name="csY269" fmla="*/ 482513 h 1538630"/>
              <a:gd name="csX270" fmla="*/ 1388840 w 1609516"/>
              <a:gd name="csY270" fmla="*/ 478351 h 1538630"/>
              <a:gd name="csX271" fmla="*/ 1388840 w 1609516"/>
              <a:gd name="csY271" fmla="*/ 475533 h 1538630"/>
              <a:gd name="csX272" fmla="*/ 1395576 w 1609516"/>
              <a:gd name="csY272" fmla="*/ 473419 h 1538630"/>
              <a:gd name="csX273" fmla="*/ 1399365 w 1609516"/>
              <a:gd name="csY273" fmla="*/ 472230 h 1538630"/>
              <a:gd name="csX274" fmla="*/ 1407585 w 1609516"/>
              <a:gd name="csY274" fmla="*/ 471305 h 1538630"/>
              <a:gd name="csX275" fmla="*/ 1409147 w 1609516"/>
              <a:gd name="csY275" fmla="*/ 467078 h 1538630"/>
              <a:gd name="csX276" fmla="*/ 1416470 w 1609516"/>
              <a:gd name="csY276" fmla="*/ 464259 h 1538630"/>
              <a:gd name="csX277" fmla="*/ 1437949 w 1609516"/>
              <a:gd name="csY277" fmla="*/ 455011 h 1538630"/>
              <a:gd name="csX278" fmla="*/ 1452887 w 1609516"/>
              <a:gd name="csY278" fmla="*/ 450167 h 1538630"/>
              <a:gd name="csX279" fmla="*/ 1452887 w 1609516"/>
              <a:gd name="csY279" fmla="*/ 447349 h 1538630"/>
              <a:gd name="csX280" fmla="*/ 1455394 w 1609516"/>
              <a:gd name="csY280" fmla="*/ 446122 h 1538630"/>
              <a:gd name="csX281" fmla="*/ 1466653 w 1609516"/>
              <a:gd name="csY281" fmla="*/ 440567 h 1538630"/>
              <a:gd name="csX282" fmla="*/ 1470598 w 1609516"/>
              <a:gd name="csY282" fmla="*/ 438637 h 1538630"/>
              <a:gd name="csX283" fmla="*/ 1474397 w 1609516"/>
              <a:gd name="csY283" fmla="*/ 436752 h 1538630"/>
              <a:gd name="csX284" fmla="*/ 1477892 w 1609516"/>
              <a:gd name="csY284" fmla="*/ 435030 h 1538630"/>
              <a:gd name="csX285" fmla="*/ 1485691 w 1609516"/>
              <a:gd name="csY285" fmla="*/ 429029 h 1538630"/>
              <a:gd name="csX286" fmla="*/ 1488858 w 1609516"/>
              <a:gd name="csY286" fmla="*/ 427653 h 1538630"/>
              <a:gd name="csX287" fmla="*/ 1495943 w 1609516"/>
              <a:gd name="csY287" fmla="*/ 421454 h 1538630"/>
              <a:gd name="csX288" fmla="*/ 1538608 w 1609516"/>
              <a:gd name="csY288" fmla="*/ 388338 h 1538630"/>
              <a:gd name="csX289" fmla="*/ 1543490 w 1609516"/>
              <a:gd name="csY289" fmla="*/ 388161 h 1538630"/>
              <a:gd name="csX290" fmla="*/ 1547621 w 1609516"/>
              <a:gd name="csY290" fmla="*/ 387804 h 1538630"/>
              <a:gd name="csX291" fmla="*/ 1579418 w 1609516"/>
              <a:gd name="csY291" fmla="*/ 396617 h 1538630"/>
              <a:gd name="csX292" fmla="*/ 1583342 w 1609516"/>
              <a:gd name="csY292" fmla="*/ 398780 h 1538630"/>
              <a:gd name="csX293" fmla="*/ 1601288 w 1609516"/>
              <a:gd name="csY293" fmla="*/ 423392 h 1538630"/>
              <a:gd name="csX294" fmla="*/ 1594484 w 1609516"/>
              <a:gd name="csY294" fmla="*/ 460159 h 1538630"/>
              <a:gd name="csX295" fmla="*/ 1574732 w 1609516"/>
              <a:gd name="csY295" fmla="*/ 475533 h 1538630"/>
              <a:gd name="csX296" fmla="*/ 1572097 w 1609516"/>
              <a:gd name="csY296" fmla="*/ 477078 h 1538630"/>
              <a:gd name="csX297" fmla="*/ 1556066 w 1609516"/>
              <a:gd name="csY297" fmla="*/ 478737 h 1538630"/>
              <a:gd name="csX298" fmla="*/ 1548631 w 1609516"/>
              <a:gd name="csY298" fmla="*/ 478825 h 1538630"/>
              <a:gd name="csX299" fmla="*/ 1536991 w 1609516"/>
              <a:gd name="csY299" fmla="*/ 478889 h 1538630"/>
              <a:gd name="csX300" fmla="*/ 1498188 w 1609516"/>
              <a:gd name="csY300" fmla="*/ 485398 h 1538630"/>
              <a:gd name="csX301" fmla="*/ 1493892 w 1609516"/>
              <a:gd name="csY301" fmla="*/ 487600 h 1538630"/>
              <a:gd name="csX302" fmla="*/ 1490377 w 1609516"/>
              <a:gd name="csY302" fmla="*/ 489625 h 1538630"/>
              <a:gd name="csX303" fmla="*/ 1471650 w 1609516"/>
              <a:gd name="csY303" fmla="*/ 498185 h 1538630"/>
              <a:gd name="csX304" fmla="*/ 1459135 w 1609516"/>
              <a:gd name="csY304" fmla="*/ 505127 h 1538630"/>
              <a:gd name="csX305" fmla="*/ 1452594 w 1609516"/>
              <a:gd name="csY305" fmla="*/ 508033 h 1538630"/>
              <a:gd name="csX306" fmla="*/ 1427795 w 1609516"/>
              <a:gd name="csY306" fmla="*/ 520100 h 1538630"/>
              <a:gd name="csX307" fmla="*/ 1423733 w 1609516"/>
              <a:gd name="csY307" fmla="*/ 522148 h 1538630"/>
              <a:gd name="csX308" fmla="*/ 1419929 w 1609516"/>
              <a:gd name="csY308" fmla="*/ 524118 h 1538630"/>
              <a:gd name="csX309" fmla="*/ 1416487 w 1609516"/>
              <a:gd name="csY309" fmla="*/ 525883 h 1538630"/>
              <a:gd name="csX310" fmla="*/ 1412271 w 1609516"/>
              <a:gd name="csY310" fmla="*/ 531902 h 1538630"/>
              <a:gd name="csX311" fmla="*/ 1396650 w 1609516"/>
              <a:gd name="csY311" fmla="*/ 537539 h 1538630"/>
              <a:gd name="csX312" fmla="*/ 1396650 w 1609516"/>
              <a:gd name="csY312" fmla="*/ 540357 h 1538630"/>
              <a:gd name="csX313" fmla="*/ 1393495 w 1609516"/>
              <a:gd name="csY313" fmla="*/ 541502 h 1538630"/>
              <a:gd name="csX314" fmla="*/ 1362284 w 1609516"/>
              <a:gd name="csY314" fmla="*/ 558678 h 1538630"/>
              <a:gd name="csX315" fmla="*/ 1355937 w 1609516"/>
              <a:gd name="csY315" fmla="*/ 562905 h 1538630"/>
              <a:gd name="csX316" fmla="*/ 1334165 w 1609516"/>
              <a:gd name="csY316" fmla="*/ 578406 h 1538630"/>
              <a:gd name="csX317" fmla="*/ 1331200 w 1609516"/>
              <a:gd name="csY317" fmla="*/ 580559 h 1538630"/>
              <a:gd name="csX318" fmla="*/ 1322175 w 1609516"/>
              <a:gd name="csY318" fmla="*/ 596793 h 1538630"/>
              <a:gd name="csX319" fmla="*/ 1320106 w 1609516"/>
              <a:gd name="csY319" fmla="*/ 602363 h 1538630"/>
              <a:gd name="csX320" fmla="*/ 1328015 w 1609516"/>
              <a:gd name="csY320" fmla="*/ 647640 h 1538630"/>
              <a:gd name="csX321" fmla="*/ 1332604 w 1609516"/>
              <a:gd name="csY321" fmla="*/ 675643 h 1538630"/>
              <a:gd name="csX322" fmla="*/ 1335727 w 1609516"/>
              <a:gd name="csY322" fmla="*/ 675643 h 1538630"/>
              <a:gd name="csX323" fmla="*/ 1337741 w 1609516"/>
              <a:gd name="csY323" fmla="*/ 690059 h 1538630"/>
              <a:gd name="csX324" fmla="*/ 1338003 w 1609516"/>
              <a:gd name="csY324" fmla="*/ 696222 h 1538630"/>
              <a:gd name="csX325" fmla="*/ 1338340 w 1609516"/>
              <a:gd name="csY325" fmla="*/ 705887 h 1538630"/>
              <a:gd name="csX326" fmla="*/ 1345277 w 1609516"/>
              <a:gd name="csY326" fmla="*/ 733245 h 1538630"/>
              <a:gd name="csX327" fmla="*/ 1363162 w 1609516"/>
              <a:gd name="csY327" fmla="*/ 741612 h 1538630"/>
              <a:gd name="csX328" fmla="*/ 1384154 w 1609516"/>
              <a:gd name="csY328" fmla="*/ 748922 h 1538630"/>
              <a:gd name="csX329" fmla="*/ 1391476 w 1609516"/>
              <a:gd name="csY329" fmla="*/ 750419 h 1538630"/>
              <a:gd name="csX330" fmla="*/ 1395564 w 1609516"/>
              <a:gd name="csY330" fmla="*/ 751080 h 1538630"/>
              <a:gd name="csX331" fmla="*/ 1399775 w 1609516"/>
              <a:gd name="csY331" fmla="*/ 751740 h 1538630"/>
              <a:gd name="csX332" fmla="*/ 1403887 w 1609516"/>
              <a:gd name="csY332" fmla="*/ 752489 h 1538630"/>
              <a:gd name="csX333" fmla="*/ 1465383 w 1609516"/>
              <a:gd name="csY333" fmla="*/ 755969 h 1538630"/>
              <a:gd name="csX334" fmla="*/ 1470339 w 1609516"/>
              <a:gd name="csY334" fmla="*/ 755897 h 1538630"/>
              <a:gd name="csX335" fmla="*/ 1496809 w 1609516"/>
              <a:gd name="csY335" fmla="*/ 749313 h 1538630"/>
              <a:gd name="csX336" fmla="*/ 1515371 w 1609516"/>
              <a:gd name="csY336" fmla="*/ 743285 h 1538630"/>
              <a:gd name="csX337" fmla="*/ 1515371 w 1609516"/>
              <a:gd name="csY337" fmla="*/ 740467 h 1538630"/>
              <a:gd name="csX338" fmla="*/ 1537632 w 1609516"/>
              <a:gd name="csY338" fmla="*/ 737120 h 1538630"/>
              <a:gd name="csX339" fmla="*/ 1541657 w 1609516"/>
              <a:gd name="csY339" fmla="*/ 737127 h 1538630"/>
              <a:gd name="csX340" fmla="*/ 1574732 w 1609516"/>
              <a:gd name="csY340" fmla="*/ 748922 h 1538630"/>
              <a:gd name="csX341" fmla="*/ 1588791 w 1609516"/>
              <a:gd name="csY341" fmla="*/ 792608 h 1538630"/>
              <a:gd name="csX342" fmla="*/ 1584105 w 1609516"/>
              <a:gd name="csY342" fmla="*/ 805291 h 1538630"/>
              <a:gd name="csX343" fmla="*/ 1580981 w 1609516"/>
              <a:gd name="csY343" fmla="*/ 806700 h 1538630"/>
              <a:gd name="csX344" fmla="*/ 1578735 w 1609516"/>
              <a:gd name="csY344" fmla="*/ 810311 h 1538630"/>
              <a:gd name="csX345" fmla="*/ 1576295 w 1609516"/>
              <a:gd name="csY345" fmla="*/ 813746 h 1538630"/>
              <a:gd name="csX346" fmla="*/ 1571652 w 1609516"/>
              <a:gd name="csY346" fmla="*/ 813746 h 1538630"/>
              <a:gd name="csX347" fmla="*/ 1571785 w 1609516"/>
              <a:gd name="csY347" fmla="*/ 814106 h 1538630"/>
              <a:gd name="csX348" fmla="*/ 1574909 w 1609516"/>
              <a:gd name="csY348" fmla="*/ 815515 h 1538630"/>
              <a:gd name="csX349" fmla="*/ 1565463 w 1609516"/>
              <a:gd name="csY349" fmla="*/ 821839 h 1538630"/>
              <a:gd name="csX350" fmla="*/ 1562085 w 1609516"/>
              <a:gd name="csY350" fmla="*/ 822101 h 1538630"/>
              <a:gd name="csX351" fmla="*/ 1551301 w 1609516"/>
              <a:gd name="csY351" fmla="*/ 825020 h 1538630"/>
              <a:gd name="csX352" fmla="*/ 1551301 w 1609516"/>
              <a:gd name="csY352" fmla="*/ 827838 h 1538630"/>
              <a:gd name="csX353" fmla="*/ 1485380 w 1609516"/>
              <a:gd name="csY353" fmla="*/ 815007 h 1538630"/>
              <a:gd name="csX354" fmla="*/ 1431603 w 1609516"/>
              <a:gd name="csY354" fmla="*/ 808726 h 1538630"/>
              <a:gd name="csX355" fmla="*/ 1424140 w 1609516"/>
              <a:gd name="csY355" fmla="*/ 808542 h 1538630"/>
              <a:gd name="csX356" fmla="*/ 1406023 w 1609516"/>
              <a:gd name="csY356" fmla="*/ 808109 h 1538630"/>
              <a:gd name="csX357" fmla="*/ 1406023 w 1609516"/>
              <a:gd name="csY357" fmla="*/ 810928 h 1538630"/>
              <a:gd name="csX358" fmla="*/ 1403383 w 1609516"/>
              <a:gd name="csY358" fmla="*/ 811311 h 1538630"/>
              <a:gd name="csX359" fmla="*/ 1345442 w 1609516"/>
              <a:gd name="csY359" fmla="*/ 828907 h 1538630"/>
              <a:gd name="csX360" fmla="*/ 1337875 w 1609516"/>
              <a:gd name="csY360" fmla="*/ 856639 h 1538630"/>
              <a:gd name="csX361" fmla="*/ 1337692 w 1609516"/>
              <a:gd name="csY361" fmla="*/ 860171 h 1538630"/>
              <a:gd name="csX362" fmla="*/ 1337290 w 1609516"/>
              <a:gd name="csY362" fmla="*/ 868706 h 1538630"/>
              <a:gd name="csX363" fmla="*/ 1334165 w 1609516"/>
              <a:gd name="csY363" fmla="*/ 868706 h 1538630"/>
              <a:gd name="csX364" fmla="*/ 1334165 w 1609516"/>
              <a:gd name="csY364" fmla="*/ 870034 h 1538630"/>
              <a:gd name="csX365" fmla="*/ 1334237 w 1609516"/>
              <a:gd name="csY365" fmla="*/ 869093 h 1538630"/>
              <a:gd name="csX366" fmla="*/ 1335800 w 1609516"/>
              <a:gd name="csY366" fmla="*/ 869093 h 1538630"/>
              <a:gd name="csX367" fmla="*/ 1335995 w 1609516"/>
              <a:gd name="csY367" fmla="*/ 876491 h 1538630"/>
              <a:gd name="csX368" fmla="*/ 1336105 w 1609516"/>
              <a:gd name="csY368" fmla="*/ 880653 h 1538630"/>
              <a:gd name="csX369" fmla="*/ 1334294 w 1609516"/>
              <a:gd name="csY369" fmla="*/ 887271 h 1538630"/>
              <a:gd name="csX370" fmla="*/ 1331455 w 1609516"/>
              <a:gd name="csY370" fmla="*/ 896440 h 1538630"/>
              <a:gd name="csX371" fmla="*/ 1330887 w 1609516"/>
              <a:gd name="csY371" fmla="*/ 899969 h 1538630"/>
              <a:gd name="csX372" fmla="*/ 1330332 w 1609516"/>
              <a:gd name="csY372" fmla="*/ 903618 h 1538630"/>
              <a:gd name="csX373" fmla="*/ 1329209 w 1609516"/>
              <a:gd name="csY373" fmla="*/ 910797 h 1538630"/>
              <a:gd name="csX374" fmla="*/ 1328724 w 1609516"/>
              <a:gd name="csY374" fmla="*/ 913998 h 1538630"/>
              <a:gd name="csX375" fmla="*/ 1324865 w 1609516"/>
              <a:gd name="csY375" fmla="*/ 922643 h 1538630"/>
              <a:gd name="csX376" fmla="*/ 1322619 w 1609516"/>
              <a:gd name="csY376" fmla="*/ 937979 h 1538630"/>
              <a:gd name="csX377" fmla="*/ 1318744 w 1609516"/>
              <a:gd name="csY377" fmla="*/ 944961 h 1538630"/>
              <a:gd name="csX378" fmla="*/ 1318544 w 1609516"/>
              <a:gd name="csY378" fmla="*/ 946213 h 1538630"/>
              <a:gd name="csX379" fmla="*/ 1318251 w 1609516"/>
              <a:gd name="csY379" fmla="*/ 955285 h 1538630"/>
              <a:gd name="csX380" fmla="*/ 1318184 w 1609516"/>
              <a:gd name="csY380" fmla="*/ 960036 h 1538630"/>
              <a:gd name="csX381" fmla="*/ 1324024 w 1609516"/>
              <a:gd name="csY381" fmla="*/ 973660 h 1538630"/>
              <a:gd name="csX382" fmla="*/ 1329284 w 1609516"/>
              <a:gd name="csY382" fmla="*/ 983382 h 1538630"/>
              <a:gd name="csX383" fmla="*/ 1340414 w 1609516"/>
              <a:gd name="csY383" fmla="*/ 998354 h 1538630"/>
              <a:gd name="csX384" fmla="*/ 1346272 w 1609516"/>
              <a:gd name="csY384" fmla="*/ 1005048 h 1538630"/>
              <a:gd name="csX385" fmla="*/ 1394716 w 1609516"/>
              <a:gd name="csY385" fmla="*/ 1042740 h 1538630"/>
              <a:gd name="csX386" fmla="*/ 1401953 w 1609516"/>
              <a:gd name="csY386" fmla="*/ 1047374 h 1538630"/>
              <a:gd name="csX387" fmla="*/ 1427197 w 1609516"/>
              <a:gd name="csY387" fmla="*/ 1059061 h 1538630"/>
              <a:gd name="csX388" fmla="*/ 1437265 w 1609516"/>
              <a:gd name="csY388" fmla="*/ 1064588 h 1538630"/>
              <a:gd name="csX389" fmla="*/ 1437265 w 1609516"/>
              <a:gd name="csY389" fmla="*/ 1067406 h 1538630"/>
              <a:gd name="csX390" fmla="*/ 1440878 w 1609516"/>
              <a:gd name="csY390" fmla="*/ 1067847 h 1538630"/>
              <a:gd name="csX391" fmla="*/ 1447175 w 1609516"/>
              <a:gd name="csY391" fmla="*/ 1070753 h 1538630"/>
              <a:gd name="csX392" fmla="*/ 1457866 w 1609516"/>
              <a:gd name="csY392" fmla="*/ 1076830 h 1538630"/>
              <a:gd name="csX393" fmla="*/ 1462132 w 1609516"/>
              <a:gd name="csY393" fmla="*/ 1078696 h 1538630"/>
              <a:gd name="csX394" fmla="*/ 1465383 w 1609516"/>
              <a:gd name="csY394" fmla="*/ 1080089 h 1538630"/>
              <a:gd name="csX395" fmla="*/ 1465383 w 1609516"/>
              <a:gd name="csY395" fmla="*/ 1082908 h 1538630"/>
              <a:gd name="csX396" fmla="*/ 1468758 w 1609516"/>
              <a:gd name="csY396" fmla="*/ 1083975 h 1538630"/>
              <a:gd name="csX397" fmla="*/ 1481688 w 1609516"/>
              <a:gd name="csY397" fmla="*/ 1091187 h 1538630"/>
              <a:gd name="csX398" fmla="*/ 1486283 w 1609516"/>
              <a:gd name="csY398" fmla="*/ 1094236 h 1538630"/>
              <a:gd name="csX399" fmla="*/ 1494869 w 1609516"/>
              <a:gd name="csY399" fmla="*/ 1100171 h 1538630"/>
              <a:gd name="csX400" fmla="*/ 1544335 w 1609516"/>
              <a:gd name="csY400" fmla="*/ 1109518 h 1538630"/>
              <a:gd name="csX401" fmla="*/ 1593477 w 1609516"/>
              <a:gd name="csY401" fmla="*/ 1119900 h 1538630"/>
              <a:gd name="csX402" fmla="*/ 1605975 w 1609516"/>
              <a:gd name="csY402" fmla="*/ 1144913 h 1538630"/>
              <a:gd name="csX403" fmla="*/ 1609099 w 1609516"/>
              <a:gd name="csY403" fmla="*/ 1144913 h 1538630"/>
              <a:gd name="csX404" fmla="*/ 1609392 w 1609516"/>
              <a:gd name="csY404" fmla="*/ 1156892 h 1538630"/>
              <a:gd name="csX405" fmla="*/ 1609511 w 1609516"/>
              <a:gd name="csY405" fmla="*/ 1160272 h 1538630"/>
              <a:gd name="csX406" fmla="*/ 1604412 w 1609516"/>
              <a:gd name="csY406" fmla="*/ 1181553 h 1538630"/>
              <a:gd name="csX407" fmla="*/ 1601288 w 1609516"/>
              <a:gd name="csY407" fmla="*/ 1190009 h 1538630"/>
              <a:gd name="csX408" fmla="*/ 1598164 w 1609516"/>
              <a:gd name="csY408" fmla="*/ 1190009 h 1538630"/>
              <a:gd name="csX409" fmla="*/ 1597187 w 1609516"/>
              <a:gd name="csY409" fmla="*/ 1192739 h 1538630"/>
              <a:gd name="csX410" fmla="*/ 1595040 w 1609516"/>
              <a:gd name="csY410" fmla="*/ 1195645 h 1538630"/>
              <a:gd name="csX411" fmla="*/ 1585667 w 1609516"/>
              <a:gd name="csY411" fmla="*/ 1197055 h 1538630"/>
              <a:gd name="csX412" fmla="*/ 1582543 w 1609516"/>
              <a:gd name="csY412" fmla="*/ 1202691 h 1538630"/>
              <a:gd name="csX413" fmla="*/ 1562431 w 1609516"/>
              <a:gd name="csY413" fmla="*/ 1204365 h 1538630"/>
              <a:gd name="csX414" fmla="*/ 1558690 w 1609516"/>
              <a:gd name="csY414" fmla="*/ 1204417 h 1538630"/>
              <a:gd name="csX415" fmla="*/ 1521102 w 1609516"/>
              <a:gd name="csY415" fmla="*/ 1189585 h 1538630"/>
              <a:gd name="csX416" fmla="*/ 1505022 w 1609516"/>
              <a:gd name="csY416" fmla="*/ 1172041 h 1538630"/>
              <a:gd name="csX417" fmla="*/ 1457573 w 1609516"/>
              <a:gd name="csY417" fmla="*/ 1140686 h 1538630"/>
              <a:gd name="csX418" fmla="*/ 1457573 w 1609516"/>
              <a:gd name="csY418" fmla="*/ 1137867 h 1538630"/>
              <a:gd name="csX419" fmla="*/ 1452985 w 1609516"/>
              <a:gd name="csY419" fmla="*/ 1137339 h 1538630"/>
              <a:gd name="csX420" fmla="*/ 1448200 w 1609516"/>
              <a:gd name="csY420" fmla="*/ 1136458 h 1538630"/>
              <a:gd name="csX421" fmla="*/ 1446638 w 1609516"/>
              <a:gd name="csY421" fmla="*/ 1133640 h 1538630"/>
              <a:gd name="csX422" fmla="*/ 1438937 w 1609516"/>
              <a:gd name="csY422" fmla="*/ 1130601 h 1538630"/>
              <a:gd name="csX423" fmla="*/ 1429260 w 1609516"/>
              <a:gd name="csY423" fmla="*/ 1126770 h 1538630"/>
              <a:gd name="csX424" fmla="*/ 1411393 w 1609516"/>
              <a:gd name="csY424" fmla="*/ 1120340 h 1538630"/>
              <a:gd name="csX425" fmla="*/ 1391427 w 1609516"/>
              <a:gd name="csY425" fmla="*/ 1111191 h 1538630"/>
              <a:gd name="csX426" fmla="*/ 1381029 w 1609516"/>
              <a:gd name="csY426" fmla="*/ 1106865 h 1538630"/>
              <a:gd name="csX427" fmla="*/ 1381029 w 1609516"/>
              <a:gd name="csY427" fmla="*/ 1104046 h 1538630"/>
              <a:gd name="csX428" fmla="*/ 1377221 w 1609516"/>
              <a:gd name="csY428" fmla="*/ 1103605 h 1538630"/>
              <a:gd name="csX429" fmla="*/ 1357597 w 1609516"/>
              <a:gd name="csY429" fmla="*/ 1098409 h 1538630"/>
              <a:gd name="csX430" fmla="*/ 1352032 w 1609516"/>
              <a:gd name="csY430" fmla="*/ 1096736 h 1538630"/>
              <a:gd name="csX431" fmla="*/ 1348225 w 1609516"/>
              <a:gd name="csY431" fmla="*/ 1095590 h 1538630"/>
              <a:gd name="csX432" fmla="*/ 1348225 w 1609516"/>
              <a:gd name="csY432" fmla="*/ 1092772 h 1538630"/>
              <a:gd name="csX433" fmla="*/ 1337290 w 1609516"/>
              <a:gd name="csY433" fmla="*/ 1091363 h 1538630"/>
              <a:gd name="csX434" fmla="*/ 1337290 w 1609516"/>
              <a:gd name="csY434" fmla="*/ 1088544 h 1538630"/>
              <a:gd name="csX435" fmla="*/ 1331529 w 1609516"/>
              <a:gd name="csY435" fmla="*/ 1088104 h 1538630"/>
              <a:gd name="csX436" fmla="*/ 1323297 w 1609516"/>
              <a:gd name="csY436" fmla="*/ 1086611 h 1538630"/>
              <a:gd name="csX437" fmla="*/ 1323297 w 1609516"/>
              <a:gd name="csY437" fmla="*/ 1087618 h 1538630"/>
              <a:gd name="csX438" fmla="*/ 1319789 w 1609516"/>
              <a:gd name="csY438" fmla="*/ 1087310 h 1538630"/>
              <a:gd name="csX439" fmla="*/ 1262375 w 1609516"/>
              <a:gd name="csY439" fmla="*/ 1089028 h 1538630"/>
              <a:gd name="csX440" fmla="*/ 1258728 w 1609516"/>
              <a:gd name="csY440" fmla="*/ 1088205 h 1538630"/>
              <a:gd name="csX441" fmla="*/ 1246964 w 1609516"/>
              <a:gd name="csY441" fmla="*/ 1091489 h 1538630"/>
              <a:gd name="csX442" fmla="*/ 1223224 w 1609516"/>
              <a:gd name="csY442" fmla="*/ 1112865 h 1538630"/>
              <a:gd name="csX443" fmla="*/ 1213883 w 1609516"/>
              <a:gd name="csY443" fmla="*/ 1122366 h 1538630"/>
              <a:gd name="csX444" fmla="*/ 1212505 w 1609516"/>
              <a:gd name="csY444" fmla="*/ 1125708 h 1538630"/>
              <a:gd name="csX445" fmla="*/ 1204180 w 1609516"/>
              <a:gd name="csY445" fmla="*/ 1135561 h 1538630"/>
              <a:gd name="csX446" fmla="*/ 1200238 w 1609516"/>
              <a:gd name="csY446" fmla="*/ 1138999 h 1538630"/>
              <a:gd name="csX447" fmla="*/ 1192025 w 1609516"/>
              <a:gd name="csY447" fmla="*/ 1146022 h 1538630"/>
              <a:gd name="csX448" fmla="*/ 1173945 w 1609516"/>
              <a:gd name="csY448" fmla="*/ 1174749 h 1538630"/>
              <a:gd name="csX449" fmla="*/ 1173950 w 1609516"/>
              <a:gd name="csY449" fmla="*/ 1182610 h 1538630"/>
              <a:gd name="csX450" fmla="*/ 1173989 w 1609516"/>
              <a:gd name="csY450" fmla="*/ 1186765 h 1538630"/>
              <a:gd name="csX451" fmla="*/ 1182640 w 1609516"/>
              <a:gd name="csY451" fmla="*/ 1215374 h 1538630"/>
              <a:gd name="csX452" fmla="*/ 1185764 w 1609516"/>
              <a:gd name="csY452" fmla="*/ 1221804 h 1538630"/>
              <a:gd name="csX453" fmla="*/ 1187301 w 1609516"/>
              <a:gd name="csY453" fmla="*/ 1224859 h 1538630"/>
              <a:gd name="csX454" fmla="*/ 1190573 w 1609516"/>
              <a:gd name="csY454" fmla="*/ 1231740 h 1538630"/>
              <a:gd name="csX455" fmla="*/ 1205925 w 1609516"/>
              <a:gd name="csY455" fmla="*/ 1255163 h 1538630"/>
              <a:gd name="csX456" fmla="*/ 1212174 w 1609516"/>
              <a:gd name="csY456" fmla="*/ 1263134 h 1538630"/>
              <a:gd name="csX457" fmla="*/ 1235556 w 1609516"/>
              <a:gd name="csY457" fmla="*/ 1282538 h 1538630"/>
              <a:gd name="csX458" fmla="*/ 1238876 w 1609516"/>
              <a:gd name="csY458" fmla="*/ 1284426 h 1538630"/>
              <a:gd name="csX459" fmla="*/ 1238876 w 1609516"/>
              <a:gd name="csY459" fmla="*/ 1287245 h 1538630"/>
              <a:gd name="csX460" fmla="*/ 1242245 w 1609516"/>
              <a:gd name="csY460" fmla="*/ 1287663 h 1538630"/>
              <a:gd name="csX461" fmla="*/ 1271681 w 1609516"/>
              <a:gd name="csY461" fmla="*/ 1305565 h 1538630"/>
              <a:gd name="csX462" fmla="*/ 1271742 w 1609516"/>
              <a:gd name="csY462" fmla="*/ 1306172 h 1538630"/>
              <a:gd name="csX463" fmla="*/ 1278525 w 1609516"/>
              <a:gd name="csY463" fmla="*/ 1315767 h 1538630"/>
              <a:gd name="csX464" fmla="*/ 1281097 w 1609516"/>
              <a:gd name="csY464" fmla="*/ 1327286 h 1538630"/>
              <a:gd name="csX465" fmla="*/ 1277973 w 1609516"/>
              <a:gd name="csY465" fmla="*/ 1355470 h 1538630"/>
              <a:gd name="csX466" fmla="*/ 1277460 w 1609516"/>
              <a:gd name="csY466" fmla="*/ 1347025 h 1538630"/>
              <a:gd name="csX467" fmla="*/ 1273531 w 1609516"/>
              <a:gd name="csY467" fmla="*/ 1357991 h 1538630"/>
              <a:gd name="csX468" fmla="*/ 1263870 w 1609516"/>
              <a:gd name="csY468" fmla="*/ 1368980 h 1538630"/>
              <a:gd name="csX469" fmla="*/ 1246686 w 1609516"/>
              <a:gd name="csY469" fmla="*/ 1376026 h 1538630"/>
              <a:gd name="csX470" fmla="*/ 1246686 w 1609516"/>
              <a:gd name="csY470" fmla="*/ 1378844 h 1538630"/>
              <a:gd name="csX471" fmla="*/ 1231651 w 1609516"/>
              <a:gd name="csY471" fmla="*/ 1379196 h 1538630"/>
              <a:gd name="csX472" fmla="*/ 1227373 w 1609516"/>
              <a:gd name="csY472" fmla="*/ 1379340 h 1538630"/>
              <a:gd name="csX473" fmla="*/ 1206071 w 1609516"/>
              <a:gd name="csY473" fmla="*/ 1373207 h 1538630"/>
              <a:gd name="csX474" fmla="*/ 1202069 w 1609516"/>
              <a:gd name="csY474" fmla="*/ 1371798 h 1538630"/>
              <a:gd name="csX475" fmla="*/ 1184104 w 1609516"/>
              <a:gd name="csY475" fmla="*/ 1356176 h 1538630"/>
              <a:gd name="csX476" fmla="*/ 1177270 w 1609516"/>
              <a:gd name="csY476" fmla="*/ 1335247 h 1538630"/>
              <a:gd name="csX477" fmla="*/ 1169002 w 1609516"/>
              <a:gd name="csY477" fmla="*/ 1313464 h 1538630"/>
              <a:gd name="csX478" fmla="*/ 1163504 w 1609516"/>
              <a:gd name="csY478" fmla="*/ 1302130 h 1538630"/>
              <a:gd name="csX479" fmla="*/ 1162015 w 1609516"/>
              <a:gd name="csY479" fmla="*/ 1298788 h 1538630"/>
              <a:gd name="csX480" fmla="*/ 1160111 w 1609516"/>
              <a:gd name="csY480" fmla="*/ 1292656 h 1538630"/>
              <a:gd name="csX481" fmla="*/ 1154522 w 1609516"/>
              <a:gd name="csY481" fmla="*/ 1287245 h 1538630"/>
              <a:gd name="csX482" fmla="*/ 1151398 w 1609516"/>
              <a:gd name="csY482" fmla="*/ 1280199 h 1538630"/>
              <a:gd name="csX483" fmla="*/ 1144173 w 1609516"/>
              <a:gd name="csY483" fmla="*/ 1270774 h 1538630"/>
              <a:gd name="csX484" fmla="*/ 1142065 w 1609516"/>
              <a:gd name="csY484" fmla="*/ 1268160 h 1538630"/>
              <a:gd name="csX485" fmla="*/ 1135776 w 1609516"/>
              <a:gd name="csY485" fmla="*/ 1260470 h 1538630"/>
              <a:gd name="csX486" fmla="*/ 1132353 w 1609516"/>
              <a:gd name="csY486" fmla="*/ 1256247 h 1538630"/>
              <a:gd name="csX487" fmla="*/ 1112344 w 1609516"/>
              <a:gd name="csY487" fmla="*/ 1240741 h 1538630"/>
              <a:gd name="csX488" fmla="*/ 1106193 w 1609516"/>
              <a:gd name="csY488" fmla="*/ 1237570 h 1538630"/>
              <a:gd name="csX489" fmla="*/ 1101409 w 1609516"/>
              <a:gd name="csY489" fmla="*/ 1235104 h 1538630"/>
              <a:gd name="csX490" fmla="*/ 1101409 w 1609516"/>
              <a:gd name="csY490" fmla="*/ 1230876 h 1538630"/>
              <a:gd name="csX491" fmla="*/ 1065480 w 1609516"/>
              <a:gd name="csY491" fmla="*/ 1230876 h 1538630"/>
              <a:gd name="csX492" fmla="*/ 1063919 w 1609516"/>
              <a:gd name="csY492" fmla="*/ 1235104 h 1538630"/>
              <a:gd name="csX493" fmla="*/ 1059232 w 1609516"/>
              <a:gd name="csY493" fmla="*/ 1235104 h 1538630"/>
              <a:gd name="csX494" fmla="*/ 1059232 w 1609516"/>
              <a:gd name="csY494" fmla="*/ 1237922 h 1538630"/>
              <a:gd name="csX495" fmla="*/ 1040194 w 1609516"/>
              <a:gd name="csY495" fmla="*/ 1245761 h 1538630"/>
              <a:gd name="csX496" fmla="*/ 1030333 w 1609516"/>
              <a:gd name="csY496" fmla="*/ 1249901 h 1538630"/>
              <a:gd name="csX497" fmla="*/ 1013931 w 1609516"/>
              <a:gd name="csY497" fmla="*/ 1256242 h 1538630"/>
              <a:gd name="csX498" fmla="*/ 1005925 w 1609516"/>
              <a:gd name="csY498" fmla="*/ 1261615 h 1538630"/>
              <a:gd name="csX499" fmla="*/ 1004558 w 1609516"/>
              <a:gd name="csY499" fmla="*/ 1264697 h 1538630"/>
              <a:gd name="csX500" fmla="*/ 1002959 w 1609516"/>
              <a:gd name="csY500" fmla="*/ 1267961 h 1538630"/>
              <a:gd name="csX501" fmla="*/ 1000653 w 1609516"/>
              <a:gd name="csY501" fmla="*/ 1278965 h 1538630"/>
              <a:gd name="csX502" fmla="*/ 998297 w 1609516"/>
              <a:gd name="csY502" fmla="*/ 1294137 h 1538630"/>
              <a:gd name="csX503" fmla="*/ 996162 w 1609516"/>
              <a:gd name="csY503" fmla="*/ 1324765 h 1538630"/>
              <a:gd name="csX504" fmla="*/ 996164 w 1609516"/>
              <a:gd name="csY504" fmla="*/ 1327846 h 1538630"/>
              <a:gd name="csX505" fmla="*/ 1007780 w 1609516"/>
              <a:gd name="csY505" fmla="*/ 1403329 h 1538630"/>
              <a:gd name="csX506" fmla="*/ 1008940 w 1609516"/>
              <a:gd name="csY506" fmla="*/ 1407701 h 1538630"/>
              <a:gd name="csX507" fmla="*/ 1010080 w 1609516"/>
              <a:gd name="csY507" fmla="*/ 1411730 h 1538630"/>
              <a:gd name="csX508" fmla="*/ 1011075 w 1609516"/>
              <a:gd name="csY508" fmla="*/ 1415277 h 1538630"/>
              <a:gd name="csX509" fmla="*/ 1017055 w 1609516"/>
              <a:gd name="csY509" fmla="*/ 1422530 h 1538630"/>
              <a:gd name="csX510" fmla="*/ 1020277 w 1609516"/>
              <a:gd name="csY510" fmla="*/ 1427991 h 1538630"/>
              <a:gd name="csX511" fmla="*/ 1021796 w 1609516"/>
              <a:gd name="csY511" fmla="*/ 1430798 h 1538630"/>
              <a:gd name="csX512" fmla="*/ 1024579 w 1609516"/>
              <a:gd name="csY512" fmla="*/ 1437239 h 1538630"/>
              <a:gd name="csX513" fmla="*/ 1034043 w 1609516"/>
              <a:gd name="csY513" fmla="*/ 1448072 h 1538630"/>
              <a:gd name="csX514" fmla="*/ 1043782 w 1609516"/>
              <a:gd name="csY514" fmla="*/ 1464320 h 1538630"/>
              <a:gd name="csX515" fmla="*/ 1050458 w 1609516"/>
              <a:gd name="csY515" fmla="*/ 1472189 h 1538630"/>
              <a:gd name="csX516" fmla="*/ 1052926 w 1609516"/>
              <a:gd name="csY516" fmla="*/ 1482370 h 1538630"/>
              <a:gd name="csX517" fmla="*/ 1053316 w 1609516"/>
              <a:gd name="csY517" fmla="*/ 1496903 h 1538630"/>
              <a:gd name="csX518" fmla="*/ 1053352 w 1609516"/>
              <a:gd name="csY518" fmla="*/ 1500660 h 1538630"/>
              <a:gd name="csX519" fmla="*/ 1053341 w 1609516"/>
              <a:gd name="csY519" fmla="*/ 1504285 h 1538630"/>
              <a:gd name="csX520" fmla="*/ 1053329 w 1609516"/>
              <a:gd name="csY520" fmla="*/ 1507529 h 1538630"/>
              <a:gd name="csX521" fmla="*/ 1049801 w 1609516"/>
              <a:gd name="csY521" fmla="*/ 1516192 h 1538630"/>
              <a:gd name="csX522" fmla="*/ 1047312 w 1609516"/>
              <a:gd name="csY522" fmla="*/ 1516192 h 1538630"/>
              <a:gd name="csX523" fmla="*/ 1043611 w 1609516"/>
              <a:gd name="csY523" fmla="*/ 1522585 h 1538630"/>
              <a:gd name="csX524" fmla="*/ 1029552 w 1609516"/>
              <a:gd name="csY524" fmla="*/ 1529631 h 1538630"/>
              <a:gd name="csX525" fmla="*/ 1028771 w 1609516"/>
              <a:gd name="csY525" fmla="*/ 1532273 h 1538630"/>
              <a:gd name="csX526" fmla="*/ 1018013 w 1609516"/>
              <a:gd name="csY526" fmla="*/ 1537640 h 1538630"/>
              <a:gd name="csX527" fmla="*/ 981126 w 1609516"/>
              <a:gd name="csY527" fmla="*/ 1533859 h 1538630"/>
              <a:gd name="csX528" fmla="*/ 977227 w 1609516"/>
              <a:gd name="csY528" fmla="*/ 1531943 h 1538630"/>
              <a:gd name="csX529" fmla="*/ 955376 w 1609516"/>
              <a:gd name="csY529" fmla="*/ 1508751 h 1538630"/>
              <a:gd name="csX530" fmla="*/ 954571 w 1609516"/>
              <a:gd name="csY530" fmla="*/ 1500037 h 1538630"/>
              <a:gd name="csX531" fmla="*/ 951446 w 1609516"/>
              <a:gd name="csY531" fmla="*/ 1500037 h 1538630"/>
              <a:gd name="csX532" fmla="*/ 951251 w 1609516"/>
              <a:gd name="csY532" fmla="*/ 1487883 h 1538630"/>
              <a:gd name="csX533" fmla="*/ 951171 w 1609516"/>
              <a:gd name="csY533" fmla="*/ 1484431 h 1538630"/>
              <a:gd name="csX534" fmla="*/ 954571 w 1609516"/>
              <a:gd name="csY534" fmla="*/ 1466216 h 1538630"/>
              <a:gd name="csX535" fmla="*/ 954961 w 1609516"/>
              <a:gd name="csY535" fmla="*/ 1455118 h 1538630"/>
              <a:gd name="csX536" fmla="*/ 954932 w 1609516"/>
              <a:gd name="csY536" fmla="*/ 1451972 h 1538630"/>
              <a:gd name="csX537" fmla="*/ 945099 w 1609516"/>
              <a:gd name="csY537" fmla="*/ 1403594 h 1538630"/>
              <a:gd name="csX538" fmla="*/ 942366 w 1609516"/>
              <a:gd name="csY538" fmla="*/ 1393553 h 1538630"/>
              <a:gd name="csX539" fmla="*/ 934451 w 1609516"/>
              <a:gd name="csY539" fmla="*/ 1372734 h 1538630"/>
              <a:gd name="csX540" fmla="*/ 931974 w 1609516"/>
              <a:gd name="csY540" fmla="*/ 1365754 h 1538630"/>
              <a:gd name="csX541" fmla="*/ 931138 w 1609516"/>
              <a:gd name="csY541" fmla="*/ 1363343 h 1538630"/>
              <a:gd name="csX542" fmla="*/ 926452 w 1609516"/>
              <a:gd name="csY542" fmla="*/ 1361933 h 1538630"/>
              <a:gd name="csX543" fmla="*/ 918641 w 1609516"/>
              <a:gd name="csY543" fmla="*/ 1340795 h 1538630"/>
              <a:gd name="csX544" fmla="*/ 917079 w 1609516"/>
              <a:gd name="csY544" fmla="*/ 1335158 h 1538630"/>
              <a:gd name="csX545" fmla="*/ 913955 w 1609516"/>
              <a:gd name="csY545" fmla="*/ 1335158 h 1538630"/>
              <a:gd name="csX546" fmla="*/ 912057 w 1609516"/>
              <a:gd name="csY546" fmla="*/ 1330793 h 1538630"/>
              <a:gd name="csX547" fmla="*/ 902142 w 1609516"/>
              <a:gd name="csY547" fmla="*/ 1316222 h 1538630"/>
              <a:gd name="csX548" fmla="*/ 900091 w 1609516"/>
              <a:gd name="csY548" fmla="*/ 1313828 h 1538630"/>
              <a:gd name="csX549" fmla="*/ 878026 w 1609516"/>
              <a:gd name="csY549" fmla="*/ 1295700 h 1538630"/>
              <a:gd name="csX550" fmla="*/ 875134 w 1609516"/>
              <a:gd name="csY550" fmla="*/ 1293465 h 1538630"/>
              <a:gd name="csX551" fmla="*/ 869869 w 1609516"/>
              <a:gd name="csY551" fmla="*/ 1291826 h 1538630"/>
              <a:gd name="csX552" fmla="*/ 862384 w 1609516"/>
              <a:gd name="csY552" fmla="*/ 1291327 h 1538630"/>
              <a:gd name="csX553" fmla="*/ 844390 w 1609516"/>
              <a:gd name="csY553" fmla="*/ 1290461 h 1538630"/>
              <a:gd name="csX554" fmla="*/ 840476 w 1609516"/>
              <a:gd name="csY554" fmla="*/ 1290500 h 1538630"/>
              <a:gd name="csX555" fmla="*/ 831015 w 1609516"/>
              <a:gd name="csY555" fmla="*/ 1290637 h 1538630"/>
              <a:gd name="csX556" fmla="*/ 831015 w 1609516"/>
              <a:gd name="csY556" fmla="*/ 1293456 h 1538630"/>
              <a:gd name="csX557" fmla="*/ 818225 w 1609516"/>
              <a:gd name="csY557" fmla="*/ 1295570 h 1538630"/>
              <a:gd name="csX558" fmla="*/ 796774 w 1609516"/>
              <a:gd name="csY558" fmla="*/ 1297671 h 1538630"/>
              <a:gd name="csX559" fmla="*/ 783646 w 1609516"/>
              <a:gd name="csY559" fmla="*/ 1305736 h 1538630"/>
              <a:gd name="csX560" fmla="*/ 769263 w 1609516"/>
              <a:gd name="csY560" fmla="*/ 1327143 h 1538630"/>
              <a:gd name="csX561" fmla="*/ 764797 w 1609516"/>
              <a:gd name="csY561" fmla="*/ 1334360 h 1538630"/>
              <a:gd name="csX562" fmla="*/ 757875 w 1609516"/>
              <a:gd name="csY562" fmla="*/ 1353503 h 1538630"/>
              <a:gd name="csX563" fmla="*/ 755676 w 1609516"/>
              <a:gd name="csY563" fmla="*/ 1367455 h 1538630"/>
              <a:gd name="csX564" fmla="*/ 750558 w 1609516"/>
              <a:gd name="csY564" fmla="*/ 1399690 h 1538630"/>
              <a:gd name="csX565" fmla="*/ 753057 w 1609516"/>
              <a:gd name="csY565" fmla="*/ 1411256 h 1538630"/>
              <a:gd name="csX566" fmla="*/ 753057 w 1609516"/>
              <a:gd name="csY566" fmla="*/ 1416893 h 1538630"/>
              <a:gd name="csX567" fmla="*/ 756181 w 1609516"/>
              <a:gd name="csY567" fmla="*/ 1416893 h 1538630"/>
              <a:gd name="csX568" fmla="*/ 758133 w 1609516"/>
              <a:gd name="csY568" fmla="*/ 1436182 h 1538630"/>
              <a:gd name="csX569" fmla="*/ 758231 w 1609516"/>
              <a:gd name="csY569" fmla="*/ 1440781 h 1538630"/>
              <a:gd name="csX570" fmla="*/ 750713 w 1609516"/>
              <a:gd name="csY570" fmla="*/ 1465704 h 1538630"/>
              <a:gd name="csX571" fmla="*/ 748370 w 1609516"/>
              <a:gd name="csY571" fmla="*/ 1467185 h 1538630"/>
              <a:gd name="csX572" fmla="*/ 741633 w 1609516"/>
              <a:gd name="csY572" fmla="*/ 1473526 h 1538630"/>
              <a:gd name="csX573" fmla="*/ 728154 w 1609516"/>
              <a:gd name="csY573" fmla="*/ 1478343 h 1538630"/>
              <a:gd name="csX574" fmla="*/ 721814 w 1609516"/>
              <a:gd name="csY574" fmla="*/ 1480308 h 1538630"/>
              <a:gd name="csX575" fmla="*/ 708341 w 1609516"/>
              <a:gd name="csY575" fmla="*/ 1480661 h 1538630"/>
              <a:gd name="csX576" fmla="*/ 704637 w 1609516"/>
              <a:gd name="csY576" fmla="*/ 1480748 h 1538630"/>
              <a:gd name="csX577" fmla="*/ 668507 w 1609516"/>
              <a:gd name="csY577" fmla="*/ 1468418 h 1538630"/>
              <a:gd name="csX578" fmla="*/ 660178 w 1609516"/>
              <a:gd name="csY578" fmla="*/ 1450027 h 1538630"/>
              <a:gd name="csX579" fmla="*/ 657767 w 1609516"/>
              <a:gd name="csY579" fmla="*/ 1445078 h 1538630"/>
              <a:gd name="csX580" fmla="*/ 663369 w 1609516"/>
              <a:gd name="csY580" fmla="*/ 1409390 h 1538630"/>
              <a:gd name="csX581" fmla="*/ 671826 w 1609516"/>
              <a:gd name="csY581" fmla="*/ 1401392 h 1538630"/>
              <a:gd name="csX582" fmla="*/ 678075 w 1609516"/>
              <a:gd name="csY582" fmla="*/ 1390118 h 1538630"/>
              <a:gd name="csX583" fmla="*/ 684323 w 1609516"/>
              <a:gd name="csY583" fmla="*/ 1388709 h 1538630"/>
              <a:gd name="csX584" fmla="*/ 685293 w 1609516"/>
              <a:gd name="csY584" fmla="*/ 1384233 h 1538630"/>
              <a:gd name="csX585" fmla="*/ 686569 w 1609516"/>
              <a:gd name="csY585" fmla="*/ 1378404 h 1538630"/>
              <a:gd name="csX586" fmla="*/ 687207 w 1609516"/>
              <a:gd name="csY586" fmla="*/ 1375456 h 1538630"/>
              <a:gd name="csX587" fmla="*/ 690572 w 1609516"/>
              <a:gd name="csY587" fmla="*/ 1363343 h 1538630"/>
              <a:gd name="csX588" fmla="*/ 692495 w 1609516"/>
              <a:gd name="csY588" fmla="*/ 1323376 h 1538630"/>
              <a:gd name="csX589" fmla="*/ 692625 w 1609516"/>
              <a:gd name="csY589" fmla="*/ 1315006 h 1538630"/>
              <a:gd name="csX590" fmla="*/ 687447 w 1609516"/>
              <a:gd name="csY590" fmla="*/ 1287245 h 1538630"/>
              <a:gd name="csX591" fmla="*/ 682761 w 1609516"/>
              <a:gd name="csY591" fmla="*/ 1285835 h 1538630"/>
              <a:gd name="csX592" fmla="*/ 678954 w 1609516"/>
              <a:gd name="csY592" fmla="*/ 1281608 h 1538630"/>
              <a:gd name="csX593" fmla="*/ 668702 w 1609516"/>
              <a:gd name="csY593" fmla="*/ 1275971 h 1538630"/>
              <a:gd name="csX594" fmla="*/ 662454 w 1609516"/>
              <a:gd name="csY594" fmla="*/ 1270334 h 1538630"/>
              <a:gd name="csX595" fmla="*/ 654643 w 1609516"/>
              <a:gd name="csY595" fmla="*/ 1267516 h 1538630"/>
              <a:gd name="csX596" fmla="*/ 654643 w 1609516"/>
              <a:gd name="csY596" fmla="*/ 1264697 h 1538630"/>
              <a:gd name="csX597" fmla="*/ 650152 w 1609516"/>
              <a:gd name="csY597" fmla="*/ 1264345 h 1538630"/>
              <a:gd name="csX598" fmla="*/ 628087 w 1609516"/>
              <a:gd name="csY598" fmla="*/ 1257651 h 1538630"/>
              <a:gd name="csX599" fmla="*/ 628087 w 1609516"/>
              <a:gd name="csY599" fmla="*/ 1254833 h 1538630"/>
              <a:gd name="csX600" fmla="*/ 625121 w 1609516"/>
              <a:gd name="csY600" fmla="*/ 1254315 h 1538630"/>
              <a:gd name="csX601" fmla="*/ 621252 w 1609516"/>
              <a:gd name="csY601" fmla="*/ 1253600 h 1538630"/>
              <a:gd name="csX602" fmla="*/ 617409 w 1609516"/>
              <a:gd name="csY602" fmla="*/ 1252906 h 1538630"/>
              <a:gd name="csX603" fmla="*/ 610904 w 1609516"/>
              <a:gd name="csY603" fmla="*/ 1249196 h 1538630"/>
              <a:gd name="csX604" fmla="*/ 565739 w 1609516"/>
              <a:gd name="csY604" fmla="*/ 1271742 h 1538630"/>
              <a:gd name="csX605" fmla="*/ 546924 w 1609516"/>
              <a:gd name="csY605" fmla="*/ 1290829 h 1538630"/>
              <a:gd name="csX606" fmla="*/ 543635 w 1609516"/>
              <a:gd name="csY606" fmla="*/ 1294643 h 1538630"/>
              <a:gd name="csX607" fmla="*/ 540651 w 1609516"/>
              <a:gd name="csY607" fmla="*/ 1298188 h 1538630"/>
              <a:gd name="csX608" fmla="*/ 529673 w 1609516"/>
              <a:gd name="csY608" fmla="*/ 1305565 h 1538630"/>
              <a:gd name="csX609" fmla="*/ 526549 w 1609516"/>
              <a:gd name="csY609" fmla="*/ 1311202 h 1538630"/>
              <a:gd name="csX610" fmla="*/ 523425 w 1609516"/>
              <a:gd name="csY610" fmla="*/ 1311202 h 1538630"/>
              <a:gd name="csX611" fmla="*/ 523230 w 1609516"/>
              <a:gd name="csY611" fmla="*/ 1313580 h 1538630"/>
              <a:gd name="csX612" fmla="*/ 517732 w 1609516"/>
              <a:gd name="csY612" fmla="*/ 1319739 h 1538630"/>
              <a:gd name="csX613" fmla="*/ 502239 w 1609516"/>
              <a:gd name="csY613" fmla="*/ 1337096 h 1538630"/>
              <a:gd name="csX614" fmla="*/ 497058 w 1609516"/>
              <a:gd name="csY614" fmla="*/ 1344087 h 1538630"/>
              <a:gd name="csX615" fmla="*/ 494572 w 1609516"/>
              <a:gd name="csY615" fmla="*/ 1347465 h 1538630"/>
              <a:gd name="csX616" fmla="*/ 487776 w 1609516"/>
              <a:gd name="csY616" fmla="*/ 1356181 h 1538630"/>
              <a:gd name="csX617" fmla="*/ 481248 w 1609516"/>
              <a:gd name="csY617" fmla="*/ 1367571 h 1538630"/>
              <a:gd name="csX618" fmla="*/ 478123 w 1609516"/>
              <a:gd name="csY618" fmla="*/ 1367571 h 1538630"/>
              <a:gd name="csX619" fmla="*/ 477635 w 1609516"/>
              <a:gd name="csY619" fmla="*/ 1370565 h 1538630"/>
              <a:gd name="csX620" fmla="*/ 465626 w 1609516"/>
              <a:gd name="csY620" fmla="*/ 1388709 h 1538630"/>
              <a:gd name="csX621" fmla="*/ 461233 w 1609516"/>
              <a:gd name="csY621" fmla="*/ 1397340 h 1538630"/>
              <a:gd name="csX622" fmla="*/ 455765 w 1609516"/>
              <a:gd name="csY622" fmla="*/ 1408086 h 1538630"/>
              <a:gd name="csX623" fmla="*/ 439070 w 1609516"/>
              <a:gd name="csY623" fmla="*/ 1477490 h 1538630"/>
              <a:gd name="csX624" fmla="*/ 434384 w 1609516"/>
              <a:gd name="csY624" fmla="*/ 1478899 h 1538630"/>
              <a:gd name="csX625" fmla="*/ 432431 w 1609516"/>
              <a:gd name="csY625" fmla="*/ 1481982 h 1538630"/>
              <a:gd name="csX626" fmla="*/ 418763 w 1609516"/>
              <a:gd name="csY626" fmla="*/ 1494401 h 1538630"/>
              <a:gd name="csX627" fmla="*/ 415639 w 1609516"/>
              <a:gd name="csY627" fmla="*/ 1494401 h 1538630"/>
              <a:gd name="csX628" fmla="*/ 415639 w 1609516"/>
              <a:gd name="csY628" fmla="*/ 1497219 h 1538630"/>
              <a:gd name="csX629" fmla="*/ 406265 w 1609516"/>
              <a:gd name="csY629" fmla="*/ 1498628 h 1538630"/>
              <a:gd name="csX630" fmla="*/ 406265 w 1609516"/>
              <a:gd name="csY630" fmla="*/ 1501447 h 1538630"/>
              <a:gd name="csX631" fmla="*/ 375023 w 1609516"/>
              <a:gd name="csY631" fmla="*/ 1501447 h 1538630"/>
              <a:gd name="csX632" fmla="*/ 375023 w 1609516"/>
              <a:gd name="csY632" fmla="*/ 1499438 h 1538630"/>
              <a:gd name="csX633" fmla="*/ 374964 w 1609516"/>
              <a:gd name="csY633" fmla="*/ 1499436 h 1538630"/>
              <a:gd name="csX634" fmla="*/ 373179 w 1609516"/>
              <a:gd name="csY634" fmla="*/ 1498628 h 1538630"/>
              <a:gd name="csX635" fmla="*/ 365650 w 1609516"/>
              <a:gd name="csY635" fmla="*/ 1498628 h 1538630"/>
              <a:gd name="csX636" fmla="*/ 363134 w 1609516"/>
              <a:gd name="csY636" fmla="*/ 1494087 h 1538630"/>
              <a:gd name="csX637" fmla="*/ 362171 w 1609516"/>
              <a:gd name="csY637" fmla="*/ 1493651 h 1538630"/>
              <a:gd name="csX638" fmla="*/ 360609 w 1609516"/>
              <a:gd name="csY638" fmla="*/ 1490833 h 1538630"/>
              <a:gd name="csX639" fmla="*/ 363733 w 1609516"/>
              <a:gd name="csY639" fmla="*/ 1490833 h 1538630"/>
              <a:gd name="csX640" fmla="*/ 363733 w 1609516"/>
              <a:gd name="csY640" fmla="*/ 1489980 h 1538630"/>
              <a:gd name="csX641" fmla="*/ 348467 w 1609516"/>
              <a:gd name="csY641" fmla="*/ 1481717 h 1538630"/>
              <a:gd name="csX642" fmla="*/ 343872 w 1609516"/>
              <a:gd name="csY642" fmla="*/ 1461078 h 1538630"/>
              <a:gd name="csX643" fmla="*/ 343656 w 1609516"/>
              <a:gd name="csY643" fmla="*/ 1463649 h 1538630"/>
              <a:gd name="csX644" fmla="*/ 343424 w 1609516"/>
              <a:gd name="csY644" fmla="*/ 1466842 h 1538630"/>
              <a:gd name="csX645" fmla="*/ 341861 w 1609516"/>
              <a:gd name="csY645" fmla="*/ 1466842 h 1538630"/>
              <a:gd name="csX646" fmla="*/ 354143 w 1609516"/>
              <a:gd name="csY646" fmla="*/ 1420549 h 1538630"/>
              <a:gd name="csX647" fmla="*/ 376229 w 1609516"/>
              <a:gd name="csY647" fmla="*/ 1403427 h 1538630"/>
              <a:gd name="csX648" fmla="*/ 379491 w 1609516"/>
              <a:gd name="csY648" fmla="*/ 1404408 h 1538630"/>
              <a:gd name="csX649" fmla="*/ 379710 w 1609516"/>
              <a:gd name="csY649" fmla="*/ 1404210 h 1538630"/>
              <a:gd name="csX650" fmla="*/ 380882 w 1609516"/>
              <a:gd name="csY650" fmla="*/ 1401568 h 1538630"/>
              <a:gd name="csX651" fmla="*/ 392207 w 1609516"/>
              <a:gd name="csY651" fmla="*/ 1392936 h 1538630"/>
              <a:gd name="csX652" fmla="*/ 399542 w 1609516"/>
              <a:gd name="csY652" fmla="*/ 1386774 h 1538630"/>
              <a:gd name="csX653" fmla="*/ 405485 w 1609516"/>
              <a:gd name="csY653" fmla="*/ 1378917 h 1538630"/>
              <a:gd name="csX654" fmla="*/ 412008 w 1609516"/>
              <a:gd name="csY654" fmla="*/ 1369481 h 1538630"/>
              <a:gd name="csX655" fmla="*/ 421130 w 1609516"/>
              <a:gd name="csY655" fmla="*/ 1357057 h 1538630"/>
              <a:gd name="csX656" fmla="*/ 424676 w 1609516"/>
              <a:gd name="csY656" fmla="*/ 1348443 h 1538630"/>
              <a:gd name="csX657" fmla="*/ 427275 w 1609516"/>
              <a:gd name="csY657" fmla="*/ 1348443 h 1538630"/>
              <a:gd name="csX658" fmla="*/ 428135 w 1609516"/>
              <a:gd name="csY658" fmla="*/ 1345727 h 1538630"/>
              <a:gd name="csX659" fmla="*/ 432822 w 1609516"/>
              <a:gd name="csY659" fmla="*/ 1335158 h 1538630"/>
              <a:gd name="csX660" fmla="*/ 435946 w 1609516"/>
              <a:gd name="csY660" fmla="*/ 1335158 h 1538630"/>
              <a:gd name="csX661" fmla="*/ 437704 w 1609516"/>
              <a:gd name="csY661" fmla="*/ 1329786 h 1538630"/>
              <a:gd name="csX662" fmla="*/ 447394 w 1609516"/>
              <a:gd name="csY662" fmla="*/ 1311196 h 1538630"/>
              <a:gd name="csX663" fmla="*/ 469287 w 1609516"/>
              <a:gd name="csY663" fmla="*/ 1265964 h 1538630"/>
              <a:gd name="csX664" fmla="*/ 478178 w 1609516"/>
              <a:gd name="csY664" fmla="*/ 1246787 h 1538630"/>
              <a:gd name="csX665" fmla="*/ 480179 w 1609516"/>
              <a:gd name="csY665" fmla="*/ 1225768 h 1538630"/>
              <a:gd name="csX666" fmla="*/ 480250 w 1609516"/>
              <a:gd name="csY666" fmla="*/ 1217149 h 1538630"/>
              <a:gd name="csX667" fmla="*/ 462972 w 1609516"/>
              <a:gd name="csY667" fmla="*/ 1174827 h 1538630"/>
              <a:gd name="csX668" fmla="*/ 457468 w 1609516"/>
              <a:gd name="csY668" fmla="*/ 1169949 h 1538630"/>
              <a:gd name="csX669" fmla="*/ 440657 w 1609516"/>
              <a:gd name="csY669" fmla="*/ 1152570 h 1538630"/>
              <a:gd name="csX670" fmla="*/ 403142 w 1609516"/>
              <a:gd name="csY670" fmla="*/ 1122366 h 1538630"/>
              <a:gd name="csX671" fmla="*/ 401579 w 1609516"/>
              <a:gd name="csY671" fmla="*/ 1119547 h 1538630"/>
              <a:gd name="csX672" fmla="*/ 364564 w 1609516"/>
              <a:gd name="csY672" fmla="*/ 1118209 h 1538630"/>
              <a:gd name="csX673" fmla="*/ 357822 w 1609516"/>
              <a:gd name="csY673" fmla="*/ 1122041 h 1538630"/>
              <a:gd name="csX674" fmla="*/ 348077 w 1609516"/>
              <a:gd name="csY674" fmla="*/ 1125273 h 1538630"/>
              <a:gd name="csX675" fmla="*/ 334408 w 1609516"/>
              <a:gd name="csY675" fmla="*/ 1132230 h 1538630"/>
              <a:gd name="csX676" fmla="*/ 327964 w 1609516"/>
              <a:gd name="csY676" fmla="*/ 1134080 h 1538630"/>
              <a:gd name="csX677" fmla="*/ 279734 w 1609516"/>
              <a:gd name="csY677" fmla="*/ 1166051 h 1538630"/>
              <a:gd name="csX678" fmla="*/ 276609 w 1609516"/>
              <a:gd name="csY678" fmla="*/ 1173098 h 1538630"/>
              <a:gd name="csX679" fmla="*/ 260988 w 1609516"/>
              <a:gd name="csY679" fmla="*/ 1188599 h 1538630"/>
              <a:gd name="csX680" fmla="*/ 257956 w 1609516"/>
              <a:gd name="csY680" fmla="*/ 1191132 h 1538630"/>
              <a:gd name="csX681" fmla="*/ 243805 w 1609516"/>
              <a:gd name="csY681" fmla="*/ 1196629 h 1538630"/>
              <a:gd name="csX682" fmla="*/ 243805 w 1609516"/>
              <a:gd name="csY682" fmla="*/ 1194236 h 1538630"/>
              <a:gd name="csX683" fmla="*/ 240288 w 1609516"/>
              <a:gd name="csY683" fmla="*/ 1194765 h 1538630"/>
              <a:gd name="csX684" fmla="*/ 243374 w 1609516"/>
              <a:gd name="csY684" fmla="*/ 1194765 h 1538630"/>
              <a:gd name="csX685" fmla="*/ 243374 w 1609516"/>
              <a:gd name="csY685" fmla="*/ 1196797 h 1538630"/>
              <a:gd name="csX686" fmla="*/ 243805 w 1609516"/>
              <a:gd name="csY686" fmla="*/ 1196629 h 1538630"/>
              <a:gd name="csX687" fmla="*/ 243805 w 1609516"/>
              <a:gd name="csY687" fmla="*/ 1197055 h 1538630"/>
              <a:gd name="csX688" fmla="*/ 243374 w 1609516"/>
              <a:gd name="csY688" fmla="*/ 1197055 h 1538630"/>
              <a:gd name="csX689" fmla="*/ 243374 w 1609516"/>
              <a:gd name="csY689" fmla="*/ 1197584 h 1538630"/>
              <a:gd name="csX690" fmla="*/ 241319 w 1609516"/>
              <a:gd name="csY690" fmla="*/ 1197595 h 1538630"/>
              <a:gd name="csX691" fmla="*/ 238009 w 1609516"/>
              <a:gd name="csY691" fmla="*/ 1198881 h 1538630"/>
              <a:gd name="csX692" fmla="*/ 215687 w 1609516"/>
              <a:gd name="csY692" fmla="*/ 1198464 h 1538630"/>
              <a:gd name="csX693" fmla="*/ 215687 w 1609516"/>
              <a:gd name="csY693" fmla="*/ 1197734 h 1538630"/>
              <a:gd name="csX694" fmla="*/ 213936 w 1609516"/>
              <a:gd name="csY694" fmla="*/ 1197744 h 1538630"/>
              <a:gd name="csX695" fmla="*/ 207446 w 1609516"/>
              <a:gd name="csY695" fmla="*/ 1196175 h 1538630"/>
              <a:gd name="csX696" fmla="*/ 207822 w 1609516"/>
              <a:gd name="csY696" fmla="*/ 1195610 h 1538630"/>
              <a:gd name="csX697" fmla="*/ 184737 w 1609516"/>
              <a:gd name="csY697" fmla="*/ 1180936 h 1538630"/>
              <a:gd name="csX698" fmla="*/ 179270 w 1609516"/>
              <a:gd name="csY698" fmla="*/ 1154866 h 1538630"/>
              <a:gd name="csX699" fmla="*/ 179194 w 1609516"/>
              <a:gd name="csY699" fmla="*/ 1151621 h 1538630"/>
              <a:gd name="csX700" fmla="*/ 193195 w 1609516"/>
              <a:gd name="csY700" fmla="*/ 1120065 h 1538630"/>
              <a:gd name="csX701" fmla="*/ 229551 w 1609516"/>
              <a:gd name="csY701" fmla="*/ 1110299 h 1538630"/>
              <a:gd name="csX702" fmla="*/ 260988 w 1609516"/>
              <a:gd name="csY702" fmla="*/ 1108274 h 1538630"/>
              <a:gd name="csX703" fmla="*/ 260988 w 1609516"/>
              <a:gd name="csY703" fmla="*/ 1105455 h 1538630"/>
              <a:gd name="csX704" fmla="*/ 263911 w 1609516"/>
              <a:gd name="csY704" fmla="*/ 1104310 h 1538630"/>
              <a:gd name="csX705" fmla="*/ 286995 w 1609516"/>
              <a:gd name="csY705" fmla="*/ 1090185 h 1538630"/>
              <a:gd name="csX706" fmla="*/ 299358 w 1609516"/>
              <a:gd name="csY706" fmla="*/ 1080970 h 1538630"/>
              <a:gd name="csX707" fmla="*/ 317762 w 1609516"/>
              <a:gd name="csY707" fmla="*/ 1063272 h 1538630"/>
              <a:gd name="csX708" fmla="*/ 325035 w 1609516"/>
              <a:gd name="csY708" fmla="*/ 1057542 h 1538630"/>
              <a:gd name="csX709" fmla="*/ 325328 w 1609516"/>
              <a:gd name="csY709" fmla="*/ 1023104 h 1538630"/>
              <a:gd name="csX710" fmla="*/ 324544 w 1609516"/>
              <a:gd name="csY710" fmla="*/ 1019247 h 1538630"/>
              <a:gd name="csX711" fmla="*/ 317225 w 1609516"/>
              <a:gd name="csY711" fmla="*/ 996945 h 1538630"/>
              <a:gd name="csX712" fmla="*/ 315388 w 1609516"/>
              <a:gd name="csY712" fmla="*/ 992690 h 1538630"/>
              <a:gd name="csX713" fmla="*/ 276232 w 1609516"/>
              <a:gd name="csY713" fmla="*/ 950666 h 1538630"/>
              <a:gd name="csX714" fmla="*/ 271923 w 1609516"/>
              <a:gd name="csY714" fmla="*/ 949031 h 1538630"/>
              <a:gd name="csX715" fmla="*/ 268299 w 1609516"/>
              <a:gd name="csY715" fmla="*/ 947441 h 1538630"/>
              <a:gd name="csX716" fmla="*/ 199187 w 1609516"/>
              <a:gd name="csY716" fmla="*/ 938991 h 1538630"/>
              <a:gd name="csX717" fmla="*/ 193719 w 1609516"/>
              <a:gd name="csY717" fmla="*/ 938971 h 1538630"/>
              <a:gd name="csX718" fmla="*/ 188539 w 1609516"/>
              <a:gd name="csY718" fmla="*/ 938980 h 1538630"/>
              <a:gd name="csX719" fmla="*/ 183874 w 1609516"/>
              <a:gd name="csY719" fmla="*/ 938985 h 1538630"/>
              <a:gd name="csX720" fmla="*/ 173509 w 1609516"/>
              <a:gd name="csY720" fmla="*/ 940576 h 1538630"/>
              <a:gd name="csX721" fmla="*/ 161403 w 1609516"/>
              <a:gd name="csY721" fmla="*/ 940664 h 1538630"/>
              <a:gd name="csX722" fmla="*/ 158102 w 1609516"/>
              <a:gd name="csY722" fmla="*/ 940645 h 1538630"/>
              <a:gd name="csX723" fmla="*/ 150875 w 1609516"/>
              <a:gd name="csY723" fmla="*/ 940583 h 1538630"/>
              <a:gd name="csX724" fmla="*/ 148425 w 1609516"/>
              <a:gd name="csY724" fmla="*/ 940717 h 1538630"/>
              <a:gd name="csX725" fmla="*/ 149617 w 1609516"/>
              <a:gd name="csY725" fmla="*/ 940995 h 1538630"/>
              <a:gd name="csX726" fmla="*/ 149617 w 1609516"/>
              <a:gd name="csY726" fmla="*/ 942404 h 1538630"/>
              <a:gd name="csX727" fmla="*/ 146627 w 1609516"/>
              <a:gd name="csY727" fmla="*/ 942871 h 1538630"/>
              <a:gd name="csX728" fmla="*/ 110564 w 1609516"/>
              <a:gd name="csY728" fmla="*/ 949449 h 1538630"/>
              <a:gd name="csX729" fmla="*/ 111283 w 1609516"/>
              <a:gd name="csY729" fmla="*/ 946205 h 1538630"/>
              <a:gd name="csX730" fmla="*/ 101652 w 1609516"/>
              <a:gd name="csY730" fmla="*/ 956078 h 1538630"/>
              <a:gd name="csX731" fmla="*/ 98052 w 1609516"/>
              <a:gd name="csY731" fmla="*/ 958467 h 1538630"/>
              <a:gd name="csX732" fmla="*/ 67286 w 1609516"/>
              <a:gd name="csY732" fmla="*/ 972989 h 1538630"/>
              <a:gd name="csX733" fmla="*/ 67286 w 1609516"/>
              <a:gd name="csY733" fmla="*/ 975807 h 1538630"/>
              <a:gd name="csX734" fmla="*/ 31942 w 1609516"/>
              <a:gd name="csY734" fmla="*/ 976423 h 1538630"/>
              <a:gd name="csX735" fmla="*/ 5673 w 1609516"/>
              <a:gd name="csY735" fmla="*/ 953419 h 1538630"/>
              <a:gd name="csX736" fmla="*/ 4801 w 1609516"/>
              <a:gd name="csY736" fmla="*/ 944804 h 1538630"/>
              <a:gd name="csX737" fmla="*/ 1676 w 1609516"/>
              <a:gd name="csY737" fmla="*/ 944804 h 1538630"/>
              <a:gd name="csX738" fmla="*/ 17 w 1609516"/>
              <a:gd name="csY738" fmla="*/ 931857 h 1538630"/>
              <a:gd name="csX739" fmla="*/ 59 w 1609516"/>
              <a:gd name="csY739" fmla="*/ 927216 h 1538630"/>
              <a:gd name="csX740" fmla="*/ 115 w 1609516"/>
              <a:gd name="csY740" fmla="*/ 923666 h 1538630"/>
              <a:gd name="csX741" fmla="*/ 3238 w 1609516"/>
              <a:gd name="csY741" fmla="*/ 923666 h 1538630"/>
              <a:gd name="csX742" fmla="*/ 3238 w 1609516"/>
              <a:gd name="csY742" fmla="*/ 918029 h 1538630"/>
              <a:gd name="csX743" fmla="*/ 6363 w 1609516"/>
              <a:gd name="csY743" fmla="*/ 918029 h 1538630"/>
              <a:gd name="csX744" fmla="*/ 6656 w 1609516"/>
              <a:gd name="csY744" fmla="*/ 912832 h 1538630"/>
              <a:gd name="csX745" fmla="*/ 15736 w 1609516"/>
              <a:gd name="csY745" fmla="*/ 899709 h 1538630"/>
              <a:gd name="csX746" fmla="*/ 17243 w 1609516"/>
              <a:gd name="csY746" fmla="*/ 898894 h 1538630"/>
              <a:gd name="csX747" fmla="*/ 16800 w 1609516"/>
              <a:gd name="csY747" fmla="*/ 898694 h 1538630"/>
              <a:gd name="csX748" fmla="*/ 24988 w 1609516"/>
              <a:gd name="csY748" fmla="*/ 894101 h 1538630"/>
              <a:gd name="csX749" fmla="*/ 26768 w 1609516"/>
              <a:gd name="csY749" fmla="*/ 892399 h 1538630"/>
              <a:gd name="csX750" fmla="*/ 30198 w 1609516"/>
              <a:gd name="csY750" fmla="*/ 890164 h 1538630"/>
              <a:gd name="csX751" fmla="*/ 32204 w 1609516"/>
              <a:gd name="csY751" fmla="*/ 890054 h 1538630"/>
              <a:gd name="csX752" fmla="*/ 38914 w 1609516"/>
              <a:gd name="csY752" fmla="*/ 886291 h 1538630"/>
              <a:gd name="csX753" fmla="*/ 63664 w 1609516"/>
              <a:gd name="csY753" fmla="*/ 886011 h 1538630"/>
              <a:gd name="csX754" fmla="*/ 63664 w 1609516"/>
              <a:gd name="csY754" fmla="*/ 886531 h 1538630"/>
              <a:gd name="csX755" fmla="*/ 70784 w 1609516"/>
              <a:gd name="csY755" fmla="*/ 886647 h 1538630"/>
              <a:gd name="csX756" fmla="*/ 82126 w 1609516"/>
              <a:gd name="csY756" fmla="*/ 889845 h 1538630"/>
              <a:gd name="csX757" fmla="*/ 114149 w 1609516"/>
              <a:gd name="csY757" fmla="*/ 892663 h 1538630"/>
              <a:gd name="csX758" fmla="*/ 118836 w 1609516"/>
              <a:gd name="csY758" fmla="*/ 889845 h 1538630"/>
              <a:gd name="csX759" fmla="*/ 131626 w 1609516"/>
              <a:gd name="csY759" fmla="*/ 887114 h 1538630"/>
              <a:gd name="csX760" fmla="*/ 155116 w 1609516"/>
              <a:gd name="csY760" fmla="*/ 880913 h 1538630"/>
              <a:gd name="csX761" fmla="*/ 165406 w 1609516"/>
              <a:gd name="csY761" fmla="*/ 878483 h 1538630"/>
              <a:gd name="csX762" fmla="*/ 176634 w 1609516"/>
              <a:gd name="csY762" fmla="*/ 874343 h 1538630"/>
              <a:gd name="csX763" fmla="*/ 186397 w 1609516"/>
              <a:gd name="csY763" fmla="*/ 871524 h 1538630"/>
              <a:gd name="csX764" fmla="*/ 191871 w 1609516"/>
              <a:gd name="csY764" fmla="*/ 870033 h 1538630"/>
              <a:gd name="csX765" fmla="*/ 203483 w 1609516"/>
              <a:gd name="csY765" fmla="*/ 867208 h 1538630"/>
              <a:gd name="csX766" fmla="*/ 211001 w 1609516"/>
              <a:gd name="csY766" fmla="*/ 861660 h 1538630"/>
              <a:gd name="csX767" fmla="*/ 218031 w 1609516"/>
              <a:gd name="csY767" fmla="*/ 858577 h 1538630"/>
              <a:gd name="csX768" fmla="*/ 254740 w 1609516"/>
              <a:gd name="csY768" fmla="*/ 825020 h 1538630"/>
              <a:gd name="csX769" fmla="*/ 257864 w 1609516"/>
              <a:gd name="csY769" fmla="*/ 820792 h 1538630"/>
              <a:gd name="csX770" fmla="*/ 258318 w 1609516"/>
              <a:gd name="csY770" fmla="*/ 813810 h 1538630"/>
              <a:gd name="csX771" fmla="*/ 258378 w 1609516"/>
              <a:gd name="csY771" fmla="*/ 809502 h 1538630"/>
              <a:gd name="csX772" fmla="*/ 258389 w 1609516"/>
              <a:gd name="csY772" fmla="*/ 804845 h 1538630"/>
              <a:gd name="csX773" fmla="*/ 258420 w 1609516"/>
              <a:gd name="csY773" fmla="*/ 800036 h 1538630"/>
              <a:gd name="csX774" fmla="*/ 258443 w 1609516"/>
              <a:gd name="csY774" fmla="*/ 789939 h 1538630"/>
              <a:gd name="csX775" fmla="*/ 258566 w 1609516"/>
              <a:gd name="csY775" fmla="*/ 774594 h 1538630"/>
              <a:gd name="csX776" fmla="*/ 258584 w 1609516"/>
              <a:gd name="csY776" fmla="*/ 764771 h 1538630"/>
              <a:gd name="csX777" fmla="*/ 258652 w 1609516"/>
              <a:gd name="csY777" fmla="*/ 760174 h 1538630"/>
              <a:gd name="csX778" fmla="*/ 251616 w 1609516"/>
              <a:gd name="csY778" fmla="*/ 733421 h 1538630"/>
              <a:gd name="csX779" fmla="*/ 247613 w 1609516"/>
              <a:gd name="csY779" fmla="*/ 721883 h 1538630"/>
              <a:gd name="csX780" fmla="*/ 241291 w 1609516"/>
              <a:gd name="csY780" fmla="*/ 705644 h 1538630"/>
              <a:gd name="csX781" fmla="*/ 237557 w 1609516"/>
              <a:gd name="csY781" fmla="*/ 689735 h 1538630"/>
              <a:gd name="csX782" fmla="*/ 248492 w 1609516"/>
              <a:gd name="csY782" fmla="*/ 685507 h 1538630"/>
              <a:gd name="csX783" fmla="*/ 248492 w 1609516"/>
              <a:gd name="csY783" fmla="*/ 681279 h 1538630"/>
              <a:gd name="csX784" fmla="*/ 240681 w 1609516"/>
              <a:gd name="csY784" fmla="*/ 679870 h 1538630"/>
              <a:gd name="csX785" fmla="*/ 240681 w 1609516"/>
              <a:gd name="csY785" fmla="*/ 677052 h 1538630"/>
              <a:gd name="csX786" fmla="*/ 238094 w 1609516"/>
              <a:gd name="csY786" fmla="*/ 676645 h 1538630"/>
              <a:gd name="csX787" fmla="*/ 225841 w 1609516"/>
              <a:gd name="csY787" fmla="*/ 670886 h 1538630"/>
              <a:gd name="csX788" fmla="*/ 201531 w 1609516"/>
              <a:gd name="csY788" fmla="*/ 662508 h 1538630"/>
              <a:gd name="csX789" fmla="*/ 188252 w 1609516"/>
              <a:gd name="csY789" fmla="*/ 658644 h 1538630"/>
              <a:gd name="csX790" fmla="*/ 182431 w 1609516"/>
              <a:gd name="csY790" fmla="*/ 657327 h 1538630"/>
              <a:gd name="csX791" fmla="*/ 182431 w 1609516"/>
              <a:gd name="csY791" fmla="*/ 657613 h 1538630"/>
              <a:gd name="csX792" fmla="*/ 146503 w 1609516"/>
              <a:gd name="csY792" fmla="*/ 656204 h 1538630"/>
              <a:gd name="csX793" fmla="*/ 146503 w 1609516"/>
              <a:gd name="csY793" fmla="*/ 659022 h 1538630"/>
              <a:gd name="csX794" fmla="*/ 110378 w 1609516"/>
              <a:gd name="csY794" fmla="*/ 663778 h 1538630"/>
              <a:gd name="csX795" fmla="*/ 106453 w 1609516"/>
              <a:gd name="csY795" fmla="*/ 663836 h 1538630"/>
              <a:gd name="csX796" fmla="*/ 102751 w 1609516"/>
              <a:gd name="csY796" fmla="*/ 663811 h 1538630"/>
              <a:gd name="csX797" fmla="*/ 99449 w 1609516"/>
              <a:gd name="csY797" fmla="*/ 663797 h 1538630"/>
              <a:gd name="csX798" fmla="*/ 91828 w 1609516"/>
              <a:gd name="csY798" fmla="*/ 659022 h 1538630"/>
              <a:gd name="csX799" fmla="*/ 98077 w 1609516"/>
              <a:gd name="csY799" fmla="*/ 659022 h 1538630"/>
              <a:gd name="csX800" fmla="*/ 98077 w 1609516"/>
              <a:gd name="csY800" fmla="*/ 661841 h 1538630"/>
              <a:gd name="csX801" fmla="*/ 119023 w 1609516"/>
              <a:gd name="csY801" fmla="*/ 661357 h 1538630"/>
              <a:gd name="csX802" fmla="*/ 119536 w 1609516"/>
              <a:gd name="csY802" fmla="*/ 661197 h 1538630"/>
              <a:gd name="csX803" fmla="*/ 109853 w 1609516"/>
              <a:gd name="csY803" fmla="*/ 661639 h 1538630"/>
              <a:gd name="csX804" fmla="*/ 106552 w 1609516"/>
              <a:gd name="csY804" fmla="*/ 661619 h 1538630"/>
              <a:gd name="csX805" fmla="*/ 98528 w 1609516"/>
              <a:gd name="csY805" fmla="*/ 661550 h 1538630"/>
              <a:gd name="csX806" fmla="*/ 98528 w 1609516"/>
              <a:gd name="csY806" fmla="*/ 658732 h 1538630"/>
              <a:gd name="csX807" fmla="*/ 89155 w 1609516"/>
              <a:gd name="csY807" fmla="*/ 657323 h 1538630"/>
              <a:gd name="csX808" fmla="*/ 89155 w 1609516"/>
              <a:gd name="csY808" fmla="*/ 654504 h 1538630"/>
              <a:gd name="csX809" fmla="*/ 86397 w 1609516"/>
              <a:gd name="csY809" fmla="*/ 653442 h 1538630"/>
              <a:gd name="csX810" fmla="*/ 77049 w 1609516"/>
              <a:gd name="csY810" fmla="*/ 646137 h 1538630"/>
              <a:gd name="csX811" fmla="*/ 74145 w 1609516"/>
              <a:gd name="csY811" fmla="*/ 643192 h 1538630"/>
              <a:gd name="csX812" fmla="*/ 71972 w 1609516"/>
              <a:gd name="csY812" fmla="*/ 636185 h 1538630"/>
              <a:gd name="csX813" fmla="*/ 68848 w 1609516"/>
              <a:gd name="csY813" fmla="*/ 636185 h 1538630"/>
              <a:gd name="csX814" fmla="*/ 70410 w 1609516"/>
              <a:gd name="csY814" fmla="*/ 595317 h 1538630"/>
              <a:gd name="csX815" fmla="*/ 79782 w 1609516"/>
              <a:gd name="csY815" fmla="*/ 584043 h 1538630"/>
              <a:gd name="csX816" fmla="*/ 82656 w 1609516"/>
              <a:gd name="csY816" fmla="*/ 581115 h 1538630"/>
              <a:gd name="csX817" fmla="*/ 116694 w 1609516"/>
              <a:gd name="csY817" fmla="*/ 572323 h 1538630"/>
              <a:gd name="csX818" fmla="*/ 152031 w 1609516"/>
              <a:gd name="csY818" fmla="*/ 590385 h 1538630"/>
              <a:gd name="csX819" fmla="*/ 191474 w 1609516"/>
              <a:gd name="csY819" fmla="*/ 605886 h 1538630"/>
              <a:gd name="csX820" fmla="*/ 206314 w 1609516"/>
              <a:gd name="csY820" fmla="*/ 608000 h 1538630"/>
              <a:gd name="csX821" fmla="*/ 206314 w 1609516"/>
              <a:gd name="csY821" fmla="*/ 610818 h 1538630"/>
              <a:gd name="csX822" fmla="*/ 234433 w 1609516"/>
              <a:gd name="csY822" fmla="*/ 610818 h 1538630"/>
              <a:gd name="csX823" fmla="*/ 239522 w 1609516"/>
              <a:gd name="csY823" fmla="*/ 610802 h 1538630"/>
              <a:gd name="csX824" fmla="*/ 268799 w 1609516"/>
              <a:gd name="csY824" fmla="*/ 600954 h 1538630"/>
              <a:gd name="csX825" fmla="*/ 271740 w 1609516"/>
              <a:gd name="csY825" fmla="*/ 599325 h 1538630"/>
              <a:gd name="csX826" fmla="*/ 284420 w 1609516"/>
              <a:gd name="csY826" fmla="*/ 579816 h 1538630"/>
              <a:gd name="csX827" fmla="*/ 289399 w 1609516"/>
              <a:gd name="csY827" fmla="*/ 568630 h 1538630"/>
              <a:gd name="csX828" fmla="*/ 293958 w 1609516"/>
              <a:gd name="csY828" fmla="*/ 535838 h 1538630"/>
              <a:gd name="csX829" fmla="*/ 289107 w 1609516"/>
              <a:gd name="csY829" fmla="*/ 529084 h 1538630"/>
              <a:gd name="csX830" fmla="*/ 289107 w 1609516"/>
              <a:gd name="csY830" fmla="*/ 526265 h 1538630"/>
              <a:gd name="csX831" fmla="*/ 284420 w 1609516"/>
              <a:gd name="csY831" fmla="*/ 524856 h 1538630"/>
              <a:gd name="csX832" fmla="*/ 282858 w 1609516"/>
              <a:gd name="csY832" fmla="*/ 520628 h 1538630"/>
              <a:gd name="csX833" fmla="*/ 277977 w 1609516"/>
              <a:gd name="csY833" fmla="*/ 516577 h 1538630"/>
              <a:gd name="csX834" fmla="*/ 264925 w 1609516"/>
              <a:gd name="csY834" fmla="*/ 506443 h 1538630"/>
              <a:gd name="csX835" fmla="*/ 229746 w 1609516"/>
              <a:gd name="csY835" fmla="*/ 481170 h 1538630"/>
              <a:gd name="csX836" fmla="*/ 221057 w 1609516"/>
              <a:gd name="csY836" fmla="*/ 475445 h 1538630"/>
              <a:gd name="csX837" fmla="*/ 212563 w 1609516"/>
              <a:gd name="csY837" fmla="*/ 469896 h 1538630"/>
              <a:gd name="csX838" fmla="*/ 208889 w 1609516"/>
              <a:gd name="csY838" fmla="*/ 467491 h 1538630"/>
              <a:gd name="csX839" fmla="*/ 190406 w 1609516"/>
              <a:gd name="csY839" fmla="*/ 456382 h 1538630"/>
              <a:gd name="csX840" fmla="*/ 186942 w 1609516"/>
              <a:gd name="csY840" fmla="*/ 454460 h 1538630"/>
              <a:gd name="csX841" fmla="*/ 180041 w 1609516"/>
              <a:gd name="csY841" fmla="*/ 450696 h 1538630"/>
              <a:gd name="csX842" fmla="*/ 171948 w 1609516"/>
              <a:gd name="csY842" fmla="*/ 445940 h 1538630"/>
              <a:gd name="csX843" fmla="*/ 171948 w 1609516"/>
              <a:gd name="csY843" fmla="*/ 443121 h 1538630"/>
              <a:gd name="csX844" fmla="*/ 168482 w 1609516"/>
              <a:gd name="csY844" fmla="*/ 442708 h 1538630"/>
              <a:gd name="csX845" fmla="*/ 157107 w 1609516"/>
              <a:gd name="csY845" fmla="*/ 437044 h 1538630"/>
              <a:gd name="csX846" fmla="*/ 132559 w 1609516"/>
              <a:gd name="csY846" fmla="*/ 427510 h 1538630"/>
              <a:gd name="csX847" fmla="*/ 123522 w 1609516"/>
              <a:gd name="csY847" fmla="*/ 421983 h 1538630"/>
              <a:gd name="csX848" fmla="*/ 107986 w 1609516"/>
              <a:gd name="csY848" fmla="*/ 418730 h 1538630"/>
              <a:gd name="csX849" fmla="*/ 102494 w 1609516"/>
              <a:gd name="csY849" fmla="*/ 418622 h 1538630"/>
              <a:gd name="csX850" fmla="*/ 91157 w 1609516"/>
              <a:gd name="csY850" fmla="*/ 418490 h 1538630"/>
              <a:gd name="csX851" fmla="*/ 55277 w 1609516"/>
              <a:gd name="csY851" fmla="*/ 410445 h 1538630"/>
              <a:gd name="csX852" fmla="*/ 51665 w 1609516"/>
              <a:gd name="csY852" fmla="*/ 406481 h 1538630"/>
              <a:gd name="csX853" fmla="*/ 45904 w 1609516"/>
              <a:gd name="csY853" fmla="*/ 400492 h 1538630"/>
              <a:gd name="csX854" fmla="*/ 43152 w 1609516"/>
              <a:gd name="csY854" fmla="*/ 397564 h 1538630"/>
              <a:gd name="csX855" fmla="*/ 37605 w 1609516"/>
              <a:gd name="csY855" fmla="*/ 393798 h 1538630"/>
              <a:gd name="csX856" fmla="*/ 38995 w 1609516"/>
              <a:gd name="csY856" fmla="*/ 368712 h 1538630"/>
              <a:gd name="csX857" fmla="*/ 38666 w 1609516"/>
              <a:gd name="csY857" fmla="*/ 369724 h 1538630"/>
              <a:gd name="csX858" fmla="*/ 35542 w 1609516"/>
              <a:gd name="csY858" fmla="*/ 384081 h 1538630"/>
              <a:gd name="csX859" fmla="*/ 33326 w 1609516"/>
              <a:gd name="csY859" fmla="*/ 357791 h 1538630"/>
              <a:gd name="csX860" fmla="*/ 52725 w 1609516"/>
              <a:gd name="csY860" fmla="*/ 333349 h 1538630"/>
              <a:gd name="csX861" fmla="*/ 55222 w 1609516"/>
              <a:gd name="csY861" fmla="*/ 334475 h 1538630"/>
              <a:gd name="csX862" fmla="*/ 56222 w 1609516"/>
              <a:gd name="csY862" fmla="*/ 333347 h 1538630"/>
              <a:gd name="csX863" fmla="*/ 55871 w 1609516"/>
              <a:gd name="csY863" fmla="*/ 333347 h 1538630"/>
              <a:gd name="csX864" fmla="*/ 56346 w 1609516"/>
              <a:gd name="csY864" fmla="*/ 333207 h 1538630"/>
              <a:gd name="csX865" fmla="*/ 56351 w 1609516"/>
              <a:gd name="csY865" fmla="*/ 333202 h 1538630"/>
              <a:gd name="csX866" fmla="*/ 56365 w 1609516"/>
              <a:gd name="csY866" fmla="*/ 333202 h 1538630"/>
              <a:gd name="csX867" fmla="*/ 79571 w 1609516"/>
              <a:gd name="csY867" fmla="*/ 326360 h 1538630"/>
              <a:gd name="csX868" fmla="*/ 104297 w 1609516"/>
              <a:gd name="csY868" fmla="*/ 330529 h 1538630"/>
              <a:gd name="csX869" fmla="*/ 107170 w 1609516"/>
              <a:gd name="csY869" fmla="*/ 334417 h 1538630"/>
              <a:gd name="csX870" fmla="*/ 109366 w 1609516"/>
              <a:gd name="csY870" fmla="*/ 336046 h 1538630"/>
              <a:gd name="csX871" fmla="*/ 109463 w 1609516"/>
              <a:gd name="csY871" fmla="*/ 336020 h 1538630"/>
              <a:gd name="csX872" fmla="*/ 109463 w 1609516"/>
              <a:gd name="csY872" fmla="*/ 336118 h 1538630"/>
              <a:gd name="csX873" fmla="*/ 115226 w 1609516"/>
              <a:gd name="csY873" fmla="*/ 340394 h 1538630"/>
              <a:gd name="csX874" fmla="*/ 114010 w 1609516"/>
              <a:gd name="csY874" fmla="*/ 340120 h 1538630"/>
              <a:gd name="csX875" fmla="*/ 133285 w 1609516"/>
              <a:gd name="csY875" fmla="*/ 357423 h 1538630"/>
              <a:gd name="csX876" fmla="*/ 173509 w 1609516"/>
              <a:gd name="csY876" fmla="*/ 389571 h 1538630"/>
              <a:gd name="csX877" fmla="*/ 181711 w 1609516"/>
              <a:gd name="csY877" fmla="*/ 393270 h 1538630"/>
              <a:gd name="csX878" fmla="*/ 185507 w 1609516"/>
              <a:gd name="csY878" fmla="*/ 394976 h 1538630"/>
              <a:gd name="csX879" fmla="*/ 192658 w 1609516"/>
              <a:gd name="csY879" fmla="*/ 398257 h 1538630"/>
              <a:gd name="csX880" fmla="*/ 195966 w 1609516"/>
              <a:gd name="csY880" fmla="*/ 399788 h 1538630"/>
              <a:gd name="csX881" fmla="*/ 198833 w 1609516"/>
              <a:gd name="csY881" fmla="*/ 401131 h 1538630"/>
              <a:gd name="csX882" fmla="*/ 207877 w 1609516"/>
              <a:gd name="csY882" fmla="*/ 403663 h 1538630"/>
              <a:gd name="csX883" fmla="*/ 207877 w 1609516"/>
              <a:gd name="csY883" fmla="*/ 406481 h 1538630"/>
              <a:gd name="csX884" fmla="*/ 248492 w 1609516"/>
              <a:gd name="csY884" fmla="*/ 419428 h 1538630"/>
              <a:gd name="csX885" fmla="*/ 253965 w 1609516"/>
              <a:gd name="csY885" fmla="*/ 421000 h 1538630"/>
              <a:gd name="csX886" fmla="*/ 267237 w 1609516"/>
              <a:gd name="csY886" fmla="*/ 424801 h 1538630"/>
              <a:gd name="csX887" fmla="*/ 267237 w 1609516"/>
              <a:gd name="csY887" fmla="*/ 426451 h 1538630"/>
              <a:gd name="csX888" fmla="*/ 288701 w 1609516"/>
              <a:gd name="csY888" fmla="*/ 429217 h 1538630"/>
              <a:gd name="csX889" fmla="*/ 288701 w 1609516"/>
              <a:gd name="csY889" fmla="*/ 432036 h 1538630"/>
              <a:gd name="csX890" fmla="*/ 327010 w 1609516"/>
              <a:gd name="csY890" fmla="*/ 433628 h 1538630"/>
              <a:gd name="csX891" fmla="*/ 337486 w 1609516"/>
              <a:gd name="csY891" fmla="*/ 433637 h 1538630"/>
              <a:gd name="csX892" fmla="*/ 344229 w 1609516"/>
              <a:gd name="csY892" fmla="*/ 433632 h 1538630"/>
              <a:gd name="csX893" fmla="*/ 350323 w 1609516"/>
              <a:gd name="csY893" fmla="*/ 433627 h 1538630"/>
              <a:gd name="csX894" fmla="*/ 365245 w 1609516"/>
              <a:gd name="csY894" fmla="*/ 432036 h 1538630"/>
              <a:gd name="csX895" fmla="*/ 360797 w 1609516"/>
              <a:gd name="csY895" fmla="*/ 433759 h 1538630"/>
              <a:gd name="csX896" fmla="*/ 365650 w 1609516"/>
              <a:gd name="csY896" fmla="*/ 433257 h 1538630"/>
              <a:gd name="csX897" fmla="*/ 367213 w 1609516"/>
              <a:gd name="csY897" fmla="*/ 429029 h 1538630"/>
              <a:gd name="csX898" fmla="*/ 375188 w 1609516"/>
              <a:gd name="csY898" fmla="*/ 424906 h 1538630"/>
              <a:gd name="csX899" fmla="*/ 404704 w 1609516"/>
              <a:gd name="csY899" fmla="*/ 389571 h 1538630"/>
              <a:gd name="csX900" fmla="*/ 406265 w 1609516"/>
              <a:gd name="csY900" fmla="*/ 388161 h 1538630"/>
              <a:gd name="csX901" fmla="*/ 406559 w 1609516"/>
              <a:gd name="csY901" fmla="*/ 370106 h 1538630"/>
              <a:gd name="csX902" fmla="*/ 406617 w 1609516"/>
              <a:gd name="csY902" fmla="*/ 364973 h 1538630"/>
              <a:gd name="csX903" fmla="*/ 406626 w 1609516"/>
              <a:gd name="csY903" fmla="*/ 360038 h 1538630"/>
              <a:gd name="csX904" fmla="*/ 406645 w 1609516"/>
              <a:gd name="csY904" fmla="*/ 355503 h 1538630"/>
              <a:gd name="csX905" fmla="*/ 403142 w 1609516"/>
              <a:gd name="csY905" fmla="*/ 345885 h 1538630"/>
              <a:gd name="csX906" fmla="*/ 401579 w 1609516"/>
              <a:gd name="csY906" fmla="*/ 338663 h 1538630"/>
              <a:gd name="csX907" fmla="*/ 390938 w 1609516"/>
              <a:gd name="csY907" fmla="*/ 315939 h 1538630"/>
              <a:gd name="csX908" fmla="*/ 388976 w 1609516"/>
              <a:gd name="csY908" fmla="*/ 312762 h 1538630"/>
              <a:gd name="csX909" fmla="*/ 377934 w 1609516"/>
              <a:gd name="csY909" fmla="*/ 297817 h 1538630"/>
              <a:gd name="csX910" fmla="*/ 368775 w 1609516"/>
              <a:gd name="csY910" fmla="*/ 282470 h 1538630"/>
              <a:gd name="csX911" fmla="*/ 359890 w 1609516"/>
              <a:gd name="csY911" fmla="*/ 271284 h 1538630"/>
              <a:gd name="csX912" fmla="*/ 357374 w 1609516"/>
              <a:gd name="csY912" fmla="*/ 268288 h 1538630"/>
              <a:gd name="csX913" fmla="*/ 337533 w 1609516"/>
              <a:gd name="csY913" fmla="*/ 248649 h 1538630"/>
              <a:gd name="csX914" fmla="*/ 335214 w 1609516"/>
              <a:gd name="csY914" fmla="*/ 246369 h 1538630"/>
              <a:gd name="csX915" fmla="*/ 327085 w 1609516"/>
              <a:gd name="csY915" fmla="*/ 242571 h 1538630"/>
              <a:gd name="csX916" fmla="*/ 288785 w 1609516"/>
              <a:gd name="csY916" fmla="*/ 207968 h 1538630"/>
              <a:gd name="csX917" fmla="*/ 286373 w 1609516"/>
              <a:gd name="csY917" fmla="*/ 192544 h 1538630"/>
              <a:gd name="csX918" fmla="*/ 286385 w 1609516"/>
              <a:gd name="csY918" fmla="*/ 189190 h 1538630"/>
              <a:gd name="csX919" fmla="*/ 300042 w 1609516"/>
              <a:gd name="csY919" fmla="*/ 164095 h 1538630"/>
              <a:gd name="csX920" fmla="*/ 302757 w 1609516"/>
              <a:gd name="csY920" fmla="*/ 161381 h 1538630"/>
              <a:gd name="csX921" fmla="*/ 338411 w 1609516"/>
              <a:gd name="csY921" fmla="*/ 152293 h 1538630"/>
              <a:gd name="csX922" fmla="*/ 368482 w 1609516"/>
              <a:gd name="csY922" fmla="*/ 161893 h 1538630"/>
              <a:gd name="csX923" fmla="*/ 371899 w 1609516"/>
              <a:gd name="csY923" fmla="*/ 165505 h 1538630"/>
              <a:gd name="csX924" fmla="*/ 375121 w 1609516"/>
              <a:gd name="csY924" fmla="*/ 168587 h 1538630"/>
              <a:gd name="csX925" fmla="*/ 384982 w 1609516"/>
              <a:gd name="csY925" fmla="*/ 193777 h 1538630"/>
              <a:gd name="csX926" fmla="*/ 390352 w 1609516"/>
              <a:gd name="csY926" fmla="*/ 214563 h 1538630"/>
              <a:gd name="csX927" fmla="*/ 391529 w 1609516"/>
              <a:gd name="csY927" fmla="*/ 217626 h 1538630"/>
              <a:gd name="csX928" fmla="*/ 401579 w 1609516"/>
              <a:gd name="csY928" fmla="*/ 234556 h 1538630"/>
              <a:gd name="csX929" fmla="*/ 401579 w 1609516"/>
              <a:gd name="csY929" fmla="*/ 238784 h 1538630"/>
              <a:gd name="csX930" fmla="*/ 404215 w 1609516"/>
              <a:gd name="csY930" fmla="*/ 239753 h 1538630"/>
              <a:gd name="csX931" fmla="*/ 417811 w 1609516"/>
              <a:gd name="csY931" fmla="*/ 251996 h 1538630"/>
              <a:gd name="csX932" fmla="*/ 426866 w 1609516"/>
              <a:gd name="csY932" fmla="*/ 262300 h 1538630"/>
              <a:gd name="csX933" fmla="*/ 450097 w 1609516"/>
              <a:gd name="csY933" fmla="*/ 287628 h 1538630"/>
              <a:gd name="csX934" fmla="*/ 457425 w 1609516"/>
              <a:gd name="csY934" fmla="*/ 293920 h 1538630"/>
              <a:gd name="csX935" fmla="*/ 460940 w 1609516"/>
              <a:gd name="csY935" fmla="*/ 296562 h 1538630"/>
              <a:gd name="csX936" fmla="*/ 460940 w 1609516"/>
              <a:gd name="csY936" fmla="*/ 300790 h 1538630"/>
              <a:gd name="csX937" fmla="*/ 473437 w 1609516"/>
              <a:gd name="csY937" fmla="*/ 305018 h 1538630"/>
              <a:gd name="csX938" fmla="*/ 473437 w 1609516"/>
              <a:gd name="csY938" fmla="*/ 307836 h 1538630"/>
              <a:gd name="csX939" fmla="*/ 479881 w 1609516"/>
              <a:gd name="csY939" fmla="*/ 309862 h 1538630"/>
              <a:gd name="csX940" fmla="*/ 483505 w 1609516"/>
              <a:gd name="csY940" fmla="*/ 311001 h 1538630"/>
              <a:gd name="csX941" fmla="*/ 548419 w 1609516"/>
              <a:gd name="csY941" fmla="*/ 306427 h 1538630"/>
              <a:gd name="csX942" fmla="*/ 551842 w 1609516"/>
              <a:gd name="csY942" fmla="*/ 305127 h 1538630"/>
              <a:gd name="csX943" fmla="*/ 560232 w 1609516"/>
              <a:gd name="csY943" fmla="*/ 298148 h 1538630"/>
              <a:gd name="csX944" fmla="*/ 562972 w 1609516"/>
              <a:gd name="csY944" fmla="*/ 295252 h 1538630"/>
              <a:gd name="csX945" fmla="*/ 568086 w 1609516"/>
              <a:gd name="csY945" fmla="*/ 289152 h 1538630"/>
              <a:gd name="csX946" fmla="*/ 570289 w 1609516"/>
              <a:gd name="csY946" fmla="*/ 286697 h 1538630"/>
              <a:gd name="csX947" fmla="*/ 573413 w 1609516"/>
              <a:gd name="csY947" fmla="*/ 286697 h 1538630"/>
              <a:gd name="csX948" fmla="*/ 577220 w 1609516"/>
              <a:gd name="csY948" fmla="*/ 257016 h 1538630"/>
              <a:gd name="csX949" fmla="*/ 577235 w 1609516"/>
              <a:gd name="csY949" fmla="*/ 254206 h 1538630"/>
              <a:gd name="csX950" fmla="*/ 569443 w 1609516"/>
              <a:gd name="csY950" fmla="*/ 206049 h 1538630"/>
              <a:gd name="csX951" fmla="*/ 568726 w 1609516"/>
              <a:gd name="csY951" fmla="*/ 200735 h 1538630"/>
              <a:gd name="csX952" fmla="*/ 565602 w 1609516"/>
              <a:gd name="csY952" fmla="*/ 200735 h 1538630"/>
              <a:gd name="csX953" fmla="*/ 559549 w 1609516"/>
              <a:gd name="csY953" fmla="*/ 184441 h 1538630"/>
              <a:gd name="csX954" fmla="*/ 537484 w 1609516"/>
              <a:gd name="csY954" fmla="*/ 159867 h 1538630"/>
              <a:gd name="csX955" fmla="*/ 531235 w 1609516"/>
              <a:gd name="csY955" fmla="*/ 154230 h 1538630"/>
              <a:gd name="csX956" fmla="*/ 531235 w 1609516"/>
              <a:gd name="csY956" fmla="*/ 151412 h 1538630"/>
              <a:gd name="csX957" fmla="*/ 526549 w 1609516"/>
              <a:gd name="csY957" fmla="*/ 150003 h 1538630"/>
              <a:gd name="csX958" fmla="*/ 524304 w 1609516"/>
              <a:gd name="csY958" fmla="*/ 107198 h 1538630"/>
              <a:gd name="csX959" fmla="*/ 547052 w 1609516"/>
              <a:gd name="csY959" fmla="*/ 85972 h 1538630"/>
              <a:gd name="csX960" fmla="*/ 588460 w 1609516"/>
              <a:gd name="csY960" fmla="*/ 83538 h 1538630"/>
              <a:gd name="csX961" fmla="*/ 617152 w 1609516"/>
              <a:gd name="csY961" fmla="*/ 111954 h 1538630"/>
              <a:gd name="csX962" fmla="*/ 617884 w 1609516"/>
              <a:gd name="csY962" fmla="*/ 124175 h 1538630"/>
              <a:gd name="csX963" fmla="*/ 617917 w 1609516"/>
              <a:gd name="csY963" fmla="*/ 127607 h 1538630"/>
              <a:gd name="csX964" fmla="*/ 617919 w 1609516"/>
              <a:gd name="csY964" fmla="*/ 141969 h 1538630"/>
              <a:gd name="csX965" fmla="*/ 630625 w 1609516"/>
              <a:gd name="csY965" fmla="*/ 191311 h 1538630"/>
              <a:gd name="csX966" fmla="*/ 637850 w 1609516"/>
              <a:gd name="csY966" fmla="*/ 205139 h 1538630"/>
              <a:gd name="csX967" fmla="*/ 643708 w 1609516"/>
              <a:gd name="csY967" fmla="*/ 212009 h 1538630"/>
              <a:gd name="csX968" fmla="*/ 647027 w 1609516"/>
              <a:gd name="csY968" fmla="*/ 217645 h 1538630"/>
              <a:gd name="csX969" fmla="*/ 670264 w 1609516"/>
              <a:gd name="csY969" fmla="*/ 241603 h 1538630"/>
              <a:gd name="csX970" fmla="*/ 670264 w 1609516"/>
              <a:gd name="csY970" fmla="*/ 244421 h 1538630"/>
              <a:gd name="csX971" fmla="*/ 675634 w 1609516"/>
              <a:gd name="csY971" fmla="*/ 245742 h 1538630"/>
              <a:gd name="csX972" fmla="*/ 682761 w 1609516"/>
              <a:gd name="csY972" fmla="*/ 248649 h 1538630"/>
              <a:gd name="csX973" fmla="*/ 752092 w 1609516"/>
              <a:gd name="csY973" fmla="*/ 245076 h 1538630"/>
              <a:gd name="csX974" fmla="*/ 758433 w 1609516"/>
              <a:gd name="csY974" fmla="*/ 240485 h 1538630"/>
              <a:gd name="csX975" fmla="*/ 763991 w 1609516"/>
              <a:gd name="csY975" fmla="*/ 238784 h 1538630"/>
              <a:gd name="csX976" fmla="*/ 765315 w 1609516"/>
              <a:gd name="csY976" fmla="*/ 235778 h 1538630"/>
              <a:gd name="csX977" fmla="*/ 770923 w 1609516"/>
              <a:gd name="csY977" fmla="*/ 223459 h 1538630"/>
              <a:gd name="csX978" fmla="*/ 772998 w 1609516"/>
              <a:gd name="csY978" fmla="*/ 218934 h 1538630"/>
              <a:gd name="csX979" fmla="*/ 777562 w 1609516"/>
              <a:gd name="csY979" fmla="*/ 209895 h 1538630"/>
              <a:gd name="csX980" fmla="*/ 781175 w 1609516"/>
              <a:gd name="csY980" fmla="*/ 124637 h 1538630"/>
              <a:gd name="csX981" fmla="*/ 778051 w 1609516"/>
              <a:gd name="csY981" fmla="*/ 124637 h 1538630"/>
              <a:gd name="csX982" fmla="*/ 767116 w 1609516"/>
              <a:gd name="csY982" fmla="*/ 79542 h 1538630"/>
              <a:gd name="csX983" fmla="*/ 793379 w 1609516"/>
              <a:gd name="csY983" fmla="*/ 54000 h 1538630"/>
              <a:gd name="csX984" fmla="*/ 840688 w 1609516"/>
              <a:gd name="csY984" fmla="*/ 55503 h 1538630"/>
              <a:gd name="csX985" fmla="*/ 851470 w 1609516"/>
              <a:gd name="csY985" fmla="*/ 64040 h 1538630"/>
              <a:gd name="csX986" fmla="*/ 853997 w 1609516"/>
              <a:gd name="csY986" fmla="*/ 66529 h 1538630"/>
              <a:gd name="csX987" fmla="*/ 861488 w 1609516"/>
              <a:gd name="csY987" fmla="*/ 82057 h 1538630"/>
              <a:gd name="csX988" fmla="*/ 861937 w 1609516"/>
              <a:gd name="csY988" fmla="*/ 90492 h 1538630"/>
              <a:gd name="csX989" fmla="*/ 863826 w 1609516"/>
              <a:gd name="csY989" fmla="*/ 100715 h 1538630"/>
              <a:gd name="csX990" fmla="*/ 857577 w 1609516"/>
              <a:gd name="csY990" fmla="*/ 121853 h 1538630"/>
              <a:gd name="csX991" fmla="*/ 856015 w 1609516"/>
              <a:gd name="csY991" fmla="*/ 121853 h 1538630"/>
              <a:gd name="csX992" fmla="*/ 855442 w 1609516"/>
              <a:gd name="csY992" fmla="*/ 118919 h 1538630"/>
              <a:gd name="csX993" fmla="*/ 855417 w 1609516"/>
              <a:gd name="csY993" fmla="*/ 118798 h 1538630"/>
              <a:gd name="csX994" fmla="*/ 856157 w 1609516"/>
              <a:gd name="csY994" fmla="*/ 124637 h 1538630"/>
              <a:gd name="csX995" fmla="*/ 850623 w 1609516"/>
              <a:gd name="csY995" fmla="*/ 134701 h 1538630"/>
              <a:gd name="csX996" fmla="*/ 851325 w 1609516"/>
              <a:gd name="csY996" fmla="*/ 135968 h 1538630"/>
              <a:gd name="csX997" fmla="*/ 849886 w 1609516"/>
              <a:gd name="csY997" fmla="*/ 139843 h 1538630"/>
              <a:gd name="csX998" fmla="*/ 847786 w 1609516"/>
              <a:gd name="csY998" fmla="*/ 152889 h 1538630"/>
              <a:gd name="csX999" fmla="*/ 847767 w 1609516"/>
              <a:gd name="csY999" fmla="*/ 157768 h 1538630"/>
              <a:gd name="csX1000" fmla="*/ 847810 w 1609516"/>
              <a:gd name="csY1000" fmla="*/ 162919 h 1538630"/>
              <a:gd name="csX1001" fmla="*/ 847832 w 1609516"/>
              <a:gd name="csY1001" fmla="*/ 168227 h 1538630"/>
              <a:gd name="csX1002" fmla="*/ 850903 w 1609516"/>
              <a:gd name="csY1002" fmla="*/ 209013 h 1538630"/>
              <a:gd name="csX1003" fmla="*/ 852880 w 1609516"/>
              <a:gd name="csY1003" fmla="*/ 224692 h 1538630"/>
              <a:gd name="csX1004" fmla="*/ 854595 w 1609516"/>
              <a:gd name="csY1004" fmla="*/ 224692 h 1538630"/>
              <a:gd name="csX1005" fmla="*/ 856083 w 1609516"/>
              <a:gd name="csY1005" fmla="*/ 227268 h 1538630"/>
              <a:gd name="csX1006" fmla="*/ 879588 w 1609516"/>
              <a:gd name="csY1006" fmla="*/ 247239 h 1538630"/>
              <a:gd name="csX1007" fmla="*/ 885739 w 1609516"/>
              <a:gd name="csY1007" fmla="*/ 249618 h 1538630"/>
              <a:gd name="csX1008" fmla="*/ 890523 w 1609516"/>
              <a:gd name="csY1008" fmla="*/ 251467 h 1538630"/>
              <a:gd name="csX1009" fmla="*/ 890523 w 1609516"/>
              <a:gd name="csY1009" fmla="*/ 254285 h 1538630"/>
              <a:gd name="csX1010" fmla="*/ 920203 w 1609516"/>
              <a:gd name="csY1010" fmla="*/ 261332 h 1538630"/>
              <a:gd name="csX1011" fmla="*/ 920203 w 1609516"/>
              <a:gd name="csY1011" fmla="*/ 262741 h 1538630"/>
              <a:gd name="csX1012" fmla="*/ 910831 w 1609516"/>
              <a:gd name="csY1012" fmla="*/ 262741 h 1538630"/>
              <a:gd name="csX1013" fmla="*/ 910831 w 1609516"/>
              <a:gd name="csY1013" fmla="*/ 262864 h 1538630"/>
              <a:gd name="csX1014" fmla="*/ 927993 w 1609516"/>
              <a:gd name="csY1014" fmla="*/ 264177 h 1538630"/>
              <a:gd name="csX1015" fmla="*/ 939273 w 1609516"/>
              <a:gd name="csY1015" fmla="*/ 265285 h 1538630"/>
              <a:gd name="csX1016" fmla="*/ 940456 w 1609516"/>
              <a:gd name="csY1016" fmla="*/ 265191 h 1538630"/>
              <a:gd name="csX1017" fmla="*/ 991622 w 1609516"/>
              <a:gd name="csY1017" fmla="*/ 242329 h 1538630"/>
              <a:gd name="csX1018" fmla="*/ 1000803 w 1609516"/>
              <a:gd name="csY1018" fmla="*/ 236505 h 1538630"/>
              <a:gd name="csX1019" fmla="*/ 999806 w 1609516"/>
              <a:gd name="csY1019" fmla="*/ 236055 h 1538630"/>
              <a:gd name="csX1020" fmla="*/ 1003126 w 1609516"/>
              <a:gd name="csY1020" fmla="*/ 232851 h 1538630"/>
              <a:gd name="csX1021" fmla="*/ 1029487 w 1609516"/>
              <a:gd name="csY1021" fmla="*/ 205052 h 1538630"/>
              <a:gd name="csX1022" fmla="*/ 1029872 w 1609516"/>
              <a:gd name="csY1022" fmla="*/ 206442 h 1538630"/>
              <a:gd name="csX1023" fmla="*/ 1031614 w 1609516"/>
              <a:gd name="csY1023" fmla="*/ 203719 h 1538630"/>
              <a:gd name="csX1024" fmla="*/ 1038924 w 1609516"/>
              <a:gd name="csY1024" fmla="*/ 192280 h 1538630"/>
              <a:gd name="csX1025" fmla="*/ 1042049 w 1609516"/>
              <a:gd name="csY1025" fmla="*/ 190870 h 1538630"/>
              <a:gd name="csX1026" fmla="*/ 1044294 w 1609516"/>
              <a:gd name="csY1026" fmla="*/ 186026 h 1538630"/>
              <a:gd name="csX1027" fmla="*/ 1051422 w 1609516"/>
              <a:gd name="csY1027" fmla="*/ 178188 h 1538630"/>
              <a:gd name="csX1028" fmla="*/ 1052984 w 1609516"/>
              <a:gd name="csY1028" fmla="*/ 172551 h 1538630"/>
              <a:gd name="csX1029" fmla="*/ 1056108 w 1609516"/>
              <a:gd name="csY1029" fmla="*/ 172551 h 1538630"/>
              <a:gd name="csX1030" fmla="*/ 1059232 w 1609516"/>
              <a:gd name="csY1030" fmla="*/ 162686 h 1538630"/>
              <a:gd name="csX1031" fmla="*/ 1062357 w 1609516"/>
              <a:gd name="csY1031" fmla="*/ 162686 h 1538630"/>
              <a:gd name="csX1032" fmla="*/ 1063162 w 1609516"/>
              <a:gd name="csY1032" fmla="*/ 160258 h 1538630"/>
              <a:gd name="csX1033" fmla="*/ 1073292 w 1609516"/>
              <a:gd name="csY1033" fmla="*/ 140138 h 1538630"/>
              <a:gd name="csX1034" fmla="*/ 1076415 w 1609516"/>
              <a:gd name="csY1034" fmla="*/ 140138 h 1538630"/>
              <a:gd name="csX1035" fmla="*/ 1085294 w 1609516"/>
              <a:gd name="csY1035" fmla="*/ 117569 h 1538630"/>
              <a:gd name="csX1036" fmla="*/ 1087350 w 1609516"/>
              <a:gd name="csY1036" fmla="*/ 113363 h 1538630"/>
              <a:gd name="csX1037" fmla="*/ 1092037 w 1609516"/>
              <a:gd name="csY1037" fmla="*/ 111954 h 1538630"/>
              <a:gd name="csX1038" fmla="*/ 1092623 w 1609516"/>
              <a:gd name="csY1038" fmla="*/ 108695 h 1538630"/>
              <a:gd name="csX1039" fmla="*/ 1096723 w 1609516"/>
              <a:gd name="csY1039" fmla="*/ 100680 h 1538630"/>
              <a:gd name="csX1040" fmla="*/ 1098188 w 1609516"/>
              <a:gd name="csY1040" fmla="*/ 96013 h 1538630"/>
              <a:gd name="csX1041" fmla="*/ 1102288 w 1609516"/>
              <a:gd name="csY1041" fmla="*/ 87029 h 1538630"/>
              <a:gd name="csX1042" fmla="*/ 1104534 w 1609516"/>
              <a:gd name="csY1042" fmla="*/ 61222 h 1538630"/>
              <a:gd name="csX1043" fmla="*/ 1104381 w 1609516"/>
              <a:gd name="csY1043" fmla="*/ 55569 h 1538630"/>
              <a:gd name="csX1044" fmla="*/ 1104397 w 1609516"/>
              <a:gd name="csY1044" fmla="*/ 52335 h 1538630"/>
              <a:gd name="csX1045" fmla="*/ 1104436 w 1609516"/>
              <a:gd name="csY1045" fmla="*/ 48979 h 1538630"/>
              <a:gd name="csX1046" fmla="*/ 1104457 w 1609516"/>
              <a:gd name="csY1046" fmla="*/ 45575 h 1538630"/>
              <a:gd name="csX1047" fmla="*/ 1104534 w 1609516"/>
              <a:gd name="csY1047" fmla="*/ 37265 h 1538630"/>
              <a:gd name="csX1048" fmla="*/ 1107658 w 1609516"/>
              <a:gd name="csY1048" fmla="*/ 37265 h 1538630"/>
              <a:gd name="csX1049" fmla="*/ 1107463 w 1609516"/>
              <a:gd name="csY1049" fmla="*/ 31805 h 1538630"/>
              <a:gd name="csX1050" fmla="*/ 1107658 w 1609516"/>
              <a:gd name="csY1050" fmla="*/ 25991 h 1538630"/>
              <a:gd name="csX1051" fmla="*/ 1110782 w 1609516"/>
              <a:gd name="csY1051" fmla="*/ 23173 h 1538630"/>
              <a:gd name="csX1052" fmla="*/ 1111759 w 1609516"/>
              <a:gd name="csY1052" fmla="*/ 20091 h 1538630"/>
              <a:gd name="csX1053" fmla="*/ 1134507 w 1609516"/>
              <a:gd name="csY1053" fmla="*/ 2828 h 1538630"/>
              <a:gd name="csX1054" fmla="*/ 1155019 w 1609516"/>
              <a:gd name="csY1054" fmla="*/ 35 h 153863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  <a:cxn ang="0">
                <a:pos x="csX170" y="csY170"/>
              </a:cxn>
              <a:cxn ang="0">
                <a:pos x="csX171" y="csY171"/>
              </a:cxn>
              <a:cxn ang="0">
                <a:pos x="csX172" y="csY172"/>
              </a:cxn>
              <a:cxn ang="0">
                <a:pos x="csX173" y="csY173"/>
              </a:cxn>
              <a:cxn ang="0">
                <a:pos x="csX174" y="csY174"/>
              </a:cxn>
              <a:cxn ang="0">
                <a:pos x="csX175" y="csY175"/>
              </a:cxn>
              <a:cxn ang="0">
                <a:pos x="csX176" y="csY176"/>
              </a:cxn>
              <a:cxn ang="0">
                <a:pos x="csX177" y="csY177"/>
              </a:cxn>
              <a:cxn ang="0">
                <a:pos x="csX178" y="csY178"/>
              </a:cxn>
              <a:cxn ang="0">
                <a:pos x="csX179" y="csY179"/>
              </a:cxn>
              <a:cxn ang="0">
                <a:pos x="csX180" y="csY180"/>
              </a:cxn>
              <a:cxn ang="0">
                <a:pos x="csX181" y="csY181"/>
              </a:cxn>
              <a:cxn ang="0">
                <a:pos x="csX182" y="csY182"/>
              </a:cxn>
              <a:cxn ang="0">
                <a:pos x="csX183" y="csY183"/>
              </a:cxn>
              <a:cxn ang="0">
                <a:pos x="csX184" y="csY184"/>
              </a:cxn>
              <a:cxn ang="0">
                <a:pos x="csX185" y="csY185"/>
              </a:cxn>
              <a:cxn ang="0">
                <a:pos x="csX186" y="csY186"/>
              </a:cxn>
              <a:cxn ang="0">
                <a:pos x="csX187" y="csY187"/>
              </a:cxn>
              <a:cxn ang="0">
                <a:pos x="csX188" y="csY188"/>
              </a:cxn>
              <a:cxn ang="0">
                <a:pos x="csX189" y="csY189"/>
              </a:cxn>
              <a:cxn ang="0">
                <a:pos x="csX190" y="csY190"/>
              </a:cxn>
              <a:cxn ang="0">
                <a:pos x="csX191" y="csY191"/>
              </a:cxn>
              <a:cxn ang="0">
                <a:pos x="csX192" y="csY192"/>
              </a:cxn>
              <a:cxn ang="0">
                <a:pos x="csX193" y="csY193"/>
              </a:cxn>
              <a:cxn ang="0">
                <a:pos x="csX194" y="csY194"/>
              </a:cxn>
              <a:cxn ang="0">
                <a:pos x="csX195" y="csY195"/>
              </a:cxn>
              <a:cxn ang="0">
                <a:pos x="csX196" y="csY196"/>
              </a:cxn>
              <a:cxn ang="0">
                <a:pos x="csX197" y="csY197"/>
              </a:cxn>
              <a:cxn ang="0">
                <a:pos x="csX198" y="csY198"/>
              </a:cxn>
              <a:cxn ang="0">
                <a:pos x="csX199" y="csY199"/>
              </a:cxn>
              <a:cxn ang="0">
                <a:pos x="csX200" y="csY200"/>
              </a:cxn>
              <a:cxn ang="0">
                <a:pos x="csX201" y="csY201"/>
              </a:cxn>
              <a:cxn ang="0">
                <a:pos x="csX202" y="csY202"/>
              </a:cxn>
              <a:cxn ang="0">
                <a:pos x="csX203" y="csY203"/>
              </a:cxn>
              <a:cxn ang="0">
                <a:pos x="csX204" y="csY204"/>
              </a:cxn>
              <a:cxn ang="0">
                <a:pos x="csX205" y="csY205"/>
              </a:cxn>
              <a:cxn ang="0">
                <a:pos x="csX206" y="csY206"/>
              </a:cxn>
              <a:cxn ang="0">
                <a:pos x="csX207" y="csY207"/>
              </a:cxn>
              <a:cxn ang="0">
                <a:pos x="csX208" y="csY208"/>
              </a:cxn>
              <a:cxn ang="0">
                <a:pos x="csX209" y="csY209"/>
              </a:cxn>
              <a:cxn ang="0">
                <a:pos x="csX210" y="csY210"/>
              </a:cxn>
              <a:cxn ang="0">
                <a:pos x="csX211" y="csY211"/>
              </a:cxn>
              <a:cxn ang="0">
                <a:pos x="csX212" y="csY212"/>
              </a:cxn>
              <a:cxn ang="0">
                <a:pos x="csX213" y="csY213"/>
              </a:cxn>
              <a:cxn ang="0">
                <a:pos x="csX214" y="csY214"/>
              </a:cxn>
              <a:cxn ang="0">
                <a:pos x="csX215" y="csY215"/>
              </a:cxn>
              <a:cxn ang="0">
                <a:pos x="csX216" y="csY216"/>
              </a:cxn>
              <a:cxn ang="0">
                <a:pos x="csX217" y="csY217"/>
              </a:cxn>
              <a:cxn ang="0">
                <a:pos x="csX218" y="csY218"/>
              </a:cxn>
              <a:cxn ang="0">
                <a:pos x="csX219" y="csY219"/>
              </a:cxn>
              <a:cxn ang="0">
                <a:pos x="csX220" y="csY220"/>
              </a:cxn>
              <a:cxn ang="0">
                <a:pos x="csX221" y="csY221"/>
              </a:cxn>
              <a:cxn ang="0">
                <a:pos x="csX222" y="csY222"/>
              </a:cxn>
              <a:cxn ang="0">
                <a:pos x="csX223" y="csY223"/>
              </a:cxn>
              <a:cxn ang="0">
                <a:pos x="csX224" y="csY224"/>
              </a:cxn>
              <a:cxn ang="0">
                <a:pos x="csX225" y="csY225"/>
              </a:cxn>
              <a:cxn ang="0">
                <a:pos x="csX226" y="csY226"/>
              </a:cxn>
              <a:cxn ang="0">
                <a:pos x="csX227" y="csY227"/>
              </a:cxn>
              <a:cxn ang="0">
                <a:pos x="csX228" y="csY228"/>
              </a:cxn>
              <a:cxn ang="0">
                <a:pos x="csX229" y="csY229"/>
              </a:cxn>
              <a:cxn ang="0">
                <a:pos x="csX230" y="csY230"/>
              </a:cxn>
              <a:cxn ang="0">
                <a:pos x="csX231" y="csY231"/>
              </a:cxn>
              <a:cxn ang="0">
                <a:pos x="csX232" y="csY232"/>
              </a:cxn>
              <a:cxn ang="0">
                <a:pos x="csX233" y="csY233"/>
              </a:cxn>
              <a:cxn ang="0">
                <a:pos x="csX234" y="csY234"/>
              </a:cxn>
              <a:cxn ang="0">
                <a:pos x="csX235" y="csY235"/>
              </a:cxn>
              <a:cxn ang="0">
                <a:pos x="csX236" y="csY236"/>
              </a:cxn>
              <a:cxn ang="0">
                <a:pos x="csX237" y="csY237"/>
              </a:cxn>
              <a:cxn ang="0">
                <a:pos x="csX238" y="csY238"/>
              </a:cxn>
              <a:cxn ang="0">
                <a:pos x="csX239" y="csY239"/>
              </a:cxn>
              <a:cxn ang="0">
                <a:pos x="csX240" y="csY240"/>
              </a:cxn>
              <a:cxn ang="0">
                <a:pos x="csX241" y="csY241"/>
              </a:cxn>
              <a:cxn ang="0">
                <a:pos x="csX242" y="csY242"/>
              </a:cxn>
              <a:cxn ang="0">
                <a:pos x="csX243" y="csY243"/>
              </a:cxn>
              <a:cxn ang="0">
                <a:pos x="csX244" y="csY244"/>
              </a:cxn>
              <a:cxn ang="0">
                <a:pos x="csX245" y="csY245"/>
              </a:cxn>
              <a:cxn ang="0">
                <a:pos x="csX246" y="csY246"/>
              </a:cxn>
              <a:cxn ang="0">
                <a:pos x="csX247" y="csY247"/>
              </a:cxn>
              <a:cxn ang="0">
                <a:pos x="csX248" y="csY248"/>
              </a:cxn>
              <a:cxn ang="0">
                <a:pos x="csX249" y="csY249"/>
              </a:cxn>
              <a:cxn ang="0">
                <a:pos x="csX250" y="csY250"/>
              </a:cxn>
              <a:cxn ang="0">
                <a:pos x="csX251" y="csY251"/>
              </a:cxn>
              <a:cxn ang="0">
                <a:pos x="csX252" y="csY252"/>
              </a:cxn>
              <a:cxn ang="0">
                <a:pos x="csX253" y="csY253"/>
              </a:cxn>
              <a:cxn ang="0">
                <a:pos x="csX254" y="csY254"/>
              </a:cxn>
              <a:cxn ang="0">
                <a:pos x="csX255" y="csY255"/>
              </a:cxn>
              <a:cxn ang="0">
                <a:pos x="csX256" y="csY256"/>
              </a:cxn>
              <a:cxn ang="0">
                <a:pos x="csX257" y="csY257"/>
              </a:cxn>
              <a:cxn ang="0">
                <a:pos x="csX258" y="csY258"/>
              </a:cxn>
              <a:cxn ang="0">
                <a:pos x="csX259" y="csY259"/>
              </a:cxn>
              <a:cxn ang="0">
                <a:pos x="csX260" y="csY260"/>
              </a:cxn>
              <a:cxn ang="0">
                <a:pos x="csX261" y="csY261"/>
              </a:cxn>
              <a:cxn ang="0">
                <a:pos x="csX262" y="csY262"/>
              </a:cxn>
              <a:cxn ang="0">
                <a:pos x="csX263" y="csY263"/>
              </a:cxn>
              <a:cxn ang="0">
                <a:pos x="csX264" y="csY264"/>
              </a:cxn>
              <a:cxn ang="0">
                <a:pos x="csX265" y="csY265"/>
              </a:cxn>
              <a:cxn ang="0">
                <a:pos x="csX266" y="csY266"/>
              </a:cxn>
              <a:cxn ang="0">
                <a:pos x="csX267" y="csY267"/>
              </a:cxn>
              <a:cxn ang="0">
                <a:pos x="csX268" y="csY268"/>
              </a:cxn>
              <a:cxn ang="0">
                <a:pos x="csX269" y="csY269"/>
              </a:cxn>
              <a:cxn ang="0">
                <a:pos x="csX270" y="csY270"/>
              </a:cxn>
              <a:cxn ang="0">
                <a:pos x="csX271" y="csY271"/>
              </a:cxn>
              <a:cxn ang="0">
                <a:pos x="csX272" y="csY272"/>
              </a:cxn>
              <a:cxn ang="0">
                <a:pos x="csX273" y="csY273"/>
              </a:cxn>
              <a:cxn ang="0">
                <a:pos x="csX274" y="csY274"/>
              </a:cxn>
              <a:cxn ang="0">
                <a:pos x="csX275" y="csY275"/>
              </a:cxn>
              <a:cxn ang="0">
                <a:pos x="csX276" y="csY276"/>
              </a:cxn>
              <a:cxn ang="0">
                <a:pos x="csX277" y="csY277"/>
              </a:cxn>
              <a:cxn ang="0">
                <a:pos x="csX278" y="csY278"/>
              </a:cxn>
              <a:cxn ang="0">
                <a:pos x="csX279" y="csY279"/>
              </a:cxn>
              <a:cxn ang="0">
                <a:pos x="csX280" y="csY280"/>
              </a:cxn>
              <a:cxn ang="0">
                <a:pos x="csX281" y="csY281"/>
              </a:cxn>
              <a:cxn ang="0">
                <a:pos x="csX282" y="csY282"/>
              </a:cxn>
              <a:cxn ang="0">
                <a:pos x="csX283" y="csY283"/>
              </a:cxn>
              <a:cxn ang="0">
                <a:pos x="csX284" y="csY284"/>
              </a:cxn>
              <a:cxn ang="0">
                <a:pos x="csX285" y="csY285"/>
              </a:cxn>
              <a:cxn ang="0">
                <a:pos x="csX286" y="csY286"/>
              </a:cxn>
              <a:cxn ang="0">
                <a:pos x="csX287" y="csY287"/>
              </a:cxn>
              <a:cxn ang="0">
                <a:pos x="csX288" y="csY288"/>
              </a:cxn>
              <a:cxn ang="0">
                <a:pos x="csX289" y="csY289"/>
              </a:cxn>
              <a:cxn ang="0">
                <a:pos x="csX290" y="csY290"/>
              </a:cxn>
              <a:cxn ang="0">
                <a:pos x="csX291" y="csY291"/>
              </a:cxn>
              <a:cxn ang="0">
                <a:pos x="csX292" y="csY292"/>
              </a:cxn>
              <a:cxn ang="0">
                <a:pos x="csX293" y="csY293"/>
              </a:cxn>
              <a:cxn ang="0">
                <a:pos x="csX294" y="csY294"/>
              </a:cxn>
              <a:cxn ang="0">
                <a:pos x="csX295" y="csY295"/>
              </a:cxn>
              <a:cxn ang="0">
                <a:pos x="csX296" y="csY296"/>
              </a:cxn>
              <a:cxn ang="0">
                <a:pos x="csX297" y="csY297"/>
              </a:cxn>
              <a:cxn ang="0">
                <a:pos x="csX298" y="csY298"/>
              </a:cxn>
              <a:cxn ang="0">
                <a:pos x="csX299" y="csY299"/>
              </a:cxn>
              <a:cxn ang="0">
                <a:pos x="csX300" y="csY300"/>
              </a:cxn>
              <a:cxn ang="0">
                <a:pos x="csX301" y="csY301"/>
              </a:cxn>
              <a:cxn ang="0">
                <a:pos x="csX302" y="csY302"/>
              </a:cxn>
              <a:cxn ang="0">
                <a:pos x="csX303" y="csY303"/>
              </a:cxn>
              <a:cxn ang="0">
                <a:pos x="csX304" y="csY304"/>
              </a:cxn>
              <a:cxn ang="0">
                <a:pos x="csX305" y="csY305"/>
              </a:cxn>
              <a:cxn ang="0">
                <a:pos x="csX306" y="csY306"/>
              </a:cxn>
              <a:cxn ang="0">
                <a:pos x="csX307" y="csY307"/>
              </a:cxn>
              <a:cxn ang="0">
                <a:pos x="csX308" y="csY308"/>
              </a:cxn>
              <a:cxn ang="0">
                <a:pos x="csX309" y="csY309"/>
              </a:cxn>
              <a:cxn ang="0">
                <a:pos x="csX310" y="csY310"/>
              </a:cxn>
              <a:cxn ang="0">
                <a:pos x="csX311" y="csY311"/>
              </a:cxn>
              <a:cxn ang="0">
                <a:pos x="csX312" y="csY312"/>
              </a:cxn>
              <a:cxn ang="0">
                <a:pos x="csX313" y="csY313"/>
              </a:cxn>
              <a:cxn ang="0">
                <a:pos x="csX314" y="csY314"/>
              </a:cxn>
              <a:cxn ang="0">
                <a:pos x="csX315" y="csY315"/>
              </a:cxn>
              <a:cxn ang="0">
                <a:pos x="csX316" y="csY316"/>
              </a:cxn>
              <a:cxn ang="0">
                <a:pos x="csX317" y="csY317"/>
              </a:cxn>
              <a:cxn ang="0">
                <a:pos x="csX318" y="csY318"/>
              </a:cxn>
              <a:cxn ang="0">
                <a:pos x="csX319" y="csY319"/>
              </a:cxn>
              <a:cxn ang="0">
                <a:pos x="csX320" y="csY320"/>
              </a:cxn>
              <a:cxn ang="0">
                <a:pos x="csX321" y="csY321"/>
              </a:cxn>
              <a:cxn ang="0">
                <a:pos x="csX322" y="csY322"/>
              </a:cxn>
              <a:cxn ang="0">
                <a:pos x="csX323" y="csY323"/>
              </a:cxn>
              <a:cxn ang="0">
                <a:pos x="csX324" y="csY324"/>
              </a:cxn>
              <a:cxn ang="0">
                <a:pos x="csX325" y="csY325"/>
              </a:cxn>
              <a:cxn ang="0">
                <a:pos x="csX326" y="csY326"/>
              </a:cxn>
              <a:cxn ang="0">
                <a:pos x="csX327" y="csY327"/>
              </a:cxn>
              <a:cxn ang="0">
                <a:pos x="csX328" y="csY328"/>
              </a:cxn>
              <a:cxn ang="0">
                <a:pos x="csX329" y="csY329"/>
              </a:cxn>
              <a:cxn ang="0">
                <a:pos x="csX330" y="csY330"/>
              </a:cxn>
              <a:cxn ang="0">
                <a:pos x="csX331" y="csY331"/>
              </a:cxn>
              <a:cxn ang="0">
                <a:pos x="csX332" y="csY332"/>
              </a:cxn>
              <a:cxn ang="0">
                <a:pos x="csX333" y="csY333"/>
              </a:cxn>
              <a:cxn ang="0">
                <a:pos x="csX334" y="csY334"/>
              </a:cxn>
              <a:cxn ang="0">
                <a:pos x="csX335" y="csY335"/>
              </a:cxn>
              <a:cxn ang="0">
                <a:pos x="csX336" y="csY336"/>
              </a:cxn>
              <a:cxn ang="0">
                <a:pos x="csX337" y="csY337"/>
              </a:cxn>
              <a:cxn ang="0">
                <a:pos x="csX338" y="csY338"/>
              </a:cxn>
              <a:cxn ang="0">
                <a:pos x="csX339" y="csY339"/>
              </a:cxn>
              <a:cxn ang="0">
                <a:pos x="csX340" y="csY340"/>
              </a:cxn>
              <a:cxn ang="0">
                <a:pos x="csX341" y="csY341"/>
              </a:cxn>
              <a:cxn ang="0">
                <a:pos x="csX342" y="csY342"/>
              </a:cxn>
              <a:cxn ang="0">
                <a:pos x="csX343" y="csY343"/>
              </a:cxn>
              <a:cxn ang="0">
                <a:pos x="csX344" y="csY344"/>
              </a:cxn>
              <a:cxn ang="0">
                <a:pos x="csX345" y="csY345"/>
              </a:cxn>
              <a:cxn ang="0">
                <a:pos x="csX346" y="csY346"/>
              </a:cxn>
              <a:cxn ang="0">
                <a:pos x="csX347" y="csY347"/>
              </a:cxn>
              <a:cxn ang="0">
                <a:pos x="csX348" y="csY348"/>
              </a:cxn>
              <a:cxn ang="0">
                <a:pos x="csX349" y="csY349"/>
              </a:cxn>
              <a:cxn ang="0">
                <a:pos x="csX350" y="csY350"/>
              </a:cxn>
              <a:cxn ang="0">
                <a:pos x="csX351" y="csY351"/>
              </a:cxn>
              <a:cxn ang="0">
                <a:pos x="csX352" y="csY352"/>
              </a:cxn>
              <a:cxn ang="0">
                <a:pos x="csX353" y="csY353"/>
              </a:cxn>
              <a:cxn ang="0">
                <a:pos x="csX354" y="csY354"/>
              </a:cxn>
              <a:cxn ang="0">
                <a:pos x="csX355" y="csY355"/>
              </a:cxn>
              <a:cxn ang="0">
                <a:pos x="csX356" y="csY356"/>
              </a:cxn>
              <a:cxn ang="0">
                <a:pos x="csX357" y="csY357"/>
              </a:cxn>
              <a:cxn ang="0">
                <a:pos x="csX358" y="csY358"/>
              </a:cxn>
              <a:cxn ang="0">
                <a:pos x="csX359" y="csY359"/>
              </a:cxn>
              <a:cxn ang="0">
                <a:pos x="csX360" y="csY360"/>
              </a:cxn>
              <a:cxn ang="0">
                <a:pos x="csX361" y="csY361"/>
              </a:cxn>
              <a:cxn ang="0">
                <a:pos x="csX362" y="csY362"/>
              </a:cxn>
              <a:cxn ang="0">
                <a:pos x="csX363" y="csY363"/>
              </a:cxn>
              <a:cxn ang="0">
                <a:pos x="csX364" y="csY364"/>
              </a:cxn>
              <a:cxn ang="0">
                <a:pos x="csX365" y="csY365"/>
              </a:cxn>
              <a:cxn ang="0">
                <a:pos x="csX366" y="csY366"/>
              </a:cxn>
              <a:cxn ang="0">
                <a:pos x="csX367" y="csY367"/>
              </a:cxn>
              <a:cxn ang="0">
                <a:pos x="csX368" y="csY368"/>
              </a:cxn>
              <a:cxn ang="0">
                <a:pos x="csX369" y="csY369"/>
              </a:cxn>
              <a:cxn ang="0">
                <a:pos x="csX370" y="csY370"/>
              </a:cxn>
              <a:cxn ang="0">
                <a:pos x="csX371" y="csY371"/>
              </a:cxn>
              <a:cxn ang="0">
                <a:pos x="csX372" y="csY372"/>
              </a:cxn>
              <a:cxn ang="0">
                <a:pos x="csX373" y="csY373"/>
              </a:cxn>
              <a:cxn ang="0">
                <a:pos x="csX374" y="csY374"/>
              </a:cxn>
              <a:cxn ang="0">
                <a:pos x="csX375" y="csY375"/>
              </a:cxn>
              <a:cxn ang="0">
                <a:pos x="csX376" y="csY376"/>
              </a:cxn>
              <a:cxn ang="0">
                <a:pos x="csX377" y="csY377"/>
              </a:cxn>
              <a:cxn ang="0">
                <a:pos x="csX378" y="csY378"/>
              </a:cxn>
              <a:cxn ang="0">
                <a:pos x="csX379" y="csY379"/>
              </a:cxn>
              <a:cxn ang="0">
                <a:pos x="csX380" y="csY380"/>
              </a:cxn>
              <a:cxn ang="0">
                <a:pos x="csX381" y="csY381"/>
              </a:cxn>
              <a:cxn ang="0">
                <a:pos x="csX382" y="csY382"/>
              </a:cxn>
              <a:cxn ang="0">
                <a:pos x="csX383" y="csY383"/>
              </a:cxn>
              <a:cxn ang="0">
                <a:pos x="csX384" y="csY384"/>
              </a:cxn>
              <a:cxn ang="0">
                <a:pos x="csX385" y="csY385"/>
              </a:cxn>
              <a:cxn ang="0">
                <a:pos x="csX386" y="csY386"/>
              </a:cxn>
              <a:cxn ang="0">
                <a:pos x="csX387" y="csY387"/>
              </a:cxn>
              <a:cxn ang="0">
                <a:pos x="csX388" y="csY388"/>
              </a:cxn>
              <a:cxn ang="0">
                <a:pos x="csX389" y="csY389"/>
              </a:cxn>
              <a:cxn ang="0">
                <a:pos x="csX390" y="csY390"/>
              </a:cxn>
              <a:cxn ang="0">
                <a:pos x="csX391" y="csY391"/>
              </a:cxn>
              <a:cxn ang="0">
                <a:pos x="csX392" y="csY392"/>
              </a:cxn>
              <a:cxn ang="0">
                <a:pos x="csX393" y="csY393"/>
              </a:cxn>
              <a:cxn ang="0">
                <a:pos x="csX394" y="csY394"/>
              </a:cxn>
              <a:cxn ang="0">
                <a:pos x="csX395" y="csY395"/>
              </a:cxn>
              <a:cxn ang="0">
                <a:pos x="csX396" y="csY396"/>
              </a:cxn>
              <a:cxn ang="0">
                <a:pos x="csX397" y="csY397"/>
              </a:cxn>
              <a:cxn ang="0">
                <a:pos x="csX398" y="csY398"/>
              </a:cxn>
              <a:cxn ang="0">
                <a:pos x="csX399" y="csY399"/>
              </a:cxn>
              <a:cxn ang="0">
                <a:pos x="csX400" y="csY400"/>
              </a:cxn>
              <a:cxn ang="0">
                <a:pos x="csX401" y="csY401"/>
              </a:cxn>
              <a:cxn ang="0">
                <a:pos x="csX402" y="csY402"/>
              </a:cxn>
              <a:cxn ang="0">
                <a:pos x="csX403" y="csY403"/>
              </a:cxn>
              <a:cxn ang="0">
                <a:pos x="csX404" y="csY404"/>
              </a:cxn>
              <a:cxn ang="0">
                <a:pos x="csX405" y="csY405"/>
              </a:cxn>
              <a:cxn ang="0">
                <a:pos x="csX406" y="csY406"/>
              </a:cxn>
              <a:cxn ang="0">
                <a:pos x="csX407" y="csY407"/>
              </a:cxn>
              <a:cxn ang="0">
                <a:pos x="csX408" y="csY408"/>
              </a:cxn>
              <a:cxn ang="0">
                <a:pos x="csX409" y="csY409"/>
              </a:cxn>
              <a:cxn ang="0">
                <a:pos x="csX410" y="csY410"/>
              </a:cxn>
              <a:cxn ang="0">
                <a:pos x="csX411" y="csY411"/>
              </a:cxn>
              <a:cxn ang="0">
                <a:pos x="csX412" y="csY412"/>
              </a:cxn>
              <a:cxn ang="0">
                <a:pos x="csX413" y="csY413"/>
              </a:cxn>
              <a:cxn ang="0">
                <a:pos x="csX414" y="csY414"/>
              </a:cxn>
              <a:cxn ang="0">
                <a:pos x="csX415" y="csY415"/>
              </a:cxn>
              <a:cxn ang="0">
                <a:pos x="csX416" y="csY416"/>
              </a:cxn>
              <a:cxn ang="0">
                <a:pos x="csX417" y="csY417"/>
              </a:cxn>
              <a:cxn ang="0">
                <a:pos x="csX418" y="csY418"/>
              </a:cxn>
              <a:cxn ang="0">
                <a:pos x="csX419" y="csY419"/>
              </a:cxn>
              <a:cxn ang="0">
                <a:pos x="csX420" y="csY420"/>
              </a:cxn>
              <a:cxn ang="0">
                <a:pos x="csX421" y="csY421"/>
              </a:cxn>
              <a:cxn ang="0">
                <a:pos x="csX422" y="csY422"/>
              </a:cxn>
              <a:cxn ang="0">
                <a:pos x="csX423" y="csY423"/>
              </a:cxn>
              <a:cxn ang="0">
                <a:pos x="csX424" y="csY424"/>
              </a:cxn>
              <a:cxn ang="0">
                <a:pos x="csX425" y="csY425"/>
              </a:cxn>
              <a:cxn ang="0">
                <a:pos x="csX426" y="csY426"/>
              </a:cxn>
              <a:cxn ang="0">
                <a:pos x="csX427" y="csY427"/>
              </a:cxn>
              <a:cxn ang="0">
                <a:pos x="csX428" y="csY428"/>
              </a:cxn>
              <a:cxn ang="0">
                <a:pos x="csX429" y="csY429"/>
              </a:cxn>
              <a:cxn ang="0">
                <a:pos x="csX430" y="csY430"/>
              </a:cxn>
              <a:cxn ang="0">
                <a:pos x="csX431" y="csY431"/>
              </a:cxn>
              <a:cxn ang="0">
                <a:pos x="csX432" y="csY432"/>
              </a:cxn>
              <a:cxn ang="0">
                <a:pos x="csX433" y="csY433"/>
              </a:cxn>
              <a:cxn ang="0">
                <a:pos x="csX434" y="csY434"/>
              </a:cxn>
              <a:cxn ang="0">
                <a:pos x="csX435" y="csY435"/>
              </a:cxn>
              <a:cxn ang="0">
                <a:pos x="csX436" y="csY436"/>
              </a:cxn>
              <a:cxn ang="0">
                <a:pos x="csX437" y="csY437"/>
              </a:cxn>
              <a:cxn ang="0">
                <a:pos x="csX438" y="csY438"/>
              </a:cxn>
              <a:cxn ang="0">
                <a:pos x="csX439" y="csY439"/>
              </a:cxn>
              <a:cxn ang="0">
                <a:pos x="csX440" y="csY440"/>
              </a:cxn>
              <a:cxn ang="0">
                <a:pos x="csX441" y="csY441"/>
              </a:cxn>
              <a:cxn ang="0">
                <a:pos x="csX442" y="csY442"/>
              </a:cxn>
              <a:cxn ang="0">
                <a:pos x="csX443" y="csY443"/>
              </a:cxn>
              <a:cxn ang="0">
                <a:pos x="csX444" y="csY444"/>
              </a:cxn>
              <a:cxn ang="0">
                <a:pos x="csX445" y="csY445"/>
              </a:cxn>
              <a:cxn ang="0">
                <a:pos x="csX446" y="csY446"/>
              </a:cxn>
              <a:cxn ang="0">
                <a:pos x="csX447" y="csY447"/>
              </a:cxn>
              <a:cxn ang="0">
                <a:pos x="csX448" y="csY448"/>
              </a:cxn>
              <a:cxn ang="0">
                <a:pos x="csX449" y="csY449"/>
              </a:cxn>
              <a:cxn ang="0">
                <a:pos x="csX450" y="csY450"/>
              </a:cxn>
              <a:cxn ang="0">
                <a:pos x="csX451" y="csY451"/>
              </a:cxn>
              <a:cxn ang="0">
                <a:pos x="csX452" y="csY452"/>
              </a:cxn>
              <a:cxn ang="0">
                <a:pos x="csX453" y="csY453"/>
              </a:cxn>
              <a:cxn ang="0">
                <a:pos x="csX454" y="csY454"/>
              </a:cxn>
              <a:cxn ang="0">
                <a:pos x="csX455" y="csY455"/>
              </a:cxn>
              <a:cxn ang="0">
                <a:pos x="csX456" y="csY456"/>
              </a:cxn>
              <a:cxn ang="0">
                <a:pos x="csX457" y="csY457"/>
              </a:cxn>
              <a:cxn ang="0">
                <a:pos x="csX458" y="csY458"/>
              </a:cxn>
              <a:cxn ang="0">
                <a:pos x="csX459" y="csY459"/>
              </a:cxn>
              <a:cxn ang="0">
                <a:pos x="csX460" y="csY460"/>
              </a:cxn>
              <a:cxn ang="0">
                <a:pos x="csX461" y="csY461"/>
              </a:cxn>
              <a:cxn ang="0">
                <a:pos x="csX462" y="csY462"/>
              </a:cxn>
              <a:cxn ang="0">
                <a:pos x="csX463" y="csY463"/>
              </a:cxn>
              <a:cxn ang="0">
                <a:pos x="csX464" y="csY464"/>
              </a:cxn>
              <a:cxn ang="0">
                <a:pos x="csX465" y="csY465"/>
              </a:cxn>
              <a:cxn ang="0">
                <a:pos x="csX466" y="csY466"/>
              </a:cxn>
              <a:cxn ang="0">
                <a:pos x="csX467" y="csY467"/>
              </a:cxn>
              <a:cxn ang="0">
                <a:pos x="csX468" y="csY468"/>
              </a:cxn>
              <a:cxn ang="0">
                <a:pos x="csX469" y="csY469"/>
              </a:cxn>
              <a:cxn ang="0">
                <a:pos x="csX470" y="csY470"/>
              </a:cxn>
              <a:cxn ang="0">
                <a:pos x="csX471" y="csY471"/>
              </a:cxn>
              <a:cxn ang="0">
                <a:pos x="csX472" y="csY472"/>
              </a:cxn>
              <a:cxn ang="0">
                <a:pos x="csX473" y="csY473"/>
              </a:cxn>
              <a:cxn ang="0">
                <a:pos x="csX474" y="csY474"/>
              </a:cxn>
              <a:cxn ang="0">
                <a:pos x="csX475" y="csY475"/>
              </a:cxn>
              <a:cxn ang="0">
                <a:pos x="csX476" y="csY476"/>
              </a:cxn>
              <a:cxn ang="0">
                <a:pos x="csX477" y="csY477"/>
              </a:cxn>
              <a:cxn ang="0">
                <a:pos x="csX478" y="csY478"/>
              </a:cxn>
              <a:cxn ang="0">
                <a:pos x="csX479" y="csY479"/>
              </a:cxn>
              <a:cxn ang="0">
                <a:pos x="csX480" y="csY480"/>
              </a:cxn>
              <a:cxn ang="0">
                <a:pos x="csX481" y="csY481"/>
              </a:cxn>
              <a:cxn ang="0">
                <a:pos x="csX482" y="csY482"/>
              </a:cxn>
              <a:cxn ang="0">
                <a:pos x="csX483" y="csY483"/>
              </a:cxn>
              <a:cxn ang="0">
                <a:pos x="csX484" y="csY484"/>
              </a:cxn>
              <a:cxn ang="0">
                <a:pos x="csX485" y="csY485"/>
              </a:cxn>
              <a:cxn ang="0">
                <a:pos x="csX486" y="csY486"/>
              </a:cxn>
              <a:cxn ang="0">
                <a:pos x="csX487" y="csY487"/>
              </a:cxn>
              <a:cxn ang="0">
                <a:pos x="csX488" y="csY488"/>
              </a:cxn>
              <a:cxn ang="0">
                <a:pos x="csX489" y="csY489"/>
              </a:cxn>
              <a:cxn ang="0">
                <a:pos x="csX490" y="csY490"/>
              </a:cxn>
              <a:cxn ang="0">
                <a:pos x="csX491" y="csY491"/>
              </a:cxn>
              <a:cxn ang="0">
                <a:pos x="csX492" y="csY492"/>
              </a:cxn>
              <a:cxn ang="0">
                <a:pos x="csX493" y="csY493"/>
              </a:cxn>
              <a:cxn ang="0">
                <a:pos x="csX494" y="csY494"/>
              </a:cxn>
              <a:cxn ang="0">
                <a:pos x="csX495" y="csY495"/>
              </a:cxn>
              <a:cxn ang="0">
                <a:pos x="csX496" y="csY496"/>
              </a:cxn>
              <a:cxn ang="0">
                <a:pos x="csX497" y="csY497"/>
              </a:cxn>
              <a:cxn ang="0">
                <a:pos x="csX498" y="csY498"/>
              </a:cxn>
              <a:cxn ang="0">
                <a:pos x="csX499" y="csY499"/>
              </a:cxn>
              <a:cxn ang="0">
                <a:pos x="csX500" y="csY500"/>
              </a:cxn>
              <a:cxn ang="0">
                <a:pos x="csX501" y="csY501"/>
              </a:cxn>
              <a:cxn ang="0">
                <a:pos x="csX502" y="csY502"/>
              </a:cxn>
              <a:cxn ang="0">
                <a:pos x="csX503" y="csY503"/>
              </a:cxn>
              <a:cxn ang="0">
                <a:pos x="csX504" y="csY504"/>
              </a:cxn>
              <a:cxn ang="0">
                <a:pos x="csX505" y="csY505"/>
              </a:cxn>
              <a:cxn ang="0">
                <a:pos x="csX506" y="csY506"/>
              </a:cxn>
              <a:cxn ang="0">
                <a:pos x="csX507" y="csY507"/>
              </a:cxn>
              <a:cxn ang="0">
                <a:pos x="csX508" y="csY508"/>
              </a:cxn>
              <a:cxn ang="0">
                <a:pos x="csX509" y="csY509"/>
              </a:cxn>
              <a:cxn ang="0">
                <a:pos x="csX510" y="csY510"/>
              </a:cxn>
              <a:cxn ang="0">
                <a:pos x="csX511" y="csY511"/>
              </a:cxn>
              <a:cxn ang="0">
                <a:pos x="csX512" y="csY512"/>
              </a:cxn>
              <a:cxn ang="0">
                <a:pos x="csX513" y="csY513"/>
              </a:cxn>
              <a:cxn ang="0">
                <a:pos x="csX514" y="csY514"/>
              </a:cxn>
              <a:cxn ang="0">
                <a:pos x="csX515" y="csY515"/>
              </a:cxn>
              <a:cxn ang="0">
                <a:pos x="csX516" y="csY516"/>
              </a:cxn>
              <a:cxn ang="0">
                <a:pos x="csX517" y="csY517"/>
              </a:cxn>
              <a:cxn ang="0">
                <a:pos x="csX518" y="csY518"/>
              </a:cxn>
              <a:cxn ang="0">
                <a:pos x="csX519" y="csY519"/>
              </a:cxn>
              <a:cxn ang="0">
                <a:pos x="csX520" y="csY520"/>
              </a:cxn>
              <a:cxn ang="0">
                <a:pos x="csX521" y="csY521"/>
              </a:cxn>
              <a:cxn ang="0">
                <a:pos x="csX522" y="csY522"/>
              </a:cxn>
              <a:cxn ang="0">
                <a:pos x="csX523" y="csY523"/>
              </a:cxn>
              <a:cxn ang="0">
                <a:pos x="csX524" y="csY524"/>
              </a:cxn>
              <a:cxn ang="0">
                <a:pos x="csX525" y="csY525"/>
              </a:cxn>
              <a:cxn ang="0">
                <a:pos x="csX526" y="csY526"/>
              </a:cxn>
              <a:cxn ang="0">
                <a:pos x="csX527" y="csY527"/>
              </a:cxn>
              <a:cxn ang="0">
                <a:pos x="csX528" y="csY528"/>
              </a:cxn>
              <a:cxn ang="0">
                <a:pos x="csX529" y="csY529"/>
              </a:cxn>
              <a:cxn ang="0">
                <a:pos x="csX530" y="csY530"/>
              </a:cxn>
              <a:cxn ang="0">
                <a:pos x="csX531" y="csY531"/>
              </a:cxn>
              <a:cxn ang="0">
                <a:pos x="csX532" y="csY532"/>
              </a:cxn>
              <a:cxn ang="0">
                <a:pos x="csX533" y="csY533"/>
              </a:cxn>
              <a:cxn ang="0">
                <a:pos x="csX534" y="csY534"/>
              </a:cxn>
              <a:cxn ang="0">
                <a:pos x="csX535" y="csY535"/>
              </a:cxn>
              <a:cxn ang="0">
                <a:pos x="csX536" y="csY536"/>
              </a:cxn>
              <a:cxn ang="0">
                <a:pos x="csX537" y="csY537"/>
              </a:cxn>
              <a:cxn ang="0">
                <a:pos x="csX538" y="csY538"/>
              </a:cxn>
              <a:cxn ang="0">
                <a:pos x="csX539" y="csY539"/>
              </a:cxn>
              <a:cxn ang="0">
                <a:pos x="csX540" y="csY540"/>
              </a:cxn>
              <a:cxn ang="0">
                <a:pos x="csX541" y="csY541"/>
              </a:cxn>
              <a:cxn ang="0">
                <a:pos x="csX542" y="csY542"/>
              </a:cxn>
              <a:cxn ang="0">
                <a:pos x="csX543" y="csY543"/>
              </a:cxn>
              <a:cxn ang="0">
                <a:pos x="csX544" y="csY544"/>
              </a:cxn>
              <a:cxn ang="0">
                <a:pos x="csX545" y="csY545"/>
              </a:cxn>
              <a:cxn ang="0">
                <a:pos x="csX546" y="csY546"/>
              </a:cxn>
              <a:cxn ang="0">
                <a:pos x="csX547" y="csY547"/>
              </a:cxn>
              <a:cxn ang="0">
                <a:pos x="csX548" y="csY548"/>
              </a:cxn>
              <a:cxn ang="0">
                <a:pos x="csX549" y="csY549"/>
              </a:cxn>
              <a:cxn ang="0">
                <a:pos x="csX550" y="csY550"/>
              </a:cxn>
              <a:cxn ang="0">
                <a:pos x="csX551" y="csY551"/>
              </a:cxn>
              <a:cxn ang="0">
                <a:pos x="csX552" y="csY552"/>
              </a:cxn>
              <a:cxn ang="0">
                <a:pos x="csX553" y="csY553"/>
              </a:cxn>
              <a:cxn ang="0">
                <a:pos x="csX554" y="csY554"/>
              </a:cxn>
              <a:cxn ang="0">
                <a:pos x="csX555" y="csY555"/>
              </a:cxn>
              <a:cxn ang="0">
                <a:pos x="csX556" y="csY556"/>
              </a:cxn>
              <a:cxn ang="0">
                <a:pos x="csX557" y="csY557"/>
              </a:cxn>
              <a:cxn ang="0">
                <a:pos x="csX558" y="csY558"/>
              </a:cxn>
              <a:cxn ang="0">
                <a:pos x="csX559" y="csY559"/>
              </a:cxn>
              <a:cxn ang="0">
                <a:pos x="csX560" y="csY560"/>
              </a:cxn>
              <a:cxn ang="0">
                <a:pos x="csX561" y="csY561"/>
              </a:cxn>
              <a:cxn ang="0">
                <a:pos x="csX562" y="csY562"/>
              </a:cxn>
              <a:cxn ang="0">
                <a:pos x="csX563" y="csY563"/>
              </a:cxn>
              <a:cxn ang="0">
                <a:pos x="csX564" y="csY564"/>
              </a:cxn>
              <a:cxn ang="0">
                <a:pos x="csX565" y="csY565"/>
              </a:cxn>
              <a:cxn ang="0">
                <a:pos x="csX566" y="csY566"/>
              </a:cxn>
              <a:cxn ang="0">
                <a:pos x="csX567" y="csY567"/>
              </a:cxn>
              <a:cxn ang="0">
                <a:pos x="csX568" y="csY568"/>
              </a:cxn>
              <a:cxn ang="0">
                <a:pos x="csX569" y="csY569"/>
              </a:cxn>
              <a:cxn ang="0">
                <a:pos x="csX570" y="csY570"/>
              </a:cxn>
              <a:cxn ang="0">
                <a:pos x="csX571" y="csY571"/>
              </a:cxn>
              <a:cxn ang="0">
                <a:pos x="csX572" y="csY572"/>
              </a:cxn>
              <a:cxn ang="0">
                <a:pos x="csX573" y="csY573"/>
              </a:cxn>
              <a:cxn ang="0">
                <a:pos x="csX574" y="csY574"/>
              </a:cxn>
              <a:cxn ang="0">
                <a:pos x="csX575" y="csY575"/>
              </a:cxn>
              <a:cxn ang="0">
                <a:pos x="csX576" y="csY576"/>
              </a:cxn>
              <a:cxn ang="0">
                <a:pos x="csX577" y="csY577"/>
              </a:cxn>
              <a:cxn ang="0">
                <a:pos x="csX578" y="csY578"/>
              </a:cxn>
              <a:cxn ang="0">
                <a:pos x="csX579" y="csY579"/>
              </a:cxn>
              <a:cxn ang="0">
                <a:pos x="csX580" y="csY580"/>
              </a:cxn>
              <a:cxn ang="0">
                <a:pos x="csX581" y="csY581"/>
              </a:cxn>
              <a:cxn ang="0">
                <a:pos x="csX582" y="csY582"/>
              </a:cxn>
              <a:cxn ang="0">
                <a:pos x="csX583" y="csY583"/>
              </a:cxn>
              <a:cxn ang="0">
                <a:pos x="csX584" y="csY584"/>
              </a:cxn>
              <a:cxn ang="0">
                <a:pos x="csX585" y="csY585"/>
              </a:cxn>
              <a:cxn ang="0">
                <a:pos x="csX586" y="csY586"/>
              </a:cxn>
              <a:cxn ang="0">
                <a:pos x="csX587" y="csY587"/>
              </a:cxn>
              <a:cxn ang="0">
                <a:pos x="csX588" y="csY588"/>
              </a:cxn>
              <a:cxn ang="0">
                <a:pos x="csX589" y="csY589"/>
              </a:cxn>
              <a:cxn ang="0">
                <a:pos x="csX590" y="csY590"/>
              </a:cxn>
              <a:cxn ang="0">
                <a:pos x="csX591" y="csY591"/>
              </a:cxn>
              <a:cxn ang="0">
                <a:pos x="csX592" y="csY592"/>
              </a:cxn>
              <a:cxn ang="0">
                <a:pos x="csX593" y="csY593"/>
              </a:cxn>
              <a:cxn ang="0">
                <a:pos x="csX594" y="csY594"/>
              </a:cxn>
              <a:cxn ang="0">
                <a:pos x="csX595" y="csY595"/>
              </a:cxn>
              <a:cxn ang="0">
                <a:pos x="csX596" y="csY596"/>
              </a:cxn>
              <a:cxn ang="0">
                <a:pos x="csX597" y="csY597"/>
              </a:cxn>
              <a:cxn ang="0">
                <a:pos x="csX598" y="csY598"/>
              </a:cxn>
              <a:cxn ang="0">
                <a:pos x="csX599" y="csY599"/>
              </a:cxn>
              <a:cxn ang="0">
                <a:pos x="csX600" y="csY600"/>
              </a:cxn>
              <a:cxn ang="0">
                <a:pos x="csX601" y="csY601"/>
              </a:cxn>
              <a:cxn ang="0">
                <a:pos x="csX602" y="csY602"/>
              </a:cxn>
              <a:cxn ang="0">
                <a:pos x="csX603" y="csY603"/>
              </a:cxn>
              <a:cxn ang="0">
                <a:pos x="csX604" y="csY604"/>
              </a:cxn>
              <a:cxn ang="0">
                <a:pos x="csX605" y="csY605"/>
              </a:cxn>
              <a:cxn ang="0">
                <a:pos x="csX606" y="csY606"/>
              </a:cxn>
              <a:cxn ang="0">
                <a:pos x="csX607" y="csY607"/>
              </a:cxn>
              <a:cxn ang="0">
                <a:pos x="csX608" y="csY608"/>
              </a:cxn>
              <a:cxn ang="0">
                <a:pos x="csX609" y="csY609"/>
              </a:cxn>
              <a:cxn ang="0">
                <a:pos x="csX610" y="csY610"/>
              </a:cxn>
              <a:cxn ang="0">
                <a:pos x="csX611" y="csY611"/>
              </a:cxn>
              <a:cxn ang="0">
                <a:pos x="csX612" y="csY612"/>
              </a:cxn>
              <a:cxn ang="0">
                <a:pos x="csX613" y="csY613"/>
              </a:cxn>
              <a:cxn ang="0">
                <a:pos x="csX614" y="csY614"/>
              </a:cxn>
              <a:cxn ang="0">
                <a:pos x="csX615" y="csY615"/>
              </a:cxn>
              <a:cxn ang="0">
                <a:pos x="csX616" y="csY616"/>
              </a:cxn>
              <a:cxn ang="0">
                <a:pos x="csX617" y="csY617"/>
              </a:cxn>
              <a:cxn ang="0">
                <a:pos x="csX618" y="csY618"/>
              </a:cxn>
              <a:cxn ang="0">
                <a:pos x="csX619" y="csY619"/>
              </a:cxn>
              <a:cxn ang="0">
                <a:pos x="csX620" y="csY620"/>
              </a:cxn>
              <a:cxn ang="0">
                <a:pos x="csX621" y="csY621"/>
              </a:cxn>
              <a:cxn ang="0">
                <a:pos x="csX622" y="csY622"/>
              </a:cxn>
              <a:cxn ang="0">
                <a:pos x="csX623" y="csY623"/>
              </a:cxn>
              <a:cxn ang="0">
                <a:pos x="csX624" y="csY624"/>
              </a:cxn>
              <a:cxn ang="0">
                <a:pos x="csX625" y="csY625"/>
              </a:cxn>
              <a:cxn ang="0">
                <a:pos x="csX626" y="csY626"/>
              </a:cxn>
              <a:cxn ang="0">
                <a:pos x="csX627" y="csY627"/>
              </a:cxn>
              <a:cxn ang="0">
                <a:pos x="csX628" y="csY628"/>
              </a:cxn>
              <a:cxn ang="0">
                <a:pos x="csX629" y="csY629"/>
              </a:cxn>
              <a:cxn ang="0">
                <a:pos x="csX630" y="csY630"/>
              </a:cxn>
              <a:cxn ang="0">
                <a:pos x="csX631" y="csY631"/>
              </a:cxn>
              <a:cxn ang="0">
                <a:pos x="csX632" y="csY632"/>
              </a:cxn>
              <a:cxn ang="0">
                <a:pos x="csX633" y="csY633"/>
              </a:cxn>
              <a:cxn ang="0">
                <a:pos x="csX634" y="csY634"/>
              </a:cxn>
              <a:cxn ang="0">
                <a:pos x="csX635" y="csY635"/>
              </a:cxn>
              <a:cxn ang="0">
                <a:pos x="csX636" y="csY636"/>
              </a:cxn>
              <a:cxn ang="0">
                <a:pos x="csX637" y="csY637"/>
              </a:cxn>
              <a:cxn ang="0">
                <a:pos x="csX638" y="csY638"/>
              </a:cxn>
              <a:cxn ang="0">
                <a:pos x="csX639" y="csY639"/>
              </a:cxn>
              <a:cxn ang="0">
                <a:pos x="csX640" y="csY640"/>
              </a:cxn>
              <a:cxn ang="0">
                <a:pos x="csX641" y="csY641"/>
              </a:cxn>
              <a:cxn ang="0">
                <a:pos x="csX642" y="csY642"/>
              </a:cxn>
              <a:cxn ang="0">
                <a:pos x="csX643" y="csY643"/>
              </a:cxn>
              <a:cxn ang="0">
                <a:pos x="csX644" y="csY644"/>
              </a:cxn>
              <a:cxn ang="0">
                <a:pos x="csX645" y="csY645"/>
              </a:cxn>
              <a:cxn ang="0">
                <a:pos x="csX646" y="csY646"/>
              </a:cxn>
              <a:cxn ang="0">
                <a:pos x="csX647" y="csY647"/>
              </a:cxn>
              <a:cxn ang="0">
                <a:pos x="csX648" y="csY648"/>
              </a:cxn>
              <a:cxn ang="0">
                <a:pos x="csX649" y="csY649"/>
              </a:cxn>
              <a:cxn ang="0">
                <a:pos x="csX650" y="csY650"/>
              </a:cxn>
              <a:cxn ang="0">
                <a:pos x="csX651" y="csY651"/>
              </a:cxn>
              <a:cxn ang="0">
                <a:pos x="csX652" y="csY652"/>
              </a:cxn>
              <a:cxn ang="0">
                <a:pos x="csX653" y="csY653"/>
              </a:cxn>
              <a:cxn ang="0">
                <a:pos x="csX654" y="csY654"/>
              </a:cxn>
              <a:cxn ang="0">
                <a:pos x="csX655" y="csY655"/>
              </a:cxn>
              <a:cxn ang="0">
                <a:pos x="csX656" y="csY656"/>
              </a:cxn>
              <a:cxn ang="0">
                <a:pos x="csX657" y="csY657"/>
              </a:cxn>
              <a:cxn ang="0">
                <a:pos x="csX658" y="csY658"/>
              </a:cxn>
              <a:cxn ang="0">
                <a:pos x="csX659" y="csY659"/>
              </a:cxn>
              <a:cxn ang="0">
                <a:pos x="csX660" y="csY660"/>
              </a:cxn>
              <a:cxn ang="0">
                <a:pos x="csX661" y="csY661"/>
              </a:cxn>
              <a:cxn ang="0">
                <a:pos x="csX662" y="csY662"/>
              </a:cxn>
              <a:cxn ang="0">
                <a:pos x="csX663" y="csY663"/>
              </a:cxn>
              <a:cxn ang="0">
                <a:pos x="csX664" y="csY664"/>
              </a:cxn>
              <a:cxn ang="0">
                <a:pos x="csX665" y="csY665"/>
              </a:cxn>
              <a:cxn ang="0">
                <a:pos x="csX666" y="csY666"/>
              </a:cxn>
              <a:cxn ang="0">
                <a:pos x="csX667" y="csY667"/>
              </a:cxn>
              <a:cxn ang="0">
                <a:pos x="csX668" y="csY668"/>
              </a:cxn>
              <a:cxn ang="0">
                <a:pos x="csX669" y="csY669"/>
              </a:cxn>
              <a:cxn ang="0">
                <a:pos x="csX670" y="csY670"/>
              </a:cxn>
              <a:cxn ang="0">
                <a:pos x="csX671" y="csY671"/>
              </a:cxn>
              <a:cxn ang="0">
                <a:pos x="csX672" y="csY672"/>
              </a:cxn>
              <a:cxn ang="0">
                <a:pos x="csX673" y="csY673"/>
              </a:cxn>
              <a:cxn ang="0">
                <a:pos x="csX674" y="csY674"/>
              </a:cxn>
              <a:cxn ang="0">
                <a:pos x="csX675" y="csY675"/>
              </a:cxn>
              <a:cxn ang="0">
                <a:pos x="csX676" y="csY676"/>
              </a:cxn>
              <a:cxn ang="0">
                <a:pos x="csX677" y="csY677"/>
              </a:cxn>
              <a:cxn ang="0">
                <a:pos x="csX678" y="csY678"/>
              </a:cxn>
              <a:cxn ang="0">
                <a:pos x="csX679" y="csY679"/>
              </a:cxn>
              <a:cxn ang="0">
                <a:pos x="csX680" y="csY680"/>
              </a:cxn>
              <a:cxn ang="0">
                <a:pos x="csX681" y="csY681"/>
              </a:cxn>
              <a:cxn ang="0">
                <a:pos x="csX682" y="csY682"/>
              </a:cxn>
              <a:cxn ang="0">
                <a:pos x="csX683" y="csY683"/>
              </a:cxn>
              <a:cxn ang="0">
                <a:pos x="csX684" y="csY684"/>
              </a:cxn>
              <a:cxn ang="0">
                <a:pos x="csX685" y="csY685"/>
              </a:cxn>
              <a:cxn ang="0">
                <a:pos x="csX686" y="csY686"/>
              </a:cxn>
              <a:cxn ang="0">
                <a:pos x="csX687" y="csY687"/>
              </a:cxn>
              <a:cxn ang="0">
                <a:pos x="csX688" y="csY688"/>
              </a:cxn>
              <a:cxn ang="0">
                <a:pos x="csX689" y="csY689"/>
              </a:cxn>
              <a:cxn ang="0">
                <a:pos x="csX690" y="csY690"/>
              </a:cxn>
              <a:cxn ang="0">
                <a:pos x="csX691" y="csY691"/>
              </a:cxn>
              <a:cxn ang="0">
                <a:pos x="csX692" y="csY692"/>
              </a:cxn>
              <a:cxn ang="0">
                <a:pos x="csX693" y="csY693"/>
              </a:cxn>
              <a:cxn ang="0">
                <a:pos x="csX694" y="csY694"/>
              </a:cxn>
              <a:cxn ang="0">
                <a:pos x="csX695" y="csY695"/>
              </a:cxn>
              <a:cxn ang="0">
                <a:pos x="csX696" y="csY696"/>
              </a:cxn>
              <a:cxn ang="0">
                <a:pos x="csX697" y="csY697"/>
              </a:cxn>
              <a:cxn ang="0">
                <a:pos x="csX698" y="csY698"/>
              </a:cxn>
              <a:cxn ang="0">
                <a:pos x="csX699" y="csY699"/>
              </a:cxn>
              <a:cxn ang="0">
                <a:pos x="csX700" y="csY700"/>
              </a:cxn>
              <a:cxn ang="0">
                <a:pos x="csX701" y="csY701"/>
              </a:cxn>
              <a:cxn ang="0">
                <a:pos x="csX702" y="csY702"/>
              </a:cxn>
              <a:cxn ang="0">
                <a:pos x="csX703" y="csY703"/>
              </a:cxn>
              <a:cxn ang="0">
                <a:pos x="csX704" y="csY704"/>
              </a:cxn>
              <a:cxn ang="0">
                <a:pos x="csX705" y="csY705"/>
              </a:cxn>
              <a:cxn ang="0">
                <a:pos x="csX706" y="csY706"/>
              </a:cxn>
              <a:cxn ang="0">
                <a:pos x="csX707" y="csY707"/>
              </a:cxn>
              <a:cxn ang="0">
                <a:pos x="csX708" y="csY708"/>
              </a:cxn>
              <a:cxn ang="0">
                <a:pos x="csX709" y="csY709"/>
              </a:cxn>
              <a:cxn ang="0">
                <a:pos x="csX710" y="csY710"/>
              </a:cxn>
              <a:cxn ang="0">
                <a:pos x="csX711" y="csY711"/>
              </a:cxn>
              <a:cxn ang="0">
                <a:pos x="csX712" y="csY712"/>
              </a:cxn>
              <a:cxn ang="0">
                <a:pos x="csX713" y="csY713"/>
              </a:cxn>
              <a:cxn ang="0">
                <a:pos x="csX714" y="csY714"/>
              </a:cxn>
              <a:cxn ang="0">
                <a:pos x="csX715" y="csY715"/>
              </a:cxn>
              <a:cxn ang="0">
                <a:pos x="csX716" y="csY716"/>
              </a:cxn>
              <a:cxn ang="0">
                <a:pos x="csX717" y="csY717"/>
              </a:cxn>
              <a:cxn ang="0">
                <a:pos x="csX718" y="csY718"/>
              </a:cxn>
              <a:cxn ang="0">
                <a:pos x="csX719" y="csY719"/>
              </a:cxn>
              <a:cxn ang="0">
                <a:pos x="csX720" y="csY720"/>
              </a:cxn>
              <a:cxn ang="0">
                <a:pos x="csX721" y="csY721"/>
              </a:cxn>
              <a:cxn ang="0">
                <a:pos x="csX722" y="csY722"/>
              </a:cxn>
              <a:cxn ang="0">
                <a:pos x="csX723" y="csY723"/>
              </a:cxn>
              <a:cxn ang="0">
                <a:pos x="csX724" y="csY724"/>
              </a:cxn>
              <a:cxn ang="0">
                <a:pos x="csX725" y="csY725"/>
              </a:cxn>
              <a:cxn ang="0">
                <a:pos x="csX726" y="csY726"/>
              </a:cxn>
              <a:cxn ang="0">
                <a:pos x="csX727" y="csY727"/>
              </a:cxn>
              <a:cxn ang="0">
                <a:pos x="csX728" y="csY728"/>
              </a:cxn>
              <a:cxn ang="0">
                <a:pos x="csX729" y="csY729"/>
              </a:cxn>
              <a:cxn ang="0">
                <a:pos x="csX730" y="csY730"/>
              </a:cxn>
              <a:cxn ang="0">
                <a:pos x="csX731" y="csY731"/>
              </a:cxn>
              <a:cxn ang="0">
                <a:pos x="csX732" y="csY732"/>
              </a:cxn>
              <a:cxn ang="0">
                <a:pos x="csX733" y="csY733"/>
              </a:cxn>
              <a:cxn ang="0">
                <a:pos x="csX734" y="csY734"/>
              </a:cxn>
              <a:cxn ang="0">
                <a:pos x="csX735" y="csY735"/>
              </a:cxn>
              <a:cxn ang="0">
                <a:pos x="csX736" y="csY736"/>
              </a:cxn>
              <a:cxn ang="0">
                <a:pos x="csX737" y="csY737"/>
              </a:cxn>
              <a:cxn ang="0">
                <a:pos x="csX738" y="csY738"/>
              </a:cxn>
              <a:cxn ang="0">
                <a:pos x="csX739" y="csY739"/>
              </a:cxn>
              <a:cxn ang="0">
                <a:pos x="csX740" y="csY740"/>
              </a:cxn>
              <a:cxn ang="0">
                <a:pos x="csX741" y="csY741"/>
              </a:cxn>
              <a:cxn ang="0">
                <a:pos x="csX742" y="csY742"/>
              </a:cxn>
              <a:cxn ang="0">
                <a:pos x="csX743" y="csY743"/>
              </a:cxn>
              <a:cxn ang="0">
                <a:pos x="csX744" y="csY744"/>
              </a:cxn>
              <a:cxn ang="0">
                <a:pos x="csX745" y="csY745"/>
              </a:cxn>
              <a:cxn ang="0">
                <a:pos x="csX746" y="csY746"/>
              </a:cxn>
              <a:cxn ang="0">
                <a:pos x="csX747" y="csY747"/>
              </a:cxn>
              <a:cxn ang="0">
                <a:pos x="csX748" y="csY748"/>
              </a:cxn>
              <a:cxn ang="0">
                <a:pos x="csX749" y="csY749"/>
              </a:cxn>
              <a:cxn ang="0">
                <a:pos x="csX750" y="csY750"/>
              </a:cxn>
              <a:cxn ang="0">
                <a:pos x="csX751" y="csY751"/>
              </a:cxn>
              <a:cxn ang="0">
                <a:pos x="csX752" y="csY752"/>
              </a:cxn>
              <a:cxn ang="0">
                <a:pos x="csX753" y="csY753"/>
              </a:cxn>
              <a:cxn ang="0">
                <a:pos x="csX754" y="csY754"/>
              </a:cxn>
              <a:cxn ang="0">
                <a:pos x="csX755" y="csY755"/>
              </a:cxn>
              <a:cxn ang="0">
                <a:pos x="csX756" y="csY756"/>
              </a:cxn>
              <a:cxn ang="0">
                <a:pos x="csX757" y="csY757"/>
              </a:cxn>
              <a:cxn ang="0">
                <a:pos x="csX758" y="csY758"/>
              </a:cxn>
              <a:cxn ang="0">
                <a:pos x="csX759" y="csY759"/>
              </a:cxn>
              <a:cxn ang="0">
                <a:pos x="csX760" y="csY760"/>
              </a:cxn>
              <a:cxn ang="0">
                <a:pos x="csX761" y="csY761"/>
              </a:cxn>
              <a:cxn ang="0">
                <a:pos x="csX762" y="csY762"/>
              </a:cxn>
              <a:cxn ang="0">
                <a:pos x="csX763" y="csY763"/>
              </a:cxn>
              <a:cxn ang="0">
                <a:pos x="csX764" y="csY764"/>
              </a:cxn>
              <a:cxn ang="0">
                <a:pos x="csX765" y="csY765"/>
              </a:cxn>
              <a:cxn ang="0">
                <a:pos x="csX766" y="csY766"/>
              </a:cxn>
              <a:cxn ang="0">
                <a:pos x="csX767" y="csY767"/>
              </a:cxn>
              <a:cxn ang="0">
                <a:pos x="csX768" y="csY768"/>
              </a:cxn>
              <a:cxn ang="0">
                <a:pos x="csX769" y="csY769"/>
              </a:cxn>
              <a:cxn ang="0">
                <a:pos x="csX770" y="csY770"/>
              </a:cxn>
              <a:cxn ang="0">
                <a:pos x="csX771" y="csY771"/>
              </a:cxn>
              <a:cxn ang="0">
                <a:pos x="csX772" y="csY772"/>
              </a:cxn>
              <a:cxn ang="0">
                <a:pos x="csX773" y="csY773"/>
              </a:cxn>
              <a:cxn ang="0">
                <a:pos x="csX774" y="csY774"/>
              </a:cxn>
              <a:cxn ang="0">
                <a:pos x="csX775" y="csY775"/>
              </a:cxn>
              <a:cxn ang="0">
                <a:pos x="csX776" y="csY776"/>
              </a:cxn>
              <a:cxn ang="0">
                <a:pos x="csX777" y="csY777"/>
              </a:cxn>
              <a:cxn ang="0">
                <a:pos x="csX778" y="csY778"/>
              </a:cxn>
              <a:cxn ang="0">
                <a:pos x="csX779" y="csY779"/>
              </a:cxn>
              <a:cxn ang="0">
                <a:pos x="csX780" y="csY780"/>
              </a:cxn>
              <a:cxn ang="0">
                <a:pos x="csX781" y="csY781"/>
              </a:cxn>
              <a:cxn ang="0">
                <a:pos x="csX782" y="csY782"/>
              </a:cxn>
              <a:cxn ang="0">
                <a:pos x="csX783" y="csY783"/>
              </a:cxn>
              <a:cxn ang="0">
                <a:pos x="csX784" y="csY784"/>
              </a:cxn>
              <a:cxn ang="0">
                <a:pos x="csX785" y="csY785"/>
              </a:cxn>
              <a:cxn ang="0">
                <a:pos x="csX786" y="csY786"/>
              </a:cxn>
              <a:cxn ang="0">
                <a:pos x="csX787" y="csY787"/>
              </a:cxn>
              <a:cxn ang="0">
                <a:pos x="csX788" y="csY788"/>
              </a:cxn>
              <a:cxn ang="0">
                <a:pos x="csX789" y="csY789"/>
              </a:cxn>
              <a:cxn ang="0">
                <a:pos x="csX790" y="csY790"/>
              </a:cxn>
              <a:cxn ang="0">
                <a:pos x="csX791" y="csY791"/>
              </a:cxn>
              <a:cxn ang="0">
                <a:pos x="csX792" y="csY792"/>
              </a:cxn>
              <a:cxn ang="0">
                <a:pos x="csX793" y="csY793"/>
              </a:cxn>
              <a:cxn ang="0">
                <a:pos x="csX794" y="csY794"/>
              </a:cxn>
              <a:cxn ang="0">
                <a:pos x="csX795" y="csY795"/>
              </a:cxn>
              <a:cxn ang="0">
                <a:pos x="csX796" y="csY796"/>
              </a:cxn>
              <a:cxn ang="0">
                <a:pos x="csX797" y="csY797"/>
              </a:cxn>
              <a:cxn ang="0">
                <a:pos x="csX798" y="csY798"/>
              </a:cxn>
              <a:cxn ang="0">
                <a:pos x="csX799" y="csY799"/>
              </a:cxn>
              <a:cxn ang="0">
                <a:pos x="csX800" y="csY800"/>
              </a:cxn>
              <a:cxn ang="0">
                <a:pos x="csX801" y="csY801"/>
              </a:cxn>
              <a:cxn ang="0">
                <a:pos x="csX802" y="csY802"/>
              </a:cxn>
              <a:cxn ang="0">
                <a:pos x="csX803" y="csY803"/>
              </a:cxn>
              <a:cxn ang="0">
                <a:pos x="csX804" y="csY804"/>
              </a:cxn>
              <a:cxn ang="0">
                <a:pos x="csX805" y="csY805"/>
              </a:cxn>
              <a:cxn ang="0">
                <a:pos x="csX806" y="csY806"/>
              </a:cxn>
              <a:cxn ang="0">
                <a:pos x="csX807" y="csY807"/>
              </a:cxn>
              <a:cxn ang="0">
                <a:pos x="csX808" y="csY808"/>
              </a:cxn>
              <a:cxn ang="0">
                <a:pos x="csX809" y="csY809"/>
              </a:cxn>
              <a:cxn ang="0">
                <a:pos x="csX810" y="csY810"/>
              </a:cxn>
              <a:cxn ang="0">
                <a:pos x="csX811" y="csY811"/>
              </a:cxn>
              <a:cxn ang="0">
                <a:pos x="csX812" y="csY812"/>
              </a:cxn>
              <a:cxn ang="0">
                <a:pos x="csX813" y="csY813"/>
              </a:cxn>
              <a:cxn ang="0">
                <a:pos x="csX814" y="csY814"/>
              </a:cxn>
              <a:cxn ang="0">
                <a:pos x="csX815" y="csY815"/>
              </a:cxn>
              <a:cxn ang="0">
                <a:pos x="csX816" y="csY816"/>
              </a:cxn>
              <a:cxn ang="0">
                <a:pos x="csX817" y="csY817"/>
              </a:cxn>
              <a:cxn ang="0">
                <a:pos x="csX818" y="csY818"/>
              </a:cxn>
              <a:cxn ang="0">
                <a:pos x="csX819" y="csY819"/>
              </a:cxn>
              <a:cxn ang="0">
                <a:pos x="csX820" y="csY820"/>
              </a:cxn>
              <a:cxn ang="0">
                <a:pos x="csX821" y="csY821"/>
              </a:cxn>
              <a:cxn ang="0">
                <a:pos x="csX822" y="csY822"/>
              </a:cxn>
              <a:cxn ang="0">
                <a:pos x="csX823" y="csY823"/>
              </a:cxn>
              <a:cxn ang="0">
                <a:pos x="csX824" y="csY824"/>
              </a:cxn>
              <a:cxn ang="0">
                <a:pos x="csX825" y="csY825"/>
              </a:cxn>
              <a:cxn ang="0">
                <a:pos x="csX826" y="csY826"/>
              </a:cxn>
              <a:cxn ang="0">
                <a:pos x="csX827" y="csY827"/>
              </a:cxn>
              <a:cxn ang="0">
                <a:pos x="csX828" y="csY828"/>
              </a:cxn>
              <a:cxn ang="0">
                <a:pos x="csX829" y="csY829"/>
              </a:cxn>
              <a:cxn ang="0">
                <a:pos x="csX830" y="csY830"/>
              </a:cxn>
              <a:cxn ang="0">
                <a:pos x="csX831" y="csY831"/>
              </a:cxn>
              <a:cxn ang="0">
                <a:pos x="csX832" y="csY832"/>
              </a:cxn>
              <a:cxn ang="0">
                <a:pos x="csX833" y="csY833"/>
              </a:cxn>
              <a:cxn ang="0">
                <a:pos x="csX834" y="csY834"/>
              </a:cxn>
              <a:cxn ang="0">
                <a:pos x="csX835" y="csY835"/>
              </a:cxn>
              <a:cxn ang="0">
                <a:pos x="csX836" y="csY836"/>
              </a:cxn>
              <a:cxn ang="0">
                <a:pos x="csX837" y="csY837"/>
              </a:cxn>
              <a:cxn ang="0">
                <a:pos x="csX838" y="csY838"/>
              </a:cxn>
              <a:cxn ang="0">
                <a:pos x="csX839" y="csY839"/>
              </a:cxn>
              <a:cxn ang="0">
                <a:pos x="csX840" y="csY840"/>
              </a:cxn>
              <a:cxn ang="0">
                <a:pos x="csX841" y="csY841"/>
              </a:cxn>
              <a:cxn ang="0">
                <a:pos x="csX842" y="csY842"/>
              </a:cxn>
              <a:cxn ang="0">
                <a:pos x="csX843" y="csY843"/>
              </a:cxn>
              <a:cxn ang="0">
                <a:pos x="csX844" y="csY844"/>
              </a:cxn>
              <a:cxn ang="0">
                <a:pos x="csX845" y="csY845"/>
              </a:cxn>
              <a:cxn ang="0">
                <a:pos x="csX846" y="csY846"/>
              </a:cxn>
              <a:cxn ang="0">
                <a:pos x="csX847" y="csY847"/>
              </a:cxn>
              <a:cxn ang="0">
                <a:pos x="csX848" y="csY848"/>
              </a:cxn>
              <a:cxn ang="0">
                <a:pos x="csX849" y="csY849"/>
              </a:cxn>
              <a:cxn ang="0">
                <a:pos x="csX850" y="csY850"/>
              </a:cxn>
              <a:cxn ang="0">
                <a:pos x="csX851" y="csY851"/>
              </a:cxn>
              <a:cxn ang="0">
                <a:pos x="csX852" y="csY852"/>
              </a:cxn>
              <a:cxn ang="0">
                <a:pos x="csX853" y="csY853"/>
              </a:cxn>
              <a:cxn ang="0">
                <a:pos x="csX854" y="csY854"/>
              </a:cxn>
              <a:cxn ang="0">
                <a:pos x="csX855" y="csY855"/>
              </a:cxn>
              <a:cxn ang="0">
                <a:pos x="csX856" y="csY856"/>
              </a:cxn>
              <a:cxn ang="0">
                <a:pos x="csX857" y="csY857"/>
              </a:cxn>
              <a:cxn ang="0">
                <a:pos x="csX858" y="csY858"/>
              </a:cxn>
              <a:cxn ang="0">
                <a:pos x="csX859" y="csY859"/>
              </a:cxn>
              <a:cxn ang="0">
                <a:pos x="csX860" y="csY860"/>
              </a:cxn>
              <a:cxn ang="0">
                <a:pos x="csX861" y="csY861"/>
              </a:cxn>
              <a:cxn ang="0">
                <a:pos x="csX862" y="csY862"/>
              </a:cxn>
              <a:cxn ang="0">
                <a:pos x="csX863" y="csY863"/>
              </a:cxn>
              <a:cxn ang="0">
                <a:pos x="csX864" y="csY864"/>
              </a:cxn>
              <a:cxn ang="0">
                <a:pos x="csX865" y="csY865"/>
              </a:cxn>
              <a:cxn ang="0">
                <a:pos x="csX866" y="csY866"/>
              </a:cxn>
              <a:cxn ang="0">
                <a:pos x="csX867" y="csY867"/>
              </a:cxn>
              <a:cxn ang="0">
                <a:pos x="csX868" y="csY868"/>
              </a:cxn>
              <a:cxn ang="0">
                <a:pos x="csX869" y="csY869"/>
              </a:cxn>
              <a:cxn ang="0">
                <a:pos x="csX870" y="csY870"/>
              </a:cxn>
              <a:cxn ang="0">
                <a:pos x="csX871" y="csY871"/>
              </a:cxn>
              <a:cxn ang="0">
                <a:pos x="csX872" y="csY872"/>
              </a:cxn>
              <a:cxn ang="0">
                <a:pos x="csX873" y="csY873"/>
              </a:cxn>
              <a:cxn ang="0">
                <a:pos x="csX874" y="csY874"/>
              </a:cxn>
              <a:cxn ang="0">
                <a:pos x="csX875" y="csY875"/>
              </a:cxn>
              <a:cxn ang="0">
                <a:pos x="csX876" y="csY876"/>
              </a:cxn>
              <a:cxn ang="0">
                <a:pos x="csX877" y="csY877"/>
              </a:cxn>
              <a:cxn ang="0">
                <a:pos x="csX878" y="csY878"/>
              </a:cxn>
              <a:cxn ang="0">
                <a:pos x="csX879" y="csY879"/>
              </a:cxn>
              <a:cxn ang="0">
                <a:pos x="csX880" y="csY880"/>
              </a:cxn>
              <a:cxn ang="0">
                <a:pos x="csX881" y="csY881"/>
              </a:cxn>
              <a:cxn ang="0">
                <a:pos x="csX882" y="csY882"/>
              </a:cxn>
              <a:cxn ang="0">
                <a:pos x="csX883" y="csY883"/>
              </a:cxn>
              <a:cxn ang="0">
                <a:pos x="csX884" y="csY884"/>
              </a:cxn>
              <a:cxn ang="0">
                <a:pos x="csX885" y="csY885"/>
              </a:cxn>
              <a:cxn ang="0">
                <a:pos x="csX886" y="csY886"/>
              </a:cxn>
              <a:cxn ang="0">
                <a:pos x="csX887" y="csY887"/>
              </a:cxn>
              <a:cxn ang="0">
                <a:pos x="csX888" y="csY888"/>
              </a:cxn>
              <a:cxn ang="0">
                <a:pos x="csX889" y="csY889"/>
              </a:cxn>
              <a:cxn ang="0">
                <a:pos x="csX890" y="csY890"/>
              </a:cxn>
              <a:cxn ang="0">
                <a:pos x="csX891" y="csY891"/>
              </a:cxn>
              <a:cxn ang="0">
                <a:pos x="csX892" y="csY892"/>
              </a:cxn>
              <a:cxn ang="0">
                <a:pos x="csX893" y="csY893"/>
              </a:cxn>
              <a:cxn ang="0">
                <a:pos x="csX894" y="csY894"/>
              </a:cxn>
              <a:cxn ang="0">
                <a:pos x="csX895" y="csY895"/>
              </a:cxn>
              <a:cxn ang="0">
                <a:pos x="csX896" y="csY896"/>
              </a:cxn>
              <a:cxn ang="0">
                <a:pos x="csX897" y="csY897"/>
              </a:cxn>
              <a:cxn ang="0">
                <a:pos x="csX898" y="csY898"/>
              </a:cxn>
              <a:cxn ang="0">
                <a:pos x="csX899" y="csY899"/>
              </a:cxn>
              <a:cxn ang="0">
                <a:pos x="csX900" y="csY900"/>
              </a:cxn>
              <a:cxn ang="0">
                <a:pos x="csX901" y="csY901"/>
              </a:cxn>
              <a:cxn ang="0">
                <a:pos x="csX902" y="csY902"/>
              </a:cxn>
              <a:cxn ang="0">
                <a:pos x="csX903" y="csY903"/>
              </a:cxn>
              <a:cxn ang="0">
                <a:pos x="csX904" y="csY904"/>
              </a:cxn>
              <a:cxn ang="0">
                <a:pos x="csX905" y="csY905"/>
              </a:cxn>
              <a:cxn ang="0">
                <a:pos x="csX906" y="csY906"/>
              </a:cxn>
              <a:cxn ang="0">
                <a:pos x="csX907" y="csY907"/>
              </a:cxn>
              <a:cxn ang="0">
                <a:pos x="csX908" y="csY908"/>
              </a:cxn>
              <a:cxn ang="0">
                <a:pos x="csX909" y="csY909"/>
              </a:cxn>
              <a:cxn ang="0">
                <a:pos x="csX910" y="csY910"/>
              </a:cxn>
              <a:cxn ang="0">
                <a:pos x="csX911" y="csY911"/>
              </a:cxn>
              <a:cxn ang="0">
                <a:pos x="csX912" y="csY912"/>
              </a:cxn>
              <a:cxn ang="0">
                <a:pos x="csX913" y="csY913"/>
              </a:cxn>
              <a:cxn ang="0">
                <a:pos x="csX914" y="csY914"/>
              </a:cxn>
              <a:cxn ang="0">
                <a:pos x="csX915" y="csY915"/>
              </a:cxn>
              <a:cxn ang="0">
                <a:pos x="csX916" y="csY916"/>
              </a:cxn>
              <a:cxn ang="0">
                <a:pos x="csX917" y="csY917"/>
              </a:cxn>
              <a:cxn ang="0">
                <a:pos x="csX918" y="csY918"/>
              </a:cxn>
              <a:cxn ang="0">
                <a:pos x="csX919" y="csY919"/>
              </a:cxn>
              <a:cxn ang="0">
                <a:pos x="csX920" y="csY920"/>
              </a:cxn>
              <a:cxn ang="0">
                <a:pos x="csX921" y="csY921"/>
              </a:cxn>
              <a:cxn ang="0">
                <a:pos x="csX922" y="csY922"/>
              </a:cxn>
              <a:cxn ang="0">
                <a:pos x="csX923" y="csY923"/>
              </a:cxn>
              <a:cxn ang="0">
                <a:pos x="csX924" y="csY924"/>
              </a:cxn>
              <a:cxn ang="0">
                <a:pos x="csX925" y="csY925"/>
              </a:cxn>
              <a:cxn ang="0">
                <a:pos x="csX926" y="csY926"/>
              </a:cxn>
              <a:cxn ang="0">
                <a:pos x="csX927" y="csY927"/>
              </a:cxn>
              <a:cxn ang="0">
                <a:pos x="csX928" y="csY928"/>
              </a:cxn>
              <a:cxn ang="0">
                <a:pos x="csX929" y="csY929"/>
              </a:cxn>
              <a:cxn ang="0">
                <a:pos x="csX930" y="csY930"/>
              </a:cxn>
              <a:cxn ang="0">
                <a:pos x="csX931" y="csY931"/>
              </a:cxn>
              <a:cxn ang="0">
                <a:pos x="csX932" y="csY932"/>
              </a:cxn>
              <a:cxn ang="0">
                <a:pos x="csX933" y="csY933"/>
              </a:cxn>
              <a:cxn ang="0">
                <a:pos x="csX934" y="csY934"/>
              </a:cxn>
              <a:cxn ang="0">
                <a:pos x="csX935" y="csY935"/>
              </a:cxn>
              <a:cxn ang="0">
                <a:pos x="csX936" y="csY936"/>
              </a:cxn>
              <a:cxn ang="0">
                <a:pos x="csX937" y="csY937"/>
              </a:cxn>
              <a:cxn ang="0">
                <a:pos x="csX938" y="csY938"/>
              </a:cxn>
              <a:cxn ang="0">
                <a:pos x="csX939" y="csY939"/>
              </a:cxn>
              <a:cxn ang="0">
                <a:pos x="csX940" y="csY940"/>
              </a:cxn>
              <a:cxn ang="0">
                <a:pos x="csX941" y="csY941"/>
              </a:cxn>
              <a:cxn ang="0">
                <a:pos x="csX942" y="csY942"/>
              </a:cxn>
              <a:cxn ang="0">
                <a:pos x="csX943" y="csY943"/>
              </a:cxn>
              <a:cxn ang="0">
                <a:pos x="csX944" y="csY944"/>
              </a:cxn>
              <a:cxn ang="0">
                <a:pos x="csX945" y="csY945"/>
              </a:cxn>
              <a:cxn ang="0">
                <a:pos x="csX946" y="csY946"/>
              </a:cxn>
              <a:cxn ang="0">
                <a:pos x="csX947" y="csY947"/>
              </a:cxn>
              <a:cxn ang="0">
                <a:pos x="csX948" y="csY948"/>
              </a:cxn>
              <a:cxn ang="0">
                <a:pos x="csX949" y="csY949"/>
              </a:cxn>
              <a:cxn ang="0">
                <a:pos x="csX950" y="csY950"/>
              </a:cxn>
              <a:cxn ang="0">
                <a:pos x="csX951" y="csY951"/>
              </a:cxn>
              <a:cxn ang="0">
                <a:pos x="csX952" y="csY952"/>
              </a:cxn>
              <a:cxn ang="0">
                <a:pos x="csX953" y="csY953"/>
              </a:cxn>
              <a:cxn ang="0">
                <a:pos x="csX954" y="csY954"/>
              </a:cxn>
              <a:cxn ang="0">
                <a:pos x="csX955" y="csY955"/>
              </a:cxn>
              <a:cxn ang="0">
                <a:pos x="csX956" y="csY956"/>
              </a:cxn>
              <a:cxn ang="0">
                <a:pos x="csX957" y="csY957"/>
              </a:cxn>
              <a:cxn ang="0">
                <a:pos x="csX958" y="csY958"/>
              </a:cxn>
              <a:cxn ang="0">
                <a:pos x="csX959" y="csY959"/>
              </a:cxn>
              <a:cxn ang="0">
                <a:pos x="csX960" y="csY960"/>
              </a:cxn>
              <a:cxn ang="0">
                <a:pos x="csX961" y="csY961"/>
              </a:cxn>
              <a:cxn ang="0">
                <a:pos x="csX962" y="csY962"/>
              </a:cxn>
              <a:cxn ang="0">
                <a:pos x="csX963" y="csY963"/>
              </a:cxn>
              <a:cxn ang="0">
                <a:pos x="csX964" y="csY964"/>
              </a:cxn>
              <a:cxn ang="0">
                <a:pos x="csX965" y="csY965"/>
              </a:cxn>
              <a:cxn ang="0">
                <a:pos x="csX966" y="csY966"/>
              </a:cxn>
              <a:cxn ang="0">
                <a:pos x="csX967" y="csY967"/>
              </a:cxn>
              <a:cxn ang="0">
                <a:pos x="csX968" y="csY968"/>
              </a:cxn>
              <a:cxn ang="0">
                <a:pos x="csX969" y="csY969"/>
              </a:cxn>
              <a:cxn ang="0">
                <a:pos x="csX970" y="csY970"/>
              </a:cxn>
              <a:cxn ang="0">
                <a:pos x="csX971" y="csY971"/>
              </a:cxn>
              <a:cxn ang="0">
                <a:pos x="csX972" y="csY972"/>
              </a:cxn>
              <a:cxn ang="0">
                <a:pos x="csX973" y="csY973"/>
              </a:cxn>
              <a:cxn ang="0">
                <a:pos x="csX974" y="csY974"/>
              </a:cxn>
              <a:cxn ang="0">
                <a:pos x="csX975" y="csY975"/>
              </a:cxn>
              <a:cxn ang="0">
                <a:pos x="csX976" y="csY976"/>
              </a:cxn>
              <a:cxn ang="0">
                <a:pos x="csX977" y="csY977"/>
              </a:cxn>
              <a:cxn ang="0">
                <a:pos x="csX978" y="csY978"/>
              </a:cxn>
              <a:cxn ang="0">
                <a:pos x="csX979" y="csY979"/>
              </a:cxn>
              <a:cxn ang="0">
                <a:pos x="csX980" y="csY980"/>
              </a:cxn>
              <a:cxn ang="0">
                <a:pos x="csX981" y="csY981"/>
              </a:cxn>
              <a:cxn ang="0">
                <a:pos x="csX982" y="csY982"/>
              </a:cxn>
              <a:cxn ang="0">
                <a:pos x="csX983" y="csY983"/>
              </a:cxn>
              <a:cxn ang="0">
                <a:pos x="csX984" y="csY984"/>
              </a:cxn>
              <a:cxn ang="0">
                <a:pos x="csX985" y="csY985"/>
              </a:cxn>
              <a:cxn ang="0">
                <a:pos x="csX986" y="csY986"/>
              </a:cxn>
              <a:cxn ang="0">
                <a:pos x="csX987" y="csY987"/>
              </a:cxn>
              <a:cxn ang="0">
                <a:pos x="csX988" y="csY988"/>
              </a:cxn>
              <a:cxn ang="0">
                <a:pos x="csX989" y="csY989"/>
              </a:cxn>
              <a:cxn ang="0">
                <a:pos x="csX990" y="csY990"/>
              </a:cxn>
              <a:cxn ang="0">
                <a:pos x="csX991" y="csY991"/>
              </a:cxn>
              <a:cxn ang="0">
                <a:pos x="csX992" y="csY992"/>
              </a:cxn>
              <a:cxn ang="0">
                <a:pos x="csX993" y="csY993"/>
              </a:cxn>
              <a:cxn ang="0">
                <a:pos x="csX994" y="csY994"/>
              </a:cxn>
              <a:cxn ang="0">
                <a:pos x="csX995" y="csY995"/>
              </a:cxn>
              <a:cxn ang="0">
                <a:pos x="csX996" y="csY996"/>
              </a:cxn>
              <a:cxn ang="0">
                <a:pos x="csX997" y="csY997"/>
              </a:cxn>
              <a:cxn ang="0">
                <a:pos x="csX998" y="csY998"/>
              </a:cxn>
              <a:cxn ang="0">
                <a:pos x="csX999" y="csY999"/>
              </a:cxn>
              <a:cxn ang="0">
                <a:pos x="csX1000" y="csY1000"/>
              </a:cxn>
              <a:cxn ang="0">
                <a:pos x="csX1001" y="csY1001"/>
              </a:cxn>
              <a:cxn ang="0">
                <a:pos x="csX1002" y="csY1002"/>
              </a:cxn>
              <a:cxn ang="0">
                <a:pos x="csX1003" y="csY1003"/>
              </a:cxn>
              <a:cxn ang="0">
                <a:pos x="csX1004" y="csY1004"/>
              </a:cxn>
              <a:cxn ang="0">
                <a:pos x="csX1005" y="csY1005"/>
              </a:cxn>
              <a:cxn ang="0">
                <a:pos x="csX1006" y="csY1006"/>
              </a:cxn>
              <a:cxn ang="0">
                <a:pos x="csX1007" y="csY1007"/>
              </a:cxn>
              <a:cxn ang="0">
                <a:pos x="csX1008" y="csY1008"/>
              </a:cxn>
              <a:cxn ang="0">
                <a:pos x="csX1009" y="csY1009"/>
              </a:cxn>
              <a:cxn ang="0">
                <a:pos x="csX1010" y="csY1010"/>
              </a:cxn>
              <a:cxn ang="0">
                <a:pos x="csX1011" y="csY1011"/>
              </a:cxn>
              <a:cxn ang="0">
                <a:pos x="csX1012" y="csY1012"/>
              </a:cxn>
              <a:cxn ang="0">
                <a:pos x="csX1013" y="csY1013"/>
              </a:cxn>
              <a:cxn ang="0">
                <a:pos x="csX1014" y="csY1014"/>
              </a:cxn>
              <a:cxn ang="0">
                <a:pos x="csX1015" y="csY1015"/>
              </a:cxn>
              <a:cxn ang="0">
                <a:pos x="csX1016" y="csY1016"/>
              </a:cxn>
              <a:cxn ang="0">
                <a:pos x="csX1017" y="csY1017"/>
              </a:cxn>
              <a:cxn ang="0">
                <a:pos x="csX1018" y="csY1018"/>
              </a:cxn>
              <a:cxn ang="0">
                <a:pos x="csX1019" y="csY1019"/>
              </a:cxn>
              <a:cxn ang="0">
                <a:pos x="csX1020" y="csY1020"/>
              </a:cxn>
              <a:cxn ang="0">
                <a:pos x="csX1021" y="csY1021"/>
              </a:cxn>
              <a:cxn ang="0">
                <a:pos x="csX1022" y="csY1022"/>
              </a:cxn>
              <a:cxn ang="0">
                <a:pos x="csX1023" y="csY1023"/>
              </a:cxn>
              <a:cxn ang="0">
                <a:pos x="csX1024" y="csY1024"/>
              </a:cxn>
              <a:cxn ang="0">
                <a:pos x="csX1025" y="csY1025"/>
              </a:cxn>
              <a:cxn ang="0">
                <a:pos x="csX1026" y="csY1026"/>
              </a:cxn>
              <a:cxn ang="0">
                <a:pos x="csX1027" y="csY1027"/>
              </a:cxn>
              <a:cxn ang="0">
                <a:pos x="csX1028" y="csY1028"/>
              </a:cxn>
              <a:cxn ang="0">
                <a:pos x="csX1029" y="csY1029"/>
              </a:cxn>
              <a:cxn ang="0">
                <a:pos x="csX1030" y="csY1030"/>
              </a:cxn>
              <a:cxn ang="0">
                <a:pos x="csX1031" y="csY1031"/>
              </a:cxn>
              <a:cxn ang="0">
                <a:pos x="csX1032" y="csY1032"/>
              </a:cxn>
              <a:cxn ang="0">
                <a:pos x="csX1033" y="csY1033"/>
              </a:cxn>
              <a:cxn ang="0">
                <a:pos x="csX1034" y="csY1034"/>
              </a:cxn>
              <a:cxn ang="0">
                <a:pos x="csX1035" y="csY1035"/>
              </a:cxn>
              <a:cxn ang="0">
                <a:pos x="csX1036" y="csY1036"/>
              </a:cxn>
              <a:cxn ang="0">
                <a:pos x="csX1037" y="csY1037"/>
              </a:cxn>
              <a:cxn ang="0">
                <a:pos x="csX1038" y="csY1038"/>
              </a:cxn>
              <a:cxn ang="0">
                <a:pos x="csX1039" y="csY1039"/>
              </a:cxn>
              <a:cxn ang="0">
                <a:pos x="csX1040" y="csY1040"/>
              </a:cxn>
              <a:cxn ang="0">
                <a:pos x="csX1041" y="csY1041"/>
              </a:cxn>
              <a:cxn ang="0">
                <a:pos x="csX1042" y="csY1042"/>
              </a:cxn>
              <a:cxn ang="0">
                <a:pos x="csX1043" y="csY1043"/>
              </a:cxn>
              <a:cxn ang="0">
                <a:pos x="csX1044" y="csY1044"/>
              </a:cxn>
              <a:cxn ang="0">
                <a:pos x="csX1045" y="csY1045"/>
              </a:cxn>
              <a:cxn ang="0">
                <a:pos x="csX1046" y="csY1046"/>
              </a:cxn>
              <a:cxn ang="0">
                <a:pos x="csX1047" y="csY1047"/>
              </a:cxn>
              <a:cxn ang="0">
                <a:pos x="csX1048" y="csY1048"/>
              </a:cxn>
              <a:cxn ang="0">
                <a:pos x="csX1049" y="csY1049"/>
              </a:cxn>
              <a:cxn ang="0">
                <a:pos x="csX1050" y="csY1050"/>
              </a:cxn>
              <a:cxn ang="0">
                <a:pos x="csX1051" y="csY1051"/>
              </a:cxn>
              <a:cxn ang="0">
                <a:pos x="csX1052" y="csY1052"/>
              </a:cxn>
              <a:cxn ang="0">
                <a:pos x="csX1053" y="csY1053"/>
              </a:cxn>
              <a:cxn ang="0">
                <a:pos x="csX1054" y="csY1054"/>
              </a:cxn>
            </a:cxnLst>
            <a:rect l="l" t="t" r="r" b="b"/>
            <a:pathLst>
              <a:path w="1609516" h="1538630">
                <a:moveTo>
                  <a:pt x="401579" y="1495809"/>
                </a:moveTo>
                <a:lnTo>
                  <a:pt x="400190" y="1496004"/>
                </a:lnTo>
                <a:lnTo>
                  <a:pt x="401224" y="1496470"/>
                </a:lnTo>
                <a:lnTo>
                  <a:pt x="401224" y="1498590"/>
                </a:lnTo>
                <a:lnTo>
                  <a:pt x="401579" y="1498628"/>
                </a:lnTo>
                <a:cubicBezTo>
                  <a:pt x="401579" y="1497698"/>
                  <a:pt x="401579" y="1496768"/>
                  <a:pt x="401579" y="1495809"/>
                </a:cubicBezTo>
                <a:close/>
                <a:moveTo>
                  <a:pt x="368755" y="1486512"/>
                </a:moveTo>
                <a:lnTo>
                  <a:pt x="364089" y="1487354"/>
                </a:lnTo>
                <a:lnTo>
                  <a:pt x="364089" y="1487908"/>
                </a:lnTo>
                <a:close/>
                <a:moveTo>
                  <a:pt x="1049801" y="1484562"/>
                </a:moveTo>
                <a:lnTo>
                  <a:pt x="1046735" y="1485945"/>
                </a:lnTo>
                <a:lnTo>
                  <a:pt x="1046955" y="1486045"/>
                </a:lnTo>
                <a:lnTo>
                  <a:pt x="1049801" y="1485188"/>
                </a:lnTo>
                <a:close/>
                <a:moveTo>
                  <a:pt x="351234" y="1444508"/>
                </a:moveTo>
                <a:lnTo>
                  <a:pt x="351234" y="1444997"/>
                </a:lnTo>
                <a:lnTo>
                  <a:pt x="351592" y="1445078"/>
                </a:lnTo>
                <a:close/>
                <a:moveTo>
                  <a:pt x="351908" y="1431206"/>
                </a:moveTo>
                <a:lnTo>
                  <a:pt x="351234" y="1431611"/>
                </a:lnTo>
                <a:lnTo>
                  <a:pt x="351234" y="1432274"/>
                </a:lnTo>
                <a:close/>
                <a:moveTo>
                  <a:pt x="358162" y="1421494"/>
                </a:moveTo>
                <a:lnTo>
                  <a:pt x="355921" y="1423156"/>
                </a:lnTo>
                <a:lnTo>
                  <a:pt x="355921" y="1423548"/>
                </a:lnTo>
                <a:close/>
                <a:moveTo>
                  <a:pt x="376098" y="1408347"/>
                </a:moveTo>
                <a:lnTo>
                  <a:pt x="370750" y="1412245"/>
                </a:lnTo>
                <a:lnTo>
                  <a:pt x="375023" y="1411256"/>
                </a:lnTo>
                <a:close/>
                <a:moveTo>
                  <a:pt x="421956" y="1365623"/>
                </a:moveTo>
                <a:lnTo>
                  <a:pt x="421765" y="1366161"/>
                </a:lnTo>
                <a:lnTo>
                  <a:pt x="421887" y="1366161"/>
                </a:lnTo>
                <a:close/>
                <a:moveTo>
                  <a:pt x="754553" y="1360575"/>
                </a:moveTo>
                <a:lnTo>
                  <a:pt x="754089" y="1361433"/>
                </a:lnTo>
                <a:lnTo>
                  <a:pt x="754431" y="1361125"/>
                </a:lnTo>
                <a:close/>
                <a:moveTo>
                  <a:pt x="1277973" y="1332923"/>
                </a:moveTo>
                <a:lnTo>
                  <a:pt x="1277944" y="1332936"/>
                </a:lnTo>
                <a:lnTo>
                  <a:pt x="1277949" y="1333139"/>
                </a:lnTo>
                <a:close/>
                <a:moveTo>
                  <a:pt x="1268556" y="1321066"/>
                </a:moveTo>
                <a:cubicBezTo>
                  <a:pt x="1268556" y="1322461"/>
                  <a:pt x="1268556" y="1323856"/>
                  <a:pt x="1268556" y="1325294"/>
                </a:cubicBezTo>
                <a:cubicBezTo>
                  <a:pt x="1267525" y="1325294"/>
                  <a:pt x="1266495" y="1325294"/>
                  <a:pt x="1265432" y="1325294"/>
                </a:cubicBezTo>
                <a:cubicBezTo>
                  <a:pt x="1265432" y="1330409"/>
                  <a:pt x="1265432" y="1335525"/>
                  <a:pt x="1265432" y="1340795"/>
                </a:cubicBezTo>
                <a:lnTo>
                  <a:pt x="1265476" y="1340714"/>
                </a:lnTo>
                <a:lnTo>
                  <a:pt x="1265476" y="1325877"/>
                </a:lnTo>
                <a:cubicBezTo>
                  <a:pt x="1266507" y="1325877"/>
                  <a:pt x="1267538" y="1325877"/>
                  <a:pt x="1268600" y="1325877"/>
                </a:cubicBezTo>
                <a:cubicBezTo>
                  <a:pt x="1268600" y="1324482"/>
                  <a:pt x="1268600" y="1323086"/>
                  <a:pt x="1268600" y="1321649"/>
                </a:cubicBezTo>
                <a:cubicBezTo>
                  <a:pt x="1270147" y="1321649"/>
                  <a:pt x="1271693" y="1321649"/>
                  <a:pt x="1273286" y="1321649"/>
                </a:cubicBezTo>
                <a:lnTo>
                  <a:pt x="1273227" y="1321066"/>
                </a:lnTo>
                <a:close/>
                <a:moveTo>
                  <a:pt x="827891" y="1291474"/>
                </a:moveTo>
                <a:lnTo>
                  <a:pt x="822601" y="1291544"/>
                </a:lnTo>
                <a:lnTo>
                  <a:pt x="818272" y="1292220"/>
                </a:lnTo>
                <a:lnTo>
                  <a:pt x="827891" y="1292047"/>
                </a:lnTo>
                <a:close/>
                <a:moveTo>
                  <a:pt x="856397" y="1288691"/>
                </a:moveTo>
                <a:lnTo>
                  <a:pt x="865903" y="1290590"/>
                </a:lnTo>
                <a:lnTo>
                  <a:pt x="859999" y="1288752"/>
                </a:lnTo>
                <a:close/>
                <a:moveTo>
                  <a:pt x="834694" y="1288572"/>
                </a:moveTo>
                <a:lnTo>
                  <a:pt x="828038" y="1288654"/>
                </a:lnTo>
                <a:lnTo>
                  <a:pt x="828038" y="1289214"/>
                </a:lnTo>
                <a:close/>
                <a:moveTo>
                  <a:pt x="229746" y="1191418"/>
                </a:moveTo>
                <a:lnTo>
                  <a:pt x="227402" y="1191947"/>
                </a:lnTo>
                <a:lnTo>
                  <a:pt x="229315" y="1191947"/>
                </a:lnTo>
                <a:cubicBezTo>
                  <a:pt x="229315" y="1192877"/>
                  <a:pt x="229315" y="1193807"/>
                  <a:pt x="229315" y="1194765"/>
                </a:cubicBezTo>
                <a:lnTo>
                  <a:pt x="231321" y="1194765"/>
                </a:lnTo>
                <a:lnTo>
                  <a:pt x="229746" y="1194236"/>
                </a:lnTo>
                <a:cubicBezTo>
                  <a:pt x="229746" y="1193306"/>
                  <a:pt x="229746" y="1192376"/>
                  <a:pt x="229746" y="1191418"/>
                </a:cubicBezTo>
                <a:close/>
                <a:moveTo>
                  <a:pt x="215687" y="1187190"/>
                </a:moveTo>
                <a:lnTo>
                  <a:pt x="215198" y="1187720"/>
                </a:lnTo>
                <a:lnTo>
                  <a:pt x="215256" y="1187720"/>
                </a:lnTo>
                <a:cubicBezTo>
                  <a:pt x="215256" y="1189115"/>
                  <a:pt x="215256" y="1190510"/>
                  <a:pt x="215256" y="1191947"/>
                </a:cubicBezTo>
                <a:lnTo>
                  <a:pt x="222721" y="1191947"/>
                </a:lnTo>
                <a:lnTo>
                  <a:pt x="215687" y="1191418"/>
                </a:lnTo>
                <a:cubicBezTo>
                  <a:pt x="215687" y="1190023"/>
                  <a:pt x="215687" y="1188628"/>
                  <a:pt x="215687" y="1187190"/>
                </a:cubicBezTo>
                <a:close/>
                <a:moveTo>
                  <a:pt x="1279678" y="1082356"/>
                </a:moveTo>
                <a:lnTo>
                  <a:pt x="1271680" y="1084589"/>
                </a:lnTo>
                <a:lnTo>
                  <a:pt x="1282181" y="1082544"/>
                </a:lnTo>
                <a:close/>
                <a:moveTo>
                  <a:pt x="117703" y="941507"/>
                </a:moveTo>
                <a:lnTo>
                  <a:pt x="112587" y="941985"/>
                </a:lnTo>
                <a:lnTo>
                  <a:pt x="112565" y="942333"/>
                </a:lnTo>
                <a:lnTo>
                  <a:pt x="115665" y="941837"/>
                </a:lnTo>
                <a:close/>
                <a:moveTo>
                  <a:pt x="144268" y="939395"/>
                </a:moveTo>
                <a:lnTo>
                  <a:pt x="143354" y="939580"/>
                </a:lnTo>
                <a:lnTo>
                  <a:pt x="144077" y="939739"/>
                </a:lnTo>
                <a:close/>
                <a:moveTo>
                  <a:pt x="162575" y="933530"/>
                </a:moveTo>
                <a:lnTo>
                  <a:pt x="161704" y="935101"/>
                </a:lnTo>
                <a:lnTo>
                  <a:pt x="170045" y="933585"/>
                </a:lnTo>
                <a:close/>
                <a:moveTo>
                  <a:pt x="1321645" y="918415"/>
                </a:moveTo>
                <a:lnTo>
                  <a:pt x="1321534" y="920177"/>
                </a:lnTo>
                <a:lnTo>
                  <a:pt x="1321740" y="918415"/>
                </a:lnTo>
                <a:close/>
                <a:moveTo>
                  <a:pt x="1319333" y="915183"/>
                </a:moveTo>
                <a:lnTo>
                  <a:pt x="1318544" y="918029"/>
                </a:lnTo>
                <a:lnTo>
                  <a:pt x="1318702" y="918029"/>
                </a:lnTo>
                <a:close/>
                <a:moveTo>
                  <a:pt x="1326355" y="907109"/>
                </a:moveTo>
                <a:lnTo>
                  <a:pt x="1326355" y="910983"/>
                </a:lnTo>
                <a:lnTo>
                  <a:pt x="1325831" y="911101"/>
                </a:lnTo>
                <a:lnTo>
                  <a:pt x="1326426" y="911369"/>
                </a:lnTo>
                <a:cubicBezTo>
                  <a:pt x="1326426" y="909974"/>
                  <a:pt x="1326426" y="908579"/>
                  <a:pt x="1326426" y="907141"/>
                </a:cubicBezTo>
                <a:close/>
                <a:moveTo>
                  <a:pt x="1328144" y="892192"/>
                </a:moveTo>
                <a:lnTo>
                  <a:pt x="1327667" y="893446"/>
                </a:lnTo>
                <a:lnTo>
                  <a:pt x="1327989" y="893049"/>
                </a:lnTo>
                <a:close/>
                <a:moveTo>
                  <a:pt x="49605" y="887420"/>
                </a:moveTo>
                <a:lnTo>
                  <a:pt x="48549" y="891229"/>
                </a:lnTo>
                <a:lnTo>
                  <a:pt x="49956" y="887420"/>
                </a:lnTo>
                <a:close/>
                <a:moveTo>
                  <a:pt x="1332266" y="883369"/>
                </a:moveTo>
                <a:lnTo>
                  <a:pt x="1329479" y="884207"/>
                </a:lnTo>
                <a:lnTo>
                  <a:pt x="1329509" y="884816"/>
                </a:lnTo>
                <a:lnTo>
                  <a:pt x="1329551" y="884594"/>
                </a:lnTo>
                <a:close/>
                <a:moveTo>
                  <a:pt x="1555987" y="821766"/>
                </a:moveTo>
                <a:lnTo>
                  <a:pt x="1555987" y="822201"/>
                </a:lnTo>
                <a:lnTo>
                  <a:pt x="1556081" y="822189"/>
                </a:lnTo>
                <a:close/>
                <a:moveTo>
                  <a:pt x="1565360" y="810928"/>
                </a:moveTo>
                <a:lnTo>
                  <a:pt x="1564871" y="811809"/>
                </a:lnTo>
                <a:lnTo>
                  <a:pt x="1567314" y="810928"/>
                </a:lnTo>
                <a:close/>
                <a:moveTo>
                  <a:pt x="1563797" y="810928"/>
                </a:moveTo>
                <a:lnTo>
                  <a:pt x="1556762" y="814736"/>
                </a:lnTo>
                <a:lnTo>
                  <a:pt x="1563797" y="812197"/>
                </a:lnTo>
                <a:close/>
                <a:moveTo>
                  <a:pt x="265833" y="806020"/>
                </a:moveTo>
                <a:lnTo>
                  <a:pt x="263704" y="809861"/>
                </a:lnTo>
                <a:lnTo>
                  <a:pt x="263704" y="816750"/>
                </a:lnTo>
                <a:lnTo>
                  <a:pt x="264113" y="816565"/>
                </a:lnTo>
                <a:cubicBezTo>
                  <a:pt x="264048" y="815315"/>
                  <a:pt x="263984" y="814065"/>
                  <a:pt x="263918" y="812777"/>
                </a:cubicBezTo>
                <a:close/>
                <a:moveTo>
                  <a:pt x="263774" y="779374"/>
                </a:moveTo>
                <a:lnTo>
                  <a:pt x="263704" y="783086"/>
                </a:lnTo>
                <a:cubicBezTo>
                  <a:pt x="263961" y="783987"/>
                  <a:pt x="264219" y="784888"/>
                  <a:pt x="264484" y="785816"/>
                </a:cubicBezTo>
                <a:cubicBezTo>
                  <a:pt x="265299" y="788846"/>
                  <a:pt x="265316" y="791337"/>
                  <a:pt x="265265" y="794448"/>
                </a:cubicBezTo>
                <a:cubicBezTo>
                  <a:pt x="265103" y="797155"/>
                  <a:pt x="265022" y="798508"/>
                  <a:pt x="265217" y="799730"/>
                </a:cubicBezTo>
                <a:lnTo>
                  <a:pt x="266556" y="803466"/>
                </a:lnTo>
                <a:lnTo>
                  <a:pt x="267237" y="801063"/>
                </a:lnTo>
                <a:cubicBezTo>
                  <a:pt x="266721" y="800598"/>
                  <a:pt x="266206" y="800133"/>
                  <a:pt x="265675" y="799654"/>
                </a:cubicBezTo>
                <a:cubicBezTo>
                  <a:pt x="265601" y="797718"/>
                  <a:pt x="265617" y="795778"/>
                  <a:pt x="265675" y="793841"/>
                </a:cubicBezTo>
                <a:close/>
                <a:moveTo>
                  <a:pt x="260988" y="770061"/>
                </a:moveTo>
                <a:lnTo>
                  <a:pt x="260988" y="771364"/>
                </a:lnTo>
                <a:lnTo>
                  <a:pt x="263497" y="777263"/>
                </a:lnTo>
                <a:lnTo>
                  <a:pt x="262551" y="770061"/>
                </a:lnTo>
                <a:cubicBezTo>
                  <a:pt x="262035" y="770061"/>
                  <a:pt x="261520" y="770061"/>
                  <a:pt x="260988" y="770061"/>
                </a:cubicBezTo>
                <a:close/>
                <a:moveTo>
                  <a:pt x="157888" y="651686"/>
                </a:moveTo>
                <a:lnTo>
                  <a:pt x="157415" y="651764"/>
                </a:lnTo>
                <a:lnTo>
                  <a:pt x="160373" y="652274"/>
                </a:lnTo>
                <a:close/>
                <a:moveTo>
                  <a:pt x="267237" y="426537"/>
                </a:moveTo>
                <a:lnTo>
                  <a:pt x="267237" y="427619"/>
                </a:lnTo>
                <a:cubicBezTo>
                  <a:pt x="268274" y="427791"/>
                  <a:pt x="269311" y="427961"/>
                  <a:pt x="270380" y="428137"/>
                </a:cubicBezTo>
                <a:lnTo>
                  <a:pt x="273548" y="428680"/>
                </a:lnTo>
                <a:close/>
                <a:moveTo>
                  <a:pt x="37605" y="359270"/>
                </a:moveTo>
                <a:lnTo>
                  <a:pt x="37103" y="361533"/>
                </a:lnTo>
                <a:lnTo>
                  <a:pt x="37605" y="361382"/>
                </a:lnTo>
                <a:close/>
                <a:moveTo>
                  <a:pt x="52477" y="337570"/>
                </a:moveTo>
                <a:lnTo>
                  <a:pt x="47288" y="342340"/>
                </a:lnTo>
                <a:lnTo>
                  <a:pt x="45805" y="345093"/>
                </a:lnTo>
                <a:close/>
                <a:moveTo>
                  <a:pt x="104291" y="336166"/>
                </a:moveTo>
                <a:lnTo>
                  <a:pt x="103776" y="337559"/>
                </a:lnTo>
                <a:lnTo>
                  <a:pt x="108925" y="336166"/>
                </a:lnTo>
                <a:close/>
                <a:moveTo>
                  <a:pt x="1309237" y="322954"/>
                </a:moveTo>
                <a:lnTo>
                  <a:pt x="1309180" y="330559"/>
                </a:lnTo>
                <a:lnTo>
                  <a:pt x="1309237" y="330520"/>
                </a:lnTo>
                <a:close/>
                <a:moveTo>
                  <a:pt x="1308964" y="317715"/>
                </a:moveTo>
                <a:lnTo>
                  <a:pt x="1309237" y="318569"/>
                </a:lnTo>
                <a:lnTo>
                  <a:pt x="1309237" y="317838"/>
                </a:lnTo>
                <a:close/>
                <a:moveTo>
                  <a:pt x="1310087" y="313153"/>
                </a:moveTo>
                <a:lnTo>
                  <a:pt x="1307609" y="313473"/>
                </a:lnTo>
                <a:lnTo>
                  <a:pt x="1308045" y="314836"/>
                </a:lnTo>
                <a:close/>
                <a:moveTo>
                  <a:pt x="1318544" y="312064"/>
                </a:moveTo>
                <a:lnTo>
                  <a:pt x="1316298" y="312353"/>
                </a:lnTo>
                <a:lnTo>
                  <a:pt x="1318544" y="312205"/>
                </a:lnTo>
                <a:close/>
                <a:moveTo>
                  <a:pt x="1084622" y="267674"/>
                </a:moveTo>
                <a:lnTo>
                  <a:pt x="1084227" y="268378"/>
                </a:lnTo>
                <a:cubicBezTo>
                  <a:pt x="1082679" y="268378"/>
                  <a:pt x="1081133" y="268378"/>
                  <a:pt x="1079540" y="268378"/>
                </a:cubicBezTo>
                <a:lnTo>
                  <a:pt x="1079603" y="268477"/>
                </a:lnTo>
                <a:lnTo>
                  <a:pt x="1084192" y="268477"/>
                </a:lnTo>
                <a:close/>
                <a:moveTo>
                  <a:pt x="956410" y="266968"/>
                </a:moveTo>
                <a:lnTo>
                  <a:pt x="957576" y="267083"/>
                </a:lnTo>
                <a:lnTo>
                  <a:pt x="957576" y="269776"/>
                </a:lnTo>
                <a:lnTo>
                  <a:pt x="957694" y="269787"/>
                </a:lnTo>
                <a:cubicBezTo>
                  <a:pt x="957694" y="268857"/>
                  <a:pt x="957694" y="267927"/>
                  <a:pt x="957694" y="266968"/>
                </a:cubicBezTo>
                <a:close/>
                <a:moveTo>
                  <a:pt x="1089372" y="259220"/>
                </a:moveTo>
                <a:lnTo>
                  <a:pt x="1085856" y="265479"/>
                </a:lnTo>
                <a:lnTo>
                  <a:pt x="1088878" y="261431"/>
                </a:lnTo>
                <a:close/>
                <a:moveTo>
                  <a:pt x="1018517" y="223356"/>
                </a:moveTo>
                <a:lnTo>
                  <a:pt x="1013866" y="226190"/>
                </a:lnTo>
                <a:lnTo>
                  <a:pt x="1013024" y="227709"/>
                </a:lnTo>
                <a:lnTo>
                  <a:pt x="1017055" y="224692"/>
                </a:lnTo>
                <a:close/>
                <a:moveTo>
                  <a:pt x="850645" y="220099"/>
                </a:moveTo>
                <a:lnTo>
                  <a:pt x="850897" y="221488"/>
                </a:lnTo>
                <a:cubicBezTo>
                  <a:pt x="851086" y="222545"/>
                  <a:pt x="851275" y="223602"/>
                  <a:pt x="851470" y="224692"/>
                </a:cubicBezTo>
                <a:lnTo>
                  <a:pt x="852860" y="224692"/>
                </a:lnTo>
                <a:close/>
                <a:moveTo>
                  <a:pt x="1155019" y="35"/>
                </a:moveTo>
                <a:cubicBezTo>
                  <a:pt x="1161775" y="275"/>
                  <a:pt x="1168415" y="1783"/>
                  <a:pt x="1174829" y="4853"/>
                </a:cubicBezTo>
                <a:cubicBezTo>
                  <a:pt x="1176343" y="5231"/>
                  <a:pt x="1177858" y="5609"/>
                  <a:pt x="1179418" y="5998"/>
                </a:cubicBezTo>
                <a:cubicBezTo>
                  <a:pt x="1189392" y="9487"/>
                  <a:pt x="1196322" y="14392"/>
                  <a:pt x="1201385" y="22997"/>
                </a:cubicBezTo>
                <a:cubicBezTo>
                  <a:pt x="1206849" y="35244"/>
                  <a:pt x="1206940" y="49865"/>
                  <a:pt x="1201678" y="62191"/>
                </a:cubicBezTo>
                <a:cubicBezTo>
                  <a:pt x="1200594" y="64241"/>
                  <a:pt x="1199461" y="66271"/>
                  <a:pt x="1198261" y="68268"/>
                </a:cubicBezTo>
                <a:cubicBezTo>
                  <a:pt x="1197423" y="69721"/>
                  <a:pt x="1196586" y="71175"/>
                  <a:pt x="1195723" y="72672"/>
                </a:cubicBezTo>
                <a:cubicBezTo>
                  <a:pt x="1194659" y="73980"/>
                  <a:pt x="1194659" y="73980"/>
                  <a:pt x="1193575" y="75314"/>
                </a:cubicBezTo>
                <a:cubicBezTo>
                  <a:pt x="1192544" y="75314"/>
                  <a:pt x="1191512" y="75314"/>
                  <a:pt x="1190450" y="75314"/>
                </a:cubicBezTo>
                <a:cubicBezTo>
                  <a:pt x="1190128" y="76651"/>
                  <a:pt x="1189806" y="77988"/>
                  <a:pt x="1189474" y="79366"/>
                </a:cubicBezTo>
                <a:cubicBezTo>
                  <a:pt x="1187326" y="83769"/>
                  <a:pt x="1187326" y="83769"/>
                  <a:pt x="1182445" y="85707"/>
                </a:cubicBezTo>
                <a:cubicBezTo>
                  <a:pt x="1180962" y="85998"/>
                  <a:pt x="1179480" y="86289"/>
                  <a:pt x="1177953" y="86588"/>
                </a:cubicBezTo>
                <a:cubicBezTo>
                  <a:pt x="1177953" y="87518"/>
                  <a:pt x="1177953" y="88448"/>
                  <a:pt x="1177953" y="89406"/>
                </a:cubicBezTo>
                <a:cubicBezTo>
                  <a:pt x="1175369" y="91088"/>
                  <a:pt x="1172720" y="92688"/>
                  <a:pt x="1170045" y="94251"/>
                </a:cubicBezTo>
                <a:cubicBezTo>
                  <a:pt x="1154651" y="104199"/>
                  <a:pt x="1148918" y="116979"/>
                  <a:pt x="1143806" y="132828"/>
                </a:cubicBezTo>
                <a:cubicBezTo>
                  <a:pt x="1142095" y="137144"/>
                  <a:pt x="1140989" y="138617"/>
                  <a:pt x="1137338" y="141548"/>
                </a:cubicBezTo>
                <a:cubicBezTo>
                  <a:pt x="1136166" y="144148"/>
                  <a:pt x="1134992" y="146751"/>
                  <a:pt x="1133970" y="149403"/>
                </a:cubicBezTo>
                <a:cubicBezTo>
                  <a:pt x="1132069" y="154334"/>
                  <a:pt x="1130006" y="159210"/>
                  <a:pt x="1127965" y="164095"/>
                </a:cubicBezTo>
                <a:cubicBezTo>
                  <a:pt x="1126897" y="166664"/>
                  <a:pt x="1125830" y="169233"/>
                  <a:pt x="1124762" y="171802"/>
                </a:cubicBezTo>
                <a:cubicBezTo>
                  <a:pt x="1122961" y="176134"/>
                  <a:pt x="1121160" y="180466"/>
                  <a:pt x="1119359" y="184798"/>
                </a:cubicBezTo>
                <a:cubicBezTo>
                  <a:pt x="1116567" y="191508"/>
                  <a:pt x="1113778" y="198220"/>
                  <a:pt x="1111014" y="204941"/>
                </a:cubicBezTo>
                <a:cubicBezTo>
                  <a:pt x="1110590" y="205970"/>
                  <a:pt x="1110165" y="206999"/>
                  <a:pt x="1109729" y="208059"/>
                </a:cubicBezTo>
                <a:cubicBezTo>
                  <a:pt x="1108615" y="210762"/>
                  <a:pt x="1107505" y="213466"/>
                  <a:pt x="1106395" y="216170"/>
                </a:cubicBezTo>
                <a:cubicBezTo>
                  <a:pt x="1104320" y="220956"/>
                  <a:pt x="1103283" y="223349"/>
                  <a:pt x="1102147" y="224810"/>
                </a:cubicBezTo>
                <a:lnTo>
                  <a:pt x="1098261" y="227262"/>
                </a:lnTo>
                <a:lnTo>
                  <a:pt x="1098367" y="238475"/>
                </a:lnTo>
                <a:cubicBezTo>
                  <a:pt x="1098025" y="239757"/>
                  <a:pt x="1097684" y="241038"/>
                  <a:pt x="1097331" y="242358"/>
                </a:cubicBezTo>
                <a:cubicBezTo>
                  <a:pt x="1096958" y="243711"/>
                  <a:pt x="1096585" y="245064"/>
                  <a:pt x="1096201" y="246458"/>
                </a:cubicBezTo>
                <a:cubicBezTo>
                  <a:pt x="1093302" y="257363"/>
                  <a:pt x="1090901" y="268062"/>
                  <a:pt x="1089440" y="279206"/>
                </a:cubicBezTo>
                <a:cubicBezTo>
                  <a:pt x="1088878" y="282569"/>
                  <a:pt x="1088878" y="282569"/>
                  <a:pt x="1087316" y="283978"/>
                </a:cubicBezTo>
                <a:cubicBezTo>
                  <a:pt x="1087070" y="286587"/>
                  <a:pt x="1086924" y="289205"/>
                  <a:pt x="1086822" y="291822"/>
                </a:cubicBezTo>
                <a:cubicBezTo>
                  <a:pt x="1086756" y="293408"/>
                  <a:pt x="1086691" y="294993"/>
                  <a:pt x="1086623" y="296625"/>
                </a:cubicBezTo>
                <a:cubicBezTo>
                  <a:pt x="1086562" y="298294"/>
                  <a:pt x="1086501" y="299962"/>
                  <a:pt x="1086437" y="301681"/>
                </a:cubicBezTo>
                <a:cubicBezTo>
                  <a:pt x="1086336" y="304192"/>
                  <a:pt x="1086336" y="304192"/>
                  <a:pt x="1086233" y="306754"/>
                </a:cubicBezTo>
                <a:lnTo>
                  <a:pt x="1086007" y="312619"/>
                </a:lnTo>
                <a:lnTo>
                  <a:pt x="1087470" y="320554"/>
                </a:lnTo>
                <a:cubicBezTo>
                  <a:pt x="1089648" y="325409"/>
                  <a:pt x="1093111" y="329799"/>
                  <a:pt x="1098285" y="334611"/>
                </a:cubicBezTo>
                <a:cubicBezTo>
                  <a:pt x="1100424" y="336130"/>
                  <a:pt x="1100424" y="336130"/>
                  <a:pt x="1102607" y="337679"/>
                </a:cubicBezTo>
                <a:cubicBezTo>
                  <a:pt x="1104334" y="338951"/>
                  <a:pt x="1104334" y="338951"/>
                  <a:pt x="1106095" y="340248"/>
                </a:cubicBezTo>
                <a:cubicBezTo>
                  <a:pt x="1106095" y="341178"/>
                  <a:pt x="1106095" y="342108"/>
                  <a:pt x="1106095" y="343066"/>
                </a:cubicBezTo>
                <a:cubicBezTo>
                  <a:pt x="1107127" y="343183"/>
                  <a:pt x="1108158" y="343299"/>
                  <a:pt x="1109220" y="343419"/>
                </a:cubicBezTo>
                <a:cubicBezTo>
                  <a:pt x="1115473" y="344829"/>
                  <a:pt x="1120724" y="347416"/>
                  <a:pt x="1126403" y="350112"/>
                </a:cubicBezTo>
                <a:cubicBezTo>
                  <a:pt x="1128207" y="350926"/>
                  <a:pt x="1130012" y="351740"/>
                  <a:pt x="1131871" y="352579"/>
                </a:cubicBezTo>
                <a:cubicBezTo>
                  <a:pt x="1133159" y="353160"/>
                  <a:pt x="1134448" y="353741"/>
                  <a:pt x="1135776" y="354340"/>
                </a:cubicBezTo>
                <a:cubicBezTo>
                  <a:pt x="1135776" y="355270"/>
                  <a:pt x="1135776" y="356200"/>
                  <a:pt x="1135776" y="357158"/>
                </a:cubicBezTo>
                <a:cubicBezTo>
                  <a:pt x="1148107" y="360029"/>
                  <a:pt x="1158679" y="359101"/>
                  <a:pt x="1170143" y="354340"/>
                </a:cubicBezTo>
                <a:cubicBezTo>
                  <a:pt x="1172366" y="353468"/>
                  <a:pt x="1172366" y="353468"/>
                  <a:pt x="1174634" y="352579"/>
                </a:cubicBezTo>
                <a:cubicBezTo>
                  <a:pt x="1180354" y="349689"/>
                  <a:pt x="1185568" y="346355"/>
                  <a:pt x="1190890" y="342907"/>
                </a:cubicBezTo>
                <a:cubicBezTo>
                  <a:pt x="1195169" y="340228"/>
                  <a:pt x="1199557" y="337821"/>
                  <a:pt x="1204021" y="335404"/>
                </a:cubicBezTo>
                <a:cubicBezTo>
                  <a:pt x="1211989" y="330886"/>
                  <a:pt x="1217509" y="325766"/>
                  <a:pt x="1223255" y="319110"/>
                </a:cubicBezTo>
                <a:cubicBezTo>
                  <a:pt x="1224447" y="317947"/>
                  <a:pt x="1225639" y="316784"/>
                  <a:pt x="1226868" y="315587"/>
                </a:cubicBezTo>
                <a:cubicBezTo>
                  <a:pt x="1229855" y="311593"/>
                  <a:pt x="1230852" y="308240"/>
                  <a:pt x="1231859" y="303559"/>
                </a:cubicBezTo>
                <a:cubicBezTo>
                  <a:pt x="1232628" y="300790"/>
                  <a:pt x="1232628" y="300790"/>
                  <a:pt x="1234178" y="298059"/>
                </a:cubicBezTo>
                <a:cubicBezTo>
                  <a:pt x="1235964" y="294761"/>
                  <a:pt x="1236623" y="291807"/>
                  <a:pt x="1237314" y="288195"/>
                </a:cubicBezTo>
                <a:cubicBezTo>
                  <a:pt x="1239360" y="278571"/>
                  <a:pt x="1242414" y="272733"/>
                  <a:pt x="1249811" y="265559"/>
                </a:cubicBezTo>
                <a:cubicBezTo>
                  <a:pt x="1250842" y="265559"/>
                  <a:pt x="1251873" y="265559"/>
                  <a:pt x="1252935" y="265559"/>
                </a:cubicBezTo>
                <a:cubicBezTo>
                  <a:pt x="1252935" y="264629"/>
                  <a:pt x="1252935" y="263699"/>
                  <a:pt x="1252935" y="262741"/>
                </a:cubicBezTo>
                <a:cubicBezTo>
                  <a:pt x="1265591" y="253427"/>
                  <a:pt x="1280762" y="251648"/>
                  <a:pt x="1296675" y="252876"/>
                </a:cubicBezTo>
                <a:cubicBezTo>
                  <a:pt x="1300535" y="253563"/>
                  <a:pt x="1303901" y="254478"/>
                  <a:pt x="1307609" y="255695"/>
                </a:cubicBezTo>
                <a:cubicBezTo>
                  <a:pt x="1307609" y="256625"/>
                  <a:pt x="1307609" y="257555"/>
                  <a:pt x="1307609" y="258513"/>
                </a:cubicBezTo>
                <a:cubicBezTo>
                  <a:pt x="1309021" y="258619"/>
                  <a:pt x="1310432" y="258723"/>
                  <a:pt x="1311887" y="258832"/>
                </a:cubicBezTo>
                <a:cubicBezTo>
                  <a:pt x="1319573" y="260476"/>
                  <a:pt x="1322149" y="264416"/>
                  <a:pt x="1326715" y="269969"/>
                </a:cubicBezTo>
                <a:cubicBezTo>
                  <a:pt x="1334402" y="281220"/>
                  <a:pt x="1336114" y="294839"/>
                  <a:pt x="1334165" y="307836"/>
                </a:cubicBezTo>
                <a:cubicBezTo>
                  <a:pt x="1332176" y="311898"/>
                  <a:pt x="1332176" y="311898"/>
                  <a:pt x="1329479" y="314882"/>
                </a:cubicBezTo>
                <a:cubicBezTo>
                  <a:pt x="1327417" y="314882"/>
                  <a:pt x="1325355" y="314882"/>
                  <a:pt x="1323231" y="314882"/>
                </a:cubicBezTo>
                <a:cubicBezTo>
                  <a:pt x="1323231" y="315812"/>
                  <a:pt x="1323231" y="316742"/>
                  <a:pt x="1323231" y="317700"/>
                </a:cubicBezTo>
                <a:lnTo>
                  <a:pt x="1322774" y="317838"/>
                </a:lnTo>
                <a:lnTo>
                  <a:pt x="1323295" y="317838"/>
                </a:lnTo>
                <a:cubicBezTo>
                  <a:pt x="1323295" y="316907"/>
                  <a:pt x="1323295" y="315977"/>
                  <a:pt x="1323295" y="315019"/>
                </a:cubicBezTo>
                <a:cubicBezTo>
                  <a:pt x="1324842" y="315019"/>
                  <a:pt x="1326388" y="315019"/>
                  <a:pt x="1327982" y="315019"/>
                </a:cubicBezTo>
                <a:cubicBezTo>
                  <a:pt x="1325845" y="321328"/>
                  <a:pt x="1322753" y="323742"/>
                  <a:pt x="1317047" y="327702"/>
                </a:cubicBezTo>
                <a:cubicBezTo>
                  <a:pt x="1316531" y="329097"/>
                  <a:pt x="1316016" y="330492"/>
                  <a:pt x="1315484" y="331930"/>
                </a:cubicBezTo>
                <a:cubicBezTo>
                  <a:pt x="1312599" y="332959"/>
                  <a:pt x="1312599" y="332959"/>
                  <a:pt x="1309139" y="333603"/>
                </a:cubicBezTo>
                <a:cubicBezTo>
                  <a:pt x="1307993" y="333827"/>
                  <a:pt x="1306847" y="334050"/>
                  <a:pt x="1305666" y="334280"/>
                </a:cubicBezTo>
                <a:cubicBezTo>
                  <a:pt x="1304783" y="334434"/>
                  <a:pt x="1303899" y="334589"/>
                  <a:pt x="1302988" y="334748"/>
                </a:cubicBezTo>
                <a:lnTo>
                  <a:pt x="1305905" y="332775"/>
                </a:lnTo>
                <a:lnTo>
                  <a:pt x="1304485" y="333202"/>
                </a:lnTo>
                <a:cubicBezTo>
                  <a:pt x="1302987" y="334640"/>
                  <a:pt x="1302987" y="334640"/>
                  <a:pt x="1301459" y="336108"/>
                </a:cubicBezTo>
                <a:cubicBezTo>
                  <a:pt x="1298237" y="338839"/>
                  <a:pt x="1298237" y="338839"/>
                  <a:pt x="1291989" y="338839"/>
                </a:cubicBezTo>
                <a:cubicBezTo>
                  <a:pt x="1291473" y="340234"/>
                  <a:pt x="1290957" y="341629"/>
                  <a:pt x="1290426" y="343066"/>
                </a:cubicBezTo>
                <a:cubicBezTo>
                  <a:pt x="1288879" y="343415"/>
                  <a:pt x="1287333" y="343764"/>
                  <a:pt x="1285740" y="344123"/>
                </a:cubicBezTo>
                <a:cubicBezTo>
                  <a:pt x="1266905" y="348491"/>
                  <a:pt x="1249005" y="369098"/>
                  <a:pt x="1237314" y="382525"/>
                </a:cubicBezTo>
                <a:cubicBezTo>
                  <a:pt x="1235678" y="385783"/>
                  <a:pt x="1234122" y="389075"/>
                  <a:pt x="1232628" y="392389"/>
                </a:cubicBezTo>
                <a:cubicBezTo>
                  <a:pt x="1231317" y="394515"/>
                  <a:pt x="1229981" y="396629"/>
                  <a:pt x="1228625" y="398731"/>
                </a:cubicBezTo>
                <a:cubicBezTo>
                  <a:pt x="1221457" y="410300"/>
                  <a:pt x="1219465" y="421836"/>
                  <a:pt x="1222822" y="434798"/>
                </a:cubicBezTo>
                <a:cubicBezTo>
                  <a:pt x="1229360" y="453710"/>
                  <a:pt x="1244088" y="472467"/>
                  <a:pt x="1260746" y="485398"/>
                </a:cubicBezTo>
                <a:cubicBezTo>
                  <a:pt x="1264961" y="487349"/>
                  <a:pt x="1264961" y="487349"/>
                  <a:pt x="1268556" y="488216"/>
                </a:cubicBezTo>
                <a:cubicBezTo>
                  <a:pt x="1268556" y="489146"/>
                  <a:pt x="1268556" y="490076"/>
                  <a:pt x="1268556" y="491034"/>
                </a:cubicBezTo>
                <a:cubicBezTo>
                  <a:pt x="1288790" y="497071"/>
                  <a:pt x="1319055" y="498555"/>
                  <a:pt x="1338852" y="489625"/>
                </a:cubicBezTo>
                <a:cubicBezTo>
                  <a:pt x="1341711" y="489213"/>
                  <a:pt x="1344575" y="488837"/>
                  <a:pt x="1347444" y="488480"/>
                </a:cubicBezTo>
                <a:cubicBezTo>
                  <a:pt x="1355372" y="487345"/>
                  <a:pt x="1362033" y="485390"/>
                  <a:pt x="1369362" y="482513"/>
                </a:cubicBezTo>
                <a:cubicBezTo>
                  <a:pt x="1375665" y="480318"/>
                  <a:pt x="1382189" y="479322"/>
                  <a:pt x="1388840" y="478351"/>
                </a:cubicBezTo>
                <a:cubicBezTo>
                  <a:pt x="1388840" y="477421"/>
                  <a:pt x="1388840" y="476492"/>
                  <a:pt x="1388840" y="475533"/>
                </a:cubicBezTo>
                <a:cubicBezTo>
                  <a:pt x="1391083" y="474821"/>
                  <a:pt x="1393329" y="474118"/>
                  <a:pt x="1395576" y="473419"/>
                </a:cubicBezTo>
                <a:cubicBezTo>
                  <a:pt x="1396827" y="473027"/>
                  <a:pt x="1398077" y="472635"/>
                  <a:pt x="1399365" y="472230"/>
                </a:cubicBezTo>
                <a:cubicBezTo>
                  <a:pt x="1402899" y="471305"/>
                  <a:pt x="1402899" y="471305"/>
                  <a:pt x="1407585" y="471305"/>
                </a:cubicBezTo>
                <a:cubicBezTo>
                  <a:pt x="1408101" y="469910"/>
                  <a:pt x="1408616" y="468515"/>
                  <a:pt x="1409147" y="467078"/>
                </a:cubicBezTo>
                <a:cubicBezTo>
                  <a:pt x="1412388" y="465580"/>
                  <a:pt x="1412388" y="465580"/>
                  <a:pt x="1416470" y="464259"/>
                </a:cubicBezTo>
                <a:cubicBezTo>
                  <a:pt x="1424029" y="461705"/>
                  <a:pt x="1431130" y="458955"/>
                  <a:pt x="1437949" y="455011"/>
                </a:cubicBezTo>
                <a:cubicBezTo>
                  <a:pt x="1442765" y="452574"/>
                  <a:pt x="1447553" y="451394"/>
                  <a:pt x="1452887" y="450167"/>
                </a:cubicBezTo>
                <a:cubicBezTo>
                  <a:pt x="1452887" y="449237"/>
                  <a:pt x="1452887" y="448307"/>
                  <a:pt x="1452887" y="447349"/>
                </a:cubicBezTo>
                <a:cubicBezTo>
                  <a:pt x="1453714" y="446944"/>
                  <a:pt x="1454541" y="446539"/>
                  <a:pt x="1455394" y="446122"/>
                </a:cubicBezTo>
                <a:cubicBezTo>
                  <a:pt x="1459151" y="444278"/>
                  <a:pt x="1462902" y="442422"/>
                  <a:pt x="1466653" y="440567"/>
                </a:cubicBezTo>
                <a:cubicBezTo>
                  <a:pt x="1467955" y="439930"/>
                  <a:pt x="1469256" y="439293"/>
                  <a:pt x="1470598" y="438637"/>
                </a:cubicBezTo>
                <a:cubicBezTo>
                  <a:pt x="1471852" y="438016"/>
                  <a:pt x="1473105" y="437393"/>
                  <a:pt x="1474397" y="436752"/>
                </a:cubicBezTo>
                <a:cubicBezTo>
                  <a:pt x="1475550" y="436184"/>
                  <a:pt x="1476703" y="435616"/>
                  <a:pt x="1477892" y="435030"/>
                </a:cubicBezTo>
                <a:cubicBezTo>
                  <a:pt x="1480966" y="433279"/>
                  <a:pt x="1483173" y="431373"/>
                  <a:pt x="1485691" y="429029"/>
                </a:cubicBezTo>
                <a:cubicBezTo>
                  <a:pt x="1486737" y="428575"/>
                  <a:pt x="1487781" y="428121"/>
                  <a:pt x="1488858" y="427653"/>
                </a:cubicBezTo>
                <a:cubicBezTo>
                  <a:pt x="1492438" y="425977"/>
                  <a:pt x="1493705" y="424453"/>
                  <a:pt x="1495943" y="421454"/>
                </a:cubicBezTo>
                <a:cubicBezTo>
                  <a:pt x="1507114" y="407544"/>
                  <a:pt x="1519758" y="393513"/>
                  <a:pt x="1538608" y="388338"/>
                </a:cubicBezTo>
                <a:cubicBezTo>
                  <a:pt x="1541025" y="388250"/>
                  <a:pt x="1541025" y="388250"/>
                  <a:pt x="1543490" y="388161"/>
                </a:cubicBezTo>
                <a:cubicBezTo>
                  <a:pt x="1545535" y="387984"/>
                  <a:pt x="1545535" y="387984"/>
                  <a:pt x="1547621" y="387804"/>
                </a:cubicBezTo>
                <a:cubicBezTo>
                  <a:pt x="1560659" y="387094"/>
                  <a:pt x="1568716" y="390117"/>
                  <a:pt x="1579418" y="396617"/>
                </a:cubicBezTo>
                <a:cubicBezTo>
                  <a:pt x="1581361" y="397687"/>
                  <a:pt x="1581361" y="397687"/>
                  <a:pt x="1583342" y="398780"/>
                </a:cubicBezTo>
                <a:cubicBezTo>
                  <a:pt x="1593703" y="405068"/>
                  <a:pt x="1598513" y="412459"/>
                  <a:pt x="1601288" y="423392"/>
                </a:cubicBezTo>
                <a:cubicBezTo>
                  <a:pt x="1603295" y="436596"/>
                  <a:pt x="1603517" y="449033"/>
                  <a:pt x="1594484" y="460159"/>
                </a:cubicBezTo>
                <a:cubicBezTo>
                  <a:pt x="1588468" y="466462"/>
                  <a:pt x="1582607" y="471150"/>
                  <a:pt x="1574732" y="475533"/>
                </a:cubicBezTo>
                <a:cubicBezTo>
                  <a:pt x="1573862" y="476043"/>
                  <a:pt x="1572993" y="476553"/>
                  <a:pt x="1572097" y="477078"/>
                </a:cubicBezTo>
                <a:cubicBezTo>
                  <a:pt x="1566828" y="478935"/>
                  <a:pt x="1561641" y="478744"/>
                  <a:pt x="1556066" y="478737"/>
                </a:cubicBezTo>
                <a:cubicBezTo>
                  <a:pt x="1553587" y="478765"/>
                  <a:pt x="1551109" y="478795"/>
                  <a:pt x="1548631" y="478825"/>
                </a:cubicBezTo>
                <a:cubicBezTo>
                  <a:pt x="1544751" y="478857"/>
                  <a:pt x="1540871" y="478880"/>
                  <a:pt x="1536991" y="478889"/>
                </a:cubicBezTo>
                <a:cubicBezTo>
                  <a:pt x="1516714" y="478693"/>
                  <a:pt x="1516714" y="478693"/>
                  <a:pt x="1498188" y="485398"/>
                </a:cubicBezTo>
                <a:cubicBezTo>
                  <a:pt x="1496062" y="486488"/>
                  <a:pt x="1496062" y="486488"/>
                  <a:pt x="1493892" y="487600"/>
                </a:cubicBezTo>
                <a:cubicBezTo>
                  <a:pt x="1492733" y="488268"/>
                  <a:pt x="1491573" y="488937"/>
                  <a:pt x="1490377" y="489625"/>
                </a:cubicBezTo>
                <a:cubicBezTo>
                  <a:pt x="1484304" y="493012"/>
                  <a:pt x="1478212" y="495675"/>
                  <a:pt x="1471650" y="498185"/>
                </a:cubicBezTo>
                <a:cubicBezTo>
                  <a:pt x="1467148" y="500054"/>
                  <a:pt x="1463242" y="502632"/>
                  <a:pt x="1459135" y="505127"/>
                </a:cubicBezTo>
                <a:cubicBezTo>
                  <a:pt x="1456968" y="506120"/>
                  <a:pt x="1454786" y="507086"/>
                  <a:pt x="1452594" y="508033"/>
                </a:cubicBezTo>
                <a:cubicBezTo>
                  <a:pt x="1444148" y="511772"/>
                  <a:pt x="1435969" y="515903"/>
                  <a:pt x="1427795" y="520100"/>
                </a:cubicBezTo>
                <a:cubicBezTo>
                  <a:pt x="1425784" y="521114"/>
                  <a:pt x="1425784" y="521114"/>
                  <a:pt x="1423733" y="522148"/>
                </a:cubicBezTo>
                <a:cubicBezTo>
                  <a:pt x="1422478" y="522798"/>
                  <a:pt x="1421223" y="523449"/>
                  <a:pt x="1419929" y="524118"/>
                </a:cubicBezTo>
                <a:cubicBezTo>
                  <a:pt x="1418794" y="524701"/>
                  <a:pt x="1417658" y="525283"/>
                  <a:pt x="1416487" y="525883"/>
                </a:cubicBezTo>
                <a:cubicBezTo>
                  <a:pt x="1413349" y="527646"/>
                  <a:pt x="1413349" y="527646"/>
                  <a:pt x="1412271" y="531902"/>
                </a:cubicBezTo>
                <a:cubicBezTo>
                  <a:pt x="1407205" y="535203"/>
                  <a:pt x="1402819" y="536744"/>
                  <a:pt x="1396650" y="537539"/>
                </a:cubicBezTo>
                <a:cubicBezTo>
                  <a:pt x="1396650" y="538469"/>
                  <a:pt x="1396650" y="539399"/>
                  <a:pt x="1396650" y="540357"/>
                </a:cubicBezTo>
                <a:cubicBezTo>
                  <a:pt x="1395609" y="540735"/>
                  <a:pt x="1394568" y="541113"/>
                  <a:pt x="1393495" y="541502"/>
                </a:cubicBezTo>
                <a:cubicBezTo>
                  <a:pt x="1381840" y="545973"/>
                  <a:pt x="1372279" y="551715"/>
                  <a:pt x="1362284" y="558678"/>
                </a:cubicBezTo>
                <a:cubicBezTo>
                  <a:pt x="1360170" y="560088"/>
                  <a:pt x="1358055" y="561497"/>
                  <a:pt x="1355937" y="562905"/>
                </a:cubicBezTo>
                <a:cubicBezTo>
                  <a:pt x="1348556" y="567937"/>
                  <a:pt x="1341292" y="573085"/>
                  <a:pt x="1334165" y="578406"/>
                </a:cubicBezTo>
                <a:cubicBezTo>
                  <a:pt x="1332697" y="579472"/>
                  <a:pt x="1332697" y="579472"/>
                  <a:pt x="1331200" y="580559"/>
                </a:cubicBezTo>
                <a:cubicBezTo>
                  <a:pt x="1325067" y="585430"/>
                  <a:pt x="1323406" y="589771"/>
                  <a:pt x="1322175" y="596793"/>
                </a:cubicBezTo>
                <a:cubicBezTo>
                  <a:pt x="1321669" y="599545"/>
                  <a:pt x="1321669" y="599545"/>
                  <a:pt x="1320106" y="602363"/>
                </a:cubicBezTo>
                <a:cubicBezTo>
                  <a:pt x="1318419" y="618189"/>
                  <a:pt x="1322416" y="632767"/>
                  <a:pt x="1328015" y="647640"/>
                </a:cubicBezTo>
                <a:cubicBezTo>
                  <a:pt x="1331267" y="656625"/>
                  <a:pt x="1333170" y="666179"/>
                  <a:pt x="1332604" y="675643"/>
                </a:cubicBezTo>
                <a:cubicBezTo>
                  <a:pt x="1333634" y="675643"/>
                  <a:pt x="1334665" y="675643"/>
                  <a:pt x="1335727" y="675643"/>
                </a:cubicBezTo>
                <a:cubicBezTo>
                  <a:pt x="1337571" y="680632"/>
                  <a:pt x="1337591" y="684795"/>
                  <a:pt x="1337741" y="690059"/>
                </a:cubicBezTo>
                <a:cubicBezTo>
                  <a:pt x="1337826" y="692114"/>
                  <a:pt x="1337913" y="694168"/>
                  <a:pt x="1338003" y="696222"/>
                </a:cubicBezTo>
                <a:cubicBezTo>
                  <a:pt x="1338142" y="699444"/>
                  <a:pt x="1338266" y="702664"/>
                  <a:pt x="1338340" y="705887"/>
                </a:cubicBezTo>
                <a:cubicBezTo>
                  <a:pt x="1338372" y="720474"/>
                  <a:pt x="1338372" y="720474"/>
                  <a:pt x="1345277" y="733245"/>
                </a:cubicBezTo>
                <a:cubicBezTo>
                  <a:pt x="1350822" y="737861"/>
                  <a:pt x="1355921" y="739823"/>
                  <a:pt x="1363162" y="741612"/>
                </a:cubicBezTo>
                <a:cubicBezTo>
                  <a:pt x="1370672" y="743533"/>
                  <a:pt x="1377197" y="745750"/>
                  <a:pt x="1384154" y="748922"/>
                </a:cubicBezTo>
                <a:cubicBezTo>
                  <a:pt x="1387833" y="749898"/>
                  <a:pt x="1387833" y="749898"/>
                  <a:pt x="1391476" y="750419"/>
                </a:cubicBezTo>
                <a:cubicBezTo>
                  <a:pt x="1393499" y="750747"/>
                  <a:pt x="1393499" y="750747"/>
                  <a:pt x="1395564" y="751080"/>
                </a:cubicBezTo>
                <a:cubicBezTo>
                  <a:pt x="1397648" y="751407"/>
                  <a:pt x="1397648" y="751407"/>
                  <a:pt x="1399775" y="751740"/>
                </a:cubicBezTo>
                <a:cubicBezTo>
                  <a:pt x="1401810" y="752111"/>
                  <a:pt x="1401810" y="752111"/>
                  <a:pt x="1403887" y="752489"/>
                </a:cubicBezTo>
                <a:cubicBezTo>
                  <a:pt x="1424247" y="756131"/>
                  <a:pt x="1444708" y="756350"/>
                  <a:pt x="1465383" y="755969"/>
                </a:cubicBezTo>
                <a:cubicBezTo>
                  <a:pt x="1467019" y="755945"/>
                  <a:pt x="1468654" y="755921"/>
                  <a:pt x="1470339" y="755897"/>
                </a:cubicBezTo>
                <a:cubicBezTo>
                  <a:pt x="1480128" y="755450"/>
                  <a:pt x="1487899" y="752933"/>
                  <a:pt x="1496809" y="749313"/>
                </a:cubicBezTo>
                <a:cubicBezTo>
                  <a:pt x="1502876" y="746888"/>
                  <a:pt x="1509049" y="745091"/>
                  <a:pt x="1515371" y="743285"/>
                </a:cubicBezTo>
                <a:cubicBezTo>
                  <a:pt x="1515371" y="742356"/>
                  <a:pt x="1515371" y="741425"/>
                  <a:pt x="1515371" y="740467"/>
                </a:cubicBezTo>
                <a:cubicBezTo>
                  <a:pt x="1522710" y="737103"/>
                  <a:pt x="1529583" y="737106"/>
                  <a:pt x="1537632" y="737120"/>
                </a:cubicBezTo>
                <a:cubicBezTo>
                  <a:pt x="1538960" y="737122"/>
                  <a:pt x="1540289" y="737124"/>
                  <a:pt x="1541657" y="737127"/>
                </a:cubicBezTo>
                <a:cubicBezTo>
                  <a:pt x="1555502" y="737372"/>
                  <a:pt x="1564314" y="740697"/>
                  <a:pt x="1574732" y="748922"/>
                </a:cubicBezTo>
                <a:cubicBezTo>
                  <a:pt x="1586507" y="762822"/>
                  <a:pt x="1590347" y="775219"/>
                  <a:pt x="1588791" y="792608"/>
                </a:cubicBezTo>
                <a:cubicBezTo>
                  <a:pt x="1587728" y="797050"/>
                  <a:pt x="1586468" y="801261"/>
                  <a:pt x="1584105" y="805291"/>
                </a:cubicBezTo>
                <a:cubicBezTo>
                  <a:pt x="1583074" y="805756"/>
                  <a:pt x="1582043" y="806221"/>
                  <a:pt x="1580981" y="806700"/>
                </a:cubicBezTo>
                <a:cubicBezTo>
                  <a:pt x="1580240" y="807892"/>
                  <a:pt x="1579499" y="809083"/>
                  <a:pt x="1578735" y="810311"/>
                </a:cubicBezTo>
                <a:cubicBezTo>
                  <a:pt x="1577930" y="811445"/>
                  <a:pt x="1577124" y="812579"/>
                  <a:pt x="1576295" y="813746"/>
                </a:cubicBezTo>
                <a:lnTo>
                  <a:pt x="1571652" y="813746"/>
                </a:lnTo>
                <a:lnTo>
                  <a:pt x="1571785" y="814106"/>
                </a:lnTo>
                <a:cubicBezTo>
                  <a:pt x="1572816" y="814571"/>
                  <a:pt x="1573846" y="815036"/>
                  <a:pt x="1574909" y="815515"/>
                </a:cubicBezTo>
                <a:cubicBezTo>
                  <a:pt x="1572126" y="818758"/>
                  <a:pt x="1569968" y="820871"/>
                  <a:pt x="1565463" y="821839"/>
                </a:cubicBezTo>
                <a:lnTo>
                  <a:pt x="1562085" y="822101"/>
                </a:lnTo>
                <a:lnTo>
                  <a:pt x="1551301" y="825020"/>
                </a:lnTo>
                <a:cubicBezTo>
                  <a:pt x="1551301" y="825950"/>
                  <a:pt x="1551301" y="826880"/>
                  <a:pt x="1551301" y="827838"/>
                </a:cubicBezTo>
                <a:cubicBezTo>
                  <a:pt x="1526697" y="828735"/>
                  <a:pt x="1507496" y="825036"/>
                  <a:pt x="1485380" y="815007"/>
                </a:cubicBezTo>
                <a:cubicBezTo>
                  <a:pt x="1468723" y="807743"/>
                  <a:pt x="1449749" y="809144"/>
                  <a:pt x="1431603" y="808726"/>
                </a:cubicBezTo>
                <a:cubicBezTo>
                  <a:pt x="1429115" y="808665"/>
                  <a:pt x="1426627" y="808604"/>
                  <a:pt x="1424140" y="808542"/>
                </a:cubicBezTo>
                <a:cubicBezTo>
                  <a:pt x="1418101" y="808392"/>
                  <a:pt x="1412062" y="808249"/>
                  <a:pt x="1406023" y="808109"/>
                </a:cubicBezTo>
                <a:cubicBezTo>
                  <a:pt x="1406023" y="809040"/>
                  <a:pt x="1406023" y="809970"/>
                  <a:pt x="1406023" y="810928"/>
                </a:cubicBezTo>
                <a:cubicBezTo>
                  <a:pt x="1404716" y="811118"/>
                  <a:pt x="1404716" y="811118"/>
                  <a:pt x="1403383" y="811311"/>
                </a:cubicBezTo>
                <a:cubicBezTo>
                  <a:pt x="1372054" y="815110"/>
                  <a:pt x="1372054" y="815110"/>
                  <a:pt x="1345442" y="828907"/>
                </a:cubicBezTo>
                <a:cubicBezTo>
                  <a:pt x="1338843" y="837605"/>
                  <a:pt x="1338313" y="846434"/>
                  <a:pt x="1337875" y="856639"/>
                </a:cubicBezTo>
                <a:cubicBezTo>
                  <a:pt x="1337815" y="857805"/>
                  <a:pt x="1337754" y="858970"/>
                  <a:pt x="1337692" y="860171"/>
                </a:cubicBezTo>
                <a:cubicBezTo>
                  <a:pt x="1337547" y="863016"/>
                  <a:pt x="1337417" y="865861"/>
                  <a:pt x="1337290" y="868706"/>
                </a:cubicBezTo>
                <a:cubicBezTo>
                  <a:pt x="1336258" y="868706"/>
                  <a:pt x="1335228" y="868706"/>
                  <a:pt x="1334165" y="868706"/>
                </a:cubicBezTo>
                <a:lnTo>
                  <a:pt x="1334165" y="870034"/>
                </a:lnTo>
                <a:lnTo>
                  <a:pt x="1334237" y="869093"/>
                </a:lnTo>
                <a:cubicBezTo>
                  <a:pt x="1334753" y="869093"/>
                  <a:pt x="1335268" y="869093"/>
                  <a:pt x="1335800" y="869093"/>
                </a:cubicBezTo>
                <a:cubicBezTo>
                  <a:pt x="1335884" y="871559"/>
                  <a:pt x="1335944" y="874025"/>
                  <a:pt x="1335995" y="876491"/>
                </a:cubicBezTo>
                <a:cubicBezTo>
                  <a:pt x="1336030" y="877865"/>
                  <a:pt x="1336067" y="879238"/>
                  <a:pt x="1336105" y="880653"/>
                </a:cubicBezTo>
                <a:cubicBezTo>
                  <a:pt x="1335800" y="884594"/>
                  <a:pt x="1335800" y="884594"/>
                  <a:pt x="1334294" y="887271"/>
                </a:cubicBezTo>
                <a:cubicBezTo>
                  <a:pt x="1332567" y="890428"/>
                  <a:pt x="1331982" y="892964"/>
                  <a:pt x="1331455" y="896440"/>
                </a:cubicBezTo>
                <a:cubicBezTo>
                  <a:pt x="1331267" y="897605"/>
                  <a:pt x="1331080" y="898769"/>
                  <a:pt x="1330887" y="899969"/>
                </a:cubicBezTo>
                <a:cubicBezTo>
                  <a:pt x="1330704" y="901174"/>
                  <a:pt x="1330521" y="902378"/>
                  <a:pt x="1330332" y="903618"/>
                </a:cubicBezTo>
                <a:cubicBezTo>
                  <a:pt x="1329968" y="906013"/>
                  <a:pt x="1329594" y="908405"/>
                  <a:pt x="1329209" y="910797"/>
                </a:cubicBezTo>
                <a:cubicBezTo>
                  <a:pt x="1329049" y="911853"/>
                  <a:pt x="1328889" y="912910"/>
                  <a:pt x="1328724" y="913998"/>
                </a:cubicBezTo>
                <a:cubicBezTo>
                  <a:pt x="1327933" y="917233"/>
                  <a:pt x="1326525" y="919703"/>
                  <a:pt x="1324865" y="922643"/>
                </a:cubicBezTo>
                <a:cubicBezTo>
                  <a:pt x="1323924" y="927743"/>
                  <a:pt x="1323282" y="932845"/>
                  <a:pt x="1322619" y="937979"/>
                </a:cubicBezTo>
                <a:lnTo>
                  <a:pt x="1318744" y="944961"/>
                </a:lnTo>
                <a:lnTo>
                  <a:pt x="1318544" y="946213"/>
                </a:lnTo>
                <a:cubicBezTo>
                  <a:pt x="1318360" y="949234"/>
                  <a:pt x="1318271" y="952260"/>
                  <a:pt x="1318251" y="955285"/>
                </a:cubicBezTo>
                <a:cubicBezTo>
                  <a:pt x="1318218" y="957637"/>
                  <a:pt x="1318218" y="957637"/>
                  <a:pt x="1318184" y="960036"/>
                </a:cubicBezTo>
                <a:cubicBezTo>
                  <a:pt x="1318624" y="965530"/>
                  <a:pt x="1319569" y="969724"/>
                  <a:pt x="1324024" y="973660"/>
                </a:cubicBezTo>
                <a:cubicBezTo>
                  <a:pt x="1327197" y="976583"/>
                  <a:pt x="1327950" y="979494"/>
                  <a:pt x="1329284" y="983382"/>
                </a:cubicBezTo>
                <a:cubicBezTo>
                  <a:pt x="1331875" y="990106"/>
                  <a:pt x="1334445" y="993582"/>
                  <a:pt x="1340414" y="998354"/>
                </a:cubicBezTo>
                <a:cubicBezTo>
                  <a:pt x="1342397" y="1000564"/>
                  <a:pt x="1344347" y="1002798"/>
                  <a:pt x="1346272" y="1005048"/>
                </a:cubicBezTo>
                <a:cubicBezTo>
                  <a:pt x="1360055" y="1020713"/>
                  <a:pt x="1376247" y="1031879"/>
                  <a:pt x="1394716" y="1042740"/>
                </a:cubicBezTo>
                <a:cubicBezTo>
                  <a:pt x="1397172" y="1044228"/>
                  <a:pt x="1399581" y="1045779"/>
                  <a:pt x="1401953" y="1047374"/>
                </a:cubicBezTo>
                <a:cubicBezTo>
                  <a:pt x="1410065" y="1052802"/>
                  <a:pt x="1417529" y="1056366"/>
                  <a:pt x="1427197" y="1059061"/>
                </a:cubicBezTo>
                <a:cubicBezTo>
                  <a:pt x="1431243" y="1060437"/>
                  <a:pt x="1434061" y="1061979"/>
                  <a:pt x="1437265" y="1064588"/>
                </a:cubicBezTo>
                <a:cubicBezTo>
                  <a:pt x="1437265" y="1065518"/>
                  <a:pt x="1437265" y="1066448"/>
                  <a:pt x="1437265" y="1067406"/>
                </a:cubicBezTo>
                <a:cubicBezTo>
                  <a:pt x="1439053" y="1067624"/>
                  <a:pt x="1439053" y="1067624"/>
                  <a:pt x="1440878" y="1067847"/>
                </a:cubicBezTo>
                <a:cubicBezTo>
                  <a:pt x="1445076" y="1068815"/>
                  <a:pt x="1445076" y="1068815"/>
                  <a:pt x="1447175" y="1070753"/>
                </a:cubicBezTo>
                <a:cubicBezTo>
                  <a:pt x="1450417" y="1073622"/>
                  <a:pt x="1453781" y="1075060"/>
                  <a:pt x="1457866" y="1076830"/>
                </a:cubicBezTo>
                <a:cubicBezTo>
                  <a:pt x="1459274" y="1077446"/>
                  <a:pt x="1460681" y="1078062"/>
                  <a:pt x="1462132" y="1078696"/>
                </a:cubicBezTo>
                <a:cubicBezTo>
                  <a:pt x="1463204" y="1079156"/>
                  <a:pt x="1464278" y="1079616"/>
                  <a:pt x="1465383" y="1080089"/>
                </a:cubicBezTo>
                <a:cubicBezTo>
                  <a:pt x="1465383" y="1081019"/>
                  <a:pt x="1465383" y="1081949"/>
                  <a:pt x="1465383" y="1082908"/>
                </a:cubicBezTo>
                <a:cubicBezTo>
                  <a:pt x="1466497" y="1083260"/>
                  <a:pt x="1467611" y="1083612"/>
                  <a:pt x="1468758" y="1083975"/>
                </a:cubicBezTo>
                <a:cubicBezTo>
                  <a:pt x="1473648" y="1085905"/>
                  <a:pt x="1477426" y="1088296"/>
                  <a:pt x="1481688" y="1091187"/>
                </a:cubicBezTo>
                <a:cubicBezTo>
                  <a:pt x="1483204" y="1092193"/>
                  <a:pt x="1484721" y="1093200"/>
                  <a:pt x="1486283" y="1094236"/>
                </a:cubicBezTo>
                <a:cubicBezTo>
                  <a:pt x="1489170" y="1096185"/>
                  <a:pt x="1492029" y="1098166"/>
                  <a:pt x="1494869" y="1100171"/>
                </a:cubicBezTo>
                <a:cubicBezTo>
                  <a:pt x="1510181" y="1107906"/>
                  <a:pt x="1527080" y="1109898"/>
                  <a:pt x="1544335" y="1109518"/>
                </a:cubicBezTo>
                <a:cubicBezTo>
                  <a:pt x="1579932" y="1108798"/>
                  <a:pt x="1579932" y="1108798"/>
                  <a:pt x="1593477" y="1119900"/>
                </a:cubicBezTo>
                <a:cubicBezTo>
                  <a:pt x="1600636" y="1127255"/>
                  <a:pt x="1604889" y="1135120"/>
                  <a:pt x="1605975" y="1144913"/>
                </a:cubicBezTo>
                <a:cubicBezTo>
                  <a:pt x="1607006" y="1144913"/>
                  <a:pt x="1608036" y="1144913"/>
                  <a:pt x="1609099" y="1144913"/>
                </a:cubicBezTo>
                <a:cubicBezTo>
                  <a:pt x="1609227" y="1148907"/>
                  <a:pt x="1609319" y="1152897"/>
                  <a:pt x="1609392" y="1156892"/>
                </a:cubicBezTo>
                <a:cubicBezTo>
                  <a:pt x="1609451" y="1158565"/>
                  <a:pt x="1609451" y="1158565"/>
                  <a:pt x="1609511" y="1160272"/>
                </a:cubicBezTo>
                <a:cubicBezTo>
                  <a:pt x="1609621" y="1168378"/>
                  <a:pt x="1607970" y="1174108"/>
                  <a:pt x="1604412" y="1181553"/>
                </a:cubicBezTo>
                <a:cubicBezTo>
                  <a:pt x="1603354" y="1184367"/>
                  <a:pt x="1602306" y="1187183"/>
                  <a:pt x="1601288" y="1190009"/>
                </a:cubicBezTo>
                <a:cubicBezTo>
                  <a:pt x="1600257" y="1190009"/>
                  <a:pt x="1599226" y="1190009"/>
                  <a:pt x="1598164" y="1190009"/>
                </a:cubicBezTo>
                <a:cubicBezTo>
                  <a:pt x="1597842" y="1190910"/>
                  <a:pt x="1597520" y="1191810"/>
                  <a:pt x="1597187" y="1192739"/>
                </a:cubicBezTo>
                <a:cubicBezTo>
                  <a:pt x="1596479" y="1193698"/>
                  <a:pt x="1595770" y="1194657"/>
                  <a:pt x="1595040" y="1195645"/>
                </a:cubicBezTo>
                <a:cubicBezTo>
                  <a:pt x="1591916" y="1196115"/>
                  <a:pt x="1588791" y="1196585"/>
                  <a:pt x="1585667" y="1197055"/>
                </a:cubicBezTo>
                <a:cubicBezTo>
                  <a:pt x="1583871" y="1199826"/>
                  <a:pt x="1583871" y="1199826"/>
                  <a:pt x="1582543" y="1202691"/>
                </a:cubicBezTo>
                <a:cubicBezTo>
                  <a:pt x="1575997" y="1204710"/>
                  <a:pt x="1569266" y="1204360"/>
                  <a:pt x="1562431" y="1204365"/>
                </a:cubicBezTo>
                <a:cubicBezTo>
                  <a:pt x="1561196" y="1204382"/>
                  <a:pt x="1559962" y="1204399"/>
                  <a:pt x="1558690" y="1204417"/>
                </a:cubicBezTo>
                <a:cubicBezTo>
                  <a:pt x="1543339" y="1204452"/>
                  <a:pt x="1531981" y="1199267"/>
                  <a:pt x="1521102" y="1189585"/>
                </a:cubicBezTo>
                <a:cubicBezTo>
                  <a:pt x="1515403" y="1183953"/>
                  <a:pt x="1510116" y="1178123"/>
                  <a:pt x="1505022" y="1172041"/>
                </a:cubicBezTo>
                <a:cubicBezTo>
                  <a:pt x="1493200" y="1158177"/>
                  <a:pt x="1475492" y="1147115"/>
                  <a:pt x="1457573" y="1140686"/>
                </a:cubicBezTo>
                <a:cubicBezTo>
                  <a:pt x="1457573" y="1139755"/>
                  <a:pt x="1457573" y="1138826"/>
                  <a:pt x="1457573" y="1137867"/>
                </a:cubicBezTo>
                <a:cubicBezTo>
                  <a:pt x="1456059" y="1137693"/>
                  <a:pt x="1454544" y="1137518"/>
                  <a:pt x="1452985" y="1137339"/>
                </a:cubicBezTo>
                <a:cubicBezTo>
                  <a:pt x="1451406" y="1137048"/>
                  <a:pt x="1449827" y="1136758"/>
                  <a:pt x="1448200" y="1136458"/>
                </a:cubicBezTo>
                <a:cubicBezTo>
                  <a:pt x="1447685" y="1135528"/>
                  <a:pt x="1447169" y="1134598"/>
                  <a:pt x="1446638" y="1133640"/>
                </a:cubicBezTo>
                <a:cubicBezTo>
                  <a:pt x="1444091" y="1132586"/>
                  <a:pt x="1441535" y="1131550"/>
                  <a:pt x="1438937" y="1130601"/>
                </a:cubicBezTo>
                <a:cubicBezTo>
                  <a:pt x="1435668" y="1129399"/>
                  <a:pt x="1432469" y="1128095"/>
                  <a:pt x="1429260" y="1126770"/>
                </a:cubicBezTo>
                <a:cubicBezTo>
                  <a:pt x="1423389" y="1124389"/>
                  <a:pt x="1417431" y="1122349"/>
                  <a:pt x="1411393" y="1120340"/>
                </a:cubicBezTo>
                <a:cubicBezTo>
                  <a:pt x="1404143" y="1117867"/>
                  <a:pt x="1397842" y="1115090"/>
                  <a:pt x="1391427" y="1111191"/>
                </a:cubicBezTo>
                <a:cubicBezTo>
                  <a:pt x="1388139" y="1109274"/>
                  <a:pt x="1384723" y="1108010"/>
                  <a:pt x="1381029" y="1106865"/>
                </a:cubicBezTo>
                <a:cubicBezTo>
                  <a:pt x="1381029" y="1105934"/>
                  <a:pt x="1381029" y="1105004"/>
                  <a:pt x="1381029" y="1104046"/>
                </a:cubicBezTo>
                <a:cubicBezTo>
                  <a:pt x="1379773" y="1103901"/>
                  <a:pt x="1378516" y="1103755"/>
                  <a:pt x="1377221" y="1103605"/>
                </a:cubicBezTo>
                <a:cubicBezTo>
                  <a:pt x="1370425" y="1102422"/>
                  <a:pt x="1364120" y="1100465"/>
                  <a:pt x="1357597" y="1098409"/>
                </a:cubicBezTo>
                <a:cubicBezTo>
                  <a:pt x="1355761" y="1097857"/>
                  <a:pt x="1353924" y="1097304"/>
                  <a:pt x="1352032" y="1096736"/>
                </a:cubicBezTo>
                <a:cubicBezTo>
                  <a:pt x="1350776" y="1096358"/>
                  <a:pt x="1349519" y="1095980"/>
                  <a:pt x="1348225" y="1095590"/>
                </a:cubicBezTo>
                <a:cubicBezTo>
                  <a:pt x="1348225" y="1094661"/>
                  <a:pt x="1348225" y="1093730"/>
                  <a:pt x="1348225" y="1092772"/>
                </a:cubicBezTo>
                <a:cubicBezTo>
                  <a:pt x="1344616" y="1092307"/>
                  <a:pt x="1341007" y="1091842"/>
                  <a:pt x="1337290" y="1091363"/>
                </a:cubicBezTo>
                <a:cubicBezTo>
                  <a:pt x="1337290" y="1090433"/>
                  <a:pt x="1337290" y="1089503"/>
                  <a:pt x="1337290" y="1088544"/>
                </a:cubicBezTo>
                <a:cubicBezTo>
                  <a:pt x="1334438" y="1088327"/>
                  <a:pt x="1334438" y="1088327"/>
                  <a:pt x="1331529" y="1088104"/>
                </a:cubicBezTo>
                <a:lnTo>
                  <a:pt x="1323297" y="1086611"/>
                </a:lnTo>
                <a:lnTo>
                  <a:pt x="1323297" y="1087618"/>
                </a:lnTo>
                <a:cubicBezTo>
                  <a:pt x="1322139" y="1087517"/>
                  <a:pt x="1320982" y="1087415"/>
                  <a:pt x="1319789" y="1087310"/>
                </a:cubicBezTo>
                <a:cubicBezTo>
                  <a:pt x="1300429" y="1085771"/>
                  <a:pt x="1281330" y="1084680"/>
                  <a:pt x="1262375" y="1089028"/>
                </a:cubicBezTo>
                <a:lnTo>
                  <a:pt x="1258728" y="1088205"/>
                </a:lnTo>
                <a:lnTo>
                  <a:pt x="1246964" y="1091489"/>
                </a:lnTo>
                <a:cubicBezTo>
                  <a:pt x="1237239" y="1097222"/>
                  <a:pt x="1228703" y="1103434"/>
                  <a:pt x="1223224" y="1112865"/>
                </a:cubicBezTo>
                <a:cubicBezTo>
                  <a:pt x="1220867" y="1116643"/>
                  <a:pt x="1217262" y="1119317"/>
                  <a:pt x="1213883" y="1122366"/>
                </a:cubicBezTo>
                <a:cubicBezTo>
                  <a:pt x="1213428" y="1123469"/>
                  <a:pt x="1212973" y="1124572"/>
                  <a:pt x="1212505" y="1125708"/>
                </a:cubicBezTo>
                <a:cubicBezTo>
                  <a:pt x="1210449" y="1130067"/>
                  <a:pt x="1207984" y="1132315"/>
                  <a:pt x="1204180" y="1135561"/>
                </a:cubicBezTo>
                <a:cubicBezTo>
                  <a:pt x="1202879" y="1136695"/>
                  <a:pt x="1201578" y="1137829"/>
                  <a:pt x="1200238" y="1138999"/>
                </a:cubicBezTo>
                <a:cubicBezTo>
                  <a:pt x="1197504" y="1141343"/>
                  <a:pt x="1194765" y="1143684"/>
                  <a:pt x="1192025" y="1146022"/>
                </a:cubicBezTo>
                <a:cubicBezTo>
                  <a:pt x="1181899" y="1154869"/>
                  <a:pt x="1174983" y="1161763"/>
                  <a:pt x="1173945" y="1174749"/>
                </a:cubicBezTo>
                <a:cubicBezTo>
                  <a:pt x="1173902" y="1177369"/>
                  <a:pt x="1173905" y="1179990"/>
                  <a:pt x="1173950" y="1182610"/>
                </a:cubicBezTo>
                <a:cubicBezTo>
                  <a:pt x="1173963" y="1183981"/>
                  <a:pt x="1173975" y="1185352"/>
                  <a:pt x="1173989" y="1186765"/>
                </a:cubicBezTo>
                <a:cubicBezTo>
                  <a:pt x="1174321" y="1197573"/>
                  <a:pt x="1176809" y="1205883"/>
                  <a:pt x="1182640" y="1215374"/>
                </a:cubicBezTo>
                <a:cubicBezTo>
                  <a:pt x="1183703" y="1217509"/>
                  <a:pt x="1184746" y="1219652"/>
                  <a:pt x="1185764" y="1221804"/>
                </a:cubicBezTo>
                <a:cubicBezTo>
                  <a:pt x="1186271" y="1222812"/>
                  <a:pt x="1186779" y="1223821"/>
                  <a:pt x="1187301" y="1224859"/>
                </a:cubicBezTo>
                <a:cubicBezTo>
                  <a:pt x="1188431" y="1227137"/>
                  <a:pt x="1189517" y="1229433"/>
                  <a:pt x="1190573" y="1231740"/>
                </a:cubicBezTo>
                <a:cubicBezTo>
                  <a:pt x="1194650" y="1240409"/>
                  <a:pt x="1199581" y="1247688"/>
                  <a:pt x="1205925" y="1255163"/>
                </a:cubicBezTo>
                <a:cubicBezTo>
                  <a:pt x="1208103" y="1257757"/>
                  <a:pt x="1210188" y="1260417"/>
                  <a:pt x="1212174" y="1263134"/>
                </a:cubicBezTo>
                <a:cubicBezTo>
                  <a:pt x="1218757" y="1272043"/>
                  <a:pt x="1225157" y="1277324"/>
                  <a:pt x="1235556" y="1282538"/>
                </a:cubicBezTo>
                <a:cubicBezTo>
                  <a:pt x="1236652" y="1283161"/>
                  <a:pt x="1237747" y="1283784"/>
                  <a:pt x="1238876" y="1284426"/>
                </a:cubicBezTo>
                <a:cubicBezTo>
                  <a:pt x="1238876" y="1285356"/>
                  <a:pt x="1238876" y="1286287"/>
                  <a:pt x="1238876" y="1287245"/>
                </a:cubicBezTo>
                <a:cubicBezTo>
                  <a:pt x="1239988" y="1287383"/>
                  <a:pt x="1241099" y="1287521"/>
                  <a:pt x="1242245" y="1287663"/>
                </a:cubicBezTo>
                <a:cubicBezTo>
                  <a:pt x="1253043" y="1290072"/>
                  <a:pt x="1264916" y="1297690"/>
                  <a:pt x="1271681" y="1305565"/>
                </a:cubicBezTo>
                <a:lnTo>
                  <a:pt x="1271742" y="1306172"/>
                </a:lnTo>
                <a:lnTo>
                  <a:pt x="1278525" y="1315767"/>
                </a:lnTo>
                <a:cubicBezTo>
                  <a:pt x="1279797" y="1319398"/>
                  <a:pt x="1280365" y="1323346"/>
                  <a:pt x="1281097" y="1327286"/>
                </a:cubicBezTo>
                <a:cubicBezTo>
                  <a:pt x="1281916" y="1337121"/>
                  <a:pt x="1281807" y="1346176"/>
                  <a:pt x="1277973" y="1355470"/>
                </a:cubicBezTo>
                <a:lnTo>
                  <a:pt x="1277460" y="1347025"/>
                </a:lnTo>
                <a:lnTo>
                  <a:pt x="1273531" y="1357991"/>
                </a:lnTo>
                <a:cubicBezTo>
                  <a:pt x="1270940" y="1361892"/>
                  <a:pt x="1267521" y="1365435"/>
                  <a:pt x="1263870" y="1368980"/>
                </a:cubicBezTo>
                <a:cubicBezTo>
                  <a:pt x="1258351" y="1372929"/>
                  <a:pt x="1253850" y="1376026"/>
                  <a:pt x="1246686" y="1376026"/>
                </a:cubicBezTo>
                <a:cubicBezTo>
                  <a:pt x="1246686" y="1376956"/>
                  <a:pt x="1246686" y="1377886"/>
                  <a:pt x="1246686" y="1378844"/>
                </a:cubicBezTo>
                <a:cubicBezTo>
                  <a:pt x="1241676" y="1379009"/>
                  <a:pt x="1236665" y="1379109"/>
                  <a:pt x="1231651" y="1379196"/>
                </a:cubicBezTo>
                <a:cubicBezTo>
                  <a:pt x="1230240" y="1379244"/>
                  <a:pt x="1228828" y="1379291"/>
                  <a:pt x="1227373" y="1379340"/>
                </a:cubicBezTo>
                <a:cubicBezTo>
                  <a:pt x="1218287" y="1379460"/>
                  <a:pt x="1213363" y="1378568"/>
                  <a:pt x="1206071" y="1373207"/>
                </a:cubicBezTo>
                <a:cubicBezTo>
                  <a:pt x="1204751" y="1372742"/>
                  <a:pt x="1203430" y="1372277"/>
                  <a:pt x="1202069" y="1371798"/>
                </a:cubicBezTo>
                <a:cubicBezTo>
                  <a:pt x="1193777" y="1368730"/>
                  <a:pt x="1188124" y="1363294"/>
                  <a:pt x="1184104" y="1356176"/>
                </a:cubicBezTo>
                <a:cubicBezTo>
                  <a:pt x="1180965" y="1349259"/>
                  <a:pt x="1178852" y="1342590"/>
                  <a:pt x="1177270" y="1335247"/>
                </a:cubicBezTo>
                <a:cubicBezTo>
                  <a:pt x="1175525" y="1327352"/>
                  <a:pt x="1172911" y="1320677"/>
                  <a:pt x="1169002" y="1313464"/>
                </a:cubicBezTo>
                <a:cubicBezTo>
                  <a:pt x="1166989" y="1309737"/>
                  <a:pt x="1165215" y="1305976"/>
                  <a:pt x="1163504" y="1302130"/>
                </a:cubicBezTo>
                <a:cubicBezTo>
                  <a:pt x="1163013" y="1301027"/>
                  <a:pt x="1162521" y="1299924"/>
                  <a:pt x="1162015" y="1298788"/>
                </a:cubicBezTo>
                <a:cubicBezTo>
                  <a:pt x="1160770" y="1295700"/>
                  <a:pt x="1160770" y="1295700"/>
                  <a:pt x="1160111" y="1292656"/>
                </a:cubicBezTo>
                <a:cubicBezTo>
                  <a:pt x="1159345" y="1289507"/>
                  <a:pt x="1159345" y="1289507"/>
                  <a:pt x="1154522" y="1287245"/>
                </a:cubicBezTo>
                <a:cubicBezTo>
                  <a:pt x="1153465" y="1284902"/>
                  <a:pt x="1152426" y="1282552"/>
                  <a:pt x="1151398" y="1280199"/>
                </a:cubicBezTo>
                <a:cubicBezTo>
                  <a:pt x="1149056" y="1276983"/>
                  <a:pt x="1146686" y="1273874"/>
                  <a:pt x="1144173" y="1270774"/>
                </a:cubicBezTo>
                <a:cubicBezTo>
                  <a:pt x="1143477" y="1269912"/>
                  <a:pt x="1142782" y="1269049"/>
                  <a:pt x="1142065" y="1268160"/>
                </a:cubicBezTo>
                <a:cubicBezTo>
                  <a:pt x="1139981" y="1265589"/>
                  <a:pt x="1137880" y="1263029"/>
                  <a:pt x="1135776" y="1260470"/>
                </a:cubicBezTo>
                <a:cubicBezTo>
                  <a:pt x="1134647" y="1259076"/>
                  <a:pt x="1133517" y="1257683"/>
                  <a:pt x="1132353" y="1256247"/>
                </a:cubicBezTo>
                <a:cubicBezTo>
                  <a:pt x="1126291" y="1249045"/>
                  <a:pt x="1121408" y="1244606"/>
                  <a:pt x="1112344" y="1240741"/>
                </a:cubicBezTo>
                <a:cubicBezTo>
                  <a:pt x="1110285" y="1239698"/>
                  <a:pt x="1108234" y="1238642"/>
                  <a:pt x="1106193" y="1237570"/>
                </a:cubicBezTo>
                <a:cubicBezTo>
                  <a:pt x="1104615" y="1236756"/>
                  <a:pt x="1103036" y="1235942"/>
                  <a:pt x="1101409" y="1235104"/>
                </a:cubicBezTo>
                <a:cubicBezTo>
                  <a:pt x="1101409" y="1233708"/>
                  <a:pt x="1101409" y="1232313"/>
                  <a:pt x="1101409" y="1230876"/>
                </a:cubicBezTo>
                <a:cubicBezTo>
                  <a:pt x="1089553" y="1230876"/>
                  <a:pt x="1077697" y="1230876"/>
                  <a:pt x="1065480" y="1230876"/>
                </a:cubicBezTo>
                <a:cubicBezTo>
                  <a:pt x="1064965" y="1232271"/>
                  <a:pt x="1064450" y="1233666"/>
                  <a:pt x="1063919" y="1235104"/>
                </a:cubicBezTo>
                <a:cubicBezTo>
                  <a:pt x="1062372" y="1235104"/>
                  <a:pt x="1060826" y="1235104"/>
                  <a:pt x="1059232" y="1235104"/>
                </a:cubicBezTo>
                <a:cubicBezTo>
                  <a:pt x="1059232" y="1236033"/>
                  <a:pt x="1059232" y="1236964"/>
                  <a:pt x="1059232" y="1237922"/>
                </a:cubicBezTo>
                <a:cubicBezTo>
                  <a:pt x="1052964" y="1240850"/>
                  <a:pt x="1046842" y="1243613"/>
                  <a:pt x="1040194" y="1245761"/>
                </a:cubicBezTo>
                <a:cubicBezTo>
                  <a:pt x="1036552" y="1246941"/>
                  <a:pt x="1033682" y="1248088"/>
                  <a:pt x="1030333" y="1249901"/>
                </a:cubicBezTo>
                <a:cubicBezTo>
                  <a:pt x="1025129" y="1252717"/>
                  <a:pt x="1019615" y="1254371"/>
                  <a:pt x="1013931" y="1256242"/>
                </a:cubicBezTo>
                <a:cubicBezTo>
                  <a:pt x="1009870" y="1257688"/>
                  <a:pt x="1008221" y="1258277"/>
                  <a:pt x="1005925" y="1261615"/>
                </a:cubicBezTo>
                <a:cubicBezTo>
                  <a:pt x="1005474" y="1262632"/>
                  <a:pt x="1005023" y="1263649"/>
                  <a:pt x="1004558" y="1264697"/>
                </a:cubicBezTo>
                <a:cubicBezTo>
                  <a:pt x="1004030" y="1265774"/>
                  <a:pt x="1003503" y="1266852"/>
                  <a:pt x="1002959" y="1267961"/>
                </a:cubicBezTo>
                <a:cubicBezTo>
                  <a:pt x="1001408" y="1271808"/>
                  <a:pt x="1000922" y="1274896"/>
                  <a:pt x="1000653" y="1278965"/>
                </a:cubicBezTo>
                <a:cubicBezTo>
                  <a:pt x="1000303" y="1284158"/>
                  <a:pt x="999467" y="1289055"/>
                  <a:pt x="998297" y="1294137"/>
                </a:cubicBezTo>
                <a:cubicBezTo>
                  <a:pt x="996204" y="1304306"/>
                  <a:pt x="996129" y="1314460"/>
                  <a:pt x="996162" y="1324765"/>
                </a:cubicBezTo>
                <a:cubicBezTo>
                  <a:pt x="996163" y="1325782"/>
                  <a:pt x="996163" y="1326799"/>
                  <a:pt x="996164" y="1327846"/>
                </a:cubicBezTo>
                <a:cubicBezTo>
                  <a:pt x="996263" y="1353742"/>
                  <a:pt x="1001081" y="1378188"/>
                  <a:pt x="1007780" y="1403329"/>
                </a:cubicBezTo>
                <a:cubicBezTo>
                  <a:pt x="1008163" y="1404772"/>
                  <a:pt x="1008546" y="1406215"/>
                  <a:pt x="1008940" y="1407701"/>
                </a:cubicBezTo>
                <a:cubicBezTo>
                  <a:pt x="1009316" y="1409030"/>
                  <a:pt x="1009693" y="1410360"/>
                  <a:pt x="1010080" y="1411730"/>
                </a:cubicBezTo>
                <a:cubicBezTo>
                  <a:pt x="1010409" y="1412900"/>
                  <a:pt x="1010737" y="1414071"/>
                  <a:pt x="1011075" y="1415277"/>
                </a:cubicBezTo>
                <a:cubicBezTo>
                  <a:pt x="1012501" y="1418612"/>
                  <a:pt x="1014136" y="1420168"/>
                  <a:pt x="1017055" y="1422530"/>
                </a:cubicBezTo>
                <a:cubicBezTo>
                  <a:pt x="1018770" y="1425162"/>
                  <a:pt x="1018770" y="1425162"/>
                  <a:pt x="1020277" y="1427991"/>
                </a:cubicBezTo>
                <a:cubicBezTo>
                  <a:pt x="1020778" y="1428917"/>
                  <a:pt x="1021280" y="1429844"/>
                  <a:pt x="1021796" y="1430798"/>
                </a:cubicBezTo>
                <a:cubicBezTo>
                  <a:pt x="1023303" y="1433804"/>
                  <a:pt x="1023303" y="1433804"/>
                  <a:pt x="1024579" y="1437239"/>
                </a:cubicBezTo>
                <a:cubicBezTo>
                  <a:pt x="1026915" y="1441803"/>
                  <a:pt x="1030098" y="1444534"/>
                  <a:pt x="1034043" y="1448072"/>
                </a:cubicBezTo>
                <a:lnTo>
                  <a:pt x="1043782" y="1464320"/>
                </a:lnTo>
                <a:lnTo>
                  <a:pt x="1050458" y="1472189"/>
                </a:lnTo>
                <a:cubicBezTo>
                  <a:pt x="1051737" y="1475181"/>
                  <a:pt x="1052277" y="1478513"/>
                  <a:pt x="1052926" y="1482370"/>
                </a:cubicBezTo>
                <a:cubicBezTo>
                  <a:pt x="1053325" y="1487224"/>
                  <a:pt x="1053364" y="1492038"/>
                  <a:pt x="1053316" y="1496903"/>
                </a:cubicBezTo>
                <a:cubicBezTo>
                  <a:pt x="1053328" y="1498142"/>
                  <a:pt x="1053340" y="1499382"/>
                  <a:pt x="1053352" y="1500660"/>
                </a:cubicBezTo>
                <a:cubicBezTo>
                  <a:pt x="1053348" y="1501856"/>
                  <a:pt x="1053344" y="1503052"/>
                  <a:pt x="1053341" y="1504285"/>
                </a:cubicBezTo>
                <a:cubicBezTo>
                  <a:pt x="1053336" y="1505355"/>
                  <a:pt x="1053333" y="1506426"/>
                  <a:pt x="1053329" y="1507529"/>
                </a:cubicBezTo>
                <a:cubicBezTo>
                  <a:pt x="1052876" y="1510927"/>
                  <a:pt x="1051672" y="1513237"/>
                  <a:pt x="1049801" y="1516192"/>
                </a:cubicBezTo>
                <a:lnTo>
                  <a:pt x="1047312" y="1516192"/>
                </a:lnTo>
                <a:lnTo>
                  <a:pt x="1043611" y="1522585"/>
                </a:lnTo>
                <a:cubicBezTo>
                  <a:pt x="1035301" y="1529631"/>
                  <a:pt x="1035301" y="1529631"/>
                  <a:pt x="1029552" y="1529631"/>
                </a:cubicBezTo>
                <a:cubicBezTo>
                  <a:pt x="1029294" y="1530503"/>
                  <a:pt x="1029036" y="1531375"/>
                  <a:pt x="1028771" y="1532273"/>
                </a:cubicBezTo>
                <a:cubicBezTo>
                  <a:pt x="1025795" y="1536076"/>
                  <a:pt x="1022970" y="1536733"/>
                  <a:pt x="1018013" y="1537640"/>
                </a:cubicBezTo>
                <a:cubicBezTo>
                  <a:pt x="1005216" y="1539038"/>
                  <a:pt x="992573" y="1539816"/>
                  <a:pt x="981126" y="1533859"/>
                </a:cubicBezTo>
                <a:cubicBezTo>
                  <a:pt x="979840" y="1533226"/>
                  <a:pt x="978553" y="1532594"/>
                  <a:pt x="977227" y="1531943"/>
                </a:cubicBezTo>
                <a:cubicBezTo>
                  <a:pt x="965286" y="1525877"/>
                  <a:pt x="959626" y="1520520"/>
                  <a:pt x="955376" y="1508751"/>
                </a:cubicBezTo>
                <a:cubicBezTo>
                  <a:pt x="954571" y="1505674"/>
                  <a:pt x="954571" y="1505674"/>
                  <a:pt x="954571" y="1500037"/>
                </a:cubicBezTo>
                <a:cubicBezTo>
                  <a:pt x="953539" y="1500037"/>
                  <a:pt x="952508" y="1500037"/>
                  <a:pt x="951446" y="1500037"/>
                </a:cubicBezTo>
                <a:cubicBezTo>
                  <a:pt x="951361" y="1495986"/>
                  <a:pt x="951299" y="1491935"/>
                  <a:pt x="951251" y="1487883"/>
                </a:cubicBezTo>
                <a:cubicBezTo>
                  <a:pt x="951224" y="1486744"/>
                  <a:pt x="951198" y="1485605"/>
                  <a:pt x="951171" y="1484431"/>
                </a:cubicBezTo>
                <a:cubicBezTo>
                  <a:pt x="951110" y="1477657"/>
                  <a:pt x="952093" y="1472660"/>
                  <a:pt x="954571" y="1466216"/>
                </a:cubicBezTo>
                <a:cubicBezTo>
                  <a:pt x="954867" y="1462451"/>
                  <a:pt x="955016" y="1458876"/>
                  <a:pt x="954961" y="1455118"/>
                </a:cubicBezTo>
                <a:cubicBezTo>
                  <a:pt x="954951" y="1454080"/>
                  <a:pt x="954942" y="1453042"/>
                  <a:pt x="954932" y="1451972"/>
                </a:cubicBezTo>
                <a:cubicBezTo>
                  <a:pt x="954606" y="1435235"/>
                  <a:pt x="952568" y="1419050"/>
                  <a:pt x="945099" y="1403594"/>
                </a:cubicBezTo>
                <a:cubicBezTo>
                  <a:pt x="943714" y="1400177"/>
                  <a:pt x="943046" y="1397128"/>
                  <a:pt x="942366" y="1393553"/>
                </a:cubicBezTo>
                <a:cubicBezTo>
                  <a:pt x="940837" y="1386134"/>
                  <a:pt x="937840" y="1379609"/>
                  <a:pt x="934451" y="1372734"/>
                </a:cubicBezTo>
                <a:cubicBezTo>
                  <a:pt x="932701" y="1368980"/>
                  <a:pt x="932701" y="1368980"/>
                  <a:pt x="931974" y="1365754"/>
                </a:cubicBezTo>
                <a:cubicBezTo>
                  <a:pt x="931699" y="1364958"/>
                  <a:pt x="931422" y="1364162"/>
                  <a:pt x="931138" y="1363343"/>
                </a:cubicBezTo>
                <a:cubicBezTo>
                  <a:pt x="929592" y="1362878"/>
                  <a:pt x="928045" y="1362413"/>
                  <a:pt x="926452" y="1361933"/>
                </a:cubicBezTo>
                <a:cubicBezTo>
                  <a:pt x="921830" y="1355261"/>
                  <a:pt x="920323" y="1348382"/>
                  <a:pt x="918641" y="1340795"/>
                </a:cubicBezTo>
                <a:cubicBezTo>
                  <a:pt x="918133" y="1338914"/>
                  <a:pt x="917616" y="1337034"/>
                  <a:pt x="917079" y="1335158"/>
                </a:cubicBezTo>
                <a:cubicBezTo>
                  <a:pt x="916048" y="1335158"/>
                  <a:pt x="915018" y="1335158"/>
                  <a:pt x="913955" y="1335158"/>
                </a:cubicBezTo>
                <a:cubicBezTo>
                  <a:pt x="913329" y="1333718"/>
                  <a:pt x="912703" y="1332277"/>
                  <a:pt x="912057" y="1330793"/>
                </a:cubicBezTo>
                <a:cubicBezTo>
                  <a:pt x="909497" y="1325424"/>
                  <a:pt x="906114" y="1320822"/>
                  <a:pt x="902142" y="1316222"/>
                </a:cubicBezTo>
                <a:cubicBezTo>
                  <a:pt x="901465" y="1315432"/>
                  <a:pt x="900788" y="1314642"/>
                  <a:pt x="900091" y="1313828"/>
                </a:cubicBezTo>
                <a:cubicBezTo>
                  <a:pt x="893705" y="1306618"/>
                  <a:pt x="886350" y="1301049"/>
                  <a:pt x="878026" y="1295700"/>
                </a:cubicBezTo>
                <a:cubicBezTo>
                  <a:pt x="876595" y="1294594"/>
                  <a:pt x="876595" y="1294594"/>
                  <a:pt x="875134" y="1293465"/>
                </a:cubicBezTo>
                <a:lnTo>
                  <a:pt x="869869" y="1291826"/>
                </a:lnTo>
                <a:lnTo>
                  <a:pt x="862384" y="1291327"/>
                </a:lnTo>
                <a:cubicBezTo>
                  <a:pt x="856441" y="1290067"/>
                  <a:pt x="850461" y="1290346"/>
                  <a:pt x="844390" y="1290461"/>
                </a:cubicBezTo>
                <a:cubicBezTo>
                  <a:pt x="842453" y="1290480"/>
                  <a:pt x="842453" y="1290480"/>
                  <a:pt x="840476" y="1290500"/>
                </a:cubicBezTo>
                <a:cubicBezTo>
                  <a:pt x="837322" y="1290532"/>
                  <a:pt x="834169" y="1290583"/>
                  <a:pt x="831015" y="1290637"/>
                </a:cubicBezTo>
                <a:cubicBezTo>
                  <a:pt x="831015" y="1291568"/>
                  <a:pt x="831015" y="1292498"/>
                  <a:pt x="831015" y="1293456"/>
                </a:cubicBezTo>
                <a:cubicBezTo>
                  <a:pt x="826519" y="1294808"/>
                  <a:pt x="822922" y="1295235"/>
                  <a:pt x="818225" y="1295570"/>
                </a:cubicBezTo>
                <a:lnTo>
                  <a:pt x="796774" y="1297671"/>
                </a:lnTo>
                <a:lnTo>
                  <a:pt x="783646" y="1305736"/>
                </a:lnTo>
                <a:cubicBezTo>
                  <a:pt x="776915" y="1312506"/>
                  <a:pt x="772692" y="1318638"/>
                  <a:pt x="769263" y="1327143"/>
                </a:cubicBezTo>
                <a:cubicBezTo>
                  <a:pt x="767116" y="1332340"/>
                  <a:pt x="767116" y="1332340"/>
                  <a:pt x="764797" y="1334360"/>
                </a:cubicBezTo>
                <a:lnTo>
                  <a:pt x="757875" y="1353503"/>
                </a:lnTo>
                <a:lnTo>
                  <a:pt x="755676" y="1367455"/>
                </a:lnTo>
                <a:lnTo>
                  <a:pt x="750558" y="1399690"/>
                </a:lnTo>
                <a:lnTo>
                  <a:pt x="753057" y="1411256"/>
                </a:lnTo>
                <a:cubicBezTo>
                  <a:pt x="753057" y="1413117"/>
                  <a:pt x="753057" y="1414976"/>
                  <a:pt x="753057" y="1416893"/>
                </a:cubicBezTo>
                <a:cubicBezTo>
                  <a:pt x="754087" y="1416893"/>
                  <a:pt x="755119" y="1416893"/>
                  <a:pt x="756181" y="1416893"/>
                </a:cubicBezTo>
                <a:cubicBezTo>
                  <a:pt x="759348" y="1422607"/>
                  <a:pt x="758101" y="1429902"/>
                  <a:pt x="758133" y="1436182"/>
                </a:cubicBezTo>
                <a:cubicBezTo>
                  <a:pt x="758182" y="1438458"/>
                  <a:pt x="758182" y="1438458"/>
                  <a:pt x="758231" y="1440781"/>
                </a:cubicBezTo>
                <a:cubicBezTo>
                  <a:pt x="758283" y="1450271"/>
                  <a:pt x="758174" y="1458360"/>
                  <a:pt x="750713" y="1465704"/>
                </a:cubicBezTo>
                <a:cubicBezTo>
                  <a:pt x="749940" y="1466193"/>
                  <a:pt x="749167" y="1466681"/>
                  <a:pt x="748370" y="1467185"/>
                </a:cubicBezTo>
                <a:cubicBezTo>
                  <a:pt x="743665" y="1470047"/>
                  <a:pt x="743665" y="1470047"/>
                  <a:pt x="741633" y="1473526"/>
                </a:cubicBezTo>
                <a:cubicBezTo>
                  <a:pt x="737793" y="1477248"/>
                  <a:pt x="733582" y="1477483"/>
                  <a:pt x="728154" y="1478343"/>
                </a:cubicBezTo>
                <a:cubicBezTo>
                  <a:pt x="724855" y="1478778"/>
                  <a:pt x="724855" y="1478778"/>
                  <a:pt x="721814" y="1480308"/>
                </a:cubicBezTo>
                <a:cubicBezTo>
                  <a:pt x="717303" y="1480523"/>
                  <a:pt x="712854" y="1480634"/>
                  <a:pt x="708341" y="1480661"/>
                </a:cubicBezTo>
                <a:cubicBezTo>
                  <a:pt x="707118" y="1480690"/>
                  <a:pt x="705896" y="1480719"/>
                  <a:pt x="704637" y="1480748"/>
                </a:cubicBezTo>
                <a:cubicBezTo>
                  <a:pt x="690446" y="1480834"/>
                  <a:pt x="679632" y="1476246"/>
                  <a:pt x="668507" y="1468418"/>
                </a:cubicBezTo>
                <a:cubicBezTo>
                  <a:pt x="662823" y="1463224"/>
                  <a:pt x="661745" y="1456995"/>
                  <a:pt x="660178" y="1450027"/>
                </a:cubicBezTo>
                <a:cubicBezTo>
                  <a:pt x="659725" y="1446589"/>
                  <a:pt x="659725" y="1446589"/>
                  <a:pt x="657767" y="1445078"/>
                </a:cubicBezTo>
                <a:cubicBezTo>
                  <a:pt x="656859" y="1433686"/>
                  <a:pt x="655965" y="1419178"/>
                  <a:pt x="663369" y="1409390"/>
                </a:cubicBezTo>
                <a:cubicBezTo>
                  <a:pt x="666078" y="1406601"/>
                  <a:pt x="668921" y="1404013"/>
                  <a:pt x="671826" y="1401392"/>
                </a:cubicBezTo>
                <a:cubicBezTo>
                  <a:pt x="675197" y="1397623"/>
                  <a:pt x="677125" y="1394916"/>
                  <a:pt x="678075" y="1390118"/>
                </a:cubicBezTo>
                <a:cubicBezTo>
                  <a:pt x="680137" y="1389653"/>
                  <a:pt x="682199" y="1389188"/>
                  <a:pt x="684323" y="1388709"/>
                </a:cubicBezTo>
                <a:cubicBezTo>
                  <a:pt x="684643" y="1387232"/>
                  <a:pt x="684964" y="1385755"/>
                  <a:pt x="685293" y="1384233"/>
                </a:cubicBezTo>
                <a:cubicBezTo>
                  <a:pt x="685718" y="1382290"/>
                  <a:pt x="686144" y="1380347"/>
                  <a:pt x="686569" y="1378404"/>
                </a:cubicBezTo>
                <a:cubicBezTo>
                  <a:pt x="686885" y="1376945"/>
                  <a:pt x="686885" y="1376945"/>
                  <a:pt x="687207" y="1375456"/>
                </a:cubicBezTo>
                <a:cubicBezTo>
                  <a:pt x="688115" y="1371315"/>
                  <a:pt x="689090" y="1367353"/>
                  <a:pt x="690572" y="1363343"/>
                </a:cubicBezTo>
                <a:cubicBezTo>
                  <a:pt x="692411" y="1350128"/>
                  <a:pt x="692374" y="1336672"/>
                  <a:pt x="692495" y="1323376"/>
                </a:cubicBezTo>
                <a:cubicBezTo>
                  <a:pt x="692524" y="1320586"/>
                  <a:pt x="692574" y="1317796"/>
                  <a:pt x="692625" y="1315006"/>
                </a:cubicBezTo>
                <a:cubicBezTo>
                  <a:pt x="692853" y="1300589"/>
                  <a:pt x="692853" y="1300589"/>
                  <a:pt x="687447" y="1287245"/>
                </a:cubicBezTo>
                <a:cubicBezTo>
                  <a:pt x="685901" y="1286780"/>
                  <a:pt x="684354" y="1286315"/>
                  <a:pt x="682761" y="1285835"/>
                </a:cubicBezTo>
                <a:cubicBezTo>
                  <a:pt x="680876" y="1283743"/>
                  <a:pt x="680876" y="1283743"/>
                  <a:pt x="678954" y="1281608"/>
                </a:cubicBezTo>
                <a:cubicBezTo>
                  <a:pt x="674854" y="1277278"/>
                  <a:pt x="674356" y="1276958"/>
                  <a:pt x="668702" y="1275971"/>
                </a:cubicBezTo>
                <a:cubicBezTo>
                  <a:pt x="666619" y="1274092"/>
                  <a:pt x="664536" y="1272213"/>
                  <a:pt x="662454" y="1270334"/>
                </a:cubicBezTo>
                <a:cubicBezTo>
                  <a:pt x="658341" y="1268566"/>
                  <a:pt x="658341" y="1268566"/>
                  <a:pt x="654643" y="1267516"/>
                </a:cubicBezTo>
                <a:cubicBezTo>
                  <a:pt x="654643" y="1266585"/>
                  <a:pt x="654643" y="1265656"/>
                  <a:pt x="654643" y="1264697"/>
                </a:cubicBezTo>
                <a:cubicBezTo>
                  <a:pt x="653161" y="1264581"/>
                  <a:pt x="651679" y="1264465"/>
                  <a:pt x="650152" y="1264345"/>
                </a:cubicBezTo>
                <a:cubicBezTo>
                  <a:pt x="642318" y="1263373"/>
                  <a:pt x="635297" y="1260465"/>
                  <a:pt x="628087" y="1257651"/>
                </a:cubicBezTo>
                <a:cubicBezTo>
                  <a:pt x="628087" y="1256721"/>
                  <a:pt x="628087" y="1255791"/>
                  <a:pt x="628087" y="1254833"/>
                </a:cubicBezTo>
                <a:cubicBezTo>
                  <a:pt x="627108" y="1254662"/>
                  <a:pt x="626129" y="1254491"/>
                  <a:pt x="625121" y="1254315"/>
                </a:cubicBezTo>
                <a:cubicBezTo>
                  <a:pt x="623845" y="1254079"/>
                  <a:pt x="622568" y="1253843"/>
                  <a:pt x="621252" y="1253600"/>
                </a:cubicBezTo>
                <a:cubicBezTo>
                  <a:pt x="619984" y="1253371"/>
                  <a:pt x="618716" y="1253142"/>
                  <a:pt x="617409" y="1252906"/>
                </a:cubicBezTo>
                <a:cubicBezTo>
                  <a:pt x="614027" y="1252014"/>
                  <a:pt x="614027" y="1252014"/>
                  <a:pt x="610904" y="1249196"/>
                </a:cubicBezTo>
                <a:cubicBezTo>
                  <a:pt x="592259" y="1248653"/>
                  <a:pt x="578635" y="1260869"/>
                  <a:pt x="565739" y="1271742"/>
                </a:cubicBezTo>
                <a:cubicBezTo>
                  <a:pt x="558808" y="1277725"/>
                  <a:pt x="552763" y="1283983"/>
                  <a:pt x="546924" y="1290829"/>
                </a:cubicBezTo>
                <a:cubicBezTo>
                  <a:pt x="545838" y="1292087"/>
                  <a:pt x="544753" y="1293346"/>
                  <a:pt x="543635" y="1294643"/>
                </a:cubicBezTo>
                <a:cubicBezTo>
                  <a:pt x="542650" y="1295813"/>
                  <a:pt x="541666" y="1296983"/>
                  <a:pt x="540651" y="1298188"/>
                </a:cubicBezTo>
                <a:cubicBezTo>
                  <a:pt x="537294" y="1301526"/>
                  <a:pt x="533978" y="1303337"/>
                  <a:pt x="529673" y="1305565"/>
                </a:cubicBezTo>
                <a:cubicBezTo>
                  <a:pt x="527599" y="1308478"/>
                  <a:pt x="527599" y="1308478"/>
                  <a:pt x="526549" y="1311202"/>
                </a:cubicBezTo>
                <a:cubicBezTo>
                  <a:pt x="525518" y="1311202"/>
                  <a:pt x="524487" y="1311202"/>
                  <a:pt x="523425" y="1311202"/>
                </a:cubicBezTo>
                <a:cubicBezTo>
                  <a:pt x="523360" y="1311986"/>
                  <a:pt x="523296" y="1312771"/>
                  <a:pt x="523230" y="1313580"/>
                </a:cubicBezTo>
                <a:cubicBezTo>
                  <a:pt x="521863" y="1316839"/>
                  <a:pt x="521863" y="1316839"/>
                  <a:pt x="517732" y="1319739"/>
                </a:cubicBezTo>
                <a:cubicBezTo>
                  <a:pt x="511111" y="1324565"/>
                  <a:pt x="506875" y="1330731"/>
                  <a:pt x="502239" y="1337096"/>
                </a:cubicBezTo>
                <a:cubicBezTo>
                  <a:pt x="500512" y="1339427"/>
                  <a:pt x="498785" y="1341757"/>
                  <a:pt x="497058" y="1344087"/>
                </a:cubicBezTo>
                <a:cubicBezTo>
                  <a:pt x="495827" y="1345760"/>
                  <a:pt x="495827" y="1345760"/>
                  <a:pt x="494572" y="1347465"/>
                </a:cubicBezTo>
                <a:cubicBezTo>
                  <a:pt x="492366" y="1350414"/>
                  <a:pt x="490094" y="1353304"/>
                  <a:pt x="487776" y="1356181"/>
                </a:cubicBezTo>
                <a:cubicBezTo>
                  <a:pt x="484805" y="1359972"/>
                  <a:pt x="482865" y="1363193"/>
                  <a:pt x="481248" y="1367571"/>
                </a:cubicBezTo>
                <a:cubicBezTo>
                  <a:pt x="480216" y="1367571"/>
                  <a:pt x="479186" y="1367571"/>
                  <a:pt x="478123" y="1367571"/>
                </a:cubicBezTo>
                <a:cubicBezTo>
                  <a:pt x="477963" y="1368558"/>
                  <a:pt x="477801" y="1369547"/>
                  <a:pt x="477635" y="1370565"/>
                </a:cubicBezTo>
                <a:cubicBezTo>
                  <a:pt x="475602" y="1378236"/>
                  <a:pt x="471952" y="1383371"/>
                  <a:pt x="465626" y="1388709"/>
                </a:cubicBezTo>
                <a:cubicBezTo>
                  <a:pt x="462272" y="1392748"/>
                  <a:pt x="462272" y="1392748"/>
                  <a:pt x="461233" y="1397340"/>
                </a:cubicBezTo>
                <a:cubicBezTo>
                  <a:pt x="460030" y="1401461"/>
                  <a:pt x="458298" y="1404501"/>
                  <a:pt x="455765" y="1408086"/>
                </a:cubicBezTo>
                <a:cubicBezTo>
                  <a:pt x="442829" y="1428603"/>
                  <a:pt x="441572" y="1454548"/>
                  <a:pt x="439070" y="1477490"/>
                </a:cubicBezTo>
                <a:cubicBezTo>
                  <a:pt x="437524" y="1477955"/>
                  <a:pt x="435977" y="1478420"/>
                  <a:pt x="434384" y="1478899"/>
                </a:cubicBezTo>
                <a:cubicBezTo>
                  <a:pt x="433739" y="1479916"/>
                  <a:pt x="433095" y="1480933"/>
                  <a:pt x="432431" y="1481982"/>
                </a:cubicBezTo>
                <a:cubicBezTo>
                  <a:pt x="428860" y="1487159"/>
                  <a:pt x="424291" y="1490903"/>
                  <a:pt x="418763" y="1494401"/>
                </a:cubicBezTo>
                <a:cubicBezTo>
                  <a:pt x="417731" y="1494401"/>
                  <a:pt x="416701" y="1494401"/>
                  <a:pt x="415639" y="1494401"/>
                </a:cubicBezTo>
                <a:cubicBezTo>
                  <a:pt x="415639" y="1495330"/>
                  <a:pt x="415639" y="1496260"/>
                  <a:pt x="415639" y="1497219"/>
                </a:cubicBezTo>
                <a:cubicBezTo>
                  <a:pt x="412546" y="1497684"/>
                  <a:pt x="409453" y="1498149"/>
                  <a:pt x="406265" y="1498628"/>
                </a:cubicBezTo>
                <a:cubicBezTo>
                  <a:pt x="406265" y="1499559"/>
                  <a:pt x="406265" y="1500488"/>
                  <a:pt x="406265" y="1501447"/>
                </a:cubicBezTo>
                <a:cubicBezTo>
                  <a:pt x="395955" y="1501447"/>
                  <a:pt x="385645" y="1501447"/>
                  <a:pt x="375023" y="1501447"/>
                </a:cubicBezTo>
                <a:lnTo>
                  <a:pt x="375023" y="1499438"/>
                </a:lnTo>
                <a:lnTo>
                  <a:pt x="374964" y="1499436"/>
                </a:lnTo>
                <a:lnTo>
                  <a:pt x="373179" y="1498628"/>
                </a:lnTo>
                <a:lnTo>
                  <a:pt x="365650" y="1498628"/>
                </a:lnTo>
                <a:lnTo>
                  <a:pt x="363134" y="1494087"/>
                </a:lnTo>
                <a:lnTo>
                  <a:pt x="362171" y="1493651"/>
                </a:lnTo>
                <a:cubicBezTo>
                  <a:pt x="361656" y="1492722"/>
                  <a:pt x="361140" y="1491791"/>
                  <a:pt x="360609" y="1490833"/>
                </a:cubicBezTo>
                <a:cubicBezTo>
                  <a:pt x="361640" y="1490833"/>
                  <a:pt x="362671" y="1490833"/>
                  <a:pt x="363733" y="1490833"/>
                </a:cubicBezTo>
                <a:lnTo>
                  <a:pt x="363733" y="1489980"/>
                </a:lnTo>
                <a:lnTo>
                  <a:pt x="348467" y="1481717"/>
                </a:lnTo>
                <a:lnTo>
                  <a:pt x="343872" y="1461078"/>
                </a:lnTo>
                <a:lnTo>
                  <a:pt x="343656" y="1463649"/>
                </a:lnTo>
                <a:cubicBezTo>
                  <a:pt x="343541" y="1465230"/>
                  <a:pt x="343541" y="1465230"/>
                  <a:pt x="343424" y="1466842"/>
                </a:cubicBezTo>
                <a:cubicBezTo>
                  <a:pt x="342908" y="1466842"/>
                  <a:pt x="342393" y="1466842"/>
                  <a:pt x="341861" y="1466842"/>
                </a:cubicBezTo>
                <a:cubicBezTo>
                  <a:pt x="340987" y="1449564"/>
                  <a:pt x="340999" y="1434331"/>
                  <a:pt x="354143" y="1420549"/>
                </a:cubicBezTo>
                <a:cubicBezTo>
                  <a:pt x="360765" y="1414011"/>
                  <a:pt x="367631" y="1407790"/>
                  <a:pt x="376229" y="1403427"/>
                </a:cubicBezTo>
                <a:lnTo>
                  <a:pt x="379491" y="1404408"/>
                </a:lnTo>
                <a:lnTo>
                  <a:pt x="379710" y="1404210"/>
                </a:lnTo>
                <a:cubicBezTo>
                  <a:pt x="380290" y="1402902"/>
                  <a:pt x="380290" y="1402902"/>
                  <a:pt x="380882" y="1401568"/>
                </a:cubicBezTo>
                <a:cubicBezTo>
                  <a:pt x="383675" y="1397284"/>
                  <a:pt x="387587" y="1395610"/>
                  <a:pt x="392207" y="1392936"/>
                </a:cubicBezTo>
                <a:lnTo>
                  <a:pt x="399542" y="1386774"/>
                </a:lnTo>
                <a:lnTo>
                  <a:pt x="405485" y="1378917"/>
                </a:lnTo>
                <a:cubicBezTo>
                  <a:pt x="408065" y="1375974"/>
                  <a:pt x="410029" y="1372774"/>
                  <a:pt x="412008" y="1369481"/>
                </a:cubicBezTo>
                <a:cubicBezTo>
                  <a:pt x="414759" y="1365166"/>
                  <a:pt x="417963" y="1361131"/>
                  <a:pt x="421130" y="1357057"/>
                </a:cubicBezTo>
                <a:cubicBezTo>
                  <a:pt x="423073" y="1354140"/>
                  <a:pt x="423985" y="1351767"/>
                  <a:pt x="424676" y="1348443"/>
                </a:cubicBezTo>
                <a:lnTo>
                  <a:pt x="427275" y="1348443"/>
                </a:lnTo>
                <a:lnTo>
                  <a:pt x="428135" y="1345727"/>
                </a:lnTo>
                <a:cubicBezTo>
                  <a:pt x="429370" y="1341828"/>
                  <a:pt x="430645" y="1338666"/>
                  <a:pt x="432822" y="1335158"/>
                </a:cubicBezTo>
                <a:cubicBezTo>
                  <a:pt x="433853" y="1335158"/>
                  <a:pt x="434884" y="1335158"/>
                  <a:pt x="435946" y="1335158"/>
                </a:cubicBezTo>
                <a:cubicBezTo>
                  <a:pt x="436526" y="1333385"/>
                  <a:pt x="437106" y="1331613"/>
                  <a:pt x="437704" y="1329786"/>
                </a:cubicBezTo>
                <a:cubicBezTo>
                  <a:pt x="440162" y="1323132"/>
                  <a:pt x="443602" y="1317301"/>
                  <a:pt x="447394" y="1311196"/>
                </a:cubicBezTo>
                <a:cubicBezTo>
                  <a:pt x="456493" y="1296485"/>
                  <a:pt x="463325" y="1281864"/>
                  <a:pt x="469287" y="1265964"/>
                </a:cubicBezTo>
                <a:cubicBezTo>
                  <a:pt x="474589" y="1252134"/>
                  <a:pt x="474589" y="1252134"/>
                  <a:pt x="478178" y="1246787"/>
                </a:cubicBezTo>
                <a:cubicBezTo>
                  <a:pt x="481232" y="1240246"/>
                  <a:pt x="480204" y="1232766"/>
                  <a:pt x="480179" y="1225768"/>
                </a:cubicBezTo>
                <a:cubicBezTo>
                  <a:pt x="480174" y="1222894"/>
                  <a:pt x="480210" y="1220023"/>
                  <a:pt x="480250" y="1217149"/>
                </a:cubicBezTo>
                <a:cubicBezTo>
                  <a:pt x="480260" y="1199291"/>
                  <a:pt x="476718" y="1187768"/>
                  <a:pt x="462972" y="1174827"/>
                </a:cubicBezTo>
                <a:cubicBezTo>
                  <a:pt x="461148" y="1173192"/>
                  <a:pt x="459312" y="1171566"/>
                  <a:pt x="457468" y="1169949"/>
                </a:cubicBezTo>
                <a:cubicBezTo>
                  <a:pt x="451412" y="1164522"/>
                  <a:pt x="445876" y="1158660"/>
                  <a:pt x="440657" y="1152570"/>
                </a:cubicBezTo>
                <a:cubicBezTo>
                  <a:pt x="430474" y="1140786"/>
                  <a:pt x="418230" y="1128998"/>
                  <a:pt x="403142" y="1122366"/>
                </a:cubicBezTo>
                <a:cubicBezTo>
                  <a:pt x="402626" y="1121436"/>
                  <a:pt x="402110" y="1120506"/>
                  <a:pt x="401579" y="1119547"/>
                </a:cubicBezTo>
                <a:cubicBezTo>
                  <a:pt x="390472" y="1115326"/>
                  <a:pt x="375918" y="1114217"/>
                  <a:pt x="364564" y="1118209"/>
                </a:cubicBezTo>
                <a:cubicBezTo>
                  <a:pt x="362278" y="1119428"/>
                  <a:pt x="360026" y="1120704"/>
                  <a:pt x="357822" y="1122041"/>
                </a:cubicBezTo>
                <a:cubicBezTo>
                  <a:pt x="354521" y="1123884"/>
                  <a:pt x="351862" y="1124582"/>
                  <a:pt x="348077" y="1125273"/>
                </a:cubicBezTo>
                <a:cubicBezTo>
                  <a:pt x="341765" y="1126696"/>
                  <a:pt x="339382" y="1128619"/>
                  <a:pt x="334408" y="1132230"/>
                </a:cubicBezTo>
                <a:cubicBezTo>
                  <a:pt x="332284" y="1132909"/>
                  <a:pt x="330131" y="1133519"/>
                  <a:pt x="327964" y="1134080"/>
                </a:cubicBezTo>
                <a:cubicBezTo>
                  <a:pt x="309975" y="1139067"/>
                  <a:pt x="290592" y="1152117"/>
                  <a:pt x="279734" y="1166051"/>
                </a:cubicBezTo>
                <a:cubicBezTo>
                  <a:pt x="277929" y="1169534"/>
                  <a:pt x="277929" y="1169534"/>
                  <a:pt x="276609" y="1173098"/>
                </a:cubicBezTo>
                <a:cubicBezTo>
                  <a:pt x="272413" y="1180804"/>
                  <a:pt x="269322" y="1184144"/>
                  <a:pt x="260988" y="1188599"/>
                </a:cubicBezTo>
                <a:cubicBezTo>
                  <a:pt x="259988" y="1189435"/>
                  <a:pt x="258987" y="1190271"/>
                  <a:pt x="257956" y="1191132"/>
                </a:cubicBezTo>
                <a:lnTo>
                  <a:pt x="243805" y="1196629"/>
                </a:lnTo>
                <a:lnTo>
                  <a:pt x="243805" y="1194236"/>
                </a:lnTo>
                <a:lnTo>
                  <a:pt x="240288" y="1194765"/>
                </a:lnTo>
                <a:lnTo>
                  <a:pt x="243374" y="1194765"/>
                </a:lnTo>
                <a:lnTo>
                  <a:pt x="243374" y="1196797"/>
                </a:lnTo>
                <a:lnTo>
                  <a:pt x="243805" y="1196629"/>
                </a:lnTo>
                <a:lnTo>
                  <a:pt x="243805" y="1197055"/>
                </a:lnTo>
                <a:lnTo>
                  <a:pt x="243374" y="1197055"/>
                </a:lnTo>
                <a:lnTo>
                  <a:pt x="243374" y="1197584"/>
                </a:lnTo>
                <a:lnTo>
                  <a:pt x="241319" y="1197595"/>
                </a:lnTo>
                <a:lnTo>
                  <a:pt x="238009" y="1198881"/>
                </a:lnTo>
                <a:cubicBezTo>
                  <a:pt x="231012" y="1199584"/>
                  <a:pt x="223620" y="1198927"/>
                  <a:pt x="215687" y="1198464"/>
                </a:cubicBezTo>
                <a:lnTo>
                  <a:pt x="215687" y="1197734"/>
                </a:lnTo>
                <a:lnTo>
                  <a:pt x="213936" y="1197744"/>
                </a:lnTo>
                <a:cubicBezTo>
                  <a:pt x="210570" y="1197584"/>
                  <a:pt x="210570" y="1197584"/>
                  <a:pt x="207446" y="1196175"/>
                </a:cubicBezTo>
                <a:lnTo>
                  <a:pt x="207822" y="1195610"/>
                </a:lnTo>
                <a:lnTo>
                  <a:pt x="184737" y="1180936"/>
                </a:lnTo>
                <a:cubicBezTo>
                  <a:pt x="180258" y="1172216"/>
                  <a:pt x="179226" y="1164355"/>
                  <a:pt x="179270" y="1154866"/>
                </a:cubicBezTo>
                <a:cubicBezTo>
                  <a:pt x="179233" y="1153260"/>
                  <a:pt x="179233" y="1153260"/>
                  <a:pt x="179194" y="1151621"/>
                </a:cubicBezTo>
                <a:cubicBezTo>
                  <a:pt x="179182" y="1139523"/>
                  <a:pt x="183658" y="1128837"/>
                  <a:pt x="193195" y="1120065"/>
                </a:cubicBezTo>
                <a:cubicBezTo>
                  <a:pt x="204265" y="1110959"/>
                  <a:pt x="215062" y="1110626"/>
                  <a:pt x="229551" y="1110299"/>
                </a:cubicBezTo>
                <a:cubicBezTo>
                  <a:pt x="240132" y="1110024"/>
                  <a:pt x="250506" y="1109652"/>
                  <a:pt x="260988" y="1108274"/>
                </a:cubicBezTo>
                <a:cubicBezTo>
                  <a:pt x="260988" y="1107344"/>
                  <a:pt x="260988" y="1106413"/>
                  <a:pt x="260988" y="1105455"/>
                </a:cubicBezTo>
                <a:cubicBezTo>
                  <a:pt x="261953" y="1105078"/>
                  <a:pt x="262918" y="1104699"/>
                  <a:pt x="263911" y="1104310"/>
                </a:cubicBezTo>
                <a:cubicBezTo>
                  <a:pt x="272903" y="1100557"/>
                  <a:pt x="279802" y="1096307"/>
                  <a:pt x="286995" y="1090185"/>
                </a:cubicBezTo>
                <a:cubicBezTo>
                  <a:pt x="290956" y="1086897"/>
                  <a:pt x="295114" y="1083955"/>
                  <a:pt x="299358" y="1080970"/>
                </a:cubicBezTo>
                <a:cubicBezTo>
                  <a:pt x="306613" y="1075692"/>
                  <a:pt x="312234" y="1070023"/>
                  <a:pt x="317762" y="1063272"/>
                </a:cubicBezTo>
                <a:cubicBezTo>
                  <a:pt x="320349" y="1060360"/>
                  <a:pt x="320349" y="1060360"/>
                  <a:pt x="325035" y="1057542"/>
                </a:cubicBezTo>
                <a:cubicBezTo>
                  <a:pt x="329912" y="1045734"/>
                  <a:pt x="327928" y="1035103"/>
                  <a:pt x="325328" y="1023104"/>
                </a:cubicBezTo>
                <a:cubicBezTo>
                  <a:pt x="325069" y="1021831"/>
                  <a:pt x="324811" y="1020559"/>
                  <a:pt x="324544" y="1019247"/>
                </a:cubicBezTo>
                <a:cubicBezTo>
                  <a:pt x="322876" y="1011407"/>
                  <a:pt x="320562" y="1004340"/>
                  <a:pt x="317225" y="996945"/>
                </a:cubicBezTo>
                <a:cubicBezTo>
                  <a:pt x="316619" y="995541"/>
                  <a:pt x="316013" y="994137"/>
                  <a:pt x="315388" y="992690"/>
                </a:cubicBezTo>
                <a:cubicBezTo>
                  <a:pt x="306307" y="972561"/>
                  <a:pt x="298931" y="959343"/>
                  <a:pt x="276232" y="950666"/>
                </a:cubicBezTo>
                <a:cubicBezTo>
                  <a:pt x="274810" y="950127"/>
                  <a:pt x="273388" y="949587"/>
                  <a:pt x="271923" y="949031"/>
                </a:cubicBezTo>
                <a:cubicBezTo>
                  <a:pt x="270129" y="948244"/>
                  <a:pt x="270129" y="948244"/>
                  <a:pt x="268299" y="947441"/>
                </a:cubicBezTo>
                <a:cubicBezTo>
                  <a:pt x="247071" y="938140"/>
                  <a:pt x="222259" y="939051"/>
                  <a:pt x="199187" y="938991"/>
                </a:cubicBezTo>
                <a:cubicBezTo>
                  <a:pt x="197383" y="938984"/>
                  <a:pt x="195579" y="938978"/>
                  <a:pt x="193719" y="938971"/>
                </a:cubicBezTo>
                <a:cubicBezTo>
                  <a:pt x="192010" y="938974"/>
                  <a:pt x="190300" y="938977"/>
                  <a:pt x="188539" y="938980"/>
                </a:cubicBezTo>
                <a:cubicBezTo>
                  <a:pt x="187000" y="938981"/>
                  <a:pt x="185460" y="938983"/>
                  <a:pt x="183874" y="938985"/>
                </a:cubicBezTo>
                <a:cubicBezTo>
                  <a:pt x="180148" y="939150"/>
                  <a:pt x="177092" y="939720"/>
                  <a:pt x="173509" y="940576"/>
                </a:cubicBezTo>
                <a:cubicBezTo>
                  <a:pt x="169458" y="940674"/>
                  <a:pt x="165452" y="940710"/>
                  <a:pt x="161403" y="940664"/>
                </a:cubicBezTo>
                <a:cubicBezTo>
                  <a:pt x="160314" y="940658"/>
                  <a:pt x="159224" y="940651"/>
                  <a:pt x="158102" y="940645"/>
                </a:cubicBezTo>
                <a:lnTo>
                  <a:pt x="150875" y="940583"/>
                </a:lnTo>
                <a:lnTo>
                  <a:pt x="148425" y="940717"/>
                </a:lnTo>
                <a:lnTo>
                  <a:pt x="149617" y="940995"/>
                </a:lnTo>
                <a:cubicBezTo>
                  <a:pt x="149617" y="941459"/>
                  <a:pt x="149617" y="941924"/>
                  <a:pt x="149617" y="942404"/>
                </a:cubicBezTo>
                <a:cubicBezTo>
                  <a:pt x="148630" y="942558"/>
                  <a:pt x="147643" y="942712"/>
                  <a:pt x="146627" y="942871"/>
                </a:cubicBezTo>
                <a:cubicBezTo>
                  <a:pt x="134541" y="944804"/>
                  <a:pt x="122553" y="947081"/>
                  <a:pt x="110564" y="949449"/>
                </a:cubicBezTo>
                <a:lnTo>
                  <a:pt x="111283" y="946205"/>
                </a:lnTo>
                <a:lnTo>
                  <a:pt x="101652" y="956078"/>
                </a:lnTo>
                <a:cubicBezTo>
                  <a:pt x="99870" y="957260"/>
                  <a:pt x="99870" y="957260"/>
                  <a:pt x="98052" y="958467"/>
                </a:cubicBezTo>
                <a:cubicBezTo>
                  <a:pt x="75683" y="972989"/>
                  <a:pt x="75683" y="972989"/>
                  <a:pt x="67286" y="972989"/>
                </a:cubicBezTo>
                <a:cubicBezTo>
                  <a:pt x="67286" y="973918"/>
                  <a:pt x="67286" y="974848"/>
                  <a:pt x="67286" y="975807"/>
                </a:cubicBezTo>
                <a:cubicBezTo>
                  <a:pt x="55713" y="979519"/>
                  <a:pt x="43549" y="980689"/>
                  <a:pt x="31942" y="976423"/>
                </a:cubicBezTo>
                <a:cubicBezTo>
                  <a:pt x="19953" y="970870"/>
                  <a:pt x="10774" y="964932"/>
                  <a:pt x="5673" y="953419"/>
                </a:cubicBezTo>
                <a:cubicBezTo>
                  <a:pt x="4801" y="950441"/>
                  <a:pt x="4801" y="950441"/>
                  <a:pt x="4801" y="944804"/>
                </a:cubicBezTo>
                <a:cubicBezTo>
                  <a:pt x="3770" y="944804"/>
                  <a:pt x="2739" y="944804"/>
                  <a:pt x="1676" y="944804"/>
                </a:cubicBezTo>
                <a:cubicBezTo>
                  <a:pt x="-34" y="940174"/>
                  <a:pt x="-41" y="936720"/>
                  <a:pt x="17" y="931857"/>
                </a:cubicBezTo>
                <a:cubicBezTo>
                  <a:pt x="31" y="930325"/>
                  <a:pt x="45" y="928794"/>
                  <a:pt x="59" y="927216"/>
                </a:cubicBezTo>
                <a:cubicBezTo>
                  <a:pt x="78" y="926044"/>
                  <a:pt x="96" y="924873"/>
                  <a:pt x="115" y="923666"/>
                </a:cubicBezTo>
                <a:cubicBezTo>
                  <a:pt x="1145" y="923666"/>
                  <a:pt x="2176" y="923666"/>
                  <a:pt x="3238" y="923666"/>
                </a:cubicBezTo>
                <a:cubicBezTo>
                  <a:pt x="3238" y="921805"/>
                  <a:pt x="3238" y="919945"/>
                  <a:pt x="3238" y="918029"/>
                </a:cubicBezTo>
                <a:cubicBezTo>
                  <a:pt x="4270" y="918029"/>
                  <a:pt x="5300" y="918029"/>
                  <a:pt x="6363" y="918029"/>
                </a:cubicBezTo>
                <a:cubicBezTo>
                  <a:pt x="6459" y="916314"/>
                  <a:pt x="6556" y="914599"/>
                  <a:pt x="6656" y="912832"/>
                </a:cubicBezTo>
                <a:cubicBezTo>
                  <a:pt x="7542" y="906455"/>
                  <a:pt x="10104" y="903750"/>
                  <a:pt x="15736" y="899709"/>
                </a:cubicBezTo>
                <a:lnTo>
                  <a:pt x="17243" y="898894"/>
                </a:lnTo>
                <a:lnTo>
                  <a:pt x="16800" y="898694"/>
                </a:lnTo>
                <a:lnTo>
                  <a:pt x="24988" y="894101"/>
                </a:lnTo>
                <a:lnTo>
                  <a:pt x="26768" y="892399"/>
                </a:lnTo>
                <a:cubicBezTo>
                  <a:pt x="28282" y="891122"/>
                  <a:pt x="29038" y="890483"/>
                  <a:pt x="30198" y="890164"/>
                </a:cubicBezTo>
                <a:lnTo>
                  <a:pt x="32204" y="890054"/>
                </a:lnTo>
                <a:lnTo>
                  <a:pt x="38914" y="886291"/>
                </a:lnTo>
                <a:cubicBezTo>
                  <a:pt x="47169" y="885770"/>
                  <a:pt x="55396" y="885800"/>
                  <a:pt x="63664" y="886011"/>
                </a:cubicBezTo>
                <a:lnTo>
                  <a:pt x="63664" y="886531"/>
                </a:lnTo>
                <a:lnTo>
                  <a:pt x="70784" y="886647"/>
                </a:lnTo>
                <a:cubicBezTo>
                  <a:pt x="74787" y="887000"/>
                  <a:pt x="77233" y="887948"/>
                  <a:pt x="82126" y="889845"/>
                </a:cubicBezTo>
                <a:cubicBezTo>
                  <a:pt x="92427" y="893791"/>
                  <a:pt x="103139" y="893710"/>
                  <a:pt x="114149" y="892663"/>
                </a:cubicBezTo>
                <a:cubicBezTo>
                  <a:pt x="115696" y="891733"/>
                  <a:pt x="117242" y="890803"/>
                  <a:pt x="118836" y="889845"/>
                </a:cubicBezTo>
                <a:cubicBezTo>
                  <a:pt x="123097" y="888850"/>
                  <a:pt x="127325" y="887944"/>
                  <a:pt x="131626" y="887114"/>
                </a:cubicBezTo>
                <a:cubicBezTo>
                  <a:pt x="139750" y="885542"/>
                  <a:pt x="147376" y="883653"/>
                  <a:pt x="155116" y="880913"/>
                </a:cubicBezTo>
                <a:cubicBezTo>
                  <a:pt x="158498" y="879775"/>
                  <a:pt x="161861" y="879076"/>
                  <a:pt x="165406" y="878483"/>
                </a:cubicBezTo>
                <a:cubicBezTo>
                  <a:pt x="170342" y="877655"/>
                  <a:pt x="172265" y="876971"/>
                  <a:pt x="176634" y="874343"/>
                </a:cubicBezTo>
                <a:cubicBezTo>
                  <a:pt x="179863" y="873335"/>
                  <a:pt x="183123" y="872404"/>
                  <a:pt x="186397" y="871524"/>
                </a:cubicBezTo>
                <a:cubicBezTo>
                  <a:pt x="189107" y="870786"/>
                  <a:pt x="189107" y="870786"/>
                  <a:pt x="191871" y="870033"/>
                </a:cubicBezTo>
                <a:cubicBezTo>
                  <a:pt x="195731" y="869023"/>
                  <a:pt x="199587" y="868093"/>
                  <a:pt x="203483" y="867208"/>
                </a:cubicBezTo>
                <a:cubicBezTo>
                  <a:pt x="208339" y="866199"/>
                  <a:pt x="208339" y="866199"/>
                  <a:pt x="211001" y="861660"/>
                </a:cubicBezTo>
                <a:cubicBezTo>
                  <a:pt x="214174" y="860102"/>
                  <a:pt x="214174" y="860102"/>
                  <a:pt x="218031" y="858577"/>
                </a:cubicBezTo>
                <a:cubicBezTo>
                  <a:pt x="236068" y="850629"/>
                  <a:pt x="245199" y="840442"/>
                  <a:pt x="254740" y="825020"/>
                </a:cubicBezTo>
                <a:cubicBezTo>
                  <a:pt x="255771" y="823625"/>
                  <a:pt x="256802" y="822230"/>
                  <a:pt x="257864" y="820792"/>
                </a:cubicBezTo>
                <a:cubicBezTo>
                  <a:pt x="258359" y="817506"/>
                  <a:pt x="258359" y="817506"/>
                  <a:pt x="258318" y="813810"/>
                </a:cubicBezTo>
                <a:cubicBezTo>
                  <a:pt x="258338" y="812388"/>
                  <a:pt x="258358" y="810967"/>
                  <a:pt x="258378" y="809502"/>
                </a:cubicBezTo>
                <a:cubicBezTo>
                  <a:pt x="258382" y="807965"/>
                  <a:pt x="258385" y="806429"/>
                  <a:pt x="258389" y="804845"/>
                </a:cubicBezTo>
                <a:cubicBezTo>
                  <a:pt x="258399" y="803258"/>
                  <a:pt x="258410" y="801671"/>
                  <a:pt x="258420" y="800036"/>
                </a:cubicBezTo>
                <a:cubicBezTo>
                  <a:pt x="258436" y="796670"/>
                  <a:pt x="258443" y="793305"/>
                  <a:pt x="258443" y="789939"/>
                </a:cubicBezTo>
                <a:cubicBezTo>
                  <a:pt x="258450" y="784823"/>
                  <a:pt x="258506" y="779709"/>
                  <a:pt x="258566" y="774594"/>
                </a:cubicBezTo>
                <a:cubicBezTo>
                  <a:pt x="258575" y="771319"/>
                  <a:pt x="258581" y="768045"/>
                  <a:pt x="258584" y="764771"/>
                </a:cubicBezTo>
                <a:cubicBezTo>
                  <a:pt x="258618" y="762495"/>
                  <a:pt x="258618" y="762495"/>
                  <a:pt x="258652" y="760174"/>
                </a:cubicBezTo>
                <a:cubicBezTo>
                  <a:pt x="258586" y="750030"/>
                  <a:pt x="256266" y="742584"/>
                  <a:pt x="251616" y="733421"/>
                </a:cubicBezTo>
                <a:cubicBezTo>
                  <a:pt x="250163" y="729605"/>
                  <a:pt x="248880" y="725752"/>
                  <a:pt x="247613" y="721883"/>
                </a:cubicBezTo>
                <a:cubicBezTo>
                  <a:pt x="245789" y="716328"/>
                  <a:pt x="243913" y="710939"/>
                  <a:pt x="241291" y="705644"/>
                </a:cubicBezTo>
                <a:cubicBezTo>
                  <a:pt x="238691" y="700096"/>
                  <a:pt x="238136" y="695685"/>
                  <a:pt x="237557" y="689735"/>
                </a:cubicBezTo>
                <a:cubicBezTo>
                  <a:pt x="244977" y="685507"/>
                  <a:pt x="244977" y="685507"/>
                  <a:pt x="248492" y="685507"/>
                </a:cubicBezTo>
                <a:cubicBezTo>
                  <a:pt x="248492" y="684112"/>
                  <a:pt x="248492" y="682717"/>
                  <a:pt x="248492" y="681279"/>
                </a:cubicBezTo>
                <a:cubicBezTo>
                  <a:pt x="245914" y="680815"/>
                  <a:pt x="243337" y="680350"/>
                  <a:pt x="240681" y="679870"/>
                </a:cubicBezTo>
                <a:cubicBezTo>
                  <a:pt x="240681" y="678940"/>
                  <a:pt x="240681" y="678010"/>
                  <a:pt x="240681" y="677052"/>
                </a:cubicBezTo>
                <a:cubicBezTo>
                  <a:pt x="239827" y="676917"/>
                  <a:pt x="238973" y="676783"/>
                  <a:pt x="238094" y="676645"/>
                </a:cubicBezTo>
                <a:cubicBezTo>
                  <a:pt x="233442" y="675371"/>
                  <a:pt x="229939" y="673242"/>
                  <a:pt x="225841" y="670886"/>
                </a:cubicBezTo>
                <a:cubicBezTo>
                  <a:pt x="217808" y="666564"/>
                  <a:pt x="210635" y="664241"/>
                  <a:pt x="201531" y="662508"/>
                </a:cubicBezTo>
                <a:cubicBezTo>
                  <a:pt x="196896" y="661541"/>
                  <a:pt x="192682" y="660199"/>
                  <a:pt x="188252" y="658644"/>
                </a:cubicBezTo>
                <a:lnTo>
                  <a:pt x="182431" y="657327"/>
                </a:lnTo>
                <a:lnTo>
                  <a:pt x="182431" y="657613"/>
                </a:lnTo>
                <a:cubicBezTo>
                  <a:pt x="170575" y="657148"/>
                  <a:pt x="158718" y="656683"/>
                  <a:pt x="146503" y="656204"/>
                </a:cubicBezTo>
                <a:cubicBezTo>
                  <a:pt x="146503" y="657133"/>
                  <a:pt x="146503" y="658064"/>
                  <a:pt x="146503" y="659022"/>
                </a:cubicBezTo>
                <a:cubicBezTo>
                  <a:pt x="134359" y="662326"/>
                  <a:pt x="123013" y="663700"/>
                  <a:pt x="110378" y="663778"/>
                </a:cubicBezTo>
                <a:cubicBezTo>
                  <a:pt x="108435" y="663806"/>
                  <a:pt x="108435" y="663806"/>
                  <a:pt x="106453" y="663836"/>
                </a:cubicBezTo>
                <a:cubicBezTo>
                  <a:pt x="105231" y="663828"/>
                  <a:pt x="104009" y="663820"/>
                  <a:pt x="102751" y="663811"/>
                </a:cubicBezTo>
                <a:cubicBezTo>
                  <a:pt x="101117" y="663804"/>
                  <a:pt x="101117" y="663804"/>
                  <a:pt x="99449" y="663797"/>
                </a:cubicBezTo>
                <a:cubicBezTo>
                  <a:pt x="95696" y="663097"/>
                  <a:pt x="94265" y="661615"/>
                  <a:pt x="91828" y="659022"/>
                </a:cubicBezTo>
                <a:cubicBezTo>
                  <a:pt x="93890" y="659022"/>
                  <a:pt x="95953" y="659022"/>
                  <a:pt x="98077" y="659022"/>
                </a:cubicBezTo>
                <a:cubicBezTo>
                  <a:pt x="98077" y="659952"/>
                  <a:pt x="98077" y="660882"/>
                  <a:pt x="98077" y="661841"/>
                </a:cubicBezTo>
                <a:cubicBezTo>
                  <a:pt x="108735" y="662045"/>
                  <a:pt x="114063" y="662148"/>
                  <a:pt x="119023" y="661357"/>
                </a:cubicBezTo>
                <a:lnTo>
                  <a:pt x="119536" y="661197"/>
                </a:lnTo>
                <a:lnTo>
                  <a:pt x="109853" y="661639"/>
                </a:lnTo>
                <a:cubicBezTo>
                  <a:pt x="108764" y="661632"/>
                  <a:pt x="107675" y="661626"/>
                  <a:pt x="106552" y="661619"/>
                </a:cubicBezTo>
                <a:cubicBezTo>
                  <a:pt x="103877" y="661603"/>
                  <a:pt x="101203" y="661577"/>
                  <a:pt x="98528" y="661550"/>
                </a:cubicBezTo>
                <a:cubicBezTo>
                  <a:pt x="98528" y="660620"/>
                  <a:pt x="98528" y="659691"/>
                  <a:pt x="98528" y="658732"/>
                </a:cubicBezTo>
                <a:cubicBezTo>
                  <a:pt x="95435" y="658267"/>
                  <a:pt x="92342" y="657802"/>
                  <a:pt x="89155" y="657323"/>
                </a:cubicBezTo>
                <a:cubicBezTo>
                  <a:pt x="89155" y="656393"/>
                  <a:pt x="89155" y="655462"/>
                  <a:pt x="89155" y="654504"/>
                </a:cubicBezTo>
                <a:cubicBezTo>
                  <a:pt x="87790" y="653978"/>
                  <a:pt x="87790" y="653978"/>
                  <a:pt x="86397" y="653442"/>
                </a:cubicBezTo>
                <a:cubicBezTo>
                  <a:pt x="82415" y="651438"/>
                  <a:pt x="80039" y="649232"/>
                  <a:pt x="77049" y="646137"/>
                </a:cubicBezTo>
                <a:cubicBezTo>
                  <a:pt x="75611" y="644679"/>
                  <a:pt x="75611" y="644679"/>
                  <a:pt x="74145" y="643192"/>
                </a:cubicBezTo>
                <a:cubicBezTo>
                  <a:pt x="71972" y="640412"/>
                  <a:pt x="71972" y="640412"/>
                  <a:pt x="71972" y="636185"/>
                </a:cubicBezTo>
                <a:cubicBezTo>
                  <a:pt x="70941" y="636185"/>
                  <a:pt x="69910" y="636185"/>
                  <a:pt x="68848" y="636185"/>
                </a:cubicBezTo>
                <a:cubicBezTo>
                  <a:pt x="64250" y="621928"/>
                  <a:pt x="64695" y="609404"/>
                  <a:pt x="70410" y="595317"/>
                </a:cubicBezTo>
                <a:cubicBezTo>
                  <a:pt x="73096" y="591142"/>
                  <a:pt x="76144" y="587574"/>
                  <a:pt x="79782" y="584043"/>
                </a:cubicBezTo>
                <a:cubicBezTo>
                  <a:pt x="81205" y="582594"/>
                  <a:pt x="81205" y="582594"/>
                  <a:pt x="82656" y="581115"/>
                </a:cubicBezTo>
                <a:cubicBezTo>
                  <a:pt x="91488" y="574027"/>
                  <a:pt x="105133" y="571806"/>
                  <a:pt x="116694" y="572323"/>
                </a:cubicBezTo>
                <a:cubicBezTo>
                  <a:pt x="131556" y="574113"/>
                  <a:pt x="142046" y="580551"/>
                  <a:pt x="152031" y="590385"/>
                </a:cubicBezTo>
                <a:cubicBezTo>
                  <a:pt x="162272" y="600009"/>
                  <a:pt x="176992" y="605062"/>
                  <a:pt x="191474" y="605886"/>
                </a:cubicBezTo>
                <a:cubicBezTo>
                  <a:pt x="196845" y="606192"/>
                  <a:pt x="201203" y="606463"/>
                  <a:pt x="206314" y="608000"/>
                </a:cubicBezTo>
                <a:cubicBezTo>
                  <a:pt x="206314" y="608930"/>
                  <a:pt x="206314" y="609860"/>
                  <a:pt x="206314" y="610818"/>
                </a:cubicBezTo>
                <a:cubicBezTo>
                  <a:pt x="215689" y="610902"/>
                  <a:pt x="225058" y="610898"/>
                  <a:pt x="234433" y="610818"/>
                </a:cubicBezTo>
                <a:cubicBezTo>
                  <a:pt x="236112" y="610813"/>
                  <a:pt x="237791" y="610808"/>
                  <a:pt x="239522" y="610802"/>
                </a:cubicBezTo>
                <a:cubicBezTo>
                  <a:pt x="251005" y="610364"/>
                  <a:pt x="259257" y="606564"/>
                  <a:pt x="268799" y="600954"/>
                </a:cubicBezTo>
                <a:cubicBezTo>
                  <a:pt x="269770" y="600416"/>
                  <a:pt x="270740" y="599879"/>
                  <a:pt x="271740" y="599325"/>
                </a:cubicBezTo>
                <a:cubicBezTo>
                  <a:pt x="279452" y="594430"/>
                  <a:pt x="281420" y="587464"/>
                  <a:pt x="284420" y="579816"/>
                </a:cubicBezTo>
                <a:cubicBezTo>
                  <a:pt x="286047" y="576075"/>
                  <a:pt x="287725" y="572353"/>
                  <a:pt x="289399" y="568630"/>
                </a:cubicBezTo>
                <a:cubicBezTo>
                  <a:pt x="294095" y="558121"/>
                  <a:pt x="299004" y="547070"/>
                  <a:pt x="293958" y="535838"/>
                </a:cubicBezTo>
                <a:cubicBezTo>
                  <a:pt x="292436" y="533533"/>
                  <a:pt x="290781" y="531301"/>
                  <a:pt x="289107" y="529084"/>
                </a:cubicBezTo>
                <a:cubicBezTo>
                  <a:pt x="289107" y="528153"/>
                  <a:pt x="289107" y="527223"/>
                  <a:pt x="289107" y="526265"/>
                </a:cubicBezTo>
                <a:cubicBezTo>
                  <a:pt x="287560" y="525800"/>
                  <a:pt x="286014" y="525335"/>
                  <a:pt x="284420" y="524856"/>
                </a:cubicBezTo>
                <a:cubicBezTo>
                  <a:pt x="283905" y="523461"/>
                  <a:pt x="283389" y="522066"/>
                  <a:pt x="282858" y="520628"/>
                </a:cubicBezTo>
                <a:cubicBezTo>
                  <a:pt x="280750" y="518590"/>
                  <a:pt x="280750" y="518590"/>
                  <a:pt x="277977" y="516577"/>
                </a:cubicBezTo>
                <a:cubicBezTo>
                  <a:pt x="273591" y="513232"/>
                  <a:pt x="269227" y="509874"/>
                  <a:pt x="264925" y="506443"/>
                </a:cubicBezTo>
                <a:cubicBezTo>
                  <a:pt x="253596" y="497433"/>
                  <a:pt x="242132" y="488987"/>
                  <a:pt x="229746" y="481170"/>
                </a:cubicBezTo>
                <a:cubicBezTo>
                  <a:pt x="226846" y="479266"/>
                  <a:pt x="223950" y="477358"/>
                  <a:pt x="221057" y="475445"/>
                </a:cubicBezTo>
                <a:cubicBezTo>
                  <a:pt x="218227" y="473594"/>
                  <a:pt x="215396" y="471744"/>
                  <a:pt x="212563" y="469896"/>
                </a:cubicBezTo>
                <a:cubicBezTo>
                  <a:pt x="211351" y="469102"/>
                  <a:pt x="210138" y="468309"/>
                  <a:pt x="208889" y="467491"/>
                </a:cubicBezTo>
                <a:cubicBezTo>
                  <a:pt x="202848" y="463599"/>
                  <a:pt x="196732" y="459888"/>
                  <a:pt x="190406" y="456382"/>
                </a:cubicBezTo>
                <a:cubicBezTo>
                  <a:pt x="189263" y="455748"/>
                  <a:pt x="188119" y="455114"/>
                  <a:pt x="186942" y="454460"/>
                </a:cubicBezTo>
                <a:cubicBezTo>
                  <a:pt x="184648" y="453196"/>
                  <a:pt x="182348" y="451941"/>
                  <a:pt x="180041" y="450696"/>
                </a:cubicBezTo>
                <a:cubicBezTo>
                  <a:pt x="177292" y="449185"/>
                  <a:pt x="174612" y="447571"/>
                  <a:pt x="171948" y="445940"/>
                </a:cubicBezTo>
                <a:cubicBezTo>
                  <a:pt x="171948" y="445009"/>
                  <a:pt x="171948" y="444079"/>
                  <a:pt x="171948" y="443121"/>
                </a:cubicBezTo>
                <a:cubicBezTo>
                  <a:pt x="170804" y="442985"/>
                  <a:pt x="169660" y="442848"/>
                  <a:pt x="168482" y="442708"/>
                </a:cubicBezTo>
                <a:cubicBezTo>
                  <a:pt x="163547" y="441576"/>
                  <a:pt x="161063" y="439897"/>
                  <a:pt x="157107" y="437044"/>
                </a:cubicBezTo>
                <a:cubicBezTo>
                  <a:pt x="149345" y="431895"/>
                  <a:pt x="141843" y="429626"/>
                  <a:pt x="132559" y="427510"/>
                </a:cubicBezTo>
                <a:cubicBezTo>
                  <a:pt x="128067" y="426168"/>
                  <a:pt x="126607" y="425060"/>
                  <a:pt x="123522" y="421983"/>
                </a:cubicBezTo>
                <a:cubicBezTo>
                  <a:pt x="118310" y="419033"/>
                  <a:pt x="114076" y="418794"/>
                  <a:pt x="107986" y="418730"/>
                </a:cubicBezTo>
                <a:cubicBezTo>
                  <a:pt x="106174" y="418694"/>
                  <a:pt x="104362" y="418659"/>
                  <a:pt x="102494" y="418622"/>
                </a:cubicBezTo>
                <a:cubicBezTo>
                  <a:pt x="98715" y="418573"/>
                  <a:pt x="94936" y="418529"/>
                  <a:pt x="91157" y="418490"/>
                </a:cubicBezTo>
                <a:cubicBezTo>
                  <a:pt x="78470" y="418231"/>
                  <a:pt x="65485" y="417940"/>
                  <a:pt x="55277" y="410445"/>
                </a:cubicBezTo>
                <a:cubicBezTo>
                  <a:pt x="54084" y="409137"/>
                  <a:pt x="52893" y="407829"/>
                  <a:pt x="51665" y="406481"/>
                </a:cubicBezTo>
                <a:cubicBezTo>
                  <a:pt x="49752" y="404480"/>
                  <a:pt x="47831" y="402483"/>
                  <a:pt x="45904" y="400492"/>
                </a:cubicBezTo>
                <a:cubicBezTo>
                  <a:pt x="44996" y="399526"/>
                  <a:pt x="44088" y="398559"/>
                  <a:pt x="43152" y="397564"/>
                </a:cubicBezTo>
                <a:cubicBezTo>
                  <a:pt x="40865" y="395062"/>
                  <a:pt x="40865" y="395062"/>
                  <a:pt x="37605" y="393798"/>
                </a:cubicBezTo>
                <a:lnTo>
                  <a:pt x="38995" y="368712"/>
                </a:lnTo>
                <a:lnTo>
                  <a:pt x="38666" y="369724"/>
                </a:lnTo>
                <a:cubicBezTo>
                  <a:pt x="37003" y="374506"/>
                  <a:pt x="36202" y="379113"/>
                  <a:pt x="35542" y="384081"/>
                </a:cubicBezTo>
                <a:cubicBezTo>
                  <a:pt x="30313" y="376119"/>
                  <a:pt x="31188" y="366593"/>
                  <a:pt x="33326" y="357791"/>
                </a:cubicBezTo>
                <a:cubicBezTo>
                  <a:pt x="37176" y="347767"/>
                  <a:pt x="44536" y="340769"/>
                  <a:pt x="52725" y="333349"/>
                </a:cubicBezTo>
                <a:lnTo>
                  <a:pt x="55222" y="334475"/>
                </a:lnTo>
                <a:lnTo>
                  <a:pt x="56222" y="333347"/>
                </a:lnTo>
                <a:lnTo>
                  <a:pt x="55871" y="333347"/>
                </a:lnTo>
                <a:lnTo>
                  <a:pt x="56346" y="333207"/>
                </a:lnTo>
                <a:lnTo>
                  <a:pt x="56351" y="333202"/>
                </a:lnTo>
                <a:lnTo>
                  <a:pt x="56365" y="333202"/>
                </a:lnTo>
                <a:lnTo>
                  <a:pt x="79571" y="326360"/>
                </a:lnTo>
                <a:cubicBezTo>
                  <a:pt x="87782" y="326037"/>
                  <a:pt x="96164" y="327572"/>
                  <a:pt x="104297" y="330529"/>
                </a:cubicBezTo>
                <a:lnTo>
                  <a:pt x="107170" y="334417"/>
                </a:lnTo>
                <a:lnTo>
                  <a:pt x="109366" y="336046"/>
                </a:lnTo>
                <a:lnTo>
                  <a:pt x="109463" y="336020"/>
                </a:lnTo>
                <a:lnTo>
                  <a:pt x="109463" y="336118"/>
                </a:lnTo>
                <a:lnTo>
                  <a:pt x="115226" y="340394"/>
                </a:lnTo>
                <a:lnTo>
                  <a:pt x="114010" y="340120"/>
                </a:lnTo>
                <a:lnTo>
                  <a:pt x="133285" y="357423"/>
                </a:lnTo>
                <a:cubicBezTo>
                  <a:pt x="142471" y="373187"/>
                  <a:pt x="155564" y="382744"/>
                  <a:pt x="173509" y="389571"/>
                </a:cubicBezTo>
                <a:cubicBezTo>
                  <a:pt x="176254" y="390785"/>
                  <a:pt x="178988" y="392017"/>
                  <a:pt x="181711" y="393270"/>
                </a:cubicBezTo>
                <a:cubicBezTo>
                  <a:pt x="182964" y="393833"/>
                  <a:pt x="184216" y="394396"/>
                  <a:pt x="185507" y="394976"/>
                </a:cubicBezTo>
                <a:cubicBezTo>
                  <a:pt x="187897" y="396058"/>
                  <a:pt x="190281" y="397151"/>
                  <a:pt x="192658" y="398257"/>
                </a:cubicBezTo>
                <a:cubicBezTo>
                  <a:pt x="193749" y="398762"/>
                  <a:pt x="194841" y="399267"/>
                  <a:pt x="195966" y="399788"/>
                </a:cubicBezTo>
                <a:cubicBezTo>
                  <a:pt x="196912" y="400231"/>
                  <a:pt x="197858" y="400674"/>
                  <a:pt x="198833" y="401131"/>
                </a:cubicBezTo>
                <a:cubicBezTo>
                  <a:pt x="201808" y="402326"/>
                  <a:pt x="204701" y="403032"/>
                  <a:pt x="207877" y="403663"/>
                </a:cubicBezTo>
                <a:cubicBezTo>
                  <a:pt x="207877" y="404593"/>
                  <a:pt x="207877" y="405523"/>
                  <a:pt x="207877" y="406481"/>
                </a:cubicBezTo>
                <a:cubicBezTo>
                  <a:pt x="221233" y="411377"/>
                  <a:pt x="234752" y="415503"/>
                  <a:pt x="248492" y="419428"/>
                </a:cubicBezTo>
                <a:cubicBezTo>
                  <a:pt x="250298" y="419947"/>
                  <a:pt x="252104" y="420466"/>
                  <a:pt x="253965" y="421000"/>
                </a:cubicBezTo>
                <a:cubicBezTo>
                  <a:pt x="258388" y="422270"/>
                  <a:pt x="262812" y="423537"/>
                  <a:pt x="267237" y="424801"/>
                </a:cubicBezTo>
                <a:lnTo>
                  <a:pt x="267237" y="426451"/>
                </a:lnTo>
                <a:lnTo>
                  <a:pt x="288701" y="429217"/>
                </a:lnTo>
                <a:cubicBezTo>
                  <a:pt x="288701" y="430147"/>
                  <a:pt x="288701" y="431078"/>
                  <a:pt x="288701" y="432036"/>
                </a:cubicBezTo>
                <a:cubicBezTo>
                  <a:pt x="301487" y="433472"/>
                  <a:pt x="314148" y="433662"/>
                  <a:pt x="327010" y="433628"/>
                </a:cubicBezTo>
                <a:cubicBezTo>
                  <a:pt x="330502" y="433621"/>
                  <a:pt x="333994" y="433628"/>
                  <a:pt x="337486" y="433637"/>
                </a:cubicBezTo>
                <a:cubicBezTo>
                  <a:pt x="339734" y="433637"/>
                  <a:pt x="341982" y="433635"/>
                  <a:pt x="344229" y="433632"/>
                </a:cubicBezTo>
                <a:cubicBezTo>
                  <a:pt x="347246" y="433630"/>
                  <a:pt x="347246" y="433630"/>
                  <a:pt x="350323" y="433627"/>
                </a:cubicBezTo>
                <a:cubicBezTo>
                  <a:pt x="355445" y="433459"/>
                  <a:pt x="360220" y="432915"/>
                  <a:pt x="365245" y="432036"/>
                </a:cubicBezTo>
                <a:lnTo>
                  <a:pt x="360797" y="433759"/>
                </a:lnTo>
                <a:lnTo>
                  <a:pt x="365650" y="433257"/>
                </a:lnTo>
                <a:cubicBezTo>
                  <a:pt x="366166" y="431861"/>
                  <a:pt x="366682" y="430466"/>
                  <a:pt x="367213" y="429029"/>
                </a:cubicBezTo>
                <a:cubicBezTo>
                  <a:pt x="369854" y="427628"/>
                  <a:pt x="372501" y="426234"/>
                  <a:pt x="375188" y="424906"/>
                </a:cubicBezTo>
                <a:cubicBezTo>
                  <a:pt x="390245" y="417204"/>
                  <a:pt x="397438" y="403183"/>
                  <a:pt x="404704" y="389571"/>
                </a:cubicBezTo>
                <a:cubicBezTo>
                  <a:pt x="405219" y="389105"/>
                  <a:pt x="405734" y="388641"/>
                  <a:pt x="406265" y="388161"/>
                </a:cubicBezTo>
                <a:cubicBezTo>
                  <a:pt x="406663" y="382152"/>
                  <a:pt x="406555" y="376125"/>
                  <a:pt x="406559" y="370106"/>
                </a:cubicBezTo>
                <a:cubicBezTo>
                  <a:pt x="406578" y="368412"/>
                  <a:pt x="406597" y="366718"/>
                  <a:pt x="406617" y="364973"/>
                </a:cubicBezTo>
                <a:cubicBezTo>
                  <a:pt x="406620" y="363344"/>
                  <a:pt x="406622" y="361715"/>
                  <a:pt x="406626" y="360038"/>
                </a:cubicBezTo>
                <a:cubicBezTo>
                  <a:pt x="406632" y="358541"/>
                  <a:pt x="406638" y="357045"/>
                  <a:pt x="406645" y="355503"/>
                </a:cubicBezTo>
                <a:cubicBezTo>
                  <a:pt x="406264" y="351503"/>
                  <a:pt x="405326" y="349318"/>
                  <a:pt x="403142" y="345885"/>
                </a:cubicBezTo>
                <a:cubicBezTo>
                  <a:pt x="402583" y="343484"/>
                  <a:pt x="402067" y="341075"/>
                  <a:pt x="401579" y="338663"/>
                </a:cubicBezTo>
                <a:cubicBezTo>
                  <a:pt x="399365" y="330323"/>
                  <a:pt x="395538" y="323370"/>
                  <a:pt x="390938" y="315939"/>
                </a:cubicBezTo>
                <a:cubicBezTo>
                  <a:pt x="390290" y="314890"/>
                  <a:pt x="389642" y="313842"/>
                  <a:pt x="388976" y="312762"/>
                </a:cubicBezTo>
                <a:cubicBezTo>
                  <a:pt x="385623" y="307500"/>
                  <a:pt x="382070" y="302607"/>
                  <a:pt x="377934" y="297817"/>
                </a:cubicBezTo>
                <a:cubicBezTo>
                  <a:pt x="373788" y="292978"/>
                  <a:pt x="371423" y="288111"/>
                  <a:pt x="368775" y="282470"/>
                </a:cubicBezTo>
                <a:cubicBezTo>
                  <a:pt x="366035" y="278585"/>
                  <a:pt x="362994" y="274937"/>
                  <a:pt x="359890" y="271284"/>
                </a:cubicBezTo>
                <a:cubicBezTo>
                  <a:pt x="359059" y="270296"/>
                  <a:pt x="358230" y="269307"/>
                  <a:pt x="357374" y="268288"/>
                </a:cubicBezTo>
                <a:cubicBezTo>
                  <a:pt x="351312" y="261177"/>
                  <a:pt x="344882" y="254704"/>
                  <a:pt x="337533" y="248649"/>
                </a:cubicBezTo>
                <a:cubicBezTo>
                  <a:pt x="336767" y="247896"/>
                  <a:pt x="336002" y="247144"/>
                  <a:pt x="335214" y="246369"/>
                </a:cubicBezTo>
                <a:cubicBezTo>
                  <a:pt x="332597" y="243963"/>
                  <a:pt x="332597" y="243963"/>
                  <a:pt x="327085" y="242571"/>
                </a:cubicBezTo>
                <a:cubicBezTo>
                  <a:pt x="309670" y="236923"/>
                  <a:pt x="296614" y="222751"/>
                  <a:pt x="288785" y="207968"/>
                </a:cubicBezTo>
                <a:cubicBezTo>
                  <a:pt x="286673" y="202851"/>
                  <a:pt x="286348" y="197968"/>
                  <a:pt x="286373" y="192544"/>
                </a:cubicBezTo>
                <a:cubicBezTo>
                  <a:pt x="286377" y="191437"/>
                  <a:pt x="286381" y="190330"/>
                  <a:pt x="286385" y="189190"/>
                </a:cubicBezTo>
                <a:cubicBezTo>
                  <a:pt x="286881" y="178340"/>
                  <a:pt x="291581" y="171728"/>
                  <a:pt x="300042" y="164095"/>
                </a:cubicBezTo>
                <a:cubicBezTo>
                  <a:pt x="301386" y="162752"/>
                  <a:pt x="301386" y="162752"/>
                  <a:pt x="302757" y="161381"/>
                </a:cubicBezTo>
                <a:cubicBezTo>
                  <a:pt x="312597" y="152504"/>
                  <a:pt x="325185" y="152675"/>
                  <a:pt x="338411" y="152293"/>
                </a:cubicBezTo>
                <a:cubicBezTo>
                  <a:pt x="350839" y="152463"/>
                  <a:pt x="359094" y="154554"/>
                  <a:pt x="368482" y="161893"/>
                </a:cubicBezTo>
                <a:cubicBezTo>
                  <a:pt x="369609" y="163085"/>
                  <a:pt x="370737" y="164277"/>
                  <a:pt x="371899" y="165505"/>
                </a:cubicBezTo>
                <a:cubicBezTo>
                  <a:pt x="372962" y="166522"/>
                  <a:pt x="374026" y="167539"/>
                  <a:pt x="375121" y="168587"/>
                </a:cubicBezTo>
                <a:cubicBezTo>
                  <a:pt x="381050" y="176351"/>
                  <a:pt x="384520" y="184328"/>
                  <a:pt x="384982" y="193777"/>
                </a:cubicBezTo>
                <a:cubicBezTo>
                  <a:pt x="385464" y="201192"/>
                  <a:pt x="387638" y="207607"/>
                  <a:pt x="390352" y="214563"/>
                </a:cubicBezTo>
                <a:cubicBezTo>
                  <a:pt x="390934" y="216079"/>
                  <a:pt x="390934" y="216079"/>
                  <a:pt x="391529" y="217626"/>
                </a:cubicBezTo>
                <a:cubicBezTo>
                  <a:pt x="394082" y="223926"/>
                  <a:pt x="397412" y="228969"/>
                  <a:pt x="401579" y="234556"/>
                </a:cubicBezTo>
                <a:cubicBezTo>
                  <a:pt x="401579" y="235952"/>
                  <a:pt x="401579" y="237347"/>
                  <a:pt x="401579" y="238784"/>
                </a:cubicBezTo>
                <a:cubicBezTo>
                  <a:pt x="402884" y="239263"/>
                  <a:pt x="402884" y="239263"/>
                  <a:pt x="404215" y="239753"/>
                </a:cubicBezTo>
                <a:cubicBezTo>
                  <a:pt x="410099" y="242765"/>
                  <a:pt x="414395" y="246733"/>
                  <a:pt x="417811" y="251996"/>
                </a:cubicBezTo>
                <a:cubicBezTo>
                  <a:pt x="420462" y="255897"/>
                  <a:pt x="423407" y="258959"/>
                  <a:pt x="426866" y="262300"/>
                </a:cubicBezTo>
                <a:cubicBezTo>
                  <a:pt x="435101" y="270407"/>
                  <a:pt x="442641" y="278936"/>
                  <a:pt x="450097" y="287628"/>
                </a:cubicBezTo>
                <a:cubicBezTo>
                  <a:pt x="453081" y="291117"/>
                  <a:pt x="453081" y="291117"/>
                  <a:pt x="457425" y="293920"/>
                </a:cubicBezTo>
                <a:cubicBezTo>
                  <a:pt x="458585" y="294792"/>
                  <a:pt x="459745" y="295664"/>
                  <a:pt x="460940" y="296562"/>
                </a:cubicBezTo>
                <a:cubicBezTo>
                  <a:pt x="460940" y="297957"/>
                  <a:pt x="460940" y="299352"/>
                  <a:pt x="460940" y="300790"/>
                </a:cubicBezTo>
                <a:cubicBezTo>
                  <a:pt x="465063" y="302782"/>
                  <a:pt x="468862" y="304133"/>
                  <a:pt x="473437" y="305018"/>
                </a:cubicBezTo>
                <a:cubicBezTo>
                  <a:pt x="473437" y="305947"/>
                  <a:pt x="473437" y="306877"/>
                  <a:pt x="473437" y="307836"/>
                </a:cubicBezTo>
                <a:cubicBezTo>
                  <a:pt x="475581" y="308519"/>
                  <a:pt x="477730" y="309193"/>
                  <a:pt x="479881" y="309862"/>
                </a:cubicBezTo>
                <a:cubicBezTo>
                  <a:pt x="481077" y="310237"/>
                  <a:pt x="482273" y="310614"/>
                  <a:pt x="483505" y="311001"/>
                </a:cubicBezTo>
                <a:cubicBezTo>
                  <a:pt x="505448" y="316843"/>
                  <a:pt x="527690" y="314359"/>
                  <a:pt x="548419" y="306427"/>
                </a:cubicBezTo>
                <a:cubicBezTo>
                  <a:pt x="549548" y="305998"/>
                  <a:pt x="550678" y="305569"/>
                  <a:pt x="551842" y="305127"/>
                </a:cubicBezTo>
                <a:cubicBezTo>
                  <a:pt x="555376" y="303227"/>
                  <a:pt x="557584" y="300980"/>
                  <a:pt x="560232" y="298148"/>
                </a:cubicBezTo>
                <a:cubicBezTo>
                  <a:pt x="561137" y="297192"/>
                  <a:pt x="562041" y="296236"/>
                  <a:pt x="562972" y="295252"/>
                </a:cubicBezTo>
                <a:cubicBezTo>
                  <a:pt x="564755" y="293274"/>
                  <a:pt x="566459" y="291237"/>
                  <a:pt x="568086" y="289152"/>
                </a:cubicBezTo>
                <a:cubicBezTo>
                  <a:pt x="568813" y="288342"/>
                  <a:pt x="569539" y="287532"/>
                  <a:pt x="570289" y="286697"/>
                </a:cubicBezTo>
                <a:cubicBezTo>
                  <a:pt x="571319" y="286697"/>
                  <a:pt x="572350" y="286697"/>
                  <a:pt x="573413" y="286697"/>
                </a:cubicBezTo>
                <a:cubicBezTo>
                  <a:pt x="577408" y="276984"/>
                  <a:pt x="577197" y="267284"/>
                  <a:pt x="577220" y="257016"/>
                </a:cubicBezTo>
                <a:cubicBezTo>
                  <a:pt x="577227" y="255625"/>
                  <a:pt x="577227" y="255625"/>
                  <a:pt x="577235" y="254206"/>
                </a:cubicBezTo>
                <a:cubicBezTo>
                  <a:pt x="577257" y="237553"/>
                  <a:pt x="574604" y="222055"/>
                  <a:pt x="569443" y="206049"/>
                </a:cubicBezTo>
                <a:cubicBezTo>
                  <a:pt x="568726" y="203553"/>
                  <a:pt x="568726" y="203553"/>
                  <a:pt x="568726" y="200735"/>
                </a:cubicBezTo>
                <a:cubicBezTo>
                  <a:pt x="567695" y="200735"/>
                  <a:pt x="566664" y="200735"/>
                  <a:pt x="565602" y="200735"/>
                </a:cubicBezTo>
                <a:cubicBezTo>
                  <a:pt x="563274" y="195295"/>
                  <a:pt x="561092" y="190108"/>
                  <a:pt x="559549" y="184441"/>
                </a:cubicBezTo>
                <a:cubicBezTo>
                  <a:pt x="555572" y="173477"/>
                  <a:pt x="547043" y="167105"/>
                  <a:pt x="537484" y="159867"/>
                </a:cubicBezTo>
                <a:cubicBezTo>
                  <a:pt x="533579" y="156609"/>
                  <a:pt x="533579" y="156609"/>
                  <a:pt x="531235" y="154230"/>
                </a:cubicBezTo>
                <a:cubicBezTo>
                  <a:pt x="531235" y="153301"/>
                  <a:pt x="531235" y="152371"/>
                  <a:pt x="531235" y="151412"/>
                </a:cubicBezTo>
                <a:cubicBezTo>
                  <a:pt x="529689" y="150947"/>
                  <a:pt x="528143" y="150482"/>
                  <a:pt x="526549" y="150003"/>
                </a:cubicBezTo>
                <a:cubicBezTo>
                  <a:pt x="519904" y="137298"/>
                  <a:pt x="519105" y="120357"/>
                  <a:pt x="524304" y="107198"/>
                </a:cubicBezTo>
                <a:cubicBezTo>
                  <a:pt x="529443" y="97376"/>
                  <a:pt x="535781" y="90193"/>
                  <a:pt x="547052" y="85972"/>
                </a:cubicBezTo>
                <a:cubicBezTo>
                  <a:pt x="559924" y="81835"/>
                  <a:pt x="575221" y="79746"/>
                  <a:pt x="588460" y="83538"/>
                </a:cubicBezTo>
                <a:cubicBezTo>
                  <a:pt x="601643" y="89713"/>
                  <a:pt x="611835" y="99450"/>
                  <a:pt x="617152" y="111954"/>
                </a:cubicBezTo>
                <a:cubicBezTo>
                  <a:pt x="617935" y="116052"/>
                  <a:pt x="617954" y="120024"/>
                  <a:pt x="617884" y="124175"/>
                </a:cubicBezTo>
                <a:cubicBezTo>
                  <a:pt x="617896" y="125307"/>
                  <a:pt x="617906" y="126440"/>
                  <a:pt x="617917" y="127607"/>
                </a:cubicBezTo>
                <a:cubicBezTo>
                  <a:pt x="617963" y="132394"/>
                  <a:pt x="617938" y="137181"/>
                  <a:pt x="617919" y="141969"/>
                </a:cubicBezTo>
                <a:cubicBezTo>
                  <a:pt x="617899" y="160184"/>
                  <a:pt x="619422" y="175572"/>
                  <a:pt x="630625" y="191311"/>
                </a:cubicBezTo>
                <a:cubicBezTo>
                  <a:pt x="633753" y="195891"/>
                  <a:pt x="636431" y="199900"/>
                  <a:pt x="637850" y="205139"/>
                </a:cubicBezTo>
                <a:cubicBezTo>
                  <a:pt x="638615" y="209623"/>
                  <a:pt x="638615" y="209623"/>
                  <a:pt x="643708" y="212009"/>
                </a:cubicBezTo>
                <a:cubicBezTo>
                  <a:pt x="645380" y="214563"/>
                  <a:pt x="645380" y="214563"/>
                  <a:pt x="647027" y="217645"/>
                </a:cubicBezTo>
                <a:cubicBezTo>
                  <a:pt x="652549" y="227016"/>
                  <a:pt x="660443" y="235696"/>
                  <a:pt x="670264" y="241603"/>
                </a:cubicBezTo>
                <a:cubicBezTo>
                  <a:pt x="670264" y="242532"/>
                  <a:pt x="670264" y="243462"/>
                  <a:pt x="670264" y="244421"/>
                </a:cubicBezTo>
                <a:cubicBezTo>
                  <a:pt x="672036" y="244857"/>
                  <a:pt x="673808" y="245293"/>
                  <a:pt x="675634" y="245742"/>
                </a:cubicBezTo>
                <a:cubicBezTo>
                  <a:pt x="681199" y="247239"/>
                  <a:pt x="681199" y="247239"/>
                  <a:pt x="682761" y="248649"/>
                </a:cubicBezTo>
                <a:cubicBezTo>
                  <a:pt x="704487" y="252065"/>
                  <a:pt x="732606" y="256402"/>
                  <a:pt x="752092" y="245076"/>
                </a:cubicBezTo>
                <a:cubicBezTo>
                  <a:pt x="754252" y="243599"/>
                  <a:pt x="756372" y="242073"/>
                  <a:pt x="758433" y="240485"/>
                </a:cubicBezTo>
                <a:cubicBezTo>
                  <a:pt x="760867" y="238784"/>
                  <a:pt x="760867" y="238784"/>
                  <a:pt x="763991" y="238784"/>
                </a:cubicBezTo>
                <a:cubicBezTo>
                  <a:pt x="764647" y="237296"/>
                  <a:pt x="764647" y="237296"/>
                  <a:pt x="765315" y="235778"/>
                </a:cubicBezTo>
                <a:cubicBezTo>
                  <a:pt x="767151" y="231659"/>
                  <a:pt x="769030" y="227557"/>
                  <a:pt x="770923" y="223459"/>
                </a:cubicBezTo>
                <a:cubicBezTo>
                  <a:pt x="771608" y="221966"/>
                  <a:pt x="772292" y="220472"/>
                  <a:pt x="772998" y="218934"/>
                </a:cubicBezTo>
                <a:cubicBezTo>
                  <a:pt x="774429" y="215885"/>
                  <a:pt x="775968" y="212878"/>
                  <a:pt x="777562" y="209895"/>
                </a:cubicBezTo>
                <a:cubicBezTo>
                  <a:pt x="787607" y="185732"/>
                  <a:pt x="788559" y="149501"/>
                  <a:pt x="781175" y="124637"/>
                </a:cubicBezTo>
                <a:cubicBezTo>
                  <a:pt x="780144" y="124637"/>
                  <a:pt x="779113" y="124637"/>
                  <a:pt x="778051" y="124637"/>
                </a:cubicBezTo>
                <a:cubicBezTo>
                  <a:pt x="768501" y="110080"/>
                  <a:pt x="762898" y="96653"/>
                  <a:pt x="767116" y="79542"/>
                </a:cubicBezTo>
                <a:cubicBezTo>
                  <a:pt x="772286" y="69057"/>
                  <a:pt x="781456" y="58252"/>
                  <a:pt x="793379" y="54000"/>
                </a:cubicBezTo>
                <a:cubicBezTo>
                  <a:pt x="808369" y="49250"/>
                  <a:pt x="826058" y="49579"/>
                  <a:pt x="840688" y="55503"/>
                </a:cubicBezTo>
                <a:cubicBezTo>
                  <a:pt x="845183" y="57759"/>
                  <a:pt x="848037" y="60575"/>
                  <a:pt x="851470" y="64040"/>
                </a:cubicBezTo>
                <a:cubicBezTo>
                  <a:pt x="852721" y="65272"/>
                  <a:pt x="852721" y="65272"/>
                  <a:pt x="853997" y="66529"/>
                </a:cubicBezTo>
                <a:cubicBezTo>
                  <a:pt x="858396" y="71505"/>
                  <a:pt x="860490" y="76640"/>
                  <a:pt x="861488" y="82057"/>
                </a:cubicBezTo>
                <a:lnTo>
                  <a:pt x="861937" y="90492"/>
                </a:lnTo>
                <a:lnTo>
                  <a:pt x="863826" y="100715"/>
                </a:lnTo>
                <a:cubicBezTo>
                  <a:pt x="862141" y="107853"/>
                  <a:pt x="859866" y="114857"/>
                  <a:pt x="857577" y="121853"/>
                </a:cubicBezTo>
                <a:cubicBezTo>
                  <a:pt x="857062" y="121853"/>
                  <a:pt x="856547" y="121853"/>
                  <a:pt x="856015" y="121853"/>
                </a:cubicBezTo>
                <a:cubicBezTo>
                  <a:pt x="855731" y="120401"/>
                  <a:pt x="855731" y="120401"/>
                  <a:pt x="855442" y="118919"/>
                </a:cubicBezTo>
                <a:lnTo>
                  <a:pt x="855417" y="118798"/>
                </a:lnTo>
                <a:lnTo>
                  <a:pt x="856157" y="124637"/>
                </a:lnTo>
                <a:lnTo>
                  <a:pt x="850623" y="134701"/>
                </a:lnTo>
                <a:lnTo>
                  <a:pt x="851325" y="135968"/>
                </a:lnTo>
                <a:cubicBezTo>
                  <a:pt x="850851" y="137246"/>
                  <a:pt x="850376" y="138525"/>
                  <a:pt x="849886" y="139843"/>
                </a:cubicBezTo>
                <a:cubicBezTo>
                  <a:pt x="848171" y="144505"/>
                  <a:pt x="847798" y="148002"/>
                  <a:pt x="847786" y="152889"/>
                </a:cubicBezTo>
                <a:cubicBezTo>
                  <a:pt x="847779" y="154500"/>
                  <a:pt x="847773" y="156109"/>
                  <a:pt x="847767" y="157768"/>
                </a:cubicBezTo>
                <a:cubicBezTo>
                  <a:pt x="847782" y="159468"/>
                  <a:pt x="847796" y="161167"/>
                  <a:pt x="847810" y="162919"/>
                </a:cubicBezTo>
                <a:cubicBezTo>
                  <a:pt x="847821" y="165546"/>
                  <a:pt x="847821" y="165546"/>
                  <a:pt x="847832" y="168227"/>
                </a:cubicBezTo>
                <a:cubicBezTo>
                  <a:pt x="847980" y="181934"/>
                  <a:pt x="849003" y="195419"/>
                  <a:pt x="850903" y="209013"/>
                </a:cubicBezTo>
                <a:lnTo>
                  <a:pt x="852880" y="224692"/>
                </a:lnTo>
                <a:lnTo>
                  <a:pt x="854595" y="224692"/>
                </a:lnTo>
                <a:cubicBezTo>
                  <a:pt x="855086" y="225542"/>
                  <a:pt x="855577" y="226392"/>
                  <a:pt x="856083" y="227268"/>
                </a:cubicBezTo>
                <a:cubicBezTo>
                  <a:pt x="862358" y="237839"/>
                  <a:pt x="866924" y="242785"/>
                  <a:pt x="879588" y="247239"/>
                </a:cubicBezTo>
                <a:cubicBezTo>
                  <a:pt x="881642" y="248025"/>
                  <a:pt x="883692" y="248817"/>
                  <a:pt x="885739" y="249618"/>
                </a:cubicBezTo>
                <a:cubicBezTo>
                  <a:pt x="887318" y="250227"/>
                  <a:pt x="888897" y="250838"/>
                  <a:pt x="890523" y="251467"/>
                </a:cubicBezTo>
                <a:cubicBezTo>
                  <a:pt x="890523" y="252397"/>
                  <a:pt x="890523" y="253327"/>
                  <a:pt x="890523" y="254285"/>
                </a:cubicBezTo>
                <a:cubicBezTo>
                  <a:pt x="900347" y="257061"/>
                  <a:pt x="910127" y="259425"/>
                  <a:pt x="920203" y="261332"/>
                </a:cubicBezTo>
                <a:cubicBezTo>
                  <a:pt x="920203" y="261796"/>
                  <a:pt x="920203" y="262262"/>
                  <a:pt x="920203" y="262741"/>
                </a:cubicBezTo>
                <a:cubicBezTo>
                  <a:pt x="917111" y="262741"/>
                  <a:pt x="914018" y="262741"/>
                  <a:pt x="910831" y="262741"/>
                </a:cubicBezTo>
                <a:lnTo>
                  <a:pt x="910831" y="262864"/>
                </a:lnTo>
                <a:lnTo>
                  <a:pt x="927993" y="264177"/>
                </a:lnTo>
                <a:lnTo>
                  <a:pt x="939273" y="265285"/>
                </a:lnTo>
                <a:lnTo>
                  <a:pt x="940456" y="265191"/>
                </a:lnTo>
                <a:cubicBezTo>
                  <a:pt x="962552" y="263054"/>
                  <a:pt x="974979" y="255295"/>
                  <a:pt x="991622" y="242329"/>
                </a:cubicBezTo>
                <a:lnTo>
                  <a:pt x="1000803" y="236505"/>
                </a:lnTo>
                <a:lnTo>
                  <a:pt x="999806" y="236055"/>
                </a:lnTo>
                <a:cubicBezTo>
                  <a:pt x="1000902" y="234997"/>
                  <a:pt x="1001997" y="233941"/>
                  <a:pt x="1003126" y="232851"/>
                </a:cubicBezTo>
                <a:cubicBezTo>
                  <a:pt x="1012364" y="223880"/>
                  <a:pt x="1021184" y="214752"/>
                  <a:pt x="1029487" y="205052"/>
                </a:cubicBezTo>
                <a:lnTo>
                  <a:pt x="1029872" y="206442"/>
                </a:lnTo>
                <a:lnTo>
                  <a:pt x="1031614" y="203719"/>
                </a:lnTo>
                <a:cubicBezTo>
                  <a:pt x="1033221" y="199204"/>
                  <a:pt x="1035713" y="196017"/>
                  <a:pt x="1038924" y="192280"/>
                </a:cubicBezTo>
                <a:cubicBezTo>
                  <a:pt x="1039956" y="191815"/>
                  <a:pt x="1040987" y="191349"/>
                  <a:pt x="1042049" y="190870"/>
                </a:cubicBezTo>
                <a:cubicBezTo>
                  <a:pt x="1043161" y="188473"/>
                  <a:pt x="1043161" y="188473"/>
                  <a:pt x="1044294" y="186026"/>
                </a:cubicBezTo>
                <a:cubicBezTo>
                  <a:pt x="1046735" y="181006"/>
                  <a:pt x="1046735" y="181006"/>
                  <a:pt x="1051422" y="178188"/>
                </a:cubicBezTo>
                <a:cubicBezTo>
                  <a:pt x="1052553" y="175286"/>
                  <a:pt x="1052553" y="175286"/>
                  <a:pt x="1052984" y="172551"/>
                </a:cubicBezTo>
                <a:cubicBezTo>
                  <a:pt x="1054014" y="172551"/>
                  <a:pt x="1055046" y="172551"/>
                  <a:pt x="1056108" y="172551"/>
                </a:cubicBezTo>
                <a:cubicBezTo>
                  <a:pt x="1057139" y="169295"/>
                  <a:pt x="1058170" y="166040"/>
                  <a:pt x="1059232" y="162686"/>
                </a:cubicBezTo>
                <a:cubicBezTo>
                  <a:pt x="1060263" y="162686"/>
                  <a:pt x="1061295" y="162686"/>
                  <a:pt x="1062357" y="162686"/>
                </a:cubicBezTo>
                <a:cubicBezTo>
                  <a:pt x="1062755" y="161484"/>
                  <a:pt x="1062755" y="161484"/>
                  <a:pt x="1063162" y="160258"/>
                </a:cubicBezTo>
                <a:cubicBezTo>
                  <a:pt x="1065716" y="152917"/>
                  <a:pt x="1068813" y="146686"/>
                  <a:pt x="1073292" y="140138"/>
                </a:cubicBezTo>
                <a:cubicBezTo>
                  <a:pt x="1074322" y="140138"/>
                  <a:pt x="1075353" y="140138"/>
                  <a:pt x="1076415" y="140138"/>
                </a:cubicBezTo>
                <a:cubicBezTo>
                  <a:pt x="1079808" y="132748"/>
                  <a:pt x="1082509" y="125160"/>
                  <a:pt x="1085294" y="117569"/>
                </a:cubicBezTo>
                <a:cubicBezTo>
                  <a:pt x="1085972" y="116181"/>
                  <a:pt x="1086651" y="114793"/>
                  <a:pt x="1087350" y="113363"/>
                </a:cubicBezTo>
                <a:cubicBezTo>
                  <a:pt x="1089671" y="112666"/>
                  <a:pt x="1089671" y="112666"/>
                  <a:pt x="1092037" y="111954"/>
                </a:cubicBezTo>
                <a:cubicBezTo>
                  <a:pt x="1092230" y="110879"/>
                  <a:pt x="1092423" y="109803"/>
                  <a:pt x="1092623" y="108695"/>
                </a:cubicBezTo>
                <a:cubicBezTo>
                  <a:pt x="1093599" y="104908"/>
                  <a:pt x="1093599" y="104908"/>
                  <a:pt x="1096723" y="100680"/>
                </a:cubicBezTo>
                <a:cubicBezTo>
                  <a:pt x="1097207" y="99140"/>
                  <a:pt x="1097689" y="97599"/>
                  <a:pt x="1098188" y="96013"/>
                </a:cubicBezTo>
                <a:cubicBezTo>
                  <a:pt x="1099847" y="90815"/>
                  <a:pt x="1099847" y="90815"/>
                  <a:pt x="1102288" y="87029"/>
                </a:cubicBezTo>
                <a:cubicBezTo>
                  <a:pt x="1106061" y="79186"/>
                  <a:pt x="1107564" y="69424"/>
                  <a:pt x="1104534" y="61222"/>
                </a:cubicBezTo>
                <a:cubicBezTo>
                  <a:pt x="1104409" y="59341"/>
                  <a:pt x="1104366" y="57454"/>
                  <a:pt x="1104381" y="55569"/>
                </a:cubicBezTo>
                <a:cubicBezTo>
                  <a:pt x="1104386" y="54501"/>
                  <a:pt x="1104391" y="53434"/>
                  <a:pt x="1104397" y="52335"/>
                </a:cubicBezTo>
                <a:cubicBezTo>
                  <a:pt x="1104410" y="51228"/>
                  <a:pt x="1104423" y="50120"/>
                  <a:pt x="1104436" y="48979"/>
                </a:cubicBezTo>
                <a:cubicBezTo>
                  <a:pt x="1104443" y="47856"/>
                  <a:pt x="1104451" y="46733"/>
                  <a:pt x="1104457" y="45575"/>
                </a:cubicBezTo>
                <a:cubicBezTo>
                  <a:pt x="1104476" y="42805"/>
                  <a:pt x="1104504" y="40035"/>
                  <a:pt x="1104534" y="37265"/>
                </a:cubicBezTo>
                <a:cubicBezTo>
                  <a:pt x="1105565" y="37265"/>
                  <a:pt x="1106596" y="37265"/>
                  <a:pt x="1107658" y="37265"/>
                </a:cubicBezTo>
                <a:cubicBezTo>
                  <a:pt x="1107561" y="34562"/>
                  <a:pt x="1107561" y="34562"/>
                  <a:pt x="1107463" y="31805"/>
                </a:cubicBezTo>
                <a:cubicBezTo>
                  <a:pt x="1107353" y="28733"/>
                  <a:pt x="1107353" y="28733"/>
                  <a:pt x="1107658" y="25991"/>
                </a:cubicBezTo>
                <a:cubicBezTo>
                  <a:pt x="1108689" y="25062"/>
                  <a:pt x="1109720" y="24131"/>
                  <a:pt x="1110782" y="23173"/>
                </a:cubicBezTo>
                <a:cubicBezTo>
                  <a:pt x="1111104" y="22156"/>
                  <a:pt x="1111427" y="21138"/>
                  <a:pt x="1111759" y="20091"/>
                </a:cubicBezTo>
                <a:cubicBezTo>
                  <a:pt x="1116393" y="11539"/>
                  <a:pt x="1124927" y="6390"/>
                  <a:pt x="1134507" y="2828"/>
                </a:cubicBezTo>
                <a:cubicBezTo>
                  <a:pt x="1141389" y="825"/>
                  <a:pt x="1148262" y="-204"/>
                  <a:pt x="1155019" y="35"/>
                </a:cubicBezTo>
                <a:close/>
              </a:path>
            </a:pathLst>
          </a:custGeom>
          <a:solidFill>
            <a:schemeClr val="accent3"/>
          </a:solidFill>
          <a:ln w="2232" cap="flat">
            <a:noFill/>
            <a:prstDash val="solid"/>
            <a:miter/>
          </a:ln>
          <a:effectLst>
            <a:innerShdw blurRad="63500" dist="190500" dir="8100000">
              <a:schemeClr val="accent3">
                <a:lumMod val="75000"/>
                <a:alpha val="50000"/>
              </a:schemeClr>
            </a:innerShdw>
          </a:effectLst>
        </p:spPr>
        <p:txBody>
          <a:bodyPr wrap="squar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256" name="Oval 9255">
            <a:extLst>
              <a:ext uri="{FF2B5EF4-FFF2-40B4-BE49-F238E27FC236}">
                <a16:creationId xmlns:a16="http://schemas.microsoft.com/office/drawing/2014/main" id="{555342FF-78F0-BA8F-F9A4-E90F75A4C75F}"/>
              </a:ext>
            </a:extLst>
          </p:cNvPr>
          <p:cNvSpPr/>
          <p:nvPr/>
        </p:nvSpPr>
        <p:spPr>
          <a:xfrm>
            <a:off x="9323892" y="3345000"/>
            <a:ext cx="106472" cy="106472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257" name="Oval 9256">
            <a:extLst>
              <a:ext uri="{FF2B5EF4-FFF2-40B4-BE49-F238E27FC236}">
                <a16:creationId xmlns:a16="http://schemas.microsoft.com/office/drawing/2014/main" id="{F231653A-47B1-CBBB-6599-10FD24C3A8DE}"/>
              </a:ext>
            </a:extLst>
          </p:cNvPr>
          <p:cNvSpPr/>
          <p:nvPr/>
        </p:nvSpPr>
        <p:spPr>
          <a:xfrm>
            <a:off x="9466025" y="3438227"/>
            <a:ext cx="106472" cy="106472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258" name="Oval 9257">
            <a:extLst>
              <a:ext uri="{FF2B5EF4-FFF2-40B4-BE49-F238E27FC236}">
                <a16:creationId xmlns:a16="http://schemas.microsoft.com/office/drawing/2014/main" id="{60E27825-FB21-6F73-5A1F-93FD20658994}"/>
              </a:ext>
            </a:extLst>
          </p:cNvPr>
          <p:cNvSpPr/>
          <p:nvPr/>
        </p:nvSpPr>
        <p:spPr>
          <a:xfrm>
            <a:off x="9362864" y="3611688"/>
            <a:ext cx="83346" cy="83346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259" name="Oval 9258">
            <a:extLst>
              <a:ext uri="{FF2B5EF4-FFF2-40B4-BE49-F238E27FC236}">
                <a16:creationId xmlns:a16="http://schemas.microsoft.com/office/drawing/2014/main" id="{D2A17791-6E4E-93DD-9E42-D8B14B2513EC}"/>
              </a:ext>
            </a:extLst>
          </p:cNvPr>
          <p:cNvSpPr/>
          <p:nvPr/>
        </p:nvSpPr>
        <p:spPr>
          <a:xfrm>
            <a:off x="9585232" y="3592585"/>
            <a:ext cx="106472" cy="106472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260" name="Oval 9259">
            <a:extLst>
              <a:ext uri="{FF2B5EF4-FFF2-40B4-BE49-F238E27FC236}">
                <a16:creationId xmlns:a16="http://schemas.microsoft.com/office/drawing/2014/main" id="{B6B7A5E8-F978-8C3F-6FF3-2E3088D9A480}"/>
              </a:ext>
            </a:extLst>
          </p:cNvPr>
          <p:cNvSpPr/>
          <p:nvPr/>
        </p:nvSpPr>
        <p:spPr>
          <a:xfrm>
            <a:off x="9619618" y="3370981"/>
            <a:ext cx="72085" cy="72085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261" name="Oval 9260">
            <a:extLst>
              <a:ext uri="{FF2B5EF4-FFF2-40B4-BE49-F238E27FC236}">
                <a16:creationId xmlns:a16="http://schemas.microsoft.com/office/drawing/2014/main" id="{B5F8BB97-1914-9379-1E4B-3EF7458B98F5}"/>
              </a:ext>
            </a:extLst>
          </p:cNvPr>
          <p:cNvSpPr/>
          <p:nvPr/>
        </p:nvSpPr>
        <p:spPr>
          <a:xfrm>
            <a:off x="7020214" y="4297972"/>
            <a:ext cx="722134" cy="162382"/>
          </a:xfrm>
          <a:prstGeom prst="ellipse">
            <a:avLst/>
          </a:prstGeom>
          <a:solidFill>
            <a:schemeClr val="tx1">
              <a:alpha val="5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262" name="Free-form: Shape 9261">
            <a:extLst>
              <a:ext uri="{FF2B5EF4-FFF2-40B4-BE49-F238E27FC236}">
                <a16:creationId xmlns:a16="http://schemas.microsoft.com/office/drawing/2014/main" id="{387CD12C-8BAC-619C-12FD-931ACDA27EB4}"/>
              </a:ext>
            </a:extLst>
          </p:cNvPr>
          <p:cNvSpPr/>
          <p:nvPr/>
        </p:nvSpPr>
        <p:spPr>
          <a:xfrm>
            <a:off x="6925637" y="3475964"/>
            <a:ext cx="968436" cy="925784"/>
          </a:xfrm>
          <a:custGeom>
            <a:avLst/>
            <a:gdLst>
              <a:gd name="csX0" fmla="*/ 401579 w 1609516"/>
              <a:gd name="csY0" fmla="*/ 1495809 h 1538630"/>
              <a:gd name="csX1" fmla="*/ 400190 w 1609516"/>
              <a:gd name="csY1" fmla="*/ 1496004 h 1538630"/>
              <a:gd name="csX2" fmla="*/ 401224 w 1609516"/>
              <a:gd name="csY2" fmla="*/ 1496470 h 1538630"/>
              <a:gd name="csX3" fmla="*/ 401224 w 1609516"/>
              <a:gd name="csY3" fmla="*/ 1498590 h 1538630"/>
              <a:gd name="csX4" fmla="*/ 401579 w 1609516"/>
              <a:gd name="csY4" fmla="*/ 1498628 h 1538630"/>
              <a:gd name="csX5" fmla="*/ 401579 w 1609516"/>
              <a:gd name="csY5" fmla="*/ 1495809 h 1538630"/>
              <a:gd name="csX6" fmla="*/ 368755 w 1609516"/>
              <a:gd name="csY6" fmla="*/ 1486512 h 1538630"/>
              <a:gd name="csX7" fmla="*/ 364089 w 1609516"/>
              <a:gd name="csY7" fmla="*/ 1487354 h 1538630"/>
              <a:gd name="csX8" fmla="*/ 364089 w 1609516"/>
              <a:gd name="csY8" fmla="*/ 1487908 h 1538630"/>
              <a:gd name="csX9" fmla="*/ 1049801 w 1609516"/>
              <a:gd name="csY9" fmla="*/ 1484562 h 1538630"/>
              <a:gd name="csX10" fmla="*/ 1046735 w 1609516"/>
              <a:gd name="csY10" fmla="*/ 1485945 h 1538630"/>
              <a:gd name="csX11" fmla="*/ 1046955 w 1609516"/>
              <a:gd name="csY11" fmla="*/ 1486045 h 1538630"/>
              <a:gd name="csX12" fmla="*/ 1049801 w 1609516"/>
              <a:gd name="csY12" fmla="*/ 1485188 h 1538630"/>
              <a:gd name="csX13" fmla="*/ 351234 w 1609516"/>
              <a:gd name="csY13" fmla="*/ 1444508 h 1538630"/>
              <a:gd name="csX14" fmla="*/ 351234 w 1609516"/>
              <a:gd name="csY14" fmla="*/ 1444997 h 1538630"/>
              <a:gd name="csX15" fmla="*/ 351592 w 1609516"/>
              <a:gd name="csY15" fmla="*/ 1445078 h 1538630"/>
              <a:gd name="csX16" fmla="*/ 351908 w 1609516"/>
              <a:gd name="csY16" fmla="*/ 1431206 h 1538630"/>
              <a:gd name="csX17" fmla="*/ 351234 w 1609516"/>
              <a:gd name="csY17" fmla="*/ 1431611 h 1538630"/>
              <a:gd name="csX18" fmla="*/ 351234 w 1609516"/>
              <a:gd name="csY18" fmla="*/ 1432274 h 1538630"/>
              <a:gd name="csX19" fmla="*/ 358162 w 1609516"/>
              <a:gd name="csY19" fmla="*/ 1421494 h 1538630"/>
              <a:gd name="csX20" fmla="*/ 355921 w 1609516"/>
              <a:gd name="csY20" fmla="*/ 1423156 h 1538630"/>
              <a:gd name="csX21" fmla="*/ 355921 w 1609516"/>
              <a:gd name="csY21" fmla="*/ 1423548 h 1538630"/>
              <a:gd name="csX22" fmla="*/ 376098 w 1609516"/>
              <a:gd name="csY22" fmla="*/ 1408347 h 1538630"/>
              <a:gd name="csX23" fmla="*/ 370750 w 1609516"/>
              <a:gd name="csY23" fmla="*/ 1412245 h 1538630"/>
              <a:gd name="csX24" fmla="*/ 375023 w 1609516"/>
              <a:gd name="csY24" fmla="*/ 1411256 h 1538630"/>
              <a:gd name="csX25" fmla="*/ 421956 w 1609516"/>
              <a:gd name="csY25" fmla="*/ 1365623 h 1538630"/>
              <a:gd name="csX26" fmla="*/ 421765 w 1609516"/>
              <a:gd name="csY26" fmla="*/ 1366161 h 1538630"/>
              <a:gd name="csX27" fmla="*/ 421887 w 1609516"/>
              <a:gd name="csY27" fmla="*/ 1366161 h 1538630"/>
              <a:gd name="csX28" fmla="*/ 754553 w 1609516"/>
              <a:gd name="csY28" fmla="*/ 1360575 h 1538630"/>
              <a:gd name="csX29" fmla="*/ 754089 w 1609516"/>
              <a:gd name="csY29" fmla="*/ 1361433 h 1538630"/>
              <a:gd name="csX30" fmla="*/ 754431 w 1609516"/>
              <a:gd name="csY30" fmla="*/ 1361125 h 1538630"/>
              <a:gd name="csX31" fmla="*/ 1277973 w 1609516"/>
              <a:gd name="csY31" fmla="*/ 1332923 h 1538630"/>
              <a:gd name="csX32" fmla="*/ 1277944 w 1609516"/>
              <a:gd name="csY32" fmla="*/ 1332936 h 1538630"/>
              <a:gd name="csX33" fmla="*/ 1277949 w 1609516"/>
              <a:gd name="csY33" fmla="*/ 1333139 h 1538630"/>
              <a:gd name="csX34" fmla="*/ 1268556 w 1609516"/>
              <a:gd name="csY34" fmla="*/ 1321066 h 1538630"/>
              <a:gd name="csX35" fmla="*/ 1268556 w 1609516"/>
              <a:gd name="csY35" fmla="*/ 1325294 h 1538630"/>
              <a:gd name="csX36" fmla="*/ 1265432 w 1609516"/>
              <a:gd name="csY36" fmla="*/ 1325294 h 1538630"/>
              <a:gd name="csX37" fmla="*/ 1265432 w 1609516"/>
              <a:gd name="csY37" fmla="*/ 1340795 h 1538630"/>
              <a:gd name="csX38" fmla="*/ 1265476 w 1609516"/>
              <a:gd name="csY38" fmla="*/ 1340714 h 1538630"/>
              <a:gd name="csX39" fmla="*/ 1265476 w 1609516"/>
              <a:gd name="csY39" fmla="*/ 1325877 h 1538630"/>
              <a:gd name="csX40" fmla="*/ 1268600 w 1609516"/>
              <a:gd name="csY40" fmla="*/ 1325877 h 1538630"/>
              <a:gd name="csX41" fmla="*/ 1268600 w 1609516"/>
              <a:gd name="csY41" fmla="*/ 1321649 h 1538630"/>
              <a:gd name="csX42" fmla="*/ 1273286 w 1609516"/>
              <a:gd name="csY42" fmla="*/ 1321649 h 1538630"/>
              <a:gd name="csX43" fmla="*/ 1273227 w 1609516"/>
              <a:gd name="csY43" fmla="*/ 1321066 h 1538630"/>
              <a:gd name="csX44" fmla="*/ 827891 w 1609516"/>
              <a:gd name="csY44" fmla="*/ 1291474 h 1538630"/>
              <a:gd name="csX45" fmla="*/ 822601 w 1609516"/>
              <a:gd name="csY45" fmla="*/ 1291544 h 1538630"/>
              <a:gd name="csX46" fmla="*/ 818272 w 1609516"/>
              <a:gd name="csY46" fmla="*/ 1292220 h 1538630"/>
              <a:gd name="csX47" fmla="*/ 827891 w 1609516"/>
              <a:gd name="csY47" fmla="*/ 1292047 h 1538630"/>
              <a:gd name="csX48" fmla="*/ 856397 w 1609516"/>
              <a:gd name="csY48" fmla="*/ 1288691 h 1538630"/>
              <a:gd name="csX49" fmla="*/ 865903 w 1609516"/>
              <a:gd name="csY49" fmla="*/ 1290590 h 1538630"/>
              <a:gd name="csX50" fmla="*/ 859999 w 1609516"/>
              <a:gd name="csY50" fmla="*/ 1288752 h 1538630"/>
              <a:gd name="csX51" fmla="*/ 834694 w 1609516"/>
              <a:gd name="csY51" fmla="*/ 1288572 h 1538630"/>
              <a:gd name="csX52" fmla="*/ 828038 w 1609516"/>
              <a:gd name="csY52" fmla="*/ 1288654 h 1538630"/>
              <a:gd name="csX53" fmla="*/ 828038 w 1609516"/>
              <a:gd name="csY53" fmla="*/ 1289214 h 1538630"/>
              <a:gd name="csX54" fmla="*/ 229746 w 1609516"/>
              <a:gd name="csY54" fmla="*/ 1191418 h 1538630"/>
              <a:gd name="csX55" fmla="*/ 227402 w 1609516"/>
              <a:gd name="csY55" fmla="*/ 1191947 h 1538630"/>
              <a:gd name="csX56" fmla="*/ 229315 w 1609516"/>
              <a:gd name="csY56" fmla="*/ 1191947 h 1538630"/>
              <a:gd name="csX57" fmla="*/ 229315 w 1609516"/>
              <a:gd name="csY57" fmla="*/ 1194765 h 1538630"/>
              <a:gd name="csX58" fmla="*/ 231321 w 1609516"/>
              <a:gd name="csY58" fmla="*/ 1194765 h 1538630"/>
              <a:gd name="csX59" fmla="*/ 229746 w 1609516"/>
              <a:gd name="csY59" fmla="*/ 1194236 h 1538630"/>
              <a:gd name="csX60" fmla="*/ 229746 w 1609516"/>
              <a:gd name="csY60" fmla="*/ 1191418 h 1538630"/>
              <a:gd name="csX61" fmla="*/ 215687 w 1609516"/>
              <a:gd name="csY61" fmla="*/ 1187190 h 1538630"/>
              <a:gd name="csX62" fmla="*/ 215198 w 1609516"/>
              <a:gd name="csY62" fmla="*/ 1187720 h 1538630"/>
              <a:gd name="csX63" fmla="*/ 215256 w 1609516"/>
              <a:gd name="csY63" fmla="*/ 1187720 h 1538630"/>
              <a:gd name="csX64" fmla="*/ 215256 w 1609516"/>
              <a:gd name="csY64" fmla="*/ 1191947 h 1538630"/>
              <a:gd name="csX65" fmla="*/ 222721 w 1609516"/>
              <a:gd name="csY65" fmla="*/ 1191947 h 1538630"/>
              <a:gd name="csX66" fmla="*/ 215687 w 1609516"/>
              <a:gd name="csY66" fmla="*/ 1191418 h 1538630"/>
              <a:gd name="csX67" fmla="*/ 215687 w 1609516"/>
              <a:gd name="csY67" fmla="*/ 1187190 h 1538630"/>
              <a:gd name="csX68" fmla="*/ 1279678 w 1609516"/>
              <a:gd name="csY68" fmla="*/ 1082356 h 1538630"/>
              <a:gd name="csX69" fmla="*/ 1271680 w 1609516"/>
              <a:gd name="csY69" fmla="*/ 1084589 h 1538630"/>
              <a:gd name="csX70" fmla="*/ 1282181 w 1609516"/>
              <a:gd name="csY70" fmla="*/ 1082544 h 1538630"/>
              <a:gd name="csX71" fmla="*/ 117703 w 1609516"/>
              <a:gd name="csY71" fmla="*/ 941507 h 1538630"/>
              <a:gd name="csX72" fmla="*/ 112587 w 1609516"/>
              <a:gd name="csY72" fmla="*/ 941985 h 1538630"/>
              <a:gd name="csX73" fmla="*/ 112565 w 1609516"/>
              <a:gd name="csY73" fmla="*/ 942333 h 1538630"/>
              <a:gd name="csX74" fmla="*/ 115665 w 1609516"/>
              <a:gd name="csY74" fmla="*/ 941837 h 1538630"/>
              <a:gd name="csX75" fmla="*/ 144268 w 1609516"/>
              <a:gd name="csY75" fmla="*/ 939395 h 1538630"/>
              <a:gd name="csX76" fmla="*/ 143354 w 1609516"/>
              <a:gd name="csY76" fmla="*/ 939580 h 1538630"/>
              <a:gd name="csX77" fmla="*/ 144077 w 1609516"/>
              <a:gd name="csY77" fmla="*/ 939739 h 1538630"/>
              <a:gd name="csX78" fmla="*/ 162575 w 1609516"/>
              <a:gd name="csY78" fmla="*/ 933530 h 1538630"/>
              <a:gd name="csX79" fmla="*/ 161704 w 1609516"/>
              <a:gd name="csY79" fmla="*/ 935101 h 1538630"/>
              <a:gd name="csX80" fmla="*/ 170045 w 1609516"/>
              <a:gd name="csY80" fmla="*/ 933585 h 1538630"/>
              <a:gd name="csX81" fmla="*/ 1321645 w 1609516"/>
              <a:gd name="csY81" fmla="*/ 918415 h 1538630"/>
              <a:gd name="csX82" fmla="*/ 1321534 w 1609516"/>
              <a:gd name="csY82" fmla="*/ 920177 h 1538630"/>
              <a:gd name="csX83" fmla="*/ 1321740 w 1609516"/>
              <a:gd name="csY83" fmla="*/ 918415 h 1538630"/>
              <a:gd name="csX84" fmla="*/ 1319333 w 1609516"/>
              <a:gd name="csY84" fmla="*/ 915183 h 1538630"/>
              <a:gd name="csX85" fmla="*/ 1318544 w 1609516"/>
              <a:gd name="csY85" fmla="*/ 918029 h 1538630"/>
              <a:gd name="csX86" fmla="*/ 1318702 w 1609516"/>
              <a:gd name="csY86" fmla="*/ 918029 h 1538630"/>
              <a:gd name="csX87" fmla="*/ 1326355 w 1609516"/>
              <a:gd name="csY87" fmla="*/ 907109 h 1538630"/>
              <a:gd name="csX88" fmla="*/ 1326355 w 1609516"/>
              <a:gd name="csY88" fmla="*/ 910983 h 1538630"/>
              <a:gd name="csX89" fmla="*/ 1325831 w 1609516"/>
              <a:gd name="csY89" fmla="*/ 911101 h 1538630"/>
              <a:gd name="csX90" fmla="*/ 1326426 w 1609516"/>
              <a:gd name="csY90" fmla="*/ 911369 h 1538630"/>
              <a:gd name="csX91" fmla="*/ 1326426 w 1609516"/>
              <a:gd name="csY91" fmla="*/ 907141 h 1538630"/>
              <a:gd name="csX92" fmla="*/ 1328144 w 1609516"/>
              <a:gd name="csY92" fmla="*/ 892192 h 1538630"/>
              <a:gd name="csX93" fmla="*/ 1327667 w 1609516"/>
              <a:gd name="csY93" fmla="*/ 893446 h 1538630"/>
              <a:gd name="csX94" fmla="*/ 1327989 w 1609516"/>
              <a:gd name="csY94" fmla="*/ 893049 h 1538630"/>
              <a:gd name="csX95" fmla="*/ 49605 w 1609516"/>
              <a:gd name="csY95" fmla="*/ 887420 h 1538630"/>
              <a:gd name="csX96" fmla="*/ 48549 w 1609516"/>
              <a:gd name="csY96" fmla="*/ 891229 h 1538630"/>
              <a:gd name="csX97" fmla="*/ 49956 w 1609516"/>
              <a:gd name="csY97" fmla="*/ 887420 h 1538630"/>
              <a:gd name="csX98" fmla="*/ 1332266 w 1609516"/>
              <a:gd name="csY98" fmla="*/ 883369 h 1538630"/>
              <a:gd name="csX99" fmla="*/ 1329479 w 1609516"/>
              <a:gd name="csY99" fmla="*/ 884207 h 1538630"/>
              <a:gd name="csX100" fmla="*/ 1329509 w 1609516"/>
              <a:gd name="csY100" fmla="*/ 884816 h 1538630"/>
              <a:gd name="csX101" fmla="*/ 1329551 w 1609516"/>
              <a:gd name="csY101" fmla="*/ 884594 h 1538630"/>
              <a:gd name="csX102" fmla="*/ 1555987 w 1609516"/>
              <a:gd name="csY102" fmla="*/ 821766 h 1538630"/>
              <a:gd name="csX103" fmla="*/ 1555987 w 1609516"/>
              <a:gd name="csY103" fmla="*/ 822201 h 1538630"/>
              <a:gd name="csX104" fmla="*/ 1556081 w 1609516"/>
              <a:gd name="csY104" fmla="*/ 822189 h 1538630"/>
              <a:gd name="csX105" fmla="*/ 1565360 w 1609516"/>
              <a:gd name="csY105" fmla="*/ 810928 h 1538630"/>
              <a:gd name="csX106" fmla="*/ 1564871 w 1609516"/>
              <a:gd name="csY106" fmla="*/ 811809 h 1538630"/>
              <a:gd name="csX107" fmla="*/ 1567314 w 1609516"/>
              <a:gd name="csY107" fmla="*/ 810928 h 1538630"/>
              <a:gd name="csX108" fmla="*/ 1563797 w 1609516"/>
              <a:gd name="csY108" fmla="*/ 810928 h 1538630"/>
              <a:gd name="csX109" fmla="*/ 1556762 w 1609516"/>
              <a:gd name="csY109" fmla="*/ 814736 h 1538630"/>
              <a:gd name="csX110" fmla="*/ 1563797 w 1609516"/>
              <a:gd name="csY110" fmla="*/ 812197 h 1538630"/>
              <a:gd name="csX111" fmla="*/ 265833 w 1609516"/>
              <a:gd name="csY111" fmla="*/ 806020 h 1538630"/>
              <a:gd name="csX112" fmla="*/ 263704 w 1609516"/>
              <a:gd name="csY112" fmla="*/ 809861 h 1538630"/>
              <a:gd name="csX113" fmla="*/ 263704 w 1609516"/>
              <a:gd name="csY113" fmla="*/ 816750 h 1538630"/>
              <a:gd name="csX114" fmla="*/ 264113 w 1609516"/>
              <a:gd name="csY114" fmla="*/ 816565 h 1538630"/>
              <a:gd name="csX115" fmla="*/ 263918 w 1609516"/>
              <a:gd name="csY115" fmla="*/ 812777 h 1538630"/>
              <a:gd name="csX116" fmla="*/ 263774 w 1609516"/>
              <a:gd name="csY116" fmla="*/ 779374 h 1538630"/>
              <a:gd name="csX117" fmla="*/ 263704 w 1609516"/>
              <a:gd name="csY117" fmla="*/ 783086 h 1538630"/>
              <a:gd name="csX118" fmla="*/ 264484 w 1609516"/>
              <a:gd name="csY118" fmla="*/ 785816 h 1538630"/>
              <a:gd name="csX119" fmla="*/ 265265 w 1609516"/>
              <a:gd name="csY119" fmla="*/ 794448 h 1538630"/>
              <a:gd name="csX120" fmla="*/ 265217 w 1609516"/>
              <a:gd name="csY120" fmla="*/ 799730 h 1538630"/>
              <a:gd name="csX121" fmla="*/ 266556 w 1609516"/>
              <a:gd name="csY121" fmla="*/ 803466 h 1538630"/>
              <a:gd name="csX122" fmla="*/ 267237 w 1609516"/>
              <a:gd name="csY122" fmla="*/ 801063 h 1538630"/>
              <a:gd name="csX123" fmla="*/ 265675 w 1609516"/>
              <a:gd name="csY123" fmla="*/ 799654 h 1538630"/>
              <a:gd name="csX124" fmla="*/ 265675 w 1609516"/>
              <a:gd name="csY124" fmla="*/ 793841 h 1538630"/>
              <a:gd name="csX125" fmla="*/ 260988 w 1609516"/>
              <a:gd name="csY125" fmla="*/ 770061 h 1538630"/>
              <a:gd name="csX126" fmla="*/ 260988 w 1609516"/>
              <a:gd name="csY126" fmla="*/ 771364 h 1538630"/>
              <a:gd name="csX127" fmla="*/ 263497 w 1609516"/>
              <a:gd name="csY127" fmla="*/ 777263 h 1538630"/>
              <a:gd name="csX128" fmla="*/ 262551 w 1609516"/>
              <a:gd name="csY128" fmla="*/ 770061 h 1538630"/>
              <a:gd name="csX129" fmla="*/ 260988 w 1609516"/>
              <a:gd name="csY129" fmla="*/ 770061 h 1538630"/>
              <a:gd name="csX130" fmla="*/ 157888 w 1609516"/>
              <a:gd name="csY130" fmla="*/ 651686 h 1538630"/>
              <a:gd name="csX131" fmla="*/ 157415 w 1609516"/>
              <a:gd name="csY131" fmla="*/ 651764 h 1538630"/>
              <a:gd name="csX132" fmla="*/ 160373 w 1609516"/>
              <a:gd name="csY132" fmla="*/ 652274 h 1538630"/>
              <a:gd name="csX133" fmla="*/ 267237 w 1609516"/>
              <a:gd name="csY133" fmla="*/ 426537 h 1538630"/>
              <a:gd name="csX134" fmla="*/ 267237 w 1609516"/>
              <a:gd name="csY134" fmla="*/ 427619 h 1538630"/>
              <a:gd name="csX135" fmla="*/ 270380 w 1609516"/>
              <a:gd name="csY135" fmla="*/ 428137 h 1538630"/>
              <a:gd name="csX136" fmla="*/ 273548 w 1609516"/>
              <a:gd name="csY136" fmla="*/ 428680 h 1538630"/>
              <a:gd name="csX137" fmla="*/ 37605 w 1609516"/>
              <a:gd name="csY137" fmla="*/ 359270 h 1538630"/>
              <a:gd name="csX138" fmla="*/ 37103 w 1609516"/>
              <a:gd name="csY138" fmla="*/ 361533 h 1538630"/>
              <a:gd name="csX139" fmla="*/ 37605 w 1609516"/>
              <a:gd name="csY139" fmla="*/ 361382 h 1538630"/>
              <a:gd name="csX140" fmla="*/ 52477 w 1609516"/>
              <a:gd name="csY140" fmla="*/ 337570 h 1538630"/>
              <a:gd name="csX141" fmla="*/ 47288 w 1609516"/>
              <a:gd name="csY141" fmla="*/ 342340 h 1538630"/>
              <a:gd name="csX142" fmla="*/ 45805 w 1609516"/>
              <a:gd name="csY142" fmla="*/ 345093 h 1538630"/>
              <a:gd name="csX143" fmla="*/ 104291 w 1609516"/>
              <a:gd name="csY143" fmla="*/ 336166 h 1538630"/>
              <a:gd name="csX144" fmla="*/ 103776 w 1609516"/>
              <a:gd name="csY144" fmla="*/ 337559 h 1538630"/>
              <a:gd name="csX145" fmla="*/ 108925 w 1609516"/>
              <a:gd name="csY145" fmla="*/ 336166 h 1538630"/>
              <a:gd name="csX146" fmla="*/ 1309237 w 1609516"/>
              <a:gd name="csY146" fmla="*/ 322954 h 1538630"/>
              <a:gd name="csX147" fmla="*/ 1309180 w 1609516"/>
              <a:gd name="csY147" fmla="*/ 330559 h 1538630"/>
              <a:gd name="csX148" fmla="*/ 1309237 w 1609516"/>
              <a:gd name="csY148" fmla="*/ 330520 h 1538630"/>
              <a:gd name="csX149" fmla="*/ 1308964 w 1609516"/>
              <a:gd name="csY149" fmla="*/ 317715 h 1538630"/>
              <a:gd name="csX150" fmla="*/ 1309237 w 1609516"/>
              <a:gd name="csY150" fmla="*/ 318569 h 1538630"/>
              <a:gd name="csX151" fmla="*/ 1309237 w 1609516"/>
              <a:gd name="csY151" fmla="*/ 317838 h 1538630"/>
              <a:gd name="csX152" fmla="*/ 1310087 w 1609516"/>
              <a:gd name="csY152" fmla="*/ 313153 h 1538630"/>
              <a:gd name="csX153" fmla="*/ 1307609 w 1609516"/>
              <a:gd name="csY153" fmla="*/ 313473 h 1538630"/>
              <a:gd name="csX154" fmla="*/ 1308045 w 1609516"/>
              <a:gd name="csY154" fmla="*/ 314836 h 1538630"/>
              <a:gd name="csX155" fmla="*/ 1318544 w 1609516"/>
              <a:gd name="csY155" fmla="*/ 312064 h 1538630"/>
              <a:gd name="csX156" fmla="*/ 1316298 w 1609516"/>
              <a:gd name="csY156" fmla="*/ 312353 h 1538630"/>
              <a:gd name="csX157" fmla="*/ 1318544 w 1609516"/>
              <a:gd name="csY157" fmla="*/ 312205 h 1538630"/>
              <a:gd name="csX158" fmla="*/ 1084622 w 1609516"/>
              <a:gd name="csY158" fmla="*/ 267674 h 1538630"/>
              <a:gd name="csX159" fmla="*/ 1084227 w 1609516"/>
              <a:gd name="csY159" fmla="*/ 268378 h 1538630"/>
              <a:gd name="csX160" fmla="*/ 1079540 w 1609516"/>
              <a:gd name="csY160" fmla="*/ 268378 h 1538630"/>
              <a:gd name="csX161" fmla="*/ 1079603 w 1609516"/>
              <a:gd name="csY161" fmla="*/ 268477 h 1538630"/>
              <a:gd name="csX162" fmla="*/ 1084192 w 1609516"/>
              <a:gd name="csY162" fmla="*/ 268477 h 1538630"/>
              <a:gd name="csX163" fmla="*/ 956410 w 1609516"/>
              <a:gd name="csY163" fmla="*/ 266968 h 1538630"/>
              <a:gd name="csX164" fmla="*/ 957576 w 1609516"/>
              <a:gd name="csY164" fmla="*/ 267083 h 1538630"/>
              <a:gd name="csX165" fmla="*/ 957576 w 1609516"/>
              <a:gd name="csY165" fmla="*/ 269776 h 1538630"/>
              <a:gd name="csX166" fmla="*/ 957694 w 1609516"/>
              <a:gd name="csY166" fmla="*/ 269787 h 1538630"/>
              <a:gd name="csX167" fmla="*/ 957694 w 1609516"/>
              <a:gd name="csY167" fmla="*/ 266968 h 1538630"/>
              <a:gd name="csX168" fmla="*/ 1089372 w 1609516"/>
              <a:gd name="csY168" fmla="*/ 259220 h 1538630"/>
              <a:gd name="csX169" fmla="*/ 1085856 w 1609516"/>
              <a:gd name="csY169" fmla="*/ 265479 h 1538630"/>
              <a:gd name="csX170" fmla="*/ 1088878 w 1609516"/>
              <a:gd name="csY170" fmla="*/ 261431 h 1538630"/>
              <a:gd name="csX171" fmla="*/ 1018517 w 1609516"/>
              <a:gd name="csY171" fmla="*/ 223356 h 1538630"/>
              <a:gd name="csX172" fmla="*/ 1013866 w 1609516"/>
              <a:gd name="csY172" fmla="*/ 226190 h 1538630"/>
              <a:gd name="csX173" fmla="*/ 1013024 w 1609516"/>
              <a:gd name="csY173" fmla="*/ 227709 h 1538630"/>
              <a:gd name="csX174" fmla="*/ 1017055 w 1609516"/>
              <a:gd name="csY174" fmla="*/ 224692 h 1538630"/>
              <a:gd name="csX175" fmla="*/ 850645 w 1609516"/>
              <a:gd name="csY175" fmla="*/ 220099 h 1538630"/>
              <a:gd name="csX176" fmla="*/ 850897 w 1609516"/>
              <a:gd name="csY176" fmla="*/ 221488 h 1538630"/>
              <a:gd name="csX177" fmla="*/ 851470 w 1609516"/>
              <a:gd name="csY177" fmla="*/ 224692 h 1538630"/>
              <a:gd name="csX178" fmla="*/ 852860 w 1609516"/>
              <a:gd name="csY178" fmla="*/ 224692 h 1538630"/>
              <a:gd name="csX179" fmla="*/ 1155019 w 1609516"/>
              <a:gd name="csY179" fmla="*/ 35 h 1538630"/>
              <a:gd name="csX180" fmla="*/ 1174829 w 1609516"/>
              <a:gd name="csY180" fmla="*/ 4853 h 1538630"/>
              <a:gd name="csX181" fmla="*/ 1179418 w 1609516"/>
              <a:gd name="csY181" fmla="*/ 5998 h 1538630"/>
              <a:gd name="csX182" fmla="*/ 1201385 w 1609516"/>
              <a:gd name="csY182" fmla="*/ 22997 h 1538630"/>
              <a:gd name="csX183" fmla="*/ 1201678 w 1609516"/>
              <a:gd name="csY183" fmla="*/ 62191 h 1538630"/>
              <a:gd name="csX184" fmla="*/ 1198261 w 1609516"/>
              <a:gd name="csY184" fmla="*/ 68268 h 1538630"/>
              <a:gd name="csX185" fmla="*/ 1195723 w 1609516"/>
              <a:gd name="csY185" fmla="*/ 72672 h 1538630"/>
              <a:gd name="csX186" fmla="*/ 1193575 w 1609516"/>
              <a:gd name="csY186" fmla="*/ 75314 h 1538630"/>
              <a:gd name="csX187" fmla="*/ 1190450 w 1609516"/>
              <a:gd name="csY187" fmla="*/ 75314 h 1538630"/>
              <a:gd name="csX188" fmla="*/ 1189474 w 1609516"/>
              <a:gd name="csY188" fmla="*/ 79366 h 1538630"/>
              <a:gd name="csX189" fmla="*/ 1182445 w 1609516"/>
              <a:gd name="csY189" fmla="*/ 85707 h 1538630"/>
              <a:gd name="csX190" fmla="*/ 1177953 w 1609516"/>
              <a:gd name="csY190" fmla="*/ 86588 h 1538630"/>
              <a:gd name="csX191" fmla="*/ 1177953 w 1609516"/>
              <a:gd name="csY191" fmla="*/ 89406 h 1538630"/>
              <a:gd name="csX192" fmla="*/ 1170045 w 1609516"/>
              <a:gd name="csY192" fmla="*/ 94251 h 1538630"/>
              <a:gd name="csX193" fmla="*/ 1143806 w 1609516"/>
              <a:gd name="csY193" fmla="*/ 132828 h 1538630"/>
              <a:gd name="csX194" fmla="*/ 1137338 w 1609516"/>
              <a:gd name="csY194" fmla="*/ 141548 h 1538630"/>
              <a:gd name="csX195" fmla="*/ 1133970 w 1609516"/>
              <a:gd name="csY195" fmla="*/ 149403 h 1538630"/>
              <a:gd name="csX196" fmla="*/ 1127965 w 1609516"/>
              <a:gd name="csY196" fmla="*/ 164095 h 1538630"/>
              <a:gd name="csX197" fmla="*/ 1124762 w 1609516"/>
              <a:gd name="csY197" fmla="*/ 171802 h 1538630"/>
              <a:gd name="csX198" fmla="*/ 1119359 w 1609516"/>
              <a:gd name="csY198" fmla="*/ 184798 h 1538630"/>
              <a:gd name="csX199" fmla="*/ 1111014 w 1609516"/>
              <a:gd name="csY199" fmla="*/ 204941 h 1538630"/>
              <a:gd name="csX200" fmla="*/ 1109729 w 1609516"/>
              <a:gd name="csY200" fmla="*/ 208059 h 1538630"/>
              <a:gd name="csX201" fmla="*/ 1106395 w 1609516"/>
              <a:gd name="csY201" fmla="*/ 216170 h 1538630"/>
              <a:gd name="csX202" fmla="*/ 1102147 w 1609516"/>
              <a:gd name="csY202" fmla="*/ 224810 h 1538630"/>
              <a:gd name="csX203" fmla="*/ 1098261 w 1609516"/>
              <a:gd name="csY203" fmla="*/ 227262 h 1538630"/>
              <a:gd name="csX204" fmla="*/ 1098367 w 1609516"/>
              <a:gd name="csY204" fmla="*/ 238475 h 1538630"/>
              <a:gd name="csX205" fmla="*/ 1097331 w 1609516"/>
              <a:gd name="csY205" fmla="*/ 242358 h 1538630"/>
              <a:gd name="csX206" fmla="*/ 1096201 w 1609516"/>
              <a:gd name="csY206" fmla="*/ 246458 h 1538630"/>
              <a:gd name="csX207" fmla="*/ 1089440 w 1609516"/>
              <a:gd name="csY207" fmla="*/ 279206 h 1538630"/>
              <a:gd name="csX208" fmla="*/ 1087316 w 1609516"/>
              <a:gd name="csY208" fmla="*/ 283978 h 1538630"/>
              <a:gd name="csX209" fmla="*/ 1086822 w 1609516"/>
              <a:gd name="csY209" fmla="*/ 291822 h 1538630"/>
              <a:gd name="csX210" fmla="*/ 1086623 w 1609516"/>
              <a:gd name="csY210" fmla="*/ 296625 h 1538630"/>
              <a:gd name="csX211" fmla="*/ 1086437 w 1609516"/>
              <a:gd name="csY211" fmla="*/ 301681 h 1538630"/>
              <a:gd name="csX212" fmla="*/ 1086233 w 1609516"/>
              <a:gd name="csY212" fmla="*/ 306754 h 1538630"/>
              <a:gd name="csX213" fmla="*/ 1086007 w 1609516"/>
              <a:gd name="csY213" fmla="*/ 312619 h 1538630"/>
              <a:gd name="csX214" fmla="*/ 1087470 w 1609516"/>
              <a:gd name="csY214" fmla="*/ 320554 h 1538630"/>
              <a:gd name="csX215" fmla="*/ 1098285 w 1609516"/>
              <a:gd name="csY215" fmla="*/ 334611 h 1538630"/>
              <a:gd name="csX216" fmla="*/ 1102607 w 1609516"/>
              <a:gd name="csY216" fmla="*/ 337679 h 1538630"/>
              <a:gd name="csX217" fmla="*/ 1106095 w 1609516"/>
              <a:gd name="csY217" fmla="*/ 340248 h 1538630"/>
              <a:gd name="csX218" fmla="*/ 1106095 w 1609516"/>
              <a:gd name="csY218" fmla="*/ 343066 h 1538630"/>
              <a:gd name="csX219" fmla="*/ 1109220 w 1609516"/>
              <a:gd name="csY219" fmla="*/ 343419 h 1538630"/>
              <a:gd name="csX220" fmla="*/ 1126403 w 1609516"/>
              <a:gd name="csY220" fmla="*/ 350112 h 1538630"/>
              <a:gd name="csX221" fmla="*/ 1131871 w 1609516"/>
              <a:gd name="csY221" fmla="*/ 352579 h 1538630"/>
              <a:gd name="csX222" fmla="*/ 1135776 w 1609516"/>
              <a:gd name="csY222" fmla="*/ 354340 h 1538630"/>
              <a:gd name="csX223" fmla="*/ 1135776 w 1609516"/>
              <a:gd name="csY223" fmla="*/ 357158 h 1538630"/>
              <a:gd name="csX224" fmla="*/ 1170143 w 1609516"/>
              <a:gd name="csY224" fmla="*/ 354340 h 1538630"/>
              <a:gd name="csX225" fmla="*/ 1174634 w 1609516"/>
              <a:gd name="csY225" fmla="*/ 352579 h 1538630"/>
              <a:gd name="csX226" fmla="*/ 1190890 w 1609516"/>
              <a:gd name="csY226" fmla="*/ 342907 h 1538630"/>
              <a:gd name="csX227" fmla="*/ 1204021 w 1609516"/>
              <a:gd name="csY227" fmla="*/ 335404 h 1538630"/>
              <a:gd name="csX228" fmla="*/ 1223255 w 1609516"/>
              <a:gd name="csY228" fmla="*/ 319110 h 1538630"/>
              <a:gd name="csX229" fmla="*/ 1226868 w 1609516"/>
              <a:gd name="csY229" fmla="*/ 315587 h 1538630"/>
              <a:gd name="csX230" fmla="*/ 1231859 w 1609516"/>
              <a:gd name="csY230" fmla="*/ 303559 h 1538630"/>
              <a:gd name="csX231" fmla="*/ 1234178 w 1609516"/>
              <a:gd name="csY231" fmla="*/ 298059 h 1538630"/>
              <a:gd name="csX232" fmla="*/ 1237314 w 1609516"/>
              <a:gd name="csY232" fmla="*/ 288195 h 1538630"/>
              <a:gd name="csX233" fmla="*/ 1249811 w 1609516"/>
              <a:gd name="csY233" fmla="*/ 265559 h 1538630"/>
              <a:gd name="csX234" fmla="*/ 1252935 w 1609516"/>
              <a:gd name="csY234" fmla="*/ 265559 h 1538630"/>
              <a:gd name="csX235" fmla="*/ 1252935 w 1609516"/>
              <a:gd name="csY235" fmla="*/ 262741 h 1538630"/>
              <a:gd name="csX236" fmla="*/ 1296675 w 1609516"/>
              <a:gd name="csY236" fmla="*/ 252876 h 1538630"/>
              <a:gd name="csX237" fmla="*/ 1307609 w 1609516"/>
              <a:gd name="csY237" fmla="*/ 255695 h 1538630"/>
              <a:gd name="csX238" fmla="*/ 1307609 w 1609516"/>
              <a:gd name="csY238" fmla="*/ 258513 h 1538630"/>
              <a:gd name="csX239" fmla="*/ 1311887 w 1609516"/>
              <a:gd name="csY239" fmla="*/ 258832 h 1538630"/>
              <a:gd name="csX240" fmla="*/ 1326715 w 1609516"/>
              <a:gd name="csY240" fmla="*/ 269969 h 1538630"/>
              <a:gd name="csX241" fmla="*/ 1334165 w 1609516"/>
              <a:gd name="csY241" fmla="*/ 307836 h 1538630"/>
              <a:gd name="csX242" fmla="*/ 1329479 w 1609516"/>
              <a:gd name="csY242" fmla="*/ 314882 h 1538630"/>
              <a:gd name="csX243" fmla="*/ 1323231 w 1609516"/>
              <a:gd name="csY243" fmla="*/ 314882 h 1538630"/>
              <a:gd name="csX244" fmla="*/ 1323231 w 1609516"/>
              <a:gd name="csY244" fmla="*/ 317700 h 1538630"/>
              <a:gd name="csX245" fmla="*/ 1322774 w 1609516"/>
              <a:gd name="csY245" fmla="*/ 317838 h 1538630"/>
              <a:gd name="csX246" fmla="*/ 1323295 w 1609516"/>
              <a:gd name="csY246" fmla="*/ 317838 h 1538630"/>
              <a:gd name="csX247" fmla="*/ 1323295 w 1609516"/>
              <a:gd name="csY247" fmla="*/ 315019 h 1538630"/>
              <a:gd name="csX248" fmla="*/ 1327982 w 1609516"/>
              <a:gd name="csY248" fmla="*/ 315019 h 1538630"/>
              <a:gd name="csX249" fmla="*/ 1317047 w 1609516"/>
              <a:gd name="csY249" fmla="*/ 327702 h 1538630"/>
              <a:gd name="csX250" fmla="*/ 1315484 w 1609516"/>
              <a:gd name="csY250" fmla="*/ 331930 h 1538630"/>
              <a:gd name="csX251" fmla="*/ 1309139 w 1609516"/>
              <a:gd name="csY251" fmla="*/ 333603 h 1538630"/>
              <a:gd name="csX252" fmla="*/ 1305666 w 1609516"/>
              <a:gd name="csY252" fmla="*/ 334280 h 1538630"/>
              <a:gd name="csX253" fmla="*/ 1302988 w 1609516"/>
              <a:gd name="csY253" fmla="*/ 334748 h 1538630"/>
              <a:gd name="csX254" fmla="*/ 1305905 w 1609516"/>
              <a:gd name="csY254" fmla="*/ 332775 h 1538630"/>
              <a:gd name="csX255" fmla="*/ 1304485 w 1609516"/>
              <a:gd name="csY255" fmla="*/ 333202 h 1538630"/>
              <a:gd name="csX256" fmla="*/ 1301459 w 1609516"/>
              <a:gd name="csY256" fmla="*/ 336108 h 1538630"/>
              <a:gd name="csX257" fmla="*/ 1291989 w 1609516"/>
              <a:gd name="csY257" fmla="*/ 338839 h 1538630"/>
              <a:gd name="csX258" fmla="*/ 1290426 w 1609516"/>
              <a:gd name="csY258" fmla="*/ 343066 h 1538630"/>
              <a:gd name="csX259" fmla="*/ 1285740 w 1609516"/>
              <a:gd name="csY259" fmla="*/ 344123 h 1538630"/>
              <a:gd name="csX260" fmla="*/ 1237314 w 1609516"/>
              <a:gd name="csY260" fmla="*/ 382525 h 1538630"/>
              <a:gd name="csX261" fmla="*/ 1232628 w 1609516"/>
              <a:gd name="csY261" fmla="*/ 392389 h 1538630"/>
              <a:gd name="csX262" fmla="*/ 1228625 w 1609516"/>
              <a:gd name="csY262" fmla="*/ 398731 h 1538630"/>
              <a:gd name="csX263" fmla="*/ 1222822 w 1609516"/>
              <a:gd name="csY263" fmla="*/ 434798 h 1538630"/>
              <a:gd name="csX264" fmla="*/ 1260746 w 1609516"/>
              <a:gd name="csY264" fmla="*/ 485398 h 1538630"/>
              <a:gd name="csX265" fmla="*/ 1268556 w 1609516"/>
              <a:gd name="csY265" fmla="*/ 488216 h 1538630"/>
              <a:gd name="csX266" fmla="*/ 1268556 w 1609516"/>
              <a:gd name="csY266" fmla="*/ 491034 h 1538630"/>
              <a:gd name="csX267" fmla="*/ 1338852 w 1609516"/>
              <a:gd name="csY267" fmla="*/ 489625 h 1538630"/>
              <a:gd name="csX268" fmla="*/ 1347444 w 1609516"/>
              <a:gd name="csY268" fmla="*/ 488480 h 1538630"/>
              <a:gd name="csX269" fmla="*/ 1369362 w 1609516"/>
              <a:gd name="csY269" fmla="*/ 482513 h 1538630"/>
              <a:gd name="csX270" fmla="*/ 1388840 w 1609516"/>
              <a:gd name="csY270" fmla="*/ 478351 h 1538630"/>
              <a:gd name="csX271" fmla="*/ 1388840 w 1609516"/>
              <a:gd name="csY271" fmla="*/ 475533 h 1538630"/>
              <a:gd name="csX272" fmla="*/ 1395576 w 1609516"/>
              <a:gd name="csY272" fmla="*/ 473419 h 1538630"/>
              <a:gd name="csX273" fmla="*/ 1399365 w 1609516"/>
              <a:gd name="csY273" fmla="*/ 472230 h 1538630"/>
              <a:gd name="csX274" fmla="*/ 1407585 w 1609516"/>
              <a:gd name="csY274" fmla="*/ 471305 h 1538630"/>
              <a:gd name="csX275" fmla="*/ 1409147 w 1609516"/>
              <a:gd name="csY275" fmla="*/ 467078 h 1538630"/>
              <a:gd name="csX276" fmla="*/ 1416470 w 1609516"/>
              <a:gd name="csY276" fmla="*/ 464259 h 1538630"/>
              <a:gd name="csX277" fmla="*/ 1437949 w 1609516"/>
              <a:gd name="csY277" fmla="*/ 455011 h 1538630"/>
              <a:gd name="csX278" fmla="*/ 1452887 w 1609516"/>
              <a:gd name="csY278" fmla="*/ 450167 h 1538630"/>
              <a:gd name="csX279" fmla="*/ 1452887 w 1609516"/>
              <a:gd name="csY279" fmla="*/ 447349 h 1538630"/>
              <a:gd name="csX280" fmla="*/ 1455394 w 1609516"/>
              <a:gd name="csY280" fmla="*/ 446122 h 1538630"/>
              <a:gd name="csX281" fmla="*/ 1466653 w 1609516"/>
              <a:gd name="csY281" fmla="*/ 440567 h 1538630"/>
              <a:gd name="csX282" fmla="*/ 1470598 w 1609516"/>
              <a:gd name="csY282" fmla="*/ 438637 h 1538630"/>
              <a:gd name="csX283" fmla="*/ 1474397 w 1609516"/>
              <a:gd name="csY283" fmla="*/ 436752 h 1538630"/>
              <a:gd name="csX284" fmla="*/ 1477892 w 1609516"/>
              <a:gd name="csY284" fmla="*/ 435030 h 1538630"/>
              <a:gd name="csX285" fmla="*/ 1485691 w 1609516"/>
              <a:gd name="csY285" fmla="*/ 429029 h 1538630"/>
              <a:gd name="csX286" fmla="*/ 1488858 w 1609516"/>
              <a:gd name="csY286" fmla="*/ 427653 h 1538630"/>
              <a:gd name="csX287" fmla="*/ 1495943 w 1609516"/>
              <a:gd name="csY287" fmla="*/ 421454 h 1538630"/>
              <a:gd name="csX288" fmla="*/ 1538608 w 1609516"/>
              <a:gd name="csY288" fmla="*/ 388338 h 1538630"/>
              <a:gd name="csX289" fmla="*/ 1543490 w 1609516"/>
              <a:gd name="csY289" fmla="*/ 388161 h 1538630"/>
              <a:gd name="csX290" fmla="*/ 1547621 w 1609516"/>
              <a:gd name="csY290" fmla="*/ 387804 h 1538630"/>
              <a:gd name="csX291" fmla="*/ 1579418 w 1609516"/>
              <a:gd name="csY291" fmla="*/ 396617 h 1538630"/>
              <a:gd name="csX292" fmla="*/ 1583342 w 1609516"/>
              <a:gd name="csY292" fmla="*/ 398780 h 1538630"/>
              <a:gd name="csX293" fmla="*/ 1601288 w 1609516"/>
              <a:gd name="csY293" fmla="*/ 423392 h 1538630"/>
              <a:gd name="csX294" fmla="*/ 1594484 w 1609516"/>
              <a:gd name="csY294" fmla="*/ 460159 h 1538630"/>
              <a:gd name="csX295" fmla="*/ 1574732 w 1609516"/>
              <a:gd name="csY295" fmla="*/ 475533 h 1538630"/>
              <a:gd name="csX296" fmla="*/ 1572097 w 1609516"/>
              <a:gd name="csY296" fmla="*/ 477078 h 1538630"/>
              <a:gd name="csX297" fmla="*/ 1556066 w 1609516"/>
              <a:gd name="csY297" fmla="*/ 478737 h 1538630"/>
              <a:gd name="csX298" fmla="*/ 1548631 w 1609516"/>
              <a:gd name="csY298" fmla="*/ 478825 h 1538630"/>
              <a:gd name="csX299" fmla="*/ 1536991 w 1609516"/>
              <a:gd name="csY299" fmla="*/ 478889 h 1538630"/>
              <a:gd name="csX300" fmla="*/ 1498188 w 1609516"/>
              <a:gd name="csY300" fmla="*/ 485398 h 1538630"/>
              <a:gd name="csX301" fmla="*/ 1493892 w 1609516"/>
              <a:gd name="csY301" fmla="*/ 487600 h 1538630"/>
              <a:gd name="csX302" fmla="*/ 1490377 w 1609516"/>
              <a:gd name="csY302" fmla="*/ 489625 h 1538630"/>
              <a:gd name="csX303" fmla="*/ 1471650 w 1609516"/>
              <a:gd name="csY303" fmla="*/ 498185 h 1538630"/>
              <a:gd name="csX304" fmla="*/ 1459135 w 1609516"/>
              <a:gd name="csY304" fmla="*/ 505127 h 1538630"/>
              <a:gd name="csX305" fmla="*/ 1452594 w 1609516"/>
              <a:gd name="csY305" fmla="*/ 508033 h 1538630"/>
              <a:gd name="csX306" fmla="*/ 1427795 w 1609516"/>
              <a:gd name="csY306" fmla="*/ 520100 h 1538630"/>
              <a:gd name="csX307" fmla="*/ 1423733 w 1609516"/>
              <a:gd name="csY307" fmla="*/ 522148 h 1538630"/>
              <a:gd name="csX308" fmla="*/ 1419929 w 1609516"/>
              <a:gd name="csY308" fmla="*/ 524118 h 1538630"/>
              <a:gd name="csX309" fmla="*/ 1416487 w 1609516"/>
              <a:gd name="csY309" fmla="*/ 525883 h 1538630"/>
              <a:gd name="csX310" fmla="*/ 1412271 w 1609516"/>
              <a:gd name="csY310" fmla="*/ 531902 h 1538630"/>
              <a:gd name="csX311" fmla="*/ 1396650 w 1609516"/>
              <a:gd name="csY311" fmla="*/ 537539 h 1538630"/>
              <a:gd name="csX312" fmla="*/ 1396650 w 1609516"/>
              <a:gd name="csY312" fmla="*/ 540357 h 1538630"/>
              <a:gd name="csX313" fmla="*/ 1393495 w 1609516"/>
              <a:gd name="csY313" fmla="*/ 541502 h 1538630"/>
              <a:gd name="csX314" fmla="*/ 1362284 w 1609516"/>
              <a:gd name="csY314" fmla="*/ 558678 h 1538630"/>
              <a:gd name="csX315" fmla="*/ 1355937 w 1609516"/>
              <a:gd name="csY315" fmla="*/ 562905 h 1538630"/>
              <a:gd name="csX316" fmla="*/ 1334165 w 1609516"/>
              <a:gd name="csY316" fmla="*/ 578406 h 1538630"/>
              <a:gd name="csX317" fmla="*/ 1331200 w 1609516"/>
              <a:gd name="csY317" fmla="*/ 580559 h 1538630"/>
              <a:gd name="csX318" fmla="*/ 1322175 w 1609516"/>
              <a:gd name="csY318" fmla="*/ 596793 h 1538630"/>
              <a:gd name="csX319" fmla="*/ 1320106 w 1609516"/>
              <a:gd name="csY319" fmla="*/ 602363 h 1538630"/>
              <a:gd name="csX320" fmla="*/ 1328015 w 1609516"/>
              <a:gd name="csY320" fmla="*/ 647640 h 1538630"/>
              <a:gd name="csX321" fmla="*/ 1332604 w 1609516"/>
              <a:gd name="csY321" fmla="*/ 675643 h 1538630"/>
              <a:gd name="csX322" fmla="*/ 1335727 w 1609516"/>
              <a:gd name="csY322" fmla="*/ 675643 h 1538630"/>
              <a:gd name="csX323" fmla="*/ 1337741 w 1609516"/>
              <a:gd name="csY323" fmla="*/ 690059 h 1538630"/>
              <a:gd name="csX324" fmla="*/ 1338003 w 1609516"/>
              <a:gd name="csY324" fmla="*/ 696222 h 1538630"/>
              <a:gd name="csX325" fmla="*/ 1338340 w 1609516"/>
              <a:gd name="csY325" fmla="*/ 705887 h 1538630"/>
              <a:gd name="csX326" fmla="*/ 1345277 w 1609516"/>
              <a:gd name="csY326" fmla="*/ 733245 h 1538630"/>
              <a:gd name="csX327" fmla="*/ 1363162 w 1609516"/>
              <a:gd name="csY327" fmla="*/ 741612 h 1538630"/>
              <a:gd name="csX328" fmla="*/ 1384154 w 1609516"/>
              <a:gd name="csY328" fmla="*/ 748922 h 1538630"/>
              <a:gd name="csX329" fmla="*/ 1391476 w 1609516"/>
              <a:gd name="csY329" fmla="*/ 750419 h 1538630"/>
              <a:gd name="csX330" fmla="*/ 1395564 w 1609516"/>
              <a:gd name="csY330" fmla="*/ 751080 h 1538630"/>
              <a:gd name="csX331" fmla="*/ 1399775 w 1609516"/>
              <a:gd name="csY331" fmla="*/ 751740 h 1538630"/>
              <a:gd name="csX332" fmla="*/ 1403887 w 1609516"/>
              <a:gd name="csY332" fmla="*/ 752489 h 1538630"/>
              <a:gd name="csX333" fmla="*/ 1465383 w 1609516"/>
              <a:gd name="csY333" fmla="*/ 755969 h 1538630"/>
              <a:gd name="csX334" fmla="*/ 1470339 w 1609516"/>
              <a:gd name="csY334" fmla="*/ 755897 h 1538630"/>
              <a:gd name="csX335" fmla="*/ 1496809 w 1609516"/>
              <a:gd name="csY335" fmla="*/ 749313 h 1538630"/>
              <a:gd name="csX336" fmla="*/ 1515371 w 1609516"/>
              <a:gd name="csY336" fmla="*/ 743285 h 1538630"/>
              <a:gd name="csX337" fmla="*/ 1515371 w 1609516"/>
              <a:gd name="csY337" fmla="*/ 740467 h 1538630"/>
              <a:gd name="csX338" fmla="*/ 1537632 w 1609516"/>
              <a:gd name="csY338" fmla="*/ 737120 h 1538630"/>
              <a:gd name="csX339" fmla="*/ 1541657 w 1609516"/>
              <a:gd name="csY339" fmla="*/ 737127 h 1538630"/>
              <a:gd name="csX340" fmla="*/ 1574732 w 1609516"/>
              <a:gd name="csY340" fmla="*/ 748922 h 1538630"/>
              <a:gd name="csX341" fmla="*/ 1588791 w 1609516"/>
              <a:gd name="csY341" fmla="*/ 792608 h 1538630"/>
              <a:gd name="csX342" fmla="*/ 1584105 w 1609516"/>
              <a:gd name="csY342" fmla="*/ 805291 h 1538630"/>
              <a:gd name="csX343" fmla="*/ 1580981 w 1609516"/>
              <a:gd name="csY343" fmla="*/ 806700 h 1538630"/>
              <a:gd name="csX344" fmla="*/ 1578735 w 1609516"/>
              <a:gd name="csY344" fmla="*/ 810311 h 1538630"/>
              <a:gd name="csX345" fmla="*/ 1576295 w 1609516"/>
              <a:gd name="csY345" fmla="*/ 813746 h 1538630"/>
              <a:gd name="csX346" fmla="*/ 1571652 w 1609516"/>
              <a:gd name="csY346" fmla="*/ 813746 h 1538630"/>
              <a:gd name="csX347" fmla="*/ 1571785 w 1609516"/>
              <a:gd name="csY347" fmla="*/ 814106 h 1538630"/>
              <a:gd name="csX348" fmla="*/ 1574909 w 1609516"/>
              <a:gd name="csY348" fmla="*/ 815515 h 1538630"/>
              <a:gd name="csX349" fmla="*/ 1565463 w 1609516"/>
              <a:gd name="csY349" fmla="*/ 821839 h 1538630"/>
              <a:gd name="csX350" fmla="*/ 1562085 w 1609516"/>
              <a:gd name="csY350" fmla="*/ 822101 h 1538630"/>
              <a:gd name="csX351" fmla="*/ 1551301 w 1609516"/>
              <a:gd name="csY351" fmla="*/ 825020 h 1538630"/>
              <a:gd name="csX352" fmla="*/ 1551301 w 1609516"/>
              <a:gd name="csY352" fmla="*/ 827838 h 1538630"/>
              <a:gd name="csX353" fmla="*/ 1485380 w 1609516"/>
              <a:gd name="csY353" fmla="*/ 815007 h 1538630"/>
              <a:gd name="csX354" fmla="*/ 1431603 w 1609516"/>
              <a:gd name="csY354" fmla="*/ 808726 h 1538630"/>
              <a:gd name="csX355" fmla="*/ 1424140 w 1609516"/>
              <a:gd name="csY355" fmla="*/ 808542 h 1538630"/>
              <a:gd name="csX356" fmla="*/ 1406023 w 1609516"/>
              <a:gd name="csY356" fmla="*/ 808109 h 1538630"/>
              <a:gd name="csX357" fmla="*/ 1406023 w 1609516"/>
              <a:gd name="csY357" fmla="*/ 810928 h 1538630"/>
              <a:gd name="csX358" fmla="*/ 1403383 w 1609516"/>
              <a:gd name="csY358" fmla="*/ 811311 h 1538630"/>
              <a:gd name="csX359" fmla="*/ 1345442 w 1609516"/>
              <a:gd name="csY359" fmla="*/ 828907 h 1538630"/>
              <a:gd name="csX360" fmla="*/ 1337875 w 1609516"/>
              <a:gd name="csY360" fmla="*/ 856639 h 1538630"/>
              <a:gd name="csX361" fmla="*/ 1337692 w 1609516"/>
              <a:gd name="csY361" fmla="*/ 860171 h 1538630"/>
              <a:gd name="csX362" fmla="*/ 1337290 w 1609516"/>
              <a:gd name="csY362" fmla="*/ 868706 h 1538630"/>
              <a:gd name="csX363" fmla="*/ 1334165 w 1609516"/>
              <a:gd name="csY363" fmla="*/ 868706 h 1538630"/>
              <a:gd name="csX364" fmla="*/ 1334165 w 1609516"/>
              <a:gd name="csY364" fmla="*/ 870034 h 1538630"/>
              <a:gd name="csX365" fmla="*/ 1334237 w 1609516"/>
              <a:gd name="csY365" fmla="*/ 869093 h 1538630"/>
              <a:gd name="csX366" fmla="*/ 1335800 w 1609516"/>
              <a:gd name="csY366" fmla="*/ 869093 h 1538630"/>
              <a:gd name="csX367" fmla="*/ 1335995 w 1609516"/>
              <a:gd name="csY367" fmla="*/ 876491 h 1538630"/>
              <a:gd name="csX368" fmla="*/ 1336105 w 1609516"/>
              <a:gd name="csY368" fmla="*/ 880653 h 1538630"/>
              <a:gd name="csX369" fmla="*/ 1334294 w 1609516"/>
              <a:gd name="csY369" fmla="*/ 887271 h 1538630"/>
              <a:gd name="csX370" fmla="*/ 1331455 w 1609516"/>
              <a:gd name="csY370" fmla="*/ 896440 h 1538630"/>
              <a:gd name="csX371" fmla="*/ 1330887 w 1609516"/>
              <a:gd name="csY371" fmla="*/ 899969 h 1538630"/>
              <a:gd name="csX372" fmla="*/ 1330332 w 1609516"/>
              <a:gd name="csY372" fmla="*/ 903618 h 1538630"/>
              <a:gd name="csX373" fmla="*/ 1329209 w 1609516"/>
              <a:gd name="csY373" fmla="*/ 910797 h 1538630"/>
              <a:gd name="csX374" fmla="*/ 1328724 w 1609516"/>
              <a:gd name="csY374" fmla="*/ 913998 h 1538630"/>
              <a:gd name="csX375" fmla="*/ 1324865 w 1609516"/>
              <a:gd name="csY375" fmla="*/ 922643 h 1538630"/>
              <a:gd name="csX376" fmla="*/ 1322619 w 1609516"/>
              <a:gd name="csY376" fmla="*/ 937979 h 1538630"/>
              <a:gd name="csX377" fmla="*/ 1318744 w 1609516"/>
              <a:gd name="csY377" fmla="*/ 944961 h 1538630"/>
              <a:gd name="csX378" fmla="*/ 1318544 w 1609516"/>
              <a:gd name="csY378" fmla="*/ 946213 h 1538630"/>
              <a:gd name="csX379" fmla="*/ 1318251 w 1609516"/>
              <a:gd name="csY379" fmla="*/ 955285 h 1538630"/>
              <a:gd name="csX380" fmla="*/ 1318184 w 1609516"/>
              <a:gd name="csY380" fmla="*/ 960036 h 1538630"/>
              <a:gd name="csX381" fmla="*/ 1324024 w 1609516"/>
              <a:gd name="csY381" fmla="*/ 973660 h 1538630"/>
              <a:gd name="csX382" fmla="*/ 1329284 w 1609516"/>
              <a:gd name="csY382" fmla="*/ 983382 h 1538630"/>
              <a:gd name="csX383" fmla="*/ 1340414 w 1609516"/>
              <a:gd name="csY383" fmla="*/ 998354 h 1538630"/>
              <a:gd name="csX384" fmla="*/ 1346272 w 1609516"/>
              <a:gd name="csY384" fmla="*/ 1005048 h 1538630"/>
              <a:gd name="csX385" fmla="*/ 1394716 w 1609516"/>
              <a:gd name="csY385" fmla="*/ 1042740 h 1538630"/>
              <a:gd name="csX386" fmla="*/ 1401953 w 1609516"/>
              <a:gd name="csY386" fmla="*/ 1047374 h 1538630"/>
              <a:gd name="csX387" fmla="*/ 1427197 w 1609516"/>
              <a:gd name="csY387" fmla="*/ 1059061 h 1538630"/>
              <a:gd name="csX388" fmla="*/ 1437265 w 1609516"/>
              <a:gd name="csY388" fmla="*/ 1064588 h 1538630"/>
              <a:gd name="csX389" fmla="*/ 1437265 w 1609516"/>
              <a:gd name="csY389" fmla="*/ 1067406 h 1538630"/>
              <a:gd name="csX390" fmla="*/ 1440878 w 1609516"/>
              <a:gd name="csY390" fmla="*/ 1067847 h 1538630"/>
              <a:gd name="csX391" fmla="*/ 1447175 w 1609516"/>
              <a:gd name="csY391" fmla="*/ 1070753 h 1538630"/>
              <a:gd name="csX392" fmla="*/ 1457866 w 1609516"/>
              <a:gd name="csY392" fmla="*/ 1076830 h 1538630"/>
              <a:gd name="csX393" fmla="*/ 1462132 w 1609516"/>
              <a:gd name="csY393" fmla="*/ 1078696 h 1538630"/>
              <a:gd name="csX394" fmla="*/ 1465383 w 1609516"/>
              <a:gd name="csY394" fmla="*/ 1080089 h 1538630"/>
              <a:gd name="csX395" fmla="*/ 1465383 w 1609516"/>
              <a:gd name="csY395" fmla="*/ 1082908 h 1538630"/>
              <a:gd name="csX396" fmla="*/ 1468758 w 1609516"/>
              <a:gd name="csY396" fmla="*/ 1083975 h 1538630"/>
              <a:gd name="csX397" fmla="*/ 1481688 w 1609516"/>
              <a:gd name="csY397" fmla="*/ 1091187 h 1538630"/>
              <a:gd name="csX398" fmla="*/ 1486283 w 1609516"/>
              <a:gd name="csY398" fmla="*/ 1094236 h 1538630"/>
              <a:gd name="csX399" fmla="*/ 1494869 w 1609516"/>
              <a:gd name="csY399" fmla="*/ 1100171 h 1538630"/>
              <a:gd name="csX400" fmla="*/ 1544335 w 1609516"/>
              <a:gd name="csY400" fmla="*/ 1109518 h 1538630"/>
              <a:gd name="csX401" fmla="*/ 1593477 w 1609516"/>
              <a:gd name="csY401" fmla="*/ 1119900 h 1538630"/>
              <a:gd name="csX402" fmla="*/ 1605975 w 1609516"/>
              <a:gd name="csY402" fmla="*/ 1144913 h 1538630"/>
              <a:gd name="csX403" fmla="*/ 1609099 w 1609516"/>
              <a:gd name="csY403" fmla="*/ 1144913 h 1538630"/>
              <a:gd name="csX404" fmla="*/ 1609392 w 1609516"/>
              <a:gd name="csY404" fmla="*/ 1156892 h 1538630"/>
              <a:gd name="csX405" fmla="*/ 1609511 w 1609516"/>
              <a:gd name="csY405" fmla="*/ 1160272 h 1538630"/>
              <a:gd name="csX406" fmla="*/ 1604412 w 1609516"/>
              <a:gd name="csY406" fmla="*/ 1181553 h 1538630"/>
              <a:gd name="csX407" fmla="*/ 1601288 w 1609516"/>
              <a:gd name="csY407" fmla="*/ 1190009 h 1538630"/>
              <a:gd name="csX408" fmla="*/ 1598164 w 1609516"/>
              <a:gd name="csY408" fmla="*/ 1190009 h 1538630"/>
              <a:gd name="csX409" fmla="*/ 1597187 w 1609516"/>
              <a:gd name="csY409" fmla="*/ 1192739 h 1538630"/>
              <a:gd name="csX410" fmla="*/ 1595040 w 1609516"/>
              <a:gd name="csY410" fmla="*/ 1195645 h 1538630"/>
              <a:gd name="csX411" fmla="*/ 1585667 w 1609516"/>
              <a:gd name="csY411" fmla="*/ 1197055 h 1538630"/>
              <a:gd name="csX412" fmla="*/ 1582543 w 1609516"/>
              <a:gd name="csY412" fmla="*/ 1202691 h 1538630"/>
              <a:gd name="csX413" fmla="*/ 1562431 w 1609516"/>
              <a:gd name="csY413" fmla="*/ 1204365 h 1538630"/>
              <a:gd name="csX414" fmla="*/ 1558690 w 1609516"/>
              <a:gd name="csY414" fmla="*/ 1204417 h 1538630"/>
              <a:gd name="csX415" fmla="*/ 1521102 w 1609516"/>
              <a:gd name="csY415" fmla="*/ 1189585 h 1538630"/>
              <a:gd name="csX416" fmla="*/ 1505022 w 1609516"/>
              <a:gd name="csY416" fmla="*/ 1172041 h 1538630"/>
              <a:gd name="csX417" fmla="*/ 1457573 w 1609516"/>
              <a:gd name="csY417" fmla="*/ 1140686 h 1538630"/>
              <a:gd name="csX418" fmla="*/ 1457573 w 1609516"/>
              <a:gd name="csY418" fmla="*/ 1137867 h 1538630"/>
              <a:gd name="csX419" fmla="*/ 1452985 w 1609516"/>
              <a:gd name="csY419" fmla="*/ 1137339 h 1538630"/>
              <a:gd name="csX420" fmla="*/ 1448200 w 1609516"/>
              <a:gd name="csY420" fmla="*/ 1136458 h 1538630"/>
              <a:gd name="csX421" fmla="*/ 1446638 w 1609516"/>
              <a:gd name="csY421" fmla="*/ 1133640 h 1538630"/>
              <a:gd name="csX422" fmla="*/ 1438937 w 1609516"/>
              <a:gd name="csY422" fmla="*/ 1130601 h 1538630"/>
              <a:gd name="csX423" fmla="*/ 1429260 w 1609516"/>
              <a:gd name="csY423" fmla="*/ 1126770 h 1538630"/>
              <a:gd name="csX424" fmla="*/ 1411393 w 1609516"/>
              <a:gd name="csY424" fmla="*/ 1120340 h 1538630"/>
              <a:gd name="csX425" fmla="*/ 1391427 w 1609516"/>
              <a:gd name="csY425" fmla="*/ 1111191 h 1538630"/>
              <a:gd name="csX426" fmla="*/ 1381029 w 1609516"/>
              <a:gd name="csY426" fmla="*/ 1106865 h 1538630"/>
              <a:gd name="csX427" fmla="*/ 1381029 w 1609516"/>
              <a:gd name="csY427" fmla="*/ 1104046 h 1538630"/>
              <a:gd name="csX428" fmla="*/ 1377221 w 1609516"/>
              <a:gd name="csY428" fmla="*/ 1103605 h 1538630"/>
              <a:gd name="csX429" fmla="*/ 1357597 w 1609516"/>
              <a:gd name="csY429" fmla="*/ 1098409 h 1538630"/>
              <a:gd name="csX430" fmla="*/ 1352032 w 1609516"/>
              <a:gd name="csY430" fmla="*/ 1096736 h 1538630"/>
              <a:gd name="csX431" fmla="*/ 1348225 w 1609516"/>
              <a:gd name="csY431" fmla="*/ 1095590 h 1538630"/>
              <a:gd name="csX432" fmla="*/ 1348225 w 1609516"/>
              <a:gd name="csY432" fmla="*/ 1092772 h 1538630"/>
              <a:gd name="csX433" fmla="*/ 1337290 w 1609516"/>
              <a:gd name="csY433" fmla="*/ 1091363 h 1538630"/>
              <a:gd name="csX434" fmla="*/ 1337290 w 1609516"/>
              <a:gd name="csY434" fmla="*/ 1088544 h 1538630"/>
              <a:gd name="csX435" fmla="*/ 1331529 w 1609516"/>
              <a:gd name="csY435" fmla="*/ 1088104 h 1538630"/>
              <a:gd name="csX436" fmla="*/ 1323297 w 1609516"/>
              <a:gd name="csY436" fmla="*/ 1086611 h 1538630"/>
              <a:gd name="csX437" fmla="*/ 1323297 w 1609516"/>
              <a:gd name="csY437" fmla="*/ 1087618 h 1538630"/>
              <a:gd name="csX438" fmla="*/ 1319789 w 1609516"/>
              <a:gd name="csY438" fmla="*/ 1087310 h 1538630"/>
              <a:gd name="csX439" fmla="*/ 1262375 w 1609516"/>
              <a:gd name="csY439" fmla="*/ 1089028 h 1538630"/>
              <a:gd name="csX440" fmla="*/ 1258728 w 1609516"/>
              <a:gd name="csY440" fmla="*/ 1088205 h 1538630"/>
              <a:gd name="csX441" fmla="*/ 1246964 w 1609516"/>
              <a:gd name="csY441" fmla="*/ 1091489 h 1538630"/>
              <a:gd name="csX442" fmla="*/ 1223224 w 1609516"/>
              <a:gd name="csY442" fmla="*/ 1112865 h 1538630"/>
              <a:gd name="csX443" fmla="*/ 1213883 w 1609516"/>
              <a:gd name="csY443" fmla="*/ 1122366 h 1538630"/>
              <a:gd name="csX444" fmla="*/ 1212505 w 1609516"/>
              <a:gd name="csY444" fmla="*/ 1125708 h 1538630"/>
              <a:gd name="csX445" fmla="*/ 1204180 w 1609516"/>
              <a:gd name="csY445" fmla="*/ 1135561 h 1538630"/>
              <a:gd name="csX446" fmla="*/ 1200238 w 1609516"/>
              <a:gd name="csY446" fmla="*/ 1138999 h 1538630"/>
              <a:gd name="csX447" fmla="*/ 1192025 w 1609516"/>
              <a:gd name="csY447" fmla="*/ 1146022 h 1538630"/>
              <a:gd name="csX448" fmla="*/ 1173945 w 1609516"/>
              <a:gd name="csY448" fmla="*/ 1174749 h 1538630"/>
              <a:gd name="csX449" fmla="*/ 1173950 w 1609516"/>
              <a:gd name="csY449" fmla="*/ 1182610 h 1538630"/>
              <a:gd name="csX450" fmla="*/ 1173989 w 1609516"/>
              <a:gd name="csY450" fmla="*/ 1186765 h 1538630"/>
              <a:gd name="csX451" fmla="*/ 1182640 w 1609516"/>
              <a:gd name="csY451" fmla="*/ 1215374 h 1538630"/>
              <a:gd name="csX452" fmla="*/ 1185764 w 1609516"/>
              <a:gd name="csY452" fmla="*/ 1221804 h 1538630"/>
              <a:gd name="csX453" fmla="*/ 1187301 w 1609516"/>
              <a:gd name="csY453" fmla="*/ 1224859 h 1538630"/>
              <a:gd name="csX454" fmla="*/ 1190573 w 1609516"/>
              <a:gd name="csY454" fmla="*/ 1231740 h 1538630"/>
              <a:gd name="csX455" fmla="*/ 1205925 w 1609516"/>
              <a:gd name="csY455" fmla="*/ 1255163 h 1538630"/>
              <a:gd name="csX456" fmla="*/ 1212174 w 1609516"/>
              <a:gd name="csY456" fmla="*/ 1263134 h 1538630"/>
              <a:gd name="csX457" fmla="*/ 1235556 w 1609516"/>
              <a:gd name="csY457" fmla="*/ 1282538 h 1538630"/>
              <a:gd name="csX458" fmla="*/ 1238876 w 1609516"/>
              <a:gd name="csY458" fmla="*/ 1284426 h 1538630"/>
              <a:gd name="csX459" fmla="*/ 1238876 w 1609516"/>
              <a:gd name="csY459" fmla="*/ 1287245 h 1538630"/>
              <a:gd name="csX460" fmla="*/ 1242245 w 1609516"/>
              <a:gd name="csY460" fmla="*/ 1287663 h 1538630"/>
              <a:gd name="csX461" fmla="*/ 1271681 w 1609516"/>
              <a:gd name="csY461" fmla="*/ 1305565 h 1538630"/>
              <a:gd name="csX462" fmla="*/ 1271742 w 1609516"/>
              <a:gd name="csY462" fmla="*/ 1306172 h 1538630"/>
              <a:gd name="csX463" fmla="*/ 1278525 w 1609516"/>
              <a:gd name="csY463" fmla="*/ 1315767 h 1538630"/>
              <a:gd name="csX464" fmla="*/ 1281097 w 1609516"/>
              <a:gd name="csY464" fmla="*/ 1327286 h 1538630"/>
              <a:gd name="csX465" fmla="*/ 1277973 w 1609516"/>
              <a:gd name="csY465" fmla="*/ 1355470 h 1538630"/>
              <a:gd name="csX466" fmla="*/ 1277460 w 1609516"/>
              <a:gd name="csY466" fmla="*/ 1347025 h 1538630"/>
              <a:gd name="csX467" fmla="*/ 1273531 w 1609516"/>
              <a:gd name="csY467" fmla="*/ 1357991 h 1538630"/>
              <a:gd name="csX468" fmla="*/ 1263870 w 1609516"/>
              <a:gd name="csY468" fmla="*/ 1368980 h 1538630"/>
              <a:gd name="csX469" fmla="*/ 1246686 w 1609516"/>
              <a:gd name="csY469" fmla="*/ 1376026 h 1538630"/>
              <a:gd name="csX470" fmla="*/ 1246686 w 1609516"/>
              <a:gd name="csY470" fmla="*/ 1378844 h 1538630"/>
              <a:gd name="csX471" fmla="*/ 1231651 w 1609516"/>
              <a:gd name="csY471" fmla="*/ 1379196 h 1538630"/>
              <a:gd name="csX472" fmla="*/ 1227373 w 1609516"/>
              <a:gd name="csY472" fmla="*/ 1379340 h 1538630"/>
              <a:gd name="csX473" fmla="*/ 1206071 w 1609516"/>
              <a:gd name="csY473" fmla="*/ 1373207 h 1538630"/>
              <a:gd name="csX474" fmla="*/ 1202069 w 1609516"/>
              <a:gd name="csY474" fmla="*/ 1371798 h 1538630"/>
              <a:gd name="csX475" fmla="*/ 1184104 w 1609516"/>
              <a:gd name="csY475" fmla="*/ 1356176 h 1538630"/>
              <a:gd name="csX476" fmla="*/ 1177270 w 1609516"/>
              <a:gd name="csY476" fmla="*/ 1335247 h 1538630"/>
              <a:gd name="csX477" fmla="*/ 1169002 w 1609516"/>
              <a:gd name="csY477" fmla="*/ 1313464 h 1538630"/>
              <a:gd name="csX478" fmla="*/ 1163504 w 1609516"/>
              <a:gd name="csY478" fmla="*/ 1302130 h 1538630"/>
              <a:gd name="csX479" fmla="*/ 1162015 w 1609516"/>
              <a:gd name="csY479" fmla="*/ 1298788 h 1538630"/>
              <a:gd name="csX480" fmla="*/ 1160111 w 1609516"/>
              <a:gd name="csY480" fmla="*/ 1292656 h 1538630"/>
              <a:gd name="csX481" fmla="*/ 1154522 w 1609516"/>
              <a:gd name="csY481" fmla="*/ 1287245 h 1538630"/>
              <a:gd name="csX482" fmla="*/ 1151398 w 1609516"/>
              <a:gd name="csY482" fmla="*/ 1280199 h 1538630"/>
              <a:gd name="csX483" fmla="*/ 1144173 w 1609516"/>
              <a:gd name="csY483" fmla="*/ 1270774 h 1538630"/>
              <a:gd name="csX484" fmla="*/ 1142065 w 1609516"/>
              <a:gd name="csY484" fmla="*/ 1268160 h 1538630"/>
              <a:gd name="csX485" fmla="*/ 1135776 w 1609516"/>
              <a:gd name="csY485" fmla="*/ 1260470 h 1538630"/>
              <a:gd name="csX486" fmla="*/ 1132353 w 1609516"/>
              <a:gd name="csY486" fmla="*/ 1256247 h 1538630"/>
              <a:gd name="csX487" fmla="*/ 1112344 w 1609516"/>
              <a:gd name="csY487" fmla="*/ 1240741 h 1538630"/>
              <a:gd name="csX488" fmla="*/ 1106193 w 1609516"/>
              <a:gd name="csY488" fmla="*/ 1237570 h 1538630"/>
              <a:gd name="csX489" fmla="*/ 1101409 w 1609516"/>
              <a:gd name="csY489" fmla="*/ 1235104 h 1538630"/>
              <a:gd name="csX490" fmla="*/ 1101409 w 1609516"/>
              <a:gd name="csY490" fmla="*/ 1230876 h 1538630"/>
              <a:gd name="csX491" fmla="*/ 1065480 w 1609516"/>
              <a:gd name="csY491" fmla="*/ 1230876 h 1538630"/>
              <a:gd name="csX492" fmla="*/ 1063919 w 1609516"/>
              <a:gd name="csY492" fmla="*/ 1235104 h 1538630"/>
              <a:gd name="csX493" fmla="*/ 1059232 w 1609516"/>
              <a:gd name="csY493" fmla="*/ 1235104 h 1538630"/>
              <a:gd name="csX494" fmla="*/ 1059232 w 1609516"/>
              <a:gd name="csY494" fmla="*/ 1237922 h 1538630"/>
              <a:gd name="csX495" fmla="*/ 1040194 w 1609516"/>
              <a:gd name="csY495" fmla="*/ 1245761 h 1538630"/>
              <a:gd name="csX496" fmla="*/ 1030333 w 1609516"/>
              <a:gd name="csY496" fmla="*/ 1249901 h 1538630"/>
              <a:gd name="csX497" fmla="*/ 1013931 w 1609516"/>
              <a:gd name="csY497" fmla="*/ 1256242 h 1538630"/>
              <a:gd name="csX498" fmla="*/ 1005925 w 1609516"/>
              <a:gd name="csY498" fmla="*/ 1261615 h 1538630"/>
              <a:gd name="csX499" fmla="*/ 1004558 w 1609516"/>
              <a:gd name="csY499" fmla="*/ 1264697 h 1538630"/>
              <a:gd name="csX500" fmla="*/ 1002959 w 1609516"/>
              <a:gd name="csY500" fmla="*/ 1267961 h 1538630"/>
              <a:gd name="csX501" fmla="*/ 1000653 w 1609516"/>
              <a:gd name="csY501" fmla="*/ 1278965 h 1538630"/>
              <a:gd name="csX502" fmla="*/ 998297 w 1609516"/>
              <a:gd name="csY502" fmla="*/ 1294137 h 1538630"/>
              <a:gd name="csX503" fmla="*/ 996162 w 1609516"/>
              <a:gd name="csY503" fmla="*/ 1324765 h 1538630"/>
              <a:gd name="csX504" fmla="*/ 996164 w 1609516"/>
              <a:gd name="csY504" fmla="*/ 1327846 h 1538630"/>
              <a:gd name="csX505" fmla="*/ 1007780 w 1609516"/>
              <a:gd name="csY505" fmla="*/ 1403329 h 1538630"/>
              <a:gd name="csX506" fmla="*/ 1008940 w 1609516"/>
              <a:gd name="csY506" fmla="*/ 1407701 h 1538630"/>
              <a:gd name="csX507" fmla="*/ 1010080 w 1609516"/>
              <a:gd name="csY507" fmla="*/ 1411730 h 1538630"/>
              <a:gd name="csX508" fmla="*/ 1011075 w 1609516"/>
              <a:gd name="csY508" fmla="*/ 1415277 h 1538630"/>
              <a:gd name="csX509" fmla="*/ 1017055 w 1609516"/>
              <a:gd name="csY509" fmla="*/ 1422530 h 1538630"/>
              <a:gd name="csX510" fmla="*/ 1020277 w 1609516"/>
              <a:gd name="csY510" fmla="*/ 1427991 h 1538630"/>
              <a:gd name="csX511" fmla="*/ 1021796 w 1609516"/>
              <a:gd name="csY511" fmla="*/ 1430798 h 1538630"/>
              <a:gd name="csX512" fmla="*/ 1024579 w 1609516"/>
              <a:gd name="csY512" fmla="*/ 1437239 h 1538630"/>
              <a:gd name="csX513" fmla="*/ 1034043 w 1609516"/>
              <a:gd name="csY513" fmla="*/ 1448072 h 1538630"/>
              <a:gd name="csX514" fmla="*/ 1043782 w 1609516"/>
              <a:gd name="csY514" fmla="*/ 1464320 h 1538630"/>
              <a:gd name="csX515" fmla="*/ 1050458 w 1609516"/>
              <a:gd name="csY515" fmla="*/ 1472189 h 1538630"/>
              <a:gd name="csX516" fmla="*/ 1052926 w 1609516"/>
              <a:gd name="csY516" fmla="*/ 1482370 h 1538630"/>
              <a:gd name="csX517" fmla="*/ 1053316 w 1609516"/>
              <a:gd name="csY517" fmla="*/ 1496903 h 1538630"/>
              <a:gd name="csX518" fmla="*/ 1053352 w 1609516"/>
              <a:gd name="csY518" fmla="*/ 1500660 h 1538630"/>
              <a:gd name="csX519" fmla="*/ 1053341 w 1609516"/>
              <a:gd name="csY519" fmla="*/ 1504285 h 1538630"/>
              <a:gd name="csX520" fmla="*/ 1053329 w 1609516"/>
              <a:gd name="csY520" fmla="*/ 1507529 h 1538630"/>
              <a:gd name="csX521" fmla="*/ 1049801 w 1609516"/>
              <a:gd name="csY521" fmla="*/ 1516192 h 1538630"/>
              <a:gd name="csX522" fmla="*/ 1047312 w 1609516"/>
              <a:gd name="csY522" fmla="*/ 1516192 h 1538630"/>
              <a:gd name="csX523" fmla="*/ 1043611 w 1609516"/>
              <a:gd name="csY523" fmla="*/ 1522585 h 1538630"/>
              <a:gd name="csX524" fmla="*/ 1029552 w 1609516"/>
              <a:gd name="csY524" fmla="*/ 1529631 h 1538630"/>
              <a:gd name="csX525" fmla="*/ 1028771 w 1609516"/>
              <a:gd name="csY525" fmla="*/ 1532273 h 1538630"/>
              <a:gd name="csX526" fmla="*/ 1018013 w 1609516"/>
              <a:gd name="csY526" fmla="*/ 1537640 h 1538630"/>
              <a:gd name="csX527" fmla="*/ 981126 w 1609516"/>
              <a:gd name="csY527" fmla="*/ 1533859 h 1538630"/>
              <a:gd name="csX528" fmla="*/ 977227 w 1609516"/>
              <a:gd name="csY528" fmla="*/ 1531943 h 1538630"/>
              <a:gd name="csX529" fmla="*/ 955376 w 1609516"/>
              <a:gd name="csY529" fmla="*/ 1508751 h 1538630"/>
              <a:gd name="csX530" fmla="*/ 954571 w 1609516"/>
              <a:gd name="csY530" fmla="*/ 1500037 h 1538630"/>
              <a:gd name="csX531" fmla="*/ 951446 w 1609516"/>
              <a:gd name="csY531" fmla="*/ 1500037 h 1538630"/>
              <a:gd name="csX532" fmla="*/ 951251 w 1609516"/>
              <a:gd name="csY532" fmla="*/ 1487883 h 1538630"/>
              <a:gd name="csX533" fmla="*/ 951171 w 1609516"/>
              <a:gd name="csY533" fmla="*/ 1484431 h 1538630"/>
              <a:gd name="csX534" fmla="*/ 954571 w 1609516"/>
              <a:gd name="csY534" fmla="*/ 1466216 h 1538630"/>
              <a:gd name="csX535" fmla="*/ 954961 w 1609516"/>
              <a:gd name="csY535" fmla="*/ 1455118 h 1538630"/>
              <a:gd name="csX536" fmla="*/ 954932 w 1609516"/>
              <a:gd name="csY536" fmla="*/ 1451972 h 1538630"/>
              <a:gd name="csX537" fmla="*/ 945099 w 1609516"/>
              <a:gd name="csY537" fmla="*/ 1403594 h 1538630"/>
              <a:gd name="csX538" fmla="*/ 942366 w 1609516"/>
              <a:gd name="csY538" fmla="*/ 1393553 h 1538630"/>
              <a:gd name="csX539" fmla="*/ 934451 w 1609516"/>
              <a:gd name="csY539" fmla="*/ 1372734 h 1538630"/>
              <a:gd name="csX540" fmla="*/ 931974 w 1609516"/>
              <a:gd name="csY540" fmla="*/ 1365754 h 1538630"/>
              <a:gd name="csX541" fmla="*/ 931138 w 1609516"/>
              <a:gd name="csY541" fmla="*/ 1363343 h 1538630"/>
              <a:gd name="csX542" fmla="*/ 926452 w 1609516"/>
              <a:gd name="csY542" fmla="*/ 1361933 h 1538630"/>
              <a:gd name="csX543" fmla="*/ 918641 w 1609516"/>
              <a:gd name="csY543" fmla="*/ 1340795 h 1538630"/>
              <a:gd name="csX544" fmla="*/ 917079 w 1609516"/>
              <a:gd name="csY544" fmla="*/ 1335158 h 1538630"/>
              <a:gd name="csX545" fmla="*/ 913955 w 1609516"/>
              <a:gd name="csY545" fmla="*/ 1335158 h 1538630"/>
              <a:gd name="csX546" fmla="*/ 912057 w 1609516"/>
              <a:gd name="csY546" fmla="*/ 1330793 h 1538630"/>
              <a:gd name="csX547" fmla="*/ 902142 w 1609516"/>
              <a:gd name="csY547" fmla="*/ 1316222 h 1538630"/>
              <a:gd name="csX548" fmla="*/ 900091 w 1609516"/>
              <a:gd name="csY548" fmla="*/ 1313828 h 1538630"/>
              <a:gd name="csX549" fmla="*/ 878026 w 1609516"/>
              <a:gd name="csY549" fmla="*/ 1295700 h 1538630"/>
              <a:gd name="csX550" fmla="*/ 875134 w 1609516"/>
              <a:gd name="csY550" fmla="*/ 1293465 h 1538630"/>
              <a:gd name="csX551" fmla="*/ 869869 w 1609516"/>
              <a:gd name="csY551" fmla="*/ 1291826 h 1538630"/>
              <a:gd name="csX552" fmla="*/ 862384 w 1609516"/>
              <a:gd name="csY552" fmla="*/ 1291327 h 1538630"/>
              <a:gd name="csX553" fmla="*/ 844390 w 1609516"/>
              <a:gd name="csY553" fmla="*/ 1290461 h 1538630"/>
              <a:gd name="csX554" fmla="*/ 840476 w 1609516"/>
              <a:gd name="csY554" fmla="*/ 1290500 h 1538630"/>
              <a:gd name="csX555" fmla="*/ 831015 w 1609516"/>
              <a:gd name="csY555" fmla="*/ 1290637 h 1538630"/>
              <a:gd name="csX556" fmla="*/ 831015 w 1609516"/>
              <a:gd name="csY556" fmla="*/ 1293456 h 1538630"/>
              <a:gd name="csX557" fmla="*/ 818225 w 1609516"/>
              <a:gd name="csY557" fmla="*/ 1295570 h 1538630"/>
              <a:gd name="csX558" fmla="*/ 796774 w 1609516"/>
              <a:gd name="csY558" fmla="*/ 1297671 h 1538630"/>
              <a:gd name="csX559" fmla="*/ 783646 w 1609516"/>
              <a:gd name="csY559" fmla="*/ 1305736 h 1538630"/>
              <a:gd name="csX560" fmla="*/ 769263 w 1609516"/>
              <a:gd name="csY560" fmla="*/ 1327143 h 1538630"/>
              <a:gd name="csX561" fmla="*/ 764797 w 1609516"/>
              <a:gd name="csY561" fmla="*/ 1334360 h 1538630"/>
              <a:gd name="csX562" fmla="*/ 757875 w 1609516"/>
              <a:gd name="csY562" fmla="*/ 1353503 h 1538630"/>
              <a:gd name="csX563" fmla="*/ 755676 w 1609516"/>
              <a:gd name="csY563" fmla="*/ 1367455 h 1538630"/>
              <a:gd name="csX564" fmla="*/ 750558 w 1609516"/>
              <a:gd name="csY564" fmla="*/ 1399690 h 1538630"/>
              <a:gd name="csX565" fmla="*/ 753057 w 1609516"/>
              <a:gd name="csY565" fmla="*/ 1411256 h 1538630"/>
              <a:gd name="csX566" fmla="*/ 753057 w 1609516"/>
              <a:gd name="csY566" fmla="*/ 1416893 h 1538630"/>
              <a:gd name="csX567" fmla="*/ 756181 w 1609516"/>
              <a:gd name="csY567" fmla="*/ 1416893 h 1538630"/>
              <a:gd name="csX568" fmla="*/ 758133 w 1609516"/>
              <a:gd name="csY568" fmla="*/ 1436182 h 1538630"/>
              <a:gd name="csX569" fmla="*/ 758231 w 1609516"/>
              <a:gd name="csY569" fmla="*/ 1440781 h 1538630"/>
              <a:gd name="csX570" fmla="*/ 750713 w 1609516"/>
              <a:gd name="csY570" fmla="*/ 1465704 h 1538630"/>
              <a:gd name="csX571" fmla="*/ 748370 w 1609516"/>
              <a:gd name="csY571" fmla="*/ 1467185 h 1538630"/>
              <a:gd name="csX572" fmla="*/ 741633 w 1609516"/>
              <a:gd name="csY572" fmla="*/ 1473526 h 1538630"/>
              <a:gd name="csX573" fmla="*/ 728154 w 1609516"/>
              <a:gd name="csY573" fmla="*/ 1478343 h 1538630"/>
              <a:gd name="csX574" fmla="*/ 721814 w 1609516"/>
              <a:gd name="csY574" fmla="*/ 1480308 h 1538630"/>
              <a:gd name="csX575" fmla="*/ 708341 w 1609516"/>
              <a:gd name="csY575" fmla="*/ 1480661 h 1538630"/>
              <a:gd name="csX576" fmla="*/ 704637 w 1609516"/>
              <a:gd name="csY576" fmla="*/ 1480748 h 1538630"/>
              <a:gd name="csX577" fmla="*/ 668507 w 1609516"/>
              <a:gd name="csY577" fmla="*/ 1468418 h 1538630"/>
              <a:gd name="csX578" fmla="*/ 660178 w 1609516"/>
              <a:gd name="csY578" fmla="*/ 1450027 h 1538630"/>
              <a:gd name="csX579" fmla="*/ 657767 w 1609516"/>
              <a:gd name="csY579" fmla="*/ 1445078 h 1538630"/>
              <a:gd name="csX580" fmla="*/ 663369 w 1609516"/>
              <a:gd name="csY580" fmla="*/ 1409390 h 1538630"/>
              <a:gd name="csX581" fmla="*/ 671826 w 1609516"/>
              <a:gd name="csY581" fmla="*/ 1401392 h 1538630"/>
              <a:gd name="csX582" fmla="*/ 678075 w 1609516"/>
              <a:gd name="csY582" fmla="*/ 1390118 h 1538630"/>
              <a:gd name="csX583" fmla="*/ 684323 w 1609516"/>
              <a:gd name="csY583" fmla="*/ 1388709 h 1538630"/>
              <a:gd name="csX584" fmla="*/ 685293 w 1609516"/>
              <a:gd name="csY584" fmla="*/ 1384233 h 1538630"/>
              <a:gd name="csX585" fmla="*/ 686569 w 1609516"/>
              <a:gd name="csY585" fmla="*/ 1378404 h 1538630"/>
              <a:gd name="csX586" fmla="*/ 687207 w 1609516"/>
              <a:gd name="csY586" fmla="*/ 1375456 h 1538630"/>
              <a:gd name="csX587" fmla="*/ 690572 w 1609516"/>
              <a:gd name="csY587" fmla="*/ 1363343 h 1538630"/>
              <a:gd name="csX588" fmla="*/ 692495 w 1609516"/>
              <a:gd name="csY588" fmla="*/ 1323376 h 1538630"/>
              <a:gd name="csX589" fmla="*/ 692625 w 1609516"/>
              <a:gd name="csY589" fmla="*/ 1315006 h 1538630"/>
              <a:gd name="csX590" fmla="*/ 687447 w 1609516"/>
              <a:gd name="csY590" fmla="*/ 1287245 h 1538630"/>
              <a:gd name="csX591" fmla="*/ 682761 w 1609516"/>
              <a:gd name="csY591" fmla="*/ 1285835 h 1538630"/>
              <a:gd name="csX592" fmla="*/ 678954 w 1609516"/>
              <a:gd name="csY592" fmla="*/ 1281608 h 1538630"/>
              <a:gd name="csX593" fmla="*/ 668702 w 1609516"/>
              <a:gd name="csY593" fmla="*/ 1275971 h 1538630"/>
              <a:gd name="csX594" fmla="*/ 662454 w 1609516"/>
              <a:gd name="csY594" fmla="*/ 1270334 h 1538630"/>
              <a:gd name="csX595" fmla="*/ 654643 w 1609516"/>
              <a:gd name="csY595" fmla="*/ 1267516 h 1538630"/>
              <a:gd name="csX596" fmla="*/ 654643 w 1609516"/>
              <a:gd name="csY596" fmla="*/ 1264697 h 1538630"/>
              <a:gd name="csX597" fmla="*/ 650152 w 1609516"/>
              <a:gd name="csY597" fmla="*/ 1264345 h 1538630"/>
              <a:gd name="csX598" fmla="*/ 628087 w 1609516"/>
              <a:gd name="csY598" fmla="*/ 1257651 h 1538630"/>
              <a:gd name="csX599" fmla="*/ 628087 w 1609516"/>
              <a:gd name="csY599" fmla="*/ 1254833 h 1538630"/>
              <a:gd name="csX600" fmla="*/ 625121 w 1609516"/>
              <a:gd name="csY600" fmla="*/ 1254315 h 1538630"/>
              <a:gd name="csX601" fmla="*/ 621252 w 1609516"/>
              <a:gd name="csY601" fmla="*/ 1253600 h 1538630"/>
              <a:gd name="csX602" fmla="*/ 617409 w 1609516"/>
              <a:gd name="csY602" fmla="*/ 1252906 h 1538630"/>
              <a:gd name="csX603" fmla="*/ 610904 w 1609516"/>
              <a:gd name="csY603" fmla="*/ 1249196 h 1538630"/>
              <a:gd name="csX604" fmla="*/ 565739 w 1609516"/>
              <a:gd name="csY604" fmla="*/ 1271742 h 1538630"/>
              <a:gd name="csX605" fmla="*/ 546924 w 1609516"/>
              <a:gd name="csY605" fmla="*/ 1290829 h 1538630"/>
              <a:gd name="csX606" fmla="*/ 543635 w 1609516"/>
              <a:gd name="csY606" fmla="*/ 1294643 h 1538630"/>
              <a:gd name="csX607" fmla="*/ 540651 w 1609516"/>
              <a:gd name="csY607" fmla="*/ 1298188 h 1538630"/>
              <a:gd name="csX608" fmla="*/ 529673 w 1609516"/>
              <a:gd name="csY608" fmla="*/ 1305565 h 1538630"/>
              <a:gd name="csX609" fmla="*/ 526549 w 1609516"/>
              <a:gd name="csY609" fmla="*/ 1311202 h 1538630"/>
              <a:gd name="csX610" fmla="*/ 523425 w 1609516"/>
              <a:gd name="csY610" fmla="*/ 1311202 h 1538630"/>
              <a:gd name="csX611" fmla="*/ 523230 w 1609516"/>
              <a:gd name="csY611" fmla="*/ 1313580 h 1538630"/>
              <a:gd name="csX612" fmla="*/ 517732 w 1609516"/>
              <a:gd name="csY612" fmla="*/ 1319739 h 1538630"/>
              <a:gd name="csX613" fmla="*/ 502239 w 1609516"/>
              <a:gd name="csY613" fmla="*/ 1337096 h 1538630"/>
              <a:gd name="csX614" fmla="*/ 497058 w 1609516"/>
              <a:gd name="csY614" fmla="*/ 1344087 h 1538630"/>
              <a:gd name="csX615" fmla="*/ 494572 w 1609516"/>
              <a:gd name="csY615" fmla="*/ 1347465 h 1538630"/>
              <a:gd name="csX616" fmla="*/ 487776 w 1609516"/>
              <a:gd name="csY616" fmla="*/ 1356181 h 1538630"/>
              <a:gd name="csX617" fmla="*/ 481248 w 1609516"/>
              <a:gd name="csY617" fmla="*/ 1367571 h 1538630"/>
              <a:gd name="csX618" fmla="*/ 478123 w 1609516"/>
              <a:gd name="csY618" fmla="*/ 1367571 h 1538630"/>
              <a:gd name="csX619" fmla="*/ 477635 w 1609516"/>
              <a:gd name="csY619" fmla="*/ 1370565 h 1538630"/>
              <a:gd name="csX620" fmla="*/ 465626 w 1609516"/>
              <a:gd name="csY620" fmla="*/ 1388709 h 1538630"/>
              <a:gd name="csX621" fmla="*/ 461233 w 1609516"/>
              <a:gd name="csY621" fmla="*/ 1397340 h 1538630"/>
              <a:gd name="csX622" fmla="*/ 455765 w 1609516"/>
              <a:gd name="csY622" fmla="*/ 1408086 h 1538630"/>
              <a:gd name="csX623" fmla="*/ 439070 w 1609516"/>
              <a:gd name="csY623" fmla="*/ 1477490 h 1538630"/>
              <a:gd name="csX624" fmla="*/ 434384 w 1609516"/>
              <a:gd name="csY624" fmla="*/ 1478899 h 1538630"/>
              <a:gd name="csX625" fmla="*/ 432431 w 1609516"/>
              <a:gd name="csY625" fmla="*/ 1481982 h 1538630"/>
              <a:gd name="csX626" fmla="*/ 418763 w 1609516"/>
              <a:gd name="csY626" fmla="*/ 1494401 h 1538630"/>
              <a:gd name="csX627" fmla="*/ 415639 w 1609516"/>
              <a:gd name="csY627" fmla="*/ 1494401 h 1538630"/>
              <a:gd name="csX628" fmla="*/ 415639 w 1609516"/>
              <a:gd name="csY628" fmla="*/ 1497219 h 1538630"/>
              <a:gd name="csX629" fmla="*/ 406265 w 1609516"/>
              <a:gd name="csY629" fmla="*/ 1498628 h 1538630"/>
              <a:gd name="csX630" fmla="*/ 406265 w 1609516"/>
              <a:gd name="csY630" fmla="*/ 1501447 h 1538630"/>
              <a:gd name="csX631" fmla="*/ 375023 w 1609516"/>
              <a:gd name="csY631" fmla="*/ 1501447 h 1538630"/>
              <a:gd name="csX632" fmla="*/ 375023 w 1609516"/>
              <a:gd name="csY632" fmla="*/ 1499438 h 1538630"/>
              <a:gd name="csX633" fmla="*/ 374964 w 1609516"/>
              <a:gd name="csY633" fmla="*/ 1499436 h 1538630"/>
              <a:gd name="csX634" fmla="*/ 373179 w 1609516"/>
              <a:gd name="csY634" fmla="*/ 1498628 h 1538630"/>
              <a:gd name="csX635" fmla="*/ 365650 w 1609516"/>
              <a:gd name="csY635" fmla="*/ 1498628 h 1538630"/>
              <a:gd name="csX636" fmla="*/ 363134 w 1609516"/>
              <a:gd name="csY636" fmla="*/ 1494087 h 1538630"/>
              <a:gd name="csX637" fmla="*/ 362171 w 1609516"/>
              <a:gd name="csY637" fmla="*/ 1493651 h 1538630"/>
              <a:gd name="csX638" fmla="*/ 360609 w 1609516"/>
              <a:gd name="csY638" fmla="*/ 1490833 h 1538630"/>
              <a:gd name="csX639" fmla="*/ 363733 w 1609516"/>
              <a:gd name="csY639" fmla="*/ 1490833 h 1538630"/>
              <a:gd name="csX640" fmla="*/ 363733 w 1609516"/>
              <a:gd name="csY640" fmla="*/ 1489980 h 1538630"/>
              <a:gd name="csX641" fmla="*/ 348467 w 1609516"/>
              <a:gd name="csY641" fmla="*/ 1481717 h 1538630"/>
              <a:gd name="csX642" fmla="*/ 343872 w 1609516"/>
              <a:gd name="csY642" fmla="*/ 1461078 h 1538630"/>
              <a:gd name="csX643" fmla="*/ 343656 w 1609516"/>
              <a:gd name="csY643" fmla="*/ 1463649 h 1538630"/>
              <a:gd name="csX644" fmla="*/ 343424 w 1609516"/>
              <a:gd name="csY644" fmla="*/ 1466842 h 1538630"/>
              <a:gd name="csX645" fmla="*/ 341861 w 1609516"/>
              <a:gd name="csY645" fmla="*/ 1466842 h 1538630"/>
              <a:gd name="csX646" fmla="*/ 354143 w 1609516"/>
              <a:gd name="csY646" fmla="*/ 1420549 h 1538630"/>
              <a:gd name="csX647" fmla="*/ 376229 w 1609516"/>
              <a:gd name="csY647" fmla="*/ 1403427 h 1538630"/>
              <a:gd name="csX648" fmla="*/ 379491 w 1609516"/>
              <a:gd name="csY648" fmla="*/ 1404408 h 1538630"/>
              <a:gd name="csX649" fmla="*/ 379710 w 1609516"/>
              <a:gd name="csY649" fmla="*/ 1404210 h 1538630"/>
              <a:gd name="csX650" fmla="*/ 380882 w 1609516"/>
              <a:gd name="csY650" fmla="*/ 1401568 h 1538630"/>
              <a:gd name="csX651" fmla="*/ 392207 w 1609516"/>
              <a:gd name="csY651" fmla="*/ 1392936 h 1538630"/>
              <a:gd name="csX652" fmla="*/ 399542 w 1609516"/>
              <a:gd name="csY652" fmla="*/ 1386774 h 1538630"/>
              <a:gd name="csX653" fmla="*/ 405485 w 1609516"/>
              <a:gd name="csY653" fmla="*/ 1378917 h 1538630"/>
              <a:gd name="csX654" fmla="*/ 412008 w 1609516"/>
              <a:gd name="csY654" fmla="*/ 1369481 h 1538630"/>
              <a:gd name="csX655" fmla="*/ 421130 w 1609516"/>
              <a:gd name="csY655" fmla="*/ 1357057 h 1538630"/>
              <a:gd name="csX656" fmla="*/ 424676 w 1609516"/>
              <a:gd name="csY656" fmla="*/ 1348443 h 1538630"/>
              <a:gd name="csX657" fmla="*/ 427275 w 1609516"/>
              <a:gd name="csY657" fmla="*/ 1348443 h 1538630"/>
              <a:gd name="csX658" fmla="*/ 428135 w 1609516"/>
              <a:gd name="csY658" fmla="*/ 1345727 h 1538630"/>
              <a:gd name="csX659" fmla="*/ 432822 w 1609516"/>
              <a:gd name="csY659" fmla="*/ 1335158 h 1538630"/>
              <a:gd name="csX660" fmla="*/ 435946 w 1609516"/>
              <a:gd name="csY660" fmla="*/ 1335158 h 1538630"/>
              <a:gd name="csX661" fmla="*/ 437704 w 1609516"/>
              <a:gd name="csY661" fmla="*/ 1329786 h 1538630"/>
              <a:gd name="csX662" fmla="*/ 447394 w 1609516"/>
              <a:gd name="csY662" fmla="*/ 1311196 h 1538630"/>
              <a:gd name="csX663" fmla="*/ 469287 w 1609516"/>
              <a:gd name="csY663" fmla="*/ 1265964 h 1538630"/>
              <a:gd name="csX664" fmla="*/ 478178 w 1609516"/>
              <a:gd name="csY664" fmla="*/ 1246787 h 1538630"/>
              <a:gd name="csX665" fmla="*/ 480179 w 1609516"/>
              <a:gd name="csY665" fmla="*/ 1225768 h 1538630"/>
              <a:gd name="csX666" fmla="*/ 480250 w 1609516"/>
              <a:gd name="csY666" fmla="*/ 1217149 h 1538630"/>
              <a:gd name="csX667" fmla="*/ 462972 w 1609516"/>
              <a:gd name="csY667" fmla="*/ 1174827 h 1538630"/>
              <a:gd name="csX668" fmla="*/ 457468 w 1609516"/>
              <a:gd name="csY668" fmla="*/ 1169949 h 1538630"/>
              <a:gd name="csX669" fmla="*/ 440657 w 1609516"/>
              <a:gd name="csY669" fmla="*/ 1152570 h 1538630"/>
              <a:gd name="csX670" fmla="*/ 403142 w 1609516"/>
              <a:gd name="csY670" fmla="*/ 1122366 h 1538630"/>
              <a:gd name="csX671" fmla="*/ 401579 w 1609516"/>
              <a:gd name="csY671" fmla="*/ 1119547 h 1538630"/>
              <a:gd name="csX672" fmla="*/ 364564 w 1609516"/>
              <a:gd name="csY672" fmla="*/ 1118209 h 1538630"/>
              <a:gd name="csX673" fmla="*/ 357822 w 1609516"/>
              <a:gd name="csY673" fmla="*/ 1122041 h 1538630"/>
              <a:gd name="csX674" fmla="*/ 348077 w 1609516"/>
              <a:gd name="csY674" fmla="*/ 1125273 h 1538630"/>
              <a:gd name="csX675" fmla="*/ 334408 w 1609516"/>
              <a:gd name="csY675" fmla="*/ 1132230 h 1538630"/>
              <a:gd name="csX676" fmla="*/ 327964 w 1609516"/>
              <a:gd name="csY676" fmla="*/ 1134080 h 1538630"/>
              <a:gd name="csX677" fmla="*/ 279734 w 1609516"/>
              <a:gd name="csY677" fmla="*/ 1166051 h 1538630"/>
              <a:gd name="csX678" fmla="*/ 276609 w 1609516"/>
              <a:gd name="csY678" fmla="*/ 1173098 h 1538630"/>
              <a:gd name="csX679" fmla="*/ 260988 w 1609516"/>
              <a:gd name="csY679" fmla="*/ 1188599 h 1538630"/>
              <a:gd name="csX680" fmla="*/ 257956 w 1609516"/>
              <a:gd name="csY680" fmla="*/ 1191132 h 1538630"/>
              <a:gd name="csX681" fmla="*/ 243805 w 1609516"/>
              <a:gd name="csY681" fmla="*/ 1196629 h 1538630"/>
              <a:gd name="csX682" fmla="*/ 243805 w 1609516"/>
              <a:gd name="csY682" fmla="*/ 1194236 h 1538630"/>
              <a:gd name="csX683" fmla="*/ 240288 w 1609516"/>
              <a:gd name="csY683" fmla="*/ 1194765 h 1538630"/>
              <a:gd name="csX684" fmla="*/ 243374 w 1609516"/>
              <a:gd name="csY684" fmla="*/ 1194765 h 1538630"/>
              <a:gd name="csX685" fmla="*/ 243374 w 1609516"/>
              <a:gd name="csY685" fmla="*/ 1196797 h 1538630"/>
              <a:gd name="csX686" fmla="*/ 243805 w 1609516"/>
              <a:gd name="csY686" fmla="*/ 1196629 h 1538630"/>
              <a:gd name="csX687" fmla="*/ 243805 w 1609516"/>
              <a:gd name="csY687" fmla="*/ 1197055 h 1538630"/>
              <a:gd name="csX688" fmla="*/ 243374 w 1609516"/>
              <a:gd name="csY688" fmla="*/ 1197055 h 1538630"/>
              <a:gd name="csX689" fmla="*/ 243374 w 1609516"/>
              <a:gd name="csY689" fmla="*/ 1197584 h 1538630"/>
              <a:gd name="csX690" fmla="*/ 241319 w 1609516"/>
              <a:gd name="csY690" fmla="*/ 1197595 h 1538630"/>
              <a:gd name="csX691" fmla="*/ 238009 w 1609516"/>
              <a:gd name="csY691" fmla="*/ 1198881 h 1538630"/>
              <a:gd name="csX692" fmla="*/ 215687 w 1609516"/>
              <a:gd name="csY692" fmla="*/ 1198464 h 1538630"/>
              <a:gd name="csX693" fmla="*/ 215687 w 1609516"/>
              <a:gd name="csY693" fmla="*/ 1197734 h 1538630"/>
              <a:gd name="csX694" fmla="*/ 213936 w 1609516"/>
              <a:gd name="csY694" fmla="*/ 1197744 h 1538630"/>
              <a:gd name="csX695" fmla="*/ 207446 w 1609516"/>
              <a:gd name="csY695" fmla="*/ 1196175 h 1538630"/>
              <a:gd name="csX696" fmla="*/ 207822 w 1609516"/>
              <a:gd name="csY696" fmla="*/ 1195610 h 1538630"/>
              <a:gd name="csX697" fmla="*/ 184737 w 1609516"/>
              <a:gd name="csY697" fmla="*/ 1180936 h 1538630"/>
              <a:gd name="csX698" fmla="*/ 179270 w 1609516"/>
              <a:gd name="csY698" fmla="*/ 1154866 h 1538630"/>
              <a:gd name="csX699" fmla="*/ 179194 w 1609516"/>
              <a:gd name="csY699" fmla="*/ 1151621 h 1538630"/>
              <a:gd name="csX700" fmla="*/ 193195 w 1609516"/>
              <a:gd name="csY700" fmla="*/ 1120065 h 1538630"/>
              <a:gd name="csX701" fmla="*/ 229551 w 1609516"/>
              <a:gd name="csY701" fmla="*/ 1110299 h 1538630"/>
              <a:gd name="csX702" fmla="*/ 260988 w 1609516"/>
              <a:gd name="csY702" fmla="*/ 1108274 h 1538630"/>
              <a:gd name="csX703" fmla="*/ 260988 w 1609516"/>
              <a:gd name="csY703" fmla="*/ 1105455 h 1538630"/>
              <a:gd name="csX704" fmla="*/ 263911 w 1609516"/>
              <a:gd name="csY704" fmla="*/ 1104310 h 1538630"/>
              <a:gd name="csX705" fmla="*/ 286995 w 1609516"/>
              <a:gd name="csY705" fmla="*/ 1090185 h 1538630"/>
              <a:gd name="csX706" fmla="*/ 299358 w 1609516"/>
              <a:gd name="csY706" fmla="*/ 1080970 h 1538630"/>
              <a:gd name="csX707" fmla="*/ 317762 w 1609516"/>
              <a:gd name="csY707" fmla="*/ 1063272 h 1538630"/>
              <a:gd name="csX708" fmla="*/ 325035 w 1609516"/>
              <a:gd name="csY708" fmla="*/ 1057542 h 1538630"/>
              <a:gd name="csX709" fmla="*/ 325328 w 1609516"/>
              <a:gd name="csY709" fmla="*/ 1023104 h 1538630"/>
              <a:gd name="csX710" fmla="*/ 324544 w 1609516"/>
              <a:gd name="csY710" fmla="*/ 1019247 h 1538630"/>
              <a:gd name="csX711" fmla="*/ 317225 w 1609516"/>
              <a:gd name="csY711" fmla="*/ 996945 h 1538630"/>
              <a:gd name="csX712" fmla="*/ 315388 w 1609516"/>
              <a:gd name="csY712" fmla="*/ 992690 h 1538630"/>
              <a:gd name="csX713" fmla="*/ 276232 w 1609516"/>
              <a:gd name="csY713" fmla="*/ 950666 h 1538630"/>
              <a:gd name="csX714" fmla="*/ 271923 w 1609516"/>
              <a:gd name="csY714" fmla="*/ 949031 h 1538630"/>
              <a:gd name="csX715" fmla="*/ 268299 w 1609516"/>
              <a:gd name="csY715" fmla="*/ 947441 h 1538630"/>
              <a:gd name="csX716" fmla="*/ 199187 w 1609516"/>
              <a:gd name="csY716" fmla="*/ 938991 h 1538630"/>
              <a:gd name="csX717" fmla="*/ 193719 w 1609516"/>
              <a:gd name="csY717" fmla="*/ 938971 h 1538630"/>
              <a:gd name="csX718" fmla="*/ 188539 w 1609516"/>
              <a:gd name="csY718" fmla="*/ 938980 h 1538630"/>
              <a:gd name="csX719" fmla="*/ 183874 w 1609516"/>
              <a:gd name="csY719" fmla="*/ 938985 h 1538630"/>
              <a:gd name="csX720" fmla="*/ 173509 w 1609516"/>
              <a:gd name="csY720" fmla="*/ 940576 h 1538630"/>
              <a:gd name="csX721" fmla="*/ 161403 w 1609516"/>
              <a:gd name="csY721" fmla="*/ 940664 h 1538630"/>
              <a:gd name="csX722" fmla="*/ 158102 w 1609516"/>
              <a:gd name="csY722" fmla="*/ 940645 h 1538630"/>
              <a:gd name="csX723" fmla="*/ 150875 w 1609516"/>
              <a:gd name="csY723" fmla="*/ 940583 h 1538630"/>
              <a:gd name="csX724" fmla="*/ 148425 w 1609516"/>
              <a:gd name="csY724" fmla="*/ 940717 h 1538630"/>
              <a:gd name="csX725" fmla="*/ 149617 w 1609516"/>
              <a:gd name="csY725" fmla="*/ 940995 h 1538630"/>
              <a:gd name="csX726" fmla="*/ 149617 w 1609516"/>
              <a:gd name="csY726" fmla="*/ 942404 h 1538630"/>
              <a:gd name="csX727" fmla="*/ 146627 w 1609516"/>
              <a:gd name="csY727" fmla="*/ 942871 h 1538630"/>
              <a:gd name="csX728" fmla="*/ 110564 w 1609516"/>
              <a:gd name="csY728" fmla="*/ 949449 h 1538630"/>
              <a:gd name="csX729" fmla="*/ 111283 w 1609516"/>
              <a:gd name="csY729" fmla="*/ 946205 h 1538630"/>
              <a:gd name="csX730" fmla="*/ 101652 w 1609516"/>
              <a:gd name="csY730" fmla="*/ 956078 h 1538630"/>
              <a:gd name="csX731" fmla="*/ 98052 w 1609516"/>
              <a:gd name="csY731" fmla="*/ 958467 h 1538630"/>
              <a:gd name="csX732" fmla="*/ 67286 w 1609516"/>
              <a:gd name="csY732" fmla="*/ 972989 h 1538630"/>
              <a:gd name="csX733" fmla="*/ 67286 w 1609516"/>
              <a:gd name="csY733" fmla="*/ 975807 h 1538630"/>
              <a:gd name="csX734" fmla="*/ 31942 w 1609516"/>
              <a:gd name="csY734" fmla="*/ 976423 h 1538630"/>
              <a:gd name="csX735" fmla="*/ 5673 w 1609516"/>
              <a:gd name="csY735" fmla="*/ 953419 h 1538630"/>
              <a:gd name="csX736" fmla="*/ 4801 w 1609516"/>
              <a:gd name="csY736" fmla="*/ 944804 h 1538630"/>
              <a:gd name="csX737" fmla="*/ 1676 w 1609516"/>
              <a:gd name="csY737" fmla="*/ 944804 h 1538630"/>
              <a:gd name="csX738" fmla="*/ 17 w 1609516"/>
              <a:gd name="csY738" fmla="*/ 931857 h 1538630"/>
              <a:gd name="csX739" fmla="*/ 59 w 1609516"/>
              <a:gd name="csY739" fmla="*/ 927216 h 1538630"/>
              <a:gd name="csX740" fmla="*/ 115 w 1609516"/>
              <a:gd name="csY740" fmla="*/ 923666 h 1538630"/>
              <a:gd name="csX741" fmla="*/ 3238 w 1609516"/>
              <a:gd name="csY741" fmla="*/ 923666 h 1538630"/>
              <a:gd name="csX742" fmla="*/ 3238 w 1609516"/>
              <a:gd name="csY742" fmla="*/ 918029 h 1538630"/>
              <a:gd name="csX743" fmla="*/ 6363 w 1609516"/>
              <a:gd name="csY743" fmla="*/ 918029 h 1538630"/>
              <a:gd name="csX744" fmla="*/ 6656 w 1609516"/>
              <a:gd name="csY744" fmla="*/ 912832 h 1538630"/>
              <a:gd name="csX745" fmla="*/ 15736 w 1609516"/>
              <a:gd name="csY745" fmla="*/ 899709 h 1538630"/>
              <a:gd name="csX746" fmla="*/ 17243 w 1609516"/>
              <a:gd name="csY746" fmla="*/ 898894 h 1538630"/>
              <a:gd name="csX747" fmla="*/ 16800 w 1609516"/>
              <a:gd name="csY747" fmla="*/ 898694 h 1538630"/>
              <a:gd name="csX748" fmla="*/ 24988 w 1609516"/>
              <a:gd name="csY748" fmla="*/ 894101 h 1538630"/>
              <a:gd name="csX749" fmla="*/ 26768 w 1609516"/>
              <a:gd name="csY749" fmla="*/ 892399 h 1538630"/>
              <a:gd name="csX750" fmla="*/ 30198 w 1609516"/>
              <a:gd name="csY750" fmla="*/ 890164 h 1538630"/>
              <a:gd name="csX751" fmla="*/ 32204 w 1609516"/>
              <a:gd name="csY751" fmla="*/ 890054 h 1538630"/>
              <a:gd name="csX752" fmla="*/ 38914 w 1609516"/>
              <a:gd name="csY752" fmla="*/ 886291 h 1538630"/>
              <a:gd name="csX753" fmla="*/ 63664 w 1609516"/>
              <a:gd name="csY753" fmla="*/ 886011 h 1538630"/>
              <a:gd name="csX754" fmla="*/ 63664 w 1609516"/>
              <a:gd name="csY754" fmla="*/ 886531 h 1538630"/>
              <a:gd name="csX755" fmla="*/ 70784 w 1609516"/>
              <a:gd name="csY755" fmla="*/ 886647 h 1538630"/>
              <a:gd name="csX756" fmla="*/ 82126 w 1609516"/>
              <a:gd name="csY756" fmla="*/ 889845 h 1538630"/>
              <a:gd name="csX757" fmla="*/ 114149 w 1609516"/>
              <a:gd name="csY757" fmla="*/ 892663 h 1538630"/>
              <a:gd name="csX758" fmla="*/ 118836 w 1609516"/>
              <a:gd name="csY758" fmla="*/ 889845 h 1538630"/>
              <a:gd name="csX759" fmla="*/ 131626 w 1609516"/>
              <a:gd name="csY759" fmla="*/ 887114 h 1538630"/>
              <a:gd name="csX760" fmla="*/ 155116 w 1609516"/>
              <a:gd name="csY760" fmla="*/ 880913 h 1538630"/>
              <a:gd name="csX761" fmla="*/ 165406 w 1609516"/>
              <a:gd name="csY761" fmla="*/ 878483 h 1538630"/>
              <a:gd name="csX762" fmla="*/ 176634 w 1609516"/>
              <a:gd name="csY762" fmla="*/ 874343 h 1538630"/>
              <a:gd name="csX763" fmla="*/ 186397 w 1609516"/>
              <a:gd name="csY763" fmla="*/ 871524 h 1538630"/>
              <a:gd name="csX764" fmla="*/ 191871 w 1609516"/>
              <a:gd name="csY764" fmla="*/ 870033 h 1538630"/>
              <a:gd name="csX765" fmla="*/ 203483 w 1609516"/>
              <a:gd name="csY765" fmla="*/ 867208 h 1538630"/>
              <a:gd name="csX766" fmla="*/ 211001 w 1609516"/>
              <a:gd name="csY766" fmla="*/ 861660 h 1538630"/>
              <a:gd name="csX767" fmla="*/ 218031 w 1609516"/>
              <a:gd name="csY767" fmla="*/ 858577 h 1538630"/>
              <a:gd name="csX768" fmla="*/ 254740 w 1609516"/>
              <a:gd name="csY768" fmla="*/ 825020 h 1538630"/>
              <a:gd name="csX769" fmla="*/ 257864 w 1609516"/>
              <a:gd name="csY769" fmla="*/ 820792 h 1538630"/>
              <a:gd name="csX770" fmla="*/ 258318 w 1609516"/>
              <a:gd name="csY770" fmla="*/ 813810 h 1538630"/>
              <a:gd name="csX771" fmla="*/ 258378 w 1609516"/>
              <a:gd name="csY771" fmla="*/ 809502 h 1538630"/>
              <a:gd name="csX772" fmla="*/ 258389 w 1609516"/>
              <a:gd name="csY772" fmla="*/ 804845 h 1538630"/>
              <a:gd name="csX773" fmla="*/ 258420 w 1609516"/>
              <a:gd name="csY773" fmla="*/ 800036 h 1538630"/>
              <a:gd name="csX774" fmla="*/ 258443 w 1609516"/>
              <a:gd name="csY774" fmla="*/ 789939 h 1538630"/>
              <a:gd name="csX775" fmla="*/ 258566 w 1609516"/>
              <a:gd name="csY775" fmla="*/ 774594 h 1538630"/>
              <a:gd name="csX776" fmla="*/ 258584 w 1609516"/>
              <a:gd name="csY776" fmla="*/ 764771 h 1538630"/>
              <a:gd name="csX777" fmla="*/ 258652 w 1609516"/>
              <a:gd name="csY777" fmla="*/ 760174 h 1538630"/>
              <a:gd name="csX778" fmla="*/ 251616 w 1609516"/>
              <a:gd name="csY778" fmla="*/ 733421 h 1538630"/>
              <a:gd name="csX779" fmla="*/ 247613 w 1609516"/>
              <a:gd name="csY779" fmla="*/ 721883 h 1538630"/>
              <a:gd name="csX780" fmla="*/ 241291 w 1609516"/>
              <a:gd name="csY780" fmla="*/ 705644 h 1538630"/>
              <a:gd name="csX781" fmla="*/ 237557 w 1609516"/>
              <a:gd name="csY781" fmla="*/ 689735 h 1538630"/>
              <a:gd name="csX782" fmla="*/ 248492 w 1609516"/>
              <a:gd name="csY782" fmla="*/ 685507 h 1538630"/>
              <a:gd name="csX783" fmla="*/ 248492 w 1609516"/>
              <a:gd name="csY783" fmla="*/ 681279 h 1538630"/>
              <a:gd name="csX784" fmla="*/ 240681 w 1609516"/>
              <a:gd name="csY784" fmla="*/ 679870 h 1538630"/>
              <a:gd name="csX785" fmla="*/ 240681 w 1609516"/>
              <a:gd name="csY785" fmla="*/ 677052 h 1538630"/>
              <a:gd name="csX786" fmla="*/ 238094 w 1609516"/>
              <a:gd name="csY786" fmla="*/ 676645 h 1538630"/>
              <a:gd name="csX787" fmla="*/ 225841 w 1609516"/>
              <a:gd name="csY787" fmla="*/ 670886 h 1538630"/>
              <a:gd name="csX788" fmla="*/ 201531 w 1609516"/>
              <a:gd name="csY788" fmla="*/ 662508 h 1538630"/>
              <a:gd name="csX789" fmla="*/ 188252 w 1609516"/>
              <a:gd name="csY789" fmla="*/ 658644 h 1538630"/>
              <a:gd name="csX790" fmla="*/ 182431 w 1609516"/>
              <a:gd name="csY790" fmla="*/ 657327 h 1538630"/>
              <a:gd name="csX791" fmla="*/ 182431 w 1609516"/>
              <a:gd name="csY791" fmla="*/ 657613 h 1538630"/>
              <a:gd name="csX792" fmla="*/ 146503 w 1609516"/>
              <a:gd name="csY792" fmla="*/ 656204 h 1538630"/>
              <a:gd name="csX793" fmla="*/ 146503 w 1609516"/>
              <a:gd name="csY793" fmla="*/ 659022 h 1538630"/>
              <a:gd name="csX794" fmla="*/ 110378 w 1609516"/>
              <a:gd name="csY794" fmla="*/ 663778 h 1538630"/>
              <a:gd name="csX795" fmla="*/ 106453 w 1609516"/>
              <a:gd name="csY795" fmla="*/ 663836 h 1538630"/>
              <a:gd name="csX796" fmla="*/ 102751 w 1609516"/>
              <a:gd name="csY796" fmla="*/ 663811 h 1538630"/>
              <a:gd name="csX797" fmla="*/ 99449 w 1609516"/>
              <a:gd name="csY797" fmla="*/ 663797 h 1538630"/>
              <a:gd name="csX798" fmla="*/ 91828 w 1609516"/>
              <a:gd name="csY798" fmla="*/ 659022 h 1538630"/>
              <a:gd name="csX799" fmla="*/ 98077 w 1609516"/>
              <a:gd name="csY799" fmla="*/ 659022 h 1538630"/>
              <a:gd name="csX800" fmla="*/ 98077 w 1609516"/>
              <a:gd name="csY800" fmla="*/ 661841 h 1538630"/>
              <a:gd name="csX801" fmla="*/ 119023 w 1609516"/>
              <a:gd name="csY801" fmla="*/ 661357 h 1538630"/>
              <a:gd name="csX802" fmla="*/ 119536 w 1609516"/>
              <a:gd name="csY802" fmla="*/ 661197 h 1538630"/>
              <a:gd name="csX803" fmla="*/ 109853 w 1609516"/>
              <a:gd name="csY803" fmla="*/ 661639 h 1538630"/>
              <a:gd name="csX804" fmla="*/ 106552 w 1609516"/>
              <a:gd name="csY804" fmla="*/ 661619 h 1538630"/>
              <a:gd name="csX805" fmla="*/ 98528 w 1609516"/>
              <a:gd name="csY805" fmla="*/ 661550 h 1538630"/>
              <a:gd name="csX806" fmla="*/ 98528 w 1609516"/>
              <a:gd name="csY806" fmla="*/ 658732 h 1538630"/>
              <a:gd name="csX807" fmla="*/ 89155 w 1609516"/>
              <a:gd name="csY807" fmla="*/ 657323 h 1538630"/>
              <a:gd name="csX808" fmla="*/ 89155 w 1609516"/>
              <a:gd name="csY808" fmla="*/ 654504 h 1538630"/>
              <a:gd name="csX809" fmla="*/ 86397 w 1609516"/>
              <a:gd name="csY809" fmla="*/ 653442 h 1538630"/>
              <a:gd name="csX810" fmla="*/ 77049 w 1609516"/>
              <a:gd name="csY810" fmla="*/ 646137 h 1538630"/>
              <a:gd name="csX811" fmla="*/ 74145 w 1609516"/>
              <a:gd name="csY811" fmla="*/ 643192 h 1538630"/>
              <a:gd name="csX812" fmla="*/ 71972 w 1609516"/>
              <a:gd name="csY812" fmla="*/ 636185 h 1538630"/>
              <a:gd name="csX813" fmla="*/ 68848 w 1609516"/>
              <a:gd name="csY813" fmla="*/ 636185 h 1538630"/>
              <a:gd name="csX814" fmla="*/ 70410 w 1609516"/>
              <a:gd name="csY814" fmla="*/ 595317 h 1538630"/>
              <a:gd name="csX815" fmla="*/ 79782 w 1609516"/>
              <a:gd name="csY815" fmla="*/ 584043 h 1538630"/>
              <a:gd name="csX816" fmla="*/ 82656 w 1609516"/>
              <a:gd name="csY816" fmla="*/ 581115 h 1538630"/>
              <a:gd name="csX817" fmla="*/ 116694 w 1609516"/>
              <a:gd name="csY817" fmla="*/ 572323 h 1538630"/>
              <a:gd name="csX818" fmla="*/ 152031 w 1609516"/>
              <a:gd name="csY818" fmla="*/ 590385 h 1538630"/>
              <a:gd name="csX819" fmla="*/ 191474 w 1609516"/>
              <a:gd name="csY819" fmla="*/ 605886 h 1538630"/>
              <a:gd name="csX820" fmla="*/ 206314 w 1609516"/>
              <a:gd name="csY820" fmla="*/ 608000 h 1538630"/>
              <a:gd name="csX821" fmla="*/ 206314 w 1609516"/>
              <a:gd name="csY821" fmla="*/ 610818 h 1538630"/>
              <a:gd name="csX822" fmla="*/ 234433 w 1609516"/>
              <a:gd name="csY822" fmla="*/ 610818 h 1538630"/>
              <a:gd name="csX823" fmla="*/ 239522 w 1609516"/>
              <a:gd name="csY823" fmla="*/ 610802 h 1538630"/>
              <a:gd name="csX824" fmla="*/ 268799 w 1609516"/>
              <a:gd name="csY824" fmla="*/ 600954 h 1538630"/>
              <a:gd name="csX825" fmla="*/ 271740 w 1609516"/>
              <a:gd name="csY825" fmla="*/ 599325 h 1538630"/>
              <a:gd name="csX826" fmla="*/ 284420 w 1609516"/>
              <a:gd name="csY826" fmla="*/ 579816 h 1538630"/>
              <a:gd name="csX827" fmla="*/ 289399 w 1609516"/>
              <a:gd name="csY827" fmla="*/ 568630 h 1538630"/>
              <a:gd name="csX828" fmla="*/ 293958 w 1609516"/>
              <a:gd name="csY828" fmla="*/ 535838 h 1538630"/>
              <a:gd name="csX829" fmla="*/ 289107 w 1609516"/>
              <a:gd name="csY829" fmla="*/ 529084 h 1538630"/>
              <a:gd name="csX830" fmla="*/ 289107 w 1609516"/>
              <a:gd name="csY830" fmla="*/ 526265 h 1538630"/>
              <a:gd name="csX831" fmla="*/ 284420 w 1609516"/>
              <a:gd name="csY831" fmla="*/ 524856 h 1538630"/>
              <a:gd name="csX832" fmla="*/ 282858 w 1609516"/>
              <a:gd name="csY832" fmla="*/ 520628 h 1538630"/>
              <a:gd name="csX833" fmla="*/ 277977 w 1609516"/>
              <a:gd name="csY833" fmla="*/ 516577 h 1538630"/>
              <a:gd name="csX834" fmla="*/ 264925 w 1609516"/>
              <a:gd name="csY834" fmla="*/ 506443 h 1538630"/>
              <a:gd name="csX835" fmla="*/ 229746 w 1609516"/>
              <a:gd name="csY835" fmla="*/ 481170 h 1538630"/>
              <a:gd name="csX836" fmla="*/ 221057 w 1609516"/>
              <a:gd name="csY836" fmla="*/ 475445 h 1538630"/>
              <a:gd name="csX837" fmla="*/ 212563 w 1609516"/>
              <a:gd name="csY837" fmla="*/ 469896 h 1538630"/>
              <a:gd name="csX838" fmla="*/ 208889 w 1609516"/>
              <a:gd name="csY838" fmla="*/ 467491 h 1538630"/>
              <a:gd name="csX839" fmla="*/ 190406 w 1609516"/>
              <a:gd name="csY839" fmla="*/ 456382 h 1538630"/>
              <a:gd name="csX840" fmla="*/ 186942 w 1609516"/>
              <a:gd name="csY840" fmla="*/ 454460 h 1538630"/>
              <a:gd name="csX841" fmla="*/ 180041 w 1609516"/>
              <a:gd name="csY841" fmla="*/ 450696 h 1538630"/>
              <a:gd name="csX842" fmla="*/ 171948 w 1609516"/>
              <a:gd name="csY842" fmla="*/ 445940 h 1538630"/>
              <a:gd name="csX843" fmla="*/ 171948 w 1609516"/>
              <a:gd name="csY843" fmla="*/ 443121 h 1538630"/>
              <a:gd name="csX844" fmla="*/ 168482 w 1609516"/>
              <a:gd name="csY844" fmla="*/ 442708 h 1538630"/>
              <a:gd name="csX845" fmla="*/ 157107 w 1609516"/>
              <a:gd name="csY845" fmla="*/ 437044 h 1538630"/>
              <a:gd name="csX846" fmla="*/ 132559 w 1609516"/>
              <a:gd name="csY846" fmla="*/ 427510 h 1538630"/>
              <a:gd name="csX847" fmla="*/ 123522 w 1609516"/>
              <a:gd name="csY847" fmla="*/ 421983 h 1538630"/>
              <a:gd name="csX848" fmla="*/ 107986 w 1609516"/>
              <a:gd name="csY848" fmla="*/ 418730 h 1538630"/>
              <a:gd name="csX849" fmla="*/ 102494 w 1609516"/>
              <a:gd name="csY849" fmla="*/ 418622 h 1538630"/>
              <a:gd name="csX850" fmla="*/ 91157 w 1609516"/>
              <a:gd name="csY850" fmla="*/ 418490 h 1538630"/>
              <a:gd name="csX851" fmla="*/ 55277 w 1609516"/>
              <a:gd name="csY851" fmla="*/ 410445 h 1538630"/>
              <a:gd name="csX852" fmla="*/ 51665 w 1609516"/>
              <a:gd name="csY852" fmla="*/ 406481 h 1538630"/>
              <a:gd name="csX853" fmla="*/ 45904 w 1609516"/>
              <a:gd name="csY853" fmla="*/ 400492 h 1538630"/>
              <a:gd name="csX854" fmla="*/ 43152 w 1609516"/>
              <a:gd name="csY854" fmla="*/ 397564 h 1538630"/>
              <a:gd name="csX855" fmla="*/ 37605 w 1609516"/>
              <a:gd name="csY855" fmla="*/ 393798 h 1538630"/>
              <a:gd name="csX856" fmla="*/ 38995 w 1609516"/>
              <a:gd name="csY856" fmla="*/ 368712 h 1538630"/>
              <a:gd name="csX857" fmla="*/ 38666 w 1609516"/>
              <a:gd name="csY857" fmla="*/ 369724 h 1538630"/>
              <a:gd name="csX858" fmla="*/ 35542 w 1609516"/>
              <a:gd name="csY858" fmla="*/ 384081 h 1538630"/>
              <a:gd name="csX859" fmla="*/ 33326 w 1609516"/>
              <a:gd name="csY859" fmla="*/ 357791 h 1538630"/>
              <a:gd name="csX860" fmla="*/ 52725 w 1609516"/>
              <a:gd name="csY860" fmla="*/ 333349 h 1538630"/>
              <a:gd name="csX861" fmla="*/ 55222 w 1609516"/>
              <a:gd name="csY861" fmla="*/ 334475 h 1538630"/>
              <a:gd name="csX862" fmla="*/ 56222 w 1609516"/>
              <a:gd name="csY862" fmla="*/ 333347 h 1538630"/>
              <a:gd name="csX863" fmla="*/ 55871 w 1609516"/>
              <a:gd name="csY863" fmla="*/ 333347 h 1538630"/>
              <a:gd name="csX864" fmla="*/ 56346 w 1609516"/>
              <a:gd name="csY864" fmla="*/ 333207 h 1538630"/>
              <a:gd name="csX865" fmla="*/ 56351 w 1609516"/>
              <a:gd name="csY865" fmla="*/ 333202 h 1538630"/>
              <a:gd name="csX866" fmla="*/ 56365 w 1609516"/>
              <a:gd name="csY866" fmla="*/ 333202 h 1538630"/>
              <a:gd name="csX867" fmla="*/ 79571 w 1609516"/>
              <a:gd name="csY867" fmla="*/ 326360 h 1538630"/>
              <a:gd name="csX868" fmla="*/ 104297 w 1609516"/>
              <a:gd name="csY868" fmla="*/ 330529 h 1538630"/>
              <a:gd name="csX869" fmla="*/ 107170 w 1609516"/>
              <a:gd name="csY869" fmla="*/ 334417 h 1538630"/>
              <a:gd name="csX870" fmla="*/ 109366 w 1609516"/>
              <a:gd name="csY870" fmla="*/ 336046 h 1538630"/>
              <a:gd name="csX871" fmla="*/ 109463 w 1609516"/>
              <a:gd name="csY871" fmla="*/ 336020 h 1538630"/>
              <a:gd name="csX872" fmla="*/ 109463 w 1609516"/>
              <a:gd name="csY872" fmla="*/ 336118 h 1538630"/>
              <a:gd name="csX873" fmla="*/ 115226 w 1609516"/>
              <a:gd name="csY873" fmla="*/ 340394 h 1538630"/>
              <a:gd name="csX874" fmla="*/ 114010 w 1609516"/>
              <a:gd name="csY874" fmla="*/ 340120 h 1538630"/>
              <a:gd name="csX875" fmla="*/ 133285 w 1609516"/>
              <a:gd name="csY875" fmla="*/ 357423 h 1538630"/>
              <a:gd name="csX876" fmla="*/ 173509 w 1609516"/>
              <a:gd name="csY876" fmla="*/ 389571 h 1538630"/>
              <a:gd name="csX877" fmla="*/ 181711 w 1609516"/>
              <a:gd name="csY877" fmla="*/ 393270 h 1538630"/>
              <a:gd name="csX878" fmla="*/ 185507 w 1609516"/>
              <a:gd name="csY878" fmla="*/ 394976 h 1538630"/>
              <a:gd name="csX879" fmla="*/ 192658 w 1609516"/>
              <a:gd name="csY879" fmla="*/ 398257 h 1538630"/>
              <a:gd name="csX880" fmla="*/ 195966 w 1609516"/>
              <a:gd name="csY880" fmla="*/ 399788 h 1538630"/>
              <a:gd name="csX881" fmla="*/ 198833 w 1609516"/>
              <a:gd name="csY881" fmla="*/ 401131 h 1538630"/>
              <a:gd name="csX882" fmla="*/ 207877 w 1609516"/>
              <a:gd name="csY882" fmla="*/ 403663 h 1538630"/>
              <a:gd name="csX883" fmla="*/ 207877 w 1609516"/>
              <a:gd name="csY883" fmla="*/ 406481 h 1538630"/>
              <a:gd name="csX884" fmla="*/ 248492 w 1609516"/>
              <a:gd name="csY884" fmla="*/ 419428 h 1538630"/>
              <a:gd name="csX885" fmla="*/ 253965 w 1609516"/>
              <a:gd name="csY885" fmla="*/ 421000 h 1538630"/>
              <a:gd name="csX886" fmla="*/ 267237 w 1609516"/>
              <a:gd name="csY886" fmla="*/ 424801 h 1538630"/>
              <a:gd name="csX887" fmla="*/ 267237 w 1609516"/>
              <a:gd name="csY887" fmla="*/ 426451 h 1538630"/>
              <a:gd name="csX888" fmla="*/ 288701 w 1609516"/>
              <a:gd name="csY888" fmla="*/ 429217 h 1538630"/>
              <a:gd name="csX889" fmla="*/ 288701 w 1609516"/>
              <a:gd name="csY889" fmla="*/ 432036 h 1538630"/>
              <a:gd name="csX890" fmla="*/ 327010 w 1609516"/>
              <a:gd name="csY890" fmla="*/ 433628 h 1538630"/>
              <a:gd name="csX891" fmla="*/ 337486 w 1609516"/>
              <a:gd name="csY891" fmla="*/ 433637 h 1538630"/>
              <a:gd name="csX892" fmla="*/ 344229 w 1609516"/>
              <a:gd name="csY892" fmla="*/ 433632 h 1538630"/>
              <a:gd name="csX893" fmla="*/ 350323 w 1609516"/>
              <a:gd name="csY893" fmla="*/ 433627 h 1538630"/>
              <a:gd name="csX894" fmla="*/ 365245 w 1609516"/>
              <a:gd name="csY894" fmla="*/ 432036 h 1538630"/>
              <a:gd name="csX895" fmla="*/ 360797 w 1609516"/>
              <a:gd name="csY895" fmla="*/ 433759 h 1538630"/>
              <a:gd name="csX896" fmla="*/ 365650 w 1609516"/>
              <a:gd name="csY896" fmla="*/ 433257 h 1538630"/>
              <a:gd name="csX897" fmla="*/ 367213 w 1609516"/>
              <a:gd name="csY897" fmla="*/ 429029 h 1538630"/>
              <a:gd name="csX898" fmla="*/ 375188 w 1609516"/>
              <a:gd name="csY898" fmla="*/ 424906 h 1538630"/>
              <a:gd name="csX899" fmla="*/ 404704 w 1609516"/>
              <a:gd name="csY899" fmla="*/ 389571 h 1538630"/>
              <a:gd name="csX900" fmla="*/ 406265 w 1609516"/>
              <a:gd name="csY900" fmla="*/ 388161 h 1538630"/>
              <a:gd name="csX901" fmla="*/ 406559 w 1609516"/>
              <a:gd name="csY901" fmla="*/ 370106 h 1538630"/>
              <a:gd name="csX902" fmla="*/ 406617 w 1609516"/>
              <a:gd name="csY902" fmla="*/ 364973 h 1538630"/>
              <a:gd name="csX903" fmla="*/ 406626 w 1609516"/>
              <a:gd name="csY903" fmla="*/ 360038 h 1538630"/>
              <a:gd name="csX904" fmla="*/ 406645 w 1609516"/>
              <a:gd name="csY904" fmla="*/ 355503 h 1538630"/>
              <a:gd name="csX905" fmla="*/ 403142 w 1609516"/>
              <a:gd name="csY905" fmla="*/ 345885 h 1538630"/>
              <a:gd name="csX906" fmla="*/ 401579 w 1609516"/>
              <a:gd name="csY906" fmla="*/ 338663 h 1538630"/>
              <a:gd name="csX907" fmla="*/ 390938 w 1609516"/>
              <a:gd name="csY907" fmla="*/ 315939 h 1538630"/>
              <a:gd name="csX908" fmla="*/ 388976 w 1609516"/>
              <a:gd name="csY908" fmla="*/ 312762 h 1538630"/>
              <a:gd name="csX909" fmla="*/ 377934 w 1609516"/>
              <a:gd name="csY909" fmla="*/ 297817 h 1538630"/>
              <a:gd name="csX910" fmla="*/ 368775 w 1609516"/>
              <a:gd name="csY910" fmla="*/ 282470 h 1538630"/>
              <a:gd name="csX911" fmla="*/ 359890 w 1609516"/>
              <a:gd name="csY911" fmla="*/ 271284 h 1538630"/>
              <a:gd name="csX912" fmla="*/ 357374 w 1609516"/>
              <a:gd name="csY912" fmla="*/ 268288 h 1538630"/>
              <a:gd name="csX913" fmla="*/ 337533 w 1609516"/>
              <a:gd name="csY913" fmla="*/ 248649 h 1538630"/>
              <a:gd name="csX914" fmla="*/ 335214 w 1609516"/>
              <a:gd name="csY914" fmla="*/ 246369 h 1538630"/>
              <a:gd name="csX915" fmla="*/ 327085 w 1609516"/>
              <a:gd name="csY915" fmla="*/ 242571 h 1538630"/>
              <a:gd name="csX916" fmla="*/ 288785 w 1609516"/>
              <a:gd name="csY916" fmla="*/ 207968 h 1538630"/>
              <a:gd name="csX917" fmla="*/ 286373 w 1609516"/>
              <a:gd name="csY917" fmla="*/ 192544 h 1538630"/>
              <a:gd name="csX918" fmla="*/ 286385 w 1609516"/>
              <a:gd name="csY918" fmla="*/ 189190 h 1538630"/>
              <a:gd name="csX919" fmla="*/ 300042 w 1609516"/>
              <a:gd name="csY919" fmla="*/ 164095 h 1538630"/>
              <a:gd name="csX920" fmla="*/ 302757 w 1609516"/>
              <a:gd name="csY920" fmla="*/ 161381 h 1538630"/>
              <a:gd name="csX921" fmla="*/ 338411 w 1609516"/>
              <a:gd name="csY921" fmla="*/ 152293 h 1538630"/>
              <a:gd name="csX922" fmla="*/ 368482 w 1609516"/>
              <a:gd name="csY922" fmla="*/ 161893 h 1538630"/>
              <a:gd name="csX923" fmla="*/ 371899 w 1609516"/>
              <a:gd name="csY923" fmla="*/ 165505 h 1538630"/>
              <a:gd name="csX924" fmla="*/ 375121 w 1609516"/>
              <a:gd name="csY924" fmla="*/ 168587 h 1538630"/>
              <a:gd name="csX925" fmla="*/ 384982 w 1609516"/>
              <a:gd name="csY925" fmla="*/ 193777 h 1538630"/>
              <a:gd name="csX926" fmla="*/ 390352 w 1609516"/>
              <a:gd name="csY926" fmla="*/ 214563 h 1538630"/>
              <a:gd name="csX927" fmla="*/ 391529 w 1609516"/>
              <a:gd name="csY927" fmla="*/ 217626 h 1538630"/>
              <a:gd name="csX928" fmla="*/ 401579 w 1609516"/>
              <a:gd name="csY928" fmla="*/ 234556 h 1538630"/>
              <a:gd name="csX929" fmla="*/ 401579 w 1609516"/>
              <a:gd name="csY929" fmla="*/ 238784 h 1538630"/>
              <a:gd name="csX930" fmla="*/ 404215 w 1609516"/>
              <a:gd name="csY930" fmla="*/ 239753 h 1538630"/>
              <a:gd name="csX931" fmla="*/ 417811 w 1609516"/>
              <a:gd name="csY931" fmla="*/ 251996 h 1538630"/>
              <a:gd name="csX932" fmla="*/ 426866 w 1609516"/>
              <a:gd name="csY932" fmla="*/ 262300 h 1538630"/>
              <a:gd name="csX933" fmla="*/ 450097 w 1609516"/>
              <a:gd name="csY933" fmla="*/ 287628 h 1538630"/>
              <a:gd name="csX934" fmla="*/ 457425 w 1609516"/>
              <a:gd name="csY934" fmla="*/ 293920 h 1538630"/>
              <a:gd name="csX935" fmla="*/ 460940 w 1609516"/>
              <a:gd name="csY935" fmla="*/ 296562 h 1538630"/>
              <a:gd name="csX936" fmla="*/ 460940 w 1609516"/>
              <a:gd name="csY936" fmla="*/ 300790 h 1538630"/>
              <a:gd name="csX937" fmla="*/ 473437 w 1609516"/>
              <a:gd name="csY937" fmla="*/ 305018 h 1538630"/>
              <a:gd name="csX938" fmla="*/ 473437 w 1609516"/>
              <a:gd name="csY938" fmla="*/ 307836 h 1538630"/>
              <a:gd name="csX939" fmla="*/ 479881 w 1609516"/>
              <a:gd name="csY939" fmla="*/ 309862 h 1538630"/>
              <a:gd name="csX940" fmla="*/ 483505 w 1609516"/>
              <a:gd name="csY940" fmla="*/ 311001 h 1538630"/>
              <a:gd name="csX941" fmla="*/ 548419 w 1609516"/>
              <a:gd name="csY941" fmla="*/ 306427 h 1538630"/>
              <a:gd name="csX942" fmla="*/ 551842 w 1609516"/>
              <a:gd name="csY942" fmla="*/ 305127 h 1538630"/>
              <a:gd name="csX943" fmla="*/ 560232 w 1609516"/>
              <a:gd name="csY943" fmla="*/ 298148 h 1538630"/>
              <a:gd name="csX944" fmla="*/ 562972 w 1609516"/>
              <a:gd name="csY944" fmla="*/ 295252 h 1538630"/>
              <a:gd name="csX945" fmla="*/ 568086 w 1609516"/>
              <a:gd name="csY945" fmla="*/ 289152 h 1538630"/>
              <a:gd name="csX946" fmla="*/ 570289 w 1609516"/>
              <a:gd name="csY946" fmla="*/ 286697 h 1538630"/>
              <a:gd name="csX947" fmla="*/ 573413 w 1609516"/>
              <a:gd name="csY947" fmla="*/ 286697 h 1538630"/>
              <a:gd name="csX948" fmla="*/ 577220 w 1609516"/>
              <a:gd name="csY948" fmla="*/ 257016 h 1538630"/>
              <a:gd name="csX949" fmla="*/ 577235 w 1609516"/>
              <a:gd name="csY949" fmla="*/ 254206 h 1538630"/>
              <a:gd name="csX950" fmla="*/ 569443 w 1609516"/>
              <a:gd name="csY950" fmla="*/ 206049 h 1538630"/>
              <a:gd name="csX951" fmla="*/ 568726 w 1609516"/>
              <a:gd name="csY951" fmla="*/ 200735 h 1538630"/>
              <a:gd name="csX952" fmla="*/ 565602 w 1609516"/>
              <a:gd name="csY952" fmla="*/ 200735 h 1538630"/>
              <a:gd name="csX953" fmla="*/ 559549 w 1609516"/>
              <a:gd name="csY953" fmla="*/ 184441 h 1538630"/>
              <a:gd name="csX954" fmla="*/ 537484 w 1609516"/>
              <a:gd name="csY954" fmla="*/ 159867 h 1538630"/>
              <a:gd name="csX955" fmla="*/ 531235 w 1609516"/>
              <a:gd name="csY955" fmla="*/ 154230 h 1538630"/>
              <a:gd name="csX956" fmla="*/ 531235 w 1609516"/>
              <a:gd name="csY956" fmla="*/ 151412 h 1538630"/>
              <a:gd name="csX957" fmla="*/ 526549 w 1609516"/>
              <a:gd name="csY957" fmla="*/ 150003 h 1538630"/>
              <a:gd name="csX958" fmla="*/ 524304 w 1609516"/>
              <a:gd name="csY958" fmla="*/ 107198 h 1538630"/>
              <a:gd name="csX959" fmla="*/ 547052 w 1609516"/>
              <a:gd name="csY959" fmla="*/ 85972 h 1538630"/>
              <a:gd name="csX960" fmla="*/ 588460 w 1609516"/>
              <a:gd name="csY960" fmla="*/ 83538 h 1538630"/>
              <a:gd name="csX961" fmla="*/ 617152 w 1609516"/>
              <a:gd name="csY961" fmla="*/ 111954 h 1538630"/>
              <a:gd name="csX962" fmla="*/ 617884 w 1609516"/>
              <a:gd name="csY962" fmla="*/ 124175 h 1538630"/>
              <a:gd name="csX963" fmla="*/ 617917 w 1609516"/>
              <a:gd name="csY963" fmla="*/ 127607 h 1538630"/>
              <a:gd name="csX964" fmla="*/ 617919 w 1609516"/>
              <a:gd name="csY964" fmla="*/ 141969 h 1538630"/>
              <a:gd name="csX965" fmla="*/ 630625 w 1609516"/>
              <a:gd name="csY965" fmla="*/ 191311 h 1538630"/>
              <a:gd name="csX966" fmla="*/ 637850 w 1609516"/>
              <a:gd name="csY966" fmla="*/ 205139 h 1538630"/>
              <a:gd name="csX967" fmla="*/ 643708 w 1609516"/>
              <a:gd name="csY967" fmla="*/ 212009 h 1538630"/>
              <a:gd name="csX968" fmla="*/ 647027 w 1609516"/>
              <a:gd name="csY968" fmla="*/ 217645 h 1538630"/>
              <a:gd name="csX969" fmla="*/ 670264 w 1609516"/>
              <a:gd name="csY969" fmla="*/ 241603 h 1538630"/>
              <a:gd name="csX970" fmla="*/ 670264 w 1609516"/>
              <a:gd name="csY970" fmla="*/ 244421 h 1538630"/>
              <a:gd name="csX971" fmla="*/ 675634 w 1609516"/>
              <a:gd name="csY971" fmla="*/ 245742 h 1538630"/>
              <a:gd name="csX972" fmla="*/ 682761 w 1609516"/>
              <a:gd name="csY972" fmla="*/ 248649 h 1538630"/>
              <a:gd name="csX973" fmla="*/ 752092 w 1609516"/>
              <a:gd name="csY973" fmla="*/ 245076 h 1538630"/>
              <a:gd name="csX974" fmla="*/ 758433 w 1609516"/>
              <a:gd name="csY974" fmla="*/ 240485 h 1538630"/>
              <a:gd name="csX975" fmla="*/ 763991 w 1609516"/>
              <a:gd name="csY975" fmla="*/ 238784 h 1538630"/>
              <a:gd name="csX976" fmla="*/ 765315 w 1609516"/>
              <a:gd name="csY976" fmla="*/ 235778 h 1538630"/>
              <a:gd name="csX977" fmla="*/ 770923 w 1609516"/>
              <a:gd name="csY977" fmla="*/ 223459 h 1538630"/>
              <a:gd name="csX978" fmla="*/ 772998 w 1609516"/>
              <a:gd name="csY978" fmla="*/ 218934 h 1538630"/>
              <a:gd name="csX979" fmla="*/ 777562 w 1609516"/>
              <a:gd name="csY979" fmla="*/ 209895 h 1538630"/>
              <a:gd name="csX980" fmla="*/ 781175 w 1609516"/>
              <a:gd name="csY980" fmla="*/ 124637 h 1538630"/>
              <a:gd name="csX981" fmla="*/ 778051 w 1609516"/>
              <a:gd name="csY981" fmla="*/ 124637 h 1538630"/>
              <a:gd name="csX982" fmla="*/ 767116 w 1609516"/>
              <a:gd name="csY982" fmla="*/ 79542 h 1538630"/>
              <a:gd name="csX983" fmla="*/ 793379 w 1609516"/>
              <a:gd name="csY983" fmla="*/ 54000 h 1538630"/>
              <a:gd name="csX984" fmla="*/ 840688 w 1609516"/>
              <a:gd name="csY984" fmla="*/ 55503 h 1538630"/>
              <a:gd name="csX985" fmla="*/ 851470 w 1609516"/>
              <a:gd name="csY985" fmla="*/ 64040 h 1538630"/>
              <a:gd name="csX986" fmla="*/ 853997 w 1609516"/>
              <a:gd name="csY986" fmla="*/ 66529 h 1538630"/>
              <a:gd name="csX987" fmla="*/ 861488 w 1609516"/>
              <a:gd name="csY987" fmla="*/ 82057 h 1538630"/>
              <a:gd name="csX988" fmla="*/ 861937 w 1609516"/>
              <a:gd name="csY988" fmla="*/ 90492 h 1538630"/>
              <a:gd name="csX989" fmla="*/ 863826 w 1609516"/>
              <a:gd name="csY989" fmla="*/ 100715 h 1538630"/>
              <a:gd name="csX990" fmla="*/ 857577 w 1609516"/>
              <a:gd name="csY990" fmla="*/ 121853 h 1538630"/>
              <a:gd name="csX991" fmla="*/ 856015 w 1609516"/>
              <a:gd name="csY991" fmla="*/ 121853 h 1538630"/>
              <a:gd name="csX992" fmla="*/ 855442 w 1609516"/>
              <a:gd name="csY992" fmla="*/ 118919 h 1538630"/>
              <a:gd name="csX993" fmla="*/ 855417 w 1609516"/>
              <a:gd name="csY993" fmla="*/ 118798 h 1538630"/>
              <a:gd name="csX994" fmla="*/ 856157 w 1609516"/>
              <a:gd name="csY994" fmla="*/ 124637 h 1538630"/>
              <a:gd name="csX995" fmla="*/ 850623 w 1609516"/>
              <a:gd name="csY995" fmla="*/ 134701 h 1538630"/>
              <a:gd name="csX996" fmla="*/ 851325 w 1609516"/>
              <a:gd name="csY996" fmla="*/ 135968 h 1538630"/>
              <a:gd name="csX997" fmla="*/ 849886 w 1609516"/>
              <a:gd name="csY997" fmla="*/ 139843 h 1538630"/>
              <a:gd name="csX998" fmla="*/ 847786 w 1609516"/>
              <a:gd name="csY998" fmla="*/ 152889 h 1538630"/>
              <a:gd name="csX999" fmla="*/ 847767 w 1609516"/>
              <a:gd name="csY999" fmla="*/ 157768 h 1538630"/>
              <a:gd name="csX1000" fmla="*/ 847810 w 1609516"/>
              <a:gd name="csY1000" fmla="*/ 162919 h 1538630"/>
              <a:gd name="csX1001" fmla="*/ 847832 w 1609516"/>
              <a:gd name="csY1001" fmla="*/ 168227 h 1538630"/>
              <a:gd name="csX1002" fmla="*/ 850903 w 1609516"/>
              <a:gd name="csY1002" fmla="*/ 209013 h 1538630"/>
              <a:gd name="csX1003" fmla="*/ 852880 w 1609516"/>
              <a:gd name="csY1003" fmla="*/ 224692 h 1538630"/>
              <a:gd name="csX1004" fmla="*/ 854595 w 1609516"/>
              <a:gd name="csY1004" fmla="*/ 224692 h 1538630"/>
              <a:gd name="csX1005" fmla="*/ 856083 w 1609516"/>
              <a:gd name="csY1005" fmla="*/ 227268 h 1538630"/>
              <a:gd name="csX1006" fmla="*/ 879588 w 1609516"/>
              <a:gd name="csY1006" fmla="*/ 247239 h 1538630"/>
              <a:gd name="csX1007" fmla="*/ 885739 w 1609516"/>
              <a:gd name="csY1007" fmla="*/ 249618 h 1538630"/>
              <a:gd name="csX1008" fmla="*/ 890523 w 1609516"/>
              <a:gd name="csY1008" fmla="*/ 251467 h 1538630"/>
              <a:gd name="csX1009" fmla="*/ 890523 w 1609516"/>
              <a:gd name="csY1009" fmla="*/ 254285 h 1538630"/>
              <a:gd name="csX1010" fmla="*/ 920203 w 1609516"/>
              <a:gd name="csY1010" fmla="*/ 261332 h 1538630"/>
              <a:gd name="csX1011" fmla="*/ 920203 w 1609516"/>
              <a:gd name="csY1011" fmla="*/ 262741 h 1538630"/>
              <a:gd name="csX1012" fmla="*/ 910831 w 1609516"/>
              <a:gd name="csY1012" fmla="*/ 262741 h 1538630"/>
              <a:gd name="csX1013" fmla="*/ 910831 w 1609516"/>
              <a:gd name="csY1013" fmla="*/ 262864 h 1538630"/>
              <a:gd name="csX1014" fmla="*/ 927993 w 1609516"/>
              <a:gd name="csY1014" fmla="*/ 264177 h 1538630"/>
              <a:gd name="csX1015" fmla="*/ 939273 w 1609516"/>
              <a:gd name="csY1015" fmla="*/ 265285 h 1538630"/>
              <a:gd name="csX1016" fmla="*/ 940456 w 1609516"/>
              <a:gd name="csY1016" fmla="*/ 265191 h 1538630"/>
              <a:gd name="csX1017" fmla="*/ 991622 w 1609516"/>
              <a:gd name="csY1017" fmla="*/ 242329 h 1538630"/>
              <a:gd name="csX1018" fmla="*/ 1000803 w 1609516"/>
              <a:gd name="csY1018" fmla="*/ 236505 h 1538630"/>
              <a:gd name="csX1019" fmla="*/ 999806 w 1609516"/>
              <a:gd name="csY1019" fmla="*/ 236055 h 1538630"/>
              <a:gd name="csX1020" fmla="*/ 1003126 w 1609516"/>
              <a:gd name="csY1020" fmla="*/ 232851 h 1538630"/>
              <a:gd name="csX1021" fmla="*/ 1029487 w 1609516"/>
              <a:gd name="csY1021" fmla="*/ 205052 h 1538630"/>
              <a:gd name="csX1022" fmla="*/ 1029872 w 1609516"/>
              <a:gd name="csY1022" fmla="*/ 206442 h 1538630"/>
              <a:gd name="csX1023" fmla="*/ 1031614 w 1609516"/>
              <a:gd name="csY1023" fmla="*/ 203719 h 1538630"/>
              <a:gd name="csX1024" fmla="*/ 1038924 w 1609516"/>
              <a:gd name="csY1024" fmla="*/ 192280 h 1538630"/>
              <a:gd name="csX1025" fmla="*/ 1042049 w 1609516"/>
              <a:gd name="csY1025" fmla="*/ 190870 h 1538630"/>
              <a:gd name="csX1026" fmla="*/ 1044294 w 1609516"/>
              <a:gd name="csY1026" fmla="*/ 186026 h 1538630"/>
              <a:gd name="csX1027" fmla="*/ 1051422 w 1609516"/>
              <a:gd name="csY1027" fmla="*/ 178188 h 1538630"/>
              <a:gd name="csX1028" fmla="*/ 1052984 w 1609516"/>
              <a:gd name="csY1028" fmla="*/ 172551 h 1538630"/>
              <a:gd name="csX1029" fmla="*/ 1056108 w 1609516"/>
              <a:gd name="csY1029" fmla="*/ 172551 h 1538630"/>
              <a:gd name="csX1030" fmla="*/ 1059232 w 1609516"/>
              <a:gd name="csY1030" fmla="*/ 162686 h 1538630"/>
              <a:gd name="csX1031" fmla="*/ 1062357 w 1609516"/>
              <a:gd name="csY1031" fmla="*/ 162686 h 1538630"/>
              <a:gd name="csX1032" fmla="*/ 1063162 w 1609516"/>
              <a:gd name="csY1032" fmla="*/ 160258 h 1538630"/>
              <a:gd name="csX1033" fmla="*/ 1073292 w 1609516"/>
              <a:gd name="csY1033" fmla="*/ 140138 h 1538630"/>
              <a:gd name="csX1034" fmla="*/ 1076415 w 1609516"/>
              <a:gd name="csY1034" fmla="*/ 140138 h 1538630"/>
              <a:gd name="csX1035" fmla="*/ 1085294 w 1609516"/>
              <a:gd name="csY1035" fmla="*/ 117569 h 1538630"/>
              <a:gd name="csX1036" fmla="*/ 1087350 w 1609516"/>
              <a:gd name="csY1036" fmla="*/ 113363 h 1538630"/>
              <a:gd name="csX1037" fmla="*/ 1092037 w 1609516"/>
              <a:gd name="csY1037" fmla="*/ 111954 h 1538630"/>
              <a:gd name="csX1038" fmla="*/ 1092623 w 1609516"/>
              <a:gd name="csY1038" fmla="*/ 108695 h 1538630"/>
              <a:gd name="csX1039" fmla="*/ 1096723 w 1609516"/>
              <a:gd name="csY1039" fmla="*/ 100680 h 1538630"/>
              <a:gd name="csX1040" fmla="*/ 1098188 w 1609516"/>
              <a:gd name="csY1040" fmla="*/ 96013 h 1538630"/>
              <a:gd name="csX1041" fmla="*/ 1102288 w 1609516"/>
              <a:gd name="csY1041" fmla="*/ 87029 h 1538630"/>
              <a:gd name="csX1042" fmla="*/ 1104534 w 1609516"/>
              <a:gd name="csY1042" fmla="*/ 61222 h 1538630"/>
              <a:gd name="csX1043" fmla="*/ 1104381 w 1609516"/>
              <a:gd name="csY1043" fmla="*/ 55569 h 1538630"/>
              <a:gd name="csX1044" fmla="*/ 1104397 w 1609516"/>
              <a:gd name="csY1044" fmla="*/ 52335 h 1538630"/>
              <a:gd name="csX1045" fmla="*/ 1104436 w 1609516"/>
              <a:gd name="csY1045" fmla="*/ 48979 h 1538630"/>
              <a:gd name="csX1046" fmla="*/ 1104457 w 1609516"/>
              <a:gd name="csY1046" fmla="*/ 45575 h 1538630"/>
              <a:gd name="csX1047" fmla="*/ 1104534 w 1609516"/>
              <a:gd name="csY1047" fmla="*/ 37265 h 1538630"/>
              <a:gd name="csX1048" fmla="*/ 1107658 w 1609516"/>
              <a:gd name="csY1048" fmla="*/ 37265 h 1538630"/>
              <a:gd name="csX1049" fmla="*/ 1107463 w 1609516"/>
              <a:gd name="csY1049" fmla="*/ 31805 h 1538630"/>
              <a:gd name="csX1050" fmla="*/ 1107658 w 1609516"/>
              <a:gd name="csY1050" fmla="*/ 25991 h 1538630"/>
              <a:gd name="csX1051" fmla="*/ 1110782 w 1609516"/>
              <a:gd name="csY1051" fmla="*/ 23173 h 1538630"/>
              <a:gd name="csX1052" fmla="*/ 1111759 w 1609516"/>
              <a:gd name="csY1052" fmla="*/ 20091 h 1538630"/>
              <a:gd name="csX1053" fmla="*/ 1134507 w 1609516"/>
              <a:gd name="csY1053" fmla="*/ 2828 h 1538630"/>
              <a:gd name="csX1054" fmla="*/ 1155019 w 1609516"/>
              <a:gd name="csY1054" fmla="*/ 35 h 153863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  <a:cxn ang="0">
                <a:pos x="csX170" y="csY170"/>
              </a:cxn>
              <a:cxn ang="0">
                <a:pos x="csX171" y="csY171"/>
              </a:cxn>
              <a:cxn ang="0">
                <a:pos x="csX172" y="csY172"/>
              </a:cxn>
              <a:cxn ang="0">
                <a:pos x="csX173" y="csY173"/>
              </a:cxn>
              <a:cxn ang="0">
                <a:pos x="csX174" y="csY174"/>
              </a:cxn>
              <a:cxn ang="0">
                <a:pos x="csX175" y="csY175"/>
              </a:cxn>
              <a:cxn ang="0">
                <a:pos x="csX176" y="csY176"/>
              </a:cxn>
              <a:cxn ang="0">
                <a:pos x="csX177" y="csY177"/>
              </a:cxn>
              <a:cxn ang="0">
                <a:pos x="csX178" y="csY178"/>
              </a:cxn>
              <a:cxn ang="0">
                <a:pos x="csX179" y="csY179"/>
              </a:cxn>
              <a:cxn ang="0">
                <a:pos x="csX180" y="csY180"/>
              </a:cxn>
              <a:cxn ang="0">
                <a:pos x="csX181" y="csY181"/>
              </a:cxn>
              <a:cxn ang="0">
                <a:pos x="csX182" y="csY182"/>
              </a:cxn>
              <a:cxn ang="0">
                <a:pos x="csX183" y="csY183"/>
              </a:cxn>
              <a:cxn ang="0">
                <a:pos x="csX184" y="csY184"/>
              </a:cxn>
              <a:cxn ang="0">
                <a:pos x="csX185" y="csY185"/>
              </a:cxn>
              <a:cxn ang="0">
                <a:pos x="csX186" y="csY186"/>
              </a:cxn>
              <a:cxn ang="0">
                <a:pos x="csX187" y="csY187"/>
              </a:cxn>
              <a:cxn ang="0">
                <a:pos x="csX188" y="csY188"/>
              </a:cxn>
              <a:cxn ang="0">
                <a:pos x="csX189" y="csY189"/>
              </a:cxn>
              <a:cxn ang="0">
                <a:pos x="csX190" y="csY190"/>
              </a:cxn>
              <a:cxn ang="0">
                <a:pos x="csX191" y="csY191"/>
              </a:cxn>
              <a:cxn ang="0">
                <a:pos x="csX192" y="csY192"/>
              </a:cxn>
              <a:cxn ang="0">
                <a:pos x="csX193" y="csY193"/>
              </a:cxn>
              <a:cxn ang="0">
                <a:pos x="csX194" y="csY194"/>
              </a:cxn>
              <a:cxn ang="0">
                <a:pos x="csX195" y="csY195"/>
              </a:cxn>
              <a:cxn ang="0">
                <a:pos x="csX196" y="csY196"/>
              </a:cxn>
              <a:cxn ang="0">
                <a:pos x="csX197" y="csY197"/>
              </a:cxn>
              <a:cxn ang="0">
                <a:pos x="csX198" y="csY198"/>
              </a:cxn>
              <a:cxn ang="0">
                <a:pos x="csX199" y="csY199"/>
              </a:cxn>
              <a:cxn ang="0">
                <a:pos x="csX200" y="csY200"/>
              </a:cxn>
              <a:cxn ang="0">
                <a:pos x="csX201" y="csY201"/>
              </a:cxn>
              <a:cxn ang="0">
                <a:pos x="csX202" y="csY202"/>
              </a:cxn>
              <a:cxn ang="0">
                <a:pos x="csX203" y="csY203"/>
              </a:cxn>
              <a:cxn ang="0">
                <a:pos x="csX204" y="csY204"/>
              </a:cxn>
              <a:cxn ang="0">
                <a:pos x="csX205" y="csY205"/>
              </a:cxn>
              <a:cxn ang="0">
                <a:pos x="csX206" y="csY206"/>
              </a:cxn>
              <a:cxn ang="0">
                <a:pos x="csX207" y="csY207"/>
              </a:cxn>
              <a:cxn ang="0">
                <a:pos x="csX208" y="csY208"/>
              </a:cxn>
              <a:cxn ang="0">
                <a:pos x="csX209" y="csY209"/>
              </a:cxn>
              <a:cxn ang="0">
                <a:pos x="csX210" y="csY210"/>
              </a:cxn>
              <a:cxn ang="0">
                <a:pos x="csX211" y="csY211"/>
              </a:cxn>
              <a:cxn ang="0">
                <a:pos x="csX212" y="csY212"/>
              </a:cxn>
              <a:cxn ang="0">
                <a:pos x="csX213" y="csY213"/>
              </a:cxn>
              <a:cxn ang="0">
                <a:pos x="csX214" y="csY214"/>
              </a:cxn>
              <a:cxn ang="0">
                <a:pos x="csX215" y="csY215"/>
              </a:cxn>
              <a:cxn ang="0">
                <a:pos x="csX216" y="csY216"/>
              </a:cxn>
              <a:cxn ang="0">
                <a:pos x="csX217" y="csY217"/>
              </a:cxn>
              <a:cxn ang="0">
                <a:pos x="csX218" y="csY218"/>
              </a:cxn>
              <a:cxn ang="0">
                <a:pos x="csX219" y="csY219"/>
              </a:cxn>
              <a:cxn ang="0">
                <a:pos x="csX220" y="csY220"/>
              </a:cxn>
              <a:cxn ang="0">
                <a:pos x="csX221" y="csY221"/>
              </a:cxn>
              <a:cxn ang="0">
                <a:pos x="csX222" y="csY222"/>
              </a:cxn>
              <a:cxn ang="0">
                <a:pos x="csX223" y="csY223"/>
              </a:cxn>
              <a:cxn ang="0">
                <a:pos x="csX224" y="csY224"/>
              </a:cxn>
              <a:cxn ang="0">
                <a:pos x="csX225" y="csY225"/>
              </a:cxn>
              <a:cxn ang="0">
                <a:pos x="csX226" y="csY226"/>
              </a:cxn>
              <a:cxn ang="0">
                <a:pos x="csX227" y="csY227"/>
              </a:cxn>
              <a:cxn ang="0">
                <a:pos x="csX228" y="csY228"/>
              </a:cxn>
              <a:cxn ang="0">
                <a:pos x="csX229" y="csY229"/>
              </a:cxn>
              <a:cxn ang="0">
                <a:pos x="csX230" y="csY230"/>
              </a:cxn>
              <a:cxn ang="0">
                <a:pos x="csX231" y="csY231"/>
              </a:cxn>
              <a:cxn ang="0">
                <a:pos x="csX232" y="csY232"/>
              </a:cxn>
              <a:cxn ang="0">
                <a:pos x="csX233" y="csY233"/>
              </a:cxn>
              <a:cxn ang="0">
                <a:pos x="csX234" y="csY234"/>
              </a:cxn>
              <a:cxn ang="0">
                <a:pos x="csX235" y="csY235"/>
              </a:cxn>
              <a:cxn ang="0">
                <a:pos x="csX236" y="csY236"/>
              </a:cxn>
              <a:cxn ang="0">
                <a:pos x="csX237" y="csY237"/>
              </a:cxn>
              <a:cxn ang="0">
                <a:pos x="csX238" y="csY238"/>
              </a:cxn>
              <a:cxn ang="0">
                <a:pos x="csX239" y="csY239"/>
              </a:cxn>
              <a:cxn ang="0">
                <a:pos x="csX240" y="csY240"/>
              </a:cxn>
              <a:cxn ang="0">
                <a:pos x="csX241" y="csY241"/>
              </a:cxn>
              <a:cxn ang="0">
                <a:pos x="csX242" y="csY242"/>
              </a:cxn>
              <a:cxn ang="0">
                <a:pos x="csX243" y="csY243"/>
              </a:cxn>
              <a:cxn ang="0">
                <a:pos x="csX244" y="csY244"/>
              </a:cxn>
              <a:cxn ang="0">
                <a:pos x="csX245" y="csY245"/>
              </a:cxn>
              <a:cxn ang="0">
                <a:pos x="csX246" y="csY246"/>
              </a:cxn>
              <a:cxn ang="0">
                <a:pos x="csX247" y="csY247"/>
              </a:cxn>
              <a:cxn ang="0">
                <a:pos x="csX248" y="csY248"/>
              </a:cxn>
              <a:cxn ang="0">
                <a:pos x="csX249" y="csY249"/>
              </a:cxn>
              <a:cxn ang="0">
                <a:pos x="csX250" y="csY250"/>
              </a:cxn>
              <a:cxn ang="0">
                <a:pos x="csX251" y="csY251"/>
              </a:cxn>
              <a:cxn ang="0">
                <a:pos x="csX252" y="csY252"/>
              </a:cxn>
              <a:cxn ang="0">
                <a:pos x="csX253" y="csY253"/>
              </a:cxn>
              <a:cxn ang="0">
                <a:pos x="csX254" y="csY254"/>
              </a:cxn>
              <a:cxn ang="0">
                <a:pos x="csX255" y="csY255"/>
              </a:cxn>
              <a:cxn ang="0">
                <a:pos x="csX256" y="csY256"/>
              </a:cxn>
              <a:cxn ang="0">
                <a:pos x="csX257" y="csY257"/>
              </a:cxn>
              <a:cxn ang="0">
                <a:pos x="csX258" y="csY258"/>
              </a:cxn>
              <a:cxn ang="0">
                <a:pos x="csX259" y="csY259"/>
              </a:cxn>
              <a:cxn ang="0">
                <a:pos x="csX260" y="csY260"/>
              </a:cxn>
              <a:cxn ang="0">
                <a:pos x="csX261" y="csY261"/>
              </a:cxn>
              <a:cxn ang="0">
                <a:pos x="csX262" y="csY262"/>
              </a:cxn>
              <a:cxn ang="0">
                <a:pos x="csX263" y="csY263"/>
              </a:cxn>
              <a:cxn ang="0">
                <a:pos x="csX264" y="csY264"/>
              </a:cxn>
              <a:cxn ang="0">
                <a:pos x="csX265" y="csY265"/>
              </a:cxn>
              <a:cxn ang="0">
                <a:pos x="csX266" y="csY266"/>
              </a:cxn>
              <a:cxn ang="0">
                <a:pos x="csX267" y="csY267"/>
              </a:cxn>
              <a:cxn ang="0">
                <a:pos x="csX268" y="csY268"/>
              </a:cxn>
              <a:cxn ang="0">
                <a:pos x="csX269" y="csY269"/>
              </a:cxn>
              <a:cxn ang="0">
                <a:pos x="csX270" y="csY270"/>
              </a:cxn>
              <a:cxn ang="0">
                <a:pos x="csX271" y="csY271"/>
              </a:cxn>
              <a:cxn ang="0">
                <a:pos x="csX272" y="csY272"/>
              </a:cxn>
              <a:cxn ang="0">
                <a:pos x="csX273" y="csY273"/>
              </a:cxn>
              <a:cxn ang="0">
                <a:pos x="csX274" y="csY274"/>
              </a:cxn>
              <a:cxn ang="0">
                <a:pos x="csX275" y="csY275"/>
              </a:cxn>
              <a:cxn ang="0">
                <a:pos x="csX276" y="csY276"/>
              </a:cxn>
              <a:cxn ang="0">
                <a:pos x="csX277" y="csY277"/>
              </a:cxn>
              <a:cxn ang="0">
                <a:pos x="csX278" y="csY278"/>
              </a:cxn>
              <a:cxn ang="0">
                <a:pos x="csX279" y="csY279"/>
              </a:cxn>
              <a:cxn ang="0">
                <a:pos x="csX280" y="csY280"/>
              </a:cxn>
              <a:cxn ang="0">
                <a:pos x="csX281" y="csY281"/>
              </a:cxn>
              <a:cxn ang="0">
                <a:pos x="csX282" y="csY282"/>
              </a:cxn>
              <a:cxn ang="0">
                <a:pos x="csX283" y="csY283"/>
              </a:cxn>
              <a:cxn ang="0">
                <a:pos x="csX284" y="csY284"/>
              </a:cxn>
              <a:cxn ang="0">
                <a:pos x="csX285" y="csY285"/>
              </a:cxn>
              <a:cxn ang="0">
                <a:pos x="csX286" y="csY286"/>
              </a:cxn>
              <a:cxn ang="0">
                <a:pos x="csX287" y="csY287"/>
              </a:cxn>
              <a:cxn ang="0">
                <a:pos x="csX288" y="csY288"/>
              </a:cxn>
              <a:cxn ang="0">
                <a:pos x="csX289" y="csY289"/>
              </a:cxn>
              <a:cxn ang="0">
                <a:pos x="csX290" y="csY290"/>
              </a:cxn>
              <a:cxn ang="0">
                <a:pos x="csX291" y="csY291"/>
              </a:cxn>
              <a:cxn ang="0">
                <a:pos x="csX292" y="csY292"/>
              </a:cxn>
              <a:cxn ang="0">
                <a:pos x="csX293" y="csY293"/>
              </a:cxn>
              <a:cxn ang="0">
                <a:pos x="csX294" y="csY294"/>
              </a:cxn>
              <a:cxn ang="0">
                <a:pos x="csX295" y="csY295"/>
              </a:cxn>
              <a:cxn ang="0">
                <a:pos x="csX296" y="csY296"/>
              </a:cxn>
              <a:cxn ang="0">
                <a:pos x="csX297" y="csY297"/>
              </a:cxn>
              <a:cxn ang="0">
                <a:pos x="csX298" y="csY298"/>
              </a:cxn>
              <a:cxn ang="0">
                <a:pos x="csX299" y="csY299"/>
              </a:cxn>
              <a:cxn ang="0">
                <a:pos x="csX300" y="csY300"/>
              </a:cxn>
              <a:cxn ang="0">
                <a:pos x="csX301" y="csY301"/>
              </a:cxn>
              <a:cxn ang="0">
                <a:pos x="csX302" y="csY302"/>
              </a:cxn>
              <a:cxn ang="0">
                <a:pos x="csX303" y="csY303"/>
              </a:cxn>
              <a:cxn ang="0">
                <a:pos x="csX304" y="csY304"/>
              </a:cxn>
              <a:cxn ang="0">
                <a:pos x="csX305" y="csY305"/>
              </a:cxn>
              <a:cxn ang="0">
                <a:pos x="csX306" y="csY306"/>
              </a:cxn>
              <a:cxn ang="0">
                <a:pos x="csX307" y="csY307"/>
              </a:cxn>
              <a:cxn ang="0">
                <a:pos x="csX308" y="csY308"/>
              </a:cxn>
              <a:cxn ang="0">
                <a:pos x="csX309" y="csY309"/>
              </a:cxn>
              <a:cxn ang="0">
                <a:pos x="csX310" y="csY310"/>
              </a:cxn>
              <a:cxn ang="0">
                <a:pos x="csX311" y="csY311"/>
              </a:cxn>
              <a:cxn ang="0">
                <a:pos x="csX312" y="csY312"/>
              </a:cxn>
              <a:cxn ang="0">
                <a:pos x="csX313" y="csY313"/>
              </a:cxn>
              <a:cxn ang="0">
                <a:pos x="csX314" y="csY314"/>
              </a:cxn>
              <a:cxn ang="0">
                <a:pos x="csX315" y="csY315"/>
              </a:cxn>
              <a:cxn ang="0">
                <a:pos x="csX316" y="csY316"/>
              </a:cxn>
              <a:cxn ang="0">
                <a:pos x="csX317" y="csY317"/>
              </a:cxn>
              <a:cxn ang="0">
                <a:pos x="csX318" y="csY318"/>
              </a:cxn>
              <a:cxn ang="0">
                <a:pos x="csX319" y="csY319"/>
              </a:cxn>
              <a:cxn ang="0">
                <a:pos x="csX320" y="csY320"/>
              </a:cxn>
              <a:cxn ang="0">
                <a:pos x="csX321" y="csY321"/>
              </a:cxn>
              <a:cxn ang="0">
                <a:pos x="csX322" y="csY322"/>
              </a:cxn>
              <a:cxn ang="0">
                <a:pos x="csX323" y="csY323"/>
              </a:cxn>
              <a:cxn ang="0">
                <a:pos x="csX324" y="csY324"/>
              </a:cxn>
              <a:cxn ang="0">
                <a:pos x="csX325" y="csY325"/>
              </a:cxn>
              <a:cxn ang="0">
                <a:pos x="csX326" y="csY326"/>
              </a:cxn>
              <a:cxn ang="0">
                <a:pos x="csX327" y="csY327"/>
              </a:cxn>
              <a:cxn ang="0">
                <a:pos x="csX328" y="csY328"/>
              </a:cxn>
              <a:cxn ang="0">
                <a:pos x="csX329" y="csY329"/>
              </a:cxn>
              <a:cxn ang="0">
                <a:pos x="csX330" y="csY330"/>
              </a:cxn>
              <a:cxn ang="0">
                <a:pos x="csX331" y="csY331"/>
              </a:cxn>
              <a:cxn ang="0">
                <a:pos x="csX332" y="csY332"/>
              </a:cxn>
              <a:cxn ang="0">
                <a:pos x="csX333" y="csY333"/>
              </a:cxn>
              <a:cxn ang="0">
                <a:pos x="csX334" y="csY334"/>
              </a:cxn>
              <a:cxn ang="0">
                <a:pos x="csX335" y="csY335"/>
              </a:cxn>
              <a:cxn ang="0">
                <a:pos x="csX336" y="csY336"/>
              </a:cxn>
              <a:cxn ang="0">
                <a:pos x="csX337" y="csY337"/>
              </a:cxn>
              <a:cxn ang="0">
                <a:pos x="csX338" y="csY338"/>
              </a:cxn>
              <a:cxn ang="0">
                <a:pos x="csX339" y="csY339"/>
              </a:cxn>
              <a:cxn ang="0">
                <a:pos x="csX340" y="csY340"/>
              </a:cxn>
              <a:cxn ang="0">
                <a:pos x="csX341" y="csY341"/>
              </a:cxn>
              <a:cxn ang="0">
                <a:pos x="csX342" y="csY342"/>
              </a:cxn>
              <a:cxn ang="0">
                <a:pos x="csX343" y="csY343"/>
              </a:cxn>
              <a:cxn ang="0">
                <a:pos x="csX344" y="csY344"/>
              </a:cxn>
              <a:cxn ang="0">
                <a:pos x="csX345" y="csY345"/>
              </a:cxn>
              <a:cxn ang="0">
                <a:pos x="csX346" y="csY346"/>
              </a:cxn>
              <a:cxn ang="0">
                <a:pos x="csX347" y="csY347"/>
              </a:cxn>
              <a:cxn ang="0">
                <a:pos x="csX348" y="csY348"/>
              </a:cxn>
              <a:cxn ang="0">
                <a:pos x="csX349" y="csY349"/>
              </a:cxn>
              <a:cxn ang="0">
                <a:pos x="csX350" y="csY350"/>
              </a:cxn>
              <a:cxn ang="0">
                <a:pos x="csX351" y="csY351"/>
              </a:cxn>
              <a:cxn ang="0">
                <a:pos x="csX352" y="csY352"/>
              </a:cxn>
              <a:cxn ang="0">
                <a:pos x="csX353" y="csY353"/>
              </a:cxn>
              <a:cxn ang="0">
                <a:pos x="csX354" y="csY354"/>
              </a:cxn>
              <a:cxn ang="0">
                <a:pos x="csX355" y="csY355"/>
              </a:cxn>
              <a:cxn ang="0">
                <a:pos x="csX356" y="csY356"/>
              </a:cxn>
              <a:cxn ang="0">
                <a:pos x="csX357" y="csY357"/>
              </a:cxn>
              <a:cxn ang="0">
                <a:pos x="csX358" y="csY358"/>
              </a:cxn>
              <a:cxn ang="0">
                <a:pos x="csX359" y="csY359"/>
              </a:cxn>
              <a:cxn ang="0">
                <a:pos x="csX360" y="csY360"/>
              </a:cxn>
              <a:cxn ang="0">
                <a:pos x="csX361" y="csY361"/>
              </a:cxn>
              <a:cxn ang="0">
                <a:pos x="csX362" y="csY362"/>
              </a:cxn>
              <a:cxn ang="0">
                <a:pos x="csX363" y="csY363"/>
              </a:cxn>
              <a:cxn ang="0">
                <a:pos x="csX364" y="csY364"/>
              </a:cxn>
              <a:cxn ang="0">
                <a:pos x="csX365" y="csY365"/>
              </a:cxn>
              <a:cxn ang="0">
                <a:pos x="csX366" y="csY366"/>
              </a:cxn>
              <a:cxn ang="0">
                <a:pos x="csX367" y="csY367"/>
              </a:cxn>
              <a:cxn ang="0">
                <a:pos x="csX368" y="csY368"/>
              </a:cxn>
              <a:cxn ang="0">
                <a:pos x="csX369" y="csY369"/>
              </a:cxn>
              <a:cxn ang="0">
                <a:pos x="csX370" y="csY370"/>
              </a:cxn>
              <a:cxn ang="0">
                <a:pos x="csX371" y="csY371"/>
              </a:cxn>
              <a:cxn ang="0">
                <a:pos x="csX372" y="csY372"/>
              </a:cxn>
              <a:cxn ang="0">
                <a:pos x="csX373" y="csY373"/>
              </a:cxn>
              <a:cxn ang="0">
                <a:pos x="csX374" y="csY374"/>
              </a:cxn>
              <a:cxn ang="0">
                <a:pos x="csX375" y="csY375"/>
              </a:cxn>
              <a:cxn ang="0">
                <a:pos x="csX376" y="csY376"/>
              </a:cxn>
              <a:cxn ang="0">
                <a:pos x="csX377" y="csY377"/>
              </a:cxn>
              <a:cxn ang="0">
                <a:pos x="csX378" y="csY378"/>
              </a:cxn>
              <a:cxn ang="0">
                <a:pos x="csX379" y="csY379"/>
              </a:cxn>
              <a:cxn ang="0">
                <a:pos x="csX380" y="csY380"/>
              </a:cxn>
              <a:cxn ang="0">
                <a:pos x="csX381" y="csY381"/>
              </a:cxn>
              <a:cxn ang="0">
                <a:pos x="csX382" y="csY382"/>
              </a:cxn>
              <a:cxn ang="0">
                <a:pos x="csX383" y="csY383"/>
              </a:cxn>
              <a:cxn ang="0">
                <a:pos x="csX384" y="csY384"/>
              </a:cxn>
              <a:cxn ang="0">
                <a:pos x="csX385" y="csY385"/>
              </a:cxn>
              <a:cxn ang="0">
                <a:pos x="csX386" y="csY386"/>
              </a:cxn>
              <a:cxn ang="0">
                <a:pos x="csX387" y="csY387"/>
              </a:cxn>
              <a:cxn ang="0">
                <a:pos x="csX388" y="csY388"/>
              </a:cxn>
              <a:cxn ang="0">
                <a:pos x="csX389" y="csY389"/>
              </a:cxn>
              <a:cxn ang="0">
                <a:pos x="csX390" y="csY390"/>
              </a:cxn>
              <a:cxn ang="0">
                <a:pos x="csX391" y="csY391"/>
              </a:cxn>
              <a:cxn ang="0">
                <a:pos x="csX392" y="csY392"/>
              </a:cxn>
              <a:cxn ang="0">
                <a:pos x="csX393" y="csY393"/>
              </a:cxn>
              <a:cxn ang="0">
                <a:pos x="csX394" y="csY394"/>
              </a:cxn>
              <a:cxn ang="0">
                <a:pos x="csX395" y="csY395"/>
              </a:cxn>
              <a:cxn ang="0">
                <a:pos x="csX396" y="csY396"/>
              </a:cxn>
              <a:cxn ang="0">
                <a:pos x="csX397" y="csY397"/>
              </a:cxn>
              <a:cxn ang="0">
                <a:pos x="csX398" y="csY398"/>
              </a:cxn>
              <a:cxn ang="0">
                <a:pos x="csX399" y="csY399"/>
              </a:cxn>
              <a:cxn ang="0">
                <a:pos x="csX400" y="csY400"/>
              </a:cxn>
              <a:cxn ang="0">
                <a:pos x="csX401" y="csY401"/>
              </a:cxn>
              <a:cxn ang="0">
                <a:pos x="csX402" y="csY402"/>
              </a:cxn>
              <a:cxn ang="0">
                <a:pos x="csX403" y="csY403"/>
              </a:cxn>
              <a:cxn ang="0">
                <a:pos x="csX404" y="csY404"/>
              </a:cxn>
              <a:cxn ang="0">
                <a:pos x="csX405" y="csY405"/>
              </a:cxn>
              <a:cxn ang="0">
                <a:pos x="csX406" y="csY406"/>
              </a:cxn>
              <a:cxn ang="0">
                <a:pos x="csX407" y="csY407"/>
              </a:cxn>
              <a:cxn ang="0">
                <a:pos x="csX408" y="csY408"/>
              </a:cxn>
              <a:cxn ang="0">
                <a:pos x="csX409" y="csY409"/>
              </a:cxn>
              <a:cxn ang="0">
                <a:pos x="csX410" y="csY410"/>
              </a:cxn>
              <a:cxn ang="0">
                <a:pos x="csX411" y="csY411"/>
              </a:cxn>
              <a:cxn ang="0">
                <a:pos x="csX412" y="csY412"/>
              </a:cxn>
              <a:cxn ang="0">
                <a:pos x="csX413" y="csY413"/>
              </a:cxn>
              <a:cxn ang="0">
                <a:pos x="csX414" y="csY414"/>
              </a:cxn>
              <a:cxn ang="0">
                <a:pos x="csX415" y="csY415"/>
              </a:cxn>
              <a:cxn ang="0">
                <a:pos x="csX416" y="csY416"/>
              </a:cxn>
              <a:cxn ang="0">
                <a:pos x="csX417" y="csY417"/>
              </a:cxn>
              <a:cxn ang="0">
                <a:pos x="csX418" y="csY418"/>
              </a:cxn>
              <a:cxn ang="0">
                <a:pos x="csX419" y="csY419"/>
              </a:cxn>
              <a:cxn ang="0">
                <a:pos x="csX420" y="csY420"/>
              </a:cxn>
              <a:cxn ang="0">
                <a:pos x="csX421" y="csY421"/>
              </a:cxn>
              <a:cxn ang="0">
                <a:pos x="csX422" y="csY422"/>
              </a:cxn>
              <a:cxn ang="0">
                <a:pos x="csX423" y="csY423"/>
              </a:cxn>
              <a:cxn ang="0">
                <a:pos x="csX424" y="csY424"/>
              </a:cxn>
              <a:cxn ang="0">
                <a:pos x="csX425" y="csY425"/>
              </a:cxn>
              <a:cxn ang="0">
                <a:pos x="csX426" y="csY426"/>
              </a:cxn>
              <a:cxn ang="0">
                <a:pos x="csX427" y="csY427"/>
              </a:cxn>
              <a:cxn ang="0">
                <a:pos x="csX428" y="csY428"/>
              </a:cxn>
              <a:cxn ang="0">
                <a:pos x="csX429" y="csY429"/>
              </a:cxn>
              <a:cxn ang="0">
                <a:pos x="csX430" y="csY430"/>
              </a:cxn>
              <a:cxn ang="0">
                <a:pos x="csX431" y="csY431"/>
              </a:cxn>
              <a:cxn ang="0">
                <a:pos x="csX432" y="csY432"/>
              </a:cxn>
              <a:cxn ang="0">
                <a:pos x="csX433" y="csY433"/>
              </a:cxn>
              <a:cxn ang="0">
                <a:pos x="csX434" y="csY434"/>
              </a:cxn>
              <a:cxn ang="0">
                <a:pos x="csX435" y="csY435"/>
              </a:cxn>
              <a:cxn ang="0">
                <a:pos x="csX436" y="csY436"/>
              </a:cxn>
              <a:cxn ang="0">
                <a:pos x="csX437" y="csY437"/>
              </a:cxn>
              <a:cxn ang="0">
                <a:pos x="csX438" y="csY438"/>
              </a:cxn>
              <a:cxn ang="0">
                <a:pos x="csX439" y="csY439"/>
              </a:cxn>
              <a:cxn ang="0">
                <a:pos x="csX440" y="csY440"/>
              </a:cxn>
              <a:cxn ang="0">
                <a:pos x="csX441" y="csY441"/>
              </a:cxn>
              <a:cxn ang="0">
                <a:pos x="csX442" y="csY442"/>
              </a:cxn>
              <a:cxn ang="0">
                <a:pos x="csX443" y="csY443"/>
              </a:cxn>
              <a:cxn ang="0">
                <a:pos x="csX444" y="csY444"/>
              </a:cxn>
              <a:cxn ang="0">
                <a:pos x="csX445" y="csY445"/>
              </a:cxn>
              <a:cxn ang="0">
                <a:pos x="csX446" y="csY446"/>
              </a:cxn>
              <a:cxn ang="0">
                <a:pos x="csX447" y="csY447"/>
              </a:cxn>
              <a:cxn ang="0">
                <a:pos x="csX448" y="csY448"/>
              </a:cxn>
              <a:cxn ang="0">
                <a:pos x="csX449" y="csY449"/>
              </a:cxn>
              <a:cxn ang="0">
                <a:pos x="csX450" y="csY450"/>
              </a:cxn>
              <a:cxn ang="0">
                <a:pos x="csX451" y="csY451"/>
              </a:cxn>
              <a:cxn ang="0">
                <a:pos x="csX452" y="csY452"/>
              </a:cxn>
              <a:cxn ang="0">
                <a:pos x="csX453" y="csY453"/>
              </a:cxn>
              <a:cxn ang="0">
                <a:pos x="csX454" y="csY454"/>
              </a:cxn>
              <a:cxn ang="0">
                <a:pos x="csX455" y="csY455"/>
              </a:cxn>
              <a:cxn ang="0">
                <a:pos x="csX456" y="csY456"/>
              </a:cxn>
              <a:cxn ang="0">
                <a:pos x="csX457" y="csY457"/>
              </a:cxn>
              <a:cxn ang="0">
                <a:pos x="csX458" y="csY458"/>
              </a:cxn>
              <a:cxn ang="0">
                <a:pos x="csX459" y="csY459"/>
              </a:cxn>
              <a:cxn ang="0">
                <a:pos x="csX460" y="csY460"/>
              </a:cxn>
              <a:cxn ang="0">
                <a:pos x="csX461" y="csY461"/>
              </a:cxn>
              <a:cxn ang="0">
                <a:pos x="csX462" y="csY462"/>
              </a:cxn>
              <a:cxn ang="0">
                <a:pos x="csX463" y="csY463"/>
              </a:cxn>
              <a:cxn ang="0">
                <a:pos x="csX464" y="csY464"/>
              </a:cxn>
              <a:cxn ang="0">
                <a:pos x="csX465" y="csY465"/>
              </a:cxn>
              <a:cxn ang="0">
                <a:pos x="csX466" y="csY466"/>
              </a:cxn>
              <a:cxn ang="0">
                <a:pos x="csX467" y="csY467"/>
              </a:cxn>
              <a:cxn ang="0">
                <a:pos x="csX468" y="csY468"/>
              </a:cxn>
              <a:cxn ang="0">
                <a:pos x="csX469" y="csY469"/>
              </a:cxn>
              <a:cxn ang="0">
                <a:pos x="csX470" y="csY470"/>
              </a:cxn>
              <a:cxn ang="0">
                <a:pos x="csX471" y="csY471"/>
              </a:cxn>
              <a:cxn ang="0">
                <a:pos x="csX472" y="csY472"/>
              </a:cxn>
              <a:cxn ang="0">
                <a:pos x="csX473" y="csY473"/>
              </a:cxn>
              <a:cxn ang="0">
                <a:pos x="csX474" y="csY474"/>
              </a:cxn>
              <a:cxn ang="0">
                <a:pos x="csX475" y="csY475"/>
              </a:cxn>
              <a:cxn ang="0">
                <a:pos x="csX476" y="csY476"/>
              </a:cxn>
              <a:cxn ang="0">
                <a:pos x="csX477" y="csY477"/>
              </a:cxn>
              <a:cxn ang="0">
                <a:pos x="csX478" y="csY478"/>
              </a:cxn>
              <a:cxn ang="0">
                <a:pos x="csX479" y="csY479"/>
              </a:cxn>
              <a:cxn ang="0">
                <a:pos x="csX480" y="csY480"/>
              </a:cxn>
              <a:cxn ang="0">
                <a:pos x="csX481" y="csY481"/>
              </a:cxn>
              <a:cxn ang="0">
                <a:pos x="csX482" y="csY482"/>
              </a:cxn>
              <a:cxn ang="0">
                <a:pos x="csX483" y="csY483"/>
              </a:cxn>
              <a:cxn ang="0">
                <a:pos x="csX484" y="csY484"/>
              </a:cxn>
              <a:cxn ang="0">
                <a:pos x="csX485" y="csY485"/>
              </a:cxn>
              <a:cxn ang="0">
                <a:pos x="csX486" y="csY486"/>
              </a:cxn>
              <a:cxn ang="0">
                <a:pos x="csX487" y="csY487"/>
              </a:cxn>
              <a:cxn ang="0">
                <a:pos x="csX488" y="csY488"/>
              </a:cxn>
              <a:cxn ang="0">
                <a:pos x="csX489" y="csY489"/>
              </a:cxn>
              <a:cxn ang="0">
                <a:pos x="csX490" y="csY490"/>
              </a:cxn>
              <a:cxn ang="0">
                <a:pos x="csX491" y="csY491"/>
              </a:cxn>
              <a:cxn ang="0">
                <a:pos x="csX492" y="csY492"/>
              </a:cxn>
              <a:cxn ang="0">
                <a:pos x="csX493" y="csY493"/>
              </a:cxn>
              <a:cxn ang="0">
                <a:pos x="csX494" y="csY494"/>
              </a:cxn>
              <a:cxn ang="0">
                <a:pos x="csX495" y="csY495"/>
              </a:cxn>
              <a:cxn ang="0">
                <a:pos x="csX496" y="csY496"/>
              </a:cxn>
              <a:cxn ang="0">
                <a:pos x="csX497" y="csY497"/>
              </a:cxn>
              <a:cxn ang="0">
                <a:pos x="csX498" y="csY498"/>
              </a:cxn>
              <a:cxn ang="0">
                <a:pos x="csX499" y="csY499"/>
              </a:cxn>
              <a:cxn ang="0">
                <a:pos x="csX500" y="csY500"/>
              </a:cxn>
              <a:cxn ang="0">
                <a:pos x="csX501" y="csY501"/>
              </a:cxn>
              <a:cxn ang="0">
                <a:pos x="csX502" y="csY502"/>
              </a:cxn>
              <a:cxn ang="0">
                <a:pos x="csX503" y="csY503"/>
              </a:cxn>
              <a:cxn ang="0">
                <a:pos x="csX504" y="csY504"/>
              </a:cxn>
              <a:cxn ang="0">
                <a:pos x="csX505" y="csY505"/>
              </a:cxn>
              <a:cxn ang="0">
                <a:pos x="csX506" y="csY506"/>
              </a:cxn>
              <a:cxn ang="0">
                <a:pos x="csX507" y="csY507"/>
              </a:cxn>
              <a:cxn ang="0">
                <a:pos x="csX508" y="csY508"/>
              </a:cxn>
              <a:cxn ang="0">
                <a:pos x="csX509" y="csY509"/>
              </a:cxn>
              <a:cxn ang="0">
                <a:pos x="csX510" y="csY510"/>
              </a:cxn>
              <a:cxn ang="0">
                <a:pos x="csX511" y="csY511"/>
              </a:cxn>
              <a:cxn ang="0">
                <a:pos x="csX512" y="csY512"/>
              </a:cxn>
              <a:cxn ang="0">
                <a:pos x="csX513" y="csY513"/>
              </a:cxn>
              <a:cxn ang="0">
                <a:pos x="csX514" y="csY514"/>
              </a:cxn>
              <a:cxn ang="0">
                <a:pos x="csX515" y="csY515"/>
              </a:cxn>
              <a:cxn ang="0">
                <a:pos x="csX516" y="csY516"/>
              </a:cxn>
              <a:cxn ang="0">
                <a:pos x="csX517" y="csY517"/>
              </a:cxn>
              <a:cxn ang="0">
                <a:pos x="csX518" y="csY518"/>
              </a:cxn>
              <a:cxn ang="0">
                <a:pos x="csX519" y="csY519"/>
              </a:cxn>
              <a:cxn ang="0">
                <a:pos x="csX520" y="csY520"/>
              </a:cxn>
              <a:cxn ang="0">
                <a:pos x="csX521" y="csY521"/>
              </a:cxn>
              <a:cxn ang="0">
                <a:pos x="csX522" y="csY522"/>
              </a:cxn>
              <a:cxn ang="0">
                <a:pos x="csX523" y="csY523"/>
              </a:cxn>
              <a:cxn ang="0">
                <a:pos x="csX524" y="csY524"/>
              </a:cxn>
              <a:cxn ang="0">
                <a:pos x="csX525" y="csY525"/>
              </a:cxn>
              <a:cxn ang="0">
                <a:pos x="csX526" y="csY526"/>
              </a:cxn>
              <a:cxn ang="0">
                <a:pos x="csX527" y="csY527"/>
              </a:cxn>
              <a:cxn ang="0">
                <a:pos x="csX528" y="csY528"/>
              </a:cxn>
              <a:cxn ang="0">
                <a:pos x="csX529" y="csY529"/>
              </a:cxn>
              <a:cxn ang="0">
                <a:pos x="csX530" y="csY530"/>
              </a:cxn>
              <a:cxn ang="0">
                <a:pos x="csX531" y="csY531"/>
              </a:cxn>
              <a:cxn ang="0">
                <a:pos x="csX532" y="csY532"/>
              </a:cxn>
              <a:cxn ang="0">
                <a:pos x="csX533" y="csY533"/>
              </a:cxn>
              <a:cxn ang="0">
                <a:pos x="csX534" y="csY534"/>
              </a:cxn>
              <a:cxn ang="0">
                <a:pos x="csX535" y="csY535"/>
              </a:cxn>
              <a:cxn ang="0">
                <a:pos x="csX536" y="csY536"/>
              </a:cxn>
              <a:cxn ang="0">
                <a:pos x="csX537" y="csY537"/>
              </a:cxn>
              <a:cxn ang="0">
                <a:pos x="csX538" y="csY538"/>
              </a:cxn>
              <a:cxn ang="0">
                <a:pos x="csX539" y="csY539"/>
              </a:cxn>
              <a:cxn ang="0">
                <a:pos x="csX540" y="csY540"/>
              </a:cxn>
              <a:cxn ang="0">
                <a:pos x="csX541" y="csY541"/>
              </a:cxn>
              <a:cxn ang="0">
                <a:pos x="csX542" y="csY542"/>
              </a:cxn>
              <a:cxn ang="0">
                <a:pos x="csX543" y="csY543"/>
              </a:cxn>
              <a:cxn ang="0">
                <a:pos x="csX544" y="csY544"/>
              </a:cxn>
              <a:cxn ang="0">
                <a:pos x="csX545" y="csY545"/>
              </a:cxn>
              <a:cxn ang="0">
                <a:pos x="csX546" y="csY546"/>
              </a:cxn>
              <a:cxn ang="0">
                <a:pos x="csX547" y="csY547"/>
              </a:cxn>
              <a:cxn ang="0">
                <a:pos x="csX548" y="csY548"/>
              </a:cxn>
              <a:cxn ang="0">
                <a:pos x="csX549" y="csY549"/>
              </a:cxn>
              <a:cxn ang="0">
                <a:pos x="csX550" y="csY550"/>
              </a:cxn>
              <a:cxn ang="0">
                <a:pos x="csX551" y="csY551"/>
              </a:cxn>
              <a:cxn ang="0">
                <a:pos x="csX552" y="csY552"/>
              </a:cxn>
              <a:cxn ang="0">
                <a:pos x="csX553" y="csY553"/>
              </a:cxn>
              <a:cxn ang="0">
                <a:pos x="csX554" y="csY554"/>
              </a:cxn>
              <a:cxn ang="0">
                <a:pos x="csX555" y="csY555"/>
              </a:cxn>
              <a:cxn ang="0">
                <a:pos x="csX556" y="csY556"/>
              </a:cxn>
              <a:cxn ang="0">
                <a:pos x="csX557" y="csY557"/>
              </a:cxn>
              <a:cxn ang="0">
                <a:pos x="csX558" y="csY558"/>
              </a:cxn>
              <a:cxn ang="0">
                <a:pos x="csX559" y="csY559"/>
              </a:cxn>
              <a:cxn ang="0">
                <a:pos x="csX560" y="csY560"/>
              </a:cxn>
              <a:cxn ang="0">
                <a:pos x="csX561" y="csY561"/>
              </a:cxn>
              <a:cxn ang="0">
                <a:pos x="csX562" y="csY562"/>
              </a:cxn>
              <a:cxn ang="0">
                <a:pos x="csX563" y="csY563"/>
              </a:cxn>
              <a:cxn ang="0">
                <a:pos x="csX564" y="csY564"/>
              </a:cxn>
              <a:cxn ang="0">
                <a:pos x="csX565" y="csY565"/>
              </a:cxn>
              <a:cxn ang="0">
                <a:pos x="csX566" y="csY566"/>
              </a:cxn>
              <a:cxn ang="0">
                <a:pos x="csX567" y="csY567"/>
              </a:cxn>
              <a:cxn ang="0">
                <a:pos x="csX568" y="csY568"/>
              </a:cxn>
              <a:cxn ang="0">
                <a:pos x="csX569" y="csY569"/>
              </a:cxn>
              <a:cxn ang="0">
                <a:pos x="csX570" y="csY570"/>
              </a:cxn>
              <a:cxn ang="0">
                <a:pos x="csX571" y="csY571"/>
              </a:cxn>
              <a:cxn ang="0">
                <a:pos x="csX572" y="csY572"/>
              </a:cxn>
              <a:cxn ang="0">
                <a:pos x="csX573" y="csY573"/>
              </a:cxn>
              <a:cxn ang="0">
                <a:pos x="csX574" y="csY574"/>
              </a:cxn>
              <a:cxn ang="0">
                <a:pos x="csX575" y="csY575"/>
              </a:cxn>
              <a:cxn ang="0">
                <a:pos x="csX576" y="csY576"/>
              </a:cxn>
              <a:cxn ang="0">
                <a:pos x="csX577" y="csY577"/>
              </a:cxn>
              <a:cxn ang="0">
                <a:pos x="csX578" y="csY578"/>
              </a:cxn>
              <a:cxn ang="0">
                <a:pos x="csX579" y="csY579"/>
              </a:cxn>
              <a:cxn ang="0">
                <a:pos x="csX580" y="csY580"/>
              </a:cxn>
              <a:cxn ang="0">
                <a:pos x="csX581" y="csY581"/>
              </a:cxn>
              <a:cxn ang="0">
                <a:pos x="csX582" y="csY582"/>
              </a:cxn>
              <a:cxn ang="0">
                <a:pos x="csX583" y="csY583"/>
              </a:cxn>
              <a:cxn ang="0">
                <a:pos x="csX584" y="csY584"/>
              </a:cxn>
              <a:cxn ang="0">
                <a:pos x="csX585" y="csY585"/>
              </a:cxn>
              <a:cxn ang="0">
                <a:pos x="csX586" y="csY586"/>
              </a:cxn>
              <a:cxn ang="0">
                <a:pos x="csX587" y="csY587"/>
              </a:cxn>
              <a:cxn ang="0">
                <a:pos x="csX588" y="csY588"/>
              </a:cxn>
              <a:cxn ang="0">
                <a:pos x="csX589" y="csY589"/>
              </a:cxn>
              <a:cxn ang="0">
                <a:pos x="csX590" y="csY590"/>
              </a:cxn>
              <a:cxn ang="0">
                <a:pos x="csX591" y="csY591"/>
              </a:cxn>
              <a:cxn ang="0">
                <a:pos x="csX592" y="csY592"/>
              </a:cxn>
              <a:cxn ang="0">
                <a:pos x="csX593" y="csY593"/>
              </a:cxn>
              <a:cxn ang="0">
                <a:pos x="csX594" y="csY594"/>
              </a:cxn>
              <a:cxn ang="0">
                <a:pos x="csX595" y="csY595"/>
              </a:cxn>
              <a:cxn ang="0">
                <a:pos x="csX596" y="csY596"/>
              </a:cxn>
              <a:cxn ang="0">
                <a:pos x="csX597" y="csY597"/>
              </a:cxn>
              <a:cxn ang="0">
                <a:pos x="csX598" y="csY598"/>
              </a:cxn>
              <a:cxn ang="0">
                <a:pos x="csX599" y="csY599"/>
              </a:cxn>
              <a:cxn ang="0">
                <a:pos x="csX600" y="csY600"/>
              </a:cxn>
              <a:cxn ang="0">
                <a:pos x="csX601" y="csY601"/>
              </a:cxn>
              <a:cxn ang="0">
                <a:pos x="csX602" y="csY602"/>
              </a:cxn>
              <a:cxn ang="0">
                <a:pos x="csX603" y="csY603"/>
              </a:cxn>
              <a:cxn ang="0">
                <a:pos x="csX604" y="csY604"/>
              </a:cxn>
              <a:cxn ang="0">
                <a:pos x="csX605" y="csY605"/>
              </a:cxn>
              <a:cxn ang="0">
                <a:pos x="csX606" y="csY606"/>
              </a:cxn>
              <a:cxn ang="0">
                <a:pos x="csX607" y="csY607"/>
              </a:cxn>
              <a:cxn ang="0">
                <a:pos x="csX608" y="csY608"/>
              </a:cxn>
              <a:cxn ang="0">
                <a:pos x="csX609" y="csY609"/>
              </a:cxn>
              <a:cxn ang="0">
                <a:pos x="csX610" y="csY610"/>
              </a:cxn>
              <a:cxn ang="0">
                <a:pos x="csX611" y="csY611"/>
              </a:cxn>
              <a:cxn ang="0">
                <a:pos x="csX612" y="csY612"/>
              </a:cxn>
              <a:cxn ang="0">
                <a:pos x="csX613" y="csY613"/>
              </a:cxn>
              <a:cxn ang="0">
                <a:pos x="csX614" y="csY614"/>
              </a:cxn>
              <a:cxn ang="0">
                <a:pos x="csX615" y="csY615"/>
              </a:cxn>
              <a:cxn ang="0">
                <a:pos x="csX616" y="csY616"/>
              </a:cxn>
              <a:cxn ang="0">
                <a:pos x="csX617" y="csY617"/>
              </a:cxn>
              <a:cxn ang="0">
                <a:pos x="csX618" y="csY618"/>
              </a:cxn>
              <a:cxn ang="0">
                <a:pos x="csX619" y="csY619"/>
              </a:cxn>
              <a:cxn ang="0">
                <a:pos x="csX620" y="csY620"/>
              </a:cxn>
              <a:cxn ang="0">
                <a:pos x="csX621" y="csY621"/>
              </a:cxn>
              <a:cxn ang="0">
                <a:pos x="csX622" y="csY622"/>
              </a:cxn>
              <a:cxn ang="0">
                <a:pos x="csX623" y="csY623"/>
              </a:cxn>
              <a:cxn ang="0">
                <a:pos x="csX624" y="csY624"/>
              </a:cxn>
              <a:cxn ang="0">
                <a:pos x="csX625" y="csY625"/>
              </a:cxn>
              <a:cxn ang="0">
                <a:pos x="csX626" y="csY626"/>
              </a:cxn>
              <a:cxn ang="0">
                <a:pos x="csX627" y="csY627"/>
              </a:cxn>
              <a:cxn ang="0">
                <a:pos x="csX628" y="csY628"/>
              </a:cxn>
              <a:cxn ang="0">
                <a:pos x="csX629" y="csY629"/>
              </a:cxn>
              <a:cxn ang="0">
                <a:pos x="csX630" y="csY630"/>
              </a:cxn>
              <a:cxn ang="0">
                <a:pos x="csX631" y="csY631"/>
              </a:cxn>
              <a:cxn ang="0">
                <a:pos x="csX632" y="csY632"/>
              </a:cxn>
              <a:cxn ang="0">
                <a:pos x="csX633" y="csY633"/>
              </a:cxn>
              <a:cxn ang="0">
                <a:pos x="csX634" y="csY634"/>
              </a:cxn>
              <a:cxn ang="0">
                <a:pos x="csX635" y="csY635"/>
              </a:cxn>
              <a:cxn ang="0">
                <a:pos x="csX636" y="csY636"/>
              </a:cxn>
              <a:cxn ang="0">
                <a:pos x="csX637" y="csY637"/>
              </a:cxn>
              <a:cxn ang="0">
                <a:pos x="csX638" y="csY638"/>
              </a:cxn>
              <a:cxn ang="0">
                <a:pos x="csX639" y="csY639"/>
              </a:cxn>
              <a:cxn ang="0">
                <a:pos x="csX640" y="csY640"/>
              </a:cxn>
              <a:cxn ang="0">
                <a:pos x="csX641" y="csY641"/>
              </a:cxn>
              <a:cxn ang="0">
                <a:pos x="csX642" y="csY642"/>
              </a:cxn>
              <a:cxn ang="0">
                <a:pos x="csX643" y="csY643"/>
              </a:cxn>
              <a:cxn ang="0">
                <a:pos x="csX644" y="csY644"/>
              </a:cxn>
              <a:cxn ang="0">
                <a:pos x="csX645" y="csY645"/>
              </a:cxn>
              <a:cxn ang="0">
                <a:pos x="csX646" y="csY646"/>
              </a:cxn>
              <a:cxn ang="0">
                <a:pos x="csX647" y="csY647"/>
              </a:cxn>
              <a:cxn ang="0">
                <a:pos x="csX648" y="csY648"/>
              </a:cxn>
              <a:cxn ang="0">
                <a:pos x="csX649" y="csY649"/>
              </a:cxn>
              <a:cxn ang="0">
                <a:pos x="csX650" y="csY650"/>
              </a:cxn>
              <a:cxn ang="0">
                <a:pos x="csX651" y="csY651"/>
              </a:cxn>
              <a:cxn ang="0">
                <a:pos x="csX652" y="csY652"/>
              </a:cxn>
              <a:cxn ang="0">
                <a:pos x="csX653" y="csY653"/>
              </a:cxn>
              <a:cxn ang="0">
                <a:pos x="csX654" y="csY654"/>
              </a:cxn>
              <a:cxn ang="0">
                <a:pos x="csX655" y="csY655"/>
              </a:cxn>
              <a:cxn ang="0">
                <a:pos x="csX656" y="csY656"/>
              </a:cxn>
              <a:cxn ang="0">
                <a:pos x="csX657" y="csY657"/>
              </a:cxn>
              <a:cxn ang="0">
                <a:pos x="csX658" y="csY658"/>
              </a:cxn>
              <a:cxn ang="0">
                <a:pos x="csX659" y="csY659"/>
              </a:cxn>
              <a:cxn ang="0">
                <a:pos x="csX660" y="csY660"/>
              </a:cxn>
              <a:cxn ang="0">
                <a:pos x="csX661" y="csY661"/>
              </a:cxn>
              <a:cxn ang="0">
                <a:pos x="csX662" y="csY662"/>
              </a:cxn>
              <a:cxn ang="0">
                <a:pos x="csX663" y="csY663"/>
              </a:cxn>
              <a:cxn ang="0">
                <a:pos x="csX664" y="csY664"/>
              </a:cxn>
              <a:cxn ang="0">
                <a:pos x="csX665" y="csY665"/>
              </a:cxn>
              <a:cxn ang="0">
                <a:pos x="csX666" y="csY666"/>
              </a:cxn>
              <a:cxn ang="0">
                <a:pos x="csX667" y="csY667"/>
              </a:cxn>
              <a:cxn ang="0">
                <a:pos x="csX668" y="csY668"/>
              </a:cxn>
              <a:cxn ang="0">
                <a:pos x="csX669" y="csY669"/>
              </a:cxn>
              <a:cxn ang="0">
                <a:pos x="csX670" y="csY670"/>
              </a:cxn>
              <a:cxn ang="0">
                <a:pos x="csX671" y="csY671"/>
              </a:cxn>
              <a:cxn ang="0">
                <a:pos x="csX672" y="csY672"/>
              </a:cxn>
              <a:cxn ang="0">
                <a:pos x="csX673" y="csY673"/>
              </a:cxn>
              <a:cxn ang="0">
                <a:pos x="csX674" y="csY674"/>
              </a:cxn>
              <a:cxn ang="0">
                <a:pos x="csX675" y="csY675"/>
              </a:cxn>
              <a:cxn ang="0">
                <a:pos x="csX676" y="csY676"/>
              </a:cxn>
              <a:cxn ang="0">
                <a:pos x="csX677" y="csY677"/>
              </a:cxn>
              <a:cxn ang="0">
                <a:pos x="csX678" y="csY678"/>
              </a:cxn>
              <a:cxn ang="0">
                <a:pos x="csX679" y="csY679"/>
              </a:cxn>
              <a:cxn ang="0">
                <a:pos x="csX680" y="csY680"/>
              </a:cxn>
              <a:cxn ang="0">
                <a:pos x="csX681" y="csY681"/>
              </a:cxn>
              <a:cxn ang="0">
                <a:pos x="csX682" y="csY682"/>
              </a:cxn>
              <a:cxn ang="0">
                <a:pos x="csX683" y="csY683"/>
              </a:cxn>
              <a:cxn ang="0">
                <a:pos x="csX684" y="csY684"/>
              </a:cxn>
              <a:cxn ang="0">
                <a:pos x="csX685" y="csY685"/>
              </a:cxn>
              <a:cxn ang="0">
                <a:pos x="csX686" y="csY686"/>
              </a:cxn>
              <a:cxn ang="0">
                <a:pos x="csX687" y="csY687"/>
              </a:cxn>
              <a:cxn ang="0">
                <a:pos x="csX688" y="csY688"/>
              </a:cxn>
              <a:cxn ang="0">
                <a:pos x="csX689" y="csY689"/>
              </a:cxn>
              <a:cxn ang="0">
                <a:pos x="csX690" y="csY690"/>
              </a:cxn>
              <a:cxn ang="0">
                <a:pos x="csX691" y="csY691"/>
              </a:cxn>
              <a:cxn ang="0">
                <a:pos x="csX692" y="csY692"/>
              </a:cxn>
              <a:cxn ang="0">
                <a:pos x="csX693" y="csY693"/>
              </a:cxn>
              <a:cxn ang="0">
                <a:pos x="csX694" y="csY694"/>
              </a:cxn>
              <a:cxn ang="0">
                <a:pos x="csX695" y="csY695"/>
              </a:cxn>
              <a:cxn ang="0">
                <a:pos x="csX696" y="csY696"/>
              </a:cxn>
              <a:cxn ang="0">
                <a:pos x="csX697" y="csY697"/>
              </a:cxn>
              <a:cxn ang="0">
                <a:pos x="csX698" y="csY698"/>
              </a:cxn>
              <a:cxn ang="0">
                <a:pos x="csX699" y="csY699"/>
              </a:cxn>
              <a:cxn ang="0">
                <a:pos x="csX700" y="csY700"/>
              </a:cxn>
              <a:cxn ang="0">
                <a:pos x="csX701" y="csY701"/>
              </a:cxn>
              <a:cxn ang="0">
                <a:pos x="csX702" y="csY702"/>
              </a:cxn>
              <a:cxn ang="0">
                <a:pos x="csX703" y="csY703"/>
              </a:cxn>
              <a:cxn ang="0">
                <a:pos x="csX704" y="csY704"/>
              </a:cxn>
              <a:cxn ang="0">
                <a:pos x="csX705" y="csY705"/>
              </a:cxn>
              <a:cxn ang="0">
                <a:pos x="csX706" y="csY706"/>
              </a:cxn>
              <a:cxn ang="0">
                <a:pos x="csX707" y="csY707"/>
              </a:cxn>
              <a:cxn ang="0">
                <a:pos x="csX708" y="csY708"/>
              </a:cxn>
              <a:cxn ang="0">
                <a:pos x="csX709" y="csY709"/>
              </a:cxn>
              <a:cxn ang="0">
                <a:pos x="csX710" y="csY710"/>
              </a:cxn>
              <a:cxn ang="0">
                <a:pos x="csX711" y="csY711"/>
              </a:cxn>
              <a:cxn ang="0">
                <a:pos x="csX712" y="csY712"/>
              </a:cxn>
              <a:cxn ang="0">
                <a:pos x="csX713" y="csY713"/>
              </a:cxn>
              <a:cxn ang="0">
                <a:pos x="csX714" y="csY714"/>
              </a:cxn>
              <a:cxn ang="0">
                <a:pos x="csX715" y="csY715"/>
              </a:cxn>
              <a:cxn ang="0">
                <a:pos x="csX716" y="csY716"/>
              </a:cxn>
              <a:cxn ang="0">
                <a:pos x="csX717" y="csY717"/>
              </a:cxn>
              <a:cxn ang="0">
                <a:pos x="csX718" y="csY718"/>
              </a:cxn>
              <a:cxn ang="0">
                <a:pos x="csX719" y="csY719"/>
              </a:cxn>
              <a:cxn ang="0">
                <a:pos x="csX720" y="csY720"/>
              </a:cxn>
              <a:cxn ang="0">
                <a:pos x="csX721" y="csY721"/>
              </a:cxn>
              <a:cxn ang="0">
                <a:pos x="csX722" y="csY722"/>
              </a:cxn>
              <a:cxn ang="0">
                <a:pos x="csX723" y="csY723"/>
              </a:cxn>
              <a:cxn ang="0">
                <a:pos x="csX724" y="csY724"/>
              </a:cxn>
              <a:cxn ang="0">
                <a:pos x="csX725" y="csY725"/>
              </a:cxn>
              <a:cxn ang="0">
                <a:pos x="csX726" y="csY726"/>
              </a:cxn>
              <a:cxn ang="0">
                <a:pos x="csX727" y="csY727"/>
              </a:cxn>
              <a:cxn ang="0">
                <a:pos x="csX728" y="csY728"/>
              </a:cxn>
              <a:cxn ang="0">
                <a:pos x="csX729" y="csY729"/>
              </a:cxn>
              <a:cxn ang="0">
                <a:pos x="csX730" y="csY730"/>
              </a:cxn>
              <a:cxn ang="0">
                <a:pos x="csX731" y="csY731"/>
              </a:cxn>
              <a:cxn ang="0">
                <a:pos x="csX732" y="csY732"/>
              </a:cxn>
              <a:cxn ang="0">
                <a:pos x="csX733" y="csY733"/>
              </a:cxn>
              <a:cxn ang="0">
                <a:pos x="csX734" y="csY734"/>
              </a:cxn>
              <a:cxn ang="0">
                <a:pos x="csX735" y="csY735"/>
              </a:cxn>
              <a:cxn ang="0">
                <a:pos x="csX736" y="csY736"/>
              </a:cxn>
              <a:cxn ang="0">
                <a:pos x="csX737" y="csY737"/>
              </a:cxn>
              <a:cxn ang="0">
                <a:pos x="csX738" y="csY738"/>
              </a:cxn>
              <a:cxn ang="0">
                <a:pos x="csX739" y="csY739"/>
              </a:cxn>
              <a:cxn ang="0">
                <a:pos x="csX740" y="csY740"/>
              </a:cxn>
              <a:cxn ang="0">
                <a:pos x="csX741" y="csY741"/>
              </a:cxn>
              <a:cxn ang="0">
                <a:pos x="csX742" y="csY742"/>
              </a:cxn>
              <a:cxn ang="0">
                <a:pos x="csX743" y="csY743"/>
              </a:cxn>
              <a:cxn ang="0">
                <a:pos x="csX744" y="csY744"/>
              </a:cxn>
              <a:cxn ang="0">
                <a:pos x="csX745" y="csY745"/>
              </a:cxn>
              <a:cxn ang="0">
                <a:pos x="csX746" y="csY746"/>
              </a:cxn>
              <a:cxn ang="0">
                <a:pos x="csX747" y="csY747"/>
              </a:cxn>
              <a:cxn ang="0">
                <a:pos x="csX748" y="csY748"/>
              </a:cxn>
              <a:cxn ang="0">
                <a:pos x="csX749" y="csY749"/>
              </a:cxn>
              <a:cxn ang="0">
                <a:pos x="csX750" y="csY750"/>
              </a:cxn>
              <a:cxn ang="0">
                <a:pos x="csX751" y="csY751"/>
              </a:cxn>
              <a:cxn ang="0">
                <a:pos x="csX752" y="csY752"/>
              </a:cxn>
              <a:cxn ang="0">
                <a:pos x="csX753" y="csY753"/>
              </a:cxn>
              <a:cxn ang="0">
                <a:pos x="csX754" y="csY754"/>
              </a:cxn>
              <a:cxn ang="0">
                <a:pos x="csX755" y="csY755"/>
              </a:cxn>
              <a:cxn ang="0">
                <a:pos x="csX756" y="csY756"/>
              </a:cxn>
              <a:cxn ang="0">
                <a:pos x="csX757" y="csY757"/>
              </a:cxn>
              <a:cxn ang="0">
                <a:pos x="csX758" y="csY758"/>
              </a:cxn>
              <a:cxn ang="0">
                <a:pos x="csX759" y="csY759"/>
              </a:cxn>
              <a:cxn ang="0">
                <a:pos x="csX760" y="csY760"/>
              </a:cxn>
              <a:cxn ang="0">
                <a:pos x="csX761" y="csY761"/>
              </a:cxn>
              <a:cxn ang="0">
                <a:pos x="csX762" y="csY762"/>
              </a:cxn>
              <a:cxn ang="0">
                <a:pos x="csX763" y="csY763"/>
              </a:cxn>
              <a:cxn ang="0">
                <a:pos x="csX764" y="csY764"/>
              </a:cxn>
              <a:cxn ang="0">
                <a:pos x="csX765" y="csY765"/>
              </a:cxn>
              <a:cxn ang="0">
                <a:pos x="csX766" y="csY766"/>
              </a:cxn>
              <a:cxn ang="0">
                <a:pos x="csX767" y="csY767"/>
              </a:cxn>
              <a:cxn ang="0">
                <a:pos x="csX768" y="csY768"/>
              </a:cxn>
              <a:cxn ang="0">
                <a:pos x="csX769" y="csY769"/>
              </a:cxn>
              <a:cxn ang="0">
                <a:pos x="csX770" y="csY770"/>
              </a:cxn>
              <a:cxn ang="0">
                <a:pos x="csX771" y="csY771"/>
              </a:cxn>
              <a:cxn ang="0">
                <a:pos x="csX772" y="csY772"/>
              </a:cxn>
              <a:cxn ang="0">
                <a:pos x="csX773" y="csY773"/>
              </a:cxn>
              <a:cxn ang="0">
                <a:pos x="csX774" y="csY774"/>
              </a:cxn>
              <a:cxn ang="0">
                <a:pos x="csX775" y="csY775"/>
              </a:cxn>
              <a:cxn ang="0">
                <a:pos x="csX776" y="csY776"/>
              </a:cxn>
              <a:cxn ang="0">
                <a:pos x="csX777" y="csY777"/>
              </a:cxn>
              <a:cxn ang="0">
                <a:pos x="csX778" y="csY778"/>
              </a:cxn>
              <a:cxn ang="0">
                <a:pos x="csX779" y="csY779"/>
              </a:cxn>
              <a:cxn ang="0">
                <a:pos x="csX780" y="csY780"/>
              </a:cxn>
              <a:cxn ang="0">
                <a:pos x="csX781" y="csY781"/>
              </a:cxn>
              <a:cxn ang="0">
                <a:pos x="csX782" y="csY782"/>
              </a:cxn>
              <a:cxn ang="0">
                <a:pos x="csX783" y="csY783"/>
              </a:cxn>
              <a:cxn ang="0">
                <a:pos x="csX784" y="csY784"/>
              </a:cxn>
              <a:cxn ang="0">
                <a:pos x="csX785" y="csY785"/>
              </a:cxn>
              <a:cxn ang="0">
                <a:pos x="csX786" y="csY786"/>
              </a:cxn>
              <a:cxn ang="0">
                <a:pos x="csX787" y="csY787"/>
              </a:cxn>
              <a:cxn ang="0">
                <a:pos x="csX788" y="csY788"/>
              </a:cxn>
              <a:cxn ang="0">
                <a:pos x="csX789" y="csY789"/>
              </a:cxn>
              <a:cxn ang="0">
                <a:pos x="csX790" y="csY790"/>
              </a:cxn>
              <a:cxn ang="0">
                <a:pos x="csX791" y="csY791"/>
              </a:cxn>
              <a:cxn ang="0">
                <a:pos x="csX792" y="csY792"/>
              </a:cxn>
              <a:cxn ang="0">
                <a:pos x="csX793" y="csY793"/>
              </a:cxn>
              <a:cxn ang="0">
                <a:pos x="csX794" y="csY794"/>
              </a:cxn>
              <a:cxn ang="0">
                <a:pos x="csX795" y="csY795"/>
              </a:cxn>
              <a:cxn ang="0">
                <a:pos x="csX796" y="csY796"/>
              </a:cxn>
              <a:cxn ang="0">
                <a:pos x="csX797" y="csY797"/>
              </a:cxn>
              <a:cxn ang="0">
                <a:pos x="csX798" y="csY798"/>
              </a:cxn>
              <a:cxn ang="0">
                <a:pos x="csX799" y="csY799"/>
              </a:cxn>
              <a:cxn ang="0">
                <a:pos x="csX800" y="csY800"/>
              </a:cxn>
              <a:cxn ang="0">
                <a:pos x="csX801" y="csY801"/>
              </a:cxn>
              <a:cxn ang="0">
                <a:pos x="csX802" y="csY802"/>
              </a:cxn>
              <a:cxn ang="0">
                <a:pos x="csX803" y="csY803"/>
              </a:cxn>
              <a:cxn ang="0">
                <a:pos x="csX804" y="csY804"/>
              </a:cxn>
              <a:cxn ang="0">
                <a:pos x="csX805" y="csY805"/>
              </a:cxn>
              <a:cxn ang="0">
                <a:pos x="csX806" y="csY806"/>
              </a:cxn>
              <a:cxn ang="0">
                <a:pos x="csX807" y="csY807"/>
              </a:cxn>
              <a:cxn ang="0">
                <a:pos x="csX808" y="csY808"/>
              </a:cxn>
              <a:cxn ang="0">
                <a:pos x="csX809" y="csY809"/>
              </a:cxn>
              <a:cxn ang="0">
                <a:pos x="csX810" y="csY810"/>
              </a:cxn>
              <a:cxn ang="0">
                <a:pos x="csX811" y="csY811"/>
              </a:cxn>
              <a:cxn ang="0">
                <a:pos x="csX812" y="csY812"/>
              </a:cxn>
              <a:cxn ang="0">
                <a:pos x="csX813" y="csY813"/>
              </a:cxn>
              <a:cxn ang="0">
                <a:pos x="csX814" y="csY814"/>
              </a:cxn>
              <a:cxn ang="0">
                <a:pos x="csX815" y="csY815"/>
              </a:cxn>
              <a:cxn ang="0">
                <a:pos x="csX816" y="csY816"/>
              </a:cxn>
              <a:cxn ang="0">
                <a:pos x="csX817" y="csY817"/>
              </a:cxn>
              <a:cxn ang="0">
                <a:pos x="csX818" y="csY818"/>
              </a:cxn>
              <a:cxn ang="0">
                <a:pos x="csX819" y="csY819"/>
              </a:cxn>
              <a:cxn ang="0">
                <a:pos x="csX820" y="csY820"/>
              </a:cxn>
              <a:cxn ang="0">
                <a:pos x="csX821" y="csY821"/>
              </a:cxn>
              <a:cxn ang="0">
                <a:pos x="csX822" y="csY822"/>
              </a:cxn>
              <a:cxn ang="0">
                <a:pos x="csX823" y="csY823"/>
              </a:cxn>
              <a:cxn ang="0">
                <a:pos x="csX824" y="csY824"/>
              </a:cxn>
              <a:cxn ang="0">
                <a:pos x="csX825" y="csY825"/>
              </a:cxn>
              <a:cxn ang="0">
                <a:pos x="csX826" y="csY826"/>
              </a:cxn>
              <a:cxn ang="0">
                <a:pos x="csX827" y="csY827"/>
              </a:cxn>
              <a:cxn ang="0">
                <a:pos x="csX828" y="csY828"/>
              </a:cxn>
              <a:cxn ang="0">
                <a:pos x="csX829" y="csY829"/>
              </a:cxn>
              <a:cxn ang="0">
                <a:pos x="csX830" y="csY830"/>
              </a:cxn>
              <a:cxn ang="0">
                <a:pos x="csX831" y="csY831"/>
              </a:cxn>
              <a:cxn ang="0">
                <a:pos x="csX832" y="csY832"/>
              </a:cxn>
              <a:cxn ang="0">
                <a:pos x="csX833" y="csY833"/>
              </a:cxn>
              <a:cxn ang="0">
                <a:pos x="csX834" y="csY834"/>
              </a:cxn>
              <a:cxn ang="0">
                <a:pos x="csX835" y="csY835"/>
              </a:cxn>
              <a:cxn ang="0">
                <a:pos x="csX836" y="csY836"/>
              </a:cxn>
              <a:cxn ang="0">
                <a:pos x="csX837" y="csY837"/>
              </a:cxn>
              <a:cxn ang="0">
                <a:pos x="csX838" y="csY838"/>
              </a:cxn>
              <a:cxn ang="0">
                <a:pos x="csX839" y="csY839"/>
              </a:cxn>
              <a:cxn ang="0">
                <a:pos x="csX840" y="csY840"/>
              </a:cxn>
              <a:cxn ang="0">
                <a:pos x="csX841" y="csY841"/>
              </a:cxn>
              <a:cxn ang="0">
                <a:pos x="csX842" y="csY842"/>
              </a:cxn>
              <a:cxn ang="0">
                <a:pos x="csX843" y="csY843"/>
              </a:cxn>
              <a:cxn ang="0">
                <a:pos x="csX844" y="csY844"/>
              </a:cxn>
              <a:cxn ang="0">
                <a:pos x="csX845" y="csY845"/>
              </a:cxn>
              <a:cxn ang="0">
                <a:pos x="csX846" y="csY846"/>
              </a:cxn>
              <a:cxn ang="0">
                <a:pos x="csX847" y="csY847"/>
              </a:cxn>
              <a:cxn ang="0">
                <a:pos x="csX848" y="csY848"/>
              </a:cxn>
              <a:cxn ang="0">
                <a:pos x="csX849" y="csY849"/>
              </a:cxn>
              <a:cxn ang="0">
                <a:pos x="csX850" y="csY850"/>
              </a:cxn>
              <a:cxn ang="0">
                <a:pos x="csX851" y="csY851"/>
              </a:cxn>
              <a:cxn ang="0">
                <a:pos x="csX852" y="csY852"/>
              </a:cxn>
              <a:cxn ang="0">
                <a:pos x="csX853" y="csY853"/>
              </a:cxn>
              <a:cxn ang="0">
                <a:pos x="csX854" y="csY854"/>
              </a:cxn>
              <a:cxn ang="0">
                <a:pos x="csX855" y="csY855"/>
              </a:cxn>
              <a:cxn ang="0">
                <a:pos x="csX856" y="csY856"/>
              </a:cxn>
              <a:cxn ang="0">
                <a:pos x="csX857" y="csY857"/>
              </a:cxn>
              <a:cxn ang="0">
                <a:pos x="csX858" y="csY858"/>
              </a:cxn>
              <a:cxn ang="0">
                <a:pos x="csX859" y="csY859"/>
              </a:cxn>
              <a:cxn ang="0">
                <a:pos x="csX860" y="csY860"/>
              </a:cxn>
              <a:cxn ang="0">
                <a:pos x="csX861" y="csY861"/>
              </a:cxn>
              <a:cxn ang="0">
                <a:pos x="csX862" y="csY862"/>
              </a:cxn>
              <a:cxn ang="0">
                <a:pos x="csX863" y="csY863"/>
              </a:cxn>
              <a:cxn ang="0">
                <a:pos x="csX864" y="csY864"/>
              </a:cxn>
              <a:cxn ang="0">
                <a:pos x="csX865" y="csY865"/>
              </a:cxn>
              <a:cxn ang="0">
                <a:pos x="csX866" y="csY866"/>
              </a:cxn>
              <a:cxn ang="0">
                <a:pos x="csX867" y="csY867"/>
              </a:cxn>
              <a:cxn ang="0">
                <a:pos x="csX868" y="csY868"/>
              </a:cxn>
              <a:cxn ang="0">
                <a:pos x="csX869" y="csY869"/>
              </a:cxn>
              <a:cxn ang="0">
                <a:pos x="csX870" y="csY870"/>
              </a:cxn>
              <a:cxn ang="0">
                <a:pos x="csX871" y="csY871"/>
              </a:cxn>
              <a:cxn ang="0">
                <a:pos x="csX872" y="csY872"/>
              </a:cxn>
              <a:cxn ang="0">
                <a:pos x="csX873" y="csY873"/>
              </a:cxn>
              <a:cxn ang="0">
                <a:pos x="csX874" y="csY874"/>
              </a:cxn>
              <a:cxn ang="0">
                <a:pos x="csX875" y="csY875"/>
              </a:cxn>
              <a:cxn ang="0">
                <a:pos x="csX876" y="csY876"/>
              </a:cxn>
              <a:cxn ang="0">
                <a:pos x="csX877" y="csY877"/>
              </a:cxn>
              <a:cxn ang="0">
                <a:pos x="csX878" y="csY878"/>
              </a:cxn>
              <a:cxn ang="0">
                <a:pos x="csX879" y="csY879"/>
              </a:cxn>
              <a:cxn ang="0">
                <a:pos x="csX880" y="csY880"/>
              </a:cxn>
              <a:cxn ang="0">
                <a:pos x="csX881" y="csY881"/>
              </a:cxn>
              <a:cxn ang="0">
                <a:pos x="csX882" y="csY882"/>
              </a:cxn>
              <a:cxn ang="0">
                <a:pos x="csX883" y="csY883"/>
              </a:cxn>
              <a:cxn ang="0">
                <a:pos x="csX884" y="csY884"/>
              </a:cxn>
              <a:cxn ang="0">
                <a:pos x="csX885" y="csY885"/>
              </a:cxn>
              <a:cxn ang="0">
                <a:pos x="csX886" y="csY886"/>
              </a:cxn>
              <a:cxn ang="0">
                <a:pos x="csX887" y="csY887"/>
              </a:cxn>
              <a:cxn ang="0">
                <a:pos x="csX888" y="csY888"/>
              </a:cxn>
              <a:cxn ang="0">
                <a:pos x="csX889" y="csY889"/>
              </a:cxn>
              <a:cxn ang="0">
                <a:pos x="csX890" y="csY890"/>
              </a:cxn>
              <a:cxn ang="0">
                <a:pos x="csX891" y="csY891"/>
              </a:cxn>
              <a:cxn ang="0">
                <a:pos x="csX892" y="csY892"/>
              </a:cxn>
              <a:cxn ang="0">
                <a:pos x="csX893" y="csY893"/>
              </a:cxn>
              <a:cxn ang="0">
                <a:pos x="csX894" y="csY894"/>
              </a:cxn>
              <a:cxn ang="0">
                <a:pos x="csX895" y="csY895"/>
              </a:cxn>
              <a:cxn ang="0">
                <a:pos x="csX896" y="csY896"/>
              </a:cxn>
              <a:cxn ang="0">
                <a:pos x="csX897" y="csY897"/>
              </a:cxn>
              <a:cxn ang="0">
                <a:pos x="csX898" y="csY898"/>
              </a:cxn>
              <a:cxn ang="0">
                <a:pos x="csX899" y="csY899"/>
              </a:cxn>
              <a:cxn ang="0">
                <a:pos x="csX900" y="csY900"/>
              </a:cxn>
              <a:cxn ang="0">
                <a:pos x="csX901" y="csY901"/>
              </a:cxn>
              <a:cxn ang="0">
                <a:pos x="csX902" y="csY902"/>
              </a:cxn>
              <a:cxn ang="0">
                <a:pos x="csX903" y="csY903"/>
              </a:cxn>
              <a:cxn ang="0">
                <a:pos x="csX904" y="csY904"/>
              </a:cxn>
              <a:cxn ang="0">
                <a:pos x="csX905" y="csY905"/>
              </a:cxn>
              <a:cxn ang="0">
                <a:pos x="csX906" y="csY906"/>
              </a:cxn>
              <a:cxn ang="0">
                <a:pos x="csX907" y="csY907"/>
              </a:cxn>
              <a:cxn ang="0">
                <a:pos x="csX908" y="csY908"/>
              </a:cxn>
              <a:cxn ang="0">
                <a:pos x="csX909" y="csY909"/>
              </a:cxn>
              <a:cxn ang="0">
                <a:pos x="csX910" y="csY910"/>
              </a:cxn>
              <a:cxn ang="0">
                <a:pos x="csX911" y="csY911"/>
              </a:cxn>
              <a:cxn ang="0">
                <a:pos x="csX912" y="csY912"/>
              </a:cxn>
              <a:cxn ang="0">
                <a:pos x="csX913" y="csY913"/>
              </a:cxn>
              <a:cxn ang="0">
                <a:pos x="csX914" y="csY914"/>
              </a:cxn>
              <a:cxn ang="0">
                <a:pos x="csX915" y="csY915"/>
              </a:cxn>
              <a:cxn ang="0">
                <a:pos x="csX916" y="csY916"/>
              </a:cxn>
              <a:cxn ang="0">
                <a:pos x="csX917" y="csY917"/>
              </a:cxn>
              <a:cxn ang="0">
                <a:pos x="csX918" y="csY918"/>
              </a:cxn>
              <a:cxn ang="0">
                <a:pos x="csX919" y="csY919"/>
              </a:cxn>
              <a:cxn ang="0">
                <a:pos x="csX920" y="csY920"/>
              </a:cxn>
              <a:cxn ang="0">
                <a:pos x="csX921" y="csY921"/>
              </a:cxn>
              <a:cxn ang="0">
                <a:pos x="csX922" y="csY922"/>
              </a:cxn>
              <a:cxn ang="0">
                <a:pos x="csX923" y="csY923"/>
              </a:cxn>
              <a:cxn ang="0">
                <a:pos x="csX924" y="csY924"/>
              </a:cxn>
              <a:cxn ang="0">
                <a:pos x="csX925" y="csY925"/>
              </a:cxn>
              <a:cxn ang="0">
                <a:pos x="csX926" y="csY926"/>
              </a:cxn>
              <a:cxn ang="0">
                <a:pos x="csX927" y="csY927"/>
              </a:cxn>
              <a:cxn ang="0">
                <a:pos x="csX928" y="csY928"/>
              </a:cxn>
              <a:cxn ang="0">
                <a:pos x="csX929" y="csY929"/>
              </a:cxn>
              <a:cxn ang="0">
                <a:pos x="csX930" y="csY930"/>
              </a:cxn>
              <a:cxn ang="0">
                <a:pos x="csX931" y="csY931"/>
              </a:cxn>
              <a:cxn ang="0">
                <a:pos x="csX932" y="csY932"/>
              </a:cxn>
              <a:cxn ang="0">
                <a:pos x="csX933" y="csY933"/>
              </a:cxn>
              <a:cxn ang="0">
                <a:pos x="csX934" y="csY934"/>
              </a:cxn>
              <a:cxn ang="0">
                <a:pos x="csX935" y="csY935"/>
              </a:cxn>
              <a:cxn ang="0">
                <a:pos x="csX936" y="csY936"/>
              </a:cxn>
              <a:cxn ang="0">
                <a:pos x="csX937" y="csY937"/>
              </a:cxn>
              <a:cxn ang="0">
                <a:pos x="csX938" y="csY938"/>
              </a:cxn>
              <a:cxn ang="0">
                <a:pos x="csX939" y="csY939"/>
              </a:cxn>
              <a:cxn ang="0">
                <a:pos x="csX940" y="csY940"/>
              </a:cxn>
              <a:cxn ang="0">
                <a:pos x="csX941" y="csY941"/>
              </a:cxn>
              <a:cxn ang="0">
                <a:pos x="csX942" y="csY942"/>
              </a:cxn>
              <a:cxn ang="0">
                <a:pos x="csX943" y="csY943"/>
              </a:cxn>
              <a:cxn ang="0">
                <a:pos x="csX944" y="csY944"/>
              </a:cxn>
              <a:cxn ang="0">
                <a:pos x="csX945" y="csY945"/>
              </a:cxn>
              <a:cxn ang="0">
                <a:pos x="csX946" y="csY946"/>
              </a:cxn>
              <a:cxn ang="0">
                <a:pos x="csX947" y="csY947"/>
              </a:cxn>
              <a:cxn ang="0">
                <a:pos x="csX948" y="csY948"/>
              </a:cxn>
              <a:cxn ang="0">
                <a:pos x="csX949" y="csY949"/>
              </a:cxn>
              <a:cxn ang="0">
                <a:pos x="csX950" y="csY950"/>
              </a:cxn>
              <a:cxn ang="0">
                <a:pos x="csX951" y="csY951"/>
              </a:cxn>
              <a:cxn ang="0">
                <a:pos x="csX952" y="csY952"/>
              </a:cxn>
              <a:cxn ang="0">
                <a:pos x="csX953" y="csY953"/>
              </a:cxn>
              <a:cxn ang="0">
                <a:pos x="csX954" y="csY954"/>
              </a:cxn>
              <a:cxn ang="0">
                <a:pos x="csX955" y="csY955"/>
              </a:cxn>
              <a:cxn ang="0">
                <a:pos x="csX956" y="csY956"/>
              </a:cxn>
              <a:cxn ang="0">
                <a:pos x="csX957" y="csY957"/>
              </a:cxn>
              <a:cxn ang="0">
                <a:pos x="csX958" y="csY958"/>
              </a:cxn>
              <a:cxn ang="0">
                <a:pos x="csX959" y="csY959"/>
              </a:cxn>
              <a:cxn ang="0">
                <a:pos x="csX960" y="csY960"/>
              </a:cxn>
              <a:cxn ang="0">
                <a:pos x="csX961" y="csY961"/>
              </a:cxn>
              <a:cxn ang="0">
                <a:pos x="csX962" y="csY962"/>
              </a:cxn>
              <a:cxn ang="0">
                <a:pos x="csX963" y="csY963"/>
              </a:cxn>
              <a:cxn ang="0">
                <a:pos x="csX964" y="csY964"/>
              </a:cxn>
              <a:cxn ang="0">
                <a:pos x="csX965" y="csY965"/>
              </a:cxn>
              <a:cxn ang="0">
                <a:pos x="csX966" y="csY966"/>
              </a:cxn>
              <a:cxn ang="0">
                <a:pos x="csX967" y="csY967"/>
              </a:cxn>
              <a:cxn ang="0">
                <a:pos x="csX968" y="csY968"/>
              </a:cxn>
              <a:cxn ang="0">
                <a:pos x="csX969" y="csY969"/>
              </a:cxn>
              <a:cxn ang="0">
                <a:pos x="csX970" y="csY970"/>
              </a:cxn>
              <a:cxn ang="0">
                <a:pos x="csX971" y="csY971"/>
              </a:cxn>
              <a:cxn ang="0">
                <a:pos x="csX972" y="csY972"/>
              </a:cxn>
              <a:cxn ang="0">
                <a:pos x="csX973" y="csY973"/>
              </a:cxn>
              <a:cxn ang="0">
                <a:pos x="csX974" y="csY974"/>
              </a:cxn>
              <a:cxn ang="0">
                <a:pos x="csX975" y="csY975"/>
              </a:cxn>
              <a:cxn ang="0">
                <a:pos x="csX976" y="csY976"/>
              </a:cxn>
              <a:cxn ang="0">
                <a:pos x="csX977" y="csY977"/>
              </a:cxn>
              <a:cxn ang="0">
                <a:pos x="csX978" y="csY978"/>
              </a:cxn>
              <a:cxn ang="0">
                <a:pos x="csX979" y="csY979"/>
              </a:cxn>
              <a:cxn ang="0">
                <a:pos x="csX980" y="csY980"/>
              </a:cxn>
              <a:cxn ang="0">
                <a:pos x="csX981" y="csY981"/>
              </a:cxn>
              <a:cxn ang="0">
                <a:pos x="csX982" y="csY982"/>
              </a:cxn>
              <a:cxn ang="0">
                <a:pos x="csX983" y="csY983"/>
              </a:cxn>
              <a:cxn ang="0">
                <a:pos x="csX984" y="csY984"/>
              </a:cxn>
              <a:cxn ang="0">
                <a:pos x="csX985" y="csY985"/>
              </a:cxn>
              <a:cxn ang="0">
                <a:pos x="csX986" y="csY986"/>
              </a:cxn>
              <a:cxn ang="0">
                <a:pos x="csX987" y="csY987"/>
              </a:cxn>
              <a:cxn ang="0">
                <a:pos x="csX988" y="csY988"/>
              </a:cxn>
              <a:cxn ang="0">
                <a:pos x="csX989" y="csY989"/>
              </a:cxn>
              <a:cxn ang="0">
                <a:pos x="csX990" y="csY990"/>
              </a:cxn>
              <a:cxn ang="0">
                <a:pos x="csX991" y="csY991"/>
              </a:cxn>
              <a:cxn ang="0">
                <a:pos x="csX992" y="csY992"/>
              </a:cxn>
              <a:cxn ang="0">
                <a:pos x="csX993" y="csY993"/>
              </a:cxn>
              <a:cxn ang="0">
                <a:pos x="csX994" y="csY994"/>
              </a:cxn>
              <a:cxn ang="0">
                <a:pos x="csX995" y="csY995"/>
              </a:cxn>
              <a:cxn ang="0">
                <a:pos x="csX996" y="csY996"/>
              </a:cxn>
              <a:cxn ang="0">
                <a:pos x="csX997" y="csY997"/>
              </a:cxn>
              <a:cxn ang="0">
                <a:pos x="csX998" y="csY998"/>
              </a:cxn>
              <a:cxn ang="0">
                <a:pos x="csX999" y="csY999"/>
              </a:cxn>
              <a:cxn ang="0">
                <a:pos x="csX1000" y="csY1000"/>
              </a:cxn>
              <a:cxn ang="0">
                <a:pos x="csX1001" y="csY1001"/>
              </a:cxn>
              <a:cxn ang="0">
                <a:pos x="csX1002" y="csY1002"/>
              </a:cxn>
              <a:cxn ang="0">
                <a:pos x="csX1003" y="csY1003"/>
              </a:cxn>
              <a:cxn ang="0">
                <a:pos x="csX1004" y="csY1004"/>
              </a:cxn>
              <a:cxn ang="0">
                <a:pos x="csX1005" y="csY1005"/>
              </a:cxn>
              <a:cxn ang="0">
                <a:pos x="csX1006" y="csY1006"/>
              </a:cxn>
              <a:cxn ang="0">
                <a:pos x="csX1007" y="csY1007"/>
              </a:cxn>
              <a:cxn ang="0">
                <a:pos x="csX1008" y="csY1008"/>
              </a:cxn>
              <a:cxn ang="0">
                <a:pos x="csX1009" y="csY1009"/>
              </a:cxn>
              <a:cxn ang="0">
                <a:pos x="csX1010" y="csY1010"/>
              </a:cxn>
              <a:cxn ang="0">
                <a:pos x="csX1011" y="csY1011"/>
              </a:cxn>
              <a:cxn ang="0">
                <a:pos x="csX1012" y="csY1012"/>
              </a:cxn>
              <a:cxn ang="0">
                <a:pos x="csX1013" y="csY1013"/>
              </a:cxn>
              <a:cxn ang="0">
                <a:pos x="csX1014" y="csY1014"/>
              </a:cxn>
              <a:cxn ang="0">
                <a:pos x="csX1015" y="csY1015"/>
              </a:cxn>
              <a:cxn ang="0">
                <a:pos x="csX1016" y="csY1016"/>
              </a:cxn>
              <a:cxn ang="0">
                <a:pos x="csX1017" y="csY1017"/>
              </a:cxn>
              <a:cxn ang="0">
                <a:pos x="csX1018" y="csY1018"/>
              </a:cxn>
              <a:cxn ang="0">
                <a:pos x="csX1019" y="csY1019"/>
              </a:cxn>
              <a:cxn ang="0">
                <a:pos x="csX1020" y="csY1020"/>
              </a:cxn>
              <a:cxn ang="0">
                <a:pos x="csX1021" y="csY1021"/>
              </a:cxn>
              <a:cxn ang="0">
                <a:pos x="csX1022" y="csY1022"/>
              </a:cxn>
              <a:cxn ang="0">
                <a:pos x="csX1023" y="csY1023"/>
              </a:cxn>
              <a:cxn ang="0">
                <a:pos x="csX1024" y="csY1024"/>
              </a:cxn>
              <a:cxn ang="0">
                <a:pos x="csX1025" y="csY1025"/>
              </a:cxn>
              <a:cxn ang="0">
                <a:pos x="csX1026" y="csY1026"/>
              </a:cxn>
              <a:cxn ang="0">
                <a:pos x="csX1027" y="csY1027"/>
              </a:cxn>
              <a:cxn ang="0">
                <a:pos x="csX1028" y="csY1028"/>
              </a:cxn>
              <a:cxn ang="0">
                <a:pos x="csX1029" y="csY1029"/>
              </a:cxn>
              <a:cxn ang="0">
                <a:pos x="csX1030" y="csY1030"/>
              </a:cxn>
              <a:cxn ang="0">
                <a:pos x="csX1031" y="csY1031"/>
              </a:cxn>
              <a:cxn ang="0">
                <a:pos x="csX1032" y="csY1032"/>
              </a:cxn>
              <a:cxn ang="0">
                <a:pos x="csX1033" y="csY1033"/>
              </a:cxn>
              <a:cxn ang="0">
                <a:pos x="csX1034" y="csY1034"/>
              </a:cxn>
              <a:cxn ang="0">
                <a:pos x="csX1035" y="csY1035"/>
              </a:cxn>
              <a:cxn ang="0">
                <a:pos x="csX1036" y="csY1036"/>
              </a:cxn>
              <a:cxn ang="0">
                <a:pos x="csX1037" y="csY1037"/>
              </a:cxn>
              <a:cxn ang="0">
                <a:pos x="csX1038" y="csY1038"/>
              </a:cxn>
              <a:cxn ang="0">
                <a:pos x="csX1039" y="csY1039"/>
              </a:cxn>
              <a:cxn ang="0">
                <a:pos x="csX1040" y="csY1040"/>
              </a:cxn>
              <a:cxn ang="0">
                <a:pos x="csX1041" y="csY1041"/>
              </a:cxn>
              <a:cxn ang="0">
                <a:pos x="csX1042" y="csY1042"/>
              </a:cxn>
              <a:cxn ang="0">
                <a:pos x="csX1043" y="csY1043"/>
              </a:cxn>
              <a:cxn ang="0">
                <a:pos x="csX1044" y="csY1044"/>
              </a:cxn>
              <a:cxn ang="0">
                <a:pos x="csX1045" y="csY1045"/>
              </a:cxn>
              <a:cxn ang="0">
                <a:pos x="csX1046" y="csY1046"/>
              </a:cxn>
              <a:cxn ang="0">
                <a:pos x="csX1047" y="csY1047"/>
              </a:cxn>
              <a:cxn ang="0">
                <a:pos x="csX1048" y="csY1048"/>
              </a:cxn>
              <a:cxn ang="0">
                <a:pos x="csX1049" y="csY1049"/>
              </a:cxn>
              <a:cxn ang="0">
                <a:pos x="csX1050" y="csY1050"/>
              </a:cxn>
              <a:cxn ang="0">
                <a:pos x="csX1051" y="csY1051"/>
              </a:cxn>
              <a:cxn ang="0">
                <a:pos x="csX1052" y="csY1052"/>
              </a:cxn>
              <a:cxn ang="0">
                <a:pos x="csX1053" y="csY1053"/>
              </a:cxn>
              <a:cxn ang="0">
                <a:pos x="csX1054" y="csY1054"/>
              </a:cxn>
            </a:cxnLst>
            <a:rect l="l" t="t" r="r" b="b"/>
            <a:pathLst>
              <a:path w="1609516" h="1538630">
                <a:moveTo>
                  <a:pt x="401579" y="1495809"/>
                </a:moveTo>
                <a:lnTo>
                  <a:pt x="400190" y="1496004"/>
                </a:lnTo>
                <a:lnTo>
                  <a:pt x="401224" y="1496470"/>
                </a:lnTo>
                <a:lnTo>
                  <a:pt x="401224" y="1498590"/>
                </a:lnTo>
                <a:lnTo>
                  <a:pt x="401579" y="1498628"/>
                </a:lnTo>
                <a:cubicBezTo>
                  <a:pt x="401579" y="1497698"/>
                  <a:pt x="401579" y="1496768"/>
                  <a:pt x="401579" y="1495809"/>
                </a:cubicBezTo>
                <a:close/>
                <a:moveTo>
                  <a:pt x="368755" y="1486512"/>
                </a:moveTo>
                <a:lnTo>
                  <a:pt x="364089" y="1487354"/>
                </a:lnTo>
                <a:lnTo>
                  <a:pt x="364089" y="1487908"/>
                </a:lnTo>
                <a:close/>
                <a:moveTo>
                  <a:pt x="1049801" y="1484562"/>
                </a:moveTo>
                <a:lnTo>
                  <a:pt x="1046735" y="1485945"/>
                </a:lnTo>
                <a:lnTo>
                  <a:pt x="1046955" y="1486045"/>
                </a:lnTo>
                <a:lnTo>
                  <a:pt x="1049801" y="1485188"/>
                </a:lnTo>
                <a:close/>
                <a:moveTo>
                  <a:pt x="351234" y="1444508"/>
                </a:moveTo>
                <a:lnTo>
                  <a:pt x="351234" y="1444997"/>
                </a:lnTo>
                <a:lnTo>
                  <a:pt x="351592" y="1445078"/>
                </a:lnTo>
                <a:close/>
                <a:moveTo>
                  <a:pt x="351908" y="1431206"/>
                </a:moveTo>
                <a:lnTo>
                  <a:pt x="351234" y="1431611"/>
                </a:lnTo>
                <a:lnTo>
                  <a:pt x="351234" y="1432274"/>
                </a:lnTo>
                <a:close/>
                <a:moveTo>
                  <a:pt x="358162" y="1421494"/>
                </a:moveTo>
                <a:lnTo>
                  <a:pt x="355921" y="1423156"/>
                </a:lnTo>
                <a:lnTo>
                  <a:pt x="355921" y="1423548"/>
                </a:lnTo>
                <a:close/>
                <a:moveTo>
                  <a:pt x="376098" y="1408347"/>
                </a:moveTo>
                <a:lnTo>
                  <a:pt x="370750" y="1412245"/>
                </a:lnTo>
                <a:lnTo>
                  <a:pt x="375023" y="1411256"/>
                </a:lnTo>
                <a:close/>
                <a:moveTo>
                  <a:pt x="421956" y="1365623"/>
                </a:moveTo>
                <a:lnTo>
                  <a:pt x="421765" y="1366161"/>
                </a:lnTo>
                <a:lnTo>
                  <a:pt x="421887" y="1366161"/>
                </a:lnTo>
                <a:close/>
                <a:moveTo>
                  <a:pt x="754553" y="1360575"/>
                </a:moveTo>
                <a:lnTo>
                  <a:pt x="754089" y="1361433"/>
                </a:lnTo>
                <a:lnTo>
                  <a:pt x="754431" y="1361125"/>
                </a:lnTo>
                <a:close/>
                <a:moveTo>
                  <a:pt x="1277973" y="1332923"/>
                </a:moveTo>
                <a:lnTo>
                  <a:pt x="1277944" y="1332936"/>
                </a:lnTo>
                <a:lnTo>
                  <a:pt x="1277949" y="1333139"/>
                </a:lnTo>
                <a:close/>
                <a:moveTo>
                  <a:pt x="1268556" y="1321066"/>
                </a:moveTo>
                <a:cubicBezTo>
                  <a:pt x="1268556" y="1322461"/>
                  <a:pt x="1268556" y="1323856"/>
                  <a:pt x="1268556" y="1325294"/>
                </a:cubicBezTo>
                <a:cubicBezTo>
                  <a:pt x="1267525" y="1325294"/>
                  <a:pt x="1266495" y="1325294"/>
                  <a:pt x="1265432" y="1325294"/>
                </a:cubicBezTo>
                <a:cubicBezTo>
                  <a:pt x="1265432" y="1330409"/>
                  <a:pt x="1265432" y="1335525"/>
                  <a:pt x="1265432" y="1340795"/>
                </a:cubicBezTo>
                <a:lnTo>
                  <a:pt x="1265476" y="1340714"/>
                </a:lnTo>
                <a:lnTo>
                  <a:pt x="1265476" y="1325877"/>
                </a:lnTo>
                <a:cubicBezTo>
                  <a:pt x="1266507" y="1325877"/>
                  <a:pt x="1267538" y="1325877"/>
                  <a:pt x="1268600" y="1325877"/>
                </a:cubicBezTo>
                <a:cubicBezTo>
                  <a:pt x="1268600" y="1324482"/>
                  <a:pt x="1268600" y="1323086"/>
                  <a:pt x="1268600" y="1321649"/>
                </a:cubicBezTo>
                <a:cubicBezTo>
                  <a:pt x="1270147" y="1321649"/>
                  <a:pt x="1271693" y="1321649"/>
                  <a:pt x="1273286" y="1321649"/>
                </a:cubicBezTo>
                <a:lnTo>
                  <a:pt x="1273227" y="1321066"/>
                </a:lnTo>
                <a:close/>
                <a:moveTo>
                  <a:pt x="827891" y="1291474"/>
                </a:moveTo>
                <a:lnTo>
                  <a:pt x="822601" y="1291544"/>
                </a:lnTo>
                <a:lnTo>
                  <a:pt x="818272" y="1292220"/>
                </a:lnTo>
                <a:lnTo>
                  <a:pt x="827891" y="1292047"/>
                </a:lnTo>
                <a:close/>
                <a:moveTo>
                  <a:pt x="856397" y="1288691"/>
                </a:moveTo>
                <a:lnTo>
                  <a:pt x="865903" y="1290590"/>
                </a:lnTo>
                <a:lnTo>
                  <a:pt x="859999" y="1288752"/>
                </a:lnTo>
                <a:close/>
                <a:moveTo>
                  <a:pt x="834694" y="1288572"/>
                </a:moveTo>
                <a:lnTo>
                  <a:pt x="828038" y="1288654"/>
                </a:lnTo>
                <a:lnTo>
                  <a:pt x="828038" y="1289214"/>
                </a:lnTo>
                <a:close/>
                <a:moveTo>
                  <a:pt x="229746" y="1191418"/>
                </a:moveTo>
                <a:lnTo>
                  <a:pt x="227402" y="1191947"/>
                </a:lnTo>
                <a:lnTo>
                  <a:pt x="229315" y="1191947"/>
                </a:lnTo>
                <a:cubicBezTo>
                  <a:pt x="229315" y="1192877"/>
                  <a:pt x="229315" y="1193807"/>
                  <a:pt x="229315" y="1194765"/>
                </a:cubicBezTo>
                <a:lnTo>
                  <a:pt x="231321" y="1194765"/>
                </a:lnTo>
                <a:lnTo>
                  <a:pt x="229746" y="1194236"/>
                </a:lnTo>
                <a:cubicBezTo>
                  <a:pt x="229746" y="1193306"/>
                  <a:pt x="229746" y="1192376"/>
                  <a:pt x="229746" y="1191418"/>
                </a:cubicBezTo>
                <a:close/>
                <a:moveTo>
                  <a:pt x="215687" y="1187190"/>
                </a:moveTo>
                <a:lnTo>
                  <a:pt x="215198" y="1187720"/>
                </a:lnTo>
                <a:lnTo>
                  <a:pt x="215256" y="1187720"/>
                </a:lnTo>
                <a:cubicBezTo>
                  <a:pt x="215256" y="1189115"/>
                  <a:pt x="215256" y="1190510"/>
                  <a:pt x="215256" y="1191947"/>
                </a:cubicBezTo>
                <a:lnTo>
                  <a:pt x="222721" y="1191947"/>
                </a:lnTo>
                <a:lnTo>
                  <a:pt x="215687" y="1191418"/>
                </a:lnTo>
                <a:cubicBezTo>
                  <a:pt x="215687" y="1190023"/>
                  <a:pt x="215687" y="1188628"/>
                  <a:pt x="215687" y="1187190"/>
                </a:cubicBezTo>
                <a:close/>
                <a:moveTo>
                  <a:pt x="1279678" y="1082356"/>
                </a:moveTo>
                <a:lnTo>
                  <a:pt x="1271680" y="1084589"/>
                </a:lnTo>
                <a:lnTo>
                  <a:pt x="1282181" y="1082544"/>
                </a:lnTo>
                <a:close/>
                <a:moveTo>
                  <a:pt x="117703" y="941507"/>
                </a:moveTo>
                <a:lnTo>
                  <a:pt x="112587" y="941985"/>
                </a:lnTo>
                <a:lnTo>
                  <a:pt x="112565" y="942333"/>
                </a:lnTo>
                <a:lnTo>
                  <a:pt x="115665" y="941837"/>
                </a:lnTo>
                <a:close/>
                <a:moveTo>
                  <a:pt x="144268" y="939395"/>
                </a:moveTo>
                <a:lnTo>
                  <a:pt x="143354" y="939580"/>
                </a:lnTo>
                <a:lnTo>
                  <a:pt x="144077" y="939739"/>
                </a:lnTo>
                <a:close/>
                <a:moveTo>
                  <a:pt x="162575" y="933530"/>
                </a:moveTo>
                <a:lnTo>
                  <a:pt x="161704" y="935101"/>
                </a:lnTo>
                <a:lnTo>
                  <a:pt x="170045" y="933585"/>
                </a:lnTo>
                <a:close/>
                <a:moveTo>
                  <a:pt x="1321645" y="918415"/>
                </a:moveTo>
                <a:lnTo>
                  <a:pt x="1321534" y="920177"/>
                </a:lnTo>
                <a:lnTo>
                  <a:pt x="1321740" y="918415"/>
                </a:lnTo>
                <a:close/>
                <a:moveTo>
                  <a:pt x="1319333" y="915183"/>
                </a:moveTo>
                <a:lnTo>
                  <a:pt x="1318544" y="918029"/>
                </a:lnTo>
                <a:lnTo>
                  <a:pt x="1318702" y="918029"/>
                </a:lnTo>
                <a:close/>
                <a:moveTo>
                  <a:pt x="1326355" y="907109"/>
                </a:moveTo>
                <a:lnTo>
                  <a:pt x="1326355" y="910983"/>
                </a:lnTo>
                <a:lnTo>
                  <a:pt x="1325831" y="911101"/>
                </a:lnTo>
                <a:lnTo>
                  <a:pt x="1326426" y="911369"/>
                </a:lnTo>
                <a:cubicBezTo>
                  <a:pt x="1326426" y="909974"/>
                  <a:pt x="1326426" y="908579"/>
                  <a:pt x="1326426" y="907141"/>
                </a:cubicBezTo>
                <a:close/>
                <a:moveTo>
                  <a:pt x="1328144" y="892192"/>
                </a:moveTo>
                <a:lnTo>
                  <a:pt x="1327667" y="893446"/>
                </a:lnTo>
                <a:lnTo>
                  <a:pt x="1327989" y="893049"/>
                </a:lnTo>
                <a:close/>
                <a:moveTo>
                  <a:pt x="49605" y="887420"/>
                </a:moveTo>
                <a:lnTo>
                  <a:pt x="48549" y="891229"/>
                </a:lnTo>
                <a:lnTo>
                  <a:pt x="49956" y="887420"/>
                </a:lnTo>
                <a:close/>
                <a:moveTo>
                  <a:pt x="1332266" y="883369"/>
                </a:moveTo>
                <a:lnTo>
                  <a:pt x="1329479" y="884207"/>
                </a:lnTo>
                <a:lnTo>
                  <a:pt x="1329509" y="884816"/>
                </a:lnTo>
                <a:lnTo>
                  <a:pt x="1329551" y="884594"/>
                </a:lnTo>
                <a:close/>
                <a:moveTo>
                  <a:pt x="1555987" y="821766"/>
                </a:moveTo>
                <a:lnTo>
                  <a:pt x="1555987" y="822201"/>
                </a:lnTo>
                <a:lnTo>
                  <a:pt x="1556081" y="822189"/>
                </a:lnTo>
                <a:close/>
                <a:moveTo>
                  <a:pt x="1565360" y="810928"/>
                </a:moveTo>
                <a:lnTo>
                  <a:pt x="1564871" y="811809"/>
                </a:lnTo>
                <a:lnTo>
                  <a:pt x="1567314" y="810928"/>
                </a:lnTo>
                <a:close/>
                <a:moveTo>
                  <a:pt x="1563797" y="810928"/>
                </a:moveTo>
                <a:lnTo>
                  <a:pt x="1556762" y="814736"/>
                </a:lnTo>
                <a:lnTo>
                  <a:pt x="1563797" y="812197"/>
                </a:lnTo>
                <a:close/>
                <a:moveTo>
                  <a:pt x="265833" y="806020"/>
                </a:moveTo>
                <a:lnTo>
                  <a:pt x="263704" y="809861"/>
                </a:lnTo>
                <a:lnTo>
                  <a:pt x="263704" y="816750"/>
                </a:lnTo>
                <a:lnTo>
                  <a:pt x="264113" y="816565"/>
                </a:lnTo>
                <a:cubicBezTo>
                  <a:pt x="264048" y="815315"/>
                  <a:pt x="263984" y="814065"/>
                  <a:pt x="263918" y="812777"/>
                </a:cubicBezTo>
                <a:close/>
                <a:moveTo>
                  <a:pt x="263774" y="779374"/>
                </a:moveTo>
                <a:lnTo>
                  <a:pt x="263704" y="783086"/>
                </a:lnTo>
                <a:cubicBezTo>
                  <a:pt x="263961" y="783987"/>
                  <a:pt x="264219" y="784888"/>
                  <a:pt x="264484" y="785816"/>
                </a:cubicBezTo>
                <a:cubicBezTo>
                  <a:pt x="265299" y="788846"/>
                  <a:pt x="265316" y="791337"/>
                  <a:pt x="265265" y="794448"/>
                </a:cubicBezTo>
                <a:cubicBezTo>
                  <a:pt x="265103" y="797155"/>
                  <a:pt x="265022" y="798508"/>
                  <a:pt x="265217" y="799730"/>
                </a:cubicBezTo>
                <a:lnTo>
                  <a:pt x="266556" y="803466"/>
                </a:lnTo>
                <a:lnTo>
                  <a:pt x="267237" y="801063"/>
                </a:lnTo>
                <a:cubicBezTo>
                  <a:pt x="266721" y="800598"/>
                  <a:pt x="266206" y="800133"/>
                  <a:pt x="265675" y="799654"/>
                </a:cubicBezTo>
                <a:cubicBezTo>
                  <a:pt x="265601" y="797718"/>
                  <a:pt x="265617" y="795778"/>
                  <a:pt x="265675" y="793841"/>
                </a:cubicBezTo>
                <a:close/>
                <a:moveTo>
                  <a:pt x="260988" y="770061"/>
                </a:moveTo>
                <a:lnTo>
                  <a:pt x="260988" y="771364"/>
                </a:lnTo>
                <a:lnTo>
                  <a:pt x="263497" y="777263"/>
                </a:lnTo>
                <a:lnTo>
                  <a:pt x="262551" y="770061"/>
                </a:lnTo>
                <a:cubicBezTo>
                  <a:pt x="262035" y="770061"/>
                  <a:pt x="261520" y="770061"/>
                  <a:pt x="260988" y="770061"/>
                </a:cubicBezTo>
                <a:close/>
                <a:moveTo>
                  <a:pt x="157888" y="651686"/>
                </a:moveTo>
                <a:lnTo>
                  <a:pt x="157415" y="651764"/>
                </a:lnTo>
                <a:lnTo>
                  <a:pt x="160373" y="652274"/>
                </a:lnTo>
                <a:close/>
                <a:moveTo>
                  <a:pt x="267237" y="426537"/>
                </a:moveTo>
                <a:lnTo>
                  <a:pt x="267237" y="427619"/>
                </a:lnTo>
                <a:cubicBezTo>
                  <a:pt x="268274" y="427791"/>
                  <a:pt x="269311" y="427961"/>
                  <a:pt x="270380" y="428137"/>
                </a:cubicBezTo>
                <a:lnTo>
                  <a:pt x="273548" y="428680"/>
                </a:lnTo>
                <a:close/>
                <a:moveTo>
                  <a:pt x="37605" y="359270"/>
                </a:moveTo>
                <a:lnTo>
                  <a:pt x="37103" y="361533"/>
                </a:lnTo>
                <a:lnTo>
                  <a:pt x="37605" y="361382"/>
                </a:lnTo>
                <a:close/>
                <a:moveTo>
                  <a:pt x="52477" y="337570"/>
                </a:moveTo>
                <a:lnTo>
                  <a:pt x="47288" y="342340"/>
                </a:lnTo>
                <a:lnTo>
                  <a:pt x="45805" y="345093"/>
                </a:lnTo>
                <a:close/>
                <a:moveTo>
                  <a:pt x="104291" y="336166"/>
                </a:moveTo>
                <a:lnTo>
                  <a:pt x="103776" y="337559"/>
                </a:lnTo>
                <a:lnTo>
                  <a:pt x="108925" y="336166"/>
                </a:lnTo>
                <a:close/>
                <a:moveTo>
                  <a:pt x="1309237" y="322954"/>
                </a:moveTo>
                <a:lnTo>
                  <a:pt x="1309180" y="330559"/>
                </a:lnTo>
                <a:lnTo>
                  <a:pt x="1309237" y="330520"/>
                </a:lnTo>
                <a:close/>
                <a:moveTo>
                  <a:pt x="1308964" y="317715"/>
                </a:moveTo>
                <a:lnTo>
                  <a:pt x="1309237" y="318569"/>
                </a:lnTo>
                <a:lnTo>
                  <a:pt x="1309237" y="317838"/>
                </a:lnTo>
                <a:close/>
                <a:moveTo>
                  <a:pt x="1310087" y="313153"/>
                </a:moveTo>
                <a:lnTo>
                  <a:pt x="1307609" y="313473"/>
                </a:lnTo>
                <a:lnTo>
                  <a:pt x="1308045" y="314836"/>
                </a:lnTo>
                <a:close/>
                <a:moveTo>
                  <a:pt x="1318544" y="312064"/>
                </a:moveTo>
                <a:lnTo>
                  <a:pt x="1316298" y="312353"/>
                </a:lnTo>
                <a:lnTo>
                  <a:pt x="1318544" y="312205"/>
                </a:lnTo>
                <a:close/>
                <a:moveTo>
                  <a:pt x="1084622" y="267674"/>
                </a:moveTo>
                <a:lnTo>
                  <a:pt x="1084227" y="268378"/>
                </a:lnTo>
                <a:cubicBezTo>
                  <a:pt x="1082679" y="268378"/>
                  <a:pt x="1081133" y="268378"/>
                  <a:pt x="1079540" y="268378"/>
                </a:cubicBezTo>
                <a:lnTo>
                  <a:pt x="1079603" y="268477"/>
                </a:lnTo>
                <a:lnTo>
                  <a:pt x="1084192" y="268477"/>
                </a:lnTo>
                <a:close/>
                <a:moveTo>
                  <a:pt x="956410" y="266968"/>
                </a:moveTo>
                <a:lnTo>
                  <a:pt x="957576" y="267083"/>
                </a:lnTo>
                <a:lnTo>
                  <a:pt x="957576" y="269776"/>
                </a:lnTo>
                <a:lnTo>
                  <a:pt x="957694" y="269787"/>
                </a:lnTo>
                <a:cubicBezTo>
                  <a:pt x="957694" y="268857"/>
                  <a:pt x="957694" y="267927"/>
                  <a:pt x="957694" y="266968"/>
                </a:cubicBezTo>
                <a:close/>
                <a:moveTo>
                  <a:pt x="1089372" y="259220"/>
                </a:moveTo>
                <a:lnTo>
                  <a:pt x="1085856" y="265479"/>
                </a:lnTo>
                <a:lnTo>
                  <a:pt x="1088878" y="261431"/>
                </a:lnTo>
                <a:close/>
                <a:moveTo>
                  <a:pt x="1018517" y="223356"/>
                </a:moveTo>
                <a:lnTo>
                  <a:pt x="1013866" y="226190"/>
                </a:lnTo>
                <a:lnTo>
                  <a:pt x="1013024" y="227709"/>
                </a:lnTo>
                <a:lnTo>
                  <a:pt x="1017055" y="224692"/>
                </a:lnTo>
                <a:close/>
                <a:moveTo>
                  <a:pt x="850645" y="220099"/>
                </a:moveTo>
                <a:lnTo>
                  <a:pt x="850897" y="221488"/>
                </a:lnTo>
                <a:cubicBezTo>
                  <a:pt x="851086" y="222545"/>
                  <a:pt x="851275" y="223602"/>
                  <a:pt x="851470" y="224692"/>
                </a:cubicBezTo>
                <a:lnTo>
                  <a:pt x="852860" y="224692"/>
                </a:lnTo>
                <a:close/>
                <a:moveTo>
                  <a:pt x="1155019" y="35"/>
                </a:moveTo>
                <a:cubicBezTo>
                  <a:pt x="1161775" y="275"/>
                  <a:pt x="1168415" y="1783"/>
                  <a:pt x="1174829" y="4853"/>
                </a:cubicBezTo>
                <a:cubicBezTo>
                  <a:pt x="1176343" y="5231"/>
                  <a:pt x="1177858" y="5609"/>
                  <a:pt x="1179418" y="5998"/>
                </a:cubicBezTo>
                <a:cubicBezTo>
                  <a:pt x="1189392" y="9487"/>
                  <a:pt x="1196322" y="14392"/>
                  <a:pt x="1201385" y="22997"/>
                </a:cubicBezTo>
                <a:cubicBezTo>
                  <a:pt x="1206849" y="35244"/>
                  <a:pt x="1206940" y="49865"/>
                  <a:pt x="1201678" y="62191"/>
                </a:cubicBezTo>
                <a:cubicBezTo>
                  <a:pt x="1200594" y="64241"/>
                  <a:pt x="1199461" y="66271"/>
                  <a:pt x="1198261" y="68268"/>
                </a:cubicBezTo>
                <a:cubicBezTo>
                  <a:pt x="1197423" y="69721"/>
                  <a:pt x="1196586" y="71175"/>
                  <a:pt x="1195723" y="72672"/>
                </a:cubicBezTo>
                <a:cubicBezTo>
                  <a:pt x="1194659" y="73980"/>
                  <a:pt x="1194659" y="73980"/>
                  <a:pt x="1193575" y="75314"/>
                </a:cubicBezTo>
                <a:cubicBezTo>
                  <a:pt x="1192544" y="75314"/>
                  <a:pt x="1191512" y="75314"/>
                  <a:pt x="1190450" y="75314"/>
                </a:cubicBezTo>
                <a:cubicBezTo>
                  <a:pt x="1190128" y="76651"/>
                  <a:pt x="1189806" y="77988"/>
                  <a:pt x="1189474" y="79366"/>
                </a:cubicBezTo>
                <a:cubicBezTo>
                  <a:pt x="1187326" y="83769"/>
                  <a:pt x="1187326" y="83769"/>
                  <a:pt x="1182445" y="85707"/>
                </a:cubicBezTo>
                <a:cubicBezTo>
                  <a:pt x="1180962" y="85998"/>
                  <a:pt x="1179480" y="86289"/>
                  <a:pt x="1177953" y="86588"/>
                </a:cubicBezTo>
                <a:cubicBezTo>
                  <a:pt x="1177953" y="87518"/>
                  <a:pt x="1177953" y="88448"/>
                  <a:pt x="1177953" y="89406"/>
                </a:cubicBezTo>
                <a:cubicBezTo>
                  <a:pt x="1175369" y="91088"/>
                  <a:pt x="1172720" y="92688"/>
                  <a:pt x="1170045" y="94251"/>
                </a:cubicBezTo>
                <a:cubicBezTo>
                  <a:pt x="1154651" y="104199"/>
                  <a:pt x="1148918" y="116979"/>
                  <a:pt x="1143806" y="132828"/>
                </a:cubicBezTo>
                <a:cubicBezTo>
                  <a:pt x="1142095" y="137144"/>
                  <a:pt x="1140989" y="138617"/>
                  <a:pt x="1137338" y="141548"/>
                </a:cubicBezTo>
                <a:cubicBezTo>
                  <a:pt x="1136166" y="144148"/>
                  <a:pt x="1134992" y="146751"/>
                  <a:pt x="1133970" y="149403"/>
                </a:cubicBezTo>
                <a:cubicBezTo>
                  <a:pt x="1132069" y="154334"/>
                  <a:pt x="1130006" y="159210"/>
                  <a:pt x="1127965" y="164095"/>
                </a:cubicBezTo>
                <a:cubicBezTo>
                  <a:pt x="1126897" y="166664"/>
                  <a:pt x="1125830" y="169233"/>
                  <a:pt x="1124762" y="171802"/>
                </a:cubicBezTo>
                <a:cubicBezTo>
                  <a:pt x="1122961" y="176134"/>
                  <a:pt x="1121160" y="180466"/>
                  <a:pt x="1119359" y="184798"/>
                </a:cubicBezTo>
                <a:cubicBezTo>
                  <a:pt x="1116567" y="191508"/>
                  <a:pt x="1113778" y="198220"/>
                  <a:pt x="1111014" y="204941"/>
                </a:cubicBezTo>
                <a:cubicBezTo>
                  <a:pt x="1110590" y="205970"/>
                  <a:pt x="1110165" y="206999"/>
                  <a:pt x="1109729" y="208059"/>
                </a:cubicBezTo>
                <a:cubicBezTo>
                  <a:pt x="1108615" y="210762"/>
                  <a:pt x="1107505" y="213466"/>
                  <a:pt x="1106395" y="216170"/>
                </a:cubicBezTo>
                <a:cubicBezTo>
                  <a:pt x="1104320" y="220956"/>
                  <a:pt x="1103283" y="223349"/>
                  <a:pt x="1102147" y="224810"/>
                </a:cubicBezTo>
                <a:lnTo>
                  <a:pt x="1098261" y="227262"/>
                </a:lnTo>
                <a:lnTo>
                  <a:pt x="1098367" y="238475"/>
                </a:lnTo>
                <a:cubicBezTo>
                  <a:pt x="1098025" y="239757"/>
                  <a:pt x="1097684" y="241038"/>
                  <a:pt x="1097331" y="242358"/>
                </a:cubicBezTo>
                <a:cubicBezTo>
                  <a:pt x="1096958" y="243711"/>
                  <a:pt x="1096585" y="245064"/>
                  <a:pt x="1096201" y="246458"/>
                </a:cubicBezTo>
                <a:cubicBezTo>
                  <a:pt x="1093302" y="257363"/>
                  <a:pt x="1090901" y="268062"/>
                  <a:pt x="1089440" y="279206"/>
                </a:cubicBezTo>
                <a:cubicBezTo>
                  <a:pt x="1088878" y="282569"/>
                  <a:pt x="1088878" y="282569"/>
                  <a:pt x="1087316" y="283978"/>
                </a:cubicBezTo>
                <a:cubicBezTo>
                  <a:pt x="1087070" y="286587"/>
                  <a:pt x="1086924" y="289205"/>
                  <a:pt x="1086822" y="291822"/>
                </a:cubicBezTo>
                <a:cubicBezTo>
                  <a:pt x="1086756" y="293408"/>
                  <a:pt x="1086691" y="294993"/>
                  <a:pt x="1086623" y="296625"/>
                </a:cubicBezTo>
                <a:cubicBezTo>
                  <a:pt x="1086562" y="298294"/>
                  <a:pt x="1086501" y="299962"/>
                  <a:pt x="1086437" y="301681"/>
                </a:cubicBezTo>
                <a:cubicBezTo>
                  <a:pt x="1086336" y="304192"/>
                  <a:pt x="1086336" y="304192"/>
                  <a:pt x="1086233" y="306754"/>
                </a:cubicBezTo>
                <a:lnTo>
                  <a:pt x="1086007" y="312619"/>
                </a:lnTo>
                <a:lnTo>
                  <a:pt x="1087470" y="320554"/>
                </a:lnTo>
                <a:cubicBezTo>
                  <a:pt x="1089648" y="325409"/>
                  <a:pt x="1093111" y="329799"/>
                  <a:pt x="1098285" y="334611"/>
                </a:cubicBezTo>
                <a:cubicBezTo>
                  <a:pt x="1100424" y="336130"/>
                  <a:pt x="1100424" y="336130"/>
                  <a:pt x="1102607" y="337679"/>
                </a:cubicBezTo>
                <a:cubicBezTo>
                  <a:pt x="1104334" y="338951"/>
                  <a:pt x="1104334" y="338951"/>
                  <a:pt x="1106095" y="340248"/>
                </a:cubicBezTo>
                <a:cubicBezTo>
                  <a:pt x="1106095" y="341178"/>
                  <a:pt x="1106095" y="342108"/>
                  <a:pt x="1106095" y="343066"/>
                </a:cubicBezTo>
                <a:cubicBezTo>
                  <a:pt x="1107127" y="343183"/>
                  <a:pt x="1108158" y="343299"/>
                  <a:pt x="1109220" y="343419"/>
                </a:cubicBezTo>
                <a:cubicBezTo>
                  <a:pt x="1115473" y="344829"/>
                  <a:pt x="1120724" y="347416"/>
                  <a:pt x="1126403" y="350112"/>
                </a:cubicBezTo>
                <a:cubicBezTo>
                  <a:pt x="1128207" y="350926"/>
                  <a:pt x="1130012" y="351740"/>
                  <a:pt x="1131871" y="352579"/>
                </a:cubicBezTo>
                <a:cubicBezTo>
                  <a:pt x="1133159" y="353160"/>
                  <a:pt x="1134448" y="353741"/>
                  <a:pt x="1135776" y="354340"/>
                </a:cubicBezTo>
                <a:cubicBezTo>
                  <a:pt x="1135776" y="355270"/>
                  <a:pt x="1135776" y="356200"/>
                  <a:pt x="1135776" y="357158"/>
                </a:cubicBezTo>
                <a:cubicBezTo>
                  <a:pt x="1148107" y="360029"/>
                  <a:pt x="1158679" y="359101"/>
                  <a:pt x="1170143" y="354340"/>
                </a:cubicBezTo>
                <a:cubicBezTo>
                  <a:pt x="1172366" y="353468"/>
                  <a:pt x="1172366" y="353468"/>
                  <a:pt x="1174634" y="352579"/>
                </a:cubicBezTo>
                <a:cubicBezTo>
                  <a:pt x="1180354" y="349689"/>
                  <a:pt x="1185568" y="346355"/>
                  <a:pt x="1190890" y="342907"/>
                </a:cubicBezTo>
                <a:cubicBezTo>
                  <a:pt x="1195169" y="340228"/>
                  <a:pt x="1199557" y="337821"/>
                  <a:pt x="1204021" y="335404"/>
                </a:cubicBezTo>
                <a:cubicBezTo>
                  <a:pt x="1211989" y="330886"/>
                  <a:pt x="1217509" y="325766"/>
                  <a:pt x="1223255" y="319110"/>
                </a:cubicBezTo>
                <a:cubicBezTo>
                  <a:pt x="1224447" y="317947"/>
                  <a:pt x="1225639" y="316784"/>
                  <a:pt x="1226868" y="315587"/>
                </a:cubicBezTo>
                <a:cubicBezTo>
                  <a:pt x="1229855" y="311593"/>
                  <a:pt x="1230852" y="308240"/>
                  <a:pt x="1231859" y="303559"/>
                </a:cubicBezTo>
                <a:cubicBezTo>
                  <a:pt x="1232628" y="300790"/>
                  <a:pt x="1232628" y="300790"/>
                  <a:pt x="1234178" y="298059"/>
                </a:cubicBezTo>
                <a:cubicBezTo>
                  <a:pt x="1235964" y="294761"/>
                  <a:pt x="1236623" y="291807"/>
                  <a:pt x="1237314" y="288195"/>
                </a:cubicBezTo>
                <a:cubicBezTo>
                  <a:pt x="1239360" y="278571"/>
                  <a:pt x="1242414" y="272733"/>
                  <a:pt x="1249811" y="265559"/>
                </a:cubicBezTo>
                <a:cubicBezTo>
                  <a:pt x="1250842" y="265559"/>
                  <a:pt x="1251873" y="265559"/>
                  <a:pt x="1252935" y="265559"/>
                </a:cubicBezTo>
                <a:cubicBezTo>
                  <a:pt x="1252935" y="264629"/>
                  <a:pt x="1252935" y="263699"/>
                  <a:pt x="1252935" y="262741"/>
                </a:cubicBezTo>
                <a:cubicBezTo>
                  <a:pt x="1265591" y="253427"/>
                  <a:pt x="1280762" y="251648"/>
                  <a:pt x="1296675" y="252876"/>
                </a:cubicBezTo>
                <a:cubicBezTo>
                  <a:pt x="1300535" y="253563"/>
                  <a:pt x="1303901" y="254478"/>
                  <a:pt x="1307609" y="255695"/>
                </a:cubicBezTo>
                <a:cubicBezTo>
                  <a:pt x="1307609" y="256625"/>
                  <a:pt x="1307609" y="257555"/>
                  <a:pt x="1307609" y="258513"/>
                </a:cubicBezTo>
                <a:cubicBezTo>
                  <a:pt x="1309021" y="258619"/>
                  <a:pt x="1310432" y="258723"/>
                  <a:pt x="1311887" y="258832"/>
                </a:cubicBezTo>
                <a:cubicBezTo>
                  <a:pt x="1319573" y="260476"/>
                  <a:pt x="1322149" y="264416"/>
                  <a:pt x="1326715" y="269969"/>
                </a:cubicBezTo>
                <a:cubicBezTo>
                  <a:pt x="1334402" y="281220"/>
                  <a:pt x="1336114" y="294839"/>
                  <a:pt x="1334165" y="307836"/>
                </a:cubicBezTo>
                <a:cubicBezTo>
                  <a:pt x="1332176" y="311898"/>
                  <a:pt x="1332176" y="311898"/>
                  <a:pt x="1329479" y="314882"/>
                </a:cubicBezTo>
                <a:cubicBezTo>
                  <a:pt x="1327417" y="314882"/>
                  <a:pt x="1325355" y="314882"/>
                  <a:pt x="1323231" y="314882"/>
                </a:cubicBezTo>
                <a:cubicBezTo>
                  <a:pt x="1323231" y="315812"/>
                  <a:pt x="1323231" y="316742"/>
                  <a:pt x="1323231" y="317700"/>
                </a:cubicBezTo>
                <a:lnTo>
                  <a:pt x="1322774" y="317838"/>
                </a:lnTo>
                <a:lnTo>
                  <a:pt x="1323295" y="317838"/>
                </a:lnTo>
                <a:cubicBezTo>
                  <a:pt x="1323295" y="316907"/>
                  <a:pt x="1323295" y="315977"/>
                  <a:pt x="1323295" y="315019"/>
                </a:cubicBezTo>
                <a:cubicBezTo>
                  <a:pt x="1324842" y="315019"/>
                  <a:pt x="1326388" y="315019"/>
                  <a:pt x="1327982" y="315019"/>
                </a:cubicBezTo>
                <a:cubicBezTo>
                  <a:pt x="1325845" y="321328"/>
                  <a:pt x="1322753" y="323742"/>
                  <a:pt x="1317047" y="327702"/>
                </a:cubicBezTo>
                <a:cubicBezTo>
                  <a:pt x="1316531" y="329097"/>
                  <a:pt x="1316016" y="330492"/>
                  <a:pt x="1315484" y="331930"/>
                </a:cubicBezTo>
                <a:cubicBezTo>
                  <a:pt x="1312599" y="332959"/>
                  <a:pt x="1312599" y="332959"/>
                  <a:pt x="1309139" y="333603"/>
                </a:cubicBezTo>
                <a:cubicBezTo>
                  <a:pt x="1307993" y="333827"/>
                  <a:pt x="1306847" y="334050"/>
                  <a:pt x="1305666" y="334280"/>
                </a:cubicBezTo>
                <a:cubicBezTo>
                  <a:pt x="1304783" y="334434"/>
                  <a:pt x="1303899" y="334589"/>
                  <a:pt x="1302988" y="334748"/>
                </a:cubicBezTo>
                <a:lnTo>
                  <a:pt x="1305905" y="332775"/>
                </a:lnTo>
                <a:lnTo>
                  <a:pt x="1304485" y="333202"/>
                </a:lnTo>
                <a:cubicBezTo>
                  <a:pt x="1302987" y="334640"/>
                  <a:pt x="1302987" y="334640"/>
                  <a:pt x="1301459" y="336108"/>
                </a:cubicBezTo>
                <a:cubicBezTo>
                  <a:pt x="1298237" y="338839"/>
                  <a:pt x="1298237" y="338839"/>
                  <a:pt x="1291989" y="338839"/>
                </a:cubicBezTo>
                <a:cubicBezTo>
                  <a:pt x="1291473" y="340234"/>
                  <a:pt x="1290957" y="341629"/>
                  <a:pt x="1290426" y="343066"/>
                </a:cubicBezTo>
                <a:cubicBezTo>
                  <a:pt x="1288879" y="343415"/>
                  <a:pt x="1287333" y="343764"/>
                  <a:pt x="1285740" y="344123"/>
                </a:cubicBezTo>
                <a:cubicBezTo>
                  <a:pt x="1266905" y="348491"/>
                  <a:pt x="1249005" y="369098"/>
                  <a:pt x="1237314" y="382525"/>
                </a:cubicBezTo>
                <a:cubicBezTo>
                  <a:pt x="1235678" y="385783"/>
                  <a:pt x="1234122" y="389075"/>
                  <a:pt x="1232628" y="392389"/>
                </a:cubicBezTo>
                <a:cubicBezTo>
                  <a:pt x="1231317" y="394515"/>
                  <a:pt x="1229981" y="396629"/>
                  <a:pt x="1228625" y="398731"/>
                </a:cubicBezTo>
                <a:cubicBezTo>
                  <a:pt x="1221457" y="410300"/>
                  <a:pt x="1219465" y="421836"/>
                  <a:pt x="1222822" y="434798"/>
                </a:cubicBezTo>
                <a:cubicBezTo>
                  <a:pt x="1229360" y="453710"/>
                  <a:pt x="1244088" y="472467"/>
                  <a:pt x="1260746" y="485398"/>
                </a:cubicBezTo>
                <a:cubicBezTo>
                  <a:pt x="1264961" y="487349"/>
                  <a:pt x="1264961" y="487349"/>
                  <a:pt x="1268556" y="488216"/>
                </a:cubicBezTo>
                <a:cubicBezTo>
                  <a:pt x="1268556" y="489146"/>
                  <a:pt x="1268556" y="490076"/>
                  <a:pt x="1268556" y="491034"/>
                </a:cubicBezTo>
                <a:cubicBezTo>
                  <a:pt x="1288790" y="497071"/>
                  <a:pt x="1319055" y="498555"/>
                  <a:pt x="1338852" y="489625"/>
                </a:cubicBezTo>
                <a:cubicBezTo>
                  <a:pt x="1341711" y="489213"/>
                  <a:pt x="1344575" y="488837"/>
                  <a:pt x="1347444" y="488480"/>
                </a:cubicBezTo>
                <a:cubicBezTo>
                  <a:pt x="1355372" y="487345"/>
                  <a:pt x="1362033" y="485390"/>
                  <a:pt x="1369362" y="482513"/>
                </a:cubicBezTo>
                <a:cubicBezTo>
                  <a:pt x="1375665" y="480318"/>
                  <a:pt x="1382189" y="479322"/>
                  <a:pt x="1388840" y="478351"/>
                </a:cubicBezTo>
                <a:cubicBezTo>
                  <a:pt x="1388840" y="477421"/>
                  <a:pt x="1388840" y="476492"/>
                  <a:pt x="1388840" y="475533"/>
                </a:cubicBezTo>
                <a:cubicBezTo>
                  <a:pt x="1391083" y="474821"/>
                  <a:pt x="1393329" y="474118"/>
                  <a:pt x="1395576" y="473419"/>
                </a:cubicBezTo>
                <a:cubicBezTo>
                  <a:pt x="1396827" y="473027"/>
                  <a:pt x="1398077" y="472635"/>
                  <a:pt x="1399365" y="472230"/>
                </a:cubicBezTo>
                <a:cubicBezTo>
                  <a:pt x="1402899" y="471305"/>
                  <a:pt x="1402899" y="471305"/>
                  <a:pt x="1407585" y="471305"/>
                </a:cubicBezTo>
                <a:cubicBezTo>
                  <a:pt x="1408101" y="469910"/>
                  <a:pt x="1408616" y="468515"/>
                  <a:pt x="1409147" y="467078"/>
                </a:cubicBezTo>
                <a:cubicBezTo>
                  <a:pt x="1412388" y="465580"/>
                  <a:pt x="1412388" y="465580"/>
                  <a:pt x="1416470" y="464259"/>
                </a:cubicBezTo>
                <a:cubicBezTo>
                  <a:pt x="1424029" y="461705"/>
                  <a:pt x="1431130" y="458955"/>
                  <a:pt x="1437949" y="455011"/>
                </a:cubicBezTo>
                <a:cubicBezTo>
                  <a:pt x="1442765" y="452574"/>
                  <a:pt x="1447553" y="451394"/>
                  <a:pt x="1452887" y="450167"/>
                </a:cubicBezTo>
                <a:cubicBezTo>
                  <a:pt x="1452887" y="449237"/>
                  <a:pt x="1452887" y="448307"/>
                  <a:pt x="1452887" y="447349"/>
                </a:cubicBezTo>
                <a:cubicBezTo>
                  <a:pt x="1453714" y="446944"/>
                  <a:pt x="1454541" y="446539"/>
                  <a:pt x="1455394" y="446122"/>
                </a:cubicBezTo>
                <a:cubicBezTo>
                  <a:pt x="1459151" y="444278"/>
                  <a:pt x="1462902" y="442422"/>
                  <a:pt x="1466653" y="440567"/>
                </a:cubicBezTo>
                <a:cubicBezTo>
                  <a:pt x="1467955" y="439930"/>
                  <a:pt x="1469256" y="439293"/>
                  <a:pt x="1470598" y="438637"/>
                </a:cubicBezTo>
                <a:cubicBezTo>
                  <a:pt x="1471852" y="438016"/>
                  <a:pt x="1473105" y="437393"/>
                  <a:pt x="1474397" y="436752"/>
                </a:cubicBezTo>
                <a:cubicBezTo>
                  <a:pt x="1475550" y="436184"/>
                  <a:pt x="1476703" y="435616"/>
                  <a:pt x="1477892" y="435030"/>
                </a:cubicBezTo>
                <a:cubicBezTo>
                  <a:pt x="1480966" y="433279"/>
                  <a:pt x="1483173" y="431373"/>
                  <a:pt x="1485691" y="429029"/>
                </a:cubicBezTo>
                <a:cubicBezTo>
                  <a:pt x="1486737" y="428575"/>
                  <a:pt x="1487781" y="428121"/>
                  <a:pt x="1488858" y="427653"/>
                </a:cubicBezTo>
                <a:cubicBezTo>
                  <a:pt x="1492438" y="425977"/>
                  <a:pt x="1493705" y="424453"/>
                  <a:pt x="1495943" y="421454"/>
                </a:cubicBezTo>
                <a:cubicBezTo>
                  <a:pt x="1507114" y="407544"/>
                  <a:pt x="1519758" y="393513"/>
                  <a:pt x="1538608" y="388338"/>
                </a:cubicBezTo>
                <a:cubicBezTo>
                  <a:pt x="1541025" y="388250"/>
                  <a:pt x="1541025" y="388250"/>
                  <a:pt x="1543490" y="388161"/>
                </a:cubicBezTo>
                <a:cubicBezTo>
                  <a:pt x="1545535" y="387984"/>
                  <a:pt x="1545535" y="387984"/>
                  <a:pt x="1547621" y="387804"/>
                </a:cubicBezTo>
                <a:cubicBezTo>
                  <a:pt x="1560659" y="387094"/>
                  <a:pt x="1568716" y="390117"/>
                  <a:pt x="1579418" y="396617"/>
                </a:cubicBezTo>
                <a:cubicBezTo>
                  <a:pt x="1581361" y="397687"/>
                  <a:pt x="1581361" y="397687"/>
                  <a:pt x="1583342" y="398780"/>
                </a:cubicBezTo>
                <a:cubicBezTo>
                  <a:pt x="1593703" y="405068"/>
                  <a:pt x="1598513" y="412459"/>
                  <a:pt x="1601288" y="423392"/>
                </a:cubicBezTo>
                <a:cubicBezTo>
                  <a:pt x="1603295" y="436596"/>
                  <a:pt x="1603517" y="449033"/>
                  <a:pt x="1594484" y="460159"/>
                </a:cubicBezTo>
                <a:cubicBezTo>
                  <a:pt x="1588468" y="466462"/>
                  <a:pt x="1582607" y="471150"/>
                  <a:pt x="1574732" y="475533"/>
                </a:cubicBezTo>
                <a:cubicBezTo>
                  <a:pt x="1573862" y="476043"/>
                  <a:pt x="1572993" y="476553"/>
                  <a:pt x="1572097" y="477078"/>
                </a:cubicBezTo>
                <a:cubicBezTo>
                  <a:pt x="1566828" y="478935"/>
                  <a:pt x="1561641" y="478744"/>
                  <a:pt x="1556066" y="478737"/>
                </a:cubicBezTo>
                <a:cubicBezTo>
                  <a:pt x="1553587" y="478765"/>
                  <a:pt x="1551109" y="478795"/>
                  <a:pt x="1548631" y="478825"/>
                </a:cubicBezTo>
                <a:cubicBezTo>
                  <a:pt x="1544751" y="478857"/>
                  <a:pt x="1540871" y="478880"/>
                  <a:pt x="1536991" y="478889"/>
                </a:cubicBezTo>
                <a:cubicBezTo>
                  <a:pt x="1516714" y="478693"/>
                  <a:pt x="1516714" y="478693"/>
                  <a:pt x="1498188" y="485398"/>
                </a:cubicBezTo>
                <a:cubicBezTo>
                  <a:pt x="1496062" y="486488"/>
                  <a:pt x="1496062" y="486488"/>
                  <a:pt x="1493892" y="487600"/>
                </a:cubicBezTo>
                <a:cubicBezTo>
                  <a:pt x="1492733" y="488268"/>
                  <a:pt x="1491573" y="488937"/>
                  <a:pt x="1490377" y="489625"/>
                </a:cubicBezTo>
                <a:cubicBezTo>
                  <a:pt x="1484304" y="493012"/>
                  <a:pt x="1478212" y="495675"/>
                  <a:pt x="1471650" y="498185"/>
                </a:cubicBezTo>
                <a:cubicBezTo>
                  <a:pt x="1467148" y="500054"/>
                  <a:pt x="1463242" y="502632"/>
                  <a:pt x="1459135" y="505127"/>
                </a:cubicBezTo>
                <a:cubicBezTo>
                  <a:pt x="1456968" y="506120"/>
                  <a:pt x="1454786" y="507086"/>
                  <a:pt x="1452594" y="508033"/>
                </a:cubicBezTo>
                <a:cubicBezTo>
                  <a:pt x="1444148" y="511772"/>
                  <a:pt x="1435969" y="515903"/>
                  <a:pt x="1427795" y="520100"/>
                </a:cubicBezTo>
                <a:cubicBezTo>
                  <a:pt x="1425784" y="521114"/>
                  <a:pt x="1425784" y="521114"/>
                  <a:pt x="1423733" y="522148"/>
                </a:cubicBezTo>
                <a:cubicBezTo>
                  <a:pt x="1422478" y="522798"/>
                  <a:pt x="1421223" y="523449"/>
                  <a:pt x="1419929" y="524118"/>
                </a:cubicBezTo>
                <a:cubicBezTo>
                  <a:pt x="1418794" y="524701"/>
                  <a:pt x="1417658" y="525283"/>
                  <a:pt x="1416487" y="525883"/>
                </a:cubicBezTo>
                <a:cubicBezTo>
                  <a:pt x="1413349" y="527646"/>
                  <a:pt x="1413349" y="527646"/>
                  <a:pt x="1412271" y="531902"/>
                </a:cubicBezTo>
                <a:cubicBezTo>
                  <a:pt x="1407205" y="535203"/>
                  <a:pt x="1402819" y="536744"/>
                  <a:pt x="1396650" y="537539"/>
                </a:cubicBezTo>
                <a:cubicBezTo>
                  <a:pt x="1396650" y="538469"/>
                  <a:pt x="1396650" y="539399"/>
                  <a:pt x="1396650" y="540357"/>
                </a:cubicBezTo>
                <a:cubicBezTo>
                  <a:pt x="1395609" y="540735"/>
                  <a:pt x="1394568" y="541113"/>
                  <a:pt x="1393495" y="541502"/>
                </a:cubicBezTo>
                <a:cubicBezTo>
                  <a:pt x="1381840" y="545973"/>
                  <a:pt x="1372279" y="551715"/>
                  <a:pt x="1362284" y="558678"/>
                </a:cubicBezTo>
                <a:cubicBezTo>
                  <a:pt x="1360170" y="560088"/>
                  <a:pt x="1358055" y="561497"/>
                  <a:pt x="1355937" y="562905"/>
                </a:cubicBezTo>
                <a:cubicBezTo>
                  <a:pt x="1348556" y="567937"/>
                  <a:pt x="1341292" y="573085"/>
                  <a:pt x="1334165" y="578406"/>
                </a:cubicBezTo>
                <a:cubicBezTo>
                  <a:pt x="1332697" y="579472"/>
                  <a:pt x="1332697" y="579472"/>
                  <a:pt x="1331200" y="580559"/>
                </a:cubicBezTo>
                <a:cubicBezTo>
                  <a:pt x="1325067" y="585430"/>
                  <a:pt x="1323406" y="589771"/>
                  <a:pt x="1322175" y="596793"/>
                </a:cubicBezTo>
                <a:cubicBezTo>
                  <a:pt x="1321669" y="599545"/>
                  <a:pt x="1321669" y="599545"/>
                  <a:pt x="1320106" y="602363"/>
                </a:cubicBezTo>
                <a:cubicBezTo>
                  <a:pt x="1318419" y="618189"/>
                  <a:pt x="1322416" y="632767"/>
                  <a:pt x="1328015" y="647640"/>
                </a:cubicBezTo>
                <a:cubicBezTo>
                  <a:pt x="1331267" y="656625"/>
                  <a:pt x="1333170" y="666179"/>
                  <a:pt x="1332604" y="675643"/>
                </a:cubicBezTo>
                <a:cubicBezTo>
                  <a:pt x="1333634" y="675643"/>
                  <a:pt x="1334665" y="675643"/>
                  <a:pt x="1335727" y="675643"/>
                </a:cubicBezTo>
                <a:cubicBezTo>
                  <a:pt x="1337571" y="680632"/>
                  <a:pt x="1337591" y="684795"/>
                  <a:pt x="1337741" y="690059"/>
                </a:cubicBezTo>
                <a:cubicBezTo>
                  <a:pt x="1337826" y="692114"/>
                  <a:pt x="1337913" y="694168"/>
                  <a:pt x="1338003" y="696222"/>
                </a:cubicBezTo>
                <a:cubicBezTo>
                  <a:pt x="1338142" y="699444"/>
                  <a:pt x="1338266" y="702664"/>
                  <a:pt x="1338340" y="705887"/>
                </a:cubicBezTo>
                <a:cubicBezTo>
                  <a:pt x="1338372" y="720474"/>
                  <a:pt x="1338372" y="720474"/>
                  <a:pt x="1345277" y="733245"/>
                </a:cubicBezTo>
                <a:cubicBezTo>
                  <a:pt x="1350822" y="737861"/>
                  <a:pt x="1355921" y="739823"/>
                  <a:pt x="1363162" y="741612"/>
                </a:cubicBezTo>
                <a:cubicBezTo>
                  <a:pt x="1370672" y="743533"/>
                  <a:pt x="1377197" y="745750"/>
                  <a:pt x="1384154" y="748922"/>
                </a:cubicBezTo>
                <a:cubicBezTo>
                  <a:pt x="1387833" y="749898"/>
                  <a:pt x="1387833" y="749898"/>
                  <a:pt x="1391476" y="750419"/>
                </a:cubicBezTo>
                <a:cubicBezTo>
                  <a:pt x="1393499" y="750747"/>
                  <a:pt x="1393499" y="750747"/>
                  <a:pt x="1395564" y="751080"/>
                </a:cubicBezTo>
                <a:cubicBezTo>
                  <a:pt x="1397648" y="751407"/>
                  <a:pt x="1397648" y="751407"/>
                  <a:pt x="1399775" y="751740"/>
                </a:cubicBezTo>
                <a:cubicBezTo>
                  <a:pt x="1401810" y="752111"/>
                  <a:pt x="1401810" y="752111"/>
                  <a:pt x="1403887" y="752489"/>
                </a:cubicBezTo>
                <a:cubicBezTo>
                  <a:pt x="1424247" y="756131"/>
                  <a:pt x="1444708" y="756350"/>
                  <a:pt x="1465383" y="755969"/>
                </a:cubicBezTo>
                <a:cubicBezTo>
                  <a:pt x="1467019" y="755945"/>
                  <a:pt x="1468654" y="755921"/>
                  <a:pt x="1470339" y="755897"/>
                </a:cubicBezTo>
                <a:cubicBezTo>
                  <a:pt x="1480128" y="755450"/>
                  <a:pt x="1487899" y="752933"/>
                  <a:pt x="1496809" y="749313"/>
                </a:cubicBezTo>
                <a:cubicBezTo>
                  <a:pt x="1502876" y="746888"/>
                  <a:pt x="1509049" y="745091"/>
                  <a:pt x="1515371" y="743285"/>
                </a:cubicBezTo>
                <a:cubicBezTo>
                  <a:pt x="1515371" y="742356"/>
                  <a:pt x="1515371" y="741425"/>
                  <a:pt x="1515371" y="740467"/>
                </a:cubicBezTo>
                <a:cubicBezTo>
                  <a:pt x="1522710" y="737103"/>
                  <a:pt x="1529583" y="737106"/>
                  <a:pt x="1537632" y="737120"/>
                </a:cubicBezTo>
                <a:cubicBezTo>
                  <a:pt x="1538960" y="737122"/>
                  <a:pt x="1540289" y="737124"/>
                  <a:pt x="1541657" y="737127"/>
                </a:cubicBezTo>
                <a:cubicBezTo>
                  <a:pt x="1555502" y="737372"/>
                  <a:pt x="1564314" y="740697"/>
                  <a:pt x="1574732" y="748922"/>
                </a:cubicBezTo>
                <a:cubicBezTo>
                  <a:pt x="1586507" y="762822"/>
                  <a:pt x="1590347" y="775219"/>
                  <a:pt x="1588791" y="792608"/>
                </a:cubicBezTo>
                <a:cubicBezTo>
                  <a:pt x="1587728" y="797050"/>
                  <a:pt x="1586468" y="801261"/>
                  <a:pt x="1584105" y="805291"/>
                </a:cubicBezTo>
                <a:cubicBezTo>
                  <a:pt x="1583074" y="805756"/>
                  <a:pt x="1582043" y="806221"/>
                  <a:pt x="1580981" y="806700"/>
                </a:cubicBezTo>
                <a:cubicBezTo>
                  <a:pt x="1580240" y="807892"/>
                  <a:pt x="1579499" y="809083"/>
                  <a:pt x="1578735" y="810311"/>
                </a:cubicBezTo>
                <a:cubicBezTo>
                  <a:pt x="1577930" y="811445"/>
                  <a:pt x="1577124" y="812579"/>
                  <a:pt x="1576295" y="813746"/>
                </a:cubicBezTo>
                <a:lnTo>
                  <a:pt x="1571652" y="813746"/>
                </a:lnTo>
                <a:lnTo>
                  <a:pt x="1571785" y="814106"/>
                </a:lnTo>
                <a:cubicBezTo>
                  <a:pt x="1572816" y="814571"/>
                  <a:pt x="1573846" y="815036"/>
                  <a:pt x="1574909" y="815515"/>
                </a:cubicBezTo>
                <a:cubicBezTo>
                  <a:pt x="1572126" y="818758"/>
                  <a:pt x="1569968" y="820871"/>
                  <a:pt x="1565463" y="821839"/>
                </a:cubicBezTo>
                <a:lnTo>
                  <a:pt x="1562085" y="822101"/>
                </a:lnTo>
                <a:lnTo>
                  <a:pt x="1551301" y="825020"/>
                </a:lnTo>
                <a:cubicBezTo>
                  <a:pt x="1551301" y="825950"/>
                  <a:pt x="1551301" y="826880"/>
                  <a:pt x="1551301" y="827838"/>
                </a:cubicBezTo>
                <a:cubicBezTo>
                  <a:pt x="1526697" y="828735"/>
                  <a:pt x="1507496" y="825036"/>
                  <a:pt x="1485380" y="815007"/>
                </a:cubicBezTo>
                <a:cubicBezTo>
                  <a:pt x="1468723" y="807743"/>
                  <a:pt x="1449749" y="809144"/>
                  <a:pt x="1431603" y="808726"/>
                </a:cubicBezTo>
                <a:cubicBezTo>
                  <a:pt x="1429115" y="808665"/>
                  <a:pt x="1426627" y="808604"/>
                  <a:pt x="1424140" y="808542"/>
                </a:cubicBezTo>
                <a:cubicBezTo>
                  <a:pt x="1418101" y="808392"/>
                  <a:pt x="1412062" y="808249"/>
                  <a:pt x="1406023" y="808109"/>
                </a:cubicBezTo>
                <a:cubicBezTo>
                  <a:pt x="1406023" y="809040"/>
                  <a:pt x="1406023" y="809970"/>
                  <a:pt x="1406023" y="810928"/>
                </a:cubicBezTo>
                <a:cubicBezTo>
                  <a:pt x="1404716" y="811118"/>
                  <a:pt x="1404716" y="811118"/>
                  <a:pt x="1403383" y="811311"/>
                </a:cubicBezTo>
                <a:cubicBezTo>
                  <a:pt x="1372054" y="815110"/>
                  <a:pt x="1372054" y="815110"/>
                  <a:pt x="1345442" y="828907"/>
                </a:cubicBezTo>
                <a:cubicBezTo>
                  <a:pt x="1338843" y="837605"/>
                  <a:pt x="1338313" y="846434"/>
                  <a:pt x="1337875" y="856639"/>
                </a:cubicBezTo>
                <a:cubicBezTo>
                  <a:pt x="1337815" y="857805"/>
                  <a:pt x="1337754" y="858970"/>
                  <a:pt x="1337692" y="860171"/>
                </a:cubicBezTo>
                <a:cubicBezTo>
                  <a:pt x="1337547" y="863016"/>
                  <a:pt x="1337417" y="865861"/>
                  <a:pt x="1337290" y="868706"/>
                </a:cubicBezTo>
                <a:cubicBezTo>
                  <a:pt x="1336258" y="868706"/>
                  <a:pt x="1335228" y="868706"/>
                  <a:pt x="1334165" y="868706"/>
                </a:cubicBezTo>
                <a:lnTo>
                  <a:pt x="1334165" y="870034"/>
                </a:lnTo>
                <a:lnTo>
                  <a:pt x="1334237" y="869093"/>
                </a:lnTo>
                <a:cubicBezTo>
                  <a:pt x="1334753" y="869093"/>
                  <a:pt x="1335268" y="869093"/>
                  <a:pt x="1335800" y="869093"/>
                </a:cubicBezTo>
                <a:cubicBezTo>
                  <a:pt x="1335884" y="871559"/>
                  <a:pt x="1335944" y="874025"/>
                  <a:pt x="1335995" y="876491"/>
                </a:cubicBezTo>
                <a:cubicBezTo>
                  <a:pt x="1336030" y="877865"/>
                  <a:pt x="1336067" y="879238"/>
                  <a:pt x="1336105" y="880653"/>
                </a:cubicBezTo>
                <a:cubicBezTo>
                  <a:pt x="1335800" y="884594"/>
                  <a:pt x="1335800" y="884594"/>
                  <a:pt x="1334294" y="887271"/>
                </a:cubicBezTo>
                <a:cubicBezTo>
                  <a:pt x="1332567" y="890428"/>
                  <a:pt x="1331982" y="892964"/>
                  <a:pt x="1331455" y="896440"/>
                </a:cubicBezTo>
                <a:cubicBezTo>
                  <a:pt x="1331267" y="897605"/>
                  <a:pt x="1331080" y="898769"/>
                  <a:pt x="1330887" y="899969"/>
                </a:cubicBezTo>
                <a:cubicBezTo>
                  <a:pt x="1330704" y="901174"/>
                  <a:pt x="1330521" y="902378"/>
                  <a:pt x="1330332" y="903618"/>
                </a:cubicBezTo>
                <a:cubicBezTo>
                  <a:pt x="1329968" y="906013"/>
                  <a:pt x="1329594" y="908405"/>
                  <a:pt x="1329209" y="910797"/>
                </a:cubicBezTo>
                <a:cubicBezTo>
                  <a:pt x="1329049" y="911853"/>
                  <a:pt x="1328889" y="912910"/>
                  <a:pt x="1328724" y="913998"/>
                </a:cubicBezTo>
                <a:cubicBezTo>
                  <a:pt x="1327933" y="917233"/>
                  <a:pt x="1326525" y="919703"/>
                  <a:pt x="1324865" y="922643"/>
                </a:cubicBezTo>
                <a:cubicBezTo>
                  <a:pt x="1323924" y="927743"/>
                  <a:pt x="1323282" y="932845"/>
                  <a:pt x="1322619" y="937979"/>
                </a:cubicBezTo>
                <a:lnTo>
                  <a:pt x="1318744" y="944961"/>
                </a:lnTo>
                <a:lnTo>
                  <a:pt x="1318544" y="946213"/>
                </a:lnTo>
                <a:cubicBezTo>
                  <a:pt x="1318360" y="949234"/>
                  <a:pt x="1318271" y="952260"/>
                  <a:pt x="1318251" y="955285"/>
                </a:cubicBezTo>
                <a:cubicBezTo>
                  <a:pt x="1318218" y="957637"/>
                  <a:pt x="1318218" y="957637"/>
                  <a:pt x="1318184" y="960036"/>
                </a:cubicBezTo>
                <a:cubicBezTo>
                  <a:pt x="1318624" y="965530"/>
                  <a:pt x="1319569" y="969724"/>
                  <a:pt x="1324024" y="973660"/>
                </a:cubicBezTo>
                <a:cubicBezTo>
                  <a:pt x="1327197" y="976583"/>
                  <a:pt x="1327950" y="979494"/>
                  <a:pt x="1329284" y="983382"/>
                </a:cubicBezTo>
                <a:cubicBezTo>
                  <a:pt x="1331875" y="990106"/>
                  <a:pt x="1334445" y="993582"/>
                  <a:pt x="1340414" y="998354"/>
                </a:cubicBezTo>
                <a:cubicBezTo>
                  <a:pt x="1342397" y="1000564"/>
                  <a:pt x="1344347" y="1002798"/>
                  <a:pt x="1346272" y="1005048"/>
                </a:cubicBezTo>
                <a:cubicBezTo>
                  <a:pt x="1360055" y="1020713"/>
                  <a:pt x="1376247" y="1031879"/>
                  <a:pt x="1394716" y="1042740"/>
                </a:cubicBezTo>
                <a:cubicBezTo>
                  <a:pt x="1397172" y="1044228"/>
                  <a:pt x="1399581" y="1045779"/>
                  <a:pt x="1401953" y="1047374"/>
                </a:cubicBezTo>
                <a:cubicBezTo>
                  <a:pt x="1410065" y="1052802"/>
                  <a:pt x="1417529" y="1056366"/>
                  <a:pt x="1427197" y="1059061"/>
                </a:cubicBezTo>
                <a:cubicBezTo>
                  <a:pt x="1431243" y="1060437"/>
                  <a:pt x="1434061" y="1061979"/>
                  <a:pt x="1437265" y="1064588"/>
                </a:cubicBezTo>
                <a:cubicBezTo>
                  <a:pt x="1437265" y="1065518"/>
                  <a:pt x="1437265" y="1066448"/>
                  <a:pt x="1437265" y="1067406"/>
                </a:cubicBezTo>
                <a:cubicBezTo>
                  <a:pt x="1439053" y="1067624"/>
                  <a:pt x="1439053" y="1067624"/>
                  <a:pt x="1440878" y="1067847"/>
                </a:cubicBezTo>
                <a:cubicBezTo>
                  <a:pt x="1445076" y="1068815"/>
                  <a:pt x="1445076" y="1068815"/>
                  <a:pt x="1447175" y="1070753"/>
                </a:cubicBezTo>
                <a:cubicBezTo>
                  <a:pt x="1450417" y="1073622"/>
                  <a:pt x="1453781" y="1075060"/>
                  <a:pt x="1457866" y="1076830"/>
                </a:cubicBezTo>
                <a:cubicBezTo>
                  <a:pt x="1459274" y="1077446"/>
                  <a:pt x="1460681" y="1078062"/>
                  <a:pt x="1462132" y="1078696"/>
                </a:cubicBezTo>
                <a:cubicBezTo>
                  <a:pt x="1463204" y="1079156"/>
                  <a:pt x="1464278" y="1079616"/>
                  <a:pt x="1465383" y="1080089"/>
                </a:cubicBezTo>
                <a:cubicBezTo>
                  <a:pt x="1465383" y="1081019"/>
                  <a:pt x="1465383" y="1081949"/>
                  <a:pt x="1465383" y="1082908"/>
                </a:cubicBezTo>
                <a:cubicBezTo>
                  <a:pt x="1466497" y="1083260"/>
                  <a:pt x="1467611" y="1083612"/>
                  <a:pt x="1468758" y="1083975"/>
                </a:cubicBezTo>
                <a:cubicBezTo>
                  <a:pt x="1473648" y="1085905"/>
                  <a:pt x="1477426" y="1088296"/>
                  <a:pt x="1481688" y="1091187"/>
                </a:cubicBezTo>
                <a:cubicBezTo>
                  <a:pt x="1483204" y="1092193"/>
                  <a:pt x="1484721" y="1093200"/>
                  <a:pt x="1486283" y="1094236"/>
                </a:cubicBezTo>
                <a:cubicBezTo>
                  <a:pt x="1489170" y="1096185"/>
                  <a:pt x="1492029" y="1098166"/>
                  <a:pt x="1494869" y="1100171"/>
                </a:cubicBezTo>
                <a:cubicBezTo>
                  <a:pt x="1510181" y="1107906"/>
                  <a:pt x="1527080" y="1109898"/>
                  <a:pt x="1544335" y="1109518"/>
                </a:cubicBezTo>
                <a:cubicBezTo>
                  <a:pt x="1579932" y="1108798"/>
                  <a:pt x="1579932" y="1108798"/>
                  <a:pt x="1593477" y="1119900"/>
                </a:cubicBezTo>
                <a:cubicBezTo>
                  <a:pt x="1600636" y="1127255"/>
                  <a:pt x="1604889" y="1135120"/>
                  <a:pt x="1605975" y="1144913"/>
                </a:cubicBezTo>
                <a:cubicBezTo>
                  <a:pt x="1607006" y="1144913"/>
                  <a:pt x="1608036" y="1144913"/>
                  <a:pt x="1609099" y="1144913"/>
                </a:cubicBezTo>
                <a:cubicBezTo>
                  <a:pt x="1609227" y="1148907"/>
                  <a:pt x="1609319" y="1152897"/>
                  <a:pt x="1609392" y="1156892"/>
                </a:cubicBezTo>
                <a:cubicBezTo>
                  <a:pt x="1609451" y="1158565"/>
                  <a:pt x="1609451" y="1158565"/>
                  <a:pt x="1609511" y="1160272"/>
                </a:cubicBezTo>
                <a:cubicBezTo>
                  <a:pt x="1609621" y="1168378"/>
                  <a:pt x="1607970" y="1174108"/>
                  <a:pt x="1604412" y="1181553"/>
                </a:cubicBezTo>
                <a:cubicBezTo>
                  <a:pt x="1603354" y="1184367"/>
                  <a:pt x="1602306" y="1187183"/>
                  <a:pt x="1601288" y="1190009"/>
                </a:cubicBezTo>
                <a:cubicBezTo>
                  <a:pt x="1600257" y="1190009"/>
                  <a:pt x="1599226" y="1190009"/>
                  <a:pt x="1598164" y="1190009"/>
                </a:cubicBezTo>
                <a:cubicBezTo>
                  <a:pt x="1597842" y="1190910"/>
                  <a:pt x="1597520" y="1191810"/>
                  <a:pt x="1597187" y="1192739"/>
                </a:cubicBezTo>
                <a:cubicBezTo>
                  <a:pt x="1596479" y="1193698"/>
                  <a:pt x="1595770" y="1194657"/>
                  <a:pt x="1595040" y="1195645"/>
                </a:cubicBezTo>
                <a:cubicBezTo>
                  <a:pt x="1591916" y="1196115"/>
                  <a:pt x="1588791" y="1196585"/>
                  <a:pt x="1585667" y="1197055"/>
                </a:cubicBezTo>
                <a:cubicBezTo>
                  <a:pt x="1583871" y="1199826"/>
                  <a:pt x="1583871" y="1199826"/>
                  <a:pt x="1582543" y="1202691"/>
                </a:cubicBezTo>
                <a:cubicBezTo>
                  <a:pt x="1575997" y="1204710"/>
                  <a:pt x="1569266" y="1204360"/>
                  <a:pt x="1562431" y="1204365"/>
                </a:cubicBezTo>
                <a:cubicBezTo>
                  <a:pt x="1561196" y="1204382"/>
                  <a:pt x="1559962" y="1204399"/>
                  <a:pt x="1558690" y="1204417"/>
                </a:cubicBezTo>
                <a:cubicBezTo>
                  <a:pt x="1543339" y="1204452"/>
                  <a:pt x="1531981" y="1199267"/>
                  <a:pt x="1521102" y="1189585"/>
                </a:cubicBezTo>
                <a:cubicBezTo>
                  <a:pt x="1515403" y="1183953"/>
                  <a:pt x="1510116" y="1178123"/>
                  <a:pt x="1505022" y="1172041"/>
                </a:cubicBezTo>
                <a:cubicBezTo>
                  <a:pt x="1493200" y="1158177"/>
                  <a:pt x="1475492" y="1147115"/>
                  <a:pt x="1457573" y="1140686"/>
                </a:cubicBezTo>
                <a:cubicBezTo>
                  <a:pt x="1457573" y="1139755"/>
                  <a:pt x="1457573" y="1138826"/>
                  <a:pt x="1457573" y="1137867"/>
                </a:cubicBezTo>
                <a:cubicBezTo>
                  <a:pt x="1456059" y="1137693"/>
                  <a:pt x="1454544" y="1137518"/>
                  <a:pt x="1452985" y="1137339"/>
                </a:cubicBezTo>
                <a:cubicBezTo>
                  <a:pt x="1451406" y="1137048"/>
                  <a:pt x="1449827" y="1136758"/>
                  <a:pt x="1448200" y="1136458"/>
                </a:cubicBezTo>
                <a:cubicBezTo>
                  <a:pt x="1447685" y="1135528"/>
                  <a:pt x="1447169" y="1134598"/>
                  <a:pt x="1446638" y="1133640"/>
                </a:cubicBezTo>
                <a:cubicBezTo>
                  <a:pt x="1444091" y="1132586"/>
                  <a:pt x="1441535" y="1131550"/>
                  <a:pt x="1438937" y="1130601"/>
                </a:cubicBezTo>
                <a:cubicBezTo>
                  <a:pt x="1435668" y="1129399"/>
                  <a:pt x="1432469" y="1128095"/>
                  <a:pt x="1429260" y="1126770"/>
                </a:cubicBezTo>
                <a:cubicBezTo>
                  <a:pt x="1423389" y="1124389"/>
                  <a:pt x="1417431" y="1122349"/>
                  <a:pt x="1411393" y="1120340"/>
                </a:cubicBezTo>
                <a:cubicBezTo>
                  <a:pt x="1404143" y="1117867"/>
                  <a:pt x="1397842" y="1115090"/>
                  <a:pt x="1391427" y="1111191"/>
                </a:cubicBezTo>
                <a:cubicBezTo>
                  <a:pt x="1388139" y="1109274"/>
                  <a:pt x="1384723" y="1108010"/>
                  <a:pt x="1381029" y="1106865"/>
                </a:cubicBezTo>
                <a:cubicBezTo>
                  <a:pt x="1381029" y="1105934"/>
                  <a:pt x="1381029" y="1105004"/>
                  <a:pt x="1381029" y="1104046"/>
                </a:cubicBezTo>
                <a:cubicBezTo>
                  <a:pt x="1379773" y="1103901"/>
                  <a:pt x="1378516" y="1103755"/>
                  <a:pt x="1377221" y="1103605"/>
                </a:cubicBezTo>
                <a:cubicBezTo>
                  <a:pt x="1370425" y="1102422"/>
                  <a:pt x="1364120" y="1100465"/>
                  <a:pt x="1357597" y="1098409"/>
                </a:cubicBezTo>
                <a:cubicBezTo>
                  <a:pt x="1355761" y="1097857"/>
                  <a:pt x="1353924" y="1097304"/>
                  <a:pt x="1352032" y="1096736"/>
                </a:cubicBezTo>
                <a:cubicBezTo>
                  <a:pt x="1350776" y="1096358"/>
                  <a:pt x="1349519" y="1095980"/>
                  <a:pt x="1348225" y="1095590"/>
                </a:cubicBezTo>
                <a:cubicBezTo>
                  <a:pt x="1348225" y="1094661"/>
                  <a:pt x="1348225" y="1093730"/>
                  <a:pt x="1348225" y="1092772"/>
                </a:cubicBezTo>
                <a:cubicBezTo>
                  <a:pt x="1344616" y="1092307"/>
                  <a:pt x="1341007" y="1091842"/>
                  <a:pt x="1337290" y="1091363"/>
                </a:cubicBezTo>
                <a:cubicBezTo>
                  <a:pt x="1337290" y="1090433"/>
                  <a:pt x="1337290" y="1089503"/>
                  <a:pt x="1337290" y="1088544"/>
                </a:cubicBezTo>
                <a:cubicBezTo>
                  <a:pt x="1334438" y="1088327"/>
                  <a:pt x="1334438" y="1088327"/>
                  <a:pt x="1331529" y="1088104"/>
                </a:cubicBezTo>
                <a:lnTo>
                  <a:pt x="1323297" y="1086611"/>
                </a:lnTo>
                <a:lnTo>
                  <a:pt x="1323297" y="1087618"/>
                </a:lnTo>
                <a:cubicBezTo>
                  <a:pt x="1322139" y="1087517"/>
                  <a:pt x="1320982" y="1087415"/>
                  <a:pt x="1319789" y="1087310"/>
                </a:cubicBezTo>
                <a:cubicBezTo>
                  <a:pt x="1300429" y="1085771"/>
                  <a:pt x="1281330" y="1084680"/>
                  <a:pt x="1262375" y="1089028"/>
                </a:cubicBezTo>
                <a:lnTo>
                  <a:pt x="1258728" y="1088205"/>
                </a:lnTo>
                <a:lnTo>
                  <a:pt x="1246964" y="1091489"/>
                </a:lnTo>
                <a:cubicBezTo>
                  <a:pt x="1237239" y="1097222"/>
                  <a:pt x="1228703" y="1103434"/>
                  <a:pt x="1223224" y="1112865"/>
                </a:cubicBezTo>
                <a:cubicBezTo>
                  <a:pt x="1220867" y="1116643"/>
                  <a:pt x="1217262" y="1119317"/>
                  <a:pt x="1213883" y="1122366"/>
                </a:cubicBezTo>
                <a:cubicBezTo>
                  <a:pt x="1213428" y="1123469"/>
                  <a:pt x="1212973" y="1124572"/>
                  <a:pt x="1212505" y="1125708"/>
                </a:cubicBezTo>
                <a:cubicBezTo>
                  <a:pt x="1210449" y="1130067"/>
                  <a:pt x="1207984" y="1132315"/>
                  <a:pt x="1204180" y="1135561"/>
                </a:cubicBezTo>
                <a:cubicBezTo>
                  <a:pt x="1202879" y="1136695"/>
                  <a:pt x="1201578" y="1137829"/>
                  <a:pt x="1200238" y="1138999"/>
                </a:cubicBezTo>
                <a:cubicBezTo>
                  <a:pt x="1197504" y="1141343"/>
                  <a:pt x="1194765" y="1143684"/>
                  <a:pt x="1192025" y="1146022"/>
                </a:cubicBezTo>
                <a:cubicBezTo>
                  <a:pt x="1181899" y="1154869"/>
                  <a:pt x="1174983" y="1161763"/>
                  <a:pt x="1173945" y="1174749"/>
                </a:cubicBezTo>
                <a:cubicBezTo>
                  <a:pt x="1173902" y="1177369"/>
                  <a:pt x="1173905" y="1179990"/>
                  <a:pt x="1173950" y="1182610"/>
                </a:cubicBezTo>
                <a:cubicBezTo>
                  <a:pt x="1173963" y="1183981"/>
                  <a:pt x="1173975" y="1185352"/>
                  <a:pt x="1173989" y="1186765"/>
                </a:cubicBezTo>
                <a:cubicBezTo>
                  <a:pt x="1174321" y="1197573"/>
                  <a:pt x="1176809" y="1205883"/>
                  <a:pt x="1182640" y="1215374"/>
                </a:cubicBezTo>
                <a:cubicBezTo>
                  <a:pt x="1183703" y="1217509"/>
                  <a:pt x="1184746" y="1219652"/>
                  <a:pt x="1185764" y="1221804"/>
                </a:cubicBezTo>
                <a:cubicBezTo>
                  <a:pt x="1186271" y="1222812"/>
                  <a:pt x="1186779" y="1223821"/>
                  <a:pt x="1187301" y="1224859"/>
                </a:cubicBezTo>
                <a:cubicBezTo>
                  <a:pt x="1188431" y="1227137"/>
                  <a:pt x="1189517" y="1229433"/>
                  <a:pt x="1190573" y="1231740"/>
                </a:cubicBezTo>
                <a:cubicBezTo>
                  <a:pt x="1194650" y="1240409"/>
                  <a:pt x="1199581" y="1247688"/>
                  <a:pt x="1205925" y="1255163"/>
                </a:cubicBezTo>
                <a:cubicBezTo>
                  <a:pt x="1208103" y="1257757"/>
                  <a:pt x="1210188" y="1260417"/>
                  <a:pt x="1212174" y="1263134"/>
                </a:cubicBezTo>
                <a:cubicBezTo>
                  <a:pt x="1218757" y="1272043"/>
                  <a:pt x="1225157" y="1277324"/>
                  <a:pt x="1235556" y="1282538"/>
                </a:cubicBezTo>
                <a:cubicBezTo>
                  <a:pt x="1236652" y="1283161"/>
                  <a:pt x="1237747" y="1283784"/>
                  <a:pt x="1238876" y="1284426"/>
                </a:cubicBezTo>
                <a:cubicBezTo>
                  <a:pt x="1238876" y="1285356"/>
                  <a:pt x="1238876" y="1286287"/>
                  <a:pt x="1238876" y="1287245"/>
                </a:cubicBezTo>
                <a:cubicBezTo>
                  <a:pt x="1239988" y="1287383"/>
                  <a:pt x="1241099" y="1287521"/>
                  <a:pt x="1242245" y="1287663"/>
                </a:cubicBezTo>
                <a:cubicBezTo>
                  <a:pt x="1253043" y="1290072"/>
                  <a:pt x="1264916" y="1297690"/>
                  <a:pt x="1271681" y="1305565"/>
                </a:cubicBezTo>
                <a:lnTo>
                  <a:pt x="1271742" y="1306172"/>
                </a:lnTo>
                <a:lnTo>
                  <a:pt x="1278525" y="1315767"/>
                </a:lnTo>
                <a:cubicBezTo>
                  <a:pt x="1279797" y="1319398"/>
                  <a:pt x="1280365" y="1323346"/>
                  <a:pt x="1281097" y="1327286"/>
                </a:cubicBezTo>
                <a:cubicBezTo>
                  <a:pt x="1281916" y="1337121"/>
                  <a:pt x="1281807" y="1346176"/>
                  <a:pt x="1277973" y="1355470"/>
                </a:cubicBezTo>
                <a:lnTo>
                  <a:pt x="1277460" y="1347025"/>
                </a:lnTo>
                <a:lnTo>
                  <a:pt x="1273531" y="1357991"/>
                </a:lnTo>
                <a:cubicBezTo>
                  <a:pt x="1270940" y="1361892"/>
                  <a:pt x="1267521" y="1365435"/>
                  <a:pt x="1263870" y="1368980"/>
                </a:cubicBezTo>
                <a:cubicBezTo>
                  <a:pt x="1258351" y="1372929"/>
                  <a:pt x="1253850" y="1376026"/>
                  <a:pt x="1246686" y="1376026"/>
                </a:cubicBezTo>
                <a:cubicBezTo>
                  <a:pt x="1246686" y="1376956"/>
                  <a:pt x="1246686" y="1377886"/>
                  <a:pt x="1246686" y="1378844"/>
                </a:cubicBezTo>
                <a:cubicBezTo>
                  <a:pt x="1241676" y="1379009"/>
                  <a:pt x="1236665" y="1379109"/>
                  <a:pt x="1231651" y="1379196"/>
                </a:cubicBezTo>
                <a:cubicBezTo>
                  <a:pt x="1230240" y="1379244"/>
                  <a:pt x="1228828" y="1379291"/>
                  <a:pt x="1227373" y="1379340"/>
                </a:cubicBezTo>
                <a:cubicBezTo>
                  <a:pt x="1218287" y="1379460"/>
                  <a:pt x="1213363" y="1378568"/>
                  <a:pt x="1206071" y="1373207"/>
                </a:cubicBezTo>
                <a:cubicBezTo>
                  <a:pt x="1204751" y="1372742"/>
                  <a:pt x="1203430" y="1372277"/>
                  <a:pt x="1202069" y="1371798"/>
                </a:cubicBezTo>
                <a:cubicBezTo>
                  <a:pt x="1193777" y="1368730"/>
                  <a:pt x="1188124" y="1363294"/>
                  <a:pt x="1184104" y="1356176"/>
                </a:cubicBezTo>
                <a:cubicBezTo>
                  <a:pt x="1180965" y="1349259"/>
                  <a:pt x="1178852" y="1342590"/>
                  <a:pt x="1177270" y="1335247"/>
                </a:cubicBezTo>
                <a:cubicBezTo>
                  <a:pt x="1175525" y="1327352"/>
                  <a:pt x="1172911" y="1320677"/>
                  <a:pt x="1169002" y="1313464"/>
                </a:cubicBezTo>
                <a:cubicBezTo>
                  <a:pt x="1166989" y="1309737"/>
                  <a:pt x="1165215" y="1305976"/>
                  <a:pt x="1163504" y="1302130"/>
                </a:cubicBezTo>
                <a:cubicBezTo>
                  <a:pt x="1163013" y="1301027"/>
                  <a:pt x="1162521" y="1299924"/>
                  <a:pt x="1162015" y="1298788"/>
                </a:cubicBezTo>
                <a:cubicBezTo>
                  <a:pt x="1160770" y="1295700"/>
                  <a:pt x="1160770" y="1295700"/>
                  <a:pt x="1160111" y="1292656"/>
                </a:cubicBezTo>
                <a:cubicBezTo>
                  <a:pt x="1159345" y="1289507"/>
                  <a:pt x="1159345" y="1289507"/>
                  <a:pt x="1154522" y="1287245"/>
                </a:cubicBezTo>
                <a:cubicBezTo>
                  <a:pt x="1153465" y="1284902"/>
                  <a:pt x="1152426" y="1282552"/>
                  <a:pt x="1151398" y="1280199"/>
                </a:cubicBezTo>
                <a:cubicBezTo>
                  <a:pt x="1149056" y="1276983"/>
                  <a:pt x="1146686" y="1273874"/>
                  <a:pt x="1144173" y="1270774"/>
                </a:cubicBezTo>
                <a:cubicBezTo>
                  <a:pt x="1143477" y="1269912"/>
                  <a:pt x="1142782" y="1269049"/>
                  <a:pt x="1142065" y="1268160"/>
                </a:cubicBezTo>
                <a:cubicBezTo>
                  <a:pt x="1139981" y="1265589"/>
                  <a:pt x="1137880" y="1263029"/>
                  <a:pt x="1135776" y="1260470"/>
                </a:cubicBezTo>
                <a:cubicBezTo>
                  <a:pt x="1134647" y="1259076"/>
                  <a:pt x="1133517" y="1257683"/>
                  <a:pt x="1132353" y="1256247"/>
                </a:cubicBezTo>
                <a:cubicBezTo>
                  <a:pt x="1126291" y="1249045"/>
                  <a:pt x="1121408" y="1244606"/>
                  <a:pt x="1112344" y="1240741"/>
                </a:cubicBezTo>
                <a:cubicBezTo>
                  <a:pt x="1110285" y="1239698"/>
                  <a:pt x="1108234" y="1238642"/>
                  <a:pt x="1106193" y="1237570"/>
                </a:cubicBezTo>
                <a:cubicBezTo>
                  <a:pt x="1104615" y="1236756"/>
                  <a:pt x="1103036" y="1235942"/>
                  <a:pt x="1101409" y="1235104"/>
                </a:cubicBezTo>
                <a:cubicBezTo>
                  <a:pt x="1101409" y="1233708"/>
                  <a:pt x="1101409" y="1232313"/>
                  <a:pt x="1101409" y="1230876"/>
                </a:cubicBezTo>
                <a:cubicBezTo>
                  <a:pt x="1089553" y="1230876"/>
                  <a:pt x="1077697" y="1230876"/>
                  <a:pt x="1065480" y="1230876"/>
                </a:cubicBezTo>
                <a:cubicBezTo>
                  <a:pt x="1064965" y="1232271"/>
                  <a:pt x="1064450" y="1233666"/>
                  <a:pt x="1063919" y="1235104"/>
                </a:cubicBezTo>
                <a:cubicBezTo>
                  <a:pt x="1062372" y="1235104"/>
                  <a:pt x="1060826" y="1235104"/>
                  <a:pt x="1059232" y="1235104"/>
                </a:cubicBezTo>
                <a:cubicBezTo>
                  <a:pt x="1059232" y="1236033"/>
                  <a:pt x="1059232" y="1236964"/>
                  <a:pt x="1059232" y="1237922"/>
                </a:cubicBezTo>
                <a:cubicBezTo>
                  <a:pt x="1052964" y="1240850"/>
                  <a:pt x="1046842" y="1243613"/>
                  <a:pt x="1040194" y="1245761"/>
                </a:cubicBezTo>
                <a:cubicBezTo>
                  <a:pt x="1036552" y="1246941"/>
                  <a:pt x="1033682" y="1248088"/>
                  <a:pt x="1030333" y="1249901"/>
                </a:cubicBezTo>
                <a:cubicBezTo>
                  <a:pt x="1025129" y="1252717"/>
                  <a:pt x="1019615" y="1254371"/>
                  <a:pt x="1013931" y="1256242"/>
                </a:cubicBezTo>
                <a:cubicBezTo>
                  <a:pt x="1009870" y="1257688"/>
                  <a:pt x="1008221" y="1258277"/>
                  <a:pt x="1005925" y="1261615"/>
                </a:cubicBezTo>
                <a:cubicBezTo>
                  <a:pt x="1005474" y="1262632"/>
                  <a:pt x="1005023" y="1263649"/>
                  <a:pt x="1004558" y="1264697"/>
                </a:cubicBezTo>
                <a:cubicBezTo>
                  <a:pt x="1004030" y="1265774"/>
                  <a:pt x="1003503" y="1266852"/>
                  <a:pt x="1002959" y="1267961"/>
                </a:cubicBezTo>
                <a:cubicBezTo>
                  <a:pt x="1001408" y="1271808"/>
                  <a:pt x="1000922" y="1274896"/>
                  <a:pt x="1000653" y="1278965"/>
                </a:cubicBezTo>
                <a:cubicBezTo>
                  <a:pt x="1000303" y="1284158"/>
                  <a:pt x="999467" y="1289055"/>
                  <a:pt x="998297" y="1294137"/>
                </a:cubicBezTo>
                <a:cubicBezTo>
                  <a:pt x="996204" y="1304306"/>
                  <a:pt x="996129" y="1314460"/>
                  <a:pt x="996162" y="1324765"/>
                </a:cubicBezTo>
                <a:cubicBezTo>
                  <a:pt x="996163" y="1325782"/>
                  <a:pt x="996163" y="1326799"/>
                  <a:pt x="996164" y="1327846"/>
                </a:cubicBezTo>
                <a:cubicBezTo>
                  <a:pt x="996263" y="1353742"/>
                  <a:pt x="1001081" y="1378188"/>
                  <a:pt x="1007780" y="1403329"/>
                </a:cubicBezTo>
                <a:cubicBezTo>
                  <a:pt x="1008163" y="1404772"/>
                  <a:pt x="1008546" y="1406215"/>
                  <a:pt x="1008940" y="1407701"/>
                </a:cubicBezTo>
                <a:cubicBezTo>
                  <a:pt x="1009316" y="1409030"/>
                  <a:pt x="1009693" y="1410360"/>
                  <a:pt x="1010080" y="1411730"/>
                </a:cubicBezTo>
                <a:cubicBezTo>
                  <a:pt x="1010409" y="1412900"/>
                  <a:pt x="1010737" y="1414071"/>
                  <a:pt x="1011075" y="1415277"/>
                </a:cubicBezTo>
                <a:cubicBezTo>
                  <a:pt x="1012501" y="1418612"/>
                  <a:pt x="1014136" y="1420168"/>
                  <a:pt x="1017055" y="1422530"/>
                </a:cubicBezTo>
                <a:cubicBezTo>
                  <a:pt x="1018770" y="1425162"/>
                  <a:pt x="1018770" y="1425162"/>
                  <a:pt x="1020277" y="1427991"/>
                </a:cubicBezTo>
                <a:cubicBezTo>
                  <a:pt x="1020778" y="1428917"/>
                  <a:pt x="1021280" y="1429844"/>
                  <a:pt x="1021796" y="1430798"/>
                </a:cubicBezTo>
                <a:cubicBezTo>
                  <a:pt x="1023303" y="1433804"/>
                  <a:pt x="1023303" y="1433804"/>
                  <a:pt x="1024579" y="1437239"/>
                </a:cubicBezTo>
                <a:cubicBezTo>
                  <a:pt x="1026915" y="1441803"/>
                  <a:pt x="1030098" y="1444534"/>
                  <a:pt x="1034043" y="1448072"/>
                </a:cubicBezTo>
                <a:lnTo>
                  <a:pt x="1043782" y="1464320"/>
                </a:lnTo>
                <a:lnTo>
                  <a:pt x="1050458" y="1472189"/>
                </a:lnTo>
                <a:cubicBezTo>
                  <a:pt x="1051737" y="1475181"/>
                  <a:pt x="1052277" y="1478513"/>
                  <a:pt x="1052926" y="1482370"/>
                </a:cubicBezTo>
                <a:cubicBezTo>
                  <a:pt x="1053325" y="1487224"/>
                  <a:pt x="1053364" y="1492038"/>
                  <a:pt x="1053316" y="1496903"/>
                </a:cubicBezTo>
                <a:cubicBezTo>
                  <a:pt x="1053328" y="1498142"/>
                  <a:pt x="1053340" y="1499382"/>
                  <a:pt x="1053352" y="1500660"/>
                </a:cubicBezTo>
                <a:cubicBezTo>
                  <a:pt x="1053348" y="1501856"/>
                  <a:pt x="1053344" y="1503052"/>
                  <a:pt x="1053341" y="1504285"/>
                </a:cubicBezTo>
                <a:cubicBezTo>
                  <a:pt x="1053336" y="1505355"/>
                  <a:pt x="1053333" y="1506426"/>
                  <a:pt x="1053329" y="1507529"/>
                </a:cubicBezTo>
                <a:cubicBezTo>
                  <a:pt x="1052876" y="1510927"/>
                  <a:pt x="1051672" y="1513237"/>
                  <a:pt x="1049801" y="1516192"/>
                </a:cubicBezTo>
                <a:lnTo>
                  <a:pt x="1047312" y="1516192"/>
                </a:lnTo>
                <a:lnTo>
                  <a:pt x="1043611" y="1522585"/>
                </a:lnTo>
                <a:cubicBezTo>
                  <a:pt x="1035301" y="1529631"/>
                  <a:pt x="1035301" y="1529631"/>
                  <a:pt x="1029552" y="1529631"/>
                </a:cubicBezTo>
                <a:cubicBezTo>
                  <a:pt x="1029294" y="1530503"/>
                  <a:pt x="1029036" y="1531375"/>
                  <a:pt x="1028771" y="1532273"/>
                </a:cubicBezTo>
                <a:cubicBezTo>
                  <a:pt x="1025795" y="1536076"/>
                  <a:pt x="1022970" y="1536733"/>
                  <a:pt x="1018013" y="1537640"/>
                </a:cubicBezTo>
                <a:cubicBezTo>
                  <a:pt x="1005216" y="1539038"/>
                  <a:pt x="992573" y="1539816"/>
                  <a:pt x="981126" y="1533859"/>
                </a:cubicBezTo>
                <a:cubicBezTo>
                  <a:pt x="979840" y="1533226"/>
                  <a:pt x="978553" y="1532594"/>
                  <a:pt x="977227" y="1531943"/>
                </a:cubicBezTo>
                <a:cubicBezTo>
                  <a:pt x="965286" y="1525877"/>
                  <a:pt x="959626" y="1520520"/>
                  <a:pt x="955376" y="1508751"/>
                </a:cubicBezTo>
                <a:cubicBezTo>
                  <a:pt x="954571" y="1505674"/>
                  <a:pt x="954571" y="1505674"/>
                  <a:pt x="954571" y="1500037"/>
                </a:cubicBezTo>
                <a:cubicBezTo>
                  <a:pt x="953539" y="1500037"/>
                  <a:pt x="952508" y="1500037"/>
                  <a:pt x="951446" y="1500037"/>
                </a:cubicBezTo>
                <a:cubicBezTo>
                  <a:pt x="951361" y="1495986"/>
                  <a:pt x="951299" y="1491935"/>
                  <a:pt x="951251" y="1487883"/>
                </a:cubicBezTo>
                <a:cubicBezTo>
                  <a:pt x="951224" y="1486744"/>
                  <a:pt x="951198" y="1485605"/>
                  <a:pt x="951171" y="1484431"/>
                </a:cubicBezTo>
                <a:cubicBezTo>
                  <a:pt x="951110" y="1477657"/>
                  <a:pt x="952093" y="1472660"/>
                  <a:pt x="954571" y="1466216"/>
                </a:cubicBezTo>
                <a:cubicBezTo>
                  <a:pt x="954867" y="1462451"/>
                  <a:pt x="955016" y="1458876"/>
                  <a:pt x="954961" y="1455118"/>
                </a:cubicBezTo>
                <a:cubicBezTo>
                  <a:pt x="954951" y="1454080"/>
                  <a:pt x="954942" y="1453042"/>
                  <a:pt x="954932" y="1451972"/>
                </a:cubicBezTo>
                <a:cubicBezTo>
                  <a:pt x="954606" y="1435235"/>
                  <a:pt x="952568" y="1419050"/>
                  <a:pt x="945099" y="1403594"/>
                </a:cubicBezTo>
                <a:cubicBezTo>
                  <a:pt x="943714" y="1400177"/>
                  <a:pt x="943046" y="1397128"/>
                  <a:pt x="942366" y="1393553"/>
                </a:cubicBezTo>
                <a:cubicBezTo>
                  <a:pt x="940837" y="1386134"/>
                  <a:pt x="937840" y="1379609"/>
                  <a:pt x="934451" y="1372734"/>
                </a:cubicBezTo>
                <a:cubicBezTo>
                  <a:pt x="932701" y="1368980"/>
                  <a:pt x="932701" y="1368980"/>
                  <a:pt x="931974" y="1365754"/>
                </a:cubicBezTo>
                <a:cubicBezTo>
                  <a:pt x="931699" y="1364958"/>
                  <a:pt x="931422" y="1364162"/>
                  <a:pt x="931138" y="1363343"/>
                </a:cubicBezTo>
                <a:cubicBezTo>
                  <a:pt x="929592" y="1362878"/>
                  <a:pt x="928045" y="1362413"/>
                  <a:pt x="926452" y="1361933"/>
                </a:cubicBezTo>
                <a:cubicBezTo>
                  <a:pt x="921830" y="1355261"/>
                  <a:pt x="920323" y="1348382"/>
                  <a:pt x="918641" y="1340795"/>
                </a:cubicBezTo>
                <a:cubicBezTo>
                  <a:pt x="918133" y="1338914"/>
                  <a:pt x="917616" y="1337034"/>
                  <a:pt x="917079" y="1335158"/>
                </a:cubicBezTo>
                <a:cubicBezTo>
                  <a:pt x="916048" y="1335158"/>
                  <a:pt x="915018" y="1335158"/>
                  <a:pt x="913955" y="1335158"/>
                </a:cubicBezTo>
                <a:cubicBezTo>
                  <a:pt x="913329" y="1333718"/>
                  <a:pt x="912703" y="1332277"/>
                  <a:pt x="912057" y="1330793"/>
                </a:cubicBezTo>
                <a:cubicBezTo>
                  <a:pt x="909497" y="1325424"/>
                  <a:pt x="906114" y="1320822"/>
                  <a:pt x="902142" y="1316222"/>
                </a:cubicBezTo>
                <a:cubicBezTo>
                  <a:pt x="901465" y="1315432"/>
                  <a:pt x="900788" y="1314642"/>
                  <a:pt x="900091" y="1313828"/>
                </a:cubicBezTo>
                <a:cubicBezTo>
                  <a:pt x="893705" y="1306618"/>
                  <a:pt x="886350" y="1301049"/>
                  <a:pt x="878026" y="1295700"/>
                </a:cubicBezTo>
                <a:cubicBezTo>
                  <a:pt x="876595" y="1294594"/>
                  <a:pt x="876595" y="1294594"/>
                  <a:pt x="875134" y="1293465"/>
                </a:cubicBezTo>
                <a:lnTo>
                  <a:pt x="869869" y="1291826"/>
                </a:lnTo>
                <a:lnTo>
                  <a:pt x="862384" y="1291327"/>
                </a:lnTo>
                <a:cubicBezTo>
                  <a:pt x="856441" y="1290067"/>
                  <a:pt x="850461" y="1290346"/>
                  <a:pt x="844390" y="1290461"/>
                </a:cubicBezTo>
                <a:cubicBezTo>
                  <a:pt x="842453" y="1290480"/>
                  <a:pt x="842453" y="1290480"/>
                  <a:pt x="840476" y="1290500"/>
                </a:cubicBezTo>
                <a:cubicBezTo>
                  <a:pt x="837322" y="1290532"/>
                  <a:pt x="834169" y="1290583"/>
                  <a:pt x="831015" y="1290637"/>
                </a:cubicBezTo>
                <a:cubicBezTo>
                  <a:pt x="831015" y="1291568"/>
                  <a:pt x="831015" y="1292498"/>
                  <a:pt x="831015" y="1293456"/>
                </a:cubicBezTo>
                <a:cubicBezTo>
                  <a:pt x="826519" y="1294808"/>
                  <a:pt x="822922" y="1295235"/>
                  <a:pt x="818225" y="1295570"/>
                </a:cubicBezTo>
                <a:lnTo>
                  <a:pt x="796774" y="1297671"/>
                </a:lnTo>
                <a:lnTo>
                  <a:pt x="783646" y="1305736"/>
                </a:lnTo>
                <a:cubicBezTo>
                  <a:pt x="776915" y="1312506"/>
                  <a:pt x="772692" y="1318638"/>
                  <a:pt x="769263" y="1327143"/>
                </a:cubicBezTo>
                <a:cubicBezTo>
                  <a:pt x="767116" y="1332340"/>
                  <a:pt x="767116" y="1332340"/>
                  <a:pt x="764797" y="1334360"/>
                </a:cubicBezTo>
                <a:lnTo>
                  <a:pt x="757875" y="1353503"/>
                </a:lnTo>
                <a:lnTo>
                  <a:pt x="755676" y="1367455"/>
                </a:lnTo>
                <a:lnTo>
                  <a:pt x="750558" y="1399690"/>
                </a:lnTo>
                <a:lnTo>
                  <a:pt x="753057" y="1411256"/>
                </a:lnTo>
                <a:cubicBezTo>
                  <a:pt x="753057" y="1413117"/>
                  <a:pt x="753057" y="1414976"/>
                  <a:pt x="753057" y="1416893"/>
                </a:cubicBezTo>
                <a:cubicBezTo>
                  <a:pt x="754087" y="1416893"/>
                  <a:pt x="755119" y="1416893"/>
                  <a:pt x="756181" y="1416893"/>
                </a:cubicBezTo>
                <a:cubicBezTo>
                  <a:pt x="759348" y="1422607"/>
                  <a:pt x="758101" y="1429902"/>
                  <a:pt x="758133" y="1436182"/>
                </a:cubicBezTo>
                <a:cubicBezTo>
                  <a:pt x="758182" y="1438458"/>
                  <a:pt x="758182" y="1438458"/>
                  <a:pt x="758231" y="1440781"/>
                </a:cubicBezTo>
                <a:cubicBezTo>
                  <a:pt x="758283" y="1450271"/>
                  <a:pt x="758174" y="1458360"/>
                  <a:pt x="750713" y="1465704"/>
                </a:cubicBezTo>
                <a:cubicBezTo>
                  <a:pt x="749940" y="1466193"/>
                  <a:pt x="749167" y="1466681"/>
                  <a:pt x="748370" y="1467185"/>
                </a:cubicBezTo>
                <a:cubicBezTo>
                  <a:pt x="743665" y="1470047"/>
                  <a:pt x="743665" y="1470047"/>
                  <a:pt x="741633" y="1473526"/>
                </a:cubicBezTo>
                <a:cubicBezTo>
                  <a:pt x="737793" y="1477248"/>
                  <a:pt x="733582" y="1477483"/>
                  <a:pt x="728154" y="1478343"/>
                </a:cubicBezTo>
                <a:cubicBezTo>
                  <a:pt x="724855" y="1478778"/>
                  <a:pt x="724855" y="1478778"/>
                  <a:pt x="721814" y="1480308"/>
                </a:cubicBezTo>
                <a:cubicBezTo>
                  <a:pt x="717303" y="1480523"/>
                  <a:pt x="712854" y="1480634"/>
                  <a:pt x="708341" y="1480661"/>
                </a:cubicBezTo>
                <a:cubicBezTo>
                  <a:pt x="707118" y="1480690"/>
                  <a:pt x="705896" y="1480719"/>
                  <a:pt x="704637" y="1480748"/>
                </a:cubicBezTo>
                <a:cubicBezTo>
                  <a:pt x="690446" y="1480834"/>
                  <a:pt x="679632" y="1476246"/>
                  <a:pt x="668507" y="1468418"/>
                </a:cubicBezTo>
                <a:cubicBezTo>
                  <a:pt x="662823" y="1463224"/>
                  <a:pt x="661745" y="1456995"/>
                  <a:pt x="660178" y="1450027"/>
                </a:cubicBezTo>
                <a:cubicBezTo>
                  <a:pt x="659725" y="1446589"/>
                  <a:pt x="659725" y="1446589"/>
                  <a:pt x="657767" y="1445078"/>
                </a:cubicBezTo>
                <a:cubicBezTo>
                  <a:pt x="656859" y="1433686"/>
                  <a:pt x="655965" y="1419178"/>
                  <a:pt x="663369" y="1409390"/>
                </a:cubicBezTo>
                <a:cubicBezTo>
                  <a:pt x="666078" y="1406601"/>
                  <a:pt x="668921" y="1404013"/>
                  <a:pt x="671826" y="1401392"/>
                </a:cubicBezTo>
                <a:cubicBezTo>
                  <a:pt x="675197" y="1397623"/>
                  <a:pt x="677125" y="1394916"/>
                  <a:pt x="678075" y="1390118"/>
                </a:cubicBezTo>
                <a:cubicBezTo>
                  <a:pt x="680137" y="1389653"/>
                  <a:pt x="682199" y="1389188"/>
                  <a:pt x="684323" y="1388709"/>
                </a:cubicBezTo>
                <a:cubicBezTo>
                  <a:pt x="684643" y="1387232"/>
                  <a:pt x="684964" y="1385755"/>
                  <a:pt x="685293" y="1384233"/>
                </a:cubicBezTo>
                <a:cubicBezTo>
                  <a:pt x="685718" y="1382290"/>
                  <a:pt x="686144" y="1380347"/>
                  <a:pt x="686569" y="1378404"/>
                </a:cubicBezTo>
                <a:cubicBezTo>
                  <a:pt x="686885" y="1376945"/>
                  <a:pt x="686885" y="1376945"/>
                  <a:pt x="687207" y="1375456"/>
                </a:cubicBezTo>
                <a:cubicBezTo>
                  <a:pt x="688115" y="1371315"/>
                  <a:pt x="689090" y="1367353"/>
                  <a:pt x="690572" y="1363343"/>
                </a:cubicBezTo>
                <a:cubicBezTo>
                  <a:pt x="692411" y="1350128"/>
                  <a:pt x="692374" y="1336672"/>
                  <a:pt x="692495" y="1323376"/>
                </a:cubicBezTo>
                <a:cubicBezTo>
                  <a:pt x="692524" y="1320586"/>
                  <a:pt x="692574" y="1317796"/>
                  <a:pt x="692625" y="1315006"/>
                </a:cubicBezTo>
                <a:cubicBezTo>
                  <a:pt x="692853" y="1300589"/>
                  <a:pt x="692853" y="1300589"/>
                  <a:pt x="687447" y="1287245"/>
                </a:cubicBezTo>
                <a:cubicBezTo>
                  <a:pt x="685901" y="1286780"/>
                  <a:pt x="684354" y="1286315"/>
                  <a:pt x="682761" y="1285835"/>
                </a:cubicBezTo>
                <a:cubicBezTo>
                  <a:pt x="680876" y="1283743"/>
                  <a:pt x="680876" y="1283743"/>
                  <a:pt x="678954" y="1281608"/>
                </a:cubicBezTo>
                <a:cubicBezTo>
                  <a:pt x="674854" y="1277278"/>
                  <a:pt x="674356" y="1276958"/>
                  <a:pt x="668702" y="1275971"/>
                </a:cubicBezTo>
                <a:cubicBezTo>
                  <a:pt x="666619" y="1274092"/>
                  <a:pt x="664536" y="1272213"/>
                  <a:pt x="662454" y="1270334"/>
                </a:cubicBezTo>
                <a:cubicBezTo>
                  <a:pt x="658341" y="1268566"/>
                  <a:pt x="658341" y="1268566"/>
                  <a:pt x="654643" y="1267516"/>
                </a:cubicBezTo>
                <a:cubicBezTo>
                  <a:pt x="654643" y="1266585"/>
                  <a:pt x="654643" y="1265656"/>
                  <a:pt x="654643" y="1264697"/>
                </a:cubicBezTo>
                <a:cubicBezTo>
                  <a:pt x="653161" y="1264581"/>
                  <a:pt x="651679" y="1264465"/>
                  <a:pt x="650152" y="1264345"/>
                </a:cubicBezTo>
                <a:cubicBezTo>
                  <a:pt x="642318" y="1263373"/>
                  <a:pt x="635297" y="1260465"/>
                  <a:pt x="628087" y="1257651"/>
                </a:cubicBezTo>
                <a:cubicBezTo>
                  <a:pt x="628087" y="1256721"/>
                  <a:pt x="628087" y="1255791"/>
                  <a:pt x="628087" y="1254833"/>
                </a:cubicBezTo>
                <a:cubicBezTo>
                  <a:pt x="627108" y="1254662"/>
                  <a:pt x="626129" y="1254491"/>
                  <a:pt x="625121" y="1254315"/>
                </a:cubicBezTo>
                <a:cubicBezTo>
                  <a:pt x="623845" y="1254079"/>
                  <a:pt x="622568" y="1253843"/>
                  <a:pt x="621252" y="1253600"/>
                </a:cubicBezTo>
                <a:cubicBezTo>
                  <a:pt x="619984" y="1253371"/>
                  <a:pt x="618716" y="1253142"/>
                  <a:pt x="617409" y="1252906"/>
                </a:cubicBezTo>
                <a:cubicBezTo>
                  <a:pt x="614027" y="1252014"/>
                  <a:pt x="614027" y="1252014"/>
                  <a:pt x="610904" y="1249196"/>
                </a:cubicBezTo>
                <a:cubicBezTo>
                  <a:pt x="592259" y="1248653"/>
                  <a:pt x="578635" y="1260869"/>
                  <a:pt x="565739" y="1271742"/>
                </a:cubicBezTo>
                <a:cubicBezTo>
                  <a:pt x="558808" y="1277725"/>
                  <a:pt x="552763" y="1283983"/>
                  <a:pt x="546924" y="1290829"/>
                </a:cubicBezTo>
                <a:cubicBezTo>
                  <a:pt x="545838" y="1292087"/>
                  <a:pt x="544753" y="1293346"/>
                  <a:pt x="543635" y="1294643"/>
                </a:cubicBezTo>
                <a:cubicBezTo>
                  <a:pt x="542650" y="1295813"/>
                  <a:pt x="541666" y="1296983"/>
                  <a:pt x="540651" y="1298188"/>
                </a:cubicBezTo>
                <a:cubicBezTo>
                  <a:pt x="537294" y="1301526"/>
                  <a:pt x="533978" y="1303337"/>
                  <a:pt x="529673" y="1305565"/>
                </a:cubicBezTo>
                <a:cubicBezTo>
                  <a:pt x="527599" y="1308478"/>
                  <a:pt x="527599" y="1308478"/>
                  <a:pt x="526549" y="1311202"/>
                </a:cubicBezTo>
                <a:cubicBezTo>
                  <a:pt x="525518" y="1311202"/>
                  <a:pt x="524487" y="1311202"/>
                  <a:pt x="523425" y="1311202"/>
                </a:cubicBezTo>
                <a:cubicBezTo>
                  <a:pt x="523360" y="1311986"/>
                  <a:pt x="523296" y="1312771"/>
                  <a:pt x="523230" y="1313580"/>
                </a:cubicBezTo>
                <a:cubicBezTo>
                  <a:pt x="521863" y="1316839"/>
                  <a:pt x="521863" y="1316839"/>
                  <a:pt x="517732" y="1319739"/>
                </a:cubicBezTo>
                <a:cubicBezTo>
                  <a:pt x="511111" y="1324565"/>
                  <a:pt x="506875" y="1330731"/>
                  <a:pt x="502239" y="1337096"/>
                </a:cubicBezTo>
                <a:cubicBezTo>
                  <a:pt x="500512" y="1339427"/>
                  <a:pt x="498785" y="1341757"/>
                  <a:pt x="497058" y="1344087"/>
                </a:cubicBezTo>
                <a:cubicBezTo>
                  <a:pt x="495827" y="1345760"/>
                  <a:pt x="495827" y="1345760"/>
                  <a:pt x="494572" y="1347465"/>
                </a:cubicBezTo>
                <a:cubicBezTo>
                  <a:pt x="492366" y="1350414"/>
                  <a:pt x="490094" y="1353304"/>
                  <a:pt x="487776" y="1356181"/>
                </a:cubicBezTo>
                <a:cubicBezTo>
                  <a:pt x="484805" y="1359972"/>
                  <a:pt x="482865" y="1363193"/>
                  <a:pt x="481248" y="1367571"/>
                </a:cubicBezTo>
                <a:cubicBezTo>
                  <a:pt x="480216" y="1367571"/>
                  <a:pt x="479186" y="1367571"/>
                  <a:pt x="478123" y="1367571"/>
                </a:cubicBezTo>
                <a:cubicBezTo>
                  <a:pt x="477963" y="1368558"/>
                  <a:pt x="477801" y="1369547"/>
                  <a:pt x="477635" y="1370565"/>
                </a:cubicBezTo>
                <a:cubicBezTo>
                  <a:pt x="475602" y="1378236"/>
                  <a:pt x="471952" y="1383371"/>
                  <a:pt x="465626" y="1388709"/>
                </a:cubicBezTo>
                <a:cubicBezTo>
                  <a:pt x="462272" y="1392748"/>
                  <a:pt x="462272" y="1392748"/>
                  <a:pt x="461233" y="1397340"/>
                </a:cubicBezTo>
                <a:cubicBezTo>
                  <a:pt x="460030" y="1401461"/>
                  <a:pt x="458298" y="1404501"/>
                  <a:pt x="455765" y="1408086"/>
                </a:cubicBezTo>
                <a:cubicBezTo>
                  <a:pt x="442829" y="1428603"/>
                  <a:pt x="441572" y="1454548"/>
                  <a:pt x="439070" y="1477490"/>
                </a:cubicBezTo>
                <a:cubicBezTo>
                  <a:pt x="437524" y="1477955"/>
                  <a:pt x="435977" y="1478420"/>
                  <a:pt x="434384" y="1478899"/>
                </a:cubicBezTo>
                <a:cubicBezTo>
                  <a:pt x="433739" y="1479916"/>
                  <a:pt x="433095" y="1480933"/>
                  <a:pt x="432431" y="1481982"/>
                </a:cubicBezTo>
                <a:cubicBezTo>
                  <a:pt x="428860" y="1487159"/>
                  <a:pt x="424291" y="1490903"/>
                  <a:pt x="418763" y="1494401"/>
                </a:cubicBezTo>
                <a:cubicBezTo>
                  <a:pt x="417731" y="1494401"/>
                  <a:pt x="416701" y="1494401"/>
                  <a:pt x="415639" y="1494401"/>
                </a:cubicBezTo>
                <a:cubicBezTo>
                  <a:pt x="415639" y="1495330"/>
                  <a:pt x="415639" y="1496260"/>
                  <a:pt x="415639" y="1497219"/>
                </a:cubicBezTo>
                <a:cubicBezTo>
                  <a:pt x="412546" y="1497684"/>
                  <a:pt x="409453" y="1498149"/>
                  <a:pt x="406265" y="1498628"/>
                </a:cubicBezTo>
                <a:cubicBezTo>
                  <a:pt x="406265" y="1499559"/>
                  <a:pt x="406265" y="1500488"/>
                  <a:pt x="406265" y="1501447"/>
                </a:cubicBezTo>
                <a:cubicBezTo>
                  <a:pt x="395955" y="1501447"/>
                  <a:pt x="385645" y="1501447"/>
                  <a:pt x="375023" y="1501447"/>
                </a:cubicBezTo>
                <a:lnTo>
                  <a:pt x="375023" y="1499438"/>
                </a:lnTo>
                <a:lnTo>
                  <a:pt x="374964" y="1499436"/>
                </a:lnTo>
                <a:lnTo>
                  <a:pt x="373179" y="1498628"/>
                </a:lnTo>
                <a:lnTo>
                  <a:pt x="365650" y="1498628"/>
                </a:lnTo>
                <a:lnTo>
                  <a:pt x="363134" y="1494087"/>
                </a:lnTo>
                <a:lnTo>
                  <a:pt x="362171" y="1493651"/>
                </a:lnTo>
                <a:cubicBezTo>
                  <a:pt x="361656" y="1492722"/>
                  <a:pt x="361140" y="1491791"/>
                  <a:pt x="360609" y="1490833"/>
                </a:cubicBezTo>
                <a:cubicBezTo>
                  <a:pt x="361640" y="1490833"/>
                  <a:pt x="362671" y="1490833"/>
                  <a:pt x="363733" y="1490833"/>
                </a:cubicBezTo>
                <a:lnTo>
                  <a:pt x="363733" y="1489980"/>
                </a:lnTo>
                <a:lnTo>
                  <a:pt x="348467" y="1481717"/>
                </a:lnTo>
                <a:lnTo>
                  <a:pt x="343872" y="1461078"/>
                </a:lnTo>
                <a:lnTo>
                  <a:pt x="343656" y="1463649"/>
                </a:lnTo>
                <a:cubicBezTo>
                  <a:pt x="343541" y="1465230"/>
                  <a:pt x="343541" y="1465230"/>
                  <a:pt x="343424" y="1466842"/>
                </a:cubicBezTo>
                <a:cubicBezTo>
                  <a:pt x="342908" y="1466842"/>
                  <a:pt x="342393" y="1466842"/>
                  <a:pt x="341861" y="1466842"/>
                </a:cubicBezTo>
                <a:cubicBezTo>
                  <a:pt x="340987" y="1449564"/>
                  <a:pt x="340999" y="1434331"/>
                  <a:pt x="354143" y="1420549"/>
                </a:cubicBezTo>
                <a:cubicBezTo>
                  <a:pt x="360765" y="1414011"/>
                  <a:pt x="367631" y="1407790"/>
                  <a:pt x="376229" y="1403427"/>
                </a:cubicBezTo>
                <a:lnTo>
                  <a:pt x="379491" y="1404408"/>
                </a:lnTo>
                <a:lnTo>
                  <a:pt x="379710" y="1404210"/>
                </a:lnTo>
                <a:cubicBezTo>
                  <a:pt x="380290" y="1402902"/>
                  <a:pt x="380290" y="1402902"/>
                  <a:pt x="380882" y="1401568"/>
                </a:cubicBezTo>
                <a:cubicBezTo>
                  <a:pt x="383675" y="1397284"/>
                  <a:pt x="387587" y="1395610"/>
                  <a:pt x="392207" y="1392936"/>
                </a:cubicBezTo>
                <a:lnTo>
                  <a:pt x="399542" y="1386774"/>
                </a:lnTo>
                <a:lnTo>
                  <a:pt x="405485" y="1378917"/>
                </a:lnTo>
                <a:cubicBezTo>
                  <a:pt x="408065" y="1375974"/>
                  <a:pt x="410029" y="1372774"/>
                  <a:pt x="412008" y="1369481"/>
                </a:cubicBezTo>
                <a:cubicBezTo>
                  <a:pt x="414759" y="1365166"/>
                  <a:pt x="417963" y="1361131"/>
                  <a:pt x="421130" y="1357057"/>
                </a:cubicBezTo>
                <a:cubicBezTo>
                  <a:pt x="423073" y="1354140"/>
                  <a:pt x="423985" y="1351767"/>
                  <a:pt x="424676" y="1348443"/>
                </a:cubicBezTo>
                <a:lnTo>
                  <a:pt x="427275" y="1348443"/>
                </a:lnTo>
                <a:lnTo>
                  <a:pt x="428135" y="1345727"/>
                </a:lnTo>
                <a:cubicBezTo>
                  <a:pt x="429370" y="1341828"/>
                  <a:pt x="430645" y="1338666"/>
                  <a:pt x="432822" y="1335158"/>
                </a:cubicBezTo>
                <a:cubicBezTo>
                  <a:pt x="433853" y="1335158"/>
                  <a:pt x="434884" y="1335158"/>
                  <a:pt x="435946" y="1335158"/>
                </a:cubicBezTo>
                <a:cubicBezTo>
                  <a:pt x="436526" y="1333385"/>
                  <a:pt x="437106" y="1331613"/>
                  <a:pt x="437704" y="1329786"/>
                </a:cubicBezTo>
                <a:cubicBezTo>
                  <a:pt x="440162" y="1323132"/>
                  <a:pt x="443602" y="1317301"/>
                  <a:pt x="447394" y="1311196"/>
                </a:cubicBezTo>
                <a:cubicBezTo>
                  <a:pt x="456493" y="1296485"/>
                  <a:pt x="463325" y="1281864"/>
                  <a:pt x="469287" y="1265964"/>
                </a:cubicBezTo>
                <a:cubicBezTo>
                  <a:pt x="474589" y="1252134"/>
                  <a:pt x="474589" y="1252134"/>
                  <a:pt x="478178" y="1246787"/>
                </a:cubicBezTo>
                <a:cubicBezTo>
                  <a:pt x="481232" y="1240246"/>
                  <a:pt x="480204" y="1232766"/>
                  <a:pt x="480179" y="1225768"/>
                </a:cubicBezTo>
                <a:cubicBezTo>
                  <a:pt x="480174" y="1222894"/>
                  <a:pt x="480210" y="1220023"/>
                  <a:pt x="480250" y="1217149"/>
                </a:cubicBezTo>
                <a:cubicBezTo>
                  <a:pt x="480260" y="1199291"/>
                  <a:pt x="476718" y="1187768"/>
                  <a:pt x="462972" y="1174827"/>
                </a:cubicBezTo>
                <a:cubicBezTo>
                  <a:pt x="461148" y="1173192"/>
                  <a:pt x="459312" y="1171566"/>
                  <a:pt x="457468" y="1169949"/>
                </a:cubicBezTo>
                <a:cubicBezTo>
                  <a:pt x="451412" y="1164522"/>
                  <a:pt x="445876" y="1158660"/>
                  <a:pt x="440657" y="1152570"/>
                </a:cubicBezTo>
                <a:cubicBezTo>
                  <a:pt x="430474" y="1140786"/>
                  <a:pt x="418230" y="1128998"/>
                  <a:pt x="403142" y="1122366"/>
                </a:cubicBezTo>
                <a:cubicBezTo>
                  <a:pt x="402626" y="1121436"/>
                  <a:pt x="402110" y="1120506"/>
                  <a:pt x="401579" y="1119547"/>
                </a:cubicBezTo>
                <a:cubicBezTo>
                  <a:pt x="390472" y="1115326"/>
                  <a:pt x="375918" y="1114217"/>
                  <a:pt x="364564" y="1118209"/>
                </a:cubicBezTo>
                <a:cubicBezTo>
                  <a:pt x="362278" y="1119428"/>
                  <a:pt x="360026" y="1120704"/>
                  <a:pt x="357822" y="1122041"/>
                </a:cubicBezTo>
                <a:cubicBezTo>
                  <a:pt x="354521" y="1123884"/>
                  <a:pt x="351862" y="1124582"/>
                  <a:pt x="348077" y="1125273"/>
                </a:cubicBezTo>
                <a:cubicBezTo>
                  <a:pt x="341765" y="1126696"/>
                  <a:pt x="339382" y="1128619"/>
                  <a:pt x="334408" y="1132230"/>
                </a:cubicBezTo>
                <a:cubicBezTo>
                  <a:pt x="332284" y="1132909"/>
                  <a:pt x="330131" y="1133519"/>
                  <a:pt x="327964" y="1134080"/>
                </a:cubicBezTo>
                <a:cubicBezTo>
                  <a:pt x="309975" y="1139067"/>
                  <a:pt x="290592" y="1152117"/>
                  <a:pt x="279734" y="1166051"/>
                </a:cubicBezTo>
                <a:cubicBezTo>
                  <a:pt x="277929" y="1169534"/>
                  <a:pt x="277929" y="1169534"/>
                  <a:pt x="276609" y="1173098"/>
                </a:cubicBezTo>
                <a:cubicBezTo>
                  <a:pt x="272413" y="1180804"/>
                  <a:pt x="269322" y="1184144"/>
                  <a:pt x="260988" y="1188599"/>
                </a:cubicBezTo>
                <a:cubicBezTo>
                  <a:pt x="259988" y="1189435"/>
                  <a:pt x="258987" y="1190271"/>
                  <a:pt x="257956" y="1191132"/>
                </a:cubicBezTo>
                <a:lnTo>
                  <a:pt x="243805" y="1196629"/>
                </a:lnTo>
                <a:lnTo>
                  <a:pt x="243805" y="1194236"/>
                </a:lnTo>
                <a:lnTo>
                  <a:pt x="240288" y="1194765"/>
                </a:lnTo>
                <a:lnTo>
                  <a:pt x="243374" y="1194765"/>
                </a:lnTo>
                <a:lnTo>
                  <a:pt x="243374" y="1196797"/>
                </a:lnTo>
                <a:lnTo>
                  <a:pt x="243805" y="1196629"/>
                </a:lnTo>
                <a:lnTo>
                  <a:pt x="243805" y="1197055"/>
                </a:lnTo>
                <a:lnTo>
                  <a:pt x="243374" y="1197055"/>
                </a:lnTo>
                <a:lnTo>
                  <a:pt x="243374" y="1197584"/>
                </a:lnTo>
                <a:lnTo>
                  <a:pt x="241319" y="1197595"/>
                </a:lnTo>
                <a:lnTo>
                  <a:pt x="238009" y="1198881"/>
                </a:lnTo>
                <a:cubicBezTo>
                  <a:pt x="231012" y="1199584"/>
                  <a:pt x="223620" y="1198927"/>
                  <a:pt x="215687" y="1198464"/>
                </a:cubicBezTo>
                <a:lnTo>
                  <a:pt x="215687" y="1197734"/>
                </a:lnTo>
                <a:lnTo>
                  <a:pt x="213936" y="1197744"/>
                </a:lnTo>
                <a:cubicBezTo>
                  <a:pt x="210570" y="1197584"/>
                  <a:pt x="210570" y="1197584"/>
                  <a:pt x="207446" y="1196175"/>
                </a:cubicBezTo>
                <a:lnTo>
                  <a:pt x="207822" y="1195610"/>
                </a:lnTo>
                <a:lnTo>
                  <a:pt x="184737" y="1180936"/>
                </a:lnTo>
                <a:cubicBezTo>
                  <a:pt x="180258" y="1172216"/>
                  <a:pt x="179226" y="1164355"/>
                  <a:pt x="179270" y="1154866"/>
                </a:cubicBezTo>
                <a:cubicBezTo>
                  <a:pt x="179233" y="1153260"/>
                  <a:pt x="179233" y="1153260"/>
                  <a:pt x="179194" y="1151621"/>
                </a:cubicBezTo>
                <a:cubicBezTo>
                  <a:pt x="179182" y="1139523"/>
                  <a:pt x="183658" y="1128837"/>
                  <a:pt x="193195" y="1120065"/>
                </a:cubicBezTo>
                <a:cubicBezTo>
                  <a:pt x="204265" y="1110959"/>
                  <a:pt x="215062" y="1110626"/>
                  <a:pt x="229551" y="1110299"/>
                </a:cubicBezTo>
                <a:cubicBezTo>
                  <a:pt x="240132" y="1110024"/>
                  <a:pt x="250506" y="1109652"/>
                  <a:pt x="260988" y="1108274"/>
                </a:cubicBezTo>
                <a:cubicBezTo>
                  <a:pt x="260988" y="1107344"/>
                  <a:pt x="260988" y="1106413"/>
                  <a:pt x="260988" y="1105455"/>
                </a:cubicBezTo>
                <a:cubicBezTo>
                  <a:pt x="261953" y="1105078"/>
                  <a:pt x="262918" y="1104699"/>
                  <a:pt x="263911" y="1104310"/>
                </a:cubicBezTo>
                <a:cubicBezTo>
                  <a:pt x="272903" y="1100557"/>
                  <a:pt x="279802" y="1096307"/>
                  <a:pt x="286995" y="1090185"/>
                </a:cubicBezTo>
                <a:cubicBezTo>
                  <a:pt x="290956" y="1086897"/>
                  <a:pt x="295114" y="1083955"/>
                  <a:pt x="299358" y="1080970"/>
                </a:cubicBezTo>
                <a:cubicBezTo>
                  <a:pt x="306613" y="1075692"/>
                  <a:pt x="312234" y="1070023"/>
                  <a:pt x="317762" y="1063272"/>
                </a:cubicBezTo>
                <a:cubicBezTo>
                  <a:pt x="320349" y="1060360"/>
                  <a:pt x="320349" y="1060360"/>
                  <a:pt x="325035" y="1057542"/>
                </a:cubicBezTo>
                <a:cubicBezTo>
                  <a:pt x="329912" y="1045734"/>
                  <a:pt x="327928" y="1035103"/>
                  <a:pt x="325328" y="1023104"/>
                </a:cubicBezTo>
                <a:cubicBezTo>
                  <a:pt x="325069" y="1021831"/>
                  <a:pt x="324811" y="1020559"/>
                  <a:pt x="324544" y="1019247"/>
                </a:cubicBezTo>
                <a:cubicBezTo>
                  <a:pt x="322876" y="1011407"/>
                  <a:pt x="320562" y="1004340"/>
                  <a:pt x="317225" y="996945"/>
                </a:cubicBezTo>
                <a:cubicBezTo>
                  <a:pt x="316619" y="995541"/>
                  <a:pt x="316013" y="994137"/>
                  <a:pt x="315388" y="992690"/>
                </a:cubicBezTo>
                <a:cubicBezTo>
                  <a:pt x="306307" y="972561"/>
                  <a:pt x="298931" y="959343"/>
                  <a:pt x="276232" y="950666"/>
                </a:cubicBezTo>
                <a:cubicBezTo>
                  <a:pt x="274810" y="950127"/>
                  <a:pt x="273388" y="949587"/>
                  <a:pt x="271923" y="949031"/>
                </a:cubicBezTo>
                <a:cubicBezTo>
                  <a:pt x="270129" y="948244"/>
                  <a:pt x="270129" y="948244"/>
                  <a:pt x="268299" y="947441"/>
                </a:cubicBezTo>
                <a:cubicBezTo>
                  <a:pt x="247071" y="938140"/>
                  <a:pt x="222259" y="939051"/>
                  <a:pt x="199187" y="938991"/>
                </a:cubicBezTo>
                <a:cubicBezTo>
                  <a:pt x="197383" y="938984"/>
                  <a:pt x="195579" y="938978"/>
                  <a:pt x="193719" y="938971"/>
                </a:cubicBezTo>
                <a:cubicBezTo>
                  <a:pt x="192010" y="938974"/>
                  <a:pt x="190300" y="938977"/>
                  <a:pt x="188539" y="938980"/>
                </a:cubicBezTo>
                <a:cubicBezTo>
                  <a:pt x="187000" y="938981"/>
                  <a:pt x="185460" y="938983"/>
                  <a:pt x="183874" y="938985"/>
                </a:cubicBezTo>
                <a:cubicBezTo>
                  <a:pt x="180148" y="939150"/>
                  <a:pt x="177092" y="939720"/>
                  <a:pt x="173509" y="940576"/>
                </a:cubicBezTo>
                <a:cubicBezTo>
                  <a:pt x="169458" y="940674"/>
                  <a:pt x="165452" y="940710"/>
                  <a:pt x="161403" y="940664"/>
                </a:cubicBezTo>
                <a:cubicBezTo>
                  <a:pt x="160314" y="940658"/>
                  <a:pt x="159224" y="940651"/>
                  <a:pt x="158102" y="940645"/>
                </a:cubicBezTo>
                <a:lnTo>
                  <a:pt x="150875" y="940583"/>
                </a:lnTo>
                <a:lnTo>
                  <a:pt x="148425" y="940717"/>
                </a:lnTo>
                <a:lnTo>
                  <a:pt x="149617" y="940995"/>
                </a:lnTo>
                <a:cubicBezTo>
                  <a:pt x="149617" y="941459"/>
                  <a:pt x="149617" y="941924"/>
                  <a:pt x="149617" y="942404"/>
                </a:cubicBezTo>
                <a:cubicBezTo>
                  <a:pt x="148630" y="942558"/>
                  <a:pt x="147643" y="942712"/>
                  <a:pt x="146627" y="942871"/>
                </a:cubicBezTo>
                <a:cubicBezTo>
                  <a:pt x="134541" y="944804"/>
                  <a:pt x="122553" y="947081"/>
                  <a:pt x="110564" y="949449"/>
                </a:cubicBezTo>
                <a:lnTo>
                  <a:pt x="111283" y="946205"/>
                </a:lnTo>
                <a:lnTo>
                  <a:pt x="101652" y="956078"/>
                </a:lnTo>
                <a:cubicBezTo>
                  <a:pt x="99870" y="957260"/>
                  <a:pt x="99870" y="957260"/>
                  <a:pt x="98052" y="958467"/>
                </a:cubicBezTo>
                <a:cubicBezTo>
                  <a:pt x="75683" y="972989"/>
                  <a:pt x="75683" y="972989"/>
                  <a:pt x="67286" y="972989"/>
                </a:cubicBezTo>
                <a:cubicBezTo>
                  <a:pt x="67286" y="973918"/>
                  <a:pt x="67286" y="974848"/>
                  <a:pt x="67286" y="975807"/>
                </a:cubicBezTo>
                <a:cubicBezTo>
                  <a:pt x="55713" y="979519"/>
                  <a:pt x="43549" y="980689"/>
                  <a:pt x="31942" y="976423"/>
                </a:cubicBezTo>
                <a:cubicBezTo>
                  <a:pt x="19953" y="970870"/>
                  <a:pt x="10774" y="964932"/>
                  <a:pt x="5673" y="953419"/>
                </a:cubicBezTo>
                <a:cubicBezTo>
                  <a:pt x="4801" y="950441"/>
                  <a:pt x="4801" y="950441"/>
                  <a:pt x="4801" y="944804"/>
                </a:cubicBezTo>
                <a:cubicBezTo>
                  <a:pt x="3770" y="944804"/>
                  <a:pt x="2739" y="944804"/>
                  <a:pt x="1676" y="944804"/>
                </a:cubicBezTo>
                <a:cubicBezTo>
                  <a:pt x="-34" y="940174"/>
                  <a:pt x="-41" y="936720"/>
                  <a:pt x="17" y="931857"/>
                </a:cubicBezTo>
                <a:cubicBezTo>
                  <a:pt x="31" y="930325"/>
                  <a:pt x="45" y="928794"/>
                  <a:pt x="59" y="927216"/>
                </a:cubicBezTo>
                <a:cubicBezTo>
                  <a:pt x="78" y="926044"/>
                  <a:pt x="96" y="924873"/>
                  <a:pt x="115" y="923666"/>
                </a:cubicBezTo>
                <a:cubicBezTo>
                  <a:pt x="1145" y="923666"/>
                  <a:pt x="2176" y="923666"/>
                  <a:pt x="3238" y="923666"/>
                </a:cubicBezTo>
                <a:cubicBezTo>
                  <a:pt x="3238" y="921805"/>
                  <a:pt x="3238" y="919945"/>
                  <a:pt x="3238" y="918029"/>
                </a:cubicBezTo>
                <a:cubicBezTo>
                  <a:pt x="4270" y="918029"/>
                  <a:pt x="5300" y="918029"/>
                  <a:pt x="6363" y="918029"/>
                </a:cubicBezTo>
                <a:cubicBezTo>
                  <a:pt x="6459" y="916314"/>
                  <a:pt x="6556" y="914599"/>
                  <a:pt x="6656" y="912832"/>
                </a:cubicBezTo>
                <a:cubicBezTo>
                  <a:pt x="7542" y="906455"/>
                  <a:pt x="10104" y="903750"/>
                  <a:pt x="15736" y="899709"/>
                </a:cubicBezTo>
                <a:lnTo>
                  <a:pt x="17243" y="898894"/>
                </a:lnTo>
                <a:lnTo>
                  <a:pt x="16800" y="898694"/>
                </a:lnTo>
                <a:lnTo>
                  <a:pt x="24988" y="894101"/>
                </a:lnTo>
                <a:lnTo>
                  <a:pt x="26768" y="892399"/>
                </a:lnTo>
                <a:cubicBezTo>
                  <a:pt x="28282" y="891122"/>
                  <a:pt x="29038" y="890483"/>
                  <a:pt x="30198" y="890164"/>
                </a:cubicBezTo>
                <a:lnTo>
                  <a:pt x="32204" y="890054"/>
                </a:lnTo>
                <a:lnTo>
                  <a:pt x="38914" y="886291"/>
                </a:lnTo>
                <a:cubicBezTo>
                  <a:pt x="47169" y="885770"/>
                  <a:pt x="55396" y="885800"/>
                  <a:pt x="63664" y="886011"/>
                </a:cubicBezTo>
                <a:lnTo>
                  <a:pt x="63664" y="886531"/>
                </a:lnTo>
                <a:lnTo>
                  <a:pt x="70784" y="886647"/>
                </a:lnTo>
                <a:cubicBezTo>
                  <a:pt x="74787" y="887000"/>
                  <a:pt x="77233" y="887948"/>
                  <a:pt x="82126" y="889845"/>
                </a:cubicBezTo>
                <a:cubicBezTo>
                  <a:pt x="92427" y="893791"/>
                  <a:pt x="103139" y="893710"/>
                  <a:pt x="114149" y="892663"/>
                </a:cubicBezTo>
                <a:cubicBezTo>
                  <a:pt x="115696" y="891733"/>
                  <a:pt x="117242" y="890803"/>
                  <a:pt x="118836" y="889845"/>
                </a:cubicBezTo>
                <a:cubicBezTo>
                  <a:pt x="123097" y="888850"/>
                  <a:pt x="127325" y="887944"/>
                  <a:pt x="131626" y="887114"/>
                </a:cubicBezTo>
                <a:cubicBezTo>
                  <a:pt x="139750" y="885542"/>
                  <a:pt x="147376" y="883653"/>
                  <a:pt x="155116" y="880913"/>
                </a:cubicBezTo>
                <a:cubicBezTo>
                  <a:pt x="158498" y="879775"/>
                  <a:pt x="161861" y="879076"/>
                  <a:pt x="165406" y="878483"/>
                </a:cubicBezTo>
                <a:cubicBezTo>
                  <a:pt x="170342" y="877655"/>
                  <a:pt x="172265" y="876971"/>
                  <a:pt x="176634" y="874343"/>
                </a:cubicBezTo>
                <a:cubicBezTo>
                  <a:pt x="179863" y="873335"/>
                  <a:pt x="183123" y="872404"/>
                  <a:pt x="186397" y="871524"/>
                </a:cubicBezTo>
                <a:cubicBezTo>
                  <a:pt x="189107" y="870786"/>
                  <a:pt x="189107" y="870786"/>
                  <a:pt x="191871" y="870033"/>
                </a:cubicBezTo>
                <a:cubicBezTo>
                  <a:pt x="195731" y="869023"/>
                  <a:pt x="199587" y="868093"/>
                  <a:pt x="203483" y="867208"/>
                </a:cubicBezTo>
                <a:cubicBezTo>
                  <a:pt x="208339" y="866199"/>
                  <a:pt x="208339" y="866199"/>
                  <a:pt x="211001" y="861660"/>
                </a:cubicBezTo>
                <a:cubicBezTo>
                  <a:pt x="214174" y="860102"/>
                  <a:pt x="214174" y="860102"/>
                  <a:pt x="218031" y="858577"/>
                </a:cubicBezTo>
                <a:cubicBezTo>
                  <a:pt x="236068" y="850629"/>
                  <a:pt x="245199" y="840442"/>
                  <a:pt x="254740" y="825020"/>
                </a:cubicBezTo>
                <a:cubicBezTo>
                  <a:pt x="255771" y="823625"/>
                  <a:pt x="256802" y="822230"/>
                  <a:pt x="257864" y="820792"/>
                </a:cubicBezTo>
                <a:cubicBezTo>
                  <a:pt x="258359" y="817506"/>
                  <a:pt x="258359" y="817506"/>
                  <a:pt x="258318" y="813810"/>
                </a:cubicBezTo>
                <a:cubicBezTo>
                  <a:pt x="258338" y="812388"/>
                  <a:pt x="258358" y="810967"/>
                  <a:pt x="258378" y="809502"/>
                </a:cubicBezTo>
                <a:cubicBezTo>
                  <a:pt x="258382" y="807965"/>
                  <a:pt x="258385" y="806429"/>
                  <a:pt x="258389" y="804845"/>
                </a:cubicBezTo>
                <a:cubicBezTo>
                  <a:pt x="258399" y="803258"/>
                  <a:pt x="258410" y="801671"/>
                  <a:pt x="258420" y="800036"/>
                </a:cubicBezTo>
                <a:cubicBezTo>
                  <a:pt x="258436" y="796670"/>
                  <a:pt x="258443" y="793305"/>
                  <a:pt x="258443" y="789939"/>
                </a:cubicBezTo>
                <a:cubicBezTo>
                  <a:pt x="258450" y="784823"/>
                  <a:pt x="258506" y="779709"/>
                  <a:pt x="258566" y="774594"/>
                </a:cubicBezTo>
                <a:cubicBezTo>
                  <a:pt x="258575" y="771319"/>
                  <a:pt x="258581" y="768045"/>
                  <a:pt x="258584" y="764771"/>
                </a:cubicBezTo>
                <a:cubicBezTo>
                  <a:pt x="258618" y="762495"/>
                  <a:pt x="258618" y="762495"/>
                  <a:pt x="258652" y="760174"/>
                </a:cubicBezTo>
                <a:cubicBezTo>
                  <a:pt x="258586" y="750030"/>
                  <a:pt x="256266" y="742584"/>
                  <a:pt x="251616" y="733421"/>
                </a:cubicBezTo>
                <a:cubicBezTo>
                  <a:pt x="250163" y="729605"/>
                  <a:pt x="248880" y="725752"/>
                  <a:pt x="247613" y="721883"/>
                </a:cubicBezTo>
                <a:cubicBezTo>
                  <a:pt x="245789" y="716328"/>
                  <a:pt x="243913" y="710939"/>
                  <a:pt x="241291" y="705644"/>
                </a:cubicBezTo>
                <a:cubicBezTo>
                  <a:pt x="238691" y="700096"/>
                  <a:pt x="238136" y="695685"/>
                  <a:pt x="237557" y="689735"/>
                </a:cubicBezTo>
                <a:cubicBezTo>
                  <a:pt x="244977" y="685507"/>
                  <a:pt x="244977" y="685507"/>
                  <a:pt x="248492" y="685507"/>
                </a:cubicBezTo>
                <a:cubicBezTo>
                  <a:pt x="248492" y="684112"/>
                  <a:pt x="248492" y="682717"/>
                  <a:pt x="248492" y="681279"/>
                </a:cubicBezTo>
                <a:cubicBezTo>
                  <a:pt x="245914" y="680815"/>
                  <a:pt x="243337" y="680350"/>
                  <a:pt x="240681" y="679870"/>
                </a:cubicBezTo>
                <a:cubicBezTo>
                  <a:pt x="240681" y="678940"/>
                  <a:pt x="240681" y="678010"/>
                  <a:pt x="240681" y="677052"/>
                </a:cubicBezTo>
                <a:cubicBezTo>
                  <a:pt x="239827" y="676917"/>
                  <a:pt x="238973" y="676783"/>
                  <a:pt x="238094" y="676645"/>
                </a:cubicBezTo>
                <a:cubicBezTo>
                  <a:pt x="233442" y="675371"/>
                  <a:pt x="229939" y="673242"/>
                  <a:pt x="225841" y="670886"/>
                </a:cubicBezTo>
                <a:cubicBezTo>
                  <a:pt x="217808" y="666564"/>
                  <a:pt x="210635" y="664241"/>
                  <a:pt x="201531" y="662508"/>
                </a:cubicBezTo>
                <a:cubicBezTo>
                  <a:pt x="196896" y="661541"/>
                  <a:pt x="192682" y="660199"/>
                  <a:pt x="188252" y="658644"/>
                </a:cubicBezTo>
                <a:lnTo>
                  <a:pt x="182431" y="657327"/>
                </a:lnTo>
                <a:lnTo>
                  <a:pt x="182431" y="657613"/>
                </a:lnTo>
                <a:cubicBezTo>
                  <a:pt x="170575" y="657148"/>
                  <a:pt x="158718" y="656683"/>
                  <a:pt x="146503" y="656204"/>
                </a:cubicBezTo>
                <a:cubicBezTo>
                  <a:pt x="146503" y="657133"/>
                  <a:pt x="146503" y="658064"/>
                  <a:pt x="146503" y="659022"/>
                </a:cubicBezTo>
                <a:cubicBezTo>
                  <a:pt x="134359" y="662326"/>
                  <a:pt x="123013" y="663700"/>
                  <a:pt x="110378" y="663778"/>
                </a:cubicBezTo>
                <a:cubicBezTo>
                  <a:pt x="108435" y="663806"/>
                  <a:pt x="108435" y="663806"/>
                  <a:pt x="106453" y="663836"/>
                </a:cubicBezTo>
                <a:cubicBezTo>
                  <a:pt x="105231" y="663828"/>
                  <a:pt x="104009" y="663820"/>
                  <a:pt x="102751" y="663811"/>
                </a:cubicBezTo>
                <a:cubicBezTo>
                  <a:pt x="101117" y="663804"/>
                  <a:pt x="101117" y="663804"/>
                  <a:pt x="99449" y="663797"/>
                </a:cubicBezTo>
                <a:cubicBezTo>
                  <a:pt x="95696" y="663097"/>
                  <a:pt x="94265" y="661615"/>
                  <a:pt x="91828" y="659022"/>
                </a:cubicBezTo>
                <a:cubicBezTo>
                  <a:pt x="93890" y="659022"/>
                  <a:pt x="95953" y="659022"/>
                  <a:pt x="98077" y="659022"/>
                </a:cubicBezTo>
                <a:cubicBezTo>
                  <a:pt x="98077" y="659952"/>
                  <a:pt x="98077" y="660882"/>
                  <a:pt x="98077" y="661841"/>
                </a:cubicBezTo>
                <a:cubicBezTo>
                  <a:pt x="108735" y="662045"/>
                  <a:pt x="114063" y="662148"/>
                  <a:pt x="119023" y="661357"/>
                </a:cubicBezTo>
                <a:lnTo>
                  <a:pt x="119536" y="661197"/>
                </a:lnTo>
                <a:lnTo>
                  <a:pt x="109853" y="661639"/>
                </a:lnTo>
                <a:cubicBezTo>
                  <a:pt x="108764" y="661632"/>
                  <a:pt x="107675" y="661626"/>
                  <a:pt x="106552" y="661619"/>
                </a:cubicBezTo>
                <a:cubicBezTo>
                  <a:pt x="103877" y="661603"/>
                  <a:pt x="101203" y="661577"/>
                  <a:pt x="98528" y="661550"/>
                </a:cubicBezTo>
                <a:cubicBezTo>
                  <a:pt x="98528" y="660620"/>
                  <a:pt x="98528" y="659691"/>
                  <a:pt x="98528" y="658732"/>
                </a:cubicBezTo>
                <a:cubicBezTo>
                  <a:pt x="95435" y="658267"/>
                  <a:pt x="92342" y="657802"/>
                  <a:pt x="89155" y="657323"/>
                </a:cubicBezTo>
                <a:cubicBezTo>
                  <a:pt x="89155" y="656393"/>
                  <a:pt x="89155" y="655462"/>
                  <a:pt x="89155" y="654504"/>
                </a:cubicBezTo>
                <a:cubicBezTo>
                  <a:pt x="87790" y="653978"/>
                  <a:pt x="87790" y="653978"/>
                  <a:pt x="86397" y="653442"/>
                </a:cubicBezTo>
                <a:cubicBezTo>
                  <a:pt x="82415" y="651438"/>
                  <a:pt x="80039" y="649232"/>
                  <a:pt x="77049" y="646137"/>
                </a:cubicBezTo>
                <a:cubicBezTo>
                  <a:pt x="75611" y="644679"/>
                  <a:pt x="75611" y="644679"/>
                  <a:pt x="74145" y="643192"/>
                </a:cubicBezTo>
                <a:cubicBezTo>
                  <a:pt x="71972" y="640412"/>
                  <a:pt x="71972" y="640412"/>
                  <a:pt x="71972" y="636185"/>
                </a:cubicBezTo>
                <a:cubicBezTo>
                  <a:pt x="70941" y="636185"/>
                  <a:pt x="69910" y="636185"/>
                  <a:pt x="68848" y="636185"/>
                </a:cubicBezTo>
                <a:cubicBezTo>
                  <a:pt x="64250" y="621928"/>
                  <a:pt x="64695" y="609404"/>
                  <a:pt x="70410" y="595317"/>
                </a:cubicBezTo>
                <a:cubicBezTo>
                  <a:pt x="73096" y="591142"/>
                  <a:pt x="76144" y="587574"/>
                  <a:pt x="79782" y="584043"/>
                </a:cubicBezTo>
                <a:cubicBezTo>
                  <a:pt x="81205" y="582594"/>
                  <a:pt x="81205" y="582594"/>
                  <a:pt x="82656" y="581115"/>
                </a:cubicBezTo>
                <a:cubicBezTo>
                  <a:pt x="91488" y="574027"/>
                  <a:pt x="105133" y="571806"/>
                  <a:pt x="116694" y="572323"/>
                </a:cubicBezTo>
                <a:cubicBezTo>
                  <a:pt x="131556" y="574113"/>
                  <a:pt x="142046" y="580551"/>
                  <a:pt x="152031" y="590385"/>
                </a:cubicBezTo>
                <a:cubicBezTo>
                  <a:pt x="162272" y="600009"/>
                  <a:pt x="176992" y="605062"/>
                  <a:pt x="191474" y="605886"/>
                </a:cubicBezTo>
                <a:cubicBezTo>
                  <a:pt x="196845" y="606192"/>
                  <a:pt x="201203" y="606463"/>
                  <a:pt x="206314" y="608000"/>
                </a:cubicBezTo>
                <a:cubicBezTo>
                  <a:pt x="206314" y="608930"/>
                  <a:pt x="206314" y="609860"/>
                  <a:pt x="206314" y="610818"/>
                </a:cubicBezTo>
                <a:cubicBezTo>
                  <a:pt x="215689" y="610902"/>
                  <a:pt x="225058" y="610898"/>
                  <a:pt x="234433" y="610818"/>
                </a:cubicBezTo>
                <a:cubicBezTo>
                  <a:pt x="236112" y="610813"/>
                  <a:pt x="237791" y="610808"/>
                  <a:pt x="239522" y="610802"/>
                </a:cubicBezTo>
                <a:cubicBezTo>
                  <a:pt x="251005" y="610364"/>
                  <a:pt x="259257" y="606564"/>
                  <a:pt x="268799" y="600954"/>
                </a:cubicBezTo>
                <a:cubicBezTo>
                  <a:pt x="269770" y="600416"/>
                  <a:pt x="270740" y="599879"/>
                  <a:pt x="271740" y="599325"/>
                </a:cubicBezTo>
                <a:cubicBezTo>
                  <a:pt x="279452" y="594430"/>
                  <a:pt x="281420" y="587464"/>
                  <a:pt x="284420" y="579816"/>
                </a:cubicBezTo>
                <a:cubicBezTo>
                  <a:pt x="286047" y="576075"/>
                  <a:pt x="287725" y="572353"/>
                  <a:pt x="289399" y="568630"/>
                </a:cubicBezTo>
                <a:cubicBezTo>
                  <a:pt x="294095" y="558121"/>
                  <a:pt x="299004" y="547070"/>
                  <a:pt x="293958" y="535838"/>
                </a:cubicBezTo>
                <a:cubicBezTo>
                  <a:pt x="292436" y="533533"/>
                  <a:pt x="290781" y="531301"/>
                  <a:pt x="289107" y="529084"/>
                </a:cubicBezTo>
                <a:cubicBezTo>
                  <a:pt x="289107" y="528153"/>
                  <a:pt x="289107" y="527223"/>
                  <a:pt x="289107" y="526265"/>
                </a:cubicBezTo>
                <a:cubicBezTo>
                  <a:pt x="287560" y="525800"/>
                  <a:pt x="286014" y="525335"/>
                  <a:pt x="284420" y="524856"/>
                </a:cubicBezTo>
                <a:cubicBezTo>
                  <a:pt x="283905" y="523461"/>
                  <a:pt x="283389" y="522066"/>
                  <a:pt x="282858" y="520628"/>
                </a:cubicBezTo>
                <a:cubicBezTo>
                  <a:pt x="280750" y="518590"/>
                  <a:pt x="280750" y="518590"/>
                  <a:pt x="277977" y="516577"/>
                </a:cubicBezTo>
                <a:cubicBezTo>
                  <a:pt x="273591" y="513232"/>
                  <a:pt x="269227" y="509874"/>
                  <a:pt x="264925" y="506443"/>
                </a:cubicBezTo>
                <a:cubicBezTo>
                  <a:pt x="253596" y="497433"/>
                  <a:pt x="242132" y="488987"/>
                  <a:pt x="229746" y="481170"/>
                </a:cubicBezTo>
                <a:cubicBezTo>
                  <a:pt x="226846" y="479266"/>
                  <a:pt x="223950" y="477358"/>
                  <a:pt x="221057" y="475445"/>
                </a:cubicBezTo>
                <a:cubicBezTo>
                  <a:pt x="218227" y="473594"/>
                  <a:pt x="215396" y="471744"/>
                  <a:pt x="212563" y="469896"/>
                </a:cubicBezTo>
                <a:cubicBezTo>
                  <a:pt x="211351" y="469102"/>
                  <a:pt x="210138" y="468309"/>
                  <a:pt x="208889" y="467491"/>
                </a:cubicBezTo>
                <a:cubicBezTo>
                  <a:pt x="202848" y="463599"/>
                  <a:pt x="196732" y="459888"/>
                  <a:pt x="190406" y="456382"/>
                </a:cubicBezTo>
                <a:cubicBezTo>
                  <a:pt x="189263" y="455748"/>
                  <a:pt x="188119" y="455114"/>
                  <a:pt x="186942" y="454460"/>
                </a:cubicBezTo>
                <a:cubicBezTo>
                  <a:pt x="184648" y="453196"/>
                  <a:pt x="182348" y="451941"/>
                  <a:pt x="180041" y="450696"/>
                </a:cubicBezTo>
                <a:cubicBezTo>
                  <a:pt x="177292" y="449185"/>
                  <a:pt x="174612" y="447571"/>
                  <a:pt x="171948" y="445940"/>
                </a:cubicBezTo>
                <a:cubicBezTo>
                  <a:pt x="171948" y="445009"/>
                  <a:pt x="171948" y="444079"/>
                  <a:pt x="171948" y="443121"/>
                </a:cubicBezTo>
                <a:cubicBezTo>
                  <a:pt x="170804" y="442985"/>
                  <a:pt x="169660" y="442848"/>
                  <a:pt x="168482" y="442708"/>
                </a:cubicBezTo>
                <a:cubicBezTo>
                  <a:pt x="163547" y="441576"/>
                  <a:pt x="161063" y="439897"/>
                  <a:pt x="157107" y="437044"/>
                </a:cubicBezTo>
                <a:cubicBezTo>
                  <a:pt x="149345" y="431895"/>
                  <a:pt x="141843" y="429626"/>
                  <a:pt x="132559" y="427510"/>
                </a:cubicBezTo>
                <a:cubicBezTo>
                  <a:pt x="128067" y="426168"/>
                  <a:pt x="126607" y="425060"/>
                  <a:pt x="123522" y="421983"/>
                </a:cubicBezTo>
                <a:cubicBezTo>
                  <a:pt x="118310" y="419033"/>
                  <a:pt x="114076" y="418794"/>
                  <a:pt x="107986" y="418730"/>
                </a:cubicBezTo>
                <a:cubicBezTo>
                  <a:pt x="106174" y="418694"/>
                  <a:pt x="104362" y="418659"/>
                  <a:pt x="102494" y="418622"/>
                </a:cubicBezTo>
                <a:cubicBezTo>
                  <a:pt x="98715" y="418573"/>
                  <a:pt x="94936" y="418529"/>
                  <a:pt x="91157" y="418490"/>
                </a:cubicBezTo>
                <a:cubicBezTo>
                  <a:pt x="78470" y="418231"/>
                  <a:pt x="65485" y="417940"/>
                  <a:pt x="55277" y="410445"/>
                </a:cubicBezTo>
                <a:cubicBezTo>
                  <a:pt x="54084" y="409137"/>
                  <a:pt x="52893" y="407829"/>
                  <a:pt x="51665" y="406481"/>
                </a:cubicBezTo>
                <a:cubicBezTo>
                  <a:pt x="49752" y="404480"/>
                  <a:pt x="47831" y="402483"/>
                  <a:pt x="45904" y="400492"/>
                </a:cubicBezTo>
                <a:cubicBezTo>
                  <a:pt x="44996" y="399526"/>
                  <a:pt x="44088" y="398559"/>
                  <a:pt x="43152" y="397564"/>
                </a:cubicBezTo>
                <a:cubicBezTo>
                  <a:pt x="40865" y="395062"/>
                  <a:pt x="40865" y="395062"/>
                  <a:pt x="37605" y="393798"/>
                </a:cubicBezTo>
                <a:lnTo>
                  <a:pt x="38995" y="368712"/>
                </a:lnTo>
                <a:lnTo>
                  <a:pt x="38666" y="369724"/>
                </a:lnTo>
                <a:cubicBezTo>
                  <a:pt x="37003" y="374506"/>
                  <a:pt x="36202" y="379113"/>
                  <a:pt x="35542" y="384081"/>
                </a:cubicBezTo>
                <a:cubicBezTo>
                  <a:pt x="30313" y="376119"/>
                  <a:pt x="31188" y="366593"/>
                  <a:pt x="33326" y="357791"/>
                </a:cubicBezTo>
                <a:cubicBezTo>
                  <a:pt x="37176" y="347767"/>
                  <a:pt x="44536" y="340769"/>
                  <a:pt x="52725" y="333349"/>
                </a:cubicBezTo>
                <a:lnTo>
                  <a:pt x="55222" y="334475"/>
                </a:lnTo>
                <a:lnTo>
                  <a:pt x="56222" y="333347"/>
                </a:lnTo>
                <a:lnTo>
                  <a:pt x="55871" y="333347"/>
                </a:lnTo>
                <a:lnTo>
                  <a:pt x="56346" y="333207"/>
                </a:lnTo>
                <a:lnTo>
                  <a:pt x="56351" y="333202"/>
                </a:lnTo>
                <a:lnTo>
                  <a:pt x="56365" y="333202"/>
                </a:lnTo>
                <a:lnTo>
                  <a:pt x="79571" y="326360"/>
                </a:lnTo>
                <a:cubicBezTo>
                  <a:pt x="87782" y="326037"/>
                  <a:pt x="96164" y="327572"/>
                  <a:pt x="104297" y="330529"/>
                </a:cubicBezTo>
                <a:lnTo>
                  <a:pt x="107170" y="334417"/>
                </a:lnTo>
                <a:lnTo>
                  <a:pt x="109366" y="336046"/>
                </a:lnTo>
                <a:lnTo>
                  <a:pt x="109463" y="336020"/>
                </a:lnTo>
                <a:lnTo>
                  <a:pt x="109463" y="336118"/>
                </a:lnTo>
                <a:lnTo>
                  <a:pt x="115226" y="340394"/>
                </a:lnTo>
                <a:lnTo>
                  <a:pt x="114010" y="340120"/>
                </a:lnTo>
                <a:lnTo>
                  <a:pt x="133285" y="357423"/>
                </a:lnTo>
                <a:cubicBezTo>
                  <a:pt x="142471" y="373187"/>
                  <a:pt x="155564" y="382744"/>
                  <a:pt x="173509" y="389571"/>
                </a:cubicBezTo>
                <a:cubicBezTo>
                  <a:pt x="176254" y="390785"/>
                  <a:pt x="178988" y="392017"/>
                  <a:pt x="181711" y="393270"/>
                </a:cubicBezTo>
                <a:cubicBezTo>
                  <a:pt x="182964" y="393833"/>
                  <a:pt x="184216" y="394396"/>
                  <a:pt x="185507" y="394976"/>
                </a:cubicBezTo>
                <a:cubicBezTo>
                  <a:pt x="187897" y="396058"/>
                  <a:pt x="190281" y="397151"/>
                  <a:pt x="192658" y="398257"/>
                </a:cubicBezTo>
                <a:cubicBezTo>
                  <a:pt x="193749" y="398762"/>
                  <a:pt x="194841" y="399267"/>
                  <a:pt x="195966" y="399788"/>
                </a:cubicBezTo>
                <a:cubicBezTo>
                  <a:pt x="196912" y="400231"/>
                  <a:pt x="197858" y="400674"/>
                  <a:pt x="198833" y="401131"/>
                </a:cubicBezTo>
                <a:cubicBezTo>
                  <a:pt x="201808" y="402326"/>
                  <a:pt x="204701" y="403032"/>
                  <a:pt x="207877" y="403663"/>
                </a:cubicBezTo>
                <a:cubicBezTo>
                  <a:pt x="207877" y="404593"/>
                  <a:pt x="207877" y="405523"/>
                  <a:pt x="207877" y="406481"/>
                </a:cubicBezTo>
                <a:cubicBezTo>
                  <a:pt x="221233" y="411377"/>
                  <a:pt x="234752" y="415503"/>
                  <a:pt x="248492" y="419428"/>
                </a:cubicBezTo>
                <a:cubicBezTo>
                  <a:pt x="250298" y="419947"/>
                  <a:pt x="252104" y="420466"/>
                  <a:pt x="253965" y="421000"/>
                </a:cubicBezTo>
                <a:cubicBezTo>
                  <a:pt x="258388" y="422270"/>
                  <a:pt x="262812" y="423537"/>
                  <a:pt x="267237" y="424801"/>
                </a:cubicBezTo>
                <a:lnTo>
                  <a:pt x="267237" y="426451"/>
                </a:lnTo>
                <a:lnTo>
                  <a:pt x="288701" y="429217"/>
                </a:lnTo>
                <a:cubicBezTo>
                  <a:pt x="288701" y="430147"/>
                  <a:pt x="288701" y="431078"/>
                  <a:pt x="288701" y="432036"/>
                </a:cubicBezTo>
                <a:cubicBezTo>
                  <a:pt x="301487" y="433472"/>
                  <a:pt x="314148" y="433662"/>
                  <a:pt x="327010" y="433628"/>
                </a:cubicBezTo>
                <a:cubicBezTo>
                  <a:pt x="330502" y="433621"/>
                  <a:pt x="333994" y="433628"/>
                  <a:pt x="337486" y="433637"/>
                </a:cubicBezTo>
                <a:cubicBezTo>
                  <a:pt x="339734" y="433637"/>
                  <a:pt x="341982" y="433635"/>
                  <a:pt x="344229" y="433632"/>
                </a:cubicBezTo>
                <a:cubicBezTo>
                  <a:pt x="347246" y="433630"/>
                  <a:pt x="347246" y="433630"/>
                  <a:pt x="350323" y="433627"/>
                </a:cubicBezTo>
                <a:cubicBezTo>
                  <a:pt x="355445" y="433459"/>
                  <a:pt x="360220" y="432915"/>
                  <a:pt x="365245" y="432036"/>
                </a:cubicBezTo>
                <a:lnTo>
                  <a:pt x="360797" y="433759"/>
                </a:lnTo>
                <a:lnTo>
                  <a:pt x="365650" y="433257"/>
                </a:lnTo>
                <a:cubicBezTo>
                  <a:pt x="366166" y="431861"/>
                  <a:pt x="366682" y="430466"/>
                  <a:pt x="367213" y="429029"/>
                </a:cubicBezTo>
                <a:cubicBezTo>
                  <a:pt x="369854" y="427628"/>
                  <a:pt x="372501" y="426234"/>
                  <a:pt x="375188" y="424906"/>
                </a:cubicBezTo>
                <a:cubicBezTo>
                  <a:pt x="390245" y="417204"/>
                  <a:pt x="397438" y="403183"/>
                  <a:pt x="404704" y="389571"/>
                </a:cubicBezTo>
                <a:cubicBezTo>
                  <a:pt x="405219" y="389105"/>
                  <a:pt x="405734" y="388641"/>
                  <a:pt x="406265" y="388161"/>
                </a:cubicBezTo>
                <a:cubicBezTo>
                  <a:pt x="406663" y="382152"/>
                  <a:pt x="406555" y="376125"/>
                  <a:pt x="406559" y="370106"/>
                </a:cubicBezTo>
                <a:cubicBezTo>
                  <a:pt x="406578" y="368412"/>
                  <a:pt x="406597" y="366718"/>
                  <a:pt x="406617" y="364973"/>
                </a:cubicBezTo>
                <a:cubicBezTo>
                  <a:pt x="406620" y="363344"/>
                  <a:pt x="406622" y="361715"/>
                  <a:pt x="406626" y="360038"/>
                </a:cubicBezTo>
                <a:cubicBezTo>
                  <a:pt x="406632" y="358541"/>
                  <a:pt x="406638" y="357045"/>
                  <a:pt x="406645" y="355503"/>
                </a:cubicBezTo>
                <a:cubicBezTo>
                  <a:pt x="406264" y="351503"/>
                  <a:pt x="405326" y="349318"/>
                  <a:pt x="403142" y="345885"/>
                </a:cubicBezTo>
                <a:cubicBezTo>
                  <a:pt x="402583" y="343484"/>
                  <a:pt x="402067" y="341075"/>
                  <a:pt x="401579" y="338663"/>
                </a:cubicBezTo>
                <a:cubicBezTo>
                  <a:pt x="399365" y="330323"/>
                  <a:pt x="395538" y="323370"/>
                  <a:pt x="390938" y="315939"/>
                </a:cubicBezTo>
                <a:cubicBezTo>
                  <a:pt x="390290" y="314890"/>
                  <a:pt x="389642" y="313842"/>
                  <a:pt x="388976" y="312762"/>
                </a:cubicBezTo>
                <a:cubicBezTo>
                  <a:pt x="385623" y="307500"/>
                  <a:pt x="382070" y="302607"/>
                  <a:pt x="377934" y="297817"/>
                </a:cubicBezTo>
                <a:cubicBezTo>
                  <a:pt x="373788" y="292978"/>
                  <a:pt x="371423" y="288111"/>
                  <a:pt x="368775" y="282470"/>
                </a:cubicBezTo>
                <a:cubicBezTo>
                  <a:pt x="366035" y="278585"/>
                  <a:pt x="362994" y="274937"/>
                  <a:pt x="359890" y="271284"/>
                </a:cubicBezTo>
                <a:cubicBezTo>
                  <a:pt x="359059" y="270296"/>
                  <a:pt x="358230" y="269307"/>
                  <a:pt x="357374" y="268288"/>
                </a:cubicBezTo>
                <a:cubicBezTo>
                  <a:pt x="351312" y="261177"/>
                  <a:pt x="344882" y="254704"/>
                  <a:pt x="337533" y="248649"/>
                </a:cubicBezTo>
                <a:cubicBezTo>
                  <a:pt x="336767" y="247896"/>
                  <a:pt x="336002" y="247144"/>
                  <a:pt x="335214" y="246369"/>
                </a:cubicBezTo>
                <a:cubicBezTo>
                  <a:pt x="332597" y="243963"/>
                  <a:pt x="332597" y="243963"/>
                  <a:pt x="327085" y="242571"/>
                </a:cubicBezTo>
                <a:cubicBezTo>
                  <a:pt x="309670" y="236923"/>
                  <a:pt x="296614" y="222751"/>
                  <a:pt x="288785" y="207968"/>
                </a:cubicBezTo>
                <a:cubicBezTo>
                  <a:pt x="286673" y="202851"/>
                  <a:pt x="286348" y="197968"/>
                  <a:pt x="286373" y="192544"/>
                </a:cubicBezTo>
                <a:cubicBezTo>
                  <a:pt x="286377" y="191437"/>
                  <a:pt x="286381" y="190330"/>
                  <a:pt x="286385" y="189190"/>
                </a:cubicBezTo>
                <a:cubicBezTo>
                  <a:pt x="286881" y="178340"/>
                  <a:pt x="291581" y="171728"/>
                  <a:pt x="300042" y="164095"/>
                </a:cubicBezTo>
                <a:cubicBezTo>
                  <a:pt x="301386" y="162752"/>
                  <a:pt x="301386" y="162752"/>
                  <a:pt x="302757" y="161381"/>
                </a:cubicBezTo>
                <a:cubicBezTo>
                  <a:pt x="312597" y="152504"/>
                  <a:pt x="325185" y="152675"/>
                  <a:pt x="338411" y="152293"/>
                </a:cubicBezTo>
                <a:cubicBezTo>
                  <a:pt x="350839" y="152463"/>
                  <a:pt x="359094" y="154554"/>
                  <a:pt x="368482" y="161893"/>
                </a:cubicBezTo>
                <a:cubicBezTo>
                  <a:pt x="369609" y="163085"/>
                  <a:pt x="370737" y="164277"/>
                  <a:pt x="371899" y="165505"/>
                </a:cubicBezTo>
                <a:cubicBezTo>
                  <a:pt x="372962" y="166522"/>
                  <a:pt x="374026" y="167539"/>
                  <a:pt x="375121" y="168587"/>
                </a:cubicBezTo>
                <a:cubicBezTo>
                  <a:pt x="381050" y="176351"/>
                  <a:pt x="384520" y="184328"/>
                  <a:pt x="384982" y="193777"/>
                </a:cubicBezTo>
                <a:cubicBezTo>
                  <a:pt x="385464" y="201192"/>
                  <a:pt x="387638" y="207607"/>
                  <a:pt x="390352" y="214563"/>
                </a:cubicBezTo>
                <a:cubicBezTo>
                  <a:pt x="390934" y="216079"/>
                  <a:pt x="390934" y="216079"/>
                  <a:pt x="391529" y="217626"/>
                </a:cubicBezTo>
                <a:cubicBezTo>
                  <a:pt x="394082" y="223926"/>
                  <a:pt x="397412" y="228969"/>
                  <a:pt x="401579" y="234556"/>
                </a:cubicBezTo>
                <a:cubicBezTo>
                  <a:pt x="401579" y="235952"/>
                  <a:pt x="401579" y="237347"/>
                  <a:pt x="401579" y="238784"/>
                </a:cubicBezTo>
                <a:cubicBezTo>
                  <a:pt x="402884" y="239263"/>
                  <a:pt x="402884" y="239263"/>
                  <a:pt x="404215" y="239753"/>
                </a:cubicBezTo>
                <a:cubicBezTo>
                  <a:pt x="410099" y="242765"/>
                  <a:pt x="414395" y="246733"/>
                  <a:pt x="417811" y="251996"/>
                </a:cubicBezTo>
                <a:cubicBezTo>
                  <a:pt x="420462" y="255897"/>
                  <a:pt x="423407" y="258959"/>
                  <a:pt x="426866" y="262300"/>
                </a:cubicBezTo>
                <a:cubicBezTo>
                  <a:pt x="435101" y="270407"/>
                  <a:pt x="442641" y="278936"/>
                  <a:pt x="450097" y="287628"/>
                </a:cubicBezTo>
                <a:cubicBezTo>
                  <a:pt x="453081" y="291117"/>
                  <a:pt x="453081" y="291117"/>
                  <a:pt x="457425" y="293920"/>
                </a:cubicBezTo>
                <a:cubicBezTo>
                  <a:pt x="458585" y="294792"/>
                  <a:pt x="459745" y="295664"/>
                  <a:pt x="460940" y="296562"/>
                </a:cubicBezTo>
                <a:cubicBezTo>
                  <a:pt x="460940" y="297957"/>
                  <a:pt x="460940" y="299352"/>
                  <a:pt x="460940" y="300790"/>
                </a:cubicBezTo>
                <a:cubicBezTo>
                  <a:pt x="465063" y="302782"/>
                  <a:pt x="468862" y="304133"/>
                  <a:pt x="473437" y="305018"/>
                </a:cubicBezTo>
                <a:cubicBezTo>
                  <a:pt x="473437" y="305947"/>
                  <a:pt x="473437" y="306877"/>
                  <a:pt x="473437" y="307836"/>
                </a:cubicBezTo>
                <a:cubicBezTo>
                  <a:pt x="475581" y="308519"/>
                  <a:pt x="477730" y="309193"/>
                  <a:pt x="479881" y="309862"/>
                </a:cubicBezTo>
                <a:cubicBezTo>
                  <a:pt x="481077" y="310237"/>
                  <a:pt x="482273" y="310614"/>
                  <a:pt x="483505" y="311001"/>
                </a:cubicBezTo>
                <a:cubicBezTo>
                  <a:pt x="505448" y="316843"/>
                  <a:pt x="527690" y="314359"/>
                  <a:pt x="548419" y="306427"/>
                </a:cubicBezTo>
                <a:cubicBezTo>
                  <a:pt x="549548" y="305998"/>
                  <a:pt x="550678" y="305569"/>
                  <a:pt x="551842" y="305127"/>
                </a:cubicBezTo>
                <a:cubicBezTo>
                  <a:pt x="555376" y="303227"/>
                  <a:pt x="557584" y="300980"/>
                  <a:pt x="560232" y="298148"/>
                </a:cubicBezTo>
                <a:cubicBezTo>
                  <a:pt x="561137" y="297192"/>
                  <a:pt x="562041" y="296236"/>
                  <a:pt x="562972" y="295252"/>
                </a:cubicBezTo>
                <a:cubicBezTo>
                  <a:pt x="564755" y="293274"/>
                  <a:pt x="566459" y="291237"/>
                  <a:pt x="568086" y="289152"/>
                </a:cubicBezTo>
                <a:cubicBezTo>
                  <a:pt x="568813" y="288342"/>
                  <a:pt x="569539" y="287532"/>
                  <a:pt x="570289" y="286697"/>
                </a:cubicBezTo>
                <a:cubicBezTo>
                  <a:pt x="571319" y="286697"/>
                  <a:pt x="572350" y="286697"/>
                  <a:pt x="573413" y="286697"/>
                </a:cubicBezTo>
                <a:cubicBezTo>
                  <a:pt x="577408" y="276984"/>
                  <a:pt x="577197" y="267284"/>
                  <a:pt x="577220" y="257016"/>
                </a:cubicBezTo>
                <a:cubicBezTo>
                  <a:pt x="577227" y="255625"/>
                  <a:pt x="577227" y="255625"/>
                  <a:pt x="577235" y="254206"/>
                </a:cubicBezTo>
                <a:cubicBezTo>
                  <a:pt x="577257" y="237553"/>
                  <a:pt x="574604" y="222055"/>
                  <a:pt x="569443" y="206049"/>
                </a:cubicBezTo>
                <a:cubicBezTo>
                  <a:pt x="568726" y="203553"/>
                  <a:pt x="568726" y="203553"/>
                  <a:pt x="568726" y="200735"/>
                </a:cubicBezTo>
                <a:cubicBezTo>
                  <a:pt x="567695" y="200735"/>
                  <a:pt x="566664" y="200735"/>
                  <a:pt x="565602" y="200735"/>
                </a:cubicBezTo>
                <a:cubicBezTo>
                  <a:pt x="563274" y="195295"/>
                  <a:pt x="561092" y="190108"/>
                  <a:pt x="559549" y="184441"/>
                </a:cubicBezTo>
                <a:cubicBezTo>
                  <a:pt x="555572" y="173477"/>
                  <a:pt x="547043" y="167105"/>
                  <a:pt x="537484" y="159867"/>
                </a:cubicBezTo>
                <a:cubicBezTo>
                  <a:pt x="533579" y="156609"/>
                  <a:pt x="533579" y="156609"/>
                  <a:pt x="531235" y="154230"/>
                </a:cubicBezTo>
                <a:cubicBezTo>
                  <a:pt x="531235" y="153301"/>
                  <a:pt x="531235" y="152371"/>
                  <a:pt x="531235" y="151412"/>
                </a:cubicBezTo>
                <a:cubicBezTo>
                  <a:pt x="529689" y="150947"/>
                  <a:pt x="528143" y="150482"/>
                  <a:pt x="526549" y="150003"/>
                </a:cubicBezTo>
                <a:cubicBezTo>
                  <a:pt x="519904" y="137298"/>
                  <a:pt x="519105" y="120357"/>
                  <a:pt x="524304" y="107198"/>
                </a:cubicBezTo>
                <a:cubicBezTo>
                  <a:pt x="529443" y="97376"/>
                  <a:pt x="535781" y="90193"/>
                  <a:pt x="547052" y="85972"/>
                </a:cubicBezTo>
                <a:cubicBezTo>
                  <a:pt x="559924" y="81835"/>
                  <a:pt x="575221" y="79746"/>
                  <a:pt x="588460" y="83538"/>
                </a:cubicBezTo>
                <a:cubicBezTo>
                  <a:pt x="601643" y="89713"/>
                  <a:pt x="611835" y="99450"/>
                  <a:pt x="617152" y="111954"/>
                </a:cubicBezTo>
                <a:cubicBezTo>
                  <a:pt x="617935" y="116052"/>
                  <a:pt x="617954" y="120024"/>
                  <a:pt x="617884" y="124175"/>
                </a:cubicBezTo>
                <a:cubicBezTo>
                  <a:pt x="617896" y="125307"/>
                  <a:pt x="617906" y="126440"/>
                  <a:pt x="617917" y="127607"/>
                </a:cubicBezTo>
                <a:cubicBezTo>
                  <a:pt x="617963" y="132394"/>
                  <a:pt x="617938" y="137181"/>
                  <a:pt x="617919" y="141969"/>
                </a:cubicBezTo>
                <a:cubicBezTo>
                  <a:pt x="617899" y="160184"/>
                  <a:pt x="619422" y="175572"/>
                  <a:pt x="630625" y="191311"/>
                </a:cubicBezTo>
                <a:cubicBezTo>
                  <a:pt x="633753" y="195891"/>
                  <a:pt x="636431" y="199900"/>
                  <a:pt x="637850" y="205139"/>
                </a:cubicBezTo>
                <a:cubicBezTo>
                  <a:pt x="638615" y="209623"/>
                  <a:pt x="638615" y="209623"/>
                  <a:pt x="643708" y="212009"/>
                </a:cubicBezTo>
                <a:cubicBezTo>
                  <a:pt x="645380" y="214563"/>
                  <a:pt x="645380" y="214563"/>
                  <a:pt x="647027" y="217645"/>
                </a:cubicBezTo>
                <a:cubicBezTo>
                  <a:pt x="652549" y="227016"/>
                  <a:pt x="660443" y="235696"/>
                  <a:pt x="670264" y="241603"/>
                </a:cubicBezTo>
                <a:cubicBezTo>
                  <a:pt x="670264" y="242532"/>
                  <a:pt x="670264" y="243462"/>
                  <a:pt x="670264" y="244421"/>
                </a:cubicBezTo>
                <a:cubicBezTo>
                  <a:pt x="672036" y="244857"/>
                  <a:pt x="673808" y="245293"/>
                  <a:pt x="675634" y="245742"/>
                </a:cubicBezTo>
                <a:cubicBezTo>
                  <a:pt x="681199" y="247239"/>
                  <a:pt x="681199" y="247239"/>
                  <a:pt x="682761" y="248649"/>
                </a:cubicBezTo>
                <a:cubicBezTo>
                  <a:pt x="704487" y="252065"/>
                  <a:pt x="732606" y="256402"/>
                  <a:pt x="752092" y="245076"/>
                </a:cubicBezTo>
                <a:cubicBezTo>
                  <a:pt x="754252" y="243599"/>
                  <a:pt x="756372" y="242073"/>
                  <a:pt x="758433" y="240485"/>
                </a:cubicBezTo>
                <a:cubicBezTo>
                  <a:pt x="760867" y="238784"/>
                  <a:pt x="760867" y="238784"/>
                  <a:pt x="763991" y="238784"/>
                </a:cubicBezTo>
                <a:cubicBezTo>
                  <a:pt x="764647" y="237296"/>
                  <a:pt x="764647" y="237296"/>
                  <a:pt x="765315" y="235778"/>
                </a:cubicBezTo>
                <a:cubicBezTo>
                  <a:pt x="767151" y="231659"/>
                  <a:pt x="769030" y="227557"/>
                  <a:pt x="770923" y="223459"/>
                </a:cubicBezTo>
                <a:cubicBezTo>
                  <a:pt x="771608" y="221966"/>
                  <a:pt x="772292" y="220472"/>
                  <a:pt x="772998" y="218934"/>
                </a:cubicBezTo>
                <a:cubicBezTo>
                  <a:pt x="774429" y="215885"/>
                  <a:pt x="775968" y="212878"/>
                  <a:pt x="777562" y="209895"/>
                </a:cubicBezTo>
                <a:cubicBezTo>
                  <a:pt x="787607" y="185732"/>
                  <a:pt x="788559" y="149501"/>
                  <a:pt x="781175" y="124637"/>
                </a:cubicBezTo>
                <a:cubicBezTo>
                  <a:pt x="780144" y="124637"/>
                  <a:pt x="779113" y="124637"/>
                  <a:pt x="778051" y="124637"/>
                </a:cubicBezTo>
                <a:cubicBezTo>
                  <a:pt x="768501" y="110080"/>
                  <a:pt x="762898" y="96653"/>
                  <a:pt x="767116" y="79542"/>
                </a:cubicBezTo>
                <a:cubicBezTo>
                  <a:pt x="772286" y="69057"/>
                  <a:pt x="781456" y="58252"/>
                  <a:pt x="793379" y="54000"/>
                </a:cubicBezTo>
                <a:cubicBezTo>
                  <a:pt x="808369" y="49250"/>
                  <a:pt x="826058" y="49579"/>
                  <a:pt x="840688" y="55503"/>
                </a:cubicBezTo>
                <a:cubicBezTo>
                  <a:pt x="845183" y="57759"/>
                  <a:pt x="848037" y="60575"/>
                  <a:pt x="851470" y="64040"/>
                </a:cubicBezTo>
                <a:cubicBezTo>
                  <a:pt x="852721" y="65272"/>
                  <a:pt x="852721" y="65272"/>
                  <a:pt x="853997" y="66529"/>
                </a:cubicBezTo>
                <a:cubicBezTo>
                  <a:pt x="858396" y="71505"/>
                  <a:pt x="860490" y="76640"/>
                  <a:pt x="861488" y="82057"/>
                </a:cubicBezTo>
                <a:lnTo>
                  <a:pt x="861937" y="90492"/>
                </a:lnTo>
                <a:lnTo>
                  <a:pt x="863826" y="100715"/>
                </a:lnTo>
                <a:cubicBezTo>
                  <a:pt x="862141" y="107853"/>
                  <a:pt x="859866" y="114857"/>
                  <a:pt x="857577" y="121853"/>
                </a:cubicBezTo>
                <a:cubicBezTo>
                  <a:pt x="857062" y="121853"/>
                  <a:pt x="856547" y="121853"/>
                  <a:pt x="856015" y="121853"/>
                </a:cubicBezTo>
                <a:cubicBezTo>
                  <a:pt x="855731" y="120401"/>
                  <a:pt x="855731" y="120401"/>
                  <a:pt x="855442" y="118919"/>
                </a:cubicBezTo>
                <a:lnTo>
                  <a:pt x="855417" y="118798"/>
                </a:lnTo>
                <a:lnTo>
                  <a:pt x="856157" y="124637"/>
                </a:lnTo>
                <a:lnTo>
                  <a:pt x="850623" y="134701"/>
                </a:lnTo>
                <a:lnTo>
                  <a:pt x="851325" y="135968"/>
                </a:lnTo>
                <a:cubicBezTo>
                  <a:pt x="850851" y="137246"/>
                  <a:pt x="850376" y="138525"/>
                  <a:pt x="849886" y="139843"/>
                </a:cubicBezTo>
                <a:cubicBezTo>
                  <a:pt x="848171" y="144505"/>
                  <a:pt x="847798" y="148002"/>
                  <a:pt x="847786" y="152889"/>
                </a:cubicBezTo>
                <a:cubicBezTo>
                  <a:pt x="847779" y="154500"/>
                  <a:pt x="847773" y="156109"/>
                  <a:pt x="847767" y="157768"/>
                </a:cubicBezTo>
                <a:cubicBezTo>
                  <a:pt x="847782" y="159468"/>
                  <a:pt x="847796" y="161167"/>
                  <a:pt x="847810" y="162919"/>
                </a:cubicBezTo>
                <a:cubicBezTo>
                  <a:pt x="847821" y="165546"/>
                  <a:pt x="847821" y="165546"/>
                  <a:pt x="847832" y="168227"/>
                </a:cubicBezTo>
                <a:cubicBezTo>
                  <a:pt x="847980" y="181934"/>
                  <a:pt x="849003" y="195419"/>
                  <a:pt x="850903" y="209013"/>
                </a:cubicBezTo>
                <a:lnTo>
                  <a:pt x="852880" y="224692"/>
                </a:lnTo>
                <a:lnTo>
                  <a:pt x="854595" y="224692"/>
                </a:lnTo>
                <a:cubicBezTo>
                  <a:pt x="855086" y="225542"/>
                  <a:pt x="855577" y="226392"/>
                  <a:pt x="856083" y="227268"/>
                </a:cubicBezTo>
                <a:cubicBezTo>
                  <a:pt x="862358" y="237839"/>
                  <a:pt x="866924" y="242785"/>
                  <a:pt x="879588" y="247239"/>
                </a:cubicBezTo>
                <a:cubicBezTo>
                  <a:pt x="881642" y="248025"/>
                  <a:pt x="883692" y="248817"/>
                  <a:pt x="885739" y="249618"/>
                </a:cubicBezTo>
                <a:cubicBezTo>
                  <a:pt x="887318" y="250227"/>
                  <a:pt x="888897" y="250838"/>
                  <a:pt x="890523" y="251467"/>
                </a:cubicBezTo>
                <a:cubicBezTo>
                  <a:pt x="890523" y="252397"/>
                  <a:pt x="890523" y="253327"/>
                  <a:pt x="890523" y="254285"/>
                </a:cubicBezTo>
                <a:cubicBezTo>
                  <a:pt x="900347" y="257061"/>
                  <a:pt x="910127" y="259425"/>
                  <a:pt x="920203" y="261332"/>
                </a:cubicBezTo>
                <a:cubicBezTo>
                  <a:pt x="920203" y="261796"/>
                  <a:pt x="920203" y="262262"/>
                  <a:pt x="920203" y="262741"/>
                </a:cubicBezTo>
                <a:cubicBezTo>
                  <a:pt x="917111" y="262741"/>
                  <a:pt x="914018" y="262741"/>
                  <a:pt x="910831" y="262741"/>
                </a:cubicBezTo>
                <a:lnTo>
                  <a:pt x="910831" y="262864"/>
                </a:lnTo>
                <a:lnTo>
                  <a:pt x="927993" y="264177"/>
                </a:lnTo>
                <a:lnTo>
                  <a:pt x="939273" y="265285"/>
                </a:lnTo>
                <a:lnTo>
                  <a:pt x="940456" y="265191"/>
                </a:lnTo>
                <a:cubicBezTo>
                  <a:pt x="962552" y="263054"/>
                  <a:pt x="974979" y="255295"/>
                  <a:pt x="991622" y="242329"/>
                </a:cubicBezTo>
                <a:lnTo>
                  <a:pt x="1000803" y="236505"/>
                </a:lnTo>
                <a:lnTo>
                  <a:pt x="999806" y="236055"/>
                </a:lnTo>
                <a:cubicBezTo>
                  <a:pt x="1000902" y="234997"/>
                  <a:pt x="1001997" y="233941"/>
                  <a:pt x="1003126" y="232851"/>
                </a:cubicBezTo>
                <a:cubicBezTo>
                  <a:pt x="1012364" y="223880"/>
                  <a:pt x="1021184" y="214752"/>
                  <a:pt x="1029487" y="205052"/>
                </a:cubicBezTo>
                <a:lnTo>
                  <a:pt x="1029872" y="206442"/>
                </a:lnTo>
                <a:lnTo>
                  <a:pt x="1031614" y="203719"/>
                </a:lnTo>
                <a:cubicBezTo>
                  <a:pt x="1033221" y="199204"/>
                  <a:pt x="1035713" y="196017"/>
                  <a:pt x="1038924" y="192280"/>
                </a:cubicBezTo>
                <a:cubicBezTo>
                  <a:pt x="1039956" y="191815"/>
                  <a:pt x="1040987" y="191349"/>
                  <a:pt x="1042049" y="190870"/>
                </a:cubicBezTo>
                <a:cubicBezTo>
                  <a:pt x="1043161" y="188473"/>
                  <a:pt x="1043161" y="188473"/>
                  <a:pt x="1044294" y="186026"/>
                </a:cubicBezTo>
                <a:cubicBezTo>
                  <a:pt x="1046735" y="181006"/>
                  <a:pt x="1046735" y="181006"/>
                  <a:pt x="1051422" y="178188"/>
                </a:cubicBezTo>
                <a:cubicBezTo>
                  <a:pt x="1052553" y="175286"/>
                  <a:pt x="1052553" y="175286"/>
                  <a:pt x="1052984" y="172551"/>
                </a:cubicBezTo>
                <a:cubicBezTo>
                  <a:pt x="1054014" y="172551"/>
                  <a:pt x="1055046" y="172551"/>
                  <a:pt x="1056108" y="172551"/>
                </a:cubicBezTo>
                <a:cubicBezTo>
                  <a:pt x="1057139" y="169295"/>
                  <a:pt x="1058170" y="166040"/>
                  <a:pt x="1059232" y="162686"/>
                </a:cubicBezTo>
                <a:cubicBezTo>
                  <a:pt x="1060263" y="162686"/>
                  <a:pt x="1061295" y="162686"/>
                  <a:pt x="1062357" y="162686"/>
                </a:cubicBezTo>
                <a:cubicBezTo>
                  <a:pt x="1062755" y="161484"/>
                  <a:pt x="1062755" y="161484"/>
                  <a:pt x="1063162" y="160258"/>
                </a:cubicBezTo>
                <a:cubicBezTo>
                  <a:pt x="1065716" y="152917"/>
                  <a:pt x="1068813" y="146686"/>
                  <a:pt x="1073292" y="140138"/>
                </a:cubicBezTo>
                <a:cubicBezTo>
                  <a:pt x="1074322" y="140138"/>
                  <a:pt x="1075353" y="140138"/>
                  <a:pt x="1076415" y="140138"/>
                </a:cubicBezTo>
                <a:cubicBezTo>
                  <a:pt x="1079808" y="132748"/>
                  <a:pt x="1082509" y="125160"/>
                  <a:pt x="1085294" y="117569"/>
                </a:cubicBezTo>
                <a:cubicBezTo>
                  <a:pt x="1085972" y="116181"/>
                  <a:pt x="1086651" y="114793"/>
                  <a:pt x="1087350" y="113363"/>
                </a:cubicBezTo>
                <a:cubicBezTo>
                  <a:pt x="1089671" y="112666"/>
                  <a:pt x="1089671" y="112666"/>
                  <a:pt x="1092037" y="111954"/>
                </a:cubicBezTo>
                <a:cubicBezTo>
                  <a:pt x="1092230" y="110879"/>
                  <a:pt x="1092423" y="109803"/>
                  <a:pt x="1092623" y="108695"/>
                </a:cubicBezTo>
                <a:cubicBezTo>
                  <a:pt x="1093599" y="104908"/>
                  <a:pt x="1093599" y="104908"/>
                  <a:pt x="1096723" y="100680"/>
                </a:cubicBezTo>
                <a:cubicBezTo>
                  <a:pt x="1097207" y="99140"/>
                  <a:pt x="1097689" y="97599"/>
                  <a:pt x="1098188" y="96013"/>
                </a:cubicBezTo>
                <a:cubicBezTo>
                  <a:pt x="1099847" y="90815"/>
                  <a:pt x="1099847" y="90815"/>
                  <a:pt x="1102288" y="87029"/>
                </a:cubicBezTo>
                <a:cubicBezTo>
                  <a:pt x="1106061" y="79186"/>
                  <a:pt x="1107564" y="69424"/>
                  <a:pt x="1104534" y="61222"/>
                </a:cubicBezTo>
                <a:cubicBezTo>
                  <a:pt x="1104409" y="59341"/>
                  <a:pt x="1104366" y="57454"/>
                  <a:pt x="1104381" y="55569"/>
                </a:cubicBezTo>
                <a:cubicBezTo>
                  <a:pt x="1104386" y="54501"/>
                  <a:pt x="1104391" y="53434"/>
                  <a:pt x="1104397" y="52335"/>
                </a:cubicBezTo>
                <a:cubicBezTo>
                  <a:pt x="1104410" y="51228"/>
                  <a:pt x="1104423" y="50120"/>
                  <a:pt x="1104436" y="48979"/>
                </a:cubicBezTo>
                <a:cubicBezTo>
                  <a:pt x="1104443" y="47856"/>
                  <a:pt x="1104451" y="46733"/>
                  <a:pt x="1104457" y="45575"/>
                </a:cubicBezTo>
                <a:cubicBezTo>
                  <a:pt x="1104476" y="42805"/>
                  <a:pt x="1104504" y="40035"/>
                  <a:pt x="1104534" y="37265"/>
                </a:cubicBezTo>
                <a:cubicBezTo>
                  <a:pt x="1105565" y="37265"/>
                  <a:pt x="1106596" y="37265"/>
                  <a:pt x="1107658" y="37265"/>
                </a:cubicBezTo>
                <a:cubicBezTo>
                  <a:pt x="1107561" y="34562"/>
                  <a:pt x="1107561" y="34562"/>
                  <a:pt x="1107463" y="31805"/>
                </a:cubicBezTo>
                <a:cubicBezTo>
                  <a:pt x="1107353" y="28733"/>
                  <a:pt x="1107353" y="28733"/>
                  <a:pt x="1107658" y="25991"/>
                </a:cubicBezTo>
                <a:cubicBezTo>
                  <a:pt x="1108689" y="25062"/>
                  <a:pt x="1109720" y="24131"/>
                  <a:pt x="1110782" y="23173"/>
                </a:cubicBezTo>
                <a:cubicBezTo>
                  <a:pt x="1111104" y="22156"/>
                  <a:pt x="1111427" y="21138"/>
                  <a:pt x="1111759" y="20091"/>
                </a:cubicBezTo>
                <a:cubicBezTo>
                  <a:pt x="1116393" y="11539"/>
                  <a:pt x="1124927" y="6390"/>
                  <a:pt x="1134507" y="2828"/>
                </a:cubicBezTo>
                <a:cubicBezTo>
                  <a:pt x="1141389" y="825"/>
                  <a:pt x="1148262" y="-204"/>
                  <a:pt x="1155019" y="35"/>
                </a:cubicBezTo>
                <a:close/>
              </a:path>
            </a:pathLst>
          </a:custGeom>
          <a:solidFill>
            <a:schemeClr val="accent3"/>
          </a:solidFill>
          <a:ln w="2232" cap="flat">
            <a:noFill/>
            <a:prstDash val="solid"/>
            <a:miter/>
          </a:ln>
          <a:effectLst>
            <a:innerShdw blurRad="63500" dist="190500" dir="8100000">
              <a:schemeClr val="accent3">
                <a:lumMod val="75000"/>
                <a:alpha val="50000"/>
              </a:schemeClr>
            </a:innerShdw>
          </a:effectLst>
        </p:spPr>
        <p:txBody>
          <a:bodyPr wrap="squar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263" name="Oval 9262">
            <a:extLst>
              <a:ext uri="{FF2B5EF4-FFF2-40B4-BE49-F238E27FC236}">
                <a16:creationId xmlns:a16="http://schemas.microsoft.com/office/drawing/2014/main" id="{38D9862D-D7A2-0CED-6BA8-DBC62CD92FF5}"/>
              </a:ext>
            </a:extLst>
          </p:cNvPr>
          <p:cNvSpPr/>
          <p:nvPr/>
        </p:nvSpPr>
        <p:spPr>
          <a:xfrm>
            <a:off x="7276810" y="3732351"/>
            <a:ext cx="106472" cy="106472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264" name="Oval 9263">
            <a:extLst>
              <a:ext uri="{FF2B5EF4-FFF2-40B4-BE49-F238E27FC236}">
                <a16:creationId xmlns:a16="http://schemas.microsoft.com/office/drawing/2014/main" id="{2D377E43-8C75-D1F3-8BAD-D74DA8C892E3}"/>
              </a:ext>
            </a:extLst>
          </p:cNvPr>
          <p:cNvSpPr/>
          <p:nvPr/>
        </p:nvSpPr>
        <p:spPr>
          <a:xfrm>
            <a:off x="7418943" y="3825578"/>
            <a:ext cx="106472" cy="106472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265" name="Oval 9264">
            <a:extLst>
              <a:ext uri="{FF2B5EF4-FFF2-40B4-BE49-F238E27FC236}">
                <a16:creationId xmlns:a16="http://schemas.microsoft.com/office/drawing/2014/main" id="{B832D3F6-C55A-FED2-A9E6-2C285F2DD5A8}"/>
              </a:ext>
            </a:extLst>
          </p:cNvPr>
          <p:cNvSpPr/>
          <p:nvPr/>
        </p:nvSpPr>
        <p:spPr>
          <a:xfrm>
            <a:off x="7315782" y="3999039"/>
            <a:ext cx="83346" cy="83346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266" name="Oval 9265">
            <a:extLst>
              <a:ext uri="{FF2B5EF4-FFF2-40B4-BE49-F238E27FC236}">
                <a16:creationId xmlns:a16="http://schemas.microsoft.com/office/drawing/2014/main" id="{9CA94441-A6B5-3DBB-9D22-6EB14D447D58}"/>
              </a:ext>
            </a:extLst>
          </p:cNvPr>
          <p:cNvSpPr/>
          <p:nvPr/>
        </p:nvSpPr>
        <p:spPr>
          <a:xfrm>
            <a:off x="7538150" y="3979936"/>
            <a:ext cx="106472" cy="106472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267" name="Oval 9266">
            <a:extLst>
              <a:ext uri="{FF2B5EF4-FFF2-40B4-BE49-F238E27FC236}">
                <a16:creationId xmlns:a16="http://schemas.microsoft.com/office/drawing/2014/main" id="{43F31982-87A3-7179-B3F1-F3600869E6CB}"/>
              </a:ext>
            </a:extLst>
          </p:cNvPr>
          <p:cNvSpPr/>
          <p:nvPr/>
        </p:nvSpPr>
        <p:spPr>
          <a:xfrm>
            <a:off x="7572536" y="3758332"/>
            <a:ext cx="72085" cy="72085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268" name="TextBox 9267">
            <a:extLst>
              <a:ext uri="{FF2B5EF4-FFF2-40B4-BE49-F238E27FC236}">
                <a16:creationId xmlns:a16="http://schemas.microsoft.com/office/drawing/2014/main" id="{1CCB10FD-44E0-02BD-5693-F156577C36B8}"/>
              </a:ext>
            </a:extLst>
          </p:cNvPr>
          <p:cNvSpPr txBox="1"/>
          <p:nvPr/>
        </p:nvSpPr>
        <p:spPr>
          <a:xfrm>
            <a:off x="3089070" y="1348515"/>
            <a:ext cx="7617437" cy="363601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rtlCol="0" anchor="ctr" anchorCtr="0">
            <a:noAutofit/>
          </a:bodyPr>
          <a:lstStyle>
            <a:defPPr>
              <a:defRPr lang="en-GB"/>
            </a:defPPr>
            <a:lvl1pPr algn="ctr">
              <a:defRPr sz="1600" b="1">
                <a:solidFill>
                  <a:schemeClr val="tx2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What treatment options are available for this patient? </a:t>
            </a:r>
          </a:p>
        </p:txBody>
      </p:sp>
      <p:cxnSp>
        <p:nvCxnSpPr>
          <p:cNvPr id="9269" name="Straight Arrow Connector 9268">
            <a:extLst>
              <a:ext uri="{FF2B5EF4-FFF2-40B4-BE49-F238E27FC236}">
                <a16:creationId xmlns:a16="http://schemas.microsoft.com/office/drawing/2014/main" id="{CB203A78-695C-E718-84A6-744B5309284B}"/>
              </a:ext>
            </a:extLst>
          </p:cNvPr>
          <p:cNvCxnSpPr>
            <a:cxnSpLocks/>
          </p:cNvCxnSpPr>
          <p:nvPr/>
        </p:nvCxnSpPr>
        <p:spPr>
          <a:xfrm flipV="1">
            <a:off x="11093451" y="2465188"/>
            <a:ext cx="7246" cy="2262387"/>
          </a:xfrm>
          <a:prstGeom prst="straightConnector1">
            <a:avLst/>
          </a:prstGeom>
          <a:ln>
            <a:solidFill>
              <a:schemeClr val="tx1">
                <a:lumMod val="85000"/>
                <a:lumOff val="15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270" name="TextBox 9269">
            <a:extLst>
              <a:ext uri="{FF2B5EF4-FFF2-40B4-BE49-F238E27FC236}">
                <a16:creationId xmlns:a16="http://schemas.microsoft.com/office/drawing/2014/main" id="{5C6D9B11-3196-4BE7-B03B-892FB5316F99}"/>
              </a:ext>
            </a:extLst>
          </p:cNvPr>
          <p:cNvSpPr txBox="1"/>
          <p:nvPr/>
        </p:nvSpPr>
        <p:spPr>
          <a:xfrm>
            <a:off x="2709069" y="2100243"/>
            <a:ext cx="2517375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What clinical decisions are needed?</a:t>
            </a:r>
          </a:p>
        </p:txBody>
      </p:sp>
      <p:cxnSp>
        <p:nvCxnSpPr>
          <p:cNvPr id="9271" name="Straight Arrow Connector 9270">
            <a:extLst>
              <a:ext uri="{FF2B5EF4-FFF2-40B4-BE49-F238E27FC236}">
                <a16:creationId xmlns:a16="http://schemas.microsoft.com/office/drawing/2014/main" id="{9B92DA85-5A4C-BD85-CE6D-484B57940E9E}"/>
              </a:ext>
            </a:extLst>
          </p:cNvPr>
          <p:cNvCxnSpPr>
            <a:cxnSpLocks/>
          </p:cNvCxnSpPr>
          <p:nvPr/>
        </p:nvCxnSpPr>
        <p:spPr>
          <a:xfrm>
            <a:off x="8765382" y="4244450"/>
            <a:ext cx="2328862" cy="0"/>
          </a:xfrm>
          <a:prstGeom prst="straightConnector1">
            <a:avLst/>
          </a:prstGeom>
          <a:ln>
            <a:solidFill>
              <a:schemeClr val="tx1">
                <a:lumMod val="85000"/>
                <a:lumOff val="15000"/>
              </a:schemeClr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272" name="TextBox 9271">
            <a:extLst>
              <a:ext uri="{FF2B5EF4-FFF2-40B4-BE49-F238E27FC236}">
                <a16:creationId xmlns:a16="http://schemas.microsoft.com/office/drawing/2014/main" id="{D179E7D7-375E-A487-FF74-B80D6373E27F}"/>
              </a:ext>
            </a:extLst>
          </p:cNvPr>
          <p:cNvSpPr txBox="1"/>
          <p:nvPr/>
        </p:nvSpPr>
        <p:spPr>
          <a:xfrm>
            <a:off x="10090999" y="1870001"/>
            <a:ext cx="1890657" cy="3927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ext </a:t>
            </a:r>
            <a:b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line of therapy?</a:t>
            </a:r>
          </a:p>
        </p:txBody>
      </p:sp>
      <p:cxnSp>
        <p:nvCxnSpPr>
          <p:cNvPr id="9273" name="Straight Arrow Connector 9272">
            <a:extLst>
              <a:ext uri="{FF2B5EF4-FFF2-40B4-BE49-F238E27FC236}">
                <a16:creationId xmlns:a16="http://schemas.microsoft.com/office/drawing/2014/main" id="{8A1DF45F-7F6E-5B54-781D-DD48AFA74C35}"/>
              </a:ext>
            </a:extLst>
          </p:cNvPr>
          <p:cNvCxnSpPr>
            <a:cxnSpLocks/>
          </p:cNvCxnSpPr>
          <p:nvPr/>
        </p:nvCxnSpPr>
        <p:spPr>
          <a:xfrm>
            <a:off x="3629026" y="4206350"/>
            <a:ext cx="1271587" cy="0"/>
          </a:xfrm>
          <a:prstGeom prst="straightConnector1">
            <a:avLst/>
          </a:prstGeom>
          <a:ln>
            <a:solidFill>
              <a:schemeClr val="tx1">
                <a:lumMod val="85000"/>
                <a:lumOff val="15000"/>
              </a:schemeClr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274" name="Straight Arrow Connector 9273">
            <a:extLst>
              <a:ext uri="{FF2B5EF4-FFF2-40B4-BE49-F238E27FC236}">
                <a16:creationId xmlns:a16="http://schemas.microsoft.com/office/drawing/2014/main" id="{43311E33-9D58-BA8C-142F-D926E967773A}"/>
              </a:ext>
            </a:extLst>
          </p:cNvPr>
          <p:cNvCxnSpPr>
            <a:cxnSpLocks/>
          </p:cNvCxnSpPr>
          <p:nvPr/>
        </p:nvCxnSpPr>
        <p:spPr>
          <a:xfrm flipV="1">
            <a:off x="4896178" y="4213225"/>
            <a:ext cx="0" cy="425450"/>
          </a:xfrm>
          <a:prstGeom prst="straightConnector1">
            <a:avLst/>
          </a:prstGeom>
          <a:ln>
            <a:solidFill>
              <a:schemeClr val="tx1">
                <a:lumMod val="85000"/>
                <a:lumOff val="15000"/>
              </a:schemeClr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275" name="Straight Arrow Connector 9274">
            <a:extLst>
              <a:ext uri="{FF2B5EF4-FFF2-40B4-BE49-F238E27FC236}">
                <a16:creationId xmlns:a16="http://schemas.microsoft.com/office/drawing/2014/main" id="{5EE1C604-6DB2-E06C-3A16-27AB30F19AC4}"/>
              </a:ext>
            </a:extLst>
          </p:cNvPr>
          <p:cNvCxnSpPr>
            <a:cxnSpLocks/>
          </p:cNvCxnSpPr>
          <p:nvPr/>
        </p:nvCxnSpPr>
        <p:spPr>
          <a:xfrm flipV="1">
            <a:off x="8769677" y="4240213"/>
            <a:ext cx="0" cy="563562"/>
          </a:xfrm>
          <a:prstGeom prst="straightConnector1">
            <a:avLst/>
          </a:prstGeom>
          <a:ln>
            <a:solidFill>
              <a:schemeClr val="tx1">
                <a:lumMod val="85000"/>
                <a:lumOff val="15000"/>
              </a:schemeClr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276" name="Free-form: Shape 9275">
            <a:extLst>
              <a:ext uri="{FF2B5EF4-FFF2-40B4-BE49-F238E27FC236}">
                <a16:creationId xmlns:a16="http://schemas.microsoft.com/office/drawing/2014/main" id="{F513E59C-1F2C-F876-269D-6E4C99AB8E65}"/>
              </a:ext>
            </a:extLst>
          </p:cNvPr>
          <p:cNvSpPr/>
          <p:nvPr/>
        </p:nvSpPr>
        <p:spPr>
          <a:xfrm>
            <a:off x="5327055" y="3529440"/>
            <a:ext cx="880396" cy="841622"/>
          </a:xfrm>
          <a:custGeom>
            <a:avLst/>
            <a:gdLst>
              <a:gd name="csX0" fmla="*/ 401579 w 1609516"/>
              <a:gd name="csY0" fmla="*/ 1495809 h 1538630"/>
              <a:gd name="csX1" fmla="*/ 400190 w 1609516"/>
              <a:gd name="csY1" fmla="*/ 1496004 h 1538630"/>
              <a:gd name="csX2" fmla="*/ 401224 w 1609516"/>
              <a:gd name="csY2" fmla="*/ 1496470 h 1538630"/>
              <a:gd name="csX3" fmla="*/ 401224 w 1609516"/>
              <a:gd name="csY3" fmla="*/ 1498590 h 1538630"/>
              <a:gd name="csX4" fmla="*/ 401579 w 1609516"/>
              <a:gd name="csY4" fmla="*/ 1498628 h 1538630"/>
              <a:gd name="csX5" fmla="*/ 401579 w 1609516"/>
              <a:gd name="csY5" fmla="*/ 1495809 h 1538630"/>
              <a:gd name="csX6" fmla="*/ 368755 w 1609516"/>
              <a:gd name="csY6" fmla="*/ 1486512 h 1538630"/>
              <a:gd name="csX7" fmla="*/ 364089 w 1609516"/>
              <a:gd name="csY7" fmla="*/ 1487354 h 1538630"/>
              <a:gd name="csX8" fmla="*/ 364089 w 1609516"/>
              <a:gd name="csY8" fmla="*/ 1487908 h 1538630"/>
              <a:gd name="csX9" fmla="*/ 1049801 w 1609516"/>
              <a:gd name="csY9" fmla="*/ 1484562 h 1538630"/>
              <a:gd name="csX10" fmla="*/ 1046735 w 1609516"/>
              <a:gd name="csY10" fmla="*/ 1485945 h 1538630"/>
              <a:gd name="csX11" fmla="*/ 1046955 w 1609516"/>
              <a:gd name="csY11" fmla="*/ 1486045 h 1538630"/>
              <a:gd name="csX12" fmla="*/ 1049801 w 1609516"/>
              <a:gd name="csY12" fmla="*/ 1485188 h 1538630"/>
              <a:gd name="csX13" fmla="*/ 351234 w 1609516"/>
              <a:gd name="csY13" fmla="*/ 1444508 h 1538630"/>
              <a:gd name="csX14" fmla="*/ 351234 w 1609516"/>
              <a:gd name="csY14" fmla="*/ 1444997 h 1538630"/>
              <a:gd name="csX15" fmla="*/ 351592 w 1609516"/>
              <a:gd name="csY15" fmla="*/ 1445078 h 1538630"/>
              <a:gd name="csX16" fmla="*/ 351908 w 1609516"/>
              <a:gd name="csY16" fmla="*/ 1431206 h 1538630"/>
              <a:gd name="csX17" fmla="*/ 351234 w 1609516"/>
              <a:gd name="csY17" fmla="*/ 1431611 h 1538630"/>
              <a:gd name="csX18" fmla="*/ 351234 w 1609516"/>
              <a:gd name="csY18" fmla="*/ 1432274 h 1538630"/>
              <a:gd name="csX19" fmla="*/ 358162 w 1609516"/>
              <a:gd name="csY19" fmla="*/ 1421494 h 1538630"/>
              <a:gd name="csX20" fmla="*/ 355921 w 1609516"/>
              <a:gd name="csY20" fmla="*/ 1423156 h 1538630"/>
              <a:gd name="csX21" fmla="*/ 355921 w 1609516"/>
              <a:gd name="csY21" fmla="*/ 1423548 h 1538630"/>
              <a:gd name="csX22" fmla="*/ 376098 w 1609516"/>
              <a:gd name="csY22" fmla="*/ 1408347 h 1538630"/>
              <a:gd name="csX23" fmla="*/ 370750 w 1609516"/>
              <a:gd name="csY23" fmla="*/ 1412245 h 1538630"/>
              <a:gd name="csX24" fmla="*/ 375023 w 1609516"/>
              <a:gd name="csY24" fmla="*/ 1411256 h 1538630"/>
              <a:gd name="csX25" fmla="*/ 421956 w 1609516"/>
              <a:gd name="csY25" fmla="*/ 1365623 h 1538630"/>
              <a:gd name="csX26" fmla="*/ 421765 w 1609516"/>
              <a:gd name="csY26" fmla="*/ 1366161 h 1538630"/>
              <a:gd name="csX27" fmla="*/ 421887 w 1609516"/>
              <a:gd name="csY27" fmla="*/ 1366161 h 1538630"/>
              <a:gd name="csX28" fmla="*/ 754553 w 1609516"/>
              <a:gd name="csY28" fmla="*/ 1360575 h 1538630"/>
              <a:gd name="csX29" fmla="*/ 754089 w 1609516"/>
              <a:gd name="csY29" fmla="*/ 1361433 h 1538630"/>
              <a:gd name="csX30" fmla="*/ 754431 w 1609516"/>
              <a:gd name="csY30" fmla="*/ 1361125 h 1538630"/>
              <a:gd name="csX31" fmla="*/ 1277973 w 1609516"/>
              <a:gd name="csY31" fmla="*/ 1332923 h 1538630"/>
              <a:gd name="csX32" fmla="*/ 1277944 w 1609516"/>
              <a:gd name="csY32" fmla="*/ 1332936 h 1538630"/>
              <a:gd name="csX33" fmla="*/ 1277949 w 1609516"/>
              <a:gd name="csY33" fmla="*/ 1333139 h 1538630"/>
              <a:gd name="csX34" fmla="*/ 1268556 w 1609516"/>
              <a:gd name="csY34" fmla="*/ 1321066 h 1538630"/>
              <a:gd name="csX35" fmla="*/ 1268556 w 1609516"/>
              <a:gd name="csY35" fmla="*/ 1325294 h 1538630"/>
              <a:gd name="csX36" fmla="*/ 1265432 w 1609516"/>
              <a:gd name="csY36" fmla="*/ 1325294 h 1538630"/>
              <a:gd name="csX37" fmla="*/ 1265432 w 1609516"/>
              <a:gd name="csY37" fmla="*/ 1340795 h 1538630"/>
              <a:gd name="csX38" fmla="*/ 1265476 w 1609516"/>
              <a:gd name="csY38" fmla="*/ 1340714 h 1538630"/>
              <a:gd name="csX39" fmla="*/ 1265476 w 1609516"/>
              <a:gd name="csY39" fmla="*/ 1325877 h 1538630"/>
              <a:gd name="csX40" fmla="*/ 1268600 w 1609516"/>
              <a:gd name="csY40" fmla="*/ 1325877 h 1538630"/>
              <a:gd name="csX41" fmla="*/ 1268600 w 1609516"/>
              <a:gd name="csY41" fmla="*/ 1321649 h 1538630"/>
              <a:gd name="csX42" fmla="*/ 1273286 w 1609516"/>
              <a:gd name="csY42" fmla="*/ 1321649 h 1538630"/>
              <a:gd name="csX43" fmla="*/ 1273227 w 1609516"/>
              <a:gd name="csY43" fmla="*/ 1321066 h 1538630"/>
              <a:gd name="csX44" fmla="*/ 827891 w 1609516"/>
              <a:gd name="csY44" fmla="*/ 1291474 h 1538630"/>
              <a:gd name="csX45" fmla="*/ 822601 w 1609516"/>
              <a:gd name="csY45" fmla="*/ 1291544 h 1538630"/>
              <a:gd name="csX46" fmla="*/ 818272 w 1609516"/>
              <a:gd name="csY46" fmla="*/ 1292220 h 1538630"/>
              <a:gd name="csX47" fmla="*/ 827891 w 1609516"/>
              <a:gd name="csY47" fmla="*/ 1292047 h 1538630"/>
              <a:gd name="csX48" fmla="*/ 856397 w 1609516"/>
              <a:gd name="csY48" fmla="*/ 1288691 h 1538630"/>
              <a:gd name="csX49" fmla="*/ 865903 w 1609516"/>
              <a:gd name="csY49" fmla="*/ 1290590 h 1538630"/>
              <a:gd name="csX50" fmla="*/ 859999 w 1609516"/>
              <a:gd name="csY50" fmla="*/ 1288752 h 1538630"/>
              <a:gd name="csX51" fmla="*/ 834694 w 1609516"/>
              <a:gd name="csY51" fmla="*/ 1288572 h 1538630"/>
              <a:gd name="csX52" fmla="*/ 828038 w 1609516"/>
              <a:gd name="csY52" fmla="*/ 1288654 h 1538630"/>
              <a:gd name="csX53" fmla="*/ 828038 w 1609516"/>
              <a:gd name="csY53" fmla="*/ 1289214 h 1538630"/>
              <a:gd name="csX54" fmla="*/ 229746 w 1609516"/>
              <a:gd name="csY54" fmla="*/ 1191418 h 1538630"/>
              <a:gd name="csX55" fmla="*/ 227402 w 1609516"/>
              <a:gd name="csY55" fmla="*/ 1191947 h 1538630"/>
              <a:gd name="csX56" fmla="*/ 229315 w 1609516"/>
              <a:gd name="csY56" fmla="*/ 1191947 h 1538630"/>
              <a:gd name="csX57" fmla="*/ 229315 w 1609516"/>
              <a:gd name="csY57" fmla="*/ 1194765 h 1538630"/>
              <a:gd name="csX58" fmla="*/ 231321 w 1609516"/>
              <a:gd name="csY58" fmla="*/ 1194765 h 1538630"/>
              <a:gd name="csX59" fmla="*/ 229746 w 1609516"/>
              <a:gd name="csY59" fmla="*/ 1194236 h 1538630"/>
              <a:gd name="csX60" fmla="*/ 229746 w 1609516"/>
              <a:gd name="csY60" fmla="*/ 1191418 h 1538630"/>
              <a:gd name="csX61" fmla="*/ 215687 w 1609516"/>
              <a:gd name="csY61" fmla="*/ 1187190 h 1538630"/>
              <a:gd name="csX62" fmla="*/ 215198 w 1609516"/>
              <a:gd name="csY62" fmla="*/ 1187720 h 1538630"/>
              <a:gd name="csX63" fmla="*/ 215256 w 1609516"/>
              <a:gd name="csY63" fmla="*/ 1187720 h 1538630"/>
              <a:gd name="csX64" fmla="*/ 215256 w 1609516"/>
              <a:gd name="csY64" fmla="*/ 1191947 h 1538630"/>
              <a:gd name="csX65" fmla="*/ 222721 w 1609516"/>
              <a:gd name="csY65" fmla="*/ 1191947 h 1538630"/>
              <a:gd name="csX66" fmla="*/ 215687 w 1609516"/>
              <a:gd name="csY66" fmla="*/ 1191418 h 1538630"/>
              <a:gd name="csX67" fmla="*/ 215687 w 1609516"/>
              <a:gd name="csY67" fmla="*/ 1187190 h 1538630"/>
              <a:gd name="csX68" fmla="*/ 1279678 w 1609516"/>
              <a:gd name="csY68" fmla="*/ 1082356 h 1538630"/>
              <a:gd name="csX69" fmla="*/ 1271680 w 1609516"/>
              <a:gd name="csY69" fmla="*/ 1084589 h 1538630"/>
              <a:gd name="csX70" fmla="*/ 1282181 w 1609516"/>
              <a:gd name="csY70" fmla="*/ 1082544 h 1538630"/>
              <a:gd name="csX71" fmla="*/ 117703 w 1609516"/>
              <a:gd name="csY71" fmla="*/ 941507 h 1538630"/>
              <a:gd name="csX72" fmla="*/ 112587 w 1609516"/>
              <a:gd name="csY72" fmla="*/ 941985 h 1538630"/>
              <a:gd name="csX73" fmla="*/ 112565 w 1609516"/>
              <a:gd name="csY73" fmla="*/ 942333 h 1538630"/>
              <a:gd name="csX74" fmla="*/ 115665 w 1609516"/>
              <a:gd name="csY74" fmla="*/ 941837 h 1538630"/>
              <a:gd name="csX75" fmla="*/ 144268 w 1609516"/>
              <a:gd name="csY75" fmla="*/ 939395 h 1538630"/>
              <a:gd name="csX76" fmla="*/ 143354 w 1609516"/>
              <a:gd name="csY76" fmla="*/ 939580 h 1538630"/>
              <a:gd name="csX77" fmla="*/ 144077 w 1609516"/>
              <a:gd name="csY77" fmla="*/ 939739 h 1538630"/>
              <a:gd name="csX78" fmla="*/ 162575 w 1609516"/>
              <a:gd name="csY78" fmla="*/ 933530 h 1538630"/>
              <a:gd name="csX79" fmla="*/ 161704 w 1609516"/>
              <a:gd name="csY79" fmla="*/ 935101 h 1538630"/>
              <a:gd name="csX80" fmla="*/ 170045 w 1609516"/>
              <a:gd name="csY80" fmla="*/ 933585 h 1538630"/>
              <a:gd name="csX81" fmla="*/ 1321645 w 1609516"/>
              <a:gd name="csY81" fmla="*/ 918415 h 1538630"/>
              <a:gd name="csX82" fmla="*/ 1321534 w 1609516"/>
              <a:gd name="csY82" fmla="*/ 920177 h 1538630"/>
              <a:gd name="csX83" fmla="*/ 1321740 w 1609516"/>
              <a:gd name="csY83" fmla="*/ 918415 h 1538630"/>
              <a:gd name="csX84" fmla="*/ 1319333 w 1609516"/>
              <a:gd name="csY84" fmla="*/ 915183 h 1538630"/>
              <a:gd name="csX85" fmla="*/ 1318544 w 1609516"/>
              <a:gd name="csY85" fmla="*/ 918029 h 1538630"/>
              <a:gd name="csX86" fmla="*/ 1318702 w 1609516"/>
              <a:gd name="csY86" fmla="*/ 918029 h 1538630"/>
              <a:gd name="csX87" fmla="*/ 1326355 w 1609516"/>
              <a:gd name="csY87" fmla="*/ 907109 h 1538630"/>
              <a:gd name="csX88" fmla="*/ 1326355 w 1609516"/>
              <a:gd name="csY88" fmla="*/ 910983 h 1538630"/>
              <a:gd name="csX89" fmla="*/ 1325831 w 1609516"/>
              <a:gd name="csY89" fmla="*/ 911101 h 1538630"/>
              <a:gd name="csX90" fmla="*/ 1326426 w 1609516"/>
              <a:gd name="csY90" fmla="*/ 911369 h 1538630"/>
              <a:gd name="csX91" fmla="*/ 1326426 w 1609516"/>
              <a:gd name="csY91" fmla="*/ 907141 h 1538630"/>
              <a:gd name="csX92" fmla="*/ 1328144 w 1609516"/>
              <a:gd name="csY92" fmla="*/ 892192 h 1538630"/>
              <a:gd name="csX93" fmla="*/ 1327667 w 1609516"/>
              <a:gd name="csY93" fmla="*/ 893446 h 1538630"/>
              <a:gd name="csX94" fmla="*/ 1327989 w 1609516"/>
              <a:gd name="csY94" fmla="*/ 893049 h 1538630"/>
              <a:gd name="csX95" fmla="*/ 49605 w 1609516"/>
              <a:gd name="csY95" fmla="*/ 887420 h 1538630"/>
              <a:gd name="csX96" fmla="*/ 48549 w 1609516"/>
              <a:gd name="csY96" fmla="*/ 891229 h 1538630"/>
              <a:gd name="csX97" fmla="*/ 49956 w 1609516"/>
              <a:gd name="csY97" fmla="*/ 887420 h 1538630"/>
              <a:gd name="csX98" fmla="*/ 1332266 w 1609516"/>
              <a:gd name="csY98" fmla="*/ 883369 h 1538630"/>
              <a:gd name="csX99" fmla="*/ 1329479 w 1609516"/>
              <a:gd name="csY99" fmla="*/ 884207 h 1538630"/>
              <a:gd name="csX100" fmla="*/ 1329509 w 1609516"/>
              <a:gd name="csY100" fmla="*/ 884816 h 1538630"/>
              <a:gd name="csX101" fmla="*/ 1329551 w 1609516"/>
              <a:gd name="csY101" fmla="*/ 884594 h 1538630"/>
              <a:gd name="csX102" fmla="*/ 1555987 w 1609516"/>
              <a:gd name="csY102" fmla="*/ 821766 h 1538630"/>
              <a:gd name="csX103" fmla="*/ 1555987 w 1609516"/>
              <a:gd name="csY103" fmla="*/ 822201 h 1538630"/>
              <a:gd name="csX104" fmla="*/ 1556081 w 1609516"/>
              <a:gd name="csY104" fmla="*/ 822189 h 1538630"/>
              <a:gd name="csX105" fmla="*/ 1565360 w 1609516"/>
              <a:gd name="csY105" fmla="*/ 810928 h 1538630"/>
              <a:gd name="csX106" fmla="*/ 1564871 w 1609516"/>
              <a:gd name="csY106" fmla="*/ 811809 h 1538630"/>
              <a:gd name="csX107" fmla="*/ 1567314 w 1609516"/>
              <a:gd name="csY107" fmla="*/ 810928 h 1538630"/>
              <a:gd name="csX108" fmla="*/ 1563797 w 1609516"/>
              <a:gd name="csY108" fmla="*/ 810928 h 1538630"/>
              <a:gd name="csX109" fmla="*/ 1556762 w 1609516"/>
              <a:gd name="csY109" fmla="*/ 814736 h 1538630"/>
              <a:gd name="csX110" fmla="*/ 1563797 w 1609516"/>
              <a:gd name="csY110" fmla="*/ 812197 h 1538630"/>
              <a:gd name="csX111" fmla="*/ 265833 w 1609516"/>
              <a:gd name="csY111" fmla="*/ 806020 h 1538630"/>
              <a:gd name="csX112" fmla="*/ 263704 w 1609516"/>
              <a:gd name="csY112" fmla="*/ 809861 h 1538630"/>
              <a:gd name="csX113" fmla="*/ 263704 w 1609516"/>
              <a:gd name="csY113" fmla="*/ 816750 h 1538630"/>
              <a:gd name="csX114" fmla="*/ 264113 w 1609516"/>
              <a:gd name="csY114" fmla="*/ 816565 h 1538630"/>
              <a:gd name="csX115" fmla="*/ 263918 w 1609516"/>
              <a:gd name="csY115" fmla="*/ 812777 h 1538630"/>
              <a:gd name="csX116" fmla="*/ 263774 w 1609516"/>
              <a:gd name="csY116" fmla="*/ 779374 h 1538630"/>
              <a:gd name="csX117" fmla="*/ 263704 w 1609516"/>
              <a:gd name="csY117" fmla="*/ 783086 h 1538630"/>
              <a:gd name="csX118" fmla="*/ 264484 w 1609516"/>
              <a:gd name="csY118" fmla="*/ 785816 h 1538630"/>
              <a:gd name="csX119" fmla="*/ 265265 w 1609516"/>
              <a:gd name="csY119" fmla="*/ 794448 h 1538630"/>
              <a:gd name="csX120" fmla="*/ 265217 w 1609516"/>
              <a:gd name="csY120" fmla="*/ 799730 h 1538630"/>
              <a:gd name="csX121" fmla="*/ 266556 w 1609516"/>
              <a:gd name="csY121" fmla="*/ 803466 h 1538630"/>
              <a:gd name="csX122" fmla="*/ 267237 w 1609516"/>
              <a:gd name="csY122" fmla="*/ 801063 h 1538630"/>
              <a:gd name="csX123" fmla="*/ 265675 w 1609516"/>
              <a:gd name="csY123" fmla="*/ 799654 h 1538630"/>
              <a:gd name="csX124" fmla="*/ 265675 w 1609516"/>
              <a:gd name="csY124" fmla="*/ 793841 h 1538630"/>
              <a:gd name="csX125" fmla="*/ 260988 w 1609516"/>
              <a:gd name="csY125" fmla="*/ 770061 h 1538630"/>
              <a:gd name="csX126" fmla="*/ 260988 w 1609516"/>
              <a:gd name="csY126" fmla="*/ 771364 h 1538630"/>
              <a:gd name="csX127" fmla="*/ 263497 w 1609516"/>
              <a:gd name="csY127" fmla="*/ 777263 h 1538630"/>
              <a:gd name="csX128" fmla="*/ 262551 w 1609516"/>
              <a:gd name="csY128" fmla="*/ 770061 h 1538630"/>
              <a:gd name="csX129" fmla="*/ 260988 w 1609516"/>
              <a:gd name="csY129" fmla="*/ 770061 h 1538630"/>
              <a:gd name="csX130" fmla="*/ 157888 w 1609516"/>
              <a:gd name="csY130" fmla="*/ 651686 h 1538630"/>
              <a:gd name="csX131" fmla="*/ 157415 w 1609516"/>
              <a:gd name="csY131" fmla="*/ 651764 h 1538630"/>
              <a:gd name="csX132" fmla="*/ 160373 w 1609516"/>
              <a:gd name="csY132" fmla="*/ 652274 h 1538630"/>
              <a:gd name="csX133" fmla="*/ 267237 w 1609516"/>
              <a:gd name="csY133" fmla="*/ 426537 h 1538630"/>
              <a:gd name="csX134" fmla="*/ 267237 w 1609516"/>
              <a:gd name="csY134" fmla="*/ 427619 h 1538630"/>
              <a:gd name="csX135" fmla="*/ 270380 w 1609516"/>
              <a:gd name="csY135" fmla="*/ 428137 h 1538630"/>
              <a:gd name="csX136" fmla="*/ 273548 w 1609516"/>
              <a:gd name="csY136" fmla="*/ 428680 h 1538630"/>
              <a:gd name="csX137" fmla="*/ 37605 w 1609516"/>
              <a:gd name="csY137" fmla="*/ 359270 h 1538630"/>
              <a:gd name="csX138" fmla="*/ 37103 w 1609516"/>
              <a:gd name="csY138" fmla="*/ 361533 h 1538630"/>
              <a:gd name="csX139" fmla="*/ 37605 w 1609516"/>
              <a:gd name="csY139" fmla="*/ 361382 h 1538630"/>
              <a:gd name="csX140" fmla="*/ 52477 w 1609516"/>
              <a:gd name="csY140" fmla="*/ 337570 h 1538630"/>
              <a:gd name="csX141" fmla="*/ 47288 w 1609516"/>
              <a:gd name="csY141" fmla="*/ 342340 h 1538630"/>
              <a:gd name="csX142" fmla="*/ 45805 w 1609516"/>
              <a:gd name="csY142" fmla="*/ 345093 h 1538630"/>
              <a:gd name="csX143" fmla="*/ 104291 w 1609516"/>
              <a:gd name="csY143" fmla="*/ 336166 h 1538630"/>
              <a:gd name="csX144" fmla="*/ 103776 w 1609516"/>
              <a:gd name="csY144" fmla="*/ 337559 h 1538630"/>
              <a:gd name="csX145" fmla="*/ 108925 w 1609516"/>
              <a:gd name="csY145" fmla="*/ 336166 h 1538630"/>
              <a:gd name="csX146" fmla="*/ 1309237 w 1609516"/>
              <a:gd name="csY146" fmla="*/ 322954 h 1538630"/>
              <a:gd name="csX147" fmla="*/ 1309180 w 1609516"/>
              <a:gd name="csY147" fmla="*/ 330559 h 1538630"/>
              <a:gd name="csX148" fmla="*/ 1309237 w 1609516"/>
              <a:gd name="csY148" fmla="*/ 330520 h 1538630"/>
              <a:gd name="csX149" fmla="*/ 1308964 w 1609516"/>
              <a:gd name="csY149" fmla="*/ 317715 h 1538630"/>
              <a:gd name="csX150" fmla="*/ 1309237 w 1609516"/>
              <a:gd name="csY150" fmla="*/ 318569 h 1538630"/>
              <a:gd name="csX151" fmla="*/ 1309237 w 1609516"/>
              <a:gd name="csY151" fmla="*/ 317838 h 1538630"/>
              <a:gd name="csX152" fmla="*/ 1310087 w 1609516"/>
              <a:gd name="csY152" fmla="*/ 313153 h 1538630"/>
              <a:gd name="csX153" fmla="*/ 1307609 w 1609516"/>
              <a:gd name="csY153" fmla="*/ 313473 h 1538630"/>
              <a:gd name="csX154" fmla="*/ 1308045 w 1609516"/>
              <a:gd name="csY154" fmla="*/ 314836 h 1538630"/>
              <a:gd name="csX155" fmla="*/ 1318544 w 1609516"/>
              <a:gd name="csY155" fmla="*/ 312064 h 1538630"/>
              <a:gd name="csX156" fmla="*/ 1316298 w 1609516"/>
              <a:gd name="csY156" fmla="*/ 312353 h 1538630"/>
              <a:gd name="csX157" fmla="*/ 1318544 w 1609516"/>
              <a:gd name="csY157" fmla="*/ 312205 h 1538630"/>
              <a:gd name="csX158" fmla="*/ 1084622 w 1609516"/>
              <a:gd name="csY158" fmla="*/ 267674 h 1538630"/>
              <a:gd name="csX159" fmla="*/ 1084227 w 1609516"/>
              <a:gd name="csY159" fmla="*/ 268378 h 1538630"/>
              <a:gd name="csX160" fmla="*/ 1079540 w 1609516"/>
              <a:gd name="csY160" fmla="*/ 268378 h 1538630"/>
              <a:gd name="csX161" fmla="*/ 1079603 w 1609516"/>
              <a:gd name="csY161" fmla="*/ 268477 h 1538630"/>
              <a:gd name="csX162" fmla="*/ 1084192 w 1609516"/>
              <a:gd name="csY162" fmla="*/ 268477 h 1538630"/>
              <a:gd name="csX163" fmla="*/ 956410 w 1609516"/>
              <a:gd name="csY163" fmla="*/ 266968 h 1538630"/>
              <a:gd name="csX164" fmla="*/ 957576 w 1609516"/>
              <a:gd name="csY164" fmla="*/ 267083 h 1538630"/>
              <a:gd name="csX165" fmla="*/ 957576 w 1609516"/>
              <a:gd name="csY165" fmla="*/ 269776 h 1538630"/>
              <a:gd name="csX166" fmla="*/ 957694 w 1609516"/>
              <a:gd name="csY166" fmla="*/ 269787 h 1538630"/>
              <a:gd name="csX167" fmla="*/ 957694 w 1609516"/>
              <a:gd name="csY167" fmla="*/ 266968 h 1538630"/>
              <a:gd name="csX168" fmla="*/ 1089372 w 1609516"/>
              <a:gd name="csY168" fmla="*/ 259220 h 1538630"/>
              <a:gd name="csX169" fmla="*/ 1085856 w 1609516"/>
              <a:gd name="csY169" fmla="*/ 265479 h 1538630"/>
              <a:gd name="csX170" fmla="*/ 1088878 w 1609516"/>
              <a:gd name="csY170" fmla="*/ 261431 h 1538630"/>
              <a:gd name="csX171" fmla="*/ 1018517 w 1609516"/>
              <a:gd name="csY171" fmla="*/ 223356 h 1538630"/>
              <a:gd name="csX172" fmla="*/ 1013866 w 1609516"/>
              <a:gd name="csY172" fmla="*/ 226190 h 1538630"/>
              <a:gd name="csX173" fmla="*/ 1013024 w 1609516"/>
              <a:gd name="csY173" fmla="*/ 227709 h 1538630"/>
              <a:gd name="csX174" fmla="*/ 1017055 w 1609516"/>
              <a:gd name="csY174" fmla="*/ 224692 h 1538630"/>
              <a:gd name="csX175" fmla="*/ 850645 w 1609516"/>
              <a:gd name="csY175" fmla="*/ 220099 h 1538630"/>
              <a:gd name="csX176" fmla="*/ 850897 w 1609516"/>
              <a:gd name="csY176" fmla="*/ 221488 h 1538630"/>
              <a:gd name="csX177" fmla="*/ 851470 w 1609516"/>
              <a:gd name="csY177" fmla="*/ 224692 h 1538630"/>
              <a:gd name="csX178" fmla="*/ 852860 w 1609516"/>
              <a:gd name="csY178" fmla="*/ 224692 h 1538630"/>
              <a:gd name="csX179" fmla="*/ 1155019 w 1609516"/>
              <a:gd name="csY179" fmla="*/ 35 h 1538630"/>
              <a:gd name="csX180" fmla="*/ 1174829 w 1609516"/>
              <a:gd name="csY180" fmla="*/ 4853 h 1538630"/>
              <a:gd name="csX181" fmla="*/ 1179418 w 1609516"/>
              <a:gd name="csY181" fmla="*/ 5998 h 1538630"/>
              <a:gd name="csX182" fmla="*/ 1201385 w 1609516"/>
              <a:gd name="csY182" fmla="*/ 22997 h 1538630"/>
              <a:gd name="csX183" fmla="*/ 1201678 w 1609516"/>
              <a:gd name="csY183" fmla="*/ 62191 h 1538630"/>
              <a:gd name="csX184" fmla="*/ 1198261 w 1609516"/>
              <a:gd name="csY184" fmla="*/ 68268 h 1538630"/>
              <a:gd name="csX185" fmla="*/ 1195723 w 1609516"/>
              <a:gd name="csY185" fmla="*/ 72672 h 1538630"/>
              <a:gd name="csX186" fmla="*/ 1193575 w 1609516"/>
              <a:gd name="csY186" fmla="*/ 75314 h 1538630"/>
              <a:gd name="csX187" fmla="*/ 1190450 w 1609516"/>
              <a:gd name="csY187" fmla="*/ 75314 h 1538630"/>
              <a:gd name="csX188" fmla="*/ 1189474 w 1609516"/>
              <a:gd name="csY188" fmla="*/ 79366 h 1538630"/>
              <a:gd name="csX189" fmla="*/ 1182445 w 1609516"/>
              <a:gd name="csY189" fmla="*/ 85707 h 1538630"/>
              <a:gd name="csX190" fmla="*/ 1177953 w 1609516"/>
              <a:gd name="csY190" fmla="*/ 86588 h 1538630"/>
              <a:gd name="csX191" fmla="*/ 1177953 w 1609516"/>
              <a:gd name="csY191" fmla="*/ 89406 h 1538630"/>
              <a:gd name="csX192" fmla="*/ 1170045 w 1609516"/>
              <a:gd name="csY192" fmla="*/ 94251 h 1538630"/>
              <a:gd name="csX193" fmla="*/ 1143806 w 1609516"/>
              <a:gd name="csY193" fmla="*/ 132828 h 1538630"/>
              <a:gd name="csX194" fmla="*/ 1137338 w 1609516"/>
              <a:gd name="csY194" fmla="*/ 141548 h 1538630"/>
              <a:gd name="csX195" fmla="*/ 1133970 w 1609516"/>
              <a:gd name="csY195" fmla="*/ 149403 h 1538630"/>
              <a:gd name="csX196" fmla="*/ 1127965 w 1609516"/>
              <a:gd name="csY196" fmla="*/ 164095 h 1538630"/>
              <a:gd name="csX197" fmla="*/ 1124762 w 1609516"/>
              <a:gd name="csY197" fmla="*/ 171802 h 1538630"/>
              <a:gd name="csX198" fmla="*/ 1119359 w 1609516"/>
              <a:gd name="csY198" fmla="*/ 184798 h 1538630"/>
              <a:gd name="csX199" fmla="*/ 1111014 w 1609516"/>
              <a:gd name="csY199" fmla="*/ 204941 h 1538630"/>
              <a:gd name="csX200" fmla="*/ 1109729 w 1609516"/>
              <a:gd name="csY200" fmla="*/ 208059 h 1538630"/>
              <a:gd name="csX201" fmla="*/ 1106395 w 1609516"/>
              <a:gd name="csY201" fmla="*/ 216170 h 1538630"/>
              <a:gd name="csX202" fmla="*/ 1102147 w 1609516"/>
              <a:gd name="csY202" fmla="*/ 224810 h 1538630"/>
              <a:gd name="csX203" fmla="*/ 1098261 w 1609516"/>
              <a:gd name="csY203" fmla="*/ 227262 h 1538630"/>
              <a:gd name="csX204" fmla="*/ 1098367 w 1609516"/>
              <a:gd name="csY204" fmla="*/ 238475 h 1538630"/>
              <a:gd name="csX205" fmla="*/ 1097331 w 1609516"/>
              <a:gd name="csY205" fmla="*/ 242358 h 1538630"/>
              <a:gd name="csX206" fmla="*/ 1096201 w 1609516"/>
              <a:gd name="csY206" fmla="*/ 246458 h 1538630"/>
              <a:gd name="csX207" fmla="*/ 1089440 w 1609516"/>
              <a:gd name="csY207" fmla="*/ 279206 h 1538630"/>
              <a:gd name="csX208" fmla="*/ 1087316 w 1609516"/>
              <a:gd name="csY208" fmla="*/ 283978 h 1538630"/>
              <a:gd name="csX209" fmla="*/ 1086822 w 1609516"/>
              <a:gd name="csY209" fmla="*/ 291822 h 1538630"/>
              <a:gd name="csX210" fmla="*/ 1086623 w 1609516"/>
              <a:gd name="csY210" fmla="*/ 296625 h 1538630"/>
              <a:gd name="csX211" fmla="*/ 1086437 w 1609516"/>
              <a:gd name="csY211" fmla="*/ 301681 h 1538630"/>
              <a:gd name="csX212" fmla="*/ 1086233 w 1609516"/>
              <a:gd name="csY212" fmla="*/ 306754 h 1538630"/>
              <a:gd name="csX213" fmla="*/ 1086007 w 1609516"/>
              <a:gd name="csY213" fmla="*/ 312619 h 1538630"/>
              <a:gd name="csX214" fmla="*/ 1087470 w 1609516"/>
              <a:gd name="csY214" fmla="*/ 320554 h 1538630"/>
              <a:gd name="csX215" fmla="*/ 1098285 w 1609516"/>
              <a:gd name="csY215" fmla="*/ 334611 h 1538630"/>
              <a:gd name="csX216" fmla="*/ 1102607 w 1609516"/>
              <a:gd name="csY216" fmla="*/ 337679 h 1538630"/>
              <a:gd name="csX217" fmla="*/ 1106095 w 1609516"/>
              <a:gd name="csY217" fmla="*/ 340248 h 1538630"/>
              <a:gd name="csX218" fmla="*/ 1106095 w 1609516"/>
              <a:gd name="csY218" fmla="*/ 343066 h 1538630"/>
              <a:gd name="csX219" fmla="*/ 1109220 w 1609516"/>
              <a:gd name="csY219" fmla="*/ 343419 h 1538630"/>
              <a:gd name="csX220" fmla="*/ 1126403 w 1609516"/>
              <a:gd name="csY220" fmla="*/ 350112 h 1538630"/>
              <a:gd name="csX221" fmla="*/ 1131871 w 1609516"/>
              <a:gd name="csY221" fmla="*/ 352579 h 1538630"/>
              <a:gd name="csX222" fmla="*/ 1135776 w 1609516"/>
              <a:gd name="csY222" fmla="*/ 354340 h 1538630"/>
              <a:gd name="csX223" fmla="*/ 1135776 w 1609516"/>
              <a:gd name="csY223" fmla="*/ 357158 h 1538630"/>
              <a:gd name="csX224" fmla="*/ 1170143 w 1609516"/>
              <a:gd name="csY224" fmla="*/ 354340 h 1538630"/>
              <a:gd name="csX225" fmla="*/ 1174634 w 1609516"/>
              <a:gd name="csY225" fmla="*/ 352579 h 1538630"/>
              <a:gd name="csX226" fmla="*/ 1190890 w 1609516"/>
              <a:gd name="csY226" fmla="*/ 342907 h 1538630"/>
              <a:gd name="csX227" fmla="*/ 1204021 w 1609516"/>
              <a:gd name="csY227" fmla="*/ 335404 h 1538630"/>
              <a:gd name="csX228" fmla="*/ 1223255 w 1609516"/>
              <a:gd name="csY228" fmla="*/ 319110 h 1538630"/>
              <a:gd name="csX229" fmla="*/ 1226868 w 1609516"/>
              <a:gd name="csY229" fmla="*/ 315587 h 1538630"/>
              <a:gd name="csX230" fmla="*/ 1231859 w 1609516"/>
              <a:gd name="csY230" fmla="*/ 303559 h 1538630"/>
              <a:gd name="csX231" fmla="*/ 1234178 w 1609516"/>
              <a:gd name="csY231" fmla="*/ 298059 h 1538630"/>
              <a:gd name="csX232" fmla="*/ 1237314 w 1609516"/>
              <a:gd name="csY232" fmla="*/ 288195 h 1538630"/>
              <a:gd name="csX233" fmla="*/ 1249811 w 1609516"/>
              <a:gd name="csY233" fmla="*/ 265559 h 1538630"/>
              <a:gd name="csX234" fmla="*/ 1252935 w 1609516"/>
              <a:gd name="csY234" fmla="*/ 265559 h 1538630"/>
              <a:gd name="csX235" fmla="*/ 1252935 w 1609516"/>
              <a:gd name="csY235" fmla="*/ 262741 h 1538630"/>
              <a:gd name="csX236" fmla="*/ 1296675 w 1609516"/>
              <a:gd name="csY236" fmla="*/ 252876 h 1538630"/>
              <a:gd name="csX237" fmla="*/ 1307609 w 1609516"/>
              <a:gd name="csY237" fmla="*/ 255695 h 1538630"/>
              <a:gd name="csX238" fmla="*/ 1307609 w 1609516"/>
              <a:gd name="csY238" fmla="*/ 258513 h 1538630"/>
              <a:gd name="csX239" fmla="*/ 1311887 w 1609516"/>
              <a:gd name="csY239" fmla="*/ 258832 h 1538630"/>
              <a:gd name="csX240" fmla="*/ 1326715 w 1609516"/>
              <a:gd name="csY240" fmla="*/ 269969 h 1538630"/>
              <a:gd name="csX241" fmla="*/ 1334165 w 1609516"/>
              <a:gd name="csY241" fmla="*/ 307836 h 1538630"/>
              <a:gd name="csX242" fmla="*/ 1329479 w 1609516"/>
              <a:gd name="csY242" fmla="*/ 314882 h 1538630"/>
              <a:gd name="csX243" fmla="*/ 1323231 w 1609516"/>
              <a:gd name="csY243" fmla="*/ 314882 h 1538630"/>
              <a:gd name="csX244" fmla="*/ 1323231 w 1609516"/>
              <a:gd name="csY244" fmla="*/ 317700 h 1538630"/>
              <a:gd name="csX245" fmla="*/ 1322774 w 1609516"/>
              <a:gd name="csY245" fmla="*/ 317838 h 1538630"/>
              <a:gd name="csX246" fmla="*/ 1323295 w 1609516"/>
              <a:gd name="csY246" fmla="*/ 317838 h 1538630"/>
              <a:gd name="csX247" fmla="*/ 1323295 w 1609516"/>
              <a:gd name="csY247" fmla="*/ 315019 h 1538630"/>
              <a:gd name="csX248" fmla="*/ 1327982 w 1609516"/>
              <a:gd name="csY248" fmla="*/ 315019 h 1538630"/>
              <a:gd name="csX249" fmla="*/ 1317047 w 1609516"/>
              <a:gd name="csY249" fmla="*/ 327702 h 1538630"/>
              <a:gd name="csX250" fmla="*/ 1315484 w 1609516"/>
              <a:gd name="csY250" fmla="*/ 331930 h 1538630"/>
              <a:gd name="csX251" fmla="*/ 1309139 w 1609516"/>
              <a:gd name="csY251" fmla="*/ 333603 h 1538630"/>
              <a:gd name="csX252" fmla="*/ 1305666 w 1609516"/>
              <a:gd name="csY252" fmla="*/ 334280 h 1538630"/>
              <a:gd name="csX253" fmla="*/ 1302988 w 1609516"/>
              <a:gd name="csY253" fmla="*/ 334748 h 1538630"/>
              <a:gd name="csX254" fmla="*/ 1305905 w 1609516"/>
              <a:gd name="csY254" fmla="*/ 332775 h 1538630"/>
              <a:gd name="csX255" fmla="*/ 1304485 w 1609516"/>
              <a:gd name="csY255" fmla="*/ 333202 h 1538630"/>
              <a:gd name="csX256" fmla="*/ 1301459 w 1609516"/>
              <a:gd name="csY256" fmla="*/ 336108 h 1538630"/>
              <a:gd name="csX257" fmla="*/ 1291989 w 1609516"/>
              <a:gd name="csY257" fmla="*/ 338839 h 1538630"/>
              <a:gd name="csX258" fmla="*/ 1290426 w 1609516"/>
              <a:gd name="csY258" fmla="*/ 343066 h 1538630"/>
              <a:gd name="csX259" fmla="*/ 1285740 w 1609516"/>
              <a:gd name="csY259" fmla="*/ 344123 h 1538630"/>
              <a:gd name="csX260" fmla="*/ 1237314 w 1609516"/>
              <a:gd name="csY260" fmla="*/ 382525 h 1538630"/>
              <a:gd name="csX261" fmla="*/ 1232628 w 1609516"/>
              <a:gd name="csY261" fmla="*/ 392389 h 1538630"/>
              <a:gd name="csX262" fmla="*/ 1228625 w 1609516"/>
              <a:gd name="csY262" fmla="*/ 398731 h 1538630"/>
              <a:gd name="csX263" fmla="*/ 1222822 w 1609516"/>
              <a:gd name="csY263" fmla="*/ 434798 h 1538630"/>
              <a:gd name="csX264" fmla="*/ 1260746 w 1609516"/>
              <a:gd name="csY264" fmla="*/ 485398 h 1538630"/>
              <a:gd name="csX265" fmla="*/ 1268556 w 1609516"/>
              <a:gd name="csY265" fmla="*/ 488216 h 1538630"/>
              <a:gd name="csX266" fmla="*/ 1268556 w 1609516"/>
              <a:gd name="csY266" fmla="*/ 491034 h 1538630"/>
              <a:gd name="csX267" fmla="*/ 1338852 w 1609516"/>
              <a:gd name="csY267" fmla="*/ 489625 h 1538630"/>
              <a:gd name="csX268" fmla="*/ 1347444 w 1609516"/>
              <a:gd name="csY268" fmla="*/ 488480 h 1538630"/>
              <a:gd name="csX269" fmla="*/ 1369362 w 1609516"/>
              <a:gd name="csY269" fmla="*/ 482513 h 1538630"/>
              <a:gd name="csX270" fmla="*/ 1388840 w 1609516"/>
              <a:gd name="csY270" fmla="*/ 478351 h 1538630"/>
              <a:gd name="csX271" fmla="*/ 1388840 w 1609516"/>
              <a:gd name="csY271" fmla="*/ 475533 h 1538630"/>
              <a:gd name="csX272" fmla="*/ 1395576 w 1609516"/>
              <a:gd name="csY272" fmla="*/ 473419 h 1538630"/>
              <a:gd name="csX273" fmla="*/ 1399365 w 1609516"/>
              <a:gd name="csY273" fmla="*/ 472230 h 1538630"/>
              <a:gd name="csX274" fmla="*/ 1407585 w 1609516"/>
              <a:gd name="csY274" fmla="*/ 471305 h 1538630"/>
              <a:gd name="csX275" fmla="*/ 1409147 w 1609516"/>
              <a:gd name="csY275" fmla="*/ 467078 h 1538630"/>
              <a:gd name="csX276" fmla="*/ 1416470 w 1609516"/>
              <a:gd name="csY276" fmla="*/ 464259 h 1538630"/>
              <a:gd name="csX277" fmla="*/ 1437949 w 1609516"/>
              <a:gd name="csY277" fmla="*/ 455011 h 1538630"/>
              <a:gd name="csX278" fmla="*/ 1452887 w 1609516"/>
              <a:gd name="csY278" fmla="*/ 450167 h 1538630"/>
              <a:gd name="csX279" fmla="*/ 1452887 w 1609516"/>
              <a:gd name="csY279" fmla="*/ 447349 h 1538630"/>
              <a:gd name="csX280" fmla="*/ 1455394 w 1609516"/>
              <a:gd name="csY280" fmla="*/ 446122 h 1538630"/>
              <a:gd name="csX281" fmla="*/ 1466653 w 1609516"/>
              <a:gd name="csY281" fmla="*/ 440567 h 1538630"/>
              <a:gd name="csX282" fmla="*/ 1470598 w 1609516"/>
              <a:gd name="csY282" fmla="*/ 438637 h 1538630"/>
              <a:gd name="csX283" fmla="*/ 1474397 w 1609516"/>
              <a:gd name="csY283" fmla="*/ 436752 h 1538630"/>
              <a:gd name="csX284" fmla="*/ 1477892 w 1609516"/>
              <a:gd name="csY284" fmla="*/ 435030 h 1538630"/>
              <a:gd name="csX285" fmla="*/ 1485691 w 1609516"/>
              <a:gd name="csY285" fmla="*/ 429029 h 1538630"/>
              <a:gd name="csX286" fmla="*/ 1488858 w 1609516"/>
              <a:gd name="csY286" fmla="*/ 427653 h 1538630"/>
              <a:gd name="csX287" fmla="*/ 1495943 w 1609516"/>
              <a:gd name="csY287" fmla="*/ 421454 h 1538630"/>
              <a:gd name="csX288" fmla="*/ 1538608 w 1609516"/>
              <a:gd name="csY288" fmla="*/ 388338 h 1538630"/>
              <a:gd name="csX289" fmla="*/ 1543490 w 1609516"/>
              <a:gd name="csY289" fmla="*/ 388161 h 1538630"/>
              <a:gd name="csX290" fmla="*/ 1547621 w 1609516"/>
              <a:gd name="csY290" fmla="*/ 387804 h 1538630"/>
              <a:gd name="csX291" fmla="*/ 1579418 w 1609516"/>
              <a:gd name="csY291" fmla="*/ 396617 h 1538630"/>
              <a:gd name="csX292" fmla="*/ 1583342 w 1609516"/>
              <a:gd name="csY292" fmla="*/ 398780 h 1538630"/>
              <a:gd name="csX293" fmla="*/ 1601288 w 1609516"/>
              <a:gd name="csY293" fmla="*/ 423392 h 1538630"/>
              <a:gd name="csX294" fmla="*/ 1594484 w 1609516"/>
              <a:gd name="csY294" fmla="*/ 460159 h 1538630"/>
              <a:gd name="csX295" fmla="*/ 1574732 w 1609516"/>
              <a:gd name="csY295" fmla="*/ 475533 h 1538630"/>
              <a:gd name="csX296" fmla="*/ 1572097 w 1609516"/>
              <a:gd name="csY296" fmla="*/ 477078 h 1538630"/>
              <a:gd name="csX297" fmla="*/ 1556066 w 1609516"/>
              <a:gd name="csY297" fmla="*/ 478737 h 1538630"/>
              <a:gd name="csX298" fmla="*/ 1548631 w 1609516"/>
              <a:gd name="csY298" fmla="*/ 478825 h 1538630"/>
              <a:gd name="csX299" fmla="*/ 1536991 w 1609516"/>
              <a:gd name="csY299" fmla="*/ 478889 h 1538630"/>
              <a:gd name="csX300" fmla="*/ 1498188 w 1609516"/>
              <a:gd name="csY300" fmla="*/ 485398 h 1538630"/>
              <a:gd name="csX301" fmla="*/ 1493892 w 1609516"/>
              <a:gd name="csY301" fmla="*/ 487600 h 1538630"/>
              <a:gd name="csX302" fmla="*/ 1490377 w 1609516"/>
              <a:gd name="csY302" fmla="*/ 489625 h 1538630"/>
              <a:gd name="csX303" fmla="*/ 1471650 w 1609516"/>
              <a:gd name="csY303" fmla="*/ 498185 h 1538630"/>
              <a:gd name="csX304" fmla="*/ 1459135 w 1609516"/>
              <a:gd name="csY304" fmla="*/ 505127 h 1538630"/>
              <a:gd name="csX305" fmla="*/ 1452594 w 1609516"/>
              <a:gd name="csY305" fmla="*/ 508033 h 1538630"/>
              <a:gd name="csX306" fmla="*/ 1427795 w 1609516"/>
              <a:gd name="csY306" fmla="*/ 520100 h 1538630"/>
              <a:gd name="csX307" fmla="*/ 1423733 w 1609516"/>
              <a:gd name="csY307" fmla="*/ 522148 h 1538630"/>
              <a:gd name="csX308" fmla="*/ 1419929 w 1609516"/>
              <a:gd name="csY308" fmla="*/ 524118 h 1538630"/>
              <a:gd name="csX309" fmla="*/ 1416487 w 1609516"/>
              <a:gd name="csY309" fmla="*/ 525883 h 1538630"/>
              <a:gd name="csX310" fmla="*/ 1412271 w 1609516"/>
              <a:gd name="csY310" fmla="*/ 531902 h 1538630"/>
              <a:gd name="csX311" fmla="*/ 1396650 w 1609516"/>
              <a:gd name="csY311" fmla="*/ 537539 h 1538630"/>
              <a:gd name="csX312" fmla="*/ 1396650 w 1609516"/>
              <a:gd name="csY312" fmla="*/ 540357 h 1538630"/>
              <a:gd name="csX313" fmla="*/ 1393495 w 1609516"/>
              <a:gd name="csY313" fmla="*/ 541502 h 1538630"/>
              <a:gd name="csX314" fmla="*/ 1362284 w 1609516"/>
              <a:gd name="csY314" fmla="*/ 558678 h 1538630"/>
              <a:gd name="csX315" fmla="*/ 1355937 w 1609516"/>
              <a:gd name="csY315" fmla="*/ 562905 h 1538630"/>
              <a:gd name="csX316" fmla="*/ 1334165 w 1609516"/>
              <a:gd name="csY316" fmla="*/ 578406 h 1538630"/>
              <a:gd name="csX317" fmla="*/ 1331200 w 1609516"/>
              <a:gd name="csY317" fmla="*/ 580559 h 1538630"/>
              <a:gd name="csX318" fmla="*/ 1322175 w 1609516"/>
              <a:gd name="csY318" fmla="*/ 596793 h 1538630"/>
              <a:gd name="csX319" fmla="*/ 1320106 w 1609516"/>
              <a:gd name="csY319" fmla="*/ 602363 h 1538630"/>
              <a:gd name="csX320" fmla="*/ 1328015 w 1609516"/>
              <a:gd name="csY320" fmla="*/ 647640 h 1538630"/>
              <a:gd name="csX321" fmla="*/ 1332604 w 1609516"/>
              <a:gd name="csY321" fmla="*/ 675643 h 1538630"/>
              <a:gd name="csX322" fmla="*/ 1335727 w 1609516"/>
              <a:gd name="csY322" fmla="*/ 675643 h 1538630"/>
              <a:gd name="csX323" fmla="*/ 1337741 w 1609516"/>
              <a:gd name="csY323" fmla="*/ 690059 h 1538630"/>
              <a:gd name="csX324" fmla="*/ 1338003 w 1609516"/>
              <a:gd name="csY324" fmla="*/ 696222 h 1538630"/>
              <a:gd name="csX325" fmla="*/ 1338340 w 1609516"/>
              <a:gd name="csY325" fmla="*/ 705887 h 1538630"/>
              <a:gd name="csX326" fmla="*/ 1345277 w 1609516"/>
              <a:gd name="csY326" fmla="*/ 733245 h 1538630"/>
              <a:gd name="csX327" fmla="*/ 1363162 w 1609516"/>
              <a:gd name="csY327" fmla="*/ 741612 h 1538630"/>
              <a:gd name="csX328" fmla="*/ 1384154 w 1609516"/>
              <a:gd name="csY328" fmla="*/ 748922 h 1538630"/>
              <a:gd name="csX329" fmla="*/ 1391476 w 1609516"/>
              <a:gd name="csY329" fmla="*/ 750419 h 1538630"/>
              <a:gd name="csX330" fmla="*/ 1395564 w 1609516"/>
              <a:gd name="csY330" fmla="*/ 751080 h 1538630"/>
              <a:gd name="csX331" fmla="*/ 1399775 w 1609516"/>
              <a:gd name="csY331" fmla="*/ 751740 h 1538630"/>
              <a:gd name="csX332" fmla="*/ 1403887 w 1609516"/>
              <a:gd name="csY332" fmla="*/ 752489 h 1538630"/>
              <a:gd name="csX333" fmla="*/ 1465383 w 1609516"/>
              <a:gd name="csY333" fmla="*/ 755969 h 1538630"/>
              <a:gd name="csX334" fmla="*/ 1470339 w 1609516"/>
              <a:gd name="csY334" fmla="*/ 755897 h 1538630"/>
              <a:gd name="csX335" fmla="*/ 1496809 w 1609516"/>
              <a:gd name="csY335" fmla="*/ 749313 h 1538630"/>
              <a:gd name="csX336" fmla="*/ 1515371 w 1609516"/>
              <a:gd name="csY336" fmla="*/ 743285 h 1538630"/>
              <a:gd name="csX337" fmla="*/ 1515371 w 1609516"/>
              <a:gd name="csY337" fmla="*/ 740467 h 1538630"/>
              <a:gd name="csX338" fmla="*/ 1537632 w 1609516"/>
              <a:gd name="csY338" fmla="*/ 737120 h 1538630"/>
              <a:gd name="csX339" fmla="*/ 1541657 w 1609516"/>
              <a:gd name="csY339" fmla="*/ 737127 h 1538630"/>
              <a:gd name="csX340" fmla="*/ 1574732 w 1609516"/>
              <a:gd name="csY340" fmla="*/ 748922 h 1538630"/>
              <a:gd name="csX341" fmla="*/ 1588791 w 1609516"/>
              <a:gd name="csY341" fmla="*/ 792608 h 1538630"/>
              <a:gd name="csX342" fmla="*/ 1584105 w 1609516"/>
              <a:gd name="csY342" fmla="*/ 805291 h 1538630"/>
              <a:gd name="csX343" fmla="*/ 1580981 w 1609516"/>
              <a:gd name="csY343" fmla="*/ 806700 h 1538630"/>
              <a:gd name="csX344" fmla="*/ 1578735 w 1609516"/>
              <a:gd name="csY344" fmla="*/ 810311 h 1538630"/>
              <a:gd name="csX345" fmla="*/ 1576295 w 1609516"/>
              <a:gd name="csY345" fmla="*/ 813746 h 1538630"/>
              <a:gd name="csX346" fmla="*/ 1571652 w 1609516"/>
              <a:gd name="csY346" fmla="*/ 813746 h 1538630"/>
              <a:gd name="csX347" fmla="*/ 1571785 w 1609516"/>
              <a:gd name="csY347" fmla="*/ 814106 h 1538630"/>
              <a:gd name="csX348" fmla="*/ 1574909 w 1609516"/>
              <a:gd name="csY348" fmla="*/ 815515 h 1538630"/>
              <a:gd name="csX349" fmla="*/ 1565463 w 1609516"/>
              <a:gd name="csY349" fmla="*/ 821839 h 1538630"/>
              <a:gd name="csX350" fmla="*/ 1562085 w 1609516"/>
              <a:gd name="csY350" fmla="*/ 822101 h 1538630"/>
              <a:gd name="csX351" fmla="*/ 1551301 w 1609516"/>
              <a:gd name="csY351" fmla="*/ 825020 h 1538630"/>
              <a:gd name="csX352" fmla="*/ 1551301 w 1609516"/>
              <a:gd name="csY352" fmla="*/ 827838 h 1538630"/>
              <a:gd name="csX353" fmla="*/ 1485380 w 1609516"/>
              <a:gd name="csY353" fmla="*/ 815007 h 1538630"/>
              <a:gd name="csX354" fmla="*/ 1431603 w 1609516"/>
              <a:gd name="csY354" fmla="*/ 808726 h 1538630"/>
              <a:gd name="csX355" fmla="*/ 1424140 w 1609516"/>
              <a:gd name="csY355" fmla="*/ 808542 h 1538630"/>
              <a:gd name="csX356" fmla="*/ 1406023 w 1609516"/>
              <a:gd name="csY356" fmla="*/ 808109 h 1538630"/>
              <a:gd name="csX357" fmla="*/ 1406023 w 1609516"/>
              <a:gd name="csY357" fmla="*/ 810928 h 1538630"/>
              <a:gd name="csX358" fmla="*/ 1403383 w 1609516"/>
              <a:gd name="csY358" fmla="*/ 811311 h 1538630"/>
              <a:gd name="csX359" fmla="*/ 1345442 w 1609516"/>
              <a:gd name="csY359" fmla="*/ 828907 h 1538630"/>
              <a:gd name="csX360" fmla="*/ 1337875 w 1609516"/>
              <a:gd name="csY360" fmla="*/ 856639 h 1538630"/>
              <a:gd name="csX361" fmla="*/ 1337692 w 1609516"/>
              <a:gd name="csY361" fmla="*/ 860171 h 1538630"/>
              <a:gd name="csX362" fmla="*/ 1337290 w 1609516"/>
              <a:gd name="csY362" fmla="*/ 868706 h 1538630"/>
              <a:gd name="csX363" fmla="*/ 1334165 w 1609516"/>
              <a:gd name="csY363" fmla="*/ 868706 h 1538630"/>
              <a:gd name="csX364" fmla="*/ 1334165 w 1609516"/>
              <a:gd name="csY364" fmla="*/ 870034 h 1538630"/>
              <a:gd name="csX365" fmla="*/ 1334237 w 1609516"/>
              <a:gd name="csY365" fmla="*/ 869093 h 1538630"/>
              <a:gd name="csX366" fmla="*/ 1335800 w 1609516"/>
              <a:gd name="csY366" fmla="*/ 869093 h 1538630"/>
              <a:gd name="csX367" fmla="*/ 1335995 w 1609516"/>
              <a:gd name="csY367" fmla="*/ 876491 h 1538630"/>
              <a:gd name="csX368" fmla="*/ 1336105 w 1609516"/>
              <a:gd name="csY368" fmla="*/ 880653 h 1538630"/>
              <a:gd name="csX369" fmla="*/ 1334294 w 1609516"/>
              <a:gd name="csY369" fmla="*/ 887271 h 1538630"/>
              <a:gd name="csX370" fmla="*/ 1331455 w 1609516"/>
              <a:gd name="csY370" fmla="*/ 896440 h 1538630"/>
              <a:gd name="csX371" fmla="*/ 1330887 w 1609516"/>
              <a:gd name="csY371" fmla="*/ 899969 h 1538630"/>
              <a:gd name="csX372" fmla="*/ 1330332 w 1609516"/>
              <a:gd name="csY372" fmla="*/ 903618 h 1538630"/>
              <a:gd name="csX373" fmla="*/ 1329209 w 1609516"/>
              <a:gd name="csY373" fmla="*/ 910797 h 1538630"/>
              <a:gd name="csX374" fmla="*/ 1328724 w 1609516"/>
              <a:gd name="csY374" fmla="*/ 913998 h 1538630"/>
              <a:gd name="csX375" fmla="*/ 1324865 w 1609516"/>
              <a:gd name="csY375" fmla="*/ 922643 h 1538630"/>
              <a:gd name="csX376" fmla="*/ 1322619 w 1609516"/>
              <a:gd name="csY376" fmla="*/ 937979 h 1538630"/>
              <a:gd name="csX377" fmla="*/ 1318744 w 1609516"/>
              <a:gd name="csY377" fmla="*/ 944961 h 1538630"/>
              <a:gd name="csX378" fmla="*/ 1318544 w 1609516"/>
              <a:gd name="csY378" fmla="*/ 946213 h 1538630"/>
              <a:gd name="csX379" fmla="*/ 1318251 w 1609516"/>
              <a:gd name="csY379" fmla="*/ 955285 h 1538630"/>
              <a:gd name="csX380" fmla="*/ 1318184 w 1609516"/>
              <a:gd name="csY380" fmla="*/ 960036 h 1538630"/>
              <a:gd name="csX381" fmla="*/ 1324024 w 1609516"/>
              <a:gd name="csY381" fmla="*/ 973660 h 1538630"/>
              <a:gd name="csX382" fmla="*/ 1329284 w 1609516"/>
              <a:gd name="csY382" fmla="*/ 983382 h 1538630"/>
              <a:gd name="csX383" fmla="*/ 1340414 w 1609516"/>
              <a:gd name="csY383" fmla="*/ 998354 h 1538630"/>
              <a:gd name="csX384" fmla="*/ 1346272 w 1609516"/>
              <a:gd name="csY384" fmla="*/ 1005048 h 1538630"/>
              <a:gd name="csX385" fmla="*/ 1394716 w 1609516"/>
              <a:gd name="csY385" fmla="*/ 1042740 h 1538630"/>
              <a:gd name="csX386" fmla="*/ 1401953 w 1609516"/>
              <a:gd name="csY386" fmla="*/ 1047374 h 1538630"/>
              <a:gd name="csX387" fmla="*/ 1427197 w 1609516"/>
              <a:gd name="csY387" fmla="*/ 1059061 h 1538630"/>
              <a:gd name="csX388" fmla="*/ 1437265 w 1609516"/>
              <a:gd name="csY388" fmla="*/ 1064588 h 1538630"/>
              <a:gd name="csX389" fmla="*/ 1437265 w 1609516"/>
              <a:gd name="csY389" fmla="*/ 1067406 h 1538630"/>
              <a:gd name="csX390" fmla="*/ 1440878 w 1609516"/>
              <a:gd name="csY390" fmla="*/ 1067847 h 1538630"/>
              <a:gd name="csX391" fmla="*/ 1447175 w 1609516"/>
              <a:gd name="csY391" fmla="*/ 1070753 h 1538630"/>
              <a:gd name="csX392" fmla="*/ 1457866 w 1609516"/>
              <a:gd name="csY392" fmla="*/ 1076830 h 1538630"/>
              <a:gd name="csX393" fmla="*/ 1462132 w 1609516"/>
              <a:gd name="csY393" fmla="*/ 1078696 h 1538630"/>
              <a:gd name="csX394" fmla="*/ 1465383 w 1609516"/>
              <a:gd name="csY394" fmla="*/ 1080089 h 1538630"/>
              <a:gd name="csX395" fmla="*/ 1465383 w 1609516"/>
              <a:gd name="csY395" fmla="*/ 1082908 h 1538630"/>
              <a:gd name="csX396" fmla="*/ 1468758 w 1609516"/>
              <a:gd name="csY396" fmla="*/ 1083975 h 1538630"/>
              <a:gd name="csX397" fmla="*/ 1481688 w 1609516"/>
              <a:gd name="csY397" fmla="*/ 1091187 h 1538630"/>
              <a:gd name="csX398" fmla="*/ 1486283 w 1609516"/>
              <a:gd name="csY398" fmla="*/ 1094236 h 1538630"/>
              <a:gd name="csX399" fmla="*/ 1494869 w 1609516"/>
              <a:gd name="csY399" fmla="*/ 1100171 h 1538630"/>
              <a:gd name="csX400" fmla="*/ 1544335 w 1609516"/>
              <a:gd name="csY400" fmla="*/ 1109518 h 1538630"/>
              <a:gd name="csX401" fmla="*/ 1593477 w 1609516"/>
              <a:gd name="csY401" fmla="*/ 1119900 h 1538630"/>
              <a:gd name="csX402" fmla="*/ 1605975 w 1609516"/>
              <a:gd name="csY402" fmla="*/ 1144913 h 1538630"/>
              <a:gd name="csX403" fmla="*/ 1609099 w 1609516"/>
              <a:gd name="csY403" fmla="*/ 1144913 h 1538630"/>
              <a:gd name="csX404" fmla="*/ 1609392 w 1609516"/>
              <a:gd name="csY404" fmla="*/ 1156892 h 1538630"/>
              <a:gd name="csX405" fmla="*/ 1609511 w 1609516"/>
              <a:gd name="csY405" fmla="*/ 1160272 h 1538630"/>
              <a:gd name="csX406" fmla="*/ 1604412 w 1609516"/>
              <a:gd name="csY406" fmla="*/ 1181553 h 1538630"/>
              <a:gd name="csX407" fmla="*/ 1601288 w 1609516"/>
              <a:gd name="csY407" fmla="*/ 1190009 h 1538630"/>
              <a:gd name="csX408" fmla="*/ 1598164 w 1609516"/>
              <a:gd name="csY408" fmla="*/ 1190009 h 1538630"/>
              <a:gd name="csX409" fmla="*/ 1597187 w 1609516"/>
              <a:gd name="csY409" fmla="*/ 1192739 h 1538630"/>
              <a:gd name="csX410" fmla="*/ 1595040 w 1609516"/>
              <a:gd name="csY410" fmla="*/ 1195645 h 1538630"/>
              <a:gd name="csX411" fmla="*/ 1585667 w 1609516"/>
              <a:gd name="csY411" fmla="*/ 1197055 h 1538630"/>
              <a:gd name="csX412" fmla="*/ 1582543 w 1609516"/>
              <a:gd name="csY412" fmla="*/ 1202691 h 1538630"/>
              <a:gd name="csX413" fmla="*/ 1562431 w 1609516"/>
              <a:gd name="csY413" fmla="*/ 1204365 h 1538630"/>
              <a:gd name="csX414" fmla="*/ 1558690 w 1609516"/>
              <a:gd name="csY414" fmla="*/ 1204417 h 1538630"/>
              <a:gd name="csX415" fmla="*/ 1521102 w 1609516"/>
              <a:gd name="csY415" fmla="*/ 1189585 h 1538630"/>
              <a:gd name="csX416" fmla="*/ 1505022 w 1609516"/>
              <a:gd name="csY416" fmla="*/ 1172041 h 1538630"/>
              <a:gd name="csX417" fmla="*/ 1457573 w 1609516"/>
              <a:gd name="csY417" fmla="*/ 1140686 h 1538630"/>
              <a:gd name="csX418" fmla="*/ 1457573 w 1609516"/>
              <a:gd name="csY418" fmla="*/ 1137867 h 1538630"/>
              <a:gd name="csX419" fmla="*/ 1452985 w 1609516"/>
              <a:gd name="csY419" fmla="*/ 1137339 h 1538630"/>
              <a:gd name="csX420" fmla="*/ 1448200 w 1609516"/>
              <a:gd name="csY420" fmla="*/ 1136458 h 1538630"/>
              <a:gd name="csX421" fmla="*/ 1446638 w 1609516"/>
              <a:gd name="csY421" fmla="*/ 1133640 h 1538630"/>
              <a:gd name="csX422" fmla="*/ 1438937 w 1609516"/>
              <a:gd name="csY422" fmla="*/ 1130601 h 1538630"/>
              <a:gd name="csX423" fmla="*/ 1429260 w 1609516"/>
              <a:gd name="csY423" fmla="*/ 1126770 h 1538630"/>
              <a:gd name="csX424" fmla="*/ 1411393 w 1609516"/>
              <a:gd name="csY424" fmla="*/ 1120340 h 1538630"/>
              <a:gd name="csX425" fmla="*/ 1391427 w 1609516"/>
              <a:gd name="csY425" fmla="*/ 1111191 h 1538630"/>
              <a:gd name="csX426" fmla="*/ 1381029 w 1609516"/>
              <a:gd name="csY426" fmla="*/ 1106865 h 1538630"/>
              <a:gd name="csX427" fmla="*/ 1381029 w 1609516"/>
              <a:gd name="csY427" fmla="*/ 1104046 h 1538630"/>
              <a:gd name="csX428" fmla="*/ 1377221 w 1609516"/>
              <a:gd name="csY428" fmla="*/ 1103605 h 1538630"/>
              <a:gd name="csX429" fmla="*/ 1357597 w 1609516"/>
              <a:gd name="csY429" fmla="*/ 1098409 h 1538630"/>
              <a:gd name="csX430" fmla="*/ 1352032 w 1609516"/>
              <a:gd name="csY430" fmla="*/ 1096736 h 1538630"/>
              <a:gd name="csX431" fmla="*/ 1348225 w 1609516"/>
              <a:gd name="csY431" fmla="*/ 1095590 h 1538630"/>
              <a:gd name="csX432" fmla="*/ 1348225 w 1609516"/>
              <a:gd name="csY432" fmla="*/ 1092772 h 1538630"/>
              <a:gd name="csX433" fmla="*/ 1337290 w 1609516"/>
              <a:gd name="csY433" fmla="*/ 1091363 h 1538630"/>
              <a:gd name="csX434" fmla="*/ 1337290 w 1609516"/>
              <a:gd name="csY434" fmla="*/ 1088544 h 1538630"/>
              <a:gd name="csX435" fmla="*/ 1331529 w 1609516"/>
              <a:gd name="csY435" fmla="*/ 1088104 h 1538630"/>
              <a:gd name="csX436" fmla="*/ 1323297 w 1609516"/>
              <a:gd name="csY436" fmla="*/ 1086611 h 1538630"/>
              <a:gd name="csX437" fmla="*/ 1323297 w 1609516"/>
              <a:gd name="csY437" fmla="*/ 1087618 h 1538630"/>
              <a:gd name="csX438" fmla="*/ 1319789 w 1609516"/>
              <a:gd name="csY438" fmla="*/ 1087310 h 1538630"/>
              <a:gd name="csX439" fmla="*/ 1262375 w 1609516"/>
              <a:gd name="csY439" fmla="*/ 1089028 h 1538630"/>
              <a:gd name="csX440" fmla="*/ 1258728 w 1609516"/>
              <a:gd name="csY440" fmla="*/ 1088205 h 1538630"/>
              <a:gd name="csX441" fmla="*/ 1246964 w 1609516"/>
              <a:gd name="csY441" fmla="*/ 1091489 h 1538630"/>
              <a:gd name="csX442" fmla="*/ 1223224 w 1609516"/>
              <a:gd name="csY442" fmla="*/ 1112865 h 1538630"/>
              <a:gd name="csX443" fmla="*/ 1213883 w 1609516"/>
              <a:gd name="csY443" fmla="*/ 1122366 h 1538630"/>
              <a:gd name="csX444" fmla="*/ 1212505 w 1609516"/>
              <a:gd name="csY444" fmla="*/ 1125708 h 1538630"/>
              <a:gd name="csX445" fmla="*/ 1204180 w 1609516"/>
              <a:gd name="csY445" fmla="*/ 1135561 h 1538630"/>
              <a:gd name="csX446" fmla="*/ 1200238 w 1609516"/>
              <a:gd name="csY446" fmla="*/ 1138999 h 1538630"/>
              <a:gd name="csX447" fmla="*/ 1192025 w 1609516"/>
              <a:gd name="csY447" fmla="*/ 1146022 h 1538630"/>
              <a:gd name="csX448" fmla="*/ 1173945 w 1609516"/>
              <a:gd name="csY448" fmla="*/ 1174749 h 1538630"/>
              <a:gd name="csX449" fmla="*/ 1173950 w 1609516"/>
              <a:gd name="csY449" fmla="*/ 1182610 h 1538630"/>
              <a:gd name="csX450" fmla="*/ 1173989 w 1609516"/>
              <a:gd name="csY450" fmla="*/ 1186765 h 1538630"/>
              <a:gd name="csX451" fmla="*/ 1182640 w 1609516"/>
              <a:gd name="csY451" fmla="*/ 1215374 h 1538630"/>
              <a:gd name="csX452" fmla="*/ 1185764 w 1609516"/>
              <a:gd name="csY452" fmla="*/ 1221804 h 1538630"/>
              <a:gd name="csX453" fmla="*/ 1187301 w 1609516"/>
              <a:gd name="csY453" fmla="*/ 1224859 h 1538630"/>
              <a:gd name="csX454" fmla="*/ 1190573 w 1609516"/>
              <a:gd name="csY454" fmla="*/ 1231740 h 1538630"/>
              <a:gd name="csX455" fmla="*/ 1205925 w 1609516"/>
              <a:gd name="csY455" fmla="*/ 1255163 h 1538630"/>
              <a:gd name="csX456" fmla="*/ 1212174 w 1609516"/>
              <a:gd name="csY456" fmla="*/ 1263134 h 1538630"/>
              <a:gd name="csX457" fmla="*/ 1235556 w 1609516"/>
              <a:gd name="csY457" fmla="*/ 1282538 h 1538630"/>
              <a:gd name="csX458" fmla="*/ 1238876 w 1609516"/>
              <a:gd name="csY458" fmla="*/ 1284426 h 1538630"/>
              <a:gd name="csX459" fmla="*/ 1238876 w 1609516"/>
              <a:gd name="csY459" fmla="*/ 1287245 h 1538630"/>
              <a:gd name="csX460" fmla="*/ 1242245 w 1609516"/>
              <a:gd name="csY460" fmla="*/ 1287663 h 1538630"/>
              <a:gd name="csX461" fmla="*/ 1271681 w 1609516"/>
              <a:gd name="csY461" fmla="*/ 1305565 h 1538630"/>
              <a:gd name="csX462" fmla="*/ 1271742 w 1609516"/>
              <a:gd name="csY462" fmla="*/ 1306172 h 1538630"/>
              <a:gd name="csX463" fmla="*/ 1278525 w 1609516"/>
              <a:gd name="csY463" fmla="*/ 1315767 h 1538630"/>
              <a:gd name="csX464" fmla="*/ 1281097 w 1609516"/>
              <a:gd name="csY464" fmla="*/ 1327286 h 1538630"/>
              <a:gd name="csX465" fmla="*/ 1277973 w 1609516"/>
              <a:gd name="csY465" fmla="*/ 1355470 h 1538630"/>
              <a:gd name="csX466" fmla="*/ 1277460 w 1609516"/>
              <a:gd name="csY466" fmla="*/ 1347025 h 1538630"/>
              <a:gd name="csX467" fmla="*/ 1273531 w 1609516"/>
              <a:gd name="csY467" fmla="*/ 1357991 h 1538630"/>
              <a:gd name="csX468" fmla="*/ 1263870 w 1609516"/>
              <a:gd name="csY468" fmla="*/ 1368980 h 1538630"/>
              <a:gd name="csX469" fmla="*/ 1246686 w 1609516"/>
              <a:gd name="csY469" fmla="*/ 1376026 h 1538630"/>
              <a:gd name="csX470" fmla="*/ 1246686 w 1609516"/>
              <a:gd name="csY470" fmla="*/ 1378844 h 1538630"/>
              <a:gd name="csX471" fmla="*/ 1231651 w 1609516"/>
              <a:gd name="csY471" fmla="*/ 1379196 h 1538630"/>
              <a:gd name="csX472" fmla="*/ 1227373 w 1609516"/>
              <a:gd name="csY472" fmla="*/ 1379340 h 1538630"/>
              <a:gd name="csX473" fmla="*/ 1206071 w 1609516"/>
              <a:gd name="csY473" fmla="*/ 1373207 h 1538630"/>
              <a:gd name="csX474" fmla="*/ 1202069 w 1609516"/>
              <a:gd name="csY474" fmla="*/ 1371798 h 1538630"/>
              <a:gd name="csX475" fmla="*/ 1184104 w 1609516"/>
              <a:gd name="csY475" fmla="*/ 1356176 h 1538630"/>
              <a:gd name="csX476" fmla="*/ 1177270 w 1609516"/>
              <a:gd name="csY476" fmla="*/ 1335247 h 1538630"/>
              <a:gd name="csX477" fmla="*/ 1169002 w 1609516"/>
              <a:gd name="csY477" fmla="*/ 1313464 h 1538630"/>
              <a:gd name="csX478" fmla="*/ 1163504 w 1609516"/>
              <a:gd name="csY478" fmla="*/ 1302130 h 1538630"/>
              <a:gd name="csX479" fmla="*/ 1162015 w 1609516"/>
              <a:gd name="csY479" fmla="*/ 1298788 h 1538630"/>
              <a:gd name="csX480" fmla="*/ 1160111 w 1609516"/>
              <a:gd name="csY480" fmla="*/ 1292656 h 1538630"/>
              <a:gd name="csX481" fmla="*/ 1154522 w 1609516"/>
              <a:gd name="csY481" fmla="*/ 1287245 h 1538630"/>
              <a:gd name="csX482" fmla="*/ 1151398 w 1609516"/>
              <a:gd name="csY482" fmla="*/ 1280199 h 1538630"/>
              <a:gd name="csX483" fmla="*/ 1144173 w 1609516"/>
              <a:gd name="csY483" fmla="*/ 1270774 h 1538630"/>
              <a:gd name="csX484" fmla="*/ 1142065 w 1609516"/>
              <a:gd name="csY484" fmla="*/ 1268160 h 1538630"/>
              <a:gd name="csX485" fmla="*/ 1135776 w 1609516"/>
              <a:gd name="csY485" fmla="*/ 1260470 h 1538630"/>
              <a:gd name="csX486" fmla="*/ 1132353 w 1609516"/>
              <a:gd name="csY486" fmla="*/ 1256247 h 1538630"/>
              <a:gd name="csX487" fmla="*/ 1112344 w 1609516"/>
              <a:gd name="csY487" fmla="*/ 1240741 h 1538630"/>
              <a:gd name="csX488" fmla="*/ 1106193 w 1609516"/>
              <a:gd name="csY488" fmla="*/ 1237570 h 1538630"/>
              <a:gd name="csX489" fmla="*/ 1101409 w 1609516"/>
              <a:gd name="csY489" fmla="*/ 1235104 h 1538630"/>
              <a:gd name="csX490" fmla="*/ 1101409 w 1609516"/>
              <a:gd name="csY490" fmla="*/ 1230876 h 1538630"/>
              <a:gd name="csX491" fmla="*/ 1065480 w 1609516"/>
              <a:gd name="csY491" fmla="*/ 1230876 h 1538630"/>
              <a:gd name="csX492" fmla="*/ 1063919 w 1609516"/>
              <a:gd name="csY492" fmla="*/ 1235104 h 1538630"/>
              <a:gd name="csX493" fmla="*/ 1059232 w 1609516"/>
              <a:gd name="csY493" fmla="*/ 1235104 h 1538630"/>
              <a:gd name="csX494" fmla="*/ 1059232 w 1609516"/>
              <a:gd name="csY494" fmla="*/ 1237922 h 1538630"/>
              <a:gd name="csX495" fmla="*/ 1040194 w 1609516"/>
              <a:gd name="csY495" fmla="*/ 1245761 h 1538630"/>
              <a:gd name="csX496" fmla="*/ 1030333 w 1609516"/>
              <a:gd name="csY496" fmla="*/ 1249901 h 1538630"/>
              <a:gd name="csX497" fmla="*/ 1013931 w 1609516"/>
              <a:gd name="csY497" fmla="*/ 1256242 h 1538630"/>
              <a:gd name="csX498" fmla="*/ 1005925 w 1609516"/>
              <a:gd name="csY498" fmla="*/ 1261615 h 1538630"/>
              <a:gd name="csX499" fmla="*/ 1004558 w 1609516"/>
              <a:gd name="csY499" fmla="*/ 1264697 h 1538630"/>
              <a:gd name="csX500" fmla="*/ 1002959 w 1609516"/>
              <a:gd name="csY500" fmla="*/ 1267961 h 1538630"/>
              <a:gd name="csX501" fmla="*/ 1000653 w 1609516"/>
              <a:gd name="csY501" fmla="*/ 1278965 h 1538630"/>
              <a:gd name="csX502" fmla="*/ 998297 w 1609516"/>
              <a:gd name="csY502" fmla="*/ 1294137 h 1538630"/>
              <a:gd name="csX503" fmla="*/ 996162 w 1609516"/>
              <a:gd name="csY503" fmla="*/ 1324765 h 1538630"/>
              <a:gd name="csX504" fmla="*/ 996164 w 1609516"/>
              <a:gd name="csY504" fmla="*/ 1327846 h 1538630"/>
              <a:gd name="csX505" fmla="*/ 1007780 w 1609516"/>
              <a:gd name="csY505" fmla="*/ 1403329 h 1538630"/>
              <a:gd name="csX506" fmla="*/ 1008940 w 1609516"/>
              <a:gd name="csY506" fmla="*/ 1407701 h 1538630"/>
              <a:gd name="csX507" fmla="*/ 1010080 w 1609516"/>
              <a:gd name="csY507" fmla="*/ 1411730 h 1538630"/>
              <a:gd name="csX508" fmla="*/ 1011075 w 1609516"/>
              <a:gd name="csY508" fmla="*/ 1415277 h 1538630"/>
              <a:gd name="csX509" fmla="*/ 1017055 w 1609516"/>
              <a:gd name="csY509" fmla="*/ 1422530 h 1538630"/>
              <a:gd name="csX510" fmla="*/ 1020277 w 1609516"/>
              <a:gd name="csY510" fmla="*/ 1427991 h 1538630"/>
              <a:gd name="csX511" fmla="*/ 1021796 w 1609516"/>
              <a:gd name="csY511" fmla="*/ 1430798 h 1538630"/>
              <a:gd name="csX512" fmla="*/ 1024579 w 1609516"/>
              <a:gd name="csY512" fmla="*/ 1437239 h 1538630"/>
              <a:gd name="csX513" fmla="*/ 1034043 w 1609516"/>
              <a:gd name="csY513" fmla="*/ 1448072 h 1538630"/>
              <a:gd name="csX514" fmla="*/ 1043782 w 1609516"/>
              <a:gd name="csY514" fmla="*/ 1464320 h 1538630"/>
              <a:gd name="csX515" fmla="*/ 1050458 w 1609516"/>
              <a:gd name="csY515" fmla="*/ 1472189 h 1538630"/>
              <a:gd name="csX516" fmla="*/ 1052926 w 1609516"/>
              <a:gd name="csY516" fmla="*/ 1482370 h 1538630"/>
              <a:gd name="csX517" fmla="*/ 1053316 w 1609516"/>
              <a:gd name="csY517" fmla="*/ 1496903 h 1538630"/>
              <a:gd name="csX518" fmla="*/ 1053352 w 1609516"/>
              <a:gd name="csY518" fmla="*/ 1500660 h 1538630"/>
              <a:gd name="csX519" fmla="*/ 1053341 w 1609516"/>
              <a:gd name="csY519" fmla="*/ 1504285 h 1538630"/>
              <a:gd name="csX520" fmla="*/ 1053329 w 1609516"/>
              <a:gd name="csY520" fmla="*/ 1507529 h 1538630"/>
              <a:gd name="csX521" fmla="*/ 1049801 w 1609516"/>
              <a:gd name="csY521" fmla="*/ 1516192 h 1538630"/>
              <a:gd name="csX522" fmla="*/ 1047312 w 1609516"/>
              <a:gd name="csY522" fmla="*/ 1516192 h 1538630"/>
              <a:gd name="csX523" fmla="*/ 1043611 w 1609516"/>
              <a:gd name="csY523" fmla="*/ 1522585 h 1538630"/>
              <a:gd name="csX524" fmla="*/ 1029552 w 1609516"/>
              <a:gd name="csY524" fmla="*/ 1529631 h 1538630"/>
              <a:gd name="csX525" fmla="*/ 1028771 w 1609516"/>
              <a:gd name="csY525" fmla="*/ 1532273 h 1538630"/>
              <a:gd name="csX526" fmla="*/ 1018013 w 1609516"/>
              <a:gd name="csY526" fmla="*/ 1537640 h 1538630"/>
              <a:gd name="csX527" fmla="*/ 981126 w 1609516"/>
              <a:gd name="csY527" fmla="*/ 1533859 h 1538630"/>
              <a:gd name="csX528" fmla="*/ 977227 w 1609516"/>
              <a:gd name="csY528" fmla="*/ 1531943 h 1538630"/>
              <a:gd name="csX529" fmla="*/ 955376 w 1609516"/>
              <a:gd name="csY529" fmla="*/ 1508751 h 1538630"/>
              <a:gd name="csX530" fmla="*/ 954571 w 1609516"/>
              <a:gd name="csY530" fmla="*/ 1500037 h 1538630"/>
              <a:gd name="csX531" fmla="*/ 951446 w 1609516"/>
              <a:gd name="csY531" fmla="*/ 1500037 h 1538630"/>
              <a:gd name="csX532" fmla="*/ 951251 w 1609516"/>
              <a:gd name="csY532" fmla="*/ 1487883 h 1538630"/>
              <a:gd name="csX533" fmla="*/ 951171 w 1609516"/>
              <a:gd name="csY533" fmla="*/ 1484431 h 1538630"/>
              <a:gd name="csX534" fmla="*/ 954571 w 1609516"/>
              <a:gd name="csY534" fmla="*/ 1466216 h 1538630"/>
              <a:gd name="csX535" fmla="*/ 954961 w 1609516"/>
              <a:gd name="csY535" fmla="*/ 1455118 h 1538630"/>
              <a:gd name="csX536" fmla="*/ 954932 w 1609516"/>
              <a:gd name="csY536" fmla="*/ 1451972 h 1538630"/>
              <a:gd name="csX537" fmla="*/ 945099 w 1609516"/>
              <a:gd name="csY537" fmla="*/ 1403594 h 1538630"/>
              <a:gd name="csX538" fmla="*/ 942366 w 1609516"/>
              <a:gd name="csY538" fmla="*/ 1393553 h 1538630"/>
              <a:gd name="csX539" fmla="*/ 934451 w 1609516"/>
              <a:gd name="csY539" fmla="*/ 1372734 h 1538630"/>
              <a:gd name="csX540" fmla="*/ 931974 w 1609516"/>
              <a:gd name="csY540" fmla="*/ 1365754 h 1538630"/>
              <a:gd name="csX541" fmla="*/ 931138 w 1609516"/>
              <a:gd name="csY541" fmla="*/ 1363343 h 1538630"/>
              <a:gd name="csX542" fmla="*/ 926452 w 1609516"/>
              <a:gd name="csY542" fmla="*/ 1361933 h 1538630"/>
              <a:gd name="csX543" fmla="*/ 918641 w 1609516"/>
              <a:gd name="csY543" fmla="*/ 1340795 h 1538630"/>
              <a:gd name="csX544" fmla="*/ 917079 w 1609516"/>
              <a:gd name="csY544" fmla="*/ 1335158 h 1538630"/>
              <a:gd name="csX545" fmla="*/ 913955 w 1609516"/>
              <a:gd name="csY545" fmla="*/ 1335158 h 1538630"/>
              <a:gd name="csX546" fmla="*/ 912057 w 1609516"/>
              <a:gd name="csY546" fmla="*/ 1330793 h 1538630"/>
              <a:gd name="csX547" fmla="*/ 902142 w 1609516"/>
              <a:gd name="csY547" fmla="*/ 1316222 h 1538630"/>
              <a:gd name="csX548" fmla="*/ 900091 w 1609516"/>
              <a:gd name="csY548" fmla="*/ 1313828 h 1538630"/>
              <a:gd name="csX549" fmla="*/ 878026 w 1609516"/>
              <a:gd name="csY549" fmla="*/ 1295700 h 1538630"/>
              <a:gd name="csX550" fmla="*/ 875134 w 1609516"/>
              <a:gd name="csY550" fmla="*/ 1293465 h 1538630"/>
              <a:gd name="csX551" fmla="*/ 869869 w 1609516"/>
              <a:gd name="csY551" fmla="*/ 1291826 h 1538630"/>
              <a:gd name="csX552" fmla="*/ 862384 w 1609516"/>
              <a:gd name="csY552" fmla="*/ 1291327 h 1538630"/>
              <a:gd name="csX553" fmla="*/ 844390 w 1609516"/>
              <a:gd name="csY553" fmla="*/ 1290461 h 1538630"/>
              <a:gd name="csX554" fmla="*/ 840476 w 1609516"/>
              <a:gd name="csY554" fmla="*/ 1290500 h 1538630"/>
              <a:gd name="csX555" fmla="*/ 831015 w 1609516"/>
              <a:gd name="csY555" fmla="*/ 1290637 h 1538630"/>
              <a:gd name="csX556" fmla="*/ 831015 w 1609516"/>
              <a:gd name="csY556" fmla="*/ 1293456 h 1538630"/>
              <a:gd name="csX557" fmla="*/ 818225 w 1609516"/>
              <a:gd name="csY557" fmla="*/ 1295570 h 1538630"/>
              <a:gd name="csX558" fmla="*/ 796774 w 1609516"/>
              <a:gd name="csY558" fmla="*/ 1297671 h 1538630"/>
              <a:gd name="csX559" fmla="*/ 783646 w 1609516"/>
              <a:gd name="csY559" fmla="*/ 1305736 h 1538630"/>
              <a:gd name="csX560" fmla="*/ 769263 w 1609516"/>
              <a:gd name="csY560" fmla="*/ 1327143 h 1538630"/>
              <a:gd name="csX561" fmla="*/ 764797 w 1609516"/>
              <a:gd name="csY561" fmla="*/ 1334360 h 1538630"/>
              <a:gd name="csX562" fmla="*/ 757875 w 1609516"/>
              <a:gd name="csY562" fmla="*/ 1353503 h 1538630"/>
              <a:gd name="csX563" fmla="*/ 755676 w 1609516"/>
              <a:gd name="csY563" fmla="*/ 1367455 h 1538630"/>
              <a:gd name="csX564" fmla="*/ 750558 w 1609516"/>
              <a:gd name="csY564" fmla="*/ 1399690 h 1538630"/>
              <a:gd name="csX565" fmla="*/ 753057 w 1609516"/>
              <a:gd name="csY565" fmla="*/ 1411256 h 1538630"/>
              <a:gd name="csX566" fmla="*/ 753057 w 1609516"/>
              <a:gd name="csY566" fmla="*/ 1416893 h 1538630"/>
              <a:gd name="csX567" fmla="*/ 756181 w 1609516"/>
              <a:gd name="csY567" fmla="*/ 1416893 h 1538630"/>
              <a:gd name="csX568" fmla="*/ 758133 w 1609516"/>
              <a:gd name="csY568" fmla="*/ 1436182 h 1538630"/>
              <a:gd name="csX569" fmla="*/ 758231 w 1609516"/>
              <a:gd name="csY569" fmla="*/ 1440781 h 1538630"/>
              <a:gd name="csX570" fmla="*/ 750713 w 1609516"/>
              <a:gd name="csY570" fmla="*/ 1465704 h 1538630"/>
              <a:gd name="csX571" fmla="*/ 748370 w 1609516"/>
              <a:gd name="csY571" fmla="*/ 1467185 h 1538630"/>
              <a:gd name="csX572" fmla="*/ 741633 w 1609516"/>
              <a:gd name="csY572" fmla="*/ 1473526 h 1538630"/>
              <a:gd name="csX573" fmla="*/ 728154 w 1609516"/>
              <a:gd name="csY573" fmla="*/ 1478343 h 1538630"/>
              <a:gd name="csX574" fmla="*/ 721814 w 1609516"/>
              <a:gd name="csY574" fmla="*/ 1480308 h 1538630"/>
              <a:gd name="csX575" fmla="*/ 708341 w 1609516"/>
              <a:gd name="csY575" fmla="*/ 1480661 h 1538630"/>
              <a:gd name="csX576" fmla="*/ 704637 w 1609516"/>
              <a:gd name="csY576" fmla="*/ 1480748 h 1538630"/>
              <a:gd name="csX577" fmla="*/ 668507 w 1609516"/>
              <a:gd name="csY577" fmla="*/ 1468418 h 1538630"/>
              <a:gd name="csX578" fmla="*/ 660178 w 1609516"/>
              <a:gd name="csY578" fmla="*/ 1450027 h 1538630"/>
              <a:gd name="csX579" fmla="*/ 657767 w 1609516"/>
              <a:gd name="csY579" fmla="*/ 1445078 h 1538630"/>
              <a:gd name="csX580" fmla="*/ 663369 w 1609516"/>
              <a:gd name="csY580" fmla="*/ 1409390 h 1538630"/>
              <a:gd name="csX581" fmla="*/ 671826 w 1609516"/>
              <a:gd name="csY581" fmla="*/ 1401392 h 1538630"/>
              <a:gd name="csX582" fmla="*/ 678075 w 1609516"/>
              <a:gd name="csY582" fmla="*/ 1390118 h 1538630"/>
              <a:gd name="csX583" fmla="*/ 684323 w 1609516"/>
              <a:gd name="csY583" fmla="*/ 1388709 h 1538630"/>
              <a:gd name="csX584" fmla="*/ 685293 w 1609516"/>
              <a:gd name="csY584" fmla="*/ 1384233 h 1538630"/>
              <a:gd name="csX585" fmla="*/ 686569 w 1609516"/>
              <a:gd name="csY585" fmla="*/ 1378404 h 1538630"/>
              <a:gd name="csX586" fmla="*/ 687207 w 1609516"/>
              <a:gd name="csY586" fmla="*/ 1375456 h 1538630"/>
              <a:gd name="csX587" fmla="*/ 690572 w 1609516"/>
              <a:gd name="csY587" fmla="*/ 1363343 h 1538630"/>
              <a:gd name="csX588" fmla="*/ 692495 w 1609516"/>
              <a:gd name="csY588" fmla="*/ 1323376 h 1538630"/>
              <a:gd name="csX589" fmla="*/ 692625 w 1609516"/>
              <a:gd name="csY589" fmla="*/ 1315006 h 1538630"/>
              <a:gd name="csX590" fmla="*/ 687447 w 1609516"/>
              <a:gd name="csY590" fmla="*/ 1287245 h 1538630"/>
              <a:gd name="csX591" fmla="*/ 682761 w 1609516"/>
              <a:gd name="csY591" fmla="*/ 1285835 h 1538630"/>
              <a:gd name="csX592" fmla="*/ 678954 w 1609516"/>
              <a:gd name="csY592" fmla="*/ 1281608 h 1538630"/>
              <a:gd name="csX593" fmla="*/ 668702 w 1609516"/>
              <a:gd name="csY593" fmla="*/ 1275971 h 1538630"/>
              <a:gd name="csX594" fmla="*/ 662454 w 1609516"/>
              <a:gd name="csY594" fmla="*/ 1270334 h 1538630"/>
              <a:gd name="csX595" fmla="*/ 654643 w 1609516"/>
              <a:gd name="csY595" fmla="*/ 1267516 h 1538630"/>
              <a:gd name="csX596" fmla="*/ 654643 w 1609516"/>
              <a:gd name="csY596" fmla="*/ 1264697 h 1538630"/>
              <a:gd name="csX597" fmla="*/ 650152 w 1609516"/>
              <a:gd name="csY597" fmla="*/ 1264345 h 1538630"/>
              <a:gd name="csX598" fmla="*/ 628087 w 1609516"/>
              <a:gd name="csY598" fmla="*/ 1257651 h 1538630"/>
              <a:gd name="csX599" fmla="*/ 628087 w 1609516"/>
              <a:gd name="csY599" fmla="*/ 1254833 h 1538630"/>
              <a:gd name="csX600" fmla="*/ 625121 w 1609516"/>
              <a:gd name="csY600" fmla="*/ 1254315 h 1538630"/>
              <a:gd name="csX601" fmla="*/ 621252 w 1609516"/>
              <a:gd name="csY601" fmla="*/ 1253600 h 1538630"/>
              <a:gd name="csX602" fmla="*/ 617409 w 1609516"/>
              <a:gd name="csY602" fmla="*/ 1252906 h 1538630"/>
              <a:gd name="csX603" fmla="*/ 610904 w 1609516"/>
              <a:gd name="csY603" fmla="*/ 1249196 h 1538630"/>
              <a:gd name="csX604" fmla="*/ 565739 w 1609516"/>
              <a:gd name="csY604" fmla="*/ 1271742 h 1538630"/>
              <a:gd name="csX605" fmla="*/ 546924 w 1609516"/>
              <a:gd name="csY605" fmla="*/ 1290829 h 1538630"/>
              <a:gd name="csX606" fmla="*/ 543635 w 1609516"/>
              <a:gd name="csY606" fmla="*/ 1294643 h 1538630"/>
              <a:gd name="csX607" fmla="*/ 540651 w 1609516"/>
              <a:gd name="csY607" fmla="*/ 1298188 h 1538630"/>
              <a:gd name="csX608" fmla="*/ 529673 w 1609516"/>
              <a:gd name="csY608" fmla="*/ 1305565 h 1538630"/>
              <a:gd name="csX609" fmla="*/ 526549 w 1609516"/>
              <a:gd name="csY609" fmla="*/ 1311202 h 1538630"/>
              <a:gd name="csX610" fmla="*/ 523425 w 1609516"/>
              <a:gd name="csY610" fmla="*/ 1311202 h 1538630"/>
              <a:gd name="csX611" fmla="*/ 523230 w 1609516"/>
              <a:gd name="csY611" fmla="*/ 1313580 h 1538630"/>
              <a:gd name="csX612" fmla="*/ 517732 w 1609516"/>
              <a:gd name="csY612" fmla="*/ 1319739 h 1538630"/>
              <a:gd name="csX613" fmla="*/ 502239 w 1609516"/>
              <a:gd name="csY613" fmla="*/ 1337096 h 1538630"/>
              <a:gd name="csX614" fmla="*/ 497058 w 1609516"/>
              <a:gd name="csY614" fmla="*/ 1344087 h 1538630"/>
              <a:gd name="csX615" fmla="*/ 494572 w 1609516"/>
              <a:gd name="csY615" fmla="*/ 1347465 h 1538630"/>
              <a:gd name="csX616" fmla="*/ 487776 w 1609516"/>
              <a:gd name="csY616" fmla="*/ 1356181 h 1538630"/>
              <a:gd name="csX617" fmla="*/ 481248 w 1609516"/>
              <a:gd name="csY617" fmla="*/ 1367571 h 1538630"/>
              <a:gd name="csX618" fmla="*/ 478123 w 1609516"/>
              <a:gd name="csY618" fmla="*/ 1367571 h 1538630"/>
              <a:gd name="csX619" fmla="*/ 477635 w 1609516"/>
              <a:gd name="csY619" fmla="*/ 1370565 h 1538630"/>
              <a:gd name="csX620" fmla="*/ 465626 w 1609516"/>
              <a:gd name="csY620" fmla="*/ 1388709 h 1538630"/>
              <a:gd name="csX621" fmla="*/ 461233 w 1609516"/>
              <a:gd name="csY621" fmla="*/ 1397340 h 1538630"/>
              <a:gd name="csX622" fmla="*/ 455765 w 1609516"/>
              <a:gd name="csY622" fmla="*/ 1408086 h 1538630"/>
              <a:gd name="csX623" fmla="*/ 439070 w 1609516"/>
              <a:gd name="csY623" fmla="*/ 1477490 h 1538630"/>
              <a:gd name="csX624" fmla="*/ 434384 w 1609516"/>
              <a:gd name="csY624" fmla="*/ 1478899 h 1538630"/>
              <a:gd name="csX625" fmla="*/ 432431 w 1609516"/>
              <a:gd name="csY625" fmla="*/ 1481982 h 1538630"/>
              <a:gd name="csX626" fmla="*/ 418763 w 1609516"/>
              <a:gd name="csY626" fmla="*/ 1494401 h 1538630"/>
              <a:gd name="csX627" fmla="*/ 415639 w 1609516"/>
              <a:gd name="csY627" fmla="*/ 1494401 h 1538630"/>
              <a:gd name="csX628" fmla="*/ 415639 w 1609516"/>
              <a:gd name="csY628" fmla="*/ 1497219 h 1538630"/>
              <a:gd name="csX629" fmla="*/ 406265 w 1609516"/>
              <a:gd name="csY629" fmla="*/ 1498628 h 1538630"/>
              <a:gd name="csX630" fmla="*/ 406265 w 1609516"/>
              <a:gd name="csY630" fmla="*/ 1501447 h 1538630"/>
              <a:gd name="csX631" fmla="*/ 375023 w 1609516"/>
              <a:gd name="csY631" fmla="*/ 1501447 h 1538630"/>
              <a:gd name="csX632" fmla="*/ 375023 w 1609516"/>
              <a:gd name="csY632" fmla="*/ 1499438 h 1538630"/>
              <a:gd name="csX633" fmla="*/ 374964 w 1609516"/>
              <a:gd name="csY633" fmla="*/ 1499436 h 1538630"/>
              <a:gd name="csX634" fmla="*/ 373179 w 1609516"/>
              <a:gd name="csY634" fmla="*/ 1498628 h 1538630"/>
              <a:gd name="csX635" fmla="*/ 365650 w 1609516"/>
              <a:gd name="csY635" fmla="*/ 1498628 h 1538630"/>
              <a:gd name="csX636" fmla="*/ 363134 w 1609516"/>
              <a:gd name="csY636" fmla="*/ 1494087 h 1538630"/>
              <a:gd name="csX637" fmla="*/ 362171 w 1609516"/>
              <a:gd name="csY637" fmla="*/ 1493651 h 1538630"/>
              <a:gd name="csX638" fmla="*/ 360609 w 1609516"/>
              <a:gd name="csY638" fmla="*/ 1490833 h 1538630"/>
              <a:gd name="csX639" fmla="*/ 363733 w 1609516"/>
              <a:gd name="csY639" fmla="*/ 1490833 h 1538630"/>
              <a:gd name="csX640" fmla="*/ 363733 w 1609516"/>
              <a:gd name="csY640" fmla="*/ 1489980 h 1538630"/>
              <a:gd name="csX641" fmla="*/ 348467 w 1609516"/>
              <a:gd name="csY641" fmla="*/ 1481717 h 1538630"/>
              <a:gd name="csX642" fmla="*/ 343872 w 1609516"/>
              <a:gd name="csY642" fmla="*/ 1461078 h 1538630"/>
              <a:gd name="csX643" fmla="*/ 343656 w 1609516"/>
              <a:gd name="csY643" fmla="*/ 1463649 h 1538630"/>
              <a:gd name="csX644" fmla="*/ 343424 w 1609516"/>
              <a:gd name="csY644" fmla="*/ 1466842 h 1538630"/>
              <a:gd name="csX645" fmla="*/ 341861 w 1609516"/>
              <a:gd name="csY645" fmla="*/ 1466842 h 1538630"/>
              <a:gd name="csX646" fmla="*/ 354143 w 1609516"/>
              <a:gd name="csY646" fmla="*/ 1420549 h 1538630"/>
              <a:gd name="csX647" fmla="*/ 376229 w 1609516"/>
              <a:gd name="csY647" fmla="*/ 1403427 h 1538630"/>
              <a:gd name="csX648" fmla="*/ 379491 w 1609516"/>
              <a:gd name="csY648" fmla="*/ 1404408 h 1538630"/>
              <a:gd name="csX649" fmla="*/ 379710 w 1609516"/>
              <a:gd name="csY649" fmla="*/ 1404210 h 1538630"/>
              <a:gd name="csX650" fmla="*/ 380882 w 1609516"/>
              <a:gd name="csY650" fmla="*/ 1401568 h 1538630"/>
              <a:gd name="csX651" fmla="*/ 392207 w 1609516"/>
              <a:gd name="csY651" fmla="*/ 1392936 h 1538630"/>
              <a:gd name="csX652" fmla="*/ 399542 w 1609516"/>
              <a:gd name="csY652" fmla="*/ 1386774 h 1538630"/>
              <a:gd name="csX653" fmla="*/ 405485 w 1609516"/>
              <a:gd name="csY653" fmla="*/ 1378917 h 1538630"/>
              <a:gd name="csX654" fmla="*/ 412008 w 1609516"/>
              <a:gd name="csY654" fmla="*/ 1369481 h 1538630"/>
              <a:gd name="csX655" fmla="*/ 421130 w 1609516"/>
              <a:gd name="csY655" fmla="*/ 1357057 h 1538630"/>
              <a:gd name="csX656" fmla="*/ 424676 w 1609516"/>
              <a:gd name="csY656" fmla="*/ 1348443 h 1538630"/>
              <a:gd name="csX657" fmla="*/ 427275 w 1609516"/>
              <a:gd name="csY657" fmla="*/ 1348443 h 1538630"/>
              <a:gd name="csX658" fmla="*/ 428135 w 1609516"/>
              <a:gd name="csY658" fmla="*/ 1345727 h 1538630"/>
              <a:gd name="csX659" fmla="*/ 432822 w 1609516"/>
              <a:gd name="csY659" fmla="*/ 1335158 h 1538630"/>
              <a:gd name="csX660" fmla="*/ 435946 w 1609516"/>
              <a:gd name="csY660" fmla="*/ 1335158 h 1538630"/>
              <a:gd name="csX661" fmla="*/ 437704 w 1609516"/>
              <a:gd name="csY661" fmla="*/ 1329786 h 1538630"/>
              <a:gd name="csX662" fmla="*/ 447394 w 1609516"/>
              <a:gd name="csY662" fmla="*/ 1311196 h 1538630"/>
              <a:gd name="csX663" fmla="*/ 469287 w 1609516"/>
              <a:gd name="csY663" fmla="*/ 1265964 h 1538630"/>
              <a:gd name="csX664" fmla="*/ 478178 w 1609516"/>
              <a:gd name="csY664" fmla="*/ 1246787 h 1538630"/>
              <a:gd name="csX665" fmla="*/ 480179 w 1609516"/>
              <a:gd name="csY665" fmla="*/ 1225768 h 1538630"/>
              <a:gd name="csX666" fmla="*/ 480250 w 1609516"/>
              <a:gd name="csY666" fmla="*/ 1217149 h 1538630"/>
              <a:gd name="csX667" fmla="*/ 462972 w 1609516"/>
              <a:gd name="csY667" fmla="*/ 1174827 h 1538630"/>
              <a:gd name="csX668" fmla="*/ 457468 w 1609516"/>
              <a:gd name="csY668" fmla="*/ 1169949 h 1538630"/>
              <a:gd name="csX669" fmla="*/ 440657 w 1609516"/>
              <a:gd name="csY669" fmla="*/ 1152570 h 1538630"/>
              <a:gd name="csX670" fmla="*/ 403142 w 1609516"/>
              <a:gd name="csY670" fmla="*/ 1122366 h 1538630"/>
              <a:gd name="csX671" fmla="*/ 401579 w 1609516"/>
              <a:gd name="csY671" fmla="*/ 1119547 h 1538630"/>
              <a:gd name="csX672" fmla="*/ 364564 w 1609516"/>
              <a:gd name="csY672" fmla="*/ 1118209 h 1538630"/>
              <a:gd name="csX673" fmla="*/ 357822 w 1609516"/>
              <a:gd name="csY673" fmla="*/ 1122041 h 1538630"/>
              <a:gd name="csX674" fmla="*/ 348077 w 1609516"/>
              <a:gd name="csY674" fmla="*/ 1125273 h 1538630"/>
              <a:gd name="csX675" fmla="*/ 334408 w 1609516"/>
              <a:gd name="csY675" fmla="*/ 1132230 h 1538630"/>
              <a:gd name="csX676" fmla="*/ 327964 w 1609516"/>
              <a:gd name="csY676" fmla="*/ 1134080 h 1538630"/>
              <a:gd name="csX677" fmla="*/ 279734 w 1609516"/>
              <a:gd name="csY677" fmla="*/ 1166051 h 1538630"/>
              <a:gd name="csX678" fmla="*/ 276609 w 1609516"/>
              <a:gd name="csY678" fmla="*/ 1173098 h 1538630"/>
              <a:gd name="csX679" fmla="*/ 260988 w 1609516"/>
              <a:gd name="csY679" fmla="*/ 1188599 h 1538630"/>
              <a:gd name="csX680" fmla="*/ 257956 w 1609516"/>
              <a:gd name="csY680" fmla="*/ 1191132 h 1538630"/>
              <a:gd name="csX681" fmla="*/ 243805 w 1609516"/>
              <a:gd name="csY681" fmla="*/ 1196629 h 1538630"/>
              <a:gd name="csX682" fmla="*/ 243805 w 1609516"/>
              <a:gd name="csY682" fmla="*/ 1194236 h 1538630"/>
              <a:gd name="csX683" fmla="*/ 240288 w 1609516"/>
              <a:gd name="csY683" fmla="*/ 1194765 h 1538630"/>
              <a:gd name="csX684" fmla="*/ 243374 w 1609516"/>
              <a:gd name="csY684" fmla="*/ 1194765 h 1538630"/>
              <a:gd name="csX685" fmla="*/ 243374 w 1609516"/>
              <a:gd name="csY685" fmla="*/ 1196797 h 1538630"/>
              <a:gd name="csX686" fmla="*/ 243805 w 1609516"/>
              <a:gd name="csY686" fmla="*/ 1196629 h 1538630"/>
              <a:gd name="csX687" fmla="*/ 243805 w 1609516"/>
              <a:gd name="csY687" fmla="*/ 1197055 h 1538630"/>
              <a:gd name="csX688" fmla="*/ 243374 w 1609516"/>
              <a:gd name="csY688" fmla="*/ 1197055 h 1538630"/>
              <a:gd name="csX689" fmla="*/ 243374 w 1609516"/>
              <a:gd name="csY689" fmla="*/ 1197584 h 1538630"/>
              <a:gd name="csX690" fmla="*/ 241319 w 1609516"/>
              <a:gd name="csY690" fmla="*/ 1197595 h 1538630"/>
              <a:gd name="csX691" fmla="*/ 238009 w 1609516"/>
              <a:gd name="csY691" fmla="*/ 1198881 h 1538630"/>
              <a:gd name="csX692" fmla="*/ 215687 w 1609516"/>
              <a:gd name="csY692" fmla="*/ 1198464 h 1538630"/>
              <a:gd name="csX693" fmla="*/ 215687 w 1609516"/>
              <a:gd name="csY693" fmla="*/ 1197734 h 1538630"/>
              <a:gd name="csX694" fmla="*/ 213936 w 1609516"/>
              <a:gd name="csY694" fmla="*/ 1197744 h 1538630"/>
              <a:gd name="csX695" fmla="*/ 207446 w 1609516"/>
              <a:gd name="csY695" fmla="*/ 1196175 h 1538630"/>
              <a:gd name="csX696" fmla="*/ 207822 w 1609516"/>
              <a:gd name="csY696" fmla="*/ 1195610 h 1538630"/>
              <a:gd name="csX697" fmla="*/ 184737 w 1609516"/>
              <a:gd name="csY697" fmla="*/ 1180936 h 1538630"/>
              <a:gd name="csX698" fmla="*/ 179270 w 1609516"/>
              <a:gd name="csY698" fmla="*/ 1154866 h 1538630"/>
              <a:gd name="csX699" fmla="*/ 179194 w 1609516"/>
              <a:gd name="csY699" fmla="*/ 1151621 h 1538630"/>
              <a:gd name="csX700" fmla="*/ 193195 w 1609516"/>
              <a:gd name="csY700" fmla="*/ 1120065 h 1538630"/>
              <a:gd name="csX701" fmla="*/ 229551 w 1609516"/>
              <a:gd name="csY701" fmla="*/ 1110299 h 1538630"/>
              <a:gd name="csX702" fmla="*/ 260988 w 1609516"/>
              <a:gd name="csY702" fmla="*/ 1108274 h 1538630"/>
              <a:gd name="csX703" fmla="*/ 260988 w 1609516"/>
              <a:gd name="csY703" fmla="*/ 1105455 h 1538630"/>
              <a:gd name="csX704" fmla="*/ 263911 w 1609516"/>
              <a:gd name="csY704" fmla="*/ 1104310 h 1538630"/>
              <a:gd name="csX705" fmla="*/ 286995 w 1609516"/>
              <a:gd name="csY705" fmla="*/ 1090185 h 1538630"/>
              <a:gd name="csX706" fmla="*/ 299358 w 1609516"/>
              <a:gd name="csY706" fmla="*/ 1080970 h 1538630"/>
              <a:gd name="csX707" fmla="*/ 317762 w 1609516"/>
              <a:gd name="csY707" fmla="*/ 1063272 h 1538630"/>
              <a:gd name="csX708" fmla="*/ 325035 w 1609516"/>
              <a:gd name="csY708" fmla="*/ 1057542 h 1538630"/>
              <a:gd name="csX709" fmla="*/ 325328 w 1609516"/>
              <a:gd name="csY709" fmla="*/ 1023104 h 1538630"/>
              <a:gd name="csX710" fmla="*/ 324544 w 1609516"/>
              <a:gd name="csY710" fmla="*/ 1019247 h 1538630"/>
              <a:gd name="csX711" fmla="*/ 317225 w 1609516"/>
              <a:gd name="csY711" fmla="*/ 996945 h 1538630"/>
              <a:gd name="csX712" fmla="*/ 315388 w 1609516"/>
              <a:gd name="csY712" fmla="*/ 992690 h 1538630"/>
              <a:gd name="csX713" fmla="*/ 276232 w 1609516"/>
              <a:gd name="csY713" fmla="*/ 950666 h 1538630"/>
              <a:gd name="csX714" fmla="*/ 271923 w 1609516"/>
              <a:gd name="csY714" fmla="*/ 949031 h 1538630"/>
              <a:gd name="csX715" fmla="*/ 268299 w 1609516"/>
              <a:gd name="csY715" fmla="*/ 947441 h 1538630"/>
              <a:gd name="csX716" fmla="*/ 199187 w 1609516"/>
              <a:gd name="csY716" fmla="*/ 938991 h 1538630"/>
              <a:gd name="csX717" fmla="*/ 193719 w 1609516"/>
              <a:gd name="csY717" fmla="*/ 938971 h 1538630"/>
              <a:gd name="csX718" fmla="*/ 188539 w 1609516"/>
              <a:gd name="csY718" fmla="*/ 938980 h 1538630"/>
              <a:gd name="csX719" fmla="*/ 183874 w 1609516"/>
              <a:gd name="csY719" fmla="*/ 938985 h 1538630"/>
              <a:gd name="csX720" fmla="*/ 173509 w 1609516"/>
              <a:gd name="csY720" fmla="*/ 940576 h 1538630"/>
              <a:gd name="csX721" fmla="*/ 161403 w 1609516"/>
              <a:gd name="csY721" fmla="*/ 940664 h 1538630"/>
              <a:gd name="csX722" fmla="*/ 158102 w 1609516"/>
              <a:gd name="csY722" fmla="*/ 940645 h 1538630"/>
              <a:gd name="csX723" fmla="*/ 150875 w 1609516"/>
              <a:gd name="csY723" fmla="*/ 940583 h 1538630"/>
              <a:gd name="csX724" fmla="*/ 148425 w 1609516"/>
              <a:gd name="csY724" fmla="*/ 940717 h 1538630"/>
              <a:gd name="csX725" fmla="*/ 149617 w 1609516"/>
              <a:gd name="csY725" fmla="*/ 940995 h 1538630"/>
              <a:gd name="csX726" fmla="*/ 149617 w 1609516"/>
              <a:gd name="csY726" fmla="*/ 942404 h 1538630"/>
              <a:gd name="csX727" fmla="*/ 146627 w 1609516"/>
              <a:gd name="csY727" fmla="*/ 942871 h 1538630"/>
              <a:gd name="csX728" fmla="*/ 110564 w 1609516"/>
              <a:gd name="csY728" fmla="*/ 949449 h 1538630"/>
              <a:gd name="csX729" fmla="*/ 111283 w 1609516"/>
              <a:gd name="csY729" fmla="*/ 946205 h 1538630"/>
              <a:gd name="csX730" fmla="*/ 101652 w 1609516"/>
              <a:gd name="csY730" fmla="*/ 956078 h 1538630"/>
              <a:gd name="csX731" fmla="*/ 98052 w 1609516"/>
              <a:gd name="csY731" fmla="*/ 958467 h 1538630"/>
              <a:gd name="csX732" fmla="*/ 67286 w 1609516"/>
              <a:gd name="csY732" fmla="*/ 972989 h 1538630"/>
              <a:gd name="csX733" fmla="*/ 67286 w 1609516"/>
              <a:gd name="csY733" fmla="*/ 975807 h 1538630"/>
              <a:gd name="csX734" fmla="*/ 31942 w 1609516"/>
              <a:gd name="csY734" fmla="*/ 976423 h 1538630"/>
              <a:gd name="csX735" fmla="*/ 5673 w 1609516"/>
              <a:gd name="csY735" fmla="*/ 953419 h 1538630"/>
              <a:gd name="csX736" fmla="*/ 4801 w 1609516"/>
              <a:gd name="csY736" fmla="*/ 944804 h 1538630"/>
              <a:gd name="csX737" fmla="*/ 1676 w 1609516"/>
              <a:gd name="csY737" fmla="*/ 944804 h 1538630"/>
              <a:gd name="csX738" fmla="*/ 17 w 1609516"/>
              <a:gd name="csY738" fmla="*/ 931857 h 1538630"/>
              <a:gd name="csX739" fmla="*/ 59 w 1609516"/>
              <a:gd name="csY739" fmla="*/ 927216 h 1538630"/>
              <a:gd name="csX740" fmla="*/ 115 w 1609516"/>
              <a:gd name="csY740" fmla="*/ 923666 h 1538630"/>
              <a:gd name="csX741" fmla="*/ 3238 w 1609516"/>
              <a:gd name="csY741" fmla="*/ 923666 h 1538630"/>
              <a:gd name="csX742" fmla="*/ 3238 w 1609516"/>
              <a:gd name="csY742" fmla="*/ 918029 h 1538630"/>
              <a:gd name="csX743" fmla="*/ 6363 w 1609516"/>
              <a:gd name="csY743" fmla="*/ 918029 h 1538630"/>
              <a:gd name="csX744" fmla="*/ 6656 w 1609516"/>
              <a:gd name="csY744" fmla="*/ 912832 h 1538630"/>
              <a:gd name="csX745" fmla="*/ 15736 w 1609516"/>
              <a:gd name="csY745" fmla="*/ 899709 h 1538630"/>
              <a:gd name="csX746" fmla="*/ 17243 w 1609516"/>
              <a:gd name="csY746" fmla="*/ 898894 h 1538630"/>
              <a:gd name="csX747" fmla="*/ 16800 w 1609516"/>
              <a:gd name="csY747" fmla="*/ 898694 h 1538630"/>
              <a:gd name="csX748" fmla="*/ 24988 w 1609516"/>
              <a:gd name="csY748" fmla="*/ 894101 h 1538630"/>
              <a:gd name="csX749" fmla="*/ 26768 w 1609516"/>
              <a:gd name="csY749" fmla="*/ 892399 h 1538630"/>
              <a:gd name="csX750" fmla="*/ 30198 w 1609516"/>
              <a:gd name="csY750" fmla="*/ 890164 h 1538630"/>
              <a:gd name="csX751" fmla="*/ 32204 w 1609516"/>
              <a:gd name="csY751" fmla="*/ 890054 h 1538630"/>
              <a:gd name="csX752" fmla="*/ 38914 w 1609516"/>
              <a:gd name="csY752" fmla="*/ 886291 h 1538630"/>
              <a:gd name="csX753" fmla="*/ 63664 w 1609516"/>
              <a:gd name="csY753" fmla="*/ 886011 h 1538630"/>
              <a:gd name="csX754" fmla="*/ 63664 w 1609516"/>
              <a:gd name="csY754" fmla="*/ 886531 h 1538630"/>
              <a:gd name="csX755" fmla="*/ 70784 w 1609516"/>
              <a:gd name="csY755" fmla="*/ 886647 h 1538630"/>
              <a:gd name="csX756" fmla="*/ 82126 w 1609516"/>
              <a:gd name="csY756" fmla="*/ 889845 h 1538630"/>
              <a:gd name="csX757" fmla="*/ 114149 w 1609516"/>
              <a:gd name="csY757" fmla="*/ 892663 h 1538630"/>
              <a:gd name="csX758" fmla="*/ 118836 w 1609516"/>
              <a:gd name="csY758" fmla="*/ 889845 h 1538630"/>
              <a:gd name="csX759" fmla="*/ 131626 w 1609516"/>
              <a:gd name="csY759" fmla="*/ 887114 h 1538630"/>
              <a:gd name="csX760" fmla="*/ 155116 w 1609516"/>
              <a:gd name="csY760" fmla="*/ 880913 h 1538630"/>
              <a:gd name="csX761" fmla="*/ 165406 w 1609516"/>
              <a:gd name="csY761" fmla="*/ 878483 h 1538630"/>
              <a:gd name="csX762" fmla="*/ 176634 w 1609516"/>
              <a:gd name="csY762" fmla="*/ 874343 h 1538630"/>
              <a:gd name="csX763" fmla="*/ 186397 w 1609516"/>
              <a:gd name="csY763" fmla="*/ 871524 h 1538630"/>
              <a:gd name="csX764" fmla="*/ 191871 w 1609516"/>
              <a:gd name="csY764" fmla="*/ 870033 h 1538630"/>
              <a:gd name="csX765" fmla="*/ 203483 w 1609516"/>
              <a:gd name="csY765" fmla="*/ 867208 h 1538630"/>
              <a:gd name="csX766" fmla="*/ 211001 w 1609516"/>
              <a:gd name="csY766" fmla="*/ 861660 h 1538630"/>
              <a:gd name="csX767" fmla="*/ 218031 w 1609516"/>
              <a:gd name="csY767" fmla="*/ 858577 h 1538630"/>
              <a:gd name="csX768" fmla="*/ 254740 w 1609516"/>
              <a:gd name="csY768" fmla="*/ 825020 h 1538630"/>
              <a:gd name="csX769" fmla="*/ 257864 w 1609516"/>
              <a:gd name="csY769" fmla="*/ 820792 h 1538630"/>
              <a:gd name="csX770" fmla="*/ 258318 w 1609516"/>
              <a:gd name="csY770" fmla="*/ 813810 h 1538630"/>
              <a:gd name="csX771" fmla="*/ 258378 w 1609516"/>
              <a:gd name="csY771" fmla="*/ 809502 h 1538630"/>
              <a:gd name="csX772" fmla="*/ 258389 w 1609516"/>
              <a:gd name="csY772" fmla="*/ 804845 h 1538630"/>
              <a:gd name="csX773" fmla="*/ 258420 w 1609516"/>
              <a:gd name="csY773" fmla="*/ 800036 h 1538630"/>
              <a:gd name="csX774" fmla="*/ 258443 w 1609516"/>
              <a:gd name="csY774" fmla="*/ 789939 h 1538630"/>
              <a:gd name="csX775" fmla="*/ 258566 w 1609516"/>
              <a:gd name="csY775" fmla="*/ 774594 h 1538630"/>
              <a:gd name="csX776" fmla="*/ 258584 w 1609516"/>
              <a:gd name="csY776" fmla="*/ 764771 h 1538630"/>
              <a:gd name="csX777" fmla="*/ 258652 w 1609516"/>
              <a:gd name="csY777" fmla="*/ 760174 h 1538630"/>
              <a:gd name="csX778" fmla="*/ 251616 w 1609516"/>
              <a:gd name="csY778" fmla="*/ 733421 h 1538630"/>
              <a:gd name="csX779" fmla="*/ 247613 w 1609516"/>
              <a:gd name="csY779" fmla="*/ 721883 h 1538630"/>
              <a:gd name="csX780" fmla="*/ 241291 w 1609516"/>
              <a:gd name="csY780" fmla="*/ 705644 h 1538630"/>
              <a:gd name="csX781" fmla="*/ 237557 w 1609516"/>
              <a:gd name="csY781" fmla="*/ 689735 h 1538630"/>
              <a:gd name="csX782" fmla="*/ 248492 w 1609516"/>
              <a:gd name="csY782" fmla="*/ 685507 h 1538630"/>
              <a:gd name="csX783" fmla="*/ 248492 w 1609516"/>
              <a:gd name="csY783" fmla="*/ 681279 h 1538630"/>
              <a:gd name="csX784" fmla="*/ 240681 w 1609516"/>
              <a:gd name="csY784" fmla="*/ 679870 h 1538630"/>
              <a:gd name="csX785" fmla="*/ 240681 w 1609516"/>
              <a:gd name="csY785" fmla="*/ 677052 h 1538630"/>
              <a:gd name="csX786" fmla="*/ 238094 w 1609516"/>
              <a:gd name="csY786" fmla="*/ 676645 h 1538630"/>
              <a:gd name="csX787" fmla="*/ 225841 w 1609516"/>
              <a:gd name="csY787" fmla="*/ 670886 h 1538630"/>
              <a:gd name="csX788" fmla="*/ 201531 w 1609516"/>
              <a:gd name="csY788" fmla="*/ 662508 h 1538630"/>
              <a:gd name="csX789" fmla="*/ 188252 w 1609516"/>
              <a:gd name="csY789" fmla="*/ 658644 h 1538630"/>
              <a:gd name="csX790" fmla="*/ 182431 w 1609516"/>
              <a:gd name="csY790" fmla="*/ 657327 h 1538630"/>
              <a:gd name="csX791" fmla="*/ 182431 w 1609516"/>
              <a:gd name="csY791" fmla="*/ 657613 h 1538630"/>
              <a:gd name="csX792" fmla="*/ 146503 w 1609516"/>
              <a:gd name="csY792" fmla="*/ 656204 h 1538630"/>
              <a:gd name="csX793" fmla="*/ 146503 w 1609516"/>
              <a:gd name="csY793" fmla="*/ 659022 h 1538630"/>
              <a:gd name="csX794" fmla="*/ 110378 w 1609516"/>
              <a:gd name="csY794" fmla="*/ 663778 h 1538630"/>
              <a:gd name="csX795" fmla="*/ 106453 w 1609516"/>
              <a:gd name="csY795" fmla="*/ 663836 h 1538630"/>
              <a:gd name="csX796" fmla="*/ 102751 w 1609516"/>
              <a:gd name="csY796" fmla="*/ 663811 h 1538630"/>
              <a:gd name="csX797" fmla="*/ 99449 w 1609516"/>
              <a:gd name="csY797" fmla="*/ 663797 h 1538630"/>
              <a:gd name="csX798" fmla="*/ 91828 w 1609516"/>
              <a:gd name="csY798" fmla="*/ 659022 h 1538630"/>
              <a:gd name="csX799" fmla="*/ 98077 w 1609516"/>
              <a:gd name="csY799" fmla="*/ 659022 h 1538630"/>
              <a:gd name="csX800" fmla="*/ 98077 w 1609516"/>
              <a:gd name="csY800" fmla="*/ 661841 h 1538630"/>
              <a:gd name="csX801" fmla="*/ 119023 w 1609516"/>
              <a:gd name="csY801" fmla="*/ 661357 h 1538630"/>
              <a:gd name="csX802" fmla="*/ 119536 w 1609516"/>
              <a:gd name="csY802" fmla="*/ 661197 h 1538630"/>
              <a:gd name="csX803" fmla="*/ 109853 w 1609516"/>
              <a:gd name="csY803" fmla="*/ 661639 h 1538630"/>
              <a:gd name="csX804" fmla="*/ 106552 w 1609516"/>
              <a:gd name="csY804" fmla="*/ 661619 h 1538630"/>
              <a:gd name="csX805" fmla="*/ 98528 w 1609516"/>
              <a:gd name="csY805" fmla="*/ 661550 h 1538630"/>
              <a:gd name="csX806" fmla="*/ 98528 w 1609516"/>
              <a:gd name="csY806" fmla="*/ 658732 h 1538630"/>
              <a:gd name="csX807" fmla="*/ 89155 w 1609516"/>
              <a:gd name="csY807" fmla="*/ 657323 h 1538630"/>
              <a:gd name="csX808" fmla="*/ 89155 w 1609516"/>
              <a:gd name="csY808" fmla="*/ 654504 h 1538630"/>
              <a:gd name="csX809" fmla="*/ 86397 w 1609516"/>
              <a:gd name="csY809" fmla="*/ 653442 h 1538630"/>
              <a:gd name="csX810" fmla="*/ 77049 w 1609516"/>
              <a:gd name="csY810" fmla="*/ 646137 h 1538630"/>
              <a:gd name="csX811" fmla="*/ 74145 w 1609516"/>
              <a:gd name="csY811" fmla="*/ 643192 h 1538630"/>
              <a:gd name="csX812" fmla="*/ 71972 w 1609516"/>
              <a:gd name="csY812" fmla="*/ 636185 h 1538630"/>
              <a:gd name="csX813" fmla="*/ 68848 w 1609516"/>
              <a:gd name="csY813" fmla="*/ 636185 h 1538630"/>
              <a:gd name="csX814" fmla="*/ 70410 w 1609516"/>
              <a:gd name="csY814" fmla="*/ 595317 h 1538630"/>
              <a:gd name="csX815" fmla="*/ 79782 w 1609516"/>
              <a:gd name="csY815" fmla="*/ 584043 h 1538630"/>
              <a:gd name="csX816" fmla="*/ 82656 w 1609516"/>
              <a:gd name="csY816" fmla="*/ 581115 h 1538630"/>
              <a:gd name="csX817" fmla="*/ 116694 w 1609516"/>
              <a:gd name="csY817" fmla="*/ 572323 h 1538630"/>
              <a:gd name="csX818" fmla="*/ 152031 w 1609516"/>
              <a:gd name="csY818" fmla="*/ 590385 h 1538630"/>
              <a:gd name="csX819" fmla="*/ 191474 w 1609516"/>
              <a:gd name="csY819" fmla="*/ 605886 h 1538630"/>
              <a:gd name="csX820" fmla="*/ 206314 w 1609516"/>
              <a:gd name="csY820" fmla="*/ 608000 h 1538630"/>
              <a:gd name="csX821" fmla="*/ 206314 w 1609516"/>
              <a:gd name="csY821" fmla="*/ 610818 h 1538630"/>
              <a:gd name="csX822" fmla="*/ 234433 w 1609516"/>
              <a:gd name="csY822" fmla="*/ 610818 h 1538630"/>
              <a:gd name="csX823" fmla="*/ 239522 w 1609516"/>
              <a:gd name="csY823" fmla="*/ 610802 h 1538630"/>
              <a:gd name="csX824" fmla="*/ 268799 w 1609516"/>
              <a:gd name="csY824" fmla="*/ 600954 h 1538630"/>
              <a:gd name="csX825" fmla="*/ 271740 w 1609516"/>
              <a:gd name="csY825" fmla="*/ 599325 h 1538630"/>
              <a:gd name="csX826" fmla="*/ 284420 w 1609516"/>
              <a:gd name="csY826" fmla="*/ 579816 h 1538630"/>
              <a:gd name="csX827" fmla="*/ 289399 w 1609516"/>
              <a:gd name="csY827" fmla="*/ 568630 h 1538630"/>
              <a:gd name="csX828" fmla="*/ 293958 w 1609516"/>
              <a:gd name="csY828" fmla="*/ 535838 h 1538630"/>
              <a:gd name="csX829" fmla="*/ 289107 w 1609516"/>
              <a:gd name="csY829" fmla="*/ 529084 h 1538630"/>
              <a:gd name="csX830" fmla="*/ 289107 w 1609516"/>
              <a:gd name="csY830" fmla="*/ 526265 h 1538630"/>
              <a:gd name="csX831" fmla="*/ 284420 w 1609516"/>
              <a:gd name="csY831" fmla="*/ 524856 h 1538630"/>
              <a:gd name="csX832" fmla="*/ 282858 w 1609516"/>
              <a:gd name="csY832" fmla="*/ 520628 h 1538630"/>
              <a:gd name="csX833" fmla="*/ 277977 w 1609516"/>
              <a:gd name="csY833" fmla="*/ 516577 h 1538630"/>
              <a:gd name="csX834" fmla="*/ 264925 w 1609516"/>
              <a:gd name="csY834" fmla="*/ 506443 h 1538630"/>
              <a:gd name="csX835" fmla="*/ 229746 w 1609516"/>
              <a:gd name="csY835" fmla="*/ 481170 h 1538630"/>
              <a:gd name="csX836" fmla="*/ 221057 w 1609516"/>
              <a:gd name="csY836" fmla="*/ 475445 h 1538630"/>
              <a:gd name="csX837" fmla="*/ 212563 w 1609516"/>
              <a:gd name="csY837" fmla="*/ 469896 h 1538630"/>
              <a:gd name="csX838" fmla="*/ 208889 w 1609516"/>
              <a:gd name="csY838" fmla="*/ 467491 h 1538630"/>
              <a:gd name="csX839" fmla="*/ 190406 w 1609516"/>
              <a:gd name="csY839" fmla="*/ 456382 h 1538630"/>
              <a:gd name="csX840" fmla="*/ 186942 w 1609516"/>
              <a:gd name="csY840" fmla="*/ 454460 h 1538630"/>
              <a:gd name="csX841" fmla="*/ 180041 w 1609516"/>
              <a:gd name="csY841" fmla="*/ 450696 h 1538630"/>
              <a:gd name="csX842" fmla="*/ 171948 w 1609516"/>
              <a:gd name="csY842" fmla="*/ 445940 h 1538630"/>
              <a:gd name="csX843" fmla="*/ 171948 w 1609516"/>
              <a:gd name="csY843" fmla="*/ 443121 h 1538630"/>
              <a:gd name="csX844" fmla="*/ 168482 w 1609516"/>
              <a:gd name="csY844" fmla="*/ 442708 h 1538630"/>
              <a:gd name="csX845" fmla="*/ 157107 w 1609516"/>
              <a:gd name="csY845" fmla="*/ 437044 h 1538630"/>
              <a:gd name="csX846" fmla="*/ 132559 w 1609516"/>
              <a:gd name="csY846" fmla="*/ 427510 h 1538630"/>
              <a:gd name="csX847" fmla="*/ 123522 w 1609516"/>
              <a:gd name="csY847" fmla="*/ 421983 h 1538630"/>
              <a:gd name="csX848" fmla="*/ 107986 w 1609516"/>
              <a:gd name="csY848" fmla="*/ 418730 h 1538630"/>
              <a:gd name="csX849" fmla="*/ 102494 w 1609516"/>
              <a:gd name="csY849" fmla="*/ 418622 h 1538630"/>
              <a:gd name="csX850" fmla="*/ 91157 w 1609516"/>
              <a:gd name="csY850" fmla="*/ 418490 h 1538630"/>
              <a:gd name="csX851" fmla="*/ 55277 w 1609516"/>
              <a:gd name="csY851" fmla="*/ 410445 h 1538630"/>
              <a:gd name="csX852" fmla="*/ 51665 w 1609516"/>
              <a:gd name="csY852" fmla="*/ 406481 h 1538630"/>
              <a:gd name="csX853" fmla="*/ 45904 w 1609516"/>
              <a:gd name="csY853" fmla="*/ 400492 h 1538630"/>
              <a:gd name="csX854" fmla="*/ 43152 w 1609516"/>
              <a:gd name="csY854" fmla="*/ 397564 h 1538630"/>
              <a:gd name="csX855" fmla="*/ 37605 w 1609516"/>
              <a:gd name="csY855" fmla="*/ 393798 h 1538630"/>
              <a:gd name="csX856" fmla="*/ 38995 w 1609516"/>
              <a:gd name="csY856" fmla="*/ 368712 h 1538630"/>
              <a:gd name="csX857" fmla="*/ 38666 w 1609516"/>
              <a:gd name="csY857" fmla="*/ 369724 h 1538630"/>
              <a:gd name="csX858" fmla="*/ 35542 w 1609516"/>
              <a:gd name="csY858" fmla="*/ 384081 h 1538630"/>
              <a:gd name="csX859" fmla="*/ 33326 w 1609516"/>
              <a:gd name="csY859" fmla="*/ 357791 h 1538630"/>
              <a:gd name="csX860" fmla="*/ 52725 w 1609516"/>
              <a:gd name="csY860" fmla="*/ 333349 h 1538630"/>
              <a:gd name="csX861" fmla="*/ 55222 w 1609516"/>
              <a:gd name="csY861" fmla="*/ 334475 h 1538630"/>
              <a:gd name="csX862" fmla="*/ 56222 w 1609516"/>
              <a:gd name="csY862" fmla="*/ 333347 h 1538630"/>
              <a:gd name="csX863" fmla="*/ 55871 w 1609516"/>
              <a:gd name="csY863" fmla="*/ 333347 h 1538630"/>
              <a:gd name="csX864" fmla="*/ 56346 w 1609516"/>
              <a:gd name="csY864" fmla="*/ 333207 h 1538630"/>
              <a:gd name="csX865" fmla="*/ 56351 w 1609516"/>
              <a:gd name="csY865" fmla="*/ 333202 h 1538630"/>
              <a:gd name="csX866" fmla="*/ 56365 w 1609516"/>
              <a:gd name="csY866" fmla="*/ 333202 h 1538630"/>
              <a:gd name="csX867" fmla="*/ 79571 w 1609516"/>
              <a:gd name="csY867" fmla="*/ 326360 h 1538630"/>
              <a:gd name="csX868" fmla="*/ 104297 w 1609516"/>
              <a:gd name="csY868" fmla="*/ 330529 h 1538630"/>
              <a:gd name="csX869" fmla="*/ 107170 w 1609516"/>
              <a:gd name="csY869" fmla="*/ 334417 h 1538630"/>
              <a:gd name="csX870" fmla="*/ 109366 w 1609516"/>
              <a:gd name="csY870" fmla="*/ 336046 h 1538630"/>
              <a:gd name="csX871" fmla="*/ 109463 w 1609516"/>
              <a:gd name="csY871" fmla="*/ 336020 h 1538630"/>
              <a:gd name="csX872" fmla="*/ 109463 w 1609516"/>
              <a:gd name="csY872" fmla="*/ 336118 h 1538630"/>
              <a:gd name="csX873" fmla="*/ 115226 w 1609516"/>
              <a:gd name="csY873" fmla="*/ 340394 h 1538630"/>
              <a:gd name="csX874" fmla="*/ 114010 w 1609516"/>
              <a:gd name="csY874" fmla="*/ 340120 h 1538630"/>
              <a:gd name="csX875" fmla="*/ 133285 w 1609516"/>
              <a:gd name="csY875" fmla="*/ 357423 h 1538630"/>
              <a:gd name="csX876" fmla="*/ 173509 w 1609516"/>
              <a:gd name="csY876" fmla="*/ 389571 h 1538630"/>
              <a:gd name="csX877" fmla="*/ 181711 w 1609516"/>
              <a:gd name="csY877" fmla="*/ 393270 h 1538630"/>
              <a:gd name="csX878" fmla="*/ 185507 w 1609516"/>
              <a:gd name="csY878" fmla="*/ 394976 h 1538630"/>
              <a:gd name="csX879" fmla="*/ 192658 w 1609516"/>
              <a:gd name="csY879" fmla="*/ 398257 h 1538630"/>
              <a:gd name="csX880" fmla="*/ 195966 w 1609516"/>
              <a:gd name="csY880" fmla="*/ 399788 h 1538630"/>
              <a:gd name="csX881" fmla="*/ 198833 w 1609516"/>
              <a:gd name="csY881" fmla="*/ 401131 h 1538630"/>
              <a:gd name="csX882" fmla="*/ 207877 w 1609516"/>
              <a:gd name="csY882" fmla="*/ 403663 h 1538630"/>
              <a:gd name="csX883" fmla="*/ 207877 w 1609516"/>
              <a:gd name="csY883" fmla="*/ 406481 h 1538630"/>
              <a:gd name="csX884" fmla="*/ 248492 w 1609516"/>
              <a:gd name="csY884" fmla="*/ 419428 h 1538630"/>
              <a:gd name="csX885" fmla="*/ 253965 w 1609516"/>
              <a:gd name="csY885" fmla="*/ 421000 h 1538630"/>
              <a:gd name="csX886" fmla="*/ 267237 w 1609516"/>
              <a:gd name="csY886" fmla="*/ 424801 h 1538630"/>
              <a:gd name="csX887" fmla="*/ 267237 w 1609516"/>
              <a:gd name="csY887" fmla="*/ 426451 h 1538630"/>
              <a:gd name="csX888" fmla="*/ 288701 w 1609516"/>
              <a:gd name="csY888" fmla="*/ 429217 h 1538630"/>
              <a:gd name="csX889" fmla="*/ 288701 w 1609516"/>
              <a:gd name="csY889" fmla="*/ 432036 h 1538630"/>
              <a:gd name="csX890" fmla="*/ 327010 w 1609516"/>
              <a:gd name="csY890" fmla="*/ 433628 h 1538630"/>
              <a:gd name="csX891" fmla="*/ 337486 w 1609516"/>
              <a:gd name="csY891" fmla="*/ 433637 h 1538630"/>
              <a:gd name="csX892" fmla="*/ 344229 w 1609516"/>
              <a:gd name="csY892" fmla="*/ 433632 h 1538630"/>
              <a:gd name="csX893" fmla="*/ 350323 w 1609516"/>
              <a:gd name="csY893" fmla="*/ 433627 h 1538630"/>
              <a:gd name="csX894" fmla="*/ 365245 w 1609516"/>
              <a:gd name="csY894" fmla="*/ 432036 h 1538630"/>
              <a:gd name="csX895" fmla="*/ 360797 w 1609516"/>
              <a:gd name="csY895" fmla="*/ 433759 h 1538630"/>
              <a:gd name="csX896" fmla="*/ 365650 w 1609516"/>
              <a:gd name="csY896" fmla="*/ 433257 h 1538630"/>
              <a:gd name="csX897" fmla="*/ 367213 w 1609516"/>
              <a:gd name="csY897" fmla="*/ 429029 h 1538630"/>
              <a:gd name="csX898" fmla="*/ 375188 w 1609516"/>
              <a:gd name="csY898" fmla="*/ 424906 h 1538630"/>
              <a:gd name="csX899" fmla="*/ 404704 w 1609516"/>
              <a:gd name="csY899" fmla="*/ 389571 h 1538630"/>
              <a:gd name="csX900" fmla="*/ 406265 w 1609516"/>
              <a:gd name="csY900" fmla="*/ 388161 h 1538630"/>
              <a:gd name="csX901" fmla="*/ 406559 w 1609516"/>
              <a:gd name="csY901" fmla="*/ 370106 h 1538630"/>
              <a:gd name="csX902" fmla="*/ 406617 w 1609516"/>
              <a:gd name="csY902" fmla="*/ 364973 h 1538630"/>
              <a:gd name="csX903" fmla="*/ 406626 w 1609516"/>
              <a:gd name="csY903" fmla="*/ 360038 h 1538630"/>
              <a:gd name="csX904" fmla="*/ 406645 w 1609516"/>
              <a:gd name="csY904" fmla="*/ 355503 h 1538630"/>
              <a:gd name="csX905" fmla="*/ 403142 w 1609516"/>
              <a:gd name="csY905" fmla="*/ 345885 h 1538630"/>
              <a:gd name="csX906" fmla="*/ 401579 w 1609516"/>
              <a:gd name="csY906" fmla="*/ 338663 h 1538630"/>
              <a:gd name="csX907" fmla="*/ 390938 w 1609516"/>
              <a:gd name="csY907" fmla="*/ 315939 h 1538630"/>
              <a:gd name="csX908" fmla="*/ 388976 w 1609516"/>
              <a:gd name="csY908" fmla="*/ 312762 h 1538630"/>
              <a:gd name="csX909" fmla="*/ 377934 w 1609516"/>
              <a:gd name="csY909" fmla="*/ 297817 h 1538630"/>
              <a:gd name="csX910" fmla="*/ 368775 w 1609516"/>
              <a:gd name="csY910" fmla="*/ 282470 h 1538630"/>
              <a:gd name="csX911" fmla="*/ 359890 w 1609516"/>
              <a:gd name="csY911" fmla="*/ 271284 h 1538630"/>
              <a:gd name="csX912" fmla="*/ 357374 w 1609516"/>
              <a:gd name="csY912" fmla="*/ 268288 h 1538630"/>
              <a:gd name="csX913" fmla="*/ 337533 w 1609516"/>
              <a:gd name="csY913" fmla="*/ 248649 h 1538630"/>
              <a:gd name="csX914" fmla="*/ 335214 w 1609516"/>
              <a:gd name="csY914" fmla="*/ 246369 h 1538630"/>
              <a:gd name="csX915" fmla="*/ 327085 w 1609516"/>
              <a:gd name="csY915" fmla="*/ 242571 h 1538630"/>
              <a:gd name="csX916" fmla="*/ 288785 w 1609516"/>
              <a:gd name="csY916" fmla="*/ 207968 h 1538630"/>
              <a:gd name="csX917" fmla="*/ 286373 w 1609516"/>
              <a:gd name="csY917" fmla="*/ 192544 h 1538630"/>
              <a:gd name="csX918" fmla="*/ 286385 w 1609516"/>
              <a:gd name="csY918" fmla="*/ 189190 h 1538630"/>
              <a:gd name="csX919" fmla="*/ 300042 w 1609516"/>
              <a:gd name="csY919" fmla="*/ 164095 h 1538630"/>
              <a:gd name="csX920" fmla="*/ 302757 w 1609516"/>
              <a:gd name="csY920" fmla="*/ 161381 h 1538630"/>
              <a:gd name="csX921" fmla="*/ 338411 w 1609516"/>
              <a:gd name="csY921" fmla="*/ 152293 h 1538630"/>
              <a:gd name="csX922" fmla="*/ 368482 w 1609516"/>
              <a:gd name="csY922" fmla="*/ 161893 h 1538630"/>
              <a:gd name="csX923" fmla="*/ 371899 w 1609516"/>
              <a:gd name="csY923" fmla="*/ 165505 h 1538630"/>
              <a:gd name="csX924" fmla="*/ 375121 w 1609516"/>
              <a:gd name="csY924" fmla="*/ 168587 h 1538630"/>
              <a:gd name="csX925" fmla="*/ 384982 w 1609516"/>
              <a:gd name="csY925" fmla="*/ 193777 h 1538630"/>
              <a:gd name="csX926" fmla="*/ 390352 w 1609516"/>
              <a:gd name="csY926" fmla="*/ 214563 h 1538630"/>
              <a:gd name="csX927" fmla="*/ 391529 w 1609516"/>
              <a:gd name="csY927" fmla="*/ 217626 h 1538630"/>
              <a:gd name="csX928" fmla="*/ 401579 w 1609516"/>
              <a:gd name="csY928" fmla="*/ 234556 h 1538630"/>
              <a:gd name="csX929" fmla="*/ 401579 w 1609516"/>
              <a:gd name="csY929" fmla="*/ 238784 h 1538630"/>
              <a:gd name="csX930" fmla="*/ 404215 w 1609516"/>
              <a:gd name="csY930" fmla="*/ 239753 h 1538630"/>
              <a:gd name="csX931" fmla="*/ 417811 w 1609516"/>
              <a:gd name="csY931" fmla="*/ 251996 h 1538630"/>
              <a:gd name="csX932" fmla="*/ 426866 w 1609516"/>
              <a:gd name="csY932" fmla="*/ 262300 h 1538630"/>
              <a:gd name="csX933" fmla="*/ 450097 w 1609516"/>
              <a:gd name="csY933" fmla="*/ 287628 h 1538630"/>
              <a:gd name="csX934" fmla="*/ 457425 w 1609516"/>
              <a:gd name="csY934" fmla="*/ 293920 h 1538630"/>
              <a:gd name="csX935" fmla="*/ 460940 w 1609516"/>
              <a:gd name="csY935" fmla="*/ 296562 h 1538630"/>
              <a:gd name="csX936" fmla="*/ 460940 w 1609516"/>
              <a:gd name="csY936" fmla="*/ 300790 h 1538630"/>
              <a:gd name="csX937" fmla="*/ 473437 w 1609516"/>
              <a:gd name="csY937" fmla="*/ 305018 h 1538630"/>
              <a:gd name="csX938" fmla="*/ 473437 w 1609516"/>
              <a:gd name="csY938" fmla="*/ 307836 h 1538630"/>
              <a:gd name="csX939" fmla="*/ 479881 w 1609516"/>
              <a:gd name="csY939" fmla="*/ 309862 h 1538630"/>
              <a:gd name="csX940" fmla="*/ 483505 w 1609516"/>
              <a:gd name="csY940" fmla="*/ 311001 h 1538630"/>
              <a:gd name="csX941" fmla="*/ 548419 w 1609516"/>
              <a:gd name="csY941" fmla="*/ 306427 h 1538630"/>
              <a:gd name="csX942" fmla="*/ 551842 w 1609516"/>
              <a:gd name="csY942" fmla="*/ 305127 h 1538630"/>
              <a:gd name="csX943" fmla="*/ 560232 w 1609516"/>
              <a:gd name="csY943" fmla="*/ 298148 h 1538630"/>
              <a:gd name="csX944" fmla="*/ 562972 w 1609516"/>
              <a:gd name="csY944" fmla="*/ 295252 h 1538630"/>
              <a:gd name="csX945" fmla="*/ 568086 w 1609516"/>
              <a:gd name="csY945" fmla="*/ 289152 h 1538630"/>
              <a:gd name="csX946" fmla="*/ 570289 w 1609516"/>
              <a:gd name="csY946" fmla="*/ 286697 h 1538630"/>
              <a:gd name="csX947" fmla="*/ 573413 w 1609516"/>
              <a:gd name="csY947" fmla="*/ 286697 h 1538630"/>
              <a:gd name="csX948" fmla="*/ 577220 w 1609516"/>
              <a:gd name="csY948" fmla="*/ 257016 h 1538630"/>
              <a:gd name="csX949" fmla="*/ 577235 w 1609516"/>
              <a:gd name="csY949" fmla="*/ 254206 h 1538630"/>
              <a:gd name="csX950" fmla="*/ 569443 w 1609516"/>
              <a:gd name="csY950" fmla="*/ 206049 h 1538630"/>
              <a:gd name="csX951" fmla="*/ 568726 w 1609516"/>
              <a:gd name="csY951" fmla="*/ 200735 h 1538630"/>
              <a:gd name="csX952" fmla="*/ 565602 w 1609516"/>
              <a:gd name="csY952" fmla="*/ 200735 h 1538630"/>
              <a:gd name="csX953" fmla="*/ 559549 w 1609516"/>
              <a:gd name="csY953" fmla="*/ 184441 h 1538630"/>
              <a:gd name="csX954" fmla="*/ 537484 w 1609516"/>
              <a:gd name="csY954" fmla="*/ 159867 h 1538630"/>
              <a:gd name="csX955" fmla="*/ 531235 w 1609516"/>
              <a:gd name="csY955" fmla="*/ 154230 h 1538630"/>
              <a:gd name="csX956" fmla="*/ 531235 w 1609516"/>
              <a:gd name="csY956" fmla="*/ 151412 h 1538630"/>
              <a:gd name="csX957" fmla="*/ 526549 w 1609516"/>
              <a:gd name="csY957" fmla="*/ 150003 h 1538630"/>
              <a:gd name="csX958" fmla="*/ 524304 w 1609516"/>
              <a:gd name="csY958" fmla="*/ 107198 h 1538630"/>
              <a:gd name="csX959" fmla="*/ 547052 w 1609516"/>
              <a:gd name="csY959" fmla="*/ 85972 h 1538630"/>
              <a:gd name="csX960" fmla="*/ 588460 w 1609516"/>
              <a:gd name="csY960" fmla="*/ 83538 h 1538630"/>
              <a:gd name="csX961" fmla="*/ 617152 w 1609516"/>
              <a:gd name="csY961" fmla="*/ 111954 h 1538630"/>
              <a:gd name="csX962" fmla="*/ 617884 w 1609516"/>
              <a:gd name="csY962" fmla="*/ 124175 h 1538630"/>
              <a:gd name="csX963" fmla="*/ 617917 w 1609516"/>
              <a:gd name="csY963" fmla="*/ 127607 h 1538630"/>
              <a:gd name="csX964" fmla="*/ 617919 w 1609516"/>
              <a:gd name="csY964" fmla="*/ 141969 h 1538630"/>
              <a:gd name="csX965" fmla="*/ 630625 w 1609516"/>
              <a:gd name="csY965" fmla="*/ 191311 h 1538630"/>
              <a:gd name="csX966" fmla="*/ 637850 w 1609516"/>
              <a:gd name="csY966" fmla="*/ 205139 h 1538630"/>
              <a:gd name="csX967" fmla="*/ 643708 w 1609516"/>
              <a:gd name="csY967" fmla="*/ 212009 h 1538630"/>
              <a:gd name="csX968" fmla="*/ 647027 w 1609516"/>
              <a:gd name="csY968" fmla="*/ 217645 h 1538630"/>
              <a:gd name="csX969" fmla="*/ 670264 w 1609516"/>
              <a:gd name="csY969" fmla="*/ 241603 h 1538630"/>
              <a:gd name="csX970" fmla="*/ 670264 w 1609516"/>
              <a:gd name="csY970" fmla="*/ 244421 h 1538630"/>
              <a:gd name="csX971" fmla="*/ 675634 w 1609516"/>
              <a:gd name="csY971" fmla="*/ 245742 h 1538630"/>
              <a:gd name="csX972" fmla="*/ 682761 w 1609516"/>
              <a:gd name="csY972" fmla="*/ 248649 h 1538630"/>
              <a:gd name="csX973" fmla="*/ 752092 w 1609516"/>
              <a:gd name="csY973" fmla="*/ 245076 h 1538630"/>
              <a:gd name="csX974" fmla="*/ 758433 w 1609516"/>
              <a:gd name="csY974" fmla="*/ 240485 h 1538630"/>
              <a:gd name="csX975" fmla="*/ 763991 w 1609516"/>
              <a:gd name="csY975" fmla="*/ 238784 h 1538630"/>
              <a:gd name="csX976" fmla="*/ 765315 w 1609516"/>
              <a:gd name="csY976" fmla="*/ 235778 h 1538630"/>
              <a:gd name="csX977" fmla="*/ 770923 w 1609516"/>
              <a:gd name="csY977" fmla="*/ 223459 h 1538630"/>
              <a:gd name="csX978" fmla="*/ 772998 w 1609516"/>
              <a:gd name="csY978" fmla="*/ 218934 h 1538630"/>
              <a:gd name="csX979" fmla="*/ 777562 w 1609516"/>
              <a:gd name="csY979" fmla="*/ 209895 h 1538630"/>
              <a:gd name="csX980" fmla="*/ 781175 w 1609516"/>
              <a:gd name="csY980" fmla="*/ 124637 h 1538630"/>
              <a:gd name="csX981" fmla="*/ 778051 w 1609516"/>
              <a:gd name="csY981" fmla="*/ 124637 h 1538630"/>
              <a:gd name="csX982" fmla="*/ 767116 w 1609516"/>
              <a:gd name="csY982" fmla="*/ 79542 h 1538630"/>
              <a:gd name="csX983" fmla="*/ 793379 w 1609516"/>
              <a:gd name="csY983" fmla="*/ 54000 h 1538630"/>
              <a:gd name="csX984" fmla="*/ 840688 w 1609516"/>
              <a:gd name="csY984" fmla="*/ 55503 h 1538630"/>
              <a:gd name="csX985" fmla="*/ 851470 w 1609516"/>
              <a:gd name="csY985" fmla="*/ 64040 h 1538630"/>
              <a:gd name="csX986" fmla="*/ 853997 w 1609516"/>
              <a:gd name="csY986" fmla="*/ 66529 h 1538630"/>
              <a:gd name="csX987" fmla="*/ 861488 w 1609516"/>
              <a:gd name="csY987" fmla="*/ 82057 h 1538630"/>
              <a:gd name="csX988" fmla="*/ 861937 w 1609516"/>
              <a:gd name="csY988" fmla="*/ 90492 h 1538630"/>
              <a:gd name="csX989" fmla="*/ 863826 w 1609516"/>
              <a:gd name="csY989" fmla="*/ 100715 h 1538630"/>
              <a:gd name="csX990" fmla="*/ 857577 w 1609516"/>
              <a:gd name="csY990" fmla="*/ 121853 h 1538630"/>
              <a:gd name="csX991" fmla="*/ 856015 w 1609516"/>
              <a:gd name="csY991" fmla="*/ 121853 h 1538630"/>
              <a:gd name="csX992" fmla="*/ 855442 w 1609516"/>
              <a:gd name="csY992" fmla="*/ 118919 h 1538630"/>
              <a:gd name="csX993" fmla="*/ 855417 w 1609516"/>
              <a:gd name="csY993" fmla="*/ 118798 h 1538630"/>
              <a:gd name="csX994" fmla="*/ 856157 w 1609516"/>
              <a:gd name="csY994" fmla="*/ 124637 h 1538630"/>
              <a:gd name="csX995" fmla="*/ 850623 w 1609516"/>
              <a:gd name="csY995" fmla="*/ 134701 h 1538630"/>
              <a:gd name="csX996" fmla="*/ 851325 w 1609516"/>
              <a:gd name="csY996" fmla="*/ 135968 h 1538630"/>
              <a:gd name="csX997" fmla="*/ 849886 w 1609516"/>
              <a:gd name="csY997" fmla="*/ 139843 h 1538630"/>
              <a:gd name="csX998" fmla="*/ 847786 w 1609516"/>
              <a:gd name="csY998" fmla="*/ 152889 h 1538630"/>
              <a:gd name="csX999" fmla="*/ 847767 w 1609516"/>
              <a:gd name="csY999" fmla="*/ 157768 h 1538630"/>
              <a:gd name="csX1000" fmla="*/ 847810 w 1609516"/>
              <a:gd name="csY1000" fmla="*/ 162919 h 1538630"/>
              <a:gd name="csX1001" fmla="*/ 847832 w 1609516"/>
              <a:gd name="csY1001" fmla="*/ 168227 h 1538630"/>
              <a:gd name="csX1002" fmla="*/ 850903 w 1609516"/>
              <a:gd name="csY1002" fmla="*/ 209013 h 1538630"/>
              <a:gd name="csX1003" fmla="*/ 852880 w 1609516"/>
              <a:gd name="csY1003" fmla="*/ 224692 h 1538630"/>
              <a:gd name="csX1004" fmla="*/ 854595 w 1609516"/>
              <a:gd name="csY1004" fmla="*/ 224692 h 1538630"/>
              <a:gd name="csX1005" fmla="*/ 856083 w 1609516"/>
              <a:gd name="csY1005" fmla="*/ 227268 h 1538630"/>
              <a:gd name="csX1006" fmla="*/ 879588 w 1609516"/>
              <a:gd name="csY1006" fmla="*/ 247239 h 1538630"/>
              <a:gd name="csX1007" fmla="*/ 885739 w 1609516"/>
              <a:gd name="csY1007" fmla="*/ 249618 h 1538630"/>
              <a:gd name="csX1008" fmla="*/ 890523 w 1609516"/>
              <a:gd name="csY1008" fmla="*/ 251467 h 1538630"/>
              <a:gd name="csX1009" fmla="*/ 890523 w 1609516"/>
              <a:gd name="csY1009" fmla="*/ 254285 h 1538630"/>
              <a:gd name="csX1010" fmla="*/ 920203 w 1609516"/>
              <a:gd name="csY1010" fmla="*/ 261332 h 1538630"/>
              <a:gd name="csX1011" fmla="*/ 920203 w 1609516"/>
              <a:gd name="csY1011" fmla="*/ 262741 h 1538630"/>
              <a:gd name="csX1012" fmla="*/ 910831 w 1609516"/>
              <a:gd name="csY1012" fmla="*/ 262741 h 1538630"/>
              <a:gd name="csX1013" fmla="*/ 910831 w 1609516"/>
              <a:gd name="csY1013" fmla="*/ 262864 h 1538630"/>
              <a:gd name="csX1014" fmla="*/ 927993 w 1609516"/>
              <a:gd name="csY1014" fmla="*/ 264177 h 1538630"/>
              <a:gd name="csX1015" fmla="*/ 939273 w 1609516"/>
              <a:gd name="csY1015" fmla="*/ 265285 h 1538630"/>
              <a:gd name="csX1016" fmla="*/ 940456 w 1609516"/>
              <a:gd name="csY1016" fmla="*/ 265191 h 1538630"/>
              <a:gd name="csX1017" fmla="*/ 991622 w 1609516"/>
              <a:gd name="csY1017" fmla="*/ 242329 h 1538630"/>
              <a:gd name="csX1018" fmla="*/ 1000803 w 1609516"/>
              <a:gd name="csY1018" fmla="*/ 236505 h 1538630"/>
              <a:gd name="csX1019" fmla="*/ 999806 w 1609516"/>
              <a:gd name="csY1019" fmla="*/ 236055 h 1538630"/>
              <a:gd name="csX1020" fmla="*/ 1003126 w 1609516"/>
              <a:gd name="csY1020" fmla="*/ 232851 h 1538630"/>
              <a:gd name="csX1021" fmla="*/ 1029487 w 1609516"/>
              <a:gd name="csY1021" fmla="*/ 205052 h 1538630"/>
              <a:gd name="csX1022" fmla="*/ 1029872 w 1609516"/>
              <a:gd name="csY1022" fmla="*/ 206442 h 1538630"/>
              <a:gd name="csX1023" fmla="*/ 1031614 w 1609516"/>
              <a:gd name="csY1023" fmla="*/ 203719 h 1538630"/>
              <a:gd name="csX1024" fmla="*/ 1038924 w 1609516"/>
              <a:gd name="csY1024" fmla="*/ 192280 h 1538630"/>
              <a:gd name="csX1025" fmla="*/ 1042049 w 1609516"/>
              <a:gd name="csY1025" fmla="*/ 190870 h 1538630"/>
              <a:gd name="csX1026" fmla="*/ 1044294 w 1609516"/>
              <a:gd name="csY1026" fmla="*/ 186026 h 1538630"/>
              <a:gd name="csX1027" fmla="*/ 1051422 w 1609516"/>
              <a:gd name="csY1027" fmla="*/ 178188 h 1538630"/>
              <a:gd name="csX1028" fmla="*/ 1052984 w 1609516"/>
              <a:gd name="csY1028" fmla="*/ 172551 h 1538630"/>
              <a:gd name="csX1029" fmla="*/ 1056108 w 1609516"/>
              <a:gd name="csY1029" fmla="*/ 172551 h 1538630"/>
              <a:gd name="csX1030" fmla="*/ 1059232 w 1609516"/>
              <a:gd name="csY1030" fmla="*/ 162686 h 1538630"/>
              <a:gd name="csX1031" fmla="*/ 1062357 w 1609516"/>
              <a:gd name="csY1031" fmla="*/ 162686 h 1538630"/>
              <a:gd name="csX1032" fmla="*/ 1063162 w 1609516"/>
              <a:gd name="csY1032" fmla="*/ 160258 h 1538630"/>
              <a:gd name="csX1033" fmla="*/ 1073292 w 1609516"/>
              <a:gd name="csY1033" fmla="*/ 140138 h 1538630"/>
              <a:gd name="csX1034" fmla="*/ 1076415 w 1609516"/>
              <a:gd name="csY1034" fmla="*/ 140138 h 1538630"/>
              <a:gd name="csX1035" fmla="*/ 1085294 w 1609516"/>
              <a:gd name="csY1035" fmla="*/ 117569 h 1538630"/>
              <a:gd name="csX1036" fmla="*/ 1087350 w 1609516"/>
              <a:gd name="csY1036" fmla="*/ 113363 h 1538630"/>
              <a:gd name="csX1037" fmla="*/ 1092037 w 1609516"/>
              <a:gd name="csY1037" fmla="*/ 111954 h 1538630"/>
              <a:gd name="csX1038" fmla="*/ 1092623 w 1609516"/>
              <a:gd name="csY1038" fmla="*/ 108695 h 1538630"/>
              <a:gd name="csX1039" fmla="*/ 1096723 w 1609516"/>
              <a:gd name="csY1039" fmla="*/ 100680 h 1538630"/>
              <a:gd name="csX1040" fmla="*/ 1098188 w 1609516"/>
              <a:gd name="csY1040" fmla="*/ 96013 h 1538630"/>
              <a:gd name="csX1041" fmla="*/ 1102288 w 1609516"/>
              <a:gd name="csY1041" fmla="*/ 87029 h 1538630"/>
              <a:gd name="csX1042" fmla="*/ 1104534 w 1609516"/>
              <a:gd name="csY1042" fmla="*/ 61222 h 1538630"/>
              <a:gd name="csX1043" fmla="*/ 1104381 w 1609516"/>
              <a:gd name="csY1043" fmla="*/ 55569 h 1538630"/>
              <a:gd name="csX1044" fmla="*/ 1104397 w 1609516"/>
              <a:gd name="csY1044" fmla="*/ 52335 h 1538630"/>
              <a:gd name="csX1045" fmla="*/ 1104436 w 1609516"/>
              <a:gd name="csY1045" fmla="*/ 48979 h 1538630"/>
              <a:gd name="csX1046" fmla="*/ 1104457 w 1609516"/>
              <a:gd name="csY1046" fmla="*/ 45575 h 1538630"/>
              <a:gd name="csX1047" fmla="*/ 1104534 w 1609516"/>
              <a:gd name="csY1047" fmla="*/ 37265 h 1538630"/>
              <a:gd name="csX1048" fmla="*/ 1107658 w 1609516"/>
              <a:gd name="csY1048" fmla="*/ 37265 h 1538630"/>
              <a:gd name="csX1049" fmla="*/ 1107463 w 1609516"/>
              <a:gd name="csY1049" fmla="*/ 31805 h 1538630"/>
              <a:gd name="csX1050" fmla="*/ 1107658 w 1609516"/>
              <a:gd name="csY1050" fmla="*/ 25991 h 1538630"/>
              <a:gd name="csX1051" fmla="*/ 1110782 w 1609516"/>
              <a:gd name="csY1051" fmla="*/ 23173 h 1538630"/>
              <a:gd name="csX1052" fmla="*/ 1111759 w 1609516"/>
              <a:gd name="csY1052" fmla="*/ 20091 h 1538630"/>
              <a:gd name="csX1053" fmla="*/ 1134507 w 1609516"/>
              <a:gd name="csY1053" fmla="*/ 2828 h 1538630"/>
              <a:gd name="csX1054" fmla="*/ 1155019 w 1609516"/>
              <a:gd name="csY1054" fmla="*/ 35 h 153863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  <a:cxn ang="0">
                <a:pos x="csX170" y="csY170"/>
              </a:cxn>
              <a:cxn ang="0">
                <a:pos x="csX171" y="csY171"/>
              </a:cxn>
              <a:cxn ang="0">
                <a:pos x="csX172" y="csY172"/>
              </a:cxn>
              <a:cxn ang="0">
                <a:pos x="csX173" y="csY173"/>
              </a:cxn>
              <a:cxn ang="0">
                <a:pos x="csX174" y="csY174"/>
              </a:cxn>
              <a:cxn ang="0">
                <a:pos x="csX175" y="csY175"/>
              </a:cxn>
              <a:cxn ang="0">
                <a:pos x="csX176" y="csY176"/>
              </a:cxn>
              <a:cxn ang="0">
                <a:pos x="csX177" y="csY177"/>
              </a:cxn>
              <a:cxn ang="0">
                <a:pos x="csX178" y="csY178"/>
              </a:cxn>
              <a:cxn ang="0">
                <a:pos x="csX179" y="csY179"/>
              </a:cxn>
              <a:cxn ang="0">
                <a:pos x="csX180" y="csY180"/>
              </a:cxn>
              <a:cxn ang="0">
                <a:pos x="csX181" y="csY181"/>
              </a:cxn>
              <a:cxn ang="0">
                <a:pos x="csX182" y="csY182"/>
              </a:cxn>
              <a:cxn ang="0">
                <a:pos x="csX183" y="csY183"/>
              </a:cxn>
              <a:cxn ang="0">
                <a:pos x="csX184" y="csY184"/>
              </a:cxn>
              <a:cxn ang="0">
                <a:pos x="csX185" y="csY185"/>
              </a:cxn>
              <a:cxn ang="0">
                <a:pos x="csX186" y="csY186"/>
              </a:cxn>
              <a:cxn ang="0">
                <a:pos x="csX187" y="csY187"/>
              </a:cxn>
              <a:cxn ang="0">
                <a:pos x="csX188" y="csY188"/>
              </a:cxn>
              <a:cxn ang="0">
                <a:pos x="csX189" y="csY189"/>
              </a:cxn>
              <a:cxn ang="0">
                <a:pos x="csX190" y="csY190"/>
              </a:cxn>
              <a:cxn ang="0">
                <a:pos x="csX191" y="csY191"/>
              </a:cxn>
              <a:cxn ang="0">
                <a:pos x="csX192" y="csY192"/>
              </a:cxn>
              <a:cxn ang="0">
                <a:pos x="csX193" y="csY193"/>
              </a:cxn>
              <a:cxn ang="0">
                <a:pos x="csX194" y="csY194"/>
              </a:cxn>
              <a:cxn ang="0">
                <a:pos x="csX195" y="csY195"/>
              </a:cxn>
              <a:cxn ang="0">
                <a:pos x="csX196" y="csY196"/>
              </a:cxn>
              <a:cxn ang="0">
                <a:pos x="csX197" y="csY197"/>
              </a:cxn>
              <a:cxn ang="0">
                <a:pos x="csX198" y="csY198"/>
              </a:cxn>
              <a:cxn ang="0">
                <a:pos x="csX199" y="csY199"/>
              </a:cxn>
              <a:cxn ang="0">
                <a:pos x="csX200" y="csY200"/>
              </a:cxn>
              <a:cxn ang="0">
                <a:pos x="csX201" y="csY201"/>
              </a:cxn>
              <a:cxn ang="0">
                <a:pos x="csX202" y="csY202"/>
              </a:cxn>
              <a:cxn ang="0">
                <a:pos x="csX203" y="csY203"/>
              </a:cxn>
              <a:cxn ang="0">
                <a:pos x="csX204" y="csY204"/>
              </a:cxn>
              <a:cxn ang="0">
                <a:pos x="csX205" y="csY205"/>
              </a:cxn>
              <a:cxn ang="0">
                <a:pos x="csX206" y="csY206"/>
              </a:cxn>
              <a:cxn ang="0">
                <a:pos x="csX207" y="csY207"/>
              </a:cxn>
              <a:cxn ang="0">
                <a:pos x="csX208" y="csY208"/>
              </a:cxn>
              <a:cxn ang="0">
                <a:pos x="csX209" y="csY209"/>
              </a:cxn>
              <a:cxn ang="0">
                <a:pos x="csX210" y="csY210"/>
              </a:cxn>
              <a:cxn ang="0">
                <a:pos x="csX211" y="csY211"/>
              </a:cxn>
              <a:cxn ang="0">
                <a:pos x="csX212" y="csY212"/>
              </a:cxn>
              <a:cxn ang="0">
                <a:pos x="csX213" y="csY213"/>
              </a:cxn>
              <a:cxn ang="0">
                <a:pos x="csX214" y="csY214"/>
              </a:cxn>
              <a:cxn ang="0">
                <a:pos x="csX215" y="csY215"/>
              </a:cxn>
              <a:cxn ang="0">
                <a:pos x="csX216" y="csY216"/>
              </a:cxn>
              <a:cxn ang="0">
                <a:pos x="csX217" y="csY217"/>
              </a:cxn>
              <a:cxn ang="0">
                <a:pos x="csX218" y="csY218"/>
              </a:cxn>
              <a:cxn ang="0">
                <a:pos x="csX219" y="csY219"/>
              </a:cxn>
              <a:cxn ang="0">
                <a:pos x="csX220" y="csY220"/>
              </a:cxn>
              <a:cxn ang="0">
                <a:pos x="csX221" y="csY221"/>
              </a:cxn>
              <a:cxn ang="0">
                <a:pos x="csX222" y="csY222"/>
              </a:cxn>
              <a:cxn ang="0">
                <a:pos x="csX223" y="csY223"/>
              </a:cxn>
              <a:cxn ang="0">
                <a:pos x="csX224" y="csY224"/>
              </a:cxn>
              <a:cxn ang="0">
                <a:pos x="csX225" y="csY225"/>
              </a:cxn>
              <a:cxn ang="0">
                <a:pos x="csX226" y="csY226"/>
              </a:cxn>
              <a:cxn ang="0">
                <a:pos x="csX227" y="csY227"/>
              </a:cxn>
              <a:cxn ang="0">
                <a:pos x="csX228" y="csY228"/>
              </a:cxn>
              <a:cxn ang="0">
                <a:pos x="csX229" y="csY229"/>
              </a:cxn>
              <a:cxn ang="0">
                <a:pos x="csX230" y="csY230"/>
              </a:cxn>
              <a:cxn ang="0">
                <a:pos x="csX231" y="csY231"/>
              </a:cxn>
              <a:cxn ang="0">
                <a:pos x="csX232" y="csY232"/>
              </a:cxn>
              <a:cxn ang="0">
                <a:pos x="csX233" y="csY233"/>
              </a:cxn>
              <a:cxn ang="0">
                <a:pos x="csX234" y="csY234"/>
              </a:cxn>
              <a:cxn ang="0">
                <a:pos x="csX235" y="csY235"/>
              </a:cxn>
              <a:cxn ang="0">
                <a:pos x="csX236" y="csY236"/>
              </a:cxn>
              <a:cxn ang="0">
                <a:pos x="csX237" y="csY237"/>
              </a:cxn>
              <a:cxn ang="0">
                <a:pos x="csX238" y="csY238"/>
              </a:cxn>
              <a:cxn ang="0">
                <a:pos x="csX239" y="csY239"/>
              </a:cxn>
              <a:cxn ang="0">
                <a:pos x="csX240" y="csY240"/>
              </a:cxn>
              <a:cxn ang="0">
                <a:pos x="csX241" y="csY241"/>
              </a:cxn>
              <a:cxn ang="0">
                <a:pos x="csX242" y="csY242"/>
              </a:cxn>
              <a:cxn ang="0">
                <a:pos x="csX243" y="csY243"/>
              </a:cxn>
              <a:cxn ang="0">
                <a:pos x="csX244" y="csY244"/>
              </a:cxn>
              <a:cxn ang="0">
                <a:pos x="csX245" y="csY245"/>
              </a:cxn>
              <a:cxn ang="0">
                <a:pos x="csX246" y="csY246"/>
              </a:cxn>
              <a:cxn ang="0">
                <a:pos x="csX247" y="csY247"/>
              </a:cxn>
              <a:cxn ang="0">
                <a:pos x="csX248" y="csY248"/>
              </a:cxn>
              <a:cxn ang="0">
                <a:pos x="csX249" y="csY249"/>
              </a:cxn>
              <a:cxn ang="0">
                <a:pos x="csX250" y="csY250"/>
              </a:cxn>
              <a:cxn ang="0">
                <a:pos x="csX251" y="csY251"/>
              </a:cxn>
              <a:cxn ang="0">
                <a:pos x="csX252" y="csY252"/>
              </a:cxn>
              <a:cxn ang="0">
                <a:pos x="csX253" y="csY253"/>
              </a:cxn>
              <a:cxn ang="0">
                <a:pos x="csX254" y="csY254"/>
              </a:cxn>
              <a:cxn ang="0">
                <a:pos x="csX255" y="csY255"/>
              </a:cxn>
              <a:cxn ang="0">
                <a:pos x="csX256" y="csY256"/>
              </a:cxn>
              <a:cxn ang="0">
                <a:pos x="csX257" y="csY257"/>
              </a:cxn>
              <a:cxn ang="0">
                <a:pos x="csX258" y="csY258"/>
              </a:cxn>
              <a:cxn ang="0">
                <a:pos x="csX259" y="csY259"/>
              </a:cxn>
              <a:cxn ang="0">
                <a:pos x="csX260" y="csY260"/>
              </a:cxn>
              <a:cxn ang="0">
                <a:pos x="csX261" y="csY261"/>
              </a:cxn>
              <a:cxn ang="0">
                <a:pos x="csX262" y="csY262"/>
              </a:cxn>
              <a:cxn ang="0">
                <a:pos x="csX263" y="csY263"/>
              </a:cxn>
              <a:cxn ang="0">
                <a:pos x="csX264" y="csY264"/>
              </a:cxn>
              <a:cxn ang="0">
                <a:pos x="csX265" y="csY265"/>
              </a:cxn>
              <a:cxn ang="0">
                <a:pos x="csX266" y="csY266"/>
              </a:cxn>
              <a:cxn ang="0">
                <a:pos x="csX267" y="csY267"/>
              </a:cxn>
              <a:cxn ang="0">
                <a:pos x="csX268" y="csY268"/>
              </a:cxn>
              <a:cxn ang="0">
                <a:pos x="csX269" y="csY269"/>
              </a:cxn>
              <a:cxn ang="0">
                <a:pos x="csX270" y="csY270"/>
              </a:cxn>
              <a:cxn ang="0">
                <a:pos x="csX271" y="csY271"/>
              </a:cxn>
              <a:cxn ang="0">
                <a:pos x="csX272" y="csY272"/>
              </a:cxn>
              <a:cxn ang="0">
                <a:pos x="csX273" y="csY273"/>
              </a:cxn>
              <a:cxn ang="0">
                <a:pos x="csX274" y="csY274"/>
              </a:cxn>
              <a:cxn ang="0">
                <a:pos x="csX275" y="csY275"/>
              </a:cxn>
              <a:cxn ang="0">
                <a:pos x="csX276" y="csY276"/>
              </a:cxn>
              <a:cxn ang="0">
                <a:pos x="csX277" y="csY277"/>
              </a:cxn>
              <a:cxn ang="0">
                <a:pos x="csX278" y="csY278"/>
              </a:cxn>
              <a:cxn ang="0">
                <a:pos x="csX279" y="csY279"/>
              </a:cxn>
              <a:cxn ang="0">
                <a:pos x="csX280" y="csY280"/>
              </a:cxn>
              <a:cxn ang="0">
                <a:pos x="csX281" y="csY281"/>
              </a:cxn>
              <a:cxn ang="0">
                <a:pos x="csX282" y="csY282"/>
              </a:cxn>
              <a:cxn ang="0">
                <a:pos x="csX283" y="csY283"/>
              </a:cxn>
              <a:cxn ang="0">
                <a:pos x="csX284" y="csY284"/>
              </a:cxn>
              <a:cxn ang="0">
                <a:pos x="csX285" y="csY285"/>
              </a:cxn>
              <a:cxn ang="0">
                <a:pos x="csX286" y="csY286"/>
              </a:cxn>
              <a:cxn ang="0">
                <a:pos x="csX287" y="csY287"/>
              </a:cxn>
              <a:cxn ang="0">
                <a:pos x="csX288" y="csY288"/>
              </a:cxn>
              <a:cxn ang="0">
                <a:pos x="csX289" y="csY289"/>
              </a:cxn>
              <a:cxn ang="0">
                <a:pos x="csX290" y="csY290"/>
              </a:cxn>
              <a:cxn ang="0">
                <a:pos x="csX291" y="csY291"/>
              </a:cxn>
              <a:cxn ang="0">
                <a:pos x="csX292" y="csY292"/>
              </a:cxn>
              <a:cxn ang="0">
                <a:pos x="csX293" y="csY293"/>
              </a:cxn>
              <a:cxn ang="0">
                <a:pos x="csX294" y="csY294"/>
              </a:cxn>
              <a:cxn ang="0">
                <a:pos x="csX295" y="csY295"/>
              </a:cxn>
              <a:cxn ang="0">
                <a:pos x="csX296" y="csY296"/>
              </a:cxn>
              <a:cxn ang="0">
                <a:pos x="csX297" y="csY297"/>
              </a:cxn>
              <a:cxn ang="0">
                <a:pos x="csX298" y="csY298"/>
              </a:cxn>
              <a:cxn ang="0">
                <a:pos x="csX299" y="csY299"/>
              </a:cxn>
              <a:cxn ang="0">
                <a:pos x="csX300" y="csY300"/>
              </a:cxn>
              <a:cxn ang="0">
                <a:pos x="csX301" y="csY301"/>
              </a:cxn>
              <a:cxn ang="0">
                <a:pos x="csX302" y="csY302"/>
              </a:cxn>
              <a:cxn ang="0">
                <a:pos x="csX303" y="csY303"/>
              </a:cxn>
              <a:cxn ang="0">
                <a:pos x="csX304" y="csY304"/>
              </a:cxn>
              <a:cxn ang="0">
                <a:pos x="csX305" y="csY305"/>
              </a:cxn>
              <a:cxn ang="0">
                <a:pos x="csX306" y="csY306"/>
              </a:cxn>
              <a:cxn ang="0">
                <a:pos x="csX307" y="csY307"/>
              </a:cxn>
              <a:cxn ang="0">
                <a:pos x="csX308" y="csY308"/>
              </a:cxn>
              <a:cxn ang="0">
                <a:pos x="csX309" y="csY309"/>
              </a:cxn>
              <a:cxn ang="0">
                <a:pos x="csX310" y="csY310"/>
              </a:cxn>
              <a:cxn ang="0">
                <a:pos x="csX311" y="csY311"/>
              </a:cxn>
              <a:cxn ang="0">
                <a:pos x="csX312" y="csY312"/>
              </a:cxn>
              <a:cxn ang="0">
                <a:pos x="csX313" y="csY313"/>
              </a:cxn>
              <a:cxn ang="0">
                <a:pos x="csX314" y="csY314"/>
              </a:cxn>
              <a:cxn ang="0">
                <a:pos x="csX315" y="csY315"/>
              </a:cxn>
              <a:cxn ang="0">
                <a:pos x="csX316" y="csY316"/>
              </a:cxn>
              <a:cxn ang="0">
                <a:pos x="csX317" y="csY317"/>
              </a:cxn>
              <a:cxn ang="0">
                <a:pos x="csX318" y="csY318"/>
              </a:cxn>
              <a:cxn ang="0">
                <a:pos x="csX319" y="csY319"/>
              </a:cxn>
              <a:cxn ang="0">
                <a:pos x="csX320" y="csY320"/>
              </a:cxn>
              <a:cxn ang="0">
                <a:pos x="csX321" y="csY321"/>
              </a:cxn>
              <a:cxn ang="0">
                <a:pos x="csX322" y="csY322"/>
              </a:cxn>
              <a:cxn ang="0">
                <a:pos x="csX323" y="csY323"/>
              </a:cxn>
              <a:cxn ang="0">
                <a:pos x="csX324" y="csY324"/>
              </a:cxn>
              <a:cxn ang="0">
                <a:pos x="csX325" y="csY325"/>
              </a:cxn>
              <a:cxn ang="0">
                <a:pos x="csX326" y="csY326"/>
              </a:cxn>
              <a:cxn ang="0">
                <a:pos x="csX327" y="csY327"/>
              </a:cxn>
              <a:cxn ang="0">
                <a:pos x="csX328" y="csY328"/>
              </a:cxn>
              <a:cxn ang="0">
                <a:pos x="csX329" y="csY329"/>
              </a:cxn>
              <a:cxn ang="0">
                <a:pos x="csX330" y="csY330"/>
              </a:cxn>
              <a:cxn ang="0">
                <a:pos x="csX331" y="csY331"/>
              </a:cxn>
              <a:cxn ang="0">
                <a:pos x="csX332" y="csY332"/>
              </a:cxn>
              <a:cxn ang="0">
                <a:pos x="csX333" y="csY333"/>
              </a:cxn>
              <a:cxn ang="0">
                <a:pos x="csX334" y="csY334"/>
              </a:cxn>
              <a:cxn ang="0">
                <a:pos x="csX335" y="csY335"/>
              </a:cxn>
              <a:cxn ang="0">
                <a:pos x="csX336" y="csY336"/>
              </a:cxn>
              <a:cxn ang="0">
                <a:pos x="csX337" y="csY337"/>
              </a:cxn>
              <a:cxn ang="0">
                <a:pos x="csX338" y="csY338"/>
              </a:cxn>
              <a:cxn ang="0">
                <a:pos x="csX339" y="csY339"/>
              </a:cxn>
              <a:cxn ang="0">
                <a:pos x="csX340" y="csY340"/>
              </a:cxn>
              <a:cxn ang="0">
                <a:pos x="csX341" y="csY341"/>
              </a:cxn>
              <a:cxn ang="0">
                <a:pos x="csX342" y="csY342"/>
              </a:cxn>
              <a:cxn ang="0">
                <a:pos x="csX343" y="csY343"/>
              </a:cxn>
              <a:cxn ang="0">
                <a:pos x="csX344" y="csY344"/>
              </a:cxn>
              <a:cxn ang="0">
                <a:pos x="csX345" y="csY345"/>
              </a:cxn>
              <a:cxn ang="0">
                <a:pos x="csX346" y="csY346"/>
              </a:cxn>
              <a:cxn ang="0">
                <a:pos x="csX347" y="csY347"/>
              </a:cxn>
              <a:cxn ang="0">
                <a:pos x="csX348" y="csY348"/>
              </a:cxn>
              <a:cxn ang="0">
                <a:pos x="csX349" y="csY349"/>
              </a:cxn>
              <a:cxn ang="0">
                <a:pos x="csX350" y="csY350"/>
              </a:cxn>
              <a:cxn ang="0">
                <a:pos x="csX351" y="csY351"/>
              </a:cxn>
              <a:cxn ang="0">
                <a:pos x="csX352" y="csY352"/>
              </a:cxn>
              <a:cxn ang="0">
                <a:pos x="csX353" y="csY353"/>
              </a:cxn>
              <a:cxn ang="0">
                <a:pos x="csX354" y="csY354"/>
              </a:cxn>
              <a:cxn ang="0">
                <a:pos x="csX355" y="csY355"/>
              </a:cxn>
              <a:cxn ang="0">
                <a:pos x="csX356" y="csY356"/>
              </a:cxn>
              <a:cxn ang="0">
                <a:pos x="csX357" y="csY357"/>
              </a:cxn>
              <a:cxn ang="0">
                <a:pos x="csX358" y="csY358"/>
              </a:cxn>
              <a:cxn ang="0">
                <a:pos x="csX359" y="csY359"/>
              </a:cxn>
              <a:cxn ang="0">
                <a:pos x="csX360" y="csY360"/>
              </a:cxn>
              <a:cxn ang="0">
                <a:pos x="csX361" y="csY361"/>
              </a:cxn>
              <a:cxn ang="0">
                <a:pos x="csX362" y="csY362"/>
              </a:cxn>
              <a:cxn ang="0">
                <a:pos x="csX363" y="csY363"/>
              </a:cxn>
              <a:cxn ang="0">
                <a:pos x="csX364" y="csY364"/>
              </a:cxn>
              <a:cxn ang="0">
                <a:pos x="csX365" y="csY365"/>
              </a:cxn>
              <a:cxn ang="0">
                <a:pos x="csX366" y="csY366"/>
              </a:cxn>
              <a:cxn ang="0">
                <a:pos x="csX367" y="csY367"/>
              </a:cxn>
              <a:cxn ang="0">
                <a:pos x="csX368" y="csY368"/>
              </a:cxn>
              <a:cxn ang="0">
                <a:pos x="csX369" y="csY369"/>
              </a:cxn>
              <a:cxn ang="0">
                <a:pos x="csX370" y="csY370"/>
              </a:cxn>
              <a:cxn ang="0">
                <a:pos x="csX371" y="csY371"/>
              </a:cxn>
              <a:cxn ang="0">
                <a:pos x="csX372" y="csY372"/>
              </a:cxn>
              <a:cxn ang="0">
                <a:pos x="csX373" y="csY373"/>
              </a:cxn>
              <a:cxn ang="0">
                <a:pos x="csX374" y="csY374"/>
              </a:cxn>
              <a:cxn ang="0">
                <a:pos x="csX375" y="csY375"/>
              </a:cxn>
              <a:cxn ang="0">
                <a:pos x="csX376" y="csY376"/>
              </a:cxn>
              <a:cxn ang="0">
                <a:pos x="csX377" y="csY377"/>
              </a:cxn>
              <a:cxn ang="0">
                <a:pos x="csX378" y="csY378"/>
              </a:cxn>
              <a:cxn ang="0">
                <a:pos x="csX379" y="csY379"/>
              </a:cxn>
              <a:cxn ang="0">
                <a:pos x="csX380" y="csY380"/>
              </a:cxn>
              <a:cxn ang="0">
                <a:pos x="csX381" y="csY381"/>
              </a:cxn>
              <a:cxn ang="0">
                <a:pos x="csX382" y="csY382"/>
              </a:cxn>
              <a:cxn ang="0">
                <a:pos x="csX383" y="csY383"/>
              </a:cxn>
              <a:cxn ang="0">
                <a:pos x="csX384" y="csY384"/>
              </a:cxn>
              <a:cxn ang="0">
                <a:pos x="csX385" y="csY385"/>
              </a:cxn>
              <a:cxn ang="0">
                <a:pos x="csX386" y="csY386"/>
              </a:cxn>
              <a:cxn ang="0">
                <a:pos x="csX387" y="csY387"/>
              </a:cxn>
              <a:cxn ang="0">
                <a:pos x="csX388" y="csY388"/>
              </a:cxn>
              <a:cxn ang="0">
                <a:pos x="csX389" y="csY389"/>
              </a:cxn>
              <a:cxn ang="0">
                <a:pos x="csX390" y="csY390"/>
              </a:cxn>
              <a:cxn ang="0">
                <a:pos x="csX391" y="csY391"/>
              </a:cxn>
              <a:cxn ang="0">
                <a:pos x="csX392" y="csY392"/>
              </a:cxn>
              <a:cxn ang="0">
                <a:pos x="csX393" y="csY393"/>
              </a:cxn>
              <a:cxn ang="0">
                <a:pos x="csX394" y="csY394"/>
              </a:cxn>
              <a:cxn ang="0">
                <a:pos x="csX395" y="csY395"/>
              </a:cxn>
              <a:cxn ang="0">
                <a:pos x="csX396" y="csY396"/>
              </a:cxn>
              <a:cxn ang="0">
                <a:pos x="csX397" y="csY397"/>
              </a:cxn>
              <a:cxn ang="0">
                <a:pos x="csX398" y="csY398"/>
              </a:cxn>
              <a:cxn ang="0">
                <a:pos x="csX399" y="csY399"/>
              </a:cxn>
              <a:cxn ang="0">
                <a:pos x="csX400" y="csY400"/>
              </a:cxn>
              <a:cxn ang="0">
                <a:pos x="csX401" y="csY401"/>
              </a:cxn>
              <a:cxn ang="0">
                <a:pos x="csX402" y="csY402"/>
              </a:cxn>
              <a:cxn ang="0">
                <a:pos x="csX403" y="csY403"/>
              </a:cxn>
              <a:cxn ang="0">
                <a:pos x="csX404" y="csY404"/>
              </a:cxn>
              <a:cxn ang="0">
                <a:pos x="csX405" y="csY405"/>
              </a:cxn>
              <a:cxn ang="0">
                <a:pos x="csX406" y="csY406"/>
              </a:cxn>
              <a:cxn ang="0">
                <a:pos x="csX407" y="csY407"/>
              </a:cxn>
              <a:cxn ang="0">
                <a:pos x="csX408" y="csY408"/>
              </a:cxn>
              <a:cxn ang="0">
                <a:pos x="csX409" y="csY409"/>
              </a:cxn>
              <a:cxn ang="0">
                <a:pos x="csX410" y="csY410"/>
              </a:cxn>
              <a:cxn ang="0">
                <a:pos x="csX411" y="csY411"/>
              </a:cxn>
              <a:cxn ang="0">
                <a:pos x="csX412" y="csY412"/>
              </a:cxn>
              <a:cxn ang="0">
                <a:pos x="csX413" y="csY413"/>
              </a:cxn>
              <a:cxn ang="0">
                <a:pos x="csX414" y="csY414"/>
              </a:cxn>
              <a:cxn ang="0">
                <a:pos x="csX415" y="csY415"/>
              </a:cxn>
              <a:cxn ang="0">
                <a:pos x="csX416" y="csY416"/>
              </a:cxn>
              <a:cxn ang="0">
                <a:pos x="csX417" y="csY417"/>
              </a:cxn>
              <a:cxn ang="0">
                <a:pos x="csX418" y="csY418"/>
              </a:cxn>
              <a:cxn ang="0">
                <a:pos x="csX419" y="csY419"/>
              </a:cxn>
              <a:cxn ang="0">
                <a:pos x="csX420" y="csY420"/>
              </a:cxn>
              <a:cxn ang="0">
                <a:pos x="csX421" y="csY421"/>
              </a:cxn>
              <a:cxn ang="0">
                <a:pos x="csX422" y="csY422"/>
              </a:cxn>
              <a:cxn ang="0">
                <a:pos x="csX423" y="csY423"/>
              </a:cxn>
              <a:cxn ang="0">
                <a:pos x="csX424" y="csY424"/>
              </a:cxn>
              <a:cxn ang="0">
                <a:pos x="csX425" y="csY425"/>
              </a:cxn>
              <a:cxn ang="0">
                <a:pos x="csX426" y="csY426"/>
              </a:cxn>
              <a:cxn ang="0">
                <a:pos x="csX427" y="csY427"/>
              </a:cxn>
              <a:cxn ang="0">
                <a:pos x="csX428" y="csY428"/>
              </a:cxn>
              <a:cxn ang="0">
                <a:pos x="csX429" y="csY429"/>
              </a:cxn>
              <a:cxn ang="0">
                <a:pos x="csX430" y="csY430"/>
              </a:cxn>
              <a:cxn ang="0">
                <a:pos x="csX431" y="csY431"/>
              </a:cxn>
              <a:cxn ang="0">
                <a:pos x="csX432" y="csY432"/>
              </a:cxn>
              <a:cxn ang="0">
                <a:pos x="csX433" y="csY433"/>
              </a:cxn>
              <a:cxn ang="0">
                <a:pos x="csX434" y="csY434"/>
              </a:cxn>
              <a:cxn ang="0">
                <a:pos x="csX435" y="csY435"/>
              </a:cxn>
              <a:cxn ang="0">
                <a:pos x="csX436" y="csY436"/>
              </a:cxn>
              <a:cxn ang="0">
                <a:pos x="csX437" y="csY437"/>
              </a:cxn>
              <a:cxn ang="0">
                <a:pos x="csX438" y="csY438"/>
              </a:cxn>
              <a:cxn ang="0">
                <a:pos x="csX439" y="csY439"/>
              </a:cxn>
              <a:cxn ang="0">
                <a:pos x="csX440" y="csY440"/>
              </a:cxn>
              <a:cxn ang="0">
                <a:pos x="csX441" y="csY441"/>
              </a:cxn>
              <a:cxn ang="0">
                <a:pos x="csX442" y="csY442"/>
              </a:cxn>
              <a:cxn ang="0">
                <a:pos x="csX443" y="csY443"/>
              </a:cxn>
              <a:cxn ang="0">
                <a:pos x="csX444" y="csY444"/>
              </a:cxn>
              <a:cxn ang="0">
                <a:pos x="csX445" y="csY445"/>
              </a:cxn>
              <a:cxn ang="0">
                <a:pos x="csX446" y="csY446"/>
              </a:cxn>
              <a:cxn ang="0">
                <a:pos x="csX447" y="csY447"/>
              </a:cxn>
              <a:cxn ang="0">
                <a:pos x="csX448" y="csY448"/>
              </a:cxn>
              <a:cxn ang="0">
                <a:pos x="csX449" y="csY449"/>
              </a:cxn>
              <a:cxn ang="0">
                <a:pos x="csX450" y="csY450"/>
              </a:cxn>
              <a:cxn ang="0">
                <a:pos x="csX451" y="csY451"/>
              </a:cxn>
              <a:cxn ang="0">
                <a:pos x="csX452" y="csY452"/>
              </a:cxn>
              <a:cxn ang="0">
                <a:pos x="csX453" y="csY453"/>
              </a:cxn>
              <a:cxn ang="0">
                <a:pos x="csX454" y="csY454"/>
              </a:cxn>
              <a:cxn ang="0">
                <a:pos x="csX455" y="csY455"/>
              </a:cxn>
              <a:cxn ang="0">
                <a:pos x="csX456" y="csY456"/>
              </a:cxn>
              <a:cxn ang="0">
                <a:pos x="csX457" y="csY457"/>
              </a:cxn>
              <a:cxn ang="0">
                <a:pos x="csX458" y="csY458"/>
              </a:cxn>
              <a:cxn ang="0">
                <a:pos x="csX459" y="csY459"/>
              </a:cxn>
              <a:cxn ang="0">
                <a:pos x="csX460" y="csY460"/>
              </a:cxn>
              <a:cxn ang="0">
                <a:pos x="csX461" y="csY461"/>
              </a:cxn>
              <a:cxn ang="0">
                <a:pos x="csX462" y="csY462"/>
              </a:cxn>
              <a:cxn ang="0">
                <a:pos x="csX463" y="csY463"/>
              </a:cxn>
              <a:cxn ang="0">
                <a:pos x="csX464" y="csY464"/>
              </a:cxn>
              <a:cxn ang="0">
                <a:pos x="csX465" y="csY465"/>
              </a:cxn>
              <a:cxn ang="0">
                <a:pos x="csX466" y="csY466"/>
              </a:cxn>
              <a:cxn ang="0">
                <a:pos x="csX467" y="csY467"/>
              </a:cxn>
              <a:cxn ang="0">
                <a:pos x="csX468" y="csY468"/>
              </a:cxn>
              <a:cxn ang="0">
                <a:pos x="csX469" y="csY469"/>
              </a:cxn>
              <a:cxn ang="0">
                <a:pos x="csX470" y="csY470"/>
              </a:cxn>
              <a:cxn ang="0">
                <a:pos x="csX471" y="csY471"/>
              </a:cxn>
              <a:cxn ang="0">
                <a:pos x="csX472" y="csY472"/>
              </a:cxn>
              <a:cxn ang="0">
                <a:pos x="csX473" y="csY473"/>
              </a:cxn>
              <a:cxn ang="0">
                <a:pos x="csX474" y="csY474"/>
              </a:cxn>
              <a:cxn ang="0">
                <a:pos x="csX475" y="csY475"/>
              </a:cxn>
              <a:cxn ang="0">
                <a:pos x="csX476" y="csY476"/>
              </a:cxn>
              <a:cxn ang="0">
                <a:pos x="csX477" y="csY477"/>
              </a:cxn>
              <a:cxn ang="0">
                <a:pos x="csX478" y="csY478"/>
              </a:cxn>
              <a:cxn ang="0">
                <a:pos x="csX479" y="csY479"/>
              </a:cxn>
              <a:cxn ang="0">
                <a:pos x="csX480" y="csY480"/>
              </a:cxn>
              <a:cxn ang="0">
                <a:pos x="csX481" y="csY481"/>
              </a:cxn>
              <a:cxn ang="0">
                <a:pos x="csX482" y="csY482"/>
              </a:cxn>
              <a:cxn ang="0">
                <a:pos x="csX483" y="csY483"/>
              </a:cxn>
              <a:cxn ang="0">
                <a:pos x="csX484" y="csY484"/>
              </a:cxn>
              <a:cxn ang="0">
                <a:pos x="csX485" y="csY485"/>
              </a:cxn>
              <a:cxn ang="0">
                <a:pos x="csX486" y="csY486"/>
              </a:cxn>
              <a:cxn ang="0">
                <a:pos x="csX487" y="csY487"/>
              </a:cxn>
              <a:cxn ang="0">
                <a:pos x="csX488" y="csY488"/>
              </a:cxn>
              <a:cxn ang="0">
                <a:pos x="csX489" y="csY489"/>
              </a:cxn>
              <a:cxn ang="0">
                <a:pos x="csX490" y="csY490"/>
              </a:cxn>
              <a:cxn ang="0">
                <a:pos x="csX491" y="csY491"/>
              </a:cxn>
              <a:cxn ang="0">
                <a:pos x="csX492" y="csY492"/>
              </a:cxn>
              <a:cxn ang="0">
                <a:pos x="csX493" y="csY493"/>
              </a:cxn>
              <a:cxn ang="0">
                <a:pos x="csX494" y="csY494"/>
              </a:cxn>
              <a:cxn ang="0">
                <a:pos x="csX495" y="csY495"/>
              </a:cxn>
              <a:cxn ang="0">
                <a:pos x="csX496" y="csY496"/>
              </a:cxn>
              <a:cxn ang="0">
                <a:pos x="csX497" y="csY497"/>
              </a:cxn>
              <a:cxn ang="0">
                <a:pos x="csX498" y="csY498"/>
              </a:cxn>
              <a:cxn ang="0">
                <a:pos x="csX499" y="csY499"/>
              </a:cxn>
              <a:cxn ang="0">
                <a:pos x="csX500" y="csY500"/>
              </a:cxn>
              <a:cxn ang="0">
                <a:pos x="csX501" y="csY501"/>
              </a:cxn>
              <a:cxn ang="0">
                <a:pos x="csX502" y="csY502"/>
              </a:cxn>
              <a:cxn ang="0">
                <a:pos x="csX503" y="csY503"/>
              </a:cxn>
              <a:cxn ang="0">
                <a:pos x="csX504" y="csY504"/>
              </a:cxn>
              <a:cxn ang="0">
                <a:pos x="csX505" y="csY505"/>
              </a:cxn>
              <a:cxn ang="0">
                <a:pos x="csX506" y="csY506"/>
              </a:cxn>
              <a:cxn ang="0">
                <a:pos x="csX507" y="csY507"/>
              </a:cxn>
              <a:cxn ang="0">
                <a:pos x="csX508" y="csY508"/>
              </a:cxn>
              <a:cxn ang="0">
                <a:pos x="csX509" y="csY509"/>
              </a:cxn>
              <a:cxn ang="0">
                <a:pos x="csX510" y="csY510"/>
              </a:cxn>
              <a:cxn ang="0">
                <a:pos x="csX511" y="csY511"/>
              </a:cxn>
              <a:cxn ang="0">
                <a:pos x="csX512" y="csY512"/>
              </a:cxn>
              <a:cxn ang="0">
                <a:pos x="csX513" y="csY513"/>
              </a:cxn>
              <a:cxn ang="0">
                <a:pos x="csX514" y="csY514"/>
              </a:cxn>
              <a:cxn ang="0">
                <a:pos x="csX515" y="csY515"/>
              </a:cxn>
              <a:cxn ang="0">
                <a:pos x="csX516" y="csY516"/>
              </a:cxn>
              <a:cxn ang="0">
                <a:pos x="csX517" y="csY517"/>
              </a:cxn>
              <a:cxn ang="0">
                <a:pos x="csX518" y="csY518"/>
              </a:cxn>
              <a:cxn ang="0">
                <a:pos x="csX519" y="csY519"/>
              </a:cxn>
              <a:cxn ang="0">
                <a:pos x="csX520" y="csY520"/>
              </a:cxn>
              <a:cxn ang="0">
                <a:pos x="csX521" y="csY521"/>
              </a:cxn>
              <a:cxn ang="0">
                <a:pos x="csX522" y="csY522"/>
              </a:cxn>
              <a:cxn ang="0">
                <a:pos x="csX523" y="csY523"/>
              </a:cxn>
              <a:cxn ang="0">
                <a:pos x="csX524" y="csY524"/>
              </a:cxn>
              <a:cxn ang="0">
                <a:pos x="csX525" y="csY525"/>
              </a:cxn>
              <a:cxn ang="0">
                <a:pos x="csX526" y="csY526"/>
              </a:cxn>
              <a:cxn ang="0">
                <a:pos x="csX527" y="csY527"/>
              </a:cxn>
              <a:cxn ang="0">
                <a:pos x="csX528" y="csY528"/>
              </a:cxn>
              <a:cxn ang="0">
                <a:pos x="csX529" y="csY529"/>
              </a:cxn>
              <a:cxn ang="0">
                <a:pos x="csX530" y="csY530"/>
              </a:cxn>
              <a:cxn ang="0">
                <a:pos x="csX531" y="csY531"/>
              </a:cxn>
              <a:cxn ang="0">
                <a:pos x="csX532" y="csY532"/>
              </a:cxn>
              <a:cxn ang="0">
                <a:pos x="csX533" y="csY533"/>
              </a:cxn>
              <a:cxn ang="0">
                <a:pos x="csX534" y="csY534"/>
              </a:cxn>
              <a:cxn ang="0">
                <a:pos x="csX535" y="csY535"/>
              </a:cxn>
              <a:cxn ang="0">
                <a:pos x="csX536" y="csY536"/>
              </a:cxn>
              <a:cxn ang="0">
                <a:pos x="csX537" y="csY537"/>
              </a:cxn>
              <a:cxn ang="0">
                <a:pos x="csX538" y="csY538"/>
              </a:cxn>
              <a:cxn ang="0">
                <a:pos x="csX539" y="csY539"/>
              </a:cxn>
              <a:cxn ang="0">
                <a:pos x="csX540" y="csY540"/>
              </a:cxn>
              <a:cxn ang="0">
                <a:pos x="csX541" y="csY541"/>
              </a:cxn>
              <a:cxn ang="0">
                <a:pos x="csX542" y="csY542"/>
              </a:cxn>
              <a:cxn ang="0">
                <a:pos x="csX543" y="csY543"/>
              </a:cxn>
              <a:cxn ang="0">
                <a:pos x="csX544" y="csY544"/>
              </a:cxn>
              <a:cxn ang="0">
                <a:pos x="csX545" y="csY545"/>
              </a:cxn>
              <a:cxn ang="0">
                <a:pos x="csX546" y="csY546"/>
              </a:cxn>
              <a:cxn ang="0">
                <a:pos x="csX547" y="csY547"/>
              </a:cxn>
              <a:cxn ang="0">
                <a:pos x="csX548" y="csY548"/>
              </a:cxn>
              <a:cxn ang="0">
                <a:pos x="csX549" y="csY549"/>
              </a:cxn>
              <a:cxn ang="0">
                <a:pos x="csX550" y="csY550"/>
              </a:cxn>
              <a:cxn ang="0">
                <a:pos x="csX551" y="csY551"/>
              </a:cxn>
              <a:cxn ang="0">
                <a:pos x="csX552" y="csY552"/>
              </a:cxn>
              <a:cxn ang="0">
                <a:pos x="csX553" y="csY553"/>
              </a:cxn>
              <a:cxn ang="0">
                <a:pos x="csX554" y="csY554"/>
              </a:cxn>
              <a:cxn ang="0">
                <a:pos x="csX555" y="csY555"/>
              </a:cxn>
              <a:cxn ang="0">
                <a:pos x="csX556" y="csY556"/>
              </a:cxn>
              <a:cxn ang="0">
                <a:pos x="csX557" y="csY557"/>
              </a:cxn>
              <a:cxn ang="0">
                <a:pos x="csX558" y="csY558"/>
              </a:cxn>
              <a:cxn ang="0">
                <a:pos x="csX559" y="csY559"/>
              </a:cxn>
              <a:cxn ang="0">
                <a:pos x="csX560" y="csY560"/>
              </a:cxn>
              <a:cxn ang="0">
                <a:pos x="csX561" y="csY561"/>
              </a:cxn>
              <a:cxn ang="0">
                <a:pos x="csX562" y="csY562"/>
              </a:cxn>
              <a:cxn ang="0">
                <a:pos x="csX563" y="csY563"/>
              </a:cxn>
              <a:cxn ang="0">
                <a:pos x="csX564" y="csY564"/>
              </a:cxn>
              <a:cxn ang="0">
                <a:pos x="csX565" y="csY565"/>
              </a:cxn>
              <a:cxn ang="0">
                <a:pos x="csX566" y="csY566"/>
              </a:cxn>
              <a:cxn ang="0">
                <a:pos x="csX567" y="csY567"/>
              </a:cxn>
              <a:cxn ang="0">
                <a:pos x="csX568" y="csY568"/>
              </a:cxn>
              <a:cxn ang="0">
                <a:pos x="csX569" y="csY569"/>
              </a:cxn>
              <a:cxn ang="0">
                <a:pos x="csX570" y="csY570"/>
              </a:cxn>
              <a:cxn ang="0">
                <a:pos x="csX571" y="csY571"/>
              </a:cxn>
              <a:cxn ang="0">
                <a:pos x="csX572" y="csY572"/>
              </a:cxn>
              <a:cxn ang="0">
                <a:pos x="csX573" y="csY573"/>
              </a:cxn>
              <a:cxn ang="0">
                <a:pos x="csX574" y="csY574"/>
              </a:cxn>
              <a:cxn ang="0">
                <a:pos x="csX575" y="csY575"/>
              </a:cxn>
              <a:cxn ang="0">
                <a:pos x="csX576" y="csY576"/>
              </a:cxn>
              <a:cxn ang="0">
                <a:pos x="csX577" y="csY577"/>
              </a:cxn>
              <a:cxn ang="0">
                <a:pos x="csX578" y="csY578"/>
              </a:cxn>
              <a:cxn ang="0">
                <a:pos x="csX579" y="csY579"/>
              </a:cxn>
              <a:cxn ang="0">
                <a:pos x="csX580" y="csY580"/>
              </a:cxn>
              <a:cxn ang="0">
                <a:pos x="csX581" y="csY581"/>
              </a:cxn>
              <a:cxn ang="0">
                <a:pos x="csX582" y="csY582"/>
              </a:cxn>
              <a:cxn ang="0">
                <a:pos x="csX583" y="csY583"/>
              </a:cxn>
              <a:cxn ang="0">
                <a:pos x="csX584" y="csY584"/>
              </a:cxn>
              <a:cxn ang="0">
                <a:pos x="csX585" y="csY585"/>
              </a:cxn>
              <a:cxn ang="0">
                <a:pos x="csX586" y="csY586"/>
              </a:cxn>
              <a:cxn ang="0">
                <a:pos x="csX587" y="csY587"/>
              </a:cxn>
              <a:cxn ang="0">
                <a:pos x="csX588" y="csY588"/>
              </a:cxn>
              <a:cxn ang="0">
                <a:pos x="csX589" y="csY589"/>
              </a:cxn>
              <a:cxn ang="0">
                <a:pos x="csX590" y="csY590"/>
              </a:cxn>
              <a:cxn ang="0">
                <a:pos x="csX591" y="csY591"/>
              </a:cxn>
              <a:cxn ang="0">
                <a:pos x="csX592" y="csY592"/>
              </a:cxn>
              <a:cxn ang="0">
                <a:pos x="csX593" y="csY593"/>
              </a:cxn>
              <a:cxn ang="0">
                <a:pos x="csX594" y="csY594"/>
              </a:cxn>
              <a:cxn ang="0">
                <a:pos x="csX595" y="csY595"/>
              </a:cxn>
              <a:cxn ang="0">
                <a:pos x="csX596" y="csY596"/>
              </a:cxn>
              <a:cxn ang="0">
                <a:pos x="csX597" y="csY597"/>
              </a:cxn>
              <a:cxn ang="0">
                <a:pos x="csX598" y="csY598"/>
              </a:cxn>
              <a:cxn ang="0">
                <a:pos x="csX599" y="csY599"/>
              </a:cxn>
              <a:cxn ang="0">
                <a:pos x="csX600" y="csY600"/>
              </a:cxn>
              <a:cxn ang="0">
                <a:pos x="csX601" y="csY601"/>
              </a:cxn>
              <a:cxn ang="0">
                <a:pos x="csX602" y="csY602"/>
              </a:cxn>
              <a:cxn ang="0">
                <a:pos x="csX603" y="csY603"/>
              </a:cxn>
              <a:cxn ang="0">
                <a:pos x="csX604" y="csY604"/>
              </a:cxn>
              <a:cxn ang="0">
                <a:pos x="csX605" y="csY605"/>
              </a:cxn>
              <a:cxn ang="0">
                <a:pos x="csX606" y="csY606"/>
              </a:cxn>
              <a:cxn ang="0">
                <a:pos x="csX607" y="csY607"/>
              </a:cxn>
              <a:cxn ang="0">
                <a:pos x="csX608" y="csY608"/>
              </a:cxn>
              <a:cxn ang="0">
                <a:pos x="csX609" y="csY609"/>
              </a:cxn>
              <a:cxn ang="0">
                <a:pos x="csX610" y="csY610"/>
              </a:cxn>
              <a:cxn ang="0">
                <a:pos x="csX611" y="csY611"/>
              </a:cxn>
              <a:cxn ang="0">
                <a:pos x="csX612" y="csY612"/>
              </a:cxn>
              <a:cxn ang="0">
                <a:pos x="csX613" y="csY613"/>
              </a:cxn>
              <a:cxn ang="0">
                <a:pos x="csX614" y="csY614"/>
              </a:cxn>
              <a:cxn ang="0">
                <a:pos x="csX615" y="csY615"/>
              </a:cxn>
              <a:cxn ang="0">
                <a:pos x="csX616" y="csY616"/>
              </a:cxn>
              <a:cxn ang="0">
                <a:pos x="csX617" y="csY617"/>
              </a:cxn>
              <a:cxn ang="0">
                <a:pos x="csX618" y="csY618"/>
              </a:cxn>
              <a:cxn ang="0">
                <a:pos x="csX619" y="csY619"/>
              </a:cxn>
              <a:cxn ang="0">
                <a:pos x="csX620" y="csY620"/>
              </a:cxn>
              <a:cxn ang="0">
                <a:pos x="csX621" y="csY621"/>
              </a:cxn>
              <a:cxn ang="0">
                <a:pos x="csX622" y="csY622"/>
              </a:cxn>
              <a:cxn ang="0">
                <a:pos x="csX623" y="csY623"/>
              </a:cxn>
              <a:cxn ang="0">
                <a:pos x="csX624" y="csY624"/>
              </a:cxn>
              <a:cxn ang="0">
                <a:pos x="csX625" y="csY625"/>
              </a:cxn>
              <a:cxn ang="0">
                <a:pos x="csX626" y="csY626"/>
              </a:cxn>
              <a:cxn ang="0">
                <a:pos x="csX627" y="csY627"/>
              </a:cxn>
              <a:cxn ang="0">
                <a:pos x="csX628" y="csY628"/>
              </a:cxn>
              <a:cxn ang="0">
                <a:pos x="csX629" y="csY629"/>
              </a:cxn>
              <a:cxn ang="0">
                <a:pos x="csX630" y="csY630"/>
              </a:cxn>
              <a:cxn ang="0">
                <a:pos x="csX631" y="csY631"/>
              </a:cxn>
              <a:cxn ang="0">
                <a:pos x="csX632" y="csY632"/>
              </a:cxn>
              <a:cxn ang="0">
                <a:pos x="csX633" y="csY633"/>
              </a:cxn>
              <a:cxn ang="0">
                <a:pos x="csX634" y="csY634"/>
              </a:cxn>
              <a:cxn ang="0">
                <a:pos x="csX635" y="csY635"/>
              </a:cxn>
              <a:cxn ang="0">
                <a:pos x="csX636" y="csY636"/>
              </a:cxn>
              <a:cxn ang="0">
                <a:pos x="csX637" y="csY637"/>
              </a:cxn>
              <a:cxn ang="0">
                <a:pos x="csX638" y="csY638"/>
              </a:cxn>
              <a:cxn ang="0">
                <a:pos x="csX639" y="csY639"/>
              </a:cxn>
              <a:cxn ang="0">
                <a:pos x="csX640" y="csY640"/>
              </a:cxn>
              <a:cxn ang="0">
                <a:pos x="csX641" y="csY641"/>
              </a:cxn>
              <a:cxn ang="0">
                <a:pos x="csX642" y="csY642"/>
              </a:cxn>
              <a:cxn ang="0">
                <a:pos x="csX643" y="csY643"/>
              </a:cxn>
              <a:cxn ang="0">
                <a:pos x="csX644" y="csY644"/>
              </a:cxn>
              <a:cxn ang="0">
                <a:pos x="csX645" y="csY645"/>
              </a:cxn>
              <a:cxn ang="0">
                <a:pos x="csX646" y="csY646"/>
              </a:cxn>
              <a:cxn ang="0">
                <a:pos x="csX647" y="csY647"/>
              </a:cxn>
              <a:cxn ang="0">
                <a:pos x="csX648" y="csY648"/>
              </a:cxn>
              <a:cxn ang="0">
                <a:pos x="csX649" y="csY649"/>
              </a:cxn>
              <a:cxn ang="0">
                <a:pos x="csX650" y="csY650"/>
              </a:cxn>
              <a:cxn ang="0">
                <a:pos x="csX651" y="csY651"/>
              </a:cxn>
              <a:cxn ang="0">
                <a:pos x="csX652" y="csY652"/>
              </a:cxn>
              <a:cxn ang="0">
                <a:pos x="csX653" y="csY653"/>
              </a:cxn>
              <a:cxn ang="0">
                <a:pos x="csX654" y="csY654"/>
              </a:cxn>
              <a:cxn ang="0">
                <a:pos x="csX655" y="csY655"/>
              </a:cxn>
              <a:cxn ang="0">
                <a:pos x="csX656" y="csY656"/>
              </a:cxn>
              <a:cxn ang="0">
                <a:pos x="csX657" y="csY657"/>
              </a:cxn>
              <a:cxn ang="0">
                <a:pos x="csX658" y="csY658"/>
              </a:cxn>
              <a:cxn ang="0">
                <a:pos x="csX659" y="csY659"/>
              </a:cxn>
              <a:cxn ang="0">
                <a:pos x="csX660" y="csY660"/>
              </a:cxn>
              <a:cxn ang="0">
                <a:pos x="csX661" y="csY661"/>
              </a:cxn>
              <a:cxn ang="0">
                <a:pos x="csX662" y="csY662"/>
              </a:cxn>
              <a:cxn ang="0">
                <a:pos x="csX663" y="csY663"/>
              </a:cxn>
              <a:cxn ang="0">
                <a:pos x="csX664" y="csY664"/>
              </a:cxn>
              <a:cxn ang="0">
                <a:pos x="csX665" y="csY665"/>
              </a:cxn>
              <a:cxn ang="0">
                <a:pos x="csX666" y="csY666"/>
              </a:cxn>
              <a:cxn ang="0">
                <a:pos x="csX667" y="csY667"/>
              </a:cxn>
              <a:cxn ang="0">
                <a:pos x="csX668" y="csY668"/>
              </a:cxn>
              <a:cxn ang="0">
                <a:pos x="csX669" y="csY669"/>
              </a:cxn>
              <a:cxn ang="0">
                <a:pos x="csX670" y="csY670"/>
              </a:cxn>
              <a:cxn ang="0">
                <a:pos x="csX671" y="csY671"/>
              </a:cxn>
              <a:cxn ang="0">
                <a:pos x="csX672" y="csY672"/>
              </a:cxn>
              <a:cxn ang="0">
                <a:pos x="csX673" y="csY673"/>
              </a:cxn>
              <a:cxn ang="0">
                <a:pos x="csX674" y="csY674"/>
              </a:cxn>
              <a:cxn ang="0">
                <a:pos x="csX675" y="csY675"/>
              </a:cxn>
              <a:cxn ang="0">
                <a:pos x="csX676" y="csY676"/>
              </a:cxn>
              <a:cxn ang="0">
                <a:pos x="csX677" y="csY677"/>
              </a:cxn>
              <a:cxn ang="0">
                <a:pos x="csX678" y="csY678"/>
              </a:cxn>
              <a:cxn ang="0">
                <a:pos x="csX679" y="csY679"/>
              </a:cxn>
              <a:cxn ang="0">
                <a:pos x="csX680" y="csY680"/>
              </a:cxn>
              <a:cxn ang="0">
                <a:pos x="csX681" y="csY681"/>
              </a:cxn>
              <a:cxn ang="0">
                <a:pos x="csX682" y="csY682"/>
              </a:cxn>
              <a:cxn ang="0">
                <a:pos x="csX683" y="csY683"/>
              </a:cxn>
              <a:cxn ang="0">
                <a:pos x="csX684" y="csY684"/>
              </a:cxn>
              <a:cxn ang="0">
                <a:pos x="csX685" y="csY685"/>
              </a:cxn>
              <a:cxn ang="0">
                <a:pos x="csX686" y="csY686"/>
              </a:cxn>
              <a:cxn ang="0">
                <a:pos x="csX687" y="csY687"/>
              </a:cxn>
              <a:cxn ang="0">
                <a:pos x="csX688" y="csY688"/>
              </a:cxn>
              <a:cxn ang="0">
                <a:pos x="csX689" y="csY689"/>
              </a:cxn>
              <a:cxn ang="0">
                <a:pos x="csX690" y="csY690"/>
              </a:cxn>
              <a:cxn ang="0">
                <a:pos x="csX691" y="csY691"/>
              </a:cxn>
              <a:cxn ang="0">
                <a:pos x="csX692" y="csY692"/>
              </a:cxn>
              <a:cxn ang="0">
                <a:pos x="csX693" y="csY693"/>
              </a:cxn>
              <a:cxn ang="0">
                <a:pos x="csX694" y="csY694"/>
              </a:cxn>
              <a:cxn ang="0">
                <a:pos x="csX695" y="csY695"/>
              </a:cxn>
              <a:cxn ang="0">
                <a:pos x="csX696" y="csY696"/>
              </a:cxn>
              <a:cxn ang="0">
                <a:pos x="csX697" y="csY697"/>
              </a:cxn>
              <a:cxn ang="0">
                <a:pos x="csX698" y="csY698"/>
              </a:cxn>
              <a:cxn ang="0">
                <a:pos x="csX699" y="csY699"/>
              </a:cxn>
              <a:cxn ang="0">
                <a:pos x="csX700" y="csY700"/>
              </a:cxn>
              <a:cxn ang="0">
                <a:pos x="csX701" y="csY701"/>
              </a:cxn>
              <a:cxn ang="0">
                <a:pos x="csX702" y="csY702"/>
              </a:cxn>
              <a:cxn ang="0">
                <a:pos x="csX703" y="csY703"/>
              </a:cxn>
              <a:cxn ang="0">
                <a:pos x="csX704" y="csY704"/>
              </a:cxn>
              <a:cxn ang="0">
                <a:pos x="csX705" y="csY705"/>
              </a:cxn>
              <a:cxn ang="0">
                <a:pos x="csX706" y="csY706"/>
              </a:cxn>
              <a:cxn ang="0">
                <a:pos x="csX707" y="csY707"/>
              </a:cxn>
              <a:cxn ang="0">
                <a:pos x="csX708" y="csY708"/>
              </a:cxn>
              <a:cxn ang="0">
                <a:pos x="csX709" y="csY709"/>
              </a:cxn>
              <a:cxn ang="0">
                <a:pos x="csX710" y="csY710"/>
              </a:cxn>
              <a:cxn ang="0">
                <a:pos x="csX711" y="csY711"/>
              </a:cxn>
              <a:cxn ang="0">
                <a:pos x="csX712" y="csY712"/>
              </a:cxn>
              <a:cxn ang="0">
                <a:pos x="csX713" y="csY713"/>
              </a:cxn>
              <a:cxn ang="0">
                <a:pos x="csX714" y="csY714"/>
              </a:cxn>
              <a:cxn ang="0">
                <a:pos x="csX715" y="csY715"/>
              </a:cxn>
              <a:cxn ang="0">
                <a:pos x="csX716" y="csY716"/>
              </a:cxn>
              <a:cxn ang="0">
                <a:pos x="csX717" y="csY717"/>
              </a:cxn>
              <a:cxn ang="0">
                <a:pos x="csX718" y="csY718"/>
              </a:cxn>
              <a:cxn ang="0">
                <a:pos x="csX719" y="csY719"/>
              </a:cxn>
              <a:cxn ang="0">
                <a:pos x="csX720" y="csY720"/>
              </a:cxn>
              <a:cxn ang="0">
                <a:pos x="csX721" y="csY721"/>
              </a:cxn>
              <a:cxn ang="0">
                <a:pos x="csX722" y="csY722"/>
              </a:cxn>
              <a:cxn ang="0">
                <a:pos x="csX723" y="csY723"/>
              </a:cxn>
              <a:cxn ang="0">
                <a:pos x="csX724" y="csY724"/>
              </a:cxn>
              <a:cxn ang="0">
                <a:pos x="csX725" y="csY725"/>
              </a:cxn>
              <a:cxn ang="0">
                <a:pos x="csX726" y="csY726"/>
              </a:cxn>
              <a:cxn ang="0">
                <a:pos x="csX727" y="csY727"/>
              </a:cxn>
              <a:cxn ang="0">
                <a:pos x="csX728" y="csY728"/>
              </a:cxn>
              <a:cxn ang="0">
                <a:pos x="csX729" y="csY729"/>
              </a:cxn>
              <a:cxn ang="0">
                <a:pos x="csX730" y="csY730"/>
              </a:cxn>
              <a:cxn ang="0">
                <a:pos x="csX731" y="csY731"/>
              </a:cxn>
              <a:cxn ang="0">
                <a:pos x="csX732" y="csY732"/>
              </a:cxn>
              <a:cxn ang="0">
                <a:pos x="csX733" y="csY733"/>
              </a:cxn>
              <a:cxn ang="0">
                <a:pos x="csX734" y="csY734"/>
              </a:cxn>
              <a:cxn ang="0">
                <a:pos x="csX735" y="csY735"/>
              </a:cxn>
              <a:cxn ang="0">
                <a:pos x="csX736" y="csY736"/>
              </a:cxn>
              <a:cxn ang="0">
                <a:pos x="csX737" y="csY737"/>
              </a:cxn>
              <a:cxn ang="0">
                <a:pos x="csX738" y="csY738"/>
              </a:cxn>
              <a:cxn ang="0">
                <a:pos x="csX739" y="csY739"/>
              </a:cxn>
              <a:cxn ang="0">
                <a:pos x="csX740" y="csY740"/>
              </a:cxn>
              <a:cxn ang="0">
                <a:pos x="csX741" y="csY741"/>
              </a:cxn>
              <a:cxn ang="0">
                <a:pos x="csX742" y="csY742"/>
              </a:cxn>
              <a:cxn ang="0">
                <a:pos x="csX743" y="csY743"/>
              </a:cxn>
              <a:cxn ang="0">
                <a:pos x="csX744" y="csY744"/>
              </a:cxn>
              <a:cxn ang="0">
                <a:pos x="csX745" y="csY745"/>
              </a:cxn>
              <a:cxn ang="0">
                <a:pos x="csX746" y="csY746"/>
              </a:cxn>
              <a:cxn ang="0">
                <a:pos x="csX747" y="csY747"/>
              </a:cxn>
              <a:cxn ang="0">
                <a:pos x="csX748" y="csY748"/>
              </a:cxn>
              <a:cxn ang="0">
                <a:pos x="csX749" y="csY749"/>
              </a:cxn>
              <a:cxn ang="0">
                <a:pos x="csX750" y="csY750"/>
              </a:cxn>
              <a:cxn ang="0">
                <a:pos x="csX751" y="csY751"/>
              </a:cxn>
              <a:cxn ang="0">
                <a:pos x="csX752" y="csY752"/>
              </a:cxn>
              <a:cxn ang="0">
                <a:pos x="csX753" y="csY753"/>
              </a:cxn>
              <a:cxn ang="0">
                <a:pos x="csX754" y="csY754"/>
              </a:cxn>
              <a:cxn ang="0">
                <a:pos x="csX755" y="csY755"/>
              </a:cxn>
              <a:cxn ang="0">
                <a:pos x="csX756" y="csY756"/>
              </a:cxn>
              <a:cxn ang="0">
                <a:pos x="csX757" y="csY757"/>
              </a:cxn>
              <a:cxn ang="0">
                <a:pos x="csX758" y="csY758"/>
              </a:cxn>
              <a:cxn ang="0">
                <a:pos x="csX759" y="csY759"/>
              </a:cxn>
              <a:cxn ang="0">
                <a:pos x="csX760" y="csY760"/>
              </a:cxn>
              <a:cxn ang="0">
                <a:pos x="csX761" y="csY761"/>
              </a:cxn>
              <a:cxn ang="0">
                <a:pos x="csX762" y="csY762"/>
              </a:cxn>
              <a:cxn ang="0">
                <a:pos x="csX763" y="csY763"/>
              </a:cxn>
              <a:cxn ang="0">
                <a:pos x="csX764" y="csY764"/>
              </a:cxn>
              <a:cxn ang="0">
                <a:pos x="csX765" y="csY765"/>
              </a:cxn>
              <a:cxn ang="0">
                <a:pos x="csX766" y="csY766"/>
              </a:cxn>
              <a:cxn ang="0">
                <a:pos x="csX767" y="csY767"/>
              </a:cxn>
              <a:cxn ang="0">
                <a:pos x="csX768" y="csY768"/>
              </a:cxn>
              <a:cxn ang="0">
                <a:pos x="csX769" y="csY769"/>
              </a:cxn>
              <a:cxn ang="0">
                <a:pos x="csX770" y="csY770"/>
              </a:cxn>
              <a:cxn ang="0">
                <a:pos x="csX771" y="csY771"/>
              </a:cxn>
              <a:cxn ang="0">
                <a:pos x="csX772" y="csY772"/>
              </a:cxn>
              <a:cxn ang="0">
                <a:pos x="csX773" y="csY773"/>
              </a:cxn>
              <a:cxn ang="0">
                <a:pos x="csX774" y="csY774"/>
              </a:cxn>
              <a:cxn ang="0">
                <a:pos x="csX775" y="csY775"/>
              </a:cxn>
              <a:cxn ang="0">
                <a:pos x="csX776" y="csY776"/>
              </a:cxn>
              <a:cxn ang="0">
                <a:pos x="csX777" y="csY777"/>
              </a:cxn>
              <a:cxn ang="0">
                <a:pos x="csX778" y="csY778"/>
              </a:cxn>
              <a:cxn ang="0">
                <a:pos x="csX779" y="csY779"/>
              </a:cxn>
              <a:cxn ang="0">
                <a:pos x="csX780" y="csY780"/>
              </a:cxn>
              <a:cxn ang="0">
                <a:pos x="csX781" y="csY781"/>
              </a:cxn>
              <a:cxn ang="0">
                <a:pos x="csX782" y="csY782"/>
              </a:cxn>
              <a:cxn ang="0">
                <a:pos x="csX783" y="csY783"/>
              </a:cxn>
              <a:cxn ang="0">
                <a:pos x="csX784" y="csY784"/>
              </a:cxn>
              <a:cxn ang="0">
                <a:pos x="csX785" y="csY785"/>
              </a:cxn>
              <a:cxn ang="0">
                <a:pos x="csX786" y="csY786"/>
              </a:cxn>
              <a:cxn ang="0">
                <a:pos x="csX787" y="csY787"/>
              </a:cxn>
              <a:cxn ang="0">
                <a:pos x="csX788" y="csY788"/>
              </a:cxn>
              <a:cxn ang="0">
                <a:pos x="csX789" y="csY789"/>
              </a:cxn>
              <a:cxn ang="0">
                <a:pos x="csX790" y="csY790"/>
              </a:cxn>
              <a:cxn ang="0">
                <a:pos x="csX791" y="csY791"/>
              </a:cxn>
              <a:cxn ang="0">
                <a:pos x="csX792" y="csY792"/>
              </a:cxn>
              <a:cxn ang="0">
                <a:pos x="csX793" y="csY793"/>
              </a:cxn>
              <a:cxn ang="0">
                <a:pos x="csX794" y="csY794"/>
              </a:cxn>
              <a:cxn ang="0">
                <a:pos x="csX795" y="csY795"/>
              </a:cxn>
              <a:cxn ang="0">
                <a:pos x="csX796" y="csY796"/>
              </a:cxn>
              <a:cxn ang="0">
                <a:pos x="csX797" y="csY797"/>
              </a:cxn>
              <a:cxn ang="0">
                <a:pos x="csX798" y="csY798"/>
              </a:cxn>
              <a:cxn ang="0">
                <a:pos x="csX799" y="csY799"/>
              </a:cxn>
              <a:cxn ang="0">
                <a:pos x="csX800" y="csY800"/>
              </a:cxn>
              <a:cxn ang="0">
                <a:pos x="csX801" y="csY801"/>
              </a:cxn>
              <a:cxn ang="0">
                <a:pos x="csX802" y="csY802"/>
              </a:cxn>
              <a:cxn ang="0">
                <a:pos x="csX803" y="csY803"/>
              </a:cxn>
              <a:cxn ang="0">
                <a:pos x="csX804" y="csY804"/>
              </a:cxn>
              <a:cxn ang="0">
                <a:pos x="csX805" y="csY805"/>
              </a:cxn>
              <a:cxn ang="0">
                <a:pos x="csX806" y="csY806"/>
              </a:cxn>
              <a:cxn ang="0">
                <a:pos x="csX807" y="csY807"/>
              </a:cxn>
              <a:cxn ang="0">
                <a:pos x="csX808" y="csY808"/>
              </a:cxn>
              <a:cxn ang="0">
                <a:pos x="csX809" y="csY809"/>
              </a:cxn>
              <a:cxn ang="0">
                <a:pos x="csX810" y="csY810"/>
              </a:cxn>
              <a:cxn ang="0">
                <a:pos x="csX811" y="csY811"/>
              </a:cxn>
              <a:cxn ang="0">
                <a:pos x="csX812" y="csY812"/>
              </a:cxn>
              <a:cxn ang="0">
                <a:pos x="csX813" y="csY813"/>
              </a:cxn>
              <a:cxn ang="0">
                <a:pos x="csX814" y="csY814"/>
              </a:cxn>
              <a:cxn ang="0">
                <a:pos x="csX815" y="csY815"/>
              </a:cxn>
              <a:cxn ang="0">
                <a:pos x="csX816" y="csY816"/>
              </a:cxn>
              <a:cxn ang="0">
                <a:pos x="csX817" y="csY817"/>
              </a:cxn>
              <a:cxn ang="0">
                <a:pos x="csX818" y="csY818"/>
              </a:cxn>
              <a:cxn ang="0">
                <a:pos x="csX819" y="csY819"/>
              </a:cxn>
              <a:cxn ang="0">
                <a:pos x="csX820" y="csY820"/>
              </a:cxn>
              <a:cxn ang="0">
                <a:pos x="csX821" y="csY821"/>
              </a:cxn>
              <a:cxn ang="0">
                <a:pos x="csX822" y="csY822"/>
              </a:cxn>
              <a:cxn ang="0">
                <a:pos x="csX823" y="csY823"/>
              </a:cxn>
              <a:cxn ang="0">
                <a:pos x="csX824" y="csY824"/>
              </a:cxn>
              <a:cxn ang="0">
                <a:pos x="csX825" y="csY825"/>
              </a:cxn>
              <a:cxn ang="0">
                <a:pos x="csX826" y="csY826"/>
              </a:cxn>
              <a:cxn ang="0">
                <a:pos x="csX827" y="csY827"/>
              </a:cxn>
              <a:cxn ang="0">
                <a:pos x="csX828" y="csY828"/>
              </a:cxn>
              <a:cxn ang="0">
                <a:pos x="csX829" y="csY829"/>
              </a:cxn>
              <a:cxn ang="0">
                <a:pos x="csX830" y="csY830"/>
              </a:cxn>
              <a:cxn ang="0">
                <a:pos x="csX831" y="csY831"/>
              </a:cxn>
              <a:cxn ang="0">
                <a:pos x="csX832" y="csY832"/>
              </a:cxn>
              <a:cxn ang="0">
                <a:pos x="csX833" y="csY833"/>
              </a:cxn>
              <a:cxn ang="0">
                <a:pos x="csX834" y="csY834"/>
              </a:cxn>
              <a:cxn ang="0">
                <a:pos x="csX835" y="csY835"/>
              </a:cxn>
              <a:cxn ang="0">
                <a:pos x="csX836" y="csY836"/>
              </a:cxn>
              <a:cxn ang="0">
                <a:pos x="csX837" y="csY837"/>
              </a:cxn>
              <a:cxn ang="0">
                <a:pos x="csX838" y="csY838"/>
              </a:cxn>
              <a:cxn ang="0">
                <a:pos x="csX839" y="csY839"/>
              </a:cxn>
              <a:cxn ang="0">
                <a:pos x="csX840" y="csY840"/>
              </a:cxn>
              <a:cxn ang="0">
                <a:pos x="csX841" y="csY841"/>
              </a:cxn>
              <a:cxn ang="0">
                <a:pos x="csX842" y="csY842"/>
              </a:cxn>
              <a:cxn ang="0">
                <a:pos x="csX843" y="csY843"/>
              </a:cxn>
              <a:cxn ang="0">
                <a:pos x="csX844" y="csY844"/>
              </a:cxn>
              <a:cxn ang="0">
                <a:pos x="csX845" y="csY845"/>
              </a:cxn>
              <a:cxn ang="0">
                <a:pos x="csX846" y="csY846"/>
              </a:cxn>
              <a:cxn ang="0">
                <a:pos x="csX847" y="csY847"/>
              </a:cxn>
              <a:cxn ang="0">
                <a:pos x="csX848" y="csY848"/>
              </a:cxn>
              <a:cxn ang="0">
                <a:pos x="csX849" y="csY849"/>
              </a:cxn>
              <a:cxn ang="0">
                <a:pos x="csX850" y="csY850"/>
              </a:cxn>
              <a:cxn ang="0">
                <a:pos x="csX851" y="csY851"/>
              </a:cxn>
              <a:cxn ang="0">
                <a:pos x="csX852" y="csY852"/>
              </a:cxn>
              <a:cxn ang="0">
                <a:pos x="csX853" y="csY853"/>
              </a:cxn>
              <a:cxn ang="0">
                <a:pos x="csX854" y="csY854"/>
              </a:cxn>
              <a:cxn ang="0">
                <a:pos x="csX855" y="csY855"/>
              </a:cxn>
              <a:cxn ang="0">
                <a:pos x="csX856" y="csY856"/>
              </a:cxn>
              <a:cxn ang="0">
                <a:pos x="csX857" y="csY857"/>
              </a:cxn>
              <a:cxn ang="0">
                <a:pos x="csX858" y="csY858"/>
              </a:cxn>
              <a:cxn ang="0">
                <a:pos x="csX859" y="csY859"/>
              </a:cxn>
              <a:cxn ang="0">
                <a:pos x="csX860" y="csY860"/>
              </a:cxn>
              <a:cxn ang="0">
                <a:pos x="csX861" y="csY861"/>
              </a:cxn>
              <a:cxn ang="0">
                <a:pos x="csX862" y="csY862"/>
              </a:cxn>
              <a:cxn ang="0">
                <a:pos x="csX863" y="csY863"/>
              </a:cxn>
              <a:cxn ang="0">
                <a:pos x="csX864" y="csY864"/>
              </a:cxn>
              <a:cxn ang="0">
                <a:pos x="csX865" y="csY865"/>
              </a:cxn>
              <a:cxn ang="0">
                <a:pos x="csX866" y="csY866"/>
              </a:cxn>
              <a:cxn ang="0">
                <a:pos x="csX867" y="csY867"/>
              </a:cxn>
              <a:cxn ang="0">
                <a:pos x="csX868" y="csY868"/>
              </a:cxn>
              <a:cxn ang="0">
                <a:pos x="csX869" y="csY869"/>
              </a:cxn>
              <a:cxn ang="0">
                <a:pos x="csX870" y="csY870"/>
              </a:cxn>
              <a:cxn ang="0">
                <a:pos x="csX871" y="csY871"/>
              </a:cxn>
              <a:cxn ang="0">
                <a:pos x="csX872" y="csY872"/>
              </a:cxn>
              <a:cxn ang="0">
                <a:pos x="csX873" y="csY873"/>
              </a:cxn>
              <a:cxn ang="0">
                <a:pos x="csX874" y="csY874"/>
              </a:cxn>
              <a:cxn ang="0">
                <a:pos x="csX875" y="csY875"/>
              </a:cxn>
              <a:cxn ang="0">
                <a:pos x="csX876" y="csY876"/>
              </a:cxn>
              <a:cxn ang="0">
                <a:pos x="csX877" y="csY877"/>
              </a:cxn>
              <a:cxn ang="0">
                <a:pos x="csX878" y="csY878"/>
              </a:cxn>
              <a:cxn ang="0">
                <a:pos x="csX879" y="csY879"/>
              </a:cxn>
              <a:cxn ang="0">
                <a:pos x="csX880" y="csY880"/>
              </a:cxn>
              <a:cxn ang="0">
                <a:pos x="csX881" y="csY881"/>
              </a:cxn>
              <a:cxn ang="0">
                <a:pos x="csX882" y="csY882"/>
              </a:cxn>
              <a:cxn ang="0">
                <a:pos x="csX883" y="csY883"/>
              </a:cxn>
              <a:cxn ang="0">
                <a:pos x="csX884" y="csY884"/>
              </a:cxn>
              <a:cxn ang="0">
                <a:pos x="csX885" y="csY885"/>
              </a:cxn>
              <a:cxn ang="0">
                <a:pos x="csX886" y="csY886"/>
              </a:cxn>
              <a:cxn ang="0">
                <a:pos x="csX887" y="csY887"/>
              </a:cxn>
              <a:cxn ang="0">
                <a:pos x="csX888" y="csY888"/>
              </a:cxn>
              <a:cxn ang="0">
                <a:pos x="csX889" y="csY889"/>
              </a:cxn>
              <a:cxn ang="0">
                <a:pos x="csX890" y="csY890"/>
              </a:cxn>
              <a:cxn ang="0">
                <a:pos x="csX891" y="csY891"/>
              </a:cxn>
              <a:cxn ang="0">
                <a:pos x="csX892" y="csY892"/>
              </a:cxn>
              <a:cxn ang="0">
                <a:pos x="csX893" y="csY893"/>
              </a:cxn>
              <a:cxn ang="0">
                <a:pos x="csX894" y="csY894"/>
              </a:cxn>
              <a:cxn ang="0">
                <a:pos x="csX895" y="csY895"/>
              </a:cxn>
              <a:cxn ang="0">
                <a:pos x="csX896" y="csY896"/>
              </a:cxn>
              <a:cxn ang="0">
                <a:pos x="csX897" y="csY897"/>
              </a:cxn>
              <a:cxn ang="0">
                <a:pos x="csX898" y="csY898"/>
              </a:cxn>
              <a:cxn ang="0">
                <a:pos x="csX899" y="csY899"/>
              </a:cxn>
              <a:cxn ang="0">
                <a:pos x="csX900" y="csY900"/>
              </a:cxn>
              <a:cxn ang="0">
                <a:pos x="csX901" y="csY901"/>
              </a:cxn>
              <a:cxn ang="0">
                <a:pos x="csX902" y="csY902"/>
              </a:cxn>
              <a:cxn ang="0">
                <a:pos x="csX903" y="csY903"/>
              </a:cxn>
              <a:cxn ang="0">
                <a:pos x="csX904" y="csY904"/>
              </a:cxn>
              <a:cxn ang="0">
                <a:pos x="csX905" y="csY905"/>
              </a:cxn>
              <a:cxn ang="0">
                <a:pos x="csX906" y="csY906"/>
              </a:cxn>
              <a:cxn ang="0">
                <a:pos x="csX907" y="csY907"/>
              </a:cxn>
              <a:cxn ang="0">
                <a:pos x="csX908" y="csY908"/>
              </a:cxn>
              <a:cxn ang="0">
                <a:pos x="csX909" y="csY909"/>
              </a:cxn>
              <a:cxn ang="0">
                <a:pos x="csX910" y="csY910"/>
              </a:cxn>
              <a:cxn ang="0">
                <a:pos x="csX911" y="csY911"/>
              </a:cxn>
              <a:cxn ang="0">
                <a:pos x="csX912" y="csY912"/>
              </a:cxn>
              <a:cxn ang="0">
                <a:pos x="csX913" y="csY913"/>
              </a:cxn>
              <a:cxn ang="0">
                <a:pos x="csX914" y="csY914"/>
              </a:cxn>
              <a:cxn ang="0">
                <a:pos x="csX915" y="csY915"/>
              </a:cxn>
              <a:cxn ang="0">
                <a:pos x="csX916" y="csY916"/>
              </a:cxn>
              <a:cxn ang="0">
                <a:pos x="csX917" y="csY917"/>
              </a:cxn>
              <a:cxn ang="0">
                <a:pos x="csX918" y="csY918"/>
              </a:cxn>
              <a:cxn ang="0">
                <a:pos x="csX919" y="csY919"/>
              </a:cxn>
              <a:cxn ang="0">
                <a:pos x="csX920" y="csY920"/>
              </a:cxn>
              <a:cxn ang="0">
                <a:pos x="csX921" y="csY921"/>
              </a:cxn>
              <a:cxn ang="0">
                <a:pos x="csX922" y="csY922"/>
              </a:cxn>
              <a:cxn ang="0">
                <a:pos x="csX923" y="csY923"/>
              </a:cxn>
              <a:cxn ang="0">
                <a:pos x="csX924" y="csY924"/>
              </a:cxn>
              <a:cxn ang="0">
                <a:pos x="csX925" y="csY925"/>
              </a:cxn>
              <a:cxn ang="0">
                <a:pos x="csX926" y="csY926"/>
              </a:cxn>
              <a:cxn ang="0">
                <a:pos x="csX927" y="csY927"/>
              </a:cxn>
              <a:cxn ang="0">
                <a:pos x="csX928" y="csY928"/>
              </a:cxn>
              <a:cxn ang="0">
                <a:pos x="csX929" y="csY929"/>
              </a:cxn>
              <a:cxn ang="0">
                <a:pos x="csX930" y="csY930"/>
              </a:cxn>
              <a:cxn ang="0">
                <a:pos x="csX931" y="csY931"/>
              </a:cxn>
              <a:cxn ang="0">
                <a:pos x="csX932" y="csY932"/>
              </a:cxn>
              <a:cxn ang="0">
                <a:pos x="csX933" y="csY933"/>
              </a:cxn>
              <a:cxn ang="0">
                <a:pos x="csX934" y="csY934"/>
              </a:cxn>
              <a:cxn ang="0">
                <a:pos x="csX935" y="csY935"/>
              </a:cxn>
              <a:cxn ang="0">
                <a:pos x="csX936" y="csY936"/>
              </a:cxn>
              <a:cxn ang="0">
                <a:pos x="csX937" y="csY937"/>
              </a:cxn>
              <a:cxn ang="0">
                <a:pos x="csX938" y="csY938"/>
              </a:cxn>
              <a:cxn ang="0">
                <a:pos x="csX939" y="csY939"/>
              </a:cxn>
              <a:cxn ang="0">
                <a:pos x="csX940" y="csY940"/>
              </a:cxn>
              <a:cxn ang="0">
                <a:pos x="csX941" y="csY941"/>
              </a:cxn>
              <a:cxn ang="0">
                <a:pos x="csX942" y="csY942"/>
              </a:cxn>
              <a:cxn ang="0">
                <a:pos x="csX943" y="csY943"/>
              </a:cxn>
              <a:cxn ang="0">
                <a:pos x="csX944" y="csY944"/>
              </a:cxn>
              <a:cxn ang="0">
                <a:pos x="csX945" y="csY945"/>
              </a:cxn>
              <a:cxn ang="0">
                <a:pos x="csX946" y="csY946"/>
              </a:cxn>
              <a:cxn ang="0">
                <a:pos x="csX947" y="csY947"/>
              </a:cxn>
              <a:cxn ang="0">
                <a:pos x="csX948" y="csY948"/>
              </a:cxn>
              <a:cxn ang="0">
                <a:pos x="csX949" y="csY949"/>
              </a:cxn>
              <a:cxn ang="0">
                <a:pos x="csX950" y="csY950"/>
              </a:cxn>
              <a:cxn ang="0">
                <a:pos x="csX951" y="csY951"/>
              </a:cxn>
              <a:cxn ang="0">
                <a:pos x="csX952" y="csY952"/>
              </a:cxn>
              <a:cxn ang="0">
                <a:pos x="csX953" y="csY953"/>
              </a:cxn>
              <a:cxn ang="0">
                <a:pos x="csX954" y="csY954"/>
              </a:cxn>
              <a:cxn ang="0">
                <a:pos x="csX955" y="csY955"/>
              </a:cxn>
              <a:cxn ang="0">
                <a:pos x="csX956" y="csY956"/>
              </a:cxn>
              <a:cxn ang="0">
                <a:pos x="csX957" y="csY957"/>
              </a:cxn>
              <a:cxn ang="0">
                <a:pos x="csX958" y="csY958"/>
              </a:cxn>
              <a:cxn ang="0">
                <a:pos x="csX959" y="csY959"/>
              </a:cxn>
              <a:cxn ang="0">
                <a:pos x="csX960" y="csY960"/>
              </a:cxn>
              <a:cxn ang="0">
                <a:pos x="csX961" y="csY961"/>
              </a:cxn>
              <a:cxn ang="0">
                <a:pos x="csX962" y="csY962"/>
              </a:cxn>
              <a:cxn ang="0">
                <a:pos x="csX963" y="csY963"/>
              </a:cxn>
              <a:cxn ang="0">
                <a:pos x="csX964" y="csY964"/>
              </a:cxn>
              <a:cxn ang="0">
                <a:pos x="csX965" y="csY965"/>
              </a:cxn>
              <a:cxn ang="0">
                <a:pos x="csX966" y="csY966"/>
              </a:cxn>
              <a:cxn ang="0">
                <a:pos x="csX967" y="csY967"/>
              </a:cxn>
              <a:cxn ang="0">
                <a:pos x="csX968" y="csY968"/>
              </a:cxn>
              <a:cxn ang="0">
                <a:pos x="csX969" y="csY969"/>
              </a:cxn>
              <a:cxn ang="0">
                <a:pos x="csX970" y="csY970"/>
              </a:cxn>
              <a:cxn ang="0">
                <a:pos x="csX971" y="csY971"/>
              </a:cxn>
              <a:cxn ang="0">
                <a:pos x="csX972" y="csY972"/>
              </a:cxn>
              <a:cxn ang="0">
                <a:pos x="csX973" y="csY973"/>
              </a:cxn>
              <a:cxn ang="0">
                <a:pos x="csX974" y="csY974"/>
              </a:cxn>
              <a:cxn ang="0">
                <a:pos x="csX975" y="csY975"/>
              </a:cxn>
              <a:cxn ang="0">
                <a:pos x="csX976" y="csY976"/>
              </a:cxn>
              <a:cxn ang="0">
                <a:pos x="csX977" y="csY977"/>
              </a:cxn>
              <a:cxn ang="0">
                <a:pos x="csX978" y="csY978"/>
              </a:cxn>
              <a:cxn ang="0">
                <a:pos x="csX979" y="csY979"/>
              </a:cxn>
              <a:cxn ang="0">
                <a:pos x="csX980" y="csY980"/>
              </a:cxn>
              <a:cxn ang="0">
                <a:pos x="csX981" y="csY981"/>
              </a:cxn>
              <a:cxn ang="0">
                <a:pos x="csX982" y="csY982"/>
              </a:cxn>
              <a:cxn ang="0">
                <a:pos x="csX983" y="csY983"/>
              </a:cxn>
              <a:cxn ang="0">
                <a:pos x="csX984" y="csY984"/>
              </a:cxn>
              <a:cxn ang="0">
                <a:pos x="csX985" y="csY985"/>
              </a:cxn>
              <a:cxn ang="0">
                <a:pos x="csX986" y="csY986"/>
              </a:cxn>
              <a:cxn ang="0">
                <a:pos x="csX987" y="csY987"/>
              </a:cxn>
              <a:cxn ang="0">
                <a:pos x="csX988" y="csY988"/>
              </a:cxn>
              <a:cxn ang="0">
                <a:pos x="csX989" y="csY989"/>
              </a:cxn>
              <a:cxn ang="0">
                <a:pos x="csX990" y="csY990"/>
              </a:cxn>
              <a:cxn ang="0">
                <a:pos x="csX991" y="csY991"/>
              </a:cxn>
              <a:cxn ang="0">
                <a:pos x="csX992" y="csY992"/>
              </a:cxn>
              <a:cxn ang="0">
                <a:pos x="csX993" y="csY993"/>
              </a:cxn>
              <a:cxn ang="0">
                <a:pos x="csX994" y="csY994"/>
              </a:cxn>
              <a:cxn ang="0">
                <a:pos x="csX995" y="csY995"/>
              </a:cxn>
              <a:cxn ang="0">
                <a:pos x="csX996" y="csY996"/>
              </a:cxn>
              <a:cxn ang="0">
                <a:pos x="csX997" y="csY997"/>
              </a:cxn>
              <a:cxn ang="0">
                <a:pos x="csX998" y="csY998"/>
              </a:cxn>
              <a:cxn ang="0">
                <a:pos x="csX999" y="csY999"/>
              </a:cxn>
              <a:cxn ang="0">
                <a:pos x="csX1000" y="csY1000"/>
              </a:cxn>
              <a:cxn ang="0">
                <a:pos x="csX1001" y="csY1001"/>
              </a:cxn>
              <a:cxn ang="0">
                <a:pos x="csX1002" y="csY1002"/>
              </a:cxn>
              <a:cxn ang="0">
                <a:pos x="csX1003" y="csY1003"/>
              </a:cxn>
              <a:cxn ang="0">
                <a:pos x="csX1004" y="csY1004"/>
              </a:cxn>
              <a:cxn ang="0">
                <a:pos x="csX1005" y="csY1005"/>
              </a:cxn>
              <a:cxn ang="0">
                <a:pos x="csX1006" y="csY1006"/>
              </a:cxn>
              <a:cxn ang="0">
                <a:pos x="csX1007" y="csY1007"/>
              </a:cxn>
              <a:cxn ang="0">
                <a:pos x="csX1008" y="csY1008"/>
              </a:cxn>
              <a:cxn ang="0">
                <a:pos x="csX1009" y="csY1009"/>
              </a:cxn>
              <a:cxn ang="0">
                <a:pos x="csX1010" y="csY1010"/>
              </a:cxn>
              <a:cxn ang="0">
                <a:pos x="csX1011" y="csY1011"/>
              </a:cxn>
              <a:cxn ang="0">
                <a:pos x="csX1012" y="csY1012"/>
              </a:cxn>
              <a:cxn ang="0">
                <a:pos x="csX1013" y="csY1013"/>
              </a:cxn>
              <a:cxn ang="0">
                <a:pos x="csX1014" y="csY1014"/>
              </a:cxn>
              <a:cxn ang="0">
                <a:pos x="csX1015" y="csY1015"/>
              </a:cxn>
              <a:cxn ang="0">
                <a:pos x="csX1016" y="csY1016"/>
              </a:cxn>
              <a:cxn ang="0">
                <a:pos x="csX1017" y="csY1017"/>
              </a:cxn>
              <a:cxn ang="0">
                <a:pos x="csX1018" y="csY1018"/>
              </a:cxn>
              <a:cxn ang="0">
                <a:pos x="csX1019" y="csY1019"/>
              </a:cxn>
              <a:cxn ang="0">
                <a:pos x="csX1020" y="csY1020"/>
              </a:cxn>
              <a:cxn ang="0">
                <a:pos x="csX1021" y="csY1021"/>
              </a:cxn>
              <a:cxn ang="0">
                <a:pos x="csX1022" y="csY1022"/>
              </a:cxn>
              <a:cxn ang="0">
                <a:pos x="csX1023" y="csY1023"/>
              </a:cxn>
              <a:cxn ang="0">
                <a:pos x="csX1024" y="csY1024"/>
              </a:cxn>
              <a:cxn ang="0">
                <a:pos x="csX1025" y="csY1025"/>
              </a:cxn>
              <a:cxn ang="0">
                <a:pos x="csX1026" y="csY1026"/>
              </a:cxn>
              <a:cxn ang="0">
                <a:pos x="csX1027" y="csY1027"/>
              </a:cxn>
              <a:cxn ang="0">
                <a:pos x="csX1028" y="csY1028"/>
              </a:cxn>
              <a:cxn ang="0">
                <a:pos x="csX1029" y="csY1029"/>
              </a:cxn>
              <a:cxn ang="0">
                <a:pos x="csX1030" y="csY1030"/>
              </a:cxn>
              <a:cxn ang="0">
                <a:pos x="csX1031" y="csY1031"/>
              </a:cxn>
              <a:cxn ang="0">
                <a:pos x="csX1032" y="csY1032"/>
              </a:cxn>
              <a:cxn ang="0">
                <a:pos x="csX1033" y="csY1033"/>
              </a:cxn>
              <a:cxn ang="0">
                <a:pos x="csX1034" y="csY1034"/>
              </a:cxn>
              <a:cxn ang="0">
                <a:pos x="csX1035" y="csY1035"/>
              </a:cxn>
              <a:cxn ang="0">
                <a:pos x="csX1036" y="csY1036"/>
              </a:cxn>
              <a:cxn ang="0">
                <a:pos x="csX1037" y="csY1037"/>
              </a:cxn>
              <a:cxn ang="0">
                <a:pos x="csX1038" y="csY1038"/>
              </a:cxn>
              <a:cxn ang="0">
                <a:pos x="csX1039" y="csY1039"/>
              </a:cxn>
              <a:cxn ang="0">
                <a:pos x="csX1040" y="csY1040"/>
              </a:cxn>
              <a:cxn ang="0">
                <a:pos x="csX1041" y="csY1041"/>
              </a:cxn>
              <a:cxn ang="0">
                <a:pos x="csX1042" y="csY1042"/>
              </a:cxn>
              <a:cxn ang="0">
                <a:pos x="csX1043" y="csY1043"/>
              </a:cxn>
              <a:cxn ang="0">
                <a:pos x="csX1044" y="csY1044"/>
              </a:cxn>
              <a:cxn ang="0">
                <a:pos x="csX1045" y="csY1045"/>
              </a:cxn>
              <a:cxn ang="0">
                <a:pos x="csX1046" y="csY1046"/>
              </a:cxn>
              <a:cxn ang="0">
                <a:pos x="csX1047" y="csY1047"/>
              </a:cxn>
              <a:cxn ang="0">
                <a:pos x="csX1048" y="csY1048"/>
              </a:cxn>
              <a:cxn ang="0">
                <a:pos x="csX1049" y="csY1049"/>
              </a:cxn>
              <a:cxn ang="0">
                <a:pos x="csX1050" y="csY1050"/>
              </a:cxn>
              <a:cxn ang="0">
                <a:pos x="csX1051" y="csY1051"/>
              </a:cxn>
              <a:cxn ang="0">
                <a:pos x="csX1052" y="csY1052"/>
              </a:cxn>
              <a:cxn ang="0">
                <a:pos x="csX1053" y="csY1053"/>
              </a:cxn>
              <a:cxn ang="0">
                <a:pos x="csX1054" y="csY1054"/>
              </a:cxn>
            </a:cxnLst>
            <a:rect l="l" t="t" r="r" b="b"/>
            <a:pathLst>
              <a:path w="1609516" h="1538630">
                <a:moveTo>
                  <a:pt x="401579" y="1495809"/>
                </a:moveTo>
                <a:lnTo>
                  <a:pt x="400190" y="1496004"/>
                </a:lnTo>
                <a:lnTo>
                  <a:pt x="401224" y="1496470"/>
                </a:lnTo>
                <a:lnTo>
                  <a:pt x="401224" y="1498590"/>
                </a:lnTo>
                <a:lnTo>
                  <a:pt x="401579" y="1498628"/>
                </a:lnTo>
                <a:cubicBezTo>
                  <a:pt x="401579" y="1497698"/>
                  <a:pt x="401579" y="1496768"/>
                  <a:pt x="401579" y="1495809"/>
                </a:cubicBezTo>
                <a:close/>
                <a:moveTo>
                  <a:pt x="368755" y="1486512"/>
                </a:moveTo>
                <a:lnTo>
                  <a:pt x="364089" y="1487354"/>
                </a:lnTo>
                <a:lnTo>
                  <a:pt x="364089" y="1487908"/>
                </a:lnTo>
                <a:close/>
                <a:moveTo>
                  <a:pt x="1049801" y="1484562"/>
                </a:moveTo>
                <a:lnTo>
                  <a:pt x="1046735" y="1485945"/>
                </a:lnTo>
                <a:lnTo>
                  <a:pt x="1046955" y="1486045"/>
                </a:lnTo>
                <a:lnTo>
                  <a:pt x="1049801" y="1485188"/>
                </a:lnTo>
                <a:close/>
                <a:moveTo>
                  <a:pt x="351234" y="1444508"/>
                </a:moveTo>
                <a:lnTo>
                  <a:pt x="351234" y="1444997"/>
                </a:lnTo>
                <a:lnTo>
                  <a:pt x="351592" y="1445078"/>
                </a:lnTo>
                <a:close/>
                <a:moveTo>
                  <a:pt x="351908" y="1431206"/>
                </a:moveTo>
                <a:lnTo>
                  <a:pt x="351234" y="1431611"/>
                </a:lnTo>
                <a:lnTo>
                  <a:pt x="351234" y="1432274"/>
                </a:lnTo>
                <a:close/>
                <a:moveTo>
                  <a:pt x="358162" y="1421494"/>
                </a:moveTo>
                <a:lnTo>
                  <a:pt x="355921" y="1423156"/>
                </a:lnTo>
                <a:lnTo>
                  <a:pt x="355921" y="1423548"/>
                </a:lnTo>
                <a:close/>
                <a:moveTo>
                  <a:pt x="376098" y="1408347"/>
                </a:moveTo>
                <a:lnTo>
                  <a:pt x="370750" y="1412245"/>
                </a:lnTo>
                <a:lnTo>
                  <a:pt x="375023" y="1411256"/>
                </a:lnTo>
                <a:close/>
                <a:moveTo>
                  <a:pt x="421956" y="1365623"/>
                </a:moveTo>
                <a:lnTo>
                  <a:pt x="421765" y="1366161"/>
                </a:lnTo>
                <a:lnTo>
                  <a:pt x="421887" y="1366161"/>
                </a:lnTo>
                <a:close/>
                <a:moveTo>
                  <a:pt x="754553" y="1360575"/>
                </a:moveTo>
                <a:lnTo>
                  <a:pt x="754089" y="1361433"/>
                </a:lnTo>
                <a:lnTo>
                  <a:pt x="754431" y="1361125"/>
                </a:lnTo>
                <a:close/>
                <a:moveTo>
                  <a:pt x="1277973" y="1332923"/>
                </a:moveTo>
                <a:lnTo>
                  <a:pt x="1277944" y="1332936"/>
                </a:lnTo>
                <a:lnTo>
                  <a:pt x="1277949" y="1333139"/>
                </a:lnTo>
                <a:close/>
                <a:moveTo>
                  <a:pt x="1268556" y="1321066"/>
                </a:moveTo>
                <a:cubicBezTo>
                  <a:pt x="1268556" y="1322461"/>
                  <a:pt x="1268556" y="1323856"/>
                  <a:pt x="1268556" y="1325294"/>
                </a:cubicBezTo>
                <a:cubicBezTo>
                  <a:pt x="1267525" y="1325294"/>
                  <a:pt x="1266495" y="1325294"/>
                  <a:pt x="1265432" y="1325294"/>
                </a:cubicBezTo>
                <a:cubicBezTo>
                  <a:pt x="1265432" y="1330409"/>
                  <a:pt x="1265432" y="1335525"/>
                  <a:pt x="1265432" y="1340795"/>
                </a:cubicBezTo>
                <a:lnTo>
                  <a:pt x="1265476" y="1340714"/>
                </a:lnTo>
                <a:lnTo>
                  <a:pt x="1265476" y="1325877"/>
                </a:lnTo>
                <a:cubicBezTo>
                  <a:pt x="1266507" y="1325877"/>
                  <a:pt x="1267538" y="1325877"/>
                  <a:pt x="1268600" y="1325877"/>
                </a:cubicBezTo>
                <a:cubicBezTo>
                  <a:pt x="1268600" y="1324482"/>
                  <a:pt x="1268600" y="1323086"/>
                  <a:pt x="1268600" y="1321649"/>
                </a:cubicBezTo>
                <a:cubicBezTo>
                  <a:pt x="1270147" y="1321649"/>
                  <a:pt x="1271693" y="1321649"/>
                  <a:pt x="1273286" y="1321649"/>
                </a:cubicBezTo>
                <a:lnTo>
                  <a:pt x="1273227" y="1321066"/>
                </a:lnTo>
                <a:close/>
                <a:moveTo>
                  <a:pt x="827891" y="1291474"/>
                </a:moveTo>
                <a:lnTo>
                  <a:pt x="822601" y="1291544"/>
                </a:lnTo>
                <a:lnTo>
                  <a:pt x="818272" y="1292220"/>
                </a:lnTo>
                <a:lnTo>
                  <a:pt x="827891" y="1292047"/>
                </a:lnTo>
                <a:close/>
                <a:moveTo>
                  <a:pt x="856397" y="1288691"/>
                </a:moveTo>
                <a:lnTo>
                  <a:pt x="865903" y="1290590"/>
                </a:lnTo>
                <a:lnTo>
                  <a:pt x="859999" y="1288752"/>
                </a:lnTo>
                <a:close/>
                <a:moveTo>
                  <a:pt x="834694" y="1288572"/>
                </a:moveTo>
                <a:lnTo>
                  <a:pt x="828038" y="1288654"/>
                </a:lnTo>
                <a:lnTo>
                  <a:pt x="828038" y="1289214"/>
                </a:lnTo>
                <a:close/>
                <a:moveTo>
                  <a:pt x="229746" y="1191418"/>
                </a:moveTo>
                <a:lnTo>
                  <a:pt x="227402" y="1191947"/>
                </a:lnTo>
                <a:lnTo>
                  <a:pt x="229315" y="1191947"/>
                </a:lnTo>
                <a:cubicBezTo>
                  <a:pt x="229315" y="1192877"/>
                  <a:pt x="229315" y="1193807"/>
                  <a:pt x="229315" y="1194765"/>
                </a:cubicBezTo>
                <a:lnTo>
                  <a:pt x="231321" y="1194765"/>
                </a:lnTo>
                <a:lnTo>
                  <a:pt x="229746" y="1194236"/>
                </a:lnTo>
                <a:cubicBezTo>
                  <a:pt x="229746" y="1193306"/>
                  <a:pt x="229746" y="1192376"/>
                  <a:pt x="229746" y="1191418"/>
                </a:cubicBezTo>
                <a:close/>
                <a:moveTo>
                  <a:pt x="215687" y="1187190"/>
                </a:moveTo>
                <a:lnTo>
                  <a:pt x="215198" y="1187720"/>
                </a:lnTo>
                <a:lnTo>
                  <a:pt x="215256" y="1187720"/>
                </a:lnTo>
                <a:cubicBezTo>
                  <a:pt x="215256" y="1189115"/>
                  <a:pt x="215256" y="1190510"/>
                  <a:pt x="215256" y="1191947"/>
                </a:cubicBezTo>
                <a:lnTo>
                  <a:pt x="222721" y="1191947"/>
                </a:lnTo>
                <a:lnTo>
                  <a:pt x="215687" y="1191418"/>
                </a:lnTo>
                <a:cubicBezTo>
                  <a:pt x="215687" y="1190023"/>
                  <a:pt x="215687" y="1188628"/>
                  <a:pt x="215687" y="1187190"/>
                </a:cubicBezTo>
                <a:close/>
                <a:moveTo>
                  <a:pt x="1279678" y="1082356"/>
                </a:moveTo>
                <a:lnTo>
                  <a:pt x="1271680" y="1084589"/>
                </a:lnTo>
                <a:lnTo>
                  <a:pt x="1282181" y="1082544"/>
                </a:lnTo>
                <a:close/>
                <a:moveTo>
                  <a:pt x="117703" y="941507"/>
                </a:moveTo>
                <a:lnTo>
                  <a:pt x="112587" y="941985"/>
                </a:lnTo>
                <a:lnTo>
                  <a:pt x="112565" y="942333"/>
                </a:lnTo>
                <a:lnTo>
                  <a:pt x="115665" y="941837"/>
                </a:lnTo>
                <a:close/>
                <a:moveTo>
                  <a:pt x="144268" y="939395"/>
                </a:moveTo>
                <a:lnTo>
                  <a:pt x="143354" y="939580"/>
                </a:lnTo>
                <a:lnTo>
                  <a:pt x="144077" y="939739"/>
                </a:lnTo>
                <a:close/>
                <a:moveTo>
                  <a:pt x="162575" y="933530"/>
                </a:moveTo>
                <a:lnTo>
                  <a:pt x="161704" y="935101"/>
                </a:lnTo>
                <a:lnTo>
                  <a:pt x="170045" y="933585"/>
                </a:lnTo>
                <a:close/>
                <a:moveTo>
                  <a:pt x="1321645" y="918415"/>
                </a:moveTo>
                <a:lnTo>
                  <a:pt x="1321534" y="920177"/>
                </a:lnTo>
                <a:lnTo>
                  <a:pt x="1321740" y="918415"/>
                </a:lnTo>
                <a:close/>
                <a:moveTo>
                  <a:pt x="1319333" y="915183"/>
                </a:moveTo>
                <a:lnTo>
                  <a:pt x="1318544" y="918029"/>
                </a:lnTo>
                <a:lnTo>
                  <a:pt x="1318702" y="918029"/>
                </a:lnTo>
                <a:close/>
                <a:moveTo>
                  <a:pt x="1326355" y="907109"/>
                </a:moveTo>
                <a:lnTo>
                  <a:pt x="1326355" y="910983"/>
                </a:lnTo>
                <a:lnTo>
                  <a:pt x="1325831" y="911101"/>
                </a:lnTo>
                <a:lnTo>
                  <a:pt x="1326426" y="911369"/>
                </a:lnTo>
                <a:cubicBezTo>
                  <a:pt x="1326426" y="909974"/>
                  <a:pt x="1326426" y="908579"/>
                  <a:pt x="1326426" y="907141"/>
                </a:cubicBezTo>
                <a:close/>
                <a:moveTo>
                  <a:pt x="1328144" y="892192"/>
                </a:moveTo>
                <a:lnTo>
                  <a:pt x="1327667" y="893446"/>
                </a:lnTo>
                <a:lnTo>
                  <a:pt x="1327989" y="893049"/>
                </a:lnTo>
                <a:close/>
                <a:moveTo>
                  <a:pt x="49605" y="887420"/>
                </a:moveTo>
                <a:lnTo>
                  <a:pt x="48549" y="891229"/>
                </a:lnTo>
                <a:lnTo>
                  <a:pt x="49956" y="887420"/>
                </a:lnTo>
                <a:close/>
                <a:moveTo>
                  <a:pt x="1332266" y="883369"/>
                </a:moveTo>
                <a:lnTo>
                  <a:pt x="1329479" y="884207"/>
                </a:lnTo>
                <a:lnTo>
                  <a:pt x="1329509" y="884816"/>
                </a:lnTo>
                <a:lnTo>
                  <a:pt x="1329551" y="884594"/>
                </a:lnTo>
                <a:close/>
                <a:moveTo>
                  <a:pt x="1555987" y="821766"/>
                </a:moveTo>
                <a:lnTo>
                  <a:pt x="1555987" y="822201"/>
                </a:lnTo>
                <a:lnTo>
                  <a:pt x="1556081" y="822189"/>
                </a:lnTo>
                <a:close/>
                <a:moveTo>
                  <a:pt x="1565360" y="810928"/>
                </a:moveTo>
                <a:lnTo>
                  <a:pt x="1564871" y="811809"/>
                </a:lnTo>
                <a:lnTo>
                  <a:pt x="1567314" y="810928"/>
                </a:lnTo>
                <a:close/>
                <a:moveTo>
                  <a:pt x="1563797" y="810928"/>
                </a:moveTo>
                <a:lnTo>
                  <a:pt x="1556762" y="814736"/>
                </a:lnTo>
                <a:lnTo>
                  <a:pt x="1563797" y="812197"/>
                </a:lnTo>
                <a:close/>
                <a:moveTo>
                  <a:pt x="265833" y="806020"/>
                </a:moveTo>
                <a:lnTo>
                  <a:pt x="263704" y="809861"/>
                </a:lnTo>
                <a:lnTo>
                  <a:pt x="263704" y="816750"/>
                </a:lnTo>
                <a:lnTo>
                  <a:pt x="264113" y="816565"/>
                </a:lnTo>
                <a:cubicBezTo>
                  <a:pt x="264048" y="815315"/>
                  <a:pt x="263984" y="814065"/>
                  <a:pt x="263918" y="812777"/>
                </a:cubicBezTo>
                <a:close/>
                <a:moveTo>
                  <a:pt x="263774" y="779374"/>
                </a:moveTo>
                <a:lnTo>
                  <a:pt x="263704" y="783086"/>
                </a:lnTo>
                <a:cubicBezTo>
                  <a:pt x="263961" y="783987"/>
                  <a:pt x="264219" y="784888"/>
                  <a:pt x="264484" y="785816"/>
                </a:cubicBezTo>
                <a:cubicBezTo>
                  <a:pt x="265299" y="788846"/>
                  <a:pt x="265316" y="791337"/>
                  <a:pt x="265265" y="794448"/>
                </a:cubicBezTo>
                <a:cubicBezTo>
                  <a:pt x="265103" y="797155"/>
                  <a:pt x="265022" y="798508"/>
                  <a:pt x="265217" y="799730"/>
                </a:cubicBezTo>
                <a:lnTo>
                  <a:pt x="266556" y="803466"/>
                </a:lnTo>
                <a:lnTo>
                  <a:pt x="267237" y="801063"/>
                </a:lnTo>
                <a:cubicBezTo>
                  <a:pt x="266721" y="800598"/>
                  <a:pt x="266206" y="800133"/>
                  <a:pt x="265675" y="799654"/>
                </a:cubicBezTo>
                <a:cubicBezTo>
                  <a:pt x="265601" y="797718"/>
                  <a:pt x="265617" y="795778"/>
                  <a:pt x="265675" y="793841"/>
                </a:cubicBezTo>
                <a:close/>
                <a:moveTo>
                  <a:pt x="260988" y="770061"/>
                </a:moveTo>
                <a:lnTo>
                  <a:pt x="260988" y="771364"/>
                </a:lnTo>
                <a:lnTo>
                  <a:pt x="263497" y="777263"/>
                </a:lnTo>
                <a:lnTo>
                  <a:pt x="262551" y="770061"/>
                </a:lnTo>
                <a:cubicBezTo>
                  <a:pt x="262035" y="770061"/>
                  <a:pt x="261520" y="770061"/>
                  <a:pt x="260988" y="770061"/>
                </a:cubicBezTo>
                <a:close/>
                <a:moveTo>
                  <a:pt x="157888" y="651686"/>
                </a:moveTo>
                <a:lnTo>
                  <a:pt x="157415" y="651764"/>
                </a:lnTo>
                <a:lnTo>
                  <a:pt x="160373" y="652274"/>
                </a:lnTo>
                <a:close/>
                <a:moveTo>
                  <a:pt x="267237" y="426537"/>
                </a:moveTo>
                <a:lnTo>
                  <a:pt x="267237" y="427619"/>
                </a:lnTo>
                <a:cubicBezTo>
                  <a:pt x="268274" y="427791"/>
                  <a:pt x="269311" y="427961"/>
                  <a:pt x="270380" y="428137"/>
                </a:cubicBezTo>
                <a:lnTo>
                  <a:pt x="273548" y="428680"/>
                </a:lnTo>
                <a:close/>
                <a:moveTo>
                  <a:pt x="37605" y="359270"/>
                </a:moveTo>
                <a:lnTo>
                  <a:pt x="37103" y="361533"/>
                </a:lnTo>
                <a:lnTo>
                  <a:pt x="37605" y="361382"/>
                </a:lnTo>
                <a:close/>
                <a:moveTo>
                  <a:pt x="52477" y="337570"/>
                </a:moveTo>
                <a:lnTo>
                  <a:pt x="47288" y="342340"/>
                </a:lnTo>
                <a:lnTo>
                  <a:pt x="45805" y="345093"/>
                </a:lnTo>
                <a:close/>
                <a:moveTo>
                  <a:pt x="104291" y="336166"/>
                </a:moveTo>
                <a:lnTo>
                  <a:pt x="103776" y="337559"/>
                </a:lnTo>
                <a:lnTo>
                  <a:pt x="108925" y="336166"/>
                </a:lnTo>
                <a:close/>
                <a:moveTo>
                  <a:pt x="1309237" y="322954"/>
                </a:moveTo>
                <a:lnTo>
                  <a:pt x="1309180" y="330559"/>
                </a:lnTo>
                <a:lnTo>
                  <a:pt x="1309237" y="330520"/>
                </a:lnTo>
                <a:close/>
                <a:moveTo>
                  <a:pt x="1308964" y="317715"/>
                </a:moveTo>
                <a:lnTo>
                  <a:pt x="1309237" y="318569"/>
                </a:lnTo>
                <a:lnTo>
                  <a:pt x="1309237" y="317838"/>
                </a:lnTo>
                <a:close/>
                <a:moveTo>
                  <a:pt x="1310087" y="313153"/>
                </a:moveTo>
                <a:lnTo>
                  <a:pt x="1307609" y="313473"/>
                </a:lnTo>
                <a:lnTo>
                  <a:pt x="1308045" y="314836"/>
                </a:lnTo>
                <a:close/>
                <a:moveTo>
                  <a:pt x="1318544" y="312064"/>
                </a:moveTo>
                <a:lnTo>
                  <a:pt x="1316298" y="312353"/>
                </a:lnTo>
                <a:lnTo>
                  <a:pt x="1318544" y="312205"/>
                </a:lnTo>
                <a:close/>
                <a:moveTo>
                  <a:pt x="1084622" y="267674"/>
                </a:moveTo>
                <a:lnTo>
                  <a:pt x="1084227" y="268378"/>
                </a:lnTo>
                <a:cubicBezTo>
                  <a:pt x="1082679" y="268378"/>
                  <a:pt x="1081133" y="268378"/>
                  <a:pt x="1079540" y="268378"/>
                </a:cubicBezTo>
                <a:lnTo>
                  <a:pt x="1079603" y="268477"/>
                </a:lnTo>
                <a:lnTo>
                  <a:pt x="1084192" y="268477"/>
                </a:lnTo>
                <a:close/>
                <a:moveTo>
                  <a:pt x="956410" y="266968"/>
                </a:moveTo>
                <a:lnTo>
                  <a:pt x="957576" y="267083"/>
                </a:lnTo>
                <a:lnTo>
                  <a:pt x="957576" y="269776"/>
                </a:lnTo>
                <a:lnTo>
                  <a:pt x="957694" y="269787"/>
                </a:lnTo>
                <a:cubicBezTo>
                  <a:pt x="957694" y="268857"/>
                  <a:pt x="957694" y="267927"/>
                  <a:pt x="957694" y="266968"/>
                </a:cubicBezTo>
                <a:close/>
                <a:moveTo>
                  <a:pt x="1089372" y="259220"/>
                </a:moveTo>
                <a:lnTo>
                  <a:pt x="1085856" y="265479"/>
                </a:lnTo>
                <a:lnTo>
                  <a:pt x="1088878" y="261431"/>
                </a:lnTo>
                <a:close/>
                <a:moveTo>
                  <a:pt x="1018517" y="223356"/>
                </a:moveTo>
                <a:lnTo>
                  <a:pt x="1013866" y="226190"/>
                </a:lnTo>
                <a:lnTo>
                  <a:pt x="1013024" y="227709"/>
                </a:lnTo>
                <a:lnTo>
                  <a:pt x="1017055" y="224692"/>
                </a:lnTo>
                <a:close/>
                <a:moveTo>
                  <a:pt x="850645" y="220099"/>
                </a:moveTo>
                <a:lnTo>
                  <a:pt x="850897" y="221488"/>
                </a:lnTo>
                <a:cubicBezTo>
                  <a:pt x="851086" y="222545"/>
                  <a:pt x="851275" y="223602"/>
                  <a:pt x="851470" y="224692"/>
                </a:cubicBezTo>
                <a:lnTo>
                  <a:pt x="852860" y="224692"/>
                </a:lnTo>
                <a:close/>
                <a:moveTo>
                  <a:pt x="1155019" y="35"/>
                </a:moveTo>
                <a:cubicBezTo>
                  <a:pt x="1161775" y="275"/>
                  <a:pt x="1168415" y="1783"/>
                  <a:pt x="1174829" y="4853"/>
                </a:cubicBezTo>
                <a:cubicBezTo>
                  <a:pt x="1176343" y="5231"/>
                  <a:pt x="1177858" y="5609"/>
                  <a:pt x="1179418" y="5998"/>
                </a:cubicBezTo>
                <a:cubicBezTo>
                  <a:pt x="1189392" y="9487"/>
                  <a:pt x="1196322" y="14392"/>
                  <a:pt x="1201385" y="22997"/>
                </a:cubicBezTo>
                <a:cubicBezTo>
                  <a:pt x="1206849" y="35244"/>
                  <a:pt x="1206940" y="49865"/>
                  <a:pt x="1201678" y="62191"/>
                </a:cubicBezTo>
                <a:cubicBezTo>
                  <a:pt x="1200594" y="64241"/>
                  <a:pt x="1199461" y="66271"/>
                  <a:pt x="1198261" y="68268"/>
                </a:cubicBezTo>
                <a:cubicBezTo>
                  <a:pt x="1197423" y="69721"/>
                  <a:pt x="1196586" y="71175"/>
                  <a:pt x="1195723" y="72672"/>
                </a:cubicBezTo>
                <a:cubicBezTo>
                  <a:pt x="1194659" y="73980"/>
                  <a:pt x="1194659" y="73980"/>
                  <a:pt x="1193575" y="75314"/>
                </a:cubicBezTo>
                <a:cubicBezTo>
                  <a:pt x="1192544" y="75314"/>
                  <a:pt x="1191512" y="75314"/>
                  <a:pt x="1190450" y="75314"/>
                </a:cubicBezTo>
                <a:cubicBezTo>
                  <a:pt x="1190128" y="76651"/>
                  <a:pt x="1189806" y="77988"/>
                  <a:pt x="1189474" y="79366"/>
                </a:cubicBezTo>
                <a:cubicBezTo>
                  <a:pt x="1187326" y="83769"/>
                  <a:pt x="1187326" y="83769"/>
                  <a:pt x="1182445" y="85707"/>
                </a:cubicBezTo>
                <a:cubicBezTo>
                  <a:pt x="1180962" y="85998"/>
                  <a:pt x="1179480" y="86289"/>
                  <a:pt x="1177953" y="86588"/>
                </a:cubicBezTo>
                <a:cubicBezTo>
                  <a:pt x="1177953" y="87518"/>
                  <a:pt x="1177953" y="88448"/>
                  <a:pt x="1177953" y="89406"/>
                </a:cubicBezTo>
                <a:cubicBezTo>
                  <a:pt x="1175369" y="91088"/>
                  <a:pt x="1172720" y="92688"/>
                  <a:pt x="1170045" y="94251"/>
                </a:cubicBezTo>
                <a:cubicBezTo>
                  <a:pt x="1154651" y="104199"/>
                  <a:pt x="1148918" y="116979"/>
                  <a:pt x="1143806" y="132828"/>
                </a:cubicBezTo>
                <a:cubicBezTo>
                  <a:pt x="1142095" y="137144"/>
                  <a:pt x="1140989" y="138617"/>
                  <a:pt x="1137338" y="141548"/>
                </a:cubicBezTo>
                <a:cubicBezTo>
                  <a:pt x="1136166" y="144148"/>
                  <a:pt x="1134992" y="146751"/>
                  <a:pt x="1133970" y="149403"/>
                </a:cubicBezTo>
                <a:cubicBezTo>
                  <a:pt x="1132069" y="154334"/>
                  <a:pt x="1130006" y="159210"/>
                  <a:pt x="1127965" y="164095"/>
                </a:cubicBezTo>
                <a:cubicBezTo>
                  <a:pt x="1126897" y="166664"/>
                  <a:pt x="1125830" y="169233"/>
                  <a:pt x="1124762" y="171802"/>
                </a:cubicBezTo>
                <a:cubicBezTo>
                  <a:pt x="1122961" y="176134"/>
                  <a:pt x="1121160" y="180466"/>
                  <a:pt x="1119359" y="184798"/>
                </a:cubicBezTo>
                <a:cubicBezTo>
                  <a:pt x="1116567" y="191508"/>
                  <a:pt x="1113778" y="198220"/>
                  <a:pt x="1111014" y="204941"/>
                </a:cubicBezTo>
                <a:cubicBezTo>
                  <a:pt x="1110590" y="205970"/>
                  <a:pt x="1110165" y="206999"/>
                  <a:pt x="1109729" y="208059"/>
                </a:cubicBezTo>
                <a:cubicBezTo>
                  <a:pt x="1108615" y="210762"/>
                  <a:pt x="1107505" y="213466"/>
                  <a:pt x="1106395" y="216170"/>
                </a:cubicBezTo>
                <a:cubicBezTo>
                  <a:pt x="1104320" y="220956"/>
                  <a:pt x="1103283" y="223349"/>
                  <a:pt x="1102147" y="224810"/>
                </a:cubicBezTo>
                <a:lnTo>
                  <a:pt x="1098261" y="227262"/>
                </a:lnTo>
                <a:lnTo>
                  <a:pt x="1098367" y="238475"/>
                </a:lnTo>
                <a:cubicBezTo>
                  <a:pt x="1098025" y="239757"/>
                  <a:pt x="1097684" y="241038"/>
                  <a:pt x="1097331" y="242358"/>
                </a:cubicBezTo>
                <a:cubicBezTo>
                  <a:pt x="1096958" y="243711"/>
                  <a:pt x="1096585" y="245064"/>
                  <a:pt x="1096201" y="246458"/>
                </a:cubicBezTo>
                <a:cubicBezTo>
                  <a:pt x="1093302" y="257363"/>
                  <a:pt x="1090901" y="268062"/>
                  <a:pt x="1089440" y="279206"/>
                </a:cubicBezTo>
                <a:cubicBezTo>
                  <a:pt x="1088878" y="282569"/>
                  <a:pt x="1088878" y="282569"/>
                  <a:pt x="1087316" y="283978"/>
                </a:cubicBezTo>
                <a:cubicBezTo>
                  <a:pt x="1087070" y="286587"/>
                  <a:pt x="1086924" y="289205"/>
                  <a:pt x="1086822" y="291822"/>
                </a:cubicBezTo>
                <a:cubicBezTo>
                  <a:pt x="1086756" y="293408"/>
                  <a:pt x="1086691" y="294993"/>
                  <a:pt x="1086623" y="296625"/>
                </a:cubicBezTo>
                <a:cubicBezTo>
                  <a:pt x="1086562" y="298294"/>
                  <a:pt x="1086501" y="299962"/>
                  <a:pt x="1086437" y="301681"/>
                </a:cubicBezTo>
                <a:cubicBezTo>
                  <a:pt x="1086336" y="304192"/>
                  <a:pt x="1086336" y="304192"/>
                  <a:pt x="1086233" y="306754"/>
                </a:cubicBezTo>
                <a:lnTo>
                  <a:pt x="1086007" y="312619"/>
                </a:lnTo>
                <a:lnTo>
                  <a:pt x="1087470" y="320554"/>
                </a:lnTo>
                <a:cubicBezTo>
                  <a:pt x="1089648" y="325409"/>
                  <a:pt x="1093111" y="329799"/>
                  <a:pt x="1098285" y="334611"/>
                </a:cubicBezTo>
                <a:cubicBezTo>
                  <a:pt x="1100424" y="336130"/>
                  <a:pt x="1100424" y="336130"/>
                  <a:pt x="1102607" y="337679"/>
                </a:cubicBezTo>
                <a:cubicBezTo>
                  <a:pt x="1104334" y="338951"/>
                  <a:pt x="1104334" y="338951"/>
                  <a:pt x="1106095" y="340248"/>
                </a:cubicBezTo>
                <a:cubicBezTo>
                  <a:pt x="1106095" y="341178"/>
                  <a:pt x="1106095" y="342108"/>
                  <a:pt x="1106095" y="343066"/>
                </a:cubicBezTo>
                <a:cubicBezTo>
                  <a:pt x="1107127" y="343183"/>
                  <a:pt x="1108158" y="343299"/>
                  <a:pt x="1109220" y="343419"/>
                </a:cubicBezTo>
                <a:cubicBezTo>
                  <a:pt x="1115473" y="344829"/>
                  <a:pt x="1120724" y="347416"/>
                  <a:pt x="1126403" y="350112"/>
                </a:cubicBezTo>
                <a:cubicBezTo>
                  <a:pt x="1128207" y="350926"/>
                  <a:pt x="1130012" y="351740"/>
                  <a:pt x="1131871" y="352579"/>
                </a:cubicBezTo>
                <a:cubicBezTo>
                  <a:pt x="1133159" y="353160"/>
                  <a:pt x="1134448" y="353741"/>
                  <a:pt x="1135776" y="354340"/>
                </a:cubicBezTo>
                <a:cubicBezTo>
                  <a:pt x="1135776" y="355270"/>
                  <a:pt x="1135776" y="356200"/>
                  <a:pt x="1135776" y="357158"/>
                </a:cubicBezTo>
                <a:cubicBezTo>
                  <a:pt x="1148107" y="360029"/>
                  <a:pt x="1158679" y="359101"/>
                  <a:pt x="1170143" y="354340"/>
                </a:cubicBezTo>
                <a:cubicBezTo>
                  <a:pt x="1172366" y="353468"/>
                  <a:pt x="1172366" y="353468"/>
                  <a:pt x="1174634" y="352579"/>
                </a:cubicBezTo>
                <a:cubicBezTo>
                  <a:pt x="1180354" y="349689"/>
                  <a:pt x="1185568" y="346355"/>
                  <a:pt x="1190890" y="342907"/>
                </a:cubicBezTo>
                <a:cubicBezTo>
                  <a:pt x="1195169" y="340228"/>
                  <a:pt x="1199557" y="337821"/>
                  <a:pt x="1204021" y="335404"/>
                </a:cubicBezTo>
                <a:cubicBezTo>
                  <a:pt x="1211989" y="330886"/>
                  <a:pt x="1217509" y="325766"/>
                  <a:pt x="1223255" y="319110"/>
                </a:cubicBezTo>
                <a:cubicBezTo>
                  <a:pt x="1224447" y="317947"/>
                  <a:pt x="1225639" y="316784"/>
                  <a:pt x="1226868" y="315587"/>
                </a:cubicBezTo>
                <a:cubicBezTo>
                  <a:pt x="1229855" y="311593"/>
                  <a:pt x="1230852" y="308240"/>
                  <a:pt x="1231859" y="303559"/>
                </a:cubicBezTo>
                <a:cubicBezTo>
                  <a:pt x="1232628" y="300790"/>
                  <a:pt x="1232628" y="300790"/>
                  <a:pt x="1234178" y="298059"/>
                </a:cubicBezTo>
                <a:cubicBezTo>
                  <a:pt x="1235964" y="294761"/>
                  <a:pt x="1236623" y="291807"/>
                  <a:pt x="1237314" y="288195"/>
                </a:cubicBezTo>
                <a:cubicBezTo>
                  <a:pt x="1239360" y="278571"/>
                  <a:pt x="1242414" y="272733"/>
                  <a:pt x="1249811" y="265559"/>
                </a:cubicBezTo>
                <a:cubicBezTo>
                  <a:pt x="1250842" y="265559"/>
                  <a:pt x="1251873" y="265559"/>
                  <a:pt x="1252935" y="265559"/>
                </a:cubicBezTo>
                <a:cubicBezTo>
                  <a:pt x="1252935" y="264629"/>
                  <a:pt x="1252935" y="263699"/>
                  <a:pt x="1252935" y="262741"/>
                </a:cubicBezTo>
                <a:cubicBezTo>
                  <a:pt x="1265591" y="253427"/>
                  <a:pt x="1280762" y="251648"/>
                  <a:pt x="1296675" y="252876"/>
                </a:cubicBezTo>
                <a:cubicBezTo>
                  <a:pt x="1300535" y="253563"/>
                  <a:pt x="1303901" y="254478"/>
                  <a:pt x="1307609" y="255695"/>
                </a:cubicBezTo>
                <a:cubicBezTo>
                  <a:pt x="1307609" y="256625"/>
                  <a:pt x="1307609" y="257555"/>
                  <a:pt x="1307609" y="258513"/>
                </a:cubicBezTo>
                <a:cubicBezTo>
                  <a:pt x="1309021" y="258619"/>
                  <a:pt x="1310432" y="258723"/>
                  <a:pt x="1311887" y="258832"/>
                </a:cubicBezTo>
                <a:cubicBezTo>
                  <a:pt x="1319573" y="260476"/>
                  <a:pt x="1322149" y="264416"/>
                  <a:pt x="1326715" y="269969"/>
                </a:cubicBezTo>
                <a:cubicBezTo>
                  <a:pt x="1334402" y="281220"/>
                  <a:pt x="1336114" y="294839"/>
                  <a:pt x="1334165" y="307836"/>
                </a:cubicBezTo>
                <a:cubicBezTo>
                  <a:pt x="1332176" y="311898"/>
                  <a:pt x="1332176" y="311898"/>
                  <a:pt x="1329479" y="314882"/>
                </a:cubicBezTo>
                <a:cubicBezTo>
                  <a:pt x="1327417" y="314882"/>
                  <a:pt x="1325355" y="314882"/>
                  <a:pt x="1323231" y="314882"/>
                </a:cubicBezTo>
                <a:cubicBezTo>
                  <a:pt x="1323231" y="315812"/>
                  <a:pt x="1323231" y="316742"/>
                  <a:pt x="1323231" y="317700"/>
                </a:cubicBezTo>
                <a:lnTo>
                  <a:pt x="1322774" y="317838"/>
                </a:lnTo>
                <a:lnTo>
                  <a:pt x="1323295" y="317838"/>
                </a:lnTo>
                <a:cubicBezTo>
                  <a:pt x="1323295" y="316907"/>
                  <a:pt x="1323295" y="315977"/>
                  <a:pt x="1323295" y="315019"/>
                </a:cubicBezTo>
                <a:cubicBezTo>
                  <a:pt x="1324842" y="315019"/>
                  <a:pt x="1326388" y="315019"/>
                  <a:pt x="1327982" y="315019"/>
                </a:cubicBezTo>
                <a:cubicBezTo>
                  <a:pt x="1325845" y="321328"/>
                  <a:pt x="1322753" y="323742"/>
                  <a:pt x="1317047" y="327702"/>
                </a:cubicBezTo>
                <a:cubicBezTo>
                  <a:pt x="1316531" y="329097"/>
                  <a:pt x="1316016" y="330492"/>
                  <a:pt x="1315484" y="331930"/>
                </a:cubicBezTo>
                <a:cubicBezTo>
                  <a:pt x="1312599" y="332959"/>
                  <a:pt x="1312599" y="332959"/>
                  <a:pt x="1309139" y="333603"/>
                </a:cubicBezTo>
                <a:cubicBezTo>
                  <a:pt x="1307993" y="333827"/>
                  <a:pt x="1306847" y="334050"/>
                  <a:pt x="1305666" y="334280"/>
                </a:cubicBezTo>
                <a:cubicBezTo>
                  <a:pt x="1304783" y="334434"/>
                  <a:pt x="1303899" y="334589"/>
                  <a:pt x="1302988" y="334748"/>
                </a:cubicBezTo>
                <a:lnTo>
                  <a:pt x="1305905" y="332775"/>
                </a:lnTo>
                <a:lnTo>
                  <a:pt x="1304485" y="333202"/>
                </a:lnTo>
                <a:cubicBezTo>
                  <a:pt x="1302987" y="334640"/>
                  <a:pt x="1302987" y="334640"/>
                  <a:pt x="1301459" y="336108"/>
                </a:cubicBezTo>
                <a:cubicBezTo>
                  <a:pt x="1298237" y="338839"/>
                  <a:pt x="1298237" y="338839"/>
                  <a:pt x="1291989" y="338839"/>
                </a:cubicBezTo>
                <a:cubicBezTo>
                  <a:pt x="1291473" y="340234"/>
                  <a:pt x="1290957" y="341629"/>
                  <a:pt x="1290426" y="343066"/>
                </a:cubicBezTo>
                <a:cubicBezTo>
                  <a:pt x="1288879" y="343415"/>
                  <a:pt x="1287333" y="343764"/>
                  <a:pt x="1285740" y="344123"/>
                </a:cubicBezTo>
                <a:cubicBezTo>
                  <a:pt x="1266905" y="348491"/>
                  <a:pt x="1249005" y="369098"/>
                  <a:pt x="1237314" y="382525"/>
                </a:cubicBezTo>
                <a:cubicBezTo>
                  <a:pt x="1235678" y="385783"/>
                  <a:pt x="1234122" y="389075"/>
                  <a:pt x="1232628" y="392389"/>
                </a:cubicBezTo>
                <a:cubicBezTo>
                  <a:pt x="1231317" y="394515"/>
                  <a:pt x="1229981" y="396629"/>
                  <a:pt x="1228625" y="398731"/>
                </a:cubicBezTo>
                <a:cubicBezTo>
                  <a:pt x="1221457" y="410300"/>
                  <a:pt x="1219465" y="421836"/>
                  <a:pt x="1222822" y="434798"/>
                </a:cubicBezTo>
                <a:cubicBezTo>
                  <a:pt x="1229360" y="453710"/>
                  <a:pt x="1244088" y="472467"/>
                  <a:pt x="1260746" y="485398"/>
                </a:cubicBezTo>
                <a:cubicBezTo>
                  <a:pt x="1264961" y="487349"/>
                  <a:pt x="1264961" y="487349"/>
                  <a:pt x="1268556" y="488216"/>
                </a:cubicBezTo>
                <a:cubicBezTo>
                  <a:pt x="1268556" y="489146"/>
                  <a:pt x="1268556" y="490076"/>
                  <a:pt x="1268556" y="491034"/>
                </a:cubicBezTo>
                <a:cubicBezTo>
                  <a:pt x="1288790" y="497071"/>
                  <a:pt x="1319055" y="498555"/>
                  <a:pt x="1338852" y="489625"/>
                </a:cubicBezTo>
                <a:cubicBezTo>
                  <a:pt x="1341711" y="489213"/>
                  <a:pt x="1344575" y="488837"/>
                  <a:pt x="1347444" y="488480"/>
                </a:cubicBezTo>
                <a:cubicBezTo>
                  <a:pt x="1355372" y="487345"/>
                  <a:pt x="1362033" y="485390"/>
                  <a:pt x="1369362" y="482513"/>
                </a:cubicBezTo>
                <a:cubicBezTo>
                  <a:pt x="1375665" y="480318"/>
                  <a:pt x="1382189" y="479322"/>
                  <a:pt x="1388840" y="478351"/>
                </a:cubicBezTo>
                <a:cubicBezTo>
                  <a:pt x="1388840" y="477421"/>
                  <a:pt x="1388840" y="476492"/>
                  <a:pt x="1388840" y="475533"/>
                </a:cubicBezTo>
                <a:cubicBezTo>
                  <a:pt x="1391083" y="474821"/>
                  <a:pt x="1393329" y="474118"/>
                  <a:pt x="1395576" y="473419"/>
                </a:cubicBezTo>
                <a:cubicBezTo>
                  <a:pt x="1396827" y="473027"/>
                  <a:pt x="1398077" y="472635"/>
                  <a:pt x="1399365" y="472230"/>
                </a:cubicBezTo>
                <a:cubicBezTo>
                  <a:pt x="1402899" y="471305"/>
                  <a:pt x="1402899" y="471305"/>
                  <a:pt x="1407585" y="471305"/>
                </a:cubicBezTo>
                <a:cubicBezTo>
                  <a:pt x="1408101" y="469910"/>
                  <a:pt x="1408616" y="468515"/>
                  <a:pt x="1409147" y="467078"/>
                </a:cubicBezTo>
                <a:cubicBezTo>
                  <a:pt x="1412388" y="465580"/>
                  <a:pt x="1412388" y="465580"/>
                  <a:pt x="1416470" y="464259"/>
                </a:cubicBezTo>
                <a:cubicBezTo>
                  <a:pt x="1424029" y="461705"/>
                  <a:pt x="1431130" y="458955"/>
                  <a:pt x="1437949" y="455011"/>
                </a:cubicBezTo>
                <a:cubicBezTo>
                  <a:pt x="1442765" y="452574"/>
                  <a:pt x="1447553" y="451394"/>
                  <a:pt x="1452887" y="450167"/>
                </a:cubicBezTo>
                <a:cubicBezTo>
                  <a:pt x="1452887" y="449237"/>
                  <a:pt x="1452887" y="448307"/>
                  <a:pt x="1452887" y="447349"/>
                </a:cubicBezTo>
                <a:cubicBezTo>
                  <a:pt x="1453714" y="446944"/>
                  <a:pt x="1454541" y="446539"/>
                  <a:pt x="1455394" y="446122"/>
                </a:cubicBezTo>
                <a:cubicBezTo>
                  <a:pt x="1459151" y="444278"/>
                  <a:pt x="1462902" y="442422"/>
                  <a:pt x="1466653" y="440567"/>
                </a:cubicBezTo>
                <a:cubicBezTo>
                  <a:pt x="1467955" y="439930"/>
                  <a:pt x="1469256" y="439293"/>
                  <a:pt x="1470598" y="438637"/>
                </a:cubicBezTo>
                <a:cubicBezTo>
                  <a:pt x="1471852" y="438016"/>
                  <a:pt x="1473105" y="437393"/>
                  <a:pt x="1474397" y="436752"/>
                </a:cubicBezTo>
                <a:cubicBezTo>
                  <a:pt x="1475550" y="436184"/>
                  <a:pt x="1476703" y="435616"/>
                  <a:pt x="1477892" y="435030"/>
                </a:cubicBezTo>
                <a:cubicBezTo>
                  <a:pt x="1480966" y="433279"/>
                  <a:pt x="1483173" y="431373"/>
                  <a:pt x="1485691" y="429029"/>
                </a:cubicBezTo>
                <a:cubicBezTo>
                  <a:pt x="1486737" y="428575"/>
                  <a:pt x="1487781" y="428121"/>
                  <a:pt x="1488858" y="427653"/>
                </a:cubicBezTo>
                <a:cubicBezTo>
                  <a:pt x="1492438" y="425977"/>
                  <a:pt x="1493705" y="424453"/>
                  <a:pt x="1495943" y="421454"/>
                </a:cubicBezTo>
                <a:cubicBezTo>
                  <a:pt x="1507114" y="407544"/>
                  <a:pt x="1519758" y="393513"/>
                  <a:pt x="1538608" y="388338"/>
                </a:cubicBezTo>
                <a:cubicBezTo>
                  <a:pt x="1541025" y="388250"/>
                  <a:pt x="1541025" y="388250"/>
                  <a:pt x="1543490" y="388161"/>
                </a:cubicBezTo>
                <a:cubicBezTo>
                  <a:pt x="1545535" y="387984"/>
                  <a:pt x="1545535" y="387984"/>
                  <a:pt x="1547621" y="387804"/>
                </a:cubicBezTo>
                <a:cubicBezTo>
                  <a:pt x="1560659" y="387094"/>
                  <a:pt x="1568716" y="390117"/>
                  <a:pt x="1579418" y="396617"/>
                </a:cubicBezTo>
                <a:cubicBezTo>
                  <a:pt x="1581361" y="397687"/>
                  <a:pt x="1581361" y="397687"/>
                  <a:pt x="1583342" y="398780"/>
                </a:cubicBezTo>
                <a:cubicBezTo>
                  <a:pt x="1593703" y="405068"/>
                  <a:pt x="1598513" y="412459"/>
                  <a:pt x="1601288" y="423392"/>
                </a:cubicBezTo>
                <a:cubicBezTo>
                  <a:pt x="1603295" y="436596"/>
                  <a:pt x="1603517" y="449033"/>
                  <a:pt x="1594484" y="460159"/>
                </a:cubicBezTo>
                <a:cubicBezTo>
                  <a:pt x="1588468" y="466462"/>
                  <a:pt x="1582607" y="471150"/>
                  <a:pt x="1574732" y="475533"/>
                </a:cubicBezTo>
                <a:cubicBezTo>
                  <a:pt x="1573862" y="476043"/>
                  <a:pt x="1572993" y="476553"/>
                  <a:pt x="1572097" y="477078"/>
                </a:cubicBezTo>
                <a:cubicBezTo>
                  <a:pt x="1566828" y="478935"/>
                  <a:pt x="1561641" y="478744"/>
                  <a:pt x="1556066" y="478737"/>
                </a:cubicBezTo>
                <a:cubicBezTo>
                  <a:pt x="1553587" y="478765"/>
                  <a:pt x="1551109" y="478795"/>
                  <a:pt x="1548631" y="478825"/>
                </a:cubicBezTo>
                <a:cubicBezTo>
                  <a:pt x="1544751" y="478857"/>
                  <a:pt x="1540871" y="478880"/>
                  <a:pt x="1536991" y="478889"/>
                </a:cubicBezTo>
                <a:cubicBezTo>
                  <a:pt x="1516714" y="478693"/>
                  <a:pt x="1516714" y="478693"/>
                  <a:pt x="1498188" y="485398"/>
                </a:cubicBezTo>
                <a:cubicBezTo>
                  <a:pt x="1496062" y="486488"/>
                  <a:pt x="1496062" y="486488"/>
                  <a:pt x="1493892" y="487600"/>
                </a:cubicBezTo>
                <a:cubicBezTo>
                  <a:pt x="1492733" y="488268"/>
                  <a:pt x="1491573" y="488937"/>
                  <a:pt x="1490377" y="489625"/>
                </a:cubicBezTo>
                <a:cubicBezTo>
                  <a:pt x="1484304" y="493012"/>
                  <a:pt x="1478212" y="495675"/>
                  <a:pt x="1471650" y="498185"/>
                </a:cubicBezTo>
                <a:cubicBezTo>
                  <a:pt x="1467148" y="500054"/>
                  <a:pt x="1463242" y="502632"/>
                  <a:pt x="1459135" y="505127"/>
                </a:cubicBezTo>
                <a:cubicBezTo>
                  <a:pt x="1456968" y="506120"/>
                  <a:pt x="1454786" y="507086"/>
                  <a:pt x="1452594" y="508033"/>
                </a:cubicBezTo>
                <a:cubicBezTo>
                  <a:pt x="1444148" y="511772"/>
                  <a:pt x="1435969" y="515903"/>
                  <a:pt x="1427795" y="520100"/>
                </a:cubicBezTo>
                <a:cubicBezTo>
                  <a:pt x="1425784" y="521114"/>
                  <a:pt x="1425784" y="521114"/>
                  <a:pt x="1423733" y="522148"/>
                </a:cubicBezTo>
                <a:cubicBezTo>
                  <a:pt x="1422478" y="522798"/>
                  <a:pt x="1421223" y="523449"/>
                  <a:pt x="1419929" y="524118"/>
                </a:cubicBezTo>
                <a:cubicBezTo>
                  <a:pt x="1418794" y="524701"/>
                  <a:pt x="1417658" y="525283"/>
                  <a:pt x="1416487" y="525883"/>
                </a:cubicBezTo>
                <a:cubicBezTo>
                  <a:pt x="1413349" y="527646"/>
                  <a:pt x="1413349" y="527646"/>
                  <a:pt x="1412271" y="531902"/>
                </a:cubicBezTo>
                <a:cubicBezTo>
                  <a:pt x="1407205" y="535203"/>
                  <a:pt x="1402819" y="536744"/>
                  <a:pt x="1396650" y="537539"/>
                </a:cubicBezTo>
                <a:cubicBezTo>
                  <a:pt x="1396650" y="538469"/>
                  <a:pt x="1396650" y="539399"/>
                  <a:pt x="1396650" y="540357"/>
                </a:cubicBezTo>
                <a:cubicBezTo>
                  <a:pt x="1395609" y="540735"/>
                  <a:pt x="1394568" y="541113"/>
                  <a:pt x="1393495" y="541502"/>
                </a:cubicBezTo>
                <a:cubicBezTo>
                  <a:pt x="1381840" y="545973"/>
                  <a:pt x="1372279" y="551715"/>
                  <a:pt x="1362284" y="558678"/>
                </a:cubicBezTo>
                <a:cubicBezTo>
                  <a:pt x="1360170" y="560088"/>
                  <a:pt x="1358055" y="561497"/>
                  <a:pt x="1355937" y="562905"/>
                </a:cubicBezTo>
                <a:cubicBezTo>
                  <a:pt x="1348556" y="567937"/>
                  <a:pt x="1341292" y="573085"/>
                  <a:pt x="1334165" y="578406"/>
                </a:cubicBezTo>
                <a:cubicBezTo>
                  <a:pt x="1332697" y="579472"/>
                  <a:pt x="1332697" y="579472"/>
                  <a:pt x="1331200" y="580559"/>
                </a:cubicBezTo>
                <a:cubicBezTo>
                  <a:pt x="1325067" y="585430"/>
                  <a:pt x="1323406" y="589771"/>
                  <a:pt x="1322175" y="596793"/>
                </a:cubicBezTo>
                <a:cubicBezTo>
                  <a:pt x="1321669" y="599545"/>
                  <a:pt x="1321669" y="599545"/>
                  <a:pt x="1320106" y="602363"/>
                </a:cubicBezTo>
                <a:cubicBezTo>
                  <a:pt x="1318419" y="618189"/>
                  <a:pt x="1322416" y="632767"/>
                  <a:pt x="1328015" y="647640"/>
                </a:cubicBezTo>
                <a:cubicBezTo>
                  <a:pt x="1331267" y="656625"/>
                  <a:pt x="1333170" y="666179"/>
                  <a:pt x="1332604" y="675643"/>
                </a:cubicBezTo>
                <a:cubicBezTo>
                  <a:pt x="1333634" y="675643"/>
                  <a:pt x="1334665" y="675643"/>
                  <a:pt x="1335727" y="675643"/>
                </a:cubicBezTo>
                <a:cubicBezTo>
                  <a:pt x="1337571" y="680632"/>
                  <a:pt x="1337591" y="684795"/>
                  <a:pt x="1337741" y="690059"/>
                </a:cubicBezTo>
                <a:cubicBezTo>
                  <a:pt x="1337826" y="692114"/>
                  <a:pt x="1337913" y="694168"/>
                  <a:pt x="1338003" y="696222"/>
                </a:cubicBezTo>
                <a:cubicBezTo>
                  <a:pt x="1338142" y="699444"/>
                  <a:pt x="1338266" y="702664"/>
                  <a:pt x="1338340" y="705887"/>
                </a:cubicBezTo>
                <a:cubicBezTo>
                  <a:pt x="1338372" y="720474"/>
                  <a:pt x="1338372" y="720474"/>
                  <a:pt x="1345277" y="733245"/>
                </a:cubicBezTo>
                <a:cubicBezTo>
                  <a:pt x="1350822" y="737861"/>
                  <a:pt x="1355921" y="739823"/>
                  <a:pt x="1363162" y="741612"/>
                </a:cubicBezTo>
                <a:cubicBezTo>
                  <a:pt x="1370672" y="743533"/>
                  <a:pt x="1377197" y="745750"/>
                  <a:pt x="1384154" y="748922"/>
                </a:cubicBezTo>
                <a:cubicBezTo>
                  <a:pt x="1387833" y="749898"/>
                  <a:pt x="1387833" y="749898"/>
                  <a:pt x="1391476" y="750419"/>
                </a:cubicBezTo>
                <a:cubicBezTo>
                  <a:pt x="1393499" y="750747"/>
                  <a:pt x="1393499" y="750747"/>
                  <a:pt x="1395564" y="751080"/>
                </a:cubicBezTo>
                <a:cubicBezTo>
                  <a:pt x="1397648" y="751407"/>
                  <a:pt x="1397648" y="751407"/>
                  <a:pt x="1399775" y="751740"/>
                </a:cubicBezTo>
                <a:cubicBezTo>
                  <a:pt x="1401810" y="752111"/>
                  <a:pt x="1401810" y="752111"/>
                  <a:pt x="1403887" y="752489"/>
                </a:cubicBezTo>
                <a:cubicBezTo>
                  <a:pt x="1424247" y="756131"/>
                  <a:pt x="1444708" y="756350"/>
                  <a:pt x="1465383" y="755969"/>
                </a:cubicBezTo>
                <a:cubicBezTo>
                  <a:pt x="1467019" y="755945"/>
                  <a:pt x="1468654" y="755921"/>
                  <a:pt x="1470339" y="755897"/>
                </a:cubicBezTo>
                <a:cubicBezTo>
                  <a:pt x="1480128" y="755450"/>
                  <a:pt x="1487899" y="752933"/>
                  <a:pt x="1496809" y="749313"/>
                </a:cubicBezTo>
                <a:cubicBezTo>
                  <a:pt x="1502876" y="746888"/>
                  <a:pt x="1509049" y="745091"/>
                  <a:pt x="1515371" y="743285"/>
                </a:cubicBezTo>
                <a:cubicBezTo>
                  <a:pt x="1515371" y="742356"/>
                  <a:pt x="1515371" y="741425"/>
                  <a:pt x="1515371" y="740467"/>
                </a:cubicBezTo>
                <a:cubicBezTo>
                  <a:pt x="1522710" y="737103"/>
                  <a:pt x="1529583" y="737106"/>
                  <a:pt x="1537632" y="737120"/>
                </a:cubicBezTo>
                <a:cubicBezTo>
                  <a:pt x="1538960" y="737122"/>
                  <a:pt x="1540289" y="737124"/>
                  <a:pt x="1541657" y="737127"/>
                </a:cubicBezTo>
                <a:cubicBezTo>
                  <a:pt x="1555502" y="737372"/>
                  <a:pt x="1564314" y="740697"/>
                  <a:pt x="1574732" y="748922"/>
                </a:cubicBezTo>
                <a:cubicBezTo>
                  <a:pt x="1586507" y="762822"/>
                  <a:pt x="1590347" y="775219"/>
                  <a:pt x="1588791" y="792608"/>
                </a:cubicBezTo>
                <a:cubicBezTo>
                  <a:pt x="1587728" y="797050"/>
                  <a:pt x="1586468" y="801261"/>
                  <a:pt x="1584105" y="805291"/>
                </a:cubicBezTo>
                <a:cubicBezTo>
                  <a:pt x="1583074" y="805756"/>
                  <a:pt x="1582043" y="806221"/>
                  <a:pt x="1580981" y="806700"/>
                </a:cubicBezTo>
                <a:cubicBezTo>
                  <a:pt x="1580240" y="807892"/>
                  <a:pt x="1579499" y="809083"/>
                  <a:pt x="1578735" y="810311"/>
                </a:cubicBezTo>
                <a:cubicBezTo>
                  <a:pt x="1577930" y="811445"/>
                  <a:pt x="1577124" y="812579"/>
                  <a:pt x="1576295" y="813746"/>
                </a:cubicBezTo>
                <a:lnTo>
                  <a:pt x="1571652" y="813746"/>
                </a:lnTo>
                <a:lnTo>
                  <a:pt x="1571785" y="814106"/>
                </a:lnTo>
                <a:cubicBezTo>
                  <a:pt x="1572816" y="814571"/>
                  <a:pt x="1573846" y="815036"/>
                  <a:pt x="1574909" y="815515"/>
                </a:cubicBezTo>
                <a:cubicBezTo>
                  <a:pt x="1572126" y="818758"/>
                  <a:pt x="1569968" y="820871"/>
                  <a:pt x="1565463" y="821839"/>
                </a:cubicBezTo>
                <a:lnTo>
                  <a:pt x="1562085" y="822101"/>
                </a:lnTo>
                <a:lnTo>
                  <a:pt x="1551301" y="825020"/>
                </a:lnTo>
                <a:cubicBezTo>
                  <a:pt x="1551301" y="825950"/>
                  <a:pt x="1551301" y="826880"/>
                  <a:pt x="1551301" y="827838"/>
                </a:cubicBezTo>
                <a:cubicBezTo>
                  <a:pt x="1526697" y="828735"/>
                  <a:pt x="1507496" y="825036"/>
                  <a:pt x="1485380" y="815007"/>
                </a:cubicBezTo>
                <a:cubicBezTo>
                  <a:pt x="1468723" y="807743"/>
                  <a:pt x="1449749" y="809144"/>
                  <a:pt x="1431603" y="808726"/>
                </a:cubicBezTo>
                <a:cubicBezTo>
                  <a:pt x="1429115" y="808665"/>
                  <a:pt x="1426627" y="808604"/>
                  <a:pt x="1424140" y="808542"/>
                </a:cubicBezTo>
                <a:cubicBezTo>
                  <a:pt x="1418101" y="808392"/>
                  <a:pt x="1412062" y="808249"/>
                  <a:pt x="1406023" y="808109"/>
                </a:cubicBezTo>
                <a:cubicBezTo>
                  <a:pt x="1406023" y="809040"/>
                  <a:pt x="1406023" y="809970"/>
                  <a:pt x="1406023" y="810928"/>
                </a:cubicBezTo>
                <a:cubicBezTo>
                  <a:pt x="1404716" y="811118"/>
                  <a:pt x="1404716" y="811118"/>
                  <a:pt x="1403383" y="811311"/>
                </a:cubicBezTo>
                <a:cubicBezTo>
                  <a:pt x="1372054" y="815110"/>
                  <a:pt x="1372054" y="815110"/>
                  <a:pt x="1345442" y="828907"/>
                </a:cubicBezTo>
                <a:cubicBezTo>
                  <a:pt x="1338843" y="837605"/>
                  <a:pt x="1338313" y="846434"/>
                  <a:pt x="1337875" y="856639"/>
                </a:cubicBezTo>
                <a:cubicBezTo>
                  <a:pt x="1337815" y="857805"/>
                  <a:pt x="1337754" y="858970"/>
                  <a:pt x="1337692" y="860171"/>
                </a:cubicBezTo>
                <a:cubicBezTo>
                  <a:pt x="1337547" y="863016"/>
                  <a:pt x="1337417" y="865861"/>
                  <a:pt x="1337290" y="868706"/>
                </a:cubicBezTo>
                <a:cubicBezTo>
                  <a:pt x="1336258" y="868706"/>
                  <a:pt x="1335228" y="868706"/>
                  <a:pt x="1334165" y="868706"/>
                </a:cubicBezTo>
                <a:lnTo>
                  <a:pt x="1334165" y="870034"/>
                </a:lnTo>
                <a:lnTo>
                  <a:pt x="1334237" y="869093"/>
                </a:lnTo>
                <a:cubicBezTo>
                  <a:pt x="1334753" y="869093"/>
                  <a:pt x="1335268" y="869093"/>
                  <a:pt x="1335800" y="869093"/>
                </a:cubicBezTo>
                <a:cubicBezTo>
                  <a:pt x="1335884" y="871559"/>
                  <a:pt x="1335944" y="874025"/>
                  <a:pt x="1335995" y="876491"/>
                </a:cubicBezTo>
                <a:cubicBezTo>
                  <a:pt x="1336030" y="877865"/>
                  <a:pt x="1336067" y="879238"/>
                  <a:pt x="1336105" y="880653"/>
                </a:cubicBezTo>
                <a:cubicBezTo>
                  <a:pt x="1335800" y="884594"/>
                  <a:pt x="1335800" y="884594"/>
                  <a:pt x="1334294" y="887271"/>
                </a:cubicBezTo>
                <a:cubicBezTo>
                  <a:pt x="1332567" y="890428"/>
                  <a:pt x="1331982" y="892964"/>
                  <a:pt x="1331455" y="896440"/>
                </a:cubicBezTo>
                <a:cubicBezTo>
                  <a:pt x="1331267" y="897605"/>
                  <a:pt x="1331080" y="898769"/>
                  <a:pt x="1330887" y="899969"/>
                </a:cubicBezTo>
                <a:cubicBezTo>
                  <a:pt x="1330704" y="901174"/>
                  <a:pt x="1330521" y="902378"/>
                  <a:pt x="1330332" y="903618"/>
                </a:cubicBezTo>
                <a:cubicBezTo>
                  <a:pt x="1329968" y="906013"/>
                  <a:pt x="1329594" y="908405"/>
                  <a:pt x="1329209" y="910797"/>
                </a:cubicBezTo>
                <a:cubicBezTo>
                  <a:pt x="1329049" y="911853"/>
                  <a:pt x="1328889" y="912910"/>
                  <a:pt x="1328724" y="913998"/>
                </a:cubicBezTo>
                <a:cubicBezTo>
                  <a:pt x="1327933" y="917233"/>
                  <a:pt x="1326525" y="919703"/>
                  <a:pt x="1324865" y="922643"/>
                </a:cubicBezTo>
                <a:cubicBezTo>
                  <a:pt x="1323924" y="927743"/>
                  <a:pt x="1323282" y="932845"/>
                  <a:pt x="1322619" y="937979"/>
                </a:cubicBezTo>
                <a:lnTo>
                  <a:pt x="1318744" y="944961"/>
                </a:lnTo>
                <a:lnTo>
                  <a:pt x="1318544" y="946213"/>
                </a:lnTo>
                <a:cubicBezTo>
                  <a:pt x="1318360" y="949234"/>
                  <a:pt x="1318271" y="952260"/>
                  <a:pt x="1318251" y="955285"/>
                </a:cubicBezTo>
                <a:cubicBezTo>
                  <a:pt x="1318218" y="957637"/>
                  <a:pt x="1318218" y="957637"/>
                  <a:pt x="1318184" y="960036"/>
                </a:cubicBezTo>
                <a:cubicBezTo>
                  <a:pt x="1318624" y="965530"/>
                  <a:pt x="1319569" y="969724"/>
                  <a:pt x="1324024" y="973660"/>
                </a:cubicBezTo>
                <a:cubicBezTo>
                  <a:pt x="1327197" y="976583"/>
                  <a:pt x="1327950" y="979494"/>
                  <a:pt x="1329284" y="983382"/>
                </a:cubicBezTo>
                <a:cubicBezTo>
                  <a:pt x="1331875" y="990106"/>
                  <a:pt x="1334445" y="993582"/>
                  <a:pt x="1340414" y="998354"/>
                </a:cubicBezTo>
                <a:cubicBezTo>
                  <a:pt x="1342397" y="1000564"/>
                  <a:pt x="1344347" y="1002798"/>
                  <a:pt x="1346272" y="1005048"/>
                </a:cubicBezTo>
                <a:cubicBezTo>
                  <a:pt x="1360055" y="1020713"/>
                  <a:pt x="1376247" y="1031879"/>
                  <a:pt x="1394716" y="1042740"/>
                </a:cubicBezTo>
                <a:cubicBezTo>
                  <a:pt x="1397172" y="1044228"/>
                  <a:pt x="1399581" y="1045779"/>
                  <a:pt x="1401953" y="1047374"/>
                </a:cubicBezTo>
                <a:cubicBezTo>
                  <a:pt x="1410065" y="1052802"/>
                  <a:pt x="1417529" y="1056366"/>
                  <a:pt x="1427197" y="1059061"/>
                </a:cubicBezTo>
                <a:cubicBezTo>
                  <a:pt x="1431243" y="1060437"/>
                  <a:pt x="1434061" y="1061979"/>
                  <a:pt x="1437265" y="1064588"/>
                </a:cubicBezTo>
                <a:cubicBezTo>
                  <a:pt x="1437265" y="1065518"/>
                  <a:pt x="1437265" y="1066448"/>
                  <a:pt x="1437265" y="1067406"/>
                </a:cubicBezTo>
                <a:cubicBezTo>
                  <a:pt x="1439053" y="1067624"/>
                  <a:pt x="1439053" y="1067624"/>
                  <a:pt x="1440878" y="1067847"/>
                </a:cubicBezTo>
                <a:cubicBezTo>
                  <a:pt x="1445076" y="1068815"/>
                  <a:pt x="1445076" y="1068815"/>
                  <a:pt x="1447175" y="1070753"/>
                </a:cubicBezTo>
                <a:cubicBezTo>
                  <a:pt x="1450417" y="1073622"/>
                  <a:pt x="1453781" y="1075060"/>
                  <a:pt x="1457866" y="1076830"/>
                </a:cubicBezTo>
                <a:cubicBezTo>
                  <a:pt x="1459274" y="1077446"/>
                  <a:pt x="1460681" y="1078062"/>
                  <a:pt x="1462132" y="1078696"/>
                </a:cubicBezTo>
                <a:cubicBezTo>
                  <a:pt x="1463204" y="1079156"/>
                  <a:pt x="1464278" y="1079616"/>
                  <a:pt x="1465383" y="1080089"/>
                </a:cubicBezTo>
                <a:cubicBezTo>
                  <a:pt x="1465383" y="1081019"/>
                  <a:pt x="1465383" y="1081949"/>
                  <a:pt x="1465383" y="1082908"/>
                </a:cubicBezTo>
                <a:cubicBezTo>
                  <a:pt x="1466497" y="1083260"/>
                  <a:pt x="1467611" y="1083612"/>
                  <a:pt x="1468758" y="1083975"/>
                </a:cubicBezTo>
                <a:cubicBezTo>
                  <a:pt x="1473648" y="1085905"/>
                  <a:pt x="1477426" y="1088296"/>
                  <a:pt x="1481688" y="1091187"/>
                </a:cubicBezTo>
                <a:cubicBezTo>
                  <a:pt x="1483204" y="1092193"/>
                  <a:pt x="1484721" y="1093200"/>
                  <a:pt x="1486283" y="1094236"/>
                </a:cubicBezTo>
                <a:cubicBezTo>
                  <a:pt x="1489170" y="1096185"/>
                  <a:pt x="1492029" y="1098166"/>
                  <a:pt x="1494869" y="1100171"/>
                </a:cubicBezTo>
                <a:cubicBezTo>
                  <a:pt x="1510181" y="1107906"/>
                  <a:pt x="1527080" y="1109898"/>
                  <a:pt x="1544335" y="1109518"/>
                </a:cubicBezTo>
                <a:cubicBezTo>
                  <a:pt x="1579932" y="1108798"/>
                  <a:pt x="1579932" y="1108798"/>
                  <a:pt x="1593477" y="1119900"/>
                </a:cubicBezTo>
                <a:cubicBezTo>
                  <a:pt x="1600636" y="1127255"/>
                  <a:pt x="1604889" y="1135120"/>
                  <a:pt x="1605975" y="1144913"/>
                </a:cubicBezTo>
                <a:cubicBezTo>
                  <a:pt x="1607006" y="1144913"/>
                  <a:pt x="1608036" y="1144913"/>
                  <a:pt x="1609099" y="1144913"/>
                </a:cubicBezTo>
                <a:cubicBezTo>
                  <a:pt x="1609227" y="1148907"/>
                  <a:pt x="1609319" y="1152897"/>
                  <a:pt x="1609392" y="1156892"/>
                </a:cubicBezTo>
                <a:cubicBezTo>
                  <a:pt x="1609451" y="1158565"/>
                  <a:pt x="1609451" y="1158565"/>
                  <a:pt x="1609511" y="1160272"/>
                </a:cubicBezTo>
                <a:cubicBezTo>
                  <a:pt x="1609621" y="1168378"/>
                  <a:pt x="1607970" y="1174108"/>
                  <a:pt x="1604412" y="1181553"/>
                </a:cubicBezTo>
                <a:cubicBezTo>
                  <a:pt x="1603354" y="1184367"/>
                  <a:pt x="1602306" y="1187183"/>
                  <a:pt x="1601288" y="1190009"/>
                </a:cubicBezTo>
                <a:cubicBezTo>
                  <a:pt x="1600257" y="1190009"/>
                  <a:pt x="1599226" y="1190009"/>
                  <a:pt x="1598164" y="1190009"/>
                </a:cubicBezTo>
                <a:cubicBezTo>
                  <a:pt x="1597842" y="1190910"/>
                  <a:pt x="1597520" y="1191810"/>
                  <a:pt x="1597187" y="1192739"/>
                </a:cubicBezTo>
                <a:cubicBezTo>
                  <a:pt x="1596479" y="1193698"/>
                  <a:pt x="1595770" y="1194657"/>
                  <a:pt x="1595040" y="1195645"/>
                </a:cubicBezTo>
                <a:cubicBezTo>
                  <a:pt x="1591916" y="1196115"/>
                  <a:pt x="1588791" y="1196585"/>
                  <a:pt x="1585667" y="1197055"/>
                </a:cubicBezTo>
                <a:cubicBezTo>
                  <a:pt x="1583871" y="1199826"/>
                  <a:pt x="1583871" y="1199826"/>
                  <a:pt x="1582543" y="1202691"/>
                </a:cubicBezTo>
                <a:cubicBezTo>
                  <a:pt x="1575997" y="1204710"/>
                  <a:pt x="1569266" y="1204360"/>
                  <a:pt x="1562431" y="1204365"/>
                </a:cubicBezTo>
                <a:cubicBezTo>
                  <a:pt x="1561196" y="1204382"/>
                  <a:pt x="1559962" y="1204399"/>
                  <a:pt x="1558690" y="1204417"/>
                </a:cubicBezTo>
                <a:cubicBezTo>
                  <a:pt x="1543339" y="1204452"/>
                  <a:pt x="1531981" y="1199267"/>
                  <a:pt x="1521102" y="1189585"/>
                </a:cubicBezTo>
                <a:cubicBezTo>
                  <a:pt x="1515403" y="1183953"/>
                  <a:pt x="1510116" y="1178123"/>
                  <a:pt x="1505022" y="1172041"/>
                </a:cubicBezTo>
                <a:cubicBezTo>
                  <a:pt x="1493200" y="1158177"/>
                  <a:pt x="1475492" y="1147115"/>
                  <a:pt x="1457573" y="1140686"/>
                </a:cubicBezTo>
                <a:cubicBezTo>
                  <a:pt x="1457573" y="1139755"/>
                  <a:pt x="1457573" y="1138826"/>
                  <a:pt x="1457573" y="1137867"/>
                </a:cubicBezTo>
                <a:cubicBezTo>
                  <a:pt x="1456059" y="1137693"/>
                  <a:pt x="1454544" y="1137518"/>
                  <a:pt x="1452985" y="1137339"/>
                </a:cubicBezTo>
                <a:cubicBezTo>
                  <a:pt x="1451406" y="1137048"/>
                  <a:pt x="1449827" y="1136758"/>
                  <a:pt x="1448200" y="1136458"/>
                </a:cubicBezTo>
                <a:cubicBezTo>
                  <a:pt x="1447685" y="1135528"/>
                  <a:pt x="1447169" y="1134598"/>
                  <a:pt x="1446638" y="1133640"/>
                </a:cubicBezTo>
                <a:cubicBezTo>
                  <a:pt x="1444091" y="1132586"/>
                  <a:pt x="1441535" y="1131550"/>
                  <a:pt x="1438937" y="1130601"/>
                </a:cubicBezTo>
                <a:cubicBezTo>
                  <a:pt x="1435668" y="1129399"/>
                  <a:pt x="1432469" y="1128095"/>
                  <a:pt x="1429260" y="1126770"/>
                </a:cubicBezTo>
                <a:cubicBezTo>
                  <a:pt x="1423389" y="1124389"/>
                  <a:pt x="1417431" y="1122349"/>
                  <a:pt x="1411393" y="1120340"/>
                </a:cubicBezTo>
                <a:cubicBezTo>
                  <a:pt x="1404143" y="1117867"/>
                  <a:pt x="1397842" y="1115090"/>
                  <a:pt x="1391427" y="1111191"/>
                </a:cubicBezTo>
                <a:cubicBezTo>
                  <a:pt x="1388139" y="1109274"/>
                  <a:pt x="1384723" y="1108010"/>
                  <a:pt x="1381029" y="1106865"/>
                </a:cubicBezTo>
                <a:cubicBezTo>
                  <a:pt x="1381029" y="1105934"/>
                  <a:pt x="1381029" y="1105004"/>
                  <a:pt x="1381029" y="1104046"/>
                </a:cubicBezTo>
                <a:cubicBezTo>
                  <a:pt x="1379773" y="1103901"/>
                  <a:pt x="1378516" y="1103755"/>
                  <a:pt x="1377221" y="1103605"/>
                </a:cubicBezTo>
                <a:cubicBezTo>
                  <a:pt x="1370425" y="1102422"/>
                  <a:pt x="1364120" y="1100465"/>
                  <a:pt x="1357597" y="1098409"/>
                </a:cubicBezTo>
                <a:cubicBezTo>
                  <a:pt x="1355761" y="1097857"/>
                  <a:pt x="1353924" y="1097304"/>
                  <a:pt x="1352032" y="1096736"/>
                </a:cubicBezTo>
                <a:cubicBezTo>
                  <a:pt x="1350776" y="1096358"/>
                  <a:pt x="1349519" y="1095980"/>
                  <a:pt x="1348225" y="1095590"/>
                </a:cubicBezTo>
                <a:cubicBezTo>
                  <a:pt x="1348225" y="1094661"/>
                  <a:pt x="1348225" y="1093730"/>
                  <a:pt x="1348225" y="1092772"/>
                </a:cubicBezTo>
                <a:cubicBezTo>
                  <a:pt x="1344616" y="1092307"/>
                  <a:pt x="1341007" y="1091842"/>
                  <a:pt x="1337290" y="1091363"/>
                </a:cubicBezTo>
                <a:cubicBezTo>
                  <a:pt x="1337290" y="1090433"/>
                  <a:pt x="1337290" y="1089503"/>
                  <a:pt x="1337290" y="1088544"/>
                </a:cubicBezTo>
                <a:cubicBezTo>
                  <a:pt x="1334438" y="1088327"/>
                  <a:pt x="1334438" y="1088327"/>
                  <a:pt x="1331529" y="1088104"/>
                </a:cubicBezTo>
                <a:lnTo>
                  <a:pt x="1323297" y="1086611"/>
                </a:lnTo>
                <a:lnTo>
                  <a:pt x="1323297" y="1087618"/>
                </a:lnTo>
                <a:cubicBezTo>
                  <a:pt x="1322139" y="1087517"/>
                  <a:pt x="1320982" y="1087415"/>
                  <a:pt x="1319789" y="1087310"/>
                </a:cubicBezTo>
                <a:cubicBezTo>
                  <a:pt x="1300429" y="1085771"/>
                  <a:pt x="1281330" y="1084680"/>
                  <a:pt x="1262375" y="1089028"/>
                </a:cubicBezTo>
                <a:lnTo>
                  <a:pt x="1258728" y="1088205"/>
                </a:lnTo>
                <a:lnTo>
                  <a:pt x="1246964" y="1091489"/>
                </a:lnTo>
                <a:cubicBezTo>
                  <a:pt x="1237239" y="1097222"/>
                  <a:pt x="1228703" y="1103434"/>
                  <a:pt x="1223224" y="1112865"/>
                </a:cubicBezTo>
                <a:cubicBezTo>
                  <a:pt x="1220867" y="1116643"/>
                  <a:pt x="1217262" y="1119317"/>
                  <a:pt x="1213883" y="1122366"/>
                </a:cubicBezTo>
                <a:cubicBezTo>
                  <a:pt x="1213428" y="1123469"/>
                  <a:pt x="1212973" y="1124572"/>
                  <a:pt x="1212505" y="1125708"/>
                </a:cubicBezTo>
                <a:cubicBezTo>
                  <a:pt x="1210449" y="1130067"/>
                  <a:pt x="1207984" y="1132315"/>
                  <a:pt x="1204180" y="1135561"/>
                </a:cubicBezTo>
                <a:cubicBezTo>
                  <a:pt x="1202879" y="1136695"/>
                  <a:pt x="1201578" y="1137829"/>
                  <a:pt x="1200238" y="1138999"/>
                </a:cubicBezTo>
                <a:cubicBezTo>
                  <a:pt x="1197504" y="1141343"/>
                  <a:pt x="1194765" y="1143684"/>
                  <a:pt x="1192025" y="1146022"/>
                </a:cubicBezTo>
                <a:cubicBezTo>
                  <a:pt x="1181899" y="1154869"/>
                  <a:pt x="1174983" y="1161763"/>
                  <a:pt x="1173945" y="1174749"/>
                </a:cubicBezTo>
                <a:cubicBezTo>
                  <a:pt x="1173902" y="1177369"/>
                  <a:pt x="1173905" y="1179990"/>
                  <a:pt x="1173950" y="1182610"/>
                </a:cubicBezTo>
                <a:cubicBezTo>
                  <a:pt x="1173963" y="1183981"/>
                  <a:pt x="1173975" y="1185352"/>
                  <a:pt x="1173989" y="1186765"/>
                </a:cubicBezTo>
                <a:cubicBezTo>
                  <a:pt x="1174321" y="1197573"/>
                  <a:pt x="1176809" y="1205883"/>
                  <a:pt x="1182640" y="1215374"/>
                </a:cubicBezTo>
                <a:cubicBezTo>
                  <a:pt x="1183703" y="1217509"/>
                  <a:pt x="1184746" y="1219652"/>
                  <a:pt x="1185764" y="1221804"/>
                </a:cubicBezTo>
                <a:cubicBezTo>
                  <a:pt x="1186271" y="1222812"/>
                  <a:pt x="1186779" y="1223821"/>
                  <a:pt x="1187301" y="1224859"/>
                </a:cubicBezTo>
                <a:cubicBezTo>
                  <a:pt x="1188431" y="1227137"/>
                  <a:pt x="1189517" y="1229433"/>
                  <a:pt x="1190573" y="1231740"/>
                </a:cubicBezTo>
                <a:cubicBezTo>
                  <a:pt x="1194650" y="1240409"/>
                  <a:pt x="1199581" y="1247688"/>
                  <a:pt x="1205925" y="1255163"/>
                </a:cubicBezTo>
                <a:cubicBezTo>
                  <a:pt x="1208103" y="1257757"/>
                  <a:pt x="1210188" y="1260417"/>
                  <a:pt x="1212174" y="1263134"/>
                </a:cubicBezTo>
                <a:cubicBezTo>
                  <a:pt x="1218757" y="1272043"/>
                  <a:pt x="1225157" y="1277324"/>
                  <a:pt x="1235556" y="1282538"/>
                </a:cubicBezTo>
                <a:cubicBezTo>
                  <a:pt x="1236652" y="1283161"/>
                  <a:pt x="1237747" y="1283784"/>
                  <a:pt x="1238876" y="1284426"/>
                </a:cubicBezTo>
                <a:cubicBezTo>
                  <a:pt x="1238876" y="1285356"/>
                  <a:pt x="1238876" y="1286287"/>
                  <a:pt x="1238876" y="1287245"/>
                </a:cubicBezTo>
                <a:cubicBezTo>
                  <a:pt x="1239988" y="1287383"/>
                  <a:pt x="1241099" y="1287521"/>
                  <a:pt x="1242245" y="1287663"/>
                </a:cubicBezTo>
                <a:cubicBezTo>
                  <a:pt x="1253043" y="1290072"/>
                  <a:pt x="1264916" y="1297690"/>
                  <a:pt x="1271681" y="1305565"/>
                </a:cubicBezTo>
                <a:lnTo>
                  <a:pt x="1271742" y="1306172"/>
                </a:lnTo>
                <a:lnTo>
                  <a:pt x="1278525" y="1315767"/>
                </a:lnTo>
                <a:cubicBezTo>
                  <a:pt x="1279797" y="1319398"/>
                  <a:pt x="1280365" y="1323346"/>
                  <a:pt x="1281097" y="1327286"/>
                </a:cubicBezTo>
                <a:cubicBezTo>
                  <a:pt x="1281916" y="1337121"/>
                  <a:pt x="1281807" y="1346176"/>
                  <a:pt x="1277973" y="1355470"/>
                </a:cubicBezTo>
                <a:lnTo>
                  <a:pt x="1277460" y="1347025"/>
                </a:lnTo>
                <a:lnTo>
                  <a:pt x="1273531" y="1357991"/>
                </a:lnTo>
                <a:cubicBezTo>
                  <a:pt x="1270940" y="1361892"/>
                  <a:pt x="1267521" y="1365435"/>
                  <a:pt x="1263870" y="1368980"/>
                </a:cubicBezTo>
                <a:cubicBezTo>
                  <a:pt x="1258351" y="1372929"/>
                  <a:pt x="1253850" y="1376026"/>
                  <a:pt x="1246686" y="1376026"/>
                </a:cubicBezTo>
                <a:cubicBezTo>
                  <a:pt x="1246686" y="1376956"/>
                  <a:pt x="1246686" y="1377886"/>
                  <a:pt x="1246686" y="1378844"/>
                </a:cubicBezTo>
                <a:cubicBezTo>
                  <a:pt x="1241676" y="1379009"/>
                  <a:pt x="1236665" y="1379109"/>
                  <a:pt x="1231651" y="1379196"/>
                </a:cubicBezTo>
                <a:cubicBezTo>
                  <a:pt x="1230240" y="1379244"/>
                  <a:pt x="1228828" y="1379291"/>
                  <a:pt x="1227373" y="1379340"/>
                </a:cubicBezTo>
                <a:cubicBezTo>
                  <a:pt x="1218287" y="1379460"/>
                  <a:pt x="1213363" y="1378568"/>
                  <a:pt x="1206071" y="1373207"/>
                </a:cubicBezTo>
                <a:cubicBezTo>
                  <a:pt x="1204751" y="1372742"/>
                  <a:pt x="1203430" y="1372277"/>
                  <a:pt x="1202069" y="1371798"/>
                </a:cubicBezTo>
                <a:cubicBezTo>
                  <a:pt x="1193777" y="1368730"/>
                  <a:pt x="1188124" y="1363294"/>
                  <a:pt x="1184104" y="1356176"/>
                </a:cubicBezTo>
                <a:cubicBezTo>
                  <a:pt x="1180965" y="1349259"/>
                  <a:pt x="1178852" y="1342590"/>
                  <a:pt x="1177270" y="1335247"/>
                </a:cubicBezTo>
                <a:cubicBezTo>
                  <a:pt x="1175525" y="1327352"/>
                  <a:pt x="1172911" y="1320677"/>
                  <a:pt x="1169002" y="1313464"/>
                </a:cubicBezTo>
                <a:cubicBezTo>
                  <a:pt x="1166989" y="1309737"/>
                  <a:pt x="1165215" y="1305976"/>
                  <a:pt x="1163504" y="1302130"/>
                </a:cubicBezTo>
                <a:cubicBezTo>
                  <a:pt x="1163013" y="1301027"/>
                  <a:pt x="1162521" y="1299924"/>
                  <a:pt x="1162015" y="1298788"/>
                </a:cubicBezTo>
                <a:cubicBezTo>
                  <a:pt x="1160770" y="1295700"/>
                  <a:pt x="1160770" y="1295700"/>
                  <a:pt x="1160111" y="1292656"/>
                </a:cubicBezTo>
                <a:cubicBezTo>
                  <a:pt x="1159345" y="1289507"/>
                  <a:pt x="1159345" y="1289507"/>
                  <a:pt x="1154522" y="1287245"/>
                </a:cubicBezTo>
                <a:cubicBezTo>
                  <a:pt x="1153465" y="1284902"/>
                  <a:pt x="1152426" y="1282552"/>
                  <a:pt x="1151398" y="1280199"/>
                </a:cubicBezTo>
                <a:cubicBezTo>
                  <a:pt x="1149056" y="1276983"/>
                  <a:pt x="1146686" y="1273874"/>
                  <a:pt x="1144173" y="1270774"/>
                </a:cubicBezTo>
                <a:cubicBezTo>
                  <a:pt x="1143477" y="1269912"/>
                  <a:pt x="1142782" y="1269049"/>
                  <a:pt x="1142065" y="1268160"/>
                </a:cubicBezTo>
                <a:cubicBezTo>
                  <a:pt x="1139981" y="1265589"/>
                  <a:pt x="1137880" y="1263029"/>
                  <a:pt x="1135776" y="1260470"/>
                </a:cubicBezTo>
                <a:cubicBezTo>
                  <a:pt x="1134647" y="1259076"/>
                  <a:pt x="1133517" y="1257683"/>
                  <a:pt x="1132353" y="1256247"/>
                </a:cubicBezTo>
                <a:cubicBezTo>
                  <a:pt x="1126291" y="1249045"/>
                  <a:pt x="1121408" y="1244606"/>
                  <a:pt x="1112344" y="1240741"/>
                </a:cubicBezTo>
                <a:cubicBezTo>
                  <a:pt x="1110285" y="1239698"/>
                  <a:pt x="1108234" y="1238642"/>
                  <a:pt x="1106193" y="1237570"/>
                </a:cubicBezTo>
                <a:cubicBezTo>
                  <a:pt x="1104615" y="1236756"/>
                  <a:pt x="1103036" y="1235942"/>
                  <a:pt x="1101409" y="1235104"/>
                </a:cubicBezTo>
                <a:cubicBezTo>
                  <a:pt x="1101409" y="1233708"/>
                  <a:pt x="1101409" y="1232313"/>
                  <a:pt x="1101409" y="1230876"/>
                </a:cubicBezTo>
                <a:cubicBezTo>
                  <a:pt x="1089553" y="1230876"/>
                  <a:pt x="1077697" y="1230876"/>
                  <a:pt x="1065480" y="1230876"/>
                </a:cubicBezTo>
                <a:cubicBezTo>
                  <a:pt x="1064965" y="1232271"/>
                  <a:pt x="1064450" y="1233666"/>
                  <a:pt x="1063919" y="1235104"/>
                </a:cubicBezTo>
                <a:cubicBezTo>
                  <a:pt x="1062372" y="1235104"/>
                  <a:pt x="1060826" y="1235104"/>
                  <a:pt x="1059232" y="1235104"/>
                </a:cubicBezTo>
                <a:cubicBezTo>
                  <a:pt x="1059232" y="1236033"/>
                  <a:pt x="1059232" y="1236964"/>
                  <a:pt x="1059232" y="1237922"/>
                </a:cubicBezTo>
                <a:cubicBezTo>
                  <a:pt x="1052964" y="1240850"/>
                  <a:pt x="1046842" y="1243613"/>
                  <a:pt x="1040194" y="1245761"/>
                </a:cubicBezTo>
                <a:cubicBezTo>
                  <a:pt x="1036552" y="1246941"/>
                  <a:pt x="1033682" y="1248088"/>
                  <a:pt x="1030333" y="1249901"/>
                </a:cubicBezTo>
                <a:cubicBezTo>
                  <a:pt x="1025129" y="1252717"/>
                  <a:pt x="1019615" y="1254371"/>
                  <a:pt x="1013931" y="1256242"/>
                </a:cubicBezTo>
                <a:cubicBezTo>
                  <a:pt x="1009870" y="1257688"/>
                  <a:pt x="1008221" y="1258277"/>
                  <a:pt x="1005925" y="1261615"/>
                </a:cubicBezTo>
                <a:cubicBezTo>
                  <a:pt x="1005474" y="1262632"/>
                  <a:pt x="1005023" y="1263649"/>
                  <a:pt x="1004558" y="1264697"/>
                </a:cubicBezTo>
                <a:cubicBezTo>
                  <a:pt x="1004030" y="1265774"/>
                  <a:pt x="1003503" y="1266852"/>
                  <a:pt x="1002959" y="1267961"/>
                </a:cubicBezTo>
                <a:cubicBezTo>
                  <a:pt x="1001408" y="1271808"/>
                  <a:pt x="1000922" y="1274896"/>
                  <a:pt x="1000653" y="1278965"/>
                </a:cubicBezTo>
                <a:cubicBezTo>
                  <a:pt x="1000303" y="1284158"/>
                  <a:pt x="999467" y="1289055"/>
                  <a:pt x="998297" y="1294137"/>
                </a:cubicBezTo>
                <a:cubicBezTo>
                  <a:pt x="996204" y="1304306"/>
                  <a:pt x="996129" y="1314460"/>
                  <a:pt x="996162" y="1324765"/>
                </a:cubicBezTo>
                <a:cubicBezTo>
                  <a:pt x="996163" y="1325782"/>
                  <a:pt x="996163" y="1326799"/>
                  <a:pt x="996164" y="1327846"/>
                </a:cubicBezTo>
                <a:cubicBezTo>
                  <a:pt x="996263" y="1353742"/>
                  <a:pt x="1001081" y="1378188"/>
                  <a:pt x="1007780" y="1403329"/>
                </a:cubicBezTo>
                <a:cubicBezTo>
                  <a:pt x="1008163" y="1404772"/>
                  <a:pt x="1008546" y="1406215"/>
                  <a:pt x="1008940" y="1407701"/>
                </a:cubicBezTo>
                <a:cubicBezTo>
                  <a:pt x="1009316" y="1409030"/>
                  <a:pt x="1009693" y="1410360"/>
                  <a:pt x="1010080" y="1411730"/>
                </a:cubicBezTo>
                <a:cubicBezTo>
                  <a:pt x="1010409" y="1412900"/>
                  <a:pt x="1010737" y="1414071"/>
                  <a:pt x="1011075" y="1415277"/>
                </a:cubicBezTo>
                <a:cubicBezTo>
                  <a:pt x="1012501" y="1418612"/>
                  <a:pt x="1014136" y="1420168"/>
                  <a:pt x="1017055" y="1422530"/>
                </a:cubicBezTo>
                <a:cubicBezTo>
                  <a:pt x="1018770" y="1425162"/>
                  <a:pt x="1018770" y="1425162"/>
                  <a:pt x="1020277" y="1427991"/>
                </a:cubicBezTo>
                <a:cubicBezTo>
                  <a:pt x="1020778" y="1428917"/>
                  <a:pt x="1021280" y="1429844"/>
                  <a:pt x="1021796" y="1430798"/>
                </a:cubicBezTo>
                <a:cubicBezTo>
                  <a:pt x="1023303" y="1433804"/>
                  <a:pt x="1023303" y="1433804"/>
                  <a:pt x="1024579" y="1437239"/>
                </a:cubicBezTo>
                <a:cubicBezTo>
                  <a:pt x="1026915" y="1441803"/>
                  <a:pt x="1030098" y="1444534"/>
                  <a:pt x="1034043" y="1448072"/>
                </a:cubicBezTo>
                <a:lnTo>
                  <a:pt x="1043782" y="1464320"/>
                </a:lnTo>
                <a:lnTo>
                  <a:pt x="1050458" y="1472189"/>
                </a:lnTo>
                <a:cubicBezTo>
                  <a:pt x="1051737" y="1475181"/>
                  <a:pt x="1052277" y="1478513"/>
                  <a:pt x="1052926" y="1482370"/>
                </a:cubicBezTo>
                <a:cubicBezTo>
                  <a:pt x="1053325" y="1487224"/>
                  <a:pt x="1053364" y="1492038"/>
                  <a:pt x="1053316" y="1496903"/>
                </a:cubicBezTo>
                <a:cubicBezTo>
                  <a:pt x="1053328" y="1498142"/>
                  <a:pt x="1053340" y="1499382"/>
                  <a:pt x="1053352" y="1500660"/>
                </a:cubicBezTo>
                <a:cubicBezTo>
                  <a:pt x="1053348" y="1501856"/>
                  <a:pt x="1053344" y="1503052"/>
                  <a:pt x="1053341" y="1504285"/>
                </a:cubicBezTo>
                <a:cubicBezTo>
                  <a:pt x="1053336" y="1505355"/>
                  <a:pt x="1053333" y="1506426"/>
                  <a:pt x="1053329" y="1507529"/>
                </a:cubicBezTo>
                <a:cubicBezTo>
                  <a:pt x="1052876" y="1510927"/>
                  <a:pt x="1051672" y="1513237"/>
                  <a:pt x="1049801" y="1516192"/>
                </a:cubicBezTo>
                <a:lnTo>
                  <a:pt x="1047312" y="1516192"/>
                </a:lnTo>
                <a:lnTo>
                  <a:pt x="1043611" y="1522585"/>
                </a:lnTo>
                <a:cubicBezTo>
                  <a:pt x="1035301" y="1529631"/>
                  <a:pt x="1035301" y="1529631"/>
                  <a:pt x="1029552" y="1529631"/>
                </a:cubicBezTo>
                <a:cubicBezTo>
                  <a:pt x="1029294" y="1530503"/>
                  <a:pt x="1029036" y="1531375"/>
                  <a:pt x="1028771" y="1532273"/>
                </a:cubicBezTo>
                <a:cubicBezTo>
                  <a:pt x="1025795" y="1536076"/>
                  <a:pt x="1022970" y="1536733"/>
                  <a:pt x="1018013" y="1537640"/>
                </a:cubicBezTo>
                <a:cubicBezTo>
                  <a:pt x="1005216" y="1539038"/>
                  <a:pt x="992573" y="1539816"/>
                  <a:pt x="981126" y="1533859"/>
                </a:cubicBezTo>
                <a:cubicBezTo>
                  <a:pt x="979840" y="1533226"/>
                  <a:pt x="978553" y="1532594"/>
                  <a:pt x="977227" y="1531943"/>
                </a:cubicBezTo>
                <a:cubicBezTo>
                  <a:pt x="965286" y="1525877"/>
                  <a:pt x="959626" y="1520520"/>
                  <a:pt x="955376" y="1508751"/>
                </a:cubicBezTo>
                <a:cubicBezTo>
                  <a:pt x="954571" y="1505674"/>
                  <a:pt x="954571" y="1505674"/>
                  <a:pt x="954571" y="1500037"/>
                </a:cubicBezTo>
                <a:cubicBezTo>
                  <a:pt x="953539" y="1500037"/>
                  <a:pt x="952508" y="1500037"/>
                  <a:pt x="951446" y="1500037"/>
                </a:cubicBezTo>
                <a:cubicBezTo>
                  <a:pt x="951361" y="1495986"/>
                  <a:pt x="951299" y="1491935"/>
                  <a:pt x="951251" y="1487883"/>
                </a:cubicBezTo>
                <a:cubicBezTo>
                  <a:pt x="951224" y="1486744"/>
                  <a:pt x="951198" y="1485605"/>
                  <a:pt x="951171" y="1484431"/>
                </a:cubicBezTo>
                <a:cubicBezTo>
                  <a:pt x="951110" y="1477657"/>
                  <a:pt x="952093" y="1472660"/>
                  <a:pt x="954571" y="1466216"/>
                </a:cubicBezTo>
                <a:cubicBezTo>
                  <a:pt x="954867" y="1462451"/>
                  <a:pt x="955016" y="1458876"/>
                  <a:pt x="954961" y="1455118"/>
                </a:cubicBezTo>
                <a:cubicBezTo>
                  <a:pt x="954951" y="1454080"/>
                  <a:pt x="954942" y="1453042"/>
                  <a:pt x="954932" y="1451972"/>
                </a:cubicBezTo>
                <a:cubicBezTo>
                  <a:pt x="954606" y="1435235"/>
                  <a:pt x="952568" y="1419050"/>
                  <a:pt x="945099" y="1403594"/>
                </a:cubicBezTo>
                <a:cubicBezTo>
                  <a:pt x="943714" y="1400177"/>
                  <a:pt x="943046" y="1397128"/>
                  <a:pt x="942366" y="1393553"/>
                </a:cubicBezTo>
                <a:cubicBezTo>
                  <a:pt x="940837" y="1386134"/>
                  <a:pt x="937840" y="1379609"/>
                  <a:pt x="934451" y="1372734"/>
                </a:cubicBezTo>
                <a:cubicBezTo>
                  <a:pt x="932701" y="1368980"/>
                  <a:pt x="932701" y="1368980"/>
                  <a:pt x="931974" y="1365754"/>
                </a:cubicBezTo>
                <a:cubicBezTo>
                  <a:pt x="931699" y="1364958"/>
                  <a:pt x="931422" y="1364162"/>
                  <a:pt x="931138" y="1363343"/>
                </a:cubicBezTo>
                <a:cubicBezTo>
                  <a:pt x="929592" y="1362878"/>
                  <a:pt x="928045" y="1362413"/>
                  <a:pt x="926452" y="1361933"/>
                </a:cubicBezTo>
                <a:cubicBezTo>
                  <a:pt x="921830" y="1355261"/>
                  <a:pt x="920323" y="1348382"/>
                  <a:pt x="918641" y="1340795"/>
                </a:cubicBezTo>
                <a:cubicBezTo>
                  <a:pt x="918133" y="1338914"/>
                  <a:pt x="917616" y="1337034"/>
                  <a:pt x="917079" y="1335158"/>
                </a:cubicBezTo>
                <a:cubicBezTo>
                  <a:pt x="916048" y="1335158"/>
                  <a:pt x="915018" y="1335158"/>
                  <a:pt x="913955" y="1335158"/>
                </a:cubicBezTo>
                <a:cubicBezTo>
                  <a:pt x="913329" y="1333718"/>
                  <a:pt x="912703" y="1332277"/>
                  <a:pt x="912057" y="1330793"/>
                </a:cubicBezTo>
                <a:cubicBezTo>
                  <a:pt x="909497" y="1325424"/>
                  <a:pt x="906114" y="1320822"/>
                  <a:pt x="902142" y="1316222"/>
                </a:cubicBezTo>
                <a:cubicBezTo>
                  <a:pt x="901465" y="1315432"/>
                  <a:pt x="900788" y="1314642"/>
                  <a:pt x="900091" y="1313828"/>
                </a:cubicBezTo>
                <a:cubicBezTo>
                  <a:pt x="893705" y="1306618"/>
                  <a:pt x="886350" y="1301049"/>
                  <a:pt x="878026" y="1295700"/>
                </a:cubicBezTo>
                <a:cubicBezTo>
                  <a:pt x="876595" y="1294594"/>
                  <a:pt x="876595" y="1294594"/>
                  <a:pt x="875134" y="1293465"/>
                </a:cubicBezTo>
                <a:lnTo>
                  <a:pt x="869869" y="1291826"/>
                </a:lnTo>
                <a:lnTo>
                  <a:pt x="862384" y="1291327"/>
                </a:lnTo>
                <a:cubicBezTo>
                  <a:pt x="856441" y="1290067"/>
                  <a:pt x="850461" y="1290346"/>
                  <a:pt x="844390" y="1290461"/>
                </a:cubicBezTo>
                <a:cubicBezTo>
                  <a:pt x="842453" y="1290480"/>
                  <a:pt x="842453" y="1290480"/>
                  <a:pt x="840476" y="1290500"/>
                </a:cubicBezTo>
                <a:cubicBezTo>
                  <a:pt x="837322" y="1290532"/>
                  <a:pt x="834169" y="1290583"/>
                  <a:pt x="831015" y="1290637"/>
                </a:cubicBezTo>
                <a:cubicBezTo>
                  <a:pt x="831015" y="1291568"/>
                  <a:pt x="831015" y="1292498"/>
                  <a:pt x="831015" y="1293456"/>
                </a:cubicBezTo>
                <a:cubicBezTo>
                  <a:pt x="826519" y="1294808"/>
                  <a:pt x="822922" y="1295235"/>
                  <a:pt x="818225" y="1295570"/>
                </a:cubicBezTo>
                <a:lnTo>
                  <a:pt x="796774" y="1297671"/>
                </a:lnTo>
                <a:lnTo>
                  <a:pt x="783646" y="1305736"/>
                </a:lnTo>
                <a:cubicBezTo>
                  <a:pt x="776915" y="1312506"/>
                  <a:pt x="772692" y="1318638"/>
                  <a:pt x="769263" y="1327143"/>
                </a:cubicBezTo>
                <a:cubicBezTo>
                  <a:pt x="767116" y="1332340"/>
                  <a:pt x="767116" y="1332340"/>
                  <a:pt x="764797" y="1334360"/>
                </a:cubicBezTo>
                <a:lnTo>
                  <a:pt x="757875" y="1353503"/>
                </a:lnTo>
                <a:lnTo>
                  <a:pt x="755676" y="1367455"/>
                </a:lnTo>
                <a:lnTo>
                  <a:pt x="750558" y="1399690"/>
                </a:lnTo>
                <a:lnTo>
                  <a:pt x="753057" y="1411256"/>
                </a:lnTo>
                <a:cubicBezTo>
                  <a:pt x="753057" y="1413117"/>
                  <a:pt x="753057" y="1414976"/>
                  <a:pt x="753057" y="1416893"/>
                </a:cubicBezTo>
                <a:cubicBezTo>
                  <a:pt x="754087" y="1416893"/>
                  <a:pt x="755119" y="1416893"/>
                  <a:pt x="756181" y="1416893"/>
                </a:cubicBezTo>
                <a:cubicBezTo>
                  <a:pt x="759348" y="1422607"/>
                  <a:pt x="758101" y="1429902"/>
                  <a:pt x="758133" y="1436182"/>
                </a:cubicBezTo>
                <a:cubicBezTo>
                  <a:pt x="758182" y="1438458"/>
                  <a:pt x="758182" y="1438458"/>
                  <a:pt x="758231" y="1440781"/>
                </a:cubicBezTo>
                <a:cubicBezTo>
                  <a:pt x="758283" y="1450271"/>
                  <a:pt x="758174" y="1458360"/>
                  <a:pt x="750713" y="1465704"/>
                </a:cubicBezTo>
                <a:cubicBezTo>
                  <a:pt x="749940" y="1466193"/>
                  <a:pt x="749167" y="1466681"/>
                  <a:pt x="748370" y="1467185"/>
                </a:cubicBezTo>
                <a:cubicBezTo>
                  <a:pt x="743665" y="1470047"/>
                  <a:pt x="743665" y="1470047"/>
                  <a:pt x="741633" y="1473526"/>
                </a:cubicBezTo>
                <a:cubicBezTo>
                  <a:pt x="737793" y="1477248"/>
                  <a:pt x="733582" y="1477483"/>
                  <a:pt x="728154" y="1478343"/>
                </a:cubicBezTo>
                <a:cubicBezTo>
                  <a:pt x="724855" y="1478778"/>
                  <a:pt x="724855" y="1478778"/>
                  <a:pt x="721814" y="1480308"/>
                </a:cubicBezTo>
                <a:cubicBezTo>
                  <a:pt x="717303" y="1480523"/>
                  <a:pt x="712854" y="1480634"/>
                  <a:pt x="708341" y="1480661"/>
                </a:cubicBezTo>
                <a:cubicBezTo>
                  <a:pt x="707118" y="1480690"/>
                  <a:pt x="705896" y="1480719"/>
                  <a:pt x="704637" y="1480748"/>
                </a:cubicBezTo>
                <a:cubicBezTo>
                  <a:pt x="690446" y="1480834"/>
                  <a:pt x="679632" y="1476246"/>
                  <a:pt x="668507" y="1468418"/>
                </a:cubicBezTo>
                <a:cubicBezTo>
                  <a:pt x="662823" y="1463224"/>
                  <a:pt x="661745" y="1456995"/>
                  <a:pt x="660178" y="1450027"/>
                </a:cubicBezTo>
                <a:cubicBezTo>
                  <a:pt x="659725" y="1446589"/>
                  <a:pt x="659725" y="1446589"/>
                  <a:pt x="657767" y="1445078"/>
                </a:cubicBezTo>
                <a:cubicBezTo>
                  <a:pt x="656859" y="1433686"/>
                  <a:pt x="655965" y="1419178"/>
                  <a:pt x="663369" y="1409390"/>
                </a:cubicBezTo>
                <a:cubicBezTo>
                  <a:pt x="666078" y="1406601"/>
                  <a:pt x="668921" y="1404013"/>
                  <a:pt x="671826" y="1401392"/>
                </a:cubicBezTo>
                <a:cubicBezTo>
                  <a:pt x="675197" y="1397623"/>
                  <a:pt x="677125" y="1394916"/>
                  <a:pt x="678075" y="1390118"/>
                </a:cubicBezTo>
                <a:cubicBezTo>
                  <a:pt x="680137" y="1389653"/>
                  <a:pt x="682199" y="1389188"/>
                  <a:pt x="684323" y="1388709"/>
                </a:cubicBezTo>
                <a:cubicBezTo>
                  <a:pt x="684643" y="1387232"/>
                  <a:pt x="684964" y="1385755"/>
                  <a:pt x="685293" y="1384233"/>
                </a:cubicBezTo>
                <a:cubicBezTo>
                  <a:pt x="685718" y="1382290"/>
                  <a:pt x="686144" y="1380347"/>
                  <a:pt x="686569" y="1378404"/>
                </a:cubicBezTo>
                <a:cubicBezTo>
                  <a:pt x="686885" y="1376945"/>
                  <a:pt x="686885" y="1376945"/>
                  <a:pt x="687207" y="1375456"/>
                </a:cubicBezTo>
                <a:cubicBezTo>
                  <a:pt x="688115" y="1371315"/>
                  <a:pt x="689090" y="1367353"/>
                  <a:pt x="690572" y="1363343"/>
                </a:cubicBezTo>
                <a:cubicBezTo>
                  <a:pt x="692411" y="1350128"/>
                  <a:pt x="692374" y="1336672"/>
                  <a:pt x="692495" y="1323376"/>
                </a:cubicBezTo>
                <a:cubicBezTo>
                  <a:pt x="692524" y="1320586"/>
                  <a:pt x="692574" y="1317796"/>
                  <a:pt x="692625" y="1315006"/>
                </a:cubicBezTo>
                <a:cubicBezTo>
                  <a:pt x="692853" y="1300589"/>
                  <a:pt x="692853" y="1300589"/>
                  <a:pt x="687447" y="1287245"/>
                </a:cubicBezTo>
                <a:cubicBezTo>
                  <a:pt x="685901" y="1286780"/>
                  <a:pt x="684354" y="1286315"/>
                  <a:pt x="682761" y="1285835"/>
                </a:cubicBezTo>
                <a:cubicBezTo>
                  <a:pt x="680876" y="1283743"/>
                  <a:pt x="680876" y="1283743"/>
                  <a:pt x="678954" y="1281608"/>
                </a:cubicBezTo>
                <a:cubicBezTo>
                  <a:pt x="674854" y="1277278"/>
                  <a:pt x="674356" y="1276958"/>
                  <a:pt x="668702" y="1275971"/>
                </a:cubicBezTo>
                <a:cubicBezTo>
                  <a:pt x="666619" y="1274092"/>
                  <a:pt x="664536" y="1272213"/>
                  <a:pt x="662454" y="1270334"/>
                </a:cubicBezTo>
                <a:cubicBezTo>
                  <a:pt x="658341" y="1268566"/>
                  <a:pt x="658341" y="1268566"/>
                  <a:pt x="654643" y="1267516"/>
                </a:cubicBezTo>
                <a:cubicBezTo>
                  <a:pt x="654643" y="1266585"/>
                  <a:pt x="654643" y="1265656"/>
                  <a:pt x="654643" y="1264697"/>
                </a:cubicBezTo>
                <a:cubicBezTo>
                  <a:pt x="653161" y="1264581"/>
                  <a:pt x="651679" y="1264465"/>
                  <a:pt x="650152" y="1264345"/>
                </a:cubicBezTo>
                <a:cubicBezTo>
                  <a:pt x="642318" y="1263373"/>
                  <a:pt x="635297" y="1260465"/>
                  <a:pt x="628087" y="1257651"/>
                </a:cubicBezTo>
                <a:cubicBezTo>
                  <a:pt x="628087" y="1256721"/>
                  <a:pt x="628087" y="1255791"/>
                  <a:pt x="628087" y="1254833"/>
                </a:cubicBezTo>
                <a:cubicBezTo>
                  <a:pt x="627108" y="1254662"/>
                  <a:pt x="626129" y="1254491"/>
                  <a:pt x="625121" y="1254315"/>
                </a:cubicBezTo>
                <a:cubicBezTo>
                  <a:pt x="623845" y="1254079"/>
                  <a:pt x="622568" y="1253843"/>
                  <a:pt x="621252" y="1253600"/>
                </a:cubicBezTo>
                <a:cubicBezTo>
                  <a:pt x="619984" y="1253371"/>
                  <a:pt x="618716" y="1253142"/>
                  <a:pt x="617409" y="1252906"/>
                </a:cubicBezTo>
                <a:cubicBezTo>
                  <a:pt x="614027" y="1252014"/>
                  <a:pt x="614027" y="1252014"/>
                  <a:pt x="610904" y="1249196"/>
                </a:cubicBezTo>
                <a:cubicBezTo>
                  <a:pt x="592259" y="1248653"/>
                  <a:pt x="578635" y="1260869"/>
                  <a:pt x="565739" y="1271742"/>
                </a:cubicBezTo>
                <a:cubicBezTo>
                  <a:pt x="558808" y="1277725"/>
                  <a:pt x="552763" y="1283983"/>
                  <a:pt x="546924" y="1290829"/>
                </a:cubicBezTo>
                <a:cubicBezTo>
                  <a:pt x="545838" y="1292087"/>
                  <a:pt x="544753" y="1293346"/>
                  <a:pt x="543635" y="1294643"/>
                </a:cubicBezTo>
                <a:cubicBezTo>
                  <a:pt x="542650" y="1295813"/>
                  <a:pt x="541666" y="1296983"/>
                  <a:pt x="540651" y="1298188"/>
                </a:cubicBezTo>
                <a:cubicBezTo>
                  <a:pt x="537294" y="1301526"/>
                  <a:pt x="533978" y="1303337"/>
                  <a:pt x="529673" y="1305565"/>
                </a:cubicBezTo>
                <a:cubicBezTo>
                  <a:pt x="527599" y="1308478"/>
                  <a:pt x="527599" y="1308478"/>
                  <a:pt x="526549" y="1311202"/>
                </a:cubicBezTo>
                <a:cubicBezTo>
                  <a:pt x="525518" y="1311202"/>
                  <a:pt x="524487" y="1311202"/>
                  <a:pt x="523425" y="1311202"/>
                </a:cubicBezTo>
                <a:cubicBezTo>
                  <a:pt x="523360" y="1311986"/>
                  <a:pt x="523296" y="1312771"/>
                  <a:pt x="523230" y="1313580"/>
                </a:cubicBezTo>
                <a:cubicBezTo>
                  <a:pt x="521863" y="1316839"/>
                  <a:pt x="521863" y="1316839"/>
                  <a:pt x="517732" y="1319739"/>
                </a:cubicBezTo>
                <a:cubicBezTo>
                  <a:pt x="511111" y="1324565"/>
                  <a:pt x="506875" y="1330731"/>
                  <a:pt x="502239" y="1337096"/>
                </a:cubicBezTo>
                <a:cubicBezTo>
                  <a:pt x="500512" y="1339427"/>
                  <a:pt x="498785" y="1341757"/>
                  <a:pt x="497058" y="1344087"/>
                </a:cubicBezTo>
                <a:cubicBezTo>
                  <a:pt x="495827" y="1345760"/>
                  <a:pt x="495827" y="1345760"/>
                  <a:pt x="494572" y="1347465"/>
                </a:cubicBezTo>
                <a:cubicBezTo>
                  <a:pt x="492366" y="1350414"/>
                  <a:pt x="490094" y="1353304"/>
                  <a:pt x="487776" y="1356181"/>
                </a:cubicBezTo>
                <a:cubicBezTo>
                  <a:pt x="484805" y="1359972"/>
                  <a:pt x="482865" y="1363193"/>
                  <a:pt x="481248" y="1367571"/>
                </a:cubicBezTo>
                <a:cubicBezTo>
                  <a:pt x="480216" y="1367571"/>
                  <a:pt x="479186" y="1367571"/>
                  <a:pt x="478123" y="1367571"/>
                </a:cubicBezTo>
                <a:cubicBezTo>
                  <a:pt x="477963" y="1368558"/>
                  <a:pt x="477801" y="1369547"/>
                  <a:pt x="477635" y="1370565"/>
                </a:cubicBezTo>
                <a:cubicBezTo>
                  <a:pt x="475602" y="1378236"/>
                  <a:pt x="471952" y="1383371"/>
                  <a:pt x="465626" y="1388709"/>
                </a:cubicBezTo>
                <a:cubicBezTo>
                  <a:pt x="462272" y="1392748"/>
                  <a:pt x="462272" y="1392748"/>
                  <a:pt x="461233" y="1397340"/>
                </a:cubicBezTo>
                <a:cubicBezTo>
                  <a:pt x="460030" y="1401461"/>
                  <a:pt x="458298" y="1404501"/>
                  <a:pt x="455765" y="1408086"/>
                </a:cubicBezTo>
                <a:cubicBezTo>
                  <a:pt x="442829" y="1428603"/>
                  <a:pt x="441572" y="1454548"/>
                  <a:pt x="439070" y="1477490"/>
                </a:cubicBezTo>
                <a:cubicBezTo>
                  <a:pt x="437524" y="1477955"/>
                  <a:pt x="435977" y="1478420"/>
                  <a:pt x="434384" y="1478899"/>
                </a:cubicBezTo>
                <a:cubicBezTo>
                  <a:pt x="433739" y="1479916"/>
                  <a:pt x="433095" y="1480933"/>
                  <a:pt x="432431" y="1481982"/>
                </a:cubicBezTo>
                <a:cubicBezTo>
                  <a:pt x="428860" y="1487159"/>
                  <a:pt x="424291" y="1490903"/>
                  <a:pt x="418763" y="1494401"/>
                </a:cubicBezTo>
                <a:cubicBezTo>
                  <a:pt x="417731" y="1494401"/>
                  <a:pt x="416701" y="1494401"/>
                  <a:pt x="415639" y="1494401"/>
                </a:cubicBezTo>
                <a:cubicBezTo>
                  <a:pt x="415639" y="1495330"/>
                  <a:pt x="415639" y="1496260"/>
                  <a:pt x="415639" y="1497219"/>
                </a:cubicBezTo>
                <a:cubicBezTo>
                  <a:pt x="412546" y="1497684"/>
                  <a:pt x="409453" y="1498149"/>
                  <a:pt x="406265" y="1498628"/>
                </a:cubicBezTo>
                <a:cubicBezTo>
                  <a:pt x="406265" y="1499559"/>
                  <a:pt x="406265" y="1500488"/>
                  <a:pt x="406265" y="1501447"/>
                </a:cubicBezTo>
                <a:cubicBezTo>
                  <a:pt x="395955" y="1501447"/>
                  <a:pt x="385645" y="1501447"/>
                  <a:pt x="375023" y="1501447"/>
                </a:cubicBezTo>
                <a:lnTo>
                  <a:pt x="375023" y="1499438"/>
                </a:lnTo>
                <a:lnTo>
                  <a:pt x="374964" y="1499436"/>
                </a:lnTo>
                <a:lnTo>
                  <a:pt x="373179" y="1498628"/>
                </a:lnTo>
                <a:lnTo>
                  <a:pt x="365650" y="1498628"/>
                </a:lnTo>
                <a:lnTo>
                  <a:pt x="363134" y="1494087"/>
                </a:lnTo>
                <a:lnTo>
                  <a:pt x="362171" y="1493651"/>
                </a:lnTo>
                <a:cubicBezTo>
                  <a:pt x="361656" y="1492722"/>
                  <a:pt x="361140" y="1491791"/>
                  <a:pt x="360609" y="1490833"/>
                </a:cubicBezTo>
                <a:cubicBezTo>
                  <a:pt x="361640" y="1490833"/>
                  <a:pt x="362671" y="1490833"/>
                  <a:pt x="363733" y="1490833"/>
                </a:cubicBezTo>
                <a:lnTo>
                  <a:pt x="363733" y="1489980"/>
                </a:lnTo>
                <a:lnTo>
                  <a:pt x="348467" y="1481717"/>
                </a:lnTo>
                <a:lnTo>
                  <a:pt x="343872" y="1461078"/>
                </a:lnTo>
                <a:lnTo>
                  <a:pt x="343656" y="1463649"/>
                </a:lnTo>
                <a:cubicBezTo>
                  <a:pt x="343541" y="1465230"/>
                  <a:pt x="343541" y="1465230"/>
                  <a:pt x="343424" y="1466842"/>
                </a:cubicBezTo>
                <a:cubicBezTo>
                  <a:pt x="342908" y="1466842"/>
                  <a:pt x="342393" y="1466842"/>
                  <a:pt x="341861" y="1466842"/>
                </a:cubicBezTo>
                <a:cubicBezTo>
                  <a:pt x="340987" y="1449564"/>
                  <a:pt x="340999" y="1434331"/>
                  <a:pt x="354143" y="1420549"/>
                </a:cubicBezTo>
                <a:cubicBezTo>
                  <a:pt x="360765" y="1414011"/>
                  <a:pt x="367631" y="1407790"/>
                  <a:pt x="376229" y="1403427"/>
                </a:cubicBezTo>
                <a:lnTo>
                  <a:pt x="379491" y="1404408"/>
                </a:lnTo>
                <a:lnTo>
                  <a:pt x="379710" y="1404210"/>
                </a:lnTo>
                <a:cubicBezTo>
                  <a:pt x="380290" y="1402902"/>
                  <a:pt x="380290" y="1402902"/>
                  <a:pt x="380882" y="1401568"/>
                </a:cubicBezTo>
                <a:cubicBezTo>
                  <a:pt x="383675" y="1397284"/>
                  <a:pt x="387587" y="1395610"/>
                  <a:pt x="392207" y="1392936"/>
                </a:cubicBezTo>
                <a:lnTo>
                  <a:pt x="399542" y="1386774"/>
                </a:lnTo>
                <a:lnTo>
                  <a:pt x="405485" y="1378917"/>
                </a:lnTo>
                <a:cubicBezTo>
                  <a:pt x="408065" y="1375974"/>
                  <a:pt x="410029" y="1372774"/>
                  <a:pt x="412008" y="1369481"/>
                </a:cubicBezTo>
                <a:cubicBezTo>
                  <a:pt x="414759" y="1365166"/>
                  <a:pt x="417963" y="1361131"/>
                  <a:pt x="421130" y="1357057"/>
                </a:cubicBezTo>
                <a:cubicBezTo>
                  <a:pt x="423073" y="1354140"/>
                  <a:pt x="423985" y="1351767"/>
                  <a:pt x="424676" y="1348443"/>
                </a:cubicBezTo>
                <a:lnTo>
                  <a:pt x="427275" y="1348443"/>
                </a:lnTo>
                <a:lnTo>
                  <a:pt x="428135" y="1345727"/>
                </a:lnTo>
                <a:cubicBezTo>
                  <a:pt x="429370" y="1341828"/>
                  <a:pt x="430645" y="1338666"/>
                  <a:pt x="432822" y="1335158"/>
                </a:cubicBezTo>
                <a:cubicBezTo>
                  <a:pt x="433853" y="1335158"/>
                  <a:pt x="434884" y="1335158"/>
                  <a:pt x="435946" y="1335158"/>
                </a:cubicBezTo>
                <a:cubicBezTo>
                  <a:pt x="436526" y="1333385"/>
                  <a:pt x="437106" y="1331613"/>
                  <a:pt x="437704" y="1329786"/>
                </a:cubicBezTo>
                <a:cubicBezTo>
                  <a:pt x="440162" y="1323132"/>
                  <a:pt x="443602" y="1317301"/>
                  <a:pt x="447394" y="1311196"/>
                </a:cubicBezTo>
                <a:cubicBezTo>
                  <a:pt x="456493" y="1296485"/>
                  <a:pt x="463325" y="1281864"/>
                  <a:pt x="469287" y="1265964"/>
                </a:cubicBezTo>
                <a:cubicBezTo>
                  <a:pt x="474589" y="1252134"/>
                  <a:pt x="474589" y="1252134"/>
                  <a:pt x="478178" y="1246787"/>
                </a:cubicBezTo>
                <a:cubicBezTo>
                  <a:pt x="481232" y="1240246"/>
                  <a:pt x="480204" y="1232766"/>
                  <a:pt x="480179" y="1225768"/>
                </a:cubicBezTo>
                <a:cubicBezTo>
                  <a:pt x="480174" y="1222894"/>
                  <a:pt x="480210" y="1220023"/>
                  <a:pt x="480250" y="1217149"/>
                </a:cubicBezTo>
                <a:cubicBezTo>
                  <a:pt x="480260" y="1199291"/>
                  <a:pt x="476718" y="1187768"/>
                  <a:pt x="462972" y="1174827"/>
                </a:cubicBezTo>
                <a:cubicBezTo>
                  <a:pt x="461148" y="1173192"/>
                  <a:pt x="459312" y="1171566"/>
                  <a:pt x="457468" y="1169949"/>
                </a:cubicBezTo>
                <a:cubicBezTo>
                  <a:pt x="451412" y="1164522"/>
                  <a:pt x="445876" y="1158660"/>
                  <a:pt x="440657" y="1152570"/>
                </a:cubicBezTo>
                <a:cubicBezTo>
                  <a:pt x="430474" y="1140786"/>
                  <a:pt x="418230" y="1128998"/>
                  <a:pt x="403142" y="1122366"/>
                </a:cubicBezTo>
                <a:cubicBezTo>
                  <a:pt x="402626" y="1121436"/>
                  <a:pt x="402110" y="1120506"/>
                  <a:pt x="401579" y="1119547"/>
                </a:cubicBezTo>
                <a:cubicBezTo>
                  <a:pt x="390472" y="1115326"/>
                  <a:pt x="375918" y="1114217"/>
                  <a:pt x="364564" y="1118209"/>
                </a:cubicBezTo>
                <a:cubicBezTo>
                  <a:pt x="362278" y="1119428"/>
                  <a:pt x="360026" y="1120704"/>
                  <a:pt x="357822" y="1122041"/>
                </a:cubicBezTo>
                <a:cubicBezTo>
                  <a:pt x="354521" y="1123884"/>
                  <a:pt x="351862" y="1124582"/>
                  <a:pt x="348077" y="1125273"/>
                </a:cubicBezTo>
                <a:cubicBezTo>
                  <a:pt x="341765" y="1126696"/>
                  <a:pt x="339382" y="1128619"/>
                  <a:pt x="334408" y="1132230"/>
                </a:cubicBezTo>
                <a:cubicBezTo>
                  <a:pt x="332284" y="1132909"/>
                  <a:pt x="330131" y="1133519"/>
                  <a:pt x="327964" y="1134080"/>
                </a:cubicBezTo>
                <a:cubicBezTo>
                  <a:pt x="309975" y="1139067"/>
                  <a:pt x="290592" y="1152117"/>
                  <a:pt x="279734" y="1166051"/>
                </a:cubicBezTo>
                <a:cubicBezTo>
                  <a:pt x="277929" y="1169534"/>
                  <a:pt x="277929" y="1169534"/>
                  <a:pt x="276609" y="1173098"/>
                </a:cubicBezTo>
                <a:cubicBezTo>
                  <a:pt x="272413" y="1180804"/>
                  <a:pt x="269322" y="1184144"/>
                  <a:pt x="260988" y="1188599"/>
                </a:cubicBezTo>
                <a:cubicBezTo>
                  <a:pt x="259988" y="1189435"/>
                  <a:pt x="258987" y="1190271"/>
                  <a:pt x="257956" y="1191132"/>
                </a:cubicBezTo>
                <a:lnTo>
                  <a:pt x="243805" y="1196629"/>
                </a:lnTo>
                <a:lnTo>
                  <a:pt x="243805" y="1194236"/>
                </a:lnTo>
                <a:lnTo>
                  <a:pt x="240288" y="1194765"/>
                </a:lnTo>
                <a:lnTo>
                  <a:pt x="243374" y="1194765"/>
                </a:lnTo>
                <a:lnTo>
                  <a:pt x="243374" y="1196797"/>
                </a:lnTo>
                <a:lnTo>
                  <a:pt x="243805" y="1196629"/>
                </a:lnTo>
                <a:lnTo>
                  <a:pt x="243805" y="1197055"/>
                </a:lnTo>
                <a:lnTo>
                  <a:pt x="243374" y="1197055"/>
                </a:lnTo>
                <a:lnTo>
                  <a:pt x="243374" y="1197584"/>
                </a:lnTo>
                <a:lnTo>
                  <a:pt x="241319" y="1197595"/>
                </a:lnTo>
                <a:lnTo>
                  <a:pt x="238009" y="1198881"/>
                </a:lnTo>
                <a:cubicBezTo>
                  <a:pt x="231012" y="1199584"/>
                  <a:pt x="223620" y="1198927"/>
                  <a:pt x="215687" y="1198464"/>
                </a:cubicBezTo>
                <a:lnTo>
                  <a:pt x="215687" y="1197734"/>
                </a:lnTo>
                <a:lnTo>
                  <a:pt x="213936" y="1197744"/>
                </a:lnTo>
                <a:cubicBezTo>
                  <a:pt x="210570" y="1197584"/>
                  <a:pt x="210570" y="1197584"/>
                  <a:pt x="207446" y="1196175"/>
                </a:cubicBezTo>
                <a:lnTo>
                  <a:pt x="207822" y="1195610"/>
                </a:lnTo>
                <a:lnTo>
                  <a:pt x="184737" y="1180936"/>
                </a:lnTo>
                <a:cubicBezTo>
                  <a:pt x="180258" y="1172216"/>
                  <a:pt x="179226" y="1164355"/>
                  <a:pt x="179270" y="1154866"/>
                </a:cubicBezTo>
                <a:cubicBezTo>
                  <a:pt x="179233" y="1153260"/>
                  <a:pt x="179233" y="1153260"/>
                  <a:pt x="179194" y="1151621"/>
                </a:cubicBezTo>
                <a:cubicBezTo>
                  <a:pt x="179182" y="1139523"/>
                  <a:pt x="183658" y="1128837"/>
                  <a:pt x="193195" y="1120065"/>
                </a:cubicBezTo>
                <a:cubicBezTo>
                  <a:pt x="204265" y="1110959"/>
                  <a:pt x="215062" y="1110626"/>
                  <a:pt x="229551" y="1110299"/>
                </a:cubicBezTo>
                <a:cubicBezTo>
                  <a:pt x="240132" y="1110024"/>
                  <a:pt x="250506" y="1109652"/>
                  <a:pt x="260988" y="1108274"/>
                </a:cubicBezTo>
                <a:cubicBezTo>
                  <a:pt x="260988" y="1107344"/>
                  <a:pt x="260988" y="1106413"/>
                  <a:pt x="260988" y="1105455"/>
                </a:cubicBezTo>
                <a:cubicBezTo>
                  <a:pt x="261953" y="1105078"/>
                  <a:pt x="262918" y="1104699"/>
                  <a:pt x="263911" y="1104310"/>
                </a:cubicBezTo>
                <a:cubicBezTo>
                  <a:pt x="272903" y="1100557"/>
                  <a:pt x="279802" y="1096307"/>
                  <a:pt x="286995" y="1090185"/>
                </a:cubicBezTo>
                <a:cubicBezTo>
                  <a:pt x="290956" y="1086897"/>
                  <a:pt x="295114" y="1083955"/>
                  <a:pt x="299358" y="1080970"/>
                </a:cubicBezTo>
                <a:cubicBezTo>
                  <a:pt x="306613" y="1075692"/>
                  <a:pt x="312234" y="1070023"/>
                  <a:pt x="317762" y="1063272"/>
                </a:cubicBezTo>
                <a:cubicBezTo>
                  <a:pt x="320349" y="1060360"/>
                  <a:pt x="320349" y="1060360"/>
                  <a:pt x="325035" y="1057542"/>
                </a:cubicBezTo>
                <a:cubicBezTo>
                  <a:pt x="329912" y="1045734"/>
                  <a:pt x="327928" y="1035103"/>
                  <a:pt x="325328" y="1023104"/>
                </a:cubicBezTo>
                <a:cubicBezTo>
                  <a:pt x="325069" y="1021831"/>
                  <a:pt x="324811" y="1020559"/>
                  <a:pt x="324544" y="1019247"/>
                </a:cubicBezTo>
                <a:cubicBezTo>
                  <a:pt x="322876" y="1011407"/>
                  <a:pt x="320562" y="1004340"/>
                  <a:pt x="317225" y="996945"/>
                </a:cubicBezTo>
                <a:cubicBezTo>
                  <a:pt x="316619" y="995541"/>
                  <a:pt x="316013" y="994137"/>
                  <a:pt x="315388" y="992690"/>
                </a:cubicBezTo>
                <a:cubicBezTo>
                  <a:pt x="306307" y="972561"/>
                  <a:pt x="298931" y="959343"/>
                  <a:pt x="276232" y="950666"/>
                </a:cubicBezTo>
                <a:cubicBezTo>
                  <a:pt x="274810" y="950127"/>
                  <a:pt x="273388" y="949587"/>
                  <a:pt x="271923" y="949031"/>
                </a:cubicBezTo>
                <a:cubicBezTo>
                  <a:pt x="270129" y="948244"/>
                  <a:pt x="270129" y="948244"/>
                  <a:pt x="268299" y="947441"/>
                </a:cubicBezTo>
                <a:cubicBezTo>
                  <a:pt x="247071" y="938140"/>
                  <a:pt x="222259" y="939051"/>
                  <a:pt x="199187" y="938991"/>
                </a:cubicBezTo>
                <a:cubicBezTo>
                  <a:pt x="197383" y="938984"/>
                  <a:pt x="195579" y="938978"/>
                  <a:pt x="193719" y="938971"/>
                </a:cubicBezTo>
                <a:cubicBezTo>
                  <a:pt x="192010" y="938974"/>
                  <a:pt x="190300" y="938977"/>
                  <a:pt x="188539" y="938980"/>
                </a:cubicBezTo>
                <a:cubicBezTo>
                  <a:pt x="187000" y="938981"/>
                  <a:pt x="185460" y="938983"/>
                  <a:pt x="183874" y="938985"/>
                </a:cubicBezTo>
                <a:cubicBezTo>
                  <a:pt x="180148" y="939150"/>
                  <a:pt x="177092" y="939720"/>
                  <a:pt x="173509" y="940576"/>
                </a:cubicBezTo>
                <a:cubicBezTo>
                  <a:pt x="169458" y="940674"/>
                  <a:pt x="165452" y="940710"/>
                  <a:pt x="161403" y="940664"/>
                </a:cubicBezTo>
                <a:cubicBezTo>
                  <a:pt x="160314" y="940658"/>
                  <a:pt x="159224" y="940651"/>
                  <a:pt x="158102" y="940645"/>
                </a:cubicBezTo>
                <a:lnTo>
                  <a:pt x="150875" y="940583"/>
                </a:lnTo>
                <a:lnTo>
                  <a:pt x="148425" y="940717"/>
                </a:lnTo>
                <a:lnTo>
                  <a:pt x="149617" y="940995"/>
                </a:lnTo>
                <a:cubicBezTo>
                  <a:pt x="149617" y="941459"/>
                  <a:pt x="149617" y="941924"/>
                  <a:pt x="149617" y="942404"/>
                </a:cubicBezTo>
                <a:cubicBezTo>
                  <a:pt x="148630" y="942558"/>
                  <a:pt x="147643" y="942712"/>
                  <a:pt x="146627" y="942871"/>
                </a:cubicBezTo>
                <a:cubicBezTo>
                  <a:pt x="134541" y="944804"/>
                  <a:pt x="122553" y="947081"/>
                  <a:pt x="110564" y="949449"/>
                </a:cubicBezTo>
                <a:lnTo>
                  <a:pt x="111283" y="946205"/>
                </a:lnTo>
                <a:lnTo>
                  <a:pt x="101652" y="956078"/>
                </a:lnTo>
                <a:cubicBezTo>
                  <a:pt x="99870" y="957260"/>
                  <a:pt x="99870" y="957260"/>
                  <a:pt x="98052" y="958467"/>
                </a:cubicBezTo>
                <a:cubicBezTo>
                  <a:pt x="75683" y="972989"/>
                  <a:pt x="75683" y="972989"/>
                  <a:pt x="67286" y="972989"/>
                </a:cubicBezTo>
                <a:cubicBezTo>
                  <a:pt x="67286" y="973918"/>
                  <a:pt x="67286" y="974848"/>
                  <a:pt x="67286" y="975807"/>
                </a:cubicBezTo>
                <a:cubicBezTo>
                  <a:pt x="55713" y="979519"/>
                  <a:pt x="43549" y="980689"/>
                  <a:pt x="31942" y="976423"/>
                </a:cubicBezTo>
                <a:cubicBezTo>
                  <a:pt x="19953" y="970870"/>
                  <a:pt x="10774" y="964932"/>
                  <a:pt x="5673" y="953419"/>
                </a:cubicBezTo>
                <a:cubicBezTo>
                  <a:pt x="4801" y="950441"/>
                  <a:pt x="4801" y="950441"/>
                  <a:pt x="4801" y="944804"/>
                </a:cubicBezTo>
                <a:cubicBezTo>
                  <a:pt x="3770" y="944804"/>
                  <a:pt x="2739" y="944804"/>
                  <a:pt x="1676" y="944804"/>
                </a:cubicBezTo>
                <a:cubicBezTo>
                  <a:pt x="-34" y="940174"/>
                  <a:pt x="-41" y="936720"/>
                  <a:pt x="17" y="931857"/>
                </a:cubicBezTo>
                <a:cubicBezTo>
                  <a:pt x="31" y="930325"/>
                  <a:pt x="45" y="928794"/>
                  <a:pt x="59" y="927216"/>
                </a:cubicBezTo>
                <a:cubicBezTo>
                  <a:pt x="78" y="926044"/>
                  <a:pt x="96" y="924873"/>
                  <a:pt x="115" y="923666"/>
                </a:cubicBezTo>
                <a:cubicBezTo>
                  <a:pt x="1145" y="923666"/>
                  <a:pt x="2176" y="923666"/>
                  <a:pt x="3238" y="923666"/>
                </a:cubicBezTo>
                <a:cubicBezTo>
                  <a:pt x="3238" y="921805"/>
                  <a:pt x="3238" y="919945"/>
                  <a:pt x="3238" y="918029"/>
                </a:cubicBezTo>
                <a:cubicBezTo>
                  <a:pt x="4270" y="918029"/>
                  <a:pt x="5300" y="918029"/>
                  <a:pt x="6363" y="918029"/>
                </a:cubicBezTo>
                <a:cubicBezTo>
                  <a:pt x="6459" y="916314"/>
                  <a:pt x="6556" y="914599"/>
                  <a:pt x="6656" y="912832"/>
                </a:cubicBezTo>
                <a:cubicBezTo>
                  <a:pt x="7542" y="906455"/>
                  <a:pt x="10104" y="903750"/>
                  <a:pt x="15736" y="899709"/>
                </a:cubicBezTo>
                <a:lnTo>
                  <a:pt x="17243" y="898894"/>
                </a:lnTo>
                <a:lnTo>
                  <a:pt x="16800" y="898694"/>
                </a:lnTo>
                <a:lnTo>
                  <a:pt x="24988" y="894101"/>
                </a:lnTo>
                <a:lnTo>
                  <a:pt x="26768" y="892399"/>
                </a:lnTo>
                <a:cubicBezTo>
                  <a:pt x="28282" y="891122"/>
                  <a:pt x="29038" y="890483"/>
                  <a:pt x="30198" y="890164"/>
                </a:cubicBezTo>
                <a:lnTo>
                  <a:pt x="32204" y="890054"/>
                </a:lnTo>
                <a:lnTo>
                  <a:pt x="38914" y="886291"/>
                </a:lnTo>
                <a:cubicBezTo>
                  <a:pt x="47169" y="885770"/>
                  <a:pt x="55396" y="885800"/>
                  <a:pt x="63664" y="886011"/>
                </a:cubicBezTo>
                <a:lnTo>
                  <a:pt x="63664" y="886531"/>
                </a:lnTo>
                <a:lnTo>
                  <a:pt x="70784" y="886647"/>
                </a:lnTo>
                <a:cubicBezTo>
                  <a:pt x="74787" y="887000"/>
                  <a:pt x="77233" y="887948"/>
                  <a:pt x="82126" y="889845"/>
                </a:cubicBezTo>
                <a:cubicBezTo>
                  <a:pt x="92427" y="893791"/>
                  <a:pt x="103139" y="893710"/>
                  <a:pt x="114149" y="892663"/>
                </a:cubicBezTo>
                <a:cubicBezTo>
                  <a:pt x="115696" y="891733"/>
                  <a:pt x="117242" y="890803"/>
                  <a:pt x="118836" y="889845"/>
                </a:cubicBezTo>
                <a:cubicBezTo>
                  <a:pt x="123097" y="888850"/>
                  <a:pt x="127325" y="887944"/>
                  <a:pt x="131626" y="887114"/>
                </a:cubicBezTo>
                <a:cubicBezTo>
                  <a:pt x="139750" y="885542"/>
                  <a:pt x="147376" y="883653"/>
                  <a:pt x="155116" y="880913"/>
                </a:cubicBezTo>
                <a:cubicBezTo>
                  <a:pt x="158498" y="879775"/>
                  <a:pt x="161861" y="879076"/>
                  <a:pt x="165406" y="878483"/>
                </a:cubicBezTo>
                <a:cubicBezTo>
                  <a:pt x="170342" y="877655"/>
                  <a:pt x="172265" y="876971"/>
                  <a:pt x="176634" y="874343"/>
                </a:cubicBezTo>
                <a:cubicBezTo>
                  <a:pt x="179863" y="873335"/>
                  <a:pt x="183123" y="872404"/>
                  <a:pt x="186397" y="871524"/>
                </a:cubicBezTo>
                <a:cubicBezTo>
                  <a:pt x="189107" y="870786"/>
                  <a:pt x="189107" y="870786"/>
                  <a:pt x="191871" y="870033"/>
                </a:cubicBezTo>
                <a:cubicBezTo>
                  <a:pt x="195731" y="869023"/>
                  <a:pt x="199587" y="868093"/>
                  <a:pt x="203483" y="867208"/>
                </a:cubicBezTo>
                <a:cubicBezTo>
                  <a:pt x="208339" y="866199"/>
                  <a:pt x="208339" y="866199"/>
                  <a:pt x="211001" y="861660"/>
                </a:cubicBezTo>
                <a:cubicBezTo>
                  <a:pt x="214174" y="860102"/>
                  <a:pt x="214174" y="860102"/>
                  <a:pt x="218031" y="858577"/>
                </a:cubicBezTo>
                <a:cubicBezTo>
                  <a:pt x="236068" y="850629"/>
                  <a:pt x="245199" y="840442"/>
                  <a:pt x="254740" y="825020"/>
                </a:cubicBezTo>
                <a:cubicBezTo>
                  <a:pt x="255771" y="823625"/>
                  <a:pt x="256802" y="822230"/>
                  <a:pt x="257864" y="820792"/>
                </a:cubicBezTo>
                <a:cubicBezTo>
                  <a:pt x="258359" y="817506"/>
                  <a:pt x="258359" y="817506"/>
                  <a:pt x="258318" y="813810"/>
                </a:cubicBezTo>
                <a:cubicBezTo>
                  <a:pt x="258338" y="812388"/>
                  <a:pt x="258358" y="810967"/>
                  <a:pt x="258378" y="809502"/>
                </a:cubicBezTo>
                <a:cubicBezTo>
                  <a:pt x="258382" y="807965"/>
                  <a:pt x="258385" y="806429"/>
                  <a:pt x="258389" y="804845"/>
                </a:cubicBezTo>
                <a:cubicBezTo>
                  <a:pt x="258399" y="803258"/>
                  <a:pt x="258410" y="801671"/>
                  <a:pt x="258420" y="800036"/>
                </a:cubicBezTo>
                <a:cubicBezTo>
                  <a:pt x="258436" y="796670"/>
                  <a:pt x="258443" y="793305"/>
                  <a:pt x="258443" y="789939"/>
                </a:cubicBezTo>
                <a:cubicBezTo>
                  <a:pt x="258450" y="784823"/>
                  <a:pt x="258506" y="779709"/>
                  <a:pt x="258566" y="774594"/>
                </a:cubicBezTo>
                <a:cubicBezTo>
                  <a:pt x="258575" y="771319"/>
                  <a:pt x="258581" y="768045"/>
                  <a:pt x="258584" y="764771"/>
                </a:cubicBezTo>
                <a:cubicBezTo>
                  <a:pt x="258618" y="762495"/>
                  <a:pt x="258618" y="762495"/>
                  <a:pt x="258652" y="760174"/>
                </a:cubicBezTo>
                <a:cubicBezTo>
                  <a:pt x="258586" y="750030"/>
                  <a:pt x="256266" y="742584"/>
                  <a:pt x="251616" y="733421"/>
                </a:cubicBezTo>
                <a:cubicBezTo>
                  <a:pt x="250163" y="729605"/>
                  <a:pt x="248880" y="725752"/>
                  <a:pt x="247613" y="721883"/>
                </a:cubicBezTo>
                <a:cubicBezTo>
                  <a:pt x="245789" y="716328"/>
                  <a:pt x="243913" y="710939"/>
                  <a:pt x="241291" y="705644"/>
                </a:cubicBezTo>
                <a:cubicBezTo>
                  <a:pt x="238691" y="700096"/>
                  <a:pt x="238136" y="695685"/>
                  <a:pt x="237557" y="689735"/>
                </a:cubicBezTo>
                <a:cubicBezTo>
                  <a:pt x="244977" y="685507"/>
                  <a:pt x="244977" y="685507"/>
                  <a:pt x="248492" y="685507"/>
                </a:cubicBezTo>
                <a:cubicBezTo>
                  <a:pt x="248492" y="684112"/>
                  <a:pt x="248492" y="682717"/>
                  <a:pt x="248492" y="681279"/>
                </a:cubicBezTo>
                <a:cubicBezTo>
                  <a:pt x="245914" y="680815"/>
                  <a:pt x="243337" y="680350"/>
                  <a:pt x="240681" y="679870"/>
                </a:cubicBezTo>
                <a:cubicBezTo>
                  <a:pt x="240681" y="678940"/>
                  <a:pt x="240681" y="678010"/>
                  <a:pt x="240681" y="677052"/>
                </a:cubicBezTo>
                <a:cubicBezTo>
                  <a:pt x="239827" y="676917"/>
                  <a:pt x="238973" y="676783"/>
                  <a:pt x="238094" y="676645"/>
                </a:cubicBezTo>
                <a:cubicBezTo>
                  <a:pt x="233442" y="675371"/>
                  <a:pt x="229939" y="673242"/>
                  <a:pt x="225841" y="670886"/>
                </a:cubicBezTo>
                <a:cubicBezTo>
                  <a:pt x="217808" y="666564"/>
                  <a:pt x="210635" y="664241"/>
                  <a:pt x="201531" y="662508"/>
                </a:cubicBezTo>
                <a:cubicBezTo>
                  <a:pt x="196896" y="661541"/>
                  <a:pt x="192682" y="660199"/>
                  <a:pt x="188252" y="658644"/>
                </a:cubicBezTo>
                <a:lnTo>
                  <a:pt x="182431" y="657327"/>
                </a:lnTo>
                <a:lnTo>
                  <a:pt x="182431" y="657613"/>
                </a:lnTo>
                <a:cubicBezTo>
                  <a:pt x="170575" y="657148"/>
                  <a:pt x="158718" y="656683"/>
                  <a:pt x="146503" y="656204"/>
                </a:cubicBezTo>
                <a:cubicBezTo>
                  <a:pt x="146503" y="657133"/>
                  <a:pt x="146503" y="658064"/>
                  <a:pt x="146503" y="659022"/>
                </a:cubicBezTo>
                <a:cubicBezTo>
                  <a:pt x="134359" y="662326"/>
                  <a:pt x="123013" y="663700"/>
                  <a:pt x="110378" y="663778"/>
                </a:cubicBezTo>
                <a:cubicBezTo>
                  <a:pt x="108435" y="663806"/>
                  <a:pt x="108435" y="663806"/>
                  <a:pt x="106453" y="663836"/>
                </a:cubicBezTo>
                <a:cubicBezTo>
                  <a:pt x="105231" y="663828"/>
                  <a:pt x="104009" y="663820"/>
                  <a:pt x="102751" y="663811"/>
                </a:cubicBezTo>
                <a:cubicBezTo>
                  <a:pt x="101117" y="663804"/>
                  <a:pt x="101117" y="663804"/>
                  <a:pt x="99449" y="663797"/>
                </a:cubicBezTo>
                <a:cubicBezTo>
                  <a:pt x="95696" y="663097"/>
                  <a:pt x="94265" y="661615"/>
                  <a:pt x="91828" y="659022"/>
                </a:cubicBezTo>
                <a:cubicBezTo>
                  <a:pt x="93890" y="659022"/>
                  <a:pt x="95953" y="659022"/>
                  <a:pt x="98077" y="659022"/>
                </a:cubicBezTo>
                <a:cubicBezTo>
                  <a:pt x="98077" y="659952"/>
                  <a:pt x="98077" y="660882"/>
                  <a:pt x="98077" y="661841"/>
                </a:cubicBezTo>
                <a:cubicBezTo>
                  <a:pt x="108735" y="662045"/>
                  <a:pt x="114063" y="662148"/>
                  <a:pt x="119023" y="661357"/>
                </a:cubicBezTo>
                <a:lnTo>
                  <a:pt x="119536" y="661197"/>
                </a:lnTo>
                <a:lnTo>
                  <a:pt x="109853" y="661639"/>
                </a:lnTo>
                <a:cubicBezTo>
                  <a:pt x="108764" y="661632"/>
                  <a:pt x="107675" y="661626"/>
                  <a:pt x="106552" y="661619"/>
                </a:cubicBezTo>
                <a:cubicBezTo>
                  <a:pt x="103877" y="661603"/>
                  <a:pt x="101203" y="661577"/>
                  <a:pt x="98528" y="661550"/>
                </a:cubicBezTo>
                <a:cubicBezTo>
                  <a:pt x="98528" y="660620"/>
                  <a:pt x="98528" y="659691"/>
                  <a:pt x="98528" y="658732"/>
                </a:cubicBezTo>
                <a:cubicBezTo>
                  <a:pt x="95435" y="658267"/>
                  <a:pt x="92342" y="657802"/>
                  <a:pt x="89155" y="657323"/>
                </a:cubicBezTo>
                <a:cubicBezTo>
                  <a:pt x="89155" y="656393"/>
                  <a:pt x="89155" y="655462"/>
                  <a:pt x="89155" y="654504"/>
                </a:cubicBezTo>
                <a:cubicBezTo>
                  <a:pt x="87790" y="653978"/>
                  <a:pt x="87790" y="653978"/>
                  <a:pt x="86397" y="653442"/>
                </a:cubicBezTo>
                <a:cubicBezTo>
                  <a:pt x="82415" y="651438"/>
                  <a:pt x="80039" y="649232"/>
                  <a:pt x="77049" y="646137"/>
                </a:cubicBezTo>
                <a:cubicBezTo>
                  <a:pt x="75611" y="644679"/>
                  <a:pt x="75611" y="644679"/>
                  <a:pt x="74145" y="643192"/>
                </a:cubicBezTo>
                <a:cubicBezTo>
                  <a:pt x="71972" y="640412"/>
                  <a:pt x="71972" y="640412"/>
                  <a:pt x="71972" y="636185"/>
                </a:cubicBezTo>
                <a:cubicBezTo>
                  <a:pt x="70941" y="636185"/>
                  <a:pt x="69910" y="636185"/>
                  <a:pt x="68848" y="636185"/>
                </a:cubicBezTo>
                <a:cubicBezTo>
                  <a:pt x="64250" y="621928"/>
                  <a:pt x="64695" y="609404"/>
                  <a:pt x="70410" y="595317"/>
                </a:cubicBezTo>
                <a:cubicBezTo>
                  <a:pt x="73096" y="591142"/>
                  <a:pt x="76144" y="587574"/>
                  <a:pt x="79782" y="584043"/>
                </a:cubicBezTo>
                <a:cubicBezTo>
                  <a:pt x="81205" y="582594"/>
                  <a:pt x="81205" y="582594"/>
                  <a:pt x="82656" y="581115"/>
                </a:cubicBezTo>
                <a:cubicBezTo>
                  <a:pt x="91488" y="574027"/>
                  <a:pt x="105133" y="571806"/>
                  <a:pt x="116694" y="572323"/>
                </a:cubicBezTo>
                <a:cubicBezTo>
                  <a:pt x="131556" y="574113"/>
                  <a:pt x="142046" y="580551"/>
                  <a:pt x="152031" y="590385"/>
                </a:cubicBezTo>
                <a:cubicBezTo>
                  <a:pt x="162272" y="600009"/>
                  <a:pt x="176992" y="605062"/>
                  <a:pt x="191474" y="605886"/>
                </a:cubicBezTo>
                <a:cubicBezTo>
                  <a:pt x="196845" y="606192"/>
                  <a:pt x="201203" y="606463"/>
                  <a:pt x="206314" y="608000"/>
                </a:cubicBezTo>
                <a:cubicBezTo>
                  <a:pt x="206314" y="608930"/>
                  <a:pt x="206314" y="609860"/>
                  <a:pt x="206314" y="610818"/>
                </a:cubicBezTo>
                <a:cubicBezTo>
                  <a:pt x="215689" y="610902"/>
                  <a:pt x="225058" y="610898"/>
                  <a:pt x="234433" y="610818"/>
                </a:cubicBezTo>
                <a:cubicBezTo>
                  <a:pt x="236112" y="610813"/>
                  <a:pt x="237791" y="610808"/>
                  <a:pt x="239522" y="610802"/>
                </a:cubicBezTo>
                <a:cubicBezTo>
                  <a:pt x="251005" y="610364"/>
                  <a:pt x="259257" y="606564"/>
                  <a:pt x="268799" y="600954"/>
                </a:cubicBezTo>
                <a:cubicBezTo>
                  <a:pt x="269770" y="600416"/>
                  <a:pt x="270740" y="599879"/>
                  <a:pt x="271740" y="599325"/>
                </a:cubicBezTo>
                <a:cubicBezTo>
                  <a:pt x="279452" y="594430"/>
                  <a:pt x="281420" y="587464"/>
                  <a:pt x="284420" y="579816"/>
                </a:cubicBezTo>
                <a:cubicBezTo>
                  <a:pt x="286047" y="576075"/>
                  <a:pt x="287725" y="572353"/>
                  <a:pt x="289399" y="568630"/>
                </a:cubicBezTo>
                <a:cubicBezTo>
                  <a:pt x="294095" y="558121"/>
                  <a:pt x="299004" y="547070"/>
                  <a:pt x="293958" y="535838"/>
                </a:cubicBezTo>
                <a:cubicBezTo>
                  <a:pt x="292436" y="533533"/>
                  <a:pt x="290781" y="531301"/>
                  <a:pt x="289107" y="529084"/>
                </a:cubicBezTo>
                <a:cubicBezTo>
                  <a:pt x="289107" y="528153"/>
                  <a:pt x="289107" y="527223"/>
                  <a:pt x="289107" y="526265"/>
                </a:cubicBezTo>
                <a:cubicBezTo>
                  <a:pt x="287560" y="525800"/>
                  <a:pt x="286014" y="525335"/>
                  <a:pt x="284420" y="524856"/>
                </a:cubicBezTo>
                <a:cubicBezTo>
                  <a:pt x="283905" y="523461"/>
                  <a:pt x="283389" y="522066"/>
                  <a:pt x="282858" y="520628"/>
                </a:cubicBezTo>
                <a:cubicBezTo>
                  <a:pt x="280750" y="518590"/>
                  <a:pt x="280750" y="518590"/>
                  <a:pt x="277977" y="516577"/>
                </a:cubicBezTo>
                <a:cubicBezTo>
                  <a:pt x="273591" y="513232"/>
                  <a:pt x="269227" y="509874"/>
                  <a:pt x="264925" y="506443"/>
                </a:cubicBezTo>
                <a:cubicBezTo>
                  <a:pt x="253596" y="497433"/>
                  <a:pt x="242132" y="488987"/>
                  <a:pt x="229746" y="481170"/>
                </a:cubicBezTo>
                <a:cubicBezTo>
                  <a:pt x="226846" y="479266"/>
                  <a:pt x="223950" y="477358"/>
                  <a:pt x="221057" y="475445"/>
                </a:cubicBezTo>
                <a:cubicBezTo>
                  <a:pt x="218227" y="473594"/>
                  <a:pt x="215396" y="471744"/>
                  <a:pt x="212563" y="469896"/>
                </a:cubicBezTo>
                <a:cubicBezTo>
                  <a:pt x="211351" y="469102"/>
                  <a:pt x="210138" y="468309"/>
                  <a:pt x="208889" y="467491"/>
                </a:cubicBezTo>
                <a:cubicBezTo>
                  <a:pt x="202848" y="463599"/>
                  <a:pt x="196732" y="459888"/>
                  <a:pt x="190406" y="456382"/>
                </a:cubicBezTo>
                <a:cubicBezTo>
                  <a:pt x="189263" y="455748"/>
                  <a:pt x="188119" y="455114"/>
                  <a:pt x="186942" y="454460"/>
                </a:cubicBezTo>
                <a:cubicBezTo>
                  <a:pt x="184648" y="453196"/>
                  <a:pt x="182348" y="451941"/>
                  <a:pt x="180041" y="450696"/>
                </a:cubicBezTo>
                <a:cubicBezTo>
                  <a:pt x="177292" y="449185"/>
                  <a:pt x="174612" y="447571"/>
                  <a:pt x="171948" y="445940"/>
                </a:cubicBezTo>
                <a:cubicBezTo>
                  <a:pt x="171948" y="445009"/>
                  <a:pt x="171948" y="444079"/>
                  <a:pt x="171948" y="443121"/>
                </a:cubicBezTo>
                <a:cubicBezTo>
                  <a:pt x="170804" y="442985"/>
                  <a:pt x="169660" y="442848"/>
                  <a:pt x="168482" y="442708"/>
                </a:cubicBezTo>
                <a:cubicBezTo>
                  <a:pt x="163547" y="441576"/>
                  <a:pt x="161063" y="439897"/>
                  <a:pt x="157107" y="437044"/>
                </a:cubicBezTo>
                <a:cubicBezTo>
                  <a:pt x="149345" y="431895"/>
                  <a:pt x="141843" y="429626"/>
                  <a:pt x="132559" y="427510"/>
                </a:cubicBezTo>
                <a:cubicBezTo>
                  <a:pt x="128067" y="426168"/>
                  <a:pt x="126607" y="425060"/>
                  <a:pt x="123522" y="421983"/>
                </a:cubicBezTo>
                <a:cubicBezTo>
                  <a:pt x="118310" y="419033"/>
                  <a:pt x="114076" y="418794"/>
                  <a:pt x="107986" y="418730"/>
                </a:cubicBezTo>
                <a:cubicBezTo>
                  <a:pt x="106174" y="418694"/>
                  <a:pt x="104362" y="418659"/>
                  <a:pt x="102494" y="418622"/>
                </a:cubicBezTo>
                <a:cubicBezTo>
                  <a:pt x="98715" y="418573"/>
                  <a:pt x="94936" y="418529"/>
                  <a:pt x="91157" y="418490"/>
                </a:cubicBezTo>
                <a:cubicBezTo>
                  <a:pt x="78470" y="418231"/>
                  <a:pt x="65485" y="417940"/>
                  <a:pt x="55277" y="410445"/>
                </a:cubicBezTo>
                <a:cubicBezTo>
                  <a:pt x="54084" y="409137"/>
                  <a:pt x="52893" y="407829"/>
                  <a:pt x="51665" y="406481"/>
                </a:cubicBezTo>
                <a:cubicBezTo>
                  <a:pt x="49752" y="404480"/>
                  <a:pt x="47831" y="402483"/>
                  <a:pt x="45904" y="400492"/>
                </a:cubicBezTo>
                <a:cubicBezTo>
                  <a:pt x="44996" y="399526"/>
                  <a:pt x="44088" y="398559"/>
                  <a:pt x="43152" y="397564"/>
                </a:cubicBezTo>
                <a:cubicBezTo>
                  <a:pt x="40865" y="395062"/>
                  <a:pt x="40865" y="395062"/>
                  <a:pt x="37605" y="393798"/>
                </a:cubicBezTo>
                <a:lnTo>
                  <a:pt x="38995" y="368712"/>
                </a:lnTo>
                <a:lnTo>
                  <a:pt x="38666" y="369724"/>
                </a:lnTo>
                <a:cubicBezTo>
                  <a:pt x="37003" y="374506"/>
                  <a:pt x="36202" y="379113"/>
                  <a:pt x="35542" y="384081"/>
                </a:cubicBezTo>
                <a:cubicBezTo>
                  <a:pt x="30313" y="376119"/>
                  <a:pt x="31188" y="366593"/>
                  <a:pt x="33326" y="357791"/>
                </a:cubicBezTo>
                <a:cubicBezTo>
                  <a:pt x="37176" y="347767"/>
                  <a:pt x="44536" y="340769"/>
                  <a:pt x="52725" y="333349"/>
                </a:cubicBezTo>
                <a:lnTo>
                  <a:pt x="55222" y="334475"/>
                </a:lnTo>
                <a:lnTo>
                  <a:pt x="56222" y="333347"/>
                </a:lnTo>
                <a:lnTo>
                  <a:pt x="55871" y="333347"/>
                </a:lnTo>
                <a:lnTo>
                  <a:pt x="56346" y="333207"/>
                </a:lnTo>
                <a:lnTo>
                  <a:pt x="56351" y="333202"/>
                </a:lnTo>
                <a:lnTo>
                  <a:pt x="56365" y="333202"/>
                </a:lnTo>
                <a:lnTo>
                  <a:pt x="79571" y="326360"/>
                </a:lnTo>
                <a:cubicBezTo>
                  <a:pt x="87782" y="326037"/>
                  <a:pt x="96164" y="327572"/>
                  <a:pt x="104297" y="330529"/>
                </a:cubicBezTo>
                <a:lnTo>
                  <a:pt x="107170" y="334417"/>
                </a:lnTo>
                <a:lnTo>
                  <a:pt x="109366" y="336046"/>
                </a:lnTo>
                <a:lnTo>
                  <a:pt x="109463" y="336020"/>
                </a:lnTo>
                <a:lnTo>
                  <a:pt x="109463" y="336118"/>
                </a:lnTo>
                <a:lnTo>
                  <a:pt x="115226" y="340394"/>
                </a:lnTo>
                <a:lnTo>
                  <a:pt x="114010" y="340120"/>
                </a:lnTo>
                <a:lnTo>
                  <a:pt x="133285" y="357423"/>
                </a:lnTo>
                <a:cubicBezTo>
                  <a:pt x="142471" y="373187"/>
                  <a:pt x="155564" y="382744"/>
                  <a:pt x="173509" y="389571"/>
                </a:cubicBezTo>
                <a:cubicBezTo>
                  <a:pt x="176254" y="390785"/>
                  <a:pt x="178988" y="392017"/>
                  <a:pt x="181711" y="393270"/>
                </a:cubicBezTo>
                <a:cubicBezTo>
                  <a:pt x="182964" y="393833"/>
                  <a:pt x="184216" y="394396"/>
                  <a:pt x="185507" y="394976"/>
                </a:cubicBezTo>
                <a:cubicBezTo>
                  <a:pt x="187897" y="396058"/>
                  <a:pt x="190281" y="397151"/>
                  <a:pt x="192658" y="398257"/>
                </a:cubicBezTo>
                <a:cubicBezTo>
                  <a:pt x="193749" y="398762"/>
                  <a:pt x="194841" y="399267"/>
                  <a:pt x="195966" y="399788"/>
                </a:cubicBezTo>
                <a:cubicBezTo>
                  <a:pt x="196912" y="400231"/>
                  <a:pt x="197858" y="400674"/>
                  <a:pt x="198833" y="401131"/>
                </a:cubicBezTo>
                <a:cubicBezTo>
                  <a:pt x="201808" y="402326"/>
                  <a:pt x="204701" y="403032"/>
                  <a:pt x="207877" y="403663"/>
                </a:cubicBezTo>
                <a:cubicBezTo>
                  <a:pt x="207877" y="404593"/>
                  <a:pt x="207877" y="405523"/>
                  <a:pt x="207877" y="406481"/>
                </a:cubicBezTo>
                <a:cubicBezTo>
                  <a:pt x="221233" y="411377"/>
                  <a:pt x="234752" y="415503"/>
                  <a:pt x="248492" y="419428"/>
                </a:cubicBezTo>
                <a:cubicBezTo>
                  <a:pt x="250298" y="419947"/>
                  <a:pt x="252104" y="420466"/>
                  <a:pt x="253965" y="421000"/>
                </a:cubicBezTo>
                <a:cubicBezTo>
                  <a:pt x="258388" y="422270"/>
                  <a:pt x="262812" y="423537"/>
                  <a:pt x="267237" y="424801"/>
                </a:cubicBezTo>
                <a:lnTo>
                  <a:pt x="267237" y="426451"/>
                </a:lnTo>
                <a:lnTo>
                  <a:pt x="288701" y="429217"/>
                </a:lnTo>
                <a:cubicBezTo>
                  <a:pt x="288701" y="430147"/>
                  <a:pt x="288701" y="431078"/>
                  <a:pt x="288701" y="432036"/>
                </a:cubicBezTo>
                <a:cubicBezTo>
                  <a:pt x="301487" y="433472"/>
                  <a:pt x="314148" y="433662"/>
                  <a:pt x="327010" y="433628"/>
                </a:cubicBezTo>
                <a:cubicBezTo>
                  <a:pt x="330502" y="433621"/>
                  <a:pt x="333994" y="433628"/>
                  <a:pt x="337486" y="433637"/>
                </a:cubicBezTo>
                <a:cubicBezTo>
                  <a:pt x="339734" y="433637"/>
                  <a:pt x="341982" y="433635"/>
                  <a:pt x="344229" y="433632"/>
                </a:cubicBezTo>
                <a:cubicBezTo>
                  <a:pt x="347246" y="433630"/>
                  <a:pt x="347246" y="433630"/>
                  <a:pt x="350323" y="433627"/>
                </a:cubicBezTo>
                <a:cubicBezTo>
                  <a:pt x="355445" y="433459"/>
                  <a:pt x="360220" y="432915"/>
                  <a:pt x="365245" y="432036"/>
                </a:cubicBezTo>
                <a:lnTo>
                  <a:pt x="360797" y="433759"/>
                </a:lnTo>
                <a:lnTo>
                  <a:pt x="365650" y="433257"/>
                </a:lnTo>
                <a:cubicBezTo>
                  <a:pt x="366166" y="431861"/>
                  <a:pt x="366682" y="430466"/>
                  <a:pt x="367213" y="429029"/>
                </a:cubicBezTo>
                <a:cubicBezTo>
                  <a:pt x="369854" y="427628"/>
                  <a:pt x="372501" y="426234"/>
                  <a:pt x="375188" y="424906"/>
                </a:cubicBezTo>
                <a:cubicBezTo>
                  <a:pt x="390245" y="417204"/>
                  <a:pt x="397438" y="403183"/>
                  <a:pt x="404704" y="389571"/>
                </a:cubicBezTo>
                <a:cubicBezTo>
                  <a:pt x="405219" y="389105"/>
                  <a:pt x="405734" y="388641"/>
                  <a:pt x="406265" y="388161"/>
                </a:cubicBezTo>
                <a:cubicBezTo>
                  <a:pt x="406663" y="382152"/>
                  <a:pt x="406555" y="376125"/>
                  <a:pt x="406559" y="370106"/>
                </a:cubicBezTo>
                <a:cubicBezTo>
                  <a:pt x="406578" y="368412"/>
                  <a:pt x="406597" y="366718"/>
                  <a:pt x="406617" y="364973"/>
                </a:cubicBezTo>
                <a:cubicBezTo>
                  <a:pt x="406620" y="363344"/>
                  <a:pt x="406622" y="361715"/>
                  <a:pt x="406626" y="360038"/>
                </a:cubicBezTo>
                <a:cubicBezTo>
                  <a:pt x="406632" y="358541"/>
                  <a:pt x="406638" y="357045"/>
                  <a:pt x="406645" y="355503"/>
                </a:cubicBezTo>
                <a:cubicBezTo>
                  <a:pt x="406264" y="351503"/>
                  <a:pt x="405326" y="349318"/>
                  <a:pt x="403142" y="345885"/>
                </a:cubicBezTo>
                <a:cubicBezTo>
                  <a:pt x="402583" y="343484"/>
                  <a:pt x="402067" y="341075"/>
                  <a:pt x="401579" y="338663"/>
                </a:cubicBezTo>
                <a:cubicBezTo>
                  <a:pt x="399365" y="330323"/>
                  <a:pt x="395538" y="323370"/>
                  <a:pt x="390938" y="315939"/>
                </a:cubicBezTo>
                <a:cubicBezTo>
                  <a:pt x="390290" y="314890"/>
                  <a:pt x="389642" y="313842"/>
                  <a:pt x="388976" y="312762"/>
                </a:cubicBezTo>
                <a:cubicBezTo>
                  <a:pt x="385623" y="307500"/>
                  <a:pt x="382070" y="302607"/>
                  <a:pt x="377934" y="297817"/>
                </a:cubicBezTo>
                <a:cubicBezTo>
                  <a:pt x="373788" y="292978"/>
                  <a:pt x="371423" y="288111"/>
                  <a:pt x="368775" y="282470"/>
                </a:cubicBezTo>
                <a:cubicBezTo>
                  <a:pt x="366035" y="278585"/>
                  <a:pt x="362994" y="274937"/>
                  <a:pt x="359890" y="271284"/>
                </a:cubicBezTo>
                <a:cubicBezTo>
                  <a:pt x="359059" y="270296"/>
                  <a:pt x="358230" y="269307"/>
                  <a:pt x="357374" y="268288"/>
                </a:cubicBezTo>
                <a:cubicBezTo>
                  <a:pt x="351312" y="261177"/>
                  <a:pt x="344882" y="254704"/>
                  <a:pt x="337533" y="248649"/>
                </a:cubicBezTo>
                <a:cubicBezTo>
                  <a:pt x="336767" y="247896"/>
                  <a:pt x="336002" y="247144"/>
                  <a:pt x="335214" y="246369"/>
                </a:cubicBezTo>
                <a:cubicBezTo>
                  <a:pt x="332597" y="243963"/>
                  <a:pt x="332597" y="243963"/>
                  <a:pt x="327085" y="242571"/>
                </a:cubicBezTo>
                <a:cubicBezTo>
                  <a:pt x="309670" y="236923"/>
                  <a:pt x="296614" y="222751"/>
                  <a:pt x="288785" y="207968"/>
                </a:cubicBezTo>
                <a:cubicBezTo>
                  <a:pt x="286673" y="202851"/>
                  <a:pt x="286348" y="197968"/>
                  <a:pt x="286373" y="192544"/>
                </a:cubicBezTo>
                <a:cubicBezTo>
                  <a:pt x="286377" y="191437"/>
                  <a:pt x="286381" y="190330"/>
                  <a:pt x="286385" y="189190"/>
                </a:cubicBezTo>
                <a:cubicBezTo>
                  <a:pt x="286881" y="178340"/>
                  <a:pt x="291581" y="171728"/>
                  <a:pt x="300042" y="164095"/>
                </a:cubicBezTo>
                <a:cubicBezTo>
                  <a:pt x="301386" y="162752"/>
                  <a:pt x="301386" y="162752"/>
                  <a:pt x="302757" y="161381"/>
                </a:cubicBezTo>
                <a:cubicBezTo>
                  <a:pt x="312597" y="152504"/>
                  <a:pt x="325185" y="152675"/>
                  <a:pt x="338411" y="152293"/>
                </a:cubicBezTo>
                <a:cubicBezTo>
                  <a:pt x="350839" y="152463"/>
                  <a:pt x="359094" y="154554"/>
                  <a:pt x="368482" y="161893"/>
                </a:cubicBezTo>
                <a:cubicBezTo>
                  <a:pt x="369609" y="163085"/>
                  <a:pt x="370737" y="164277"/>
                  <a:pt x="371899" y="165505"/>
                </a:cubicBezTo>
                <a:cubicBezTo>
                  <a:pt x="372962" y="166522"/>
                  <a:pt x="374026" y="167539"/>
                  <a:pt x="375121" y="168587"/>
                </a:cubicBezTo>
                <a:cubicBezTo>
                  <a:pt x="381050" y="176351"/>
                  <a:pt x="384520" y="184328"/>
                  <a:pt x="384982" y="193777"/>
                </a:cubicBezTo>
                <a:cubicBezTo>
                  <a:pt x="385464" y="201192"/>
                  <a:pt x="387638" y="207607"/>
                  <a:pt x="390352" y="214563"/>
                </a:cubicBezTo>
                <a:cubicBezTo>
                  <a:pt x="390934" y="216079"/>
                  <a:pt x="390934" y="216079"/>
                  <a:pt x="391529" y="217626"/>
                </a:cubicBezTo>
                <a:cubicBezTo>
                  <a:pt x="394082" y="223926"/>
                  <a:pt x="397412" y="228969"/>
                  <a:pt x="401579" y="234556"/>
                </a:cubicBezTo>
                <a:cubicBezTo>
                  <a:pt x="401579" y="235952"/>
                  <a:pt x="401579" y="237347"/>
                  <a:pt x="401579" y="238784"/>
                </a:cubicBezTo>
                <a:cubicBezTo>
                  <a:pt x="402884" y="239263"/>
                  <a:pt x="402884" y="239263"/>
                  <a:pt x="404215" y="239753"/>
                </a:cubicBezTo>
                <a:cubicBezTo>
                  <a:pt x="410099" y="242765"/>
                  <a:pt x="414395" y="246733"/>
                  <a:pt x="417811" y="251996"/>
                </a:cubicBezTo>
                <a:cubicBezTo>
                  <a:pt x="420462" y="255897"/>
                  <a:pt x="423407" y="258959"/>
                  <a:pt x="426866" y="262300"/>
                </a:cubicBezTo>
                <a:cubicBezTo>
                  <a:pt x="435101" y="270407"/>
                  <a:pt x="442641" y="278936"/>
                  <a:pt x="450097" y="287628"/>
                </a:cubicBezTo>
                <a:cubicBezTo>
                  <a:pt x="453081" y="291117"/>
                  <a:pt x="453081" y="291117"/>
                  <a:pt x="457425" y="293920"/>
                </a:cubicBezTo>
                <a:cubicBezTo>
                  <a:pt x="458585" y="294792"/>
                  <a:pt x="459745" y="295664"/>
                  <a:pt x="460940" y="296562"/>
                </a:cubicBezTo>
                <a:cubicBezTo>
                  <a:pt x="460940" y="297957"/>
                  <a:pt x="460940" y="299352"/>
                  <a:pt x="460940" y="300790"/>
                </a:cubicBezTo>
                <a:cubicBezTo>
                  <a:pt x="465063" y="302782"/>
                  <a:pt x="468862" y="304133"/>
                  <a:pt x="473437" y="305018"/>
                </a:cubicBezTo>
                <a:cubicBezTo>
                  <a:pt x="473437" y="305947"/>
                  <a:pt x="473437" y="306877"/>
                  <a:pt x="473437" y="307836"/>
                </a:cubicBezTo>
                <a:cubicBezTo>
                  <a:pt x="475581" y="308519"/>
                  <a:pt x="477730" y="309193"/>
                  <a:pt x="479881" y="309862"/>
                </a:cubicBezTo>
                <a:cubicBezTo>
                  <a:pt x="481077" y="310237"/>
                  <a:pt x="482273" y="310614"/>
                  <a:pt x="483505" y="311001"/>
                </a:cubicBezTo>
                <a:cubicBezTo>
                  <a:pt x="505448" y="316843"/>
                  <a:pt x="527690" y="314359"/>
                  <a:pt x="548419" y="306427"/>
                </a:cubicBezTo>
                <a:cubicBezTo>
                  <a:pt x="549548" y="305998"/>
                  <a:pt x="550678" y="305569"/>
                  <a:pt x="551842" y="305127"/>
                </a:cubicBezTo>
                <a:cubicBezTo>
                  <a:pt x="555376" y="303227"/>
                  <a:pt x="557584" y="300980"/>
                  <a:pt x="560232" y="298148"/>
                </a:cubicBezTo>
                <a:cubicBezTo>
                  <a:pt x="561137" y="297192"/>
                  <a:pt x="562041" y="296236"/>
                  <a:pt x="562972" y="295252"/>
                </a:cubicBezTo>
                <a:cubicBezTo>
                  <a:pt x="564755" y="293274"/>
                  <a:pt x="566459" y="291237"/>
                  <a:pt x="568086" y="289152"/>
                </a:cubicBezTo>
                <a:cubicBezTo>
                  <a:pt x="568813" y="288342"/>
                  <a:pt x="569539" y="287532"/>
                  <a:pt x="570289" y="286697"/>
                </a:cubicBezTo>
                <a:cubicBezTo>
                  <a:pt x="571319" y="286697"/>
                  <a:pt x="572350" y="286697"/>
                  <a:pt x="573413" y="286697"/>
                </a:cubicBezTo>
                <a:cubicBezTo>
                  <a:pt x="577408" y="276984"/>
                  <a:pt x="577197" y="267284"/>
                  <a:pt x="577220" y="257016"/>
                </a:cubicBezTo>
                <a:cubicBezTo>
                  <a:pt x="577227" y="255625"/>
                  <a:pt x="577227" y="255625"/>
                  <a:pt x="577235" y="254206"/>
                </a:cubicBezTo>
                <a:cubicBezTo>
                  <a:pt x="577257" y="237553"/>
                  <a:pt x="574604" y="222055"/>
                  <a:pt x="569443" y="206049"/>
                </a:cubicBezTo>
                <a:cubicBezTo>
                  <a:pt x="568726" y="203553"/>
                  <a:pt x="568726" y="203553"/>
                  <a:pt x="568726" y="200735"/>
                </a:cubicBezTo>
                <a:cubicBezTo>
                  <a:pt x="567695" y="200735"/>
                  <a:pt x="566664" y="200735"/>
                  <a:pt x="565602" y="200735"/>
                </a:cubicBezTo>
                <a:cubicBezTo>
                  <a:pt x="563274" y="195295"/>
                  <a:pt x="561092" y="190108"/>
                  <a:pt x="559549" y="184441"/>
                </a:cubicBezTo>
                <a:cubicBezTo>
                  <a:pt x="555572" y="173477"/>
                  <a:pt x="547043" y="167105"/>
                  <a:pt x="537484" y="159867"/>
                </a:cubicBezTo>
                <a:cubicBezTo>
                  <a:pt x="533579" y="156609"/>
                  <a:pt x="533579" y="156609"/>
                  <a:pt x="531235" y="154230"/>
                </a:cubicBezTo>
                <a:cubicBezTo>
                  <a:pt x="531235" y="153301"/>
                  <a:pt x="531235" y="152371"/>
                  <a:pt x="531235" y="151412"/>
                </a:cubicBezTo>
                <a:cubicBezTo>
                  <a:pt x="529689" y="150947"/>
                  <a:pt x="528143" y="150482"/>
                  <a:pt x="526549" y="150003"/>
                </a:cubicBezTo>
                <a:cubicBezTo>
                  <a:pt x="519904" y="137298"/>
                  <a:pt x="519105" y="120357"/>
                  <a:pt x="524304" y="107198"/>
                </a:cubicBezTo>
                <a:cubicBezTo>
                  <a:pt x="529443" y="97376"/>
                  <a:pt x="535781" y="90193"/>
                  <a:pt x="547052" y="85972"/>
                </a:cubicBezTo>
                <a:cubicBezTo>
                  <a:pt x="559924" y="81835"/>
                  <a:pt x="575221" y="79746"/>
                  <a:pt x="588460" y="83538"/>
                </a:cubicBezTo>
                <a:cubicBezTo>
                  <a:pt x="601643" y="89713"/>
                  <a:pt x="611835" y="99450"/>
                  <a:pt x="617152" y="111954"/>
                </a:cubicBezTo>
                <a:cubicBezTo>
                  <a:pt x="617935" y="116052"/>
                  <a:pt x="617954" y="120024"/>
                  <a:pt x="617884" y="124175"/>
                </a:cubicBezTo>
                <a:cubicBezTo>
                  <a:pt x="617896" y="125307"/>
                  <a:pt x="617906" y="126440"/>
                  <a:pt x="617917" y="127607"/>
                </a:cubicBezTo>
                <a:cubicBezTo>
                  <a:pt x="617963" y="132394"/>
                  <a:pt x="617938" y="137181"/>
                  <a:pt x="617919" y="141969"/>
                </a:cubicBezTo>
                <a:cubicBezTo>
                  <a:pt x="617899" y="160184"/>
                  <a:pt x="619422" y="175572"/>
                  <a:pt x="630625" y="191311"/>
                </a:cubicBezTo>
                <a:cubicBezTo>
                  <a:pt x="633753" y="195891"/>
                  <a:pt x="636431" y="199900"/>
                  <a:pt x="637850" y="205139"/>
                </a:cubicBezTo>
                <a:cubicBezTo>
                  <a:pt x="638615" y="209623"/>
                  <a:pt x="638615" y="209623"/>
                  <a:pt x="643708" y="212009"/>
                </a:cubicBezTo>
                <a:cubicBezTo>
                  <a:pt x="645380" y="214563"/>
                  <a:pt x="645380" y="214563"/>
                  <a:pt x="647027" y="217645"/>
                </a:cubicBezTo>
                <a:cubicBezTo>
                  <a:pt x="652549" y="227016"/>
                  <a:pt x="660443" y="235696"/>
                  <a:pt x="670264" y="241603"/>
                </a:cubicBezTo>
                <a:cubicBezTo>
                  <a:pt x="670264" y="242532"/>
                  <a:pt x="670264" y="243462"/>
                  <a:pt x="670264" y="244421"/>
                </a:cubicBezTo>
                <a:cubicBezTo>
                  <a:pt x="672036" y="244857"/>
                  <a:pt x="673808" y="245293"/>
                  <a:pt x="675634" y="245742"/>
                </a:cubicBezTo>
                <a:cubicBezTo>
                  <a:pt x="681199" y="247239"/>
                  <a:pt x="681199" y="247239"/>
                  <a:pt x="682761" y="248649"/>
                </a:cubicBezTo>
                <a:cubicBezTo>
                  <a:pt x="704487" y="252065"/>
                  <a:pt x="732606" y="256402"/>
                  <a:pt x="752092" y="245076"/>
                </a:cubicBezTo>
                <a:cubicBezTo>
                  <a:pt x="754252" y="243599"/>
                  <a:pt x="756372" y="242073"/>
                  <a:pt x="758433" y="240485"/>
                </a:cubicBezTo>
                <a:cubicBezTo>
                  <a:pt x="760867" y="238784"/>
                  <a:pt x="760867" y="238784"/>
                  <a:pt x="763991" y="238784"/>
                </a:cubicBezTo>
                <a:cubicBezTo>
                  <a:pt x="764647" y="237296"/>
                  <a:pt x="764647" y="237296"/>
                  <a:pt x="765315" y="235778"/>
                </a:cubicBezTo>
                <a:cubicBezTo>
                  <a:pt x="767151" y="231659"/>
                  <a:pt x="769030" y="227557"/>
                  <a:pt x="770923" y="223459"/>
                </a:cubicBezTo>
                <a:cubicBezTo>
                  <a:pt x="771608" y="221966"/>
                  <a:pt x="772292" y="220472"/>
                  <a:pt x="772998" y="218934"/>
                </a:cubicBezTo>
                <a:cubicBezTo>
                  <a:pt x="774429" y="215885"/>
                  <a:pt x="775968" y="212878"/>
                  <a:pt x="777562" y="209895"/>
                </a:cubicBezTo>
                <a:cubicBezTo>
                  <a:pt x="787607" y="185732"/>
                  <a:pt x="788559" y="149501"/>
                  <a:pt x="781175" y="124637"/>
                </a:cubicBezTo>
                <a:cubicBezTo>
                  <a:pt x="780144" y="124637"/>
                  <a:pt x="779113" y="124637"/>
                  <a:pt x="778051" y="124637"/>
                </a:cubicBezTo>
                <a:cubicBezTo>
                  <a:pt x="768501" y="110080"/>
                  <a:pt x="762898" y="96653"/>
                  <a:pt x="767116" y="79542"/>
                </a:cubicBezTo>
                <a:cubicBezTo>
                  <a:pt x="772286" y="69057"/>
                  <a:pt x="781456" y="58252"/>
                  <a:pt x="793379" y="54000"/>
                </a:cubicBezTo>
                <a:cubicBezTo>
                  <a:pt x="808369" y="49250"/>
                  <a:pt x="826058" y="49579"/>
                  <a:pt x="840688" y="55503"/>
                </a:cubicBezTo>
                <a:cubicBezTo>
                  <a:pt x="845183" y="57759"/>
                  <a:pt x="848037" y="60575"/>
                  <a:pt x="851470" y="64040"/>
                </a:cubicBezTo>
                <a:cubicBezTo>
                  <a:pt x="852721" y="65272"/>
                  <a:pt x="852721" y="65272"/>
                  <a:pt x="853997" y="66529"/>
                </a:cubicBezTo>
                <a:cubicBezTo>
                  <a:pt x="858396" y="71505"/>
                  <a:pt x="860490" y="76640"/>
                  <a:pt x="861488" y="82057"/>
                </a:cubicBezTo>
                <a:lnTo>
                  <a:pt x="861937" y="90492"/>
                </a:lnTo>
                <a:lnTo>
                  <a:pt x="863826" y="100715"/>
                </a:lnTo>
                <a:cubicBezTo>
                  <a:pt x="862141" y="107853"/>
                  <a:pt x="859866" y="114857"/>
                  <a:pt x="857577" y="121853"/>
                </a:cubicBezTo>
                <a:cubicBezTo>
                  <a:pt x="857062" y="121853"/>
                  <a:pt x="856547" y="121853"/>
                  <a:pt x="856015" y="121853"/>
                </a:cubicBezTo>
                <a:cubicBezTo>
                  <a:pt x="855731" y="120401"/>
                  <a:pt x="855731" y="120401"/>
                  <a:pt x="855442" y="118919"/>
                </a:cubicBezTo>
                <a:lnTo>
                  <a:pt x="855417" y="118798"/>
                </a:lnTo>
                <a:lnTo>
                  <a:pt x="856157" y="124637"/>
                </a:lnTo>
                <a:lnTo>
                  <a:pt x="850623" y="134701"/>
                </a:lnTo>
                <a:lnTo>
                  <a:pt x="851325" y="135968"/>
                </a:lnTo>
                <a:cubicBezTo>
                  <a:pt x="850851" y="137246"/>
                  <a:pt x="850376" y="138525"/>
                  <a:pt x="849886" y="139843"/>
                </a:cubicBezTo>
                <a:cubicBezTo>
                  <a:pt x="848171" y="144505"/>
                  <a:pt x="847798" y="148002"/>
                  <a:pt x="847786" y="152889"/>
                </a:cubicBezTo>
                <a:cubicBezTo>
                  <a:pt x="847779" y="154500"/>
                  <a:pt x="847773" y="156109"/>
                  <a:pt x="847767" y="157768"/>
                </a:cubicBezTo>
                <a:cubicBezTo>
                  <a:pt x="847782" y="159468"/>
                  <a:pt x="847796" y="161167"/>
                  <a:pt x="847810" y="162919"/>
                </a:cubicBezTo>
                <a:cubicBezTo>
                  <a:pt x="847821" y="165546"/>
                  <a:pt x="847821" y="165546"/>
                  <a:pt x="847832" y="168227"/>
                </a:cubicBezTo>
                <a:cubicBezTo>
                  <a:pt x="847980" y="181934"/>
                  <a:pt x="849003" y="195419"/>
                  <a:pt x="850903" y="209013"/>
                </a:cubicBezTo>
                <a:lnTo>
                  <a:pt x="852880" y="224692"/>
                </a:lnTo>
                <a:lnTo>
                  <a:pt x="854595" y="224692"/>
                </a:lnTo>
                <a:cubicBezTo>
                  <a:pt x="855086" y="225542"/>
                  <a:pt x="855577" y="226392"/>
                  <a:pt x="856083" y="227268"/>
                </a:cubicBezTo>
                <a:cubicBezTo>
                  <a:pt x="862358" y="237839"/>
                  <a:pt x="866924" y="242785"/>
                  <a:pt x="879588" y="247239"/>
                </a:cubicBezTo>
                <a:cubicBezTo>
                  <a:pt x="881642" y="248025"/>
                  <a:pt x="883692" y="248817"/>
                  <a:pt x="885739" y="249618"/>
                </a:cubicBezTo>
                <a:cubicBezTo>
                  <a:pt x="887318" y="250227"/>
                  <a:pt x="888897" y="250838"/>
                  <a:pt x="890523" y="251467"/>
                </a:cubicBezTo>
                <a:cubicBezTo>
                  <a:pt x="890523" y="252397"/>
                  <a:pt x="890523" y="253327"/>
                  <a:pt x="890523" y="254285"/>
                </a:cubicBezTo>
                <a:cubicBezTo>
                  <a:pt x="900347" y="257061"/>
                  <a:pt x="910127" y="259425"/>
                  <a:pt x="920203" y="261332"/>
                </a:cubicBezTo>
                <a:cubicBezTo>
                  <a:pt x="920203" y="261796"/>
                  <a:pt x="920203" y="262262"/>
                  <a:pt x="920203" y="262741"/>
                </a:cubicBezTo>
                <a:cubicBezTo>
                  <a:pt x="917111" y="262741"/>
                  <a:pt x="914018" y="262741"/>
                  <a:pt x="910831" y="262741"/>
                </a:cubicBezTo>
                <a:lnTo>
                  <a:pt x="910831" y="262864"/>
                </a:lnTo>
                <a:lnTo>
                  <a:pt x="927993" y="264177"/>
                </a:lnTo>
                <a:lnTo>
                  <a:pt x="939273" y="265285"/>
                </a:lnTo>
                <a:lnTo>
                  <a:pt x="940456" y="265191"/>
                </a:lnTo>
                <a:cubicBezTo>
                  <a:pt x="962552" y="263054"/>
                  <a:pt x="974979" y="255295"/>
                  <a:pt x="991622" y="242329"/>
                </a:cubicBezTo>
                <a:lnTo>
                  <a:pt x="1000803" y="236505"/>
                </a:lnTo>
                <a:lnTo>
                  <a:pt x="999806" y="236055"/>
                </a:lnTo>
                <a:cubicBezTo>
                  <a:pt x="1000902" y="234997"/>
                  <a:pt x="1001997" y="233941"/>
                  <a:pt x="1003126" y="232851"/>
                </a:cubicBezTo>
                <a:cubicBezTo>
                  <a:pt x="1012364" y="223880"/>
                  <a:pt x="1021184" y="214752"/>
                  <a:pt x="1029487" y="205052"/>
                </a:cubicBezTo>
                <a:lnTo>
                  <a:pt x="1029872" y="206442"/>
                </a:lnTo>
                <a:lnTo>
                  <a:pt x="1031614" y="203719"/>
                </a:lnTo>
                <a:cubicBezTo>
                  <a:pt x="1033221" y="199204"/>
                  <a:pt x="1035713" y="196017"/>
                  <a:pt x="1038924" y="192280"/>
                </a:cubicBezTo>
                <a:cubicBezTo>
                  <a:pt x="1039956" y="191815"/>
                  <a:pt x="1040987" y="191349"/>
                  <a:pt x="1042049" y="190870"/>
                </a:cubicBezTo>
                <a:cubicBezTo>
                  <a:pt x="1043161" y="188473"/>
                  <a:pt x="1043161" y="188473"/>
                  <a:pt x="1044294" y="186026"/>
                </a:cubicBezTo>
                <a:cubicBezTo>
                  <a:pt x="1046735" y="181006"/>
                  <a:pt x="1046735" y="181006"/>
                  <a:pt x="1051422" y="178188"/>
                </a:cubicBezTo>
                <a:cubicBezTo>
                  <a:pt x="1052553" y="175286"/>
                  <a:pt x="1052553" y="175286"/>
                  <a:pt x="1052984" y="172551"/>
                </a:cubicBezTo>
                <a:cubicBezTo>
                  <a:pt x="1054014" y="172551"/>
                  <a:pt x="1055046" y="172551"/>
                  <a:pt x="1056108" y="172551"/>
                </a:cubicBezTo>
                <a:cubicBezTo>
                  <a:pt x="1057139" y="169295"/>
                  <a:pt x="1058170" y="166040"/>
                  <a:pt x="1059232" y="162686"/>
                </a:cubicBezTo>
                <a:cubicBezTo>
                  <a:pt x="1060263" y="162686"/>
                  <a:pt x="1061295" y="162686"/>
                  <a:pt x="1062357" y="162686"/>
                </a:cubicBezTo>
                <a:cubicBezTo>
                  <a:pt x="1062755" y="161484"/>
                  <a:pt x="1062755" y="161484"/>
                  <a:pt x="1063162" y="160258"/>
                </a:cubicBezTo>
                <a:cubicBezTo>
                  <a:pt x="1065716" y="152917"/>
                  <a:pt x="1068813" y="146686"/>
                  <a:pt x="1073292" y="140138"/>
                </a:cubicBezTo>
                <a:cubicBezTo>
                  <a:pt x="1074322" y="140138"/>
                  <a:pt x="1075353" y="140138"/>
                  <a:pt x="1076415" y="140138"/>
                </a:cubicBezTo>
                <a:cubicBezTo>
                  <a:pt x="1079808" y="132748"/>
                  <a:pt x="1082509" y="125160"/>
                  <a:pt x="1085294" y="117569"/>
                </a:cubicBezTo>
                <a:cubicBezTo>
                  <a:pt x="1085972" y="116181"/>
                  <a:pt x="1086651" y="114793"/>
                  <a:pt x="1087350" y="113363"/>
                </a:cubicBezTo>
                <a:cubicBezTo>
                  <a:pt x="1089671" y="112666"/>
                  <a:pt x="1089671" y="112666"/>
                  <a:pt x="1092037" y="111954"/>
                </a:cubicBezTo>
                <a:cubicBezTo>
                  <a:pt x="1092230" y="110879"/>
                  <a:pt x="1092423" y="109803"/>
                  <a:pt x="1092623" y="108695"/>
                </a:cubicBezTo>
                <a:cubicBezTo>
                  <a:pt x="1093599" y="104908"/>
                  <a:pt x="1093599" y="104908"/>
                  <a:pt x="1096723" y="100680"/>
                </a:cubicBezTo>
                <a:cubicBezTo>
                  <a:pt x="1097207" y="99140"/>
                  <a:pt x="1097689" y="97599"/>
                  <a:pt x="1098188" y="96013"/>
                </a:cubicBezTo>
                <a:cubicBezTo>
                  <a:pt x="1099847" y="90815"/>
                  <a:pt x="1099847" y="90815"/>
                  <a:pt x="1102288" y="87029"/>
                </a:cubicBezTo>
                <a:cubicBezTo>
                  <a:pt x="1106061" y="79186"/>
                  <a:pt x="1107564" y="69424"/>
                  <a:pt x="1104534" y="61222"/>
                </a:cubicBezTo>
                <a:cubicBezTo>
                  <a:pt x="1104409" y="59341"/>
                  <a:pt x="1104366" y="57454"/>
                  <a:pt x="1104381" y="55569"/>
                </a:cubicBezTo>
                <a:cubicBezTo>
                  <a:pt x="1104386" y="54501"/>
                  <a:pt x="1104391" y="53434"/>
                  <a:pt x="1104397" y="52335"/>
                </a:cubicBezTo>
                <a:cubicBezTo>
                  <a:pt x="1104410" y="51228"/>
                  <a:pt x="1104423" y="50120"/>
                  <a:pt x="1104436" y="48979"/>
                </a:cubicBezTo>
                <a:cubicBezTo>
                  <a:pt x="1104443" y="47856"/>
                  <a:pt x="1104451" y="46733"/>
                  <a:pt x="1104457" y="45575"/>
                </a:cubicBezTo>
                <a:cubicBezTo>
                  <a:pt x="1104476" y="42805"/>
                  <a:pt x="1104504" y="40035"/>
                  <a:pt x="1104534" y="37265"/>
                </a:cubicBezTo>
                <a:cubicBezTo>
                  <a:pt x="1105565" y="37265"/>
                  <a:pt x="1106596" y="37265"/>
                  <a:pt x="1107658" y="37265"/>
                </a:cubicBezTo>
                <a:cubicBezTo>
                  <a:pt x="1107561" y="34562"/>
                  <a:pt x="1107561" y="34562"/>
                  <a:pt x="1107463" y="31805"/>
                </a:cubicBezTo>
                <a:cubicBezTo>
                  <a:pt x="1107353" y="28733"/>
                  <a:pt x="1107353" y="28733"/>
                  <a:pt x="1107658" y="25991"/>
                </a:cubicBezTo>
                <a:cubicBezTo>
                  <a:pt x="1108689" y="25062"/>
                  <a:pt x="1109720" y="24131"/>
                  <a:pt x="1110782" y="23173"/>
                </a:cubicBezTo>
                <a:cubicBezTo>
                  <a:pt x="1111104" y="22156"/>
                  <a:pt x="1111427" y="21138"/>
                  <a:pt x="1111759" y="20091"/>
                </a:cubicBezTo>
                <a:cubicBezTo>
                  <a:pt x="1116393" y="11539"/>
                  <a:pt x="1124927" y="6390"/>
                  <a:pt x="1134507" y="2828"/>
                </a:cubicBezTo>
                <a:cubicBezTo>
                  <a:pt x="1141389" y="825"/>
                  <a:pt x="1148262" y="-204"/>
                  <a:pt x="1155019" y="35"/>
                </a:cubicBezTo>
                <a:close/>
              </a:path>
            </a:pathLst>
          </a:custGeom>
          <a:solidFill>
            <a:schemeClr val="accent3"/>
          </a:solidFill>
          <a:ln w="2232" cap="flat">
            <a:noFill/>
            <a:prstDash val="solid"/>
            <a:miter/>
          </a:ln>
          <a:effectLst>
            <a:innerShdw blurRad="63500" dist="190500" dir="8100000">
              <a:schemeClr val="accent3">
                <a:lumMod val="75000"/>
                <a:alpha val="50000"/>
              </a:schemeClr>
            </a:innerShdw>
          </a:effectLst>
        </p:spPr>
        <p:txBody>
          <a:bodyPr wrap="squar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277" name="Oval 9276">
            <a:extLst>
              <a:ext uri="{FF2B5EF4-FFF2-40B4-BE49-F238E27FC236}">
                <a16:creationId xmlns:a16="http://schemas.microsoft.com/office/drawing/2014/main" id="{45E81262-AEC5-C357-DE7B-EA56555C4244}"/>
              </a:ext>
            </a:extLst>
          </p:cNvPr>
          <p:cNvSpPr/>
          <p:nvPr/>
        </p:nvSpPr>
        <p:spPr>
          <a:xfrm>
            <a:off x="5646302" y="3762519"/>
            <a:ext cx="96793" cy="96793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278" name="Oval 9277">
            <a:extLst>
              <a:ext uri="{FF2B5EF4-FFF2-40B4-BE49-F238E27FC236}">
                <a16:creationId xmlns:a16="http://schemas.microsoft.com/office/drawing/2014/main" id="{C7DCF40F-2D07-45A4-01FE-1807C87242C7}"/>
              </a:ext>
            </a:extLst>
          </p:cNvPr>
          <p:cNvSpPr/>
          <p:nvPr/>
        </p:nvSpPr>
        <p:spPr>
          <a:xfrm>
            <a:off x="5775514" y="3847271"/>
            <a:ext cx="96793" cy="96793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279" name="Oval 9278">
            <a:extLst>
              <a:ext uri="{FF2B5EF4-FFF2-40B4-BE49-F238E27FC236}">
                <a16:creationId xmlns:a16="http://schemas.microsoft.com/office/drawing/2014/main" id="{67E4D2B3-9A9D-9091-A1D8-DF16171AD468}"/>
              </a:ext>
            </a:extLst>
          </p:cNvPr>
          <p:cNvSpPr/>
          <p:nvPr/>
        </p:nvSpPr>
        <p:spPr>
          <a:xfrm>
            <a:off x="5681731" y="4004963"/>
            <a:ext cx="75769" cy="75769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280" name="Oval 9279">
            <a:extLst>
              <a:ext uri="{FF2B5EF4-FFF2-40B4-BE49-F238E27FC236}">
                <a16:creationId xmlns:a16="http://schemas.microsoft.com/office/drawing/2014/main" id="{AB8A98AC-5DA7-8CE7-2C5C-2D7225D932E9}"/>
              </a:ext>
            </a:extLst>
          </p:cNvPr>
          <p:cNvSpPr/>
          <p:nvPr/>
        </p:nvSpPr>
        <p:spPr>
          <a:xfrm>
            <a:off x="5883884" y="3987596"/>
            <a:ext cx="96793" cy="96793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281" name="Oval 9280">
            <a:extLst>
              <a:ext uri="{FF2B5EF4-FFF2-40B4-BE49-F238E27FC236}">
                <a16:creationId xmlns:a16="http://schemas.microsoft.com/office/drawing/2014/main" id="{1DB809CA-0260-0A6A-23DE-19C1177D68DD}"/>
              </a:ext>
            </a:extLst>
          </p:cNvPr>
          <p:cNvSpPr/>
          <p:nvPr/>
        </p:nvSpPr>
        <p:spPr>
          <a:xfrm>
            <a:off x="5915145" y="3786138"/>
            <a:ext cx="65532" cy="65532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282" name="Oval 9281">
            <a:extLst>
              <a:ext uri="{FF2B5EF4-FFF2-40B4-BE49-F238E27FC236}">
                <a16:creationId xmlns:a16="http://schemas.microsoft.com/office/drawing/2014/main" id="{E800844E-256A-10D4-E6EB-210CA38EECBF}"/>
              </a:ext>
            </a:extLst>
          </p:cNvPr>
          <p:cNvSpPr/>
          <p:nvPr/>
        </p:nvSpPr>
        <p:spPr>
          <a:xfrm>
            <a:off x="5413033" y="4276720"/>
            <a:ext cx="656485" cy="147620"/>
          </a:xfrm>
          <a:prstGeom prst="ellipse">
            <a:avLst/>
          </a:prstGeom>
          <a:solidFill>
            <a:schemeClr val="tx1">
              <a:alpha val="5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283" name="Free-form: Shape 9282">
            <a:extLst>
              <a:ext uri="{FF2B5EF4-FFF2-40B4-BE49-F238E27FC236}">
                <a16:creationId xmlns:a16="http://schemas.microsoft.com/office/drawing/2014/main" id="{3E4587F3-F1BB-9CAB-A4BE-436CEAE9E775}"/>
              </a:ext>
            </a:extLst>
          </p:cNvPr>
          <p:cNvSpPr/>
          <p:nvPr/>
        </p:nvSpPr>
        <p:spPr>
          <a:xfrm>
            <a:off x="7280349" y="4289649"/>
            <a:ext cx="557648" cy="1497715"/>
          </a:xfrm>
          <a:custGeom>
            <a:avLst/>
            <a:gdLst>
              <a:gd name="csX0" fmla="*/ 898754 w 1315852"/>
              <a:gd name="csY0" fmla="*/ 1637125 h 3212801"/>
              <a:gd name="csX1" fmla="*/ 900426 w 1315852"/>
              <a:gd name="csY1" fmla="*/ 1643802 h 3212801"/>
              <a:gd name="csX2" fmla="*/ 903549 w 1315852"/>
              <a:gd name="csY2" fmla="*/ 1709345 h 3212801"/>
              <a:gd name="csX3" fmla="*/ 908512 w 1315852"/>
              <a:gd name="csY3" fmla="*/ 1750739 h 3212801"/>
              <a:gd name="csX4" fmla="*/ 911839 w 1315852"/>
              <a:gd name="csY4" fmla="*/ 1783999 h 3212801"/>
              <a:gd name="csX5" fmla="*/ 919775 w 1315852"/>
              <a:gd name="csY5" fmla="*/ 1846044 h 3212801"/>
              <a:gd name="csX6" fmla="*/ 928724 w 1315852"/>
              <a:gd name="csY6" fmla="*/ 1912212 h 3212801"/>
              <a:gd name="csX7" fmla="*/ 943556 w 1315852"/>
              <a:gd name="csY7" fmla="*/ 1998602 h 3212801"/>
              <a:gd name="csX8" fmla="*/ 967918 w 1315852"/>
              <a:gd name="csY8" fmla="*/ 2121455 h 3212801"/>
              <a:gd name="csX9" fmla="*/ 988236 w 1315852"/>
              <a:gd name="csY9" fmla="*/ 2216813 h 3212801"/>
              <a:gd name="csX10" fmla="*/ 1028961 w 1315852"/>
              <a:gd name="csY10" fmla="*/ 2386212 h 3212801"/>
              <a:gd name="csX11" fmla="*/ 1055369 w 1315852"/>
              <a:gd name="csY11" fmla="*/ 2485963 h 3212801"/>
              <a:gd name="csX12" fmla="*/ 1069125 w 1315852"/>
              <a:gd name="csY12" fmla="*/ 2501571 h 3212801"/>
              <a:gd name="csX13" fmla="*/ 1104775 w 1315852"/>
              <a:gd name="csY13" fmla="*/ 2517672 h 3212801"/>
              <a:gd name="csX14" fmla="*/ 1117910 w 1315852"/>
              <a:gd name="csY14" fmla="*/ 2527831 h 3212801"/>
              <a:gd name="csX15" fmla="*/ 1122737 w 1315852"/>
              <a:gd name="csY15" fmla="*/ 2552282 h 3212801"/>
              <a:gd name="csX16" fmla="*/ 1114779 w 1315852"/>
              <a:gd name="csY16" fmla="*/ 2570125 h 3212801"/>
              <a:gd name="csX17" fmla="*/ 1114207 w 1315852"/>
              <a:gd name="csY17" fmla="*/ 2618225 h 3212801"/>
              <a:gd name="csX18" fmla="*/ 1148150 w 1315852"/>
              <a:gd name="csY18" fmla="*/ 2663984 h 3212801"/>
              <a:gd name="csX19" fmla="*/ 1206600 w 1315852"/>
              <a:gd name="csY19" fmla="*/ 2720256 h 3212801"/>
              <a:gd name="csX20" fmla="*/ 1275524 w 1315852"/>
              <a:gd name="csY20" fmla="*/ 2850317 h 3212801"/>
              <a:gd name="csX21" fmla="*/ 1277353 w 1315852"/>
              <a:gd name="csY21" fmla="*/ 2897326 h 3212801"/>
              <a:gd name="csX22" fmla="*/ 1271355 w 1315852"/>
              <a:gd name="csY22" fmla="*/ 2935725 h 3212801"/>
              <a:gd name="csX23" fmla="*/ 1274691 w 1315852"/>
              <a:gd name="csY23" fmla="*/ 2954335 h 3212801"/>
              <a:gd name="csX24" fmla="*/ 1301797 w 1315852"/>
              <a:gd name="csY24" fmla="*/ 3028744 h 3212801"/>
              <a:gd name="csX25" fmla="*/ 1311943 w 1315852"/>
              <a:gd name="csY25" fmla="*/ 3082025 h 3212801"/>
              <a:gd name="csX26" fmla="*/ 1315801 w 1315852"/>
              <a:gd name="csY26" fmla="*/ 3133440 h 3212801"/>
              <a:gd name="csX27" fmla="*/ 1307182 w 1315852"/>
              <a:gd name="csY27" fmla="*/ 3146201 h 3212801"/>
              <a:gd name="csX28" fmla="*/ 1280933 w 1315852"/>
              <a:gd name="csY28" fmla="*/ 3155733 h 3212801"/>
              <a:gd name="csX29" fmla="*/ 1169576 w 1315852"/>
              <a:gd name="csY29" fmla="*/ 3181105 h 3212801"/>
              <a:gd name="csX30" fmla="*/ 1098129 w 1315852"/>
              <a:gd name="csY30" fmla="*/ 3192005 h 3212801"/>
              <a:gd name="csX31" fmla="*/ 1025959 w 1315852"/>
              <a:gd name="csY31" fmla="*/ 3198069 h 3212801"/>
              <a:gd name="csX32" fmla="*/ 969161 w 1315852"/>
              <a:gd name="csY32" fmla="*/ 3203391 h 3212801"/>
              <a:gd name="csX33" fmla="*/ 966367 w 1315852"/>
              <a:gd name="csY33" fmla="*/ 3203587 h 3212801"/>
              <a:gd name="csX34" fmla="*/ 890991 w 1315852"/>
              <a:gd name="csY34" fmla="*/ 3206415 h 3212801"/>
              <a:gd name="csX35" fmla="*/ 786197 w 1315852"/>
              <a:gd name="csY35" fmla="*/ 3209641 h 3212801"/>
              <a:gd name="csX36" fmla="*/ 618254 w 1315852"/>
              <a:gd name="csY36" fmla="*/ 3211234 h 3212801"/>
              <a:gd name="csX37" fmla="*/ 506392 w 1315852"/>
              <a:gd name="csY37" fmla="*/ 3209195 h 3212801"/>
              <a:gd name="csX38" fmla="*/ 443638 w 1315852"/>
              <a:gd name="csY38" fmla="*/ 3206415 h 3212801"/>
              <a:gd name="csX39" fmla="*/ 389301 w 1315852"/>
              <a:gd name="csY39" fmla="*/ 3203597 h 3212801"/>
              <a:gd name="csX40" fmla="*/ 305884 w 1315852"/>
              <a:gd name="csY40" fmla="*/ 3197747 h 3212801"/>
              <a:gd name="csX41" fmla="*/ 216151 w 1315852"/>
              <a:gd name="csY41" fmla="*/ 3186940 h 3212801"/>
              <a:gd name="csX42" fmla="*/ 141593 w 1315852"/>
              <a:gd name="csY42" fmla="*/ 3177824 h 3212801"/>
              <a:gd name="csX43" fmla="*/ 44929 w 1315852"/>
              <a:gd name="csY43" fmla="*/ 3157176 h 3212801"/>
              <a:gd name="csX44" fmla="*/ 10154 w 1315852"/>
              <a:gd name="csY44" fmla="*/ 3146750 h 3212801"/>
              <a:gd name="csX45" fmla="*/ 112 w 1315852"/>
              <a:gd name="csY45" fmla="*/ 3132149 h 3212801"/>
              <a:gd name="csX46" fmla="*/ 5263 w 1315852"/>
              <a:gd name="csY46" fmla="*/ 3080960 h 3212801"/>
              <a:gd name="csX47" fmla="*/ 13758 w 1315852"/>
              <a:gd name="csY47" fmla="*/ 3031612 h 3212801"/>
              <a:gd name="csX48" fmla="*/ 40996 w 1315852"/>
              <a:gd name="csY48" fmla="*/ 2960204 h 3212801"/>
              <a:gd name="csX49" fmla="*/ 43510 w 1315852"/>
              <a:gd name="csY49" fmla="*/ 2944616 h 3212801"/>
              <a:gd name="csX50" fmla="*/ 36916 w 1315852"/>
              <a:gd name="csY50" fmla="*/ 2875457 h 3212801"/>
              <a:gd name="csX51" fmla="*/ 46646 w 1315852"/>
              <a:gd name="csY51" fmla="*/ 2827778 h 3212801"/>
              <a:gd name="csX52" fmla="*/ 108895 w 1315852"/>
              <a:gd name="csY52" fmla="*/ 2723307 h 3212801"/>
              <a:gd name="csX53" fmla="*/ 188375 w 1315852"/>
              <a:gd name="csY53" fmla="*/ 2646399 h 3212801"/>
              <a:gd name="csX54" fmla="*/ 211535 w 1315852"/>
              <a:gd name="csY54" fmla="*/ 2605867 h 3212801"/>
              <a:gd name="csX55" fmla="*/ 205182 w 1315852"/>
              <a:gd name="csY55" fmla="*/ 2571418 h 3212801"/>
              <a:gd name="csX56" fmla="*/ 196651 w 1315852"/>
              <a:gd name="csY56" fmla="*/ 2557085 h 3212801"/>
              <a:gd name="csX57" fmla="*/ 209021 w 1315852"/>
              <a:gd name="csY57" fmla="*/ 2521560 h 3212801"/>
              <a:gd name="csX58" fmla="*/ 245764 w 1315852"/>
              <a:gd name="csY58" fmla="*/ 2504395 h 3212801"/>
              <a:gd name="csX59" fmla="*/ 263769 w 1315852"/>
              <a:gd name="csY59" fmla="*/ 2485128 h 3212801"/>
              <a:gd name="csX60" fmla="*/ 300045 w 1315852"/>
              <a:gd name="csY60" fmla="*/ 2354726 h 3212801"/>
              <a:gd name="csX61" fmla="*/ 326003 w 1315852"/>
              <a:gd name="csY61" fmla="*/ 2249117 h 3212801"/>
              <a:gd name="csX62" fmla="*/ 359250 w 1315852"/>
              <a:gd name="csY62" fmla="*/ 2092493 h 3212801"/>
              <a:gd name="csX63" fmla="*/ 378011 w 1315852"/>
              <a:gd name="csY63" fmla="*/ 1995496 h 3212801"/>
              <a:gd name="csX64" fmla="*/ 390230 w 1315852"/>
              <a:gd name="csY64" fmla="*/ 1915745 h 3212801"/>
              <a:gd name="csX65" fmla="*/ 400702 w 1315852"/>
              <a:gd name="csY65" fmla="*/ 1851249 h 3212801"/>
              <a:gd name="csX66" fmla="*/ 406954 w 1315852"/>
              <a:gd name="csY66" fmla="*/ 1788916 h 3212801"/>
              <a:gd name="csX67" fmla="*/ 412016 w 1315852"/>
              <a:gd name="csY67" fmla="*/ 1747526 h 3212801"/>
              <a:gd name="csX68" fmla="*/ 415185 w 1315852"/>
              <a:gd name="csY68" fmla="*/ 1712850 h 3212801"/>
              <a:gd name="csX69" fmla="*/ 418197 w 1315852"/>
              <a:gd name="csY69" fmla="*/ 1651507 h 3212801"/>
              <a:gd name="csX70" fmla="*/ 423324 w 1315852"/>
              <a:gd name="csY70" fmla="*/ 1583479 h 3212801"/>
              <a:gd name="csX71" fmla="*/ 426059 w 1315852"/>
              <a:gd name="csY71" fmla="*/ 1477299 h 3212801"/>
              <a:gd name="csX72" fmla="*/ 424204 w 1315852"/>
              <a:gd name="csY72" fmla="*/ 1473415 h 3212801"/>
              <a:gd name="csX73" fmla="*/ 390769 w 1315852"/>
              <a:gd name="csY73" fmla="*/ 1470003 h 3212801"/>
              <a:gd name="csX74" fmla="*/ 327487 w 1315852"/>
              <a:gd name="csY74" fmla="*/ 1460760 h 3212801"/>
              <a:gd name="csX75" fmla="*/ 289037 w 1315852"/>
              <a:gd name="csY75" fmla="*/ 1410705 h 3212801"/>
              <a:gd name="csX76" fmla="*/ 292610 w 1315852"/>
              <a:gd name="csY76" fmla="*/ 1374826 h 3212801"/>
              <a:gd name="csX77" fmla="*/ 335365 w 1315852"/>
              <a:gd name="csY77" fmla="*/ 1319956 h 3212801"/>
              <a:gd name="csX78" fmla="*/ 358966 w 1315852"/>
              <a:gd name="csY78" fmla="*/ 1286091 h 3212801"/>
              <a:gd name="csX79" fmla="*/ 390267 w 1315852"/>
              <a:gd name="csY79" fmla="*/ 1239202 h 3212801"/>
              <a:gd name="csX80" fmla="*/ 435898 w 1315852"/>
              <a:gd name="csY80" fmla="*/ 1202610 h 3212801"/>
              <a:gd name="csX81" fmla="*/ 443089 w 1315852"/>
              <a:gd name="csY81" fmla="*/ 1186662 h 3212801"/>
              <a:gd name="csX82" fmla="*/ 443336 w 1315852"/>
              <a:gd name="csY82" fmla="*/ 1174100 h 3212801"/>
              <a:gd name="csX83" fmla="*/ 432713 w 1315852"/>
              <a:gd name="csY83" fmla="*/ 1161284 h 3212801"/>
              <a:gd name="csX84" fmla="*/ 406712 w 1315852"/>
              <a:gd name="csY84" fmla="*/ 1151413 h 3212801"/>
              <a:gd name="csX85" fmla="*/ 399212 w 1315852"/>
              <a:gd name="csY85" fmla="*/ 1135845 h 3212801"/>
              <a:gd name="csX86" fmla="*/ 409719 w 1315852"/>
              <a:gd name="csY86" fmla="*/ 1113213 h 3212801"/>
              <a:gd name="csX87" fmla="*/ 414650 w 1315852"/>
              <a:gd name="csY87" fmla="*/ 1091062 h 3212801"/>
              <a:gd name="csX88" fmla="*/ 402048 w 1315852"/>
              <a:gd name="csY88" fmla="*/ 1042520 h 3212801"/>
              <a:gd name="csX89" fmla="*/ 366526 w 1315852"/>
              <a:gd name="csY89" fmla="*/ 932054 h 3212801"/>
              <a:gd name="csX90" fmla="*/ 304855 w 1315852"/>
              <a:gd name="csY90" fmla="*/ 733506 h 3212801"/>
              <a:gd name="csX91" fmla="*/ 273722 w 1315852"/>
              <a:gd name="csY91" fmla="*/ 639312 h 3212801"/>
              <a:gd name="csX92" fmla="*/ 242525 w 1315852"/>
              <a:gd name="csY92" fmla="*/ 527843 h 3212801"/>
              <a:gd name="csX93" fmla="*/ 245838 w 1315852"/>
              <a:gd name="csY93" fmla="*/ 485521 h 3212801"/>
              <a:gd name="csX94" fmla="*/ 258319 w 1315852"/>
              <a:gd name="csY94" fmla="*/ 473233 h 3212801"/>
              <a:gd name="csX95" fmla="*/ 291527 w 1315852"/>
              <a:gd name="csY95" fmla="*/ 463336 h 3212801"/>
              <a:gd name="csX96" fmla="*/ 373160 w 1315852"/>
              <a:gd name="csY96" fmla="*/ 454842 h 3212801"/>
              <a:gd name="csX97" fmla="*/ 427480 w 1315852"/>
              <a:gd name="csY97" fmla="*/ 451758 h 3212801"/>
              <a:gd name="csX98" fmla="*/ 477998 w 1315852"/>
              <a:gd name="csY98" fmla="*/ 447870 h 3212801"/>
              <a:gd name="csX99" fmla="*/ 479585 w 1315852"/>
              <a:gd name="csY99" fmla="*/ 442932 h 3212801"/>
              <a:gd name="csX100" fmla="*/ 488907 w 1315852"/>
              <a:gd name="csY100" fmla="*/ 421401 h 3212801"/>
              <a:gd name="csX101" fmla="*/ 492315 w 1315852"/>
              <a:gd name="csY101" fmla="*/ 409196 h 3212801"/>
              <a:gd name="csX102" fmla="*/ 498582 w 1315852"/>
              <a:gd name="csY102" fmla="*/ 396231 h 3212801"/>
              <a:gd name="csX103" fmla="*/ 531424 w 1315852"/>
              <a:gd name="csY103" fmla="*/ 365066 h 3212801"/>
              <a:gd name="csX104" fmla="*/ 567201 w 1315852"/>
              <a:gd name="csY104" fmla="*/ 305069 h 3212801"/>
              <a:gd name="csX105" fmla="*/ 580157 w 1315852"/>
              <a:gd name="csY105" fmla="*/ 281885 h 3212801"/>
              <a:gd name="csX106" fmla="*/ 575177 w 1315852"/>
              <a:gd name="csY106" fmla="*/ 258759 h 3212801"/>
              <a:gd name="csX107" fmla="*/ 472048 w 1315852"/>
              <a:gd name="csY107" fmla="*/ 283266 h 3212801"/>
              <a:gd name="csX108" fmla="*/ 473659 w 1315852"/>
              <a:gd name="csY108" fmla="*/ 112243 h 3212801"/>
              <a:gd name="csX109" fmla="*/ 487139 w 1315852"/>
              <a:gd name="csY109" fmla="*/ 114763 h 3212801"/>
              <a:gd name="csX110" fmla="*/ 569608 w 1315852"/>
              <a:gd name="csY110" fmla="*/ 140735 h 3212801"/>
              <a:gd name="csX111" fmla="*/ 585180 w 1315852"/>
              <a:gd name="csY111" fmla="*/ 124742 h 3212801"/>
              <a:gd name="csX112" fmla="*/ 563868 w 1315852"/>
              <a:gd name="csY112" fmla="*/ 70080 h 3212801"/>
              <a:gd name="csX113" fmla="*/ 546041 w 1315852"/>
              <a:gd name="csY113" fmla="*/ 26021 h 3212801"/>
              <a:gd name="csX114" fmla="*/ 568462 w 1315852"/>
              <a:gd name="csY114" fmla="*/ 18986 h 3212801"/>
              <a:gd name="csX115" fmla="*/ 637623 w 1315852"/>
              <a:gd name="csY115" fmla="*/ 2731 h 3212801"/>
              <a:gd name="csX116" fmla="*/ 692817 w 1315852"/>
              <a:gd name="csY116" fmla="*/ 4346 h 3212801"/>
              <a:gd name="csX117" fmla="*/ 759126 w 1315852"/>
              <a:gd name="csY117" fmla="*/ 20739 h 3212801"/>
              <a:gd name="csX118" fmla="*/ 774460 w 1315852"/>
              <a:gd name="csY118" fmla="*/ 24289 h 3212801"/>
              <a:gd name="csX119" fmla="*/ 751608 w 1315852"/>
              <a:gd name="csY119" fmla="*/ 81205 h 3212801"/>
              <a:gd name="csX120" fmla="*/ 731002 w 1315852"/>
              <a:gd name="csY120" fmla="*/ 141135 h 3212801"/>
              <a:gd name="csX121" fmla="*/ 749917 w 1315852"/>
              <a:gd name="csY121" fmla="*/ 137732 h 3212801"/>
              <a:gd name="csX122" fmla="*/ 836197 w 1315852"/>
              <a:gd name="csY122" fmla="*/ 114792 h 3212801"/>
              <a:gd name="csX123" fmla="*/ 843209 w 1315852"/>
              <a:gd name="csY123" fmla="*/ 113433 h 3212801"/>
              <a:gd name="csX124" fmla="*/ 844400 w 1315852"/>
              <a:gd name="csY124" fmla="*/ 119435 h 3212801"/>
              <a:gd name="csX125" fmla="*/ 847390 w 1315852"/>
              <a:gd name="csY125" fmla="*/ 232672 h 3212801"/>
              <a:gd name="csX126" fmla="*/ 850015 w 1315852"/>
              <a:gd name="csY126" fmla="*/ 261773 h 3212801"/>
              <a:gd name="csX127" fmla="*/ 850085 w 1315852"/>
              <a:gd name="csY127" fmla="*/ 280220 h 3212801"/>
              <a:gd name="csX128" fmla="*/ 815285 w 1315852"/>
              <a:gd name="csY128" fmla="*/ 272127 h 3212801"/>
              <a:gd name="csX129" fmla="*/ 757181 w 1315852"/>
              <a:gd name="csY129" fmla="*/ 257455 h 3212801"/>
              <a:gd name="csX130" fmla="*/ 732939 w 1315852"/>
              <a:gd name="csY130" fmla="*/ 263859 h 3212801"/>
              <a:gd name="csX131" fmla="*/ 739871 w 1315852"/>
              <a:gd name="csY131" fmla="*/ 279988 h 3212801"/>
              <a:gd name="csX132" fmla="*/ 725900 w 1315852"/>
              <a:gd name="csY132" fmla="*/ 292074 h 3212801"/>
              <a:gd name="csX133" fmla="*/ 747132 w 1315852"/>
              <a:gd name="csY133" fmla="*/ 298017 h 3212801"/>
              <a:gd name="csX134" fmla="*/ 768268 w 1315852"/>
              <a:gd name="csY134" fmla="*/ 327815 h 3212801"/>
              <a:gd name="csX135" fmla="*/ 785901 w 1315852"/>
              <a:gd name="csY135" fmla="*/ 362862 h 3212801"/>
              <a:gd name="csX136" fmla="*/ 798627 w 1315852"/>
              <a:gd name="csY136" fmla="*/ 374591 h 3212801"/>
              <a:gd name="csX137" fmla="*/ 815580 w 1315852"/>
              <a:gd name="csY137" fmla="*/ 387899 h 3212801"/>
              <a:gd name="csX138" fmla="*/ 813282 w 1315852"/>
              <a:gd name="csY138" fmla="*/ 390947 h 3212801"/>
              <a:gd name="csX139" fmla="*/ 776501 w 1315852"/>
              <a:gd name="csY139" fmla="*/ 393213 h 3212801"/>
              <a:gd name="csX140" fmla="*/ 702336 w 1315852"/>
              <a:gd name="csY140" fmla="*/ 381496 h 3212801"/>
              <a:gd name="csX141" fmla="*/ 662021 w 1315852"/>
              <a:gd name="csY141" fmla="*/ 378921 h 3212801"/>
              <a:gd name="csX142" fmla="*/ 651111 w 1315852"/>
              <a:gd name="csY142" fmla="*/ 386942 h 3212801"/>
              <a:gd name="csX143" fmla="*/ 648295 w 1315852"/>
              <a:gd name="csY143" fmla="*/ 437069 h 3212801"/>
              <a:gd name="csX144" fmla="*/ 659561 w 1315852"/>
              <a:gd name="csY144" fmla="*/ 448907 h 3212801"/>
              <a:gd name="csX145" fmla="*/ 799805 w 1315852"/>
              <a:gd name="csY145" fmla="*/ 449022 h 3212801"/>
              <a:gd name="csX146" fmla="*/ 811083 w 1315852"/>
              <a:gd name="csY146" fmla="*/ 439581 h 3212801"/>
              <a:gd name="csX147" fmla="*/ 817945 w 1315852"/>
              <a:gd name="csY147" fmla="*/ 425008 h 3212801"/>
              <a:gd name="csX148" fmla="*/ 828609 w 1315852"/>
              <a:gd name="csY148" fmla="*/ 403122 h 3212801"/>
              <a:gd name="csX149" fmla="*/ 838374 w 1315852"/>
              <a:gd name="csY149" fmla="*/ 406435 h 3212801"/>
              <a:gd name="csX150" fmla="*/ 844275 w 1315852"/>
              <a:gd name="csY150" fmla="*/ 430561 h 3212801"/>
              <a:gd name="csX151" fmla="*/ 865761 w 1315852"/>
              <a:gd name="csY151" fmla="*/ 447068 h 3212801"/>
              <a:gd name="csX152" fmla="*/ 885673 w 1315852"/>
              <a:gd name="csY152" fmla="*/ 449965 h 3212801"/>
              <a:gd name="csX153" fmla="*/ 904428 w 1315852"/>
              <a:gd name="csY153" fmla="*/ 454230 h 3212801"/>
              <a:gd name="csX154" fmla="*/ 930689 w 1315852"/>
              <a:gd name="csY154" fmla="*/ 457318 h 3212801"/>
              <a:gd name="csX155" fmla="*/ 1036296 w 1315852"/>
              <a:gd name="csY155" fmla="*/ 485877 h 3212801"/>
              <a:gd name="csX156" fmla="*/ 1076027 w 1315852"/>
              <a:gd name="csY156" fmla="*/ 535212 h 3212801"/>
              <a:gd name="csX157" fmla="*/ 1075403 w 1315852"/>
              <a:gd name="csY157" fmla="*/ 578208 h 3212801"/>
              <a:gd name="csX158" fmla="*/ 1028317 w 1315852"/>
              <a:gd name="csY158" fmla="*/ 728867 h 3212801"/>
              <a:gd name="csX159" fmla="*/ 983498 w 1315852"/>
              <a:gd name="csY159" fmla="*/ 858331 h 3212801"/>
              <a:gd name="csX160" fmla="*/ 948940 w 1315852"/>
              <a:gd name="csY160" fmla="*/ 961698 h 3212801"/>
              <a:gd name="csX161" fmla="*/ 911066 w 1315852"/>
              <a:gd name="csY161" fmla="*/ 1087385 h 3212801"/>
              <a:gd name="csX162" fmla="*/ 910828 w 1315852"/>
              <a:gd name="csY162" fmla="*/ 1098086 h 3212801"/>
              <a:gd name="csX163" fmla="*/ 911498 w 1315852"/>
              <a:gd name="csY163" fmla="*/ 1130209 h 3212801"/>
              <a:gd name="csX164" fmla="*/ 905716 w 1315852"/>
              <a:gd name="csY164" fmla="*/ 1140786 h 3212801"/>
              <a:gd name="csX165" fmla="*/ 904041 w 1315852"/>
              <a:gd name="csY165" fmla="*/ 1171694 h 3212801"/>
              <a:gd name="csX166" fmla="*/ 929797 w 1315852"/>
              <a:gd name="csY166" fmla="*/ 1202854 h 3212801"/>
              <a:gd name="csX167" fmla="*/ 956714 w 1315852"/>
              <a:gd name="csY167" fmla="*/ 1270749 h 3212801"/>
              <a:gd name="csX168" fmla="*/ 960074 w 1315852"/>
              <a:gd name="csY168" fmla="*/ 1289888 h 3212801"/>
              <a:gd name="csX169" fmla="*/ 975795 w 1315852"/>
              <a:gd name="csY169" fmla="*/ 1308746 h 3212801"/>
              <a:gd name="csX170" fmla="*/ 1002397 w 1315852"/>
              <a:gd name="csY170" fmla="*/ 1326635 h 3212801"/>
              <a:gd name="csX171" fmla="*/ 1018686 w 1315852"/>
              <a:gd name="csY171" fmla="*/ 1435905 h 3212801"/>
              <a:gd name="csX172" fmla="*/ 996257 w 1315852"/>
              <a:gd name="csY172" fmla="*/ 1454107 h 3212801"/>
              <a:gd name="csX173" fmla="*/ 970849 w 1315852"/>
              <a:gd name="csY173" fmla="*/ 1461303 h 3212801"/>
              <a:gd name="csX174" fmla="*/ 917943 w 1315852"/>
              <a:gd name="csY174" fmla="*/ 1464461 h 3212801"/>
              <a:gd name="csX175" fmla="*/ 905433 w 1315852"/>
              <a:gd name="csY175" fmla="*/ 1465358 h 3212801"/>
              <a:gd name="csX176" fmla="*/ 897863 w 1315852"/>
              <a:gd name="csY176" fmla="*/ 1474014 h 3212801"/>
              <a:gd name="csX177" fmla="*/ 897812 w 1315852"/>
              <a:gd name="csY177" fmla="*/ 1475415 h 3212801"/>
              <a:gd name="csX178" fmla="*/ 895549 w 1315852"/>
              <a:gd name="csY178" fmla="*/ 1519988 h 3212801"/>
              <a:gd name="csX179" fmla="*/ 895093 w 1315852"/>
              <a:gd name="csY179" fmla="*/ 1566174 h 3212801"/>
              <a:gd name="csX180" fmla="*/ 898754 w 1315852"/>
              <a:gd name="csY180" fmla="*/ 1637125 h 3212801"/>
              <a:gd name="csX181" fmla="*/ 654604 w 1315852"/>
              <a:gd name="csY181" fmla="*/ 2329281 h 3212801"/>
              <a:gd name="csX182" fmla="*/ 650429 w 1315852"/>
              <a:gd name="csY182" fmla="*/ 2271391 h 3212801"/>
              <a:gd name="csX183" fmla="*/ 648148 w 1315852"/>
              <a:gd name="csY183" fmla="*/ 2289942 h 3212801"/>
              <a:gd name="csX184" fmla="*/ 648156 w 1315852"/>
              <a:gd name="csY184" fmla="*/ 2367948 h 3212801"/>
              <a:gd name="csX185" fmla="*/ 655577 w 1315852"/>
              <a:gd name="csY185" fmla="*/ 2381454 h 3212801"/>
              <a:gd name="csX186" fmla="*/ 655485 w 1315852"/>
              <a:gd name="csY186" fmla="*/ 2404945 h 3212801"/>
              <a:gd name="csX187" fmla="*/ 651805 w 1315852"/>
              <a:gd name="csY187" fmla="*/ 2455510 h 3212801"/>
              <a:gd name="csX188" fmla="*/ 650902 w 1315852"/>
              <a:gd name="csY188" fmla="*/ 2395333 h 3212801"/>
              <a:gd name="csX189" fmla="*/ 649248 w 1315852"/>
              <a:gd name="csY189" fmla="*/ 2386025 h 3212801"/>
              <a:gd name="csX190" fmla="*/ 645333 w 1315852"/>
              <a:gd name="csY190" fmla="*/ 2386512 h 3212801"/>
              <a:gd name="csX191" fmla="*/ 645333 w 1315852"/>
              <a:gd name="csY191" fmla="*/ 2399858 h 3212801"/>
              <a:gd name="csX192" fmla="*/ 645232 w 1315852"/>
              <a:gd name="csY192" fmla="*/ 2471367 h 3212801"/>
              <a:gd name="csX193" fmla="*/ 643489 w 1315852"/>
              <a:gd name="csY193" fmla="*/ 2486535 h 3212801"/>
              <a:gd name="csX194" fmla="*/ 662548 w 1315852"/>
              <a:gd name="csY194" fmla="*/ 2510760 h 3212801"/>
              <a:gd name="csX195" fmla="*/ 942625 w 1315852"/>
              <a:gd name="csY195" fmla="*/ 2507990 h 3212801"/>
              <a:gd name="csX196" fmla="*/ 997309 w 1315852"/>
              <a:gd name="csY196" fmla="*/ 2507928 h 3212801"/>
              <a:gd name="csX197" fmla="*/ 1012693 w 1315852"/>
              <a:gd name="csY197" fmla="*/ 2507237 h 3212801"/>
              <a:gd name="csX198" fmla="*/ 1010948 w 1315852"/>
              <a:gd name="csY198" fmla="*/ 2493054 h 3212801"/>
              <a:gd name="csX199" fmla="*/ 982017 w 1315852"/>
              <a:gd name="csY199" fmla="*/ 2386719 h 3212801"/>
              <a:gd name="csX200" fmla="*/ 955543 w 1315852"/>
              <a:gd name="csY200" fmla="*/ 2275604 h 3212801"/>
              <a:gd name="csX201" fmla="*/ 922638 w 1315852"/>
              <a:gd name="csY201" fmla="*/ 2125997 h 3212801"/>
              <a:gd name="csX202" fmla="*/ 897474 w 1315852"/>
              <a:gd name="csY202" fmla="*/ 1994858 h 3212801"/>
              <a:gd name="csX203" fmla="*/ 878061 w 1315852"/>
              <a:gd name="csY203" fmla="*/ 1878280 h 3212801"/>
              <a:gd name="csX204" fmla="*/ 866965 w 1315852"/>
              <a:gd name="csY204" fmla="*/ 1791411 h 3212801"/>
              <a:gd name="csX205" fmla="*/ 863902 w 1315852"/>
              <a:gd name="csY205" fmla="*/ 1755335 h 3212801"/>
              <a:gd name="csX206" fmla="*/ 855983 w 1315852"/>
              <a:gd name="csY206" fmla="*/ 1677866 h 3212801"/>
              <a:gd name="csX207" fmla="*/ 852873 w 1315852"/>
              <a:gd name="csY207" fmla="*/ 1578685 h 3212801"/>
              <a:gd name="csX208" fmla="*/ 851635 w 1315852"/>
              <a:gd name="csY208" fmla="*/ 1535546 h 3212801"/>
              <a:gd name="csX209" fmla="*/ 850039 w 1315852"/>
              <a:gd name="csY209" fmla="*/ 1484182 h 3212801"/>
              <a:gd name="csX210" fmla="*/ 848486 w 1315852"/>
              <a:gd name="csY210" fmla="*/ 1472876 h 3212801"/>
              <a:gd name="csX211" fmla="*/ 832070 w 1315852"/>
              <a:gd name="csY211" fmla="*/ 1472888 h 3212801"/>
              <a:gd name="csX212" fmla="*/ 676784 w 1315852"/>
              <a:gd name="csY212" fmla="*/ 1475691 h 3212801"/>
              <a:gd name="csX213" fmla="*/ 662172 w 1315852"/>
              <a:gd name="csY213" fmla="*/ 1490031 h 3212801"/>
              <a:gd name="csX214" fmla="*/ 662153 w 1315852"/>
              <a:gd name="csY214" fmla="*/ 1497041 h 3212801"/>
              <a:gd name="csX215" fmla="*/ 659832 w 1315852"/>
              <a:gd name="csY215" fmla="*/ 1642548 h 3212801"/>
              <a:gd name="csX216" fmla="*/ 656544 w 1315852"/>
              <a:gd name="csY216" fmla="*/ 1761338 h 3212801"/>
              <a:gd name="csX217" fmla="*/ 654344 w 1315852"/>
              <a:gd name="csY217" fmla="*/ 1943296 h 3212801"/>
              <a:gd name="csX218" fmla="*/ 651002 w 1315852"/>
              <a:gd name="csY218" fmla="*/ 2137811 h 3212801"/>
              <a:gd name="csX219" fmla="*/ 650933 w 1315852"/>
              <a:gd name="csY219" fmla="*/ 2240168 h 3212801"/>
              <a:gd name="csX220" fmla="*/ 651273 w 1315852"/>
              <a:gd name="csY220" fmla="*/ 2249880 h 3212801"/>
              <a:gd name="csX221" fmla="*/ 658332 w 1315852"/>
              <a:gd name="csY221" fmla="*/ 2258024 h 3212801"/>
              <a:gd name="csX222" fmla="*/ 654604 w 1315852"/>
              <a:gd name="csY222" fmla="*/ 2329281 h 3212801"/>
              <a:gd name="csX223" fmla="*/ 999154 w 1315852"/>
              <a:gd name="csY223" fmla="*/ 2930680 h 3212801"/>
              <a:gd name="csX224" fmla="*/ 1224400 w 1315852"/>
              <a:gd name="csY224" fmla="*/ 2904672 h 3212801"/>
              <a:gd name="csX225" fmla="*/ 1225778 w 1315852"/>
              <a:gd name="csY225" fmla="*/ 2893948 h 3212801"/>
              <a:gd name="csX226" fmla="*/ 1197990 w 1315852"/>
              <a:gd name="csY226" fmla="*/ 2788499 h 3212801"/>
              <a:gd name="csX227" fmla="*/ 1156721 w 1315852"/>
              <a:gd name="csY227" fmla="*/ 2737429 h 3212801"/>
              <a:gd name="csX228" fmla="*/ 1096512 w 1315852"/>
              <a:gd name="csY228" fmla="*/ 2674794 h 3212801"/>
              <a:gd name="csX229" fmla="*/ 1056842 w 1315852"/>
              <a:gd name="csY229" fmla="*/ 2584575 h 3212801"/>
              <a:gd name="csX230" fmla="*/ 1055233 w 1315852"/>
              <a:gd name="csY230" fmla="*/ 2579758 h 3212801"/>
              <a:gd name="csX231" fmla="*/ 1017950 w 1315852"/>
              <a:gd name="csY231" fmla="*/ 2581956 h 3212801"/>
              <a:gd name="csX232" fmla="*/ 785764 w 1315852"/>
              <a:gd name="csY232" fmla="*/ 2595473 h 3212801"/>
              <a:gd name="csX233" fmla="*/ 665238 w 1315852"/>
              <a:gd name="csY233" fmla="*/ 2597498 h 3212801"/>
              <a:gd name="csX234" fmla="*/ 654332 w 1315852"/>
              <a:gd name="csY234" fmla="*/ 2598673 h 3212801"/>
              <a:gd name="csX235" fmla="*/ 653026 w 1315852"/>
              <a:gd name="csY235" fmla="*/ 2935427 h 3212801"/>
              <a:gd name="csX236" fmla="*/ 999154 w 1315852"/>
              <a:gd name="csY236" fmla="*/ 2930680 h 3212801"/>
              <a:gd name="csX237" fmla="*/ 947894 w 1315852"/>
              <a:gd name="csY237" fmla="*/ 3022480 h 3212801"/>
              <a:gd name="csX238" fmla="*/ 854096 w 1315852"/>
              <a:gd name="csY238" fmla="*/ 3026952 h 3212801"/>
              <a:gd name="csX239" fmla="*/ 676076 w 1315852"/>
              <a:gd name="csY239" fmla="*/ 3027217 h 3212801"/>
              <a:gd name="csX240" fmla="*/ 657155 w 1315852"/>
              <a:gd name="csY240" fmla="*/ 3027217 h 3212801"/>
              <a:gd name="csX241" fmla="*/ 650929 w 1315852"/>
              <a:gd name="csY241" fmla="*/ 3130009 h 3212801"/>
              <a:gd name="csX242" fmla="*/ 662475 w 1315852"/>
              <a:gd name="csY242" fmla="*/ 3131016 h 3212801"/>
              <a:gd name="csX243" fmla="*/ 775955 w 1315852"/>
              <a:gd name="csY243" fmla="*/ 3134982 h 3212801"/>
              <a:gd name="csX244" fmla="*/ 1061598 w 1315852"/>
              <a:gd name="csY244" fmla="*/ 3125377 h 3212801"/>
              <a:gd name="csX245" fmla="*/ 1249397 w 1315852"/>
              <a:gd name="csY245" fmla="*/ 3093967 h 3212801"/>
              <a:gd name="csX246" fmla="*/ 1262842 w 1315852"/>
              <a:gd name="csY246" fmla="*/ 3089764 h 3212801"/>
              <a:gd name="csX247" fmla="*/ 1244253 w 1315852"/>
              <a:gd name="csY247" fmla="*/ 3014005 h 3212801"/>
              <a:gd name="csX248" fmla="*/ 1237768 w 1315852"/>
              <a:gd name="csY248" fmla="*/ 3003206 h 3212801"/>
              <a:gd name="csX249" fmla="*/ 1217957 w 1315852"/>
              <a:gd name="csY249" fmla="*/ 2993424 h 3212801"/>
              <a:gd name="csX250" fmla="*/ 1163725 w 1315852"/>
              <a:gd name="csY250" fmla="*/ 3000119 h 3212801"/>
              <a:gd name="csX251" fmla="*/ 947894 w 1315852"/>
              <a:gd name="csY251" fmla="*/ 3022480 h 3212801"/>
              <a:gd name="csX252" fmla="*/ 784197 w 1315852"/>
              <a:gd name="csY252" fmla="*/ 1352777 h 3212801"/>
              <a:gd name="csX253" fmla="*/ 730991 w 1315852"/>
              <a:gd name="csY253" fmla="*/ 1354793 h 3212801"/>
              <a:gd name="csX254" fmla="*/ 676320 w 1315852"/>
              <a:gd name="csY254" fmla="*/ 1356902 h 3212801"/>
              <a:gd name="csX255" fmla="*/ 671906 w 1315852"/>
              <a:gd name="csY255" fmla="*/ 1418933 h 3212801"/>
              <a:gd name="csX256" fmla="*/ 685797 w 1315852"/>
              <a:gd name="csY256" fmla="*/ 1418917 h 3212801"/>
              <a:gd name="csX257" fmla="*/ 953300 w 1315852"/>
              <a:gd name="csY257" fmla="*/ 1410383 h 3212801"/>
              <a:gd name="csX258" fmla="*/ 968586 w 1315852"/>
              <a:gd name="csY258" fmla="*/ 1408564 h 3212801"/>
              <a:gd name="csX259" fmla="*/ 980375 w 1315852"/>
              <a:gd name="csY259" fmla="*/ 1394590 h 3212801"/>
              <a:gd name="csX260" fmla="*/ 965591 w 1315852"/>
              <a:gd name="csY260" fmla="*/ 1364447 h 3212801"/>
              <a:gd name="csX261" fmla="*/ 910211 w 1315852"/>
              <a:gd name="csY261" fmla="*/ 1348103 h 3212801"/>
              <a:gd name="csX262" fmla="*/ 784197 w 1315852"/>
              <a:gd name="csY262" fmla="*/ 1352777 h 3212801"/>
              <a:gd name="csX263" fmla="*/ 648129 w 1315852"/>
              <a:gd name="csY263" fmla="*/ 615881 h 3212801"/>
              <a:gd name="csX264" fmla="*/ 650869 w 1315852"/>
              <a:gd name="csY264" fmla="*/ 664591 h 3212801"/>
              <a:gd name="csX265" fmla="*/ 653223 w 1315852"/>
              <a:gd name="csY265" fmla="*/ 746994 h 3212801"/>
              <a:gd name="csX266" fmla="*/ 656163 w 1315852"/>
              <a:gd name="csY266" fmla="*/ 830737 h 3212801"/>
              <a:gd name="csX267" fmla="*/ 658740 w 1315852"/>
              <a:gd name="csY267" fmla="*/ 903281 h 3212801"/>
              <a:gd name="csX268" fmla="*/ 662209 w 1315852"/>
              <a:gd name="csY268" fmla="*/ 1019226 h 3212801"/>
              <a:gd name="csX269" fmla="*/ 665088 w 1315852"/>
              <a:gd name="csY269" fmla="*/ 1081942 h 3212801"/>
              <a:gd name="csX270" fmla="*/ 674628 w 1315852"/>
              <a:gd name="csY270" fmla="*/ 1090643 h 3212801"/>
              <a:gd name="csX271" fmla="*/ 762289 w 1315852"/>
              <a:gd name="csY271" fmla="*/ 1085865 h 3212801"/>
              <a:gd name="csX272" fmla="*/ 853046 w 1315852"/>
              <a:gd name="csY272" fmla="*/ 1082948 h 3212801"/>
              <a:gd name="csX273" fmla="*/ 854448 w 1315852"/>
              <a:gd name="csY273" fmla="*/ 1082924 h 3212801"/>
              <a:gd name="csX274" fmla="*/ 866364 w 1315852"/>
              <a:gd name="csY274" fmla="*/ 1074839 h 3212801"/>
              <a:gd name="csX275" fmla="*/ 891726 w 1315852"/>
              <a:gd name="csY275" fmla="*/ 1006797 h 3212801"/>
              <a:gd name="csX276" fmla="*/ 913720 w 1315852"/>
              <a:gd name="csY276" fmla="*/ 939278 h 3212801"/>
              <a:gd name="csX277" fmla="*/ 953952 w 1315852"/>
              <a:gd name="csY277" fmla="*/ 826060 h 3212801"/>
              <a:gd name="csX278" fmla="*/ 988796 w 1315852"/>
              <a:gd name="csY278" fmla="*/ 727233 h 3212801"/>
              <a:gd name="csX279" fmla="*/ 1036110 w 1315852"/>
              <a:gd name="csY279" fmla="*/ 592920 h 3212801"/>
              <a:gd name="csX280" fmla="*/ 1043677 w 1315852"/>
              <a:gd name="csY280" fmla="*/ 542152 h 3212801"/>
              <a:gd name="csX281" fmla="*/ 1030884 w 1315852"/>
              <a:gd name="csY281" fmla="*/ 517222 h 3212801"/>
              <a:gd name="csX282" fmla="*/ 1009162 w 1315852"/>
              <a:gd name="csY282" fmla="*/ 507963 h 3212801"/>
              <a:gd name="csX283" fmla="*/ 931266 w 1315852"/>
              <a:gd name="csY283" fmla="*/ 493552 h 3212801"/>
              <a:gd name="csX284" fmla="*/ 880100 w 1315852"/>
              <a:gd name="csY284" fmla="*/ 488348 h 3212801"/>
              <a:gd name="csX285" fmla="*/ 835610 w 1315852"/>
              <a:gd name="csY285" fmla="*/ 485330 h 3212801"/>
              <a:gd name="csX286" fmla="*/ 755014 w 1315852"/>
              <a:gd name="csY286" fmla="*/ 480162 h 3212801"/>
              <a:gd name="csX287" fmla="*/ 657249 w 1315852"/>
              <a:gd name="csY287" fmla="*/ 482686 h 3212801"/>
              <a:gd name="csX288" fmla="*/ 643184 w 1315852"/>
              <a:gd name="csY288" fmla="*/ 500211 h 3212801"/>
              <a:gd name="csX289" fmla="*/ 645220 w 1315852"/>
              <a:gd name="csY289" fmla="*/ 511112 h 3212801"/>
              <a:gd name="csX290" fmla="*/ 648129 w 1315852"/>
              <a:gd name="csY290" fmla="*/ 615881 h 3212801"/>
              <a:gd name="csX291" fmla="*/ 886495 w 1315852"/>
              <a:gd name="csY291" fmla="*/ 1207714 h 3212801"/>
              <a:gd name="csX292" fmla="*/ 881380 w 1315852"/>
              <a:gd name="csY292" fmla="*/ 1202980 h 3212801"/>
              <a:gd name="csX293" fmla="*/ 866913 w 1315852"/>
              <a:gd name="csY293" fmla="*/ 1175042 h 3212801"/>
              <a:gd name="csX294" fmla="*/ 866482 w 1315852"/>
              <a:gd name="csY294" fmla="*/ 1156869 h 3212801"/>
              <a:gd name="csX295" fmla="*/ 856429 w 1315852"/>
              <a:gd name="csY295" fmla="*/ 1147458 h 3212801"/>
              <a:gd name="csX296" fmla="*/ 790615 w 1315852"/>
              <a:gd name="csY296" fmla="*/ 1147813 h 3212801"/>
              <a:gd name="csX297" fmla="*/ 718484 w 1315852"/>
              <a:gd name="csY297" fmla="*/ 1153058 h 3212801"/>
              <a:gd name="csX298" fmla="*/ 671232 w 1315852"/>
              <a:gd name="csY298" fmla="*/ 1156034 h 3212801"/>
              <a:gd name="csX299" fmla="*/ 664146 w 1315852"/>
              <a:gd name="csY299" fmla="*/ 1168443 h 3212801"/>
              <a:gd name="csX300" fmla="*/ 667611 w 1315852"/>
              <a:gd name="csY300" fmla="*/ 1187354 h 3212801"/>
              <a:gd name="csX301" fmla="*/ 667803 w 1315852"/>
              <a:gd name="csY301" fmla="*/ 1283992 h 3212801"/>
              <a:gd name="csX302" fmla="*/ 683140 w 1315852"/>
              <a:gd name="csY302" fmla="*/ 1298850 h 3212801"/>
              <a:gd name="csX303" fmla="*/ 736011 w 1315852"/>
              <a:gd name="csY303" fmla="*/ 1296220 h 3212801"/>
              <a:gd name="csX304" fmla="*/ 830893 w 1315852"/>
              <a:gd name="csY304" fmla="*/ 1293324 h 3212801"/>
              <a:gd name="csX305" fmla="*/ 833691 w 1315852"/>
              <a:gd name="csY305" fmla="*/ 1293213 h 3212801"/>
              <a:gd name="csX306" fmla="*/ 903014 w 1315852"/>
              <a:gd name="csY306" fmla="*/ 1287831 h 3212801"/>
              <a:gd name="csX307" fmla="*/ 917225 w 1315852"/>
              <a:gd name="csY307" fmla="*/ 1271856 h 3212801"/>
              <a:gd name="csX308" fmla="*/ 886495 w 1315852"/>
              <a:gd name="csY308" fmla="*/ 1207714 h 321280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  <a:cxn ang="0">
                <a:pos x="csX170" y="csY170"/>
              </a:cxn>
              <a:cxn ang="0">
                <a:pos x="csX171" y="csY171"/>
              </a:cxn>
              <a:cxn ang="0">
                <a:pos x="csX172" y="csY172"/>
              </a:cxn>
              <a:cxn ang="0">
                <a:pos x="csX173" y="csY173"/>
              </a:cxn>
              <a:cxn ang="0">
                <a:pos x="csX174" y="csY174"/>
              </a:cxn>
              <a:cxn ang="0">
                <a:pos x="csX175" y="csY175"/>
              </a:cxn>
              <a:cxn ang="0">
                <a:pos x="csX176" y="csY176"/>
              </a:cxn>
              <a:cxn ang="0">
                <a:pos x="csX177" y="csY177"/>
              </a:cxn>
              <a:cxn ang="0">
                <a:pos x="csX178" y="csY178"/>
              </a:cxn>
              <a:cxn ang="0">
                <a:pos x="csX179" y="csY179"/>
              </a:cxn>
              <a:cxn ang="0">
                <a:pos x="csX180" y="csY180"/>
              </a:cxn>
              <a:cxn ang="0">
                <a:pos x="csX181" y="csY181"/>
              </a:cxn>
              <a:cxn ang="0">
                <a:pos x="csX182" y="csY182"/>
              </a:cxn>
              <a:cxn ang="0">
                <a:pos x="csX183" y="csY183"/>
              </a:cxn>
              <a:cxn ang="0">
                <a:pos x="csX184" y="csY184"/>
              </a:cxn>
              <a:cxn ang="0">
                <a:pos x="csX185" y="csY185"/>
              </a:cxn>
              <a:cxn ang="0">
                <a:pos x="csX186" y="csY186"/>
              </a:cxn>
              <a:cxn ang="0">
                <a:pos x="csX187" y="csY187"/>
              </a:cxn>
              <a:cxn ang="0">
                <a:pos x="csX188" y="csY188"/>
              </a:cxn>
              <a:cxn ang="0">
                <a:pos x="csX189" y="csY189"/>
              </a:cxn>
              <a:cxn ang="0">
                <a:pos x="csX190" y="csY190"/>
              </a:cxn>
              <a:cxn ang="0">
                <a:pos x="csX191" y="csY191"/>
              </a:cxn>
              <a:cxn ang="0">
                <a:pos x="csX192" y="csY192"/>
              </a:cxn>
              <a:cxn ang="0">
                <a:pos x="csX193" y="csY193"/>
              </a:cxn>
              <a:cxn ang="0">
                <a:pos x="csX194" y="csY194"/>
              </a:cxn>
              <a:cxn ang="0">
                <a:pos x="csX195" y="csY195"/>
              </a:cxn>
              <a:cxn ang="0">
                <a:pos x="csX196" y="csY196"/>
              </a:cxn>
              <a:cxn ang="0">
                <a:pos x="csX197" y="csY197"/>
              </a:cxn>
              <a:cxn ang="0">
                <a:pos x="csX198" y="csY198"/>
              </a:cxn>
              <a:cxn ang="0">
                <a:pos x="csX199" y="csY199"/>
              </a:cxn>
              <a:cxn ang="0">
                <a:pos x="csX200" y="csY200"/>
              </a:cxn>
              <a:cxn ang="0">
                <a:pos x="csX201" y="csY201"/>
              </a:cxn>
              <a:cxn ang="0">
                <a:pos x="csX202" y="csY202"/>
              </a:cxn>
              <a:cxn ang="0">
                <a:pos x="csX203" y="csY203"/>
              </a:cxn>
              <a:cxn ang="0">
                <a:pos x="csX204" y="csY204"/>
              </a:cxn>
              <a:cxn ang="0">
                <a:pos x="csX205" y="csY205"/>
              </a:cxn>
              <a:cxn ang="0">
                <a:pos x="csX206" y="csY206"/>
              </a:cxn>
              <a:cxn ang="0">
                <a:pos x="csX207" y="csY207"/>
              </a:cxn>
              <a:cxn ang="0">
                <a:pos x="csX208" y="csY208"/>
              </a:cxn>
              <a:cxn ang="0">
                <a:pos x="csX209" y="csY209"/>
              </a:cxn>
              <a:cxn ang="0">
                <a:pos x="csX210" y="csY210"/>
              </a:cxn>
              <a:cxn ang="0">
                <a:pos x="csX211" y="csY211"/>
              </a:cxn>
              <a:cxn ang="0">
                <a:pos x="csX212" y="csY212"/>
              </a:cxn>
              <a:cxn ang="0">
                <a:pos x="csX213" y="csY213"/>
              </a:cxn>
              <a:cxn ang="0">
                <a:pos x="csX214" y="csY214"/>
              </a:cxn>
              <a:cxn ang="0">
                <a:pos x="csX215" y="csY215"/>
              </a:cxn>
              <a:cxn ang="0">
                <a:pos x="csX216" y="csY216"/>
              </a:cxn>
              <a:cxn ang="0">
                <a:pos x="csX217" y="csY217"/>
              </a:cxn>
              <a:cxn ang="0">
                <a:pos x="csX218" y="csY218"/>
              </a:cxn>
              <a:cxn ang="0">
                <a:pos x="csX219" y="csY219"/>
              </a:cxn>
              <a:cxn ang="0">
                <a:pos x="csX220" y="csY220"/>
              </a:cxn>
              <a:cxn ang="0">
                <a:pos x="csX221" y="csY221"/>
              </a:cxn>
              <a:cxn ang="0">
                <a:pos x="csX222" y="csY222"/>
              </a:cxn>
              <a:cxn ang="0">
                <a:pos x="csX223" y="csY223"/>
              </a:cxn>
              <a:cxn ang="0">
                <a:pos x="csX224" y="csY224"/>
              </a:cxn>
              <a:cxn ang="0">
                <a:pos x="csX225" y="csY225"/>
              </a:cxn>
              <a:cxn ang="0">
                <a:pos x="csX226" y="csY226"/>
              </a:cxn>
              <a:cxn ang="0">
                <a:pos x="csX227" y="csY227"/>
              </a:cxn>
              <a:cxn ang="0">
                <a:pos x="csX228" y="csY228"/>
              </a:cxn>
              <a:cxn ang="0">
                <a:pos x="csX229" y="csY229"/>
              </a:cxn>
              <a:cxn ang="0">
                <a:pos x="csX230" y="csY230"/>
              </a:cxn>
              <a:cxn ang="0">
                <a:pos x="csX231" y="csY231"/>
              </a:cxn>
              <a:cxn ang="0">
                <a:pos x="csX232" y="csY232"/>
              </a:cxn>
              <a:cxn ang="0">
                <a:pos x="csX233" y="csY233"/>
              </a:cxn>
              <a:cxn ang="0">
                <a:pos x="csX234" y="csY234"/>
              </a:cxn>
              <a:cxn ang="0">
                <a:pos x="csX235" y="csY235"/>
              </a:cxn>
              <a:cxn ang="0">
                <a:pos x="csX236" y="csY236"/>
              </a:cxn>
              <a:cxn ang="0">
                <a:pos x="csX237" y="csY237"/>
              </a:cxn>
              <a:cxn ang="0">
                <a:pos x="csX238" y="csY238"/>
              </a:cxn>
              <a:cxn ang="0">
                <a:pos x="csX239" y="csY239"/>
              </a:cxn>
              <a:cxn ang="0">
                <a:pos x="csX240" y="csY240"/>
              </a:cxn>
              <a:cxn ang="0">
                <a:pos x="csX241" y="csY241"/>
              </a:cxn>
              <a:cxn ang="0">
                <a:pos x="csX242" y="csY242"/>
              </a:cxn>
              <a:cxn ang="0">
                <a:pos x="csX243" y="csY243"/>
              </a:cxn>
              <a:cxn ang="0">
                <a:pos x="csX244" y="csY244"/>
              </a:cxn>
              <a:cxn ang="0">
                <a:pos x="csX245" y="csY245"/>
              </a:cxn>
              <a:cxn ang="0">
                <a:pos x="csX246" y="csY246"/>
              </a:cxn>
              <a:cxn ang="0">
                <a:pos x="csX247" y="csY247"/>
              </a:cxn>
              <a:cxn ang="0">
                <a:pos x="csX248" y="csY248"/>
              </a:cxn>
              <a:cxn ang="0">
                <a:pos x="csX249" y="csY249"/>
              </a:cxn>
              <a:cxn ang="0">
                <a:pos x="csX250" y="csY250"/>
              </a:cxn>
              <a:cxn ang="0">
                <a:pos x="csX251" y="csY251"/>
              </a:cxn>
              <a:cxn ang="0">
                <a:pos x="csX252" y="csY252"/>
              </a:cxn>
              <a:cxn ang="0">
                <a:pos x="csX253" y="csY253"/>
              </a:cxn>
              <a:cxn ang="0">
                <a:pos x="csX254" y="csY254"/>
              </a:cxn>
              <a:cxn ang="0">
                <a:pos x="csX255" y="csY255"/>
              </a:cxn>
              <a:cxn ang="0">
                <a:pos x="csX256" y="csY256"/>
              </a:cxn>
              <a:cxn ang="0">
                <a:pos x="csX257" y="csY257"/>
              </a:cxn>
              <a:cxn ang="0">
                <a:pos x="csX258" y="csY258"/>
              </a:cxn>
              <a:cxn ang="0">
                <a:pos x="csX259" y="csY259"/>
              </a:cxn>
              <a:cxn ang="0">
                <a:pos x="csX260" y="csY260"/>
              </a:cxn>
              <a:cxn ang="0">
                <a:pos x="csX261" y="csY261"/>
              </a:cxn>
              <a:cxn ang="0">
                <a:pos x="csX262" y="csY262"/>
              </a:cxn>
              <a:cxn ang="0">
                <a:pos x="csX263" y="csY263"/>
              </a:cxn>
              <a:cxn ang="0">
                <a:pos x="csX264" y="csY264"/>
              </a:cxn>
              <a:cxn ang="0">
                <a:pos x="csX265" y="csY265"/>
              </a:cxn>
              <a:cxn ang="0">
                <a:pos x="csX266" y="csY266"/>
              </a:cxn>
              <a:cxn ang="0">
                <a:pos x="csX267" y="csY267"/>
              </a:cxn>
              <a:cxn ang="0">
                <a:pos x="csX268" y="csY268"/>
              </a:cxn>
              <a:cxn ang="0">
                <a:pos x="csX269" y="csY269"/>
              </a:cxn>
              <a:cxn ang="0">
                <a:pos x="csX270" y="csY270"/>
              </a:cxn>
              <a:cxn ang="0">
                <a:pos x="csX271" y="csY271"/>
              </a:cxn>
              <a:cxn ang="0">
                <a:pos x="csX272" y="csY272"/>
              </a:cxn>
              <a:cxn ang="0">
                <a:pos x="csX273" y="csY273"/>
              </a:cxn>
              <a:cxn ang="0">
                <a:pos x="csX274" y="csY274"/>
              </a:cxn>
              <a:cxn ang="0">
                <a:pos x="csX275" y="csY275"/>
              </a:cxn>
              <a:cxn ang="0">
                <a:pos x="csX276" y="csY276"/>
              </a:cxn>
              <a:cxn ang="0">
                <a:pos x="csX277" y="csY277"/>
              </a:cxn>
              <a:cxn ang="0">
                <a:pos x="csX278" y="csY278"/>
              </a:cxn>
              <a:cxn ang="0">
                <a:pos x="csX279" y="csY279"/>
              </a:cxn>
              <a:cxn ang="0">
                <a:pos x="csX280" y="csY280"/>
              </a:cxn>
              <a:cxn ang="0">
                <a:pos x="csX281" y="csY281"/>
              </a:cxn>
              <a:cxn ang="0">
                <a:pos x="csX282" y="csY282"/>
              </a:cxn>
              <a:cxn ang="0">
                <a:pos x="csX283" y="csY283"/>
              </a:cxn>
              <a:cxn ang="0">
                <a:pos x="csX284" y="csY284"/>
              </a:cxn>
              <a:cxn ang="0">
                <a:pos x="csX285" y="csY285"/>
              </a:cxn>
              <a:cxn ang="0">
                <a:pos x="csX286" y="csY286"/>
              </a:cxn>
              <a:cxn ang="0">
                <a:pos x="csX287" y="csY287"/>
              </a:cxn>
              <a:cxn ang="0">
                <a:pos x="csX288" y="csY288"/>
              </a:cxn>
              <a:cxn ang="0">
                <a:pos x="csX289" y="csY289"/>
              </a:cxn>
              <a:cxn ang="0">
                <a:pos x="csX290" y="csY290"/>
              </a:cxn>
              <a:cxn ang="0">
                <a:pos x="csX291" y="csY291"/>
              </a:cxn>
              <a:cxn ang="0">
                <a:pos x="csX292" y="csY292"/>
              </a:cxn>
              <a:cxn ang="0">
                <a:pos x="csX293" y="csY293"/>
              </a:cxn>
              <a:cxn ang="0">
                <a:pos x="csX294" y="csY294"/>
              </a:cxn>
              <a:cxn ang="0">
                <a:pos x="csX295" y="csY295"/>
              </a:cxn>
              <a:cxn ang="0">
                <a:pos x="csX296" y="csY296"/>
              </a:cxn>
              <a:cxn ang="0">
                <a:pos x="csX297" y="csY297"/>
              </a:cxn>
              <a:cxn ang="0">
                <a:pos x="csX298" y="csY298"/>
              </a:cxn>
              <a:cxn ang="0">
                <a:pos x="csX299" y="csY299"/>
              </a:cxn>
              <a:cxn ang="0">
                <a:pos x="csX300" y="csY300"/>
              </a:cxn>
              <a:cxn ang="0">
                <a:pos x="csX301" y="csY301"/>
              </a:cxn>
              <a:cxn ang="0">
                <a:pos x="csX302" y="csY302"/>
              </a:cxn>
              <a:cxn ang="0">
                <a:pos x="csX303" y="csY303"/>
              </a:cxn>
              <a:cxn ang="0">
                <a:pos x="csX304" y="csY304"/>
              </a:cxn>
              <a:cxn ang="0">
                <a:pos x="csX305" y="csY305"/>
              </a:cxn>
              <a:cxn ang="0">
                <a:pos x="csX306" y="csY306"/>
              </a:cxn>
              <a:cxn ang="0">
                <a:pos x="csX307" y="csY307"/>
              </a:cxn>
              <a:cxn ang="0">
                <a:pos x="csX308" y="csY308"/>
              </a:cxn>
            </a:cxnLst>
            <a:rect l="l" t="t" r="r" b="b"/>
            <a:pathLst>
              <a:path w="1315852" h="3212801">
                <a:moveTo>
                  <a:pt x="898754" y="1637125"/>
                </a:moveTo>
                <a:cubicBezTo>
                  <a:pt x="899614" y="1640179"/>
                  <a:pt x="900338" y="1641975"/>
                  <a:pt x="900426" y="1643802"/>
                </a:cubicBezTo>
                <a:cubicBezTo>
                  <a:pt x="901475" y="1665651"/>
                  <a:pt x="902040" y="1687530"/>
                  <a:pt x="903549" y="1709345"/>
                </a:cubicBezTo>
                <a:cubicBezTo>
                  <a:pt x="904508" y="1723191"/>
                  <a:pt x="906945" y="1736929"/>
                  <a:pt x="908512" y="1750739"/>
                </a:cubicBezTo>
                <a:cubicBezTo>
                  <a:pt x="909768" y="1761809"/>
                  <a:pt x="910504" y="1772940"/>
                  <a:pt x="911839" y="1783999"/>
                </a:cubicBezTo>
                <a:cubicBezTo>
                  <a:pt x="914339" y="1804698"/>
                  <a:pt x="917061" y="1825371"/>
                  <a:pt x="919775" y="1846044"/>
                </a:cubicBezTo>
                <a:cubicBezTo>
                  <a:pt x="922673" y="1868112"/>
                  <a:pt x="925267" y="1890230"/>
                  <a:pt x="928724" y="1912212"/>
                </a:cubicBezTo>
                <a:cubicBezTo>
                  <a:pt x="933262" y="1941073"/>
                  <a:pt x="938122" y="1969897"/>
                  <a:pt x="943556" y="1998602"/>
                </a:cubicBezTo>
                <a:cubicBezTo>
                  <a:pt x="951321" y="2039621"/>
                  <a:pt x="959572" y="2080549"/>
                  <a:pt x="967918" y="2121455"/>
                </a:cubicBezTo>
                <a:cubicBezTo>
                  <a:pt x="974414" y="2153298"/>
                  <a:pt x="980861" y="2185166"/>
                  <a:pt x="988236" y="2216813"/>
                </a:cubicBezTo>
                <a:cubicBezTo>
                  <a:pt x="1001417" y="2273372"/>
                  <a:pt x="1015007" y="2329839"/>
                  <a:pt x="1028961" y="2386212"/>
                </a:cubicBezTo>
                <a:cubicBezTo>
                  <a:pt x="1037223" y="2419597"/>
                  <a:pt x="1046464" y="2452740"/>
                  <a:pt x="1055369" y="2485963"/>
                </a:cubicBezTo>
                <a:cubicBezTo>
                  <a:pt x="1057341" y="2493320"/>
                  <a:pt x="1060485" y="2498788"/>
                  <a:pt x="1069125" y="2501571"/>
                </a:cubicBezTo>
                <a:cubicBezTo>
                  <a:pt x="1081467" y="2505544"/>
                  <a:pt x="1093147" y="2511758"/>
                  <a:pt x="1104775" y="2517672"/>
                </a:cubicBezTo>
                <a:cubicBezTo>
                  <a:pt x="1109642" y="2520148"/>
                  <a:pt x="1114279" y="2523752"/>
                  <a:pt x="1117910" y="2527831"/>
                </a:cubicBezTo>
                <a:cubicBezTo>
                  <a:pt x="1124099" y="2534784"/>
                  <a:pt x="1126976" y="2542950"/>
                  <a:pt x="1122737" y="2552282"/>
                </a:cubicBezTo>
                <a:cubicBezTo>
                  <a:pt x="1120041" y="2558217"/>
                  <a:pt x="1118208" y="2564666"/>
                  <a:pt x="1114779" y="2570125"/>
                </a:cubicBezTo>
                <a:cubicBezTo>
                  <a:pt x="1104671" y="2586210"/>
                  <a:pt x="1107442" y="2602158"/>
                  <a:pt x="1114207" y="2618225"/>
                </a:cubicBezTo>
                <a:cubicBezTo>
                  <a:pt x="1121782" y="2636214"/>
                  <a:pt x="1134908" y="2650364"/>
                  <a:pt x="1148150" y="2663984"/>
                </a:cubicBezTo>
                <a:cubicBezTo>
                  <a:pt x="1166992" y="2683364"/>
                  <a:pt x="1187718" y="2700911"/>
                  <a:pt x="1206600" y="2720256"/>
                </a:cubicBezTo>
                <a:cubicBezTo>
                  <a:pt x="1242228" y="2756756"/>
                  <a:pt x="1266941" y="2799706"/>
                  <a:pt x="1275524" y="2850317"/>
                </a:cubicBezTo>
                <a:cubicBezTo>
                  <a:pt x="1278084" y="2865409"/>
                  <a:pt x="1281110" y="2880935"/>
                  <a:pt x="1277353" y="2897326"/>
                </a:cubicBezTo>
                <a:cubicBezTo>
                  <a:pt x="1274514" y="2909711"/>
                  <a:pt x="1274674" y="2923014"/>
                  <a:pt x="1271355" y="2935725"/>
                </a:cubicBezTo>
                <a:cubicBezTo>
                  <a:pt x="1269750" y="2941870"/>
                  <a:pt x="1270927" y="2948063"/>
                  <a:pt x="1274691" y="2954335"/>
                </a:cubicBezTo>
                <a:cubicBezTo>
                  <a:pt x="1288477" y="2977303"/>
                  <a:pt x="1297024" y="3002358"/>
                  <a:pt x="1301797" y="3028744"/>
                </a:cubicBezTo>
                <a:cubicBezTo>
                  <a:pt x="1305016" y="3046537"/>
                  <a:pt x="1309526" y="3064135"/>
                  <a:pt x="1311943" y="3082025"/>
                </a:cubicBezTo>
                <a:cubicBezTo>
                  <a:pt x="1314240" y="3099026"/>
                  <a:pt x="1314491" y="3116299"/>
                  <a:pt x="1315801" y="3133440"/>
                </a:cubicBezTo>
                <a:cubicBezTo>
                  <a:pt x="1316312" y="3140137"/>
                  <a:pt x="1313007" y="3144001"/>
                  <a:pt x="1307182" y="3146201"/>
                </a:cubicBezTo>
                <a:cubicBezTo>
                  <a:pt x="1298468" y="3149492"/>
                  <a:pt x="1289929" y="3153581"/>
                  <a:pt x="1280933" y="3155733"/>
                </a:cubicBezTo>
                <a:cubicBezTo>
                  <a:pt x="1243908" y="3164594"/>
                  <a:pt x="1206866" y="3173472"/>
                  <a:pt x="1169576" y="3181105"/>
                </a:cubicBezTo>
                <a:cubicBezTo>
                  <a:pt x="1145999" y="3185932"/>
                  <a:pt x="1122051" y="3189224"/>
                  <a:pt x="1098129" y="3192005"/>
                </a:cubicBezTo>
                <a:cubicBezTo>
                  <a:pt x="1074162" y="3194791"/>
                  <a:pt x="1050013" y="3195993"/>
                  <a:pt x="1025959" y="3198069"/>
                </a:cubicBezTo>
                <a:cubicBezTo>
                  <a:pt x="1007015" y="3199703"/>
                  <a:pt x="988093" y="3201610"/>
                  <a:pt x="969161" y="3203391"/>
                </a:cubicBezTo>
                <a:cubicBezTo>
                  <a:pt x="968232" y="3203478"/>
                  <a:pt x="967299" y="3203552"/>
                  <a:pt x="966367" y="3203587"/>
                </a:cubicBezTo>
                <a:cubicBezTo>
                  <a:pt x="941242" y="3204545"/>
                  <a:pt x="916121" y="3205640"/>
                  <a:pt x="890991" y="3206415"/>
                </a:cubicBezTo>
                <a:cubicBezTo>
                  <a:pt x="856053" y="3207494"/>
                  <a:pt x="820973" y="3206720"/>
                  <a:pt x="786197" y="3209641"/>
                </a:cubicBezTo>
                <a:cubicBezTo>
                  <a:pt x="730188" y="3214346"/>
                  <a:pt x="674133" y="3212833"/>
                  <a:pt x="618254" y="3211234"/>
                </a:cubicBezTo>
                <a:cubicBezTo>
                  <a:pt x="580962" y="3210166"/>
                  <a:pt x="543663" y="3210429"/>
                  <a:pt x="506392" y="3209195"/>
                </a:cubicBezTo>
                <a:cubicBezTo>
                  <a:pt x="485466" y="3208502"/>
                  <a:pt x="464553" y="3207412"/>
                  <a:pt x="443638" y="3206415"/>
                </a:cubicBezTo>
                <a:cubicBezTo>
                  <a:pt x="425522" y="3205552"/>
                  <a:pt x="407401" y="3204739"/>
                  <a:pt x="389301" y="3203597"/>
                </a:cubicBezTo>
                <a:cubicBezTo>
                  <a:pt x="361481" y="3201842"/>
                  <a:pt x="333617" y="3200446"/>
                  <a:pt x="305884" y="3197747"/>
                </a:cubicBezTo>
                <a:cubicBezTo>
                  <a:pt x="275907" y="3194830"/>
                  <a:pt x="246063" y="3190549"/>
                  <a:pt x="216151" y="3186940"/>
                </a:cubicBezTo>
                <a:cubicBezTo>
                  <a:pt x="191288" y="3183939"/>
                  <a:pt x="166206" y="3182205"/>
                  <a:pt x="141593" y="3177824"/>
                </a:cubicBezTo>
                <a:cubicBezTo>
                  <a:pt x="109171" y="3172054"/>
                  <a:pt x="77055" y="3164497"/>
                  <a:pt x="44929" y="3157176"/>
                </a:cubicBezTo>
                <a:cubicBezTo>
                  <a:pt x="33156" y="3154493"/>
                  <a:pt x="21711" y="3150349"/>
                  <a:pt x="10154" y="3146750"/>
                </a:cubicBezTo>
                <a:cubicBezTo>
                  <a:pt x="3067" y="3144544"/>
                  <a:pt x="-715" y="3140051"/>
                  <a:pt x="112" y="3132149"/>
                </a:cubicBezTo>
                <a:cubicBezTo>
                  <a:pt x="1898" y="3115092"/>
                  <a:pt x="2952" y="3097941"/>
                  <a:pt x="5263" y="3080960"/>
                </a:cubicBezTo>
                <a:cubicBezTo>
                  <a:pt x="7512" y="3064431"/>
                  <a:pt x="11458" y="3048135"/>
                  <a:pt x="13758" y="3031612"/>
                </a:cubicBezTo>
                <a:cubicBezTo>
                  <a:pt x="17373" y="3005647"/>
                  <a:pt x="28643" y="2982695"/>
                  <a:pt x="40996" y="2960204"/>
                </a:cubicBezTo>
                <a:cubicBezTo>
                  <a:pt x="43921" y="2954879"/>
                  <a:pt x="44978" y="2950688"/>
                  <a:pt x="43510" y="2944616"/>
                </a:cubicBezTo>
                <a:cubicBezTo>
                  <a:pt x="38022" y="2921926"/>
                  <a:pt x="34351" y="2898766"/>
                  <a:pt x="36916" y="2875457"/>
                </a:cubicBezTo>
                <a:cubicBezTo>
                  <a:pt x="38685" y="2859391"/>
                  <a:pt x="42237" y="2843358"/>
                  <a:pt x="46646" y="2827778"/>
                </a:cubicBezTo>
                <a:cubicBezTo>
                  <a:pt x="58040" y="2787514"/>
                  <a:pt x="79014" y="2752619"/>
                  <a:pt x="108895" y="2723307"/>
                </a:cubicBezTo>
                <a:cubicBezTo>
                  <a:pt x="135212" y="2697491"/>
                  <a:pt x="162086" y="2672243"/>
                  <a:pt x="188375" y="2646399"/>
                </a:cubicBezTo>
                <a:cubicBezTo>
                  <a:pt x="199778" y="2635188"/>
                  <a:pt x="207849" y="2622209"/>
                  <a:pt x="211535" y="2605867"/>
                </a:cubicBezTo>
                <a:cubicBezTo>
                  <a:pt x="214510" y="2592678"/>
                  <a:pt x="211592" y="2582100"/>
                  <a:pt x="205182" y="2571418"/>
                </a:cubicBezTo>
                <a:cubicBezTo>
                  <a:pt x="202318" y="2566645"/>
                  <a:pt x="198777" y="2562163"/>
                  <a:pt x="196651" y="2557085"/>
                </a:cubicBezTo>
                <a:cubicBezTo>
                  <a:pt x="190347" y="2542031"/>
                  <a:pt x="194717" y="2529077"/>
                  <a:pt x="209021" y="2521560"/>
                </a:cubicBezTo>
                <a:cubicBezTo>
                  <a:pt x="220978" y="2515277"/>
                  <a:pt x="233317" y="2509655"/>
                  <a:pt x="245764" y="2504395"/>
                </a:cubicBezTo>
                <a:cubicBezTo>
                  <a:pt x="254856" y="2500554"/>
                  <a:pt x="261020" y="2495272"/>
                  <a:pt x="263769" y="2485128"/>
                </a:cubicBezTo>
                <a:cubicBezTo>
                  <a:pt x="275569" y="2441581"/>
                  <a:pt x="288425" y="2398319"/>
                  <a:pt x="300045" y="2354726"/>
                </a:cubicBezTo>
                <a:cubicBezTo>
                  <a:pt x="309381" y="2319703"/>
                  <a:pt x="318110" y="2284492"/>
                  <a:pt x="326003" y="2249117"/>
                </a:cubicBezTo>
                <a:cubicBezTo>
                  <a:pt x="337625" y="2197029"/>
                  <a:pt x="348457" y="2144762"/>
                  <a:pt x="359250" y="2092493"/>
                </a:cubicBezTo>
                <a:cubicBezTo>
                  <a:pt x="365909" y="2060243"/>
                  <a:pt x="372293" y="2027924"/>
                  <a:pt x="378011" y="1995496"/>
                </a:cubicBezTo>
                <a:cubicBezTo>
                  <a:pt x="382679" y="1969018"/>
                  <a:pt x="386061" y="1942315"/>
                  <a:pt x="390230" y="1915745"/>
                </a:cubicBezTo>
                <a:cubicBezTo>
                  <a:pt x="393606" y="1894227"/>
                  <a:pt x="397846" y="1872831"/>
                  <a:pt x="400702" y="1851249"/>
                </a:cubicBezTo>
                <a:cubicBezTo>
                  <a:pt x="403440" y="1830558"/>
                  <a:pt x="404754" y="1809683"/>
                  <a:pt x="406954" y="1788916"/>
                </a:cubicBezTo>
                <a:cubicBezTo>
                  <a:pt x="408419" y="1775096"/>
                  <a:pt x="410485" y="1761340"/>
                  <a:pt x="412016" y="1747526"/>
                </a:cubicBezTo>
                <a:cubicBezTo>
                  <a:pt x="413295" y="1735991"/>
                  <a:pt x="414503" y="1724431"/>
                  <a:pt x="415185" y="1712850"/>
                </a:cubicBezTo>
                <a:cubicBezTo>
                  <a:pt x="416387" y="1692414"/>
                  <a:pt x="416884" y="1671935"/>
                  <a:pt x="418197" y="1651507"/>
                </a:cubicBezTo>
                <a:cubicBezTo>
                  <a:pt x="419655" y="1628814"/>
                  <a:pt x="422378" y="1606186"/>
                  <a:pt x="423324" y="1583479"/>
                </a:cubicBezTo>
                <a:cubicBezTo>
                  <a:pt x="424797" y="1548109"/>
                  <a:pt x="425243" y="1512695"/>
                  <a:pt x="426059" y="1477299"/>
                </a:cubicBezTo>
                <a:cubicBezTo>
                  <a:pt x="426077" y="1476493"/>
                  <a:pt x="425310" y="1475668"/>
                  <a:pt x="424204" y="1473415"/>
                </a:cubicBezTo>
                <a:cubicBezTo>
                  <a:pt x="413635" y="1472358"/>
                  <a:pt x="402157" y="1471516"/>
                  <a:pt x="390769" y="1470003"/>
                </a:cubicBezTo>
                <a:cubicBezTo>
                  <a:pt x="369635" y="1467195"/>
                  <a:pt x="348419" y="1464707"/>
                  <a:pt x="327487" y="1460760"/>
                </a:cubicBezTo>
                <a:cubicBezTo>
                  <a:pt x="305605" y="1456634"/>
                  <a:pt x="286603" y="1433026"/>
                  <a:pt x="289037" y="1410705"/>
                </a:cubicBezTo>
                <a:cubicBezTo>
                  <a:pt x="290343" y="1398733"/>
                  <a:pt x="289247" y="1386137"/>
                  <a:pt x="292610" y="1374826"/>
                </a:cubicBezTo>
                <a:cubicBezTo>
                  <a:pt x="299584" y="1351367"/>
                  <a:pt x="313866" y="1331810"/>
                  <a:pt x="335365" y="1319956"/>
                </a:cubicBezTo>
                <a:cubicBezTo>
                  <a:pt x="349736" y="1312032"/>
                  <a:pt x="355513" y="1300196"/>
                  <a:pt x="358966" y="1286091"/>
                </a:cubicBezTo>
                <a:cubicBezTo>
                  <a:pt x="363751" y="1266546"/>
                  <a:pt x="376163" y="1252003"/>
                  <a:pt x="390267" y="1239202"/>
                </a:cubicBezTo>
                <a:cubicBezTo>
                  <a:pt x="404675" y="1226125"/>
                  <a:pt x="421167" y="1215364"/>
                  <a:pt x="435898" y="1202610"/>
                </a:cubicBezTo>
                <a:cubicBezTo>
                  <a:pt x="439929" y="1199120"/>
                  <a:pt x="441515" y="1192282"/>
                  <a:pt x="443089" y="1186662"/>
                </a:cubicBezTo>
                <a:cubicBezTo>
                  <a:pt x="444184" y="1182756"/>
                  <a:pt x="443471" y="1178302"/>
                  <a:pt x="443336" y="1174100"/>
                </a:cubicBezTo>
                <a:cubicBezTo>
                  <a:pt x="443002" y="1163708"/>
                  <a:pt x="442564" y="1164032"/>
                  <a:pt x="432713" y="1161284"/>
                </a:cubicBezTo>
                <a:cubicBezTo>
                  <a:pt x="423812" y="1158801"/>
                  <a:pt x="415102" y="1155322"/>
                  <a:pt x="406712" y="1151413"/>
                </a:cubicBezTo>
                <a:cubicBezTo>
                  <a:pt x="398571" y="1147621"/>
                  <a:pt x="396617" y="1143812"/>
                  <a:pt x="399212" y="1135845"/>
                </a:cubicBezTo>
                <a:cubicBezTo>
                  <a:pt x="401786" y="1127943"/>
                  <a:pt x="404616" y="1119485"/>
                  <a:pt x="409719" y="1113213"/>
                </a:cubicBezTo>
                <a:cubicBezTo>
                  <a:pt x="415540" y="1106060"/>
                  <a:pt x="416443" y="1098866"/>
                  <a:pt x="414650" y="1091062"/>
                </a:cubicBezTo>
                <a:cubicBezTo>
                  <a:pt x="410906" y="1074773"/>
                  <a:pt x="407015" y="1058465"/>
                  <a:pt x="402048" y="1042520"/>
                </a:cubicBezTo>
                <a:cubicBezTo>
                  <a:pt x="390546" y="1005592"/>
                  <a:pt x="378091" y="968962"/>
                  <a:pt x="366526" y="932054"/>
                </a:cubicBezTo>
                <a:cubicBezTo>
                  <a:pt x="345804" y="865923"/>
                  <a:pt x="325665" y="799609"/>
                  <a:pt x="304855" y="733506"/>
                </a:cubicBezTo>
                <a:cubicBezTo>
                  <a:pt x="294926" y="701966"/>
                  <a:pt x="283362" y="670934"/>
                  <a:pt x="273722" y="639312"/>
                </a:cubicBezTo>
                <a:cubicBezTo>
                  <a:pt x="262471" y="602404"/>
                  <a:pt x="251509" y="565342"/>
                  <a:pt x="242525" y="527843"/>
                </a:cubicBezTo>
                <a:cubicBezTo>
                  <a:pt x="239293" y="514353"/>
                  <a:pt x="237774" y="498828"/>
                  <a:pt x="245838" y="485521"/>
                </a:cubicBezTo>
                <a:cubicBezTo>
                  <a:pt x="248810" y="480617"/>
                  <a:pt x="253278" y="475342"/>
                  <a:pt x="258319" y="473233"/>
                </a:cubicBezTo>
                <a:cubicBezTo>
                  <a:pt x="268936" y="468788"/>
                  <a:pt x="280185" y="464871"/>
                  <a:pt x="291527" y="463336"/>
                </a:cubicBezTo>
                <a:cubicBezTo>
                  <a:pt x="318626" y="459667"/>
                  <a:pt x="345903" y="457192"/>
                  <a:pt x="373160" y="454842"/>
                </a:cubicBezTo>
                <a:cubicBezTo>
                  <a:pt x="391221" y="453285"/>
                  <a:pt x="409382" y="452934"/>
                  <a:pt x="427480" y="451758"/>
                </a:cubicBezTo>
                <a:cubicBezTo>
                  <a:pt x="444131" y="450676"/>
                  <a:pt x="460757" y="449212"/>
                  <a:pt x="477998" y="447870"/>
                </a:cubicBezTo>
                <a:cubicBezTo>
                  <a:pt x="478532" y="446298"/>
                  <a:pt x="479654" y="444590"/>
                  <a:pt x="479585" y="442932"/>
                </a:cubicBezTo>
                <a:cubicBezTo>
                  <a:pt x="479223" y="434201"/>
                  <a:pt x="480208" y="426475"/>
                  <a:pt x="488907" y="421401"/>
                </a:cubicBezTo>
                <a:cubicBezTo>
                  <a:pt x="493200" y="418897"/>
                  <a:pt x="494755" y="414446"/>
                  <a:pt x="492315" y="409196"/>
                </a:cubicBezTo>
                <a:cubicBezTo>
                  <a:pt x="489226" y="402552"/>
                  <a:pt x="492501" y="398939"/>
                  <a:pt x="498582" y="396231"/>
                </a:cubicBezTo>
                <a:cubicBezTo>
                  <a:pt x="513139" y="389749"/>
                  <a:pt x="523218" y="378073"/>
                  <a:pt x="531424" y="365066"/>
                </a:cubicBezTo>
                <a:cubicBezTo>
                  <a:pt x="543844" y="345378"/>
                  <a:pt x="555388" y="325136"/>
                  <a:pt x="567201" y="305069"/>
                </a:cubicBezTo>
                <a:cubicBezTo>
                  <a:pt x="571692" y="297440"/>
                  <a:pt x="576215" y="289801"/>
                  <a:pt x="580157" y="281885"/>
                </a:cubicBezTo>
                <a:cubicBezTo>
                  <a:pt x="585924" y="270307"/>
                  <a:pt x="585466" y="269028"/>
                  <a:pt x="575177" y="258759"/>
                </a:cubicBezTo>
                <a:cubicBezTo>
                  <a:pt x="540669" y="263385"/>
                  <a:pt x="508449" y="279582"/>
                  <a:pt x="472048" y="283266"/>
                </a:cubicBezTo>
                <a:cubicBezTo>
                  <a:pt x="468926" y="225961"/>
                  <a:pt x="477230" y="170326"/>
                  <a:pt x="473659" y="112243"/>
                </a:cubicBezTo>
                <a:cubicBezTo>
                  <a:pt x="479647" y="113333"/>
                  <a:pt x="483524" y="113631"/>
                  <a:pt x="487139" y="114763"/>
                </a:cubicBezTo>
                <a:cubicBezTo>
                  <a:pt x="514644" y="123375"/>
                  <a:pt x="541992" y="132503"/>
                  <a:pt x="569608" y="140735"/>
                </a:cubicBezTo>
                <a:cubicBezTo>
                  <a:pt x="584612" y="145208"/>
                  <a:pt x="590199" y="139652"/>
                  <a:pt x="585180" y="124742"/>
                </a:cubicBezTo>
                <a:cubicBezTo>
                  <a:pt x="578949" y="106227"/>
                  <a:pt x="571109" y="88251"/>
                  <a:pt x="563868" y="70080"/>
                </a:cubicBezTo>
                <a:cubicBezTo>
                  <a:pt x="558214" y="55891"/>
                  <a:pt x="552416" y="41758"/>
                  <a:pt x="546041" y="26021"/>
                </a:cubicBezTo>
                <a:cubicBezTo>
                  <a:pt x="554662" y="23284"/>
                  <a:pt x="561452" y="20680"/>
                  <a:pt x="568462" y="18986"/>
                </a:cubicBezTo>
                <a:cubicBezTo>
                  <a:pt x="591481" y="13422"/>
                  <a:pt x="614656" y="8495"/>
                  <a:pt x="637623" y="2731"/>
                </a:cubicBezTo>
                <a:cubicBezTo>
                  <a:pt x="656287" y="-1953"/>
                  <a:pt x="674559" y="-81"/>
                  <a:pt x="692817" y="4346"/>
                </a:cubicBezTo>
                <a:cubicBezTo>
                  <a:pt x="714944" y="9710"/>
                  <a:pt x="737021" y="15284"/>
                  <a:pt x="759126" y="20739"/>
                </a:cubicBezTo>
                <a:cubicBezTo>
                  <a:pt x="763594" y="21842"/>
                  <a:pt x="768092" y="22819"/>
                  <a:pt x="774460" y="24289"/>
                </a:cubicBezTo>
                <a:cubicBezTo>
                  <a:pt x="766727" y="43585"/>
                  <a:pt x="759317" y="62457"/>
                  <a:pt x="751608" y="81205"/>
                </a:cubicBezTo>
                <a:cubicBezTo>
                  <a:pt x="743947" y="99838"/>
                  <a:pt x="734803" y="117984"/>
                  <a:pt x="731002" y="141135"/>
                </a:cubicBezTo>
                <a:cubicBezTo>
                  <a:pt x="739490" y="139636"/>
                  <a:pt x="744805" y="139073"/>
                  <a:pt x="749917" y="137732"/>
                </a:cubicBezTo>
                <a:cubicBezTo>
                  <a:pt x="778702" y="130182"/>
                  <a:pt x="807436" y="122435"/>
                  <a:pt x="836197" y="114792"/>
                </a:cubicBezTo>
                <a:cubicBezTo>
                  <a:pt x="838352" y="114219"/>
                  <a:pt x="840584" y="113934"/>
                  <a:pt x="843209" y="113433"/>
                </a:cubicBezTo>
                <a:cubicBezTo>
                  <a:pt x="843710" y="115876"/>
                  <a:pt x="844352" y="117648"/>
                  <a:pt x="844400" y="119435"/>
                </a:cubicBezTo>
                <a:cubicBezTo>
                  <a:pt x="845405" y="157181"/>
                  <a:pt x="846208" y="194932"/>
                  <a:pt x="847390" y="232672"/>
                </a:cubicBezTo>
                <a:cubicBezTo>
                  <a:pt x="847695" y="242389"/>
                  <a:pt x="849334" y="252058"/>
                  <a:pt x="850015" y="261773"/>
                </a:cubicBezTo>
                <a:cubicBezTo>
                  <a:pt x="850401" y="267273"/>
                  <a:pt x="850085" y="272822"/>
                  <a:pt x="850085" y="280220"/>
                </a:cubicBezTo>
                <a:cubicBezTo>
                  <a:pt x="837463" y="277293"/>
                  <a:pt x="826347" y="274822"/>
                  <a:pt x="815285" y="272127"/>
                </a:cubicBezTo>
                <a:cubicBezTo>
                  <a:pt x="795873" y="267398"/>
                  <a:pt x="776299" y="263181"/>
                  <a:pt x="757181" y="257455"/>
                </a:cubicBezTo>
                <a:cubicBezTo>
                  <a:pt x="747363" y="254515"/>
                  <a:pt x="739983" y="255620"/>
                  <a:pt x="732939" y="263859"/>
                </a:cubicBezTo>
                <a:cubicBezTo>
                  <a:pt x="735150" y="269003"/>
                  <a:pt x="737509" y="274491"/>
                  <a:pt x="739871" y="279988"/>
                </a:cubicBezTo>
                <a:cubicBezTo>
                  <a:pt x="735196" y="284033"/>
                  <a:pt x="730592" y="288016"/>
                  <a:pt x="725900" y="292074"/>
                </a:cubicBezTo>
                <a:cubicBezTo>
                  <a:pt x="731987" y="302329"/>
                  <a:pt x="739718" y="300546"/>
                  <a:pt x="747132" y="298017"/>
                </a:cubicBezTo>
                <a:cubicBezTo>
                  <a:pt x="758463" y="305429"/>
                  <a:pt x="762190" y="317570"/>
                  <a:pt x="768268" y="327815"/>
                </a:cubicBezTo>
                <a:cubicBezTo>
                  <a:pt x="774924" y="339037"/>
                  <a:pt x="780217" y="351080"/>
                  <a:pt x="785901" y="362862"/>
                </a:cubicBezTo>
                <a:cubicBezTo>
                  <a:pt x="788639" y="368539"/>
                  <a:pt x="792017" y="372441"/>
                  <a:pt x="798627" y="374591"/>
                </a:cubicBezTo>
                <a:cubicBezTo>
                  <a:pt x="809488" y="378123"/>
                  <a:pt x="810054" y="379498"/>
                  <a:pt x="815580" y="387899"/>
                </a:cubicBezTo>
                <a:cubicBezTo>
                  <a:pt x="814864" y="388896"/>
                  <a:pt x="814194" y="390825"/>
                  <a:pt x="813282" y="390947"/>
                </a:cubicBezTo>
                <a:cubicBezTo>
                  <a:pt x="801085" y="392587"/>
                  <a:pt x="788983" y="395969"/>
                  <a:pt x="776501" y="393213"/>
                </a:cubicBezTo>
                <a:cubicBezTo>
                  <a:pt x="752021" y="387807"/>
                  <a:pt x="727631" y="382034"/>
                  <a:pt x="702336" y="381496"/>
                </a:cubicBezTo>
                <a:cubicBezTo>
                  <a:pt x="688886" y="381209"/>
                  <a:pt x="675464" y="379722"/>
                  <a:pt x="662021" y="378921"/>
                </a:cubicBezTo>
                <a:cubicBezTo>
                  <a:pt x="656307" y="378581"/>
                  <a:pt x="651557" y="380270"/>
                  <a:pt x="651111" y="386942"/>
                </a:cubicBezTo>
                <a:cubicBezTo>
                  <a:pt x="649994" y="403641"/>
                  <a:pt x="648739" y="420346"/>
                  <a:pt x="648295" y="437069"/>
                </a:cubicBezTo>
                <a:cubicBezTo>
                  <a:pt x="648034" y="446937"/>
                  <a:pt x="650047" y="448870"/>
                  <a:pt x="659561" y="448907"/>
                </a:cubicBezTo>
                <a:cubicBezTo>
                  <a:pt x="706308" y="449089"/>
                  <a:pt x="753056" y="448964"/>
                  <a:pt x="799805" y="449022"/>
                </a:cubicBezTo>
                <a:cubicBezTo>
                  <a:pt x="806377" y="449030"/>
                  <a:pt x="809905" y="446744"/>
                  <a:pt x="811083" y="439581"/>
                </a:cubicBezTo>
                <a:cubicBezTo>
                  <a:pt x="811941" y="434369"/>
                  <a:pt x="814063" y="427618"/>
                  <a:pt x="817945" y="425008"/>
                </a:cubicBezTo>
                <a:cubicBezTo>
                  <a:pt x="826399" y="419324"/>
                  <a:pt x="828426" y="411596"/>
                  <a:pt x="828609" y="403122"/>
                </a:cubicBezTo>
                <a:cubicBezTo>
                  <a:pt x="833858" y="400461"/>
                  <a:pt x="837181" y="402725"/>
                  <a:pt x="838374" y="406435"/>
                </a:cubicBezTo>
                <a:cubicBezTo>
                  <a:pt x="840905" y="414312"/>
                  <a:pt x="843515" y="422394"/>
                  <a:pt x="844275" y="430561"/>
                </a:cubicBezTo>
                <a:cubicBezTo>
                  <a:pt x="845704" y="445903"/>
                  <a:pt x="850511" y="450005"/>
                  <a:pt x="865761" y="447068"/>
                </a:cubicBezTo>
                <a:cubicBezTo>
                  <a:pt x="872626" y="445746"/>
                  <a:pt x="878915" y="445539"/>
                  <a:pt x="885673" y="449965"/>
                </a:cubicBezTo>
                <a:cubicBezTo>
                  <a:pt x="890708" y="453263"/>
                  <a:pt x="898041" y="453271"/>
                  <a:pt x="904428" y="454230"/>
                </a:cubicBezTo>
                <a:cubicBezTo>
                  <a:pt x="913142" y="455538"/>
                  <a:pt x="921904" y="456741"/>
                  <a:pt x="930689" y="457318"/>
                </a:cubicBezTo>
                <a:cubicBezTo>
                  <a:pt x="967829" y="459759"/>
                  <a:pt x="1003019" y="469066"/>
                  <a:pt x="1036296" y="485877"/>
                </a:cubicBezTo>
                <a:cubicBezTo>
                  <a:pt x="1057129" y="496401"/>
                  <a:pt x="1071673" y="512633"/>
                  <a:pt x="1076027" y="535212"/>
                </a:cubicBezTo>
                <a:cubicBezTo>
                  <a:pt x="1078694" y="549043"/>
                  <a:pt x="1078298" y="564366"/>
                  <a:pt x="1075403" y="578208"/>
                </a:cubicBezTo>
                <a:cubicBezTo>
                  <a:pt x="1064597" y="629873"/>
                  <a:pt x="1044688" y="678854"/>
                  <a:pt x="1028317" y="728867"/>
                </a:cubicBezTo>
                <a:cubicBezTo>
                  <a:pt x="1014112" y="772262"/>
                  <a:pt x="998310" y="815132"/>
                  <a:pt x="983498" y="858331"/>
                </a:cubicBezTo>
                <a:cubicBezTo>
                  <a:pt x="971714" y="892697"/>
                  <a:pt x="959865" y="927055"/>
                  <a:pt x="948940" y="961698"/>
                </a:cubicBezTo>
                <a:cubicBezTo>
                  <a:pt x="935780" y="1003426"/>
                  <a:pt x="923502" y="1045433"/>
                  <a:pt x="911066" y="1087385"/>
                </a:cubicBezTo>
                <a:cubicBezTo>
                  <a:pt x="910087" y="1090688"/>
                  <a:pt x="910738" y="1094511"/>
                  <a:pt x="910828" y="1098086"/>
                </a:cubicBezTo>
                <a:cubicBezTo>
                  <a:pt x="911096" y="1108800"/>
                  <a:pt x="911984" y="1119535"/>
                  <a:pt x="911498" y="1130209"/>
                </a:cubicBezTo>
                <a:cubicBezTo>
                  <a:pt x="911333" y="1133841"/>
                  <a:pt x="908325" y="1137771"/>
                  <a:pt x="905716" y="1140786"/>
                </a:cubicBezTo>
                <a:cubicBezTo>
                  <a:pt x="896689" y="1151217"/>
                  <a:pt x="895625" y="1160669"/>
                  <a:pt x="904041" y="1171694"/>
                </a:cubicBezTo>
                <a:cubicBezTo>
                  <a:pt x="912211" y="1182398"/>
                  <a:pt x="921368" y="1192341"/>
                  <a:pt x="929797" y="1202854"/>
                </a:cubicBezTo>
                <a:cubicBezTo>
                  <a:pt x="945705" y="1222696"/>
                  <a:pt x="952969" y="1246039"/>
                  <a:pt x="956714" y="1270749"/>
                </a:cubicBezTo>
                <a:cubicBezTo>
                  <a:pt x="957687" y="1277170"/>
                  <a:pt x="957779" y="1283963"/>
                  <a:pt x="960074" y="1289888"/>
                </a:cubicBezTo>
                <a:cubicBezTo>
                  <a:pt x="963075" y="1297631"/>
                  <a:pt x="967750" y="1304358"/>
                  <a:pt x="975795" y="1308746"/>
                </a:cubicBezTo>
                <a:cubicBezTo>
                  <a:pt x="985143" y="1313846"/>
                  <a:pt x="994116" y="1319926"/>
                  <a:pt x="1002397" y="1326635"/>
                </a:cubicBezTo>
                <a:cubicBezTo>
                  <a:pt x="1030424" y="1349343"/>
                  <a:pt x="1038408" y="1401530"/>
                  <a:pt x="1018686" y="1435905"/>
                </a:cubicBezTo>
                <a:cubicBezTo>
                  <a:pt x="1013500" y="1444943"/>
                  <a:pt x="1005098" y="1450152"/>
                  <a:pt x="996257" y="1454107"/>
                </a:cubicBezTo>
                <a:cubicBezTo>
                  <a:pt x="988281" y="1457674"/>
                  <a:pt x="979503" y="1460398"/>
                  <a:pt x="970849" y="1461303"/>
                </a:cubicBezTo>
                <a:cubicBezTo>
                  <a:pt x="953296" y="1463139"/>
                  <a:pt x="935587" y="1463487"/>
                  <a:pt x="917943" y="1464461"/>
                </a:cubicBezTo>
                <a:cubicBezTo>
                  <a:pt x="913762" y="1464691"/>
                  <a:pt x="909478" y="1464482"/>
                  <a:pt x="905433" y="1465358"/>
                </a:cubicBezTo>
                <a:cubicBezTo>
                  <a:pt x="901150" y="1466287"/>
                  <a:pt x="897709" y="1468792"/>
                  <a:pt x="897863" y="1474014"/>
                </a:cubicBezTo>
                <a:cubicBezTo>
                  <a:pt x="897877" y="1474480"/>
                  <a:pt x="897822" y="1474948"/>
                  <a:pt x="897812" y="1475415"/>
                </a:cubicBezTo>
                <a:cubicBezTo>
                  <a:pt x="897511" y="1490282"/>
                  <a:pt x="898056" y="1504999"/>
                  <a:pt x="895549" y="1519988"/>
                </a:cubicBezTo>
                <a:cubicBezTo>
                  <a:pt x="893039" y="1534995"/>
                  <a:pt x="894597" y="1550763"/>
                  <a:pt x="895093" y="1566174"/>
                </a:cubicBezTo>
                <a:cubicBezTo>
                  <a:pt x="895841" y="1589420"/>
                  <a:pt x="897215" y="1612646"/>
                  <a:pt x="898754" y="1637125"/>
                </a:cubicBezTo>
                <a:moveTo>
                  <a:pt x="654604" y="2329281"/>
                </a:moveTo>
                <a:cubicBezTo>
                  <a:pt x="652015" y="2310116"/>
                  <a:pt x="655822" y="2290495"/>
                  <a:pt x="650429" y="2271391"/>
                </a:cubicBezTo>
                <a:cubicBezTo>
                  <a:pt x="648307" y="2277580"/>
                  <a:pt x="648156" y="2283761"/>
                  <a:pt x="648148" y="2289942"/>
                </a:cubicBezTo>
                <a:cubicBezTo>
                  <a:pt x="648117" y="2315944"/>
                  <a:pt x="648093" y="2341946"/>
                  <a:pt x="648156" y="2367948"/>
                </a:cubicBezTo>
                <a:cubicBezTo>
                  <a:pt x="648168" y="2372820"/>
                  <a:pt x="646633" y="2378876"/>
                  <a:pt x="655577" y="2381454"/>
                </a:cubicBezTo>
                <a:cubicBezTo>
                  <a:pt x="655560" y="2389285"/>
                  <a:pt x="655756" y="2397123"/>
                  <a:pt x="655485" y="2404945"/>
                </a:cubicBezTo>
                <a:cubicBezTo>
                  <a:pt x="654880" y="2422378"/>
                  <a:pt x="654042" y="2439804"/>
                  <a:pt x="651805" y="2455510"/>
                </a:cubicBezTo>
                <a:cubicBezTo>
                  <a:pt x="651527" y="2435450"/>
                  <a:pt x="651319" y="2415390"/>
                  <a:pt x="650902" y="2395333"/>
                </a:cubicBezTo>
                <a:cubicBezTo>
                  <a:pt x="650837" y="2392220"/>
                  <a:pt x="649823" y="2389127"/>
                  <a:pt x="649248" y="2386025"/>
                </a:cubicBezTo>
                <a:cubicBezTo>
                  <a:pt x="647943" y="2386187"/>
                  <a:pt x="646638" y="2386350"/>
                  <a:pt x="645333" y="2386512"/>
                </a:cubicBezTo>
                <a:cubicBezTo>
                  <a:pt x="645333" y="2390961"/>
                  <a:pt x="645334" y="2395409"/>
                  <a:pt x="645333" y="2399858"/>
                </a:cubicBezTo>
                <a:cubicBezTo>
                  <a:pt x="645326" y="2423694"/>
                  <a:pt x="645418" y="2447532"/>
                  <a:pt x="645232" y="2471367"/>
                </a:cubicBezTo>
                <a:cubicBezTo>
                  <a:pt x="645193" y="2476432"/>
                  <a:pt x="644504" y="2481563"/>
                  <a:pt x="643489" y="2486535"/>
                </a:cubicBezTo>
                <a:cubicBezTo>
                  <a:pt x="639304" y="2507036"/>
                  <a:pt x="642157" y="2510950"/>
                  <a:pt x="662548" y="2510760"/>
                </a:cubicBezTo>
                <a:cubicBezTo>
                  <a:pt x="755908" y="2509888"/>
                  <a:pt x="849266" y="2508878"/>
                  <a:pt x="942625" y="2507990"/>
                </a:cubicBezTo>
                <a:cubicBezTo>
                  <a:pt x="960852" y="2507816"/>
                  <a:pt x="979082" y="2508002"/>
                  <a:pt x="997309" y="2507928"/>
                </a:cubicBezTo>
                <a:cubicBezTo>
                  <a:pt x="1001871" y="2507910"/>
                  <a:pt x="1006430" y="2507531"/>
                  <a:pt x="1012693" y="2507237"/>
                </a:cubicBezTo>
                <a:cubicBezTo>
                  <a:pt x="1012056" y="2501789"/>
                  <a:pt x="1012084" y="2497264"/>
                  <a:pt x="1010948" y="2493054"/>
                </a:cubicBezTo>
                <a:cubicBezTo>
                  <a:pt x="1001379" y="2457588"/>
                  <a:pt x="991103" y="2422306"/>
                  <a:pt x="982017" y="2386719"/>
                </a:cubicBezTo>
                <a:cubicBezTo>
                  <a:pt x="972598" y="2349832"/>
                  <a:pt x="963965" y="2312735"/>
                  <a:pt x="955543" y="2275604"/>
                </a:cubicBezTo>
                <a:cubicBezTo>
                  <a:pt x="944249" y="2225808"/>
                  <a:pt x="933022" y="2175988"/>
                  <a:pt x="922638" y="2125997"/>
                </a:cubicBezTo>
                <a:cubicBezTo>
                  <a:pt x="913587" y="2082421"/>
                  <a:pt x="905382" y="2038659"/>
                  <a:pt x="897474" y="1994858"/>
                </a:cubicBezTo>
                <a:cubicBezTo>
                  <a:pt x="890476" y="1956093"/>
                  <a:pt x="883980" y="1917224"/>
                  <a:pt x="878061" y="1878280"/>
                </a:cubicBezTo>
                <a:cubicBezTo>
                  <a:pt x="873675" y="1849428"/>
                  <a:pt x="870415" y="1820399"/>
                  <a:pt x="866965" y="1791411"/>
                </a:cubicBezTo>
                <a:cubicBezTo>
                  <a:pt x="865539" y="1779434"/>
                  <a:pt x="865114" y="1767342"/>
                  <a:pt x="863902" y="1755335"/>
                </a:cubicBezTo>
                <a:cubicBezTo>
                  <a:pt x="861296" y="1729506"/>
                  <a:pt x="857509" y="1703754"/>
                  <a:pt x="855983" y="1677866"/>
                </a:cubicBezTo>
                <a:cubicBezTo>
                  <a:pt x="854037" y="1644859"/>
                  <a:pt x="853904" y="1611748"/>
                  <a:pt x="852873" y="1578685"/>
                </a:cubicBezTo>
                <a:cubicBezTo>
                  <a:pt x="852423" y="1564271"/>
                  <a:pt x="849465" y="1549523"/>
                  <a:pt x="851635" y="1535546"/>
                </a:cubicBezTo>
                <a:cubicBezTo>
                  <a:pt x="854359" y="1517991"/>
                  <a:pt x="850206" y="1501278"/>
                  <a:pt x="850039" y="1484182"/>
                </a:cubicBezTo>
                <a:cubicBezTo>
                  <a:pt x="850005" y="1480667"/>
                  <a:pt x="849101" y="1477161"/>
                  <a:pt x="848486" y="1472876"/>
                </a:cubicBezTo>
                <a:cubicBezTo>
                  <a:pt x="842279" y="1472876"/>
                  <a:pt x="837173" y="1472798"/>
                  <a:pt x="832070" y="1472888"/>
                </a:cubicBezTo>
                <a:cubicBezTo>
                  <a:pt x="780308" y="1473806"/>
                  <a:pt x="728546" y="1474749"/>
                  <a:pt x="676784" y="1475691"/>
                </a:cubicBezTo>
                <a:cubicBezTo>
                  <a:pt x="663422" y="1475935"/>
                  <a:pt x="662442" y="1476899"/>
                  <a:pt x="662172" y="1490031"/>
                </a:cubicBezTo>
                <a:cubicBezTo>
                  <a:pt x="662124" y="1492367"/>
                  <a:pt x="662222" y="1494706"/>
                  <a:pt x="662153" y="1497041"/>
                </a:cubicBezTo>
                <a:cubicBezTo>
                  <a:pt x="660720" y="1545521"/>
                  <a:pt x="663794" y="1593996"/>
                  <a:pt x="659832" y="1642548"/>
                </a:cubicBezTo>
                <a:cubicBezTo>
                  <a:pt x="656616" y="1681972"/>
                  <a:pt x="657530" y="1721730"/>
                  <a:pt x="656544" y="1761338"/>
                </a:cubicBezTo>
                <a:cubicBezTo>
                  <a:pt x="655035" y="1821971"/>
                  <a:pt x="657667" y="1882583"/>
                  <a:pt x="654344" y="1943296"/>
                </a:cubicBezTo>
                <a:cubicBezTo>
                  <a:pt x="650802" y="2008002"/>
                  <a:pt x="651715" y="2072959"/>
                  <a:pt x="651002" y="2137811"/>
                </a:cubicBezTo>
                <a:cubicBezTo>
                  <a:pt x="650627" y="2171926"/>
                  <a:pt x="650929" y="2206049"/>
                  <a:pt x="650933" y="2240168"/>
                </a:cubicBezTo>
                <a:cubicBezTo>
                  <a:pt x="650933" y="2243439"/>
                  <a:pt x="650161" y="2247032"/>
                  <a:pt x="651273" y="2249880"/>
                </a:cubicBezTo>
                <a:cubicBezTo>
                  <a:pt x="652187" y="2252220"/>
                  <a:pt x="655368" y="2253675"/>
                  <a:pt x="658332" y="2258024"/>
                </a:cubicBezTo>
                <a:cubicBezTo>
                  <a:pt x="657587" y="2282352"/>
                  <a:pt x="656842" y="2306679"/>
                  <a:pt x="654604" y="2329281"/>
                </a:cubicBezTo>
                <a:moveTo>
                  <a:pt x="999154" y="2930680"/>
                </a:moveTo>
                <a:cubicBezTo>
                  <a:pt x="1074430" y="2924379"/>
                  <a:pt x="1149252" y="2914341"/>
                  <a:pt x="1224400" y="2904672"/>
                </a:cubicBezTo>
                <a:cubicBezTo>
                  <a:pt x="1224983" y="2900287"/>
                  <a:pt x="1225723" y="2897124"/>
                  <a:pt x="1225778" y="2893948"/>
                </a:cubicBezTo>
                <a:cubicBezTo>
                  <a:pt x="1226437" y="2856188"/>
                  <a:pt x="1218943" y="2820187"/>
                  <a:pt x="1197990" y="2788499"/>
                </a:cubicBezTo>
                <a:cubicBezTo>
                  <a:pt x="1185967" y="2770315"/>
                  <a:pt x="1171427" y="2753616"/>
                  <a:pt x="1156721" y="2737429"/>
                </a:cubicBezTo>
                <a:cubicBezTo>
                  <a:pt x="1137254" y="2716002"/>
                  <a:pt x="1115793" y="2696376"/>
                  <a:pt x="1096512" y="2674794"/>
                </a:cubicBezTo>
                <a:cubicBezTo>
                  <a:pt x="1073694" y="2649251"/>
                  <a:pt x="1056484" y="2620624"/>
                  <a:pt x="1056842" y="2584575"/>
                </a:cubicBezTo>
                <a:cubicBezTo>
                  <a:pt x="1056854" y="2583302"/>
                  <a:pt x="1056015" y="2582020"/>
                  <a:pt x="1055233" y="2579758"/>
                </a:cubicBezTo>
                <a:cubicBezTo>
                  <a:pt x="1042855" y="2580471"/>
                  <a:pt x="1030372" y="2580868"/>
                  <a:pt x="1017950" y="2581956"/>
                </a:cubicBezTo>
                <a:cubicBezTo>
                  <a:pt x="940684" y="2588728"/>
                  <a:pt x="863326" y="2593894"/>
                  <a:pt x="785764" y="2595473"/>
                </a:cubicBezTo>
                <a:cubicBezTo>
                  <a:pt x="745592" y="2596290"/>
                  <a:pt x="705413" y="2596778"/>
                  <a:pt x="665238" y="2597498"/>
                </a:cubicBezTo>
                <a:cubicBezTo>
                  <a:pt x="661698" y="2597562"/>
                  <a:pt x="658168" y="2598244"/>
                  <a:pt x="654332" y="2598673"/>
                </a:cubicBezTo>
                <a:cubicBezTo>
                  <a:pt x="664449" y="2711162"/>
                  <a:pt x="659668" y="2822547"/>
                  <a:pt x="653026" y="2935427"/>
                </a:cubicBezTo>
                <a:cubicBezTo>
                  <a:pt x="768837" y="2937973"/>
                  <a:pt x="882730" y="2939028"/>
                  <a:pt x="999154" y="2930680"/>
                </a:cubicBezTo>
                <a:moveTo>
                  <a:pt x="947894" y="3022480"/>
                </a:moveTo>
                <a:cubicBezTo>
                  <a:pt x="916629" y="3024040"/>
                  <a:pt x="885376" y="3026565"/>
                  <a:pt x="854096" y="3026952"/>
                </a:cubicBezTo>
                <a:cubicBezTo>
                  <a:pt x="794764" y="3027687"/>
                  <a:pt x="735417" y="3027198"/>
                  <a:pt x="676076" y="3027217"/>
                </a:cubicBezTo>
                <a:cubicBezTo>
                  <a:pt x="670121" y="3027219"/>
                  <a:pt x="664166" y="3027217"/>
                  <a:pt x="657155" y="3027217"/>
                </a:cubicBezTo>
                <a:cubicBezTo>
                  <a:pt x="655529" y="3062293"/>
                  <a:pt x="651846" y="3095886"/>
                  <a:pt x="650929" y="3130009"/>
                </a:cubicBezTo>
                <a:cubicBezTo>
                  <a:pt x="656057" y="3130467"/>
                  <a:pt x="659260" y="3130899"/>
                  <a:pt x="662475" y="3131016"/>
                </a:cubicBezTo>
                <a:cubicBezTo>
                  <a:pt x="700300" y="3132391"/>
                  <a:pt x="738118" y="3134111"/>
                  <a:pt x="775955" y="3134982"/>
                </a:cubicBezTo>
                <a:cubicBezTo>
                  <a:pt x="871340" y="3137178"/>
                  <a:pt x="966589" y="3135038"/>
                  <a:pt x="1061598" y="3125377"/>
                </a:cubicBezTo>
                <a:cubicBezTo>
                  <a:pt x="1124889" y="3118941"/>
                  <a:pt x="1187609" y="3109276"/>
                  <a:pt x="1249397" y="3093967"/>
                </a:cubicBezTo>
                <a:cubicBezTo>
                  <a:pt x="1253752" y="3092888"/>
                  <a:pt x="1257981" y="3091298"/>
                  <a:pt x="1262842" y="3089764"/>
                </a:cubicBezTo>
                <a:cubicBezTo>
                  <a:pt x="1259040" y="3062969"/>
                  <a:pt x="1254881" y="3037707"/>
                  <a:pt x="1244253" y="3014005"/>
                </a:cubicBezTo>
                <a:cubicBezTo>
                  <a:pt x="1242547" y="3010201"/>
                  <a:pt x="1239948" y="3006798"/>
                  <a:pt x="1237768" y="3003206"/>
                </a:cubicBezTo>
                <a:cubicBezTo>
                  <a:pt x="1233239" y="2995743"/>
                  <a:pt x="1227131" y="2992138"/>
                  <a:pt x="1217957" y="2993424"/>
                </a:cubicBezTo>
                <a:cubicBezTo>
                  <a:pt x="1199921" y="2995951"/>
                  <a:pt x="1181756" y="2997558"/>
                  <a:pt x="1163725" y="3000119"/>
                </a:cubicBezTo>
                <a:cubicBezTo>
                  <a:pt x="1092925" y="3010176"/>
                  <a:pt x="1021883" y="3017834"/>
                  <a:pt x="947894" y="3022480"/>
                </a:cubicBezTo>
                <a:moveTo>
                  <a:pt x="784197" y="1352777"/>
                </a:moveTo>
                <a:cubicBezTo>
                  <a:pt x="766462" y="1353462"/>
                  <a:pt x="748731" y="1354287"/>
                  <a:pt x="730991" y="1354793"/>
                </a:cubicBezTo>
                <a:cubicBezTo>
                  <a:pt x="712981" y="1355307"/>
                  <a:pt x="694940" y="1355183"/>
                  <a:pt x="676320" y="1356902"/>
                </a:cubicBezTo>
                <a:cubicBezTo>
                  <a:pt x="674799" y="1378289"/>
                  <a:pt x="673393" y="1398039"/>
                  <a:pt x="671906" y="1418933"/>
                </a:cubicBezTo>
                <a:cubicBezTo>
                  <a:pt x="677552" y="1418933"/>
                  <a:pt x="681678" y="1419046"/>
                  <a:pt x="685797" y="1418917"/>
                </a:cubicBezTo>
                <a:cubicBezTo>
                  <a:pt x="774966" y="1416107"/>
                  <a:pt x="864134" y="1413293"/>
                  <a:pt x="953300" y="1410383"/>
                </a:cubicBezTo>
                <a:cubicBezTo>
                  <a:pt x="958412" y="1410216"/>
                  <a:pt x="963542" y="1409471"/>
                  <a:pt x="968586" y="1408564"/>
                </a:cubicBezTo>
                <a:cubicBezTo>
                  <a:pt x="978218" y="1406833"/>
                  <a:pt x="980261" y="1404383"/>
                  <a:pt x="980375" y="1394590"/>
                </a:cubicBezTo>
                <a:cubicBezTo>
                  <a:pt x="980521" y="1382101"/>
                  <a:pt x="976026" y="1371666"/>
                  <a:pt x="965591" y="1364447"/>
                </a:cubicBezTo>
                <a:cubicBezTo>
                  <a:pt x="948967" y="1352947"/>
                  <a:pt x="930599" y="1347277"/>
                  <a:pt x="910211" y="1348103"/>
                </a:cubicBezTo>
                <a:cubicBezTo>
                  <a:pt x="869142" y="1349769"/>
                  <a:pt x="828062" y="1351175"/>
                  <a:pt x="784197" y="1352777"/>
                </a:cubicBezTo>
                <a:moveTo>
                  <a:pt x="648129" y="615881"/>
                </a:moveTo>
                <a:cubicBezTo>
                  <a:pt x="649058" y="632117"/>
                  <a:pt x="650192" y="648345"/>
                  <a:pt x="650869" y="664591"/>
                </a:cubicBezTo>
                <a:cubicBezTo>
                  <a:pt x="652013" y="692034"/>
                  <a:pt x="650274" y="719448"/>
                  <a:pt x="653223" y="746994"/>
                </a:cubicBezTo>
                <a:cubicBezTo>
                  <a:pt x="656187" y="774679"/>
                  <a:pt x="652958" y="802766"/>
                  <a:pt x="656163" y="830737"/>
                </a:cubicBezTo>
                <a:cubicBezTo>
                  <a:pt x="658910" y="854709"/>
                  <a:pt x="656763" y="879007"/>
                  <a:pt x="658740" y="903281"/>
                </a:cubicBezTo>
                <a:cubicBezTo>
                  <a:pt x="661875" y="941767"/>
                  <a:pt x="661060" y="980568"/>
                  <a:pt x="662209" y="1019226"/>
                </a:cubicBezTo>
                <a:cubicBezTo>
                  <a:pt x="662831" y="1040143"/>
                  <a:pt x="663923" y="1061048"/>
                  <a:pt x="665088" y="1081942"/>
                </a:cubicBezTo>
                <a:cubicBezTo>
                  <a:pt x="665498" y="1089302"/>
                  <a:pt x="668166" y="1091025"/>
                  <a:pt x="674628" y="1090643"/>
                </a:cubicBezTo>
                <a:cubicBezTo>
                  <a:pt x="703841" y="1088916"/>
                  <a:pt x="733054" y="1087111"/>
                  <a:pt x="762289" y="1085865"/>
                </a:cubicBezTo>
                <a:cubicBezTo>
                  <a:pt x="792528" y="1084574"/>
                  <a:pt x="822793" y="1083894"/>
                  <a:pt x="853046" y="1082948"/>
                </a:cubicBezTo>
                <a:cubicBezTo>
                  <a:pt x="853513" y="1082934"/>
                  <a:pt x="853981" y="1082919"/>
                  <a:pt x="854448" y="1082924"/>
                </a:cubicBezTo>
                <a:cubicBezTo>
                  <a:pt x="860299" y="1082998"/>
                  <a:pt x="864379" y="1080055"/>
                  <a:pt x="866364" y="1074839"/>
                </a:cubicBezTo>
                <a:cubicBezTo>
                  <a:pt x="874977" y="1052218"/>
                  <a:pt x="883766" y="1029650"/>
                  <a:pt x="891726" y="1006797"/>
                </a:cubicBezTo>
                <a:cubicBezTo>
                  <a:pt x="899510" y="984448"/>
                  <a:pt x="905967" y="961638"/>
                  <a:pt x="913720" y="939278"/>
                </a:cubicBezTo>
                <a:cubicBezTo>
                  <a:pt x="926840" y="901438"/>
                  <a:pt x="940566" y="863808"/>
                  <a:pt x="953952" y="826060"/>
                </a:cubicBezTo>
                <a:cubicBezTo>
                  <a:pt x="965626" y="793139"/>
                  <a:pt x="977165" y="760170"/>
                  <a:pt x="988796" y="727233"/>
                </a:cubicBezTo>
                <a:cubicBezTo>
                  <a:pt x="1004602" y="682474"/>
                  <a:pt x="1020729" y="637825"/>
                  <a:pt x="1036110" y="592920"/>
                </a:cubicBezTo>
                <a:cubicBezTo>
                  <a:pt x="1041693" y="576621"/>
                  <a:pt x="1044731" y="559627"/>
                  <a:pt x="1043677" y="542152"/>
                </a:cubicBezTo>
                <a:cubicBezTo>
                  <a:pt x="1043059" y="531887"/>
                  <a:pt x="1040345" y="522522"/>
                  <a:pt x="1030884" y="517222"/>
                </a:cubicBezTo>
                <a:cubicBezTo>
                  <a:pt x="1024045" y="513391"/>
                  <a:pt x="1016699" y="510004"/>
                  <a:pt x="1009162" y="507963"/>
                </a:cubicBezTo>
                <a:cubicBezTo>
                  <a:pt x="983620" y="501048"/>
                  <a:pt x="957981" y="494740"/>
                  <a:pt x="931266" y="493552"/>
                </a:cubicBezTo>
                <a:cubicBezTo>
                  <a:pt x="914169" y="492791"/>
                  <a:pt x="897177" y="489870"/>
                  <a:pt x="880100" y="488348"/>
                </a:cubicBezTo>
                <a:cubicBezTo>
                  <a:pt x="865298" y="487029"/>
                  <a:pt x="850441" y="486332"/>
                  <a:pt x="835610" y="485330"/>
                </a:cubicBezTo>
                <a:cubicBezTo>
                  <a:pt x="808745" y="483516"/>
                  <a:pt x="781896" y="480471"/>
                  <a:pt x="755014" y="480162"/>
                </a:cubicBezTo>
                <a:cubicBezTo>
                  <a:pt x="722439" y="479789"/>
                  <a:pt x="689836" y="481665"/>
                  <a:pt x="657249" y="482686"/>
                </a:cubicBezTo>
                <a:cubicBezTo>
                  <a:pt x="646583" y="483021"/>
                  <a:pt x="641424" y="489596"/>
                  <a:pt x="643184" y="500211"/>
                </a:cubicBezTo>
                <a:cubicBezTo>
                  <a:pt x="643789" y="503860"/>
                  <a:pt x="645104" y="507461"/>
                  <a:pt x="645220" y="511112"/>
                </a:cubicBezTo>
                <a:cubicBezTo>
                  <a:pt x="646298" y="545100"/>
                  <a:pt x="647185" y="579094"/>
                  <a:pt x="648129" y="615881"/>
                </a:cubicBezTo>
                <a:moveTo>
                  <a:pt x="886495" y="1207714"/>
                </a:moveTo>
                <a:cubicBezTo>
                  <a:pt x="884805" y="1206106"/>
                  <a:pt x="883380" y="1203949"/>
                  <a:pt x="881380" y="1202980"/>
                </a:cubicBezTo>
                <a:cubicBezTo>
                  <a:pt x="869508" y="1197225"/>
                  <a:pt x="866866" y="1186901"/>
                  <a:pt x="866913" y="1175042"/>
                </a:cubicBezTo>
                <a:cubicBezTo>
                  <a:pt x="866937" y="1168979"/>
                  <a:pt x="867225" y="1162853"/>
                  <a:pt x="866482" y="1156869"/>
                </a:cubicBezTo>
                <a:cubicBezTo>
                  <a:pt x="865810" y="1151447"/>
                  <a:pt x="863028" y="1147406"/>
                  <a:pt x="856429" y="1147458"/>
                </a:cubicBezTo>
                <a:cubicBezTo>
                  <a:pt x="834490" y="1147630"/>
                  <a:pt x="812519" y="1146897"/>
                  <a:pt x="790615" y="1147813"/>
                </a:cubicBezTo>
                <a:cubicBezTo>
                  <a:pt x="766540" y="1148819"/>
                  <a:pt x="742532" y="1151353"/>
                  <a:pt x="718484" y="1153058"/>
                </a:cubicBezTo>
                <a:cubicBezTo>
                  <a:pt x="702742" y="1154174"/>
                  <a:pt x="686965" y="1154817"/>
                  <a:pt x="671232" y="1156034"/>
                </a:cubicBezTo>
                <a:cubicBezTo>
                  <a:pt x="662945" y="1156675"/>
                  <a:pt x="661657" y="1159923"/>
                  <a:pt x="664146" y="1168443"/>
                </a:cubicBezTo>
                <a:cubicBezTo>
                  <a:pt x="665938" y="1174575"/>
                  <a:pt x="667544" y="1181027"/>
                  <a:pt x="667611" y="1187354"/>
                </a:cubicBezTo>
                <a:cubicBezTo>
                  <a:pt x="667956" y="1219564"/>
                  <a:pt x="667704" y="1251779"/>
                  <a:pt x="667803" y="1283992"/>
                </a:cubicBezTo>
                <a:cubicBezTo>
                  <a:pt x="667847" y="1297938"/>
                  <a:pt x="668871" y="1299219"/>
                  <a:pt x="683140" y="1298850"/>
                </a:cubicBezTo>
                <a:cubicBezTo>
                  <a:pt x="700774" y="1298393"/>
                  <a:pt x="718378" y="1296854"/>
                  <a:pt x="736011" y="1296220"/>
                </a:cubicBezTo>
                <a:cubicBezTo>
                  <a:pt x="767632" y="1295083"/>
                  <a:pt x="799265" y="1294272"/>
                  <a:pt x="830893" y="1293324"/>
                </a:cubicBezTo>
                <a:cubicBezTo>
                  <a:pt x="831826" y="1293296"/>
                  <a:pt x="832761" y="1293286"/>
                  <a:pt x="833691" y="1293213"/>
                </a:cubicBezTo>
                <a:cubicBezTo>
                  <a:pt x="856797" y="1291390"/>
                  <a:pt x="879886" y="1289299"/>
                  <a:pt x="903014" y="1287831"/>
                </a:cubicBezTo>
                <a:cubicBezTo>
                  <a:pt x="916073" y="1287002"/>
                  <a:pt x="919042" y="1284797"/>
                  <a:pt x="917225" y="1271856"/>
                </a:cubicBezTo>
                <a:cubicBezTo>
                  <a:pt x="913886" y="1248076"/>
                  <a:pt x="908472" y="1225007"/>
                  <a:pt x="886495" y="1207714"/>
                </a:cubicBezTo>
                <a:close/>
              </a:path>
            </a:pathLst>
          </a:custGeom>
          <a:solidFill>
            <a:srgbClr val="CDD9DF"/>
          </a:solidFill>
          <a:ln w="1401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9284" name="Straight Arrow Connector 9283">
            <a:extLst>
              <a:ext uri="{FF2B5EF4-FFF2-40B4-BE49-F238E27FC236}">
                <a16:creationId xmlns:a16="http://schemas.microsoft.com/office/drawing/2014/main" id="{6915E261-76C6-0004-BB98-8B88BF73A84A}"/>
              </a:ext>
            </a:extLst>
          </p:cNvPr>
          <p:cNvCxnSpPr>
            <a:cxnSpLocks/>
          </p:cNvCxnSpPr>
          <p:nvPr/>
        </p:nvCxnSpPr>
        <p:spPr>
          <a:xfrm flipV="1">
            <a:off x="3628308" y="2873375"/>
            <a:ext cx="16134" cy="2001623"/>
          </a:xfrm>
          <a:prstGeom prst="straightConnector1">
            <a:avLst/>
          </a:prstGeom>
          <a:ln>
            <a:solidFill>
              <a:schemeClr val="tx1">
                <a:lumMod val="85000"/>
                <a:lumOff val="15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81545589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Title 1">
            <a:extLst>
              <a:ext uri="{FF2B5EF4-FFF2-40B4-BE49-F238E27FC236}">
                <a16:creationId xmlns:a16="http://schemas.microsoft.com/office/drawing/2014/main" id="{59A98176-D174-F250-11FF-5F5CC3EB30FF}"/>
              </a:ext>
            </a:extLst>
          </p:cNvPr>
          <p:cNvSpPr txBox="1">
            <a:spLocks/>
          </p:cNvSpPr>
          <p:nvPr/>
        </p:nvSpPr>
        <p:spPr>
          <a:xfrm>
            <a:off x="469900" y="311150"/>
            <a:ext cx="10317269" cy="930910"/>
          </a:xfrm>
          <a:prstGeom prst="rect">
            <a:avLst/>
          </a:prstGeom>
        </p:spPr>
        <p:txBody>
          <a:bodyPr vert="horz" lIns="90000" tIns="46800" rIns="90000" bIns="4680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400" b="0" i="0" kern="1200">
                <a:solidFill>
                  <a:schemeClr val="tx2"/>
                </a:solidFill>
                <a:latin typeface="Aptos" panose="020B000402020202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j-ea"/>
                <a:cs typeface="+mj-cs"/>
              </a:rPr>
              <a:t>Treatment options in R/R 3L DLBCL</a:t>
            </a:r>
          </a:p>
        </p:txBody>
      </p:sp>
      <p:sp>
        <p:nvSpPr>
          <p:cNvPr id="142" name="Text Placeholder 3">
            <a:extLst>
              <a:ext uri="{FF2B5EF4-FFF2-40B4-BE49-F238E27FC236}">
                <a16:creationId xmlns:a16="http://schemas.microsoft.com/office/drawing/2014/main" id="{629CFAA9-08FF-066A-8D19-9A945EA2C3B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70645" y="6286501"/>
            <a:ext cx="10440000" cy="433450"/>
          </a:xfrm>
        </p:spPr>
        <p:txBody>
          <a:bodyPr/>
          <a:lstStyle/>
          <a:p>
            <a:r>
              <a:rPr lang="en-GB"/>
              <a:t>*LOTIS-2 (NCT03589469).</a:t>
            </a:r>
            <a:br>
              <a:rPr lang="en-GB">
                <a:solidFill>
                  <a:srgbClr val="585854"/>
                </a:solidFill>
              </a:rPr>
            </a:br>
            <a:r>
              <a:rPr lang="en-GB"/>
              <a:t>3L, third line; </a:t>
            </a:r>
            <a:r>
              <a:rPr lang="en-GB" err="1"/>
              <a:t>Allo</a:t>
            </a:r>
            <a:r>
              <a:rPr lang="en-GB"/>
              <a:t>-SCT, allogeneic stem cell transplantation; BR, bendamustine and rituximab; ASCT, autologous stem cell transplantation; </a:t>
            </a:r>
            <a:r>
              <a:rPr lang="en-GB" err="1"/>
              <a:t>BsAb</a:t>
            </a:r>
            <a:r>
              <a:rPr lang="en-GB"/>
              <a:t>, bispecific antibody; CAR-T, chimeric antigen receptor T-cell therapy; DLBCL, diffuse large B-cell lymphoma; Len, lenalidomide; Pola, polatuzumab vedotin; R-Chemo, rituximab plus chemotherapy; R/R, relapsed or refractory, Tafa, tafasitamab.</a:t>
            </a:r>
          </a:p>
          <a:p>
            <a:r>
              <a:rPr lang="en-GB"/>
              <a:t>Patient case provided by Prof. Enrico </a:t>
            </a:r>
            <a:r>
              <a:rPr lang="en-GB" err="1"/>
              <a:t>Derenzini</a:t>
            </a:r>
            <a:r>
              <a:rPr lang="en-GB"/>
              <a:t>.</a:t>
            </a:r>
          </a:p>
        </p:txBody>
      </p:sp>
      <p:sp>
        <p:nvSpPr>
          <p:cNvPr id="143" name="Oval 142">
            <a:extLst>
              <a:ext uri="{FF2B5EF4-FFF2-40B4-BE49-F238E27FC236}">
                <a16:creationId xmlns:a16="http://schemas.microsoft.com/office/drawing/2014/main" id="{9337F812-B25C-90F2-1DD7-F5FAE8433FBF}"/>
              </a:ext>
            </a:extLst>
          </p:cNvPr>
          <p:cNvSpPr/>
          <p:nvPr/>
        </p:nvSpPr>
        <p:spPr>
          <a:xfrm>
            <a:off x="6191246" y="1329588"/>
            <a:ext cx="1089478" cy="99043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44" name="Oval 143">
            <a:extLst>
              <a:ext uri="{FF2B5EF4-FFF2-40B4-BE49-F238E27FC236}">
                <a16:creationId xmlns:a16="http://schemas.microsoft.com/office/drawing/2014/main" id="{AD34B021-3156-E53C-81B3-C09D6508A665}"/>
              </a:ext>
            </a:extLst>
          </p:cNvPr>
          <p:cNvSpPr/>
          <p:nvPr/>
        </p:nvSpPr>
        <p:spPr>
          <a:xfrm>
            <a:off x="333849" y="1329588"/>
            <a:ext cx="1089478" cy="99043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45" name="Rectangle: Single Corner Rounded 144">
            <a:extLst>
              <a:ext uri="{FF2B5EF4-FFF2-40B4-BE49-F238E27FC236}">
                <a16:creationId xmlns:a16="http://schemas.microsoft.com/office/drawing/2014/main" id="{04FE1DAF-DC98-C2DC-C528-C133E84CCA28}"/>
              </a:ext>
            </a:extLst>
          </p:cNvPr>
          <p:cNvSpPr/>
          <p:nvPr/>
        </p:nvSpPr>
        <p:spPr>
          <a:xfrm>
            <a:off x="321870" y="1785182"/>
            <a:ext cx="5612206" cy="4163811"/>
          </a:xfrm>
          <a:prstGeom prst="round1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46" name="Rectangle: Single Corner Rounded 145">
            <a:extLst>
              <a:ext uri="{FF2B5EF4-FFF2-40B4-BE49-F238E27FC236}">
                <a16:creationId xmlns:a16="http://schemas.microsoft.com/office/drawing/2014/main" id="{CAC37D31-BE17-B3B9-63B3-E0CDD7467FC0}"/>
              </a:ext>
            </a:extLst>
          </p:cNvPr>
          <p:cNvSpPr/>
          <p:nvPr/>
        </p:nvSpPr>
        <p:spPr>
          <a:xfrm>
            <a:off x="6185984" y="1785182"/>
            <a:ext cx="5536116" cy="4163811"/>
          </a:xfrm>
          <a:prstGeom prst="round1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47" name="CasellaDiTesto 4">
            <a:extLst>
              <a:ext uri="{FF2B5EF4-FFF2-40B4-BE49-F238E27FC236}">
                <a16:creationId xmlns:a16="http://schemas.microsoft.com/office/drawing/2014/main" id="{18E07E03-14FB-4A22-DECF-C2C84E71C16F}"/>
              </a:ext>
            </a:extLst>
          </p:cNvPr>
          <p:cNvSpPr txBox="1"/>
          <p:nvPr/>
        </p:nvSpPr>
        <p:spPr>
          <a:xfrm>
            <a:off x="321870" y="1385072"/>
            <a:ext cx="110145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018</a:t>
            </a:r>
          </a:p>
        </p:txBody>
      </p:sp>
      <p:sp>
        <p:nvSpPr>
          <p:cNvPr id="148" name="Rettangolo 6">
            <a:extLst>
              <a:ext uri="{FF2B5EF4-FFF2-40B4-BE49-F238E27FC236}">
                <a16:creationId xmlns:a16="http://schemas.microsoft.com/office/drawing/2014/main" id="{AD212DD1-AF78-FAF6-5A82-5A0A613B3233}"/>
              </a:ext>
            </a:extLst>
          </p:cNvPr>
          <p:cNvSpPr/>
          <p:nvPr/>
        </p:nvSpPr>
        <p:spPr>
          <a:xfrm>
            <a:off x="3426259" y="3833635"/>
            <a:ext cx="1838036" cy="1896206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49" name="CasellaDiTesto 4">
            <a:extLst>
              <a:ext uri="{FF2B5EF4-FFF2-40B4-BE49-F238E27FC236}">
                <a16:creationId xmlns:a16="http://schemas.microsoft.com/office/drawing/2014/main" id="{FBCE32DC-19F2-D175-E6B2-0BC6BB37284B}"/>
              </a:ext>
            </a:extLst>
          </p:cNvPr>
          <p:cNvSpPr txBox="1"/>
          <p:nvPr/>
        </p:nvSpPr>
        <p:spPr>
          <a:xfrm>
            <a:off x="6191246" y="1385072"/>
            <a:ext cx="110145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oday</a:t>
            </a:r>
          </a:p>
        </p:txBody>
      </p:sp>
      <p:sp>
        <p:nvSpPr>
          <p:cNvPr id="150" name="Oval 149">
            <a:extLst>
              <a:ext uri="{FF2B5EF4-FFF2-40B4-BE49-F238E27FC236}">
                <a16:creationId xmlns:a16="http://schemas.microsoft.com/office/drawing/2014/main" id="{78F2EC5B-829C-08F7-F70B-64ECB4EA5137}"/>
              </a:ext>
            </a:extLst>
          </p:cNvPr>
          <p:cNvSpPr/>
          <p:nvPr/>
        </p:nvSpPr>
        <p:spPr>
          <a:xfrm>
            <a:off x="3868455" y="5191278"/>
            <a:ext cx="717698" cy="104135"/>
          </a:xfrm>
          <a:prstGeom prst="ellipse">
            <a:avLst/>
          </a:prstGeom>
          <a:solidFill>
            <a:schemeClr val="tx1">
              <a:alpha val="6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51" name="Free-form: Shape 150">
            <a:extLst>
              <a:ext uri="{FF2B5EF4-FFF2-40B4-BE49-F238E27FC236}">
                <a16:creationId xmlns:a16="http://schemas.microsoft.com/office/drawing/2014/main" id="{D902E612-7581-ED91-5D87-3D42AB047EB6}"/>
              </a:ext>
            </a:extLst>
          </p:cNvPr>
          <p:cNvSpPr/>
          <p:nvPr/>
        </p:nvSpPr>
        <p:spPr>
          <a:xfrm>
            <a:off x="4004938" y="3981841"/>
            <a:ext cx="593502" cy="1281815"/>
          </a:xfrm>
          <a:custGeom>
            <a:avLst/>
            <a:gdLst>
              <a:gd name="csX0" fmla="*/ 576414 w 768725"/>
              <a:gd name="csY0" fmla="*/ 893042 h 1509319"/>
              <a:gd name="csX1" fmla="*/ 613047 w 768725"/>
              <a:gd name="csY1" fmla="*/ 1059329 h 1509319"/>
              <a:gd name="csX2" fmla="*/ 623337 w 768725"/>
              <a:gd name="csY2" fmla="*/ 1071825 h 1509319"/>
              <a:gd name="csX3" fmla="*/ 639863 w 768725"/>
              <a:gd name="csY3" fmla="*/ 1079946 h 1509319"/>
              <a:gd name="csX4" fmla="*/ 652266 w 768725"/>
              <a:gd name="csY4" fmla="*/ 1109045 h 1509319"/>
              <a:gd name="csX5" fmla="*/ 645501 w 768725"/>
              <a:gd name="csY5" fmla="*/ 1127466 h 1509319"/>
              <a:gd name="csX6" fmla="*/ 645547 w 768725"/>
              <a:gd name="csY6" fmla="*/ 1144138 h 1509319"/>
              <a:gd name="csX7" fmla="*/ 664589 w 768725"/>
              <a:gd name="csY7" fmla="*/ 1175322 h 1509319"/>
              <a:gd name="csX8" fmla="*/ 712015 w 768725"/>
              <a:gd name="csY8" fmla="*/ 1225118 h 1509319"/>
              <a:gd name="csX9" fmla="*/ 744465 w 768725"/>
              <a:gd name="csY9" fmla="*/ 1300385 h 1509319"/>
              <a:gd name="csX10" fmla="*/ 743270 w 768725"/>
              <a:gd name="csY10" fmla="*/ 1350524 h 1509319"/>
              <a:gd name="csX11" fmla="*/ 745429 w 768725"/>
              <a:gd name="csY11" fmla="*/ 1363274 h 1509319"/>
              <a:gd name="csX12" fmla="*/ 768672 w 768725"/>
              <a:gd name="csY12" fmla="*/ 1456512 h 1509319"/>
              <a:gd name="csX13" fmla="*/ 758521 w 768725"/>
              <a:gd name="csY13" fmla="*/ 1472434 h 1509319"/>
              <a:gd name="csX14" fmla="*/ 730455 w 768725"/>
              <a:gd name="csY14" fmla="*/ 1481228 h 1509319"/>
              <a:gd name="csX15" fmla="*/ 594867 w 768725"/>
              <a:gd name="csY15" fmla="*/ 1502210 h 1509319"/>
              <a:gd name="csX16" fmla="*/ 320018 w 768725"/>
              <a:gd name="csY16" fmla="*/ 1508300 h 1509319"/>
              <a:gd name="csX17" fmla="*/ 186464 w 768725"/>
              <a:gd name="csY17" fmla="*/ 1501258 h 1509319"/>
              <a:gd name="csX18" fmla="*/ 26582 w 768725"/>
              <a:gd name="csY18" fmla="*/ 1477021 h 1509319"/>
              <a:gd name="csX19" fmla="*/ 3929 w 768725"/>
              <a:gd name="csY19" fmla="*/ 1465652 h 1509319"/>
              <a:gd name="csX20" fmla="*/ 18 w 768725"/>
              <a:gd name="csY20" fmla="*/ 1456203 h 1509319"/>
              <a:gd name="csX21" fmla="*/ 4393 w 768725"/>
              <a:gd name="csY21" fmla="*/ 1417235 h 1509319"/>
              <a:gd name="csX22" fmla="*/ 19158 w 768725"/>
              <a:gd name="csY22" fmla="*/ 1370678 h 1509319"/>
              <a:gd name="csX23" fmla="*/ 23255 w 768725"/>
              <a:gd name="csY23" fmla="*/ 1342388 h 1509319"/>
              <a:gd name="csX24" fmla="*/ 38705 w 768725"/>
              <a:gd name="csY24" fmla="*/ 1247261 h 1509319"/>
              <a:gd name="csX25" fmla="*/ 58454 w 768725"/>
              <a:gd name="csY25" fmla="*/ 1220807 h 1509319"/>
              <a:gd name="csX26" fmla="*/ 103638 w 768725"/>
              <a:gd name="csY26" fmla="*/ 1175667 h 1509319"/>
              <a:gd name="csX27" fmla="*/ 122996 w 768725"/>
              <a:gd name="csY27" fmla="*/ 1146131 h 1509319"/>
              <a:gd name="csX28" fmla="*/ 122689 w 768725"/>
              <a:gd name="csY28" fmla="*/ 1128316 h 1509319"/>
              <a:gd name="csX29" fmla="*/ 116576 w 768725"/>
              <a:gd name="csY29" fmla="*/ 1113575 h 1509319"/>
              <a:gd name="csX30" fmla="*/ 127479 w 768725"/>
              <a:gd name="csY30" fmla="*/ 1081076 h 1509319"/>
              <a:gd name="csX31" fmla="*/ 137480 w 768725"/>
              <a:gd name="csY31" fmla="*/ 1076482 h 1509319"/>
              <a:gd name="csX32" fmla="*/ 157312 w 768725"/>
              <a:gd name="csY32" fmla="*/ 1053855 h 1509319"/>
              <a:gd name="csX33" fmla="*/ 178876 w 768725"/>
              <a:gd name="csY33" fmla="*/ 958120 h 1509319"/>
              <a:gd name="csX34" fmla="*/ 210165 w 768725"/>
              <a:gd name="csY34" fmla="*/ 781849 h 1509319"/>
              <a:gd name="csX35" fmla="*/ 223295 w 768725"/>
              <a:gd name="csY35" fmla="*/ 674755 h 1509319"/>
              <a:gd name="csX36" fmla="*/ 231121 w 768725"/>
              <a:gd name="csY36" fmla="*/ 564636 h 1509319"/>
              <a:gd name="csX37" fmla="*/ 235173 w 768725"/>
              <a:gd name="csY37" fmla="*/ 453038 h 1509319"/>
              <a:gd name="csX38" fmla="*/ 235001 w 768725"/>
              <a:gd name="csY38" fmla="*/ 443215 h 1509319"/>
              <a:gd name="csX39" fmla="*/ 224321 w 768725"/>
              <a:gd name="csY39" fmla="*/ 428479 h 1509319"/>
              <a:gd name="csX40" fmla="*/ 204712 w 768725"/>
              <a:gd name="csY40" fmla="*/ 418450 h 1509319"/>
              <a:gd name="csX41" fmla="*/ 184069 w 768725"/>
              <a:gd name="csY41" fmla="*/ 366060 h 1509319"/>
              <a:gd name="csX42" fmla="*/ 206519 w 768725"/>
              <a:gd name="csY42" fmla="*/ 338181 h 1509319"/>
              <a:gd name="csX43" fmla="*/ 226643 w 768725"/>
              <a:gd name="csY43" fmla="*/ 329113 h 1509319"/>
              <a:gd name="csX44" fmla="*/ 232085 w 768725"/>
              <a:gd name="csY44" fmla="*/ 311135 h 1509319"/>
              <a:gd name="csX45" fmla="*/ 221280 w 768725"/>
              <a:gd name="csY45" fmla="*/ 299552 h 1509319"/>
              <a:gd name="csX46" fmla="*/ 173478 w 768725"/>
              <a:gd name="csY46" fmla="*/ 230303 h 1509319"/>
              <a:gd name="csX47" fmla="*/ 141864 w 768725"/>
              <a:gd name="csY47" fmla="*/ 95780 h 1509319"/>
              <a:gd name="csX48" fmla="*/ 137158 w 768725"/>
              <a:gd name="csY48" fmla="*/ 37107 h 1509319"/>
              <a:gd name="csX49" fmla="*/ 148750 w 768725"/>
              <a:gd name="csY49" fmla="*/ 22335 h 1509319"/>
              <a:gd name="csX50" fmla="*/ 236982 w 768725"/>
              <a:gd name="csY50" fmla="*/ 7640 h 1509319"/>
              <a:gd name="csX51" fmla="*/ 246862 w 768725"/>
              <a:gd name="csY51" fmla="*/ 7580 h 1509319"/>
              <a:gd name="csX52" fmla="*/ 261473 w 768725"/>
              <a:gd name="csY52" fmla="*/ 86763 h 1509319"/>
              <a:gd name="csX53" fmla="*/ 306246 w 768725"/>
              <a:gd name="csY53" fmla="*/ 83559 h 1509319"/>
              <a:gd name="csX54" fmla="*/ 306960 w 768725"/>
              <a:gd name="csY54" fmla="*/ 71087 h 1509319"/>
              <a:gd name="csX55" fmla="*/ 306724 w 768725"/>
              <a:gd name="csY55" fmla="*/ 19491 h 1509319"/>
              <a:gd name="csX56" fmla="*/ 319581 w 768725"/>
              <a:gd name="csY56" fmla="*/ 4733 h 1509319"/>
              <a:gd name="csX57" fmla="*/ 430956 w 768725"/>
              <a:gd name="csY57" fmla="*/ 2070 h 1509319"/>
              <a:gd name="csX58" fmla="*/ 437066 w 768725"/>
              <a:gd name="csY58" fmla="*/ 2646 h 1509319"/>
              <a:gd name="csX59" fmla="*/ 460335 w 768725"/>
              <a:gd name="csY59" fmla="*/ 24205 h 1509319"/>
              <a:gd name="csX60" fmla="*/ 463579 w 768725"/>
              <a:gd name="csY60" fmla="*/ 62081 h 1509319"/>
              <a:gd name="csX61" fmla="*/ 463652 w 768725"/>
              <a:gd name="csY61" fmla="*/ 82953 h 1509319"/>
              <a:gd name="csX62" fmla="*/ 507205 w 768725"/>
              <a:gd name="csY62" fmla="*/ 85553 h 1509319"/>
              <a:gd name="csX63" fmla="*/ 513271 w 768725"/>
              <a:gd name="csY63" fmla="*/ 61890 h 1509319"/>
              <a:gd name="csX64" fmla="*/ 520203 w 768725"/>
              <a:gd name="csY64" fmla="*/ 18323 h 1509319"/>
              <a:gd name="csX65" fmla="*/ 534008 w 768725"/>
              <a:gd name="csY65" fmla="*/ 7785 h 1509319"/>
              <a:gd name="csX66" fmla="*/ 595925 w 768725"/>
              <a:gd name="csY66" fmla="*/ 16407 h 1509319"/>
              <a:gd name="csX67" fmla="*/ 619972 w 768725"/>
              <a:gd name="csY67" fmla="*/ 21156 h 1509319"/>
              <a:gd name="csX68" fmla="*/ 631161 w 768725"/>
              <a:gd name="csY68" fmla="*/ 36134 h 1509319"/>
              <a:gd name="csX69" fmla="*/ 628140 w 768725"/>
              <a:gd name="csY69" fmla="*/ 85104 h 1509319"/>
              <a:gd name="csX70" fmla="*/ 613954 w 768725"/>
              <a:gd name="csY70" fmla="*/ 179618 h 1509319"/>
              <a:gd name="csX71" fmla="*/ 586196 w 768725"/>
              <a:gd name="csY71" fmla="*/ 256886 h 1509319"/>
              <a:gd name="csX72" fmla="*/ 554619 w 768725"/>
              <a:gd name="csY72" fmla="*/ 295312 h 1509319"/>
              <a:gd name="csX73" fmla="*/ 538601 w 768725"/>
              <a:gd name="csY73" fmla="*/ 315001 h 1509319"/>
              <a:gd name="csX74" fmla="*/ 542630 w 768725"/>
              <a:gd name="csY74" fmla="*/ 326199 h 1509319"/>
              <a:gd name="csX75" fmla="*/ 560240 w 768725"/>
              <a:gd name="csY75" fmla="*/ 334912 h 1509319"/>
              <a:gd name="csX76" fmla="*/ 586933 w 768725"/>
              <a:gd name="csY76" fmla="*/ 371800 h 1509319"/>
              <a:gd name="csX77" fmla="*/ 563039 w 768725"/>
              <a:gd name="csY77" fmla="*/ 418184 h 1509319"/>
              <a:gd name="csX78" fmla="*/ 545522 w 768725"/>
              <a:gd name="csY78" fmla="*/ 427008 h 1509319"/>
              <a:gd name="csX79" fmla="*/ 535507 w 768725"/>
              <a:gd name="csY79" fmla="*/ 440667 h 1509319"/>
              <a:gd name="csX80" fmla="*/ 536723 w 768725"/>
              <a:gd name="csY80" fmla="*/ 537651 h 1509319"/>
              <a:gd name="csX81" fmla="*/ 539820 w 768725"/>
              <a:gd name="csY81" fmla="*/ 595237 h 1509319"/>
              <a:gd name="csX82" fmla="*/ 553105 w 768725"/>
              <a:gd name="csY82" fmla="*/ 746727 h 1509319"/>
              <a:gd name="csX83" fmla="*/ 576414 w 768725"/>
              <a:gd name="csY83" fmla="*/ 893042 h 1509319"/>
              <a:gd name="csX84" fmla="*/ 500356 w 768725"/>
              <a:gd name="csY84" fmla="*/ 473996 h 1509319"/>
              <a:gd name="csX85" fmla="*/ 499749 w 768725"/>
              <a:gd name="csY85" fmla="*/ 463598 h 1509319"/>
              <a:gd name="csX86" fmla="*/ 392525 w 768725"/>
              <a:gd name="csY86" fmla="*/ 471627 h 1509319"/>
              <a:gd name="csX87" fmla="*/ 392518 w 768725"/>
              <a:gd name="csY87" fmla="*/ 482742 h 1509319"/>
              <a:gd name="csX88" fmla="*/ 390814 w 768725"/>
              <a:gd name="csY88" fmla="*/ 596913 h 1509319"/>
              <a:gd name="csX89" fmla="*/ 385953 w 768725"/>
              <a:gd name="csY89" fmla="*/ 788374 h 1509319"/>
              <a:gd name="csX90" fmla="*/ 383485 w 768725"/>
              <a:gd name="csY90" fmla="*/ 884103 h 1509319"/>
              <a:gd name="csX91" fmla="*/ 380173 w 768725"/>
              <a:gd name="csY91" fmla="*/ 1035109 h 1509319"/>
              <a:gd name="csX92" fmla="*/ 378826 w 768725"/>
              <a:gd name="csY92" fmla="*/ 1068199 h 1509319"/>
              <a:gd name="csX93" fmla="*/ 380180 w 768725"/>
              <a:gd name="csY93" fmla="*/ 1074648 h 1509319"/>
              <a:gd name="csX94" fmla="*/ 446854 w 768725"/>
              <a:gd name="csY94" fmla="*/ 1074654 h 1509319"/>
              <a:gd name="csX95" fmla="*/ 513191 w 768725"/>
              <a:gd name="csY95" fmla="*/ 1074731 h 1509319"/>
              <a:gd name="csX96" fmla="*/ 580317 w 768725"/>
              <a:gd name="csY96" fmla="*/ 1075095 h 1509319"/>
              <a:gd name="csX97" fmla="*/ 500356 w 768725"/>
              <a:gd name="csY97" fmla="*/ 473996 h 1509319"/>
              <a:gd name="csX98" fmla="*/ 459731 w 768725"/>
              <a:gd name="csY98" fmla="*/ 1135086 h 1509319"/>
              <a:gd name="csX99" fmla="*/ 383756 w 768725"/>
              <a:gd name="csY99" fmla="*/ 1135086 h 1509319"/>
              <a:gd name="csX100" fmla="*/ 387612 w 768725"/>
              <a:gd name="csY100" fmla="*/ 1242590 h 1509319"/>
              <a:gd name="csX101" fmla="*/ 383907 w 768725"/>
              <a:gd name="csY101" fmla="*/ 1351330 h 1509319"/>
              <a:gd name="csX102" fmla="*/ 707112 w 768725"/>
              <a:gd name="csY102" fmla="*/ 1330559 h 1509319"/>
              <a:gd name="csX103" fmla="*/ 686366 w 768725"/>
              <a:gd name="csY103" fmla="*/ 1251637 h 1509319"/>
              <a:gd name="csX104" fmla="*/ 639403 w 768725"/>
              <a:gd name="csY104" fmla="*/ 1199952 h 1509319"/>
              <a:gd name="csX105" fmla="*/ 606292 w 768725"/>
              <a:gd name="csY105" fmla="*/ 1135508 h 1509319"/>
              <a:gd name="csX106" fmla="*/ 602971 w 768725"/>
              <a:gd name="csY106" fmla="*/ 1123400 h 1509319"/>
              <a:gd name="csX107" fmla="*/ 591474 w 768725"/>
              <a:gd name="csY107" fmla="*/ 1124633 h 1509319"/>
              <a:gd name="csX108" fmla="*/ 530551 w 768725"/>
              <a:gd name="csY108" fmla="*/ 1130880 h 1509319"/>
              <a:gd name="csX109" fmla="*/ 459731 w 768725"/>
              <a:gd name="csY109" fmla="*/ 1135086 h 1509319"/>
              <a:gd name="csX110" fmla="*/ 469505 w 768725"/>
              <a:gd name="csY110" fmla="*/ 116252 h 1509319"/>
              <a:gd name="csX111" fmla="*/ 443782 w 768725"/>
              <a:gd name="csY111" fmla="*/ 114911 h 1509319"/>
              <a:gd name="csX112" fmla="*/ 430007 w 768725"/>
              <a:gd name="csY112" fmla="*/ 99878 h 1509319"/>
              <a:gd name="csX113" fmla="*/ 429331 w 768725"/>
              <a:gd name="csY113" fmla="*/ 69197 h 1509319"/>
              <a:gd name="csX114" fmla="*/ 426333 w 768725"/>
              <a:gd name="csY114" fmla="*/ 34606 h 1509319"/>
              <a:gd name="csX115" fmla="*/ 377548 w 768725"/>
              <a:gd name="csY115" fmla="*/ 34613 h 1509319"/>
              <a:gd name="csX116" fmla="*/ 368004 w 768725"/>
              <a:gd name="csY116" fmla="*/ 44529 h 1509319"/>
              <a:gd name="csX117" fmla="*/ 366185 w 768725"/>
              <a:gd name="csY117" fmla="*/ 76343 h 1509319"/>
              <a:gd name="csX118" fmla="*/ 379384 w 768725"/>
              <a:gd name="csY118" fmla="*/ 206619 h 1509319"/>
              <a:gd name="csX119" fmla="*/ 390997 w 768725"/>
              <a:gd name="csY119" fmla="*/ 277965 h 1509319"/>
              <a:gd name="csX120" fmla="*/ 394040 w 768725"/>
              <a:gd name="csY120" fmla="*/ 305053 h 1509319"/>
              <a:gd name="csX121" fmla="*/ 501758 w 768725"/>
              <a:gd name="csY121" fmla="*/ 304814 h 1509319"/>
              <a:gd name="csX122" fmla="*/ 510340 w 768725"/>
              <a:gd name="csY122" fmla="*/ 299427 h 1509319"/>
              <a:gd name="csX123" fmla="*/ 526940 w 768725"/>
              <a:gd name="csY123" fmla="*/ 279822 h 1509319"/>
              <a:gd name="csX124" fmla="*/ 576920 w 768725"/>
              <a:gd name="csY124" fmla="*/ 192342 h 1509319"/>
              <a:gd name="csX125" fmla="*/ 594042 w 768725"/>
              <a:gd name="csY125" fmla="*/ 74918 h 1509319"/>
              <a:gd name="csX126" fmla="*/ 594159 w 768725"/>
              <a:gd name="csY126" fmla="*/ 49195 h 1509319"/>
              <a:gd name="csX127" fmla="*/ 554791 w 768725"/>
              <a:gd name="csY127" fmla="*/ 42552 h 1509319"/>
              <a:gd name="csX128" fmla="*/ 552461 w 768725"/>
              <a:gd name="csY128" fmla="*/ 55598 h 1509319"/>
              <a:gd name="csX129" fmla="*/ 544678 w 768725"/>
              <a:gd name="csY129" fmla="*/ 102721 h 1509319"/>
              <a:gd name="csX130" fmla="*/ 525701 w 768725"/>
              <a:gd name="csY130" fmla="*/ 118186 h 1509319"/>
              <a:gd name="csX131" fmla="*/ 469505 w 768725"/>
              <a:gd name="csY131" fmla="*/ 116252 h 1509319"/>
              <a:gd name="csX132" fmla="*/ 513928 w 768725"/>
              <a:gd name="csY132" fmla="*/ 1403203 h 1509319"/>
              <a:gd name="csX133" fmla="*/ 379322 w 768725"/>
              <a:gd name="csY133" fmla="*/ 1404000 h 1509319"/>
              <a:gd name="csX134" fmla="*/ 379322 w 768725"/>
              <a:gd name="csY134" fmla="*/ 1460424 h 1509319"/>
              <a:gd name="csX135" fmla="*/ 726554 w 768725"/>
              <a:gd name="csY135" fmla="*/ 1439225 h 1509319"/>
              <a:gd name="csX136" fmla="*/ 721089 w 768725"/>
              <a:gd name="csY136" fmla="*/ 1397750 h 1509319"/>
              <a:gd name="csX137" fmla="*/ 697967 w 768725"/>
              <a:gd name="csY137" fmla="*/ 1385046 h 1509319"/>
              <a:gd name="csX138" fmla="*/ 619039 w 768725"/>
              <a:gd name="csY138" fmla="*/ 1395892 h 1509319"/>
              <a:gd name="csX139" fmla="*/ 513928 w 768725"/>
              <a:gd name="csY139" fmla="*/ 1403203 h 1509319"/>
              <a:gd name="csX140" fmla="*/ 462814 w 768725"/>
              <a:gd name="csY140" fmla="*/ 375981 h 1509319"/>
              <a:gd name="csX141" fmla="*/ 538992 w 768725"/>
              <a:gd name="csY141" fmla="*/ 375736 h 1509319"/>
              <a:gd name="csX142" fmla="*/ 551835 w 768725"/>
              <a:gd name="csY142" fmla="*/ 373923 h 1509319"/>
              <a:gd name="csX143" fmla="*/ 539689 w 768725"/>
              <a:gd name="csY143" fmla="*/ 356085 h 1509319"/>
              <a:gd name="csX144" fmla="*/ 521074 w 768725"/>
              <a:gd name="csY144" fmla="*/ 344186 h 1509319"/>
              <a:gd name="csX145" fmla="*/ 503789 w 768725"/>
              <a:gd name="csY145" fmla="*/ 339280 h 1509319"/>
              <a:gd name="csX146" fmla="*/ 404270 w 768725"/>
              <a:gd name="csY146" fmla="*/ 339994 h 1509319"/>
              <a:gd name="csX147" fmla="*/ 393081 w 768725"/>
              <a:gd name="csY147" fmla="*/ 340868 h 1509319"/>
              <a:gd name="csX148" fmla="*/ 395001 w 768725"/>
              <a:gd name="csY148" fmla="*/ 375976 h 1509319"/>
              <a:gd name="csX149" fmla="*/ 462814 w 768725"/>
              <a:gd name="csY149" fmla="*/ 375981 h 150931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</a:cxnLst>
            <a:rect l="l" t="t" r="r" b="b"/>
            <a:pathLst>
              <a:path w="768725" h="1509319">
                <a:moveTo>
                  <a:pt x="576414" y="893042"/>
                </a:moveTo>
                <a:cubicBezTo>
                  <a:pt x="588806" y="949146"/>
                  <a:pt x="601091" y="1004202"/>
                  <a:pt x="613047" y="1059329"/>
                </a:cubicBezTo>
                <a:cubicBezTo>
                  <a:pt x="614432" y="1065716"/>
                  <a:pt x="617736" y="1069332"/>
                  <a:pt x="623337" y="1071825"/>
                </a:cubicBezTo>
                <a:cubicBezTo>
                  <a:pt x="628942" y="1074320"/>
                  <a:pt x="634521" y="1076938"/>
                  <a:pt x="639863" y="1079946"/>
                </a:cubicBezTo>
                <a:cubicBezTo>
                  <a:pt x="650944" y="1086186"/>
                  <a:pt x="655598" y="1096871"/>
                  <a:pt x="652266" y="1109045"/>
                </a:cubicBezTo>
                <a:cubicBezTo>
                  <a:pt x="650545" y="1115333"/>
                  <a:pt x="647953" y="1121401"/>
                  <a:pt x="645501" y="1127466"/>
                </a:cubicBezTo>
                <a:cubicBezTo>
                  <a:pt x="643225" y="1133097"/>
                  <a:pt x="643438" y="1138435"/>
                  <a:pt x="645547" y="1144138"/>
                </a:cubicBezTo>
                <a:cubicBezTo>
                  <a:pt x="649868" y="1155821"/>
                  <a:pt x="655892" y="1166306"/>
                  <a:pt x="664589" y="1175322"/>
                </a:cubicBezTo>
                <a:cubicBezTo>
                  <a:pt x="680503" y="1191819"/>
                  <a:pt x="696298" y="1208434"/>
                  <a:pt x="712015" y="1225118"/>
                </a:cubicBezTo>
                <a:cubicBezTo>
                  <a:pt x="731931" y="1246258"/>
                  <a:pt x="740856" y="1272032"/>
                  <a:pt x="744465" y="1300385"/>
                </a:cubicBezTo>
                <a:cubicBezTo>
                  <a:pt x="746614" y="1317273"/>
                  <a:pt x="744537" y="1333855"/>
                  <a:pt x="743270" y="1350524"/>
                </a:cubicBezTo>
                <a:cubicBezTo>
                  <a:pt x="742916" y="1355183"/>
                  <a:pt x="743079" y="1358990"/>
                  <a:pt x="745429" y="1363274"/>
                </a:cubicBezTo>
                <a:cubicBezTo>
                  <a:pt x="761335" y="1392276"/>
                  <a:pt x="766719" y="1423956"/>
                  <a:pt x="768672" y="1456512"/>
                </a:cubicBezTo>
                <a:cubicBezTo>
                  <a:pt x="769161" y="1464651"/>
                  <a:pt x="766327" y="1469951"/>
                  <a:pt x="758521" y="1472434"/>
                </a:cubicBezTo>
                <a:cubicBezTo>
                  <a:pt x="749176" y="1475406"/>
                  <a:pt x="739961" y="1478919"/>
                  <a:pt x="730455" y="1481228"/>
                </a:cubicBezTo>
                <a:cubicBezTo>
                  <a:pt x="685866" y="1492058"/>
                  <a:pt x="640613" y="1498445"/>
                  <a:pt x="594867" y="1502210"/>
                </a:cubicBezTo>
                <a:cubicBezTo>
                  <a:pt x="503351" y="1509743"/>
                  <a:pt x="411695" y="1510364"/>
                  <a:pt x="320018" y="1508300"/>
                </a:cubicBezTo>
                <a:cubicBezTo>
                  <a:pt x="275466" y="1507297"/>
                  <a:pt x="230913" y="1504582"/>
                  <a:pt x="186464" y="1501258"/>
                </a:cubicBezTo>
                <a:cubicBezTo>
                  <a:pt x="132610" y="1497231"/>
                  <a:pt x="79072" y="1490389"/>
                  <a:pt x="26582" y="1477021"/>
                </a:cubicBezTo>
                <a:cubicBezTo>
                  <a:pt x="18195" y="1474885"/>
                  <a:pt x="9735" y="1472585"/>
                  <a:pt x="3929" y="1465652"/>
                </a:cubicBezTo>
                <a:cubicBezTo>
                  <a:pt x="1807" y="1463117"/>
                  <a:pt x="-213" y="1459275"/>
                  <a:pt x="18" y="1456203"/>
                </a:cubicBezTo>
                <a:cubicBezTo>
                  <a:pt x="995" y="1443177"/>
                  <a:pt x="2714" y="1430200"/>
                  <a:pt x="4393" y="1417235"/>
                </a:cubicBezTo>
                <a:cubicBezTo>
                  <a:pt x="6515" y="1400846"/>
                  <a:pt x="11310" y="1385118"/>
                  <a:pt x="19158" y="1370678"/>
                </a:cubicBezTo>
                <a:cubicBezTo>
                  <a:pt x="24205" y="1361393"/>
                  <a:pt x="24576" y="1352443"/>
                  <a:pt x="23255" y="1342388"/>
                </a:cubicBezTo>
                <a:cubicBezTo>
                  <a:pt x="18901" y="1309218"/>
                  <a:pt x="21603" y="1276876"/>
                  <a:pt x="38705" y="1247261"/>
                </a:cubicBezTo>
                <a:cubicBezTo>
                  <a:pt x="44179" y="1237783"/>
                  <a:pt x="50956" y="1228786"/>
                  <a:pt x="58454" y="1220807"/>
                </a:cubicBezTo>
                <a:cubicBezTo>
                  <a:pt x="73024" y="1205299"/>
                  <a:pt x="88543" y="1190683"/>
                  <a:pt x="103638" y="1175667"/>
                </a:cubicBezTo>
                <a:cubicBezTo>
                  <a:pt x="112161" y="1167189"/>
                  <a:pt x="118801" y="1157513"/>
                  <a:pt x="122996" y="1146131"/>
                </a:cubicBezTo>
                <a:cubicBezTo>
                  <a:pt x="125249" y="1140016"/>
                  <a:pt x="125488" y="1134282"/>
                  <a:pt x="122689" y="1128316"/>
                </a:cubicBezTo>
                <a:cubicBezTo>
                  <a:pt x="120431" y="1123504"/>
                  <a:pt x="118446" y="1118553"/>
                  <a:pt x="116576" y="1113575"/>
                </a:cubicBezTo>
                <a:cubicBezTo>
                  <a:pt x="111153" y="1099133"/>
                  <a:pt x="114404" y="1089299"/>
                  <a:pt x="127479" y="1081076"/>
                </a:cubicBezTo>
                <a:cubicBezTo>
                  <a:pt x="130563" y="1079137"/>
                  <a:pt x="134000" y="1077564"/>
                  <a:pt x="137480" y="1076482"/>
                </a:cubicBezTo>
                <a:cubicBezTo>
                  <a:pt x="148800" y="1072962"/>
                  <a:pt x="154794" y="1065351"/>
                  <a:pt x="157312" y="1053855"/>
                </a:cubicBezTo>
                <a:cubicBezTo>
                  <a:pt x="164312" y="1021900"/>
                  <a:pt x="172752" y="990234"/>
                  <a:pt x="178876" y="958120"/>
                </a:cubicBezTo>
                <a:cubicBezTo>
                  <a:pt x="190055" y="899504"/>
                  <a:pt x="200649" y="840756"/>
                  <a:pt x="210165" y="781849"/>
                </a:cubicBezTo>
                <a:cubicBezTo>
                  <a:pt x="215898" y="746366"/>
                  <a:pt x="219868" y="710550"/>
                  <a:pt x="223295" y="674755"/>
                </a:cubicBezTo>
                <a:cubicBezTo>
                  <a:pt x="226801" y="638133"/>
                  <a:pt x="229185" y="601381"/>
                  <a:pt x="231121" y="564636"/>
                </a:cubicBezTo>
                <a:cubicBezTo>
                  <a:pt x="233079" y="527469"/>
                  <a:pt x="233899" y="490241"/>
                  <a:pt x="235173" y="453038"/>
                </a:cubicBezTo>
                <a:cubicBezTo>
                  <a:pt x="235285" y="449770"/>
                  <a:pt x="235108" y="446488"/>
                  <a:pt x="235001" y="443215"/>
                </a:cubicBezTo>
                <a:cubicBezTo>
                  <a:pt x="234761" y="435907"/>
                  <a:pt x="231291" y="431283"/>
                  <a:pt x="224321" y="428479"/>
                </a:cubicBezTo>
                <a:cubicBezTo>
                  <a:pt x="217531" y="425747"/>
                  <a:pt x="210873" y="422395"/>
                  <a:pt x="204712" y="418450"/>
                </a:cubicBezTo>
                <a:cubicBezTo>
                  <a:pt x="187562" y="407468"/>
                  <a:pt x="179141" y="385623"/>
                  <a:pt x="184069" y="366060"/>
                </a:cubicBezTo>
                <a:cubicBezTo>
                  <a:pt x="187270" y="353354"/>
                  <a:pt x="195406" y="344379"/>
                  <a:pt x="206519" y="338181"/>
                </a:cubicBezTo>
                <a:cubicBezTo>
                  <a:pt x="212922" y="334611"/>
                  <a:pt x="219930" y="332132"/>
                  <a:pt x="226643" y="329113"/>
                </a:cubicBezTo>
                <a:cubicBezTo>
                  <a:pt x="236636" y="324620"/>
                  <a:pt x="238185" y="320246"/>
                  <a:pt x="232085" y="311135"/>
                </a:cubicBezTo>
                <a:cubicBezTo>
                  <a:pt x="229169" y="306779"/>
                  <a:pt x="225643" y="302195"/>
                  <a:pt x="221280" y="299552"/>
                </a:cubicBezTo>
                <a:cubicBezTo>
                  <a:pt x="194874" y="283553"/>
                  <a:pt x="183766" y="257401"/>
                  <a:pt x="173478" y="230303"/>
                </a:cubicBezTo>
                <a:cubicBezTo>
                  <a:pt x="156973" y="186824"/>
                  <a:pt x="146078" y="142097"/>
                  <a:pt x="141864" y="95780"/>
                </a:cubicBezTo>
                <a:cubicBezTo>
                  <a:pt x="140086" y="76240"/>
                  <a:pt x="138323" y="56689"/>
                  <a:pt x="137158" y="37107"/>
                </a:cubicBezTo>
                <a:cubicBezTo>
                  <a:pt x="136482" y="25735"/>
                  <a:pt x="137408" y="24372"/>
                  <a:pt x="148750" y="22335"/>
                </a:cubicBezTo>
                <a:cubicBezTo>
                  <a:pt x="178094" y="17065"/>
                  <a:pt x="207551" y="12418"/>
                  <a:pt x="236982" y="7640"/>
                </a:cubicBezTo>
                <a:cubicBezTo>
                  <a:pt x="239748" y="7191"/>
                  <a:pt x="242650" y="7580"/>
                  <a:pt x="246862" y="7580"/>
                </a:cubicBezTo>
                <a:cubicBezTo>
                  <a:pt x="255824" y="32568"/>
                  <a:pt x="255201" y="59502"/>
                  <a:pt x="261473" y="86763"/>
                </a:cubicBezTo>
                <a:cubicBezTo>
                  <a:pt x="276122" y="85715"/>
                  <a:pt x="290587" y="84680"/>
                  <a:pt x="306246" y="83559"/>
                </a:cubicBezTo>
                <a:cubicBezTo>
                  <a:pt x="306524" y="78935"/>
                  <a:pt x="306966" y="75011"/>
                  <a:pt x="306960" y="71087"/>
                </a:cubicBezTo>
                <a:cubicBezTo>
                  <a:pt x="306936" y="53888"/>
                  <a:pt x="306633" y="36688"/>
                  <a:pt x="306724" y="19491"/>
                </a:cubicBezTo>
                <a:cubicBezTo>
                  <a:pt x="306789" y="7258"/>
                  <a:pt x="307148" y="6664"/>
                  <a:pt x="319581" y="4733"/>
                </a:cubicBezTo>
                <a:cubicBezTo>
                  <a:pt x="356571" y="-1011"/>
                  <a:pt x="393735" y="-1048"/>
                  <a:pt x="430956" y="2070"/>
                </a:cubicBezTo>
                <a:cubicBezTo>
                  <a:pt x="432994" y="2241"/>
                  <a:pt x="435026" y="2485"/>
                  <a:pt x="437066" y="2646"/>
                </a:cubicBezTo>
                <a:cubicBezTo>
                  <a:pt x="455684" y="4122"/>
                  <a:pt x="457626" y="5472"/>
                  <a:pt x="460335" y="24205"/>
                </a:cubicBezTo>
                <a:cubicBezTo>
                  <a:pt x="462146" y="36727"/>
                  <a:pt x="462770" y="49435"/>
                  <a:pt x="463579" y="62081"/>
                </a:cubicBezTo>
                <a:cubicBezTo>
                  <a:pt x="463995" y="68573"/>
                  <a:pt x="463652" y="75113"/>
                  <a:pt x="463652" y="82953"/>
                </a:cubicBezTo>
                <a:cubicBezTo>
                  <a:pt x="478793" y="83857"/>
                  <a:pt x="492851" y="84696"/>
                  <a:pt x="507205" y="85553"/>
                </a:cubicBezTo>
                <a:cubicBezTo>
                  <a:pt x="512102" y="78145"/>
                  <a:pt x="511920" y="69770"/>
                  <a:pt x="513271" y="61890"/>
                </a:cubicBezTo>
                <a:cubicBezTo>
                  <a:pt x="515756" y="47397"/>
                  <a:pt x="517439" y="32758"/>
                  <a:pt x="520203" y="18323"/>
                </a:cubicBezTo>
                <a:cubicBezTo>
                  <a:pt x="522330" y="7216"/>
                  <a:pt x="522926" y="6539"/>
                  <a:pt x="534008" y="7785"/>
                </a:cubicBezTo>
                <a:cubicBezTo>
                  <a:pt x="554709" y="10113"/>
                  <a:pt x="575316" y="13322"/>
                  <a:pt x="595925" y="16407"/>
                </a:cubicBezTo>
                <a:cubicBezTo>
                  <a:pt x="604001" y="17616"/>
                  <a:pt x="612093" y="19051"/>
                  <a:pt x="619972" y="21156"/>
                </a:cubicBezTo>
                <a:cubicBezTo>
                  <a:pt x="628887" y="23538"/>
                  <a:pt x="631496" y="26848"/>
                  <a:pt x="631161" y="36134"/>
                </a:cubicBezTo>
                <a:cubicBezTo>
                  <a:pt x="630572" y="52475"/>
                  <a:pt x="629765" y="68840"/>
                  <a:pt x="628140" y="85104"/>
                </a:cubicBezTo>
                <a:cubicBezTo>
                  <a:pt x="624968" y="116827"/>
                  <a:pt x="621618" y="148545"/>
                  <a:pt x="613954" y="179618"/>
                </a:cubicBezTo>
                <a:cubicBezTo>
                  <a:pt x="607361" y="206344"/>
                  <a:pt x="597791" y="231950"/>
                  <a:pt x="586196" y="256886"/>
                </a:cubicBezTo>
                <a:cubicBezTo>
                  <a:pt x="578940" y="272491"/>
                  <a:pt x="568647" y="285371"/>
                  <a:pt x="554619" y="295312"/>
                </a:cubicBezTo>
                <a:cubicBezTo>
                  <a:pt x="547467" y="300381"/>
                  <a:pt x="541673" y="306562"/>
                  <a:pt x="538601" y="315001"/>
                </a:cubicBezTo>
                <a:cubicBezTo>
                  <a:pt x="536802" y="319945"/>
                  <a:pt x="537533" y="323761"/>
                  <a:pt x="542630" y="326199"/>
                </a:cubicBezTo>
                <a:cubicBezTo>
                  <a:pt x="548539" y="329025"/>
                  <a:pt x="554513" y="331748"/>
                  <a:pt x="560240" y="334912"/>
                </a:cubicBezTo>
                <a:cubicBezTo>
                  <a:pt x="574874" y="342998"/>
                  <a:pt x="586216" y="353688"/>
                  <a:pt x="586933" y="371800"/>
                </a:cubicBezTo>
                <a:cubicBezTo>
                  <a:pt x="587721" y="391697"/>
                  <a:pt x="581146" y="407998"/>
                  <a:pt x="563039" y="418184"/>
                </a:cubicBezTo>
                <a:cubicBezTo>
                  <a:pt x="557338" y="421391"/>
                  <a:pt x="551634" y="424825"/>
                  <a:pt x="545522" y="427008"/>
                </a:cubicBezTo>
                <a:cubicBezTo>
                  <a:pt x="538690" y="429449"/>
                  <a:pt x="535443" y="433770"/>
                  <a:pt x="535507" y="440667"/>
                </a:cubicBezTo>
                <a:cubicBezTo>
                  <a:pt x="535813" y="472997"/>
                  <a:pt x="535953" y="505332"/>
                  <a:pt x="536723" y="537651"/>
                </a:cubicBezTo>
                <a:cubicBezTo>
                  <a:pt x="537181" y="556862"/>
                  <a:pt x="538274" y="576081"/>
                  <a:pt x="539820" y="595237"/>
                </a:cubicBezTo>
                <a:cubicBezTo>
                  <a:pt x="543897" y="645768"/>
                  <a:pt x="546950" y="696441"/>
                  <a:pt x="553105" y="746727"/>
                </a:cubicBezTo>
                <a:cubicBezTo>
                  <a:pt x="559060" y="795370"/>
                  <a:pt x="568372" y="843602"/>
                  <a:pt x="576414" y="893042"/>
                </a:cubicBezTo>
                <a:moveTo>
                  <a:pt x="500356" y="473996"/>
                </a:moveTo>
                <a:cubicBezTo>
                  <a:pt x="500146" y="470396"/>
                  <a:pt x="499936" y="466797"/>
                  <a:pt x="499749" y="463598"/>
                </a:cubicBezTo>
                <a:cubicBezTo>
                  <a:pt x="463731" y="466295"/>
                  <a:pt x="428548" y="468929"/>
                  <a:pt x="392525" y="471627"/>
                </a:cubicBezTo>
                <a:cubicBezTo>
                  <a:pt x="392525" y="475456"/>
                  <a:pt x="392570" y="479099"/>
                  <a:pt x="392518" y="482742"/>
                </a:cubicBezTo>
                <a:cubicBezTo>
                  <a:pt x="391977" y="520799"/>
                  <a:pt x="391669" y="558862"/>
                  <a:pt x="390814" y="596913"/>
                </a:cubicBezTo>
                <a:cubicBezTo>
                  <a:pt x="389379" y="660737"/>
                  <a:pt x="387596" y="724554"/>
                  <a:pt x="385953" y="788374"/>
                </a:cubicBezTo>
                <a:cubicBezTo>
                  <a:pt x="385132" y="820284"/>
                  <a:pt x="384217" y="852191"/>
                  <a:pt x="383485" y="884103"/>
                </a:cubicBezTo>
                <a:cubicBezTo>
                  <a:pt x="382329" y="934437"/>
                  <a:pt x="381336" y="984775"/>
                  <a:pt x="380173" y="1035109"/>
                </a:cubicBezTo>
                <a:cubicBezTo>
                  <a:pt x="379918" y="1046143"/>
                  <a:pt x="379172" y="1057166"/>
                  <a:pt x="378826" y="1068199"/>
                </a:cubicBezTo>
                <a:cubicBezTo>
                  <a:pt x="378768" y="1070073"/>
                  <a:pt x="379592" y="1071975"/>
                  <a:pt x="380180" y="1074648"/>
                </a:cubicBezTo>
                <a:cubicBezTo>
                  <a:pt x="402724" y="1074648"/>
                  <a:pt x="424789" y="1074626"/>
                  <a:pt x="446854" y="1074654"/>
                </a:cubicBezTo>
                <a:cubicBezTo>
                  <a:pt x="468967" y="1074682"/>
                  <a:pt x="491084" y="1075062"/>
                  <a:pt x="513191" y="1074731"/>
                </a:cubicBezTo>
                <a:cubicBezTo>
                  <a:pt x="535020" y="1074404"/>
                  <a:pt x="556890" y="1078397"/>
                  <a:pt x="580317" y="1075095"/>
                </a:cubicBezTo>
                <a:cubicBezTo>
                  <a:pt x="530688" y="877741"/>
                  <a:pt x="498514" y="679261"/>
                  <a:pt x="500356" y="473996"/>
                </a:cubicBezTo>
                <a:moveTo>
                  <a:pt x="459731" y="1135086"/>
                </a:moveTo>
                <a:cubicBezTo>
                  <a:pt x="434501" y="1135086"/>
                  <a:pt x="409270" y="1135086"/>
                  <a:pt x="383756" y="1135086"/>
                </a:cubicBezTo>
                <a:cubicBezTo>
                  <a:pt x="385145" y="1171037"/>
                  <a:pt x="387590" y="1206813"/>
                  <a:pt x="387612" y="1242590"/>
                </a:cubicBezTo>
                <a:cubicBezTo>
                  <a:pt x="387634" y="1278699"/>
                  <a:pt x="385252" y="1314810"/>
                  <a:pt x="383907" y="1351330"/>
                </a:cubicBezTo>
                <a:cubicBezTo>
                  <a:pt x="493016" y="1355954"/>
                  <a:pt x="600298" y="1349068"/>
                  <a:pt x="707112" y="1330559"/>
                </a:cubicBezTo>
                <a:cubicBezTo>
                  <a:pt x="710922" y="1301049"/>
                  <a:pt x="703971" y="1274394"/>
                  <a:pt x="686366" y="1251637"/>
                </a:cubicBezTo>
                <a:cubicBezTo>
                  <a:pt x="672164" y="1233278"/>
                  <a:pt x="655625" y="1216649"/>
                  <a:pt x="639403" y="1199952"/>
                </a:cubicBezTo>
                <a:cubicBezTo>
                  <a:pt x="621690" y="1181720"/>
                  <a:pt x="611031" y="1160243"/>
                  <a:pt x="606292" y="1135508"/>
                </a:cubicBezTo>
                <a:cubicBezTo>
                  <a:pt x="605546" y="1131614"/>
                  <a:pt x="604205" y="1127833"/>
                  <a:pt x="602971" y="1123400"/>
                </a:cubicBezTo>
                <a:cubicBezTo>
                  <a:pt x="598647" y="1123864"/>
                  <a:pt x="595062" y="1124258"/>
                  <a:pt x="591474" y="1124633"/>
                </a:cubicBezTo>
                <a:cubicBezTo>
                  <a:pt x="571170" y="1126753"/>
                  <a:pt x="550896" y="1129262"/>
                  <a:pt x="530551" y="1130880"/>
                </a:cubicBezTo>
                <a:cubicBezTo>
                  <a:pt x="507752" y="1132694"/>
                  <a:pt x="484887" y="1133699"/>
                  <a:pt x="459731" y="1135086"/>
                </a:cubicBezTo>
                <a:moveTo>
                  <a:pt x="469505" y="116252"/>
                </a:moveTo>
                <a:cubicBezTo>
                  <a:pt x="460926" y="115846"/>
                  <a:pt x="452288" y="115932"/>
                  <a:pt x="443782" y="114911"/>
                </a:cubicBezTo>
                <a:cubicBezTo>
                  <a:pt x="433023" y="113619"/>
                  <a:pt x="430601" y="110848"/>
                  <a:pt x="430007" y="99878"/>
                </a:cubicBezTo>
                <a:cubicBezTo>
                  <a:pt x="429457" y="89668"/>
                  <a:pt x="429903" y="79404"/>
                  <a:pt x="429331" y="69197"/>
                </a:cubicBezTo>
                <a:cubicBezTo>
                  <a:pt x="428702" y="57943"/>
                  <a:pt x="427414" y="46725"/>
                  <a:pt x="426333" y="34606"/>
                </a:cubicBezTo>
                <a:cubicBezTo>
                  <a:pt x="409217" y="34606"/>
                  <a:pt x="393383" y="34593"/>
                  <a:pt x="377548" y="34613"/>
                </a:cubicBezTo>
                <a:cubicBezTo>
                  <a:pt x="370973" y="34621"/>
                  <a:pt x="368175" y="37880"/>
                  <a:pt x="368004" y="44529"/>
                </a:cubicBezTo>
                <a:cubicBezTo>
                  <a:pt x="367731" y="55142"/>
                  <a:pt x="366531" y="65729"/>
                  <a:pt x="366185" y="76343"/>
                </a:cubicBezTo>
                <a:cubicBezTo>
                  <a:pt x="364748" y="120348"/>
                  <a:pt x="372586" y="163440"/>
                  <a:pt x="379384" y="206619"/>
                </a:cubicBezTo>
                <a:cubicBezTo>
                  <a:pt x="383132" y="230420"/>
                  <a:pt x="387281" y="254159"/>
                  <a:pt x="390997" y="277965"/>
                </a:cubicBezTo>
                <a:cubicBezTo>
                  <a:pt x="392356" y="286668"/>
                  <a:pt x="392988" y="295485"/>
                  <a:pt x="394040" y="305053"/>
                </a:cubicBezTo>
                <a:cubicBezTo>
                  <a:pt x="430625" y="305053"/>
                  <a:pt x="466194" y="305182"/>
                  <a:pt x="501758" y="304814"/>
                </a:cubicBezTo>
                <a:cubicBezTo>
                  <a:pt x="504672" y="304784"/>
                  <a:pt x="508099" y="301870"/>
                  <a:pt x="510340" y="299427"/>
                </a:cubicBezTo>
                <a:cubicBezTo>
                  <a:pt x="516125" y="293119"/>
                  <a:pt x="520822" y="285749"/>
                  <a:pt x="526940" y="279822"/>
                </a:cubicBezTo>
                <a:cubicBezTo>
                  <a:pt x="552103" y="255447"/>
                  <a:pt x="566819" y="225104"/>
                  <a:pt x="576920" y="192342"/>
                </a:cubicBezTo>
                <a:cubicBezTo>
                  <a:pt x="588690" y="154165"/>
                  <a:pt x="590063" y="114309"/>
                  <a:pt x="594042" y="74918"/>
                </a:cubicBezTo>
                <a:cubicBezTo>
                  <a:pt x="594852" y="66901"/>
                  <a:pt x="594159" y="58731"/>
                  <a:pt x="594159" y="49195"/>
                </a:cubicBezTo>
                <a:cubicBezTo>
                  <a:pt x="581125" y="46996"/>
                  <a:pt x="568493" y="44864"/>
                  <a:pt x="554791" y="42552"/>
                </a:cubicBezTo>
                <a:cubicBezTo>
                  <a:pt x="553857" y="47762"/>
                  <a:pt x="553099" y="51670"/>
                  <a:pt x="552461" y="55598"/>
                </a:cubicBezTo>
                <a:cubicBezTo>
                  <a:pt x="549905" y="71314"/>
                  <a:pt x="547903" y="87144"/>
                  <a:pt x="544678" y="102721"/>
                </a:cubicBezTo>
                <a:cubicBezTo>
                  <a:pt x="542363" y="113902"/>
                  <a:pt x="537010" y="118223"/>
                  <a:pt x="525701" y="118186"/>
                </a:cubicBezTo>
                <a:cubicBezTo>
                  <a:pt x="507730" y="118128"/>
                  <a:pt x="489762" y="117027"/>
                  <a:pt x="469505" y="116252"/>
                </a:cubicBezTo>
                <a:moveTo>
                  <a:pt x="513928" y="1403203"/>
                </a:moveTo>
                <a:cubicBezTo>
                  <a:pt x="469441" y="1403467"/>
                  <a:pt x="424955" y="1403730"/>
                  <a:pt x="379322" y="1404000"/>
                </a:cubicBezTo>
                <a:cubicBezTo>
                  <a:pt x="379322" y="1423089"/>
                  <a:pt x="379322" y="1440883"/>
                  <a:pt x="379322" y="1460424"/>
                </a:cubicBezTo>
                <a:cubicBezTo>
                  <a:pt x="496078" y="1471584"/>
                  <a:pt x="611510" y="1462301"/>
                  <a:pt x="726554" y="1439225"/>
                </a:cubicBezTo>
                <a:cubicBezTo>
                  <a:pt x="728615" y="1424350"/>
                  <a:pt x="725601" y="1410872"/>
                  <a:pt x="721089" y="1397750"/>
                </a:cubicBezTo>
                <a:cubicBezTo>
                  <a:pt x="717269" y="1386638"/>
                  <a:pt x="709802" y="1383286"/>
                  <a:pt x="697967" y="1385046"/>
                </a:cubicBezTo>
                <a:cubicBezTo>
                  <a:pt x="671697" y="1388954"/>
                  <a:pt x="645454" y="1393360"/>
                  <a:pt x="619039" y="1395892"/>
                </a:cubicBezTo>
                <a:cubicBezTo>
                  <a:pt x="584863" y="1399168"/>
                  <a:pt x="550531" y="1400815"/>
                  <a:pt x="513928" y="1403203"/>
                </a:cubicBezTo>
                <a:moveTo>
                  <a:pt x="462814" y="375981"/>
                </a:moveTo>
                <a:cubicBezTo>
                  <a:pt x="488207" y="375927"/>
                  <a:pt x="513601" y="375954"/>
                  <a:pt x="538992" y="375736"/>
                </a:cubicBezTo>
                <a:cubicBezTo>
                  <a:pt x="543170" y="375700"/>
                  <a:pt x="547338" y="374587"/>
                  <a:pt x="551835" y="373923"/>
                </a:cubicBezTo>
                <a:cubicBezTo>
                  <a:pt x="550780" y="364535"/>
                  <a:pt x="545320" y="360090"/>
                  <a:pt x="539689" y="356085"/>
                </a:cubicBezTo>
                <a:cubicBezTo>
                  <a:pt x="533696" y="351821"/>
                  <a:pt x="527145" y="348349"/>
                  <a:pt x="521074" y="344186"/>
                </a:cubicBezTo>
                <a:cubicBezTo>
                  <a:pt x="515783" y="340559"/>
                  <a:pt x="510232" y="339198"/>
                  <a:pt x="503789" y="339280"/>
                </a:cubicBezTo>
                <a:cubicBezTo>
                  <a:pt x="470618" y="339700"/>
                  <a:pt x="437443" y="339744"/>
                  <a:pt x="404270" y="339994"/>
                </a:cubicBezTo>
                <a:cubicBezTo>
                  <a:pt x="400758" y="340021"/>
                  <a:pt x="397250" y="340529"/>
                  <a:pt x="393081" y="340868"/>
                </a:cubicBezTo>
                <a:cubicBezTo>
                  <a:pt x="393653" y="352908"/>
                  <a:pt x="392145" y="363845"/>
                  <a:pt x="395001" y="375976"/>
                </a:cubicBezTo>
                <a:cubicBezTo>
                  <a:pt x="417133" y="375976"/>
                  <a:pt x="438745" y="375976"/>
                  <a:pt x="462814" y="375981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52" name="Free-form: Shape 151">
            <a:extLst>
              <a:ext uri="{FF2B5EF4-FFF2-40B4-BE49-F238E27FC236}">
                <a16:creationId xmlns:a16="http://schemas.microsoft.com/office/drawing/2014/main" id="{9A7D256C-B0DD-395A-3DD7-6328EE390543}"/>
              </a:ext>
            </a:extLst>
          </p:cNvPr>
          <p:cNvSpPr/>
          <p:nvPr/>
        </p:nvSpPr>
        <p:spPr>
          <a:xfrm>
            <a:off x="4297414" y="4375559"/>
            <a:ext cx="155564" cy="520442"/>
          </a:xfrm>
          <a:custGeom>
            <a:avLst/>
            <a:gdLst>
              <a:gd name="csX0" fmla="*/ 121535 w 201493"/>
              <a:gd name="csY0" fmla="*/ 11562 h 612813"/>
              <a:gd name="csX1" fmla="*/ 201493 w 201493"/>
              <a:gd name="csY1" fmla="*/ 611498 h 612813"/>
              <a:gd name="csX2" fmla="*/ 134368 w 201493"/>
              <a:gd name="csY2" fmla="*/ 611133 h 612813"/>
              <a:gd name="csX3" fmla="*/ 68030 w 201493"/>
              <a:gd name="csY3" fmla="*/ 611056 h 612813"/>
              <a:gd name="csX4" fmla="*/ 1357 w 201493"/>
              <a:gd name="csY4" fmla="*/ 611050 h 612813"/>
              <a:gd name="csX5" fmla="*/ 3 w 201493"/>
              <a:gd name="csY5" fmla="*/ 604601 h 612813"/>
              <a:gd name="csX6" fmla="*/ 1350 w 201493"/>
              <a:gd name="csY6" fmla="*/ 571511 h 612813"/>
              <a:gd name="csX7" fmla="*/ 4661 w 201493"/>
              <a:gd name="csY7" fmla="*/ 420505 h 612813"/>
              <a:gd name="csX8" fmla="*/ 7130 w 201493"/>
              <a:gd name="csY8" fmla="*/ 324777 h 612813"/>
              <a:gd name="csX9" fmla="*/ 11991 w 201493"/>
              <a:gd name="csY9" fmla="*/ 133315 h 612813"/>
              <a:gd name="csX10" fmla="*/ 13695 w 201493"/>
              <a:gd name="csY10" fmla="*/ 19144 h 612813"/>
              <a:gd name="csX11" fmla="*/ 13702 w 201493"/>
              <a:gd name="csY11" fmla="*/ 8029 h 612813"/>
              <a:gd name="csX12" fmla="*/ 120926 w 201493"/>
              <a:gd name="csY12" fmla="*/ 0 h 612813"/>
              <a:gd name="csX13" fmla="*/ 121535 w 201493"/>
              <a:gd name="csY13" fmla="*/ 11562 h 61281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</a:cxnLst>
            <a:rect l="l" t="t" r="r" b="b"/>
            <a:pathLst>
              <a:path w="201493" h="612813">
                <a:moveTo>
                  <a:pt x="121535" y="11562"/>
                </a:moveTo>
                <a:cubicBezTo>
                  <a:pt x="119691" y="215664"/>
                  <a:pt x="151865" y="414144"/>
                  <a:pt x="201493" y="611498"/>
                </a:cubicBezTo>
                <a:cubicBezTo>
                  <a:pt x="178066" y="614799"/>
                  <a:pt x="156197" y="610806"/>
                  <a:pt x="134368" y="611133"/>
                </a:cubicBezTo>
                <a:cubicBezTo>
                  <a:pt x="112261" y="611465"/>
                  <a:pt x="90143" y="611084"/>
                  <a:pt x="68030" y="611056"/>
                </a:cubicBezTo>
                <a:cubicBezTo>
                  <a:pt x="45965" y="611028"/>
                  <a:pt x="23900" y="611050"/>
                  <a:pt x="1357" y="611050"/>
                </a:cubicBezTo>
                <a:cubicBezTo>
                  <a:pt x="769" y="608377"/>
                  <a:pt x="-56" y="606475"/>
                  <a:pt x="3" y="604601"/>
                </a:cubicBezTo>
                <a:cubicBezTo>
                  <a:pt x="349" y="593568"/>
                  <a:pt x="1095" y="582545"/>
                  <a:pt x="1350" y="571511"/>
                </a:cubicBezTo>
                <a:cubicBezTo>
                  <a:pt x="2513" y="521177"/>
                  <a:pt x="3506" y="470839"/>
                  <a:pt x="4661" y="420505"/>
                </a:cubicBezTo>
                <a:cubicBezTo>
                  <a:pt x="5393" y="388594"/>
                  <a:pt x="6308" y="356686"/>
                  <a:pt x="7130" y="324777"/>
                </a:cubicBezTo>
                <a:cubicBezTo>
                  <a:pt x="8772" y="260956"/>
                  <a:pt x="10555" y="197140"/>
                  <a:pt x="11991" y="133315"/>
                </a:cubicBezTo>
                <a:cubicBezTo>
                  <a:pt x="12846" y="95264"/>
                  <a:pt x="13154" y="57201"/>
                  <a:pt x="13695" y="19144"/>
                </a:cubicBezTo>
                <a:cubicBezTo>
                  <a:pt x="13746" y="15501"/>
                  <a:pt x="13702" y="11858"/>
                  <a:pt x="13702" y="8029"/>
                </a:cubicBezTo>
                <a:cubicBezTo>
                  <a:pt x="49725" y="5331"/>
                  <a:pt x="84908" y="2697"/>
                  <a:pt x="120926" y="0"/>
                </a:cubicBezTo>
                <a:cubicBezTo>
                  <a:pt x="121113" y="3199"/>
                  <a:pt x="121323" y="6798"/>
                  <a:pt x="121535" y="11562"/>
                </a:cubicBezTo>
                <a:close/>
              </a:path>
            </a:pathLst>
          </a:custGeom>
          <a:solidFill>
            <a:srgbClr val="FDFDFD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53" name="Free-form: Shape 152">
            <a:extLst>
              <a:ext uri="{FF2B5EF4-FFF2-40B4-BE49-F238E27FC236}">
                <a16:creationId xmlns:a16="http://schemas.microsoft.com/office/drawing/2014/main" id="{4BD643AF-44C8-2944-7386-1ABADA97C5C0}"/>
              </a:ext>
            </a:extLst>
          </p:cNvPr>
          <p:cNvSpPr/>
          <p:nvPr/>
        </p:nvSpPr>
        <p:spPr>
          <a:xfrm>
            <a:off x="4301222" y="4935908"/>
            <a:ext cx="250431" cy="194755"/>
          </a:xfrm>
          <a:custGeom>
            <a:avLst/>
            <a:gdLst>
              <a:gd name="csX0" fmla="*/ 77135 w 324367"/>
              <a:gd name="csY0" fmla="*/ 11670 h 229322"/>
              <a:gd name="csX1" fmla="*/ 146795 w 324367"/>
              <a:gd name="csY1" fmla="*/ 7480 h 229322"/>
              <a:gd name="csX2" fmla="*/ 207718 w 324367"/>
              <a:gd name="csY2" fmla="*/ 1232 h 229322"/>
              <a:gd name="csX3" fmla="*/ 219215 w 324367"/>
              <a:gd name="csY3" fmla="*/ 0 h 229322"/>
              <a:gd name="csX4" fmla="*/ 222536 w 324367"/>
              <a:gd name="csY4" fmla="*/ 12108 h 229322"/>
              <a:gd name="csX5" fmla="*/ 255647 w 324367"/>
              <a:gd name="csY5" fmla="*/ 76552 h 229322"/>
              <a:gd name="csX6" fmla="*/ 302610 w 324367"/>
              <a:gd name="csY6" fmla="*/ 128236 h 229322"/>
              <a:gd name="csX7" fmla="*/ 323355 w 324367"/>
              <a:gd name="csY7" fmla="*/ 207159 h 229322"/>
              <a:gd name="csX8" fmla="*/ 151 w 324367"/>
              <a:gd name="csY8" fmla="*/ 227930 h 229322"/>
              <a:gd name="csX9" fmla="*/ 3855 w 324367"/>
              <a:gd name="csY9" fmla="*/ 119190 h 229322"/>
              <a:gd name="csX10" fmla="*/ 0 w 324367"/>
              <a:gd name="csY10" fmla="*/ 11685 h 229322"/>
              <a:gd name="csX11" fmla="*/ 77135 w 324367"/>
              <a:gd name="csY11" fmla="*/ 11670 h 22932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324367" h="229322">
                <a:moveTo>
                  <a:pt x="77135" y="11670"/>
                </a:moveTo>
                <a:cubicBezTo>
                  <a:pt x="101131" y="10299"/>
                  <a:pt x="123996" y="9293"/>
                  <a:pt x="146795" y="7480"/>
                </a:cubicBezTo>
                <a:cubicBezTo>
                  <a:pt x="167139" y="5862"/>
                  <a:pt x="187413" y="3352"/>
                  <a:pt x="207718" y="1232"/>
                </a:cubicBezTo>
                <a:cubicBezTo>
                  <a:pt x="211305" y="858"/>
                  <a:pt x="214891" y="464"/>
                  <a:pt x="219215" y="0"/>
                </a:cubicBezTo>
                <a:cubicBezTo>
                  <a:pt x="220448" y="4433"/>
                  <a:pt x="221789" y="8213"/>
                  <a:pt x="222536" y="12108"/>
                </a:cubicBezTo>
                <a:cubicBezTo>
                  <a:pt x="227274" y="36843"/>
                  <a:pt x="237933" y="58320"/>
                  <a:pt x="255647" y="76552"/>
                </a:cubicBezTo>
                <a:cubicBezTo>
                  <a:pt x="271868" y="93249"/>
                  <a:pt x="288407" y="109878"/>
                  <a:pt x="302610" y="128236"/>
                </a:cubicBezTo>
                <a:cubicBezTo>
                  <a:pt x="320215" y="150993"/>
                  <a:pt x="327166" y="177648"/>
                  <a:pt x="323355" y="207159"/>
                </a:cubicBezTo>
                <a:cubicBezTo>
                  <a:pt x="216542" y="225668"/>
                  <a:pt x="109259" y="232554"/>
                  <a:pt x="151" y="227930"/>
                </a:cubicBezTo>
                <a:cubicBezTo>
                  <a:pt x="1495" y="191410"/>
                  <a:pt x="3878" y="155299"/>
                  <a:pt x="3855" y="119190"/>
                </a:cubicBezTo>
                <a:cubicBezTo>
                  <a:pt x="3834" y="83413"/>
                  <a:pt x="1388" y="47637"/>
                  <a:pt x="0" y="11685"/>
                </a:cubicBezTo>
                <a:cubicBezTo>
                  <a:pt x="25514" y="11685"/>
                  <a:pt x="50744" y="11685"/>
                  <a:pt x="77135" y="11670"/>
                </a:cubicBezTo>
                <a:close/>
              </a:path>
            </a:pathLst>
          </a:custGeom>
          <a:solidFill>
            <a:srgbClr val="FDFEFE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54" name="Free-form: Shape 153">
            <a:extLst>
              <a:ext uri="{FF2B5EF4-FFF2-40B4-BE49-F238E27FC236}">
                <a16:creationId xmlns:a16="http://schemas.microsoft.com/office/drawing/2014/main" id="{2B3E3BB6-2FE8-6816-9B39-E716BDF4575D}"/>
              </a:ext>
            </a:extLst>
          </p:cNvPr>
          <p:cNvSpPr/>
          <p:nvPr/>
        </p:nvSpPr>
        <p:spPr>
          <a:xfrm>
            <a:off x="4287523" y="4011227"/>
            <a:ext cx="176355" cy="229704"/>
          </a:xfrm>
          <a:custGeom>
            <a:avLst/>
            <a:gdLst>
              <a:gd name="csX0" fmla="*/ 104636 w 228422"/>
              <a:gd name="csY0" fmla="*/ 81707 h 270473"/>
              <a:gd name="csX1" fmla="*/ 159689 w 228422"/>
              <a:gd name="csY1" fmla="*/ 83584 h 270473"/>
              <a:gd name="csX2" fmla="*/ 178665 w 228422"/>
              <a:gd name="csY2" fmla="*/ 68119 h 270473"/>
              <a:gd name="csX3" fmla="*/ 186448 w 228422"/>
              <a:gd name="csY3" fmla="*/ 20996 h 270473"/>
              <a:gd name="csX4" fmla="*/ 188779 w 228422"/>
              <a:gd name="csY4" fmla="*/ 7950 h 270473"/>
              <a:gd name="csX5" fmla="*/ 228146 w 228422"/>
              <a:gd name="csY5" fmla="*/ 14593 h 270473"/>
              <a:gd name="csX6" fmla="*/ 228030 w 228422"/>
              <a:gd name="csY6" fmla="*/ 40316 h 270473"/>
              <a:gd name="csX7" fmla="*/ 210907 w 228422"/>
              <a:gd name="csY7" fmla="*/ 157740 h 270473"/>
              <a:gd name="csX8" fmla="*/ 160928 w 228422"/>
              <a:gd name="csY8" fmla="*/ 245220 h 270473"/>
              <a:gd name="csX9" fmla="*/ 144327 w 228422"/>
              <a:gd name="csY9" fmla="*/ 264825 h 270473"/>
              <a:gd name="csX10" fmla="*/ 135745 w 228422"/>
              <a:gd name="csY10" fmla="*/ 270212 h 270473"/>
              <a:gd name="csX11" fmla="*/ 28028 w 228422"/>
              <a:gd name="csY11" fmla="*/ 270451 h 270473"/>
              <a:gd name="csX12" fmla="*/ 24984 w 228422"/>
              <a:gd name="csY12" fmla="*/ 243363 h 270473"/>
              <a:gd name="csX13" fmla="*/ 13372 w 228422"/>
              <a:gd name="csY13" fmla="*/ 172017 h 270473"/>
              <a:gd name="csX14" fmla="*/ 172 w 228422"/>
              <a:gd name="csY14" fmla="*/ 41741 h 270473"/>
              <a:gd name="csX15" fmla="*/ 1991 w 228422"/>
              <a:gd name="csY15" fmla="*/ 9927 h 270473"/>
              <a:gd name="csX16" fmla="*/ 11535 w 228422"/>
              <a:gd name="csY16" fmla="*/ 11 h 270473"/>
              <a:gd name="csX17" fmla="*/ 60320 w 228422"/>
              <a:gd name="csY17" fmla="*/ 4 h 270473"/>
              <a:gd name="csX18" fmla="*/ 63319 w 228422"/>
              <a:gd name="csY18" fmla="*/ 34595 h 270473"/>
              <a:gd name="csX19" fmla="*/ 63995 w 228422"/>
              <a:gd name="csY19" fmla="*/ 65276 h 270473"/>
              <a:gd name="csX20" fmla="*/ 77770 w 228422"/>
              <a:gd name="csY20" fmla="*/ 80309 h 270473"/>
              <a:gd name="csX21" fmla="*/ 104636 w 228422"/>
              <a:gd name="csY21" fmla="*/ 81707 h 27047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</a:cxnLst>
            <a:rect l="l" t="t" r="r" b="b"/>
            <a:pathLst>
              <a:path w="228422" h="270473">
                <a:moveTo>
                  <a:pt x="104636" y="81707"/>
                </a:moveTo>
                <a:cubicBezTo>
                  <a:pt x="123750" y="82425"/>
                  <a:pt x="141717" y="83526"/>
                  <a:pt x="159689" y="83584"/>
                </a:cubicBezTo>
                <a:cubicBezTo>
                  <a:pt x="170998" y="83621"/>
                  <a:pt x="176351" y="79300"/>
                  <a:pt x="178665" y="68119"/>
                </a:cubicBezTo>
                <a:cubicBezTo>
                  <a:pt x="181890" y="52542"/>
                  <a:pt x="183892" y="36712"/>
                  <a:pt x="186448" y="20996"/>
                </a:cubicBezTo>
                <a:cubicBezTo>
                  <a:pt x="187087" y="17068"/>
                  <a:pt x="187844" y="13160"/>
                  <a:pt x="188779" y="7950"/>
                </a:cubicBezTo>
                <a:cubicBezTo>
                  <a:pt x="202480" y="10262"/>
                  <a:pt x="215113" y="12394"/>
                  <a:pt x="228146" y="14593"/>
                </a:cubicBezTo>
                <a:cubicBezTo>
                  <a:pt x="228146" y="24129"/>
                  <a:pt x="228839" y="32299"/>
                  <a:pt x="228030" y="40316"/>
                </a:cubicBezTo>
                <a:cubicBezTo>
                  <a:pt x="224051" y="79707"/>
                  <a:pt x="222678" y="119563"/>
                  <a:pt x="210907" y="157740"/>
                </a:cubicBezTo>
                <a:cubicBezTo>
                  <a:pt x="200806" y="190502"/>
                  <a:pt x="186090" y="220845"/>
                  <a:pt x="160928" y="245220"/>
                </a:cubicBezTo>
                <a:cubicBezTo>
                  <a:pt x="154810" y="251147"/>
                  <a:pt x="150112" y="258517"/>
                  <a:pt x="144327" y="264825"/>
                </a:cubicBezTo>
                <a:cubicBezTo>
                  <a:pt x="142086" y="267268"/>
                  <a:pt x="138659" y="270182"/>
                  <a:pt x="135745" y="270212"/>
                </a:cubicBezTo>
                <a:cubicBezTo>
                  <a:pt x="100181" y="270580"/>
                  <a:pt x="64612" y="270451"/>
                  <a:pt x="28028" y="270451"/>
                </a:cubicBezTo>
                <a:cubicBezTo>
                  <a:pt x="26976" y="260883"/>
                  <a:pt x="26343" y="252066"/>
                  <a:pt x="24984" y="243363"/>
                </a:cubicBezTo>
                <a:cubicBezTo>
                  <a:pt x="21268" y="219557"/>
                  <a:pt x="17119" y="195818"/>
                  <a:pt x="13372" y="172017"/>
                </a:cubicBezTo>
                <a:cubicBezTo>
                  <a:pt x="6574" y="128838"/>
                  <a:pt x="-1265" y="85746"/>
                  <a:pt x="172" y="41741"/>
                </a:cubicBezTo>
                <a:cubicBezTo>
                  <a:pt x="518" y="31127"/>
                  <a:pt x="1719" y="20540"/>
                  <a:pt x="1991" y="9927"/>
                </a:cubicBezTo>
                <a:cubicBezTo>
                  <a:pt x="2163" y="3278"/>
                  <a:pt x="4961" y="19"/>
                  <a:pt x="11535" y="11"/>
                </a:cubicBezTo>
                <a:cubicBezTo>
                  <a:pt x="27370" y="-9"/>
                  <a:pt x="43205" y="4"/>
                  <a:pt x="60320" y="4"/>
                </a:cubicBezTo>
                <a:cubicBezTo>
                  <a:pt x="61401" y="12123"/>
                  <a:pt x="62689" y="23341"/>
                  <a:pt x="63319" y="34595"/>
                </a:cubicBezTo>
                <a:cubicBezTo>
                  <a:pt x="63890" y="44802"/>
                  <a:pt x="63444" y="55066"/>
                  <a:pt x="63995" y="65276"/>
                </a:cubicBezTo>
                <a:cubicBezTo>
                  <a:pt x="64588" y="76246"/>
                  <a:pt x="67011" y="79017"/>
                  <a:pt x="77770" y="80309"/>
                </a:cubicBezTo>
                <a:cubicBezTo>
                  <a:pt x="86275" y="81330"/>
                  <a:pt x="94914" y="81244"/>
                  <a:pt x="104636" y="81707"/>
                </a:cubicBezTo>
                <a:close/>
              </a:path>
            </a:pathLst>
          </a:custGeom>
          <a:solidFill>
            <a:srgbClr val="FDFDFD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55" name="Free-form: Shape 154">
            <a:extLst>
              <a:ext uri="{FF2B5EF4-FFF2-40B4-BE49-F238E27FC236}">
                <a16:creationId xmlns:a16="http://schemas.microsoft.com/office/drawing/2014/main" id="{B409A801-86FD-CD0F-BA9F-755E6BF08D01}"/>
              </a:ext>
            </a:extLst>
          </p:cNvPr>
          <p:cNvSpPr/>
          <p:nvPr/>
        </p:nvSpPr>
        <p:spPr>
          <a:xfrm>
            <a:off x="4297798" y="5157740"/>
            <a:ext cx="268594" cy="68395"/>
          </a:xfrm>
          <a:custGeom>
            <a:avLst/>
            <a:gdLst>
              <a:gd name="csX0" fmla="*/ 135775 w 347893"/>
              <a:gd name="csY0" fmla="*/ 18580 h 80534"/>
              <a:gd name="csX1" fmla="*/ 239717 w 347893"/>
              <a:gd name="csY1" fmla="*/ 11288 h 80534"/>
              <a:gd name="csX2" fmla="*/ 318645 w 347893"/>
              <a:gd name="csY2" fmla="*/ 442 h 80534"/>
              <a:gd name="csX3" fmla="*/ 341767 w 347893"/>
              <a:gd name="csY3" fmla="*/ 13145 h 80534"/>
              <a:gd name="csX4" fmla="*/ 347232 w 347893"/>
              <a:gd name="csY4" fmla="*/ 54621 h 80534"/>
              <a:gd name="csX5" fmla="*/ 0 w 347893"/>
              <a:gd name="csY5" fmla="*/ 75820 h 80534"/>
              <a:gd name="csX6" fmla="*/ 0 w 347893"/>
              <a:gd name="csY6" fmla="*/ 19396 h 80534"/>
              <a:gd name="csX7" fmla="*/ 135775 w 347893"/>
              <a:gd name="csY7" fmla="*/ 18580 h 8053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</a:cxnLst>
            <a:rect l="l" t="t" r="r" b="b"/>
            <a:pathLst>
              <a:path w="347893" h="80534">
                <a:moveTo>
                  <a:pt x="135775" y="18580"/>
                </a:moveTo>
                <a:cubicBezTo>
                  <a:pt x="171209" y="16211"/>
                  <a:pt x="205541" y="14564"/>
                  <a:pt x="239717" y="11288"/>
                </a:cubicBezTo>
                <a:cubicBezTo>
                  <a:pt x="266132" y="8756"/>
                  <a:pt x="292375" y="4350"/>
                  <a:pt x="318645" y="442"/>
                </a:cubicBezTo>
                <a:cubicBezTo>
                  <a:pt x="330480" y="-1319"/>
                  <a:pt x="337947" y="2033"/>
                  <a:pt x="341767" y="13145"/>
                </a:cubicBezTo>
                <a:cubicBezTo>
                  <a:pt x="346279" y="26268"/>
                  <a:pt x="349293" y="39746"/>
                  <a:pt x="347232" y="54621"/>
                </a:cubicBezTo>
                <a:cubicBezTo>
                  <a:pt x="232188" y="77697"/>
                  <a:pt x="116756" y="86979"/>
                  <a:pt x="0" y="75820"/>
                </a:cubicBezTo>
                <a:cubicBezTo>
                  <a:pt x="0" y="56279"/>
                  <a:pt x="0" y="38485"/>
                  <a:pt x="0" y="19396"/>
                </a:cubicBezTo>
                <a:cubicBezTo>
                  <a:pt x="45633" y="19126"/>
                  <a:pt x="90119" y="18862"/>
                  <a:pt x="135775" y="18580"/>
                </a:cubicBezTo>
                <a:close/>
              </a:path>
            </a:pathLst>
          </a:custGeom>
          <a:solidFill>
            <a:srgbClr val="FCFDFD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56" name="Free-form: Shape 155">
            <a:extLst>
              <a:ext uri="{FF2B5EF4-FFF2-40B4-BE49-F238E27FC236}">
                <a16:creationId xmlns:a16="http://schemas.microsoft.com/office/drawing/2014/main" id="{C3AB568F-6AE3-CBA8-1C1D-66655CB26DEF}"/>
              </a:ext>
            </a:extLst>
          </p:cNvPr>
          <p:cNvSpPr/>
          <p:nvPr/>
        </p:nvSpPr>
        <p:spPr>
          <a:xfrm>
            <a:off x="4308421" y="4269977"/>
            <a:ext cx="122568" cy="31169"/>
          </a:xfrm>
          <a:custGeom>
            <a:avLst/>
            <a:gdLst>
              <a:gd name="csX0" fmla="*/ 68505 w 158754"/>
              <a:gd name="csY0" fmla="*/ 36702 h 36701"/>
              <a:gd name="csX1" fmla="*/ 1920 w 158754"/>
              <a:gd name="csY1" fmla="*/ 36699 h 36701"/>
              <a:gd name="csX2" fmla="*/ 0 w 158754"/>
              <a:gd name="csY2" fmla="*/ 1592 h 36701"/>
              <a:gd name="csX3" fmla="*/ 11189 w 158754"/>
              <a:gd name="csY3" fmla="*/ 718 h 36701"/>
              <a:gd name="csX4" fmla="*/ 110708 w 158754"/>
              <a:gd name="csY4" fmla="*/ 3 h 36701"/>
              <a:gd name="csX5" fmla="*/ 127993 w 158754"/>
              <a:gd name="csY5" fmla="*/ 4910 h 36701"/>
              <a:gd name="csX6" fmla="*/ 146608 w 158754"/>
              <a:gd name="csY6" fmla="*/ 16808 h 36701"/>
              <a:gd name="csX7" fmla="*/ 158755 w 158754"/>
              <a:gd name="csY7" fmla="*/ 34647 h 36701"/>
              <a:gd name="csX8" fmla="*/ 145911 w 158754"/>
              <a:gd name="csY8" fmla="*/ 36459 h 36701"/>
              <a:gd name="csX9" fmla="*/ 68505 w 158754"/>
              <a:gd name="csY9" fmla="*/ 36702 h 3670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158754" h="36701">
                <a:moveTo>
                  <a:pt x="68505" y="36702"/>
                </a:moveTo>
                <a:cubicBezTo>
                  <a:pt x="45664" y="36699"/>
                  <a:pt x="24052" y="36699"/>
                  <a:pt x="1920" y="36699"/>
                </a:cubicBezTo>
                <a:cubicBezTo>
                  <a:pt x="-935" y="24569"/>
                  <a:pt x="572" y="13631"/>
                  <a:pt x="0" y="1592"/>
                </a:cubicBezTo>
                <a:cubicBezTo>
                  <a:pt x="4169" y="1253"/>
                  <a:pt x="7677" y="744"/>
                  <a:pt x="11189" y="718"/>
                </a:cubicBezTo>
                <a:cubicBezTo>
                  <a:pt x="44362" y="468"/>
                  <a:pt x="77538" y="423"/>
                  <a:pt x="110708" y="3"/>
                </a:cubicBezTo>
                <a:cubicBezTo>
                  <a:pt x="117152" y="-78"/>
                  <a:pt x="122702" y="1282"/>
                  <a:pt x="127993" y="4910"/>
                </a:cubicBezTo>
                <a:cubicBezTo>
                  <a:pt x="134065" y="9072"/>
                  <a:pt x="140615" y="12545"/>
                  <a:pt x="146608" y="16808"/>
                </a:cubicBezTo>
                <a:cubicBezTo>
                  <a:pt x="152239" y="20814"/>
                  <a:pt x="157699" y="25259"/>
                  <a:pt x="158755" y="34647"/>
                </a:cubicBezTo>
                <a:cubicBezTo>
                  <a:pt x="154257" y="35310"/>
                  <a:pt x="150089" y="36424"/>
                  <a:pt x="145911" y="36459"/>
                </a:cubicBezTo>
                <a:cubicBezTo>
                  <a:pt x="120520" y="36677"/>
                  <a:pt x="95126" y="36650"/>
                  <a:pt x="68505" y="36702"/>
                </a:cubicBezTo>
                <a:close/>
              </a:path>
            </a:pathLst>
          </a:custGeom>
          <a:solidFill>
            <a:srgbClr val="FBFCFB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57" name="TextBox 156">
            <a:extLst>
              <a:ext uri="{FF2B5EF4-FFF2-40B4-BE49-F238E27FC236}">
                <a16:creationId xmlns:a16="http://schemas.microsoft.com/office/drawing/2014/main" id="{9FFDEAD9-7F32-534F-6C6A-5C7234B17301}"/>
              </a:ext>
            </a:extLst>
          </p:cNvPr>
          <p:cNvSpPr txBox="1"/>
          <p:nvPr/>
        </p:nvSpPr>
        <p:spPr>
          <a:xfrm>
            <a:off x="3659215" y="5340990"/>
            <a:ext cx="1191781" cy="3927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linical trial*</a:t>
            </a:r>
          </a:p>
        </p:txBody>
      </p:sp>
      <p:sp>
        <p:nvSpPr>
          <p:cNvPr id="158" name="Oval 157">
            <a:extLst>
              <a:ext uri="{FF2B5EF4-FFF2-40B4-BE49-F238E27FC236}">
                <a16:creationId xmlns:a16="http://schemas.microsoft.com/office/drawing/2014/main" id="{FD8D2893-5DB5-EA01-C86A-2D67F4DCD173}"/>
              </a:ext>
            </a:extLst>
          </p:cNvPr>
          <p:cNvSpPr/>
          <p:nvPr/>
        </p:nvSpPr>
        <p:spPr>
          <a:xfrm>
            <a:off x="2525089" y="2766382"/>
            <a:ext cx="593138" cy="104135"/>
          </a:xfrm>
          <a:prstGeom prst="ellipse">
            <a:avLst/>
          </a:prstGeom>
          <a:solidFill>
            <a:schemeClr val="tx1">
              <a:alpha val="6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59" name="Free-form: Shape 158">
            <a:extLst>
              <a:ext uri="{FF2B5EF4-FFF2-40B4-BE49-F238E27FC236}">
                <a16:creationId xmlns:a16="http://schemas.microsoft.com/office/drawing/2014/main" id="{A048A5D9-8E62-029E-9D42-37C7678A4039}"/>
              </a:ext>
            </a:extLst>
          </p:cNvPr>
          <p:cNvSpPr/>
          <p:nvPr/>
        </p:nvSpPr>
        <p:spPr>
          <a:xfrm>
            <a:off x="2623755" y="2085731"/>
            <a:ext cx="433137" cy="770022"/>
          </a:xfrm>
          <a:custGeom>
            <a:avLst/>
            <a:gdLst>
              <a:gd name="csX0" fmla="*/ 581793 w 697572"/>
              <a:gd name="csY0" fmla="*/ 1234401 h 1240128"/>
              <a:gd name="csX1" fmla="*/ 577427 w 697572"/>
              <a:gd name="csY1" fmla="*/ 1234156 h 1240128"/>
              <a:gd name="csX2" fmla="*/ 559133 w 697572"/>
              <a:gd name="csY2" fmla="*/ 1230909 h 1240128"/>
              <a:gd name="csX3" fmla="*/ 516706 w 697572"/>
              <a:gd name="csY3" fmla="*/ 1235117 h 1240128"/>
              <a:gd name="csX4" fmla="*/ 475244 w 697572"/>
              <a:gd name="csY4" fmla="*/ 1237506 h 1240128"/>
              <a:gd name="csX5" fmla="*/ 371154 w 697572"/>
              <a:gd name="csY5" fmla="*/ 1239428 h 1240128"/>
              <a:gd name="csX6" fmla="*/ 276813 w 697572"/>
              <a:gd name="csY6" fmla="*/ 1237654 h 1240128"/>
              <a:gd name="csX7" fmla="*/ 268212 w 697572"/>
              <a:gd name="csY7" fmla="*/ 1237635 h 1240128"/>
              <a:gd name="csX8" fmla="*/ 262072 w 697572"/>
              <a:gd name="csY8" fmla="*/ 1237523 h 1240128"/>
              <a:gd name="csX9" fmla="*/ 195111 w 697572"/>
              <a:gd name="csY9" fmla="*/ 1232775 h 1240128"/>
              <a:gd name="csX10" fmla="*/ 145060 w 697572"/>
              <a:gd name="csY10" fmla="*/ 1230076 h 1240128"/>
              <a:gd name="csX11" fmla="*/ 114933 w 697572"/>
              <a:gd name="csY11" fmla="*/ 1225832 h 1240128"/>
              <a:gd name="csX12" fmla="*/ 72642 w 697572"/>
              <a:gd name="csY12" fmla="*/ 1220237 h 1240128"/>
              <a:gd name="csX13" fmla="*/ 10894 w 697572"/>
              <a:gd name="csY13" fmla="*/ 1205737 h 1240128"/>
              <a:gd name="csX14" fmla="*/ 5856 w 697572"/>
              <a:gd name="csY14" fmla="*/ 1202799 h 1240128"/>
              <a:gd name="csX15" fmla="*/ 40 w 697572"/>
              <a:gd name="csY15" fmla="*/ 1174450 h 1240128"/>
              <a:gd name="csX16" fmla="*/ 19831 w 697572"/>
              <a:gd name="csY16" fmla="*/ 1118410 h 1240128"/>
              <a:gd name="csX17" fmla="*/ 22004 w 697572"/>
              <a:gd name="csY17" fmla="*/ 1107240 h 1240128"/>
              <a:gd name="csX18" fmla="*/ 25947 w 697572"/>
              <a:gd name="csY18" fmla="*/ 1038650 h 1240128"/>
              <a:gd name="csX19" fmla="*/ 58234 w 697572"/>
              <a:gd name="csY19" fmla="*/ 988567 h 1240128"/>
              <a:gd name="csX20" fmla="*/ 118645 w 697572"/>
              <a:gd name="csY20" fmla="*/ 928298 h 1240128"/>
              <a:gd name="csX21" fmla="*/ 126320 w 697572"/>
              <a:gd name="csY21" fmla="*/ 892015 h 1240128"/>
              <a:gd name="csX22" fmla="*/ 120345 w 697572"/>
              <a:gd name="csY22" fmla="*/ 872258 h 1240128"/>
              <a:gd name="csX23" fmla="*/ 125668 w 697572"/>
              <a:gd name="csY23" fmla="*/ 861640 h 1240128"/>
              <a:gd name="csX24" fmla="*/ 154237 w 697572"/>
              <a:gd name="csY24" fmla="*/ 850716 h 1240128"/>
              <a:gd name="csX25" fmla="*/ 170248 w 697572"/>
              <a:gd name="csY25" fmla="*/ 836767 h 1240128"/>
              <a:gd name="csX26" fmla="*/ 187840 w 697572"/>
              <a:gd name="csY26" fmla="*/ 796341 h 1240128"/>
              <a:gd name="csX27" fmla="*/ 209346 w 697572"/>
              <a:gd name="csY27" fmla="*/ 743126 h 1240128"/>
              <a:gd name="csX28" fmla="*/ 210630 w 697572"/>
              <a:gd name="csY28" fmla="*/ 737219 h 1240128"/>
              <a:gd name="csX29" fmla="*/ 213836 w 697572"/>
              <a:gd name="csY29" fmla="*/ 720505 h 1240128"/>
              <a:gd name="csX30" fmla="*/ 227791 w 697572"/>
              <a:gd name="csY30" fmla="*/ 667353 h 1240128"/>
              <a:gd name="csX31" fmla="*/ 241013 w 697572"/>
              <a:gd name="csY31" fmla="*/ 599151 h 1240128"/>
              <a:gd name="csX32" fmla="*/ 247322 w 697572"/>
              <a:gd name="csY32" fmla="*/ 542242 h 1240128"/>
              <a:gd name="csX33" fmla="*/ 247948 w 697572"/>
              <a:gd name="csY33" fmla="*/ 499296 h 1240128"/>
              <a:gd name="csX34" fmla="*/ 247577 w 697572"/>
              <a:gd name="csY34" fmla="*/ 470384 h 1240128"/>
              <a:gd name="csX35" fmla="*/ 238877 w 697572"/>
              <a:gd name="csY35" fmla="*/ 460987 h 1240128"/>
              <a:gd name="csX36" fmla="*/ 222040 w 697572"/>
              <a:gd name="csY36" fmla="*/ 458353 h 1240128"/>
              <a:gd name="csX37" fmla="*/ 172193 w 697572"/>
              <a:gd name="csY37" fmla="*/ 433714 h 1240128"/>
              <a:gd name="csX38" fmla="*/ 168410 w 697572"/>
              <a:gd name="csY38" fmla="*/ 396591 h 1240128"/>
              <a:gd name="csX39" fmla="*/ 209826 w 697572"/>
              <a:gd name="csY39" fmla="*/ 367773 h 1240128"/>
              <a:gd name="csX40" fmla="*/ 250732 w 697572"/>
              <a:gd name="csY40" fmla="*/ 355208 h 1240128"/>
              <a:gd name="csX41" fmla="*/ 258289 w 697572"/>
              <a:gd name="csY41" fmla="*/ 350426 h 1240128"/>
              <a:gd name="csX42" fmla="*/ 233274 w 697572"/>
              <a:gd name="csY42" fmla="*/ 333513 h 1240128"/>
              <a:gd name="csX43" fmla="*/ 229677 w 697572"/>
              <a:gd name="csY43" fmla="*/ 333922 h 1240128"/>
              <a:gd name="csX44" fmla="*/ 230149 w 697572"/>
              <a:gd name="csY44" fmla="*/ 332979 h 1240128"/>
              <a:gd name="csX45" fmla="*/ 227053 w 697572"/>
              <a:gd name="csY45" fmla="*/ 327076 h 1240128"/>
              <a:gd name="csX46" fmla="*/ 196769 w 697572"/>
              <a:gd name="csY46" fmla="*/ 291380 h 1240128"/>
              <a:gd name="csX47" fmla="*/ 184389 w 697572"/>
              <a:gd name="csY47" fmla="*/ 264042 h 1240128"/>
              <a:gd name="csX48" fmla="*/ 180630 w 697572"/>
              <a:gd name="csY48" fmla="*/ 257839 h 1240128"/>
              <a:gd name="csX49" fmla="*/ 176231 w 697572"/>
              <a:gd name="csY49" fmla="*/ 250643 h 1240128"/>
              <a:gd name="csX50" fmla="*/ 170073 w 697572"/>
              <a:gd name="csY50" fmla="*/ 146723 h 1240128"/>
              <a:gd name="csX51" fmla="*/ 180929 w 697572"/>
              <a:gd name="csY51" fmla="*/ 114280 h 1240128"/>
              <a:gd name="csX52" fmla="*/ 180839 w 697572"/>
              <a:gd name="csY52" fmla="*/ 101501 h 1240128"/>
              <a:gd name="csX53" fmla="*/ 233536 w 697572"/>
              <a:gd name="csY53" fmla="*/ 39653 h 1240128"/>
              <a:gd name="csX54" fmla="*/ 347618 w 697572"/>
              <a:gd name="csY54" fmla="*/ 35 h 1240128"/>
              <a:gd name="csX55" fmla="*/ 437139 w 697572"/>
              <a:gd name="csY55" fmla="*/ 22396 h 1240128"/>
              <a:gd name="csX56" fmla="*/ 529052 w 697572"/>
              <a:gd name="csY56" fmla="*/ 131093 h 1240128"/>
              <a:gd name="csX57" fmla="*/ 518497 w 697572"/>
              <a:gd name="csY57" fmla="*/ 271517 h 1240128"/>
              <a:gd name="csX58" fmla="*/ 500808 w 697572"/>
              <a:gd name="csY58" fmla="*/ 287385 h 1240128"/>
              <a:gd name="csX59" fmla="*/ 472948 w 697572"/>
              <a:gd name="csY59" fmla="*/ 323290 h 1240128"/>
              <a:gd name="csX60" fmla="*/ 469385 w 697572"/>
              <a:gd name="csY60" fmla="*/ 331565 h 1240128"/>
              <a:gd name="csX61" fmla="*/ 468293 w 697572"/>
              <a:gd name="csY61" fmla="*/ 331320 h 1240128"/>
              <a:gd name="csX62" fmla="*/ 459542 w 697572"/>
              <a:gd name="csY62" fmla="*/ 338942 h 1240128"/>
              <a:gd name="csX63" fmla="*/ 458492 w 697572"/>
              <a:gd name="csY63" fmla="*/ 338671 h 1240128"/>
              <a:gd name="csX64" fmla="*/ 436978 w 697572"/>
              <a:gd name="csY64" fmla="*/ 352226 h 1240128"/>
              <a:gd name="csX65" fmla="*/ 472329 w 697572"/>
              <a:gd name="csY65" fmla="*/ 362890 h 1240128"/>
              <a:gd name="csX66" fmla="*/ 523779 w 697572"/>
              <a:gd name="csY66" fmla="*/ 391962 h 1240128"/>
              <a:gd name="csX67" fmla="*/ 527344 w 697572"/>
              <a:gd name="csY67" fmla="*/ 430096 h 1240128"/>
              <a:gd name="csX68" fmla="*/ 504112 w 697572"/>
              <a:gd name="csY68" fmla="*/ 449628 h 1240128"/>
              <a:gd name="csX69" fmla="*/ 459430 w 697572"/>
              <a:gd name="csY69" fmla="*/ 461116 h 1240128"/>
              <a:gd name="csX70" fmla="*/ 446666 w 697572"/>
              <a:gd name="csY70" fmla="*/ 474229 h 1240128"/>
              <a:gd name="csX71" fmla="*/ 449133 w 697572"/>
              <a:gd name="csY71" fmla="*/ 531639 h 1240128"/>
              <a:gd name="csX72" fmla="*/ 454546 w 697572"/>
              <a:gd name="csY72" fmla="*/ 588688 h 1240128"/>
              <a:gd name="csX73" fmla="*/ 466126 w 697572"/>
              <a:gd name="csY73" fmla="*/ 649736 h 1240128"/>
              <a:gd name="csX74" fmla="*/ 512154 w 697572"/>
              <a:gd name="csY74" fmla="*/ 794006 h 1240128"/>
              <a:gd name="csX75" fmla="*/ 525763 w 697572"/>
              <a:gd name="csY75" fmla="*/ 834323 h 1240128"/>
              <a:gd name="csX76" fmla="*/ 530555 w 697572"/>
              <a:gd name="csY76" fmla="*/ 845114 h 1240128"/>
              <a:gd name="csX77" fmla="*/ 554424 w 697572"/>
              <a:gd name="csY77" fmla="*/ 856618 h 1240128"/>
              <a:gd name="csX78" fmla="*/ 572880 w 697572"/>
              <a:gd name="csY78" fmla="*/ 862546 h 1240128"/>
              <a:gd name="csX79" fmla="*/ 578643 w 697572"/>
              <a:gd name="csY79" fmla="*/ 880396 h 1240128"/>
              <a:gd name="csX80" fmla="*/ 572188 w 697572"/>
              <a:gd name="csY80" fmla="*/ 899820 h 1240128"/>
              <a:gd name="csX81" fmla="*/ 582698 w 697572"/>
              <a:gd name="csY81" fmla="*/ 930382 h 1240128"/>
              <a:gd name="csX82" fmla="*/ 604747 w 697572"/>
              <a:gd name="csY82" fmla="*/ 960852 h 1240128"/>
              <a:gd name="csX83" fmla="*/ 613863 w 697572"/>
              <a:gd name="csY83" fmla="*/ 968311 h 1240128"/>
              <a:gd name="csX84" fmla="*/ 629435 w 697572"/>
              <a:gd name="csY84" fmla="*/ 981186 h 1240128"/>
              <a:gd name="csX85" fmla="*/ 633611 w 697572"/>
              <a:gd name="csY85" fmla="*/ 985609 h 1240128"/>
              <a:gd name="csX86" fmla="*/ 673790 w 697572"/>
              <a:gd name="csY86" fmla="*/ 1049348 h 1240128"/>
              <a:gd name="csX87" fmla="*/ 675873 w 697572"/>
              <a:gd name="csY87" fmla="*/ 1092839 h 1240128"/>
              <a:gd name="csX88" fmla="*/ 681668 w 697572"/>
              <a:gd name="csY88" fmla="*/ 1129292 h 1240128"/>
              <a:gd name="csX89" fmla="*/ 697338 w 697572"/>
              <a:gd name="csY89" fmla="*/ 1196079 h 1240128"/>
              <a:gd name="csX90" fmla="*/ 690637 w 697572"/>
              <a:gd name="csY90" fmla="*/ 1205035 h 1240128"/>
              <a:gd name="csX91" fmla="*/ 639777 w 697572"/>
              <a:gd name="csY91" fmla="*/ 1217994 h 1240128"/>
              <a:gd name="csX92" fmla="*/ 587072 w 697572"/>
              <a:gd name="csY92" fmla="*/ 1227761 h 1240128"/>
              <a:gd name="csX93" fmla="*/ 581793 w 697572"/>
              <a:gd name="csY93" fmla="*/ 1234401 h 1240128"/>
              <a:gd name="csX94" fmla="*/ 357446 w 697572"/>
              <a:gd name="csY94" fmla="*/ 903795 h 1240128"/>
              <a:gd name="csX95" fmla="*/ 344445 w 697572"/>
              <a:gd name="csY95" fmla="*/ 903795 h 1240128"/>
              <a:gd name="csX96" fmla="*/ 349212 w 697572"/>
              <a:gd name="csY96" fmla="*/ 950515 h 1240128"/>
              <a:gd name="csX97" fmla="*/ 349538 w 697572"/>
              <a:gd name="csY97" fmla="*/ 1069392 h 1240128"/>
              <a:gd name="csX98" fmla="*/ 349415 w 697572"/>
              <a:gd name="csY98" fmla="*/ 1108925 h 1240128"/>
              <a:gd name="csX99" fmla="*/ 647726 w 697572"/>
              <a:gd name="csY99" fmla="*/ 1089872 h 1240128"/>
              <a:gd name="csX100" fmla="*/ 647654 w 697572"/>
              <a:gd name="csY100" fmla="*/ 1076267 h 1240128"/>
              <a:gd name="csX101" fmla="*/ 610267 w 697572"/>
              <a:gd name="csY101" fmla="*/ 994126 h 1240128"/>
              <a:gd name="csX102" fmla="*/ 571459 w 697572"/>
              <a:gd name="csY102" fmla="*/ 956568 h 1240128"/>
              <a:gd name="csX103" fmla="*/ 541653 w 697572"/>
              <a:gd name="csY103" fmla="*/ 901544 h 1240128"/>
              <a:gd name="csX104" fmla="*/ 539477 w 697572"/>
              <a:gd name="csY104" fmla="*/ 895908 h 1240128"/>
              <a:gd name="csX105" fmla="*/ 357446 w 697572"/>
              <a:gd name="csY105" fmla="*/ 903795 h 1240128"/>
              <a:gd name="csX106" fmla="*/ 300108 w 697572"/>
              <a:gd name="csY106" fmla="*/ 85260 h 1240128"/>
              <a:gd name="csX107" fmla="*/ 290213 w 697572"/>
              <a:gd name="csY107" fmla="*/ 127888 h 1240128"/>
              <a:gd name="csX108" fmla="*/ 331056 w 697572"/>
              <a:gd name="csY108" fmla="*/ 214168 h 1240128"/>
              <a:gd name="csX109" fmla="*/ 424717 w 697572"/>
              <a:gd name="csY109" fmla="*/ 245160 h 1240128"/>
              <a:gd name="csX110" fmla="*/ 496752 w 697572"/>
              <a:gd name="csY110" fmla="*/ 141256 h 1240128"/>
              <a:gd name="csX111" fmla="*/ 390320 w 697572"/>
              <a:gd name="csY111" fmla="*/ 43995 h 1240128"/>
              <a:gd name="csX112" fmla="*/ 300108 w 697572"/>
              <a:gd name="csY112" fmla="*/ 85260 h 1240128"/>
              <a:gd name="csX113" fmla="*/ 343360 w 697572"/>
              <a:gd name="csY113" fmla="*/ 634332 h 1240128"/>
              <a:gd name="csX114" fmla="*/ 340877 w 697572"/>
              <a:gd name="csY114" fmla="*/ 732259 h 1240128"/>
              <a:gd name="csX115" fmla="*/ 338360 w 697572"/>
              <a:gd name="csY115" fmla="*/ 810538 h 1240128"/>
              <a:gd name="csX116" fmla="*/ 337115 w 697572"/>
              <a:gd name="csY116" fmla="*/ 817736 h 1240128"/>
              <a:gd name="csX117" fmla="*/ 336516 w 697572"/>
              <a:gd name="csY117" fmla="*/ 863022 h 1240128"/>
              <a:gd name="csX118" fmla="*/ 343436 w 697572"/>
              <a:gd name="csY118" fmla="*/ 864027 h 1240128"/>
              <a:gd name="csX119" fmla="*/ 406718 w 697572"/>
              <a:gd name="csY119" fmla="*/ 862982 h 1240128"/>
              <a:gd name="csX120" fmla="*/ 456888 w 697572"/>
              <a:gd name="csY120" fmla="*/ 861794 h 1240128"/>
              <a:gd name="csX121" fmla="*/ 495873 w 697572"/>
              <a:gd name="csY121" fmla="*/ 863963 h 1240128"/>
              <a:gd name="csX122" fmla="*/ 509286 w 697572"/>
              <a:gd name="csY122" fmla="*/ 863595 h 1240128"/>
              <a:gd name="csX123" fmla="*/ 516956 w 697572"/>
              <a:gd name="csY123" fmla="*/ 856791 h 1240128"/>
              <a:gd name="csX124" fmla="*/ 513920 w 697572"/>
              <a:gd name="csY124" fmla="*/ 848709 h 1240128"/>
              <a:gd name="csX125" fmla="*/ 506683 w 697572"/>
              <a:gd name="csY125" fmla="*/ 839054 h 1240128"/>
              <a:gd name="csX126" fmla="*/ 488629 w 697572"/>
              <a:gd name="csY126" fmla="*/ 799037 h 1240128"/>
              <a:gd name="csX127" fmla="*/ 456922 w 697572"/>
              <a:gd name="csY127" fmla="*/ 696297 h 1240128"/>
              <a:gd name="csX128" fmla="*/ 441346 w 697572"/>
              <a:gd name="csY128" fmla="*/ 619885 h 1240128"/>
              <a:gd name="csX129" fmla="*/ 435963 w 697572"/>
              <a:gd name="csY129" fmla="*/ 582529 h 1240128"/>
              <a:gd name="csX130" fmla="*/ 429497 w 697572"/>
              <a:gd name="csY130" fmla="*/ 521990 h 1240128"/>
              <a:gd name="csX131" fmla="*/ 426887 w 697572"/>
              <a:gd name="csY131" fmla="*/ 471989 h 1240128"/>
              <a:gd name="csX132" fmla="*/ 413744 w 697572"/>
              <a:gd name="csY132" fmla="*/ 461077 h 1240128"/>
              <a:gd name="csX133" fmla="*/ 353573 w 697572"/>
              <a:gd name="csY133" fmla="*/ 461120 h 1240128"/>
              <a:gd name="csX134" fmla="*/ 344160 w 697572"/>
              <a:gd name="csY134" fmla="*/ 462286 h 1240128"/>
              <a:gd name="csX135" fmla="*/ 343404 w 697572"/>
              <a:gd name="csY135" fmla="*/ 469192 h 1240128"/>
              <a:gd name="csX136" fmla="*/ 343469 w 697572"/>
              <a:gd name="csY136" fmla="*/ 574797 h 1240128"/>
              <a:gd name="csX137" fmla="*/ 345522 w 697572"/>
              <a:gd name="csY137" fmla="*/ 591669 h 1240128"/>
              <a:gd name="csX138" fmla="*/ 343360 w 697572"/>
              <a:gd name="csY138" fmla="*/ 634332 h 1240128"/>
              <a:gd name="csX139" fmla="*/ 416946 w 697572"/>
              <a:gd name="csY139" fmla="*/ 385943 h 1240128"/>
              <a:gd name="csX140" fmla="*/ 401091 w 697572"/>
              <a:gd name="csY140" fmla="*/ 387162 h 1240128"/>
              <a:gd name="csX141" fmla="*/ 369218 w 697572"/>
              <a:gd name="csY141" fmla="*/ 387708 h 1240128"/>
              <a:gd name="csX142" fmla="*/ 351833 w 697572"/>
              <a:gd name="csY142" fmla="*/ 398991 h 1240128"/>
              <a:gd name="csX143" fmla="*/ 349778 w 697572"/>
              <a:gd name="csY143" fmla="*/ 426021 h 1240128"/>
              <a:gd name="csX144" fmla="*/ 361839 w 697572"/>
              <a:gd name="csY144" fmla="*/ 426538 h 1240128"/>
              <a:gd name="csX145" fmla="*/ 455022 w 697572"/>
              <a:gd name="csY145" fmla="*/ 426922 h 1240128"/>
              <a:gd name="csX146" fmla="*/ 481958 w 697572"/>
              <a:gd name="csY146" fmla="*/ 426527 h 1240128"/>
              <a:gd name="csX147" fmla="*/ 499817 w 697572"/>
              <a:gd name="csY147" fmla="*/ 419888 h 1240128"/>
              <a:gd name="csX148" fmla="*/ 499439 w 697572"/>
              <a:gd name="csY148" fmla="*/ 400719 h 1240128"/>
              <a:gd name="csX149" fmla="*/ 468062 w 697572"/>
              <a:gd name="csY149" fmla="*/ 387775 h 1240128"/>
              <a:gd name="csX150" fmla="*/ 416946 w 697572"/>
              <a:gd name="csY150" fmla="*/ 385943 h 1240128"/>
              <a:gd name="csX151" fmla="*/ 636802 w 697572"/>
              <a:gd name="csY151" fmla="*/ 1190940 h 1240128"/>
              <a:gd name="csX152" fmla="*/ 666492 w 697572"/>
              <a:gd name="csY152" fmla="*/ 1184186 h 1240128"/>
              <a:gd name="csX153" fmla="*/ 674465 w 697572"/>
              <a:gd name="csY153" fmla="*/ 1170880 h 1240128"/>
              <a:gd name="csX154" fmla="*/ 662462 w 697572"/>
              <a:gd name="csY154" fmla="*/ 1141464 h 1240128"/>
              <a:gd name="csX155" fmla="*/ 645564 w 697572"/>
              <a:gd name="csY155" fmla="*/ 1131937 h 1240128"/>
              <a:gd name="csX156" fmla="*/ 627387 w 697572"/>
              <a:gd name="csY156" fmla="*/ 1133618 h 1240128"/>
              <a:gd name="csX157" fmla="*/ 583917 w 697572"/>
              <a:gd name="csY157" fmla="*/ 1139222 h 1240128"/>
              <a:gd name="csX158" fmla="*/ 543741 w 697572"/>
              <a:gd name="csY158" fmla="*/ 1141869 h 1240128"/>
              <a:gd name="csX159" fmla="*/ 512146 w 697572"/>
              <a:gd name="csY159" fmla="*/ 1144418 h 1240128"/>
              <a:gd name="csX160" fmla="*/ 447711 w 697572"/>
              <a:gd name="csY160" fmla="*/ 1148973 h 1240128"/>
              <a:gd name="csX161" fmla="*/ 351979 w 697572"/>
              <a:gd name="csY161" fmla="*/ 1149200 h 1240128"/>
              <a:gd name="csX162" fmla="*/ 338443 w 697572"/>
              <a:gd name="csY162" fmla="*/ 1150040 h 1240128"/>
              <a:gd name="csX163" fmla="*/ 338451 w 697572"/>
              <a:gd name="csY163" fmla="*/ 1190780 h 1240128"/>
              <a:gd name="csX164" fmla="*/ 351082 w 697572"/>
              <a:gd name="csY164" fmla="*/ 1207015 h 1240128"/>
              <a:gd name="csX165" fmla="*/ 358298 w 697572"/>
              <a:gd name="csY165" fmla="*/ 1208094 h 1240128"/>
              <a:gd name="csX166" fmla="*/ 521229 w 697572"/>
              <a:gd name="csY166" fmla="*/ 1205646 h 1240128"/>
              <a:gd name="csX167" fmla="*/ 523675 w 697572"/>
              <a:gd name="csY167" fmla="*/ 1205490 h 1240128"/>
              <a:gd name="csX168" fmla="*/ 580423 w 697572"/>
              <a:gd name="csY168" fmla="*/ 1198350 h 1240128"/>
              <a:gd name="csX169" fmla="*/ 636802 w 697572"/>
              <a:gd name="csY169" fmla="*/ 1190940 h 124012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</a:cxnLst>
            <a:rect l="l" t="t" r="r" b="b"/>
            <a:pathLst>
              <a:path w="697572" h="1240128">
                <a:moveTo>
                  <a:pt x="581793" y="1234401"/>
                </a:moveTo>
                <a:cubicBezTo>
                  <a:pt x="580693" y="1234661"/>
                  <a:pt x="579594" y="1234922"/>
                  <a:pt x="577427" y="1234156"/>
                </a:cubicBezTo>
                <a:cubicBezTo>
                  <a:pt x="571216" y="1227899"/>
                  <a:pt x="564912" y="1230441"/>
                  <a:pt x="559133" y="1230909"/>
                </a:cubicBezTo>
                <a:cubicBezTo>
                  <a:pt x="544971" y="1232056"/>
                  <a:pt x="530869" y="1233971"/>
                  <a:pt x="516706" y="1235117"/>
                </a:cubicBezTo>
                <a:cubicBezTo>
                  <a:pt x="502910" y="1236232"/>
                  <a:pt x="489077" y="1237097"/>
                  <a:pt x="475244" y="1237506"/>
                </a:cubicBezTo>
                <a:cubicBezTo>
                  <a:pt x="440539" y="1238535"/>
                  <a:pt x="405696" y="1241458"/>
                  <a:pt x="371154" y="1239428"/>
                </a:cubicBezTo>
                <a:cubicBezTo>
                  <a:pt x="339645" y="1237575"/>
                  <a:pt x="308239" y="1238753"/>
                  <a:pt x="276813" y="1237654"/>
                </a:cubicBezTo>
                <a:cubicBezTo>
                  <a:pt x="273949" y="1237553"/>
                  <a:pt x="271079" y="1237652"/>
                  <a:pt x="268212" y="1237635"/>
                </a:cubicBezTo>
                <a:cubicBezTo>
                  <a:pt x="266165" y="1237623"/>
                  <a:pt x="264111" y="1237668"/>
                  <a:pt x="262072" y="1237523"/>
                </a:cubicBezTo>
                <a:cubicBezTo>
                  <a:pt x="239751" y="1235944"/>
                  <a:pt x="217441" y="1234201"/>
                  <a:pt x="195111" y="1232775"/>
                </a:cubicBezTo>
                <a:cubicBezTo>
                  <a:pt x="178437" y="1231710"/>
                  <a:pt x="161712" y="1231378"/>
                  <a:pt x="145060" y="1230076"/>
                </a:cubicBezTo>
                <a:cubicBezTo>
                  <a:pt x="134969" y="1229287"/>
                  <a:pt x="124987" y="1227177"/>
                  <a:pt x="114933" y="1225832"/>
                </a:cubicBezTo>
                <a:cubicBezTo>
                  <a:pt x="100834" y="1223946"/>
                  <a:pt x="86554" y="1223022"/>
                  <a:pt x="72642" y="1220237"/>
                </a:cubicBezTo>
                <a:cubicBezTo>
                  <a:pt x="51920" y="1216091"/>
                  <a:pt x="31443" y="1210723"/>
                  <a:pt x="10894" y="1205737"/>
                </a:cubicBezTo>
                <a:cubicBezTo>
                  <a:pt x="9027" y="1205284"/>
                  <a:pt x="6196" y="1204140"/>
                  <a:pt x="5856" y="1202799"/>
                </a:cubicBezTo>
                <a:cubicBezTo>
                  <a:pt x="3474" y="1193418"/>
                  <a:pt x="-438" y="1183796"/>
                  <a:pt x="40" y="1174450"/>
                </a:cubicBezTo>
                <a:cubicBezTo>
                  <a:pt x="1079" y="1154149"/>
                  <a:pt x="9757" y="1135843"/>
                  <a:pt x="19831" y="1118410"/>
                </a:cubicBezTo>
                <a:cubicBezTo>
                  <a:pt x="21968" y="1114713"/>
                  <a:pt x="22970" y="1111858"/>
                  <a:pt x="22004" y="1107240"/>
                </a:cubicBezTo>
                <a:cubicBezTo>
                  <a:pt x="17168" y="1084118"/>
                  <a:pt x="17717" y="1061168"/>
                  <a:pt x="25947" y="1038650"/>
                </a:cubicBezTo>
                <a:cubicBezTo>
                  <a:pt x="32954" y="1019481"/>
                  <a:pt x="44478" y="1003118"/>
                  <a:pt x="58234" y="988567"/>
                </a:cubicBezTo>
                <a:cubicBezTo>
                  <a:pt x="77769" y="967902"/>
                  <a:pt x="97978" y="947832"/>
                  <a:pt x="118645" y="928298"/>
                </a:cubicBezTo>
                <a:cubicBezTo>
                  <a:pt x="130104" y="917467"/>
                  <a:pt x="131835" y="905961"/>
                  <a:pt x="126320" y="892015"/>
                </a:cubicBezTo>
                <a:cubicBezTo>
                  <a:pt x="123798" y="885637"/>
                  <a:pt x="122123" y="878904"/>
                  <a:pt x="120345" y="872258"/>
                </a:cubicBezTo>
                <a:cubicBezTo>
                  <a:pt x="119029" y="867341"/>
                  <a:pt x="120162" y="863613"/>
                  <a:pt x="125668" y="861640"/>
                </a:cubicBezTo>
                <a:cubicBezTo>
                  <a:pt x="135266" y="858201"/>
                  <a:pt x="144535" y="853788"/>
                  <a:pt x="154237" y="850716"/>
                </a:cubicBezTo>
                <a:cubicBezTo>
                  <a:pt x="161882" y="848296"/>
                  <a:pt x="167110" y="843897"/>
                  <a:pt x="170248" y="836767"/>
                </a:cubicBezTo>
                <a:cubicBezTo>
                  <a:pt x="176168" y="823316"/>
                  <a:pt x="182193" y="809907"/>
                  <a:pt x="187840" y="796341"/>
                </a:cubicBezTo>
                <a:cubicBezTo>
                  <a:pt x="195194" y="778679"/>
                  <a:pt x="202250" y="760894"/>
                  <a:pt x="209346" y="743126"/>
                </a:cubicBezTo>
                <a:cubicBezTo>
                  <a:pt x="210083" y="741280"/>
                  <a:pt x="210252" y="739200"/>
                  <a:pt x="210630" y="737219"/>
                </a:cubicBezTo>
                <a:cubicBezTo>
                  <a:pt x="211694" y="731645"/>
                  <a:pt x="212425" y="725987"/>
                  <a:pt x="213836" y="720505"/>
                </a:cubicBezTo>
                <a:cubicBezTo>
                  <a:pt x="218406" y="702764"/>
                  <a:pt x="223811" y="685219"/>
                  <a:pt x="227791" y="667353"/>
                </a:cubicBezTo>
                <a:cubicBezTo>
                  <a:pt x="232826" y="644755"/>
                  <a:pt x="237367" y="622009"/>
                  <a:pt x="241013" y="599151"/>
                </a:cubicBezTo>
                <a:cubicBezTo>
                  <a:pt x="244018" y="580319"/>
                  <a:pt x="246001" y="561272"/>
                  <a:pt x="247322" y="542242"/>
                </a:cubicBezTo>
                <a:cubicBezTo>
                  <a:pt x="248312" y="527975"/>
                  <a:pt x="246344" y="513451"/>
                  <a:pt x="247948" y="499296"/>
                </a:cubicBezTo>
                <a:cubicBezTo>
                  <a:pt x="249066" y="489432"/>
                  <a:pt x="247923" y="480014"/>
                  <a:pt x="247577" y="470384"/>
                </a:cubicBezTo>
                <a:cubicBezTo>
                  <a:pt x="247364" y="464453"/>
                  <a:pt x="245121" y="461397"/>
                  <a:pt x="238877" y="460987"/>
                </a:cubicBezTo>
                <a:cubicBezTo>
                  <a:pt x="233224" y="460615"/>
                  <a:pt x="227461" y="459920"/>
                  <a:pt x="222040" y="458353"/>
                </a:cubicBezTo>
                <a:cubicBezTo>
                  <a:pt x="203991" y="453134"/>
                  <a:pt x="185737" y="448229"/>
                  <a:pt x="172193" y="433714"/>
                </a:cubicBezTo>
                <a:cubicBezTo>
                  <a:pt x="162702" y="423544"/>
                  <a:pt x="160887" y="408134"/>
                  <a:pt x="168410" y="396591"/>
                </a:cubicBezTo>
                <a:cubicBezTo>
                  <a:pt x="178294" y="381428"/>
                  <a:pt x="193736" y="373793"/>
                  <a:pt x="209826" y="367773"/>
                </a:cubicBezTo>
                <a:cubicBezTo>
                  <a:pt x="223159" y="362784"/>
                  <a:pt x="237124" y="359493"/>
                  <a:pt x="250732" y="355208"/>
                </a:cubicBezTo>
                <a:cubicBezTo>
                  <a:pt x="253085" y="354467"/>
                  <a:pt x="255058" y="352518"/>
                  <a:pt x="258289" y="350426"/>
                </a:cubicBezTo>
                <a:cubicBezTo>
                  <a:pt x="250173" y="342610"/>
                  <a:pt x="241833" y="337880"/>
                  <a:pt x="233274" y="333513"/>
                </a:cubicBezTo>
                <a:cubicBezTo>
                  <a:pt x="232377" y="333055"/>
                  <a:pt x="230890" y="333758"/>
                  <a:pt x="229677" y="333922"/>
                </a:cubicBezTo>
                <a:cubicBezTo>
                  <a:pt x="229677" y="333922"/>
                  <a:pt x="230323" y="333834"/>
                  <a:pt x="230149" y="332979"/>
                </a:cubicBezTo>
                <a:cubicBezTo>
                  <a:pt x="229023" y="330409"/>
                  <a:pt x="228502" y="328059"/>
                  <a:pt x="227053" y="327076"/>
                </a:cubicBezTo>
                <a:cubicBezTo>
                  <a:pt x="213615" y="317962"/>
                  <a:pt x="204643" y="305332"/>
                  <a:pt x="196769" y="291380"/>
                </a:cubicBezTo>
                <a:cubicBezTo>
                  <a:pt x="191792" y="282564"/>
                  <a:pt x="185421" y="274665"/>
                  <a:pt x="184389" y="264042"/>
                </a:cubicBezTo>
                <a:cubicBezTo>
                  <a:pt x="184179" y="261874"/>
                  <a:pt x="181925" y="259908"/>
                  <a:pt x="180630" y="257839"/>
                </a:cubicBezTo>
                <a:cubicBezTo>
                  <a:pt x="179137" y="255454"/>
                  <a:pt x="177317" y="253204"/>
                  <a:pt x="176231" y="250643"/>
                </a:cubicBezTo>
                <a:cubicBezTo>
                  <a:pt x="161865" y="216749"/>
                  <a:pt x="159606" y="182060"/>
                  <a:pt x="170073" y="146723"/>
                </a:cubicBezTo>
                <a:cubicBezTo>
                  <a:pt x="173311" y="135795"/>
                  <a:pt x="177248" y="125074"/>
                  <a:pt x="180929" y="114280"/>
                </a:cubicBezTo>
                <a:cubicBezTo>
                  <a:pt x="182396" y="109981"/>
                  <a:pt x="183922" y="105742"/>
                  <a:pt x="180839" y="101501"/>
                </a:cubicBezTo>
                <a:cubicBezTo>
                  <a:pt x="192473" y="75833"/>
                  <a:pt x="211344" y="56271"/>
                  <a:pt x="233536" y="39653"/>
                </a:cubicBezTo>
                <a:cubicBezTo>
                  <a:pt x="267321" y="14353"/>
                  <a:pt x="305621" y="873"/>
                  <a:pt x="347618" y="35"/>
                </a:cubicBezTo>
                <a:cubicBezTo>
                  <a:pt x="379125" y="-593"/>
                  <a:pt x="409214" y="7172"/>
                  <a:pt x="437139" y="22396"/>
                </a:cubicBezTo>
                <a:cubicBezTo>
                  <a:pt x="481844" y="46766"/>
                  <a:pt x="514077" y="82116"/>
                  <a:pt x="529052" y="131093"/>
                </a:cubicBezTo>
                <a:cubicBezTo>
                  <a:pt x="543544" y="178495"/>
                  <a:pt x="541630" y="225548"/>
                  <a:pt x="518497" y="271517"/>
                </a:cubicBezTo>
                <a:cubicBezTo>
                  <a:pt x="511428" y="277096"/>
                  <a:pt x="503848" y="281136"/>
                  <a:pt x="500808" y="287385"/>
                </a:cubicBezTo>
                <a:cubicBezTo>
                  <a:pt x="493932" y="301522"/>
                  <a:pt x="483805" y="312513"/>
                  <a:pt x="472948" y="323290"/>
                </a:cubicBezTo>
                <a:cubicBezTo>
                  <a:pt x="470972" y="325253"/>
                  <a:pt x="470533" y="328767"/>
                  <a:pt x="469385" y="331565"/>
                </a:cubicBezTo>
                <a:cubicBezTo>
                  <a:pt x="469385" y="331565"/>
                  <a:pt x="469172" y="331584"/>
                  <a:pt x="468293" y="331320"/>
                </a:cubicBezTo>
                <a:cubicBezTo>
                  <a:pt x="461937" y="330836"/>
                  <a:pt x="458618" y="332772"/>
                  <a:pt x="459542" y="338942"/>
                </a:cubicBezTo>
                <a:cubicBezTo>
                  <a:pt x="459542" y="338942"/>
                  <a:pt x="459473" y="338913"/>
                  <a:pt x="458492" y="338671"/>
                </a:cubicBezTo>
                <a:cubicBezTo>
                  <a:pt x="450936" y="342653"/>
                  <a:pt x="440712" y="341355"/>
                  <a:pt x="436978" y="352226"/>
                </a:cubicBezTo>
                <a:cubicBezTo>
                  <a:pt x="449178" y="355911"/>
                  <a:pt x="460733" y="359469"/>
                  <a:pt x="472329" y="362890"/>
                </a:cubicBezTo>
                <a:cubicBezTo>
                  <a:pt x="491728" y="368613"/>
                  <a:pt x="510182" y="375784"/>
                  <a:pt x="523779" y="391962"/>
                </a:cubicBezTo>
                <a:cubicBezTo>
                  <a:pt x="535849" y="406326"/>
                  <a:pt x="534845" y="420076"/>
                  <a:pt x="527344" y="430096"/>
                </a:cubicBezTo>
                <a:cubicBezTo>
                  <a:pt x="521323" y="438139"/>
                  <a:pt x="513928" y="445333"/>
                  <a:pt x="504112" y="449628"/>
                </a:cubicBezTo>
                <a:cubicBezTo>
                  <a:pt x="489776" y="455901"/>
                  <a:pt x="475173" y="460486"/>
                  <a:pt x="459430" y="461116"/>
                </a:cubicBezTo>
                <a:cubicBezTo>
                  <a:pt x="448415" y="461557"/>
                  <a:pt x="446384" y="463369"/>
                  <a:pt x="446666" y="474229"/>
                </a:cubicBezTo>
                <a:cubicBezTo>
                  <a:pt x="447164" y="493376"/>
                  <a:pt x="447839" y="512533"/>
                  <a:pt x="449133" y="531639"/>
                </a:cubicBezTo>
                <a:cubicBezTo>
                  <a:pt x="450424" y="550696"/>
                  <a:pt x="451783" y="569809"/>
                  <a:pt x="454546" y="588688"/>
                </a:cubicBezTo>
                <a:cubicBezTo>
                  <a:pt x="457543" y="609164"/>
                  <a:pt x="462165" y="629403"/>
                  <a:pt x="466126" y="649736"/>
                </a:cubicBezTo>
                <a:cubicBezTo>
                  <a:pt x="475845" y="699621"/>
                  <a:pt x="493414" y="746980"/>
                  <a:pt x="512154" y="794006"/>
                </a:cubicBezTo>
                <a:cubicBezTo>
                  <a:pt x="517387" y="807138"/>
                  <a:pt x="525145" y="819463"/>
                  <a:pt x="525763" y="834323"/>
                </a:cubicBezTo>
                <a:cubicBezTo>
                  <a:pt x="525919" y="838081"/>
                  <a:pt x="527739" y="843335"/>
                  <a:pt x="530555" y="845114"/>
                </a:cubicBezTo>
                <a:cubicBezTo>
                  <a:pt x="537981" y="849801"/>
                  <a:pt x="546243" y="853278"/>
                  <a:pt x="554424" y="856618"/>
                </a:cubicBezTo>
                <a:cubicBezTo>
                  <a:pt x="560391" y="859054"/>
                  <a:pt x="567041" y="859887"/>
                  <a:pt x="572880" y="862546"/>
                </a:cubicBezTo>
                <a:cubicBezTo>
                  <a:pt x="581470" y="866458"/>
                  <a:pt x="582467" y="871415"/>
                  <a:pt x="578643" y="880396"/>
                </a:cubicBezTo>
                <a:cubicBezTo>
                  <a:pt x="575969" y="886677"/>
                  <a:pt x="572900" y="893182"/>
                  <a:pt x="572188" y="899820"/>
                </a:cubicBezTo>
                <a:cubicBezTo>
                  <a:pt x="570960" y="911271"/>
                  <a:pt x="576506" y="920944"/>
                  <a:pt x="582698" y="930382"/>
                </a:cubicBezTo>
                <a:cubicBezTo>
                  <a:pt x="589569" y="940856"/>
                  <a:pt x="600933" y="947930"/>
                  <a:pt x="604747" y="960852"/>
                </a:cubicBezTo>
                <a:cubicBezTo>
                  <a:pt x="605684" y="964030"/>
                  <a:pt x="610294" y="967128"/>
                  <a:pt x="613863" y="968311"/>
                </a:cubicBezTo>
                <a:cubicBezTo>
                  <a:pt x="620963" y="970665"/>
                  <a:pt x="625924" y="974774"/>
                  <a:pt x="629435" y="981186"/>
                </a:cubicBezTo>
                <a:cubicBezTo>
                  <a:pt x="630381" y="982913"/>
                  <a:pt x="631977" y="984459"/>
                  <a:pt x="633611" y="985609"/>
                </a:cubicBezTo>
                <a:cubicBezTo>
                  <a:pt x="655878" y="1001272"/>
                  <a:pt x="668032" y="1023762"/>
                  <a:pt x="673790" y="1049348"/>
                </a:cubicBezTo>
                <a:cubicBezTo>
                  <a:pt x="676936" y="1063327"/>
                  <a:pt x="679769" y="1077802"/>
                  <a:pt x="675873" y="1092839"/>
                </a:cubicBezTo>
                <a:cubicBezTo>
                  <a:pt x="672677" y="1105174"/>
                  <a:pt x="673042" y="1116963"/>
                  <a:pt x="681668" y="1129292"/>
                </a:cubicBezTo>
                <a:cubicBezTo>
                  <a:pt x="695321" y="1148802"/>
                  <a:pt x="698550" y="1172235"/>
                  <a:pt x="697338" y="1196079"/>
                </a:cubicBezTo>
                <a:cubicBezTo>
                  <a:pt x="697087" y="1201014"/>
                  <a:pt x="694979" y="1203886"/>
                  <a:pt x="690637" y="1205035"/>
                </a:cubicBezTo>
                <a:cubicBezTo>
                  <a:pt x="673723" y="1209511"/>
                  <a:pt x="656856" y="1214241"/>
                  <a:pt x="639777" y="1217994"/>
                </a:cubicBezTo>
                <a:cubicBezTo>
                  <a:pt x="622334" y="1221827"/>
                  <a:pt x="604691" y="1224790"/>
                  <a:pt x="587072" y="1227761"/>
                </a:cubicBezTo>
                <a:cubicBezTo>
                  <a:pt x="582708" y="1228497"/>
                  <a:pt x="581724" y="1230736"/>
                  <a:pt x="581793" y="1234401"/>
                </a:cubicBezTo>
                <a:moveTo>
                  <a:pt x="357446" y="903795"/>
                </a:moveTo>
                <a:cubicBezTo>
                  <a:pt x="353141" y="903795"/>
                  <a:pt x="348835" y="903795"/>
                  <a:pt x="344445" y="903795"/>
                </a:cubicBezTo>
                <a:cubicBezTo>
                  <a:pt x="346169" y="920562"/>
                  <a:pt x="347908" y="935520"/>
                  <a:pt x="349212" y="950515"/>
                </a:cubicBezTo>
                <a:cubicBezTo>
                  <a:pt x="352656" y="990125"/>
                  <a:pt x="351941" y="1029743"/>
                  <a:pt x="349538" y="1069392"/>
                </a:cubicBezTo>
                <a:cubicBezTo>
                  <a:pt x="348759" y="1082241"/>
                  <a:pt x="349415" y="1095176"/>
                  <a:pt x="349415" y="1108925"/>
                </a:cubicBezTo>
                <a:cubicBezTo>
                  <a:pt x="449467" y="1111953"/>
                  <a:pt x="548509" y="1104712"/>
                  <a:pt x="647726" y="1089872"/>
                </a:cubicBezTo>
                <a:cubicBezTo>
                  <a:pt x="647726" y="1084313"/>
                  <a:pt x="648180" y="1080225"/>
                  <a:pt x="647654" y="1076267"/>
                </a:cubicBezTo>
                <a:cubicBezTo>
                  <a:pt x="643515" y="1045124"/>
                  <a:pt x="633172" y="1016714"/>
                  <a:pt x="610267" y="994126"/>
                </a:cubicBezTo>
                <a:cubicBezTo>
                  <a:pt x="597451" y="981485"/>
                  <a:pt x="584392" y="969090"/>
                  <a:pt x="571459" y="956568"/>
                </a:cubicBezTo>
                <a:cubicBezTo>
                  <a:pt x="555751" y="941359"/>
                  <a:pt x="544836" y="923558"/>
                  <a:pt x="541653" y="901544"/>
                </a:cubicBezTo>
                <a:cubicBezTo>
                  <a:pt x="541430" y="900007"/>
                  <a:pt x="540528" y="898570"/>
                  <a:pt x="539477" y="895908"/>
                </a:cubicBezTo>
                <a:cubicBezTo>
                  <a:pt x="479736" y="901652"/>
                  <a:pt x="419815" y="904536"/>
                  <a:pt x="357446" y="903795"/>
                </a:cubicBezTo>
                <a:moveTo>
                  <a:pt x="300108" y="85260"/>
                </a:moveTo>
                <a:cubicBezTo>
                  <a:pt x="293656" y="98745"/>
                  <a:pt x="289202" y="113094"/>
                  <a:pt x="290213" y="127888"/>
                </a:cubicBezTo>
                <a:cubicBezTo>
                  <a:pt x="292527" y="161736"/>
                  <a:pt x="304185" y="191723"/>
                  <a:pt x="331056" y="214168"/>
                </a:cubicBezTo>
                <a:cubicBezTo>
                  <a:pt x="358172" y="236816"/>
                  <a:pt x="388435" y="249934"/>
                  <a:pt x="424717" y="245160"/>
                </a:cubicBezTo>
                <a:cubicBezTo>
                  <a:pt x="468593" y="239387"/>
                  <a:pt x="509574" y="203365"/>
                  <a:pt x="496752" y="141256"/>
                </a:cubicBezTo>
                <a:cubicBezTo>
                  <a:pt x="487021" y="94124"/>
                  <a:pt x="447261" y="51874"/>
                  <a:pt x="390320" y="43995"/>
                </a:cubicBezTo>
                <a:cubicBezTo>
                  <a:pt x="353241" y="38865"/>
                  <a:pt x="321136" y="48750"/>
                  <a:pt x="300108" y="85260"/>
                </a:cubicBezTo>
                <a:moveTo>
                  <a:pt x="343360" y="634332"/>
                </a:moveTo>
                <a:cubicBezTo>
                  <a:pt x="342539" y="666975"/>
                  <a:pt x="341785" y="699619"/>
                  <a:pt x="340877" y="732259"/>
                </a:cubicBezTo>
                <a:cubicBezTo>
                  <a:pt x="340151" y="758355"/>
                  <a:pt x="339265" y="784447"/>
                  <a:pt x="338360" y="810538"/>
                </a:cubicBezTo>
                <a:cubicBezTo>
                  <a:pt x="338277" y="812948"/>
                  <a:pt x="337465" y="815325"/>
                  <a:pt x="337115" y="817736"/>
                </a:cubicBezTo>
                <a:cubicBezTo>
                  <a:pt x="334935" y="832710"/>
                  <a:pt x="336026" y="847647"/>
                  <a:pt x="336516" y="863022"/>
                </a:cubicBezTo>
                <a:cubicBezTo>
                  <a:pt x="339537" y="863479"/>
                  <a:pt x="341490" y="864053"/>
                  <a:pt x="343436" y="864027"/>
                </a:cubicBezTo>
                <a:cubicBezTo>
                  <a:pt x="364531" y="863739"/>
                  <a:pt x="385626" y="863422"/>
                  <a:pt x="406718" y="862982"/>
                </a:cubicBezTo>
                <a:cubicBezTo>
                  <a:pt x="423444" y="862634"/>
                  <a:pt x="440168" y="861675"/>
                  <a:pt x="456888" y="861794"/>
                </a:cubicBezTo>
                <a:cubicBezTo>
                  <a:pt x="469887" y="861886"/>
                  <a:pt x="482872" y="863302"/>
                  <a:pt x="495873" y="863963"/>
                </a:cubicBezTo>
                <a:cubicBezTo>
                  <a:pt x="500358" y="864191"/>
                  <a:pt x="505108" y="864773"/>
                  <a:pt x="509286" y="863595"/>
                </a:cubicBezTo>
                <a:cubicBezTo>
                  <a:pt x="512346" y="862732"/>
                  <a:pt x="515714" y="859703"/>
                  <a:pt x="516956" y="856791"/>
                </a:cubicBezTo>
                <a:cubicBezTo>
                  <a:pt x="517783" y="854851"/>
                  <a:pt x="515475" y="851192"/>
                  <a:pt x="513920" y="848709"/>
                </a:cubicBezTo>
                <a:cubicBezTo>
                  <a:pt x="511791" y="845308"/>
                  <a:pt x="508393" y="842606"/>
                  <a:pt x="506683" y="839054"/>
                </a:cubicBezTo>
                <a:cubicBezTo>
                  <a:pt x="500331" y="825864"/>
                  <a:pt x="493224" y="812855"/>
                  <a:pt x="488629" y="799037"/>
                </a:cubicBezTo>
                <a:cubicBezTo>
                  <a:pt x="477322" y="765031"/>
                  <a:pt x="466537" y="730814"/>
                  <a:pt x="456922" y="696297"/>
                </a:cubicBezTo>
                <a:cubicBezTo>
                  <a:pt x="449953" y="671276"/>
                  <a:pt x="443477" y="646020"/>
                  <a:pt x="441346" y="619885"/>
                </a:cubicBezTo>
                <a:cubicBezTo>
                  <a:pt x="440327" y="607371"/>
                  <a:pt x="437466" y="595018"/>
                  <a:pt x="435963" y="582529"/>
                </a:cubicBezTo>
                <a:cubicBezTo>
                  <a:pt x="433539" y="562380"/>
                  <a:pt x="431154" y="542212"/>
                  <a:pt x="429497" y="521990"/>
                </a:cubicBezTo>
                <a:cubicBezTo>
                  <a:pt x="428135" y="505363"/>
                  <a:pt x="428437" y="488593"/>
                  <a:pt x="426887" y="471989"/>
                </a:cubicBezTo>
                <a:cubicBezTo>
                  <a:pt x="425874" y="461140"/>
                  <a:pt x="424983" y="461120"/>
                  <a:pt x="413744" y="461077"/>
                </a:cubicBezTo>
                <a:cubicBezTo>
                  <a:pt x="393687" y="461000"/>
                  <a:pt x="373630" y="461011"/>
                  <a:pt x="353573" y="461120"/>
                </a:cubicBezTo>
                <a:cubicBezTo>
                  <a:pt x="350472" y="461137"/>
                  <a:pt x="347374" y="461869"/>
                  <a:pt x="344160" y="462286"/>
                </a:cubicBezTo>
                <a:cubicBezTo>
                  <a:pt x="343828" y="465198"/>
                  <a:pt x="343406" y="467195"/>
                  <a:pt x="343404" y="469192"/>
                </a:cubicBezTo>
                <a:cubicBezTo>
                  <a:pt x="343360" y="504394"/>
                  <a:pt x="343267" y="539596"/>
                  <a:pt x="343469" y="574797"/>
                </a:cubicBezTo>
                <a:cubicBezTo>
                  <a:pt x="343501" y="580426"/>
                  <a:pt x="345652" y="586065"/>
                  <a:pt x="345522" y="591669"/>
                </a:cubicBezTo>
                <a:cubicBezTo>
                  <a:pt x="345214" y="605082"/>
                  <a:pt x="344131" y="618478"/>
                  <a:pt x="343360" y="634332"/>
                </a:cubicBezTo>
                <a:moveTo>
                  <a:pt x="416946" y="385943"/>
                </a:moveTo>
                <a:cubicBezTo>
                  <a:pt x="411661" y="386365"/>
                  <a:pt x="406384" y="387006"/>
                  <a:pt x="401091" y="387162"/>
                </a:cubicBezTo>
                <a:cubicBezTo>
                  <a:pt x="390470" y="387477"/>
                  <a:pt x="379841" y="387447"/>
                  <a:pt x="369218" y="387708"/>
                </a:cubicBezTo>
                <a:cubicBezTo>
                  <a:pt x="361167" y="387906"/>
                  <a:pt x="354429" y="391368"/>
                  <a:pt x="351833" y="398991"/>
                </a:cubicBezTo>
                <a:cubicBezTo>
                  <a:pt x="348989" y="407342"/>
                  <a:pt x="347050" y="416214"/>
                  <a:pt x="349778" y="426021"/>
                </a:cubicBezTo>
                <a:cubicBezTo>
                  <a:pt x="353876" y="426204"/>
                  <a:pt x="357857" y="426517"/>
                  <a:pt x="361839" y="426538"/>
                </a:cubicBezTo>
                <a:cubicBezTo>
                  <a:pt x="392900" y="426701"/>
                  <a:pt x="423961" y="426826"/>
                  <a:pt x="455022" y="426922"/>
                </a:cubicBezTo>
                <a:cubicBezTo>
                  <a:pt x="464013" y="426950"/>
                  <a:pt x="473106" y="427654"/>
                  <a:pt x="481958" y="426527"/>
                </a:cubicBezTo>
                <a:cubicBezTo>
                  <a:pt x="488144" y="425740"/>
                  <a:pt x="494821" y="423501"/>
                  <a:pt x="499817" y="419888"/>
                </a:cubicBezTo>
                <a:cubicBezTo>
                  <a:pt x="507869" y="414066"/>
                  <a:pt x="507286" y="406755"/>
                  <a:pt x="499439" y="400719"/>
                </a:cubicBezTo>
                <a:cubicBezTo>
                  <a:pt x="490179" y="393597"/>
                  <a:pt x="479486" y="388885"/>
                  <a:pt x="468062" y="387775"/>
                </a:cubicBezTo>
                <a:cubicBezTo>
                  <a:pt x="451873" y="386202"/>
                  <a:pt x="435520" y="386321"/>
                  <a:pt x="416946" y="385943"/>
                </a:cubicBezTo>
                <a:moveTo>
                  <a:pt x="636802" y="1190940"/>
                </a:moveTo>
                <a:cubicBezTo>
                  <a:pt x="646709" y="1188723"/>
                  <a:pt x="656705" y="1186841"/>
                  <a:pt x="666492" y="1184186"/>
                </a:cubicBezTo>
                <a:cubicBezTo>
                  <a:pt x="674710" y="1181958"/>
                  <a:pt x="676989" y="1178509"/>
                  <a:pt x="674465" y="1170880"/>
                </a:cubicBezTo>
                <a:cubicBezTo>
                  <a:pt x="671144" y="1160843"/>
                  <a:pt x="667026" y="1151009"/>
                  <a:pt x="662462" y="1141464"/>
                </a:cubicBezTo>
                <a:cubicBezTo>
                  <a:pt x="659273" y="1134795"/>
                  <a:pt x="653671" y="1130908"/>
                  <a:pt x="645564" y="1131937"/>
                </a:cubicBezTo>
                <a:cubicBezTo>
                  <a:pt x="639532" y="1132703"/>
                  <a:pt x="633423" y="1132867"/>
                  <a:pt x="627387" y="1133618"/>
                </a:cubicBezTo>
                <a:cubicBezTo>
                  <a:pt x="612888" y="1135421"/>
                  <a:pt x="598449" y="1137770"/>
                  <a:pt x="583917" y="1139222"/>
                </a:cubicBezTo>
                <a:cubicBezTo>
                  <a:pt x="570571" y="1140557"/>
                  <a:pt x="557130" y="1140930"/>
                  <a:pt x="543741" y="1141869"/>
                </a:cubicBezTo>
                <a:cubicBezTo>
                  <a:pt x="533202" y="1142610"/>
                  <a:pt x="522682" y="1143623"/>
                  <a:pt x="512146" y="1144418"/>
                </a:cubicBezTo>
                <a:cubicBezTo>
                  <a:pt x="490671" y="1146038"/>
                  <a:pt x="469214" y="1148450"/>
                  <a:pt x="447711" y="1148973"/>
                </a:cubicBezTo>
                <a:cubicBezTo>
                  <a:pt x="415817" y="1149749"/>
                  <a:pt x="383891" y="1149136"/>
                  <a:pt x="351979" y="1149200"/>
                </a:cubicBezTo>
                <a:cubicBezTo>
                  <a:pt x="347698" y="1149209"/>
                  <a:pt x="343419" y="1149717"/>
                  <a:pt x="338443" y="1150040"/>
                </a:cubicBezTo>
                <a:cubicBezTo>
                  <a:pt x="338443" y="1164651"/>
                  <a:pt x="338413" y="1177715"/>
                  <a:pt x="338451" y="1190780"/>
                </a:cubicBezTo>
                <a:cubicBezTo>
                  <a:pt x="338490" y="1204031"/>
                  <a:pt x="338512" y="1204062"/>
                  <a:pt x="351082" y="1207015"/>
                </a:cubicBezTo>
                <a:cubicBezTo>
                  <a:pt x="353445" y="1207570"/>
                  <a:pt x="355895" y="1208128"/>
                  <a:pt x="358298" y="1208094"/>
                </a:cubicBezTo>
                <a:cubicBezTo>
                  <a:pt x="412608" y="1207329"/>
                  <a:pt x="466919" y="1206484"/>
                  <a:pt x="521229" y="1205646"/>
                </a:cubicBezTo>
                <a:cubicBezTo>
                  <a:pt x="522045" y="1205634"/>
                  <a:pt x="522865" y="1205591"/>
                  <a:pt x="523675" y="1205490"/>
                </a:cubicBezTo>
                <a:cubicBezTo>
                  <a:pt x="542593" y="1203123"/>
                  <a:pt x="561519" y="1200820"/>
                  <a:pt x="580423" y="1198350"/>
                </a:cubicBezTo>
                <a:cubicBezTo>
                  <a:pt x="598523" y="1195985"/>
                  <a:pt x="616599" y="1193446"/>
                  <a:pt x="636802" y="1190940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0" name="Free-form: Shape 159">
            <a:extLst>
              <a:ext uri="{FF2B5EF4-FFF2-40B4-BE49-F238E27FC236}">
                <a16:creationId xmlns:a16="http://schemas.microsoft.com/office/drawing/2014/main" id="{66F3E445-514B-E815-3F8B-E3F62D2FB992}"/>
              </a:ext>
            </a:extLst>
          </p:cNvPr>
          <p:cNvSpPr/>
          <p:nvPr/>
        </p:nvSpPr>
        <p:spPr>
          <a:xfrm>
            <a:off x="2875663" y="2857169"/>
            <a:ext cx="17183" cy="1817"/>
          </a:xfrm>
          <a:custGeom>
            <a:avLst/>
            <a:gdLst>
              <a:gd name="csX0" fmla="*/ 0 w 27674"/>
              <a:gd name="csY0" fmla="*/ 2915 h 2925"/>
              <a:gd name="csX1" fmla="*/ 27675 w 27674"/>
              <a:gd name="csY1" fmla="*/ 1550 h 2925"/>
              <a:gd name="csX2" fmla="*/ 0 w 27674"/>
              <a:gd name="csY2" fmla="*/ 2915 h 292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27674" h="2925">
                <a:moveTo>
                  <a:pt x="0" y="2915"/>
                </a:moveTo>
                <a:cubicBezTo>
                  <a:pt x="8211" y="-1939"/>
                  <a:pt x="17625" y="498"/>
                  <a:pt x="27675" y="1550"/>
                </a:cubicBezTo>
                <a:cubicBezTo>
                  <a:pt x="19225" y="2593"/>
                  <a:pt x="10029" y="2999"/>
                  <a:pt x="0" y="2915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1" name="Free-form: Shape 160">
            <a:extLst>
              <a:ext uri="{FF2B5EF4-FFF2-40B4-BE49-F238E27FC236}">
                <a16:creationId xmlns:a16="http://schemas.microsoft.com/office/drawing/2014/main" id="{168154B3-F3C1-3C09-DF49-1D104707F787}"/>
              </a:ext>
            </a:extLst>
          </p:cNvPr>
          <p:cNvSpPr/>
          <p:nvPr/>
        </p:nvSpPr>
        <p:spPr>
          <a:xfrm>
            <a:off x="2828359" y="2858193"/>
            <a:ext cx="11179" cy="700"/>
          </a:xfrm>
          <a:custGeom>
            <a:avLst/>
            <a:gdLst>
              <a:gd name="csX0" fmla="*/ 0 w 18003"/>
              <a:gd name="csY0" fmla="*/ 1050 h 1128"/>
              <a:gd name="csX1" fmla="*/ 18004 w 18003"/>
              <a:gd name="csY1" fmla="*/ 93 h 1128"/>
              <a:gd name="csX2" fmla="*/ 0 w 18003"/>
              <a:gd name="csY2" fmla="*/ 1050 h 112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8003" h="1128">
                <a:moveTo>
                  <a:pt x="0" y="1050"/>
                </a:moveTo>
                <a:cubicBezTo>
                  <a:pt x="5276" y="182"/>
                  <a:pt x="11306" y="-189"/>
                  <a:pt x="18004" y="93"/>
                </a:cubicBezTo>
                <a:cubicBezTo>
                  <a:pt x="12699" y="1013"/>
                  <a:pt x="6726" y="1280"/>
                  <a:pt x="0" y="1050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2" name="Free-form: Shape 161">
            <a:extLst>
              <a:ext uri="{FF2B5EF4-FFF2-40B4-BE49-F238E27FC236}">
                <a16:creationId xmlns:a16="http://schemas.microsoft.com/office/drawing/2014/main" id="{D312EFA2-5EF5-FA7E-AF07-2A2EDFA272B5}"/>
              </a:ext>
            </a:extLst>
          </p:cNvPr>
          <p:cNvSpPr/>
          <p:nvPr/>
        </p:nvSpPr>
        <p:spPr>
          <a:xfrm>
            <a:off x="2909326" y="2291393"/>
            <a:ext cx="5257" cy="4867"/>
          </a:xfrm>
          <a:custGeom>
            <a:avLst/>
            <a:gdLst>
              <a:gd name="csX0" fmla="*/ 473 w 8466"/>
              <a:gd name="csY0" fmla="*/ 7839 h 7838"/>
              <a:gd name="csX1" fmla="*/ 8466 w 8466"/>
              <a:gd name="csY1" fmla="*/ 61 h 7838"/>
              <a:gd name="csX2" fmla="*/ 473 w 8466"/>
              <a:gd name="csY2" fmla="*/ 7839 h 783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66" h="7838">
                <a:moveTo>
                  <a:pt x="473" y="7839"/>
                </a:moveTo>
                <a:cubicBezTo>
                  <a:pt x="-1298" y="1550"/>
                  <a:pt x="2020" y="-386"/>
                  <a:pt x="8466" y="61"/>
                </a:cubicBezTo>
                <a:cubicBezTo>
                  <a:pt x="6730" y="2845"/>
                  <a:pt x="4026" y="5401"/>
                  <a:pt x="473" y="7839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3" name="Free-form: Shape 162">
            <a:extLst>
              <a:ext uri="{FF2B5EF4-FFF2-40B4-BE49-F238E27FC236}">
                <a16:creationId xmlns:a16="http://schemas.microsoft.com/office/drawing/2014/main" id="{76B263E6-101F-E8FB-9589-E54109ACB744}"/>
              </a:ext>
            </a:extLst>
          </p:cNvPr>
          <p:cNvSpPr/>
          <p:nvPr/>
        </p:nvSpPr>
        <p:spPr>
          <a:xfrm>
            <a:off x="2773330" y="2856679"/>
            <a:ext cx="5265" cy="618"/>
          </a:xfrm>
          <a:custGeom>
            <a:avLst/>
            <a:gdLst>
              <a:gd name="csX0" fmla="*/ 0 w 8480"/>
              <a:gd name="csY0" fmla="*/ 896 h 996"/>
              <a:gd name="csX1" fmla="*/ 8480 w 8480"/>
              <a:gd name="csY1" fmla="*/ 110 h 996"/>
              <a:gd name="csX2" fmla="*/ 0 w 8480"/>
              <a:gd name="csY2" fmla="*/ 896 h 99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80" h="996">
                <a:moveTo>
                  <a:pt x="0" y="896"/>
                </a:moveTo>
                <a:cubicBezTo>
                  <a:pt x="2285" y="115"/>
                  <a:pt x="5130" y="-182"/>
                  <a:pt x="8480" y="110"/>
                </a:cubicBezTo>
                <a:cubicBezTo>
                  <a:pt x="6177" y="927"/>
                  <a:pt x="3368" y="1153"/>
                  <a:pt x="0" y="896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4" name="Free-form: Shape 163">
            <a:extLst>
              <a:ext uri="{FF2B5EF4-FFF2-40B4-BE49-F238E27FC236}">
                <a16:creationId xmlns:a16="http://schemas.microsoft.com/office/drawing/2014/main" id="{0B6F341D-D4A8-D334-0A7B-D47BD7A518BE}"/>
              </a:ext>
            </a:extLst>
          </p:cNvPr>
          <p:cNvSpPr/>
          <p:nvPr/>
        </p:nvSpPr>
        <p:spPr>
          <a:xfrm>
            <a:off x="3060091" y="2830150"/>
            <a:ext cx="763" cy="4134"/>
          </a:xfrm>
          <a:custGeom>
            <a:avLst/>
            <a:gdLst>
              <a:gd name="csX0" fmla="*/ 132 w 1229"/>
              <a:gd name="csY0" fmla="*/ 6659 h 6658"/>
              <a:gd name="csX1" fmla="*/ 1107 w 1229"/>
              <a:gd name="csY1" fmla="*/ 0 h 6658"/>
              <a:gd name="csX2" fmla="*/ 132 w 1229"/>
              <a:gd name="csY2" fmla="*/ 6659 h 665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229" h="6658">
                <a:moveTo>
                  <a:pt x="132" y="6659"/>
                </a:moveTo>
                <a:cubicBezTo>
                  <a:pt x="-219" y="4616"/>
                  <a:pt x="139" y="2560"/>
                  <a:pt x="1107" y="0"/>
                </a:cubicBezTo>
                <a:cubicBezTo>
                  <a:pt x="1425" y="1879"/>
                  <a:pt x="1133" y="4263"/>
                  <a:pt x="132" y="6659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5" name="Free-form: Shape 164">
            <a:extLst>
              <a:ext uri="{FF2B5EF4-FFF2-40B4-BE49-F238E27FC236}">
                <a16:creationId xmlns:a16="http://schemas.microsoft.com/office/drawing/2014/main" id="{160EB659-BD2B-3B13-5DCE-0828EFCC6D8F}"/>
              </a:ext>
            </a:extLst>
          </p:cNvPr>
          <p:cNvSpPr/>
          <p:nvPr/>
        </p:nvSpPr>
        <p:spPr>
          <a:xfrm>
            <a:off x="2992895" y="2850427"/>
            <a:ext cx="2352" cy="847"/>
          </a:xfrm>
          <a:custGeom>
            <a:avLst/>
            <a:gdLst>
              <a:gd name="csX0" fmla="*/ 0 w 3788"/>
              <a:gd name="csY0" fmla="*/ 1364 h 1364"/>
              <a:gd name="csX1" fmla="*/ 3788 w 3788"/>
              <a:gd name="csY1" fmla="*/ 0 h 1364"/>
              <a:gd name="csX2" fmla="*/ 0 w 3788"/>
              <a:gd name="csY2" fmla="*/ 1364 h 136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788" h="1364">
                <a:moveTo>
                  <a:pt x="0" y="1364"/>
                </a:moveTo>
                <a:cubicBezTo>
                  <a:pt x="856" y="517"/>
                  <a:pt x="2126" y="39"/>
                  <a:pt x="3788" y="0"/>
                </a:cubicBezTo>
                <a:cubicBezTo>
                  <a:pt x="2925" y="870"/>
                  <a:pt x="1670" y="1303"/>
                  <a:pt x="0" y="1364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6" name="Free-form: Shape 165">
            <a:extLst>
              <a:ext uri="{FF2B5EF4-FFF2-40B4-BE49-F238E27FC236}">
                <a16:creationId xmlns:a16="http://schemas.microsoft.com/office/drawing/2014/main" id="{79E11BF6-52A8-8BAA-F3CB-E0ED8B2591B3}"/>
              </a:ext>
            </a:extLst>
          </p:cNvPr>
          <p:cNvSpPr/>
          <p:nvPr/>
        </p:nvSpPr>
        <p:spPr>
          <a:xfrm>
            <a:off x="2721312" y="2853701"/>
            <a:ext cx="2478" cy="515"/>
          </a:xfrm>
          <a:custGeom>
            <a:avLst/>
            <a:gdLst>
              <a:gd name="csX0" fmla="*/ 0 w 3990"/>
              <a:gd name="csY0" fmla="*/ 719 h 829"/>
              <a:gd name="csX1" fmla="*/ 3990 w 3990"/>
              <a:gd name="csY1" fmla="*/ 119 h 829"/>
              <a:gd name="csX2" fmla="*/ 0 w 3990"/>
              <a:gd name="csY2" fmla="*/ 719 h 82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990" h="829">
                <a:moveTo>
                  <a:pt x="0" y="719"/>
                </a:moveTo>
                <a:cubicBezTo>
                  <a:pt x="982" y="66"/>
                  <a:pt x="2323" y="-163"/>
                  <a:pt x="3990" y="119"/>
                </a:cubicBezTo>
                <a:cubicBezTo>
                  <a:pt x="2998" y="800"/>
                  <a:pt x="1678" y="972"/>
                  <a:pt x="0" y="719"/>
                </a:cubicBezTo>
                <a:close/>
              </a:path>
            </a:pathLst>
          </a:custGeom>
          <a:solidFill>
            <a:srgbClr val="959DA0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7" name="Free-form: Shape 166">
            <a:extLst>
              <a:ext uri="{FF2B5EF4-FFF2-40B4-BE49-F238E27FC236}">
                <a16:creationId xmlns:a16="http://schemas.microsoft.com/office/drawing/2014/main" id="{6A33D57B-001F-20A7-DEF8-4BBF17B4AEF9}"/>
              </a:ext>
            </a:extLst>
          </p:cNvPr>
          <p:cNvSpPr/>
          <p:nvPr/>
        </p:nvSpPr>
        <p:spPr>
          <a:xfrm>
            <a:off x="2931860" y="2856657"/>
            <a:ext cx="2417" cy="705"/>
          </a:xfrm>
          <a:custGeom>
            <a:avLst/>
            <a:gdLst>
              <a:gd name="csX0" fmla="*/ 0 w 3893"/>
              <a:gd name="csY0" fmla="*/ 1133 h 1135"/>
              <a:gd name="csX1" fmla="*/ 3893 w 3893"/>
              <a:gd name="csY1" fmla="*/ 7 h 1135"/>
              <a:gd name="csX2" fmla="*/ 0 w 3893"/>
              <a:gd name="csY2" fmla="*/ 1133 h 113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893" h="1135">
                <a:moveTo>
                  <a:pt x="0" y="1133"/>
                </a:moveTo>
                <a:cubicBezTo>
                  <a:pt x="902" y="349"/>
                  <a:pt x="2213" y="-60"/>
                  <a:pt x="3893" y="7"/>
                </a:cubicBezTo>
                <a:cubicBezTo>
                  <a:pt x="2978" y="825"/>
                  <a:pt x="1693" y="1167"/>
                  <a:pt x="0" y="1133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8" name="Free-form: Shape 167">
            <a:extLst>
              <a:ext uri="{FF2B5EF4-FFF2-40B4-BE49-F238E27FC236}">
                <a16:creationId xmlns:a16="http://schemas.microsoft.com/office/drawing/2014/main" id="{E61B1D65-2A02-27A4-C6EE-F54C922F1B01}"/>
              </a:ext>
            </a:extLst>
          </p:cNvPr>
          <p:cNvSpPr/>
          <p:nvPr/>
        </p:nvSpPr>
        <p:spPr>
          <a:xfrm>
            <a:off x="2832264" y="2371993"/>
            <a:ext cx="112588" cy="250407"/>
          </a:xfrm>
          <a:custGeom>
            <a:avLst/>
            <a:gdLst>
              <a:gd name="csX0" fmla="*/ 7554 w 181323"/>
              <a:gd name="csY0" fmla="*/ 172079 h 403282"/>
              <a:gd name="csX1" fmla="*/ 9716 w 181323"/>
              <a:gd name="csY1" fmla="*/ 130641 h 403282"/>
              <a:gd name="csX2" fmla="*/ 7663 w 181323"/>
              <a:gd name="csY2" fmla="*/ 113770 h 403282"/>
              <a:gd name="csX3" fmla="*/ 7598 w 181323"/>
              <a:gd name="csY3" fmla="*/ 8165 h 403282"/>
              <a:gd name="csX4" fmla="*/ 8353 w 181323"/>
              <a:gd name="csY4" fmla="*/ 1259 h 403282"/>
              <a:gd name="csX5" fmla="*/ 17767 w 181323"/>
              <a:gd name="csY5" fmla="*/ 93 h 403282"/>
              <a:gd name="csX6" fmla="*/ 77938 w 181323"/>
              <a:gd name="csY6" fmla="*/ 50 h 403282"/>
              <a:gd name="csX7" fmla="*/ 91081 w 181323"/>
              <a:gd name="csY7" fmla="*/ 10962 h 403282"/>
              <a:gd name="csX8" fmla="*/ 93691 w 181323"/>
              <a:gd name="csY8" fmla="*/ 60963 h 403282"/>
              <a:gd name="csX9" fmla="*/ 100157 w 181323"/>
              <a:gd name="csY9" fmla="*/ 121501 h 403282"/>
              <a:gd name="csX10" fmla="*/ 105540 w 181323"/>
              <a:gd name="csY10" fmla="*/ 158857 h 403282"/>
              <a:gd name="csX11" fmla="*/ 121116 w 181323"/>
              <a:gd name="csY11" fmla="*/ 235269 h 403282"/>
              <a:gd name="csX12" fmla="*/ 152823 w 181323"/>
              <a:gd name="csY12" fmla="*/ 338010 h 403282"/>
              <a:gd name="csX13" fmla="*/ 170877 w 181323"/>
              <a:gd name="csY13" fmla="*/ 378027 h 403282"/>
              <a:gd name="csX14" fmla="*/ 178114 w 181323"/>
              <a:gd name="csY14" fmla="*/ 387682 h 403282"/>
              <a:gd name="csX15" fmla="*/ 181150 w 181323"/>
              <a:gd name="csY15" fmla="*/ 395764 h 403282"/>
              <a:gd name="csX16" fmla="*/ 173480 w 181323"/>
              <a:gd name="csY16" fmla="*/ 402568 h 403282"/>
              <a:gd name="csX17" fmla="*/ 160067 w 181323"/>
              <a:gd name="csY17" fmla="*/ 402936 h 403282"/>
              <a:gd name="csX18" fmla="*/ 121081 w 181323"/>
              <a:gd name="csY18" fmla="*/ 400766 h 403282"/>
              <a:gd name="csX19" fmla="*/ 70912 w 181323"/>
              <a:gd name="csY19" fmla="*/ 401955 h 403282"/>
              <a:gd name="csX20" fmla="*/ 7630 w 181323"/>
              <a:gd name="csY20" fmla="*/ 402999 h 403282"/>
              <a:gd name="csX21" fmla="*/ 710 w 181323"/>
              <a:gd name="csY21" fmla="*/ 401995 h 403282"/>
              <a:gd name="csX22" fmla="*/ 1308 w 181323"/>
              <a:gd name="csY22" fmla="*/ 356708 h 403282"/>
              <a:gd name="csX23" fmla="*/ 2554 w 181323"/>
              <a:gd name="csY23" fmla="*/ 349510 h 403282"/>
              <a:gd name="csX24" fmla="*/ 5071 w 181323"/>
              <a:gd name="csY24" fmla="*/ 271231 h 403282"/>
              <a:gd name="csX25" fmla="*/ 7554 w 181323"/>
              <a:gd name="csY25" fmla="*/ 172079 h 403282"/>
              <a:gd name="csX26" fmla="*/ 98286 w 181323"/>
              <a:gd name="csY26" fmla="*/ 163566 h 403282"/>
              <a:gd name="csX27" fmla="*/ 83497 w 181323"/>
              <a:gd name="csY27" fmla="*/ 8289 h 403282"/>
              <a:gd name="csX28" fmla="*/ 15161 w 181323"/>
              <a:gd name="csY28" fmla="*/ 9148 h 403282"/>
              <a:gd name="csX29" fmla="*/ 15058 w 181323"/>
              <a:gd name="csY29" fmla="*/ 137939 h 403282"/>
              <a:gd name="csX30" fmla="*/ 12252 w 181323"/>
              <a:gd name="csY30" fmla="*/ 266862 h 403282"/>
              <a:gd name="csX31" fmla="*/ 7068 w 181323"/>
              <a:gd name="csY31" fmla="*/ 395996 h 403282"/>
              <a:gd name="csX32" fmla="*/ 171647 w 181323"/>
              <a:gd name="csY32" fmla="*/ 395996 h 403282"/>
              <a:gd name="csX33" fmla="*/ 119950 w 181323"/>
              <a:gd name="csY33" fmla="*/ 259496 h 403282"/>
              <a:gd name="csX34" fmla="*/ 98286 w 181323"/>
              <a:gd name="csY34" fmla="*/ 163566 h 40328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</a:cxnLst>
            <a:rect l="l" t="t" r="r" b="b"/>
            <a:pathLst>
              <a:path w="181323" h="403282">
                <a:moveTo>
                  <a:pt x="7554" y="172079"/>
                </a:moveTo>
                <a:cubicBezTo>
                  <a:pt x="8325" y="157451"/>
                  <a:pt x="9408" y="144055"/>
                  <a:pt x="9716" y="130641"/>
                </a:cubicBezTo>
                <a:cubicBezTo>
                  <a:pt x="9846" y="125037"/>
                  <a:pt x="7695" y="119399"/>
                  <a:pt x="7663" y="113770"/>
                </a:cubicBezTo>
                <a:cubicBezTo>
                  <a:pt x="7461" y="78569"/>
                  <a:pt x="7554" y="43367"/>
                  <a:pt x="7598" y="8165"/>
                </a:cubicBezTo>
                <a:cubicBezTo>
                  <a:pt x="7600" y="6167"/>
                  <a:pt x="8022" y="4170"/>
                  <a:pt x="8353" y="1259"/>
                </a:cubicBezTo>
                <a:cubicBezTo>
                  <a:pt x="11568" y="842"/>
                  <a:pt x="14666" y="109"/>
                  <a:pt x="17767" y="93"/>
                </a:cubicBezTo>
                <a:cubicBezTo>
                  <a:pt x="37824" y="-17"/>
                  <a:pt x="57881" y="-27"/>
                  <a:pt x="77938" y="50"/>
                </a:cubicBezTo>
                <a:cubicBezTo>
                  <a:pt x="89177" y="93"/>
                  <a:pt x="90068" y="113"/>
                  <a:pt x="91081" y="10962"/>
                </a:cubicBezTo>
                <a:cubicBezTo>
                  <a:pt x="92631" y="27565"/>
                  <a:pt x="92329" y="44335"/>
                  <a:pt x="93691" y="60963"/>
                </a:cubicBezTo>
                <a:cubicBezTo>
                  <a:pt x="95348" y="81184"/>
                  <a:pt x="97732" y="101353"/>
                  <a:pt x="100157" y="121501"/>
                </a:cubicBezTo>
                <a:cubicBezTo>
                  <a:pt x="101660" y="133990"/>
                  <a:pt x="104521" y="146343"/>
                  <a:pt x="105540" y="158857"/>
                </a:cubicBezTo>
                <a:cubicBezTo>
                  <a:pt x="107671" y="184993"/>
                  <a:pt x="114147" y="210249"/>
                  <a:pt x="121116" y="235269"/>
                </a:cubicBezTo>
                <a:cubicBezTo>
                  <a:pt x="130731" y="269786"/>
                  <a:pt x="141516" y="304004"/>
                  <a:pt x="152823" y="338010"/>
                </a:cubicBezTo>
                <a:cubicBezTo>
                  <a:pt x="157418" y="351828"/>
                  <a:pt x="164524" y="364837"/>
                  <a:pt x="170877" y="378027"/>
                </a:cubicBezTo>
                <a:cubicBezTo>
                  <a:pt x="172587" y="381579"/>
                  <a:pt x="175985" y="384280"/>
                  <a:pt x="178114" y="387682"/>
                </a:cubicBezTo>
                <a:cubicBezTo>
                  <a:pt x="179669" y="390165"/>
                  <a:pt x="181977" y="393824"/>
                  <a:pt x="181150" y="395764"/>
                </a:cubicBezTo>
                <a:cubicBezTo>
                  <a:pt x="179907" y="398676"/>
                  <a:pt x="176540" y="401705"/>
                  <a:pt x="173480" y="402568"/>
                </a:cubicBezTo>
                <a:cubicBezTo>
                  <a:pt x="169302" y="403746"/>
                  <a:pt x="164551" y="403164"/>
                  <a:pt x="160067" y="402936"/>
                </a:cubicBezTo>
                <a:cubicBezTo>
                  <a:pt x="147066" y="402274"/>
                  <a:pt x="134081" y="400859"/>
                  <a:pt x="121081" y="400766"/>
                </a:cubicBezTo>
                <a:cubicBezTo>
                  <a:pt x="104362" y="400647"/>
                  <a:pt x="87638" y="401607"/>
                  <a:pt x="70912" y="401955"/>
                </a:cubicBezTo>
                <a:cubicBezTo>
                  <a:pt x="49820" y="402394"/>
                  <a:pt x="28725" y="402712"/>
                  <a:pt x="7630" y="402999"/>
                </a:cubicBezTo>
                <a:cubicBezTo>
                  <a:pt x="5684" y="403026"/>
                  <a:pt x="3731" y="402452"/>
                  <a:pt x="710" y="401995"/>
                </a:cubicBezTo>
                <a:cubicBezTo>
                  <a:pt x="219" y="386620"/>
                  <a:pt x="-871" y="371682"/>
                  <a:pt x="1308" y="356708"/>
                </a:cubicBezTo>
                <a:cubicBezTo>
                  <a:pt x="1659" y="354298"/>
                  <a:pt x="2471" y="351920"/>
                  <a:pt x="2554" y="349510"/>
                </a:cubicBezTo>
                <a:cubicBezTo>
                  <a:pt x="3459" y="323419"/>
                  <a:pt x="4345" y="297328"/>
                  <a:pt x="5071" y="271231"/>
                </a:cubicBezTo>
                <a:cubicBezTo>
                  <a:pt x="5979" y="238591"/>
                  <a:pt x="6733" y="205947"/>
                  <a:pt x="7554" y="172079"/>
                </a:cubicBezTo>
                <a:moveTo>
                  <a:pt x="98286" y="163566"/>
                </a:moveTo>
                <a:cubicBezTo>
                  <a:pt x="89288" y="112116"/>
                  <a:pt x="86355" y="60033"/>
                  <a:pt x="83497" y="8289"/>
                </a:cubicBezTo>
                <a:cubicBezTo>
                  <a:pt x="65606" y="5845"/>
                  <a:pt x="24110" y="6470"/>
                  <a:pt x="15161" y="9148"/>
                </a:cubicBezTo>
                <a:cubicBezTo>
                  <a:pt x="15161" y="52045"/>
                  <a:pt x="15527" y="94996"/>
                  <a:pt x="15058" y="137939"/>
                </a:cubicBezTo>
                <a:cubicBezTo>
                  <a:pt x="14587" y="180919"/>
                  <a:pt x="13597" y="223900"/>
                  <a:pt x="12252" y="266862"/>
                </a:cubicBezTo>
                <a:cubicBezTo>
                  <a:pt x="10912" y="309638"/>
                  <a:pt x="8849" y="352391"/>
                  <a:pt x="7068" y="395996"/>
                </a:cubicBezTo>
                <a:cubicBezTo>
                  <a:pt x="62774" y="395996"/>
                  <a:pt x="116821" y="395996"/>
                  <a:pt x="171647" y="395996"/>
                </a:cubicBezTo>
                <a:cubicBezTo>
                  <a:pt x="148550" y="352016"/>
                  <a:pt x="132566" y="306307"/>
                  <a:pt x="119950" y="259496"/>
                </a:cubicBezTo>
                <a:cubicBezTo>
                  <a:pt x="111608" y="228543"/>
                  <a:pt x="105493" y="196989"/>
                  <a:pt x="98286" y="163566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9" name="Free-form: Shape 168">
            <a:extLst>
              <a:ext uri="{FF2B5EF4-FFF2-40B4-BE49-F238E27FC236}">
                <a16:creationId xmlns:a16="http://schemas.microsoft.com/office/drawing/2014/main" id="{C20F1C5C-52D1-4EAA-B6A9-9DA286F7C1A7}"/>
              </a:ext>
            </a:extLst>
          </p:cNvPr>
          <p:cNvSpPr/>
          <p:nvPr/>
        </p:nvSpPr>
        <p:spPr>
          <a:xfrm>
            <a:off x="2833895" y="2788474"/>
            <a:ext cx="209255" cy="47389"/>
          </a:xfrm>
          <a:custGeom>
            <a:avLst/>
            <a:gdLst>
              <a:gd name="csX0" fmla="*/ 297312 w 337008"/>
              <a:gd name="csY0" fmla="*/ 59188 h 76321"/>
              <a:gd name="csX1" fmla="*/ 241991 w 337008"/>
              <a:gd name="csY1" fmla="*/ 66577 h 76321"/>
              <a:gd name="csX2" fmla="*/ 185243 w 337008"/>
              <a:gd name="csY2" fmla="*/ 73717 h 76321"/>
              <a:gd name="csX3" fmla="*/ 182797 w 337008"/>
              <a:gd name="csY3" fmla="*/ 73873 h 76321"/>
              <a:gd name="csX4" fmla="*/ 19866 w 337008"/>
              <a:gd name="csY4" fmla="*/ 76320 h 76321"/>
              <a:gd name="csX5" fmla="*/ 12650 w 337008"/>
              <a:gd name="csY5" fmla="*/ 75242 h 76321"/>
              <a:gd name="csX6" fmla="*/ 19 w 337008"/>
              <a:gd name="csY6" fmla="*/ 59006 h 76321"/>
              <a:gd name="csX7" fmla="*/ 11 w 337008"/>
              <a:gd name="csY7" fmla="*/ 18266 h 76321"/>
              <a:gd name="csX8" fmla="*/ 13547 w 337008"/>
              <a:gd name="csY8" fmla="*/ 17427 h 76321"/>
              <a:gd name="csX9" fmla="*/ 109279 w 337008"/>
              <a:gd name="csY9" fmla="*/ 17200 h 76321"/>
              <a:gd name="csX10" fmla="*/ 173714 w 337008"/>
              <a:gd name="csY10" fmla="*/ 12645 h 76321"/>
              <a:gd name="csX11" fmla="*/ 205309 w 337008"/>
              <a:gd name="csY11" fmla="*/ 10096 h 76321"/>
              <a:gd name="csX12" fmla="*/ 245485 w 337008"/>
              <a:gd name="csY12" fmla="*/ 7449 h 76321"/>
              <a:gd name="csX13" fmla="*/ 288955 w 337008"/>
              <a:gd name="csY13" fmla="*/ 1844 h 76321"/>
              <a:gd name="csX14" fmla="*/ 307132 w 337008"/>
              <a:gd name="csY14" fmla="*/ 164 h 76321"/>
              <a:gd name="csX15" fmla="*/ 324030 w 337008"/>
              <a:gd name="csY15" fmla="*/ 9691 h 76321"/>
              <a:gd name="csX16" fmla="*/ 336033 w 337008"/>
              <a:gd name="csY16" fmla="*/ 39107 h 76321"/>
              <a:gd name="csX17" fmla="*/ 328060 w 337008"/>
              <a:gd name="csY17" fmla="*/ 52413 h 76321"/>
              <a:gd name="csX18" fmla="*/ 297312 w 337008"/>
              <a:gd name="csY18" fmla="*/ 59188 h 76321"/>
              <a:gd name="csX19" fmla="*/ 207688 w 337008"/>
              <a:gd name="csY19" fmla="*/ 64284 h 76321"/>
              <a:gd name="csX20" fmla="*/ 330050 w 337008"/>
              <a:gd name="csY20" fmla="*/ 45606 h 76321"/>
              <a:gd name="csX21" fmla="*/ 317356 w 337008"/>
              <a:gd name="csY21" fmla="*/ 11297 h 76321"/>
              <a:gd name="csX22" fmla="*/ 304170 w 337008"/>
              <a:gd name="csY22" fmla="*/ 5545 h 76321"/>
              <a:gd name="csX23" fmla="*/ 273851 w 337008"/>
              <a:gd name="csY23" fmla="*/ 10014 h 76321"/>
              <a:gd name="csX24" fmla="*/ 163935 w 337008"/>
              <a:gd name="csY24" fmla="*/ 20274 h 76321"/>
              <a:gd name="csX25" fmla="*/ 17973 w 337008"/>
              <a:gd name="csY25" fmla="*/ 22950 h 76321"/>
              <a:gd name="csX26" fmla="*/ 7372 w 337008"/>
              <a:gd name="csY26" fmla="*/ 23601 h 76321"/>
              <a:gd name="csX27" fmla="*/ 7372 w 337008"/>
              <a:gd name="csY27" fmla="*/ 67898 h 76321"/>
              <a:gd name="csX28" fmla="*/ 207688 w 337008"/>
              <a:gd name="csY28" fmla="*/ 64284 h 7632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</a:cxnLst>
            <a:rect l="l" t="t" r="r" b="b"/>
            <a:pathLst>
              <a:path w="337008" h="76321">
                <a:moveTo>
                  <a:pt x="297312" y="59188"/>
                </a:moveTo>
                <a:cubicBezTo>
                  <a:pt x="278167" y="61672"/>
                  <a:pt x="260091" y="64212"/>
                  <a:pt x="241991" y="66577"/>
                </a:cubicBezTo>
                <a:cubicBezTo>
                  <a:pt x="223087" y="69047"/>
                  <a:pt x="204161" y="71350"/>
                  <a:pt x="185243" y="73717"/>
                </a:cubicBezTo>
                <a:cubicBezTo>
                  <a:pt x="184433" y="73818"/>
                  <a:pt x="183613" y="73861"/>
                  <a:pt x="182797" y="73873"/>
                </a:cubicBezTo>
                <a:cubicBezTo>
                  <a:pt x="128487" y="74710"/>
                  <a:pt x="74176" y="75556"/>
                  <a:pt x="19866" y="76320"/>
                </a:cubicBezTo>
                <a:cubicBezTo>
                  <a:pt x="17463" y="76354"/>
                  <a:pt x="15013" y="75797"/>
                  <a:pt x="12650" y="75242"/>
                </a:cubicBezTo>
                <a:cubicBezTo>
                  <a:pt x="80" y="72288"/>
                  <a:pt x="58" y="72258"/>
                  <a:pt x="19" y="59006"/>
                </a:cubicBezTo>
                <a:cubicBezTo>
                  <a:pt x="-19" y="45942"/>
                  <a:pt x="11" y="32877"/>
                  <a:pt x="11" y="18266"/>
                </a:cubicBezTo>
                <a:cubicBezTo>
                  <a:pt x="4987" y="17944"/>
                  <a:pt x="9266" y="17435"/>
                  <a:pt x="13547" y="17427"/>
                </a:cubicBezTo>
                <a:cubicBezTo>
                  <a:pt x="45459" y="17362"/>
                  <a:pt x="77385" y="17975"/>
                  <a:pt x="109279" y="17200"/>
                </a:cubicBezTo>
                <a:cubicBezTo>
                  <a:pt x="130782" y="16677"/>
                  <a:pt x="152239" y="14265"/>
                  <a:pt x="173714" y="12645"/>
                </a:cubicBezTo>
                <a:cubicBezTo>
                  <a:pt x="184250" y="11850"/>
                  <a:pt x="194770" y="10836"/>
                  <a:pt x="205309" y="10096"/>
                </a:cubicBezTo>
                <a:cubicBezTo>
                  <a:pt x="218698" y="9156"/>
                  <a:pt x="232139" y="8783"/>
                  <a:pt x="245485" y="7449"/>
                </a:cubicBezTo>
                <a:cubicBezTo>
                  <a:pt x="260017" y="5997"/>
                  <a:pt x="274456" y="3648"/>
                  <a:pt x="288955" y="1844"/>
                </a:cubicBezTo>
                <a:cubicBezTo>
                  <a:pt x="294991" y="1094"/>
                  <a:pt x="301100" y="930"/>
                  <a:pt x="307132" y="164"/>
                </a:cubicBezTo>
                <a:cubicBezTo>
                  <a:pt x="315239" y="-865"/>
                  <a:pt x="320841" y="3022"/>
                  <a:pt x="324030" y="9691"/>
                </a:cubicBezTo>
                <a:cubicBezTo>
                  <a:pt x="328594" y="19236"/>
                  <a:pt x="332712" y="29070"/>
                  <a:pt x="336033" y="39107"/>
                </a:cubicBezTo>
                <a:cubicBezTo>
                  <a:pt x="338557" y="46735"/>
                  <a:pt x="336278" y="50185"/>
                  <a:pt x="328060" y="52413"/>
                </a:cubicBezTo>
                <a:cubicBezTo>
                  <a:pt x="318273" y="55068"/>
                  <a:pt x="308277" y="56950"/>
                  <a:pt x="297312" y="59188"/>
                </a:cubicBezTo>
                <a:moveTo>
                  <a:pt x="207688" y="64284"/>
                </a:moveTo>
                <a:cubicBezTo>
                  <a:pt x="248681" y="60632"/>
                  <a:pt x="289317" y="54812"/>
                  <a:pt x="330050" y="45606"/>
                </a:cubicBezTo>
                <a:cubicBezTo>
                  <a:pt x="327603" y="32443"/>
                  <a:pt x="323777" y="21532"/>
                  <a:pt x="317356" y="11297"/>
                </a:cubicBezTo>
                <a:cubicBezTo>
                  <a:pt x="313908" y="5803"/>
                  <a:pt x="310145" y="4465"/>
                  <a:pt x="304170" y="5545"/>
                </a:cubicBezTo>
                <a:cubicBezTo>
                  <a:pt x="294121" y="7361"/>
                  <a:pt x="284007" y="9006"/>
                  <a:pt x="273851" y="10014"/>
                </a:cubicBezTo>
                <a:cubicBezTo>
                  <a:pt x="237233" y="13650"/>
                  <a:pt x="200632" y="17661"/>
                  <a:pt x="163935" y="20274"/>
                </a:cubicBezTo>
                <a:cubicBezTo>
                  <a:pt x="115360" y="23734"/>
                  <a:pt x="66701" y="25937"/>
                  <a:pt x="17973" y="22950"/>
                </a:cubicBezTo>
                <a:cubicBezTo>
                  <a:pt x="14492" y="22737"/>
                  <a:pt x="10959" y="23361"/>
                  <a:pt x="7372" y="23601"/>
                </a:cubicBezTo>
                <a:cubicBezTo>
                  <a:pt x="7372" y="38609"/>
                  <a:pt x="7372" y="52361"/>
                  <a:pt x="7372" y="67898"/>
                </a:cubicBezTo>
                <a:cubicBezTo>
                  <a:pt x="74001" y="69806"/>
                  <a:pt x="139746" y="71025"/>
                  <a:pt x="207688" y="64284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70" name="Free-form: Shape 169">
            <a:extLst>
              <a:ext uri="{FF2B5EF4-FFF2-40B4-BE49-F238E27FC236}">
                <a16:creationId xmlns:a16="http://schemas.microsoft.com/office/drawing/2014/main" id="{C4AC7C48-6703-FB10-55C4-0B48172AB4E8}"/>
              </a:ext>
            </a:extLst>
          </p:cNvPr>
          <p:cNvSpPr/>
          <p:nvPr/>
        </p:nvSpPr>
        <p:spPr>
          <a:xfrm>
            <a:off x="2837628" y="2642020"/>
            <a:ext cx="188426" cy="132688"/>
          </a:xfrm>
          <a:custGeom>
            <a:avLst/>
            <a:gdLst>
              <a:gd name="csX0" fmla="*/ 14160 w 303463"/>
              <a:gd name="csY0" fmla="*/ 7889 h 213695"/>
              <a:gd name="csX1" fmla="*/ 195033 w 303463"/>
              <a:gd name="csY1" fmla="*/ 0 h 213695"/>
              <a:gd name="csX2" fmla="*/ 197208 w 303463"/>
              <a:gd name="csY2" fmla="*/ 5635 h 213695"/>
              <a:gd name="csX3" fmla="*/ 227014 w 303463"/>
              <a:gd name="csY3" fmla="*/ 60660 h 213695"/>
              <a:gd name="csX4" fmla="*/ 265823 w 303463"/>
              <a:gd name="csY4" fmla="*/ 98217 h 213695"/>
              <a:gd name="csX5" fmla="*/ 303210 w 303463"/>
              <a:gd name="csY5" fmla="*/ 180358 h 213695"/>
              <a:gd name="csX6" fmla="*/ 303282 w 303463"/>
              <a:gd name="csY6" fmla="*/ 193964 h 213695"/>
              <a:gd name="csX7" fmla="*/ 4971 w 303463"/>
              <a:gd name="csY7" fmla="*/ 213017 h 213695"/>
              <a:gd name="csX8" fmla="*/ 5093 w 303463"/>
              <a:gd name="csY8" fmla="*/ 173484 h 213695"/>
              <a:gd name="csX9" fmla="*/ 4767 w 303463"/>
              <a:gd name="csY9" fmla="*/ 54607 h 213695"/>
              <a:gd name="csX10" fmla="*/ 0 w 303463"/>
              <a:gd name="csY10" fmla="*/ 7887 h 213695"/>
              <a:gd name="csX11" fmla="*/ 14160 w 303463"/>
              <a:gd name="csY11" fmla="*/ 7889 h 21369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303463" h="213695">
                <a:moveTo>
                  <a:pt x="14160" y="7889"/>
                </a:moveTo>
                <a:cubicBezTo>
                  <a:pt x="75371" y="8627"/>
                  <a:pt x="135292" y="5744"/>
                  <a:pt x="195033" y="0"/>
                </a:cubicBezTo>
                <a:cubicBezTo>
                  <a:pt x="196084" y="2662"/>
                  <a:pt x="196986" y="4099"/>
                  <a:pt x="197208" y="5635"/>
                </a:cubicBezTo>
                <a:cubicBezTo>
                  <a:pt x="200391" y="27650"/>
                  <a:pt x="211307" y="45450"/>
                  <a:pt x="227014" y="60660"/>
                </a:cubicBezTo>
                <a:cubicBezTo>
                  <a:pt x="239947" y="73182"/>
                  <a:pt x="253006" y="85577"/>
                  <a:pt x="265823" y="98217"/>
                </a:cubicBezTo>
                <a:cubicBezTo>
                  <a:pt x="288727" y="120806"/>
                  <a:pt x="299071" y="149215"/>
                  <a:pt x="303210" y="180358"/>
                </a:cubicBezTo>
                <a:cubicBezTo>
                  <a:pt x="303735" y="184317"/>
                  <a:pt x="303282" y="188405"/>
                  <a:pt x="303282" y="193964"/>
                </a:cubicBezTo>
                <a:cubicBezTo>
                  <a:pt x="204065" y="208804"/>
                  <a:pt x="105022" y="216044"/>
                  <a:pt x="4971" y="213017"/>
                </a:cubicBezTo>
                <a:cubicBezTo>
                  <a:pt x="4971" y="199268"/>
                  <a:pt x="4314" y="186332"/>
                  <a:pt x="5093" y="173484"/>
                </a:cubicBezTo>
                <a:cubicBezTo>
                  <a:pt x="7497" y="133835"/>
                  <a:pt x="8211" y="94216"/>
                  <a:pt x="4767" y="54607"/>
                </a:cubicBezTo>
                <a:cubicBezTo>
                  <a:pt x="3464" y="39611"/>
                  <a:pt x="1725" y="24653"/>
                  <a:pt x="0" y="7887"/>
                </a:cubicBezTo>
                <a:cubicBezTo>
                  <a:pt x="4390" y="7887"/>
                  <a:pt x="8696" y="7887"/>
                  <a:pt x="14160" y="7889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71" name="Free-form: Shape 170">
            <a:extLst>
              <a:ext uri="{FF2B5EF4-FFF2-40B4-BE49-F238E27FC236}">
                <a16:creationId xmlns:a16="http://schemas.microsoft.com/office/drawing/2014/main" id="{10B87BA9-3A17-72CB-25B3-55B78BB919CB}"/>
              </a:ext>
            </a:extLst>
          </p:cNvPr>
          <p:cNvSpPr/>
          <p:nvPr/>
        </p:nvSpPr>
        <p:spPr>
          <a:xfrm>
            <a:off x="2803866" y="2112264"/>
            <a:ext cx="129814" cy="126299"/>
          </a:xfrm>
          <a:custGeom>
            <a:avLst/>
            <a:gdLst>
              <a:gd name="csX0" fmla="*/ 10475 w 209067"/>
              <a:gd name="csY0" fmla="*/ 41718 h 203406"/>
              <a:gd name="csX1" fmla="*/ 100250 w 209067"/>
              <a:gd name="csY1" fmla="*/ 1265 h 203406"/>
              <a:gd name="csX2" fmla="*/ 206681 w 209067"/>
              <a:gd name="csY2" fmla="*/ 98526 h 203406"/>
              <a:gd name="csX3" fmla="*/ 134647 w 209067"/>
              <a:gd name="csY3" fmla="*/ 202431 h 203406"/>
              <a:gd name="csX4" fmla="*/ 40986 w 209067"/>
              <a:gd name="csY4" fmla="*/ 171438 h 203406"/>
              <a:gd name="csX5" fmla="*/ 143 w 209067"/>
              <a:gd name="csY5" fmla="*/ 85158 h 203406"/>
              <a:gd name="csX6" fmla="*/ 10475 w 209067"/>
              <a:gd name="csY6" fmla="*/ 41718 h 20340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</a:cxnLst>
            <a:rect l="l" t="t" r="r" b="b"/>
            <a:pathLst>
              <a:path w="209067" h="203406">
                <a:moveTo>
                  <a:pt x="10475" y="41718"/>
                </a:moveTo>
                <a:cubicBezTo>
                  <a:pt x="31065" y="6021"/>
                  <a:pt x="63171" y="-3865"/>
                  <a:pt x="100250" y="1265"/>
                </a:cubicBezTo>
                <a:cubicBezTo>
                  <a:pt x="157191" y="9144"/>
                  <a:pt x="196951" y="51394"/>
                  <a:pt x="206681" y="98526"/>
                </a:cubicBezTo>
                <a:cubicBezTo>
                  <a:pt x="219504" y="160635"/>
                  <a:pt x="178523" y="196657"/>
                  <a:pt x="134647" y="202431"/>
                </a:cubicBezTo>
                <a:cubicBezTo>
                  <a:pt x="98365" y="207204"/>
                  <a:pt x="68101" y="194086"/>
                  <a:pt x="40986" y="171438"/>
                </a:cubicBezTo>
                <a:cubicBezTo>
                  <a:pt x="14115" y="148994"/>
                  <a:pt x="2457" y="119007"/>
                  <a:pt x="143" y="85158"/>
                </a:cubicBezTo>
                <a:cubicBezTo>
                  <a:pt x="-869" y="70364"/>
                  <a:pt x="3586" y="56015"/>
                  <a:pt x="10475" y="41718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72" name="Free-form: Shape 171">
            <a:extLst>
              <a:ext uri="{FF2B5EF4-FFF2-40B4-BE49-F238E27FC236}">
                <a16:creationId xmlns:a16="http://schemas.microsoft.com/office/drawing/2014/main" id="{10A9C1B2-7063-A059-E15C-BD8EC221C87C}"/>
              </a:ext>
            </a:extLst>
          </p:cNvPr>
          <p:cNvSpPr/>
          <p:nvPr/>
        </p:nvSpPr>
        <p:spPr>
          <a:xfrm>
            <a:off x="2840125" y="2325302"/>
            <a:ext cx="97564" cy="25665"/>
          </a:xfrm>
          <a:custGeom>
            <a:avLst/>
            <a:gdLst>
              <a:gd name="csX0" fmla="*/ 69625 w 157129"/>
              <a:gd name="csY0" fmla="*/ 0 h 41334"/>
              <a:gd name="csX1" fmla="*/ 119596 w 157129"/>
              <a:gd name="csY1" fmla="*/ 1945 h 41334"/>
              <a:gd name="csX2" fmla="*/ 150973 w 157129"/>
              <a:gd name="csY2" fmla="*/ 14889 h 41334"/>
              <a:gd name="csX3" fmla="*/ 151351 w 157129"/>
              <a:gd name="csY3" fmla="*/ 34058 h 41334"/>
              <a:gd name="csX4" fmla="*/ 133492 w 157129"/>
              <a:gd name="csY4" fmla="*/ 40697 h 41334"/>
              <a:gd name="csX5" fmla="*/ 106556 w 157129"/>
              <a:gd name="csY5" fmla="*/ 41092 h 41334"/>
              <a:gd name="csX6" fmla="*/ 13373 w 157129"/>
              <a:gd name="csY6" fmla="*/ 40708 h 41334"/>
              <a:gd name="csX7" fmla="*/ 1312 w 157129"/>
              <a:gd name="csY7" fmla="*/ 40191 h 41334"/>
              <a:gd name="csX8" fmla="*/ 3367 w 157129"/>
              <a:gd name="csY8" fmla="*/ 13162 h 41334"/>
              <a:gd name="csX9" fmla="*/ 20752 w 157129"/>
              <a:gd name="csY9" fmla="*/ 1879 h 41334"/>
              <a:gd name="csX10" fmla="*/ 52625 w 157129"/>
              <a:gd name="csY10" fmla="*/ 1332 h 41334"/>
              <a:gd name="csX11" fmla="*/ 69625 w 157129"/>
              <a:gd name="csY11" fmla="*/ 0 h 4133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157129" h="41334">
                <a:moveTo>
                  <a:pt x="69625" y="0"/>
                </a:moveTo>
                <a:cubicBezTo>
                  <a:pt x="87054" y="491"/>
                  <a:pt x="103407" y="373"/>
                  <a:pt x="119596" y="1945"/>
                </a:cubicBezTo>
                <a:cubicBezTo>
                  <a:pt x="131020" y="3055"/>
                  <a:pt x="141713" y="7767"/>
                  <a:pt x="150973" y="14889"/>
                </a:cubicBezTo>
                <a:cubicBezTo>
                  <a:pt x="158820" y="20925"/>
                  <a:pt x="159403" y="28236"/>
                  <a:pt x="151351" y="34058"/>
                </a:cubicBezTo>
                <a:cubicBezTo>
                  <a:pt x="146355" y="37671"/>
                  <a:pt x="139678" y="39910"/>
                  <a:pt x="133492" y="40697"/>
                </a:cubicBezTo>
                <a:cubicBezTo>
                  <a:pt x="124640" y="41824"/>
                  <a:pt x="115547" y="41120"/>
                  <a:pt x="106556" y="41092"/>
                </a:cubicBezTo>
                <a:cubicBezTo>
                  <a:pt x="75495" y="40996"/>
                  <a:pt x="44434" y="40872"/>
                  <a:pt x="13373" y="40708"/>
                </a:cubicBezTo>
                <a:cubicBezTo>
                  <a:pt x="9391" y="40687"/>
                  <a:pt x="5410" y="40374"/>
                  <a:pt x="1312" y="40191"/>
                </a:cubicBezTo>
                <a:cubicBezTo>
                  <a:pt x="-1416" y="30384"/>
                  <a:pt x="523" y="21512"/>
                  <a:pt x="3367" y="13162"/>
                </a:cubicBezTo>
                <a:cubicBezTo>
                  <a:pt x="5963" y="5538"/>
                  <a:pt x="12701" y="2077"/>
                  <a:pt x="20752" y="1879"/>
                </a:cubicBezTo>
                <a:cubicBezTo>
                  <a:pt x="31375" y="1617"/>
                  <a:pt x="42004" y="1647"/>
                  <a:pt x="52625" y="1332"/>
                </a:cubicBezTo>
                <a:cubicBezTo>
                  <a:pt x="57918" y="1176"/>
                  <a:pt x="63195" y="535"/>
                  <a:pt x="69625" y="0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73" name="Free-form: Shape 172">
            <a:extLst>
              <a:ext uri="{FF2B5EF4-FFF2-40B4-BE49-F238E27FC236}">
                <a16:creationId xmlns:a16="http://schemas.microsoft.com/office/drawing/2014/main" id="{C4D8C939-5D0A-A45F-E58E-E3634BD16875}"/>
              </a:ext>
            </a:extLst>
          </p:cNvPr>
          <p:cNvSpPr/>
          <p:nvPr/>
        </p:nvSpPr>
        <p:spPr>
          <a:xfrm>
            <a:off x="2836652" y="2376189"/>
            <a:ext cx="102191" cy="241686"/>
          </a:xfrm>
          <a:custGeom>
            <a:avLst/>
            <a:gdLst>
              <a:gd name="csX0" fmla="*/ 91265 w 164579"/>
              <a:gd name="csY0" fmla="*/ 157878 h 389238"/>
              <a:gd name="csX1" fmla="*/ 112882 w 164579"/>
              <a:gd name="csY1" fmla="*/ 252738 h 389238"/>
              <a:gd name="csX2" fmla="*/ 164579 w 164579"/>
              <a:gd name="csY2" fmla="*/ 389238 h 389238"/>
              <a:gd name="csX3" fmla="*/ 0 w 164579"/>
              <a:gd name="csY3" fmla="*/ 389238 h 389238"/>
              <a:gd name="csX4" fmla="*/ 5184 w 164579"/>
              <a:gd name="csY4" fmla="*/ 260105 h 389238"/>
              <a:gd name="csX5" fmla="*/ 7989 w 164579"/>
              <a:gd name="csY5" fmla="*/ 131182 h 389238"/>
              <a:gd name="csX6" fmla="*/ 8093 w 164579"/>
              <a:gd name="csY6" fmla="*/ 2390 h 389238"/>
              <a:gd name="csX7" fmla="*/ 76429 w 164579"/>
              <a:gd name="csY7" fmla="*/ 1531 h 389238"/>
              <a:gd name="csX8" fmla="*/ 91265 w 164579"/>
              <a:gd name="csY8" fmla="*/ 157878 h 38923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</a:cxnLst>
            <a:rect l="l" t="t" r="r" b="b"/>
            <a:pathLst>
              <a:path w="164579" h="389238">
                <a:moveTo>
                  <a:pt x="91265" y="157878"/>
                </a:moveTo>
                <a:cubicBezTo>
                  <a:pt x="98425" y="190232"/>
                  <a:pt x="104539" y="221785"/>
                  <a:pt x="112882" y="252738"/>
                </a:cubicBezTo>
                <a:cubicBezTo>
                  <a:pt x="125498" y="299549"/>
                  <a:pt x="141482" y="345258"/>
                  <a:pt x="164579" y="389238"/>
                </a:cubicBezTo>
                <a:cubicBezTo>
                  <a:pt x="109753" y="389238"/>
                  <a:pt x="55706" y="389238"/>
                  <a:pt x="0" y="389238"/>
                </a:cubicBezTo>
                <a:cubicBezTo>
                  <a:pt x="1781" y="345633"/>
                  <a:pt x="3844" y="302880"/>
                  <a:pt x="5184" y="260105"/>
                </a:cubicBezTo>
                <a:cubicBezTo>
                  <a:pt x="6529" y="217143"/>
                  <a:pt x="7519" y="174162"/>
                  <a:pt x="7989" y="131182"/>
                </a:cubicBezTo>
                <a:cubicBezTo>
                  <a:pt x="8459" y="88239"/>
                  <a:pt x="8093" y="45287"/>
                  <a:pt x="8093" y="2390"/>
                </a:cubicBezTo>
                <a:cubicBezTo>
                  <a:pt x="17041" y="-288"/>
                  <a:pt x="58537" y="-913"/>
                  <a:pt x="76429" y="1531"/>
                </a:cubicBezTo>
                <a:cubicBezTo>
                  <a:pt x="79287" y="53276"/>
                  <a:pt x="82219" y="105359"/>
                  <a:pt x="91265" y="157878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74" name="Free-form: Shape 173">
            <a:extLst>
              <a:ext uri="{FF2B5EF4-FFF2-40B4-BE49-F238E27FC236}">
                <a16:creationId xmlns:a16="http://schemas.microsoft.com/office/drawing/2014/main" id="{8DD4B4BB-19DB-A129-9744-51DB91AF0074}"/>
              </a:ext>
            </a:extLst>
          </p:cNvPr>
          <p:cNvSpPr/>
          <p:nvPr/>
        </p:nvSpPr>
        <p:spPr>
          <a:xfrm>
            <a:off x="2838471" y="2791702"/>
            <a:ext cx="200357" cy="39865"/>
          </a:xfrm>
          <a:custGeom>
            <a:avLst/>
            <a:gdLst>
              <a:gd name="csX0" fmla="*/ 199184 w 322677"/>
              <a:gd name="csY0" fmla="*/ 59136 h 64202"/>
              <a:gd name="csX1" fmla="*/ 0 w 322677"/>
              <a:gd name="csY1" fmla="*/ 62697 h 64202"/>
              <a:gd name="csX2" fmla="*/ 0 w 322677"/>
              <a:gd name="csY2" fmla="*/ 18400 h 64202"/>
              <a:gd name="csX3" fmla="*/ 10601 w 322677"/>
              <a:gd name="csY3" fmla="*/ 17750 h 64202"/>
              <a:gd name="csX4" fmla="*/ 156563 w 322677"/>
              <a:gd name="csY4" fmla="*/ 15074 h 64202"/>
              <a:gd name="csX5" fmla="*/ 266479 w 322677"/>
              <a:gd name="csY5" fmla="*/ 4814 h 64202"/>
              <a:gd name="csX6" fmla="*/ 296798 w 322677"/>
              <a:gd name="csY6" fmla="*/ 344 h 64202"/>
              <a:gd name="csX7" fmla="*/ 309983 w 322677"/>
              <a:gd name="csY7" fmla="*/ 6097 h 64202"/>
              <a:gd name="csX8" fmla="*/ 322678 w 322677"/>
              <a:gd name="csY8" fmla="*/ 40406 h 64202"/>
              <a:gd name="csX9" fmla="*/ 199184 w 322677"/>
              <a:gd name="csY9" fmla="*/ 59136 h 6420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322677" h="64202">
                <a:moveTo>
                  <a:pt x="199184" y="59136"/>
                </a:moveTo>
                <a:cubicBezTo>
                  <a:pt x="132374" y="65824"/>
                  <a:pt x="66629" y="64605"/>
                  <a:pt x="0" y="62697"/>
                </a:cubicBezTo>
                <a:cubicBezTo>
                  <a:pt x="0" y="47160"/>
                  <a:pt x="0" y="33409"/>
                  <a:pt x="0" y="18400"/>
                </a:cubicBezTo>
                <a:cubicBezTo>
                  <a:pt x="3587" y="18160"/>
                  <a:pt x="7120" y="17536"/>
                  <a:pt x="10601" y="17750"/>
                </a:cubicBezTo>
                <a:cubicBezTo>
                  <a:pt x="59329" y="20736"/>
                  <a:pt x="107987" y="18533"/>
                  <a:pt x="156563" y="15074"/>
                </a:cubicBezTo>
                <a:cubicBezTo>
                  <a:pt x="193260" y="12461"/>
                  <a:pt x="229860" y="8449"/>
                  <a:pt x="266479" y="4814"/>
                </a:cubicBezTo>
                <a:cubicBezTo>
                  <a:pt x="276635" y="3806"/>
                  <a:pt x="286748" y="2160"/>
                  <a:pt x="296798" y="344"/>
                </a:cubicBezTo>
                <a:cubicBezTo>
                  <a:pt x="302773" y="-735"/>
                  <a:pt x="306536" y="602"/>
                  <a:pt x="309983" y="6097"/>
                </a:cubicBezTo>
                <a:cubicBezTo>
                  <a:pt x="316405" y="16331"/>
                  <a:pt x="320231" y="27243"/>
                  <a:pt x="322678" y="40406"/>
                </a:cubicBezTo>
                <a:cubicBezTo>
                  <a:pt x="281944" y="49611"/>
                  <a:pt x="241309" y="55431"/>
                  <a:pt x="199184" y="59136"/>
                </a:cubicBezTo>
                <a:close/>
              </a:path>
            </a:pathLst>
          </a:custGeom>
          <a:solidFill>
            <a:schemeClr val="bg1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75" name="TextBox 174">
            <a:extLst>
              <a:ext uri="{FF2B5EF4-FFF2-40B4-BE49-F238E27FC236}">
                <a16:creationId xmlns:a16="http://schemas.microsoft.com/office/drawing/2014/main" id="{AFB53F3A-0886-48F1-09D4-1E74B9428B61}"/>
              </a:ext>
            </a:extLst>
          </p:cNvPr>
          <p:cNvSpPr txBox="1"/>
          <p:nvPr/>
        </p:nvSpPr>
        <p:spPr>
          <a:xfrm>
            <a:off x="2386571" y="3006819"/>
            <a:ext cx="863983" cy="3927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SCT</a:t>
            </a:r>
          </a:p>
        </p:txBody>
      </p:sp>
      <p:sp>
        <p:nvSpPr>
          <p:cNvPr id="176" name="TextBox 175">
            <a:extLst>
              <a:ext uri="{FF2B5EF4-FFF2-40B4-BE49-F238E27FC236}">
                <a16:creationId xmlns:a16="http://schemas.microsoft.com/office/drawing/2014/main" id="{006FF17B-BCDD-8D98-0ABD-56C1C28DB673}"/>
              </a:ext>
            </a:extLst>
          </p:cNvPr>
          <p:cNvSpPr txBox="1"/>
          <p:nvPr/>
        </p:nvSpPr>
        <p:spPr>
          <a:xfrm>
            <a:off x="8126604" y="3450532"/>
            <a:ext cx="1710704" cy="3927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D20×CD3 </a:t>
            </a:r>
            <a:r>
              <a: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BsAb</a:t>
            </a: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77" name="Oval 176">
            <a:extLst>
              <a:ext uri="{FF2B5EF4-FFF2-40B4-BE49-F238E27FC236}">
                <a16:creationId xmlns:a16="http://schemas.microsoft.com/office/drawing/2014/main" id="{6ACBE38F-EBD5-FA3F-CF79-A78B62A46F7F}"/>
              </a:ext>
            </a:extLst>
          </p:cNvPr>
          <p:cNvSpPr/>
          <p:nvPr/>
        </p:nvSpPr>
        <p:spPr>
          <a:xfrm>
            <a:off x="8479954" y="3221508"/>
            <a:ext cx="739960" cy="152189"/>
          </a:xfrm>
          <a:prstGeom prst="ellipse">
            <a:avLst/>
          </a:prstGeom>
          <a:solidFill>
            <a:schemeClr val="tx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78" name="Free-form: Shape 177">
            <a:extLst>
              <a:ext uri="{FF2B5EF4-FFF2-40B4-BE49-F238E27FC236}">
                <a16:creationId xmlns:a16="http://schemas.microsoft.com/office/drawing/2014/main" id="{D491900B-5EFD-03C1-B2C4-D8708DA653DD}"/>
              </a:ext>
            </a:extLst>
          </p:cNvPr>
          <p:cNvSpPr/>
          <p:nvPr/>
        </p:nvSpPr>
        <p:spPr>
          <a:xfrm>
            <a:off x="8559918" y="1919931"/>
            <a:ext cx="650203" cy="1414846"/>
          </a:xfrm>
          <a:custGeom>
            <a:avLst/>
            <a:gdLst>
              <a:gd name="csX0" fmla="*/ 466852 w 715223"/>
              <a:gd name="csY0" fmla="*/ 229083 h 1556330"/>
              <a:gd name="csX1" fmla="*/ 462328 w 715223"/>
              <a:gd name="csY1" fmla="*/ 242604 h 1556330"/>
              <a:gd name="csX2" fmla="*/ 496944 w 715223"/>
              <a:gd name="csY2" fmla="*/ 204739 h 1556330"/>
              <a:gd name="csX3" fmla="*/ 534359 w 715223"/>
              <a:gd name="csY3" fmla="*/ 270960 h 1556330"/>
              <a:gd name="csX4" fmla="*/ 540589 w 715223"/>
              <a:gd name="csY4" fmla="*/ 445986 h 1556330"/>
              <a:gd name="csX5" fmla="*/ 509727 w 715223"/>
              <a:gd name="csY5" fmla="*/ 496924 h 1556330"/>
              <a:gd name="csX6" fmla="*/ 505366 w 715223"/>
              <a:gd name="csY6" fmla="*/ 511893 h 1556330"/>
              <a:gd name="csX7" fmla="*/ 501982 w 715223"/>
              <a:gd name="csY7" fmla="*/ 530377 h 1556330"/>
              <a:gd name="csX8" fmla="*/ 505678 w 715223"/>
              <a:gd name="csY8" fmla="*/ 556455 h 1556330"/>
              <a:gd name="csX9" fmla="*/ 526115 w 715223"/>
              <a:gd name="csY9" fmla="*/ 591784 h 1556330"/>
              <a:gd name="csX10" fmla="*/ 541579 w 715223"/>
              <a:gd name="csY10" fmla="*/ 612264 h 1556330"/>
              <a:gd name="csX11" fmla="*/ 569572 w 715223"/>
              <a:gd name="csY11" fmla="*/ 643441 h 1556330"/>
              <a:gd name="csX12" fmla="*/ 555234 w 715223"/>
              <a:gd name="csY12" fmla="*/ 688473 h 1556330"/>
              <a:gd name="csX13" fmla="*/ 513278 w 715223"/>
              <a:gd name="csY13" fmla="*/ 700556 h 1556330"/>
              <a:gd name="csX14" fmla="*/ 488559 w 715223"/>
              <a:gd name="csY14" fmla="*/ 702821 h 1556330"/>
              <a:gd name="csX15" fmla="*/ 488544 w 715223"/>
              <a:gd name="csY15" fmla="*/ 718085 h 1556330"/>
              <a:gd name="csX16" fmla="*/ 526561 w 715223"/>
              <a:gd name="csY16" fmla="*/ 1010212 h 1556330"/>
              <a:gd name="csX17" fmla="*/ 569986 w 715223"/>
              <a:gd name="csY17" fmla="*/ 1153317 h 1556330"/>
              <a:gd name="csX18" fmla="*/ 587389 w 715223"/>
              <a:gd name="csY18" fmla="*/ 1172173 h 1556330"/>
              <a:gd name="csX19" fmla="*/ 606286 w 715223"/>
              <a:gd name="csY19" fmla="*/ 1180891 h 1556330"/>
              <a:gd name="csX20" fmla="*/ 613400 w 715223"/>
              <a:gd name="csY20" fmla="*/ 1204260 h 1556330"/>
              <a:gd name="csX21" fmla="*/ 605350 w 715223"/>
              <a:gd name="csY21" fmla="*/ 1216760 h 1556330"/>
              <a:gd name="csX22" fmla="*/ 600268 w 715223"/>
              <a:gd name="csY22" fmla="*/ 1220273 h 1556330"/>
              <a:gd name="csX23" fmla="*/ 610574 w 715223"/>
              <a:gd name="csY23" fmla="*/ 1258750 h 1556330"/>
              <a:gd name="csX24" fmla="*/ 672371 w 715223"/>
              <a:gd name="csY24" fmla="*/ 1319810 h 1556330"/>
              <a:gd name="csX25" fmla="*/ 675494 w 715223"/>
              <a:gd name="csY25" fmla="*/ 1323366 h 1556330"/>
              <a:gd name="csX26" fmla="*/ 692949 w 715223"/>
              <a:gd name="csY26" fmla="*/ 1396068 h 1556330"/>
              <a:gd name="csX27" fmla="*/ 690628 w 715223"/>
              <a:gd name="csY27" fmla="*/ 1414117 h 1556330"/>
              <a:gd name="csX28" fmla="*/ 695588 w 715223"/>
              <a:gd name="csY28" fmla="*/ 1421035 h 1556330"/>
              <a:gd name="csX29" fmla="*/ 694353 w 715223"/>
              <a:gd name="csY29" fmla="*/ 1425190 h 1556330"/>
              <a:gd name="csX30" fmla="*/ 689106 w 715223"/>
              <a:gd name="csY30" fmla="*/ 1428714 h 1556330"/>
              <a:gd name="csX31" fmla="*/ 695093 w 715223"/>
              <a:gd name="csY31" fmla="*/ 1428433 h 1556330"/>
              <a:gd name="csX32" fmla="*/ 697643 w 715223"/>
              <a:gd name="csY32" fmla="*/ 1432864 h 1556330"/>
              <a:gd name="csX33" fmla="*/ 698207 w 715223"/>
              <a:gd name="csY33" fmla="*/ 1441988 h 1556330"/>
              <a:gd name="csX34" fmla="*/ 715183 w 715223"/>
              <a:gd name="csY34" fmla="*/ 1508752 h 1556330"/>
              <a:gd name="csX35" fmla="*/ 701540 w 715223"/>
              <a:gd name="csY35" fmla="*/ 1526524 h 1556330"/>
              <a:gd name="csX36" fmla="*/ 581715 w 715223"/>
              <a:gd name="csY36" fmla="*/ 1548559 h 1556330"/>
              <a:gd name="csX37" fmla="*/ 522168 w 715223"/>
              <a:gd name="csY37" fmla="*/ 1553543 h 1556330"/>
              <a:gd name="csX38" fmla="*/ 450008 w 715223"/>
              <a:gd name="csY38" fmla="*/ 1556019 h 1556330"/>
              <a:gd name="csX39" fmla="*/ 245169 w 715223"/>
              <a:gd name="csY39" fmla="*/ 1553749 h 1556330"/>
              <a:gd name="csX40" fmla="*/ 221854 w 715223"/>
              <a:gd name="csY40" fmla="*/ 1553306 h 1556330"/>
              <a:gd name="csX41" fmla="*/ 168405 w 715223"/>
              <a:gd name="csY41" fmla="*/ 1548828 h 1556330"/>
              <a:gd name="csX42" fmla="*/ 126970 w 715223"/>
              <a:gd name="csY42" fmla="*/ 1546091 h 1556330"/>
              <a:gd name="csX43" fmla="*/ 104053 w 715223"/>
              <a:gd name="csY43" fmla="*/ 1542912 h 1556330"/>
              <a:gd name="csX44" fmla="*/ 65625 w 715223"/>
              <a:gd name="csY44" fmla="*/ 1536401 h 1556330"/>
              <a:gd name="csX45" fmla="*/ 10909 w 715223"/>
              <a:gd name="csY45" fmla="*/ 1524010 h 1556330"/>
              <a:gd name="csX46" fmla="*/ 8 w 715223"/>
              <a:gd name="csY46" fmla="*/ 1509263 h 1556330"/>
              <a:gd name="csX47" fmla="*/ 21158 w 715223"/>
              <a:gd name="csY47" fmla="*/ 1433611 h 1556330"/>
              <a:gd name="csX48" fmla="*/ 23462 w 715223"/>
              <a:gd name="csY48" fmla="*/ 1418658 h 1556330"/>
              <a:gd name="csX49" fmla="*/ 19643 w 715223"/>
              <a:gd name="csY49" fmla="*/ 1382324 h 1556330"/>
              <a:gd name="csX50" fmla="*/ 49060 w 715223"/>
              <a:gd name="csY50" fmla="*/ 1311832 h 1556330"/>
              <a:gd name="csX51" fmla="*/ 109176 w 715223"/>
              <a:gd name="csY51" fmla="*/ 1254078 h 1556330"/>
              <a:gd name="csX52" fmla="*/ 118319 w 715223"/>
              <a:gd name="csY52" fmla="*/ 1214801 h 1556330"/>
              <a:gd name="csX53" fmla="*/ 113082 w 715223"/>
              <a:gd name="csY53" fmla="*/ 1201084 h 1556330"/>
              <a:gd name="csX54" fmla="*/ 120417 w 715223"/>
              <a:gd name="csY54" fmla="*/ 1183950 h 1556330"/>
              <a:gd name="csX55" fmla="*/ 135209 w 715223"/>
              <a:gd name="csY55" fmla="*/ 1178138 h 1556330"/>
              <a:gd name="csX56" fmla="*/ 156535 w 715223"/>
              <a:gd name="csY56" fmla="*/ 1156396 h 1556330"/>
              <a:gd name="csX57" fmla="*/ 185647 w 715223"/>
              <a:gd name="csY57" fmla="*/ 1061682 h 1556330"/>
              <a:gd name="csX58" fmla="*/ 201074 w 715223"/>
              <a:gd name="csY58" fmla="*/ 1005093 h 1556330"/>
              <a:gd name="csX59" fmla="*/ 213864 w 715223"/>
              <a:gd name="csY59" fmla="*/ 943040 h 1556330"/>
              <a:gd name="csX60" fmla="*/ 223580 w 715223"/>
              <a:gd name="csY60" fmla="*/ 884167 h 1556330"/>
              <a:gd name="csX61" fmla="*/ 228827 w 715223"/>
              <a:gd name="csY61" fmla="*/ 839382 h 1556330"/>
              <a:gd name="csX62" fmla="*/ 233251 w 715223"/>
              <a:gd name="csY62" fmla="*/ 794539 h 1556330"/>
              <a:gd name="csX63" fmla="*/ 233413 w 715223"/>
              <a:gd name="csY63" fmla="*/ 708554 h 1556330"/>
              <a:gd name="csX64" fmla="*/ 232253 w 715223"/>
              <a:gd name="csY64" fmla="*/ 699181 h 1556330"/>
              <a:gd name="csX65" fmla="*/ 192775 w 715223"/>
              <a:gd name="csY65" fmla="*/ 693131 h 1556330"/>
              <a:gd name="csX66" fmla="*/ 166222 w 715223"/>
              <a:gd name="csY66" fmla="*/ 684229 h 1556330"/>
              <a:gd name="csX67" fmla="*/ 153485 w 715223"/>
              <a:gd name="csY67" fmla="*/ 649704 h 1556330"/>
              <a:gd name="csX68" fmla="*/ 179302 w 715223"/>
              <a:gd name="csY68" fmla="*/ 621006 h 1556330"/>
              <a:gd name="csX69" fmla="*/ 192182 w 715223"/>
              <a:gd name="csY69" fmla="*/ 601675 h 1556330"/>
              <a:gd name="csX70" fmla="*/ 204894 w 715223"/>
              <a:gd name="csY70" fmla="*/ 583417 h 1556330"/>
              <a:gd name="csX71" fmla="*/ 233213 w 715223"/>
              <a:gd name="csY71" fmla="*/ 564393 h 1556330"/>
              <a:gd name="csX72" fmla="*/ 229725 w 715223"/>
              <a:gd name="csY72" fmla="*/ 538177 h 1556330"/>
              <a:gd name="csX73" fmla="*/ 218771 w 715223"/>
              <a:gd name="csY73" fmla="*/ 532633 h 1556330"/>
              <a:gd name="csX74" fmla="*/ 215183 w 715223"/>
              <a:gd name="csY74" fmla="*/ 521568 h 1556330"/>
              <a:gd name="csX75" fmla="*/ 223368 w 715223"/>
              <a:gd name="csY75" fmla="*/ 508901 h 1556330"/>
              <a:gd name="csX76" fmla="*/ 218372 w 715223"/>
              <a:gd name="csY76" fmla="*/ 498135 h 1556330"/>
              <a:gd name="csX77" fmla="*/ 181440 w 715223"/>
              <a:gd name="csY77" fmla="*/ 432308 h 1556330"/>
              <a:gd name="csX78" fmla="*/ 167535 w 715223"/>
              <a:gd name="csY78" fmla="*/ 349841 h 1556330"/>
              <a:gd name="csX79" fmla="*/ 193488 w 715223"/>
              <a:gd name="csY79" fmla="*/ 262518 h 1556330"/>
              <a:gd name="csX80" fmla="*/ 237748 w 715223"/>
              <a:gd name="csY80" fmla="*/ 190690 h 1556330"/>
              <a:gd name="csX81" fmla="*/ 309459 w 715223"/>
              <a:gd name="csY81" fmla="*/ 102623 h 1556330"/>
              <a:gd name="csX82" fmla="*/ 310459 w 715223"/>
              <a:gd name="csY82" fmla="*/ 78521 h 1556330"/>
              <a:gd name="csX83" fmla="*/ 300267 w 715223"/>
              <a:gd name="csY83" fmla="*/ 57856 h 1556330"/>
              <a:gd name="csX84" fmla="*/ 332242 w 715223"/>
              <a:gd name="csY84" fmla="*/ 4422 h 1556330"/>
              <a:gd name="csX85" fmla="*/ 384904 w 715223"/>
              <a:gd name="csY85" fmla="*/ 5551 h 1556330"/>
              <a:gd name="csX86" fmla="*/ 409773 w 715223"/>
              <a:gd name="csY86" fmla="*/ 26778 h 1556330"/>
              <a:gd name="csX87" fmla="*/ 407026 w 715223"/>
              <a:gd name="csY87" fmla="*/ 46052 h 1556330"/>
              <a:gd name="csX88" fmla="*/ 402771 w 715223"/>
              <a:gd name="csY88" fmla="*/ 30951 h 1556330"/>
              <a:gd name="csX89" fmla="*/ 397038 w 715223"/>
              <a:gd name="csY89" fmla="*/ 30361 h 1556330"/>
              <a:gd name="csX90" fmla="*/ 360694 w 715223"/>
              <a:gd name="csY90" fmla="*/ 22760 h 1556330"/>
              <a:gd name="csX91" fmla="*/ 351669 w 715223"/>
              <a:gd name="csY91" fmla="*/ 31736 h 1556330"/>
              <a:gd name="csX92" fmla="*/ 351426 w 715223"/>
              <a:gd name="csY92" fmla="*/ 43987 h 1556330"/>
              <a:gd name="csX93" fmla="*/ 390968 w 715223"/>
              <a:gd name="csY93" fmla="*/ 68762 h 1556330"/>
              <a:gd name="csX94" fmla="*/ 401770 w 715223"/>
              <a:gd name="csY94" fmla="*/ 59025 h 1556330"/>
              <a:gd name="csX95" fmla="*/ 409619 w 715223"/>
              <a:gd name="csY95" fmla="*/ 55786 h 1556330"/>
              <a:gd name="csX96" fmla="*/ 410427 w 715223"/>
              <a:gd name="csY96" fmla="*/ 64256 h 1556330"/>
              <a:gd name="csX97" fmla="*/ 399453 w 715223"/>
              <a:gd name="csY97" fmla="*/ 81811 h 1556330"/>
              <a:gd name="csX98" fmla="*/ 399346 w 715223"/>
              <a:gd name="csY98" fmla="*/ 98083 h 1556330"/>
              <a:gd name="csX99" fmla="*/ 471592 w 715223"/>
              <a:gd name="csY99" fmla="*/ 180524 h 1556330"/>
              <a:gd name="csX100" fmla="*/ 473550 w 715223"/>
              <a:gd name="csY100" fmla="*/ 200923 h 1556330"/>
              <a:gd name="csX101" fmla="*/ 463677 w 715223"/>
              <a:gd name="csY101" fmla="*/ 223311 h 1556330"/>
              <a:gd name="csX102" fmla="*/ 466852 w 715223"/>
              <a:gd name="csY102" fmla="*/ 229083 h 1556330"/>
              <a:gd name="csX103" fmla="*/ 474186 w 715223"/>
              <a:gd name="csY103" fmla="*/ 928382 h 1556330"/>
              <a:gd name="csX104" fmla="*/ 459927 w 715223"/>
              <a:gd name="csY104" fmla="*/ 817790 h 1556330"/>
              <a:gd name="csX105" fmla="*/ 456025 w 715223"/>
              <a:gd name="csY105" fmla="*/ 706469 h 1556330"/>
              <a:gd name="csX106" fmla="*/ 366863 w 715223"/>
              <a:gd name="csY106" fmla="*/ 710754 h 1556330"/>
              <a:gd name="csX107" fmla="*/ 366159 w 715223"/>
              <a:gd name="csY107" fmla="*/ 719219 h 1556330"/>
              <a:gd name="csX108" fmla="*/ 364159 w 715223"/>
              <a:gd name="csY108" fmla="*/ 834581 h 1556330"/>
              <a:gd name="csX109" fmla="*/ 361633 w 715223"/>
              <a:gd name="csY109" fmla="*/ 940117 h 1556330"/>
              <a:gd name="csX110" fmla="*/ 358313 w 715223"/>
              <a:gd name="csY110" fmla="*/ 1053005 h 1556330"/>
              <a:gd name="csX111" fmla="*/ 358081 w 715223"/>
              <a:gd name="csY111" fmla="*/ 1057912 h 1556330"/>
              <a:gd name="csX112" fmla="*/ 353706 w 715223"/>
              <a:gd name="csY112" fmla="*/ 1164570 h 1556330"/>
              <a:gd name="csX113" fmla="*/ 354951 w 715223"/>
              <a:gd name="csY113" fmla="*/ 1172547 h 1556330"/>
              <a:gd name="csX114" fmla="*/ 540959 w 715223"/>
              <a:gd name="csY114" fmla="*/ 1175972 h 1556330"/>
              <a:gd name="csX115" fmla="*/ 474186 w 715223"/>
              <a:gd name="csY115" fmla="*/ 928382 h 1556330"/>
              <a:gd name="csX116" fmla="*/ 513768 w 715223"/>
              <a:gd name="csY116" fmla="*/ 1417676 h 1556330"/>
              <a:gd name="csX117" fmla="*/ 519822 w 715223"/>
              <a:gd name="csY117" fmla="*/ 1416700 h 1556330"/>
              <a:gd name="csX118" fmla="*/ 632041 w 715223"/>
              <a:gd name="csY118" fmla="*/ 1406122 h 1556330"/>
              <a:gd name="csX119" fmla="*/ 665040 w 715223"/>
              <a:gd name="csY119" fmla="*/ 1400634 h 1556330"/>
              <a:gd name="csX120" fmla="*/ 665677 w 715223"/>
              <a:gd name="csY120" fmla="*/ 1396126 h 1556330"/>
              <a:gd name="csX121" fmla="*/ 665529 w 715223"/>
              <a:gd name="csY121" fmla="*/ 1389994 h 1556330"/>
              <a:gd name="csX122" fmla="*/ 623046 w 715223"/>
              <a:gd name="csY122" fmla="*/ 1306238 h 1556330"/>
              <a:gd name="csX123" fmla="*/ 596015 w 715223"/>
              <a:gd name="csY123" fmla="*/ 1281285 h 1556330"/>
              <a:gd name="csX124" fmla="*/ 567683 w 715223"/>
              <a:gd name="csY124" fmla="*/ 1220059 h 1556330"/>
              <a:gd name="csX125" fmla="*/ 540273 w 715223"/>
              <a:gd name="csY125" fmla="*/ 1220129 h 1556330"/>
              <a:gd name="csX126" fmla="*/ 424010 w 715223"/>
              <a:gd name="csY126" fmla="*/ 1226781 h 1556330"/>
              <a:gd name="csX127" fmla="*/ 357832 w 715223"/>
              <a:gd name="csY127" fmla="*/ 1229178 h 1556330"/>
              <a:gd name="csX128" fmla="*/ 352386 w 715223"/>
              <a:gd name="csY128" fmla="*/ 1230616 h 1556330"/>
              <a:gd name="csX129" fmla="*/ 355852 w 715223"/>
              <a:gd name="csY129" fmla="*/ 1324222 h 1556330"/>
              <a:gd name="csX130" fmla="*/ 352930 w 715223"/>
              <a:gd name="csY130" fmla="*/ 1417867 h 1556330"/>
              <a:gd name="csX131" fmla="*/ 513768 w 715223"/>
              <a:gd name="csY131" fmla="*/ 1417676 h 1556330"/>
              <a:gd name="csX132" fmla="*/ 387930 w 715223"/>
              <a:gd name="csY132" fmla="*/ 499741 h 1556330"/>
              <a:gd name="csX133" fmla="*/ 456529 w 715223"/>
              <a:gd name="csY133" fmla="*/ 496826 h 1556330"/>
              <a:gd name="csX134" fmla="*/ 482355 w 715223"/>
              <a:gd name="csY134" fmla="*/ 485095 h 1556330"/>
              <a:gd name="csX135" fmla="*/ 528016 w 715223"/>
              <a:gd name="csY135" fmla="*/ 374829 h 1556330"/>
              <a:gd name="csX136" fmla="*/ 501375 w 715223"/>
              <a:gd name="csY136" fmla="*/ 261643 h 1556330"/>
              <a:gd name="csX137" fmla="*/ 493534 w 715223"/>
              <a:gd name="csY137" fmla="*/ 249818 h 1556330"/>
              <a:gd name="csX138" fmla="*/ 485920 w 715223"/>
              <a:gd name="csY138" fmla="*/ 260010 h 1556330"/>
              <a:gd name="csX139" fmla="*/ 453305 w 715223"/>
              <a:gd name="csY139" fmla="*/ 310523 h 1556330"/>
              <a:gd name="csX140" fmla="*/ 433678 w 715223"/>
              <a:gd name="csY140" fmla="*/ 338672 h 1556330"/>
              <a:gd name="csX141" fmla="*/ 403713 w 715223"/>
              <a:gd name="csY141" fmla="*/ 343710 h 1556330"/>
              <a:gd name="csX142" fmla="*/ 396427 w 715223"/>
              <a:gd name="csY142" fmla="*/ 315612 h 1556330"/>
              <a:gd name="csX143" fmla="*/ 399663 w 715223"/>
              <a:gd name="csY143" fmla="*/ 309000 h 1556330"/>
              <a:gd name="csX144" fmla="*/ 452097 w 715223"/>
              <a:gd name="csY144" fmla="*/ 200770 h 1556330"/>
              <a:gd name="csX145" fmla="*/ 450118 w 715223"/>
              <a:gd name="csY145" fmla="*/ 180596 h 1556330"/>
              <a:gd name="csX146" fmla="*/ 376545 w 715223"/>
              <a:gd name="csY146" fmla="*/ 105525 h 1556330"/>
              <a:gd name="csX147" fmla="*/ 368791 w 715223"/>
              <a:gd name="csY147" fmla="*/ 101653 h 1556330"/>
              <a:gd name="csX148" fmla="*/ 366449 w 715223"/>
              <a:gd name="csY148" fmla="*/ 144676 h 1556330"/>
              <a:gd name="csX149" fmla="*/ 365447 w 715223"/>
              <a:gd name="csY149" fmla="*/ 183946 h 1556330"/>
              <a:gd name="csX150" fmla="*/ 364738 w 715223"/>
              <a:gd name="csY150" fmla="*/ 298022 h 1556330"/>
              <a:gd name="csX151" fmla="*/ 373865 w 715223"/>
              <a:gd name="csY151" fmla="*/ 430096 h 1556330"/>
              <a:gd name="csX152" fmla="*/ 381088 w 715223"/>
              <a:gd name="csY152" fmla="*/ 492169 h 1556330"/>
              <a:gd name="csX153" fmla="*/ 387930 w 715223"/>
              <a:gd name="csY153" fmla="*/ 499741 h 1556330"/>
              <a:gd name="csX154" fmla="*/ 455850 w 715223"/>
              <a:gd name="csY154" fmla="*/ 1521476 h 1556330"/>
              <a:gd name="csX155" fmla="*/ 685121 w 715223"/>
              <a:gd name="csY155" fmla="*/ 1496509 h 1556330"/>
              <a:gd name="csX156" fmla="*/ 672999 w 715223"/>
              <a:gd name="csY156" fmla="*/ 1456665 h 1556330"/>
              <a:gd name="csX157" fmla="*/ 660009 w 715223"/>
              <a:gd name="csY157" fmla="*/ 1450249 h 1556330"/>
              <a:gd name="csX158" fmla="*/ 633248 w 715223"/>
              <a:gd name="csY158" fmla="*/ 1453589 h 1556330"/>
              <a:gd name="csX159" fmla="*/ 451131 w 715223"/>
              <a:gd name="csY159" fmla="*/ 1467458 h 1556330"/>
              <a:gd name="csX160" fmla="*/ 362719 w 715223"/>
              <a:gd name="csY160" fmla="*/ 1467934 h 1556330"/>
              <a:gd name="csX161" fmla="*/ 349983 w 715223"/>
              <a:gd name="csY161" fmla="*/ 1467936 h 1556330"/>
              <a:gd name="csX162" fmla="*/ 352220 w 715223"/>
              <a:gd name="csY162" fmla="*/ 1519140 h 1556330"/>
              <a:gd name="csX163" fmla="*/ 455850 w 715223"/>
              <a:gd name="csY163" fmla="*/ 1521476 h 1556330"/>
              <a:gd name="csX164" fmla="*/ 368682 w 715223"/>
              <a:gd name="csY164" fmla="*/ 544846 h 1556330"/>
              <a:gd name="csX165" fmla="*/ 363600 w 715223"/>
              <a:gd name="csY165" fmla="*/ 605633 h 1556330"/>
              <a:gd name="csX166" fmla="*/ 496351 w 715223"/>
              <a:gd name="csY166" fmla="*/ 601466 h 1556330"/>
              <a:gd name="csX167" fmla="*/ 485068 w 715223"/>
              <a:gd name="csY167" fmla="*/ 579288 h 1556330"/>
              <a:gd name="csX168" fmla="*/ 466524 w 715223"/>
              <a:gd name="csY168" fmla="*/ 541026 h 1556330"/>
              <a:gd name="csX169" fmla="*/ 465000 w 715223"/>
              <a:gd name="csY169" fmla="*/ 536289 h 1556330"/>
              <a:gd name="csX170" fmla="*/ 451328 w 715223"/>
              <a:gd name="csY170" fmla="*/ 536316 h 1556330"/>
              <a:gd name="csX171" fmla="*/ 390140 w 715223"/>
              <a:gd name="csY171" fmla="*/ 538979 h 1556330"/>
              <a:gd name="csX172" fmla="*/ 374215 w 715223"/>
              <a:gd name="csY172" fmla="*/ 539303 h 1556330"/>
              <a:gd name="csX173" fmla="*/ 368682 w 715223"/>
              <a:gd name="csY173" fmla="*/ 544846 h 1556330"/>
              <a:gd name="csX174" fmla="*/ 453915 w 715223"/>
              <a:gd name="csY174" fmla="*/ 635267 h 1556330"/>
              <a:gd name="csX175" fmla="*/ 374200 w 715223"/>
              <a:gd name="csY175" fmla="*/ 639402 h 1556330"/>
              <a:gd name="csX176" fmla="*/ 374200 w 715223"/>
              <a:gd name="csY176" fmla="*/ 673206 h 1556330"/>
              <a:gd name="csX177" fmla="*/ 386639 w 715223"/>
              <a:gd name="csY177" fmla="*/ 673718 h 1556330"/>
              <a:gd name="csX178" fmla="*/ 521198 w 715223"/>
              <a:gd name="csY178" fmla="*/ 668541 h 1556330"/>
              <a:gd name="csX179" fmla="*/ 534198 w 715223"/>
              <a:gd name="csY179" fmla="*/ 665521 h 1556330"/>
              <a:gd name="csX180" fmla="*/ 538413 w 715223"/>
              <a:gd name="csY180" fmla="*/ 652526 h 1556330"/>
              <a:gd name="csX181" fmla="*/ 529377 w 715223"/>
              <a:gd name="csY181" fmla="*/ 642895 h 1556330"/>
              <a:gd name="csX182" fmla="*/ 502829 w 715223"/>
              <a:gd name="csY182" fmla="*/ 634808 h 1556330"/>
              <a:gd name="csX183" fmla="*/ 453915 w 715223"/>
              <a:gd name="csY183" fmla="*/ 635267 h 155633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  <a:cxn ang="0">
                <a:pos x="csX170" y="csY170"/>
              </a:cxn>
              <a:cxn ang="0">
                <a:pos x="csX171" y="csY171"/>
              </a:cxn>
              <a:cxn ang="0">
                <a:pos x="csX172" y="csY172"/>
              </a:cxn>
              <a:cxn ang="0">
                <a:pos x="csX173" y="csY173"/>
              </a:cxn>
              <a:cxn ang="0">
                <a:pos x="csX174" y="csY174"/>
              </a:cxn>
              <a:cxn ang="0">
                <a:pos x="csX175" y="csY175"/>
              </a:cxn>
              <a:cxn ang="0">
                <a:pos x="csX176" y="csY176"/>
              </a:cxn>
              <a:cxn ang="0">
                <a:pos x="csX177" y="csY177"/>
              </a:cxn>
              <a:cxn ang="0">
                <a:pos x="csX178" y="csY178"/>
              </a:cxn>
              <a:cxn ang="0">
                <a:pos x="csX179" y="csY179"/>
              </a:cxn>
              <a:cxn ang="0">
                <a:pos x="csX180" y="csY180"/>
              </a:cxn>
              <a:cxn ang="0">
                <a:pos x="csX181" y="csY181"/>
              </a:cxn>
              <a:cxn ang="0">
                <a:pos x="csX182" y="csY182"/>
              </a:cxn>
              <a:cxn ang="0">
                <a:pos x="csX183" y="csY183"/>
              </a:cxn>
            </a:cxnLst>
            <a:rect l="l" t="t" r="r" b="b"/>
            <a:pathLst>
              <a:path w="715223" h="1556330">
                <a:moveTo>
                  <a:pt x="466852" y="229083"/>
                </a:moveTo>
                <a:cubicBezTo>
                  <a:pt x="465344" y="233590"/>
                  <a:pt x="463836" y="238097"/>
                  <a:pt x="462328" y="242604"/>
                </a:cubicBezTo>
                <a:cubicBezTo>
                  <a:pt x="476604" y="232528"/>
                  <a:pt x="484219" y="216936"/>
                  <a:pt x="496944" y="204739"/>
                </a:cubicBezTo>
                <a:cubicBezTo>
                  <a:pt x="511903" y="225901"/>
                  <a:pt x="524807" y="247414"/>
                  <a:pt x="534359" y="270960"/>
                </a:cubicBezTo>
                <a:cubicBezTo>
                  <a:pt x="557740" y="328591"/>
                  <a:pt x="560223" y="386926"/>
                  <a:pt x="540589" y="445986"/>
                </a:cubicBezTo>
                <a:cubicBezTo>
                  <a:pt x="534197" y="465215"/>
                  <a:pt x="524450" y="482672"/>
                  <a:pt x="509727" y="496924"/>
                </a:cubicBezTo>
                <a:cubicBezTo>
                  <a:pt x="505277" y="501232"/>
                  <a:pt x="502734" y="505157"/>
                  <a:pt x="505366" y="511893"/>
                </a:cubicBezTo>
                <a:cubicBezTo>
                  <a:pt x="507828" y="518196"/>
                  <a:pt x="505953" y="524402"/>
                  <a:pt x="501982" y="530377"/>
                </a:cubicBezTo>
                <a:cubicBezTo>
                  <a:pt x="495613" y="539961"/>
                  <a:pt x="496865" y="548901"/>
                  <a:pt x="505678" y="556455"/>
                </a:cubicBezTo>
                <a:cubicBezTo>
                  <a:pt x="516748" y="565943"/>
                  <a:pt x="523694" y="577557"/>
                  <a:pt x="526115" y="591784"/>
                </a:cubicBezTo>
                <a:cubicBezTo>
                  <a:pt x="527758" y="601445"/>
                  <a:pt x="532593" y="608029"/>
                  <a:pt x="541579" y="612264"/>
                </a:cubicBezTo>
                <a:cubicBezTo>
                  <a:pt x="555150" y="618662"/>
                  <a:pt x="564081" y="629523"/>
                  <a:pt x="569572" y="643441"/>
                </a:cubicBezTo>
                <a:cubicBezTo>
                  <a:pt x="576413" y="660776"/>
                  <a:pt x="570996" y="678245"/>
                  <a:pt x="555234" y="688473"/>
                </a:cubicBezTo>
                <a:cubicBezTo>
                  <a:pt x="542486" y="696746"/>
                  <a:pt x="528127" y="699474"/>
                  <a:pt x="513278" y="700556"/>
                </a:cubicBezTo>
                <a:cubicBezTo>
                  <a:pt x="505590" y="701115"/>
                  <a:pt x="497922" y="701952"/>
                  <a:pt x="488559" y="702821"/>
                </a:cubicBezTo>
                <a:cubicBezTo>
                  <a:pt x="488559" y="708552"/>
                  <a:pt x="488653" y="713320"/>
                  <a:pt x="488544" y="718085"/>
                </a:cubicBezTo>
                <a:cubicBezTo>
                  <a:pt x="486284" y="817406"/>
                  <a:pt x="502313" y="914319"/>
                  <a:pt x="526561" y="1010212"/>
                </a:cubicBezTo>
                <a:cubicBezTo>
                  <a:pt x="538799" y="1058612"/>
                  <a:pt x="553050" y="1106345"/>
                  <a:pt x="569986" y="1153317"/>
                </a:cubicBezTo>
                <a:cubicBezTo>
                  <a:pt x="573328" y="1162590"/>
                  <a:pt x="578279" y="1168740"/>
                  <a:pt x="587389" y="1172173"/>
                </a:cubicBezTo>
                <a:cubicBezTo>
                  <a:pt x="593869" y="1174616"/>
                  <a:pt x="600289" y="1177449"/>
                  <a:pt x="606286" y="1180891"/>
                </a:cubicBezTo>
                <a:cubicBezTo>
                  <a:pt x="617185" y="1187146"/>
                  <a:pt x="618776" y="1192931"/>
                  <a:pt x="613400" y="1204260"/>
                </a:cubicBezTo>
                <a:cubicBezTo>
                  <a:pt x="611475" y="1208315"/>
                  <a:pt x="609140" y="1212177"/>
                  <a:pt x="605350" y="1216760"/>
                </a:cubicBezTo>
                <a:cubicBezTo>
                  <a:pt x="602514" y="1218347"/>
                  <a:pt x="600399" y="1219189"/>
                  <a:pt x="600268" y="1220273"/>
                </a:cubicBezTo>
                <a:cubicBezTo>
                  <a:pt x="598551" y="1234430"/>
                  <a:pt x="599473" y="1247881"/>
                  <a:pt x="610574" y="1258750"/>
                </a:cubicBezTo>
                <a:cubicBezTo>
                  <a:pt x="631265" y="1279009"/>
                  <a:pt x="651790" y="1299438"/>
                  <a:pt x="672371" y="1319810"/>
                </a:cubicBezTo>
                <a:cubicBezTo>
                  <a:pt x="673495" y="1320922"/>
                  <a:pt x="674892" y="1321987"/>
                  <a:pt x="675494" y="1323366"/>
                </a:cubicBezTo>
                <a:cubicBezTo>
                  <a:pt x="685626" y="1346558"/>
                  <a:pt x="694775" y="1370031"/>
                  <a:pt x="692949" y="1396068"/>
                </a:cubicBezTo>
                <a:cubicBezTo>
                  <a:pt x="692525" y="1402108"/>
                  <a:pt x="691276" y="1408087"/>
                  <a:pt x="690628" y="1414117"/>
                </a:cubicBezTo>
                <a:cubicBezTo>
                  <a:pt x="690241" y="1417713"/>
                  <a:pt x="691290" y="1420628"/>
                  <a:pt x="695588" y="1421035"/>
                </a:cubicBezTo>
                <a:cubicBezTo>
                  <a:pt x="695527" y="1422155"/>
                  <a:pt x="695467" y="1423274"/>
                  <a:pt x="694353" y="1425190"/>
                </a:cubicBezTo>
                <a:cubicBezTo>
                  <a:pt x="691901" y="1426894"/>
                  <a:pt x="690503" y="1427804"/>
                  <a:pt x="689106" y="1428714"/>
                </a:cubicBezTo>
                <a:cubicBezTo>
                  <a:pt x="691101" y="1428620"/>
                  <a:pt x="693098" y="1428527"/>
                  <a:pt x="695093" y="1428433"/>
                </a:cubicBezTo>
                <a:cubicBezTo>
                  <a:pt x="695976" y="1429430"/>
                  <a:pt x="696859" y="1430427"/>
                  <a:pt x="697643" y="1432864"/>
                </a:cubicBezTo>
                <a:cubicBezTo>
                  <a:pt x="697724" y="1436887"/>
                  <a:pt x="697087" y="1439912"/>
                  <a:pt x="698207" y="1441988"/>
                </a:cubicBezTo>
                <a:cubicBezTo>
                  <a:pt x="709464" y="1462853"/>
                  <a:pt x="715798" y="1484864"/>
                  <a:pt x="715183" y="1508752"/>
                </a:cubicBezTo>
                <a:cubicBezTo>
                  <a:pt x="714863" y="1521166"/>
                  <a:pt x="713458" y="1523372"/>
                  <a:pt x="701540" y="1526524"/>
                </a:cubicBezTo>
                <a:cubicBezTo>
                  <a:pt x="662165" y="1536936"/>
                  <a:pt x="622006" y="1543243"/>
                  <a:pt x="581715" y="1548559"/>
                </a:cubicBezTo>
                <a:cubicBezTo>
                  <a:pt x="561988" y="1551162"/>
                  <a:pt x="542052" y="1552457"/>
                  <a:pt x="522168" y="1553543"/>
                </a:cubicBezTo>
                <a:cubicBezTo>
                  <a:pt x="498138" y="1554856"/>
                  <a:pt x="474063" y="1556013"/>
                  <a:pt x="450008" y="1556019"/>
                </a:cubicBezTo>
                <a:cubicBezTo>
                  <a:pt x="381724" y="1556035"/>
                  <a:pt x="313415" y="1557550"/>
                  <a:pt x="245169" y="1553749"/>
                </a:cubicBezTo>
                <a:cubicBezTo>
                  <a:pt x="237413" y="1553317"/>
                  <a:pt x="229596" y="1553867"/>
                  <a:pt x="221854" y="1553306"/>
                </a:cubicBezTo>
                <a:cubicBezTo>
                  <a:pt x="204023" y="1552015"/>
                  <a:pt x="186231" y="1550202"/>
                  <a:pt x="168405" y="1548828"/>
                </a:cubicBezTo>
                <a:cubicBezTo>
                  <a:pt x="154605" y="1547764"/>
                  <a:pt x="140762" y="1547242"/>
                  <a:pt x="126970" y="1546091"/>
                </a:cubicBezTo>
                <a:cubicBezTo>
                  <a:pt x="119295" y="1545451"/>
                  <a:pt x="111668" y="1544132"/>
                  <a:pt x="104053" y="1542912"/>
                </a:cubicBezTo>
                <a:cubicBezTo>
                  <a:pt x="91223" y="1540858"/>
                  <a:pt x="78344" y="1539011"/>
                  <a:pt x="65625" y="1536401"/>
                </a:cubicBezTo>
                <a:cubicBezTo>
                  <a:pt x="47307" y="1532642"/>
                  <a:pt x="29006" y="1528694"/>
                  <a:pt x="10909" y="1524010"/>
                </a:cubicBezTo>
                <a:cubicBezTo>
                  <a:pt x="744" y="1521379"/>
                  <a:pt x="119" y="1519620"/>
                  <a:pt x="8" y="1509263"/>
                </a:cubicBezTo>
                <a:cubicBezTo>
                  <a:pt x="-283" y="1482004"/>
                  <a:pt x="7525" y="1456906"/>
                  <a:pt x="21158" y="1433611"/>
                </a:cubicBezTo>
                <a:cubicBezTo>
                  <a:pt x="24128" y="1428537"/>
                  <a:pt x="25100" y="1424162"/>
                  <a:pt x="23462" y="1418658"/>
                </a:cubicBezTo>
                <a:cubicBezTo>
                  <a:pt x="19938" y="1406814"/>
                  <a:pt x="19145" y="1394638"/>
                  <a:pt x="19643" y="1382324"/>
                </a:cubicBezTo>
                <a:cubicBezTo>
                  <a:pt x="20741" y="1355171"/>
                  <a:pt x="29461" y="1331114"/>
                  <a:pt x="49060" y="1311832"/>
                </a:cubicBezTo>
                <a:cubicBezTo>
                  <a:pt x="68866" y="1292344"/>
                  <a:pt x="89102" y="1273294"/>
                  <a:pt x="109176" y="1254078"/>
                </a:cubicBezTo>
                <a:cubicBezTo>
                  <a:pt x="120788" y="1242961"/>
                  <a:pt x="123122" y="1229673"/>
                  <a:pt x="118319" y="1214801"/>
                </a:cubicBezTo>
                <a:cubicBezTo>
                  <a:pt x="116817" y="1210150"/>
                  <a:pt x="114697" y="1205702"/>
                  <a:pt x="113082" y="1201084"/>
                </a:cubicBezTo>
                <a:cubicBezTo>
                  <a:pt x="109606" y="1191147"/>
                  <a:pt x="110855" y="1188189"/>
                  <a:pt x="120417" y="1183950"/>
                </a:cubicBezTo>
                <a:cubicBezTo>
                  <a:pt x="125262" y="1181801"/>
                  <a:pt x="130109" y="1179394"/>
                  <a:pt x="135209" y="1178138"/>
                </a:cubicBezTo>
                <a:cubicBezTo>
                  <a:pt x="146972" y="1175241"/>
                  <a:pt x="153194" y="1166910"/>
                  <a:pt x="156535" y="1156396"/>
                </a:cubicBezTo>
                <a:cubicBezTo>
                  <a:pt x="166535" y="1124919"/>
                  <a:pt x="176229" y="1093339"/>
                  <a:pt x="185647" y="1061682"/>
                </a:cubicBezTo>
                <a:cubicBezTo>
                  <a:pt x="191222" y="1042945"/>
                  <a:pt x="196570" y="1024108"/>
                  <a:pt x="201074" y="1005093"/>
                </a:cubicBezTo>
                <a:cubicBezTo>
                  <a:pt x="205941" y="984550"/>
                  <a:pt x="210000" y="963801"/>
                  <a:pt x="213864" y="943040"/>
                </a:cubicBezTo>
                <a:cubicBezTo>
                  <a:pt x="217503" y="923489"/>
                  <a:pt x="220701" y="903846"/>
                  <a:pt x="223580" y="884167"/>
                </a:cubicBezTo>
                <a:cubicBezTo>
                  <a:pt x="225754" y="869301"/>
                  <a:pt x="227195" y="854324"/>
                  <a:pt x="228827" y="839382"/>
                </a:cubicBezTo>
                <a:cubicBezTo>
                  <a:pt x="230459" y="824446"/>
                  <a:pt x="232880" y="809515"/>
                  <a:pt x="233251" y="794539"/>
                </a:cubicBezTo>
                <a:cubicBezTo>
                  <a:pt x="233961" y="765893"/>
                  <a:pt x="233499" y="737217"/>
                  <a:pt x="233413" y="708554"/>
                </a:cubicBezTo>
                <a:cubicBezTo>
                  <a:pt x="233404" y="705465"/>
                  <a:pt x="232667" y="702378"/>
                  <a:pt x="232253" y="699181"/>
                </a:cubicBezTo>
                <a:cubicBezTo>
                  <a:pt x="218443" y="697138"/>
                  <a:pt x="205461" y="695831"/>
                  <a:pt x="192775" y="693131"/>
                </a:cubicBezTo>
                <a:cubicBezTo>
                  <a:pt x="183686" y="691197"/>
                  <a:pt x="174549" y="688305"/>
                  <a:pt x="166222" y="684229"/>
                </a:cubicBezTo>
                <a:cubicBezTo>
                  <a:pt x="151266" y="676909"/>
                  <a:pt x="147247" y="664789"/>
                  <a:pt x="153485" y="649704"/>
                </a:cubicBezTo>
                <a:cubicBezTo>
                  <a:pt x="158693" y="637111"/>
                  <a:pt x="168160" y="628190"/>
                  <a:pt x="179302" y="621006"/>
                </a:cubicBezTo>
                <a:cubicBezTo>
                  <a:pt x="186548" y="616334"/>
                  <a:pt x="191317" y="611105"/>
                  <a:pt x="192182" y="601675"/>
                </a:cubicBezTo>
                <a:cubicBezTo>
                  <a:pt x="192878" y="594094"/>
                  <a:pt x="197099" y="587626"/>
                  <a:pt x="204894" y="583417"/>
                </a:cubicBezTo>
                <a:cubicBezTo>
                  <a:pt x="214873" y="578030"/>
                  <a:pt x="224643" y="571774"/>
                  <a:pt x="233213" y="564393"/>
                </a:cubicBezTo>
                <a:cubicBezTo>
                  <a:pt x="242623" y="556289"/>
                  <a:pt x="240441" y="544193"/>
                  <a:pt x="229725" y="538177"/>
                </a:cubicBezTo>
                <a:cubicBezTo>
                  <a:pt x="226159" y="536176"/>
                  <a:pt x="222483" y="534351"/>
                  <a:pt x="218771" y="532633"/>
                </a:cubicBezTo>
                <a:cubicBezTo>
                  <a:pt x="213503" y="530196"/>
                  <a:pt x="212651" y="526226"/>
                  <a:pt x="215183" y="521568"/>
                </a:cubicBezTo>
                <a:cubicBezTo>
                  <a:pt x="217485" y="517332"/>
                  <a:pt x="220405" y="513432"/>
                  <a:pt x="223368" y="508901"/>
                </a:cubicBezTo>
                <a:cubicBezTo>
                  <a:pt x="221781" y="505376"/>
                  <a:pt x="220809" y="501165"/>
                  <a:pt x="218372" y="498135"/>
                </a:cubicBezTo>
                <a:cubicBezTo>
                  <a:pt x="202366" y="478231"/>
                  <a:pt x="190774" y="455961"/>
                  <a:pt x="181440" y="432308"/>
                </a:cubicBezTo>
                <a:cubicBezTo>
                  <a:pt x="170959" y="405748"/>
                  <a:pt x="164933" y="378186"/>
                  <a:pt x="167535" y="349841"/>
                </a:cubicBezTo>
                <a:cubicBezTo>
                  <a:pt x="170341" y="319265"/>
                  <a:pt x="179208" y="289917"/>
                  <a:pt x="193488" y="262518"/>
                </a:cubicBezTo>
                <a:cubicBezTo>
                  <a:pt x="206512" y="237529"/>
                  <a:pt x="220831" y="213359"/>
                  <a:pt x="237748" y="190690"/>
                </a:cubicBezTo>
                <a:cubicBezTo>
                  <a:pt x="260421" y="160310"/>
                  <a:pt x="282602" y="129592"/>
                  <a:pt x="309459" y="102623"/>
                </a:cubicBezTo>
                <a:cubicBezTo>
                  <a:pt x="316627" y="95424"/>
                  <a:pt x="316261" y="87541"/>
                  <a:pt x="310459" y="78521"/>
                </a:cubicBezTo>
                <a:cubicBezTo>
                  <a:pt x="306309" y="72071"/>
                  <a:pt x="301695" y="65150"/>
                  <a:pt x="300267" y="57856"/>
                </a:cubicBezTo>
                <a:cubicBezTo>
                  <a:pt x="295286" y="32423"/>
                  <a:pt x="314502" y="10133"/>
                  <a:pt x="332242" y="4422"/>
                </a:cubicBezTo>
                <a:cubicBezTo>
                  <a:pt x="349540" y="-1148"/>
                  <a:pt x="367530" y="-2176"/>
                  <a:pt x="384904" y="5551"/>
                </a:cubicBezTo>
                <a:cubicBezTo>
                  <a:pt x="395271" y="10161"/>
                  <a:pt x="403310" y="17760"/>
                  <a:pt x="409773" y="26778"/>
                </a:cubicBezTo>
                <a:cubicBezTo>
                  <a:pt x="415168" y="34307"/>
                  <a:pt x="413749" y="41584"/>
                  <a:pt x="407026" y="46052"/>
                </a:cubicBezTo>
                <a:cubicBezTo>
                  <a:pt x="405624" y="40964"/>
                  <a:pt x="404503" y="35849"/>
                  <a:pt x="402771" y="30951"/>
                </a:cubicBezTo>
                <a:cubicBezTo>
                  <a:pt x="401450" y="27216"/>
                  <a:pt x="399383" y="28477"/>
                  <a:pt x="397038" y="30361"/>
                </a:cubicBezTo>
                <a:cubicBezTo>
                  <a:pt x="384440" y="15986"/>
                  <a:pt x="377037" y="14494"/>
                  <a:pt x="360694" y="22760"/>
                </a:cubicBezTo>
                <a:cubicBezTo>
                  <a:pt x="353707" y="22767"/>
                  <a:pt x="352275" y="27176"/>
                  <a:pt x="351669" y="31736"/>
                </a:cubicBezTo>
                <a:cubicBezTo>
                  <a:pt x="351136" y="35760"/>
                  <a:pt x="351383" y="39899"/>
                  <a:pt x="351426" y="43987"/>
                </a:cubicBezTo>
                <a:cubicBezTo>
                  <a:pt x="351648" y="64919"/>
                  <a:pt x="372389" y="78115"/>
                  <a:pt x="390968" y="68762"/>
                </a:cubicBezTo>
                <a:cubicBezTo>
                  <a:pt x="395158" y="66653"/>
                  <a:pt x="398534" y="62629"/>
                  <a:pt x="401770" y="59025"/>
                </a:cubicBezTo>
                <a:cubicBezTo>
                  <a:pt x="404045" y="56491"/>
                  <a:pt x="405661" y="53409"/>
                  <a:pt x="409619" y="55786"/>
                </a:cubicBezTo>
                <a:cubicBezTo>
                  <a:pt x="413544" y="58145"/>
                  <a:pt x="412176" y="61347"/>
                  <a:pt x="410427" y="64256"/>
                </a:cubicBezTo>
                <a:cubicBezTo>
                  <a:pt x="406872" y="70170"/>
                  <a:pt x="403244" y="76046"/>
                  <a:pt x="399453" y="81811"/>
                </a:cubicBezTo>
                <a:cubicBezTo>
                  <a:pt x="394663" y="89097"/>
                  <a:pt x="394382" y="94032"/>
                  <a:pt x="399346" y="98083"/>
                </a:cubicBezTo>
                <a:cubicBezTo>
                  <a:pt x="428062" y="121519"/>
                  <a:pt x="450822" y="150083"/>
                  <a:pt x="471592" y="180524"/>
                </a:cubicBezTo>
                <a:cubicBezTo>
                  <a:pt x="476398" y="187569"/>
                  <a:pt x="476844" y="193688"/>
                  <a:pt x="473550" y="200923"/>
                </a:cubicBezTo>
                <a:cubicBezTo>
                  <a:pt x="470171" y="208346"/>
                  <a:pt x="467091" y="215905"/>
                  <a:pt x="463677" y="223311"/>
                </a:cubicBezTo>
                <a:cubicBezTo>
                  <a:pt x="461993" y="226965"/>
                  <a:pt x="462995" y="228697"/>
                  <a:pt x="466852" y="229083"/>
                </a:cubicBezTo>
                <a:moveTo>
                  <a:pt x="474186" y="928382"/>
                </a:moveTo>
                <a:cubicBezTo>
                  <a:pt x="469297" y="891529"/>
                  <a:pt x="462961" y="854794"/>
                  <a:pt x="459927" y="817790"/>
                </a:cubicBezTo>
                <a:cubicBezTo>
                  <a:pt x="456905" y="780939"/>
                  <a:pt x="457197" y="743817"/>
                  <a:pt x="456025" y="706469"/>
                </a:cubicBezTo>
                <a:cubicBezTo>
                  <a:pt x="425780" y="707923"/>
                  <a:pt x="396554" y="709327"/>
                  <a:pt x="366863" y="710754"/>
                </a:cubicBezTo>
                <a:cubicBezTo>
                  <a:pt x="366546" y="714450"/>
                  <a:pt x="366201" y="716832"/>
                  <a:pt x="366159" y="719219"/>
                </a:cubicBezTo>
                <a:cubicBezTo>
                  <a:pt x="365479" y="757672"/>
                  <a:pt x="364935" y="796129"/>
                  <a:pt x="364159" y="834581"/>
                </a:cubicBezTo>
                <a:cubicBezTo>
                  <a:pt x="363450" y="869762"/>
                  <a:pt x="362581" y="904941"/>
                  <a:pt x="361633" y="940117"/>
                </a:cubicBezTo>
                <a:cubicBezTo>
                  <a:pt x="360619" y="977749"/>
                  <a:pt x="359431" y="1015376"/>
                  <a:pt x="358313" y="1053005"/>
                </a:cubicBezTo>
                <a:cubicBezTo>
                  <a:pt x="358265" y="1054641"/>
                  <a:pt x="358149" y="1056276"/>
                  <a:pt x="358081" y="1057912"/>
                </a:cubicBezTo>
                <a:cubicBezTo>
                  <a:pt x="356598" y="1093463"/>
                  <a:pt x="355081" y="1129014"/>
                  <a:pt x="353706" y="1164570"/>
                </a:cubicBezTo>
                <a:cubicBezTo>
                  <a:pt x="353604" y="1167221"/>
                  <a:pt x="354516" y="1169911"/>
                  <a:pt x="354951" y="1172547"/>
                </a:cubicBezTo>
                <a:cubicBezTo>
                  <a:pt x="416984" y="1173689"/>
                  <a:pt x="478158" y="1174816"/>
                  <a:pt x="540959" y="1175972"/>
                </a:cubicBezTo>
                <a:cubicBezTo>
                  <a:pt x="513162" y="1094194"/>
                  <a:pt x="489081" y="1013598"/>
                  <a:pt x="474186" y="928382"/>
                </a:cubicBezTo>
                <a:moveTo>
                  <a:pt x="513768" y="1417676"/>
                </a:moveTo>
                <a:cubicBezTo>
                  <a:pt x="515785" y="1417344"/>
                  <a:pt x="517792" y="1416889"/>
                  <a:pt x="519822" y="1416700"/>
                </a:cubicBezTo>
                <a:cubicBezTo>
                  <a:pt x="557234" y="1413220"/>
                  <a:pt x="594682" y="1410089"/>
                  <a:pt x="632041" y="1406122"/>
                </a:cubicBezTo>
                <a:cubicBezTo>
                  <a:pt x="643122" y="1404945"/>
                  <a:pt x="654730" y="1405292"/>
                  <a:pt x="665040" y="1400634"/>
                </a:cubicBezTo>
                <a:cubicBezTo>
                  <a:pt x="665352" y="1398517"/>
                  <a:pt x="665651" y="1397324"/>
                  <a:pt x="665677" y="1396126"/>
                </a:cubicBezTo>
                <a:cubicBezTo>
                  <a:pt x="665722" y="1394084"/>
                  <a:pt x="665674" y="1392032"/>
                  <a:pt x="665529" y="1389994"/>
                </a:cubicBezTo>
                <a:cubicBezTo>
                  <a:pt x="663118" y="1356121"/>
                  <a:pt x="650063" y="1327787"/>
                  <a:pt x="623046" y="1306238"/>
                </a:cubicBezTo>
                <a:cubicBezTo>
                  <a:pt x="613485" y="1298611"/>
                  <a:pt x="605001" y="1289635"/>
                  <a:pt x="596015" y="1281285"/>
                </a:cubicBezTo>
                <a:cubicBezTo>
                  <a:pt x="578506" y="1265018"/>
                  <a:pt x="567837" y="1245446"/>
                  <a:pt x="567683" y="1220059"/>
                </a:cubicBezTo>
                <a:cubicBezTo>
                  <a:pt x="558046" y="1220059"/>
                  <a:pt x="549136" y="1219649"/>
                  <a:pt x="540273" y="1220129"/>
                </a:cubicBezTo>
                <a:cubicBezTo>
                  <a:pt x="501512" y="1222229"/>
                  <a:pt x="462775" y="1224768"/>
                  <a:pt x="424010" y="1226781"/>
                </a:cubicBezTo>
                <a:cubicBezTo>
                  <a:pt x="401969" y="1227926"/>
                  <a:pt x="379889" y="1228330"/>
                  <a:pt x="357832" y="1229178"/>
                </a:cubicBezTo>
                <a:cubicBezTo>
                  <a:pt x="355938" y="1229251"/>
                  <a:pt x="354076" y="1230151"/>
                  <a:pt x="352386" y="1230616"/>
                </a:cubicBezTo>
                <a:cubicBezTo>
                  <a:pt x="353642" y="1262222"/>
                  <a:pt x="355769" y="1293219"/>
                  <a:pt x="355852" y="1324222"/>
                </a:cubicBezTo>
                <a:cubicBezTo>
                  <a:pt x="355936" y="1355438"/>
                  <a:pt x="353988" y="1386659"/>
                  <a:pt x="352930" y="1417867"/>
                </a:cubicBezTo>
                <a:cubicBezTo>
                  <a:pt x="406069" y="1417867"/>
                  <a:pt x="458771" y="1417867"/>
                  <a:pt x="513768" y="1417676"/>
                </a:cubicBezTo>
                <a:moveTo>
                  <a:pt x="387930" y="499741"/>
                </a:moveTo>
                <a:cubicBezTo>
                  <a:pt x="410797" y="498777"/>
                  <a:pt x="433665" y="497860"/>
                  <a:pt x="456529" y="496826"/>
                </a:cubicBezTo>
                <a:cubicBezTo>
                  <a:pt x="466656" y="496369"/>
                  <a:pt x="475418" y="493371"/>
                  <a:pt x="482355" y="485095"/>
                </a:cubicBezTo>
                <a:cubicBezTo>
                  <a:pt x="509188" y="453083"/>
                  <a:pt x="525387" y="416636"/>
                  <a:pt x="528016" y="374829"/>
                </a:cubicBezTo>
                <a:cubicBezTo>
                  <a:pt x="530547" y="334558"/>
                  <a:pt x="520095" y="297041"/>
                  <a:pt x="501375" y="261643"/>
                </a:cubicBezTo>
                <a:cubicBezTo>
                  <a:pt x="499379" y="257869"/>
                  <a:pt x="496654" y="254482"/>
                  <a:pt x="493534" y="249818"/>
                </a:cubicBezTo>
                <a:cubicBezTo>
                  <a:pt x="490233" y="254212"/>
                  <a:pt x="487883" y="256986"/>
                  <a:pt x="485920" y="260010"/>
                </a:cubicBezTo>
                <a:cubicBezTo>
                  <a:pt x="475010" y="276824"/>
                  <a:pt x="464300" y="293767"/>
                  <a:pt x="453305" y="310523"/>
                </a:cubicBezTo>
                <a:cubicBezTo>
                  <a:pt x="447028" y="320089"/>
                  <a:pt x="440916" y="329858"/>
                  <a:pt x="433678" y="338672"/>
                </a:cubicBezTo>
                <a:cubicBezTo>
                  <a:pt x="425909" y="348131"/>
                  <a:pt x="413084" y="349691"/>
                  <a:pt x="403713" y="343710"/>
                </a:cubicBezTo>
                <a:cubicBezTo>
                  <a:pt x="394358" y="337739"/>
                  <a:pt x="391675" y="327526"/>
                  <a:pt x="396427" y="315612"/>
                </a:cubicBezTo>
                <a:cubicBezTo>
                  <a:pt x="397334" y="313339"/>
                  <a:pt x="398595" y="311210"/>
                  <a:pt x="399663" y="309000"/>
                </a:cubicBezTo>
                <a:cubicBezTo>
                  <a:pt x="417094" y="272900"/>
                  <a:pt x="434331" y="236704"/>
                  <a:pt x="452097" y="200770"/>
                </a:cubicBezTo>
                <a:cubicBezTo>
                  <a:pt x="455910" y="193060"/>
                  <a:pt x="455310" y="187173"/>
                  <a:pt x="450118" y="180596"/>
                </a:cubicBezTo>
                <a:cubicBezTo>
                  <a:pt x="428273" y="152922"/>
                  <a:pt x="405805" y="125901"/>
                  <a:pt x="376545" y="105525"/>
                </a:cubicBezTo>
                <a:cubicBezTo>
                  <a:pt x="374483" y="104089"/>
                  <a:pt x="372013" y="103239"/>
                  <a:pt x="368791" y="101653"/>
                </a:cubicBezTo>
                <a:cubicBezTo>
                  <a:pt x="367942" y="116965"/>
                  <a:pt x="367019" y="130814"/>
                  <a:pt x="366449" y="144676"/>
                </a:cubicBezTo>
                <a:cubicBezTo>
                  <a:pt x="365912" y="157758"/>
                  <a:pt x="365593" y="170854"/>
                  <a:pt x="365447" y="183946"/>
                </a:cubicBezTo>
                <a:cubicBezTo>
                  <a:pt x="365020" y="221975"/>
                  <a:pt x="363367" y="260055"/>
                  <a:pt x="364738" y="298022"/>
                </a:cubicBezTo>
                <a:cubicBezTo>
                  <a:pt x="366329" y="342101"/>
                  <a:pt x="370336" y="386106"/>
                  <a:pt x="373865" y="430096"/>
                </a:cubicBezTo>
                <a:cubicBezTo>
                  <a:pt x="375530" y="450849"/>
                  <a:pt x="378387" y="471514"/>
                  <a:pt x="381088" y="492169"/>
                </a:cubicBezTo>
                <a:cubicBezTo>
                  <a:pt x="381433" y="494807"/>
                  <a:pt x="384102" y="497143"/>
                  <a:pt x="387930" y="499741"/>
                </a:cubicBezTo>
                <a:moveTo>
                  <a:pt x="455850" y="1521476"/>
                </a:moveTo>
                <a:cubicBezTo>
                  <a:pt x="533043" y="1519612"/>
                  <a:pt x="609810" y="1514084"/>
                  <a:pt x="685121" y="1496509"/>
                </a:cubicBezTo>
                <a:cubicBezTo>
                  <a:pt x="683922" y="1481705"/>
                  <a:pt x="679199" y="1467708"/>
                  <a:pt x="672999" y="1456665"/>
                </a:cubicBezTo>
                <a:cubicBezTo>
                  <a:pt x="669933" y="1451203"/>
                  <a:pt x="666057" y="1449329"/>
                  <a:pt x="660009" y="1450249"/>
                </a:cubicBezTo>
                <a:cubicBezTo>
                  <a:pt x="651125" y="1451601"/>
                  <a:pt x="642144" y="1452308"/>
                  <a:pt x="633248" y="1453589"/>
                </a:cubicBezTo>
                <a:cubicBezTo>
                  <a:pt x="572852" y="1462289"/>
                  <a:pt x="511993" y="1465134"/>
                  <a:pt x="451131" y="1467458"/>
                </a:cubicBezTo>
                <a:cubicBezTo>
                  <a:pt x="421697" y="1468582"/>
                  <a:pt x="392192" y="1467837"/>
                  <a:pt x="362719" y="1467934"/>
                </a:cubicBezTo>
                <a:cubicBezTo>
                  <a:pt x="358386" y="1467948"/>
                  <a:pt x="354052" y="1467936"/>
                  <a:pt x="349983" y="1467936"/>
                </a:cubicBezTo>
                <a:cubicBezTo>
                  <a:pt x="347592" y="1485362"/>
                  <a:pt x="348606" y="1509458"/>
                  <a:pt x="352220" y="1519140"/>
                </a:cubicBezTo>
                <a:cubicBezTo>
                  <a:pt x="385617" y="1519916"/>
                  <a:pt x="419507" y="1520703"/>
                  <a:pt x="455850" y="1521476"/>
                </a:cubicBezTo>
                <a:moveTo>
                  <a:pt x="368682" y="544846"/>
                </a:moveTo>
                <a:cubicBezTo>
                  <a:pt x="374258" y="564891"/>
                  <a:pt x="370074" y="584394"/>
                  <a:pt x="363600" y="605633"/>
                </a:cubicBezTo>
                <a:cubicBezTo>
                  <a:pt x="408859" y="604212"/>
                  <a:pt x="452263" y="602850"/>
                  <a:pt x="496351" y="601466"/>
                </a:cubicBezTo>
                <a:cubicBezTo>
                  <a:pt x="496109" y="591095"/>
                  <a:pt x="491408" y="584247"/>
                  <a:pt x="485068" y="579288"/>
                </a:cubicBezTo>
                <a:cubicBezTo>
                  <a:pt x="472414" y="569391"/>
                  <a:pt x="466934" y="556602"/>
                  <a:pt x="466524" y="541026"/>
                </a:cubicBezTo>
                <a:cubicBezTo>
                  <a:pt x="466485" y="539528"/>
                  <a:pt x="465591" y="538053"/>
                  <a:pt x="465000" y="536289"/>
                </a:cubicBezTo>
                <a:cubicBezTo>
                  <a:pt x="460209" y="536289"/>
                  <a:pt x="455761" y="536132"/>
                  <a:pt x="451328" y="536316"/>
                </a:cubicBezTo>
                <a:cubicBezTo>
                  <a:pt x="430930" y="537159"/>
                  <a:pt x="410538" y="538137"/>
                  <a:pt x="390140" y="538979"/>
                </a:cubicBezTo>
                <a:cubicBezTo>
                  <a:pt x="384834" y="539198"/>
                  <a:pt x="379484" y="538790"/>
                  <a:pt x="374215" y="539303"/>
                </a:cubicBezTo>
                <a:cubicBezTo>
                  <a:pt x="372259" y="539494"/>
                  <a:pt x="370480" y="541498"/>
                  <a:pt x="368682" y="544846"/>
                </a:cubicBezTo>
                <a:moveTo>
                  <a:pt x="453915" y="635267"/>
                </a:moveTo>
                <a:cubicBezTo>
                  <a:pt x="427589" y="636632"/>
                  <a:pt x="401262" y="637998"/>
                  <a:pt x="374200" y="639402"/>
                </a:cubicBezTo>
                <a:cubicBezTo>
                  <a:pt x="374200" y="651578"/>
                  <a:pt x="374200" y="661970"/>
                  <a:pt x="374200" y="673206"/>
                </a:cubicBezTo>
                <a:cubicBezTo>
                  <a:pt x="378672" y="673406"/>
                  <a:pt x="382666" y="673863"/>
                  <a:pt x="386639" y="673718"/>
                </a:cubicBezTo>
                <a:cubicBezTo>
                  <a:pt x="431495" y="672082"/>
                  <a:pt x="476352" y="670422"/>
                  <a:pt x="521198" y="668541"/>
                </a:cubicBezTo>
                <a:cubicBezTo>
                  <a:pt x="525584" y="668357"/>
                  <a:pt x="530162" y="667254"/>
                  <a:pt x="534198" y="665521"/>
                </a:cubicBezTo>
                <a:cubicBezTo>
                  <a:pt x="540213" y="662938"/>
                  <a:pt x="541802" y="658194"/>
                  <a:pt x="538413" y="652526"/>
                </a:cubicBezTo>
                <a:cubicBezTo>
                  <a:pt x="536192" y="648813"/>
                  <a:pt x="532979" y="645251"/>
                  <a:pt x="529377" y="642895"/>
                </a:cubicBezTo>
                <a:cubicBezTo>
                  <a:pt x="521426" y="637695"/>
                  <a:pt x="512576" y="634669"/>
                  <a:pt x="502829" y="634808"/>
                </a:cubicBezTo>
                <a:cubicBezTo>
                  <a:pt x="487311" y="635030"/>
                  <a:pt x="471791" y="635092"/>
                  <a:pt x="453915" y="635267"/>
                </a:cubicBezTo>
                <a:close/>
              </a:path>
            </a:pathLst>
          </a:custGeom>
          <a:solidFill>
            <a:srgbClr val="CDD9DF"/>
          </a:solidFill>
          <a:ln w="12700" cap="flat">
            <a:solidFill>
              <a:srgbClr val="CDD9DF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79" name="Free-form: Shape 178">
            <a:extLst>
              <a:ext uri="{FF2B5EF4-FFF2-40B4-BE49-F238E27FC236}">
                <a16:creationId xmlns:a16="http://schemas.microsoft.com/office/drawing/2014/main" id="{66D5C722-DEF1-7969-B816-67AB38154F95}"/>
              </a:ext>
            </a:extLst>
          </p:cNvPr>
          <p:cNvSpPr/>
          <p:nvPr/>
        </p:nvSpPr>
        <p:spPr>
          <a:xfrm>
            <a:off x="8551580" y="1913211"/>
            <a:ext cx="665488" cy="1428730"/>
          </a:xfrm>
          <a:custGeom>
            <a:avLst/>
            <a:gdLst>
              <a:gd name="csX0" fmla="*/ 406842 w 732037"/>
              <a:gd name="csY0" fmla="*/ 38347 h 1571603"/>
              <a:gd name="csX1" fmla="*/ 411944 w 732037"/>
              <a:gd name="csY1" fmla="*/ 38343 h 1571603"/>
              <a:gd name="csX2" fmla="*/ 416198 w 732037"/>
              <a:gd name="csY2" fmla="*/ 53444 h 1571603"/>
              <a:gd name="csX3" fmla="*/ 418945 w 732037"/>
              <a:gd name="csY3" fmla="*/ 34170 h 1571603"/>
              <a:gd name="csX4" fmla="*/ 394077 w 732037"/>
              <a:gd name="csY4" fmla="*/ 12943 h 1571603"/>
              <a:gd name="csX5" fmla="*/ 341415 w 732037"/>
              <a:gd name="csY5" fmla="*/ 11814 h 1571603"/>
              <a:gd name="csX6" fmla="*/ 309440 w 732037"/>
              <a:gd name="csY6" fmla="*/ 65249 h 1571603"/>
              <a:gd name="csX7" fmla="*/ 319632 w 732037"/>
              <a:gd name="csY7" fmla="*/ 85914 h 1571603"/>
              <a:gd name="csX8" fmla="*/ 318632 w 732037"/>
              <a:gd name="csY8" fmla="*/ 110015 h 1571603"/>
              <a:gd name="csX9" fmla="*/ 246921 w 732037"/>
              <a:gd name="csY9" fmla="*/ 198083 h 1571603"/>
              <a:gd name="csX10" fmla="*/ 202660 w 732037"/>
              <a:gd name="csY10" fmla="*/ 269911 h 1571603"/>
              <a:gd name="csX11" fmla="*/ 176707 w 732037"/>
              <a:gd name="csY11" fmla="*/ 357233 h 1571603"/>
              <a:gd name="csX12" fmla="*/ 190612 w 732037"/>
              <a:gd name="csY12" fmla="*/ 439700 h 1571603"/>
              <a:gd name="csX13" fmla="*/ 227544 w 732037"/>
              <a:gd name="csY13" fmla="*/ 505527 h 1571603"/>
              <a:gd name="csX14" fmla="*/ 232541 w 732037"/>
              <a:gd name="csY14" fmla="*/ 516294 h 1571603"/>
              <a:gd name="csX15" fmla="*/ 224356 w 732037"/>
              <a:gd name="csY15" fmla="*/ 528960 h 1571603"/>
              <a:gd name="csX16" fmla="*/ 227944 w 732037"/>
              <a:gd name="csY16" fmla="*/ 540026 h 1571603"/>
              <a:gd name="csX17" fmla="*/ 238897 w 732037"/>
              <a:gd name="csY17" fmla="*/ 545570 h 1571603"/>
              <a:gd name="csX18" fmla="*/ 242386 w 732037"/>
              <a:gd name="csY18" fmla="*/ 571785 h 1571603"/>
              <a:gd name="csX19" fmla="*/ 214067 w 732037"/>
              <a:gd name="csY19" fmla="*/ 590809 h 1571603"/>
              <a:gd name="csX20" fmla="*/ 201355 w 732037"/>
              <a:gd name="csY20" fmla="*/ 609067 h 1571603"/>
              <a:gd name="csX21" fmla="*/ 188474 w 732037"/>
              <a:gd name="csY21" fmla="*/ 628398 h 1571603"/>
              <a:gd name="csX22" fmla="*/ 162658 w 732037"/>
              <a:gd name="csY22" fmla="*/ 657096 h 1571603"/>
              <a:gd name="csX23" fmla="*/ 175395 w 732037"/>
              <a:gd name="csY23" fmla="*/ 691621 h 1571603"/>
              <a:gd name="csX24" fmla="*/ 201948 w 732037"/>
              <a:gd name="csY24" fmla="*/ 700523 h 1571603"/>
              <a:gd name="csX25" fmla="*/ 241426 w 732037"/>
              <a:gd name="csY25" fmla="*/ 706574 h 1571603"/>
              <a:gd name="csX26" fmla="*/ 242586 w 732037"/>
              <a:gd name="csY26" fmla="*/ 715946 h 1571603"/>
              <a:gd name="csX27" fmla="*/ 242424 w 732037"/>
              <a:gd name="csY27" fmla="*/ 801932 h 1571603"/>
              <a:gd name="csX28" fmla="*/ 238000 w 732037"/>
              <a:gd name="csY28" fmla="*/ 846774 h 1571603"/>
              <a:gd name="csX29" fmla="*/ 232752 w 732037"/>
              <a:gd name="csY29" fmla="*/ 891559 h 1571603"/>
              <a:gd name="csX30" fmla="*/ 223037 w 732037"/>
              <a:gd name="csY30" fmla="*/ 950433 h 1571603"/>
              <a:gd name="csX31" fmla="*/ 210247 w 732037"/>
              <a:gd name="csY31" fmla="*/ 1012485 h 1571603"/>
              <a:gd name="csX32" fmla="*/ 194820 w 732037"/>
              <a:gd name="csY32" fmla="*/ 1069074 h 1571603"/>
              <a:gd name="csX33" fmla="*/ 165707 w 732037"/>
              <a:gd name="csY33" fmla="*/ 1163788 h 1571603"/>
              <a:gd name="csX34" fmla="*/ 144382 w 732037"/>
              <a:gd name="csY34" fmla="*/ 1185530 h 1571603"/>
              <a:gd name="csX35" fmla="*/ 129590 w 732037"/>
              <a:gd name="csY35" fmla="*/ 1191342 h 1571603"/>
              <a:gd name="csX36" fmla="*/ 122255 w 732037"/>
              <a:gd name="csY36" fmla="*/ 1208476 h 1571603"/>
              <a:gd name="csX37" fmla="*/ 127491 w 732037"/>
              <a:gd name="csY37" fmla="*/ 1222193 h 1571603"/>
              <a:gd name="csX38" fmla="*/ 118348 w 732037"/>
              <a:gd name="csY38" fmla="*/ 1261470 h 1571603"/>
              <a:gd name="csX39" fmla="*/ 58232 w 732037"/>
              <a:gd name="csY39" fmla="*/ 1319224 h 1571603"/>
              <a:gd name="csX40" fmla="*/ 28815 w 732037"/>
              <a:gd name="csY40" fmla="*/ 1389717 h 1571603"/>
              <a:gd name="csX41" fmla="*/ 32634 w 732037"/>
              <a:gd name="csY41" fmla="*/ 1426050 h 1571603"/>
              <a:gd name="csX42" fmla="*/ 30331 w 732037"/>
              <a:gd name="csY42" fmla="*/ 1441003 h 1571603"/>
              <a:gd name="csX43" fmla="*/ 9180 w 732037"/>
              <a:gd name="csY43" fmla="*/ 1516655 h 1571603"/>
              <a:gd name="csX44" fmla="*/ 20082 w 732037"/>
              <a:gd name="csY44" fmla="*/ 1531402 h 1571603"/>
              <a:gd name="csX45" fmla="*/ 74798 w 732037"/>
              <a:gd name="csY45" fmla="*/ 1543794 h 1571603"/>
              <a:gd name="csX46" fmla="*/ 113225 w 732037"/>
              <a:gd name="csY46" fmla="*/ 1550305 h 1571603"/>
              <a:gd name="csX47" fmla="*/ 136142 w 732037"/>
              <a:gd name="csY47" fmla="*/ 1553484 h 1571603"/>
              <a:gd name="csX48" fmla="*/ 177578 w 732037"/>
              <a:gd name="csY48" fmla="*/ 1556220 h 1571603"/>
              <a:gd name="csX49" fmla="*/ 231027 w 732037"/>
              <a:gd name="csY49" fmla="*/ 1560698 h 1571603"/>
              <a:gd name="csX50" fmla="*/ 254342 w 732037"/>
              <a:gd name="csY50" fmla="*/ 1561142 h 1571603"/>
              <a:gd name="csX51" fmla="*/ 459180 w 732037"/>
              <a:gd name="csY51" fmla="*/ 1563411 h 1571603"/>
              <a:gd name="csX52" fmla="*/ 531340 w 732037"/>
              <a:gd name="csY52" fmla="*/ 1560936 h 1571603"/>
              <a:gd name="csX53" fmla="*/ 590888 w 732037"/>
              <a:gd name="csY53" fmla="*/ 1555951 h 1571603"/>
              <a:gd name="csX54" fmla="*/ 710712 w 732037"/>
              <a:gd name="csY54" fmla="*/ 1533916 h 1571603"/>
              <a:gd name="csX55" fmla="*/ 724356 w 732037"/>
              <a:gd name="csY55" fmla="*/ 1516144 h 1571603"/>
              <a:gd name="csX56" fmla="*/ 707380 w 732037"/>
              <a:gd name="csY56" fmla="*/ 1449380 h 1571603"/>
              <a:gd name="csX57" fmla="*/ 707050 w 732037"/>
              <a:gd name="csY57" fmla="*/ 1440881 h 1571603"/>
              <a:gd name="csX58" fmla="*/ 731479 w 732037"/>
              <a:gd name="csY58" fmla="*/ 1500017 h 1571603"/>
              <a:gd name="csX59" fmla="*/ 731163 w 732037"/>
              <a:gd name="csY59" fmla="*/ 1513759 h 1571603"/>
              <a:gd name="csX60" fmla="*/ 731650 w 732037"/>
              <a:gd name="csY60" fmla="*/ 1521766 h 1571603"/>
              <a:gd name="csX61" fmla="*/ 721896 w 732037"/>
              <a:gd name="csY61" fmla="*/ 1537319 h 1571603"/>
              <a:gd name="csX62" fmla="*/ 657740 w 732037"/>
              <a:gd name="csY62" fmla="*/ 1553265 h 1571603"/>
              <a:gd name="csX63" fmla="*/ 507791 w 732037"/>
              <a:gd name="csY63" fmla="*/ 1568943 h 1571603"/>
              <a:gd name="csX64" fmla="*/ 264676 w 732037"/>
              <a:gd name="csY64" fmla="*/ 1569724 h 1571603"/>
              <a:gd name="csX65" fmla="*/ 82743 w 732037"/>
              <a:gd name="csY65" fmla="*/ 1553254 h 1571603"/>
              <a:gd name="csX66" fmla="*/ 17072 w 732037"/>
              <a:gd name="csY66" fmla="*/ 1538153 h 1571603"/>
              <a:gd name="csX67" fmla="*/ 275 w 732037"/>
              <a:gd name="csY67" fmla="*/ 1513030 h 1571603"/>
              <a:gd name="csX68" fmla="*/ 20923 w 732037"/>
              <a:gd name="csY68" fmla="*/ 1441861 h 1571603"/>
              <a:gd name="csX69" fmla="*/ 23045 w 732037"/>
              <a:gd name="csY69" fmla="*/ 1423105 h 1571603"/>
              <a:gd name="csX70" fmla="*/ 30564 w 732037"/>
              <a:gd name="csY70" fmla="*/ 1346289 h 1571603"/>
              <a:gd name="csX71" fmla="*/ 71350 w 732037"/>
              <a:gd name="csY71" fmla="*/ 1295039 h 1571603"/>
              <a:gd name="csX72" fmla="*/ 112257 w 732037"/>
              <a:gd name="csY72" fmla="*/ 1255093 h 1571603"/>
              <a:gd name="csX73" fmla="*/ 115864 w 732037"/>
              <a:gd name="csY73" fmla="*/ 1217271 h 1571603"/>
              <a:gd name="csX74" fmla="*/ 112256 w 732037"/>
              <a:gd name="csY74" fmla="*/ 1210870 h 1571603"/>
              <a:gd name="csX75" fmla="*/ 121141 w 732037"/>
              <a:gd name="csY75" fmla="*/ 1186548 h 1571603"/>
              <a:gd name="csX76" fmla="*/ 136571 w 732037"/>
              <a:gd name="csY76" fmla="*/ 1179850 h 1571603"/>
              <a:gd name="csX77" fmla="*/ 158281 w 732037"/>
              <a:gd name="csY77" fmla="*/ 1157879 h 1571603"/>
              <a:gd name="csX78" fmla="*/ 187986 w 732037"/>
              <a:gd name="csY78" fmla="*/ 1059736 h 1571603"/>
              <a:gd name="csX79" fmla="*/ 217119 w 732037"/>
              <a:gd name="csY79" fmla="*/ 938896 h 1571603"/>
              <a:gd name="csX80" fmla="*/ 225792 w 732037"/>
              <a:gd name="csY80" fmla="*/ 893236 h 1571603"/>
              <a:gd name="csX81" fmla="*/ 226150 w 732037"/>
              <a:gd name="csY81" fmla="*/ 887970 h 1571603"/>
              <a:gd name="csX82" fmla="*/ 230782 w 732037"/>
              <a:gd name="csY82" fmla="*/ 853969 h 1571603"/>
              <a:gd name="csX83" fmla="*/ 230786 w 732037"/>
              <a:gd name="csY83" fmla="*/ 848558 h 1571603"/>
              <a:gd name="csX84" fmla="*/ 233315 w 732037"/>
              <a:gd name="csY84" fmla="*/ 824438 h 1571603"/>
              <a:gd name="csX85" fmla="*/ 233199 w 732037"/>
              <a:gd name="csY85" fmla="*/ 819050 h 1571603"/>
              <a:gd name="csX86" fmla="*/ 235848 w 732037"/>
              <a:gd name="csY86" fmla="*/ 782380 h 1571603"/>
              <a:gd name="csX87" fmla="*/ 237465 w 732037"/>
              <a:gd name="csY87" fmla="*/ 719113 h 1571603"/>
              <a:gd name="csX88" fmla="*/ 233057 w 732037"/>
              <a:gd name="csY88" fmla="*/ 713160 h 1571603"/>
              <a:gd name="csX89" fmla="*/ 203056 w 732037"/>
              <a:gd name="csY89" fmla="*/ 708405 h 1571603"/>
              <a:gd name="csX90" fmla="*/ 169628 w 732037"/>
              <a:gd name="csY90" fmla="*/ 698106 h 1571603"/>
              <a:gd name="csX91" fmla="*/ 153237 w 732037"/>
              <a:gd name="csY91" fmla="*/ 659111 h 1571603"/>
              <a:gd name="csX92" fmla="*/ 178365 w 732037"/>
              <a:gd name="csY92" fmla="*/ 626008 h 1571603"/>
              <a:gd name="csX93" fmla="*/ 191885 w 732037"/>
              <a:gd name="csY93" fmla="*/ 617513 h 1571603"/>
              <a:gd name="csX94" fmla="*/ 193681 w 732037"/>
              <a:gd name="csY94" fmla="*/ 610098 h 1571603"/>
              <a:gd name="csX95" fmla="*/ 213301 w 732037"/>
              <a:gd name="csY95" fmla="*/ 579885 h 1571603"/>
              <a:gd name="csX96" fmla="*/ 229635 w 732037"/>
              <a:gd name="csY96" fmla="*/ 571429 h 1571603"/>
              <a:gd name="csX97" fmla="*/ 237351 w 732037"/>
              <a:gd name="csY97" fmla="*/ 565882 h 1571603"/>
              <a:gd name="csX98" fmla="*/ 233673 w 732037"/>
              <a:gd name="csY98" fmla="*/ 550926 h 1571603"/>
              <a:gd name="csX99" fmla="*/ 226799 w 732037"/>
              <a:gd name="csY99" fmla="*/ 548359 h 1571603"/>
              <a:gd name="csX100" fmla="*/ 218639 w 732037"/>
              <a:gd name="csY100" fmla="*/ 522664 h 1571603"/>
              <a:gd name="csX101" fmla="*/ 218264 w 732037"/>
              <a:gd name="csY101" fmla="*/ 505463 h 1571603"/>
              <a:gd name="csX102" fmla="*/ 181762 w 732037"/>
              <a:gd name="csY102" fmla="*/ 437574 h 1571603"/>
              <a:gd name="csX103" fmla="*/ 185971 w 732037"/>
              <a:gd name="csY103" fmla="*/ 289069 h 1571603"/>
              <a:gd name="csX104" fmla="*/ 253787 w 732037"/>
              <a:gd name="csY104" fmla="*/ 175580 h 1571603"/>
              <a:gd name="csX105" fmla="*/ 309639 w 732037"/>
              <a:gd name="csY105" fmla="*/ 108695 h 1571603"/>
              <a:gd name="csX106" fmla="*/ 318061 w 732037"/>
              <a:gd name="csY106" fmla="*/ 98855 h 1571603"/>
              <a:gd name="csX107" fmla="*/ 304967 w 732037"/>
              <a:gd name="csY107" fmla="*/ 70056 h 1571603"/>
              <a:gd name="csX108" fmla="*/ 317012 w 732037"/>
              <a:gd name="csY108" fmla="*/ 19436 h 1571603"/>
              <a:gd name="csX109" fmla="*/ 415542 w 732037"/>
              <a:gd name="csY109" fmla="*/ 18221 h 1571603"/>
              <a:gd name="csX110" fmla="*/ 423203 w 732037"/>
              <a:gd name="csY110" fmla="*/ 82660 h 1571603"/>
              <a:gd name="csX111" fmla="*/ 413361 w 732037"/>
              <a:gd name="csY111" fmla="*/ 97975 h 1571603"/>
              <a:gd name="csX112" fmla="*/ 421654 w 732037"/>
              <a:gd name="csY112" fmla="*/ 106676 h 1571603"/>
              <a:gd name="csX113" fmla="*/ 487032 w 732037"/>
              <a:gd name="csY113" fmla="*/ 184632 h 1571603"/>
              <a:gd name="csX114" fmla="*/ 489213 w 732037"/>
              <a:gd name="csY114" fmla="*/ 208238 h 1571603"/>
              <a:gd name="csX115" fmla="*/ 476520 w 732037"/>
              <a:gd name="csY115" fmla="*/ 235738 h 1571603"/>
              <a:gd name="csX116" fmla="*/ 472850 w 732037"/>
              <a:gd name="csY116" fmla="*/ 230703 h 1571603"/>
              <a:gd name="csX117" fmla="*/ 482723 w 732037"/>
              <a:gd name="csY117" fmla="*/ 208315 h 1571603"/>
              <a:gd name="csX118" fmla="*/ 480764 w 732037"/>
              <a:gd name="csY118" fmla="*/ 187916 h 1571603"/>
              <a:gd name="csX119" fmla="*/ 408519 w 732037"/>
              <a:gd name="csY119" fmla="*/ 105475 h 1571603"/>
              <a:gd name="csX120" fmla="*/ 408625 w 732037"/>
              <a:gd name="csY120" fmla="*/ 89203 h 1571603"/>
              <a:gd name="csX121" fmla="*/ 419600 w 732037"/>
              <a:gd name="csY121" fmla="*/ 71648 h 1571603"/>
              <a:gd name="csX122" fmla="*/ 418792 w 732037"/>
              <a:gd name="csY122" fmla="*/ 63179 h 1571603"/>
              <a:gd name="csX123" fmla="*/ 410943 w 732037"/>
              <a:gd name="csY123" fmla="*/ 66417 h 1571603"/>
              <a:gd name="csX124" fmla="*/ 400140 w 732037"/>
              <a:gd name="csY124" fmla="*/ 76155 h 1571603"/>
              <a:gd name="csX125" fmla="*/ 360599 w 732037"/>
              <a:gd name="csY125" fmla="*/ 51379 h 1571603"/>
              <a:gd name="csX126" fmla="*/ 360842 w 732037"/>
              <a:gd name="csY126" fmla="*/ 39128 h 1571603"/>
              <a:gd name="csX127" fmla="*/ 369470 w 732037"/>
              <a:gd name="csY127" fmla="*/ 30960 h 1571603"/>
              <a:gd name="csX128" fmla="*/ 365613 w 732037"/>
              <a:gd name="csY128" fmla="*/ 49108 h 1571603"/>
              <a:gd name="csX129" fmla="*/ 389468 w 732037"/>
              <a:gd name="csY129" fmla="*/ 71608 h 1571603"/>
              <a:gd name="csX130" fmla="*/ 408822 w 732037"/>
              <a:gd name="csY130" fmla="*/ 46613 h 1571603"/>
              <a:gd name="csX131" fmla="*/ 406842 w 732037"/>
              <a:gd name="csY131" fmla="*/ 38347 h 157160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</a:cxnLst>
            <a:rect l="l" t="t" r="r" b="b"/>
            <a:pathLst>
              <a:path w="732037" h="1571603">
                <a:moveTo>
                  <a:pt x="406842" y="38347"/>
                </a:moveTo>
                <a:cubicBezTo>
                  <a:pt x="408555" y="35869"/>
                  <a:pt x="410622" y="34608"/>
                  <a:pt x="411944" y="38343"/>
                </a:cubicBezTo>
                <a:cubicBezTo>
                  <a:pt x="413676" y="43242"/>
                  <a:pt x="414797" y="48356"/>
                  <a:pt x="416198" y="53444"/>
                </a:cubicBezTo>
                <a:cubicBezTo>
                  <a:pt x="422922" y="48977"/>
                  <a:pt x="424340" y="41699"/>
                  <a:pt x="418945" y="34170"/>
                </a:cubicBezTo>
                <a:cubicBezTo>
                  <a:pt x="412483" y="25152"/>
                  <a:pt x="404444" y="17554"/>
                  <a:pt x="394077" y="12943"/>
                </a:cubicBezTo>
                <a:cubicBezTo>
                  <a:pt x="376702" y="5216"/>
                  <a:pt x="358713" y="6244"/>
                  <a:pt x="341415" y="11814"/>
                </a:cubicBezTo>
                <a:cubicBezTo>
                  <a:pt x="323675" y="17525"/>
                  <a:pt x="304459" y="39816"/>
                  <a:pt x="309440" y="65249"/>
                </a:cubicBezTo>
                <a:cubicBezTo>
                  <a:pt x="310868" y="72543"/>
                  <a:pt x="315482" y="79463"/>
                  <a:pt x="319632" y="85914"/>
                </a:cubicBezTo>
                <a:cubicBezTo>
                  <a:pt x="325434" y="94933"/>
                  <a:pt x="325800" y="102817"/>
                  <a:pt x="318632" y="110015"/>
                </a:cubicBezTo>
                <a:cubicBezTo>
                  <a:pt x="291775" y="136984"/>
                  <a:pt x="269594" y="167702"/>
                  <a:pt x="246921" y="198083"/>
                </a:cubicBezTo>
                <a:cubicBezTo>
                  <a:pt x="230003" y="220751"/>
                  <a:pt x="215685" y="244921"/>
                  <a:pt x="202660" y="269911"/>
                </a:cubicBezTo>
                <a:cubicBezTo>
                  <a:pt x="188381" y="297309"/>
                  <a:pt x="179513" y="326657"/>
                  <a:pt x="176707" y="357233"/>
                </a:cubicBezTo>
                <a:cubicBezTo>
                  <a:pt x="174106" y="385578"/>
                  <a:pt x="180131" y="413140"/>
                  <a:pt x="190612" y="439700"/>
                </a:cubicBezTo>
                <a:cubicBezTo>
                  <a:pt x="199946" y="463353"/>
                  <a:pt x="211538" y="485623"/>
                  <a:pt x="227544" y="505527"/>
                </a:cubicBezTo>
                <a:cubicBezTo>
                  <a:pt x="229982" y="508558"/>
                  <a:pt x="230954" y="512768"/>
                  <a:pt x="232541" y="516294"/>
                </a:cubicBezTo>
                <a:cubicBezTo>
                  <a:pt x="229578" y="520824"/>
                  <a:pt x="226658" y="524724"/>
                  <a:pt x="224356" y="528960"/>
                </a:cubicBezTo>
                <a:cubicBezTo>
                  <a:pt x="221823" y="533618"/>
                  <a:pt x="222675" y="537588"/>
                  <a:pt x="227944" y="540026"/>
                </a:cubicBezTo>
                <a:cubicBezTo>
                  <a:pt x="231656" y="541743"/>
                  <a:pt x="235331" y="543568"/>
                  <a:pt x="238897" y="545570"/>
                </a:cubicBezTo>
                <a:cubicBezTo>
                  <a:pt x="249613" y="551585"/>
                  <a:pt x="251795" y="563681"/>
                  <a:pt x="242386" y="571785"/>
                </a:cubicBezTo>
                <a:cubicBezTo>
                  <a:pt x="233816" y="579166"/>
                  <a:pt x="224045" y="585423"/>
                  <a:pt x="214067" y="590809"/>
                </a:cubicBezTo>
                <a:cubicBezTo>
                  <a:pt x="206271" y="595018"/>
                  <a:pt x="202051" y="601487"/>
                  <a:pt x="201355" y="609067"/>
                </a:cubicBezTo>
                <a:cubicBezTo>
                  <a:pt x="200489" y="618497"/>
                  <a:pt x="195720" y="623726"/>
                  <a:pt x="188474" y="628398"/>
                </a:cubicBezTo>
                <a:cubicBezTo>
                  <a:pt x="177332" y="635582"/>
                  <a:pt x="167866" y="644503"/>
                  <a:pt x="162658" y="657096"/>
                </a:cubicBezTo>
                <a:cubicBezTo>
                  <a:pt x="156420" y="672181"/>
                  <a:pt x="160439" y="684301"/>
                  <a:pt x="175395" y="691621"/>
                </a:cubicBezTo>
                <a:cubicBezTo>
                  <a:pt x="183722" y="695697"/>
                  <a:pt x="192859" y="698589"/>
                  <a:pt x="201948" y="700523"/>
                </a:cubicBezTo>
                <a:cubicBezTo>
                  <a:pt x="214634" y="703224"/>
                  <a:pt x="227616" y="704530"/>
                  <a:pt x="241426" y="706574"/>
                </a:cubicBezTo>
                <a:cubicBezTo>
                  <a:pt x="241839" y="709770"/>
                  <a:pt x="242576" y="712857"/>
                  <a:pt x="242586" y="715946"/>
                </a:cubicBezTo>
                <a:cubicBezTo>
                  <a:pt x="242672" y="744610"/>
                  <a:pt x="243133" y="773285"/>
                  <a:pt x="242424" y="801932"/>
                </a:cubicBezTo>
                <a:cubicBezTo>
                  <a:pt x="242053" y="816907"/>
                  <a:pt x="239631" y="831838"/>
                  <a:pt x="238000" y="846774"/>
                </a:cubicBezTo>
                <a:cubicBezTo>
                  <a:pt x="236368" y="861717"/>
                  <a:pt x="234927" y="876693"/>
                  <a:pt x="232752" y="891559"/>
                </a:cubicBezTo>
                <a:cubicBezTo>
                  <a:pt x="229873" y="911238"/>
                  <a:pt x="226675" y="930882"/>
                  <a:pt x="223037" y="950433"/>
                </a:cubicBezTo>
                <a:cubicBezTo>
                  <a:pt x="219173" y="971193"/>
                  <a:pt x="215113" y="991942"/>
                  <a:pt x="210247" y="1012485"/>
                </a:cubicBezTo>
                <a:cubicBezTo>
                  <a:pt x="205743" y="1031500"/>
                  <a:pt x="200395" y="1050337"/>
                  <a:pt x="194820" y="1069074"/>
                </a:cubicBezTo>
                <a:cubicBezTo>
                  <a:pt x="185401" y="1100731"/>
                  <a:pt x="175708" y="1132311"/>
                  <a:pt x="165707" y="1163788"/>
                </a:cubicBezTo>
                <a:cubicBezTo>
                  <a:pt x="162367" y="1174302"/>
                  <a:pt x="156145" y="1182634"/>
                  <a:pt x="144382" y="1185530"/>
                </a:cubicBezTo>
                <a:cubicBezTo>
                  <a:pt x="139281" y="1186787"/>
                  <a:pt x="134434" y="1189193"/>
                  <a:pt x="129590" y="1191342"/>
                </a:cubicBezTo>
                <a:cubicBezTo>
                  <a:pt x="120028" y="1195581"/>
                  <a:pt x="118779" y="1198539"/>
                  <a:pt x="122255" y="1208476"/>
                </a:cubicBezTo>
                <a:cubicBezTo>
                  <a:pt x="123870" y="1213094"/>
                  <a:pt x="125990" y="1217542"/>
                  <a:pt x="127491" y="1222193"/>
                </a:cubicBezTo>
                <a:cubicBezTo>
                  <a:pt x="132294" y="1237066"/>
                  <a:pt x="129961" y="1250353"/>
                  <a:pt x="118348" y="1261470"/>
                </a:cubicBezTo>
                <a:cubicBezTo>
                  <a:pt x="98275" y="1280686"/>
                  <a:pt x="78038" y="1299737"/>
                  <a:pt x="58232" y="1319224"/>
                </a:cubicBezTo>
                <a:cubicBezTo>
                  <a:pt x="38634" y="1338507"/>
                  <a:pt x="29913" y="1362564"/>
                  <a:pt x="28815" y="1389717"/>
                </a:cubicBezTo>
                <a:cubicBezTo>
                  <a:pt x="28318" y="1402031"/>
                  <a:pt x="29110" y="1414206"/>
                  <a:pt x="32634" y="1426050"/>
                </a:cubicBezTo>
                <a:cubicBezTo>
                  <a:pt x="34273" y="1431554"/>
                  <a:pt x="33300" y="1435929"/>
                  <a:pt x="30331" y="1441003"/>
                </a:cubicBezTo>
                <a:cubicBezTo>
                  <a:pt x="16698" y="1464298"/>
                  <a:pt x="8890" y="1489397"/>
                  <a:pt x="9180" y="1516655"/>
                </a:cubicBezTo>
                <a:cubicBezTo>
                  <a:pt x="9291" y="1527012"/>
                  <a:pt x="9917" y="1528771"/>
                  <a:pt x="20082" y="1531402"/>
                </a:cubicBezTo>
                <a:cubicBezTo>
                  <a:pt x="38179" y="1536086"/>
                  <a:pt x="56480" y="1540035"/>
                  <a:pt x="74798" y="1543794"/>
                </a:cubicBezTo>
                <a:cubicBezTo>
                  <a:pt x="87517" y="1546403"/>
                  <a:pt x="100396" y="1548250"/>
                  <a:pt x="113225" y="1550305"/>
                </a:cubicBezTo>
                <a:cubicBezTo>
                  <a:pt x="120841" y="1551524"/>
                  <a:pt x="128467" y="1552843"/>
                  <a:pt x="136142" y="1553484"/>
                </a:cubicBezTo>
                <a:cubicBezTo>
                  <a:pt x="149934" y="1554635"/>
                  <a:pt x="163778" y="1555156"/>
                  <a:pt x="177578" y="1556220"/>
                </a:cubicBezTo>
                <a:cubicBezTo>
                  <a:pt x="195403" y="1557595"/>
                  <a:pt x="213196" y="1559407"/>
                  <a:pt x="231027" y="1560698"/>
                </a:cubicBezTo>
                <a:cubicBezTo>
                  <a:pt x="238768" y="1561259"/>
                  <a:pt x="246585" y="1560709"/>
                  <a:pt x="254342" y="1561142"/>
                </a:cubicBezTo>
                <a:cubicBezTo>
                  <a:pt x="322588" y="1564942"/>
                  <a:pt x="390896" y="1563427"/>
                  <a:pt x="459180" y="1563411"/>
                </a:cubicBezTo>
                <a:cubicBezTo>
                  <a:pt x="483236" y="1563406"/>
                  <a:pt x="507311" y="1562248"/>
                  <a:pt x="531340" y="1560936"/>
                </a:cubicBezTo>
                <a:cubicBezTo>
                  <a:pt x="551225" y="1559849"/>
                  <a:pt x="571160" y="1558554"/>
                  <a:pt x="590888" y="1555951"/>
                </a:cubicBezTo>
                <a:cubicBezTo>
                  <a:pt x="631179" y="1550635"/>
                  <a:pt x="671338" y="1544328"/>
                  <a:pt x="710712" y="1533916"/>
                </a:cubicBezTo>
                <a:cubicBezTo>
                  <a:pt x="722630" y="1530764"/>
                  <a:pt x="724036" y="1528558"/>
                  <a:pt x="724356" y="1516144"/>
                </a:cubicBezTo>
                <a:cubicBezTo>
                  <a:pt x="724970" y="1492256"/>
                  <a:pt x="718637" y="1470245"/>
                  <a:pt x="707380" y="1449380"/>
                </a:cubicBezTo>
                <a:cubicBezTo>
                  <a:pt x="706259" y="1447304"/>
                  <a:pt x="706896" y="1444279"/>
                  <a:pt x="707050" y="1440881"/>
                </a:cubicBezTo>
                <a:cubicBezTo>
                  <a:pt x="722747" y="1457101"/>
                  <a:pt x="728653" y="1477963"/>
                  <a:pt x="731479" y="1500017"/>
                </a:cubicBezTo>
                <a:cubicBezTo>
                  <a:pt x="731992" y="1504029"/>
                  <a:pt x="731781" y="1508135"/>
                  <a:pt x="731163" y="1513759"/>
                </a:cubicBezTo>
                <a:cubicBezTo>
                  <a:pt x="730831" y="1517468"/>
                  <a:pt x="731241" y="1519618"/>
                  <a:pt x="731650" y="1521766"/>
                </a:cubicBezTo>
                <a:cubicBezTo>
                  <a:pt x="733191" y="1529956"/>
                  <a:pt x="730165" y="1535242"/>
                  <a:pt x="721896" y="1537319"/>
                </a:cubicBezTo>
                <a:cubicBezTo>
                  <a:pt x="700520" y="1542690"/>
                  <a:pt x="679367" y="1549248"/>
                  <a:pt x="657740" y="1553265"/>
                </a:cubicBezTo>
                <a:cubicBezTo>
                  <a:pt x="608220" y="1562464"/>
                  <a:pt x="558146" y="1566701"/>
                  <a:pt x="507791" y="1568943"/>
                </a:cubicBezTo>
                <a:cubicBezTo>
                  <a:pt x="426738" y="1572552"/>
                  <a:pt x="345677" y="1572161"/>
                  <a:pt x="264676" y="1569724"/>
                </a:cubicBezTo>
                <a:cubicBezTo>
                  <a:pt x="203800" y="1567891"/>
                  <a:pt x="142882" y="1563907"/>
                  <a:pt x="82743" y="1553254"/>
                </a:cubicBezTo>
                <a:cubicBezTo>
                  <a:pt x="60647" y="1549341"/>
                  <a:pt x="38739" y="1544032"/>
                  <a:pt x="17072" y="1538153"/>
                </a:cubicBezTo>
                <a:cubicBezTo>
                  <a:pt x="1381" y="1533894"/>
                  <a:pt x="-938" y="1529341"/>
                  <a:pt x="275" y="1513030"/>
                </a:cubicBezTo>
                <a:cubicBezTo>
                  <a:pt x="2146" y="1487871"/>
                  <a:pt x="7321" y="1463566"/>
                  <a:pt x="20923" y="1441861"/>
                </a:cubicBezTo>
                <a:cubicBezTo>
                  <a:pt x="24812" y="1435656"/>
                  <a:pt x="24566" y="1429699"/>
                  <a:pt x="23045" y="1423105"/>
                </a:cubicBezTo>
                <a:cubicBezTo>
                  <a:pt x="16952" y="1396684"/>
                  <a:pt x="19689" y="1370924"/>
                  <a:pt x="30564" y="1346289"/>
                </a:cubicBezTo>
                <a:cubicBezTo>
                  <a:pt x="39621" y="1325774"/>
                  <a:pt x="54481" y="1309709"/>
                  <a:pt x="71350" y="1295039"/>
                </a:cubicBezTo>
                <a:cubicBezTo>
                  <a:pt x="85712" y="1282550"/>
                  <a:pt x="99164" y="1268932"/>
                  <a:pt x="112257" y="1255093"/>
                </a:cubicBezTo>
                <a:cubicBezTo>
                  <a:pt x="122891" y="1243852"/>
                  <a:pt x="124955" y="1230879"/>
                  <a:pt x="115864" y="1217271"/>
                </a:cubicBezTo>
                <a:cubicBezTo>
                  <a:pt x="114506" y="1215239"/>
                  <a:pt x="113304" y="1213078"/>
                  <a:pt x="112256" y="1210870"/>
                </a:cubicBezTo>
                <a:cubicBezTo>
                  <a:pt x="106526" y="1198808"/>
                  <a:pt x="109052" y="1191969"/>
                  <a:pt x="121141" y="1186548"/>
                </a:cubicBezTo>
                <a:cubicBezTo>
                  <a:pt x="126274" y="1184246"/>
                  <a:pt x="131201" y="1180803"/>
                  <a:pt x="136571" y="1179850"/>
                </a:cubicBezTo>
                <a:cubicBezTo>
                  <a:pt x="149372" y="1177579"/>
                  <a:pt x="154892" y="1168948"/>
                  <a:pt x="158281" y="1157879"/>
                </a:cubicBezTo>
                <a:cubicBezTo>
                  <a:pt x="168288" y="1125194"/>
                  <a:pt x="179178" y="1092742"/>
                  <a:pt x="187986" y="1059736"/>
                </a:cubicBezTo>
                <a:cubicBezTo>
                  <a:pt x="198666" y="1019713"/>
                  <a:pt x="207813" y="979272"/>
                  <a:pt x="217119" y="938896"/>
                </a:cubicBezTo>
                <a:cubicBezTo>
                  <a:pt x="220491" y="924267"/>
                  <a:pt x="222410" y="909302"/>
                  <a:pt x="225792" y="893236"/>
                </a:cubicBezTo>
                <a:cubicBezTo>
                  <a:pt x="226444" y="890644"/>
                  <a:pt x="226297" y="889307"/>
                  <a:pt x="226150" y="887970"/>
                </a:cubicBezTo>
                <a:cubicBezTo>
                  <a:pt x="227450" y="877085"/>
                  <a:pt x="228750" y="866198"/>
                  <a:pt x="230782" y="853969"/>
                </a:cubicBezTo>
                <a:cubicBezTo>
                  <a:pt x="231271" y="851270"/>
                  <a:pt x="231029" y="849914"/>
                  <a:pt x="230786" y="848558"/>
                </a:cubicBezTo>
                <a:cubicBezTo>
                  <a:pt x="231390" y="840967"/>
                  <a:pt x="231993" y="833375"/>
                  <a:pt x="233315" y="824438"/>
                </a:cubicBezTo>
                <a:cubicBezTo>
                  <a:pt x="233755" y="821744"/>
                  <a:pt x="233477" y="820397"/>
                  <a:pt x="233199" y="819050"/>
                </a:cubicBezTo>
                <a:cubicBezTo>
                  <a:pt x="233786" y="807422"/>
                  <a:pt x="234374" y="795794"/>
                  <a:pt x="235848" y="782380"/>
                </a:cubicBezTo>
                <a:cubicBezTo>
                  <a:pt x="237047" y="760099"/>
                  <a:pt x="237488" y="739606"/>
                  <a:pt x="237465" y="719113"/>
                </a:cubicBezTo>
                <a:cubicBezTo>
                  <a:pt x="237463" y="717127"/>
                  <a:pt x="234595" y="715144"/>
                  <a:pt x="233057" y="713160"/>
                </a:cubicBezTo>
                <a:cubicBezTo>
                  <a:pt x="223043" y="711630"/>
                  <a:pt x="212881" y="710731"/>
                  <a:pt x="203056" y="708405"/>
                </a:cubicBezTo>
                <a:cubicBezTo>
                  <a:pt x="191716" y="705720"/>
                  <a:pt x="180144" y="702931"/>
                  <a:pt x="169628" y="698106"/>
                </a:cubicBezTo>
                <a:cubicBezTo>
                  <a:pt x="154505" y="691164"/>
                  <a:pt x="148867" y="675179"/>
                  <a:pt x="153237" y="659111"/>
                </a:cubicBezTo>
                <a:cubicBezTo>
                  <a:pt x="157196" y="644561"/>
                  <a:pt x="166649" y="634454"/>
                  <a:pt x="178365" y="626008"/>
                </a:cubicBezTo>
                <a:cubicBezTo>
                  <a:pt x="182258" y="623202"/>
                  <a:pt x="186579" y="620992"/>
                  <a:pt x="191885" y="617513"/>
                </a:cubicBezTo>
                <a:cubicBezTo>
                  <a:pt x="194882" y="614532"/>
                  <a:pt x="197062" y="612583"/>
                  <a:pt x="193681" y="610098"/>
                </a:cubicBezTo>
                <a:cubicBezTo>
                  <a:pt x="193381" y="595591"/>
                  <a:pt x="202034" y="586776"/>
                  <a:pt x="213301" y="579885"/>
                </a:cubicBezTo>
                <a:cubicBezTo>
                  <a:pt x="218517" y="576695"/>
                  <a:pt x="224270" y="574393"/>
                  <a:pt x="229635" y="571429"/>
                </a:cubicBezTo>
                <a:cubicBezTo>
                  <a:pt x="232401" y="569901"/>
                  <a:pt x="235344" y="568225"/>
                  <a:pt x="237351" y="565882"/>
                </a:cubicBezTo>
                <a:cubicBezTo>
                  <a:pt x="243193" y="559063"/>
                  <a:pt x="242021" y="554779"/>
                  <a:pt x="233673" y="550926"/>
                </a:cubicBezTo>
                <a:cubicBezTo>
                  <a:pt x="231458" y="549904"/>
                  <a:pt x="229049" y="549314"/>
                  <a:pt x="226799" y="548359"/>
                </a:cubicBezTo>
                <a:cubicBezTo>
                  <a:pt x="215108" y="543398"/>
                  <a:pt x="211118" y="532802"/>
                  <a:pt x="218639" y="522664"/>
                </a:cubicBezTo>
                <a:cubicBezTo>
                  <a:pt x="223647" y="515913"/>
                  <a:pt x="222661" y="511633"/>
                  <a:pt x="218264" y="505463"/>
                </a:cubicBezTo>
                <a:cubicBezTo>
                  <a:pt x="203255" y="484407"/>
                  <a:pt x="190650" y="461993"/>
                  <a:pt x="181762" y="437574"/>
                </a:cubicBezTo>
                <a:cubicBezTo>
                  <a:pt x="163530" y="387483"/>
                  <a:pt x="165826" y="338057"/>
                  <a:pt x="185971" y="289069"/>
                </a:cubicBezTo>
                <a:cubicBezTo>
                  <a:pt x="202921" y="247851"/>
                  <a:pt x="226229" y="210377"/>
                  <a:pt x="253787" y="175580"/>
                </a:cubicBezTo>
                <a:cubicBezTo>
                  <a:pt x="271814" y="152817"/>
                  <a:pt x="290973" y="130951"/>
                  <a:pt x="309639" y="108695"/>
                </a:cubicBezTo>
                <a:cubicBezTo>
                  <a:pt x="312744" y="104993"/>
                  <a:pt x="315922" y="101352"/>
                  <a:pt x="318061" y="98855"/>
                </a:cubicBezTo>
                <a:cubicBezTo>
                  <a:pt x="313257" y="88362"/>
                  <a:pt x="308695" y="79376"/>
                  <a:pt x="304967" y="70056"/>
                </a:cubicBezTo>
                <a:cubicBezTo>
                  <a:pt x="297146" y="50504"/>
                  <a:pt x="303366" y="33481"/>
                  <a:pt x="317012" y="19436"/>
                </a:cubicBezTo>
                <a:cubicBezTo>
                  <a:pt x="344741" y="-9105"/>
                  <a:pt x="393463" y="-3345"/>
                  <a:pt x="415542" y="18221"/>
                </a:cubicBezTo>
                <a:cubicBezTo>
                  <a:pt x="429559" y="31914"/>
                  <a:pt x="438373" y="56968"/>
                  <a:pt x="423203" y="82660"/>
                </a:cubicBezTo>
                <a:cubicBezTo>
                  <a:pt x="420306" y="87568"/>
                  <a:pt x="417047" y="92262"/>
                  <a:pt x="413361" y="97975"/>
                </a:cubicBezTo>
                <a:cubicBezTo>
                  <a:pt x="416167" y="100932"/>
                  <a:pt x="418781" y="103940"/>
                  <a:pt x="421654" y="106676"/>
                </a:cubicBezTo>
                <a:cubicBezTo>
                  <a:pt x="446372" y="130213"/>
                  <a:pt x="467902" y="156374"/>
                  <a:pt x="487032" y="184632"/>
                </a:cubicBezTo>
                <a:cubicBezTo>
                  <a:pt x="492374" y="192525"/>
                  <a:pt x="493990" y="199495"/>
                  <a:pt x="489213" y="208238"/>
                </a:cubicBezTo>
                <a:cubicBezTo>
                  <a:pt x="484525" y="216819"/>
                  <a:pt x="481033" y="226053"/>
                  <a:pt x="476520" y="235738"/>
                </a:cubicBezTo>
                <a:cubicBezTo>
                  <a:pt x="472168" y="236089"/>
                  <a:pt x="471165" y="234358"/>
                  <a:pt x="472850" y="230703"/>
                </a:cubicBezTo>
                <a:cubicBezTo>
                  <a:pt x="476263" y="223297"/>
                  <a:pt x="479344" y="215738"/>
                  <a:pt x="482723" y="208315"/>
                </a:cubicBezTo>
                <a:cubicBezTo>
                  <a:pt x="486016" y="201080"/>
                  <a:pt x="485571" y="194961"/>
                  <a:pt x="480764" y="187916"/>
                </a:cubicBezTo>
                <a:cubicBezTo>
                  <a:pt x="459995" y="157475"/>
                  <a:pt x="437234" y="128912"/>
                  <a:pt x="408519" y="105475"/>
                </a:cubicBezTo>
                <a:cubicBezTo>
                  <a:pt x="403555" y="101425"/>
                  <a:pt x="403835" y="96489"/>
                  <a:pt x="408625" y="89203"/>
                </a:cubicBezTo>
                <a:cubicBezTo>
                  <a:pt x="412416" y="83438"/>
                  <a:pt x="416045" y="77562"/>
                  <a:pt x="419600" y="71648"/>
                </a:cubicBezTo>
                <a:cubicBezTo>
                  <a:pt x="421349" y="68739"/>
                  <a:pt x="422717" y="65537"/>
                  <a:pt x="418792" y="63179"/>
                </a:cubicBezTo>
                <a:cubicBezTo>
                  <a:pt x="414834" y="60801"/>
                  <a:pt x="413218" y="63883"/>
                  <a:pt x="410943" y="66417"/>
                </a:cubicBezTo>
                <a:cubicBezTo>
                  <a:pt x="407706" y="70022"/>
                  <a:pt x="404330" y="74045"/>
                  <a:pt x="400140" y="76155"/>
                </a:cubicBezTo>
                <a:cubicBezTo>
                  <a:pt x="381561" y="85507"/>
                  <a:pt x="360821" y="72312"/>
                  <a:pt x="360599" y="51379"/>
                </a:cubicBezTo>
                <a:cubicBezTo>
                  <a:pt x="360556" y="47292"/>
                  <a:pt x="360308" y="43152"/>
                  <a:pt x="360842" y="39128"/>
                </a:cubicBezTo>
                <a:cubicBezTo>
                  <a:pt x="361447" y="34568"/>
                  <a:pt x="362880" y="30159"/>
                  <a:pt x="369470" y="30960"/>
                </a:cubicBezTo>
                <a:cubicBezTo>
                  <a:pt x="368501" y="37551"/>
                  <a:pt x="365745" y="43300"/>
                  <a:pt x="365613" y="49108"/>
                </a:cubicBezTo>
                <a:cubicBezTo>
                  <a:pt x="365328" y="61659"/>
                  <a:pt x="377498" y="72522"/>
                  <a:pt x="389468" y="71608"/>
                </a:cubicBezTo>
                <a:cubicBezTo>
                  <a:pt x="401478" y="70690"/>
                  <a:pt x="410127" y="59637"/>
                  <a:pt x="408822" y="46613"/>
                </a:cubicBezTo>
                <a:cubicBezTo>
                  <a:pt x="408542" y="43819"/>
                  <a:pt x="407521" y="41100"/>
                  <a:pt x="406842" y="38347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80" name="Free-form: Shape 179">
            <a:extLst>
              <a:ext uri="{FF2B5EF4-FFF2-40B4-BE49-F238E27FC236}">
                <a16:creationId xmlns:a16="http://schemas.microsoft.com/office/drawing/2014/main" id="{C6A55FFD-9F0F-F1C8-18A9-31EE1860C9BA}"/>
              </a:ext>
            </a:extLst>
          </p:cNvPr>
          <p:cNvSpPr/>
          <p:nvPr/>
        </p:nvSpPr>
        <p:spPr>
          <a:xfrm>
            <a:off x="9105002" y="3026602"/>
            <a:ext cx="91545" cy="184495"/>
          </a:xfrm>
          <a:custGeom>
            <a:avLst/>
            <a:gdLst>
              <a:gd name="csX0" fmla="*/ 96534 w 100699"/>
              <a:gd name="csY0" fmla="*/ 202912 h 202945"/>
              <a:gd name="csX1" fmla="*/ 91036 w 100699"/>
              <a:gd name="csY1" fmla="*/ 196780 h 202945"/>
              <a:gd name="csX2" fmla="*/ 93357 w 100699"/>
              <a:gd name="csY2" fmla="*/ 178731 h 202945"/>
              <a:gd name="csX3" fmla="*/ 75903 w 100699"/>
              <a:gd name="csY3" fmla="*/ 106029 h 202945"/>
              <a:gd name="csX4" fmla="*/ 72780 w 100699"/>
              <a:gd name="csY4" fmla="*/ 102473 h 202945"/>
              <a:gd name="csX5" fmla="*/ 10982 w 100699"/>
              <a:gd name="csY5" fmla="*/ 41414 h 202945"/>
              <a:gd name="csX6" fmla="*/ 676 w 100699"/>
              <a:gd name="csY6" fmla="*/ 2936 h 202945"/>
              <a:gd name="csX7" fmla="*/ 5198 w 100699"/>
              <a:gd name="csY7" fmla="*/ 0 h 202945"/>
              <a:gd name="csX8" fmla="*/ 15435 w 100699"/>
              <a:gd name="csY8" fmla="*/ 35855 h 202945"/>
              <a:gd name="csX9" fmla="*/ 44498 w 100699"/>
              <a:gd name="csY9" fmla="*/ 63833 h 202945"/>
              <a:gd name="csX10" fmla="*/ 81385 w 100699"/>
              <a:gd name="csY10" fmla="*/ 106005 h 202945"/>
              <a:gd name="csX11" fmla="*/ 98950 w 100699"/>
              <a:gd name="csY11" fmla="*/ 190063 h 202945"/>
              <a:gd name="csX12" fmla="*/ 96534 w 100699"/>
              <a:gd name="csY12" fmla="*/ 202912 h 20294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</a:cxnLst>
            <a:rect l="l" t="t" r="r" b="b"/>
            <a:pathLst>
              <a:path w="100699" h="202945">
                <a:moveTo>
                  <a:pt x="96534" y="202912"/>
                </a:moveTo>
                <a:cubicBezTo>
                  <a:pt x="91699" y="203291"/>
                  <a:pt x="90650" y="200377"/>
                  <a:pt x="91036" y="196780"/>
                </a:cubicBezTo>
                <a:cubicBezTo>
                  <a:pt x="91685" y="190750"/>
                  <a:pt x="92933" y="184771"/>
                  <a:pt x="93357" y="178731"/>
                </a:cubicBezTo>
                <a:cubicBezTo>
                  <a:pt x="95183" y="152694"/>
                  <a:pt x="86034" y="129222"/>
                  <a:pt x="75903" y="106029"/>
                </a:cubicBezTo>
                <a:cubicBezTo>
                  <a:pt x="75300" y="104650"/>
                  <a:pt x="73904" y="103585"/>
                  <a:pt x="72780" y="102473"/>
                </a:cubicBezTo>
                <a:cubicBezTo>
                  <a:pt x="52199" y="82101"/>
                  <a:pt x="31673" y="61673"/>
                  <a:pt x="10982" y="41414"/>
                </a:cubicBezTo>
                <a:cubicBezTo>
                  <a:pt x="-119" y="30544"/>
                  <a:pt x="-1041" y="17093"/>
                  <a:pt x="676" y="2936"/>
                </a:cubicBezTo>
                <a:cubicBezTo>
                  <a:pt x="808" y="1852"/>
                  <a:pt x="2922" y="1010"/>
                  <a:pt x="5198" y="0"/>
                </a:cubicBezTo>
                <a:cubicBezTo>
                  <a:pt x="2043" y="13772"/>
                  <a:pt x="5665" y="25821"/>
                  <a:pt x="15435" y="35855"/>
                </a:cubicBezTo>
                <a:cubicBezTo>
                  <a:pt x="24811" y="45486"/>
                  <a:pt x="35301" y="54047"/>
                  <a:pt x="44498" y="63833"/>
                </a:cubicBezTo>
                <a:cubicBezTo>
                  <a:pt x="57293" y="77447"/>
                  <a:pt x="70760" y="90773"/>
                  <a:pt x="81385" y="106005"/>
                </a:cubicBezTo>
                <a:cubicBezTo>
                  <a:pt x="98896" y="131109"/>
                  <a:pt x="103759" y="159808"/>
                  <a:pt x="98950" y="190063"/>
                </a:cubicBezTo>
                <a:cubicBezTo>
                  <a:pt x="98311" y="194082"/>
                  <a:pt x="97697" y="198105"/>
                  <a:pt x="96534" y="202912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81" name="Free-form: Shape 180">
            <a:extLst>
              <a:ext uri="{FF2B5EF4-FFF2-40B4-BE49-F238E27FC236}">
                <a16:creationId xmlns:a16="http://schemas.microsoft.com/office/drawing/2014/main" id="{10C05FA3-B29C-7E31-386D-9D46DD488F2C}"/>
              </a:ext>
            </a:extLst>
          </p:cNvPr>
          <p:cNvSpPr/>
          <p:nvPr/>
        </p:nvSpPr>
        <p:spPr>
          <a:xfrm>
            <a:off x="8763718" y="2562566"/>
            <a:ext cx="3739" cy="60936"/>
          </a:xfrm>
          <a:custGeom>
            <a:avLst/>
            <a:gdLst>
              <a:gd name="csX0" fmla="*/ 0 w 4113"/>
              <a:gd name="csY0" fmla="*/ 0 h 67029"/>
              <a:gd name="csX1" fmla="*/ 4113 w 4113"/>
              <a:gd name="csY1" fmla="*/ 4824 h 67029"/>
              <a:gd name="csX2" fmla="*/ 2662 w 4113"/>
              <a:gd name="csY2" fmla="*/ 67030 h 67029"/>
              <a:gd name="csX3" fmla="*/ 631 w 4113"/>
              <a:gd name="csY3" fmla="*/ 55883 h 67029"/>
              <a:gd name="csX4" fmla="*/ 0 w 4113"/>
              <a:gd name="csY4" fmla="*/ 0 h 6702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4113" h="67029">
                <a:moveTo>
                  <a:pt x="0" y="0"/>
                </a:moveTo>
                <a:cubicBezTo>
                  <a:pt x="1242" y="855"/>
                  <a:pt x="4111" y="2838"/>
                  <a:pt x="4113" y="4824"/>
                </a:cubicBezTo>
                <a:cubicBezTo>
                  <a:pt x="4135" y="25317"/>
                  <a:pt x="3695" y="45810"/>
                  <a:pt x="2662" y="67030"/>
                </a:cubicBezTo>
                <a:cubicBezTo>
                  <a:pt x="1483" y="63799"/>
                  <a:pt x="680" y="59846"/>
                  <a:pt x="631" y="55883"/>
                </a:cubicBezTo>
                <a:cubicBezTo>
                  <a:pt x="404" y="37633"/>
                  <a:pt x="388" y="19381"/>
                  <a:pt x="0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82" name="Free-form: Shape 181">
            <a:extLst>
              <a:ext uri="{FF2B5EF4-FFF2-40B4-BE49-F238E27FC236}">
                <a16:creationId xmlns:a16="http://schemas.microsoft.com/office/drawing/2014/main" id="{E3BAA1B5-0C71-303E-A80E-FF6CBD6462FB}"/>
              </a:ext>
            </a:extLst>
          </p:cNvPr>
          <p:cNvSpPr/>
          <p:nvPr/>
        </p:nvSpPr>
        <p:spPr>
          <a:xfrm>
            <a:off x="9216107" y="3290366"/>
            <a:ext cx="1060" cy="5803"/>
          </a:xfrm>
          <a:custGeom>
            <a:avLst/>
            <a:gdLst>
              <a:gd name="csX0" fmla="*/ 1130 w 1165"/>
              <a:gd name="csY0" fmla="*/ 6385 h 6384"/>
              <a:gd name="csX1" fmla="*/ 49 w 1165"/>
              <a:gd name="csY1" fmla="*/ 0 h 6384"/>
              <a:gd name="csX2" fmla="*/ 1130 w 1165"/>
              <a:gd name="csY2" fmla="*/ 6385 h 638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165" h="6384">
                <a:moveTo>
                  <a:pt x="1130" y="6385"/>
                </a:moveTo>
                <a:cubicBezTo>
                  <a:pt x="260" y="4748"/>
                  <a:pt x="-149" y="2599"/>
                  <a:pt x="49" y="0"/>
                </a:cubicBezTo>
                <a:cubicBezTo>
                  <a:pt x="969" y="1658"/>
                  <a:pt x="1279" y="3765"/>
                  <a:pt x="1130" y="6385"/>
                </a:cubicBezTo>
                <a:close/>
              </a:path>
            </a:pathLst>
          </a:custGeom>
          <a:solidFill>
            <a:srgbClr val="939B9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83" name="Free-form: Shape 182">
            <a:extLst>
              <a:ext uri="{FF2B5EF4-FFF2-40B4-BE49-F238E27FC236}">
                <a16:creationId xmlns:a16="http://schemas.microsoft.com/office/drawing/2014/main" id="{AF4B2164-5BBE-F1C5-9A15-49885FCF3976}"/>
              </a:ext>
            </a:extLst>
          </p:cNvPr>
          <p:cNvSpPr/>
          <p:nvPr/>
        </p:nvSpPr>
        <p:spPr>
          <a:xfrm>
            <a:off x="9186378" y="3216271"/>
            <a:ext cx="5440" cy="2491"/>
          </a:xfrm>
          <a:custGeom>
            <a:avLst/>
            <a:gdLst>
              <a:gd name="csX0" fmla="*/ 5985 w 5984"/>
              <a:gd name="csY0" fmla="*/ 1832 h 2740"/>
              <a:gd name="csX1" fmla="*/ 0 w 5984"/>
              <a:gd name="csY1" fmla="*/ 2740 h 2740"/>
              <a:gd name="csX2" fmla="*/ 4930 w 5984"/>
              <a:gd name="csY2" fmla="*/ 0 h 2740"/>
              <a:gd name="csX3" fmla="*/ 5985 w 5984"/>
              <a:gd name="csY3" fmla="*/ 1832 h 274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</a:cxnLst>
            <a:rect l="l" t="t" r="r" b="b"/>
            <a:pathLst>
              <a:path w="5984" h="2740">
                <a:moveTo>
                  <a:pt x="5985" y="1832"/>
                </a:moveTo>
                <a:cubicBezTo>
                  <a:pt x="3992" y="2553"/>
                  <a:pt x="1996" y="2646"/>
                  <a:pt x="0" y="2740"/>
                </a:cubicBezTo>
                <a:cubicBezTo>
                  <a:pt x="1398" y="1830"/>
                  <a:pt x="2796" y="920"/>
                  <a:pt x="4930" y="0"/>
                </a:cubicBezTo>
                <a:cubicBezTo>
                  <a:pt x="5772" y="394"/>
                  <a:pt x="5877" y="799"/>
                  <a:pt x="5985" y="1832"/>
                </a:cubicBezTo>
                <a:close/>
              </a:path>
            </a:pathLst>
          </a:custGeom>
          <a:solidFill>
            <a:srgbClr val="8E9395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84" name="Free-form: Shape 183">
            <a:extLst>
              <a:ext uri="{FF2B5EF4-FFF2-40B4-BE49-F238E27FC236}">
                <a16:creationId xmlns:a16="http://schemas.microsoft.com/office/drawing/2014/main" id="{812D3C6A-613A-711D-2F81-C64C5AE01DBB}"/>
              </a:ext>
            </a:extLst>
          </p:cNvPr>
          <p:cNvSpPr/>
          <p:nvPr/>
        </p:nvSpPr>
        <p:spPr>
          <a:xfrm>
            <a:off x="8726491" y="2468386"/>
            <a:ext cx="2645" cy="5625"/>
          </a:xfrm>
          <a:custGeom>
            <a:avLst/>
            <a:gdLst>
              <a:gd name="csX0" fmla="*/ 815 w 2910"/>
              <a:gd name="csY0" fmla="*/ 0 h 6187"/>
              <a:gd name="csX1" fmla="*/ 113 w 2910"/>
              <a:gd name="csY1" fmla="*/ 6187 h 6187"/>
              <a:gd name="csX2" fmla="*/ 815 w 2910"/>
              <a:gd name="csY2" fmla="*/ 0 h 618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2910" h="6187">
                <a:moveTo>
                  <a:pt x="815" y="0"/>
                </a:moveTo>
                <a:cubicBezTo>
                  <a:pt x="4660" y="1891"/>
                  <a:pt x="2480" y="3840"/>
                  <a:pt x="113" y="6187"/>
                </a:cubicBezTo>
                <a:cubicBezTo>
                  <a:pt x="-172" y="4565"/>
                  <a:pt x="89" y="2579"/>
                  <a:pt x="815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85" name="Free-form: Shape 184">
            <a:extLst>
              <a:ext uri="{FF2B5EF4-FFF2-40B4-BE49-F238E27FC236}">
                <a16:creationId xmlns:a16="http://schemas.microsoft.com/office/drawing/2014/main" id="{90938C0A-16C8-2B1B-B768-A90DAD90D9B5}"/>
              </a:ext>
            </a:extLst>
          </p:cNvPr>
          <p:cNvSpPr/>
          <p:nvPr/>
        </p:nvSpPr>
        <p:spPr>
          <a:xfrm>
            <a:off x="8760906" y="2684960"/>
            <a:ext cx="770" cy="3664"/>
          </a:xfrm>
          <a:custGeom>
            <a:avLst/>
            <a:gdLst>
              <a:gd name="csX0" fmla="*/ 106 w 847"/>
              <a:gd name="csY0" fmla="*/ 0 h 4030"/>
              <a:gd name="csX1" fmla="*/ 732 w 847"/>
              <a:gd name="csY1" fmla="*/ 4031 h 4030"/>
              <a:gd name="csX2" fmla="*/ 106 w 847"/>
              <a:gd name="csY2" fmla="*/ 0 h 403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7" h="4030">
                <a:moveTo>
                  <a:pt x="106" y="0"/>
                </a:moveTo>
                <a:cubicBezTo>
                  <a:pt x="770" y="990"/>
                  <a:pt x="1013" y="2346"/>
                  <a:pt x="732" y="4031"/>
                </a:cubicBezTo>
                <a:cubicBezTo>
                  <a:pt x="34" y="3029"/>
                  <a:pt x="-141" y="1697"/>
                  <a:pt x="106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86" name="Free-form: Shape 185">
            <a:extLst>
              <a:ext uri="{FF2B5EF4-FFF2-40B4-BE49-F238E27FC236}">
                <a16:creationId xmlns:a16="http://schemas.microsoft.com/office/drawing/2014/main" id="{A7A3B37E-817E-317D-4199-784E386EE6AE}"/>
              </a:ext>
            </a:extLst>
          </p:cNvPr>
          <p:cNvSpPr/>
          <p:nvPr/>
        </p:nvSpPr>
        <p:spPr>
          <a:xfrm>
            <a:off x="8756582" y="2720754"/>
            <a:ext cx="703" cy="3631"/>
          </a:xfrm>
          <a:custGeom>
            <a:avLst/>
            <a:gdLst>
              <a:gd name="csX0" fmla="*/ 195 w 774"/>
              <a:gd name="csY0" fmla="*/ 0 h 3994"/>
              <a:gd name="csX1" fmla="*/ 575 w 774"/>
              <a:gd name="csY1" fmla="*/ 3994 h 3994"/>
              <a:gd name="csX2" fmla="*/ 195 w 774"/>
              <a:gd name="csY2" fmla="*/ 0 h 399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774" h="3994">
                <a:moveTo>
                  <a:pt x="195" y="0"/>
                </a:moveTo>
                <a:cubicBezTo>
                  <a:pt x="794" y="1011"/>
                  <a:pt x="941" y="2348"/>
                  <a:pt x="575" y="3994"/>
                </a:cubicBezTo>
                <a:cubicBezTo>
                  <a:pt x="-44" y="2978"/>
                  <a:pt x="-151" y="1652"/>
                  <a:pt x="195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87" name="Free-form: Shape 186">
            <a:extLst>
              <a:ext uri="{FF2B5EF4-FFF2-40B4-BE49-F238E27FC236}">
                <a16:creationId xmlns:a16="http://schemas.microsoft.com/office/drawing/2014/main" id="{616620E7-8FC6-3040-6743-AAD5EE1B2AC8}"/>
              </a:ext>
            </a:extLst>
          </p:cNvPr>
          <p:cNvSpPr/>
          <p:nvPr/>
        </p:nvSpPr>
        <p:spPr>
          <a:xfrm>
            <a:off x="8763159" y="2658150"/>
            <a:ext cx="787" cy="3631"/>
          </a:xfrm>
          <a:custGeom>
            <a:avLst/>
            <a:gdLst>
              <a:gd name="csX0" fmla="*/ 71 w 865"/>
              <a:gd name="csY0" fmla="*/ 0 h 3995"/>
              <a:gd name="csX1" fmla="*/ 783 w 865"/>
              <a:gd name="csY1" fmla="*/ 3996 h 3995"/>
              <a:gd name="csX2" fmla="*/ 71 w 865"/>
              <a:gd name="csY2" fmla="*/ 0 h 399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65" h="3995">
                <a:moveTo>
                  <a:pt x="71" y="0"/>
                </a:moveTo>
                <a:cubicBezTo>
                  <a:pt x="740" y="963"/>
                  <a:pt x="1018" y="2311"/>
                  <a:pt x="783" y="3996"/>
                </a:cubicBezTo>
                <a:cubicBezTo>
                  <a:pt x="73" y="3017"/>
                  <a:pt x="-124" y="1701"/>
                  <a:pt x="71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88" name="Free-form: Shape 187">
            <a:extLst>
              <a:ext uri="{FF2B5EF4-FFF2-40B4-BE49-F238E27FC236}">
                <a16:creationId xmlns:a16="http://schemas.microsoft.com/office/drawing/2014/main" id="{489FC4AA-3B9C-DC13-64DD-7CA0E99E2FF0}"/>
              </a:ext>
            </a:extLst>
          </p:cNvPr>
          <p:cNvSpPr/>
          <p:nvPr/>
        </p:nvSpPr>
        <p:spPr>
          <a:xfrm>
            <a:off x="8881463" y="2562176"/>
            <a:ext cx="170236" cy="426821"/>
          </a:xfrm>
          <a:custGeom>
            <a:avLst/>
            <a:gdLst>
              <a:gd name="csX0" fmla="*/ 120604 w 187260"/>
              <a:gd name="csY0" fmla="*/ 222968 h 469503"/>
              <a:gd name="csX1" fmla="*/ 187261 w 187260"/>
              <a:gd name="csY1" fmla="*/ 469503 h 469503"/>
              <a:gd name="csX2" fmla="*/ 1253 w 187260"/>
              <a:gd name="csY2" fmla="*/ 466078 h 469503"/>
              <a:gd name="csX3" fmla="*/ 8 w 187260"/>
              <a:gd name="csY3" fmla="*/ 458101 h 469503"/>
              <a:gd name="csX4" fmla="*/ 4383 w 187260"/>
              <a:gd name="csY4" fmla="*/ 351443 h 469503"/>
              <a:gd name="csX5" fmla="*/ 4615 w 187260"/>
              <a:gd name="csY5" fmla="*/ 346536 h 469503"/>
              <a:gd name="csX6" fmla="*/ 7935 w 187260"/>
              <a:gd name="csY6" fmla="*/ 233648 h 469503"/>
              <a:gd name="csX7" fmla="*/ 10461 w 187260"/>
              <a:gd name="csY7" fmla="*/ 128112 h 469503"/>
              <a:gd name="csX8" fmla="*/ 12461 w 187260"/>
              <a:gd name="csY8" fmla="*/ 12750 h 469503"/>
              <a:gd name="csX9" fmla="*/ 13165 w 187260"/>
              <a:gd name="csY9" fmla="*/ 4285 h 469503"/>
              <a:gd name="csX10" fmla="*/ 102327 w 187260"/>
              <a:gd name="csY10" fmla="*/ 0 h 469503"/>
              <a:gd name="csX11" fmla="*/ 106229 w 187260"/>
              <a:gd name="csY11" fmla="*/ 111321 h 469503"/>
              <a:gd name="csX12" fmla="*/ 120604 w 187260"/>
              <a:gd name="csY12" fmla="*/ 222968 h 46950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</a:cxnLst>
            <a:rect l="l" t="t" r="r" b="b"/>
            <a:pathLst>
              <a:path w="187260" h="469503">
                <a:moveTo>
                  <a:pt x="120604" y="222968"/>
                </a:moveTo>
                <a:cubicBezTo>
                  <a:pt x="135383" y="307129"/>
                  <a:pt x="159464" y="387725"/>
                  <a:pt x="187261" y="469503"/>
                </a:cubicBezTo>
                <a:cubicBezTo>
                  <a:pt x="124460" y="468347"/>
                  <a:pt x="63286" y="467220"/>
                  <a:pt x="1253" y="466078"/>
                </a:cubicBezTo>
                <a:cubicBezTo>
                  <a:pt x="818" y="463442"/>
                  <a:pt x="-95" y="460752"/>
                  <a:pt x="8" y="458101"/>
                </a:cubicBezTo>
                <a:cubicBezTo>
                  <a:pt x="1383" y="422545"/>
                  <a:pt x="2900" y="386994"/>
                  <a:pt x="4383" y="351443"/>
                </a:cubicBezTo>
                <a:cubicBezTo>
                  <a:pt x="4451" y="349807"/>
                  <a:pt x="4566" y="348172"/>
                  <a:pt x="4615" y="346536"/>
                </a:cubicBezTo>
                <a:cubicBezTo>
                  <a:pt x="5732" y="308907"/>
                  <a:pt x="6921" y="271280"/>
                  <a:pt x="7935" y="233648"/>
                </a:cubicBezTo>
                <a:cubicBezTo>
                  <a:pt x="8883" y="198472"/>
                  <a:pt x="9752" y="163293"/>
                  <a:pt x="10461" y="128112"/>
                </a:cubicBezTo>
                <a:cubicBezTo>
                  <a:pt x="11237" y="89660"/>
                  <a:pt x="11781" y="51204"/>
                  <a:pt x="12461" y="12750"/>
                </a:cubicBezTo>
                <a:cubicBezTo>
                  <a:pt x="12503" y="10363"/>
                  <a:pt x="12848" y="7981"/>
                  <a:pt x="13165" y="4285"/>
                </a:cubicBezTo>
                <a:cubicBezTo>
                  <a:pt x="42856" y="2858"/>
                  <a:pt x="72082" y="1454"/>
                  <a:pt x="102327" y="0"/>
                </a:cubicBezTo>
                <a:cubicBezTo>
                  <a:pt x="103499" y="37348"/>
                  <a:pt x="103207" y="74470"/>
                  <a:pt x="106229" y="111321"/>
                </a:cubicBezTo>
                <a:cubicBezTo>
                  <a:pt x="109263" y="148326"/>
                  <a:pt x="115599" y="185060"/>
                  <a:pt x="120604" y="222968"/>
                </a:cubicBezTo>
                <a:close/>
              </a:path>
            </a:pathLst>
          </a:custGeom>
          <a:solidFill>
            <a:srgbClr val="FDFDFD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89" name="Free-form: Shape 188">
            <a:extLst>
              <a:ext uri="{FF2B5EF4-FFF2-40B4-BE49-F238E27FC236}">
                <a16:creationId xmlns:a16="http://schemas.microsoft.com/office/drawing/2014/main" id="{4E547176-9A8B-D3FB-0AA3-23D2FF2666DF}"/>
              </a:ext>
            </a:extLst>
          </p:cNvPr>
          <p:cNvSpPr/>
          <p:nvPr/>
        </p:nvSpPr>
        <p:spPr>
          <a:xfrm>
            <a:off x="8880270" y="3028928"/>
            <a:ext cx="284824" cy="179974"/>
          </a:xfrm>
          <a:custGeom>
            <a:avLst/>
            <a:gdLst>
              <a:gd name="csX0" fmla="*/ 160234 w 313306"/>
              <a:gd name="csY0" fmla="*/ 197876 h 197971"/>
              <a:gd name="csX1" fmla="*/ 544 w 313306"/>
              <a:gd name="csY1" fmla="*/ 197972 h 197971"/>
              <a:gd name="csX2" fmla="*/ 3466 w 313306"/>
              <a:gd name="csY2" fmla="*/ 104326 h 197971"/>
              <a:gd name="csX3" fmla="*/ 0 w 313306"/>
              <a:gd name="csY3" fmla="*/ 10720 h 197971"/>
              <a:gd name="csX4" fmla="*/ 5445 w 313306"/>
              <a:gd name="csY4" fmla="*/ 9282 h 197971"/>
              <a:gd name="csX5" fmla="*/ 71623 w 313306"/>
              <a:gd name="csY5" fmla="*/ 6885 h 197971"/>
              <a:gd name="csX6" fmla="*/ 187887 w 313306"/>
              <a:gd name="csY6" fmla="*/ 233 h 197971"/>
              <a:gd name="csX7" fmla="*/ 215297 w 313306"/>
              <a:gd name="csY7" fmla="*/ 163 h 197971"/>
              <a:gd name="csX8" fmla="*/ 243629 w 313306"/>
              <a:gd name="csY8" fmla="*/ 61389 h 197971"/>
              <a:gd name="csX9" fmla="*/ 270660 w 313306"/>
              <a:gd name="csY9" fmla="*/ 86342 h 197971"/>
              <a:gd name="csX10" fmla="*/ 313142 w 313306"/>
              <a:gd name="csY10" fmla="*/ 170098 h 197971"/>
              <a:gd name="csX11" fmla="*/ 313291 w 313306"/>
              <a:gd name="csY11" fmla="*/ 176231 h 197971"/>
              <a:gd name="csX12" fmla="*/ 312654 w 313306"/>
              <a:gd name="csY12" fmla="*/ 180738 h 197971"/>
              <a:gd name="csX13" fmla="*/ 279655 w 313306"/>
              <a:gd name="csY13" fmla="*/ 186226 h 197971"/>
              <a:gd name="csX14" fmla="*/ 167436 w 313306"/>
              <a:gd name="csY14" fmla="*/ 196805 h 197971"/>
              <a:gd name="csX15" fmla="*/ 160234 w 313306"/>
              <a:gd name="csY15" fmla="*/ 197876 h 19797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</a:cxnLst>
            <a:rect l="l" t="t" r="r" b="b"/>
            <a:pathLst>
              <a:path w="313306" h="197971">
                <a:moveTo>
                  <a:pt x="160234" y="197876"/>
                </a:moveTo>
                <a:cubicBezTo>
                  <a:pt x="106384" y="197972"/>
                  <a:pt x="53682" y="197972"/>
                  <a:pt x="544" y="197972"/>
                </a:cubicBezTo>
                <a:cubicBezTo>
                  <a:pt x="1602" y="166763"/>
                  <a:pt x="3550" y="135542"/>
                  <a:pt x="3466" y="104326"/>
                </a:cubicBezTo>
                <a:cubicBezTo>
                  <a:pt x="3383" y="73323"/>
                  <a:pt x="1255" y="42326"/>
                  <a:pt x="0" y="10720"/>
                </a:cubicBezTo>
                <a:cubicBezTo>
                  <a:pt x="1689" y="10255"/>
                  <a:pt x="3551" y="9355"/>
                  <a:pt x="5445" y="9282"/>
                </a:cubicBezTo>
                <a:cubicBezTo>
                  <a:pt x="27503" y="8435"/>
                  <a:pt x="49582" y="8030"/>
                  <a:pt x="71623" y="6885"/>
                </a:cubicBezTo>
                <a:cubicBezTo>
                  <a:pt x="110388" y="4872"/>
                  <a:pt x="149126" y="2333"/>
                  <a:pt x="187887" y="233"/>
                </a:cubicBezTo>
                <a:cubicBezTo>
                  <a:pt x="196749" y="-247"/>
                  <a:pt x="205660" y="163"/>
                  <a:pt x="215297" y="163"/>
                </a:cubicBezTo>
                <a:cubicBezTo>
                  <a:pt x="215450" y="25550"/>
                  <a:pt x="226120" y="45122"/>
                  <a:pt x="243629" y="61389"/>
                </a:cubicBezTo>
                <a:cubicBezTo>
                  <a:pt x="252615" y="69739"/>
                  <a:pt x="261099" y="78715"/>
                  <a:pt x="270660" y="86342"/>
                </a:cubicBezTo>
                <a:cubicBezTo>
                  <a:pt x="297676" y="107892"/>
                  <a:pt x="310731" y="136225"/>
                  <a:pt x="313142" y="170098"/>
                </a:cubicBezTo>
                <a:cubicBezTo>
                  <a:pt x="313287" y="172136"/>
                  <a:pt x="313335" y="174188"/>
                  <a:pt x="313291" y="176231"/>
                </a:cubicBezTo>
                <a:cubicBezTo>
                  <a:pt x="313265" y="177429"/>
                  <a:pt x="312966" y="178621"/>
                  <a:pt x="312654" y="180738"/>
                </a:cubicBezTo>
                <a:cubicBezTo>
                  <a:pt x="302343" y="185396"/>
                  <a:pt x="290736" y="185049"/>
                  <a:pt x="279655" y="186226"/>
                </a:cubicBezTo>
                <a:cubicBezTo>
                  <a:pt x="242295" y="190193"/>
                  <a:pt x="204847" y="193324"/>
                  <a:pt x="167436" y="196805"/>
                </a:cubicBezTo>
                <a:cubicBezTo>
                  <a:pt x="165405" y="196994"/>
                  <a:pt x="163399" y="197449"/>
                  <a:pt x="160234" y="197876"/>
                </a:cubicBezTo>
                <a:close/>
              </a:path>
            </a:pathLst>
          </a:custGeom>
          <a:solidFill>
            <a:srgbClr val="FDFEFE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90" name="Free-form: Shape 189">
            <a:extLst>
              <a:ext uri="{FF2B5EF4-FFF2-40B4-BE49-F238E27FC236}">
                <a16:creationId xmlns:a16="http://schemas.microsoft.com/office/drawing/2014/main" id="{F9A8F2A7-1222-B76F-063A-E8D004B29D91}"/>
              </a:ext>
            </a:extLst>
          </p:cNvPr>
          <p:cNvSpPr/>
          <p:nvPr/>
        </p:nvSpPr>
        <p:spPr>
          <a:xfrm>
            <a:off x="8891013" y="2012344"/>
            <a:ext cx="149260" cy="361842"/>
          </a:xfrm>
          <a:custGeom>
            <a:avLst/>
            <a:gdLst>
              <a:gd name="csX0" fmla="*/ 22609 w 164186"/>
              <a:gd name="csY0" fmla="*/ 398026 h 398026"/>
              <a:gd name="csX1" fmla="*/ 16884 w 164186"/>
              <a:gd name="csY1" fmla="*/ 390515 h 398026"/>
              <a:gd name="csX2" fmla="*/ 9661 w 164186"/>
              <a:gd name="csY2" fmla="*/ 328443 h 398026"/>
              <a:gd name="csX3" fmla="*/ 534 w 164186"/>
              <a:gd name="csY3" fmla="*/ 196369 h 398026"/>
              <a:gd name="csX4" fmla="*/ 1243 w 164186"/>
              <a:gd name="csY4" fmla="*/ 82293 h 398026"/>
              <a:gd name="csX5" fmla="*/ 2245 w 164186"/>
              <a:gd name="csY5" fmla="*/ 43023 h 398026"/>
              <a:gd name="csX6" fmla="*/ 4587 w 164186"/>
              <a:gd name="csY6" fmla="*/ 0 h 398026"/>
              <a:gd name="csX7" fmla="*/ 12341 w 164186"/>
              <a:gd name="csY7" fmla="*/ 3872 h 398026"/>
              <a:gd name="csX8" fmla="*/ 85914 w 164186"/>
              <a:gd name="csY8" fmla="*/ 78943 h 398026"/>
              <a:gd name="csX9" fmla="*/ 87893 w 164186"/>
              <a:gd name="csY9" fmla="*/ 99117 h 398026"/>
              <a:gd name="csX10" fmla="*/ 35459 w 164186"/>
              <a:gd name="csY10" fmla="*/ 207346 h 398026"/>
              <a:gd name="csX11" fmla="*/ 32223 w 164186"/>
              <a:gd name="csY11" fmla="*/ 213959 h 398026"/>
              <a:gd name="csX12" fmla="*/ 39509 w 164186"/>
              <a:gd name="csY12" fmla="*/ 242056 h 398026"/>
              <a:gd name="csX13" fmla="*/ 69474 w 164186"/>
              <a:gd name="csY13" fmla="*/ 237019 h 398026"/>
              <a:gd name="csX14" fmla="*/ 89101 w 164186"/>
              <a:gd name="csY14" fmla="*/ 208870 h 398026"/>
              <a:gd name="csX15" fmla="*/ 121716 w 164186"/>
              <a:gd name="csY15" fmla="*/ 158357 h 398026"/>
              <a:gd name="csX16" fmla="*/ 129330 w 164186"/>
              <a:gd name="csY16" fmla="*/ 148165 h 398026"/>
              <a:gd name="csX17" fmla="*/ 137171 w 164186"/>
              <a:gd name="csY17" fmla="*/ 159989 h 398026"/>
              <a:gd name="csX18" fmla="*/ 163812 w 164186"/>
              <a:gd name="csY18" fmla="*/ 273175 h 398026"/>
              <a:gd name="csX19" fmla="*/ 118151 w 164186"/>
              <a:gd name="csY19" fmla="*/ 383442 h 398026"/>
              <a:gd name="csX20" fmla="*/ 92325 w 164186"/>
              <a:gd name="csY20" fmla="*/ 395173 h 398026"/>
              <a:gd name="csX21" fmla="*/ 22609 w 164186"/>
              <a:gd name="csY21" fmla="*/ 398026 h 39802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</a:cxnLst>
            <a:rect l="l" t="t" r="r" b="b"/>
            <a:pathLst>
              <a:path w="164186" h="398026">
                <a:moveTo>
                  <a:pt x="22609" y="398026"/>
                </a:moveTo>
                <a:cubicBezTo>
                  <a:pt x="19898" y="395489"/>
                  <a:pt x="17229" y="393154"/>
                  <a:pt x="16884" y="390515"/>
                </a:cubicBezTo>
                <a:cubicBezTo>
                  <a:pt x="14183" y="369861"/>
                  <a:pt x="11326" y="349196"/>
                  <a:pt x="9661" y="328443"/>
                </a:cubicBezTo>
                <a:cubicBezTo>
                  <a:pt x="6132" y="284452"/>
                  <a:pt x="2125" y="240448"/>
                  <a:pt x="534" y="196369"/>
                </a:cubicBezTo>
                <a:cubicBezTo>
                  <a:pt x="-837" y="158401"/>
                  <a:pt x="816" y="120322"/>
                  <a:pt x="1243" y="82293"/>
                </a:cubicBezTo>
                <a:cubicBezTo>
                  <a:pt x="1389" y="69201"/>
                  <a:pt x="1708" y="56105"/>
                  <a:pt x="2245" y="43023"/>
                </a:cubicBezTo>
                <a:cubicBezTo>
                  <a:pt x="2815" y="29160"/>
                  <a:pt x="3738" y="15312"/>
                  <a:pt x="4587" y="0"/>
                </a:cubicBezTo>
                <a:cubicBezTo>
                  <a:pt x="7809" y="1586"/>
                  <a:pt x="10279" y="2436"/>
                  <a:pt x="12341" y="3872"/>
                </a:cubicBezTo>
                <a:cubicBezTo>
                  <a:pt x="41601" y="24248"/>
                  <a:pt x="64069" y="51269"/>
                  <a:pt x="85914" y="78943"/>
                </a:cubicBezTo>
                <a:cubicBezTo>
                  <a:pt x="91106" y="85520"/>
                  <a:pt x="91706" y="91406"/>
                  <a:pt x="87893" y="99117"/>
                </a:cubicBezTo>
                <a:cubicBezTo>
                  <a:pt x="70127" y="135051"/>
                  <a:pt x="52890" y="171246"/>
                  <a:pt x="35459" y="207346"/>
                </a:cubicBezTo>
                <a:cubicBezTo>
                  <a:pt x="34391" y="209557"/>
                  <a:pt x="33130" y="211686"/>
                  <a:pt x="32223" y="213959"/>
                </a:cubicBezTo>
                <a:cubicBezTo>
                  <a:pt x="27471" y="225873"/>
                  <a:pt x="30154" y="236086"/>
                  <a:pt x="39509" y="242056"/>
                </a:cubicBezTo>
                <a:cubicBezTo>
                  <a:pt x="48880" y="248038"/>
                  <a:pt x="61705" y="246477"/>
                  <a:pt x="69474" y="237019"/>
                </a:cubicBezTo>
                <a:cubicBezTo>
                  <a:pt x="76712" y="228205"/>
                  <a:pt x="82824" y="218436"/>
                  <a:pt x="89101" y="208870"/>
                </a:cubicBezTo>
                <a:cubicBezTo>
                  <a:pt x="100096" y="192114"/>
                  <a:pt x="110806" y="175170"/>
                  <a:pt x="121716" y="158357"/>
                </a:cubicBezTo>
                <a:cubicBezTo>
                  <a:pt x="123679" y="155333"/>
                  <a:pt x="126029" y="152559"/>
                  <a:pt x="129330" y="148165"/>
                </a:cubicBezTo>
                <a:cubicBezTo>
                  <a:pt x="132450" y="152828"/>
                  <a:pt x="135175" y="156216"/>
                  <a:pt x="137171" y="159989"/>
                </a:cubicBezTo>
                <a:cubicBezTo>
                  <a:pt x="155891" y="195388"/>
                  <a:pt x="166343" y="232905"/>
                  <a:pt x="163812" y="273175"/>
                </a:cubicBezTo>
                <a:cubicBezTo>
                  <a:pt x="161183" y="314982"/>
                  <a:pt x="144984" y="351430"/>
                  <a:pt x="118151" y="383442"/>
                </a:cubicBezTo>
                <a:cubicBezTo>
                  <a:pt x="111214" y="391718"/>
                  <a:pt x="102452" y="394716"/>
                  <a:pt x="92325" y="395173"/>
                </a:cubicBezTo>
                <a:cubicBezTo>
                  <a:pt x="69461" y="396207"/>
                  <a:pt x="46593" y="397123"/>
                  <a:pt x="22609" y="398026"/>
                </a:cubicBezTo>
                <a:close/>
              </a:path>
            </a:pathLst>
          </a:custGeom>
          <a:solidFill>
            <a:srgbClr val="FCFDFD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91" name="Free-form: Shape 190">
            <a:extLst>
              <a:ext uri="{FF2B5EF4-FFF2-40B4-BE49-F238E27FC236}">
                <a16:creationId xmlns:a16="http://schemas.microsoft.com/office/drawing/2014/main" id="{8A33F8DF-7D28-9FDA-7199-A74DBC6380C1}"/>
              </a:ext>
            </a:extLst>
          </p:cNvPr>
          <p:cNvSpPr/>
          <p:nvPr/>
        </p:nvSpPr>
        <p:spPr>
          <a:xfrm>
            <a:off x="8876906" y="3238135"/>
            <a:ext cx="305850" cy="64961"/>
          </a:xfrm>
          <a:custGeom>
            <a:avLst/>
            <a:gdLst>
              <a:gd name="csX0" fmla="*/ 105937 w 336434"/>
              <a:gd name="csY0" fmla="*/ 71458 h 71457"/>
              <a:gd name="csX1" fmla="*/ 3534 w 336434"/>
              <a:gd name="csY1" fmla="*/ 69115 h 71457"/>
              <a:gd name="csX2" fmla="*/ 1296 w 336434"/>
              <a:gd name="csY2" fmla="*/ 17910 h 71457"/>
              <a:gd name="csX3" fmla="*/ 14032 w 336434"/>
              <a:gd name="csY3" fmla="*/ 17908 h 71457"/>
              <a:gd name="csX4" fmla="*/ 102444 w 336434"/>
              <a:gd name="csY4" fmla="*/ 17433 h 71457"/>
              <a:gd name="csX5" fmla="*/ 284561 w 336434"/>
              <a:gd name="csY5" fmla="*/ 3564 h 71457"/>
              <a:gd name="csX6" fmla="*/ 311323 w 336434"/>
              <a:gd name="csY6" fmla="*/ 224 h 71457"/>
              <a:gd name="csX7" fmla="*/ 324313 w 336434"/>
              <a:gd name="csY7" fmla="*/ 6639 h 71457"/>
              <a:gd name="csX8" fmla="*/ 336434 w 336434"/>
              <a:gd name="csY8" fmla="*/ 46484 h 71457"/>
              <a:gd name="csX9" fmla="*/ 105937 w 336434"/>
              <a:gd name="csY9" fmla="*/ 71458 h 7145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336434" h="71457">
                <a:moveTo>
                  <a:pt x="105937" y="71458"/>
                </a:moveTo>
                <a:cubicBezTo>
                  <a:pt x="70820" y="70678"/>
                  <a:pt x="36930" y="69891"/>
                  <a:pt x="3534" y="69115"/>
                </a:cubicBezTo>
                <a:cubicBezTo>
                  <a:pt x="-81" y="59433"/>
                  <a:pt x="-1094" y="35337"/>
                  <a:pt x="1296" y="17910"/>
                </a:cubicBezTo>
                <a:cubicBezTo>
                  <a:pt x="5366" y="17910"/>
                  <a:pt x="9699" y="17923"/>
                  <a:pt x="14032" y="17908"/>
                </a:cubicBezTo>
                <a:cubicBezTo>
                  <a:pt x="43505" y="17812"/>
                  <a:pt x="73011" y="18557"/>
                  <a:pt x="102444" y="17433"/>
                </a:cubicBezTo>
                <a:cubicBezTo>
                  <a:pt x="163306" y="15109"/>
                  <a:pt x="224166" y="12264"/>
                  <a:pt x="284561" y="3564"/>
                </a:cubicBezTo>
                <a:cubicBezTo>
                  <a:pt x="293458" y="2283"/>
                  <a:pt x="302438" y="1575"/>
                  <a:pt x="311323" y="224"/>
                </a:cubicBezTo>
                <a:cubicBezTo>
                  <a:pt x="317371" y="-696"/>
                  <a:pt x="321247" y="1177"/>
                  <a:pt x="324313" y="6639"/>
                </a:cubicBezTo>
                <a:cubicBezTo>
                  <a:pt x="330512" y="17683"/>
                  <a:pt x="335236" y="31679"/>
                  <a:pt x="336434" y="46484"/>
                </a:cubicBezTo>
                <a:cubicBezTo>
                  <a:pt x="261124" y="64059"/>
                  <a:pt x="184356" y="69587"/>
                  <a:pt x="105937" y="71458"/>
                </a:cubicBezTo>
                <a:close/>
              </a:path>
            </a:pathLst>
          </a:custGeom>
          <a:solidFill>
            <a:srgbClr val="FCFCFC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92" name="Free-form: Shape 191">
            <a:extLst>
              <a:ext uri="{FF2B5EF4-FFF2-40B4-BE49-F238E27FC236}">
                <a16:creationId xmlns:a16="http://schemas.microsoft.com/office/drawing/2014/main" id="{1928A7EA-6564-F280-2B64-4D187872A725}"/>
              </a:ext>
            </a:extLst>
          </p:cNvPr>
          <p:cNvSpPr/>
          <p:nvPr/>
        </p:nvSpPr>
        <p:spPr>
          <a:xfrm>
            <a:off x="8890463" y="2407411"/>
            <a:ext cx="120683" cy="63097"/>
          </a:xfrm>
          <a:custGeom>
            <a:avLst/>
            <a:gdLst>
              <a:gd name="csX0" fmla="*/ 5051 w 132751"/>
              <a:gd name="csY0" fmla="*/ 7534 h 69406"/>
              <a:gd name="csX1" fmla="*/ 10615 w 132751"/>
              <a:gd name="csY1" fmla="*/ 3077 h 69406"/>
              <a:gd name="csX2" fmla="*/ 26541 w 132751"/>
              <a:gd name="csY2" fmla="*/ 2752 h 69406"/>
              <a:gd name="csX3" fmla="*/ 87728 w 132751"/>
              <a:gd name="csY3" fmla="*/ 89 h 69406"/>
              <a:gd name="csX4" fmla="*/ 101400 w 132751"/>
              <a:gd name="csY4" fmla="*/ 62 h 69406"/>
              <a:gd name="csX5" fmla="*/ 102924 w 132751"/>
              <a:gd name="csY5" fmla="*/ 4800 h 69406"/>
              <a:gd name="csX6" fmla="*/ 121469 w 132751"/>
              <a:gd name="csY6" fmla="*/ 43062 h 69406"/>
              <a:gd name="csX7" fmla="*/ 132751 w 132751"/>
              <a:gd name="csY7" fmla="*/ 65240 h 69406"/>
              <a:gd name="csX8" fmla="*/ 0 w 132751"/>
              <a:gd name="csY8" fmla="*/ 69406 h 69406"/>
              <a:gd name="csX9" fmla="*/ 5051 w 132751"/>
              <a:gd name="csY9" fmla="*/ 7534 h 6940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132751" h="69406">
                <a:moveTo>
                  <a:pt x="5051" y="7534"/>
                </a:moveTo>
                <a:cubicBezTo>
                  <a:pt x="6880" y="5272"/>
                  <a:pt x="8659" y="3268"/>
                  <a:pt x="10615" y="3077"/>
                </a:cubicBezTo>
                <a:cubicBezTo>
                  <a:pt x="15884" y="2564"/>
                  <a:pt x="21234" y="2972"/>
                  <a:pt x="26541" y="2752"/>
                </a:cubicBezTo>
                <a:cubicBezTo>
                  <a:pt x="46938" y="1911"/>
                  <a:pt x="67330" y="933"/>
                  <a:pt x="87728" y="89"/>
                </a:cubicBezTo>
                <a:cubicBezTo>
                  <a:pt x="92161" y="-94"/>
                  <a:pt x="96609" y="62"/>
                  <a:pt x="101400" y="62"/>
                </a:cubicBezTo>
                <a:cubicBezTo>
                  <a:pt x="101991" y="1827"/>
                  <a:pt x="102885" y="3302"/>
                  <a:pt x="102924" y="4800"/>
                </a:cubicBezTo>
                <a:cubicBezTo>
                  <a:pt x="103334" y="20376"/>
                  <a:pt x="108815" y="33165"/>
                  <a:pt x="121469" y="43062"/>
                </a:cubicBezTo>
                <a:cubicBezTo>
                  <a:pt x="127809" y="48021"/>
                  <a:pt x="132509" y="54869"/>
                  <a:pt x="132751" y="65240"/>
                </a:cubicBezTo>
                <a:cubicBezTo>
                  <a:pt x="88663" y="66624"/>
                  <a:pt x="45259" y="67986"/>
                  <a:pt x="0" y="69406"/>
                </a:cubicBezTo>
                <a:cubicBezTo>
                  <a:pt x="6474" y="48167"/>
                  <a:pt x="10658" y="28665"/>
                  <a:pt x="5051" y="7534"/>
                </a:cubicBezTo>
                <a:close/>
              </a:path>
            </a:pathLst>
          </a:custGeom>
          <a:solidFill>
            <a:srgbClr val="FBFCFB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93" name="Free-form: Shape 192">
            <a:extLst>
              <a:ext uri="{FF2B5EF4-FFF2-40B4-BE49-F238E27FC236}">
                <a16:creationId xmlns:a16="http://schemas.microsoft.com/office/drawing/2014/main" id="{8684A2D5-A1FF-D32F-B159-4310629B6115}"/>
              </a:ext>
            </a:extLst>
          </p:cNvPr>
          <p:cNvSpPr/>
          <p:nvPr/>
        </p:nvSpPr>
        <p:spPr>
          <a:xfrm>
            <a:off x="8900100" y="2497025"/>
            <a:ext cx="150878" cy="35402"/>
          </a:xfrm>
          <a:custGeom>
            <a:avLst/>
            <a:gdLst>
              <a:gd name="csX0" fmla="*/ 80894 w 165965"/>
              <a:gd name="csY0" fmla="*/ 440 h 38942"/>
              <a:gd name="csX1" fmla="*/ 128629 w 165965"/>
              <a:gd name="csY1" fmla="*/ 5 h 38942"/>
              <a:gd name="csX2" fmla="*/ 155177 w 165965"/>
              <a:gd name="csY2" fmla="*/ 8091 h 38942"/>
              <a:gd name="csX3" fmla="*/ 164213 w 165965"/>
              <a:gd name="csY3" fmla="*/ 17723 h 38942"/>
              <a:gd name="csX4" fmla="*/ 159998 w 165965"/>
              <a:gd name="csY4" fmla="*/ 30717 h 38942"/>
              <a:gd name="csX5" fmla="*/ 146998 w 165965"/>
              <a:gd name="csY5" fmla="*/ 33737 h 38942"/>
              <a:gd name="csX6" fmla="*/ 12439 w 165965"/>
              <a:gd name="csY6" fmla="*/ 38914 h 38942"/>
              <a:gd name="csX7" fmla="*/ 0 w 165965"/>
              <a:gd name="csY7" fmla="*/ 38402 h 38942"/>
              <a:gd name="csX8" fmla="*/ 0 w 165965"/>
              <a:gd name="csY8" fmla="*/ 4598 h 38942"/>
              <a:gd name="csX9" fmla="*/ 80894 w 165965"/>
              <a:gd name="csY9" fmla="*/ 440 h 3894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165965" h="38942">
                <a:moveTo>
                  <a:pt x="80894" y="440"/>
                </a:moveTo>
                <a:cubicBezTo>
                  <a:pt x="97591" y="288"/>
                  <a:pt x="113111" y="227"/>
                  <a:pt x="128629" y="5"/>
                </a:cubicBezTo>
                <a:cubicBezTo>
                  <a:pt x="138376" y="-135"/>
                  <a:pt x="147226" y="2891"/>
                  <a:pt x="155177" y="8091"/>
                </a:cubicBezTo>
                <a:cubicBezTo>
                  <a:pt x="158779" y="10447"/>
                  <a:pt x="161992" y="14009"/>
                  <a:pt x="164213" y="17723"/>
                </a:cubicBezTo>
                <a:cubicBezTo>
                  <a:pt x="167602" y="23390"/>
                  <a:pt x="166013" y="28134"/>
                  <a:pt x="159998" y="30717"/>
                </a:cubicBezTo>
                <a:cubicBezTo>
                  <a:pt x="155963" y="32450"/>
                  <a:pt x="151384" y="33554"/>
                  <a:pt x="146998" y="33737"/>
                </a:cubicBezTo>
                <a:cubicBezTo>
                  <a:pt x="102152" y="35619"/>
                  <a:pt x="57295" y="37279"/>
                  <a:pt x="12439" y="38914"/>
                </a:cubicBezTo>
                <a:cubicBezTo>
                  <a:pt x="8467" y="39059"/>
                  <a:pt x="4472" y="38602"/>
                  <a:pt x="0" y="38402"/>
                </a:cubicBezTo>
                <a:cubicBezTo>
                  <a:pt x="0" y="27166"/>
                  <a:pt x="0" y="16774"/>
                  <a:pt x="0" y="4598"/>
                </a:cubicBezTo>
                <a:cubicBezTo>
                  <a:pt x="27063" y="3194"/>
                  <a:pt x="53389" y="1829"/>
                  <a:pt x="80894" y="440"/>
                </a:cubicBezTo>
                <a:close/>
              </a:path>
            </a:pathLst>
          </a:custGeom>
          <a:solidFill>
            <a:srgbClr val="FBFCFB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94" name="Free-form: Shape 193">
            <a:extLst>
              <a:ext uri="{FF2B5EF4-FFF2-40B4-BE49-F238E27FC236}">
                <a16:creationId xmlns:a16="http://schemas.microsoft.com/office/drawing/2014/main" id="{AF2A90CF-0358-4D85-513F-9C15893A81F0}"/>
              </a:ext>
            </a:extLst>
          </p:cNvPr>
          <p:cNvSpPr/>
          <p:nvPr/>
        </p:nvSpPr>
        <p:spPr>
          <a:xfrm>
            <a:off x="8883951" y="1936201"/>
            <a:ext cx="39402" cy="42156"/>
          </a:xfrm>
          <a:custGeom>
            <a:avLst/>
            <a:gdLst>
              <a:gd name="csX0" fmla="*/ 40602 w 43343"/>
              <a:gd name="csY0" fmla="*/ 12465 h 46372"/>
              <a:gd name="csX1" fmla="*/ 43214 w 43343"/>
              <a:gd name="csY1" fmla="*/ 21324 h 46372"/>
              <a:gd name="csX2" fmla="*/ 23859 w 43343"/>
              <a:gd name="csY2" fmla="*/ 46319 h 46372"/>
              <a:gd name="csX3" fmla="*/ 5 w 43343"/>
              <a:gd name="csY3" fmla="*/ 23820 h 46372"/>
              <a:gd name="csX4" fmla="*/ 4855 w 43343"/>
              <a:gd name="csY4" fmla="*/ 5679 h 46372"/>
              <a:gd name="csX5" fmla="*/ 40602 w 43343"/>
              <a:gd name="csY5" fmla="*/ 12465 h 4637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</a:cxnLst>
            <a:rect l="l" t="t" r="r" b="b"/>
            <a:pathLst>
              <a:path w="43343" h="46372">
                <a:moveTo>
                  <a:pt x="40602" y="12465"/>
                </a:moveTo>
                <a:cubicBezTo>
                  <a:pt x="41913" y="15811"/>
                  <a:pt x="42933" y="18530"/>
                  <a:pt x="43214" y="21324"/>
                </a:cubicBezTo>
                <a:cubicBezTo>
                  <a:pt x="44519" y="34348"/>
                  <a:pt x="35870" y="45401"/>
                  <a:pt x="23859" y="46319"/>
                </a:cubicBezTo>
                <a:cubicBezTo>
                  <a:pt x="11890" y="47233"/>
                  <a:pt x="-280" y="36371"/>
                  <a:pt x="5" y="23820"/>
                </a:cubicBezTo>
                <a:cubicBezTo>
                  <a:pt x="136" y="18011"/>
                  <a:pt x="2893" y="12263"/>
                  <a:pt x="4855" y="5679"/>
                </a:cubicBezTo>
                <a:cubicBezTo>
                  <a:pt x="20601" y="-3403"/>
                  <a:pt x="28004" y="-1910"/>
                  <a:pt x="40602" y="12465"/>
                </a:cubicBezTo>
                <a:close/>
              </a:path>
            </a:pathLst>
          </a:custGeom>
          <a:solidFill>
            <a:srgbClr val="FBFCFB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95" name="Oval 194">
            <a:extLst>
              <a:ext uri="{FF2B5EF4-FFF2-40B4-BE49-F238E27FC236}">
                <a16:creationId xmlns:a16="http://schemas.microsoft.com/office/drawing/2014/main" id="{40CB8A05-979A-E03B-8BDE-48F188FBD2C8}"/>
              </a:ext>
            </a:extLst>
          </p:cNvPr>
          <p:cNvSpPr/>
          <p:nvPr/>
        </p:nvSpPr>
        <p:spPr>
          <a:xfrm>
            <a:off x="10310222" y="5157127"/>
            <a:ext cx="717698" cy="104135"/>
          </a:xfrm>
          <a:prstGeom prst="ellipse">
            <a:avLst/>
          </a:prstGeom>
          <a:solidFill>
            <a:schemeClr val="tx1">
              <a:alpha val="6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96" name="Free-form: Shape 195">
            <a:extLst>
              <a:ext uri="{FF2B5EF4-FFF2-40B4-BE49-F238E27FC236}">
                <a16:creationId xmlns:a16="http://schemas.microsoft.com/office/drawing/2014/main" id="{BD083684-6130-236C-C7B8-44B5CF81F764}"/>
              </a:ext>
            </a:extLst>
          </p:cNvPr>
          <p:cNvSpPr/>
          <p:nvPr/>
        </p:nvSpPr>
        <p:spPr>
          <a:xfrm>
            <a:off x="10446705" y="3947690"/>
            <a:ext cx="593502" cy="1281815"/>
          </a:xfrm>
          <a:custGeom>
            <a:avLst/>
            <a:gdLst>
              <a:gd name="csX0" fmla="*/ 576414 w 768725"/>
              <a:gd name="csY0" fmla="*/ 893042 h 1509319"/>
              <a:gd name="csX1" fmla="*/ 613047 w 768725"/>
              <a:gd name="csY1" fmla="*/ 1059329 h 1509319"/>
              <a:gd name="csX2" fmla="*/ 623337 w 768725"/>
              <a:gd name="csY2" fmla="*/ 1071825 h 1509319"/>
              <a:gd name="csX3" fmla="*/ 639863 w 768725"/>
              <a:gd name="csY3" fmla="*/ 1079946 h 1509319"/>
              <a:gd name="csX4" fmla="*/ 652266 w 768725"/>
              <a:gd name="csY4" fmla="*/ 1109045 h 1509319"/>
              <a:gd name="csX5" fmla="*/ 645501 w 768725"/>
              <a:gd name="csY5" fmla="*/ 1127466 h 1509319"/>
              <a:gd name="csX6" fmla="*/ 645547 w 768725"/>
              <a:gd name="csY6" fmla="*/ 1144138 h 1509319"/>
              <a:gd name="csX7" fmla="*/ 664589 w 768725"/>
              <a:gd name="csY7" fmla="*/ 1175322 h 1509319"/>
              <a:gd name="csX8" fmla="*/ 712015 w 768725"/>
              <a:gd name="csY8" fmla="*/ 1225118 h 1509319"/>
              <a:gd name="csX9" fmla="*/ 744465 w 768725"/>
              <a:gd name="csY9" fmla="*/ 1300385 h 1509319"/>
              <a:gd name="csX10" fmla="*/ 743270 w 768725"/>
              <a:gd name="csY10" fmla="*/ 1350524 h 1509319"/>
              <a:gd name="csX11" fmla="*/ 745429 w 768725"/>
              <a:gd name="csY11" fmla="*/ 1363274 h 1509319"/>
              <a:gd name="csX12" fmla="*/ 768672 w 768725"/>
              <a:gd name="csY12" fmla="*/ 1456512 h 1509319"/>
              <a:gd name="csX13" fmla="*/ 758521 w 768725"/>
              <a:gd name="csY13" fmla="*/ 1472434 h 1509319"/>
              <a:gd name="csX14" fmla="*/ 730455 w 768725"/>
              <a:gd name="csY14" fmla="*/ 1481228 h 1509319"/>
              <a:gd name="csX15" fmla="*/ 594867 w 768725"/>
              <a:gd name="csY15" fmla="*/ 1502210 h 1509319"/>
              <a:gd name="csX16" fmla="*/ 320018 w 768725"/>
              <a:gd name="csY16" fmla="*/ 1508300 h 1509319"/>
              <a:gd name="csX17" fmla="*/ 186464 w 768725"/>
              <a:gd name="csY17" fmla="*/ 1501258 h 1509319"/>
              <a:gd name="csX18" fmla="*/ 26582 w 768725"/>
              <a:gd name="csY18" fmla="*/ 1477021 h 1509319"/>
              <a:gd name="csX19" fmla="*/ 3929 w 768725"/>
              <a:gd name="csY19" fmla="*/ 1465652 h 1509319"/>
              <a:gd name="csX20" fmla="*/ 18 w 768725"/>
              <a:gd name="csY20" fmla="*/ 1456203 h 1509319"/>
              <a:gd name="csX21" fmla="*/ 4393 w 768725"/>
              <a:gd name="csY21" fmla="*/ 1417235 h 1509319"/>
              <a:gd name="csX22" fmla="*/ 19158 w 768725"/>
              <a:gd name="csY22" fmla="*/ 1370678 h 1509319"/>
              <a:gd name="csX23" fmla="*/ 23255 w 768725"/>
              <a:gd name="csY23" fmla="*/ 1342388 h 1509319"/>
              <a:gd name="csX24" fmla="*/ 38705 w 768725"/>
              <a:gd name="csY24" fmla="*/ 1247261 h 1509319"/>
              <a:gd name="csX25" fmla="*/ 58454 w 768725"/>
              <a:gd name="csY25" fmla="*/ 1220807 h 1509319"/>
              <a:gd name="csX26" fmla="*/ 103638 w 768725"/>
              <a:gd name="csY26" fmla="*/ 1175667 h 1509319"/>
              <a:gd name="csX27" fmla="*/ 122996 w 768725"/>
              <a:gd name="csY27" fmla="*/ 1146131 h 1509319"/>
              <a:gd name="csX28" fmla="*/ 122689 w 768725"/>
              <a:gd name="csY28" fmla="*/ 1128316 h 1509319"/>
              <a:gd name="csX29" fmla="*/ 116576 w 768725"/>
              <a:gd name="csY29" fmla="*/ 1113575 h 1509319"/>
              <a:gd name="csX30" fmla="*/ 127479 w 768725"/>
              <a:gd name="csY30" fmla="*/ 1081076 h 1509319"/>
              <a:gd name="csX31" fmla="*/ 137480 w 768725"/>
              <a:gd name="csY31" fmla="*/ 1076482 h 1509319"/>
              <a:gd name="csX32" fmla="*/ 157312 w 768725"/>
              <a:gd name="csY32" fmla="*/ 1053855 h 1509319"/>
              <a:gd name="csX33" fmla="*/ 178876 w 768725"/>
              <a:gd name="csY33" fmla="*/ 958120 h 1509319"/>
              <a:gd name="csX34" fmla="*/ 210165 w 768725"/>
              <a:gd name="csY34" fmla="*/ 781849 h 1509319"/>
              <a:gd name="csX35" fmla="*/ 223295 w 768725"/>
              <a:gd name="csY35" fmla="*/ 674755 h 1509319"/>
              <a:gd name="csX36" fmla="*/ 231121 w 768725"/>
              <a:gd name="csY36" fmla="*/ 564636 h 1509319"/>
              <a:gd name="csX37" fmla="*/ 235173 w 768725"/>
              <a:gd name="csY37" fmla="*/ 453038 h 1509319"/>
              <a:gd name="csX38" fmla="*/ 235001 w 768725"/>
              <a:gd name="csY38" fmla="*/ 443215 h 1509319"/>
              <a:gd name="csX39" fmla="*/ 224321 w 768725"/>
              <a:gd name="csY39" fmla="*/ 428479 h 1509319"/>
              <a:gd name="csX40" fmla="*/ 204712 w 768725"/>
              <a:gd name="csY40" fmla="*/ 418450 h 1509319"/>
              <a:gd name="csX41" fmla="*/ 184069 w 768725"/>
              <a:gd name="csY41" fmla="*/ 366060 h 1509319"/>
              <a:gd name="csX42" fmla="*/ 206519 w 768725"/>
              <a:gd name="csY42" fmla="*/ 338181 h 1509319"/>
              <a:gd name="csX43" fmla="*/ 226643 w 768725"/>
              <a:gd name="csY43" fmla="*/ 329113 h 1509319"/>
              <a:gd name="csX44" fmla="*/ 232085 w 768725"/>
              <a:gd name="csY44" fmla="*/ 311135 h 1509319"/>
              <a:gd name="csX45" fmla="*/ 221280 w 768725"/>
              <a:gd name="csY45" fmla="*/ 299552 h 1509319"/>
              <a:gd name="csX46" fmla="*/ 173478 w 768725"/>
              <a:gd name="csY46" fmla="*/ 230303 h 1509319"/>
              <a:gd name="csX47" fmla="*/ 141864 w 768725"/>
              <a:gd name="csY47" fmla="*/ 95780 h 1509319"/>
              <a:gd name="csX48" fmla="*/ 137158 w 768725"/>
              <a:gd name="csY48" fmla="*/ 37107 h 1509319"/>
              <a:gd name="csX49" fmla="*/ 148750 w 768725"/>
              <a:gd name="csY49" fmla="*/ 22335 h 1509319"/>
              <a:gd name="csX50" fmla="*/ 236982 w 768725"/>
              <a:gd name="csY50" fmla="*/ 7640 h 1509319"/>
              <a:gd name="csX51" fmla="*/ 246862 w 768725"/>
              <a:gd name="csY51" fmla="*/ 7580 h 1509319"/>
              <a:gd name="csX52" fmla="*/ 261473 w 768725"/>
              <a:gd name="csY52" fmla="*/ 86763 h 1509319"/>
              <a:gd name="csX53" fmla="*/ 306246 w 768725"/>
              <a:gd name="csY53" fmla="*/ 83559 h 1509319"/>
              <a:gd name="csX54" fmla="*/ 306960 w 768725"/>
              <a:gd name="csY54" fmla="*/ 71087 h 1509319"/>
              <a:gd name="csX55" fmla="*/ 306724 w 768725"/>
              <a:gd name="csY55" fmla="*/ 19491 h 1509319"/>
              <a:gd name="csX56" fmla="*/ 319581 w 768725"/>
              <a:gd name="csY56" fmla="*/ 4733 h 1509319"/>
              <a:gd name="csX57" fmla="*/ 430956 w 768725"/>
              <a:gd name="csY57" fmla="*/ 2070 h 1509319"/>
              <a:gd name="csX58" fmla="*/ 437066 w 768725"/>
              <a:gd name="csY58" fmla="*/ 2646 h 1509319"/>
              <a:gd name="csX59" fmla="*/ 460335 w 768725"/>
              <a:gd name="csY59" fmla="*/ 24205 h 1509319"/>
              <a:gd name="csX60" fmla="*/ 463579 w 768725"/>
              <a:gd name="csY60" fmla="*/ 62081 h 1509319"/>
              <a:gd name="csX61" fmla="*/ 463652 w 768725"/>
              <a:gd name="csY61" fmla="*/ 82953 h 1509319"/>
              <a:gd name="csX62" fmla="*/ 507205 w 768725"/>
              <a:gd name="csY62" fmla="*/ 85553 h 1509319"/>
              <a:gd name="csX63" fmla="*/ 513271 w 768725"/>
              <a:gd name="csY63" fmla="*/ 61890 h 1509319"/>
              <a:gd name="csX64" fmla="*/ 520203 w 768725"/>
              <a:gd name="csY64" fmla="*/ 18323 h 1509319"/>
              <a:gd name="csX65" fmla="*/ 534008 w 768725"/>
              <a:gd name="csY65" fmla="*/ 7785 h 1509319"/>
              <a:gd name="csX66" fmla="*/ 595925 w 768725"/>
              <a:gd name="csY66" fmla="*/ 16407 h 1509319"/>
              <a:gd name="csX67" fmla="*/ 619972 w 768725"/>
              <a:gd name="csY67" fmla="*/ 21156 h 1509319"/>
              <a:gd name="csX68" fmla="*/ 631161 w 768725"/>
              <a:gd name="csY68" fmla="*/ 36134 h 1509319"/>
              <a:gd name="csX69" fmla="*/ 628140 w 768725"/>
              <a:gd name="csY69" fmla="*/ 85104 h 1509319"/>
              <a:gd name="csX70" fmla="*/ 613954 w 768725"/>
              <a:gd name="csY70" fmla="*/ 179618 h 1509319"/>
              <a:gd name="csX71" fmla="*/ 586196 w 768725"/>
              <a:gd name="csY71" fmla="*/ 256886 h 1509319"/>
              <a:gd name="csX72" fmla="*/ 554619 w 768725"/>
              <a:gd name="csY72" fmla="*/ 295312 h 1509319"/>
              <a:gd name="csX73" fmla="*/ 538601 w 768725"/>
              <a:gd name="csY73" fmla="*/ 315001 h 1509319"/>
              <a:gd name="csX74" fmla="*/ 542630 w 768725"/>
              <a:gd name="csY74" fmla="*/ 326199 h 1509319"/>
              <a:gd name="csX75" fmla="*/ 560240 w 768725"/>
              <a:gd name="csY75" fmla="*/ 334912 h 1509319"/>
              <a:gd name="csX76" fmla="*/ 586933 w 768725"/>
              <a:gd name="csY76" fmla="*/ 371800 h 1509319"/>
              <a:gd name="csX77" fmla="*/ 563039 w 768725"/>
              <a:gd name="csY77" fmla="*/ 418184 h 1509319"/>
              <a:gd name="csX78" fmla="*/ 545522 w 768725"/>
              <a:gd name="csY78" fmla="*/ 427008 h 1509319"/>
              <a:gd name="csX79" fmla="*/ 535507 w 768725"/>
              <a:gd name="csY79" fmla="*/ 440667 h 1509319"/>
              <a:gd name="csX80" fmla="*/ 536723 w 768725"/>
              <a:gd name="csY80" fmla="*/ 537651 h 1509319"/>
              <a:gd name="csX81" fmla="*/ 539820 w 768725"/>
              <a:gd name="csY81" fmla="*/ 595237 h 1509319"/>
              <a:gd name="csX82" fmla="*/ 553105 w 768725"/>
              <a:gd name="csY82" fmla="*/ 746727 h 1509319"/>
              <a:gd name="csX83" fmla="*/ 576414 w 768725"/>
              <a:gd name="csY83" fmla="*/ 893042 h 1509319"/>
              <a:gd name="csX84" fmla="*/ 500356 w 768725"/>
              <a:gd name="csY84" fmla="*/ 473996 h 1509319"/>
              <a:gd name="csX85" fmla="*/ 499749 w 768725"/>
              <a:gd name="csY85" fmla="*/ 463598 h 1509319"/>
              <a:gd name="csX86" fmla="*/ 392525 w 768725"/>
              <a:gd name="csY86" fmla="*/ 471627 h 1509319"/>
              <a:gd name="csX87" fmla="*/ 392518 w 768725"/>
              <a:gd name="csY87" fmla="*/ 482742 h 1509319"/>
              <a:gd name="csX88" fmla="*/ 390814 w 768725"/>
              <a:gd name="csY88" fmla="*/ 596913 h 1509319"/>
              <a:gd name="csX89" fmla="*/ 385953 w 768725"/>
              <a:gd name="csY89" fmla="*/ 788374 h 1509319"/>
              <a:gd name="csX90" fmla="*/ 383485 w 768725"/>
              <a:gd name="csY90" fmla="*/ 884103 h 1509319"/>
              <a:gd name="csX91" fmla="*/ 380173 w 768725"/>
              <a:gd name="csY91" fmla="*/ 1035109 h 1509319"/>
              <a:gd name="csX92" fmla="*/ 378826 w 768725"/>
              <a:gd name="csY92" fmla="*/ 1068199 h 1509319"/>
              <a:gd name="csX93" fmla="*/ 380180 w 768725"/>
              <a:gd name="csY93" fmla="*/ 1074648 h 1509319"/>
              <a:gd name="csX94" fmla="*/ 446854 w 768725"/>
              <a:gd name="csY94" fmla="*/ 1074654 h 1509319"/>
              <a:gd name="csX95" fmla="*/ 513191 w 768725"/>
              <a:gd name="csY95" fmla="*/ 1074731 h 1509319"/>
              <a:gd name="csX96" fmla="*/ 580317 w 768725"/>
              <a:gd name="csY96" fmla="*/ 1075095 h 1509319"/>
              <a:gd name="csX97" fmla="*/ 500356 w 768725"/>
              <a:gd name="csY97" fmla="*/ 473996 h 1509319"/>
              <a:gd name="csX98" fmla="*/ 459731 w 768725"/>
              <a:gd name="csY98" fmla="*/ 1135086 h 1509319"/>
              <a:gd name="csX99" fmla="*/ 383756 w 768725"/>
              <a:gd name="csY99" fmla="*/ 1135086 h 1509319"/>
              <a:gd name="csX100" fmla="*/ 387612 w 768725"/>
              <a:gd name="csY100" fmla="*/ 1242590 h 1509319"/>
              <a:gd name="csX101" fmla="*/ 383907 w 768725"/>
              <a:gd name="csY101" fmla="*/ 1351330 h 1509319"/>
              <a:gd name="csX102" fmla="*/ 707112 w 768725"/>
              <a:gd name="csY102" fmla="*/ 1330559 h 1509319"/>
              <a:gd name="csX103" fmla="*/ 686366 w 768725"/>
              <a:gd name="csY103" fmla="*/ 1251637 h 1509319"/>
              <a:gd name="csX104" fmla="*/ 639403 w 768725"/>
              <a:gd name="csY104" fmla="*/ 1199952 h 1509319"/>
              <a:gd name="csX105" fmla="*/ 606292 w 768725"/>
              <a:gd name="csY105" fmla="*/ 1135508 h 1509319"/>
              <a:gd name="csX106" fmla="*/ 602971 w 768725"/>
              <a:gd name="csY106" fmla="*/ 1123400 h 1509319"/>
              <a:gd name="csX107" fmla="*/ 591474 w 768725"/>
              <a:gd name="csY107" fmla="*/ 1124633 h 1509319"/>
              <a:gd name="csX108" fmla="*/ 530551 w 768725"/>
              <a:gd name="csY108" fmla="*/ 1130880 h 1509319"/>
              <a:gd name="csX109" fmla="*/ 459731 w 768725"/>
              <a:gd name="csY109" fmla="*/ 1135086 h 1509319"/>
              <a:gd name="csX110" fmla="*/ 469505 w 768725"/>
              <a:gd name="csY110" fmla="*/ 116252 h 1509319"/>
              <a:gd name="csX111" fmla="*/ 443782 w 768725"/>
              <a:gd name="csY111" fmla="*/ 114911 h 1509319"/>
              <a:gd name="csX112" fmla="*/ 430007 w 768725"/>
              <a:gd name="csY112" fmla="*/ 99878 h 1509319"/>
              <a:gd name="csX113" fmla="*/ 429331 w 768725"/>
              <a:gd name="csY113" fmla="*/ 69197 h 1509319"/>
              <a:gd name="csX114" fmla="*/ 426333 w 768725"/>
              <a:gd name="csY114" fmla="*/ 34606 h 1509319"/>
              <a:gd name="csX115" fmla="*/ 377548 w 768725"/>
              <a:gd name="csY115" fmla="*/ 34613 h 1509319"/>
              <a:gd name="csX116" fmla="*/ 368004 w 768725"/>
              <a:gd name="csY116" fmla="*/ 44529 h 1509319"/>
              <a:gd name="csX117" fmla="*/ 366185 w 768725"/>
              <a:gd name="csY117" fmla="*/ 76343 h 1509319"/>
              <a:gd name="csX118" fmla="*/ 379384 w 768725"/>
              <a:gd name="csY118" fmla="*/ 206619 h 1509319"/>
              <a:gd name="csX119" fmla="*/ 390997 w 768725"/>
              <a:gd name="csY119" fmla="*/ 277965 h 1509319"/>
              <a:gd name="csX120" fmla="*/ 394040 w 768725"/>
              <a:gd name="csY120" fmla="*/ 305053 h 1509319"/>
              <a:gd name="csX121" fmla="*/ 501758 w 768725"/>
              <a:gd name="csY121" fmla="*/ 304814 h 1509319"/>
              <a:gd name="csX122" fmla="*/ 510340 w 768725"/>
              <a:gd name="csY122" fmla="*/ 299427 h 1509319"/>
              <a:gd name="csX123" fmla="*/ 526940 w 768725"/>
              <a:gd name="csY123" fmla="*/ 279822 h 1509319"/>
              <a:gd name="csX124" fmla="*/ 576920 w 768725"/>
              <a:gd name="csY124" fmla="*/ 192342 h 1509319"/>
              <a:gd name="csX125" fmla="*/ 594042 w 768725"/>
              <a:gd name="csY125" fmla="*/ 74918 h 1509319"/>
              <a:gd name="csX126" fmla="*/ 594159 w 768725"/>
              <a:gd name="csY126" fmla="*/ 49195 h 1509319"/>
              <a:gd name="csX127" fmla="*/ 554791 w 768725"/>
              <a:gd name="csY127" fmla="*/ 42552 h 1509319"/>
              <a:gd name="csX128" fmla="*/ 552461 w 768725"/>
              <a:gd name="csY128" fmla="*/ 55598 h 1509319"/>
              <a:gd name="csX129" fmla="*/ 544678 w 768725"/>
              <a:gd name="csY129" fmla="*/ 102721 h 1509319"/>
              <a:gd name="csX130" fmla="*/ 525701 w 768725"/>
              <a:gd name="csY130" fmla="*/ 118186 h 1509319"/>
              <a:gd name="csX131" fmla="*/ 469505 w 768725"/>
              <a:gd name="csY131" fmla="*/ 116252 h 1509319"/>
              <a:gd name="csX132" fmla="*/ 513928 w 768725"/>
              <a:gd name="csY132" fmla="*/ 1403203 h 1509319"/>
              <a:gd name="csX133" fmla="*/ 379322 w 768725"/>
              <a:gd name="csY133" fmla="*/ 1404000 h 1509319"/>
              <a:gd name="csX134" fmla="*/ 379322 w 768725"/>
              <a:gd name="csY134" fmla="*/ 1460424 h 1509319"/>
              <a:gd name="csX135" fmla="*/ 726554 w 768725"/>
              <a:gd name="csY135" fmla="*/ 1439225 h 1509319"/>
              <a:gd name="csX136" fmla="*/ 721089 w 768725"/>
              <a:gd name="csY136" fmla="*/ 1397750 h 1509319"/>
              <a:gd name="csX137" fmla="*/ 697967 w 768725"/>
              <a:gd name="csY137" fmla="*/ 1385046 h 1509319"/>
              <a:gd name="csX138" fmla="*/ 619039 w 768725"/>
              <a:gd name="csY138" fmla="*/ 1395892 h 1509319"/>
              <a:gd name="csX139" fmla="*/ 513928 w 768725"/>
              <a:gd name="csY139" fmla="*/ 1403203 h 1509319"/>
              <a:gd name="csX140" fmla="*/ 462814 w 768725"/>
              <a:gd name="csY140" fmla="*/ 375981 h 1509319"/>
              <a:gd name="csX141" fmla="*/ 538992 w 768725"/>
              <a:gd name="csY141" fmla="*/ 375736 h 1509319"/>
              <a:gd name="csX142" fmla="*/ 551835 w 768725"/>
              <a:gd name="csY142" fmla="*/ 373923 h 1509319"/>
              <a:gd name="csX143" fmla="*/ 539689 w 768725"/>
              <a:gd name="csY143" fmla="*/ 356085 h 1509319"/>
              <a:gd name="csX144" fmla="*/ 521074 w 768725"/>
              <a:gd name="csY144" fmla="*/ 344186 h 1509319"/>
              <a:gd name="csX145" fmla="*/ 503789 w 768725"/>
              <a:gd name="csY145" fmla="*/ 339280 h 1509319"/>
              <a:gd name="csX146" fmla="*/ 404270 w 768725"/>
              <a:gd name="csY146" fmla="*/ 339994 h 1509319"/>
              <a:gd name="csX147" fmla="*/ 393081 w 768725"/>
              <a:gd name="csY147" fmla="*/ 340868 h 1509319"/>
              <a:gd name="csX148" fmla="*/ 395001 w 768725"/>
              <a:gd name="csY148" fmla="*/ 375976 h 1509319"/>
              <a:gd name="csX149" fmla="*/ 462814 w 768725"/>
              <a:gd name="csY149" fmla="*/ 375981 h 150931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</a:cxnLst>
            <a:rect l="l" t="t" r="r" b="b"/>
            <a:pathLst>
              <a:path w="768725" h="1509319">
                <a:moveTo>
                  <a:pt x="576414" y="893042"/>
                </a:moveTo>
                <a:cubicBezTo>
                  <a:pt x="588806" y="949146"/>
                  <a:pt x="601091" y="1004202"/>
                  <a:pt x="613047" y="1059329"/>
                </a:cubicBezTo>
                <a:cubicBezTo>
                  <a:pt x="614432" y="1065716"/>
                  <a:pt x="617736" y="1069332"/>
                  <a:pt x="623337" y="1071825"/>
                </a:cubicBezTo>
                <a:cubicBezTo>
                  <a:pt x="628942" y="1074320"/>
                  <a:pt x="634521" y="1076938"/>
                  <a:pt x="639863" y="1079946"/>
                </a:cubicBezTo>
                <a:cubicBezTo>
                  <a:pt x="650944" y="1086186"/>
                  <a:pt x="655598" y="1096871"/>
                  <a:pt x="652266" y="1109045"/>
                </a:cubicBezTo>
                <a:cubicBezTo>
                  <a:pt x="650545" y="1115333"/>
                  <a:pt x="647953" y="1121401"/>
                  <a:pt x="645501" y="1127466"/>
                </a:cubicBezTo>
                <a:cubicBezTo>
                  <a:pt x="643225" y="1133097"/>
                  <a:pt x="643438" y="1138435"/>
                  <a:pt x="645547" y="1144138"/>
                </a:cubicBezTo>
                <a:cubicBezTo>
                  <a:pt x="649868" y="1155821"/>
                  <a:pt x="655892" y="1166306"/>
                  <a:pt x="664589" y="1175322"/>
                </a:cubicBezTo>
                <a:cubicBezTo>
                  <a:pt x="680503" y="1191819"/>
                  <a:pt x="696298" y="1208434"/>
                  <a:pt x="712015" y="1225118"/>
                </a:cubicBezTo>
                <a:cubicBezTo>
                  <a:pt x="731931" y="1246258"/>
                  <a:pt x="740856" y="1272032"/>
                  <a:pt x="744465" y="1300385"/>
                </a:cubicBezTo>
                <a:cubicBezTo>
                  <a:pt x="746614" y="1317273"/>
                  <a:pt x="744537" y="1333855"/>
                  <a:pt x="743270" y="1350524"/>
                </a:cubicBezTo>
                <a:cubicBezTo>
                  <a:pt x="742916" y="1355183"/>
                  <a:pt x="743079" y="1358990"/>
                  <a:pt x="745429" y="1363274"/>
                </a:cubicBezTo>
                <a:cubicBezTo>
                  <a:pt x="761335" y="1392276"/>
                  <a:pt x="766719" y="1423956"/>
                  <a:pt x="768672" y="1456512"/>
                </a:cubicBezTo>
                <a:cubicBezTo>
                  <a:pt x="769161" y="1464651"/>
                  <a:pt x="766327" y="1469951"/>
                  <a:pt x="758521" y="1472434"/>
                </a:cubicBezTo>
                <a:cubicBezTo>
                  <a:pt x="749176" y="1475406"/>
                  <a:pt x="739961" y="1478919"/>
                  <a:pt x="730455" y="1481228"/>
                </a:cubicBezTo>
                <a:cubicBezTo>
                  <a:pt x="685866" y="1492058"/>
                  <a:pt x="640613" y="1498445"/>
                  <a:pt x="594867" y="1502210"/>
                </a:cubicBezTo>
                <a:cubicBezTo>
                  <a:pt x="503351" y="1509743"/>
                  <a:pt x="411695" y="1510364"/>
                  <a:pt x="320018" y="1508300"/>
                </a:cubicBezTo>
                <a:cubicBezTo>
                  <a:pt x="275466" y="1507297"/>
                  <a:pt x="230913" y="1504582"/>
                  <a:pt x="186464" y="1501258"/>
                </a:cubicBezTo>
                <a:cubicBezTo>
                  <a:pt x="132610" y="1497231"/>
                  <a:pt x="79072" y="1490389"/>
                  <a:pt x="26582" y="1477021"/>
                </a:cubicBezTo>
                <a:cubicBezTo>
                  <a:pt x="18195" y="1474885"/>
                  <a:pt x="9735" y="1472585"/>
                  <a:pt x="3929" y="1465652"/>
                </a:cubicBezTo>
                <a:cubicBezTo>
                  <a:pt x="1807" y="1463117"/>
                  <a:pt x="-213" y="1459275"/>
                  <a:pt x="18" y="1456203"/>
                </a:cubicBezTo>
                <a:cubicBezTo>
                  <a:pt x="995" y="1443177"/>
                  <a:pt x="2714" y="1430200"/>
                  <a:pt x="4393" y="1417235"/>
                </a:cubicBezTo>
                <a:cubicBezTo>
                  <a:pt x="6515" y="1400846"/>
                  <a:pt x="11310" y="1385118"/>
                  <a:pt x="19158" y="1370678"/>
                </a:cubicBezTo>
                <a:cubicBezTo>
                  <a:pt x="24205" y="1361393"/>
                  <a:pt x="24576" y="1352443"/>
                  <a:pt x="23255" y="1342388"/>
                </a:cubicBezTo>
                <a:cubicBezTo>
                  <a:pt x="18901" y="1309218"/>
                  <a:pt x="21603" y="1276876"/>
                  <a:pt x="38705" y="1247261"/>
                </a:cubicBezTo>
                <a:cubicBezTo>
                  <a:pt x="44179" y="1237783"/>
                  <a:pt x="50956" y="1228786"/>
                  <a:pt x="58454" y="1220807"/>
                </a:cubicBezTo>
                <a:cubicBezTo>
                  <a:pt x="73024" y="1205299"/>
                  <a:pt x="88543" y="1190683"/>
                  <a:pt x="103638" y="1175667"/>
                </a:cubicBezTo>
                <a:cubicBezTo>
                  <a:pt x="112161" y="1167189"/>
                  <a:pt x="118801" y="1157513"/>
                  <a:pt x="122996" y="1146131"/>
                </a:cubicBezTo>
                <a:cubicBezTo>
                  <a:pt x="125249" y="1140016"/>
                  <a:pt x="125488" y="1134282"/>
                  <a:pt x="122689" y="1128316"/>
                </a:cubicBezTo>
                <a:cubicBezTo>
                  <a:pt x="120431" y="1123504"/>
                  <a:pt x="118446" y="1118553"/>
                  <a:pt x="116576" y="1113575"/>
                </a:cubicBezTo>
                <a:cubicBezTo>
                  <a:pt x="111153" y="1099133"/>
                  <a:pt x="114404" y="1089299"/>
                  <a:pt x="127479" y="1081076"/>
                </a:cubicBezTo>
                <a:cubicBezTo>
                  <a:pt x="130563" y="1079137"/>
                  <a:pt x="134000" y="1077564"/>
                  <a:pt x="137480" y="1076482"/>
                </a:cubicBezTo>
                <a:cubicBezTo>
                  <a:pt x="148800" y="1072962"/>
                  <a:pt x="154794" y="1065351"/>
                  <a:pt x="157312" y="1053855"/>
                </a:cubicBezTo>
                <a:cubicBezTo>
                  <a:pt x="164312" y="1021900"/>
                  <a:pt x="172752" y="990234"/>
                  <a:pt x="178876" y="958120"/>
                </a:cubicBezTo>
                <a:cubicBezTo>
                  <a:pt x="190055" y="899504"/>
                  <a:pt x="200649" y="840756"/>
                  <a:pt x="210165" y="781849"/>
                </a:cubicBezTo>
                <a:cubicBezTo>
                  <a:pt x="215898" y="746366"/>
                  <a:pt x="219868" y="710550"/>
                  <a:pt x="223295" y="674755"/>
                </a:cubicBezTo>
                <a:cubicBezTo>
                  <a:pt x="226801" y="638133"/>
                  <a:pt x="229185" y="601381"/>
                  <a:pt x="231121" y="564636"/>
                </a:cubicBezTo>
                <a:cubicBezTo>
                  <a:pt x="233079" y="527469"/>
                  <a:pt x="233899" y="490241"/>
                  <a:pt x="235173" y="453038"/>
                </a:cubicBezTo>
                <a:cubicBezTo>
                  <a:pt x="235285" y="449770"/>
                  <a:pt x="235108" y="446488"/>
                  <a:pt x="235001" y="443215"/>
                </a:cubicBezTo>
                <a:cubicBezTo>
                  <a:pt x="234761" y="435907"/>
                  <a:pt x="231291" y="431283"/>
                  <a:pt x="224321" y="428479"/>
                </a:cubicBezTo>
                <a:cubicBezTo>
                  <a:pt x="217531" y="425747"/>
                  <a:pt x="210873" y="422395"/>
                  <a:pt x="204712" y="418450"/>
                </a:cubicBezTo>
                <a:cubicBezTo>
                  <a:pt x="187562" y="407468"/>
                  <a:pt x="179141" y="385623"/>
                  <a:pt x="184069" y="366060"/>
                </a:cubicBezTo>
                <a:cubicBezTo>
                  <a:pt x="187270" y="353354"/>
                  <a:pt x="195406" y="344379"/>
                  <a:pt x="206519" y="338181"/>
                </a:cubicBezTo>
                <a:cubicBezTo>
                  <a:pt x="212922" y="334611"/>
                  <a:pt x="219930" y="332132"/>
                  <a:pt x="226643" y="329113"/>
                </a:cubicBezTo>
                <a:cubicBezTo>
                  <a:pt x="236636" y="324620"/>
                  <a:pt x="238185" y="320246"/>
                  <a:pt x="232085" y="311135"/>
                </a:cubicBezTo>
                <a:cubicBezTo>
                  <a:pt x="229169" y="306779"/>
                  <a:pt x="225643" y="302195"/>
                  <a:pt x="221280" y="299552"/>
                </a:cubicBezTo>
                <a:cubicBezTo>
                  <a:pt x="194874" y="283553"/>
                  <a:pt x="183766" y="257401"/>
                  <a:pt x="173478" y="230303"/>
                </a:cubicBezTo>
                <a:cubicBezTo>
                  <a:pt x="156973" y="186824"/>
                  <a:pt x="146078" y="142097"/>
                  <a:pt x="141864" y="95780"/>
                </a:cubicBezTo>
                <a:cubicBezTo>
                  <a:pt x="140086" y="76240"/>
                  <a:pt x="138323" y="56689"/>
                  <a:pt x="137158" y="37107"/>
                </a:cubicBezTo>
                <a:cubicBezTo>
                  <a:pt x="136482" y="25735"/>
                  <a:pt x="137408" y="24372"/>
                  <a:pt x="148750" y="22335"/>
                </a:cubicBezTo>
                <a:cubicBezTo>
                  <a:pt x="178094" y="17065"/>
                  <a:pt x="207551" y="12418"/>
                  <a:pt x="236982" y="7640"/>
                </a:cubicBezTo>
                <a:cubicBezTo>
                  <a:pt x="239748" y="7191"/>
                  <a:pt x="242650" y="7580"/>
                  <a:pt x="246862" y="7580"/>
                </a:cubicBezTo>
                <a:cubicBezTo>
                  <a:pt x="255824" y="32568"/>
                  <a:pt x="255201" y="59502"/>
                  <a:pt x="261473" y="86763"/>
                </a:cubicBezTo>
                <a:cubicBezTo>
                  <a:pt x="276122" y="85715"/>
                  <a:pt x="290587" y="84680"/>
                  <a:pt x="306246" y="83559"/>
                </a:cubicBezTo>
                <a:cubicBezTo>
                  <a:pt x="306524" y="78935"/>
                  <a:pt x="306966" y="75011"/>
                  <a:pt x="306960" y="71087"/>
                </a:cubicBezTo>
                <a:cubicBezTo>
                  <a:pt x="306936" y="53888"/>
                  <a:pt x="306633" y="36688"/>
                  <a:pt x="306724" y="19491"/>
                </a:cubicBezTo>
                <a:cubicBezTo>
                  <a:pt x="306789" y="7258"/>
                  <a:pt x="307148" y="6664"/>
                  <a:pt x="319581" y="4733"/>
                </a:cubicBezTo>
                <a:cubicBezTo>
                  <a:pt x="356571" y="-1011"/>
                  <a:pt x="393735" y="-1048"/>
                  <a:pt x="430956" y="2070"/>
                </a:cubicBezTo>
                <a:cubicBezTo>
                  <a:pt x="432994" y="2241"/>
                  <a:pt x="435026" y="2485"/>
                  <a:pt x="437066" y="2646"/>
                </a:cubicBezTo>
                <a:cubicBezTo>
                  <a:pt x="455684" y="4122"/>
                  <a:pt x="457626" y="5472"/>
                  <a:pt x="460335" y="24205"/>
                </a:cubicBezTo>
                <a:cubicBezTo>
                  <a:pt x="462146" y="36727"/>
                  <a:pt x="462770" y="49435"/>
                  <a:pt x="463579" y="62081"/>
                </a:cubicBezTo>
                <a:cubicBezTo>
                  <a:pt x="463995" y="68573"/>
                  <a:pt x="463652" y="75113"/>
                  <a:pt x="463652" y="82953"/>
                </a:cubicBezTo>
                <a:cubicBezTo>
                  <a:pt x="478793" y="83857"/>
                  <a:pt x="492851" y="84696"/>
                  <a:pt x="507205" y="85553"/>
                </a:cubicBezTo>
                <a:cubicBezTo>
                  <a:pt x="512102" y="78145"/>
                  <a:pt x="511920" y="69770"/>
                  <a:pt x="513271" y="61890"/>
                </a:cubicBezTo>
                <a:cubicBezTo>
                  <a:pt x="515756" y="47397"/>
                  <a:pt x="517439" y="32758"/>
                  <a:pt x="520203" y="18323"/>
                </a:cubicBezTo>
                <a:cubicBezTo>
                  <a:pt x="522330" y="7216"/>
                  <a:pt x="522926" y="6539"/>
                  <a:pt x="534008" y="7785"/>
                </a:cubicBezTo>
                <a:cubicBezTo>
                  <a:pt x="554709" y="10113"/>
                  <a:pt x="575316" y="13322"/>
                  <a:pt x="595925" y="16407"/>
                </a:cubicBezTo>
                <a:cubicBezTo>
                  <a:pt x="604001" y="17616"/>
                  <a:pt x="612093" y="19051"/>
                  <a:pt x="619972" y="21156"/>
                </a:cubicBezTo>
                <a:cubicBezTo>
                  <a:pt x="628887" y="23538"/>
                  <a:pt x="631496" y="26848"/>
                  <a:pt x="631161" y="36134"/>
                </a:cubicBezTo>
                <a:cubicBezTo>
                  <a:pt x="630572" y="52475"/>
                  <a:pt x="629765" y="68840"/>
                  <a:pt x="628140" y="85104"/>
                </a:cubicBezTo>
                <a:cubicBezTo>
                  <a:pt x="624968" y="116827"/>
                  <a:pt x="621618" y="148545"/>
                  <a:pt x="613954" y="179618"/>
                </a:cubicBezTo>
                <a:cubicBezTo>
                  <a:pt x="607361" y="206344"/>
                  <a:pt x="597791" y="231950"/>
                  <a:pt x="586196" y="256886"/>
                </a:cubicBezTo>
                <a:cubicBezTo>
                  <a:pt x="578940" y="272491"/>
                  <a:pt x="568647" y="285371"/>
                  <a:pt x="554619" y="295312"/>
                </a:cubicBezTo>
                <a:cubicBezTo>
                  <a:pt x="547467" y="300381"/>
                  <a:pt x="541673" y="306562"/>
                  <a:pt x="538601" y="315001"/>
                </a:cubicBezTo>
                <a:cubicBezTo>
                  <a:pt x="536802" y="319945"/>
                  <a:pt x="537533" y="323761"/>
                  <a:pt x="542630" y="326199"/>
                </a:cubicBezTo>
                <a:cubicBezTo>
                  <a:pt x="548539" y="329025"/>
                  <a:pt x="554513" y="331748"/>
                  <a:pt x="560240" y="334912"/>
                </a:cubicBezTo>
                <a:cubicBezTo>
                  <a:pt x="574874" y="342998"/>
                  <a:pt x="586216" y="353688"/>
                  <a:pt x="586933" y="371800"/>
                </a:cubicBezTo>
                <a:cubicBezTo>
                  <a:pt x="587721" y="391697"/>
                  <a:pt x="581146" y="407998"/>
                  <a:pt x="563039" y="418184"/>
                </a:cubicBezTo>
                <a:cubicBezTo>
                  <a:pt x="557338" y="421391"/>
                  <a:pt x="551634" y="424825"/>
                  <a:pt x="545522" y="427008"/>
                </a:cubicBezTo>
                <a:cubicBezTo>
                  <a:pt x="538690" y="429449"/>
                  <a:pt x="535443" y="433770"/>
                  <a:pt x="535507" y="440667"/>
                </a:cubicBezTo>
                <a:cubicBezTo>
                  <a:pt x="535813" y="472997"/>
                  <a:pt x="535953" y="505332"/>
                  <a:pt x="536723" y="537651"/>
                </a:cubicBezTo>
                <a:cubicBezTo>
                  <a:pt x="537181" y="556862"/>
                  <a:pt x="538274" y="576081"/>
                  <a:pt x="539820" y="595237"/>
                </a:cubicBezTo>
                <a:cubicBezTo>
                  <a:pt x="543897" y="645768"/>
                  <a:pt x="546950" y="696441"/>
                  <a:pt x="553105" y="746727"/>
                </a:cubicBezTo>
                <a:cubicBezTo>
                  <a:pt x="559060" y="795370"/>
                  <a:pt x="568372" y="843602"/>
                  <a:pt x="576414" y="893042"/>
                </a:cubicBezTo>
                <a:moveTo>
                  <a:pt x="500356" y="473996"/>
                </a:moveTo>
                <a:cubicBezTo>
                  <a:pt x="500146" y="470396"/>
                  <a:pt x="499936" y="466797"/>
                  <a:pt x="499749" y="463598"/>
                </a:cubicBezTo>
                <a:cubicBezTo>
                  <a:pt x="463731" y="466295"/>
                  <a:pt x="428548" y="468929"/>
                  <a:pt x="392525" y="471627"/>
                </a:cubicBezTo>
                <a:cubicBezTo>
                  <a:pt x="392525" y="475456"/>
                  <a:pt x="392570" y="479099"/>
                  <a:pt x="392518" y="482742"/>
                </a:cubicBezTo>
                <a:cubicBezTo>
                  <a:pt x="391977" y="520799"/>
                  <a:pt x="391669" y="558862"/>
                  <a:pt x="390814" y="596913"/>
                </a:cubicBezTo>
                <a:cubicBezTo>
                  <a:pt x="389379" y="660737"/>
                  <a:pt x="387596" y="724554"/>
                  <a:pt x="385953" y="788374"/>
                </a:cubicBezTo>
                <a:cubicBezTo>
                  <a:pt x="385132" y="820284"/>
                  <a:pt x="384217" y="852191"/>
                  <a:pt x="383485" y="884103"/>
                </a:cubicBezTo>
                <a:cubicBezTo>
                  <a:pt x="382329" y="934437"/>
                  <a:pt x="381336" y="984775"/>
                  <a:pt x="380173" y="1035109"/>
                </a:cubicBezTo>
                <a:cubicBezTo>
                  <a:pt x="379918" y="1046143"/>
                  <a:pt x="379172" y="1057166"/>
                  <a:pt x="378826" y="1068199"/>
                </a:cubicBezTo>
                <a:cubicBezTo>
                  <a:pt x="378768" y="1070073"/>
                  <a:pt x="379592" y="1071975"/>
                  <a:pt x="380180" y="1074648"/>
                </a:cubicBezTo>
                <a:cubicBezTo>
                  <a:pt x="402724" y="1074648"/>
                  <a:pt x="424789" y="1074626"/>
                  <a:pt x="446854" y="1074654"/>
                </a:cubicBezTo>
                <a:cubicBezTo>
                  <a:pt x="468967" y="1074682"/>
                  <a:pt x="491084" y="1075062"/>
                  <a:pt x="513191" y="1074731"/>
                </a:cubicBezTo>
                <a:cubicBezTo>
                  <a:pt x="535020" y="1074404"/>
                  <a:pt x="556890" y="1078397"/>
                  <a:pt x="580317" y="1075095"/>
                </a:cubicBezTo>
                <a:cubicBezTo>
                  <a:pt x="530688" y="877741"/>
                  <a:pt x="498514" y="679261"/>
                  <a:pt x="500356" y="473996"/>
                </a:cubicBezTo>
                <a:moveTo>
                  <a:pt x="459731" y="1135086"/>
                </a:moveTo>
                <a:cubicBezTo>
                  <a:pt x="434501" y="1135086"/>
                  <a:pt x="409270" y="1135086"/>
                  <a:pt x="383756" y="1135086"/>
                </a:cubicBezTo>
                <a:cubicBezTo>
                  <a:pt x="385145" y="1171037"/>
                  <a:pt x="387590" y="1206813"/>
                  <a:pt x="387612" y="1242590"/>
                </a:cubicBezTo>
                <a:cubicBezTo>
                  <a:pt x="387634" y="1278699"/>
                  <a:pt x="385252" y="1314810"/>
                  <a:pt x="383907" y="1351330"/>
                </a:cubicBezTo>
                <a:cubicBezTo>
                  <a:pt x="493016" y="1355954"/>
                  <a:pt x="600298" y="1349068"/>
                  <a:pt x="707112" y="1330559"/>
                </a:cubicBezTo>
                <a:cubicBezTo>
                  <a:pt x="710922" y="1301049"/>
                  <a:pt x="703971" y="1274394"/>
                  <a:pt x="686366" y="1251637"/>
                </a:cubicBezTo>
                <a:cubicBezTo>
                  <a:pt x="672164" y="1233278"/>
                  <a:pt x="655625" y="1216649"/>
                  <a:pt x="639403" y="1199952"/>
                </a:cubicBezTo>
                <a:cubicBezTo>
                  <a:pt x="621690" y="1181720"/>
                  <a:pt x="611031" y="1160243"/>
                  <a:pt x="606292" y="1135508"/>
                </a:cubicBezTo>
                <a:cubicBezTo>
                  <a:pt x="605546" y="1131614"/>
                  <a:pt x="604205" y="1127833"/>
                  <a:pt x="602971" y="1123400"/>
                </a:cubicBezTo>
                <a:cubicBezTo>
                  <a:pt x="598647" y="1123864"/>
                  <a:pt x="595062" y="1124258"/>
                  <a:pt x="591474" y="1124633"/>
                </a:cubicBezTo>
                <a:cubicBezTo>
                  <a:pt x="571170" y="1126753"/>
                  <a:pt x="550896" y="1129262"/>
                  <a:pt x="530551" y="1130880"/>
                </a:cubicBezTo>
                <a:cubicBezTo>
                  <a:pt x="507752" y="1132694"/>
                  <a:pt x="484887" y="1133699"/>
                  <a:pt x="459731" y="1135086"/>
                </a:cubicBezTo>
                <a:moveTo>
                  <a:pt x="469505" y="116252"/>
                </a:moveTo>
                <a:cubicBezTo>
                  <a:pt x="460926" y="115846"/>
                  <a:pt x="452288" y="115932"/>
                  <a:pt x="443782" y="114911"/>
                </a:cubicBezTo>
                <a:cubicBezTo>
                  <a:pt x="433023" y="113619"/>
                  <a:pt x="430601" y="110848"/>
                  <a:pt x="430007" y="99878"/>
                </a:cubicBezTo>
                <a:cubicBezTo>
                  <a:pt x="429457" y="89668"/>
                  <a:pt x="429903" y="79404"/>
                  <a:pt x="429331" y="69197"/>
                </a:cubicBezTo>
                <a:cubicBezTo>
                  <a:pt x="428702" y="57943"/>
                  <a:pt x="427414" y="46725"/>
                  <a:pt x="426333" y="34606"/>
                </a:cubicBezTo>
                <a:cubicBezTo>
                  <a:pt x="409217" y="34606"/>
                  <a:pt x="393383" y="34593"/>
                  <a:pt x="377548" y="34613"/>
                </a:cubicBezTo>
                <a:cubicBezTo>
                  <a:pt x="370973" y="34621"/>
                  <a:pt x="368175" y="37880"/>
                  <a:pt x="368004" y="44529"/>
                </a:cubicBezTo>
                <a:cubicBezTo>
                  <a:pt x="367731" y="55142"/>
                  <a:pt x="366531" y="65729"/>
                  <a:pt x="366185" y="76343"/>
                </a:cubicBezTo>
                <a:cubicBezTo>
                  <a:pt x="364748" y="120348"/>
                  <a:pt x="372586" y="163440"/>
                  <a:pt x="379384" y="206619"/>
                </a:cubicBezTo>
                <a:cubicBezTo>
                  <a:pt x="383132" y="230420"/>
                  <a:pt x="387281" y="254159"/>
                  <a:pt x="390997" y="277965"/>
                </a:cubicBezTo>
                <a:cubicBezTo>
                  <a:pt x="392356" y="286668"/>
                  <a:pt x="392988" y="295485"/>
                  <a:pt x="394040" y="305053"/>
                </a:cubicBezTo>
                <a:cubicBezTo>
                  <a:pt x="430625" y="305053"/>
                  <a:pt x="466194" y="305182"/>
                  <a:pt x="501758" y="304814"/>
                </a:cubicBezTo>
                <a:cubicBezTo>
                  <a:pt x="504672" y="304784"/>
                  <a:pt x="508099" y="301870"/>
                  <a:pt x="510340" y="299427"/>
                </a:cubicBezTo>
                <a:cubicBezTo>
                  <a:pt x="516125" y="293119"/>
                  <a:pt x="520822" y="285749"/>
                  <a:pt x="526940" y="279822"/>
                </a:cubicBezTo>
                <a:cubicBezTo>
                  <a:pt x="552103" y="255447"/>
                  <a:pt x="566819" y="225104"/>
                  <a:pt x="576920" y="192342"/>
                </a:cubicBezTo>
                <a:cubicBezTo>
                  <a:pt x="588690" y="154165"/>
                  <a:pt x="590063" y="114309"/>
                  <a:pt x="594042" y="74918"/>
                </a:cubicBezTo>
                <a:cubicBezTo>
                  <a:pt x="594852" y="66901"/>
                  <a:pt x="594159" y="58731"/>
                  <a:pt x="594159" y="49195"/>
                </a:cubicBezTo>
                <a:cubicBezTo>
                  <a:pt x="581125" y="46996"/>
                  <a:pt x="568493" y="44864"/>
                  <a:pt x="554791" y="42552"/>
                </a:cubicBezTo>
                <a:cubicBezTo>
                  <a:pt x="553857" y="47762"/>
                  <a:pt x="553099" y="51670"/>
                  <a:pt x="552461" y="55598"/>
                </a:cubicBezTo>
                <a:cubicBezTo>
                  <a:pt x="549905" y="71314"/>
                  <a:pt x="547903" y="87144"/>
                  <a:pt x="544678" y="102721"/>
                </a:cubicBezTo>
                <a:cubicBezTo>
                  <a:pt x="542363" y="113902"/>
                  <a:pt x="537010" y="118223"/>
                  <a:pt x="525701" y="118186"/>
                </a:cubicBezTo>
                <a:cubicBezTo>
                  <a:pt x="507730" y="118128"/>
                  <a:pt x="489762" y="117027"/>
                  <a:pt x="469505" y="116252"/>
                </a:cubicBezTo>
                <a:moveTo>
                  <a:pt x="513928" y="1403203"/>
                </a:moveTo>
                <a:cubicBezTo>
                  <a:pt x="469441" y="1403467"/>
                  <a:pt x="424955" y="1403730"/>
                  <a:pt x="379322" y="1404000"/>
                </a:cubicBezTo>
                <a:cubicBezTo>
                  <a:pt x="379322" y="1423089"/>
                  <a:pt x="379322" y="1440883"/>
                  <a:pt x="379322" y="1460424"/>
                </a:cubicBezTo>
                <a:cubicBezTo>
                  <a:pt x="496078" y="1471584"/>
                  <a:pt x="611510" y="1462301"/>
                  <a:pt x="726554" y="1439225"/>
                </a:cubicBezTo>
                <a:cubicBezTo>
                  <a:pt x="728615" y="1424350"/>
                  <a:pt x="725601" y="1410872"/>
                  <a:pt x="721089" y="1397750"/>
                </a:cubicBezTo>
                <a:cubicBezTo>
                  <a:pt x="717269" y="1386638"/>
                  <a:pt x="709802" y="1383286"/>
                  <a:pt x="697967" y="1385046"/>
                </a:cubicBezTo>
                <a:cubicBezTo>
                  <a:pt x="671697" y="1388954"/>
                  <a:pt x="645454" y="1393360"/>
                  <a:pt x="619039" y="1395892"/>
                </a:cubicBezTo>
                <a:cubicBezTo>
                  <a:pt x="584863" y="1399168"/>
                  <a:pt x="550531" y="1400815"/>
                  <a:pt x="513928" y="1403203"/>
                </a:cubicBezTo>
                <a:moveTo>
                  <a:pt x="462814" y="375981"/>
                </a:moveTo>
                <a:cubicBezTo>
                  <a:pt x="488207" y="375927"/>
                  <a:pt x="513601" y="375954"/>
                  <a:pt x="538992" y="375736"/>
                </a:cubicBezTo>
                <a:cubicBezTo>
                  <a:pt x="543170" y="375700"/>
                  <a:pt x="547338" y="374587"/>
                  <a:pt x="551835" y="373923"/>
                </a:cubicBezTo>
                <a:cubicBezTo>
                  <a:pt x="550780" y="364535"/>
                  <a:pt x="545320" y="360090"/>
                  <a:pt x="539689" y="356085"/>
                </a:cubicBezTo>
                <a:cubicBezTo>
                  <a:pt x="533696" y="351821"/>
                  <a:pt x="527145" y="348349"/>
                  <a:pt x="521074" y="344186"/>
                </a:cubicBezTo>
                <a:cubicBezTo>
                  <a:pt x="515783" y="340559"/>
                  <a:pt x="510232" y="339198"/>
                  <a:pt x="503789" y="339280"/>
                </a:cubicBezTo>
                <a:cubicBezTo>
                  <a:pt x="470618" y="339700"/>
                  <a:pt x="437443" y="339744"/>
                  <a:pt x="404270" y="339994"/>
                </a:cubicBezTo>
                <a:cubicBezTo>
                  <a:pt x="400758" y="340021"/>
                  <a:pt x="397250" y="340529"/>
                  <a:pt x="393081" y="340868"/>
                </a:cubicBezTo>
                <a:cubicBezTo>
                  <a:pt x="393653" y="352908"/>
                  <a:pt x="392145" y="363845"/>
                  <a:pt x="395001" y="375976"/>
                </a:cubicBezTo>
                <a:cubicBezTo>
                  <a:pt x="417133" y="375976"/>
                  <a:pt x="438745" y="375976"/>
                  <a:pt x="462814" y="375981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97" name="Free-form: Shape 196">
            <a:extLst>
              <a:ext uri="{FF2B5EF4-FFF2-40B4-BE49-F238E27FC236}">
                <a16:creationId xmlns:a16="http://schemas.microsoft.com/office/drawing/2014/main" id="{241BAF81-156D-814C-23D0-5E430C9C60BA}"/>
              </a:ext>
            </a:extLst>
          </p:cNvPr>
          <p:cNvSpPr/>
          <p:nvPr/>
        </p:nvSpPr>
        <p:spPr>
          <a:xfrm>
            <a:off x="10739181" y="4341408"/>
            <a:ext cx="155564" cy="520442"/>
          </a:xfrm>
          <a:custGeom>
            <a:avLst/>
            <a:gdLst>
              <a:gd name="csX0" fmla="*/ 121535 w 201493"/>
              <a:gd name="csY0" fmla="*/ 11562 h 612813"/>
              <a:gd name="csX1" fmla="*/ 201493 w 201493"/>
              <a:gd name="csY1" fmla="*/ 611498 h 612813"/>
              <a:gd name="csX2" fmla="*/ 134368 w 201493"/>
              <a:gd name="csY2" fmla="*/ 611133 h 612813"/>
              <a:gd name="csX3" fmla="*/ 68030 w 201493"/>
              <a:gd name="csY3" fmla="*/ 611056 h 612813"/>
              <a:gd name="csX4" fmla="*/ 1357 w 201493"/>
              <a:gd name="csY4" fmla="*/ 611050 h 612813"/>
              <a:gd name="csX5" fmla="*/ 3 w 201493"/>
              <a:gd name="csY5" fmla="*/ 604601 h 612813"/>
              <a:gd name="csX6" fmla="*/ 1350 w 201493"/>
              <a:gd name="csY6" fmla="*/ 571511 h 612813"/>
              <a:gd name="csX7" fmla="*/ 4661 w 201493"/>
              <a:gd name="csY7" fmla="*/ 420505 h 612813"/>
              <a:gd name="csX8" fmla="*/ 7130 w 201493"/>
              <a:gd name="csY8" fmla="*/ 324777 h 612813"/>
              <a:gd name="csX9" fmla="*/ 11991 w 201493"/>
              <a:gd name="csY9" fmla="*/ 133315 h 612813"/>
              <a:gd name="csX10" fmla="*/ 13695 w 201493"/>
              <a:gd name="csY10" fmla="*/ 19144 h 612813"/>
              <a:gd name="csX11" fmla="*/ 13702 w 201493"/>
              <a:gd name="csY11" fmla="*/ 8029 h 612813"/>
              <a:gd name="csX12" fmla="*/ 120926 w 201493"/>
              <a:gd name="csY12" fmla="*/ 0 h 612813"/>
              <a:gd name="csX13" fmla="*/ 121535 w 201493"/>
              <a:gd name="csY13" fmla="*/ 11562 h 61281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</a:cxnLst>
            <a:rect l="l" t="t" r="r" b="b"/>
            <a:pathLst>
              <a:path w="201493" h="612813">
                <a:moveTo>
                  <a:pt x="121535" y="11562"/>
                </a:moveTo>
                <a:cubicBezTo>
                  <a:pt x="119691" y="215664"/>
                  <a:pt x="151865" y="414144"/>
                  <a:pt x="201493" y="611498"/>
                </a:cubicBezTo>
                <a:cubicBezTo>
                  <a:pt x="178066" y="614799"/>
                  <a:pt x="156197" y="610806"/>
                  <a:pt x="134368" y="611133"/>
                </a:cubicBezTo>
                <a:cubicBezTo>
                  <a:pt x="112261" y="611465"/>
                  <a:pt x="90143" y="611084"/>
                  <a:pt x="68030" y="611056"/>
                </a:cubicBezTo>
                <a:cubicBezTo>
                  <a:pt x="45965" y="611028"/>
                  <a:pt x="23900" y="611050"/>
                  <a:pt x="1357" y="611050"/>
                </a:cubicBezTo>
                <a:cubicBezTo>
                  <a:pt x="769" y="608377"/>
                  <a:pt x="-56" y="606475"/>
                  <a:pt x="3" y="604601"/>
                </a:cubicBezTo>
                <a:cubicBezTo>
                  <a:pt x="349" y="593568"/>
                  <a:pt x="1095" y="582545"/>
                  <a:pt x="1350" y="571511"/>
                </a:cubicBezTo>
                <a:cubicBezTo>
                  <a:pt x="2513" y="521177"/>
                  <a:pt x="3506" y="470839"/>
                  <a:pt x="4661" y="420505"/>
                </a:cubicBezTo>
                <a:cubicBezTo>
                  <a:pt x="5393" y="388594"/>
                  <a:pt x="6308" y="356686"/>
                  <a:pt x="7130" y="324777"/>
                </a:cubicBezTo>
                <a:cubicBezTo>
                  <a:pt x="8772" y="260956"/>
                  <a:pt x="10555" y="197140"/>
                  <a:pt x="11991" y="133315"/>
                </a:cubicBezTo>
                <a:cubicBezTo>
                  <a:pt x="12846" y="95264"/>
                  <a:pt x="13154" y="57201"/>
                  <a:pt x="13695" y="19144"/>
                </a:cubicBezTo>
                <a:cubicBezTo>
                  <a:pt x="13746" y="15501"/>
                  <a:pt x="13702" y="11858"/>
                  <a:pt x="13702" y="8029"/>
                </a:cubicBezTo>
                <a:cubicBezTo>
                  <a:pt x="49725" y="5331"/>
                  <a:pt x="84908" y="2697"/>
                  <a:pt x="120926" y="0"/>
                </a:cubicBezTo>
                <a:cubicBezTo>
                  <a:pt x="121113" y="3199"/>
                  <a:pt x="121323" y="6798"/>
                  <a:pt x="121535" y="11562"/>
                </a:cubicBezTo>
                <a:close/>
              </a:path>
            </a:pathLst>
          </a:custGeom>
          <a:solidFill>
            <a:srgbClr val="FDFDFD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98" name="Free-form: Shape 197">
            <a:extLst>
              <a:ext uri="{FF2B5EF4-FFF2-40B4-BE49-F238E27FC236}">
                <a16:creationId xmlns:a16="http://schemas.microsoft.com/office/drawing/2014/main" id="{4C1C9B39-C059-3EE3-20AD-032E32B5364C}"/>
              </a:ext>
            </a:extLst>
          </p:cNvPr>
          <p:cNvSpPr/>
          <p:nvPr/>
        </p:nvSpPr>
        <p:spPr>
          <a:xfrm>
            <a:off x="10742989" y="4901757"/>
            <a:ext cx="250431" cy="194755"/>
          </a:xfrm>
          <a:custGeom>
            <a:avLst/>
            <a:gdLst>
              <a:gd name="csX0" fmla="*/ 77135 w 324367"/>
              <a:gd name="csY0" fmla="*/ 11670 h 229322"/>
              <a:gd name="csX1" fmla="*/ 146795 w 324367"/>
              <a:gd name="csY1" fmla="*/ 7480 h 229322"/>
              <a:gd name="csX2" fmla="*/ 207718 w 324367"/>
              <a:gd name="csY2" fmla="*/ 1232 h 229322"/>
              <a:gd name="csX3" fmla="*/ 219215 w 324367"/>
              <a:gd name="csY3" fmla="*/ 0 h 229322"/>
              <a:gd name="csX4" fmla="*/ 222536 w 324367"/>
              <a:gd name="csY4" fmla="*/ 12108 h 229322"/>
              <a:gd name="csX5" fmla="*/ 255647 w 324367"/>
              <a:gd name="csY5" fmla="*/ 76552 h 229322"/>
              <a:gd name="csX6" fmla="*/ 302610 w 324367"/>
              <a:gd name="csY6" fmla="*/ 128236 h 229322"/>
              <a:gd name="csX7" fmla="*/ 323355 w 324367"/>
              <a:gd name="csY7" fmla="*/ 207159 h 229322"/>
              <a:gd name="csX8" fmla="*/ 151 w 324367"/>
              <a:gd name="csY8" fmla="*/ 227930 h 229322"/>
              <a:gd name="csX9" fmla="*/ 3855 w 324367"/>
              <a:gd name="csY9" fmla="*/ 119190 h 229322"/>
              <a:gd name="csX10" fmla="*/ 0 w 324367"/>
              <a:gd name="csY10" fmla="*/ 11685 h 229322"/>
              <a:gd name="csX11" fmla="*/ 77135 w 324367"/>
              <a:gd name="csY11" fmla="*/ 11670 h 22932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324367" h="229322">
                <a:moveTo>
                  <a:pt x="77135" y="11670"/>
                </a:moveTo>
                <a:cubicBezTo>
                  <a:pt x="101131" y="10299"/>
                  <a:pt x="123996" y="9293"/>
                  <a:pt x="146795" y="7480"/>
                </a:cubicBezTo>
                <a:cubicBezTo>
                  <a:pt x="167139" y="5862"/>
                  <a:pt x="187413" y="3352"/>
                  <a:pt x="207718" y="1232"/>
                </a:cubicBezTo>
                <a:cubicBezTo>
                  <a:pt x="211305" y="858"/>
                  <a:pt x="214891" y="464"/>
                  <a:pt x="219215" y="0"/>
                </a:cubicBezTo>
                <a:cubicBezTo>
                  <a:pt x="220448" y="4433"/>
                  <a:pt x="221789" y="8213"/>
                  <a:pt x="222536" y="12108"/>
                </a:cubicBezTo>
                <a:cubicBezTo>
                  <a:pt x="227274" y="36843"/>
                  <a:pt x="237933" y="58320"/>
                  <a:pt x="255647" y="76552"/>
                </a:cubicBezTo>
                <a:cubicBezTo>
                  <a:pt x="271868" y="93249"/>
                  <a:pt x="288407" y="109878"/>
                  <a:pt x="302610" y="128236"/>
                </a:cubicBezTo>
                <a:cubicBezTo>
                  <a:pt x="320215" y="150993"/>
                  <a:pt x="327166" y="177648"/>
                  <a:pt x="323355" y="207159"/>
                </a:cubicBezTo>
                <a:cubicBezTo>
                  <a:pt x="216542" y="225668"/>
                  <a:pt x="109259" y="232554"/>
                  <a:pt x="151" y="227930"/>
                </a:cubicBezTo>
                <a:cubicBezTo>
                  <a:pt x="1495" y="191410"/>
                  <a:pt x="3878" y="155299"/>
                  <a:pt x="3855" y="119190"/>
                </a:cubicBezTo>
                <a:cubicBezTo>
                  <a:pt x="3834" y="83413"/>
                  <a:pt x="1388" y="47637"/>
                  <a:pt x="0" y="11685"/>
                </a:cubicBezTo>
                <a:cubicBezTo>
                  <a:pt x="25514" y="11685"/>
                  <a:pt x="50744" y="11685"/>
                  <a:pt x="77135" y="11670"/>
                </a:cubicBezTo>
                <a:close/>
              </a:path>
            </a:pathLst>
          </a:custGeom>
          <a:solidFill>
            <a:srgbClr val="FDFEFE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99" name="Free-form: Shape 198">
            <a:extLst>
              <a:ext uri="{FF2B5EF4-FFF2-40B4-BE49-F238E27FC236}">
                <a16:creationId xmlns:a16="http://schemas.microsoft.com/office/drawing/2014/main" id="{98939ED8-F611-485B-9FFC-ABF6D773FD4A}"/>
              </a:ext>
            </a:extLst>
          </p:cNvPr>
          <p:cNvSpPr/>
          <p:nvPr/>
        </p:nvSpPr>
        <p:spPr>
          <a:xfrm>
            <a:off x="10729290" y="3977076"/>
            <a:ext cx="176355" cy="229704"/>
          </a:xfrm>
          <a:custGeom>
            <a:avLst/>
            <a:gdLst>
              <a:gd name="csX0" fmla="*/ 104636 w 228422"/>
              <a:gd name="csY0" fmla="*/ 81707 h 270473"/>
              <a:gd name="csX1" fmla="*/ 159689 w 228422"/>
              <a:gd name="csY1" fmla="*/ 83584 h 270473"/>
              <a:gd name="csX2" fmla="*/ 178665 w 228422"/>
              <a:gd name="csY2" fmla="*/ 68119 h 270473"/>
              <a:gd name="csX3" fmla="*/ 186448 w 228422"/>
              <a:gd name="csY3" fmla="*/ 20996 h 270473"/>
              <a:gd name="csX4" fmla="*/ 188779 w 228422"/>
              <a:gd name="csY4" fmla="*/ 7950 h 270473"/>
              <a:gd name="csX5" fmla="*/ 228146 w 228422"/>
              <a:gd name="csY5" fmla="*/ 14593 h 270473"/>
              <a:gd name="csX6" fmla="*/ 228030 w 228422"/>
              <a:gd name="csY6" fmla="*/ 40316 h 270473"/>
              <a:gd name="csX7" fmla="*/ 210907 w 228422"/>
              <a:gd name="csY7" fmla="*/ 157740 h 270473"/>
              <a:gd name="csX8" fmla="*/ 160928 w 228422"/>
              <a:gd name="csY8" fmla="*/ 245220 h 270473"/>
              <a:gd name="csX9" fmla="*/ 144327 w 228422"/>
              <a:gd name="csY9" fmla="*/ 264825 h 270473"/>
              <a:gd name="csX10" fmla="*/ 135745 w 228422"/>
              <a:gd name="csY10" fmla="*/ 270212 h 270473"/>
              <a:gd name="csX11" fmla="*/ 28028 w 228422"/>
              <a:gd name="csY11" fmla="*/ 270451 h 270473"/>
              <a:gd name="csX12" fmla="*/ 24984 w 228422"/>
              <a:gd name="csY12" fmla="*/ 243363 h 270473"/>
              <a:gd name="csX13" fmla="*/ 13372 w 228422"/>
              <a:gd name="csY13" fmla="*/ 172017 h 270473"/>
              <a:gd name="csX14" fmla="*/ 172 w 228422"/>
              <a:gd name="csY14" fmla="*/ 41741 h 270473"/>
              <a:gd name="csX15" fmla="*/ 1991 w 228422"/>
              <a:gd name="csY15" fmla="*/ 9927 h 270473"/>
              <a:gd name="csX16" fmla="*/ 11535 w 228422"/>
              <a:gd name="csY16" fmla="*/ 11 h 270473"/>
              <a:gd name="csX17" fmla="*/ 60320 w 228422"/>
              <a:gd name="csY17" fmla="*/ 4 h 270473"/>
              <a:gd name="csX18" fmla="*/ 63319 w 228422"/>
              <a:gd name="csY18" fmla="*/ 34595 h 270473"/>
              <a:gd name="csX19" fmla="*/ 63995 w 228422"/>
              <a:gd name="csY19" fmla="*/ 65276 h 270473"/>
              <a:gd name="csX20" fmla="*/ 77770 w 228422"/>
              <a:gd name="csY20" fmla="*/ 80309 h 270473"/>
              <a:gd name="csX21" fmla="*/ 104636 w 228422"/>
              <a:gd name="csY21" fmla="*/ 81707 h 27047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</a:cxnLst>
            <a:rect l="l" t="t" r="r" b="b"/>
            <a:pathLst>
              <a:path w="228422" h="270473">
                <a:moveTo>
                  <a:pt x="104636" y="81707"/>
                </a:moveTo>
                <a:cubicBezTo>
                  <a:pt x="123750" y="82425"/>
                  <a:pt x="141717" y="83526"/>
                  <a:pt x="159689" y="83584"/>
                </a:cubicBezTo>
                <a:cubicBezTo>
                  <a:pt x="170998" y="83621"/>
                  <a:pt x="176351" y="79300"/>
                  <a:pt x="178665" y="68119"/>
                </a:cubicBezTo>
                <a:cubicBezTo>
                  <a:pt x="181890" y="52542"/>
                  <a:pt x="183892" y="36712"/>
                  <a:pt x="186448" y="20996"/>
                </a:cubicBezTo>
                <a:cubicBezTo>
                  <a:pt x="187087" y="17068"/>
                  <a:pt x="187844" y="13160"/>
                  <a:pt x="188779" y="7950"/>
                </a:cubicBezTo>
                <a:cubicBezTo>
                  <a:pt x="202480" y="10262"/>
                  <a:pt x="215113" y="12394"/>
                  <a:pt x="228146" y="14593"/>
                </a:cubicBezTo>
                <a:cubicBezTo>
                  <a:pt x="228146" y="24129"/>
                  <a:pt x="228839" y="32299"/>
                  <a:pt x="228030" y="40316"/>
                </a:cubicBezTo>
                <a:cubicBezTo>
                  <a:pt x="224051" y="79707"/>
                  <a:pt x="222678" y="119563"/>
                  <a:pt x="210907" y="157740"/>
                </a:cubicBezTo>
                <a:cubicBezTo>
                  <a:pt x="200806" y="190502"/>
                  <a:pt x="186090" y="220845"/>
                  <a:pt x="160928" y="245220"/>
                </a:cubicBezTo>
                <a:cubicBezTo>
                  <a:pt x="154810" y="251147"/>
                  <a:pt x="150112" y="258517"/>
                  <a:pt x="144327" y="264825"/>
                </a:cubicBezTo>
                <a:cubicBezTo>
                  <a:pt x="142086" y="267268"/>
                  <a:pt x="138659" y="270182"/>
                  <a:pt x="135745" y="270212"/>
                </a:cubicBezTo>
                <a:cubicBezTo>
                  <a:pt x="100181" y="270580"/>
                  <a:pt x="64612" y="270451"/>
                  <a:pt x="28028" y="270451"/>
                </a:cubicBezTo>
                <a:cubicBezTo>
                  <a:pt x="26976" y="260883"/>
                  <a:pt x="26343" y="252066"/>
                  <a:pt x="24984" y="243363"/>
                </a:cubicBezTo>
                <a:cubicBezTo>
                  <a:pt x="21268" y="219557"/>
                  <a:pt x="17119" y="195818"/>
                  <a:pt x="13372" y="172017"/>
                </a:cubicBezTo>
                <a:cubicBezTo>
                  <a:pt x="6574" y="128838"/>
                  <a:pt x="-1265" y="85746"/>
                  <a:pt x="172" y="41741"/>
                </a:cubicBezTo>
                <a:cubicBezTo>
                  <a:pt x="518" y="31127"/>
                  <a:pt x="1719" y="20540"/>
                  <a:pt x="1991" y="9927"/>
                </a:cubicBezTo>
                <a:cubicBezTo>
                  <a:pt x="2163" y="3278"/>
                  <a:pt x="4961" y="19"/>
                  <a:pt x="11535" y="11"/>
                </a:cubicBezTo>
                <a:cubicBezTo>
                  <a:pt x="27370" y="-9"/>
                  <a:pt x="43205" y="4"/>
                  <a:pt x="60320" y="4"/>
                </a:cubicBezTo>
                <a:cubicBezTo>
                  <a:pt x="61401" y="12123"/>
                  <a:pt x="62689" y="23341"/>
                  <a:pt x="63319" y="34595"/>
                </a:cubicBezTo>
                <a:cubicBezTo>
                  <a:pt x="63890" y="44802"/>
                  <a:pt x="63444" y="55066"/>
                  <a:pt x="63995" y="65276"/>
                </a:cubicBezTo>
                <a:cubicBezTo>
                  <a:pt x="64588" y="76246"/>
                  <a:pt x="67011" y="79017"/>
                  <a:pt x="77770" y="80309"/>
                </a:cubicBezTo>
                <a:cubicBezTo>
                  <a:pt x="86275" y="81330"/>
                  <a:pt x="94914" y="81244"/>
                  <a:pt x="104636" y="81707"/>
                </a:cubicBezTo>
                <a:close/>
              </a:path>
            </a:pathLst>
          </a:custGeom>
          <a:solidFill>
            <a:srgbClr val="FDFDFD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0" name="Free-form: Shape 199">
            <a:extLst>
              <a:ext uri="{FF2B5EF4-FFF2-40B4-BE49-F238E27FC236}">
                <a16:creationId xmlns:a16="http://schemas.microsoft.com/office/drawing/2014/main" id="{F53B6D25-ECA1-25D1-F6C3-8A6FB5CAE0D6}"/>
              </a:ext>
            </a:extLst>
          </p:cNvPr>
          <p:cNvSpPr/>
          <p:nvPr/>
        </p:nvSpPr>
        <p:spPr>
          <a:xfrm>
            <a:off x="10739565" y="5123589"/>
            <a:ext cx="268594" cy="68395"/>
          </a:xfrm>
          <a:custGeom>
            <a:avLst/>
            <a:gdLst>
              <a:gd name="csX0" fmla="*/ 135775 w 347893"/>
              <a:gd name="csY0" fmla="*/ 18580 h 80534"/>
              <a:gd name="csX1" fmla="*/ 239717 w 347893"/>
              <a:gd name="csY1" fmla="*/ 11288 h 80534"/>
              <a:gd name="csX2" fmla="*/ 318645 w 347893"/>
              <a:gd name="csY2" fmla="*/ 442 h 80534"/>
              <a:gd name="csX3" fmla="*/ 341767 w 347893"/>
              <a:gd name="csY3" fmla="*/ 13145 h 80534"/>
              <a:gd name="csX4" fmla="*/ 347232 w 347893"/>
              <a:gd name="csY4" fmla="*/ 54621 h 80534"/>
              <a:gd name="csX5" fmla="*/ 0 w 347893"/>
              <a:gd name="csY5" fmla="*/ 75820 h 80534"/>
              <a:gd name="csX6" fmla="*/ 0 w 347893"/>
              <a:gd name="csY6" fmla="*/ 19396 h 80534"/>
              <a:gd name="csX7" fmla="*/ 135775 w 347893"/>
              <a:gd name="csY7" fmla="*/ 18580 h 8053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</a:cxnLst>
            <a:rect l="l" t="t" r="r" b="b"/>
            <a:pathLst>
              <a:path w="347893" h="80534">
                <a:moveTo>
                  <a:pt x="135775" y="18580"/>
                </a:moveTo>
                <a:cubicBezTo>
                  <a:pt x="171209" y="16211"/>
                  <a:pt x="205541" y="14564"/>
                  <a:pt x="239717" y="11288"/>
                </a:cubicBezTo>
                <a:cubicBezTo>
                  <a:pt x="266132" y="8756"/>
                  <a:pt x="292375" y="4350"/>
                  <a:pt x="318645" y="442"/>
                </a:cubicBezTo>
                <a:cubicBezTo>
                  <a:pt x="330480" y="-1319"/>
                  <a:pt x="337947" y="2033"/>
                  <a:pt x="341767" y="13145"/>
                </a:cubicBezTo>
                <a:cubicBezTo>
                  <a:pt x="346279" y="26268"/>
                  <a:pt x="349293" y="39746"/>
                  <a:pt x="347232" y="54621"/>
                </a:cubicBezTo>
                <a:cubicBezTo>
                  <a:pt x="232188" y="77697"/>
                  <a:pt x="116756" y="86979"/>
                  <a:pt x="0" y="75820"/>
                </a:cubicBezTo>
                <a:cubicBezTo>
                  <a:pt x="0" y="56279"/>
                  <a:pt x="0" y="38485"/>
                  <a:pt x="0" y="19396"/>
                </a:cubicBezTo>
                <a:cubicBezTo>
                  <a:pt x="45633" y="19126"/>
                  <a:pt x="90119" y="18862"/>
                  <a:pt x="135775" y="18580"/>
                </a:cubicBezTo>
                <a:close/>
              </a:path>
            </a:pathLst>
          </a:custGeom>
          <a:solidFill>
            <a:srgbClr val="FCFDFD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1" name="Free-form: Shape 200">
            <a:extLst>
              <a:ext uri="{FF2B5EF4-FFF2-40B4-BE49-F238E27FC236}">
                <a16:creationId xmlns:a16="http://schemas.microsoft.com/office/drawing/2014/main" id="{10B50C1B-866D-DD78-7F58-E5ACF7261689}"/>
              </a:ext>
            </a:extLst>
          </p:cNvPr>
          <p:cNvSpPr/>
          <p:nvPr/>
        </p:nvSpPr>
        <p:spPr>
          <a:xfrm>
            <a:off x="10750188" y="4235826"/>
            <a:ext cx="122568" cy="31169"/>
          </a:xfrm>
          <a:custGeom>
            <a:avLst/>
            <a:gdLst>
              <a:gd name="csX0" fmla="*/ 68505 w 158754"/>
              <a:gd name="csY0" fmla="*/ 36702 h 36701"/>
              <a:gd name="csX1" fmla="*/ 1920 w 158754"/>
              <a:gd name="csY1" fmla="*/ 36699 h 36701"/>
              <a:gd name="csX2" fmla="*/ 0 w 158754"/>
              <a:gd name="csY2" fmla="*/ 1592 h 36701"/>
              <a:gd name="csX3" fmla="*/ 11189 w 158754"/>
              <a:gd name="csY3" fmla="*/ 718 h 36701"/>
              <a:gd name="csX4" fmla="*/ 110708 w 158754"/>
              <a:gd name="csY4" fmla="*/ 3 h 36701"/>
              <a:gd name="csX5" fmla="*/ 127993 w 158754"/>
              <a:gd name="csY5" fmla="*/ 4910 h 36701"/>
              <a:gd name="csX6" fmla="*/ 146608 w 158754"/>
              <a:gd name="csY6" fmla="*/ 16808 h 36701"/>
              <a:gd name="csX7" fmla="*/ 158755 w 158754"/>
              <a:gd name="csY7" fmla="*/ 34647 h 36701"/>
              <a:gd name="csX8" fmla="*/ 145911 w 158754"/>
              <a:gd name="csY8" fmla="*/ 36459 h 36701"/>
              <a:gd name="csX9" fmla="*/ 68505 w 158754"/>
              <a:gd name="csY9" fmla="*/ 36702 h 3670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158754" h="36701">
                <a:moveTo>
                  <a:pt x="68505" y="36702"/>
                </a:moveTo>
                <a:cubicBezTo>
                  <a:pt x="45664" y="36699"/>
                  <a:pt x="24052" y="36699"/>
                  <a:pt x="1920" y="36699"/>
                </a:cubicBezTo>
                <a:cubicBezTo>
                  <a:pt x="-935" y="24569"/>
                  <a:pt x="572" y="13631"/>
                  <a:pt x="0" y="1592"/>
                </a:cubicBezTo>
                <a:cubicBezTo>
                  <a:pt x="4169" y="1253"/>
                  <a:pt x="7677" y="744"/>
                  <a:pt x="11189" y="718"/>
                </a:cubicBezTo>
                <a:cubicBezTo>
                  <a:pt x="44362" y="468"/>
                  <a:pt x="77538" y="423"/>
                  <a:pt x="110708" y="3"/>
                </a:cubicBezTo>
                <a:cubicBezTo>
                  <a:pt x="117152" y="-78"/>
                  <a:pt x="122702" y="1282"/>
                  <a:pt x="127993" y="4910"/>
                </a:cubicBezTo>
                <a:cubicBezTo>
                  <a:pt x="134065" y="9072"/>
                  <a:pt x="140615" y="12545"/>
                  <a:pt x="146608" y="16808"/>
                </a:cubicBezTo>
                <a:cubicBezTo>
                  <a:pt x="152239" y="20814"/>
                  <a:pt x="157699" y="25259"/>
                  <a:pt x="158755" y="34647"/>
                </a:cubicBezTo>
                <a:cubicBezTo>
                  <a:pt x="154257" y="35310"/>
                  <a:pt x="150089" y="36424"/>
                  <a:pt x="145911" y="36459"/>
                </a:cubicBezTo>
                <a:cubicBezTo>
                  <a:pt x="120520" y="36677"/>
                  <a:pt x="95126" y="36650"/>
                  <a:pt x="68505" y="36702"/>
                </a:cubicBezTo>
                <a:close/>
              </a:path>
            </a:pathLst>
          </a:custGeom>
          <a:solidFill>
            <a:srgbClr val="FBFCFB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2" name="TextBox 201">
            <a:extLst>
              <a:ext uri="{FF2B5EF4-FFF2-40B4-BE49-F238E27FC236}">
                <a16:creationId xmlns:a16="http://schemas.microsoft.com/office/drawing/2014/main" id="{97CE973B-CE32-739D-1574-0C8219CC7E77}"/>
              </a:ext>
            </a:extLst>
          </p:cNvPr>
          <p:cNvSpPr txBox="1"/>
          <p:nvPr/>
        </p:nvSpPr>
        <p:spPr>
          <a:xfrm>
            <a:off x="10100982" y="5306839"/>
            <a:ext cx="1191781" cy="3927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linical trial</a:t>
            </a:r>
          </a:p>
        </p:txBody>
      </p:sp>
      <p:sp>
        <p:nvSpPr>
          <p:cNvPr id="203" name="TextBox 202">
            <a:extLst>
              <a:ext uri="{FF2B5EF4-FFF2-40B4-BE49-F238E27FC236}">
                <a16:creationId xmlns:a16="http://schemas.microsoft.com/office/drawing/2014/main" id="{D931F6D0-58A5-54DE-47CB-AFDE0BF24D8A}"/>
              </a:ext>
            </a:extLst>
          </p:cNvPr>
          <p:cNvSpPr txBox="1"/>
          <p:nvPr/>
        </p:nvSpPr>
        <p:spPr>
          <a:xfrm>
            <a:off x="546721" y="5337072"/>
            <a:ext cx="1434479" cy="3927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(CAR-T)</a:t>
            </a:r>
          </a:p>
        </p:txBody>
      </p:sp>
      <p:sp>
        <p:nvSpPr>
          <p:cNvPr id="204" name="Oval 203">
            <a:extLst>
              <a:ext uri="{FF2B5EF4-FFF2-40B4-BE49-F238E27FC236}">
                <a16:creationId xmlns:a16="http://schemas.microsoft.com/office/drawing/2014/main" id="{FE91CEC9-FFA5-AB80-B0CF-FB7A6C02AB4B}"/>
              </a:ext>
            </a:extLst>
          </p:cNvPr>
          <p:cNvSpPr/>
          <p:nvPr/>
        </p:nvSpPr>
        <p:spPr>
          <a:xfrm>
            <a:off x="900071" y="5024228"/>
            <a:ext cx="739960" cy="152189"/>
          </a:xfrm>
          <a:prstGeom prst="ellipse">
            <a:avLst/>
          </a:prstGeom>
          <a:solidFill>
            <a:schemeClr val="tx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5" name="Free-form: Shape 204">
            <a:extLst>
              <a:ext uri="{FF2B5EF4-FFF2-40B4-BE49-F238E27FC236}">
                <a16:creationId xmlns:a16="http://schemas.microsoft.com/office/drawing/2014/main" id="{5ECC2E3A-2ED5-2072-4462-EB7AA6893FE3}"/>
              </a:ext>
            </a:extLst>
          </p:cNvPr>
          <p:cNvSpPr/>
          <p:nvPr/>
        </p:nvSpPr>
        <p:spPr>
          <a:xfrm>
            <a:off x="980035" y="3722651"/>
            <a:ext cx="650203" cy="1414846"/>
          </a:xfrm>
          <a:custGeom>
            <a:avLst/>
            <a:gdLst>
              <a:gd name="csX0" fmla="*/ 466852 w 715223"/>
              <a:gd name="csY0" fmla="*/ 229083 h 1556330"/>
              <a:gd name="csX1" fmla="*/ 462328 w 715223"/>
              <a:gd name="csY1" fmla="*/ 242604 h 1556330"/>
              <a:gd name="csX2" fmla="*/ 496944 w 715223"/>
              <a:gd name="csY2" fmla="*/ 204739 h 1556330"/>
              <a:gd name="csX3" fmla="*/ 534359 w 715223"/>
              <a:gd name="csY3" fmla="*/ 270960 h 1556330"/>
              <a:gd name="csX4" fmla="*/ 540589 w 715223"/>
              <a:gd name="csY4" fmla="*/ 445986 h 1556330"/>
              <a:gd name="csX5" fmla="*/ 509727 w 715223"/>
              <a:gd name="csY5" fmla="*/ 496924 h 1556330"/>
              <a:gd name="csX6" fmla="*/ 505366 w 715223"/>
              <a:gd name="csY6" fmla="*/ 511893 h 1556330"/>
              <a:gd name="csX7" fmla="*/ 501982 w 715223"/>
              <a:gd name="csY7" fmla="*/ 530377 h 1556330"/>
              <a:gd name="csX8" fmla="*/ 505678 w 715223"/>
              <a:gd name="csY8" fmla="*/ 556455 h 1556330"/>
              <a:gd name="csX9" fmla="*/ 526115 w 715223"/>
              <a:gd name="csY9" fmla="*/ 591784 h 1556330"/>
              <a:gd name="csX10" fmla="*/ 541579 w 715223"/>
              <a:gd name="csY10" fmla="*/ 612264 h 1556330"/>
              <a:gd name="csX11" fmla="*/ 569572 w 715223"/>
              <a:gd name="csY11" fmla="*/ 643441 h 1556330"/>
              <a:gd name="csX12" fmla="*/ 555234 w 715223"/>
              <a:gd name="csY12" fmla="*/ 688473 h 1556330"/>
              <a:gd name="csX13" fmla="*/ 513278 w 715223"/>
              <a:gd name="csY13" fmla="*/ 700556 h 1556330"/>
              <a:gd name="csX14" fmla="*/ 488559 w 715223"/>
              <a:gd name="csY14" fmla="*/ 702821 h 1556330"/>
              <a:gd name="csX15" fmla="*/ 488544 w 715223"/>
              <a:gd name="csY15" fmla="*/ 718085 h 1556330"/>
              <a:gd name="csX16" fmla="*/ 526561 w 715223"/>
              <a:gd name="csY16" fmla="*/ 1010212 h 1556330"/>
              <a:gd name="csX17" fmla="*/ 569986 w 715223"/>
              <a:gd name="csY17" fmla="*/ 1153317 h 1556330"/>
              <a:gd name="csX18" fmla="*/ 587389 w 715223"/>
              <a:gd name="csY18" fmla="*/ 1172173 h 1556330"/>
              <a:gd name="csX19" fmla="*/ 606286 w 715223"/>
              <a:gd name="csY19" fmla="*/ 1180891 h 1556330"/>
              <a:gd name="csX20" fmla="*/ 613400 w 715223"/>
              <a:gd name="csY20" fmla="*/ 1204260 h 1556330"/>
              <a:gd name="csX21" fmla="*/ 605350 w 715223"/>
              <a:gd name="csY21" fmla="*/ 1216760 h 1556330"/>
              <a:gd name="csX22" fmla="*/ 600268 w 715223"/>
              <a:gd name="csY22" fmla="*/ 1220273 h 1556330"/>
              <a:gd name="csX23" fmla="*/ 610574 w 715223"/>
              <a:gd name="csY23" fmla="*/ 1258750 h 1556330"/>
              <a:gd name="csX24" fmla="*/ 672371 w 715223"/>
              <a:gd name="csY24" fmla="*/ 1319810 h 1556330"/>
              <a:gd name="csX25" fmla="*/ 675494 w 715223"/>
              <a:gd name="csY25" fmla="*/ 1323366 h 1556330"/>
              <a:gd name="csX26" fmla="*/ 692949 w 715223"/>
              <a:gd name="csY26" fmla="*/ 1396068 h 1556330"/>
              <a:gd name="csX27" fmla="*/ 690628 w 715223"/>
              <a:gd name="csY27" fmla="*/ 1414117 h 1556330"/>
              <a:gd name="csX28" fmla="*/ 695588 w 715223"/>
              <a:gd name="csY28" fmla="*/ 1421035 h 1556330"/>
              <a:gd name="csX29" fmla="*/ 694353 w 715223"/>
              <a:gd name="csY29" fmla="*/ 1425190 h 1556330"/>
              <a:gd name="csX30" fmla="*/ 689106 w 715223"/>
              <a:gd name="csY30" fmla="*/ 1428714 h 1556330"/>
              <a:gd name="csX31" fmla="*/ 695093 w 715223"/>
              <a:gd name="csY31" fmla="*/ 1428433 h 1556330"/>
              <a:gd name="csX32" fmla="*/ 697643 w 715223"/>
              <a:gd name="csY32" fmla="*/ 1432864 h 1556330"/>
              <a:gd name="csX33" fmla="*/ 698207 w 715223"/>
              <a:gd name="csY33" fmla="*/ 1441988 h 1556330"/>
              <a:gd name="csX34" fmla="*/ 715183 w 715223"/>
              <a:gd name="csY34" fmla="*/ 1508752 h 1556330"/>
              <a:gd name="csX35" fmla="*/ 701540 w 715223"/>
              <a:gd name="csY35" fmla="*/ 1526524 h 1556330"/>
              <a:gd name="csX36" fmla="*/ 581715 w 715223"/>
              <a:gd name="csY36" fmla="*/ 1548559 h 1556330"/>
              <a:gd name="csX37" fmla="*/ 522168 w 715223"/>
              <a:gd name="csY37" fmla="*/ 1553543 h 1556330"/>
              <a:gd name="csX38" fmla="*/ 450008 w 715223"/>
              <a:gd name="csY38" fmla="*/ 1556019 h 1556330"/>
              <a:gd name="csX39" fmla="*/ 245169 w 715223"/>
              <a:gd name="csY39" fmla="*/ 1553749 h 1556330"/>
              <a:gd name="csX40" fmla="*/ 221854 w 715223"/>
              <a:gd name="csY40" fmla="*/ 1553306 h 1556330"/>
              <a:gd name="csX41" fmla="*/ 168405 w 715223"/>
              <a:gd name="csY41" fmla="*/ 1548828 h 1556330"/>
              <a:gd name="csX42" fmla="*/ 126970 w 715223"/>
              <a:gd name="csY42" fmla="*/ 1546091 h 1556330"/>
              <a:gd name="csX43" fmla="*/ 104053 w 715223"/>
              <a:gd name="csY43" fmla="*/ 1542912 h 1556330"/>
              <a:gd name="csX44" fmla="*/ 65625 w 715223"/>
              <a:gd name="csY44" fmla="*/ 1536401 h 1556330"/>
              <a:gd name="csX45" fmla="*/ 10909 w 715223"/>
              <a:gd name="csY45" fmla="*/ 1524010 h 1556330"/>
              <a:gd name="csX46" fmla="*/ 8 w 715223"/>
              <a:gd name="csY46" fmla="*/ 1509263 h 1556330"/>
              <a:gd name="csX47" fmla="*/ 21158 w 715223"/>
              <a:gd name="csY47" fmla="*/ 1433611 h 1556330"/>
              <a:gd name="csX48" fmla="*/ 23462 w 715223"/>
              <a:gd name="csY48" fmla="*/ 1418658 h 1556330"/>
              <a:gd name="csX49" fmla="*/ 19643 w 715223"/>
              <a:gd name="csY49" fmla="*/ 1382324 h 1556330"/>
              <a:gd name="csX50" fmla="*/ 49060 w 715223"/>
              <a:gd name="csY50" fmla="*/ 1311832 h 1556330"/>
              <a:gd name="csX51" fmla="*/ 109176 w 715223"/>
              <a:gd name="csY51" fmla="*/ 1254078 h 1556330"/>
              <a:gd name="csX52" fmla="*/ 118319 w 715223"/>
              <a:gd name="csY52" fmla="*/ 1214801 h 1556330"/>
              <a:gd name="csX53" fmla="*/ 113082 w 715223"/>
              <a:gd name="csY53" fmla="*/ 1201084 h 1556330"/>
              <a:gd name="csX54" fmla="*/ 120417 w 715223"/>
              <a:gd name="csY54" fmla="*/ 1183950 h 1556330"/>
              <a:gd name="csX55" fmla="*/ 135209 w 715223"/>
              <a:gd name="csY55" fmla="*/ 1178138 h 1556330"/>
              <a:gd name="csX56" fmla="*/ 156535 w 715223"/>
              <a:gd name="csY56" fmla="*/ 1156396 h 1556330"/>
              <a:gd name="csX57" fmla="*/ 185647 w 715223"/>
              <a:gd name="csY57" fmla="*/ 1061682 h 1556330"/>
              <a:gd name="csX58" fmla="*/ 201074 w 715223"/>
              <a:gd name="csY58" fmla="*/ 1005093 h 1556330"/>
              <a:gd name="csX59" fmla="*/ 213864 w 715223"/>
              <a:gd name="csY59" fmla="*/ 943040 h 1556330"/>
              <a:gd name="csX60" fmla="*/ 223580 w 715223"/>
              <a:gd name="csY60" fmla="*/ 884167 h 1556330"/>
              <a:gd name="csX61" fmla="*/ 228827 w 715223"/>
              <a:gd name="csY61" fmla="*/ 839382 h 1556330"/>
              <a:gd name="csX62" fmla="*/ 233251 w 715223"/>
              <a:gd name="csY62" fmla="*/ 794539 h 1556330"/>
              <a:gd name="csX63" fmla="*/ 233413 w 715223"/>
              <a:gd name="csY63" fmla="*/ 708554 h 1556330"/>
              <a:gd name="csX64" fmla="*/ 232253 w 715223"/>
              <a:gd name="csY64" fmla="*/ 699181 h 1556330"/>
              <a:gd name="csX65" fmla="*/ 192775 w 715223"/>
              <a:gd name="csY65" fmla="*/ 693131 h 1556330"/>
              <a:gd name="csX66" fmla="*/ 166222 w 715223"/>
              <a:gd name="csY66" fmla="*/ 684229 h 1556330"/>
              <a:gd name="csX67" fmla="*/ 153485 w 715223"/>
              <a:gd name="csY67" fmla="*/ 649704 h 1556330"/>
              <a:gd name="csX68" fmla="*/ 179302 w 715223"/>
              <a:gd name="csY68" fmla="*/ 621006 h 1556330"/>
              <a:gd name="csX69" fmla="*/ 192182 w 715223"/>
              <a:gd name="csY69" fmla="*/ 601675 h 1556330"/>
              <a:gd name="csX70" fmla="*/ 204894 w 715223"/>
              <a:gd name="csY70" fmla="*/ 583417 h 1556330"/>
              <a:gd name="csX71" fmla="*/ 233213 w 715223"/>
              <a:gd name="csY71" fmla="*/ 564393 h 1556330"/>
              <a:gd name="csX72" fmla="*/ 229725 w 715223"/>
              <a:gd name="csY72" fmla="*/ 538177 h 1556330"/>
              <a:gd name="csX73" fmla="*/ 218771 w 715223"/>
              <a:gd name="csY73" fmla="*/ 532633 h 1556330"/>
              <a:gd name="csX74" fmla="*/ 215183 w 715223"/>
              <a:gd name="csY74" fmla="*/ 521568 h 1556330"/>
              <a:gd name="csX75" fmla="*/ 223368 w 715223"/>
              <a:gd name="csY75" fmla="*/ 508901 h 1556330"/>
              <a:gd name="csX76" fmla="*/ 218372 w 715223"/>
              <a:gd name="csY76" fmla="*/ 498135 h 1556330"/>
              <a:gd name="csX77" fmla="*/ 181440 w 715223"/>
              <a:gd name="csY77" fmla="*/ 432308 h 1556330"/>
              <a:gd name="csX78" fmla="*/ 167535 w 715223"/>
              <a:gd name="csY78" fmla="*/ 349841 h 1556330"/>
              <a:gd name="csX79" fmla="*/ 193488 w 715223"/>
              <a:gd name="csY79" fmla="*/ 262518 h 1556330"/>
              <a:gd name="csX80" fmla="*/ 237748 w 715223"/>
              <a:gd name="csY80" fmla="*/ 190690 h 1556330"/>
              <a:gd name="csX81" fmla="*/ 309459 w 715223"/>
              <a:gd name="csY81" fmla="*/ 102623 h 1556330"/>
              <a:gd name="csX82" fmla="*/ 310459 w 715223"/>
              <a:gd name="csY82" fmla="*/ 78521 h 1556330"/>
              <a:gd name="csX83" fmla="*/ 300267 w 715223"/>
              <a:gd name="csY83" fmla="*/ 57856 h 1556330"/>
              <a:gd name="csX84" fmla="*/ 332242 w 715223"/>
              <a:gd name="csY84" fmla="*/ 4422 h 1556330"/>
              <a:gd name="csX85" fmla="*/ 384904 w 715223"/>
              <a:gd name="csY85" fmla="*/ 5551 h 1556330"/>
              <a:gd name="csX86" fmla="*/ 409773 w 715223"/>
              <a:gd name="csY86" fmla="*/ 26778 h 1556330"/>
              <a:gd name="csX87" fmla="*/ 407026 w 715223"/>
              <a:gd name="csY87" fmla="*/ 46052 h 1556330"/>
              <a:gd name="csX88" fmla="*/ 402771 w 715223"/>
              <a:gd name="csY88" fmla="*/ 30951 h 1556330"/>
              <a:gd name="csX89" fmla="*/ 397038 w 715223"/>
              <a:gd name="csY89" fmla="*/ 30361 h 1556330"/>
              <a:gd name="csX90" fmla="*/ 360694 w 715223"/>
              <a:gd name="csY90" fmla="*/ 22760 h 1556330"/>
              <a:gd name="csX91" fmla="*/ 351669 w 715223"/>
              <a:gd name="csY91" fmla="*/ 31736 h 1556330"/>
              <a:gd name="csX92" fmla="*/ 351426 w 715223"/>
              <a:gd name="csY92" fmla="*/ 43987 h 1556330"/>
              <a:gd name="csX93" fmla="*/ 390968 w 715223"/>
              <a:gd name="csY93" fmla="*/ 68762 h 1556330"/>
              <a:gd name="csX94" fmla="*/ 401770 w 715223"/>
              <a:gd name="csY94" fmla="*/ 59025 h 1556330"/>
              <a:gd name="csX95" fmla="*/ 409619 w 715223"/>
              <a:gd name="csY95" fmla="*/ 55786 h 1556330"/>
              <a:gd name="csX96" fmla="*/ 410427 w 715223"/>
              <a:gd name="csY96" fmla="*/ 64256 h 1556330"/>
              <a:gd name="csX97" fmla="*/ 399453 w 715223"/>
              <a:gd name="csY97" fmla="*/ 81811 h 1556330"/>
              <a:gd name="csX98" fmla="*/ 399346 w 715223"/>
              <a:gd name="csY98" fmla="*/ 98083 h 1556330"/>
              <a:gd name="csX99" fmla="*/ 471592 w 715223"/>
              <a:gd name="csY99" fmla="*/ 180524 h 1556330"/>
              <a:gd name="csX100" fmla="*/ 473550 w 715223"/>
              <a:gd name="csY100" fmla="*/ 200923 h 1556330"/>
              <a:gd name="csX101" fmla="*/ 463677 w 715223"/>
              <a:gd name="csY101" fmla="*/ 223311 h 1556330"/>
              <a:gd name="csX102" fmla="*/ 466852 w 715223"/>
              <a:gd name="csY102" fmla="*/ 229083 h 1556330"/>
              <a:gd name="csX103" fmla="*/ 474186 w 715223"/>
              <a:gd name="csY103" fmla="*/ 928382 h 1556330"/>
              <a:gd name="csX104" fmla="*/ 459927 w 715223"/>
              <a:gd name="csY104" fmla="*/ 817790 h 1556330"/>
              <a:gd name="csX105" fmla="*/ 456025 w 715223"/>
              <a:gd name="csY105" fmla="*/ 706469 h 1556330"/>
              <a:gd name="csX106" fmla="*/ 366863 w 715223"/>
              <a:gd name="csY106" fmla="*/ 710754 h 1556330"/>
              <a:gd name="csX107" fmla="*/ 366159 w 715223"/>
              <a:gd name="csY107" fmla="*/ 719219 h 1556330"/>
              <a:gd name="csX108" fmla="*/ 364159 w 715223"/>
              <a:gd name="csY108" fmla="*/ 834581 h 1556330"/>
              <a:gd name="csX109" fmla="*/ 361633 w 715223"/>
              <a:gd name="csY109" fmla="*/ 940117 h 1556330"/>
              <a:gd name="csX110" fmla="*/ 358313 w 715223"/>
              <a:gd name="csY110" fmla="*/ 1053005 h 1556330"/>
              <a:gd name="csX111" fmla="*/ 358081 w 715223"/>
              <a:gd name="csY111" fmla="*/ 1057912 h 1556330"/>
              <a:gd name="csX112" fmla="*/ 353706 w 715223"/>
              <a:gd name="csY112" fmla="*/ 1164570 h 1556330"/>
              <a:gd name="csX113" fmla="*/ 354951 w 715223"/>
              <a:gd name="csY113" fmla="*/ 1172547 h 1556330"/>
              <a:gd name="csX114" fmla="*/ 540959 w 715223"/>
              <a:gd name="csY114" fmla="*/ 1175972 h 1556330"/>
              <a:gd name="csX115" fmla="*/ 474186 w 715223"/>
              <a:gd name="csY115" fmla="*/ 928382 h 1556330"/>
              <a:gd name="csX116" fmla="*/ 513768 w 715223"/>
              <a:gd name="csY116" fmla="*/ 1417676 h 1556330"/>
              <a:gd name="csX117" fmla="*/ 519822 w 715223"/>
              <a:gd name="csY117" fmla="*/ 1416700 h 1556330"/>
              <a:gd name="csX118" fmla="*/ 632041 w 715223"/>
              <a:gd name="csY118" fmla="*/ 1406122 h 1556330"/>
              <a:gd name="csX119" fmla="*/ 665040 w 715223"/>
              <a:gd name="csY119" fmla="*/ 1400634 h 1556330"/>
              <a:gd name="csX120" fmla="*/ 665677 w 715223"/>
              <a:gd name="csY120" fmla="*/ 1396126 h 1556330"/>
              <a:gd name="csX121" fmla="*/ 665529 w 715223"/>
              <a:gd name="csY121" fmla="*/ 1389994 h 1556330"/>
              <a:gd name="csX122" fmla="*/ 623046 w 715223"/>
              <a:gd name="csY122" fmla="*/ 1306238 h 1556330"/>
              <a:gd name="csX123" fmla="*/ 596015 w 715223"/>
              <a:gd name="csY123" fmla="*/ 1281285 h 1556330"/>
              <a:gd name="csX124" fmla="*/ 567683 w 715223"/>
              <a:gd name="csY124" fmla="*/ 1220059 h 1556330"/>
              <a:gd name="csX125" fmla="*/ 540273 w 715223"/>
              <a:gd name="csY125" fmla="*/ 1220129 h 1556330"/>
              <a:gd name="csX126" fmla="*/ 424010 w 715223"/>
              <a:gd name="csY126" fmla="*/ 1226781 h 1556330"/>
              <a:gd name="csX127" fmla="*/ 357832 w 715223"/>
              <a:gd name="csY127" fmla="*/ 1229178 h 1556330"/>
              <a:gd name="csX128" fmla="*/ 352386 w 715223"/>
              <a:gd name="csY128" fmla="*/ 1230616 h 1556330"/>
              <a:gd name="csX129" fmla="*/ 355852 w 715223"/>
              <a:gd name="csY129" fmla="*/ 1324222 h 1556330"/>
              <a:gd name="csX130" fmla="*/ 352930 w 715223"/>
              <a:gd name="csY130" fmla="*/ 1417867 h 1556330"/>
              <a:gd name="csX131" fmla="*/ 513768 w 715223"/>
              <a:gd name="csY131" fmla="*/ 1417676 h 1556330"/>
              <a:gd name="csX132" fmla="*/ 387930 w 715223"/>
              <a:gd name="csY132" fmla="*/ 499741 h 1556330"/>
              <a:gd name="csX133" fmla="*/ 456529 w 715223"/>
              <a:gd name="csY133" fmla="*/ 496826 h 1556330"/>
              <a:gd name="csX134" fmla="*/ 482355 w 715223"/>
              <a:gd name="csY134" fmla="*/ 485095 h 1556330"/>
              <a:gd name="csX135" fmla="*/ 528016 w 715223"/>
              <a:gd name="csY135" fmla="*/ 374829 h 1556330"/>
              <a:gd name="csX136" fmla="*/ 501375 w 715223"/>
              <a:gd name="csY136" fmla="*/ 261643 h 1556330"/>
              <a:gd name="csX137" fmla="*/ 493534 w 715223"/>
              <a:gd name="csY137" fmla="*/ 249818 h 1556330"/>
              <a:gd name="csX138" fmla="*/ 485920 w 715223"/>
              <a:gd name="csY138" fmla="*/ 260010 h 1556330"/>
              <a:gd name="csX139" fmla="*/ 453305 w 715223"/>
              <a:gd name="csY139" fmla="*/ 310523 h 1556330"/>
              <a:gd name="csX140" fmla="*/ 433678 w 715223"/>
              <a:gd name="csY140" fmla="*/ 338672 h 1556330"/>
              <a:gd name="csX141" fmla="*/ 403713 w 715223"/>
              <a:gd name="csY141" fmla="*/ 343710 h 1556330"/>
              <a:gd name="csX142" fmla="*/ 396427 w 715223"/>
              <a:gd name="csY142" fmla="*/ 315612 h 1556330"/>
              <a:gd name="csX143" fmla="*/ 399663 w 715223"/>
              <a:gd name="csY143" fmla="*/ 309000 h 1556330"/>
              <a:gd name="csX144" fmla="*/ 452097 w 715223"/>
              <a:gd name="csY144" fmla="*/ 200770 h 1556330"/>
              <a:gd name="csX145" fmla="*/ 450118 w 715223"/>
              <a:gd name="csY145" fmla="*/ 180596 h 1556330"/>
              <a:gd name="csX146" fmla="*/ 376545 w 715223"/>
              <a:gd name="csY146" fmla="*/ 105525 h 1556330"/>
              <a:gd name="csX147" fmla="*/ 368791 w 715223"/>
              <a:gd name="csY147" fmla="*/ 101653 h 1556330"/>
              <a:gd name="csX148" fmla="*/ 366449 w 715223"/>
              <a:gd name="csY148" fmla="*/ 144676 h 1556330"/>
              <a:gd name="csX149" fmla="*/ 365447 w 715223"/>
              <a:gd name="csY149" fmla="*/ 183946 h 1556330"/>
              <a:gd name="csX150" fmla="*/ 364738 w 715223"/>
              <a:gd name="csY150" fmla="*/ 298022 h 1556330"/>
              <a:gd name="csX151" fmla="*/ 373865 w 715223"/>
              <a:gd name="csY151" fmla="*/ 430096 h 1556330"/>
              <a:gd name="csX152" fmla="*/ 381088 w 715223"/>
              <a:gd name="csY152" fmla="*/ 492169 h 1556330"/>
              <a:gd name="csX153" fmla="*/ 387930 w 715223"/>
              <a:gd name="csY153" fmla="*/ 499741 h 1556330"/>
              <a:gd name="csX154" fmla="*/ 455850 w 715223"/>
              <a:gd name="csY154" fmla="*/ 1521476 h 1556330"/>
              <a:gd name="csX155" fmla="*/ 685121 w 715223"/>
              <a:gd name="csY155" fmla="*/ 1496509 h 1556330"/>
              <a:gd name="csX156" fmla="*/ 672999 w 715223"/>
              <a:gd name="csY156" fmla="*/ 1456665 h 1556330"/>
              <a:gd name="csX157" fmla="*/ 660009 w 715223"/>
              <a:gd name="csY157" fmla="*/ 1450249 h 1556330"/>
              <a:gd name="csX158" fmla="*/ 633248 w 715223"/>
              <a:gd name="csY158" fmla="*/ 1453589 h 1556330"/>
              <a:gd name="csX159" fmla="*/ 451131 w 715223"/>
              <a:gd name="csY159" fmla="*/ 1467458 h 1556330"/>
              <a:gd name="csX160" fmla="*/ 362719 w 715223"/>
              <a:gd name="csY160" fmla="*/ 1467934 h 1556330"/>
              <a:gd name="csX161" fmla="*/ 349983 w 715223"/>
              <a:gd name="csY161" fmla="*/ 1467936 h 1556330"/>
              <a:gd name="csX162" fmla="*/ 352220 w 715223"/>
              <a:gd name="csY162" fmla="*/ 1519140 h 1556330"/>
              <a:gd name="csX163" fmla="*/ 455850 w 715223"/>
              <a:gd name="csY163" fmla="*/ 1521476 h 1556330"/>
              <a:gd name="csX164" fmla="*/ 368682 w 715223"/>
              <a:gd name="csY164" fmla="*/ 544846 h 1556330"/>
              <a:gd name="csX165" fmla="*/ 363600 w 715223"/>
              <a:gd name="csY165" fmla="*/ 605633 h 1556330"/>
              <a:gd name="csX166" fmla="*/ 496351 w 715223"/>
              <a:gd name="csY166" fmla="*/ 601466 h 1556330"/>
              <a:gd name="csX167" fmla="*/ 485068 w 715223"/>
              <a:gd name="csY167" fmla="*/ 579288 h 1556330"/>
              <a:gd name="csX168" fmla="*/ 466524 w 715223"/>
              <a:gd name="csY168" fmla="*/ 541026 h 1556330"/>
              <a:gd name="csX169" fmla="*/ 465000 w 715223"/>
              <a:gd name="csY169" fmla="*/ 536289 h 1556330"/>
              <a:gd name="csX170" fmla="*/ 451328 w 715223"/>
              <a:gd name="csY170" fmla="*/ 536316 h 1556330"/>
              <a:gd name="csX171" fmla="*/ 390140 w 715223"/>
              <a:gd name="csY171" fmla="*/ 538979 h 1556330"/>
              <a:gd name="csX172" fmla="*/ 374215 w 715223"/>
              <a:gd name="csY172" fmla="*/ 539303 h 1556330"/>
              <a:gd name="csX173" fmla="*/ 368682 w 715223"/>
              <a:gd name="csY173" fmla="*/ 544846 h 1556330"/>
              <a:gd name="csX174" fmla="*/ 453915 w 715223"/>
              <a:gd name="csY174" fmla="*/ 635267 h 1556330"/>
              <a:gd name="csX175" fmla="*/ 374200 w 715223"/>
              <a:gd name="csY175" fmla="*/ 639402 h 1556330"/>
              <a:gd name="csX176" fmla="*/ 374200 w 715223"/>
              <a:gd name="csY176" fmla="*/ 673206 h 1556330"/>
              <a:gd name="csX177" fmla="*/ 386639 w 715223"/>
              <a:gd name="csY177" fmla="*/ 673718 h 1556330"/>
              <a:gd name="csX178" fmla="*/ 521198 w 715223"/>
              <a:gd name="csY178" fmla="*/ 668541 h 1556330"/>
              <a:gd name="csX179" fmla="*/ 534198 w 715223"/>
              <a:gd name="csY179" fmla="*/ 665521 h 1556330"/>
              <a:gd name="csX180" fmla="*/ 538413 w 715223"/>
              <a:gd name="csY180" fmla="*/ 652526 h 1556330"/>
              <a:gd name="csX181" fmla="*/ 529377 w 715223"/>
              <a:gd name="csY181" fmla="*/ 642895 h 1556330"/>
              <a:gd name="csX182" fmla="*/ 502829 w 715223"/>
              <a:gd name="csY182" fmla="*/ 634808 h 1556330"/>
              <a:gd name="csX183" fmla="*/ 453915 w 715223"/>
              <a:gd name="csY183" fmla="*/ 635267 h 155633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  <a:cxn ang="0">
                <a:pos x="csX170" y="csY170"/>
              </a:cxn>
              <a:cxn ang="0">
                <a:pos x="csX171" y="csY171"/>
              </a:cxn>
              <a:cxn ang="0">
                <a:pos x="csX172" y="csY172"/>
              </a:cxn>
              <a:cxn ang="0">
                <a:pos x="csX173" y="csY173"/>
              </a:cxn>
              <a:cxn ang="0">
                <a:pos x="csX174" y="csY174"/>
              </a:cxn>
              <a:cxn ang="0">
                <a:pos x="csX175" y="csY175"/>
              </a:cxn>
              <a:cxn ang="0">
                <a:pos x="csX176" y="csY176"/>
              </a:cxn>
              <a:cxn ang="0">
                <a:pos x="csX177" y="csY177"/>
              </a:cxn>
              <a:cxn ang="0">
                <a:pos x="csX178" y="csY178"/>
              </a:cxn>
              <a:cxn ang="0">
                <a:pos x="csX179" y="csY179"/>
              </a:cxn>
              <a:cxn ang="0">
                <a:pos x="csX180" y="csY180"/>
              </a:cxn>
              <a:cxn ang="0">
                <a:pos x="csX181" y="csY181"/>
              </a:cxn>
              <a:cxn ang="0">
                <a:pos x="csX182" y="csY182"/>
              </a:cxn>
              <a:cxn ang="0">
                <a:pos x="csX183" y="csY183"/>
              </a:cxn>
            </a:cxnLst>
            <a:rect l="l" t="t" r="r" b="b"/>
            <a:pathLst>
              <a:path w="715223" h="1556330">
                <a:moveTo>
                  <a:pt x="466852" y="229083"/>
                </a:moveTo>
                <a:cubicBezTo>
                  <a:pt x="465344" y="233590"/>
                  <a:pt x="463836" y="238097"/>
                  <a:pt x="462328" y="242604"/>
                </a:cubicBezTo>
                <a:cubicBezTo>
                  <a:pt x="476604" y="232528"/>
                  <a:pt x="484219" y="216936"/>
                  <a:pt x="496944" y="204739"/>
                </a:cubicBezTo>
                <a:cubicBezTo>
                  <a:pt x="511903" y="225901"/>
                  <a:pt x="524807" y="247414"/>
                  <a:pt x="534359" y="270960"/>
                </a:cubicBezTo>
                <a:cubicBezTo>
                  <a:pt x="557740" y="328591"/>
                  <a:pt x="560223" y="386926"/>
                  <a:pt x="540589" y="445986"/>
                </a:cubicBezTo>
                <a:cubicBezTo>
                  <a:pt x="534197" y="465215"/>
                  <a:pt x="524450" y="482672"/>
                  <a:pt x="509727" y="496924"/>
                </a:cubicBezTo>
                <a:cubicBezTo>
                  <a:pt x="505277" y="501232"/>
                  <a:pt x="502734" y="505157"/>
                  <a:pt x="505366" y="511893"/>
                </a:cubicBezTo>
                <a:cubicBezTo>
                  <a:pt x="507828" y="518196"/>
                  <a:pt x="505953" y="524402"/>
                  <a:pt x="501982" y="530377"/>
                </a:cubicBezTo>
                <a:cubicBezTo>
                  <a:pt x="495613" y="539961"/>
                  <a:pt x="496865" y="548901"/>
                  <a:pt x="505678" y="556455"/>
                </a:cubicBezTo>
                <a:cubicBezTo>
                  <a:pt x="516748" y="565943"/>
                  <a:pt x="523694" y="577557"/>
                  <a:pt x="526115" y="591784"/>
                </a:cubicBezTo>
                <a:cubicBezTo>
                  <a:pt x="527758" y="601445"/>
                  <a:pt x="532593" y="608029"/>
                  <a:pt x="541579" y="612264"/>
                </a:cubicBezTo>
                <a:cubicBezTo>
                  <a:pt x="555150" y="618662"/>
                  <a:pt x="564081" y="629523"/>
                  <a:pt x="569572" y="643441"/>
                </a:cubicBezTo>
                <a:cubicBezTo>
                  <a:pt x="576413" y="660776"/>
                  <a:pt x="570996" y="678245"/>
                  <a:pt x="555234" y="688473"/>
                </a:cubicBezTo>
                <a:cubicBezTo>
                  <a:pt x="542486" y="696746"/>
                  <a:pt x="528127" y="699474"/>
                  <a:pt x="513278" y="700556"/>
                </a:cubicBezTo>
                <a:cubicBezTo>
                  <a:pt x="505590" y="701115"/>
                  <a:pt x="497922" y="701952"/>
                  <a:pt x="488559" y="702821"/>
                </a:cubicBezTo>
                <a:cubicBezTo>
                  <a:pt x="488559" y="708552"/>
                  <a:pt x="488653" y="713320"/>
                  <a:pt x="488544" y="718085"/>
                </a:cubicBezTo>
                <a:cubicBezTo>
                  <a:pt x="486284" y="817406"/>
                  <a:pt x="502313" y="914319"/>
                  <a:pt x="526561" y="1010212"/>
                </a:cubicBezTo>
                <a:cubicBezTo>
                  <a:pt x="538799" y="1058612"/>
                  <a:pt x="553050" y="1106345"/>
                  <a:pt x="569986" y="1153317"/>
                </a:cubicBezTo>
                <a:cubicBezTo>
                  <a:pt x="573328" y="1162590"/>
                  <a:pt x="578279" y="1168740"/>
                  <a:pt x="587389" y="1172173"/>
                </a:cubicBezTo>
                <a:cubicBezTo>
                  <a:pt x="593869" y="1174616"/>
                  <a:pt x="600289" y="1177449"/>
                  <a:pt x="606286" y="1180891"/>
                </a:cubicBezTo>
                <a:cubicBezTo>
                  <a:pt x="617185" y="1187146"/>
                  <a:pt x="618776" y="1192931"/>
                  <a:pt x="613400" y="1204260"/>
                </a:cubicBezTo>
                <a:cubicBezTo>
                  <a:pt x="611475" y="1208315"/>
                  <a:pt x="609140" y="1212177"/>
                  <a:pt x="605350" y="1216760"/>
                </a:cubicBezTo>
                <a:cubicBezTo>
                  <a:pt x="602514" y="1218347"/>
                  <a:pt x="600399" y="1219189"/>
                  <a:pt x="600268" y="1220273"/>
                </a:cubicBezTo>
                <a:cubicBezTo>
                  <a:pt x="598551" y="1234430"/>
                  <a:pt x="599473" y="1247881"/>
                  <a:pt x="610574" y="1258750"/>
                </a:cubicBezTo>
                <a:cubicBezTo>
                  <a:pt x="631265" y="1279009"/>
                  <a:pt x="651790" y="1299438"/>
                  <a:pt x="672371" y="1319810"/>
                </a:cubicBezTo>
                <a:cubicBezTo>
                  <a:pt x="673495" y="1320922"/>
                  <a:pt x="674892" y="1321987"/>
                  <a:pt x="675494" y="1323366"/>
                </a:cubicBezTo>
                <a:cubicBezTo>
                  <a:pt x="685626" y="1346558"/>
                  <a:pt x="694775" y="1370031"/>
                  <a:pt x="692949" y="1396068"/>
                </a:cubicBezTo>
                <a:cubicBezTo>
                  <a:pt x="692525" y="1402108"/>
                  <a:pt x="691276" y="1408087"/>
                  <a:pt x="690628" y="1414117"/>
                </a:cubicBezTo>
                <a:cubicBezTo>
                  <a:pt x="690241" y="1417713"/>
                  <a:pt x="691290" y="1420628"/>
                  <a:pt x="695588" y="1421035"/>
                </a:cubicBezTo>
                <a:cubicBezTo>
                  <a:pt x="695527" y="1422155"/>
                  <a:pt x="695467" y="1423274"/>
                  <a:pt x="694353" y="1425190"/>
                </a:cubicBezTo>
                <a:cubicBezTo>
                  <a:pt x="691901" y="1426894"/>
                  <a:pt x="690503" y="1427804"/>
                  <a:pt x="689106" y="1428714"/>
                </a:cubicBezTo>
                <a:cubicBezTo>
                  <a:pt x="691101" y="1428620"/>
                  <a:pt x="693098" y="1428527"/>
                  <a:pt x="695093" y="1428433"/>
                </a:cubicBezTo>
                <a:cubicBezTo>
                  <a:pt x="695976" y="1429430"/>
                  <a:pt x="696859" y="1430427"/>
                  <a:pt x="697643" y="1432864"/>
                </a:cubicBezTo>
                <a:cubicBezTo>
                  <a:pt x="697724" y="1436887"/>
                  <a:pt x="697087" y="1439912"/>
                  <a:pt x="698207" y="1441988"/>
                </a:cubicBezTo>
                <a:cubicBezTo>
                  <a:pt x="709464" y="1462853"/>
                  <a:pt x="715798" y="1484864"/>
                  <a:pt x="715183" y="1508752"/>
                </a:cubicBezTo>
                <a:cubicBezTo>
                  <a:pt x="714863" y="1521166"/>
                  <a:pt x="713458" y="1523372"/>
                  <a:pt x="701540" y="1526524"/>
                </a:cubicBezTo>
                <a:cubicBezTo>
                  <a:pt x="662165" y="1536936"/>
                  <a:pt x="622006" y="1543243"/>
                  <a:pt x="581715" y="1548559"/>
                </a:cubicBezTo>
                <a:cubicBezTo>
                  <a:pt x="561988" y="1551162"/>
                  <a:pt x="542052" y="1552457"/>
                  <a:pt x="522168" y="1553543"/>
                </a:cubicBezTo>
                <a:cubicBezTo>
                  <a:pt x="498138" y="1554856"/>
                  <a:pt x="474063" y="1556013"/>
                  <a:pt x="450008" y="1556019"/>
                </a:cubicBezTo>
                <a:cubicBezTo>
                  <a:pt x="381724" y="1556035"/>
                  <a:pt x="313415" y="1557550"/>
                  <a:pt x="245169" y="1553749"/>
                </a:cubicBezTo>
                <a:cubicBezTo>
                  <a:pt x="237413" y="1553317"/>
                  <a:pt x="229596" y="1553867"/>
                  <a:pt x="221854" y="1553306"/>
                </a:cubicBezTo>
                <a:cubicBezTo>
                  <a:pt x="204023" y="1552015"/>
                  <a:pt x="186231" y="1550202"/>
                  <a:pt x="168405" y="1548828"/>
                </a:cubicBezTo>
                <a:cubicBezTo>
                  <a:pt x="154605" y="1547764"/>
                  <a:pt x="140762" y="1547242"/>
                  <a:pt x="126970" y="1546091"/>
                </a:cubicBezTo>
                <a:cubicBezTo>
                  <a:pt x="119295" y="1545451"/>
                  <a:pt x="111668" y="1544132"/>
                  <a:pt x="104053" y="1542912"/>
                </a:cubicBezTo>
                <a:cubicBezTo>
                  <a:pt x="91223" y="1540858"/>
                  <a:pt x="78344" y="1539011"/>
                  <a:pt x="65625" y="1536401"/>
                </a:cubicBezTo>
                <a:cubicBezTo>
                  <a:pt x="47307" y="1532642"/>
                  <a:pt x="29006" y="1528694"/>
                  <a:pt x="10909" y="1524010"/>
                </a:cubicBezTo>
                <a:cubicBezTo>
                  <a:pt x="744" y="1521379"/>
                  <a:pt x="119" y="1519620"/>
                  <a:pt x="8" y="1509263"/>
                </a:cubicBezTo>
                <a:cubicBezTo>
                  <a:pt x="-283" y="1482004"/>
                  <a:pt x="7525" y="1456906"/>
                  <a:pt x="21158" y="1433611"/>
                </a:cubicBezTo>
                <a:cubicBezTo>
                  <a:pt x="24128" y="1428537"/>
                  <a:pt x="25100" y="1424162"/>
                  <a:pt x="23462" y="1418658"/>
                </a:cubicBezTo>
                <a:cubicBezTo>
                  <a:pt x="19938" y="1406814"/>
                  <a:pt x="19145" y="1394638"/>
                  <a:pt x="19643" y="1382324"/>
                </a:cubicBezTo>
                <a:cubicBezTo>
                  <a:pt x="20741" y="1355171"/>
                  <a:pt x="29461" y="1331114"/>
                  <a:pt x="49060" y="1311832"/>
                </a:cubicBezTo>
                <a:cubicBezTo>
                  <a:pt x="68866" y="1292344"/>
                  <a:pt x="89102" y="1273294"/>
                  <a:pt x="109176" y="1254078"/>
                </a:cubicBezTo>
                <a:cubicBezTo>
                  <a:pt x="120788" y="1242961"/>
                  <a:pt x="123122" y="1229673"/>
                  <a:pt x="118319" y="1214801"/>
                </a:cubicBezTo>
                <a:cubicBezTo>
                  <a:pt x="116817" y="1210150"/>
                  <a:pt x="114697" y="1205702"/>
                  <a:pt x="113082" y="1201084"/>
                </a:cubicBezTo>
                <a:cubicBezTo>
                  <a:pt x="109606" y="1191147"/>
                  <a:pt x="110855" y="1188189"/>
                  <a:pt x="120417" y="1183950"/>
                </a:cubicBezTo>
                <a:cubicBezTo>
                  <a:pt x="125262" y="1181801"/>
                  <a:pt x="130109" y="1179394"/>
                  <a:pt x="135209" y="1178138"/>
                </a:cubicBezTo>
                <a:cubicBezTo>
                  <a:pt x="146972" y="1175241"/>
                  <a:pt x="153194" y="1166910"/>
                  <a:pt x="156535" y="1156396"/>
                </a:cubicBezTo>
                <a:cubicBezTo>
                  <a:pt x="166535" y="1124919"/>
                  <a:pt x="176229" y="1093339"/>
                  <a:pt x="185647" y="1061682"/>
                </a:cubicBezTo>
                <a:cubicBezTo>
                  <a:pt x="191222" y="1042945"/>
                  <a:pt x="196570" y="1024108"/>
                  <a:pt x="201074" y="1005093"/>
                </a:cubicBezTo>
                <a:cubicBezTo>
                  <a:pt x="205941" y="984550"/>
                  <a:pt x="210000" y="963801"/>
                  <a:pt x="213864" y="943040"/>
                </a:cubicBezTo>
                <a:cubicBezTo>
                  <a:pt x="217503" y="923489"/>
                  <a:pt x="220701" y="903846"/>
                  <a:pt x="223580" y="884167"/>
                </a:cubicBezTo>
                <a:cubicBezTo>
                  <a:pt x="225754" y="869301"/>
                  <a:pt x="227195" y="854324"/>
                  <a:pt x="228827" y="839382"/>
                </a:cubicBezTo>
                <a:cubicBezTo>
                  <a:pt x="230459" y="824446"/>
                  <a:pt x="232880" y="809515"/>
                  <a:pt x="233251" y="794539"/>
                </a:cubicBezTo>
                <a:cubicBezTo>
                  <a:pt x="233961" y="765893"/>
                  <a:pt x="233499" y="737217"/>
                  <a:pt x="233413" y="708554"/>
                </a:cubicBezTo>
                <a:cubicBezTo>
                  <a:pt x="233404" y="705465"/>
                  <a:pt x="232667" y="702378"/>
                  <a:pt x="232253" y="699181"/>
                </a:cubicBezTo>
                <a:cubicBezTo>
                  <a:pt x="218443" y="697138"/>
                  <a:pt x="205461" y="695831"/>
                  <a:pt x="192775" y="693131"/>
                </a:cubicBezTo>
                <a:cubicBezTo>
                  <a:pt x="183686" y="691197"/>
                  <a:pt x="174549" y="688305"/>
                  <a:pt x="166222" y="684229"/>
                </a:cubicBezTo>
                <a:cubicBezTo>
                  <a:pt x="151266" y="676909"/>
                  <a:pt x="147247" y="664789"/>
                  <a:pt x="153485" y="649704"/>
                </a:cubicBezTo>
                <a:cubicBezTo>
                  <a:pt x="158693" y="637111"/>
                  <a:pt x="168160" y="628190"/>
                  <a:pt x="179302" y="621006"/>
                </a:cubicBezTo>
                <a:cubicBezTo>
                  <a:pt x="186548" y="616334"/>
                  <a:pt x="191317" y="611105"/>
                  <a:pt x="192182" y="601675"/>
                </a:cubicBezTo>
                <a:cubicBezTo>
                  <a:pt x="192878" y="594094"/>
                  <a:pt x="197099" y="587626"/>
                  <a:pt x="204894" y="583417"/>
                </a:cubicBezTo>
                <a:cubicBezTo>
                  <a:pt x="214873" y="578030"/>
                  <a:pt x="224643" y="571774"/>
                  <a:pt x="233213" y="564393"/>
                </a:cubicBezTo>
                <a:cubicBezTo>
                  <a:pt x="242623" y="556289"/>
                  <a:pt x="240441" y="544193"/>
                  <a:pt x="229725" y="538177"/>
                </a:cubicBezTo>
                <a:cubicBezTo>
                  <a:pt x="226159" y="536176"/>
                  <a:pt x="222483" y="534351"/>
                  <a:pt x="218771" y="532633"/>
                </a:cubicBezTo>
                <a:cubicBezTo>
                  <a:pt x="213503" y="530196"/>
                  <a:pt x="212651" y="526226"/>
                  <a:pt x="215183" y="521568"/>
                </a:cubicBezTo>
                <a:cubicBezTo>
                  <a:pt x="217485" y="517332"/>
                  <a:pt x="220405" y="513432"/>
                  <a:pt x="223368" y="508901"/>
                </a:cubicBezTo>
                <a:cubicBezTo>
                  <a:pt x="221781" y="505376"/>
                  <a:pt x="220809" y="501165"/>
                  <a:pt x="218372" y="498135"/>
                </a:cubicBezTo>
                <a:cubicBezTo>
                  <a:pt x="202366" y="478231"/>
                  <a:pt x="190774" y="455961"/>
                  <a:pt x="181440" y="432308"/>
                </a:cubicBezTo>
                <a:cubicBezTo>
                  <a:pt x="170959" y="405748"/>
                  <a:pt x="164933" y="378186"/>
                  <a:pt x="167535" y="349841"/>
                </a:cubicBezTo>
                <a:cubicBezTo>
                  <a:pt x="170341" y="319265"/>
                  <a:pt x="179208" y="289917"/>
                  <a:pt x="193488" y="262518"/>
                </a:cubicBezTo>
                <a:cubicBezTo>
                  <a:pt x="206512" y="237529"/>
                  <a:pt x="220831" y="213359"/>
                  <a:pt x="237748" y="190690"/>
                </a:cubicBezTo>
                <a:cubicBezTo>
                  <a:pt x="260421" y="160310"/>
                  <a:pt x="282602" y="129592"/>
                  <a:pt x="309459" y="102623"/>
                </a:cubicBezTo>
                <a:cubicBezTo>
                  <a:pt x="316627" y="95424"/>
                  <a:pt x="316261" y="87541"/>
                  <a:pt x="310459" y="78521"/>
                </a:cubicBezTo>
                <a:cubicBezTo>
                  <a:pt x="306309" y="72071"/>
                  <a:pt x="301695" y="65150"/>
                  <a:pt x="300267" y="57856"/>
                </a:cubicBezTo>
                <a:cubicBezTo>
                  <a:pt x="295286" y="32423"/>
                  <a:pt x="314502" y="10133"/>
                  <a:pt x="332242" y="4422"/>
                </a:cubicBezTo>
                <a:cubicBezTo>
                  <a:pt x="349540" y="-1148"/>
                  <a:pt x="367530" y="-2176"/>
                  <a:pt x="384904" y="5551"/>
                </a:cubicBezTo>
                <a:cubicBezTo>
                  <a:pt x="395271" y="10161"/>
                  <a:pt x="403310" y="17760"/>
                  <a:pt x="409773" y="26778"/>
                </a:cubicBezTo>
                <a:cubicBezTo>
                  <a:pt x="415168" y="34307"/>
                  <a:pt x="413749" y="41584"/>
                  <a:pt x="407026" y="46052"/>
                </a:cubicBezTo>
                <a:cubicBezTo>
                  <a:pt x="405624" y="40964"/>
                  <a:pt x="404503" y="35849"/>
                  <a:pt x="402771" y="30951"/>
                </a:cubicBezTo>
                <a:cubicBezTo>
                  <a:pt x="401450" y="27216"/>
                  <a:pt x="399383" y="28477"/>
                  <a:pt x="397038" y="30361"/>
                </a:cubicBezTo>
                <a:cubicBezTo>
                  <a:pt x="384440" y="15986"/>
                  <a:pt x="377037" y="14494"/>
                  <a:pt x="360694" y="22760"/>
                </a:cubicBezTo>
                <a:cubicBezTo>
                  <a:pt x="353707" y="22767"/>
                  <a:pt x="352275" y="27176"/>
                  <a:pt x="351669" y="31736"/>
                </a:cubicBezTo>
                <a:cubicBezTo>
                  <a:pt x="351136" y="35760"/>
                  <a:pt x="351383" y="39899"/>
                  <a:pt x="351426" y="43987"/>
                </a:cubicBezTo>
                <a:cubicBezTo>
                  <a:pt x="351648" y="64919"/>
                  <a:pt x="372389" y="78115"/>
                  <a:pt x="390968" y="68762"/>
                </a:cubicBezTo>
                <a:cubicBezTo>
                  <a:pt x="395158" y="66653"/>
                  <a:pt x="398534" y="62629"/>
                  <a:pt x="401770" y="59025"/>
                </a:cubicBezTo>
                <a:cubicBezTo>
                  <a:pt x="404045" y="56491"/>
                  <a:pt x="405661" y="53409"/>
                  <a:pt x="409619" y="55786"/>
                </a:cubicBezTo>
                <a:cubicBezTo>
                  <a:pt x="413544" y="58145"/>
                  <a:pt x="412176" y="61347"/>
                  <a:pt x="410427" y="64256"/>
                </a:cubicBezTo>
                <a:cubicBezTo>
                  <a:pt x="406872" y="70170"/>
                  <a:pt x="403244" y="76046"/>
                  <a:pt x="399453" y="81811"/>
                </a:cubicBezTo>
                <a:cubicBezTo>
                  <a:pt x="394663" y="89097"/>
                  <a:pt x="394382" y="94032"/>
                  <a:pt x="399346" y="98083"/>
                </a:cubicBezTo>
                <a:cubicBezTo>
                  <a:pt x="428062" y="121519"/>
                  <a:pt x="450822" y="150083"/>
                  <a:pt x="471592" y="180524"/>
                </a:cubicBezTo>
                <a:cubicBezTo>
                  <a:pt x="476398" y="187569"/>
                  <a:pt x="476844" y="193688"/>
                  <a:pt x="473550" y="200923"/>
                </a:cubicBezTo>
                <a:cubicBezTo>
                  <a:pt x="470171" y="208346"/>
                  <a:pt x="467091" y="215905"/>
                  <a:pt x="463677" y="223311"/>
                </a:cubicBezTo>
                <a:cubicBezTo>
                  <a:pt x="461993" y="226965"/>
                  <a:pt x="462995" y="228697"/>
                  <a:pt x="466852" y="229083"/>
                </a:cubicBezTo>
                <a:moveTo>
                  <a:pt x="474186" y="928382"/>
                </a:moveTo>
                <a:cubicBezTo>
                  <a:pt x="469297" y="891529"/>
                  <a:pt x="462961" y="854794"/>
                  <a:pt x="459927" y="817790"/>
                </a:cubicBezTo>
                <a:cubicBezTo>
                  <a:pt x="456905" y="780939"/>
                  <a:pt x="457197" y="743817"/>
                  <a:pt x="456025" y="706469"/>
                </a:cubicBezTo>
                <a:cubicBezTo>
                  <a:pt x="425780" y="707923"/>
                  <a:pt x="396554" y="709327"/>
                  <a:pt x="366863" y="710754"/>
                </a:cubicBezTo>
                <a:cubicBezTo>
                  <a:pt x="366546" y="714450"/>
                  <a:pt x="366201" y="716832"/>
                  <a:pt x="366159" y="719219"/>
                </a:cubicBezTo>
                <a:cubicBezTo>
                  <a:pt x="365479" y="757672"/>
                  <a:pt x="364935" y="796129"/>
                  <a:pt x="364159" y="834581"/>
                </a:cubicBezTo>
                <a:cubicBezTo>
                  <a:pt x="363450" y="869762"/>
                  <a:pt x="362581" y="904941"/>
                  <a:pt x="361633" y="940117"/>
                </a:cubicBezTo>
                <a:cubicBezTo>
                  <a:pt x="360619" y="977749"/>
                  <a:pt x="359431" y="1015376"/>
                  <a:pt x="358313" y="1053005"/>
                </a:cubicBezTo>
                <a:cubicBezTo>
                  <a:pt x="358265" y="1054641"/>
                  <a:pt x="358149" y="1056276"/>
                  <a:pt x="358081" y="1057912"/>
                </a:cubicBezTo>
                <a:cubicBezTo>
                  <a:pt x="356598" y="1093463"/>
                  <a:pt x="355081" y="1129014"/>
                  <a:pt x="353706" y="1164570"/>
                </a:cubicBezTo>
                <a:cubicBezTo>
                  <a:pt x="353604" y="1167221"/>
                  <a:pt x="354516" y="1169911"/>
                  <a:pt x="354951" y="1172547"/>
                </a:cubicBezTo>
                <a:cubicBezTo>
                  <a:pt x="416984" y="1173689"/>
                  <a:pt x="478158" y="1174816"/>
                  <a:pt x="540959" y="1175972"/>
                </a:cubicBezTo>
                <a:cubicBezTo>
                  <a:pt x="513162" y="1094194"/>
                  <a:pt x="489081" y="1013598"/>
                  <a:pt x="474186" y="928382"/>
                </a:cubicBezTo>
                <a:moveTo>
                  <a:pt x="513768" y="1417676"/>
                </a:moveTo>
                <a:cubicBezTo>
                  <a:pt x="515785" y="1417344"/>
                  <a:pt x="517792" y="1416889"/>
                  <a:pt x="519822" y="1416700"/>
                </a:cubicBezTo>
                <a:cubicBezTo>
                  <a:pt x="557234" y="1413220"/>
                  <a:pt x="594682" y="1410089"/>
                  <a:pt x="632041" y="1406122"/>
                </a:cubicBezTo>
                <a:cubicBezTo>
                  <a:pt x="643122" y="1404945"/>
                  <a:pt x="654730" y="1405292"/>
                  <a:pt x="665040" y="1400634"/>
                </a:cubicBezTo>
                <a:cubicBezTo>
                  <a:pt x="665352" y="1398517"/>
                  <a:pt x="665651" y="1397324"/>
                  <a:pt x="665677" y="1396126"/>
                </a:cubicBezTo>
                <a:cubicBezTo>
                  <a:pt x="665722" y="1394084"/>
                  <a:pt x="665674" y="1392032"/>
                  <a:pt x="665529" y="1389994"/>
                </a:cubicBezTo>
                <a:cubicBezTo>
                  <a:pt x="663118" y="1356121"/>
                  <a:pt x="650063" y="1327787"/>
                  <a:pt x="623046" y="1306238"/>
                </a:cubicBezTo>
                <a:cubicBezTo>
                  <a:pt x="613485" y="1298611"/>
                  <a:pt x="605001" y="1289635"/>
                  <a:pt x="596015" y="1281285"/>
                </a:cubicBezTo>
                <a:cubicBezTo>
                  <a:pt x="578506" y="1265018"/>
                  <a:pt x="567837" y="1245446"/>
                  <a:pt x="567683" y="1220059"/>
                </a:cubicBezTo>
                <a:cubicBezTo>
                  <a:pt x="558046" y="1220059"/>
                  <a:pt x="549136" y="1219649"/>
                  <a:pt x="540273" y="1220129"/>
                </a:cubicBezTo>
                <a:cubicBezTo>
                  <a:pt x="501512" y="1222229"/>
                  <a:pt x="462775" y="1224768"/>
                  <a:pt x="424010" y="1226781"/>
                </a:cubicBezTo>
                <a:cubicBezTo>
                  <a:pt x="401969" y="1227926"/>
                  <a:pt x="379889" y="1228330"/>
                  <a:pt x="357832" y="1229178"/>
                </a:cubicBezTo>
                <a:cubicBezTo>
                  <a:pt x="355938" y="1229251"/>
                  <a:pt x="354076" y="1230151"/>
                  <a:pt x="352386" y="1230616"/>
                </a:cubicBezTo>
                <a:cubicBezTo>
                  <a:pt x="353642" y="1262222"/>
                  <a:pt x="355769" y="1293219"/>
                  <a:pt x="355852" y="1324222"/>
                </a:cubicBezTo>
                <a:cubicBezTo>
                  <a:pt x="355936" y="1355438"/>
                  <a:pt x="353988" y="1386659"/>
                  <a:pt x="352930" y="1417867"/>
                </a:cubicBezTo>
                <a:cubicBezTo>
                  <a:pt x="406069" y="1417867"/>
                  <a:pt x="458771" y="1417867"/>
                  <a:pt x="513768" y="1417676"/>
                </a:cubicBezTo>
                <a:moveTo>
                  <a:pt x="387930" y="499741"/>
                </a:moveTo>
                <a:cubicBezTo>
                  <a:pt x="410797" y="498777"/>
                  <a:pt x="433665" y="497860"/>
                  <a:pt x="456529" y="496826"/>
                </a:cubicBezTo>
                <a:cubicBezTo>
                  <a:pt x="466656" y="496369"/>
                  <a:pt x="475418" y="493371"/>
                  <a:pt x="482355" y="485095"/>
                </a:cubicBezTo>
                <a:cubicBezTo>
                  <a:pt x="509188" y="453083"/>
                  <a:pt x="525387" y="416636"/>
                  <a:pt x="528016" y="374829"/>
                </a:cubicBezTo>
                <a:cubicBezTo>
                  <a:pt x="530547" y="334558"/>
                  <a:pt x="520095" y="297041"/>
                  <a:pt x="501375" y="261643"/>
                </a:cubicBezTo>
                <a:cubicBezTo>
                  <a:pt x="499379" y="257869"/>
                  <a:pt x="496654" y="254482"/>
                  <a:pt x="493534" y="249818"/>
                </a:cubicBezTo>
                <a:cubicBezTo>
                  <a:pt x="490233" y="254212"/>
                  <a:pt x="487883" y="256986"/>
                  <a:pt x="485920" y="260010"/>
                </a:cubicBezTo>
                <a:cubicBezTo>
                  <a:pt x="475010" y="276824"/>
                  <a:pt x="464300" y="293767"/>
                  <a:pt x="453305" y="310523"/>
                </a:cubicBezTo>
                <a:cubicBezTo>
                  <a:pt x="447028" y="320089"/>
                  <a:pt x="440916" y="329858"/>
                  <a:pt x="433678" y="338672"/>
                </a:cubicBezTo>
                <a:cubicBezTo>
                  <a:pt x="425909" y="348131"/>
                  <a:pt x="413084" y="349691"/>
                  <a:pt x="403713" y="343710"/>
                </a:cubicBezTo>
                <a:cubicBezTo>
                  <a:pt x="394358" y="337739"/>
                  <a:pt x="391675" y="327526"/>
                  <a:pt x="396427" y="315612"/>
                </a:cubicBezTo>
                <a:cubicBezTo>
                  <a:pt x="397334" y="313339"/>
                  <a:pt x="398595" y="311210"/>
                  <a:pt x="399663" y="309000"/>
                </a:cubicBezTo>
                <a:cubicBezTo>
                  <a:pt x="417094" y="272900"/>
                  <a:pt x="434331" y="236704"/>
                  <a:pt x="452097" y="200770"/>
                </a:cubicBezTo>
                <a:cubicBezTo>
                  <a:pt x="455910" y="193060"/>
                  <a:pt x="455310" y="187173"/>
                  <a:pt x="450118" y="180596"/>
                </a:cubicBezTo>
                <a:cubicBezTo>
                  <a:pt x="428273" y="152922"/>
                  <a:pt x="405805" y="125901"/>
                  <a:pt x="376545" y="105525"/>
                </a:cubicBezTo>
                <a:cubicBezTo>
                  <a:pt x="374483" y="104089"/>
                  <a:pt x="372013" y="103239"/>
                  <a:pt x="368791" y="101653"/>
                </a:cubicBezTo>
                <a:cubicBezTo>
                  <a:pt x="367942" y="116965"/>
                  <a:pt x="367019" y="130814"/>
                  <a:pt x="366449" y="144676"/>
                </a:cubicBezTo>
                <a:cubicBezTo>
                  <a:pt x="365912" y="157758"/>
                  <a:pt x="365593" y="170854"/>
                  <a:pt x="365447" y="183946"/>
                </a:cubicBezTo>
                <a:cubicBezTo>
                  <a:pt x="365020" y="221975"/>
                  <a:pt x="363367" y="260055"/>
                  <a:pt x="364738" y="298022"/>
                </a:cubicBezTo>
                <a:cubicBezTo>
                  <a:pt x="366329" y="342101"/>
                  <a:pt x="370336" y="386106"/>
                  <a:pt x="373865" y="430096"/>
                </a:cubicBezTo>
                <a:cubicBezTo>
                  <a:pt x="375530" y="450849"/>
                  <a:pt x="378387" y="471514"/>
                  <a:pt x="381088" y="492169"/>
                </a:cubicBezTo>
                <a:cubicBezTo>
                  <a:pt x="381433" y="494807"/>
                  <a:pt x="384102" y="497143"/>
                  <a:pt x="387930" y="499741"/>
                </a:cubicBezTo>
                <a:moveTo>
                  <a:pt x="455850" y="1521476"/>
                </a:moveTo>
                <a:cubicBezTo>
                  <a:pt x="533043" y="1519612"/>
                  <a:pt x="609810" y="1514084"/>
                  <a:pt x="685121" y="1496509"/>
                </a:cubicBezTo>
                <a:cubicBezTo>
                  <a:pt x="683922" y="1481705"/>
                  <a:pt x="679199" y="1467708"/>
                  <a:pt x="672999" y="1456665"/>
                </a:cubicBezTo>
                <a:cubicBezTo>
                  <a:pt x="669933" y="1451203"/>
                  <a:pt x="666057" y="1449329"/>
                  <a:pt x="660009" y="1450249"/>
                </a:cubicBezTo>
                <a:cubicBezTo>
                  <a:pt x="651125" y="1451601"/>
                  <a:pt x="642144" y="1452308"/>
                  <a:pt x="633248" y="1453589"/>
                </a:cubicBezTo>
                <a:cubicBezTo>
                  <a:pt x="572852" y="1462289"/>
                  <a:pt x="511993" y="1465134"/>
                  <a:pt x="451131" y="1467458"/>
                </a:cubicBezTo>
                <a:cubicBezTo>
                  <a:pt x="421697" y="1468582"/>
                  <a:pt x="392192" y="1467837"/>
                  <a:pt x="362719" y="1467934"/>
                </a:cubicBezTo>
                <a:cubicBezTo>
                  <a:pt x="358386" y="1467948"/>
                  <a:pt x="354052" y="1467936"/>
                  <a:pt x="349983" y="1467936"/>
                </a:cubicBezTo>
                <a:cubicBezTo>
                  <a:pt x="347592" y="1485362"/>
                  <a:pt x="348606" y="1509458"/>
                  <a:pt x="352220" y="1519140"/>
                </a:cubicBezTo>
                <a:cubicBezTo>
                  <a:pt x="385617" y="1519916"/>
                  <a:pt x="419507" y="1520703"/>
                  <a:pt x="455850" y="1521476"/>
                </a:cubicBezTo>
                <a:moveTo>
                  <a:pt x="368682" y="544846"/>
                </a:moveTo>
                <a:cubicBezTo>
                  <a:pt x="374258" y="564891"/>
                  <a:pt x="370074" y="584394"/>
                  <a:pt x="363600" y="605633"/>
                </a:cubicBezTo>
                <a:cubicBezTo>
                  <a:pt x="408859" y="604212"/>
                  <a:pt x="452263" y="602850"/>
                  <a:pt x="496351" y="601466"/>
                </a:cubicBezTo>
                <a:cubicBezTo>
                  <a:pt x="496109" y="591095"/>
                  <a:pt x="491408" y="584247"/>
                  <a:pt x="485068" y="579288"/>
                </a:cubicBezTo>
                <a:cubicBezTo>
                  <a:pt x="472414" y="569391"/>
                  <a:pt x="466934" y="556602"/>
                  <a:pt x="466524" y="541026"/>
                </a:cubicBezTo>
                <a:cubicBezTo>
                  <a:pt x="466485" y="539528"/>
                  <a:pt x="465591" y="538053"/>
                  <a:pt x="465000" y="536289"/>
                </a:cubicBezTo>
                <a:cubicBezTo>
                  <a:pt x="460209" y="536289"/>
                  <a:pt x="455761" y="536132"/>
                  <a:pt x="451328" y="536316"/>
                </a:cubicBezTo>
                <a:cubicBezTo>
                  <a:pt x="430930" y="537159"/>
                  <a:pt x="410538" y="538137"/>
                  <a:pt x="390140" y="538979"/>
                </a:cubicBezTo>
                <a:cubicBezTo>
                  <a:pt x="384834" y="539198"/>
                  <a:pt x="379484" y="538790"/>
                  <a:pt x="374215" y="539303"/>
                </a:cubicBezTo>
                <a:cubicBezTo>
                  <a:pt x="372259" y="539494"/>
                  <a:pt x="370480" y="541498"/>
                  <a:pt x="368682" y="544846"/>
                </a:cubicBezTo>
                <a:moveTo>
                  <a:pt x="453915" y="635267"/>
                </a:moveTo>
                <a:cubicBezTo>
                  <a:pt x="427589" y="636632"/>
                  <a:pt x="401262" y="637998"/>
                  <a:pt x="374200" y="639402"/>
                </a:cubicBezTo>
                <a:cubicBezTo>
                  <a:pt x="374200" y="651578"/>
                  <a:pt x="374200" y="661970"/>
                  <a:pt x="374200" y="673206"/>
                </a:cubicBezTo>
                <a:cubicBezTo>
                  <a:pt x="378672" y="673406"/>
                  <a:pt x="382666" y="673863"/>
                  <a:pt x="386639" y="673718"/>
                </a:cubicBezTo>
                <a:cubicBezTo>
                  <a:pt x="431495" y="672082"/>
                  <a:pt x="476352" y="670422"/>
                  <a:pt x="521198" y="668541"/>
                </a:cubicBezTo>
                <a:cubicBezTo>
                  <a:pt x="525584" y="668357"/>
                  <a:pt x="530162" y="667254"/>
                  <a:pt x="534198" y="665521"/>
                </a:cubicBezTo>
                <a:cubicBezTo>
                  <a:pt x="540213" y="662938"/>
                  <a:pt x="541802" y="658194"/>
                  <a:pt x="538413" y="652526"/>
                </a:cubicBezTo>
                <a:cubicBezTo>
                  <a:pt x="536192" y="648813"/>
                  <a:pt x="532979" y="645251"/>
                  <a:pt x="529377" y="642895"/>
                </a:cubicBezTo>
                <a:cubicBezTo>
                  <a:pt x="521426" y="637695"/>
                  <a:pt x="512576" y="634669"/>
                  <a:pt x="502829" y="634808"/>
                </a:cubicBezTo>
                <a:cubicBezTo>
                  <a:pt x="487311" y="635030"/>
                  <a:pt x="471791" y="635092"/>
                  <a:pt x="453915" y="635267"/>
                </a:cubicBezTo>
                <a:close/>
              </a:path>
            </a:pathLst>
          </a:custGeom>
          <a:solidFill>
            <a:srgbClr val="CDD9DF"/>
          </a:solidFill>
          <a:ln w="12700" cap="flat">
            <a:solidFill>
              <a:srgbClr val="CDD9DF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6" name="Free-form: Shape 205">
            <a:extLst>
              <a:ext uri="{FF2B5EF4-FFF2-40B4-BE49-F238E27FC236}">
                <a16:creationId xmlns:a16="http://schemas.microsoft.com/office/drawing/2014/main" id="{52A31220-C2A7-50AD-4609-DC82B999748A}"/>
              </a:ext>
            </a:extLst>
          </p:cNvPr>
          <p:cNvSpPr/>
          <p:nvPr/>
        </p:nvSpPr>
        <p:spPr>
          <a:xfrm>
            <a:off x="971697" y="3715931"/>
            <a:ext cx="665488" cy="1428730"/>
          </a:xfrm>
          <a:custGeom>
            <a:avLst/>
            <a:gdLst>
              <a:gd name="csX0" fmla="*/ 406842 w 732037"/>
              <a:gd name="csY0" fmla="*/ 38347 h 1571603"/>
              <a:gd name="csX1" fmla="*/ 411944 w 732037"/>
              <a:gd name="csY1" fmla="*/ 38343 h 1571603"/>
              <a:gd name="csX2" fmla="*/ 416198 w 732037"/>
              <a:gd name="csY2" fmla="*/ 53444 h 1571603"/>
              <a:gd name="csX3" fmla="*/ 418945 w 732037"/>
              <a:gd name="csY3" fmla="*/ 34170 h 1571603"/>
              <a:gd name="csX4" fmla="*/ 394077 w 732037"/>
              <a:gd name="csY4" fmla="*/ 12943 h 1571603"/>
              <a:gd name="csX5" fmla="*/ 341415 w 732037"/>
              <a:gd name="csY5" fmla="*/ 11814 h 1571603"/>
              <a:gd name="csX6" fmla="*/ 309440 w 732037"/>
              <a:gd name="csY6" fmla="*/ 65249 h 1571603"/>
              <a:gd name="csX7" fmla="*/ 319632 w 732037"/>
              <a:gd name="csY7" fmla="*/ 85914 h 1571603"/>
              <a:gd name="csX8" fmla="*/ 318632 w 732037"/>
              <a:gd name="csY8" fmla="*/ 110015 h 1571603"/>
              <a:gd name="csX9" fmla="*/ 246921 w 732037"/>
              <a:gd name="csY9" fmla="*/ 198083 h 1571603"/>
              <a:gd name="csX10" fmla="*/ 202660 w 732037"/>
              <a:gd name="csY10" fmla="*/ 269911 h 1571603"/>
              <a:gd name="csX11" fmla="*/ 176707 w 732037"/>
              <a:gd name="csY11" fmla="*/ 357233 h 1571603"/>
              <a:gd name="csX12" fmla="*/ 190612 w 732037"/>
              <a:gd name="csY12" fmla="*/ 439700 h 1571603"/>
              <a:gd name="csX13" fmla="*/ 227544 w 732037"/>
              <a:gd name="csY13" fmla="*/ 505527 h 1571603"/>
              <a:gd name="csX14" fmla="*/ 232541 w 732037"/>
              <a:gd name="csY14" fmla="*/ 516294 h 1571603"/>
              <a:gd name="csX15" fmla="*/ 224356 w 732037"/>
              <a:gd name="csY15" fmla="*/ 528960 h 1571603"/>
              <a:gd name="csX16" fmla="*/ 227944 w 732037"/>
              <a:gd name="csY16" fmla="*/ 540026 h 1571603"/>
              <a:gd name="csX17" fmla="*/ 238897 w 732037"/>
              <a:gd name="csY17" fmla="*/ 545570 h 1571603"/>
              <a:gd name="csX18" fmla="*/ 242386 w 732037"/>
              <a:gd name="csY18" fmla="*/ 571785 h 1571603"/>
              <a:gd name="csX19" fmla="*/ 214067 w 732037"/>
              <a:gd name="csY19" fmla="*/ 590809 h 1571603"/>
              <a:gd name="csX20" fmla="*/ 201355 w 732037"/>
              <a:gd name="csY20" fmla="*/ 609067 h 1571603"/>
              <a:gd name="csX21" fmla="*/ 188474 w 732037"/>
              <a:gd name="csY21" fmla="*/ 628398 h 1571603"/>
              <a:gd name="csX22" fmla="*/ 162658 w 732037"/>
              <a:gd name="csY22" fmla="*/ 657096 h 1571603"/>
              <a:gd name="csX23" fmla="*/ 175395 w 732037"/>
              <a:gd name="csY23" fmla="*/ 691621 h 1571603"/>
              <a:gd name="csX24" fmla="*/ 201948 w 732037"/>
              <a:gd name="csY24" fmla="*/ 700523 h 1571603"/>
              <a:gd name="csX25" fmla="*/ 241426 w 732037"/>
              <a:gd name="csY25" fmla="*/ 706574 h 1571603"/>
              <a:gd name="csX26" fmla="*/ 242586 w 732037"/>
              <a:gd name="csY26" fmla="*/ 715946 h 1571603"/>
              <a:gd name="csX27" fmla="*/ 242424 w 732037"/>
              <a:gd name="csY27" fmla="*/ 801932 h 1571603"/>
              <a:gd name="csX28" fmla="*/ 238000 w 732037"/>
              <a:gd name="csY28" fmla="*/ 846774 h 1571603"/>
              <a:gd name="csX29" fmla="*/ 232752 w 732037"/>
              <a:gd name="csY29" fmla="*/ 891559 h 1571603"/>
              <a:gd name="csX30" fmla="*/ 223037 w 732037"/>
              <a:gd name="csY30" fmla="*/ 950433 h 1571603"/>
              <a:gd name="csX31" fmla="*/ 210247 w 732037"/>
              <a:gd name="csY31" fmla="*/ 1012485 h 1571603"/>
              <a:gd name="csX32" fmla="*/ 194820 w 732037"/>
              <a:gd name="csY32" fmla="*/ 1069074 h 1571603"/>
              <a:gd name="csX33" fmla="*/ 165707 w 732037"/>
              <a:gd name="csY33" fmla="*/ 1163788 h 1571603"/>
              <a:gd name="csX34" fmla="*/ 144382 w 732037"/>
              <a:gd name="csY34" fmla="*/ 1185530 h 1571603"/>
              <a:gd name="csX35" fmla="*/ 129590 w 732037"/>
              <a:gd name="csY35" fmla="*/ 1191342 h 1571603"/>
              <a:gd name="csX36" fmla="*/ 122255 w 732037"/>
              <a:gd name="csY36" fmla="*/ 1208476 h 1571603"/>
              <a:gd name="csX37" fmla="*/ 127491 w 732037"/>
              <a:gd name="csY37" fmla="*/ 1222193 h 1571603"/>
              <a:gd name="csX38" fmla="*/ 118348 w 732037"/>
              <a:gd name="csY38" fmla="*/ 1261470 h 1571603"/>
              <a:gd name="csX39" fmla="*/ 58232 w 732037"/>
              <a:gd name="csY39" fmla="*/ 1319224 h 1571603"/>
              <a:gd name="csX40" fmla="*/ 28815 w 732037"/>
              <a:gd name="csY40" fmla="*/ 1389717 h 1571603"/>
              <a:gd name="csX41" fmla="*/ 32634 w 732037"/>
              <a:gd name="csY41" fmla="*/ 1426050 h 1571603"/>
              <a:gd name="csX42" fmla="*/ 30331 w 732037"/>
              <a:gd name="csY42" fmla="*/ 1441003 h 1571603"/>
              <a:gd name="csX43" fmla="*/ 9180 w 732037"/>
              <a:gd name="csY43" fmla="*/ 1516655 h 1571603"/>
              <a:gd name="csX44" fmla="*/ 20082 w 732037"/>
              <a:gd name="csY44" fmla="*/ 1531402 h 1571603"/>
              <a:gd name="csX45" fmla="*/ 74798 w 732037"/>
              <a:gd name="csY45" fmla="*/ 1543794 h 1571603"/>
              <a:gd name="csX46" fmla="*/ 113225 w 732037"/>
              <a:gd name="csY46" fmla="*/ 1550305 h 1571603"/>
              <a:gd name="csX47" fmla="*/ 136142 w 732037"/>
              <a:gd name="csY47" fmla="*/ 1553484 h 1571603"/>
              <a:gd name="csX48" fmla="*/ 177578 w 732037"/>
              <a:gd name="csY48" fmla="*/ 1556220 h 1571603"/>
              <a:gd name="csX49" fmla="*/ 231027 w 732037"/>
              <a:gd name="csY49" fmla="*/ 1560698 h 1571603"/>
              <a:gd name="csX50" fmla="*/ 254342 w 732037"/>
              <a:gd name="csY50" fmla="*/ 1561142 h 1571603"/>
              <a:gd name="csX51" fmla="*/ 459180 w 732037"/>
              <a:gd name="csY51" fmla="*/ 1563411 h 1571603"/>
              <a:gd name="csX52" fmla="*/ 531340 w 732037"/>
              <a:gd name="csY52" fmla="*/ 1560936 h 1571603"/>
              <a:gd name="csX53" fmla="*/ 590888 w 732037"/>
              <a:gd name="csY53" fmla="*/ 1555951 h 1571603"/>
              <a:gd name="csX54" fmla="*/ 710712 w 732037"/>
              <a:gd name="csY54" fmla="*/ 1533916 h 1571603"/>
              <a:gd name="csX55" fmla="*/ 724356 w 732037"/>
              <a:gd name="csY55" fmla="*/ 1516144 h 1571603"/>
              <a:gd name="csX56" fmla="*/ 707380 w 732037"/>
              <a:gd name="csY56" fmla="*/ 1449380 h 1571603"/>
              <a:gd name="csX57" fmla="*/ 707050 w 732037"/>
              <a:gd name="csY57" fmla="*/ 1440881 h 1571603"/>
              <a:gd name="csX58" fmla="*/ 731479 w 732037"/>
              <a:gd name="csY58" fmla="*/ 1500017 h 1571603"/>
              <a:gd name="csX59" fmla="*/ 731163 w 732037"/>
              <a:gd name="csY59" fmla="*/ 1513759 h 1571603"/>
              <a:gd name="csX60" fmla="*/ 731650 w 732037"/>
              <a:gd name="csY60" fmla="*/ 1521766 h 1571603"/>
              <a:gd name="csX61" fmla="*/ 721896 w 732037"/>
              <a:gd name="csY61" fmla="*/ 1537319 h 1571603"/>
              <a:gd name="csX62" fmla="*/ 657740 w 732037"/>
              <a:gd name="csY62" fmla="*/ 1553265 h 1571603"/>
              <a:gd name="csX63" fmla="*/ 507791 w 732037"/>
              <a:gd name="csY63" fmla="*/ 1568943 h 1571603"/>
              <a:gd name="csX64" fmla="*/ 264676 w 732037"/>
              <a:gd name="csY64" fmla="*/ 1569724 h 1571603"/>
              <a:gd name="csX65" fmla="*/ 82743 w 732037"/>
              <a:gd name="csY65" fmla="*/ 1553254 h 1571603"/>
              <a:gd name="csX66" fmla="*/ 17072 w 732037"/>
              <a:gd name="csY66" fmla="*/ 1538153 h 1571603"/>
              <a:gd name="csX67" fmla="*/ 275 w 732037"/>
              <a:gd name="csY67" fmla="*/ 1513030 h 1571603"/>
              <a:gd name="csX68" fmla="*/ 20923 w 732037"/>
              <a:gd name="csY68" fmla="*/ 1441861 h 1571603"/>
              <a:gd name="csX69" fmla="*/ 23045 w 732037"/>
              <a:gd name="csY69" fmla="*/ 1423105 h 1571603"/>
              <a:gd name="csX70" fmla="*/ 30564 w 732037"/>
              <a:gd name="csY70" fmla="*/ 1346289 h 1571603"/>
              <a:gd name="csX71" fmla="*/ 71350 w 732037"/>
              <a:gd name="csY71" fmla="*/ 1295039 h 1571603"/>
              <a:gd name="csX72" fmla="*/ 112257 w 732037"/>
              <a:gd name="csY72" fmla="*/ 1255093 h 1571603"/>
              <a:gd name="csX73" fmla="*/ 115864 w 732037"/>
              <a:gd name="csY73" fmla="*/ 1217271 h 1571603"/>
              <a:gd name="csX74" fmla="*/ 112256 w 732037"/>
              <a:gd name="csY74" fmla="*/ 1210870 h 1571603"/>
              <a:gd name="csX75" fmla="*/ 121141 w 732037"/>
              <a:gd name="csY75" fmla="*/ 1186548 h 1571603"/>
              <a:gd name="csX76" fmla="*/ 136571 w 732037"/>
              <a:gd name="csY76" fmla="*/ 1179850 h 1571603"/>
              <a:gd name="csX77" fmla="*/ 158281 w 732037"/>
              <a:gd name="csY77" fmla="*/ 1157879 h 1571603"/>
              <a:gd name="csX78" fmla="*/ 187986 w 732037"/>
              <a:gd name="csY78" fmla="*/ 1059736 h 1571603"/>
              <a:gd name="csX79" fmla="*/ 217119 w 732037"/>
              <a:gd name="csY79" fmla="*/ 938896 h 1571603"/>
              <a:gd name="csX80" fmla="*/ 225792 w 732037"/>
              <a:gd name="csY80" fmla="*/ 893236 h 1571603"/>
              <a:gd name="csX81" fmla="*/ 226150 w 732037"/>
              <a:gd name="csY81" fmla="*/ 887970 h 1571603"/>
              <a:gd name="csX82" fmla="*/ 230782 w 732037"/>
              <a:gd name="csY82" fmla="*/ 853969 h 1571603"/>
              <a:gd name="csX83" fmla="*/ 230786 w 732037"/>
              <a:gd name="csY83" fmla="*/ 848558 h 1571603"/>
              <a:gd name="csX84" fmla="*/ 233315 w 732037"/>
              <a:gd name="csY84" fmla="*/ 824438 h 1571603"/>
              <a:gd name="csX85" fmla="*/ 233199 w 732037"/>
              <a:gd name="csY85" fmla="*/ 819050 h 1571603"/>
              <a:gd name="csX86" fmla="*/ 235848 w 732037"/>
              <a:gd name="csY86" fmla="*/ 782380 h 1571603"/>
              <a:gd name="csX87" fmla="*/ 237465 w 732037"/>
              <a:gd name="csY87" fmla="*/ 719113 h 1571603"/>
              <a:gd name="csX88" fmla="*/ 233057 w 732037"/>
              <a:gd name="csY88" fmla="*/ 713160 h 1571603"/>
              <a:gd name="csX89" fmla="*/ 203056 w 732037"/>
              <a:gd name="csY89" fmla="*/ 708405 h 1571603"/>
              <a:gd name="csX90" fmla="*/ 169628 w 732037"/>
              <a:gd name="csY90" fmla="*/ 698106 h 1571603"/>
              <a:gd name="csX91" fmla="*/ 153237 w 732037"/>
              <a:gd name="csY91" fmla="*/ 659111 h 1571603"/>
              <a:gd name="csX92" fmla="*/ 178365 w 732037"/>
              <a:gd name="csY92" fmla="*/ 626008 h 1571603"/>
              <a:gd name="csX93" fmla="*/ 191885 w 732037"/>
              <a:gd name="csY93" fmla="*/ 617513 h 1571603"/>
              <a:gd name="csX94" fmla="*/ 193681 w 732037"/>
              <a:gd name="csY94" fmla="*/ 610098 h 1571603"/>
              <a:gd name="csX95" fmla="*/ 213301 w 732037"/>
              <a:gd name="csY95" fmla="*/ 579885 h 1571603"/>
              <a:gd name="csX96" fmla="*/ 229635 w 732037"/>
              <a:gd name="csY96" fmla="*/ 571429 h 1571603"/>
              <a:gd name="csX97" fmla="*/ 237351 w 732037"/>
              <a:gd name="csY97" fmla="*/ 565882 h 1571603"/>
              <a:gd name="csX98" fmla="*/ 233673 w 732037"/>
              <a:gd name="csY98" fmla="*/ 550926 h 1571603"/>
              <a:gd name="csX99" fmla="*/ 226799 w 732037"/>
              <a:gd name="csY99" fmla="*/ 548359 h 1571603"/>
              <a:gd name="csX100" fmla="*/ 218639 w 732037"/>
              <a:gd name="csY100" fmla="*/ 522664 h 1571603"/>
              <a:gd name="csX101" fmla="*/ 218264 w 732037"/>
              <a:gd name="csY101" fmla="*/ 505463 h 1571603"/>
              <a:gd name="csX102" fmla="*/ 181762 w 732037"/>
              <a:gd name="csY102" fmla="*/ 437574 h 1571603"/>
              <a:gd name="csX103" fmla="*/ 185971 w 732037"/>
              <a:gd name="csY103" fmla="*/ 289069 h 1571603"/>
              <a:gd name="csX104" fmla="*/ 253787 w 732037"/>
              <a:gd name="csY104" fmla="*/ 175580 h 1571603"/>
              <a:gd name="csX105" fmla="*/ 309639 w 732037"/>
              <a:gd name="csY105" fmla="*/ 108695 h 1571603"/>
              <a:gd name="csX106" fmla="*/ 318061 w 732037"/>
              <a:gd name="csY106" fmla="*/ 98855 h 1571603"/>
              <a:gd name="csX107" fmla="*/ 304967 w 732037"/>
              <a:gd name="csY107" fmla="*/ 70056 h 1571603"/>
              <a:gd name="csX108" fmla="*/ 317012 w 732037"/>
              <a:gd name="csY108" fmla="*/ 19436 h 1571603"/>
              <a:gd name="csX109" fmla="*/ 415542 w 732037"/>
              <a:gd name="csY109" fmla="*/ 18221 h 1571603"/>
              <a:gd name="csX110" fmla="*/ 423203 w 732037"/>
              <a:gd name="csY110" fmla="*/ 82660 h 1571603"/>
              <a:gd name="csX111" fmla="*/ 413361 w 732037"/>
              <a:gd name="csY111" fmla="*/ 97975 h 1571603"/>
              <a:gd name="csX112" fmla="*/ 421654 w 732037"/>
              <a:gd name="csY112" fmla="*/ 106676 h 1571603"/>
              <a:gd name="csX113" fmla="*/ 487032 w 732037"/>
              <a:gd name="csY113" fmla="*/ 184632 h 1571603"/>
              <a:gd name="csX114" fmla="*/ 489213 w 732037"/>
              <a:gd name="csY114" fmla="*/ 208238 h 1571603"/>
              <a:gd name="csX115" fmla="*/ 476520 w 732037"/>
              <a:gd name="csY115" fmla="*/ 235738 h 1571603"/>
              <a:gd name="csX116" fmla="*/ 472850 w 732037"/>
              <a:gd name="csY116" fmla="*/ 230703 h 1571603"/>
              <a:gd name="csX117" fmla="*/ 482723 w 732037"/>
              <a:gd name="csY117" fmla="*/ 208315 h 1571603"/>
              <a:gd name="csX118" fmla="*/ 480764 w 732037"/>
              <a:gd name="csY118" fmla="*/ 187916 h 1571603"/>
              <a:gd name="csX119" fmla="*/ 408519 w 732037"/>
              <a:gd name="csY119" fmla="*/ 105475 h 1571603"/>
              <a:gd name="csX120" fmla="*/ 408625 w 732037"/>
              <a:gd name="csY120" fmla="*/ 89203 h 1571603"/>
              <a:gd name="csX121" fmla="*/ 419600 w 732037"/>
              <a:gd name="csY121" fmla="*/ 71648 h 1571603"/>
              <a:gd name="csX122" fmla="*/ 418792 w 732037"/>
              <a:gd name="csY122" fmla="*/ 63179 h 1571603"/>
              <a:gd name="csX123" fmla="*/ 410943 w 732037"/>
              <a:gd name="csY123" fmla="*/ 66417 h 1571603"/>
              <a:gd name="csX124" fmla="*/ 400140 w 732037"/>
              <a:gd name="csY124" fmla="*/ 76155 h 1571603"/>
              <a:gd name="csX125" fmla="*/ 360599 w 732037"/>
              <a:gd name="csY125" fmla="*/ 51379 h 1571603"/>
              <a:gd name="csX126" fmla="*/ 360842 w 732037"/>
              <a:gd name="csY126" fmla="*/ 39128 h 1571603"/>
              <a:gd name="csX127" fmla="*/ 369470 w 732037"/>
              <a:gd name="csY127" fmla="*/ 30960 h 1571603"/>
              <a:gd name="csX128" fmla="*/ 365613 w 732037"/>
              <a:gd name="csY128" fmla="*/ 49108 h 1571603"/>
              <a:gd name="csX129" fmla="*/ 389468 w 732037"/>
              <a:gd name="csY129" fmla="*/ 71608 h 1571603"/>
              <a:gd name="csX130" fmla="*/ 408822 w 732037"/>
              <a:gd name="csY130" fmla="*/ 46613 h 1571603"/>
              <a:gd name="csX131" fmla="*/ 406842 w 732037"/>
              <a:gd name="csY131" fmla="*/ 38347 h 157160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</a:cxnLst>
            <a:rect l="l" t="t" r="r" b="b"/>
            <a:pathLst>
              <a:path w="732037" h="1571603">
                <a:moveTo>
                  <a:pt x="406842" y="38347"/>
                </a:moveTo>
                <a:cubicBezTo>
                  <a:pt x="408555" y="35869"/>
                  <a:pt x="410622" y="34608"/>
                  <a:pt x="411944" y="38343"/>
                </a:cubicBezTo>
                <a:cubicBezTo>
                  <a:pt x="413676" y="43242"/>
                  <a:pt x="414797" y="48356"/>
                  <a:pt x="416198" y="53444"/>
                </a:cubicBezTo>
                <a:cubicBezTo>
                  <a:pt x="422922" y="48977"/>
                  <a:pt x="424340" y="41699"/>
                  <a:pt x="418945" y="34170"/>
                </a:cubicBezTo>
                <a:cubicBezTo>
                  <a:pt x="412483" y="25152"/>
                  <a:pt x="404444" y="17554"/>
                  <a:pt x="394077" y="12943"/>
                </a:cubicBezTo>
                <a:cubicBezTo>
                  <a:pt x="376702" y="5216"/>
                  <a:pt x="358713" y="6244"/>
                  <a:pt x="341415" y="11814"/>
                </a:cubicBezTo>
                <a:cubicBezTo>
                  <a:pt x="323675" y="17525"/>
                  <a:pt x="304459" y="39816"/>
                  <a:pt x="309440" y="65249"/>
                </a:cubicBezTo>
                <a:cubicBezTo>
                  <a:pt x="310868" y="72543"/>
                  <a:pt x="315482" y="79463"/>
                  <a:pt x="319632" y="85914"/>
                </a:cubicBezTo>
                <a:cubicBezTo>
                  <a:pt x="325434" y="94933"/>
                  <a:pt x="325800" y="102817"/>
                  <a:pt x="318632" y="110015"/>
                </a:cubicBezTo>
                <a:cubicBezTo>
                  <a:pt x="291775" y="136984"/>
                  <a:pt x="269594" y="167702"/>
                  <a:pt x="246921" y="198083"/>
                </a:cubicBezTo>
                <a:cubicBezTo>
                  <a:pt x="230003" y="220751"/>
                  <a:pt x="215685" y="244921"/>
                  <a:pt x="202660" y="269911"/>
                </a:cubicBezTo>
                <a:cubicBezTo>
                  <a:pt x="188381" y="297309"/>
                  <a:pt x="179513" y="326657"/>
                  <a:pt x="176707" y="357233"/>
                </a:cubicBezTo>
                <a:cubicBezTo>
                  <a:pt x="174106" y="385578"/>
                  <a:pt x="180131" y="413140"/>
                  <a:pt x="190612" y="439700"/>
                </a:cubicBezTo>
                <a:cubicBezTo>
                  <a:pt x="199946" y="463353"/>
                  <a:pt x="211538" y="485623"/>
                  <a:pt x="227544" y="505527"/>
                </a:cubicBezTo>
                <a:cubicBezTo>
                  <a:pt x="229982" y="508558"/>
                  <a:pt x="230954" y="512768"/>
                  <a:pt x="232541" y="516294"/>
                </a:cubicBezTo>
                <a:cubicBezTo>
                  <a:pt x="229578" y="520824"/>
                  <a:pt x="226658" y="524724"/>
                  <a:pt x="224356" y="528960"/>
                </a:cubicBezTo>
                <a:cubicBezTo>
                  <a:pt x="221823" y="533618"/>
                  <a:pt x="222675" y="537588"/>
                  <a:pt x="227944" y="540026"/>
                </a:cubicBezTo>
                <a:cubicBezTo>
                  <a:pt x="231656" y="541743"/>
                  <a:pt x="235331" y="543568"/>
                  <a:pt x="238897" y="545570"/>
                </a:cubicBezTo>
                <a:cubicBezTo>
                  <a:pt x="249613" y="551585"/>
                  <a:pt x="251795" y="563681"/>
                  <a:pt x="242386" y="571785"/>
                </a:cubicBezTo>
                <a:cubicBezTo>
                  <a:pt x="233816" y="579166"/>
                  <a:pt x="224045" y="585423"/>
                  <a:pt x="214067" y="590809"/>
                </a:cubicBezTo>
                <a:cubicBezTo>
                  <a:pt x="206271" y="595018"/>
                  <a:pt x="202051" y="601487"/>
                  <a:pt x="201355" y="609067"/>
                </a:cubicBezTo>
                <a:cubicBezTo>
                  <a:pt x="200489" y="618497"/>
                  <a:pt x="195720" y="623726"/>
                  <a:pt x="188474" y="628398"/>
                </a:cubicBezTo>
                <a:cubicBezTo>
                  <a:pt x="177332" y="635582"/>
                  <a:pt x="167866" y="644503"/>
                  <a:pt x="162658" y="657096"/>
                </a:cubicBezTo>
                <a:cubicBezTo>
                  <a:pt x="156420" y="672181"/>
                  <a:pt x="160439" y="684301"/>
                  <a:pt x="175395" y="691621"/>
                </a:cubicBezTo>
                <a:cubicBezTo>
                  <a:pt x="183722" y="695697"/>
                  <a:pt x="192859" y="698589"/>
                  <a:pt x="201948" y="700523"/>
                </a:cubicBezTo>
                <a:cubicBezTo>
                  <a:pt x="214634" y="703224"/>
                  <a:pt x="227616" y="704530"/>
                  <a:pt x="241426" y="706574"/>
                </a:cubicBezTo>
                <a:cubicBezTo>
                  <a:pt x="241839" y="709770"/>
                  <a:pt x="242576" y="712857"/>
                  <a:pt x="242586" y="715946"/>
                </a:cubicBezTo>
                <a:cubicBezTo>
                  <a:pt x="242672" y="744610"/>
                  <a:pt x="243133" y="773285"/>
                  <a:pt x="242424" y="801932"/>
                </a:cubicBezTo>
                <a:cubicBezTo>
                  <a:pt x="242053" y="816907"/>
                  <a:pt x="239631" y="831838"/>
                  <a:pt x="238000" y="846774"/>
                </a:cubicBezTo>
                <a:cubicBezTo>
                  <a:pt x="236368" y="861717"/>
                  <a:pt x="234927" y="876693"/>
                  <a:pt x="232752" y="891559"/>
                </a:cubicBezTo>
                <a:cubicBezTo>
                  <a:pt x="229873" y="911238"/>
                  <a:pt x="226675" y="930882"/>
                  <a:pt x="223037" y="950433"/>
                </a:cubicBezTo>
                <a:cubicBezTo>
                  <a:pt x="219173" y="971193"/>
                  <a:pt x="215113" y="991942"/>
                  <a:pt x="210247" y="1012485"/>
                </a:cubicBezTo>
                <a:cubicBezTo>
                  <a:pt x="205743" y="1031500"/>
                  <a:pt x="200395" y="1050337"/>
                  <a:pt x="194820" y="1069074"/>
                </a:cubicBezTo>
                <a:cubicBezTo>
                  <a:pt x="185401" y="1100731"/>
                  <a:pt x="175708" y="1132311"/>
                  <a:pt x="165707" y="1163788"/>
                </a:cubicBezTo>
                <a:cubicBezTo>
                  <a:pt x="162367" y="1174302"/>
                  <a:pt x="156145" y="1182634"/>
                  <a:pt x="144382" y="1185530"/>
                </a:cubicBezTo>
                <a:cubicBezTo>
                  <a:pt x="139281" y="1186787"/>
                  <a:pt x="134434" y="1189193"/>
                  <a:pt x="129590" y="1191342"/>
                </a:cubicBezTo>
                <a:cubicBezTo>
                  <a:pt x="120028" y="1195581"/>
                  <a:pt x="118779" y="1198539"/>
                  <a:pt x="122255" y="1208476"/>
                </a:cubicBezTo>
                <a:cubicBezTo>
                  <a:pt x="123870" y="1213094"/>
                  <a:pt x="125990" y="1217542"/>
                  <a:pt x="127491" y="1222193"/>
                </a:cubicBezTo>
                <a:cubicBezTo>
                  <a:pt x="132294" y="1237066"/>
                  <a:pt x="129961" y="1250353"/>
                  <a:pt x="118348" y="1261470"/>
                </a:cubicBezTo>
                <a:cubicBezTo>
                  <a:pt x="98275" y="1280686"/>
                  <a:pt x="78038" y="1299737"/>
                  <a:pt x="58232" y="1319224"/>
                </a:cubicBezTo>
                <a:cubicBezTo>
                  <a:pt x="38634" y="1338507"/>
                  <a:pt x="29913" y="1362564"/>
                  <a:pt x="28815" y="1389717"/>
                </a:cubicBezTo>
                <a:cubicBezTo>
                  <a:pt x="28318" y="1402031"/>
                  <a:pt x="29110" y="1414206"/>
                  <a:pt x="32634" y="1426050"/>
                </a:cubicBezTo>
                <a:cubicBezTo>
                  <a:pt x="34273" y="1431554"/>
                  <a:pt x="33300" y="1435929"/>
                  <a:pt x="30331" y="1441003"/>
                </a:cubicBezTo>
                <a:cubicBezTo>
                  <a:pt x="16698" y="1464298"/>
                  <a:pt x="8890" y="1489397"/>
                  <a:pt x="9180" y="1516655"/>
                </a:cubicBezTo>
                <a:cubicBezTo>
                  <a:pt x="9291" y="1527012"/>
                  <a:pt x="9917" y="1528771"/>
                  <a:pt x="20082" y="1531402"/>
                </a:cubicBezTo>
                <a:cubicBezTo>
                  <a:pt x="38179" y="1536086"/>
                  <a:pt x="56480" y="1540035"/>
                  <a:pt x="74798" y="1543794"/>
                </a:cubicBezTo>
                <a:cubicBezTo>
                  <a:pt x="87517" y="1546403"/>
                  <a:pt x="100396" y="1548250"/>
                  <a:pt x="113225" y="1550305"/>
                </a:cubicBezTo>
                <a:cubicBezTo>
                  <a:pt x="120841" y="1551524"/>
                  <a:pt x="128467" y="1552843"/>
                  <a:pt x="136142" y="1553484"/>
                </a:cubicBezTo>
                <a:cubicBezTo>
                  <a:pt x="149934" y="1554635"/>
                  <a:pt x="163778" y="1555156"/>
                  <a:pt x="177578" y="1556220"/>
                </a:cubicBezTo>
                <a:cubicBezTo>
                  <a:pt x="195403" y="1557595"/>
                  <a:pt x="213196" y="1559407"/>
                  <a:pt x="231027" y="1560698"/>
                </a:cubicBezTo>
                <a:cubicBezTo>
                  <a:pt x="238768" y="1561259"/>
                  <a:pt x="246585" y="1560709"/>
                  <a:pt x="254342" y="1561142"/>
                </a:cubicBezTo>
                <a:cubicBezTo>
                  <a:pt x="322588" y="1564942"/>
                  <a:pt x="390896" y="1563427"/>
                  <a:pt x="459180" y="1563411"/>
                </a:cubicBezTo>
                <a:cubicBezTo>
                  <a:pt x="483236" y="1563406"/>
                  <a:pt x="507311" y="1562248"/>
                  <a:pt x="531340" y="1560936"/>
                </a:cubicBezTo>
                <a:cubicBezTo>
                  <a:pt x="551225" y="1559849"/>
                  <a:pt x="571160" y="1558554"/>
                  <a:pt x="590888" y="1555951"/>
                </a:cubicBezTo>
                <a:cubicBezTo>
                  <a:pt x="631179" y="1550635"/>
                  <a:pt x="671338" y="1544328"/>
                  <a:pt x="710712" y="1533916"/>
                </a:cubicBezTo>
                <a:cubicBezTo>
                  <a:pt x="722630" y="1530764"/>
                  <a:pt x="724036" y="1528558"/>
                  <a:pt x="724356" y="1516144"/>
                </a:cubicBezTo>
                <a:cubicBezTo>
                  <a:pt x="724970" y="1492256"/>
                  <a:pt x="718637" y="1470245"/>
                  <a:pt x="707380" y="1449380"/>
                </a:cubicBezTo>
                <a:cubicBezTo>
                  <a:pt x="706259" y="1447304"/>
                  <a:pt x="706896" y="1444279"/>
                  <a:pt x="707050" y="1440881"/>
                </a:cubicBezTo>
                <a:cubicBezTo>
                  <a:pt x="722747" y="1457101"/>
                  <a:pt x="728653" y="1477963"/>
                  <a:pt x="731479" y="1500017"/>
                </a:cubicBezTo>
                <a:cubicBezTo>
                  <a:pt x="731992" y="1504029"/>
                  <a:pt x="731781" y="1508135"/>
                  <a:pt x="731163" y="1513759"/>
                </a:cubicBezTo>
                <a:cubicBezTo>
                  <a:pt x="730831" y="1517468"/>
                  <a:pt x="731241" y="1519618"/>
                  <a:pt x="731650" y="1521766"/>
                </a:cubicBezTo>
                <a:cubicBezTo>
                  <a:pt x="733191" y="1529956"/>
                  <a:pt x="730165" y="1535242"/>
                  <a:pt x="721896" y="1537319"/>
                </a:cubicBezTo>
                <a:cubicBezTo>
                  <a:pt x="700520" y="1542690"/>
                  <a:pt x="679367" y="1549248"/>
                  <a:pt x="657740" y="1553265"/>
                </a:cubicBezTo>
                <a:cubicBezTo>
                  <a:pt x="608220" y="1562464"/>
                  <a:pt x="558146" y="1566701"/>
                  <a:pt x="507791" y="1568943"/>
                </a:cubicBezTo>
                <a:cubicBezTo>
                  <a:pt x="426738" y="1572552"/>
                  <a:pt x="345677" y="1572161"/>
                  <a:pt x="264676" y="1569724"/>
                </a:cubicBezTo>
                <a:cubicBezTo>
                  <a:pt x="203800" y="1567891"/>
                  <a:pt x="142882" y="1563907"/>
                  <a:pt x="82743" y="1553254"/>
                </a:cubicBezTo>
                <a:cubicBezTo>
                  <a:pt x="60647" y="1549341"/>
                  <a:pt x="38739" y="1544032"/>
                  <a:pt x="17072" y="1538153"/>
                </a:cubicBezTo>
                <a:cubicBezTo>
                  <a:pt x="1381" y="1533894"/>
                  <a:pt x="-938" y="1529341"/>
                  <a:pt x="275" y="1513030"/>
                </a:cubicBezTo>
                <a:cubicBezTo>
                  <a:pt x="2146" y="1487871"/>
                  <a:pt x="7321" y="1463566"/>
                  <a:pt x="20923" y="1441861"/>
                </a:cubicBezTo>
                <a:cubicBezTo>
                  <a:pt x="24812" y="1435656"/>
                  <a:pt x="24566" y="1429699"/>
                  <a:pt x="23045" y="1423105"/>
                </a:cubicBezTo>
                <a:cubicBezTo>
                  <a:pt x="16952" y="1396684"/>
                  <a:pt x="19689" y="1370924"/>
                  <a:pt x="30564" y="1346289"/>
                </a:cubicBezTo>
                <a:cubicBezTo>
                  <a:pt x="39621" y="1325774"/>
                  <a:pt x="54481" y="1309709"/>
                  <a:pt x="71350" y="1295039"/>
                </a:cubicBezTo>
                <a:cubicBezTo>
                  <a:pt x="85712" y="1282550"/>
                  <a:pt x="99164" y="1268932"/>
                  <a:pt x="112257" y="1255093"/>
                </a:cubicBezTo>
                <a:cubicBezTo>
                  <a:pt x="122891" y="1243852"/>
                  <a:pt x="124955" y="1230879"/>
                  <a:pt x="115864" y="1217271"/>
                </a:cubicBezTo>
                <a:cubicBezTo>
                  <a:pt x="114506" y="1215239"/>
                  <a:pt x="113304" y="1213078"/>
                  <a:pt x="112256" y="1210870"/>
                </a:cubicBezTo>
                <a:cubicBezTo>
                  <a:pt x="106526" y="1198808"/>
                  <a:pt x="109052" y="1191969"/>
                  <a:pt x="121141" y="1186548"/>
                </a:cubicBezTo>
                <a:cubicBezTo>
                  <a:pt x="126274" y="1184246"/>
                  <a:pt x="131201" y="1180803"/>
                  <a:pt x="136571" y="1179850"/>
                </a:cubicBezTo>
                <a:cubicBezTo>
                  <a:pt x="149372" y="1177579"/>
                  <a:pt x="154892" y="1168948"/>
                  <a:pt x="158281" y="1157879"/>
                </a:cubicBezTo>
                <a:cubicBezTo>
                  <a:pt x="168288" y="1125194"/>
                  <a:pt x="179178" y="1092742"/>
                  <a:pt x="187986" y="1059736"/>
                </a:cubicBezTo>
                <a:cubicBezTo>
                  <a:pt x="198666" y="1019713"/>
                  <a:pt x="207813" y="979272"/>
                  <a:pt x="217119" y="938896"/>
                </a:cubicBezTo>
                <a:cubicBezTo>
                  <a:pt x="220491" y="924267"/>
                  <a:pt x="222410" y="909302"/>
                  <a:pt x="225792" y="893236"/>
                </a:cubicBezTo>
                <a:cubicBezTo>
                  <a:pt x="226444" y="890644"/>
                  <a:pt x="226297" y="889307"/>
                  <a:pt x="226150" y="887970"/>
                </a:cubicBezTo>
                <a:cubicBezTo>
                  <a:pt x="227450" y="877085"/>
                  <a:pt x="228750" y="866198"/>
                  <a:pt x="230782" y="853969"/>
                </a:cubicBezTo>
                <a:cubicBezTo>
                  <a:pt x="231271" y="851270"/>
                  <a:pt x="231029" y="849914"/>
                  <a:pt x="230786" y="848558"/>
                </a:cubicBezTo>
                <a:cubicBezTo>
                  <a:pt x="231390" y="840967"/>
                  <a:pt x="231993" y="833375"/>
                  <a:pt x="233315" y="824438"/>
                </a:cubicBezTo>
                <a:cubicBezTo>
                  <a:pt x="233755" y="821744"/>
                  <a:pt x="233477" y="820397"/>
                  <a:pt x="233199" y="819050"/>
                </a:cubicBezTo>
                <a:cubicBezTo>
                  <a:pt x="233786" y="807422"/>
                  <a:pt x="234374" y="795794"/>
                  <a:pt x="235848" y="782380"/>
                </a:cubicBezTo>
                <a:cubicBezTo>
                  <a:pt x="237047" y="760099"/>
                  <a:pt x="237488" y="739606"/>
                  <a:pt x="237465" y="719113"/>
                </a:cubicBezTo>
                <a:cubicBezTo>
                  <a:pt x="237463" y="717127"/>
                  <a:pt x="234595" y="715144"/>
                  <a:pt x="233057" y="713160"/>
                </a:cubicBezTo>
                <a:cubicBezTo>
                  <a:pt x="223043" y="711630"/>
                  <a:pt x="212881" y="710731"/>
                  <a:pt x="203056" y="708405"/>
                </a:cubicBezTo>
                <a:cubicBezTo>
                  <a:pt x="191716" y="705720"/>
                  <a:pt x="180144" y="702931"/>
                  <a:pt x="169628" y="698106"/>
                </a:cubicBezTo>
                <a:cubicBezTo>
                  <a:pt x="154505" y="691164"/>
                  <a:pt x="148867" y="675179"/>
                  <a:pt x="153237" y="659111"/>
                </a:cubicBezTo>
                <a:cubicBezTo>
                  <a:pt x="157196" y="644561"/>
                  <a:pt x="166649" y="634454"/>
                  <a:pt x="178365" y="626008"/>
                </a:cubicBezTo>
                <a:cubicBezTo>
                  <a:pt x="182258" y="623202"/>
                  <a:pt x="186579" y="620992"/>
                  <a:pt x="191885" y="617513"/>
                </a:cubicBezTo>
                <a:cubicBezTo>
                  <a:pt x="194882" y="614532"/>
                  <a:pt x="197062" y="612583"/>
                  <a:pt x="193681" y="610098"/>
                </a:cubicBezTo>
                <a:cubicBezTo>
                  <a:pt x="193381" y="595591"/>
                  <a:pt x="202034" y="586776"/>
                  <a:pt x="213301" y="579885"/>
                </a:cubicBezTo>
                <a:cubicBezTo>
                  <a:pt x="218517" y="576695"/>
                  <a:pt x="224270" y="574393"/>
                  <a:pt x="229635" y="571429"/>
                </a:cubicBezTo>
                <a:cubicBezTo>
                  <a:pt x="232401" y="569901"/>
                  <a:pt x="235344" y="568225"/>
                  <a:pt x="237351" y="565882"/>
                </a:cubicBezTo>
                <a:cubicBezTo>
                  <a:pt x="243193" y="559063"/>
                  <a:pt x="242021" y="554779"/>
                  <a:pt x="233673" y="550926"/>
                </a:cubicBezTo>
                <a:cubicBezTo>
                  <a:pt x="231458" y="549904"/>
                  <a:pt x="229049" y="549314"/>
                  <a:pt x="226799" y="548359"/>
                </a:cubicBezTo>
                <a:cubicBezTo>
                  <a:pt x="215108" y="543398"/>
                  <a:pt x="211118" y="532802"/>
                  <a:pt x="218639" y="522664"/>
                </a:cubicBezTo>
                <a:cubicBezTo>
                  <a:pt x="223647" y="515913"/>
                  <a:pt x="222661" y="511633"/>
                  <a:pt x="218264" y="505463"/>
                </a:cubicBezTo>
                <a:cubicBezTo>
                  <a:pt x="203255" y="484407"/>
                  <a:pt x="190650" y="461993"/>
                  <a:pt x="181762" y="437574"/>
                </a:cubicBezTo>
                <a:cubicBezTo>
                  <a:pt x="163530" y="387483"/>
                  <a:pt x="165826" y="338057"/>
                  <a:pt x="185971" y="289069"/>
                </a:cubicBezTo>
                <a:cubicBezTo>
                  <a:pt x="202921" y="247851"/>
                  <a:pt x="226229" y="210377"/>
                  <a:pt x="253787" y="175580"/>
                </a:cubicBezTo>
                <a:cubicBezTo>
                  <a:pt x="271814" y="152817"/>
                  <a:pt x="290973" y="130951"/>
                  <a:pt x="309639" y="108695"/>
                </a:cubicBezTo>
                <a:cubicBezTo>
                  <a:pt x="312744" y="104993"/>
                  <a:pt x="315922" y="101352"/>
                  <a:pt x="318061" y="98855"/>
                </a:cubicBezTo>
                <a:cubicBezTo>
                  <a:pt x="313257" y="88362"/>
                  <a:pt x="308695" y="79376"/>
                  <a:pt x="304967" y="70056"/>
                </a:cubicBezTo>
                <a:cubicBezTo>
                  <a:pt x="297146" y="50504"/>
                  <a:pt x="303366" y="33481"/>
                  <a:pt x="317012" y="19436"/>
                </a:cubicBezTo>
                <a:cubicBezTo>
                  <a:pt x="344741" y="-9105"/>
                  <a:pt x="393463" y="-3345"/>
                  <a:pt x="415542" y="18221"/>
                </a:cubicBezTo>
                <a:cubicBezTo>
                  <a:pt x="429559" y="31914"/>
                  <a:pt x="438373" y="56968"/>
                  <a:pt x="423203" y="82660"/>
                </a:cubicBezTo>
                <a:cubicBezTo>
                  <a:pt x="420306" y="87568"/>
                  <a:pt x="417047" y="92262"/>
                  <a:pt x="413361" y="97975"/>
                </a:cubicBezTo>
                <a:cubicBezTo>
                  <a:pt x="416167" y="100932"/>
                  <a:pt x="418781" y="103940"/>
                  <a:pt x="421654" y="106676"/>
                </a:cubicBezTo>
                <a:cubicBezTo>
                  <a:pt x="446372" y="130213"/>
                  <a:pt x="467902" y="156374"/>
                  <a:pt x="487032" y="184632"/>
                </a:cubicBezTo>
                <a:cubicBezTo>
                  <a:pt x="492374" y="192525"/>
                  <a:pt x="493990" y="199495"/>
                  <a:pt x="489213" y="208238"/>
                </a:cubicBezTo>
                <a:cubicBezTo>
                  <a:pt x="484525" y="216819"/>
                  <a:pt x="481033" y="226053"/>
                  <a:pt x="476520" y="235738"/>
                </a:cubicBezTo>
                <a:cubicBezTo>
                  <a:pt x="472168" y="236089"/>
                  <a:pt x="471165" y="234358"/>
                  <a:pt x="472850" y="230703"/>
                </a:cubicBezTo>
                <a:cubicBezTo>
                  <a:pt x="476263" y="223297"/>
                  <a:pt x="479344" y="215738"/>
                  <a:pt x="482723" y="208315"/>
                </a:cubicBezTo>
                <a:cubicBezTo>
                  <a:pt x="486016" y="201080"/>
                  <a:pt x="485571" y="194961"/>
                  <a:pt x="480764" y="187916"/>
                </a:cubicBezTo>
                <a:cubicBezTo>
                  <a:pt x="459995" y="157475"/>
                  <a:pt x="437234" y="128912"/>
                  <a:pt x="408519" y="105475"/>
                </a:cubicBezTo>
                <a:cubicBezTo>
                  <a:pt x="403555" y="101425"/>
                  <a:pt x="403835" y="96489"/>
                  <a:pt x="408625" y="89203"/>
                </a:cubicBezTo>
                <a:cubicBezTo>
                  <a:pt x="412416" y="83438"/>
                  <a:pt x="416045" y="77562"/>
                  <a:pt x="419600" y="71648"/>
                </a:cubicBezTo>
                <a:cubicBezTo>
                  <a:pt x="421349" y="68739"/>
                  <a:pt x="422717" y="65537"/>
                  <a:pt x="418792" y="63179"/>
                </a:cubicBezTo>
                <a:cubicBezTo>
                  <a:pt x="414834" y="60801"/>
                  <a:pt x="413218" y="63883"/>
                  <a:pt x="410943" y="66417"/>
                </a:cubicBezTo>
                <a:cubicBezTo>
                  <a:pt x="407706" y="70022"/>
                  <a:pt x="404330" y="74045"/>
                  <a:pt x="400140" y="76155"/>
                </a:cubicBezTo>
                <a:cubicBezTo>
                  <a:pt x="381561" y="85507"/>
                  <a:pt x="360821" y="72312"/>
                  <a:pt x="360599" y="51379"/>
                </a:cubicBezTo>
                <a:cubicBezTo>
                  <a:pt x="360556" y="47292"/>
                  <a:pt x="360308" y="43152"/>
                  <a:pt x="360842" y="39128"/>
                </a:cubicBezTo>
                <a:cubicBezTo>
                  <a:pt x="361447" y="34568"/>
                  <a:pt x="362880" y="30159"/>
                  <a:pt x="369470" y="30960"/>
                </a:cubicBezTo>
                <a:cubicBezTo>
                  <a:pt x="368501" y="37551"/>
                  <a:pt x="365745" y="43300"/>
                  <a:pt x="365613" y="49108"/>
                </a:cubicBezTo>
                <a:cubicBezTo>
                  <a:pt x="365328" y="61659"/>
                  <a:pt x="377498" y="72522"/>
                  <a:pt x="389468" y="71608"/>
                </a:cubicBezTo>
                <a:cubicBezTo>
                  <a:pt x="401478" y="70690"/>
                  <a:pt x="410127" y="59637"/>
                  <a:pt x="408822" y="46613"/>
                </a:cubicBezTo>
                <a:cubicBezTo>
                  <a:pt x="408542" y="43819"/>
                  <a:pt x="407521" y="41100"/>
                  <a:pt x="406842" y="38347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7" name="Free-form: Shape 206">
            <a:extLst>
              <a:ext uri="{FF2B5EF4-FFF2-40B4-BE49-F238E27FC236}">
                <a16:creationId xmlns:a16="http://schemas.microsoft.com/office/drawing/2014/main" id="{2C4006F3-1B42-878D-22CC-2D98DE9F90DA}"/>
              </a:ext>
            </a:extLst>
          </p:cNvPr>
          <p:cNvSpPr/>
          <p:nvPr/>
        </p:nvSpPr>
        <p:spPr>
          <a:xfrm>
            <a:off x="1525119" y="4829322"/>
            <a:ext cx="91545" cy="184495"/>
          </a:xfrm>
          <a:custGeom>
            <a:avLst/>
            <a:gdLst>
              <a:gd name="csX0" fmla="*/ 96534 w 100699"/>
              <a:gd name="csY0" fmla="*/ 202912 h 202945"/>
              <a:gd name="csX1" fmla="*/ 91036 w 100699"/>
              <a:gd name="csY1" fmla="*/ 196780 h 202945"/>
              <a:gd name="csX2" fmla="*/ 93357 w 100699"/>
              <a:gd name="csY2" fmla="*/ 178731 h 202945"/>
              <a:gd name="csX3" fmla="*/ 75903 w 100699"/>
              <a:gd name="csY3" fmla="*/ 106029 h 202945"/>
              <a:gd name="csX4" fmla="*/ 72780 w 100699"/>
              <a:gd name="csY4" fmla="*/ 102473 h 202945"/>
              <a:gd name="csX5" fmla="*/ 10982 w 100699"/>
              <a:gd name="csY5" fmla="*/ 41414 h 202945"/>
              <a:gd name="csX6" fmla="*/ 676 w 100699"/>
              <a:gd name="csY6" fmla="*/ 2936 h 202945"/>
              <a:gd name="csX7" fmla="*/ 5198 w 100699"/>
              <a:gd name="csY7" fmla="*/ 0 h 202945"/>
              <a:gd name="csX8" fmla="*/ 15435 w 100699"/>
              <a:gd name="csY8" fmla="*/ 35855 h 202945"/>
              <a:gd name="csX9" fmla="*/ 44498 w 100699"/>
              <a:gd name="csY9" fmla="*/ 63833 h 202945"/>
              <a:gd name="csX10" fmla="*/ 81385 w 100699"/>
              <a:gd name="csY10" fmla="*/ 106005 h 202945"/>
              <a:gd name="csX11" fmla="*/ 98950 w 100699"/>
              <a:gd name="csY11" fmla="*/ 190063 h 202945"/>
              <a:gd name="csX12" fmla="*/ 96534 w 100699"/>
              <a:gd name="csY12" fmla="*/ 202912 h 20294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</a:cxnLst>
            <a:rect l="l" t="t" r="r" b="b"/>
            <a:pathLst>
              <a:path w="100699" h="202945">
                <a:moveTo>
                  <a:pt x="96534" y="202912"/>
                </a:moveTo>
                <a:cubicBezTo>
                  <a:pt x="91699" y="203291"/>
                  <a:pt x="90650" y="200377"/>
                  <a:pt x="91036" y="196780"/>
                </a:cubicBezTo>
                <a:cubicBezTo>
                  <a:pt x="91685" y="190750"/>
                  <a:pt x="92933" y="184771"/>
                  <a:pt x="93357" y="178731"/>
                </a:cubicBezTo>
                <a:cubicBezTo>
                  <a:pt x="95183" y="152694"/>
                  <a:pt x="86034" y="129222"/>
                  <a:pt x="75903" y="106029"/>
                </a:cubicBezTo>
                <a:cubicBezTo>
                  <a:pt x="75300" y="104650"/>
                  <a:pt x="73904" y="103585"/>
                  <a:pt x="72780" y="102473"/>
                </a:cubicBezTo>
                <a:cubicBezTo>
                  <a:pt x="52199" y="82101"/>
                  <a:pt x="31673" y="61673"/>
                  <a:pt x="10982" y="41414"/>
                </a:cubicBezTo>
                <a:cubicBezTo>
                  <a:pt x="-119" y="30544"/>
                  <a:pt x="-1041" y="17093"/>
                  <a:pt x="676" y="2936"/>
                </a:cubicBezTo>
                <a:cubicBezTo>
                  <a:pt x="808" y="1852"/>
                  <a:pt x="2922" y="1010"/>
                  <a:pt x="5198" y="0"/>
                </a:cubicBezTo>
                <a:cubicBezTo>
                  <a:pt x="2043" y="13772"/>
                  <a:pt x="5665" y="25821"/>
                  <a:pt x="15435" y="35855"/>
                </a:cubicBezTo>
                <a:cubicBezTo>
                  <a:pt x="24811" y="45486"/>
                  <a:pt x="35301" y="54047"/>
                  <a:pt x="44498" y="63833"/>
                </a:cubicBezTo>
                <a:cubicBezTo>
                  <a:pt x="57293" y="77447"/>
                  <a:pt x="70760" y="90773"/>
                  <a:pt x="81385" y="106005"/>
                </a:cubicBezTo>
                <a:cubicBezTo>
                  <a:pt x="98896" y="131109"/>
                  <a:pt x="103759" y="159808"/>
                  <a:pt x="98950" y="190063"/>
                </a:cubicBezTo>
                <a:cubicBezTo>
                  <a:pt x="98311" y="194082"/>
                  <a:pt x="97697" y="198105"/>
                  <a:pt x="96534" y="202912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8" name="Free-form: Shape 207">
            <a:extLst>
              <a:ext uri="{FF2B5EF4-FFF2-40B4-BE49-F238E27FC236}">
                <a16:creationId xmlns:a16="http://schemas.microsoft.com/office/drawing/2014/main" id="{48936328-5C82-27BE-CF53-EAA0AB7798EC}"/>
              </a:ext>
            </a:extLst>
          </p:cNvPr>
          <p:cNvSpPr/>
          <p:nvPr/>
        </p:nvSpPr>
        <p:spPr>
          <a:xfrm>
            <a:off x="1183835" y="4365286"/>
            <a:ext cx="3739" cy="60936"/>
          </a:xfrm>
          <a:custGeom>
            <a:avLst/>
            <a:gdLst>
              <a:gd name="csX0" fmla="*/ 0 w 4113"/>
              <a:gd name="csY0" fmla="*/ 0 h 67029"/>
              <a:gd name="csX1" fmla="*/ 4113 w 4113"/>
              <a:gd name="csY1" fmla="*/ 4824 h 67029"/>
              <a:gd name="csX2" fmla="*/ 2662 w 4113"/>
              <a:gd name="csY2" fmla="*/ 67030 h 67029"/>
              <a:gd name="csX3" fmla="*/ 631 w 4113"/>
              <a:gd name="csY3" fmla="*/ 55883 h 67029"/>
              <a:gd name="csX4" fmla="*/ 0 w 4113"/>
              <a:gd name="csY4" fmla="*/ 0 h 6702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4113" h="67029">
                <a:moveTo>
                  <a:pt x="0" y="0"/>
                </a:moveTo>
                <a:cubicBezTo>
                  <a:pt x="1242" y="855"/>
                  <a:pt x="4111" y="2838"/>
                  <a:pt x="4113" y="4824"/>
                </a:cubicBezTo>
                <a:cubicBezTo>
                  <a:pt x="4135" y="25317"/>
                  <a:pt x="3695" y="45810"/>
                  <a:pt x="2662" y="67030"/>
                </a:cubicBezTo>
                <a:cubicBezTo>
                  <a:pt x="1483" y="63799"/>
                  <a:pt x="680" y="59846"/>
                  <a:pt x="631" y="55883"/>
                </a:cubicBezTo>
                <a:cubicBezTo>
                  <a:pt x="404" y="37633"/>
                  <a:pt x="388" y="19381"/>
                  <a:pt x="0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9" name="Free-form: Shape 208">
            <a:extLst>
              <a:ext uri="{FF2B5EF4-FFF2-40B4-BE49-F238E27FC236}">
                <a16:creationId xmlns:a16="http://schemas.microsoft.com/office/drawing/2014/main" id="{992934EF-5101-59CC-75A1-98413C447FD1}"/>
              </a:ext>
            </a:extLst>
          </p:cNvPr>
          <p:cNvSpPr/>
          <p:nvPr/>
        </p:nvSpPr>
        <p:spPr>
          <a:xfrm>
            <a:off x="1636224" y="5093086"/>
            <a:ext cx="1060" cy="5803"/>
          </a:xfrm>
          <a:custGeom>
            <a:avLst/>
            <a:gdLst>
              <a:gd name="csX0" fmla="*/ 1130 w 1165"/>
              <a:gd name="csY0" fmla="*/ 6385 h 6384"/>
              <a:gd name="csX1" fmla="*/ 49 w 1165"/>
              <a:gd name="csY1" fmla="*/ 0 h 6384"/>
              <a:gd name="csX2" fmla="*/ 1130 w 1165"/>
              <a:gd name="csY2" fmla="*/ 6385 h 638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165" h="6384">
                <a:moveTo>
                  <a:pt x="1130" y="6385"/>
                </a:moveTo>
                <a:cubicBezTo>
                  <a:pt x="260" y="4748"/>
                  <a:pt x="-149" y="2599"/>
                  <a:pt x="49" y="0"/>
                </a:cubicBezTo>
                <a:cubicBezTo>
                  <a:pt x="969" y="1658"/>
                  <a:pt x="1279" y="3765"/>
                  <a:pt x="1130" y="6385"/>
                </a:cubicBezTo>
                <a:close/>
              </a:path>
            </a:pathLst>
          </a:custGeom>
          <a:solidFill>
            <a:srgbClr val="939B9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0" name="Free-form: Shape 209">
            <a:extLst>
              <a:ext uri="{FF2B5EF4-FFF2-40B4-BE49-F238E27FC236}">
                <a16:creationId xmlns:a16="http://schemas.microsoft.com/office/drawing/2014/main" id="{4D3D4BC4-BECC-EEB3-C512-45B755AC9517}"/>
              </a:ext>
            </a:extLst>
          </p:cNvPr>
          <p:cNvSpPr/>
          <p:nvPr/>
        </p:nvSpPr>
        <p:spPr>
          <a:xfrm>
            <a:off x="1606495" y="5018991"/>
            <a:ext cx="5440" cy="2491"/>
          </a:xfrm>
          <a:custGeom>
            <a:avLst/>
            <a:gdLst>
              <a:gd name="csX0" fmla="*/ 5985 w 5984"/>
              <a:gd name="csY0" fmla="*/ 1832 h 2740"/>
              <a:gd name="csX1" fmla="*/ 0 w 5984"/>
              <a:gd name="csY1" fmla="*/ 2740 h 2740"/>
              <a:gd name="csX2" fmla="*/ 4930 w 5984"/>
              <a:gd name="csY2" fmla="*/ 0 h 2740"/>
              <a:gd name="csX3" fmla="*/ 5985 w 5984"/>
              <a:gd name="csY3" fmla="*/ 1832 h 274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</a:cxnLst>
            <a:rect l="l" t="t" r="r" b="b"/>
            <a:pathLst>
              <a:path w="5984" h="2740">
                <a:moveTo>
                  <a:pt x="5985" y="1832"/>
                </a:moveTo>
                <a:cubicBezTo>
                  <a:pt x="3992" y="2553"/>
                  <a:pt x="1996" y="2646"/>
                  <a:pt x="0" y="2740"/>
                </a:cubicBezTo>
                <a:cubicBezTo>
                  <a:pt x="1398" y="1830"/>
                  <a:pt x="2796" y="920"/>
                  <a:pt x="4930" y="0"/>
                </a:cubicBezTo>
                <a:cubicBezTo>
                  <a:pt x="5772" y="394"/>
                  <a:pt x="5877" y="799"/>
                  <a:pt x="5985" y="1832"/>
                </a:cubicBezTo>
                <a:close/>
              </a:path>
            </a:pathLst>
          </a:custGeom>
          <a:solidFill>
            <a:srgbClr val="8E9395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1" name="Free-form: Shape 210">
            <a:extLst>
              <a:ext uri="{FF2B5EF4-FFF2-40B4-BE49-F238E27FC236}">
                <a16:creationId xmlns:a16="http://schemas.microsoft.com/office/drawing/2014/main" id="{B3FA667B-04C8-A47C-DCC8-14C4EBB6BCD7}"/>
              </a:ext>
            </a:extLst>
          </p:cNvPr>
          <p:cNvSpPr/>
          <p:nvPr/>
        </p:nvSpPr>
        <p:spPr>
          <a:xfrm>
            <a:off x="1146608" y="4271106"/>
            <a:ext cx="2645" cy="5625"/>
          </a:xfrm>
          <a:custGeom>
            <a:avLst/>
            <a:gdLst>
              <a:gd name="csX0" fmla="*/ 815 w 2910"/>
              <a:gd name="csY0" fmla="*/ 0 h 6187"/>
              <a:gd name="csX1" fmla="*/ 113 w 2910"/>
              <a:gd name="csY1" fmla="*/ 6187 h 6187"/>
              <a:gd name="csX2" fmla="*/ 815 w 2910"/>
              <a:gd name="csY2" fmla="*/ 0 h 618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2910" h="6187">
                <a:moveTo>
                  <a:pt x="815" y="0"/>
                </a:moveTo>
                <a:cubicBezTo>
                  <a:pt x="4660" y="1891"/>
                  <a:pt x="2480" y="3840"/>
                  <a:pt x="113" y="6187"/>
                </a:cubicBezTo>
                <a:cubicBezTo>
                  <a:pt x="-172" y="4565"/>
                  <a:pt x="89" y="2579"/>
                  <a:pt x="815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2" name="Free-form: Shape 211">
            <a:extLst>
              <a:ext uri="{FF2B5EF4-FFF2-40B4-BE49-F238E27FC236}">
                <a16:creationId xmlns:a16="http://schemas.microsoft.com/office/drawing/2014/main" id="{31881EAF-CCBD-A62F-FC30-1BCAED07307B}"/>
              </a:ext>
            </a:extLst>
          </p:cNvPr>
          <p:cNvSpPr/>
          <p:nvPr/>
        </p:nvSpPr>
        <p:spPr>
          <a:xfrm>
            <a:off x="1181023" y="4487680"/>
            <a:ext cx="770" cy="3664"/>
          </a:xfrm>
          <a:custGeom>
            <a:avLst/>
            <a:gdLst>
              <a:gd name="csX0" fmla="*/ 106 w 847"/>
              <a:gd name="csY0" fmla="*/ 0 h 4030"/>
              <a:gd name="csX1" fmla="*/ 732 w 847"/>
              <a:gd name="csY1" fmla="*/ 4031 h 4030"/>
              <a:gd name="csX2" fmla="*/ 106 w 847"/>
              <a:gd name="csY2" fmla="*/ 0 h 403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7" h="4030">
                <a:moveTo>
                  <a:pt x="106" y="0"/>
                </a:moveTo>
                <a:cubicBezTo>
                  <a:pt x="770" y="990"/>
                  <a:pt x="1013" y="2346"/>
                  <a:pt x="732" y="4031"/>
                </a:cubicBezTo>
                <a:cubicBezTo>
                  <a:pt x="34" y="3029"/>
                  <a:pt x="-141" y="1697"/>
                  <a:pt x="106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3" name="Free-form: Shape 212">
            <a:extLst>
              <a:ext uri="{FF2B5EF4-FFF2-40B4-BE49-F238E27FC236}">
                <a16:creationId xmlns:a16="http://schemas.microsoft.com/office/drawing/2014/main" id="{B8703850-44AA-42CA-1D7E-2CBE61661245}"/>
              </a:ext>
            </a:extLst>
          </p:cNvPr>
          <p:cNvSpPr/>
          <p:nvPr/>
        </p:nvSpPr>
        <p:spPr>
          <a:xfrm>
            <a:off x="1176699" y="4523474"/>
            <a:ext cx="703" cy="3631"/>
          </a:xfrm>
          <a:custGeom>
            <a:avLst/>
            <a:gdLst>
              <a:gd name="csX0" fmla="*/ 195 w 774"/>
              <a:gd name="csY0" fmla="*/ 0 h 3994"/>
              <a:gd name="csX1" fmla="*/ 575 w 774"/>
              <a:gd name="csY1" fmla="*/ 3994 h 3994"/>
              <a:gd name="csX2" fmla="*/ 195 w 774"/>
              <a:gd name="csY2" fmla="*/ 0 h 399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774" h="3994">
                <a:moveTo>
                  <a:pt x="195" y="0"/>
                </a:moveTo>
                <a:cubicBezTo>
                  <a:pt x="794" y="1011"/>
                  <a:pt x="941" y="2348"/>
                  <a:pt x="575" y="3994"/>
                </a:cubicBezTo>
                <a:cubicBezTo>
                  <a:pt x="-44" y="2978"/>
                  <a:pt x="-151" y="1652"/>
                  <a:pt x="195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4" name="Free-form: Shape 213">
            <a:extLst>
              <a:ext uri="{FF2B5EF4-FFF2-40B4-BE49-F238E27FC236}">
                <a16:creationId xmlns:a16="http://schemas.microsoft.com/office/drawing/2014/main" id="{698A5148-044C-4200-0D38-19CD0171A3B8}"/>
              </a:ext>
            </a:extLst>
          </p:cNvPr>
          <p:cNvSpPr/>
          <p:nvPr/>
        </p:nvSpPr>
        <p:spPr>
          <a:xfrm>
            <a:off x="1183276" y="4460870"/>
            <a:ext cx="787" cy="3631"/>
          </a:xfrm>
          <a:custGeom>
            <a:avLst/>
            <a:gdLst>
              <a:gd name="csX0" fmla="*/ 71 w 865"/>
              <a:gd name="csY0" fmla="*/ 0 h 3995"/>
              <a:gd name="csX1" fmla="*/ 783 w 865"/>
              <a:gd name="csY1" fmla="*/ 3996 h 3995"/>
              <a:gd name="csX2" fmla="*/ 71 w 865"/>
              <a:gd name="csY2" fmla="*/ 0 h 399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65" h="3995">
                <a:moveTo>
                  <a:pt x="71" y="0"/>
                </a:moveTo>
                <a:cubicBezTo>
                  <a:pt x="740" y="963"/>
                  <a:pt x="1018" y="2311"/>
                  <a:pt x="783" y="3996"/>
                </a:cubicBezTo>
                <a:cubicBezTo>
                  <a:pt x="73" y="3017"/>
                  <a:pt x="-124" y="1701"/>
                  <a:pt x="71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5" name="Free-form: Shape 214">
            <a:extLst>
              <a:ext uri="{FF2B5EF4-FFF2-40B4-BE49-F238E27FC236}">
                <a16:creationId xmlns:a16="http://schemas.microsoft.com/office/drawing/2014/main" id="{9E3CDAEE-E90A-945E-CA43-F53D679FBDF9}"/>
              </a:ext>
            </a:extLst>
          </p:cNvPr>
          <p:cNvSpPr/>
          <p:nvPr/>
        </p:nvSpPr>
        <p:spPr>
          <a:xfrm>
            <a:off x="1301580" y="4364896"/>
            <a:ext cx="170236" cy="426821"/>
          </a:xfrm>
          <a:custGeom>
            <a:avLst/>
            <a:gdLst>
              <a:gd name="csX0" fmla="*/ 120604 w 187260"/>
              <a:gd name="csY0" fmla="*/ 222968 h 469503"/>
              <a:gd name="csX1" fmla="*/ 187261 w 187260"/>
              <a:gd name="csY1" fmla="*/ 469503 h 469503"/>
              <a:gd name="csX2" fmla="*/ 1253 w 187260"/>
              <a:gd name="csY2" fmla="*/ 466078 h 469503"/>
              <a:gd name="csX3" fmla="*/ 8 w 187260"/>
              <a:gd name="csY3" fmla="*/ 458101 h 469503"/>
              <a:gd name="csX4" fmla="*/ 4383 w 187260"/>
              <a:gd name="csY4" fmla="*/ 351443 h 469503"/>
              <a:gd name="csX5" fmla="*/ 4615 w 187260"/>
              <a:gd name="csY5" fmla="*/ 346536 h 469503"/>
              <a:gd name="csX6" fmla="*/ 7935 w 187260"/>
              <a:gd name="csY6" fmla="*/ 233648 h 469503"/>
              <a:gd name="csX7" fmla="*/ 10461 w 187260"/>
              <a:gd name="csY7" fmla="*/ 128112 h 469503"/>
              <a:gd name="csX8" fmla="*/ 12461 w 187260"/>
              <a:gd name="csY8" fmla="*/ 12750 h 469503"/>
              <a:gd name="csX9" fmla="*/ 13165 w 187260"/>
              <a:gd name="csY9" fmla="*/ 4285 h 469503"/>
              <a:gd name="csX10" fmla="*/ 102327 w 187260"/>
              <a:gd name="csY10" fmla="*/ 0 h 469503"/>
              <a:gd name="csX11" fmla="*/ 106229 w 187260"/>
              <a:gd name="csY11" fmla="*/ 111321 h 469503"/>
              <a:gd name="csX12" fmla="*/ 120604 w 187260"/>
              <a:gd name="csY12" fmla="*/ 222968 h 46950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</a:cxnLst>
            <a:rect l="l" t="t" r="r" b="b"/>
            <a:pathLst>
              <a:path w="187260" h="469503">
                <a:moveTo>
                  <a:pt x="120604" y="222968"/>
                </a:moveTo>
                <a:cubicBezTo>
                  <a:pt x="135383" y="307129"/>
                  <a:pt x="159464" y="387725"/>
                  <a:pt x="187261" y="469503"/>
                </a:cubicBezTo>
                <a:cubicBezTo>
                  <a:pt x="124460" y="468347"/>
                  <a:pt x="63286" y="467220"/>
                  <a:pt x="1253" y="466078"/>
                </a:cubicBezTo>
                <a:cubicBezTo>
                  <a:pt x="818" y="463442"/>
                  <a:pt x="-95" y="460752"/>
                  <a:pt x="8" y="458101"/>
                </a:cubicBezTo>
                <a:cubicBezTo>
                  <a:pt x="1383" y="422545"/>
                  <a:pt x="2900" y="386994"/>
                  <a:pt x="4383" y="351443"/>
                </a:cubicBezTo>
                <a:cubicBezTo>
                  <a:pt x="4451" y="349807"/>
                  <a:pt x="4566" y="348172"/>
                  <a:pt x="4615" y="346536"/>
                </a:cubicBezTo>
                <a:cubicBezTo>
                  <a:pt x="5732" y="308907"/>
                  <a:pt x="6921" y="271280"/>
                  <a:pt x="7935" y="233648"/>
                </a:cubicBezTo>
                <a:cubicBezTo>
                  <a:pt x="8883" y="198472"/>
                  <a:pt x="9752" y="163293"/>
                  <a:pt x="10461" y="128112"/>
                </a:cubicBezTo>
                <a:cubicBezTo>
                  <a:pt x="11237" y="89660"/>
                  <a:pt x="11781" y="51204"/>
                  <a:pt x="12461" y="12750"/>
                </a:cubicBezTo>
                <a:cubicBezTo>
                  <a:pt x="12503" y="10363"/>
                  <a:pt x="12848" y="7981"/>
                  <a:pt x="13165" y="4285"/>
                </a:cubicBezTo>
                <a:cubicBezTo>
                  <a:pt x="42856" y="2858"/>
                  <a:pt x="72082" y="1454"/>
                  <a:pt x="102327" y="0"/>
                </a:cubicBezTo>
                <a:cubicBezTo>
                  <a:pt x="103499" y="37348"/>
                  <a:pt x="103207" y="74470"/>
                  <a:pt x="106229" y="111321"/>
                </a:cubicBezTo>
                <a:cubicBezTo>
                  <a:pt x="109263" y="148326"/>
                  <a:pt x="115599" y="185060"/>
                  <a:pt x="120604" y="222968"/>
                </a:cubicBezTo>
                <a:close/>
              </a:path>
            </a:pathLst>
          </a:custGeom>
          <a:solidFill>
            <a:srgbClr val="FDFDFD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6" name="Free-form: Shape 215">
            <a:extLst>
              <a:ext uri="{FF2B5EF4-FFF2-40B4-BE49-F238E27FC236}">
                <a16:creationId xmlns:a16="http://schemas.microsoft.com/office/drawing/2014/main" id="{A7B29CD0-B2FB-88CD-AF9E-7CC4F260D429}"/>
              </a:ext>
            </a:extLst>
          </p:cNvPr>
          <p:cNvSpPr/>
          <p:nvPr/>
        </p:nvSpPr>
        <p:spPr>
          <a:xfrm>
            <a:off x="1300387" y="4831648"/>
            <a:ext cx="284824" cy="179974"/>
          </a:xfrm>
          <a:custGeom>
            <a:avLst/>
            <a:gdLst>
              <a:gd name="csX0" fmla="*/ 160234 w 313306"/>
              <a:gd name="csY0" fmla="*/ 197876 h 197971"/>
              <a:gd name="csX1" fmla="*/ 544 w 313306"/>
              <a:gd name="csY1" fmla="*/ 197972 h 197971"/>
              <a:gd name="csX2" fmla="*/ 3466 w 313306"/>
              <a:gd name="csY2" fmla="*/ 104326 h 197971"/>
              <a:gd name="csX3" fmla="*/ 0 w 313306"/>
              <a:gd name="csY3" fmla="*/ 10720 h 197971"/>
              <a:gd name="csX4" fmla="*/ 5445 w 313306"/>
              <a:gd name="csY4" fmla="*/ 9282 h 197971"/>
              <a:gd name="csX5" fmla="*/ 71623 w 313306"/>
              <a:gd name="csY5" fmla="*/ 6885 h 197971"/>
              <a:gd name="csX6" fmla="*/ 187887 w 313306"/>
              <a:gd name="csY6" fmla="*/ 233 h 197971"/>
              <a:gd name="csX7" fmla="*/ 215297 w 313306"/>
              <a:gd name="csY7" fmla="*/ 163 h 197971"/>
              <a:gd name="csX8" fmla="*/ 243629 w 313306"/>
              <a:gd name="csY8" fmla="*/ 61389 h 197971"/>
              <a:gd name="csX9" fmla="*/ 270660 w 313306"/>
              <a:gd name="csY9" fmla="*/ 86342 h 197971"/>
              <a:gd name="csX10" fmla="*/ 313142 w 313306"/>
              <a:gd name="csY10" fmla="*/ 170098 h 197971"/>
              <a:gd name="csX11" fmla="*/ 313291 w 313306"/>
              <a:gd name="csY11" fmla="*/ 176231 h 197971"/>
              <a:gd name="csX12" fmla="*/ 312654 w 313306"/>
              <a:gd name="csY12" fmla="*/ 180738 h 197971"/>
              <a:gd name="csX13" fmla="*/ 279655 w 313306"/>
              <a:gd name="csY13" fmla="*/ 186226 h 197971"/>
              <a:gd name="csX14" fmla="*/ 167436 w 313306"/>
              <a:gd name="csY14" fmla="*/ 196805 h 197971"/>
              <a:gd name="csX15" fmla="*/ 160234 w 313306"/>
              <a:gd name="csY15" fmla="*/ 197876 h 19797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</a:cxnLst>
            <a:rect l="l" t="t" r="r" b="b"/>
            <a:pathLst>
              <a:path w="313306" h="197971">
                <a:moveTo>
                  <a:pt x="160234" y="197876"/>
                </a:moveTo>
                <a:cubicBezTo>
                  <a:pt x="106384" y="197972"/>
                  <a:pt x="53682" y="197972"/>
                  <a:pt x="544" y="197972"/>
                </a:cubicBezTo>
                <a:cubicBezTo>
                  <a:pt x="1602" y="166763"/>
                  <a:pt x="3550" y="135542"/>
                  <a:pt x="3466" y="104326"/>
                </a:cubicBezTo>
                <a:cubicBezTo>
                  <a:pt x="3383" y="73323"/>
                  <a:pt x="1255" y="42326"/>
                  <a:pt x="0" y="10720"/>
                </a:cubicBezTo>
                <a:cubicBezTo>
                  <a:pt x="1689" y="10255"/>
                  <a:pt x="3551" y="9355"/>
                  <a:pt x="5445" y="9282"/>
                </a:cubicBezTo>
                <a:cubicBezTo>
                  <a:pt x="27503" y="8435"/>
                  <a:pt x="49582" y="8030"/>
                  <a:pt x="71623" y="6885"/>
                </a:cubicBezTo>
                <a:cubicBezTo>
                  <a:pt x="110388" y="4872"/>
                  <a:pt x="149126" y="2333"/>
                  <a:pt x="187887" y="233"/>
                </a:cubicBezTo>
                <a:cubicBezTo>
                  <a:pt x="196749" y="-247"/>
                  <a:pt x="205660" y="163"/>
                  <a:pt x="215297" y="163"/>
                </a:cubicBezTo>
                <a:cubicBezTo>
                  <a:pt x="215450" y="25550"/>
                  <a:pt x="226120" y="45122"/>
                  <a:pt x="243629" y="61389"/>
                </a:cubicBezTo>
                <a:cubicBezTo>
                  <a:pt x="252615" y="69739"/>
                  <a:pt x="261099" y="78715"/>
                  <a:pt x="270660" y="86342"/>
                </a:cubicBezTo>
                <a:cubicBezTo>
                  <a:pt x="297676" y="107892"/>
                  <a:pt x="310731" y="136225"/>
                  <a:pt x="313142" y="170098"/>
                </a:cubicBezTo>
                <a:cubicBezTo>
                  <a:pt x="313287" y="172136"/>
                  <a:pt x="313335" y="174188"/>
                  <a:pt x="313291" y="176231"/>
                </a:cubicBezTo>
                <a:cubicBezTo>
                  <a:pt x="313265" y="177429"/>
                  <a:pt x="312966" y="178621"/>
                  <a:pt x="312654" y="180738"/>
                </a:cubicBezTo>
                <a:cubicBezTo>
                  <a:pt x="302343" y="185396"/>
                  <a:pt x="290736" y="185049"/>
                  <a:pt x="279655" y="186226"/>
                </a:cubicBezTo>
                <a:cubicBezTo>
                  <a:pt x="242295" y="190193"/>
                  <a:pt x="204847" y="193324"/>
                  <a:pt x="167436" y="196805"/>
                </a:cubicBezTo>
                <a:cubicBezTo>
                  <a:pt x="165405" y="196994"/>
                  <a:pt x="163399" y="197449"/>
                  <a:pt x="160234" y="197876"/>
                </a:cubicBezTo>
                <a:close/>
              </a:path>
            </a:pathLst>
          </a:custGeom>
          <a:solidFill>
            <a:srgbClr val="FDFEFE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7" name="Free-form: Shape 216">
            <a:extLst>
              <a:ext uri="{FF2B5EF4-FFF2-40B4-BE49-F238E27FC236}">
                <a16:creationId xmlns:a16="http://schemas.microsoft.com/office/drawing/2014/main" id="{BF165FD1-C679-9797-9D8A-3700075529B0}"/>
              </a:ext>
            </a:extLst>
          </p:cNvPr>
          <p:cNvSpPr/>
          <p:nvPr/>
        </p:nvSpPr>
        <p:spPr>
          <a:xfrm>
            <a:off x="1311130" y="3815064"/>
            <a:ext cx="149260" cy="361842"/>
          </a:xfrm>
          <a:custGeom>
            <a:avLst/>
            <a:gdLst>
              <a:gd name="csX0" fmla="*/ 22609 w 164186"/>
              <a:gd name="csY0" fmla="*/ 398026 h 398026"/>
              <a:gd name="csX1" fmla="*/ 16884 w 164186"/>
              <a:gd name="csY1" fmla="*/ 390515 h 398026"/>
              <a:gd name="csX2" fmla="*/ 9661 w 164186"/>
              <a:gd name="csY2" fmla="*/ 328443 h 398026"/>
              <a:gd name="csX3" fmla="*/ 534 w 164186"/>
              <a:gd name="csY3" fmla="*/ 196369 h 398026"/>
              <a:gd name="csX4" fmla="*/ 1243 w 164186"/>
              <a:gd name="csY4" fmla="*/ 82293 h 398026"/>
              <a:gd name="csX5" fmla="*/ 2245 w 164186"/>
              <a:gd name="csY5" fmla="*/ 43023 h 398026"/>
              <a:gd name="csX6" fmla="*/ 4587 w 164186"/>
              <a:gd name="csY6" fmla="*/ 0 h 398026"/>
              <a:gd name="csX7" fmla="*/ 12341 w 164186"/>
              <a:gd name="csY7" fmla="*/ 3872 h 398026"/>
              <a:gd name="csX8" fmla="*/ 85914 w 164186"/>
              <a:gd name="csY8" fmla="*/ 78943 h 398026"/>
              <a:gd name="csX9" fmla="*/ 87893 w 164186"/>
              <a:gd name="csY9" fmla="*/ 99117 h 398026"/>
              <a:gd name="csX10" fmla="*/ 35459 w 164186"/>
              <a:gd name="csY10" fmla="*/ 207346 h 398026"/>
              <a:gd name="csX11" fmla="*/ 32223 w 164186"/>
              <a:gd name="csY11" fmla="*/ 213959 h 398026"/>
              <a:gd name="csX12" fmla="*/ 39509 w 164186"/>
              <a:gd name="csY12" fmla="*/ 242056 h 398026"/>
              <a:gd name="csX13" fmla="*/ 69474 w 164186"/>
              <a:gd name="csY13" fmla="*/ 237019 h 398026"/>
              <a:gd name="csX14" fmla="*/ 89101 w 164186"/>
              <a:gd name="csY14" fmla="*/ 208870 h 398026"/>
              <a:gd name="csX15" fmla="*/ 121716 w 164186"/>
              <a:gd name="csY15" fmla="*/ 158357 h 398026"/>
              <a:gd name="csX16" fmla="*/ 129330 w 164186"/>
              <a:gd name="csY16" fmla="*/ 148165 h 398026"/>
              <a:gd name="csX17" fmla="*/ 137171 w 164186"/>
              <a:gd name="csY17" fmla="*/ 159989 h 398026"/>
              <a:gd name="csX18" fmla="*/ 163812 w 164186"/>
              <a:gd name="csY18" fmla="*/ 273175 h 398026"/>
              <a:gd name="csX19" fmla="*/ 118151 w 164186"/>
              <a:gd name="csY19" fmla="*/ 383442 h 398026"/>
              <a:gd name="csX20" fmla="*/ 92325 w 164186"/>
              <a:gd name="csY20" fmla="*/ 395173 h 398026"/>
              <a:gd name="csX21" fmla="*/ 22609 w 164186"/>
              <a:gd name="csY21" fmla="*/ 398026 h 39802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</a:cxnLst>
            <a:rect l="l" t="t" r="r" b="b"/>
            <a:pathLst>
              <a:path w="164186" h="398026">
                <a:moveTo>
                  <a:pt x="22609" y="398026"/>
                </a:moveTo>
                <a:cubicBezTo>
                  <a:pt x="19898" y="395489"/>
                  <a:pt x="17229" y="393154"/>
                  <a:pt x="16884" y="390515"/>
                </a:cubicBezTo>
                <a:cubicBezTo>
                  <a:pt x="14183" y="369861"/>
                  <a:pt x="11326" y="349196"/>
                  <a:pt x="9661" y="328443"/>
                </a:cubicBezTo>
                <a:cubicBezTo>
                  <a:pt x="6132" y="284452"/>
                  <a:pt x="2125" y="240448"/>
                  <a:pt x="534" y="196369"/>
                </a:cubicBezTo>
                <a:cubicBezTo>
                  <a:pt x="-837" y="158401"/>
                  <a:pt x="816" y="120322"/>
                  <a:pt x="1243" y="82293"/>
                </a:cubicBezTo>
                <a:cubicBezTo>
                  <a:pt x="1389" y="69201"/>
                  <a:pt x="1708" y="56105"/>
                  <a:pt x="2245" y="43023"/>
                </a:cubicBezTo>
                <a:cubicBezTo>
                  <a:pt x="2815" y="29160"/>
                  <a:pt x="3738" y="15312"/>
                  <a:pt x="4587" y="0"/>
                </a:cubicBezTo>
                <a:cubicBezTo>
                  <a:pt x="7809" y="1586"/>
                  <a:pt x="10279" y="2436"/>
                  <a:pt x="12341" y="3872"/>
                </a:cubicBezTo>
                <a:cubicBezTo>
                  <a:pt x="41601" y="24248"/>
                  <a:pt x="64069" y="51269"/>
                  <a:pt x="85914" y="78943"/>
                </a:cubicBezTo>
                <a:cubicBezTo>
                  <a:pt x="91106" y="85520"/>
                  <a:pt x="91706" y="91406"/>
                  <a:pt x="87893" y="99117"/>
                </a:cubicBezTo>
                <a:cubicBezTo>
                  <a:pt x="70127" y="135051"/>
                  <a:pt x="52890" y="171246"/>
                  <a:pt x="35459" y="207346"/>
                </a:cubicBezTo>
                <a:cubicBezTo>
                  <a:pt x="34391" y="209557"/>
                  <a:pt x="33130" y="211686"/>
                  <a:pt x="32223" y="213959"/>
                </a:cubicBezTo>
                <a:cubicBezTo>
                  <a:pt x="27471" y="225873"/>
                  <a:pt x="30154" y="236086"/>
                  <a:pt x="39509" y="242056"/>
                </a:cubicBezTo>
                <a:cubicBezTo>
                  <a:pt x="48880" y="248038"/>
                  <a:pt x="61705" y="246477"/>
                  <a:pt x="69474" y="237019"/>
                </a:cubicBezTo>
                <a:cubicBezTo>
                  <a:pt x="76712" y="228205"/>
                  <a:pt x="82824" y="218436"/>
                  <a:pt x="89101" y="208870"/>
                </a:cubicBezTo>
                <a:cubicBezTo>
                  <a:pt x="100096" y="192114"/>
                  <a:pt x="110806" y="175170"/>
                  <a:pt x="121716" y="158357"/>
                </a:cubicBezTo>
                <a:cubicBezTo>
                  <a:pt x="123679" y="155333"/>
                  <a:pt x="126029" y="152559"/>
                  <a:pt x="129330" y="148165"/>
                </a:cubicBezTo>
                <a:cubicBezTo>
                  <a:pt x="132450" y="152828"/>
                  <a:pt x="135175" y="156216"/>
                  <a:pt x="137171" y="159989"/>
                </a:cubicBezTo>
                <a:cubicBezTo>
                  <a:pt x="155891" y="195388"/>
                  <a:pt x="166343" y="232905"/>
                  <a:pt x="163812" y="273175"/>
                </a:cubicBezTo>
                <a:cubicBezTo>
                  <a:pt x="161183" y="314982"/>
                  <a:pt x="144984" y="351430"/>
                  <a:pt x="118151" y="383442"/>
                </a:cubicBezTo>
                <a:cubicBezTo>
                  <a:pt x="111214" y="391718"/>
                  <a:pt x="102452" y="394716"/>
                  <a:pt x="92325" y="395173"/>
                </a:cubicBezTo>
                <a:cubicBezTo>
                  <a:pt x="69461" y="396207"/>
                  <a:pt x="46593" y="397123"/>
                  <a:pt x="22609" y="398026"/>
                </a:cubicBezTo>
                <a:close/>
              </a:path>
            </a:pathLst>
          </a:custGeom>
          <a:solidFill>
            <a:srgbClr val="FCFDFD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8" name="Free-form: Shape 217">
            <a:extLst>
              <a:ext uri="{FF2B5EF4-FFF2-40B4-BE49-F238E27FC236}">
                <a16:creationId xmlns:a16="http://schemas.microsoft.com/office/drawing/2014/main" id="{0EE9A10D-BE1F-51DC-E14F-3BDDDABD352A}"/>
              </a:ext>
            </a:extLst>
          </p:cNvPr>
          <p:cNvSpPr/>
          <p:nvPr/>
        </p:nvSpPr>
        <p:spPr>
          <a:xfrm>
            <a:off x="1297023" y="5040855"/>
            <a:ext cx="305850" cy="64961"/>
          </a:xfrm>
          <a:custGeom>
            <a:avLst/>
            <a:gdLst>
              <a:gd name="csX0" fmla="*/ 105937 w 336434"/>
              <a:gd name="csY0" fmla="*/ 71458 h 71457"/>
              <a:gd name="csX1" fmla="*/ 3534 w 336434"/>
              <a:gd name="csY1" fmla="*/ 69115 h 71457"/>
              <a:gd name="csX2" fmla="*/ 1296 w 336434"/>
              <a:gd name="csY2" fmla="*/ 17910 h 71457"/>
              <a:gd name="csX3" fmla="*/ 14032 w 336434"/>
              <a:gd name="csY3" fmla="*/ 17908 h 71457"/>
              <a:gd name="csX4" fmla="*/ 102444 w 336434"/>
              <a:gd name="csY4" fmla="*/ 17433 h 71457"/>
              <a:gd name="csX5" fmla="*/ 284561 w 336434"/>
              <a:gd name="csY5" fmla="*/ 3564 h 71457"/>
              <a:gd name="csX6" fmla="*/ 311323 w 336434"/>
              <a:gd name="csY6" fmla="*/ 224 h 71457"/>
              <a:gd name="csX7" fmla="*/ 324313 w 336434"/>
              <a:gd name="csY7" fmla="*/ 6639 h 71457"/>
              <a:gd name="csX8" fmla="*/ 336434 w 336434"/>
              <a:gd name="csY8" fmla="*/ 46484 h 71457"/>
              <a:gd name="csX9" fmla="*/ 105937 w 336434"/>
              <a:gd name="csY9" fmla="*/ 71458 h 7145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336434" h="71457">
                <a:moveTo>
                  <a:pt x="105937" y="71458"/>
                </a:moveTo>
                <a:cubicBezTo>
                  <a:pt x="70820" y="70678"/>
                  <a:pt x="36930" y="69891"/>
                  <a:pt x="3534" y="69115"/>
                </a:cubicBezTo>
                <a:cubicBezTo>
                  <a:pt x="-81" y="59433"/>
                  <a:pt x="-1094" y="35337"/>
                  <a:pt x="1296" y="17910"/>
                </a:cubicBezTo>
                <a:cubicBezTo>
                  <a:pt x="5366" y="17910"/>
                  <a:pt x="9699" y="17923"/>
                  <a:pt x="14032" y="17908"/>
                </a:cubicBezTo>
                <a:cubicBezTo>
                  <a:pt x="43505" y="17812"/>
                  <a:pt x="73011" y="18557"/>
                  <a:pt x="102444" y="17433"/>
                </a:cubicBezTo>
                <a:cubicBezTo>
                  <a:pt x="163306" y="15109"/>
                  <a:pt x="224166" y="12264"/>
                  <a:pt x="284561" y="3564"/>
                </a:cubicBezTo>
                <a:cubicBezTo>
                  <a:pt x="293458" y="2283"/>
                  <a:pt x="302438" y="1575"/>
                  <a:pt x="311323" y="224"/>
                </a:cubicBezTo>
                <a:cubicBezTo>
                  <a:pt x="317371" y="-696"/>
                  <a:pt x="321247" y="1177"/>
                  <a:pt x="324313" y="6639"/>
                </a:cubicBezTo>
                <a:cubicBezTo>
                  <a:pt x="330512" y="17683"/>
                  <a:pt x="335236" y="31679"/>
                  <a:pt x="336434" y="46484"/>
                </a:cubicBezTo>
                <a:cubicBezTo>
                  <a:pt x="261124" y="64059"/>
                  <a:pt x="184356" y="69587"/>
                  <a:pt x="105937" y="71458"/>
                </a:cubicBezTo>
                <a:close/>
              </a:path>
            </a:pathLst>
          </a:custGeom>
          <a:solidFill>
            <a:srgbClr val="FCFCFC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9" name="Free-form: Shape 218">
            <a:extLst>
              <a:ext uri="{FF2B5EF4-FFF2-40B4-BE49-F238E27FC236}">
                <a16:creationId xmlns:a16="http://schemas.microsoft.com/office/drawing/2014/main" id="{198870FD-9BD7-08FB-E99E-89EEB8C331B1}"/>
              </a:ext>
            </a:extLst>
          </p:cNvPr>
          <p:cNvSpPr/>
          <p:nvPr/>
        </p:nvSpPr>
        <p:spPr>
          <a:xfrm>
            <a:off x="1310580" y="4210131"/>
            <a:ext cx="120683" cy="63097"/>
          </a:xfrm>
          <a:custGeom>
            <a:avLst/>
            <a:gdLst>
              <a:gd name="csX0" fmla="*/ 5051 w 132751"/>
              <a:gd name="csY0" fmla="*/ 7534 h 69406"/>
              <a:gd name="csX1" fmla="*/ 10615 w 132751"/>
              <a:gd name="csY1" fmla="*/ 3077 h 69406"/>
              <a:gd name="csX2" fmla="*/ 26541 w 132751"/>
              <a:gd name="csY2" fmla="*/ 2752 h 69406"/>
              <a:gd name="csX3" fmla="*/ 87728 w 132751"/>
              <a:gd name="csY3" fmla="*/ 89 h 69406"/>
              <a:gd name="csX4" fmla="*/ 101400 w 132751"/>
              <a:gd name="csY4" fmla="*/ 62 h 69406"/>
              <a:gd name="csX5" fmla="*/ 102924 w 132751"/>
              <a:gd name="csY5" fmla="*/ 4800 h 69406"/>
              <a:gd name="csX6" fmla="*/ 121469 w 132751"/>
              <a:gd name="csY6" fmla="*/ 43062 h 69406"/>
              <a:gd name="csX7" fmla="*/ 132751 w 132751"/>
              <a:gd name="csY7" fmla="*/ 65240 h 69406"/>
              <a:gd name="csX8" fmla="*/ 0 w 132751"/>
              <a:gd name="csY8" fmla="*/ 69406 h 69406"/>
              <a:gd name="csX9" fmla="*/ 5051 w 132751"/>
              <a:gd name="csY9" fmla="*/ 7534 h 6940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132751" h="69406">
                <a:moveTo>
                  <a:pt x="5051" y="7534"/>
                </a:moveTo>
                <a:cubicBezTo>
                  <a:pt x="6880" y="5272"/>
                  <a:pt x="8659" y="3268"/>
                  <a:pt x="10615" y="3077"/>
                </a:cubicBezTo>
                <a:cubicBezTo>
                  <a:pt x="15884" y="2564"/>
                  <a:pt x="21234" y="2972"/>
                  <a:pt x="26541" y="2752"/>
                </a:cubicBezTo>
                <a:cubicBezTo>
                  <a:pt x="46938" y="1911"/>
                  <a:pt x="67330" y="933"/>
                  <a:pt x="87728" y="89"/>
                </a:cubicBezTo>
                <a:cubicBezTo>
                  <a:pt x="92161" y="-94"/>
                  <a:pt x="96609" y="62"/>
                  <a:pt x="101400" y="62"/>
                </a:cubicBezTo>
                <a:cubicBezTo>
                  <a:pt x="101991" y="1827"/>
                  <a:pt x="102885" y="3302"/>
                  <a:pt x="102924" y="4800"/>
                </a:cubicBezTo>
                <a:cubicBezTo>
                  <a:pt x="103334" y="20376"/>
                  <a:pt x="108815" y="33165"/>
                  <a:pt x="121469" y="43062"/>
                </a:cubicBezTo>
                <a:cubicBezTo>
                  <a:pt x="127809" y="48021"/>
                  <a:pt x="132509" y="54869"/>
                  <a:pt x="132751" y="65240"/>
                </a:cubicBezTo>
                <a:cubicBezTo>
                  <a:pt x="88663" y="66624"/>
                  <a:pt x="45259" y="67986"/>
                  <a:pt x="0" y="69406"/>
                </a:cubicBezTo>
                <a:cubicBezTo>
                  <a:pt x="6474" y="48167"/>
                  <a:pt x="10658" y="28665"/>
                  <a:pt x="5051" y="7534"/>
                </a:cubicBezTo>
                <a:close/>
              </a:path>
            </a:pathLst>
          </a:custGeom>
          <a:solidFill>
            <a:srgbClr val="FBFCFB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20" name="Free-form: Shape 219">
            <a:extLst>
              <a:ext uri="{FF2B5EF4-FFF2-40B4-BE49-F238E27FC236}">
                <a16:creationId xmlns:a16="http://schemas.microsoft.com/office/drawing/2014/main" id="{CE0BEE27-A22F-0663-1025-13076112680C}"/>
              </a:ext>
            </a:extLst>
          </p:cNvPr>
          <p:cNvSpPr/>
          <p:nvPr/>
        </p:nvSpPr>
        <p:spPr>
          <a:xfrm>
            <a:off x="1320217" y="4299745"/>
            <a:ext cx="150878" cy="35402"/>
          </a:xfrm>
          <a:custGeom>
            <a:avLst/>
            <a:gdLst>
              <a:gd name="csX0" fmla="*/ 80894 w 165965"/>
              <a:gd name="csY0" fmla="*/ 440 h 38942"/>
              <a:gd name="csX1" fmla="*/ 128629 w 165965"/>
              <a:gd name="csY1" fmla="*/ 5 h 38942"/>
              <a:gd name="csX2" fmla="*/ 155177 w 165965"/>
              <a:gd name="csY2" fmla="*/ 8091 h 38942"/>
              <a:gd name="csX3" fmla="*/ 164213 w 165965"/>
              <a:gd name="csY3" fmla="*/ 17723 h 38942"/>
              <a:gd name="csX4" fmla="*/ 159998 w 165965"/>
              <a:gd name="csY4" fmla="*/ 30717 h 38942"/>
              <a:gd name="csX5" fmla="*/ 146998 w 165965"/>
              <a:gd name="csY5" fmla="*/ 33737 h 38942"/>
              <a:gd name="csX6" fmla="*/ 12439 w 165965"/>
              <a:gd name="csY6" fmla="*/ 38914 h 38942"/>
              <a:gd name="csX7" fmla="*/ 0 w 165965"/>
              <a:gd name="csY7" fmla="*/ 38402 h 38942"/>
              <a:gd name="csX8" fmla="*/ 0 w 165965"/>
              <a:gd name="csY8" fmla="*/ 4598 h 38942"/>
              <a:gd name="csX9" fmla="*/ 80894 w 165965"/>
              <a:gd name="csY9" fmla="*/ 440 h 3894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165965" h="38942">
                <a:moveTo>
                  <a:pt x="80894" y="440"/>
                </a:moveTo>
                <a:cubicBezTo>
                  <a:pt x="97591" y="288"/>
                  <a:pt x="113111" y="227"/>
                  <a:pt x="128629" y="5"/>
                </a:cubicBezTo>
                <a:cubicBezTo>
                  <a:pt x="138376" y="-135"/>
                  <a:pt x="147226" y="2891"/>
                  <a:pt x="155177" y="8091"/>
                </a:cubicBezTo>
                <a:cubicBezTo>
                  <a:pt x="158779" y="10447"/>
                  <a:pt x="161992" y="14009"/>
                  <a:pt x="164213" y="17723"/>
                </a:cubicBezTo>
                <a:cubicBezTo>
                  <a:pt x="167602" y="23390"/>
                  <a:pt x="166013" y="28134"/>
                  <a:pt x="159998" y="30717"/>
                </a:cubicBezTo>
                <a:cubicBezTo>
                  <a:pt x="155963" y="32450"/>
                  <a:pt x="151384" y="33554"/>
                  <a:pt x="146998" y="33737"/>
                </a:cubicBezTo>
                <a:cubicBezTo>
                  <a:pt x="102152" y="35619"/>
                  <a:pt x="57295" y="37279"/>
                  <a:pt x="12439" y="38914"/>
                </a:cubicBezTo>
                <a:cubicBezTo>
                  <a:pt x="8467" y="39059"/>
                  <a:pt x="4472" y="38602"/>
                  <a:pt x="0" y="38402"/>
                </a:cubicBezTo>
                <a:cubicBezTo>
                  <a:pt x="0" y="27166"/>
                  <a:pt x="0" y="16774"/>
                  <a:pt x="0" y="4598"/>
                </a:cubicBezTo>
                <a:cubicBezTo>
                  <a:pt x="27063" y="3194"/>
                  <a:pt x="53389" y="1829"/>
                  <a:pt x="80894" y="440"/>
                </a:cubicBezTo>
                <a:close/>
              </a:path>
            </a:pathLst>
          </a:custGeom>
          <a:solidFill>
            <a:srgbClr val="FBFCFB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21" name="Free-form: Shape 220">
            <a:extLst>
              <a:ext uri="{FF2B5EF4-FFF2-40B4-BE49-F238E27FC236}">
                <a16:creationId xmlns:a16="http://schemas.microsoft.com/office/drawing/2014/main" id="{79CB9D29-4A2A-D77F-AA86-C312689A2ED5}"/>
              </a:ext>
            </a:extLst>
          </p:cNvPr>
          <p:cNvSpPr/>
          <p:nvPr/>
        </p:nvSpPr>
        <p:spPr>
          <a:xfrm>
            <a:off x="1304068" y="3738921"/>
            <a:ext cx="39402" cy="42156"/>
          </a:xfrm>
          <a:custGeom>
            <a:avLst/>
            <a:gdLst>
              <a:gd name="csX0" fmla="*/ 40602 w 43343"/>
              <a:gd name="csY0" fmla="*/ 12465 h 46372"/>
              <a:gd name="csX1" fmla="*/ 43214 w 43343"/>
              <a:gd name="csY1" fmla="*/ 21324 h 46372"/>
              <a:gd name="csX2" fmla="*/ 23859 w 43343"/>
              <a:gd name="csY2" fmla="*/ 46319 h 46372"/>
              <a:gd name="csX3" fmla="*/ 5 w 43343"/>
              <a:gd name="csY3" fmla="*/ 23820 h 46372"/>
              <a:gd name="csX4" fmla="*/ 4855 w 43343"/>
              <a:gd name="csY4" fmla="*/ 5679 h 46372"/>
              <a:gd name="csX5" fmla="*/ 40602 w 43343"/>
              <a:gd name="csY5" fmla="*/ 12465 h 4637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</a:cxnLst>
            <a:rect l="l" t="t" r="r" b="b"/>
            <a:pathLst>
              <a:path w="43343" h="46372">
                <a:moveTo>
                  <a:pt x="40602" y="12465"/>
                </a:moveTo>
                <a:cubicBezTo>
                  <a:pt x="41913" y="15811"/>
                  <a:pt x="42933" y="18530"/>
                  <a:pt x="43214" y="21324"/>
                </a:cubicBezTo>
                <a:cubicBezTo>
                  <a:pt x="44519" y="34348"/>
                  <a:pt x="35870" y="45401"/>
                  <a:pt x="23859" y="46319"/>
                </a:cubicBezTo>
                <a:cubicBezTo>
                  <a:pt x="11890" y="47233"/>
                  <a:pt x="-280" y="36371"/>
                  <a:pt x="5" y="23820"/>
                </a:cubicBezTo>
                <a:cubicBezTo>
                  <a:pt x="136" y="18011"/>
                  <a:pt x="2893" y="12263"/>
                  <a:pt x="4855" y="5679"/>
                </a:cubicBezTo>
                <a:cubicBezTo>
                  <a:pt x="20601" y="-3403"/>
                  <a:pt x="28004" y="-1910"/>
                  <a:pt x="40602" y="12465"/>
                </a:cubicBezTo>
                <a:close/>
              </a:path>
            </a:pathLst>
          </a:custGeom>
          <a:solidFill>
            <a:srgbClr val="FBFCFB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22" name="Oval 221">
            <a:extLst>
              <a:ext uri="{FF2B5EF4-FFF2-40B4-BE49-F238E27FC236}">
                <a16:creationId xmlns:a16="http://schemas.microsoft.com/office/drawing/2014/main" id="{C6082396-9005-3827-8F31-4FC760D25ACF}"/>
              </a:ext>
            </a:extLst>
          </p:cNvPr>
          <p:cNvSpPr/>
          <p:nvPr/>
        </p:nvSpPr>
        <p:spPr>
          <a:xfrm>
            <a:off x="4045864" y="2766382"/>
            <a:ext cx="593138" cy="104135"/>
          </a:xfrm>
          <a:prstGeom prst="ellipse">
            <a:avLst/>
          </a:prstGeom>
          <a:solidFill>
            <a:schemeClr val="tx1">
              <a:alpha val="6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23" name="Free-form: Shape 222">
            <a:extLst>
              <a:ext uri="{FF2B5EF4-FFF2-40B4-BE49-F238E27FC236}">
                <a16:creationId xmlns:a16="http://schemas.microsoft.com/office/drawing/2014/main" id="{E1B58823-3811-30CE-E85C-20A9267B8E54}"/>
              </a:ext>
            </a:extLst>
          </p:cNvPr>
          <p:cNvSpPr/>
          <p:nvPr/>
        </p:nvSpPr>
        <p:spPr>
          <a:xfrm>
            <a:off x="4144530" y="2085731"/>
            <a:ext cx="433137" cy="770022"/>
          </a:xfrm>
          <a:custGeom>
            <a:avLst/>
            <a:gdLst>
              <a:gd name="csX0" fmla="*/ 581793 w 697572"/>
              <a:gd name="csY0" fmla="*/ 1234401 h 1240128"/>
              <a:gd name="csX1" fmla="*/ 577427 w 697572"/>
              <a:gd name="csY1" fmla="*/ 1234156 h 1240128"/>
              <a:gd name="csX2" fmla="*/ 559133 w 697572"/>
              <a:gd name="csY2" fmla="*/ 1230909 h 1240128"/>
              <a:gd name="csX3" fmla="*/ 516706 w 697572"/>
              <a:gd name="csY3" fmla="*/ 1235117 h 1240128"/>
              <a:gd name="csX4" fmla="*/ 475244 w 697572"/>
              <a:gd name="csY4" fmla="*/ 1237506 h 1240128"/>
              <a:gd name="csX5" fmla="*/ 371154 w 697572"/>
              <a:gd name="csY5" fmla="*/ 1239428 h 1240128"/>
              <a:gd name="csX6" fmla="*/ 276813 w 697572"/>
              <a:gd name="csY6" fmla="*/ 1237654 h 1240128"/>
              <a:gd name="csX7" fmla="*/ 268212 w 697572"/>
              <a:gd name="csY7" fmla="*/ 1237635 h 1240128"/>
              <a:gd name="csX8" fmla="*/ 262072 w 697572"/>
              <a:gd name="csY8" fmla="*/ 1237523 h 1240128"/>
              <a:gd name="csX9" fmla="*/ 195111 w 697572"/>
              <a:gd name="csY9" fmla="*/ 1232775 h 1240128"/>
              <a:gd name="csX10" fmla="*/ 145060 w 697572"/>
              <a:gd name="csY10" fmla="*/ 1230076 h 1240128"/>
              <a:gd name="csX11" fmla="*/ 114933 w 697572"/>
              <a:gd name="csY11" fmla="*/ 1225832 h 1240128"/>
              <a:gd name="csX12" fmla="*/ 72642 w 697572"/>
              <a:gd name="csY12" fmla="*/ 1220237 h 1240128"/>
              <a:gd name="csX13" fmla="*/ 10894 w 697572"/>
              <a:gd name="csY13" fmla="*/ 1205737 h 1240128"/>
              <a:gd name="csX14" fmla="*/ 5856 w 697572"/>
              <a:gd name="csY14" fmla="*/ 1202799 h 1240128"/>
              <a:gd name="csX15" fmla="*/ 40 w 697572"/>
              <a:gd name="csY15" fmla="*/ 1174450 h 1240128"/>
              <a:gd name="csX16" fmla="*/ 19831 w 697572"/>
              <a:gd name="csY16" fmla="*/ 1118410 h 1240128"/>
              <a:gd name="csX17" fmla="*/ 22004 w 697572"/>
              <a:gd name="csY17" fmla="*/ 1107240 h 1240128"/>
              <a:gd name="csX18" fmla="*/ 25947 w 697572"/>
              <a:gd name="csY18" fmla="*/ 1038650 h 1240128"/>
              <a:gd name="csX19" fmla="*/ 58234 w 697572"/>
              <a:gd name="csY19" fmla="*/ 988567 h 1240128"/>
              <a:gd name="csX20" fmla="*/ 118645 w 697572"/>
              <a:gd name="csY20" fmla="*/ 928298 h 1240128"/>
              <a:gd name="csX21" fmla="*/ 126320 w 697572"/>
              <a:gd name="csY21" fmla="*/ 892015 h 1240128"/>
              <a:gd name="csX22" fmla="*/ 120345 w 697572"/>
              <a:gd name="csY22" fmla="*/ 872258 h 1240128"/>
              <a:gd name="csX23" fmla="*/ 125668 w 697572"/>
              <a:gd name="csY23" fmla="*/ 861640 h 1240128"/>
              <a:gd name="csX24" fmla="*/ 154237 w 697572"/>
              <a:gd name="csY24" fmla="*/ 850716 h 1240128"/>
              <a:gd name="csX25" fmla="*/ 170248 w 697572"/>
              <a:gd name="csY25" fmla="*/ 836767 h 1240128"/>
              <a:gd name="csX26" fmla="*/ 187840 w 697572"/>
              <a:gd name="csY26" fmla="*/ 796341 h 1240128"/>
              <a:gd name="csX27" fmla="*/ 209346 w 697572"/>
              <a:gd name="csY27" fmla="*/ 743126 h 1240128"/>
              <a:gd name="csX28" fmla="*/ 210630 w 697572"/>
              <a:gd name="csY28" fmla="*/ 737219 h 1240128"/>
              <a:gd name="csX29" fmla="*/ 213836 w 697572"/>
              <a:gd name="csY29" fmla="*/ 720505 h 1240128"/>
              <a:gd name="csX30" fmla="*/ 227791 w 697572"/>
              <a:gd name="csY30" fmla="*/ 667353 h 1240128"/>
              <a:gd name="csX31" fmla="*/ 241013 w 697572"/>
              <a:gd name="csY31" fmla="*/ 599151 h 1240128"/>
              <a:gd name="csX32" fmla="*/ 247322 w 697572"/>
              <a:gd name="csY32" fmla="*/ 542242 h 1240128"/>
              <a:gd name="csX33" fmla="*/ 247948 w 697572"/>
              <a:gd name="csY33" fmla="*/ 499296 h 1240128"/>
              <a:gd name="csX34" fmla="*/ 247577 w 697572"/>
              <a:gd name="csY34" fmla="*/ 470384 h 1240128"/>
              <a:gd name="csX35" fmla="*/ 238877 w 697572"/>
              <a:gd name="csY35" fmla="*/ 460987 h 1240128"/>
              <a:gd name="csX36" fmla="*/ 222040 w 697572"/>
              <a:gd name="csY36" fmla="*/ 458353 h 1240128"/>
              <a:gd name="csX37" fmla="*/ 172193 w 697572"/>
              <a:gd name="csY37" fmla="*/ 433714 h 1240128"/>
              <a:gd name="csX38" fmla="*/ 168410 w 697572"/>
              <a:gd name="csY38" fmla="*/ 396591 h 1240128"/>
              <a:gd name="csX39" fmla="*/ 209826 w 697572"/>
              <a:gd name="csY39" fmla="*/ 367773 h 1240128"/>
              <a:gd name="csX40" fmla="*/ 250732 w 697572"/>
              <a:gd name="csY40" fmla="*/ 355208 h 1240128"/>
              <a:gd name="csX41" fmla="*/ 258289 w 697572"/>
              <a:gd name="csY41" fmla="*/ 350426 h 1240128"/>
              <a:gd name="csX42" fmla="*/ 233274 w 697572"/>
              <a:gd name="csY42" fmla="*/ 333513 h 1240128"/>
              <a:gd name="csX43" fmla="*/ 229677 w 697572"/>
              <a:gd name="csY43" fmla="*/ 333922 h 1240128"/>
              <a:gd name="csX44" fmla="*/ 230149 w 697572"/>
              <a:gd name="csY44" fmla="*/ 332979 h 1240128"/>
              <a:gd name="csX45" fmla="*/ 227053 w 697572"/>
              <a:gd name="csY45" fmla="*/ 327076 h 1240128"/>
              <a:gd name="csX46" fmla="*/ 196769 w 697572"/>
              <a:gd name="csY46" fmla="*/ 291380 h 1240128"/>
              <a:gd name="csX47" fmla="*/ 184389 w 697572"/>
              <a:gd name="csY47" fmla="*/ 264042 h 1240128"/>
              <a:gd name="csX48" fmla="*/ 180630 w 697572"/>
              <a:gd name="csY48" fmla="*/ 257839 h 1240128"/>
              <a:gd name="csX49" fmla="*/ 176231 w 697572"/>
              <a:gd name="csY49" fmla="*/ 250643 h 1240128"/>
              <a:gd name="csX50" fmla="*/ 170073 w 697572"/>
              <a:gd name="csY50" fmla="*/ 146723 h 1240128"/>
              <a:gd name="csX51" fmla="*/ 180929 w 697572"/>
              <a:gd name="csY51" fmla="*/ 114280 h 1240128"/>
              <a:gd name="csX52" fmla="*/ 180839 w 697572"/>
              <a:gd name="csY52" fmla="*/ 101501 h 1240128"/>
              <a:gd name="csX53" fmla="*/ 233536 w 697572"/>
              <a:gd name="csY53" fmla="*/ 39653 h 1240128"/>
              <a:gd name="csX54" fmla="*/ 347618 w 697572"/>
              <a:gd name="csY54" fmla="*/ 35 h 1240128"/>
              <a:gd name="csX55" fmla="*/ 437139 w 697572"/>
              <a:gd name="csY55" fmla="*/ 22396 h 1240128"/>
              <a:gd name="csX56" fmla="*/ 529052 w 697572"/>
              <a:gd name="csY56" fmla="*/ 131093 h 1240128"/>
              <a:gd name="csX57" fmla="*/ 518497 w 697572"/>
              <a:gd name="csY57" fmla="*/ 271517 h 1240128"/>
              <a:gd name="csX58" fmla="*/ 500808 w 697572"/>
              <a:gd name="csY58" fmla="*/ 287385 h 1240128"/>
              <a:gd name="csX59" fmla="*/ 472948 w 697572"/>
              <a:gd name="csY59" fmla="*/ 323290 h 1240128"/>
              <a:gd name="csX60" fmla="*/ 469385 w 697572"/>
              <a:gd name="csY60" fmla="*/ 331565 h 1240128"/>
              <a:gd name="csX61" fmla="*/ 468293 w 697572"/>
              <a:gd name="csY61" fmla="*/ 331320 h 1240128"/>
              <a:gd name="csX62" fmla="*/ 459542 w 697572"/>
              <a:gd name="csY62" fmla="*/ 338942 h 1240128"/>
              <a:gd name="csX63" fmla="*/ 458492 w 697572"/>
              <a:gd name="csY63" fmla="*/ 338671 h 1240128"/>
              <a:gd name="csX64" fmla="*/ 436978 w 697572"/>
              <a:gd name="csY64" fmla="*/ 352226 h 1240128"/>
              <a:gd name="csX65" fmla="*/ 472329 w 697572"/>
              <a:gd name="csY65" fmla="*/ 362890 h 1240128"/>
              <a:gd name="csX66" fmla="*/ 523779 w 697572"/>
              <a:gd name="csY66" fmla="*/ 391962 h 1240128"/>
              <a:gd name="csX67" fmla="*/ 527344 w 697572"/>
              <a:gd name="csY67" fmla="*/ 430096 h 1240128"/>
              <a:gd name="csX68" fmla="*/ 504112 w 697572"/>
              <a:gd name="csY68" fmla="*/ 449628 h 1240128"/>
              <a:gd name="csX69" fmla="*/ 459430 w 697572"/>
              <a:gd name="csY69" fmla="*/ 461116 h 1240128"/>
              <a:gd name="csX70" fmla="*/ 446666 w 697572"/>
              <a:gd name="csY70" fmla="*/ 474229 h 1240128"/>
              <a:gd name="csX71" fmla="*/ 449133 w 697572"/>
              <a:gd name="csY71" fmla="*/ 531639 h 1240128"/>
              <a:gd name="csX72" fmla="*/ 454546 w 697572"/>
              <a:gd name="csY72" fmla="*/ 588688 h 1240128"/>
              <a:gd name="csX73" fmla="*/ 466126 w 697572"/>
              <a:gd name="csY73" fmla="*/ 649736 h 1240128"/>
              <a:gd name="csX74" fmla="*/ 512154 w 697572"/>
              <a:gd name="csY74" fmla="*/ 794006 h 1240128"/>
              <a:gd name="csX75" fmla="*/ 525763 w 697572"/>
              <a:gd name="csY75" fmla="*/ 834323 h 1240128"/>
              <a:gd name="csX76" fmla="*/ 530555 w 697572"/>
              <a:gd name="csY76" fmla="*/ 845114 h 1240128"/>
              <a:gd name="csX77" fmla="*/ 554424 w 697572"/>
              <a:gd name="csY77" fmla="*/ 856618 h 1240128"/>
              <a:gd name="csX78" fmla="*/ 572880 w 697572"/>
              <a:gd name="csY78" fmla="*/ 862546 h 1240128"/>
              <a:gd name="csX79" fmla="*/ 578643 w 697572"/>
              <a:gd name="csY79" fmla="*/ 880396 h 1240128"/>
              <a:gd name="csX80" fmla="*/ 572188 w 697572"/>
              <a:gd name="csY80" fmla="*/ 899820 h 1240128"/>
              <a:gd name="csX81" fmla="*/ 582698 w 697572"/>
              <a:gd name="csY81" fmla="*/ 930382 h 1240128"/>
              <a:gd name="csX82" fmla="*/ 604747 w 697572"/>
              <a:gd name="csY82" fmla="*/ 960852 h 1240128"/>
              <a:gd name="csX83" fmla="*/ 613863 w 697572"/>
              <a:gd name="csY83" fmla="*/ 968311 h 1240128"/>
              <a:gd name="csX84" fmla="*/ 629435 w 697572"/>
              <a:gd name="csY84" fmla="*/ 981186 h 1240128"/>
              <a:gd name="csX85" fmla="*/ 633611 w 697572"/>
              <a:gd name="csY85" fmla="*/ 985609 h 1240128"/>
              <a:gd name="csX86" fmla="*/ 673790 w 697572"/>
              <a:gd name="csY86" fmla="*/ 1049348 h 1240128"/>
              <a:gd name="csX87" fmla="*/ 675873 w 697572"/>
              <a:gd name="csY87" fmla="*/ 1092839 h 1240128"/>
              <a:gd name="csX88" fmla="*/ 681668 w 697572"/>
              <a:gd name="csY88" fmla="*/ 1129292 h 1240128"/>
              <a:gd name="csX89" fmla="*/ 697338 w 697572"/>
              <a:gd name="csY89" fmla="*/ 1196079 h 1240128"/>
              <a:gd name="csX90" fmla="*/ 690637 w 697572"/>
              <a:gd name="csY90" fmla="*/ 1205035 h 1240128"/>
              <a:gd name="csX91" fmla="*/ 639777 w 697572"/>
              <a:gd name="csY91" fmla="*/ 1217994 h 1240128"/>
              <a:gd name="csX92" fmla="*/ 587072 w 697572"/>
              <a:gd name="csY92" fmla="*/ 1227761 h 1240128"/>
              <a:gd name="csX93" fmla="*/ 581793 w 697572"/>
              <a:gd name="csY93" fmla="*/ 1234401 h 1240128"/>
              <a:gd name="csX94" fmla="*/ 357446 w 697572"/>
              <a:gd name="csY94" fmla="*/ 903795 h 1240128"/>
              <a:gd name="csX95" fmla="*/ 344445 w 697572"/>
              <a:gd name="csY95" fmla="*/ 903795 h 1240128"/>
              <a:gd name="csX96" fmla="*/ 349212 w 697572"/>
              <a:gd name="csY96" fmla="*/ 950515 h 1240128"/>
              <a:gd name="csX97" fmla="*/ 349538 w 697572"/>
              <a:gd name="csY97" fmla="*/ 1069392 h 1240128"/>
              <a:gd name="csX98" fmla="*/ 349415 w 697572"/>
              <a:gd name="csY98" fmla="*/ 1108925 h 1240128"/>
              <a:gd name="csX99" fmla="*/ 647726 w 697572"/>
              <a:gd name="csY99" fmla="*/ 1089872 h 1240128"/>
              <a:gd name="csX100" fmla="*/ 647654 w 697572"/>
              <a:gd name="csY100" fmla="*/ 1076267 h 1240128"/>
              <a:gd name="csX101" fmla="*/ 610267 w 697572"/>
              <a:gd name="csY101" fmla="*/ 994126 h 1240128"/>
              <a:gd name="csX102" fmla="*/ 571459 w 697572"/>
              <a:gd name="csY102" fmla="*/ 956568 h 1240128"/>
              <a:gd name="csX103" fmla="*/ 541653 w 697572"/>
              <a:gd name="csY103" fmla="*/ 901544 h 1240128"/>
              <a:gd name="csX104" fmla="*/ 539477 w 697572"/>
              <a:gd name="csY104" fmla="*/ 895908 h 1240128"/>
              <a:gd name="csX105" fmla="*/ 357446 w 697572"/>
              <a:gd name="csY105" fmla="*/ 903795 h 1240128"/>
              <a:gd name="csX106" fmla="*/ 300108 w 697572"/>
              <a:gd name="csY106" fmla="*/ 85260 h 1240128"/>
              <a:gd name="csX107" fmla="*/ 290213 w 697572"/>
              <a:gd name="csY107" fmla="*/ 127888 h 1240128"/>
              <a:gd name="csX108" fmla="*/ 331056 w 697572"/>
              <a:gd name="csY108" fmla="*/ 214168 h 1240128"/>
              <a:gd name="csX109" fmla="*/ 424717 w 697572"/>
              <a:gd name="csY109" fmla="*/ 245160 h 1240128"/>
              <a:gd name="csX110" fmla="*/ 496752 w 697572"/>
              <a:gd name="csY110" fmla="*/ 141256 h 1240128"/>
              <a:gd name="csX111" fmla="*/ 390320 w 697572"/>
              <a:gd name="csY111" fmla="*/ 43995 h 1240128"/>
              <a:gd name="csX112" fmla="*/ 300108 w 697572"/>
              <a:gd name="csY112" fmla="*/ 85260 h 1240128"/>
              <a:gd name="csX113" fmla="*/ 343360 w 697572"/>
              <a:gd name="csY113" fmla="*/ 634332 h 1240128"/>
              <a:gd name="csX114" fmla="*/ 340877 w 697572"/>
              <a:gd name="csY114" fmla="*/ 732259 h 1240128"/>
              <a:gd name="csX115" fmla="*/ 338360 w 697572"/>
              <a:gd name="csY115" fmla="*/ 810538 h 1240128"/>
              <a:gd name="csX116" fmla="*/ 337115 w 697572"/>
              <a:gd name="csY116" fmla="*/ 817736 h 1240128"/>
              <a:gd name="csX117" fmla="*/ 336516 w 697572"/>
              <a:gd name="csY117" fmla="*/ 863022 h 1240128"/>
              <a:gd name="csX118" fmla="*/ 343436 w 697572"/>
              <a:gd name="csY118" fmla="*/ 864027 h 1240128"/>
              <a:gd name="csX119" fmla="*/ 406718 w 697572"/>
              <a:gd name="csY119" fmla="*/ 862982 h 1240128"/>
              <a:gd name="csX120" fmla="*/ 456888 w 697572"/>
              <a:gd name="csY120" fmla="*/ 861794 h 1240128"/>
              <a:gd name="csX121" fmla="*/ 495873 w 697572"/>
              <a:gd name="csY121" fmla="*/ 863963 h 1240128"/>
              <a:gd name="csX122" fmla="*/ 509286 w 697572"/>
              <a:gd name="csY122" fmla="*/ 863595 h 1240128"/>
              <a:gd name="csX123" fmla="*/ 516956 w 697572"/>
              <a:gd name="csY123" fmla="*/ 856791 h 1240128"/>
              <a:gd name="csX124" fmla="*/ 513920 w 697572"/>
              <a:gd name="csY124" fmla="*/ 848709 h 1240128"/>
              <a:gd name="csX125" fmla="*/ 506683 w 697572"/>
              <a:gd name="csY125" fmla="*/ 839054 h 1240128"/>
              <a:gd name="csX126" fmla="*/ 488629 w 697572"/>
              <a:gd name="csY126" fmla="*/ 799037 h 1240128"/>
              <a:gd name="csX127" fmla="*/ 456922 w 697572"/>
              <a:gd name="csY127" fmla="*/ 696297 h 1240128"/>
              <a:gd name="csX128" fmla="*/ 441346 w 697572"/>
              <a:gd name="csY128" fmla="*/ 619885 h 1240128"/>
              <a:gd name="csX129" fmla="*/ 435963 w 697572"/>
              <a:gd name="csY129" fmla="*/ 582529 h 1240128"/>
              <a:gd name="csX130" fmla="*/ 429497 w 697572"/>
              <a:gd name="csY130" fmla="*/ 521990 h 1240128"/>
              <a:gd name="csX131" fmla="*/ 426887 w 697572"/>
              <a:gd name="csY131" fmla="*/ 471989 h 1240128"/>
              <a:gd name="csX132" fmla="*/ 413744 w 697572"/>
              <a:gd name="csY132" fmla="*/ 461077 h 1240128"/>
              <a:gd name="csX133" fmla="*/ 353573 w 697572"/>
              <a:gd name="csY133" fmla="*/ 461120 h 1240128"/>
              <a:gd name="csX134" fmla="*/ 344160 w 697572"/>
              <a:gd name="csY134" fmla="*/ 462286 h 1240128"/>
              <a:gd name="csX135" fmla="*/ 343404 w 697572"/>
              <a:gd name="csY135" fmla="*/ 469192 h 1240128"/>
              <a:gd name="csX136" fmla="*/ 343469 w 697572"/>
              <a:gd name="csY136" fmla="*/ 574797 h 1240128"/>
              <a:gd name="csX137" fmla="*/ 345522 w 697572"/>
              <a:gd name="csY137" fmla="*/ 591669 h 1240128"/>
              <a:gd name="csX138" fmla="*/ 343360 w 697572"/>
              <a:gd name="csY138" fmla="*/ 634332 h 1240128"/>
              <a:gd name="csX139" fmla="*/ 416946 w 697572"/>
              <a:gd name="csY139" fmla="*/ 385943 h 1240128"/>
              <a:gd name="csX140" fmla="*/ 401091 w 697572"/>
              <a:gd name="csY140" fmla="*/ 387162 h 1240128"/>
              <a:gd name="csX141" fmla="*/ 369218 w 697572"/>
              <a:gd name="csY141" fmla="*/ 387708 h 1240128"/>
              <a:gd name="csX142" fmla="*/ 351833 w 697572"/>
              <a:gd name="csY142" fmla="*/ 398991 h 1240128"/>
              <a:gd name="csX143" fmla="*/ 349778 w 697572"/>
              <a:gd name="csY143" fmla="*/ 426021 h 1240128"/>
              <a:gd name="csX144" fmla="*/ 361839 w 697572"/>
              <a:gd name="csY144" fmla="*/ 426538 h 1240128"/>
              <a:gd name="csX145" fmla="*/ 455022 w 697572"/>
              <a:gd name="csY145" fmla="*/ 426922 h 1240128"/>
              <a:gd name="csX146" fmla="*/ 481958 w 697572"/>
              <a:gd name="csY146" fmla="*/ 426527 h 1240128"/>
              <a:gd name="csX147" fmla="*/ 499817 w 697572"/>
              <a:gd name="csY147" fmla="*/ 419888 h 1240128"/>
              <a:gd name="csX148" fmla="*/ 499439 w 697572"/>
              <a:gd name="csY148" fmla="*/ 400719 h 1240128"/>
              <a:gd name="csX149" fmla="*/ 468062 w 697572"/>
              <a:gd name="csY149" fmla="*/ 387775 h 1240128"/>
              <a:gd name="csX150" fmla="*/ 416946 w 697572"/>
              <a:gd name="csY150" fmla="*/ 385943 h 1240128"/>
              <a:gd name="csX151" fmla="*/ 636802 w 697572"/>
              <a:gd name="csY151" fmla="*/ 1190940 h 1240128"/>
              <a:gd name="csX152" fmla="*/ 666492 w 697572"/>
              <a:gd name="csY152" fmla="*/ 1184186 h 1240128"/>
              <a:gd name="csX153" fmla="*/ 674465 w 697572"/>
              <a:gd name="csY153" fmla="*/ 1170880 h 1240128"/>
              <a:gd name="csX154" fmla="*/ 662462 w 697572"/>
              <a:gd name="csY154" fmla="*/ 1141464 h 1240128"/>
              <a:gd name="csX155" fmla="*/ 645564 w 697572"/>
              <a:gd name="csY155" fmla="*/ 1131937 h 1240128"/>
              <a:gd name="csX156" fmla="*/ 627387 w 697572"/>
              <a:gd name="csY156" fmla="*/ 1133618 h 1240128"/>
              <a:gd name="csX157" fmla="*/ 583917 w 697572"/>
              <a:gd name="csY157" fmla="*/ 1139222 h 1240128"/>
              <a:gd name="csX158" fmla="*/ 543741 w 697572"/>
              <a:gd name="csY158" fmla="*/ 1141869 h 1240128"/>
              <a:gd name="csX159" fmla="*/ 512146 w 697572"/>
              <a:gd name="csY159" fmla="*/ 1144418 h 1240128"/>
              <a:gd name="csX160" fmla="*/ 447711 w 697572"/>
              <a:gd name="csY160" fmla="*/ 1148973 h 1240128"/>
              <a:gd name="csX161" fmla="*/ 351979 w 697572"/>
              <a:gd name="csY161" fmla="*/ 1149200 h 1240128"/>
              <a:gd name="csX162" fmla="*/ 338443 w 697572"/>
              <a:gd name="csY162" fmla="*/ 1150040 h 1240128"/>
              <a:gd name="csX163" fmla="*/ 338451 w 697572"/>
              <a:gd name="csY163" fmla="*/ 1190780 h 1240128"/>
              <a:gd name="csX164" fmla="*/ 351082 w 697572"/>
              <a:gd name="csY164" fmla="*/ 1207015 h 1240128"/>
              <a:gd name="csX165" fmla="*/ 358298 w 697572"/>
              <a:gd name="csY165" fmla="*/ 1208094 h 1240128"/>
              <a:gd name="csX166" fmla="*/ 521229 w 697572"/>
              <a:gd name="csY166" fmla="*/ 1205646 h 1240128"/>
              <a:gd name="csX167" fmla="*/ 523675 w 697572"/>
              <a:gd name="csY167" fmla="*/ 1205490 h 1240128"/>
              <a:gd name="csX168" fmla="*/ 580423 w 697572"/>
              <a:gd name="csY168" fmla="*/ 1198350 h 1240128"/>
              <a:gd name="csX169" fmla="*/ 636802 w 697572"/>
              <a:gd name="csY169" fmla="*/ 1190940 h 124012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</a:cxnLst>
            <a:rect l="l" t="t" r="r" b="b"/>
            <a:pathLst>
              <a:path w="697572" h="1240128">
                <a:moveTo>
                  <a:pt x="581793" y="1234401"/>
                </a:moveTo>
                <a:cubicBezTo>
                  <a:pt x="580693" y="1234661"/>
                  <a:pt x="579594" y="1234922"/>
                  <a:pt x="577427" y="1234156"/>
                </a:cubicBezTo>
                <a:cubicBezTo>
                  <a:pt x="571216" y="1227899"/>
                  <a:pt x="564912" y="1230441"/>
                  <a:pt x="559133" y="1230909"/>
                </a:cubicBezTo>
                <a:cubicBezTo>
                  <a:pt x="544971" y="1232056"/>
                  <a:pt x="530869" y="1233971"/>
                  <a:pt x="516706" y="1235117"/>
                </a:cubicBezTo>
                <a:cubicBezTo>
                  <a:pt x="502910" y="1236232"/>
                  <a:pt x="489077" y="1237097"/>
                  <a:pt x="475244" y="1237506"/>
                </a:cubicBezTo>
                <a:cubicBezTo>
                  <a:pt x="440539" y="1238535"/>
                  <a:pt x="405696" y="1241458"/>
                  <a:pt x="371154" y="1239428"/>
                </a:cubicBezTo>
                <a:cubicBezTo>
                  <a:pt x="339645" y="1237575"/>
                  <a:pt x="308239" y="1238753"/>
                  <a:pt x="276813" y="1237654"/>
                </a:cubicBezTo>
                <a:cubicBezTo>
                  <a:pt x="273949" y="1237553"/>
                  <a:pt x="271079" y="1237652"/>
                  <a:pt x="268212" y="1237635"/>
                </a:cubicBezTo>
                <a:cubicBezTo>
                  <a:pt x="266165" y="1237623"/>
                  <a:pt x="264111" y="1237668"/>
                  <a:pt x="262072" y="1237523"/>
                </a:cubicBezTo>
                <a:cubicBezTo>
                  <a:pt x="239751" y="1235944"/>
                  <a:pt x="217441" y="1234201"/>
                  <a:pt x="195111" y="1232775"/>
                </a:cubicBezTo>
                <a:cubicBezTo>
                  <a:pt x="178437" y="1231710"/>
                  <a:pt x="161712" y="1231378"/>
                  <a:pt x="145060" y="1230076"/>
                </a:cubicBezTo>
                <a:cubicBezTo>
                  <a:pt x="134969" y="1229287"/>
                  <a:pt x="124987" y="1227177"/>
                  <a:pt x="114933" y="1225832"/>
                </a:cubicBezTo>
                <a:cubicBezTo>
                  <a:pt x="100834" y="1223946"/>
                  <a:pt x="86554" y="1223022"/>
                  <a:pt x="72642" y="1220237"/>
                </a:cubicBezTo>
                <a:cubicBezTo>
                  <a:pt x="51920" y="1216091"/>
                  <a:pt x="31443" y="1210723"/>
                  <a:pt x="10894" y="1205737"/>
                </a:cubicBezTo>
                <a:cubicBezTo>
                  <a:pt x="9027" y="1205284"/>
                  <a:pt x="6196" y="1204140"/>
                  <a:pt x="5856" y="1202799"/>
                </a:cubicBezTo>
                <a:cubicBezTo>
                  <a:pt x="3474" y="1193418"/>
                  <a:pt x="-438" y="1183796"/>
                  <a:pt x="40" y="1174450"/>
                </a:cubicBezTo>
                <a:cubicBezTo>
                  <a:pt x="1079" y="1154149"/>
                  <a:pt x="9757" y="1135843"/>
                  <a:pt x="19831" y="1118410"/>
                </a:cubicBezTo>
                <a:cubicBezTo>
                  <a:pt x="21968" y="1114713"/>
                  <a:pt x="22970" y="1111858"/>
                  <a:pt x="22004" y="1107240"/>
                </a:cubicBezTo>
                <a:cubicBezTo>
                  <a:pt x="17168" y="1084118"/>
                  <a:pt x="17717" y="1061168"/>
                  <a:pt x="25947" y="1038650"/>
                </a:cubicBezTo>
                <a:cubicBezTo>
                  <a:pt x="32954" y="1019481"/>
                  <a:pt x="44478" y="1003118"/>
                  <a:pt x="58234" y="988567"/>
                </a:cubicBezTo>
                <a:cubicBezTo>
                  <a:pt x="77769" y="967902"/>
                  <a:pt x="97978" y="947832"/>
                  <a:pt x="118645" y="928298"/>
                </a:cubicBezTo>
                <a:cubicBezTo>
                  <a:pt x="130104" y="917467"/>
                  <a:pt x="131835" y="905961"/>
                  <a:pt x="126320" y="892015"/>
                </a:cubicBezTo>
                <a:cubicBezTo>
                  <a:pt x="123798" y="885637"/>
                  <a:pt x="122123" y="878904"/>
                  <a:pt x="120345" y="872258"/>
                </a:cubicBezTo>
                <a:cubicBezTo>
                  <a:pt x="119029" y="867341"/>
                  <a:pt x="120162" y="863613"/>
                  <a:pt x="125668" y="861640"/>
                </a:cubicBezTo>
                <a:cubicBezTo>
                  <a:pt x="135266" y="858201"/>
                  <a:pt x="144535" y="853788"/>
                  <a:pt x="154237" y="850716"/>
                </a:cubicBezTo>
                <a:cubicBezTo>
                  <a:pt x="161882" y="848296"/>
                  <a:pt x="167110" y="843897"/>
                  <a:pt x="170248" y="836767"/>
                </a:cubicBezTo>
                <a:cubicBezTo>
                  <a:pt x="176168" y="823316"/>
                  <a:pt x="182193" y="809907"/>
                  <a:pt x="187840" y="796341"/>
                </a:cubicBezTo>
                <a:cubicBezTo>
                  <a:pt x="195194" y="778679"/>
                  <a:pt x="202250" y="760894"/>
                  <a:pt x="209346" y="743126"/>
                </a:cubicBezTo>
                <a:cubicBezTo>
                  <a:pt x="210083" y="741280"/>
                  <a:pt x="210252" y="739200"/>
                  <a:pt x="210630" y="737219"/>
                </a:cubicBezTo>
                <a:cubicBezTo>
                  <a:pt x="211694" y="731645"/>
                  <a:pt x="212425" y="725987"/>
                  <a:pt x="213836" y="720505"/>
                </a:cubicBezTo>
                <a:cubicBezTo>
                  <a:pt x="218406" y="702764"/>
                  <a:pt x="223811" y="685219"/>
                  <a:pt x="227791" y="667353"/>
                </a:cubicBezTo>
                <a:cubicBezTo>
                  <a:pt x="232826" y="644755"/>
                  <a:pt x="237367" y="622009"/>
                  <a:pt x="241013" y="599151"/>
                </a:cubicBezTo>
                <a:cubicBezTo>
                  <a:pt x="244018" y="580319"/>
                  <a:pt x="246001" y="561272"/>
                  <a:pt x="247322" y="542242"/>
                </a:cubicBezTo>
                <a:cubicBezTo>
                  <a:pt x="248312" y="527975"/>
                  <a:pt x="246344" y="513451"/>
                  <a:pt x="247948" y="499296"/>
                </a:cubicBezTo>
                <a:cubicBezTo>
                  <a:pt x="249066" y="489432"/>
                  <a:pt x="247923" y="480014"/>
                  <a:pt x="247577" y="470384"/>
                </a:cubicBezTo>
                <a:cubicBezTo>
                  <a:pt x="247364" y="464453"/>
                  <a:pt x="245121" y="461397"/>
                  <a:pt x="238877" y="460987"/>
                </a:cubicBezTo>
                <a:cubicBezTo>
                  <a:pt x="233224" y="460615"/>
                  <a:pt x="227461" y="459920"/>
                  <a:pt x="222040" y="458353"/>
                </a:cubicBezTo>
                <a:cubicBezTo>
                  <a:pt x="203991" y="453134"/>
                  <a:pt x="185737" y="448229"/>
                  <a:pt x="172193" y="433714"/>
                </a:cubicBezTo>
                <a:cubicBezTo>
                  <a:pt x="162702" y="423544"/>
                  <a:pt x="160887" y="408134"/>
                  <a:pt x="168410" y="396591"/>
                </a:cubicBezTo>
                <a:cubicBezTo>
                  <a:pt x="178294" y="381428"/>
                  <a:pt x="193736" y="373793"/>
                  <a:pt x="209826" y="367773"/>
                </a:cubicBezTo>
                <a:cubicBezTo>
                  <a:pt x="223159" y="362784"/>
                  <a:pt x="237124" y="359493"/>
                  <a:pt x="250732" y="355208"/>
                </a:cubicBezTo>
                <a:cubicBezTo>
                  <a:pt x="253085" y="354467"/>
                  <a:pt x="255058" y="352518"/>
                  <a:pt x="258289" y="350426"/>
                </a:cubicBezTo>
                <a:cubicBezTo>
                  <a:pt x="250173" y="342610"/>
                  <a:pt x="241833" y="337880"/>
                  <a:pt x="233274" y="333513"/>
                </a:cubicBezTo>
                <a:cubicBezTo>
                  <a:pt x="232377" y="333055"/>
                  <a:pt x="230890" y="333758"/>
                  <a:pt x="229677" y="333922"/>
                </a:cubicBezTo>
                <a:cubicBezTo>
                  <a:pt x="229677" y="333922"/>
                  <a:pt x="230323" y="333834"/>
                  <a:pt x="230149" y="332979"/>
                </a:cubicBezTo>
                <a:cubicBezTo>
                  <a:pt x="229023" y="330409"/>
                  <a:pt x="228502" y="328059"/>
                  <a:pt x="227053" y="327076"/>
                </a:cubicBezTo>
                <a:cubicBezTo>
                  <a:pt x="213615" y="317962"/>
                  <a:pt x="204643" y="305332"/>
                  <a:pt x="196769" y="291380"/>
                </a:cubicBezTo>
                <a:cubicBezTo>
                  <a:pt x="191792" y="282564"/>
                  <a:pt x="185421" y="274665"/>
                  <a:pt x="184389" y="264042"/>
                </a:cubicBezTo>
                <a:cubicBezTo>
                  <a:pt x="184179" y="261874"/>
                  <a:pt x="181925" y="259908"/>
                  <a:pt x="180630" y="257839"/>
                </a:cubicBezTo>
                <a:cubicBezTo>
                  <a:pt x="179137" y="255454"/>
                  <a:pt x="177317" y="253204"/>
                  <a:pt x="176231" y="250643"/>
                </a:cubicBezTo>
                <a:cubicBezTo>
                  <a:pt x="161865" y="216749"/>
                  <a:pt x="159606" y="182060"/>
                  <a:pt x="170073" y="146723"/>
                </a:cubicBezTo>
                <a:cubicBezTo>
                  <a:pt x="173311" y="135795"/>
                  <a:pt x="177248" y="125074"/>
                  <a:pt x="180929" y="114280"/>
                </a:cubicBezTo>
                <a:cubicBezTo>
                  <a:pt x="182396" y="109981"/>
                  <a:pt x="183922" y="105742"/>
                  <a:pt x="180839" y="101501"/>
                </a:cubicBezTo>
                <a:cubicBezTo>
                  <a:pt x="192473" y="75833"/>
                  <a:pt x="211344" y="56271"/>
                  <a:pt x="233536" y="39653"/>
                </a:cubicBezTo>
                <a:cubicBezTo>
                  <a:pt x="267321" y="14353"/>
                  <a:pt x="305621" y="873"/>
                  <a:pt x="347618" y="35"/>
                </a:cubicBezTo>
                <a:cubicBezTo>
                  <a:pt x="379125" y="-593"/>
                  <a:pt x="409214" y="7172"/>
                  <a:pt x="437139" y="22396"/>
                </a:cubicBezTo>
                <a:cubicBezTo>
                  <a:pt x="481844" y="46766"/>
                  <a:pt x="514077" y="82116"/>
                  <a:pt x="529052" y="131093"/>
                </a:cubicBezTo>
                <a:cubicBezTo>
                  <a:pt x="543544" y="178495"/>
                  <a:pt x="541630" y="225548"/>
                  <a:pt x="518497" y="271517"/>
                </a:cubicBezTo>
                <a:cubicBezTo>
                  <a:pt x="511428" y="277096"/>
                  <a:pt x="503848" y="281136"/>
                  <a:pt x="500808" y="287385"/>
                </a:cubicBezTo>
                <a:cubicBezTo>
                  <a:pt x="493932" y="301522"/>
                  <a:pt x="483805" y="312513"/>
                  <a:pt x="472948" y="323290"/>
                </a:cubicBezTo>
                <a:cubicBezTo>
                  <a:pt x="470972" y="325253"/>
                  <a:pt x="470533" y="328767"/>
                  <a:pt x="469385" y="331565"/>
                </a:cubicBezTo>
                <a:cubicBezTo>
                  <a:pt x="469385" y="331565"/>
                  <a:pt x="469172" y="331584"/>
                  <a:pt x="468293" y="331320"/>
                </a:cubicBezTo>
                <a:cubicBezTo>
                  <a:pt x="461937" y="330836"/>
                  <a:pt x="458618" y="332772"/>
                  <a:pt x="459542" y="338942"/>
                </a:cubicBezTo>
                <a:cubicBezTo>
                  <a:pt x="459542" y="338942"/>
                  <a:pt x="459473" y="338913"/>
                  <a:pt x="458492" y="338671"/>
                </a:cubicBezTo>
                <a:cubicBezTo>
                  <a:pt x="450936" y="342653"/>
                  <a:pt x="440712" y="341355"/>
                  <a:pt x="436978" y="352226"/>
                </a:cubicBezTo>
                <a:cubicBezTo>
                  <a:pt x="449178" y="355911"/>
                  <a:pt x="460733" y="359469"/>
                  <a:pt x="472329" y="362890"/>
                </a:cubicBezTo>
                <a:cubicBezTo>
                  <a:pt x="491728" y="368613"/>
                  <a:pt x="510182" y="375784"/>
                  <a:pt x="523779" y="391962"/>
                </a:cubicBezTo>
                <a:cubicBezTo>
                  <a:pt x="535849" y="406326"/>
                  <a:pt x="534845" y="420076"/>
                  <a:pt x="527344" y="430096"/>
                </a:cubicBezTo>
                <a:cubicBezTo>
                  <a:pt x="521323" y="438139"/>
                  <a:pt x="513928" y="445333"/>
                  <a:pt x="504112" y="449628"/>
                </a:cubicBezTo>
                <a:cubicBezTo>
                  <a:pt x="489776" y="455901"/>
                  <a:pt x="475173" y="460486"/>
                  <a:pt x="459430" y="461116"/>
                </a:cubicBezTo>
                <a:cubicBezTo>
                  <a:pt x="448415" y="461557"/>
                  <a:pt x="446384" y="463369"/>
                  <a:pt x="446666" y="474229"/>
                </a:cubicBezTo>
                <a:cubicBezTo>
                  <a:pt x="447164" y="493376"/>
                  <a:pt x="447839" y="512533"/>
                  <a:pt x="449133" y="531639"/>
                </a:cubicBezTo>
                <a:cubicBezTo>
                  <a:pt x="450424" y="550696"/>
                  <a:pt x="451783" y="569809"/>
                  <a:pt x="454546" y="588688"/>
                </a:cubicBezTo>
                <a:cubicBezTo>
                  <a:pt x="457543" y="609164"/>
                  <a:pt x="462165" y="629403"/>
                  <a:pt x="466126" y="649736"/>
                </a:cubicBezTo>
                <a:cubicBezTo>
                  <a:pt x="475845" y="699621"/>
                  <a:pt x="493414" y="746980"/>
                  <a:pt x="512154" y="794006"/>
                </a:cubicBezTo>
                <a:cubicBezTo>
                  <a:pt x="517387" y="807138"/>
                  <a:pt x="525145" y="819463"/>
                  <a:pt x="525763" y="834323"/>
                </a:cubicBezTo>
                <a:cubicBezTo>
                  <a:pt x="525919" y="838081"/>
                  <a:pt x="527739" y="843335"/>
                  <a:pt x="530555" y="845114"/>
                </a:cubicBezTo>
                <a:cubicBezTo>
                  <a:pt x="537981" y="849801"/>
                  <a:pt x="546243" y="853278"/>
                  <a:pt x="554424" y="856618"/>
                </a:cubicBezTo>
                <a:cubicBezTo>
                  <a:pt x="560391" y="859054"/>
                  <a:pt x="567041" y="859887"/>
                  <a:pt x="572880" y="862546"/>
                </a:cubicBezTo>
                <a:cubicBezTo>
                  <a:pt x="581470" y="866458"/>
                  <a:pt x="582467" y="871415"/>
                  <a:pt x="578643" y="880396"/>
                </a:cubicBezTo>
                <a:cubicBezTo>
                  <a:pt x="575969" y="886677"/>
                  <a:pt x="572900" y="893182"/>
                  <a:pt x="572188" y="899820"/>
                </a:cubicBezTo>
                <a:cubicBezTo>
                  <a:pt x="570960" y="911271"/>
                  <a:pt x="576506" y="920944"/>
                  <a:pt x="582698" y="930382"/>
                </a:cubicBezTo>
                <a:cubicBezTo>
                  <a:pt x="589569" y="940856"/>
                  <a:pt x="600933" y="947930"/>
                  <a:pt x="604747" y="960852"/>
                </a:cubicBezTo>
                <a:cubicBezTo>
                  <a:pt x="605684" y="964030"/>
                  <a:pt x="610294" y="967128"/>
                  <a:pt x="613863" y="968311"/>
                </a:cubicBezTo>
                <a:cubicBezTo>
                  <a:pt x="620963" y="970665"/>
                  <a:pt x="625924" y="974774"/>
                  <a:pt x="629435" y="981186"/>
                </a:cubicBezTo>
                <a:cubicBezTo>
                  <a:pt x="630381" y="982913"/>
                  <a:pt x="631977" y="984459"/>
                  <a:pt x="633611" y="985609"/>
                </a:cubicBezTo>
                <a:cubicBezTo>
                  <a:pt x="655878" y="1001272"/>
                  <a:pt x="668032" y="1023762"/>
                  <a:pt x="673790" y="1049348"/>
                </a:cubicBezTo>
                <a:cubicBezTo>
                  <a:pt x="676936" y="1063327"/>
                  <a:pt x="679769" y="1077802"/>
                  <a:pt x="675873" y="1092839"/>
                </a:cubicBezTo>
                <a:cubicBezTo>
                  <a:pt x="672677" y="1105174"/>
                  <a:pt x="673042" y="1116963"/>
                  <a:pt x="681668" y="1129292"/>
                </a:cubicBezTo>
                <a:cubicBezTo>
                  <a:pt x="695321" y="1148802"/>
                  <a:pt x="698550" y="1172235"/>
                  <a:pt x="697338" y="1196079"/>
                </a:cubicBezTo>
                <a:cubicBezTo>
                  <a:pt x="697087" y="1201014"/>
                  <a:pt x="694979" y="1203886"/>
                  <a:pt x="690637" y="1205035"/>
                </a:cubicBezTo>
                <a:cubicBezTo>
                  <a:pt x="673723" y="1209511"/>
                  <a:pt x="656856" y="1214241"/>
                  <a:pt x="639777" y="1217994"/>
                </a:cubicBezTo>
                <a:cubicBezTo>
                  <a:pt x="622334" y="1221827"/>
                  <a:pt x="604691" y="1224790"/>
                  <a:pt x="587072" y="1227761"/>
                </a:cubicBezTo>
                <a:cubicBezTo>
                  <a:pt x="582708" y="1228497"/>
                  <a:pt x="581724" y="1230736"/>
                  <a:pt x="581793" y="1234401"/>
                </a:cubicBezTo>
                <a:moveTo>
                  <a:pt x="357446" y="903795"/>
                </a:moveTo>
                <a:cubicBezTo>
                  <a:pt x="353141" y="903795"/>
                  <a:pt x="348835" y="903795"/>
                  <a:pt x="344445" y="903795"/>
                </a:cubicBezTo>
                <a:cubicBezTo>
                  <a:pt x="346169" y="920562"/>
                  <a:pt x="347908" y="935520"/>
                  <a:pt x="349212" y="950515"/>
                </a:cubicBezTo>
                <a:cubicBezTo>
                  <a:pt x="352656" y="990125"/>
                  <a:pt x="351941" y="1029743"/>
                  <a:pt x="349538" y="1069392"/>
                </a:cubicBezTo>
                <a:cubicBezTo>
                  <a:pt x="348759" y="1082241"/>
                  <a:pt x="349415" y="1095176"/>
                  <a:pt x="349415" y="1108925"/>
                </a:cubicBezTo>
                <a:cubicBezTo>
                  <a:pt x="449467" y="1111953"/>
                  <a:pt x="548509" y="1104712"/>
                  <a:pt x="647726" y="1089872"/>
                </a:cubicBezTo>
                <a:cubicBezTo>
                  <a:pt x="647726" y="1084313"/>
                  <a:pt x="648180" y="1080225"/>
                  <a:pt x="647654" y="1076267"/>
                </a:cubicBezTo>
                <a:cubicBezTo>
                  <a:pt x="643515" y="1045124"/>
                  <a:pt x="633172" y="1016714"/>
                  <a:pt x="610267" y="994126"/>
                </a:cubicBezTo>
                <a:cubicBezTo>
                  <a:pt x="597451" y="981485"/>
                  <a:pt x="584392" y="969090"/>
                  <a:pt x="571459" y="956568"/>
                </a:cubicBezTo>
                <a:cubicBezTo>
                  <a:pt x="555751" y="941359"/>
                  <a:pt x="544836" y="923558"/>
                  <a:pt x="541653" y="901544"/>
                </a:cubicBezTo>
                <a:cubicBezTo>
                  <a:pt x="541430" y="900007"/>
                  <a:pt x="540528" y="898570"/>
                  <a:pt x="539477" y="895908"/>
                </a:cubicBezTo>
                <a:cubicBezTo>
                  <a:pt x="479736" y="901652"/>
                  <a:pt x="419815" y="904536"/>
                  <a:pt x="357446" y="903795"/>
                </a:cubicBezTo>
                <a:moveTo>
                  <a:pt x="300108" y="85260"/>
                </a:moveTo>
                <a:cubicBezTo>
                  <a:pt x="293656" y="98745"/>
                  <a:pt x="289202" y="113094"/>
                  <a:pt x="290213" y="127888"/>
                </a:cubicBezTo>
                <a:cubicBezTo>
                  <a:pt x="292527" y="161736"/>
                  <a:pt x="304185" y="191723"/>
                  <a:pt x="331056" y="214168"/>
                </a:cubicBezTo>
                <a:cubicBezTo>
                  <a:pt x="358172" y="236816"/>
                  <a:pt x="388435" y="249934"/>
                  <a:pt x="424717" y="245160"/>
                </a:cubicBezTo>
                <a:cubicBezTo>
                  <a:pt x="468593" y="239387"/>
                  <a:pt x="509574" y="203365"/>
                  <a:pt x="496752" y="141256"/>
                </a:cubicBezTo>
                <a:cubicBezTo>
                  <a:pt x="487021" y="94124"/>
                  <a:pt x="447261" y="51874"/>
                  <a:pt x="390320" y="43995"/>
                </a:cubicBezTo>
                <a:cubicBezTo>
                  <a:pt x="353241" y="38865"/>
                  <a:pt x="321136" y="48750"/>
                  <a:pt x="300108" y="85260"/>
                </a:cubicBezTo>
                <a:moveTo>
                  <a:pt x="343360" y="634332"/>
                </a:moveTo>
                <a:cubicBezTo>
                  <a:pt x="342539" y="666975"/>
                  <a:pt x="341785" y="699619"/>
                  <a:pt x="340877" y="732259"/>
                </a:cubicBezTo>
                <a:cubicBezTo>
                  <a:pt x="340151" y="758355"/>
                  <a:pt x="339265" y="784447"/>
                  <a:pt x="338360" y="810538"/>
                </a:cubicBezTo>
                <a:cubicBezTo>
                  <a:pt x="338277" y="812948"/>
                  <a:pt x="337465" y="815325"/>
                  <a:pt x="337115" y="817736"/>
                </a:cubicBezTo>
                <a:cubicBezTo>
                  <a:pt x="334935" y="832710"/>
                  <a:pt x="336026" y="847647"/>
                  <a:pt x="336516" y="863022"/>
                </a:cubicBezTo>
                <a:cubicBezTo>
                  <a:pt x="339537" y="863479"/>
                  <a:pt x="341490" y="864053"/>
                  <a:pt x="343436" y="864027"/>
                </a:cubicBezTo>
                <a:cubicBezTo>
                  <a:pt x="364531" y="863739"/>
                  <a:pt x="385626" y="863422"/>
                  <a:pt x="406718" y="862982"/>
                </a:cubicBezTo>
                <a:cubicBezTo>
                  <a:pt x="423444" y="862634"/>
                  <a:pt x="440168" y="861675"/>
                  <a:pt x="456888" y="861794"/>
                </a:cubicBezTo>
                <a:cubicBezTo>
                  <a:pt x="469887" y="861886"/>
                  <a:pt x="482872" y="863302"/>
                  <a:pt x="495873" y="863963"/>
                </a:cubicBezTo>
                <a:cubicBezTo>
                  <a:pt x="500358" y="864191"/>
                  <a:pt x="505108" y="864773"/>
                  <a:pt x="509286" y="863595"/>
                </a:cubicBezTo>
                <a:cubicBezTo>
                  <a:pt x="512346" y="862732"/>
                  <a:pt x="515714" y="859703"/>
                  <a:pt x="516956" y="856791"/>
                </a:cubicBezTo>
                <a:cubicBezTo>
                  <a:pt x="517783" y="854851"/>
                  <a:pt x="515475" y="851192"/>
                  <a:pt x="513920" y="848709"/>
                </a:cubicBezTo>
                <a:cubicBezTo>
                  <a:pt x="511791" y="845308"/>
                  <a:pt x="508393" y="842606"/>
                  <a:pt x="506683" y="839054"/>
                </a:cubicBezTo>
                <a:cubicBezTo>
                  <a:pt x="500331" y="825864"/>
                  <a:pt x="493224" y="812855"/>
                  <a:pt x="488629" y="799037"/>
                </a:cubicBezTo>
                <a:cubicBezTo>
                  <a:pt x="477322" y="765031"/>
                  <a:pt x="466537" y="730814"/>
                  <a:pt x="456922" y="696297"/>
                </a:cubicBezTo>
                <a:cubicBezTo>
                  <a:pt x="449953" y="671276"/>
                  <a:pt x="443477" y="646020"/>
                  <a:pt x="441346" y="619885"/>
                </a:cubicBezTo>
                <a:cubicBezTo>
                  <a:pt x="440327" y="607371"/>
                  <a:pt x="437466" y="595018"/>
                  <a:pt x="435963" y="582529"/>
                </a:cubicBezTo>
                <a:cubicBezTo>
                  <a:pt x="433539" y="562380"/>
                  <a:pt x="431154" y="542212"/>
                  <a:pt x="429497" y="521990"/>
                </a:cubicBezTo>
                <a:cubicBezTo>
                  <a:pt x="428135" y="505363"/>
                  <a:pt x="428437" y="488593"/>
                  <a:pt x="426887" y="471989"/>
                </a:cubicBezTo>
                <a:cubicBezTo>
                  <a:pt x="425874" y="461140"/>
                  <a:pt x="424983" y="461120"/>
                  <a:pt x="413744" y="461077"/>
                </a:cubicBezTo>
                <a:cubicBezTo>
                  <a:pt x="393687" y="461000"/>
                  <a:pt x="373630" y="461011"/>
                  <a:pt x="353573" y="461120"/>
                </a:cubicBezTo>
                <a:cubicBezTo>
                  <a:pt x="350472" y="461137"/>
                  <a:pt x="347374" y="461869"/>
                  <a:pt x="344160" y="462286"/>
                </a:cubicBezTo>
                <a:cubicBezTo>
                  <a:pt x="343828" y="465198"/>
                  <a:pt x="343406" y="467195"/>
                  <a:pt x="343404" y="469192"/>
                </a:cubicBezTo>
                <a:cubicBezTo>
                  <a:pt x="343360" y="504394"/>
                  <a:pt x="343267" y="539596"/>
                  <a:pt x="343469" y="574797"/>
                </a:cubicBezTo>
                <a:cubicBezTo>
                  <a:pt x="343501" y="580426"/>
                  <a:pt x="345652" y="586065"/>
                  <a:pt x="345522" y="591669"/>
                </a:cubicBezTo>
                <a:cubicBezTo>
                  <a:pt x="345214" y="605082"/>
                  <a:pt x="344131" y="618478"/>
                  <a:pt x="343360" y="634332"/>
                </a:cubicBezTo>
                <a:moveTo>
                  <a:pt x="416946" y="385943"/>
                </a:moveTo>
                <a:cubicBezTo>
                  <a:pt x="411661" y="386365"/>
                  <a:pt x="406384" y="387006"/>
                  <a:pt x="401091" y="387162"/>
                </a:cubicBezTo>
                <a:cubicBezTo>
                  <a:pt x="390470" y="387477"/>
                  <a:pt x="379841" y="387447"/>
                  <a:pt x="369218" y="387708"/>
                </a:cubicBezTo>
                <a:cubicBezTo>
                  <a:pt x="361167" y="387906"/>
                  <a:pt x="354429" y="391368"/>
                  <a:pt x="351833" y="398991"/>
                </a:cubicBezTo>
                <a:cubicBezTo>
                  <a:pt x="348989" y="407342"/>
                  <a:pt x="347050" y="416214"/>
                  <a:pt x="349778" y="426021"/>
                </a:cubicBezTo>
                <a:cubicBezTo>
                  <a:pt x="353876" y="426204"/>
                  <a:pt x="357857" y="426517"/>
                  <a:pt x="361839" y="426538"/>
                </a:cubicBezTo>
                <a:cubicBezTo>
                  <a:pt x="392900" y="426701"/>
                  <a:pt x="423961" y="426826"/>
                  <a:pt x="455022" y="426922"/>
                </a:cubicBezTo>
                <a:cubicBezTo>
                  <a:pt x="464013" y="426950"/>
                  <a:pt x="473106" y="427654"/>
                  <a:pt x="481958" y="426527"/>
                </a:cubicBezTo>
                <a:cubicBezTo>
                  <a:pt x="488144" y="425740"/>
                  <a:pt x="494821" y="423501"/>
                  <a:pt x="499817" y="419888"/>
                </a:cubicBezTo>
                <a:cubicBezTo>
                  <a:pt x="507869" y="414066"/>
                  <a:pt x="507286" y="406755"/>
                  <a:pt x="499439" y="400719"/>
                </a:cubicBezTo>
                <a:cubicBezTo>
                  <a:pt x="490179" y="393597"/>
                  <a:pt x="479486" y="388885"/>
                  <a:pt x="468062" y="387775"/>
                </a:cubicBezTo>
                <a:cubicBezTo>
                  <a:pt x="451873" y="386202"/>
                  <a:pt x="435520" y="386321"/>
                  <a:pt x="416946" y="385943"/>
                </a:cubicBezTo>
                <a:moveTo>
                  <a:pt x="636802" y="1190940"/>
                </a:moveTo>
                <a:cubicBezTo>
                  <a:pt x="646709" y="1188723"/>
                  <a:pt x="656705" y="1186841"/>
                  <a:pt x="666492" y="1184186"/>
                </a:cubicBezTo>
                <a:cubicBezTo>
                  <a:pt x="674710" y="1181958"/>
                  <a:pt x="676989" y="1178509"/>
                  <a:pt x="674465" y="1170880"/>
                </a:cubicBezTo>
                <a:cubicBezTo>
                  <a:pt x="671144" y="1160843"/>
                  <a:pt x="667026" y="1151009"/>
                  <a:pt x="662462" y="1141464"/>
                </a:cubicBezTo>
                <a:cubicBezTo>
                  <a:pt x="659273" y="1134795"/>
                  <a:pt x="653671" y="1130908"/>
                  <a:pt x="645564" y="1131937"/>
                </a:cubicBezTo>
                <a:cubicBezTo>
                  <a:pt x="639532" y="1132703"/>
                  <a:pt x="633423" y="1132867"/>
                  <a:pt x="627387" y="1133618"/>
                </a:cubicBezTo>
                <a:cubicBezTo>
                  <a:pt x="612888" y="1135421"/>
                  <a:pt x="598449" y="1137770"/>
                  <a:pt x="583917" y="1139222"/>
                </a:cubicBezTo>
                <a:cubicBezTo>
                  <a:pt x="570571" y="1140557"/>
                  <a:pt x="557130" y="1140930"/>
                  <a:pt x="543741" y="1141869"/>
                </a:cubicBezTo>
                <a:cubicBezTo>
                  <a:pt x="533202" y="1142610"/>
                  <a:pt x="522682" y="1143623"/>
                  <a:pt x="512146" y="1144418"/>
                </a:cubicBezTo>
                <a:cubicBezTo>
                  <a:pt x="490671" y="1146038"/>
                  <a:pt x="469214" y="1148450"/>
                  <a:pt x="447711" y="1148973"/>
                </a:cubicBezTo>
                <a:cubicBezTo>
                  <a:pt x="415817" y="1149749"/>
                  <a:pt x="383891" y="1149136"/>
                  <a:pt x="351979" y="1149200"/>
                </a:cubicBezTo>
                <a:cubicBezTo>
                  <a:pt x="347698" y="1149209"/>
                  <a:pt x="343419" y="1149717"/>
                  <a:pt x="338443" y="1150040"/>
                </a:cubicBezTo>
                <a:cubicBezTo>
                  <a:pt x="338443" y="1164651"/>
                  <a:pt x="338413" y="1177715"/>
                  <a:pt x="338451" y="1190780"/>
                </a:cubicBezTo>
                <a:cubicBezTo>
                  <a:pt x="338490" y="1204031"/>
                  <a:pt x="338512" y="1204062"/>
                  <a:pt x="351082" y="1207015"/>
                </a:cubicBezTo>
                <a:cubicBezTo>
                  <a:pt x="353445" y="1207570"/>
                  <a:pt x="355895" y="1208128"/>
                  <a:pt x="358298" y="1208094"/>
                </a:cubicBezTo>
                <a:cubicBezTo>
                  <a:pt x="412608" y="1207329"/>
                  <a:pt x="466919" y="1206484"/>
                  <a:pt x="521229" y="1205646"/>
                </a:cubicBezTo>
                <a:cubicBezTo>
                  <a:pt x="522045" y="1205634"/>
                  <a:pt x="522865" y="1205591"/>
                  <a:pt x="523675" y="1205490"/>
                </a:cubicBezTo>
                <a:cubicBezTo>
                  <a:pt x="542593" y="1203123"/>
                  <a:pt x="561519" y="1200820"/>
                  <a:pt x="580423" y="1198350"/>
                </a:cubicBezTo>
                <a:cubicBezTo>
                  <a:pt x="598523" y="1195985"/>
                  <a:pt x="616599" y="1193446"/>
                  <a:pt x="636802" y="1190940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24" name="Free-form: Shape 223">
            <a:extLst>
              <a:ext uri="{FF2B5EF4-FFF2-40B4-BE49-F238E27FC236}">
                <a16:creationId xmlns:a16="http://schemas.microsoft.com/office/drawing/2014/main" id="{19B4BB97-BE0C-B34C-A15D-1F5A52919047}"/>
              </a:ext>
            </a:extLst>
          </p:cNvPr>
          <p:cNvSpPr/>
          <p:nvPr/>
        </p:nvSpPr>
        <p:spPr>
          <a:xfrm>
            <a:off x="4396438" y="2857169"/>
            <a:ext cx="17183" cy="1817"/>
          </a:xfrm>
          <a:custGeom>
            <a:avLst/>
            <a:gdLst>
              <a:gd name="csX0" fmla="*/ 0 w 27674"/>
              <a:gd name="csY0" fmla="*/ 2915 h 2925"/>
              <a:gd name="csX1" fmla="*/ 27675 w 27674"/>
              <a:gd name="csY1" fmla="*/ 1550 h 2925"/>
              <a:gd name="csX2" fmla="*/ 0 w 27674"/>
              <a:gd name="csY2" fmla="*/ 2915 h 292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27674" h="2925">
                <a:moveTo>
                  <a:pt x="0" y="2915"/>
                </a:moveTo>
                <a:cubicBezTo>
                  <a:pt x="8211" y="-1939"/>
                  <a:pt x="17625" y="498"/>
                  <a:pt x="27675" y="1550"/>
                </a:cubicBezTo>
                <a:cubicBezTo>
                  <a:pt x="19225" y="2593"/>
                  <a:pt x="10029" y="2999"/>
                  <a:pt x="0" y="2915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25" name="Free-form: Shape 224">
            <a:extLst>
              <a:ext uri="{FF2B5EF4-FFF2-40B4-BE49-F238E27FC236}">
                <a16:creationId xmlns:a16="http://schemas.microsoft.com/office/drawing/2014/main" id="{E0251E9C-F417-35BC-CC09-392BE90607FE}"/>
              </a:ext>
            </a:extLst>
          </p:cNvPr>
          <p:cNvSpPr/>
          <p:nvPr/>
        </p:nvSpPr>
        <p:spPr>
          <a:xfrm>
            <a:off x="4349134" y="2858193"/>
            <a:ext cx="11179" cy="700"/>
          </a:xfrm>
          <a:custGeom>
            <a:avLst/>
            <a:gdLst>
              <a:gd name="csX0" fmla="*/ 0 w 18003"/>
              <a:gd name="csY0" fmla="*/ 1050 h 1128"/>
              <a:gd name="csX1" fmla="*/ 18004 w 18003"/>
              <a:gd name="csY1" fmla="*/ 93 h 1128"/>
              <a:gd name="csX2" fmla="*/ 0 w 18003"/>
              <a:gd name="csY2" fmla="*/ 1050 h 112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8003" h="1128">
                <a:moveTo>
                  <a:pt x="0" y="1050"/>
                </a:moveTo>
                <a:cubicBezTo>
                  <a:pt x="5276" y="182"/>
                  <a:pt x="11306" y="-189"/>
                  <a:pt x="18004" y="93"/>
                </a:cubicBezTo>
                <a:cubicBezTo>
                  <a:pt x="12699" y="1013"/>
                  <a:pt x="6726" y="1280"/>
                  <a:pt x="0" y="1050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26" name="Free-form: Shape 225">
            <a:extLst>
              <a:ext uri="{FF2B5EF4-FFF2-40B4-BE49-F238E27FC236}">
                <a16:creationId xmlns:a16="http://schemas.microsoft.com/office/drawing/2014/main" id="{8D6C93EF-0F7F-98A1-88B8-0EADA42CDACB}"/>
              </a:ext>
            </a:extLst>
          </p:cNvPr>
          <p:cNvSpPr/>
          <p:nvPr/>
        </p:nvSpPr>
        <p:spPr>
          <a:xfrm>
            <a:off x="4430101" y="2291393"/>
            <a:ext cx="5257" cy="4867"/>
          </a:xfrm>
          <a:custGeom>
            <a:avLst/>
            <a:gdLst>
              <a:gd name="csX0" fmla="*/ 473 w 8466"/>
              <a:gd name="csY0" fmla="*/ 7839 h 7838"/>
              <a:gd name="csX1" fmla="*/ 8466 w 8466"/>
              <a:gd name="csY1" fmla="*/ 61 h 7838"/>
              <a:gd name="csX2" fmla="*/ 473 w 8466"/>
              <a:gd name="csY2" fmla="*/ 7839 h 783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66" h="7838">
                <a:moveTo>
                  <a:pt x="473" y="7839"/>
                </a:moveTo>
                <a:cubicBezTo>
                  <a:pt x="-1298" y="1550"/>
                  <a:pt x="2020" y="-386"/>
                  <a:pt x="8466" y="61"/>
                </a:cubicBezTo>
                <a:cubicBezTo>
                  <a:pt x="6730" y="2845"/>
                  <a:pt x="4026" y="5401"/>
                  <a:pt x="473" y="7839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27" name="Free-form: Shape 226">
            <a:extLst>
              <a:ext uri="{FF2B5EF4-FFF2-40B4-BE49-F238E27FC236}">
                <a16:creationId xmlns:a16="http://schemas.microsoft.com/office/drawing/2014/main" id="{52607126-EF74-B6D5-2AB1-12FF44905A81}"/>
              </a:ext>
            </a:extLst>
          </p:cNvPr>
          <p:cNvSpPr/>
          <p:nvPr/>
        </p:nvSpPr>
        <p:spPr>
          <a:xfrm>
            <a:off x="4294105" y="2856679"/>
            <a:ext cx="5265" cy="618"/>
          </a:xfrm>
          <a:custGeom>
            <a:avLst/>
            <a:gdLst>
              <a:gd name="csX0" fmla="*/ 0 w 8480"/>
              <a:gd name="csY0" fmla="*/ 896 h 996"/>
              <a:gd name="csX1" fmla="*/ 8480 w 8480"/>
              <a:gd name="csY1" fmla="*/ 110 h 996"/>
              <a:gd name="csX2" fmla="*/ 0 w 8480"/>
              <a:gd name="csY2" fmla="*/ 896 h 99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80" h="996">
                <a:moveTo>
                  <a:pt x="0" y="896"/>
                </a:moveTo>
                <a:cubicBezTo>
                  <a:pt x="2285" y="115"/>
                  <a:pt x="5130" y="-182"/>
                  <a:pt x="8480" y="110"/>
                </a:cubicBezTo>
                <a:cubicBezTo>
                  <a:pt x="6177" y="927"/>
                  <a:pt x="3368" y="1153"/>
                  <a:pt x="0" y="896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28" name="Free-form: Shape 227">
            <a:extLst>
              <a:ext uri="{FF2B5EF4-FFF2-40B4-BE49-F238E27FC236}">
                <a16:creationId xmlns:a16="http://schemas.microsoft.com/office/drawing/2014/main" id="{5C6F08D1-B696-E041-C9A8-9B0A578E1E1D}"/>
              </a:ext>
            </a:extLst>
          </p:cNvPr>
          <p:cNvSpPr/>
          <p:nvPr/>
        </p:nvSpPr>
        <p:spPr>
          <a:xfrm>
            <a:off x="4580866" y="2830150"/>
            <a:ext cx="763" cy="4134"/>
          </a:xfrm>
          <a:custGeom>
            <a:avLst/>
            <a:gdLst>
              <a:gd name="csX0" fmla="*/ 132 w 1229"/>
              <a:gd name="csY0" fmla="*/ 6659 h 6658"/>
              <a:gd name="csX1" fmla="*/ 1107 w 1229"/>
              <a:gd name="csY1" fmla="*/ 0 h 6658"/>
              <a:gd name="csX2" fmla="*/ 132 w 1229"/>
              <a:gd name="csY2" fmla="*/ 6659 h 665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229" h="6658">
                <a:moveTo>
                  <a:pt x="132" y="6659"/>
                </a:moveTo>
                <a:cubicBezTo>
                  <a:pt x="-219" y="4616"/>
                  <a:pt x="139" y="2560"/>
                  <a:pt x="1107" y="0"/>
                </a:cubicBezTo>
                <a:cubicBezTo>
                  <a:pt x="1425" y="1879"/>
                  <a:pt x="1133" y="4263"/>
                  <a:pt x="132" y="6659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29" name="Free-form: Shape 228">
            <a:extLst>
              <a:ext uri="{FF2B5EF4-FFF2-40B4-BE49-F238E27FC236}">
                <a16:creationId xmlns:a16="http://schemas.microsoft.com/office/drawing/2014/main" id="{D91A9F94-AE0C-29C2-2F00-3BDD31E13774}"/>
              </a:ext>
            </a:extLst>
          </p:cNvPr>
          <p:cNvSpPr/>
          <p:nvPr/>
        </p:nvSpPr>
        <p:spPr>
          <a:xfrm>
            <a:off x="4513670" y="2850427"/>
            <a:ext cx="2352" cy="847"/>
          </a:xfrm>
          <a:custGeom>
            <a:avLst/>
            <a:gdLst>
              <a:gd name="csX0" fmla="*/ 0 w 3788"/>
              <a:gd name="csY0" fmla="*/ 1364 h 1364"/>
              <a:gd name="csX1" fmla="*/ 3788 w 3788"/>
              <a:gd name="csY1" fmla="*/ 0 h 1364"/>
              <a:gd name="csX2" fmla="*/ 0 w 3788"/>
              <a:gd name="csY2" fmla="*/ 1364 h 136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788" h="1364">
                <a:moveTo>
                  <a:pt x="0" y="1364"/>
                </a:moveTo>
                <a:cubicBezTo>
                  <a:pt x="856" y="517"/>
                  <a:pt x="2126" y="39"/>
                  <a:pt x="3788" y="0"/>
                </a:cubicBezTo>
                <a:cubicBezTo>
                  <a:pt x="2925" y="870"/>
                  <a:pt x="1670" y="1303"/>
                  <a:pt x="0" y="1364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30" name="Free-form: Shape 229">
            <a:extLst>
              <a:ext uri="{FF2B5EF4-FFF2-40B4-BE49-F238E27FC236}">
                <a16:creationId xmlns:a16="http://schemas.microsoft.com/office/drawing/2014/main" id="{5B46C024-78E3-E0CE-2C89-CEE4267203C7}"/>
              </a:ext>
            </a:extLst>
          </p:cNvPr>
          <p:cNvSpPr/>
          <p:nvPr/>
        </p:nvSpPr>
        <p:spPr>
          <a:xfrm>
            <a:off x="4242087" y="2853701"/>
            <a:ext cx="2478" cy="515"/>
          </a:xfrm>
          <a:custGeom>
            <a:avLst/>
            <a:gdLst>
              <a:gd name="csX0" fmla="*/ 0 w 3990"/>
              <a:gd name="csY0" fmla="*/ 719 h 829"/>
              <a:gd name="csX1" fmla="*/ 3990 w 3990"/>
              <a:gd name="csY1" fmla="*/ 119 h 829"/>
              <a:gd name="csX2" fmla="*/ 0 w 3990"/>
              <a:gd name="csY2" fmla="*/ 719 h 82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990" h="829">
                <a:moveTo>
                  <a:pt x="0" y="719"/>
                </a:moveTo>
                <a:cubicBezTo>
                  <a:pt x="982" y="66"/>
                  <a:pt x="2323" y="-163"/>
                  <a:pt x="3990" y="119"/>
                </a:cubicBezTo>
                <a:cubicBezTo>
                  <a:pt x="2998" y="800"/>
                  <a:pt x="1678" y="972"/>
                  <a:pt x="0" y="719"/>
                </a:cubicBezTo>
                <a:close/>
              </a:path>
            </a:pathLst>
          </a:custGeom>
          <a:solidFill>
            <a:srgbClr val="959DA0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31" name="Free-form: Shape 230">
            <a:extLst>
              <a:ext uri="{FF2B5EF4-FFF2-40B4-BE49-F238E27FC236}">
                <a16:creationId xmlns:a16="http://schemas.microsoft.com/office/drawing/2014/main" id="{483D6BD0-F55D-FD06-5099-4AE53796705A}"/>
              </a:ext>
            </a:extLst>
          </p:cNvPr>
          <p:cNvSpPr/>
          <p:nvPr/>
        </p:nvSpPr>
        <p:spPr>
          <a:xfrm>
            <a:off x="4452635" y="2856657"/>
            <a:ext cx="2417" cy="705"/>
          </a:xfrm>
          <a:custGeom>
            <a:avLst/>
            <a:gdLst>
              <a:gd name="csX0" fmla="*/ 0 w 3893"/>
              <a:gd name="csY0" fmla="*/ 1133 h 1135"/>
              <a:gd name="csX1" fmla="*/ 3893 w 3893"/>
              <a:gd name="csY1" fmla="*/ 7 h 1135"/>
              <a:gd name="csX2" fmla="*/ 0 w 3893"/>
              <a:gd name="csY2" fmla="*/ 1133 h 113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893" h="1135">
                <a:moveTo>
                  <a:pt x="0" y="1133"/>
                </a:moveTo>
                <a:cubicBezTo>
                  <a:pt x="902" y="349"/>
                  <a:pt x="2213" y="-60"/>
                  <a:pt x="3893" y="7"/>
                </a:cubicBezTo>
                <a:cubicBezTo>
                  <a:pt x="2978" y="825"/>
                  <a:pt x="1693" y="1167"/>
                  <a:pt x="0" y="1133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32" name="Free-form: Shape 231">
            <a:extLst>
              <a:ext uri="{FF2B5EF4-FFF2-40B4-BE49-F238E27FC236}">
                <a16:creationId xmlns:a16="http://schemas.microsoft.com/office/drawing/2014/main" id="{9BC7D3CF-D6D8-1003-EBDC-727C9A177B5D}"/>
              </a:ext>
            </a:extLst>
          </p:cNvPr>
          <p:cNvSpPr/>
          <p:nvPr/>
        </p:nvSpPr>
        <p:spPr>
          <a:xfrm>
            <a:off x="4353039" y="2371993"/>
            <a:ext cx="112588" cy="250407"/>
          </a:xfrm>
          <a:custGeom>
            <a:avLst/>
            <a:gdLst>
              <a:gd name="csX0" fmla="*/ 7554 w 181323"/>
              <a:gd name="csY0" fmla="*/ 172079 h 403282"/>
              <a:gd name="csX1" fmla="*/ 9716 w 181323"/>
              <a:gd name="csY1" fmla="*/ 130641 h 403282"/>
              <a:gd name="csX2" fmla="*/ 7663 w 181323"/>
              <a:gd name="csY2" fmla="*/ 113770 h 403282"/>
              <a:gd name="csX3" fmla="*/ 7598 w 181323"/>
              <a:gd name="csY3" fmla="*/ 8165 h 403282"/>
              <a:gd name="csX4" fmla="*/ 8353 w 181323"/>
              <a:gd name="csY4" fmla="*/ 1259 h 403282"/>
              <a:gd name="csX5" fmla="*/ 17767 w 181323"/>
              <a:gd name="csY5" fmla="*/ 93 h 403282"/>
              <a:gd name="csX6" fmla="*/ 77938 w 181323"/>
              <a:gd name="csY6" fmla="*/ 50 h 403282"/>
              <a:gd name="csX7" fmla="*/ 91081 w 181323"/>
              <a:gd name="csY7" fmla="*/ 10962 h 403282"/>
              <a:gd name="csX8" fmla="*/ 93691 w 181323"/>
              <a:gd name="csY8" fmla="*/ 60963 h 403282"/>
              <a:gd name="csX9" fmla="*/ 100157 w 181323"/>
              <a:gd name="csY9" fmla="*/ 121501 h 403282"/>
              <a:gd name="csX10" fmla="*/ 105540 w 181323"/>
              <a:gd name="csY10" fmla="*/ 158857 h 403282"/>
              <a:gd name="csX11" fmla="*/ 121116 w 181323"/>
              <a:gd name="csY11" fmla="*/ 235269 h 403282"/>
              <a:gd name="csX12" fmla="*/ 152823 w 181323"/>
              <a:gd name="csY12" fmla="*/ 338010 h 403282"/>
              <a:gd name="csX13" fmla="*/ 170877 w 181323"/>
              <a:gd name="csY13" fmla="*/ 378027 h 403282"/>
              <a:gd name="csX14" fmla="*/ 178114 w 181323"/>
              <a:gd name="csY14" fmla="*/ 387682 h 403282"/>
              <a:gd name="csX15" fmla="*/ 181150 w 181323"/>
              <a:gd name="csY15" fmla="*/ 395764 h 403282"/>
              <a:gd name="csX16" fmla="*/ 173480 w 181323"/>
              <a:gd name="csY16" fmla="*/ 402568 h 403282"/>
              <a:gd name="csX17" fmla="*/ 160067 w 181323"/>
              <a:gd name="csY17" fmla="*/ 402936 h 403282"/>
              <a:gd name="csX18" fmla="*/ 121081 w 181323"/>
              <a:gd name="csY18" fmla="*/ 400766 h 403282"/>
              <a:gd name="csX19" fmla="*/ 70912 w 181323"/>
              <a:gd name="csY19" fmla="*/ 401955 h 403282"/>
              <a:gd name="csX20" fmla="*/ 7630 w 181323"/>
              <a:gd name="csY20" fmla="*/ 402999 h 403282"/>
              <a:gd name="csX21" fmla="*/ 710 w 181323"/>
              <a:gd name="csY21" fmla="*/ 401995 h 403282"/>
              <a:gd name="csX22" fmla="*/ 1308 w 181323"/>
              <a:gd name="csY22" fmla="*/ 356708 h 403282"/>
              <a:gd name="csX23" fmla="*/ 2554 w 181323"/>
              <a:gd name="csY23" fmla="*/ 349510 h 403282"/>
              <a:gd name="csX24" fmla="*/ 5071 w 181323"/>
              <a:gd name="csY24" fmla="*/ 271231 h 403282"/>
              <a:gd name="csX25" fmla="*/ 7554 w 181323"/>
              <a:gd name="csY25" fmla="*/ 172079 h 403282"/>
              <a:gd name="csX26" fmla="*/ 98286 w 181323"/>
              <a:gd name="csY26" fmla="*/ 163566 h 403282"/>
              <a:gd name="csX27" fmla="*/ 83497 w 181323"/>
              <a:gd name="csY27" fmla="*/ 8289 h 403282"/>
              <a:gd name="csX28" fmla="*/ 15161 w 181323"/>
              <a:gd name="csY28" fmla="*/ 9148 h 403282"/>
              <a:gd name="csX29" fmla="*/ 15058 w 181323"/>
              <a:gd name="csY29" fmla="*/ 137939 h 403282"/>
              <a:gd name="csX30" fmla="*/ 12252 w 181323"/>
              <a:gd name="csY30" fmla="*/ 266862 h 403282"/>
              <a:gd name="csX31" fmla="*/ 7068 w 181323"/>
              <a:gd name="csY31" fmla="*/ 395996 h 403282"/>
              <a:gd name="csX32" fmla="*/ 171647 w 181323"/>
              <a:gd name="csY32" fmla="*/ 395996 h 403282"/>
              <a:gd name="csX33" fmla="*/ 119950 w 181323"/>
              <a:gd name="csY33" fmla="*/ 259496 h 403282"/>
              <a:gd name="csX34" fmla="*/ 98286 w 181323"/>
              <a:gd name="csY34" fmla="*/ 163566 h 40328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</a:cxnLst>
            <a:rect l="l" t="t" r="r" b="b"/>
            <a:pathLst>
              <a:path w="181323" h="403282">
                <a:moveTo>
                  <a:pt x="7554" y="172079"/>
                </a:moveTo>
                <a:cubicBezTo>
                  <a:pt x="8325" y="157451"/>
                  <a:pt x="9408" y="144055"/>
                  <a:pt x="9716" y="130641"/>
                </a:cubicBezTo>
                <a:cubicBezTo>
                  <a:pt x="9846" y="125037"/>
                  <a:pt x="7695" y="119399"/>
                  <a:pt x="7663" y="113770"/>
                </a:cubicBezTo>
                <a:cubicBezTo>
                  <a:pt x="7461" y="78569"/>
                  <a:pt x="7554" y="43367"/>
                  <a:pt x="7598" y="8165"/>
                </a:cubicBezTo>
                <a:cubicBezTo>
                  <a:pt x="7600" y="6167"/>
                  <a:pt x="8022" y="4170"/>
                  <a:pt x="8353" y="1259"/>
                </a:cubicBezTo>
                <a:cubicBezTo>
                  <a:pt x="11568" y="842"/>
                  <a:pt x="14666" y="109"/>
                  <a:pt x="17767" y="93"/>
                </a:cubicBezTo>
                <a:cubicBezTo>
                  <a:pt x="37824" y="-17"/>
                  <a:pt x="57881" y="-27"/>
                  <a:pt x="77938" y="50"/>
                </a:cubicBezTo>
                <a:cubicBezTo>
                  <a:pt x="89177" y="93"/>
                  <a:pt x="90068" y="113"/>
                  <a:pt x="91081" y="10962"/>
                </a:cubicBezTo>
                <a:cubicBezTo>
                  <a:pt x="92631" y="27565"/>
                  <a:pt x="92329" y="44335"/>
                  <a:pt x="93691" y="60963"/>
                </a:cubicBezTo>
                <a:cubicBezTo>
                  <a:pt x="95348" y="81184"/>
                  <a:pt x="97732" y="101353"/>
                  <a:pt x="100157" y="121501"/>
                </a:cubicBezTo>
                <a:cubicBezTo>
                  <a:pt x="101660" y="133990"/>
                  <a:pt x="104521" y="146343"/>
                  <a:pt x="105540" y="158857"/>
                </a:cubicBezTo>
                <a:cubicBezTo>
                  <a:pt x="107671" y="184993"/>
                  <a:pt x="114147" y="210249"/>
                  <a:pt x="121116" y="235269"/>
                </a:cubicBezTo>
                <a:cubicBezTo>
                  <a:pt x="130731" y="269786"/>
                  <a:pt x="141516" y="304004"/>
                  <a:pt x="152823" y="338010"/>
                </a:cubicBezTo>
                <a:cubicBezTo>
                  <a:pt x="157418" y="351828"/>
                  <a:pt x="164524" y="364837"/>
                  <a:pt x="170877" y="378027"/>
                </a:cubicBezTo>
                <a:cubicBezTo>
                  <a:pt x="172587" y="381579"/>
                  <a:pt x="175985" y="384280"/>
                  <a:pt x="178114" y="387682"/>
                </a:cubicBezTo>
                <a:cubicBezTo>
                  <a:pt x="179669" y="390165"/>
                  <a:pt x="181977" y="393824"/>
                  <a:pt x="181150" y="395764"/>
                </a:cubicBezTo>
                <a:cubicBezTo>
                  <a:pt x="179907" y="398676"/>
                  <a:pt x="176540" y="401705"/>
                  <a:pt x="173480" y="402568"/>
                </a:cubicBezTo>
                <a:cubicBezTo>
                  <a:pt x="169302" y="403746"/>
                  <a:pt x="164551" y="403164"/>
                  <a:pt x="160067" y="402936"/>
                </a:cubicBezTo>
                <a:cubicBezTo>
                  <a:pt x="147066" y="402274"/>
                  <a:pt x="134081" y="400859"/>
                  <a:pt x="121081" y="400766"/>
                </a:cubicBezTo>
                <a:cubicBezTo>
                  <a:pt x="104362" y="400647"/>
                  <a:pt x="87638" y="401607"/>
                  <a:pt x="70912" y="401955"/>
                </a:cubicBezTo>
                <a:cubicBezTo>
                  <a:pt x="49820" y="402394"/>
                  <a:pt x="28725" y="402712"/>
                  <a:pt x="7630" y="402999"/>
                </a:cubicBezTo>
                <a:cubicBezTo>
                  <a:pt x="5684" y="403026"/>
                  <a:pt x="3731" y="402452"/>
                  <a:pt x="710" y="401995"/>
                </a:cubicBezTo>
                <a:cubicBezTo>
                  <a:pt x="219" y="386620"/>
                  <a:pt x="-871" y="371682"/>
                  <a:pt x="1308" y="356708"/>
                </a:cubicBezTo>
                <a:cubicBezTo>
                  <a:pt x="1659" y="354298"/>
                  <a:pt x="2471" y="351920"/>
                  <a:pt x="2554" y="349510"/>
                </a:cubicBezTo>
                <a:cubicBezTo>
                  <a:pt x="3459" y="323419"/>
                  <a:pt x="4345" y="297328"/>
                  <a:pt x="5071" y="271231"/>
                </a:cubicBezTo>
                <a:cubicBezTo>
                  <a:pt x="5979" y="238591"/>
                  <a:pt x="6733" y="205947"/>
                  <a:pt x="7554" y="172079"/>
                </a:cubicBezTo>
                <a:moveTo>
                  <a:pt x="98286" y="163566"/>
                </a:moveTo>
                <a:cubicBezTo>
                  <a:pt x="89288" y="112116"/>
                  <a:pt x="86355" y="60033"/>
                  <a:pt x="83497" y="8289"/>
                </a:cubicBezTo>
                <a:cubicBezTo>
                  <a:pt x="65606" y="5845"/>
                  <a:pt x="24110" y="6470"/>
                  <a:pt x="15161" y="9148"/>
                </a:cubicBezTo>
                <a:cubicBezTo>
                  <a:pt x="15161" y="52045"/>
                  <a:pt x="15527" y="94996"/>
                  <a:pt x="15058" y="137939"/>
                </a:cubicBezTo>
                <a:cubicBezTo>
                  <a:pt x="14587" y="180919"/>
                  <a:pt x="13597" y="223900"/>
                  <a:pt x="12252" y="266862"/>
                </a:cubicBezTo>
                <a:cubicBezTo>
                  <a:pt x="10912" y="309638"/>
                  <a:pt x="8849" y="352391"/>
                  <a:pt x="7068" y="395996"/>
                </a:cubicBezTo>
                <a:cubicBezTo>
                  <a:pt x="62774" y="395996"/>
                  <a:pt x="116821" y="395996"/>
                  <a:pt x="171647" y="395996"/>
                </a:cubicBezTo>
                <a:cubicBezTo>
                  <a:pt x="148550" y="352016"/>
                  <a:pt x="132566" y="306307"/>
                  <a:pt x="119950" y="259496"/>
                </a:cubicBezTo>
                <a:cubicBezTo>
                  <a:pt x="111608" y="228543"/>
                  <a:pt x="105493" y="196989"/>
                  <a:pt x="98286" y="163566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33" name="Free-form: Shape 232">
            <a:extLst>
              <a:ext uri="{FF2B5EF4-FFF2-40B4-BE49-F238E27FC236}">
                <a16:creationId xmlns:a16="http://schemas.microsoft.com/office/drawing/2014/main" id="{05AE4E71-E65C-0145-4037-A8C0BA0DA649}"/>
              </a:ext>
            </a:extLst>
          </p:cNvPr>
          <p:cNvSpPr/>
          <p:nvPr/>
        </p:nvSpPr>
        <p:spPr>
          <a:xfrm>
            <a:off x="4354670" y="2788474"/>
            <a:ext cx="209255" cy="47389"/>
          </a:xfrm>
          <a:custGeom>
            <a:avLst/>
            <a:gdLst>
              <a:gd name="csX0" fmla="*/ 297312 w 337008"/>
              <a:gd name="csY0" fmla="*/ 59188 h 76321"/>
              <a:gd name="csX1" fmla="*/ 241991 w 337008"/>
              <a:gd name="csY1" fmla="*/ 66577 h 76321"/>
              <a:gd name="csX2" fmla="*/ 185243 w 337008"/>
              <a:gd name="csY2" fmla="*/ 73717 h 76321"/>
              <a:gd name="csX3" fmla="*/ 182797 w 337008"/>
              <a:gd name="csY3" fmla="*/ 73873 h 76321"/>
              <a:gd name="csX4" fmla="*/ 19866 w 337008"/>
              <a:gd name="csY4" fmla="*/ 76320 h 76321"/>
              <a:gd name="csX5" fmla="*/ 12650 w 337008"/>
              <a:gd name="csY5" fmla="*/ 75242 h 76321"/>
              <a:gd name="csX6" fmla="*/ 19 w 337008"/>
              <a:gd name="csY6" fmla="*/ 59006 h 76321"/>
              <a:gd name="csX7" fmla="*/ 11 w 337008"/>
              <a:gd name="csY7" fmla="*/ 18266 h 76321"/>
              <a:gd name="csX8" fmla="*/ 13547 w 337008"/>
              <a:gd name="csY8" fmla="*/ 17427 h 76321"/>
              <a:gd name="csX9" fmla="*/ 109279 w 337008"/>
              <a:gd name="csY9" fmla="*/ 17200 h 76321"/>
              <a:gd name="csX10" fmla="*/ 173714 w 337008"/>
              <a:gd name="csY10" fmla="*/ 12645 h 76321"/>
              <a:gd name="csX11" fmla="*/ 205309 w 337008"/>
              <a:gd name="csY11" fmla="*/ 10096 h 76321"/>
              <a:gd name="csX12" fmla="*/ 245485 w 337008"/>
              <a:gd name="csY12" fmla="*/ 7449 h 76321"/>
              <a:gd name="csX13" fmla="*/ 288955 w 337008"/>
              <a:gd name="csY13" fmla="*/ 1844 h 76321"/>
              <a:gd name="csX14" fmla="*/ 307132 w 337008"/>
              <a:gd name="csY14" fmla="*/ 164 h 76321"/>
              <a:gd name="csX15" fmla="*/ 324030 w 337008"/>
              <a:gd name="csY15" fmla="*/ 9691 h 76321"/>
              <a:gd name="csX16" fmla="*/ 336033 w 337008"/>
              <a:gd name="csY16" fmla="*/ 39107 h 76321"/>
              <a:gd name="csX17" fmla="*/ 328060 w 337008"/>
              <a:gd name="csY17" fmla="*/ 52413 h 76321"/>
              <a:gd name="csX18" fmla="*/ 297312 w 337008"/>
              <a:gd name="csY18" fmla="*/ 59188 h 76321"/>
              <a:gd name="csX19" fmla="*/ 207688 w 337008"/>
              <a:gd name="csY19" fmla="*/ 64284 h 76321"/>
              <a:gd name="csX20" fmla="*/ 330050 w 337008"/>
              <a:gd name="csY20" fmla="*/ 45606 h 76321"/>
              <a:gd name="csX21" fmla="*/ 317356 w 337008"/>
              <a:gd name="csY21" fmla="*/ 11297 h 76321"/>
              <a:gd name="csX22" fmla="*/ 304170 w 337008"/>
              <a:gd name="csY22" fmla="*/ 5545 h 76321"/>
              <a:gd name="csX23" fmla="*/ 273851 w 337008"/>
              <a:gd name="csY23" fmla="*/ 10014 h 76321"/>
              <a:gd name="csX24" fmla="*/ 163935 w 337008"/>
              <a:gd name="csY24" fmla="*/ 20274 h 76321"/>
              <a:gd name="csX25" fmla="*/ 17973 w 337008"/>
              <a:gd name="csY25" fmla="*/ 22950 h 76321"/>
              <a:gd name="csX26" fmla="*/ 7372 w 337008"/>
              <a:gd name="csY26" fmla="*/ 23601 h 76321"/>
              <a:gd name="csX27" fmla="*/ 7372 w 337008"/>
              <a:gd name="csY27" fmla="*/ 67898 h 76321"/>
              <a:gd name="csX28" fmla="*/ 207688 w 337008"/>
              <a:gd name="csY28" fmla="*/ 64284 h 7632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</a:cxnLst>
            <a:rect l="l" t="t" r="r" b="b"/>
            <a:pathLst>
              <a:path w="337008" h="76321">
                <a:moveTo>
                  <a:pt x="297312" y="59188"/>
                </a:moveTo>
                <a:cubicBezTo>
                  <a:pt x="278167" y="61672"/>
                  <a:pt x="260091" y="64212"/>
                  <a:pt x="241991" y="66577"/>
                </a:cubicBezTo>
                <a:cubicBezTo>
                  <a:pt x="223087" y="69047"/>
                  <a:pt x="204161" y="71350"/>
                  <a:pt x="185243" y="73717"/>
                </a:cubicBezTo>
                <a:cubicBezTo>
                  <a:pt x="184433" y="73818"/>
                  <a:pt x="183613" y="73861"/>
                  <a:pt x="182797" y="73873"/>
                </a:cubicBezTo>
                <a:cubicBezTo>
                  <a:pt x="128487" y="74710"/>
                  <a:pt x="74176" y="75556"/>
                  <a:pt x="19866" y="76320"/>
                </a:cubicBezTo>
                <a:cubicBezTo>
                  <a:pt x="17463" y="76354"/>
                  <a:pt x="15013" y="75797"/>
                  <a:pt x="12650" y="75242"/>
                </a:cubicBezTo>
                <a:cubicBezTo>
                  <a:pt x="80" y="72288"/>
                  <a:pt x="58" y="72258"/>
                  <a:pt x="19" y="59006"/>
                </a:cubicBezTo>
                <a:cubicBezTo>
                  <a:pt x="-19" y="45942"/>
                  <a:pt x="11" y="32877"/>
                  <a:pt x="11" y="18266"/>
                </a:cubicBezTo>
                <a:cubicBezTo>
                  <a:pt x="4987" y="17944"/>
                  <a:pt x="9266" y="17435"/>
                  <a:pt x="13547" y="17427"/>
                </a:cubicBezTo>
                <a:cubicBezTo>
                  <a:pt x="45459" y="17362"/>
                  <a:pt x="77385" y="17975"/>
                  <a:pt x="109279" y="17200"/>
                </a:cubicBezTo>
                <a:cubicBezTo>
                  <a:pt x="130782" y="16677"/>
                  <a:pt x="152239" y="14265"/>
                  <a:pt x="173714" y="12645"/>
                </a:cubicBezTo>
                <a:cubicBezTo>
                  <a:pt x="184250" y="11850"/>
                  <a:pt x="194770" y="10836"/>
                  <a:pt x="205309" y="10096"/>
                </a:cubicBezTo>
                <a:cubicBezTo>
                  <a:pt x="218698" y="9156"/>
                  <a:pt x="232139" y="8783"/>
                  <a:pt x="245485" y="7449"/>
                </a:cubicBezTo>
                <a:cubicBezTo>
                  <a:pt x="260017" y="5997"/>
                  <a:pt x="274456" y="3648"/>
                  <a:pt x="288955" y="1844"/>
                </a:cubicBezTo>
                <a:cubicBezTo>
                  <a:pt x="294991" y="1094"/>
                  <a:pt x="301100" y="930"/>
                  <a:pt x="307132" y="164"/>
                </a:cubicBezTo>
                <a:cubicBezTo>
                  <a:pt x="315239" y="-865"/>
                  <a:pt x="320841" y="3022"/>
                  <a:pt x="324030" y="9691"/>
                </a:cubicBezTo>
                <a:cubicBezTo>
                  <a:pt x="328594" y="19236"/>
                  <a:pt x="332712" y="29070"/>
                  <a:pt x="336033" y="39107"/>
                </a:cubicBezTo>
                <a:cubicBezTo>
                  <a:pt x="338557" y="46735"/>
                  <a:pt x="336278" y="50185"/>
                  <a:pt x="328060" y="52413"/>
                </a:cubicBezTo>
                <a:cubicBezTo>
                  <a:pt x="318273" y="55068"/>
                  <a:pt x="308277" y="56950"/>
                  <a:pt x="297312" y="59188"/>
                </a:cubicBezTo>
                <a:moveTo>
                  <a:pt x="207688" y="64284"/>
                </a:moveTo>
                <a:cubicBezTo>
                  <a:pt x="248681" y="60632"/>
                  <a:pt x="289317" y="54812"/>
                  <a:pt x="330050" y="45606"/>
                </a:cubicBezTo>
                <a:cubicBezTo>
                  <a:pt x="327603" y="32443"/>
                  <a:pt x="323777" y="21532"/>
                  <a:pt x="317356" y="11297"/>
                </a:cubicBezTo>
                <a:cubicBezTo>
                  <a:pt x="313908" y="5803"/>
                  <a:pt x="310145" y="4465"/>
                  <a:pt x="304170" y="5545"/>
                </a:cubicBezTo>
                <a:cubicBezTo>
                  <a:pt x="294121" y="7361"/>
                  <a:pt x="284007" y="9006"/>
                  <a:pt x="273851" y="10014"/>
                </a:cubicBezTo>
                <a:cubicBezTo>
                  <a:pt x="237233" y="13650"/>
                  <a:pt x="200632" y="17661"/>
                  <a:pt x="163935" y="20274"/>
                </a:cubicBezTo>
                <a:cubicBezTo>
                  <a:pt x="115360" y="23734"/>
                  <a:pt x="66701" y="25937"/>
                  <a:pt x="17973" y="22950"/>
                </a:cubicBezTo>
                <a:cubicBezTo>
                  <a:pt x="14492" y="22737"/>
                  <a:pt x="10959" y="23361"/>
                  <a:pt x="7372" y="23601"/>
                </a:cubicBezTo>
                <a:cubicBezTo>
                  <a:pt x="7372" y="38609"/>
                  <a:pt x="7372" y="52361"/>
                  <a:pt x="7372" y="67898"/>
                </a:cubicBezTo>
                <a:cubicBezTo>
                  <a:pt x="74001" y="69806"/>
                  <a:pt x="139746" y="71025"/>
                  <a:pt x="207688" y="64284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34" name="Free-form: Shape 233">
            <a:extLst>
              <a:ext uri="{FF2B5EF4-FFF2-40B4-BE49-F238E27FC236}">
                <a16:creationId xmlns:a16="http://schemas.microsoft.com/office/drawing/2014/main" id="{50295AE0-AB28-8219-C6E8-EB3705E20353}"/>
              </a:ext>
            </a:extLst>
          </p:cNvPr>
          <p:cNvSpPr/>
          <p:nvPr/>
        </p:nvSpPr>
        <p:spPr>
          <a:xfrm>
            <a:off x="4358403" y="2642020"/>
            <a:ext cx="188426" cy="132688"/>
          </a:xfrm>
          <a:custGeom>
            <a:avLst/>
            <a:gdLst>
              <a:gd name="csX0" fmla="*/ 14160 w 303463"/>
              <a:gd name="csY0" fmla="*/ 7889 h 213695"/>
              <a:gd name="csX1" fmla="*/ 195033 w 303463"/>
              <a:gd name="csY1" fmla="*/ 0 h 213695"/>
              <a:gd name="csX2" fmla="*/ 197208 w 303463"/>
              <a:gd name="csY2" fmla="*/ 5635 h 213695"/>
              <a:gd name="csX3" fmla="*/ 227014 w 303463"/>
              <a:gd name="csY3" fmla="*/ 60660 h 213695"/>
              <a:gd name="csX4" fmla="*/ 265823 w 303463"/>
              <a:gd name="csY4" fmla="*/ 98217 h 213695"/>
              <a:gd name="csX5" fmla="*/ 303210 w 303463"/>
              <a:gd name="csY5" fmla="*/ 180358 h 213695"/>
              <a:gd name="csX6" fmla="*/ 303282 w 303463"/>
              <a:gd name="csY6" fmla="*/ 193964 h 213695"/>
              <a:gd name="csX7" fmla="*/ 4971 w 303463"/>
              <a:gd name="csY7" fmla="*/ 213017 h 213695"/>
              <a:gd name="csX8" fmla="*/ 5093 w 303463"/>
              <a:gd name="csY8" fmla="*/ 173484 h 213695"/>
              <a:gd name="csX9" fmla="*/ 4767 w 303463"/>
              <a:gd name="csY9" fmla="*/ 54607 h 213695"/>
              <a:gd name="csX10" fmla="*/ 0 w 303463"/>
              <a:gd name="csY10" fmla="*/ 7887 h 213695"/>
              <a:gd name="csX11" fmla="*/ 14160 w 303463"/>
              <a:gd name="csY11" fmla="*/ 7889 h 21369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303463" h="213695">
                <a:moveTo>
                  <a:pt x="14160" y="7889"/>
                </a:moveTo>
                <a:cubicBezTo>
                  <a:pt x="75371" y="8627"/>
                  <a:pt x="135292" y="5744"/>
                  <a:pt x="195033" y="0"/>
                </a:cubicBezTo>
                <a:cubicBezTo>
                  <a:pt x="196084" y="2662"/>
                  <a:pt x="196986" y="4099"/>
                  <a:pt x="197208" y="5635"/>
                </a:cubicBezTo>
                <a:cubicBezTo>
                  <a:pt x="200391" y="27650"/>
                  <a:pt x="211307" y="45450"/>
                  <a:pt x="227014" y="60660"/>
                </a:cubicBezTo>
                <a:cubicBezTo>
                  <a:pt x="239947" y="73182"/>
                  <a:pt x="253006" y="85577"/>
                  <a:pt x="265823" y="98217"/>
                </a:cubicBezTo>
                <a:cubicBezTo>
                  <a:pt x="288727" y="120806"/>
                  <a:pt x="299071" y="149215"/>
                  <a:pt x="303210" y="180358"/>
                </a:cubicBezTo>
                <a:cubicBezTo>
                  <a:pt x="303735" y="184317"/>
                  <a:pt x="303282" y="188405"/>
                  <a:pt x="303282" y="193964"/>
                </a:cubicBezTo>
                <a:cubicBezTo>
                  <a:pt x="204065" y="208804"/>
                  <a:pt x="105022" y="216044"/>
                  <a:pt x="4971" y="213017"/>
                </a:cubicBezTo>
                <a:cubicBezTo>
                  <a:pt x="4971" y="199268"/>
                  <a:pt x="4314" y="186332"/>
                  <a:pt x="5093" y="173484"/>
                </a:cubicBezTo>
                <a:cubicBezTo>
                  <a:pt x="7497" y="133835"/>
                  <a:pt x="8211" y="94216"/>
                  <a:pt x="4767" y="54607"/>
                </a:cubicBezTo>
                <a:cubicBezTo>
                  <a:pt x="3464" y="39611"/>
                  <a:pt x="1725" y="24653"/>
                  <a:pt x="0" y="7887"/>
                </a:cubicBezTo>
                <a:cubicBezTo>
                  <a:pt x="4390" y="7887"/>
                  <a:pt x="8696" y="7887"/>
                  <a:pt x="14160" y="7889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35" name="Free-form: Shape 234">
            <a:extLst>
              <a:ext uri="{FF2B5EF4-FFF2-40B4-BE49-F238E27FC236}">
                <a16:creationId xmlns:a16="http://schemas.microsoft.com/office/drawing/2014/main" id="{FE2A2F81-886F-CD0A-6A58-9BDA2E3380CA}"/>
              </a:ext>
            </a:extLst>
          </p:cNvPr>
          <p:cNvSpPr/>
          <p:nvPr/>
        </p:nvSpPr>
        <p:spPr>
          <a:xfrm>
            <a:off x="4324641" y="2112264"/>
            <a:ext cx="129814" cy="126299"/>
          </a:xfrm>
          <a:custGeom>
            <a:avLst/>
            <a:gdLst>
              <a:gd name="csX0" fmla="*/ 10475 w 209067"/>
              <a:gd name="csY0" fmla="*/ 41718 h 203406"/>
              <a:gd name="csX1" fmla="*/ 100250 w 209067"/>
              <a:gd name="csY1" fmla="*/ 1265 h 203406"/>
              <a:gd name="csX2" fmla="*/ 206681 w 209067"/>
              <a:gd name="csY2" fmla="*/ 98526 h 203406"/>
              <a:gd name="csX3" fmla="*/ 134647 w 209067"/>
              <a:gd name="csY3" fmla="*/ 202431 h 203406"/>
              <a:gd name="csX4" fmla="*/ 40986 w 209067"/>
              <a:gd name="csY4" fmla="*/ 171438 h 203406"/>
              <a:gd name="csX5" fmla="*/ 143 w 209067"/>
              <a:gd name="csY5" fmla="*/ 85158 h 203406"/>
              <a:gd name="csX6" fmla="*/ 10475 w 209067"/>
              <a:gd name="csY6" fmla="*/ 41718 h 20340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</a:cxnLst>
            <a:rect l="l" t="t" r="r" b="b"/>
            <a:pathLst>
              <a:path w="209067" h="203406">
                <a:moveTo>
                  <a:pt x="10475" y="41718"/>
                </a:moveTo>
                <a:cubicBezTo>
                  <a:pt x="31065" y="6021"/>
                  <a:pt x="63171" y="-3865"/>
                  <a:pt x="100250" y="1265"/>
                </a:cubicBezTo>
                <a:cubicBezTo>
                  <a:pt x="157191" y="9144"/>
                  <a:pt x="196951" y="51394"/>
                  <a:pt x="206681" y="98526"/>
                </a:cubicBezTo>
                <a:cubicBezTo>
                  <a:pt x="219504" y="160635"/>
                  <a:pt x="178523" y="196657"/>
                  <a:pt x="134647" y="202431"/>
                </a:cubicBezTo>
                <a:cubicBezTo>
                  <a:pt x="98365" y="207204"/>
                  <a:pt x="68101" y="194086"/>
                  <a:pt x="40986" y="171438"/>
                </a:cubicBezTo>
                <a:cubicBezTo>
                  <a:pt x="14115" y="148994"/>
                  <a:pt x="2457" y="119007"/>
                  <a:pt x="143" y="85158"/>
                </a:cubicBezTo>
                <a:cubicBezTo>
                  <a:pt x="-869" y="70364"/>
                  <a:pt x="3586" y="56015"/>
                  <a:pt x="10475" y="41718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36" name="Free-form: Shape 235">
            <a:extLst>
              <a:ext uri="{FF2B5EF4-FFF2-40B4-BE49-F238E27FC236}">
                <a16:creationId xmlns:a16="http://schemas.microsoft.com/office/drawing/2014/main" id="{D618A4CA-1C26-7C08-F066-206B9DBBF8B8}"/>
              </a:ext>
            </a:extLst>
          </p:cNvPr>
          <p:cNvSpPr/>
          <p:nvPr/>
        </p:nvSpPr>
        <p:spPr>
          <a:xfrm>
            <a:off x="4360900" y="2325302"/>
            <a:ext cx="97564" cy="25665"/>
          </a:xfrm>
          <a:custGeom>
            <a:avLst/>
            <a:gdLst>
              <a:gd name="csX0" fmla="*/ 69625 w 157129"/>
              <a:gd name="csY0" fmla="*/ 0 h 41334"/>
              <a:gd name="csX1" fmla="*/ 119596 w 157129"/>
              <a:gd name="csY1" fmla="*/ 1945 h 41334"/>
              <a:gd name="csX2" fmla="*/ 150973 w 157129"/>
              <a:gd name="csY2" fmla="*/ 14889 h 41334"/>
              <a:gd name="csX3" fmla="*/ 151351 w 157129"/>
              <a:gd name="csY3" fmla="*/ 34058 h 41334"/>
              <a:gd name="csX4" fmla="*/ 133492 w 157129"/>
              <a:gd name="csY4" fmla="*/ 40697 h 41334"/>
              <a:gd name="csX5" fmla="*/ 106556 w 157129"/>
              <a:gd name="csY5" fmla="*/ 41092 h 41334"/>
              <a:gd name="csX6" fmla="*/ 13373 w 157129"/>
              <a:gd name="csY6" fmla="*/ 40708 h 41334"/>
              <a:gd name="csX7" fmla="*/ 1312 w 157129"/>
              <a:gd name="csY7" fmla="*/ 40191 h 41334"/>
              <a:gd name="csX8" fmla="*/ 3367 w 157129"/>
              <a:gd name="csY8" fmla="*/ 13162 h 41334"/>
              <a:gd name="csX9" fmla="*/ 20752 w 157129"/>
              <a:gd name="csY9" fmla="*/ 1879 h 41334"/>
              <a:gd name="csX10" fmla="*/ 52625 w 157129"/>
              <a:gd name="csY10" fmla="*/ 1332 h 41334"/>
              <a:gd name="csX11" fmla="*/ 69625 w 157129"/>
              <a:gd name="csY11" fmla="*/ 0 h 4133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157129" h="41334">
                <a:moveTo>
                  <a:pt x="69625" y="0"/>
                </a:moveTo>
                <a:cubicBezTo>
                  <a:pt x="87054" y="491"/>
                  <a:pt x="103407" y="373"/>
                  <a:pt x="119596" y="1945"/>
                </a:cubicBezTo>
                <a:cubicBezTo>
                  <a:pt x="131020" y="3055"/>
                  <a:pt x="141713" y="7767"/>
                  <a:pt x="150973" y="14889"/>
                </a:cubicBezTo>
                <a:cubicBezTo>
                  <a:pt x="158820" y="20925"/>
                  <a:pt x="159403" y="28236"/>
                  <a:pt x="151351" y="34058"/>
                </a:cubicBezTo>
                <a:cubicBezTo>
                  <a:pt x="146355" y="37671"/>
                  <a:pt x="139678" y="39910"/>
                  <a:pt x="133492" y="40697"/>
                </a:cubicBezTo>
                <a:cubicBezTo>
                  <a:pt x="124640" y="41824"/>
                  <a:pt x="115547" y="41120"/>
                  <a:pt x="106556" y="41092"/>
                </a:cubicBezTo>
                <a:cubicBezTo>
                  <a:pt x="75495" y="40996"/>
                  <a:pt x="44434" y="40872"/>
                  <a:pt x="13373" y="40708"/>
                </a:cubicBezTo>
                <a:cubicBezTo>
                  <a:pt x="9391" y="40687"/>
                  <a:pt x="5410" y="40374"/>
                  <a:pt x="1312" y="40191"/>
                </a:cubicBezTo>
                <a:cubicBezTo>
                  <a:pt x="-1416" y="30384"/>
                  <a:pt x="523" y="21512"/>
                  <a:pt x="3367" y="13162"/>
                </a:cubicBezTo>
                <a:cubicBezTo>
                  <a:pt x="5963" y="5538"/>
                  <a:pt x="12701" y="2077"/>
                  <a:pt x="20752" y="1879"/>
                </a:cubicBezTo>
                <a:cubicBezTo>
                  <a:pt x="31375" y="1617"/>
                  <a:pt x="42004" y="1647"/>
                  <a:pt x="52625" y="1332"/>
                </a:cubicBezTo>
                <a:cubicBezTo>
                  <a:pt x="57918" y="1176"/>
                  <a:pt x="63195" y="535"/>
                  <a:pt x="69625" y="0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37" name="Free-form: Shape 236">
            <a:extLst>
              <a:ext uri="{FF2B5EF4-FFF2-40B4-BE49-F238E27FC236}">
                <a16:creationId xmlns:a16="http://schemas.microsoft.com/office/drawing/2014/main" id="{946BFB6E-CFEE-E7FA-B85E-D9D19B4D6934}"/>
              </a:ext>
            </a:extLst>
          </p:cNvPr>
          <p:cNvSpPr/>
          <p:nvPr/>
        </p:nvSpPr>
        <p:spPr>
          <a:xfrm>
            <a:off x="4357427" y="2376189"/>
            <a:ext cx="102191" cy="241686"/>
          </a:xfrm>
          <a:custGeom>
            <a:avLst/>
            <a:gdLst>
              <a:gd name="csX0" fmla="*/ 91265 w 164579"/>
              <a:gd name="csY0" fmla="*/ 157878 h 389238"/>
              <a:gd name="csX1" fmla="*/ 112882 w 164579"/>
              <a:gd name="csY1" fmla="*/ 252738 h 389238"/>
              <a:gd name="csX2" fmla="*/ 164579 w 164579"/>
              <a:gd name="csY2" fmla="*/ 389238 h 389238"/>
              <a:gd name="csX3" fmla="*/ 0 w 164579"/>
              <a:gd name="csY3" fmla="*/ 389238 h 389238"/>
              <a:gd name="csX4" fmla="*/ 5184 w 164579"/>
              <a:gd name="csY4" fmla="*/ 260105 h 389238"/>
              <a:gd name="csX5" fmla="*/ 7989 w 164579"/>
              <a:gd name="csY5" fmla="*/ 131182 h 389238"/>
              <a:gd name="csX6" fmla="*/ 8093 w 164579"/>
              <a:gd name="csY6" fmla="*/ 2390 h 389238"/>
              <a:gd name="csX7" fmla="*/ 76429 w 164579"/>
              <a:gd name="csY7" fmla="*/ 1531 h 389238"/>
              <a:gd name="csX8" fmla="*/ 91265 w 164579"/>
              <a:gd name="csY8" fmla="*/ 157878 h 38923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</a:cxnLst>
            <a:rect l="l" t="t" r="r" b="b"/>
            <a:pathLst>
              <a:path w="164579" h="389238">
                <a:moveTo>
                  <a:pt x="91265" y="157878"/>
                </a:moveTo>
                <a:cubicBezTo>
                  <a:pt x="98425" y="190232"/>
                  <a:pt x="104539" y="221785"/>
                  <a:pt x="112882" y="252738"/>
                </a:cubicBezTo>
                <a:cubicBezTo>
                  <a:pt x="125498" y="299549"/>
                  <a:pt x="141482" y="345258"/>
                  <a:pt x="164579" y="389238"/>
                </a:cubicBezTo>
                <a:cubicBezTo>
                  <a:pt x="109753" y="389238"/>
                  <a:pt x="55706" y="389238"/>
                  <a:pt x="0" y="389238"/>
                </a:cubicBezTo>
                <a:cubicBezTo>
                  <a:pt x="1781" y="345633"/>
                  <a:pt x="3844" y="302880"/>
                  <a:pt x="5184" y="260105"/>
                </a:cubicBezTo>
                <a:cubicBezTo>
                  <a:pt x="6529" y="217143"/>
                  <a:pt x="7519" y="174162"/>
                  <a:pt x="7989" y="131182"/>
                </a:cubicBezTo>
                <a:cubicBezTo>
                  <a:pt x="8459" y="88239"/>
                  <a:pt x="8093" y="45287"/>
                  <a:pt x="8093" y="2390"/>
                </a:cubicBezTo>
                <a:cubicBezTo>
                  <a:pt x="17041" y="-288"/>
                  <a:pt x="58537" y="-913"/>
                  <a:pt x="76429" y="1531"/>
                </a:cubicBezTo>
                <a:cubicBezTo>
                  <a:pt x="79287" y="53276"/>
                  <a:pt x="82219" y="105359"/>
                  <a:pt x="91265" y="157878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38" name="Free-form: Shape 237">
            <a:extLst>
              <a:ext uri="{FF2B5EF4-FFF2-40B4-BE49-F238E27FC236}">
                <a16:creationId xmlns:a16="http://schemas.microsoft.com/office/drawing/2014/main" id="{99A71E11-C2A9-D0DF-3C9D-DBEBCD51616C}"/>
              </a:ext>
            </a:extLst>
          </p:cNvPr>
          <p:cNvSpPr/>
          <p:nvPr/>
        </p:nvSpPr>
        <p:spPr>
          <a:xfrm>
            <a:off x="4359246" y="2791702"/>
            <a:ext cx="200357" cy="39865"/>
          </a:xfrm>
          <a:custGeom>
            <a:avLst/>
            <a:gdLst>
              <a:gd name="csX0" fmla="*/ 199184 w 322677"/>
              <a:gd name="csY0" fmla="*/ 59136 h 64202"/>
              <a:gd name="csX1" fmla="*/ 0 w 322677"/>
              <a:gd name="csY1" fmla="*/ 62697 h 64202"/>
              <a:gd name="csX2" fmla="*/ 0 w 322677"/>
              <a:gd name="csY2" fmla="*/ 18400 h 64202"/>
              <a:gd name="csX3" fmla="*/ 10601 w 322677"/>
              <a:gd name="csY3" fmla="*/ 17750 h 64202"/>
              <a:gd name="csX4" fmla="*/ 156563 w 322677"/>
              <a:gd name="csY4" fmla="*/ 15074 h 64202"/>
              <a:gd name="csX5" fmla="*/ 266479 w 322677"/>
              <a:gd name="csY5" fmla="*/ 4814 h 64202"/>
              <a:gd name="csX6" fmla="*/ 296798 w 322677"/>
              <a:gd name="csY6" fmla="*/ 344 h 64202"/>
              <a:gd name="csX7" fmla="*/ 309983 w 322677"/>
              <a:gd name="csY7" fmla="*/ 6097 h 64202"/>
              <a:gd name="csX8" fmla="*/ 322678 w 322677"/>
              <a:gd name="csY8" fmla="*/ 40406 h 64202"/>
              <a:gd name="csX9" fmla="*/ 199184 w 322677"/>
              <a:gd name="csY9" fmla="*/ 59136 h 6420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322677" h="64202">
                <a:moveTo>
                  <a:pt x="199184" y="59136"/>
                </a:moveTo>
                <a:cubicBezTo>
                  <a:pt x="132374" y="65824"/>
                  <a:pt x="66629" y="64605"/>
                  <a:pt x="0" y="62697"/>
                </a:cubicBezTo>
                <a:cubicBezTo>
                  <a:pt x="0" y="47160"/>
                  <a:pt x="0" y="33409"/>
                  <a:pt x="0" y="18400"/>
                </a:cubicBezTo>
                <a:cubicBezTo>
                  <a:pt x="3587" y="18160"/>
                  <a:pt x="7120" y="17536"/>
                  <a:pt x="10601" y="17750"/>
                </a:cubicBezTo>
                <a:cubicBezTo>
                  <a:pt x="59329" y="20736"/>
                  <a:pt x="107987" y="18533"/>
                  <a:pt x="156563" y="15074"/>
                </a:cubicBezTo>
                <a:cubicBezTo>
                  <a:pt x="193260" y="12461"/>
                  <a:pt x="229860" y="8449"/>
                  <a:pt x="266479" y="4814"/>
                </a:cubicBezTo>
                <a:cubicBezTo>
                  <a:pt x="276635" y="3806"/>
                  <a:pt x="286748" y="2160"/>
                  <a:pt x="296798" y="344"/>
                </a:cubicBezTo>
                <a:cubicBezTo>
                  <a:pt x="302773" y="-735"/>
                  <a:pt x="306536" y="602"/>
                  <a:pt x="309983" y="6097"/>
                </a:cubicBezTo>
                <a:cubicBezTo>
                  <a:pt x="316405" y="16331"/>
                  <a:pt x="320231" y="27243"/>
                  <a:pt x="322678" y="40406"/>
                </a:cubicBezTo>
                <a:cubicBezTo>
                  <a:pt x="281944" y="49611"/>
                  <a:pt x="241309" y="55431"/>
                  <a:pt x="199184" y="59136"/>
                </a:cubicBezTo>
                <a:close/>
              </a:path>
            </a:pathLst>
          </a:custGeom>
          <a:solidFill>
            <a:schemeClr val="bg1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39" name="TextBox 238">
            <a:extLst>
              <a:ext uri="{FF2B5EF4-FFF2-40B4-BE49-F238E27FC236}">
                <a16:creationId xmlns:a16="http://schemas.microsoft.com/office/drawing/2014/main" id="{04AFDA9B-B12E-91AC-2942-F4A8505933F8}"/>
              </a:ext>
            </a:extLst>
          </p:cNvPr>
          <p:cNvSpPr txBox="1"/>
          <p:nvPr/>
        </p:nvSpPr>
        <p:spPr>
          <a:xfrm>
            <a:off x="3907346" y="3006819"/>
            <a:ext cx="863983" cy="3927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llo</a:t>
            </a: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-SCT</a:t>
            </a:r>
          </a:p>
        </p:txBody>
      </p:sp>
      <p:sp>
        <p:nvSpPr>
          <p:cNvPr id="240" name="Oval 239">
            <a:extLst>
              <a:ext uri="{FF2B5EF4-FFF2-40B4-BE49-F238E27FC236}">
                <a16:creationId xmlns:a16="http://schemas.microsoft.com/office/drawing/2014/main" id="{5ACC2318-2BA4-46D4-49A0-3ABC5E3FFE43}"/>
              </a:ext>
            </a:extLst>
          </p:cNvPr>
          <p:cNvSpPr/>
          <p:nvPr/>
        </p:nvSpPr>
        <p:spPr>
          <a:xfrm>
            <a:off x="1001132" y="2766382"/>
            <a:ext cx="593138" cy="104135"/>
          </a:xfrm>
          <a:prstGeom prst="ellipse">
            <a:avLst/>
          </a:prstGeom>
          <a:solidFill>
            <a:schemeClr val="tx1">
              <a:alpha val="6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41" name="Free-form: Shape 240">
            <a:extLst>
              <a:ext uri="{FF2B5EF4-FFF2-40B4-BE49-F238E27FC236}">
                <a16:creationId xmlns:a16="http://schemas.microsoft.com/office/drawing/2014/main" id="{6CB685A5-B297-1EBB-13C5-DD02B6FEDBE1}"/>
              </a:ext>
            </a:extLst>
          </p:cNvPr>
          <p:cNvSpPr/>
          <p:nvPr/>
        </p:nvSpPr>
        <p:spPr>
          <a:xfrm>
            <a:off x="1099798" y="2085731"/>
            <a:ext cx="433137" cy="770022"/>
          </a:xfrm>
          <a:custGeom>
            <a:avLst/>
            <a:gdLst>
              <a:gd name="csX0" fmla="*/ 581793 w 697572"/>
              <a:gd name="csY0" fmla="*/ 1234401 h 1240128"/>
              <a:gd name="csX1" fmla="*/ 577427 w 697572"/>
              <a:gd name="csY1" fmla="*/ 1234156 h 1240128"/>
              <a:gd name="csX2" fmla="*/ 559133 w 697572"/>
              <a:gd name="csY2" fmla="*/ 1230909 h 1240128"/>
              <a:gd name="csX3" fmla="*/ 516706 w 697572"/>
              <a:gd name="csY3" fmla="*/ 1235117 h 1240128"/>
              <a:gd name="csX4" fmla="*/ 475244 w 697572"/>
              <a:gd name="csY4" fmla="*/ 1237506 h 1240128"/>
              <a:gd name="csX5" fmla="*/ 371154 w 697572"/>
              <a:gd name="csY5" fmla="*/ 1239428 h 1240128"/>
              <a:gd name="csX6" fmla="*/ 276813 w 697572"/>
              <a:gd name="csY6" fmla="*/ 1237654 h 1240128"/>
              <a:gd name="csX7" fmla="*/ 268212 w 697572"/>
              <a:gd name="csY7" fmla="*/ 1237635 h 1240128"/>
              <a:gd name="csX8" fmla="*/ 262072 w 697572"/>
              <a:gd name="csY8" fmla="*/ 1237523 h 1240128"/>
              <a:gd name="csX9" fmla="*/ 195111 w 697572"/>
              <a:gd name="csY9" fmla="*/ 1232775 h 1240128"/>
              <a:gd name="csX10" fmla="*/ 145060 w 697572"/>
              <a:gd name="csY10" fmla="*/ 1230076 h 1240128"/>
              <a:gd name="csX11" fmla="*/ 114933 w 697572"/>
              <a:gd name="csY11" fmla="*/ 1225832 h 1240128"/>
              <a:gd name="csX12" fmla="*/ 72642 w 697572"/>
              <a:gd name="csY12" fmla="*/ 1220237 h 1240128"/>
              <a:gd name="csX13" fmla="*/ 10894 w 697572"/>
              <a:gd name="csY13" fmla="*/ 1205737 h 1240128"/>
              <a:gd name="csX14" fmla="*/ 5856 w 697572"/>
              <a:gd name="csY14" fmla="*/ 1202799 h 1240128"/>
              <a:gd name="csX15" fmla="*/ 40 w 697572"/>
              <a:gd name="csY15" fmla="*/ 1174450 h 1240128"/>
              <a:gd name="csX16" fmla="*/ 19831 w 697572"/>
              <a:gd name="csY16" fmla="*/ 1118410 h 1240128"/>
              <a:gd name="csX17" fmla="*/ 22004 w 697572"/>
              <a:gd name="csY17" fmla="*/ 1107240 h 1240128"/>
              <a:gd name="csX18" fmla="*/ 25947 w 697572"/>
              <a:gd name="csY18" fmla="*/ 1038650 h 1240128"/>
              <a:gd name="csX19" fmla="*/ 58234 w 697572"/>
              <a:gd name="csY19" fmla="*/ 988567 h 1240128"/>
              <a:gd name="csX20" fmla="*/ 118645 w 697572"/>
              <a:gd name="csY20" fmla="*/ 928298 h 1240128"/>
              <a:gd name="csX21" fmla="*/ 126320 w 697572"/>
              <a:gd name="csY21" fmla="*/ 892015 h 1240128"/>
              <a:gd name="csX22" fmla="*/ 120345 w 697572"/>
              <a:gd name="csY22" fmla="*/ 872258 h 1240128"/>
              <a:gd name="csX23" fmla="*/ 125668 w 697572"/>
              <a:gd name="csY23" fmla="*/ 861640 h 1240128"/>
              <a:gd name="csX24" fmla="*/ 154237 w 697572"/>
              <a:gd name="csY24" fmla="*/ 850716 h 1240128"/>
              <a:gd name="csX25" fmla="*/ 170248 w 697572"/>
              <a:gd name="csY25" fmla="*/ 836767 h 1240128"/>
              <a:gd name="csX26" fmla="*/ 187840 w 697572"/>
              <a:gd name="csY26" fmla="*/ 796341 h 1240128"/>
              <a:gd name="csX27" fmla="*/ 209346 w 697572"/>
              <a:gd name="csY27" fmla="*/ 743126 h 1240128"/>
              <a:gd name="csX28" fmla="*/ 210630 w 697572"/>
              <a:gd name="csY28" fmla="*/ 737219 h 1240128"/>
              <a:gd name="csX29" fmla="*/ 213836 w 697572"/>
              <a:gd name="csY29" fmla="*/ 720505 h 1240128"/>
              <a:gd name="csX30" fmla="*/ 227791 w 697572"/>
              <a:gd name="csY30" fmla="*/ 667353 h 1240128"/>
              <a:gd name="csX31" fmla="*/ 241013 w 697572"/>
              <a:gd name="csY31" fmla="*/ 599151 h 1240128"/>
              <a:gd name="csX32" fmla="*/ 247322 w 697572"/>
              <a:gd name="csY32" fmla="*/ 542242 h 1240128"/>
              <a:gd name="csX33" fmla="*/ 247948 w 697572"/>
              <a:gd name="csY33" fmla="*/ 499296 h 1240128"/>
              <a:gd name="csX34" fmla="*/ 247577 w 697572"/>
              <a:gd name="csY34" fmla="*/ 470384 h 1240128"/>
              <a:gd name="csX35" fmla="*/ 238877 w 697572"/>
              <a:gd name="csY35" fmla="*/ 460987 h 1240128"/>
              <a:gd name="csX36" fmla="*/ 222040 w 697572"/>
              <a:gd name="csY36" fmla="*/ 458353 h 1240128"/>
              <a:gd name="csX37" fmla="*/ 172193 w 697572"/>
              <a:gd name="csY37" fmla="*/ 433714 h 1240128"/>
              <a:gd name="csX38" fmla="*/ 168410 w 697572"/>
              <a:gd name="csY38" fmla="*/ 396591 h 1240128"/>
              <a:gd name="csX39" fmla="*/ 209826 w 697572"/>
              <a:gd name="csY39" fmla="*/ 367773 h 1240128"/>
              <a:gd name="csX40" fmla="*/ 250732 w 697572"/>
              <a:gd name="csY40" fmla="*/ 355208 h 1240128"/>
              <a:gd name="csX41" fmla="*/ 258289 w 697572"/>
              <a:gd name="csY41" fmla="*/ 350426 h 1240128"/>
              <a:gd name="csX42" fmla="*/ 233274 w 697572"/>
              <a:gd name="csY42" fmla="*/ 333513 h 1240128"/>
              <a:gd name="csX43" fmla="*/ 229677 w 697572"/>
              <a:gd name="csY43" fmla="*/ 333922 h 1240128"/>
              <a:gd name="csX44" fmla="*/ 230149 w 697572"/>
              <a:gd name="csY44" fmla="*/ 332979 h 1240128"/>
              <a:gd name="csX45" fmla="*/ 227053 w 697572"/>
              <a:gd name="csY45" fmla="*/ 327076 h 1240128"/>
              <a:gd name="csX46" fmla="*/ 196769 w 697572"/>
              <a:gd name="csY46" fmla="*/ 291380 h 1240128"/>
              <a:gd name="csX47" fmla="*/ 184389 w 697572"/>
              <a:gd name="csY47" fmla="*/ 264042 h 1240128"/>
              <a:gd name="csX48" fmla="*/ 180630 w 697572"/>
              <a:gd name="csY48" fmla="*/ 257839 h 1240128"/>
              <a:gd name="csX49" fmla="*/ 176231 w 697572"/>
              <a:gd name="csY49" fmla="*/ 250643 h 1240128"/>
              <a:gd name="csX50" fmla="*/ 170073 w 697572"/>
              <a:gd name="csY50" fmla="*/ 146723 h 1240128"/>
              <a:gd name="csX51" fmla="*/ 180929 w 697572"/>
              <a:gd name="csY51" fmla="*/ 114280 h 1240128"/>
              <a:gd name="csX52" fmla="*/ 180839 w 697572"/>
              <a:gd name="csY52" fmla="*/ 101501 h 1240128"/>
              <a:gd name="csX53" fmla="*/ 233536 w 697572"/>
              <a:gd name="csY53" fmla="*/ 39653 h 1240128"/>
              <a:gd name="csX54" fmla="*/ 347618 w 697572"/>
              <a:gd name="csY54" fmla="*/ 35 h 1240128"/>
              <a:gd name="csX55" fmla="*/ 437139 w 697572"/>
              <a:gd name="csY55" fmla="*/ 22396 h 1240128"/>
              <a:gd name="csX56" fmla="*/ 529052 w 697572"/>
              <a:gd name="csY56" fmla="*/ 131093 h 1240128"/>
              <a:gd name="csX57" fmla="*/ 518497 w 697572"/>
              <a:gd name="csY57" fmla="*/ 271517 h 1240128"/>
              <a:gd name="csX58" fmla="*/ 500808 w 697572"/>
              <a:gd name="csY58" fmla="*/ 287385 h 1240128"/>
              <a:gd name="csX59" fmla="*/ 472948 w 697572"/>
              <a:gd name="csY59" fmla="*/ 323290 h 1240128"/>
              <a:gd name="csX60" fmla="*/ 469385 w 697572"/>
              <a:gd name="csY60" fmla="*/ 331565 h 1240128"/>
              <a:gd name="csX61" fmla="*/ 468293 w 697572"/>
              <a:gd name="csY61" fmla="*/ 331320 h 1240128"/>
              <a:gd name="csX62" fmla="*/ 459542 w 697572"/>
              <a:gd name="csY62" fmla="*/ 338942 h 1240128"/>
              <a:gd name="csX63" fmla="*/ 458492 w 697572"/>
              <a:gd name="csY63" fmla="*/ 338671 h 1240128"/>
              <a:gd name="csX64" fmla="*/ 436978 w 697572"/>
              <a:gd name="csY64" fmla="*/ 352226 h 1240128"/>
              <a:gd name="csX65" fmla="*/ 472329 w 697572"/>
              <a:gd name="csY65" fmla="*/ 362890 h 1240128"/>
              <a:gd name="csX66" fmla="*/ 523779 w 697572"/>
              <a:gd name="csY66" fmla="*/ 391962 h 1240128"/>
              <a:gd name="csX67" fmla="*/ 527344 w 697572"/>
              <a:gd name="csY67" fmla="*/ 430096 h 1240128"/>
              <a:gd name="csX68" fmla="*/ 504112 w 697572"/>
              <a:gd name="csY68" fmla="*/ 449628 h 1240128"/>
              <a:gd name="csX69" fmla="*/ 459430 w 697572"/>
              <a:gd name="csY69" fmla="*/ 461116 h 1240128"/>
              <a:gd name="csX70" fmla="*/ 446666 w 697572"/>
              <a:gd name="csY70" fmla="*/ 474229 h 1240128"/>
              <a:gd name="csX71" fmla="*/ 449133 w 697572"/>
              <a:gd name="csY71" fmla="*/ 531639 h 1240128"/>
              <a:gd name="csX72" fmla="*/ 454546 w 697572"/>
              <a:gd name="csY72" fmla="*/ 588688 h 1240128"/>
              <a:gd name="csX73" fmla="*/ 466126 w 697572"/>
              <a:gd name="csY73" fmla="*/ 649736 h 1240128"/>
              <a:gd name="csX74" fmla="*/ 512154 w 697572"/>
              <a:gd name="csY74" fmla="*/ 794006 h 1240128"/>
              <a:gd name="csX75" fmla="*/ 525763 w 697572"/>
              <a:gd name="csY75" fmla="*/ 834323 h 1240128"/>
              <a:gd name="csX76" fmla="*/ 530555 w 697572"/>
              <a:gd name="csY76" fmla="*/ 845114 h 1240128"/>
              <a:gd name="csX77" fmla="*/ 554424 w 697572"/>
              <a:gd name="csY77" fmla="*/ 856618 h 1240128"/>
              <a:gd name="csX78" fmla="*/ 572880 w 697572"/>
              <a:gd name="csY78" fmla="*/ 862546 h 1240128"/>
              <a:gd name="csX79" fmla="*/ 578643 w 697572"/>
              <a:gd name="csY79" fmla="*/ 880396 h 1240128"/>
              <a:gd name="csX80" fmla="*/ 572188 w 697572"/>
              <a:gd name="csY80" fmla="*/ 899820 h 1240128"/>
              <a:gd name="csX81" fmla="*/ 582698 w 697572"/>
              <a:gd name="csY81" fmla="*/ 930382 h 1240128"/>
              <a:gd name="csX82" fmla="*/ 604747 w 697572"/>
              <a:gd name="csY82" fmla="*/ 960852 h 1240128"/>
              <a:gd name="csX83" fmla="*/ 613863 w 697572"/>
              <a:gd name="csY83" fmla="*/ 968311 h 1240128"/>
              <a:gd name="csX84" fmla="*/ 629435 w 697572"/>
              <a:gd name="csY84" fmla="*/ 981186 h 1240128"/>
              <a:gd name="csX85" fmla="*/ 633611 w 697572"/>
              <a:gd name="csY85" fmla="*/ 985609 h 1240128"/>
              <a:gd name="csX86" fmla="*/ 673790 w 697572"/>
              <a:gd name="csY86" fmla="*/ 1049348 h 1240128"/>
              <a:gd name="csX87" fmla="*/ 675873 w 697572"/>
              <a:gd name="csY87" fmla="*/ 1092839 h 1240128"/>
              <a:gd name="csX88" fmla="*/ 681668 w 697572"/>
              <a:gd name="csY88" fmla="*/ 1129292 h 1240128"/>
              <a:gd name="csX89" fmla="*/ 697338 w 697572"/>
              <a:gd name="csY89" fmla="*/ 1196079 h 1240128"/>
              <a:gd name="csX90" fmla="*/ 690637 w 697572"/>
              <a:gd name="csY90" fmla="*/ 1205035 h 1240128"/>
              <a:gd name="csX91" fmla="*/ 639777 w 697572"/>
              <a:gd name="csY91" fmla="*/ 1217994 h 1240128"/>
              <a:gd name="csX92" fmla="*/ 587072 w 697572"/>
              <a:gd name="csY92" fmla="*/ 1227761 h 1240128"/>
              <a:gd name="csX93" fmla="*/ 581793 w 697572"/>
              <a:gd name="csY93" fmla="*/ 1234401 h 1240128"/>
              <a:gd name="csX94" fmla="*/ 357446 w 697572"/>
              <a:gd name="csY94" fmla="*/ 903795 h 1240128"/>
              <a:gd name="csX95" fmla="*/ 344445 w 697572"/>
              <a:gd name="csY95" fmla="*/ 903795 h 1240128"/>
              <a:gd name="csX96" fmla="*/ 349212 w 697572"/>
              <a:gd name="csY96" fmla="*/ 950515 h 1240128"/>
              <a:gd name="csX97" fmla="*/ 349538 w 697572"/>
              <a:gd name="csY97" fmla="*/ 1069392 h 1240128"/>
              <a:gd name="csX98" fmla="*/ 349415 w 697572"/>
              <a:gd name="csY98" fmla="*/ 1108925 h 1240128"/>
              <a:gd name="csX99" fmla="*/ 647726 w 697572"/>
              <a:gd name="csY99" fmla="*/ 1089872 h 1240128"/>
              <a:gd name="csX100" fmla="*/ 647654 w 697572"/>
              <a:gd name="csY100" fmla="*/ 1076267 h 1240128"/>
              <a:gd name="csX101" fmla="*/ 610267 w 697572"/>
              <a:gd name="csY101" fmla="*/ 994126 h 1240128"/>
              <a:gd name="csX102" fmla="*/ 571459 w 697572"/>
              <a:gd name="csY102" fmla="*/ 956568 h 1240128"/>
              <a:gd name="csX103" fmla="*/ 541653 w 697572"/>
              <a:gd name="csY103" fmla="*/ 901544 h 1240128"/>
              <a:gd name="csX104" fmla="*/ 539477 w 697572"/>
              <a:gd name="csY104" fmla="*/ 895908 h 1240128"/>
              <a:gd name="csX105" fmla="*/ 357446 w 697572"/>
              <a:gd name="csY105" fmla="*/ 903795 h 1240128"/>
              <a:gd name="csX106" fmla="*/ 300108 w 697572"/>
              <a:gd name="csY106" fmla="*/ 85260 h 1240128"/>
              <a:gd name="csX107" fmla="*/ 290213 w 697572"/>
              <a:gd name="csY107" fmla="*/ 127888 h 1240128"/>
              <a:gd name="csX108" fmla="*/ 331056 w 697572"/>
              <a:gd name="csY108" fmla="*/ 214168 h 1240128"/>
              <a:gd name="csX109" fmla="*/ 424717 w 697572"/>
              <a:gd name="csY109" fmla="*/ 245160 h 1240128"/>
              <a:gd name="csX110" fmla="*/ 496752 w 697572"/>
              <a:gd name="csY110" fmla="*/ 141256 h 1240128"/>
              <a:gd name="csX111" fmla="*/ 390320 w 697572"/>
              <a:gd name="csY111" fmla="*/ 43995 h 1240128"/>
              <a:gd name="csX112" fmla="*/ 300108 w 697572"/>
              <a:gd name="csY112" fmla="*/ 85260 h 1240128"/>
              <a:gd name="csX113" fmla="*/ 343360 w 697572"/>
              <a:gd name="csY113" fmla="*/ 634332 h 1240128"/>
              <a:gd name="csX114" fmla="*/ 340877 w 697572"/>
              <a:gd name="csY114" fmla="*/ 732259 h 1240128"/>
              <a:gd name="csX115" fmla="*/ 338360 w 697572"/>
              <a:gd name="csY115" fmla="*/ 810538 h 1240128"/>
              <a:gd name="csX116" fmla="*/ 337115 w 697572"/>
              <a:gd name="csY116" fmla="*/ 817736 h 1240128"/>
              <a:gd name="csX117" fmla="*/ 336516 w 697572"/>
              <a:gd name="csY117" fmla="*/ 863022 h 1240128"/>
              <a:gd name="csX118" fmla="*/ 343436 w 697572"/>
              <a:gd name="csY118" fmla="*/ 864027 h 1240128"/>
              <a:gd name="csX119" fmla="*/ 406718 w 697572"/>
              <a:gd name="csY119" fmla="*/ 862982 h 1240128"/>
              <a:gd name="csX120" fmla="*/ 456888 w 697572"/>
              <a:gd name="csY120" fmla="*/ 861794 h 1240128"/>
              <a:gd name="csX121" fmla="*/ 495873 w 697572"/>
              <a:gd name="csY121" fmla="*/ 863963 h 1240128"/>
              <a:gd name="csX122" fmla="*/ 509286 w 697572"/>
              <a:gd name="csY122" fmla="*/ 863595 h 1240128"/>
              <a:gd name="csX123" fmla="*/ 516956 w 697572"/>
              <a:gd name="csY123" fmla="*/ 856791 h 1240128"/>
              <a:gd name="csX124" fmla="*/ 513920 w 697572"/>
              <a:gd name="csY124" fmla="*/ 848709 h 1240128"/>
              <a:gd name="csX125" fmla="*/ 506683 w 697572"/>
              <a:gd name="csY125" fmla="*/ 839054 h 1240128"/>
              <a:gd name="csX126" fmla="*/ 488629 w 697572"/>
              <a:gd name="csY126" fmla="*/ 799037 h 1240128"/>
              <a:gd name="csX127" fmla="*/ 456922 w 697572"/>
              <a:gd name="csY127" fmla="*/ 696297 h 1240128"/>
              <a:gd name="csX128" fmla="*/ 441346 w 697572"/>
              <a:gd name="csY128" fmla="*/ 619885 h 1240128"/>
              <a:gd name="csX129" fmla="*/ 435963 w 697572"/>
              <a:gd name="csY129" fmla="*/ 582529 h 1240128"/>
              <a:gd name="csX130" fmla="*/ 429497 w 697572"/>
              <a:gd name="csY130" fmla="*/ 521990 h 1240128"/>
              <a:gd name="csX131" fmla="*/ 426887 w 697572"/>
              <a:gd name="csY131" fmla="*/ 471989 h 1240128"/>
              <a:gd name="csX132" fmla="*/ 413744 w 697572"/>
              <a:gd name="csY132" fmla="*/ 461077 h 1240128"/>
              <a:gd name="csX133" fmla="*/ 353573 w 697572"/>
              <a:gd name="csY133" fmla="*/ 461120 h 1240128"/>
              <a:gd name="csX134" fmla="*/ 344160 w 697572"/>
              <a:gd name="csY134" fmla="*/ 462286 h 1240128"/>
              <a:gd name="csX135" fmla="*/ 343404 w 697572"/>
              <a:gd name="csY135" fmla="*/ 469192 h 1240128"/>
              <a:gd name="csX136" fmla="*/ 343469 w 697572"/>
              <a:gd name="csY136" fmla="*/ 574797 h 1240128"/>
              <a:gd name="csX137" fmla="*/ 345522 w 697572"/>
              <a:gd name="csY137" fmla="*/ 591669 h 1240128"/>
              <a:gd name="csX138" fmla="*/ 343360 w 697572"/>
              <a:gd name="csY138" fmla="*/ 634332 h 1240128"/>
              <a:gd name="csX139" fmla="*/ 416946 w 697572"/>
              <a:gd name="csY139" fmla="*/ 385943 h 1240128"/>
              <a:gd name="csX140" fmla="*/ 401091 w 697572"/>
              <a:gd name="csY140" fmla="*/ 387162 h 1240128"/>
              <a:gd name="csX141" fmla="*/ 369218 w 697572"/>
              <a:gd name="csY141" fmla="*/ 387708 h 1240128"/>
              <a:gd name="csX142" fmla="*/ 351833 w 697572"/>
              <a:gd name="csY142" fmla="*/ 398991 h 1240128"/>
              <a:gd name="csX143" fmla="*/ 349778 w 697572"/>
              <a:gd name="csY143" fmla="*/ 426021 h 1240128"/>
              <a:gd name="csX144" fmla="*/ 361839 w 697572"/>
              <a:gd name="csY144" fmla="*/ 426538 h 1240128"/>
              <a:gd name="csX145" fmla="*/ 455022 w 697572"/>
              <a:gd name="csY145" fmla="*/ 426922 h 1240128"/>
              <a:gd name="csX146" fmla="*/ 481958 w 697572"/>
              <a:gd name="csY146" fmla="*/ 426527 h 1240128"/>
              <a:gd name="csX147" fmla="*/ 499817 w 697572"/>
              <a:gd name="csY147" fmla="*/ 419888 h 1240128"/>
              <a:gd name="csX148" fmla="*/ 499439 w 697572"/>
              <a:gd name="csY148" fmla="*/ 400719 h 1240128"/>
              <a:gd name="csX149" fmla="*/ 468062 w 697572"/>
              <a:gd name="csY149" fmla="*/ 387775 h 1240128"/>
              <a:gd name="csX150" fmla="*/ 416946 w 697572"/>
              <a:gd name="csY150" fmla="*/ 385943 h 1240128"/>
              <a:gd name="csX151" fmla="*/ 636802 w 697572"/>
              <a:gd name="csY151" fmla="*/ 1190940 h 1240128"/>
              <a:gd name="csX152" fmla="*/ 666492 w 697572"/>
              <a:gd name="csY152" fmla="*/ 1184186 h 1240128"/>
              <a:gd name="csX153" fmla="*/ 674465 w 697572"/>
              <a:gd name="csY153" fmla="*/ 1170880 h 1240128"/>
              <a:gd name="csX154" fmla="*/ 662462 w 697572"/>
              <a:gd name="csY154" fmla="*/ 1141464 h 1240128"/>
              <a:gd name="csX155" fmla="*/ 645564 w 697572"/>
              <a:gd name="csY155" fmla="*/ 1131937 h 1240128"/>
              <a:gd name="csX156" fmla="*/ 627387 w 697572"/>
              <a:gd name="csY156" fmla="*/ 1133618 h 1240128"/>
              <a:gd name="csX157" fmla="*/ 583917 w 697572"/>
              <a:gd name="csY157" fmla="*/ 1139222 h 1240128"/>
              <a:gd name="csX158" fmla="*/ 543741 w 697572"/>
              <a:gd name="csY158" fmla="*/ 1141869 h 1240128"/>
              <a:gd name="csX159" fmla="*/ 512146 w 697572"/>
              <a:gd name="csY159" fmla="*/ 1144418 h 1240128"/>
              <a:gd name="csX160" fmla="*/ 447711 w 697572"/>
              <a:gd name="csY160" fmla="*/ 1148973 h 1240128"/>
              <a:gd name="csX161" fmla="*/ 351979 w 697572"/>
              <a:gd name="csY161" fmla="*/ 1149200 h 1240128"/>
              <a:gd name="csX162" fmla="*/ 338443 w 697572"/>
              <a:gd name="csY162" fmla="*/ 1150040 h 1240128"/>
              <a:gd name="csX163" fmla="*/ 338451 w 697572"/>
              <a:gd name="csY163" fmla="*/ 1190780 h 1240128"/>
              <a:gd name="csX164" fmla="*/ 351082 w 697572"/>
              <a:gd name="csY164" fmla="*/ 1207015 h 1240128"/>
              <a:gd name="csX165" fmla="*/ 358298 w 697572"/>
              <a:gd name="csY165" fmla="*/ 1208094 h 1240128"/>
              <a:gd name="csX166" fmla="*/ 521229 w 697572"/>
              <a:gd name="csY166" fmla="*/ 1205646 h 1240128"/>
              <a:gd name="csX167" fmla="*/ 523675 w 697572"/>
              <a:gd name="csY167" fmla="*/ 1205490 h 1240128"/>
              <a:gd name="csX168" fmla="*/ 580423 w 697572"/>
              <a:gd name="csY168" fmla="*/ 1198350 h 1240128"/>
              <a:gd name="csX169" fmla="*/ 636802 w 697572"/>
              <a:gd name="csY169" fmla="*/ 1190940 h 124012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</a:cxnLst>
            <a:rect l="l" t="t" r="r" b="b"/>
            <a:pathLst>
              <a:path w="697572" h="1240128">
                <a:moveTo>
                  <a:pt x="581793" y="1234401"/>
                </a:moveTo>
                <a:cubicBezTo>
                  <a:pt x="580693" y="1234661"/>
                  <a:pt x="579594" y="1234922"/>
                  <a:pt x="577427" y="1234156"/>
                </a:cubicBezTo>
                <a:cubicBezTo>
                  <a:pt x="571216" y="1227899"/>
                  <a:pt x="564912" y="1230441"/>
                  <a:pt x="559133" y="1230909"/>
                </a:cubicBezTo>
                <a:cubicBezTo>
                  <a:pt x="544971" y="1232056"/>
                  <a:pt x="530869" y="1233971"/>
                  <a:pt x="516706" y="1235117"/>
                </a:cubicBezTo>
                <a:cubicBezTo>
                  <a:pt x="502910" y="1236232"/>
                  <a:pt x="489077" y="1237097"/>
                  <a:pt x="475244" y="1237506"/>
                </a:cubicBezTo>
                <a:cubicBezTo>
                  <a:pt x="440539" y="1238535"/>
                  <a:pt x="405696" y="1241458"/>
                  <a:pt x="371154" y="1239428"/>
                </a:cubicBezTo>
                <a:cubicBezTo>
                  <a:pt x="339645" y="1237575"/>
                  <a:pt x="308239" y="1238753"/>
                  <a:pt x="276813" y="1237654"/>
                </a:cubicBezTo>
                <a:cubicBezTo>
                  <a:pt x="273949" y="1237553"/>
                  <a:pt x="271079" y="1237652"/>
                  <a:pt x="268212" y="1237635"/>
                </a:cubicBezTo>
                <a:cubicBezTo>
                  <a:pt x="266165" y="1237623"/>
                  <a:pt x="264111" y="1237668"/>
                  <a:pt x="262072" y="1237523"/>
                </a:cubicBezTo>
                <a:cubicBezTo>
                  <a:pt x="239751" y="1235944"/>
                  <a:pt x="217441" y="1234201"/>
                  <a:pt x="195111" y="1232775"/>
                </a:cubicBezTo>
                <a:cubicBezTo>
                  <a:pt x="178437" y="1231710"/>
                  <a:pt x="161712" y="1231378"/>
                  <a:pt x="145060" y="1230076"/>
                </a:cubicBezTo>
                <a:cubicBezTo>
                  <a:pt x="134969" y="1229287"/>
                  <a:pt x="124987" y="1227177"/>
                  <a:pt x="114933" y="1225832"/>
                </a:cubicBezTo>
                <a:cubicBezTo>
                  <a:pt x="100834" y="1223946"/>
                  <a:pt x="86554" y="1223022"/>
                  <a:pt x="72642" y="1220237"/>
                </a:cubicBezTo>
                <a:cubicBezTo>
                  <a:pt x="51920" y="1216091"/>
                  <a:pt x="31443" y="1210723"/>
                  <a:pt x="10894" y="1205737"/>
                </a:cubicBezTo>
                <a:cubicBezTo>
                  <a:pt x="9027" y="1205284"/>
                  <a:pt x="6196" y="1204140"/>
                  <a:pt x="5856" y="1202799"/>
                </a:cubicBezTo>
                <a:cubicBezTo>
                  <a:pt x="3474" y="1193418"/>
                  <a:pt x="-438" y="1183796"/>
                  <a:pt x="40" y="1174450"/>
                </a:cubicBezTo>
                <a:cubicBezTo>
                  <a:pt x="1079" y="1154149"/>
                  <a:pt x="9757" y="1135843"/>
                  <a:pt x="19831" y="1118410"/>
                </a:cubicBezTo>
                <a:cubicBezTo>
                  <a:pt x="21968" y="1114713"/>
                  <a:pt x="22970" y="1111858"/>
                  <a:pt x="22004" y="1107240"/>
                </a:cubicBezTo>
                <a:cubicBezTo>
                  <a:pt x="17168" y="1084118"/>
                  <a:pt x="17717" y="1061168"/>
                  <a:pt x="25947" y="1038650"/>
                </a:cubicBezTo>
                <a:cubicBezTo>
                  <a:pt x="32954" y="1019481"/>
                  <a:pt x="44478" y="1003118"/>
                  <a:pt x="58234" y="988567"/>
                </a:cubicBezTo>
                <a:cubicBezTo>
                  <a:pt x="77769" y="967902"/>
                  <a:pt x="97978" y="947832"/>
                  <a:pt x="118645" y="928298"/>
                </a:cubicBezTo>
                <a:cubicBezTo>
                  <a:pt x="130104" y="917467"/>
                  <a:pt x="131835" y="905961"/>
                  <a:pt x="126320" y="892015"/>
                </a:cubicBezTo>
                <a:cubicBezTo>
                  <a:pt x="123798" y="885637"/>
                  <a:pt x="122123" y="878904"/>
                  <a:pt x="120345" y="872258"/>
                </a:cubicBezTo>
                <a:cubicBezTo>
                  <a:pt x="119029" y="867341"/>
                  <a:pt x="120162" y="863613"/>
                  <a:pt x="125668" y="861640"/>
                </a:cubicBezTo>
                <a:cubicBezTo>
                  <a:pt x="135266" y="858201"/>
                  <a:pt x="144535" y="853788"/>
                  <a:pt x="154237" y="850716"/>
                </a:cubicBezTo>
                <a:cubicBezTo>
                  <a:pt x="161882" y="848296"/>
                  <a:pt x="167110" y="843897"/>
                  <a:pt x="170248" y="836767"/>
                </a:cubicBezTo>
                <a:cubicBezTo>
                  <a:pt x="176168" y="823316"/>
                  <a:pt x="182193" y="809907"/>
                  <a:pt x="187840" y="796341"/>
                </a:cubicBezTo>
                <a:cubicBezTo>
                  <a:pt x="195194" y="778679"/>
                  <a:pt x="202250" y="760894"/>
                  <a:pt x="209346" y="743126"/>
                </a:cubicBezTo>
                <a:cubicBezTo>
                  <a:pt x="210083" y="741280"/>
                  <a:pt x="210252" y="739200"/>
                  <a:pt x="210630" y="737219"/>
                </a:cubicBezTo>
                <a:cubicBezTo>
                  <a:pt x="211694" y="731645"/>
                  <a:pt x="212425" y="725987"/>
                  <a:pt x="213836" y="720505"/>
                </a:cubicBezTo>
                <a:cubicBezTo>
                  <a:pt x="218406" y="702764"/>
                  <a:pt x="223811" y="685219"/>
                  <a:pt x="227791" y="667353"/>
                </a:cubicBezTo>
                <a:cubicBezTo>
                  <a:pt x="232826" y="644755"/>
                  <a:pt x="237367" y="622009"/>
                  <a:pt x="241013" y="599151"/>
                </a:cubicBezTo>
                <a:cubicBezTo>
                  <a:pt x="244018" y="580319"/>
                  <a:pt x="246001" y="561272"/>
                  <a:pt x="247322" y="542242"/>
                </a:cubicBezTo>
                <a:cubicBezTo>
                  <a:pt x="248312" y="527975"/>
                  <a:pt x="246344" y="513451"/>
                  <a:pt x="247948" y="499296"/>
                </a:cubicBezTo>
                <a:cubicBezTo>
                  <a:pt x="249066" y="489432"/>
                  <a:pt x="247923" y="480014"/>
                  <a:pt x="247577" y="470384"/>
                </a:cubicBezTo>
                <a:cubicBezTo>
                  <a:pt x="247364" y="464453"/>
                  <a:pt x="245121" y="461397"/>
                  <a:pt x="238877" y="460987"/>
                </a:cubicBezTo>
                <a:cubicBezTo>
                  <a:pt x="233224" y="460615"/>
                  <a:pt x="227461" y="459920"/>
                  <a:pt x="222040" y="458353"/>
                </a:cubicBezTo>
                <a:cubicBezTo>
                  <a:pt x="203991" y="453134"/>
                  <a:pt x="185737" y="448229"/>
                  <a:pt x="172193" y="433714"/>
                </a:cubicBezTo>
                <a:cubicBezTo>
                  <a:pt x="162702" y="423544"/>
                  <a:pt x="160887" y="408134"/>
                  <a:pt x="168410" y="396591"/>
                </a:cubicBezTo>
                <a:cubicBezTo>
                  <a:pt x="178294" y="381428"/>
                  <a:pt x="193736" y="373793"/>
                  <a:pt x="209826" y="367773"/>
                </a:cubicBezTo>
                <a:cubicBezTo>
                  <a:pt x="223159" y="362784"/>
                  <a:pt x="237124" y="359493"/>
                  <a:pt x="250732" y="355208"/>
                </a:cubicBezTo>
                <a:cubicBezTo>
                  <a:pt x="253085" y="354467"/>
                  <a:pt x="255058" y="352518"/>
                  <a:pt x="258289" y="350426"/>
                </a:cubicBezTo>
                <a:cubicBezTo>
                  <a:pt x="250173" y="342610"/>
                  <a:pt x="241833" y="337880"/>
                  <a:pt x="233274" y="333513"/>
                </a:cubicBezTo>
                <a:cubicBezTo>
                  <a:pt x="232377" y="333055"/>
                  <a:pt x="230890" y="333758"/>
                  <a:pt x="229677" y="333922"/>
                </a:cubicBezTo>
                <a:cubicBezTo>
                  <a:pt x="229677" y="333922"/>
                  <a:pt x="230323" y="333834"/>
                  <a:pt x="230149" y="332979"/>
                </a:cubicBezTo>
                <a:cubicBezTo>
                  <a:pt x="229023" y="330409"/>
                  <a:pt x="228502" y="328059"/>
                  <a:pt x="227053" y="327076"/>
                </a:cubicBezTo>
                <a:cubicBezTo>
                  <a:pt x="213615" y="317962"/>
                  <a:pt x="204643" y="305332"/>
                  <a:pt x="196769" y="291380"/>
                </a:cubicBezTo>
                <a:cubicBezTo>
                  <a:pt x="191792" y="282564"/>
                  <a:pt x="185421" y="274665"/>
                  <a:pt x="184389" y="264042"/>
                </a:cubicBezTo>
                <a:cubicBezTo>
                  <a:pt x="184179" y="261874"/>
                  <a:pt x="181925" y="259908"/>
                  <a:pt x="180630" y="257839"/>
                </a:cubicBezTo>
                <a:cubicBezTo>
                  <a:pt x="179137" y="255454"/>
                  <a:pt x="177317" y="253204"/>
                  <a:pt x="176231" y="250643"/>
                </a:cubicBezTo>
                <a:cubicBezTo>
                  <a:pt x="161865" y="216749"/>
                  <a:pt x="159606" y="182060"/>
                  <a:pt x="170073" y="146723"/>
                </a:cubicBezTo>
                <a:cubicBezTo>
                  <a:pt x="173311" y="135795"/>
                  <a:pt x="177248" y="125074"/>
                  <a:pt x="180929" y="114280"/>
                </a:cubicBezTo>
                <a:cubicBezTo>
                  <a:pt x="182396" y="109981"/>
                  <a:pt x="183922" y="105742"/>
                  <a:pt x="180839" y="101501"/>
                </a:cubicBezTo>
                <a:cubicBezTo>
                  <a:pt x="192473" y="75833"/>
                  <a:pt x="211344" y="56271"/>
                  <a:pt x="233536" y="39653"/>
                </a:cubicBezTo>
                <a:cubicBezTo>
                  <a:pt x="267321" y="14353"/>
                  <a:pt x="305621" y="873"/>
                  <a:pt x="347618" y="35"/>
                </a:cubicBezTo>
                <a:cubicBezTo>
                  <a:pt x="379125" y="-593"/>
                  <a:pt x="409214" y="7172"/>
                  <a:pt x="437139" y="22396"/>
                </a:cubicBezTo>
                <a:cubicBezTo>
                  <a:pt x="481844" y="46766"/>
                  <a:pt x="514077" y="82116"/>
                  <a:pt x="529052" y="131093"/>
                </a:cubicBezTo>
                <a:cubicBezTo>
                  <a:pt x="543544" y="178495"/>
                  <a:pt x="541630" y="225548"/>
                  <a:pt x="518497" y="271517"/>
                </a:cubicBezTo>
                <a:cubicBezTo>
                  <a:pt x="511428" y="277096"/>
                  <a:pt x="503848" y="281136"/>
                  <a:pt x="500808" y="287385"/>
                </a:cubicBezTo>
                <a:cubicBezTo>
                  <a:pt x="493932" y="301522"/>
                  <a:pt x="483805" y="312513"/>
                  <a:pt x="472948" y="323290"/>
                </a:cubicBezTo>
                <a:cubicBezTo>
                  <a:pt x="470972" y="325253"/>
                  <a:pt x="470533" y="328767"/>
                  <a:pt x="469385" y="331565"/>
                </a:cubicBezTo>
                <a:cubicBezTo>
                  <a:pt x="469385" y="331565"/>
                  <a:pt x="469172" y="331584"/>
                  <a:pt x="468293" y="331320"/>
                </a:cubicBezTo>
                <a:cubicBezTo>
                  <a:pt x="461937" y="330836"/>
                  <a:pt x="458618" y="332772"/>
                  <a:pt x="459542" y="338942"/>
                </a:cubicBezTo>
                <a:cubicBezTo>
                  <a:pt x="459542" y="338942"/>
                  <a:pt x="459473" y="338913"/>
                  <a:pt x="458492" y="338671"/>
                </a:cubicBezTo>
                <a:cubicBezTo>
                  <a:pt x="450936" y="342653"/>
                  <a:pt x="440712" y="341355"/>
                  <a:pt x="436978" y="352226"/>
                </a:cubicBezTo>
                <a:cubicBezTo>
                  <a:pt x="449178" y="355911"/>
                  <a:pt x="460733" y="359469"/>
                  <a:pt x="472329" y="362890"/>
                </a:cubicBezTo>
                <a:cubicBezTo>
                  <a:pt x="491728" y="368613"/>
                  <a:pt x="510182" y="375784"/>
                  <a:pt x="523779" y="391962"/>
                </a:cubicBezTo>
                <a:cubicBezTo>
                  <a:pt x="535849" y="406326"/>
                  <a:pt x="534845" y="420076"/>
                  <a:pt x="527344" y="430096"/>
                </a:cubicBezTo>
                <a:cubicBezTo>
                  <a:pt x="521323" y="438139"/>
                  <a:pt x="513928" y="445333"/>
                  <a:pt x="504112" y="449628"/>
                </a:cubicBezTo>
                <a:cubicBezTo>
                  <a:pt x="489776" y="455901"/>
                  <a:pt x="475173" y="460486"/>
                  <a:pt x="459430" y="461116"/>
                </a:cubicBezTo>
                <a:cubicBezTo>
                  <a:pt x="448415" y="461557"/>
                  <a:pt x="446384" y="463369"/>
                  <a:pt x="446666" y="474229"/>
                </a:cubicBezTo>
                <a:cubicBezTo>
                  <a:pt x="447164" y="493376"/>
                  <a:pt x="447839" y="512533"/>
                  <a:pt x="449133" y="531639"/>
                </a:cubicBezTo>
                <a:cubicBezTo>
                  <a:pt x="450424" y="550696"/>
                  <a:pt x="451783" y="569809"/>
                  <a:pt x="454546" y="588688"/>
                </a:cubicBezTo>
                <a:cubicBezTo>
                  <a:pt x="457543" y="609164"/>
                  <a:pt x="462165" y="629403"/>
                  <a:pt x="466126" y="649736"/>
                </a:cubicBezTo>
                <a:cubicBezTo>
                  <a:pt x="475845" y="699621"/>
                  <a:pt x="493414" y="746980"/>
                  <a:pt x="512154" y="794006"/>
                </a:cubicBezTo>
                <a:cubicBezTo>
                  <a:pt x="517387" y="807138"/>
                  <a:pt x="525145" y="819463"/>
                  <a:pt x="525763" y="834323"/>
                </a:cubicBezTo>
                <a:cubicBezTo>
                  <a:pt x="525919" y="838081"/>
                  <a:pt x="527739" y="843335"/>
                  <a:pt x="530555" y="845114"/>
                </a:cubicBezTo>
                <a:cubicBezTo>
                  <a:pt x="537981" y="849801"/>
                  <a:pt x="546243" y="853278"/>
                  <a:pt x="554424" y="856618"/>
                </a:cubicBezTo>
                <a:cubicBezTo>
                  <a:pt x="560391" y="859054"/>
                  <a:pt x="567041" y="859887"/>
                  <a:pt x="572880" y="862546"/>
                </a:cubicBezTo>
                <a:cubicBezTo>
                  <a:pt x="581470" y="866458"/>
                  <a:pt x="582467" y="871415"/>
                  <a:pt x="578643" y="880396"/>
                </a:cubicBezTo>
                <a:cubicBezTo>
                  <a:pt x="575969" y="886677"/>
                  <a:pt x="572900" y="893182"/>
                  <a:pt x="572188" y="899820"/>
                </a:cubicBezTo>
                <a:cubicBezTo>
                  <a:pt x="570960" y="911271"/>
                  <a:pt x="576506" y="920944"/>
                  <a:pt x="582698" y="930382"/>
                </a:cubicBezTo>
                <a:cubicBezTo>
                  <a:pt x="589569" y="940856"/>
                  <a:pt x="600933" y="947930"/>
                  <a:pt x="604747" y="960852"/>
                </a:cubicBezTo>
                <a:cubicBezTo>
                  <a:pt x="605684" y="964030"/>
                  <a:pt x="610294" y="967128"/>
                  <a:pt x="613863" y="968311"/>
                </a:cubicBezTo>
                <a:cubicBezTo>
                  <a:pt x="620963" y="970665"/>
                  <a:pt x="625924" y="974774"/>
                  <a:pt x="629435" y="981186"/>
                </a:cubicBezTo>
                <a:cubicBezTo>
                  <a:pt x="630381" y="982913"/>
                  <a:pt x="631977" y="984459"/>
                  <a:pt x="633611" y="985609"/>
                </a:cubicBezTo>
                <a:cubicBezTo>
                  <a:pt x="655878" y="1001272"/>
                  <a:pt x="668032" y="1023762"/>
                  <a:pt x="673790" y="1049348"/>
                </a:cubicBezTo>
                <a:cubicBezTo>
                  <a:pt x="676936" y="1063327"/>
                  <a:pt x="679769" y="1077802"/>
                  <a:pt x="675873" y="1092839"/>
                </a:cubicBezTo>
                <a:cubicBezTo>
                  <a:pt x="672677" y="1105174"/>
                  <a:pt x="673042" y="1116963"/>
                  <a:pt x="681668" y="1129292"/>
                </a:cubicBezTo>
                <a:cubicBezTo>
                  <a:pt x="695321" y="1148802"/>
                  <a:pt x="698550" y="1172235"/>
                  <a:pt x="697338" y="1196079"/>
                </a:cubicBezTo>
                <a:cubicBezTo>
                  <a:pt x="697087" y="1201014"/>
                  <a:pt x="694979" y="1203886"/>
                  <a:pt x="690637" y="1205035"/>
                </a:cubicBezTo>
                <a:cubicBezTo>
                  <a:pt x="673723" y="1209511"/>
                  <a:pt x="656856" y="1214241"/>
                  <a:pt x="639777" y="1217994"/>
                </a:cubicBezTo>
                <a:cubicBezTo>
                  <a:pt x="622334" y="1221827"/>
                  <a:pt x="604691" y="1224790"/>
                  <a:pt x="587072" y="1227761"/>
                </a:cubicBezTo>
                <a:cubicBezTo>
                  <a:pt x="582708" y="1228497"/>
                  <a:pt x="581724" y="1230736"/>
                  <a:pt x="581793" y="1234401"/>
                </a:cubicBezTo>
                <a:moveTo>
                  <a:pt x="357446" y="903795"/>
                </a:moveTo>
                <a:cubicBezTo>
                  <a:pt x="353141" y="903795"/>
                  <a:pt x="348835" y="903795"/>
                  <a:pt x="344445" y="903795"/>
                </a:cubicBezTo>
                <a:cubicBezTo>
                  <a:pt x="346169" y="920562"/>
                  <a:pt x="347908" y="935520"/>
                  <a:pt x="349212" y="950515"/>
                </a:cubicBezTo>
                <a:cubicBezTo>
                  <a:pt x="352656" y="990125"/>
                  <a:pt x="351941" y="1029743"/>
                  <a:pt x="349538" y="1069392"/>
                </a:cubicBezTo>
                <a:cubicBezTo>
                  <a:pt x="348759" y="1082241"/>
                  <a:pt x="349415" y="1095176"/>
                  <a:pt x="349415" y="1108925"/>
                </a:cubicBezTo>
                <a:cubicBezTo>
                  <a:pt x="449467" y="1111953"/>
                  <a:pt x="548509" y="1104712"/>
                  <a:pt x="647726" y="1089872"/>
                </a:cubicBezTo>
                <a:cubicBezTo>
                  <a:pt x="647726" y="1084313"/>
                  <a:pt x="648180" y="1080225"/>
                  <a:pt x="647654" y="1076267"/>
                </a:cubicBezTo>
                <a:cubicBezTo>
                  <a:pt x="643515" y="1045124"/>
                  <a:pt x="633172" y="1016714"/>
                  <a:pt x="610267" y="994126"/>
                </a:cubicBezTo>
                <a:cubicBezTo>
                  <a:pt x="597451" y="981485"/>
                  <a:pt x="584392" y="969090"/>
                  <a:pt x="571459" y="956568"/>
                </a:cubicBezTo>
                <a:cubicBezTo>
                  <a:pt x="555751" y="941359"/>
                  <a:pt x="544836" y="923558"/>
                  <a:pt x="541653" y="901544"/>
                </a:cubicBezTo>
                <a:cubicBezTo>
                  <a:pt x="541430" y="900007"/>
                  <a:pt x="540528" y="898570"/>
                  <a:pt x="539477" y="895908"/>
                </a:cubicBezTo>
                <a:cubicBezTo>
                  <a:pt x="479736" y="901652"/>
                  <a:pt x="419815" y="904536"/>
                  <a:pt x="357446" y="903795"/>
                </a:cubicBezTo>
                <a:moveTo>
                  <a:pt x="300108" y="85260"/>
                </a:moveTo>
                <a:cubicBezTo>
                  <a:pt x="293656" y="98745"/>
                  <a:pt x="289202" y="113094"/>
                  <a:pt x="290213" y="127888"/>
                </a:cubicBezTo>
                <a:cubicBezTo>
                  <a:pt x="292527" y="161736"/>
                  <a:pt x="304185" y="191723"/>
                  <a:pt x="331056" y="214168"/>
                </a:cubicBezTo>
                <a:cubicBezTo>
                  <a:pt x="358172" y="236816"/>
                  <a:pt x="388435" y="249934"/>
                  <a:pt x="424717" y="245160"/>
                </a:cubicBezTo>
                <a:cubicBezTo>
                  <a:pt x="468593" y="239387"/>
                  <a:pt x="509574" y="203365"/>
                  <a:pt x="496752" y="141256"/>
                </a:cubicBezTo>
                <a:cubicBezTo>
                  <a:pt x="487021" y="94124"/>
                  <a:pt x="447261" y="51874"/>
                  <a:pt x="390320" y="43995"/>
                </a:cubicBezTo>
                <a:cubicBezTo>
                  <a:pt x="353241" y="38865"/>
                  <a:pt x="321136" y="48750"/>
                  <a:pt x="300108" y="85260"/>
                </a:cubicBezTo>
                <a:moveTo>
                  <a:pt x="343360" y="634332"/>
                </a:moveTo>
                <a:cubicBezTo>
                  <a:pt x="342539" y="666975"/>
                  <a:pt x="341785" y="699619"/>
                  <a:pt x="340877" y="732259"/>
                </a:cubicBezTo>
                <a:cubicBezTo>
                  <a:pt x="340151" y="758355"/>
                  <a:pt x="339265" y="784447"/>
                  <a:pt x="338360" y="810538"/>
                </a:cubicBezTo>
                <a:cubicBezTo>
                  <a:pt x="338277" y="812948"/>
                  <a:pt x="337465" y="815325"/>
                  <a:pt x="337115" y="817736"/>
                </a:cubicBezTo>
                <a:cubicBezTo>
                  <a:pt x="334935" y="832710"/>
                  <a:pt x="336026" y="847647"/>
                  <a:pt x="336516" y="863022"/>
                </a:cubicBezTo>
                <a:cubicBezTo>
                  <a:pt x="339537" y="863479"/>
                  <a:pt x="341490" y="864053"/>
                  <a:pt x="343436" y="864027"/>
                </a:cubicBezTo>
                <a:cubicBezTo>
                  <a:pt x="364531" y="863739"/>
                  <a:pt x="385626" y="863422"/>
                  <a:pt x="406718" y="862982"/>
                </a:cubicBezTo>
                <a:cubicBezTo>
                  <a:pt x="423444" y="862634"/>
                  <a:pt x="440168" y="861675"/>
                  <a:pt x="456888" y="861794"/>
                </a:cubicBezTo>
                <a:cubicBezTo>
                  <a:pt x="469887" y="861886"/>
                  <a:pt x="482872" y="863302"/>
                  <a:pt x="495873" y="863963"/>
                </a:cubicBezTo>
                <a:cubicBezTo>
                  <a:pt x="500358" y="864191"/>
                  <a:pt x="505108" y="864773"/>
                  <a:pt x="509286" y="863595"/>
                </a:cubicBezTo>
                <a:cubicBezTo>
                  <a:pt x="512346" y="862732"/>
                  <a:pt x="515714" y="859703"/>
                  <a:pt x="516956" y="856791"/>
                </a:cubicBezTo>
                <a:cubicBezTo>
                  <a:pt x="517783" y="854851"/>
                  <a:pt x="515475" y="851192"/>
                  <a:pt x="513920" y="848709"/>
                </a:cubicBezTo>
                <a:cubicBezTo>
                  <a:pt x="511791" y="845308"/>
                  <a:pt x="508393" y="842606"/>
                  <a:pt x="506683" y="839054"/>
                </a:cubicBezTo>
                <a:cubicBezTo>
                  <a:pt x="500331" y="825864"/>
                  <a:pt x="493224" y="812855"/>
                  <a:pt x="488629" y="799037"/>
                </a:cubicBezTo>
                <a:cubicBezTo>
                  <a:pt x="477322" y="765031"/>
                  <a:pt x="466537" y="730814"/>
                  <a:pt x="456922" y="696297"/>
                </a:cubicBezTo>
                <a:cubicBezTo>
                  <a:pt x="449953" y="671276"/>
                  <a:pt x="443477" y="646020"/>
                  <a:pt x="441346" y="619885"/>
                </a:cubicBezTo>
                <a:cubicBezTo>
                  <a:pt x="440327" y="607371"/>
                  <a:pt x="437466" y="595018"/>
                  <a:pt x="435963" y="582529"/>
                </a:cubicBezTo>
                <a:cubicBezTo>
                  <a:pt x="433539" y="562380"/>
                  <a:pt x="431154" y="542212"/>
                  <a:pt x="429497" y="521990"/>
                </a:cubicBezTo>
                <a:cubicBezTo>
                  <a:pt x="428135" y="505363"/>
                  <a:pt x="428437" y="488593"/>
                  <a:pt x="426887" y="471989"/>
                </a:cubicBezTo>
                <a:cubicBezTo>
                  <a:pt x="425874" y="461140"/>
                  <a:pt x="424983" y="461120"/>
                  <a:pt x="413744" y="461077"/>
                </a:cubicBezTo>
                <a:cubicBezTo>
                  <a:pt x="393687" y="461000"/>
                  <a:pt x="373630" y="461011"/>
                  <a:pt x="353573" y="461120"/>
                </a:cubicBezTo>
                <a:cubicBezTo>
                  <a:pt x="350472" y="461137"/>
                  <a:pt x="347374" y="461869"/>
                  <a:pt x="344160" y="462286"/>
                </a:cubicBezTo>
                <a:cubicBezTo>
                  <a:pt x="343828" y="465198"/>
                  <a:pt x="343406" y="467195"/>
                  <a:pt x="343404" y="469192"/>
                </a:cubicBezTo>
                <a:cubicBezTo>
                  <a:pt x="343360" y="504394"/>
                  <a:pt x="343267" y="539596"/>
                  <a:pt x="343469" y="574797"/>
                </a:cubicBezTo>
                <a:cubicBezTo>
                  <a:pt x="343501" y="580426"/>
                  <a:pt x="345652" y="586065"/>
                  <a:pt x="345522" y="591669"/>
                </a:cubicBezTo>
                <a:cubicBezTo>
                  <a:pt x="345214" y="605082"/>
                  <a:pt x="344131" y="618478"/>
                  <a:pt x="343360" y="634332"/>
                </a:cubicBezTo>
                <a:moveTo>
                  <a:pt x="416946" y="385943"/>
                </a:moveTo>
                <a:cubicBezTo>
                  <a:pt x="411661" y="386365"/>
                  <a:pt x="406384" y="387006"/>
                  <a:pt x="401091" y="387162"/>
                </a:cubicBezTo>
                <a:cubicBezTo>
                  <a:pt x="390470" y="387477"/>
                  <a:pt x="379841" y="387447"/>
                  <a:pt x="369218" y="387708"/>
                </a:cubicBezTo>
                <a:cubicBezTo>
                  <a:pt x="361167" y="387906"/>
                  <a:pt x="354429" y="391368"/>
                  <a:pt x="351833" y="398991"/>
                </a:cubicBezTo>
                <a:cubicBezTo>
                  <a:pt x="348989" y="407342"/>
                  <a:pt x="347050" y="416214"/>
                  <a:pt x="349778" y="426021"/>
                </a:cubicBezTo>
                <a:cubicBezTo>
                  <a:pt x="353876" y="426204"/>
                  <a:pt x="357857" y="426517"/>
                  <a:pt x="361839" y="426538"/>
                </a:cubicBezTo>
                <a:cubicBezTo>
                  <a:pt x="392900" y="426701"/>
                  <a:pt x="423961" y="426826"/>
                  <a:pt x="455022" y="426922"/>
                </a:cubicBezTo>
                <a:cubicBezTo>
                  <a:pt x="464013" y="426950"/>
                  <a:pt x="473106" y="427654"/>
                  <a:pt x="481958" y="426527"/>
                </a:cubicBezTo>
                <a:cubicBezTo>
                  <a:pt x="488144" y="425740"/>
                  <a:pt x="494821" y="423501"/>
                  <a:pt x="499817" y="419888"/>
                </a:cubicBezTo>
                <a:cubicBezTo>
                  <a:pt x="507869" y="414066"/>
                  <a:pt x="507286" y="406755"/>
                  <a:pt x="499439" y="400719"/>
                </a:cubicBezTo>
                <a:cubicBezTo>
                  <a:pt x="490179" y="393597"/>
                  <a:pt x="479486" y="388885"/>
                  <a:pt x="468062" y="387775"/>
                </a:cubicBezTo>
                <a:cubicBezTo>
                  <a:pt x="451873" y="386202"/>
                  <a:pt x="435520" y="386321"/>
                  <a:pt x="416946" y="385943"/>
                </a:cubicBezTo>
                <a:moveTo>
                  <a:pt x="636802" y="1190940"/>
                </a:moveTo>
                <a:cubicBezTo>
                  <a:pt x="646709" y="1188723"/>
                  <a:pt x="656705" y="1186841"/>
                  <a:pt x="666492" y="1184186"/>
                </a:cubicBezTo>
                <a:cubicBezTo>
                  <a:pt x="674710" y="1181958"/>
                  <a:pt x="676989" y="1178509"/>
                  <a:pt x="674465" y="1170880"/>
                </a:cubicBezTo>
                <a:cubicBezTo>
                  <a:pt x="671144" y="1160843"/>
                  <a:pt x="667026" y="1151009"/>
                  <a:pt x="662462" y="1141464"/>
                </a:cubicBezTo>
                <a:cubicBezTo>
                  <a:pt x="659273" y="1134795"/>
                  <a:pt x="653671" y="1130908"/>
                  <a:pt x="645564" y="1131937"/>
                </a:cubicBezTo>
                <a:cubicBezTo>
                  <a:pt x="639532" y="1132703"/>
                  <a:pt x="633423" y="1132867"/>
                  <a:pt x="627387" y="1133618"/>
                </a:cubicBezTo>
                <a:cubicBezTo>
                  <a:pt x="612888" y="1135421"/>
                  <a:pt x="598449" y="1137770"/>
                  <a:pt x="583917" y="1139222"/>
                </a:cubicBezTo>
                <a:cubicBezTo>
                  <a:pt x="570571" y="1140557"/>
                  <a:pt x="557130" y="1140930"/>
                  <a:pt x="543741" y="1141869"/>
                </a:cubicBezTo>
                <a:cubicBezTo>
                  <a:pt x="533202" y="1142610"/>
                  <a:pt x="522682" y="1143623"/>
                  <a:pt x="512146" y="1144418"/>
                </a:cubicBezTo>
                <a:cubicBezTo>
                  <a:pt x="490671" y="1146038"/>
                  <a:pt x="469214" y="1148450"/>
                  <a:pt x="447711" y="1148973"/>
                </a:cubicBezTo>
                <a:cubicBezTo>
                  <a:pt x="415817" y="1149749"/>
                  <a:pt x="383891" y="1149136"/>
                  <a:pt x="351979" y="1149200"/>
                </a:cubicBezTo>
                <a:cubicBezTo>
                  <a:pt x="347698" y="1149209"/>
                  <a:pt x="343419" y="1149717"/>
                  <a:pt x="338443" y="1150040"/>
                </a:cubicBezTo>
                <a:cubicBezTo>
                  <a:pt x="338443" y="1164651"/>
                  <a:pt x="338413" y="1177715"/>
                  <a:pt x="338451" y="1190780"/>
                </a:cubicBezTo>
                <a:cubicBezTo>
                  <a:pt x="338490" y="1204031"/>
                  <a:pt x="338512" y="1204062"/>
                  <a:pt x="351082" y="1207015"/>
                </a:cubicBezTo>
                <a:cubicBezTo>
                  <a:pt x="353445" y="1207570"/>
                  <a:pt x="355895" y="1208128"/>
                  <a:pt x="358298" y="1208094"/>
                </a:cubicBezTo>
                <a:cubicBezTo>
                  <a:pt x="412608" y="1207329"/>
                  <a:pt x="466919" y="1206484"/>
                  <a:pt x="521229" y="1205646"/>
                </a:cubicBezTo>
                <a:cubicBezTo>
                  <a:pt x="522045" y="1205634"/>
                  <a:pt x="522865" y="1205591"/>
                  <a:pt x="523675" y="1205490"/>
                </a:cubicBezTo>
                <a:cubicBezTo>
                  <a:pt x="542593" y="1203123"/>
                  <a:pt x="561519" y="1200820"/>
                  <a:pt x="580423" y="1198350"/>
                </a:cubicBezTo>
                <a:cubicBezTo>
                  <a:pt x="598523" y="1195985"/>
                  <a:pt x="616599" y="1193446"/>
                  <a:pt x="636802" y="1190940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42" name="Free-form: Shape 241">
            <a:extLst>
              <a:ext uri="{FF2B5EF4-FFF2-40B4-BE49-F238E27FC236}">
                <a16:creationId xmlns:a16="http://schemas.microsoft.com/office/drawing/2014/main" id="{5A396E77-69CE-6FF9-7BF9-EA475C08704F}"/>
              </a:ext>
            </a:extLst>
          </p:cNvPr>
          <p:cNvSpPr/>
          <p:nvPr/>
        </p:nvSpPr>
        <p:spPr>
          <a:xfrm>
            <a:off x="1351706" y="2857169"/>
            <a:ext cx="17183" cy="1817"/>
          </a:xfrm>
          <a:custGeom>
            <a:avLst/>
            <a:gdLst>
              <a:gd name="csX0" fmla="*/ 0 w 27674"/>
              <a:gd name="csY0" fmla="*/ 2915 h 2925"/>
              <a:gd name="csX1" fmla="*/ 27675 w 27674"/>
              <a:gd name="csY1" fmla="*/ 1550 h 2925"/>
              <a:gd name="csX2" fmla="*/ 0 w 27674"/>
              <a:gd name="csY2" fmla="*/ 2915 h 292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27674" h="2925">
                <a:moveTo>
                  <a:pt x="0" y="2915"/>
                </a:moveTo>
                <a:cubicBezTo>
                  <a:pt x="8211" y="-1939"/>
                  <a:pt x="17625" y="498"/>
                  <a:pt x="27675" y="1550"/>
                </a:cubicBezTo>
                <a:cubicBezTo>
                  <a:pt x="19225" y="2593"/>
                  <a:pt x="10029" y="2999"/>
                  <a:pt x="0" y="2915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43" name="Free-form: Shape 242">
            <a:extLst>
              <a:ext uri="{FF2B5EF4-FFF2-40B4-BE49-F238E27FC236}">
                <a16:creationId xmlns:a16="http://schemas.microsoft.com/office/drawing/2014/main" id="{B16E30B2-BBE4-75D6-16DE-264137570C0A}"/>
              </a:ext>
            </a:extLst>
          </p:cNvPr>
          <p:cNvSpPr/>
          <p:nvPr/>
        </p:nvSpPr>
        <p:spPr>
          <a:xfrm>
            <a:off x="1304402" y="2858193"/>
            <a:ext cx="11179" cy="700"/>
          </a:xfrm>
          <a:custGeom>
            <a:avLst/>
            <a:gdLst>
              <a:gd name="csX0" fmla="*/ 0 w 18003"/>
              <a:gd name="csY0" fmla="*/ 1050 h 1128"/>
              <a:gd name="csX1" fmla="*/ 18004 w 18003"/>
              <a:gd name="csY1" fmla="*/ 93 h 1128"/>
              <a:gd name="csX2" fmla="*/ 0 w 18003"/>
              <a:gd name="csY2" fmla="*/ 1050 h 112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8003" h="1128">
                <a:moveTo>
                  <a:pt x="0" y="1050"/>
                </a:moveTo>
                <a:cubicBezTo>
                  <a:pt x="5276" y="182"/>
                  <a:pt x="11306" y="-189"/>
                  <a:pt x="18004" y="93"/>
                </a:cubicBezTo>
                <a:cubicBezTo>
                  <a:pt x="12699" y="1013"/>
                  <a:pt x="6726" y="1280"/>
                  <a:pt x="0" y="1050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44" name="Free-form: Shape 243">
            <a:extLst>
              <a:ext uri="{FF2B5EF4-FFF2-40B4-BE49-F238E27FC236}">
                <a16:creationId xmlns:a16="http://schemas.microsoft.com/office/drawing/2014/main" id="{D64565D1-8FEE-18C3-97C9-1D8F7A7ED9AC}"/>
              </a:ext>
            </a:extLst>
          </p:cNvPr>
          <p:cNvSpPr/>
          <p:nvPr/>
        </p:nvSpPr>
        <p:spPr>
          <a:xfrm>
            <a:off x="1385369" y="2291393"/>
            <a:ext cx="5257" cy="4867"/>
          </a:xfrm>
          <a:custGeom>
            <a:avLst/>
            <a:gdLst>
              <a:gd name="csX0" fmla="*/ 473 w 8466"/>
              <a:gd name="csY0" fmla="*/ 7839 h 7838"/>
              <a:gd name="csX1" fmla="*/ 8466 w 8466"/>
              <a:gd name="csY1" fmla="*/ 61 h 7838"/>
              <a:gd name="csX2" fmla="*/ 473 w 8466"/>
              <a:gd name="csY2" fmla="*/ 7839 h 783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66" h="7838">
                <a:moveTo>
                  <a:pt x="473" y="7839"/>
                </a:moveTo>
                <a:cubicBezTo>
                  <a:pt x="-1298" y="1550"/>
                  <a:pt x="2020" y="-386"/>
                  <a:pt x="8466" y="61"/>
                </a:cubicBezTo>
                <a:cubicBezTo>
                  <a:pt x="6730" y="2845"/>
                  <a:pt x="4026" y="5401"/>
                  <a:pt x="473" y="7839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45" name="Free-form: Shape 244">
            <a:extLst>
              <a:ext uri="{FF2B5EF4-FFF2-40B4-BE49-F238E27FC236}">
                <a16:creationId xmlns:a16="http://schemas.microsoft.com/office/drawing/2014/main" id="{69C726CE-0F50-25A1-4971-4AEC9E02CBE3}"/>
              </a:ext>
            </a:extLst>
          </p:cNvPr>
          <p:cNvSpPr/>
          <p:nvPr/>
        </p:nvSpPr>
        <p:spPr>
          <a:xfrm>
            <a:off x="1249373" y="2856679"/>
            <a:ext cx="5265" cy="618"/>
          </a:xfrm>
          <a:custGeom>
            <a:avLst/>
            <a:gdLst>
              <a:gd name="csX0" fmla="*/ 0 w 8480"/>
              <a:gd name="csY0" fmla="*/ 896 h 996"/>
              <a:gd name="csX1" fmla="*/ 8480 w 8480"/>
              <a:gd name="csY1" fmla="*/ 110 h 996"/>
              <a:gd name="csX2" fmla="*/ 0 w 8480"/>
              <a:gd name="csY2" fmla="*/ 896 h 99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80" h="996">
                <a:moveTo>
                  <a:pt x="0" y="896"/>
                </a:moveTo>
                <a:cubicBezTo>
                  <a:pt x="2285" y="115"/>
                  <a:pt x="5130" y="-182"/>
                  <a:pt x="8480" y="110"/>
                </a:cubicBezTo>
                <a:cubicBezTo>
                  <a:pt x="6177" y="927"/>
                  <a:pt x="3368" y="1153"/>
                  <a:pt x="0" y="896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46" name="Free-form: Shape 245">
            <a:extLst>
              <a:ext uri="{FF2B5EF4-FFF2-40B4-BE49-F238E27FC236}">
                <a16:creationId xmlns:a16="http://schemas.microsoft.com/office/drawing/2014/main" id="{F3AFEC79-325A-4C38-B19A-8DF56E76D4A2}"/>
              </a:ext>
            </a:extLst>
          </p:cNvPr>
          <p:cNvSpPr/>
          <p:nvPr/>
        </p:nvSpPr>
        <p:spPr>
          <a:xfrm>
            <a:off x="1536134" y="2830150"/>
            <a:ext cx="763" cy="4134"/>
          </a:xfrm>
          <a:custGeom>
            <a:avLst/>
            <a:gdLst>
              <a:gd name="csX0" fmla="*/ 132 w 1229"/>
              <a:gd name="csY0" fmla="*/ 6659 h 6658"/>
              <a:gd name="csX1" fmla="*/ 1107 w 1229"/>
              <a:gd name="csY1" fmla="*/ 0 h 6658"/>
              <a:gd name="csX2" fmla="*/ 132 w 1229"/>
              <a:gd name="csY2" fmla="*/ 6659 h 665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229" h="6658">
                <a:moveTo>
                  <a:pt x="132" y="6659"/>
                </a:moveTo>
                <a:cubicBezTo>
                  <a:pt x="-219" y="4616"/>
                  <a:pt x="139" y="2560"/>
                  <a:pt x="1107" y="0"/>
                </a:cubicBezTo>
                <a:cubicBezTo>
                  <a:pt x="1425" y="1879"/>
                  <a:pt x="1133" y="4263"/>
                  <a:pt x="132" y="6659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47" name="Free-form: Shape 246">
            <a:extLst>
              <a:ext uri="{FF2B5EF4-FFF2-40B4-BE49-F238E27FC236}">
                <a16:creationId xmlns:a16="http://schemas.microsoft.com/office/drawing/2014/main" id="{4624C469-B35F-53CD-CAA8-5CB26C777AA2}"/>
              </a:ext>
            </a:extLst>
          </p:cNvPr>
          <p:cNvSpPr/>
          <p:nvPr/>
        </p:nvSpPr>
        <p:spPr>
          <a:xfrm>
            <a:off x="1468938" y="2850427"/>
            <a:ext cx="2352" cy="847"/>
          </a:xfrm>
          <a:custGeom>
            <a:avLst/>
            <a:gdLst>
              <a:gd name="csX0" fmla="*/ 0 w 3788"/>
              <a:gd name="csY0" fmla="*/ 1364 h 1364"/>
              <a:gd name="csX1" fmla="*/ 3788 w 3788"/>
              <a:gd name="csY1" fmla="*/ 0 h 1364"/>
              <a:gd name="csX2" fmla="*/ 0 w 3788"/>
              <a:gd name="csY2" fmla="*/ 1364 h 136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788" h="1364">
                <a:moveTo>
                  <a:pt x="0" y="1364"/>
                </a:moveTo>
                <a:cubicBezTo>
                  <a:pt x="856" y="517"/>
                  <a:pt x="2126" y="39"/>
                  <a:pt x="3788" y="0"/>
                </a:cubicBezTo>
                <a:cubicBezTo>
                  <a:pt x="2925" y="870"/>
                  <a:pt x="1670" y="1303"/>
                  <a:pt x="0" y="1364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48" name="Free-form: Shape 247">
            <a:extLst>
              <a:ext uri="{FF2B5EF4-FFF2-40B4-BE49-F238E27FC236}">
                <a16:creationId xmlns:a16="http://schemas.microsoft.com/office/drawing/2014/main" id="{06D7A020-0034-FADC-5410-42DBCAFA26FB}"/>
              </a:ext>
            </a:extLst>
          </p:cNvPr>
          <p:cNvSpPr/>
          <p:nvPr/>
        </p:nvSpPr>
        <p:spPr>
          <a:xfrm>
            <a:off x="1197355" y="2853701"/>
            <a:ext cx="2478" cy="515"/>
          </a:xfrm>
          <a:custGeom>
            <a:avLst/>
            <a:gdLst>
              <a:gd name="csX0" fmla="*/ 0 w 3990"/>
              <a:gd name="csY0" fmla="*/ 719 h 829"/>
              <a:gd name="csX1" fmla="*/ 3990 w 3990"/>
              <a:gd name="csY1" fmla="*/ 119 h 829"/>
              <a:gd name="csX2" fmla="*/ 0 w 3990"/>
              <a:gd name="csY2" fmla="*/ 719 h 82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990" h="829">
                <a:moveTo>
                  <a:pt x="0" y="719"/>
                </a:moveTo>
                <a:cubicBezTo>
                  <a:pt x="982" y="66"/>
                  <a:pt x="2323" y="-163"/>
                  <a:pt x="3990" y="119"/>
                </a:cubicBezTo>
                <a:cubicBezTo>
                  <a:pt x="2998" y="800"/>
                  <a:pt x="1678" y="972"/>
                  <a:pt x="0" y="719"/>
                </a:cubicBezTo>
                <a:close/>
              </a:path>
            </a:pathLst>
          </a:custGeom>
          <a:solidFill>
            <a:srgbClr val="959DA0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49" name="Free-form: Shape 248">
            <a:extLst>
              <a:ext uri="{FF2B5EF4-FFF2-40B4-BE49-F238E27FC236}">
                <a16:creationId xmlns:a16="http://schemas.microsoft.com/office/drawing/2014/main" id="{52C9AFF9-C2F0-40AB-EF0A-25CB86CA76C1}"/>
              </a:ext>
            </a:extLst>
          </p:cNvPr>
          <p:cNvSpPr/>
          <p:nvPr/>
        </p:nvSpPr>
        <p:spPr>
          <a:xfrm>
            <a:off x="1407903" y="2856657"/>
            <a:ext cx="2417" cy="705"/>
          </a:xfrm>
          <a:custGeom>
            <a:avLst/>
            <a:gdLst>
              <a:gd name="csX0" fmla="*/ 0 w 3893"/>
              <a:gd name="csY0" fmla="*/ 1133 h 1135"/>
              <a:gd name="csX1" fmla="*/ 3893 w 3893"/>
              <a:gd name="csY1" fmla="*/ 7 h 1135"/>
              <a:gd name="csX2" fmla="*/ 0 w 3893"/>
              <a:gd name="csY2" fmla="*/ 1133 h 113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893" h="1135">
                <a:moveTo>
                  <a:pt x="0" y="1133"/>
                </a:moveTo>
                <a:cubicBezTo>
                  <a:pt x="902" y="349"/>
                  <a:pt x="2213" y="-60"/>
                  <a:pt x="3893" y="7"/>
                </a:cubicBezTo>
                <a:cubicBezTo>
                  <a:pt x="2978" y="825"/>
                  <a:pt x="1693" y="1167"/>
                  <a:pt x="0" y="1133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50" name="Free-form: Shape 249">
            <a:extLst>
              <a:ext uri="{FF2B5EF4-FFF2-40B4-BE49-F238E27FC236}">
                <a16:creationId xmlns:a16="http://schemas.microsoft.com/office/drawing/2014/main" id="{1F15C24D-6BC7-10E1-8340-E251FC796930}"/>
              </a:ext>
            </a:extLst>
          </p:cNvPr>
          <p:cNvSpPr/>
          <p:nvPr/>
        </p:nvSpPr>
        <p:spPr>
          <a:xfrm>
            <a:off x="1308307" y="2371993"/>
            <a:ext cx="112588" cy="250407"/>
          </a:xfrm>
          <a:custGeom>
            <a:avLst/>
            <a:gdLst>
              <a:gd name="csX0" fmla="*/ 7554 w 181323"/>
              <a:gd name="csY0" fmla="*/ 172079 h 403282"/>
              <a:gd name="csX1" fmla="*/ 9716 w 181323"/>
              <a:gd name="csY1" fmla="*/ 130641 h 403282"/>
              <a:gd name="csX2" fmla="*/ 7663 w 181323"/>
              <a:gd name="csY2" fmla="*/ 113770 h 403282"/>
              <a:gd name="csX3" fmla="*/ 7598 w 181323"/>
              <a:gd name="csY3" fmla="*/ 8165 h 403282"/>
              <a:gd name="csX4" fmla="*/ 8353 w 181323"/>
              <a:gd name="csY4" fmla="*/ 1259 h 403282"/>
              <a:gd name="csX5" fmla="*/ 17767 w 181323"/>
              <a:gd name="csY5" fmla="*/ 93 h 403282"/>
              <a:gd name="csX6" fmla="*/ 77938 w 181323"/>
              <a:gd name="csY6" fmla="*/ 50 h 403282"/>
              <a:gd name="csX7" fmla="*/ 91081 w 181323"/>
              <a:gd name="csY7" fmla="*/ 10962 h 403282"/>
              <a:gd name="csX8" fmla="*/ 93691 w 181323"/>
              <a:gd name="csY8" fmla="*/ 60963 h 403282"/>
              <a:gd name="csX9" fmla="*/ 100157 w 181323"/>
              <a:gd name="csY9" fmla="*/ 121501 h 403282"/>
              <a:gd name="csX10" fmla="*/ 105540 w 181323"/>
              <a:gd name="csY10" fmla="*/ 158857 h 403282"/>
              <a:gd name="csX11" fmla="*/ 121116 w 181323"/>
              <a:gd name="csY11" fmla="*/ 235269 h 403282"/>
              <a:gd name="csX12" fmla="*/ 152823 w 181323"/>
              <a:gd name="csY12" fmla="*/ 338010 h 403282"/>
              <a:gd name="csX13" fmla="*/ 170877 w 181323"/>
              <a:gd name="csY13" fmla="*/ 378027 h 403282"/>
              <a:gd name="csX14" fmla="*/ 178114 w 181323"/>
              <a:gd name="csY14" fmla="*/ 387682 h 403282"/>
              <a:gd name="csX15" fmla="*/ 181150 w 181323"/>
              <a:gd name="csY15" fmla="*/ 395764 h 403282"/>
              <a:gd name="csX16" fmla="*/ 173480 w 181323"/>
              <a:gd name="csY16" fmla="*/ 402568 h 403282"/>
              <a:gd name="csX17" fmla="*/ 160067 w 181323"/>
              <a:gd name="csY17" fmla="*/ 402936 h 403282"/>
              <a:gd name="csX18" fmla="*/ 121081 w 181323"/>
              <a:gd name="csY18" fmla="*/ 400766 h 403282"/>
              <a:gd name="csX19" fmla="*/ 70912 w 181323"/>
              <a:gd name="csY19" fmla="*/ 401955 h 403282"/>
              <a:gd name="csX20" fmla="*/ 7630 w 181323"/>
              <a:gd name="csY20" fmla="*/ 402999 h 403282"/>
              <a:gd name="csX21" fmla="*/ 710 w 181323"/>
              <a:gd name="csY21" fmla="*/ 401995 h 403282"/>
              <a:gd name="csX22" fmla="*/ 1308 w 181323"/>
              <a:gd name="csY22" fmla="*/ 356708 h 403282"/>
              <a:gd name="csX23" fmla="*/ 2554 w 181323"/>
              <a:gd name="csY23" fmla="*/ 349510 h 403282"/>
              <a:gd name="csX24" fmla="*/ 5071 w 181323"/>
              <a:gd name="csY24" fmla="*/ 271231 h 403282"/>
              <a:gd name="csX25" fmla="*/ 7554 w 181323"/>
              <a:gd name="csY25" fmla="*/ 172079 h 403282"/>
              <a:gd name="csX26" fmla="*/ 98286 w 181323"/>
              <a:gd name="csY26" fmla="*/ 163566 h 403282"/>
              <a:gd name="csX27" fmla="*/ 83497 w 181323"/>
              <a:gd name="csY27" fmla="*/ 8289 h 403282"/>
              <a:gd name="csX28" fmla="*/ 15161 w 181323"/>
              <a:gd name="csY28" fmla="*/ 9148 h 403282"/>
              <a:gd name="csX29" fmla="*/ 15058 w 181323"/>
              <a:gd name="csY29" fmla="*/ 137939 h 403282"/>
              <a:gd name="csX30" fmla="*/ 12252 w 181323"/>
              <a:gd name="csY30" fmla="*/ 266862 h 403282"/>
              <a:gd name="csX31" fmla="*/ 7068 w 181323"/>
              <a:gd name="csY31" fmla="*/ 395996 h 403282"/>
              <a:gd name="csX32" fmla="*/ 171647 w 181323"/>
              <a:gd name="csY32" fmla="*/ 395996 h 403282"/>
              <a:gd name="csX33" fmla="*/ 119950 w 181323"/>
              <a:gd name="csY33" fmla="*/ 259496 h 403282"/>
              <a:gd name="csX34" fmla="*/ 98286 w 181323"/>
              <a:gd name="csY34" fmla="*/ 163566 h 40328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</a:cxnLst>
            <a:rect l="l" t="t" r="r" b="b"/>
            <a:pathLst>
              <a:path w="181323" h="403282">
                <a:moveTo>
                  <a:pt x="7554" y="172079"/>
                </a:moveTo>
                <a:cubicBezTo>
                  <a:pt x="8325" y="157451"/>
                  <a:pt x="9408" y="144055"/>
                  <a:pt x="9716" y="130641"/>
                </a:cubicBezTo>
                <a:cubicBezTo>
                  <a:pt x="9846" y="125037"/>
                  <a:pt x="7695" y="119399"/>
                  <a:pt x="7663" y="113770"/>
                </a:cubicBezTo>
                <a:cubicBezTo>
                  <a:pt x="7461" y="78569"/>
                  <a:pt x="7554" y="43367"/>
                  <a:pt x="7598" y="8165"/>
                </a:cubicBezTo>
                <a:cubicBezTo>
                  <a:pt x="7600" y="6167"/>
                  <a:pt x="8022" y="4170"/>
                  <a:pt x="8353" y="1259"/>
                </a:cubicBezTo>
                <a:cubicBezTo>
                  <a:pt x="11568" y="842"/>
                  <a:pt x="14666" y="109"/>
                  <a:pt x="17767" y="93"/>
                </a:cubicBezTo>
                <a:cubicBezTo>
                  <a:pt x="37824" y="-17"/>
                  <a:pt x="57881" y="-27"/>
                  <a:pt x="77938" y="50"/>
                </a:cubicBezTo>
                <a:cubicBezTo>
                  <a:pt x="89177" y="93"/>
                  <a:pt x="90068" y="113"/>
                  <a:pt x="91081" y="10962"/>
                </a:cubicBezTo>
                <a:cubicBezTo>
                  <a:pt x="92631" y="27565"/>
                  <a:pt x="92329" y="44335"/>
                  <a:pt x="93691" y="60963"/>
                </a:cubicBezTo>
                <a:cubicBezTo>
                  <a:pt x="95348" y="81184"/>
                  <a:pt x="97732" y="101353"/>
                  <a:pt x="100157" y="121501"/>
                </a:cubicBezTo>
                <a:cubicBezTo>
                  <a:pt x="101660" y="133990"/>
                  <a:pt x="104521" y="146343"/>
                  <a:pt x="105540" y="158857"/>
                </a:cubicBezTo>
                <a:cubicBezTo>
                  <a:pt x="107671" y="184993"/>
                  <a:pt x="114147" y="210249"/>
                  <a:pt x="121116" y="235269"/>
                </a:cubicBezTo>
                <a:cubicBezTo>
                  <a:pt x="130731" y="269786"/>
                  <a:pt x="141516" y="304004"/>
                  <a:pt x="152823" y="338010"/>
                </a:cubicBezTo>
                <a:cubicBezTo>
                  <a:pt x="157418" y="351828"/>
                  <a:pt x="164524" y="364837"/>
                  <a:pt x="170877" y="378027"/>
                </a:cubicBezTo>
                <a:cubicBezTo>
                  <a:pt x="172587" y="381579"/>
                  <a:pt x="175985" y="384280"/>
                  <a:pt x="178114" y="387682"/>
                </a:cubicBezTo>
                <a:cubicBezTo>
                  <a:pt x="179669" y="390165"/>
                  <a:pt x="181977" y="393824"/>
                  <a:pt x="181150" y="395764"/>
                </a:cubicBezTo>
                <a:cubicBezTo>
                  <a:pt x="179907" y="398676"/>
                  <a:pt x="176540" y="401705"/>
                  <a:pt x="173480" y="402568"/>
                </a:cubicBezTo>
                <a:cubicBezTo>
                  <a:pt x="169302" y="403746"/>
                  <a:pt x="164551" y="403164"/>
                  <a:pt x="160067" y="402936"/>
                </a:cubicBezTo>
                <a:cubicBezTo>
                  <a:pt x="147066" y="402274"/>
                  <a:pt x="134081" y="400859"/>
                  <a:pt x="121081" y="400766"/>
                </a:cubicBezTo>
                <a:cubicBezTo>
                  <a:pt x="104362" y="400647"/>
                  <a:pt x="87638" y="401607"/>
                  <a:pt x="70912" y="401955"/>
                </a:cubicBezTo>
                <a:cubicBezTo>
                  <a:pt x="49820" y="402394"/>
                  <a:pt x="28725" y="402712"/>
                  <a:pt x="7630" y="402999"/>
                </a:cubicBezTo>
                <a:cubicBezTo>
                  <a:pt x="5684" y="403026"/>
                  <a:pt x="3731" y="402452"/>
                  <a:pt x="710" y="401995"/>
                </a:cubicBezTo>
                <a:cubicBezTo>
                  <a:pt x="219" y="386620"/>
                  <a:pt x="-871" y="371682"/>
                  <a:pt x="1308" y="356708"/>
                </a:cubicBezTo>
                <a:cubicBezTo>
                  <a:pt x="1659" y="354298"/>
                  <a:pt x="2471" y="351920"/>
                  <a:pt x="2554" y="349510"/>
                </a:cubicBezTo>
                <a:cubicBezTo>
                  <a:pt x="3459" y="323419"/>
                  <a:pt x="4345" y="297328"/>
                  <a:pt x="5071" y="271231"/>
                </a:cubicBezTo>
                <a:cubicBezTo>
                  <a:pt x="5979" y="238591"/>
                  <a:pt x="6733" y="205947"/>
                  <a:pt x="7554" y="172079"/>
                </a:cubicBezTo>
                <a:moveTo>
                  <a:pt x="98286" y="163566"/>
                </a:moveTo>
                <a:cubicBezTo>
                  <a:pt x="89288" y="112116"/>
                  <a:pt x="86355" y="60033"/>
                  <a:pt x="83497" y="8289"/>
                </a:cubicBezTo>
                <a:cubicBezTo>
                  <a:pt x="65606" y="5845"/>
                  <a:pt x="24110" y="6470"/>
                  <a:pt x="15161" y="9148"/>
                </a:cubicBezTo>
                <a:cubicBezTo>
                  <a:pt x="15161" y="52045"/>
                  <a:pt x="15527" y="94996"/>
                  <a:pt x="15058" y="137939"/>
                </a:cubicBezTo>
                <a:cubicBezTo>
                  <a:pt x="14587" y="180919"/>
                  <a:pt x="13597" y="223900"/>
                  <a:pt x="12252" y="266862"/>
                </a:cubicBezTo>
                <a:cubicBezTo>
                  <a:pt x="10912" y="309638"/>
                  <a:pt x="8849" y="352391"/>
                  <a:pt x="7068" y="395996"/>
                </a:cubicBezTo>
                <a:cubicBezTo>
                  <a:pt x="62774" y="395996"/>
                  <a:pt x="116821" y="395996"/>
                  <a:pt x="171647" y="395996"/>
                </a:cubicBezTo>
                <a:cubicBezTo>
                  <a:pt x="148550" y="352016"/>
                  <a:pt x="132566" y="306307"/>
                  <a:pt x="119950" y="259496"/>
                </a:cubicBezTo>
                <a:cubicBezTo>
                  <a:pt x="111608" y="228543"/>
                  <a:pt x="105493" y="196989"/>
                  <a:pt x="98286" y="163566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51" name="Free-form: Shape 250">
            <a:extLst>
              <a:ext uri="{FF2B5EF4-FFF2-40B4-BE49-F238E27FC236}">
                <a16:creationId xmlns:a16="http://schemas.microsoft.com/office/drawing/2014/main" id="{10DEACD8-5FAD-6A11-D333-79CC9B895690}"/>
              </a:ext>
            </a:extLst>
          </p:cNvPr>
          <p:cNvSpPr/>
          <p:nvPr/>
        </p:nvSpPr>
        <p:spPr>
          <a:xfrm>
            <a:off x="1309938" y="2788474"/>
            <a:ext cx="209255" cy="47389"/>
          </a:xfrm>
          <a:custGeom>
            <a:avLst/>
            <a:gdLst>
              <a:gd name="csX0" fmla="*/ 297312 w 337008"/>
              <a:gd name="csY0" fmla="*/ 59188 h 76321"/>
              <a:gd name="csX1" fmla="*/ 241991 w 337008"/>
              <a:gd name="csY1" fmla="*/ 66577 h 76321"/>
              <a:gd name="csX2" fmla="*/ 185243 w 337008"/>
              <a:gd name="csY2" fmla="*/ 73717 h 76321"/>
              <a:gd name="csX3" fmla="*/ 182797 w 337008"/>
              <a:gd name="csY3" fmla="*/ 73873 h 76321"/>
              <a:gd name="csX4" fmla="*/ 19866 w 337008"/>
              <a:gd name="csY4" fmla="*/ 76320 h 76321"/>
              <a:gd name="csX5" fmla="*/ 12650 w 337008"/>
              <a:gd name="csY5" fmla="*/ 75242 h 76321"/>
              <a:gd name="csX6" fmla="*/ 19 w 337008"/>
              <a:gd name="csY6" fmla="*/ 59006 h 76321"/>
              <a:gd name="csX7" fmla="*/ 11 w 337008"/>
              <a:gd name="csY7" fmla="*/ 18266 h 76321"/>
              <a:gd name="csX8" fmla="*/ 13547 w 337008"/>
              <a:gd name="csY8" fmla="*/ 17427 h 76321"/>
              <a:gd name="csX9" fmla="*/ 109279 w 337008"/>
              <a:gd name="csY9" fmla="*/ 17200 h 76321"/>
              <a:gd name="csX10" fmla="*/ 173714 w 337008"/>
              <a:gd name="csY10" fmla="*/ 12645 h 76321"/>
              <a:gd name="csX11" fmla="*/ 205309 w 337008"/>
              <a:gd name="csY11" fmla="*/ 10096 h 76321"/>
              <a:gd name="csX12" fmla="*/ 245485 w 337008"/>
              <a:gd name="csY12" fmla="*/ 7449 h 76321"/>
              <a:gd name="csX13" fmla="*/ 288955 w 337008"/>
              <a:gd name="csY13" fmla="*/ 1844 h 76321"/>
              <a:gd name="csX14" fmla="*/ 307132 w 337008"/>
              <a:gd name="csY14" fmla="*/ 164 h 76321"/>
              <a:gd name="csX15" fmla="*/ 324030 w 337008"/>
              <a:gd name="csY15" fmla="*/ 9691 h 76321"/>
              <a:gd name="csX16" fmla="*/ 336033 w 337008"/>
              <a:gd name="csY16" fmla="*/ 39107 h 76321"/>
              <a:gd name="csX17" fmla="*/ 328060 w 337008"/>
              <a:gd name="csY17" fmla="*/ 52413 h 76321"/>
              <a:gd name="csX18" fmla="*/ 297312 w 337008"/>
              <a:gd name="csY18" fmla="*/ 59188 h 76321"/>
              <a:gd name="csX19" fmla="*/ 207688 w 337008"/>
              <a:gd name="csY19" fmla="*/ 64284 h 76321"/>
              <a:gd name="csX20" fmla="*/ 330050 w 337008"/>
              <a:gd name="csY20" fmla="*/ 45606 h 76321"/>
              <a:gd name="csX21" fmla="*/ 317356 w 337008"/>
              <a:gd name="csY21" fmla="*/ 11297 h 76321"/>
              <a:gd name="csX22" fmla="*/ 304170 w 337008"/>
              <a:gd name="csY22" fmla="*/ 5545 h 76321"/>
              <a:gd name="csX23" fmla="*/ 273851 w 337008"/>
              <a:gd name="csY23" fmla="*/ 10014 h 76321"/>
              <a:gd name="csX24" fmla="*/ 163935 w 337008"/>
              <a:gd name="csY24" fmla="*/ 20274 h 76321"/>
              <a:gd name="csX25" fmla="*/ 17973 w 337008"/>
              <a:gd name="csY25" fmla="*/ 22950 h 76321"/>
              <a:gd name="csX26" fmla="*/ 7372 w 337008"/>
              <a:gd name="csY26" fmla="*/ 23601 h 76321"/>
              <a:gd name="csX27" fmla="*/ 7372 w 337008"/>
              <a:gd name="csY27" fmla="*/ 67898 h 76321"/>
              <a:gd name="csX28" fmla="*/ 207688 w 337008"/>
              <a:gd name="csY28" fmla="*/ 64284 h 7632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</a:cxnLst>
            <a:rect l="l" t="t" r="r" b="b"/>
            <a:pathLst>
              <a:path w="337008" h="76321">
                <a:moveTo>
                  <a:pt x="297312" y="59188"/>
                </a:moveTo>
                <a:cubicBezTo>
                  <a:pt x="278167" y="61672"/>
                  <a:pt x="260091" y="64212"/>
                  <a:pt x="241991" y="66577"/>
                </a:cubicBezTo>
                <a:cubicBezTo>
                  <a:pt x="223087" y="69047"/>
                  <a:pt x="204161" y="71350"/>
                  <a:pt x="185243" y="73717"/>
                </a:cubicBezTo>
                <a:cubicBezTo>
                  <a:pt x="184433" y="73818"/>
                  <a:pt x="183613" y="73861"/>
                  <a:pt x="182797" y="73873"/>
                </a:cubicBezTo>
                <a:cubicBezTo>
                  <a:pt x="128487" y="74710"/>
                  <a:pt x="74176" y="75556"/>
                  <a:pt x="19866" y="76320"/>
                </a:cubicBezTo>
                <a:cubicBezTo>
                  <a:pt x="17463" y="76354"/>
                  <a:pt x="15013" y="75797"/>
                  <a:pt x="12650" y="75242"/>
                </a:cubicBezTo>
                <a:cubicBezTo>
                  <a:pt x="80" y="72288"/>
                  <a:pt x="58" y="72258"/>
                  <a:pt x="19" y="59006"/>
                </a:cubicBezTo>
                <a:cubicBezTo>
                  <a:pt x="-19" y="45942"/>
                  <a:pt x="11" y="32877"/>
                  <a:pt x="11" y="18266"/>
                </a:cubicBezTo>
                <a:cubicBezTo>
                  <a:pt x="4987" y="17944"/>
                  <a:pt x="9266" y="17435"/>
                  <a:pt x="13547" y="17427"/>
                </a:cubicBezTo>
                <a:cubicBezTo>
                  <a:pt x="45459" y="17362"/>
                  <a:pt x="77385" y="17975"/>
                  <a:pt x="109279" y="17200"/>
                </a:cubicBezTo>
                <a:cubicBezTo>
                  <a:pt x="130782" y="16677"/>
                  <a:pt x="152239" y="14265"/>
                  <a:pt x="173714" y="12645"/>
                </a:cubicBezTo>
                <a:cubicBezTo>
                  <a:pt x="184250" y="11850"/>
                  <a:pt x="194770" y="10836"/>
                  <a:pt x="205309" y="10096"/>
                </a:cubicBezTo>
                <a:cubicBezTo>
                  <a:pt x="218698" y="9156"/>
                  <a:pt x="232139" y="8783"/>
                  <a:pt x="245485" y="7449"/>
                </a:cubicBezTo>
                <a:cubicBezTo>
                  <a:pt x="260017" y="5997"/>
                  <a:pt x="274456" y="3648"/>
                  <a:pt x="288955" y="1844"/>
                </a:cubicBezTo>
                <a:cubicBezTo>
                  <a:pt x="294991" y="1094"/>
                  <a:pt x="301100" y="930"/>
                  <a:pt x="307132" y="164"/>
                </a:cubicBezTo>
                <a:cubicBezTo>
                  <a:pt x="315239" y="-865"/>
                  <a:pt x="320841" y="3022"/>
                  <a:pt x="324030" y="9691"/>
                </a:cubicBezTo>
                <a:cubicBezTo>
                  <a:pt x="328594" y="19236"/>
                  <a:pt x="332712" y="29070"/>
                  <a:pt x="336033" y="39107"/>
                </a:cubicBezTo>
                <a:cubicBezTo>
                  <a:pt x="338557" y="46735"/>
                  <a:pt x="336278" y="50185"/>
                  <a:pt x="328060" y="52413"/>
                </a:cubicBezTo>
                <a:cubicBezTo>
                  <a:pt x="318273" y="55068"/>
                  <a:pt x="308277" y="56950"/>
                  <a:pt x="297312" y="59188"/>
                </a:cubicBezTo>
                <a:moveTo>
                  <a:pt x="207688" y="64284"/>
                </a:moveTo>
                <a:cubicBezTo>
                  <a:pt x="248681" y="60632"/>
                  <a:pt x="289317" y="54812"/>
                  <a:pt x="330050" y="45606"/>
                </a:cubicBezTo>
                <a:cubicBezTo>
                  <a:pt x="327603" y="32443"/>
                  <a:pt x="323777" y="21532"/>
                  <a:pt x="317356" y="11297"/>
                </a:cubicBezTo>
                <a:cubicBezTo>
                  <a:pt x="313908" y="5803"/>
                  <a:pt x="310145" y="4465"/>
                  <a:pt x="304170" y="5545"/>
                </a:cubicBezTo>
                <a:cubicBezTo>
                  <a:pt x="294121" y="7361"/>
                  <a:pt x="284007" y="9006"/>
                  <a:pt x="273851" y="10014"/>
                </a:cubicBezTo>
                <a:cubicBezTo>
                  <a:pt x="237233" y="13650"/>
                  <a:pt x="200632" y="17661"/>
                  <a:pt x="163935" y="20274"/>
                </a:cubicBezTo>
                <a:cubicBezTo>
                  <a:pt x="115360" y="23734"/>
                  <a:pt x="66701" y="25937"/>
                  <a:pt x="17973" y="22950"/>
                </a:cubicBezTo>
                <a:cubicBezTo>
                  <a:pt x="14492" y="22737"/>
                  <a:pt x="10959" y="23361"/>
                  <a:pt x="7372" y="23601"/>
                </a:cubicBezTo>
                <a:cubicBezTo>
                  <a:pt x="7372" y="38609"/>
                  <a:pt x="7372" y="52361"/>
                  <a:pt x="7372" y="67898"/>
                </a:cubicBezTo>
                <a:cubicBezTo>
                  <a:pt x="74001" y="69806"/>
                  <a:pt x="139746" y="71025"/>
                  <a:pt x="207688" y="64284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52" name="Free-form: Shape 251">
            <a:extLst>
              <a:ext uri="{FF2B5EF4-FFF2-40B4-BE49-F238E27FC236}">
                <a16:creationId xmlns:a16="http://schemas.microsoft.com/office/drawing/2014/main" id="{F6794688-EBA4-1366-7AAC-461681DAB8F7}"/>
              </a:ext>
            </a:extLst>
          </p:cNvPr>
          <p:cNvSpPr/>
          <p:nvPr/>
        </p:nvSpPr>
        <p:spPr>
          <a:xfrm>
            <a:off x="1313671" y="2642020"/>
            <a:ext cx="188426" cy="132688"/>
          </a:xfrm>
          <a:custGeom>
            <a:avLst/>
            <a:gdLst>
              <a:gd name="csX0" fmla="*/ 14160 w 303463"/>
              <a:gd name="csY0" fmla="*/ 7889 h 213695"/>
              <a:gd name="csX1" fmla="*/ 195033 w 303463"/>
              <a:gd name="csY1" fmla="*/ 0 h 213695"/>
              <a:gd name="csX2" fmla="*/ 197208 w 303463"/>
              <a:gd name="csY2" fmla="*/ 5635 h 213695"/>
              <a:gd name="csX3" fmla="*/ 227014 w 303463"/>
              <a:gd name="csY3" fmla="*/ 60660 h 213695"/>
              <a:gd name="csX4" fmla="*/ 265823 w 303463"/>
              <a:gd name="csY4" fmla="*/ 98217 h 213695"/>
              <a:gd name="csX5" fmla="*/ 303210 w 303463"/>
              <a:gd name="csY5" fmla="*/ 180358 h 213695"/>
              <a:gd name="csX6" fmla="*/ 303282 w 303463"/>
              <a:gd name="csY6" fmla="*/ 193964 h 213695"/>
              <a:gd name="csX7" fmla="*/ 4971 w 303463"/>
              <a:gd name="csY7" fmla="*/ 213017 h 213695"/>
              <a:gd name="csX8" fmla="*/ 5093 w 303463"/>
              <a:gd name="csY8" fmla="*/ 173484 h 213695"/>
              <a:gd name="csX9" fmla="*/ 4767 w 303463"/>
              <a:gd name="csY9" fmla="*/ 54607 h 213695"/>
              <a:gd name="csX10" fmla="*/ 0 w 303463"/>
              <a:gd name="csY10" fmla="*/ 7887 h 213695"/>
              <a:gd name="csX11" fmla="*/ 14160 w 303463"/>
              <a:gd name="csY11" fmla="*/ 7889 h 21369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303463" h="213695">
                <a:moveTo>
                  <a:pt x="14160" y="7889"/>
                </a:moveTo>
                <a:cubicBezTo>
                  <a:pt x="75371" y="8627"/>
                  <a:pt x="135292" y="5744"/>
                  <a:pt x="195033" y="0"/>
                </a:cubicBezTo>
                <a:cubicBezTo>
                  <a:pt x="196084" y="2662"/>
                  <a:pt x="196986" y="4099"/>
                  <a:pt x="197208" y="5635"/>
                </a:cubicBezTo>
                <a:cubicBezTo>
                  <a:pt x="200391" y="27650"/>
                  <a:pt x="211307" y="45450"/>
                  <a:pt x="227014" y="60660"/>
                </a:cubicBezTo>
                <a:cubicBezTo>
                  <a:pt x="239947" y="73182"/>
                  <a:pt x="253006" y="85577"/>
                  <a:pt x="265823" y="98217"/>
                </a:cubicBezTo>
                <a:cubicBezTo>
                  <a:pt x="288727" y="120806"/>
                  <a:pt x="299071" y="149215"/>
                  <a:pt x="303210" y="180358"/>
                </a:cubicBezTo>
                <a:cubicBezTo>
                  <a:pt x="303735" y="184317"/>
                  <a:pt x="303282" y="188405"/>
                  <a:pt x="303282" y="193964"/>
                </a:cubicBezTo>
                <a:cubicBezTo>
                  <a:pt x="204065" y="208804"/>
                  <a:pt x="105022" y="216044"/>
                  <a:pt x="4971" y="213017"/>
                </a:cubicBezTo>
                <a:cubicBezTo>
                  <a:pt x="4971" y="199268"/>
                  <a:pt x="4314" y="186332"/>
                  <a:pt x="5093" y="173484"/>
                </a:cubicBezTo>
                <a:cubicBezTo>
                  <a:pt x="7497" y="133835"/>
                  <a:pt x="8211" y="94216"/>
                  <a:pt x="4767" y="54607"/>
                </a:cubicBezTo>
                <a:cubicBezTo>
                  <a:pt x="3464" y="39611"/>
                  <a:pt x="1725" y="24653"/>
                  <a:pt x="0" y="7887"/>
                </a:cubicBezTo>
                <a:cubicBezTo>
                  <a:pt x="4390" y="7887"/>
                  <a:pt x="8696" y="7887"/>
                  <a:pt x="14160" y="7889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53" name="Free-form: Shape 252">
            <a:extLst>
              <a:ext uri="{FF2B5EF4-FFF2-40B4-BE49-F238E27FC236}">
                <a16:creationId xmlns:a16="http://schemas.microsoft.com/office/drawing/2014/main" id="{B58332B6-946B-FD8B-35B9-DEA6ED0947AC}"/>
              </a:ext>
            </a:extLst>
          </p:cNvPr>
          <p:cNvSpPr/>
          <p:nvPr/>
        </p:nvSpPr>
        <p:spPr>
          <a:xfrm>
            <a:off x="1279909" y="2112264"/>
            <a:ext cx="129814" cy="126299"/>
          </a:xfrm>
          <a:custGeom>
            <a:avLst/>
            <a:gdLst>
              <a:gd name="csX0" fmla="*/ 10475 w 209067"/>
              <a:gd name="csY0" fmla="*/ 41718 h 203406"/>
              <a:gd name="csX1" fmla="*/ 100250 w 209067"/>
              <a:gd name="csY1" fmla="*/ 1265 h 203406"/>
              <a:gd name="csX2" fmla="*/ 206681 w 209067"/>
              <a:gd name="csY2" fmla="*/ 98526 h 203406"/>
              <a:gd name="csX3" fmla="*/ 134647 w 209067"/>
              <a:gd name="csY3" fmla="*/ 202431 h 203406"/>
              <a:gd name="csX4" fmla="*/ 40986 w 209067"/>
              <a:gd name="csY4" fmla="*/ 171438 h 203406"/>
              <a:gd name="csX5" fmla="*/ 143 w 209067"/>
              <a:gd name="csY5" fmla="*/ 85158 h 203406"/>
              <a:gd name="csX6" fmla="*/ 10475 w 209067"/>
              <a:gd name="csY6" fmla="*/ 41718 h 20340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</a:cxnLst>
            <a:rect l="l" t="t" r="r" b="b"/>
            <a:pathLst>
              <a:path w="209067" h="203406">
                <a:moveTo>
                  <a:pt x="10475" y="41718"/>
                </a:moveTo>
                <a:cubicBezTo>
                  <a:pt x="31065" y="6021"/>
                  <a:pt x="63171" y="-3865"/>
                  <a:pt x="100250" y="1265"/>
                </a:cubicBezTo>
                <a:cubicBezTo>
                  <a:pt x="157191" y="9144"/>
                  <a:pt x="196951" y="51394"/>
                  <a:pt x="206681" y="98526"/>
                </a:cubicBezTo>
                <a:cubicBezTo>
                  <a:pt x="219504" y="160635"/>
                  <a:pt x="178523" y="196657"/>
                  <a:pt x="134647" y="202431"/>
                </a:cubicBezTo>
                <a:cubicBezTo>
                  <a:pt x="98365" y="207204"/>
                  <a:pt x="68101" y="194086"/>
                  <a:pt x="40986" y="171438"/>
                </a:cubicBezTo>
                <a:cubicBezTo>
                  <a:pt x="14115" y="148994"/>
                  <a:pt x="2457" y="119007"/>
                  <a:pt x="143" y="85158"/>
                </a:cubicBezTo>
                <a:cubicBezTo>
                  <a:pt x="-869" y="70364"/>
                  <a:pt x="3586" y="56015"/>
                  <a:pt x="10475" y="41718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54" name="Free-form: Shape 253">
            <a:extLst>
              <a:ext uri="{FF2B5EF4-FFF2-40B4-BE49-F238E27FC236}">
                <a16:creationId xmlns:a16="http://schemas.microsoft.com/office/drawing/2014/main" id="{36FCAFCB-3752-E4FE-B473-AE162731FA69}"/>
              </a:ext>
            </a:extLst>
          </p:cNvPr>
          <p:cNvSpPr/>
          <p:nvPr/>
        </p:nvSpPr>
        <p:spPr>
          <a:xfrm>
            <a:off x="1316168" y="2325302"/>
            <a:ext cx="97564" cy="25665"/>
          </a:xfrm>
          <a:custGeom>
            <a:avLst/>
            <a:gdLst>
              <a:gd name="csX0" fmla="*/ 69625 w 157129"/>
              <a:gd name="csY0" fmla="*/ 0 h 41334"/>
              <a:gd name="csX1" fmla="*/ 119596 w 157129"/>
              <a:gd name="csY1" fmla="*/ 1945 h 41334"/>
              <a:gd name="csX2" fmla="*/ 150973 w 157129"/>
              <a:gd name="csY2" fmla="*/ 14889 h 41334"/>
              <a:gd name="csX3" fmla="*/ 151351 w 157129"/>
              <a:gd name="csY3" fmla="*/ 34058 h 41334"/>
              <a:gd name="csX4" fmla="*/ 133492 w 157129"/>
              <a:gd name="csY4" fmla="*/ 40697 h 41334"/>
              <a:gd name="csX5" fmla="*/ 106556 w 157129"/>
              <a:gd name="csY5" fmla="*/ 41092 h 41334"/>
              <a:gd name="csX6" fmla="*/ 13373 w 157129"/>
              <a:gd name="csY6" fmla="*/ 40708 h 41334"/>
              <a:gd name="csX7" fmla="*/ 1312 w 157129"/>
              <a:gd name="csY7" fmla="*/ 40191 h 41334"/>
              <a:gd name="csX8" fmla="*/ 3367 w 157129"/>
              <a:gd name="csY8" fmla="*/ 13162 h 41334"/>
              <a:gd name="csX9" fmla="*/ 20752 w 157129"/>
              <a:gd name="csY9" fmla="*/ 1879 h 41334"/>
              <a:gd name="csX10" fmla="*/ 52625 w 157129"/>
              <a:gd name="csY10" fmla="*/ 1332 h 41334"/>
              <a:gd name="csX11" fmla="*/ 69625 w 157129"/>
              <a:gd name="csY11" fmla="*/ 0 h 4133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157129" h="41334">
                <a:moveTo>
                  <a:pt x="69625" y="0"/>
                </a:moveTo>
                <a:cubicBezTo>
                  <a:pt x="87054" y="491"/>
                  <a:pt x="103407" y="373"/>
                  <a:pt x="119596" y="1945"/>
                </a:cubicBezTo>
                <a:cubicBezTo>
                  <a:pt x="131020" y="3055"/>
                  <a:pt x="141713" y="7767"/>
                  <a:pt x="150973" y="14889"/>
                </a:cubicBezTo>
                <a:cubicBezTo>
                  <a:pt x="158820" y="20925"/>
                  <a:pt x="159403" y="28236"/>
                  <a:pt x="151351" y="34058"/>
                </a:cubicBezTo>
                <a:cubicBezTo>
                  <a:pt x="146355" y="37671"/>
                  <a:pt x="139678" y="39910"/>
                  <a:pt x="133492" y="40697"/>
                </a:cubicBezTo>
                <a:cubicBezTo>
                  <a:pt x="124640" y="41824"/>
                  <a:pt x="115547" y="41120"/>
                  <a:pt x="106556" y="41092"/>
                </a:cubicBezTo>
                <a:cubicBezTo>
                  <a:pt x="75495" y="40996"/>
                  <a:pt x="44434" y="40872"/>
                  <a:pt x="13373" y="40708"/>
                </a:cubicBezTo>
                <a:cubicBezTo>
                  <a:pt x="9391" y="40687"/>
                  <a:pt x="5410" y="40374"/>
                  <a:pt x="1312" y="40191"/>
                </a:cubicBezTo>
                <a:cubicBezTo>
                  <a:pt x="-1416" y="30384"/>
                  <a:pt x="523" y="21512"/>
                  <a:pt x="3367" y="13162"/>
                </a:cubicBezTo>
                <a:cubicBezTo>
                  <a:pt x="5963" y="5538"/>
                  <a:pt x="12701" y="2077"/>
                  <a:pt x="20752" y="1879"/>
                </a:cubicBezTo>
                <a:cubicBezTo>
                  <a:pt x="31375" y="1617"/>
                  <a:pt x="42004" y="1647"/>
                  <a:pt x="52625" y="1332"/>
                </a:cubicBezTo>
                <a:cubicBezTo>
                  <a:pt x="57918" y="1176"/>
                  <a:pt x="63195" y="535"/>
                  <a:pt x="69625" y="0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55" name="Free-form: Shape 254">
            <a:extLst>
              <a:ext uri="{FF2B5EF4-FFF2-40B4-BE49-F238E27FC236}">
                <a16:creationId xmlns:a16="http://schemas.microsoft.com/office/drawing/2014/main" id="{7D4C9959-6492-B80D-71F2-6196A9EEB879}"/>
              </a:ext>
            </a:extLst>
          </p:cNvPr>
          <p:cNvSpPr/>
          <p:nvPr/>
        </p:nvSpPr>
        <p:spPr>
          <a:xfrm>
            <a:off x="1312695" y="2376189"/>
            <a:ext cx="102191" cy="241686"/>
          </a:xfrm>
          <a:custGeom>
            <a:avLst/>
            <a:gdLst>
              <a:gd name="csX0" fmla="*/ 91265 w 164579"/>
              <a:gd name="csY0" fmla="*/ 157878 h 389238"/>
              <a:gd name="csX1" fmla="*/ 112882 w 164579"/>
              <a:gd name="csY1" fmla="*/ 252738 h 389238"/>
              <a:gd name="csX2" fmla="*/ 164579 w 164579"/>
              <a:gd name="csY2" fmla="*/ 389238 h 389238"/>
              <a:gd name="csX3" fmla="*/ 0 w 164579"/>
              <a:gd name="csY3" fmla="*/ 389238 h 389238"/>
              <a:gd name="csX4" fmla="*/ 5184 w 164579"/>
              <a:gd name="csY4" fmla="*/ 260105 h 389238"/>
              <a:gd name="csX5" fmla="*/ 7989 w 164579"/>
              <a:gd name="csY5" fmla="*/ 131182 h 389238"/>
              <a:gd name="csX6" fmla="*/ 8093 w 164579"/>
              <a:gd name="csY6" fmla="*/ 2390 h 389238"/>
              <a:gd name="csX7" fmla="*/ 76429 w 164579"/>
              <a:gd name="csY7" fmla="*/ 1531 h 389238"/>
              <a:gd name="csX8" fmla="*/ 91265 w 164579"/>
              <a:gd name="csY8" fmla="*/ 157878 h 38923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</a:cxnLst>
            <a:rect l="l" t="t" r="r" b="b"/>
            <a:pathLst>
              <a:path w="164579" h="389238">
                <a:moveTo>
                  <a:pt x="91265" y="157878"/>
                </a:moveTo>
                <a:cubicBezTo>
                  <a:pt x="98425" y="190232"/>
                  <a:pt x="104539" y="221785"/>
                  <a:pt x="112882" y="252738"/>
                </a:cubicBezTo>
                <a:cubicBezTo>
                  <a:pt x="125498" y="299549"/>
                  <a:pt x="141482" y="345258"/>
                  <a:pt x="164579" y="389238"/>
                </a:cubicBezTo>
                <a:cubicBezTo>
                  <a:pt x="109753" y="389238"/>
                  <a:pt x="55706" y="389238"/>
                  <a:pt x="0" y="389238"/>
                </a:cubicBezTo>
                <a:cubicBezTo>
                  <a:pt x="1781" y="345633"/>
                  <a:pt x="3844" y="302880"/>
                  <a:pt x="5184" y="260105"/>
                </a:cubicBezTo>
                <a:cubicBezTo>
                  <a:pt x="6529" y="217143"/>
                  <a:pt x="7519" y="174162"/>
                  <a:pt x="7989" y="131182"/>
                </a:cubicBezTo>
                <a:cubicBezTo>
                  <a:pt x="8459" y="88239"/>
                  <a:pt x="8093" y="45287"/>
                  <a:pt x="8093" y="2390"/>
                </a:cubicBezTo>
                <a:cubicBezTo>
                  <a:pt x="17041" y="-288"/>
                  <a:pt x="58537" y="-913"/>
                  <a:pt x="76429" y="1531"/>
                </a:cubicBezTo>
                <a:cubicBezTo>
                  <a:pt x="79287" y="53276"/>
                  <a:pt x="82219" y="105359"/>
                  <a:pt x="91265" y="157878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56" name="Free-form: Shape 255">
            <a:extLst>
              <a:ext uri="{FF2B5EF4-FFF2-40B4-BE49-F238E27FC236}">
                <a16:creationId xmlns:a16="http://schemas.microsoft.com/office/drawing/2014/main" id="{B1A457DA-B5E7-5D32-BD16-F30160A96FC0}"/>
              </a:ext>
            </a:extLst>
          </p:cNvPr>
          <p:cNvSpPr/>
          <p:nvPr/>
        </p:nvSpPr>
        <p:spPr>
          <a:xfrm>
            <a:off x="1314514" y="2791702"/>
            <a:ext cx="200357" cy="39865"/>
          </a:xfrm>
          <a:custGeom>
            <a:avLst/>
            <a:gdLst>
              <a:gd name="csX0" fmla="*/ 199184 w 322677"/>
              <a:gd name="csY0" fmla="*/ 59136 h 64202"/>
              <a:gd name="csX1" fmla="*/ 0 w 322677"/>
              <a:gd name="csY1" fmla="*/ 62697 h 64202"/>
              <a:gd name="csX2" fmla="*/ 0 w 322677"/>
              <a:gd name="csY2" fmla="*/ 18400 h 64202"/>
              <a:gd name="csX3" fmla="*/ 10601 w 322677"/>
              <a:gd name="csY3" fmla="*/ 17750 h 64202"/>
              <a:gd name="csX4" fmla="*/ 156563 w 322677"/>
              <a:gd name="csY4" fmla="*/ 15074 h 64202"/>
              <a:gd name="csX5" fmla="*/ 266479 w 322677"/>
              <a:gd name="csY5" fmla="*/ 4814 h 64202"/>
              <a:gd name="csX6" fmla="*/ 296798 w 322677"/>
              <a:gd name="csY6" fmla="*/ 344 h 64202"/>
              <a:gd name="csX7" fmla="*/ 309983 w 322677"/>
              <a:gd name="csY7" fmla="*/ 6097 h 64202"/>
              <a:gd name="csX8" fmla="*/ 322678 w 322677"/>
              <a:gd name="csY8" fmla="*/ 40406 h 64202"/>
              <a:gd name="csX9" fmla="*/ 199184 w 322677"/>
              <a:gd name="csY9" fmla="*/ 59136 h 6420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322677" h="64202">
                <a:moveTo>
                  <a:pt x="199184" y="59136"/>
                </a:moveTo>
                <a:cubicBezTo>
                  <a:pt x="132374" y="65824"/>
                  <a:pt x="66629" y="64605"/>
                  <a:pt x="0" y="62697"/>
                </a:cubicBezTo>
                <a:cubicBezTo>
                  <a:pt x="0" y="47160"/>
                  <a:pt x="0" y="33409"/>
                  <a:pt x="0" y="18400"/>
                </a:cubicBezTo>
                <a:cubicBezTo>
                  <a:pt x="3587" y="18160"/>
                  <a:pt x="7120" y="17536"/>
                  <a:pt x="10601" y="17750"/>
                </a:cubicBezTo>
                <a:cubicBezTo>
                  <a:pt x="59329" y="20736"/>
                  <a:pt x="107987" y="18533"/>
                  <a:pt x="156563" y="15074"/>
                </a:cubicBezTo>
                <a:cubicBezTo>
                  <a:pt x="193260" y="12461"/>
                  <a:pt x="229860" y="8449"/>
                  <a:pt x="266479" y="4814"/>
                </a:cubicBezTo>
                <a:cubicBezTo>
                  <a:pt x="276635" y="3806"/>
                  <a:pt x="286748" y="2160"/>
                  <a:pt x="296798" y="344"/>
                </a:cubicBezTo>
                <a:cubicBezTo>
                  <a:pt x="302773" y="-735"/>
                  <a:pt x="306536" y="602"/>
                  <a:pt x="309983" y="6097"/>
                </a:cubicBezTo>
                <a:cubicBezTo>
                  <a:pt x="316405" y="16331"/>
                  <a:pt x="320231" y="27243"/>
                  <a:pt x="322678" y="40406"/>
                </a:cubicBezTo>
                <a:cubicBezTo>
                  <a:pt x="281944" y="49611"/>
                  <a:pt x="241309" y="55431"/>
                  <a:pt x="199184" y="59136"/>
                </a:cubicBezTo>
                <a:close/>
              </a:path>
            </a:pathLst>
          </a:custGeom>
          <a:solidFill>
            <a:schemeClr val="bg1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57" name="TextBox 256">
            <a:extLst>
              <a:ext uri="{FF2B5EF4-FFF2-40B4-BE49-F238E27FC236}">
                <a16:creationId xmlns:a16="http://schemas.microsoft.com/office/drawing/2014/main" id="{E0FBCB21-23E3-2AD5-4DA1-B4F553F2E5D9}"/>
              </a:ext>
            </a:extLst>
          </p:cNvPr>
          <p:cNvSpPr txBox="1"/>
          <p:nvPr/>
        </p:nvSpPr>
        <p:spPr>
          <a:xfrm>
            <a:off x="862614" y="3006819"/>
            <a:ext cx="863983" cy="3927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-Chemo</a:t>
            </a:r>
          </a:p>
        </p:txBody>
      </p:sp>
      <p:sp>
        <p:nvSpPr>
          <p:cNvPr id="258" name="TextBox 257">
            <a:extLst>
              <a:ext uri="{FF2B5EF4-FFF2-40B4-BE49-F238E27FC236}">
                <a16:creationId xmlns:a16="http://schemas.microsoft.com/office/drawing/2014/main" id="{3AC5BB89-6C9A-A6CD-7EA8-EA737F7DA609}"/>
              </a:ext>
            </a:extLst>
          </p:cNvPr>
          <p:cNvSpPr txBox="1"/>
          <p:nvPr/>
        </p:nvSpPr>
        <p:spPr>
          <a:xfrm>
            <a:off x="9842804" y="3450532"/>
            <a:ext cx="1710704" cy="3927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AR-T</a:t>
            </a:r>
          </a:p>
        </p:txBody>
      </p:sp>
      <p:sp>
        <p:nvSpPr>
          <p:cNvPr id="259" name="Oval 258">
            <a:extLst>
              <a:ext uri="{FF2B5EF4-FFF2-40B4-BE49-F238E27FC236}">
                <a16:creationId xmlns:a16="http://schemas.microsoft.com/office/drawing/2014/main" id="{951A40E1-05AD-E872-3C92-2BF39DE6DF96}"/>
              </a:ext>
            </a:extLst>
          </p:cNvPr>
          <p:cNvSpPr/>
          <p:nvPr/>
        </p:nvSpPr>
        <p:spPr>
          <a:xfrm>
            <a:off x="10295214" y="3221508"/>
            <a:ext cx="739960" cy="152189"/>
          </a:xfrm>
          <a:prstGeom prst="ellipse">
            <a:avLst/>
          </a:prstGeom>
          <a:solidFill>
            <a:schemeClr val="tx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60" name="Free-form: Shape 259">
            <a:extLst>
              <a:ext uri="{FF2B5EF4-FFF2-40B4-BE49-F238E27FC236}">
                <a16:creationId xmlns:a16="http://schemas.microsoft.com/office/drawing/2014/main" id="{C6634AE6-6BFF-CF6E-6E96-E628CEFAEECE}"/>
              </a:ext>
            </a:extLst>
          </p:cNvPr>
          <p:cNvSpPr/>
          <p:nvPr/>
        </p:nvSpPr>
        <p:spPr>
          <a:xfrm>
            <a:off x="10375178" y="1919931"/>
            <a:ext cx="650203" cy="1414846"/>
          </a:xfrm>
          <a:custGeom>
            <a:avLst/>
            <a:gdLst>
              <a:gd name="csX0" fmla="*/ 466852 w 715223"/>
              <a:gd name="csY0" fmla="*/ 229083 h 1556330"/>
              <a:gd name="csX1" fmla="*/ 462328 w 715223"/>
              <a:gd name="csY1" fmla="*/ 242604 h 1556330"/>
              <a:gd name="csX2" fmla="*/ 496944 w 715223"/>
              <a:gd name="csY2" fmla="*/ 204739 h 1556330"/>
              <a:gd name="csX3" fmla="*/ 534359 w 715223"/>
              <a:gd name="csY3" fmla="*/ 270960 h 1556330"/>
              <a:gd name="csX4" fmla="*/ 540589 w 715223"/>
              <a:gd name="csY4" fmla="*/ 445986 h 1556330"/>
              <a:gd name="csX5" fmla="*/ 509727 w 715223"/>
              <a:gd name="csY5" fmla="*/ 496924 h 1556330"/>
              <a:gd name="csX6" fmla="*/ 505366 w 715223"/>
              <a:gd name="csY6" fmla="*/ 511893 h 1556330"/>
              <a:gd name="csX7" fmla="*/ 501982 w 715223"/>
              <a:gd name="csY7" fmla="*/ 530377 h 1556330"/>
              <a:gd name="csX8" fmla="*/ 505678 w 715223"/>
              <a:gd name="csY8" fmla="*/ 556455 h 1556330"/>
              <a:gd name="csX9" fmla="*/ 526115 w 715223"/>
              <a:gd name="csY9" fmla="*/ 591784 h 1556330"/>
              <a:gd name="csX10" fmla="*/ 541579 w 715223"/>
              <a:gd name="csY10" fmla="*/ 612264 h 1556330"/>
              <a:gd name="csX11" fmla="*/ 569572 w 715223"/>
              <a:gd name="csY11" fmla="*/ 643441 h 1556330"/>
              <a:gd name="csX12" fmla="*/ 555234 w 715223"/>
              <a:gd name="csY12" fmla="*/ 688473 h 1556330"/>
              <a:gd name="csX13" fmla="*/ 513278 w 715223"/>
              <a:gd name="csY13" fmla="*/ 700556 h 1556330"/>
              <a:gd name="csX14" fmla="*/ 488559 w 715223"/>
              <a:gd name="csY14" fmla="*/ 702821 h 1556330"/>
              <a:gd name="csX15" fmla="*/ 488544 w 715223"/>
              <a:gd name="csY15" fmla="*/ 718085 h 1556330"/>
              <a:gd name="csX16" fmla="*/ 526561 w 715223"/>
              <a:gd name="csY16" fmla="*/ 1010212 h 1556330"/>
              <a:gd name="csX17" fmla="*/ 569986 w 715223"/>
              <a:gd name="csY17" fmla="*/ 1153317 h 1556330"/>
              <a:gd name="csX18" fmla="*/ 587389 w 715223"/>
              <a:gd name="csY18" fmla="*/ 1172173 h 1556330"/>
              <a:gd name="csX19" fmla="*/ 606286 w 715223"/>
              <a:gd name="csY19" fmla="*/ 1180891 h 1556330"/>
              <a:gd name="csX20" fmla="*/ 613400 w 715223"/>
              <a:gd name="csY20" fmla="*/ 1204260 h 1556330"/>
              <a:gd name="csX21" fmla="*/ 605350 w 715223"/>
              <a:gd name="csY21" fmla="*/ 1216760 h 1556330"/>
              <a:gd name="csX22" fmla="*/ 600268 w 715223"/>
              <a:gd name="csY22" fmla="*/ 1220273 h 1556330"/>
              <a:gd name="csX23" fmla="*/ 610574 w 715223"/>
              <a:gd name="csY23" fmla="*/ 1258750 h 1556330"/>
              <a:gd name="csX24" fmla="*/ 672371 w 715223"/>
              <a:gd name="csY24" fmla="*/ 1319810 h 1556330"/>
              <a:gd name="csX25" fmla="*/ 675494 w 715223"/>
              <a:gd name="csY25" fmla="*/ 1323366 h 1556330"/>
              <a:gd name="csX26" fmla="*/ 692949 w 715223"/>
              <a:gd name="csY26" fmla="*/ 1396068 h 1556330"/>
              <a:gd name="csX27" fmla="*/ 690628 w 715223"/>
              <a:gd name="csY27" fmla="*/ 1414117 h 1556330"/>
              <a:gd name="csX28" fmla="*/ 695588 w 715223"/>
              <a:gd name="csY28" fmla="*/ 1421035 h 1556330"/>
              <a:gd name="csX29" fmla="*/ 694353 w 715223"/>
              <a:gd name="csY29" fmla="*/ 1425190 h 1556330"/>
              <a:gd name="csX30" fmla="*/ 689106 w 715223"/>
              <a:gd name="csY30" fmla="*/ 1428714 h 1556330"/>
              <a:gd name="csX31" fmla="*/ 695093 w 715223"/>
              <a:gd name="csY31" fmla="*/ 1428433 h 1556330"/>
              <a:gd name="csX32" fmla="*/ 697643 w 715223"/>
              <a:gd name="csY32" fmla="*/ 1432864 h 1556330"/>
              <a:gd name="csX33" fmla="*/ 698207 w 715223"/>
              <a:gd name="csY33" fmla="*/ 1441988 h 1556330"/>
              <a:gd name="csX34" fmla="*/ 715183 w 715223"/>
              <a:gd name="csY34" fmla="*/ 1508752 h 1556330"/>
              <a:gd name="csX35" fmla="*/ 701540 w 715223"/>
              <a:gd name="csY35" fmla="*/ 1526524 h 1556330"/>
              <a:gd name="csX36" fmla="*/ 581715 w 715223"/>
              <a:gd name="csY36" fmla="*/ 1548559 h 1556330"/>
              <a:gd name="csX37" fmla="*/ 522168 w 715223"/>
              <a:gd name="csY37" fmla="*/ 1553543 h 1556330"/>
              <a:gd name="csX38" fmla="*/ 450008 w 715223"/>
              <a:gd name="csY38" fmla="*/ 1556019 h 1556330"/>
              <a:gd name="csX39" fmla="*/ 245169 w 715223"/>
              <a:gd name="csY39" fmla="*/ 1553749 h 1556330"/>
              <a:gd name="csX40" fmla="*/ 221854 w 715223"/>
              <a:gd name="csY40" fmla="*/ 1553306 h 1556330"/>
              <a:gd name="csX41" fmla="*/ 168405 w 715223"/>
              <a:gd name="csY41" fmla="*/ 1548828 h 1556330"/>
              <a:gd name="csX42" fmla="*/ 126970 w 715223"/>
              <a:gd name="csY42" fmla="*/ 1546091 h 1556330"/>
              <a:gd name="csX43" fmla="*/ 104053 w 715223"/>
              <a:gd name="csY43" fmla="*/ 1542912 h 1556330"/>
              <a:gd name="csX44" fmla="*/ 65625 w 715223"/>
              <a:gd name="csY44" fmla="*/ 1536401 h 1556330"/>
              <a:gd name="csX45" fmla="*/ 10909 w 715223"/>
              <a:gd name="csY45" fmla="*/ 1524010 h 1556330"/>
              <a:gd name="csX46" fmla="*/ 8 w 715223"/>
              <a:gd name="csY46" fmla="*/ 1509263 h 1556330"/>
              <a:gd name="csX47" fmla="*/ 21158 w 715223"/>
              <a:gd name="csY47" fmla="*/ 1433611 h 1556330"/>
              <a:gd name="csX48" fmla="*/ 23462 w 715223"/>
              <a:gd name="csY48" fmla="*/ 1418658 h 1556330"/>
              <a:gd name="csX49" fmla="*/ 19643 w 715223"/>
              <a:gd name="csY49" fmla="*/ 1382324 h 1556330"/>
              <a:gd name="csX50" fmla="*/ 49060 w 715223"/>
              <a:gd name="csY50" fmla="*/ 1311832 h 1556330"/>
              <a:gd name="csX51" fmla="*/ 109176 w 715223"/>
              <a:gd name="csY51" fmla="*/ 1254078 h 1556330"/>
              <a:gd name="csX52" fmla="*/ 118319 w 715223"/>
              <a:gd name="csY52" fmla="*/ 1214801 h 1556330"/>
              <a:gd name="csX53" fmla="*/ 113082 w 715223"/>
              <a:gd name="csY53" fmla="*/ 1201084 h 1556330"/>
              <a:gd name="csX54" fmla="*/ 120417 w 715223"/>
              <a:gd name="csY54" fmla="*/ 1183950 h 1556330"/>
              <a:gd name="csX55" fmla="*/ 135209 w 715223"/>
              <a:gd name="csY55" fmla="*/ 1178138 h 1556330"/>
              <a:gd name="csX56" fmla="*/ 156535 w 715223"/>
              <a:gd name="csY56" fmla="*/ 1156396 h 1556330"/>
              <a:gd name="csX57" fmla="*/ 185647 w 715223"/>
              <a:gd name="csY57" fmla="*/ 1061682 h 1556330"/>
              <a:gd name="csX58" fmla="*/ 201074 w 715223"/>
              <a:gd name="csY58" fmla="*/ 1005093 h 1556330"/>
              <a:gd name="csX59" fmla="*/ 213864 w 715223"/>
              <a:gd name="csY59" fmla="*/ 943040 h 1556330"/>
              <a:gd name="csX60" fmla="*/ 223580 w 715223"/>
              <a:gd name="csY60" fmla="*/ 884167 h 1556330"/>
              <a:gd name="csX61" fmla="*/ 228827 w 715223"/>
              <a:gd name="csY61" fmla="*/ 839382 h 1556330"/>
              <a:gd name="csX62" fmla="*/ 233251 w 715223"/>
              <a:gd name="csY62" fmla="*/ 794539 h 1556330"/>
              <a:gd name="csX63" fmla="*/ 233413 w 715223"/>
              <a:gd name="csY63" fmla="*/ 708554 h 1556330"/>
              <a:gd name="csX64" fmla="*/ 232253 w 715223"/>
              <a:gd name="csY64" fmla="*/ 699181 h 1556330"/>
              <a:gd name="csX65" fmla="*/ 192775 w 715223"/>
              <a:gd name="csY65" fmla="*/ 693131 h 1556330"/>
              <a:gd name="csX66" fmla="*/ 166222 w 715223"/>
              <a:gd name="csY66" fmla="*/ 684229 h 1556330"/>
              <a:gd name="csX67" fmla="*/ 153485 w 715223"/>
              <a:gd name="csY67" fmla="*/ 649704 h 1556330"/>
              <a:gd name="csX68" fmla="*/ 179302 w 715223"/>
              <a:gd name="csY68" fmla="*/ 621006 h 1556330"/>
              <a:gd name="csX69" fmla="*/ 192182 w 715223"/>
              <a:gd name="csY69" fmla="*/ 601675 h 1556330"/>
              <a:gd name="csX70" fmla="*/ 204894 w 715223"/>
              <a:gd name="csY70" fmla="*/ 583417 h 1556330"/>
              <a:gd name="csX71" fmla="*/ 233213 w 715223"/>
              <a:gd name="csY71" fmla="*/ 564393 h 1556330"/>
              <a:gd name="csX72" fmla="*/ 229725 w 715223"/>
              <a:gd name="csY72" fmla="*/ 538177 h 1556330"/>
              <a:gd name="csX73" fmla="*/ 218771 w 715223"/>
              <a:gd name="csY73" fmla="*/ 532633 h 1556330"/>
              <a:gd name="csX74" fmla="*/ 215183 w 715223"/>
              <a:gd name="csY74" fmla="*/ 521568 h 1556330"/>
              <a:gd name="csX75" fmla="*/ 223368 w 715223"/>
              <a:gd name="csY75" fmla="*/ 508901 h 1556330"/>
              <a:gd name="csX76" fmla="*/ 218372 w 715223"/>
              <a:gd name="csY76" fmla="*/ 498135 h 1556330"/>
              <a:gd name="csX77" fmla="*/ 181440 w 715223"/>
              <a:gd name="csY77" fmla="*/ 432308 h 1556330"/>
              <a:gd name="csX78" fmla="*/ 167535 w 715223"/>
              <a:gd name="csY78" fmla="*/ 349841 h 1556330"/>
              <a:gd name="csX79" fmla="*/ 193488 w 715223"/>
              <a:gd name="csY79" fmla="*/ 262518 h 1556330"/>
              <a:gd name="csX80" fmla="*/ 237748 w 715223"/>
              <a:gd name="csY80" fmla="*/ 190690 h 1556330"/>
              <a:gd name="csX81" fmla="*/ 309459 w 715223"/>
              <a:gd name="csY81" fmla="*/ 102623 h 1556330"/>
              <a:gd name="csX82" fmla="*/ 310459 w 715223"/>
              <a:gd name="csY82" fmla="*/ 78521 h 1556330"/>
              <a:gd name="csX83" fmla="*/ 300267 w 715223"/>
              <a:gd name="csY83" fmla="*/ 57856 h 1556330"/>
              <a:gd name="csX84" fmla="*/ 332242 w 715223"/>
              <a:gd name="csY84" fmla="*/ 4422 h 1556330"/>
              <a:gd name="csX85" fmla="*/ 384904 w 715223"/>
              <a:gd name="csY85" fmla="*/ 5551 h 1556330"/>
              <a:gd name="csX86" fmla="*/ 409773 w 715223"/>
              <a:gd name="csY86" fmla="*/ 26778 h 1556330"/>
              <a:gd name="csX87" fmla="*/ 407026 w 715223"/>
              <a:gd name="csY87" fmla="*/ 46052 h 1556330"/>
              <a:gd name="csX88" fmla="*/ 402771 w 715223"/>
              <a:gd name="csY88" fmla="*/ 30951 h 1556330"/>
              <a:gd name="csX89" fmla="*/ 397038 w 715223"/>
              <a:gd name="csY89" fmla="*/ 30361 h 1556330"/>
              <a:gd name="csX90" fmla="*/ 360694 w 715223"/>
              <a:gd name="csY90" fmla="*/ 22760 h 1556330"/>
              <a:gd name="csX91" fmla="*/ 351669 w 715223"/>
              <a:gd name="csY91" fmla="*/ 31736 h 1556330"/>
              <a:gd name="csX92" fmla="*/ 351426 w 715223"/>
              <a:gd name="csY92" fmla="*/ 43987 h 1556330"/>
              <a:gd name="csX93" fmla="*/ 390968 w 715223"/>
              <a:gd name="csY93" fmla="*/ 68762 h 1556330"/>
              <a:gd name="csX94" fmla="*/ 401770 w 715223"/>
              <a:gd name="csY94" fmla="*/ 59025 h 1556330"/>
              <a:gd name="csX95" fmla="*/ 409619 w 715223"/>
              <a:gd name="csY95" fmla="*/ 55786 h 1556330"/>
              <a:gd name="csX96" fmla="*/ 410427 w 715223"/>
              <a:gd name="csY96" fmla="*/ 64256 h 1556330"/>
              <a:gd name="csX97" fmla="*/ 399453 w 715223"/>
              <a:gd name="csY97" fmla="*/ 81811 h 1556330"/>
              <a:gd name="csX98" fmla="*/ 399346 w 715223"/>
              <a:gd name="csY98" fmla="*/ 98083 h 1556330"/>
              <a:gd name="csX99" fmla="*/ 471592 w 715223"/>
              <a:gd name="csY99" fmla="*/ 180524 h 1556330"/>
              <a:gd name="csX100" fmla="*/ 473550 w 715223"/>
              <a:gd name="csY100" fmla="*/ 200923 h 1556330"/>
              <a:gd name="csX101" fmla="*/ 463677 w 715223"/>
              <a:gd name="csY101" fmla="*/ 223311 h 1556330"/>
              <a:gd name="csX102" fmla="*/ 466852 w 715223"/>
              <a:gd name="csY102" fmla="*/ 229083 h 1556330"/>
              <a:gd name="csX103" fmla="*/ 474186 w 715223"/>
              <a:gd name="csY103" fmla="*/ 928382 h 1556330"/>
              <a:gd name="csX104" fmla="*/ 459927 w 715223"/>
              <a:gd name="csY104" fmla="*/ 817790 h 1556330"/>
              <a:gd name="csX105" fmla="*/ 456025 w 715223"/>
              <a:gd name="csY105" fmla="*/ 706469 h 1556330"/>
              <a:gd name="csX106" fmla="*/ 366863 w 715223"/>
              <a:gd name="csY106" fmla="*/ 710754 h 1556330"/>
              <a:gd name="csX107" fmla="*/ 366159 w 715223"/>
              <a:gd name="csY107" fmla="*/ 719219 h 1556330"/>
              <a:gd name="csX108" fmla="*/ 364159 w 715223"/>
              <a:gd name="csY108" fmla="*/ 834581 h 1556330"/>
              <a:gd name="csX109" fmla="*/ 361633 w 715223"/>
              <a:gd name="csY109" fmla="*/ 940117 h 1556330"/>
              <a:gd name="csX110" fmla="*/ 358313 w 715223"/>
              <a:gd name="csY110" fmla="*/ 1053005 h 1556330"/>
              <a:gd name="csX111" fmla="*/ 358081 w 715223"/>
              <a:gd name="csY111" fmla="*/ 1057912 h 1556330"/>
              <a:gd name="csX112" fmla="*/ 353706 w 715223"/>
              <a:gd name="csY112" fmla="*/ 1164570 h 1556330"/>
              <a:gd name="csX113" fmla="*/ 354951 w 715223"/>
              <a:gd name="csY113" fmla="*/ 1172547 h 1556330"/>
              <a:gd name="csX114" fmla="*/ 540959 w 715223"/>
              <a:gd name="csY114" fmla="*/ 1175972 h 1556330"/>
              <a:gd name="csX115" fmla="*/ 474186 w 715223"/>
              <a:gd name="csY115" fmla="*/ 928382 h 1556330"/>
              <a:gd name="csX116" fmla="*/ 513768 w 715223"/>
              <a:gd name="csY116" fmla="*/ 1417676 h 1556330"/>
              <a:gd name="csX117" fmla="*/ 519822 w 715223"/>
              <a:gd name="csY117" fmla="*/ 1416700 h 1556330"/>
              <a:gd name="csX118" fmla="*/ 632041 w 715223"/>
              <a:gd name="csY118" fmla="*/ 1406122 h 1556330"/>
              <a:gd name="csX119" fmla="*/ 665040 w 715223"/>
              <a:gd name="csY119" fmla="*/ 1400634 h 1556330"/>
              <a:gd name="csX120" fmla="*/ 665677 w 715223"/>
              <a:gd name="csY120" fmla="*/ 1396126 h 1556330"/>
              <a:gd name="csX121" fmla="*/ 665529 w 715223"/>
              <a:gd name="csY121" fmla="*/ 1389994 h 1556330"/>
              <a:gd name="csX122" fmla="*/ 623046 w 715223"/>
              <a:gd name="csY122" fmla="*/ 1306238 h 1556330"/>
              <a:gd name="csX123" fmla="*/ 596015 w 715223"/>
              <a:gd name="csY123" fmla="*/ 1281285 h 1556330"/>
              <a:gd name="csX124" fmla="*/ 567683 w 715223"/>
              <a:gd name="csY124" fmla="*/ 1220059 h 1556330"/>
              <a:gd name="csX125" fmla="*/ 540273 w 715223"/>
              <a:gd name="csY125" fmla="*/ 1220129 h 1556330"/>
              <a:gd name="csX126" fmla="*/ 424010 w 715223"/>
              <a:gd name="csY126" fmla="*/ 1226781 h 1556330"/>
              <a:gd name="csX127" fmla="*/ 357832 w 715223"/>
              <a:gd name="csY127" fmla="*/ 1229178 h 1556330"/>
              <a:gd name="csX128" fmla="*/ 352386 w 715223"/>
              <a:gd name="csY128" fmla="*/ 1230616 h 1556330"/>
              <a:gd name="csX129" fmla="*/ 355852 w 715223"/>
              <a:gd name="csY129" fmla="*/ 1324222 h 1556330"/>
              <a:gd name="csX130" fmla="*/ 352930 w 715223"/>
              <a:gd name="csY130" fmla="*/ 1417867 h 1556330"/>
              <a:gd name="csX131" fmla="*/ 513768 w 715223"/>
              <a:gd name="csY131" fmla="*/ 1417676 h 1556330"/>
              <a:gd name="csX132" fmla="*/ 387930 w 715223"/>
              <a:gd name="csY132" fmla="*/ 499741 h 1556330"/>
              <a:gd name="csX133" fmla="*/ 456529 w 715223"/>
              <a:gd name="csY133" fmla="*/ 496826 h 1556330"/>
              <a:gd name="csX134" fmla="*/ 482355 w 715223"/>
              <a:gd name="csY134" fmla="*/ 485095 h 1556330"/>
              <a:gd name="csX135" fmla="*/ 528016 w 715223"/>
              <a:gd name="csY135" fmla="*/ 374829 h 1556330"/>
              <a:gd name="csX136" fmla="*/ 501375 w 715223"/>
              <a:gd name="csY136" fmla="*/ 261643 h 1556330"/>
              <a:gd name="csX137" fmla="*/ 493534 w 715223"/>
              <a:gd name="csY137" fmla="*/ 249818 h 1556330"/>
              <a:gd name="csX138" fmla="*/ 485920 w 715223"/>
              <a:gd name="csY138" fmla="*/ 260010 h 1556330"/>
              <a:gd name="csX139" fmla="*/ 453305 w 715223"/>
              <a:gd name="csY139" fmla="*/ 310523 h 1556330"/>
              <a:gd name="csX140" fmla="*/ 433678 w 715223"/>
              <a:gd name="csY140" fmla="*/ 338672 h 1556330"/>
              <a:gd name="csX141" fmla="*/ 403713 w 715223"/>
              <a:gd name="csY141" fmla="*/ 343710 h 1556330"/>
              <a:gd name="csX142" fmla="*/ 396427 w 715223"/>
              <a:gd name="csY142" fmla="*/ 315612 h 1556330"/>
              <a:gd name="csX143" fmla="*/ 399663 w 715223"/>
              <a:gd name="csY143" fmla="*/ 309000 h 1556330"/>
              <a:gd name="csX144" fmla="*/ 452097 w 715223"/>
              <a:gd name="csY144" fmla="*/ 200770 h 1556330"/>
              <a:gd name="csX145" fmla="*/ 450118 w 715223"/>
              <a:gd name="csY145" fmla="*/ 180596 h 1556330"/>
              <a:gd name="csX146" fmla="*/ 376545 w 715223"/>
              <a:gd name="csY146" fmla="*/ 105525 h 1556330"/>
              <a:gd name="csX147" fmla="*/ 368791 w 715223"/>
              <a:gd name="csY147" fmla="*/ 101653 h 1556330"/>
              <a:gd name="csX148" fmla="*/ 366449 w 715223"/>
              <a:gd name="csY148" fmla="*/ 144676 h 1556330"/>
              <a:gd name="csX149" fmla="*/ 365447 w 715223"/>
              <a:gd name="csY149" fmla="*/ 183946 h 1556330"/>
              <a:gd name="csX150" fmla="*/ 364738 w 715223"/>
              <a:gd name="csY150" fmla="*/ 298022 h 1556330"/>
              <a:gd name="csX151" fmla="*/ 373865 w 715223"/>
              <a:gd name="csY151" fmla="*/ 430096 h 1556330"/>
              <a:gd name="csX152" fmla="*/ 381088 w 715223"/>
              <a:gd name="csY152" fmla="*/ 492169 h 1556330"/>
              <a:gd name="csX153" fmla="*/ 387930 w 715223"/>
              <a:gd name="csY153" fmla="*/ 499741 h 1556330"/>
              <a:gd name="csX154" fmla="*/ 455850 w 715223"/>
              <a:gd name="csY154" fmla="*/ 1521476 h 1556330"/>
              <a:gd name="csX155" fmla="*/ 685121 w 715223"/>
              <a:gd name="csY155" fmla="*/ 1496509 h 1556330"/>
              <a:gd name="csX156" fmla="*/ 672999 w 715223"/>
              <a:gd name="csY156" fmla="*/ 1456665 h 1556330"/>
              <a:gd name="csX157" fmla="*/ 660009 w 715223"/>
              <a:gd name="csY157" fmla="*/ 1450249 h 1556330"/>
              <a:gd name="csX158" fmla="*/ 633248 w 715223"/>
              <a:gd name="csY158" fmla="*/ 1453589 h 1556330"/>
              <a:gd name="csX159" fmla="*/ 451131 w 715223"/>
              <a:gd name="csY159" fmla="*/ 1467458 h 1556330"/>
              <a:gd name="csX160" fmla="*/ 362719 w 715223"/>
              <a:gd name="csY160" fmla="*/ 1467934 h 1556330"/>
              <a:gd name="csX161" fmla="*/ 349983 w 715223"/>
              <a:gd name="csY161" fmla="*/ 1467936 h 1556330"/>
              <a:gd name="csX162" fmla="*/ 352220 w 715223"/>
              <a:gd name="csY162" fmla="*/ 1519140 h 1556330"/>
              <a:gd name="csX163" fmla="*/ 455850 w 715223"/>
              <a:gd name="csY163" fmla="*/ 1521476 h 1556330"/>
              <a:gd name="csX164" fmla="*/ 368682 w 715223"/>
              <a:gd name="csY164" fmla="*/ 544846 h 1556330"/>
              <a:gd name="csX165" fmla="*/ 363600 w 715223"/>
              <a:gd name="csY165" fmla="*/ 605633 h 1556330"/>
              <a:gd name="csX166" fmla="*/ 496351 w 715223"/>
              <a:gd name="csY166" fmla="*/ 601466 h 1556330"/>
              <a:gd name="csX167" fmla="*/ 485068 w 715223"/>
              <a:gd name="csY167" fmla="*/ 579288 h 1556330"/>
              <a:gd name="csX168" fmla="*/ 466524 w 715223"/>
              <a:gd name="csY168" fmla="*/ 541026 h 1556330"/>
              <a:gd name="csX169" fmla="*/ 465000 w 715223"/>
              <a:gd name="csY169" fmla="*/ 536289 h 1556330"/>
              <a:gd name="csX170" fmla="*/ 451328 w 715223"/>
              <a:gd name="csY170" fmla="*/ 536316 h 1556330"/>
              <a:gd name="csX171" fmla="*/ 390140 w 715223"/>
              <a:gd name="csY171" fmla="*/ 538979 h 1556330"/>
              <a:gd name="csX172" fmla="*/ 374215 w 715223"/>
              <a:gd name="csY172" fmla="*/ 539303 h 1556330"/>
              <a:gd name="csX173" fmla="*/ 368682 w 715223"/>
              <a:gd name="csY173" fmla="*/ 544846 h 1556330"/>
              <a:gd name="csX174" fmla="*/ 453915 w 715223"/>
              <a:gd name="csY174" fmla="*/ 635267 h 1556330"/>
              <a:gd name="csX175" fmla="*/ 374200 w 715223"/>
              <a:gd name="csY175" fmla="*/ 639402 h 1556330"/>
              <a:gd name="csX176" fmla="*/ 374200 w 715223"/>
              <a:gd name="csY176" fmla="*/ 673206 h 1556330"/>
              <a:gd name="csX177" fmla="*/ 386639 w 715223"/>
              <a:gd name="csY177" fmla="*/ 673718 h 1556330"/>
              <a:gd name="csX178" fmla="*/ 521198 w 715223"/>
              <a:gd name="csY178" fmla="*/ 668541 h 1556330"/>
              <a:gd name="csX179" fmla="*/ 534198 w 715223"/>
              <a:gd name="csY179" fmla="*/ 665521 h 1556330"/>
              <a:gd name="csX180" fmla="*/ 538413 w 715223"/>
              <a:gd name="csY180" fmla="*/ 652526 h 1556330"/>
              <a:gd name="csX181" fmla="*/ 529377 w 715223"/>
              <a:gd name="csY181" fmla="*/ 642895 h 1556330"/>
              <a:gd name="csX182" fmla="*/ 502829 w 715223"/>
              <a:gd name="csY182" fmla="*/ 634808 h 1556330"/>
              <a:gd name="csX183" fmla="*/ 453915 w 715223"/>
              <a:gd name="csY183" fmla="*/ 635267 h 155633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  <a:cxn ang="0">
                <a:pos x="csX170" y="csY170"/>
              </a:cxn>
              <a:cxn ang="0">
                <a:pos x="csX171" y="csY171"/>
              </a:cxn>
              <a:cxn ang="0">
                <a:pos x="csX172" y="csY172"/>
              </a:cxn>
              <a:cxn ang="0">
                <a:pos x="csX173" y="csY173"/>
              </a:cxn>
              <a:cxn ang="0">
                <a:pos x="csX174" y="csY174"/>
              </a:cxn>
              <a:cxn ang="0">
                <a:pos x="csX175" y="csY175"/>
              </a:cxn>
              <a:cxn ang="0">
                <a:pos x="csX176" y="csY176"/>
              </a:cxn>
              <a:cxn ang="0">
                <a:pos x="csX177" y="csY177"/>
              </a:cxn>
              <a:cxn ang="0">
                <a:pos x="csX178" y="csY178"/>
              </a:cxn>
              <a:cxn ang="0">
                <a:pos x="csX179" y="csY179"/>
              </a:cxn>
              <a:cxn ang="0">
                <a:pos x="csX180" y="csY180"/>
              </a:cxn>
              <a:cxn ang="0">
                <a:pos x="csX181" y="csY181"/>
              </a:cxn>
              <a:cxn ang="0">
                <a:pos x="csX182" y="csY182"/>
              </a:cxn>
              <a:cxn ang="0">
                <a:pos x="csX183" y="csY183"/>
              </a:cxn>
            </a:cxnLst>
            <a:rect l="l" t="t" r="r" b="b"/>
            <a:pathLst>
              <a:path w="715223" h="1556330">
                <a:moveTo>
                  <a:pt x="466852" y="229083"/>
                </a:moveTo>
                <a:cubicBezTo>
                  <a:pt x="465344" y="233590"/>
                  <a:pt x="463836" y="238097"/>
                  <a:pt x="462328" y="242604"/>
                </a:cubicBezTo>
                <a:cubicBezTo>
                  <a:pt x="476604" y="232528"/>
                  <a:pt x="484219" y="216936"/>
                  <a:pt x="496944" y="204739"/>
                </a:cubicBezTo>
                <a:cubicBezTo>
                  <a:pt x="511903" y="225901"/>
                  <a:pt x="524807" y="247414"/>
                  <a:pt x="534359" y="270960"/>
                </a:cubicBezTo>
                <a:cubicBezTo>
                  <a:pt x="557740" y="328591"/>
                  <a:pt x="560223" y="386926"/>
                  <a:pt x="540589" y="445986"/>
                </a:cubicBezTo>
                <a:cubicBezTo>
                  <a:pt x="534197" y="465215"/>
                  <a:pt x="524450" y="482672"/>
                  <a:pt x="509727" y="496924"/>
                </a:cubicBezTo>
                <a:cubicBezTo>
                  <a:pt x="505277" y="501232"/>
                  <a:pt x="502734" y="505157"/>
                  <a:pt x="505366" y="511893"/>
                </a:cubicBezTo>
                <a:cubicBezTo>
                  <a:pt x="507828" y="518196"/>
                  <a:pt x="505953" y="524402"/>
                  <a:pt x="501982" y="530377"/>
                </a:cubicBezTo>
                <a:cubicBezTo>
                  <a:pt x="495613" y="539961"/>
                  <a:pt x="496865" y="548901"/>
                  <a:pt x="505678" y="556455"/>
                </a:cubicBezTo>
                <a:cubicBezTo>
                  <a:pt x="516748" y="565943"/>
                  <a:pt x="523694" y="577557"/>
                  <a:pt x="526115" y="591784"/>
                </a:cubicBezTo>
                <a:cubicBezTo>
                  <a:pt x="527758" y="601445"/>
                  <a:pt x="532593" y="608029"/>
                  <a:pt x="541579" y="612264"/>
                </a:cubicBezTo>
                <a:cubicBezTo>
                  <a:pt x="555150" y="618662"/>
                  <a:pt x="564081" y="629523"/>
                  <a:pt x="569572" y="643441"/>
                </a:cubicBezTo>
                <a:cubicBezTo>
                  <a:pt x="576413" y="660776"/>
                  <a:pt x="570996" y="678245"/>
                  <a:pt x="555234" y="688473"/>
                </a:cubicBezTo>
                <a:cubicBezTo>
                  <a:pt x="542486" y="696746"/>
                  <a:pt x="528127" y="699474"/>
                  <a:pt x="513278" y="700556"/>
                </a:cubicBezTo>
                <a:cubicBezTo>
                  <a:pt x="505590" y="701115"/>
                  <a:pt x="497922" y="701952"/>
                  <a:pt x="488559" y="702821"/>
                </a:cubicBezTo>
                <a:cubicBezTo>
                  <a:pt x="488559" y="708552"/>
                  <a:pt x="488653" y="713320"/>
                  <a:pt x="488544" y="718085"/>
                </a:cubicBezTo>
                <a:cubicBezTo>
                  <a:pt x="486284" y="817406"/>
                  <a:pt x="502313" y="914319"/>
                  <a:pt x="526561" y="1010212"/>
                </a:cubicBezTo>
                <a:cubicBezTo>
                  <a:pt x="538799" y="1058612"/>
                  <a:pt x="553050" y="1106345"/>
                  <a:pt x="569986" y="1153317"/>
                </a:cubicBezTo>
                <a:cubicBezTo>
                  <a:pt x="573328" y="1162590"/>
                  <a:pt x="578279" y="1168740"/>
                  <a:pt x="587389" y="1172173"/>
                </a:cubicBezTo>
                <a:cubicBezTo>
                  <a:pt x="593869" y="1174616"/>
                  <a:pt x="600289" y="1177449"/>
                  <a:pt x="606286" y="1180891"/>
                </a:cubicBezTo>
                <a:cubicBezTo>
                  <a:pt x="617185" y="1187146"/>
                  <a:pt x="618776" y="1192931"/>
                  <a:pt x="613400" y="1204260"/>
                </a:cubicBezTo>
                <a:cubicBezTo>
                  <a:pt x="611475" y="1208315"/>
                  <a:pt x="609140" y="1212177"/>
                  <a:pt x="605350" y="1216760"/>
                </a:cubicBezTo>
                <a:cubicBezTo>
                  <a:pt x="602514" y="1218347"/>
                  <a:pt x="600399" y="1219189"/>
                  <a:pt x="600268" y="1220273"/>
                </a:cubicBezTo>
                <a:cubicBezTo>
                  <a:pt x="598551" y="1234430"/>
                  <a:pt x="599473" y="1247881"/>
                  <a:pt x="610574" y="1258750"/>
                </a:cubicBezTo>
                <a:cubicBezTo>
                  <a:pt x="631265" y="1279009"/>
                  <a:pt x="651790" y="1299438"/>
                  <a:pt x="672371" y="1319810"/>
                </a:cubicBezTo>
                <a:cubicBezTo>
                  <a:pt x="673495" y="1320922"/>
                  <a:pt x="674892" y="1321987"/>
                  <a:pt x="675494" y="1323366"/>
                </a:cubicBezTo>
                <a:cubicBezTo>
                  <a:pt x="685626" y="1346558"/>
                  <a:pt x="694775" y="1370031"/>
                  <a:pt x="692949" y="1396068"/>
                </a:cubicBezTo>
                <a:cubicBezTo>
                  <a:pt x="692525" y="1402108"/>
                  <a:pt x="691276" y="1408087"/>
                  <a:pt x="690628" y="1414117"/>
                </a:cubicBezTo>
                <a:cubicBezTo>
                  <a:pt x="690241" y="1417713"/>
                  <a:pt x="691290" y="1420628"/>
                  <a:pt x="695588" y="1421035"/>
                </a:cubicBezTo>
                <a:cubicBezTo>
                  <a:pt x="695527" y="1422155"/>
                  <a:pt x="695467" y="1423274"/>
                  <a:pt x="694353" y="1425190"/>
                </a:cubicBezTo>
                <a:cubicBezTo>
                  <a:pt x="691901" y="1426894"/>
                  <a:pt x="690503" y="1427804"/>
                  <a:pt x="689106" y="1428714"/>
                </a:cubicBezTo>
                <a:cubicBezTo>
                  <a:pt x="691101" y="1428620"/>
                  <a:pt x="693098" y="1428527"/>
                  <a:pt x="695093" y="1428433"/>
                </a:cubicBezTo>
                <a:cubicBezTo>
                  <a:pt x="695976" y="1429430"/>
                  <a:pt x="696859" y="1430427"/>
                  <a:pt x="697643" y="1432864"/>
                </a:cubicBezTo>
                <a:cubicBezTo>
                  <a:pt x="697724" y="1436887"/>
                  <a:pt x="697087" y="1439912"/>
                  <a:pt x="698207" y="1441988"/>
                </a:cubicBezTo>
                <a:cubicBezTo>
                  <a:pt x="709464" y="1462853"/>
                  <a:pt x="715798" y="1484864"/>
                  <a:pt x="715183" y="1508752"/>
                </a:cubicBezTo>
                <a:cubicBezTo>
                  <a:pt x="714863" y="1521166"/>
                  <a:pt x="713458" y="1523372"/>
                  <a:pt x="701540" y="1526524"/>
                </a:cubicBezTo>
                <a:cubicBezTo>
                  <a:pt x="662165" y="1536936"/>
                  <a:pt x="622006" y="1543243"/>
                  <a:pt x="581715" y="1548559"/>
                </a:cubicBezTo>
                <a:cubicBezTo>
                  <a:pt x="561988" y="1551162"/>
                  <a:pt x="542052" y="1552457"/>
                  <a:pt x="522168" y="1553543"/>
                </a:cubicBezTo>
                <a:cubicBezTo>
                  <a:pt x="498138" y="1554856"/>
                  <a:pt x="474063" y="1556013"/>
                  <a:pt x="450008" y="1556019"/>
                </a:cubicBezTo>
                <a:cubicBezTo>
                  <a:pt x="381724" y="1556035"/>
                  <a:pt x="313415" y="1557550"/>
                  <a:pt x="245169" y="1553749"/>
                </a:cubicBezTo>
                <a:cubicBezTo>
                  <a:pt x="237413" y="1553317"/>
                  <a:pt x="229596" y="1553867"/>
                  <a:pt x="221854" y="1553306"/>
                </a:cubicBezTo>
                <a:cubicBezTo>
                  <a:pt x="204023" y="1552015"/>
                  <a:pt x="186231" y="1550202"/>
                  <a:pt x="168405" y="1548828"/>
                </a:cubicBezTo>
                <a:cubicBezTo>
                  <a:pt x="154605" y="1547764"/>
                  <a:pt x="140762" y="1547242"/>
                  <a:pt x="126970" y="1546091"/>
                </a:cubicBezTo>
                <a:cubicBezTo>
                  <a:pt x="119295" y="1545451"/>
                  <a:pt x="111668" y="1544132"/>
                  <a:pt x="104053" y="1542912"/>
                </a:cubicBezTo>
                <a:cubicBezTo>
                  <a:pt x="91223" y="1540858"/>
                  <a:pt x="78344" y="1539011"/>
                  <a:pt x="65625" y="1536401"/>
                </a:cubicBezTo>
                <a:cubicBezTo>
                  <a:pt x="47307" y="1532642"/>
                  <a:pt x="29006" y="1528694"/>
                  <a:pt x="10909" y="1524010"/>
                </a:cubicBezTo>
                <a:cubicBezTo>
                  <a:pt x="744" y="1521379"/>
                  <a:pt x="119" y="1519620"/>
                  <a:pt x="8" y="1509263"/>
                </a:cubicBezTo>
                <a:cubicBezTo>
                  <a:pt x="-283" y="1482004"/>
                  <a:pt x="7525" y="1456906"/>
                  <a:pt x="21158" y="1433611"/>
                </a:cubicBezTo>
                <a:cubicBezTo>
                  <a:pt x="24128" y="1428537"/>
                  <a:pt x="25100" y="1424162"/>
                  <a:pt x="23462" y="1418658"/>
                </a:cubicBezTo>
                <a:cubicBezTo>
                  <a:pt x="19938" y="1406814"/>
                  <a:pt x="19145" y="1394638"/>
                  <a:pt x="19643" y="1382324"/>
                </a:cubicBezTo>
                <a:cubicBezTo>
                  <a:pt x="20741" y="1355171"/>
                  <a:pt x="29461" y="1331114"/>
                  <a:pt x="49060" y="1311832"/>
                </a:cubicBezTo>
                <a:cubicBezTo>
                  <a:pt x="68866" y="1292344"/>
                  <a:pt x="89102" y="1273294"/>
                  <a:pt x="109176" y="1254078"/>
                </a:cubicBezTo>
                <a:cubicBezTo>
                  <a:pt x="120788" y="1242961"/>
                  <a:pt x="123122" y="1229673"/>
                  <a:pt x="118319" y="1214801"/>
                </a:cubicBezTo>
                <a:cubicBezTo>
                  <a:pt x="116817" y="1210150"/>
                  <a:pt x="114697" y="1205702"/>
                  <a:pt x="113082" y="1201084"/>
                </a:cubicBezTo>
                <a:cubicBezTo>
                  <a:pt x="109606" y="1191147"/>
                  <a:pt x="110855" y="1188189"/>
                  <a:pt x="120417" y="1183950"/>
                </a:cubicBezTo>
                <a:cubicBezTo>
                  <a:pt x="125262" y="1181801"/>
                  <a:pt x="130109" y="1179394"/>
                  <a:pt x="135209" y="1178138"/>
                </a:cubicBezTo>
                <a:cubicBezTo>
                  <a:pt x="146972" y="1175241"/>
                  <a:pt x="153194" y="1166910"/>
                  <a:pt x="156535" y="1156396"/>
                </a:cubicBezTo>
                <a:cubicBezTo>
                  <a:pt x="166535" y="1124919"/>
                  <a:pt x="176229" y="1093339"/>
                  <a:pt x="185647" y="1061682"/>
                </a:cubicBezTo>
                <a:cubicBezTo>
                  <a:pt x="191222" y="1042945"/>
                  <a:pt x="196570" y="1024108"/>
                  <a:pt x="201074" y="1005093"/>
                </a:cubicBezTo>
                <a:cubicBezTo>
                  <a:pt x="205941" y="984550"/>
                  <a:pt x="210000" y="963801"/>
                  <a:pt x="213864" y="943040"/>
                </a:cubicBezTo>
                <a:cubicBezTo>
                  <a:pt x="217503" y="923489"/>
                  <a:pt x="220701" y="903846"/>
                  <a:pt x="223580" y="884167"/>
                </a:cubicBezTo>
                <a:cubicBezTo>
                  <a:pt x="225754" y="869301"/>
                  <a:pt x="227195" y="854324"/>
                  <a:pt x="228827" y="839382"/>
                </a:cubicBezTo>
                <a:cubicBezTo>
                  <a:pt x="230459" y="824446"/>
                  <a:pt x="232880" y="809515"/>
                  <a:pt x="233251" y="794539"/>
                </a:cubicBezTo>
                <a:cubicBezTo>
                  <a:pt x="233961" y="765893"/>
                  <a:pt x="233499" y="737217"/>
                  <a:pt x="233413" y="708554"/>
                </a:cubicBezTo>
                <a:cubicBezTo>
                  <a:pt x="233404" y="705465"/>
                  <a:pt x="232667" y="702378"/>
                  <a:pt x="232253" y="699181"/>
                </a:cubicBezTo>
                <a:cubicBezTo>
                  <a:pt x="218443" y="697138"/>
                  <a:pt x="205461" y="695831"/>
                  <a:pt x="192775" y="693131"/>
                </a:cubicBezTo>
                <a:cubicBezTo>
                  <a:pt x="183686" y="691197"/>
                  <a:pt x="174549" y="688305"/>
                  <a:pt x="166222" y="684229"/>
                </a:cubicBezTo>
                <a:cubicBezTo>
                  <a:pt x="151266" y="676909"/>
                  <a:pt x="147247" y="664789"/>
                  <a:pt x="153485" y="649704"/>
                </a:cubicBezTo>
                <a:cubicBezTo>
                  <a:pt x="158693" y="637111"/>
                  <a:pt x="168160" y="628190"/>
                  <a:pt x="179302" y="621006"/>
                </a:cubicBezTo>
                <a:cubicBezTo>
                  <a:pt x="186548" y="616334"/>
                  <a:pt x="191317" y="611105"/>
                  <a:pt x="192182" y="601675"/>
                </a:cubicBezTo>
                <a:cubicBezTo>
                  <a:pt x="192878" y="594094"/>
                  <a:pt x="197099" y="587626"/>
                  <a:pt x="204894" y="583417"/>
                </a:cubicBezTo>
                <a:cubicBezTo>
                  <a:pt x="214873" y="578030"/>
                  <a:pt x="224643" y="571774"/>
                  <a:pt x="233213" y="564393"/>
                </a:cubicBezTo>
                <a:cubicBezTo>
                  <a:pt x="242623" y="556289"/>
                  <a:pt x="240441" y="544193"/>
                  <a:pt x="229725" y="538177"/>
                </a:cubicBezTo>
                <a:cubicBezTo>
                  <a:pt x="226159" y="536176"/>
                  <a:pt x="222483" y="534351"/>
                  <a:pt x="218771" y="532633"/>
                </a:cubicBezTo>
                <a:cubicBezTo>
                  <a:pt x="213503" y="530196"/>
                  <a:pt x="212651" y="526226"/>
                  <a:pt x="215183" y="521568"/>
                </a:cubicBezTo>
                <a:cubicBezTo>
                  <a:pt x="217485" y="517332"/>
                  <a:pt x="220405" y="513432"/>
                  <a:pt x="223368" y="508901"/>
                </a:cubicBezTo>
                <a:cubicBezTo>
                  <a:pt x="221781" y="505376"/>
                  <a:pt x="220809" y="501165"/>
                  <a:pt x="218372" y="498135"/>
                </a:cubicBezTo>
                <a:cubicBezTo>
                  <a:pt x="202366" y="478231"/>
                  <a:pt x="190774" y="455961"/>
                  <a:pt x="181440" y="432308"/>
                </a:cubicBezTo>
                <a:cubicBezTo>
                  <a:pt x="170959" y="405748"/>
                  <a:pt x="164933" y="378186"/>
                  <a:pt x="167535" y="349841"/>
                </a:cubicBezTo>
                <a:cubicBezTo>
                  <a:pt x="170341" y="319265"/>
                  <a:pt x="179208" y="289917"/>
                  <a:pt x="193488" y="262518"/>
                </a:cubicBezTo>
                <a:cubicBezTo>
                  <a:pt x="206512" y="237529"/>
                  <a:pt x="220831" y="213359"/>
                  <a:pt x="237748" y="190690"/>
                </a:cubicBezTo>
                <a:cubicBezTo>
                  <a:pt x="260421" y="160310"/>
                  <a:pt x="282602" y="129592"/>
                  <a:pt x="309459" y="102623"/>
                </a:cubicBezTo>
                <a:cubicBezTo>
                  <a:pt x="316627" y="95424"/>
                  <a:pt x="316261" y="87541"/>
                  <a:pt x="310459" y="78521"/>
                </a:cubicBezTo>
                <a:cubicBezTo>
                  <a:pt x="306309" y="72071"/>
                  <a:pt x="301695" y="65150"/>
                  <a:pt x="300267" y="57856"/>
                </a:cubicBezTo>
                <a:cubicBezTo>
                  <a:pt x="295286" y="32423"/>
                  <a:pt x="314502" y="10133"/>
                  <a:pt x="332242" y="4422"/>
                </a:cubicBezTo>
                <a:cubicBezTo>
                  <a:pt x="349540" y="-1148"/>
                  <a:pt x="367530" y="-2176"/>
                  <a:pt x="384904" y="5551"/>
                </a:cubicBezTo>
                <a:cubicBezTo>
                  <a:pt x="395271" y="10161"/>
                  <a:pt x="403310" y="17760"/>
                  <a:pt x="409773" y="26778"/>
                </a:cubicBezTo>
                <a:cubicBezTo>
                  <a:pt x="415168" y="34307"/>
                  <a:pt x="413749" y="41584"/>
                  <a:pt x="407026" y="46052"/>
                </a:cubicBezTo>
                <a:cubicBezTo>
                  <a:pt x="405624" y="40964"/>
                  <a:pt x="404503" y="35849"/>
                  <a:pt x="402771" y="30951"/>
                </a:cubicBezTo>
                <a:cubicBezTo>
                  <a:pt x="401450" y="27216"/>
                  <a:pt x="399383" y="28477"/>
                  <a:pt x="397038" y="30361"/>
                </a:cubicBezTo>
                <a:cubicBezTo>
                  <a:pt x="384440" y="15986"/>
                  <a:pt x="377037" y="14494"/>
                  <a:pt x="360694" y="22760"/>
                </a:cubicBezTo>
                <a:cubicBezTo>
                  <a:pt x="353707" y="22767"/>
                  <a:pt x="352275" y="27176"/>
                  <a:pt x="351669" y="31736"/>
                </a:cubicBezTo>
                <a:cubicBezTo>
                  <a:pt x="351136" y="35760"/>
                  <a:pt x="351383" y="39899"/>
                  <a:pt x="351426" y="43987"/>
                </a:cubicBezTo>
                <a:cubicBezTo>
                  <a:pt x="351648" y="64919"/>
                  <a:pt x="372389" y="78115"/>
                  <a:pt x="390968" y="68762"/>
                </a:cubicBezTo>
                <a:cubicBezTo>
                  <a:pt x="395158" y="66653"/>
                  <a:pt x="398534" y="62629"/>
                  <a:pt x="401770" y="59025"/>
                </a:cubicBezTo>
                <a:cubicBezTo>
                  <a:pt x="404045" y="56491"/>
                  <a:pt x="405661" y="53409"/>
                  <a:pt x="409619" y="55786"/>
                </a:cubicBezTo>
                <a:cubicBezTo>
                  <a:pt x="413544" y="58145"/>
                  <a:pt x="412176" y="61347"/>
                  <a:pt x="410427" y="64256"/>
                </a:cubicBezTo>
                <a:cubicBezTo>
                  <a:pt x="406872" y="70170"/>
                  <a:pt x="403244" y="76046"/>
                  <a:pt x="399453" y="81811"/>
                </a:cubicBezTo>
                <a:cubicBezTo>
                  <a:pt x="394663" y="89097"/>
                  <a:pt x="394382" y="94032"/>
                  <a:pt x="399346" y="98083"/>
                </a:cubicBezTo>
                <a:cubicBezTo>
                  <a:pt x="428062" y="121519"/>
                  <a:pt x="450822" y="150083"/>
                  <a:pt x="471592" y="180524"/>
                </a:cubicBezTo>
                <a:cubicBezTo>
                  <a:pt x="476398" y="187569"/>
                  <a:pt x="476844" y="193688"/>
                  <a:pt x="473550" y="200923"/>
                </a:cubicBezTo>
                <a:cubicBezTo>
                  <a:pt x="470171" y="208346"/>
                  <a:pt x="467091" y="215905"/>
                  <a:pt x="463677" y="223311"/>
                </a:cubicBezTo>
                <a:cubicBezTo>
                  <a:pt x="461993" y="226965"/>
                  <a:pt x="462995" y="228697"/>
                  <a:pt x="466852" y="229083"/>
                </a:cubicBezTo>
                <a:moveTo>
                  <a:pt x="474186" y="928382"/>
                </a:moveTo>
                <a:cubicBezTo>
                  <a:pt x="469297" y="891529"/>
                  <a:pt x="462961" y="854794"/>
                  <a:pt x="459927" y="817790"/>
                </a:cubicBezTo>
                <a:cubicBezTo>
                  <a:pt x="456905" y="780939"/>
                  <a:pt x="457197" y="743817"/>
                  <a:pt x="456025" y="706469"/>
                </a:cubicBezTo>
                <a:cubicBezTo>
                  <a:pt x="425780" y="707923"/>
                  <a:pt x="396554" y="709327"/>
                  <a:pt x="366863" y="710754"/>
                </a:cubicBezTo>
                <a:cubicBezTo>
                  <a:pt x="366546" y="714450"/>
                  <a:pt x="366201" y="716832"/>
                  <a:pt x="366159" y="719219"/>
                </a:cubicBezTo>
                <a:cubicBezTo>
                  <a:pt x="365479" y="757672"/>
                  <a:pt x="364935" y="796129"/>
                  <a:pt x="364159" y="834581"/>
                </a:cubicBezTo>
                <a:cubicBezTo>
                  <a:pt x="363450" y="869762"/>
                  <a:pt x="362581" y="904941"/>
                  <a:pt x="361633" y="940117"/>
                </a:cubicBezTo>
                <a:cubicBezTo>
                  <a:pt x="360619" y="977749"/>
                  <a:pt x="359431" y="1015376"/>
                  <a:pt x="358313" y="1053005"/>
                </a:cubicBezTo>
                <a:cubicBezTo>
                  <a:pt x="358265" y="1054641"/>
                  <a:pt x="358149" y="1056276"/>
                  <a:pt x="358081" y="1057912"/>
                </a:cubicBezTo>
                <a:cubicBezTo>
                  <a:pt x="356598" y="1093463"/>
                  <a:pt x="355081" y="1129014"/>
                  <a:pt x="353706" y="1164570"/>
                </a:cubicBezTo>
                <a:cubicBezTo>
                  <a:pt x="353604" y="1167221"/>
                  <a:pt x="354516" y="1169911"/>
                  <a:pt x="354951" y="1172547"/>
                </a:cubicBezTo>
                <a:cubicBezTo>
                  <a:pt x="416984" y="1173689"/>
                  <a:pt x="478158" y="1174816"/>
                  <a:pt x="540959" y="1175972"/>
                </a:cubicBezTo>
                <a:cubicBezTo>
                  <a:pt x="513162" y="1094194"/>
                  <a:pt x="489081" y="1013598"/>
                  <a:pt x="474186" y="928382"/>
                </a:cubicBezTo>
                <a:moveTo>
                  <a:pt x="513768" y="1417676"/>
                </a:moveTo>
                <a:cubicBezTo>
                  <a:pt x="515785" y="1417344"/>
                  <a:pt x="517792" y="1416889"/>
                  <a:pt x="519822" y="1416700"/>
                </a:cubicBezTo>
                <a:cubicBezTo>
                  <a:pt x="557234" y="1413220"/>
                  <a:pt x="594682" y="1410089"/>
                  <a:pt x="632041" y="1406122"/>
                </a:cubicBezTo>
                <a:cubicBezTo>
                  <a:pt x="643122" y="1404945"/>
                  <a:pt x="654730" y="1405292"/>
                  <a:pt x="665040" y="1400634"/>
                </a:cubicBezTo>
                <a:cubicBezTo>
                  <a:pt x="665352" y="1398517"/>
                  <a:pt x="665651" y="1397324"/>
                  <a:pt x="665677" y="1396126"/>
                </a:cubicBezTo>
                <a:cubicBezTo>
                  <a:pt x="665722" y="1394084"/>
                  <a:pt x="665674" y="1392032"/>
                  <a:pt x="665529" y="1389994"/>
                </a:cubicBezTo>
                <a:cubicBezTo>
                  <a:pt x="663118" y="1356121"/>
                  <a:pt x="650063" y="1327787"/>
                  <a:pt x="623046" y="1306238"/>
                </a:cubicBezTo>
                <a:cubicBezTo>
                  <a:pt x="613485" y="1298611"/>
                  <a:pt x="605001" y="1289635"/>
                  <a:pt x="596015" y="1281285"/>
                </a:cubicBezTo>
                <a:cubicBezTo>
                  <a:pt x="578506" y="1265018"/>
                  <a:pt x="567837" y="1245446"/>
                  <a:pt x="567683" y="1220059"/>
                </a:cubicBezTo>
                <a:cubicBezTo>
                  <a:pt x="558046" y="1220059"/>
                  <a:pt x="549136" y="1219649"/>
                  <a:pt x="540273" y="1220129"/>
                </a:cubicBezTo>
                <a:cubicBezTo>
                  <a:pt x="501512" y="1222229"/>
                  <a:pt x="462775" y="1224768"/>
                  <a:pt x="424010" y="1226781"/>
                </a:cubicBezTo>
                <a:cubicBezTo>
                  <a:pt x="401969" y="1227926"/>
                  <a:pt x="379889" y="1228330"/>
                  <a:pt x="357832" y="1229178"/>
                </a:cubicBezTo>
                <a:cubicBezTo>
                  <a:pt x="355938" y="1229251"/>
                  <a:pt x="354076" y="1230151"/>
                  <a:pt x="352386" y="1230616"/>
                </a:cubicBezTo>
                <a:cubicBezTo>
                  <a:pt x="353642" y="1262222"/>
                  <a:pt x="355769" y="1293219"/>
                  <a:pt x="355852" y="1324222"/>
                </a:cubicBezTo>
                <a:cubicBezTo>
                  <a:pt x="355936" y="1355438"/>
                  <a:pt x="353988" y="1386659"/>
                  <a:pt x="352930" y="1417867"/>
                </a:cubicBezTo>
                <a:cubicBezTo>
                  <a:pt x="406069" y="1417867"/>
                  <a:pt x="458771" y="1417867"/>
                  <a:pt x="513768" y="1417676"/>
                </a:cubicBezTo>
                <a:moveTo>
                  <a:pt x="387930" y="499741"/>
                </a:moveTo>
                <a:cubicBezTo>
                  <a:pt x="410797" y="498777"/>
                  <a:pt x="433665" y="497860"/>
                  <a:pt x="456529" y="496826"/>
                </a:cubicBezTo>
                <a:cubicBezTo>
                  <a:pt x="466656" y="496369"/>
                  <a:pt x="475418" y="493371"/>
                  <a:pt x="482355" y="485095"/>
                </a:cubicBezTo>
                <a:cubicBezTo>
                  <a:pt x="509188" y="453083"/>
                  <a:pt x="525387" y="416636"/>
                  <a:pt x="528016" y="374829"/>
                </a:cubicBezTo>
                <a:cubicBezTo>
                  <a:pt x="530547" y="334558"/>
                  <a:pt x="520095" y="297041"/>
                  <a:pt x="501375" y="261643"/>
                </a:cubicBezTo>
                <a:cubicBezTo>
                  <a:pt x="499379" y="257869"/>
                  <a:pt x="496654" y="254482"/>
                  <a:pt x="493534" y="249818"/>
                </a:cubicBezTo>
                <a:cubicBezTo>
                  <a:pt x="490233" y="254212"/>
                  <a:pt x="487883" y="256986"/>
                  <a:pt x="485920" y="260010"/>
                </a:cubicBezTo>
                <a:cubicBezTo>
                  <a:pt x="475010" y="276824"/>
                  <a:pt x="464300" y="293767"/>
                  <a:pt x="453305" y="310523"/>
                </a:cubicBezTo>
                <a:cubicBezTo>
                  <a:pt x="447028" y="320089"/>
                  <a:pt x="440916" y="329858"/>
                  <a:pt x="433678" y="338672"/>
                </a:cubicBezTo>
                <a:cubicBezTo>
                  <a:pt x="425909" y="348131"/>
                  <a:pt x="413084" y="349691"/>
                  <a:pt x="403713" y="343710"/>
                </a:cubicBezTo>
                <a:cubicBezTo>
                  <a:pt x="394358" y="337739"/>
                  <a:pt x="391675" y="327526"/>
                  <a:pt x="396427" y="315612"/>
                </a:cubicBezTo>
                <a:cubicBezTo>
                  <a:pt x="397334" y="313339"/>
                  <a:pt x="398595" y="311210"/>
                  <a:pt x="399663" y="309000"/>
                </a:cubicBezTo>
                <a:cubicBezTo>
                  <a:pt x="417094" y="272900"/>
                  <a:pt x="434331" y="236704"/>
                  <a:pt x="452097" y="200770"/>
                </a:cubicBezTo>
                <a:cubicBezTo>
                  <a:pt x="455910" y="193060"/>
                  <a:pt x="455310" y="187173"/>
                  <a:pt x="450118" y="180596"/>
                </a:cubicBezTo>
                <a:cubicBezTo>
                  <a:pt x="428273" y="152922"/>
                  <a:pt x="405805" y="125901"/>
                  <a:pt x="376545" y="105525"/>
                </a:cubicBezTo>
                <a:cubicBezTo>
                  <a:pt x="374483" y="104089"/>
                  <a:pt x="372013" y="103239"/>
                  <a:pt x="368791" y="101653"/>
                </a:cubicBezTo>
                <a:cubicBezTo>
                  <a:pt x="367942" y="116965"/>
                  <a:pt x="367019" y="130814"/>
                  <a:pt x="366449" y="144676"/>
                </a:cubicBezTo>
                <a:cubicBezTo>
                  <a:pt x="365912" y="157758"/>
                  <a:pt x="365593" y="170854"/>
                  <a:pt x="365447" y="183946"/>
                </a:cubicBezTo>
                <a:cubicBezTo>
                  <a:pt x="365020" y="221975"/>
                  <a:pt x="363367" y="260055"/>
                  <a:pt x="364738" y="298022"/>
                </a:cubicBezTo>
                <a:cubicBezTo>
                  <a:pt x="366329" y="342101"/>
                  <a:pt x="370336" y="386106"/>
                  <a:pt x="373865" y="430096"/>
                </a:cubicBezTo>
                <a:cubicBezTo>
                  <a:pt x="375530" y="450849"/>
                  <a:pt x="378387" y="471514"/>
                  <a:pt x="381088" y="492169"/>
                </a:cubicBezTo>
                <a:cubicBezTo>
                  <a:pt x="381433" y="494807"/>
                  <a:pt x="384102" y="497143"/>
                  <a:pt x="387930" y="499741"/>
                </a:cubicBezTo>
                <a:moveTo>
                  <a:pt x="455850" y="1521476"/>
                </a:moveTo>
                <a:cubicBezTo>
                  <a:pt x="533043" y="1519612"/>
                  <a:pt x="609810" y="1514084"/>
                  <a:pt x="685121" y="1496509"/>
                </a:cubicBezTo>
                <a:cubicBezTo>
                  <a:pt x="683922" y="1481705"/>
                  <a:pt x="679199" y="1467708"/>
                  <a:pt x="672999" y="1456665"/>
                </a:cubicBezTo>
                <a:cubicBezTo>
                  <a:pt x="669933" y="1451203"/>
                  <a:pt x="666057" y="1449329"/>
                  <a:pt x="660009" y="1450249"/>
                </a:cubicBezTo>
                <a:cubicBezTo>
                  <a:pt x="651125" y="1451601"/>
                  <a:pt x="642144" y="1452308"/>
                  <a:pt x="633248" y="1453589"/>
                </a:cubicBezTo>
                <a:cubicBezTo>
                  <a:pt x="572852" y="1462289"/>
                  <a:pt x="511993" y="1465134"/>
                  <a:pt x="451131" y="1467458"/>
                </a:cubicBezTo>
                <a:cubicBezTo>
                  <a:pt x="421697" y="1468582"/>
                  <a:pt x="392192" y="1467837"/>
                  <a:pt x="362719" y="1467934"/>
                </a:cubicBezTo>
                <a:cubicBezTo>
                  <a:pt x="358386" y="1467948"/>
                  <a:pt x="354052" y="1467936"/>
                  <a:pt x="349983" y="1467936"/>
                </a:cubicBezTo>
                <a:cubicBezTo>
                  <a:pt x="347592" y="1485362"/>
                  <a:pt x="348606" y="1509458"/>
                  <a:pt x="352220" y="1519140"/>
                </a:cubicBezTo>
                <a:cubicBezTo>
                  <a:pt x="385617" y="1519916"/>
                  <a:pt x="419507" y="1520703"/>
                  <a:pt x="455850" y="1521476"/>
                </a:cubicBezTo>
                <a:moveTo>
                  <a:pt x="368682" y="544846"/>
                </a:moveTo>
                <a:cubicBezTo>
                  <a:pt x="374258" y="564891"/>
                  <a:pt x="370074" y="584394"/>
                  <a:pt x="363600" y="605633"/>
                </a:cubicBezTo>
                <a:cubicBezTo>
                  <a:pt x="408859" y="604212"/>
                  <a:pt x="452263" y="602850"/>
                  <a:pt x="496351" y="601466"/>
                </a:cubicBezTo>
                <a:cubicBezTo>
                  <a:pt x="496109" y="591095"/>
                  <a:pt x="491408" y="584247"/>
                  <a:pt x="485068" y="579288"/>
                </a:cubicBezTo>
                <a:cubicBezTo>
                  <a:pt x="472414" y="569391"/>
                  <a:pt x="466934" y="556602"/>
                  <a:pt x="466524" y="541026"/>
                </a:cubicBezTo>
                <a:cubicBezTo>
                  <a:pt x="466485" y="539528"/>
                  <a:pt x="465591" y="538053"/>
                  <a:pt x="465000" y="536289"/>
                </a:cubicBezTo>
                <a:cubicBezTo>
                  <a:pt x="460209" y="536289"/>
                  <a:pt x="455761" y="536132"/>
                  <a:pt x="451328" y="536316"/>
                </a:cubicBezTo>
                <a:cubicBezTo>
                  <a:pt x="430930" y="537159"/>
                  <a:pt x="410538" y="538137"/>
                  <a:pt x="390140" y="538979"/>
                </a:cubicBezTo>
                <a:cubicBezTo>
                  <a:pt x="384834" y="539198"/>
                  <a:pt x="379484" y="538790"/>
                  <a:pt x="374215" y="539303"/>
                </a:cubicBezTo>
                <a:cubicBezTo>
                  <a:pt x="372259" y="539494"/>
                  <a:pt x="370480" y="541498"/>
                  <a:pt x="368682" y="544846"/>
                </a:cubicBezTo>
                <a:moveTo>
                  <a:pt x="453915" y="635267"/>
                </a:moveTo>
                <a:cubicBezTo>
                  <a:pt x="427589" y="636632"/>
                  <a:pt x="401262" y="637998"/>
                  <a:pt x="374200" y="639402"/>
                </a:cubicBezTo>
                <a:cubicBezTo>
                  <a:pt x="374200" y="651578"/>
                  <a:pt x="374200" y="661970"/>
                  <a:pt x="374200" y="673206"/>
                </a:cubicBezTo>
                <a:cubicBezTo>
                  <a:pt x="378672" y="673406"/>
                  <a:pt x="382666" y="673863"/>
                  <a:pt x="386639" y="673718"/>
                </a:cubicBezTo>
                <a:cubicBezTo>
                  <a:pt x="431495" y="672082"/>
                  <a:pt x="476352" y="670422"/>
                  <a:pt x="521198" y="668541"/>
                </a:cubicBezTo>
                <a:cubicBezTo>
                  <a:pt x="525584" y="668357"/>
                  <a:pt x="530162" y="667254"/>
                  <a:pt x="534198" y="665521"/>
                </a:cubicBezTo>
                <a:cubicBezTo>
                  <a:pt x="540213" y="662938"/>
                  <a:pt x="541802" y="658194"/>
                  <a:pt x="538413" y="652526"/>
                </a:cubicBezTo>
                <a:cubicBezTo>
                  <a:pt x="536192" y="648813"/>
                  <a:pt x="532979" y="645251"/>
                  <a:pt x="529377" y="642895"/>
                </a:cubicBezTo>
                <a:cubicBezTo>
                  <a:pt x="521426" y="637695"/>
                  <a:pt x="512576" y="634669"/>
                  <a:pt x="502829" y="634808"/>
                </a:cubicBezTo>
                <a:cubicBezTo>
                  <a:pt x="487311" y="635030"/>
                  <a:pt x="471791" y="635092"/>
                  <a:pt x="453915" y="635267"/>
                </a:cubicBezTo>
                <a:close/>
              </a:path>
            </a:pathLst>
          </a:custGeom>
          <a:solidFill>
            <a:srgbClr val="CDD9DF"/>
          </a:solidFill>
          <a:ln w="12700" cap="flat">
            <a:solidFill>
              <a:srgbClr val="CDD9DF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61" name="Free-form: Shape 260">
            <a:extLst>
              <a:ext uri="{FF2B5EF4-FFF2-40B4-BE49-F238E27FC236}">
                <a16:creationId xmlns:a16="http://schemas.microsoft.com/office/drawing/2014/main" id="{08CAC891-DC4B-99E0-C95C-BAEE5EBEF38E}"/>
              </a:ext>
            </a:extLst>
          </p:cNvPr>
          <p:cNvSpPr/>
          <p:nvPr/>
        </p:nvSpPr>
        <p:spPr>
          <a:xfrm>
            <a:off x="10366840" y="1913211"/>
            <a:ext cx="665488" cy="1428730"/>
          </a:xfrm>
          <a:custGeom>
            <a:avLst/>
            <a:gdLst>
              <a:gd name="csX0" fmla="*/ 406842 w 732037"/>
              <a:gd name="csY0" fmla="*/ 38347 h 1571603"/>
              <a:gd name="csX1" fmla="*/ 411944 w 732037"/>
              <a:gd name="csY1" fmla="*/ 38343 h 1571603"/>
              <a:gd name="csX2" fmla="*/ 416198 w 732037"/>
              <a:gd name="csY2" fmla="*/ 53444 h 1571603"/>
              <a:gd name="csX3" fmla="*/ 418945 w 732037"/>
              <a:gd name="csY3" fmla="*/ 34170 h 1571603"/>
              <a:gd name="csX4" fmla="*/ 394077 w 732037"/>
              <a:gd name="csY4" fmla="*/ 12943 h 1571603"/>
              <a:gd name="csX5" fmla="*/ 341415 w 732037"/>
              <a:gd name="csY5" fmla="*/ 11814 h 1571603"/>
              <a:gd name="csX6" fmla="*/ 309440 w 732037"/>
              <a:gd name="csY6" fmla="*/ 65249 h 1571603"/>
              <a:gd name="csX7" fmla="*/ 319632 w 732037"/>
              <a:gd name="csY7" fmla="*/ 85914 h 1571603"/>
              <a:gd name="csX8" fmla="*/ 318632 w 732037"/>
              <a:gd name="csY8" fmla="*/ 110015 h 1571603"/>
              <a:gd name="csX9" fmla="*/ 246921 w 732037"/>
              <a:gd name="csY9" fmla="*/ 198083 h 1571603"/>
              <a:gd name="csX10" fmla="*/ 202660 w 732037"/>
              <a:gd name="csY10" fmla="*/ 269911 h 1571603"/>
              <a:gd name="csX11" fmla="*/ 176707 w 732037"/>
              <a:gd name="csY11" fmla="*/ 357233 h 1571603"/>
              <a:gd name="csX12" fmla="*/ 190612 w 732037"/>
              <a:gd name="csY12" fmla="*/ 439700 h 1571603"/>
              <a:gd name="csX13" fmla="*/ 227544 w 732037"/>
              <a:gd name="csY13" fmla="*/ 505527 h 1571603"/>
              <a:gd name="csX14" fmla="*/ 232541 w 732037"/>
              <a:gd name="csY14" fmla="*/ 516294 h 1571603"/>
              <a:gd name="csX15" fmla="*/ 224356 w 732037"/>
              <a:gd name="csY15" fmla="*/ 528960 h 1571603"/>
              <a:gd name="csX16" fmla="*/ 227944 w 732037"/>
              <a:gd name="csY16" fmla="*/ 540026 h 1571603"/>
              <a:gd name="csX17" fmla="*/ 238897 w 732037"/>
              <a:gd name="csY17" fmla="*/ 545570 h 1571603"/>
              <a:gd name="csX18" fmla="*/ 242386 w 732037"/>
              <a:gd name="csY18" fmla="*/ 571785 h 1571603"/>
              <a:gd name="csX19" fmla="*/ 214067 w 732037"/>
              <a:gd name="csY19" fmla="*/ 590809 h 1571603"/>
              <a:gd name="csX20" fmla="*/ 201355 w 732037"/>
              <a:gd name="csY20" fmla="*/ 609067 h 1571603"/>
              <a:gd name="csX21" fmla="*/ 188474 w 732037"/>
              <a:gd name="csY21" fmla="*/ 628398 h 1571603"/>
              <a:gd name="csX22" fmla="*/ 162658 w 732037"/>
              <a:gd name="csY22" fmla="*/ 657096 h 1571603"/>
              <a:gd name="csX23" fmla="*/ 175395 w 732037"/>
              <a:gd name="csY23" fmla="*/ 691621 h 1571603"/>
              <a:gd name="csX24" fmla="*/ 201948 w 732037"/>
              <a:gd name="csY24" fmla="*/ 700523 h 1571603"/>
              <a:gd name="csX25" fmla="*/ 241426 w 732037"/>
              <a:gd name="csY25" fmla="*/ 706574 h 1571603"/>
              <a:gd name="csX26" fmla="*/ 242586 w 732037"/>
              <a:gd name="csY26" fmla="*/ 715946 h 1571603"/>
              <a:gd name="csX27" fmla="*/ 242424 w 732037"/>
              <a:gd name="csY27" fmla="*/ 801932 h 1571603"/>
              <a:gd name="csX28" fmla="*/ 238000 w 732037"/>
              <a:gd name="csY28" fmla="*/ 846774 h 1571603"/>
              <a:gd name="csX29" fmla="*/ 232752 w 732037"/>
              <a:gd name="csY29" fmla="*/ 891559 h 1571603"/>
              <a:gd name="csX30" fmla="*/ 223037 w 732037"/>
              <a:gd name="csY30" fmla="*/ 950433 h 1571603"/>
              <a:gd name="csX31" fmla="*/ 210247 w 732037"/>
              <a:gd name="csY31" fmla="*/ 1012485 h 1571603"/>
              <a:gd name="csX32" fmla="*/ 194820 w 732037"/>
              <a:gd name="csY32" fmla="*/ 1069074 h 1571603"/>
              <a:gd name="csX33" fmla="*/ 165707 w 732037"/>
              <a:gd name="csY33" fmla="*/ 1163788 h 1571603"/>
              <a:gd name="csX34" fmla="*/ 144382 w 732037"/>
              <a:gd name="csY34" fmla="*/ 1185530 h 1571603"/>
              <a:gd name="csX35" fmla="*/ 129590 w 732037"/>
              <a:gd name="csY35" fmla="*/ 1191342 h 1571603"/>
              <a:gd name="csX36" fmla="*/ 122255 w 732037"/>
              <a:gd name="csY36" fmla="*/ 1208476 h 1571603"/>
              <a:gd name="csX37" fmla="*/ 127491 w 732037"/>
              <a:gd name="csY37" fmla="*/ 1222193 h 1571603"/>
              <a:gd name="csX38" fmla="*/ 118348 w 732037"/>
              <a:gd name="csY38" fmla="*/ 1261470 h 1571603"/>
              <a:gd name="csX39" fmla="*/ 58232 w 732037"/>
              <a:gd name="csY39" fmla="*/ 1319224 h 1571603"/>
              <a:gd name="csX40" fmla="*/ 28815 w 732037"/>
              <a:gd name="csY40" fmla="*/ 1389717 h 1571603"/>
              <a:gd name="csX41" fmla="*/ 32634 w 732037"/>
              <a:gd name="csY41" fmla="*/ 1426050 h 1571603"/>
              <a:gd name="csX42" fmla="*/ 30331 w 732037"/>
              <a:gd name="csY42" fmla="*/ 1441003 h 1571603"/>
              <a:gd name="csX43" fmla="*/ 9180 w 732037"/>
              <a:gd name="csY43" fmla="*/ 1516655 h 1571603"/>
              <a:gd name="csX44" fmla="*/ 20082 w 732037"/>
              <a:gd name="csY44" fmla="*/ 1531402 h 1571603"/>
              <a:gd name="csX45" fmla="*/ 74798 w 732037"/>
              <a:gd name="csY45" fmla="*/ 1543794 h 1571603"/>
              <a:gd name="csX46" fmla="*/ 113225 w 732037"/>
              <a:gd name="csY46" fmla="*/ 1550305 h 1571603"/>
              <a:gd name="csX47" fmla="*/ 136142 w 732037"/>
              <a:gd name="csY47" fmla="*/ 1553484 h 1571603"/>
              <a:gd name="csX48" fmla="*/ 177578 w 732037"/>
              <a:gd name="csY48" fmla="*/ 1556220 h 1571603"/>
              <a:gd name="csX49" fmla="*/ 231027 w 732037"/>
              <a:gd name="csY49" fmla="*/ 1560698 h 1571603"/>
              <a:gd name="csX50" fmla="*/ 254342 w 732037"/>
              <a:gd name="csY50" fmla="*/ 1561142 h 1571603"/>
              <a:gd name="csX51" fmla="*/ 459180 w 732037"/>
              <a:gd name="csY51" fmla="*/ 1563411 h 1571603"/>
              <a:gd name="csX52" fmla="*/ 531340 w 732037"/>
              <a:gd name="csY52" fmla="*/ 1560936 h 1571603"/>
              <a:gd name="csX53" fmla="*/ 590888 w 732037"/>
              <a:gd name="csY53" fmla="*/ 1555951 h 1571603"/>
              <a:gd name="csX54" fmla="*/ 710712 w 732037"/>
              <a:gd name="csY54" fmla="*/ 1533916 h 1571603"/>
              <a:gd name="csX55" fmla="*/ 724356 w 732037"/>
              <a:gd name="csY55" fmla="*/ 1516144 h 1571603"/>
              <a:gd name="csX56" fmla="*/ 707380 w 732037"/>
              <a:gd name="csY56" fmla="*/ 1449380 h 1571603"/>
              <a:gd name="csX57" fmla="*/ 707050 w 732037"/>
              <a:gd name="csY57" fmla="*/ 1440881 h 1571603"/>
              <a:gd name="csX58" fmla="*/ 731479 w 732037"/>
              <a:gd name="csY58" fmla="*/ 1500017 h 1571603"/>
              <a:gd name="csX59" fmla="*/ 731163 w 732037"/>
              <a:gd name="csY59" fmla="*/ 1513759 h 1571603"/>
              <a:gd name="csX60" fmla="*/ 731650 w 732037"/>
              <a:gd name="csY60" fmla="*/ 1521766 h 1571603"/>
              <a:gd name="csX61" fmla="*/ 721896 w 732037"/>
              <a:gd name="csY61" fmla="*/ 1537319 h 1571603"/>
              <a:gd name="csX62" fmla="*/ 657740 w 732037"/>
              <a:gd name="csY62" fmla="*/ 1553265 h 1571603"/>
              <a:gd name="csX63" fmla="*/ 507791 w 732037"/>
              <a:gd name="csY63" fmla="*/ 1568943 h 1571603"/>
              <a:gd name="csX64" fmla="*/ 264676 w 732037"/>
              <a:gd name="csY64" fmla="*/ 1569724 h 1571603"/>
              <a:gd name="csX65" fmla="*/ 82743 w 732037"/>
              <a:gd name="csY65" fmla="*/ 1553254 h 1571603"/>
              <a:gd name="csX66" fmla="*/ 17072 w 732037"/>
              <a:gd name="csY66" fmla="*/ 1538153 h 1571603"/>
              <a:gd name="csX67" fmla="*/ 275 w 732037"/>
              <a:gd name="csY67" fmla="*/ 1513030 h 1571603"/>
              <a:gd name="csX68" fmla="*/ 20923 w 732037"/>
              <a:gd name="csY68" fmla="*/ 1441861 h 1571603"/>
              <a:gd name="csX69" fmla="*/ 23045 w 732037"/>
              <a:gd name="csY69" fmla="*/ 1423105 h 1571603"/>
              <a:gd name="csX70" fmla="*/ 30564 w 732037"/>
              <a:gd name="csY70" fmla="*/ 1346289 h 1571603"/>
              <a:gd name="csX71" fmla="*/ 71350 w 732037"/>
              <a:gd name="csY71" fmla="*/ 1295039 h 1571603"/>
              <a:gd name="csX72" fmla="*/ 112257 w 732037"/>
              <a:gd name="csY72" fmla="*/ 1255093 h 1571603"/>
              <a:gd name="csX73" fmla="*/ 115864 w 732037"/>
              <a:gd name="csY73" fmla="*/ 1217271 h 1571603"/>
              <a:gd name="csX74" fmla="*/ 112256 w 732037"/>
              <a:gd name="csY74" fmla="*/ 1210870 h 1571603"/>
              <a:gd name="csX75" fmla="*/ 121141 w 732037"/>
              <a:gd name="csY75" fmla="*/ 1186548 h 1571603"/>
              <a:gd name="csX76" fmla="*/ 136571 w 732037"/>
              <a:gd name="csY76" fmla="*/ 1179850 h 1571603"/>
              <a:gd name="csX77" fmla="*/ 158281 w 732037"/>
              <a:gd name="csY77" fmla="*/ 1157879 h 1571603"/>
              <a:gd name="csX78" fmla="*/ 187986 w 732037"/>
              <a:gd name="csY78" fmla="*/ 1059736 h 1571603"/>
              <a:gd name="csX79" fmla="*/ 217119 w 732037"/>
              <a:gd name="csY79" fmla="*/ 938896 h 1571603"/>
              <a:gd name="csX80" fmla="*/ 225792 w 732037"/>
              <a:gd name="csY80" fmla="*/ 893236 h 1571603"/>
              <a:gd name="csX81" fmla="*/ 226150 w 732037"/>
              <a:gd name="csY81" fmla="*/ 887970 h 1571603"/>
              <a:gd name="csX82" fmla="*/ 230782 w 732037"/>
              <a:gd name="csY82" fmla="*/ 853969 h 1571603"/>
              <a:gd name="csX83" fmla="*/ 230786 w 732037"/>
              <a:gd name="csY83" fmla="*/ 848558 h 1571603"/>
              <a:gd name="csX84" fmla="*/ 233315 w 732037"/>
              <a:gd name="csY84" fmla="*/ 824438 h 1571603"/>
              <a:gd name="csX85" fmla="*/ 233199 w 732037"/>
              <a:gd name="csY85" fmla="*/ 819050 h 1571603"/>
              <a:gd name="csX86" fmla="*/ 235848 w 732037"/>
              <a:gd name="csY86" fmla="*/ 782380 h 1571603"/>
              <a:gd name="csX87" fmla="*/ 237465 w 732037"/>
              <a:gd name="csY87" fmla="*/ 719113 h 1571603"/>
              <a:gd name="csX88" fmla="*/ 233057 w 732037"/>
              <a:gd name="csY88" fmla="*/ 713160 h 1571603"/>
              <a:gd name="csX89" fmla="*/ 203056 w 732037"/>
              <a:gd name="csY89" fmla="*/ 708405 h 1571603"/>
              <a:gd name="csX90" fmla="*/ 169628 w 732037"/>
              <a:gd name="csY90" fmla="*/ 698106 h 1571603"/>
              <a:gd name="csX91" fmla="*/ 153237 w 732037"/>
              <a:gd name="csY91" fmla="*/ 659111 h 1571603"/>
              <a:gd name="csX92" fmla="*/ 178365 w 732037"/>
              <a:gd name="csY92" fmla="*/ 626008 h 1571603"/>
              <a:gd name="csX93" fmla="*/ 191885 w 732037"/>
              <a:gd name="csY93" fmla="*/ 617513 h 1571603"/>
              <a:gd name="csX94" fmla="*/ 193681 w 732037"/>
              <a:gd name="csY94" fmla="*/ 610098 h 1571603"/>
              <a:gd name="csX95" fmla="*/ 213301 w 732037"/>
              <a:gd name="csY95" fmla="*/ 579885 h 1571603"/>
              <a:gd name="csX96" fmla="*/ 229635 w 732037"/>
              <a:gd name="csY96" fmla="*/ 571429 h 1571603"/>
              <a:gd name="csX97" fmla="*/ 237351 w 732037"/>
              <a:gd name="csY97" fmla="*/ 565882 h 1571603"/>
              <a:gd name="csX98" fmla="*/ 233673 w 732037"/>
              <a:gd name="csY98" fmla="*/ 550926 h 1571603"/>
              <a:gd name="csX99" fmla="*/ 226799 w 732037"/>
              <a:gd name="csY99" fmla="*/ 548359 h 1571603"/>
              <a:gd name="csX100" fmla="*/ 218639 w 732037"/>
              <a:gd name="csY100" fmla="*/ 522664 h 1571603"/>
              <a:gd name="csX101" fmla="*/ 218264 w 732037"/>
              <a:gd name="csY101" fmla="*/ 505463 h 1571603"/>
              <a:gd name="csX102" fmla="*/ 181762 w 732037"/>
              <a:gd name="csY102" fmla="*/ 437574 h 1571603"/>
              <a:gd name="csX103" fmla="*/ 185971 w 732037"/>
              <a:gd name="csY103" fmla="*/ 289069 h 1571603"/>
              <a:gd name="csX104" fmla="*/ 253787 w 732037"/>
              <a:gd name="csY104" fmla="*/ 175580 h 1571603"/>
              <a:gd name="csX105" fmla="*/ 309639 w 732037"/>
              <a:gd name="csY105" fmla="*/ 108695 h 1571603"/>
              <a:gd name="csX106" fmla="*/ 318061 w 732037"/>
              <a:gd name="csY106" fmla="*/ 98855 h 1571603"/>
              <a:gd name="csX107" fmla="*/ 304967 w 732037"/>
              <a:gd name="csY107" fmla="*/ 70056 h 1571603"/>
              <a:gd name="csX108" fmla="*/ 317012 w 732037"/>
              <a:gd name="csY108" fmla="*/ 19436 h 1571603"/>
              <a:gd name="csX109" fmla="*/ 415542 w 732037"/>
              <a:gd name="csY109" fmla="*/ 18221 h 1571603"/>
              <a:gd name="csX110" fmla="*/ 423203 w 732037"/>
              <a:gd name="csY110" fmla="*/ 82660 h 1571603"/>
              <a:gd name="csX111" fmla="*/ 413361 w 732037"/>
              <a:gd name="csY111" fmla="*/ 97975 h 1571603"/>
              <a:gd name="csX112" fmla="*/ 421654 w 732037"/>
              <a:gd name="csY112" fmla="*/ 106676 h 1571603"/>
              <a:gd name="csX113" fmla="*/ 487032 w 732037"/>
              <a:gd name="csY113" fmla="*/ 184632 h 1571603"/>
              <a:gd name="csX114" fmla="*/ 489213 w 732037"/>
              <a:gd name="csY114" fmla="*/ 208238 h 1571603"/>
              <a:gd name="csX115" fmla="*/ 476520 w 732037"/>
              <a:gd name="csY115" fmla="*/ 235738 h 1571603"/>
              <a:gd name="csX116" fmla="*/ 472850 w 732037"/>
              <a:gd name="csY116" fmla="*/ 230703 h 1571603"/>
              <a:gd name="csX117" fmla="*/ 482723 w 732037"/>
              <a:gd name="csY117" fmla="*/ 208315 h 1571603"/>
              <a:gd name="csX118" fmla="*/ 480764 w 732037"/>
              <a:gd name="csY118" fmla="*/ 187916 h 1571603"/>
              <a:gd name="csX119" fmla="*/ 408519 w 732037"/>
              <a:gd name="csY119" fmla="*/ 105475 h 1571603"/>
              <a:gd name="csX120" fmla="*/ 408625 w 732037"/>
              <a:gd name="csY120" fmla="*/ 89203 h 1571603"/>
              <a:gd name="csX121" fmla="*/ 419600 w 732037"/>
              <a:gd name="csY121" fmla="*/ 71648 h 1571603"/>
              <a:gd name="csX122" fmla="*/ 418792 w 732037"/>
              <a:gd name="csY122" fmla="*/ 63179 h 1571603"/>
              <a:gd name="csX123" fmla="*/ 410943 w 732037"/>
              <a:gd name="csY123" fmla="*/ 66417 h 1571603"/>
              <a:gd name="csX124" fmla="*/ 400140 w 732037"/>
              <a:gd name="csY124" fmla="*/ 76155 h 1571603"/>
              <a:gd name="csX125" fmla="*/ 360599 w 732037"/>
              <a:gd name="csY125" fmla="*/ 51379 h 1571603"/>
              <a:gd name="csX126" fmla="*/ 360842 w 732037"/>
              <a:gd name="csY126" fmla="*/ 39128 h 1571603"/>
              <a:gd name="csX127" fmla="*/ 369470 w 732037"/>
              <a:gd name="csY127" fmla="*/ 30960 h 1571603"/>
              <a:gd name="csX128" fmla="*/ 365613 w 732037"/>
              <a:gd name="csY128" fmla="*/ 49108 h 1571603"/>
              <a:gd name="csX129" fmla="*/ 389468 w 732037"/>
              <a:gd name="csY129" fmla="*/ 71608 h 1571603"/>
              <a:gd name="csX130" fmla="*/ 408822 w 732037"/>
              <a:gd name="csY130" fmla="*/ 46613 h 1571603"/>
              <a:gd name="csX131" fmla="*/ 406842 w 732037"/>
              <a:gd name="csY131" fmla="*/ 38347 h 157160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</a:cxnLst>
            <a:rect l="l" t="t" r="r" b="b"/>
            <a:pathLst>
              <a:path w="732037" h="1571603">
                <a:moveTo>
                  <a:pt x="406842" y="38347"/>
                </a:moveTo>
                <a:cubicBezTo>
                  <a:pt x="408555" y="35869"/>
                  <a:pt x="410622" y="34608"/>
                  <a:pt x="411944" y="38343"/>
                </a:cubicBezTo>
                <a:cubicBezTo>
                  <a:pt x="413676" y="43242"/>
                  <a:pt x="414797" y="48356"/>
                  <a:pt x="416198" y="53444"/>
                </a:cubicBezTo>
                <a:cubicBezTo>
                  <a:pt x="422922" y="48977"/>
                  <a:pt x="424340" y="41699"/>
                  <a:pt x="418945" y="34170"/>
                </a:cubicBezTo>
                <a:cubicBezTo>
                  <a:pt x="412483" y="25152"/>
                  <a:pt x="404444" y="17554"/>
                  <a:pt x="394077" y="12943"/>
                </a:cubicBezTo>
                <a:cubicBezTo>
                  <a:pt x="376702" y="5216"/>
                  <a:pt x="358713" y="6244"/>
                  <a:pt x="341415" y="11814"/>
                </a:cubicBezTo>
                <a:cubicBezTo>
                  <a:pt x="323675" y="17525"/>
                  <a:pt x="304459" y="39816"/>
                  <a:pt x="309440" y="65249"/>
                </a:cubicBezTo>
                <a:cubicBezTo>
                  <a:pt x="310868" y="72543"/>
                  <a:pt x="315482" y="79463"/>
                  <a:pt x="319632" y="85914"/>
                </a:cubicBezTo>
                <a:cubicBezTo>
                  <a:pt x="325434" y="94933"/>
                  <a:pt x="325800" y="102817"/>
                  <a:pt x="318632" y="110015"/>
                </a:cubicBezTo>
                <a:cubicBezTo>
                  <a:pt x="291775" y="136984"/>
                  <a:pt x="269594" y="167702"/>
                  <a:pt x="246921" y="198083"/>
                </a:cubicBezTo>
                <a:cubicBezTo>
                  <a:pt x="230003" y="220751"/>
                  <a:pt x="215685" y="244921"/>
                  <a:pt x="202660" y="269911"/>
                </a:cubicBezTo>
                <a:cubicBezTo>
                  <a:pt x="188381" y="297309"/>
                  <a:pt x="179513" y="326657"/>
                  <a:pt x="176707" y="357233"/>
                </a:cubicBezTo>
                <a:cubicBezTo>
                  <a:pt x="174106" y="385578"/>
                  <a:pt x="180131" y="413140"/>
                  <a:pt x="190612" y="439700"/>
                </a:cubicBezTo>
                <a:cubicBezTo>
                  <a:pt x="199946" y="463353"/>
                  <a:pt x="211538" y="485623"/>
                  <a:pt x="227544" y="505527"/>
                </a:cubicBezTo>
                <a:cubicBezTo>
                  <a:pt x="229982" y="508558"/>
                  <a:pt x="230954" y="512768"/>
                  <a:pt x="232541" y="516294"/>
                </a:cubicBezTo>
                <a:cubicBezTo>
                  <a:pt x="229578" y="520824"/>
                  <a:pt x="226658" y="524724"/>
                  <a:pt x="224356" y="528960"/>
                </a:cubicBezTo>
                <a:cubicBezTo>
                  <a:pt x="221823" y="533618"/>
                  <a:pt x="222675" y="537588"/>
                  <a:pt x="227944" y="540026"/>
                </a:cubicBezTo>
                <a:cubicBezTo>
                  <a:pt x="231656" y="541743"/>
                  <a:pt x="235331" y="543568"/>
                  <a:pt x="238897" y="545570"/>
                </a:cubicBezTo>
                <a:cubicBezTo>
                  <a:pt x="249613" y="551585"/>
                  <a:pt x="251795" y="563681"/>
                  <a:pt x="242386" y="571785"/>
                </a:cubicBezTo>
                <a:cubicBezTo>
                  <a:pt x="233816" y="579166"/>
                  <a:pt x="224045" y="585423"/>
                  <a:pt x="214067" y="590809"/>
                </a:cubicBezTo>
                <a:cubicBezTo>
                  <a:pt x="206271" y="595018"/>
                  <a:pt x="202051" y="601487"/>
                  <a:pt x="201355" y="609067"/>
                </a:cubicBezTo>
                <a:cubicBezTo>
                  <a:pt x="200489" y="618497"/>
                  <a:pt x="195720" y="623726"/>
                  <a:pt x="188474" y="628398"/>
                </a:cubicBezTo>
                <a:cubicBezTo>
                  <a:pt x="177332" y="635582"/>
                  <a:pt x="167866" y="644503"/>
                  <a:pt x="162658" y="657096"/>
                </a:cubicBezTo>
                <a:cubicBezTo>
                  <a:pt x="156420" y="672181"/>
                  <a:pt x="160439" y="684301"/>
                  <a:pt x="175395" y="691621"/>
                </a:cubicBezTo>
                <a:cubicBezTo>
                  <a:pt x="183722" y="695697"/>
                  <a:pt x="192859" y="698589"/>
                  <a:pt x="201948" y="700523"/>
                </a:cubicBezTo>
                <a:cubicBezTo>
                  <a:pt x="214634" y="703224"/>
                  <a:pt x="227616" y="704530"/>
                  <a:pt x="241426" y="706574"/>
                </a:cubicBezTo>
                <a:cubicBezTo>
                  <a:pt x="241839" y="709770"/>
                  <a:pt x="242576" y="712857"/>
                  <a:pt x="242586" y="715946"/>
                </a:cubicBezTo>
                <a:cubicBezTo>
                  <a:pt x="242672" y="744610"/>
                  <a:pt x="243133" y="773285"/>
                  <a:pt x="242424" y="801932"/>
                </a:cubicBezTo>
                <a:cubicBezTo>
                  <a:pt x="242053" y="816907"/>
                  <a:pt x="239631" y="831838"/>
                  <a:pt x="238000" y="846774"/>
                </a:cubicBezTo>
                <a:cubicBezTo>
                  <a:pt x="236368" y="861717"/>
                  <a:pt x="234927" y="876693"/>
                  <a:pt x="232752" y="891559"/>
                </a:cubicBezTo>
                <a:cubicBezTo>
                  <a:pt x="229873" y="911238"/>
                  <a:pt x="226675" y="930882"/>
                  <a:pt x="223037" y="950433"/>
                </a:cubicBezTo>
                <a:cubicBezTo>
                  <a:pt x="219173" y="971193"/>
                  <a:pt x="215113" y="991942"/>
                  <a:pt x="210247" y="1012485"/>
                </a:cubicBezTo>
                <a:cubicBezTo>
                  <a:pt x="205743" y="1031500"/>
                  <a:pt x="200395" y="1050337"/>
                  <a:pt x="194820" y="1069074"/>
                </a:cubicBezTo>
                <a:cubicBezTo>
                  <a:pt x="185401" y="1100731"/>
                  <a:pt x="175708" y="1132311"/>
                  <a:pt x="165707" y="1163788"/>
                </a:cubicBezTo>
                <a:cubicBezTo>
                  <a:pt x="162367" y="1174302"/>
                  <a:pt x="156145" y="1182634"/>
                  <a:pt x="144382" y="1185530"/>
                </a:cubicBezTo>
                <a:cubicBezTo>
                  <a:pt x="139281" y="1186787"/>
                  <a:pt x="134434" y="1189193"/>
                  <a:pt x="129590" y="1191342"/>
                </a:cubicBezTo>
                <a:cubicBezTo>
                  <a:pt x="120028" y="1195581"/>
                  <a:pt x="118779" y="1198539"/>
                  <a:pt x="122255" y="1208476"/>
                </a:cubicBezTo>
                <a:cubicBezTo>
                  <a:pt x="123870" y="1213094"/>
                  <a:pt x="125990" y="1217542"/>
                  <a:pt x="127491" y="1222193"/>
                </a:cubicBezTo>
                <a:cubicBezTo>
                  <a:pt x="132294" y="1237066"/>
                  <a:pt x="129961" y="1250353"/>
                  <a:pt x="118348" y="1261470"/>
                </a:cubicBezTo>
                <a:cubicBezTo>
                  <a:pt x="98275" y="1280686"/>
                  <a:pt x="78038" y="1299737"/>
                  <a:pt x="58232" y="1319224"/>
                </a:cubicBezTo>
                <a:cubicBezTo>
                  <a:pt x="38634" y="1338507"/>
                  <a:pt x="29913" y="1362564"/>
                  <a:pt x="28815" y="1389717"/>
                </a:cubicBezTo>
                <a:cubicBezTo>
                  <a:pt x="28318" y="1402031"/>
                  <a:pt x="29110" y="1414206"/>
                  <a:pt x="32634" y="1426050"/>
                </a:cubicBezTo>
                <a:cubicBezTo>
                  <a:pt x="34273" y="1431554"/>
                  <a:pt x="33300" y="1435929"/>
                  <a:pt x="30331" y="1441003"/>
                </a:cubicBezTo>
                <a:cubicBezTo>
                  <a:pt x="16698" y="1464298"/>
                  <a:pt x="8890" y="1489397"/>
                  <a:pt x="9180" y="1516655"/>
                </a:cubicBezTo>
                <a:cubicBezTo>
                  <a:pt x="9291" y="1527012"/>
                  <a:pt x="9917" y="1528771"/>
                  <a:pt x="20082" y="1531402"/>
                </a:cubicBezTo>
                <a:cubicBezTo>
                  <a:pt x="38179" y="1536086"/>
                  <a:pt x="56480" y="1540035"/>
                  <a:pt x="74798" y="1543794"/>
                </a:cubicBezTo>
                <a:cubicBezTo>
                  <a:pt x="87517" y="1546403"/>
                  <a:pt x="100396" y="1548250"/>
                  <a:pt x="113225" y="1550305"/>
                </a:cubicBezTo>
                <a:cubicBezTo>
                  <a:pt x="120841" y="1551524"/>
                  <a:pt x="128467" y="1552843"/>
                  <a:pt x="136142" y="1553484"/>
                </a:cubicBezTo>
                <a:cubicBezTo>
                  <a:pt x="149934" y="1554635"/>
                  <a:pt x="163778" y="1555156"/>
                  <a:pt x="177578" y="1556220"/>
                </a:cubicBezTo>
                <a:cubicBezTo>
                  <a:pt x="195403" y="1557595"/>
                  <a:pt x="213196" y="1559407"/>
                  <a:pt x="231027" y="1560698"/>
                </a:cubicBezTo>
                <a:cubicBezTo>
                  <a:pt x="238768" y="1561259"/>
                  <a:pt x="246585" y="1560709"/>
                  <a:pt x="254342" y="1561142"/>
                </a:cubicBezTo>
                <a:cubicBezTo>
                  <a:pt x="322588" y="1564942"/>
                  <a:pt x="390896" y="1563427"/>
                  <a:pt x="459180" y="1563411"/>
                </a:cubicBezTo>
                <a:cubicBezTo>
                  <a:pt x="483236" y="1563406"/>
                  <a:pt x="507311" y="1562248"/>
                  <a:pt x="531340" y="1560936"/>
                </a:cubicBezTo>
                <a:cubicBezTo>
                  <a:pt x="551225" y="1559849"/>
                  <a:pt x="571160" y="1558554"/>
                  <a:pt x="590888" y="1555951"/>
                </a:cubicBezTo>
                <a:cubicBezTo>
                  <a:pt x="631179" y="1550635"/>
                  <a:pt x="671338" y="1544328"/>
                  <a:pt x="710712" y="1533916"/>
                </a:cubicBezTo>
                <a:cubicBezTo>
                  <a:pt x="722630" y="1530764"/>
                  <a:pt x="724036" y="1528558"/>
                  <a:pt x="724356" y="1516144"/>
                </a:cubicBezTo>
                <a:cubicBezTo>
                  <a:pt x="724970" y="1492256"/>
                  <a:pt x="718637" y="1470245"/>
                  <a:pt x="707380" y="1449380"/>
                </a:cubicBezTo>
                <a:cubicBezTo>
                  <a:pt x="706259" y="1447304"/>
                  <a:pt x="706896" y="1444279"/>
                  <a:pt x="707050" y="1440881"/>
                </a:cubicBezTo>
                <a:cubicBezTo>
                  <a:pt x="722747" y="1457101"/>
                  <a:pt x="728653" y="1477963"/>
                  <a:pt x="731479" y="1500017"/>
                </a:cubicBezTo>
                <a:cubicBezTo>
                  <a:pt x="731992" y="1504029"/>
                  <a:pt x="731781" y="1508135"/>
                  <a:pt x="731163" y="1513759"/>
                </a:cubicBezTo>
                <a:cubicBezTo>
                  <a:pt x="730831" y="1517468"/>
                  <a:pt x="731241" y="1519618"/>
                  <a:pt x="731650" y="1521766"/>
                </a:cubicBezTo>
                <a:cubicBezTo>
                  <a:pt x="733191" y="1529956"/>
                  <a:pt x="730165" y="1535242"/>
                  <a:pt x="721896" y="1537319"/>
                </a:cubicBezTo>
                <a:cubicBezTo>
                  <a:pt x="700520" y="1542690"/>
                  <a:pt x="679367" y="1549248"/>
                  <a:pt x="657740" y="1553265"/>
                </a:cubicBezTo>
                <a:cubicBezTo>
                  <a:pt x="608220" y="1562464"/>
                  <a:pt x="558146" y="1566701"/>
                  <a:pt x="507791" y="1568943"/>
                </a:cubicBezTo>
                <a:cubicBezTo>
                  <a:pt x="426738" y="1572552"/>
                  <a:pt x="345677" y="1572161"/>
                  <a:pt x="264676" y="1569724"/>
                </a:cubicBezTo>
                <a:cubicBezTo>
                  <a:pt x="203800" y="1567891"/>
                  <a:pt x="142882" y="1563907"/>
                  <a:pt x="82743" y="1553254"/>
                </a:cubicBezTo>
                <a:cubicBezTo>
                  <a:pt x="60647" y="1549341"/>
                  <a:pt x="38739" y="1544032"/>
                  <a:pt x="17072" y="1538153"/>
                </a:cubicBezTo>
                <a:cubicBezTo>
                  <a:pt x="1381" y="1533894"/>
                  <a:pt x="-938" y="1529341"/>
                  <a:pt x="275" y="1513030"/>
                </a:cubicBezTo>
                <a:cubicBezTo>
                  <a:pt x="2146" y="1487871"/>
                  <a:pt x="7321" y="1463566"/>
                  <a:pt x="20923" y="1441861"/>
                </a:cubicBezTo>
                <a:cubicBezTo>
                  <a:pt x="24812" y="1435656"/>
                  <a:pt x="24566" y="1429699"/>
                  <a:pt x="23045" y="1423105"/>
                </a:cubicBezTo>
                <a:cubicBezTo>
                  <a:pt x="16952" y="1396684"/>
                  <a:pt x="19689" y="1370924"/>
                  <a:pt x="30564" y="1346289"/>
                </a:cubicBezTo>
                <a:cubicBezTo>
                  <a:pt x="39621" y="1325774"/>
                  <a:pt x="54481" y="1309709"/>
                  <a:pt x="71350" y="1295039"/>
                </a:cubicBezTo>
                <a:cubicBezTo>
                  <a:pt x="85712" y="1282550"/>
                  <a:pt x="99164" y="1268932"/>
                  <a:pt x="112257" y="1255093"/>
                </a:cubicBezTo>
                <a:cubicBezTo>
                  <a:pt x="122891" y="1243852"/>
                  <a:pt x="124955" y="1230879"/>
                  <a:pt x="115864" y="1217271"/>
                </a:cubicBezTo>
                <a:cubicBezTo>
                  <a:pt x="114506" y="1215239"/>
                  <a:pt x="113304" y="1213078"/>
                  <a:pt x="112256" y="1210870"/>
                </a:cubicBezTo>
                <a:cubicBezTo>
                  <a:pt x="106526" y="1198808"/>
                  <a:pt x="109052" y="1191969"/>
                  <a:pt x="121141" y="1186548"/>
                </a:cubicBezTo>
                <a:cubicBezTo>
                  <a:pt x="126274" y="1184246"/>
                  <a:pt x="131201" y="1180803"/>
                  <a:pt x="136571" y="1179850"/>
                </a:cubicBezTo>
                <a:cubicBezTo>
                  <a:pt x="149372" y="1177579"/>
                  <a:pt x="154892" y="1168948"/>
                  <a:pt x="158281" y="1157879"/>
                </a:cubicBezTo>
                <a:cubicBezTo>
                  <a:pt x="168288" y="1125194"/>
                  <a:pt x="179178" y="1092742"/>
                  <a:pt x="187986" y="1059736"/>
                </a:cubicBezTo>
                <a:cubicBezTo>
                  <a:pt x="198666" y="1019713"/>
                  <a:pt x="207813" y="979272"/>
                  <a:pt x="217119" y="938896"/>
                </a:cubicBezTo>
                <a:cubicBezTo>
                  <a:pt x="220491" y="924267"/>
                  <a:pt x="222410" y="909302"/>
                  <a:pt x="225792" y="893236"/>
                </a:cubicBezTo>
                <a:cubicBezTo>
                  <a:pt x="226444" y="890644"/>
                  <a:pt x="226297" y="889307"/>
                  <a:pt x="226150" y="887970"/>
                </a:cubicBezTo>
                <a:cubicBezTo>
                  <a:pt x="227450" y="877085"/>
                  <a:pt x="228750" y="866198"/>
                  <a:pt x="230782" y="853969"/>
                </a:cubicBezTo>
                <a:cubicBezTo>
                  <a:pt x="231271" y="851270"/>
                  <a:pt x="231029" y="849914"/>
                  <a:pt x="230786" y="848558"/>
                </a:cubicBezTo>
                <a:cubicBezTo>
                  <a:pt x="231390" y="840967"/>
                  <a:pt x="231993" y="833375"/>
                  <a:pt x="233315" y="824438"/>
                </a:cubicBezTo>
                <a:cubicBezTo>
                  <a:pt x="233755" y="821744"/>
                  <a:pt x="233477" y="820397"/>
                  <a:pt x="233199" y="819050"/>
                </a:cubicBezTo>
                <a:cubicBezTo>
                  <a:pt x="233786" y="807422"/>
                  <a:pt x="234374" y="795794"/>
                  <a:pt x="235848" y="782380"/>
                </a:cubicBezTo>
                <a:cubicBezTo>
                  <a:pt x="237047" y="760099"/>
                  <a:pt x="237488" y="739606"/>
                  <a:pt x="237465" y="719113"/>
                </a:cubicBezTo>
                <a:cubicBezTo>
                  <a:pt x="237463" y="717127"/>
                  <a:pt x="234595" y="715144"/>
                  <a:pt x="233057" y="713160"/>
                </a:cubicBezTo>
                <a:cubicBezTo>
                  <a:pt x="223043" y="711630"/>
                  <a:pt x="212881" y="710731"/>
                  <a:pt x="203056" y="708405"/>
                </a:cubicBezTo>
                <a:cubicBezTo>
                  <a:pt x="191716" y="705720"/>
                  <a:pt x="180144" y="702931"/>
                  <a:pt x="169628" y="698106"/>
                </a:cubicBezTo>
                <a:cubicBezTo>
                  <a:pt x="154505" y="691164"/>
                  <a:pt x="148867" y="675179"/>
                  <a:pt x="153237" y="659111"/>
                </a:cubicBezTo>
                <a:cubicBezTo>
                  <a:pt x="157196" y="644561"/>
                  <a:pt x="166649" y="634454"/>
                  <a:pt x="178365" y="626008"/>
                </a:cubicBezTo>
                <a:cubicBezTo>
                  <a:pt x="182258" y="623202"/>
                  <a:pt x="186579" y="620992"/>
                  <a:pt x="191885" y="617513"/>
                </a:cubicBezTo>
                <a:cubicBezTo>
                  <a:pt x="194882" y="614532"/>
                  <a:pt x="197062" y="612583"/>
                  <a:pt x="193681" y="610098"/>
                </a:cubicBezTo>
                <a:cubicBezTo>
                  <a:pt x="193381" y="595591"/>
                  <a:pt x="202034" y="586776"/>
                  <a:pt x="213301" y="579885"/>
                </a:cubicBezTo>
                <a:cubicBezTo>
                  <a:pt x="218517" y="576695"/>
                  <a:pt x="224270" y="574393"/>
                  <a:pt x="229635" y="571429"/>
                </a:cubicBezTo>
                <a:cubicBezTo>
                  <a:pt x="232401" y="569901"/>
                  <a:pt x="235344" y="568225"/>
                  <a:pt x="237351" y="565882"/>
                </a:cubicBezTo>
                <a:cubicBezTo>
                  <a:pt x="243193" y="559063"/>
                  <a:pt x="242021" y="554779"/>
                  <a:pt x="233673" y="550926"/>
                </a:cubicBezTo>
                <a:cubicBezTo>
                  <a:pt x="231458" y="549904"/>
                  <a:pt x="229049" y="549314"/>
                  <a:pt x="226799" y="548359"/>
                </a:cubicBezTo>
                <a:cubicBezTo>
                  <a:pt x="215108" y="543398"/>
                  <a:pt x="211118" y="532802"/>
                  <a:pt x="218639" y="522664"/>
                </a:cubicBezTo>
                <a:cubicBezTo>
                  <a:pt x="223647" y="515913"/>
                  <a:pt x="222661" y="511633"/>
                  <a:pt x="218264" y="505463"/>
                </a:cubicBezTo>
                <a:cubicBezTo>
                  <a:pt x="203255" y="484407"/>
                  <a:pt x="190650" y="461993"/>
                  <a:pt x="181762" y="437574"/>
                </a:cubicBezTo>
                <a:cubicBezTo>
                  <a:pt x="163530" y="387483"/>
                  <a:pt x="165826" y="338057"/>
                  <a:pt x="185971" y="289069"/>
                </a:cubicBezTo>
                <a:cubicBezTo>
                  <a:pt x="202921" y="247851"/>
                  <a:pt x="226229" y="210377"/>
                  <a:pt x="253787" y="175580"/>
                </a:cubicBezTo>
                <a:cubicBezTo>
                  <a:pt x="271814" y="152817"/>
                  <a:pt x="290973" y="130951"/>
                  <a:pt x="309639" y="108695"/>
                </a:cubicBezTo>
                <a:cubicBezTo>
                  <a:pt x="312744" y="104993"/>
                  <a:pt x="315922" y="101352"/>
                  <a:pt x="318061" y="98855"/>
                </a:cubicBezTo>
                <a:cubicBezTo>
                  <a:pt x="313257" y="88362"/>
                  <a:pt x="308695" y="79376"/>
                  <a:pt x="304967" y="70056"/>
                </a:cubicBezTo>
                <a:cubicBezTo>
                  <a:pt x="297146" y="50504"/>
                  <a:pt x="303366" y="33481"/>
                  <a:pt x="317012" y="19436"/>
                </a:cubicBezTo>
                <a:cubicBezTo>
                  <a:pt x="344741" y="-9105"/>
                  <a:pt x="393463" y="-3345"/>
                  <a:pt x="415542" y="18221"/>
                </a:cubicBezTo>
                <a:cubicBezTo>
                  <a:pt x="429559" y="31914"/>
                  <a:pt x="438373" y="56968"/>
                  <a:pt x="423203" y="82660"/>
                </a:cubicBezTo>
                <a:cubicBezTo>
                  <a:pt x="420306" y="87568"/>
                  <a:pt x="417047" y="92262"/>
                  <a:pt x="413361" y="97975"/>
                </a:cubicBezTo>
                <a:cubicBezTo>
                  <a:pt x="416167" y="100932"/>
                  <a:pt x="418781" y="103940"/>
                  <a:pt x="421654" y="106676"/>
                </a:cubicBezTo>
                <a:cubicBezTo>
                  <a:pt x="446372" y="130213"/>
                  <a:pt x="467902" y="156374"/>
                  <a:pt x="487032" y="184632"/>
                </a:cubicBezTo>
                <a:cubicBezTo>
                  <a:pt x="492374" y="192525"/>
                  <a:pt x="493990" y="199495"/>
                  <a:pt x="489213" y="208238"/>
                </a:cubicBezTo>
                <a:cubicBezTo>
                  <a:pt x="484525" y="216819"/>
                  <a:pt x="481033" y="226053"/>
                  <a:pt x="476520" y="235738"/>
                </a:cubicBezTo>
                <a:cubicBezTo>
                  <a:pt x="472168" y="236089"/>
                  <a:pt x="471165" y="234358"/>
                  <a:pt x="472850" y="230703"/>
                </a:cubicBezTo>
                <a:cubicBezTo>
                  <a:pt x="476263" y="223297"/>
                  <a:pt x="479344" y="215738"/>
                  <a:pt x="482723" y="208315"/>
                </a:cubicBezTo>
                <a:cubicBezTo>
                  <a:pt x="486016" y="201080"/>
                  <a:pt x="485571" y="194961"/>
                  <a:pt x="480764" y="187916"/>
                </a:cubicBezTo>
                <a:cubicBezTo>
                  <a:pt x="459995" y="157475"/>
                  <a:pt x="437234" y="128912"/>
                  <a:pt x="408519" y="105475"/>
                </a:cubicBezTo>
                <a:cubicBezTo>
                  <a:pt x="403555" y="101425"/>
                  <a:pt x="403835" y="96489"/>
                  <a:pt x="408625" y="89203"/>
                </a:cubicBezTo>
                <a:cubicBezTo>
                  <a:pt x="412416" y="83438"/>
                  <a:pt x="416045" y="77562"/>
                  <a:pt x="419600" y="71648"/>
                </a:cubicBezTo>
                <a:cubicBezTo>
                  <a:pt x="421349" y="68739"/>
                  <a:pt x="422717" y="65537"/>
                  <a:pt x="418792" y="63179"/>
                </a:cubicBezTo>
                <a:cubicBezTo>
                  <a:pt x="414834" y="60801"/>
                  <a:pt x="413218" y="63883"/>
                  <a:pt x="410943" y="66417"/>
                </a:cubicBezTo>
                <a:cubicBezTo>
                  <a:pt x="407706" y="70022"/>
                  <a:pt x="404330" y="74045"/>
                  <a:pt x="400140" y="76155"/>
                </a:cubicBezTo>
                <a:cubicBezTo>
                  <a:pt x="381561" y="85507"/>
                  <a:pt x="360821" y="72312"/>
                  <a:pt x="360599" y="51379"/>
                </a:cubicBezTo>
                <a:cubicBezTo>
                  <a:pt x="360556" y="47292"/>
                  <a:pt x="360308" y="43152"/>
                  <a:pt x="360842" y="39128"/>
                </a:cubicBezTo>
                <a:cubicBezTo>
                  <a:pt x="361447" y="34568"/>
                  <a:pt x="362880" y="30159"/>
                  <a:pt x="369470" y="30960"/>
                </a:cubicBezTo>
                <a:cubicBezTo>
                  <a:pt x="368501" y="37551"/>
                  <a:pt x="365745" y="43300"/>
                  <a:pt x="365613" y="49108"/>
                </a:cubicBezTo>
                <a:cubicBezTo>
                  <a:pt x="365328" y="61659"/>
                  <a:pt x="377498" y="72522"/>
                  <a:pt x="389468" y="71608"/>
                </a:cubicBezTo>
                <a:cubicBezTo>
                  <a:pt x="401478" y="70690"/>
                  <a:pt x="410127" y="59637"/>
                  <a:pt x="408822" y="46613"/>
                </a:cubicBezTo>
                <a:cubicBezTo>
                  <a:pt x="408542" y="43819"/>
                  <a:pt x="407521" y="41100"/>
                  <a:pt x="406842" y="38347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62" name="Free-form: Shape 261">
            <a:extLst>
              <a:ext uri="{FF2B5EF4-FFF2-40B4-BE49-F238E27FC236}">
                <a16:creationId xmlns:a16="http://schemas.microsoft.com/office/drawing/2014/main" id="{139F698A-3F2D-4350-EAA3-48EAD1D80CCA}"/>
              </a:ext>
            </a:extLst>
          </p:cNvPr>
          <p:cNvSpPr/>
          <p:nvPr/>
        </p:nvSpPr>
        <p:spPr>
          <a:xfrm>
            <a:off x="10920262" y="3026602"/>
            <a:ext cx="91545" cy="184495"/>
          </a:xfrm>
          <a:custGeom>
            <a:avLst/>
            <a:gdLst>
              <a:gd name="csX0" fmla="*/ 96534 w 100699"/>
              <a:gd name="csY0" fmla="*/ 202912 h 202945"/>
              <a:gd name="csX1" fmla="*/ 91036 w 100699"/>
              <a:gd name="csY1" fmla="*/ 196780 h 202945"/>
              <a:gd name="csX2" fmla="*/ 93357 w 100699"/>
              <a:gd name="csY2" fmla="*/ 178731 h 202945"/>
              <a:gd name="csX3" fmla="*/ 75903 w 100699"/>
              <a:gd name="csY3" fmla="*/ 106029 h 202945"/>
              <a:gd name="csX4" fmla="*/ 72780 w 100699"/>
              <a:gd name="csY4" fmla="*/ 102473 h 202945"/>
              <a:gd name="csX5" fmla="*/ 10982 w 100699"/>
              <a:gd name="csY5" fmla="*/ 41414 h 202945"/>
              <a:gd name="csX6" fmla="*/ 676 w 100699"/>
              <a:gd name="csY6" fmla="*/ 2936 h 202945"/>
              <a:gd name="csX7" fmla="*/ 5198 w 100699"/>
              <a:gd name="csY7" fmla="*/ 0 h 202945"/>
              <a:gd name="csX8" fmla="*/ 15435 w 100699"/>
              <a:gd name="csY8" fmla="*/ 35855 h 202945"/>
              <a:gd name="csX9" fmla="*/ 44498 w 100699"/>
              <a:gd name="csY9" fmla="*/ 63833 h 202945"/>
              <a:gd name="csX10" fmla="*/ 81385 w 100699"/>
              <a:gd name="csY10" fmla="*/ 106005 h 202945"/>
              <a:gd name="csX11" fmla="*/ 98950 w 100699"/>
              <a:gd name="csY11" fmla="*/ 190063 h 202945"/>
              <a:gd name="csX12" fmla="*/ 96534 w 100699"/>
              <a:gd name="csY12" fmla="*/ 202912 h 20294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</a:cxnLst>
            <a:rect l="l" t="t" r="r" b="b"/>
            <a:pathLst>
              <a:path w="100699" h="202945">
                <a:moveTo>
                  <a:pt x="96534" y="202912"/>
                </a:moveTo>
                <a:cubicBezTo>
                  <a:pt x="91699" y="203291"/>
                  <a:pt x="90650" y="200377"/>
                  <a:pt x="91036" y="196780"/>
                </a:cubicBezTo>
                <a:cubicBezTo>
                  <a:pt x="91685" y="190750"/>
                  <a:pt x="92933" y="184771"/>
                  <a:pt x="93357" y="178731"/>
                </a:cubicBezTo>
                <a:cubicBezTo>
                  <a:pt x="95183" y="152694"/>
                  <a:pt x="86034" y="129222"/>
                  <a:pt x="75903" y="106029"/>
                </a:cubicBezTo>
                <a:cubicBezTo>
                  <a:pt x="75300" y="104650"/>
                  <a:pt x="73904" y="103585"/>
                  <a:pt x="72780" y="102473"/>
                </a:cubicBezTo>
                <a:cubicBezTo>
                  <a:pt x="52199" y="82101"/>
                  <a:pt x="31673" y="61673"/>
                  <a:pt x="10982" y="41414"/>
                </a:cubicBezTo>
                <a:cubicBezTo>
                  <a:pt x="-119" y="30544"/>
                  <a:pt x="-1041" y="17093"/>
                  <a:pt x="676" y="2936"/>
                </a:cubicBezTo>
                <a:cubicBezTo>
                  <a:pt x="808" y="1852"/>
                  <a:pt x="2922" y="1010"/>
                  <a:pt x="5198" y="0"/>
                </a:cubicBezTo>
                <a:cubicBezTo>
                  <a:pt x="2043" y="13772"/>
                  <a:pt x="5665" y="25821"/>
                  <a:pt x="15435" y="35855"/>
                </a:cubicBezTo>
                <a:cubicBezTo>
                  <a:pt x="24811" y="45486"/>
                  <a:pt x="35301" y="54047"/>
                  <a:pt x="44498" y="63833"/>
                </a:cubicBezTo>
                <a:cubicBezTo>
                  <a:pt x="57293" y="77447"/>
                  <a:pt x="70760" y="90773"/>
                  <a:pt x="81385" y="106005"/>
                </a:cubicBezTo>
                <a:cubicBezTo>
                  <a:pt x="98896" y="131109"/>
                  <a:pt x="103759" y="159808"/>
                  <a:pt x="98950" y="190063"/>
                </a:cubicBezTo>
                <a:cubicBezTo>
                  <a:pt x="98311" y="194082"/>
                  <a:pt x="97697" y="198105"/>
                  <a:pt x="96534" y="202912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63" name="Free-form: Shape 262">
            <a:extLst>
              <a:ext uri="{FF2B5EF4-FFF2-40B4-BE49-F238E27FC236}">
                <a16:creationId xmlns:a16="http://schemas.microsoft.com/office/drawing/2014/main" id="{36555422-B602-B338-9D94-CA09907A62BF}"/>
              </a:ext>
            </a:extLst>
          </p:cNvPr>
          <p:cNvSpPr/>
          <p:nvPr/>
        </p:nvSpPr>
        <p:spPr>
          <a:xfrm>
            <a:off x="10578978" y="2562566"/>
            <a:ext cx="3739" cy="60936"/>
          </a:xfrm>
          <a:custGeom>
            <a:avLst/>
            <a:gdLst>
              <a:gd name="csX0" fmla="*/ 0 w 4113"/>
              <a:gd name="csY0" fmla="*/ 0 h 67029"/>
              <a:gd name="csX1" fmla="*/ 4113 w 4113"/>
              <a:gd name="csY1" fmla="*/ 4824 h 67029"/>
              <a:gd name="csX2" fmla="*/ 2662 w 4113"/>
              <a:gd name="csY2" fmla="*/ 67030 h 67029"/>
              <a:gd name="csX3" fmla="*/ 631 w 4113"/>
              <a:gd name="csY3" fmla="*/ 55883 h 67029"/>
              <a:gd name="csX4" fmla="*/ 0 w 4113"/>
              <a:gd name="csY4" fmla="*/ 0 h 6702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4113" h="67029">
                <a:moveTo>
                  <a:pt x="0" y="0"/>
                </a:moveTo>
                <a:cubicBezTo>
                  <a:pt x="1242" y="855"/>
                  <a:pt x="4111" y="2838"/>
                  <a:pt x="4113" y="4824"/>
                </a:cubicBezTo>
                <a:cubicBezTo>
                  <a:pt x="4135" y="25317"/>
                  <a:pt x="3695" y="45810"/>
                  <a:pt x="2662" y="67030"/>
                </a:cubicBezTo>
                <a:cubicBezTo>
                  <a:pt x="1483" y="63799"/>
                  <a:pt x="680" y="59846"/>
                  <a:pt x="631" y="55883"/>
                </a:cubicBezTo>
                <a:cubicBezTo>
                  <a:pt x="404" y="37633"/>
                  <a:pt x="388" y="19381"/>
                  <a:pt x="0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64" name="Free-form: Shape 263">
            <a:extLst>
              <a:ext uri="{FF2B5EF4-FFF2-40B4-BE49-F238E27FC236}">
                <a16:creationId xmlns:a16="http://schemas.microsoft.com/office/drawing/2014/main" id="{5568CEF5-DD19-089C-8E98-440703B99364}"/>
              </a:ext>
            </a:extLst>
          </p:cNvPr>
          <p:cNvSpPr/>
          <p:nvPr/>
        </p:nvSpPr>
        <p:spPr>
          <a:xfrm>
            <a:off x="11031367" y="3290366"/>
            <a:ext cx="1060" cy="5803"/>
          </a:xfrm>
          <a:custGeom>
            <a:avLst/>
            <a:gdLst>
              <a:gd name="csX0" fmla="*/ 1130 w 1165"/>
              <a:gd name="csY0" fmla="*/ 6385 h 6384"/>
              <a:gd name="csX1" fmla="*/ 49 w 1165"/>
              <a:gd name="csY1" fmla="*/ 0 h 6384"/>
              <a:gd name="csX2" fmla="*/ 1130 w 1165"/>
              <a:gd name="csY2" fmla="*/ 6385 h 638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165" h="6384">
                <a:moveTo>
                  <a:pt x="1130" y="6385"/>
                </a:moveTo>
                <a:cubicBezTo>
                  <a:pt x="260" y="4748"/>
                  <a:pt x="-149" y="2599"/>
                  <a:pt x="49" y="0"/>
                </a:cubicBezTo>
                <a:cubicBezTo>
                  <a:pt x="969" y="1658"/>
                  <a:pt x="1279" y="3765"/>
                  <a:pt x="1130" y="6385"/>
                </a:cubicBezTo>
                <a:close/>
              </a:path>
            </a:pathLst>
          </a:custGeom>
          <a:solidFill>
            <a:srgbClr val="939B9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65" name="Free-form: Shape 264">
            <a:extLst>
              <a:ext uri="{FF2B5EF4-FFF2-40B4-BE49-F238E27FC236}">
                <a16:creationId xmlns:a16="http://schemas.microsoft.com/office/drawing/2014/main" id="{3850A5D4-E44C-3575-5470-A325A3998CFC}"/>
              </a:ext>
            </a:extLst>
          </p:cNvPr>
          <p:cNvSpPr/>
          <p:nvPr/>
        </p:nvSpPr>
        <p:spPr>
          <a:xfrm>
            <a:off x="11001638" y="3216271"/>
            <a:ext cx="5440" cy="2491"/>
          </a:xfrm>
          <a:custGeom>
            <a:avLst/>
            <a:gdLst>
              <a:gd name="csX0" fmla="*/ 5985 w 5984"/>
              <a:gd name="csY0" fmla="*/ 1832 h 2740"/>
              <a:gd name="csX1" fmla="*/ 0 w 5984"/>
              <a:gd name="csY1" fmla="*/ 2740 h 2740"/>
              <a:gd name="csX2" fmla="*/ 4930 w 5984"/>
              <a:gd name="csY2" fmla="*/ 0 h 2740"/>
              <a:gd name="csX3" fmla="*/ 5985 w 5984"/>
              <a:gd name="csY3" fmla="*/ 1832 h 274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</a:cxnLst>
            <a:rect l="l" t="t" r="r" b="b"/>
            <a:pathLst>
              <a:path w="5984" h="2740">
                <a:moveTo>
                  <a:pt x="5985" y="1832"/>
                </a:moveTo>
                <a:cubicBezTo>
                  <a:pt x="3992" y="2553"/>
                  <a:pt x="1996" y="2646"/>
                  <a:pt x="0" y="2740"/>
                </a:cubicBezTo>
                <a:cubicBezTo>
                  <a:pt x="1398" y="1830"/>
                  <a:pt x="2796" y="920"/>
                  <a:pt x="4930" y="0"/>
                </a:cubicBezTo>
                <a:cubicBezTo>
                  <a:pt x="5772" y="394"/>
                  <a:pt x="5877" y="799"/>
                  <a:pt x="5985" y="1832"/>
                </a:cubicBezTo>
                <a:close/>
              </a:path>
            </a:pathLst>
          </a:custGeom>
          <a:solidFill>
            <a:srgbClr val="8E9395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66" name="Free-form: Shape 265">
            <a:extLst>
              <a:ext uri="{FF2B5EF4-FFF2-40B4-BE49-F238E27FC236}">
                <a16:creationId xmlns:a16="http://schemas.microsoft.com/office/drawing/2014/main" id="{68A29C97-970E-9EB7-2403-FC6F0F2C2EA9}"/>
              </a:ext>
            </a:extLst>
          </p:cNvPr>
          <p:cNvSpPr/>
          <p:nvPr/>
        </p:nvSpPr>
        <p:spPr>
          <a:xfrm>
            <a:off x="10541751" y="2468386"/>
            <a:ext cx="2645" cy="5625"/>
          </a:xfrm>
          <a:custGeom>
            <a:avLst/>
            <a:gdLst>
              <a:gd name="csX0" fmla="*/ 815 w 2910"/>
              <a:gd name="csY0" fmla="*/ 0 h 6187"/>
              <a:gd name="csX1" fmla="*/ 113 w 2910"/>
              <a:gd name="csY1" fmla="*/ 6187 h 6187"/>
              <a:gd name="csX2" fmla="*/ 815 w 2910"/>
              <a:gd name="csY2" fmla="*/ 0 h 618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2910" h="6187">
                <a:moveTo>
                  <a:pt x="815" y="0"/>
                </a:moveTo>
                <a:cubicBezTo>
                  <a:pt x="4660" y="1891"/>
                  <a:pt x="2480" y="3840"/>
                  <a:pt x="113" y="6187"/>
                </a:cubicBezTo>
                <a:cubicBezTo>
                  <a:pt x="-172" y="4565"/>
                  <a:pt x="89" y="2579"/>
                  <a:pt x="815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67" name="Free-form: Shape 266">
            <a:extLst>
              <a:ext uri="{FF2B5EF4-FFF2-40B4-BE49-F238E27FC236}">
                <a16:creationId xmlns:a16="http://schemas.microsoft.com/office/drawing/2014/main" id="{55394938-3CC9-9171-AFF1-F92CDD27F20E}"/>
              </a:ext>
            </a:extLst>
          </p:cNvPr>
          <p:cNvSpPr/>
          <p:nvPr/>
        </p:nvSpPr>
        <p:spPr>
          <a:xfrm>
            <a:off x="10576166" y="2684960"/>
            <a:ext cx="770" cy="3664"/>
          </a:xfrm>
          <a:custGeom>
            <a:avLst/>
            <a:gdLst>
              <a:gd name="csX0" fmla="*/ 106 w 847"/>
              <a:gd name="csY0" fmla="*/ 0 h 4030"/>
              <a:gd name="csX1" fmla="*/ 732 w 847"/>
              <a:gd name="csY1" fmla="*/ 4031 h 4030"/>
              <a:gd name="csX2" fmla="*/ 106 w 847"/>
              <a:gd name="csY2" fmla="*/ 0 h 403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7" h="4030">
                <a:moveTo>
                  <a:pt x="106" y="0"/>
                </a:moveTo>
                <a:cubicBezTo>
                  <a:pt x="770" y="990"/>
                  <a:pt x="1013" y="2346"/>
                  <a:pt x="732" y="4031"/>
                </a:cubicBezTo>
                <a:cubicBezTo>
                  <a:pt x="34" y="3029"/>
                  <a:pt x="-141" y="1697"/>
                  <a:pt x="106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68" name="Free-form: Shape 267">
            <a:extLst>
              <a:ext uri="{FF2B5EF4-FFF2-40B4-BE49-F238E27FC236}">
                <a16:creationId xmlns:a16="http://schemas.microsoft.com/office/drawing/2014/main" id="{E206903F-3D49-7301-2417-4699F68ED073}"/>
              </a:ext>
            </a:extLst>
          </p:cNvPr>
          <p:cNvSpPr/>
          <p:nvPr/>
        </p:nvSpPr>
        <p:spPr>
          <a:xfrm>
            <a:off x="10571842" y="2720754"/>
            <a:ext cx="703" cy="3631"/>
          </a:xfrm>
          <a:custGeom>
            <a:avLst/>
            <a:gdLst>
              <a:gd name="csX0" fmla="*/ 195 w 774"/>
              <a:gd name="csY0" fmla="*/ 0 h 3994"/>
              <a:gd name="csX1" fmla="*/ 575 w 774"/>
              <a:gd name="csY1" fmla="*/ 3994 h 3994"/>
              <a:gd name="csX2" fmla="*/ 195 w 774"/>
              <a:gd name="csY2" fmla="*/ 0 h 399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774" h="3994">
                <a:moveTo>
                  <a:pt x="195" y="0"/>
                </a:moveTo>
                <a:cubicBezTo>
                  <a:pt x="794" y="1011"/>
                  <a:pt x="941" y="2348"/>
                  <a:pt x="575" y="3994"/>
                </a:cubicBezTo>
                <a:cubicBezTo>
                  <a:pt x="-44" y="2978"/>
                  <a:pt x="-151" y="1652"/>
                  <a:pt x="195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69" name="Free-form: Shape 268">
            <a:extLst>
              <a:ext uri="{FF2B5EF4-FFF2-40B4-BE49-F238E27FC236}">
                <a16:creationId xmlns:a16="http://schemas.microsoft.com/office/drawing/2014/main" id="{08C3B239-4A8B-0D47-167F-653F52E99D54}"/>
              </a:ext>
            </a:extLst>
          </p:cNvPr>
          <p:cNvSpPr/>
          <p:nvPr/>
        </p:nvSpPr>
        <p:spPr>
          <a:xfrm>
            <a:off x="10578419" y="2658150"/>
            <a:ext cx="787" cy="3631"/>
          </a:xfrm>
          <a:custGeom>
            <a:avLst/>
            <a:gdLst>
              <a:gd name="csX0" fmla="*/ 71 w 865"/>
              <a:gd name="csY0" fmla="*/ 0 h 3995"/>
              <a:gd name="csX1" fmla="*/ 783 w 865"/>
              <a:gd name="csY1" fmla="*/ 3996 h 3995"/>
              <a:gd name="csX2" fmla="*/ 71 w 865"/>
              <a:gd name="csY2" fmla="*/ 0 h 399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65" h="3995">
                <a:moveTo>
                  <a:pt x="71" y="0"/>
                </a:moveTo>
                <a:cubicBezTo>
                  <a:pt x="740" y="963"/>
                  <a:pt x="1018" y="2311"/>
                  <a:pt x="783" y="3996"/>
                </a:cubicBezTo>
                <a:cubicBezTo>
                  <a:pt x="73" y="3017"/>
                  <a:pt x="-124" y="1701"/>
                  <a:pt x="71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70" name="Free-form: Shape 269">
            <a:extLst>
              <a:ext uri="{FF2B5EF4-FFF2-40B4-BE49-F238E27FC236}">
                <a16:creationId xmlns:a16="http://schemas.microsoft.com/office/drawing/2014/main" id="{FAC31954-AE5B-AD77-E481-7827CE39AFB3}"/>
              </a:ext>
            </a:extLst>
          </p:cNvPr>
          <p:cNvSpPr/>
          <p:nvPr/>
        </p:nvSpPr>
        <p:spPr>
          <a:xfrm>
            <a:off x="10696723" y="2562176"/>
            <a:ext cx="170236" cy="426821"/>
          </a:xfrm>
          <a:custGeom>
            <a:avLst/>
            <a:gdLst>
              <a:gd name="csX0" fmla="*/ 120604 w 187260"/>
              <a:gd name="csY0" fmla="*/ 222968 h 469503"/>
              <a:gd name="csX1" fmla="*/ 187261 w 187260"/>
              <a:gd name="csY1" fmla="*/ 469503 h 469503"/>
              <a:gd name="csX2" fmla="*/ 1253 w 187260"/>
              <a:gd name="csY2" fmla="*/ 466078 h 469503"/>
              <a:gd name="csX3" fmla="*/ 8 w 187260"/>
              <a:gd name="csY3" fmla="*/ 458101 h 469503"/>
              <a:gd name="csX4" fmla="*/ 4383 w 187260"/>
              <a:gd name="csY4" fmla="*/ 351443 h 469503"/>
              <a:gd name="csX5" fmla="*/ 4615 w 187260"/>
              <a:gd name="csY5" fmla="*/ 346536 h 469503"/>
              <a:gd name="csX6" fmla="*/ 7935 w 187260"/>
              <a:gd name="csY6" fmla="*/ 233648 h 469503"/>
              <a:gd name="csX7" fmla="*/ 10461 w 187260"/>
              <a:gd name="csY7" fmla="*/ 128112 h 469503"/>
              <a:gd name="csX8" fmla="*/ 12461 w 187260"/>
              <a:gd name="csY8" fmla="*/ 12750 h 469503"/>
              <a:gd name="csX9" fmla="*/ 13165 w 187260"/>
              <a:gd name="csY9" fmla="*/ 4285 h 469503"/>
              <a:gd name="csX10" fmla="*/ 102327 w 187260"/>
              <a:gd name="csY10" fmla="*/ 0 h 469503"/>
              <a:gd name="csX11" fmla="*/ 106229 w 187260"/>
              <a:gd name="csY11" fmla="*/ 111321 h 469503"/>
              <a:gd name="csX12" fmla="*/ 120604 w 187260"/>
              <a:gd name="csY12" fmla="*/ 222968 h 46950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</a:cxnLst>
            <a:rect l="l" t="t" r="r" b="b"/>
            <a:pathLst>
              <a:path w="187260" h="469503">
                <a:moveTo>
                  <a:pt x="120604" y="222968"/>
                </a:moveTo>
                <a:cubicBezTo>
                  <a:pt x="135383" y="307129"/>
                  <a:pt x="159464" y="387725"/>
                  <a:pt x="187261" y="469503"/>
                </a:cubicBezTo>
                <a:cubicBezTo>
                  <a:pt x="124460" y="468347"/>
                  <a:pt x="63286" y="467220"/>
                  <a:pt x="1253" y="466078"/>
                </a:cubicBezTo>
                <a:cubicBezTo>
                  <a:pt x="818" y="463442"/>
                  <a:pt x="-95" y="460752"/>
                  <a:pt x="8" y="458101"/>
                </a:cubicBezTo>
                <a:cubicBezTo>
                  <a:pt x="1383" y="422545"/>
                  <a:pt x="2900" y="386994"/>
                  <a:pt x="4383" y="351443"/>
                </a:cubicBezTo>
                <a:cubicBezTo>
                  <a:pt x="4451" y="349807"/>
                  <a:pt x="4566" y="348172"/>
                  <a:pt x="4615" y="346536"/>
                </a:cubicBezTo>
                <a:cubicBezTo>
                  <a:pt x="5732" y="308907"/>
                  <a:pt x="6921" y="271280"/>
                  <a:pt x="7935" y="233648"/>
                </a:cubicBezTo>
                <a:cubicBezTo>
                  <a:pt x="8883" y="198472"/>
                  <a:pt x="9752" y="163293"/>
                  <a:pt x="10461" y="128112"/>
                </a:cubicBezTo>
                <a:cubicBezTo>
                  <a:pt x="11237" y="89660"/>
                  <a:pt x="11781" y="51204"/>
                  <a:pt x="12461" y="12750"/>
                </a:cubicBezTo>
                <a:cubicBezTo>
                  <a:pt x="12503" y="10363"/>
                  <a:pt x="12848" y="7981"/>
                  <a:pt x="13165" y="4285"/>
                </a:cubicBezTo>
                <a:cubicBezTo>
                  <a:pt x="42856" y="2858"/>
                  <a:pt x="72082" y="1454"/>
                  <a:pt x="102327" y="0"/>
                </a:cubicBezTo>
                <a:cubicBezTo>
                  <a:pt x="103499" y="37348"/>
                  <a:pt x="103207" y="74470"/>
                  <a:pt x="106229" y="111321"/>
                </a:cubicBezTo>
                <a:cubicBezTo>
                  <a:pt x="109263" y="148326"/>
                  <a:pt x="115599" y="185060"/>
                  <a:pt x="120604" y="222968"/>
                </a:cubicBezTo>
                <a:close/>
              </a:path>
            </a:pathLst>
          </a:custGeom>
          <a:solidFill>
            <a:srgbClr val="FDFDFD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71" name="Free-form: Shape 270">
            <a:extLst>
              <a:ext uri="{FF2B5EF4-FFF2-40B4-BE49-F238E27FC236}">
                <a16:creationId xmlns:a16="http://schemas.microsoft.com/office/drawing/2014/main" id="{148F99F1-2A69-406E-B545-3723E0CA4F72}"/>
              </a:ext>
            </a:extLst>
          </p:cNvPr>
          <p:cNvSpPr/>
          <p:nvPr/>
        </p:nvSpPr>
        <p:spPr>
          <a:xfrm>
            <a:off x="10695530" y="3028928"/>
            <a:ext cx="284824" cy="179974"/>
          </a:xfrm>
          <a:custGeom>
            <a:avLst/>
            <a:gdLst>
              <a:gd name="csX0" fmla="*/ 160234 w 313306"/>
              <a:gd name="csY0" fmla="*/ 197876 h 197971"/>
              <a:gd name="csX1" fmla="*/ 544 w 313306"/>
              <a:gd name="csY1" fmla="*/ 197972 h 197971"/>
              <a:gd name="csX2" fmla="*/ 3466 w 313306"/>
              <a:gd name="csY2" fmla="*/ 104326 h 197971"/>
              <a:gd name="csX3" fmla="*/ 0 w 313306"/>
              <a:gd name="csY3" fmla="*/ 10720 h 197971"/>
              <a:gd name="csX4" fmla="*/ 5445 w 313306"/>
              <a:gd name="csY4" fmla="*/ 9282 h 197971"/>
              <a:gd name="csX5" fmla="*/ 71623 w 313306"/>
              <a:gd name="csY5" fmla="*/ 6885 h 197971"/>
              <a:gd name="csX6" fmla="*/ 187887 w 313306"/>
              <a:gd name="csY6" fmla="*/ 233 h 197971"/>
              <a:gd name="csX7" fmla="*/ 215297 w 313306"/>
              <a:gd name="csY7" fmla="*/ 163 h 197971"/>
              <a:gd name="csX8" fmla="*/ 243629 w 313306"/>
              <a:gd name="csY8" fmla="*/ 61389 h 197971"/>
              <a:gd name="csX9" fmla="*/ 270660 w 313306"/>
              <a:gd name="csY9" fmla="*/ 86342 h 197971"/>
              <a:gd name="csX10" fmla="*/ 313142 w 313306"/>
              <a:gd name="csY10" fmla="*/ 170098 h 197971"/>
              <a:gd name="csX11" fmla="*/ 313291 w 313306"/>
              <a:gd name="csY11" fmla="*/ 176231 h 197971"/>
              <a:gd name="csX12" fmla="*/ 312654 w 313306"/>
              <a:gd name="csY12" fmla="*/ 180738 h 197971"/>
              <a:gd name="csX13" fmla="*/ 279655 w 313306"/>
              <a:gd name="csY13" fmla="*/ 186226 h 197971"/>
              <a:gd name="csX14" fmla="*/ 167436 w 313306"/>
              <a:gd name="csY14" fmla="*/ 196805 h 197971"/>
              <a:gd name="csX15" fmla="*/ 160234 w 313306"/>
              <a:gd name="csY15" fmla="*/ 197876 h 19797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</a:cxnLst>
            <a:rect l="l" t="t" r="r" b="b"/>
            <a:pathLst>
              <a:path w="313306" h="197971">
                <a:moveTo>
                  <a:pt x="160234" y="197876"/>
                </a:moveTo>
                <a:cubicBezTo>
                  <a:pt x="106384" y="197972"/>
                  <a:pt x="53682" y="197972"/>
                  <a:pt x="544" y="197972"/>
                </a:cubicBezTo>
                <a:cubicBezTo>
                  <a:pt x="1602" y="166763"/>
                  <a:pt x="3550" y="135542"/>
                  <a:pt x="3466" y="104326"/>
                </a:cubicBezTo>
                <a:cubicBezTo>
                  <a:pt x="3383" y="73323"/>
                  <a:pt x="1255" y="42326"/>
                  <a:pt x="0" y="10720"/>
                </a:cubicBezTo>
                <a:cubicBezTo>
                  <a:pt x="1689" y="10255"/>
                  <a:pt x="3551" y="9355"/>
                  <a:pt x="5445" y="9282"/>
                </a:cubicBezTo>
                <a:cubicBezTo>
                  <a:pt x="27503" y="8435"/>
                  <a:pt x="49582" y="8030"/>
                  <a:pt x="71623" y="6885"/>
                </a:cubicBezTo>
                <a:cubicBezTo>
                  <a:pt x="110388" y="4872"/>
                  <a:pt x="149126" y="2333"/>
                  <a:pt x="187887" y="233"/>
                </a:cubicBezTo>
                <a:cubicBezTo>
                  <a:pt x="196749" y="-247"/>
                  <a:pt x="205660" y="163"/>
                  <a:pt x="215297" y="163"/>
                </a:cubicBezTo>
                <a:cubicBezTo>
                  <a:pt x="215450" y="25550"/>
                  <a:pt x="226120" y="45122"/>
                  <a:pt x="243629" y="61389"/>
                </a:cubicBezTo>
                <a:cubicBezTo>
                  <a:pt x="252615" y="69739"/>
                  <a:pt x="261099" y="78715"/>
                  <a:pt x="270660" y="86342"/>
                </a:cubicBezTo>
                <a:cubicBezTo>
                  <a:pt x="297676" y="107892"/>
                  <a:pt x="310731" y="136225"/>
                  <a:pt x="313142" y="170098"/>
                </a:cubicBezTo>
                <a:cubicBezTo>
                  <a:pt x="313287" y="172136"/>
                  <a:pt x="313335" y="174188"/>
                  <a:pt x="313291" y="176231"/>
                </a:cubicBezTo>
                <a:cubicBezTo>
                  <a:pt x="313265" y="177429"/>
                  <a:pt x="312966" y="178621"/>
                  <a:pt x="312654" y="180738"/>
                </a:cubicBezTo>
                <a:cubicBezTo>
                  <a:pt x="302343" y="185396"/>
                  <a:pt x="290736" y="185049"/>
                  <a:pt x="279655" y="186226"/>
                </a:cubicBezTo>
                <a:cubicBezTo>
                  <a:pt x="242295" y="190193"/>
                  <a:pt x="204847" y="193324"/>
                  <a:pt x="167436" y="196805"/>
                </a:cubicBezTo>
                <a:cubicBezTo>
                  <a:pt x="165405" y="196994"/>
                  <a:pt x="163399" y="197449"/>
                  <a:pt x="160234" y="197876"/>
                </a:cubicBezTo>
                <a:close/>
              </a:path>
            </a:pathLst>
          </a:custGeom>
          <a:solidFill>
            <a:srgbClr val="FDFEFE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72" name="Free-form: Shape 271">
            <a:extLst>
              <a:ext uri="{FF2B5EF4-FFF2-40B4-BE49-F238E27FC236}">
                <a16:creationId xmlns:a16="http://schemas.microsoft.com/office/drawing/2014/main" id="{ED8D9D3D-971C-E716-4F11-78A382AA3B65}"/>
              </a:ext>
            </a:extLst>
          </p:cNvPr>
          <p:cNvSpPr/>
          <p:nvPr/>
        </p:nvSpPr>
        <p:spPr>
          <a:xfrm>
            <a:off x="10706273" y="2012344"/>
            <a:ext cx="149260" cy="361842"/>
          </a:xfrm>
          <a:custGeom>
            <a:avLst/>
            <a:gdLst>
              <a:gd name="csX0" fmla="*/ 22609 w 164186"/>
              <a:gd name="csY0" fmla="*/ 398026 h 398026"/>
              <a:gd name="csX1" fmla="*/ 16884 w 164186"/>
              <a:gd name="csY1" fmla="*/ 390515 h 398026"/>
              <a:gd name="csX2" fmla="*/ 9661 w 164186"/>
              <a:gd name="csY2" fmla="*/ 328443 h 398026"/>
              <a:gd name="csX3" fmla="*/ 534 w 164186"/>
              <a:gd name="csY3" fmla="*/ 196369 h 398026"/>
              <a:gd name="csX4" fmla="*/ 1243 w 164186"/>
              <a:gd name="csY4" fmla="*/ 82293 h 398026"/>
              <a:gd name="csX5" fmla="*/ 2245 w 164186"/>
              <a:gd name="csY5" fmla="*/ 43023 h 398026"/>
              <a:gd name="csX6" fmla="*/ 4587 w 164186"/>
              <a:gd name="csY6" fmla="*/ 0 h 398026"/>
              <a:gd name="csX7" fmla="*/ 12341 w 164186"/>
              <a:gd name="csY7" fmla="*/ 3872 h 398026"/>
              <a:gd name="csX8" fmla="*/ 85914 w 164186"/>
              <a:gd name="csY8" fmla="*/ 78943 h 398026"/>
              <a:gd name="csX9" fmla="*/ 87893 w 164186"/>
              <a:gd name="csY9" fmla="*/ 99117 h 398026"/>
              <a:gd name="csX10" fmla="*/ 35459 w 164186"/>
              <a:gd name="csY10" fmla="*/ 207346 h 398026"/>
              <a:gd name="csX11" fmla="*/ 32223 w 164186"/>
              <a:gd name="csY11" fmla="*/ 213959 h 398026"/>
              <a:gd name="csX12" fmla="*/ 39509 w 164186"/>
              <a:gd name="csY12" fmla="*/ 242056 h 398026"/>
              <a:gd name="csX13" fmla="*/ 69474 w 164186"/>
              <a:gd name="csY13" fmla="*/ 237019 h 398026"/>
              <a:gd name="csX14" fmla="*/ 89101 w 164186"/>
              <a:gd name="csY14" fmla="*/ 208870 h 398026"/>
              <a:gd name="csX15" fmla="*/ 121716 w 164186"/>
              <a:gd name="csY15" fmla="*/ 158357 h 398026"/>
              <a:gd name="csX16" fmla="*/ 129330 w 164186"/>
              <a:gd name="csY16" fmla="*/ 148165 h 398026"/>
              <a:gd name="csX17" fmla="*/ 137171 w 164186"/>
              <a:gd name="csY17" fmla="*/ 159989 h 398026"/>
              <a:gd name="csX18" fmla="*/ 163812 w 164186"/>
              <a:gd name="csY18" fmla="*/ 273175 h 398026"/>
              <a:gd name="csX19" fmla="*/ 118151 w 164186"/>
              <a:gd name="csY19" fmla="*/ 383442 h 398026"/>
              <a:gd name="csX20" fmla="*/ 92325 w 164186"/>
              <a:gd name="csY20" fmla="*/ 395173 h 398026"/>
              <a:gd name="csX21" fmla="*/ 22609 w 164186"/>
              <a:gd name="csY21" fmla="*/ 398026 h 39802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</a:cxnLst>
            <a:rect l="l" t="t" r="r" b="b"/>
            <a:pathLst>
              <a:path w="164186" h="398026">
                <a:moveTo>
                  <a:pt x="22609" y="398026"/>
                </a:moveTo>
                <a:cubicBezTo>
                  <a:pt x="19898" y="395489"/>
                  <a:pt x="17229" y="393154"/>
                  <a:pt x="16884" y="390515"/>
                </a:cubicBezTo>
                <a:cubicBezTo>
                  <a:pt x="14183" y="369861"/>
                  <a:pt x="11326" y="349196"/>
                  <a:pt x="9661" y="328443"/>
                </a:cubicBezTo>
                <a:cubicBezTo>
                  <a:pt x="6132" y="284452"/>
                  <a:pt x="2125" y="240448"/>
                  <a:pt x="534" y="196369"/>
                </a:cubicBezTo>
                <a:cubicBezTo>
                  <a:pt x="-837" y="158401"/>
                  <a:pt x="816" y="120322"/>
                  <a:pt x="1243" y="82293"/>
                </a:cubicBezTo>
                <a:cubicBezTo>
                  <a:pt x="1389" y="69201"/>
                  <a:pt x="1708" y="56105"/>
                  <a:pt x="2245" y="43023"/>
                </a:cubicBezTo>
                <a:cubicBezTo>
                  <a:pt x="2815" y="29160"/>
                  <a:pt x="3738" y="15312"/>
                  <a:pt x="4587" y="0"/>
                </a:cubicBezTo>
                <a:cubicBezTo>
                  <a:pt x="7809" y="1586"/>
                  <a:pt x="10279" y="2436"/>
                  <a:pt x="12341" y="3872"/>
                </a:cubicBezTo>
                <a:cubicBezTo>
                  <a:pt x="41601" y="24248"/>
                  <a:pt x="64069" y="51269"/>
                  <a:pt x="85914" y="78943"/>
                </a:cubicBezTo>
                <a:cubicBezTo>
                  <a:pt x="91106" y="85520"/>
                  <a:pt x="91706" y="91406"/>
                  <a:pt x="87893" y="99117"/>
                </a:cubicBezTo>
                <a:cubicBezTo>
                  <a:pt x="70127" y="135051"/>
                  <a:pt x="52890" y="171246"/>
                  <a:pt x="35459" y="207346"/>
                </a:cubicBezTo>
                <a:cubicBezTo>
                  <a:pt x="34391" y="209557"/>
                  <a:pt x="33130" y="211686"/>
                  <a:pt x="32223" y="213959"/>
                </a:cubicBezTo>
                <a:cubicBezTo>
                  <a:pt x="27471" y="225873"/>
                  <a:pt x="30154" y="236086"/>
                  <a:pt x="39509" y="242056"/>
                </a:cubicBezTo>
                <a:cubicBezTo>
                  <a:pt x="48880" y="248038"/>
                  <a:pt x="61705" y="246477"/>
                  <a:pt x="69474" y="237019"/>
                </a:cubicBezTo>
                <a:cubicBezTo>
                  <a:pt x="76712" y="228205"/>
                  <a:pt x="82824" y="218436"/>
                  <a:pt x="89101" y="208870"/>
                </a:cubicBezTo>
                <a:cubicBezTo>
                  <a:pt x="100096" y="192114"/>
                  <a:pt x="110806" y="175170"/>
                  <a:pt x="121716" y="158357"/>
                </a:cubicBezTo>
                <a:cubicBezTo>
                  <a:pt x="123679" y="155333"/>
                  <a:pt x="126029" y="152559"/>
                  <a:pt x="129330" y="148165"/>
                </a:cubicBezTo>
                <a:cubicBezTo>
                  <a:pt x="132450" y="152828"/>
                  <a:pt x="135175" y="156216"/>
                  <a:pt x="137171" y="159989"/>
                </a:cubicBezTo>
                <a:cubicBezTo>
                  <a:pt x="155891" y="195388"/>
                  <a:pt x="166343" y="232905"/>
                  <a:pt x="163812" y="273175"/>
                </a:cubicBezTo>
                <a:cubicBezTo>
                  <a:pt x="161183" y="314982"/>
                  <a:pt x="144984" y="351430"/>
                  <a:pt x="118151" y="383442"/>
                </a:cubicBezTo>
                <a:cubicBezTo>
                  <a:pt x="111214" y="391718"/>
                  <a:pt x="102452" y="394716"/>
                  <a:pt x="92325" y="395173"/>
                </a:cubicBezTo>
                <a:cubicBezTo>
                  <a:pt x="69461" y="396207"/>
                  <a:pt x="46593" y="397123"/>
                  <a:pt x="22609" y="398026"/>
                </a:cubicBezTo>
                <a:close/>
              </a:path>
            </a:pathLst>
          </a:custGeom>
          <a:solidFill>
            <a:srgbClr val="FCFDFD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73" name="Free-form: Shape 272">
            <a:extLst>
              <a:ext uri="{FF2B5EF4-FFF2-40B4-BE49-F238E27FC236}">
                <a16:creationId xmlns:a16="http://schemas.microsoft.com/office/drawing/2014/main" id="{8EE9FB00-BB8A-A80A-2620-BBD02D23253B}"/>
              </a:ext>
            </a:extLst>
          </p:cNvPr>
          <p:cNvSpPr/>
          <p:nvPr/>
        </p:nvSpPr>
        <p:spPr>
          <a:xfrm>
            <a:off x="10692166" y="3238135"/>
            <a:ext cx="305850" cy="64961"/>
          </a:xfrm>
          <a:custGeom>
            <a:avLst/>
            <a:gdLst>
              <a:gd name="csX0" fmla="*/ 105937 w 336434"/>
              <a:gd name="csY0" fmla="*/ 71458 h 71457"/>
              <a:gd name="csX1" fmla="*/ 3534 w 336434"/>
              <a:gd name="csY1" fmla="*/ 69115 h 71457"/>
              <a:gd name="csX2" fmla="*/ 1296 w 336434"/>
              <a:gd name="csY2" fmla="*/ 17910 h 71457"/>
              <a:gd name="csX3" fmla="*/ 14032 w 336434"/>
              <a:gd name="csY3" fmla="*/ 17908 h 71457"/>
              <a:gd name="csX4" fmla="*/ 102444 w 336434"/>
              <a:gd name="csY4" fmla="*/ 17433 h 71457"/>
              <a:gd name="csX5" fmla="*/ 284561 w 336434"/>
              <a:gd name="csY5" fmla="*/ 3564 h 71457"/>
              <a:gd name="csX6" fmla="*/ 311323 w 336434"/>
              <a:gd name="csY6" fmla="*/ 224 h 71457"/>
              <a:gd name="csX7" fmla="*/ 324313 w 336434"/>
              <a:gd name="csY7" fmla="*/ 6639 h 71457"/>
              <a:gd name="csX8" fmla="*/ 336434 w 336434"/>
              <a:gd name="csY8" fmla="*/ 46484 h 71457"/>
              <a:gd name="csX9" fmla="*/ 105937 w 336434"/>
              <a:gd name="csY9" fmla="*/ 71458 h 7145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336434" h="71457">
                <a:moveTo>
                  <a:pt x="105937" y="71458"/>
                </a:moveTo>
                <a:cubicBezTo>
                  <a:pt x="70820" y="70678"/>
                  <a:pt x="36930" y="69891"/>
                  <a:pt x="3534" y="69115"/>
                </a:cubicBezTo>
                <a:cubicBezTo>
                  <a:pt x="-81" y="59433"/>
                  <a:pt x="-1094" y="35337"/>
                  <a:pt x="1296" y="17910"/>
                </a:cubicBezTo>
                <a:cubicBezTo>
                  <a:pt x="5366" y="17910"/>
                  <a:pt x="9699" y="17923"/>
                  <a:pt x="14032" y="17908"/>
                </a:cubicBezTo>
                <a:cubicBezTo>
                  <a:pt x="43505" y="17812"/>
                  <a:pt x="73011" y="18557"/>
                  <a:pt x="102444" y="17433"/>
                </a:cubicBezTo>
                <a:cubicBezTo>
                  <a:pt x="163306" y="15109"/>
                  <a:pt x="224166" y="12264"/>
                  <a:pt x="284561" y="3564"/>
                </a:cubicBezTo>
                <a:cubicBezTo>
                  <a:pt x="293458" y="2283"/>
                  <a:pt x="302438" y="1575"/>
                  <a:pt x="311323" y="224"/>
                </a:cubicBezTo>
                <a:cubicBezTo>
                  <a:pt x="317371" y="-696"/>
                  <a:pt x="321247" y="1177"/>
                  <a:pt x="324313" y="6639"/>
                </a:cubicBezTo>
                <a:cubicBezTo>
                  <a:pt x="330512" y="17683"/>
                  <a:pt x="335236" y="31679"/>
                  <a:pt x="336434" y="46484"/>
                </a:cubicBezTo>
                <a:cubicBezTo>
                  <a:pt x="261124" y="64059"/>
                  <a:pt x="184356" y="69587"/>
                  <a:pt x="105937" y="71458"/>
                </a:cubicBezTo>
                <a:close/>
              </a:path>
            </a:pathLst>
          </a:custGeom>
          <a:solidFill>
            <a:srgbClr val="FCFCFC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74" name="Free-form: Shape 273">
            <a:extLst>
              <a:ext uri="{FF2B5EF4-FFF2-40B4-BE49-F238E27FC236}">
                <a16:creationId xmlns:a16="http://schemas.microsoft.com/office/drawing/2014/main" id="{FF7EA4FC-03AC-5915-F98C-7B4F4CFAC8BF}"/>
              </a:ext>
            </a:extLst>
          </p:cNvPr>
          <p:cNvSpPr/>
          <p:nvPr/>
        </p:nvSpPr>
        <p:spPr>
          <a:xfrm>
            <a:off x="10705723" y="2407411"/>
            <a:ext cx="120683" cy="63097"/>
          </a:xfrm>
          <a:custGeom>
            <a:avLst/>
            <a:gdLst>
              <a:gd name="csX0" fmla="*/ 5051 w 132751"/>
              <a:gd name="csY0" fmla="*/ 7534 h 69406"/>
              <a:gd name="csX1" fmla="*/ 10615 w 132751"/>
              <a:gd name="csY1" fmla="*/ 3077 h 69406"/>
              <a:gd name="csX2" fmla="*/ 26541 w 132751"/>
              <a:gd name="csY2" fmla="*/ 2752 h 69406"/>
              <a:gd name="csX3" fmla="*/ 87728 w 132751"/>
              <a:gd name="csY3" fmla="*/ 89 h 69406"/>
              <a:gd name="csX4" fmla="*/ 101400 w 132751"/>
              <a:gd name="csY4" fmla="*/ 62 h 69406"/>
              <a:gd name="csX5" fmla="*/ 102924 w 132751"/>
              <a:gd name="csY5" fmla="*/ 4800 h 69406"/>
              <a:gd name="csX6" fmla="*/ 121469 w 132751"/>
              <a:gd name="csY6" fmla="*/ 43062 h 69406"/>
              <a:gd name="csX7" fmla="*/ 132751 w 132751"/>
              <a:gd name="csY7" fmla="*/ 65240 h 69406"/>
              <a:gd name="csX8" fmla="*/ 0 w 132751"/>
              <a:gd name="csY8" fmla="*/ 69406 h 69406"/>
              <a:gd name="csX9" fmla="*/ 5051 w 132751"/>
              <a:gd name="csY9" fmla="*/ 7534 h 6940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132751" h="69406">
                <a:moveTo>
                  <a:pt x="5051" y="7534"/>
                </a:moveTo>
                <a:cubicBezTo>
                  <a:pt x="6880" y="5272"/>
                  <a:pt x="8659" y="3268"/>
                  <a:pt x="10615" y="3077"/>
                </a:cubicBezTo>
                <a:cubicBezTo>
                  <a:pt x="15884" y="2564"/>
                  <a:pt x="21234" y="2972"/>
                  <a:pt x="26541" y="2752"/>
                </a:cubicBezTo>
                <a:cubicBezTo>
                  <a:pt x="46938" y="1911"/>
                  <a:pt x="67330" y="933"/>
                  <a:pt x="87728" y="89"/>
                </a:cubicBezTo>
                <a:cubicBezTo>
                  <a:pt x="92161" y="-94"/>
                  <a:pt x="96609" y="62"/>
                  <a:pt x="101400" y="62"/>
                </a:cubicBezTo>
                <a:cubicBezTo>
                  <a:pt x="101991" y="1827"/>
                  <a:pt x="102885" y="3302"/>
                  <a:pt x="102924" y="4800"/>
                </a:cubicBezTo>
                <a:cubicBezTo>
                  <a:pt x="103334" y="20376"/>
                  <a:pt x="108815" y="33165"/>
                  <a:pt x="121469" y="43062"/>
                </a:cubicBezTo>
                <a:cubicBezTo>
                  <a:pt x="127809" y="48021"/>
                  <a:pt x="132509" y="54869"/>
                  <a:pt x="132751" y="65240"/>
                </a:cubicBezTo>
                <a:cubicBezTo>
                  <a:pt x="88663" y="66624"/>
                  <a:pt x="45259" y="67986"/>
                  <a:pt x="0" y="69406"/>
                </a:cubicBezTo>
                <a:cubicBezTo>
                  <a:pt x="6474" y="48167"/>
                  <a:pt x="10658" y="28665"/>
                  <a:pt x="5051" y="7534"/>
                </a:cubicBezTo>
                <a:close/>
              </a:path>
            </a:pathLst>
          </a:custGeom>
          <a:solidFill>
            <a:srgbClr val="FBFCFB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75" name="Free-form: Shape 274">
            <a:extLst>
              <a:ext uri="{FF2B5EF4-FFF2-40B4-BE49-F238E27FC236}">
                <a16:creationId xmlns:a16="http://schemas.microsoft.com/office/drawing/2014/main" id="{EAC9ABD5-914D-57D7-D3FE-6378F24CB065}"/>
              </a:ext>
            </a:extLst>
          </p:cNvPr>
          <p:cNvSpPr/>
          <p:nvPr/>
        </p:nvSpPr>
        <p:spPr>
          <a:xfrm>
            <a:off x="10715360" y="2497025"/>
            <a:ext cx="150878" cy="35402"/>
          </a:xfrm>
          <a:custGeom>
            <a:avLst/>
            <a:gdLst>
              <a:gd name="csX0" fmla="*/ 80894 w 165965"/>
              <a:gd name="csY0" fmla="*/ 440 h 38942"/>
              <a:gd name="csX1" fmla="*/ 128629 w 165965"/>
              <a:gd name="csY1" fmla="*/ 5 h 38942"/>
              <a:gd name="csX2" fmla="*/ 155177 w 165965"/>
              <a:gd name="csY2" fmla="*/ 8091 h 38942"/>
              <a:gd name="csX3" fmla="*/ 164213 w 165965"/>
              <a:gd name="csY3" fmla="*/ 17723 h 38942"/>
              <a:gd name="csX4" fmla="*/ 159998 w 165965"/>
              <a:gd name="csY4" fmla="*/ 30717 h 38942"/>
              <a:gd name="csX5" fmla="*/ 146998 w 165965"/>
              <a:gd name="csY5" fmla="*/ 33737 h 38942"/>
              <a:gd name="csX6" fmla="*/ 12439 w 165965"/>
              <a:gd name="csY6" fmla="*/ 38914 h 38942"/>
              <a:gd name="csX7" fmla="*/ 0 w 165965"/>
              <a:gd name="csY7" fmla="*/ 38402 h 38942"/>
              <a:gd name="csX8" fmla="*/ 0 w 165965"/>
              <a:gd name="csY8" fmla="*/ 4598 h 38942"/>
              <a:gd name="csX9" fmla="*/ 80894 w 165965"/>
              <a:gd name="csY9" fmla="*/ 440 h 3894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165965" h="38942">
                <a:moveTo>
                  <a:pt x="80894" y="440"/>
                </a:moveTo>
                <a:cubicBezTo>
                  <a:pt x="97591" y="288"/>
                  <a:pt x="113111" y="227"/>
                  <a:pt x="128629" y="5"/>
                </a:cubicBezTo>
                <a:cubicBezTo>
                  <a:pt x="138376" y="-135"/>
                  <a:pt x="147226" y="2891"/>
                  <a:pt x="155177" y="8091"/>
                </a:cubicBezTo>
                <a:cubicBezTo>
                  <a:pt x="158779" y="10447"/>
                  <a:pt x="161992" y="14009"/>
                  <a:pt x="164213" y="17723"/>
                </a:cubicBezTo>
                <a:cubicBezTo>
                  <a:pt x="167602" y="23390"/>
                  <a:pt x="166013" y="28134"/>
                  <a:pt x="159998" y="30717"/>
                </a:cubicBezTo>
                <a:cubicBezTo>
                  <a:pt x="155963" y="32450"/>
                  <a:pt x="151384" y="33554"/>
                  <a:pt x="146998" y="33737"/>
                </a:cubicBezTo>
                <a:cubicBezTo>
                  <a:pt x="102152" y="35619"/>
                  <a:pt x="57295" y="37279"/>
                  <a:pt x="12439" y="38914"/>
                </a:cubicBezTo>
                <a:cubicBezTo>
                  <a:pt x="8467" y="39059"/>
                  <a:pt x="4472" y="38602"/>
                  <a:pt x="0" y="38402"/>
                </a:cubicBezTo>
                <a:cubicBezTo>
                  <a:pt x="0" y="27166"/>
                  <a:pt x="0" y="16774"/>
                  <a:pt x="0" y="4598"/>
                </a:cubicBezTo>
                <a:cubicBezTo>
                  <a:pt x="27063" y="3194"/>
                  <a:pt x="53389" y="1829"/>
                  <a:pt x="80894" y="440"/>
                </a:cubicBezTo>
                <a:close/>
              </a:path>
            </a:pathLst>
          </a:custGeom>
          <a:solidFill>
            <a:srgbClr val="FBFCFB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76" name="Free-form: Shape 275">
            <a:extLst>
              <a:ext uri="{FF2B5EF4-FFF2-40B4-BE49-F238E27FC236}">
                <a16:creationId xmlns:a16="http://schemas.microsoft.com/office/drawing/2014/main" id="{7E855175-E751-DE3F-4DE5-37C447FD652A}"/>
              </a:ext>
            </a:extLst>
          </p:cNvPr>
          <p:cNvSpPr/>
          <p:nvPr/>
        </p:nvSpPr>
        <p:spPr>
          <a:xfrm>
            <a:off x="10699211" y="1936201"/>
            <a:ext cx="39402" cy="42156"/>
          </a:xfrm>
          <a:custGeom>
            <a:avLst/>
            <a:gdLst>
              <a:gd name="csX0" fmla="*/ 40602 w 43343"/>
              <a:gd name="csY0" fmla="*/ 12465 h 46372"/>
              <a:gd name="csX1" fmla="*/ 43214 w 43343"/>
              <a:gd name="csY1" fmla="*/ 21324 h 46372"/>
              <a:gd name="csX2" fmla="*/ 23859 w 43343"/>
              <a:gd name="csY2" fmla="*/ 46319 h 46372"/>
              <a:gd name="csX3" fmla="*/ 5 w 43343"/>
              <a:gd name="csY3" fmla="*/ 23820 h 46372"/>
              <a:gd name="csX4" fmla="*/ 4855 w 43343"/>
              <a:gd name="csY4" fmla="*/ 5679 h 46372"/>
              <a:gd name="csX5" fmla="*/ 40602 w 43343"/>
              <a:gd name="csY5" fmla="*/ 12465 h 4637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</a:cxnLst>
            <a:rect l="l" t="t" r="r" b="b"/>
            <a:pathLst>
              <a:path w="43343" h="46372">
                <a:moveTo>
                  <a:pt x="40602" y="12465"/>
                </a:moveTo>
                <a:cubicBezTo>
                  <a:pt x="41913" y="15811"/>
                  <a:pt x="42933" y="18530"/>
                  <a:pt x="43214" y="21324"/>
                </a:cubicBezTo>
                <a:cubicBezTo>
                  <a:pt x="44519" y="34348"/>
                  <a:pt x="35870" y="45401"/>
                  <a:pt x="23859" y="46319"/>
                </a:cubicBezTo>
                <a:cubicBezTo>
                  <a:pt x="11890" y="47233"/>
                  <a:pt x="-280" y="36371"/>
                  <a:pt x="5" y="23820"/>
                </a:cubicBezTo>
                <a:cubicBezTo>
                  <a:pt x="136" y="18011"/>
                  <a:pt x="2893" y="12263"/>
                  <a:pt x="4855" y="5679"/>
                </a:cubicBezTo>
                <a:cubicBezTo>
                  <a:pt x="20601" y="-3403"/>
                  <a:pt x="28004" y="-1910"/>
                  <a:pt x="40602" y="12465"/>
                </a:cubicBezTo>
                <a:close/>
              </a:path>
            </a:pathLst>
          </a:custGeom>
          <a:solidFill>
            <a:srgbClr val="FBFCFB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41EBFCF-D53A-0186-E463-A3404BE779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01CC8E-1CEF-6746-999E-CF29FF00B1D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82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2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8C1DAF26-7751-267F-5A82-B2FD1BF9E79D}"/>
              </a:ext>
            </a:extLst>
          </p:cNvPr>
          <p:cNvSpPr/>
          <p:nvPr/>
        </p:nvSpPr>
        <p:spPr>
          <a:xfrm>
            <a:off x="6863135" y="3265581"/>
            <a:ext cx="593138" cy="104135"/>
          </a:xfrm>
          <a:prstGeom prst="ellipse">
            <a:avLst/>
          </a:prstGeom>
          <a:solidFill>
            <a:schemeClr val="tx1">
              <a:alpha val="6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" name="Free-form: Shape 5">
            <a:extLst>
              <a:ext uri="{FF2B5EF4-FFF2-40B4-BE49-F238E27FC236}">
                <a16:creationId xmlns:a16="http://schemas.microsoft.com/office/drawing/2014/main" id="{57407594-24D9-4866-5182-72F7450A314B}"/>
              </a:ext>
            </a:extLst>
          </p:cNvPr>
          <p:cNvSpPr/>
          <p:nvPr/>
        </p:nvSpPr>
        <p:spPr>
          <a:xfrm>
            <a:off x="6961801" y="2584930"/>
            <a:ext cx="433137" cy="770022"/>
          </a:xfrm>
          <a:custGeom>
            <a:avLst/>
            <a:gdLst>
              <a:gd name="csX0" fmla="*/ 581793 w 697572"/>
              <a:gd name="csY0" fmla="*/ 1234401 h 1240128"/>
              <a:gd name="csX1" fmla="*/ 577427 w 697572"/>
              <a:gd name="csY1" fmla="*/ 1234156 h 1240128"/>
              <a:gd name="csX2" fmla="*/ 559133 w 697572"/>
              <a:gd name="csY2" fmla="*/ 1230909 h 1240128"/>
              <a:gd name="csX3" fmla="*/ 516706 w 697572"/>
              <a:gd name="csY3" fmla="*/ 1235117 h 1240128"/>
              <a:gd name="csX4" fmla="*/ 475244 w 697572"/>
              <a:gd name="csY4" fmla="*/ 1237506 h 1240128"/>
              <a:gd name="csX5" fmla="*/ 371154 w 697572"/>
              <a:gd name="csY5" fmla="*/ 1239428 h 1240128"/>
              <a:gd name="csX6" fmla="*/ 276813 w 697572"/>
              <a:gd name="csY6" fmla="*/ 1237654 h 1240128"/>
              <a:gd name="csX7" fmla="*/ 268212 w 697572"/>
              <a:gd name="csY7" fmla="*/ 1237635 h 1240128"/>
              <a:gd name="csX8" fmla="*/ 262072 w 697572"/>
              <a:gd name="csY8" fmla="*/ 1237523 h 1240128"/>
              <a:gd name="csX9" fmla="*/ 195111 w 697572"/>
              <a:gd name="csY9" fmla="*/ 1232775 h 1240128"/>
              <a:gd name="csX10" fmla="*/ 145060 w 697572"/>
              <a:gd name="csY10" fmla="*/ 1230076 h 1240128"/>
              <a:gd name="csX11" fmla="*/ 114933 w 697572"/>
              <a:gd name="csY11" fmla="*/ 1225832 h 1240128"/>
              <a:gd name="csX12" fmla="*/ 72642 w 697572"/>
              <a:gd name="csY12" fmla="*/ 1220237 h 1240128"/>
              <a:gd name="csX13" fmla="*/ 10894 w 697572"/>
              <a:gd name="csY13" fmla="*/ 1205737 h 1240128"/>
              <a:gd name="csX14" fmla="*/ 5856 w 697572"/>
              <a:gd name="csY14" fmla="*/ 1202799 h 1240128"/>
              <a:gd name="csX15" fmla="*/ 40 w 697572"/>
              <a:gd name="csY15" fmla="*/ 1174450 h 1240128"/>
              <a:gd name="csX16" fmla="*/ 19831 w 697572"/>
              <a:gd name="csY16" fmla="*/ 1118410 h 1240128"/>
              <a:gd name="csX17" fmla="*/ 22004 w 697572"/>
              <a:gd name="csY17" fmla="*/ 1107240 h 1240128"/>
              <a:gd name="csX18" fmla="*/ 25947 w 697572"/>
              <a:gd name="csY18" fmla="*/ 1038650 h 1240128"/>
              <a:gd name="csX19" fmla="*/ 58234 w 697572"/>
              <a:gd name="csY19" fmla="*/ 988567 h 1240128"/>
              <a:gd name="csX20" fmla="*/ 118645 w 697572"/>
              <a:gd name="csY20" fmla="*/ 928298 h 1240128"/>
              <a:gd name="csX21" fmla="*/ 126320 w 697572"/>
              <a:gd name="csY21" fmla="*/ 892015 h 1240128"/>
              <a:gd name="csX22" fmla="*/ 120345 w 697572"/>
              <a:gd name="csY22" fmla="*/ 872258 h 1240128"/>
              <a:gd name="csX23" fmla="*/ 125668 w 697572"/>
              <a:gd name="csY23" fmla="*/ 861640 h 1240128"/>
              <a:gd name="csX24" fmla="*/ 154237 w 697572"/>
              <a:gd name="csY24" fmla="*/ 850716 h 1240128"/>
              <a:gd name="csX25" fmla="*/ 170248 w 697572"/>
              <a:gd name="csY25" fmla="*/ 836767 h 1240128"/>
              <a:gd name="csX26" fmla="*/ 187840 w 697572"/>
              <a:gd name="csY26" fmla="*/ 796341 h 1240128"/>
              <a:gd name="csX27" fmla="*/ 209346 w 697572"/>
              <a:gd name="csY27" fmla="*/ 743126 h 1240128"/>
              <a:gd name="csX28" fmla="*/ 210630 w 697572"/>
              <a:gd name="csY28" fmla="*/ 737219 h 1240128"/>
              <a:gd name="csX29" fmla="*/ 213836 w 697572"/>
              <a:gd name="csY29" fmla="*/ 720505 h 1240128"/>
              <a:gd name="csX30" fmla="*/ 227791 w 697572"/>
              <a:gd name="csY30" fmla="*/ 667353 h 1240128"/>
              <a:gd name="csX31" fmla="*/ 241013 w 697572"/>
              <a:gd name="csY31" fmla="*/ 599151 h 1240128"/>
              <a:gd name="csX32" fmla="*/ 247322 w 697572"/>
              <a:gd name="csY32" fmla="*/ 542242 h 1240128"/>
              <a:gd name="csX33" fmla="*/ 247948 w 697572"/>
              <a:gd name="csY33" fmla="*/ 499296 h 1240128"/>
              <a:gd name="csX34" fmla="*/ 247577 w 697572"/>
              <a:gd name="csY34" fmla="*/ 470384 h 1240128"/>
              <a:gd name="csX35" fmla="*/ 238877 w 697572"/>
              <a:gd name="csY35" fmla="*/ 460987 h 1240128"/>
              <a:gd name="csX36" fmla="*/ 222040 w 697572"/>
              <a:gd name="csY36" fmla="*/ 458353 h 1240128"/>
              <a:gd name="csX37" fmla="*/ 172193 w 697572"/>
              <a:gd name="csY37" fmla="*/ 433714 h 1240128"/>
              <a:gd name="csX38" fmla="*/ 168410 w 697572"/>
              <a:gd name="csY38" fmla="*/ 396591 h 1240128"/>
              <a:gd name="csX39" fmla="*/ 209826 w 697572"/>
              <a:gd name="csY39" fmla="*/ 367773 h 1240128"/>
              <a:gd name="csX40" fmla="*/ 250732 w 697572"/>
              <a:gd name="csY40" fmla="*/ 355208 h 1240128"/>
              <a:gd name="csX41" fmla="*/ 258289 w 697572"/>
              <a:gd name="csY41" fmla="*/ 350426 h 1240128"/>
              <a:gd name="csX42" fmla="*/ 233274 w 697572"/>
              <a:gd name="csY42" fmla="*/ 333513 h 1240128"/>
              <a:gd name="csX43" fmla="*/ 229677 w 697572"/>
              <a:gd name="csY43" fmla="*/ 333922 h 1240128"/>
              <a:gd name="csX44" fmla="*/ 230149 w 697572"/>
              <a:gd name="csY44" fmla="*/ 332979 h 1240128"/>
              <a:gd name="csX45" fmla="*/ 227053 w 697572"/>
              <a:gd name="csY45" fmla="*/ 327076 h 1240128"/>
              <a:gd name="csX46" fmla="*/ 196769 w 697572"/>
              <a:gd name="csY46" fmla="*/ 291380 h 1240128"/>
              <a:gd name="csX47" fmla="*/ 184389 w 697572"/>
              <a:gd name="csY47" fmla="*/ 264042 h 1240128"/>
              <a:gd name="csX48" fmla="*/ 180630 w 697572"/>
              <a:gd name="csY48" fmla="*/ 257839 h 1240128"/>
              <a:gd name="csX49" fmla="*/ 176231 w 697572"/>
              <a:gd name="csY49" fmla="*/ 250643 h 1240128"/>
              <a:gd name="csX50" fmla="*/ 170073 w 697572"/>
              <a:gd name="csY50" fmla="*/ 146723 h 1240128"/>
              <a:gd name="csX51" fmla="*/ 180929 w 697572"/>
              <a:gd name="csY51" fmla="*/ 114280 h 1240128"/>
              <a:gd name="csX52" fmla="*/ 180839 w 697572"/>
              <a:gd name="csY52" fmla="*/ 101501 h 1240128"/>
              <a:gd name="csX53" fmla="*/ 233536 w 697572"/>
              <a:gd name="csY53" fmla="*/ 39653 h 1240128"/>
              <a:gd name="csX54" fmla="*/ 347618 w 697572"/>
              <a:gd name="csY54" fmla="*/ 35 h 1240128"/>
              <a:gd name="csX55" fmla="*/ 437139 w 697572"/>
              <a:gd name="csY55" fmla="*/ 22396 h 1240128"/>
              <a:gd name="csX56" fmla="*/ 529052 w 697572"/>
              <a:gd name="csY56" fmla="*/ 131093 h 1240128"/>
              <a:gd name="csX57" fmla="*/ 518497 w 697572"/>
              <a:gd name="csY57" fmla="*/ 271517 h 1240128"/>
              <a:gd name="csX58" fmla="*/ 500808 w 697572"/>
              <a:gd name="csY58" fmla="*/ 287385 h 1240128"/>
              <a:gd name="csX59" fmla="*/ 472948 w 697572"/>
              <a:gd name="csY59" fmla="*/ 323290 h 1240128"/>
              <a:gd name="csX60" fmla="*/ 469385 w 697572"/>
              <a:gd name="csY60" fmla="*/ 331565 h 1240128"/>
              <a:gd name="csX61" fmla="*/ 468293 w 697572"/>
              <a:gd name="csY61" fmla="*/ 331320 h 1240128"/>
              <a:gd name="csX62" fmla="*/ 459542 w 697572"/>
              <a:gd name="csY62" fmla="*/ 338942 h 1240128"/>
              <a:gd name="csX63" fmla="*/ 458492 w 697572"/>
              <a:gd name="csY63" fmla="*/ 338671 h 1240128"/>
              <a:gd name="csX64" fmla="*/ 436978 w 697572"/>
              <a:gd name="csY64" fmla="*/ 352226 h 1240128"/>
              <a:gd name="csX65" fmla="*/ 472329 w 697572"/>
              <a:gd name="csY65" fmla="*/ 362890 h 1240128"/>
              <a:gd name="csX66" fmla="*/ 523779 w 697572"/>
              <a:gd name="csY66" fmla="*/ 391962 h 1240128"/>
              <a:gd name="csX67" fmla="*/ 527344 w 697572"/>
              <a:gd name="csY67" fmla="*/ 430096 h 1240128"/>
              <a:gd name="csX68" fmla="*/ 504112 w 697572"/>
              <a:gd name="csY68" fmla="*/ 449628 h 1240128"/>
              <a:gd name="csX69" fmla="*/ 459430 w 697572"/>
              <a:gd name="csY69" fmla="*/ 461116 h 1240128"/>
              <a:gd name="csX70" fmla="*/ 446666 w 697572"/>
              <a:gd name="csY70" fmla="*/ 474229 h 1240128"/>
              <a:gd name="csX71" fmla="*/ 449133 w 697572"/>
              <a:gd name="csY71" fmla="*/ 531639 h 1240128"/>
              <a:gd name="csX72" fmla="*/ 454546 w 697572"/>
              <a:gd name="csY72" fmla="*/ 588688 h 1240128"/>
              <a:gd name="csX73" fmla="*/ 466126 w 697572"/>
              <a:gd name="csY73" fmla="*/ 649736 h 1240128"/>
              <a:gd name="csX74" fmla="*/ 512154 w 697572"/>
              <a:gd name="csY74" fmla="*/ 794006 h 1240128"/>
              <a:gd name="csX75" fmla="*/ 525763 w 697572"/>
              <a:gd name="csY75" fmla="*/ 834323 h 1240128"/>
              <a:gd name="csX76" fmla="*/ 530555 w 697572"/>
              <a:gd name="csY76" fmla="*/ 845114 h 1240128"/>
              <a:gd name="csX77" fmla="*/ 554424 w 697572"/>
              <a:gd name="csY77" fmla="*/ 856618 h 1240128"/>
              <a:gd name="csX78" fmla="*/ 572880 w 697572"/>
              <a:gd name="csY78" fmla="*/ 862546 h 1240128"/>
              <a:gd name="csX79" fmla="*/ 578643 w 697572"/>
              <a:gd name="csY79" fmla="*/ 880396 h 1240128"/>
              <a:gd name="csX80" fmla="*/ 572188 w 697572"/>
              <a:gd name="csY80" fmla="*/ 899820 h 1240128"/>
              <a:gd name="csX81" fmla="*/ 582698 w 697572"/>
              <a:gd name="csY81" fmla="*/ 930382 h 1240128"/>
              <a:gd name="csX82" fmla="*/ 604747 w 697572"/>
              <a:gd name="csY82" fmla="*/ 960852 h 1240128"/>
              <a:gd name="csX83" fmla="*/ 613863 w 697572"/>
              <a:gd name="csY83" fmla="*/ 968311 h 1240128"/>
              <a:gd name="csX84" fmla="*/ 629435 w 697572"/>
              <a:gd name="csY84" fmla="*/ 981186 h 1240128"/>
              <a:gd name="csX85" fmla="*/ 633611 w 697572"/>
              <a:gd name="csY85" fmla="*/ 985609 h 1240128"/>
              <a:gd name="csX86" fmla="*/ 673790 w 697572"/>
              <a:gd name="csY86" fmla="*/ 1049348 h 1240128"/>
              <a:gd name="csX87" fmla="*/ 675873 w 697572"/>
              <a:gd name="csY87" fmla="*/ 1092839 h 1240128"/>
              <a:gd name="csX88" fmla="*/ 681668 w 697572"/>
              <a:gd name="csY88" fmla="*/ 1129292 h 1240128"/>
              <a:gd name="csX89" fmla="*/ 697338 w 697572"/>
              <a:gd name="csY89" fmla="*/ 1196079 h 1240128"/>
              <a:gd name="csX90" fmla="*/ 690637 w 697572"/>
              <a:gd name="csY90" fmla="*/ 1205035 h 1240128"/>
              <a:gd name="csX91" fmla="*/ 639777 w 697572"/>
              <a:gd name="csY91" fmla="*/ 1217994 h 1240128"/>
              <a:gd name="csX92" fmla="*/ 587072 w 697572"/>
              <a:gd name="csY92" fmla="*/ 1227761 h 1240128"/>
              <a:gd name="csX93" fmla="*/ 581793 w 697572"/>
              <a:gd name="csY93" fmla="*/ 1234401 h 1240128"/>
              <a:gd name="csX94" fmla="*/ 357446 w 697572"/>
              <a:gd name="csY94" fmla="*/ 903795 h 1240128"/>
              <a:gd name="csX95" fmla="*/ 344445 w 697572"/>
              <a:gd name="csY95" fmla="*/ 903795 h 1240128"/>
              <a:gd name="csX96" fmla="*/ 349212 w 697572"/>
              <a:gd name="csY96" fmla="*/ 950515 h 1240128"/>
              <a:gd name="csX97" fmla="*/ 349538 w 697572"/>
              <a:gd name="csY97" fmla="*/ 1069392 h 1240128"/>
              <a:gd name="csX98" fmla="*/ 349415 w 697572"/>
              <a:gd name="csY98" fmla="*/ 1108925 h 1240128"/>
              <a:gd name="csX99" fmla="*/ 647726 w 697572"/>
              <a:gd name="csY99" fmla="*/ 1089872 h 1240128"/>
              <a:gd name="csX100" fmla="*/ 647654 w 697572"/>
              <a:gd name="csY100" fmla="*/ 1076267 h 1240128"/>
              <a:gd name="csX101" fmla="*/ 610267 w 697572"/>
              <a:gd name="csY101" fmla="*/ 994126 h 1240128"/>
              <a:gd name="csX102" fmla="*/ 571459 w 697572"/>
              <a:gd name="csY102" fmla="*/ 956568 h 1240128"/>
              <a:gd name="csX103" fmla="*/ 541653 w 697572"/>
              <a:gd name="csY103" fmla="*/ 901544 h 1240128"/>
              <a:gd name="csX104" fmla="*/ 539477 w 697572"/>
              <a:gd name="csY104" fmla="*/ 895908 h 1240128"/>
              <a:gd name="csX105" fmla="*/ 357446 w 697572"/>
              <a:gd name="csY105" fmla="*/ 903795 h 1240128"/>
              <a:gd name="csX106" fmla="*/ 300108 w 697572"/>
              <a:gd name="csY106" fmla="*/ 85260 h 1240128"/>
              <a:gd name="csX107" fmla="*/ 290213 w 697572"/>
              <a:gd name="csY107" fmla="*/ 127888 h 1240128"/>
              <a:gd name="csX108" fmla="*/ 331056 w 697572"/>
              <a:gd name="csY108" fmla="*/ 214168 h 1240128"/>
              <a:gd name="csX109" fmla="*/ 424717 w 697572"/>
              <a:gd name="csY109" fmla="*/ 245160 h 1240128"/>
              <a:gd name="csX110" fmla="*/ 496752 w 697572"/>
              <a:gd name="csY110" fmla="*/ 141256 h 1240128"/>
              <a:gd name="csX111" fmla="*/ 390320 w 697572"/>
              <a:gd name="csY111" fmla="*/ 43995 h 1240128"/>
              <a:gd name="csX112" fmla="*/ 300108 w 697572"/>
              <a:gd name="csY112" fmla="*/ 85260 h 1240128"/>
              <a:gd name="csX113" fmla="*/ 343360 w 697572"/>
              <a:gd name="csY113" fmla="*/ 634332 h 1240128"/>
              <a:gd name="csX114" fmla="*/ 340877 w 697572"/>
              <a:gd name="csY114" fmla="*/ 732259 h 1240128"/>
              <a:gd name="csX115" fmla="*/ 338360 w 697572"/>
              <a:gd name="csY115" fmla="*/ 810538 h 1240128"/>
              <a:gd name="csX116" fmla="*/ 337115 w 697572"/>
              <a:gd name="csY116" fmla="*/ 817736 h 1240128"/>
              <a:gd name="csX117" fmla="*/ 336516 w 697572"/>
              <a:gd name="csY117" fmla="*/ 863022 h 1240128"/>
              <a:gd name="csX118" fmla="*/ 343436 w 697572"/>
              <a:gd name="csY118" fmla="*/ 864027 h 1240128"/>
              <a:gd name="csX119" fmla="*/ 406718 w 697572"/>
              <a:gd name="csY119" fmla="*/ 862982 h 1240128"/>
              <a:gd name="csX120" fmla="*/ 456888 w 697572"/>
              <a:gd name="csY120" fmla="*/ 861794 h 1240128"/>
              <a:gd name="csX121" fmla="*/ 495873 w 697572"/>
              <a:gd name="csY121" fmla="*/ 863963 h 1240128"/>
              <a:gd name="csX122" fmla="*/ 509286 w 697572"/>
              <a:gd name="csY122" fmla="*/ 863595 h 1240128"/>
              <a:gd name="csX123" fmla="*/ 516956 w 697572"/>
              <a:gd name="csY123" fmla="*/ 856791 h 1240128"/>
              <a:gd name="csX124" fmla="*/ 513920 w 697572"/>
              <a:gd name="csY124" fmla="*/ 848709 h 1240128"/>
              <a:gd name="csX125" fmla="*/ 506683 w 697572"/>
              <a:gd name="csY125" fmla="*/ 839054 h 1240128"/>
              <a:gd name="csX126" fmla="*/ 488629 w 697572"/>
              <a:gd name="csY126" fmla="*/ 799037 h 1240128"/>
              <a:gd name="csX127" fmla="*/ 456922 w 697572"/>
              <a:gd name="csY127" fmla="*/ 696297 h 1240128"/>
              <a:gd name="csX128" fmla="*/ 441346 w 697572"/>
              <a:gd name="csY128" fmla="*/ 619885 h 1240128"/>
              <a:gd name="csX129" fmla="*/ 435963 w 697572"/>
              <a:gd name="csY129" fmla="*/ 582529 h 1240128"/>
              <a:gd name="csX130" fmla="*/ 429497 w 697572"/>
              <a:gd name="csY130" fmla="*/ 521990 h 1240128"/>
              <a:gd name="csX131" fmla="*/ 426887 w 697572"/>
              <a:gd name="csY131" fmla="*/ 471989 h 1240128"/>
              <a:gd name="csX132" fmla="*/ 413744 w 697572"/>
              <a:gd name="csY132" fmla="*/ 461077 h 1240128"/>
              <a:gd name="csX133" fmla="*/ 353573 w 697572"/>
              <a:gd name="csY133" fmla="*/ 461120 h 1240128"/>
              <a:gd name="csX134" fmla="*/ 344160 w 697572"/>
              <a:gd name="csY134" fmla="*/ 462286 h 1240128"/>
              <a:gd name="csX135" fmla="*/ 343404 w 697572"/>
              <a:gd name="csY135" fmla="*/ 469192 h 1240128"/>
              <a:gd name="csX136" fmla="*/ 343469 w 697572"/>
              <a:gd name="csY136" fmla="*/ 574797 h 1240128"/>
              <a:gd name="csX137" fmla="*/ 345522 w 697572"/>
              <a:gd name="csY137" fmla="*/ 591669 h 1240128"/>
              <a:gd name="csX138" fmla="*/ 343360 w 697572"/>
              <a:gd name="csY138" fmla="*/ 634332 h 1240128"/>
              <a:gd name="csX139" fmla="*/ 416946 w 697572"/>
              <a:gd name="csY139" fmla="*/ 385943 h 1240128"/>
              <a:gd name="csX140" fmla="*/ 401091 w 697572"/>
              <a:gd name="csY140" fmla="*/ 387162 h 1240128"/>
              <a:gd name="csX141" fmla="*/ 369218 w 697572"/>
              <a:gd name="csY141" fmla="*/ 387708 h 1240128"/>
              <a:gd name="csX142" fmla="*/ 351833 w 697572"/>
              <a:gd name="csY142" fmla="*/ 398991 h 1240128"/>
              <a:gd name="csX143" fmla="*/ 349778 w 697572"/>
              <a:gd name="csY143" fmla="*/ 426021 h 1240128"/>
              <a:gd name="csX144" fmla="*/ 361839 w 697572"/>
              <a:gd name="csY144" fmla="*/ 426538 h 1240128"/>
              <a:gd name="csX145" fmla="*/ 455022 w 697572"/>
              <a:gd name="csY145" fmla="*/ 426922 h 1240128"/>
              <a:gd name="csX146" fmla="*/ 481958 w 697572"/>
              <a:gd name="csY146" fmla="*/ 426527 h 1240128"/>
              <a:gd name="csX147" fmla="*/ 499817 w 697572"/>
              <a:gd name="csY147" fmla="*/ 419888 h 1240128"/>
              <a:gd name="csX148" fmla="*/ 499439 w 697572"/>
              <a:gd name="csY148" fmla="*/ 400719 h 1240128"/>
              <a:gd name="csX149" fmla="*/ 468062 w 697572"/>
              <a:gd name="csY149" fmla="*/ 387775 h 1240128"/>
              <a:gd name="csX150" fmla="*/ 416946 w 697572"/>
              <a:gd name="csY150" fmla="*/ 385943 h 1240128"/>
              <a:gd name="csX151" fmla="*/ 636802 w 697572"/>
              <a:gd name="csY151" fmla="*/ 1190940 h 1240128"/>
              <a:gd name="csX152" fmla="*/ 666492 w 697572"/>
              <a:gd name="csY152" fmla="*/ 1184186 h 1240128"/>
              <a:gd name="csX153" fmla="*/ 674465 w 697572"/>
              <a:gd name="csY153" fmla="*/ 1170880 h 1240128"/>
              <a:gd name="csX154" fmla="*/ 662462 w 697572"/>
              <a:gd name="csY154" fmla="*/ 1141464 h 1240128"/>
              <a:gd name="csX155" fmla="*/ 645564 w 697572"/>
              <a:gd name="csY155" fmla="*/ 1131937 h 1240128"/>
              <a:gd name="csX156" fmla="*/ 627387 w 697572"/>
              <a:gd name="csY156" fmla="*/ 1133618 h 1240128"/>
              <a:gd name="csX157" fmla="*/ 583917 w 697572"/>
              <a:gd name="csY157" fmla="*/ 1139222 h 1240128"/>
              <a:gd name="csX158" fmla="*/ 543741 w 697572"/>
              <a:gd name="csY158" fmla="*/ 1141869 h 1240128"/>
              <a:gd name="csX159" fmla="*/ 512146 w 697572"/>
              <a:gd name="csY159" fmla="*/ 1144418 h 1240128"/>
              <a:gd name="csX160" fmla="*/ 447711 w 697572"/>
              <a:gd name="csY160" fmla="*/ 1148973 h 1240128"/>
              <a:gd name="csX161" fmla="*/ 351979 w 697572"/>
              <a:gd name="csY161" fmla="*/ 1149200 h 1240128"/>
              <a:gd name="csX162" fmla="*/ 338443 w 697572"/>
              <a:gd name="csY162" fmla="*/ 1150040 h 1240128"/>
              <a:gd name="csX163" fmla="*/ 338451 w 697572"/>
              <a:gd name="csY163" fmla="*/ 1190780 h 1240128"/>
              <a:gd name="csX164" fmla="*/ 351082 w 697572"/>
              <a:gd name="csY164" fmla="*/ 1207015 h 1240128"/>
              <a:gd name="csX165" fmla="*/ 358298 w 697572"/>
              <a:gd name="csY165" fmla="*/ 1208094 h 1240128"/>
              <a:gd name="csX166" fmla="*/ 521229 w 697572"/>
              <a:gd name="csY166" fmla="*/ 1205646 h 1240128"/>
              <a:gd name="csX167" fmla="*/ 523675 w 697572"/>
              <a:gd name="csY167" fmla="*/ 1205490 h 1240128"/>
              <a:gd name="csX168" fmla="*/ 580423 w 697572"/>
              <a:gd name="csY168" fmla="*/ 1198350 h 1240128"/>
              <a:gd name="csX169" fmla="*/ 636802 w 697572"/>
              <a:gd name="csY169" fmla="*/ 1190940 h 124012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</a:cxnLst>
            <a:rect l="l" t="t" r="r" b="b"/>
            <a:pathLst>
              <a:path w="697572" h="1240128">
                <a:moveTo>
                  <a:pt x="581793" y="1234401"/>
                </a:moveTo>
                <a:cubicBezTo>
                  <a:pt x="580693" y="1234661"/>
                  <a:pt x="579594" y="1234922"/>
                  <a:pt x="577427" y="1234156"/>
                </a:cubicBezTo>
                <a:cubicBezTo>
                  <a:pt x="571216" y="1227899"/>
                  <a:pt x="564912" y="1230441"/>
                  <a:pt x="559133" y="1230909"/>
                </a:cubicBezTo>
                <a:cubicBezTo>
                  <a:pt x="544971" y="1232056"/>
                  <a:pt x="530869" y="1233971"/>
                  <a:pt x="516706" y="1235117"/>
                </a:cubicBezTo>
                <a:cubicBezTo>
                  <a:pt x="502910" y="1236232"/>
                  <a:pt x="489077" y="1237097"/>
                  <a:pt x="475244" y="1237506"/>
                </a:cubicBezTo>
                <a:cubicBezTo>
                  <a:pt x="440539" y="1238535"/>
                  <a:pt x="405696" y="1241458"/>
                  <a:pt x="371154" y="1239428"/>
                </a:cubicBezTo>
                <a:cubicBezTo>
                  <a:pt x="339645" y="1237575"/>
                  <a:pt x="308239" y="1238753"/>
                  <a:pt x="276813" y="1237654"/>
                </a:cubicBezTo>
                <a:cubicBezTo>
                  <a:pt x="273949" y="1237553"/>
                  <a:pt x="271079" y="1237652"/>
                  <a:pt x="268212" y="1237635"/>
                </a:cubicBezTo>
                <a:cubicBezTo>
                  <a:pt x="266165" y="1237623"/>
                  <a:pt x="264111" y="1237668"/>
                  <a:pt x="262072" y="1237523"/>
                </a:cubicBezTo>
                <a:cubicBezTo>
                  <a:pt x="239751" y="1235944"/>
                  <a:pt x="217441" y="1234201"/>
                  <a:pt x="195111" y="1232775"/>
                </a:cubicBezTo>
                <a:cubicBezTo>
                  <a:pt x="178437" y="1231710"/>
                  <a:pt x="161712" y="1231378"/>
                  <a:pt x="145060" y="1230076"/>
                </a:cubicBezTo>
                <a:cubicBezTo>
                  <a:pt x="134969" y="1229287"/>
                  <a:pt x="124987" y="1227177"/>
                  <a:pt x="114933" y="1225832"/>
                </a:cubicBezTo>
                <a:cubicBezTo>
                  <a:pt x="100834" y="1223946"/>
                  <a:pt x="86554" y="1223022"/>
                  <a:pt x="72642" y="1220237"/>
                </a:cubicBezTo>
                <a:cubicBezTo>
                  <a:pt x="51920" y="1216091"/>
                  <a:pt x="31443" y="1210723"/>
                  <a:pt x="10894" y="1205737"/>
                </a:cubicBezTo>
                <a:cubicBezTo>
                  <a:pt x="9027" y="1205284"/>
                  <a:pt x="6196" y="1204140"/>
                  <a:pt x="5856" y="1202799"/>
                </a:cubicBezTo>
                <a:cubicBezTo>
                  <a:pt x="3474" y="1193418"/>
                  <a:pt x="-438" y="1183796"/>
                  <a:pt x="40" y="1174450"/>
                </a:cubicBezTo>
                <a:cubicBezTo>
                  <a:pt x="1079" y="1154149"/>
                  <a:pt x="9757" y="1135843"/>
                  <a:pt x="19831" y="1118410"/>
                </a:cubicBezTo>
                <a:cubicBezTo>
                  <a:pt x="21968" y="1114713"/>
                  <a:pt x="22970" y="1111858"/>
                  <a:pt x="22004" y="1107240"/>
                </a:cubicBezTo>
                <a:cubicBezTo>
                  <a:pt x="17168" y="1084118"/>
                  <a:pt x="17717" y="1061168"/>
                  <a:pt x="25947" y="1038650"/>
                </a:cubicBezTo>
                <a:cubicBezTo>
                  <a:pt x="32954" y="1019481"/>
                  <a:pt x="44478" y="1003118"/>
                  <a:pt x="58234" y="988567"/>
                </a:cubicBezTo>
                <a:cubicBezTo>
                  <a:pt x="77769" y="967902"/>
                  <a:pt x="97978" y="947832"/>
                  <a:pt x="118645" y="928298"/>
                </a:cubicBezTo>
                <a:cubicBezTo>
                  <a:pt x="130104" y="917467"/>
                  <a:pt x="131835" y="905961"/>
                  <a:pt x="126320" y="892015"/>
                </a:cubicBezTo>
                <a:cubicBezTo>
                  <a:pt x="123798" y="885637"/>
                  <a:pt x="122123" y="878904"/>
                  <a:pt x="120345" y="872258"/>
                </a:cubicBezTo>
                <a:cubicBezTo>
                  <a:pt x="119029" y="867341"/>
                  <a:pt x="120162" y="863613"/>
                  <a:pt x="125668" y="861640"/>
                </a:cubicBezTo>
                <a:cubicBezTo>
                  <a:pt x="135266" y="858201"/>
                  <a:pt x="144535" y="853788"/>
                  <a:pt x="154237" y="850716"/>
                </a:cubicBezTo>
                <a:cubicBezTo>
                  <a:pt x="161882" y="848296"/>
                  <a:pt x="167110" y="843897"/>
                  <a:pt x="170248" y="836767"/>
                </a:cubicBezTo>
                <a:cubicBezTo>
                  <a:pt x="176168" y="823316"/>
                  <a:pt x="182193" y="809907"/>
                  <a:pt x="187840" y="796341"/>
                </a:cubicBezTo>
                <a:cubicBezTo>
                  <a:pt x="195194" y="778679"/>
                  <a:pt x="202250" y="760894"/>
                  <a:pt x="209346" y="743126"/>
                </a:cubicBezTo>
                <a:cubicBezTo>
                  <a:pt x="210083" y="741280"/>
                  <a:pt x="210252" y="739200"/>
                  <a:pt x="210630" y="737219"/>
                </a:cubicBezTo>
                <a:cubicBezTo>
                  <a:pt x="211694" y="731645"/>
                  <a:pt x="212425" y="725987"/>
                  <a:pt x="213836" y="720505"/>
                </a:cubicBezTo>
                <a:cubicBezTo>
                  <a:pt x="218406" y="702764"/>
                  <a:pt x="223811" y="685219"/>
                  <a:pt x="227791" y="667353"/>
                </a:cubicBezTo>
                <a:cubicBezTo>
                  <a:pt x="232826" y="644755"/>
                  <a:pt x="237367" y="622009"/>
                  <a:pt x="241013" y="599151"/>
                </a:cubicBezTo>
                <a:cubicBezTo>
                  <a:pt x="244018" y="580319"/>
                  <a:pt x="246001" y="561272"/>
                  <a:pt x="247322" y="542242"/>
                </a:cubicBezTo>
                <a:cubicBezTo>
                  <a:pt x="248312" y="527975"/>
                  <a:pt x="246344" y="513451"/>
                  <a:pt x="247948" y="499296"/>
                </a:cubicBezTo>
                <a:cubicBezTo>
                  <a:pt x="249066" y="489432"/>
                  <a:pt x="247923" y="480014"/>
                  <a:pt x="247577" y="470384"/>
                </a:cubicBezTo>
                <a:cubicBezTo>
                  <a:pt x="247364" y="464453"/>
                  <a:pt x="245121" y="461397"/>
                  <a:pt x="238877" y="460987"/>
                </a:cubicBezTo>
                <a:cubicBezTo>
                  <a:pt x="233224" y="460615"/>
                  <a:pt x="227461" y="459920"/>
                  <a:pt x="222040" y="458353"/>
                </a:cubicBezTo>
                <a:cubicBezTo>
                  <a:pt x="203991" y="453134"/>
                  <a:pt x="185737" y="448229"/>
                  <a:pt x="172193" y="433714"/>
                </a:cubicBezTo>
                <a:cubicBezTo>
                  <a:pt x="162702" y="423544"/>
                  <a:pt x="160887" y="408134"/>
                  <a:pt x="168410" y="396591"/>
                </a:cubicBezTo>
                <a:cubicBezTo>
                  <a:pt x="178294" y="381428"/>
                  <a:pt x="193736" y="373793"/>
                  <a:pt x="209826" y="367773"/>
                </a:cubicBezTo>
                <a:cubicBezTo>
                  <a:pt x="223159" y="362784"/>
                  <a:pt x="237124" y="359493"/>
                  <a:pt x="250732" y="355208"/>
                </a:cubicBezTo>
                <a:cubicBezTo>
                  <a:pt x="253085" y="354467"/>
                  <a:pt x="255058" y="352518"/>
                  <a:pt x="258289" y="350426"/>
                </a:cubicBezTo>
                <a:cubicBezTo>
                  <a:pt x="250173" y="342610"/>
                  <a:pt x="241833" y="337880"/>
                  <a:pt x="233274" y="333513"/>
                </a:cubicBezTo>
                <a:cubicBezTo>
                  <a:pt x="232377" y="333055"/>
                  <a:pt x="230890" y="333758"/>
                  <a:pt x="229677" y="333922"/>
                </a:cubicBezTo>
                <a:cubicBezTo>
                  <a:pt x="229677" y="333922"/>
                  <a:pt x="230323" y="333834"/>
                  <a:pt x="230149" y="332979"/>
                </a:cubicBezTo>
                <a:cubicBezTo>
                  <a:pt x="229023" y="330409"/>
                  <a:pt x="228502" y="328059"/>
                  <a:pt x="227053" y="327076"/>
                </a:cubicBezTo>
                <a:cubicBezTo>
                  <a:pt x="213615" y="317962"/>
                  <a:pt x="204643" y="305332"/>
                  <a:pt x="196769" y="291380"/>
                </a:cubicBezTo>
                <a:cubicBezTo>
                  <a:pt x="191792" y="282564"/>
                  <a:pt x="185421" y="274665"/>
                  <a:pt x="184389" y="264042"/>
                </a:cubicBezTo>
                <a:cubicBezTo>
                  <a:pt x="184179" y="261874"/>
                  <a:pt x="181925" y="259908"/>
                  <a:pt x="180630" y="257839"/>
                </a:cubicBezTo>
                <a:cubicBezTo>
                  <a:pt x="179137" y="255454"/>
                  <a:pt x="177317" y="253204"/>
                  <a:pt x="176231" y="250643"/>
                </a:cubicBezTo>
                <a:cubicBezTo>
                  <a:pt x="161865" y="216749"/>
                  <a:pt x="159606" y="182060"/>
                  <a:pt x="170073" y="146723"/>
                </a:cubicBezTo>
                <a:cubicBezTo>
                  <a:pt x="173311" y="135795"/>
                  <a:pt x="177248" y="125074"/>
                  <a:pt x="180929" y="114280"/>
                </a:cubicBezTo>
                <a:cubicBezTo>
                  <a:pt x="182396" y="109981"/>
                  <a:pt x="183922" y="105742"/>
                  <a:pt x="180839" y="101501"/>
                </a:cubicBezTo>
                <a:cubicBezTo>
                  <a:pt x="192473" y="75833"/>
                  <a:pt x="211344" y="56271"/>
                  <a:pt x="233536" y="39653"/>
                </a:cubicBezTo>
                <a:cubicBezTo>
                  <a:pt x="267321" y="14353"/>
                  <a:pt x="305621" y="873"/>
                  <a:pt x="347618" y="35"/>
                </a:cubicBezTo>
                <a:cubicBezTo>
                  <a:pt x="379125" y="-593"/>
                  <a:pt x="409214" y="7172"/>
                  <a:pt x="437139" y="22396"/>
                </a:cubicBezTo>
                <a:cubicBezTo>
                  <a:pt x="481844" y="46766"/>
                  <a:pt x="514077" y="82116"/>
                  <a:pt x="529052" y="131093"/>
                </a:cubicBezTo>
                <a:cubicBezTo>
                  <a:pt x="543544" y="178495"/>
                  <a:pt x="541630" y="225548"/>
                  <a:pt x="518497" y="271517"/>
                </a:cubicBezTo>
                <a:cubicBezTo>
                  <a:pt x="511428" y="277096"/>
                  <a:pt x="503848" y="281136"/>
                  <a:pt x="500808" y="287385"/>
                </a:cubicBezTo>
                <a:cubicBezTo>
                  <a:pt x="493932" y="301522"/>
                  <a:pt x="483805" y="312513"/>
                  <a:pt x="472948" y="323290"/>
                </a:cubicBezTo>
                <a:cubicBezTo>
                  <a:pt x="470972" y="325253"/>
                  <a:pt x="470533" y="328767"/>
                  <a:pt x="469385" y="331565"/>
                </a:cubicBezTo>
                <a:cubicBezTo>
                  <a:pt x="469385" y="331565"/>
                  <a:pt x="469172" y="331584"/>
                  <a:pt x="468293" y="331320"/>
                </a:cubicBezTo>
                <a:cubicBezTo>
                  <a:pt x="461937" y="330836"/>
                  <a:pt x="458618" y="332772"/>
                  <a:pt x="459542" y="338942"/>
                </a:cubicBezTo>
                <a:cubicBezTo>
                  <a:pt x="459542" y="338942"/>
                  <a:pt x="459473" y="338913"/>
                  <a:pt x="458492" y="338671"/>
                </a:cubicBezTo>
                <a:cubicBezTo>
                  <a:pt x="450936" y="342653"/>
                  <a:pt x="440712" y="341355"/>
                  <a:pt x="436978" y="352226"/>
                </a:cubicBezTo>
                <a:cubicBezTo>
                  <a:pt x="449178" y="355911"/>
                  <a:pt x="460733" y="359469"/>
                  <a:pt x="472329" y="362890"/>
                </a:cubicBezTo>
                <a:cubicBezTo>
                  <a:pt x="491728" y="368613"/>
                  <a:pt x="510182" y="375784"/>
                  <a:pt x="523779" y="391962"/>
                </a:cubicBezTo>
                <a:cubicBezTo>
                  <a:pt x="535849" y="406326"/>
                  <a:pt x="534845" y="420076"/>
                  <a:pt x="527344" y="430096"/>
                </a:cubicBezTo>
                <a:cubicBezTo>
                  <a:pt x="521323" y="438139"/>
                  <a:pt x="513928" y="445333"/>
                  <a:pt x="504112" y="449628"/>
                </a:cubicBezTo>
                <a:cubicBezTo>
                  <a:pt x="489776" y="455901"/>
                  <a:pt x="475173" y="460486"/>
                  <a:pt x="459430" y="461116"/>
                </a:cubicBezTo>
                <a:cubicBezTo>
                  <a:pt x="448415" y="461557"/>
                  <a:pt x="446384" y="463369"/>
                  <a:pt x="446666" y="474229"/>
                </a:cubicBezTo>
                <a:cubicBezTo>
                  <a:pt x="447164" y="493376"/>
                  <a:pt x="447839" y="512533"/>
                  <a:pt x="449133" y="531639"/>
                </a:cubicBezTo>
                <a:cubicBezTo>
                  <a:pt x="450424" y="550696"/>
                  <a:pt x="451783" y="569809"/>
                  <a:pt x="454546" y="588688"/>
                </a:cubicBezTo>
                <a:cubicBezTo>
                  <a:pt x="457543" y="609164"/>
                  <a:pt x="462165" y="629403"/>
                  <a:pt x="466126" y="649736"/>
                </a:cubicBezTo>
                <a:cubicBezTo>
                  <a:pt x="475845" y="699621"/>
                  <a:pt x="493414" y="746980"/>
                  <a:pt x="512154" y="794006"/>
                </a:cubicBezTo>
                <a:cubicBezTo>
                  <a:pt x="517387" y="807138"/>
                  <a:pt x="525145" y="819463"/>
                  <a:pt x="525763" y="834323"/>
                </a:cubicBezTo>
                <a:cubicBezTo>
                  <a:pt x="525919" y="838081"/>
                  <a:pt x="527739" y="843335"/>
                  <a:pt x="530555" y="845114"/>
                </a:cubicBezTo>
                <a:cubicBezTo>
                  <a:pt x="537981" y="849801"/>
                  <a:pt x="546243" y="853278"/>
                  <a:pt x="554424" y="856618"/>
                </a:cubicBezTo>
                <a:cubicBezTo>
                  <a:pt x="560391" y="859054"/>
                  <a:pt x="567041" y="859887"/>
                  <a:pt x="572880" y="862546"/>
                </a:cubicBezTo>
                <a:cubicBezTo>
                  <a:pt x="581470" y="866458"/>
                  <a:pt x="582467" y="871415"/>
                  <a:pt x="578643" y="880396"/>
                </a:cubicBezTo>
                <a:cubicBezTo>
                  <a:pt x="575969" y="886677"/>
                  <a:pt x="572900" y="893182"/>
                  <a:pt x="572188" y="899820"/>
                </a:cubicBezTo>
                <a:cubicBezTo>
                  <a:pt x="570960" y="911271"/>
                  <a:pt x="576506" y="920944"/>
                  <a:pt x="582698" y="930382"/>
                </a:cubicBezTo>
                <a:cubicBezTo>
                  <a:pt x="589569" y="940856"/>
                  <a:pt x="600933" y="947930"/>
                  <a:pt x="604747" y="960852"/>
                </a:cubicBezTo>
                <a:cubicBezTo>
                  <a:pt x="605684" y="964030"/>
                  <a:pt x="610294" y="967128"/>
                  <a:pt x="613863" y="968311"/>
                </a:cubicBezTo>
                <a:cubicBezTo>
                  <a:pt x="620963" y="970665"/>
                  <a:pt x="625924" y="974774"/>
                  <a:pt x="629435" y="981186"/>
                </a:cubicBezTo>
                <a:cubicBezTo>
                  <a:pt x="630381" y="982913"/>
                  <a:pt x="631977" y="984459"/>
                  <a:pt x="633611" y="985609"/>
                </a:cubicBezTo>
                <a:cubicBezTo>
                  <a:pt x="655878" y="1001272"/>
                  <a:pt x="668032" y="1023762"/>
                  <a:pt x="673790" y="1049348"/>
                </a:cubicBezTo>
                <a:cubicBezTo>
                  <a:pt x="676936" y="1063327"/>
                  <a:pt x="679769" y="1077802"/>
                  <a:pt x="675873" y="1092839"/>
                </a:cubicBezTo>
                <a:cubicBezTo>
                  <a:pt x="672677" y="1105174"/>
                  <a:pt x="673042" y="1116963"/>
                  <a:pt x="681668" y="1129292"/>
                </a:cubicBezTo>
                <a:cubicBezTo>
                  <a:pt x="695321" y="1148802"/>
                  <a:pt x="698550" y="1172235"/>
                  <a:pt x="697338" y="1196079"/>
                </a:cubicBezTo>
                <a:cubicBezTo>
                  <a:pt x="697087" y="1201014"/>
                  <a:pt x="694979" y="1203886"/>
                  <a:pt x="690637" y="1205035"/>
                </a:cubicBezTo>
                <a:cubicBezTo>
                  <a:pt x="673723" y="1209511"/>
                  <a:pt x="656856" y="1214241"/>
                  <a:pt x="639777" y="1217994"/>
                </a:cubicBezTo>
                <a:cubicBezTo>
                  <a:pt x="622334" y="1221827"/>
                  <a:pt x="604691" y="1224790"/>
                  <a:pt x="587072" y="1227761"/>
                </a:cubicBezTo>
                <a:cubicBezTo>
                  <a:pt x="582708" y="1228497"/>
                  <a:pt x="581724" y="1230736"/>
                  <a:pt x="581793" y="1234401"/>
                </a:cubicBezTo>
                <a:moveTo>
                  <a:pt x="357446" y="903795"/>
                </a:moveTo>
                <a:cubicBezTo>
                  <a:pt x="353141" y="903795"/>
                  <a:pt x="348835" y="903795"/>
                  <a:pt x="344445" y="903795"/>
                </a:cubicBezTo>
                <a:cubicBezTo>
                  <a:pt x="346169" y="920562"/>
                  <a:pt x="347908" y="935520"/>
                  <a:pt x="349212" y="950515"/>
                </a:cubicBezTo>
                <a:cubicBezTo>
                  <a:pt x="352656" y="990125"/>
                  <a:pt x="351941" y="1029743"/>
                  <a:pt x="349538" y="1069392"/>
                </a:cubicBezTo>
                <a:cubicBezTo>
                  <a:pt x="348759" y="1082241"/>
                  <a:pt x="349415" y="1095176"/>
                  <a:pt x="349415" y="1108925"/>
                </a:cubicBezTo>
                <a:cubicBezTo>
                  <a:pt x="449467" y="1111953"/>
                  <a:pt x="548509" y="1104712"/>
                  <a:pt x="647726" y="1089872"/>
                </a:cubicBezTo>
                <a:cubicBezTo>
                  <a:pt x="647726" y="1084313"/>
                  <a:pt x="648180" y="1080225"/>
                  <a:pt x="647654" y="1076267"/>
                </a:cubicBezTo>
                <a:cubicBezTo>
                  <a:pt x="643515" y="1045124"/>
                  <a:pt x="633172" y="1016714"/>
                  <a:pt x="610267" y="994126"/>
                </a:cubicBezTo>
                <a:cubicBezTo>
                  <a:pt x="597451" y="981485"/>
                  <a:pt x="584392" y="969090"/>
                  <a:pt x="571459" y="956568"/>
                </a:cubicBezTo>
                <a:cubicBezTo>
                  <a:pt x="555751" y="941359"/>
                  <a:pt x="544836" y="923558"/>
                  <a:pt x="541653" y="901544"/>
                </a:cubicBezTo>
                <a:cubicBezTo>
                  <a:pt x="541430" y="900007"/>
                  <a:pt x="540528" y="898570"/>
                  <a:pt x="539477" y="895908"/>
                </a:cubicBezTo>
                <a:cubicBezTo>
                  <a:pt x="479736" y="901652"/>
                  <a:pt x="419815" y="904536"/>
                  <a:pt x="357446" y="903795"/>
                </a:cubicBezTo>
                <a:moveTo>
                  <a:pt x="300108" y="85260"/>
                </a:moveTo>
                <a:cubicBezTo>
                  <a:pt x="293656" y="98745"/>
                  <a:pt x="289202" y="113094"/>
                  <a:pt x="290213" y="127888"/>
                </a:cubicBezTo>
                <a:cubicBezTo>
                  <a:pt x="292527" y="161736"/>
                  <a:pt x="304185" y="191723"/>
                  <a:pt x="331056" y="214168"/>
                </a:cubicBezTo>
                <a:cubicBezTo>
                  <a:pt x="358172" y="236816"/>
                  <a:pt x="388435" y="249934"/>
                  <a:pt x="424717" y="245160"/>
                </a:cubicBezTo>
                <a:cubicBezTo>
                  <a:pt x="468593" y="239387"/>
                  <a:pt x="509574" y="203365"/>
                  <a:pt x="496752" y="141256"/>
                </a:cubicBezTo>
                <a:cubicBezTo>
                  <a:pt x="487021" y="94124"/>
                  <a:pt x="447261" y="51874"/>
                  <a:pt x="390320" y="43995"/>
                </a:cubicBezTo>
                <a:cubicBezTo>
                  <a:pt x="353241" y="38865"/>
                  <a:pt x="321136" y="48750"/>
                  <a:pt x="300108" y="85260"/>
                </a:cubicBezTo>
                <a:moveTo>
                  <a:pt x="343360" y="634332"/>
                </a:moveTo>
                <a:cubicBezTo>
                  <a:pt x="342539" y="666975"/>
                  <a:pt x="341785" y="699619"/>
                  <a:pt x="340877" y="732259"/>
                </a:cubicBezTo>
                <a:cubicBezTo>
                  <a:pt x="340151" y="758355"/>
                  <a:pt x="339265" y="784447"/>
                  <a:pt x="338360" y="810538"/>
                </a:cubicBezTo>
                <a:cubicBezTo>
                  <a:pt x="338277" y="812948"/>
                  <a:pt x="337465" y="815325"/>
                  <a:pt x="337115" y="817736"/>
                </a:cubicBezTo>
                <a:cubicBezTo>
                  <a:pt x="334935" y="832710"/>
                  <a:pt x="336026" y="847647"/>
                  <a:pt x="336516" y="863022"/>
                </a:cubicBezTo>
                <a:cubicBezTo>
                  <a:pt x="339537" y="863479"/>
                  <a:pt x="341490" y="864053"/>
                  <a:pt x="343436" y="864027"/>
                </a:cubicBezTo>
                <a:cubicBezTo>
                  <a:pt x="364531" y="863739"/>
                  <a:pt x="385626" y="863422"/>
                  <a:pt x="406718" y="862982"/>
                </a:cubicBezTo>
                <a:cubicBezTo>
                  <a:pt x="423444" y="862634"/>
                  <a:pt x="440168" y="861675"/>
                  <a:pt x="456888" y="861794"/>
                </a:cubicBezTo>
                <a:cubicBezTo>
                  <a:pt x="469887" y="861886"/>
                  <a:pt x="482872" y="863302"/>
                  <a:pt x="495873" y="863963"/>
                </a:cubicBezTo>
                <a:cubicBezTo>
                  <a:pt x="500358" y="864191"/>
                  <a:pt x="505108" y="864773"/>
                  <a:pt x="509286" y="863595"/>
                </a:cubicBezTo>
                <a:cubicBezTo>
                  <a:pt x="512346" y="862732"/>
                  <a:pt x="515714" y="859703"/>
                  <a:pt x="516956" y="856791"/>
                </a:cubicBezTo>
                <a:cubicBezTo>
                  <a:pt x="517783" y="854851"/>
                  <a:pt x="515475" y="851192"/>
                  <a:pt x="513920" y="848709"/>
                </a:cubicBezTo>
                <a:cubicBezTo>
                  <a:pt x="511791" y="845308"/>
                  <a:pt x="508393" y="842606"/>
                  <a:pt x="506683" y="839054"/>
                </a:cubicBezTo>
                <a:cubicBezTo>
                  <a:pt x="500331" y="825864"/>
                  <a:pt x="493224" y="812855"/>
                  <a:pt x="488629" y="799037"/>
                </a:cubicBezTo>
                <a:cubicBezTo>
                  <a:pt x="477322" y="765031"/>
                  <a:pt x="466537" y="730814"/>
                  <a:pt x="456922" y="696297"/>
                </a:cubicBezTo>
                <a:cubicBezTo>
                  <a:pt x="449953" y="671276"/>
                  <a:pt x="443477" y="646020"/>
                  <a:pt x="441346" y="619885"/>
                </a:cubicBezTo>
                <a:cubicBezTo>
                  <a:pt x="440327" y="607371"/>
                  <a:pt x="437466" y="595018"/>
                  <a:pt x="435963" y="582529"/>
                </a:cubicBezTo>
                <a:cubicBezTo>
                  <a:pt x="433539" y="562380"/>
                  <a:pt x="431154" y="542212"/>
                  <a:pt x="429497" y="521990"/>
                </a:cubicBezTo>
                <a:cubicBezTo>
                  <a:pt x="428135" y="505363"/>
                  <a:pt x="428437" y="488593"/>
                  <a:pt x="426887" y="471989"/>
                </a:cubicBezTo>
                <a:cubicBezTo>
                  <a:pt x="425874" y="461140"/>
                  <a:pt x="424983" y="461120"/>
                  <a:pt x="413744" y="461077"/>
                </a:cubicBezTo>
                <a:cubicBezTo>
                  <a:pt x="393687" y="461000"/>
                  <a:pt x="373630" y="461011"/>
                  <a:pt x="353573" y="461120"/>
                </a:cubicBezTo>
                <a:cubicBezTo>
                  <a:pt x="350472" y="461137"/>
                  <a:pt x="347374" y="461869"/>
                  <a:pt x="344160" y="462286"/>
                </a:cubicBezTo>
                <a:cubicBezTo>
                  <a:pt x="343828" y="465198"/>
                  <a:pt x="343406" y="467195"/>
                  <a:pt x="343404" y="469192"/>
                </a:cubicBezTo>
                <a:cubicBezTo>
                  <a:pt x="343360" y="504394"/>
                  <a:pt x="343267" y="539596"/>
                  <a:pt x="343469" y="574797"/>
                </a:cubicBezTo>
                <a:cubicBezTo>
                  <a:pt x="343501" y="580426"/>
                  <a:pt x="345652" y="586065"/>
                  <a:pt x="345522" y="591669"/>
                </a:cubicBezTo>
                <a:cubicBezTo>
                  <a:pt x="345214" y="605082"/>
                  <a:pt x="344131" y="618478"/>
                  <a:pt x="343360" y="634332"/>
                </a:cubicBezTo>
                <a:moveTo>
                  <a:pt x="416946" y="385943"/>
                </a:moveTo>
                <a:cubicBezTo>
                  <a:pt x="411661" y="386365"/>
                  <a:pt x="406384" y="387006"/>
                  <a:pt x="401091" y="387162"/>
                </a:cubicBezTo>
                <a:cubicBezTo>
                  <a:pt x="390470" y="387477"/>
                  <a:pt x="379841" y="387447"/>
                  <a:pt x="369218" y="387708"/>
                </a:cubicBezTo>
                <a:cubicBezTo>
                  <a:pt x="361167" y="387906"/>
                  <a:pt x="354429" y="391368"/>
                  <a:pt x="351833" y="398991"/>
                </a:cubicBezTo>
                <a:cubicBezTo>
                  <a:pt x="348989" y="407342"/>
                  <a:pt x="347050" y="416214"/>
                  <a:pt x="349778" y="426021"/>
                </a:cubicBezTo>
                <a:cubicBezTo>
                  <a:pt x="353876" y="426204"/>
                  <a:pt x="357857" y="426517"/>
                  <a:pt x="361839" y="426538"/>
                </a:cubicBezTo>
                <a:cubicBezTo>
                  <a:pt x="392900" y="426701"/>
                  <a:pt x="423961" y="426826"/>
                  <a:pt x="455022" y="426922"/>
                </a:cubicBezTo>
                <a:cubicBezTo>
                  <a:pt x="464013" y="426950"/>
                  <a:pt x="473106" y="427654"/>
                  <a:pt x="481958" y="426527"/>
                </a:cubicBezTo>
                <a:cubicBezTo>
                  <a:pt x="488144" y="425740"/>
                  <a:pt x="494821" y="423501"/>
                  <a:pt x="499817" y="419888"/>
                </a:cubicBezTo>
                <a:cubicBezTo>
                  <a:pt x="507869" y="414066"/>
                  <a:pt x="507286" y="406755"/>
                  <a:pt x="499439" y="400719"/>
                </a:cubicBezTo>
                <a:cubicBezTo>
                  <a:pt x="490179" y="393597"/>
                  <a:pt x="479486" y="388885"/>
                  <a:pt x="468062" y="387775"/>
                </a:cubicBezTo>
                <a:cubicBezTo>
                  <a:pt x="451873" y="386202"/>
                  <a:pt x="435520" y="386321"/>
                  <a:pt x="416946" y="385943"/>
                </a:cubicBezTo>
                <a:moveTo>
                  <a:pt x="636802" y="1190940"/>
                </a:moveTo>
                <a:cubicBezTo>
                  <a:pt x="646709" y="1188723"/>
                  <a:pt x="656705" y="1186841"/>
                  <a:pt x="666492" y="1184186"/>
                </a:cubicBezTo>
                <a:cubicBezTo>
                  <a:pt x="674710" y="1181958"/>
                  <a:pt x="676989" y="1178509"/>
                  <a:pt x="674465" y="1170880"/>
                </a:cubicBezTo>
                <a:cubicBezTo>
                  <a:pt x="671144" y="1160843"/>
                  <a:pt x="667026" y="1151009"/>
                  <a:pt x="662462" y="1141464"/>
                </a:cubicBezTo>
                <a:cubicBezTo>
                  <a:pt x="659273" y="1134795"/>
                  <a:pt x="653671" y="1130908"/>
                  <a:pt x="645564" y="1131937"/>
                </a:cubicBezTo>
                <a:cubicBezTo>
                  <a:pt x="639532" y="1132703"/>
                  <a:pt x="633423" y="1132867"/>
                  <a:pt x="627387" y="1133618"/>
                </a:cubicBezTo>
                <a:cubicBezTo>
                  <a:pt x="612888" y="1135421"/>
                  <a:pt x="598449" y="1137770"/>
                  <a:pt x="583917" y="1139222"/>
                </a:cubicBezTo>
                <a:cubicBezTo>
                  <a:pt x="570571" y="1140557"/>
                  <a:pt x="557130" y="1140930"/>
                  <a:pt x="543741" y="1141869"/>
                </a:cubicBezTo>
                <a:cubicBezTo>
                  <a:pt x="533202" y="1142610"/>
                  <a:pt x="522682" y="1143623"/>
                  <a:pt x="512146" y="1144418"/>
                </a:cubicBezTo>
                <a:cubicBezTo>
                  <a:pt x="490671" y="1146038"/>
                  <a:pt x="469214" y="1148450"/>
                  <a:pt x="447711" y="1148973"/>
                </a:cubicBezTo>
                <a:cubicBezTo>
                  <a:pt x="415817" y="1149749"/>
                  <a:pt x="383891" y="1149136"/>
                  <a:pt x="351979" y="1149200"/>
                </a:cubicBezTo>
                <a:cubicBezTo>
                  <a:pt x="347698" y="1149209"/>
                  <a:pt x="343419" y="1149717"/>
                  <a:pt x="338443" y="1150040"/>
                </a:cubicBezTo>
                <a:cubicBezTo>
                  <a:pt x="338443" y="1164651"/>
                  <a:pt x="338413" y="1177715"/>
                  <a:pt x="338451" y="1190780"/>
                </a:cubicBezTo>
                <a:cubicBezTo>
                  <a:pt x="338490" y="1204031"/>
                  <a:pt x="338512" y="1204062"/>
                  <a:pt x="351082" y="1207015"/>
                </a:cubicBezTo>
                <a:cubicBezTo>
                  <a:pt x="353445" y="1207570"/>
                  <a:pt x="355895" y="1208128"/>
                  <a:pt x="358298" y="1208094"/>
                </a:cubicBezTo>
                <a:cubicBezTo>
                  <a:pt x="412608" y="1207329"/>
                  <a:pt x="466919" y="1206484"/>
                  <a:pt x="521229" y="1205646"/>
                </a:cubicBezTo>
                <a:cubicBezTo>
                  <a:pt x="522045" y="1205634"/>
                  <a:pt x="522865" y="1205591"/>
                  <a:pt x="523675" y="1205490"/>
                </a:cubicBezTo>
                <a:cubicBezTo>
                  <a:pt x="542593" y="1203123"/>
                  <a:pt x="561519" y="1200820"/>
                  <a:pt x="580423" y="1198350"/>
                </a:cubicBezTo>
                <a:cubicBezTo>
                  <a:pt x="598523" y="1195985"/>
                  <a:pt x="616599" y="1193446"/>
                  <a:pt x="636802" y="1190940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" name="Free-form: Shape 6">
            <a:extLst>
              <a:ext uri="{FF2B5EF4-FFF2-40B4-BE49-F238E27FC236}">
                <a16:creationId xmlns:a16="http://schemas.microsoft.com/office/drawing/2014/main" id="{AEA4C2CF-01BE-3925-FF35-588B908A30D1}"/>
              </a:ext>
            </a:extLst>
          </p:cNvPr>
          <p:cNvSpPr/>
          <p:nvPr/>
        </p:nvSpPr>
        <p:spPr>
          <a:xfrm>
            <a:off x="7213709" y="3356368"/>
            <a:ext cx="17183" cy="1817"/>
          </a:xfrm>
          <a:custGeom>
            <a:avLst/>
            <a:gdLst>
              <a:gd name="csX0" fmla="*/ 0 w 27674"/>
              <a:gd name="csY0" fmla="*/ 2915 h 2925"/>
              <a:gd name="csX1" fmla="*/ 27675 w 27674"/>
              <a:gd name="csY1" fmla="*/ 1550 h 2925"/>
              <a:gd name="csX2" fmla="*/ 0 w 27674"/>
              <a:gd name="csY2" fmla="*/ 2915 h 292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27674" h="2925">
                <a:moveTo>
                  <a:pt x="0" y="2915"/>
                </a:moveTo>
                <a:cubicBezTo>
                  <a:pt x="8211" y="-1939"/>
                  <a:pt x="17625" y="498"/>
                  <a:pt x="27675" y="1550"/>
                </a:cubicBezTo>
                <a:cubicBezTo>
                  <a:pt x="19225" y="2593"/>
                  <a:pt x="10029" y="2999"/>
                  <a:pt x="0" y="2915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" name="Free-form: Shape 7">
            <a:extLst>
              <a:ext uri="{FF2B5EF4-FFF2-40B4-BE49-F238E27FC236}">
                <a16:creationId xmlns:a16="http://schemas.microsoft.com/office/drawing/2014/main" id="{5CE90D07-C680-4B55-F5E2-5E4C74A08236}"/>
              </a:ext>
            </a:extLst>
          </p:cNvPr>
          <p:cNvSpPr/>
          <p:nvPr/>
        </p:nvSpPr>
        <p:spPr>
          <a:xfrm>
            <a:off x="7166405" y="3357392"/>
            <a:ext cx="11179" cy="700"/>
          </a:xfrm>
          <a:custGeom>
            <a:avLst/>
            <a:gdLst>
              <a:gd name="csX0" fmla="*/ 0 w 18003"/>
              <a:gd name="csY0" fmla="*/ 1050 h 1128"/>
              <a:gd name="csX1" fmla="*/ 18004 w 18003"/>
              <a:gd name="csY1" fmla="*/ 93 h 1128"/>
              <a:gd name="csX2" fmla="*/ 0 w 18003"/>
              <a:gd name="csY2" fmla="*/ 1050 h 112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8003" h="1128">
                <a:moveTo>
                  <a:pt x="0" y="1050"/>
                </a:moveTo>
                <a:cubicBezTo>
                  <a:pt x="5276" y="182"/>
                  <a:pt x="11306" y="-189"/>
                  <a:pt x="18004" y="93"/>
                </a:cubicBezTo>
                <a:cubicBezTo>
                  <a:pt x="12699" y="1013"/>
                  <a:pt x="6726" y="1280"/>
                  <a:pt x="0" y="1050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" name="Free-form: Shape 8">
            <a:extLst>
              <a:ext uri="{FF2B5EF4-FFF2-40B4-BE49-F238E27FC236}">
                <a16:creationId xmlns:a16="http://schemas.microsoft.com/office/drawing/2014/main" id="{4B0421F8-435F-7AFA-8661-2D25FFC687BE}"/>
              </a:ext>
            </a:extLst>
          </p:cNvPr>
          <p:cNvSpPr/>
          <p:nvPr/>
        </p:nvSpPr>
        <p:spPr>
          <a:xfrm>
            <a:off x="7247372" y="2790592"/>
            <a:ext cx="5257" cy="4867"/>
          </a:xfrm>
          <a:custGeom>
            <a:avLst/>
            <a:gdLst>
              <a:gd name="csX0" fmla="*/ 473 w 8466"/>
              <a:gd name="csY0" fmla="*/ 7839 h 7838"/>
              <a:gd name="csX1" fmla="*/ 8466 w 8466"/>
              <a:gd name="csY1" fmla="*/ 61 h 7838"/>
              <a:gd name="csX2" fmla="*/ 473 w 8466"/>
              <a:gd name="csY2" fmla="*/ 7839 h 783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66" h="7838">
                <a:moveTo>
                  <a:pt x="473" y="7839"/>
                </a:moveTo>
                <a:cubicBezTo>
                  <a:pt x="-1298" y="1550"/>
                  <a:pt x="2020" y="-386"/>
                  <a:pt x="8466" y="61"/>
                </a:cubicBezTo>
                <a:cubicBezTo>
                  <a:pt x="6730" y="2845"/>
                  <a:pt x="4026" y="5401"/>
                  <a:pt x="473" y="7839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" name="Free-form: Shape 9">
            <a:extLst>
              <a:ext uri="{FF2B5EF4-FFF2-40B4-BE49-F238E27FC236}">
                <a16:creationId xmlns:a16="http://schemas.microsoft.com/office/drawing/2014/main" id="{EA5D55C0-7C5A-304E-EC7A-6B54CAE04075}"/>
              </a:ext>
            </a:extLst>
          </p:cNvPr>
          <p:cNvSpPr/>
          <p:nvPr/>
        </p:nvSpPr>
        <p:spPr>
          <a:xfrm>
            <a:off x="7111376" y="3355878"/>
            <a:ext cx="5265" cy="618"/>
          </a:xfrm>
          <a:custGeom>
            <a:avLst/>
            <a:gdLst>
              <a:gd name="csX0" fmla="*/ 0 w 8480"/>
              <a:gd name="csY0" fmla="*/ 896 h 996"/>
              <a:gd name="csX1" fmla="*/ 8480 w 8480"/>
              <a:gd name="csY1" fmla="*/ 110 h 996"/>
              <a:gd name="csX2" fmla="*/ 0 w 8480"/>
              <a:gd name="csY2" fmla="*/ 896 h 99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80" h="996">
                <a:moveTo>
                  <a:pt x="0" y="896"/>
                </a:moveTo>
                <a:cubicBezTo>
                  <a:pt x="2285" y="115"/>
                  <a:pt x="5130" y="-182"/>
                  <a:pt x="8480" y="110"/>
                </a:cubicBezTo>
                <a:cubicBezTo>
                  <a:pt x="6177" y="927"/>
                  <a:pt x="3368" y="1153"/>
                  <a:pt x="0" y="896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" name="Free-form: Shape 10">
            <a:extLst>
              <a:ext uri="{FF2B5EF4-FFF2-40B4-BE49-F238E27FC236}">
                <a16:creationId xmlns:a16="http://schemas.microsoft.com/office/drawing/2014/main" id="{02F0A8E5-17FE-E9A0-7BC1-EC6EA92CCEB0}"/>
              </a:ext>
            </a:extLst>
          </p:cNvPr>
          <p:cNvSpPr/>
          <p:nvPr/>
        </p:nvSpPr>
        <p:spPr>
          <a:xfrm>
            <a:off x="7398137" y="3329349"/>
            <a:ext cx="763" cy="4134"/>
          </a:xfrm>
          <a:custGeom>
            <a:avLst/>
            <a:gdLst>
              <a:gd name="csX0" fmla="*/ 132 w 1229"/>
              <a:gd name="csY0" fmla="*/ 6659 h 6658"/>
              <a:gd name="csX1" fmla="*/ 1107 w 1229"/>
              <a:gd name="csY1" fmla="*/ 0 h 6658"/>
              <a:gd name="csX2" fmla="*/ 132 w 1229"/>
              <a:gd name="csY2" fmla="*/ 6659 h 665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229" h="6658">
                <a:moveTo>
                  <a:pt x="132" y="6659"/>
                </a:moveTo>
                <a:cubicBezTo>
                  <a:pt x="-219" y="4616"/>
                  <a:pt x="139" y="2560"/>
                  <a:pt x="1107" y="0"/>
                </a:cubicBezTo>
                <a:cubicBezTo>
                  <a:pt x="1425" y="1879"/>
                  <a:pt x="1133" y="4263"/>
                  <a:pt x="132" y="6659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" name="Free-form: Shape 11">
            <a:extLst>
              <a:ext uri="{FF2B5EF4-FFF2-40B4-BE49-F238E27FC236}">
                <a16:creationId xmlns:a16="http://schemas.microsoft.com/office/drawing/2014/main" id="{9F84DAEB-AC3B-1D28-2461-13A452E9F792}"/>
              </a:ext>
            </a:extLst>
          </p:cNvPr>
          <p:cNvSpPr/>
          <p:nvPr/>
        </p:nvSpPr>
        <p:spPr>
          <a:xfrm>
            <a:off x="7330941" y="3349626"/>
            <a:ext cx="2352" cy="847"/>
          </a:xfrm>
          <a:custGeom>
            <a:avLst/>
            <a:gdLst>
              <a:gd name="csX0" fmla="*/ 0 w 3788"/>
              <a:gd name="csY0" fmla="*/ 1364 h 1364"/>
              <a:gd name="csX1" fmla="*/ 3788 w 3788"/>
              <a:gd name="csY1" fmla="*/ 0 h 1364"/>
              <a:gd name="csX2" fmla="*/ 0 w 3788"/>
              <a:gd name="csY2" fmla="*/ 1364 h 136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788" h="1364">
                <a:moveTo>
                  <a:pt x="0" y="1364"/>
                </a:moveTo>
                <a:cubicBezTo>
                  <a:pt x="856" y="517"/>
                  <a:pt x="2126" y="39"/>
                  <a:pt x="3788" y="0"/>
                </a:cubicBezTo>
                <a:cubicBezTo>
                  <a:pt x="2925" y="870"/>
                  <a:pt x="1670" y="1303"/>
                  <a:pt x="0" y="1364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3" name="Free-form: Shape 12">
            <a:extLst>
              <a:ext uri="{FF2B5EF4-FFF2-40B4-BE49-F238E27FC236}">
                <a16:creationId xmlns:a16="http://schemas.microsoft.com/office/drawing/2014/main" id="{916585BB-6587-B064-EE0C-F71566140AB1}"/>
              </a:ext>
            </a:extLst>
          </p:cNvPr>
          <p:cNvSpPr/>
          <p:nvPr/>
        </p:nvSpPr>
        <p:spPr>
          <a:xfrm>
            <a:off x="7059358" y="3352900"/>
            <a:ext cx="2478" cy="515"/>
          </a:xfrm>
          <a:custGeom>
            <a:avLst/>
            <a:gdLst>
              <a:gd name="csX0" fmla="*/ 0 w 3990"/>
              <a:gd name="csY0" fmla="*/ 719 h 829"/>
              <a:gd name="csX1" fmla="*/ 3990 w 3990"/>
              <a:gd name="csY1" fmla="*/ 119 h 829"/>
              <a:gd name="csX2" fmla="*/ 0 w 3990"/>
              <a:gd name="csY2" fmla="*/ 719 h 82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990" h="829">
                <a:moveTo>
                  <a:pt x="0" y="719"/>
                </a:moveTo>
                <a:cubicBezTo>
                  <a:pt x="982" y="66"/>
                  <a:pt x="2323" y="-163"/>
                  <a:pt x="3990" y="119"/>
                </a:cubicBezTo>
                <a:cubicBezTo>
                  <a:pt x="2998" y="800"/>
                  <a:pt x="1678" y="972"/>
                  <a:pt x="0" y="719"/>
                </a:cubicBezTo>
                <a:close/>
              </a:path>
            </a:pathLst>
          </a:custGeom>
          <a:solidFill>
            <a:srgbClr val="959DA0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4" name="Free-form: Shape 13">
            <a:extLst>
              <a:ext uri="{FF2B5EF4-FFF2-40B4-BE49-F238E27FC236}">
                <a16:creationId xmlns:a16="http://schemas.microsoft.com/office/drawing/2014/main" id="{27AB7375-549F-494C-DA8F-4A19FDF71D3F}"/>
              </a:ext>
            </a:extLst>
          </p:cNvPr>
          <p:cNvSpPr/>
          <p:nvPr/>
        </p:nvSpPr>
        <p:spPr>
          <a:xfrm>
            <a:off x="7269906" y="3355856"/>
            <a:ext cx="2417" cy="705"/>
          </a:xfrm>
          <a:custGeom>
            <a:avLst/>
            <a:gdLst>
              <a:gd name="csX0" fmla="*/ 0 w 3893"/>
              <a:gd name="csY0" fmla="*/ 1133 h 1135"/>
              <a:gd name="csX1" fmla="*/ 3893 w 3893"/>
              <a:gd name="csY1" fmla="*/ 7 h 1135"/>
              <a:gd name="csX2" fmla="*/ 0 w 3893"/>
              <a:gd name="csY2" fmla="*/ 1133 h 113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893" h="1135">
                <a:moveTo>
                  <a:pt x="0" y="1133"/>
                </a:moveTo>
                <a:cubicBezTo>
                  <a:pt x="902" y="349"/>
                  <a:pt x="2213" y="-60"/>
                  <a:pt x="3893" y="7"/>
                </a:cubicBezTo>
                <a:cubicBezTo>
                  <a:pt x="2978" y="825"/>
                  <a:pt x="1693" y="1167"/>
                  <a:pt x="0" y="1133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5" name="Free-form: Shape 14">
            <a:extLst>
              <a:ext uri="{FF2B5EF4-FFF2-40B4-BE49-F238E27FC236}">
                <a16:creationId xmlns:a16="http://schemas.microsoft.com/office/drawing/2014/main" id="{388C4561-53C2-5828-7A78-6B6E516319E3}"/>
              </a:ext>
            </a:extLst>
          </p:cNvPr>
          <p:cNvSpPr/>
          <p:nvPr/>
        </p:nvSpPr>
        <p:spPr>
          <a:xfrm>
            <a:off x="7170310" y="2871192"/>
            <a:ext cx="112588" cy="250407"/>
          </a:xfrm>
          <a:custGeom>
            <a:avLst/>
            <a:gdLst>
              <a:gd name="csX0" fmla="*/ 7554 w 181323"/>
              <a:gd name="csY0" fmla="*/ 172079 h 403282"/>
              <a:gd name="csX1" fmla="*/ 9716 w 181323"/>
              <a:gd name="csY1" fmla="*/ 130641 h 403282"/>
              <a:gd name="csX2" fmla="*/ 7663 w 181323"/>
              <a:gd name="csY2" fmla="*/ 113770 h 403282"/>
              <a:gd name="csX3" fmla="*/ 7598 w 181323"/>
              <a:gd name="csY3" fmla="*/ 8165 h 403282"/>
              <a:gd name="csX4" fmla="*/ 8353 w 181323"/>
              <a:gd name="csY4" fmla="*/ 1259 h 403282"/>
              <a:gd name="csX5" fmla="*/ 17767 w 181323"/>
              <a:gd name="csY5" fmla="*/ 93 h 403282"/>
              <a:gd name="csX6" fmla="*/ 77938 w 181323"/>
              <a:gd name="csY6" fmla="*/ 50 h 403282"/>
              <a:gd name="csX7" fmla="*/ 91081 w 181323"/>
              <a:gd name="csY7" fmla="*/ 10962 h 403282"/>
              <a:gd name="csX8" fmla="*/ 93691 w 181323"/>
              <a:gd name="csY8" fmla="*/ 60963 h 403282"/>
              <a:gd name="csX9" fmla="*/ 100157 w 181323"/>
              <a:gd name="csY9" fmla="*/ 121501 h 403282"/>
              <a:gd name="csX10" fmla="*/ 105540 w 181323"/>
              <a:gd name="csY10" fmla="*/ 158857 h 403282"/>
              <a:gd name="csX11" fmla="*/ 121116 w 181323"/>
              <a:gd name="csY11" fmla="*/ 235269 h 403282"/>
              <a:gd name="csX12" fmla="*/ 152823 w 181323"/>
              <a:gd name="csY12" fmla="*/ 338010 h 403282"/>
              <a:gd name="csX13" fmla="*/ 170877 w 181323"/>
              <a:gd name="csY13" fmla="*/ 378027 h 403282"/>
              <a:gd name="csX14" fmla="*/ 178114 w 181323"/>
              <a:gd name="csY14" fmla="*/ 387682 h 403282"/>
              <a:gd name="csX15" fmla="*/ 181150 w 181323"/>
              <a:gd name="csY15" fmla="*/ 395764 h 403282"/>
              <a:gd name="csX16" fmla="*/ 173480 w 181323"/>
              <a:gd name="csY16" fmla="*/ 402568 h 403282"/>
              <a:gd name="csX17" fmla="*/ 160067 w 181323"/>
              <a:gd name="csY17" fmla="*/ 402936 h 403282"/>
              <a:gd name="csX18" fmla="*/ 121081 w 181323"/>
              <a:gd name="csY18" fmla="*/ 400766 h 403282"/>
              <a:gd name="csX19" fmla="*/ 70912 w 181323"/>
              <a:gd name="csY19" fmla="*/ 401955 h 403282"/>
              <a:gd name="csX20" fmla="*/ 7630 w 181323"/>
              <a:gd name="csY20" fmla="*/ 402999 h 403282"/>
              <a:gd name="csX21" fmla="*/ 710 w 181323"/>
              <a:gd name="csY21" fmla="*/ 401995 h 403282"/>
              <a:gd name="csX22" fmla="*/ 1308 w 181323"/>
              <a:gd name="csY22" fmla="*/ 356708 h 403282"/>
              <a:gd name="csX23" fmla="*/ 2554 w 181323"/>
              <a:gd name="csY23" fmla="*/ 349510 h 403282"/>
              <a:gd name="csX24" fmla="*/ 5071 w 181323"/>
              <a:gd name="csY24" fmla="*/ 271231 h 403282"/>
              <a:gd name="csX25" fmla="*/ 7554 w 181323"/>
              <a:gd name="csY25" fmla="*/ 172079 h 403282"/>
              <a:gd name="csX26" fmla="*/ 98286 w 181323"/>
              <a:gd name="csY26" fmla="*/ 163566 h 403282"/>
              <a:gd name="csX27" fmla="*/ 83497 w 181323"/>
              <a:gd name="csY27" fmla="*/ 8289 h 403282"/>
              <a:gd name="csX28" fmla="*/ 15161 w 181323"/>
              <a:gd name="csY28" fmla="*/ 9148 h 403282"/>
              <a:gd name="csX29" fmla="*/ 15058 w 181323"/>
              <a:gd name="csY29" fmla="*/ 137939 h 403282"/>
              <a:gd name="csX30" fmla="*/ 12252 w 181323"/>
              <a:gd name="csY30" fmla="*/ 266862 h 403282"/>
              <a:gd name="csX31" fmla="*/ 7068 w 181323"/>
              <a:gd name="csY31" fmla="*/ 395996 h 403282"/>
              <a:gd name="csX32" fmla="*/ 171647 w 181323"/>
              <a:gd name="csY32" fmla="*/ 395996 h 403282"/>
              <a:gd name="csX33" fmla="*/ 119950 w 181323"/>
              <a:gd name="csY33" fmla="*/ 259496 h 403282"/>
              <a:gd name="csX34" fmla="*/ 98286 w 181323"/>
              <a:gd name="csY34" fmla="*/ 163566 h 40328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</a:cxnLst>
            <a:rect l="l" t="t" r="r" b="b"/>
            <a:pathLst>
              <a:path w="181323" h="403282">
                <a:moveTo>
                  <a:pt x="7554" y="172079"/>
                </a:moveTo>
                <a:cubicBezTo>
                  <a:pt x="8325" y="157451"/>
                  <a:pt x="9408" y="144055"/>
                  <a:pt x="9716" y="130641"/>
                </a:cubicBezTo>
                <a:cubicBezTo>
                  <a:pt x="9846" y="125037"/>
                  <a:pt x="7695" y="119399"/>
                  <a:pt x="7663" y="113770"/>
                </a:cubicBezTo>
                <a:cubicBezTo>
                  <a:pt x="7461" y="78569"/>
                  <a:pt x="7554" y="43367"/>
                  <a:pt x="7598" y="8165"/>
                </a:cubicBezTo>
                <a:cubicBezTo>
                  <a:pt x="7600" y="6167"/>
                  <a:pt x="8022" y="4170"/>
                  <a:pt x="8353" y="1259"/>
                </a:cubicBezTo>
                <a:cubicBezTo>
                  <a:pt x="11568" y="842"/>
                  <a:pt x="14666" y="109"/>
                  <a:pt x="17767" y="93"/>
                </a:cubicBezTo>
                <a:cubicBezTo>
                  <a:pt x="37824" y="-17"/>
                  <a:pt x="57881" y="-27"/>
                  <a:pt x="77938" y="50"/>
                </a:cubicBezTo>
                <a:cubicBezTo>
                  <a:pt x="89177" y="93"/>
                  <a:pt x="90068" y="113"/>
                  <a:pt x="91081" y="10962"/>
                </a:cubicBezTo>
                <a:cubicBezTo>
                  <a:pt x="92631" y="27565"/>
                  <a:pt x="92329" y="44335"/>
                  <a:pt x="93691" y="60963"/>
                </a:cubicBezTo>
                <a:cubicBezTo>
                  <a:pt x="95348" y="81184"/>
                  <a:pt x="97732" y="101353"/>
                  <a:pt x="100157" y="121501"/>
                </a:cubicBezTo>
                <a:cubicBezTo>
                  <a:pt x="101660" y="133990"/>
                  <a:pt x="104521" y="146343"/>
                  <a:pt x="105540" y="158857"/>
                </a:cubicBezTo>
                <a:cubicBezTo>
                  <a:pt x="107671" y="184993"/>
                  <a:pt x="114147" y="210249"/>
                  <a:pt x="121116" y="235269"/>
                </a:cubicBezTo>
                <a:cubicBezTo>
                  <a:pt x="130731" y="269786"/>
                  <a:pt x="141516" y="304004"/>
                  <a:pt x="152823" y="338010"/>
                </a:cubicBezTo>
                <a:cubicBezTo>
                  <a:pt x="157418" y="351828"/>
                  <a:pt x="164524" y="364837"/>
                  <a:pt x="170877" y="378027"/>
                </a:cubicBezTo>
                <a:cubicBezTo>
                  <a:pt x="172587" y="381579"/>
                  <a:pt x="175985" y="384280"/>
                  <a:pt x="178114" y="387682"/>
                </a:cubicBezTo>
                <a:cubicBezTo>
                  <a:pt x="179669" y="390165"/>
                  <a:pt x="181977" y="393824"/>
                  <a:pt x="181150" y="395764"/>
                </a:cubicBezTo>
                <a:cubicBezTo>
                  <a:pt x="179907" y="398676"/>
                  <a:pt x="176540" y="401705"/>
                  <a:pt x="173480" y="402568"/>
                </a:cubicBezTo>
                <a:cubicBezTo>
                  <a:pt x="169302" y="403746"/>
                  <a:pt x="164551" y="403164"/>
                  <a:pt x="160067" y="402936"/>
                </a:cubicBezTo>
                <a:cubicBezTo>
                  <a:pt x="147066" y="402274"/>
                  <a:pt x="134081" y="400859"/>
                  <a:pt x="121081" y="400766"/>
                </a:cubicBezTo>
                <a:cubicBezTo>
                  <a:pt x="104362" y="400647"/>
                  <a:pt x="87638" y="401607"/>
                  <a:pt x="70912" y="401955"/>
                </a:cubicBezTo>
                <a:cubicBezTo>
                  <a:pt x="49820" y="402394"/>
                  <a:pt x="28725" y="402712"/>
                  <a:pt x="7630" y="402999"/>
                </a:cubicBezTo>
                <a:cubicBezTo>
                  <a:pt x="5684" y="403026"/>
                  <a:pt x="3731" y="402452"/>
                  <a:pt x="710" y="401995"/>
                </a:cubicBezTo>
                <a:cubicBezTo>
                  <a:pt x="219" y="386620"/>
                  <a:pt x="-871" y="371682"/>
                  <a:pt x="1308" y="356708"/>
                </a:cubicBezTo>
                <a:cubicBezTo>
                  <a:pt x="1659" y="354298"/>
                  <a:pt x="2471" y="351920"/>
                  <a:pt x="2554" y="349510"/>
                </a:cubicBezTo>
                <a:cubicBezTo>
                  <a:pt x="3459" y="323419"/>
                  <a:pt x="4345" y="297328"/>
                  <a:pt x="5071" y="271231"/>
                </a:cubicBezTo>
                <a:cubicBezTo>
                  <a:pt x="5979" y="238591"/>
                  <a:pt x="6733" y="205947"/>
                  <a:pt x="7554" y="172079"/>
                </a:cubicBezTo>
                <a:moveTo>
                  <a:pt x="98286" y="163566"/>
                </a:moveTo>
                <a:cubicBezTo>
                  <a:pt x="89288" y="112116"/>
                  <a:pt x="86355" y="60033"/>
                  <a:pt x="83497" y="8289"/>
                </a:cubicBezTo>
                <a:cubicBezTo>
                  <a:pt x="65606" y="5845"/>
                  <a:pt x="24110" y="6470"/>
                  <a:pt x="15161" y="9148"/>
                </a:cubicBezTo>
                <a:cubicBezTo>
                  <a:pt x="15161" y="52045"/>
                  <a:pt x="15527" y="94996"/>
                  <a:pt x="15058" y="137939"/>
                </a:cubicBezTo>
                <a:cubicBezTo>
                  <a:pt x="14587" y="180919"/>
                  <a:pt x="13597" y="223900"/>
                  <a:pt x="12252" y="266862"/>
                </a:cubicBezTo>
                <a:cubicBezTo>
                  <a:pt x="10912" y="309638"/>
                  <a:pt x="8849" y="352391"/>
                  <a:pt x="7068" y="395996"/>
                </a:cubicBezTo>
                <a:cubicBezTo>
                  <a:pt x="62774" y="395996"/>
                  <a:pt x="116821" y="395996"/>
                  <a:pt x="171647" y="395996"/>
                </a:cubicBezTo>
                <a:cubicBezTo>
                  <a:pt x="148550" y="352016"/>
                  <a:pt x="132566" y="306307"/>
                  <a:pt x="119950" y="259496"/>
                </a:cubicBezTo>
                <a:cubicBezTo>
                  <a:pt x="111608" y="228543"/>
                  <a:pt x="105493" y="196989"/>
                  <a:pt x="98286" y="163566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" name="Free-form: Shape 15">
            <a:extLst>
              <a:ext uri="{FF2B5EF4-FFF2-40B4-BE49-F238E27FC236}">
                <a16:creationId xmlns:a16="http://schemas.microsoft.com/office/drawing/2014/main" id="{C7287941-F484-6EDA-CF63-6780BBC833E9}"/>
              </a:ext>
            </a:extLst>
          </p:cNvPr>
          <p:cNvSpPr/>
          <p:nvPr/>
        </p:nvSpPr>
        <p:spPr>
          <a:xfrm>
            <a:off x="7171941" y="3287673"/>
            <a:ext cx="209255" cy="47389"/>
          </a:xfrm>
          <a:custGeom>
            <a:avLst/>
            <a:gdLst>
              <a:gd name="csX0" fmla="*/ 297312 w 337008"/>
              <a:gd name="csY0" fmla="*/ 59188 h 76321"/>
              <a:gd name="csX1" fmla="*/ 241991 w 337008"/>
              <a:gd name="csY1" fmla="*/ 66577 h 76321"/>
              <a:gd name="csX2" fmla="*/ 185243 w 337008"/>
              <a:gd name="csY2" fmla="*/ 73717 h 76321"/>
              <a:gd name="csX3" fmla="*/ 182797 w 337008"/>
              <a:gd name="csY3" fmla="*/ 73873 h 76321"/>
              <a:gd name="csX4" fmla="*/ 19866 w 337008"/>
              <a:gd name="csY4" fmla="*/ 76320 h 76321"/>
              <a:gd name="csX5" fmla="*/ 12650 w 337008"/>
              <a:gd name="csY5" fmla="*/ 75242 h 76321"/>
              <a:gd name="csX6" fmla="*/ 19 w 337008"/>
              <a:gd name="csY6" fmla="*/ 59006 h 76321"/>
              <a:gd name="csX7" fmla="*/ 11 w 337008"/>
              <a:gd name="csY7" fmla="*/ 18266 h 76321"/>
              <a:gd name="csX8" fmla="*/ 13547 w 337008"/>
              <a:gd name="csY8" fmla="*/ 17427 h 76321"/>
              <a:gd name="csX9" fmla="*/ 109279 w 337008"/>
              <a:gd name="csY9" fmla="*/ 17200 h 76321"/>
              <a:gd name="csX10" fmla="*/ 173714 w 337008"/>
              <a:gd name="csY10" fmla="*/ 12645 h 76321"/>
              <a:gd name="csX11" fmla="*/ 205309 w 337008"/>
              <a:gd name="csY11" fmla="*/ 10096 h 76321"/>
              <a:gd name="csX12" fmla="*/ 245485 w 337008"/>
              <a:gd name="csY12" fmla="*/ 7449 h 76321"/>
              <a:gd name="csX13" fmla="*/ 288955 w 337008"/>
              <a:gd name="csY13" fmla="*/ 1844 h 76321"/>
              <a:gd name="csX14" fmla="*/ 307132 w 337008"/>
              <a:gd name="csY14" fmla="*/ 164 h 76321"/>
              <a:gd name="csX15" fmla="*/ 324030 w 337008"/>
              <a:gd name="csY15" fmla="*/ 9691 h 76321"/>
              <a:gd name="csX16" fmla="*/ 336033 w 337008"/>
              <a:gd name="csY16" fmla="*/ 39107 h 76321"/>
              <a:gd name="csX17" fmla="*/ 328060 w 337008"/>
              <a:gd name="csY17" fmla="*/ 52413 h 76321"/>
              <a:gd name="csX18" fmla="*/ 297312 w 337008"/>
              <a:gd name="csY18" fmla="*/ 59188 h 76321"/>
              <a:gd name="csX19" fmla="*/ 207688 w 337008"/>
              <a:gd name="csY19" fmla="*/ 64284 h 76321"/>
              <a:gd name="csX20" fmla="*/ 330050 w 337008"/>
              <a:gd name="csY20" fmla="*/ 45606 h 76321"/>
              <a:gd name="csX21" fmla="*/ 317356 w 337008"/>
              <a:gd name="csY21" fmla="*/ 11297 h 76321"/>
              <a:gd name="csX22" fmla="*/ 304170 w 337008"/>
              <a:gd name="csY22" fmla="*/ 5545 h 76321"/>
              <a:gd name="csX23" fmla="*/ 273851 w 337008"/>
              <a:gd name="csY23" fmla="*/ 10014 h 76321"/>
              <a:gd name="csX24" fmla="*/ 163935 w 337008"/>
              <a:gd name="csY24" fmla="*/ 20274 h 76321"/>
              <a:gd name="csX25" fmla="*/ 17973 w 337008"/>
              <a:gd name="csY25" fmla="*/ 22950 h 76321"/>
              <a:gd name="csX26" fmla="*/ 7372 w 337008"/>
              <a:gd name="csY26" fmla="*/ 23601 h 76321"/>
              <a:gd name="csX27" fmla="*/ 7372 w 337008"/>
              <a:gd name="csY27" fmla="*/ 67898 h 76321"/>
              <a:gd name="csX28" fmla="*/ 207688 w 337008"/>
              <a:gd name="csY28" fmla="*/ 64284 h 7632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</a:cxnLst>
            <a:rect l="l" t="t" r="r" b="b"/>
            <a:pathLst>
              <a:path w="337008" h="76321">
                <a:moveTo>
                  <a:pt x="297312" y="59188"/>
                </a:moveTo>
                <a:cubicBezTo>
                  <a:pt x="278167" y="61672"/>
                  <a:pt x="260091" y="64212"/>
                  <a:pt x="241991" y="66577"/>
                </a:cubicBezTo>
                <a:cubicBezTo>
                  <a:pt x="223087" y="69047"/>
                  <a:pt x="204161" y="71350"/>
                  <a:pt x="185243" y="73717"/>
                </a:cubicBezTo>
                <a:cubicBezTo>
                  <a:pt x="184433" y="73818"/>
                  <a:pt x="183613" y="73861"/>
                  <a:pt x="182797" y="73873"/>
                </a:cubicBezTo>
                <a:cubicBezTo>
                  <a:pt x="128487" y="74710"/>
                  <a:pt x="74176" y="75556"/>
                  <a:pt x="19866" y="76320"/>
                </a:cubicBezTo>
                <a:cubicBezTo>
                  <a:pt x="17463" y="76354"/>
                  <a:pt x="15013" y="75797"/>
                  <a:pt x="12650" y="75242"/>
                </a:cubicBezTo>
                <a:cubicBezTo>
                  <a:pt x="80" y="72288"/>
                  <a:pt x="58" y="72258"/>
                  <a:pt x="19" y="59006"/>
                </a:cubicBezTo>
                <a:cubicBezTo>
                  <a:pt x="-19" y="45942"/>
                  <a:pt x="11" y="32877"/>
                  <a:pt x="11" y="18266"/>
                </a:cubicBezTo>
                <a:cubicBezTo>
                  <a:pt x="4987" y="17944"/>
                  <a:pt x="9266" y="17435"/>
                  <a:pt x="13547" y="17427"/>
                </a:cubicBezTo>
                <a:cubicBezTo>
                  <a:pt x="45459" y="17362"/>
                  <a:pt x="77385" y="17975"/>
                  <a:pt x="109279" y="17200"/>
                </a:cubicBezTo>
                <a:cubicBezTo>
                  <a:pt x="130782" y="16677"/>
                  <a:pt x="152239" y="14265"/>
                  <a:pt x="173714" y="12645"/>
                </a:cubicBezTo>
                <a:cubicBezTo>
                  <a:pt x="184250" y="11850"/>
                  <a:pt x="194770" y="10836"/>
                  <a:pt x="205309" y="10096"/>
                </a:cubicBezTo>
                <a:cubicBezTo>
                  <a:pt x="218698" y="9156"/>
                  <a:pt x="232139" y="8783"/>
                  <a:pt x="245485" y="7449"/>
                </a:cubicBezTo>
                <a:cubicBezTo>
                  <a:pt x="260017" y="5997"/>
                  <a:pt x="274456" y="3648"/>
                  <a:pt x="288955" y="1844"/>
                </a:cubicBezTo>
                <a:cubicBezTo>
                  <a:pt x="294991" y="1094"/>
                  <a:pt x="301100" y="930"/>
                  <a:pt x="307132" y="164"/>
                </a:cubicBezTo>
                <a:cubicBezTo>
                  <a:pt x="315239" y="-865"/>
                  <a:pt x="320841" y="3022"/>
                  <a:pt x="324030" y="9691"/>
                </a:cubicBezTo>
                <a:cubicBezTo>
                  <a:pt x="328594" y="19236"/>
                  <a:pt x="332712" y="29070"/>
                  <a:pt x="336033" y="39107"/>
                </a:cubicBezTo>
                <a:cubicBezTo>
                  <a:pt x="338557" y="46735"/>
                  <a:pt x="336278" y="50185"/>
                  <a:pt x="328060" y="52413"/>
                </a:cubicBezTo>
                <a:cubicBezTo>
                  <a:pt x="318273" y="55068"/>
                  <a:pt x="308277" y="56950"/>
                  <a:pt x="297312" y="59188"/>
                </a:cubicBezTo>
                <a:moveTo>
                  <a:pt x="207688" y="64284"/>
                </a:moveTo>
                <a:cubicBezTo>
                  <a:pt x="248681" y="60632"/>
                  <a:pt x="289317" y="54812"/>
                  <a:pt x="330050" y="45606"/>
                </a:cubicBezTo>
                <a:cubicBezTo>
                  <a:pt x="327603" y="32443"/>
                  <a:pt x="323777" y="21532"/>
                  <a:pt x="317356" y="11297"/>
                </a:cubicBezTo>
                <a:cubicBezTo>
                  <a:pt x="313908" y="5803"/>
                  <a:pt x="310145" y="4465"/>
                  <a:pt x="304170" y="5545"/>
                </a:cubicBezTo>
                <a:cubicBezTo>
                  <a:pt x="294121" y="7361"/>
                  <a:pt x="284007" y="9006"/>
                  <a:pt x="273851" y="10014"/>
                </a:cubicBezTo>
                <a:cubicBezTo>
                  <a:pt x="237233" y="13650"/>
                  <a:pt x="200632" y="17661"/>
                  <a:pt x="163935" y="20274"/>
                </a:cubicBezTo>
                <a:cubicBezTo>
                  <a:pt x="115360" y="23734"/>
                  <a:pt x="66701" y="25937"/>
                  <a:pt x="17973" y="22950"/>
                </a:cubicBezTo>
                <a:cubicBezTo>
                  <a:pt x="14492" y="22737"/>
                  <a:pt x="10959" y="23361"/>
                  <a:pt x="7372" y="23601"/>
                </a:cubicBezTo>
                <a:cubicBezTo>
                  <a:pt x="7372" y="38609"/>
                  <a:pt x="7372" y="52361"/>
                  <a:pt x="7372" y="67898"/>
                </a:cubicBezTo>
                <a:cubicBezTo>
                  <a:pt x="74001" y="69806"/>
                  <a:pt x="139746" y="71025"/>
                  <a:pt x="207688" y="64284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7" name="Free-form: Shape 16">
            <a:extLst>
              <a:ext uri="{FF2B5EF4-FFF2-40B4-BE49-F238E27FC236}">
                <a16:creationId xmlns:a16="http://schemas.microsoft.com/office/drawing/2014/main" id="{D4F510E0-10A6-5A7F-D1D9-0DB74FE0A534}"/>
              </a:ext>
            </a:extLst>
          </p:cNvPr>
          <p:cNvSpPr/>
          <p:nvPr/>
        </p:nvSpPr>
        <p:spPr>
          <a:xfrm>
            <a:off x="7175674" y="3141219"/>
            <a:ext cx="188426" cy="132688"/>
          </a:xfrm>
          <a:custGeom>
            <a:avLst/>
            <a:gdLst>
              <a:gd name="csX0" fmla="*/ 14160 w 303463"/>
              <a:gd name="csY0" fmla="*/ 7889 h 213695"/>
              <a:gd name="csX1" fmla="*/ 195033 w 303463"/>
              <a:gd name="csY1" fmla="*/ 0 h 213695"/>
              <a:gd name="csX2" fmla="*/ 197208 w 303463"/>
              <a:gd name="csY2" fmla="*/ 5635 h 213695"/>
              <a:gd name="csX3" fmla="*/ 227014 w 303463"/>
              <a:gd name="csY3" fmla="*/ 60660 h 213695"/>
              <a:gd name="csX4" fmla="*/ 265823 w 303463"/>
              <a:gd name="csY4" fmla="*/ 98217 h 213695"/>
              <a:gd name="csX5" fmla="*/ 303210 w 303463"/>
              <a:gd name="csY5" fmla="*/ 180358 h 213695"/>
              <a:gd name="csX6" fmla="*/ 303282 w 303463"/>
              <a:gd name="csY6" fmla="*/ 193964 h 213695"/>
              <a:gd name="csX7" fmla="*/ 4971 w 303463"/>
              <a:gd name="csY7" fmla="*/ 213017 h 213695"/>
              <a:gd name="csX8" fmla="*/ 5093 w 303463"/>
              <a:gd name="csY8" fmla="*/ 173484 h 213695"/>
              <a:gd name="csX9" fmla="*/ 4767 w 303463"/>
              <a:gd name="csY9" fmla="*/ 54607 h 213695"/>
              <a:gd name="csX10" fmla="*/ 0 w 303463"/>
              <a:gd name="csY10" fmla="*/ 7887 h 213695"/>
              <a:gd name="csX11" fmla="*/ 14160 w 303463"/>
              <a:gd name="csY11" fmla="*/ 7889 h 21369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303463" h="213695">
                <a:moveTo>
                  <a:pt x="14160" y="7889"/>
                </a:moveTo>
                <a:cubicBezTo>
                  <a:pt x="75371" y="8627"/>
                  <a:pt x="135292" y="5744"/>
                  <a:pt x="195033" y="0"/>
                </a:cubicBezTo>
                <a:cubicBezTo>
                  <a:pt x="196084" y="2662"/>
                  <a:pt x="196986" y="4099"/>
                  <a:pt x="197208" y="5635"/>
                </a:cubicBezTo>
                <a:cubicBezTo>
                  <a:pt x="200391" y="27650"/>
                  <a:pt x="211307" y="45450"/>
                  <a:pt x="227014" y="60660"/>
                </a:cubicBezTo>
                <a:cubicBezTo>
                  <a:pt x="239947" y="73182"/>
                  <a:pt x="253006" y="85577"/>
                  <a:pt x="265823" y="98217"/>
                </a:cubicBezTo>
                <a:cubicBezTo>
                  <a:pt x="288727" y="120806"/>
                  <a:pt x="299071" y="149215"/>
                  <a:pt x="303210" y="180358"/>
                </a:cubicBezTo>
                <a:cubicBezTo>
                  <a:pt x="303735" y="184317"/>
                  <a:pt x="303282" y="188405"/>
                  <a:pt x="303282" y="193964"/>
                </a:cubicBezTo>
                <a:cubicBezTo>
                  <a:pt x="204065" y="208804"/>
                  <a:pt x="105022" y="216044"/>
                  <a:pt x="4971" y="213017"/>
                </a:cubicBezTo>
                <a:cubicBezTo>
                  <a:pt x="4971" y="199268"/>
                  <a:pt x="4314" y="186332"/>
                  <a:pt x="5093" y="173484"/>
                </a:cubicBezTo>
                <a:cubicBezTo>
                  <a:pt x="7497" y="133835"/>
                  <a:pt x="8211" y="94216"/>
                  <a:pt x="4767" y="54607"/>
                </a:cubicBezTo>
                <a:cubicBezTo>
                  <a:pt x="3464" y="39611"/>
                  <a:pt x="1725" y="24653"/>
                  <a:pt x="0" y="7887"/>
                </a:cubicBezTo>
                <a:cubicBezTo>
                  <a:pt x="4390" y="7887"/>
                  <a:pt x="8696" y="7887"/>
                  <a:pt x="14160" y="7889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8" name="Free-form: Shape 17">
            <a:extLst>
              <a:ext uri="{FF2B5EF4-FFF2-40B4-BE49-F238E27FC236}">
                <a16:creationId xmlns:a16="http://schemas.microsoft.com/office/drawing/2014/main" id="{63A62214-3CE2-568A-0714-5CD2588A051F}"/>
              </a:ext>
            </a:extLst>
          </p:cNvPr>
          <p:cNvSpPr/>
          <p:nvPr/>
        </p:nvSpPr>
        <p:spPr>
          <a:xfrm>
            <a:off x="7141912" y="2611463"/>
            <a:ext cx="129814" cy="126299"/>
          </a:xfrm>
          <a:custGeom>
            <a:avLst/>
            <a:gdLst>
              <a:gd name="csX0" fmla="*/ 10475 w 209067"/>
              <a:gd name="csY0" fmla="*/ 41718 h 203406"/>
              <a:gd name="csX1" fmla="*/ 100250 w 209067"/>
              <a:gd name="csY1" fmla="*/ 1265 h 203406"/>
              <a:gd name="csX2" fmla="*/ 206681 w 209067"/>
              <a:gd name="csY2" fmla="*/ 98526 h 203406"/>
              <a:gd name="csX3" fmla="*/ 134647 w 209067"/>
              <a:gd name="csY3" fmla="*/ 202431 h 203406"/>
              <a:gd name="csX4" fmla="*/ 40986 w 209067"/>
              <a:gd name="csY4" fmla="*/ 171438 h 203406"/>
              <a:gd name="csX5" fmla="*/ 143 w 209067"/>
              <a:gd name="csY5" fmla="*/ 85158 h 203406"/>
              <a:gd name="csX6" fmla="*/ 10475 w 209067"/>
              <a:gd name="csY6" fmla="*/ 41718 h 20340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</a:cxnLst>
            <a:rect l="l" t="t" r="r" b="b"/>
            <a:pathLst>
              <a:path w="209067" h="203406">
                <a:moveTo>
                  <a:pt x="10475" y="41718"/>
                </a:moveTo>
                <a:cubicBezTo>
                  <a:pt x="31065" y="6021"/>
                  <a:pt x="63171" y="-3865"/>
                  <a:pt x="100250" y="1265"/>
                </a:cubicBezTo>
                <a:cubicBezTo>
                  <a:pt x="157191" y="9144"/>
                  <a:pt x="196951" y="51394"/>
                  <a:pt x="206681" y="98526"/>
                </a:cubicBezTo>
                <a:cubicBezTo>
                  <a:pt x="219504" y="160635"/>
                  <a:pt x="178523" y="196657"/>
                  <a:pt x="134647" y="202431"/>
                </a:cubicBezTo>
                <a:cubicBezTo>
                  <a:pt x="98365" y="207204"/>
                  <a:pt x="68101" y="194086"/>
                  <a:pt x="40986" y="171438"/>
                </a:cubicBezTo>
                <a:cubicBezTo>
                  <a:pt x="14115" y="148994"/>
                  <a:pt x="2457" y="119007"/>
                  <a:pt x="143" y="85158"/>
                </a:cubicBezTo>
                <a:cubicBezTo>
                  <a:pt x="-869" y="70364"/>
                  <a:pt x="3586" y="56015"/>
                  <a:pt x="10475" y="41718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9" name="Free-form: Shape 18">
            <a:extLst>
              <a:ext uri="{FF2B5EF4-FFF2-40B4-BE49-F238E27FC236}">
                <a16:creationId xmlns:a16="http://schemas.microsoft.com/office/drawing/2014/main" id="{D925DD45-A93E-6D7C-E2E8-9BE3CE819C23}"/>
              </a:ext>
            </a:extLst>
          </p:cNvPr>
          <p:cNvSpPr/>
          <p:nvPr/>
        </p:nvSpPr>
        <p:spPr>
          <a:xfrm>
            <a:off x="7178171" y="2824501"/>
            <a:ext cx="97564" cy="25665"/>
          </a:xfrm>
          <a:custGeom>
            <a:avLst/>
            <a:gdLst>
              <a:gd name="csX0" fmla="*/ 69625 w 157129"/>
              <a:gd name="csY0" fmla="*/ 0 h 41334"/>
              <a:gd name="csX1" fmla="*/ 119596 w 157129"/>
              <a:gd name="csY1" fmla="*/ 1945 h 41334"/>
              <a:gd name="csX2" fmla="*/ 150973 w 157129"/>
              <a:gd name="csY2" fmla="*/ 14889 h 41334"/>
              <a:gd name="csX3" fmla="*/ 151351 w 157129"/>
              <a:gd name="csY3" fmla="*/ 34058 h 41334"/>
              <a:gd name="csX4" fmla="*/ 133492 w 157129"/>
              <a:gd name="csY4" fmla="*/ 40697 h 41334"/>
              <a:gd name="csX5" fmla="*/ 106556 w 157129"/>
              <a:gd name="csY5" fmla="*/ 41092 h 41334"/>
              <a:gd name="csX6" fmla="*/ 13373 w 157129"/>
              <a:gd name="csY6" fmla="*/ 40708 h 41334"/>
              <a:gd name="csX7" fmla="*/ 1312 w 157129"/>
              <a:gd name="csY7" fmla="*/ 40191 h 41334"/>
              <a:gd name="csX8" fmla="*/ 3367 w 157129"/>
              <a:gd name="csY8" fmla="*/ 13162 h 41334"/>
              <a:gd name="csX9" fmla="*/ 20752 w 157129"/>
              <a:gd name="csY9" fmla="*/ 1879 h 41334"/>
              <a:gd name="csX10" fmla="*/ 52625 w 157129"/>
              <a:gd name="csY10" fmla="*/ 1332 h 41334"/>
              <a:gd name="csX11" fmla="*/ 69625 w 157129"/>
              <a:gd name="csY11" fmla="*/ 0 h 4133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157129" h="41334">
                <a:moveTo>
                  <a:pt x="69625" y="0"/>
                </a:moveTo>
                <a:cubicBezTo>
                  <a:pt x="87054" y="491"/>
                  <a:pt x="103407" y="373"/>
                  <a:pt x="119596" y="1945"/>
                </a:cubicBezTo>
                <a:cubicBezTo>
                  <a:pt x="131020" y="3055"/>
                  <a:pt x="141713" y="7767"/>
                  <a:pt x="150973" y="14889"/>
                </a:cubicBezTo>
                <a:cubicBezTo>
                  <a:pt x="158820" y="20925"/>
                  <a:pt x="159403" y="28236"/>
                  <a:pt x="151351" y="34058"/>
                </a:cubicBezTo>
                <a:cubicBezTo>
                  <a:pt x="146355" y="37671"/>
                  <a:pt x="139678" y="39910"/>
                  <a:pt x="133492" y="40697"/>
                </a:cubicBezTo>
                <a:cubicBezTo>
                  <a:pt x="124640" y="41824"/>
                  <a:pt x="115547" y="41120"/>
                  <a:pt x="106556" y="41092"/>
                </a:cubicBezTo>
                <a:cubicBezTo>
                  <a:pt x="75495" y="40996"/>
                  <a:pt x="44434" y="40872"/>
                  <a:pt x="13373" y="40708"/>
                </a:cubicBezTo>
                <a:cubicBezTo>
                  <a:pt x="9391" y="40687"/>
                  <a:pt x="5410" y="40374"/>
                  <a:pt x="1312" y="40191"/>
                </a:cubicBezTo>
                <a:cubicBezTo>
                  <a:pt x="-1416" y="30384"/>
                  <a:pt x="523" y="21512"/>
                  <a:pt x="3367" y="13162"/>
                </a:cubicBezTo>
                <a:cubicBezTo>
                  <a:pt x="5963" y="5538"/>
                  <a:pt x="12701" y="2077"/>
                  <a:pt x="20752" y="1879"/>
                </a:cubicBezTo>
                <a:cubicBezTo>
                  <a:pt x="31375" y="1617"/>
                  <a:pt x="42004" y="1647"/>
                  <a:pt x="52625" y="1332"/>
                </a:cubicBezTo>
                <a:cubicBezTo>
                  <a:pt x="57918" y="1176"/>
                  <a:pt x="63195" y="535"/>
                  <a:pt x="69625" y="0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" name="Free-form: Shape 19">
            <a:extLst>
              <a:ext uri="{FF2B5EF4-FFF2-40B4-BE49-F238E27FC236}">
                <a16:creationId xmlns:a16="http://schemas.microsoft.com/office/drawing/2014/main" id="{AC8BC48E-7F9B-31B2-8BA8-5B2AF10198C3}"/>
              </a:ext>
            </a:extLst>
          </p:cNvPr>
          <p:cNvSpPr/>
          <p:nvPr/>
        </p:nvSpPr>
        <p:spPr>
          <a:xfrm>
            <a:off x="7174698" y="2875388"/>
            <a:ext cx="102191" cy="241686"/>
          </a:xfrm>
          <a:custGeom>
            <a:avLst/>
            <a:gdLst>
              <a:gd name="csX0" fmla="*/ 91265 w 164579"/>
              <a:gd name="csY0" fmla="*/ 157878 h 389238"/>
              <a:gd name="csX1" fmla="*/ 112882 w 164579"/>
              <a:gd name="csY1" fmla="*/ 252738 h 389238"/>
              <a:gd name="csX2" fmla="*/ 164579 w 164579"/>
              <a:gd name="csY2" fmla="*/ 389238 h 389238"/>
              <a:gd name="csX3" fmla="*/ 0 w 164579"/>
              <a:gd name="csY3" fmla="*/ 389238 h 389238"/>
              <a:gd name="csX4" fmla="*/ 5184 w 164579"/>
              <a:gd name="csY4" fmla="*/ 260105 h 389238"/>
              <a:gd name="csX5" fmla="*/ 7989 w 164579"/>
              <a:gd name="csY5" fmla="*/ 131182 h 389238"/>
              <a:gd name="csX6" fmla="*/ 8093 w 164579"/>
              <a:gd name="csY6" fmla="*/ 2390 h 389238"/>
              <a:gd name="csX7" fmla="*/ 76429 w 164579"/>
              <a:gd name="csY7" fmla="*/ 1531 h 389238"/>
              <a:gd name="csX8" fmla="*/ 91265 w 164579"/>
              <a:gd name="csY8" fmla="*/ 157878 h 38923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</a:cxnLst>
            <a:rect l="l" t="t" r="r" b="b"/>
            <a:pathLst>
              <a:path w="164579" h="389238">
                <a:moveTo>
                  <a:pt x="91265" y="157878"/>
                </a:moveTo>
                <a:cubicBezTo>
                  <a:pt x="98425" y="190232"/>
                  <a:pt x="104539" y="221785"/>
                  <a:pt x="112882" y="252738"/>
                </a:cubicBezTo>
                <a:cubicBezTo>
                  <a:pt x="125498" y="299549"/>
                  <a:pt x="141482" y="345258"/>
                  <a:pt x="164579" y="389238"/>
                </a:cubicBezTo>
                <a:cubicBezTo>
                  <a:pt x="109753" y="389238"/>
                  <a:pt x="55706" y="389238"/>
                  <a:pt x="0" y="389238"/>
                </a:cubicBezTo>
                <a:cubicBezTo>
                  <a:pt x="1781" y="345633"/>
                  <a:pt x="3844" y="302880"/>
                  <a:pt x="5184" y="260105"/>
                </a:cubicBezTo>
                <a:cubicBezTo>
                  <a:pt x="6529" y="217143"/>
                  <a:pt x="7519" y="174162"/>
                  <a:pt x="7989" y="131182"/>
                </a:cubicBezTo>
                <a:cubicBezTo>
                  <a:pt x="8459" y="88239"/>
                  <a:pt x="8093" y="45287"/>
                  <a:pt x="8093" y="2390"/>
                </a:cubicBezTo>
                <a:cubicBezTo>
                  <a:pt x="17041" y="-288"/>
                  <a:pt x="58537" y="-913"/>
                  <a:pt x="76429" y="1531"/>
                </a:cubicBezTo>
                <a:cubicBezTo>
                  <a:pt x="79287" y="53276"/>
                  <a:pt x="82219" y="105359"/>
                  <a:pt x="91265" y="157878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" name="Free-form: Shape 20">
            <a:extLst>
              <a:ext uri="{FF2B5EF4-FFF2-40B4-BE49-F238E27FC236}">
                <a16:creationId xmlns:a16="http://schemas.microsoft.com/office/drawing/2014/main" id="{86523F7C-9E1C-1D5B-A886-F07FDF953F50}"/>
              </a:ext>
            </a:extLst>
          </p:cNvPr>
          <p:cNvSpPr/>
          <p:nvPr/>
        </p:nvSpPr>
        <p:spPr>
          <a:xfrm>
            <a:off x="7176517" y="3290901"/>
            <a:ext cx="200357" cy="39865"/>
          </a:xfrm>
          <a:custGeom>
            <a:avLst/>
            <a:gdLst>
              <a:gd name="csX0" fmla="*/ 199184 w 322677"/>
              <a:gd name="csY0" fmla="*/ 59136 h 64202"/>
              <a:gd name="csX1" fmla="*/ 0 w 322677"/>
              <a:gd name="csY1" fmla="*/ 62697 h 64202"/>
              <a:gd name="csX2" fmla="*/ 0 w 322677"/>
              <a:gd name="csY2" fmla="*/ 18400 h 64202"/>
              <a:gd name="csX3" fmla="*/ 10601 w 322677"/>
              <a:gd name="csY3" fmla="*/ 17750 h 64202"/>
              <a:gd name="csX4" fmla="*/ 156563 w 322677"/>
              <a:gd name="csY4" fmla="*/ 15074 h 64202"/>
              <a:gd name="csX5" fmla="*/ 266479 w 322677"/>
              <a:gd name="csY5" fmla="*/ 4814 h 64202"/>
              <a:gd name="csX6" fmla="*/ 296798 w 322677"/>
              <a:gd name="csY6" fmla="*/ 344 h 64202"/>
              <a:gd name="csX7" fmla="*/ 309983 w 322677"/>
              <a:gd name="csY7" fmla="*/ 6097 h 64202"/>
              <a:gd name="csX8" fmla="*/ 322678 w 322677"/>
              <a:gd name="csY8" fmla="*/ 40406 h 64202"/>
              <a:gd name="csX9" fmla="*/ 199184 w 322677"/>
              <a:gd name="csY9" fmla="*/ 59136 h 6420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322677" h="64202">
                <a:moveTo>
                  <a:pt x="199184" y="59136"/>
                </a:moveTo>
                <a:cubicBezTo>
                  <a:pt x="132374" y="65824"/>
                  <a:pt x="66629" y="64605"/>
                  <a:pt x="0" y="62697"/>
                </a:cubicBezTo>
                <a:cubicBezTo>
                  <a:pt x="0" y="47160"/>
                  <a:pt x="0" y="33409"/>
                  <a:pt x="0" y="18400"/>
                </a:cubicBezTo>
                <a:cubicBezTo>
                  <a:pt x="3587" y="18160"/>
                  <a:pt x="7120" y="17536"/>
                  <a:pt x="10601" y="17750"/>
                </a:cubicBezTo>
                <a:cubicBezTo>
                  <a:pt x="59329" y="20736"/>
                  <a:pt x="107987" y="18533"/>
                  <a:pt x="156563" y="15074"/>
                </a:cubicBezTo>
                <a:cubicBezTo>
                  <a:pt x="193260" y="12461"/>
                  <a:pt x="229860" y="8449"/>
                  <a:pt x="266479" y="4814"/>
                </a:cubicBezTo>
                <a:cubicBezTo>
                  <a:pt x="276635" y="3806"/>
                  <a:pt x="286748" y="2160"/>
                  <a:pt x="296798" y="344"/>
                </a:cubicBezTo>
                <a:cubicBezTo>
                  <a:pt x="302773" y="-735"/>
                  <a:pt x="306536" y="602"/>
                  <a:pt x="309983" y="6097"/>
                </a:cubicBezTo>
                <a:cubicBezTo>
                  <a:pt x="316405" y="16331"/>
                  <a:pt x="320231" y="27243"/>
                  <a:pt x="322678" y="40406"/>
                </a:cubicBezTo>
                <a:cubicBezTo>
                  <a:pt x="281944" y="49611"/>
                  <a:pt x="241309" y="55431"/>
                  <a:pt x="199184" y="59136"/>
                </a:cubicBezTo>
                <a:close/>
              </a:path>
            </a:pathLst>
          </a:custGeom>
          <a:solidFill>
            <a:schemeClr val="bg1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476759F-135C-0006-073A-BFF5F15516CA}"/>
              </a:ext>
            </a:extLst>
          </p:cNvPr>
          <p:cNvSpPr txBox="1"/>
          <p:nvPr/>
        </p:nvSpPr>
        <p:spPr>
          <a:xfrm>
            <a:off x="6724617" y="3438782"/>
            <a:ext cx="863983" cy="3927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afa-Len</a:t>
            </a: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BC2E1DC9-2F40-AAED-08C2-3054760BC030}"/>
              </a:ext>
            </a:extLst>
          </p:cNvPr>
          <p:cNvSpPr/>
          <p:nvPr/>
        </p:nvSpPr>
        <p:spPr>
          <a:xfrm>
            <a:off x="8538441" y="5100512"/>
            <a:ext cx="717698" cy="104135"/>
          </a:xfrm>
          <a:prstGeom prst="ellipse">
            <a:avLst/>
          </a:prstGeom>
          <a:solidFill>
            <a:schemeClr val="tx1">
              <a:alpha val="6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4" name="Free-form: Shape 23">
            <a:extLst>
              <a:ext uri="{FF2B5EF4-FFF2-40B4-BE49-F238E27FC236}">
                <a16:creationId xmlns:a16="http://schemas.microsoft.com/office/drawing/2014/main" id="{11CD1F58-A005-1D46-8B8A-2CDD971795AD}"/>
              </a:ext>
            </a:extLst>
          </p:cNvPr>
          <p:cNvSpPr/>
          <p:nvPr/>
        </p:nvSpPr>
        <p:spPr>
          <a:xfrm>
            <a:off x="8633485" y="3906628"/>
            <a:ext cx="634942" cy="1266262"/>
          </a:xfrm>
          <a:custGeom>
            <a:avLst/>
            <a:gdLst>
              <a:gd name="csX0" fmla="*/ 703087 w 763849"/>
              <a:gd name="csY0" fmla="*/ 1241174 h 1523340"/>
              <a:gd name="csX1" fmla="*/ 732932 w 763849"/>
              <a:gd name="csY1" fmla="*/ 1359634 h 1523340"/>
              <a:gd name="csX2" fmla="*/ 735544 w 763849"/>
              <a:gd name="csY2" fmla="*/ 1377287 h 1523340"/>
              <a:gd name="csX3" fmla="*/ 756764 w 763849"/>
              <a:gd name="csY3" fmla="*/ 1458577 h 1523340"/>
              <a:gd name="csX4" fmla="*/ 757108 w 763849"/>
              <a:gd name="csY4" fmla="*/ 1465940 h 1523340"/>
              <a:gd name="csX5" fmla="*/ 744215 w 763849"/>
              <a:gd name="csY5" fmla="*/ 1488332 h 1523340"/>
              <a:gd name="csX6" fmla="*/ 712781 w 763849"/>
              <a:gd name="csY6" fmla="*/ 1498472 h 1523340"/>
              <a:gd name="csX7" fmla="*/ 625540 w 763849"/>
              <a:gd name="csY7" fmla="*/ 1511981 h 1523340"/>
              <a:gd name="csX8" fmla="*/ 488540 w 763849"/>
              <a:gd name="csY8" fmla="*/ 1522029 h 1523340"/>
              <a:gd name="csX9" fmla="*/ 306789 w 763849"/>
              <a:gd name="csY9" fmla="*/ 1523231 h 1523340"/>
              <a:gd name="csX10" fmla="*/ 200103 w 763849"/>
              <a:gd name="csY10" fmla="*/ 1518579 h 1523340"/>
              <a:gd name="csX11" fmla="*/ 31607 w 763849"/>
              <a:gd name="csY11" fmla="*/ 1493880 h 1523340"/>
              <a:gd name="csX12" fmla="*/ 5860 w 763849"/>
              <a:gd name="csY12" fmla="*/ 1482933 h 1523340"/>
              <a:gd name="csX13" fmla="*/ 32 w 763849"/>
              <a:gd name="csY13" fmla="*/ 1471774 h 1523340"/>
              <a:gd name="csX14" fmla="*/ 21295 w 763849"/>
              <a:gd name="csY14" fmla="*/ 1378237 h 1523340"/>
              <a:gd name="csX15" fmla="*/ 23169 w 763849"/>
              <a:gd name="csY15" fmla="*/ 1364271 h 1523340"/>
              <a:gd name="csX16" fmla="*/ 23871 w 763849"/>
              <a:gd name="csY16" fmla="*/ 1303132 h 1523340"/>
              <a:gd name="csX17" fmla="*/ 59740 w 763849"/>
              <a:gd name="csY17" fmla="*/ 1234649 h 1523340"/>
              <a:gd name="csX18" fmla="*/ 98899 w 763849"/>
              <a:gd name="csY18" fmla="*/ 1195619 h 1523340"/>
              <a:gd name="csX19" fmla="*/ 131493 w 763849"/>
              <a:gd name="csY19" fmla="*/ 1127593 h 1523340"/>
              <a:gd name="csX20" fmla="*/ 108213 w 763849"/>
              <a:gd name="csY20" fmla="*/ 1058723 h 1523340"/>
              <a:gd name="csX21" fmla="*/ 74370 w 763849"/>
              <a:gd name="csY21" fmla="*/ 1024929 h 1523340"/>
              <a:gd name="csX22" fmla="*/ 68137 w 763849"/>
              <a:gd name="csY22" fmla="*/ 987550 h 1523340"/>
              <a:gd name="csX23" fmla="*/ 86420 w 763849"/>
              <a:gd name="csY23" fmla="*/ 941991 h 1523340"/>
              <a:gd name="csX24" fmla="*/ 97082 w 763849"/>
              <a:gd name="csY24" fmla="*/ 828037 h 1523340"/>
              <a:gd name="csX25" fmla="*/ 61782 w 763849"/>
              <a:gd name="csY25" fmla="*/ 696973 h 1523340"/>
              <a:gd name="csX26" fmla="*/ 26901 w 763849"/>
              <a:gd name="csY26" fmla="*/ 547868 h 1523340"/>
              <a:gd name="csX27" fmla="*/ 20221 w 763849"/>
              <a:gd name="csY27" fmla="*/ 479529 h 1523340"/>
              <a:gd name="csX28" fmla="*/ 40808 w 763849"/>
              <a:gd name="csY28" fmla="*/ 334388 h 1523340"/>
              <a:gd name="csX29" fmla="*/ 65171 w 763849"/>
              <a:gd name="csY29" fmla="*/ 263707 h 1523340"/>
              <a:gd name="csX30" fmla="*/ 142827 w 763849"/>
              <a:gd name="csY30" fmla="*/ 171003 h 1523340"/>
              <a:gd name="csX31" fmla="*/ 172290 w 763849"/>
              <a:gd name="csY31" fmla="*/ 155872 h 1523340"/>
              <a:gd name="csX32" fmla="*/ 189008 w 763849"/>
              <a:gd name="csY32" fmla="*/ 148158 h 1523340"/>
              <a:gd name="csX33" fmla="*/ 212828 w 763849"/>
              <a:gd name="csY33" fmla="*/ 126123 h 1523340"/>
              <a:gd name="csX34" fmla="*/ 217217 w 763849"/>
              <a:gd name="csY34" fmla="*/ 118740 h 1523340"/>
              <a:gd name="csX35" fmla="*/ 253000 w 763849"/>
              <a:gd name="csY35" fmla="*/ 88998 h 1523340"/>
              <a:gd name="csX36" fmla="*/ 322085 w 763849"/>
              <a:gd name="csY36" fmla="*/ 72193 h 1523340"/>
              <a:gd name="csX37" fmla="*/ 330478 w 763849"/>
              <a:gd name="csY37" fmla="*/ 70387 h 1523340"/>
              <a:gd name="csX38" fmla="*/ 388016 w 763849"/>
              <a:gd name="csY38" fmla="*/ 35457 h 1523340"/>
              <a:gd name="csX39" fmla="*/ 421527 w 763849"/>
              <a:gd name="csY39" fmla="*/ 0 h 1523340"/>
              <a:gd name="csX40" fmla="*/ 424538 w 763849"/>
              <a:gd name="csY40" fmla="*/ 10833 h 1523340"/>
              <a:gd name="csX41" fmla="*/ 436339 w 763849"/>
              <a:gd name="csY41" fmla="*/ 121836 h 1523340"/>
              <a:gd name="csX42" fmla="*/ 449983 w 763849"/>
              <a:gd name="csY42" fmla="*/ 141450 h 1523340"/>
              <a:gd name="csX43" fmla="*/ 503299 w 763849"/>
              <a:gd name="csY43" fmla="*/ 169290 h 1523340"/>
              <a:gd name="csX44" fmla="*/ 551461 w 763849"/>
              <a:gd name="csY44" fmla="*/ 203111 h 1523340"/>
              <a:gd name="csX45" fmla="*/ 588803 w 763849"/>
              <a:gd name="csY45" fmla="*/ 252797 h 1523340"/>
              <a:gd name="csX46" fmla="*/ 634209 w 763849"/>
              <a:gd name="csY46" fmla="*/ 327081 h 1523340"/>
              <a:gd name="csX47" fmla="*/ 697923 w 763849"/>
              <a:gd name="csY47" fmla="*/ 384157 h 1523340"/>
              <a:gd name="csX48" fmla="*/ 729658 w 763849"/>
              <a:gd name="csY48" fmla="*/ 407288 h 1523340"/>
              <a:gd name="csX49" fmla="*/ 763354 w 763849"/>
              <a:gd name="csY49" fmla="*/ 471325 h 1523340"/>
              <a:gd name="csX50" fmla="*/ 757092 w 763849"/>
              <a:gd name="csY50" fmla="*/ 527116 h 1523340"/>
              <a:gd name="csX51" fmla="*/ 720673 w 763849"/>
              <a:gd name="csY51" fmla="*/ 570023 h 1523340"/>
              <a:gd name="csX52" fmla="*/ 704918 w 763849"/>
              <a:gd name="csY52" fmla="*/ 581294 h 1523340"/>
              <a:gd name="csX53" fmla="*/ 671960 w 763849"/>
              <a:gd name="csY53" fmla="*/ 595325 h 1523340"/>
              <a:gd name="csX54" fmla="*/ 633021 w 763849"/>
              <a:gd name="csY54" fmla="*/ 591397 h 1523340"/>
              <a:gd name="csX55" fmla="*/ 580696 w 763849"/>
              <a:gd name="csY55" fmla="*/ 556742 h 1523340"/>
              <a:gd name="csX56" fmla="*/ 545415 w 763849"/>
              <a:gd name="csY56" fmla="*/ 524617 h 1523340"/>
              <a:gd name="csX57" fmla="*/ 518889 w 763849"/>
              <a:gd name="csY57" fmla="*/ 516179 h 1523340"/>
              <a:gd name="csX58" fmla="*/ 472309 w 763849"/>
              <a:gd name="csY58" fmla="*/ 517812 h 1523340"/>
              <a:gd name="csX59" fmla="*/ 415953 w 763849"/>
              <a:gd name="csY59" fmla="*/ 517245 h 1523340"/>
              <a:gd name="csX60" fmla="*/ 403392 w 763849"/>
              <a:gd name="csY60" fmla="*/ 516539 h 1523340"/>
              <a:gd name="csX61" fmla="*/ 407957 w 763849"/>
              <a:gd name="csY61" fmla="*/ 542045 h 1523340"/>
              <a:gd name="csX62" fmla="*/ 434134 w 763849"/>
              <a:gd name="csY62" fmla="*/ 583349 h 1523340"/>
              <a:gd name="csX63" fmla="*/ 524267 w 763849"/>
              <a:gd name="csY63" fmla="*/ 683922 h 1523340"/>
              <a:gd name="csX64" fmla="*/ 614317 w 763849"/>
              <a:gd name="csY64" fmla="*/ 786085 h 1523340"/>
              <a:gd name="csX65" fmla="*/ 669590 w 763849"/>
              <a:gd name="csY65" fmla="*/ 921089 h 1523340"/>
              <a:gd name="csX66" fmla="*/ 647360 w 763849"/>
              <a:gd name="csY66" fmla="*/ 1057245 h 1523340"/>
              <a:gd name="csX67" fmla="*/ 627872 w 763849"/>
              <a:gd name="csY67" fmla="*/ 1102111 h 1523340"/>
              <a:gd name="csX68" fmla="*/ 642300 w 763849"/>
              <a:gd name="csY68" fmla="*/ 1175941 h 1523340"/>
              <a:gd name="csX69" fmla="*/ 668829 w 763849"/>
              <a:gd name="csY69" fmla="*/ 1206449 h 1523340"/>
              <a:gd name="csX70" fmla="*/ 703087 w 763849"/>
              <a:gd name="csY70" fmla="*/ 1241174 h 1523340"/>
              <a:gd name="csX71" fmla="*/ 648750 w 763849"/>
              <a:gd name="csY71" fmla="*/ 562343 h 1523340"/>
              <a:gd name="csX72" fmla="*/ 674049 w 763849"/>
              <a:gd name="csY72" fmla="*/ 562834 h 1523340"/>
              <a:gd name="csX73" fmla="*/ 660781 w 763849"/>
              <a:gd name="csY73" fmla="*/ 550178 h 1523340"/>
              <a:gd name="csX74" fmla="*/ 650911 w 763849"/>
              <a:gd name="csY74" fmla="*/ 534051 h 1523340"/>
              <a:gd name="csX75" fmla="*/ 660724 w 763849"/>
              <a:gd name="csY75" fmla="*/ 537605 h 1523340"/>
              <a:gd name="csX76" fmla="*/ 688133 w 763849"/>
              <a:gd name="csY76" fmla="*/ 543363 h 1523340"/>
              <a:gd name="csX77" fmla="*/ 731514 w 763849"/>
              <a:gd name="csY77" fmla="*/ 510767 h 1523340"/>
              <a:gd name="csX78" fmla="*/ 733611 w 763849"/>
              <a:gd name="csY78" fmla="*/ 466905 h 1523340"/>
              <a:gd name="csX79" fmla="*/ 708076 w 763849"/>
              <a:gd name="csY79" fmla="*/ 425975 h 1523340"/>
              <a:gd name="csX80" fmla="*/ 667538 w 763849"/>
              <a:gd name="csY80" fmla="*/ 398254 h 1523340"/>
              <a:gd name="csX81" fmla="*/ 601016 w 763849"/>
              <a:gd name="csY81" fmla="*/ 332127 h 1523340"/>
              <a:gd name="csX82" fmla="*/ 565354 w 763849"/>
              <a:gd name="csY82" fmla="*/ 270526 h 1523340"/>
              <a:gd name="csX83" fmla="*/ 490657 w 763849"/>
              <a:gd name="csY83" fmla="*/ 195121 h 1523340"/>
              <a:gd name="csX84" fmla="*/ 432834 w 763849"/>
              <a:gd name="csY84" fmla="*/ 165243 h 1523340"/>
              <a:gd name="csX85" fmla="*/ 407594 w 763849"/>
              <a:gd name="csY85" fmla="*/ 127852 h 1523340"/>
              <a:gd name="csX86" fmla="*/ 405020 w 763849"/>
              <a:gd name="csY86" fmla="*/ 69029 h 1523340"/>
              <a:gd name="csX87" fmla="*/ 403638 w 763849"/>
              <a:gd name="csY87" fmla="*/ 58130 h 1523340"/>
              <a:gd name="csX88" fmla="*/ 349776 w 763849"/>
              <a:gd name="csY88" fmla="*/ 133259 h 1523340"/>
              <a:gd name="csX89" fmla="*/ 326975 w 763849"/>
              <a:gd name="csY89" fmla="*/ 159669 h 1523340"/>
              <a:gd name="csX90" fmla="*/ 240374 w 763849"/>
              <a:gd name="csY90" fmla="*/ 221714 h 1523340"/>
              <a:gd name="csX91" fmla="*/ 171637 w 763849"/>
              <a:gd name="csY91" fmla="*/ 309087 h 1523340"/>
              <a:gd name="csX92" fmla="*/ 138048 w 763849"/>
              <a:gd name="csY92" fmla="*/ 516954 h 1523340"/>
              <a:gd name="csX93" fmla="*/ 163889 w 763849"/>
              <a:gd name="csY93" fmla="*/ 641780 h 1523340"/>
              <a:gd name="csX94" fmla="*/ 204800 w 763849"/>
              <a:gd name="csY94" fmla="*/ 787055 h 1523340"/>
              <a:gd name="csX95" fmla="*/ 218549 w 763849"/>
              <a:gd name="csY95" fmla="*/ 949545 h 1523340"/>
              <a:gd name="csX96" fmla="*/ 191487 w 763849"/>
              <a:gd name="csY96" fmla="*/ 1033064 h 1523340"/>
              <a:gd name="csX97" fmla="*/ 188729 w 763849"/>
              <a:gd name="csY97" fmla="*/ 1039835 h 1523340"/>
              <a:gd name="csX98" fmla="*/ 221417 w 763849"/>
              <a:gd name="csY98" fmla="*/ 1040799 h 1523340"/>
              <a:gd name="csX99" fmla="*/ 348895 w 763849"/>
              <a:gd name="csY99" fmla="*/ 1046759 h 1523340"/>
              <a:gd name="csX100" fmla="*/ 545369 w 763849"/>
              <a:gd name="csY100" fmla="*/ 1044456 h 1523340"/>
              <a:gd name="csX101" fmla="*/ 612424 w 763849"/>
              <a:gd name="csY101" fmla="*/ 1037365 h 1523340"/>
              <a:gd name="csX102" fmla="*/ 623169 w 763849"/>
              <a:gd name="csY102" fmla="*/ 1028873 h 1523340"/>
              <a:gd name="csX103" fmla="*/ 638508 w 763849"/>
              <a:gd name="csY103" fmla="*/ 959599 h 1523340"/>
              <a:gd name="csX104" fmla="*/ 609213 w 763849"/>
              <a:gd name="csY104" fmla="*/ 842075 h 1523340"/>
              <a:gd name="csX105" fmla="*/ 529367 w 763849"/>
              <a:gd name="csY105" fmla="*/ 735065 h 1523340"/>
              <a:gd name="csX106" fmla="*/ 403792 w 763849"/>
              <a:gd name="csY106" fmla="*/ 596993 h 1523340"/>
              <a:gd name="csX107" fmla="*/ 344708 w 763849"/>
              <a:gd name="csY107" fmla="*/ 511366 h 1523340"/>
              <a:gd name="csX108" fmla="*/ 324464 w 763849"/>
              <a:gd name="csY108" fmla="*/ 380084 h 1523340"/>
              <a:gd name="csX109" fmla="*/ 327688 w 763849"/>
              <a:gd name="csY109" fmla="*/ 373535 h 1523340"/>
              <a:gd name="csX110" fmla="*/ 330334 w 763849"/>
              <a:gd name="csY110" fmla="*/ 373641 h 1523340"/>
              <a:gd name="csX111" fmla="*/ 334272 w 763849"/>
              <a:gd name="csY111" fmla="*/ 384645 h 1523340"/>
              <a:gd name="csX112" fmla="*/ 365260 w 763849"/>
              <a:gd name="csY112" fmla="*/ 453955 h 1523340"/>
              <a:gd name="csX113" fmla="*/ 408246 w 763849"/>
              <a:gd name="csY113" fmla="*/ 483592 h 1523340"/>
              <a:gd name="csX114" fmla="*/ 464529 w 763849"/>
              <a:gd name="csY114" fmla="*/ 486187 h 1523340"/>
              <a:gd name="csX115" fmla="*/ 511119 w 763849"/>
              <a:gd name="csY115" fmla="*/ 484308 h 1523340"/>
              <a:gd name="csX116" fmla="*/ 567913 w 763849"/>
              <a:gd name="csY116" fmla="*/ 503736 h 1523340"/>
              <a:gd name="csX117" fmla="*/ 607611 w 763849"/>
              <a:gd name="csY117" fmla="*/ 540326 h 1523340"/>
              <a:gd name="csX118" fmla="*/ 648750 w 763849"/>
              <a:gd name="csY118" fmla="*/ 562343 h 1523340"/>
              <a:gd name="csX119" fmla="*/ 462594 w 763849"/>
              <a:gd name="csY119" fmla="*/ 1369008 h 1523340"/>
              <a:gd name="csX120" fmla="*/ 510357 w 763849"/>
              <a:gd name="csY120" fmla="*/ 1366345 h 1523340"/>
              <a:gd name="csX121" fmla="*/ 549434 w 763849"/>
              <a:gd name="csY121" fmla="*/ 1362956 h 1523340"/>
              <a:gd name="csX122" fmla="*/ 632369 w 763849"/>
              <a:gd name="csY122" fmla="*/ 1354439 h 1523340"/>
              <a:gd name="csX123" fmla="*/ 697252 w 763849"/>
              <a:gd name="csY123" fmla="*/ 1346424 h 1523340"/>
              <a:gd name="csX124" fmla="*/ 676674 w 763849"/>
              <a:gd name="csY124" fmla="*/ 1266396 h 1523340"/>
              <a:gd name="csX125" fmla="*/ 646594 w 763849"/>
              <a:gd name="csY125" fmla="*/ 1234108 h 1523340"/>
              <a:gd name="csX126" fmla="*/ 612063 w 763849"/>
              <a:gd name="csY126" fmla="*/ 1194382 h 1523340"/>
              <a:gd name="csX127" fmla="*/ 591616 w 763849"/>
              <a:gd name="csY127" fmla="*/ 1111541 h 1523340"/>
              <a:gd name="csX128" fmla="*/ 594320 w 763849"/>
              <a:gd name="csY128" fmla="*/ 1089609 h 1523340"/>
              <a:gd name="csX129" fmla="*/ 578634 w 763849"/>
              <a:gd name="csY129" fmla="*/ 1089642 h 1523340"/>
              <a:gd name="csX130" fmla="*/ 443931 w 763849"/>
              <a:gd name="csY130" fmla="*/ 1096700 h 1523340"/>
              <a:gd name="csX131" fmla="*/ 403417 w 763849"/>
              <a:gd name="csY131" fmla="*/ 1097156 h 1523340"/>
              <a:gd name="csX132" fmla="*/ 388348 w 763849"/>
              <a:gd name="csY132" fmla="*/ 1111502 h 1523340"/>
              <a:gd name="csX133" fmla="*/ 385048 w 763849"/>
              <a:gd name="csY133" fmla="*/ 1176431 h 1523340"/>
              <a:gd name="csX134" fmla="*/ 377687 w 763849"/>
              <a:gd name="csY134" fmla="*/ 1308672 h 1523340"/>
              <a:gd name="csX135" fmla="*/ 376823 w 763849"/>
              <a:gd name="csY135" fmla="*/ 1320897 h 1523340"/>
              <a:gd name="csX136" fmla="*/ 376781 w 763849"/>
              <a:gd name="csY136" fmla="*/ 1366151 h 1523340"/>
              <a:gd name="csX137" fmla="*/ 462594 w 763849"/>
              <a:gd name="csY137" fmla="*/ 1369008 h 1523340"/>
              <a:gd name="csX138" fmla="*/ 648494 w 763849"/>
              <a:gd name="csY138" fmla="*/ 1463981 h 1523340"/>
              <a:gd name="csX139" fmla="*/ 718746 w 763849"/>
              <a:gd name="csY139" fmla="*/ 1451892 h 1523340"/>
              <a:gd name="csX140" fmla="*/ 711827 w 763849"/>
              <a:gd name="csY140" fmla="*/ 1416835 h 1523340"/>
              <a:gd name="csX141" fmla="*/ 685812 w 763849"/>
              <a:gd name="csY141" fmla="*/ 1398502 h 1523340"/>
              <a:gd name="csX142" fmla="*/ 680924 w 763849"/>
              <a:gd name="csY142" fmla="*/ 1398973 h 1523340"/>
              <a:gd name="csX143" fmla="*/ 598278 w 763849"/>
              <a:gd name="csY143" fmla="*/ 1409218 h 1523340"/>
              <a:gd name="csX144" fmla="*/ 474765 w 763849"/>
              <a:gd name="csY144" fmla="*/ 1417945 h 1523340"/>
              <a:gd name="csX145" fmla="*/ 385143 w 763849"/>
              <a:gd name="csY145" fmla="*/ 1418978 h 1523340"/>
              <a:gd name="csX146" fmla="*/ 376639 w 763849"/>
              <a:gd name="csY146" fmla="*/ 1419613 h 1523340"/>
              <a:gd name="csX147" fmla="*/ 376639 w 763849"/>
              <a:gd name="csY147" fmla="*/ 1473939 h 1523340"/>
              <a:gd name="csX148" fmla="*/ 382089 w 763849"/>
              <a:gd name="csY148" fmla="*/ 1474854 h 1523340"/>
              <a:gd name="csX149" fmla="*/ 449536 w 763849"/>
              <a:gd name="csY149" fmla="*/ 1476855 h 1523340"/>
              <a:gd name="csX150" fmla="*/ 559930 w 763849"/>
              <a:gd name="csY150" fmla="*/ 1474307 h 1523340"/>
              <a:gd name="csX151" fmla="*/ 648494 w 763849"/>
              <a:gd name="csY151" fmla="*/ 1463981 h 152334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</a:cxnLst>
            <a:rect l="l" t="t" r="r" b="b"/>
            <a:pathLst>
              <a:path w="763849" h="1523340">
                <a:moveTo>
                  <a:pt x="703087" y="1241174"/>
                </a:moveTo>
                <a:cubicBezTo>
                  <a:pt x="732418" y="1276379"/>
                  <a:pt x="738825" y="1316526"/>
                  <a:pt x="732932" y="1359634"/>
                </a:cubicBezTo>
                <a:cubicBezTo>
                  <a:pt x="732067" y="1365959"/>
                  <a:pt x="732453" y="1371428"/>
                  <a:pt x="735544" y="1377287"/>
                </a:cubicBezTo>
                <a:cubicBezTo>
                  <a:pt x="748937" y="1402675"/>
                  <a:pt x="755318" y="1430010"/>
                  <a:pt x="756764" y="1458577"/>
                </a:cubicBezTo>
                <a:cubicBezTo>
                  <a:pt x="756887" y="1461031"/>
                  <a:pt x="756895" y="1463494"/>
                  <a:pt x="757108" y="1465940"/>
                </a:cubicBezTo>
                <a:cubicBezTo>
                  <a:pt x="758375" y="1480486"/>
                  <a:pt x="757802" y="1482498"/>
                  <a:pt x="744215" y="1488332"/>
                </a:cubicBezTo>
                <a:cubicBezTo>
                  <a:pt x="734126" y="1492664"/>
                  <a:pt x="723536" y="1496562"/>
                  <a:pt x="712781" y="1498472"/>
                </a:cubicBezTo>
                <a:cubicBezTo>
                  <a:pt x="683814" y="1503617"/>
                  <a:pt x="654674" y="1507832"/>
                  <a:pt x="625540" y="1511981"/>
                </a:cubicBezTo>
                <a:cubicBezTo>
                  <a:pt x="580114" y="1518449"/>
                  <a:pt x="534395" y="1521481"/>
                  <a:pt x="488540" y="1522029"/>
                </a:cubicBezTo>
                <a:cubicBezTo>
                  <a:pt x="427958" y="1522752"/>
                  <a:pt x="367367" y="1523658"/>
                  <a:pt x="306789" y="1523231"/>
                </a:cubicBezTo>
                <a:cubicBezTo>
                  <a:pt x="271215" y="1522980"/>
                  <a:pt x="235625" y="1520833"/>
                  <a:pt x="200103" y="1518579"/>
                </a:cubicBezTo>
                <a:cubicBezTo>
                  <a:pt x="143289" y="1514974"/>
                  <a:pt x="86915" y="1507766"/>
                  <a:pt x="31607" y="1493880"/>
                </a:cubicBezTo>
                <a:cubicBezTo>
                  <a:pt x="22666" y="1491635"/>
                  <a:pt x="14297" y="1486920"/>
                  <a:pt x="5860" y="1482933"/>
                </a:cubicBezTo>
                <a:cubicBezTo>
                  <a:pt x="1433" y="1480841"/>
                  <a:pt x="-262" y="1476934"/>
                  <a:pt x="32" y="1471774"/>
                </a:cubicBezTo>
                <a:cubicBezTo>
                  <a:pt x="1880" y="1439401"/>
                  <a:pt x="3993" y="1407192"/>
                  <a:pt x="21295" y="1378237"/>
                </a:cubicBezTo>
                <a:cubicBezTo>
                  <a:pt x="23526" y="1374504"/>
                  <a:pt x="23666" y="1368858"/>
                  <a:pt x="23169" y="1364271"/>
                </a:cubicBezTo>
                <a:cubicBezTo>
                  <a:pt x="20957" y="1343833"/>
                  <a:pt x="20482" y="1323540"/>
                  <a:pt x="23871" y="1303132"/>
                </a:cubicBezTo>
                <a:cubicBezTo>
                  <a:pt x="28332" y="1276267"/>
                  <a:pt x="41045" y="1253887"/>
                  <a:pt x="59740" y="1234649"/>
                </a:cubicBezTo>
                <a:cubicBezTo>
                  <a:pt x="72582" y="1221434"/>
                  <a:pt x="85657" y="1208434"/>
                  <a:pt x="98899" y="1195619"/>
                </a:cubicBezTo>
                <a:cubicBezTo>
                  <a:pt x="118216" y="1176926"/>
                  <a:pt x="130484" y="1154702"/>
                  <a:pt x="131493" y="1127593"/>
                </a:cubicBezTo>
                <a:cubicBezTo>
                  <a:pt x="132448" y="1101948"/>
                  <a:pt x="127125" y="1077868"/>
                  <a:pt x="108213" y="1058723"/>
                </a:cubicBezTo>
                <a:cubicBezTo>
                  <a:pt x="97010" y="1047381"/>
                  <a:pt x="85438" y="1036399"/>
                  <a:pt x="74370" y="1024929"/>
                </a:cubicBezTo>
                <a:cubicBezTo>
                  <a:pt x="63868" y="1014043"/>
                  <a:pt x="62267" y="1001475"/>
                  <a:pt x="68137" y="987550"/>
                </a:cubicBezTo>
                <a:cubicBezTo>
                  <a:pt x="74493" y="972473"/>
                  <a:pt x="80703" y="957319"/>
                  <a:pt x="86420" y="941991"/>
                </a:cubicBezTo>
                <a:cubicBezTo>
                  <a:pt x="100218" y="905001"/>
                  <a:pt x="99441" y="866690"/>
                  <a:pt x="97082" y="828037"/>
                </a:cubicBezTo>
                <a:cubicBezTo>
                  <a:pt x="94260" y="781809"/>
                  <a:pt x="76370" y="739899"/>
                  <a:pt x="61782" y="696973"/>
                </a:cubicBezTo>
                <a:cubicBezTo>
                  <a:pt x="45282" y="648419"/>
                  <a:pt x="33285" y="598770"/>
                  <a:pt x="26901" y="547868"/>
                </a:cubicBezTo>
                <a:cubicBezTo>
                  <a:pt x="24054" y="525160"/>
                  <a:pt x="21110" y="502364"/>
                  <a:pt x="20221" y="479529"/>
                </a:cubicBezTo>
                <a:cubicBezTo>
                  <a:pt x="18293" y="430013"/>
                  <a:pt x="26126" y="381610"/>
                  <a:pt x="40808" y="334388"/>
                </a:cubicBezTo>
                <a:cubicBezTo>
                  <a:pt x="48208" y="310588"/>
                  <a:pt x="55162" y="286441"/>
                  <a:pt x="65171" y="263707"/>
                </a:cubicBezTo>
                <a:cubicBezTo>
                  <a:pt x="81946" y="225606"/>
                  <a:pt x="106517" y="193071"/>
                  <a:pt x="142827" y="171003"/>
                </a:cubicBezTo>
                <a:cubicBezTo>
                  <a:pt x="152238" y="165283"/>
                  <a:pt x="162401" y="160787"/>
                  <a:pt x="172290" y="155872"/>
                </a:cubicBezTo>
                <a:cubicBezTo>
                  <a:pt x="177784" y="153142"/>
                  <a:pt x="183393" y="150635"/>
                  <a:pt x="189008" y="148158"/>
                </a:cubicBezTo>
                <a:cubicBezTo>
                  <a:pt x="199487" y="143534"/>
                  <a:pt x="207598" y="136426"/>
                  <a:pt x="212828" y="126123"/>
                </a:cubicBezTo>
                <a:cubicBezTo>
                  <a:pt x="214121" y="123575"/>
                  <a:pt x="215966" y="121304"/>
                  <a:pt x="217217" y="118740"/>
                </a:cubicBezTo>
                <a:cubicBezTo>
                  <a:pt x="224688" y="103433"/>
                  <a:pt x="237053" y="93440"/>
                  <a:pt x="253000" y="88998"/>
                </a:cubicBezTo>
                <a:cubicBezTo>
                  <a:pt x="275818" y="82642"/>
                  <a:pt x="299033" y="77711"/>
                  <a:pt x="322085" y="72193"/>
                </a:cubicBezTo>
                <a:cubicBezTo>
                  <a:pt x="324867" y="71527"/>
                  <a:pt x="327694" y="71045"/>
                  <a:pt x="330478" y="70387"/>
                </a:cubicBezTo>
                <a:cubicBezTo>
                  <a:pt x="364731" y="62297"/>
                  <a:pt x="364569" y="62151"/>
                  <a:pt x="388016" y="35457"/>
                </a:cubicBezTo>
                <a:cubicBezTo>
                  <a:pt x="398189" y="23875"/>
                  <a:pt x="409180" y="13010"/>
                  <a:pt x="421527" y="0"/>
                </a:cubicBezTo>
                <a:cubicBezTo>
                  <a:pt x="423000" y="5190"/>
                  <a:pt x="424219" y="7961"/>
                  <a:pt x="424538" y="10833"/>
                </a:cubicBezTo>
                <a:cubicBezTo>
                  <a:pt x="428638" y="47817"/>
                  <a:pt x="433030" y="84779"/>
                  <a:pt x="436339" y="121836"/>
                </a:cubicBezTo>
                <a:cubicBezTo>
                  <a:pt x="437236" y="131893"/>
                  <a:pt x="441545" y="137271"/>
                  <a:pt x="449983" y="141450"/>
                </a:cubicBezTo>
                <a:cubicBezTo>
                  <a:pt x="467954" y="150348"/>
                  <a:pt x="486187" y="158915"/>
                  <a:pt x="503299" y="169290"/>
                </a:cubicBezTo>
                <a:cubicBezTo>
                  <a:pt x="520041" y="179441"/>
                  <a:pt x="535883" y="191197"/>
                  <a:pt x="551461" y="203111"/>
                </a:cubicBezTo>
                <a:cubicBezTo>
                  <a:pt x="568416" y="216079"/>
                  <a:pt x="579195" y="234146"/>
                  <a:pt x="588803" y="252797"/>
                </a:cubicBezTo>
                <a:cubicBezTo>
                  <a:pt x="602134" y="278677"/>
                  <a:pt x="616556" y="303835"/>
                  <a:pt x="634209" y="327081"/>
                </a:cubicBezTo>
                <a:cubicBezTo>
                  <a:pt x="651797" y="350241"/>
                  <a:pt x="673980" y="368103"/>
                  <a:pt x="697923" y="384157"/>
                </a:cubicBezTo>
                <a:cubicBezTo>
                  <a:pt x="708787" y="391441"/>
                  <a:pt x="719007" y="399678"/>
                  <a:pt x="729658" y="407288"/>
                </a:cubicBezTo>
                <a:cubicBezTo>
                  <a:pt x="751657" y="423004"/>
                  <a:pt x="761259" y="445265"/>
                  <a:pt x="763354" y="471325"/>
                </a:cubicBezTo>
                <a:cubicBezTo>
                  <a:pt x="764877" y="490275"/>
                  <a:pt x="762919" y="509064"/>
                  <a:pt x="757092" y="527116"/>
                </a:cubicBezTo>
                <a:cubicBezTo>
                  <a:pt x="750932" y="546198"/>
                  <a:pt x="738296" y="560266"/>
                  <a:pt x="720673" y="570023"/>
                </a:cubicBezTo>
                <a:cubicBezTo>
                  <a:pt x="715048" y="573138"/>
                  <a:pt x="709487" y="576825"/>
                  <a:pt x="704918" y="581294"/>
                </a:cubicBezTo>
                <a:cubicBezTo>
                  <a:pt x="695625" y="590383"/>
                  <a:pt x="684728" y="595697"/>
                  <a:pt x="671960" y="595325"/>
                </a:cubicBezTo>
                <a:cubicBezTo>
                  <a:pt x="658939" y="594945"/>
                  <a:pt x="645743" y="594018"/>
                  <a:pt x="633021" y="591397"/>
                </a:cubicBezTo>
                <a:cubicBezTo>
                  <a:pt x="611233" y="586907"/>
                  <a:pt x="595034" y="572939"/>
                  <a:pt x="580696" y="556742"/>
                </a:cubicBezTo>
                <a:cubicBezTo>
                  <a:pt x="570081" y="544750"/>
                  <a:pt x="559052" y="533306"/>
                  <a:pt x="545415" y="524617"/>
                </a:cubicBezTo>
                <a:cubicBezTo>
                  <a:pt x="537261" y="519422"/>
                  <a:pt x="528551" y="515996"/>
                  <a:pt x="518889" y="516179"/>
                </a:cubicBezTo>
                <a:cubicBezTo>
                  <a:pt x="503357" y="516473"/>
                  <a:pt x="487839" y="517663"/>
                  <a:pt x="472309" y="517812"/>
                </a:cubicBezTo>
                <a:cubicBezTo>
                  <a:pt x="453527" y="517993"/>
                  <a:pt x="434738" y="517514"/>
                  <a:pt x="415953" y="517245"/>
                </a:cubicBezTo>
                <a:cubicBezTo>
                  <a:pt x="411976" y="517189"/>
                  <a:pt x="408003" y="516808"/>
                  <a:pt x="403392" y="516539"/>
                </a:cubicBezTo>
                <a:cubicBezTo>
                  <a:pt x="401207" y="526363"/>
                  <a:pt x="404857" y="534293"/>
                  <a:pt x="407957" y="542045"/>
                </a:cubicBezTo>
                <a:cubicBezTo>
                  <a:pt x="414092" y="557387"/>
                  <a:pt x="423168" y="571042"/>
                  <a:pt x="434134" y="583349"/>
                </a:cubicBezTo>
                <a:cubicBezTo>
                  <a:pt x="464083" y="616959"/>
                  <a:pt x="493980" y="650618"/>
                  <a:pt x="524267" y="683922"/>
                </a:cubicBezTo>
                <a:cubicBezTo>
                  <a:pt x="554818" y="717518"/>
                  <a:pt x="588291" y="748619"/>
                  <a:pt x="614317" y="786085"/>
                </a:cubicBezTo>
                <a:cubicBezTo>
                  <a:pt x="642656" y="826881"/>
                  <a:pt x="663974" y="871159"/>
                  <a:pt x="669590" y="921089"/>
                </a:cubicBezTo>
                <a:cubicBezTo>
                  <a:pt x="674894" y="968240"/>
                  <a:pt x="669774" y="1014226"/>
                  <a:pt x="647360" y="1057245"/>
                </a:cubicBezTo>
                <a:cubicBezTo>
                  <a:pt x="639830" y="1071697"/>
                  <a:pt x="630533" y="1085565"/>
                  <a:pt x="627872" y="1102111"/>
                </a:cubicBezTo>
                <a:cubicBezTo>
                  <a:pt x="623640" y="1128439"/>
                  <a:pt x="626183" y="1153784"/>
                  <a:pt x="642300" y="1175941"/>
                </a:cubicBezTo>
                <a:cubicBezTo>
                  <a:pt x="650201" y="1186801"/>
                  <a:pt x="659595" y="1196636"/>
                  <a:pt x="668829" y="1206449"/>
                </a:cubicBezTo>
                <a:cubicBezTo>
                  <a:pt x="679770" y="1218075"/>
                  <a:pt x="691267" y="1229177"/>
                  <a:pt x="703087" y="1241174"/>
                </a:cubicBezTo>
                <a:moveTo>
                  <a:pt x="648750" y="562343"/>
                </a:moveTo>
                <a:cubicBezTo>
                  <a:pt x="656729" y="562558"/>
                  <a:pt x="664698" y="567407"/>
                  <a:pt x="674049" y="562834"/>
                </a:cubicBezTo>
                <a:cubicBezTo>
                  <a:pt x="668990" y="558037"/>
                  <a:pt x="664729" y="554259"/>
                  <a:pt x="660781" y="550178"/>
                </a:cubicBezTo>
                <a:cubicBezTo>
                  <a:pt x="656713" y="545973"/>
                  <a:pt x="651493" y="542363"/>
                  <a:pt x="650911" y="534051"/>
                </a:cubicBezTo>
                <a:cubicBezTo>
                  <a:pt x="654940" y="535536"/>
                  <a:pt x="657753" y="536907"/>
                  <a:pt x="660724" y="537605"/>
                </a:cubicBezTo>
                <a:cubicBezTo>
                  <a:pt x="669824" y="539743"/>
                  <a:pt x="678915" y="542853"/>
                  <a:pt x="688133" y="543363"/>
                </a:cubicBezTo>
                <a:cubicBezTo>
                  <a:pt x="712019" y="544686"/>
                  <a:pt x="726964" y="534053"/>
                  <a:pt x="731514" y="510767"/>
                </a:cubicBezTo>
                <a:cubicBezTo>
                  <a:pt x="734296" y="496535"/>
                  <a:pt x="734146" y="481511"/>
                  <a:pt x="733611" y="466905"/>
                </a:cubicBezTo>
                <a:cubicBezTo>
                  <a:pt x="732951" y="448863"/>
                  <a:pt x="723348" y="435653"/>
                  <a:pt x="708076" y="425975"/>
                </a:cubicBezTo>
                <a:cubicBezTo>
                  <a:pt x="694258" y="417218"/>
                  <a:pt x="681056" y="407489"/>
                  <a:pt x="667538" y="398254"/>
                </a:cubicBezTo>
                <a:cubicBezTo>
                  <a:pt x="641278" y="380314"/>
                  <a:pt x="617580" y="359743"/>
                  <a:pt x="601016" y="332127"/>
                </a:cubicBezTo>
                <a:cubicBezTo>
                  <a:pt x="588810" y="311778"/>
                  <a:pt x="576093" y="291645"/>
                  <a:pt x="565354" y="270526"/>
                </a:cubicBezTo>
                <a:cubicBezTo>
                  <a:pt x="548401" y="237186"/>
                  <a:pt x="523821" y="212104"/>
                  <a:pt x="490657" y="195121"/>
                </a:cubicBezTo>
                <a:cubicBezTo>
                  <a:pt x="471346" y="185231"/>
                  <a:pt x="452394" y="174606"/>
                  <a:pt x="432834" y="165243"/>
                </a:cubicBezTo>
                <a:cubicBezTo>
                  <a:pt x="416725" y="157532"/>
                  <a:pt x="408325" y="145526"/>
                  <a:pt x="407594" y="127852"/>
                </a:cubicBezTo>
                <a:cubicBezTo>
                  <a:pt x="406783" y="108242"/>
                  <a:pt x="405935" y="88634"/>
                  <a:pt x="405020" y="69029"/>
                </a:cubicBezTo>
                <a:cubicBezTo>
                  <a:pt x="404882" y="66067"/>
                  <a:pt x="404287" y="63127"/>
                  <a:pt x="403638" y="58130"/>
                </a:cubicBezTo>
                <a:cubicBezTo>
                  <a:pt x="381792" y="82321"/>
                  <a:pt x="361650" y="104820"/>
                  <a:pt x="349776" y="133259"/>
                </a:cubicBezTo>
                <a:cubicBezTo>
                  <a:pt x="345032" y="144621"/>
                  <a:pt x="337822" y="153814"/>
                  <a:pt x="326975" y="159669"/>
                </a:cubicBezTo>
                <a:cubicBezTo>
                  <a:pt x="295461" y="176681"/>
                  <a:pt x="266610" y="197333"/>
                  <a:pt x="240374" y="221714"/>
                </a:cubicBezTo>
                <a:cubicBezTo>
                  <a:pt x="212881" y="247263"/>
                  <a:pt x="188313" y="275340"/>
                  <a:pt x="171637" y="309087"/>
                </a:cubicBezTo>
                <a:cubicBezTo>
                  <a:pt x="139180" y="374765"/>
                  <a:pt x="129692" y="444532"/>
                  <a:pt x="138048" y="516954"/>
                </a:cubicBezTo>
                <a:cubicBezTo>
                  <a:pt x="142936" y="559318"/>
                  <a:pt x="152518" y="600762"/>
                  <a:pt x="163889" y="641780"/>
                </a:cubicBezTo>
                <a:cubicBezTo>
                  <a:pt x="177329" y="690261"/>
                  <a:pt x="191989" y="738413"/>
                  <a:pt x="204800" y="787055"/>
                </a:cubicBezTo>
                <a:cubicBezTo>
                  <a:pt x="218820" y="840287"/>
                  <a:pt x="228587" y="894088"/>
                  <a:pt x="218549" y="949545"/>
                </a:cubicBezTo>
                <a:cubicBezTo>
                  <a:pt x="213279" y="978659"/>
                  <a:pt x="207130" y="1007359"/>
                  <a:pt x="191487" y="1033064"/>
                </a:cubicBezTo>
                <a:cubicBezTo>
                  <a:pt x="190499" y="1034686"/>
                  <a:pt x="190018" y="1036618"/>
                  <a:pt x="188729" y="1039835"/>
                </a:cubicBezTo>
                <a:cubicBezTo>
                  <a:pt x="200470" y="1040170"/>
                  <a:pt x="210952" y="1040298"/>
                  <a:pt x="221417" y="1040799"/>
                </a:cubicBezTo>
                <a:cubicBezTo>
                  <a:pt x="263912" y="1042835"/>
                  <a:pt x="306390" y="1046436"/>
                  <a:pt x="348895" y="1046759"/>
                </a:cubicBezTo>
                <a:cubicBezTo>
                  <a:pt x="414380" y="1047258"/>
                  <a:pt x="479896" y="1046092"/>
                  <a:pt x="545369" y="1044456"/>
                </a:cubicBezTo>
                <a:cubicBezTo>
                  <a:pt x="567764" y="1043897"/>
                  <a:pt x="590066" y="1039744"/>
                  <a:pt x="612424" y="1037365"/>
                </a:cubicBezTo>
                <a:cubicBezTo>
                  <a:pt x="617948" y="1036777"/>
                  <a:pt x="621342" y="1034139"/>
                  <a:pt x="623169" y="1028873"/>
                </a:cubicBezTo>
                <a:cubicBezTo>
                  <a:pt x="630975" y="1006370"/>
                  <a:pt x="637026" y="983472"/>
                  <a:pt x="638508" y="959599"/>
                </a:cubicBezTo>
                <a:cubicBezTo>
                  <a:pt x="641131" y="917363"/>
                  <a:pt x="628970" y="878727"/>
                  <a:pt x="609213" y="842075"/>
                </a:cubicBezTo>
                <a:cubicBezTo>
                  <a:pt x="587874" y="802491"/>
                  <a:pt x="559403" y="768169"/>
                  <a:pt x="529367" y="735065"/>
                </a:cubicBezTo>
                <a:cubicBezTo>
                  <a:pt x="487563" y="688992"/>
                  <a:pt x="445474" y="643176"/>
                  <a:pt x="403792" y="596993"/>
                </a:cubicBezTo>
                <a:cubicBezTo>
                  <a:pt x="380393" y="571066"/>
                  <a:pt x="360083" y="542922"/>
                  <a:pt x="344708" y="511366"/>
                </a:cubicBezTo>
                <a:cubicBezTo>
                  <a:pt x="324385" y="469655"/>
                  <a:pt x="317321" y="425966"/>
                  <a:pt x="324464" y="380084"/>
                </a:cubicBezTo>
                <a:cubicBezTo>
                  <a:pt x="324821" y="377789"/>
                  <a:pt x="326581" y="375713"/>
                  <a:pt x="327688" y="373535"/>
                </a:cubicBezTo>
                <a:cubicBezTo>
                  <a:pt x="328570" y="373570"/>
                  <a:pt x="329452" y="373606"/>
                  <a:pt x="330334" y="373641"/>
                </a:cubicBezTo>
                <a:cubicBezTo>
                  <a:pt x="331649" y="377308"/>
                  <a:pt x="333001" y="380963"/>
                  <a:pt x="334272" y="384645"/>
                </a:cubicBezTo>
                <a:cubicBezTo>
                  <a:pt x="342569" y="408660"/>
                  <a:pt x="351164" y="432573"/>
                  <a:pt x="365260" y="453955"/>
                </a:cubicBezTo>
                <a:cubicBezTo>
                  <a:pt x="375537" y="469544"/>
                  <a:pt x="388811" y="481767"/>
                  <a:pt x="408246" y="483592"/>
                </a:cubicBezTo>
                <a:cubicBezTo>
                  <a:pt x="426928" y="485346"/>
                  <a:pt x="445757" y="486037"/>
                  <a:pt x="464529" y="486187"/>
                </a:cubicBezTo>
                <a:cubicBezTo>
                  <a:pt x="480053" y="486311"/>
                  <a:pt x="495582" y="484792"/>
                  <a:pt x="511119" y="484308"/>
                </a:cubicBezTo>
                <a:cubicBezTo>
                  <a:pt x="532443" y="483644"/>
                  <a:pt x="551690" y="490014"/>
                  <a:pt x="567913" y="503736"/>
                </a:cubicBezTo>
                <a:cubicBezTo>
                  <a:pt x="581642" y="515348"/>
                  <a:pt x="594604" y="527888"/>
                  <a:pt x="607611" y="540326"/>
                </a:cubicBezTo>
                <a:cubicBezTo>
                  <a:pt x="618811" y="551038"/>
                  <a:pt x="631177" y="559300"/>
                  <a:pt x="648750" y="562343"/>
                </a:cubicBezTo>
                <a:moveTo>
                  <a:pt x="462594" y="1369008"/>
                </a:moveTo>
                <a:cubicBezTo>
                  <a:pt x="478517" y="1368137"/>
                  <a:pt x="494449" y="1367429"/>
                  <a:pt x="510357" y="1366345"/>
                </a:cubicBezTo>
                <a:cubicBezTo>
                  <a:pt x="523399" y="1365456"/>
                  <a:pt x="536424" y="1364247"/>
                  <a:pt x="549434" y="1362956"/>
                </a:cubicBezTo>
                <a:cubicBezTo>
                  <a:pt x="577089" y="1360213"/>
                  <a:pt x="604749" y="1357503"/>
                  <a:pt x="632369" y="1354439"/>
                </a:cubicBezTo>
                <a:cubicBezTo>
                  <a:pt x="653805" y="1352062"/>
                  <a:pt x="675183" y="1349170"/>
                  <a:pt x="697252" y="1346424"/>
                </a:cubicBezTo>
                <a:cubicBezTo>
                  <a:pt x="701148" y="1316348"/>
                  <a:pt x="695768" y="1289474"/>
                  <a:pt x="676674" y="1266396"/>
                </a:cubicBezTo>
                <a:cubicBezTo>
                  <a:pt x="667313" y="1255080"/>
                  <a:pt x="656878" y="1244625"/>
                  <a:pt x="646594" y="1234108"/>
                </a:cubicBezTo>
                <a:cubicBezTo>
                  <a:pt x="634298" y="1221533"/>
                  <a:pt x="621353" y="1209623"/>
                  <a:pt x="612063" y="1194382"/>
                </a:cubicBezTo>
                <a:cubicBezTo>
                  <a:pt x="596511" y="1168867"/>
                  <a:pt x="588079" y="1141707"/>
                  <a:pt x="591616" y="1111541"/>
                </a:cubicBezTo>
                <a:cubicBezTo>
                  <a:pt x="592450" y="1104432"/>
                  <a:pt x="593365" y="1097332"/>
                  <a:pt x="594320" y="1089609"/>
                </a:cubicBezTo>
                <a:cubicBezTo>
                  <a:pt x="588294" y="1089609"/>
                  <a:pt x="583452" y="1089392"/>
                  <a:pt x="578634" y="1089642"/>
                </a:cubicBezTo>
                <a:cubicBezTo>
                  <a:pt x="533732" y="1091976"/>
                  <a:pt x="488841" y="1094525"/>
                  <a:pt x="443931" y="1096700"/>
                </a:cubicBezTo>
                <a:cubicBezTo>
                  <a:pt x="430451" y="1097353"/>
                  <a:pt x="416923" y="1097005"/>
                  <a:pt x="403417" y="1097156"/>
                </a:cubicBezTo>
                <a:cubicBezTo>
                  <a:pt x="389337" y="1097313"/>
                  <a:pt x="388961" y="1097850"/>
                  <a:pt x="388348" y="1111502"/>
                </a:cubicBezTo>
                <a:cubicBezTo>
                  <a:pt x="387375" y="1133151"/>
                  <a:pt x="386231" y="1154793"/>
                  <a:pt x="385048" y="1176431"/>
                </a:cubicBezTo>
                <a:cubicBezTo>
                  <a:pt x="382637" y="1220514"/>
                  <a:pt x="380158" y="1264593"/>
                  <a:pt x="377687" y="1308672"/>
                </a:cubicBezTo>
                <a:cubicBezTo>
                  <a:pt x="377458" y="1312751"/>
                  <a:pt x="376852" y="1316821"/>
                  <a:pt x="376823" y="1320897"/>
                </a:cubicBezTo>
                <a:cubicBezTo>
                  <a:pt x="376717" y="1335880"/>
                  <a:pt x="376781" y="1350864"/>
                  <a:pt x="376781" y="1366151"/>
                </a:cubicBezTo>
                <a:cubicBezTo>
                  <a:pt x="404707" y="1370397"/>
                  <a:pt x="432477" y="1369351"/>
                  <a:pt x="462594" y="1369008"/>
                </a:cubicBezTo>
                <a:moveTo>
                  <a:pt x="648494" y="1463981"/>
                </a:moveTo>
                <a:cubicBezTo>
                  <a:pt x="671329" y="1460052"/>
                  <a:pt x="694163" y="1456122"/>
                  <a:pt x="718746" y="1451892"/>
                </a:cubicBezTo>
                <a:cubicBezTo>
                  <a:pt x="716257" y="1439067"/>
                  <a:pt x="714578" y="1427816"/>
                  <a:pt x="711827" y="1416835"/>
                </a:cubicBezTo>
                <a:cubicBezTo>
                  <a:pt x="707611" y="1400009"/>
                  <a:pt x="703502" y="1397423"/>
                  <a:pt x="685812" y="1398502"/>
                </a:cubicBezTo>
                <a:cubicBezTo>
                  <a:pt x="684179" y="1398602"/>
                  <a:pt x="682547" y="1398768"/>
                  <a:pt x="680924" y="1398973"/>
                </a:cubicBezTo>
                <a:cubicBezTo>
                  <a:pt x="653380" y="1402446"/>
                  <a:pt x="625911" y="1406752"/>
                  <a:pt x="598278" y="1409218"/>
                </a:cubicBezTo>
                <a:cubicBezTo>
                  <a:pt x="557171" y="1412886"/>
                  <a:pt x="515983" y="1415946"/>
                  <a:pt x="474765" y="1417945"/>
                </a:cubicBezTo>
                <a:cubicBezTo>
                  <a:pt x="444944" y="1419391"/>
                  <a:pt x="415021" y="1418680"/>
                  <a:pt x="385143" y="1418978"/>
                </a:cubicBezTo>
                <a:cubicBezTo>
                  <a:pt x="382419" y="1419005"/>
                  <a:pt x="379697" y="1419376"/>
                  <a:pt x="376639" y="1419613"/>
                </a:cubicBezTo>
                <a:cubicBezTo>
                  <a:pt x="376639" y="1438152"/>
                  <a:pt x="376639" y="1455909"/>
                  <a:pt x="376639" y="1473939"/>
                </a:cubicBezTo>
                <a:cubicBezTo>
                  <a:pt x="378971" y="1474343"/>
                  <a:pt x="380523" y="1474802"/>
                  <a:pt x="382089" y="1474854"/>
                </a:cubicBezTo>
                <a:cubicBezTo>
                  <a:pt x="404571" y="1475605"/>
                  <a:pt x="427058" y="1476986"/>
                  <a:pt x="449536" y="1476855"/>
                </a:cubicBezTo>
                <a:cubicBezTo>
                  <a:pt x="486344" y="1476639"/>
                  <a:pt x="523207" y="1476480"/>
                  <a:pt x="559930" y="1474307"/>
                </a:cubicBezTo>
                <a:cubicBezTo>
                  <a:pt x="588839" y="1472596"/>
                  <a:pt x="617570" y="1467884"/>
                  <a:pt x="648494" y="1463981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5" name="Free-form: Shape 24">
            <a:extLst>
              <a:ext uri="{FF2B5EF4-FFF2-40B4-BE49-F238E27FC236}">
                <a16:creationId xmlns:a16="http://schemas.microsoft.com/office/drawing/2014/main" id="{978D38BB-53F8-E01C-4D31-CAAFCB6B8FAA}"/>
              </a:ext>
            </a:extLst>
          </p:cNvPr>
          <p:cNvSpPr/>
          <p:nvPr/>
        </p:nvSpPr>
        <p:spPr>
          <a:xfrm>
            <a:off x="8745849" y="3954948"/>
            <a:ext cx="497702" cy="821885"/>
          </a:xfrm>
          <a:custGeom>
            <a:avLst/>
            <a:gdLst>
              <a:gd name="csX0" fmla="*/ 512604 w 598747"/>
              <a:gd name="csY0" fmla="*/ 503918 h 988745"/>
              <a:gd name="csX1" fmla="*/ 472435 w 598747"/>
              <a:gd name="csY1" fmla="*/ 482196 h 988745"/>
              <a:gd name="csX2" fmla="*/ 432737 w 598747"/>
              <a:gd name="csY2" fmla="*/ 445605 h 988745"/>
              <a:gd name="csX3" fmla="*/ 375943 w 598747"/>
              <a:gd name="csY3" fmla="*/ 426178 h 988745"/>
              <a:gd name="csX4" fmla="*/ 329354 w 598747"/>
              <a:gd name="csY4" fmla="*/ 428057 h 988745"/>
              <a:gd name="csX5" fmla="*/ 273070 w 598747"/>
              <a:gd name="csY5" fmla="*/ 425461 h 988745"/>
              <a:gd name="csX6" fmla="*/ 230084 w 598747"/>
              <a:gd name="csY6" fmla="*/ 395825 h 988745"/>
              <a:gd name="csX7" fmla="*/ 199097 w 598747"/>
              <a:gd name="csY7" fmla="*/ 326515 h 988745"/>
              <a:gd name="csX8" fmla="*/ 195158 w 598747"/>
              <a:gd name="csY8" fmla="*/ 315511 h 988745"/>
              <a:gd name="csX9" fmla="*/ 192512 w 598747"/>
              <a:gd name="csY9" fmla="*/ 315405 h 988745"/>
              <a:gd name="csX10" fmla="*/ 189288 w 598747"/>
              <a:gd name="csY10" fmla="*/ 321954 h 988745"/>
              <a:gd name="csX11" fmla="*/ 209532 w 598747"/>
              <a:gd name="csY11" fmla="*/ 453235 h 988745"/>
              <a:gd name="csX12" fmla="*/ 268616 w 598747"/>
              <a:gd name="csY12" fmla="*/ 538863 h 988745"/>
              <a:gd name="csX13" fmla="*/ 394191 w 598747"/>
              <a:gd name="csY13" fmla="*/ 676935 h 988745"/>
              <a:gd name="csX14" fmla="*/ 474037 w 598747"/>
              <a:gd name="csY14" fmla="*/ 783945 h 988745"/>
              <a:gd name="csX15" fmla="*/ 503332 w 598747"/>
              <a:gd name="csY15" fmla="*/ 901469 h 988745"/>
              <a:gd name="csX16" fmla="*/ 487993 w 598747"/>
              <a:gd name="csY16" fmla="*/ 970743 h 988745"/>
              <a:gd name="csX17" fmla="*/ 477248 w 598747"/>
              <a:gd name="csY17" fmla="*/ 979235 h 988745"/>
              <a:gd name="csX18" fmla="*/ 410194 w 598747"/>
              <a:gd name="csY18" fmla="*/ 986326 h 988745"/>
              <a:gd name="csX19" fmla="*/ 213720 w 598747"/>
              <a:gd name="csY19" fmla="*/ 988629 h 988745"/>
              <a:gd name="csX20" fmla="*/ 86242 w 598747"/>
              <a:gd name="csY20" fmla="*/ 982669 h 988745"/>
              <a:gd name="csX21" fmla="*/ 53553 w 598747"/>
              <a:gd name="csY21" fmla="*/ 981705 h 988745"/>
              <a:gd name="csX22" fmla="*/ 56311 w 598747"/>
              <a:gd name="csY22" fmla="*/ 974933 h 988745"/>
              <a:gd name="csX23" fmla="*/ 83373 w 598747"/>
              <a:gd name="csY23" fmla="*/ 891414 h 988745"/>
              <a:gd name="csX24" fmla="*/ 69625 w 598747"/>
              <a:gd name="csY24" fmla="*/ 728925 h 988745"/>
              <a:gd name="csX25" fmla="*/ 28713 w 598747"/>
              <a:gd name="csY25" fmla="*/ 583650 h 988745"/>
              <a:gd name="csX26" fmla="*/ 2872 w 598747"/>
              <a:gd name="csY26" fmla="*/ 458823 h 988745"/>
              <a:gd name="csX27" fmla="*/ 36461 w 598747"/>
              <a:gd name="csY27" fmla="*/ 250957 h 988745"/>
              <a:gd name="csX28" fmla="*/ 105198 w 598747"/>
              <a:gd name="csY28" fmla="*/ 163584 h 988745"/>
              <a:gd name="csX29" fmla="*/ 191800 w 598747"/>
              <a:gd name="csY29" fmla="*/ 101539 h 988745"/>
              <a:gd name="csX30" fmla="*/ 214600 w 598747"/>
              <a:gd name="csY30" fmla="*/ 75129 h 988745"/>
              <a:gd name="csX31" fmla="*/ 268462 w 598747"/>
              <a:gd name="csY31" fmla="*/ 0 h 988745"/>
              <a:gd name="csX32" fmla="*/ 269844 w 598747"/>
              <a:gd name="csY32" fmla="*/ 10898 h 988745"/>
              <a:gd name="csX33" fmla="*/ 272418 w 598747"/>
              <a:gd name="csY33" fmla="*/ 69722 h 988745"/>
              <a:gd name="csX34" fmla="*/ 297658 w 598747"/>
              <a:gd name="csY34" fmla="*/ 107113 h 988745"/>
              <a:gd name="csX35" fmla="*/ 355481 w 598747"/>
              <a:gd name="csY35" fmla="*/ 136991 h 988745"/>
              <a:gd name="csX36" fmla="*/ 430178 w 598747"/>
              <a:gd name="csY36" fmla="*/ 212396 h 988745"/>
              <a:gd name="csX37" fmla="*/ 465840 w 598747"/>
              <a:gd name="csY37" fmla="*/ 273997 h 988745"/>
              <a:gd name="csX38" fmla="*/ 532362 w 598747"/>
              <a:gd name="csY38" fmla="*/ 340124 h 988745"/>
              <a:gd name="csX39" fmla="*/ 572901 w 598747"/>
              <a:gd name="csY39" fmla="*/ 367845 h 988745"/>
              <a:gd name="csX40" fmla="*/ 598436 w 598747"/>
              <a:gd name="csY40" fmla="*/ 408775 h 988745"/>
              <a:gd name="csX41" fmla="*/ 596339 w 598747"/>
              <a:gd name="csY41" fmla="*/ 452637 h 988745"/>
              <a:gd name="csX42" fmla="*/ 552957 w 598747"/>
              <a:gd name="csY42" fmla="*/ 485233 h 988745"/>
              <a:gd name="csX43" fmla="*/ 525548 w 598747"/>
              <a:gd name="csY43" fmla="*/ 479475 h 988745"/>
              <a:gd name="csX44" fmla="*/ 515736 w 598747"/>
              <a:gd name="csY44" fmla="*/ 475921 h 988745"/>
              <a:gd name="csX45" fmla="*/ 525605 w 598747"/>
              <a:gd name="csY45" fmla="*/ 492048 h 988745"/>
              <a:gd name="csX46" fmla="*/ 538873 w 598747"/>
              <a:gd name="csY46" fmla="*/ 504704 h 988745"/>
              <a:gd name="csX47" fmla="*/ 512604 w 598747"/>
              <a:gd name="csY47" fmla="*/ 503918 h 988745"/>
              <a:gd name="csX48" fmla="*/ 332072 w 598747"/>
              <a:gd name="csY48" fmla="*/ 218143 h 988745"/>
              <a:gd name="csX49" fmla="*/ 334388 w 598747"/>
              <a:gd name="csY49" fmla="*/ 226400 h 988745"/>
              <a:gd name="csX50" fmla="*/ 372370 w 598747"/>
              <a:gd name="csY50" fmla="*/ 254505 h 988745"/>
              <a:gd name="csX51" fmla="*/ 405258 w 598747"/>
              <a:gd name="csY51" fmla="*/ 252089 h 988745"/>
              <a:gd name="csX52" fmla="*/ 409167 w 598747"/>
              <a:gd name="csY52" fmla="*/ 244359 h 988745"/>
              <a:gd name="csX53" fmla="*/ 396364 w 598747"/>
              <a:gd name="csY53" fmla="*/ 219471 h 988745"/>
              <a:gd name="csX54" fmla="*/ 365755 w 598747"/>
              <a:gd name="csY54" fmla="*/ 195821 h 988745"/>
              <a:gd name="csX55" fmla="*/ 333572 w 598747"/>
              <a:gd name="csY55" fmla="*/ 188536 h 988745"/>
              <a:gd name="csX56" fmla="*/ 322931 w 598747"/>
              <a:gd name="csY56" fmla="*/ 190843 h 988745"/>
              <a:gd name="csX57" fmla="*/ 329041 w 598747"/>
              <a:gd name="csY57" fmla="*/ 203001 h 988745"/>
              <a:gd name="csX58" fmla="*/ 332072 w 598747"/>
              <a:gd name="csY58" fmla="*/ 218143 h 98874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</a:cxnLst>
            <a:rect l="l" t="t" r="r" b="b"/>
            <a:pathLst>
              <a:path w="598747" h="988745">
                <a:moveTo>
                  <a:pt x="512604" y="503918"/>
                </a:moveTo>
                <a:cubicBezTo>
                  <a:pt x="496002" y="501170"/>
                  <a:pt x="483635" y="492907"/>
                  <a:pt x="472435" y="482196"/>
                </a:cubicBezTo>
                <a:cubicBezTo>
                  <a:pt x="459429" y="469758"/>
                  <a:pt x="446467" y="457218"/>
                  <a:pt x="432737" y="445605"/>
                </a:cubicBezTo>
                <a:cubicBezTo>
                  <a:pt x="416514" y="431883"/>
                  <a:pt x="397267" y="425513"/>
                  <a:pt x="375943" y="426178"/>
                </a:cubicBezTo>
                <a:cubicBezTo>
                  <a:pt x="360407" y="426662"/>
                  <a:pt x="344877" y="428180"/>
                  <a:pt x="329354" y="428057"/>
                </a:cubicBezTo>
                <a:cubicBezTo>
                  <a:pt x="310581" y="427907"/>
                  <a:pt x="291752" y="427215"/>
                  <a:pt x="273070" y="425461"/>
                </a:cubicBezTo>
                <a:cubicBezTo>
                  <a:pt x="253636" y="423637"/>
                  <a:pt x="240361" y="411413"/>
                  <a:pt x="230084" y="395825"/>
                </a:cubicBezTo>
                <a:cubicBezTo>
                  <a:pt x="215988" y="374443"/>
                  <a:pt x="207393" y="350530"/>
                  <a:pt x="199097" y="326515"/>
                </a:cubicBezTo>
                <a:cubicBezTo>
                  <a:pt x="197825" y="322833"/>
                  <a:pt x="196473" y="319178"/>
                  <a:pt x="195158" y="315511"/>
                </a:cubicBezTo>
                <a:cubicBezTo>
                  <a:pt x="194276" y="315475"/>
                  <a:pt x="193394" y="315440"/>
                  <a:pt x="192512" y="315405"/>
                </a:cubicBezTo>
                <a:cubicBezTo>
                  <a:pt x="191405" y="317583"/>
                  <a:pt x="189646" y="319659"/>
                  <a:pt x="189288" y="321954"/>
                </a:cubicBezTo>
                <a:cubicBezTo>
                  <a:pt x="182145" y="367836"/>
                  <a:pt x="189209" y="411525"/>
                  <a:pt x="209532" y="453235"/>
                </a:cubicBezTo>
                <a:cubicBezTo>
                  <a:pt x="224908" y="484792"/>
                  <a:pt x="245217" y="512936"/>
                  <a:pt x="268616" y="538863"/>
                </a:cubicBezTo>
                <a:cubicBezTo>
                  <a:pt x="310298" y="585046"/>
                  <a:pt x="352387" y="630861"/>
                  <a:pt x="394191" y="676935"/>
                </a:cubicBezTo>
                <a:cubicBezTo>
                  <a:pt x="424227" y="710039"/>
                  <a:pt x="452698" y="744360"/>
                  <a:pt x="474037" y="783945"/>
                </a:cubicBezTo>
                <a:cubicBezTo>
                  <a:pt x="493795" y="820596"/>
                  <a:pt x="505956" y="859233"/>
                  <a:pt x="503332" y="901469"/>
                </a:cubicBezTo>
                <a:cubicBezTo>
                  <a:pt x="501850" y="925342"/>
                  <a:pt x="495799" y="948239"/>
                  <a:pt x="487993" y="970743"/>
                </a:cubicBezTo>
                <a:cubicBezTo>
                  <a:pt x="486166" y="976009"/>
                  <a:pt x="482772" y="978647"/>
                  <a:pt x="477248" y="979235"/>
                </a:cubicBezTo>
                <a:cubicBezTo>
                  <a:pt x="454890" y="981614"/>
                  <a:pt x="432589" y="985767"/>
                  <a:pt x="410194" y="986326"/>
                </a:cubicBezTo>
                <a:cubicBezTo>
                  <a:pt x="344720" y="987961"/>
                  <a:pt x="279205" y="989128"/>
                  <a:pt x="213720" y="988629"/>
                </a:cubicBezTo>
                <a:cubicBezTo>
                  <a:pt x="171215" y="988306"/>
                  <a:pt x="128736" y="984705"/>
                  <a:pt x="86242" y="982669"/>
                </a:cubicBezTo>
                <a:cubicBezTo>
                  <a:pt x="75776" y="982167"/>
                  <a:pt x="65294" y="982040"/>
                  <a:pt x="53553" y="981705"/>
                </a:cubicBezTo>
                <a:cubicBezTo>
                  <a:pt x="54842" y="978488"/>
                  <a:pt x="55323" y="976556"/>
                  <a:pt x="56311" y="974933"/>
                </a:cubicBezTo>
                <a:cubicBezTo>
                  <a:pt x="71955" y="949229"/>
                  <a:pt x="78103" y="920529"/>
                  <a:pt x="83373" y="891414"/>
                </a:cubicBezTo>
                <a:cubicBezTo>
                  <a:pt x="93411" y="835958"/>
                  <a:pt x="83645" y="782156"/>
                  <a:pt x="69625" y="728925"/>
                </a:cubicBezTo>
                <a:cubicBezTo>
                  <a:pt x="56813" y="680283"/>
                  <a:pt x="42153" y="632130"/>
                  <a:pt x="28713" y="583650"/>
                </a:cubicBezTo>
                <a:cubicBezTo>
                  <a:pt x="17342" y="542631"/>
                  <a:pt x="7760" y="501188"/>
                  <a:pt x="2872" y="458823"/>
                </a:cubicBezTo>
                <a:cubicBezTo>
                  <a:pt x="-5484" y="386401"/>
                  <a:pt x="4005" y="316635"/>
                  <a:pt x="36461" y="250957"/>
                </a:cubicBezTo>
                <a:cubicBezTo>
                  <a:pt x="53137" y="217210"/>
                  <a:pt x="77705" y="189133"/>
                  <a:pt x="105198" y="163584"/>
                </a:cubicBezTo>
                <a:cubicBezTo>
                  <a:pt x="131434" y="139203"/>
                  <a:pt x="160285" y="118551"/>
                  <a:pt x="191800" y="101539"/>
                </a:cubicBezTo>
                <a:cubicBezTo>
                  <a:pt x="202646" y="95684"/>
                  <a:pt x="209856" y="86491"/>
                  <a:pt x="214600" y="75129"/>
                </a:cubicBezTo>
                <a:cubicBezTo>
                  <a:pt x="226474" y="46689"/>
                  <a:pt x="246616" y="24191"/>
                  <a:pt x="268462" y="0"/>
                </a:cubicBezTo>
                <a:cubicBezTo>
                  <a:pt x="269111" y="4997"/>
                  <a:pt x="269706" y="7937"/>
                  <a:pt x="269844" y="10898"/>
                </a:cubicBezTo>
                <a:cubicBezTo>
                  <a:pt x="270760" y="30504"/>
                  <a:pt x="271607" y="50112"/>
                  <a:pt x="272418" y="69722"/>
                </a:cubicBezTo>
                <a:cubicBezTo>
                  <a:pt x="273150" y="87396"/>
                  <a:pt x="281549" y="99401"/>
                  <a:pt x="297658" y="107113"/>
                </a:cubicBezTo>
                <a:cubicBezTo>
                  <a:pt x="317218" y="116476"/>
                  <a:pt x="336170" y="127101"/>
                  <a:pt x="355481" y="136991"/>
                </a:cubicBezTo>
                <a:cubicBezTo>
                  <a:pt x="388645" y="153974"/>
                  <a:pt x="413226" y="179056"/>
                  <a:pt x="430178" y="212396"/>
                </a:cubicBezTo>
                <a:cubicBezTo>
                  <a:pt x="440917" y="233515"/>
                  <a:pt x="453634" y="253647"/>
                  <a:pt x="465840" y="273997"/>
                </a:cubicBezTo>
                <a:cubicBezTo>
                  <a:pt x="482404" y="301613"/>
                  <a:pt x="506102" y="322183"/>
                  <a:pt x="532362" y="340124"/>
                </a:cubicBezTo>
                <a:cubicBezTo>
                  <a:pt x="545881" y="349359"/>
                  <a:pt x="559082" y="359088"/>
                  <a:pt x="572901" y="367845"/>
                </a:cubicBezTo>
                <a:cubicBezTo>
                  <a:pt x="588172" y="377523"/>
                  <a:pt x="597775" y="390733"/>
                  <a:pt x="598436" y="408775"/>
                </a:cubicBezTo>
                <a:cubicBezTo>
                  <a:pt x="598970" y="423381"/>
                  <a:pt x="599120" y="438404"/>
                  <a:pt x="596339" y="452637"/>
                </a:cubicBezTo>
                <a:cubicBezTo>
                  <a:pt x="591789" y="475923"/>
                  <a:pt x="576843" y="486555"/>
                  <a:pt x="552957" y="485233"/>
                </a:cubicBezTo>
                <a:cubicBezTo>
                  <a:pt x="543740" y="484722"/>
                  <a:pt x="534648" y="481613"/>
                  <a:pt x="525548" y="479475"/>
                </a:cubicBezTo>
                <a:cubicBezTo>
                  <a:pt x="522577" y="478776"/>
                  <a:pt x="519764" y="477405"/>
                  <a:pt x="515736" y="475921"/>
                </a:cubicBezTo>
                <a:cubicBezTo>
                  <a:pt x="516318" y="484233"/>
                  <a:pt x="521537" y="487842"/>
                  <a:pt x="525605" y="492048"/>
                </a:cubicBezTo>
                <a:cubicBezTo>
                  <a:pt x="529554" y="496129"/>
                  <a:pt x="533815" y="499907"/>
                  <a:pt x="538873" y="504704"/>
                </a:cubicBezTo>
                <a:cubicBezTo>
                  <a:pt x="529522" y="509277"/>
                  <a:pt x="521553" y="504428"/>
                  <a:pt x="512604" y="503918"/>
                </a:cubicBezTo>
                <a:moveTo>
                  <a:pt x="332072" y="218143"/>
                </a:moveTo>
                <a:cubicBezTo>
                  <a:pt x="332837" y="220898"/>
                  <a:pt x="333478" y="223695"/>
                  <a:pt x="334388" y="226400"/>
                </a:cubicBezTo>
                <a:cubicBezTo>
                  <a:pt x="341073" y="246268"/>
                  <a:pt x="351614" y="254460"/>
                  <a:pt x="372370" y="254505"/>
                </a:cubicBezTo>
                <a:cubicBezTo>
                  <a:pt x="383333" y="254529"/>
                  <a:pt x="394312" y="253121"/>
                  <a:pt x="405258" y="252089"/>
                </a:cubicBezTo>
                <a:cubicBezTo>
                  <a:pt x="409961" y="251646"/>
                  <a:pt x="411340" y="248568"/>
                  <a:pt x="409167" y="244359"/>
                </a:cubicBezTo>
                <a:cubicBezTo>
                  <a:pt x="404885" y="236068"/>
                  <a:pt x="400139" y="227985"/>
                  <a:pt x="396364" y="219471"/>
                </a:cubicBezTo>
                <a:cubicBezTo>
                  <a:pt x="390350" y="205908"/>
                  <a:pt x="379963" y="198663"/>
                  <a:pt x="365755" y="195821"/>
                </a:cubicBezTo>
                <a:cubicBezTo>
                  <a:pt x="354973" y="193665"/>
                  <a:pt x="344291" y="191003"/>
                  <a:pt x="333572" y="188536"/>
                </a:cubicBezTo>
                <a:cubicBezTo>
                  <a:pt x="329511" y="187602"/>
                  <a:pt x="325579" y="187007"/>
                  <a:pt x="322931" y="190843"/>
                </a:cubicBezTo>
                <a:cubicBezTo>
                  <a:pt x="325138" y="195129"/>
                  <a:pt x="327613" y="198884"/>
                  <a:pt x="329041" y="203001"/>
                </a:cubicBezTo>
                <a:cubicBezTo>
                  <a:pt x="330500" y="207204"/>
                  <a:pt x="330929" y="211764"/>
                  <a:pt x="332072" y="218143"/>
                </a:cubicBezTo>
                <a:close/>
              </a:path>
            </a:pathLst>
          </a:custGeom>
          <a:solidFill>
            <a:srgbClr val="FEFEFE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6" name="Free-form: Shape 25">
            <a:extLst>
              <a:ext uri="{FF2B5EF4-FFF2-40B4-BE49-F238E27FC236}">
                <a16:creationId xmlns:a16="http://schemas.microsoft.com/office/drawing/2014/main" id="{4BB57A07-9688-77A6-DE4B-3D869D5CAC15}"/>
              </a:ext>
            </a:extLst>
          </p:cNvPr>
          <p:cNvSpPr/>
          <p:nvPr/>
        </p:nvSpPr>
        <p:spPr>
          <a:xfrm>
            <a:off x="8946666" y="4812283"/>
            <a:ext cx="267393" cy="232628"/>
          </a:xfrm>
          <a:custGeom>
            <a:avLst/>
            <a:gdLst>
              <a:gd name="csX0" fmla="*/ 84645 w 321679"/>
              <a:gd name="csY0" fmla="*/ 279507 h 279857"/>
              <a:gd name="csX1" fmla="*/ 19 w 321679"/>
              <a:gd name="csY1" fmla="*/ 276629 h 279857"/>
              <a:gd name="csX2" fmla="*/ 61 w 321679"/>
              <a:gd name="csY2" fmla="*/ 231376 h 279857"/>
              <a:gd name="csX3" fmla="*/ 925 w 321679"/>
              <a:gd name="csY3" fmla="*/ 219150 h 279857"/>
              <a:gd name="csX4" fmla="*/ 8286 w 321679"/>
              <a:gd name="csY4" fmla="*/ 86910 h 279857"/>
              <a:gd name="csX5" fmla="*/ 11586 w 321679"/>
              <a:gd name="csY5" fmla="*/ 21981 h 279857"/>
              <a:gd name="csX6" fmla="*/ 26655 w 321679"/>
              <a:gd name="csY6" fmla="*/ 7635 h 279857"/>
              <a:gd name="csX7" fmla="*/ 67169 w 321679"/>
              <a:gd name="csY7" fmla="*/ 7178 h 279857"/>
              <a:gd name="csX8" fmla="*/ 201872 w 321679"/>
              <a:gd name="csY8" fmla="*/ 121 h 279857"/>
              <a:gd name="csX9" fmla="*/ 217558 w 321679"/>
              <a:gd name="csY9" fmla="*/ 87 h 279857"/>
              <a:gd name="csX10" fmla="*/ 214854 w 321679"/>
              <a:gd name="csY10" fmla="*/ 22019 h 279857"/>
              <a:gd name="csX11" fmla="*/ 235301 w 321679"/>
              <a:gd name="csY11" fmla="*/ 104861 h 279857"/>
              <a:gd name="csX12" fmla="*/ 269832 w 321679"/>
              <a:gd name="csY12" fmla="*/ 144587 h 279857"/>
              <a:gd name="csX13" fmla="*/ 299912 w 321679"/>
              <a:gd name="csY13" fmla="*/ 176874 h 279857"/>
              <a:gd name="csX14" fmla="*/ 320491 w 321679"/>
              <a:gd name="csY14" fmla="*/ 256903 h 279857"/>
              <a:gd name="csX15" fmla="*/ 255607 w 321679"/>
              <a:gd name="csY15" fmla="*/ 264918 h 279857"/>
              <a:gd name="csX16" fmla="*/ 172672 w 321679"/>
              <a:gd name="csY16" fmla="*/ 273435 h 279857"/>
              <a:gd name="csX17" fmla="*/ 133595 w 321679"/>
              <a:gd name="csY17" fmla="*/ 276823 h 279857"/>
              <a:gd name="csX18" fmla="*/ 84645 w 321679"/>
              <a:gd name="csY18" fmla="*/ 279507 h 27985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</a:cxnLst>
            <a:rect l="l" t="t" r="r" b="b"/>
            <a:pathLst>
              <a:path w="321679" h="279857">
                <a:moveTo>
                  <a:pt x="84645" y="279507"/>
                </a:moveTo>
                <a:cubicBezTo>
                  <a:pt x="55716" y="279830"/>
                  <a:pt x="27945" y="280875"/>
                  <a:pt x="19" y="276629"/>
                </a:cubicBezTo>
                <a:cubicBezTo>
                  <a:pt x="19" y="261343"/>
                  <a:pt x="-45" y="246359"/>
                  <a:pt x="61" y="231376"/>
                </a:cubicBezTo>
                <a:cubicBezTo>
                  <a:pt x="90" y="227299"/>
                  <a:pt x="696" y="223229"/>
                  <a:pt x="925" y="219150"/>
                </a:cubicBezTo>
                <a:cubicBezTo>
                  <a:pt x="3396" y="175071"/>
                  <a:pt x="5876" y="130992"/>
                  <a:pt x="8286" y="86910"/>
                </a:cubicBezTo>
                <a:cubicBezTo>
                  <a:pt x="9469" y="65271"/>
                  <a:pt x="10613" y="43630"/>
                  <a:pt x="11586" y="21981"/>
                </a:cubicBezTo>
                <a:cubicBezTo>
                  <a:pt x="12199" y="8328"/>
                  <a:pt x="12576" y="7792"/>
                  <a:pt x="26655" y="7635"/>
                </a:cubicBezTo>
                <a:cubicBezTo>
                  <a:pt x="40161" y="7484"/>
                  <a:pt x="53689" y="7831"/>
                  <a:pt x="67169" y="7178"/>
                </a:cubicBezTo>
                <a:cubicBezTo>
                  <a:pt x="112079" y="5004"/>
                  <a:pt x="156970" y="2455"/>
                  <a:pt x="201872" y="121"/>
                </a:cubicBezTo>
                <a:cubicBezTo>
                  <a:pt x="206690" y="-130"/>
                  <a:pt x="211533" y="87"/>
                  <a:pt x="217558" y="87"/>
                </a:cubicBezTo>
                <a:cubicBezTo>
                  <a:pt x="216603" y="7811"/>
                  <a:pt x="215688" y="14910"/>
                  <a:pt x="214854" y="22019"/>
                </a:cubicBezTo>
                <a:cubicBezTo>
                  <a:pt x="211318" y="52185"/>
                  <a:pt x="219749" y="79345"/>
                  <a:pt x="235301" y="104861"/>
                </a:cubicBezTo>
                <a:cubicBezTo>
                  <a:pt x="244591" y="120102"/>
                  <a:pt x="257536" y="132012"/>
                  <a:pt x="269832" y="144587"/>
                </a:cubicBezTo>
                <a:cubicBezTo>
                  <a:pt x="280116" y="155103"/>
                  <a:pt x="290551" y="165559"/>
                  <a:pt x="299912" y="176874"/>
                </a:cubicBezTo>
                <a:cubicBezTo>
                  <a:pt x="319006" y="199953"/>
                  <a:pt x="324386" y="226827"/>
                  <a:pt x="320491" y="256903"/>
                </a:cubicBezTo>
                <a:cubicBezTo>
                  <a:pt x="298421" y="259649"/>
                  <a:pt x="277043" y="262541"/>
                  <a:pt x="255607" y="264918"/>
                </a:cubicBezTo>
                <a:cubicBezTo>
                  <a:pt x="227987" y="267981"/>
                  <a:pt x="200327" y="270692"/>
                  <a:pt x="172672" y="273435"/>
                </a:cubicBezTo>
                <a:cubicBezTo>
                  <a:pt x="159662" y="274725"/>
                  <a:pt x="146637" y="275935"/>
                  <a:pt x="133595" y="276823"/>
                </a:cubicBezTo>
                <a:cubicBezTo>
                  <a:pt x="117688" y="277907"/>
                  <a:pt x="101755" y="278616"/>
                  <a:pt x="84645" y="279507"/>
                </a:cubicBezTo>
                <a:close/>
              </a:path>
            </a:pathLst>
          </a:custGeom>
          <a:solidFill>
            <a:srgbClr val="FDFEFE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7" name="Free-form: Shape 26">
            <a:extLst>
              <a:ext uri="{FF2B5EF4-FFF2-40B4-BE49-F238E27FC236}">
                <a16:creationId xmlns:a16="http://schemas.microsoft.com/office/drawing/2014/main" id="{273FA640-DE0C-18B1-5F71-DB4FCEE1A39F}"/>
              </a:ext>
            </a:extLst>
          </p:cNvPr>
          <p:cNvSpPr/>
          <p:nvPr/>
        </p:nvSpPr>
        <p:spPr>
          <a:xfrm>
            <a:off x="8946563" y="5068944"/>
            <a:ext cx="284373" cy="65313"/>
          </a:xfrm>
          <a:custGeom>
            <a:avLst/>
            <a:gdLst>
              <a:gd name="csX0" fmla="*/ 270798 w 342106"/>
              <a:gd name="csY0" fmla="*/ 65953 h 78573"/>
              <a:gd name="csX1" fmla="*/ 183290 w 342106"/>
              <a:gd name="csY1" fmla="*/ 76017 h 78573"/>
              <a:gd name="csX2" fmla="*/ 72897 w 342106"/>
              <a:gd name="csY2" fmla="*/ 78565 h 78573"/>
              <a:gd name="csX3" fmla="*/ 5450 w 342106"/>
              <a:gd name="csY3" fmla="*/ 76564 h 78573"/>
              <a:gd name="csX4" fmla="*/ 0 w 342106"/>
              <a:gd name="csY4" fmla="*/ 75649 h 78573"/>
              <a:gd name="csX5" fmla="*/ 0 w 342106"/>
              <a:gd name="csY5" fmla="*/ 21324 h 78573"/>
              <a:gd name="csX6" fmla="*/ 8504 w 342106"/>
              <a:gd name="csY6" fmla="*/ 20688 h 78573"/>
              <a:gd name="csX7" fmla="*/ 98126 w 342106"/>
              <a:gd name="csY7" fmla="*/ 19655 h 78573"/>
              <a:gd name="csX8" fmla="*/ 221639 w 342106"/>
              <a:gd name="csY8" fmla="*/ 10929 h 78573"/>
              <a:gd name="csX9" fmla="*/ 304285 w 342106"/>
              <a:gd name="csY9" fmla="*/ 683 h 78573"/>
              <a:gd name="csX10" fmla="*/ 309173 w 342106"/>
              <a:gd name="csY10" fmla="*/ 212 h 78573"/>
              <a:gd name="csX11" fmla="*/ 335187 w 342106"/>
              <a:gd name="csY11" fmla="*/ 18545 h 78573"/>
              <a:gd name="csX12" fmla="*/ 342106 w 342106"/>
              <a:gd name="csY12" fmla="*/ 53602 h 78573"/>
              <a:gd name="csX13" fmla="*/ 270798 w 342106"/>
              <a:gd name="csY13" fmla="*/ 65953 h 7857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</a:cxnLst>
            <a:rect l="l" t="t" r="r" b="b"/>
            <a:pathLst>
              <a:path w="342106" h="78573">
                <a:moveTo>
                  <a:pt x="270798" y="65953"/>
                </a:moveTo>
                <a:cubicBezTo>
                  <a:pt x="240931" y="69594"/>
                  <a:pt x="212199" y="74306"/>
                  <a:pt x="183290" y="76017"/>
                </a:cubicBezTo>
                <a:cubicBezTo>
                  <a:pt x="146568" y="78191"/>
                  <a:pt x="109704" y="78349"/>
                  <a:pt x="72897" y="78565"/>
                </a:cubicBezTo>
                <a:cubicBezTo>
                  <a:pt x="50419" y="78697"/>
                  <a:pt x="27931" y="77315"/>
                  <a:pt x="5450" y="76564"/>
                </a:cubicBezTo>
                <a:cubicBezTo>
                  <a:pt x="3884" y="76512"/>
                  <a:pt x="2332" y="76053"/>
                  <a:pt x="0" y="75649"/>
                </a:cubicBezTo>
                <a:cubicBezTo>
                  <a:pt x="0" y="57619"/>
                  <a:pt x="0" y="39863"/>
                  <a:pt x="0" y="21324"/>
                </a:cubicBezTo>
                <a:cubicBezTo>
                  <a:pt x="3058" y="21086"/>
                  <a:pt x="5779" y="20715"/>
                  <a:pt x="8504" y="20688"/>
                </a:cubicBezTo>
                <a:cubicBezTo>
                  <a:pt x="38382" y="20390"/>
                  <a:pt x="68305" y="21101"/>
                  <a:pt x="98126" y="19655"/>
                </a:cubicBezTo>
                <a:cubicBezTo>
                  <a:pt x="139343" y="17657"/>
                  <a:pt x="180532" y="14597"/>
                  <a:pt x="221639" y="10929"/>
                </a:cubicBezTo>
                <a:cubicBezTo>
                  <a:pt x="249272" y="8463"/>
                  <a:pt x="276741" y="4156"/>
                  <a:pt x="304285" y="683"/>
                </a:cubicBezTo>
                <a:cubicBezTo>
                  <a:pt x="305908" y="478"/>
                  <a:pt x="307539" y="312"/>
                  <a:pt x="309173" y="212"/>
                </a:cubicBezTo>
                <a:cubicBezTo>
                  <a:pt x="326863" y="-867"/>
                  <a:pt x="330972" y="1719"/>
                  <a:pt x="335187" y="18545"/>
                </a:cubicBezTo>
                <a:cubicBezTo>
                  <a:pt x="337939" y="29526"/>
                  <a:pt x="339618" y="40777"/>
                  <a:pt x="342106" y="53602"/>
                </a:cubicBezTo>
                <a:cubicBezTo>
                  <a:pt x="317523" y="57833"/>
                  <a:pt x="294689" y="61762"/>
                  <a:pt x="270798" y="65953"/>
                </a:cubicBezTo>
                <a:close/>
              </a:path>
            </a:pathLst>
          </a:custGeom>
          <a:solidFill>
            <a:srgbClr val="FCFCFC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" name="Free-form: Shape 27">
            <a:extLst>
              <a:ext uri="{FF2B5EF4-FFF2-40B4-BE49-F238E27FC236}">
                <a16:creationId xmlns:a16="http://schemas.microsoft.com/office/drawing/2014/main" id="{547A4991-3310-1009-14D1-E6D524FB6811}"/>
              </a:ext>
            </a:extLst>
          </p:cNvPr>
          <p:cNvSpPr/>
          <p:nvPr/>
        </p:nvSpPr>
        <p:spPr>
          <a:xfrm>
            <a:off x="9014282" y="4111088"/>
            <a:ext cx="72517" cy="55415"/>
          </a:xfrm>
          <a:custGeom>
            <a:avLst/>
            <a:gdLst>
              <a:gd name="csX0" fmla="*/ 9010 w 87239"/>
              <a:gd name="csY0" fmla="*/ 29316 h 66665"/>
              <a:gd name="csX1" fmla="*/ 6110 w 87239"/>
              <a:gd name="csY1" fmla="*/ 15162 h 66665"/>
              <a:gd name="csX2" fmla="*/ 0 w 87239"/>
              <a:gd name="csY2" fmla="*/ 3003 h 66665"/>
              <a:gd name="csX3" fmla="*/ 10641 w 87239"/>
              <a:gd name="csY3" fmla="*/ 697 h 66665"/>
              <a:gd name="csX4" fmla="*/ 42824 w 87239"/>
              <a:gd name="csY4" fmla="*/ 7981 h 66665"/>
              <a:gd name="csX5" fmla="*/ 73433 w 87239"/>
              <a:gd name="csY5" fmla="*/ 31631 h 66665"/>
              <a:gd name="csX6" fmla="*/ 86236 w 87239"/>
              <a:gd name="csY6" fmla="*/ 56519 h 66665"/>
              <a:gd name="csX7" fmla="*/ 82327 w 87239"/>
              <a:gd name="csY7" fmla="*/ 64249 h 66665"/>
              <a:gd name="csX8" fmla="*/ 49439 w 87239"/>
              <a:gd name="csY8" fmla="*/ 66665 h 66665"/>
              <a:gd name="csX9" fmla="*/ 11457 w 87239"/>
              <a:gd name="csY9" fmla="*/ 38560 h 66665"/>
              <a:gd name="csX10" fmla="*/ 9010 w 87239"/>
              <a:gd name="csY10" fmla="*/ 29316 h 6666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</a:cxnLst>
            <a:rect l="l" t="t" r="r" b="b"/>
            <a:pathLst>
              <a:path w="87239" h="66665">
                <a:moveTo>
                  <a:pt x="9010" y="29316"/>
                </a:moveTo>
                <a:cubicBezTo>
                  <a:pt x="7998" y="23924"/>
                  <a:pt x="7568" y="19365"/>
                  <a:pt x="6110" y="15162"/>
                </a:cubicBezTo>
                <a:cubicBezTo>
                  <a:pt x="4682" y="11044"/>
                  <a:pt x="2207" y="7289"/>
                  <a:pt x="0" y="3003"/>
                </a:cubicBezTo>
                <a:cubicBezTo>
                  <a:pt x="2648" y="-833"/>
                  <a:pt x="6580" y="-238"/>
                  <a:pt x="10641" y="697"/>
                </a:cubicBezTo>
                <a:cubicBezTo>
                  <a:pt x="21360" y="3163"/>
                  <a:pt x="32042" y="5825"/>
                  <a:pt x="42824" y="7981"/>
                </a:cubicBezTo>
                <a:cubicBezTo>
                  <a:pt x="57032" y="10823"/>
                  <a:pt x="67419" y="18068"/>
                  <a:pt x="73433" y="31631"/>
                </a:cubicBezTo>
                <a:cubicBezTo>
                  <a:pt x="77208" y="40146"/>
                  <a:pt x="81954" y="48228"/>
                  <a:pt x="86236" y="56519"/>
                </a:cubicBezTo>
                <a:cubicBezTo>
                  <a:pt x="88409" y="60728"/>
                  <a:pt x="87030" y="63806"/>
                  <a:pt x="82327" y="64249"/>
                </a:cubicBezTo>
                <a:cubicBezTo>
                  <a:pt x="71381" y="65282"/>
                  <a:pt x="60402" y="66689"/>
                  <a:pt x="49439" y="66665"/>
                </a:cubicBezTo>
                <a:cubicBezTo>
                  <a:pt x="28683" y="66620"/>
                  <a:pt x="18142" y="58428"/>
                  <a:pt x="11457" y="38560"/>
                </a:cubicBezTo>
                <a:cubicBezTo>
                  <a:pt x="10547" y="35855"/>
                  <a:pt x="9906" y="33058"/>
                  <a:pt x="9010" y="29316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90E39C75-FD1E-C1D4-8608-8D72B79FC302}"/>
              </a:ext>
            </a:extLst>
          </p:cNvPr>
          <p:cNvSpPr txBox="1"/>
          <p:nvPr/>
        </p:nvSpPr>
        <p:spPr>
          <a:xfrm>
            <a:off x="8220124" y="5349060"/>
            <a:ext cx="1438002" cy="3927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Loncastuximab </a:t>
            </a:r>
            <a:b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esirine</a:t>
            </a: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A40A5495-B9F8-BAF2-FB94-59961618385D}"/>
              </a:ext>
            </a:extLst>
          </p:cNvPr>
          <p:cNvSpPr/>
          <p:nvPr/>
        </p:nvSpPr>
        <p:spPr>
          <a:xfrm>
            <a:off x="6786103" y="5190988"/>
            <a:ext cx="717698" cy="104135"/>
          </a:xfrm>
          <a:prstGeom prst="ellipse">
            <a:avLst/>
          </a:prstGeom>
          <a:solidFill>
            <a:schemeClr val="tx1">
              <a:alpha val="6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1" name="Free-form: Shape 30">
            <a:extLst>
              <a:ext uri="{FF2B5EF4-FFF2-40B4-BE49-F238E27FC236}">
                <a16:creationId xmlns:a16="http://schemas.microsoft.com/office/drawing/2014/main" id="{969F79A1-F5E7-8826-85B2-07CE3A172886}"/>
              </a:ext>
            </a:extLst>
          </p:cNvPr>
          <p:cNvSpPr/>
          <p:nvPr/>
        </p:nvSpPr>
        <p:spPr>
          <a:xfrm>
            <a:off x="6881147" y="3997104"/>
            <a:ext cx="634942" cy="1266262"/>
          </a:xfrm>
          <a:custGeom>
            <a:avLst/>
            <a:gdLst>
              <a:gd name="csX0" fmla="*/ 703087 w 763849"/>
              <a:gd name="csY0" fmla="*/ 1241174 h 1523340"/>
              <a:gd name="csX1" fmla="*/ 732932 w 763849"/>
              <a:gd name="csY1" fmla="*/ 1359634 h 1523340"/>
              <a:gd name="csX2" fmla="*/ 735544 w 763849"/>
              <a:gd name="csY2" fmla="*/ 1377287 h 1523340"/>
              <a:gd name="csX3" fmla="*/ 756764 w 763849"/>
              <a:gd name="csY3" fmla="*/ 1458577 h 1523340"/>
              <a:gd name="csX4" fmla="*/ 757108 w 763849"/>
              <a:gd name="csY4" fmla="*/ 1465940 h 1523340"/>
              <a:gd name="csX5" fmla="*/ 744215 w 763849"/>
              <a:gd name="csY5" fmla="*/ 1488332 h 1523340"/>
              <a:gd name="csX6" fmla="*/ 712781 w 763849"/>
              <a:gd name="csY6" fmla="*/ 1498472 h 1523340"/>
              <a:gd name="csX7" fmla="*/ 625540 w 763849"/>
              <a:gd name="csY7" fmla="*/ 1511981 h 1523340"/>
              <a:gd name="csX8" fmla="*/ 488540 w 763849"/>
              <a:gd name="csY8" fmla="*/ 1522029 h 1523340"/>
              <a:gd name="csX9" fmla="*/ 306789 w 763849"/>
              <a:gd name="csY9" fmla="*/ 1523231 h 1523340"/>
              <a:gd name="csX10" fmla="*/ 200103 w 763849"/>
              <a:gd name="csY10" fmla="*/ 1518579 h 1523340"/>
              <a:gd name="csX11" fmla="*/ 31607 w 763849"/>
              <a:gd name="csY11" fmla="*/ 1493880 h 1523340"/>
              <a:gd name="csX12" fmla="*/ 5860 w 763849"/>
              <a:gd name="csY12" fmla="*/ 1482933 h 1523340"/>
              <a:gd name="csX13" fmla="*/ 32 w 763849"/>
              <a:gd name="csY13" fmla="*/ 1471774 h 1523340"/>
              <a:gd name="csX14" fmla="*/ 21295 w 763849"/>
              <a:gd name="csY14" fmla="*/ 1378237 h 1523340"/>
              <a:gd name="csX15" fmla="*/ 23169 w 763849"/>
              <a:gd name="csY15" fmla="*/ 1364271 h 1523340"/>
              <a:gd name="csX16" fmla="*/ 23871 w 763849"/>
              <a:gd name="csY16" fmla="*/ 1303132 h 1523340"/>
              <a:gd name="csX17" fmla="*/ 59740 w 763849"/>
              <a:gd name="csY17" fmla="*/ 1234649 h 1523340"/>
              <a:gd name="csX18" fmla="*/ 98899 w 763849"/>
              <a:gd name="csY18" fmla="*/ 1195619 h 1523340"/>
              <a:gd name="csX19" fmla="*/ 131493 w 763849"/>
              <a:gd name="csY19" fmla="*/ 1127593 h 1523340"/>
              <a:gd name="csX20" fmla="*/ 108213 w 763849"/>
              <a:gd name="csY20" fmla="*/ 1058723 h 1523340"/>
              <a:gd name="csX21" fmla="*/ 74370 w 763849"/>
              <a:gd name="csY21" fmla="*/ 1024929 h 1523340"/>
              <a:gd name="csX22" fmla="*/ 68137 w 763849"/>
              <a:gd name="csY22" fmla="*/ 987550 h 1523340"/>
              <a:gd name="csX23" fmla="*/ 86420 w 763849"/>
              <a:gd name="csY23" fmla="*/ 941991 h 1523340"/>
              <a:gd name="csX24" fmla="*/ 97082 w 763849"/>
              <a:gd name="csY24" fmla="*/ 828037 h 1523340"/>
              <a:gd name="csX25" fmla="*/ 61782 w 763849"/>
              <a:gd name="csY25" fmla="*/ 696973 h 1523340"/>
              <a:gd name="csX26" fmla="*/ 26901 w 763849"/>
              <a:gd name="csY26" fmla="*/ 547868 h 1523340"/>
              <a:gd name="csX27" fmla="*/ 20221 w 763849"/>
              <a:gd name="csY27" fmla="*/ 479529 h 1523340"/>
              <a:gd name="csX28" fmla="*/ 40808 w 763849"/>
              <a:gd name="csY28" fmla="*/ 334388 h 1523340"/>
              <a:gd name="csX29" fmla="*/ 65171 w 763849"/>
              <a:gd name="csY29" fmla="*/ 263707 h 1523340"/>
              <a:gd name="csX30" fmla="*/ 142827 w 763849"/>
              <a:gd name="csY30" fmla="*/ 171003 h 1523340"/>
              <a:gd name="csX31" fmla="*/ 172290 w 763849"/>
              <a:gd name="csY31" fmla="*/ 155872 h 1523340"/>
              <a:gd name="csX32" fmla="*/ 189008 w 763849"/>
              <a:gd name="csY32" fmla="*/ 148158 h 1523340"/>
              <a:gd name="csX33" fmla="*/ 212828 w 763849"/>
              <a:gd name="csY33" fmla="*/ 126123 h 1523340"/>
              <a:gd name="csX34" fmla="*/ 217217 w 763849"/>
              <a:gd name="csY34" fmla="*/ 118740 h 1523340"/>
              <a:gd name="csX35" fmla="*/ 253000 w 763849"/>
              <a:gd name="csY35" fmla="*/ 88998 h 1523340"/>
              <a:gd name="csX36" fmla="*/ 322085 w 763849"/>
              <a:gd name="csY36" fmla="*/ 72193 h 1523340"/>
              <a:gd name="csX37" fmla="*/ 330478 w 763849"/>
              <a:gd name="csY37" fmla="*/ 70387 h 1523340"/>
              <a:gd name="csX38" fmla="*/ 388016 w 763849"/>
              <a:gd name="csY38" fmla="*/ 35457 h 1523340"/>
              <a:gd name="csX39" fmla="*/ 421527 w 763849"/>
              <a:gd name="csY39" fmla="*/ 0 h 1523340"/>
              <a:gd name="csX40" fmla="*/ 424538 w 763849"/>
              <a:gd name="csY40" fmla="*/ 10833 h 1523340"/>
              <a:gd name="csX41" fmla="*/ 436339 w 763849"/>
              <a:gd name="csY41" fmla="*/ 121836 h 1523340"/>
              <a:gd name="csX42" fmla="*/ 449983 w 763849"/>
              <a:gd name="csY42" fmla="*/ 141450 h 1523340"/>
              <a:gd name="csX43" fmla="*/ 503299 w 763849"/>
              <a:gd name="csY43" fmla="*/ 169290 h 1523340"/>
              <a:gd name="csX44" fmla="*/ 551461 w 763849"/>
              <a:gd name="csY44" fmla="*/ 203111 h 1523340"/>
              <a:gd name="csX45" fmla="*/ 588803 w 763849"/>
              <a:gd name="csY45" fmla="*/ 252797 h 1523340"/>
              <a:gd name="csX46" fmla="*/ 634209 w 763849"/>
              <a:gd name="csY46" fmla="*/ 327081 h 1523340"/>
              <a:gd name="csX47" fmla="*/ 697923 w 763849"/>
              <a:gd name="csY47" fmla="*/ 384157 h 1523340"/>
              <a:gd name="csX48" fmla="*/ 729658 w 763849"/>
              <a:gd name="csY48" fmla="*/ 407288 h 1523340"/>
              <a:gd name="csX49" fmla="*/ 763354 w 763849"/>
              <a:gd name="csY49" fmla="*/ 471325 h 1523340"/>
              <a:gd name="csX50" fmla="*/ 757092 w 763849"/>
              <a:gd name="csY50" fmla="*/ 527116 h 1523340"/>
              <a:gd name="csX51" fmla="*/ 720673 w 763849"/>
              <a:gd name="csY51" fmla="*/ 570023 h 1523340"/>
              <a:gd name="csX52" fmla="*/ 704918 w 763849"/>
              <a:gd name="csY52" fmla="*/ 581294 h 1523340"/>
              <a:gd name="csX53" fmla="*/ 671960 w 763849"/>
              <a:gd name="csY53" fmla="*/ 595325 h 1523340"/>
              <a:gd name="csX54" fmla="*/ 633021 w 763849"/>
              <a:gd name="csY54" fmla="*/ 591397 h 1523340"/>
              <a:gd name="csX55" fmla="*/ 580696 w 763849"/>
              <a:gd name="csY55" fmla="*/ 556742 h 1523340"/>
              <a:gd name="csX56" fmla="*/ 545415 w 763849"/>
              <a:gd name="csY56" fmla="*/ 524617 h 1523340"/>
              <a:gd name="csX57" fmla="*/ 518889 w 763849"/>
              <a:gd name="csY57" fmla="*/ 516179 h 1523340"/>
              <a:gd name="csX58" fmla="*/ 472309 w 763849"/>
              <a:gd name="csY58" fmla="*/ 517812 h 1523340"/>
              <a:gd name="csX59" fmla="*/ 415953 w 763849"/>
              <a:gd name="csY59" fmla="*/ 517245 h 1523340"/>
              <a:gd name="csX60" fmla="*/ 403392 w 763849"/>
              <a:gd name="csY60" fmla="*/ 516539 h 1523340"/>
              <a:gd name="csX61" fmla="*/ 407957 w 763849"/>
              <a:gd name="csY61" fmla="*/ 542045 h 1523340"/>
              <a:gd name="csX62" fmla="*/ 434134 w 763849"/>
              <a:gd name="csY62" fmla="*/ 583349 h 1523340"/>
              <a:gd name="csX63" fmla="*/ 524267 w 763849"/>
              <a:gd name="csY63" fmla="*/ 683922 h 1523340"/>
              <a:gd name="csX64" fmla="*/ 614317 w 763849"/>
              <a:gd name="csY64" fmla="*/ 786085 h 1523340"/>
              <a:gd name="csX65" fmla="*/ 669590 w 763849"/>
              <a:gd name="csY65" fmla="*/ 921089 h 1523340"/>
              <a:gd name="csX66" fmla="*/ 647360 w 763849"/>
              <a:gd name="csY66" fmla="*/ 1057245 h 1523340"/>
              <a:gd name="csX67" fmla="*/ 627872 w 763849"/>
              <a:gd name="csY67" fmla="*/ 1102111 h 1523340"/>
              <a:gd name="csX68" fmla="*/ 642300 w 763849"/>
              <a:gd name="csY68" fmla="*/ 1175941 h 1523340"/>
              <a:gd name="csX69" fmla="*/ 668829 w 763849"/>
              <a:gd name="csY69" fmla="*/ 1206449 h 1523340"/>
              <a:gd name="csX70" fmla="*/ 703087 w 763849"/>
              <a:gd name="csY70" fmla="*/ 1241174 h 1523340"/>
              <a:gd name="csX71" fmla="*/ 648750 w 763849"/>
              <a:gd name="csY71" fmla="*/ 562343 h 1523340"/>
              <a:gd name="csX72" fmla="*/ 674049 w 763849"/>
              <a:gd name="csY72" fmla="*/ 562834 h 1523340"/>
              <a:gd name="csX73" fmla="*/ 660781 w 763849"/>
              <a:gd name="csY73" fmla="*/ 550178 h 1523340"/>
              <a:gd name="csX74" fmla="*/ 650911 w 763849"/>
              <a:gd name="csY74" fmla="*/ 534051 h 1523340"/>
              <a:gd name="csX75" fmla="*/ 660724 w 763849"/>
              <a:gd name="csY75" fmla="*/ 537605 h 1523340"/>
              <a:gd name="csX76" fmla="*/ 688133 w 763849"/>
              <a:gd name="csY76" fmla="*/ 543363 h 1523340"/>
              <a:gd name="csX77" fmla="*/ 731514 w 763849"/>
              <a:gd name="csY77" fmla="*/ 510767 h 1523340"/>
              <a:gd name="csX78" fmla="*/ 733611 w 763849"/>
              <a:gd name="csY78" fmla="*/ 466905 h 1523340"/>
              <a:gd name="csX79" fmla="*/ 708076 w 763849"/>
              <a:gd name="csY79" fmla="*/ 425975 h 1523340"/>
              <a:gd name="csX80" fmla="*/ 667538 w 763849"/>
              <a:gd name="csY80" fmla="*/ 398254 h 1523340"/>
              <a:gd name="csX81" fmla="*/ 601016 w 763849"/>
              <a:gd name="csY81" fmla="*/ 332127 h 1523340"/>
              <a:gd name="csX82" fmla="*/ 565354 w 763849"/>
              <a:gd name="csY82" fmla="*/ 270526 h 1523340"/>
              <a:gd name="csX83" fmla="*/ 490657 w 763849"/>
              <a:gd name="csY83" fmla="*/ 195121 h 1523340"/>
              <a:gd name="csX84" fmla="*/ 432834 w 763849"/>
              <a:gd name="csY84" fmla="*/ 165243 h 1523340"/>
              <a:gd name="csX85" fmla="*/ 407594 w 763849"/>
              <a:gd name="csY85" fmla="*/ 127852 h 1523340"/>
              <a:gd name="csX86" fmla="*/ 405020 w 763849"/>
              <a:gd name="csY86" fmla="*/ 69029 h 1523340"/>
              <a:gd name="csX87" fmla="*/ 403638 w 763849"/>
              <a:gd name="csY87" fmla="*/ 58130 h 1523340"/>
              <a:gd name="csX88" fmla="*/ 349776 w 763849"/>
              <a:gd name="csY88" fmla="*/ 133259 h 1523340"/>
              <a:gd name="csX89" fmla="*/ 326975 w 763849"/>
              <a:gd name="csY89" fmla="*/ 159669 h 1523340"/>
              <a:gd name="csX90" fmla="*/ 240374 w 763849"/>
              <a:gd name="csY90" fmla="*/ 221714 h 1523340"/>
              <a:gd name="csX91" fmla="*/ 171637 w 763849"/>
              <a:gd name="csY91" fmla="*/ 309087 h 1523340"/>
              <a:gd name="csX92" fmla="*/ 138048 w 763849"/>
              <a:gd name="csY92" fmla="*/ 516954 h 1523340"/>
              <a:gd name="csX93" fmla="*/ 163889 w 763849"/>
              <a:gd name="csY93" fmla="*/ 641780 h 1523340"/>
              <a:gd name="csX94" fmla="*/ 204800 w 763849"/>
              <a:gd name="csY94" fmla="*/ 787055 h 1523340"/>
              <a:gd name="csX95" fmla="*/ 218549 w 763849"/>
              <a:gd name="csY95" fmla="*/ 949545 h 1523340"/>
              <a:gd name="csX96" fmla="*/ 191487 w 763849"/>
              <a:gd name="csY96" fmla="*/ 1033064 h 1523340"/>
              <a:gd name="csX97" fmla="*/ 188729 w 763849"/>
              <a:gd name="csY97" fmla="*/ 1039835 h 1523340"/>
              <a:gd name="csX98" fmla="*/ 221417 w 763849"/>
              <a:gd name="csY98" fmla="*/ 1040799 h 1523340"/>
              <a:gd name="csX99" fmla="*/ 348895 w 763849"/>
              <a:gd name="csY99" fmla="*/ 1046759 h 1523340"/>
              <a:gd name="csX100" fmla="*/ 545369 w 763849"/>
              <a:gd name="csY100" fmla="*/ 1044456 h 1523340"/>
              <a:gd name="csX101" fmla="*/ 612424 w 763849"/>
              <a:gd name="csY101" fmla="*/ 1037365 h 1523340"/>
              <a:gd name="csX102" fmla="*/ 623169 w 763849"/>
              <a:gd name="csY102" fmla="*/ 1028873 h 1523340"/>
              <a:gd name="csX103" fmla="*/ 638508 w 763849"/>
              <a:gd name="csY103" fmla="*/ 959599 h 1523340"/>
              <a:gd name="csX104" fmla="*/ 609213 w 763849"/>
              <a:gd name="csY104" fmla="*/ 842075 h 1523340"/>
              <a:gd name="csX105" fmla="*/ 529367 w 763849"/>
              <a:gd name="csY105" fmla="*/ 735065 h 1523340"/>
              <a:gd name="csX106" fmla="*/ 403792 w 763849"/>
              <a:gd name="csY106" fmla="*/ 596993 h 1523340"/>
              <a:gd name="csX107" fmla="*/ 344708 w 763849"/>
              <a:gd name="csY107" fmla="*/ 511366 h 1523340"/>
              <a:gd name="csX108" fmla="*/ 324464 w 763849"/>
              <a:gd name="csY108" fmla="*/ 380084 h 1523340"/>
              <a:gd name="csX109" fmla="*/ 327688 w 763849"/>
              <a:gd name="csY109" fmla="*/ 373535 h 1523340"/>
              <a:gd name="csX110" fmla="*/ 330334 w 763849"/>
              <a:gd name="csY110" fmla="*/ 373641 h 1523340"/>
              <a:gd name="csX111" fmla="*/ 334272 w 763849"/>
              <a:gd name="csY111" fmla="*/ 384645 h 1523340"/>
              <a:gd name="csX112" fmla="*/ 365260 w 763849"/>
              <a:gd name="csY112" fmla="*/ 453955 h 1523340"/>
              <a:gd name="csX113" fmla="*/ 408246 w 763849"/>
              <a:gd name="csY113" fmla="*/ 483592 h 1523340"/>
              <a:gd name="csX114" fmla="*/ 464529 w 763849"/>
              <a:gd name="csY114" fmla="*/ 486187 h 1523340"/>
              <a:gd name="csX115" fmla="*/ 511119 w 763849"/>
              <a:gd name="csY115" fmla="*/ 484308 h 1523340"/>
              <a:gd name="csX116" fmla="*/ 567913 w 763849"/>
              <a:gd name="csY116" fmla="*/ 503736 h 1523340"/>
              <a:gd name="csX117" fmla="*/ 607611 w 763849"/>
              <a:gd name="csY117" fmla="*/ 540326 h 1523340"/>
              <a:gd name="csX118" fmla="*/ 648750 w 763849"/>
              <a:gd name="csY118" fmla="*/ 562343 h 1523340"/>
              <a:gd name="csX119" fmla="*/ 462594 w 763849"/>
              <a:gd name="csY119" fmla="*/ 1369008 h 1523340"/>
              <a:gd name="csX120" fmla="*/ 510357 w 763849"/>
              <a:gd name="csY120" fmla="*/ 1366345 h 1523340"/>
              <a:gd name="csX121" fmla="*/ 549434 w 763849"/>
              <a:gd name="csY121" fmla="*/ 1362956 h 1523340"/>
              <a:gd name="csX122" fmla="*/ 632369 w 763849"/>
              <a:gd name="csY122" fmla="*/ 1354439 h 1523340"/>
              <a:gd name="csX123" fmla="*/ 697252 w 763849"/>
              <a:gd name="csY123" fmla="*/ 1346424 h 1523340"/>
              <a:gd name="csX124" fmla="*/ 676674 w 763849"/>
              <a:gd name="csY124" fmla="*/ 1266396 h 1523340"/>
              <a:gd name="csX125" fmla="*/ 646594 w 763849"/>
              <a:gd name="csY125" fmla="*/ 1234108 h 1523340"/>
              <a:gd name="csX126" fmla="*/ 612063 w 763849"/>
              <a:gd name="csY126" fmla="*/ 1194382 h 1523340"/>
              <a:gd name="csX127" fmla="*/ 591616 w 763849"/>
              <a:gd name="csY127" fmla="*/ 1111541 h 1523340"/>
              <a:gd name="csX128" fmla="*/ 594320 w 763849"/>
              <a:gd name="csY128" fmla="*/ 1089609 h 1523340"/>
              <a:gd name="csX129" fmla="*/ 578634 w 763849"/>
              <a:gd name="csY129" fmla="*/ 1089642 h 1523340"/>
              <a:gd name="csX130" fmla="*/ 443931 w 763849"/>
              <a:gd name="csY130" fmla="*/ 1096700 h 1523340"/>
              <a:gd name="csX131" fmla="*/ 403417 w 763849"/>
              <a:gd name="csY131" fmla="*/ 1097156 h 1523340"/>
              <a:gd name="csX132" fmla="*/ 388348 w 763849"/>
              <a:gd name="csY132" fmla="*/ 1111502 h 1523340"/>
              <a:gd name="csX133" fmla="*/ 385048 w 763849"/>
              <a:gd name="csY133" fmla="*/ 1176431 h 1523340"/>
              <a:gd name="csX134" fmla="*/ 377687 w 763849"/>
              <a:gd name="csY134" fmla="*/ 1308672 h 1523340"/>
              <a:gd name="csX135" fmla="*/ 376823 w 763849"/>
              <a:gd name="csY135" fmla="*/ 1320897 h 1523340"/>
              <a:gd name="csX136" fmla="*/ 376781 w 763849"/>
              <a:gd name="csY136" fmla="*/ 1366151 h 1523340"/>
              <a:gd name="csX137" fmla="*/ 462594 w 763849"/>
              <a:gd name="csY137" fmla="*/ 1369008 h 1523340"/>
              <a:gd name="csX138" fmla="*/ 648494 w 763849"/>
              <a:gd name="csY138" fmla="*/ 1463981 h 1523340"/>
              <a:gd name="csX139" fmla="*/ 718746 w 763849"/>
              <a:gd name="csY139" fmla="*/ 1451892 h 1523340"/>
              <a:gd name="csX140" fmla="*/ 711827 w 763849"/>
              <a:gd name="csY140" fmla="*/ 1416835 h 1523340"/>
              <a:gd name="csX141" fmla="*/ 685812 w 763849"/>
              <a:gd name="csY141" fmla="*/ 1398502 h 1523340"/>
              <a:gd name="csX142" fmla="*/ 680924 w 763849"/>
              <a:gd name="csY142" fmla="*/ 1398973 h 1523340"/>
              <a:gd name="csX143" fmla="*/ 598278 w 763849"/>
              <a:gd name="csY143" fmla="*/ 1409218 h 1523340"/>
              <a:gd name="csX144" fmla="*/ 474765 w 763849"/>
              <a:gd name="csY144" fmla="*/ 1417945 h 1523340"/>
              <a:gd name="csX145" fmla="*/ 385143 w 763849"/>
              <a:gd name="csY145" fmla="*/ 1418978 h 1523340"/>
              <a:gd name="csX146" fmla="*/ 376639 w 763849"/>
              <a:gd name="csY146" fmla="*/ 1419613 h 1523340"/>
              <a:gd name="csX147" fmla="*/ 376639 w 763849"/>
              <a:gd name="csY147" fmla="*/ 1473939 h 1523340"/>
              <a:gd name="csX148" fmla="*/ 382089 w 763849"/>
              <a:gd name="csY148" fmla="*/ 1474854 h 1523340"/>
              <a:gd name="csX149" fmla="*/ 449536 w 763849"/>
              <a:gd name="csY149" fmla="*/ 1476855 h 1523340"/>
              <a:gd name="csX150" fmla="*/ 559930 w 763849"/>
              <a:gd name="csY150" fmla="*/ 1474307 h 1523340"/>
              <a:gd name="csX151" fmla="*/ 648494 w 763849"/>
              <a:gd name="csY151" fmla="*/ 1463981 h 152334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</a:cxnLst>
            <a:rect l="l" t="t" r="r" b="b"/>
            <a:pathLst>
              <a:path w="763849" h="1523340">
                <a:moveTo>
                  <a:pt x="703087" y="1241174"/>
                </a:moveTo>
                <a:cubicBezTo>
                  <a:pt x="732418" y="1276379"/>
                  <a:pt x="738825" y="1316526"/>
                  <a:pt x="732932" y="1359634"/>
                </a:cubicBezTo>
                <a:cubicBezTo>
                  <a:pt x="732067" y="1365959"/>
                  <a:pt x="732453" y="1371428"/>
                  <a:pt x="735544" y="1377287"/>
                </a:cubicBezTo>
                <a:cubicBezTo>
                  <a:pt x="748937" y="1402675"/>
                  <a:pt x="755318" y="1430010"/>
                  <a:pt x="756764" y="1458577"/>
                </a:cubicBezTo>
                <a:cubicBezTo>
                  <a:pt x="756887" y="1461031"/>
                  <a:pt x="756895" y="1463494"/>
                  <a:pt x="757108" y="1465940"/>
                </a:cubicBezTo>
                <a:cubicBezTo>
                  <a:pt x="758375" y="1480486"/>
                  <a:pt x="757802" y="1482498"/>
                  <a:pt x="744215" y="1488332"/>
                </a:cubicBezTo>
                <a:cubicBezTo>
                  <a:pt x="734126" y="1492664"/>
                  <a:pt x="723536" y="1496562"/>
                  <a:pt x="712781" y="1498472"/>
                </a:cubicBezTo>
                <a:cubicBezTo>
                  <a:pt x="683814" y="1503617"/>
                  <a:pt x="654674" y="1507832"/>
                  <a:pt x="625540" y="1511981"/>
                </a:cubicBezTo>
                <a:cubicBezTo>
                  <a:pt x="580114" y="1518449"/>
                  <a:pt x="534395" y="1521481"/>
                  <a:pt x="488540" y="1522029"/>
                </a:cubicBezTo>
                <a:cubicBezTo>
                  <a:pt x="427958" y="1522752"/>
                  <a:pt x="367367" y="1523658"/>
                  <a:pt x="306789" y="1523231"/>
                </a:cubicBezTo>
                <a:cubicBezTo>
                  <a:pt x="271215" y="1522980"/>
                  <a:pt x="235625" y="1520833"/>
                  <a:pt x="200103" y="1518579"/>
                </a:cubicBezTo>
                <a:cubicBezTo>
                  <a:pt x="143289" y="1514974"/>
                  <a:pt x="86915" y="1507766"/>
                  <a:pt x="31607" y="1493880"/>
                </a:cubicBezTo>
                <a:cubicBezTo>
                  <a:pt x="22666" y="1491635"/>
                  <a:pt x="14297" y="1486920"/>
                  <a:pt x="5860" y="1482933"/>
                </a:cubicBezTo>
                <a:cubicBezTo>
                  <a:pt x="1433" y="1480841"/>
                  <a:pt x="-262" y="1476934"/>
                  <a:pt x="32" y="1471774"/>
                </a:cubicBezTo>
                <a:cubicBezTo>
                  <a:pt x="1880" y="1439401"/>
                  <a:pt x="3993" y="1407192"/>
                  <a:pt x="21295" y="1378237"/>
                </a:cubicBezTo>
                <a:cubicBezTo>
                  <a:pt x="23526" y="1374504"/>
                  <a:pt x="23666" y="1368858"/>
                  <a:pt x="23169" y="1364271"/>
                </a:cubicBezTo>
                <a:cubicBezTo>
                  <a:pt x="20957" y="1343833"/>
                  <a:pt x="20482" y="1323540"/>
                  <a:pt x="23871" y="1303132"/>
                </a:cubicBezTo>
                <a:cubicBezTo>
                  <a:pt x="28332" y="1276267"/>
                  <a:pt x="41045" y="1253887"/>
                  <a:pt x="59740" y="1234649"/>
                </a:cubicBezTo>
                <a:cubicBezTo>
                  <a:pt x="72582" y="1221434"/>
                  <a:pt x="85657" y="1208434"/>
                  <a:pt x="98899" y="1195619"/>
                </a:cubicBezTo>
                <a:cubicBezTo>
                  <a:pt x="118216" y="1176926"/>
                  <a:pt x="130484" y="1154702"/>
                  <a:pt x="131493" y="1127593"/>
                </a:cubicBezTo>
                <a:cubicBezTo>
                  <a:pt x="132448" y="1101948"/>
                  <a:pt x="127125" y="1077868"/>
                  <a:pt x="108213" y="1058723"/>
                </a:cubicBezTo>
                <a:cubicBezTo>
                  <a:pt x="97010" y="1047381"/>
                  <a:pt x="85438" y="1036399"/>
                  <a:pt x="74370" y="1024929"/>
                </a:cubicBezTo>
                <a:cubicBezTo>
                  <a:pt x="63868" y="1014043"/>
                  <a:pt x="62267" y="1001475"/>
                  <a:pt x="68137" y="987550"/>
                </a:cubicBezTo>
                <a:cubicBezTo>
                  <a:pt x="74493" y="972473"/>
                  <a:pt x="80703" y="957319"/>
                  <a:pt x="86420" y="941991"/>
                </a:cubicBezTo>
                <a:cubicBezTo>
                  <a:pt x="100218" y="905001"/>
                  <a:pt x="99441" y="866690"/>
                  <a:pt x="97082" y="828037"/>
                </a:cubicBezTo>
                <a:cubicBezTo>
                  <a:pt x="94260" y="781809"/>
                  <a:pt x="76370" y="739899"/>
                  <a:pt x="61782" y="696973"/>
                </a:cubicBezTo>
                <a:cubicBezTo>
                  <a:pt x="45282" y="648419"/>
                  <a:pt x="33285" y="598770"/>
                  <a:pt x="26901" y="547868"/>
                </a:cubicBezTo>
                <a:cubicBezTo>
                  <a:pt x="24054" y="525160"/>
                  <a:pt x="21110" y="502364"/>
                  <a:pt x="20221" y="479529"/>
                </a:cubicBezTo>
                <a:cubicBezTo>
                  <a:pt x="18293" y="430013"/>
                  <a:pt x="26126" y="381610"/>
                  <a:pt x="40808" y="334388"/>
                </a:cubicBezTo>
                <a:cubicBezTo>
                  <a:pt x="48208" y="310588"/>
                  <a:pt x="55162" y="286441"/>
                  <a:pt x="65171" y="263707"/>
                </a:cubicBezTo>
                <a:cubicBezTo>
                  <a:pt x="81946" y="225606"/>
                  <a:pt x="106517" y="193071"/>
                  <a:pt x="142827" y="171003"/>
                </a:cubicBezTo>
                <a:cubicBezTo>
                  <a:pt x="152238" y="165283"/>
                  <a:pt x="162401" y="160787"/>
                  <a:pt x="172290" y="155872"/>
                </a:cubicBezTo>
                <a:cubicBezTo>
                  <a:pt x="177784" y="153142"/>
                  <a:pt x="183393" y="150635"/>
                  <a:pt x="189008" y="148158"/>
                </a:cubicBezTo>
                <a:cubicBezTo>
                  <a:pt x="199487" y="143534"/>
                  <a:pt x="207598" y="136426"/>
                  <a:pt x="212828" y="126123"/>
                </a:cubicBezTo>
                <a:cubicBezTo>
                  <a:pt x="214121" y="123575"/>
                  <a:pt x="215966" y="121304"/>
                  <a:pt x="217217" y="118740"/>
                </a:cubicBezTo>
                <a:cubicBezTo>
                  <a:pt x="224688" y="103433"/>
                  <a:pt x="237053" y="93440"/>
                  <a:pt x="253000" y="88998"/>
                </a:cubicBezTo>
                <a:cubicBezTo>
                  <a:pt x="275818" y="82642"/>
                  <a:pt x="299033" y="77711"/>
                  <a:pt x="322085" y="72193"/>
                </a:cubicBezTo>
                <a:cubicBezTo>
                  <a:pt x="324867" y="71527"/>
                  <a:pt x="327694" y="71045"/>
                  <a:pt x="330478" y="70387"/>
                </a:cubicBezTo>
                <a:cubicBezTo>
                  <a:pt x="364731" y="62297"/>
                  <a:pt x="364569" y="62151"/>
                  <a:pt x="388016" y="35457"/>
                </a:cubicBezTo>
                <a:cubicBezTo>
                  <a:pt x="398189" y="23875"/>
                  <a:pt x="409180" y="13010"/>
                  <a:pt x="421527" y="0"/>
                </a:cubicBezTo>
                <a:cubicBezTo>
                  <a:pt x="423000" y="5190"/>
                  <a:pt x="424219" y="7961"/>
                  <a:pt x="424538" y="10833"/>
                </a:cubicBezTo>
                <a:cubicBezTo>
                  <a:pt x="428638" y="47817"/>
                  <a:pt x="433030" y="84779"/>
                  <a:pt x="436339" y="121836"/>
                </a:cubicBezTo>
                <a:cubicBezTo>
                  <a:pt x="437236" y="131893"/>
                  <a:pt x="441545" y="137271"/>
                  <a:pt x="449983" y="141450"/>
                </a:cubicBezTo>
                <a:cubicBezTo>
                  <a:pt x="467954" y="150348"/>
                  <a:pt x="486187" y="158915"/>
                  <a:pt x="503299" y="169290"/>
                </a:cubicBezTo>
                <a:cubicBezTo>
                  <a:pt x="520041" y="179441"/>
                  <a:pt x="535883" y="191197"/>
                  <a:pt x="551461" y="203111"/>
                </a:cubicBezTo>
                <a:cubicBezTo>
                  <a:pt x="568416" y="216079"/>
                  <a:pt x="579195" y="234146"/>
                  <a:pt x="588803" y="252797"/>
                </a:cubicBezTo>
                <a:cubicBezTo>
                  <a:pt x="602134" y="278677"/>
                  <a:pt x="616556" y="303835"/>
                  <a:pt x="634209" y="327081"/>
                </a:cubicBezTo>
                <a:cubicBezTo>
                  <a:pt x="651797" y="350241"/>
                  <a:pt x="673980" y="368103"/>
                  <a:pt x="697923" y="384157"/>
                </a:cubicBezTo>
                <a:cubicBezTo>
                  <a:pt x="708787" y="391441"/>
                  <a:pt x="719007" y="399678"/>
                  <a:pt x="729658" y="407288"/>
                </a:cubicBezTo>
                <a:cubicBezTo>
                  <a:pt x="751657" y="423004"/>
                  <a:pt x="761259" y="445265"/>
                  <a:pt x="763354" y="471325"/>
                </a:cubicBezTo>
                <a:cubicBezTo>
                  <a:pt x="764877" y="490275"/>
                  <a:pt x="762919" y="509064"/>
                  <a:pt x="757092" y="527116"/>
                </a:cubicBezTo>
                <a:cubicBezTo>
                  <a:pt x="750932" y="546198"/>
                  <a:pt x="738296" y="560266"/>
                  <a:pt x="720673" y="570023"/>
                </a:cubicBezTo>
                <a:cubicBezTo>
                  <a:pt x="715048" y="573138"/>
                  <a:pt x="709487" y="576825"/>
                  <a:pt x="704918" y="581294"/>
                </a:cubicBezTo>
                <a:cubicBezTo>
                  <a:pt x="695625" y="590383"/>
                  <a:pt x="684728" y="595697"/>
                  <a:pt x="671960" y="595325"/>
                </a:cubicBezTo>
                <a:cubicBezTo>
                  <a:pt x="658939" y="594945"/>
                  <a:pt x="645743" y="594018"/>
                  <a:pt x="633021" y="591397"/>
                </a:cubicBezTo>
                <a:cubicBezTo>
                  <a:pt x="611233" y="586907"/>
                  <a:pt x="595034" y="572939"/>
                  <a:pt x="580696" y="556742"/>
                </a:cubicBezTo>
                <a:cubicBezTo>
                  <a:pt x="570081" y="544750"/>
                  <a:pt x="559052" y="533306"/>
                  <a:pt x="545415" y="524617"/>
                </a:cubicBezTo>
                <a:cubicBezTo>
                  <a:pt x="537261" y="519422"/>
                  <a:pt x="528551" y="515996"/>
                  <a:pt x="518889" y="516179"/>
                </a:cubicBezTo>
                <a:cubicBezTo>
                  <a:pt x="503357" y="516473"/>
                  <a:pt x="487839" y="517663"/>
                  <a:pt x="472309" y="517812"/>
                </a:cubicBezTo>
                <a:cubicBezTo>
                  <a:pt x="453527" y="517993"/>
                  <a:pt x="434738" y="517514"/>
                  <a:pt x="415953" y="517245"/>
                </a:cubicBezTo>
                <a:cubicBezTo>
                  <a:pt x="411976" y="517189"/>
                  <a:pt x="408003" y="516808"/>
                  <a:pt x="403392" y="516539"/>
                </a:cubicBezTo>
                <a:cubicBezTo>
                  <a:pt x="401207" y="526363"/>
                  <a:pt x="404857" y="534293"/>
                  <a:pt x="407957" y="542045"/>
                </a:cubicBezTo>
                <a:cubicBezTo>
                  <a:pt x="414092" y="557387"/>
                  <a:pt x="423168" y="571042"/>
                  <a:pt x="434134" y="583349"/>
                </a:cubicBezTo>
                <a:cubicBezTo>
                  <a:pt x="464083" y="616959"/>
                  <a:pt x="493980" y="650618"/>
                  <a:pt x="524267" y="683922"/>
                </a:cubicBezTo>
                <a:cubicBezTo>
                  <a:pt x="554818" y="717518"/>
                  <a:pt x="588291" y="748619"/>
                  <a:pt x="614317" y="786085"/>
                </a:cubicBezTo>
                <a:cubicBezTo>
                  <a:pt x="642656" y="826881"/>
                  <a:pt x="663974" y="871159"/>
                  <a:pt x="669590" y="921089"/>
                </a:cubicBezTo>
                <a:cubicBezTo>
                  <a:pt x="674894" y="968240"/>
                  <a:pt x="669774" y="1014226"/>
                  <a:pt x="647360" y="1057245"/>
                </a:cubicBezTo>
                <a:cubicBezTo>
                  <a:pt x="639830" y="1071697"/>
                  <a:pt x="630533" y="1085565"/>
                  <a:pt x="627872" y="1102111"/>
                </a:cubicBezTo>
                <a:cubicBezTo>
                  <a:pt x="623640" y="1128439"/>
                  <a:pt x="626183" y="1153784"/>
                  <a:pt x="642300" y="1175941"/>
                </a:cubicBezTo>
                <a:cubicBezTo>
                  <a:pt x="650201" y="1186801"/>
                  <a:pt x="659595" y="1196636"/>
                  <a:pt x="668829" y="1206449"/>
                </a:cubicBezTo>
                <a:cubicBezTo>
                  <a:pt x="679770" y="1218075"/>
                  <a:pt x="691267" y="1229177"/>
                  <a:pt x="703087" y="1241174"/>
                </a:cubicBezTo>
                <a:moveTo>
                  <a:pt x="648750" y="562343"/>
                </a:moveTo>
                <a:cubicBezTo>
                  <a:pt x="656729" y="562558"/>
                  <a:pt x="664698" y="567407"/>
                  <a:pt x="674049" y="562834"/>
                </a:cubicBezTo>
                <a:cubicBezTo>
                  <a:pt x="668990" y="558037"/>
                  <a:pt x="664729" y="554259"/>
                  <a:pt x="660781" y="550178"/>
                </a:cubicBezTo>
                <a:cubicBezTo>
                  <a:pt x="656713" y="545973"/>
                  <a:pt x="651493" y="542363"/>
                  <a:pt x="650911" y="534051"/>
                </a:cubicBezTo>
                <a:cubicBezTo>
                  <a:pt x="654940" y="535536"/>
                  <a:pt x="657753" y="536907"/>
                  <a:pt x="660724" y="537605"/>
                </a:cubicBezTo>
                <a:cubicBezTo>
                  <a:pt x="669824" y="539743"/>
                  <a:pt x="678915" y="542853"/>
                  <a:pt x="688133" y="543363"/>
                </a:cubicBezTo>
                <a:cubicBezTo>
                  <a:pt x="712019" y="544686"/>
                  <a:pt x="726964" y="534053"/>
                  <a:pt x="731514" y="510767"/>
                </a:cubicBezTo>
                <a:cubicBezTo>
                  <a:pt x="734296" y="496535"/>
                  <a:pt x="734146" y="481511"/>
                  <a:pt x="733611" y="466905"/>
                </a:cubicBezTo>
                <a:cubicBezTo>
                  <a:pt x="732951" y="448863"/>
                  <a:pt x="723348" y="435653"/>
                  <a:pt x="708076" y="425975"/>
                </a:cubicBezTo>
                <a:cubicBezTo>
                  <a:pt x="694258" y="417218"/>
                  <a:pt x="681056" y="407489"/>
                  <a:pt x="667538" y="398254"/>
                </a:cubicBezTo>
                <a:cubicBezTo>
                  <a:pt x="641278" y="380314"/>
                  <a:pt x="617580" y="359743"/>
                  <a:pt x="601016" y="332127"/>
                </a:cubicBezTo>
                <a:cubicBezTo>
                  <a:pt x="588810" y="311778"/>
                  <a:pt x="576093" y="291645"/>
                  <a:pt x="565354" y="270526"/>
                </a:cubicBezTo>
                <a:cubicBezTo>
                  <a:pt x="548401" y="237186"/>
                  <a:pt x="523821" y="212104"/>
                  <a:pt x="490657" y="195121"/>
                </a:cubicBezTo>
                <a:cubicBezTo>
                  <a:pt x="471346" y="185231"/>
                  <a:pt x="452394" y="174606"/>
                  <a:pt x="432834" y="165243"/>
                </a:cubicBezTo>
                <a:cubicBezTo>
                  <a:pt x="416725" y="157532"/>
                  <a:pt x="408325" y="145526"/>
                  <a:pt x="407594" y="127852"/>
                </a:cubicBezTo>
                <a:cubicBezTo>
                  <a:pt x="406783" y="108242"/>
                  <a:pt x="405935" y="88634"/>
                  <a:pt x="405020" y="69029"/>
                </a:cubicBezTo>
                <a:cubicBezTo>
                  <a:pt x="404882" y="66067"/>
                  <a:pt x="404287" y="63127"/>
                  <a:pt x="403638" y="58130"/>
                </a:cubicBezTo>
                <a:cubicBezTo>
                  <a:pt x="381792" y="82321"/>
                  <a:pt x="361650" y="104820"/>
                  <a:pt x="349776" y="133259"/>
                </a:cubicBezTo>
                <a:cubicBezTo>
                  <a:pt x="345032" y="144621"/>
                  <a:pt x="337822" y="153814"/>
                  <a:pt x="326975" y="159669"/>
                </a:cubicBezTo>
                <a:cubicBezTo>
                  <a:pt x="295461" y="176681"/>
                  <a:pt x="266610" y="197333"/>
                  <a:pt x="240374" y="221714"/>
                </a:cubicBezTo>
                <a:cubicBezTo>
                  <a:pt x="212881" y="247263"/>
                  <a:pt x="188313" y="275340"/>
                  <a:pt x="171637" y="309087"/>
                </a:cubicBezTo>
                <a:cubicBezTo>
                  <a:pt x="139180" y="374765"/>
                  <a:pt x="129692" y="444532"/>
                  <a:pt x="138048" y="516954"/>
                </a:cubicBezTo>
                <a:cubicBezTo>
                  <a:pt x="142936" y="559318"/>
                  <a:pt x="152518" y="600762"/>
                  <a:pt x="163889" y="641780"/>
                </a:cubicBezTo>
                <a:cubicBezTo>
                  <a:pt x="177329" y="690261"/>
                  <a:pt x="191989" y="738413"/>
                  <a:pt x="204800" y="787055"/>
                </a:cubicBezTo>
                <a:cubicBezTo>
                  <a:pt x="218820" y="840287"/>
                  <a:pt x="228587" y="894088"/>
                  <a:pt x="218549" y="949545"/>
                </a:cubicBezTo>
                <a:cubicBezTo>
                  <a:pt x="213279" y="978659"/>
                  <a:pt x="207130" y="1007359"/>
                  <a:pt x="191487" y="1033064"/>
                </a:cubicBezTo>
                <a:cubicBezTo>
                  <a:pt x="190499" y="1034686"/>
                  <a:pt x="190018" y="1036618"/>
                  <a:pt x="188729" y="1039835"/>
                </a:cubicBezTo>
                <a:cubicBezTo>
                  <a:pt x="200470" y="1040170"/>
                  <a:pt x="210952" y="1040298"/>
                  <a:pt x="221417" y="1040799"/>
                </a:cubicBezTo>
                <a:cubicBezTo>
                  <a:pt x="263912" y="1042835"/>
                  <a:pt x="306390" y="1046436"/>
                  <a:pt x="348895" y="1046759"/>
                </a:cubicBezTo>
                <a:cubicBezTo>
                  <a:pt x="414380" y="1047258"/>
                  <a:pt x="479896" y="1046092"/>
                  <a:pt x="545369" y="1044456"/>
                </a:cubicBezTo>
                <a:cubicBezTo>
                  <a:pt x="567764" y="1043897"/>
                  <a:pt x="590066" y="1039744"/>
                  <a:pt x="612424" y="1037365"/>
                </a:cubicBezTo>
                <a:cubicBezTo>
                  <a:pt x="617948" y="1036777"/>
                  <a:pt x="621342" y="1034139"/>
                  <a:pt x="623169" y="1028873"/>
                </a:cubicBezTo>
                <a:cubicBezTo>
                  <a:pt x="630975" y="1006370"/>
                  <a:pt x="637026" y="983472"/>
                  <a:pt x="638508" y="959599"/>
                </a:cubicBezTo>
                <a:cubicBezTo>
                  <a:pt x="641131" y="917363"/>
                  <a:pt x="628970" y="878727"/>
                  <a:pt x="609213" y="842075"/>
                </a:cubicBezTo>
                <a:cubicBezTo>
                  <a:pt x="587874" y="802491"/>
                  <a:pt x="559403" y="768169"/>
                  <a:pt x="529367" y="735065"/>
                </a:cubicBezTo>
                <a:cubicBezTo>
                  <a:pt x="487563" y="688992"/>
                  <a:pt x="445474" y="643176"/>
                  <a:pt x="403792" y="596993"/>
                </a:cubicBezTo>
                <a:cubicBezTo>
                  <a:pt x="380393" y="571066"/>
                  <a:pt x="360083" y="542922"/>
                  <a:pt x="344708" y="511366"/>
                </a:cubicBezTo>
                <a:cubicBezTo>
                  <a:pt x="324385" y="469655"/>
                  <a:pt x="317321" y="425966"/>
                  <a:pt x="324464" y="380084"/>
                </a:cubicBezTo>
                <a:cubicBezTo>
                  <a:pt x="324821" y="377789"/>
                  <a:pt x="326581" y="375713"/>
                  <a:pt x="327688" y="373535"/>
                </a:cubicBezTo>
                <a:cubicBezTo>
                  <a:pt x="328570" y="373570"/>
                  <a:pt x="329452" y="373606"/>
                  <a:pt x="330334" y="373641"/>
                </a:cubicBezTo>
                <a:cubicBezTo>
                  <a:pt x="331649" y="377308"/>
                  <a:pt x="333001" y="380963"/>
                  <a:pt x="334272" y="384645"/>
                </a:cubicBezTo>
                <a:cubicBezTo>
                  <a:pt x="342569" y="408660"/>
                  <a:pt x="351164" y="432573"/>
                  <a:pt x="365260" y="453955"/>
                </a:cubicBezTo>
                <a:cubicBezTo>
                  <a:pt x="375537" y="469544"/>
                  <a:pt x="388811" y="481767"/>
                  <a:pt x="408246" y="483592"/>
                </a:cubicBezTo>
                <a:cubicBezTo>
                  <a:pt x="426928" y="485346"/>
                  <a:pt x="445757" y="486037"/>
                  <a:pt x="464529" y="486187"/>
                </a:cubicBezTo>
                <a:cubicBezTo>
                  <a:pt x="480053" y="486311"/>
                  <a:pt x="495582" y="484792"/>
                  <a:pt x="511119" y="484308"/>
                </a:cubicBezTo>
                <a:cubicBezTo>
                  <a:pt x="532443" y="483644"/>
                  <a:pt x="551690" y="490014"/>
                  <a:pt x="567913" y="503736"/>
                </a:cubicBezTo>
                <a:cubicBezTo>
                  <a:pt x="581642" y="515348"/>
                  <a:pt x="594604" y="527888"/>
                  <a:pt x="607611" y="540326"/>
                </a:cubicBezTo>
                <a:cubicBezTo>
                  <a:pt x="618811" y="551038"/>
                  <a:pt x="631177" y="559300"/>
                  <a:pt x="648750" y="562343"/>
                </a:cubicBezTo>
                <a:moveTo>
                  <a:pt x="462594" y="1369008"/>
                </a:moveTo>
                <a:cubicBezTo>
                  <a:pt x="478517" y="1368137"/>
                  <a:pt x="494449" y="1367429"/>
                  <a:pt x="510357" y="1366345"/>
                </a:cubicBezTo>
                <a:cubicBezTo>
                  <a:pt x="523399" y="1365456"/>
                  <a:pt x="536424" y="1364247"/>
                  <a:pt x="549434" y="1362956"/>
                </a:cubicBezTo>
                <a:cubicBezTo>
                  <a:pt x="577089" y="1360213"/>
                  <a:pt x="604749" y="1357503"/>
                  <a:pt x="632369" y="1354439"/>
                </a:cubicBezTo>
                <a:cubicBezTo>
                  <a:pt x="653805" y="1352062"/>
                  <a:pt x="675183" y="1349170"/>
                  <a:pt x="697252" y="1346424"/>
                </a:cubicBezTo>
                <a:cubicBezTo>
                  <a:pt x="701148" y="1316348"/>
                  <a:pt x="695768" y="1289474"/>
                  <a:pt x="676674" y="1266396"/>
                </a:cubicBezTo>
                <a:cubicBezTo>
                  <a:pt x="667313" y="1255080"/>
                  <a:pt x="656878" y="1244625"/>
                  <a:pt x="646594" y="1234108"/>
                </a:cubicBezTo>
                <a:cubicBezTo>
                  <a:pt x="634298" y="1221533"/>
                  <a:pt x="621353" y="1209623"/>
                  <a:pt x="612063" y="1194382"/>
                </a:cubicBezTo>
                <a:cubicBezTo>
                  <a:pt x="596511" y="1168867"/>
                  <a:pt x="588079" y="1141707"/>
                  <a:pt x="591616" y="1111541"/>
                </a:cubicBezTo>
                <a:cubicBezTo>
                  <a:pt x="592450" y="1104432"/>
                  <a:pt x="593365" y="1097332"/>
                  <a:pt x="594320" y="1089609"/>
                </a:cubicBezTo>
                <a:cubicBezTo>
                  <a:pt x="588294" y="1089609"/>
                  <a:pt x="583452" y="1089392"/>
                  <a:pt x="578634" y="1089642"/>
                </a:cubicBezTo>
                <a:cubicBezTo>
                  <a:pt x="533732" y="1091976"/>
                  <a:pt x="488841" y="1094525"/>
                  <a:pt x="443931" y="1096700"/>
                </a:cubicBezTo>
                <a:cubicBezTo>
                  <a:pt x="430451" y="1097353"/>
                  <a:pt x="416923" y="1097005"/>
                  <a:pt x="403417" y="1097156"/>
                </a:cubicBezTo>
                <a:cubicBezTo>
                  <a:pt x="389337" y="1097313"/>
                  <a:pt x="388961" y="1097850"/>
                  <a:pt x="388348" y="1111502"/>
                </a:cubicBezTo>
                <a:cubicBezTo>
                  <a:pt x="387375" y="1133151"/>
                  <a:pt x="386231" y="1154793"/>
                  <a:pt x="385048" y="1176431"/>
                </a:cubicBezTo>
                <a:cubicBezTo>
                  <a:pt x="382637" y="1220514"/>
                  <a:pt x="380158" y="1264593"/>
                  <a:pt x="377687" y="1308672"/>
                </a:cubicBezTo>
                <a:cubicBezTo>
                  <a:pt x="377458" y="1312751"/>
                  <a:pt x="376852" y="1316821"/>
                  <a:pt x="376823" y="1320897"/>
                </a:cubicBezTo>
                <a:cubicBezTo>
                  <a:pt x="376717" y="1335880"/>
                  <a:pt x="376781" y="1350864"/>
                  <a:pt x="376781" y="1366151"/>
                </a:cubicBezTo>
                <a:cubicBezTo>
                  <a:pt x="404707" y="1370397"/>
                  <a:pt x="432477" y="1369351"/>
                  <a:pt x="462594" y="1369008"/>
                </a:cubicBezTo>
                <a:moveTo>
                  <a:pt x="648494" y="1463981"/>
                </a:moveTo>
                <a:cubicBezTo>
                  <a:pt x="671329" y="1460052"/>
                  <a:pt x="694163" y="1456122"/>
                  <a:pt x="718746" y="1451892"/>
                </a:cubicBezTo>
                <a:cubicBezTo>
                  <a:pt x="716257" y="1439067"/>
                  <a:pt x="714578" y="1427816"/>
                  <a:pt x="711827" y="1416835"/>
                </a:cubicBezTo>
                <a:cubicBezTo>
                  <a:pt x="707611" y="1400009"/>
                  <a:pt x="703502" y="1397423"/>
                  <a:pt x="685812" y="1398502"/>
                </a:cubicBezTo>
                <a:cubicBezTo>
                  <a:pt x="684179" y="1398602"/>
                  <a:pt x="682547" y="1398768"/>
                  <a:pt x="680924" y="1398973"/>
                </a:cubicBezTo>
                <a:cubicBezTo>
                  <a:pt x="653380" y="1402446"/>
                  <a:pt x="625911" y="1406752"/>
                  <a:pt x="598278" y="1409218"/>
                </a:cubicBezTo>
                <a:cubicBezTo>
                  <a:pt x="557171" y="1412886"/>
                  <a:pt x="515983" y="1415946"/>
                  <a:pt x="474765" y="1417945"/>
                </a:cubicBezTo>
                <a:cubicBezTo>
                  <a:pt x="444944" y="1419391"/>
                  <a:pt x="415021" y="1418680"/>
                  <a:pt x="385143" y="1418978"/>
                </a:cubicBezTo>
                <a:cubicBezTo>
                  <a:pt x="382419" y="1419005"/>
                  <a:pt x="379697" y="1419376"/>
                  <a:pt x="376639" y="1419613"/>
                </a:cubicBezTo>
                <a:cubicBezTo>
                  <a:pt x="376639" y="1438152"/>
                  <a:pt x="376639" y="1455909"/>
                  <a:pt x="376639" y="1473939"/>
                </a:cubicBezTo>
                <a:cubicBezTo>
                  <a:pt x="378971" y="1474343"/>
                  <a:pt x="380523" y="1474802"/>
                  <a:pt x="382089" y="1474854"/>
                </a:cubicBezTo>
                <a:cubicBezTo>
                  <a:pt x="404571" y="1475605"/>
                  <a:pt x="427058" y="1476986"/>
                  <a:pt x="449536" y="1476855"/>
                </a:cubicBezTo>
                <a:cubicBezTo>
                  <a:pt x="486344" y="1476639"/>
                  <a:pt x="523207" y="1476480"/>
                  <a:pt x="559930" y="1474307"/>
                </a:cubicBezTo>
                <a:cubicBezTo>
                  <a:pt x="588839" y="1472596"/>
                  <a:pt x="617570" y="1467884"/>
                  <a:pt x="648494" y="1463981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" name="Free-form: Shape 31">
            <a:extLst>
              <a:ext uri="{FF2B5EF4-FFF2-40B4-BE49-F238E27FC236}">
                <a16:creationId xmlns:a16="http://schemas.microsoft.com/office/drawing/2014/main" id="{C234F236-4627-EB3B-510E-292700D9CB86}"/>
              </a:ext>
            </a:extLst>
          </p:cNvPr>
          <p:cNvSpPr/>
          <p:nvPr/>
        </p:nvSpPr>
        <p:spPr>
          <a:xfrm>
            <a:off x="6993511" y="4045424"/>
            <a:ext cx="497702" cy="821885"/>
          </a:xfrm>
          <a:custGeom>
            <a:avLst/>
            <a:gdLst>
              <a:gd name="csX0" fmla="*/ 512604 w 598747"/>
              <a:gd name="csY0" fmla="*/ 503918 h 988745"/>
              <a:gd name="csX1" fmla="*/ 472435 w 598747"/>
              <a:gd name="csY1" fmla="*/ 482196 h 988745"/>
              <a:gd name="csX2" fmla="*/ 432737 w 598747"/>
              <a:gd name="csY2" fmla="*/ 445605 h 988745"/>
              <a:gd name="csX3" fmla="*/ 375943 w 598747"/>
              <a:gd name="csY3" fmla="*/ 426178 h 988745"/>
              <a:gd name="csX4" fmla="*/ 329354 w 598747"/>
              <a:gd name="csY4" fmla="*/ 428057 h 988745"/>
              <a:gd name="csX5" fmla="*/ 273070 w 598747"/>
              <a:gd name="csY5" fmla="*/ 425461 h 988745"/>
              <a:gd name="csX6" fmla="*/ 230084 w 598747"/>
              <a:gd name="csY6" fmla="*/ 395825 h 988745"/>
              <a:gd name="csX7" fmla="*/ 199097 w 598747"/>
              <a:gd name="csY7" fmla="*/ 326515 h 988745"/>
              <a:gd name="csX8" fmla="*/ 195158 w 598747"/>
              <a:gd name="csY8" fmla="*/ 315511 h 988745"/>
              <a:gd name="csX9" fmla="*/ 192512 w 598747"/>
              <a:gd name="csY9" fmla="*/ 315405 h 988745"/>
              <a:gd name="csX10" fmla="*/ 189288 w 598747"/>
              <a:gd name="csY10" fmla="*/ 321954 h 988745"/>
              <a:gd name="csX11" fmla="*/ 209532 w 598747"/>
              <a:gd name="csY11" fmla="*/ 453235 h 988745"/>
              <a:gd name="csX12" fmla="*/ 268616 w 598747"/>
              <a:gd name="csY12" fmla="*/ 538863 h 988745"/>
              <a:gd name="csX13" fmla="*/ 394191 w 598747"/>
              <a:gd name="csY13" fmla="*/ 676935 h 988745"/>
              <a:gd name="csX14" fmla="*/ 474037 w 598747"/>
              <a:gd name="csY14" fmla="*/ 783945 h 988745"/>
              <a:gd name="csX15" fmla="*/ 503332 w 598747"/>
              <a:gd name="csY15" fmla="*/ 901469 h 988745"/>
              <a:gd name="csX16" fmla="*/ 487993 w 598747"/>
              <a:gd name="csY16" fmla="*/ 970743 h 988745"/>
              <a:gd name="csX17" fmla="*/ 477248 w 598747"/>
              <a:gd name="csY17" fmla="*/ 979235 h 988745"/>
              <a:gd name="csX18" fmla="*/ 410194 w 598747"/>
              <a:gd name="csY18" fmla="*/ 986326 h 988745"/>
              <a:gd name="csX19" fmla="*/ 213720 w 598747"/>
              <a:gd name="csY19" fmla="*/ 988629 h 988745"/>
              <a:gd name="csX20" fmla="*/ 86242 w 598747"/>
              <a:gd name="csY20" fmla="*/ 982669 h 988745"/>
              <a:gd name="csX21" fmla="*/ 53553 w 598747"/>
              <a:gd name="csY21" fmla="*/ 981705 h 988745"/>
              <a:gd name="csX22" fmla="*/ 56311 w 598747"/>
              <a:gd name="csY22" fmla="*/ 974933 h 988745"/>
              <a:gd name="csX23" fmla="*/ 83373 w 598747"/>
              <a:gd name="csY23" fmla="*/ 891414 h 988745"/>
              <a:gd name="csX24" fmla="*/ 69625 w 598747"/>
              <a:gd name="csY24" fmla="*/ 728925 h 988745"/>
              <a:gd name="csX25" fmla="*/ 28713 w 598747"/>
              <a:gd name="csY25" fmla="*/ 583650 h 988745"/>
              <a:gd name="csX26" fmla="*/ 2872 w 598747"/>
              <a:gd name="csY26" fmla="*/ 458823 h 988745"/>
              <a:gd name="csX27" fmla="*/ 36461 w 598747"/>
              <a:gd name="csY27" fmla="*/ 250957 h 988745"/>
              <a:gd name="csX28" fmla="*/ 105198 w 598747"/>
              <a:gd name="csY28" fmla="*/ 163584 h 988745"/>
              <a:gd name="csX29" fmla="*/ 191800 w 598747"/>
              <a:gd name="csY29" fmla="*/ 101539 h 988745"/>
              <a:gd name="csX30" fmla="*/ 214600 w 598747"/>
              <a:gd name="csY30" fmla="*/ 75129 h 988745"/>
              <a:gd name="csX31" fmla="*/ 268462 w 598747"/>
              <a:gd name="csY31" fmla="*/ 0 h 988745"/>
              <a:gd name="csX32" fmla="*/ 269844 w 598747"/>
              <a:gd name="csY32" fmla="*/ 10898 h 988745"/>
              <a:gd name="csX33" fmla="*/ 272418 w 598747"/>
              <a:gd name="csY33" fmla="*/ 69722 h 988745"/>
              <a:gd name="csX34" fmla="*/ 297658 w 598747"/>
              <a:gd name="csY34" fmla="*/ 107113 h 988745"/>
              <a:gd name="csX35" fmla="*/ 355481 w 598747"/>
              <a:gd name="csY35" fmla="*/ 136991 h 988745"/>
              <a:gd name="csX36" fmla="*/ 430178 w 598747"/>
              <a:gd name="csY36" fmla="*/ 212396 h 988745"/>
              <a:gd name="csX37" fmla="*/ 465840 w 598747"/>
              <a:gd name="csY37" fmla="*/ 273997 h 988745"/>
              <a:gd name="csX38" fmla="*/ 532362 w 598747"/>
              <a:gd name="csY38" fmla="*/ 340124 h 988745"/>
              <a:gd name="csX39" fmla="*/ 572901 w 598747"/>
              <a:gd name="csY39" fmla="*/ 367845 h 988745"/>
              <a:gd name="csX40" fmla="*/ 598436 w 598747"/>
              <a:gd name="csY40" fmla="*/ 408775 h 988745"/>
              <a:gd name="csX41" fmla="*/ 596339 w 598747"/>
              <a:gd name="csY41" fmla="*/ 452637 h 988745"/>
              <a:gd name="csX42" fmla="*/ 552957 w 598747"/>
              <a:gd name="csY42" fmla="*/ 485233 h 988745"/>
              <a:gd name="csX43" fmla="*/ 525548 w 598747"/>
              <a:gd name="csY43" fmla="*/ 479475 h 988745"/>
              <a:gd name="csX44" fmla="*/ 515736 w 598747"/>
              <a:gd name="csY44" fmla="*/ 475921 h 988745"/>
              <a:gd name="csX45" fmla="*/ 525605 w 598747"/>
              <a:gd name="csY45" fmla="*/ 492048 h 988745"/>
              <a:gd name="csX46" fmla="*/ 538873 w 598747"/>
              <a:gd name="csY46" fmla="*/ 504704 h 988745"/>
              <a:gd name="csX47" fmla="*/ 512604 w 598747"/>
              <a:gd name="csY47" fmla="*/ 503918 h 988745"/>
              <a:gd name="csX48" fmla="*/ 332072 w 598747"/>
              <a:gd name="csY48" fmla="*/ 218143 h 988745"/>
              <a:gd name="csX49" fmla="*/ 334388 w 598747"/>
              <a:gd name="csY49" fmla="*/ 226400 h 988745"/>
              <a:gd name="csX50" fmla="*/ 372370 w 598747"/>
              <a:gd name="csY50" fmla="*/ 254505 h 988745"/>
              <a:gd name="csX51" fmla="*/ 405258 w 598747"/>
              <a:gd name="csY51" fmla="*/ 252089 h 988745"/>
              <a:gd name="csX52" fmla="*/ 409167 w 598747"/>
              <a:gd name="csY52" fmla="*/ 244359 h 988745"/>
              <a:gd name="csX53" fmla="*/ 396364 w 598747"/>
              <a:gd name="csY53" fmla="*/ 219471 h 988745"/>
              <a:gd name="csX54" fmla="*/ 365755 w 598747"/>
              <a:gd name="csY54" fmla="*/ 195821 h 988745"/>
              <a:gd name="csX55" fmla="*/ 333572 w 598747"/>
              <a:gd name="csY55" fmla="*/ 188536 h 988745"/>
              <a:gd name="csX56" fmla="*/ 322931 w 598747"/>
              <a:gd name="csY56" fmla="*/ 190843 h 988745"/>
              <a:gd name="csX57" fmla="*/ 329041 w 598747"/>
              <a:gd name="csY57" fmla="*/ 203001 h 988745"/>
              <a:gd name="csX58" fmla="*/ 332072 w 598747"/>
              <a:gd name="csY58" fmla="*/ 218143 h 98874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</a:cxnLst>
            <a:rect l="l" t="t" r="r" b="b"/>
            <a:pathLst>
              <a:path w="598747" h="988745">
                <a:moveTo>
                  <a:pt x="512604" y="503918"/>
                </a:moveTo>
                <a:cubicBezTo>
                  <a:pt x="496002" y="501170"/>
                  <a:pt x="483635" y="492907"/>
                  <a:pt x="472435" y="482196"/>
                </a:cubicBezTo>
                <a:cubicBezTo>
                  <a:pt x="459429" y="469758"/>
                  <a:pt x="446467" y="457218"/>
                  <a:pt x="432737" y="445605"/>
                </a:cubicBezTo>
                <a:cubicBezTo>
                  <a:pt x="416514" y="431883"/>
                  <a:pt x="397267" y="425513"/>
                  <a:pt x="375943" y="426178"/>
                </a:cubicBezTo>
                <a:cubicBezTo>
                  <a:pt x="360407" y="426662"/>
                  <a:pt x="344877" y="428180"/>
                  <a:pt x="329354" y="428057"/>
                </a:cubicBezTo>
                <a:cubicBezTo>
                  <a:pt x="310581" y="427907"/>
                  <a:pt x="291752" y="427215"/>
                  <a:pt x="273070" y="425461"/>
                </a:cubicBezTo>
                <a:cubicBezTo>
                  <a:pt x="253636" y="423637"/>
                  <a:pt x="240361" y="411413"/>
                  <a:pt x="230084" y="395825"/>
                </a:cubicBezTo>
                <a:cubicBezTo>
                  <a:pt x="215988" y="374443"/>
                  <a:pt x="207393" y="350530"/>
                  <a:pt x="199097" y="326515"/>
                </a:cubicBezTo>
                <a:cubicBezTo>
                  <a:pt x="197825" y="322833"/>
                  <a:pt x="196473" y="319178"/>
                  <a:pt x="195158" y="315511"/>
                </a:cubicBezTo>
                <a:cubicBezTo>
                  <a:pt x="194276" y="315475"/>
                  <a:pt x="193394" y="315440"/>
                  <a:pt x="192512" y="315405"/>
                </a:cubicBezTo>
                <a:cubicBezTo>
                  <a:pt x="191405" y="317583"/>
                  <a:pt x="189646" y="319659"/>
                  <a:pt x="189288" y="321954"/>
                </a:cubicBezTo>
                <a:cubicBezTo>
                  <a:pt x="182145" y="367836"/>
                  <a:pt x="189209" y="411525"/>
                  <a:pt x="209532" y="453235"/>
                </a:cubicBezTo>
                <a:cubicBezTo>
                  <a:pt x="224908" y="484792"/>
                  <a:pt x="245217" y="512936"/>
                  <a:pt x="268616" y="538863"/>
                </a:cubicBezTo>
                <a:cubicBezTo>
                  <a:pt x="310298" y="585046"/>
                  <a:pt x="352387" y="630861"/>
                  <a:pt x="394191" y="676935"/>
                </a:cubicBezTo>
                <a:cubicBezTo>
                  <a:pt x="424227" y="710039"/>
                  <a:pt x="452698" y="744360"/>
                  <a:pt x="474037" y="783945"/>
                </a:cubicBezTo>
                <a:cubicBezTo>
                  <a:pt x="493795" y="820596"/>
                  <a:pt x="505956" y="859233"/>
                  <a:pt x="503332" y="901469"/>
                </a:cubicBezTo>
                <a:cubicBezTo>
                  <a:pt x="501850" y="925342"/>
                  <a:pt x="495799" y="948239"/>
                  <a:pt x="487993" y="970743"/>
                </a:cubicBezTo>
                <a:cubicBezTo>
                  <a:pt x="486166" y="976009"/>
                  <a:pt x="482772" y="978647"/>
                  <a:pt x="477248" y="979235"/>
                </a:cubicBezTo>
                <a:cubicBezTo>
                  <a:pt x="454890" y="981614"/>
                  <a:pt x="432589" y="985767"/>
                  <a:pt x="410194" y="986326"/>
                </a:cubicBezTo>
                <a:cubicBezTo>
                  <a:pt x="344720" y="987961"/>
                  <a:pt x="279205" y="989128"/>
                  <a:pt x="213720" y="988629"/>
                </a:cubicBezTo>
                <a:cubicBezTo>
                  <a:pt x="171215" y="988306"/>
                  <a:pt x="128736" y="984705"/>
                  <a:pt x="86242" y="982669"/>
                </a:cubicBezTo>
                <a:cubicBezTo>
                  <a:pt x="75776" y="982167"/>
                  <a:pt x="65294" y="982040"/>
                  <a:pt x="53553" y="981705"/>
                </a:cubicBezTo>
                <a:cubicBezTo>
                  <a:pt x="54842" y="978488"/>
                  <a:pt x="55323" y="976556"/>
                  <a:pt x="56311" y="974933"/>
                </a:cubicBezTo>
                <a:cubicBezTo>
                  <a:pt x="71955" y="949229"/>
                  <a:pt x="78103" y="920529"/>
                  <a:pt x="83373" y="891414"/>
                </a:cubicBezTo>
                <a:cubicBezTo>
                  <a:pt x="93411" y="835958"/>
                  <a:pt x="83645" y="782156"/>
                  <a:pt x="69625" y="728925"/>
                </a:cubicBezTo>
                <a:cubicBezTo>
                  <a:pt x="56813" y="680283"/>
                  <a:pt x="42153" y="632130"/>
                  <a:pt x="28713" y="583650"/>
                </a:cubicBezTo>
                <a:cubicBezTo>
                  <a:pt x="17342" y="542631"/>
                  <a:pt x="7760" y="501188"/>
                  <a:pt x="2872" y="458823"/>
                </a:cubicBezTo>
                <a:cubicBezTo>
                  <a:pt x="-5484" y="386401"/>
                  <a:pt x="4005" y="316635"/>
                  <a:pt x="36461" y="250957"/>
                </a:cubicBezTo>
                <a:cubicBezTo>
                  <a:pt x="53137" y="217210"/>
                  <a:pt x="77705" y="189133"/>
                  <a:pt x="105198" y="163584"/>
                </a:cubicBezTo>
                <a:cubicBezTo>
                  <a:pt x="131434" y="139203"/>
                  <a:pt x="160285" y="118551"/>
                  <a:pt x="191800" y="101539"/>
                </a:cubicBezTo>
                <a:cubicBezTo>
                  <a:pt x="202646" y="95684"/>
                  <a:pt x="209856" y="86491"/>
                  <a:pt x="214600" y="75129"/>
                </a:cubicBezTo>
                <a:cubicBezTo>
                  <a:pt x="226474" y="46689"/>
                  <a:pt x="246616" y="24191"/>
                  <a:pt x="268462" y="0"/>
                </a:cubicBezTo>
                <a:cubicBezTo>
                  <a:pt x="269111" y="4997"/>
                  <a:pt x="269706" y="7937"/>
                  <a:pt x="269844" y="10898"/>
                </a:cubicBezTo>
                <a:cubicBezTo>
                  <a:pt x="270760" y="30504"/>
                  <a:pt x="271607" y="50112"/>
                  <a:pt x="272418" y="69722"/>
                </a:cubicBezTo>
                <a:cubicBezTo>
                  <a:pt x="273150" y="87396"/>
                  <a:pt x="281549" y="99401"/>
                  <a:pt x="297658" y="107113"/>
                </a:cubicBezTo>
                <a:cubicBezTo>
                  <a:pt x="317218" y="116476"/>
                  <a:pt x="336170" y="127101"/>
                  <a:pt x="355481" y="136991"/>
                </a:cubicBezTo>
                <a:cubicBezTo>
                  <a:pt x="388645" y="153974"/>
                  <a:pt x="413226" y="179056"/>
                  <a:pt x="430178" y="212396"/>
                </a:cubicBezTo>
                <a:cubicBezTo>
                  <a:pt x="440917" y="233515"/>
                  <a:pt x="453634" y="253647"/>
                  <a:pt x="465840" y="273997"/>
                </a:cubicBezTo>
                <a:cubicBezTo>
                  <a:pt x="482404" y="301613"/>
                  <a:pt x="506102" y="322183"/>
                  <a:pt x="532362" y="340124"/>
                </a:cubicBezTo>
                <a:cubicBezTo>
                  <a:pt x="545881" y="349359"/>
                  <a:pt x="559082" y="359088"/>
                  <a:pt x="572901" y="367845"/>
                </a:cubicBezTo>
                <a:cubicBezTo>
                  <a:pt x="588172" y="377523"/>
                  <a:pt x="597775" y="390733"/>
                  <a:pt x="598436" y="408775"/>
                </a:cubicBezTo>
                <a:cubicBezTo>
                  <a:pt x="598970" y="423381"/>
                  <a:pt x="599120" y="438404"/>
                  <a:pt x="596339" y="452637"/>
                </a:cubicBezTo>
                <a:cubicBezTo>
                  <a:pt x="591789" y="475923"/>
                  <a:pt x="576843" y="486555"/>
                  <a:pt x="552957" y="485233"/>
                </a:cubicBezTo>
                <a:cubicBezTo>
                  <a:pt x="543740" y="484722"/>
                  <a:pt x="534648" y="481613"/>
                  <a:pt x="525548" y="479475"/>
                </a:cubicBezTo>
                <a:cubicBezTo>
                  <a:pt x="522577" y="478776"/>
                  <a:pt x="519764" y="477405"/>
                  <a:pt x="515736" y="475921"/>
                </a:cubicBezTo>
                <a:cubicBezTo>
                  <a:pt x="516318" y="484233"/>
                  <a:pt x="521537" y="487842"/>
                  <a:pt x="525605" y="492048"/>
                </a:cubicBezTo>
                <a:cubicBezTo>
                  <a:pt x="529554" y="496129"/>
                  <a:pt x="533815" y="499907"/>
                  <a:pt x="538873" y="504704"/>
                </a:cubicBezTo>
                <a:cubicBezTo>
                  <a:pt x="529522" y="509277"/>
                  <a:pt x="521553" y="504428"/>
                  <a:pt x="512604" y="503918"/>
                </a:cubicBezTo>
                <a:moveTo>
                  <a:pt x="332072" y="218143"/>
                </a:moveTo>
                <a:cubicBezTo>
                  <a:pt x="332837" y="220898"/>
                  <a:pt x="333478" y="223695"/>
                  <a:pt x="334388" y="226400"/>
                </a:cubicBezTo>
                <a:cubicBezTo>
                  <a:pt x="341073" y="246268"/>
                  <a:pt x="351614" y="254460"/>
                  <a:pt x="372370" y="254505"/>
                </a:cubicBezTo>
                <a:cubicBezTo>
                  <a:pt x="383333" y="254529"/>
                  <a:pt x="394312" y="253121"/>
                  <a:pt x="405258" y="252089"/>
                </a:cubicBezTo>
                <a:cubicBezTo>
                  <a:pt x="409961" y="251646"/>
                  <a:pt x="411340" y="248568"/>
                  <a:pt x="409167" y="244359"/>
                </a:cubicBezTo>
                <a:cubicBezTo>
                  <a:pt x="404885" y="236068"/>
                  <a:pt x="400139" y="227985"/>
                  <a:pt x="396364" y="219471"/>
                </a:cubicBezTo>
                <a:cubicBezTo>
                  <a:pt x="390350" y="205908"/>
                  <a:pt x="379963" y="198663"/>
                  <a:pt x="365755" y="195821"/>
                </a:cubicBezTo>
                <a:cubicBezTo>
                  <a:pt x="354973" y="193665"/>
                  <a:pt x="344291" y="191003"/>
                  <a:pt x="333572" y="188536"/>
                </a:cubicBezTo>
                <a:cubicBezTo>
                  <a:pt x="329511" y="187602"/>
                  <a:pt x="325579" y="187007"/>
                  <a:pt x="322931" y="190843"/>
                </a:cubicBezTo>
                <a:cubicBezTo>
                  <a:pt x="325138" y="195129"/>
                  <a:pt x="327613" y="198884"/>
                  <a:pt x="329041" y="203001"/>
                </a:cubicBezTo>
                <a:cubicBezTo>
                  <a:pt x="330500" y="207204"/>
                  <a:pt x="330929" y="211764"/>
                  <a:pt x="332072" y="218143"/>
                </a:cubicBezTo>
                <a:close/>
              </a:path>
            </a:pathLst>
          </a:custGeom>
          <a:solidFill>
            <a:srgbClr val="FEFEFE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" name="Free-form: Shape 32">
            <a:extLst>
              <a:ext uri="{FF2B5EF4-FFF2-40B4-BE49-F238E27FC236}">
                <a16:creationId xmlns:a16="http://schemas.microsoft.com/office/drawing/2014/main" id="{4BEC331B-EF4A-88AC-7412-EA5AB856715A}"/>
              </a:ext>
            </a:extLst>
          </p:cNvPr>
          <p:cNvSpPr/>
          <p:nvPr/>
        </p:nvSpPr>
        <p:spPr>
          <a:xfrm>
            <a:off x="7194328" y="4902759"/>
            <a:ext cx="267393" cy="232628"/>
          </a:xfrm>
          <a:custGeom>
            <a:avLst/>
            <a:gdLst>
              <a:gd name="csX0" fmla="*/ 84645 w 321679"/>
              <a:gd name="csY0" fmla="*/ 279507 h 279857"/>
              <a:gd name="csX1" fmla="*/ 19 w 321679"/>
              <a:gd name="csY1" fmla="*/ 276629 h 279857"/>
              <a:gd name="csX2" fmla="*/ 61 w 321679"/>
              <a:gd name="csY2" fmla="*/ 231376 h 279857"/>
              <a:gd name="csX3" fmla="*/ 925 w 321679"/>
              <a:gd name="csY3" fmla="*/ 219150 h 279857"/>
              <a:gd name="csX4" fmla="*/ 8286 w 321679"/>
              <a:gd name="csY4" fmla="*/ 86910 h 279857"/>
              <a:gd name="csX5" fmla="*/ 11586 w 321679"/>
              <a:gd name="csY5" fmla="*/ 21981 h 279857"/>
              <a:gd name="csX6" fmla="*/ 26655 w 321679"/>
              <a:gd name="csY6" fmla="*/ 7635 h 279857"/>
              <a:gd name="csX7" fmla="*/ 67169 w 321679"/>
              <a:gd name="csY7" fmla="*/ 7178 h 279857"/>
              <a:gd name="csX8" fmla="*/ 201872 w 321679"/>
              <a:gd name="csY8" fmla="*/ 121 h 279857"/>
              <a:gd name="csX9" fmla="*/ 217558 w 321679"/>
              <a:gd name="csY9" fmla="*/ 87 h 279857"/>
              <a:gd name="csX10" fmla="*/ 214854 w 321679"/>
              <a:gd name="csY10" fmla="*/ 22019 h 279857"/>
              <a:gd name="csX11" fmla="*/ 235301 w 321679"/>
              <a:gd name="csY11" fmla="*/ 104861 h 279857"/>
              <a:gd name="csX12" fmla="*/ 269832 w 321679"/>
              <a:gd name="csY12" fmla="*/ 144587 h 279857"/>
              <a:gd name="csX13" fmla="*/ 299912 w 321679"/>
              <a:gd name="csY13" fmla="*/ 176874 h 279857"/>
              <a:gd name="csX14" fmla="*/ 320491 w 321679"/>
              <a:gd name="csY14" fmla="*/ 256903 h 279857"/>
              <a:gd name="csX15" fmla="*/ 255607 w 321679"/>
              <a:gd name="csY15" fmla="*/ 264918 h 279857"/>
              <a:gd name="csX16" fmla="*/ 172672 w 321679"/>
              <a:gd name="csY16" fmla="*/ 273435 h 279857"/>
              <a:gd name="csX17" fmla="*/ 133595 w 321679"/>
              <a:gd name="csY17" fmla="*/ 276823 h 279857"/>
              <a:gd name="csX18" fmla="*/ 84645 w 321679"/>
              <a:gd name="csY18" fmla="*/ 279507 h 27985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</a:cxnLst>
            <a:rect l="l" t="t" r="r" b="b"/>
            <a:pathLst>
              <a:path w="321679" h="279857">
                <a:moveTo>
                  <a:pt x="84645" y="279507"/>
                </a:moveTo>
                <a:cubicBezTo>
                  <a:pt x="55716" y="279830"/>
                  <a:pt x="27945" y="280875"/>
                  <a:pt x="19" y="276629"/>
                </a:cubicBezTo>
                <a:cubicBezTo>
                  <a:pt x="19" y="261343"/>
                  <a:pt x="-45" y="246359"/>
                  <a:pt x="61" y="231376"/>
                </a:cubicBezTo>
                <a:cubicBezTo>
                  <a:pt x="90" y="227299"/>
                  <a:pt x="696" y="223229"/>
                  <a:pt x="925" y="219150"/>
                </a:cubicBezTo>
                <a:cubicBezTo>
                  <a:pt x="3396" y="175071"/>
                  <a:pt x="5876" y="130992"/>
                  <a:pt x="8286" y="86910"/>
                </a:cubicBezTo>
                <a:cubicBezTo>
                  <a:pt x="9469" y="65271"/>
                  <a:pt x="10613" y="43630"/>
                  <a:pt x="11586" y="21981"/>
                </a:cubicBezTo>
                <a:cubicBezTo>
                  <a:pt x="12199" y="8328"/>
                  <a:pt x="12576" y="7792"/>
                  <a:pt x="26655" y="7635"/>
                </a:cubicBezTo>
                <a:cubicBezTo>
                  <a:pt x="40161" y="7484"/>
                  <a:pt x="53689" y="7831"/>
                  <a:pt x="67169" y="7178"/>
                </a:cubicBezTo>
                <a:cubicBezTo>
                  <a:pt x="112079" y="5004"/>
                  <a:pt x="156970" y="2455"/>
                  <a:pt x="201872" y="121"/>
                </a:cubicBezTo>
                <a:cubicBezTo>
                  <a:pt x="206690" y="-130"/>
                  <a:pt x="211533" y="87"/>
                  <a:pt x="217558" y="87"/>
                </a:cubicBezTo>
                <a:cubicBezTo>
                  <a:pt x="216603" y="7811"/>
                  <a:pt x="215688" y="14910"/>
                  <a:pt x="214854" y="22019"/>
                </a:cubicBezTo>
                <a:cubicBezTo>
                  <a:pt x="211318" y="52185"/>
                  <a:pt x="219749" y="79345"/>
                  <a:pt x="235301" y="104861"/>
                </a:cubicBezTo>
                <a:cubicBezTo>
                  <a:pt x="244591" y="120102"/>
                  <a:pt x="257536" y="132012"/>
                  <a:pt x="269832" y="144587"/>
                </a:cubicBezTo>
                <a:cubicBezTo>
                  <a:pt x="280116" y="155103"/>
                  <a:pt x="290551" y="165559"/>
                  <a:pt x="299912" y="176874"/>
                </a:cubicBezTo>
                <a:cubicBezTo>
                  <a:pt x="319006" y="199953"/>
                  <a:pt x="324386" y="226827"/>
                  <a:pt x="320491" y="256903"/>
                </a:cubicBezTo>
                <a:cubicBezTo>
                  <a:pt x="298421" y="259649"/>
                  <a:pt x="277043" y="262541"/>
                  <a:pt x="255607" y="264918"/>
                </a:cubicBezTo>
                <a:cubicBezTo>
                  <a:pt x="227987" y="267981"/>
                  <a:pt x="200327" y="270692"/>
                  <a:pt x="172672" y="273435"/>
                </a:cubicBezTo>
                <a:cubicBezTo>
                  <a:pt x="159662" y="274725"/>
                  <a:pt x="146637" y="275935"/>
                  <a:pt x="133595" y="276823"/>
                </a:cubicBezTo>
                <a:cubicBezTo>
                  <a:pt x="117688" y="277907"/>
                  <a:pt x="101755" y="278616"/>
                  <a:pt x="84645" y="279507"/>
                </a:cubicBezTo>
                <a:close/>
              </a:path>
            </a:pathLst>
          </a:custGeom>
          <a:solidFill>
            <a:srgbClr val="FDFEFE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" name="Free-form: Shape 33">
            <a:extLst>
              <a:ext uri="{FF2B5EF4-FFF2-40B4-BE49-F238E27FC236}">
                <a16:creationId xmlns:a16="http://schemas.microsoft.com/office/drawing/2014/main" id="{0DB0C802-367B-9E75-2B8C-F97629A53B2D}"/>
              </a:ext>
            </a:extLst>
          </p:cNvPr>
          <p:cNvSpPr/>
          <p:nvPr/>
        </p:nvSpPr>
        <p:spPr>
          <a:xfrm>
            <a:off x="7194225" y="5159420"/>
            <a:ext cx="284373" cy="65313"/>
          </a:xfrm>
          <a:custGeom>
            <a:avLst/>
            <a:gdLst>
              <a:gd name="csX0" fmla="*/ 270798 w 342106"/>
              <a:gd name="csY0" fmla="*/ 65953 h 78573"/>
              <a:gd name="csX1" fmla="*/ 183290 w 342106"/>
              <a:gd name="csY1" fmla="*/ 76017 h 78573"/>
              <a:gd name="csX2" fmla="*/ 72897 w 342106"/>
              <a:gd name="csY2" fmla="*/ 78565 h 78573"/>
              <a:gd name="csX3" fmla="*/ 5450 w 342106"/>
              <a:gd name="csY3" fmla="*/ 76564 h 78573"/>
              <a:gd name="csX4" fmla="*/ 0 w 342106"/>
              <a:gd name="csY4" fmla="*/ 75649 h 78573"/>
              <a:gd name="csX5" fmla="*/ 0 w 342106"/>
              <a:gd name="csY5" fmla="*/ 21324 h 78573"/>
              <a:gd name="csX6" fmla="*/ 8504 w 342106"/>
              <a:gd name="csY6" fmla="*/ 20688 h 78573"/>
              <a:gd name="csX7" fmla="*/ 98126 w 342106"/>
              <a:gd name="csY7" fmla="*/ 19655 h 78573"/>
              <a:gd name="csX8" fmla="*/ 221639 w 342106"/>
              <a:gd name="csY8" fmla="*/ 10929 h 78573"/>
              <a:gd name="csX9" fmla="*/ 304285 w 342106"/>
              <a:gd name="csY9" fmla="*/ 683 h 78573"/>
              <a:gd name="csX10" fmla="*/ 309173 w 342106"/>
              <a:gd name="csY10" fmla="*/ 212 h 78573"/>
              <a:gd name="csX11" fmla="*/ 335187 w 342106"/>
              <a:gd name="csY11" fmla="*/ 18545 h 78573"/>
              <a:gd name="csX12" fmla="*/ 342106 w 342106"/>
              <a:gd name="csY12" fmla="*/ 53602 h 78573"/>
              <a:gd name="csX13" fmla="*/ 270798 w 342106"/>
              <a:gd name="csY13" fmla="*/ 65953 h 7857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</a:cxnLst>
            <a:rect l="l" t="t" r="r" b="b"/>
            <a:pathLst>
              <a:path w="342106" h="78573">
                <a:moveTo>
                  <a:pt x="270798" y="65953"/>
                </a:moveTo>
                <a:cubicBezTo>
                  <a:pt x="240931" y="69594"/>
                  <a:pt x="212199" y="74306"/>
                  <a:pt x="183290" y="76017"/>
                </a:cubicBezTo>
                <a:cubicBezTo>
                  <a:pt x="146568" y="78191"/>
                  <a:pt x="109704" y="78349"/>
                  <a:pt x="72897" y="78565"/>
                </a:cubicBezTo>
                <a:cubicBezTo>
                  <a:pt x="50419" y="78697"/>
                  <a:pt x="27931" y="77315"/>
                  <a:pt x="5450" y="76564"/>
                </a:cubicBezTo>
                <a:cubicBezTo>
                  <a:pt x="3884" y="76512"/>
                  <a:pt x="2332" y="76053"/>
                  <a:pt x="0" y="75649"/>
                </a:cubicBezTo>
                <a:cubicBezTo>
                  <a:pt x="0" y="57619"/>
                  <a:pt x="0" y="39863"/>
                  <a:pt x="0" y="21324"/>
                </a:cubicBezTo>
                <a:cubicBezTo>
                  <a:pt x="3058" y="21086"/>
                  <a:pt x="5779" y="20715"/>
                  <a:pt x="8504" y="20688"/>
                </a:cubicBezTo>
                <a:cubicBezTo>
                  <a:pt x="38382" y="20390"/>
                  <a:pt x="68305" y="21101"/>
                  <a:pt x="98126" y="19655"/>
                </a:cubicBezTo>
                <a:cubicBezTo>
                  <a:pt x="139343" y="17657"/>
                  <a:pt x="180532" y="14597"/>
                  <a:pt x="221639" y="10929"/>
                </a:cubicBezTo>
                <a:cubicBezTo>
                  <a:pt x="249272" y="8463"/>
                  <a:pt x="276741" y="4156"/>
                  <a:pt x="304285" y="683"/>
                </a:cubicBezTo>
                <a:cubicBezTo>
                  <a:pt x="305908" y="478"/>
                  <a:pt x="307539" y="312"/>
                  <a:pt x="309173" y="212"/>
                </a:cubicBezTo>
                <a:cubicBezTo>
                  <a:pt x="326863" y="-867"/>
                  <a:pt x="330972" y="1719"/>
                  <a:pt x="335187" y="18545"/>
                </a:cubicBezTo>
                <a:cubicBezTo>
                  <a:pt x="337939" y="29526"/>
                  <a:pt x="339618" y="40777"/>
                  <a:pt x="342106" y="53602"/>
                </a:cubicBezTo>
                <a:cubicBezTo>
                  <a:pt x="317523" y="57833"/>
                  <a:pt x="294689" y="61762"/>
                  <a:pt x="270798" y="65953"/>
                </a:cubicBezTo>
                <a:close/>
              </a:path>
            </a:pathLst>
          </a:custGeom>
          <a:solidFill>
            <a:srgbClr val="FCFCFC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" name="Free-form: Shape 34">
            <a:extLst>
              <a:ext uri="{FF2B5EF4-FFF2-40B4-BE49-F238E27FC236}">
                <a16:creationId xmlns:a16="http://schemas.microsoft.com/office/drawing/2014/main" id="{10021B60-6FE3-8B4A-79B5-BCEA96A5ECAA}"/>
              </a:ext>
            </a:extLst>
          </p:cNvPr>
          <p:cNvSpPr/>
          <p:nvPr/>
        </p:nvSpPr>
        <p:spPr>
          <a:xfrm>
            <a:off x="7261944" y="4201564"/>
            <a:ext cx="72517" cy="55415"/>
          </a:xfrm>
          <a:custGeom>
            <a:avLst/>
            <a:gdLst>
              <a:gd name="csX0" fmla="*/ 9010 w 87239"/>
              <a:gd name="csY0" fmla="*/ 29316 h 66665"/>
              <a:gd name="csX1" fmla="*/ 6110 w 87239"/>
              <a:gd name="csY1" fmla="*/ 15162 h 66665"/>
              <a:gd name="csX2" fmla="*/ 0 w 87239"/>
              <a:gd name="csY2" fmla="*/ 3003 h 66665"/>
              <a:gd name="csX3" fmla="*/ 10641 w 87239"/>
              <a:gd name="csY3" fmla="*/ 697 h 66665"/>
              <a:gd name="csX4" fmla="*/ 42824 w 87239"/>
              <a:gd name="csY4" fmla="*/ 7981 h 66665"/>
              <a:gd name="csX5" fmla="*/ 73433 w 87239"/>
              <a:gd name="csY5" fmla="*/ 31631 h 66665"/>
              <a:gd name="csX6" fmla="*/ 86236 w 87239"/>
              <a:gd name="csY6" fmla="*/ 56519 h 66665"/>
              <a:gd name="csX7" fmla="*/ 82327 w 87239"/>
              <a:gd name="csY7" fmla="*/ 64249 h 66665"/>
              <a:gd name="csX8" fmla="*/ 49439 w 87239"/>
              <a:gd name="csY8" fmla="*/ 66665 h 66665"/>
              <a:gd name="csX9" fmla="*/ 11457 w 87239"/>
              <a:gd name="csY9" fmla="*/ 38560 h 66665"/>
              <a:gd name="csX10" fmla="*/ 9010 w 87239"/>
              <a:gd name="csY10" fmla="*/ 29316 h 6666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</a:cxnLst>
            <a:rect l="l" t="t" r="r" b="b"/>
            <a:pathLst>
              <a:path w="87239" h="66665">
                <a:moveTo>
                  <a:pt x="9010" y="29316"/>
                </a:moveTo>
                <a:cubicBezTo>
                  <a:pt x="7998" y="23924"/>
                  <a:pt x="7568" y="19365"/>
                  <a:pt x="6110" y="15162"/>
                </a:cubicBezTo>
                <a:cubicBezTo>
                  <a:pt x="4682" y="11044"/>
                  <a:pt x="2207" y="7289"/>
                  <a:pt x="0" y="3003"/>
                </a:cubicBezTo>
                <a:cubicBezTo>
                  <a:pt x="2648" y="-833"/>
                  <a:pt x="6580" y="-238"/>
                  <a:pt x="10641" y="697"/>
                </a:cubicBezTo>
                <a:cubicBezTo>
                  <a:pt x="21360" y="3163"/>
                  <a:pt x="32042" y="5825"/>
                  <a:pt x="42824" y="7981"/>
                </a:cubicBezTo>
                <a:cubicBezTo>
                  <a:pt x="57032" y="10823"/>
                  <a:pt x="67419" y="18068"/>
                  <a:pt x="73433" y="31631"/>
                </a:cubicBezTo>
                <a:cubicBezTo>
                  <a:pt x="77208" y="40146"/>
                  <a:pt x="81954" y="48228"/>
                  <a:pt x="86236" y="56519"/>
                </a:cubicBezTo>
                <a:cubicBezTo>
                  <a:pt x="88409" y="60728"/>
                  <a:pt x="87030" y="63806"/>
                  <a:pt x="82327" y="64249"/>
                </a:cubicBezTo>
                <a:cubicBezTo>
                  <a:pt x="71381" y="65282"/>
                  <a:pt x="60402" y="66689"/>
                  <a:pt x="49439" y="66665"/>
                </a:cubicBezTo>
                <a:cubicBezTo>
                  <a:pt x="28683" y="66620"/>
                  <a:pt x="18142" y="58428"/>
                  <a:pt x="11457" y="38560"/>
                </a:cubicBezTo>
                <a:cubicBezTo>
                  <a:pt x="10547" y="35855"/>
                  <a:pt x="9906" y="33058"/>
                  <a:pt x="9010" y="29316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0F31E58F-2D0E-ACBE-2716-AC18154A7E30}"/>
              </a:ext>
            </a:extLst>
          </p:cNvPr>
          <p:cNvSpPr txBox="1"/>
          <p:nvPr/>
        </p:nvSpPr>
        <p:spPr>
          <a:xfrm>
            <a:off x="6787826" y="5247125"/>
            <a:ext cx="863983" cy="3927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ola-BR</a:t>
            </a:r>
          </a:p>
        </p:txBody>
      </p:sp>
    </p:spTree>
    <p:extLst>
      <p:ext uri="{BB962C8B-B14F-4D97-AF65-F5344CB8AC3E}">
        <p14:creationId xmlns:p14="http://schemas.microsoft.com/office/powerpoint/2010/main" val="19383239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8" grpId="0" animBg="1"/>
    </p:bld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F36F483-72ED-A6D1-7C2D-EF09B9A7E5B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6486E6C5-C14F-6F33-ACBD-08302CCE38F5}"/>
              </a:ext>
            </a:extLst>
          </p:cNvPr>
          <p:cNvCxnSpPr>
            <a:cxnSpLocks/>
          </p:cNvCxnSpPr>
          <p:nvPr/>
        </p:nvCxnSpPr>
        <p:spPr>
          <a:xfrm>
            <a:off x="577415" y="1407009"/>
            <a:ext cx="10907449" cy="0"/>
          </a:xfrm>
          <a:prstGeom prst="line">
            <a:avLst/>
          </a:prstGeom>
          <a:ln w="285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 1">
            <a:extLst>
              <a:ext uri="{FF2B5EF4-FFF2-40B4-BE49-F238E27FC236}">
                <a16:creationId xmlns:a16="http://schemas.microsoft.com/office/drawing/2014/main" id="{B2AE6E60-7420-7252-154E-9E3E054D2F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0" y="311150"/>
            <a:ext cx="10317269" cy="930910"/>
          </a:xfrm>
        </p:spPr>
        <p:txBody>
          <a:bodyPr/>
          <a:lstStyle/>
          <a:p>
            <a:r>
              <a:rPr lang="en-GB">
                <a:latin typeface="+mn-lt"/>
              </a:rPr>
              <a:t>Progression after 3L therapy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76B76DC6-CC7E-4E3F-9338-294FF75A976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70645" y="6148461"/>
            <a:ext cx="10440000" cy="571490"/>
          </a:xfrm>
        </p:spPr>
        <p:txBody>
          <a:bodyPr/>
          <a:lstStyle/>
          <a:p>
            <a:r>
              <a:rPr lang="en-GB"/>
              <a:t>1L, first line; 2L, second line; 3L, third line; 4L, fourth line; BR, bendamustine, rituximab; CHOP, cyclophosphamide, doxorubicin, vincristine and prednisone; </a:t>
            </a:r>
          </a:p>
          <a:p>
            <a:r>
              <a:rPr lang="en-GB"/>
              <a:t>CR, complete response; </a:t>
            </a:r>
            <a:r>
              <a:rPr lang="en-GB" err="1"/>
              <a:t>DHAOx</a:t>
            </a:r>
            <a:r>
              <a:rPr lang="en-GB"/>
              <a:t>, dexamethasone, high-dose cytarabine, oxaliplatin; DLBCL, diffuse large B-cell lymphoma; Gr, grade; PD, progressive disease; PDL1, programmed death-ligand 1; POD24, progression of disease within 24 months; R, rituximab; URTI, upper respiratory tract infection. </a:t>
            </a:r>
            <a:br>
              <a:rPr lang="en-GB"/>
            </a:br>
            <a:r>
              <a:rPr lang="en-GB"/>
              <a:t>Patient case provided by Prof. Enrico </a:t>
            </a:r>
            <a:r>
              <a:rPr lang="en-GB" err="1"/>
              <a:t>Derenzini</a:t>
            </a:r>
            <a:r>
              <a:rPr lang="en-GB"/>
              <a:t>.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2B5658F9-BDAA-D307-B28C-A91FD5403F83}"/>
              </a:ext>
            </a:extLst>
          </p:cNvPr>
          <p:cNvSpPr txBox="1"/>
          <p:nvPr/>
        </p:nvSpPr>
        <p:spPr>
          <a:xfrm>
            <a:off x="9954275" y="875821"/>
            <a:ext cx="455050" cy="3927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CB813"/>
              </a:buClr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019</a:t>
            </a: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ACBD2407-0125-13BF-3EC6-5F9D9F90213D}"/>
              </a:ext>
            </a:extLst>
          </p:cNvPr>
          <p:cNvSpPr/>
          <p:nvPr/>
        </p:nvSpPr>
        <p:spPr>
          <a:xfrm>
            <a:off x="10101901" y="1343562"/>
            <a:ext cx="159799" cy="159799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3017BE43-3780-2B06-B423-BF2A5D0659E7}"/>
              </a:ext>
            </a:extLst>
          </p:cNvPr>
          <p:cNvCxnSpPr>
            <a:cxnSpLocks/>
            <a:stCxn id="24" idx="4"/>
          </p:cNvCxnSpPr>
          <p:nvPr/>
        </p:nvCxnSpPr>
        <p:spPr>
          <a:xfrm>
            <a:off x="10181801" y="1503361"/>
            <a:ext cx="0" cy="182159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2C0BF124-2917-50F2-27BC-6DE90818AEEB}"/>
              </a:ext>
            </a:extLst>
          </p:cNvPr>
          <p:cNvSpPr txBox="1"/>
          <p:nvPr/>
        </p:nvSpPr>
        <p:spPr>
          <a:xfrm>
            <a:off x="9254012" y="1685520"/>
            <a:ext cx="2419982" cy="1261884"/>
          </a:xfrm>
          <a:prstGeom prst="rect">
            <a:avLst/>
          </a:prstGeom>
          <a:noFill/>
        </p:spPr>
        <p:txBody>
          <a:bodyPr wrap="square" lIns="45720" tIns="45720" rIns="4572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1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4L treatment: </a:t>
            </a:r>
            <a:r>
              <a:rPr kumimoji="0" lang="en-GB" sz="1400" b="1" i="0" u="none" strike="noStrike" kern="1200" cap="none" spc="0" normalizeH="0" baseline="0" noProof="0" err="1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Loncastuximab</a:t>
            </a: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r>
              <a:rPr kumimoji="0" lang="en-GB" sz="1400" b="1" i="0" u="none" strike="noStrike" kern="1200" cap="none" spc="0" normalizeH="0" baseline="0" noProof="0" err="1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esirine</a:t>
            </a:r>
            <a:r>
              <a:rPr kumimoji="0" lang="en-CH" sz="14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×8</a:t>
            </a: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(June to November 2019, LOTIS-2, NCT03589469)</a:t>
            </a: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2DA4C112-3FFF-0B79-6437-28FE139CB4DD}"/>
              </a:ext>
            </a:extLst>
          </p:cNvPr>
          <p:cNvSpPr txBox="1"/>
          <p:nvPr/>
        </p:nvSpPr>
        <p:spPr>
          <a:xfrm>
            <a:off x="1481099" y="875821"/>
            <a:ext cx="455050" cy="3927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CB813"/>
              </a:buClr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015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94BBC6B8-45B6-91FB-2CB7-5190740EB740}"/>
              </a:ext>
            </a:extLst>
          </p:cNvPr>
          <p:cNvSpPr/>
          <p:nvPr/>
        </p:nvSpPr>
        <p:spPr>
          <a:xfrm>
            <a:off x="1628725" y="1329274"/>
            <a:ext cx="159799" cy="159799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1" i="0" u="none" strike="noStrike" kern="1200" cap="none" spc="0" normalizeH="0" baseline="0" noProof="0">
              <a:ln>
                <a:noFill/>
              </a:ln>
              <a:solidFill>
                <a:srgbClr val="BDBDBA"/>
              </a:solidFill>
              <a:effectLst/>
              <a:uLnTx/>
              <a:uFillTx/>
              <a:latin typeface="Aptos" panose="021100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14B62440-3D43-59C4-E288-191AA910FBC9}"/>
              </a:ext>
            </a:extLst>
          </p:cNvPr>
          <p:cNvSpPr txBox="1"/>
          <p:nvPr/>
        </p:nvSpPr>
        <p:spPr>
          <a:xfrm>
            <a:off x="4148775" y="875821"/>
            <a:ext cx="455050" cy="3927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CB813"/>
              </a:buClr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017</a:t>
            </a: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FB8EF1F5-5BC0-5842-02B2-48B2813D738C}"/>
              </a:ext>
            </a:extLst>
          </p:cNvPr>
          <p:cNvSpPr/>
          <p:nvPr/>
        </p:nvSpPr>
        <p:spPr>
          <a:xfrm>
            <a:off x="4296401" y="1329274"/>
            <a:ext cx="159799" cy="159799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1" i="0" u="none" strike="noStrike" kern="1200" cap="none" spc="0" normalizeH="0" baseline="0" noProof="0">
              <a:ln>
                <a:noFill/>
              </a:ln>
              <a:solidFill>
                <a:srgbClr val="BDBDBA"/>
              </a:solidFill>
              <a:effectLst/>
              <a:uLnTx/>
              <a:uFillTx/>
              <a:latin typeface="Aptos" panose="02110004020202020204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71A5673B-67BA-54C3-3E33-349701408083}"/>
              </a:ext>
            </a:extLst>
          </p:cNvPr>
          <p:cNvCxnSpPr>
            <a:cxnSpLocks/>
            <a:stCxn id="32" idx="4"/>
          </p:cNvCxnSpPr>
          <p:nvPr/>
        </p:nvCxnSpPr>
        <p:spPr>
          <a:xfrm>
            <a:off x="1708625" y="1489073"/>
            <a:ext cx="0" cy="182159"/>
          </a:xfrm>
          <a:prstGeom prst="line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FB818689-C48C-832E-4F29-1C96C52BFE99}"/>
              </a:ext>
            </a:extLst>
          </p:cNvPr>
          <p:cNvCxnSpPr>
            <a:cxnSpLocks/>
            <a:stCxn id="34" idx="4"/>
          </p:cNvCxnSpPr>
          <p:nvPr/>
        </p:nvCxnSpPr>
        <p:spPr>
          <a:xfrm>
            <a:off x="4376301" y="1489073"/>
            <a:ext cx="0" cy="182159"/>
          </a:xfrm>
          <a:prstGeom prst="line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8" name="TextBox 37">
            <a:extLst>
              <a:ext uri="{FF2B5EF4-FFF2-40B4-BE49-F238E27FC236}">
                <a16:creationId xmlns:a16="http://schemas.microsoft.com/office/drawing/2014/main" id="{7A89C49F-852C-29F9-1F02-A6DF2012F03B}"/>
              </a:ext>
            </a:extLst>
          </p:cNvPr>
          <p:cNvSpPr txBox="1"/>
          <p:nvPr/>
        </p:nvSpPr>
        <p:spPr>
          <a:xfrm>
            <a:off x="4145756" y="1671232"/>
            <a:ext cx="2474500" cy="738664"/>
          </a:xfrm>
          <a:prstGeom prst="rect">
            <a:avLst/>
          </a:prstGeom>
          <a:noFill/>
        </p:spPr>
        <p:txBody>
          <a:bodyPr wrap="square" lIns="45720" tIns="45720" rIns="4572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1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L treatment: </a:t>
            </a: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-</a:t>
            </a:r>
            <a:r>
              <a:rPr kumimoji="0" lang="en-GB" sz="1400" b="1" i="0" u="none" strike="noStrike" kern="1200" cap="none" spc="0" normalizeH="0" baseline="0" noProof="0" err="1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HAOx</a:t>
            </a:r>
            <a:endParaRPr kumimoji="0" lang="en-GB" sz="1400" b="1" i="0" u="none" strike="noStrike" kern="1200" cap="none" spc="0" normalizeH="0" baseline="0" noProof="0">
              <a:ln>
                <a:noFill/>
              </a:ln>
              <a:solidFill>
                <a:srgbClr val="585854">
                  <a:lumMod val="20000"/>
                  <a:lumOff val="80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1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Outcome: </a:t>
            </a: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D with transformation to DLBCL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EC659003-C936-13AC-273C-101348165D2D}"/>
              </a:ext>
            </a:extLst>
          </p:cNvPr>
          <p:cNvSpPr txBox="1"/>
          <p:nvPr/>
        </p:nvSpPr>
        <p:spPr>
          <a:xfrm>
            <a:off x="6760591" y="875821"/>
            <a:ext cx="455050" cy="3927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CB813"/>
              </a:buClr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018</a:t>
            </a: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A43B8A36-7B8F-61C6-D61B-3D1235A5AD94}"/>
              </a:ext>
            </a:extLst>
          </p:cNvPr>
          <p:cNvSpPr/>
          <p:nvPr/>
        </p:nvSpPr>
        <p:spPr>
          <a:xfrm>
            <a:off x="6908217" y="1329274"/>
            <a:ext cx="159799" cy="159799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1" i="0" u="none" strike="noStrike" kern="1200" cap="none" spc="0" normalizeH="0" baseline="0" noProof="0">
              <a:ln>
                <a:noFill/>
              </a:ln>
              <a:solidFill>
                <a:srgbClr val="BDBDBA"/>
              </a:solidFill>
              <a:effectLst/>
              <a:uLnTx/>
              <a:uFillTx/>
              <a:latin typeface="Aptos" panose="02110004020202020204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F57C9A58-4BB6-C14F-D3F0-F477D13DDEAA}"/>
              </a:ext>
            </a:extLst>
          </p:cNvPr>
          <p:cNvCxnSpPr>
            <a:cxnSpLocks/>
            <a:stCxn id="40" idx="4"/>
          </p:cNvCxnSpPr>
          <p:nvPr/>
        </p:nvCxnSpPr>
        <p:spPr>
          <a:xfrm>
            <a:off x="6988117" y="1489073"/>
            <a:ext cx="0" cy="182159"/>
          </a:xfrm>
          <a:prstGeom prst="line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2" name="TextBox 41">
            <a:extLst>
              <a:ext uri="{FF2B5EF4-FFF2-40B4-BE49-F238E27FC236}">
                <a16:creationId xmlns:a16="http://schemas.microsoft.com/office/drawing/2014/main" id="{DC3723A1-B55F-5D19-485E-C9EE3B818939}"/>
              </a:ext>
            </a:extLst>
          </p:cNvPr>
          <p:cNvSpPr txBox="1"/>
          <p:nvPr/>
        </p:nvSpPr>
        <p:spPr>
          <a:xfrm>
            <a:off x="6760591" y="1671232"/>
            <a:ext cx="2447435" cy="954107"/>
          </a:xfrm>
          <a:prstGeom prst="rect">
            <a:avLst/>
          </a:prstGeom>
          <a:noFill/>
        </p:spPr>
        <p:txBody>
          <a:bodyPr wrap="square" lIns="45720" tIns="45720" rIns="4572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1" u="none" strike="noStrike" kern="1200" cap="none" spc="0" normalizeH="0" baseline="0" noProof="0" dirty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3L treatment: 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BR + anti-PDL1 (Durvalumab, Fusion NHL 001, NCT02733042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1" u="none" strike="noStrike" kern="1200" cap="none" spc="0" normalizeH="0" baseline="0" noProof="0" dirty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Outcome: </a:t>
            </a: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D</a:t>
            </a:r>
          </a:p>
        </p:txBody>
      </p:sp>
      <p:pic>
        <p:nvPicPr>
          <p:cNvPr id="45" name="Picture 44">
            <a:extLst>
              <a:ext uri="{FF2B5EF4-FFF2-40B4-BE49-F238E27FC236}">
                <a16:creationId xmlns:a16="http://schemas.microsoft.com/office/drawing/2014/main" id="{0BC2859B-DB9C-172C-B101-188E19FECFE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00175" y="4377999"/>
            <a:ext cx="2353717" cy="1671143"/>
          </a:xfrm>
          <a:custGeom>
            <a:avLst/>
            <a:gdLst>
              <a:gd name="csX0" fmla="*/ -20 w 2724537"/>
              <a:gd name="csY0" fmla="*/ -13 h 1934426"/>
              <a:gd name="csX1" fmla="*/ 2724518 w 2724537"/>
              <a:gd name="csY1" fmla="*/ -13 h 1934426"/>
              <a:gd name="csX2" fmla="*/ 2724518 w 2724537"/>
              <a:gd name="csY2" fmla="*/ 1934413 h 1934426"/>
              <a:gd name="csX3" fmla="*/ -20 w 2724537"/>
              <a:gd name="csY3" fmla="*/ 1934413 h 193442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</a:cxnLst>
            <a:rect l="l" t="t" r="r" b="b"/>
            <a:pathLst>
              <a:path w="2724537" h="1934426">
                <a:moveTo>
                  <a:pt x="-20" y="-13"/>
                </a:moveTo>
                <a:lnTo>
                  <a:pt x="2724518" y="-13"/>
                </a:lnTo>
                <a:lnTo>
                  <a:pt x="2724518" y="1934413"/>
                </a:lnTo>
                <a:lnTo>
                  <a:pt x="-20" y="1934413"/>
                </a:lnTo>
                <a:close/>
              </a:path>
            </a:pathLst>
          </a:custGeom>
        </p:spPr>
      </p:pic>
      <p:sp>
        <p:nvSpPr>
          <p:cNvPr id="47" name="Free-form: Shape 46">
            <a:extLst>
              <a:ext uri="{FF2B5EF4-FFF2-40B4-BE49-F238E27FC236}">
                <a16:creationId xmlns:a16="http://schemas.microsoft.com/office/drawing/2014/main" id="{69091F10-8897-5560-022E-D7A4C0168E56}"/>
              </a:ext>
            </a:extLst>
          </p:cNvPr>
          <p:cNvSpPr/>
          <p:nvPr/>
        </p:nvSpPr>
        <p:spPr>
          <a:xfrm>
            <a:off x="3492326" y="4370150"/>
            <a:ext cx="2369413" cy="1686835"/>
          </a:xfrm>
          <a:custGeom>
            <a:avLst/>
            <a:gdLst>
              <a:gd name="csX0" fmla="*/ -764 w 2742706"/>
              <a:gd name="csY0" fmla="*/ -324 h 1952590"/>
              <a:gd name="csX1" fmla="*/ 2741942 w 2742706"/>
              <a:gd name="csY1" fmla="*/ -324 h 1952590"/>
              <a:gd name="csX2" fmla="*/ 2741942 w 2742706"/>
              <a:gd name="csY2" fmla="*/ 1952267 h 1952590"/>
              <a:gd name="csX3" fmla="*/ -764 w 2742706"/>
              <a:gd name="csY3" fmla="*/ 1952267 h 195259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</a:cxnLst>
            <a:rect l="l" t="t" r="r" b="b"/>
            <a:pathLst>
              <a:path w="2742706" h="1952590">
                <a:moveTo>
                  <a:pt x="-764" y="-324"/>
                </a:moveTo>
                <a:lnTo>
                  <a:pt x="2741942" y="-324"/>
                </a:lnTo>
                <a:lnTo>
                  <a:pt x="2741942" y="1952267"/>
                </a:lnTo>
                <a:lnTo>
                  <a:pt x="-764" y="1952267"/>
                </a:lnTo>
                <a:close/>
              </a:path>
            </a:pathLst>
          </a:custGeom>
          <a:noFill/>
          <a:ln w="18147" cap="flat">
            <a:noFill/>
            <a:prstDash val="solid"/>
            <a:rou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51" name="Picture 50">
            <a:extLst>
              <a:ext uri="{FF2B5EF4-FFF2-40B4-BE49-F238E27FC236}">
                <a16:creationId xmlns:a16="http://schemas.microsoft.com/office/drawing/2014/main" id="{C7BC2A70-F1FD-D0EE-1D59-985329442D3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53890" y="4377999"/>
            <a:ext cx="2318411" cy="1671138"/>
          </a:xfrm>
          <a:custGeom>
            <a:avLst/>
            <a:gdLst>
              <a:gd name="csX0" fmla="*/ 185 w 2683669"/>
              <a:gd name="csY0" fmla="*/ -10 h 1934420"/>
              <a:gd name="csX1" fmla="*/ 2683854 w 2683669"/>
              <a:gd name="csY1" fmla="*/ -10 h 1934420"/>
              <a:gd name="csX2" fmla="*/ 2683854 w 2683669"/>
              <a:gd name="csY2" fmla="*/ 1934411 h 1934420"/>
              <a:gd name="csX3" fmla="*/ 185 w 2683669"/>
              <a:gd name="csY3" fmla="*/ 1934411 h 193442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</a:cxnLst>
            <a:rect l="l" t="t" r="r" b="b"/>
            <a:pathLst>
              <a:path w="2683669" h="1934420">
                <a:moveTo>
                  <a:pt x="185" y="-10"/>
                </a:moveTo>
                <a:lnTo>
                  <a:pt x="2683854" y="-10"/>
                </a:lnTo>
                <a:lnTo>
                  <a:pt x="2683854" y="1934411"/>
                </a:lnTo>
                <a:lnTo>
                  <a:pt x="185" y="1934411"/>
                </a:lnTo>
                <a:close/>
              </a:path>
            </a:pathLst>
          </a:custGeom>
        </p:spPr>
      </p:pic>
      <p:sp>
        <p:nvSpPr>
          <p:cNvPr id="53" name="Free-form: Shape 52">
            <a:extLst>
              <a:ext uri="{FF2B5EF4-FFF2-40B4-BE49-F238E27FC236}">
                <a16:creationId xmlns:a16="http://schemas.microsoft.com/office/drawing/2014/main" id="{1F0C353F-A0E8-167C-5871-78074464E2C7}"/>
              </a:ext>
            </a:extLst>
          </p:cNvPr>
          <p:cNvSpPr/>
          <p:nvPr/>
        </p:nvSpPr>
        <p:spPr>
          <a:xfrm>
            <a:off x="5846039" y="4370150"/>
            <a:ext cx="2334143" cy="1686835"/>
          </a:xfrm>
          <a:custGeom>
            <a:avLst/>
            <a:gdLst>
              <a:gd name="csX0" fmla="*/ -764 w 2701879"/>
              <a:gd name="csY0" fmla="*/ -324 h 1952590"/>
              <a:gd name="csX1" fmla="*/ 2701116 w 2701879"/>
              <a:gd name="csY1" fmla="*/ -324 h 1952590"/>
              <a:gd name="csX2" fmla="*/ 2701116 w 2701879"/>
              <a:gd name="csY2" fmla="*/ 1952267 h 1952590"/>
              <a:gd name="csX3" fmla="*/ -764 w 2701879"/>
              <a:gd name="csY3" fmla="*/ 1952267 h 195259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</a:cxnLst>
            <a:rect l="l" t="t" r="r" b="b"/>
            <a:pathLst>
              <a:path w="2701879" h="1952590">
                <a:moveTo>
                  <a:pt x="-764" y="-324"/>
                </a:moveTo>
                <a:lnTo>
                  <a:pt x="2701116" y="-324"/>
                </a:lnTo>
                <a:lnTo>
                  <a:pt x="2701116" y="1952267"/>
                </a:lnTo>
                <a:lnTo>
                  <a:pt x="-764" y="1952267"/>
                </a:lnTo>
                <a:close/>
              </a:path>
            </a:pathLst>
          </a:custGeom>
          <a:noFill/>
          <a:ln w="18147" cap="flat">
            <a:noFill/>
            <a:prstDash val="solid"/>
            <a:rou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56" name="Picture 55">
            <a:extLst>
              <a:ext uri="{FF2B5EF4-FFF2-40B4-BE49-F238E27FC236}">
                <a16:creationId xmlns:a16="http://schemas.microsoft.com/office/drawing/2014/main" id="{D5E5D127-F5A7-724D-270B-DBA9C5E8A853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489349" y="2708390"/>
            <a:ext cx="4513541" cy="1624111"/>
          </a:xfrm>
          <a:prstGeom prst="rect">
            <a:avLst/>
          </a:prstGeom>
          <a:ln w="12700">
            <a:noFill/>
          </a:ln>
        </p:spPr>
      </p:pic>
      <p:sp>
        <p:nvSpPr>
          <p:cNvPr id="58" name="Slide Number Placeholder 7">
            <a:extLst>
              <a:ext uri="{FF2B5EF4-FFF2-40B4-BE49-F238E27FC236}">
                <a16:creationId xmlns:a16="http://schemas.microsoft.com/office/drawing/2014/main" id="{ABF64D57-68FA-5B91-77D1-D51877A92A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651" y="6356350"/>
            <a:ext cx="383694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01CC8E-1CEF-6746-999E-CF29FF00B1D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82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3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EAF26BED-000E-184A-396D-704031DD0B89}"/>
              </a:ext>
            </a:extLst>
          </p:cNvPr>
          <p:cNvSpPr txBox="1"/>
          <p:nvPr/>
        </p:nvSpPr>
        <p:spPr>
          <a:xfrm>
            <a:off x="758225" y="1671232"/>
            <a:ext cx="2482410" cy="954107"/>
          </a:xfrm>
          <a:prstGeom prst="rect">
            <a:avLst/>
          </a:prstGeom>
          <a:noFill/>
        </p:spPr>
        <p:txBody>
          <a:bodyPr wrap="square" lIns="45720" tIns="45720" rIns="45720" bIns="45720" rtlCol="0">
            <a:spAutoFit/>
          </a:bodyPr>
          <a:lstStyle>
            <a:defPPr>
              <a:defRPr lang="sv-SE"/>
            </a:defPPr>
            <a:lvl1pPr>
              <a:defRPr sz="1600" i="1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1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L treatment: </a:t>
            </a: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-CHOP + R maintenanc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1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Outcome: </a:t>
            </a: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R and relapse after 18 months </a:t>
            </a: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(POD24)</a:t>
            </a:r>
          </a:p>
        </p:txBody>
      </p:sp>
      <p:sp>
        <p:nvSpPr>
          <p:cNvPr id="3" name="CasellaDiTesto 36">
            <a:extLst>
              <a:ext uri="{FF2B5EF4-FFF2-40B4-BE49-F238E27FC236}">
                <a16:creationId xmlns:a16="http://schemas.microsoft.com/office/drawing/2014/main" id="{47265238-8763-2314-A8AC-B839A3D2F012}"/>
              </a:ext>
            </a:extLst>
          </p:cNvPr>
          <p:cNvSpPr txBox="1"/>
          <p:nvPr/>
        </p:nvSpPr>
        <p:spPr>
          <a:xfrm>
            <a:off x="8117462" y="3797657"/>
            <a:ext cx="3173696" cy="1754326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Gr 3 maculopapular erythema with desquamative lesions, treated with steroid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Gr 2 URTI infection, treated with oral antibiotics</a:t>
            </a:r>
          </a:p>
        </p:txBody>
      </p:sp>
    </p:spTree>
    <p:extLst>
      <p:ext uri="{BB962C8B-B14F-4D97-AF65-F5344CB8AC3E}">
        <p14:creationId xmlns:p14="http://schemas.microsoft.com/office/powerpoint/2010/main" val="3447586881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3E8DA7A-55A7-39BB-CA19-97BA964868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109F428E-4608-6ECA-4A6C-CC76DA76E6C1}"/>
              </a:ext>
            </a:extLst>
          </p:cNvPr>
          <p:cNvCxnSpPr>
            <a:cxnSpLocks/>
          </p:cNvCxnSpPr>
          <p:nvPr/>
        </p:nvCxnSpPr>
        <p:spPr>
          <a:xfrm>
            <a:off x="577415" y="1407009"/>
            <a:ext cx="10907449" cy="0"/>
          </a:xfrm>
          <a:prstGeom prst="line">
            <a:avLst/>
          </a:prstGeom>
          <a:ln w="285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4FA698F4-7EAA-D667-8684-92B3348923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0" y="311150"/>
            <a:ext cx="10317269" cy="930910"/>
          </a:xfrm>
        </p:spPr>
        <p:txBody>
          <a:bodyPr/>
          <a:lstStyle/>
          <a:p>
            <a:r>
              <a:rPr lang="en-GB"/>
              <a:t>Progression after 3L therapy</a:t>
            </a:r>
            <a:endParaRPr lang="en-GB" baseline="30000">
              <a:latin typeface="+mn-lt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46E36F7-D99A-9ACE-0E50-C66950BE5BC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70645" y="6086101"/>
            <a:ext cx="10440000" cy="633849"/>
          </a:xfrm>
        </p:spPr>
        <p:txBody>
          <a:bodyPr/>
          <a:lstStyle/>
          <a:p>
            <a:r>
              <a:rPr lang="en-GB"/>
              <a:t>1L, first line; 2L, second line; 3L, third line; 4L, fourth line; </a:t>
            </a:r>
            <a:r>
              <a:rPr lang="en-GB" err="1"/>
              <a:t>allo</a:t>
            </a:r>
            <a:r>
              <a:rPr lang="en-GB"/>
              <a:t>-SCT, allogeneic stem cell transplantation; BR, bendamustine, rituximab; CHOP, cyclophosphamide, doxorubicin, vincristine and prednisone; CR, complete response; CT, computed tomography; </a:t>
            </a:r>
            <a:r>
              <a:rPr lang="en-GB" err="1"/>
              <a:t>DHAOx</a:t>
            </a:r>
            <a:r>
              <a:rPr lang="en-GB"/>
              <a:t>, dexamethasone, high-dose cytarabine, oxaliplatin; DLBCL, diffuse large B-cell lymphoma; </a:t>
            </a:r>
            <a:r>
              <a:rPr lang="en-GB" err="1"/>
              <a:t>FluCy</a:t>
            </a:r>
            <a:r>
              <a:rPr lang="en-GB"/>
              <a:t>, fludarabine and cyclophosphamide; GVHD, graft versus host disease; PD, progressive disease; PDL1, programmed death-ligand 1; PET, positron emission tomography; POD24, progression of disease within 24 months; R, rituximab; TBI, total body irradiation. </a:t>
            </a:r>
            <a:br>
              <a:rPr lang="en-GB"/>
            </a:br>
            <a:r>
              <a:rPr lang="en-GB"/>
              <a:t>Patient case provided by Prof. Enrico </a:t>
            </a:r>
            <a:r>
              <a:rPr lang="en-GB" err="1"/>
              <a:t>Derenzini</a:t>
            </a:r>
            <a:r>
              <a:rPr lang="en-GB"/>
              <a:t>.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2E6695FC-2387-F9BC-0152-1D76BD848EDC}"/>
              </a:ext>
            </a:extLst>
          </p:cNvPr>
          <p:cNvSpPr txBox="1"/>
          <p:nvPr/>
        </p:nvSpPr>
        <p:spPr>
          <a:xfrm>
            <a:off x="9954275" y="875821"/>
            <a:ext cx="455050" cy="3927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CB813"/>
              </a:buClr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019</a:t>
            </a: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713088E2-BC6D-FA6E-AB51-F9ABE7ABBBFA}"/>
              </a:ext>
            </a:extLst>
          </p:cNvPr>
          <p:cNvSpPr/>
          <p:nvPr/>
        </p:nvSpPr>
        <p:spPr>
          <a:xfrm>
            <a:off x="10101901" y="1343562"/>
            <a:ext cx="159799" cy="159799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36B6599D-F6B0-86A7-6FCE-CD3F4B8AF9A4}"/>
              </a:ext>
            </a:extLst>
          </p:cNvPr>
          <p:cNvCxnSpPr>
            <a:cxnSpLocks/>
            <a:stCxn id="48" idx="4"/>
          </p:cNvCxnSpPr>
          <p:nvPr/>
        </p:nvCxnSpPr>
        <p:spPr>
          <a:xfrm>
            <a:off x="10181801" y="1503361"/>
            <a:ext cx="0" cy="182159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733D7CDD-18DA-19A9-B839-3E5DE7E85EE1}"/>
              </a:ext>
            </a:extLst>
          </p:cNvPr>
          <p:cNvSpPr txBox="1"/>
          <p:nvPr/>
        </p:nvSpPr>
        <p:spPr>
          <a:xfrm>
            <a:off x="1481099" y="875821"/>
            <a:ext cx="455050" cy="3927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CB813"/>
              </a:buClr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015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1A3E0AE5-56FE-CFB6-F802-AE18930E9DCE}"/>
              </a:ext>
            </a:extLst>
          </p:cNvPr>
          <p:cNvSpPr/>
          <p:nvPr/>
        </p:nvSpPr>
        <p:spPr>
          <a:xfrm>
            <a:off x="1628725" y="1329274"/>
            <a:ext cx="159799" cy="159799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1" i="0" u="none" strike="noStrike" kern="1200" cap="none" spc="0" normalizeH="0" baseline="0" noProof="0">
              <a:ln>
                <a:noFill/>
              </a:ln>
              <a:solidFill>
                <a:srgbClr val="585854">
                  <a:lumMod val="20000"/>
                  <a:lumOff val="80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023918F-1749-1C6A-E4C9-925DC879135F}"/>
              </a:ext>
            </a:extLst>
          </p:cNvPr>
          <p:cNvSpPr txBox="1"/>
          <p:nvPr/>
        </p:nvSpPr>
        <p:spPr>
          <a:xfrm>
            <a:off x="4148775" y="875821"/>
            <a:ext cx="455050" cy="3927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CB813"/>
              </a:buClr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017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705555AE-DAF3-C695-350B-A5FC660A4E97}"/>
              </a:ext>
            </a:extLst>
          </p:cNvPr>
          <p:cNvSpPr/>
          <p:nvPr/>
        </p:nvSpPr>
        <p:spPr>
          <a:xfrm>
            <a:off x="4296401" y="1329274"/>
            <a:ext cx="159799" cy="159799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1" i="0" u="none" strike="noStrike" kern="1200" cap="none" spc="0" normalizeH="0" baseline="0" noProof="0">
              <a:ln>
                <a:noFill/>
              </a:ln>
              <a:solidFill>
                <a:srgbClr val="585854">
                  <a:lumMod val="20000"/>
                  <a:lumOff val="80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3BA4649-3908-7E4B-7396-3A342BDAF53E}"/>
              </a:ext>
            </a:extLst>
          </p:cNvPr>
          <p:cNvCxnSpPr>
            <a:cxnSpLocks/>
            <a:stCxn id="11" idx="4"/>
          </p:cNvCxnSpPr>
          <p:nvPr/>
        </p:nvCxnSpPr>
        <p:spPr>
          <a:xfrm>
            <a:off x="1708625" y="1489073"/>
            <a:ext cx="0" cy="182159"/>
          </a:xfrm>
          <a:prstGeom prst="line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B9CD3A27-3DB4-DD66-9C34-F805CEEBBE21}"/>
              </a:ext>
            </a:extLst>
          </p:cNvPr>
          <p:cNvSpPr txBox="1"/>
          <p:nvPr/>
        </p:nvSpPr>
        <p:spPr>
          <a:xfrm>
            <a:off x="6760591" y="875821"/>
            <a:ext cx="455050" cy="3927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CB813"/>
              </a:buClr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018</a:t>
            </a: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5A6912E9-03A7-F1A5-8873-CD10EAFBFCC6}"/>
              </a:ext>
            </a:extLst>
          </p:cNvPr>
          <p:cNvSpPr/>
          <p:nvPr/>
        </p:nvSpPr>
        <p:spPr>
          <a:xfrm>
            <a:off x="6908217" y="1329274"/>
            <a:ext cx="159799" cy="159799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472B40BE-5A54-32A8-2335-25A0B1C6E2F1}"/>
              </a:ext>
            </a:extLst>
          </p:cNvPr>
          <p:cNvCxnSpPr>
            <a:cxnSpLocks/>
            <a:stCxn id="27" idx="4"/>
          </p:cNvCxnSpPr>
          <p:nvPr/>
        </p:nvCxnSpPr>
        <p:spPr>
          <a:xfrm>
            <a:off x="6988117" y="1489073"/>
            <a:ext cx="0" cy="182159"/>
          </a:xfrm>
          <a:prstGeom prst="line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AD04E9B1-D818-CC2A-C3E1-A054967B5055}"/>
              </a:ext>
            </a:extLst>
          </p:cNvPr>
          <p:cNvSpPr txBox="1"/>
          <p:nvPr/>
        </p:nvSpPr>
        <p:spPr>
          <a:xfrm>
            <a:off x="1003952" y="4088166"/>
            <a:ext cx="8166942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2C5E77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Optimal response to treatment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; CT and PET prior to </a:t>
            </a:r>
            <a:r>
              <a:rPr kumimoji="0" lang="en-GB" sz="2000" b="0" i="0" u="none" strike="noStrike" kern="1200" cap="none" spc="0" normalizeH="0" baseline="0" noProof="0" err="1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llo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-SCT were negative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2C5E77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ontinuous CR 6 years after </a:t>
            </a:r>
            <a:r>
              <a:rPr kumimoji="0" lang="en-GB" sz="2000" b="1" i="0" u="none" strike="noStrike" kern="1200" cap="none" spc="0" normalizeH="0" baseline="0" noProof="0" err="1">
                <a:ln>
                  <a:noFill/>
                </a:ln>
                <a:solidFill>
                  <a:srgbClr val="2C5E77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llo</a:t>
            </a: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2C5E77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-SCT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atient undergoing post-transplant follow-up, without signs of GVHD </a:t>
            </a:r>
          </a:p>
        </p:txBody>
      </p:sp>
      <p:sp>
        <p:nvSpPr>
          <p:cNvPr id="5" name="Free-form: Shape 4">
            <a:extLst>
              <a:ext uri="{FF2B5EF4-FFF2-40B4-BE49-F238E27FC236}">
                <a16:creationId xmlns:a16="http://schemas.microsoft.com/office/drawing/2014/main" id="{65C3C16E-E847-C00F-D8DB-FFDEBE9D7097}"/>
              </a:ext>
            </a:extLst>
          </p:cNvPr>
          <p:cNvSpPr/>
          <p:nvPr/>
        </p:nvSpPr>
        <p:spPr>
          <a:xfrm>
            <a:off x="758224" y="3553116"/>
            <a:ext cx="4700271" cy="431128"/>
          </a:xfrm>
          <a:custGeom>
            <a:avLst/>
            <a:gdLst>
              <a:gd name="csX0" fmla="*/ 0 w 2467896"/>
              <a:gd name="csY0" fmla="*/ 0 h 2099374"/>
              <a:gd name="csX1" fmla="*/ 747251 w 2467896"/>
              <a:gd name="csY1" fmla="*/ 0 h 2099374"/>
              <a:gd name="csX2" fmla="*/ 747251 w 2467896"/>
              <a:gd name="csY2" fmla="*/ 1 h 2099374"/>
              <a:gd name="csX3" fmla="*/ 2467896 w 2467896"/>
              <a:gd name="csY3" fmla="*/ 1 h 2099374"/>
              <a:gd name="csX4" fmla="*/ 2467896 w 2467896"/>
              <a:gd name="csY4" fmla="*/ 1946981 h 2099374"/>
              <a:gd name="csX5" fmla="*/ 2315503 w 2467896"/>
              <a:gd name="csY5" fmla="*/ 2099374 h 2099374"/>
              <a:gd name="csX6" fmla="*/ 152393 w 2467896"/>
              <a:gd name="csY6" fmla="*/ 2099374 h 2099374"/>
              <a:gd name="csX7" fmla="*/ 152383 w 2467896"/>
              <a:gd name="csY7" fmla="*/ 2099372 h 2099374"/>
              <a:gd name="csX8" fmla="*/ 0 w 2467896"/>
              <a:gd name="csY8" fmla="*/ 2099372 h 2099374"/>
              <a:gd name="csX9" fmla="*/ 0 w 2467896"/>
              <a:gd name="csY9" fmla="*/ 1946981 h 2099374"/>
              <a:gd name="csX10" fmla="*/ 0 w 2467896"/>
              <a:gd name="csY10" fmla="*/ 1 h 209937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</a:cxnLst>
            <a:rect l="l" t="t" r="r" b="b"/>
            <a:pathLst>
              <a:path w="2467896" h="2099374">
                <a:moveTo>
                  <a:pt x="0" y="0"/>
                </a:moveTo>
                <a:lnTo>
                  <a:pt x="747251" y="0"/>
                </a:lnTo>
                <a:lnTo>
                  <a:pt x="747251" y="1"/>
                </a:lnTo>
                <a:lnTo>
                  <a:pt x="2467896" y="1"/>
                </a:lnTo>
                <a:lnTo>
                  <a:pt x="2467896" y="1946981"/>
                </a:lnTo>
                <a:cubicBezTo>
                  <a:pt x="2467896" y="2031145"/>
                  <a:pt x="2399667" y="2099374"/>
                  <a:pt x="2315503" y="2099374"/>
                </a:cubicBezTo>
                <a:lnTo>
                  <a:pt x="152393" y="2099374"/>
                </a:lnTo>
                <a:lnTo>
                  <a:pt x="152383" y="2099372"/>
                </a:lnTo>
                <a:lnTo>
                  <a:pt x="0" y="2099372"/>
                </a:lnTo>
                <a:lnTo>
                  <a:pt x="0" y="1946981"/>
                </a:lnTo>
                <a:lnTo>
                  <a:pt x="0" y="1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esponse to </a:t>
            </a:r>
            <a:r>
              <a:rPr kumimoji="0" lang="en-GB" sz="2000" b="1" i="0" u="none" strike="noStrike" kern="1200" cap="none" spc="0" normalizeH="0" baseline="0" noProof="0" err="1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llo</a:t>
            </a: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-SCT </a:t>
            </a:r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B7B14BC3-4C13-C3F5-91B6-C424DEAAE3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01CC8E-1CEF-6746-999E-CF29FF00B1D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82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4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26DACB4-C5BC-431F-DB85-AB1B35AFE640}"/>
              </a:ext>
            </a:extLst>
          </p:cNvPr>
          <p:cNvSpPr txBox="1"/>
          <p:nvPr/>
        </p:nvSpPr>
        <p:spPr>
          <a:xfrm>
            <a:off x="9254011" y="1685520"/>
            <a:ext cx="2545765" cy="1692771"/>
          </a:xfrm>
          <a:prstGeom prst="rect">
            <a:avLst/>
          </a:prstGeom>
          <a:noFill/>
        </p:spPr>
        <p:txBody>
          <a:bodyPr wrap="square" lIns="45720" tIns="45720" rIns="4572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1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4L treatment: </a:t>
            </a:r>
            <a:r>
              <a:rPr kumimoji="0" lang="en-GB" sz="1400" b="1" i="0" u="none" strike="noStrike" kern="1200" cap="none" spc="0" normalizeH="0" baseline="0" noProof="0" err="1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Loncastuximab</a:t>
            </a: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r>
              <a:rPr kumimoji="0" lang="en-GB" sz="1400" b="1" i="0" u="none" strike="noStrike" kern="1200" cap="none" spc="0" normalizeH="0" baseline="0" noProof="0" err="1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esirine</a:t>
            </a:r>
            <a:r>
              <a:rPr kumimoji="0" lang="en-CH" sz="14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×8</a:t>
            </a: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b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(June to November 2019, </a:t>
            </a:r>
            <a:b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LOTIS-2, NCT03589469), </a:t>
            </a:r>
            <a:b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hen haploidentical </a:t>
            </a:r>
            <a:r>
              <a:rPr kumimoji="0" lang="en-GB" sz="1400" b="1" i="0" u="none" strike="noStrike" kern="1200" cap="none" spc="0" normalizeH="0" baseline="0" noProof="0" err="1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llo</a:t>
            </a: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-SCT</a:t>
            </a: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, conditioning with </a:t>
            </a:r>
            <a:r>
              <a:rPr kumimoji="0" lang="en-GB" sz="1400" b="0" i="0" u="none" strike="noStrike" kern="1200" cap="none" spc="0" normalizeH="0" baseline="0" noProof="0" err="1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FluCy</a:t>
            </a: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and TBI</a:t>
            </a: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226B598-825E-7902-F5D3-39537A22B0A3}"/>
              </a:ext>
            </a:extLst>
          </p:cNvPr>
          <p:cNvSpPr txBox="1"/>
          <p:nvPr/>
        </p:nvSpPr>
        <p:spPr>
          <a:xfrm>
            <a:off x="4145756" y="1671232"/>
            <a:ext cx="2474500" cy="738664"/>
          </a:xfrm>
          <a:prstGeom prst="rect">
            <a:avLst/>
          </a:prstGeom>
          <a:noFill/>
        </p:spPr>
        <p:txBody>
          <a:bodyPr wrap="square" lIns="45720" tIns="45720" rIns="4572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1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L treatment: </a:t>
            </a: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-</a:t>
            </a:r>
            <a:r>
              <a:rPr kumimoji="0" lang="en-GB" sz="1400" b="1" i="0" u="none" strike="noStrike" kern="1200" cap="none" spc="0" normalizeH="0" baseline="0" noProof="0" err="1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HAOx</a:t>
            </a:r>
            <a:endParaRPr kumimoji="0" lang="en-GB" sz="1400" b="1" i="0" u="none" strike="noStrike" kern="1200" cap="none" spc="0" normalizeH="0" baseline="0" noProof="0">
              <a:ln>
                <a:noFill/>
              </a:ln>
              <a:solidFill>
                <a:srgbClr val="585854">
                  <a:lumMod val="20000"/>
                  <a:lumOff val="80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1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Outcome: </a:t>
            </a: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D with transformation to DLBCL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575242B8-19CC-0B52-7790-B8F44EF78179}"/>
              </a:ext>
            </a:extLst>
          </p:cNvPr>
          <p:cNvSpPr txBox="1"/>
          <p:nvPr/>
        </p:nvSpPr>
        <p:spPr>
          <a:xfrm>
            <a:off x="6760592" y="1671232"/>
            <a:ext cx="2493420" cy="954107"/>
          </a:xfrm>
          <a:prstGeom prst="rect">
            <a:avLst/>
          </a:prstGeom>
          <a:noFill/>
        </p:spPr>
        <p:txBody>
          <a:bodyPr wrap="square" lIns="45720" tIns="45720" rIns="4572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1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3L treatment: </a:t>
            </a: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BR + anti-PDL1 (Durvalumab, Fusion NHL 001, NCT02733042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1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Outcome: </a:t>
            </a: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D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D291FFAF-831E-EBFF-A4ED-2D1DB7B0AEB4}"/>
              </a:ext>
            </a:extLst>
          </p:cNvPr>
          <p:cNvSpPr txBox="1"/>
          <p:nvPr/>
        </p:nvSpPr>
        <p:spPr>
          <a:xfrm>
            <a:off x="758225" y="1671232"/>
            <a:ext cx="2482410" cy="954107"/>
          </a:xfrm>
          <a:prstGeom prst="rect">
            <a:avLst/>
          </a:prstGeom>
          <a:noFill/>
        </p:spPr>
        <p:txBody>
          <a:bodyPr wrap="square" lIns="45720" tIns="45720" rIns="45720" bIns="45720" rtlCol="0">
            <a:spAutoFit/>
          </a:bodyPr>
          <a:lstStyle>
            <a:defPPr>
              <a:defRPr lang="sv-SE"/>
            </a:defPPr>
            <a:lvl1pPr>
              <a:defRPr sz="1600" i="1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1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L treatment: </a:t>
            </a: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-CHOP + R maintenanc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1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Outcome: </a:t>
            </a: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R and relapse after 18 months </a:t>
            </a: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(POD24)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71749E35-08F0-B845-AF2C-A8EF35DB2E69}"/>
              </a:ext>
            </a:extLst>
          </p:cNvPr>
          <p:cNvCxnSpPr>
            <a:cxnSpLocks/>
          </p:cNvCxnSpPr>
          <p:nvPr/>
        </p:nvCxnSpPr>
        <p:spPr>
          <a:xfrm>
            <a:off x="4376301" y="1489073"/>
            <a:ext cx="0" cy="182159"/>
          </a:xfrm>
          <a:prstGeom prst="line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17193932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0394419-B308-2725-A3FE-5739DC2007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1" name="Straight Connector 4">
            <a:extLst>
              <a:ext uri="{FF2B5EF4-FFF2-40B4-BE49-F238E27FC236}">
                <a16:creationId xmlns:a16="http://schemas.microsoft.com/office/drawing/2014/main" id="{83E36CDE-39E6-416F-44D7-11C0AE68A78B}"/>
              </a:ext>
            </a:extLst>
          </p:cNvPr>
          <p:cNvCxnSpPr>
            <a:cxnSpLocks/>
          </p:cNvCxnSpPr>
          <p:nvPr/>
        </p:nvCxnSpPr>
        <p:spPr>
          <a:xfrm>
            <a:off x="3582807" y="1251894"/>
            <a:ext cx="0" cy="4615506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23555B62-FF4D-631E-FDA6-53843E77E578}"/>
              </a:ext>
            </a:extLst>
          </p:cNvPr>
          <p:cNvSpPr txBox="1">
            <a:spLocks/>
          </p:cNvSpPr>
          <p:nvPr/>
        </p:nvSpPr>
        <p:spPr>
          <a:xfrm>
            <a:off x="262890" y="3429000"/>
            <a:ext cx="3211825" cy="203194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400" b="0" i="1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ge: </a:t>
            </a:r>
            <a:r>
              <a:rPr kumimoji="0" lang="en-GB" sz="2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72 years old </a:t>
            </a:r>
            <a:br>
              <a:rPr kumimoji="0" lang="en-GB" sz="2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GB" sz="2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(at diagnosis)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400" b="0" i="1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ex: </a:t>
            </a:r>
            <a:r>
              <a:rPr kumimoji="0" lang="en-GB" sz="2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Male </a:t>
            </a:r>
          </a:p>
        </p:txBody>
      </p:sp>
      <p:sp>
        <p:nvSpPr>
          <p:cNvPr id="23" name="TextBox 9">
            <a:extLst>
              <a:ext uri="{FF2B5EF4-FFF2-40B4-BE49-F238E27FC236}">
                <a16:creationId xmlns:a16="http://schemas.microsoft.com/office/drawing/2014/main" id="{3944CF48-4357-21A6-4D42-D489EB6B91B0}"/>
              </a:ext>
            </a:extLst>
          </p:cNvPr>
          <p:cNvSpPr txBox="1"/>
          <p:nvPr/>
        </p:nvSpPr>
        <p:spPr>
          <a:xfrm>
            <a:off x="4198556" y="1895632"/>
            <a:ext cx="6185241" cy="2033181"/>
          </a:xfrm>
          <a:prstGeom prst="rect">
            <a:avLst/>
          </a:prstGeom>
          <a:noFill/>
        </p:spPr>
        <p:txBody>
          <a:bodyPr wrap="square" lIns="0" rIns="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8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iagnosis</a:t>
            </a: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EB92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iffuse large B-cell lymphoma diagnosed in 2024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EB92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GC-subtyp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EB92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High-risk disease (age, elevated LDH, ECOG PS 2, IPI 4, Stage IV with diffuse nodal and adrenal gland localisation)</a:t>
            </a:r>
          </a:p>
        </p:txBody>
      </p:sp>
      <p:sp>
        <p:nvSpPr>
          <p:cNvPr id="24" name="TextBox 11">
            <a:extLst>
              <a:ext uri="{FF2B5EF4-FFF2-40B4-BE49-F238E27FC236}">
                <a16:creationId xmlns:a16="http://schemas.microsoft.com/office/drawing/2014/main" id="{ED7AAB4A-DC29-5D00-DED7-6604356163E1}"/>
              </a:ext>
            </a:extLst>
          </p:cNvPr>
          <p:cNvSpPr txBox="1"/>
          <p:nvPr/>
        </p:nvSpPr>
        <p:spPr>
          <a:xfrm>
            <a:off x="4168076" y="3834219"/>
            <a:ext cx="6185241" cy="2033181"/>
          </a:xfrm>
          <a:prstGeom prst="rect">
            <a:avLst/>
          </a:prstGeom>
          <a:noFill/>
        </p:spPr>
        <p:txBody>
          <a:bodyPr wrap="square" lIns="0" rIns="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8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elevant medical history</a:t>
            </a: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EB92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Hypertension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EB92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ype 2 diabet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EB92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ulmonary embolism in 2016</a:t>
            </a:r>
          </a:p>
        </p:txBody>
      </p:sp>
      <p:sp>
        <p:nvSpPr>
          <p:cNvPr id="25" name="Oval 12">
            <a:extLst>
              <a:ext uri="{FF2B5EF4-FFF2-40B4-BE49-F238E27FC236}">
                <a16:creationId xmlns:a16="http://schemas.microsoft.com/office/drawing/2014/main" id="{B588BB1A-BBBC-DFBB-C86C-B2D2E9B379C6}"/>
              </a:ext>
            </a:extLst>
          </p:cNvPr>
          <p:cNvSpPr/>
          <p:nvPr/>
        </p:nvSpPr>
        <p:spPr>
          <a:xfrm>
            <a:off x="1331603" y="1907119"/>
            <a:ext cx="1296000" cy="1296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6" name="Arc 14">
            <a:extLst>
              <a:ext uri="{FF2B5EF4-FFF2-40B4-BE49-F238E27FC236}">
                <a16:creationId xmlns:a16="http://schemas.microsoft.com/office/drawing/2014/main" id="{06C11BCC-2950-3E30-B470-055C4FB2D8C1}"/>
              </a:ext>
            </a:extLst>
          </p:cNvPr>
          <p:cNvSpPr/>
          <p:nvPr/>
        </p:nvSpPr>
        <p:spPr bwMode="auto">
          <a:xfrm rot="18861982">
            <a:off x="1686207" y="1812111"/>
            <a:ext cx="355726" cy="421125"/>
          </a:xfrm>
          <a:prstGeom prst="arc">
            <a:avLst>
              <a:gd name="adj1" fmla="val 4503400"/>
              <a:gd name="adj2" fmla="val 8614742"/>
            </a:avLst>
          </a:prstGeom>
          <a:noFill/>
          <a:ln w="12700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7" name="Straight Connector 16">
            <a:extLst>
              <a:ext uri="{FF2B5EF4-FFF2-40B4-BE49-F238E27FC236}">
                <a16:creationId xmlns:a16="http://schemas.microsoft.com/office/drawing/2014/main" id="{1B43CE88-7C2E-2AB3-4492-288DBE2636F0}"/>
              </a:ext>
            </a:extLst>
          </p:cNvPr>
          <p:cNvCxnSpPr>
            <a:cxnSpLocks/>
          </p:cNvCxnSpPr>
          <p:nvPr/>
        </p:nvCxnSpPr>
        <p:spPr>
          <a:xfrm>
            <a:off x="1752967" y="2885054"/>
            <a:ext cx="0" cy="80462"/>
          </a:xfrm>
          <a:prstGeom prst="line">
            <a:avLst/>
          </a:prstGeom>
          <a:ln w="12700" cap="rnd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17">
            <a:extLst>
              <a:ext uri="{FF2B5EF4-FFF2-40B4-BE49-F238E27FC236}">
                <a16:creationId xmlns:a16="http://schemas.microsoft.com/office/drawing/2014/main" id="{DE8EDCBC-1484-4A45-CCFC-D1BCC92B07E9}"/>
              </a:ext>
            </a:extLst>
          </p:cNvPr>
          <p:cNvCxnSpPr>
            <a:cxnSpLocks/>
          </p:cNvCxnSpPr>
          <p:nvPr/>
        </p:nvCxnSpPr>
        <p:spPr>
          <a:xfrm>
            <a:off x="2221052" y="2896533"/>
            <a:ext cx="0" cy="80462"/>
          </a:xfrm>
          <a:prstGeom prst="line">
            <a:avLst/>
          </a:prstGeom>
          <a:ln w="12700" cap="rnd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Arc 18">
            <a:extLst>
              <a:ext uri="{FF2B5EF4-FFF2-40B4-BE49-F238E27FC236}">
                <a16:creationId xmlns:a16="http://schemas.microsoft.com/office/drawing/2014/main" id="{434EB322-F341-19CA-D40E-31AE6FA0DBB0}"/>
              </a:ext>
            </a:extLst>
          </p:cNvPr>
          <p:cNvSpPr/>
          <p:nvPr/>
        </p:nvSpPr>
        <p:spPr bwMode="auto">
          <a:xfrm rot="10800000">
            <a:off x="1801739" y="2121330"/>
            <a:ext cx="355727" cy="421125"/>
          </a:xfrm>
          <a:prstGeom prst="arc">
            <a:avLst>
              <a:gd name="adj1" fmla="val 8581502"/>
              <a:gd name="adj2" fmla="val 2398834"/>
            </a:avLst>
          </a:prstGeom>
          <a:noFill/>
          <a:ln w="12700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0" name="Freeform 53">
            <a:extLst>
              <a:ext uri="{FF2B5EF4-FFF2-40B4-BE49-F238E27FC236}">
                <a16:creationId xmlns:a16="http://schemas.microsoft.com/office/drawing/2014/main" id="{303360C5-AC1A-67D5-5C1E-8FCE84D25968}"/>
              </a:ext>
            </a:extLst>
          </p:cNvPr>
          <p:cNvSpPr/>
          <p:nvPr/>
        </p:nvSpPr>
        <p:spPr>
          <a:xfrm>
            <a:off x="1606997" y="2582604"/>
            <a:ext cx="745211" cy="392133"/>
          </a:xfrm>
          <a:custGeom>
            <a:avLst/>
            <a:gdLst>
              <a:gd name="connsiteX0" fmla="*/ 0 w 2039816"/>
              <a:gd name="connsiteY0" fmla="*/ 1125415 h 1125415"/>
              <a:gd name="connsiteX1" fmla="*/ 130629 w 2039816"/>
              <a:gd name="connsiteY1" fmla="*/ 221064 h 1125415"/>
              <a:gd name="connsiteX2" fmla="*/ 653143 w 2039816"/>
              <a:gd name="connsiteY2" fmla="*/ 0 h 1125415"/>
              <a:gd name="connsiteX3" fmla="*/ 974691 w 2039816"/>
              <a:gd name="connsiteY3" fmla="*/ 622998 h 1125415"/>
              <a:gd name="connsiteX4" fmla="*/ 1095271 w 2039816"/>
              <a:gd name="connsiteY4" fmla="*/ 622998 h 1125415"/>
              <a:gd name="connsiteX5" fmla="*/ 1406770 w 2039816"/>
              <a:gd name="connsiteY5" fmla="*/ 40193 h 1125415"/>
              <a:gd name="connsiteX6" fmla="*/ 1939332 w 2039816"/>
              <a:gd name="connsiteY6" fmla="*/ 301450 h 1125415"/>
              <a:gd name="connsiteX7" fmla="*/ 2039816 w 2039816"/>
              <a:gd name="connsiteY7" fmla="*/ 1125415 h 1125415"/>
              <a:gd name="connsiteX0" fmla="*/ 0 w 2039816"/>
              <a:gd name="connsiteY0" fmla="*/ 1125415 h 1125415"/>
              <a:gd name="connsiteX1" fmla="*/ 130629 w 2039816"/>
              <a:gd name="connsiteY1" fmla="*/ 221064 h 1125415"/>
              <a:gd name="connsiteX2" fmla="*/ 653143 w 2039816"/>
              <a:gd name="connsiteY2" fmla="*/ 0 h 1125415"/>
              <a:gd name="connsiteX3" fmla="*/ 974691 w 2039816"/>
              <a:gd name="connsiteY3" fmla="*/ 622998 h 1125415"/>
              <a:gd name="connsiteX4" fmla="*/ 1095271 w 2039816"/>
              <a:gd name="connsiteY4" fmla="*/ 622998 h 1125415"/>
              <a:gd name="connsiteX5" fmla="*/ 1406770 w 2039816"/>
              <a:gd name="connsiteY5" fmla="*/ 40193 h 1125415"/>
              <a:gd name="connsiteX6" fmla="*/ 1939332 w 2039816"/>
              <a:gd name="connsiteY6" fmla="*/ 301450 h 1125415"/>
              <a:gd name="connsiteX7" fmla="*/ 2039816 w 2039816"/>
              <a:gd name="connsiteY7" fmla="*/ 1125415 h 1125415"/>
              <a:gd name="connsiteX0" fmla="*/ 0 w 2039816"/>
              <a:gd name="connsiteY0" fmla="*/ 1125415 h 1125415"/>
              <a:gd name="connsiteX1" fmla="*/ 130629 w 2039816"/>
              <a:gd name="connsiteY1" fmla="*/ 221064 h 1125415"/>
              <a:gd name="connsiteX2" fmla="*/ 653143 w 2039816"/>
              <a:gd name="connsiteY2" fmla="*/ 0 h 1125415"/>
              <a:gd name="connsiteX3" fmla="*/ 974691 w 2039816"/>
              <a:gd name="connsiteY3" fmla="*/ 622998 h 1125415"/>
              <a:gd name="connsiteX4" fmla="*/ 1095271 w 2039816"/>
              <a:gd name="connsiteY4" fmla="*/ 622998 h 1125415"/>
              <a:gd name="connsiteX5" fmla="*/ 1406770 w 2039816"/>
              <a:gd name="connsiteY5" fmla="*/ 40193 h 1125415"/>
              <a:gd name="connsiteX6" fmla="*/ 1939332 w 2039816"/>
              <a:gd name="connsiteY6" fmla="*/ 301450 h 1125415"/>
              <a:gd name="connsiteX7" fmla="*/ 2039816 w 2039816"/>
              <a:gd name="connsiteY7" fmla="*/ 1125415 h 1125415"/>
              <a:gd name="connsiteX0" fmla="*/ 0 w 2039816"/>
              <a:gd name="connsiteY0" fmla="*/ 1125415 h 1125415"/>
              <a:gd name="connsiteX1" fmla="*/ 130629 w 2039816"/>
              <a:gd name="connsiteY1" fmla="*/ 221064 h 1125415"/>
              <a:gd name="connsiteX2" fmla="*/ 653143 w 2039816"/>
              <a:gd name="connsiteY2" fmla="*/ 0 h 1125415"/>
              <a:gd name="connsiteX3" fmla="*/ 974691 w 2039816"/>
              <a:gd name="connsiteY3" fmla="*/ 622998 h 1125415"/>
              <a:gd name="connsiteX4" fmla="*/ 1095271 w 2039816"/>
              <a:gd name="connsiteY4" fmla="*/ 622998 h 1125415"/>
              <a:gd name="connsiteX5" fmla="*/ 1406770 w 2039816"/>
              <a:gd name="connsiteY5" fmla="*/ 40193 h 1125415"/>
              <a:gd name="connsiteX6" fmla="*/ 1939332 w 2039816"/>
              <a:gd name="connsiteY6" fmla="*/ 301450 h 1125415"/>
              <a:gd name="connsiteX7" fmla="*/ 2039816 w 2039816"/>
              <a:gd name="connsiteY7" fmla="*/ 1125415 h 1125415"/>
              <a:gd name="connsiteX0" fmla="*/ 0 w 2039816"/>
              <a:gd name="connsiteY0" fmla="*/ 1125807 h 1125807"/>
              <a:gd name="connsiteX1" fmla="*/ 130629 w 2039816"/>
              <a:gd name="connsiteY1" fmla="*/ 221456 h 1125807"/>
              <a:gd name="connsiteX2" fmla="*/ 653143 w 2039816"/>
              <a:gd name="connsiteY2" fmla="*/ 392 h 1125807"/>
              <a:gd name="connsiteX3" fmla="*/ 974691 w 2039816"/>
              <a:gd name="connsiteY3" fmla="*/ 623390 h 1125807"/>
              <a:gd name="connsiteX4" fmla="*/ 1095271 w 2039816"/>
              <a:gd name="connsiteY4" fmla="*/ 623390 h 1125807"/>
              <a:gd name="connsiteX5" fmla="*/ 1406770 w 2039816"/>
              <a:gd name="connsiteY5" fmla="*/ 40585 h 1125807"/>
              <a:gd name="connsiteX6" fmla="*/ 1939332 w 2039816"/>
              <a:gd name="connsiteY6" fmla="*/ 301842 h 1125807"/>
              <a:gd name="connsiteX7" fmla="*/ 2039816 w 2039816"/>
              <a:gd name="connsiteY7" fmla="*/ 1125807 h 1125807"/>
              <a:gd name="connsiteX0" fmla="*/ 0 w 2039816"/>
              <a:gd name="connsiteY0" fmla="*/ 1125767 h 1125767"/>
              <a:gd name="connsiteX1" fmla="*/ 130629 w 2039816"/>
              <a:gd name="connsiteY1" fmla="*/ 221416 h 1125767"/>
              <a:gd name="connsiteX2" fmla="*/ 653143 w 2039816"/>
              <a:gd name="connsiteY2" fmla="*/ 352 h 1125767"/>
              <a:gd name="connsiteX3" fmla="*/ 974691 w 2039816"/>
              <a:gd name="connsiteY3" fmla="*/ 623350 h 1125767"/>
              <a:gd name="connsiteX4" fmla="*/ 1095271 w 2039816"/>
              <a:gd name="connsiteY4" fmla="*/ 623350 h 1125767"/>
              <a:gd name="connsiteX5" fmla="*/ 1406770 w 2039816"/>
              <a:gd name="connsiteY5" fmla="*/ 40545 h 1125767"/>
              <a:gd name="connsiteX6" fmla="*/ 1939332 w 2039816"/>
              <a:gd name="connsiteY6" fmla="*/ 301802 h 1125767"/>
              <a:gd name="connsiteX7" fmla="*/ 2039816 w 2039816"/>
              <a:gd name="connsiteY7" fmla="*/ 1125767 h 1125767"/>
              <a:gd name="connsiteX0" fmla="*/ 0 w 2039816"/>
              <a:gd name="connsiteY0" fmla="*/ 1125767 h 1125767"/>
              <a:gd name="connsiteX1" fmla="*/ 130629 w 2039816"/>
              <a:gd name="connsiteY1" fmla="*/ 221416 h 1125767"/>
              <a:gd name="connsiteX2" fmla="*/ 653143 w 2039816"/>
              <a:gd name="connsiteY2" fmla="*/ 352 h 1125767"/>
              <a:gd name="connsiteX3" fmla="*/ 974691 w 2039816"/>
              <a:gd name="connsiteY3" fmla="*/ 623350 h 1125767"/>
              <a:gd name="connsiteX4" fmla="*/ 1095271 w 2039816"/>
              <a:gd name="connsiteY4" fmla="*/ 623350 h 1125767"/>
              <a:gd name="connsiteX5" fmla="*/ 1406770 w 2039816"/>
              <a:gd name="connsiteY5" fmla="*/ 40545 h 1125767"/>
              <a:gd name="connsiteX6" fmla="*/ 1939332 w 2039816"/>
              <a:gd name="connsiteY6" fmla="*/ 301802 h 1125767"/>
              <a:gd name="connsiteX7" fmla="*/ 2039816 w 2039816"/>
              <a:gd name="connsiteY7" fmla="*/ 1125767 h 1125767"/>
              <a:gd name="connsiteX0" fmla="*/ 0 w 2039816"/>
              <a:gd name="connsiteY0" fmla="*/ 1125767 h 1125767"/>
              <a:gd name="connsiteX1" fmla="*/ 130629 w 2039816"/>
              <a:gd name="connsiteY1" fmla="*/ 221416 h 1125767"/>
              <a:gd name="connsiteX2" fmla="*/ 653143 w 2039816"/>
              <a:gd name="connsiteY2" fmla="*/ 352 h 1125767"/>
              <a:gd name="connsiteX3" fmla="*/ 974691 w 2039816"/>
              <a:gd name="connsiteY3" fmla="*/ 623350 h 1125767"/>
              <a:gd name="connsiteX4" fmla="*/ 1095271 w 2039816"/>
              <a:gd name="connsiteY4" fmla="*/ 623350 h 1125767"/>
              <a:gd name="connsiteX5" fmla="*/ 1406770 w 2039816"/>
              <a:gd name="connsiteY5" fmla="*/ 40545 h 1125767"/>
              <a:gd name="connsiteX6" fmla="*/ 1939332 w 2039816"/>
              <a:gd name="connsiteY6" fmla="*/ 301802 h 1125767"/>
              <a:gd name="connsiteX7" fmla="*/ 2039816 w 2039816"/>
              <a:gd name="connsiteY7" fmla="*/ 1125767 h 1125767"/>
              <a:gd name="connsiteX0" fmla="*/ 0 w 2039816"/>
              <a:gd name="connsiteY0" fmla="*/ 1125767 h 1125767"/>
              <a:gd name="connsiteX1" fmla="*/ 130629 w 2039816"/>
              <a:gd name="connsiteY1" fmla="*/ 221416 h 1125767"/>
              <a:gd name="connsiteX2" fmla="*/ 653143 w 2039816"/>
              <a:gd name="connsiteY2" fmla="*/ 352 h 1125767"/>
              <a:gd name="connsiteX3" fmla="*/ 974691 w 2039816"/>
              <a:gd name="connsiteY3" fmla="*/ 623350 h 1125767"/>
              <a:gd name="connsiteX4" fmla="*/ 1095271 w 2039816"/>
              <a:gd name="connsiteY4" fmla="*/ 623350 h 1125767"/>
              <a:gd name="connsiteX5" fmla="*/ 1406770 w 2039816"/>
              <a:gd name="connsiteY5" fmla="*/ 40545 h 1125767"/>
              <a:gd name="connsiteX6" fmla="*/ 1939332 w 2039816"/>
              <a:gd name="connsiteY6" fmla="*/ 301802 h 1125767"/>
              <a:gd name="connsiteX7" fmla="*/ 2039816 w 2039816"/>
              <a:gd name="connsiteY7" fmla="*/ 1125767 h 1125767"/>
              <a:gd name="connsiteX0" fmla="*/ 0 w 2039816"/>
              <a:gd name="connsiteY0" fmla="*/ 1125766 h 1125766"/>
              <a:gd name="connsiteX1" fmla="*/ 130629 w 2039816"/>
              <a:gd name="connsiteY1" fmla="*/ 221415 h 1125766"/>
              <a:gd name="connsiteX2" fmla="*/ 653143 w 2039816"/>
              <a:gd name="connsiteY2" fmla="*/ 351 h 1125766"/>
              <a:gd name="connsiteX3" fmla="*/ 974691 w 2039816"/>
              <a:gd name="connsiteY3" fmla="*/ 623349 h 1125766"/>
              <a:gd name="connsiteX4" fmla="*/ 1095271 w 2039816"/>
              <a:gd name="connsiteY4" fmla="*/ 623349 h 1125766"/>
              <a:gd name="connsiteX5" fmla="*/ 1406770 w 2039816"/>
              <a:gd name="connsiteY5" fmla="*/ 40544 h 1125766"/>
              <a:gd name="connsiteX6" fmla="*/ 1939332 w 2039816"/>
              <a:gd name="connsiteY6" fmla="*/ 301801 h 1125766"/>
              <a:gd name="connsiteX7" fmla="*/ 2039816 w 2039816"/>
              <a:gd name="connsiteY7" fmla="*/ 1125766 h 1125766"/>
              <a:gd name="connsiteX0" fmla="*/ 0 w 2039816"/>
              <a:gd name="connsiteY0" fmla="*/ 1126058 h 1126058"/>
              <a:gd name="connsiteX1" fmla="*/ 130629 w 2039816"/>
              <a:gd name="connsiteY1" fmla="*/ 221707 h 1126058"/>
              <a:gd name="connsiteX2" fmla="*/ 653143 w 2039816"/>
              <a:gd name="connsiteY2" fmla="*/ 643 h 1126058"/>
              <a:gd name="connsiteX3" fmla="*/ 974691 w 2039816"/>
              <a:gd name="connsiteY3" fmla="*/ 623641 h 1126058"/>
              <a:gd name="connsiteX4" fmla="*/ 1095271 w 2039816"/>
              <a:gd name="connsiteY4" fmla="*/ 623641 h 1126058"/>
              <a:gd name="connsiteX5" fmla="*/ 1406770 w 2039816"/>
              <a:gd name="connsiteY5" fmla="*/ 40836 h 1126058"/>
              <a:gd name="connsiteX6" fmla="*/ 1939332 w 2039816"/>
              <a:gd name="connsiteY6" fmla="*/ 302093 h 1126058"/>
              <a:gd name="connsiteX7" fmla="*/ 2039816 w 2039816"/>
              <a:gd name="connsiteY7" fmla="*/ 1126058 h 1126058"/>
              <a:gd name="connsiteX0" fmla="*/ 0 w 2109542"/>
              <a:gd name="connsiteY0" fmla="*/ 1161570 h 1161570"/>
              <a:gd name="connsiteX1" fmla="*/ 200355 w 2109542"/>
              <a:gd name="connsiteY1" fmla="*/ 222356 h 1161570"/>
              <a:gd name="connsiteX2" fmla="*/ 722869 w 2109542"/>
              <a:gd name="connsiteY2" fmla="*/ 1292 h 1161570"/>
              <a:gd name="connsiteX3" fmla="*/ 1044417 w 2109542"/>
              <a:gd name="connsiteY3" fmla="*/ 624290 h 1161570"/>
              <a:gd name="connsiteX4" fmla="*/ 1164997 w 2109542"/>
              <a:gd name="connsiteY4" fmla="*/ 624290 h 1161570"/>
              <a:gd name="connsiteX5" fmla="*/ 1476496 w 2109542"/>
              <a:gd name="connsiteY5" fmla="*/ 41485 h 1161570"/>
              <a:gd name="connsiteX6" fmla="*/ 2009058 w 2109542"/>
              <a:gd name="connsiteY6" fmla="*/ 302742 h 1161570"/>
              <a:gd name="connsiteX7" fmla="*/ 2109542 w 2109542"/>
              <a:gd name="connsiteY7" fmla="*/ 1126707 h 1161570"/>
              <a:gd name="connsiteX0" fmla="*/ 0 w 2179268"/>
              <a:gd name="connsiteY0" fmla="*/ 1161570 h 1171531"/>
              <a:gd name="connsiteX1" fmla="*/ 200355 w 2179268"/>
              <a:gd name="connsiteY1" fmla="*/ 222356 h 1171531"/>
              <a:gd name="connsiteX2" fmla="*/ 722869 w 2179268"/>
              <a:gd name="connsiteY2" fmla="*/ 1292 h 1171531"/>
              <a:gd name="connsiteX3" fmla="*/ 1044417 w 2179268"/>
              <a:gd name="connsiteY3" fmla="*/ 624290 h 1171531"/>
              <a:gd name="connsiteX4" fmla="*/ 1164997 w 2179268"/>
              <a:gd name="connsiteY4" fmla="*/ 624290 h 1171531"/>
              <a:gd name="connsiteX5" fmla="*/ 1476496 w 2179268"/>
              <a:gd name="connsiteY5" fmla="*/ 41485 h 1171531"/>
              <a:gd name="connsiteX6" fmla="*/ 2009058 w 2179268"/>
              <a:gd name="connsiteY6" fmla="*/ 302742 h 1171531"/>
              <a:gd name="connsiteX7" fmla="*/ 2179268 w 2179268"/>
              <a:gd name="connsiteY7" fmla="*/ 1171531 h 1171531"/>
              <a:gd name="connsiteX0" fmla="*/ 0 w 2179268"/>
              <a:gd name="connsiteY0" fmla="*/ 1161570 h 1171531"/>
              <a:gd name="connsiteX1" fmla="*/ 200355 w 2179268"/>
              <a:gd name="connsiteY1" fmla="*/ 222356 h 1171531"/>
              <a:gd name="connsiteX2" fmla="*/ 722869 w 2179268"/>
              <a:gd name="connsiteY2" fmla="*/ 1292 h 1171531"/>
              <a:gd name="connsiteX3" fmla="*/ 1044417 w 2179268"/>
              <a:gd name="connsiteY3" fmla="*/ 624290 h 1171531"/>
              <a:gd name="connsiteX4" fmla="*/ 1179939 w 2179268"/>
              <a:gd name="connsiteY4" fmla="*/ 504759 h 1171531"/>
              <a:gd name="connsiteX5" fmla="*/ 1476496 w 2179268"/>
              <a:gd name="connsiteY5" fmla="*/ 41485 h 1171531"/>
              <a:gd name="connsiteX6" fmla="*/ 2009058 w 2179268"/>
              <a:gd name="connsiteY6" fmla="*/ 302742 h 1171531"/>
              <a:gd name="connsiteX7" fmla="*/ 2179268 w 2179268"/>
              <a:gd name="connsiteY7" fmla="*/ 1171531 h 1171531"/>
              <a:gd name="connsiteX0" fmla="*/ 0 w 2179268"/>
              <a:gd name="connsiteY0" fmla="*/ 1161570 h 1171531"/>
              <a:gd name="connsiteX1" fmla="*/ 200355 w 2179268"/>
              <a:gd name="connsiteY1" fmla="*/ 222356 h 1171531"/>
              <a:gd name="connsiteX2" fmla="*/ 722869 w 2179268"/>
              <a:gd name="connsiteY2" fmla="*/ 1292 h 1171531"/>
              <a:gd name="connsiteX3" fmla="*/ 1044417 w 2179268"/>
              <a:gd name="connsiteY3" fmla="*/ 624290 h 1171531"/>
              <a:gd name="connsiteX4" fmla="*/ 1476496 w 2179268"/>
              <a:gd name="connsiteY4" fmla="*/ 41485 h 1171531"/>
              <a:gd name="connsiteX5" fmla="*/ 2009058 w 2179268"/>
              <a:gd name="connsiteY5" fmla="*/ 302742 h 1171531"/>
              <a:gd name="connsiteX6" fmla="*/ 2179268 w 2179268"/>
              <a:gd name="connsiteY6" fmla="*/ 1171531 h 1171531"/>
              <a:gd name="connsiteX0" fmla="*/ 0 w 2179268"/>
              <a:gd name="connsiteY0" fmla="*/ 1161570 h 1171531"/>
              <a:gd name="connsiteX1" fmla="*/ 200355 w 2179268"/>
              <a:gd name="connsiteY1" fmla="*/ 222356 h 1171531"/>
              <a:gd name="connsiteX2" fmla="*/ 722869 w 2179268"/>
              <a:gd name="connsiteY2" fmla="*/ 1292 h 1171531"/>
              <a:gd name="connsiteX3" fmla="*/ 1084261 w 2179268"/>
              <a:gd name="connsiteY3" fmla="*/ 395189 h 1171531"/>
              <a:gd name="connsiteX4" fmla="*/ 1476496 w 2179268"/>
              <a:gd name="connsiteY4" fmla="*/ 41485 h 1171531"/>
              <a:gd name="connsiteX5" fmla="*/ 2009058 w 2179268"/>
              <a:gd name="connsiteY5" fmla="*/ 302742 h 1171531"/>
              <a:gd name="connsiteX6" fmla="*/ 2179268 w 2179268"/>
              <a:gd name="connsiteY6" fmla="*/ 1171531 h 1171531"/>
              <a:gd name="connsiteX0" fmla="*/ 0 w 2179268"/>
              <a:gd name="connsiteY0" fmla="*/ 1161570 h 1171531"/>
              <a:gd name="connsiteX1" fmla="*/ 200355 w 2179268"/>
              <a:gd name="connsiteY1" fmla="*/ 222356 h 1171531"/>
              <a:gd name="connsiteX2" fmla="*/ 722869 w 2179268"/>
              <a:gd name="connsiteY2" fmla="*/ 1292 h 1171531"/>
              <a:gd name="connsiteX3" fmla="*/ 1084261 w 2179268"/>
              <a:gd name="connsiteY3" fmla="*/ 395189 h 1171531"/>
              <a:gd name="connsiteX4" fmla="*/ 1476496 w 2179268"/>
              <a:gd name="connsiteY4" fmla="*/ 41485 h 1171531"/>
              <a:gd name="connsiteX5" fmla="*/ 2009058 w 2179268"/>
              <a:gd name="connsiteY5" fmla="*/ 302742 h 1171531"/>
              <a:gd name="connsiteX6" fmla="*/ 2179268 w 2179268"/>
              <a:gd name="connsiteY6" fmla="*/ 1171531 h 1171531"/>
              <a:gd name="connsiteX0" fmla="*/ 0 w 2179268"/>
              <a:gd name="connsiteY0" fmla="*/ 1161570 h 1171531"/>
              <a:gd name="connsiteX1" fmla="*/ 200355 w 2179268"/>
              <a:gd name="connsiteY1" fmla="*/ 222356 h 1171531"/>
              <a:gd name="connsiteX2" fmla="*/ 722869 w 2179268"/>
              <a:gd name="connsiteY2" fmla="*/ 1292 h 1171531"/>
              <a:gd name="connsiteX3" fmla="*/ 1084261 w 2179268"/>
              <a:gd name="connsiteY3" fmla="*/ 395189 h 1171531"/>
              <a:gd name="connsiteX4" fmla="*/ 1476496 w 2179268"/>
              <a:gd name="connsiteY4" fmla="*/ 41485 h 1171531"/>
              <a:gd name="connsiteX5" fmla="*/ 2009058 w 2179268"/>
              <a:gd name="connsiteY5" fmla="*/ 302742 h 1171531"/>
              <a:gd name="connsiteX6" fmla="*/ 2179268 w 2179268"/>
              <a:gd name="connsiteY6" fmla="*/ 1171531 h 1171531"/>
              <a:gd name="connsiteX0" fmla="*/ 0 w 2179268"/>
              <a:gd name="connsiteY0" fmla="*/ 1161570 h 1171531"/>
              <a:gd name="connsiteX1" fmla="*/ 200355 w 2179268"/>
              <a:gd name="connsiteY1" fmla="*/ 222356 h 1171531"/>
              <a:gd name="connsiteX2" fmla="*/ 722869 w 2179268"/>
              <a:gd name="connsiteY2" fmla="*/ 1292 h 1171531"/>
              <a:gd name="connsiteX3" fmla="*/ 1084261 w 2179268"/>
              <a:gd name="connsiteY3" fmla="*/ 395189 h 1171531"/>
              <a:gd name="connsiteX4" fmla="*/ 1476496 w 2179268"/>
              <a:gd name="connsiteY4" fmla="*/ 41485 h 1171531"/>
              <a:gd name="connsiteX5" fmla="*/ 2009058 w 2179268"/>
              <a:gd name="connsiteY5" fmla="*/ 302742 h 1171531"/>
              <a:gd name="connsiteX6" fmla="*/ 2179268 w 2179268"/>
              <a:gd name="connsiteY6" fmla="*/ 1171531 h 1171531"/>
              <a:gd name="connsiteX0" fmla="*/ 0 w 2179268"/>
              <a:gd name="connsiteY0" fmla="*/ 1161570 h 1171531"/>
              <a:gd name="connsiteX1" fmla="*/ 200355 w 2179268"/>
              <a:gd name="connsiteY1" fmla="*/ 222356 h 1171531"/>
              <a:gd name="connsiteX2" fmla="*/ 722869 w 2179268"/>
              <a:gd name="connsiteY2" fmla="*/ 1292 h 1171531"/>
              <a:gd name="connsiteX3" fmla="*/ 1084261 w 2179268"/>
              <a:gd name="connsiteY3" fmla="*/ 395189 h 1171531"/>
              <a:gd name="connsiteX4" fmla="*/ 1476496 w 2179268"/>
              <a:gd name="connsiteY4" fmla="*/ 41485 h 1171531"/>
              <a:gd name="connsiteX5" fmla="*/ 2009058 w 2179268"/>
              <a:gd name="connsiteY5" fmla="*/ 302742 h 1171531"/>
              <a:gd name="connsiteX6" fmla="*/ 2179268 w 2179268"/>
              <a:gd name="connsiteY6" fmla="*/ 1171531 h 1171531"/>
              <a:gd name="connsiteX0" fmla="*/ 0 w 2179268"/>
              <a:gd name="connsiteY0" fmla="*/ 1137367 h 1147328"/>
              <a:gd name="connsiteX1" fmla="*/ 200355 w 2179268"/>
              <a:gd name="connsiteY1" fmla="*/ 198153 h 1147328"/>
              <a:gd name="connsiteX2" fmla="*/ 727020 w 2179268"/>
              <a:gd name="connsiteY2" fmla="*/ 1991 h 1147328"/>
              <a:gd name="connsiteX3" fmla="*/ 1084261 w 2179268"/>
              <a:gd name="connsiteY3" fmla="*/ 370986 h 1147328"/>
              <a:gd name="connsiteX4" fmla="*/ 1476496 w 2179268"/>
              <a:gd name="connsiteY4" fmla="*/ 17282 h 1147328"/>
              <a:gd name="connsiteX5" fmla="*/ 2009058 w 2179268"/>
              <a:gd name="connsiteY5" fmla="*/ 278539 h 1147328"/>
              <a:gd name="connsiteX6" fmla="*/ 2179268 w 2179268"/>
              <a:gd name="connsiteY6" fmla="*/ 1147328 h 1147328"/>
              <a:gd name="connsiteX0" fmla="*/ 0 w 2179268"/>
              <a:gd name="connsiteY0" fmla="*/ 1137367 h 1147328"/>
              <a:gd name="connsiteX1" fmla="*/ 200355 w 2179268"/>
              <a:gd name="connsiteY1" fmla="*/ 198153 h 1147328"/>
              <a:gd name="connsiteX2" fmla="*/ 727020 w 2179268"/>
              <a:gd name="connsiteY2" fmla="*/ 1991 h 1147328"/>
              <a:gd name="connsiteX3" fmla="*/ 1084261 w 2179268"/>
              <a:gd name="connsiteY3" fmla="*/ 370986 h 1147328"/>
              <a:gd name="connsiteX4" fmla="*/ 1476496 w 2179268"/>
              <a:gd name="connsiteY4" fmla="*/ 17282 h 1147328"/>
              <a:gd name="connsiteX5" fmla="*/ 2009058 w 2179268"/>
              <a:gd name="connsiteY5" fmla="*/ 278539 h 1147328"/>
              <a:gd name="connsiteX6" fmla="*/ 2179268 w 2179268"/>
              <a:gd name="connsiteY6" fmla="*/ 1147328 h 1147328"/>
              <a:gd name="connsiteX0" fmla="*/ 0 w 2179268"/>
              <a:gd name="connsiteY0" fmla="*/ 1137367 h 1147328"/>
              <a:gd name="connsiteX1" fmla="*/ 200355 w 2179268"/>
              <a:gd name="connsiteY1" fmla="*/ 198153 h 1147328"/>
              <a:gd name="connsiteX2" fmla="*/ 727020 w 2179268"/>
              <a:gd name="connsiteY2" fmla="*/ 1991 h 1147328"/>
              <a:gd name="connsiteX3" fmla="*/ 1084261 w 2179268"/>
              <a:gd name="connsiteY3" fmla="*/ 370986 h 1147328"/>
              <a:gd name="connsiteX4" fmla="*/ 1476496 w 2179268"/>
              <a:gd name="connsiteY4" fmla="*/ 17282 h 1147328"/>
              <a:gd name="connsiteX5" fmla="*/ 2009058 w 2179268"/>
              <a:gd name="connsiteY5" fmla="*/ 278539 h 1147328"/>
              <a:gd name="connsiteX6" fmla="*/ 2179268 w 2179268"/>
              <a:gd name="connsiteY6" fmla="*/ 1147328 h 1147328"/>
              <a:gd name="connsiteX0" fmla="*/ 0 w 2179268"/>
              <a:gd name="connsiteY0" fmla="*/ 1136775 h 1146736"/>
              <a:gd name="connsiteX1" fmla="*/ 200355 w 2179268"/>
              <a:gd name="connsiteY1" fmla="*/ 214163 h 1146736"/>
              <a:gd name="connsiteX2" fmla="*/ 727020 w 2179268"/>
              <a:gd name="connsiteY2" fmla="*/ 1399 h 1146736"/>
              <a:gd name="connsiteX3" fmla="*/ 1084261 w 2179268"/>
              <a:gd name="connsiteY3" fmla="*/ 370394 h 1146736"/>
              <a:gd name="connsiteX4" fmla="*/ 1476496 w 2179268"/>
              <a:gd name="connsiteY4" fmla="*/ 16690 h 1146736"/>
              <a:gd name="connsiteX5" fmla="*/ 2009058 w 2179268"/>
              <a:gd name="connsiteY5" fmla="*/ 277947 h 1146736"/>
              <a:gd name="connsiteX6" fmla="*/ 2179268 w 2179268"/>
              <a:gd name="connsiteY6" fmla="*/ 1146736 h 11467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179268" h="1146736">
                <a:moveTo>
                  <a:pt x="0" y="1136775"/>
                </a:moveTo>
                <a:cubicBezTo>
                  <a:pt x="43543" y="835325"/>
                  <a:pt x="79185" y="403392"/>
                  <a:pt x="200355" y="214163"/>
                </a:cubicBezTo>
                <a:cubicBezTo>
                  <a:pt x="321525" y="24934"/>
                  <a:pt x="654913" y="-7840"/>
                  <a:pt x="727020" y="1399"/>
                </a:cubicBezTo>
                <a:cubicBezTo>
                  <a:pt x="754073" y="69513"/>
                  <a:pt x="772580" y="371995"/>
                  <a:pt x="1084261" y="370394"/>
                </a:cubicBezTo>
                <a:cubicBezTo>
                  <a:pt x="1395942" y="368793"/>
                  <a:pt x="1435399" y="104708"/>
                  <a:pt x="1476496" y="16690"/>
                </a:cubicBezTo>
                <a:cubicBezTo>
                  <a:pt x="1539195" y="20848"/>
                  <a:pt x="1891929" y="89606"/>
                  <a:pt x="2009058" y="277947"/>
                </a:cubicBezTo>
                <a:cubicBezTo>
                  <a:pt x="2126187" y="466288"/>
                  <a:pt x="2145773" y="872081"/>
                  <a:pt x="2179268" y="1146736"/>
                </a:cubicBezTo>
              </a:path>
            </a:pathLst>
          </a:custGeom>
          <a:noFill/>
          <a:ln w="12700" cap="rnd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1" name="Arc 104">
            <a:extLst>
              <a:ext uri="{FF2B5EF4-FFF2-40B4-BE49-F238E27FC236}">
                <a16:creationId xmlns:a16="http://schemas.microsoft.com/office/drawing/2014/main" id="{6F77F092-1B2B-3EE2-C6BA-3E4382ADCFFF}"/>
              </a:ext>
            </a:extLst>
          </p:cNvPr>
          <p:cNvSpPr/>
          <p:nvPr/>
        </p:nvSpPr>
        <p:spPr bwMode="auto">
          <a:xfrm rot="8113193">
            <a:off x="1749342" y="2089196"/>
            <a:ext cx="318818" cy="210563"/>
          </a:xfrm>
          <a:custGeom>
            <a:avLst/>
            <a:gdLst>
              <a:gd name="connsiteX0" fmla="*/ 449810 w 500779"/>
              <a:gd name="connsiteY0" fmla="*/ 475673 h 592845"/>
              <a:gd name="connsiteX1" fmla="*/ 236096 w 500779"/>
              <a:gd name="connsiteY1" fmla="*/ 592362 h 592845"/>
              <a:gd name="connsiteX2" fmla="*/ 37891 w 500779"/>
              <a:gd name="connsiteY2" fmla="*/ 453209 h 592845"/>
              <a:gd name="connsiteX3" fmla="*/ 250390 w 500779"/>
              <a:gd name="connsiteY3" fmla="*/ 296423 h 592845"/>
              <a:gd name="connsiteX4" fmla="*/ 449810 w 500779"/>
              <a:gd name="connsiteY4" fmla="*/ 475673 h 592845"/>
              <a:gd name="connsiteX0" fmla="*/ 449810 w 500779"/>
              <a:gd name="connsiteY0" fmla="*/ 475673 h 592845"/>
              <a:gd name="connsiteX1" fmla="*/ 236096 w 500779"/>
              <a:gd name="connsiteY1" fmla="*/ 592362 h 592845"/>
              <a:gd name="connsiteX2" fmla="*/ 37891 w 500779"/>
              <a:gd name="connsiteY2" fmla="*/ 453209 h 592845"/>
              <a:gd name="connsiteX0" fmla="*/ 411919 w 448820"/>
              <a:gd name="connsiteY0" fmla="*/ 179250 h 296423"/>
              <a:gd name="connsiteX1" fmla="*/ 198205 w 448820"/>
              <a:gd name="connsiteY1" fmla="*/ 295939 h 296423"/>
              <a:gd name="connsiteX2" fmla="*/ 0 w 448820"/>
              <a:gd name="connsiteY2" fmla="*/ 156786 h 296423"/>
              <a:gd name="connsiteX3" fmla="*/ 212499 w 448820"/>
              <a:gd name="connsiteY3" fmla="*/ 0 h 296423"/>
              <a:gd name="connsiteX4" fmla="*/ 411919 w 448820"/>
              <a:gd name="connsiteY4" fmla="*/ 179250 h 296423"/>
              <a:gd name="connsiteX0" fmla="*/ 448820 w 448820"/>
              <a:gd name="connsiteY0" fmla="*/ 142065 h 296423"/>
              <a:gd name="connsiteX1" fmla="*/ 198205 w 448820"/>
              <a:gd name="connsiteY1" fmla="*/ 295939 h 296423"/>
              <a:gd name="connsiteX2" fmla="*/ 0 w 448820"/>
              <a:gd name="connsiteY2" fmla="*/ 156786 h 296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48820" h="296423" stroke="0" extrusionOk="0">
                <a:moveTo>
                  <a:pt x="411919" y="179250"/>
                </a:moveTo>
                <a:cubicBezTo>
                  <a:pt x="361523" y="257827"/>
                  <a:pt x="281407" y="301570"/>
                  <a:pt x="198205" y="295939"/>
                </a:cubicBezTo>
                <a:cubicBezTo>
                  <a:pt x="116961" y="290440"/>
                  <a:pt x="43043" y="238544"/>
                  <a:pt x="0" y="156786"/>
                </a:cubicBezTo>
                <a:lnTo>
                  <a:pt x="212499" y="0"/>
                </a:lnTo>
                <a:lnTo>
                  <a:pt x="411919" y="179250"/>
                </a:lnTo>
                <a:close/>
              </a:path>
              <a:path w="448820" h="296423" fill="none">
                <a:moveTo>
                  <a:pt x="448820" y="142065"/>
                </a:moveTo>
                <a:cubicBezTo>
                  <a:pt x="398424" y="220642"/>
                  <a:pt x="281407" y="301570"/>
                  <a:pt x="198205" y="295939"/>
                </a:cubicBezTo>
                <a:cubicBezTo>
                  <a:pt x="116961" y="290440"/>
                  <a:pt x="43043" y="238544"/>
                  <a:pt x="0" y="156786"/>
                </a:cubicBezTo>
              </a:path>
            </a:pathLst>
          </a:custGeom>
          <a:noFill/>
          <a:ln w="12700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" name="Arc 105">
            <a:extLst>
              <a:ext uri="{FF2B5EF4-FFF2-40B4-BE49-F238E27FC236}">
                <a16:creationId xmlns:a16="http://schemas.microsoft.com/office/drawing/2014/main" id="{C01EC443-CA7D-B008-4046-395B871ACDCF}"/>
              </a:ext>
            </a:extLst>
          </p:cNvPr>
          <p:cNvSpPr/>
          <p:nvPr/>
        </p:nvSpPr>
        <p:spPr bwMode="auto">
          <a:xfrm rot="4849263" flipV="1">
            <a:off x="1980965" y="2079642"/>
            <a:ext cx="233660" cy="201591"/>
          </a:xfrm>
          <a:custGeom>
            <a:avLst/>
            <a:gdLst>
              <a:gd name="connsiteX0" fmla="*/ 272270 w 500779"/>
              <a:gd name="connsiteY0" fmla="*/ 591711 h 592845"/>
              <a:gd name="connsiteX1" fmla="*/ 5815 w 500779"/>
              <a:gd name="connsiteY1" fmla="*/ 359935 h 592845"/>
              <a:gd name="connsiteX2" fmla="*/ 250390 w 500779"/>
              <a:gd name="connsiteY2" fmla="*/ 296423 h 592845"/>
              <a:gd name="connsiteX3" fmla="*/ 272270 w 500779"/>
              <a:gd name="connsiteY3" fmla="*/ 591711 h 592845"/>
              <a:gd name="connsiteX0" fmla="*/ 272270 w 500779"/>
              <a:gd name="connsiteY0" fmla="*/ 591711 h 592845"/>
              <a:gd name="connsiteX1" fmla="*/ 5815 w 500779"/>
              <a:gd name="connsiteY1" fmla="*/ 359935 h 592845"/>
              <a:gd name="connsiteX0" fmla="*/ 266455 w 287827"/>
              <a:gd name="connsiteY0" fmla="*/ 295288 h 296434"/>
              <a:gd name="connsiteX1" fmla="*/ 0 w 287827"/>
              <a:gd name="connsiteY1" fmla="*/ 63512 h 296434"/>
              <a:gd name="connsiteX2" fmla="*/ 244575 w 287827"/>
              <a:gd name="connsiteY2" fmla="*/ 0 h 296434"/>
              <a:gd name="connsiteX3" fmla="*/ 266455 w 287827"/>
              <a:gd name="connsiteY3" fmla="*/ 295288 h 296434"/>
              <a:gd name="connsiteX0" fmla="*/ 287827 w 287827"/>
              <a:gd name="connsiteY0" fmla="*/ 248416 h 296434"/>
              <a:gd name="connsiteX1" fmla="*/ 0 w 287827"/>
              <a:gd name="connsiteY1" fmla="*/ 63512 h 296434"/>
              <a:gd name="connsiteX0" fmla="*/ 266455 w 326343"/>
              <a:gd name="connsiteY0" fmla="*/ 295288 h 296434"/>
              <a:gd name="connsiteX1" fmla="*/ 0 w 326343"/>
              <a:gd name="connsiteY1" fmla="*/ 63512 h 296434"/>
              <a:gd name="connsiteX2" fmla="*/ 244575 w 326343"/>
              <a:gd name="connsiteY2" fmla="*/ 0 h 296434"/>
              <a:gd name="connsiteX3" fmla="*/ 266455 w 326343"/>
              <a:gd name="connsiteY3" fmla="*/ 295288 h 296434"/>
              <a:gd name="connsiteX0" fmla="*/ 326343 w 326343"/>
              <a:gd name="connsiteY0" fmla="*/ 218071 h 296434"/>
              <a:gd name="connsiteX1" fmla="*/ 0 w 326343"/>
              <a:gd name="connsiteY1" fmla="*/ 63512 h 2964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26343" h="296434" stroke="0" extrusionOk="0">
                <a:moveTo>
                  <a:pt x="266455" y="295288"/>
                </a:moveTo>
                <a:cubicBezTo>
                  <a:pt x="141049" y="308311"/>
                  <a:pt x="26973" y="209082"/>
                  <a:pt x="0" y="63512"/>
                </a:cubicBezTo>
                <a:lnTo>
                  <a:pt x="244575" y="0"/>
                </a:lnTo>
                <a:lnTo>
                  <a:pt x="266455" y="295288"/>
                </a:lnTo>
                <a:close/>
              </a:path>
              <a:path w="326343" h="296434" fill="none">
                <a:moveTo>
                  <a:pt x="326343" y="218071"/>
                </a:moveTo>
                <a:cubicBezTo>
                  <a:pt x="200937" y="231094"/>
                  <a:pt x="26973" y="209082"/>
                  <a:pt x="0" y="63512"/>
                </a:cubicBezTo>
              </a:path>
            </a:pathLst>
          </a:custGeom>
          <a:noFill/>
          <a:ln w="12700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6FE84683-466D-BFB6-B3B5-CF9DE5F2FD6A}"/>
              </a:ext>
            </a:extLst>
          </p:cNvPr>
          <p:cNvSpPr txBox="1">
            <a:spLocks/>
          </p:cNvSpPr>
          <p:nvPr/>
        </p:nvSpPr>
        <p:spPr>
          <a:xfrm>
            <a:off x="469900" y="311150"/>
            <a:ext cx="10317269" cy="930910"/>
          </a:xfrm>
          <a:prstGeom prst="rect">
            <a:avLst/>
          </a:prstGeom>
        </p:spPr>
        <p:txBody>
          <a:bodyPr vert="horz" lIns="90000" tIns="46800" rIns="90000" bIns="4680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400" b="0" i="0" kern="1200">
                <a:solidFill>
                  <a:schemeClr val="tx2"/>
                </a:solidFill>
                <a:latin typeface="Aptos" panose="020B000402020202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j-ea"/>
                <a:cs typeface="+mj-cs"/>
              </a:rPr>
              <a:t>Case 4: Diagnosis and past medical history </a:t>
            </a:r>
            <a:endParaRPr kumimoji="0" lang="en-GB" sz="3400" b="0" i="0" u="none" strike="noStrike" kern="1200" cap="none" spc="0" normalizeH="0" baseline="3000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j-ea"/>
              <a:cs typeface="+mj-cs"/>
            </a:endParaRP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93D91FF9-C43C-108C-694F-5C90172CC69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70645" y="6291951"/>
            <a:ext cx="10440000" cy="428000"/>
          </a:xfrm>
        </p:spPr>
        <p:txBody>
          <a:bodyPr/>
          <a:lstStyle/>
          <a:p>
            <a:r>
              <a:rPr lang="en-GB"/>
              <a:t>ECOG, Eastern Cooperative Oncology Group performance status; GC, germinal centre; IPI, International Prognostic Index; LDH, lactate dehydrogenase; PS, performance status.</a:t>
            </a:r>
          </a:p>
          <a:p>
            <a:r>
              <a:rPr lang="en-GB"/>
              <a:t>Patient case provided by Prof. Enrico </a:t>
            </a:r>
            <a:r>
              <a:rPr lang="en-GB" err="1"/>
              <a:t>Derenzini</a:t>
            </a:r>
            <a:r>
              <a:rPr lang="en-GB"/>
              <a:t>.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1DCAC0B-2753-9AF0-51D9-22E2AA2265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01CC8E-1CEF-6746-999E-CF29FF00B1D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82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5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63401335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DA807C0-BC86-CEE5-736C-87B1AD9D58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0508D261-5118-DEB5-227E-C29AF01EFB59}"/>
              </a:ext>
            </a:extLst>
          </p:cNvPr>
          <p:cNvCxnSpPr>
            <a:cxnSpLocks/>
          </p:cNvCxnSpPr>
          <p:nvPr/>
        </p:nvCxnSpPr>
        <p:spPr>
          <a:xfrm>
            <a:off x="577415" y="3748737"/>
            <a:ext cx="10907449" cy="0"/>
          </a:xfrm>
          <a:prstGeom prst="line">
            <a:avLst/>
          </a:prstGeom>
          <a:ln w="285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9BEEF06-4653-18F9-318F-39FFF6D45F6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70645" y="6291951"/>
            <a:ext cx="10440000" cy="428000"/>
          </a:xfrm>
        </p:spPr>
        <p:txBody>
          <a:bodyPr/>
          <a:lstStyle/>
          <a:p>
            <a:r>
              <a:rPr lang="en-GB"/>
              <a:t>1L, first line; CHOP, cyclophosphamide, doxorubicin, vincristine and prednisone; DLBCL, diffuse large B-cell lymphoma; PD, progressive disease; R, rituximab.</a:t>
            </a:r>
          </a:p>
          <a:p>
            <a:r>
              <a:rPr lang="en-GB"/>
              <a:t>Patient case provided by Prof. Enrico </a:t>
            </a:r>
            <a:r>
              <a:rPr lang="en-GB" err="1"/>
              <a:t>Derenzini</a:t>
            </a:r>
            <a:r>
              <a:rPr lang="en-GB"/>
              <a:t>.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FFE9D5D1-8F97-018F-AFC1-B7D3EB0EB53B}"/>
              </a:ext>
            </a:extLst>
          </p:cNvPr>
          <p:cNvSpPr txBox="1">
            <a:spLocks/>
          </p:cNvSpPr>
          <p:nvPr/>
        </p:nvSpPr>
        <p:spPr>
          <a:xfrm>
            <a:off x="469900" y="311150"/>
            <a:ext cx="10317269" cy="930910"/>
          </a:xfrm>
          <a:prstGeom prst="rect">
            <a:avLst/>
          </a:prstGeom>
        </p:spPr>
        <p:txBody>
          <a:bodyPr vert="horz" lIns="90000" tIns="46800" rIns="90000" bIns="4680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400" b="0" i="0" kern="1200">
                <a:solidFill>
                  <a:schemeClr val="tx2"/>
                </a:solidFill>
                <a:latin typeface="Aptos" panose="020B000402020202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j-ea"/>
                <a:cs typeface="+mj-cs"/>
              </a:rPr>
              <a:t>Treatment of 1L high-risk DLBCL</a:t>
            </a:r>
            <a:endParaRPr kumimoji="0" lang="en-GB" sz="3400" b="0" i="0" u="none" strike="noStrike" kern="1200" cap="none" spc="0" normalizeH="0" baseline="3000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j-ea"/>
              <a:cs typeface="+mj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EC4E6B4-B31C-46AC-F40D-49DE36CA5320}"/>
              </a:ext>
            </a:extLst>
          </p:cNvPr>
          <p:cNvSpPr txBox="1"/>
          <p:nvPr/>
        </p:nvSpPr>
        <p:spPr>
          <a:xfrm>
            <a:off x="1481099" y="3217549"/>
            <a:ext cx="455050" cy="3927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CB813"/>
              </a:buClr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025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C94D60C8-81D1-5EFA-CB74-62E2BD6C1D75}"/>
              </a:ext>
            </a:extLst>
          </p:cNvPr>
          <p:cNvSpPr/>
          <p:nvPr/>
        </p:nvSpPr>
        <p:spPr>
          <a:xfrm>
            <a:off x="1628725" y="3671002"/>
            <a:ext cx="159799" cy="159799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625FA5E6-807E-D93D-7494-80583166ADF9}"/>
              </a:ext>
            </a:extLst>
          </p:cNvPr>
          <p:cNvCxnSpPr>
            <a:cxnSpLocks/>
            <a:stCxn id="13" idx="4"/>
          </p:cNvCxnSpPr>
          <p:nvPr/>
        </p:nvCxnSpPr>
        <p:spPr>
          <a:xfrm>
            <a:off x="1708625" y="3830801"/>
            <a:ext cx="0" cy="182159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5" name="TextBox 34">
            <a:extLst>
              <a:ext uri="{FF2B5EF4-FFF2-40B4-BE49-F238E27FC236}">
                <a16:creationId xmlns:a16="http://schemas.microsoft.com/office/drawing/2014/main" id="{9FD13F3E-AA16-4BF7-D48A-1140E6C8303C}"/>
              </a:ext>
            </a:extLst>
          </p:cNvPr>
          <p:cNvSpPr txBox="1"/>
          <p:nvPr/>
        </p:nvSpPr>
        <p:spPr>
          <a:xfrm>
            <a:off x="758225" y="4012960"/>
            <a:ext cx="4396920" cy="1015663"/>
          </a:xfrm>
          <a:prstGeom prst="rect">
            <a:avLst/>
          </a:prstGeom>
          <a:noFill/>
        </p:spPr>
        <p:txBody>
          <a:bodyPr wrap="square" lIns="45720" tIns="45720" rIns="4572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1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L treatment: </a:t>
            </a: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-CHOP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1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Outcome: </a:t>
            </a: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F15922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D with rapidly progressing diseas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4A7BB84-83D4-9119-51F5-B63AB792A0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01CC8E-1CEF-6746-999E-CF29FF00B1D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82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6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6975CFB7-9520-F6FE-C336-216EBDE1B35D}"/>
              </a:ext>
            </a:extLst>
          </p:cNvPr>
          <p:cNvSpPr/>
          <p:nvPr/>
        </p:nvSpPr>
        <p:spPr>
          <a:xfrm>
            <a:off x="1423738" y="2751699"/>
            <a:ext cx="593138" cy="104135"/>
          </a:xfrm>
          <a:prstGeom prst="ellipse">
            <a:avLst/>
          </a:prstGeom>
          <a:solidFill>
            <a:schemeClr val="tx1">
              <a:alpha val="6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" name="Free-form: Shape 5">
            <a:extLst>
              <a:ext uri="{FF2B5EF4-FFF2-40B4-BE49-F238E27FC236}">
                <a16:creationId xmlns:a16="http://schemas.microsoft.com/office/drawing/2014/main" id="{034C1BD0-4605-67D0-4538-D18FEF3AC1BC}"/>
              </a:ext>
            </a:extLst>
          </p:cNvPr>
          <p:cNvSpPr/>
          <p:nvPr/>
        </p:nvSpPr>
        <p:spPr>
          <a:xfrm>
            <a:off x="1522404" y="2071048"/>
            <a:ext cx="433137" cy="770022"/>
          </a:xfrm>
          <a:custGeom>
            <a:avLst/>
            <a:gdLst>
              <a:gd name="csX0" fmla="*/ 581793 w 697572"/>
              <a:gd name="csY0" fmla="*/ 1234401 h 1240128"/>
              <a:gd name="csX1" fmla="*/ 577427 w 697572"/>
              <a:gd name="csY1" fmla="*/ 1234156 h 1240128"/>
              <a:gd name="csX2" fmla="*/ 559133 w 697572"/>
              <a:gd name="csY2" fmla="*/ 1230909 h 1240128"/>
              <a:gd name="csX3" fmla="*/ 516706 w 697572"/>
              <a:gd name="csY3" fmla="*/ 1235117 h 1240128"/>
              <a:gd name="csX4" fmla="*/ 475244 w 697572"/>
              <a:gd name="csY4" fmla="*/ 1237506 h 1240128"/>
              <a:gd name="csX5" fmla="*/ 371154 w 697572"/>
              <a:gd name="csY5" fmla="*/ 1239428 h 1240128"/>
              <a:gd name="csX6" fmla="*/ 276813 w 697572"/>
              <a:gd name="csY6" fmla="*/ 1237654 h 1240128"/>
              <a:gd name="csX7" fmla="*/ 268212 w 697572"/>
              <a:gd name="csY7" fmla="*/ 1237635 h 1240128"/>
              <a:gd name="csX8" fmla="*/ 262072 w 697572"/>
              <a:gd name="csY8" fmla="*/ 1237523 h 1240128"/>
              <a:gd name="csX9" fmla="*/ 195111 w 697572"/>
              <a:gd name="csY9" fmla="*/ 1232775 h 1240128"/>
              <a:gd name="csX10" fmla="*/ 145060 w 697572"/>
              <a:gd name="csY10" fmla="*/ 1230076 h 1240128"/>
              <a:gd name="csX11" fmla="*/ 114933 w 697572"/>
              <a:gd name="csY11" fmla="*/ 1225832 h 1240128"/>
              <a:gd name="csX12" fmla="*/ 72642 w 697572"/>
              <a:gd name="csY12" fmla="*/ 1220237 h 1240128"/>
              <a:gd name="csX13" fmla="*/ 10894 w 697572"/>
              <a:gd name="csY13" fmla="*/ 1205737 h 1240128"/>
              <a:gd name="csX14" fmla="*/ 5856 w 697572"/>
              <a:gd name="csY14" fmla="*/ 1202799 h 1240128"/>
              <a:gd name="csX15" fmla="*/ 40 w 697572"/>
              <a:gd name="csY15" fmla="*/ 1174450 h 1240128"/>
              <a:gd name="csX16" fmla="*/ 19831 w 697572"/>
              <a:gd name="csY16" fmla="*/ 1118410 h 1240128"/>
              <a:gd name="csX17" fmla="*/ 22004 w 697572"/>
              <a:gd name="csY17" fmla="*/ 1107240 h 1240128"/>
              <a:gd name="csX18" fmla="*/ 25947 w 697572"/>
              <a:gd name="csY18" fmla="*/ 1038650 h 1240128"/>
              <a:gd name="csX19" fmla="*/ 58234 w 697572"/>
              <a:gd name="csY19" fmla="*/ 988567 h 1240128"/>
              <a:gd name="csX20" fmla="*/ 118645 w 697572"/>
              <a:gd name="csY20" fmla="*/ 928298 h 1240128"/>
              <a:gd name="csX21" fmla="*/ 126320 w 697572"/>
              <a:gd name="csY21" fmla="*/ 892015 h 1240128"/>
              <a:gd name="csX22" fmla="*/ 120345 w 697572"/>
              <a:gd name="csY22" fmla="*/ 872258 h 1240128"/>
              <a:gd name="csX23" fmla="*/ 125668 w 697572"/>
              <a:gd name="csY23" fmla="*/ 861640 h 1240128"/>
              <a:gd name="csX24" fmla="*/ 154237 w 697572"/>
              <a:gd name="csY24" fmla="*/ 850716 h 1240128"/>
              <a:gd name="csX25" fmla="*/ 170248 w 697572"/>
              <a:gd name="csY25" fmla="*/ 836767 h 1240128"/>
              <a:gd name="csX26" fmla="*/ 187840 w 697572"/>
              <a:gd name="csY26" fmla="*/ 796341 h 1240128"/>
              <a:gd name="csX27" fmla="*/ 209346 w 697572"/>
              <a:gd name="csY27" fmla="*/ 743126 h 1240128"/>
              <a:gd name="csX28" fmla="*/ 210630 w 697572"/>
              <a:gd name="csY28" fmla="*/ 737219 h 1240128"/>
              <a:gd name="csX29" fmla="*/ 213836 w 697572"/>
              <a:gd name="csY29" fmla="*/ 720505 h 1240128"/>
              <a:gd name="csX30" fmla="*/ 227791 w 697572"/>
              <a:gd name="csY30" fmla="*/ 667353 h 1240128"/>
              <a:gd name="csX31" fmla="*/ 241013 w 697572"/>
              <a:gd name="csY31" fmla="*/ 599151 h 1240128"/>
              <a:gd name="csX32" fmla="*/ 247322 w 697572"/>
              <a:gd name="csY32" fmla="*/ 542242 h 1240128"/>
              <a:gd name="csX33" fmla="*/ 247948 w 697572"/>
              <a:gd name="csY33" fmla="*/ 499296 h 1240128"/>
              <a:gd name="csX34" fmla="*/ 247577 w 697572"/>
              <a:gd name="csY34" fmla="*/ 470384 h 1240128"/>
              <a:gd name="csX35" fmla="*/ 238877 w 697572"/>
              <a:gd name="csY35" fmla="*/ 460987 h 1240128"/>
              <a:gd name="csX36" fmla="*/ 222040 w 697572"/>
              <a:gd name="csY36" fmla="*/ 458353 h 1240128"/>
              <a:gd name="csX37" fmla="*/ 172193 w 697572"/>
              <a:gd name="csY37" fmla="*/ 433714 h 1240128"/>
              <a:gd name="csX38" fmla="*/ 168410 w 697572"/>
              <a:gd name="csY38" fmla="*/ 396591 h 1240128"/>
              <a:gd name="csX39" fmla="*/ 209826 w 697572"/>
              <a:gd name="csY39" fmla="*/ 367773 h 1240128"/>
              <a:gd name="csX40" fmla="*/ 250732 w 697572"/>
              <a:gd name="csY40" fmla="*/ 355208 h 1240128"/>
              <a:gd name="csX41" fmla="*/ 258289 w 697572"/>
              <a:gd name="csY41" fmla="*/ 350426 h 1240128"/>
              <a:gd name="csX42" fmla="*/ 233274 w 697572"/>
              <a:gd name="csY42" fmla="*/ 333513 h 1240128"/>
              <a:gd name="csX43" fmla="*/ 229677 w 697572"/>
              <a:gd name="csY43" fmla="*/ 333922 h 1240128"/>
              <a:gd name="csX44" fmla="*/ 230149 w 697572"/>
              <a:gd name="csY44" fmla="*/ 332979 h 1240128"/>
              <a:gd name="csX45" fmla="*/ 227053 w 697572"/>
              <a:gd name="csY45" fmla="*/ 327076 h 1240128"/>
              <a:gd name="csX46" fmla="*/ 196769 w 697572"/>
              <a:gd name="csY46" fmla="*/ 291380 h 1240128"/>
              <a:gd name="csX47" fmla="*/ 184389 w 697572"/>
              <a:gd name="csY47" fmla="*/ 264042 h 1240128"/>
              <a:gd name="csX48" fmla="*/ 180630 w 697572"/>
              <a:gd name="csY48" fmla="*/ 257839 h 1240128"/>
              <a:gd name="csX49" fmla="*/ 176231 w 697572"/>
              <a:gd name="csY49" fmla="*/ 250643 h 1240128"/>
              <a:gd name="csX50" fmla="*/ 170073 w 697572"/>
              <a:gd name="csY50" fmla="*/ 146723 h 1240128"/>
              <a:gd name="csX51" fmla="*/ 180929 w 697572"/>
              <a:gd name="csY51" fmla="*/ 114280 h 1240128"/>
              <a:gd name="csX52" fmla="*/ 180839 w 697572"/>
              <a:gd name="csY52" fmla="*/ 101501 h 1240128"/>
              <a:gd name="csX53" fmla="*/ 233536 w 697572"/>
              <a:gd name="csY53" fmla="*/ 39653 h 1240128"/>
              <a:gd name="csX54" fmla="*/ 347618 w 697572"/>
              <a:gd name="csY54" fmla="*/ 35 h 1240128"/>
              <a:gd name="csX55" fmla="*/ 437139 w 697572"/>
              <a:gd name="csY55" fmla="*/ 22396 h 1240128"/>
              <a:gd name="csX56" fmla="*/ 529052 w 697572"/>
              <a:gd name="csY56" fmla="*/ 131093 h 1240128"/>
              <a:gd name="csX57" fmla="*/ 518497 w 697572"/>
              <a:gd name="csY57" fmla="*/ 271517 h 1240128"/>
              <a:gd name="csX58" fmla="*/ 500808 w 697572"/>
              <a:gd name="csY58" fmla="*/ 287385 h 1240128"/>
              <a:gd name="csX59" fmla="*/ 472948 w 697572"/>
              <a:gd name="csY59" fmla="*/ 323290 h 1240128"/>
              <a:gd name="csX60" fmla="*/ 469385 w 697572"/>
              <a:gd name="csY60" fmla="*/ 331565 h 1240128"/>
              <a:gd name="csX61" fmla="*/ 468293 w 697572"/>
              <a:gd name="csY61" fmla="*/ 331320 h 1240128"/>
              <a:gd name="csX62" fmla="*/ 459542 w 697572"/>
              <a:gd name="csY62" fmla="*/ 338942 h 1240128"/>
              <a:gd name="csX63" fmla="*/ 458492 w 697572"/>
              <a:gd name="csY63" fmla="*/ 338671 h 1240128"/>
              <a:gd name="csX64" fmla="*/ 436978 w 697572"/>
              <a:gd name="csY64" fmla="*/ 352226 h 1240128"/>
              <a:gd name="csX65" fmla="*/ 472329 w 697572"/>
              <a:gd name="csY65" fmla="*/ 362890 h 1240128"/>
              <a:gd name="csX66" fmla="*/ 523779 w 697572"/>
              <a:gd name="csY66" fmla="*/ 391962 h 1240128"/>
              <a:gd name="csX67" fmla="*/ 527344 w 697572"/>
              <a:gd name="csY67" fmla="*/ 430096 h 1240128"/>
              <a:gd name="csX68" fmla="*/ 504112 w 697572"/>
              <a:gd name="csY68" fmla="*/ 449628 h 1240128"/>
              <a:gd name="csX69" fmla="*/ 459430 w 697572"/>
              <a:gd name="csY69" fmla="*/ 461116 h 1240128"/>
              <a:gd name="csX70" fmla="*/ 446666 w 697572"/>
              <a:gd name="csY70" fmla="*/ 474229 h 1240128"/>
              <a:gd name="csX71" fmla="*/ 449133 w 697572"/>
              <a:gd name="csY71" fmla="*/ 531639 h 1240128"/>
              <a:gd name="csX72" fmla="*/ 454546 w 697572"/>
              <a:gd name="csY72" fmla="*/ 588688 h 1240128"/>
              <a:gd name="csX73" fmla="*/ 466126 w 697572"/>
              <a:gd name="csY73" fmla="*/ 649736 h 1240128"/>
              <a:gd name="csX74" fmla="*/ 512154 w 697572"/>
              <a:gd name="csY74" fmla="*/ 794006 h 1240128"/>
              <a:gd name="csX75" fmla="*/ 525763 w 697572"/>
              <a:gd name="csY75" fmla="*/ 834323 h 1240128"/>
              <a:gd name="csX76" fmla="*/ 530555 w 697572"/>
              <a:gd name="csY76" fmla="*/ 845114 h 1240128"/>
              <a:gd name="csX77" fmla="*/ 554424 w 697572"/>
              <a:gd name="csY77" fmla="*/ 856618 h 1240128"/>
              <a:gd name="csX78" fmla="*/ 572880 w 697572"/>
              <a:gd name="csY78" fmla="*/ 862546 h 1240128"/>
              <a:gd name="csX79" fmla="*/ 578643 w 697572"/>
              <a:gd name="csY79" fmla="*/ 880396 h 1240128"/>
              <a:gd name="csX80" fmla="*/ 572188 w 697572"/>
              <a:gd name="csY80" fmla="*/ 899820 h 1240128"/>
              <a:gd name="csX81" fmla="*/ 582698 w 697572"/>
              <a:gd name="csY81" fmla="*/ 930382 h 1240128"/>
              <a:gd name="csX82" fmla="*/ 604747 w 697572"/>
              <a:gd name="csY82" fmla="*/ 960852 h 1240128"/>
              <a:gd name="csX83" fmla="*/ 613863 w 697572"/>
              <a:gd name="csY83" fmla="*/ 968311 h 1240128"/>
              <a:gd name="csX84" fmla="*/ 629435 w 697572"/>
              <a:gd name="csY84" fmla="*/ 981186 h 1240128"/>
              <a:gd name="csX85" fmla="*/ 633611 w 697572"/>
              <a:gd name="csY85" fmla="*/ 985609 h 1240128"/>
              <a:gd name="csX86" fmla="*/ 673790 w 697572"/>
              <a:gd name="csY86" fmla="*/ 1049348 h 1240128"/>
              <a:gd name="csX87" fmla="*/ 675873 w 697572"/>
              <a:gd name="csY87" fmla="*/ 1092839 h 1240128"/>
              <a:gd name="csX88" fmla="*/ 681668 w 697572"/>
              <a:gd name="csY88" fmla="*/ 1129292 h 1240128"/>
              <a:gd name="csX89" fmla="*/ 697338 w 697572"/>
              <a:gd name="csY89" fmla="*/ 1196079 h 1240128"/>
              <a:gd name="csX90" fmla="*/ 690637 w 697572"/>
              <a:gd name="csY90" fmla="*/ 1205035 h 1240128"/>
              <a:gd name="csX91" fmla="*/ 639777 w 697572"/>
              <a:gd name="csY91" fmla="*/ 1217994 h 1240128"/>
              <a:gd name="csX92" fmla="*/ 587072 w 697572"/>
              <a:gd name="csY92" fmla="*/ 1227761 h 1240128"/>
              <a:gd name="csX93" fmla="*/ 581793 w 697572"/>
              <a:gd name="csY93" fmla="*/ 1234401 h 1240128"/>
              <a:gd name="csX94" fmla="*/ 357446 w 697572"/>
              <a:gd name="csY94" fmla="*/ 903795 h 1240128"/>
              <a:gd name="csX95" fmla="*/ 344445 w 697572"/>
              <a:gd name="csY95" fmla="*/ 903795 h 1240128"/>
              <a:gd name="csX96" fmla="*/ 349212 w 697572"/>
              <a:gd name="csY96" fmla="*/ 950515 h 1240128"/>
              <a:gd name="csX97" fmla="*/ 349538 w 697572"/>
              <a:gd name="csY97" fmla="*/ 1069392 h 1240128"/>
              <a:gd name="csX98" fmla="*/ 349415 w 697572"/>
              <a:gd name="csY98" fmla="*/ 1108925 h 1240128"/>
              <a:gd name="csX99" fmla="*/ 647726 w 697572"/>
              <a:gd name="csY99" fmla="*/ 1089872 h 1240128"/>
              <a:gd name="csX100" fmla="*/ 647654 w 697572"/>
              <a:gd name="csY100" fmla="*/ 1076267 h 1240128"/>
              <a:gd name="csX101" fmla="*/ 610267 w 697572"/>
              <a:gd name="csY101" fmla="*/ 994126 h 1240128"/>
              <a:gd name="csX102" fmla="*/ 571459 w 697572"/>
              <a:gd name="csY102" fmla="*/ 956568 h 1240128"/>
              <a:gd name="csX103" fmla="*/ 541653 w 697572"/>
              <a:gd name="csY103" fmla="*/ 901544 h 1240128"/>
              <a:gd name="csX104" fmla="*/ 539477 w 697572"/>
              <a:gd name="csY104" fmla="*/ 895908 h 1240128"/>
              <a:gd name="csX105" fmla="*/ 357446 w 697572"/>
              <a:gd name="csY105" fmla="*/ 903795 h 1240128"/>
              <a:gd name="csX106" fmla="*/ 300108 w 697572"/>
              <a:gd name="csY106" fmla="*/ 85260 h 1240128"/>
              <a:gd name="csX107" fmla="*/ 290213 w 697572"/>
              <a:gd name="csY107" fmla="*/ 127888 h 1240128"/>
              <a:gd name="csX108" fmla="*/ 331056 w 697572"/>
              <a:gd name="csY108" fmla="*/ 214168 h 1240128"/>
              <a:gd name="csX109" fmla="*/ 424717 w 697572"/>
              <a:gd name="csY109" fmla="*/ 245160 h 1240128"/>
              <a:gd name="csX110" fmla="*/ 496752 w 697572"/>
              <a:gd name="csY110" fmla="*/ 141256 h 1240128"/>
              <a:gd name="csX111" fmla="*/ 390320 w 697572"/>
              <a:gd name="csY111" fmla="*/ 43995 h 1240128"/>
              <a:gd name="csX112" fmla="*/ 300108 w 697572"/>
              <a:gd name="csY112" fmla="*/ 85260 h 1240128"/>
              <a:gd name="csX113" fmla="*/ 343360 w 697572"/>
              <a:gd name="csY113" fmla="*/ 634332 h 1240128"/>
              <a:gd name="csX114" fmla="*/ 340877 w 697572"/>
              <a:gd name="csY114" fmla="*/ 732259 h 1240128"/>
              <a:gd name="csX115" fmla="*/ 338360 w 697572"/>
              <a:gd name="csY115" fmla="*/ 810538 h 1240128"/>
              <a:gd name="csX116" fmla="*/ 337115 w 697572"/>
              <a:gd name="csY116" fmla="*/ 817736 h 1240128"/>
              <a:gd name="csX117" fmla="*/ 336516 w 697572"/>
              <a:gd name="csY117" fmla="*/ 863022 h 1240128"/>
              <a:gd name="csX118" fmla="*/ 343436 w 697572"/>
              <a:gd name="csY118" fmla="*/ 864027 h 1240128"/>
              <a:gd name="csX119" fmla="*/ 406718 w 697572"/>
              <a:gd name="csY119" fmla="*/ 862982 h 1240128"/>
              <a:gd name="csX120" fmla="*/ 456888 w 697572"/>
              <a:gd name="csY120" fmla="*/ 861794 h 1240128"/>
              <a:gd name="csX121" fmla="*/ 495873 w 697572"/>
              <a:gd name="csY121" fmla="*/ 863963 h 1240128"/>
              <a:gd name="csX122" fmla="*/ 509286 w 697572"/>
              <a:gd name="csY122" fmla="*/ 863595 h 1240128"/>
              <a:gd name="csX123" fmla="*/ 516956 w 697572"/>
              <a:gd name="csY123" fmla="*/ 856791 h 1240128"/>
              <a:gd name="csX124" fmla="*/ 513920 w 697572"/>
              <a:gd name="csY124" fmla="*/ 848709 h 1240128"/>
              <a:gd name="csX125" fmla="*/ 506683 w 697572"/>
              <a:gd name="csY125" fmla="*/ 839054 h 1240128"/>
              <a:gd name="csX126" fmla="*/ 488629 w 697572"/>
              <a:gd name="csY126" fmla="*/ 799037 h 1240128"/>
              <a:gd name="csX127" fmla="*/ 456922 w 697572"/>
              <a:gd name="csY127" fmla="*/ 696297 h 1240128"/>
              <a:gd name="csX128" fmla="*/ 441346 w 697572"/>
              <a:gd name="csY128" fmla="*/ 619885 h 1240128"/>
              <a:gd name="csX129" fmla="*/ 435963 w 697572"/>
              <a:gd name="csY129" fmla="*/ 582529 h 1240128"/>
              <a:gd name="csX130" fmla="*/ 429497 w 697572"/>
              <a:gd name="csY130" fmla="*/ 521990 h 1240128"/>
              <a:gd name="csX131" fmla="*/ 426887 w 697572"/>
              <a:gd name="csY131" fmla="*/ 471989 h 1240128"/>
              <a:gd name="csX132" fmla="*/ 413744 w 697572"/>
              <a:gd name="csY132" fmla="*/ 461077 h 1240128"/>
              <a:gd name="csX133" fmla="*/ 353573 w 697572"/>
              <a:gd name="csY133" fmla="*/ 461120 h 1240128"/>
              <a:gd name="csX134" fmla="*/ 344160 w 697572"/>
              <a:gd name="csY134" fmla="*/ 462286 h 1240128"/>
              <a:gd name="csX135" fmla="*/ 343404 w 697572"/>
              <a:gd name="csY135" fmla="*/ 469192 h 1240128"/>
              <a:gd name="csX136" fmla="*/ 343469 w 697572"/>
              <a:gd name="csY136" fmla="*/ 574797 h 1240128"/>
              <a:gd name="csX137" fmla="*/ 345522 w 697572"/>
              <a:gd name="csY137" fmla="*/ 591669 h 1240128"/>
              <a:gd name="csX138" fmla="*/ 343360 w 697572"/>
              <a:gd name="csY138" fmla="*/ 634332 h 1240128"/>
              <a:gd name="csX139" fmla="*/ 416946 w 697572"/>
              <a:gd name="csY139" fmla="*/ 385943 h 1240128"/>
              <a:gd name="csX140" fmla="*/ 401091 w 697572"/>
              <a:gd name="csY140" fmla="*/ 387162 h 1240128"/>
              <a:gd name="csX141" fmla="*/ 369218 w 697572"/>
              <a:gd name="csY141" fmla="*/ 387708 h 1240128"/>
              <a:gd name="csX142" fmla="*/ 351833 w 697572"/>
              <a:gd name="csY142" fmla="*/ 398991 h 1240128"/>
              <a:gd name="csX143" fmla="*/ 349778 w 697572"/>
              <a:gd name="csY143" fmla="*/ 426021 h 1240128"/>
              <a:gd name="csX144" fmla="*/ 361839 w 697572"/>
              <a:gd name="csY144" fmla="*/ 426538 h 1240128"/>
              <a:gd name="csX145" fmla="*/ 455022 w 697572"/>
              <a:gd name="csY145" fmla="*/ 426922 h 1240128"/>
              <a:gd name="csX146" fmla="*/ 481958 w 697572"/>
              <a:gd name="csY146" fmla="*/ 426527 h 1240128"/>
              <a:gd name="csX147" fmla="*/ 499817 w 697572"/>
              <a:gd name="csY147" fmla="*/ 419888 h 1240128"/>
              <a:gd name="csX148" fmla="*/ 499439 w 697572"/>
              <a:gd name="csY148" fmla="*/ 400719 h 1240128"/>
              <a:gd name="csX149" fmla="*/ 468062 w 697572"/>
              <a:gd name="csY149" fmla="*/ 387775 h 1240128"/>
              <a:gd name="csX150" fmla="*/ 416946 w 697572"/>
              <a:gd name="csY150" fmla="*/ 385943 h 1240128"/>
              <a:gd name="csX151" fmla="*/ 636802 w 697572"/>
              <a:gd name="csY151" fmla="*/ 1190940 h 1240128"/>
              <a:gd name="csX152" fmla="*/ 666492 w 697572"/>
              <a:gd name="csY152" fmla="*/ 1184186 h 1240128"/>
              <a:gd name="csX153" fmla="*/ 674465 w 697572"/>
              <a:gd name="csY153" fmla="*/ 1170880 h 1240128"/>
              <a:gd name="csX154" fmla="*/ 662462 w 697572"/>
              <a:gd name="csY154" fmla="*/ 1141464 h 1240128"/>
              <a:gd name="csX155" fmla="*/ 645564 w 697572"/>
              <a:gd name="csY155" fmla="*/ 1131937 h 1240128"/>
              <a:gd name="csX156" fmla="*/ 627387 w 697572"/>
              <a:gd name="csY156" fmla="*/ 1133618 h 1240128"/>
              <a:gd name="csX157" fmla="*/ 583917 w 697572"/>
              <a:gd name="csY157" fmla="*/ 1139222 h 1240128"/>
              <a:gd name="csX158" fmla="*/ 543741 w 697572"/>
              <a:gd name="csY158" fmla="*/ 1141869 h 1240128"/>
              <a:gd name="csX159" fmla="*/ 512146 w 697572"/>
              <a:gd name="csY159" fmla="*/ 1144418 h 1240128"/>
              <a:gd name="csX160" fmla="*/ 447711 w 697572"/>
              <a:gd name="csY160" fmla="*/ 1148973 h 1240128"/>
              <a:gd name="csX161" fmla="*/ 351979 w 697572"/>
              <a:gd name="csY161" fmla="*/ 1149200 h 1240128"/>
              <a:gd name="csX162" fmla="*/ 338443 w 697572"/>
              <a:gd name="csY162" fmla="*/ 1150040 h 1240128"/>
              <a:gd name="csX163" fmla="*/ 338451 w 697572"/>
              <a:gd name="csY163" fmla="*/ 1190780 h 1240128"/>
              <a:gd name="csX164" fmla="*/ 351082 w 697572"/>
              <a:gd name="csY164" fmla="*/ 1207015 h 1240128"/>
              <a:gd name="csX165" fmla="*/ 358298 w 697572"/>
              <a:gd name="csY165" fmla="*/ 1208094 h 1240128"/>
              <a:gd name="csX166" fmla="*/ 521229 w 697572"/>
              <a:gd name="csY166" fmla="*/ 1205646 h 1240128"/>
              <a:gd name="csX167" fmla="*/ 523675 w 697572"/>
              <a:gd name="csY167" fmla="*/ 1205490 h 1240128"/>
              <a:gd name="csX168" fmla="*/ 580423 w 697572"/>
              <a:gd name="csY168" fmla="*/ 1198350 h 1240128"/>
              <a:gd name="csX169" fmla="*/ 636802 w 697572"/>
              <a:gd name="csY169" fmla="*/ 1190940 h 124012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</a:cxnLst>
            <a:rect l="l" t="t" r="r" b="b"/>
            <a:pathLst>
              <a:path w="697572" h="1240128">
                <a:moveTo>
                  <a:pt x="581793" y="1234401"/>
                </a:moveTo>
                <a:cubicBezTo>
                  <a:pt x="580693" y="1234661"/>
                  <a:pt x="579594" y="1234922"/>
                  <a:pt x="577427" y="1234156"/>
                </a:cubicBezTo>
                <a:cubicBezTo>
                  <a:pt x="571216" y="1227899"/>
                  <a:pt x="564912" y="1230441"/>
                  <a:pt x="559133" y="1230909"/>
                </a:cubicBezTo>
                <a:cubicBezTo>
                  <a:pt x="544971" y="1232056"/>
                  <a:pt x="530869" y="1233971"/>
                  <a:pt x="516706" y="1235117"/>
                </a:cubicBezTo>
                <a:cubicBezTo>
                  <a:pt x="502910" y="1236232"/>
                  <a:pt x="489077" y="1237097"/>
                  <a:pt x="475244" y="1237506"/>
                </a:cubicBezTo>
                <a:cubicBezTo>
                  <a:pt x="440539" y="1238535"/>
                  <a:pt x="405696" y="1241458"/>
                  <a:pt x="371154" y="1239428"/>
                </a:cubicBezTo>
                <a:cubicBezTo>
                  <a:pt x="339645" y="1237575"/>
                  <a:pt x="308239" y="1238753"/>
                  <a:pt x="276813" y="1237654"/>
                </a:cubicBezTo>
                <a:cubicBezTo>
                  <a:pt x="273949" y="1237553"/>
                  <a:pt x="271079" y="1237652"/>
                  <a:pt x="268212" y="1237635"/>
                </a:cubicBezTo>
                <a:cubicBezTo>
                  <a:pt x="266165" y="1237623"/>
                  <a:pt x="264111" y="1237668"/>
                  <a:pt x="262072" y="1237523"/>
                </a:cubicBezTo>
                <a:cubicBezTo>
                  <a:pt x="239751" y="1235944"/>
                  <a:pt x="217441" y="1234201"/>
                  <a:pt x="195111" y="1232775"/>
                </a:cubicBezTo>
                <a:cubicBezTo>
                  <a:pt x="178437" y="1231710"/>
                  <a:pt x="161712" y="1231378"/>
                  <a:pt x="145060" y="1230076"/>
                </a:cubicBezTo>
                <a:cubicBezTo>
                  <a:pt x="134969" y="1229287"/>
                  <a:pt x="124987" y="1227177"/>
                  <a:pt x="114933" y="1225832"/>
                </a:cubicBezTo>
                <a:cubicBezTo>
                  <a:pt x="100834" y="1223946"/>
                  <a:pt x="86554" y="1223022"/>
                  <a:pt x="72642" y="1220237"/>
                </a:cubicBezTo>
                <a:cubicBezTo>
                  <a:pt x="51920" y="1216091"/>
                  <a:pt x="31443" y="1210723"/>
                  <a:pt x="10894" y="1205737"/>
                </a:cubicBezTo>
                <a:cubicBezTo>
                  <a:pt x="9027" y="1205284"/>
                  <a:pt x="6196" y="1204140"/>
                  <a:pt x="5856" y="1202799"/>
                </a:cubicBezTo>
                <a:cubicBezTo>
                  <a:pt x="3474" y="1193418"/>
                  <a:pt x="-438" y="1183796"/>
                  <a:pt x="40" y="1174450"/>
                </a:cubicBezTo>
                <a:cubicBezTo>
                  <a:pt x="1079" y="1154149"/>
                  <a:pt x="9757" y="1135843"/>
                  <a:pt x="19831" y="1118410"/>
                </a:cubicBezTo>
                <a:cubicBezTo>
                  <a:pt x="21968" y="1114713"/>
                  <a:pt x="22970" y="1111858"/>
                  <a:pt x="22004" y="1107240"/>
                </a:cubicBezTo>
                <a:cubicBezTo>
                  <a:pt x="17168" y="1084118"/>
                  <a:pt x="17717" y="1061168"/>
                  <a:pt x="25947" y="1038650"/>
                </a:cubicBezTo>
                <a:cubicBezTo>
                  <a:pt x="32954" y="1019481"/>
                  <a:pt x="44478" y="1003118"/>
                  <a:pt x="58234" y="988567"/>
                </a:cubicBezTo>
                <a:cubicBezTo>
                  <a:pt x="77769" y="967902"/>
                  <a:pt x="97978" y="947832"/>
                  <a:pt x="118645" y="928298"/>
                </a:cubicBezTo>
                <a:cubicBezTo>
                  <a:pt x="130104" y="917467"/>
                  <a:pt x="131835" y="905961"/>
                  <a:pt x="126320" y="892015"/>
                </a:cubicBezTo>
                <a:cubicBezTo>
                  <a:pt x="123798" y="885637"/>
                  <a:pt x="122123" y="878904"/>
                  <a:pt x="120345" y="872258"/>
                </a:cubicBezTo>
                <a:cubicBezTo>
                  <a:pt x="119029" y="867341"/>
                  <a:pt x="120162" y="863613"/>
                  <a:pt x="125668" y="861640"/>
                </a:cubicBezTo>
                <a:cubicBezTo>
                  <a:pt x="135266" y="858201"/>
                  <a:pt x="144535" y="853788"/>
                  <a:pt x="154237" y="850716"/>
                </a:cubicBezTo>
                <a:cubicBezTo>
                  <a:pt x="161882" y="848296"/>
                  <a:pt x="167110" y="843897"/>
                  <a:pt x="170248" y="836767"/>
                </a:cubicBezTo>
                <a:cubicBezTo>
                  <a:pt x="176168" y="823316"/>
                  <a:pt x="182193" y="809907"/>
                  <a:pt x="187840" y="796341"/>
                </a:cubicBezTo>
                <a:cubicBezTo>
                  <a:pt x="195194" y="778679"/>
                  <a:pt x="202250" y="760894"/>
                  <a:pt x="209346" y="743126"/>
                </a:cubicBezTo>
                <a:cubicBezTo>
                  <a:pt x="210083" y="741280"/>
                  <a:pt x="210252" y="739200"/>
                  <a:pt x="210630" y="737219"/>
                </a:cubicBezTo>
                <a:cubicBezTo>
                  <a:pt x="211694" y="731645"/>
                  <a:pt x="212425" y="725987"/>
                  <a:pt x="213836" y="720505"/>
                </a:cubicBezTo>
                <a:cubicBezTo>
                  <a:pt x="218406" y="702764"/>
                  <a:pt x="223811" y="685219"/>
                  <a:pt x="227791" y="667353"/>
                </a:cubicBezTo>
                <a:cubicBezTo>
                  <a:pt x="232826" y="644755"/>
                  <a:pt x="237367" y="622009"/>
                  <a:pt x="241013" y="599151"/>
                </a:cubicBezTo>
                <a:cubicBezTo>
                  <a:pt x="244018" y="580319"/>
                  <a:pt x="246001" y="561272"/>
                  <a:pt x="247322" y="542242"/>
                </a:cubicBezTo>
                <a:cubicBezTo>
                  <a:pt x="248312" y="527975"/>
                  <a:pt x="246344" y="513451"/>
                  <a:pt x="247948" y="499296"/>
                </a:cubicBezTo>
                <a:cubicBezTo>
                  <a:pt x="249066" y="489432"/>
                  <a:pt x="247923" y="480014"/>
                  <a:pt x="247577" y="470384"/>
                </a:cubicBezTo>
                <a:cubicBezTo>
                  <a:pt x="247364" y="464453"/>
                  <a:pt x="245121" y="461397"/>
                  <a:pt x="238877" y="460987"/>
                </a:cubicBezTo>
                <a:cubicBezTo>
                  <a:pt x="233224" y="460615"/>
                  <a:pt x="227461" y="459920"/>
                  <a:pt x="222040" y="458353"/>
                </a:cubicBezTo>
                <a:cubicBezTo>
                  <a:pt x="203991" y="453134"/>
                  <a:pt x="185737" y="448229"/>
                  <a:pt x="172193" y="433714"/>
                </a:cubicBezTo>
                <a:cubicBezTo>
                  <a:pt x="162702" y="423544"/>
                  <a:pt x="160887" y="408134"/>
                  <a:pt x="168410" y="396591"/>
                </a:cubicBezTo>
                <a:cubicBezTo>
                  <a:pt x="178294" y="381428"/>
                  <a:pt x="193736" y="373793"/>
                  <a:pt x="209826" y="367773"/>
                </a:cubicBezTo>
                <a:cubicBezTo>
                  <a:pt x="223159" y="362784"/>
                  <a:pt x="237124" y="359493"/>
                  <a:pt x="250732" y="355208"/>
                </a:cubicBezTo>
                <a:cubicBezTo>
                  <a:pt x="253085" y="354467"/>
                  <a:pt x="255058" y="352518"/>
                  <a:pt x="258289" y="350426"/>
                </a:cubicBezTo>
                <a:cubicBezTo>
                  <a:pt x="250173" y="342610"/>
                  <a:pt x="241833" y="337880"/>
                  <a:pt x="233274" y="333513"/>
                </a:cubicBezTo>
                <a:cubicBezTo>
                  <a:pt x="232377" y="333055"/>
                  <a:pt x="230890" y="333758"/>
                  <a:pt x="229677" y="333922"/>
                </a:cubicBezTo>
                <a:cubicBezTo>
                  <a:pt x="229677" y="333922"/>
                  <a:pt x="230323" y="333834"/>
                  <a:pt x="230149" y="332979"/>
                </a:cubicBezTo>
                <a:cubicBezTo>
                  <a:pt x="229023" y="330409"/>
                  <a:pt x="228502" y="328059"/>
                  <a:pt x="227053" y="327076"/>
                </a:cubicBezTo>
                <a:cubicBezTo>
                  <a:pt x="213615" y="317962"/>
                  <a:pt x="204643" y="305332"/>
                  <a:pt x="196769" y="291380"/>
                </a:cubicBezTo>
                <a:cubicBezTo>
                  <a:pt x="191792" y="282564"/>
                  <a:pt x="185421" y="274665"/>
                  <a:pt x="184389" y="264042"/>
                </a:cubicBezTo>
                <a:cubicBezTo>
                  <a:pt x="184179" y="261874"/>
                  <a:pt x="181925" y="259908"/>
                  <a:pt x="180630" y="257839"/>
                </a:cubicBezTo>
                <a:cubicBezTo>
                  <a:pt x="179137" y="255454"/>
                  <a:pt x="177317" y="253204"/>
                  <a:pt x="176231" y="250643"/>
                </a:cubicBezTo>
                <a:cubicBezTo>
                  <a:pt x="161865" y="216749"/>
                  <a:pt x="159606" y="182060"/>
                  <a:pt x="170073" y="146723"/>
                </a:cubicBezTo>
                <a:cubicBezTo>
                  <a:pt x="173311" y="135795"/>
                  <a:pt x="177248" y="125074"/>
                  <a:pt x="180929" y="114280"/>
                </a:cubicBezTo>
                <a:cubicBezTo>
                  <a:pt x="182396" y="109981"/>
                  <a:pt x="183922" y="105742"/>
                  <a:pt x="180839" y="101501"/>
                </a:cubicBezTo>
                <a:cubicBezTo>
                  <a:pt x="192473" y="75833"/>
                  <a:pt x="211344" y="56271"/>
                  <a:pt x="233536" y="39653"/>
                </a:cubicBezTo>
                <a:cubicBezTo>
                  <a:pt x="267321" y="14353"/>
                  <a:pt x="305621" y="873"/>
                  <a:pt x="347618" y="35"/>
                </a:cubicBezTo>
                <a:cubicBezTo>
                  <a:pt x="379125" y="-593"/>
                  <a:pt x="409214" y="7172"/>
                  <a:pt x="437139" y="22396"/>
                </a:cubicBezTo>
                <a:cubicBezTo>
                  <a:pt x="481844" y="46766"/>
                  <a:pt x="514077" y="82116"/>
                  <a:pt x="529052" y="131093"/>
                </a:cubicBezTo>
                <a:cubicBezTo>
                  <a:pt x="543544" y="178495"/>
                  <a:pt x="541630" y="225548"/>
                  <a:pt x="518497" y="271517"/>
                </a:cubicBezTo>
                <a:cubicBezTo>
                  <a:pt x="511428" y="277096"/>
                  <a:pt x="503848" y="281136"/>
                  <a:pt x="500808" y="287385"/>
                </a:cubicBezTo>
                <a:cubicBezTo>
                  <a:pt x="493932" y="301522"/>
                  <a:pt x="483805" y="312513"/>
                  <a:pt x="472948" y="323290"/>
                </a:cubicBezTo>
                <a:cubicBezTo>
                  <a:pt x="470972" y="325253"/>
                  <a:pt x="470533" y="328767"/>
                  <a:pt x="469385" y="331565"/>
                </a:cubicBezTo>
                <a:cubicBezTo>
                  <a:pt x="469385" y="331565"/>
                  <a:pt x="469172" y="331584"/>
                  <a:pt x="468293" y="331320"/>
                </a:cubicBezTo>
                <a:cubicBezTo>
                  <a:pt x="461937" y="330836"/>
                  <a:pt x="458618" y="332772"/>
                  <a:pt x="459542" y="338942"/>
                </a:cubicBezTo>
                <a:cubicBezTo>
                  <a:pt x="459542" y="338942"/>
                  <a:pt x="459473" y="338913"/>
                  <a:pt x="458492" y="338671"/>
                </a:cubicBezTo>
                <a:cubicBezTo>
                  <a:pt x="450936" y="342653"/>
                  <a:pt x="440712" y="341355"/>
                  <a:pt x="436978" y="352226"/>
                </a:cubicBezTo>
                <a:cubicBezTo>
                  <a:pt x="449178" y="355911"/>
                  <a:pt x="460733" y="359469"/>
                  <a:pt x="472329" y="362890"/>
                </a:cubicBezTo>
                <a:cubicBezTo>
                  <a:pt x="491728" y="368613"/>
                  <a:pt x="510182" y="375784"/>
                  <a:pt x="523779" y="391962"/>
                </a:cubicBezTo>
                <a:cubicBezTo>
                  <a:pt x="535849" y="406326"/>
                  <a:pt x="534845" y="420076"/>
                  <a:pt x="527344" y="430096"/>
                </a:cubicBezTo>
                <a:cubicBezTo>
                  <a:pt x="521323" y="438139"/>
                  <a:pt x="513928" y="445333"/>
                  <a:pt x="504112" y="449628"/>
                </a:cubicBezTo>
                <a:cubicBezTo>
                  <a:pt x="489776" y="455901"/>
                  <a:pt x="475173" y="460486"/>
                  <a:pt x="459430" y="461116"/>
                </a:cubicBezTo>
                <a:cubicBezTo>
                  <a:pt x="448415" y="461557"/>
                  <a:pt x="446384" y="463369"/>
                  <a:pt x="446666" y="474229"/>
                </a:cubicBezTo>
                <a:cubicBezTo>
                  <a:pt x="447164" y="493376"/>
                  <a:pt x="447839" y="512533"/>
                  <a:pt x="449133" y="531639"/>
                </a:cubicBezTo>
                <a:cubicBezTo>
                  <a:pt x="450424" y="550696"/>
                  <a:pt x="451783" y="569809"/>
                  <a:pt x="454546" y="588688"/>
                </a:cubicBezTo>
                <a:cubicBezTo>
                  <a:pt x="457543" y="609164"/>
                  <a:pt x="462165" y="629403"/>
                  <a:pt x="466126" y="649736"/>
                </a:cubicBezTo>
                <a:cubicBezTo>
                  <a:pt x="475845" y="699621"/>
                  <a:pt x="493414" y="746980"/>
                  <a:pt x="512154" y="794006"/>
                </a:cubicBezTo>
                <a:cubicBezTo>
                  <a:pt x="517387" y="807138"/>
                  <a:pt x="525145" y="819463"/>
                  <a:pt x="525763" y="834323"/>
                </a:cubicBezTo>
                <a:cubicBezTo>
                  <a:pt x="525919" y="838081"/>
                  <a:pt x="527739" y="843335"/>
                  <a:pt x="530555" y="845114"/>
                </a:cubicBezTo>
                <a:cubicBezTo>
                  <a:pt x="537981" y="849801"/>
                  <a:pt x="546243" y="853278"/>
                  <a:pt x="554424" y="856618"/>
                </a:cubicBezTo>
                <a:cubicBezTo>
                  <a:pt x="560391" y="859054"/>
                  <a:pt x="567041" y="859887"/>
                  <a:pt x="572880" y="862546"/>
                </a:cubicBezTo>
                <a:cubicBezTo>
                  <a:pt x="581470" y="866458"/>
                  <a:pt x="582467" y="871415"/>
                  <a:pt x="578643" y="880396"/>
                </a:cubicBezTo>
                <a:cubicBezTo>
                  <a:pt x="575969" y="886677"/>
                  <a:pt x="572900" y="893182"/>
                  <a:pt x="572188" y="899820"/>
                </a:cubicBezTo>
                <a:cubicBezTo>
                  <a:pt x="570960" y="911271"/>
                  <a:pt x="576506" y="920944"/>
                  <a:pt x="582698" y="930382"/>
                </a:cubicBezTo>
                <a:cubicBezTo>
                  <a:pt x="589569" y="940856"/>
                  <a:pt x="600933" y="947930"/>
                  <a:pt x="604747" y="960852"/>
                </a:cubicBezTo>
                <a:cubicBezTo>
                  <a:pt x="605684" y="964030"/>
                  <a:pt x="610294" y="967128"/>
                  <a:pt x="613863" y="968311"/>
                </a:cubicBezTo>
                <a:cubicBezTo>
                  <a:pt x="620963" y="970665"/>
                  <a:pt x="625924" y="974774"/>
                  <a:pt x="629435" y="981186"/>
                </a:cubicBezTo>
                <a:cubicBezTo>
                  <a:pt x="630381" y="982913"/>
                  <a:pt x="631977" y="984459"/>
                  <a:pt x="633611" y="985609"/>
                </a:cubicBezTo>
                <a:cubicBezTo>
                  <a:pt x="655878" y="1001272"/>
                  <a:pt x="668032" y="1023762"/>
                  <a:pt x="673790" y="1049348"/>
                </a:cubicBezTo>
                <a:cubicBezTo>
                  <a:pt x="676936" y="1063327"/>
                  <a:pt x="679769" y="1077802"/>
                  <a:pt x="675873" y="1092839"/>
                </a:cubicBezTo>
                <a:cubicBezTo>
                  <a:pt x="672677" y="1105174"/>
                  <a:pt x="673042" y="1116963"/>
                  <a:pt x="681668" y="1129292"/>
                </a:cubicBezTo>
                <a:cubicBezTo>
                  <a:pt x="695321" y="1148802"/>
                  <a:pt x="698550" y="1172235"/>
                  <a:pt x="697338" y="1196079"/>
                </a:cubicBezTo>
                <a:cubicBezTo>
                  <a:pt x="697087" y="1201014"/>
                  <a:pt x="694979" y="1203886"/>
                  <a:pt x="690637" y="1205035"/>
                </a:cubicBezTo>
                <a:cubicBezTo>
                  <a:pt x="673723" y="1209511"/>
                  <a:pt x="656856" y="1214241"/>
                  <a:pt x="639777" y="1217994"/>
                </a:cubicBezTo>
                <a:cubicBezTo>
                  <a:pt x="622334" y="1221827"/>
                  <a:pt x="604691" y="1224790"/>
                  <a:pt x="587072" y="1227761"/>
                </a:cubicBezTo>
                <a:cubicBezTo>
                  <a:pt x="582708" y="1228497"/>
                  <a:pt x="581724" y="1230736"/>
                  <a:pt x="581793" y="1234401"/>
                </a:cubicBezTo>
                <a:moveTo>
                  <a:pt x="357446" y="903795"/>
                </a:moveTo>
                <a:cubicBezTo>
                  <a:pt x="353141" y="903795"/>
                  <a:pt x="348835" y="903795"/>
                  <a:pt x="344445" y="903795"/>
                </a:cubicBezTo>
                <a:cubicBezTo>
                  <a:pt x="346169" y="920562"/>
                  <a:pt x="347908" y="935520"/>
                  <a:pt x="349212" y="950515"/>
                </a:cubicBezTo>
                <a:cubicBezTo>
                  <a:pt x="352656" y="990125"/>
                  <a:pt x="351941" y="1029743"/>
                  <a:pt x="349538" y="1069392"/>
                </a:cubicBezTo>
                <a:cubicBezTo>
                  <a:pt x="348759" y="1082241"/>
                  <a:pt x="349415" y="1095176"/>
                  <a:pt x="349415" y="1108925"/>
                </a:cubicBezTo>
                <a:cubicBezTo>
                  <a:pt x="449467" y="1111953"/>
                  <a:pt x="548509" y="1104712"/>
                  <a:pt x="647726" y="1089872"/>
                </a:cubicBezTo>
                <a:cubicBezTo>
                  <a:pt x="647726" y="1084313"/>
                  <a:pt x="648180" y="1080225"/>
                  <a:pt x="647654" y="1076267"/>
                </a:cubicBezTo>
                <a:cubicBezTo>
                  <a:pt x="643515" y="1045124"/>
                  <a:pt x="633172" y="1016714"/>
                  <a:pt x="610267" y="994126"/>
                </a:cubicBezTo>
                <a:cubicBezTo>
                  <a:pt x="597451" y="981485"/>
                  <a:pt x="584392" y="969090"/>
                  <a:pt x="571459" y="956568"/>
                </a:cubicBezTo>
                <a:cubicBezTo>
                  <a:pt x="555751" y="941359"/>
                  <a:pt x="544836" y="923558"/>
                  <a:pt x="541653" y="901544"/>
                </a:cubicBezTo>
                <a:cubicBezTo>
                  <a:pt x="541430" y="900007"/>
                  <a:pt x="540528" y="898570"/>
                  <a:pt x="539477" y="895908"/>
                </a:cubicBezTo>
                <a:cubicBezTo>
                  <a:pt x="479736" y="901652"/>
                  <a:pt x="419815" y="904536"/>
                  <a:pt x="357446" y="903795"/>
                </a:cubicBezTo>
                <a:moveTo>
                  <a:pt x="300108" y="85260"/>
                </a:moveTo>
                <a:cubicBezTo>
                  <a:pt x="293656" y="98745"/>
                  <a:pt x="289202" y="113094"/>
                  <a:pt x="290213" y="127888"/>
                </a:cubicBezTo>
                <a:cubicBezTo>
                  <a:pt x="292527" y="161736"/>
                  <a:pt x="304185" y="191723"/>
                  <a:pt x="331056" y="214168"/>
                </a:cubicBezTo>
                <a:cubicBezTo>
                  <a:pt x="358172" y="236816"/>
                  <a:pt x="388435" y="249934"/>
                  <a:pt x="424717" y="245160"/>
                </a:cubicBezTo>
                <a:cubicBezTo>
                  <a:pt x="468593" y="239387"/>
                  <a:pt x="509574" y="203365"/>
                  <a:pt x="496752" y="141256"/>
                </a:cubicBezTo>
                <a:cubicBezTo>
                  <a:pt x="487021" y="94124"/>
                  <a:pt x="447261" y="51874"/>
                  <a:pt x="390320" y="43995"/>
                </a:cubicBezTo>
                <a:cubicBezTo>
                  <a:pt x="353241" y="38865"/>
                  <a:pt x="321136" y="48750"/>
                  <a:pt x="300108" y="85260"/>
                </a:cubicBezTo>
                <a:moveTo>
                  <a:pt x="343360" y="634332"/>
                </a:moveTo>
                <a:cubicBezTo>
                  <a:pt x="342539" y="666975"/>
                  <a:pt x="341785" y="699619"/>
                  <a:pt x="340877" y="732259"/>
                </a:cubicBezTo>
                <a:cubicBezTo>
                  <a:pt x="340151" y="758355"/>
                  <a:pt x="339265" y="784447"/>
                  <a:pt x="338360" y="810538"/>
                </a:cubicBezTo>
                <a:cubicBezTo>
                  <a:pt x="338277" y="812948"/>
                  <a:pt x="337465" y="815325"/>
                  <a:pt x="337115" y="817736"/>
                </a:cubicBezTo>
                <a:cubicBezTo>
                  <a:pt x="334935" y="832710"/>
                  <a:pt x="336026" y="847647"/>
                  <a:pt x="336516" y="863022"/>
                </a:cubicBezTo>
                <a:cubicBezTo>
                  <a:pt x="339537" y="863479"/>
                  <a:pt x="341490" y="864053"/>
                  <a:pt x="343436" y="864027"/>
                </a:cubicBezTo>
                <a:cubicBezTo>
                  <a:pt x="364531" y="863739"/>
                  <a:pt x="385626" y="863422"/>
                  <a:pt x="406718" y="862982"/>
                </a:cubicBezTo>
                <a:cubicBezTo>
                  <a:pt x="423444" y="862634"/>
                  <a:pt x="440168" y="861675"/>
                  <a:pt x="456888" y="861794"/>
                </a:cubicBezTo>
                <a:cubicBezTo>
                  <a:pt x="469887" y="861886"/>
                  <a:pt x="482872" y="863302"/>
                  <a:pt x="495873" y="863963"/>
                </a:cubicBezTo>
                <a:cubicBezTo>
                  <a:pt x="500358" y="864191"/>
                  <a:pt x="505108" y="864773"/>
                  <a:pt x="509286" y="863595"/>
                </a:cubicBezTo>
                <a:cubicBezTo>
                  <a:pt x="512346" y="862732"/>
                  <a:pt x="515714" y="859703"/>
                  <a:pt x="516956" y="856791"/>
                </a:cubicBezTo>
                <a:cubicBezTo>
                  <a:pt x="517783" y="854851"/>
                  <a:pt x="515475" y="851192"/>
                  <a:pt x="513920" y="848709"/>
                </a:cubicBezTo>
                <a:cubicBezTo>
                  <a:pt x="511791" y="845308"/>
                  <a:pt x="508393" y="842606"/>
                  <a:pt x="506683" y="839054"/>
                </a:cubicBezTo>
                <a:cubicBezTo>
                  <a:pt x="500331" y="825864"/>
                  <a:pt x="493224" y="812855"/>
                  <a:pt x="488629" y="799037"/>
                </a:cubicBezTo>
                <a:cubicBezTo>
                  <a:pt x="477322" y="765031"/>
                  <a:pt x="466537" y="730814"/>
                  <a:pt x="456922" y="696297"/>
                </a:cubicBezTo>
                <a:cubicBezTo>
                  <a:pt x="449953" y="671276"/>
                  <a:pt x="443477" y="646020"/>
                  <a:pt x="441346" y="619885"/>
                </a:cubicBezTo>
                <a:cubicBezTo>
                  <a:pt x="440327" y="607371"/>
                  <a:pt x="437466" y="595018"/>
                  <a:pt x="435963" y="582529"/>
                </a:cubicBezTo>
                <a:cubicBezTo>
                  <a:pt x="433539" y="562380"/>
                  <a:pt x="431154" y="542212"/>
                  <a:pt x="429497" y="521990"/>
                </a:cubicBezTo>
                <a:cubicBezTo>
                  <a:pt x="428135" y="505363"/>
                  <a:pt x="428437" y="488593"/>
                  <a:pt x="426887" y="471989"/>
                </a:cubicBezTo>
                <a:cubicBezTo>
                  <a:pt x="425874" y="461140"/>
                  <a:pt x="424983" y="461120"/>
                  <a:pt x="413744" y="461077"/>
                </a:cubicBezTo>
                <a:cubicBezTo>
                  <a:pt x="393687" y="461000"/>
                  <a:pt x="373630" y="461011"/>
                  <a:pt x="353573" y="461120"/>
                </a:cubicBezTo>
                <a:cubicBezTo>
                  <a:pt x="350472" y="461137"/>
                  <a:pt x="347374" y="461869"/>
                  <a:pt x="344160" y="462286"/>
                </a:cubicBezTo>
                <a:cubicBezTo>
                  <a:pt x="343828" y="465198"/>
                  <a:pt x="343406" y="467195"/>
                  <a:pt x="343404" y="469192"/>
                </a:cubicBezTo>
                <a:cubicBezTo>
                  <a:pt x="343360" y="504394"/>
                  <a:pt x="343267" y="539596"/>
                  <a:pt x="343469" y="574797"/>
                </a:cubicBezTo>
                <a:cubicBezTo>
                  <a:pt x="343501" y="580426"/>
                  <a:pt x="345652" y="586065"/>
                  <a:pt x="345522" y="591669"/>
                </a:cubicBezTo>
                <a:cubicBezTo>
                  <a:pt x="345214" y="605082"/>
                  <a:pt x="344131" y="618478"/>
                  <a:pt x="343360" y="634332"/>
                </a:cubicBezTo>
                <a:moveTo>
                  <a:pt x="416946" y="385943"/>
                </a:moveTo>
                <a:cubicBezTo>
                  <a:pt x="411661" y="386365"/>
                  <a:pt x="406384" y="387006"/>
                  <a:pt x="401091" y="387162"/>
                </a:cubicBezTo>
                <a:cubicBezTo>
                  <a:pt x="390470" y="387477"/>
                  <a:pt x="379841" y="387447"/>
                  <a:pt x="369218" y="387708"/>
                </a:cubicBezTo>
                <a:cubicBezTo>
                  <a:pt x="361167" y="387906"/>
                  <a:pt x="354429" y="391368"/>
                  <a:pt x="351833" y="398991"/>
                </a:cubicBezTo>
                <a:cubicBezTo>
                  <a:pt x="348989" y="407342"/>
                  <a:pt x="347050" y="416214"/>
                  <a:pt x="349778" y="426021"/>
                </a:cubicBezTo>
                <a:cubicBezTo>
                  <a:pt x="353876" y="426204"/>
                  <a:pt x="357857" y="426517"/>
                  <a:pt x="361839" y="426538"/>
                </a:cubicBezTo>
                <a:cubicBezTo>
                  <a:pt x="392900" y="426701"/>
                  <a:pt x="423961" y="426826"/>
                  <a:pt x="455022" y="426922"/>
                </a:cubicBezTo>
                <a:cubicBezTo>
                  <a:pt x="464013" y="426950"/>
                  <a:pt x="473106" y="427654"/>
                  <a:pt x="481958" y="426527"/>
                </a:cubicBezTo>
                <a:cubicBezTo>
                  <a:pt x="488144" y="425740"/>
                  <a:pt x="494821" y="423501"/>
                  <a:pt x="499817" y="419888"/>
                </a:cubicBezTo>
                <a:cubicBezTo>
                  <a:pt x="507869" y="414066"/>
                  <a:pt x="507286" y="406755"/>
                  <a:pt x="499439" y="400719"/>
                </a:cubicBezTo>
                <a:cubicBezTo>
                  <a:pt x="490179" y="393597"/>
                  <a:pt x="479486" y="388885"/>
                  <a:pt x="468062" y="387775"/>
                </a:cubicBezTo>
                <a:cubicBezTo>
                  <a:pt x="451873" y="386202"/>
                  <a:pt x="435520" y="386321"/>
                  <a:pt x="416946" y="385943"/>
                </a:cubicBezTo>
                <a:moveTo>
                  <a:pt x="636802" y="1190940"/>
                </a:moveTo>
                <a:cubicBezTo>
                  <a:pt x="646709" y="1188723"/>
                  <a:pt x="656705" y="1186841"/>
                  <a:pt x="666492" y="1184186"/>
                </a:cubicBezTo>
                <a:cubicBezTo>
                  <a:pt x="674710" y="1181958"/>
                  <a:pt x="676989" y="1178509"/>
                  <a:pt x="674465" y="1170880"/>
                </a:cubicBezTo>
                <a:cubicBezTo>
                  <a:pt x="671144" y="1160843"/>
                  <a:pt x="667026" y="1151009"/>
                  <a:pt x="662462" y="1141464"/>
                </a:cubicBezTo>
                <a:cubicBezTo>
                  <a:pt x="659273" y="1134795"/>
                  <a:pt x="653671" y="1130908"/>
                  <a:pt x="645564" y="1131937"/>
                </a:cubicBezTo>
                <a:cubicBezTo>
                  <a:pt x="639532" y="1132703"/>
                  <a:pt x="633423" y="1132867"/>
                  <a:pt x="627387" y="1133618"/>
                </a:cubicBezTo>
                <a:cubicBezTo>
                  <a:pt x="612888" y="1135421"/>
                  <a:pt x="598449" y="1137770"/>
                  <a:pt x="583917" y="1139222"/>
                </a:cubicBezTo>
                <a:cubicBezTo>
                  <a:pt x="570571" y="1140557"/>
                  <a:pt x="557130" y="1140930"/>
                  <a:pt x="543741" y="1141869"/>
                </a:cubicBezTo>
                <a:cubicBezTo>
                  <a:pt x="533202" y="1142610"/>
                  <a:pt x="522682" y="1143623"/>
                  <a:pt x="512146" y="1144418"/>
                </a:cubicBezTo>
                <a:cubicBezTo>
                  <a:pt x="490671" y="1146038"/>
                  <a:pt x="469214" y="1148450"/>
                  <a:pt x="447711" y="1148973"/>
                </a:cubicBezTo>
                <a:cubicBezTo>
                  <a:pt x="415817" y="1149749"/>
                  <a:pt x="383891" y="1149136"/>
                  <a:pt x="351979" y="1149200"/>
                </a:cubicBezTo>
                <a:cubicBezTo>
                  <a:pt x="347698" y="1149209"/>
                  <a:pt x="343419" y="1149717"/>
                  <a:pt x="338443" y="1150040"/>
                </a:cubicBezTo>
                <a:cubicBezTo>
                  <a:pt x="338443" y="1164651"/>
                  <a:pt x="338413" y="1177715"/>
                  <a:pt x="338451" y="1190780"/>
                </a:cubicBezTo>
                <a:cubicBezTo>
                  <a:pt x="338490" y="1204031"/>
                  <a:pt x="338512" y="1204062"/>
                  <a:pt x="351082" y="1207015"/>
                </a:cubicBezTo>
                <a:cubicBezTo>
                  <a:pt x="353445" y="1207570"/>
                  <a:pt x="355895" y="1208128"/>
                  <a:pt x="358298" y="1208094"/>
                </a:cubicBezTo>
                <a:cubicBezTo>
                  <a:pt x="412608" y="1207329"/>
                  <a:pt x="466919" y="1206484"/>
                  <a:pt x="521229" y="1205646"/>
                </a:cubicBezTo>
                <a:cubicBezTo>
                  <a:pt x="522045" y="1205634"/>
                  <a:pt x="522865" y="1205591"/>
                  <a:pt x="523675" y="1205490"/>
                </a:cubicBezTo>
                <a:cubicBezTo>
                  <a:pt x="542593" y="1203123"/>
                  <a:pt x="561519" y="1200820"/>
                  <a:pt x="580423" y="1198350"/>
                </a:cubicBezTo>
                <a:cubicBezTo>
                  <a:pt x="598523" y="1195985"/>
                  <a:pt x="616599" y="1193446"/>
                  <a:pt x="636802" y="1190940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" name="Free-form: Shape 7">
            <a:extLst>
              <a:ext uri="{FF2B5EF4-FFF2-40B4-BE49-F238E27FC236}">
                <a16:creationId xmlns:a16="http://schemas.microsoft.com/office/drawing/2014/main" id="{108B5051-BFD4-15BC-B869-44EB2B0C211A}"/>
              </a:ext>
            </a:extLst>
          </p:cNvPr>
          <p:cNvSpPr/>
          <p:nvPr/>
        </p:nvSpPr>
        <p:spPr>
          <a:xfrm>
            <a:off x="1774312" y="2842486"/>
            <a:ext cx="17183" cy="1817"/>
          </a:xfrm>
          <a:custGeom>
            <a:avLst/>
            <a:gdLst>
              <a:gd name="csX0" fmla="*/ 0 w 27674"/>
              <a:gd name="csY0" fmla="*/ 2915 h 2925"/>
              <a:gd name="csX1" fmla="*/ 27675 w 27674"/>
              <a:gd name="csY1" fmla="*/ 1550 h 2925"/>
              <a:gd name="csX2" fmla="*/ 0 w 27674"/>
              <a:gd name="csY2" fmla="*/ 2915 h 292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27674" h="2925">
                <a:moveTo>
                  <a:pt x="0" y="2915"/>
                </a:moveTo>
                <a:cubicBezTo>
                  <a:pt x="8211" y="-1939"/>
                  <a:pt x="17625" y="498"/>
                  <a:pt x="27675" y="1550"/>
                </a:cubicBezTo>
                <a:cubicBezTo>
                  <a:pt x="19225" y="2593"/>
                  <a:pt x="10029" y="2999"/>
                  <a:pt x="0" y="2915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" name="Free-form: Shape 8">
            <a:extLst>
              <a:ext uri="{FF2B5EF4-FFF2-40B4-BE49-F238E27FC236}">
                <a16:creationId xmlns:a16="http://schemas.microsoft.com/office/drawing/2014/main" id="{039A0E6E-E951-73BA-CB1F-3845965A84BA}"/>
              </a:ext>
            </a:extLst>
          </p:cNvPr>
          <p:cNvSpPr/>
          <p:nvPr/>
        </p:nvSpPr>
        <p:spPr>
          <a:xfrm>
            <a:off x="1727008" y="2843510"/>
            <a:ext cx="11179" cy="700"/>
          </a:xfrm>
          <a:custGeom>
            <a:avLst/>
            <a:gdLst>
              <a:gd name="csX0" fmla="*/ 0 w 18003"/>
              <a:gd name="csY0" fmla="*/ 1050 h 1128"/>
              <a:gd name="csX1" fmla="*/ 18004 w 18003"/>
              <a:gd name="csY1" fmla="*/ 93 h 1128"/>
              <a:gd name="csX2" fmla="*/ 0 w 18003"/>
              <a:gd name="csY2" fmla="*/ 1050 h 112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8003" h="1128">
                <a:moveTo>
                  <a:pt x="0" y="1050"/>
                </a:moveTo>
                <a:cubicBezTo>
                  <a:pt x="5276" y="182"/>
                  <a:pt x="11306" y="-189"/>
                  <a:pt x="18004" y="93"/>
                </a:cubicBezTo>
                <a:cubicBezTo>
                  <a:pt x="12699" y="1013"/>
                  <a:pt x="6726" y="1280"/>
                  <a:pt x="0" y="1050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" name="Free-form: Shape 10">
            <a:extLst>
              <a:ext uri="{FF2B5EF4-FFF2-40B4-BE49-F238E27FC236}">
                <a16:creationId xmlns:a16="http://schemas.microsoft.com/office/drawing/2014/main" id="{32496B0E-94ED-BEA1-7AED-F4D664F5E050}"/>
              </a:ext>
            </a:extLst>
          </p:cNvPr>
          <p:cNvSpPr/>
          <p:nvPr/>
        </p:nvSpPr>
        <p:spPr>
          <a:xfrm>
            <a:off x="1807975" y="2276710"/>
            <a:ext cx="5257" cy="4867"/>
          </a:xfrm>
          <a:custGeom>
            <a:avLst/>
            <a:gdLst>
              <a:gd name="csX0" fmla="*/ 473 w 8466"/>
              <a:gd name="csY0" fmla="*/ 7839 h 7838"/>
              <a:gd name="csX1" fmla="*/ 8466 w 8466"/>
              <a:gd name="csY1" fmla="*/ 61 h 7838"/>
              <a:gd name="csX2" fmla="*/ 473 w 8466"/>
              <a:gd name="csY2" fmla="*/ 7839 h 783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66" h="7838">
                <a:moveTo>
                  <a:pt x="473" y="7839"/>
                </a:moveTo>
                <a:cubicBezTo>
                  <a:pt x="-1298" y="1550"/>
                  <a:pt x="2020" y="-386"/>
                  <a:pt x="8466" y="61"/>
                </a:cubicBezTo>
                <a:cubicBezTo>
                  <a:pt x="6730" y="2845"/>
                  <a:pt x="4026" y="5401"/>
                  <a:pt x="473" y="7839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4" name="Free-form: Shape 13">
            <a:extLst>
              <a:ext uri="{FF2B5EF4-FFF2-40B4-BE49-F238E27FC236}">
                <a16:creationId xmlns:a16="http://schemas.microsoft.com/office/drawing/2014/main" id="{24A08F88-196A-CC90-0641-C94560E21015}"/>
              </a:ext>
            </a:extLst>
          </p:cNvPr>
          <p:cNvSpPr/>
          <p:nvPr/>
        </p:nvSpPr>
        <p:spPr>
          <a:xfrm>
            <a:off x="1671979" y="2841996"/>
            <a:ext cx="5265" cy="618"/>
          </a:xfrm>
          <a:custGeom>
            <a:avLst/>
            <a:gdLst>
              <a:gd name="csX0" fmla="*/ 0 w 8480"/>
              <a:gd name="csY0" fmla="*/ 896 h 996"/>
              <a:gd name="csX1" fmla="*/ 8480 w 8480"/>
              <a:gd name="csY1" fmla="*/ 110 h 996"/>
              <a:gd name="csX2" fmla="*/ 0 w 8480"/>
              <a:gd name="csY2" fmla="*/ 896 h 99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80" h="996">
                <a:moveTo>
                  <a:pt x="0" y="896"/>
                </a:moveTo>
                <a:cubicBezTo>
                  <a:pt x="2285" y="115"/>
                  <a:pt x="5130" y="-182"/>
                  <a:pt x="8480" y="110"/>
                </a:cubicBezTo>
                <a:cubicBezTo>
                  <a:pt x="6177" y="927"/>
                  <a:pt x="3368" y="1153"/>
                  <a:pt x="0" y="896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5" name="Free-form: Shape 14">
            <a:extLst>
              <a:ext uri="{FF2B5EF4-FFF2-40B4-BE49-F238E27FC236}">
                <a16:creationId xmlns:a16="http://schemas.microsoft.com/office/drawing/2014/main" id="{495E8070-F71C-3B32-CD46-B9C580A9C81C}"/>
              </a:ext>
            </a:extLst>
          </p:cNvPr>
          <p:cNvSpPr/>
          <p:nvPr/>
        </p:nvSpPr>
        <p:spPr>
          <a:xfrm>
            <a:off x="1958740" y="2815467"/>
            <a:ext cx="763" cy="4134"/>
          </a:xfrm>
          <a:custGeom>
            <a:avLst/>
            <a:gdLst>
              <a:gd name="csX0" fmla="*/ 132 w 1229"/>
              <a:gd name="csY0" fmla="*/ 6659 h 6658"/>
              <a:gd name="csX1" fmla="*/ 1107 w 1229"/>
              <a:gd name="csY1" fmla="*/ 0 h 6658"/>
              <a:gd name="csX2" fmla="*/ 132 w 1229"/>
              <a:gd name="csY2" fmla="*/ 6659 h 665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229" h="6658">
                <a:moveTo>
                  <a:pt x="132" y="6659"/>
                </a:moveTo>
                <a:cubicBezTo>
                  <a:pt x="-219" y="4616"/>
                  <a:pt x="139" y="2560"/>
                  <a:pt x="1107" y="0"/>
                </a:cubicBezTo>
                <a:cubicBezTo>
                  <a:pt x="1425" y="1879"/>
                  <a:pt x="1133" y="4263"/>
                  <a:pt x="132" y="6659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" name="Free-form: Shape 15">
            <a:extLst>
              <a:ext uri="{FF2B5EF4-FFF2-40B4-BE49-F238E27FC236}">
                <a16:creationId xmlns:a16="http://schemas.microsoft.com/office/drawing/2014/main" id="{D12B1A7A-FE1D-136F-1AE9-883F04DA8ECE}"/>
              </a:ext>
            </a:extLst>
          </p:cNvPr>
          <p:cNvSpPr/>
          <p:nvPr/>
        </p:nvSpPr>
        <p:spPr>
          <a:xfrm>
            <a:off x="1891544" y="2835744"/>
            <a:ext cx="2352" cy="847"/>
          </a:xfrm>
          <a:custGeom>
            <a:avLst/>
            <a:gdLst>
              <a:gd name="csX0" fmla="*/ 0 w 3788"/>
              <a:gd name="csY0" fmla="*/ 1364 h 1364"/>
              <a:gd name="csX1" fmla="*/ 3788 w 3788"/>
              <a:gd name="csY1" fmla="*/ 0 h 1364"/>
              <a:gd name="csX2" fmla="*/ 0 w 3788"/>
              <a:gd name="csY2" fmla="*/ 1364 h 136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788" h="1364">
                <a:moveTo>
                  <a:pt x="0" y="1364"/>
                </a:moveTo>
                <a:cubicBezTo>
                  <a:pt x="856" y="517"/>
                  <a:pt x="2126" y="39"/>
                  <a:pt x="3788" y="0"/>
                </a:cubicBezTo>
                <a:cubicBezTo>
                  <a:pt x="2925" y="870"/>
                  <a:pt x="1670" y="1303"/>
                  <a:pt x="0" y="1364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7" name="Free-form: Shape 16">
            <a:extLst>
              <a:ext uri="{FF2B5EF4-FFF2-40B4-BE49-F238E27FC236}">
                <a16:creationId xmlns:a16="http://schemas.microsoft.com/office/drawing/2014/main" id="{4AECD3BA-8041-0353-5A2B-89A7A52FF74B}"/>
              </a:ext>
            </a:extLst>
          </p:cNvPr>
          <p:cNvSpPr/>
          <p:nvPr/>
        </p:nvSpPr>
        <p:spPr>
          <a:xfrm>
            <a:off x="1619961" y="2839018"/>
            <a:ext cx="2478" cy="515"/>
          </a:xfrm>
          <a:custGeom>
            <a:avLst/>
            <a:gdLst>
              <a:gd name="csX0" fmla="*/ 0 w 3990"/>
              <a:gd name="csY0" fmla="*/ 719 h 829"/>
              <a:gd name="csX1" fmla="*/ 3990 w 3990"/>
              <a:gd name="csY1" fmla="*/ 119 h 829"/>
              <a:gd name="csX2" fmla="*/ 0 w 3990"/>
              <a:gd name="csY2" fmla="*/ 719 h 82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990" h="829">
                <a:moveTo>
                  <a:pt x="0" y="719"/>
                </a:moveTo>
                <a:cubicBezTo>
                  <a:pt x="982" y="66"/>
                  <a:pt x="2323" y="-163"/>
                  <a:pt x="3990" y="119"/>
                </a:cubicBezTo>
                <a:cubicBezTo>
                  <a:pt x="2998" y="800"/>
                  <a:pt x="1678" y="972"/>
                  <a:pt x="0" y="719"/>
                </a:cubicBezTo>
                <a:close/>
              </a:path>
            </a:pathLst>
          </a:custGeom>
          <a:solidFill>
            <a:srgbClr val="959DA0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8" name="Free-form: Shape 17">
            <a:extLst>
              <a:ext uri="{FF2B5EF4-FFF2-40B4-BE49-F238E27FC236}">
                <a16:creationId xmlns:a16="http://schemas.microsoft.com/office/drawing/2014/main" id="{530496A8-2185-B7EC-19F1-9A663B544065}"/>
              </a:ext>
            </a:extLst>
          </p:cNvPr>
          <p:cNvSpPr/>
          <p:nvPr/>
        </p:nvSpPr>
        <p:spPr>
          <a:xfrm>
            <a:off x="1830509" y="2841974"/>
            <a:ext cx="2417" cy="705"/>
          </a:xfrm>
          <a:custGeom>
            <a:avLst/>
            <a:gdLst>
              <a:gd name="csX0" fmla="*/ 0 w 3893"/>
              <a:gd name="csY0" fmla="*/ 1133 h 1135"/>
              <a:gd name="csX1" fmla="*/ 3893 w 3893"/>
              <a:gd name="csY1" fmla="*/ 7 h 1135"/>
              <a:gd name="csX2" fmla="*/ 0 w 3893"/>
              <a:gd name="csY2" fmla="*/ 1133 h 113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893" h="1135">
                <a:moveTo>
                  <a:pt x="0" y="1133"/>
                </a:moveTo>
                <a:cubicBezTo>
                  <a:pt x="902" y="349"/>
                  <a:pt x="2213" y="-60"/>
                  <a:pt x="3893" y="7"/>
                </a:cubicBezTo>
                <a:cubicBezTo>
                  <a:pt x="2978" y="825"/>
                  <a:pt x="1693" y="1167"/>
                  <a:pt x="0" y="1133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" name="Free-form: Shape 19">
            <a:extLst>
              <a:ext uri="{FF2B5EF4-FFF2-40B4-BE49-F238E27FC236}">
                <a16:creationId xmlns:a16="http://schemas.microsoft.com/office/drawing/2014/main" id="{3B4E2EA4-281E-59F5-9717-D16D00736B95}"/>
              </a:ext>
            </a:extLst>
          </p:cNvPr>
          <p:cNvSpPr/>
          <p:nvPr/>
        </p:nvSpPr>
        <p:spPr>
          <a:xfrm>
            <a:off x="1730913" y="2357310"/>
            <a:ext cx="112588" cy="250407"/>
          </a:xfrm>
          <a:custGeom>
            <a:avLst/>
            <a:gdLst>
              <a:gd name="csX0" fmla="*/ 7554 w 181323"/>
              <a:gd name="csY0" fmla="*/ 172079 h 403282"/>
              <a:gd name="csX1" fmla="*/ 9716 w 181323"/>
              <a:gd name="csY1" fmla="*/ 130641 h 403282"/>
              <a:gd name="csX2" fmla="*/ 7663 w 181323"/>
              <a:gd name="csY2" fmla="*/ 113770 h 403282"/>
              <a:gd name="csX3" fmla="*/ 7598 w 181323"/>
              <a:gd name="csY3" fmla="*/ 8165 h 403282"/>
              <a:gd name="csX4" fmla="*/ 8353 w 181323"/>
              <a:gd name="csY4" fmla="*/ 1259 h 403282"/>
              <a:gd name="csX5" fmla="*/ 17767 w 181323"/>
              <a:gd name="csY5" fmla="*/ 93 h 403282"/>
              <a:gd name="csX6" fmla="*/ 77938 w 181323"/>
              <a:gd name="csY6" fmla="*/ 50 h 403282"/>
              <a:gd name="csX7" fmla="*/ 91081 w 181323"/>
              <a:gd name="csY7" fmla="*/ 10962 h 403282"/>
              <a:gd name="csX8" fmla="*/ 93691 w 181323"/>
              <a:gd name="csY8" fmla="*/ 60963 h 403282"/>
              <a:gd name="csX9" fmla="*/ 100157 w 181323"/>
              <a:gd name="csY9" fmla="*/ 121501 h 403282"/>
              <a:gd name="csX10" fmla="*/ 105540 w 181323"/>
              <a:gd name="csY10" fmla="*/ 158857 h 403282"/>
              <a:gd name="csX11" fmla="*/ 121116 w 181323"/>
              <a:gd name="csY11" fmla="*/ 235269 h 403282"/>
              <a:gd name="csX12" fmla="*/ 152823 w 181323"/>
              <a:gd name="csY12" fmla="*/ 338010 h 403282"/>
              <a:gd name="csX13" fmla="*/ 170877 w 181323"/>
              <a:gd name="csY13" fmla="*/ 378027 h 403282"/>
              <a:gd name="csX14" fmla="*/ 178114 w 181323"/>
              <a:gd name="csY14" fmla="*/ 387682 h 403282"/>
              <a:gd name="csX15" fmla="*/ 181150 w 181323"/>
              <a:gd name="csY15" fmla="*/ 395764 h 403282"/>
              <a:gd name="csX16" fmla="*/ 173480 w 181323"/>
              <a:gd name="csY16" fmla="*/ 402568 h 403282"/>
              <a:gd name="csX17" fmla="*/ 160067 w 181323"/>
              <a:gd name="csY17" fmla="*/ 402936 h 403282"/>
              <a:gd name="csX18" fmla="*/ 121081 w 181323"/>
              <a:gd name="csY18" fmla="*/ 400766 h 403282"/>
              <a:gd name="csX19" fmla="*/ 70912 w 181323"/>
              <a:gd name="csY19" fmla="*/ 401955 h 403282"/>
              <a:gd name="csX20" fmla="*/ 7630 w 181323"/>
              <a:gd name="csY20" fmla="*/ 402999 h 403282"/>
              <a:gd name="csX21" fmla="*/ 710 w 181323"/>
              <a:gd name="csY21" fmla="*/ 401995 h 403282"/>
              <a:gd name="csX22" fmla="*/ 1308 w 181323"/>
              <a:gd name="csY22" fmla="*/ 356708 h 403282"/>
              <a:gd name="csX23" fmla="*/ 2554 w 181323"/>
              <a:gd name="csY23" fmla="*/ 349510 h 403282"/>
              <a:gd name="csX24" fmla="*/ 5071 w 181323"/>
              <a:gd name="csY24" fmla="*/ 271231 h 403282"/>
              <a:gd name="csX25" fmla="*/ 7554 w 181323"/>
              <a:gd name="csY25" fmla="*/ 172079 h 403282"/>
              <a:gd name="csX26" fmla="*/ 98286 w 181323"/>
              <a:gd name="csY26" fmla="*/ 163566 h 403282"/>
              <a:gd name="csX27" fmla="*/ 83497 w 181323"/>
              <a:gd name="csY27" fmla="*/ 8289 h 403282"/>
              <a:gd name="csX28" fmla="*/ 15161 w 181323"/>
              <a:gd name="csY28" fmla="*/ 9148 h 403282"/>
              <a:gd name="csX29" fmla="*/ 15058 w 181323"/>
              <a:gd name="csY29" fmla="*/ 137939 h 403282"/>
              <a:gd name="csX30" fmla="*/ 12252 w 181323"/>
              <a:gd name="csY30" fmla="*/ 266862 h 403282"/>
              <a:gd name="csX31" fmla="*/ 7068 w 181323"/>
              <a:gd name="csY31" fmla="*/ 395996 h 403282"/>
              <a:gd name="csX32" fmla="*/ 171647 w 181323"/>
              <a:gd name="csY32" fmla="*/ 395996 h 403282"/>
              <a:gd name="csX33" fmla="*/ 119950 w 181323"/>
              <a:gd name="csY33" fmla="*/ 259496 h 403282"/>
              <a:gd name="csX34" fmla="*/ 98286 w 181323"/>
              <a:gd name="csY34" fmla="*/ 163566 h 40328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</a:cxnLst>
            <a:rect l="l" t="t" r="r" b="b"/>
            <a:pathLst>
              <a:path w="181323" h="403282">
                <a:moveTo>
                  <a:pt x="7554" y="172079"/>
                </a:moveTo>
                <a:cubicBezTo>
                  <a:pt x="8325" y="157451"/>
                  <a:pt x="9408" y="144055"/>
                  <a:pt x="9716" y="130641"/>
                </a:cubicBezTo>
                <a:cubicBezTo>
                  <a:pt x="9846" y="125037"/>
                  <a:pt x="7695" y="119399"/>
                  <a:pt x="7663" y="113770"/>
                </a:cubicBezTo>
                <a:cubicBezTo>
                  <a:pt x="7461" y="78569"/>
                  <a:pt x="7554" y="43367"/>
                  <a:pt x="7598" y="8165"/>
                </a:cubicBezTo>
                <a:cubicBezTo>
                  <a:pt x="7600" y="6167"/>
                  <a:pt x="8022" y="4170"/>
                  <a:pt x="8353" y="1259"/>
                </a:cubicBezTo>
                <a:cubicBezTo>
                  <a:pt x="11568" y="842"/>
                  <a:pt x="14666" y="109"/>
                  <a:pt x="17767" y="93"/>
                </a:cubicBezTo>
                <a:cubicBezTo>
                  <a:pt x="37824" y="-17"/>
                  <a:pt x="57881" y="-27"/>
                  <a:pt x="77938" y="50"/>
                </a:cubicBezTo>
                <a:cubicBezTo>
                  <a:pt x="89177" y="93"/>
                  <a:pt x="90068" y="113"/>
                  <a:pt x="91081" y="10962"/>
                </a:cubicBezTo>
                <a:cubicBezTo>
                  <a:pt x="92631" y="27565"/>
                  <a:pt x="92329" y="44335"/>
                  <a:pt x="93691" y="60963"/>
                </a:cubicBezTo>
                <a:cubicBezTo>
                  <a:pt x="95348" y="81184"/>
                  <a:pt x="97732" y="101353"/>
                  <a:pt x="100157" y="121501"/>
                </a:cubicBezTo>
                <a:cubicBezTo>
                  <a:pt x="101660" y="133990"/>
                  <a:pt x="104521" y="146343"/>
                  <a:pt x="105540" y="158857"/>
                </a:cubicBezTo>
                <a:cubicBezTo>
                  <a:pt x="107671" y="184993"/>
                  <a:pt x="114147" y="210249"/>
                  <a:pt x="121116" y="235269"/>
                </a:cubicBezTo>
                <a:cubicBezTo>
                  <a:pt x="130731" y="269786"/>
                  <a:pt x="141516" y="304004"/>
                  <a:pt x="152823" y="338010"/>
                </a:cubicBezTo>
                <a:cubicBezTo>
                  <a:pt x="157418" y="351828"/>
                  <a:pt x="164524" y="364837"/>
                  <a:pt x="170877" y="378027"/>
                </a:cubicBezTo>
                <a:cubicBezTo>
                  <a:pt x="172587" y="381579"/>
                  <a:pt x="175985" y="384280"/>
                  <a:pt x="178114" y="387682"/>
                </a:cubicBezTo>
                <a:cubicBezTo>
                  <a:pt x="179669" y="390165"/>
                  <a:pt x="181977" y="393824"/>
                  <a:pt x="181150" y="395764"/>
                </a:cubicBezTo>
                <a:cubicBezTo>
                  <a:pt x="179907" y="398676"/>
                  <a:pt x="176540" y="401705"/>
                  <a:pt x="173480" y="402568"/>
                </a:cubicBezTo>
                <a:cubicBezTo>
                  <a:pt x="169302" y="403746"/>
                  <a:pt x="164551" y="403164"/>
                  <a:pt x="160067" y="402936"/>
                </a:cubicBezTo>
                <a:cubicBezTo>
                  <a:pt x="147066" y="402274"/>
                  <a:pt x="134081" y="400859"/>
                  <a:pt x="121081" y="400766"/>
                </a:cubicBezTo>
                <a:cubicBezTo>
                  <a:pt x="104362" y="400647"/>
                  <a:pt x="87638" y="401607"/>
                  <a:pt x="70912" y="401955"/>
                </a:cubicBezTo>
                <a:cubicBezTo>
                  <a:pt x="49820" y="402394"/>
                  <a:pt x="28725" y="402712"/>
                  <a:pt x="7630" y="402999"/>
                </a:cubicBezTo>
                <a:cubicBezTo>
                  <a:pt x="5684" y="403026"/>
                  <a:pt x="3731" y="402452"/>
                  <a:pt x="710" y="401995"/>
                </a:cubicBezTo>
                <a:cubicBezTo>
                  <a:pt x="219" y="386620"/>
                  <a:pt x="-871" y="371682"/>
                  <a:pt x="1308" y="356708"/>
                </a:cubicBezTo>
                <a:cubicBezTo>
                  <a:pt x="1659" y="354298"/>
                  <a:pt x="2471" y="351920"/>
                  <a:pt x="2554" y="349510"/>
                </a:cubicBezTo>
                <a:cubicBezTo>
                  <a:pt x="3459" y="323419"/>
                  <a:pt x="4345" y="297328"/>
                  <a:pt x="5071" y="271231"/>
                </a:cubicBezTo>
                <a:cubicBezTo>
                  <a:pt x="5979" y="238591"/>
                  <a:pt x="6733" y="205947"/>
                  <a:pt x="7554" y="172079"/>
                </a:cubicBezTo>
                <a:moveTo>
                  <a:pt x="98286" y="163566"/>
                </a:moveTo>
                <a:cubicBezTo>
                  <a:pt x="89288" y="112116"/>
                  <a:pt x="86355" y="60033"/>
                  <a:pt x="83497" y="8289"/>
                </a:cubicBezTo>
                <a:cubicBezTo>
                  <a:pt x="65606" y="5845"/>
                  <a:pt x="24110" y="6470"/>
                  <a:pt x="15161" y="9148"/>
                </a:cubicBezTo>
                <a:cubicBezTo>
                  <a:pt x="15161" y="52045"/>
                  <a:pt x="15527" y="94996"/>
                  <a:pt x="15058" y="137939"/>
                </a:cubicBezTo>
                <a:cubicBezTo>
                  <a:pt x="14587" y="180919"/>
                  <a:pt x="13597" y="223900"/>
                  <a:pt x="12252" y="266862"/>
                </a:cubicBezTo>
                <a:cubicBezTo>
                  <a:pt x="10912" y="309638"/>
                  <a:pt x="8849" y="352391"/>
                  <a:pt x="7068" y="395996"/>
                </a:cubicBezTo>
                <a:cubicBezTo>
                  <a:pt x="62774" y="395996"/>
                  <a:pt x="116821" y="395996"/>
                  <a:pt x="171647" y="395996"/>
                </a:cubicBezTo>
                <a:cubicBezTo>
                  <a:pt x="148550" y="352016"/>
                  <a:pt x="132566" y="306307"/>
                  <a:pt x="119950" y="259496"/>
                </a:cubicBezTo>
                <a:cubicBezTo>
                  <a:pt x="111608" y="228543"/>
                  <a:pt x="105493" y="196989"/>
                  <a:pt x="98286" y="163566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" name="Free-form: Shape 20">
            <a:extLst>
              <a:ext uri="{FF2B5EF4-FFF2-40B4-BE49-F238E27FC236}">
                <a16:creationId xmlns:a16="http://schemas.microsoft.com/office/drawing/2014/main" id="{F4524981-D3B7-9CA7-01EC-098AB077AF69}"/>
              </a:ext>
            </a:extLst>
          </p:cNvPr>
          <p:cNvSpPr/>
          <p:nvPr/>
        </p:nvSpPr>
        <p:spPr>
          <a:xfrm>
            <a:off x="1732544" y="2773791"/>
            <a:ext cx="209255" cy="47389"/>
          </a:xfrm>
          <a:custGeom>
            <a:avLst/>
            <a:gdLst>
              <a:gd name="csX0" fmla="*/ 297312 w 337008"/>
              <a:gd name="csY0" fmla="*/ 59188 h 76321"/>
              <a:gd name="csX1" fmla="*/ 241991 w 337008"/>
              <a:gd name="csY1" fmla="*/ 66577 h 76321"/>
              <a:gd name="csX2" fmla="*/ 185243 w 337008"/>
              <a:gd name="csY2" fmla="*/ 73717 h 76321"/>
              <a:gd name="csX3" fmla="*/ 182797 w 337008"/>
              <a:gd name="csY3" fmla="*/ 73873 h 76321"/>
              <a:gd name="csX4" fmla="*/ 19866 w 337008"/>
              <a:gd name="csY4" fmla="*/ 76320 h 76321"/>
              <a:gd name="csX5" fmla="*/ 12650 w 337008"/>
              <a:gd name="csY5" fmla="*/ 75242 h 76321"/>
              <a:gd name="csX6" fmla="*/ 19 w 337008"/>
              <a:gd name="csY6" fmla="*/ 59006 h 76321"/>
              <a:gd name="csX7" fmla="*/ 11 w 337008"/>
              <a:gd name="csY7" fmla="*/ 18266 h 76321"/>
              <a:gd name="csX8" fmla="*/ 13547 w 337008"/>
              <a:gd name="csY8" fmla="*/ 17427 h 76321"/>
              <a:gd name="csX9" fmla="*/ 109279 w 337008"/>
              <a:gd name="csY9" fmla="*/ 17200 h 76321"/>
              <a:gd name="csX10" fmla="*/ 173714 w 337008"/>
              <a:gd name="csY10" fmla="*/ 12645 h 76321"/>
              <a:gd name="csX11" fmla="*/ 205309 w 337008"/>
              <a:gd name="csY11" fmla="*/ 10096 h 76321"/>
              <a:gd name="csX12" fmla="*/ 245485 w 337008"/>
              <a:gd name="csY12" fmla="*/ 7449 h 76321"/>
              <a:gd name="csX13" fmla="*/ 288955 w 337008"/>
              <a:gd name="csY13" fmla="*/ 1844 h 76321"/>
              <a:gd name="csX14" fmla="*/ 307132 w 337008"/>
              <a:gd name="csY14" fmla="*/ 164 h 76321"/>
              <a:gd name="csX15" fmla="*/ 324030 w 337008"/>
              <a:gd name="csY15" fmla="*/ 9691 h 76321"/>
              <a:gd name="csX16" fmla="*/ 336033 w 337008"/>
              <a:gd name="csY16" fmla="*/ 39107 h 76321"/>
              <a:gd name="csX17" fmla="*/ 328060 w 337008"/>
              <a:gd name="csY17" fmla="*/ 52413 h 76321"/>
              <a:gd name="csX18" fmla="*/ 297312 w 337008"/>
              <a:gd name="csY18" fmla="*/ 59188 h 76321"/>
              <a:gd name="csX19" fmla="*/ 207688 w 337008"/>
              <a:gd name="csY19" fmla="*/ 64284 h 76321"/>
              <a:gd name="csX20" fmla="*/ 330050 w 337008"/>
              <a:gd name="csY20" fmla="*/ 45606 h 76321"/>
              <a:gd name="csX21" fmla="*/ 317356 w 337008"/>
              <a:gd name="csY21" fmla="*/ 11297 h 76321"/>
              <a:gd name="csX22" fmla="*/ 304170 w 337008"/>
              <a:gd name="csY22" fmla="*/ 5545 h 76321"/>
              <a:gd name="csX23" fmla="*/ 273851 w 337008"/>
              <a:gd name="csY23" fmla="*/ 10014 h 76321"/>
              <a:gd name="csX24" fmla="*/ 163935 w 337008"/>
              <a:gd name="csY24" fmla="*/ 20274 h 76321"/>
              <a:gd name="csX25" fmla="*/ 17973 w 337008"/>
              <a:gd name="csY25" fmla="*/ 22950 h 76321"/>
              <a:gd name="csX26" fmla="*/ 7372 w 337008"/>
              <a:gd name="csY26" fmla="*/ 23601 h 76321"/>
              <a:gd name="csX27" fmla="*/ 7372 w 337008"/>
              <a:gd name="csY27" fmla="*/ 67898 h 76321"/>
              <a:gd name="csX28" fmla="*/ 207688 w 337008"/>
              <a:gd name="csY28" fmla="*/ 64284 h 7632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</a:cxnLst>
            <a:rect l="l" t="t" r="r" b="b"/>
            <a:pathLst>
              <a:path w="337008" h="76321">
                <a:moveTo>
                  <a:pt x="297312" y="59188"/>
                </a:moveTo>
                <a:cubicBezTo>
                  <a:pt x="278167" y="61672"/>
                  <a:pt x="260091" y="64212"/>
                  <a:pt x="241991" y="66577"/>
                </a:cubicBezTo>
                <a:cubicBezTo>
                  <a:pt x="223087" y="69047"/>
                  <a:pt x="204161" y="71350"/>
                  <a:pt x="185243" y="73717"/>
                </a:cubicBezTo>
                <a:cubicBezTo>
                  <a:pt x="184433" y="73818"/>
                  <a:pt x="183613" y="73861"/>
                  <a:pt x="182797" y="73873"/>
                </a:cubicBezTo>
                <a:cubicBezTo>
                  <a:pt x="128487" y="74710"/>
                  <a:pt x="74176" y="75556"/>
                  <a:pt x="19866" y="76320"/>
                </a:cubicBezTo>
                <a:cubicBezTo>
                  <a:pt x="17463" y="76354"/>
                  <a:pt x="15013" y="75797"/>
                  <a:pt x="12650" y="75242"/>
                </a:cubicBezTo>
                <a:cubicBezTo>
                  <a:pt x="80" y="72288"/>
                  <a:pt x="58" y="72258"/>
                  <a:pt x="19" y="59006"/>
                </a:cubicBezTo>
                <a:cubicBezTo>
                  <a:pt x="-19" y="45942"/>
                  <a:pt x="11" y="32877"/>
                  <a:pt x="11" y="18266"/>
                </a:cubicBezTo>
                <a:cubicBezTo>
                  <a:pt x="4987" y="17944"/>
                  <a:pt x="9266" y="17435"/>
                  <a:pt x="13547" y="17427"/>
                </a:cubicBezTo>
                <a:cubicBezTo>
                  <a:pt x="45459" y="17362"/>
                  <a:pt x="77385" y="17975"/>
                  <a:pt x="109279" y="17200"/>
                </a:cubicBezTo>
                <a:cubicBezTo>
                  <a:pt x="130782" y="16677"/>
                  <a:pt x="152239" y="14265"/>
                  <a:pt x="173714" y="12645"/>
                </a:cubicBezTo>
                <a:cubicBezTo>
                  <a:pt x="184250" y="11850"/>
                  <a:pt x="194770" y="10836"/>
                  <a:pt x="205309" y="10096"/>
                </a:cubicBezTo>
                <a:cubicBezTo>
                  <a:pt x="218698" y="9156"/>
                  <a:pt x="232139" y="8783"/>
                  <a:pt x="245485" y="7449"/>
                </a:cubicBezTo>
                <a:cubicBezTo>
                  <a:pt x="260017" y="5997"/>
                  <a:pt x="274456" y="3648"/>
                  <a:pt x="288955" y="1844"/>
                </a:cubicBezTo>
                <a:cubicBezTo>
                  <a:pt x="294991" y="1094"/>
                  <a:pt x="301100" y="930"/>
                  <a:pt x="307132" y="164"/>
                </a:cubicBezTo>
                <a:cubicBezTo>
                  <a:pt x="315239" y="-865"/>
                  <a:pt x="320841" y="3022"/>
                  <a:pt x="324030" y="9691"/>
                </a:cubicBezTo>
                <a:cubicBezTo>
                  <a:pt x="328594" y="19236"/>
                  <a:pt x="332712" y="29070"/>
                  <a:pt x="336033" y="39107"/>
                </a:cubicBezTo>
                <a:cubicBezTo>
                  <a:pt x="338557" y="46735"/>
                  <a:pt x="336278" y="50185"/>
                  <a:pt x="328060" y="52413"/>
                </a:cubicBezTo>
                <a:cubicBezTo>
                  <a:pt x="318273" y="55068"/>
                  <a:pt x="308277" y="56950"/>
                  <a:pt x="297312" y="59188"/>
                </a:cubicBezTo>
                <a:moveTo>
                  <a:pt x="207688" y="64284"/>
                </a:moveTo>
                <a:cubicBezTo>
                  <a:pt x="248681" y="60632"/>
                  <a:pt x="289317" y="54812"/>
                  <a:pt x="330050" y="45606"/>
                </a:cubicBezTo>
                <a:cubicBezTo>
                  <a:pt x="327603" y="32443"/>
                  <a:pt x="323777" y="21532"/>
                  <a:pt x="317356" y="11297"/>
                </a:cubicBezTo>
                <a:cubicBezTo>
                  <a:pt x="313908" y="5803"/>
                  <a:pt x="310145" y="4465"/>
                  <a:pt x="304170" y="5545"/>
                </a:cubicBezTo>
                <a:cubicBezTo>
                  <a:pt x="294121" y="7361"/>
                  <a:pt x="284007" y="9006"/>
                  <a:pt x="273851" y="10014"/>
                </a:cubicBezTo>
                <a:cubicBezTo>
                  <a:pt x="237233" y="13650"/>
                  <a:pt x="200632" y="17661"/>
                  <a:pt x="163935" y="20274"/>
                </a:cubicBezTo>
                <a:cubicBezTo>
                  <a:pt x="115360" y="23734"/>
                  <a:pt x="66701" y="25937"/>
                  <a:pt x="17973" y="22950"/>
                </a:cubicBezTo>
                <a:cubicBezTo>
                  <a:pt x="14492" y="22737"/>
                  <a:pt x="10959" y="23361"/>
                  <a:pt x="7372" y="23601"/>
                </a:cubicBezTo>
                <a:cubicBezTo>
                  <a:pt x="7372" y="38609"/>
                  <a:pt x="7372" y="52361"/>
                  <a:pt x="7372" y="67898"/>
                </a:cubicBezTo>
                <a:cubicBezTo>
                  <a:pt x="74001" y="69806"/>
                  <a:pt x="139746" y="71025"/>
                  <a:pt x="207688" y="64284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2" name="Free-form: Shape 21">
            <a:extLst>
              <a:ext uri="{FF2B5EF4-FFF2-40B4-BE49-F238E27FC236}">
                <a16:creationId xmlns:a16="http://schemas.microsoft.com/office/drawing/2014/main" id="{827BAC12-9149-09B8-520C-6DF8A38F8658}"/>
              </a:ext>
            </a:extLst>
          </p:cNvPr>
          <p:cNvSpPr/>
          <p:nvPr/>
        </p:nvSpPr>
        <p:spPr>
          <a:xfrm>
            <a:off x="1736277" y="2627337"/>
            <a:ext cx="188426" cy="132688"/>
          </a:xfrm>
          <a:custGeom>
            <a:avLst/>
            <a:gdLst>
              <a:gd name="csX0" fmla="*/ 14160 w 303463"/>
              <a:gd name="csY0" fmla="*/ 7889 h 213695"/>
              <a:gd name="csX1" fmla="*/ 195033 w 303463"/>
              <a:gd name="csY1" fmla="*/ 0 h 213695"/>
              <a:gd name="csX2" fmla="*/ 197208 w 303463"/>
              <a:gd name="csY2" fmla="*/ 5635 h 213695"/>
              <a:gd name="csX3" fmla="*/ 227014 w 303463"/>
              <a:gd name="csY3" fmla="*/ 60660 h 213695"/>
              <a:gd name="csX4" fmla="*/ 265823 w 303463"/>
              <a:gd name="csY4" fmla="*/ 98217 h 213695"/>
              <a:gd name="csX5" fmla="*/ 303210 w 303463"/>
              <a:gd name="csY5" fmla="*/ 180358 h 213695"/>
              <a:gd name="csX6" fmla="*/ 303282 w 303463"/>
              <a:gd name="csY6" fmla="*/ 193964 h 213695"/>
              <a:gd name="csX7" fmla="*/ 4971 w 303463"/>
              <a:gd name="csY7" fmla="*/ 213017 h 213695"/>
              <a:gd name="csX8" fmla="*/ 5093 w 303463"/>
              <a:gd name="csY8" fmla="*/ 173484 h 213695"/>
              <a:gd name="csX9" fmla="*/ 4767 w 303463"/>
              <a:gd name="csY9" fmla="*/ 54607 h 213695"/>
              <a:gd name="csX10" fmla="*/ 0 w 303463"/>
              <a:gd name="csY10" fmla="*/ 7887 h 213695"/>
              <a:gd name="csX11" fmla="*/ 14160 w 303463"/>
              <a:gd name="csY11" fmla="*/ 7889 h 21369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303463" h="213695">
                <a:moveTo>
                  <a:pt x="14160" y="7889"/>
                </a:moveTo>
                <a:cubicBezTo>
                  <a:pt x="75371" y="8627"/>
                  <a:pt x="135292" y="5744"/>
                  <a:pt x="195033" y="0"/>
                </a:cubicBezTo>
                <a:cubicBezTo>
                  <a:pt x="196084" y="2662"/>
                  <a:pt x="196986" y="4099"/>
                  <a:pt x="197208" y="5635"/>
                </a:cubicBezTo>
                <a:cubicBezTo>
                  <a:pt x="200391" y="27650"/>
                  <a:pt x="211307" y="45450"/>
                  <a:pt x="227014" y="60660"/>
                </a:cubicBezTo>
                <a:cubicBezTo>
                  <a:pt x="239947" y="73182"/>
                  <a:pt x="253006" y="85577"/>
                  <a:pt x="265823" y="98217"/>
                </a:cubicBezTo>
                <a:cubicBezTo>
                  <a:pt x="288727" y="120806"/>
                  <a:pt x="299071" y="149215"/>
                  <a:pt x="303210" y="180358"/>
                </a:cubicBezTo>
                <a:cubicBezTo>
                  <a:pt x="303735" y="184317"/>
                  <a:pt x="303282" y="188405"/>
                  <a:pt x="303282" y="193964"/>
                </a:cubicBezTo>
                <a:cubicBezTo>
                  <a:pt x="204065" y="208804"/>
                  <a:pt x="105022" y="216044"/>
                  <a:pt x="4971" y="213017"/>
                </a:cubicBezTo>
                <a:cubicBezTo>
                  <a:pt x="4971" y="199268"/>
                  <a:pt x="4314" y="186332"/>
                  <a:pt x="5093" y="173484"/>
                </a:cubicBezTo>
                <a:cubicBezTo>
                  <a:pt x="7497" y="133835"/>
                  <a:pt x="8211" y="94216"/>
                  <a:pt x="4767" y="54607"/>
                </a:cubicBezTo>
                <a:cubicBezTo>
                  <a:pt x="3464" y="39611"/>
                  <a:pt x="1725" y="24653"/>
                  <a:pt x="0" y="7887"/>
                </a:cubicBezTo>
                <a:cubicBezTo>
                  <a:pt x="4390" y="7887"/>
                  <a:pt x="8696" y="7887"/>
                  <a:pt x="14160" y="7889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3" name="Free-form: Shape 22">
            <a:extLst>
              <a:ext uri="{FF2B5EF4-FFF2-40B4-BE49-F238E27FC236}">
                <a16:creationId xmlns:a16="http://schemas.microsoft.com/office/drawing/2014/main" id="{F2EE50C2-DFE9-7D09-6E01-EC18F2D6C0D0}"/>
              </a:ext>
            </a:extLst>
          </p:cNvPr>
          <p:cNvSpPr/>
          <p:nvPr/>
        </p:nvSpPr>
        <p:spPr>
          <a:xfrm>
            <a:off x="1702515" y="2097581"/>
            <a:ext cx="129814" cy="126299"/>
          </a:xfrm>
          <a:custGeom>
            <a:avLst/>
            <a:gdLst>
              <a:gd name="csX0" fmla="*/ 10475 w 209067"/>
              <a:gd name="csY0" fmla="*/ 41718 h 203406"/>
              <a:gd name="csX1" fmla="*/ 100250 w 209067"/>
              <a:gd name="csY1" fmla="*/ 1265 h 203406"/>
              <a:gd name="csX2" fmla="*/ 206681 w 209067"/>
              <a:gd name="csY2" fmla="*/ 98526 h 203406"/>
              <a:gd name="csX3" fmla="*/ 134647 w 209067"/>
              <a:gd name="csY3" fmla="*/ 202431 h 203406"/>
              <a:gd name="csX4" fmla="*/ 40986 w 209067"/>
              <a:gd name="csY4" fmla="*/ 171438 h 203406"/>
              <a:gd name="csX5" fmla="*/ 143 w 209067"/>
              <a:gd name="csY5" fmla="*/ 85158 h 203406"/>
              <a:gd name="csX6" fmla="*/ 10475 w 209067"/>
              <a:gd name="csY6" fmla="*/ 41718 h 20340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</a:cxnLst>
            <a:rect l="l" t="t" r="r" b="b"/>
            <a:pathLst>
              <a:path w="209067" h="203406">
                <a:moveTo>
                  <a:pt x="10475" y="41718"/>
                </a:moveTo>
                <a:cubicBezTo>
                  <a:pt x="31065" y="6021"/>
                  <a:pt x="63171" y="-3865"/>
                  <a:pt x="100250" y="1265"/>
                </a:cubicBezTo>
                <a:cubicBezTo>
                  <a:pt x="157191" y="9144"/>
                  <a:pt x="196951" y="51394"/>
                  <a:pt x="206681" y="98526"/>
                </a:cubicBezTo>
                <a:cubicBezTo>
                  <a:pt x="219504" y="160635"/>
                  <a:pt x="178523" y="196657"/>
                  <a:pt x="134647" y="202431"/>
                </a:cubicBezTo>
                <a:cubicBezTo>
                  <a:pt x="98365" y="207204"/>
                  <a:pt x="68101" y="194086"/>
                  <a:pt x="40986" y="171438"/>
                </a:cubicBezTo>
                <a:cubicBezTo>
                  <a:pt x="14115" y="148994"/>
                  <a:pt x="2457" y="119007"/>
                  <a:pt x="143" y="85158"/>
                </a:cubicBezTo>
                <a:cubicBezTo>
                  <a:pt x="-869" y="70364"/>
                  <a:pt x="3586" y="56015"/>
                  <a:pt x="10475" y="41718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4" name="Free-form: Shape 23">
            <a:extLst>
              <a:ext uri="{FF2B5EF4-FFF2-40B4-BE49-F238E27FC236}">
                <a16:creationId xmlns:a16="http://schemas.microsoft.com/office/drawing/2014/main" id="{512B896A-5A2A-5048-D0C0-75EE8F7A5C38}"/>
              </a:ext>
            </a:extLst>
          </p:cNvPr>
          <p:cNvSpPr/>
          <p:nvPr/>
        </p:nvSpPr>
        <p:spPr>
          <a:xfrm>
            <a:off x="1738774" y="2310619"/>
            <a:ext cx="97564" cy="25665"/>
          </a:xfrm>
          <a:custGeom>
            <a:avLst/>
            <a:gdLst>
              <a:gd name="csX0" fmla="*/ 69625 w 157129"/>
              <a:gd name="csY0" fmla="*/ 0 h 41334"/>
              <a:gd name="csX1" fmla="*/ 119596 w 157129"/>
              <a:gd name="csY1" fmla="*/ 1945 h 41334"/>
              <a:gd name="csX2" fmla="*/ 150973 w 157129"/>
              <a:gd name="csY2" fmla="*/ 14889 h 41334"/>
              <a:gd name="csX3" fmla="*/ 151351 w 157129"/>
              <a:gd name="csY3" fmla="*/ 34058 h 41334"/>
              <a:gd name="csX4" fmla="*/ 133492 w 157129"/>
              <a:gd name="csY4" fmla="*/ 40697 h 41334"/>
              <a:gd name="csX5" fmla="*/ 106556 w 157129"/>
              <a:gd name="csY5" fmla="*/ 41092 h 41334"/>
              <a:gd name="csX6" fmla="*/ 13373 w 157129"/>
              <a:gd name="csY6" fmla="*/ 40708 h 41334"/>
              <a:gd name="csX7" fmla="*/ 1312 w 157129"/>
              <a:gd name="csY7" fmla="*/ 40191 h 41334"/>
              <a:gd name="csX8" fmla="*/ 3367 w 157129"/>
              <a:gd name="csY8" fmla="*/ 13162 h 41334"/>
              <a:gd name="csX9" fmla="*/ 20752 w 157129"/>
              <a:gd name="csY9" fmla="*/ 1879 h 41334"/>
              <a:gd name="csX10" fmla="*/ 52625 w 157129"/>
              <a:gd name="csY10" fmla="*/ 1332 h 41334"/>
              <a:gd name="csX11" fmla="*/ 69625 w 157129"/>
              <a:gd name="csY11" fmla="*/ 0 h 4133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157129" h="41334">
                <a:moveTo>
                  <a:pt x="69625" y="0"/>
                </a:moveTo>
                <a:cubicBezTo>
                  <a:pt x="87054" y="491"/>
                  <a:pt x="103407" y="373"/>
                  <a:pt x="119596" y="1945"/>
                </a:cubicBezTo>
                <a:cubicBezTo>
                  <a:pt x="131020" y="3055"/>
                  <a:pt x="141713" y="7767"/>
                  <a:pt x="150973" y="14889"/>
                </a:cubicBezTo>
                <a:cubicBezTo>
                  <a:pt x="158820" y="20925"/>
                  <a:pt x="159403" y="28236"/>
                  <a:pt x="151351" y="34058"/>
                </a:cubicBezTo>
                <a:cubicBezTo>
                  <a:pt x="146355" y="37671"/>
                  <a:pt x="139678" y="39910"/>
                  <a:pt x="133492" y="40697"/>
                </a:cubicBezTo>
                <a:cubicBezTo>
                  <a:pt x="124640" y="41824"/>
                  <a:pt x="115547" y="41120"/>
                  <a:pt x="106556" y="41092"/>
                </a:cubicBezTo>
                <a:cubicBezTo>
                  <a:pt x="75495" y="40996"/>
                  <a:pt x="44434" y="40872"/>
                  <a:pt x="13373" y="40708"/>
                </a:cubicBezTo>
                <a:cubicBezTo>
                  <a:pt x="9391" y="40687"/>
                  <a:pt x="5410" y="40374"/>
                  <a:pt x="1312" y="40191"/>
                </a:cubicBezTo>
                <a:cubicBezTo>
                  <a:pt x="-1416" y="30384"/>
                  <a:pt x="523" y="21512"/>
                  <a:pt x="3367" y="13162"/>
                </a:cubicBezTo>
                <a:cubicBezTo>
                  <a:pt x="5963" y="5538"/>
                  <a:pt x="12701" y="2077"/>
                  <a:pt x="20752" y="1879"/>
                </a:cubicBezTo>
                <a:cubicBezTo>
                  <a:pt x="31375" y="1617"/>
                  <a:pt x="42004" y="1647"/>
                  <a:pt x="52625" y="1332"/>
                </a:cubicBezTo>
                <a:cubicBezTo>
                  <a:pt x="57918" y="1176"/>
                  <a:pt x="63195" y="535"/>
                  <a:pt x="69625" y="0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5" name="Free-form: Shape 24">
            <a:extLst>
              <a:ext uri="{FF2B5EF4-FFF2-40B4-BE49-F238E27FC236}">
                <a16:creationId xmlns:a16="http://schemas.microsoft.com/office/drawing/2014/main" id="{527C4B9F-4588-AE3D-F620-3FEA4FC8274A}"/>
              </a:ext>
            </a:extLst>
          </p:cNvPr>
          <p:cNvSpPr/>
          <p:nvPr/>
        </p:nvSpPr>
        <p:spPr>
          <a:xfrm>
            <a:off x="1735301" y="2361506"/>
            <a:ext cx="102191" cy="241686"/>
          </a:xfrm>
          <a:custGeom>
            <a:avLst/>
            <a:gdLst>
              <a:gd name="csX0" fmla="*/ 91265 w 164579"/>
              <a:gd name="csY0" fmla="*/ 157878 h 389238"/>
              <a:gd name="csX1" fmla="*/ 112882 w 164579"/>
              <a:gd name="csY1" fmla="*/ 252738 h 389238"/>
              <a:gd name="csX2" fmla="*/ 164579 w 164579"/>
              <a:gd name="csY2" fmla="*/ 389238 h 389238"/>
              <a:gd name="csX3" fmla="*/ 0 w 164579"/>
              <a:gd name="csY3" fmla="*/ 389238 h 389238"/>
              <a:gd name="csX4" fmla="*/ 5184 w 164579"/>
              <a:gd name="csY4" fmla="*/ 260105 h 389238"/>
              <a:gd name="csX5" fmla="*/ 7989 w 164579"/>
              <a:gd name="csY5" fmla="*/ 131182 h 389238"/>
              <a:gd name="csX6" fmla="*/ 8093 w 164579"/>
              <a:gd name="csY6" fmla="*/ 2390 h 389238"/>
              <a:gd name="csX7" fmla="*/ 76429 w 164579"/>
              <a:gd name="csY7" fmla="*/ 1531 h 389238"/>
              <a:gd name="csX8" fmla="*/ 91265 w 164579"/>
              <a:gd name="csY8" fmla="*/ 157878 h 38923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</a:cxnLst>
            <a:rect l="l" t="t" r="r" b="b"/>
            <a:pathLst>
              <a:path w="164579" h="389238">
                <a:moveTo>
                  <a:pt x="91265" y="157878"/>
                </a:moveTo>
                <a:cubicBezTo>
                  <a:pt x="98425" y="190232"/>
                  <a:pt x="104539" y="221785"/>
                  <a:pt x="112882" y="252738"/>
                </a:cubicBezTo>
                <a:cubicBezTo>
                  <a:pt x="125498" y="299549"/>
                  <a:pt x="141482" y="345258"/>
                  <a:pt x="164579" y="389238"/>
                </a:cubicBezTo>
                <a:cubicBezTo>
                  <a:pt x="109753" y="389238"/>
                  <a:pt x="55706" y="389238"/>
                  <a:pt x="0" y="389238"/>
                </a:cubicBezTo>
                <a:cubicBezTo>
                  <a:pt x="1781" y="345633"/>
                  <a:pt x="3844" y="302880"/>
                  <a:pt x="5184" y="260105"/>
                </a:cubicBezTo>
                <a:cubicBezTo>
                  <a:pt x="6529" y="217143"/>
                  <a:pt x="7519" y="174162"/>
                  <a:pt x="7989" y="131182"/>
                </a:cubicBezTo>
                <a:cubicBezTo>
                  <a:pt x="8459" y="88239"/>
                  <a:pt x="8093" y="45287"/>
                  <a:pt x="8093" y="2390"/>
                </a:cubicBezTo>
                <a:cubicBezTo>
                  <a:pt x="17041" y="-288"/>
                  <a:pt x="58537" y="-913"/>
                  <a:pt x="76429" y="1531"/>
                </a:cubicBezTo>
                <a:cubicBezTo>
                  <a:pt x="79287" y="53276"/>
                  <a:pt x="82219" y="105359"/>
                  <a:pt x="91265" y="157878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6" name="Free-form: Shape 25">
            <a:extLst>
              <a:ext uri="{FF2B5EF4-FFF2-40B4-BE49-F238E27FC236}">
                <a16:creationId xmlns:a16="http://schemas.microsoft.com/office/drawing/2014/main" id="{237B7E59-619A-0E44-13D1-04954D0CF5D2}"/>
              </a:ext>
            </a:extLst>
          </p:cNvPr>
          <p:cNvSpPr/>
          <p:nvPr/>
        </p:nvSpPr>
        <p:spPr>
          <a:xfrm>
            <a:off x="1737120" y="2777019"/>
            <a:ext cx="200357" cy="39865"/>
          </a:xfrm>
          <a:custGeom>
            <a:avLst/>
            <a:gdLst>
              <a:gd name="csX0" fmla="*/ 199184 w 322677"/>
              <a:gd name="csY0" fmla="*/ 59136 h 64202"/>
              <a:gd name="csX1" fmla="*/ 0 w 322677"/>
              <a:gd name="csY1" fmla="*/ 62697 h 64202"/>
              <a:gd name="csX2" fmla="*/ 0 w 322677"/>
              <a:gd name="csY2" fmla="*/ 18400 h 64202"/>
              <a:gd name="csX3" fmla="*/ 10601 w 322677"/>
              <a:gd name="csY3" fmla="*/ 17750 h 64202"/>
              <a:gd name="csX4" fmla="*/ 156563 w 322677"/>
              <a:gd name="csY4" fmla="*/ 15074 h 64202"/>
              <a:gd name="csX5" fmla="*/ 266479 w 322677"/>
              <a:gd name="csY5" fmla="*/ 4814 h 64202"/>
              <a:gd name="csX6" fmla="*/ 296798 w 322677"/>
              <a:gd name="csY6" fmla="*/ 344 h 64202"/>
              <a:gd name="csX7" fmla="*/ 309983 w 322677"/>
              <a:gd name="csY7" fmla="*/ 6097 h 64202"/>
              <a:gd name="csX8" fmla="*/ 322678 w 322677"/>
              <a:gd name="csY8" fmla="*/ 40406 h 64202"/>
              <a:gd name="csX9" fmla="*/ 199184 w 322677"/>
              <a:gd name="csY9" fmla="*/ 59136 h 6420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322677" h="64202">
                <a:moveTo>
                  <a:pt x="199184" y="59136"/>
                </a:moveTo>
                <a:cubicBezTo>
                  <a:pt x="132374" y="65824"/>
                  <a:pt x="66629" y="64605"/>
                  <a:pt x="0" y="62697"/>
                </a:cubicBezTo>
                <a:cubicBezTo>
                  <a:pt x="0" y="47160"/>
                  <a:pt x="0" y="33409"/>
                  <a:pt x="0" y="18400"/>
                </a:cubicBezTo>
                <a:cubicBezTo>
                  <a:pt x="3587" y="18160"/>
                  <a:pt x="7120" y="17536"/>
                  <a:pt x="10601" y="17750"/>
                </a:cubicBezTo>
                <a:cubicBezTo>
                  <a:pt x="59329" y="20736"/>
                  <a:pt x="107987" y="18533"/>
                  <a:pt x="156563" y="15074"/>
                </a:cubicBezTo>
                <a:cubicBezTo>
                  <a:pt x="193260" y="12461"/>
                  <a:pt x="229860" y="8449"/>
                  <a:pt x="266479" y="4814"/>
                </a:cubicBezTo>
                <a:cubicBezTo>
                  <a:pt x="276635" y="3806"/>
                  <a:pt x="286748" y="2160"/>
                  <a:pt x="296798" y="344"/>
                </a:cubicBezTo>
                <a:cubicBezTo>
                  <a:pt x="302773" y="-735"/>
                  <a:pt x="306536" y="602"/>
                  <a:pt x="309983" y="6097"/>
                </a:cubicBezTo>
                <a:cubicBezTo>
                  <a:pt x="316405" y="16331"/>
                  <a:pt x="320231" y="27243"/>
                  <a:pt x="322678" y="40406"/>
                </a:cubicBezTo>
                <a:cubicBezTo>
                  <a:pt x="281944" y="49611"/>
                  <a:pt x="241309" y="55431"/>
                  <a:pt x="199184" y="59136"/>
                </a:cubicBezTo>
                <a:close/>
              </a:path>
            </a:pathLst>
          </a:custGeom>
          <a:solidFill>
            <a:schemeClr val="bg1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CE901299-46E8-3092-DF68-433E8190BC42}"/>
              </a:ext>
            </a:extLst>
          </p:cNvPr>
          <p:cNvSpPr txBox="1"/>
          <p:nvPr/>
        </p:nvSpPr>
        <p:spPr>
          <a:xfrm>
            <a:off x="1329112" y="2831201"/>
            <a:ext cx="863983" cy="3927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-CHOP</a:t>
            </a:r>
          </a:p>
        </p:txBody>
      </p:sp>
    </p:spTree>
    <p:extLst>
      <p:ext uri="{BB962C8B-B14F-4D97-AF65-F5344CB8AC3E}">
        <p14:creationId xmlns:p14="http://schemas.microsoft.com/office/powerpoint/2010/main" val="3366142321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B8704D-734E-E7A0-02C2-0864847052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EB66B300-B3D5-348C-4BB7-FC8D93D53C99}"/>
              </a:ext>
            </a:extLst>
          </p:cNvPr>
          <p:cNvCxnSpPr>
            <a:cxnSpLocks/>
          </p:cNvCxnSpPr>
          <p:nvPr/>
        </p:nvCxnSpPr>
        <p:spPr>
          <a:xfrm>
            <a:off x="577415" y="3748737"/>
            <a:ext cx="10907449" cy="0"/>
          </a:xfrm>
          <a:prstGeom prst="line">
            <a:avLst/>
          </a:prstGeom>
          <a:ln w="285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C48E7F6-D466-CEFE-2928-0EEF2138D00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70645" y="6291951"/>
            <a:ext cx="10440000" cy="428000"/>
          </a:xfrm>
        </p:spPr>
        <p:txBody>
          <a:bodyPr/>
          <a:lstStyle/>
          <a:p>
            <a:r>
              <a:rPr lang="en-GB"/>
              <a:t>1L, first line; 2L, second line; B, bendamustine; CHOP, cyclophosphamide, doxorubicin, vincristine and prednisone; DLBCL, diffuse large B-cell lymphoma; PD, progressive disease; Pola, polatuzumab vedotin; R/R, relapsed or refractory; R, rituximab.</a:t>
            </a:r>
          </a:p>
          <a:p>
            <a:r>
              <a:rPr lang="en-GB"/>
              <a:t>Patient case provided by Prof. Enrico </a:t>
            </a:r>
            <a:r>
              <a:rPr lang="en-GB" err="1"/>
              <a:t>Derenzini</a:t>
            </a:r>
            <a:r>
              <a:rPr lang="en-GB"/>
              <a:t>.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284939A-9240-96A7-D08C-AE109A7A45AE}"/>
              </a:ext>
            </a:extLst>
          </p:cNvPr>
          <p:cNvSpPr txBox="1">
            <a:spLocks/>
          </p:cNvSpPr>
          <p:nvPr/>
        </p:nvSpPr>
        <p:spPr>
          <a:xfrm>
            <a:off x="469900" y="311150"/>
            <a:ext cx="10317269" cy="930910"/>
          </a:xfrm>
          <a:prstGeom prst="rect">
            <a:avLst/>
          </a:prstGeom>
        </p:spPr>
        <p:txBody>
          <a:bodyPr vert="horz" lIns="90000" tIns="46800" rIns="90000" bIns="4680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400" b="0" i="0" kern="1200">
                <a:solidFill>
                  <a:schemeClr val="tx2"/>
                </a:solidFill>
                <a:latin typeface="Aptos" panose="020B000402020202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j-ea"/>
                <a:cs typeface="+mj-cs"/>
              </a:rPr>
              <a:t>Treatment of high-risk R/R DLBCL: Holding therapy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4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j-ea"/>
              <a:cs typeface="+mj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923D4DB-AD31-47A3-F02C-6CEACA484150}"/>
              </a:ext>
            </a:extLst>
          </p:cNvPr>
          <p:cNvSpPr txBox="1"/>
          <p:nvPr/>
        </p:nvSpPr>
        <p:spPr>
          <a:xfrm>
            <a:off x="1481099" y="3217549"/>
            <a:ext cx="455050" cy="3927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CB813"/>
              </a:buClr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025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BD39C66C-9895-F317-09A1-BC2685773E76}"/>
              </a:ext>
            </a:extLst>
          </p:cNvPr>
          <p:cNvSpPr/>
          <p:nvPr/>
        </p:nvSpPr>
        <p:spPr>
          <a:xfrm>
            <a:off x="1628725" y="3671002"/>
            <a:ext cx="159799" cy="159799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1" i="0" u="none" strike="noStrike" kern="1200" cap="none" spc="0" normalizeH="0" baseline="0" noProof="0">
              <a:ln>
                <a:noFill/>
              </a:ln>
              <a:solidFill>
                <a:srgbClr val="585854">
                  <a:lumMod val="20000"/>
                  <a:lumOff val="80000"/>
                </a:srgbClr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ADF81D9F-0922-20C6-5AD1-FEAB52A5DC87}"/>
              </a:ext>
            </a:extLst>
          </p:cNvPr>
          <p:cNvCxnSpPr>
            <a:cxnSpLocks/>
            <a:stCxn id="13" idx="4"/>
          </p:cNvCxnSpPr>
          <p:nvPr/>
        </p:nvCxnSpPr>
        <p:spPr>
          <a:xfrm>
            <a:off x="1708625" y="3830801"/>
            <a:ext cx="0" cy="182159"/>
          </a:xfrm>
          <a:prstGeom prst="line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5" name="TextBox 34">
            <a:extLst>
              <a:ext uri="{FF2B5EF4-FFF2-40B4-BE49-F238E27FC236}">
                <a16:creationId xmlns:a16="http://schemas.microsoft.com/office/drawing/2014/main" id="{0E4A6789-E87A-B967-5A90-C164EF55BF73}"/>
              </a:ext>
            </a:extLst>
          </p:cNvPr>
          <p:cNvSpPr txBox="1"/>
          <p:nvPr/>
        </p:nvSpPr>
        <p:spPr>
          <a:xfrm>
            <a:off x="758225" y="4012960"/>
            <a:ext cx="3784513" cy="830997"/>
          </a:xfrm>
          <a:prstGeom prst="rect">
            <a:avLst/>
          </a:prstGeom>
          <a:noFill/>
        </p:spPr>
        <p:txBody>
          <a:bodyPr wrap="square" lIns="45720" tIns="45720" rIns="4572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1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L treatment: </a:t>
            </a: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-CHOP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1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Outcome: </a:t>
            </a: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D with rapidly progressing disease</a:t>
            </a: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457E23AD-E8E0-09F6-5EA3-951C569118EA}"/>
              </a:ext>
            </a:extLst>
          </p:cNvPr>
          <p:cNvSpPr/>
          <p:nvPr/>
        </p:nvSpPr>
        <p:spPr>
          <a:xfrm>
            <a:off x="5362515" y="3671002"/>
            <a:ext cx="159799" cy="159799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4EAB4D69-A2F5-7815-74E1-C9307801C586}"/>
              </a:ext>
            </a:extLst>
          </p:cNvPr>
          <p:cNvCxnSpPr>
            <a:cxnSpLocks/>
            <a:stCxn id="2" idx="4"/>
          </p:cNvCxnSpPr>
          <p:nvPr/>
        </p:nvCxnSpPr>
        <p:spPr>
          <a:xfrm>
            <a:off x="5442415" y="3830802"/>
            <a:ext cx="0" cy="179707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7114FF58-AECD-F7D7-FB29-4FAE2CFD474B}"/>
              </a:ext>
            </a:extLst>
          </p:cNvPr>
          <p:cNvSpPr txBox="1"/>
          <p:nvPr/>
        </p:nvSpPr>
        <p:spPr>
          <a:xfrm>
            <a:off x="5211869" y="4012960"/>
            <a:ext cx="4589356" cy="1836400"/>
          </a:xfrm>
          <a:prstGeom prst="rect">
            <a:avLst/>
          </a:prstGeom>
          <a:noFill/>
        </p:spPr>
        <p:txBody>
          <a:bodyPr wrap="square" lIns="45720" tIns="45720" rIns="4572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1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L treatment: </a:t>
            </a: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ola-BR (holding therapy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1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Outcome:</a:t>
            </a:r>
            <a:r>
              <a:rPr kumimoji="0" lang="en-GB" sz="2000" b="1" i="1" u="none" strike="noStrike" kern="1200" cap="none" spc="0" normalizeH="0" baseline="0" noProof="0">
                <a:ln>
                  <a:noFill/>
                </a:ln>
                <a:solidFill>
                  <a:srgbClr val="F15922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F15922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1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ote: </a:t>
            </a:r>
            <a:r>
              <a:rPr kumimoji="0" lang="en-GB" sz="2000" b="0" i="1" u="none" strike="noStrike" kern="1200" cap="none" spc="0" normalizeH="0" baseline="0" noProof="0" err="1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Bendamustine</a:t>
            </a:r>
            <a:r>
              <a:rPr kumimoji="0" lang="en-GB" sz="2000" b="0" i="1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was omitted </a:t>
            </a:r>
            <a:br>
              <a:rPr kumimoji="0" lang="en-GB" sz="2000" b="0" i="1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GB" sz="2000" b="0" i="1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ue to low lymphocyte count </a:t>
            </a:r>
            <a:r>
              <a:rPr kumimoji="0" lang="en-CH" sz="2000" b="0" i="1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(</a:t>
            </a:r>
            <a:r>
              <a:rPr kumimoji="0" lang="en-GB" sz="2000" b="0" i="1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00/mm</a:t>
            </a:r>
            <a:r>
              <a:rPr kumimoji="0" lang="en-GB" sz="2000" b="0" i="1" u="none" strike="noStrike" kern="1200" cap="none" spc="0" normalizeH="0" baseline="3000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3</a:t>
            </a:r>
            <a:r>
              <a:rPr kumimoji="0" lang="en-CH" sz="2000" b="0" i="1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)</a:t>
            </a:r>
            <a:endParaRPr kumimoji="0" lang="en-GB" sz="2000" b="0" i="1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1" u="none" strike="noStrike" kern="1200" cap="none" spc="0" normalizeH="0" baseline="30000" noProof="0">
              <a:ln>
                <a:noFill/>
              </a:ln>
              <a:solidFill>
                <a:srgbClr val="585854"/>
              </a:solidFill>
              <a:effectLst/>
              <a:highlight>
                <a:srgbClr val="FFFF00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1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BBC87E8B-80B9-F716-980F-B61A0B035543}"/>
              </a:ext>
            </a:extLst>
          </p:cNvPr>
          <p:cNvSpPr txBox="1"/>
          <p:nvPr/>
        </p:nvSpPr>
        <p:spPr>
          <a:xfrm>
            <a:off x="5204536" y="3217549"/>
            <a:ext cx="455050" cy="3927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CB813"/>
              </a:buClr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ep 2025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ED6C35CC-8A51-8EE4-EE54-D86ED0CCA2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01CC8E-1CEF-6746-999E-CF29FF00B1D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82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7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37ACFB97-BBE8-6E01-E95C-2952CD54984E}"/>
              </a:ext>
            </a:extLst>
          </p:cNvPr>
          <p:cNvSpPr/>
          <p:nvPr/>
        </p:nvSpPr>
        <p:spPr>
          <a:xfrm>
            <a:off x="5051183" y="2775064"/>
            <a:ext cx="717698" cy="104135"/>
          </a:xfrm>
          <a:prstGeom prst="ellipse">
            <a:avLst/>
          </a:prstGeom>
          <a:solidFill>
            <a:schemeClr val="tx1">
              <a:alpha val="6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" name="Free-form: Shape 10">
            <a:extLst>
              <a:ext uri="{FF2B5EF4-FFF2-40B4-BE49-F238E27FC236}">
                <a16:creationId xmlns:a16="http://schemas.microsoft.com/office/drawing/2014/main" id="{8283B630-0DC0-DE85-37A7-F07DF008E523}"/>
              </a:ext>
            </a:extLst>
          </p:cNvPr>
          <p:cNvSpPr/>
          <p:nvPr/>
        </p:nvSpPr>
        <p:spPr>
          <a:xfrm>
            <a:off x="5146227" y="1581180"/>
            <a:ext cx="634942" cy="1266262"/>
          </a:xfrm>
          <a:custGeom>
            <a:avLst/>
            <a:gdLst>
              <a:gd name="csX0" fmla="*/ 703087 w 763849"/>
              <a:gd name="csY0" fmla="*/ 1241174 h 1523340"/>
              <a:gd name="csX1" fmla="*/ 732932 w 763849"/>
              <a:gd name="csY1" fmla="*/ 1359634 h 1523340"/>
              <a:gd name="csX2" fmla="*/ 735544 w 763849"/>
              <a:gd name="csY2" fmla="*/ 1377287 h 1523340"/>
              <a:gd name="csX3" fmla="*/ 756764 w 763849"/>
              <a:gd name="csY3" fmla="*/ 1458577 h 1523340"/>
              <a:gd name="csX4" fmla="*/ 757108 w 763849"/>
              <a:gd name="csY4" fmla="*/ 1465940 h 1523340"/>
              <a:gd name="csX5" fmla="*/ 744215 w 763849"/>
              <a:gd name="csY5" fmla="*/ 1488332 h 1523340"/>
              <a:gd name="csX6" fmla="*/ 712781 w 763849"/>
              <a:gd name="csY6" fmla="*/ 1498472 h 1523340"/>
              <a:gd name="csX7" fmla="*/ 625540 w 763849"/>
              <a:gd name="csY7" fmla="*/ 1511981 h 1523340"/>
              <a:gd name="csX8" fmla="*/ 488540 w 763849"/>
              <a:gd name="csY8" fmla="*/ 1522029 h 1523340"/>
              <a:gd name="csX9" fmla="*/ 306789 w 763849"/>
              <a:gd name="csY9" fmla="*/ 1523231 h 1523340"/>
              <a:gd name="csX10" fmla="*/ 200103 w 763849"/>
              <a:gd name="csY10" fmla="*/ 1518579 h 1523340"/>
              <a:gd name="csX11" fmla="*/ 31607 w 763849"/>
              <a:gd name="csY11" fmla="*/ 1493880 h 1523340"/>
              <a:gd name="csX12" fmla="*/ 5860 w 763849"/>
              <a:gd name="csY12" fmla="*/ 1482933 h 1523340"/>
              <a:gd name="csX13" fmla="*/ 32 w 763849"/>
              <a:gd name="csY13" fmla="*/ 1471774 h 1523340"/>
              <a:gd name="csX14" fmla="*/ 21295 w 763849"/>
              <a:gd name="csY14" fmla="*/ 1378237 h 1523340"/>
              <a:gd name="csX15" fmla="*/ 23169 w 763849"/>
              <a:gd name="csY15" fmla="*/ 1364271 h 1523340"/>
              <a:gd name="csX16" fmla="*/ 23871 w 763849"/>
              <a:gd name="csY16" fmla="*/ 1303132 h 1523340"/>
              <a:gd name="csX17" fmla="*/ 59740 w 763849"/>
              <a:gd name="csY17" fmla="*/ 1234649 h 1523340"/>
              <a:gd name="csX18" fmla="*/ 98899 w 763849"/>
              <a:gd name="csY18" fmla="*/ 1195619 h 1523340"/>
              <a:gd name="csX19" fmla="*/ 131493 w 763849"/>
              <a:gd name="csY19" fmla="*/ 1127593 h 1523340"/>
              <a:gd name="csX20" fmla="*/ 108213 w 763849"/>
              <a:gd name="csY20" fmla="*/ 1058723 h 1523340"/>
              <a:gd name="csX21" fmla="*/ 74370 w 763849"/>
              <a:gd name="csY21" fmla="*/ 1024929 h 1523340"/>
              <a:gd name="csX22" fmla="*/ 68137 w 763849"/>
              <a:gd name="csY22" fmla="*/ 987550 h 1523340"/>
              <a:gd name="csX23" fmla="*/ 86420 w 763849"/>
              <a:gd name="csY23" fmla="*/ 941991 h 1523340"/>
              <a:gd name="csX24" fmla="*/ 97082 w 763849"/>
              <a:gd name="csY24" fmla="*/ 828037 h 1523340"/>
              <a:gd name="csX25" fmla="*/ 61782 w 763849"/>
              <a:gd name="csY25" fmla="*/ 696973 h 1523340"/>
              <a:gd name="csX26" fmla="*/ 26901 w 763849"/>
              <a:gd name="csY26" fmla="*/ 547868 h 1523340"/>
              <a:gd name="csX27" fmla="*/ 20221 w 763849"/>
              <a:gd name="csY27" fmla="*/ 479529 h 1523340"/>
              <a:gd name="csX28" fmla="*/ 40808 w 763849"/>
              <a:gd name="csY28" fmla="*/ 334388 h 1523340"/>
              <a:gd name="csX29" fmla="*/ 65171 w 763849"/>
              <a:gd name="csY29" fmla="*/ 263707 h 1523340"/>
              <a:gd name="csX30" fmla="*/ 142827 w 763849"/>
              <a:gd name="csY30" fmla="*/ 171003 h 1523340"/>
              <a:gd name="csX31" fmla="*/ 172290 w 763849"/>
              <a:gd name="csY31" fmla="*/ 155872 h 1523340"/>
              <a:gd name="csX32" fmla="*/ 189008 w 763849"/>
              <a:gd name="csY32" fmla="*/ 148158 h 1523340"/>
              <a:gd name="csX33" fmla="*/ 212828 w 763849"/>
              <a:gd name="csY33" fmla="*/ 126123 h 1523340"/>
              <a:gd name="csX34" fmla="*/ 217217 w 763849"/>
              <a:gd name="csY34" fmla="*/ 118740 h 1523340"/>
              <a:gd name="csX35" fmla="*/ 253000 w 763849"/>
              <a:gd name="csY35" fmla="*/ 88998 h 1523340"/>
              <a:gd name="csX36" fmla="*/ 322085 w 763849"/>
              <a:gd name="csY36" fmla="*/ 72193 h 1523340"/>
              <a:gd name="csX37" fmla="*/ 330478 w 763849"/>
              <a:gd name="csY37" fmla="*/ 70387 h 1523340"/>
              <a:gd name="csX38" fmla="*/ 388016 w 763849"/>
              <a:gd name="csY38" fmla="*/ 35457 h 1523340"/>
              <a:gd name="csX39" fmla="*/ 421527 w 763849"/>
              <a:gd name="csY39" fmla="*/ 0 h 1523340"/>
              <a:gd name="csX40" fmla="*/ 424538 w 763849"/>
              <a:gd name="csY40" fmla="*/ 10833 h 1523340"/>
              <a:gd name="csX41" fmla="*/ 436339 w 763849"/>
              <a:gd name="csY41" fmla="*/ 121836 h 1523340"/>
              <a:gd name="csX42" fmla="*/ 449983 w 763849"/>
              <a:gd name="csY42" fmla="*/ 141450 h 1523340"/>
              <a:gd name="csX43" fmla="*/ 503299 w 763849"/>
              <a:gd name="csY43" fmla="*/ 169290 h 1523340"/>
              <a:gd name="csX44" fmla="*/ 551461 w 763849"/>
              <a:gd name="csY44" fmla="*/ 203111 h 1523340"/>
              <a:gd name="csX45" fmla="*/ 588803 w 763849"/>
              <a:gd name="csY45" fmla="*/ 252797 h 1523340"/>
              <a:gd name="csX46" fmla="*/ 634209 w 763849"/>
              <a:gd name="csY46" fmla="*/ 327081 h 1523340"/>
              <a:gd name="csX47" fmla="*/ 697923 w 763849"/>
              <a:gd name="csY47" fmla="*/ 384157 h 1523340"/>
              <a:gd name="csX48" fmla="*/ 729658 w 763849"/>
              <a:gd name="csY48" fmla="*/ 407288 h 1523340"/>
              <a:gd name="csX49" fmla="*/ 763354 w 763849"/>
              <a:gd name="csY49" fmla="*/ 471325 h 1523340"/>
              <a:gd name="csX50" fmla="*/ 757092 w 763849"/>
              <a:gd name="csY50" fmla="*/ 527116 h 1523340"/>
              <a:gd name="csX51" fmla="*/ 720673 w 763849"/>
              <a:gd name="csY51" fmla="*/ 570023 h 1523340"/>
              <a:gd name="csX52" fmla="*/ 704918 w 763849"/>
              <a:gd name="csY52" fmla="*/ 581294 h 1523340"/>
              <a:gd name="csX53" fmla="*/ 671960 w 763849"/>
              <a:gd name="csY53" fmla="*/ 595325 h 1523340"/>
              <a:gd name="csX54" fmla="*/ 633021 w 763849"/>
              <a:gd name="csY54" fmla="*/ 591397 h 1523340"/>
              <a:gd name="csX55" fmla="*/ 580696 w 763849"/>
              <a:gd name="csY55" fmla="*/ 556742 h 1523340"/>
              <a:gd name="csX56" fmla="*/ 545415 w 763849"/>
              <a:gd name="csY56" fmla="*/ 524617 h 1523340"/>
              <a:gd name="csX57" fmla="*/ 518889 w 763849"/>
              <a:gd name="csY57" fmla="*/ 516179 h 1523340"/>
              <a:gd name="csX58" fmla="*/ 472309 w 763849"/>
              <a:gd name="csY58" fmla="*/ 517812 h 1523340"/>
              <a:gd name="csX59" fmla="*/ 415953 w 763849"/>
              <a:gd name="csY59" fmla="*/ 517245 h 1523340"/>
              <a:gd name="csX60" fmla="*/ 403392 w 763849"/>
              <a:gd name="csY60" fmla="*/ 516539 h 1523340"/>
              <a:gd name="csX61" fmla="*/ 407957 w 763849"/>
              <a:gd name="csY61" fmla="*/ 542045 h 1523340"/>
              <a:gd name="csX62" fmla="*/ 434134 w 763849"/>
              <a:gd name="csY62" fmla="*/ 583349 h 1523340"/>
              <a:gd name="csX63" fmla="*/ 524267 w 763849"/>
              <a:gd name="csY63" fmla="*/ 683922 h 1523340"/>
              <a:gd name="csX64" fmla="*/ 614317 w 763849"/>
              <a:gd name="csY64" fmla="*/ 786085 h 1523340"/>
              <a:gd name="csX65" fmla="*/ 669590 w 763849"/>
              <a:gd name="csY65" fmla="*/ 921089 h 1523340"/>
              <a:gd name="csX66" fmla="*/ 647360 w 763849"/>
              <a:gd name="csY66" fmla="*/ 1057245 h 1523340"/>
              <a:gd name="csX67" fmla="*/ 627872 w 763849"/>
              <a:gd name="csY67" fmla="*/ 1102111 h 1523340"/>
              <a:gd name="csX68" fmla="*/ 642300 w 763849"/>
              <a:gd name="csY68" fmla="*/ 1175941 h 1523340"/>
              <a:gd name="csX69" fmla="*/ 668829 w 763849"/>
              <a:gd name="csY69" fmla="*/ 1206449 h 1523340"/>
              <a:gd name="csX70" fmla="*/ 703087 w 763849"/>
              <a:gd name="csY70" fmla="*/ 1241174 h 1523340"/>
              <a:gd name="csX71" fmla="*/ 648750 w 763849"/>
              <a:gd name="csY71" fmla="*/ 562343 h 1523340"/>
              <a:gd name="csX72" fmla="*/ 674049 w 763849"/>
              <a:gd name="csY72" fmla="*/ 562834 h 1523340"/>
              <a:gd name="csX73" fmla="*/ 660781 w 763849"/>
              <a:gd name="csY73" fmla="*/ 550178 h 1523340"/>
              <a:gd name="csX74" fmla="*/ 650911 w 763849"/>
              <a:gd name="csY74" fmla="*/ 534051 h 1523340"/>
              <a:gd name="csX75" fmla="*/ 660724 w 763849"/>
              <a:gd name="csY75" fmla="*/ 537605 h 1523340"/>
              <a:gd name="csX76" fmla="*/ 688133 w 763849"/>
              <a:gd name="csY76" fmla="*/ 543363 h 1523340"/>
              <a:gd name="csX77" fmla="*/ 731514 w 763849"/>
              <a:gd name="csY77" fmla="*/ 510767 h 1523340"/>
              <a:gd name="csX78" fmla="*/ 733611 w 763849"/>
              <a:gd name="csY78" fmla="*/ 466905 h 1523340"/>
              <a:gd name="csX79" fmla="*/ 708076 w 763849"/>
              <a:gd name="csY79" fmla="*/ 425975 h 1523340"/>
              <a:gd name="csX80" fmla="*/ 667538 w 763849"/>
              <a:gd name="csY80" fmla="*/ 398254 h 1523340"/>
              <a:gd name="csX81" fmla="*/ 601016 w 763849"/>
              <a:gd name="csY81" fmla="*/ 332127 h 1523340"/>
              <a:gd name="csX82" fmla="*/ 565354 w 763849"/>
              <a:gd name="csY82" fmla="*/ 270526 h 1523340"/>
              <a:gd name="csX83" fmla="*/ 490657 w 763849"/>
              <a:gd name="csY83" fmla="*/ 195121 h 1523340"/>
              <a:gd name="csX84" fmla="*/ 432834 w 763849"/>
              <a:gd name="csY84" fmla="*/ 165243 h 1523340"/>
              <a:gd name="csX85" fmla="*/ 407594 w 763849"/>
              <a:gd name="csY85" fmla="*/ 127852 h 1523340"/>
              <a:gd name="csX86" fmla="*/ 405020 w 763849"/>
              <a:gd name="csY86" fmla="*/ 69029 h 1523340"/>
              <a:gd name="csX87" fmla="*/ 403638 w 763849"/>
              <a:gd name="csY87" fmla="*/ 58130 h 1523340"/>
              <a:gd name="csX88" fmla="*/ 349776 w 763849"/>
              <a:gd name="csY88" fmla="*/ 133259 h 1523340"/>
              <a:gd name="csX89" fmla="*/ 326975 w 763849"/>
              <a:gd name="csY89" fmla="*/ 159669 h 1523340"/>
              <a:gd name="csX90" fmla="*/ 240374 w 763849"/>
              <a:gd name="csY90" fmla="*/ 221714 h 1523340"/>
              <a:gd name="csX91" fmla="*/ 171637 w 763849"/>
              <a:gd name="csY91" fmla="*/ 309087 h 1523340"/>
              <a:gd name="csX92" fmla="*/ 138048 w 763849"/>
              <a:gd name="csY92" fmla="*/ 516954 h 1523340"/>
              <a:gd name="csX93" fmla="*/ 163889 w 763849"/>
              <a:gd name="csY93" fmla="*/ 641780 h 1523340"/>
              <a:gd name="csX94" fmla="*/ 204800 w 763849"/>
              <a:gd name="csY94" fmla="*/ 787055 h 1523340"/>
              <a:gd name="csX95" fmla="*/ 218549 w 763849"/>
              <a:gd name="csY95" fmla="*/ 949545 h 1523340"/>
              <a:gd name="csX96" fmla="*/ 191487 w 763849"/>
              <a:gd name="csY96" fmla="*/ 1033064 h 1523340"/>
              <a:gd name="csX97" fmla="*/ 188729 w 763849"/>
              <a:gd name="csY97" fmla="*/ 1039835 h 1523340"/>
              <a:gd name="csX98" fmla="*/ 221417 w 763849"/>
              <a:gd name="csY98" fmla="*/ 1040799 h 1523340"/>
              <a:gd name="csX99" fmla="*/ 348895 w 763849"/>
              <a:gd name="csY99" fmla="*/ 1046759 h 1523340"/>
              <a:gd name="csX100" fmla="*/ 545369 w 763849"/>
              <a:gd name="csY100" fmla="*/ 1044456 h 1523340"/>
              <a:gd name="csX101" fmla="*/ 612424 w 763849"/>
              <a:gd name="csY101" fmla="*/ 1037365 h 1523340"/>
              <a:gd name="csX102" fmla="*/ 623169 w 763849"/>
              <a:gd name="csY102" fmla="*/ 1028873 h 1523340"/>
              <a:gd name="csX103" fmla="*/ 638508 w 763849"/>
              <a:gd name="csY103" fmla="*/ 959599 h 1523340"/>
              <a:gd name="csX104" fmla="*/ 609213 w 763849"/>
              <a:gd name="csY104" fmla="*/ 842075 h 1523340"/>
              <a:gd name="csX105" fmla="*/ 529367 w 763849"/>
              <a:gd name="csY105" fmla="*/ 735065 h 1523340"/>
              <a:gd name="csX106" fmla="*/ 403792 w 763849"/>
              <a:gd name="csY106" fmla="*/ 596993 h 1523340"/>
              <a:gd name="csX107" fmla="*/ 344708 w 763849"/>
              <a:gd name="csY107" fmla="*/ 511366 h 1523340"/>
              <a:gd name="csX108" fmla="*/ 324464 w 763849"/>
              <a:gd name="csY108" fmla="*/ 380084 h 1523340"/>
              <a:gd name="csX109" fmla="*/ 327688 w 763849"/>
              <a:gd name="csY109" fmla="*/ 373535 h 1523340"/>
              <a:gd name="csX110" fmla="*/ 330334 w 763849"/>
              <a:gd name="csY110" fmla="*/ 373641 h 1523340"/>
              <a:gd name="csX111" fmla="*/ 334272 w 763849"/>
              <a:gd name="csY111" fmla="*/ 384645 h 1523340"/>
              <a:gd name="csX112" fmla="*/ 365260 w 763849"/>
              <a:gd name="csY112" fmla="*/ 453955 h 1523340"/>
              <a:gd name="csX113" fmla="*/ 408246 w 763849"/>
              <a:gd name="csY113" fmla="*/ 483592 h 1523340"/>
              <a:gd name="csX114" fmla="*/ 464529 w 763849"/>
              <a:gd name="csY114" fmla="*/ 486187 h 1523340"/>
              <a:gd name="csX115" fmla="*/ 511119 w 763849"/>
              <a:gd name="csY115" fmla="*/ 484308 h 1523340"/>
              <a:gd name="csX116" fmla="*/ 567913 w 763849"/>
              <a:gd name="csY116" fmla="*/ 503736 h 1523340"/>
              <a:gd name="csX117" fmla="*/ 607611 w 763849"/>
              <a:gd name="csY117" fmla="*/ 540326 h 1523340"/>
              <a:gd name="csX118" fmla="*/ 648750 w 763849"/>
              <a:gd name="csY118" fmla="*/ 562343 h 1523340"/>
              <a:gd name="csX119" fmla="*/ 462594 w 763849"/>
              <a:gd name="csY119" fmla="*/ 1369008 h 1523340"/>
              <a:gd name="csX120" fmla="*/ 510357 w 763849"/>
              <a:gd name="csY120" fmla="*/ 1366345 h 1523340"/>
              <a:gd name="csX121" fmla="*/ 549434 w 763849"/>
              <a:gd name="csY121" fmla="*/ 1362956 h 1523340"/>
              <a:gd name="csX122" fmla="*/ 632369 w 763849"/>
              <a:gd name="csY122" fmla="*/ 1354439 h 1523340"/>
              <a:gd name="csX123" fmla="*/ 697252 w 763849"/>
              <a:gd name="csY123" fmla="*/ 1346424 h 1523340"/>
              <a:gd name="csX124" fmla="*/ 676674 w 763849"/>
              <a:gd name="csY124" fmla="*/ 1266396 h 1523340"/>
              <a:gd name="csX125" fmla="*/ 646594 w 763849"/>
              <a:gd name="csY125" fmla="*/ 1234108 h 1523340"/>
              <a:gd name="csX126" fmla="*/ 612063 w 763849"/>
              <a:gd name="csY126" fmla="*/ 1194382 h 1523340"/>
              <a:gd name="csX127" fmla="*/ 591616 w 763849"/>
              <a:gd name="csY127" fmla="*/ 1111541 h 1523340"/>
              <a:gd name="csX128" fmla="*/ 594320 w 763849"/>
              <a:gd name="csY128" fmla="*/ 1089609 h 1523340"/>
              <a:gd name="csX129" fmla="*/ 578634 w 763849"/>
              <a:gd name="csY129" fmla="*/ 1089642 h 1523340"/>
              <a:gd name="csX130" fmla="*/ 443931 w 763849"/>
              <a:gd name="csY130" fmla="*/ 1096700 h 1523340"/>
              <a:gd name="csX131" fmla="*/ 403417 w 763849"/>
              <a:gd name="csY131" fmla="*/ 1097156 h 1523340"/>
              <a:gd name="csX132" fmla="*/ 388348 w 763849"/>
              <a:gd name="csY132" fmla="*/ 1111502 h 1523340"/>
              <a:gd name="csX133" fmla="*/ 385048 w 763849"/>
              <a:gd name="csY133" fmla="*/ 1176431 h 1523340"/>
              <a:gd name="csX134" fmla="*/ 377687 w 763849"/>
              <a:gd name="csY134" fmla="*/ 1308672 h 1523340"/>
              <a:gd name="csX135" fmla="*/ 376823 w 763849"/>
              <a:gd name="csY135" fmla="*/ 1320897 h 1523340"/>
              <a:gd name="csX136" fmla="*/ 376781 w 763849"/>
              <a:gd name="csY136" fmla="*/ 1366151 h 1523340"/>
              <a:gd name="csX137" fmla="*/ 462594 w 763849"/>
              <a:gd name="csY137" fmla="*/ 1369008 h 1523340"/>
              <a:gd name="csX138" fmla="*/ 648494 w 763849"/>
              <a:gd name="csY138" fmla="*/ 1463981 h 1523340"/>
              <a:gd name="csX139" fmla="*/ 718746 w 763849"/>
              <a:gd name="csY139" fmla="*/ 1451892 h 1523340"/>
              <a:gd name="csX140" fmla="*/ 711827 w 763849"/>
              <a:gd name="csY140" fmla="*/ 1416835 h 1523340"/>
              <a:gd name="csX141" fmla="*/ 685812 w 763849"/>
              <a:gd name="csY141" fmla="*/ 1398502 h 1523340"/>
              <a:gd name="csX142" fmla="*/ 680924 w 763849"/>
              <a:gd name="csY142" fmla="*/ 1398973 h 1523340"/>
              <a:gd name="csX143" fmla="*/ 598278 w 763849"/>
              <a:gd name="csY143" fmla="*/ 1409218 h 1523340"/>
              <a:gd name="csX144" fmla="*/ 474765 w 763849"/>
              <a:gd name="csY144" fmla="*/ 1417945 h 1523340"/>
              <a:gd name="csX145" fmla="*/ 385143 w 763849"/>
              <a:gd name="csY145" fmla="*/ 1418978 h 1523340"/>
              <a:gd name="csX146" fmla="*/ 376639 w 763849"/>
              <a:gd name="csY146" fmla="*/ 1419613 h 1523340"/>
              <a:gd name="csX147" fmla="*/ 376639 w 763849"/>
              <a:gd name="csY147" fmla="*/ 1473939 h 1523340"/>
              <a:gd name="csX148" fmla="*/ 382089 w 763849"/>
              <a:gd name="csY148" fmla="*/ 1474854 h 1523340"/>
              <a:gd name="csX149" fmla="*/ 449536 w 763849"/>
              <a:gd name="csY149" fmla="*/ 1476855 h 1523340"/>
              <a:gd name="csX150" fmla="*/ 559930 w 763849"/>
              <a:gd name="csY150" fmla="*/ 1474307 h 1523340"/>
              <a:gd name="csX151" fmla="*/ 648494 w 763849"/>
              <a:gd name="csY151" fmla="*/ 1463981 h 152334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</a:cxnLst>
            <a:rect l="l" t="t" r="r" b="b"/>
            <a:pathLst>
              <a:path w="763849" h="1523340">
                <a:moveTo>
                  <a:pt x="703087" y="1241174"/>
                </a:moveTo>
                <a:cubicBezTo>
                  <a:pt x="732418" y="1276379"/>
                  <a:pt x="738825" y="1316526"/>
                  <a:pt x="732932" y="1359634"/>
                </a:cubicBezTo>
                <a:cubicBezTo>
                  <a:pt x="732067" y="1365959"/>
                  <a:pt x="732453" y="1371428"/>
                  <a:pt x="735544" y="1377287"/>
                </a:cubicBezTo>
                <a:cubicBezTo>
                  <a:pt x="748937" y="1402675"/>
                  <a:pt x="755318" y="1430010"/>
                  <a:pt x="756764" y="1458577"/>
                </a:cubicBezTo>
                <a:cubicBezTo>
                  <a:pt x="756887" y="1461031"/>
                  <a:pt x="756895" y="1463494"/>
                  <a:pt x="757108" y="1465940"/>
                </a:cubicBezTo>
                <a:cubicBezTo>
                  <a:pt x="758375" y="1480486"/>
                  <a:pt x="757802" y="1482498"/>
                  <a:pt x="744215" y="1488332"/>
                </a:cubicBezTo>
                <a:cubicBezTo>
                  <a:pt x="734126" y="1492664"/>
                  <a:pt x="723536" y="1496562"/>
                  <a:pt x="712781" y="1498472"/>
                </a:cubicBezTo>
                <a:cubicBezTo>
                  <a:pt x="683814" y="1503617"/>
                  <a:pt x="654674" y="1507832"/>
                  <a:pt x="625540" y="1511981"/>
                </a:cubicBezTo>
                <a:cubicBezTo>
                  <a:pt x="580114" y="1518449"/>
                  <a:pt x="534395" y="1521481"/>
                  <a:pt x="488540" y="1522029"/>
                </a:cubicBezTo>
                <a:cubicBezTo>
                  <a:pt x="427958" y="1522752"/>
                  <a:pt x="367367" y="1523658"/>
                  <a:pt x="306789" y="1523231"/>
                </a:cubicBezTo>
                <a:cubicBezTo>
                  <a:pt x="271215" y="1522980"/>
                  <a:pt x="235625" y="1520833"/>
                  <a:pt x="200103" y="1518579"/>
                </a:cubicBezTo>
                <a:cubicBezTo>
                  <a:pt x="143289" y="1514974"/>
                  <a:pt x="86915" y="1507766"/>
                  <a:pt x="31607" y="1493880"/>
                </a:cubicBezTo>
                <a:cubicBezTo>
                  <a:pt x="22666" y="1491635"/>
                  <a:pt x="14297" y="1486920"/>
                  <a:pt x="5860" y="1482933"/>
                </a:cubicBezTo>
                <a:cubicBezTo>
                  <a:pt x="1433" y="1480841"/>
                  <a:pt x="-262" y="1476934"/>
                  <a:pt x="32" y="1471774"/>
                </a:cubicBezTo>
                <a:cubicBezTo>
                  <a:pt x="1880" y="1439401"/>
                  <a:pt x="3993" y="1407192"/>
                  <a:pt x="21295" y="1378237"/>
                </a:cubicBezTo>
                <a:cubicBezTo>
                  <a:pt x="23526" y="1374504"/>
                  <a:pt x="23666" y="1368858"/>
                  <a:pt x="23169" y="1364271"/>
                </a:cubicBezTo>
                <a:cubicBezTo>
                  <a:pt x="20957" y="1343833"/>
                  <a:pt x="20482" y="1323540"/>
                  <a:pt x="23871" y="1303132"/>
                </a:cubicBezTo>
                <a:cubicBezTo>
                  <a:pt x="28332" y="1276267"/>
                  <a:pt x="41045" y="1253887"/>
                  <a:pt x="59740" y="1234649"/>
                </a:cubicBezTo>
                <a:cubicBezTo>
                  <a:pt x="72582" y="1221434"/>
                  <a:pt x="85657" y="1208434"/>
                  <a:pt x="98899" y="1195619"/>
                </a:cubicBezTo>
                <a:cubicBezTo>
                  <a:pt x="118216" y="1176926"/>
                  <a:pt x="130484" y="1154702"/>
                  <a:pt x="131493" y="1127593"/>
                </a:cubicBezTo>
                <a:cubicBezTo>
                  <a:pt x="132448" y="1101948"/>
                  <a:pt x="127125" y="1077868"/>
                  <a:pt x="108213" y="1058723"/>
                </a:cubicBezTo>
                <a:cubicBezTo>
                  <a:pt x="97010" y="1047381"/>
                  <a:pt x="85438" y="1036399"/>
                  <a:pt x="74370" y="1024929"/>
                </a:cubicBezTo>
                <a:cubicBezTo>
                  <a:pt x="63868" y="1014043"/>
                  <a:pt x="62267" y="1001475"/>
                  <a:pt x="68137" y="987550"/>
                </a:cubicBezTo>
                <a:cubicBezTo>
                  <a:pt x="74493" y="972473"/>
                  <a:pt x="80703" y="957319"/>
                  <a:pt x="86420" y="941991"/>
                </a:cubicBezTo>
                <a:cubicBezTo>
                  <a:pt x="100218" y="905001"/>
                  <a:pt x="99441" y="866690"/>
                  <a:pt x="97082" y="828037"/>
                </a:cubicBezTo>
                <a:cubicBezTo>
                  <a:pt x="94260" y="781809"/>
                  <a:pt x="76370" y="739899"/>
                  <a:pt x="61782" y="696973"/>
                </a:cubicBezTo>
                <a:cubicBezTo>
                  <a:pt x="45282" y="648419"/>
                  <a:pt x="33285" y="598770"/>
                  <a:pt x="26901" y="547868"/>
                </a:cubicBezTo>
                <a:cubicBezTo>
                  <a:pt x="24054" y="525160"/>
                  <a:pt x="21110" y="502364"/>
                  <a:pt x="20221" y="479529"/>
                </a:cubicBezTo>
                <a:cubicBezTo>
                  <a:pt x="18293" y="430013"/>
                  <a:pt x="26126" y="381610"/>
                  <a:pt x="40808" y="334388"/>
                </a:cubicBezTo>
                <a:cubicBezTo>
                  <a:pt x="48208" y="310588"/>
                  <a:pt x="55162" y="286441"/>
                  <a:pt x="65171" y="263707"/>
                </a:cubicBezTo>
                <a:cubicBezTo>
                  <a:pt x="81946" y="225606"/>
                  <a:pt x="106517" y="193071"/>
                  <a:pt x="142827" y="171003"/>
                </a:cubicBezTo>
                <a:cubicBezTo>
                  <a:pt x="152238" y="165283"/>
                  <a:pt x="162401" y="160787"/>
                  <a:pt x="172290" y="155872"/>
                </a:cubicBezTo>
                <a:cubicBezTo>
                  <a:pt x="177784" y="153142"/>
                  <a:pt x="183393" y="150635"/>
                  <a:pt x="189008" y="148158"/>
                </a:cubicBezTo>
                <a:cubicBezTo>
                  <a:pt x="199487" y="143534"/>
                  <a:pt x="207598" y="136426"/>
                  <a:pt x="212828" y="126123"/>
                </a:cubicBezTo>
                <a:cubicBezTo>
                  <a:pt x="214121" y="123575"/>
                  <a:pt x="215966" y="121304"/>
                  <a:pt x="217217" y="118740"/>
                </a:cubicBezTo>
                <a:cubicBezTo>
                  <a:pt x="224688" y="103433"/>
                  <a:pt x="237053" y="93440"/>
                  <a:pt x="253000" y="88998"/>
                </a:cubicBezTo>
                <a:cubicBezTo>
                  <a:pt x="275818" y="82642"/>
                  <a:pt x="299033" y="77711"/>
                  <a:pt x="322085" y="72193"/>
                </a:cubicBezTo>
                <a:cubicBezTo>
                  <a:pt x="324867" y="71527"/>
                  <a:pt x="327694" y="71045"/>
                  <a:pt x="330478" y="70387"/>
                </a:cubicBezTo>
                <a:cubicBezTo>
                  <a:pt x="364731" y="62297"/>
                  <a:pt x="364569" y="62151"/>
                  <a:pt x="388016" y="35457"/>
                </a:cubicBezTo>
                <a:cubicBezTo>
                  <a:pt x="398189" y="23875"/>
                  <a:pt x="409180" y="13010"/>
                  <a:pt x="421527" y="0"/>
                </a:cubicBezTo>
                <a:cubicBezTo>
                  <a:pt x="423000" y="5190"/>
                  <a:pt x="424219" y="7961"/>
                  <a:pt x="424538" y="10833"/>
                </a:cubicBezTo>
                <a:cubicBezTo>
                  <a:pt x="428638" y="47817"/>
                  <a:pt x="433030" y="84779"/>
                  <a:pt x="436339" y="121836"/>
                </a:cubicBezTo>
                <a:cubicBezTo>
                  <a:pt x="437236" y="131893"/>
                  <a:pt x="441545" y="137271"/>
                  <a:pt x="449983" y="141450"/>
                </a:cubicBezTo>
                <a:cubicBezTo>
                  <a:pt x="467954" y="150348"/>
                  <a:pt x="486187" y="158915"/>
                  <a:pt x="503299" y="169290"/>
                </a:cubicBezTo>
                <a:cubicBezTo>
                  <a:pt x="520041" y="179441"/>
                  <a:pt x="535883" y="191197"/>
                  <a:pt x="551461" y="203111"/>
                </a:cubicBezTo>
                <a:cubicBezTo>
                  <a:pt x="568416" y="216079"/>
                  <a:pt x="579195" y="234146"/>
                  <a:pt x="588803" y="252797"/>
                </a:cubicBezTo>
                <a:cubicBezTo>
                  <a:pt x="602134" y="278677"/>
                  <a:pt x="616556" y="303835"/>
                  <a:pt x="634209" y="327081"/>
                </a:cubicBezTo>
                <a:cubicBezTo>
                  <a:pt x="651797" y="350241"/>
                  <a:pt x="673980" y="368103"/>
                  <a:pt x="697923" y="384157"/>
                </a:cubicBezTo>
                <a:cubicBezTo>
                  <a:pt x="708787" y="391441"/>
                  <a:pt x="719007" y="399678"/>
                  <a:pt x="729658" y="407288"/>
                </a:cubicBezTo>
                <a:cubicBezTo>
                  <a:pt x="751657" y="423004"/>
                  <a:pt x="761259" y="445265"/>
                  <a:pt x="763354" y="471325"/>
                </a:cubicBezTo>
                <a:cubicBezTo>
                  <a:pt x="764877" y="490275"/>
                  <a:pt x="762919" y="509064"/>
                  <a:pt x="757092" y="527116"/>
                </a:cubicBezTo>
                <a:cubicBezTo>
                  <a:pt x="750932" y="546198"/>
                  <a:pt x="738296" y="560266"/>
                  <a:pt x="720673" y="570023"/>
                </a:cubicBezTo>
                <a:cubicBezTo>
                  <a:pt x="715048" y="573138"/>
                  <a:pt x="709487" y="576825"/>
                  <a:pt x="704918" y="581294"/>
                </a:cubicBezTo>
                <a:cubicBezTo>
                  <a:pt x="695625" y="590383"/>
                  <a:pt x="684728" y="595697"/>
                  <a:pt x="671960" y="595325"/>
                </a:cubicBezTo>
                <a:cubicBezTo>
                  <a:pt x="658939" y="594945"/>
                  <a:pt x="645743" y="594018"/>
                  <a:pt x="633021" y="591397"/>
                </a:cubicBezTo>
                <a:cubicBezTo>
                  <a:pt x="611233" y="586907"/>
                  <a:pt x="595034" y="572939"/>
                  <a:pt x="580696" y="556742"/>
                </a:cubicBezTo>
                <a:cubicBezTo>
                  <a:pt x="570081" y="544750"/>
                  <a:pt x="559052" y="533306"/>
                  <a:pt x="545415" y="524617"/>
                </a:cubicBezTo>
                <a:cubicBezTo>
                  <a:pt x="537261" y="519422"/>
                  <a:pt x="528551" y="515996"/>
                  <a:pt x="518889" y="516179"/>
                </a:cubicBezTo>
                <a:cubicBezTo>
                  <a:pt x="503357" y="516473"/>
                  <a:pt x="487839" y="517663"/>
                  <a:pt x="472309" y="517812"/>
                </a:cubicBezTo>
                <a:cubicBezTo>
                  <a:pt x="453527" y="517993"/>
                  <a:pt x="434738" y="517514"/>
                  <a:pt x="415953" y="517245"/>
                </a:cubicBezTo>
                <a:cubicBezTo>
                  <a:pt x="411976" y="517189"/>
                  <a:pt x="408003" y="516808"/>
                  <a:pt x="403392" y="516539"/>
                </a:cubicBezTo>
                <a:cubicBezTo>
                  <a:pt x="401207" y="526363"/>
                  <a:pt x="404857" y="534293"/>
                  <a:pt x="407957" y="542045"/>
                </a:cubicBezTo>
                <a:cubicBezTo>
                  <a:pt x="414092" y="557387"/>
                  <a:pt x="423168" y="571042"/>
                  <a:pt x="434134" y="583349"/>
                </a:cubicBezTo>
                <a:cubicBezTo>
                  <a:pt x="464083" y="616959"/>
                  <a:pt x="493980" y="650618"/>
                  <a:pt x="524267" y="683922"/>
                </a:cubicBezTo>
                <a:cubicBezTo>
                  <a:pt x="554818" y="717518"/>
                  <a:pt x="588291" y="748619"/>
                  <a:pt x="614317" y="786085"/>
                </a:cubicBezTo>
                <a:cubicBezTo>
                  <a:pt x="642656" y="826881"/>
                  <a:pt x="663974" y="871159"/>
                  <a:pt x="669590" y="921089"/>
                </a:cubicBezTo>
                <a:cubicBezTo>
                  <a:pt x="674894" y="968240"/>
                  <a:pt x="669774" y="1014226"/>
                  <a:pt x="647360" y="1057245"/>
                </a:cubicBezTo>
                <a:cubicBezTo>
                  <a:pt x="639830" y="1071697"/>
                  <a:pt x="630533" y="1085565"/>
                  <a:pt x="627872" y="1102111"/>
                </a:cubicBezTo>
                <a:cubicBezTo>
                  <a:pt x="623640" y="1128439"/>
                  <a:pt x="626183" y="1153784"/>
                  <a:pt x="642300" y="1175941"/>
                </a:cubicBezTo>
                <a:cubicBezTo>
                  <a:pt x="650201" y="1186801"/>
                  <a:pt x="659595" y="1196636"/>
                  <a:pt x="668829" y="1206449"/>
                </a:cubicBezTo>
                <a:cubicBezTo>
                  <a:pt x="679770" y="1218075"/>
                  <a:pt x="691267" y="1229177"/>
                  <a:pt x="703087" y="1241174"/>
                </a:cubicBezTo>
                <a:moveTo>
                  <a:pt x="648750" y="562343"/>
                </a:moveTo>
                <a:cubicBezTo>
                  <a:pt x="656729" y="562558"/>
                  <a:pt x="664698" y="567407"/>
                  <a:pt x="674049" y="562834"/>
                </a:cubicBezTo>
                <a:cubicBezTo>
                  <a:pt x="668990" y="558037"/>
                  <a:pt x="664729" y="554259"/>
                  <a:pt x="660781" y="550178"/>
                </a:cubicBezTo>
                <a:cubicBezTo>
                  <a:pt x="656713" y="545973"/>
                  <a:pt x="651493" y="542363"/>
                  <a:pt x="650911" y="534051"/>
                </a:cubicBezTo>
                <a:cubicBezTo>
                  <a:pt x="654940" y="535536"/>
                  <a:pt x="657753" y="536907"/>
                  <a:pt x="660724" y="537605"/>
                </a:cubicBezTo>
                <a:cubicBezTo>
                  <a:pt x="669824" y="539743"/>
                  <a:pt x="678915" y="542853"/>
                  <a:pt x="688133" y="543363"/>
                </a:cubicBezTo>
                <a:cubicBezTo>
                  <a:pt x="712019" y="544686"/>
                  <a:pt x="726964" y="534053"/>
                  <a:pt x="731514" y="510767"/>
                </a:cubicBezTo>
                <a:cubicBezTo>
                  <a:pt x="734296" y="496535"/>
                  <a:pt x="734146" y="481511"/>
                  <a:pt x="733611" y="466905"/>
                </a:cubicBezTo>
                <a:cubicBezTo>
                  <a:pt x="732951" y="448863"/>
                  <a:pt x="723348" y="435653"/>
                  <a:pt x="708076" y="425975"/>
                </a:cubicBezTo>
                <a:cubicBezTo>
                  <a:pt x="694258" y="417218"/>
                  <a:pt x="681056" y="407489"/>
                  <a:pt x="667538" y="398254"/>
                </a:cubicBezTo>
                <a:cubicBezTo>
                  <a:pt x="641278" y="380314"/>
                  <a:pt x="617580" y="359743"/>
                  <a:pt x="601016" y="332127"/>
                </a:cubicBezTo>
                <a:cubicBezTo>
                  <a:pt x="588810" y="311778"/>
                  <a:pt x="576093" y="291645"/>
                  <a:pt x="565354" y="270526"/>
                </a:cubicBezTo>
                <a:cubicBezTo>
                  <a:pt x="548401" y="237186"/>
                  <a:pt x="523821" y="212104"/>
                  <a:pt x="490657" y="195121"/>
                </a:cubicBezTo>
                <a:cubicBezTo>
                  <a:pt x="471346" y="185231"/>
                  <a:pt x="452394" y="174606"/>
                  <a:pt x="432834" y="165243"/>
                </a:cubicBezTo>
                <a:cubicBezTo>
                  <a:pt x="416725" y="157532"/>
                  <a:pt x="408325" y="145526"/>
                  <a:pt x="407594" y="127852"/>
                </a:cubicBezTo>
                <a:cubicBezTo>
                  <a:pt x="406783" y="108242"/>
                  <a:pt x="405935" y="88634"/>
                  <a:pt x="405020" y="69029"/>
                </a:cubicBezTo>
                <a:cubicBezTo>
                  <a:pt x="404882" y="66067"/>
                  <a:pt x="404287" y="63127"/>
                  <a:pt x="403638" y="58130"/>
                </a:cubicBezTo>
                <a:cubicBezTo>
                  <a:pt x="381792" y="82321"/>
                  <a:pt x="361650" y="104820"/>
                  <a:pt x="349776" y="133259"/>
                </a:cubicBezTo>
                <a:cubicBezTo>
                  <a:pt x="345032" y="144621"/>
                  <a:pt x="337822" y="153814"/>
                  <a:pt x="326975" y="159669"/>
                </a:cubicBezTo>
                <a:cubicBezTo>
                  <a:pt x="295461" y="176681"/>
                  <a:pt x="266610" y="197333"/>
                  <a:pt x="240374" y="221714"/>
                </a:cubicBezTo>
                <a:cubicBezTo>
                  <a:pt x="212881" y="247263"/>
                  <a:pt x="188313" y="275340"/>
                  <a:pt x="171637" y="309087"/>
                </a:cubicBezTo>
                <a:cubicBezTo>
                  <a:pt x="139180" y="374765"/>
                  <a:pt x="129692" y="444532"/>
                  <a:pt x="138048" y="516954"/>
                </a:cubicBezTo>
                <a:cubicBezTo>
                  <a:pt x="142936" y="559318"/>
                  <a:pt x="152518" y="600762"/>
                  <a:pt x="163889" y="641780"/>
                </a:cubicBezTo>
                <a:cubicBezTo>
                  <a:pt x="177329" y="690261"/>
                  <a:pt x="191989" y="738413"/>
                  <a:pt x="204800" y="787055"/>
                </a:cubicBezTo>
                <a:cubicBezTo>
                  <a:pt x="218820" y="840287"/>
                  <a:pt x="228587" y="894088"/>
                  <a:pt x="218549" y="949545"/>
                </a:cubicBezTo>
                <a:cubicBezTo>
                  <a:pt x="213279" y="978659"/>
                  <a:pt x="207130" y="1007359"/>
                  <a:pt x="191487" y="1033064"/>
                </a:cubicBezTo>
                <a:cubicBezTo>
                  <a:pt x="190499" y="1034686"/>
                  <a:pt x="190018" y="1036618"/>
                  <a:pt x="188729" y="1039835"/>
                </a:cubicBezTo>
                <a:cubicBezTo>
                  <a:pt x="200470" y="1040170"/>
                  <a:pt x="210952" y="1040298"/>
                  <a:pt x="221417" y="1040799"/>
                </a:cubicBezTo>
                <a:cubicBezTo>
                  <a:pt x="263912" y="1042835"/>
                  <a:pt x="306390" y="1046436"/>
                  <a:pt x="348895" y="1046759"/>
                </a:cubicBezTo>
                <a:cubicBezTo>
                  <a:pt x="414380" y="1047258"/>
                  <a:pt x="479896" y="1046092"/>
                  <a:pt x="545369" y="1044456"/>
                </a:cubicBezTo>
                <a:cubicBezTo>
                  <a:pt x="567764" y="1043897"/>
                  <a:pt x="590066" y="1039744"/>
                  <a:pt x="612424" y="1037365"/>
                </a:cubicBezTo>
                <a:cubicBezTo>
                  <a:pt x="617948" y="1036777"/>
                  <a:pt x="621342" y="1034139"/>
                  <a:pt x="623169" y="1028873"/>
                </a:cubicBezTo>
                <a:cubicBezTo>
                  <a:pt x="630975" y="1006370"/>
                  <a:pt x="637026" y="983472"/>
                  <a:pt x="638508" y="959599"/>
                </a:cubicBezTo>
                <a:cubicBezTo>
                  <a:pt x="641131" y="917363"/>
                  <a:pt x="628970" y="878727"/>
                  <a:pt x="609213" y="842075"/>
                </a:cubicBezTo>
                <a:cubicBezTo>
                  <a:pt x="587874" y="802491"/>
                  <a:pt x="559403" y="768169"/>
                  <a:pt x="529367" y="735065"/>
                </a:cubicBezTo>
                <a:cubicBezTo>
                  <a:pt x="487563" y="688992"/>
                  <a:pt x="445474" y="643176"/>
                  <a:pt x="403792" y="596993"/>
                </a:cubicBezTo>
                <a:cubicBezTo>
                  <a:pt x="380393" y="571066"/>
                  <a:pt x="360083" y="542922"/>
                  <a:pt x="344708" y="511366"/>
                </a:cubicBezTo>
                <a:cubicBezTo>
                  <a:pt x="324385" y="469655"/>
                  <a:pt x="317321" y="425966"/>
                  <a:pt x="324464" y="380084"/>
                </a:cubicBezTo>
                <a:cubicBezTo>
                  <a:pt x="324821" y="377789"/>
                  <a:pt x="326581" y="375713"/>
                  <a:pt x="327688" y="373535"/>
                </a:cubicBezTo>
                <a:cubicBezTo>
                  <a:pt x="328570" y="373570"/>
                  <a:pt x="329452" y="373606"/>
                  <a:pt x="330334" y="373641"/>
                </a:cubicBezTo>
                <a:cubicBezTo>
                  <a:pt x="331649" y="377308"/>
                  <a:pt x="333001" y="380963"/>
                  <a:pt x="334272" y="384645"/>
                </a:cubicBezTo>
                <a:cubicBezTo>
                  <a:pt x="342569" y="408660"/>
                  <a:pt x="351164" y="432573"/>
                  <a:pt x="365260" y="453955"/>
                </a:cubicBezTo>
                <a:cubicBezTo>
                  <a:pt x="375537" y="469544"/>
                  <a:pt x="388811" y="481767"/>
                  <a:pt x="408246" y="483592"/>
                </a:cubicBezTo>
                <a:cubicBezTo>
                  <a:pt x="426928" y="485346"/>
                  <a:pt x="445757" y="486037"/>
                  <a:pt x="464529" y="486187"/>
                </a:cubicBezTo>
                <a:cubicBezTo>
                  <a:pt x="480053" y="486311"/>
                  <a:pt x="495582" y="484792"/>
                  <a:pt x="511119" y="484308"/>
                </a:cubicBezTo>
                <a:cubicBezTo>
                  <a:pt x="532443" y="483644"/>
                  <a:pt x="551690" y="490014"/>
                  <a:pt x="567913" y="503736"/>
                </a:cubicBezTo>
                <a:cubicBezTo>
                  <a:pt x="581642" y="515348"/>
                  <a:pt x="594604" y="527888"/>
                  <a:pt x="607611" y="540326"/>
                </a:cubicBezTo>
                <a:cubicBezTo>
                  <a:pt x="618811" y="551038"/>
                  <a:pt x="631177" y="559300"/>
                  <a:pt x="648750" y="562343"/>
                </a:cubicBezTo>
                <a:moveTo>
                  <a:pt x="462594" y="1369008"/>
                </a:moveTo>
                <a:cubicBezTo>
                  <a:pt x="478517" y="1368137"/>
                  <a:pt x="494449" y="1367429"/>
                  <a:pt x="510357" y="1366345"/>
                </a:cubicBezTo>
                <a:cubicBezTo>
                  <a:pt x="523399" y="1365456"/>
                  <a:pt x="536424" y="1364247"/>
                  <a:pt x="549434" y="1362956"/>
                </a:cubicBezTo>
                <a:cubicBezTo>
                  <a:pt x="577089" y="1360213"/>
                  <a:pt x="604749" y="1357503"/>
                  <a:pt x="632369" y="1354439"/>
                </a:cubicBezTo>
                <a:cubicBezTo>
                  <a:pt x="653805" y="1352062"/>
                  <a:pt x="675183" y="1349170"/>
                  <a:pt x="697252" y="1346424"/>
                </a:cubicBezTo>
                <a:cubicBezTo>
                  <a:pt x="701148" y="1316348"/>
                  <a:pt x="695768" y="1289474"/>
                  <a:pt x="676674" y="1266396"/>
                </a:cubicBezTo>
                <a:cubicBezTo>
                  <a:pt x="667313" y="1255080"/>
                  <a:pt x="656878" y="1244625"/>
                  <a:pt x="646594" y="1234108"/>
                </a:cubicBezTo>
                <a:cubicBezTo>
                  <a:pt x="634298" y="1221533"/>
                  <a:pt x="621353" y="1209623"/>
                  <a:pt x="612063" y="1194382"/>
                </a:cubicBezTo>
                <a:cubicBezTo>
                  <a:pt x="596511" y="1168867"/>
                  <a:pt x="588079" y="1141707"/>
                  <a:pt x="591616" y="1111541"/>
                </a:cubicBezTo>
                <a:cubicBezTo>
                  <a:pt x="592450" y="1104432"/>
                  <a:pt x="593365" y="1097332"/>
                  <a:pt x="594320" y="1089609"/>
                </a:cubicBezTo>
                <a:cubicBezTo>
                  <a:pt x="588294" y="1089609"/>
                  <a:pt x="583452" y="1089392"/>
                  <a:pt x="578634" y="1089642"/>
                </a:cubicBezTo>
                <a:cubicBezTo>
                  <a:pt x="533732" y="1091976"/>
                  <a:pt x="488841" y="1094525"/>
                  <a:pt x="443931" y="1096700"/>
                </a:cubicBezTo>
                <a:cubicBezTo>
                  <a:pt x="430451" y="1097353"/>
                  <a:pt x="416923" y="1097005"/>
                  <a:pt x="403417" y="1097156"/>
                </a:cubicBezTo>
                <a:cubicBezTo>
                  <a:pt x="389337" y="1097313"/>
                  <a:pt x="388961" y="1097850"/>
                  <a:pt x="388348" y="1111502"/>
                </a:cubicBezTo>
                <a:cubicBezTo>
                  <a:pt x="387375" y="1133151"/>
                  <a:pt x="386231" y="1154793"/>
                  <a:pt x="385048" y="1176431"/>
                </a:cubicBezTo>
                <a:cubicBezTo>
                  <a:pt x="382637" y="1220514"/>
                  <a:pt x="380158" y="1264593"/>
                  <a:pt x="377687" y="1308672"/>
                </a:cubicBezTo>
                <a:cubicBezTo>
                  <a:pt x="377458" y="1312751"/>
                  <a:pt x="376852" y="1316821"/>
                  <a:pt x="376823" y="1320897"/>
                </a:cubicBezTo>
                <a:cubicBezTo>
                  <a:pt x="376717" y="1335880"/>
                  <a:pt x="376781" y="1350864"/>
                  <a:pt x="376781" y="1366151"/>
                </a:cubicBezTo>
                <a:cubicBezTo>
                  <a:pt x="404707" y="1370397"/>
                  <a:pt x="432477" y="1369351"/>
                  <a:pt x="462594" y="1369008"/>
                </a:cubicBezTo>
                <a:moveTo>
                  <a:pt x="648494" y="1463981"/>
                </a:moveTo>
                <a:cubicBezTo>
                  <a:pt x="671329" y="1460052"/>
                  <a:pt x="694163" y="1456122"/>
                  <a:pt x="718746" y="1451892"/>
                </a:cubicBezTo>
                <a:cubicBezTo>
                  <a:pt x="716257" y="1439067"/>
                  <a:pt x="714578" y="1427816"/>
                  <a:pt x="711827" y="1416835"/>
                </a:cubicBezTo>
                <a:cubicBezTo>
                  <a:pt x="707611" y="1400009"/>
                  <a:pt x="703502" y="1397423"/>
                  <a:pt x="685812" y="1398502"/>
                </a:cubicBezTo>
                <a:cubicBezTo>
                  <a:pt x="684179" y="1398602"/>
                  <a:pt x="682547" y="1398768"/>
                  <a:pt x="680924" y="1398973"/>
                </a:cubicBezTo>
                <a:cubicBezTo>
                  <a:pt x="653380" y="1402446"/>
                  <a:pt x="625911" y="1406752"/>
                  <a:pt x="598278" y="1409218"/>
                </a:cubicBezTo>
                <a:cubicBezTo>
                  <a:pt x="557171" y="1412886"/>
                  <a:pt x="515983" y="1415946"/>
                  <a:pt x="474765" y="1417945"/>
                </a:cubicBezTo>
                <a:cubicBezTo>
                  <a:pt x="444944" y="1419391"/>
                  <a:pt x="415021" y="1418680"/>
                  <a:pt x="385143" y="1418978"/>
                </a:cubicBezTo>
                <a:cubicBezTo>
                  <a:pt x="382419" y="1419005"/>
                  <a:pt x="379697" y="1419376"/>
                  <a:pt x="376639" y="1419613"/>
                </a:cubicBezTo>
                <a:cubicBezTo>
                  <a:pt x="376639" y="1438152"/>
                  <a:pt x="376639" y="1455909"/>
                  <a:pt x="376639" y="1473939"/>
                </a:cubicBezTo>
                <a:cubicBezTo>
                  <a:pt x="378971" y="1474343"/>
                  <a:pt x="380523" y="1474802"/>
                  <a:pt x="382089" y="1474854"/>
                </a:cubicBezTo>
                <a:cubicBezTo>
                  <a:pt x="404571" y="1475605"/>
                  <a:pt x="427058" y="1476986"/>
                  <a:pt x="449536" y="1476855"/>
                </a:cubicBezTo>
                <a:cubicBezTo>
                  <a:pt x="486344" y="1476639"/>
                  <a:pt x="523207" y="1476480"/>
                  <a:pt x="559930" y="1474307"/>
                </a:cubicBezTo>
                <a:cubicBezTo>
                  <a:pt x="588839" y="1472596"/>
                  <a:pt x="617570" y="1467884"/>
                  <a:pt x="648494" y="1463981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4" name="Free-form: Shape 13">
            <a:extLst>
              <a:ext uri="{FF2B5EF4-FFF2-40B4-BE49-F238E27FC236}">
                <a16:creationId xmlns:a16="http://schemas.microsoft.com/office/drawing/2014/main" id="{267DC51F-17A4-8E6D-CD92-05E5DF04E3C6}"/>
              </a:ext>
            </a:extLst>
          </p:cNvPr>
          <p:cNvSpPr/>
          <p:nvPr/>
        </p:nvSpPr>
        <p:spPr>
          <a:xfrm>
            <a:off x="5258591" y="1629500"/>
            <a:ext cx="497702" cy="821885"/>
          </a:xfrm>
          <a:custGeom>
            <a:avLst/>
            <a:gdLst>
              <a:gd name="csX0" fmla="*/ 512604 w 598747"/>
              <a:gd name="csY0" fmla="*/ 503918 h 988745"/>
              <a:gd name="csX1" fmla="*/ 472435 w 598747"/>
              <a:gd name="csY1" fmla="*/ 482196 h 988745"/>
              <a:gd name="csX2" fmla="*/ 432737 w 598747"/>
              <a:gd name="csY2" fmla="*/ 445605 h 988745"/>
              <a:gd name="csX3" fmla="*/ 375943 w 598747"/>
              <a:gd name="csY3" fmla="*/ 426178 h 988745"/>
              <a:gd name="csX4" fmla="*/ 329354 w 598747"/>
              <a:gd name="csY4" fmla="*/ 428057 h 988745"/>
              <a:gd name="csX5" fmla="*/ 273070 w 598747"/>
              <a:gd name="csY5" fmla="*/ 425461 h 988745"/>
              <a:gd name="csX6" fmla="*/ 230084 w 598747"/>
              <a:gd name="csY6" fmla="*/ 395825 h 988745"/>
              <a:gd name="csX7" fmla="*/ 199097 w 598747"/>
              <a:gd name="csY7" fmla="*/ 326515 h 988745"/>
              <a:gd name="csX8" fmla="*/ 195158 w 598747"/>
              <a:gd name="csY8" fmla="*/ 315511 h 988745"/>
              <a:gd name="csX9" fmla="*/ 192512 w 598747"/>
              <a:gd name="csY9" fmla="*/ 315405 h 988745"/>
              <a:gd name="csX10" fmla="*/ 189288 w 598747"/>
              <a:gd name="csY10" fmla="*/ 321954 h 988745"/>
              <a:gd name="csX11" fmla="*/ 209532 w 598747"/>
              <a:gd name="csY11" fmla="*/ 453235 h 988745"/>
              <a:gd name="csX12" fmla="*/ 268616 w 598747"/>
              <a:gd name="csY12" fmla="*/ 538863 h 988745"/>
              <a:gd name="csX13" fmla="*/ 394191 w 598747"/>
              <a:gd name="csY13" fmla="*/ 676935 h 988745"/>
              <a:gd name="csX14" fmla="*/ 474037 w 598747"/>
              <a:gd name="csY14" fmla="*/ 783945 h 988745"/>
              <a:gd name="csX15" fmla="*/ 503332 w 598747"/>
              <a:gd name="csY15" fmla="*/ 901469 h 988745"/>
              <a:gd name="csX16" fmla="*/ 487993 w 598747"/>
              <a:gd name="csY16" fmla="*/ 970743 h 988745"/>
              <a:gd name="csX17" fmla="*/ 477248 w 598747"/>
              <a:gd name="csY17" fmla="*/ 979235 h 988745"/>
              <a:gd name="csX18" fmla="*/ 410194 w 598747"/>
              <a:gd name="csY18" fmla="*/ 986326 h 988745"/>
              <a:gd name="csX19" fmla="*/ 213720 w 598747"/>
              <a:gd name="csY19" fmla="*/ 988629 h 988745"/>
              <a:gd name="csX20" fmla="*/ 86242 w 598747"/>
              <a:gd name="csY20" fmla="*/ 982669 h 988745"/>
              <a:gd name="csX21" fmla="*/ 53553 w 598747"/>
              <a:gd name="csY21" fmla="*/ 981705 h 988745"/>
              <a:gd name="csX22" fmla="*/ 56311 w 598747"/>
              <a:gd name="csY22" fmla="*/ 974933 h 988745"/>
              <a:gd name="csX23" fmla="*/ 83373 w 598747"/>
              <a:gd name="csY23" fmla="*/ 891414 h 988745"/>
              <a:gd name="csX24" fmla="*/ 69625 w 598747"/>
              <a:gd name="csY24" fmla="*/ 728925 h 988745"/>
              <a:gd name="csX25" fmla="*/ 28713 w 598747"/>
              <a:gd name="csY25" fmla="*/ 583650 h 988745"/>
              <a:gd name="csX26" fmla="*/ 2872 w 598747"/>
              <a:gd name="csY26" fmla="*/ 458823 h 988745"/>
              <a:gd name="csX27" fmla="*/ 36461 w 598747"/>
              <a:gd name="csY27" fmla="*/ 250957 h 988745"/>
              <a:gd name="csX28" fmla="*/ 105198 w 598747"/>
              <a:gd name="csY28" fmla="*/ 163584 h 988745"/>
              <a:gd name="csX29" fmla="*/ 191800 w 598747"/>
              <a:gd name="csY29" fmla="*/ 101539 h 988745"/>
              <a:gd name="csX30" fmla="*/ 214600 w 598747"/>
              <a:gd name="csY30" fmla="*/ 75129 h 988745"/>
              <a:gd name="csX31" fmla="*/ 268462 w 598747"/>
              <a:gd name="csY31" fmla="*/ 0 h 988745"/>
              <a:gd name="csX32" fmla="*/ 269844 w 598747"/>
              <a:gd name="csY32" fmla="*/ 10898 h 988745"/>
              <a:gd name="csX33" fmla="*/ 272418 w 598747"/>
              <a:gd name="csY33" fmla="*/ 69722 h 988745"/>
              <a:gd name="csX34" fmla="*/ 297658 w 598747"/>
              <a:gd name="csY34" fmla="*/ 107113 h 988745"/>
              <a:gd name="csX35" fmla="*/ 355481 w 598747"/>
              <a:gd name="csY35" fmla="*/ 136991 h 988745"/>
              <a:gd name="csX36" fmla="*/ 430178 w 598747"/>
              <a:gd name="csY36" fmla="*/ 212396 h 988745"/>
              <a:gd name="csX37" fmla="*/ 465840 w 598747"/>
              <a:gd name="csY37" fmla="*/ 273997 h 988745"/>
              <a:gd name="csX38" fmla="*/ 532362 w 598747"/>
              <a:gd name="csY38" fmla="*/ 340124 h 988745"/>
              <a:gd name="csX39" fmla="*/ 572901 w 598747"/>
              <a:gd name="csY39" fmla="*/ 367845 h 988745"/>
              <a:gd name="csX40" fmla="*/ 598436 w 598747"/>
              <a:gd name="csY40" fmla="*/ 408775 h 988745"/>
              <a:gd name="csX41" fmla="*/ 596339 w 598747"/>
              <a:gd name="csY41" fmla="*/ 452637 h 988745"/>
              <a:gd name="csX42" fmla="*/ 552957 w 598747"/>
              <a:gd name="csY42" fmla="*/ 485233 h 988745"/>
              <a:gd name="csX43" fmla="*/ 525548 w 598747"/>
              <a:gd name="csY43" fmla="*/ 479475 h 988745"/>
              <a:gd name="csX44" fmla="*/ 515736 w 598747"/>
              <a:gd name="csY44" fmla="*/ 475921 h 988745"/>
              <a:gd name="csX45" fmla="*/ 525605 w 598747"/>
              <a:gd name="csY45" fmla="*/ 492048 h 988745"/>
              <a:gd name="csX46" fmla="*/ 538873 w 598747"/>
              <a:gd name="csY46" fmla="*/ 504704 h 988745"/>
              <a:gd name="csX47" fmla="*/ 512604 w 598747"/>
              <a:gd name="csY47" fmla="*/ 503918 h 988745"/>
              <a:gd name="csX48" fmla="*/ 332072 w 598747"/>
              <a:gd name="csY48" fmla="*/ 218143 h 988745"/>
              <a:gd name="csX49" fmla="*/ 334388 w 598747"/>
              <a:gd name="csY49" fmla="*/ 226400 h 988745"/>
              <a:gd name="csX50" fmla="*/ 372370 w 598747"/>
              <a:gd name="csY50" fmla="*/ 254505 h 988745"/>
              <a:gd name="csX51" fmla="*/ 405258 w 598747"/>
              <a:gd name="csY51" fmla="*/ 252089 h 988745"/>
              <a:gd name="csX52" fmla="*/ 409167 w 598747"/>
              <a:gd name="csY52" fmla="*/ 244359 h 988745"/>
              <a:gd name="csX53" fmla="*/ 396364 w 598747"/>
              <a:gd name="csY53" fmla="*/ 219471 h 988745"/>
              <a:gd name="csX54" fmla="*/ 365755 w 598747"/>
              <a:gd name="csY54" fmla="*/ 195821 h 988745"/>
              <a:gd name="csX55" fmla="*/ 333572 w 598747"/>
              <a:gd name="csY55" fmla="*/ 188536 h 988745"/>
              <a:gd name="csX56" fmla="*/ 322931 w 598747"/>
              <a:gd name="csY56" fmla="*/ 190843 h 988745"/>
              <a:gd name="csX57" fmla="*/ 329041 w 598747"/>
              <a:gd name="csY57" fmla="*/ 203001 h 988745"/>
              <a:gd name="csX58" fmla="*/ 332072 w 598747"/>
              <a:gd name="csY58" fmla="*/ 218143 h 98874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</a:cxnLst>
            <a:rect l="l" t="t" r="r" b="b"/>
            <a:pathLst>
              <a:path w="598747" h="988745">
                <a:moveTo>
                  <a:pt x="512604" y="503918"/>
                </a:moveTo>
                <a:cubicBezTo>
                  <a:pt x="496002" y="501170"/>
                  <a:pt x="483635" y="492907"/>
                  <a:pt x="472435" y="482196"/>
                </a:cubicBezTo>
                <a:cubicBezTo>
                  <a:pt x="459429" y="469758"/>
                  <a:pt x="446467" y="457218"/>
                  <a:pt x="432737" y="445605"/>
                </a:cubicBezTo>
                <a:cubicBezTo>
                  <a:pt x="416514" y="431883"/>
                  <a:pt x="397267" y="425513"/>
                  <a:pt x="375943" y="426178"/>
                </a:cubicBezTo>
                <a:cubicBezTo>
                  <a:pt x="360407" y="426662"/>
                  <a:pt x="344877" y="428180"/>
                  <a:pt x="329354" y="428057"/>
                </a:cubicBezTo>
                <a:cubicBezTo>
                  <a:pt x="310581" y="427907"/>
                  <a:pt x="291752" y="427215"/>
                  <a:pt x="273070" y="425461"/>
                </a:cubicBezTo>
                <a:cubicBezTo>
                  <a:pt x="253636" y="423637"/>
                  <a:pt x="240361" y="411413"/>
                  <a:pt x="230084" y="395825"/>
                </a:cubicBezTo>
                <a:cubicBezTo>
                  <a:pt x="215988" y="374443"/>
                  <a:pt x="207393" y="350530"/>
                  <a:pt x="199097" y="326515"/>
                </a:cubicBezTo>
                <a:cubicBezTo>
                  <a:pt x="197825" y="322833"/>
                  <a:pt x="196473" y="319178"/>
                  <a:pt x="195158" y="315511"/>
                </a:cubicBezTo>
                <a:cubicBezTo>
                  <a:pt x="194276" y="315475"/>
                  <a:pt x="193394" y="315440"/>
                  <a:pt x="192512" y="315405"/>
                </a:cubicBezTo>
                <a:cubicBezTo>
                  <a:pt x="191405" y="317583"/>
                  <a:pt x="189646" y="319659"/>
                  <a:pt x="189288" y="321954"/>
                </a:cubicBezTo>
                <a:cubicBezTo>
                  <a:pt x="182145" y="367836"/>
                  <a:pt x="189209" y="411525"/>
                  <a:pt x="209532" y="453235"/>
                </a:cubicBezTo>
                <a:cubicBezTo>
                  <a:pt x="224908" y="484792"/>
                  <a:pt x="245217" y="512936"/>
                  <a:pt x="268616" y="538863"/>
                </a:cubicBezTo>
                <a:cubicBezTo>
                  <a:pt x="310298" y="585046"/>
                  <a:pt x="352387" y="630861"/>
                  <a:pt x="394191" y="676935"/>
                </a:cubicBezTo>
                <a:cubicBezTo>
                  <a:pt x="424227" y="710039"/>
                  <a:pt x="452698" y="744360"/>
                  <a:pt x="474037" y="783945"/>
                </a:cubicBezTo>
                <a:cubicBezTo>
                  <a:pt x="493795" y="820596"/>
                  <a:pt x="505956" y="859233"/>
                  <a:pt x="503332" y="901469"/>
                </a:cubicBezTo>
                <a:cubicBezTo>
                  <a:pt x="501850" y="925342"/>
                  <a:pt x="495799" y="948239"/>
                  <a:pt x="487993" y="970743"/>
                </a:cubicBezTo>
                <a:cubicBezTo>
                  <a:pt x="486166" y="976009"/>
                  <a:pt x="482772" y="978647"/>
                  <a:pt x="477248" y="979235"/>
                </a:cubicBezTo>
                <a:cubicBezTo>
                  <a:pt x="454890" y="981614"/>
                  <a:pt x="432589" y="985767"/>
                  <a:pt x="410194" y="986326"/>
                </a:cubicBezTo>
                <a:cubicBezTo>
                  <a:pt x="344720" y="987961"/>
                  <a:pt x="279205" y="989128"/>
                  <a:pt x="213720" y="988629"/>
                </a:cubicBezTo>
                <a:cubicBezTo>
                  <a:pt x="171215" y="988306"/>
                  <a:pt x="128736" y="984705"/>
                  <a:pt x="86242" y="982669"/>
                </a:cubicBezTo>
                <a:cubicBezTo>
                  <a:pt x="75776" y="982167"/>
                  <a:pt x="65294" y="982040"/>
                  <a:pt x="53553" y="981705"/>
                </a:cubicBezTo>
                <a:cubicBezTo>
                  <a:pt x="54842" y="978488"/>
                  <a:pt x="55323" y="976556"/>
                  <a:pt x="56311" y="974933"/>
                </a:cubicBezTo>
                <a:cubicBezTo>
                  <a:pt x="71955" y="949229"/>
                  <a:pt x="78103" y="920529"/>
                  <a:pt x="83373" y="891414"/>
                </a:cubicBezTo>
                <a:cubicBezTo>
                  <a:pt x="93411" y="835958"/>
                  <a:pt x="83645" y="782156"/>
                  <a:pt x="69625" y="728925"/>
                </a:cubicBezTo>
                <a:cubicBezTo>
                  <a:pt x="56813" y="680283"/>
                  <a:pt x="42153" y="632130"/>
                  <a:pt x="28713" y="583650"/>
                </a:cubicBezTo>
                <a:cubicBezTo>
                  <a:pt x="17342" y="542631"/>
                  <a:pt x="7760" y="501188"/>
                  <a:pt x="2872" y="458823"/>
                </a:cubicBezTo>
                <a:cubicBezTo>
                  <a:pt x="-5484" y="386401"/>
                  <a:pt x="4005" y="316635"/>
                  <a:pt x="36461" y="250957"/>
                </a:cubicBezTo>
                <a:cubicBezTo>
                  <a:pt x="53137" y="217210"/>
                  <a:pt x="77705" y="189133"/>
                  <a:pt x="105198" y="163584"/>
                </a:cubicBezTo>
                <a:cubicBezTo>
                  <a:pt x="131434" y="139203"/>
                  <a:pt x="160285" y="118551"/>
                  <a:pt x="191800" y="101539"/>
                </a:cubicBezTo>
                <a:cubicBezTo>
                  <a:pt x="202646" y="95684"/>
                  <a:pt x="209856" y="86491"/>
                  <a:pt x="214600" y="75129"/>
                </a:cubicBezTo>
                <a:cubicBezTo>
                  <a:pt x="226474" y="46689"/>
                  <a:pt x="246616" y="24191"/>
                  <a:pt x="268462" y="0"/>
                </a:cubicBezTo>
                <a:cubicBezTo>
                  <a:pt x="269111" y="4997"/>
                  <a:pt x="269706" y="7937"/>
                  <a:pt x="269844" y="10898"/>
                </a:cubicBezTo>
                <a:cubicBezTo>
                  <a:pt x="270760" y="30504"/>
                  <a:pt x="271607" y="50112"/>
                  <a:pt x="272418" y="69722"/>
                </a:cubicBezTo>
                <a:cubicBezTo>
                  <a:pt x="273150" y="87396"/>
                  <a:pt x="281549" y="99401"/>
                  <a:pt x="297658" y="107113"/>
                </a:cubicBezTo>
                <a:cubicBezTo>
                  <a:pt x="317218" y="116476"/>
                  <a:pt x="336170" y="127101"/>
                  <a:pt x="355481" y="136991"/>
                </a:cubicBezTo>
                <a:cubicBezTo>
                  <a:pt x="388645" y="153974"/>
                  <a:pt x="413226" y="179056"/>
                  <a:pt x="430178" y="212396"/>
                </a:cubicBezTo>
                <a:cubicBezTo>
                  <a:pt x="440917" y="233515"/>
                  <a:pt x="453634" y="253647"/>
                  <a:pt x="465840" y="273997"/>
                </a:cubicBezTo>
                <a:cubicBezTo>
                  <a:pt x="482404" y="301613"/>
                  <a:pt x="506102" y="322183"/>
                  <a:pt x="532362" y="340124"/>
                </a:cubicBezTo>
                <a:cubicBezTo>
                  <a:pt x="545881" y="349359"/>
                  <a:pt x="559082" y="359088"/>
                  <a:pt x="572901" y="367845"/>
                </a:cubicBezTo>
                <a:cubicBezTo>
                  <a:pt x="588172" y="377523"/>
                  <a:pt x="597775" y="390733"/>
                  <a:pt x="598436" y="408775"/>
                </a:cubicBezTo>
                <a:cubicBezTo>
                  <a:pt x="598970" y="423381"/>
                  <a:pt x="599120" y="438404"/>
                  <a:pt x="596339" y="452637"/>
                </a:cubicBezTo>
                <a:cubicBezTo>
                  <a:pt x="591789" y="475923"/>
                  <a:pt x="576843" y="486555"/>
                  <a:pt x="552957" y="485233"/>
                </a:cubicBezTo>
                <a:cubicBezTo>
                  <a:pt x="543740" y="484722"/>
                  <a:pt x="534648" y="481613"/>
                  <a:pt x="525548" y="479475"/>
                </a:cubicBezTo>
                <a:cubicBezTo>
                  <a:pt x="522577" y="478776"/>
                  <a:pt x="519764" y="477405"/>
                  <a:pt x="515736" y="475921"/>
                </a:cubicBezTo>
                <a:cubicBezTo>
                  <a:pt x="516318" y="484233"/>
                  <a:pt x="521537" y="487842"/>
                  <a:pt x="525605" y="492048"/>
                </a:cubicBezTo>
                <a:cubicBezTo>
                  <a:pt x="529554" y="496129"/>
                  <a:pt x="533815" y="499907"/>
                  <a:pt x="538873" y="504704"/>
                </a:cubicBezTo>
                <a:cubicBezTo>
                  <a:pt x="529522" y="509277"/>
                  <a:pt x="521553" y="504428"/>
                  <a:pt x="512604" y="503918"/>
                </a:cubicBezTo>
                <a:moveTo>
                  <a:pt x="332072" y="218143"/>
                </a:moveTo>
                <a:cubicBezTo>
                  <a:pt x="332837" y="220898"/>
                  <a:pt x="333478" y="223695"/>
                  <a:pt x="334388" y="226400"/>
                </a:cubicBezTo>
                <a:cubicBezTo>
                  <a:pt x="341073" y="246268"/>
                  <a:pt x="351614" y="254460"/>
                  <a:pt x="372370" y="254505"/>
                </a:cubicBezTo>
                <a:cubicBezTo>
                  <a:pt x="383333" y="254529"/>
                  <a:pt x="394312" y="253121"/>
                  <a:pt x="405258" y="252089"/>
                </a:cubicBezTo>
                <a:cubicBezTo>
                  <a:pt x="409961" y="251646"/>
                  <a:pt x="411340" y="248568"/>
                  <a:pt x="409167" y="244359"/>
                </a:cubicBezTo>
                <a:cubicBezTo>
                  <a:pt x="404885" y="236068"/>
                  <a:pt x="400139" y="227985"/>
                  <a:pt x="396364" y="219471"/>
                </a:cubicBezTo>
                <a:cubicBezTo>
                  <a:pt x="390350" y="205908"/>
                  <a:pt x="379963" y="198663"/>
                  <a:pt x="365755" y="195821"/>
                </a:cubicBezTo>
                <a:cubicBezTo>
                  <a:pt x="354973" y="193665"/>
                  <a:pt x="344291" y="191003"/>
                  <a:pt x="333572" y="188536"/>
                </a:cubicBezTo>
                <a:cubicBezTo>
                  <a:pt x="329511" y="187602"/>
                  <a:pt x="325579" y="187007"/>
                  <a:pt x="322931" y="190843"/>
                </a:cubicBezTo>
                <a:cubicBezTo>
                  <a:pt x="325138" y="195129"/>
                  <a:pt x="327613" y="198884"/>
                  <a:pt x="329041" y="203001"/>
                </a:cubicBezTo>
                <a:cubicBezTo>
                  <a:pt x="330500" y="207204"/>
                  <a:pt x="330929" y="211764"/>
                  <a:pt x="332072" y="218143"/>
                </a:cubicBezTo>
                <a:close/>
              </a:path>
            </a:pathLst>
          </a:custGeom>
          <a:solidFill>
            <a:srgbClr val="FEFEFE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5" name="Free-form: Shape 14">
            <a:extLst>
              <a:ext uri="{FF2B5EF4-FFF2-40B4-BE49-F238E27FC236}">
                <a16:creationId xmlns:a16="http://schemas.microsoft.com/office/drawing/2014/main" id="{837DC146-E7D7-9ADF-AA02-A26242CB862F}"/>
              </a:ext>
            </a:extLst>
          </p:cNvPr>
          <p:cNvSpPr/>
          <p:nvPr/>
        </p:nvSpPr>
        <p:spPr>
          <a:xfrm>
            <a:off x="5459408" y="2486835"/>
            <a:ext cx="267393" cy="232628"/>
          </a:xfrm>
          <a:custGeom>
            <a:avLst/>
            <a:gdLst>
              <a:gd name="csX0" fmla="*/ 84645 w 321679"/>
              <a:gd name="csY0" fmla="*/ 279507 h 279857"/>
              <a:gd name="csX1" fmla="*/ 19 w 321679"/>
              <a:gd name="csY1" fmla="*/ 276629 h 279857"/>
              <a:gd name="csX2" fmla="*/ 61 w 321679"/>
              <a:gd name="csY2" fmla="*/ 231376 h 279857"/>
              <a:gd name="csX3" fmla="*/ 925 w 321679"/>
              <a:gd name="csY3" fmla="*/ 219150 h 279857"/>
              <a:gd name="csX4" fmla="*/ 8286 w 321679"/>
              <a:gd name="csY4" fmla="*/ 86910 h 279857"/>
              <a:gd name="csX5" fmla="*/ 11586 w 321679"/>
              <a:gd name="csY5" fmla="*/ 21981 h 279857"/>
              <a:gd name="csX6" fmla="*/ 26655 w 321679"/>
              <a:gd name="csY6" fmla="*/ 7635 h 279857"/>
              <a:gd name="csX7" fmla="*/ 67169 w 321679"/>
              <a:gd name="csY7" fmla="*/ 7178 h 279857"/>
              <a:gd name="csX8" fmla="*/ 201872 w 321679"/>
              <a:gd name="csY8" fmla="*/ 121 h 279857"/>
              <a:gd name="csX9" fmla="*/ 217558 w 321679"/>
              <a:gd name="csY9" fmla="*/ 87 h 279857"/>
              <a:gd name="csX10" fmla="*/ 214854 w 321679"/>
              <a:gd name="csY10" fmla="*/ 22019 h 279857"/>
              <a:gd name="csX11" fmla="*/ 235301 w 321679"/>
              <a:gd name="csY11" fmla="*/ 104861 h 279857"/>
              <a:gd name="csX12" fmla="*/ 269832 w 321679"/>
              <a:gd name="csY12" fmla="*/ 144587 h 279857"/>
              <a:gd name="csX13" fmla="*/ 299912 w 321679"/>
              <a:gd name="csY13" fmla="*/ 176874 h 279857"/>
              <a:gd name="csX14" fmla="*/ 320491 w 321679"/>
              <a:gd name="csY14" fmla="*/ 256903 h 279857"/>
              <a:gd name="csX15" fmla="*/ 255607 w 321679"/>
              <a:gd name="csY15" fmla="*/ 264918 h 279857"/>
              <a:gd name="csX16" fmla="*/ 172672 w 321679"/>
              <a:gd name="csY16" fmla="*/ 273435 h 279857"/>
              <a:gd name="csX17" fmla="*/ 133595 w 321679"/>
              <a:gd name="csY17" fmla="*/ 276823 h 279857"/>
              <a:gd name="csX18" fmla="*/ 84645 w 321679"/>
              <a:gd name="csY18" fmla="*/ 279507 h 27985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</a:cxnLst>
            <a:rect l="l" t="t" r="r" b="b"/>
            <a:pathLst>
              <a:path w="321679" h="279857">
                <a:moveTo>
                  <a:pt x="84645" y="279507"/>
                </a:moveTo>
                <a:cubicBezTo>
                  <a:pt x="55716" y="279830"/>
                  <a:pt x="27945" y="280875"/>
                  <a:pt x="19" y="276629"/>
                </a:cubicBezTo>
                <a:cubicBezTo>
                  <a:pt x="19" y="261343"/>
                  <a:pt x="-45" y="246359"/>
                  <a:pt x="61" y="231376"/>
                </a:cubicBezTo>
                <a:cubicBezTo>
                  <a:pt x="90" y="227299"/>
                  <a:pt x="696" y="223229"/>
                  <a:pt x="925" y="219150"/>
                </a:cubicBezTo>
                <a:cubicBezTo>
                  <a:pt x="3396" y="175071"/>
                  <a:pt x="5876" y="130992"/>
                  <a:pt x="8286" y="86910"/>
                </a:cubicBezTo>
                <a:cubicBezTo>
                  <a:pt x="9469" y="65271"/>
                  <a:pt x="10613" y="43630"/>
                  <a:pt x="11586" y="21981"/>
                </a:cubicBezTo>
                <a:cubicBezTo>
                  <a:pt x="12199" y="8328"/>
                  <a:pt x="12576" y="7792"/>
                  <a:pt x="26655" y="7635"/>
                </a:cubicBezTo>
                <a:cubicBezTo>
                  <a:pt x="40161" y="7484"/>
                  <a:pt x="53689" y="7831"/>
                  <a:pt x="67169" y="7178"/>
                </a:cubicBezTo>
                <a:cubicBezTo>
                  <a:pt x="112079" y="5004"/>
                  <a:pt x="156970" y="2455"/>
                  <a:pt x="201872" y="121"/>
                </a:cubicBezTo>
                <a:cubicBezTo>
                  <a:pt x="206690" y="-130"/>
                  <a:pt x="211533" y="87"/>
                  <a:pt x="217558" y="87"/>
                </a:cubicBezTo>
                <a:cubicBezTo>
                  <a:pt x="216603" y="7811"/>
                  <a:pt x="215688" y="14910"/>
                  <a:pt x="214854" y="22019"/>
                </a:cubicBezTo>
                <a:cubicBezTo>
                  <a:pt x="211318" y="52185"/>
                  <a:pt x="219749" y="79345"/>
                  <a:pt x="235301" y="104861"/>
                </a:cubicBezTo>
                <a:cubicBezTo>
                  <a:pt x="244591" y="120102"/>
                  <a:pt x="257536" y="132012"/>
                  <a:pt x="269832" y="144587"/>
                </a:cubicBezTo>
                <a:cubicBezTo>
                  <a:pt x="280116" y="155103"/>
                  <a:pt x="290551" y="165559"/>
                  <a:pt x="299912" y="176874"/>
                </a:cubicBezTo>
                <a:cubicBezTo>
                  <a:pt x="319006" y="199953"/>
                  <a:pt x="324386" y="226827"/>
                  <a:pt x="320491" y="256903"/>
                </a:cubicBezTo>
                <a:cubicBezTo>
                  <a:pt x="298421" y="259649"/>
                  <a:pt x="277043" y="262541"/>
                  <a:pt x="255607" y="264918"/>
                </a:cubicBezTo>
                <a:cubicBezTo>
                  <a:pt x="227987" y="267981"/>
                  <a:pt x="200327" y="270692"/>
                  <a:pt x="172672" y="273435"/>
                </a:cubicBezTo>
                <a:cubicBezTo>
                  <a:pt x="159662" y="274725"/>
                  <a:pt x="146637" y="275935"/>
                  <a:pt x="133595" y="276823"/>
                </a:cubicBezTo>
                <a:cubicBezTo>
                  <a:pt x="117688" y="277907"/>
                  <a:pt x="101755" y="278616"/>
                  <a:pt x="84645" y="279507"/>
                </a:cubicBezTo>
                <a:close/>
              </a:path>
            </a:pathLst>
          </a:custGeom>
          <a:solidFill>
            <a:srgbClr val="FDFEFE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" name="Free-form: Shape 15">
            <a:extLst>
              <a:ext uri="{FF2B5EF4-FFF2-40B4-BE49-F238E27FC236}">
                <a16:creationId xmlns:a16="http://schemas.microsoft.com/office/drawing/2014/main" id="{E3738098-69A2-012D-E833-395B0C46609C}"/>
              </a:ext>
            </a:extLst>
          </p:cNvPr>
          <p:cNvSpPr/>
          <p:nvPr/>
        </p:nvSpPr>
        <p:spPr>
          <a:xfrm>
            <a:off x="5459305" y="2743496"/>
            <a:ext cx="284373" cy="65313"/>
          </a:xfrm>
          <a:custGeom>
            <a:avLst/>
            <a:gdLst>
              <a:gd name="csX0" fmla="*/ 270798 w 342106"/>
              <a:gd name="csY0" fmla="*/ 65953 h 78573"/>
              <a:gd name="csX1" fmla="*/ 183290 w 342106"/>
              <a:gd name="csY1" fmla="*/ 76017 h 78573"/>
              <a:gd name="csX2" fmla="*/ 72897 w 342106"/>
              <a:gd name="csY2" fmla="*/ 78565 h 78573"/>
              <a:gd name="csX3" fmla="*/ 5450 w 342106"/>
              <a:gd name="csY3" fmla="*/ 76564 h 78573"/>
              <a:gd name="csX4" fmla="*/ 0 w 342106"/>
              <a:gd name="csY4" fmla="*/ 75649 h 78573"/>
              <a:gd name="csX5" fmla="*/ 0 w 342106"/>
              <a:gd name="csY5" fmla="*/ 21324 h 78573"/>
              <a:gd name="csX6" fmla="*/ 8504 w 342106"/>
              <a:gd name="csY6" fmla="*/ 20688 h 78573"/>
              <a:gd name="csX7" fmla="*/ 98126 w 342106"/>
              <a:gd name="csY7" fmla="*/ 19655 h 78573"/>
              <a:gd name="csX8" fmla="*/ 221639 w 342106"/>
              <a:gd name="csY8" fmla="*/ 10929 h 78573"/>
              <a:gd name="csX9" fmla="*/ 304285 w 342106"/>
              <a:gd name="csY9" fmla="*/ 683 h 78573"/>
              <a:gd name="csX10" fmla="*/ 309173 w 342106"/>
              <a:gd name="csY10" fmla="*/ 212 h 78573"/>
              <a:gd name="csX11" fmla="*/ 335187 w 342106"/>
              <a:gd name="csY11" fmla="*/ 18545 h 78573"/>
              <a:gd name="csX12" fmla="*/ 342106 w 342106"/>
              <a:gd name="csY12" fmla="*/ 53602 h 78573"/>
              <a:gd name="csX13" fmla="*/ 270798 w 342106"/>
              <a:gd name="csY13" fmla="*/ 65953 h 7857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</a:cxnLst>
            <a:rect l="l" t="t" r="r" b="b"/>
            <a:pathLst>
              <a:path w="342106" h="78573">
                <a:moveTo>
                  <a:pt x="270798" y="65953"/>
                </a:moveTo>
                <a:cubicBezTo>
                  <a:pt x="240931" y="69594"/>
                  <a:pt x="212199" y="74306"/>
                  <a:pt x="183290" y="76017"/>
                </a:cubicBezTo>
                <a:cubicBezTo>
                  <a:pt x="146568" y="78191"/>
                  <a:pt x="109704" y="78349"/>
                  <a:pt x="72897" y="78565"/>
                </a:cubicBezTo>
                <a:cubicBezTo>
                  <a:pt x="50419" y="78697"/>
                  <a:pt x="27931" y="77315"/>
                  <a:pt x="5450" y="76564"/>
                </a:cubicBezTo>
                <a:cubicBezTo>
                  <a:pt x="3884" y="76512"/>
                  <a:pt x="2332" y="76053"/>
                  <a:pt x="0" y="75649"/>
                </a:cubicBezTo>
                <a:cubicBezTo>
                  <a:pt x="0" y="57619"/>
                  <a:pt x="0" y="39863"/>
                  <a:pt x="0" y="21324"/>
                </a:cubicBezTo>
                <a:cubicBezTo>
                  <a:pt x="3058" y="21086"/>
                  <a:pt x="5779" y="20715"/>
                  <a:pt x="8504" y="20688"/>
                </a:cubicBezTo>
                <a:cubicBezTo>
                  <a:pt x="38382" y="20390"/>
                  <a:pt x="68305" y="21101"/>
                  <a:pt x="98126" y="19655"/>
                </a:cubicBezTo>
                <a:cubicBezTo>
                  <a:pt x="139343" y="17657"/>
                  <a:pt x="180532" y="14597"/>
                  <a:pt x="221639" y="10929"/>
                </a:cubicBezTo>
                <a:cubicBezTo>
                  <a:pt x="249272" y="8463"/>
                  <a:pt x="276741" y="4156"/>
                  <a:pt x="304285" y="683"/>
                </a:cubicBezTo>
                <a:cubicBezTo>
                  <a:pt x="305908" y="478"/>
                  <a:pt x="307539" y="312"/>
                  <a:pt x="309173" y="212"/>
                </a:cubicBezTo>
                <a:cubicBezTo>
                  <a:pt x="326863" y="-867"/>
                  <a:pt x="330972" y="1719"/>
                  <a:pt x="335187" y="18545"/>
                </a:cubicBezTo>
                <a:cubicBezTo>
                  <a:pt x="337939" y="29526"/>
                  <a:pt x="339618" y="40777"/>
                  <a:pt x="342106" y="53602"/>
                </a:cubicBezTo>
                <a:cubicBezTo>
                  <a:pt x="317523" y="57833"/>
                  <a:pt x="294689" y="61762"/>
                  <a:pt x="270798" y="65953"/>
                </a:cubicBezTo>
                <a:close/>
              </a:path>
            </a:pathLst>
          </a:custGeom>
          <a:solidFill>
            <a:srgbClr val="FCFCFC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7" name="Free-form: Shape 16">
            <a:extLst>
              <a:ext uri="{FF2B5EF4-FFF2-40B4-BE49-F238E27FC236}">
                <a16:creationId xmlns:a16="http://schemas.microsoft.com/office/drawing/2014/main" id="{B13C7323-5B54-1156-47BE-DF04E6C0C711}"/>
              </a:ext>
            </a:extLst>
          </p:cNvPr>
          <p:cNvSpPr/>
          <p:nvPr/>
        </p:nvSpPr>
        <p:spPr>
          <a:xfrm>
            <a:off x="5527024" y="1785640"/>
            <a:ext cx="72517" cy="55415"/>
          </a:xfrm>
          <a:custGeom>
            <a:avLst/>
            <a:gdLst>
              <a:gd name="csX0" fmla="*/ 9010 w 87239"/>
              <a:gd name="csY0" fmla="*/ 29316 h 66665"/>
              <a:gd name="csX1" fmla="*/ 6110 w 87239"/>
              <a:gd name="csY1" fmla="*/ 15162 h 66665"/>
              <a:gd name="csX2" fmla="*/ 0 w 87239"/>
              <a:gd name="csY2" fmla="*/ 3003 h 66665"/>
              <a:gd name="csX3" fmla="*/ 10641 w 87239"/>
              <a:gd name="csY3" fmla="*/ 697 h 66665"/>
              <a:gd name="csX4" fmla="*/ 42824 w 87239"/>
              <a:gd name="csY4" fmla="*/ 7981 h 66665"/>
              <a:gd name="csX5" fmla="*/ 73433 w 87239"/>
              <a:gd name="csY5" fmla="*/ 31631 h 66665"/>
              <a:gd name="csX6" fmla="*/ 86236 w 87239"/>
              <a:gd name="csY6" fmla="*/ 56519 h 66665"/>
              <a:gd name="csX7" fmla="*/ 82327 w 87239"/>
              <a:gd name="csY7" fmla="*/ 64249 h 66665"/>
              <a:gd name="csX8" fmla="*/ 49439 w 87239"/>
              <a:gd name="csY8" fmla="*/ 66665 h 66665"/>
              <a:gd name="csX9" fmla="*/ 11457 w 87239"/>
              <a:gd name="csY9" fmla="*/ 38560 h 66665"/>
              <a:gd name="csX10" fmla="*/ 9010 w 87239"/>
              <a:gd name="csY10" fmla="*/ 29316 h 6666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</a:cxnLst>
            <a:rect l="l" t="t" r="r" b="b"/>
            <a:pathLst>
              <a:path w="87239" h="66665">
                <a:moveTo>
                  <a:pt x="9010" y="29316"/>
                </a:moveTo>
                <a:cubicBezTo>
                  <a:pt x="7998" y="23924"/>
                  <a:pt x="7568" y="19365"/>
                  <a:pt x="6110" y="15162"/>
                </a:cubicBezTo>
                <a:cubicBezTo>
                  <a:pt x="4682" y="11044"/>
                  <a:pt x="2207" y="7289"/>
                  <a:pt x="0" y="3003"/>
                </a:cubicBezTo>
                <a:cubicBezTo>
                  <a:pt x="2648" y="-833"/>
                  <a:pt x="6580" y="-238"/>
                  <a:pt x="10641" y="697"/>
                </a:cubicBezTo>
                <a:cubicBezTo>
                  <a:pt x="21360" y="3163"/>
                  <a:pt x="32042" y="5825"/>
                  <a:pt x="42824" y="7981"/>
                </a:cubicBezTo>
                <a:cubicBezTo>
                  <a:pt x="57032" y="10823"/>
                  <a:pt x="67419" y="18068"/>
                  <a:pt x="73433" y="31631"/>
                </a:cubicBezTo>
                <a:cubicBezTo>
                  <a:pt x="77208" y="40146"/>
                  <a:pt x="81954" y="48228"/>
                  <a:pt x="86236" y="56519"/>
                </a:cubicBezTo>
                <a:cubicBezTo>
                  <a:pt x="88409" y="60728"/>
                  <a:pt x="87030" y="63806"/>
                  <a:pt x="82327" y="64249"/>
                </a:cubicBezTo>
                <a:cubicBezTo>
                  <a:pt x="71381" y="65282"/>
                  <a:pt x="60402" y="66689"/>
                  <a:pt x="49439" y="66665"/>
                </a:cubicBezTo>
                <a:cubicBezTo>
                  <a:pt x="28683" y="66620"/>
                  <a:pt x="18142" y="58428"/>
                  <a:pt x="11457" y="38560"/>
                </a:cubicBezTo>
                <a:cubicBezTo>
                  <a:pt x="10547" y="35855"/>
                  <a:pt x="9906" y="33058"/>
                  <a:pt x="9010" y="29316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F4E906F-DA68-A6E1-335B-964744F53542}"/>
              </a:ext>
            </a:extLst>
          </p:cNvPr>
          <p:cNvSpPr txBox="1"/>
          <p:nvPr/>
        </p:nvSpPr>
        <p:spPr>
          <a:xfrm>
            <a:off x="5052906" y="2831201"/>
            <a:ext cx="863983" cy="3927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ola-BR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1996112E-10C1-F1E2-C739-1D4520F1E513}"/>
              </a:ext>
            </a:extLst>
          </p:cNvPr>
          <p:cNvSpPr/>
          <p:nvPr/>
        </p:nvSpPr>
        <p:spPr>
          <a:xfrm>
            <a:off x="1423738" y="2751699"/>
            <a:ext cx="593138" cy="104135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" name="Free-form: Shape 20">
            <a:extLst>
              <a:ext uri="{FF2B5EF4-FFF2-40B4-BE49-F238E27FC236}">
                <a16:creationId xmlns:a16="http://schemas.microsoft.com/office/drawing/2014/main" id="{60376682-CBBD-142B-7AB8-E14C787699F8}"/>
              </a:ext>
            </a:extLst>
          </p:cNvPr>
          <p:cNvSpPr/>
          <p:nvPr/>
        </p:nvSpPr>
        <p:spPr>
          <a:xfrm>
            <a:off x="1522404" y="2071048"/>
            <a:ext cx="433137" cy="770022"/>
          </a:xfrm>
          <a:custGeom>
            <a:avLst/>
            <a:gdLst>
              <a:gd name="csX0" fmla="*/ 581793 w 697572"/>
              <a:gd name="csY0" fmla="*/ 1234401 h 1240128"/>
              <a:gd name="csX1" fmla="*/ 577427 w 697572"/>
              <a:gd name="csY1" fmla="*/ 1234156 h 1240128"/>
              <a:gd name="csX2" fmla="*/ 559133 w 697572"/>
              <a:gd name="csY2" fmla="*/ 1230909 h 1240128"/>
              <a:gd name="csX3" fmla="*/ 516706 w 697572"/>
              <a:gd name="csY3" fmla="*/ 1235117 h 1240128"/>
              <a:gd name="csX4" fmla="*/ 475244 w 697572"/>
              <a:gd name="csY4" fmla="*/ 1237506 h 1240128"/>
              <a:gd name="csX5" fmla="*/ 371154 w 697572"/>
              <a:gd name="csY5" fmla="*/ 1239428 h 1240128"/>
              <a:gd name="csX6" fmla="*/ 276813 w 697572"/>
              <a:gd name="csY6" fmla="*/ 1237654 h 1240128"/>
              <a:gd name="csX7" fmla="*/ 268212 w 697572"/>
              <a:gd name="csY7" fmla="*/ 1237635 h 1240128"/>
              <a:gd name="csX8" fmla="*/ 262072 w 697572"/>
              <a:gd name="csY8" fmla="*/ 1237523 h 1240128"/>
              <a:gd name="csX9" fmla="*/ 195111 w 697572"/>
              <a:gd name="csY9" fmla="*/ 1232775 h 1240128"/>
              <a:gd name="csX10" fmla="*/ 145060 w 697572"/>
              <a:gd name="csY10" fmla="*/ 1230076 h 1240128"/>
              <a:gd name="csX11" fmla="*/ 114933 w 697572"/>
              <a:gd name="csY11" fmla="*/ 1225832 h 1240128"/>
              <a:gd name="csX12" fmla="*/ 72642 w 697572"/>
              <a:gd name="csY12" fmla="*/ 1220237 h 1240128"/>
              <a:gd name="csX13" fmla="*/ 10894 w 697572"/>
              <a:gd name="csY13" fmla="*/ 1205737 h 1240128"/>
              <a:gd name="csX14" fmla="*/ 5856 w 697572"/>
              <a:gd name="csY14" fmla="*/ 1202799 h 1240128"/>
              <a:gd name="csX15" fmla="*/ 40 w 697572"/>
              <a:gd name="csY15" fmla="*/ 1174450 h 1240128"/>
              <a:gd name="csX16" fmla="*/ 19831 w 697572"/>
              <a:gd name="csY16" fmla="*/ 1118410 h 1240128"/>
              <a:gd name="csX17" fmla="*/ 22004 w 697572"/>
              <a:gd name="csY17" fmla="*/ 1107240 h 1240128"/>
              <a:gd name="csX18" fmla="*/ 25947 w 697572"/>
              <a:gd name="csY18" fmla="*/ 1038650 h 1240128"/>
              <a:gd name="csX19" fmla="*/ 58234 w 697572"/>
              <a:gd name="csY19" fmla="*/ 988567 h 1240128"/>
              <a:gd name="csX20" fmla="*/ 118645 w 697572"/>
              <a:gd name="csY20" fmla="*/ 928298 h 1240128"/>
              <a:gd name="csX21" fmla="*/ 126320 w 697572"/>
              <a:gd name="csY21" fmla="*/ 892015 h 1240128"/>
              <a:gd name="csX22" fmla="*/ 120345 w 697572"/>
              <a:gd name="csY22" fmla="*/ 872258 h 1240128"/>
              <a:gd name="csX23" fmla="*/ 125668 w 697572"/>
              <a:gd name="csY23" fmla="*/ 861640 h 1240128"/>
              <a:gd name="csX24" fmla="*/ 154237 w 697572"/>
              <a:gd name="csY24" fmla="*/ 850716 h 1240128"/>
              <a:gd name="csX25" fmla="*/ 170248 w 697572"/>
              <a:gd name="csY25" fmla="*/ 836767 h 1240128"/>
              <a:gd name="csX26" fmla="*/ 187840 w 697572"/>
              <a:gd name="csY26" fmla="*/ 796341 h 1240128"/>
              <a:gd name="csX27" fmla="*/ 209346 w 697572"/>
              <a:gd name="csY27" fmla="*/ 743126 h 1240128"/>
              <a:gd name="csX28" fmla="*/ 210630 w 697572"/>
              <a:gd name="csY28" fmla="*/ 737219 h 1240128"/>
              <a:gd name="csX29" fmla="*/ 213836 w 697572"/>
              <a:gd name="csY29" fmla="*/ 720505 h 1240128"/>
              <a:gd name="csX30" fmla="*/ 227791 w 697572"/>
              <a:gd name="csY30" fmla="*/ 667353 h 1240128"/>
              <a:gd name="csX31" fmla="*/ 241013 w 697572"/>
              <a:gd name="csY31" fmla="*/ 599151 h 1240128"/>
              <a:gd name="csX32" fmla="*/ 247322 w 697572"/>
              <a:gd name="csY32" fmla="*/ 542242 h 1240128"/>
              <a:gd name="csX33" fmla="*/ 247948 w 697572"/>
              <a:gd name="csY33" fmla="*/ 499296 h 1240128"/>
              <a:gd name="csX34" fmla="*/ 247577 w 697572"/>
              <a:gd name="csY34" fmla="*/ 470384 h 1240128"/>
              <a:gd name="csX35" fmla="*/ 238877 w 697572"/>
              <a:gd name="csY35" fmla="*/ 460987 h 1240128"/>
              <a:gd name="csX36" fmla="*/ 222040 w 697572"/>
              <a:gd name="csY36" fmla="*/ 458353 h 1240128"/>
              <a:gd name="csX37" fmla="*/ 172193 w 697572"/>
              <a:gd name="csY37" fmla="*/ 433714 h 1240128"/>
              <a:gd name="csX38" fmla="*/ 168410 w 697572"/>
              <a:gd name="csY38" fmla="*/ 396591 h 1240128"/>
              <a:gd name="csX39" fmla="*/ 209826 w 697572"/>
              <a:gd name="csY39" fmla="*/ 367773 h 1240128"/>
              <a:gd name="csX40" fmla="*/ 250732 w 697572"/>
              <a:gd name="csY40" fmla="*/ 355208 h 1240128"/>
              <a:gd name="csX41" fmla="*/ 258289 w 697572"/>
              <a:gd name="csY41" fmla="*/ 350426 h 1240128"/>
              <a:gd name="csX42" fmla="*/ 233274 w 697572"/>
              <a:gd name="csY42" fmla="*/ 333513 h 1240128"/>
              <a:gd name="csX43" fmla="*/ 229677 w 697572"/>
              <a:gd name="csY43" fmla="*/ 333922 h 1240128"/>
              <a:gd name="csX44" fmla="*/ 230149 w 697572"/>
              <a:gd name="csY44" fmla="*/ 332979 h 1240128"/>
              <a:gd name="csX45" fmla="*/ 227053 w 697572"/>
              <a:gd name="csY45" fmla="*/ 327076 h 1240128"/>
              <a:gd name="csX46" fmla="*/ 196769 w 697572"/>
              <a:gd name="csY46" fmla="*/ 291380 h 1240128"/>
              <a:gd name="csX47" fmla="*/ 184389 w 697572"/>
              <a:gd name="csY47" fmla="*/ 264042 h 1240128"/>
              <a:gd name="csX48" fmla="*/ 180630 w 697572"/>
              <a:gd name="csY48" fmla="*/ 257839 h 1240128"/>
              <a:gd name="csX49" fmla="*/ 176231 w 697572"/>
              <a:gd name="csY49" fmla="*/ 250643 h 1240128"/>
              <a:gd name="csX50" fmla="*/ 170073 w 697572"/>
              <a:gd name="csY50" fmla="*/ 146723 h 1240128"/>
              <a:gd name="csX51" fmla="*/ 180929 w 697572"/>
              <a:gd name="csY51" fmla="*/ 114280 h 1240128"/>
              <a:gd name="csX52" fmla="*/ 180839 w 697572"/>
              <a:gd name="csY52" fmla="*/ 101501 h 1240128"/>
              <a:gd name="csX53" fmla="*/ 233536 w 697572"/>
              <a:gd name="csY53" fmla="*/ 39653 h 1240128"/>
              <a:gd name="csX54" fmla="*/ 347618 w 697572"/>
              <a:gd name="csY54" fmla="*/ 35 h 1240128"/>
              <a:gd name="csX55" fmla="*/ 437139 w 697572"/>
              <a:gd name="csY55" fmla="*/ 22396 h 1240128"/>
              <a:gd name="csX56" fmla="*/ 529052 w 697572"/>
              <a:gd name="csY56" fmla="*/ 131093 h 1240128"/>
              <a:gd name="csX57" fmla="*/ 518497 w 697572"/>
              <a:gd name="csY57" fmla="*/ 271517 h 1240128"/>
              <a:gd name="csX58" fmla="*/ 500808 w 697572"/>
              <a:gd name="csY58" fmla="*/ 287385 h 1240128"/>
              <a:gd name="csX59" fmla="*/ 472948 w 697572"/>
              <a:gd name="csY59" fmla="*/ 323290 h 1240128"/>
              <a:gd name="csX60" fmla="*/ 469385 w 697572"/>
              <a:gd name="csY60" fmla="*/ 331565 h 1240128"/>
              <a:gd name="csX61" fmla="*/ 468293 w 697572"/>
              <a:gd name="csY61" fmla="*/ 331320 h 1240128"/>
              <a:gd name="csX62" fmla="*/ 459542 w 697572"/>
              <a:gd name="csY62" fmla="*/ 338942 h 1240128"/>
              <a:gd name="csX63" fmla="*/ 458492 w 697572"/>
              <a:gd name="csY63" fmla="*/ 338671 h 1240128"/>
              <a:gd name="csX64" fmla="*/ 436978 w 697572"/>
              <a:gd name="csY64" fmla="*/ 352226 h 1240128"/>
              <a:gd name="csX65" fmla="*/ 472329 w 697572"/>
              <a:gd name="csY65" fmla="*/ 362890 h 1240128"/>
              <a:gd name="csX66" fmla="*/ 523779 w 697572"/>
              <a:gd name="csY66" fmla="*/ 391962 h 1240128"/>
              <a:gd name="csX67" fmla="*/ 527344 w 697572"/>
              <a:gd name="csY67" fmla="*/ 430096 h 1240128"/>
              <a:gd name="csX68" fmla="*/ 504112 w 697572"/>
              <a:gd name="csY68" fmla="*/ 449628 h 1240128"/>
              <a:gd name="csX69" fmla="*/ 459430 w 697572"/>
              <a:gd name="csY69" fmla="*/ 461116 h 1240128"/>
              <a:gd name="csX70" fmla="*/ 446666 w 697572"/>
              <a:gd name="csY70" fmla="*/ 474229 h 1240128"/>
              <a:gd name="csX71" fmla="*/ 449133 w 697572"/>
              <a:gd name="csY71" fmla="*/ 531639 h 1240128"/>
              <a:gd name="csX72" fmla="*/ 454546 w 697572"/>
              <a:gd name="csY72" fmla="*/ 588688 h 1240128"/>
              <a:gd name="csX73" fmla="*/ 466126 w 697572"/>
              <a:gd name="csY73" fmla="*/ 649736 h 1240128"/>
              <a:gd name="csX74" fmla="*/ 512154 w 697572"/>
              <a:gd name="csY74" fmla="*/ 794006 h 1240128"/>
              <a:gd name="csX75" fmla="*/ 525763 w 697572"/>
              <a:gd name="csY75" fmla="*/ 834323 h 1240128"/>
              <a:gd name="csX76" fmla="*/ 530555 w 697572"/>
              <a:gd name="csY76" fmla="*/ 845114 h 1240128"/>
              <a:gd name="csX77" fmla="*/ 554424 w 697572"/>
              <a:gd name="csY77" fmla="*/ 856618 h 1240128"/>
              <a:gd name="csX78" fmla="*/ 572880 w 697572"/>
              <a:gd name="csY78" fmla="*/ 862546 h 1240128"/>
              <a:gd name="csX79" fmla="*/ 578643 w 697572"/>
              <a:gd name="csY79" fmla="*/ 880396 h 1240128"/>
              <a:gd name="csX80" fmla="*/ 572188 w 697572"/>
              <a:gd name="csY80" fmla="*/ 899820 h 1240128"/>
              <a:gd name="csX81" fmla="*/ 582698 w 697572"/>
              <a:gd name="csY81" fmla="*/ 930382 h 1240128"/>
              <a:gd name="csX82" fmla="*/ 604747 w 697572"/>
              <a:gd name="csY82" fmla="*/ 960852 h 1240128"/>
              <a:gd name="csX83" fmla="*/ 613863 w 697572"/>
              <a:gd name="csY83" fmla="*/ 968311 h 1240128"/>
              <a:gd name="csX84" fmla="*/ 629435 w 697572"/>
              <a:gd name="csY84" fmla="*/ 981186 h 1240128"/>
              <a:gd name="csX85" fmla="*/ 633611 w 697572"/>
              <a:gd name="csY85" fmla="*/ 985609 h 1240128"/>
              <a:gd name="csX86" fmla="*/ 673790 w 697572"/>
              <a:gd name="csY86" fmla="*/ 1049348 h 1240128"/>
              <a:gd name="csX87" fmla="*/ 675873 w 697572"/>
              <a:gd name="csY87" fmla="*/ 1092839 h 1240128"/>
              <a:gd name="csX88" fmla="*/ 681668 w 697572"/>
              <a:gd name="csY88" fmla="*/ 1129292 h 1240128"/>
              <a:gd name="csX89" fmla="*/ 697338 w 697572"/>
              <a:gd name="csY89" fmla="*/ 1196079 h 1240128"/>
              <a:gd name="csX90" fmla="*/ 690637 w 697572"/>
              <a:gd name="csY90" fmla="*/ 1205035 h 1240128"/>
              <a:gd name="csX91" fmla="*/ 639777 w 697572"/>
              <a:gd name="csY91" fmla="*/ 1217994 h 1240128"/>
              <a:gd name="csX92" fmla="*/ 587072 w 697572"/>
              <a:gd name="csY92" fmla="*/ 1227761 h 1240128"/>
              <a:gd name="csX93" fmla="*/ 581793 w 697572"/>
              <a:gd name="csY93" fmla="*/ 1234401 h 1240128"/>
              <a:gd name="csX94" fmla="*/ 357446 w 697572"/>
              <a:gd name="csY94" fmla="*/ 903795 h 1240128"/>
              <a:gd name="csX95" fmla="*/ 344445 w 697572"/>
              <a:gd name="csY95" fmla="*/ 903795 h 1240128"/>
              <a:gd name="csX96" fmla="*/ 349212 w 697572"/>
              <a:gd name="csY96" fmla="*/ 950515 h 1240128"/>
              <a:gd name="csX97" fmla="*/ 349538 w 697572"/>
              <a:gd name="csY97" fmla="*/ 1069392 h 1240128"/>
              <a:gd name="csX98" fmla="*/ 349415 w 697572"/>
              <a:gd name="csY98" fmla="*/ 1108925 h 1240128"/>
              <a:gd name="csX99" fmla="*/ 647726 w 697572"/>
              <a:gd name="csY99" fmla="*/ 1089872 h 1240128"/>
              <a:gd name="csX100" fmla="*/ 647654 w 697572"/>
              <a:gd name="csY100" fmla="*/ 1076267 h 1240128"/>
              <a:gd name="csX101" fmla="*/ 610267 w 697572"/>
              <a:gd name="csY101" fmla="*/ 994126 h 1240128"/>
              <a:gd name="csX102" fmla="*/ 571459 w 697572"/>
              <a:gd name="csY102" fmla="*/ 956568 h 1240128"/>
              <a:gd name="csX103" fmla="*/ 541653 w 697572"/>
              <a:gd name="csY103" fmla="*/ 901544 h 1240128"/>
              <a:gd name="csX104" fmla="*/ 539477 w 697572"/>
              <a:gd name="csY104" fmla="*/ 895908 h 1240128"/>
              <a:gd name="csX105" fmla="*/ 357446 w 697572"/>
              <a:gd name="csY105" fmla="*/ 903795 h 1240128"/>
              <a:gd name="csX106" fmla="*/ 300108 w 697572"/>
              <a:gd name="csY106" fmla="*/ 85260 h 1240128"/>
              <a:gd name="csX107" fmla="*/ 290213 w 697572"/>
              <a:gd name="csY107" fmla="*/ 127888 h 1240128"/>
              <a:gd name="csX108" fmla="*/ 331056 w 697572"/>
              <a:gd name="csY108" fmla="*/ 214168 h 1240128"/>
              <a:gd name="csX109" fmla="*/ 424717 w 697572"/>
              <a:gd name="csY109" fmla="*/ 245160 h 1240128"/>
              <a:gd name="csX110" fmla="*/ 496752 w 697572"/>
              <a:gd name="csY110" fmla="*/ 141256 h 1240128"/>
              <a:gd name="csX111" fmla="*/ 390320 w 697572"/>
              <a:gd name="csY111" fmla="*/ 43995 h 1240128"/>
              <a:gd name="csX112" fmla="*/ 300108 w 697572"/>
              <a:gd name="csY112" fmla="*/ 85260 h 1240128"/>
              <a:gd name="csX113" fmla="*/ 343360 w 697572"/>
              <a:gd name="csY113" fmla="*/ 634332 h 1240128"/>
              <a:gd name="csX114" fmla="*/ 340877 w 697572"/>
              <a:gd name="csY114" fmla="*/ 732259 h 1240128"/>
              <a:gd name="csX115" fmla="*/ 338360 w 697572"/>
              <a:gd name="csY115" fmla="*/ 810538 h 1240128"/>
              <a:gd name="csX116" fmla="*/ 337115 w 697572"/>
              <a:gd name="csY116" fmla="*/ 817736 h 1240128"/>
              <a:gd name="csX117" fmla="*/ 336516 w 697572"/>
              <a:gd name="csY117" fmla="*/ 863022 h 1240128"/>
              <a:gd name="csX118" fmla="*/ 343436 w 697572"/>
              <a:gd name="csY118" fmla="*/ 864027 h 1240128"/>
              <a:gd name="csX119" fmla="*/ 406718 w 697572"/>
              <a:gd name="csY119" fmla="*/ 862982 h 1240128"/>
              <a:gd name="csX120" fmla="*/ 456888 w 697572"/>
              <a:gd name="csY120" fmla="*/ 861794 h 1240128"/>
              <a:gd name="csX121" fmla="*/ 495873 w 697572"/>
              <a:gd name="csY121" fmla="*/ 863963 h 1240128"/>
              <a:gd name="csX122" fmla="*/ 509286 w 697572"/>
              <a:gd name="csY122" fmla="*/ 863595 h 1240128"/>
              <a:gd name="csX123" fmla="*/ 516956 w 697572"/>
              <a:gd name="csY123" fmla="*/ 856791 h 1240128"/>
              <a:gd name="csX124" fmla="*/ 513920 w 697572"/>
              <a:gd name="csY124" fmla="*/ 848709 h 1240128"/>
              <a:gd name="csX125" fmla="*/ 506683 w 697572"/>
              <a:gd name="csY125" fmla="*/ 839054 h 1240128"/>
              <a:gd name="csX126" fmla="*/ 488629 w 697572"/>
              <a:gd name="csY126" fmla="*/ 799037 h 1240128"/>
              <a:gd name="csX127" fmla="*/ 456922 w 697572"/>
              <a:gd name="csY127" fmla="*/ 696297 h 1240128"/>
              <a:gd name="csX128" fmla="*/ 441346 w 697572"/>
              <a:gd name="csY128" fmla="*/ 619885 h 1240128"/>
              <a:gd name="csX129" fmla="*/ 435963 w 697572"/>
              <a:gd name="csY129" fmla="*/ 582529 h 1240128"/>
              <a:gd name="csX130" fmla="*/ 429497 w 697572"/>
              <a:gd name="csY130" fmla="*/ 521990 h 1240128"/>
              <a:gd name="csX131" fmla="*/ 426887 w 697572"/>
              <a:gd name="csY131" fmla="*/ 471989 h 1240128"/>
              <a:gd name="csX132" fmla="*/ 413744 w 697572"/>
              <a:gd name="csY132" fmla="*/ 461077 h 1240128"/>
              <a:gd name="csX133" fmla="*/ 353573 w 697572"/>
              <a:gd name="csY133" fmla="*/ 461120 h 1240128"/>
              <a:gd name="csX134" fmla="*/ 344160 w 697572"/>
              <a:gd name="csY134" fmla="*/ 462286 h 1240128"/>
              <a:gd name="csX135" fmla="*/ 343404 w 697572"/>
              <a:gd name="csY135" fmla="*/ 469192 h 1240128"/>
              <a:gd name="csX136" fmla="*/ 343469 w 697572"/>
              <a:gd name="csY136" fmla="*/ 574797 h 1240128"/>
              <a:gd name="csX137" fmla="*/ 345522 w 697572"/>
              <a:gd name="csY137" fmla="*/ 591669 h 1240128"/>
              <a:gd name="csX138" fmla="*/ 343360 w 697572"/>
              <a:gd name="csY138" fmla="*/ 634332 h 1240128"/>
              <a:gd name="csX139" fmla="*/ 416946 w 697572"/>
              <a:gd name="csY139" fmla="*/ 385943 h 1240128"/>
              <a:gd name="csX140" fmla="*/ 401091 w 697572"/>
              <a:gd name="csY140" fmla="*/ 387162 h 1240128"/>
              <a:gd name="csX141" fmla="*/ 369218 w 697572"/>
              <a:gd name="csY141" fmla="*/ 387708 h 1240128"/>
              <a:gd name="csX142" fmla="*/ 351833 w 697572"/>
              <a:gd name="csY142" fmla="*/ 398991 h 1240128"/>
              <a:gd name="csX143" fmla="*/ 349778 w 697572"/>
              <a:gd name="csY143" fmla="*/ 426021 h 1240128"/>
              <a:gd name="csX144" fmla="*/ 361839 w 697572"/>
              <a:gd name="csY144" fmla="*/ 426538 h 1240128"/>
              <a:gd name="csX145" fmla="*/ 455022 w 697572"/>
              <a:gd name="csY145" fmla="*/ 426922 h 1240128"/>
              <a:gd name="csX146" fmla="*/ 481958 w 697572"/>
              <a:gd name="csY146" fmla="*/ 426527 h 1240128"/>
              <a:gd name="csX147" fmla="*/ 499817 w 697572"/>
              <a:gd name="csY147" fmla="*/ 419888 h 1240128"/>
              <a:gd name="csX148" fmla="*/ 499439 w 697572"/>
              <a:gd name="csY148" fmla="*/ 400719 h 1240128"/>
              <a:gd name="csX149" fmla="*/ 468062 w 697572"/>
              <a:gd name="csY149" fmla="*/ 387775 h 1240128"/>
              <a:gd name="csX150" fmla="*/ 416946 w 697572"/>
              <a:gd name="csY150" fmla="*/ 385943 h 1240128"/>
              <a:gd name="csX151" fmla="*/ 636802 w 697572"/>
              <a:gd name="csY151" fmla="*/ 1190940 h 1240128"/>
              <a:gd name="csX152" fmla="*/ 666492 w 697572"/>
              <a:gd name="csY152" fmla="*/ 1184186 h 1240128"/>
              <a:gd name="csX153" fmla="*/ 674465 w 697572"/>
              <a:gd name="csY153" fmla="*/ 1170880 h 1240128"/>
              <a:gd name="csX154" fmla="*/ 662462 w 697572"/>
              <a:gd name="csY154" fmla="*/ 1141464 h 1240128"/>
              <a:gd name="csX155" fmla="*/ 645564 w 697572"/>
              <a:gd name="csY155" fmla="*/ 1131937 h 1240128"/>
              <a:gd name="csX156" fmla="*/ 627387 w 697572"/>
              <a:gd name="csY156" fmla="*/ 1133618 h 1240128"/>
              <a:gd name="csX157" fmla="*/ 583917 w 697572"/>
              <a:gd name="csY157" fmla="*/ 1139222 h 1240128"/>
              <a:gd name="csX158" fmla="*/ 543741 w 697572"/>
              <a:gd name="csY158" fmla="*/ 1141869 h 1240128"/>
              <a:gd name="csX159" fmla="*/ 512146 w 697572"/>
              <a:gd name="csY159" fmla="*/ 1144418 h 1240128"/>
              <a:gd name="csX160" fmla="*/ 447711 w 697572"/>
              <a:gd name="csY160" fmla="*/ 1148973 h 1240128"/>
              <a:gd name="csX161" fmla="*/ 351979 w 697572"/>
              <a:gd name="csY161" fmla="*/ 1149200 h 1240128"/>
              <a:gd name="csX162" fmla="*/ 338443 w 697572"/>
              <a:gd name="csY162" fmla="*/ 1150040 h 1240128"/>
              <a:gd name="csX163" fmla="*/ 338451 w 697572"/>
              <a:gd name="csY163" fmla="*/ 1190780 h 1240128"/>
              <a:gd name="csX164" fmla="*/ 351082 w 697572"/>
              <a:gd name="csY164" fmla="*/ 1207015 h 1240128"/>
              <a:gd name="csX165" fmla="*/ 358298 w 697572"/>
              <a:gd name="csY165" fmla="*/ 1208094 h 1240128"/>
              <a:gd name="csX166" fmla="*/ 521229 w 697572"/>
              <a:gd name="csY166" fmla="*/ 1205646 h 1240128"/>
              <a:gd name="csX167" fmla="*/ 523675 w 697572"/>
              <a:gd name="csY167" fmla="*/ 1205490 h 1240128"/>
              <a:gd name="csX168" fmla="*/ 580423 w 697572"/>
              <a:gd name="csY168" fmla="*/ 1198350 h 1240128"/>
              <a:gd name="csX169" fmla="*/ 636802 w 697572"/>
              <a:gd name="csY169" fmla="*/ 1190940 h 124012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</a:cxnLst>
            <a:rect l="l" t="t" r="r" b="b"/>
            <a:pathLst>
              <a:path w="697572" h="1240128">
                <a:moveTo>
                  <a:pt x="581793" y="1234401"/>
                </a:moveTo>
                <a:cubicBezTo>
                  <a:pt x="580693" y="1234661"/>
                  <a:pt x="579594" y="1234922"/>
                  <a:pt x="577427" y="1234156"/>
                </a:cubicBezTo>
                <a:cubicBezTo>
                  <a:pt x="571216" y="1227899"/>
                  <a:pt x="564912" y="1230441"/>
                  <a:pt x="559133" y="1230909"/>
                </a:cubicBezTo>
                <a:cubicBezTo>
                  <a:pt x="544971" y="1232056"/>
                  <a:pt x="530869" y="1233971"/>
                  <a:pt x="516706" y="1235117"/>
                </a:cubicBezTo>
                <a:cubicBezTo>
                  <a:pt x="502910" y="1236232"/>
                  <a:pt x="489077" y="1237097"/>
                  <a:pt x="475244" y="1237506"/>
                </a:cubicBezTo>
                <a:cubicBezTo>
                  <a:pt x="440539" y="1238535"/>
                  <a:pt x="405696" y="1241458"/>
                  <a:pt x="371154" y="1239428"/>
                </a:cubicBezTo>
                <a:cubicBezTo>
                  <a:pt x="339645" y="1237575"/>
                  <a:pt x="308239" y="1238753"/>
                  <a:pt x="276813" y="1237654"/>
                </a:cubicBezTo>
                <a:cubicBezTo>
                  <a:pt x="273949" y="1237553"/>
                  <a:pt x="271079" y="1237652"/>
                  <a:pt x="268212" y="1237635"/>
                </a:cubicBezTo>
                <a:cubicBezTo>
                  <a:pt x="266165" y="1237623"/>
                  <a:pt x="264111" y="1237668"/>
                  <a:pt x="262072" y="1237523"/>
                </a:cubicBezTo>
                <a:cubicBezTo>
                  <a:pt x="239751" y="1235944"/>
                  <a:pt x="217441" y="1234201"/>
                  <a:pt x="195111" y="1232775"/>
                </a:cubicBezTo>
                <a:cubicBezTo>
                  <a:pt x="178437" y="1231710"/>
                  <a:pt x="161712" y="1231378"/>
                  <a:pt x="145060" y="1230076"/>
                </a:cubicBezTo>
                <a:cubicBezTo>
                  <a:pt x="134969" y="1229287"/>
                  <a:pt x="124987" y="1227177"/>
                  <a:pt x="114933" y="1225832"/>
                </a:cubicBezTo>
                <a:cubicBezTo>
                  <a:pt x="100834" y="1223946"/>
                  <a:pt x="86554" y="1223022"/>
                  <a:pt x="72642" y="1220237"/>
                </a:cubicBezTo>
                <a:cubicBezTo>
                  <a:pt x="51920" y="1216091"/>
                  <a:pt x="31443" y="1210723"/>
                  <a:pt x="10894" y="1205737"/>
                </a:cubicBezTo>
                <a:cubicBezTo>
                  <a:pt x="9027" y="1205284"/>
                  <a:pt x="6196" y="1204140"/>
                  <a:pt x="5856" y="1202799"/>
                </a:cubicBezTo>
                <a:cubicBezTo>
                  <a:pt x="3474" y="1193418"/>
                  <a:pt x="-438" y="1183796"/>
                  <a:pt x="40" y="1174450"/>
                </a:cubicBezTo>
                <a:cubicBezTo>
                  <a:pt x="1079" y="1154149"/>
                  <a:pt x="9757" y="1135843"/>
                  <a:pt x="19831" y="1118410"/>
                </a:cubicBezTo>
                <a:cubicBezTo>
                  <a:pt x="21968" y="1114713"/>
                  <a:pt x="22970" y="1111858"/>
                  <a:pt x="22004" y="1107240"/>
                </a:cubicBezTo>
                <a:cubicBezTo>
                  <a:pt x="17168" y="1084118"/>
                  <a:pt x="17717" y="1061168"/>
                  <a:pt x="25947" y="1038650"/>
                </a:cubicBezTo>
                <a:cubicBezTo>
                  <a:pt x="32954" y="1019481"/>
                  <a:pt x="44478" y="1003118"/>
                  <a:pt x="58234" y="988567"/>
                </a:cubicBezTo>
                <a:cubicBezTo>
                  <a:pt x="77769" y="967902"/>
                  <a:pt x="97978" y="947832"/>
                  <a:pt x="118645" y="928298"/>
                </a:cubicBezTo>
                <a:cubicBezTo>
                  <a:pt x="130104" y="917467"/>
                  <a:pt x="131835" y="905961"/>
                  <a:pt x="126320" y="892015"/>
                </a:cubicBezTo>
                <a:cubicBezTo>
                  <a:pt x="123798" y="885637"/>
                  <a:pt x="122123" y="878904"/>
                  <a:pt x="120345" y="872258"/>
                </a:cubicBezTo>
                <a:cubicBezTo>
                  <a:pt x="119029" y="867341"/>
                  <a:pt x="120162" y="863613"/>
                  <a:pt x="125668" y="861640"/>
                </a:cubicBezTo>
                <a:cubicBezTo>
                  <a:pt x="135266" y="858201"/>
                  <a:pt x="144535" y="853788"/>
                  <a:pt x="154237" y="850716"/>
                </a:cubicBezTo>
                <a:cubicBezTo>
                  <a:pt x="161882" y="848296"/>
                  <a:pt x="167110" y="843897"/>
                  <a:pt x="170248" y="836767"/>
                </a:cubicBezTo>
                <a:cubicBezTo>
                  <a:pt x="176168" y="823316"/>
                  <a:pt x="182193" y="809907"/>
                  <a:pt x="187840" y="796341"/>
                </a:cubicBezTo>
                <a:cubicBezTo>
                  <a:pt x="195194" y="778679"/>
                  <a:pt x="202250" y="760894"/>
                  <a:pt x="209346" y="743126"/>
                </a:cubicBezTo>
                <a:cubicBezTo>
                  <a:pt x="210083" y="741280"/>
                  <a:pt x="210252" y="739200"/>
                  <a:pt x="210630" y="737219"/>
                </a:cubicBezTo>
                <a:cubicBezTo>
                  <a:pt x="211694" y="731645"/>
                  <a:pt x="212425" y="725987"/>
                  <a:pt x="213836" y="720505"/>
                </a:cubicBezTo>
                <a:cubicBezTo>
                  <a:pt x="218406" y="702764"/>
                  <a:pt x="223811" y="685219"/>
                  <a:pt x="227791" y="667353"/>
                </a:cubicBezTo>
                <a:cubicBezTo>
                  <a:pt x="232826" y="644755"/>
                  <a:pt x="237367" y="622009"/>
                  <a:pt x="241013" y="599151"/>
                </a:cubicBezTo>
                <a:cubicBezTo>
                  <a:pt x="244018" y="580319"/>
                  <a:pt x="246001" y="561272"/>
                  <a:pt x="247322" y="542242"/>
                </a:cubicBezTo>
                <a:cubicBezTo>
                  <a:pt x="248312" y="527975"/>
                  <a:pt x="246344" y="513451"/>
                  <a:pt x="247948" y="499296"/>
                </a:cubicBezTo>
                <a:cubicBezTo>
                  <a:pt x="249066" y="489432"/>
                  <a:pt x="247923" y="480014"/>
                  <a:pt x="247577" y="470384"/>
                </a:cubicBezTo>
                <a:cubicBezTo>
                  <a:pt x="247364" y="464453"/>
                  <a:pt x="245121" y="461397"/>
                  <a:pt x="238877" y="460987"/>
                </a:cubicBezTo>
                <a:cubicBezTo>
                  <a:pt x="233224" y="460615"/>
                  <a:pt x="227461" y="459920"/>
                  <a:pt x="222040" y="458353"/>
                </a:cubicBezTo>
                <a:cubicBezTo>
                  <a:pt x="203991" y="453134"/>
                  <a:pt x="185737" y="448229"/>
                  <a:pt x="172193" y="433714"/>
                </a:cubicBezTo>
                <a:cubicBezTo>
                  <a:pt x="162702" y="423544"/>
                  <a:pt x="160887" y="408134"/>
                  <a:pt x="168410" y="396591"/>
                </a:cubicBezTo>
                <a:cubicBezTo>
                  <a:pt x="178294" y="381428"/>
                  <a:pt x="193736" y="373793"/>
                  <a:pt x="209826" y="367773"/>
                </a:cubicBezTo>
                <a:cubicBezTo>
                  <a:pt x="223159" y="362784"/>
                  <a:pt x="237124" y="359493"/>
                  <a:pt x="250732" y="355208"/>
                </a:cubicBezTo>
                <a:cubicBezTo>
                  <a:pt x="253085" y="354467"/>
                  <a:pt x="255058" y="352518"/>
                  <a:pt x="258289" y="350426"/>
                </a:cubicBezTo>
                <a:cubicBezTo>
                  <a:pt x="250173" y="342610"/>
                  <a:pt x="241833" y="337880"/>
                  <a:pt x="233274" y="333513"/>
                </a:cubicBezTo>
                <a:cubicBezTo>
                  <a:pt x="232377" y="333055"/>
                  <a:pt x="230890" y="333758"/>
                  <a:pt x="229677" y="333922"/>
                </a:cubicBezTo>
                <a:cubicBezTo>
                  <a:pt x="229677" y="333922"/>
                  <a:pt x="230323" y="333834"/>
                  <a:pt x="230149" y="332979"/>
                </a:cubicBezTo>
                <a:cubicBezTo>
                  <a:pt x="229023" y="330409"/>
                  <a:pt x="228502" y="328059"/>
                  <a:pt x="227053" y="327076"/>
                </a:cubicBezTo>
                <a:cubicBezTo>
                  <a:pt x="213615" y="317962"/>
                  <a:pt x="204643" y="305332"/>
                  <a:pt x="196769" y="291380"/>
                </a:cubicBezTo>
                <a:cubicBezTo>
                  <a:pt x="191792" y="282564"/>
                  <a:pt x="185421" y="274665"/>
                  <a:pt x="184389" y="264042"/>
                </a:cubicBezTo>
                <a:cubicBezTo>
                  <a:pt x="184179" y="261874"/>
                  <a:pt x="181925" y="259908"/>
                  <a:pt x="180630" y="257839"/>
                </a:cubicBezTo>
                <a:cubicBezTo>
                  <a:pt x="179137" y="255454"/>
                  <a:pt x="177317" y="253204"/>
                  <a:pt x="176231" y="250643"/>
                </a:cubicBezTo>
                <a:cubicBezTo>
                  <a:pt x="161865" y="216749"/>
                  <a:pt x="159606" y="182060"/>
                  <a:pt x="170073" y="146723"/>
                </a:cubicBezTo>
                <a:cubicBezTo>
                  <a:pt x="173311" y="135795"/>
                  <a:pt x="177248" y="125074"/>
                  <a:pt x="180929" y="114280"/>
                </a:cubicBezTo>
                <a:cubicBezTo>
                  <a:pt x="182396" y="109981"/>
                  <a:pt x="183922" y="105742"/>
                  <a:pt x="180839" y="101501"/>
                </a:cubicBezTo>
                <a:cubicBezTo>
                  <a:pt x="192473" y="75833"/>
                  <a:pt x="211344" y="56271"/>
                  <a:pt x="233536" y="39653"/>
                </a:cubicBezTo>
                <a:cubicBezTo>
                  <a:pt x="267321" y="14353"/>
                  <a:pt x="305621" y="873"/>
                  <a:pt x="347618" y="35"/>
                </a:cubicBezTo>
                <a:cubicBezTo>
                  <a:pt x="379125" y="-593"/>
                  <a:pt x="409214" y="7172"/>
                  <a:pt x="437139" y="22396"/>
                </a:cubicBezTo>
                <a:cubicBezTo>
                  <a:pt x="481844" y="46766"/>
                  <a:pt x="514077" y="82116"/>
                  <a:pt x="529052" y="131093"/>
                </a:cubicBezTo>
                <a:cubicBezTo>
                  <a:pt x="543544" y="178495"/>
                  <a:pt x="541630" y="225548"/>
                  <a:pt x="518497" y="271517"/>
                </a:cubicBezTo>
                <a:cubicBezTo>
                  <a:pt x="511428" y="277096"/>
                  <a:pt x="503848" y="281136"/>
                  <a:pt x="500808" y="287385"/>
                </a:cubicBezTo>
                <a:cubicBezTo>
                  <a:pt x="493932" y="301522"/>
                  <a:pt x="483805" y="312513"/>
                  <a:pt x="472948" y="323290"/>
                </a:cubicBezTo>
                <a:cubicBezTo>
                  <a:pt x="470972" y="325253"/>
                  <a:pt x="470533" y="328767"/>
                  <a:pt x="469385" y="331565"/>
                </a:cubicBezTo>
                <a:cubicBezTo>
                  <a:pt x="469385" y="331565"/>
                  <a:pt x="469172" y="331584"/>
                  <a:pt x="468293" y="331320"/>
                </a:cubicBezTo>
                <a:cubicBezTo>
                  <a:pt x="461937" y="330836"/>
                  <a:pt x="458618" y="332772"/>
                  <a:pt x="459542" y="338942"/>
                </a:cubicBezTo>
                <a:cubicBezTo>
                  <a:pt x="459542" y="338942"/>
                  <a:pt x="459473" y="338913"/>
                  <a:pt x="458492" y="338671"/>
                </a:cubicBezTo>
                <a:cubicBezTo>
                  <a:pt x="450936" y="342653"/>
                  <a:pt x="440712" y="341355"/>
                  <a:pt x="436978" y="352226"/>
                </a:cubicBezTo>
                <a:cubicBezTo>
                  <a:pt x="449178" y="355911"/>
                  <a:pt x="460733" y="359469"/>
                  <a:pt x="472329" y="362890"/>
                </a:cubicBezTo>
                <a:cubicBezTo>
                  <a:pt x="491728" y="368613"/>
                  <a:pt x="510182" y="375784"/>
                  <a:pt x="523779" y="391962"/>
                </a:cubicBezTo>
                <a:cubicBezTo>
                  <a:pt x="535849" y="406326"/>
                  <a:pt x="534845" y="420076"/>
                  <a:pt x="527344" y="430096"/>
                </a:cubicBezTo>
                <a:cubicBezTo>
                  <a:pt x="521323" y="438139"/>
                  <a:pt x="513928" y="445333"/>
                  <a:pt x="504112" y="449628"/>
                </a:cubicBezTo>
                <a:cubicBezTo>
                  <a:pt x="489776" y="455901"/>
                  <a:pt x="475173" y="460486"/>
                  <a:pt x="459430" y="461116"/>
                </a:cubicBezTo>
                <a:cubicBezTo>
                  <a:pt x="448415" y="461557"/>
                  <a:pt x="446384" y="463369"/>
                  <a:pt x="446666" y="474229"/>
                </a:cubicBezTo>
                <a:cubicBezTo>
                  <a:pt x="447164" y="493376"/>
                  <a:pt x="447839" y="512533"/>
                  <a:pt x="449133" y="531639"/>
                </a:cubicBezTo>
                <a:cubicBezTo>
                  <a:pt x="450424" y="550696"/>
                  <a:pt x="451783" y="569809"/>
                  <a:pt x="454546" y="588688"/>
                </a:cubicBezTo>
                <a:cubicBezTo>
                  <a:pt x="457543" y="609164"/>
                  <a:pt x="462165" y="629403"/>
                  <a:pt x="466126" y="649736"/>
                </a:cubicBezTo>
                <a:cubicBezTo>
                  <a:pt x="475845" y="699621"/>
                  <a:pt x="493414" y="746980"/>
                  <a:pt x="512154" y="794006"/>
                </a:cubicBezTo>
                <a:cubicBezTo>
                  <a:pt x="517387" y="807138"/>
                  <a:pt x="525145" y="819463"/>
                  <a:pt x="525763" y="834323"/>
                </a:cubicBezTo>
                <a:cubicBezTo>
                  <a:pt x="525919" y="838081"/>
                  <a:pt x="527739" y="843335"/>
                  <a:pt x="530555" y="845114"/>
                </a:cubicBezTo>
                <a:cubicBezTo>
                  <a:pt x="537981" y="849801"/>
                  <a:pt x="546243" y="853278"/>
                  <a:pt x="554424" y="856618"/>
                </a:cubicBezTo>
                <a:cubicBezTo>
                  <a:pt x="560391" y="859054"/>
                  <a:pt x="567041" y="859887"/>
                  <a:pt x="572880" y="862546"/>
                </a:cubicBezTo>
                <a:cubicBezTo>
                  <a:pt x="581470" y="866458"/>
                  <a:pt x="582467" y="871415"/>
                  <a:pt x="578643" y="880396"/>
                </a:cubicBezTo>
                <a:cubicBezTo>
                  <a:pt x="575969" y="886677"/>
                  <a:pt x="572900" y="893182"/>
                  <a:pt x="572188" y="899820"/>
                </a:cubicBezTo>
                <a:cubicBezTo>
                  <a:pt x="570960" y="911271"/>
                  <a:pt x="576506" y="920944"/>
                  <a:pt x="582698" y="930382"/>
                </a:cubicBezTo>
                <a:cubicBezTo>
                  <a:pt x="589569" y="940856"/>
                  <a:pt x="600933" y="947930"/>
                  <a:pt x="604747" y="960852"/>
                </a:cubicBezTo>
                <a:cubicBezTo>
                  <a:pt x="605684" y="964030"/>
                  <a:pt x="610294" y="967128"/>
                  <a:pt x="613863" y="968311"/>
                </a:cubicBezTo>
                <a:cubicBezTo>
                  <a:pt x="620963" y="970665"/>
                  <a:pt x="625924" y="974774"/>
                  <a:pt x="629435" y="981186"/>
                </a:cubicBezTo>
                <a:cubicBezTo>
                  <a:pt x="630381" y="982913"/>
                  <a:pt x="631977" y="984459"/>
                  <a:pt x="633611" y="985609"/>
                </a:cubicBezTo>
                <a:cubicBezTo>
                  <a:pt x="655878" y="1001272"/>
                  <a:pt x="668032" y="1023762"/>
                  <a:pt x="673790" y="1049348"/>
                </a:cubicBezTo>
                <a:cubicBezTo>
                  <a:pt x="676936" y="1063327"/>
                  <a:pt x="679769" y="1077802"/>
                  <a:pt x="675873" y="1092839"/>
                </a:cubicBezTo>
                <a:cubicBezTo>
                  <a:pt x="672677" y="1105174"/>
                  <a:pt x="673042" y="1116963"/>
                  <a:pt x="681668" y="1129292"/>
                </a:cubicBezTo>
                <a:cubicBezTo>
                  <a:pt x="695321" y="1148802"/>
                  <a:pt x="698550" y="1172235"/>
                  <a:pt x="697338" y="1196079"/>
                </a:cubicBezTo>
                <a:cubicBezTo>
                  <a:pt x="697087" y="1201014"/>
                  <a:pt x="694979" y="1203886"/>
                  <a:pt x="690637" y="1205035"/>
                </a:cubicBezTo>
                <a:cubicBezTo>
                  <a:pt x="673723" y="1209511"/>
                  <a:pt x="656856" y="1214241"/>
                  <a:pt x="639777" y="1217994"/>
                </a:cubicBezTo>
                <a:cubicBezTo>
                  <a:pt x="622334" y="1221827"/>
                  <a:pt x="604691" y="1224790"/>
                  <a:pt x="587072" y="1227761"/>
                </a:cubicBezTo>
                <a:cubicBezTo>
                  <a:pt x="582708" y="1228497"/>
                  <a:pt x="581724" y="1230736"/>
                  <a:pt x="581793" y="1234401"/>
                </a:cubicBezTo>
                <a:moveTo>
                  <a:pt x="357446" y="903795"/>
                </a:moveTo>
                <a:cubicBezTo>
                  <a:pt x="353141" y="903795"/>
                  <a:pt x="348835" y="903795"/>
                  <a:pt x="344445" y="903795"/>
                </a:cubicBezTo>
                <a:cubicBezTo>
                  <a:pt x="346169" y="920562"/>
                  <a:pt x="347908" y="935520"/>
                  <a:pt x="349212" y="950515"/>
                </a:cubicBezTo>
                <a:cubicBezTo>
                  <a:pt x="352656" y="990125"/>
                  <a:pt x="351941" y="1029743"/>
                  <a:pt x="349538" y="1069392"/>
                </a:cubicBezTo>
                <a:cubicBezTo>
                  <a:pt x="348759" y="1082241"/>
                  <a:pt x="349415" y="1095176"/>
                  <a:pt x="349415" y="1108925"/>
                </a:cubicBezTo>
                <a:cubicBezTo>
                  <a:pt x="449467" y="1111953"/>
                  <a:pt x="548509" y="1104712"/>
                  <a:pt x="647726" y="1089872"/>
                </a:cubicBezTo>
                <a:cubicBezTo>
                  <a:pt x="647726" y="1084313"/>
                  <a:pt x="648180" y="1080225"/>
                  <a:pt x="647654" y="1076267"/>
                </a:cubicBezTo>
                <a:cubicBezTo>
                  <a:pt x="643515" y="1045124"/>
                  <a:pt x="633172" y="1016714"/>
                  <a:pt x="610267" y="994126"/>
                </a:cubicBezTo>
                <a:cubicBezTo>
                  <a:pt x="597451" y="981485"/>
                  <a:pt x="584392" y="969090"/>
                  <a:pt x="571459" y="956568"/>
                </a:cubicBezTo>
                <a:cubicBezTo>
                  <a:pt x="555751" y="941359"/>
                  <a:pt x="544836" y="923558"/>
                  <a:pt x="541653" y="901544"/>
                </a:cubicBezTo>
                <a:cubicBezTo>
                  <a:pt x="541430" y="900007"/>
                  <a:pt x="540528" y="898570"/>
                  <a:pt x="539477" y="895908"/>
                </a:cubicBezTo>
                <a:cubicBezTo>
                  <a:pt x="479736" y="901652"/>
                  <a:pt x="419815" y="904536"/>
                  <a:pt x="357446" y="903795"/>
                </a:cubicBezTo>
                <a:moveTo>
                  <a:pt x="300108" y="85260"/>
                </a:moveTo>
                <a:cubicBezTo>
                  <a:pt x="293656" y="98745"/>
                  <a:pt x="289202" y="113094"/>
                  <a:pt x="290213" y="127888"/>
                </a:cubicBezTo>
                <a:cubicBezTo>
                  <a:pt x="292527" y="161736"/>
                  <a:pt x="304185" y="191723"/>
                  <a:pt x="331056" y="214168"/>
                </a:cubicBezTo>
                <a:cubicBezTo>
                  <a:pt x="358172" y="236816"/>
                  <a:pt x="388435" y="249934"/>
                  <a:pt x="424717" y="245160"/>
                </a:cubicBezTo>
                <a:cubicBezTo>
                  <a:pt x="468593" y="239387"/>
                  <a:pt x="509574" y="203365"/>
                  <a:pt x="496752" y="141256"/>
                </a:cubicBezTo>
                <a:cubicBezTo>
                  <a:pt x="487021" y="94124"/>
                  <a:pt x="447261" y="51874"/>
                  <a:pt x="390320" y="43995"/>
                </a:cubicBezTo>
                <a:cubicBezTo>
                  <a:pt x="353241" y="38865"/>
                  <a:pt x="321136" y="48750"/>
                  <a:pt x="300108" y="85260"/>
                </a:cubicBezTo>
                <a:moveTo>
                  <a:pt x="343360" y="634332"/>
                </a:moveTo>
                <a:cubicBezTo>
                  <a:pt x="342539" y="666975"/>
                  <a:pt x="341785" y="699619"/>
                  <a:pt x="340877" y="732259"/>
                </a:cubicBezTo>
                <a:cubicBezTo>
                  <a:pt x="340151" y="758355"/>
                  <a:pt x="339265" y="784447"/>
                  <a:pt x="338360" y="810538"/>
                </a:cubicBezTo>
                <a:cubicBezTo>
                  <a:pt x="338277" y="812948"/>
                  <a:pt x="337465" y="815325"/>
                  <a:pt x="337115" y="817736"/>
                </a:cubicBezTo>
                <a:cubicBezTo>
                  <a:pt x="334935" y="832710"/>
                  <a:pt x="336026" y="847647"/>
                  <a:pt x="336516" y="863022"/>
                </a:cubicBezTo>
                <a:cubicBezTo>
                  <a:pt x="339537" y="863479"/>
                  <a:pt x="341490" y="864053"/>
                  <a:pt x="343436" y="864027"/>
                </a:cubicBezTo>
                <a:cubicBezTo>
                  <a:pt x="364531" y="863739"/>
                  <a:pt x="385626" y="863422"/>
                  <a:pt x="406718" y="862982"/>
                </a:cubicBezTo>
                <a:cubicBezTo>
                  <a:pt x="423444" y="862634"/>
                  <a:pt x="440168" y="861675"/>
                  <a:pt x="456888" y="861794"/>
                </a:cubicBezTo>
                <a:cubicBezTo>
                  <a:pt x="469887" y="861886"/>
                  <a:pt x="482872" y="863302"/>
                  <a:pt x="495873" y="863963"/>
                </a:cubicBezTo>
                <a:cubicBezTo>
                  <a:pt x="500358" y="864191"/>
                  <a:pt x="505108" y="864773"/>
                  <a:pt x="509286" y="863595"/>
                </a:cubicBezTo>
                <a:cubicBezTo>
                  <a:pt x="512346" y="862732"/>
                  <a:pt x="515714" y="859703"/>
                  <a:pt x="516956" y="856791"/>
                </a:cubicBezTo>
                <a:cubicBezTo>
                  <a:pt x="517783" y="854851"/>
                  <a:pt x="515475" y="851192"/>
                  <a:pt x="513920" y="848709"/>
                </a:cubicBezTo>
                <a:cubicBezTo>
                  <a:pt x="511791" y="845308"/>
                  <a:pt x="508393" y="842606"/>
                  <a:pt x="506683" y="839054"/>
                </a:cubicBezTo>
                <a:cubicBezTo>
                  <a:pt x="500331" y="825864"/>
                  <a:pt x="493224" y="812855"/>
                  <a:pt x="488629" y="799037"/>
                </a:cubicBezTo>
                <a:cubicBezTo>
                  <a:pt x="477322" y="765031"/>
                  <a:pt x="466537" y="730814"/>
                  <a:pt x="456922" y="696297"/>
                </a:cubicBezTo>
                <a:cubicBezTo>
                  <a:pt x="449953" y="671276"/>
                  <a:pt x="443477" y="646020"/>
                  <a:pt x="441346" y="619885"/>
                </a:cubicBezTo>
                <a:cubicBezTo>
                  <a:pt x="440327" y="607371"/>
                  <a:pt x="437466" y="595018"/>
                  <a:pt x="435963" y="582529"/>
                </a:cubicBezTo>
                <a:cubicBezTo>
                  <a:pt x="433539" y="562380"/>
                  <a:pt x="431154" y="542212"/>
                  <a:pt x="429497" y="521990"/>
                </a:cubicBezTo>
                <a:cubicBezTo>
                  <a:pt x="428135" y="505363"/>
                  <a:pt x="428437" y="488593"/>
                  <a:pt x="426887" y="471989"/>
                </a:cubicBezTo>
                <a:cubicBezTo>
                  <a:pt x="425874" y="461140"/>
                  <a:pt x="424983" y="461120"/>
                  <a:pt x="413744" y="461077"/>
                </a:cubicBezTo>
                <a:cubicBezTo>
                  <a:pt x="393687" y="461000"/>
                  <a:pt x="373630" y="461011"/>
                  <a:pt x="353573" y="461120"/>
                </a:cubicBezTo>
                <a:cubicBezTo>
                  <a:pt x="350472" y="461137"/>
                  <a:pt x="347374" y="461869"/>
                  <a:pt x="344160" y="462286"/>
                </a:cubicBezTo>
                <a:cubicBezTo>
                  <a:pt x="343828" y="465198"/>
                  <a:pt x="343406" y="467195"/>
                  <a:pt x="343404" y="469192"/>
                </a:cubicBezTo>
                <a:cubicBezTo>
                  <a:pt x="343360" y="504394"/>
                  <a:pt x="343267" y="539596"/>
                  <a:pt x="343469" y="574797"/>
                </a:cubicBezTo>
                <a:cubicBezTo>
                  <a:pt x="343501" y="580426"/>
                  <a:pt x="345652" y="586065"/>
                  <a:pt x="345522" y="591669"/>
                </a:cubicBezTo>
                <a:cubicBezTo>
                  <a:pt x="345214" y="605082"/>
                  <a:pt x="344131" y="618478"/>
                  <a:pt x="343360" y="634332"/>
                </a:cubicBezTo>
                <a:moveTo>
                  <a:pt x="416946" y="385943"/>
                </a:moveTo>
                <a:cubicBezTo>
                  <a:pt x="411661" y="386365"/>
                  <a:pt x="406384" y="387006"/>
                  <a:pt x="401091" y="387162"/>
                </a:cubicBezTo>
                <a:cubicBezTo>
                  <a:pt x="390470" y="387477"/>
                  <a:pt x="379841" y="387447"/>
                  <a:pt x="369218" y="387708"/>
                </a:cubicBezTo>
                <a:cubicBezTo>
                  <a:pt x="361167" y="387906"/>
                  <a:pt x="354429" y="391368"/>
                  <a:pt x="351833" y="398991"/>
                </a:cubicBezTo>
                <a:cubicBezTo>
                  <a:pt x="348989" y="407342"/>
                  <a:pt x="347050" y="416214"/>
                  <a:pt x="349778" y="426021"/>
                </a:cubicBezTo>
                <a:cubicBezTo>
                  <a:pt x="353876" y="426204"/>
                  <a:pt x="357857" y="426517"/>
                  <a:pt x="361839" y="426538"/>
                </a:cubicBezTo>
                <a:cubicBezTo>
                  <a:pt x="392900" y="426701"/>
                  <a:pt x="423961" y="426826"/>
                  <a:pt x="455022" y="426922"/>
                </a:cubicBezTo>
                <a:cubicBezTo>
                  <a:pt x="464013" y="426950"/>
                  <a:pt x="473106" y="427654"/>
                  <a:pt x="481958" y="426527"/>
                </a:cubicBezTo>
                <a:cubicBezTo>
                  <a:pt x="488144" y="425740"/>
                  <a:pt x="494821" y="423501"/>
                  <a:pt x="499817" y="419888"/>
                </a:cubicBezTo>
                <a:cubicBezTo>
                  <a:pt x="507869" y="414066"/>
                  <a:pt x="507286" y="406755"/>
                  <a:pt x="499439" y="400719"/>
                </a:cubicBezTo>
                <a:cubicBezTo>
                  <a:pt x="490179" y="393597"/>
                  <a:pt x="479486" y="388885"/>
                  <a:pt x="468062" y="387775"/>
                </a:cubicBezTo>
                <a:cubicBezTo>
                  <a:pt x="451873" y="386202"/>
                  <a:pt x="435520" y="386321"/>
                  <a:pt x="416946" y="385943"/>
                </a:cubicBezTo>
                <a:moveTo>
                  <a:pt x="636802" y="1190940"/>
                </a:moveTo>
                <a:cubicBezTo>
                  <a:pt x="646709" y="1188723"/>
                  <a:pt x="656705" y="1186841"/>
                  <a:pt x="666492" y="1184186"/>
                </a:cubicBezTo>
                <a:cubicBezTo>
                  <a:pt x="674710" y="1181958"/>
                  <a:pt x="676989" y="1178509"/>
                  <a:pt x="674465" y="1170880"/>
                </a:cubicBezTo>
                <a:cubicBezTo>
                  <a:pt x="671144" y="1160843"/>
                  <a:pt x="667026" y="1151009"/>
                  <a:pt x="662462" y="1141464"/>
                </a:cubicBezTo>
                <a:cubicBezTo>
                  <a:pt x="659273" y="1134795"/>
                  <a:pt x="653671" y="1130908"/>
                  <a:pt x="645564" y="1131937"/>
                </a:cubicBezTo>
                <a:cubicBezTo>
                  <a:pt x="639532" y="1132703"/>
                  <a:pt x="633423" y="1132867"/>
                  <a:pt x="627387" y="1133618"/>
                </a:cubicBezTo>
                <a:cubicBezTo>
                  <a:pt x="612888" y="1135421"/>
                  <a:pt x="598449" y="1137770"/>
                  <a:pt x="583917" y="1139222"/>
                </a:cubicBezTo>
                <a:cubicBezTo>
                  <a:pt x="570571" y="1140557"/>
                  <a:pt x="557130" y="1140930"/>
                  <a:pt x="543741" y="1141869"/>
                </a:cubicBezTo>
                <a:cubicBezTo>
                  <a:pt x="533202" y="1142610"/>
                  <a:pt x="522682" y="1143623"/>
                  <a:pt x="512146" y="1144418"/>
                </a:cubicBezTo>
                <a:cubicBezTo>
                  <a:pt x="490671" y="1146038"/>
                  <a:pt x="469214" y="1148450"/>
                  <a:pt x="447711" y="1148973"/>
                </a:cubicBezTo>
                <a:cubicBezTo>
                  <a:pt x="415817" y="1149749"/>
                  <a:pt x="383891" y="1149136"/>
                  <a:pt x="351979" y="1149200"/>
                </a:cubicBezTo>
                <a:cubicBezTo>
                  <a:pt x="347698" y="1149209"/>
                  <a:pt x="343419" y="1149717"/>
                  <a:pt x="338443" y="1150040"/>
                </a:cubicBezTo>
                <a:cubicBezTo>
                  <a:pt x="338443" y="1164651"/>
                  <a:pt x="338413" y="1177715"/>
                  <a:pt x="338451" y="1190780"/>
                </a:cubicBezTo>
                <a:cubicBezTo>
                  <a:pt x="338490" y="1204031"/>
                  <a:pt x="338512" y="1204062"/>
                  <a:pt x="351082" y="1207015"/>
                </a:cubicBezTo>
                <a:cubicBezTo>
                  <a:pt x="353445" y="1207570"/>
                  <a:pt x="355895" y="1208128"/>
                  <a:pt x="358298" y="1208094"/>
                </a:cubicBezTo>
                <a:cubicBezTo>
                  <a:pt x="412608" y="1207329"/>
                  <a:pt x="466919" y="1206484"/>
                  <a:pt x="521229" y="1205646"/>
                </a:cubicBezTo>
                <a:cubicBezTo>
                  <a:pt x="522045" y="1205634"/>
                  <a:pt x="522865" y="1205591"/>
                  <a:pt x="523675" y="1205490"/>
                </a:cubicBezTo>
                <a:cubicBezTo>
                  <a:pt x="542593" y="1203123"/>
                  <a:pt x="561519" y="1200820"/>
                  <a:pt x="580423" y="1198350"/>
                </a:cubicBezTo>
                <a:cubicBezTo>
                  <a:pt x="598523" y="1195985"/>
                  <a:pt x="616599" y="1193446"/>
                  <a:pt x="636802" y="1190940"/>
                </a:cubicBez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2" name="Free-form: Shape 21">
            <a:extLst>
              <a:ext uri="{FF2B5EF4-FFF2-40B4-BE49-F238E27FC236}">
                <a16:creationId xmlns:a16="http://schemas.microsoft.com/office/drawing/2014/main" id="{21A00871-F869-A610-2082-93E94204E70E}"/>
              </a:ext>
            </a:extLst>
          </p:cNvPr>
          <p:cNvSpPr/>
          <p:nvPr/>
        </p:nvSpPr>
        <p:spPr>
          <a:xfrm>
            <a:off x="1774312" y="2842486"/>
            <a:ext cx="17183" cy="1817"/>
          </a:xfrm>
          <a:custGeom>
            <a:avLst/>
            <a:gdLst>
              <a:gd name="csX0" fmla="*/ 0 w 27674"/>
              <a:gd name="csY0" fmla="*/ 2915 h 2925"/>
              <a:gd name="csX1" fmla="*/ 27675 w 27674"/>
              <a:gd name="csY1" fmla="*/ 1550 h 2925"/>
              <a:gd name="csX2" fmla="*/ 0 w 27674"/>
              <a:gd name="csY2" fmla="*/ 2915 h 292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27674" h="2925">
                <a:moveTo>
                  <a:pt x="0" y="2915"/>
                </a:moveTo>
                <a:cubicBezTo>
                  <a:pt x="8211" y="-1939"/>
                  <a:pt x="17625" y="498"/>
                  <a:pt x="27675" y="1550"/>
                </a:cubicBezTo>
                <a:cubicBezTo>
                  <a:pt x="19225" y="2593"/>
                  <a:pt x="10029" y="2999"/>
                  <a:pt x="0" y="2915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3" name="Free-form: Shape 22">
            <a:extLst>
              <a:ext uri="{FF2B5EF4-FFF2-40B4-BE49-F238E27FC236}">
                <a16:creationId xmlns:a16="http://schemas.microsoft.com/office/drawing/2014/main" id="{55B40DC7-BCAD-190D-9F66-5DC775BCEF02}"/>
              </a:ext>
            </a:extLst>
          </p:cNvPr>
          <p:cNvSpPr/>
          <p:nvPr/>
        </p:nvSpPr>
        <p:spPr>
          <a:xfrm>
            <a:off x="1727008" y="2843510"/>
            <a:ext cx="11179" cy="700"/>
          </a:xfrm>
          <a:custGeom>
            <a:avLst/>
            <a:gdLst>
              <a:gd name="csX0" fmla="*/ 0 w 18003"/>
              <a:gd name="csY0" fmla="*/ 1050 h 1128"/>
              <a:gd name="csX1" fmla="*/ 18004 w 18003"/>
              <a:gd name="csY1" fmla="*/ 93 h 1128"/>
              <a:gd name="csX2" fmla="*/ 0 w 18003"/>
              <a:gd name="csY2" fmla="*/ 1050 h 112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8003" h="1128">
                <a:moveTo>
                  <a:pt x="0" y="1050"/>
                </a:moveTo>
                <a:cubicBezTo>
                  <a:pt x="5276" y="182"/>
                  <a:pt x="11306" y="-189"/>
                  <a:pt x="18004" y="93"/>
                </a:cubicBezTo>
                <a:cubicBezTo>
                  <a:pt x="12699" y="1013"/>
                  <a:pt x="6726" y="1280"/>
                  <a:pt x="0" y="1050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4" name="Free-form: Shape 23">
            <a:extLst>
              <a:ext uri="{FF2B5EF4-FFF2-40B4-BE49-F238E27FC236}">
                <a16:creationId xmlns:a16="http://schemas.microsoft.com/office/drawing/2014/main" id="{4E40FC12-F620-395A-F5A7-351AB12B3966}"/>
              </a:ext>
            </a:extLst>
          </p:cNvPr>
          <p:cNvSpPr/>
          <p:nvPr/>
        </p:nvSpPr>
        <p:spPr>
          <a:xfrm>
            <a:off x="1807975" y="2276710"/>
            <a:ext cx="5257" cy="4867"/>
          </a:xfrm>
          <a:custGeom>
            <a:avLst/>
            <a:gdLst>
              <a:gd name="csX0" fmla="*/ 473 w 8466"/>
              <a:gd name="csY0" fmla="*/ 7839 h 7838"/>
              <a:gd name="csX1" fmla="*/ 8466 w 8466"/>
              <a:gd name="csY1" fmla="*/ 61 h 7838"/>
              <a:gd name="csX2" fmla="*/ 473 w 8466"/>
              <a:gd name="csY2" fmla="*/ 7839 h 783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66" h="7838">
                <a:moveTo>
                  <a:pt x="473" y="7839"/>
                </a:moveTo>
                <a:cubicBezTo>
                  <a:pt x="-1298" y="1550"/>
                  <a:pt x="2020" y="-386"/>
                  <a:pt x="8466" y="61"/>
                </a:cubicBezTo>
                <a:cubicBezTo>
                  <a:pt x="6730" y="2845"/>
                  <a:pt x="4026" y="5401"/>
                  <a:pt x="473" y="7839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5" name="Free-form: Shape 24">
            <a:extLst>
              <a:ext uri="{FF2B5EF4-FFF2-40B4-BE49-F238E27FC236}">
                <a16:creationId xmlns:a16="http://schemas.microsoft.com/office/drawing/2014/main" id="{4D81512E-7B60-94B7-231A-C9F81287AB39}"/>
              </a:ext>
            </a:extLst>
          </p:cNvPr>
          <p:cNvSpPr/>
          <p:nvPr/>
        </p:nvSpPr>
        <p:spPr>
          <a:xfrm>
            <a:off x="1671979" y="2841996"/>
            <a:ext cx="5265" cy="618"/>
          </a:xfrm>
          <a:custGeom>
            <a:avLst/>
            <a:gdLst>
              <a:gd name="csX0" fmla="*/ 0 w 8480"/>
              <a:gd name="csY0" fmla="*/ 896 h 996"/>
              <a:gd name="csX1" fmla="*/ 8480 w 8480"/>
              <a:gd name="csY1" fmla="*/ 110 h 996"/>
              <a:gd name="csX2" fmla="*/ 0 w 8480"/>
              <a:gd name="csY2" fmla="*/ 896 h 99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80" h="996">
                <a:moveTo>
                  <a:pt x="0" y="896"/>
                </a:moveTo>
                <a:cubicBezTo>
                  <a:pt x="2285" y="115"/>
                  <a:pt x="5130" y="-182"/>
                  <a:pt x="8480" y="110"/>
                </a:cubicBezTo>
                <a:cubicBezTo>
                  <a:pt x="6177" y="927"/>
                  <a:pt x="3368" y="1153"/>
                  <a:pt x="0" y="896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6" name="Free-form: Shape 25">
            <a:extLst>
              <a:ext uri="{FF2B5EF4-FFF2-40B4-BE49-F238E27FC236}">
                <a16:creationId xmlns:a16="http://schemas.microsoft.com/office/drawing/2014/main" id="{EE2EDE44-23E1-FE09-59D7-65E0206D9831}"/>
              </a:ext>
            </a:extLst>
          </p:cNvPr>
          <p:cNvSpPr/>
          <p:nvPr/>
        </p:nvSpPr>
        <p:spPr>
          <a:xfrm>
            <a:off x="1958740" y="2815467"/>
            <a:ext cx="763" cy="4134"/>
          </a:xfrm>
          <a:custGeom>
            <a:avLst/>
            <a:gdLst>
              <a:gd name="csX0" fmla="*/ 132 w 1229"/>
              <a:gd name="csY0" fmla="*/ 6659 h 6658"/>
              <a:gd name="csX1" fmla="*/ 1107 w 1229"/>
              <a:gd name="csY1" fmla="*/ 0 h 6658"/>
              <a:gd name="csX2" fmla="*/ 132 w 1229"/>
              <a:gd name="csY2" fmla="*/ 6659 h 665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229" h="6658">
                <a:moveTo>
                  <a:pt x="132" y="6659"/>
                </a:moveTo>
                <a:cubicBezTo>
                  <a:pt x="-219" y="4616"/>
                  <a:pt x="139" y="2560"/>
                  <a:pt x="1107" y="0"/>
                </a:cubicBezTo>
                <a:cubicBezTo>
                  <a:pt x="1425" y="1879"/>
                  <a:pt x="1133" y="4263"/>
                  <a:pt x="132" y="6659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7" name="Free-form: Shape 26">
            <a:extLst>
              <a:ext uri="{FF2B5EF4-FFF2-40B4-BE49-F238E27FC236}">
                <a16:creationId xmlns:a16="http://schemas.microsoft.com/office/drawing/2014/main" id="{D5E801EF-BD1A-2F78-1CB9-802773355BD6}"/>
              </a:ext>
            </a:extLst>
          </p:cNvPr>
          <p:cNvSpPr/>
          <p:nvPr/>
        </p:nvSpPr>
        <p:spPr>
          <a:xfrm>
            <a:off x="1891544" y="2835744"/>
            <a:ext cx="2352" cy="847"/>
          </a:xfrm>
          <a:custGeom>
            <a:avLst/>
            <a:gdLst>
              <a:gd name="csX0" fmla="*/ 0 w 3788"/>
              <a:gd name="csY0" fmla="*/ 1364 h 1364"/>
              <a:gd name="csX1" fmla="*/ 3788 w 3788"/>
              <a:gd name="csY1" fmla="*/ 0 h 1364"/>
              <a:gd name="csX2" fmla="*/ 0 w 3788"/>
              <a:gd name="csY2" fmla="*/ 1364 h 136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788" h="1364">
                <a:moveTo>
                  <a:pt x="0" y="1364"/>
                </a:moveTo>
                <a:cubicBezTo>
                  <a:pt x="856" y="517"/>
                  <a:pt x="2126" y="39"/>
                  <a:pt x="3788" y="0"/>
                </a:cubicBezTo>
                <a:cubicBezTo>
                  <a:pt x="2925" y="870"/>
                  <a:pt x="1670" y="1303"/>
                  <a:pt x="0" y="1364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" name="Free-form: Shape 27">
            <a:extLst>
              <a:ext uri="{FF2B5EF4-FFF2-40B4-BE49-F238E27FC236}">
                <a16:creationId xmlns:a16="http://schemas.microsoft.com/office/drawing/2014/main" id="{FB5D0CEE-CB0D-82F4-5996-F0417928ED75}"/>
              </a:ext>
            </a:extLst>
          </p:cNvPr>
          <p:cNvSpPr/>
          <p:nvPr/>
        </p:nvSpPr>
        <p:spPr>
          <a:xfrm>
            <a:off x="1619961" y="2839018"/>
            <a:ext cx="2478" cy="515"/>
          </a:xfrm>
          <a:custGeom>
            <a:avLst/>
            <a:gdLst>
              <a:gd name="csX0" fmla="*/ 0 w 3990"/>
              <a:gd name="csY0" fmla="*/ 719 h 829"/>
              <a:gd name="csX1" fmla="*/ 3990 w 3990"/>
              <a:gd name="csY1" fmla="*/ 119 h 829"/>
              <a:gd name="csX2" fmla="*/ 0 w 3990"/>
              <a:gd name="csY2" fmla="*/ 719 h 82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990" h="829">
                <a:moveTo>
                  <a:pt x="0" y="719"/>
                </a:moveTo>
                <a:cubicBezTo>
                  <a:pt x="982" y="66"/>
                  <a:pt x="2323" y="-163"/>
                  <a:pt x="3990" y="119"/>
                </a:cubicBezTo>
                <a:cubicBezTo>
                  <a:pt x="2998" y="800"/>
                  <a:pt x="1678" y="972"/>
                  <a:pt x="0" y="719"/>
                </a:cubicBezTo>
                <a:close/>
              </a:path>
            </a:pathLst>
          </a:custGeom>
          <a:solidFill>
            <a:srgbClr val="959DA0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0" name="Free-form: Shape 29">
            <a:extLst>
              <a:ext uri="{FF2B5EF4-FFF2-40B4-BE49-F238E27FC236}">
                <a16:creationId xmlns:a16="http://schemas.microsoft.com/office/drawing/2014/main" id="{33793968-233F-18D0-1163-8505BBA4399D}"/>
              </a:ext>
            </a:extLst>
          </p:cNvPr>
          <p:cNvSpPr/>
          <p:nvPr/>
        </p:nvSpPr>
        <p:spPr>
          <a:xfrm>
            <a:off x="1830509" y="2841974"/>
            <a:ext cx="2417" cy="705"/>
          </a:xfrm>
          <a:custGeom>
            <a:avLst/>
            <a:gdLst>
              <a:gd name="csX0" fmla="*/ 0 w 3893"/>
              <a:gd name="csY0" fmla="*/ 1133 h 1135"/>
              <a:gd name="csX1" fmla="*/ 3893 w 3893"/>
              <a:gd name="csY1" fmla="*/ 7 h 1135"/>
              <a:gd name="csX2" fmla="*/ 0 w 3893"/>
              <a:gd name="csY2" fmla="*/ 1133 h 113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893" h="1135">
                <a:moveTo>
                  <a:pt x="0" y="1133"/>
                </a:moveTo>
                <a:cubicBezTo>
                  <a:pt x="902" y="349"/>
                  <a:pt x="2213" y="-60"/>
                  <a:pt x="3893" y="7"/>
                </a:cubicBezTo>
                <a:cubicBezTo>
                  <a:pt x="2978" y="825"/>
                  <a:pt x="1693" y="1167"/>
                  <a:pt x="0" y="1133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1" name="Free-form: Shape 30">
            <a:extLst>
              <a:ext uri="{FF2B5EF4-FFF2-40B4-BE49-F238E27FC236}">
                <a16:creationId xmlns:a16="http://schemas.microsoft.com/office/drawing/2014/main" id="{C8E8C434-A935-0D94-C25C-78B012C2F9D2}"/>
              </a:ext>
            </a:extLst>
          </p:cNvPr>
          <p:cNvSpPr/>
          <p:nvPr/>
        </p:nvSpPr>
        <p:spPr>
          <a:xfrm>
            <a:off x="1730913" y="2357310"/>
            <a:ext cx="112588" cy="250407"/>
          </a:xfrm>
          <a:custGeom>
            <a:avLst/>
            <a:gdLst>
              <a:gd name="csX0" fmla="*/ 7554 w 181323"/>
              <a:gd name="csY0" fmla="*/ 172079 h 403282"/>
              <a:gd name="csX1" fmla="*/ 9716 w 181323"/>
              <a:gd name="csY1" fmla="*/ 130641 h 403282"/>
              <a:gd name="csX2" fmla="*/ 7663 w 181323"/>
              <a:gd name="csY2" fmla="*/ 113770 h 403282"/>
              <a:gd name="csX3" fmla="*/ 7598 w 181323"/>
              <a:gd name="csY3" fmla="*/ 8165 h 403282"/>
              <a:gd name="csX4" fmla="*/ 8353 w 181323"/>
              <a:gd name="csY4" fmla="*/ 1259 h 403282"/>
              <a:gd name="csX5" fmla="*/ 17767 w 181323"/>
              <a:gd name="csY5" fmla="*/ 93 h 403282"/>
              <a:gd name="csX6" fmla="*/ 77938 w 181323"/>
              <a:gd name="csY6" fmla="*/ 50 h 403282"/>
              <a:gd name="csX7" fmla="*/ 91081 w 181323"/>
              <a:gd name="csY7" fmla="*/ 10962 h 403282"/>
              <a:gd name="csX8" fmla="*/ 93691 w 181323"/>
              <a:gd name="csY8" fmla="*/ 60963 h 403282"/>
              <a:gd name="csX9" fmla="*/ 100157 w 181323"/>
              <a:gd name="csY9" fmla="*/ 121501 h 403282"/>
              <a:gd name="csX10" fmla="*/ 105540 w 181323"/>
              <a:gd name="csY10" fmla="*/ 158857 h 403282"/>
              <a:gd name="csX11" fmla="*/ 121116 w 181323"/>
              <a:gd name="csY11" fmla="*/ 235269 h 403282"/>
              <a:gd name="csX12" fmla="*/ 152823 w 181323"/>
              <a:gd name="csY12" fmla="*/ 338010 h 403282"/>
              <a:gd name="csX13" fmla="*/ 170877 w 181323"/>
              <a:gd name="csY13" fmla="*/ 378027 h 403282"/>
              <a:gd name="csX14" fmla="*/ 178114 w 181323"/>
              <a:gd name="csY14" fmla="*/ 387682 h 403282"/>
              <a:gd name="csX15" fmla="*/ 181150 w 181323"/>
              <a:gd name="csY15" fmla="*/ 395764 h 403282"/>
              <a:gd name="csX16" fmla="*/ 173480 w 181323"/>
              <a:gd name="csY16" fmla="*/ 402568 h 403282"/>
              <a:gd name="csX17" fmla="*/ 160067 w 181323"/>
              <a:gd name="csY17" fmla="*/ 402936 h 403282"/>
              <a:gd name="csX18" fmla="*/ 121081 w 181323"/>
              <a:gd name="csY18" fmla="*/ 400766 h 403282"/>
              <a:gd name="csX19" fmla="*/ 70912 w 181323"/>
              <a:gd name="csY19" fmla="*/ 401955 h 403282"/>
              <a:gd name="csX20" fmla="*/ 7630 w 181323"/>
              <a:gd name="csY20" fmla="*/ 402999 h 403282"/>
              <a:gd name="csX21" fmla="*/ 710 w 181323"/>
              <a:gd name="csY21" fmla="*/ 401995 h 403282"/>
              <a:gd name="csX22" fmla="*/ 1308 w 181323"/>
              <a:gd name="csY22" fmla="*/ 356708 h 403282"/>
              <a:gd name="csX23" fmla="*/ 2554 w 181323"/>
              <a:gd name="csY23" fmla="*/ 349510 h 403282"/>
              <a:gd name="csX24" fmla="*/ 5071 w 181323"/>
              <a:gd name="csY24" fmla="*/ 271231 h 403282"/>
              <a:gd name="csX25" fmla="*/ 7554 w 181323"/>
              <a:gd name="csY25" fmla="*/ 172079 h 403282"/>
              <a:gd name="csX26" fmla="*/ 98286 w 181323"/>
              <a:gd name="csY26" fmla="*/ 163566 h 403282"/>
              <a:gd name="csX27" fmla="*/ 83497 w 181323"/>
              <a:gd name="csY27" fmla="*/ 8289 h 403282"/>
              <a:gd name="csX28" fmla="*/ 15161 w 181323"/>
              <a:gd name="csY28" fmla="*/ 9148 h 403282"/>
              <a:gd name="csX29" fmla="*/ 15058 w 181323"/>
              <a:gd name="csY29" fmla="*/ 137939 h 403282"/>
              <a:gd name="csX30" fmla="*/ 12252 w 181323"/>
              <a:gd name="csY30" fmla="*/ 266862 h 403282"/>
              <a:gd name="csX31" fmla="*/ 7068 w 181323"/>
              <a:gd name="csY31" fmla="*/ 395996 h 403282"/>
              <a:gd name="csX32" fmla="*/ 171647 w 181323"/>
              <a:gd name="csY32" fmla="*/ 395996 h 403282"/>
              <a:gd name="csX33" fmla="*/ 119950 w 181323"/>
              <a:gd name="csY33" fmla="*/ 259496 h 403282"/>
              <a:gd name="csX34" fmla="*/ 98286 w 181323"/>
              <a:gd name="csY34" fmla="*/ 163566 h 40328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</a:cxnLst>
            <a:rect l="l" t="t" r="r" b="b"/>
            <a:pathLst>
              <a:path w="181323" h="403282">
                <a:moveTo>
                  <a:pt x="7554" y="172079"/>
                </a:moveTo>
                <a:cubicBezTo>
                  <a:pt x="8325" y="157451"/>
                  <a:pt x="9408" y="144055"/>
                  <a:pt x="9716" y="130641"/>
                </a:cubicBezTo>
                <a:cubicBezTo>
                  <a:pt x="9846" y="125037"/>
                  <a:pt x="7695" y="119399"/>
                  <a:pt x="7663" y="113770"/>
                </a:cubicBezTo>
                <a:cubicBezTo>
                  <a:pt x="7461" y="78569"/>
                  <a:pt x="7554" y="43367"/>
                  <a:pt x="7598" y="8165"/>
                </a:cubicBezTo>
                <a:cubicBezTo>
                  <a:pt x="7600" y="6167"/>
                  <a:pt x="8022" y="4170"/>
                  <a:pt x="8353" y="1259"/>
                </a:cubicBezTo>
                <a:cubicBezTo>
                  <a:pt x="11568" y="842"/>
                  <a:pt x="14666" y="109"/>
                  <a:pt x="17767" y="93"/>
                </a:cubicBezTo>
                <a:cubicBezTo>
                  <a:pt x="37824" y="-17"/>
                  <a:pt x="57881" y="-27"/>
                  <a:pt x="77938" y="50"/>
                </a:cubicBezTo>
                <a:cubicBezTo>
                  <a:pt x="89177" y="93"/>
                  <a:pt x="90068" y="113"/>
                  <a:pt x="91081" y="10962"/>
                </a:cubicBezTo>
                <a:cubicBezTo>
                  <a:pt x="92631" y="27565"/>
                  <a:pt x="92329" y="44335"/>
                  <a:pt x="93691" y="60963"/>
                </a:cubicBezTo>
                <a:cubicBezTo>
                  <a:pt x="95348" y="81184"/>
                  <a:pt x="97732" y="101353"/>
                  <a:pt x="100157" y="121501"/>
                </a:cubicBezTo>
                <a:cubicBezTo>
                  <a:pt x="101660" y="133990"/>
                  <a:pt x="104521" y="146343"/>
                  <a:pt x="105540" y="158857"/>
                </a:cubicBezTo>
                <a:cubicBezTo>
                  <a:pt x="107671" y="184993"/>
                  <a:pt x="114147" y="210249"/>
                  <a:pt x="121116" y="235269"/>
                </a:cubicBezTo>
                <a:cubicBezTo>
                  <a:pt x="130731" y="269786"/>
                  <a:pt x="141516" y="304004"/>
                  <a:pt x="152823" y="338010"/>
                </a:cubicBezTo>
                <a:cubicBezTo>
                  <a:pt x="157418" y="351828"/>
                  <a:pt x="164524" y="364837"/>
                  <a:pt x="170877" y="378027"/>
                </a:cubicBezTo>
                <a:cubicBezTo>
                  <a:pt x="172587" y="381579"/>
                  <a:pt x="175985" y="384280"/>
                  <a:pt x="178114" y="387682"/>
                </a:cubicBezTo>
                <a:cubicBezTo>
                  <a:pt x="179669" y="390165"/>
                  <a:pt x="181977" y="393824"/>
                  <a:pt x="181150" y="395764"/>
                </a:cubicBezTo>
                <a:cubicBezTo>
                  <a:pt x="179907" y="398676"/>
                  <a:pt x="176540" y="401705"/>
                  <a:pt x="173480" y="402568"/>
                </a:cubicBezTo>
                <a:cubicBezTo>
                  <a:pt x="169302" y="403746"/>
                  <a:pt x="164551" y="403164"/>
                  <a:pt x="160067" y="402936"/>
                </a:cubicBezTo>
                <a:cubicBezTo>
                  <a:pt x="147066" y="402274"/>
                  <a:pt x="134081" y="400859"/>
                  <a:pt x="121081" y="400766"/>
                </a:cubicBezTo>
                <a:cubicBezTo>
                  <a:pt x="104362" y="400647"/>
                  <a:pt x="87638" y="401607"/>
                  <a:pt x="70912" y="401955"/>
                </a:cubicBezTo>
                <a:cubicBezTo>
                  <a:pt x="49820" y="402394"/>
                  <a:pt x="28725" y="402712"/>
                  <a:pt x="7630" y="402999"/>
                </a:cubicBezTo>
                <a:cubicBezTo>
                  <a:pt x="5684" y="403026"/>
                  <a:pt x="3731" y="402452"/>
                  <a:pt x="710" y="401995"/>
                </a:cubicBezTo>
                <a:cubicBezTo>
                  <a:pt x="219" y="386620"/>
                  <a:pt x="-871" y="371682"/>
                  <a:pt x="1308" y="356708"/>
                </a:cubicBezTo>
                <a:cubicBezTo>
                  <a:pt x="1659" y="354298"/>
                  <a:pt x="2471" y="351920"/>
                  <a:pt x="2554" y="349510"/>
                </a:cubicBezTo>
                <a:cubicBezTo>
                  <a:pt x="3459" y="323419"/>
                  <a:pt x="4345" y="297328"/>
                  <a:pt x="5071" y="271231"/>
                </a:cubicBezTo>
                <a:cubicBezTo>
                  <a:pt x="5979" y="238591"/>
                  <a:pt x="6733" y="205947"/>
                  <a:pt x="7554" y="172079"/>
                </a:cubicBezTo>
                <a:moveTo>
                  <a:pt x="98286" y="163566"/>
                </a:moveTo>
                <a:cubicBezTo>
                  <a:pt x="89288" y="112116"/>
                  <a:pt x="86355" y="60033"/>
                  <a:pt x="83497" y="8289"/>
                </a:cubicBezTo>
                <a:cubicBezTo>
                  <a:pt x="65606" y="5845"/>
                  <a:pt x="24110" y="6470"/>
                  <a:pt x="15161" y="9148"/>
                </a:cubicBezTo>
                <a:cubicBezTo>
                  <a:pt x="15161" y="52045"/>
                  <a:pt x="15527" y="94996"/>
                  <a:pt x="15058" y="137939"/>
                </a:cubicBezTo>
                <a:cubicBezTo>
                  <a:pt x="14587" y="180919"/>
                  <a:pt x="13597" y="223900"/>
                  <a:pt x="12252" y="266862"/>
                </a:cubicBezTo>
                <a:cubicBezTo>
                  <a:pt x="10912" y="309638"/>
                  <a:pt x="8849" y="352391"/>
                  <a:pt x="7068" y="395996"/>
                </a:cubicBezTo>
                <a:cubicBezTo>
                  <a:pt x="62774" y="395996"/>
                  <a:pt x="116821" y="395996"/>
                  <a:pt x="171647" y="395996"/>
                </a:cubicBezTo>
                <a:cubicBezTo>
                  <a:pt x="148550" y="352016"/>
                  <a:pt x="132566" y="306307"/>
                  <a:pt x="119950" y="259496"/>
                </a:cubicBezTo>
                <a:cubicBezTo>
                  <a:pt x="111608" y="228543"/>
                  <a:pt x="105493" y="196989"/>
                  <a:pt x="98286" y="163566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" name="Free-form: Shape 31">
            <a:extLst>
              <a:ext uri="{FF2B5EF4-FFF2-40B4-BE49-F238E27FC236}">
                <a16:creationId xmlns:a16="http://schemas.microsoft.com/office/drawing/2014/main" id="{796DFA3A-CE3A-1FC7-B221-9EC5A07C157D}"/>
              </a:ext>
            </a:extLst>
          </p:cNvPr>
          <p:cNvSpPr/>
          <p:nvPr/>
        </p:nvSpPr>
        <p:spPr>
          <a:xfrm>
            <a:off x="1732544" y="2773791"/>
            <a:ext cx="209255" cy="47389"/>
          </a:xfrm>
          <a:custGeom>
            <a:avLst/>
            <a:gdLst>
              <a:gd name="csX0" fmla="*/ 297312 w 337008"/>
              <a:gd name="csY0" fmla="*/ 59188 h 76321"/>
              <a:gd name="csX1" fmla="*/ 241991 w 337008"/>
              <a:gd name="csY1" fmla="*/ 66577 h 76321"/>
              <a:gd name="csX2" fmla="*/ 185243 w 337008"/>
              <a:gd name="csY2" fmla="*/ 73717 h 76321"/>
              <a:gd name="csX3" fmla="*/ 182797 w 337008"/>
              <a:gd name="csY3" fmla="*/ 73873 h 76321"/>
              <a:gd name="csX4" fmla="*/ 19866 w 337008"/>
              <a:gd name="csY4" fmla="*/ 76320 h 76321"/>
              <a:gd name="csX5" fmla="*/ 12650 w 337008"/>
              <a:gd name="csY5" fmla="*/ 75242 h 76321"/>
              <a:gd name="csX6" fmla="*/ 19 w 337008"/>
              <a:gd name="csY6" fmla="*/ 59006 h 76321"/>
              <a:gd name="csX7" fmla="*/ 11 w 337008"/>
              <a:gd name="csY7" fmla="*/ 18266 h 76321"/>
              <a:gd name="csX8" fmla="*/ 13547 w 337008"/>
              <a:gd name="csY8" fmla="*/ 17427 h 76321"/>
              <a:gd name="csX9" fmla="*/ 109279 w 337008"/>
              <a:gd name="csY9" fmla="*/ 17200 h 76321"/>
              <a:gd name="csX10" fmla="*/ 173714 w 337008"/>
              <a:gd name="csY10" fmla="*/ 12645 h 76321"/>
              <a:gd name="csX11" fmla="*/ 205309 w 337008"/>
              <a:gd name="csY11" fmla="*/ 10096 h 76321"/>
              <a:gd name="csX12" fmla="*/ 245485 w 337008"/>
              <a:gd name="csY12" fmla="*/ 7449 h 76321"/>
              <a:gd name="csX13" fmla="*/ 288955 w 337008"/>
              <a:gd name="csY13" fmla="*/ 1844 h 76321"/>
              <a:gd name="csX14" fmla="*/ 307132 w 337008"/>
              <a:gd name="csY14" fmla="*/ 164 h 76321"/>
              <a:gd name="csX15" fmla="*/ 324030 w 337008"/>
              <a:gd name="csY15" fmla="*/ 9691 h 76321"/>
              <a:gd name="csX16" fmla="*/ 336033 w 337008"/>
              <a:gd name="csY16" fmla="*/ 39107 h 76321"/>
              <a:gd name="csX17" fmla="*/ 328060 w 337008"/>
              <a:gd name="csY17" fmla="*/ 52413 h 76321"/>
              <a:gd name="csX18" fmla="*/ 297312 w 337008"/>
              <a:gd name="csY18" fmla="*/ 59188 h 76321"/>
              <a:gd name="csX19" fmla="*/ 207688 w 337008"/>
              <a:gd name="csY19" fmla="*/ 64284 h 76321"/>
              <a:gd name="csX20" fmla="*/ 330050 w 337008"/>
              <a:gd name="csY20" fmla="*/ 45606 h 76321"/>
              <a:gd name="csX21" fmla="*/ 317356 w 337008"/>
              <a:gd name="csY21" fmla="*/ 11297 h 76321"/>
              <a:gd name="csX22" fmla="*/ 304170 w 337008"/>
              <a:gd name="csY22" fmla="*/ 5545 h 76321"/>
              <a:gd name="csX23" fmla="*/ 273851 w 337008"/>
              <a:gd name="csY23" fmla="*/ 10014 h 76321"/>
              <a:gd name="csX24" fmla="*/ 163935 w 337008"/>
              <a:gd name="csY24" fmla="*/ 20274 h 76321"/>
              <a:gd name="csX25" fmla="*/ 17973 w 337008"/>
              <a:gd name="csY25" fmla="*/ 22950 h 76321"/>
              <a:gd name="csX26" fmla="*/ 7372 w 337008"/>
              <a:gd name="csY26" fmla="*/ 23601 h 76321"/>
              <a:gd name="csX27" fmla="*/ 7372 w 337008"/>
              <a:gd name="csY27" fmla="*/ 67898 h 76321"/>
              <a:gd name="csX28" fmla="*/ 207688 w 337008"/>
              <a:gd name="csY28" fmla="*/ 64284 h 7632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</a:cxnLst>
            <a:rect l="l" t="t" r="r" b="b"/>
            <a:pathLst>
              <a:path w="337008" h="76321">
                <a:moveTo>
                  <a:pt x="297312" y="59188"/>
                </a:moveTo>
                <a:cubicBezTo>
                  <a:pt x="278167" y="61672"/>
                  <a:pt x="260091" y="64212"/>
                  <a:pt x="241991" y="66577"/>
                </a:cubicBezTo>
                <a:cubicBezTo>
                  <a:pt x="223087" y="69047"/>
                  <a:pt x="204161" y="71350"/>
                  <a:pt x="185243" y="73717"/>
                </a:cubicBezTo>
                <a:cubicBezTo>
                  <a:pt x="184433" y="73818"/>
                  <a:pt x="183613" y="73861"/>
                  <a:pt x="182797" y="73873"/>
                </a:cubicBezTo>
                <a:cubicBezTo>
                  <a:pt x="128487" y="74710"/>
                  <a:pt x="74176" y="75556"/>
                  <a:pt x="19866" y="76320"/>
                </a:cubicBezTo>
                <a:cubicBezTo>
                  <a:pt x="17463" y="76354"/>
                  <a:pt x="15013" y="75797"/>
                  <a:pt x="12650" y="75242"/>
                </a:cubicBezTo>
                <a:cubicBezTo>
                  <a:pt x="80" y="72288"/>
                  <a:pt x="58" y="72258"/>
                  <a:pt x="19" y="59006"/>
                </a:cubicBezTo>
                <a:cubicBezTo>
                  <a:pt x="-19" y="45942"/>
                  <a:pt x="11" y="32877"/>
                  <a:pt x="11" y="18266"/>
                </a:cubicBezTo>
                <a:cubicBezTo>
                  <a:pt x="4987" y="17944"/>
                  <a:pt x="9266" y="17435"/>
                  <a:pt x="13547" y="17427"/>
                </a:cubicBezTo>
                <a:cubicBezTo>
                  <a:pt x="45459" y="17362"/>
                  <a:pt x="77385" y="17975"/>
                  <a:pt x="109279" y="17200"/>
                </a:cubicBezTo>
                <a:cubicBezTo>
                  <a:pt x="130782" y="16677"/>
                  <a:pt x="152239" y="14265"/>
                  <a:pt x="173714" y="12645"/>
                </a:cubicBezTo>
                <a:cubicBezTo>
                  <a:pt x="184250" y="11850"/>
                  <a:pt x="194770" y="10836"/>
                  <a:pt x="205309" y="10096"/>
                </a:cubicBezTo>
                <a:cubicBezTo>
                  <a:pt x="218698" y="9156"/>
                  <a:pt x="232139" y="8783"/>
                  <a:pt x="245485" y="7449"/>
                </a:cubicBezTo>
                <a:cubicBezTo>
                  <a:pt x="260017" y="5997"/>
                  <a:pt x="274456" y="3648"/>
                  <a:pt x="288955" y="1844"/>
                </a:cubicBezTo>
                <a:cubicBezTo>
                  <a:pt x="294991" y="1094"/>
                  <a:pt x="301100" y="930"/>
                  <a:pt x="307132" y="164"/>
                </a:cubicBezTo>
                <a:cubicBezTo>
                  <a:pt x="315239" y="-865"/>
                  <a:pt x="320841" y="3022"/>
                  <a:pt x="324030" y="9691"/>
                </a:cubicBezTo>
                <a:cubicBezTo>
                  <a:pt x="328594" y="19236"/>
                  <a:pt x="332712" y="29070"/>
                  <a:pt x="336033" y="39107"/>
                </a:cubicBezTo>
                <a:cubicBezTo>
                  <a:pt x="338557" y="46735"/>
                  <a:pt x="336278" y="50185"/>
                  <a:pt x="328060" y="52413"/>
                </a:cubicBezTo>
                <a:cubicBezTo>
                  <a:pt x="318273" y="55068"/>
                  <a:pt x="308277" y="56950"/>
                  <a:pt x="297312" y="59188"/>
                </a:cubicBezTo>
                <a:moveTo>
                  <a:pt x="207688" y="64284"/>
                </a:moveTo>
                <a:cubicBezTo>
                  <a:pt x="248681" y="60632"/>
                  <a:pt x="289317" y="54812"/>
                  <a:pt x="330050" y="45606"/>
                </a:cubicBezTo>
                <a:cubicBezTo>
                  <a:pt x="327603" y="32443"/>
                  <a:pt x="323777" y="21532"/>
                  <a:pt x="317356" y="11297"/>
                </a:cubicBezTo>
                <a:cubicBezTo>
                  <a:pt x="313908" y="5803"/>
                  <a:pt x="310145" y="4465"/>
                  <a:pt x="304170" y="5545"/>
                </a:cubicBezTo>
                <a:cubicBezTo>
                  <a:pt x="294121" y="7361"/>
                  <a:pt x="284007" y="9006"/>
                  <a:pt x="273851" y="10014"/>
                </a:cubicBezTo>
                <a:cubicBezTo>
                  <a:pt x="237233" y="13650"/>
                  <a:pt x="200632" y="17661"/>
                  <a:pt x="163935" y="20274"/>
                </a:cubicBezTo>
                <a:cubicBezTo>
                  <a:pt x="115360" y="23734"/>
                  <a:pt x="66701" y="25937"/>
                  <a:pt x="17973" y="22950"/>
                </a:cubicBezTo>
                <a:cubicBezTo>
                  <a:pt x="14492" y="22737"/>
                  <a:pt x="10959" y="23361"/>
                  <a:pt x="7372" y="23601"/>
                </a:cubicBezTo>
                <a:cubicBezTo>
                  <a:pt x="7372" y="38609"/>
                  <a:pt x="7372" y="52361"/>
                  <a:pt x="7372" y="67898"/>
                </a:cubicBezTo>
                <a:cubicBezTo>
                  <a:pt x="74001" y="69806"/>
                  <a:pt x="139746" y="71025"/>
                  <a:pt x="207688" y="64284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" name="Free-form: Shape 32">
            <a:extLst>
              <a:ext uri="{FF2B5EF4-FFF2-40B4-BE49-F238E27FC236}">
                <a16:creationId xmlns:a16="http://schemas.microsoft.com/office/drawing/2014/main" id="{DF4C63FA-56C9-6044-B450-C827657724DA}"/>
              </a:ext>
            </a:extLst>
          </p:cNvPr>
          <p:cNvSpPr/>
          <p:nvPr/>
        </p:nvSpPr>
        <p:spPr>
          <a:xfrm>
            <a:off x="1736277" y="2627337"/>
            <a:ext cx="188426" cy="132688"/>
          </a:xfrm>
          <a:custGeom>
            <a:avLst/>
            <a:gdLst>
              <a:gd name="csX0" fmla="*/ 14160 w 303463"/>
              <a:gd name="csY0" fmla="*/ 7889 h 213695"/>
              <a:gd name="csX1" fmla="*/ 195033 w 303463"/>
              <a:gd name="csY1" fmla="*/ 0 h 213695"/>
              <a:gd name="csX2" fmla="*/ 197208 w 303463"/>
              <a:gd name="csY2" fmla="*/ 5635 h 213695"/>
              <a:gd name="csX3" fmla="*/ 227014 w 303463"/>
              <a:gd name="csY3" fmla="*/ 60660 h 213695"/>
              <a:gd name="csX4" fmla="*/ 265823 w 303463"/>
              <a:gd name="csY4" fmla="*/ 98217 h 213695"/>
              <a:gd name="csX5" fmla="*/ 303210 w 303463"/>
              <a:gd name="csY5" fmla="*/ 180358 h 213695"/>
              <a:gd name="csX6" fmla="*/ 303282 w 303463"/>
              <a:gd name="csY6" fmla="*/ 193964 h 213695"/>
              <a:gd name="csX7" fmla="*/ 4971 w 303463"/>
              <a:gd name="csY7" fmla="*/ 213017 h 213695"/>
              <a:gd name="csX8" fmla="*/ 5093 w 303463"/>
              <a:gd name="csY8" fmla="*/ 173484 h 213695"/>
              <a:gd name="csX9" fmla="*/ 4767 w 303463"/>
              <a:gd name="csY9" fmla="*/ 54607 h 213695"/>
              <a:gd name="csX10" fmla="*/ 0 w 303463"/>
              <a:gd name="csY10" fmla="*/ 7887 h 213695"/>
              <a:gd name="csX11" fmla="*/ 14160 w 303463"/>
              <a:gd name="csY11" fmla="*/ 7889 h 21369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303463" h="213695">
                <a:moveTo>
                  <a:pt x="14160" y="7889"/>
                </a:moveTo>
                <a:cubicBezTo>
                  <a:pt x="75371" y="8627"/>
                  <a:pt x="135292" y="5744"/>
                  <a:pt x="195033" y="0"/>
                </a:cubicBezTo>
                <a:cubicBezTo>
                  <a:pt x="196084" y="2662"/>
                  <a:pt x="196986" y="4099"/>
                  <a:pt x="197208" y="5635"/>
                </a:cubicBezTo>
                <a:cubicBezTo>
                  <a:pt x="200391" y="27650"/>
                  <a:pt x="211307" y="45450"/>
                  <a:pt x="227014" y="60660"/>
                </a:cubicBezTo>
                <a:cubicBezTo>
                  <a:pt x="239947" y="73182"/>
                  <a:pt x="253006" y="85577"/>
                  <a:pt x="265823" y="98217"/>
                </a:cubicBezTo>
                <a:cubicBezTo>
                  <a:pt x="288727" y="120806"/>
                  <a:pt x="299071" y="149215"/>
                  <a:pt x="303210" y="180358"/>
                </a:cubicBezTo>
                <a:cubicBezTo>
                  <a:pt x="303735" y="184317"/>
                  <a:pt x="303282" y="188405"/>
                  <a:pt x="303282" y="193964"/>
                </a:cubicBezTo>
                <a:cubicBezTo>
                  <a:pt x="204065" y="208804"/>
                  <a:pt x="105022" y="216044"/>
                  <a:pt x="4971" y="213017"/>
                </a:cubicBezTo>
                <a:cubicBezTo>
                  <a:pt x="4971" y="199268"/>
                  <a:pt x="4314" y="186332"/>
                  <a:pt x="5093" y="173484"/>
                </a:cubicBezTo>
                <a:cubicBezTo>
                  <a:pt x="7497" y="133835"/>
                  <a:pt x="8211" y="94216"/>
                  <a:pt x="4767" y="54607"/>
                </a:cubicBezTo>
                <a:cubicBezTo>
                  <a:pt x="3464" y="39611"/>
                  <a:pt x="1725" y="24653"/>
                  <a:pt x="0" y="7887"/>
                </a:cubicBezTo>
                <a:cubicBezTo>
                  <a:pt x="4390" y="7887"/>
                  <a:pt x="8696" y="7887"/>
                  <a:pt x="14160" y="7889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7" name="Free-form: Shape 36">
            <a:extLst>
              <a:ext uri="{FF2B5EF4-FFF2-40B4-BE49-F238E27FC236}">
                <a16:creationId xmlns:a16="http://schemas.microsoft.com/office/drawing/2014/main" id="{47153158-ABCA-7688-EAAB-B13B9DBA24B1}"/>
              </a:ext>
            </a:extLst>
          </p:cNvPr>
          <p:cNvSpPr/>
          <p:nvPr/>
        </p:nvSpPr>
        <p:spPr>
          <a:xfrm>
            <a:off x="1702515" y="2097581"/>
            <a:ext cx="129814" cy="126299"/>
          </a:xfrm>
          <a:custGeom>
            <a:avLst/>
            <a:gdLst>
              <a:gd name="csX0" fmla="*/ 10475 w 209067"/>
              <a:gd name="csY0" fmla="*/ 41718 h 203406"/>
              <a:gd name="csX1" fmla="*/ 100250 w 209067"/>
              <a:gd name="csY1" fmla="*/ 1265 h 203406"/>
              <a:gd name="csX2" fmla="*/ 206681 w 209067"/>
              <a:gd name="csY2" fmla="*/ 98526 h 203406"/>
              <a:gd name="csX3" fmla="*/ 134647 w 209067"/>
              <a:gd name="csY3" fmla="*/ 202431 h 203406"/>
              <a:gd name="csX4" fmla="*/ 40986 w 209067"/>
              <a:gd name="csY4" fmla="*/ 171438 h 203406"/>
              <a:gd name="csX5" fmla="*/ 143 w 209067"/>
              <a:gd name="csY5" fmla="*/ 85158 h 203406"/>
              <a:gd name="csX6" fmla="*/ 10475 w 209067"/>
              <a:gd name="csY6" fmla="*/ 41718 h 20340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</a:cxnLst>
            <a:rect l="l" t="t" r="r" b="b"/>
            <a:pathLst>
              <a:path w="209067" h="203406">
                <a:moveTo>
                  <a:pt x="10475" y="41718"/>
                </a:moveTo>
                <a:cubicBezTo>
                  <a:pt x="31065" y="6021"/>
                  <a:pt x="63171" y="-3865"/>
                  <a:pt x="100250" y="1265"/>
                </a:cubicBezTo>
                <a:cubicBezTo>
                  <a:pt x="157191" y="9144"/>
                  <a:pt x="196951" y="51394"/>
                  <a:pt x="206681" y="98526"/>
                </a:cubicBezTo>
                <a:cubicBezTo>
                  <a:pt x="219504" y="160635"/>
                  <a:pt x="178523" y="196657"/>
                  <a:pt x="134647" y="202431"/>
                </a:cubicBezTo>
                <a:cubicBezTo>
                  <a:pt x="98365" y="207204"/>
                  <a:pt x="68101" y="194086"/>
                  <a:pt x="40986" y="171438"/>
                </a:cubicBezTo>
                <a:cubicBezTo>
                  <a:pt x="14115" y="148994"/>
                  <a:pt x="2457" y="119007"/>
                  <a:pt x="143" y="85158"/>
                </a:cubicBezTo>
                <a:cubicBezTo>
                  <a:pt x="-869" y="70364"/>
                  <a:pt x="3586" y="56015"/>
                  <a:pt x="10475" y="41718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8" name="Free-form: Shape 37">
            <a:extLst>
              <a:ext uri="{FF2B5EF4-FFF2-40B4-BE49-F238E27FC236}">
                <a16:creationId xmlns:a16="http://schemas.microsoft.com/office/drawing/2014/main" id="{D0263DC1-F7CD-DCDD-60D9-737AD123A098}"/>
              </a:ext>
            </a:extLst>
          </p:cNvPr>
          <p:cNvSpPr/>
          <p:nvPr/>
        </p:nvSpPr>
        <p:spPr>
          <a:xfrm>
            <a:off x="1738774" y="2310619"/>
            <a:ext cx="97564" cy="25665"/>
          </a:xfrm>
          <a:custGeom>
            <a:avLst/>
            <a:gdLst>
              <a:gd name="csX0" fmla="*/ 69625 w 157129"/>
              <a:gd name="csY0" fmla="*/ 0 h 41334"/>
              <a:gd name="csX1" fmla="*/ 119596 w 157129"/>
              <a:gd name="csY1" fmla="*/ 1945 h 41334"/>
              <a:gd name="csX2" fmla="*/ 150973 w 157129"/>
              <a:gd name="csY2" fmla="*/ 14889 h 41334"/>
              <a:gd name="csX3" fmla="*/ 151351 w 157129"/>
              <a:gd name="csY3" fmla="*/ 34058 h 41334"/>
              <a:gd name="csX4" fmla="*/ 133492 w 157129"/>
              <a:gd name="csY4" fmla="*/ 40697 h 41334"/>
              <a:gd name="csX5" fmla="*/ 106556 w 157129"/>
              <a:gd name="csY5" fmla="*/ 41092 h 41334"/>
              <a:gd name="csX6" fmla="*/ 13373 w 157129"/>
              <a:gd name="csY6" fmla="*/ 40708 h 41334"/>
              <a:gd name="csX7" fmla="*/ 1312 w 157129"/>
              <a:gd name="csY7" fmla="*/ 40191 h 41334"/>
              <a:gd name="csX8" fmla="*/ 3367 w 157129"/>
              <a:gd name="csY8" fmla="*/ 13162 h 41334"/>
              <a:gd name="csX9" fmla="*/ 20752 w 157129"/>
              <a:gd name="csY9" fmla="*/ 1879 h 41334"/>
              <a:gd name="csX10" fmla="*/ 52625 w 157129"/>
              <a:gd name="csY10" fmla="*/ 1332 h 41334"/>
              <a:gd name="csX11" fmla="*/ 69625 w 157129"/>
              <a:gd name="csY11" fmla="*/ 0 h 4133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157129" h="41334">
                <a:moveTo>
                  <a:pt x="69625" y="0"/>
                </a:moveTo>
                <a:cubicBezTo>
                  <a:pt x="87054" y="491"/>
                  <a:pt x="103407" y="373"/>
                  <a:pt x="119596" y="1945"/>
                </a:cubicBezTo>
                <a:cubicBezTo>
                  <a:pt x="131020" y="3055"/>
                  <a:pt x="141713" y="7767"/>
                  <a:pt x="150973" y="14889"/>
                </a:cubicBezTo>
                <a:cubicBezTo>
                  <a:pt x="158820" y="20925"/>
                  <a:pt x="159403" y="28236"/>
                  <a:pt x="151351" y="34058"/>
                </a:cubicBezTo>
                <a:cubicBezTo>
                  <a:pt x="146355" y="37671"/>
                  <a:pt x="139678" y="39910"/>
                  <a:pt x="133492" y="40697"/>
                </a:cubicBezTo>
                <a:cubicBezTo>
                  <a:pt x="124640" y="41824"/>
                  <a:pt x="115547" y="41120"/>
                  <a:pt x="106556" y="41092"/>
                </a:cubicBezTo>
                <a:cubicBezTo>
                  <a:pt x="75495" y="40996"/>
                  <a:pt x="44434" y="40872"/>
                  <a:pt x="13373" y="40708"/>
                </a:cubicBezTo>
                <a:cubicBezTo>
                  <a:pt x="9391" y="40687"/>
                  <a:pt x="5410" y="40374"/>
                  <a:pt x="1312" y="40191"/>
                </a:cubicBezTo>
                <a:cubicBezTo>
                  <a:pt x="-1416" y="30384"/>
                  <a:pt x="523" y="21512"/>
                  <a:pt x="3367" y="13162"/>
                </a:cubicBezTo>
                <a:cubicBezTo>
                  <a:pt x="5963" y="5538"/>
                  <a:pt x="12701" y="2077"/>
                  <a:pt x="20752" y="1879"/>
                </a:cubicBezTo>
                <a:cubicBezTo>
                  <a:pt x="31375" y="1617"/>
                  <a:pt x="42004" y="1647"/>
                  <a:pt x="52625" y="1332"/>
                </a:cubicBezTo>
                <a:cubicBezTo>
                  <a:pt x="57918" y="1176"/>
                  <a:pt x="63195" y="535"/>
                  <a:pt x="69625" y="0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9" name="Free-form: Shape 38">
            <a:extLst>
              <a:ext uri="{FF2B5EF4-FFF2-40B4-BE49-F238E27FC236}">
                <a16:creationId xmlns:a16="http://schemas.microsoft.com/office/drawing/2014/main" id="{527EA882-244A-18E3-2F55-95CA4A59D070}"/>
              </a:ext>
            </a:extLst>
          </p:cNvPr>
          <p:cNvSpPr/>
          <p:nvPr/>
        </p:nvSpPr>
        <p:spPr>
          <a:xfrm>
            <a:off x="1735301" y="2361506"/>
            <a:ext cx="102191" cy="241686"/>
          </a:xfrm>
          <a:custGeom>
            <a:avLst/>
            <a:gdLst>
              <a:gd name="csX0" fmla="*/ 91265 w 164579"/>
              <a:gd name="csY0" fmla="*/ 157878 h 389238"/>
              <a:gd name="csX1" fmla="*/ 112882 w 164579"/>
              <a:gd name="csY1" fmla="*/ 252738 h 389238"/>
              <a:gd name="csX2" fmla="*/ 164579 w 164579"/>
              <a:gd name="csY2" fmla="*/ 389238 h 389238"/>
              <a:gd name="csX3" fmla="*/ 0 w 164579"/>
              <a:gd name="csY3" fmla="*/ 389238 h 389238"/>
              <a:gd name="csX4" fmla="*/ 5184 w 164579"/>
              <a:gd name="csY4" fmla="*/ 260105 h 389238"/>
              <a:gd name="csX5" fmla="*/ 7989 w 164579"/>
              <a:gd name="csY5" fmla="*/ 131182 h 389238"/>
              <a:gd name="csX6" fmla="*/ 8093 w 164579"/>
              <a:gd name="csY6" fmla="*/ 2390 h 389238"/>
              <a:gd name="csX7" fmla="*/ 76429 w 164579"/>
              <a:gd name="csY7" fmla="*/ 1531 h 389238"/>
              <a:gd name="csX8" fmla="*/ 91265 w 164579"/>
              <a:gd name="csY8" fmla="*/ 157878 h 38923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</a:cxnLst>
            <a:rect l="l" t="t" r="r" b="b"/>
            <a:pathLst>
              <a:path w="164579" h="389238">
                <a:moveTo>
                  <a:pt x="91265" y="157878"/>
                </a:moveTo>
                <a:cubicBezTo>
                  <a:pt x="98425" y="190232"/>
                  <a:pt x="104539" y="221785"/>
                  <a:pt x="112882" y="252738"/>
                </a:cubicBezTo>
                <a:cubicBezTo>
                  <a:pt x="125498" y="299549"/>
                  <a:pt x="141482" y="345258"/>
                  <a:pt x="164579" y="389238"/>
                </a:cubicBezTo>
                <a:cubicBezTo>
                  <a:pt x="109753" y="389238"/>
                  <a:pt x="55706" y="389238"/>
                  <a:pt x="0" y="389238"/>
                </a:cubicBezTo>
                <a:cubicBezTo>
                  <a:pt x="1781" y="345633"/>
                  <a:pt x="3844" y="302880"/>
                  <a:pt x="5184" y="260105"/>
                </a:cubicBezTo>
                <a:cubicBezTo>
                  <a:pt x="6529" y="217143"/>
                  <a:pt x="7519" y="174162"/>
                  <a:pt x="7989" y="131182"/>
                </a:cubicBezTo>
                <a:cubicBezTo>
                  <a:pt x="8459" y="88239"/>
                  <a:pt x="8093" y="45287"/>
                  <a:pt x="8093" y="2390"/>
                </a:cubicBezTo>
                <a:cubicBezTo>
                  <a:pt x="17041" y="-288"/>
                  <a:pt x="58537" y="-913"/>
                  <a:pt x="76429" y="1531"/>
                </a:cubicBezTo>
                <a:cubicBezTo>
                  <a:pt x="79287" y="53276"/>
                  <a:pt x="82219" y="105359"/>
                  <a:pt x="91265" y="157878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" name="Free-form: Shape 39">
            <a:extLst>
              <a:ext uri="{FF2B5EF4-FFF2-40B4-BE49-F238E27FC236}">
                <a16:creationId xmlns:a16="http://schemas.microsoft.com/office/drawing/2014/main" id="{661107A6-6604-867F-6A57-2BF45E1FE80C}"/>
              </a:ext>
            </a:extLst>
          </p:cNvPr>
          <p:cNvSpPr/>
          <p:nvPr/>
        </p:nvSpPr>
        <p:spPr>
          <a:xfrm>
            <a:off x="1737120" y="2777019"/>
            <a:ext cx="200357" cy="39865"/>
          </a:xfrm>
          <a:custGeom>
            <a:avLst/>
            <a:gdLst>
              <a:gd name="csX0" fmla="*/ 199184 w 322677"/>
              <a:gd name="csY0" fmla="*/ 59136 h 64202"/>
              <a:gd name="csX1" fmla="*/ 0 w 322677"/>
              <a:gd name="csY1" fmla="*/ 62697 h 64202"/>
              <a:gd name="csX2" fmla="*/ 0 w 322677"/>
              <a:gd name="csY2" fmla="*/ 18400 h 64202"/>
              <a:gd name="csX3" fmla="*/ 10601 w 322677"/>
              <a:gd name="csY3" fmla="*/ 17750 h 64202"/>
              <a:gd name="csX4" fmla="*/ 156563 w 322677"/>
              <a:gd name="csY4" fmla="*/ 15074 h 64202"/>
              <a:gd name="csX5" fmla="*/ 266479 w 322677"/>
              <a:gd name="csY5" fmla="*/ 4814 h 64202"/>
              <a:gd name="csX6" fmla="*/ 296798 w 322677"/>
              <a:gd name="csY6" fmla="*/ 344 h 64202"/>
              <a:gd name="csX7" fmla="*/ 309983 w 322677"/>
              <a:gd name="csY7" fmla="*/ 6097 h 64202"/>
              <a:gd name="csX8" fmla="*/ 322678 w 322677"/>
              <a:gd name="csY8" fmla="*/ 40406 h 64202"/>
              <a:gd name="csX9" fmla="*/ 199184 w 322677"/>
              <a:gd name="csY9" fmla="*/ 59136 h 6420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322677" h="64202">
                <a:moveTo>
                  <a:pt x="199184" y="59136"/>
                </a:moveTo>
                <a:cubicBezTo>
                  <a:pt x="132374" y="65824"/>
                  <a:pt x="66629" y="64605"/>
                  <a:pt x="0" y="62697"/>
                </a:cubicBezTo>
                <a:cubicBezTo>
                  <a:pt x="0" y="47160"/>
                  <a:pt x="0" y="33409"/>
                  <a:pt x="0" y="18400"/>
                </a:cubicBezTo>
                <a:cubicBezTo>
                  <a:pt x="3587" y="18160"/>
                  <a:pt x="7120" y="17536"/>
                  <a:pt x="10601" y="17750"/>
                </a:cubicBezTo>
                <a:cubicBezTo>
                  <a:pt x="59329" y="20736"/>
                  <a:pt x="107987" y="18533"/>
                  <a:pt x="156563" y="15074"/>
                </a:cubicBezTo>
                <a:cubicBezTo>
                  <a:pt x="193260" y="12461"/>
                  <a:pt x="229860" y="8449"/>
                  <a:pt x="266479" y="4814"/>
                </a:cubicBezTo>
                <a:cubicBezTo>
                  <a:pt x="276635" y="3806"/>
                  <a:pt x="286748" y="2160"/>
                  <a:pt x="296798" y="344"/>
                </a:cubicBezTo>
                <a:cubicBezTo>
                  <a:pt x="302773" y="-735"/>
                  <a:pt x="306536" y="602"/>
                  <a:pt x="309983" y="6097"/>
                </a:cubicBezTo>
                <a:cubicBezTo>
                  <a:pt x="316405" y="16331"/>
                  <a:pt x="320231" y="27243"/>
                  <a:pt x="322678" y="40406"/>
                </a:cubicBezTo>
                <a:cubicBezTo>
                  <a:pt x="281944" y="49611"/>
                  <a:pt x="241309" y="55431"/>
                  <a:pt x="199184" y="59136"/>
                </a:cubicBezTo>
                <a:close/>
              </a:path>
            </a:pathLst>
          </a:custGeom>
          <a:solidFill>
            <a:schemeClr val="bg1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1AD7D9A1-F39C-36CD-0EC5-F00F21FCB133}"/>
              </a:ext>
            </a:extLst>
          </p:cNvPr>
          <p:cNvSpPr txBox="1"/>
          <p:nvPr/>
        </p:nvSpPr>
        <p:spPr>
          <a:xfrm>
            <a:off x="1329112" y="2831201"/>
            <a:ext cx="863983" cy="3927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-CHOP</a:t>
            </a:r>
          </a:p>
        </p:txBody>
      </p:sp>
    </p:spTree>
    <p:extLst>
      <p:ext uri="{BB962C8B-B14F-4D97-AF65-F5344CB8AC3E}">
        <p14:creationId xmlns:p14="http://schemas.microsoft.com/office/powerpoint/2010/main" val="3435850588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6F4687A-FBDE-32AC-404C-03CAA6968C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8" name="Rectangle: Rounded Corners 317">
            <a:extLst>
              <a:ext uri="{FF2B5EF4-FFF2-40B4-BE49-F238E27FC236}">
                <a16:creationId xmlns:a16="http://schemas.microsoft.com/office/drawing/2014/main" id="{EA4B9515-CA1E-3585-2345-045273014801}"/>
              </a:ext>
            </a:extLst>
          </p:cNvPr>
          <p:cNvSpPr/>
          <p:nvPr/>
        </p:nvSpPr>
        <p:spPr>
          <a:xfrm>
            <a:off x="469900" y="1321594"/>
            <a:ext cx="2128838" cy="3574240"/>
          </a:xfrm>
          <a:prstGeom prst="roundRect">
            <a:avLst>
              <a:gd name="adj" fmla="val 8126"/>
            </a:avLst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7678B5E-F8DB-1A70-3858-ACA33E71B7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0" y="311150"/>
            <a:ext cx="10317269" cy="930910"/>
          </a:xfrm>
        </p:spPr>
        <p:txBody>
          <a:bodyPr/>
          <a:lstStyle/>
          <a:p>
            <a:r>
              <a:rPr lang="en-GB">
                <a:latin typeface="+mn-lt"/>
              </a:rPr>
              <a:t>How to choose our next move?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9CC77AA-7E5F-D2F3-85FC-060027A0305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GB"/>
              <a:t>BR, bendamustine, rituximab; CHOP, cyclophosphamide, doxorubicin, vincristine and prednisone; Pola, polatuzumab vedotin; R, rituximab.</a:t>
            </a:r>
          </a:p>
          <a:p>
            <a:r>
              <a:rPr lang="en-GB"/>
              <a:t>Patient case provided by Prof. Enrico </a:t>
            </a:r>
            <a:r>
              <a:rPr lang="en-GB" err="1"/>
              <a:t>Derenzini</a:t>
            </a:r>
            <a:r>
              <a:rPr lang="en-GB"/>
              <a:t>.</a:t>
            </a:r>
          </a:p>
        </p:txBody>
      </p:sp>
      <p:sp>
        <p:nvSpPr>
          <p:cNvPr id="276" name="Oval 275">
            <a:extLst>
              <a:ext uri="{FF2B5EF4-FFF2-40B4-BE49-F238E27FC236}">
                <a16:creationId xmlns:a16="http://schemas.microsoft.com/office/drawing/2014/main" id="{3615894E-0576-D442-A361-3CE70FCF2E23}"/>
              </a:ext>
            </a:extLst>
          </p:cNvPr>
          <p:cNvSpPr/>
          <p:nvPr/>
        </p:nvSpPr>
        <p:spPr>
          <a:xfrm>
            <a:off x="1204662" y="2813166"/>
            <a:ext cx="593138" cy="104135"/>
          </a:xfrm>
          <a:prstGeom prst="ellipse">
            <a:avLst/>
          </a:prstGeom>
          <a:solidFill>
            <a:schemeClr val="tx1">
              <a:alpha val="6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77" name="Free-form: Shape 276">
            <a:extLst>
              <a:ext uri="{FF2B5EF4-FFF2-40B4-BE49-F238E27FC236}">
                <a16:creationId xmlns:a16="http://schemas.microsoft.com/office/drawing/2014/main" id="{F004DAF2-BECA-9729-97FE-EEBD43C29085}"/>
              </a:ext>
            </a:extLst>
          </p:cNvPr>
          <p:cNvSpPr/>
          <p:nvPr/>
        </p:nvSpPr>
        <p:spPr>
          <a:xfrm>
            <a:off x="1303328" y="2132515"/>
            <a:ext cx="433137" cy="770022"/>
          </a:xfrm>
          <a:custGeom>
            <a:avLst/>
            <a:gdLst>
              <a:gd name="csX0" fmla="*/ 581793 w 697572"/>
              <a:gd name="csY0" fmla="*/ 1234401 h 1240128"/>
              <a:gd name="csX1" fmla="*/ 577427 w 697572"/>
              <a:gd name="csY1" fmla="*/ 1234156 h 1240128"/>
              <a:gd name="csX2" fmla="*/ 559133 w 697572"/>
              <a:gd name="csY2" fmla="*/ 1230909 h 1240128"/>
              <a:gd name="csX3" fmla="*/ 516706 w 697572"/>
              <a:gd name="csY3" fmla="*/ 1235117 h 1240128"/>
              <a:gd name="csX4" fmla="*/ 475244 w 697572"/>
              <a:gd name="csY4" fmla="*/ 1237506 h 1240128"/>
              <a:gd name="csX5" fmla="*/ 371154 w 697572"/>
              <a:gd name="csY5" fmla="*/ 1239428 h 1240128"/>
              <a:gd name="csX6" fmla="*/ 276813 w 697572"/>
              <a:gd name="csY6" fmla="*/ 1237654 h 1240128"/>
              <a:gd name="csX7" fmla="*/ 268212 w 697572"/>
              <a:gd name="csY7" fmla="*/ 1237635 h 1240128"/>
              <a:gd name="csX8" fmla="*/ 262072 w 697572"/>
              <a:gd name="csY8" fmla="*/ 1237523 h 1240128"/>
              <a:gd name="csX9" fmla="*/ 195111 w 697572"/>
              <a:gd name="csY9" fmla="*/ 1232775 h 1240128"/>
              <a:gd name="csX10" fmla="*/ 145060 w 697572"/>
              <a:gd name="csY10" fmla="*/ 1230076 h 1240128"/>
              <a:gd name="csX11" fmla="*/ 114933 w 697572"/>
              <a:gd name="csY11" fmla="*/ 1225832 h 1240128"/>
              <a:gd name="csX12" fmla="*/ 72642 w 697572"/>
              <a:gd name="csY12" fmla="*/ 1220237 h 1240128"/>
              <a:gd name="csX13" fmla="*/ 10894 w 697572"/>
              <a:gd name="csY13" fmla="*/ 1205737 h 1240128"/>
              <a:gd name="csX14" fmla="*/ 5856 w 697572"/>
              <a:gd name="csY14" fmla="*/ 1202799 h 1240128"/>
              <a:gd name="csX15" fmla="*/ 40 w 697572"/>
              <a:gd name="csY15" fmla="*/ 1174450 h 1240128"/>
              <a:gd name="csX16" fmla="*/ 19831 w 697572"/>
              <a:gd name="csY16" fmla="*/ 1118410 h 1240128"/>
              <a:gd name="csX17" fmla="*/ 22004 w 697572"/>
              <a:gd name="csY17" fmla="*/ 1107240 h 1240128"/>
              <a:gd name="csX18" fmla="*/ 25947 w 697572"/>
              <a:gd name="csY18" fmla="*/ 1038650 h 1240128"/>
              <a:gd name="csX19" fmla="*/ 58234 w 697572"/>
              <a:gd name="csY19" fmla="*/ 988567 h 1240128"/>
              <a:gd name="csX20" fmla="*/ 118645 w 697572"/>
              <a:gd name="csY20" fmla="*/ 928298 h 1240128"/>
              <a:gd name="csX21" fmla="*/ 126320 w 697572"/>
              <a:gd name="csY21" fmla="*/ 892015 h 1240128"/>
              <a:gd name="csX22" fmla="*/ 120345 w 697572"/>
              <a:gd name="csY22" fmla="*/ 872258 h 1240128"/>
              <a:gd name="csX23" fmla="*/ 125668 w 697572"/>
              <a:gd name="csY23" fmla="*/ 861640 h 1240128"/>
              <a:gd name="csX24" fmla="*/ 154237 w 697572"/>
              <a:gd name="csY24" fmla="*/ 850716 h 1240128"/>
              <a:gd name="csX25" fmla="*/ 170248 w 697572"/>
              <a:gd name="csY25" fmla="*/ 836767 h 1240128"/>
              <a:gd name="csX26" fmla="*/ 187840 w 697572"/>
              <a:gd name="csY26" fmla="*/ 796341 h 1240128"/>
              <a:gd name="csX27" fmla="*/ 209346 w 697572"/>
              <a:gd name="csY27" fmla="*/ 743126 h 1240128"/>
              <a:gd name="csX28" fmla="*/ 210630 w 697572"/>
              <a:gd name="csY28" fmla="*/ 737219 h 1240128"/>
              <a:gd name="csX29" fmla="*/ 213836 w 697572"/>
              <a:gd name="csY29" fmla="*/ 720505 h 1240128"/>
              <a:gd name="csX30" fmla="*/ 227791 w 697572"/>
              <a:gd name="csY30" fmla="*/ 667353 h 1240128"/>
              <a:gd name="csX31" fmla="*/ 241013 w 697572"/>
              <a:gd name="csY31" fmla="*/ 599151 h 1240128"/>
              <a:gd name="csX32" fmla="*/ 247322 w 697572"/>
              <a:gd name="csY32" fmla="*/ 542242 h 1240128"/>
              <a:gd name="csX33" fmla="*/ 247948 w 697572"/>
              <a:gd name="csY33" fmla="*/ 499296 h 1240128"/>
              <a:gd name="csX34" fmla="*/ 247577 w 697572"/>
              <a:gd name="csY34" fmla="*/ 470384 h 1240128"/>
              <a:gd name="csX35" fmla="*/ 238877 w 697572"/>
              <a:gd name="csY35" fmla="*/ 460987 h 1240128"/>
              <a:gd name="csX36" fmla="*/ 222040 w 697572"/>
              <a:gd name="csY36" fmla="*/ 458353 h 1240128"/>
              <a:gd name="csX37" fmla="*/ 172193 w 697572"/>
              <a:gd name="csY37" fmla="*/ 433714 h 1240128"/>
              <a:gd name="csX38" fmla="*/ 168410 w 697572"/>
              <a:gd name="csY38" fmla="*/ 396591 h 1240128"/>
              <a:gd name="csX39" fmla="*/ 209826 w 697572"/>
              <a:gd name="csY39" fmla="*/ 367773 h 1240128"/>
              <a:gd name="csX40" fmla="*/ 250732 w 697572"/>
              <a:gd name="csY40" fmla="*/ 355208 h 1240128"/>
              <a:gd name="csX41" fmla="*/ 258289 w 697572"/>
              <a:gd name="csY41" fmla="*/ 350426 h 1240128"/>
              <a:gd name="csX42" fmla="*/ 233274 w 697572"/>
              <a:gd name="csY42" fmla="*/ 333513 h 1240128"/>
              <a:gd name="csX43" fmla="*/ 229677 w 697572"/>
              <a:gd name="csY43" fmla="*/ 333922 h 1240128"/>
              <a:gd name="csX44" fmla="*/ 230149 w 697572"/>
              <a:gd name="csY44" fmla="*/ 332979 h 1240128"/>
              <a:gd name="csX45" fmla="*/ 227053 w 697572"/>
              <a:gd name="csY45" fmla="*/ 327076 h 1240128"/>
              <a:gd name="csX46" fmla="*/ 196769 w 697572"/>
              <a:gd name="csY46" fmla="*/ 291380 h 1240128"/>
              <a:gd name="csX47" fmla="*/ 184389 w 697572"/>
              <a:gd name="csY47" fmla="*/ 264042 h 1240128"/>
              <a:gd name="csX48" fmla="*/ 180630 w 697572"/>
              <a:gd name="csY48" fmla="*/ 257839 h 1240128"/>
              <a:gd name="csX49" fmla="*/ 176231 w 697572"/>
              <a:gd name="csY49" fmla="*/ 250643 h 1240128"/>
              <a:gd name="csX50" fmla="*/ 170073 w 697572"/>
              <a:gd name="csY50" fmla="*/ 146723 h 1240128"/>
              <a:gd name="csX51" fmla="*/ 180929 w 697572"/>
              <a:gd name="csY51" fmla="*/ 114280 h 1240128"/>
              <a:gd name="csX52" fmla="*/ 180839 w 697572"/>
              <a:gd name="csY52" fmla="*/ 101501 h 1240128"/>
              <a:gd name="csX53" fmla="*/ 233536 w 697572"/>
              <a:gd name="csY53" fmla="*/ 39653 h 1240128"/>
              <a:gd name="csX54" fmla="*/ 347618 w 697572"/>
              <a:gd name="csY54" fmla="*/ 35 h 1240128"/>
              <a:gd name="csX55" fmla="*/ 437139 w 697572"/>
              <a:gd name="csY55" fmla="*/ 22396 h 1240128"/>
              <a:gd name="csX56" fmla="*/ 529052 w 697572"/>
              <a:gd name="csY56" fmla="*/ 131093 h 1240128"/>
              <a:gd name="csX57" fmla="*/ 518497 w 697572"/>
              <a:gd name="csY57" fmla="*/ 271517 h 1240128"/>
              <a:gd name="csX58" fmla="*/ 500808 w 697572"/>
              <a:gd name="csY58" fmla="*/ 287385 h 1240128"/>
              <a:gd name="csX59" fmla="*/ 472948 w 697572"/>
              <a:gd name="csY59" fmla="*/ 323290 h 1240128"/>
              <a:gd name="csX60" fmla="*/ 469385 w 697572"/>
              <a:gd name="csY60" fmla="*/ 331565 h 1240128"/>
              <a:gd name="csX61" fmla="*/ 468293 w 697572"/>
              <a:gd name="csY61" fmla="*/ 331320 h 1240128"/>
              <a:gd name="csX62" fmla="*/ 459542 w 697572"/>
              <a:gd name="csY62" fmla="*/ 338942 h 1240128"/>
              <a:gd name="csX63" fmla="*/ 458492 w 697572"/>
              <a:gd name="csY63" fmla="*/ 338671 h 1240128"/>
              <a:gd name="csX64" fmla="*/ 436978 w 697572"/>
              <a:gd name="csY64" fmla="*/ 352226 h 1240128"/>
              <a:gd name="csX65" fmla="*/ 472329 w 697572"/>
              <a:gd name="csY65" fmla="*/ 362890 h 1240128"/>
              <a:gd name="csX66" fmla="*/ 523779 w 697572"/>
              <a:gd name="csY66" fmla="*/ 391962 h 1240128"/>
              <a:gd name="csX67" fmla="*/ 527344 w 697572"/>
              <a:gd name="csY67" fmla="*/ 430096 h 1240128"/>
              <a:gd name="csX68" fmla="*/ 504112 w 697572"/>
              <a:gd name="csY68" fmla="*/ 449628 h 1240128"/>
              <a:gd name="csX69" fmla="*/ 459430 w 697572"/>
              <a:gd name="csY69" fmla="*/ 461116 h 1240128"/>
              <a:gd name="csX70" fmla="*/ 446666 w 697572"/>
              <a:gd name="csY70" fmla="*/ 474229 h 1240128"/>
              <a:gd name="csX71" fmla="*/ 449133 w 697572"/>
              <a:gd name="csY71" fmla="*/ 531639 h 1240128"/>
              <a:gd name="csX72" fmla="*/ 454546 w 697572"/>
              <a:gd name="csY72" fmla="*/ 588688 h 1240128"/>
              <a:gd name="csX73" fmla="*/ 466126 w 697572"/>
              <a:gd name="csY73" fmla="*/ 649736 h 1240128"/>
              <a:gd name="csX74" fmla="*/ 512154 w 697572"/>
              <a:gd name="csY74" fmla="*/ 794006 h 1240128"/>
              <a:gd name="csX75" fmla="*/ 525763 w 697572"/>
              <a:gd name="csY75" fmla="*/ 834323 h 1240128"/>
              <a:gd name="csX76" fmla="*/ 530555 w 697572"/>
              <a:gd name="csY76" fmla="*/ 845114 h 1240128"/>
              <a:gd name="csX77" fmla="*/ 554424 w 697572"/>
              <a:gd name="csY77" fmla="*/ 856618 h 1240128"/>
              <a:gd name="csX78" fmla="*/ 572880 w 697572"/>
              <a:gd name="csY78" fmla="*/ 862546 h 1240128"/>
              <a:gd name="csX79" fmla="*/ 578643 w 697572"/>
              <a:gd name="csY79" fmla="*/ 880396 h 1240128"/>
              <a:gd name="csX80" fmla="*/ 572188 w 697572"/>
              <a:gd name="csY80" fmla="*/ 899820 h 1240128"/>
              <a:gd name="csX81" fmla="*/ 582698 w 697572"/>
              <a:gd name="csY81" fmla="*/ 930382 h 1240128"/>
              <a:gd name="csX82" fmla="*/ 604747 w 697572"/>
              <a:gd name="csY82" fmla="*/ 960852 h 1240128"/>
              <a:gd name="csX83" fmla="*/ 613863 w 697572"/>
              <a:gd name="csY83" fmla="*/ 968311 h 1240128"/>
              <a:gd name="csX84" fmla="*/ 629435 w 697572"/>
              <a:gd name="csY84" fmla="*/ 981186 h 1240128"/>
              <a:gd name="csX85" fmla="*/ 633611 w 697572"/>
              <a:gd name="csY85" fmla="*/ 985609 h 1240128"/>
              <a:gd name="csX86" fmla="*/ 673790 w 697572"/>
              <a:gd name="csY86" fmla="*/ 1049348 h 1240128"/>
              <a:gd name="csX87" fmla="*/ 675873 w 697572"/>
              <a:gd name="csY87" fmla="*/ 1092839 h 1240128"/>
              <a:gd name="csX88" fmla="*/ 681668 w 697572"/>
              <a:gd name="csY88" fmla="*/ 1129292 h 1240128"/>
              <a:gd name="csX89" fmla="*/ 697338 w 697572"/>
              <a:gd name="csY89" fmla="*/ 1196079 h 1240128"/>
              <a:gd name="csX90" fmla="*/ 690637 w 697572"/>
              <a:gd name="csY90" fmla="*/ 1205035 h 1240128"/>
              <a:gd name="csX91" fmla="*/ 639777 w 697572"/>
              <a:gd name="csY91" fmla="*/ 1217994 h 1240128"/>
              <a:gd name="csX92" fmla="*/ 587072 w 697572"/>
              <a:gd name="csY92" fmla="*/ 1227761 h 1240128"/>
              <a:gd name="csX93" fmla="*/ 581793 w 697572"/>
              <a:gd name="csY93" fmla="*/ 1234401 h 1240128"/>
              <a:gd name="csX94" fmla="*/ 357446 w 697572"/>
              <a:gd name="csY94" fmla="*/ 903795 h 1240128"/>
              <a:gd name="csX95" fmla="*/ 344445 w 697572"/>
              <a:gd name="csY95" fmla="*/ 903795 h 1240128"/>
              <a:gd name="csX96" fmla="*/ 349212 w 697572"/>
              <a:gd name="csY96" fmla="*/ 950515 h 1240128"/>
              <a:gd name="csX97" fmla="*/ 349538 w 697572"/>
              <a:gd name="csY97" fmla="*/ 1069392 h 1240128"/>
              <a:gd name="csX98" fmla="*/ 349415 w 697572"/>
              <a:gd name="csY98" fmla="*/ 1108925 h 1240128"/>
              <a:gd name="csX99" fmla="*/ 647726 w 697572"/>
              <a:gd name="csY99" fmla="*/ 1089872 h 1240128"/>
              <a:gd name="csX100" fmla="*/ 647654 w 697572"/>
              <a:gd name="csY100" fmla="*/ 1076267 h 1240128"/>
              <a:gd name="csX101" fmla="*/ 610267 w 697572"/>
              <a:gd name="csY101" fmla="*/ 994126 h 1240128"/>
              <a:gd name="csX102" fmla="*/ 571459 w 697572"/>
              <a:gd name="csY102" fmla="*/ 956568 h 1240128"/>
              <a:gd name="csX103" fmla="*/ 541653 w 697572"/>
              <a:gd name="csY103" fmla="*/ 901544 h 1240128"/>
              <a:gd name="csX104" fmla="*/ 539477 w 697572"/>
              <a:gd name="csY104" fmla="*/ 895908 h 1240128"/>
              <a:gd name="csX105" fmla="*/ 357446 w 697572"/>
              <a:gd name="csY105" fmla="*/ 903795 h 1240128"/>
              <a:gd name="csX106" fmla="*/ 300108 w 697572"/>
              <a:gd name="csY106" fmla="*/ 85260 h 1240128"/>
              <a:gd name="csX107" fmla="*/ 290213 w 697572"/>
              <a:gd name="csY107" fmla="*/ 127888 h 1240128"/>
              <a:gd name="csX108" fmla="*/ 331056 w 697572"/>
              <a:gd name="csY108" fmla="*/ 214168 h 1240128"/>
              <a:gd name="csX109" fmla="*/ 424717 w 697572"/>
              <a:gd name="csY109" fmla="*/ 245160 h 1240128"/>
              <a:gd name="csX110" fmla="*/ 496752 w 697572"/>
              <a:gd name="csY110" fmla="*/ 141256 h 1240128"/>
              <a:gd name="csX111" fmla="*/ 390320 w 697572"/>
              <a:gd name="csY111" fmla="*/ 43995 h 1240128"/>
              <a:gd name="csX112" fmla="*/ 300108 w 697572"/>
              <a:gd name="csY112" fmla="*/ 85260 h 1240128"/>
              <a:gd name="csX113" fmla="*/ 343360 w 697572"/>
              <a:gd name="csY113" fmla="*/ 634332 h 1240128"/>
              <a:gd name="csX114" fmla="*/ 340877 w 697572"/>
              <a:gd name="csY114" fmla="*/ 732259 h 1240128"/>
              <a:gd name="csX115" fmla="*/ 338360 w 697572"/>
              <a:gd name="csY115" fmla="*/ 810538 h 1240128"/>
              <a:gd name="csX116" fmla="*/ 337115 w 697572"/>
              <a:gd name="csY116" fmla="*/ 817736 h 1240128"/>
              <a:gd name="csX117" fmla="*/ 336516 w 697572"/>
              <a:gd name="csY117" fmla="*/ 863022 h 1240128"/>
              <a:gd name="csX118" fmla="*/ 343436 w 697572"/>
              <a:gd name="csY118" fmla="*/ 864027 h 1240128"/>
              <a:gd name="csX119" fmla="*/ 406718 w 697572"/>
              <a:gd name="csY119" fmla="*/ 862982 h 1240128"/>
              <a:gd name="csX120" fmla="*/ 456888 w 697572"/>
              <a:gd name="csY120" fmla="*/ 861794 h 1240128"/>
              <a:gd name="csX121" fmla="*/ 495873 w 697572"/>
              <a:gd name="csY121" fmla="*/ 863963 h 1240128"/>
              <a:gd name="csX122" fmla="*/ 509286 w 697572"/>
              <a:gd name="csY122" fmla="*/ 863595 h 1240128"/>
              <a:gd name="csX123" fmla="*/ 516956 w 697572"/>
              <a:gd name="csY123" fmla="*/ 856791 h 1240128"/>
              <a:gd name="csX124" fmla="*/ 513920 w 697572"/>
              <a:gd name="csY124" fmla="*/ 848709 h 1240128"/>
              <a:gd name="csX125" fmla="*/ 506683 w 697572"/>
              <a:gd name="csY125" fmla="*/ 839054 h 1240128"/>
              <a:gd name="csX126" fmla="*/ 488629 w 697572"/>
              <a:gd name="csY126" fmla="*/ 799037 h 1240128"/>
              <a:gd name="csX127" fmla="*/ 456922 w 697572"/>
              <a:gd name="csY127" fmla="*/ 696297 h 1240128"/>
              <a:gd name="csX128" fmla="*/ 441346 w 697572"/>
              <a:gd name="csY128" fmla="*/ 619885 h 1240128"/>
              <a:gd name="csX129" fmla="*/ 435963 w 697572"/>
              <a:gd name="csY129" fmla="*/ 582529 h 1240128"/>
              <a:gd name="csX130" fmla="*/ 429497 w 697572"/>
              <a:gd name="csY130" fmla="*/ 521990 h 1240128"/>
              <a:gd name="csX131" fmla="*/ 426887 w 697572"/>
              <a:gd name="csY131" fmla="*/ 471989 h 1240128"/>
              <a:gd name="csX132" fmla="*/ 413744 w 697572"/>
              <a:gd name="csY132" fmla="*/ 461077 h 1240128"/>
              <a:gd name="csX133" fmla="*/ 353573 w 697572"/>
              <a:gd name="csY133" fmla="*/ 461120 h 1240128"/>
              <a:gd name="csX134" fmla="*/ 344160 w 697572"/>
              <a:gd name="csY134" fmla="*/ 462286 h 1240128"/>
              <a:gd name="csX135" fmla="*/ 343404 w 697572"/>
              <a:gd name="csY135" fmla="*/ 469192 h 1240128"/>
              <a:gd name="csX136" fmla="*/ 343469 w 697572"/>
              <a:gd name="csY136" fmla="*/ 574797 h 1240128"/>
              <a:gd name="csX137" fmla="*/ 345522 w 697572"/>
              <a:gd name="csY137" fmla="*/ 591669 h 1240128"/>
              <a:gd name="csX138" fmla="*/ 343360 w 697572"/>
              <a:gd name="csY138" fmla="*/ 634332 h 1240128"/>
              <a:gd name="csX139" fmla="*/ 416946 w 697572"/>
              <a:gd name="csY139" fmla="*/ 385943 h 1240128"/>
              <a:gd name="csX140" fmla="*/ 401091 w 697572"/>
              <a:gd name="csY140" fmla="*/ 387162 h 1240128"/>
              <a:gd name="csX141" fmla="*/ 369218 w 697572"/>
              <a:gd name="csY141" fmla="*/ 387708 h 1240128"/>
              <a:gd name="csX142" fmla="*/ 351833 w 697572"/>
              <a:gd name="csY142" fmla="*/ 398991 h 1240128"/>
              <a:gd name="csX143" fmla="*/ 349778 w 697572"/>
              <a:gd name="csY143" fmla="*/ 426021 h 1240128"/>
              <a:gd name="csX144" fmla="*/ 361839 w 697572"/>
              <a:gd name="csY144" fmla="*/ 426538 h 1240128"/>
              <a:gd name="csX145" fmla="*/ 455022 w 697572"/>
              <a:gd name="csY145" fmla="*/ 426922 h 1240128"/>
              <a:gd name="csX146" fmla="*/ 481958 w 697572"/>
              <a:gd name="csY146" fmla="*/ 426527 h 1240128"/>
              <a:gd name="csX147" fmla="*/ 499817 w 697572"/>
              <a:gd name="csY147" fmla="*/ 419888 h 1240128"/>
              <a:gd name="csX148" fmla="*/ 499439 w 697572"/>
              <a:gd name="csY148" fmla="*/ 400719 h 1240128"/>
              <a:gd name="csX149" fmla="*/ 468062 w 697572"/>
              <a:gd name="csY149" fmla="*/ 387775 h 1240128"/>
              <a:gd name="csX150" fmla="*/ 416946 w 697572"/>
              <a:gd name="csY150" fmla="*/ 385943 h 1240128"/>
              <a:gd name="csX151" fmla="*/ 636802 w 697572"/>
              <a:gd name="csY151" fmla="*/ 1190940 h 1240128"/>
              <a:gd name="csX152" fmla="*/ 666492 w 697572"/>
              <a:gd name="csY152" fmla="*/ 1184186 h 1240128"/>
              <a:gd name="csX153" fmla="*/ 674465 w 697572"/>
              <a:gd name="csY153" fmla="*/ 1170880 h 1240128"/>
              <a:gd name="csX154" fmla="*/ 662462 w 697572"/>
              <a:gd name="csY154" fmla="*/ 1141464 h 1240128"/>
              <a:gd name="csX155" fmla="*/ 645564 w 697572"/>
              <a:gd name="csY155" fmla="*/ 1131937 h 1240128"/>
              <a:gd name="csX156" fmla="*/ 627387 w 697572"/>
              <a:gd name="csY156" fmla="*/ 1133618 h 1240128"/>
              <a:gd name="csX157" fmla="*/ 583917 w 697572"/>
              <a:gd name="csY157" fmla="*/ 1139222 h 1240128"/>
              <a:gd name="csX158" fmla="*/ 543741 w 697572"/>
              <a:gd name="csY158" fmla="*/ 1141869 h 1240128"/>
              <a:gd name="csX159" fmla="*/ 512146 w 697572"/>
              <a:gd name="csY159" fmla="*/ 1144418 h 1240128"/>
              <a:gd name="csX160" fmla="*/ 447711 w 697572"/>
              <a:gd name="csY160" fmla="*/ 1148973 h 1240128"/>
              <a:gd name="csX161" fmla="*/ 351979 w 697572"/>
              <a:gd name="csY161" fmla="*/ 1149200 h 1240128"/>
              <a:gd name="csX162" fmla="*/ 338443 w 697572"/>
              <a:gd name="csY162" fmla="*/ 1150040 h 1240128"/>
              <a:gd name="csX163" fmla="*/ 338451 w 697572"/>
              <a:gd name="csY163" fmla="*/ 1190780 h 1240128"/>
              <a:gd name="csX164" fmla="*/ 351082 w 697572"/>
              <a:gd name="csY164" fmla="*/ 1207015 h 1240128"/>
              <a:gd name="csX165" fmla="*/ 358298 w 697572"/>
              <a:gd name="csY165" fmla="*/ 1208094 h 1240128"/>
              <a:gd name="csX166" fmla="*/ 521229 w 697572"/>
              <a:gd name="csY166" fmla="*/ 1205646 h 1240128"/>
              <a:gd name="csX167" fmla="*/ 523675 w 697572"/>
              <a:gd name="csY167" fmla="*/ 1205490 h 1240128"/>
              <a:gd name="csX168" fmla="*/ 580423 w 697572"/>
              <a:gd name="csY168" fmla="*/ 1198350 h 1240128"/>
              <a:gd name="csX169" fmla="*/ 636802 w 697572"/>
              <a:gd name="csY169" fmla="*/ 1190940 h 124012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</a:cxnLst>
            <a:rect l="l" t="t" r="r" b="b"/>
            <a:pathLst>
              <a:path w="697572" h="1240128">
                <a:moveTo>
                  <a:pt x="581793" y="1234401"/>
                </a:moveTo>
                <a:cubicBezTo>
                  <a:pt x="580693" y="1234661"/>
                  <a:pt x="579594" y="1234922"/>
                  <a:pt x="577427" y="1234156"/>
                </a:cubicBezTo>
                <a:cubicBezTo>
                  <a:pt x="571216" y="1227899"/>
                  <a:pt x="564912" y="1230441"/>
                  <a:pt x="559133" y="1230909"/>
                </a:cubicBezTo>
                <a:cubicBezTo>
                  <a:pt x="544971" y="1232056"/>
                  <a:pt x="530869" y="1233971"/>
                  <a:pt x="516706" y="1235117"/>
                </a:cubicBezTo>
                <a:cubicBezTo>
                  <a:pt x="502910" y="1236232"/>
                  <a:pt x="489077" y="1237097"/>
                  <a:pt x="475244" y="1237506"/>
                </a:cubicBezTo>
                <a:cubicBezTo>
                  <a:pt x="440539" y="1238535"/>
                  <a:pt x="405696" y="1241458"/>
                  <a:pt x="371154" y="1239428"/>
                </a:cubicBezTo>
                <a:cubicBezTo>
                  <a:pt x="339645" y="1237575"/>
                  <a:pt x="308239" y="1238753"/>
                  <a:pt x="276813" y="1237654"/>
                </a:cubicBezTo>
                <a:cubicBezTo>
                  <a:pt x="273949" y="1237553"/>
                  <a:pt x="271079" y="1237652"/>
                  <a:pt x="268212" y="1237635"/>
                </a:cubicBezTo>
                <a:cubicBezTo>
                  <a:pt x="266165" y="1237623"/>
                  <a:pt x="264111" y="1237668"/>
                  <a:pt x="262072" y="1237523"/>
                </a:cubicBezTo>
                <a:cubicBezTo>
                  <a:pt x="239751" y="1235944"/>
                  <a:pt x="217441" y="1234201"/>
                  <a:pt x="195111" y="1232775"/>
                </a:cubicBezTo>
                <a:cubicBezTo>
                  <a:pt x="178437" y="1231710"/>
                  <a:pt x="161712" y="1231378"/>
                  <a:pt x="145060" y="1230076"/>
                </a:cubicBezTo>
                <a:cubicBezTo>
                  <a:pt x="134969" y="1229287"/>
                  <a:pt x="124987" y="1227177"/>
                  <a:pt x="114933" y="1225832"/>
                </a:cubicBezTo>
                <a:cubicBezTo>
                  <a:pt x="100834" y="1223946"/>
                  <a:pt x="86554" y="1223022"/>
                  <a:pt x="72642" y="1220237"/>
                </a:cubicBezTo>
                <a:cubicBezTo>
                  <a:pt x="51920" y="1216091"/>
                  <a:pt x="31443" y="1210723"/>
                  <a:pt x="10894" y="1205737"/>
                </a:cubicBezTo>
                <a:cubicBezTo>
                  <a:pt x="9027" y="1205284"/>
                  <a:pt x="6196" y="1204140"/>
                  <a:pt x="5856" y="1202799"/>
                </a:cubicBezTo>
                <a:cubicBezTo>
                  <a:pt x="3474" y="1193418"/>
                  <a:pt x="-438" y="1183796"/>
                  <a:pt x="40" y="1174450"/>
                </a:cubicBezTo>
                <a:cubicBezTo>
                  <a:pt x="1079" y="1154149"/>
                  <a:pt x="9757" y="1135843"/>
                  <a:pt x="19831" y="1118410"/>
                </a:cubicBezTo>
                <a:cubicBezTo>
                  <a:pt x="21968" y="1114713"/>
                  <a:pt x="22970" y="1111858"/>
                  <a:pt x="22004" y="1107240"/>
                </a:cubicBezTo>
                <a:cubicBezTo>
                  <a:pt x="17168" y="1084118"/>
                  <a:pt x="17717" y="1061168"/>
                  <a:pt x="25947" y="1038650"/>
                </a:cubicBezTo>
                <a:cubicBezTo>
                  <a:pt x="32954" y="1019481"/>
                  <a:pt x="44478" y="1003118"/>
                  <a:pt x="58234" y="988567"/>
                </a:cubicBezTo>
                <a:cubicBezTo>
                  <a:pt x="77769" y="967902"/>
                  <a:pt x="97978" y="947832"/>
                  <a:pt x="118645" y="928298"/>
                </a:cubicBezTo>
                <a:cubicBezTo>
                  <a:pt x="130104" y="917467"/>
                  <a:pt x="131835" y="905961"/>
                  <a:pt x="126320" y="892015"/>
                </a:cubicBezTo>
                <a:cubicBezTo>
                  <a:pt x="123798" y="885637"/>
                  <a:pt x="122123" y="878904"/>
                  <a:pt x="120345" y="872258"/>
                </a:cubicBezTo>
                <a:cubicBezTo>
                  <a:pt x="119029" y="867341"/>
                  <a:pt x="120162" y="863613"/>
                  <a:pt x="125668" y="861640"/>
                </a:cubicBezTo>
                <a:cubicBezTo>
                  <a:pt x="135266" y="858201"/>
                  <a:pt x="144535" y="853788"/>
                  <a:pt x="154237" y="850716"/>
                </a:cubicBezTo>
                <a:cubicBezTo>
                  <a:pt x="161882" y="848296"/>
                  <a:pt x="167110" y="843897"/>
                  <a:pt x="170248" y="836767"/>
                </a:cubicBezTo>
                <a:cubicBezTo>
                  <a:pt x="176168" y="823316"/>
                  <a:pt x="182193" y="809907"/>
                  <a:pt x="187840" y="796341"/>
                </a:cubicBezTo>
                <a:cubicBezTo>
                  <a:pt x="195194" y="778679"/>
                  <a:pt x="202250" y="760894"/>
                  <a:pt x="209346" y="743126"/>
                </a:cubicBezTo>
                <a:cubicBezTo>
                  <a:pt x="210083" y="741280"/>
                  <a:pt x="210252" y="739200"/>
                  <a:pt x="210630" y="737219"/>
                </a:cubicBezTo>
                <a:cubicBezTo>
                  <a:pt x="211694" y="731645"/>
                  <a:pt x="212425" y="725987"/>
                  <a:pt x="213836" y="720505"/>
                </a:cubicBezTo>
                <a:cubicBezTo>
                  <a:pt x="218406" y="702764"/>
                  <a:pt x="223811" y="685219"/>
                  <a:pt x="227791" y="667353"/>
                </a:cubicBezTo>
                <a:cubicBezTo>
                  <a:pt x="232826" y="644755"/>
                  <a:pt x="237367" y="622009"/>
                  <a:pt x="241013" y="599151"/>
                </a:cubicBezTo>
                <a:cubicBezTo>
                  <a:pt x="244018" y="580319"/>
                  <a:pt x="246001" y="561272"/>
                  <a:pt x="247322" y="542242"/>
                </a:cubicBezTo>
                <a:cubicBezTo>
                  <a:pt x="248312" y="527975"/>
                  <a:pt x="246344" y="513451"/>
                  <a:pt x="247948" y="499296"/>
                </a:cubicBezTo>
                <a:cubicBezTo>
                  <a:pt x="249066" y="489432"/>
                  <a:pt x="247923" y="480014"/>
                  <a:pt x="247577" y="470384"/>
                </a:cubicBezTo>
                <a:cubicBezTo>
                  <a:pt x="247364" y="464453"/>
                  <a:pt x="245121" y="461397"/>
                  <a:pt x="238877" y="460987"/>
                </a:cubicBezTo>
                <a:cubicBezTo>
                  <a:pt x="233224" y="460615"/>
                  <a:pt x="227461" y="459920"/>
                  <a:pt x="222040" y="458353"/>
                </a:cubicBezTo>
                <a:cubicBezTo>
                  <a:pt x="203991" y="453134"/>
                  <a:pt x="185737" y="448229"/>
                  <a:pt x="172193" y="433714"/>
                </a:cubicBezTo>
                <a:cubicBezTo>
                  <a:pt x="162702" y="423544"/>
                  <a:pt x="160887" y="408134"/>
                  <a:pt x="168410" y="396591"/>
                </a:cubicBezTo>
                <a:cubicBezTo>
                  <a:pt x="178294" y="381428"/>
                  <a:pt x="193736" y="373793"/>
                  <a:pt x="209826" y="367773"/>
                </a:cubicBezTo>
                <a:cubicBezTo>
                  <a:pt x="223159" y="362784"/>
                  <a:pt x="237124" y="359493"/>
                  <a:pt x="250732" y="355208"/>
                </a:cubicBezTo>
                <a:cubicBezTo>
                  <a:pt x="253085" y="354467"/>
                  <a:pt x="255058" y="352518"/>
                  <a:pt x="258289" y="350426"/>
                </a:cubicBezTo>
                <a:cubicBezTo>
                  <a:pt x="250173" y="342610"/>
                  <a:pt x="241833" y="337880"/>
                  <a:pt x="233274" y="333513"/>
                </a:cubicBezTo>
                <a:cubicBezTo>
                  <a:pt x="232377" y="333055"/>
                  <a:pt x="230890" y="333758"/>
                  <a:pt x="229677" y="333922"/>
                </a:cubicBezTo>
                <a:cubicBezTo>
                  <a:pt x="229677" y="333922"/>
                  <a:pt x="230323" y="333834"/>
                  <a:pt x="230149" y="332979"/>
                </a:cubicBezTo>
                <a:cubicBezTo>
                  <a:pt x="229023" y="330409"/>
                  <a:pt x="228502" y="328059"/>
                  <a:pt x="227053" y="327076"/>
                </a:cubicBezTo>
                <a:cubicBezTo>
                  <a:pt x="213615" y="317962"/>
                  <a:pt x="204643" y="305332"/>
                  <a:pt x="196769" y="291380"/>
                </a:cubicBezTo>
                <a:cubicBezTo>
                  <a:pt x="191792" y="282564"/>
                  <a:pt x="185421" y="274665"/>
                  <a:pt x="184389" y="264042"/>
                </a:cubicBezTo>
                <a:cubicBezTo>
                  <a:pt x="184179" y="261874"/>
                  <a:pt x="181925" y="259908"/>
                  <a:pt x="180630" y="257839"/>
                </a:cubicBezTo>
                <a:cubicBezTo>
                  <a:pt x="179137" y="255454"/>
                  <a:pt x="177317" y="253204"/>
                  <a:pt x="176231" y="250643"/>
                </a:cubicBezTo>
                <a:cubicBezTo>
                  <a:pt x="161865" y="216749"/>
                  <a:pt x="159606" y="182060"/>
                  <a:pt x="170073" y="146723"/>
                </a:cubicBezTo>
                <a:cubicBezTo>
                  <a:pt x="173311" y="135795"/>
                  <a:pt x="177248" y="125074"/>
                  <a:pt x="180929" y="114280"/>
                </a:cubicBezTo>
                <a:cubicBezTo>
                  <a:pt x="182396" y="109981"/>
                  <a:pt x="183922" y="105742"/>
                  <a:pt x="180839" y="101501"/>
                </a:cubicBezTo>
                <a:cubicBezTo>
                  <a:pt x="192473" y="75833"/>
                  <a:pt x="211344" y="56271"/>
                  <a:pt x="233536" y="39653"/>
                </a:cubicBezTo>
                <a:cubicBezTo>
                  <a:pt x="267321" y="14353"/>
                  <a:pt x="305621" y="873"/>
                  <a:pt x="347618" y="35"/>
                </a:cubicBezTo>
                <a:cubicBezTo>
                  <a:pt x="379125" y="-593"/>
                  <a:pt x="409214" y="7172"/>
                  <a:pt x="437139" y="22396"/>
                </a:cubicBezTo>
                <a:cubicBezTo>
                  <a:pt x="481844" y="46766"/>
                  <a:pt x="514077" y="82116"/>
                  <a:pt x="529052" y="131093"/>
                </a:cubicBezTo>
                <a:cubicBezTo>
                  <a:pt x="543544" y="178495"/>
                  <a:pt x="541630" y="225548"/>
                  <a:pt x="518497" y="271517"/>
                </a:cubicBezTo>
                <a:cubicBezTo>
                  <a:pt x="511428" y="277096"/>
                  <a:pt x="503848" y="281136"/>
                  <a:pt x="500808" y="287385"/>
                </a:cubicBezTo>
                <a:cubicBezTo>
                  <a:pt x="493932" y="301522"/>
                  <a:pt x="483805" y="312513"/>
                  <a:pt x="472948" y="323290"/>
                </a:cubicBezTo>
                <a:cubicBezTo>
                  <a:pt x="470972" y="325253"/>
                  <a:pt x="470533" y="328767"/>
                  <a:pt x="469385" y="331565"/>
                </a:cubicBezTo>
                <a:cubicBezTo>
                  <a:pt x="469385" y="331565"/>
                  <a:pt x="469172" y="331584"/>
                  <a:pt x="468293" y="331320"/>
                </a:cubicBezTo>
                <a:cubicBezTo>
                  <a:pt x="461937" y="330836"/>
                  <a:pt x="458618" y="332772"/>
                  <a:pt x="459542" y="338942"/>
                </a:cubicBezTo>
                <a:cubicBezTo>
                  <a:pt x="459542" y="338942"/>
                  <a:pt x="459473" y="338913"/>
                  <a:pt x="458492" y="338671"/>
                </a:cubicBezTo>
                <a:cubicBezTo>
                  <a:pt x="450936" y="342653"/>
                  <a:pt x="440712" y="341355"/>
                  <a:pt x="436978" y="352226"/>
                </a:cubicBezTo>
                <a:cubicBezTo>
                  <a:pt x="449178" y="355911"/>
                  <a:pt x="460733" y="359469"/>
                  <a:pt x="472329" y="362890"/>
                </a:cubicBezTo>
                <a:cubicBezTo>
                  <a:pt x="491728" y="368613"/>
                  <a:pt x="510182" y="375784"/>
                  <a:pt x="523779" y="391962"/>
                </a:cubicBezTo>
                <a:cubicBezTo>
                  <a:pt x="535849" y="406326"/>
                  <a:pt x="534845" y="420076"/>
                  <a:pt x="527344" y="430096"/>
                </a:cubicBezTo>
                <a:cubicBezTo>
                  <a:pt x="521323" y="438139"/>
                  <a:pt x="513928" y="445333"/>
                  <a:pt x="504112" y="449628"/>
                </a:cubicBezTo>
                <a:cubicBezTo>
                  <a:pt x="489776" y="455901"/>
                  <a:pt x="475173" y="460486"/>
                  <a:pt x="459430" y="461116"/>
                </a:cubicBezTo>
                <a:cubicBezTo>
                  <a:pt x="448415" y="461557"/>
                  <a:pt x="446384" y="463369"/>
                  <a:pt x="446666" y="474229"/>
                </a:cubicBezTo>
                <a:cubicBezTo>
                  <a:pt x="447164" y="493376"/>
                  <a:pt x="447839" y="512533"/>
                  <a:pt x="449133" y="531639"/>
                </a:cubicBezTo>
                <a:cubicBezTo>
                  <a:pt x="450424" y="550696"/>
                  <a:pt x="451783" y="569809"/>
                  <a:pt x="454546" y="588688"/>
                </a:cubicBezTo>
                <a:cubicBezTo>
                  <a:pt x="457543" y="609164"/>
                  <a:pt x="462165" y="629403"/>
                  <a:pt x="466126" y="649736"/>
                </a:cubicBezTo>
                <a:cubicBezTo>
                  <a:pt x="475845" y="699621"/>
                  <a:pt x="493414" y="746980"/>
                  <a:pt x="512154" y="794006"/>
                </a:cubicBezTo>
                <a:cubicBezTo>
                  <a:pt x="517387" y="807138"/>
                  <a:pt x="525145" y="819463"/>
                  <a:pt x="525763" y="834323"/>
                </a:cubicBezTo>
                <a:cubicBezTo>
                  <a:pt x="525919" y="838081"/>
                  <a:pt x="527739" y="843335"/>
                  <a:pt x="530555" y="845114"/>
                </a:cubicBezTo>
                <a:cubicBezTo>
                  <a:pt x="537981" y="849801"/>
                  <a:pt x="546243" y="853278"/>
                  <a:pt x="554424" y="856618"/>
                </a:cubicBezTo>
                <a:cubicBezTo>
                  <a:pt x="560391" y="859054"/>
                  <a:pt x="567041" y="859887"/>
                  <a:pt x="572880" y="862546"/>
                </a:cubicBezTo>
                <a:cubicBezTo>
                  <a:pt x="581470" y="866458"/>
                  <a:pt x="582467" y="871415"/>
                  <a:pt x="578643" y="880396"/>
                </a:cubicBezTo>
                <a:cubicBezTo>
                  <a:pt x="575969" y="886677"/>
                  <a:pt x="572900" y="893182"/>
                  <a:pt x="572188" y="899820"/>
                </a:cubicBezTo>
                <a:cubicBezTo>
                  <a:pt x="570960" y="911271"/>
                  <a:pt x="576506" y="920944"/>
                  <a:pt x="582698" y="930382"/>
                </a:cubicBezTo>
                <a:cubicBezTo>
                  <a:pt x="589569" y="940856"/>
                  <a:pt x="600933" y="947930"/>
                  <a:pt x="604747" y="960852"/>
                </a:cubicBezTo>
                <a:cubicBezTo>
                  <a:pt x="605684" y="964030"/>
                  <a:pt x="610294" y="967128"/>
                  <a:pt x="613863" y="968311"/>
                </a:cubicBezTo>
                <a:cubicBezTo>
                  <a:pt x="620963" y="970665"/>
                  <a:pt x="625924" y="974774"/>
                  <a:pt x="629435" y="981186"/>
                </a:cubicBezTo>
                <a:cubicBezTo>
                  <a:pt x="630381" y="982913"/>
                  <a:pt x="631977" y="984459"/>
                  <a:pt x="633611" y="985609"/>
                </a:cubicBezTo>
                <a:cubicBezTo>
                  <a:pt x="655878" y="1001272"/>
                  <a:pt x="668032" y="1023762"/>
                  <a:pt x="673790" y="1049348"/>
                </a:cubicBezTo>
                <a:cubicBezTo>
                  <a:pt x="676936" y="1063327"/>
                  <a:pt x="679769" y="1077802"/>
                  <a:pt x="675873" y="1092839"/>
                </a:cubicBezTo>
                <a:cubicBezTo>
                  <a:pt x="672677" y="1105174"/>
                  <a:pt x="673042" y="1116963"/>
                  <a:pt x="681668" y="1129292"/>
                </a:cubicBezTo>
                <a:cubicBezTo>
                  <a:pt x="695321" y="1148802"/>
                  <a:pt x="698550" y="1172235"/>
                  <a:pt x="697338" y="1196079"/>
                </a:cubicBezTo>
                <a:cubicBezTo>
                  <a:pt x="697087" y="1201014"/>
                  <a:pt x="694979" y="1203886"/>
                  <a:pt x="690637" y="1205035"/>
                </a:cubicBezTo>
                <a:cubicBezTo>
                  <a:pt x="673723" y="1209511"/>
                  <a:pt x="656856" y="1214241"/>
                  <a:pt x="639777" y="1217994"/>
                </a:cubicBezTo>
                <a:cubicBezTo>
                  <a:pt x="622334" y="1221827"/>
                  <a:pt x="604691" y="1224790"/>
                  <a:pt x="587072" y="1227761"/>
                </a:cubicBezTo>
                <a:cubicBezTo>
                  <a:pt x="582708" y="1228497"/>
                  <a:pt x="581724" y="1230736"/>
                  <a:pt x="581793" y="1234401"/>
                </a:cubicBezTo>
                <a:moveTo>
                  <a:pt x="357446" y="903795"/>
                </a:moveTo>
                <a:cubicBezTo>
                  <a:pt x="353141" y="903795"/>
                  <a:pt x="348835" y="903795"/>
                  <a:pt x="344445" y="903795"/>
                </a:cubicBezTo>
                <a:cubicBezTo>
                  <a:pt x="346169" y="920562"/>
                  <a:pt x="347908" y="935520"/>
                  <a:pt x="349212" y="950515"/>
                </a:cubicBezTo>
                <a:cubicBezTo>
                  <a:pt x="352656" y="990125"/>
                  <a:pt x="351941" y="1029743"/>
                  <a:pt x="349538" y="1069392"/>
                </a:cubicBezTo>
                <a:cubicBezTo>
                  <a:pt x="348759" y="1082241"/>
                  <a:pt x="349415" y="1095176"/>
                  <a:pt x="349415" y="1108925"/>
                </a:cubicBezTo>
                <a:cubicBezTo>
                  <a:pt x="449467" y="1111953"/>
                  <a:pt x="548509" y="1104712"/>
                  <a:pt x="647726" y="1089872"/>
                </a:cubicBezTo>
                <a:cubicBezTo>
                  <a:pt x="647726" y="1084313"/>
                  <a:pt x="648180" y="1080225"/>
                  <a:pt x="647654" y="1076267"/>
                </a:cubicBezTo>
                <a:cubicBezTo>
                  <a:pt x="643515" y="1045124"/>
                  <a:pt x="633172" y="1016714"/>
                  <a:pt x="610267" y="994126"/>
                </a:cubicBezTo>
                <a:cubicBezTo>
                  <a:pt x="597451" y="981485"/>
                  <a:pt x="584392" y="969090"/>
                  <a:pt x="571459" y="956568"/>
                </a:cubicBezTo>
                <a:cubicBezTo>
                  <a:pt x="555751" y="941359"/>
                  <a:pt x="544836" y="923558"/>
                  <a:pt x="541653" y="901544"/>
                </a:cubicBezTo>
                <a:cubicBezTo>
                  <a:pt x="541430" y="900007"/>
                  <a:pt x="540528" y="898570"/>
                  <a:pt x="539477" y="895908"/>
                </a:cubicBezTo>
                <a:cubicBezTo>
                  <a:pt x="479736" y="901652"/>
                  <a:pt x="419815" y="904536"/>
                  <a:pt x="357446" y="903795"/>
                </a:cubicBezTo>
                <a:moveTo>
                  <a:pt x="300108" y="85260"/>
                </a:moveTo>
                <a:cubicBezTo>
                  <a:pt x="293656" y="98745"/>
                  <a:pt x="289202" y="113094"/>
                  <a:pt x="290213" y="127888"/>
                </a:cubicBezTo>
                <a:cubicBezTo>
                  <a:pt x="292527" y="161736"/>
                  <a:pt x="304185" y="191723"/>
                  <a:pt x="331056" y="214168"/>
                </a:cubicBezTo>
                <a:cubicBezTo>
                  <a:pt x="358172" y="236816"/>
                  <a:pt x="388435" y="249934"/>
                  <a:pt x="424717" y="245160"/>
                </a:cubicBezTo>
                <a:cubicBezTo>
                  <a:pt x="468593" y="239387"/>
                  <a:pt x="509574" y="203365"/>
                  <a:pt x="496752" y="141256"/>
                </a:cubicBezTo>
                <a:cubicBezTo>
                  <a:pt x="487021" y="94124"/>
                  <a:pt x="447261" y="51874"/>
                  <a:pt x="390320" y="43995"/>
                </a:cubicBezTo>
                <a:cubicBezTo>
                  <a:pt x="353241" y="38865"/>
                  <a:pt x="321136" y="48750"/>
                  <a:pt x="300108" y="85260"/>
                </a:cubicBezTo>
                <a:moveTo>
                  <a:pt x="343360" y="634332"/>
                </a:moveTo>
                <a:cubicBezTo>
                  <a:pt x="342539" y="666975"/>
                  <a:pt x="341785" y="699619"/>
                  <a:pt x="340877" y="732259"/>
                </a:cubicBezTo>
                <a:cubicBezTo>
                  <a:pt x="340151" y="758355"/>
                  <a:pt x="339265" y="784447"/>
                  <a:pt x="338360" y="810538"/>
                </a:cubicBezTo>
                <a:cubicBezTo>
                  <a:pt x="338277" y="812948"/>
                  <a:pt x="337465" y="815325"/>
                  <a:pt x="337115" y="817736"/>
                </a:cubicBezTo>
                <a:cubicBezTo>
                  <a:pt x="334935" y="832710"/>
                  <a:pt x="336026" y="847647"/>
                  <a:pt x="336516" y="863022"/>
                </a:cubicBezTo>
                <a:cubicBezTo>
                  <a:pt x="339537" y="863479"/>
                  <a:pt x="341490" y="864053"/>
                  <a:pt x="343436" y="864027"/>
                </a:cubicBezTo>
                <a:cubicBezTo>
                  <a:pt x="364531" y="863739"/>
                  <a:pt x="385626" y="863422"/>
                  <a:pt x="406718" y="862982"/>
                </a:cubicBezTo>
                <a:cubicBezTo>
                  <a:pt x="423444" y="862634"/>
                  <a:pt x="440168" y="861675"/>
                  <a:pt x="456888" y="861794"/>
                </a:cubicBezTo>
                <a:cubicBezTo>
                  <a:pt x="469887" y="861886"/>
                  <a:pt x="482872" y="863302"/>
                  <a:pt x="495873" y="863963"/>
                </a:cubicBezTo>
                <a:cubicBezTo>
                  <a:pt x="500358" y="864191"/>
                  <a:pt x="505108" y="864773"/>
                  <a:pt x="509286" y="863595"/>
                </a:cubicBezTo>
                <a:cubicBezTo>
                  <a:pt x="512346" y="862732"/>
                  <a:pt x="515714" y="859703"/>
                  <a:pt x="516956" y="856791"/>
                </a:cubicBezTo>
                <a:cubicBezTo>
                  <a:pt x="517783" y="854851"/>
                  <a:pt x="515475" y="851192"/>
                  <a:pt x="513920" y="848709"/>
                </a:cubicBezTo>
                <a:cubicBezTo>
                  <a:pt x="511791" y="845308"/>
                  <a:pt x="508393" y="842606"/>
                  <a:pt x="506683" y="839054"/>
                </a:cubicBezTo>
                <a:cubicBezTo>
                  <a:pt x="500331" y="825864"/>
                  <a:pt x="493224" y="812855"/>
                  <a:pt x="488629" y="799037"/>
                </a:cubicBezTo>
                <a:cubicBezTo>
                  <a:pt x="477322" y="765031"/>
                  <a:pt x="466537" y="730814"/>
                  <a:pt x="456922" y="696297"/>
                </a:cubicBezTo>
                <a:cubicBezTo>
                  <a:pt x="449953" y="671276"/>
                  <a:pt x="443477" y="646020"/>
                  <a:pt x="441346" y="619885"/>
                </a:cubicBezTo>
                <a:cubicBezTo>
                  <a:pt x="440327" y="607371"/>
                  <a:pt x="437466" y="595018"/>
                  <a:pt x="435963" y="582529"/>
                </a:cubicBezTo>
                <a:cubicBezTo>
                  <a:pt x="433539" y="562380"/>
                  <a:pt x="431154" y="542212"/>
                  <a:pt x="429497" y="521990"/>
                </a:cubicBezTo>
                <a:cubicBezTo>
                  <a:pt x="428135" y="505363"/>
                  <a:pt x="428437" y="488593"/>
                  <a:pt x="426887" y="471989"/>
                </a:cubicBezTo>
                <a:cubicBezTo>
                  <a:pt x="425874" y="461140"/>
                  <a:pt x="424983" y="461120"/>
                  <a:pt x="413744" y="461077"/>
                </a:cubicBezTo>
                <a:cubicBezTo>
                  <a:pt x="393687" y="461000"/>
                  <a:pt x="373630" y="461011"/>
                  <a:pt x="353573" y="461120"/>
                </a:cubicBezTo>
                <a:cubicBezTo>
                  <a:pt x="350472" y="461137"/>
                  <a:pt x="347374" y="461869"/>
                  <a:pt x="344160" y="462286"/>
                </a:cubicBezTo>
                <a:cubicBezTo>
                  <a:pt x="343828" y="465198"/>
                  <a:pt x="343406" y="467195"/>
                  <a:pt x="343404" y="469192"/>
                </a:cubicBezTo>
                <a:cubicBezTo>
                  <a:pt x="343360" y="504394"/>
                  <a:pt x="343267" y="539596"/>
                  <a:pt x="343469" y="574797"/>
                </a:cubicBezTo>
                <a:cubicBezTo>
                  <a:pt x="343501" y="580426"/>
                  <a:pt x="345652" y="586065"/>
                  <a:pt x="345522" y="591669"/>
                </a:cubicBezTo>
                <a:cubicBezTo>
                  <a:pt x="345214" y="605082"/>
                  <a:pt x="344131" y="618478"/>
                  <a:pt x="343360" y="634332"/>
                </a:cubicBezTo>
                <a:moveTo>
                  <a:pt x="416946" y="385943"/>
                </a:moveTo>
                <a:cubicBezTo>
                  <a:pt x="411661" y="386365"/>
                  <a:pt x="406384" y="387006"/>
                  <a:pt x="401091" y="387162"/>
                </a:cubicBezTo>
                <a:cubicBezTo>
                  <a:pt x="390470" y="387477"/>
                  <a:pt x="379841" y="387447"/>
                  <a:pt x="369218" y="387708"/>
                </a:cubicBezTo>
                <a:cubicBezTo>
                  <a:pt x="361167" y="387906"/>
                  <a:pt x="354429" y="391368"/>
                  <a:pt x="351833" y="398991"/>
                </a:cubicBezTo>
                <a:cubicBezTo>
                  <a:pt x="348989" y="407342"/>
                  <a:pt x="347050" y="416214"/>
                  <a:pt x="349778" y="426021"/>
                </a:cubicBezTo>
                <a:cubicBezTo>
                  <a:pt x="353876" y="426204"/>
                  <a:pt x="357857" y="426517"/>
                  <a:pt x="361839" y="426538"/>
                </a:cubicBezTo>
                <a:cubicBezTo>
                  <a:pt x="392900" y="426701"/>
                  <a:pt x="423961" y="426826"/>
                  <a:pt x="455022" y="426922"/>
                </a:cubicBezTo>
                <a:cubicBezTo>
                  <a:pt x="464013" y="426950"/>
                  <a:pt x="473106" y="427654"/>
                  <a:pt x="481958" y="426527"/>
                </a:cubicBezTo>
                <a:cubicBezTo>
                  <a:pt x="488144" y="425740"/>
                  <a:pt x="494821" y="423501"/>
                  <a:pt x="499817" y="419888"/>
                </a:cubicBezTo>
                <a:cubicBezTo>
                  <a:pt x="507869" y="414066"/>
                  <a:pt x="507286" y="406755"/>
                  <a:pt x="499439" y="400719"/>
                </a:cubicBezTo>
                <a:cubicBezTo>
                  <a:pt x="490179" y="393597"/>
                  <a:pt x="479486" y="388885"/>
                  <a:pt x="468062" y="387775"/>
                </a:cubicBezTo>
                <a:cubicBezTo>
                  <a:pt x="451873" y="386202"/>
                  <a:pt x="435520" y="386321"/>
                  <a:pt x="416946" y="385943"/>
                </a:cubicBezTo>
                <a:moveTo>
                  <a:pt x="636802" y="1190940"/>
                </a:moveTo>
                <a:cubicBezTo>
                  <a:pt x="646709" y="1188723"/>
                  <a:pt x="656705" y="1186841"/>
                  <a:pt x="666492" y="1184186"/>
                </a:cubicBezTo>
                <a:cubicBezTo>
                  <a:pt x="674710" y="1181958"/>
                  <a:pt x="676989" y="1178509"/>
                  <a:pt x="674465" y="1170880"/>
                </a:cubicBezTo>
                <a:cubicBezTo>
                  <a:pt x="671144" y="1160843"/>
                  <a:pt x="667026" y="1151009"/>
                  <a:pt x="662462" y="1141464"/>
                </a:cubicBezTo>
                <a:cubicBezTo>
                  <a:pt x="659273" y="1134795"/>
                  <a:pt x="653671" y="1130908"/>
                  <a:pt x="645564" y="1131937"/>
                </a:cubicBezTo>
                <a:cubicBezTo>
                  <a:pt x="639532" y="1132703"/>
                  <a:pt x="633423" y="1132867"/>
                  <a:pt x="627387" y="1133618"/>
                </a:cubicBezTo>
                <a:cubicBezTo>
                  <a:pt x="612888" y="1135421"/>
                  <a:pt x="598449" y="1137770"/>
                  <a:pt x="583917" y="1139222"/>
                </a:cubicBezTo>
                <a:cubicBezTo>
                  <a:pt x="570571" y="1140557"/>
                  <a:pt x="557130" y="1140930"/>
                  <a:pt x="543741" y="1141869"/>
                </a:cubicBezTo>
                <a:cubicBezTo>
                  <a:pt x="533202" y="1142610"/>
                  <a:pt x="522682" y="1143623"/>
                  <a:pt x="512146" y="1144418"/>
                </a:cubicBezTo>
                <a:cubicBezTo>
                  <a:pt x="490671" y="1146038"/>
                  <a:pt x="469214" y="1148450"/>
                  <a:pt x="447711" y="1148973"/>
                </a:cubicBezTo>
                <a:cubicBezTo>
                  <a:pt x="415817" y="1149749"/>
                  <a:pt x="383891" y="1149136"/>
                  <a:pt x="351979" y="1149200"/>
                </a:cubicBezTo>
                <a:cubicBezTo>
                  <a:pt x="347698" y="1149209"/>
                  <a:pt x="343419" y="1149717"/>
                  <a:pt x="338443" y="1150040"/>
                </a:cubicBezTo>
                <a:cubicBezTo>
                  <a:pt x="338443" y="1164651"/>
                  <a:pt x="338413" y="1177715"/>
                  <a:pt x="338451" y="1190780"/>
                </a:cubicBezTo>
                <a:cubicBezTo>
                  <a:pt x="338490" y="1204031"/>
                  <a:pt x="338512" y="1204062"/>
                  <a:pt x="351082" y="1207015"/>
                </a:cubicBezTo>
                <a:cubicBezTo>
                  <a:pt x="353445" y="1207570"/>
                  <a:pt x="355895" y="1208128"/>
                  <a:pt x="358298" y="1208094"/>
                </a:cubicBezTo>
                <a:cubicBezTo>
                  <a:pt x="412608" y="1207329"/>
                  <a:pt x="466919" y="1206484"/>
                  <a:pt x="521229" y="1205646"/>
                </a:cubicBezTo>
                <a:cubicBezTo>
                  <a:pt x="522045" y="1205634"/>
                  <a:pt x="522865" y="1205591"/>
                  <a:pt x="523675" y="1205490"/>
                </a:cubicBezTo>
                <a:cubicBezTo>
                  <a:pt x="542593" y="1203123"/>
                  <a:pt x="561519" y="1200820"/>
                  <a:pt x="580423" y="1198350"/>
                </a:cubicBezTo>
                <a:cubicBezTo>
                  <a:pt x="598523" y="1195985"/>
                  <a:pt x="616599" y="1193446"/>
                  <a:pt x="636802" y="1190940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78" name="Free-form: Shape 277">
            <a:extLst>
              <a:ext uri="{FF2B5EF4-FFF2-40B4-BE49-F238E27FC236}">
                <a16:creationId xmlns:a16="http://schemas.microsoft.com/office/drawing/2014/main" id="{49FA8920-ADDC-FAAF-9A38-E2817BF10265}"/>
              </a:ext>
            </a:extLst>
          </p:cNvPr>
          <p:cNvSpPr/>
          <p:nvPr/>
        </p:nvSpPr>
        <p:spPr>
          <a:xfrm>
            <a:off x="1555236" y="2903953"/>
            <a:ext cx="17183" cy="1817"/>
          </a:xfrm>
          <a:custGeom>
            <a:avLst/>
            <a:gdLst>
              <a:gd name="csX0" fmla="*/ 0 w 27674"/>
              <a:gd name="csY0" fmla="*/ 2915 h 2925"/>
              <a:gd name="csX1" fmla="*/ 27675 w 27674"/>
              <a:gd name="csY1" fmla="*/ 1550 h 2925"/>
              <a:gd name="csX2" fmla="*/ 0 w 27674"/>
              <a:gd name="csY2" fmla="*/ 2915 h 292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27674" h="2925">
                <a:moveTo>
                  <a:pt x="0" y="2915"/>
                </a:moveTo>
                <a:cubicBezTo>
                  <a:pt x="8211" y="-1939"/>
                  <a:pt x="17625" y="498"/>
                  <a:pt x="27675" y="1550"/>
                </a:cubicBezTo>
                <a:cubicBezTo>
                  <a:pt x="19225" y="2593"/>
                  <a:pt x="10029" y="2999"/>
                  <a:pt x="0" y="2915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79" name="Free-form: Shape 278">
            <a:extLst>
              <a:ext uri="{FF2B5EF4-FFF2-40B4-BE49-F238E27FC236}">
                <a16:creationId xmlns:a16="http://schemas.microsoft.com/office/drawing/2014/main" id="{8325E9BB-F6C4-78B6-145D-9D77385011D7}"/>
              </a:ext>
            </a:extLst>
          </p:cNvPr>
          <p:cNvSpPr/>
          <p:nvPr/>
        </p:nvSpPr>
        <p:spPr>
          <a:xfrm>
            <a:off x="1507932" y="2904977"/>
            <a:ext cx="11179" cy="700"/>
          </a:xfrm>
          <a:custGeom>
            <a:avLst/>
            <a:gdLst>
              <a:gd name="csX0" fmla="*/ 0 w 18003"/>
              <a:gd name="csY0" fmla="*/ 1050 h 1128"/>
              <a:gd name="csX1" fmla="*/ 18004 w 18003"/>
              <a:gd name="csY1" fmla="*/ 93 h 1128"/>
              <a:gd name="csX2" fmla="*/ 0 w 18003"/>
              <a:gd name="csY2" fmla="*/ 1050 h 112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8003" h="1128">
                <a:moveTo>
                  <a:pt x="0" y="1050"/>
                </a:moveTo>
                <a:cubicBezTo>
                  <a:pt x="5276" y="182"/>
                  <a:pt x="11306" y="-189"/>
                  <a:pt x="18004" y="93"/>
                </a:cubicBezTo>
                <a:cubicBezTo>
                  <a:pt x="12699" y="1013"/>
                  <a:pt x="6726" y="1280"/>
                  <a:pt x="0" y="1050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0" name="Free-form: Shape 279">
            <a:extLst>
              <a:ext uri="{FF2B5EF4-FFF2-40B4-BE49-F238E27FC236}">
                <a16:creationId xmlns:a16="http://schemas.microsoft.com/office/drawing/2014/main" id="{528B3993-FBD5-2D1B-D96C-9949DE7FE777}"/>
              </a:ext>
            </a:extLst>
          </p:cNvPr>
          <p:cNvSpPr/>
          <p:nvPr/>
        </p:nvSpPr>
        <p:spPr>
          <a:xfrm>
            <a:off x="1588899" y="2338177"/>
            <a:ext cx="5257" cy="4867"/>
          </a:xfrm>
          <a:custGeom>
            <a:avLst/>
            <a:gdLst>
              <a:gd name="csX0" fmla="*/ 473 w 8466"/>
              <a:gd name="csY0" fmla="*/ 7839 h 7838"/>
              <a:gd name="csX1" fmla="*/ 8466 w 8466"/>
              <a:gd name="csY1" fmla="*/ 61 h 7838"/>
              <a:gd name="csX2" fmla="*/ 473 w 8466"/>
              <a:gd name="csY2" fmla="*/ 7839 h 783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66" h="7838">
                <a:moveTo>
                  <a:pt x="473" y="7839"/>
                </a:moveTo>
                <a:cubicBezTo>
                  <a:pt x="-1298" y="1550"/>
                  <a:pt x="2020" y="-386"/>
                  <a:pt x="8466" y="61"/>
                </a:cubicBezTo>
                <a:cubicBezTo>
                  <a:pt x="6730" y="2845"/>
                  <a:pt x="4026" y="5401"/>
                  <a:pt x="473" y="7839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1" name="Free-form: Shape 280">
            <a:extLst>
              <a:ext uri="{FF2B5EF4-FFF2-40B4-BE49-F238E27FC236}">
                <a16:creationId xmlns:a16="http://schemas.microsoft.com/office/drawing/2014/main" id="{4E6022EF-F8E7-32DB-0341-7AD7703A2AA1}"/>
              </a:ext>
            </a:extLst>
          </p:cNvPr>
          <p:cNvSpPr/>
          <p:nvPr/>
        </p:nvSpPr>
        <p:spPr>
          <a:xfrm>
            <a:off x="1452903" y="2903463"/>
            <a:ext cx="5265" cy="618"/>
          </a:xfrm>
          <a:custGeom>
            <a:avLst/>
            <a:gdLst>
              <a:gd name="csX0" fmla="*/ 0 w 8480"/>
              <a:gd name="csY0" fmla="*/ 896 h 996"/>
              <a:gd name="csX1" fmla="*/ 8480 w 8480"/>
              <a:gd name="csY1" fmla="*/ 110 h 996"/>
              <a:gd name="csX2" fmla="*/ 0 w 8480"/>
              <a:gd name="csY2" fmla="*/ 896 h 99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80" h="996">
                <a:moveTo>
                  <a:pt x="0" y="896"/>
                </a:moveTo>
                <a:cubicBezTo>
                  <a:pt x="2285" y="115"/>
                  <a:pt x="5130" y="-182"/>
                  <a:pt x="8480" y="110"/>
                </a:cubicBezTo>
                <a:cubicBezTo>
                  <a:pt x="6177" y="927"/>
                  <a:pt x="3368" y="1153"/>
                  <a:pt x="0" y="896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2" name="Free-form: Shape 281">
            <a:extLst>
              <a:ext uri="{FF2B5EF4-FFF2-40B4-BE49-F238E27FC236}">
                <a16:creationId xmlns:a16="http://schemas.microsoft.com/office/drawing/2014/main" id="{1678575A-BFD3-3ADA-ACAD-268DCC618EAB}"/>
              </a:ext>
            </a:extLst>
          </p:cNvPr>
          <p:cNvSpPr/>
          <p:nvPr/>
        </p:nvSpPr>
        <p:spPr>
          <a:xfrm>
            <a:off x="1739664" y="2876934"/>
            <a:ext cx="763" cy="4134"/>
          </a:xfrm>
          <a:custGeom>
            <a:avLst/>
            <a:gdLst>
              <a:gd name="csX0" fmla="*/ 132 w 1229"/>
              <a:gd name="csY0" fmla="*/ 6659 h 6658"/>
              <a:gd name="csX1" fmla="*/ 1107 w 1229"/>
              <a:gd name="csY1" fmla="*/ 0 h 6658"/>
              <a:gd name="csX2" fmla="*/ 132 w 1229"/>
              <a:gd name="csY2" fmla="*/ 6659 h 665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229" h="6658">
                <a:moveTo>
                  <a:pt x="132" y="6659"/>
                </a:moveTo>
                <a:cubicBezTo>
                  <a:pt x="-219" y="4616"/>
                  <a:pt x="139" y="2560"/>
                  <a:pt x="1107" y="0"/>
                </a:cubicBezTo>
                <a:cubicBezTo>
                  <a:pt x="1425" y="1879"/>
                  <a:pt x="1133" y="4263"/>
                  <a:pt x="132" y="6659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3" name="Free-form: Shape 282">
            <a:extLst>
              <a:ext uri="{FF2B5EF4-FFF2-40B4-BE49-F238E27FC236}">
                <a16:creationId xmlns:a16="http://schemas.microsoft.com/office/drawing/2014/main" id="{88BCAF4F-3EED-6128-158E-4BEA69C78AE7}"/>
              </a:ext>
            </a:extLst>
          </p:cNvPr>
          <p:cNvSpPr/>
          <p:nvPr/>
        </p:nvSpPr>
        <p:spPr>
          <a:xfrm>
            <a:off x="1672468" y="2897211"/>
            <a:ext cx="2352" cy="847"/>
          </a:xfrm>
          <a:custGeom>
            <a:avLst/>
            <a:gdLst>
              <a:gd name="csX0" fmla="*/ 0 w 3788"/>
              <a:gd name="csY0" fmla="*/ 1364 h 1364"/>
              <a:gd name="csX1" fmla="*/ 3788 w 3788"/>
              <a:gd name="csY1" fmla="*/ 0 h 1364"/>
              <a:gd name="csX2" fmla="*/ 0 w 3788"/>
              <a:gd name="csY2" fmla="*/ 1364 h 136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788" h="1364">
                <a:moveTo>
                  <a:pt x="0" y="1364"/>
                </a:moveTo>
                <a:cubicBezTo>
                  <a:pt x="856" y="517"/>
                  <a:pt x="2126" y="39"/>
                  <a:pt x="3788" y="0"/>
                </a:cubicBezTo>
                <a:cubicBezTo>
                  <a:pt x="2925" y="870"/>
                  <a:pt x="1670" y="1303"/>
                  <a:pt x="0" y="1364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4" name="Free-form: Shape 283">
            <a:extLst>
              <a:ext uri="{FF2B5EF4-FFF2-40B4-BE49-F238E27FC236}">
                <a16:creationId xmlns:a16="http://schemas.microsoft.com/office/drawing/2014/main" id="{7853F277-432A-09FF-D19D-E6AA1752481D}"/>
              </a:ext>
            </a:extLst>
          </p:cNvPr>
          <p:cNvSpPr/>
          <p:nvPr/>
        </p:nvSpPr>
        <p:spPr>
          <a:xfrm>
            <a:off x="1400885" y="2900485"/>
            <a:ext cx="2478" cy="515"/>
          </a:xfrm>
          <a:custGeom>
            <a:avLst/>
            <a:gdLst>
              <a:gd name="csX0" fmla="*/ 0 w 3990"/>
              <a:gd name="csY0" fmla="*/ 719 h 829"/>
              <a:gd name="csX1" fmla="*/ 3990 w 3990"/>
              <a:gd name="csY1" fmla="*/ 119 h 829"/>
              <a:gd name="csX2" fmla="*/ 0 w 3990"/>
              <a:gd name="csY2" fmla="*/ 719 h 82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990" h="829">
                <a:moveTo>
                  <a:pt x="0" y="719"/>
                </a:moveTo>
                <a:cubicBezTo>
                  <a:pt x="982" y="66"/>
                  <a:pt x="2323" y="-163"/>
                  <a:pt x="3990" y="119"/>
                </a:cubicBezTo>
                <a:cubicBezTo>
                  <a:pt x="2998" y="800"/>
                  <a:pt x="1678" y="972"/>
                  <a:pt x="0" y="719"/>
                </a:cubicBezTo>
                <a:close/>
              </a:path>
            </a:pathLst>
          </a:custGeom>
          <a:solidFill>
            <a:srgbClr val="959DA0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5" name="Free-form: Shape 284">
            <a:extLst>
              <a:ext uri="{FF2B5EF4-FFF2-40B4-BE49-F238E27FC236}">
                <a16:creationId xmlns:a16="http://schemas.microsoft.com/office/drawing/2014/main" id="{A7CB3476-672F-E631-6CF8-A81999F5D734}"/>
              </a:ext>
            </a:extLst>
          </p:cNvPr>
          <p:cNvSpPr/>
          <p:nvPr/>
        </p:nvSpPr>
        <p:spPr>
          <a:xfrm>
            <a:off x="1611433" y="2903441"/>
            <a:ext cx="2417" cy="705"/>
          </a:xfrm>
          <a:custGeom>
            <a:avLst/>
            <a:gdLst>
              <a:gd name="csX0" fmla="*/ 0 w 3893"/>
              <a:gd name="csY0" fmla="*/ 1133 h 1135"/>
              <a:gd name="csX1" fmla="*/ 3893 w 3893"/>
              <a:gd name="csY1" fmla="*/ 7 h 1135"/>
              <a:gd name="csX2" fmla="*/ 0 w 3893"/>
              <a:gd name="csY2" fmla="*/ 1133 h 113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893" h="1135">
                <a:moveTo>
                  <a:pt x="0" y="1133"/>
                </a:moveTo>
                <a:cubicBezTo>
                  <a:pt x="902" y="349"/>
                  <a:pt x="2213" y="-60"/>
                  <a:pt x="3893" y="7"/>
                </a:cubicBezTo>
                <a:cubicBezTo>
                  <a:pt x="2978" y="825"/>
                  <a:pt x="1693" y="1167"/>
                  <a:pt x="0" y="1133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6" name="Free-form: Shape 285">
            <a:extLst>
              <a:ext uri="{FF2B5EF4-FFF2-40B4-BE49-F238E27FC236}">
                <a16:creationId xmlns:a16="http://schemas.microsoft.com/office/drawing/2014/main" id="{95AD54E6-6C28-7D1A-7AC1-0FA916961E70}"/>
              </a:ext>
            </a:extLst>
          </p:cNvPr>
          <p:cNvSpPr/>
          <p:nvPr/>
        </p:nvSpPr>
        <p:spPr>
          <a:xfrm>
            <a:off x="1511837" y="2418777"/>
            <a:ext cx="112588" cy="250407"/>
          </a:xfrm>
          <a:custGeom>
            <a:avLst/>
            <a:gdLst>
              <a:gd name="csX0" fmla="*/ 7554 w 181323"/>
              <a:gd name="csY0" fmla="*/ 172079 h 403282"/>
              <a:gd name="csX1" fmla="*/ 9716 w 181323"/>
              <a:gd name="csY1" fmla="*/ 130641 h 403282"/>
              <a:gd name="csX2" fmla="*/ 7663 w 181323"/>
              <a:gd name="csY2" fmla="*/ 113770 h 403282"/>
              <a:gd name="csX3" fmla="*/ 7598 w 181323"/>
              <a:gd name="csY3" fmla="*/ 8165 h 403282"/>
              <a:gd name="csX4" fmla="*/ 8353 w 181323"/>
              <a:gd name="csY4" fmla="*/ 1259 h 403282"/>
              <a:gd name="csX5" fmla="*/ 17767 w 181323"/>
              <a:gd name="csY5" fmla="*/ 93 h 403282"/>
              <a:gd name="csX6" fmla="*/ 77938 w 181323"/>
              <a:gd name="csY6" fmla="*/ 50 h 403282"/>
              <a:gd name="csX7" fmla="*/ 91081 w 181323"/>
              <a:gd name="csY7" fmla="*/ 10962 h 403282"/>
              <a:gd name="csX8" fmla="*/ 93691 w 181323"/>
              <a:gd name="csY8" fmla="*/ 60963 h 403282"/>
              <a:gd name="csX9" fmla="*/ 100157 w 181323"/>
              <a:gd name="csY9" fmla="*/ 121501 h 403282"/>
              <a:gd name="csX10" fmla="*/ 105540 w 181323"/>
              <a:gd name="csY10" fmla="*/ 158857 h 403282"/>
              <a:gd name="csX11" fmla="*/ 121116 w 181323"/>
              <a:gd name="csY11" fmla="*/ 235269 h 403282"/>
              <a:gd name="csX12" fmla="*/ 152823 w 181323"/>
              <a:gd name="csY12" fmla="*/ 338010 h 403282"/>
              <a:gd name="csX13" fmla="*/ 170877 w 181323"/>
              <a:gd name="csY13" fmla="*/ 378027 h 403282"/>
              <a:gd name="csX14" fmla="*/ 178114 w 181323"/>
              <a:gd name="csY14" fmla="*/ 387682 h 403282"/>
              <a:gd name="csX15" fmla="*/ 181150 w 181323"/>
              <a:gd name="csY15" fmla="*/ 395764 h 403282"/>
              <a:gd name="csX16" fmla="*/ 173480 w 181323"/>
              <a:gd name="csY16" fmla="*/ 402568 h 403282"/>
              <a:gd name="csX17" fmla="*/ 160067 w 181323"/>
              <a:gd name="csY17" fmla="*/ 402936 h 403282"/>
              <a:gd name="csX18" fmla="*/ 121081 w 181323"/>
              <a:gd name="csY18" fmla="*/ 400766 h 403282"/>
              <a:gd name="csX19" fmla="*/ 70912 w 181323"/>
              <a:gd name="csY19" fmla="*/ 401955 h 403282"/>
              <a:gd name="csX20" fmla="*/ 7630 w 181323"/>
              <a:gd name="csY20" fmla="*/ 402999 h 403282"/>
              <a:gd name="csX21" fmla="*/ 710 w 181323"/>
              <a:gd name="csY21" fmla="*/ 401995 h 403282"/>
              <a:gd name="csX22" fmla="*/ 1308 w 181323"/>
              <a:gd name="csY22" fmla="*/ 356708 h 403282"/>
              <a:gd name="csX23" fmla="*/ 2554 w 181323"/>
              <a:gd name="csY23" fmla="*/ 349510 h 403282"/>
              <a:gd name="csX24" fmla="*/ 5071 w 181323"/>
              <a:gd name="csY24" fmla="*/ 271231 h 403282"/>
              <a:gd name="csX25" fmla="*/ 7554 w 181323"/>
              <a:gd name="csY25" fmla="*/ 172079 h 403282"/>
              <a:gd name="csX26" fmla="*/ 98286 w 181323"/>
              <a:gd name="csY26" fmla="*/ 163566 h 403282"/>
              <a:gd name="csX27" fmla="*/ 83497 w 181323"/>
              <a:gd name="csY27" fmla="*/ 8289 h 403282"/>
              <a:gd name="csX28" fmla="*/ 15161 w 181323"/>
              <a:gd name="csY28" fmla="*/ 9148 h 403282"/>
              <a:gd name="csX29" fmla="*/ 15058 w 181323"/>
              <a:gd name="csY29" fmla="*/ 137939 h 403282"/>
              <a:gd name="csX30" fmla="*/ 12252 w 181323"/>
              <a:gd name="csY30" fmla="*/ 266862 h 403282"/>
              <a:gd name="csX31" fmla="*/ 7068 w 181323"/>
              <a:gd name="csY31" fmla="*/ 395996 h 403282"/>
              <a:gd name="csX32" fmla="*/ 171647 w 181323"/>
              <a:gd name="csY32" fmla="*/ 395996 h 403282"/>
              <a:gd name="csX33" fmla="*/ 119950 w 181323"/>
              <a:gd name="csY33" fmla="*/ 259496 h 403282"/>
              <a:gd name="csX34" fmla="*/ 98286 w 181323"/>
              <a:gd name="csY34" fmla="*/ 163566 h 40328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</a:cxnLst>
            <a:rect l="l" t="t" r="r" b="b"/>
            <a:pathLst>
              <a:path w="181323" h="403282">
                <a:moveTo>
                  <a:pt x="7554" y="172079"/>
                </a:moveTo>
                <a:cubicBezTo>
                  <a:pt x="8325" y="157451"/>
                  <a:pt x="9408" y="144055"/>
                  <a:pt x="9716" y="130641"/>
                </a:cubicBezTo>
                <a:cubicBezTo>
                  <a:pt x="9846" y="125037"/>
                  <a:pt x="7695" y="119399"/>
                  <a:pt x="7663" y="113770"/>
                </a:cubicBezTo>
                <a:cubicBezTo>
                  <a:pt x="7461" y="78569"/>
                  <a:pt x="7554" y="43367"/>
                  <a:pt x="7598" y="8165"/>
                </a:cubicBezTo>
                <a:cubicBezTo>
                  <a:pt x="7600" y="6167"/>
                  <a:pt x="8022" y="4170"/>
                  <a:pt x="8353" y="1259"/>
                </a:cubicBezTo>
                <a:cubicBezTo>
                  <a:pt x="11568" y="842"/>
                  <a:pt x="14666" y="109"/>
                  <a:pt x="17767" y="93"/>
                </a:cubicBezTo>
                <a:cubicBezTo>
                  <a:pt x="37824" y="-17"/>
                  <a:pt x="57881" y="-27"/>
                  <a:pt x="77938" y="50"/>
                </a:cubicBezTo>
                <a:cubicBezTo>
                  <a:pt x="89177" y="93"/>
                  <a:pt x="90068" y="113"/>
                  <a:pt x="91081" y="10962"/>
                </a:cubicBezTo>
                <a:cubicBezTo>
                  <a:pt x="92631" y="27565"/>
                  <a:pt x="92329" y="44335"/>
                  <a:pt x="93691" y="60963"/>
                </a:cubicBezTo>
                <a:cubicBezTo>
                  <a:pt x="95348" y="81184"/>
                  <a:pt x="97732" y="101353"/>
                  <a:pt x="100157" y="121501"/>
                </a:cubicBezTo>
                <a:cubicBezTo>
                  <a:pt x="101660" y="133990"/>
                  <a:pt x="104521" y="146343"/>
                  <a:pt x="105540" y="158857"/>
                </a:cubicBezTo>
                <a:cubicBezTo>
                  <a:pt x="107671" y="184993"/>
                  <a:pt x="114147" y="210249"/>
                  <a:pt x="121116" y="235269"/>
                </a:cubicBezTo>
                <a:cubicBezTo>
                  <a:pt x="130731" y="269786"/>
                  <a:pt x="141516" y="304004"/>
                  <a:pt x="152823" y="338010"/>
                </a:cubicBezTo>
                <a:cubicBezTo>
                  <a:pt x="157418" y="351828"/>
                  <a:pt x="164524" y="364837"/>
                  <a:pt x="170877" y="378027"/>
                </a:cubicBezTo>
                <a:cubicBezTo>
                  <a:pt x="172587" y="381579"/>
                  <a:pt x="175985" y="384280"/>
                  <a:pt x="178114" y="387682"/>
                </a:cubicBezTo>
                <a:cubicBezTo>
                  <a:pt x="179669" y="390165"/>
                  <a:pt x="181977" y="393824"/>
                  <a:pt x="181150" y="395764"/>
                </a:cubicBezTo>
                <a:cubicBezTo>
                  <a:pt x="179907" y="398676"/>
                  <a:pt x="176540" y="401705"/>
                  <a:pt x="173480" y="402568"/>
                </a:cubicBezTo>
                <a:cubicBezTo>
                  <a:pt x="169302" y="403746"/>
                  <a:pt x="164551" y="403164"/>
                  <a:pt x="160067" y="402936"/>
                </a:cubicBezTo>
                <a:cubicBezTo>
                  <a:pt x="147066" y="402274"/>
                  <a:pt x="134081" y="400859"/>
                  <a:pt x="121081" y="400766"/>
                </a:cubicBezTo>
                <a:cubicBezTo>
                  <a:pt x="104362" y="400647"/>
                  <a:pt x="87638" y="401607"/>
                  <a:pt x="70912" y="401955"/>
                </a:cubicBezTo>
                <a:cubicBezTo>
                  <a:pt x="49820" y="402394"/>
                  <a:pt x="28725" y="402712"/>
                  <a:pt x="7630" y="402999"/>
                </a:cubicBezTo>
                <a:cubicBezTo>
                  <a:pt x="5684" y="403026"/>
                  <a:pt x="3731" y="402452"/>
                  <a:pt x="710" y="401995"/>
                </a:cubicBezTo>
                <a:cubicBezTo>
                  <a:pt x="219" y="386620"/>
                  <a:pt x="-871" y="371682"/>
                  <a:pt x="1308" y="356708"/>
                </a:cubicBezTo>
                <a:cubicBezTo>
                  <a:pt x="1659" y="354298"/>
                  <a:pt x="2471" y="351920"/>
                  <a:pt x="2554" y="349510"/>
                </a:cubicBezTo>
                <a:cubicBezTo>
                  <a:pt x="3459" y="323419"/>
                  <a:pt x="4345" y="297328"/>
                  <a:pt x="5071" y="271231"/>
                </a:cubicBezTo>
                <a:cubicBezTo>
                  <a:pt x="5979" y="238591"/>
                  <a:pt x="6733" y="205947"/>
                  <a:pt x="7554" y="172079"/>
                </a:cubicBezTo>
                <a:moveTo>
                  <a:pt x="98286" y="163566"/>
                </a:moveTo>
                <a:cubicBezTo>
                  <a:pt x="89288" y="112116"/>
                  <a:pt x="86355" y="60033"/>
                  <a:pt x="83497" y="8289"/>
                </a:cubicBezTo>
                <a:cubicBezTo>
                  <a:pt x="65606" y="5845"/>
                  <a:pt x="24110" y="6470"/>
                  <a:pt x="15161" y="9148"/>
                </a:cubicBezTo>
                <a:cubicBezTo>
                  <a:pt x="15161" y="52045"/>
                  <a:pt x="15527" y="94996"/>
                  <a:pt x="15058" y="137939"/>
                </a:cubicBezTo>
                <a:cubicBezTo>
                  <a:pt x="14587" y="180919"/>
                  <a:pt x="13597" y="223900"/>
                  <a:pt x="12252" y="266862"/>
                </a:cubicBezTo>
                <a:cubicBezTo>
                  <a:pt x="10912" y="309638"/>
                  <a:pt x="8849" y="352391"/>
                  <a:pt x="7068" y="395996"/>
                </a:cubicBezTo>
                <a:cubicBezTo>
                  <a:pt x="62774" y="395996"/>
                  <a:pt x="116821" y="395996"/>
                  <a:pt x="171647" y="395996"/>
                </a:cubicBezTo>
                <a:cubicBezTo>
                  <a:pt x="148550" y="352016"/>
                  <a:pt x="132566" y="306307"/>
                  <a:pt x="119950" y="259496"/>
                </a:cubicBezTo>
                <a:cubicBezTo>
                  <a:pt x="111608" y="228543"/>
                  <a:pt x="105493" y="196989"/>
                  <a:pt x="98286" y="163566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7" name="Free-form: Shape 286">
            <a:extLst>
              <a:ext uri="{FF2B5EF4-FFF2-40B4-BE49-F238E27FC236}">
                <a16:creationId xmlns:a16="http://schemas.microsoft.com/office/drawing/2014/main" id="{A8DE641A-CD46-AFCE-44DC-29E28404610D}"/>
              </a:ext>
            </a:extLst>
          </p:cNvPr>
          <p:cNvSpPr/>
          <p:nvPr/>
        </p:nvSpPr>
        <p:spPr>
          <a:xfrm>
            <a:off x="1513468" y="2835258"/>
            <a:ext cx="209255" cy="47389"/>
          </a:xfrm>
          <a:custGeom>
            <a:avLst/>
            <a:gdLst>
              <a:gd name="csX0" fmla="*/ 297312 w 337008"/>
              <a:gd name="csY0" fmla="*/ 59188 h 76321"/>
              <a:gd name="csX1" fmla="*/ 241991 w 337008"/>
              <a:gd name="csY1" fmla="*/ 66577 h 76321"/>
              <a:gd name="csX2" fmla="*/ 185243 w 337008"/>
              <a:gd name="csY2" fmla="*/ 73717 h 76321"/>
              <a:gd name="csX3" fmla="*/ 182797 w 337008"/>
              <a:gd name="csY3" fmla="*/ 73873 h 76321"/>
              <a:gd name="csX4" fmla="*/ 19866 w 337008"/>
              <a:gd name="csY4" fmla="*/ 76320 h 76321"/>
              <a:gd name="csX5" fmla="*/ 12650 w 337008"/>
              <a:gd name="csY5" fmla="*/ 75242 h 76321"/>
              <a:gd name="csX6" fmla="*/ 19 w 337008"/>
              <a:gd name="csY6" fmla="*/ 59006 h 76321"/>
              <a:gd name="csX7" fmla="*/ 11 w 337008"/>
              <a:gd name="csY7" fmla="*/ 18266 h 76321"/>
              <a:gd name="csX8" fmla="*/ 13547 w 337008"/>
              <a:gd name="csY8" fmla="*/ 17427 h 76321"/>
              <a:gd name="csX9" fmla="*/ 109279 w 337008"/>
              <a:gd name="csY9" fmla="*/ 17200 h 76321"/>
              <a:gd name="csX10" fmla="*/ 173714 w 337008"/>
              <a:gd name="csY10" fmla="*/ 12645 h 76321"/>
              <a:gd name="csX11" fmla="*/ 205309 w 337008"/>
              <a:gd name="csY11" fmla="*/ 10096 h 76321"/>
              <a:gd name="csX12" fmla="*/ 245485 w 337008"/>
              <a:gd name="csY12" fmla="*/ 7449 h 76321"/>
              <a:gd name="csX13" fmla="*/ 288955 w 337008"/>
              <a:gd name="csY13" fmla="*/ 1844 h 76321"/>
              <a:gd name="csX14" fmla="*/ 307132 w 337008"/>
              <a:gd name="csY14" fmla="*/ 164 h 76321"/>
              <a:gd name="csX15" fmla="*/ 324030 w 337008"/>
              <a:gd name="csY15" fmla="*/ 9691 h 76321"/>
              <a:gd name="csX16" fmla="*/ 336033 w 337008"/>
              <a:gd name="csY16" fmla="*/ 39107 h 76321"/>
              <a:gd name="csX17" fmla="*/ 328060 w 337008"/>
              <a:gd name="csY17" fmla="*/ 52413 h 76321"/>
              <a:gd name="csX18" fmla="*/ 297312 w 337008"/>
              <a:gd name="csY18" fmla="*/ 59188 h 76321"/>
              <a:gd name="csX19" fmla="*/ 207688 w 337008"/>
              <a:gd name="csY19" fmla="*/ 64284 h 76321"/>
              <a:gd name="csX20" fmla="*/ 330050 w 337008"/>
              <a:gd name="csY20" fmla="*/ 45606 h 76321"/>
              <a:gd name="csX21" fmla="*/ 317356 w 337008"/>
              <a:gd name="csY21" fmla="*/ 11297 h 76321"/>
              <a:gd name="csX22" fmla="*/ 304170 w 337008"/>
              <a:gd name="csY22" fmla="*/ 5545 h 76321"/>
              <a:gd name="csX23" fmla="*/ 273851 w 337008"/>
              <a:gd name="csY23" fmla="*/ 10014 h 76321"/>
              <a:gd name="csX24" fmla="*/ 163935 w 337008"/>
              <a:gd name="csY24" fmla="*/ 20274 h 76321"/>
              <a:gd name="csX25" fmla="*/ 17973 w 337008"/>
              <a:gd name="csY25" fmla="*/ 22950 h 76321"/>
              <a:gd name="csX26" fmla="*/ 7372 w 337008"/>
              <a:gd name="csY26" fmla="*/ 23601 h 76321"/>
              <a:gd name="csX27" fmla="*/ 7372 w 337008"/>
              <a:gd name="csY27" fmla="*/ 67898 h 76321"/>
              <a:gd name="csX28" fmla="*/ 207688 w 337008"/>
              <a:gd name="csY28" fmla="*/ 64284 h 7632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</a:cxnLst>
            <a:rect l="l" t="t" r="r" b="b"/>
            <a:pathLst>
              <a:path w="337008" h="76321">
                <a:moveTo>
                  <a:pt x="297312" y="59188"/>
                </a:moveTo>
                <a:cubicBezTo>
                  <a:pt x="278167" y="61672"/>
                  <a:pt x="260091" y="64212"/>
                  <a:pt x="241991" y="66577"/>
                </a:cubicBezTo>
                <a:cubicBezTo>
                  <a:pt x="223087" y="69047"/>
                  <a:pt x="204161" y="71350"/>
                  <a:pt x="185243" y="73717"/>
                </a:cubicBezTo>
                <a:cubicBezTo>
                  <a:pt x="184433" y="73818"/>
                  <a:pt x="183613" y="73861"/>
                  <a:pt x="182797" y="73873"/>
                </a:cubicBezTo>
                <a:cubicBezTo>
                  <a:pt x="128487" y="74710"/>
                  <a:pt x="74176" y="75556"/>
                  <a:pt x="19866" y="76320"/>
                </a:cubicBezTo>
                <a:cubicBezTo>
                  <a:pt x="17463" y="76354"/>
                  <a:pt x="15013" y="75797"/>
                  <a:pt x="12650" y="75242"/>
                </a:cubicBezTo>
                <a:cubicBezTo>
                  <a:pt x="80" y="72288"/>
                  <a:pt x="58" y="72258"/>
                  <a:pt x="19" y="59006"/>
                </a:cubicBezTo>
                <a:cubicBezTo>
                  <a:pt x="-19" y="45942"/>
                  <a:pt x="11" y="32877"/>
                  <a:pt x="11" y="18266"/>
                </a:cubicBezTo>
                <a:cubicBezTo>
                  <a:pt x="4987" y="17944"/>
                  <a:pt x="9266" y="17435"/>
                  <a:pt x="13547" y="17427"/>
                </a:cubicBezTo>
                <a:cubicBezTo>
                  <a:pt x="45459" y="17362"/>
                  <a:pt x="77385" y="17975"/>
                  <a:pt x="109279" y="17200"/>
                </a:cubicBezTo>
                <a:cubicBezTo>
                  <a:pt x="130782" y="16677"/>
                  <a:pt x="152239" y="14265"/>
                  <a:pt x="173714" y="12645"/>
                </a:cubicBezTo>
                <a:cubicBezTo>
                  <a:pt x="184250" y="11850"/>
                  <a:pt x="194770" y="10836"/>
                  <a:pt x="205309" y="10096"/>
                </a:cubicBezTo>
                <a:cubicBezTo>
                  <a:pt x="218698" y="9156"/>
                  <a:pt x="232139" y="8783"/>
                  <a:pt x="245485" y="7449"/>
                </a:cubicBezTo>
                <a:cubicBezTo>
                  <a:pt x="260017" y="5997"/>
                  <a:pt x="274456" y="3648"/>
                  <a:pt x="288955" y="1844"/>
                </a:cubicBezTo>
                <a:cubicBezTo>
                  <a:pt x="294991" y="1094"/>
                  <a:pt x="301100" y="930"/>
                  <a:pt x="307132" y="164"/>
                </a:cubicBezTo>
                <a:cubicBezTo>
                  <a:pt x="315239" y="-865"/>
                  <a:pt x="320841" y="3022"/>
                  <a:pt x="324030" y="9691"/>
                </a:cubicBezTo>
                <a:cubicBezTo>
                  <a:pt x="328594" y="19236"/>
                  <a:pt x="332712" y="29070"/>
                  <a:pt x="336033" y="39107"/>
                </a:cubicBezTo>
                <a:cubicBezTo>
                  <a:pt x="338557" y="46735"/>
                  <a:pt x="336278" y="50185"/>
                  <a:pt x="328060" y="52413"/>
                </a:cubicBezTo>
                <a:cubicBezTo>
                  <a:pt x="318273" y="55068"/>
                  <a:pt x="308277" y="56950"/>
                  <a:pt x="297312" y="59188"/>
                </a:cubicBezTo>
                <a:moveTo>
                  <a:pt x="207688" y="64284"/>
                </a:moveTo>
                <a:cubicBezTo>
                  <a:pt x="248681" y="60632"/>
                  <a:pt x="289317" y="54812"/>
                  <a:pt x="330050" y="45606"/>
                </a:cubicBezTo>
                <a:cubicBezTo>
                  <a:pt x="327603" y="32443"/>
                  <a:pt x="323777" y="21532"/>
                  <a:pt x="317356" y="11297"/>
                </a:cubicBezTo>
                <a:cubicBezTo>
                  <a:pt x="313908" y="5803"/>
                  <a:pt x="310145" y="4465"/>
                  <a:pt x="304170" y="5545"/>
                </a:cubicBezTo>
                <a:cubicBezTo>
                  <a:pt x="294121" y="7361"/>
                  <a:pt x="284007" y="9006"/>
                  <a:pt x="273851" y="10014"/>
                </a:cubicBezTo>
                <a:cubicBezTo>
                  <a:pt x="237233" y="13650"/>
                  <a:pt x="200632" y="17661"/>
                  <a:pt x="163935" y="20274"/>
                </a:cubicBezTo>
                <a:cubicBezTo>
                  <a:pt x="115360" y="23734"/>
                  <a:pt x="66701" y="25937"/>
                  <a:pt x="17973" y="22950"/>
                </a:cubicBezTo>
                <a:cubicBezTo>
                  <a:pt x="14492" y="22737"/>
                  <a:pt x="10959" y="23361"/>
                  <a:pt x="7372" y="23601"/>
                </a:cubicBezTo>
                <a:cubicBezTo>
                  <a:pt x="7372" y="38609"/>
                  <a:pt x="7372" y="52361"/>
                  <a:pt x="7372" y="67898"/>
                </a:cubicBezTo>
                <a:cubicBezTo>
                  <a:pt x="74001" y="69806"/>
                  <a:pt x="139746" y="71025"/>
                  <a:pt x="207688" y="64284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8" name="Free-form: Shape 287">
            <a:extLst>
              <a:ext uri="{FF2B5EF4-FFF2-40B4-BE49-F238E27FC236}">
                <a16:creationId xmlns:a16="http://schemas.microsoft.com/office/drawing/2014/main" id="{8B5681A6-1827-72A7-7C03-2EAC0064D9F5}"/>
              </a:ext>
            </a:extLst>
          </p:cNvPr>
          <p:cNvSpPr/>
          <p:nvPr/>
        </p:nvSpPr>
        <p:spPr>
          <a:xfrm>
            <a:off x="1517201" y="2688804"/>
            <a:ext cx="188426" cy="132688"/>
          </a:xfrm>
          <a:custGeom>
            <a:avLst/>
            <a:gdLst>
              <a:gd name="csX0" fmla="*/ 14160 w 303463"/>
              <a:gd name="csY0" fmla="*/ 7889 h 213695"/>
              <a:gd name="csX1" fmla="*/ 195033 w 303463"/>
              <a:gd name="csY1" fmla="*/ 0 h 213695"/>
              <a:gd name="csX2" fmla="*/ 197208 w 303463"/>
              <a:gd name="csY2" fmla="*/ 5635 h 213695"/>
              <a:gd name="csX3" fmla="*/ 227014 w 303463"/>
              <a:gd name="csY3" fmla="*/ 60660 h 213695"/>
              <a:gd name="csX4" fmla="*/ 265823 w 303463"/>
              <a:gd name="csY4" fmla="*/ 98217 h 213695"/>
              <a:gd name="csX5" fmla="*/ 303210 w 303463"/>
              <a:gd name="csY5" fmla="*/ 180358 h 213695"/>
              <a:gd name="csX6" fmla="*/ 303282 w 303463"/>
              <a:gd name="csY6" fmla="*/ 193964 h 213695"/>
              <a:gd name="csX7" fmla="*/ 4971 w 303463"/>
              <a:gd name="csY7" fmla="*/ 213017 h 213695"/>
              <a:gd name="csX8" fmla="*/ 5093 w 303463"/>
              <a:gd name="csY8" fmla="*/ 173484 h 213695"/>
              <a:gd name="csX9" fmla="*/ 4767 w 303463"/>
              <a:gd name="csY9" fmla="*/ 54607 h 213695"/>
              <a:gd name="csX10" fmla="*/ 0 w 303463"/>
              <a:gd name="csY10" fmla="*/ 7887 h 213695"/>
              <a:gd name="csX11" fmla="*/ 14160 w 303463"/>
              <a:gd name="csY11" fmla="*/ 7889 h 21369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303463" h="213695">
                <a:moveTo>
                  <a:pt x="14160" y="7889"/>
                </a:moveTo>
                <a:cubicBezTo>
                  <a:pt x="75371" y="8627"/>
                  <a:pt x="135292" y="5744"/>
                  <a:pt x="195033" y="0"/>
                </a:cubicBezTo>
                <a:cubicBezTo>
                  <a:pt x="196084" y="2662"/>
                  <a:pt x="196986" y="4099"/>
                  <a:pt x="197208" y="5635"/>
                </a:cubicBezTo>
                <a:cubicBezTo>
                  <a:pt x="200391" y="27650"/>
                  <a:pt x="211307" y="45450"/>
                  <a:pt x="227014" y="60660"/>
                </a:cubicBezTo>
                <a:cubicBezTo>
                  <a:pt x="239947" y="73182"/>
                  <a:pt x="253006" y="85577"/>
                  <a:pt x="265823" y="98217"/>
                </a:cubicBezTo>
                <a:cubicBezTo>
                  <a:pt x="288727" y="120806"/>
                  <a:pt x="299071" y="149215"/>
                  <a:pt x="303210" y="180358"/>
                </a:cubicBezTo>
                <a:cubicBezTo>
                  <a:pt x="303735" y="184317"/>
                  <a:pt x="303282" y="188405"/>
                  <a:pt x="303282" y="193964"/>
                </a:cubicBezTo>
                <a:cubicBezTo>
                  <a:pt x="204065" y="208804"/>
                  <a:pt x="105022" y="216044"/>
                  <a:pt x="4971" y="213017"/>
                </a:cubicBezTo>
                <a:cubicBezTo>
                  <a:pt x="4971" y="199268"/>
                  <a:pt x="4314" y="186332"/>
                  <a:pt x="5093" y="173484"/>
                </a:cubicBezTo>
                <a:cubicBezTo>
                  <a:pt x="7497" y="133835"/>
                  <a:pt x="8211" y="94216"/>
                  <a:pt x="4767" y="54607"/>
                </a:cubicBezTo>
                <a:cubicBezTo>
                  <a:pt x="3464" y="39611"/>
                  <a:pt x="1725" y="24653"/>
                  <a:pt x="0" y="7887"/>
                </a:cubicBezTo>
                <a:cubicBezTo>
                  <a:pt x="4390" y="7887"/>
                  <a:pt x="8696" y="7887"/>
                  <a:pt x="14160" y="7889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9" name="Free-form: Shape 288">
            <a:extLst>
              <a:ext uri="{FF2B5EF4-FFF2-40B4-BE49-F238E27FC236}">
                <a16:creationId xmlns:a16="http://schemas.microsoft.com/office/drawing/2014/main" id="{7143858F-6473-4516-3D19-FC28106BC6F5}"/>
              </a:ext>
            </a:extLst>
          </p:cNvPr>
          <p:cNvSpPr/>
          <p:nvPr/>
        </p:nvSpPr>
        <p:spPr>
          <a:xfrm>
            <a:off x="1483439" y="2159048"/>
            <a:ext cx="129814" cy="126299"/>
          </a:xfrm>
          <a:custGeom>
            <a:avLst/>
            <a:gdLst>
              <a:gd name="csX0" fmla="*/ 10475 w 209067"/>
              <a:gd name="csY0" fmla="*/ 41718 h 203406"/>
              <a:gd name="csX1" fmla="*/ 100250 w 209067"/>
              <a:gd name="csY1" fmla="*/ 1265 h 203406"/>
              <a:gd name="csX2" fmla="*/ 206681 w 209067"/>
              <a:gd name="csY2" fmla="*/ 98526 h 203406"/>
              <a:gd name="csX3" fmla="*/ 134647 w 209067"/>
              <a:gd name="csY3" fmla="*/ 202431 h 203406"/>
              <a:gd name="csX4" fmla="*/ 40986 w 209067"/>
              <a:gd name="csY4" fmla="*/ 171438 h 203406"/>
              <a:gd name="csX5" fmla="*/ 143 w 209067"/>
              <a:gd name="csY5" fmla="*/ 85158 h 203406"/>
              <a:gd name="csX6" fmla="*/ 10475 w 209067"/>
              <a:gd name="csY6" fmla="*/ 41718 h 20340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</a:cxnLst>
            <a:rect l="l" t="t" r="r" b="b"/>
            <a:pathLst>
              <a:path w="209067" h="203406">
                <a:moveTo>
                  <a:pt x="10475" y="41718"/>
                </a:moveTo>
                <a:cubicBezTo>
                  <a:pt x="31065" y="6021"/>
                  <a:pt x="63171" y="-3865"/>
                  <a:pt x="100250" y="1265"/>
                </a:cubicBezTo>
                <a:cubicBezTo>
                  <a:pt x="157191" y="9144"/>
                  <a:pt x="196951" y="51394"/>
                  <a:pt x="206681" y="98526"/>
                </a:cubicBezTo>
                <a:cubicBezTo>
                  <a:pt x="219504" y="160635"/>
                  <a:pt x="178523" y="196657"/>
                  <a:pt x="134647" y="202431"/>
                </a:cubicBezTo>
                <a:cubicBezTo>
                  <a:pt x="98365" y="207204"/>
                  <a:pt x="68101" y="194086"/>
                  <a:pt x="40986" y="171438"/>
                </a:cubicBezTo>
                <a:cubicBezTo>
                  <a:pt x="14115" y="148994"/>
                  <a:pt x="2457" y="119007"/>
                  <a:pt x="143" y="85158"/>
                </a:cubicBezTo>
                <a:cubicBezTo>
                  <a:pt x="-869" y="70364"/>
                  <a:pt x="3586" y="56015"/>
                  <a:pt x="10475" y="41718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90" name="Free-form: Shape 289">
            <a:extLst>
              <a:ext uri="{FF2B5EF4-FFF2-40B4-BE49-F238E27FC236}">
                <a16:creationId xmlns:a16="http://schemas.microsoft.com/office/drawing/2014/main" id="{99B95A01-B3B8-A969-E44A-088814A69AC5}"/>
              </a:ext>
            </a:extLst>
          </p:cNvPr>
          <p:cNvSpPr/>
          <p:nvPr/>
        </p:nvSpPr>
        <p:spPr>
          <a:xfrm>
            <a:off x="1519698" y="2372086"/>
            <a:ext cx="97564" cy="25665"/>
          </a:xfrm>
          <a:custGeom>
            <a:avLst/>
            <a:gdLst>
              <a:gd name="csX0" fmla="*/ 69625 w 157129"/>
              <a:gd name="csY0" fmla="*/ 0 h 41334"/>
              <a:gd name="csX1" fmla="*/ 119596 w 157129"/>
              <a:gd name="csY1" fmla="*/ 1945 h 41334"/>
              <a:gd name="csX2" fmla="*/ 150973 w 157129"/>
              <a:gd name="csY2" fmla="*/ 14889 h 41334"/>
              <a:gd name="csX3" fmla="*/ 151351 w 157129"/>
              <a:gd name="csY3" fmla="*/ 34058 h 41334"/>
              <a:gd name="csX4" fmla="*/ 133492 w 157129"/>
              <a:gd name="csY4" fmla="*/ 40697 h 41334"/>
              <a:gd name="csX5" fmla="*/ 106556 w 157129"/>
              <a:gd name="csY5" fmla="*/ 41092 h 41334"/>
              <a:gd name="csX6" fmla="*/ 13373 w 157129"/>
              <a:gd name="csY6" fmla="*/ 40708 h 41334"/>
              <a:gd name="csX7" fmla="*/ 1312 w 157129"/>
              <a:gd name="csY7" fmla="*/ 40191 h 41334"/>
              <a:gd name="csX8" fmla="*/ 3367 w 157129"/>
              <a:gd name="csY8" fmla="*/ 13162 h 41334"/>
              <a:gd name="csX9" fmla="*/ 20752 w 157129"/>
              <a:gd name="csY9" fmla="*/ 1879 h 41334"/>
              <a:gd name="csX10" fmla="*/ 52625 w 157129"/>
              <a:gd name="csY10" fmla="*/ 1332 h 41334"/>
              <a:gd name="csX11" fmla="*/ 69625 w 157129"/>
              <a:gd name="csY11" fmla="*/ 0 h 4133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157129" h="41334">
                <a:moveTo>
                  <a:pt x="69625" y="0"/>
                </a:moveTo>
                <a:cubicBezTo>
                  <a:pt x="87054" y="491"/>
                  <a:pt x="103407" y="373"/>
                  <a:pt x="119596" y="1945"/>
                </a:cubicBezTo>
                <a:cubicBezTo>
                  <a:pt x="131020" y="3055"/>
                  <a:pt x="141713" y="7767"/>
                  <a:pt x="150973" y="14889"/>
                </a:cubicBezTo>
                <a:cubicBezTo>
                  <a:pt x="158820" y="20925"/>
                  <a:pt x="159403" y="28236"/>
                  <a:pt x="151351" y="34058"/>
                </a:cubicBezTo>
                <a:cubicBezTo>
                  <a:pt x="146355" y="37671"/>
                  <a:pt x="139678" y="39910"/>
                  <a:pt x="133492" y="40697"/>
                </a:cubicBezTo>
                <a:cubicBezTo>
                  <a:pt x="124640" y="41824"/>
                  <a:pt x="115547" y="41120"/>
                  <a:pt x="106556" y="41092"/>
                </a:cubicBezTo>
                <a:cubicBezTo>
                  <a:pt x="75495" y="40996"/>
                  <a:pt x="44434" y="40872"/>
                  <a:pt x="13373" y="40708"/>
                </a:cubicBezTo>
                <a:cubicBezTo>
                  <a:pt x="9391" y="40687"/>
                  <a:pt x="5410" y="40374"/>
                  <a:pt x="1312" y="40191"/>
                </a:cubicBezTo>
                <a:cubicBezTo>
                  <a:pt x="-1416" y="30384"/>
                  <a:pt x="523" y="21512"/>
                  <a:pt x="3367" y="13162"/>
                </a:cubicBezTo>
                <a:cubicBezTo>
                  <a:pt x="5963" y="5538"/>
                  <a:pt x="12701" y="2077"/>
                  <a:pt x="20752" y="1879"/>
                </a:cubicBezTo>
                <a:cubicBezTo>
                  <a:pt x="31375" y="1617"/>
                  <a:pt x="42004" y="1647"/>
                  <a:pt x="52625" y="1332"/>
                </a:cubicBezTo>
                <a:cubicBezTo>
                  <a:pt x="57918" y="1176"/>
                  <a:pt x="63195" y="535"/>
                  <a:pt x="69625" y="0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91" name="Free-form: Shape 290">
            <a:extLst>
              <a:ext uri="{FF2B5EF4-FFF2-40B4-BE49-F238E27FC236}">
                <a16:creationId xmlns:a16="http://schemas.microsoft.com/office/drawing/2014/main" id="{7E8E7372-9D49-3809-BF8B-140E979D073C}"/>
              </a:ext>
            </a:extLst>
          </p:cNvPr>
          <p:cNvSpPr/>
          <p:nvPr/>
        </p:nvSpPr>
        <p:spPr>
          <a:xfrm>
            <a:off x="1516225" y="2422973"/>
            <a:ext cx="102191" cy="241686"/>
          </a:xfrm>
          <a:custGeom>
            <a:avLst/>
            <a:gdLst>
              <a:gd name="csX0" fmla="*/ 91265 w 164579"/>
              <a:gd name="csY0" fmla="*/ 157878 h 389238"/>
              <a:gd name="csX1" fmla="*/ 112882 w 164579"/>
              <a:gd name="csY1" fmla="*/ 252738 h 389238"/>
              <a:gd name="csX2" fmla="*/ 164579 w 164579"/>
              <a:gd name="csY2" fmla="*/ 389238 h 389238"/>
              <a:gd name="csX3" fmla="*/ 0 w 164579"/>
              <a:gd name="csY3" fmla="*/ 389238 h 389238"/>
              <a:gd name="csX4" fmla="*/ 5184 w 164579"/>
              <a:gd name="csY4" fmla="*/ 260105 h 389238"/>
              <a:gd name="csX5" fmla="*/ 7989 w 164579"/>
              <a:gd name="csY5" fmla="*/ 131182 h 389238"/>
              <a:gd name="csX6" fmla="*/ 8093 w 164579"/>
              <a:gd name="csY6" fmla="*/ 2390 h 389238"/>
              <a:gd name="csX7" fmla="*/ 76429 w 164579"/>
              <a:gd name="csY7" fmla="*/ 1531 h 389238"/>
              <a:gd name="csX8" fmla="*/ 91265 w 164579"/>
              <a:gd name="csY8" fmla="*/ 157878 h 38923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</a:cxnLst>
            <a:rect l="l" t="t" r="r" b="b"/>
            <a:pathLst>
              <a:path w="164579" h="389238">
                <a:moveTo>
                  <a:pt x="91265" y="157878"/>
                </a:moveTo>
                <a:cubicBezTo>
                  <a:pt x="98425" y="190232"/>
                  <a:pt x="104539" y="221785"/>
                  <a:pt x="112882" y="252738"/>
                </a:cubicBezTo>
                <a:cubicBezTo>
                  <a:pt x="125498" y="299549"/>
                  <a:pt x="141482" y="345258"/>
                  <a:pt x="164579" y="389238"/>
                </a:cubicBezTo>
                <a:cubicBezTo>
                  <a:pt x="109753" y="389238"/>
                  <a:pt x="55706" y="389238"/>
                  <a:pt x="0" y="389238"/>
                </a:cubicBezTo>
                <a:cubicBezTo>
                  <a:pt x="1781" y="345633"/>
                  <a:pt x="3844" y="302880"/>
                  <a:pt x="5184" y="260105"/>
                </a:cubicBezTo>
                <a:cubicBezTo>
                  <a:pt x="6529" y="217143"/>
                  <a:pt x="7519" y="174162"/>
                  <a:pt x="7989" y="131182"/>
                </a:cubicBezTo>
                <a:cubicBezTo>
                  <a:pt x="8459" y="88239"/>
                  <a:pt x="8093" y="45287"/>
                  <a:pt x="8093" y="2390"/>
                </a:cubicBezTo>
                <a:cubicBezTo>
                  <a:pt x="17041" y="-288"/>
                  <a:pt x="58537" y="-913"/>
                  <a:pt x="76429" y="1531"/>
                </a:cubicBezTo>
                <a:cubicBezTo>
                  <a:pt x="79287" y="53276"/>
                  <a:pt x="82219" y="105359"/>
                  <a:pt x="91265" y="157878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92" name="Free-form: Shape 291">
            <a:extLst>
              <a:ext uri="{FF2B5EF4-FFF2-40B4-BE49-F238E27FC236}">
                <a16:creationId xmlns:a16="http://schemas.microsoft.com/office/drawing/2014/main" id="{36112AAD-2EA8-3DD2-A87B-1D0009EF4DE0}"/>
              </a:ext>
            </a:extLst>
          </p:cNvPr>
          <p:cNvSpPr/>
          <p:nvPr/>
        </p:nvSpPr>
        <p:spPr>
          <a:xfrm>
            <a:off x="1518044" y="2838486"/>
            <a:ext cx="200357" cy="39865"/>
          </a:xfrm>
          <a:custGeom>
            <a:avLst/>
            <a:gdLst>
              <a:gd name="csX0" fmla="*/ 199184 w 322677"/>
              <a:gd name="csY0" fmla="*/ 59136 h 64202"/>
              <a:gd name="csX1" fmla="*/ 0 w 322677"/>
              <a:gd name="csY1" fmla="*/ 62697 h 64202"/>
              <a:gd name="csX2" fmla="*/ 0 w 322677"/>
              <a:gd name="csY2" fmla="*/ 18400 h 64202"/>
              <a:gd name="csX3" fmla="*/ 10601 w 322677"/>
              <a:gd name="csY3" fmla="*/ 17750 h 64202"/>
              <a:gd name="csX4" fmla="*/ 156563 w 322677"/>
              <a:gd name="csY4" fmla="*/ 15074 h 64202"/>
              <a:gd name="csX5" fmla="*/ 266479 w 322677"/>
              <a:gd name="csY5" fmla="*/ 4814 h 64202"/>
              <a:gd name="csX6" fmla="*/ 296798 w 322677"/>
              <a:gd name="csY6" fmla="*/ 344 h 64202"/>
              <a:gd name="csX7" fmla="*/ 309983 w 322677"/>
              <a:gd name="csY7" fmla="*/ 6097 h 64202"/>
              <a:gd name="csX8" fmla="*/ 322678 w 322677"/>
              <a:gd name="csY8" fmla="*/ 40406 h 64202"/>
              <a:gd name="csX9" fmla="*/ 199184 w 322677"/>
              <a:gd name="csY9" fmla="*/ 59136 h 6420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322677" h="64202">
                <a:moveTo>
                  <a:pt x="199184" y="59136"/>
                </a:moveTo>
                <a:cubicBezTo>
                  <a:pt x="132374" y="65824"/>
                  <a:pt x="66629" y="64605"/>
                  <a:pt x="0" y="62697"/>
                </a:cubicBezTo>
                <a:cubicBezTo>
                  <a:pt x="0" y="47160"/>
                  <a:pt x="0" y="33409"/>
                  <a:pt x="0" y="18400"/>
                </a:cubicBezTo>
                <a:cubicBezTo>
                  <a:pt x="3587" y="18160"/>
                  <a:pt x="7120" y="17536"/>
                  <a:pt x="10601" y="17750"/>
                </a:cubicBezTo>
                <a:cubicBezTo>
                  <a:pt x="59329" y="20736"/>
                  <a:pt x="107987" y="18533"/>
                  <a:pt x="156563" y="15074"/>
                </a:cubicBezTo>
                <a:cubicBezTo>
                  <a:pt x="193260" y="12461"/>
                  <a:pt x="229860" y="8449"/>
                  <a:pt x="266479" y="4814"/>
                </a:cubicBezTo>
                <a:cubicBezTo>
                  <a:pt x="276635" y="3806"/>
                  <a:pt x="286748" y="2160"/>
                  <a:pt x="296798" y="344"/>
                </a:cubicBezTo>
                <a:cubicBezTo>
                  <a:pt x="302773" y="-735"/>
                  <a:pt x="306536" y="602"/>
                  <a:pt x="309983" y="6097"/>
                </a:cubicBezTo>
                <a:cubicBezTo>
                  <a:pt x="316405" y="16331"/>
                  <a:pt x="320231" y="27243"/>
                  <a:pt x="322678" y="40406"/>
                </a:cubicBezTo>
                <a:cubicBezTo>
                  <a:pt x="281944" y="49611"/>
                  <a:pt x="241309" y="55431"/>
                  <a:pt x="199184" y="59136"/>
                </a:cubicBezTo>
                <a:close/>
              </a:path>
            </a:pathLst>
          </a:custGeom>
          <a:solidFill>
            <a:schemeClr val="bg1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93" name="TextBox 292">
            <a:extLst>
              <a:ext uri="{FF2B5EF4-FFF2-40B4-BE49-F238E27FC236}">
                <a16:creationId xmlns:a16="http://schemas.microsoft.com/office/drawing/2014/main" id="{2AFE6521-E3D4-B764-11F5-00DCE68FA3BB}"/>
              </a:ext>
            </a:extLst>
          </p:cNvPr>
          <p:cNvSpPr txBox="1"/>
          <p:nvPr/>
        </p:nvSpPr>
        <p:spPr>
          <a:xfrm>
            <a:off x="1110036" y="2892668"/>
            <a:ext cx="863983" cy="3927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-CHOP</a:t>
            </a:r>
          </a:p>
        </p:txBody>
      </p:sp>
      <p:sp>
        <p:nvSpPr>
          <p:cNvPr id="316" name="TextBox 315">
            <a:extLst>
              <a:ext uri="{FF2B5EF4-FFF2-40B4-BE49-F238E27FC236}">
                <a16:creationId xmlns:a16="http://schemas.microsoft.com/office/drawing/2014/main" id="{F95750FB-3B19-0401-2698-A5C9EDF756AF}"/>
              </a:ext>
            </a:extLst>
          </p:cNvPr>
          <p:cNvSpPr txBox="1"/>
          <p:nvPr/>
        </p:nvSpPr>
        <p:spPr>
          <a:xfrm>
            <a:off x="592727" y="1343701"/>
            <a:ext cx="1953472" cy="723367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rtlCol="0" anchor="t" anchorCtr="0">
            <a:noAutofit/>
          </a:bodyPr>
          <a:lstStyle>
            <a:defPPr>
              <a:defRPr lang="en-GB"/>
            </a:defPPr>
            <a:lvl1pPr algn="ctr">
              <a:defRPr sz="1600" b="1">
                <a:solidFill>
                  <a:schemeClr val="tx2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herapies already used</a:t>
            </a:r>
          </a:p>
        </p:txBody>
      </p:sp>
      <p:cxnSp>
        <p:nvCxnSpPr>
          <p:cNvPr id="321" name="Straight Arrow Connector 320">
            <a:extLst>
              <a:ext uri="{FF2B5EF4-FFF2-40B4-BE49-F238E27FC236}">
                <a16:creationId xmlns:a16="http://schemas.microsoft.com/office/drawing/2014/main" id="{FFE1E82B-8956-3031-853D-27976200228B}"/>
              </a:ext>
            </a:extLst>
          </p:cNvPr>
          <p:cNvCxnSpPr>
            <a:cxnSpLocks/>
          </p:cNvCxnSpPr>
          <p:nvPr/>
        </p:nvCxnSpPr>
        <p:spPr>
          <a:xfrm>
            <a:off x="634206" y="2067987"/>
            <a:ext cx="1743075" cy="0"/>
          </a:xfrm>
          <a:prstGeom prst="straightConnector1">
            <a:avLst/>
          </a:prstGeom>
          <a:ln>
            <a:solidFill>
              <a:schemeClr val="accent6">
                <a:lumMod val="40000"/>
                <a:lumOff val="60000"/>
              </a:schemeClr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1" name="Oval 70">
            <a:extLst>
              <a:ext uri="{FF2B5EF4-FFF2-40B4-BE49-F238E27FC236}">
                <a16:creationId xmlns:a16="http://schemas.microsoft.com/office/drawing/2014/main" id="{C1D9FD3C-E8EC-526A-A8E8-8D53B1E47FF8}"/>
              </a:ext>
            </a:extLst>
          </p:cNvPr>
          <p:cNvSpPr/>
          <p:nvPr/>
        </p:nvSpPr>
        <p:spPr>
          <a:xfrm>
            <a:off x="1108313" y="4421491"/>
            <a:ext cx="717698" cy="104135"/>
          </a:xfrm>
          <a:prstGeom prst="ellipse">
            <a:avLst/>
          </a:prstGeom>
          <a:solidFill>
            <a:schemeClr val="tx1">
              <a:alpha val="6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2" name="Free-form: Shape 71">
            <a:extLst>
              <a:ext uri="{FF2B5EF4-FFF2-40B4-BE49-F238E27FC236}">
                <a16:creationId xmlns:a16="http://schemas.microsoft.com/office/drawing/2014/main" id="{2DD30825-E584-6D33-D2D3-3BE1AE9F545B}"/>
              </a:ext>
            </a:extLst>
          </p:cNvPr>
          <p:cNvSpPr/>
          <p:nvPr/>
        </p:nvSpPr>
        <p:spPr>
          <a:xfrm>
            <a:off x="1203357" y="3227607"/>
            <a:ext cx="634942" cy="1266262"/>
          </a:xfrm>
          <a:custGeom>
            <a:avLst/>
            <a:gdLst>
              <a:gd name="csX0" fmla="*/ 703087 w 763849"/>
              <a:gd name="csY0" fmla="*/ 1241174 h 1523340"/>
              <a:gd name="csX1" fmla="*/ 732932 w 763849"/>
              <a:gd name="csY1" fmla="*/ 1359634 h 1523340"/>
              <a:gd name="csX2" fmla="*/ 735544 w 763849"/>
              <a:gd name="csY2" fmla="*/ 1377287 h 1523340"/>
              <a:gd name="csX3" fmla="*/ 756764 w 763849"/>
              <a:gd name="csY3" fmla="*/ 1458577 h 1523340"/>
              <a:gd name="csX4" fmla="*/ 757108 w 763849"/>
              <a:gd name="csY4" fmla="*/ 1465940 h 1523340"/>
              <a:gd name="csX5" fmla="*/ 744215 w 763849"/>
              <a:gd name="csY5" fmla="*/ 1488332 h 1523340"/>
              <a:gd name="csX6" fmla="*/ 712781 w 763849"/>
              <a:gd name="csY6" fmla="*/ 1498472 h 1523340"/>
              <a:gd name="csX7" fmla="*/ 625540 w 763849"/>
              <a:gd name="csY7" fmla="*/ 1511981 h 1523340"/>
              <a:gd name="csX8" fmla="*/ 488540 w 763849"/>
              <a:gd name="csY8" fmla="*/ 1522029 h 1523340"/>
              <a:gd name="csX9" fmla="*/ 306789 w 763849"/>
              <a:gd name="csY9" fmla="*/ 1523231 h 1523340"/>
              <a:gd name="csX10" fmla="*/ 200103 w 763849"/>
              <a:gd name="csY10" fmla="*/ 1518579 h 1523340"/>
              <a:gd name="csX11" fmla="*/ 31607 w 763849"/>
              <a:gd name="csY11" fmla="*/ 1493880 h 1523340"/>
              <a:gd name="csX12" fmla="*/ 5860 w 763849"/>
              <a:gd name="csY12" fmla="*/ 1482933 h 1523340"/>
              <a:gd name="csX13" fmla="*/ 32 w 763849"/>
              <a:gd name="csY13" fmla="*/ 1471774 h 1523340"/>
              <a:gd name="csX14" fmla="*/ 21295 w 763849"/>
              <a:gd name="csY14" fmla="*/ 1378237 h 1523340"/>
              <a:gd name="csX15" fmla="*/ 23169 w 763849"/>
              <a:gd name="csY15" fmla="*/ 1364271 h 1523340"/>
              <a:gd name="csX16" fmla="*/ 23871 w 763849"/>
              <a:gd name="csY16" fmla="*/ 1303132 h 1523340"/>
              <a:gd name="csX17" fmla="*/ 59740 w 763849"/>
              <a:gd name="csY17" fmla="*/ 1234649 h 1523340"/>
              <a:gd name="csX18" fmla="*/ 98899 w 763849"/>
              <a:gd name="csY18" fmla="*/ 1195619 h 1523340"/>
              <a:gd name="csX19" fmla="*/ 131493 w 763849"/>
              <a:gd name="csY19" fmla="*/ 1127593 h 1523340"/>
              <a:gd name="csX20" fmla="*/ 108213 w 763849"/>
              <a:gd name="csY20" fmla="*/ 1058723 h 1523340"/>
              <a:gd name="csX21" fmla="*/ 74370 w 763849"/>
              <a:gd name="csY21" fmla="*/ 1024929 h 1523340"/>
              <a:gd name="csX22" fmla="*/ 68137 w 763849"/>
              <a:gd name="csY22" fmla="*/ 987550 h 1523340"/>
              <a:gd name="csX23" fmla="*/ 86420 w 763849"/>
              <a:gd name="csY23" fmla="*/ 941991 h 1523340"/>
              <a:gd name="csX24" fmla="*/ 97082 w 763849"/>
              <a:gd name="csY24" fmla="*/ 828037 h 1523340"/>
              <a:gd name="csX25" fmla="*/ 61782 w 763849"/>
              <a:gd name="csY25" fmla="*/ 696973 h 1523340"/>
              <a:gd name="csX26" fmla="*/ 26901 w 763849"/>
              <a:gd name="csY26" fmla="*/ 547868 h 1523340"/>
              <a:gd name="csX27" fmla="*/ 20221 w 763849"/>
              <a:gd name="csY27" fmla="*/ 479529 h 1523340"/>
              <a:gd name="csX28" fmla="*/ 40808 w 763849"/>
              <a:gd name="csY28" fmla="*/ 334388 h 1523340"/>
              <a:gd name="csX29" fmla="*/ 65171 w 763849"/>
              <a:gd name="csY29" fmla="*/ 263707 h 1523340"/>
              <a:gd name="csX30" fmla="*/ 142827 w 763849"/>
              <a:gd name="csY30" fmla="*/ 171003 h 1523340"/>
              <a:gd name="csX31" fmla="*/ 172290 w 763849"/>
              <a:gd name="csY31" fmla="*/ 155872 h 1523340"/>
              <a:gd name="csX32" fmla="*/ 189008 w 763849"/>
              <a:gd name="csY32" fmla="*/ 148158 h 1523340"/>
              <a:gd name="csX33" fmla="*/ 212828 w 763849"/>
              <a:gd name="csY33" fmla="*/ 126123 h 1523340"/>
              <a:gd name="csX34" fmla="*/ 217217 w 763849"/>
              <a:gd name="csY34" fmla="*/ 118740 h 1523340"/>
              <a:gd name="csX35" fmla="*/ 253000 w 763849"/>
              <a:gd name="csY35" fmla="*/ 88998 h 1523340"/>
              <a:gd name="csX36" fmla="*/ 322085 w 763849"/>
              <a:gd name="csY36" fmla="*/ 72193 h 1523340"/>
              <a:gd name="csX37" fmla="*/ 330478 w 763849"/>
              <a:gd name="csY37" fmla="*/ 70387 h 1523340"/>
              <a:gd name="csX38" fmla="*/ 388016 w 763849"/>
              <a:gd name="csY38" fmla="*/ 35457 h 1523340"/>
              <a:gd name="csX39" fmla="*/ 421527 w 763849"/>
              <a:gd name="csY39" fmla="*/ 0 h 1523340"/>
              <a:gd name="csX40" fmla="*/ 424538 w 763849"/>
              <a:gd name="csY40" fmla="*/ 10833 h 1523340"/>
              <a:gd name="csX41" fmla="*/ 436339 w 763849"/>
              <a:gd name="csY41" fmla="*/ 121836 h 1523340"/>
              <a:gd name="csX42" fmla="*/ 449983 w 763849"/>
              <a:gd name="csY42" fmla="*/ 141450 h 1523340"/>
              <a:gd name="csX43" fmla="*/ 503299 w 763849"/>
              <a:gd name="csY43" fmla="*/ 169290 h 1523340"/>
              <a:gd name="csX44" fmla="*/ 551461 w 763849"/>
              <a:gd name="csY44" fmla="*/ 203111 h 1523340"/>
              <a:gd name="csX45" fmla="*/ 588803 w 763849"/>
              <a:gd name="csY45" fmla="*/ 252797 h 1523340"/>
              <a:gd name="csX46" fmla="*/ 634209 w 763849"/>
              <a:gd name="csY46" fmla="*/ 327081 h 1523340"/>
              <a:gd name="csX47" fmla="*/ 697923 w 763849"/>
              <a:gd name="csY47" fmla="*/ 384157 h 1523340"/>
              <a:gd name="csX48" fmla="*/ 729658 w 763849"/>
              <a:gd name="csY48" fmla="*/ 407288 h 1523340"/>
              <a:gd name="csX49" fmla="*/ 763354 w 763849"/>
              <a:gd name="csY49" fmla="*/ 471325 h 1523340"/>
              <a:gd name="csX50" fmla="*/ 757092 w 763849"/>
              <a:gd name="csY50" fmla="*/ 527116 h 1523340"/>
              <a:gd name="csX51" fmla="*/ 720673 w 763849"/>
              <a:gd name="csY51" fmla="*/ 570023 h 1523340"/>
              <a:gd name="csX52" fmla="*/ 704918 w 763849"/>
              <a:gd name="csY52" fmla="*/ 581294 h 1523340"/>
              <a:gd name="csX53" fmla="*/ 671960 w 763849"/>
              <a:gd name="csY53" fmla="*/ 595325 h 1523340"/>
              <a:gd name="csX54" fmla="*/ 633021 w 763849"/>
              <a:gd name="csY54" fmla="*/ 591397 h 1523340"/>
              <a:gd name="csX55" fmla="*/ 580696 w 763849"/>
              <a:gd name="csY55" fmla="*/ 556742 h 1523340"/>
              <a:gd name="csX56" fmla="*/ 545415 w 763849"/>
              <a:gd name="csY56" fmla="*/ 524617 h 1523340"/>
              <a:gd name="csX57" fmla="*/ 518889 w 763849"/>
              <a:gd name="csY57" fmla="*/ 516179 h 1523340"/>
              <a:gd name="csX58" fmla="*/ 472309 w 763849"/>
              <a:gd name="csY58" fmla="*/ 517812 h 1523340"/>
              <a:gd name="csX59" fmla="*/ 415953 w 763849"/>
              <a:gd name="csY59" fmla="*/ 517245 h 1523340"/>
              <a:gd name="csX60" fmla="*/ 403392 w 763849"/>
              <a:gd name="csY60" fmla="*/ 516539 h 1523340"/>
              <a:gd name="csX61" fmla="*/ 407957 w 763849"/>
              <a:gd name="csY61" fmla="*/ 542045 h 1523340"/>
              <a:gd name="csX62" fmla="*/ 434134 w 763849"/>
              <a:gd name="csY62" fmla="*/ 583349 h 1523340"/>
              <a:gd name="csX63" fmla="*/ 524267 w 763849"/>
              <a:gd name="csY63" fmla="*/ 683922 h 1523340"/>
              <a:gd name="csX64" fmla="*/ 614317 w 763849"/>
              <a:gd name="csY64" fmla="*/ 786085 h 1523340"/>
              <a:gd name="csX65" fmla="*/ 669590 w 763849"/>
              <a:gd name="csY65" fmla="*/ 921089 h 1523340"/>
              <a:gd name="csX66" fmla="*/ 647360 w 763849"/>
              <a:gd name="csY66" fmla="*/ 1057245 h 1523340"/>
              <a:gd name="csX67" fmla="*/ 627872 w 763849"/>
              <a:gd name="csY67" fmla="*/ 1102111 h 1523340"/>
              <a:gd name="csX68" fmla="*/ 642300 w 763849"/>
              <a:gd name="csY68" fmla="*/ 1175941 h 1523340"/>
              <a:gd name="csX69" fmla="*/ 668829 w 763849"/>
              <a:gd name="csY69" fmla="*/ 1206449 h 1523340"/>
              <a:gd name="csX70" fmla="*/ 703087 w 763849"/>
              <a:gd name="csY70" fmla="*/ 1241174 h 1523340"/>
              <a:gd name="csX71" fmla="*/ 648750 w 763849"/>
              <a:gd name="csY71" fmla="*/ 562343 h 1523340"/>
              <a:gd name="csX72" fmla="*/ 674049 w 763849"/>
              <a:gd name="csY72" fmla="*/ 562834 h 1523340"/>
              <a:gd name="csX73" fmla="*/ 660781 w 763849"/>
              <a:gd name="csY73" fmla="*/ 550178 h 1523340"/>
              <a:gd name="csX74" fmla="*/ 650911 w 763849"/>
              <a:gd name="csY74" fmla="*/ 534051 h 1523340"/>
              <a:gd name="csX75" fmla="*/ 660724 w 763849"/>
              <a:gd name="csY75" fmla="*/ 537605 h 1523340"/>
              <a:gd name="csX76" fmla="*/ 688133 w 763849"/>
              <a:gd name="csY76" fmla="*/ 543363 h 1523340"/>
              <a:gd name="csX77" fmla="*/ 731514 w 763849"/>
              <a:gd name="csY77" fmla="*/ 510767 h 1523340"/>
              <a:gd name="csX78" fmla="*/ 733611 w 763849"/>
              <a:gd name="csY78" fmla="*/ 466905 h 1523340"/>
              <a:gd name="csX79" fmla="*/ 708076 w 763849"/>
              <a:gd name="csY79" fmla="*/ 425975 h 1523340"/>
              <a:gd name="csX80" fmla="*/ 667538 w 763849"/>
              <a:gd name="csY80" fmla="*/ 398254 h 1523340"/>
              <a:gd name="csX81" fmla="*/ 601016 w 763849"/>
              <a:gd name="csY81" fmla="*/ 332127 h 1523340"/>
              <a:gd name="csX82" fmla="*/ 565354 w 763849"/>
              <a:gd name="csY82" fmla="*/ 270526 h 1523340"/>
              <a:gd name="csX83" fmla="*/ 490657 w 763849"/>
              <a:gd name="csY83" fmla="*/ 195121 h 1523340"/>
              <a:gd name="csX84" fmla="*/ 432834 w 763849"/>
              <a:gd name="csY84" fmla="*/ 165243 h 1523340"/>
              <a:gd name="csX85" fmla="*/ 407594 w 763849"/>
              <a:gd name="csY85" fmla="*/ 127852 h 1523340"/>
              <a:gd name="csX86" fmla="*/ 405020 w 763849"/>
              <a:gd name="csY86" fmla="*/ 69029 h 1523340"/>
              <a:gd name="csX87" fmla="*/ 403638 w 763849"/>
              <a:gd name="csY87" fmla="*/ 58130 h 1523340"/>
              <a:gd name="csX88" fmla="*/ 349776 w 763849"/>
              <a:gd name="csY88" fmla="*/ 133259 h 1523340"/>
              <a:gd name="csX89" fmla="*/ 326975 w 763849"/>
              <a:gd name="csY89" fmla="*/ 159669 h 1523340"/>
              <a:gd name="csX90" fmla="*/ 240374 w 763849"/>
              <a:gd name="csY90" fmla="*/ 221714 h 1523340"/>
              <a:gd name="csX91" fmla="*/ 171637 w 763849"/>
              <a:gd name="csY91" fmla="*/ 309087 h 1523340"/>
              <a:gd name="csX92" fmla="*/ 138048 w 763849"/>
              <a:gd name="csY92" fmla="*/ 516954 h 1523340"/>
              <a:gd name="csX93" fmla="*/ 163889 w 763849"/>
              <a:gd name="csY93" fmla="*/ 641780 h 1523340"/>
              <a:gd name="csX94" fmla="*/ 204800 w 763849"/>
              <a:gd name="csY94" fmla="*/ 787055 h 1523340"/>
              <a:gd name="csX95" fmla="*/ 218549 w 763849"/>
              <a:gd name="csY95" fmla="*/ 949545 h 1523340"/>
              <a:gd name="csX96" fmla="*/ 191487 w 763849"/>
              <a:gd name="csY96" fmla="*/ 1033064 h 1523340"/>
              <a:gd name="csX97" fmla="*/ 188729 w 763849"/>
              <a:gd name="csY97" fmla="*/ 1039835 h 1523340"/>
              <a:gd name="csX98" fmla="*/ 221417 w 763849"/>
              <a:gd name="csY98" fmla="*/ 1040799 h 1523340"/>
              <a:gd name="csX99" fmla="*/ 348895 w 763849"/>
              <a:gd name="csY99" fmla="*/ 1046759 h 1523340"/>
              <a:gd name="csX100" fmla="*/ 545369 w 763849"/>
              <a:gd name="csY100" fmla="*/ 1044456 h 1523340"/>
              <a:gd name="csX101" fmla="*/ 612424 w 763849"/>
              <a:gd name="csY101" fmla="*/ 1037365 h 1523340"/>
              <a:gd name="csX102" fmla="*/ 623169 w 763849"/>
              <a:gd name="csY102" fmla="*/ 1028873 h 1523340"/>
              <a:gd name="csX103" fmla="*/ 638508 w 763849"/>
              <a:gd name="csY103" fmla="*/ 959599 h 1523340"/>
              <a:gd name="csX104" fmla="*/ 609213 w 763849"/>
              <a:gd name="csY104" fmla="*/ 842075 h 1523340"/>
              <a:gd name="csX105" fmla="*/ 529367 w 763849"/>
              <a:gd name="csY105" fmla="*/ 735065 h 1523340"/>
              <a:gd name="csX106" fmla="*/ 403792 w 763849"/>
              <a:gd name="csY106" fmla="*/ 596993 h 1523340"/>
              <a:gd name="csX107" fmla="*/ 344708 w 763849"/>
              <a:gd name="csY107" fmla="*/ 511366 h 1523340"/>
              <a:gd name="csX108" fmla="*/ 324464 w 763849"/>
              <a:gd name="csY108" fmla="*/ 380084 h 1523340"/>
              <a:gd name="csX109" fmla="*/ 327688 w 763849"/>
              <a:gd name="csY109" fmla="*/ 373535 h 1523340"/>
              <a:gd name="csX110" fmla="*/ 330334 w 763849"/>
              <a:gd name="csY110" fmla="*/ 373641 h 1523340"/>
              <a:gd name="csX111" fmla="*/ 334272 w 763849"/>
              <a:gd name="csY111" fmla="*/ 384645 h 1523340"/>
              <a:gd name="csX112" fmla="*/ 365260 w 763849"/>
              <a:gd name="csY112" fmla="*/ 453955 h 1523340"/>
              <a:gd name="csX113" fmla="*/ 408246 w 763849"/>
              <a:gd name="csY113" fmla="*/ 483592 h 1523340"/>
              <a:gd name="csX114" fmla="*/ 464529 w 763849"/>
              <a:gd name="csY114" fmla="*/ 486187 h 1523340"/>
              <a:gd name="csX115" fmla="*/ 511119 w 763849"/>
              <a:gd name="csY115" fmla="*/ 484308 h 1523340"/>
              <a:gd name="csX116" fmla="*/ 567913 w 763849"/>
              <a:gd name="csY116" fmla="*/ 503736 h 1523340"/>
              <a:gd name="csX117" fmla="*/ 607611 w 763849"/>
              <a:gd name="csY117" fmla="*/ 540326 h 1523340"/>
              <a:gd name="csX118" fmla="*/ 648750 w 763849"/>
              <a:gd name="csY118" fmla="*/ 562343 h 1523340"/>
              <a:gd name="csX119" fmla="*/ 462594 w 763849"/>
              <a:gd name="csY119" fmla="*/ 1369008 h 1523340"/>
              <a:gd name="csX120" fmla="*/ 510357 w 763849"/>
              <a:gd name="csY120" fmla="*/ 1366345 h 1523340"/>
              <a:gd name="csX121" fmla="*/ 549434 w 763849"/>
              <a:gd name="csY121" fmla="*/ 1362956 h 1523340"/>
              <a:gd name="csX122" fmla="*/ 632369 w 763849"/>
              <a:gd name="csY122" fmla="*/ 1354439 h 1523340"/>
              <a:gd name="csX123" fmla="*/ 697252 w 763849"/>
              <a:gd name="csY123" fmla="*/ 1346424 h 1523340"/>
              <a:gd name="csX124" fmla="*/ 676674 w 763849"/>
              <a:gd name="csY124" fmla="*/ 1266396 h 1523340"/>
              <a:gd name="csX125" fmla="*/ 646594 w 763849"/>
              <a:gd name="csY125" fmla="*/ 1234108 h 1523340"/>
              <a:gd name="csX126" fmla="*/ 612063 w 763849"/>
              <a:gd name="csY126" fmla="*/ 1194382 h 1523340"/>
              <a:gd name="csX127" fmla="*/ 591616 w 763849"/>
              <a:gd name="csY127" fmla="*/ 1111541 h 1523340"/>
              <a:gd name="csX128" fmla="*/ 594320 w 763849"/>
              <a:gd name="csY128" fmla="*/ 1089609 h 1523340"/>
              <a:gd name="csX129" fmla="*/ 578634 w 763849"/>
              <a:gd name="csY129" fmla="*/ 1089642 h 1523340"/>
              <a:gd name="csX130" fmla="*/ 443931 w 763849"/>
              <a:gd name="csY130" fmla="*/ 1096700 h 1523340"/>
              <a:gd name="csX131" fmla="*/ 403417 w 763849"/>
              <a:gd name="csY131" fmla="*/ 1097156 h 1523340"/>
              <a:gd name="csX132" fmla="*/ 388348 w 763849"/>
              <a:gd name="csY132" fmla="*/ 1111502 h 1523340"/>
              <a:gd name="csX133" fmla="*/ 385048 w 763849"/>
              <a:gd name="csY133" fmla="*/ 1176431 h 1523340"/>
              <a:gd name="csX134" fmla="*/ 377687 w 763849"/>
              <a:gd name="csY134" fmla="*/ 1308672 h 1523340"/>
              <a:gd name="csX135" fmla="*/ 376823 w 763849"/>
              <a:gd name="csY135" fmla="*/ 1320897 h 1523340"/>
              <a:gd name="csX136" fmla="*/ 376781 w 763849"/>
              <a:gd name="csY136" fmla="*/ 1366151 h 1523340"/>
              <a:gd name="csX137" fmla="*/ 462594 w 763849"/>
              <a:gd name="csY137" fmla="*/ 1369008 h 1523340"/>
              <a:gd name="csX138" fmla="*/ 648494 w 763849"/>
              <a:gd name="csY138" fmla="*/ 1463981 h 1523340"/>
              <a:gd name="csX139" fmla="*/ 718746 w 763849"/>
              <a:gd name="csY139" fmla="*/ 1451892 h 1523340"/>
              <a:gd name="csX140" fmla="*/ 711827 w 763849"/>
              <a:gd name="csY140" fmla="*/ 1416835 h 1523340"/>
              <a:gd name="csX141" fmla="*/ 685812 w 763849"/>
              <a:gd name="csY141" fmla="*/ 1398502 h 1523340"/>
              <a:gd name="csX142" fmla="*/ 680924 w 763849"/>
              <a:gd name="csY142" fmla="*/ 1398973 h 1523340"/>
              <a:gd name="csX143" fmla="*/ 598278 w 763849"/>
              <a:gd name="csY143" fmla="*/ 1409218 h 1523340"/>
              <a:gd name="csX144" fmla="*/ 474765 w 763849"/>
              <a:gd name="csY144" fmla="*/ 1417945 h 1523340"/>
              <a:gd name="csX145" fmla="*/ 385143 w 763849"/>
              <a:gd name="csY145" fmla="*/ 1418978 h 1523340"/>
              <a:gd name="csX146" fmla="*/ 376639 w 763849"/>
              <a:gd name="csY146" fmla="*/ 1419613 h 1523340"/>
              <a:gd name="csX147" fmla="*/ 376639 w 763849"/>
              <a:gd name="csY147" fmla="*/ 1473939 h 1523340"/>
              <a:gd name="csX148" fmla="*/ 382089 w 763849"/>
              <a:gd name="csY148" fmla="*/ 1474854 h 1523340"/>
              <a:gd name="csX149" fmla="*/ 449536 w 763849"/>
              <a:gd name="csY149" fmla="*/ 1476855 h 1523340"/>
              <a:gd name="csX150" fmla="*/ 559930 w 763849"/>
              <a:gd name="csY150" fmla="*/ 1474307 h 1523340"/>
              <a:gd name="csX151" fmla="*/ 648494 w 763849"/>
              <a:gd name="csY151" fmla="*/ 1463981 h 152334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</a:cxnLst>
            <a:rect l="l" t="t" r="r" b="b"/>
            <a:pathLst>
              <a:path w="763849" h="1523340">
                <a:moveTo>
                  <a:pt x="703087" y="1241174"/>
                </a:moveTo>
                <a:cubicBezTo>
                  <a:pt x="732418" y="1276379"/>
                  <a:pt x="738825" y="1316526"/>
                  <a:pt x="732932" y="1359634"/>
                </a:cubicBezTo>
                <a:cubicBezTo>
                  <a:pt x="732067" y="1365959"/>
                  <a:pt x="732453" y="1371428"/>
                  <a:pt x="735544" y="1377287"/>
                </a:cubicBezTo>
                <a:cubicBezTo>
                  <a:pt x="748937" y="1402675"/>
                  <a:pt x="755318" y="1430010"/>
                  <a:pt x="756764" y="1458577"/>
                </a:cubicBezTo>
                <a:cubicBezTo>
                  <a:pt x="756887" y="1461031"/>
                  <a:pt x="756895" y="1463494"/>
                  <a:pt x="757108" y="1465940"/>
                </a:cubicBezTo>
                <a:cubicBezTo>
                  <a:pt x="758375" y="1480486"/>
                  <a:pt x="757802" y="1482498"/>
                  <a:pt x="744215" y="1488332"/>
                </a:cubicBezTo>
                <a:cubicBezTo>
                  <a:pt x="734126" y="1492664"/>
                  <a:pt x="723536" y="1496562"/>
                  <a:pt x="712781" y="1498472"/>
                </a:cubicBezTo>
                <a:cubicBezTo>
                  <a:pt x="683814" y="1503617"/>
                  <a:pt x="654674" y="1507832"/>
                  <a:pt x="625540" y="1511981"/>
                </a:cubicBezTo>
                <a:cubicBezTo>
                  <a:pt x="580114" y="1518449"/>
                  <a:pt x="534395" y="1521481"/>
                  <a:pt x="488540" y="1522029"/>
                </a:cubicBezTo>
                <a:cubicBezTo>
                  <a:pt x="427958" y="1522752"/>
                  <a:pt x="367367" y="1523658"/>
                  <a:pt x="306789" y="1523231"/>
                </a:cubicBezTo>
                <a:cubicBezTo>
                  <a:pt x="271215" y="1522980"/>
                  <a:pt x="235625" y="1520833"/>
                  <a:pt x="200103" y="1518579"/>
                </a:cubicBezTo>
                <a:cubicBezTo>
                  <a:pt x="143289" y="1514974"/>
                  <a:pt x="86915" y="1507766"/>
                  <a:pt x="31607" y="1493880"/>
                </a:cubicBezTo>
                <a:cubicBezTo>
                  <a:pt x="22666" y="1491635"/>
                  <a:pt x="14297" y="1486920"/>
                  <a:pt x="5860" y="1482933"/>
                </a:cubicBezTo>
                <a:cubicBezTo>
                  <a:pt x="1433" y="1480841"/>
                  <a:pt x="-262" y="1476934"/>
                  <a:pt x="32" y="1471774"/>
                </a:cubicBezTo>
                <a:cubicBezTo>
                  <a:pt x="1880" y="1439401"/>
                  <a:pt x="3993" y="1407192"/>
                  <a:pt x="21295" y="1378237"/>
                </a:cubicBezTo>
                <a:cubicBezTo>
                  <a:pt x="23526" y="1374504"/>
                  <a:pt x="23666" y="1368858"/>
                  <a:pt x="23169" y="1364271"/>
                </a:cubicBezTo>
                <a:cubicBezTo>
                  <a:pt x="20957" y="1343833"/>
                  <a:pt x="20482" y="1323540"/>
                  <a:pt x="23871" y="1303132"/>
                </a:cubicBezTo>
                <a:cubicBezTo>
                  <a:pt x="28332" y="1276267"/>
                  <a:pt x="41045" y="1253887"/>
                  <a:pt x="59740" y="1234649"/>
                </a:cubicBezTo>
                <a:cubicBezTo>
                  <a:pt x="72582" y="1221434"/>
                  <a:pt x="85657" y="1208434"/>
                  <a:pt x="98899" y="1195619"/>
                </a:cubicBezTo>
                <a:cubicBezTo>
                  <a:pt x="118216" y="1176926"/>
                  <a:pt x="130484" y="1154702"/>
                  <a:pt x="131493" y="1127593"/>
                </a:cubicBezTo>
                <a:cubicBezTo>
                  <a:pt x="132448" y="1101948"/>
                  <a:pt x="127125" y="1077868"/>
                  <a:pt x="108213" y="1058723"/>
                </a:cubicBezTo>
                <a:cubicBezTo>
                  <a:pt x="97010" y="1047381"/>
                  <a:pt x="85438" y="1036399"/>
                  <a:pt x="74370" y="1024929"/>
                </a:cubicBezTo>
                <a:cubicBezTo>
                  <a:pt x="63868" y="1014043"/>
                  <a:pt x="62267" y="1001475"/>
                  <a:pt x="68137" y="987550"/>
                </a:cubicBezTo>
                <a:cubicBezTo>
                  <a:pt x="74493" y="972473"/>
                  <a:pt x="80703" y="957319"/>
                  <a:pt x="86420" y="941991"/>
                </a:cubicBezTo>
                <a:cubicBezTo>
                  <a:pt x="100218" y="905001"/>
                  <a:pt x="99441" y="866690"/>
                  <a:pt x="97082" y="828037"/>
                </a:cubicBezTo>
                <a:cubicBezTo>
                  <a:pt x="94260" y="781809"/>
                  <a:pt x="76370" y="739899"/>
                  <a:pt x="61782" y="696973"/>
                </a:cubicBezTo>
                <a:cubicBezTo>
                  <a:pt x="45282" y="648419"/>
                  <a:pt x="33285" y="598770"/>
                  <a:pt x="26901" y="547868"/>
                </a:cubicBezTo>
                <a:cubicBezTo>
                  <a:pt x="24054" y="525160"/>
                  <a:pt x="21110" y="502364"/>
                  <a:pt x="20221" y="479529"/>
                </a:cubicBezTo>
                <a:cubicBezTo>
                  <a:pt x="18293" y="430013"/>
                  <a:pt x="26126" y="381610"/>
                  <a:pt x="40808" y="334388"/>
                </a:cubicBezTo>
                <a:cubicBezTo>
                  <a:pt x="48208" y="310588"/>
                  <a:pt x="55162" y="286441"/>
                  <a:pt x="65171" y="263707"/>
                </a:cubicBezTo>
                <a:cubicBezTo>
                  <a:pt x="81946" y="225606"/>
                  <a:pt x="106517" y="193071"/>
                  <a:pt x="142827" y="171003"/>
                </a:cubicBezTo>
                <a:cubicBezTo>
                  <a:pt x="152238" y="165283"/>
                  <a:pt x="162401" y="160787"/>
                  <a:pt x="172290" y="155872"/>
                </a:cubicBezTo>
                <a:cubicBezTo>
                  <a:pt x="177784" y="153142"/>
                  <a:pt x="183393" y="150635"/>
                  <a:pt x="189008" y="148158"/>
                </a:cubicBezTo>
                <a:cubicBezTo>
                  <a:pt x="199487" y="143534"/>
                  <a:pt x="207598" y="136426"/>
                  <a:pt x="212828" y="126123"/>
                </a:cubicBezTo>
                <a:cubicBezTo>
                  <a:pt x="214121" y="123575"/>
                  <a:pt x="215966" y="121304"/>
                  <a:pt x="217217" y="118740"/>
                </a:cubicBezTo>
                <a:cubicBezTo>
                  <a:pt x="224688" y="103433"/>
                  <a:pt x="237053" y="93440"/>
                  <a:pt x="253000" y="88998"/>
                </a:cubicBezTo>
                <a:cubicBezTo>
                  <a:pt x="275818" y="82642"/>
                  <a:pt x="299033" y="77711"/>
                  <a:pt x="322085" y="72193"/>
                </a:cubicBezTo>
                <a:cubicBezTo>
                  <a:pt x="324867" y="71527"/>
                  <a:pt x="327694" y="71045"/>
                  <a:pt x="330478" y="70387"/>
                </a:cubicBezTo>
                <a:cubicBezTo>
                  <a:pt x="364731" y="62297"/>
                  <a:pt x="364569" y="62151"/>
                  <a:pt x="388016" y="35457"/>
                </a:cubicBezTo>
                <a:cubicBezTo>
                  <a:pt x="398189" y="23875"/>
                  <a:pt x="409180" y="13010"/>
                  <a:pt x="421527" y="0"/>
                </a:cubicBezTo>
                <a:cubicBezTo>
                  <a:pt x="423000" y="5190"/>
                  <a:pt x="424219" y="7961"/>
                  <a:pt x="424538" y="10833"/>
                </a:cubicBezTo>
                <a:cubicBezTo>
                  <a:pt x="428638" y="47817"/>
                  <a:pt x="433030" y="84779"/>
                  <a:pt x="436339" y="121836"/>
                </a:cubicBezTo>
                <a:cubicBezTo>
                  <a:pt x="437236" y="131893"/>
                  <a:pt x="441545" y="137271"/>
                  <a:pt x="449983" y="141450"/>
                </a:cubicBezTo>
                <a:cubicBezTo>
                  <a:pt x="467954" y="150348"/>
                  <a:pt x="486187" y="158915"/>
                  <a:pt x="503299" y="169290"/>
                </a:cubicBezTo>
                <a:cubicBezTo>
                  <a:pt x="520041" y="179441"/>
                  <a:pt x="535883" y="191197"/>
                  <a:pt x="551461" y="203111"/>
                </a:cubicBezTo>
                <a:cubicBezTo>
                  <a:pt x="568416" y="216079"/>
                  <a:pt x="579195" y="234146"/>
                  <a:pt x="588803" y="252797"/>
                </a:cubicBezTo>
                <a:cubicBezTo>
                  <a:pt x="602134" y="278677"/>
                  <a:pt x="616556" y="303835"/>
                  <a:pt x="634209" y="327081"/>
                </a:cubicBezTo>
                <a:cubicBezTo>
                  <a:pt x="651797" y="350241"/>
                  <a:pt x="673980" y="368103"/>
                  <a:pt x="697923" y="384157"/>
                </a:cubicBezTo>
                <a:cubicBezTo>
                  <a:pt x="708787" y="391441"/>
                  <a:pt x="719007" y="399678"/>
                  <a:pt x="729658" y="407288"/>
                </a:cubicBezTo>
                <a:cubicBezTo>
                  <a:pt x="751657" y="423004"/>
                  <a:pt x="761259" y="445265"/>
                  <a:pt x="763354" y="471325"/>
                </a:cubicBezTo>
                <a:cubicBezTo>
                  <a:pt x="764877" y="490275"/>
                  <a:pt x="762919" y="509064"/>
                  <a:pt x="757092" y="527116"/>
                </a:cubicBezTo>
                <a:cubicBezTo>
                  <a:pt x="750932" y="546198"/>
                  <a:pt x="738296" y="560266"/>
                  <a:pt x="720673" y="570023"/>
                </a:cubicBezTo>
                <a:cubicBezTo>
                  <a:pt x="715048" y="573138"/>
                  <a:pt x="709487" y="576825"/>
                  <a:pt x="704918" y="581294"/>
                </a:cubicBezTo>
                <a:cubicBezTo>
                  <a:pt x="695625" y="590383"/>
                  <a:pt x="684728" y="595697"/>
                  <a:pt x="671960" y="595325"/>
                </a:cubicBezTo>
                <a:cubicBezTo>
                  <a:pt x="658939" y="594945"/>
                  <a:pt x="645743" y="594018"/>
                  <a:pt x="633021" y="591397"/>
                </a:cubicBezTo>
                <a:cubicBezTo>
                  <a:pt x="611233" y="586907"/>
                  <a:pt x="595034" y="572939"/>
                  <a:pt x="580696" y="556742"/>
                </a:cubicBezTo>
                <a:cubicBezTo>
                  <a:pt x="570081" y="544750"/>
                  <a:pt x="559052" y="533306"/>
                  <a:pt x="545415" y="524617"/>
                </a:cubicBezTo>
                <a:cubicBezTo>
                  <a:pt x="537261" y="519422"/>
                  <a:pt x="528551" y="515996"/>
                  <a:pt x="518889" y="516179"/>
                </a:cubicBezTo>
                <a:cubicBezTo>
                  <a:pt x="503357" y="516473"/>
                  <a:pt x="487839" y="517663"/>
                  <a:pt x="472309" y="517812"/>
                </a:cubicBezTo>
                <a:cubicBezTo>
                  <a:pt x="453527" y="517993"/>
                  <a:pt x="434738" y="517514"/>
                  <a:pt x="415953" y="517245"/>
                </a:cubicBezTo>
                <a:cubicBezTo>
                  <a:pt x="411976" y="517189"/>
                  <a:pt x="408003" y="516808"/>
                  <a:pt x="403392" y="516539"/>
                </a:cubicBezTo>
                <a:cubicBezTo>
                  <a:pt x="401207" y="526363"/>
                  <a:pt x="404857" y="534293"/>
                  <a:pt x="407957" y="542045"/>
                </a:cubicBezTo>
                <a:cubicBezTo>
                  <a:pt x="414092" y="557387"/>
                  <a:pt x="423168" y="571042"/>
                  <a:pt x="434134" y="583349"/>
                </a:cubicBezTo>
                <a:cubicBezTo>
                  <a:pt x="464083" y="616959"/>
                  <a:pt x="493980" y="650618"/>
                  <a:pt x="524267" y="683922"/>
                </a:cubicBezTo>
                <a:cubicBezTo>
                  <a:pt x="554818" y="717518"/>
                  <a:pt x="588291" y="748619"/>
                  <a:pt x="614317" y="786085"/>
                </a:cubicBezTo>
                <a:cubicBezTo>
                  <a:pt x="642656" y="826881"/>
                  <a:pt x="663974" y="871159"/>
                  <a:pt x="669590" y="921089"/>
                </a:cubicBezTo>
                <a:cubicBezTo>
                  <a:pt x="674894" y="968240"/>
                  <a:pt x="669774" y="1014226"/>
                  <a:pt x="647360" y="1057245"/>
                </a:cubicBezTo>
                <a:cubicBezTo>
                  <a:pt x="639830" y="1071697"/>
                  <a:pt x="630533" y="1085565"/>
                  <a:pt x="627872" y="1102111"/>
                </a:cubicBezTo>
                <a:cubicBezTo>
                  <a:pt x="623640" y="1128439"/>
                  <a:pt x="626183" y="1153784"/>
                  <a:pt x="642300" y="1175941"/>
                </a:cubicBezTo>
                <a:cubicBezTo>
                  <a:pt x="650201" y="1186801"/>
                  <a:pt x="659595" y="1196636"/>
                  <a:pt x="668829" y="1206449"/>
                </a:cubicBezTo>
                <a:cubicBezTo>
                  <a:pt x="679770" y="1218075"/>
                  <a:pt x="691267" y="1229177"/>
                  <a:pt x="703087" y="1241174"/>
                </a:cubicBezTo>
                <a:moveTo>
                  <a:pt x="648750" y="562343"/>
                </a:moveTo>
                <a:cubicBezTo>
                  <a:pt x="656729" y="562558"/>
                  <a:pt x="664698" y="567407"/>
                  <a:pt x="674049" y="562834"/>
                </a:cubicBezTo>
                <a:cubicBezTo>
                  <a:pt x="668990" y="558037"/>
                  <a:pt x="664729" y="554259"/>
                  <a:pt x="660781" y="550178"/>
                </a:cubicBezTo>
                <a:cubicBezTo>
                  <a:pt x="656713" y="545973"/>
                  <a:pt x="651493" y="542363"/>
                  <a:pt x="650911" y="534051"/>
                </a:cubicBezTo>
                <a:cubicBezTo>
                  <a:pt x="654940" y="535536"/>
                  <a:pt x="657753" y="536907"/>
                  <a:pt x="660724" y="537605"/>
                </a:cubicBezTo>
                <a:cubicBezTo>
                  <a:pt x="669824" y="539743"/>
                  <a:pt x="678915" y="542853"/>
                  <a:pt x="688133" y="543363"/>
                </a:cubicBezTo>
                <a:cubicBezTo>
                  <a:pt x="712019" y="544686"/>
                  <a:pt x="726964" y="534053"/>
                  <a:pt x="731514" y="510767"/>
                </a:cubicBezTo>
                <a:cubicBezTo>
                  <a:pt x="734296" y="496535"/>
                  <a:pt x="734146" y="481511"/>
                  <a:pt x="733611" y="466905"/>
                </a:cubicBezTo>
                <a:cubicBezTo>
                  <a:pt x="732951" y="448863"/>
                  <a:pt x="723348" y="435653"/>
                  <a:pt x="708076" y="425975"/>
                </a:cubicBezTo>
                <a:cubicBezTo>
                  <a:pt x="694258" y="417218"/>
                  <a:pt x="681056" y="407489"/>
                  <a:pt x="667538" y="398254"/>
                </a:cubicBezTo>
                <a:cubicBezTo>
                  <a:pt x="641278" y="380314"/>
                  <a:pt x="617580" y="359743"/>
                  <a:pt x="601016" y="332127"/>
                </a:cubicBezTo>
                <a:cubicBezTo>
                  <a:pt x="588810" y="311778"/>
                  <a:pt x="576093" y="291645"/>
                  <a:pt x="565354" y="270526"/>
                </a:cubicBezTo>
                <a:cubicBezTo>
                  <a:pt x="548401" y="237186"/>
                  <a:pt x="523821" y="212104"/>
                  <a:pt x="490657" y="195121"/>
                </a:cubicBezTo>
                <a:cubicBezTo>
                  <a:pt x="471346" y="185231"/>
                  <a:pt x="452394" y="174606"/>
                  <a:pt x="432834" y="165243"/>
                </a:cubicBezTo>
                <a:cubicBezTo>
                  <a:pt x="416725" y="157532"/>
                  <a:pt x="408325" y="145526"/>
                  <a:pt x="407594" y="127852"/>
                </a:cubicBezTo>
                <a:cubicBezTo>
                  <a:pt x="406783" y="108242"/>
                  <a:pt x="405935" y="88634"/>
                  <a:pt x="405020" y="69029"/>
                </a:cubicBezTo>
                <a:cubicBezTo>
                  <a:pt x="404882" y="66067"/>
                  <a:pt x="404287" y="63127"/>
                  <a:pt x="403638" y="58130"/>
                </a:cubicBezTo>
                <a:cubicBezTo>
                  <a:pt x="381792" y="82321"/>
                  <a:pt x="361650" y="104820"/>
                  <a:pt x="349776" y="133259"/>
                </a:cubicBezTo>
                <a:cubicBezTo>
                  <a:pt x="345032" y="144621"/>
                  <a:pt x="337822" y="153814"/>
                  <a:pt x="326975" y="159669"/>
                </a:cubicBezTo>
                <a:cubicBezTo>
                  <a:pt x="295461" y="176681"/>
                  <a:pt x="266610" y="197333"/>
                  <a:pt x="240374" y="221714"/>
                </a:cubicBezTo>
                <a:cubicBezTo>
                  <a:pt x="212881" y="247263"/>
                  <a:pt x="188313" y="275340"/>
                  <a:pt x="171637" y="309087"/>
                </a:cubicBezTo>
                <a:cubicBezTo>
                  <a:pt x="139180" y="374765"/>
                  <a:pt x="129692" y="444532"/>
                  <a:pt x="138048" y="516954"/>
                </a:cubicBezTo>
                <a:cubicBezTo>
                  <a:pt x="142936" y="559318"/>
                  <a:pt x="152518" y="600762"/>
                  <a:pt x="163889" y="641780"/>
                </a:cubicBezTo>
                <a:cubicBezTo>
                  <a:pt x="177329" y="690261"/>
                  <a:pt x="191989" y="738413"/>
                  <a:pt x="204800" y="787055"/>
                </a:cubicBezTo>
                <a:cubicBezTo>
                  <a:pt x="218820" y="840287"/>
                  <a:pt x="228587" y="894088"/>
                  <a:pt x="218549" y="949545"/>
                </a:cubicBezTo>
                <a:cubicBezTo>
                  <a:pt x="213279" y="978659"/>
                  <a:pt x="207130" y="1007359"/>
                  <a:pt x="191487" y="1033064"/>
                </a:cubicBezTo>
                <a:cubicBezTo>
                  <a:pt x="190499" y="1034686"/>
                  <a:pt x="190018" y="1036618"/>
                  <a:pt x="188729" y="1039835"/>
                </a:cubicBezTo>
                <a:cubicBezTo>
                  <a:pt x="200470" y="1040170"/>
                  <a:pt x="210952" y="1040298"/>
                  <a:pt x="221417" y="1040799"/>
                </a:cubicBezTo>
                <a:cubicBezTo>
                  <a:pt x="263912" y="1042835"/>
                  <a:pt x="306390" y="1046436"/>
                  <a:pt x="348895" y="1046759"/>
                </a:cubicBezTo>
                <a:cubicBezTo>
                  <a:pt x="414380" y="1047258"/>
                  <a:pt x="479896" y="1046092"/>
                  <a:pt x="545369" y="1044456"/>
                </a:cubicBezTo>
                <a:cubicBezTo>
                  <a:pt x="567764" y="1043897"/>
                  <a:pt x="590066" y="1039744"/>
                  <a:pt x="612424" y="1037365"/>
                </a:cubicBezTo>
                <a:cubicBezTo>
                  <a:pt x="617948" y="1036777"/>
                  <a:pt x="621342" y="1034139"/>
                  <a:pt x="623169" y="1028873"/>
                </a:cubicBezTo>
                <a:cubicBezTo>
                  <a:pt x="630975" y="1006370"/>
                  <a:pt x="637026" y="983472"/>
                  <a:pt x="638508" y="959599"/>
                </a:cubicBezTo>
                <a:cubicBezTo>
                  <a:pt x="641131" y="917363"/>
                  <a:pt x="628970" y="878727"/>
                  <a:pt x="609213" y="842075"/>
                </a:cubicBezTo>
                <a:cubicBezTo>
                  <a:pt x="587874" y="802491"/>
                  <a:pt x="559403" y="768169"/>
                  <a:pt x="529367" y="735065"/>
                </a:cubicBezTo>
                <a:cubicBezTo>
                  <a:pt x="487563" y="688992"/>
                  <a:pt x="445474" y="643176"/>
                  <a:pt x="403792" y="596993"/>
                </a:cubicBezTo>
                <a:cubicBezTo>
                  <a:pt x="380393" y="571066"/>
                  <a:pt x="360083" y="542922"/>
                  <a:pt x="344708" y="511366"/>
                </a:cubicBezTo>
                <a:cubicBezTo>
                  <a:pt x="324385" y="469655"/>
                  <a:pt x="317321" y="425966"/>
                  <a:pt x="324464" y="380084"/>
                </a:cubicBezTo>
                <a:cubicBezTo>
                  <a:pt x="324821" y="377789"/>
                  <a:pt x="326581" y="375713"/>
                  <a:pt x="327688" y="373535"/>
                </a:cubicBezTo>
                <a:cubicBezTo>
                  <a:pt x="328570" y="373570"/>
                  <a:pt x="329452" y="373606"/>
                  <a:pt x="330334" y="373641"/>
                </a:cubicBezTo>
                <a:cubicBezTo>
                  <a:pt x="331649" y="377308"/>
                  <a:pt x="333001" y="380963"/>
                  <a:pt x="334272" y="384645"/>
                </a:cubicBezTo>
                <a:cubicBezTo>
                  <a:pt x="342569" y="408660"/>
                  <a:pt x="351164" y="432573"/>
                  <a:pt x="365260" y="453955"/>
                </a:cubicBezTo>
                <a:cubicBezTo>
                  <a:pt x="375537" y="469544"/>
                  <a:pt x="388811" y="481767"/>
                  <a:pt x="408246" y="483592"/>
                </a:cubicBezTo>
                <a:cubicBezTo>
                  <a:pt x="426928" y="485346"/>
                  <a:pt x="445757" y="486037"/>
                  <a:pt x="464529" y="486187"/>
                </a:cubicBezTo>
                <a:cubicBezTo>
                  <a:pt x="480053" y="486311"/>
                  <a:pt x="495582" y="484792"/>
                  <a:pt x="511119" y="484308"/>
                </a:cubicBezTo>
                <a:cubicBezTo>
                  <a:pt x="532443" y="483644"/>
                  <a:pt x="551690" y="490014"/>
                  <a:pt x="567913" y="503736"/>
                </a:cubicBezTo>
                <a:cubicBezTo>
                  <a:pt x="581642" y="515348"/>
                  <a:pt x="594604" y="527888"/>
                  <a:pt x="607611" y="540326"/>
                </a:cubicBezTo>
                <a:cubicBezTo>
                  <a:pt x="618811" y="551038"/>
                  <a:pt x="631177" y="559300"/>
                  <a:pt x="648750" y="562343"/>
                </a:cubicBezTo>
                <a:moveTo>
                  <a:pt x="462594" y="1369008"/>
                </a:moveTo>
                <a:cubicBezTo>
                  <a:pt x="478517" y="1368137"/>
                  <a:pt x="494449" y="1367429"/>
                  <a:pt x="510357" y="1366345"/>
                </a:cubicBezTo>
                <a:cubicBezTo>
                  <a:pt x="523399" y="1365456"/>
                  <a:pt x="536424" y="1364247"/>
                  <a:pt x="549434" y="1362956"/>
                </a:cubicBezTo>
                <a:cubicBezTo>
                  <a:pt x="577089" y="1360213"/>
                  <a:pt x="604749" y="1357503"/>
                  <a:pt x="632369" y="1354439"/>
                </a:cubicBezTo>
                <a:cubicBezTo>
                  <a:pt x="653805" y="1352062"/>
                  <a:pt x="675183" y="1349170"/>
                  <a:pt x="697252" y="1346424"/>
                </a:cubicBezTo>
                <a:cubicBezTo>
                  <a:pt x="701148" y="1316348"/>
                  <a:pt x="695768" y="1289474"/>
                  <a:pt x="676674" y="1266396"/>
                </a:cubicBezTo>
                <a:cubicBezTo>
                  <a:pt x="667313" y="1255080"/>
                  <a:pt x="656878" y="1244625"/>
                  <a:pt x="646594" y="1234108"/>
                </a:cubicBezTo>
                <a:cubicBezTo>
                  <a:pt x="634298" y="1221533"/>
                  <a:pt x="621353" y="1209623"/>
                  <a:pt x="612063" y="1194382"/>
                </a:cubicBezTo>
                <a:cubicBezTo>
                  <a:pt x="596511" y="1168867"/>
                  <a:pt x="588079" y="1141707"/>
                  <a:pt x="591616" y="1111541"/>
                </a:cubicBezTo>
                <a:cubicBezTo>
                  <a:pt x="592450" y="1104432"/>
                  <a:pt x="593365" y="1097332"/>
                  <a:pt x="594320" y="1089609"/>
                </a:cubicBezTo>
                <a:cubicBezTo>
                  <a:pt x="588294" y="1089609"/>
                  <a:pt x="583452" y="1089392"/>
                  <a:pt x="578634" y="1089642"/>
                </a:cubicBezTo>
                <a:cubicBezTo>
                  <a:pt x="533732" y="1091976"/>
                  <a:pt x="488841" y="1094525"/>
                  <a:pt x="443931" y="1096700"/>
                </a:cubicBezTo>
                <a:cubicBezTo>
                  <a:pt x="430451" y="1097353"/>
                  <a:pt x="416923" y="1097005"/>
                  <a:pt x="403417" y="1097156"/>
                </a:cubicBezTo>
                <a:cubicBezTo>
                  <a:pt x="389337" y="1097313"/>
                  <a:pt x="388961" y="1097850"/>
                  <a:pt x="388348" y="1111502"/>
                </a:cubicBezTo>
                <a:cubicBezTo>
                  <a:pt x="387375" y="1133151"/>
                  <a:pt x="386231" y="1154793"/>
                  <a:pt x="385048" y="1176431"/>
                </a:cubicBezTo>
                <a:cubicBezTo>
                  <a:pt x="382637" y="1220514"/>
                  <a:pt x="380158" y="1264593"/>
                  <a:pt x="377687" y="1308672"/>
                </a:cubicBezTo>
                <a:cubicBezTo>
                  <a:pt x="377458" y="1312751"/>
                  <a:pt x="376852" y="1316821"/>
                  <a:pt x="376823" y="1320897"/>
                </a:cubicBezTo>
                <a:cubicBezTo>
                  <a:pt x="376717" y="1335880"/>
                  <a:pt x="376781" y="1350864"/>
                  <a:pt x="376781" y="1366151"/>
                </a:cubicBezTo>
                <a:cubicBezTo>
                  <a:pt x="404707" y="1370397"/>
                  <a:pt x="432477" y="1369351"/>
                  <a:pt x="462594" y="1369008"/>
                </a:cubicBezTo>
                <a:moveTo>
                  <a:pt x="648494" y="1463981"/>
                </a:moveTo>
                <a:cubicBezTo>
                  <a:pt x="671329" y="1460052"/>
                  <a:pt x="694163" y="1456122"/>
                  <a:pt x="718746" y="1451892"/>
                </a:cubicBezTo>
                <a:cubicBezTo>
                  <a:pt x="716257" y="1439067"/>
                  <a:pt x="714578" y="1427816"/>
                  <a:pt x="711827" y="1416835"/>
                </a:cubicBezTo>
                <a:cubicBezTo>
                  <a:pt x="707611" y="1400009"/>
                  <a:pt x="703502" y="1397423"/>
                  <a:pt x="685812" y="1398502"/>
                </a:cubicBezTo>
                <a:cubicBezTo>
                  <a:pt x="684179" y="1398602"/>
                  <a:pt x="682547" y="1398768"/>
                  <a:pt x="680924" y="1398973"/>
                </a:cubicBezTo>
                <a:cubicBezTo>
                  <a:pt x="653380" y="1402446"/>
                  <a:pt x="625911" y="1406752"/>
                  <a:pt x="598278" y="1409218"/>
                </a:cubicBezTo>
                <a:cubicBezTo>
                  <a:pt x="557171" y="1412886"/>
                  <a:pt x="515983" y="1415946"/>
                  <a:pt x="474765" y="1417945"/>
                </a:cubicBezTo>
                <a:cubicBezTo>
                  <a:pt x="444944" y="1419391"/>
                  <a:pt x="415021" y="1418680"/>
                  <a:pt x="385143" y="1418978"/>
                </a:cubicBezTo>
                <a:cubicBezTo>
                  <a:pt x="382419" y="1419005"/>
                  <a:pt x="379697" y="1419376"/>
                  <a:pt x="376639" y="1419613"/>
                </a:cubicBezTo>
                <a:cubicBezTo>
                  <a:pt x="376639" y="1438152"/>
                  <a:pt x="376639" y="1455909"/>
                  <a:pt x="376639" y="1473939"/>
                </a:cubicBezTo>
                <a:cubicBezTo>
                  <a:pt x="378971" y="1474343"/>
                  <a:pt x="380523" y="1474802"/>
                  <a:pt x="382089" y="1474854"/>
                </a:cubicBezTo>
                <a:cubicBezTo>
                  <a:pt x="404571" y="1475605"/>
                  <a:pt x="427058" y="1476986"/>
                  <a:pt x="449536" y="1476855"/>
                </a:cubicBezTo>
                <a:cubicBezTo>
                  <a:pt x="486344" y="1476639"/>
                  <a:pt x="523207" y="1476480"/>
                  <a:pt x="559930" y="1474307"/>
                </a:cubicBezTo>
                <a:cubicBezTo>
                  <a:pt x="588839" y="1472596"/>
                  <a:pt x="617570" y="1467884"/>
                  <a:pt x="648494" y="1463981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3" name="Free-form: Shape 72">
            <a:extLst>
              <a:ext uri="{FF2B5EF4-FFF2-40B4-BE49-F238E27FC236}">
                <a16:creationId xmlns:a16="http://schemas.microsoft.com/office/drawing/2014/main" id="{D31AE883-A282-6245-4AA3-B90701DF1669}"/>
              </a:ext>
            </a:extLst>
          </p:cNvPr>
          <p:cNvSpPr/>
          <p:nvPr/>
        </p:nvSpPr>
        <p:spPr>
          <a:xfrm>
            <a:off x="1315721" y="3275927"/>
            <a:ext cx="497702" cy="821885"/>
          </a:xfrm>
          <a:custGeom>
            <a:avLst/>
            <a:gdLst>
              <a:gd name="csX0" fmla="*/ 512604 w 598747"/>
              <a:gd name="csY0" fmla="*/ 503918 h 988745"/>
              <a:gd name="csX1" fmla="*/ 472435 w 598747"/>
              <a:gd name="csY1" fmla="*/ 482196 h 988745"/>
              <a:gd name="csX2" fmla="*/ 432737 w 598747"/>
              <a:gd name="csY2" fmla="*/ 445605 h 988745"/>
              <a:gd name="csX3" fmla="*/ 375943 w 598747"/>
              <a:gd name="csY3" fmla="*/ 426178 h 988745"/>
              <a:gd name="csX4" fmla="*/ 329354 w 598747"/>
              <a:gd name="csY4" fmla="*/ 428057 h 988745"/>
              <a:gd name="csX5" fmla="*/ 273070 w 598747"/>
              <a:gd name="csY5" fmla="*/ 425461 h 988745"/>
              <a:gd name="csX6" fmla="*/ 230084 w 598747"/>
              <a:gd name="csY6" fmla="*/ 395825 h 988745"/>
              <a:gd name="csX7" fmla="*/ 199097 w 598747"/>
              <a:gd name="csY7" fmla="*/ 326515 h 988745"/>
              <a:gd name="csX8" fmla="*/ 195158 w 598747"/>
              <a:gd name="csY8" fmla="*/ 315511 h 988745"/>
              <a:gd name="csX9" fmla="*/ 192512 w 598747"/>
              <a:gd name="csY9" fmla="*/ 315405 h 988745"/>
              <a:gd name="csX10" fmla="*/ 189288 w 598747"/>
              <a:gd name="csY10" fmla="*/ 321954 h 988745"/>
              <a:gd name="csX11" fmla="*/ 209532 w 598747"/>
              <a:gd name="csY11" fmla="*/ 453235 h 988745"/>
              <a:gd name="csX12" fmla="*/ 268616 w 598747"/>
              <a:gd name="csY12" fmla="*/ 538863 h 988745"/>
              <a:gd name="csX13" fmla="*/ 394191 w 598747"/>
              <a:gd name="csY13" fmla="*/ 676935 h 988745"/>
              <a:gd name="csX14" fmla="*/ 474037 w 598747"/>
              <a:gd name="csY14" fmla="*/ 783945 h 988745"/>
              <a:gd name="csX15" fmla="*/ 503332 w 598747"/>
              <a:gd name="csY15" fmla="*/ 901469 h 988745"/>
              <a:gd name="csX16" fmla="*/ 487993 w 598747"/>
              <a:gd name="csY16" fmla="*/ 970743 h 988745"/>
              <a:gd name="csX17" fmla="*/ 477248 w 598747"/>
              <a:gd name="csY17" fmla="*/ 979235 h 988745"/>
              <a:gd name="csX18" fmla="*/ 410194 w 598747"/>
              <a:gd name="csY18" fmla="*/ 986326 h 988745"/>
              <a:gd name="csX19" fmla="*/ 213720 w 598747"/>
              <a:gd name="csY19" fmla="*/ 988629 h 988745"/>
              <a:gd name="csX20" fmla="*/ 86242 w 598747"/>
              <a:gd name="csY20" fmla="*/ 982669 h 988745"/>
              <a:gd name="csX21" fmla="*/ 53553 w 598747"/>
              <a:gd name="csY21" fmla="*/ 981705 h 988745"/>
              <a:gd name="csX22" fmla="*/ 56311 w 598747"/>
              <a:gd name="csY22" fmla="*/ 974933 h 988745"/>
              <a:gd name="csX23" fmla="*/ 83373 w 598747"/>
              <a:gd name="csY23" fmla="*/ 891414 h 988745"/>
              <a:gd name="csX24" fmla="*/ 69625 w 598747"/>
              <a:gd name="csY24" fmla="*/ 728925 h 988745"/>
              <a:gd name="csX25" fmla="*/ 28713 w 598747"/>
              <a:gd name="csY25" fmla="*/ 583650 h 988745"/>
              <a:gd name="csX26" fmla="*/ 2872 w 598747"/>
              <a:gd name="csY26" fmla="*/ 458823 h 988745"/>
              <a:gd name="csX27" fmla="*/ 36461 w 598747"/>
              <a:gd name="csY27" fmla="*/ 250957 h 988745"/>
              <a:gd name="csX28" fmla="*/ 105198 w 598747"/>
              <a:gd name="csY28" fmla="*/ 163584 h 988745"/>
              <a:gd name="csX29" fmla="*/ 191800 w 598747"/>
              <a:gd name="csY29" fmla="*/ 101539 h 988745"/>
              <a:gd name="csX30" fmla="*/ 214600 w 598747"/>
              <a:gd name="csY30" fmla="*/ 75129 h 988745"/>
              <a:gd name="csX31" fmla="*/ 268462 w 598747"/>
              <a:gd name="csY31" fmla="*/ 0 h 988745"/>
              <a:gd name="csX32" fmla="*/ 269844 w 598747"/>
              <a:gd name="csY32" fmla="*/ 10898 h 988745"/>
              <a:gd name="csX33" fmla="*/ 272418 w 598747"/>
              <a:gd name="csY33" fmla="*/ 69722 h 988745"/>
              <a:gd name="csX34" fmla="*/ 297658 w 598747"/>
              <a:gd name="csY34" fmla="*/ 107113 h 988745"/>
              <a:gd name="csX35" fmla="*/ 355481 w 598747"/>
              <a:gd name="csY35" fmla="*/ 136991 h 988745"/>
              <a:gd name="csX36" fmla="*/ 430178 w 598747"/>
              <a:gd name="csY36" fmla="*/ 212396 h 988745"/>
              <a:gd name="csX37" fmla="*/ 465840 w 598747"/>
              <a:gd name="csY37" fmla="*/ 273997 h 988745"/>
              <a:gd name="csX38" fmla="*/ 532362 w 598747"/>
              <a:gd name="csY38" fmla="*/ 340124 h 988745"/>
              <a:gd name="csX39" fmla="*/ 572901 w 598747"/>
              <a:gd name="csY39" fmla="*/ 367845 h 988745"/>
              <a:gd name="csX40" fmla="*/ 598436 w 598747"/>
              <a:gd name="csY40" fmla="*/ 408775 h 988745"/>
              <a:gd name="csX41" fmla="*/ 596339 w 598747"/>
              <a:gd name="csY41" fmla="*/ 452637 h 988745"/>
              <a:gd name="csX42" fmla="*/ 552957 w 598747"/>
              <a:gd name="csY42" fmla="*/ 485233 h 988745"/>
              <a:gd name="csX43" fmla="*/ 525548 w 598747"/>
              <a:gd name="csY43" fmla="*/ 479475 h 988745"/>
              <a:gd name="csX44" fmla="*/ 515736 w 598747"/>
              <a:gd name="csY44" fmla="*/ 475921 h 988745"/>
              <a:gd name="csX45" fmla="*/ 525605 w 598747"/>
              <a:gd name="csY45" fmla="*/ 492048 h 988745"/>
              <a:gd name="csX46" fmla="*/ 538873 w 598747"/>
              <a:gd name="csY46" fmla="*/ 504704 h 988745"/>
              <a:gd name="csX47" fmla="*/ 512604 w 598747"/>
              <a:gd name="csY47" fmla="*/ 503918 h 988745"/>
              <a:gd name="csX48" fmla="*/ 332072 w 598747"/>
              <a:gd name="csY48" fmla="*/ 218143 h 988745"/>
              <a:gd name="csX49" fmla="*/ 334388 w 598747"/>
              <a:gd name="csY49" fmla="*/ 226400 h 988745"/>
              <a:gd name="csX50" fmla="*/ 372370 w 598747"/>
              <a:gd name="csY50" fmla="*/ 254505 h 988745"/>
              <a:gd name="csX51" fmla="*/ 405258 w 598747"/>
              <a:gd name="csY51" fmla="*/ 252089 h 988745"/>
              <a:gd name="csX52" fmla="*/ 409167 w 598747"/>
              <a:gd name="csY52" fmla="*/ 244359 h 988745"/>
              <a:gd name="csX53" fmla="*/ 396364 w 598747"/>
              <a:gd name="csY53" fmla="*/ 219471 h 988745"/>
              <a:gd name="csX54" fmla="*/ 365755 w 598747"/>
              <a:gd name="csY54" fmla="*/ 195821 h 988745"/>
              <a:gd name="csX55" fmla="*/ 333572 w 598747"/>
              <a:gd name="csY55" fmla="*/ 188536 h 988745"/>
              <a:gd name="csX56" fmla="*/ 322931 w 598747"/>
              <a:gd name="csY56" fmla="*/ 190843 h 988745"/>
              <a:gd name="csX57" fmla="*/ 329041 w 598747"/>
              <a:gd name="csY57" fmla="*/ 203001 h 988745"/>
              <a:gd name="csX58" fmla="*/ 332072 w 598747"/>
              <a:gd name="csY58" fmla="*/ 218143 h 98874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</a:cxnLst>
            <a:rect l="l" t="t" r="r" b="b"/>
            <a:pathLst>
              <a:path w="598747" h="988745">
                <a:moveTo>
                  <a:pt x="512604" y="503918"/>
                </a:moveTo>
                <a:cubicBezTo>
                  <a:pt x="496002" y="501170"/>
                  <a:pt x="483635" y="492907"/>
                  <a:pt x="472435" y="482196"/>
                </a:cubicBezTo>
                <a:cubicBezTo>
                  <a:pt x="459429" y="469758"/>
                  <a:pt x="446467" y="457218"/>
                  <a:pt x="432737" y="445605"/>
                </a:cubicBezTo>
                <a:cubicBezTo>
                  <a:pt x="416514" y="431883"/>
                  <a:pt x="397267" y="425513"/>
                  <a:pt x="375943" y="426178"/>
                </a:cubicBezTo>
                <a:cubicBezTo>
                  <a:pt x="360407" y="426662"/>
                  <a:pt x="344877" y="428180"/>
                  <a:pt x="329354" y="428057"/>
                </a:cubicBezTo>
                <a:cubicBezTo>
                  <a:pt x="310581" y="427907"/>
                  <a:pt x="291752" y="427215"/>
                  <a:pt x="273070" y="425461"/>
                </a:cubicBezTo>
                <a:cubicBezTo>
                  <a:pt x="253636" y="423637"/>
                  <a:pt x="240361" y="411413"/>
                  <a:pt x="230084" y="395825"/>
                </a:cubicBezTo>
                <a:cubicBezTo>
                  <a:pt x="215988" y="374443"/>
                  <a:pt x="207393" y="350530"/>
                  <a:pt x="199097" y="326515"/>
                </a:cubicBezTo>
                <a:cubicBezTo>
                  <a:pt x="197825" y="322833"/>
                  <a:pt x="196473" y="319178"/>
                  <a:pt x="195158" y="315511"/>
                </a:cubicBezTo>
                <a:cubicBezTo>
                  <a:pt x="194276" y="315475"/>
                  <a:pt x="193394" y="315440"/>
                  <a:pt x="192512" y="315405"/>
                </a:cubicBezTo>
                <a:cubicBezTo>
                  <a:pt x="191405" y="317583"/>
                  <a:pt x="189646" y="319659"/>
                  <a:pt x="189288" y="321954"/>
                </a:cubicBezTo>
                <a:cubicBezTo>
                  <a:pt x="182145" y="367836"/>
                  <a:pt x="189209" y="411525"/>
                  <a:pt x="209532" y="453235"/>
                </a:cubicBezTo>
                <a:cubicBezTo>
                  <a:pt x="224908" y="484792"/>
                  <a:pt x="245217" y="512936"/>
                  <a:pt x="268616" y="538863"/>
                </a:cubicBezTo>
                <a:cubicBezTo>
                  <a:pt x="310298" y="585046"/>
                  <a:pt x="352387" y="630861"/>
                  <a:pt x="394191" y="676935"/>
                </a:cubicBezTo>
                <a:cubicBezTo>
                  <a:pt x="424227" y="710039"/>
                  <a:pt x="452698" y="744360"/>
                  <a:pt x="474037" y="783945"/>
                </a:cubicBezTo>
                <a:cubicBezTo>
                  <a:pt x="493795" y="820596"/>
                  <a:pt x="505956" y="859233"/>
                  <a:pt x="503332" y="901469"/>
                </a:cubicBezTo>
                <a:cubicBezTo>
                  <a:pt x="501850" y="925342"/>
                  <a:pt x="495799" y="948239"/>
                  <a:pt x="487993" y="970743"/>
                </a:cubicBezTo>
                <a:cubicBezTo>
                  <a:pt x="486166" y="976009"/>
                  <a:pt x="482772" y="978647"/>
                  <a:pt x="477248" y="979235"/>
                </a:cubicBezTo>
                <a:cubicBezTo>
                  <a:pt x="454890" y="981614"/>
                  <a:pt x="432589" y="985767"/>
                  <a:pt x="410194" y="986326"/>
                </a:cubicBezTo>
                <a:cubicBezTo>
                  <a:pt x="344720" y="987961"/>
                  <a:pt x="279205" y="989128"/>
                  <a:pt x="213720" y="988629"/>
                </a:cubicBezTo>
                <a:cubicBezTo>
                  <a:pt x="171215" y="988306"/>
                  <a:pt x="128736" y="984705"/>
                  <a:pt x="86242" y="982669"/>
                </a:cubicBezTo>
                <a:cubicBezTo>
                  <a:pt x="75776" y="982167"/>
                  <a:pt x="65294" y="982040"/>
                  <a:pt x="53553" y="981705"/>
                </a:cubicBezTo>
                <a:cubicBezTo>
                  <a:pt x="54842" y="978488"/>
                  <a:pt x="55323" y="976556"/>
                  <a:pt x="56311" y="974933"/>
                </a:cubicBezTo>
                <a:cubicBezTo>
                  <a:pt x="71955" y="949229"/>
                  <a:pt x="78103" y="920529"/>
                  <a:pt x="83373" y="891414"/>
                </a:cubicBezTo>
                <a:cubicBezTo>
                  <a:pt x="93411" y="835958"/>
                  <a:pt x="83645" y="782156"/>
                  <a:pt x="69625" y="728925"/>
                </a:cubicBezTo>
                <a:cubicBezTo>
                  <a:pt x="56813" y="680283"/>
                  <a:pt x="42153" y="632130"/>
                  <a:pt x="28713" y="583650"/>
                </a:cubicBezTo>
                <a:cubicBezTo>
                  <a:pt x="17342" y="542631"/>
                  <a:pt x="7760" y="501188"/>
                  <a:pt x="2872" y="458823"/>
                </a:cubicBezTo>
                <a:cubicBezTo>
                  <a:pt x="-5484" y="386401"/>
                  <a:pt x="4005" y="316635"/>
                  <a:pt x="36461" y="250957"/>
                </a:cubicBezTo>
                <a:cubicBezTo>
                  <a:pt x="53137" y="217210"/>
                  <a:pt x="77705" y="189133"/>
                  <a:pt x="105198" y="163584"/>
                </a:cubicBezTo>
                <a:cubicBezTo>
                  <a:pt x="131434" y="139203"/>
                  <a:pt x="160285" y="118551"/>
                  <a:pt x="191800" y="101539"/>
                </a:cubicBezTo>
                <a:cubicBezTo>
                  <a:pt x="202646" y="95684"/>
                  <a:pt x="209856" y="86491"/>
                  <a:pt x="214600" y="75129"/>
                </a:cubicBezTo>
                <a:cubicBezTo>
                  <a:pt x="226474" y="46689"/>
                  <a:pt x="246616" y="24191"/>
                  <a:pt x="268462" y="0"/>
                </a:cubicBezTo>
                <a:cubicBezTo>
                  <a:pt x="269111" y="4997"/>
                  <a:pt x="269706" y="7937"/>
                  <a:pt x="269844" y="10898"/>
                </a:cubicBezTo>
                <a:cubicBezTo>
                  <a:pt x="270760" y="30504"/>
                  <a:pt x="271607" y="50112"/>
                  <a:pt x="272418" y="69722"/>
                </a:cubicBezTo>
                <a:cubicBezTo>
                  <a:pt x="273150" y="87396"/>
                  <a:pt x="281549" y="99401"/>
                  <a:pt x="297658" y="107113"/>
                </a:cubicBezTo>
                <a:cubicBezTo>
                  <a:pt x="317218" y="116476"/>
                  <a:pt x="336170" y="127101"/>
                  <a:pt x="355481" y="136991"/>
                </a:cubicBezTo>
                <a:cubicBezTo>
                  <a:pt x="388645" y="153974"/>
                  <a:pt x="413226" y="179056"/>
                  <a:pt x="430178" y="212396"/>
                </a:cubicBezTo>
                <a:cubicBezTo>
                  <a:pt x="440917" y="233515"/>
                  <a:pt x="453634" y="253647"/>
                  <a:pt x="465840" y="273997"/>
                </a:cubicBezTo>
                <a:cubicBezTo>
                  <a:pt x="482404" y="301613"/>
                  <a:pt x="506102" y="322183"/>
                  <a:pt x="532362" y="340124"/>
                </a:cubicBezTo>
                <a:cubicBezTo>
                  <a:pt x="545881" y="349359"/>
                  <a:pt x="559082" y="359088"/>
                  <a:pt x="572901" y="367845"/>
                </a:cubicBezTo>
                <a:cubicBezTo>
                  <a:pt x="588172" y="377523"/>
                  <a:pt x="597775" y="390733"/>
                  <a:pt x="598436" y="408775"/>
                </a:cubicBezTo>
                <a:cubicBezTo>
                  <a:pt x="598970" y="423381"/>
                  <a:pt x="599120" y="438404"/>
                  <a:pt x="596339" y="452637"/>
                </a:cubicBezTo>
                <a:cubicBezTo>
                  <a:pt x="591789" y="475923"/>
                  <a:pt x="576843" y="486555"/>
                  <a:pt x="552957" y="485233"/>
                </a:cubicBezTo>
                <a:cubicBezTo>
                  <a:pt x="543740" y="484722"/>
                  <a:pt x="534648" y="481613"/>
                  <a:pt x="525548" y="479475"/>
                </a:cubicBezTo>
                <a:cubicBezTo>
                  <a:pt x="522577" y="478776"/>
                  <a:pt x="519764" y="477405"/>
                  <a:pt x="515736" y="475921"/>
                </a:cubicBezTo>
                <a:cubicBezTo>
                  <a:pt x="516318" y="484233"/>
                  <a:pt x="521537" y="487842"/>
                  <a:pt x="525605" y="492048"/>
                </a:cubicBezTo>
                <a:cubicBezTo>
                  <a:pt x="529554" y="496129"/>
                  <a:pt x="533815" y="499907"/>
                  <a:pt x="538873" y="504704"/>
                </a:cubicBezTo>
                <a:cubicBezTo>
                  <a:pt x="529522" y="509277"/>
                  <a:pt x="521553" y="504428"/>
                  <a:pt x="512604" y="503918"/>
                </a:cubicBezTo>
                <a:moveTo>
                  <a:pt x="332072" y="218143"/>
                </a:moveTo>
                <a:cubicBezTo>
                  <a:pt x="332837" y="220898"/>
                  <a:pt x="333478" y="223695"/>
                  <a:pt x="334388" y="226400"/>
                </a:cubicBezTo>
                <a:cubicBezTo>
                  <a:pt x="341073" y="246268"/>
                  <a:pt x="351614" y="254460"/>
                  <a:pt x="372370" y="254505"/>
                </a:cubicBezTo>
                <a:cubicBezTo>
                  <a:pt x="383333" y="254529"/>
                  <a:pt x="394312" y="253121"/>
                  <a:pt x="405258" y="252089"/>
                </a:cubicBezTo>
                <a:cubicBezTo>
                  <a:pt x="409961" y="251646"/>
                  <a:pt x="411340" y="248568"/>
                  <a:pt x="409167" y="244359"/>
                </a:cubicBezTo>
                <a:cubicBezTo>
                  <a:pt x="404885" y="236068"/>
                  <a:pt x="400139" y="227985"/>
                  <a:pt x="396364" y="219471"/>
                </a:cubicBezTo>
                <a:cubicBezTo>
                  <a:pt x="390350" y="205908"/>
                  <a:pt x="379963" y="198663"/>
                  <a:pt x="365755" y="195821"/>
                </a:cubicBezTo>
                <a:cubicBezTo>
                  <a:pt x="354973" y="193665"/>
                  <a:pt x="344291" y="191003"/>
                  <a:pt x="333572" y="188536"/>
                </a:cubicBezTo>
                <a:cubicBezTo>
                  <a:pt x="329511" y="187602"/>
                  <a:pt x="325579" y="187007"/>
                  <a:pt x="322931" y="190843"/>
                </a:cubicBezTo>
                <a:cubicBezTo>
                  <a:pt x="325138" y="195129"/>
                  <a:pt x="327613" y="198884"/>
                  <a:pt x="329041" y="203001"/>
                </a:cubicBezTo>
                <a:cubicBezTo>
                  <a:pt x="330500" y="207204"/>
                  <a:pt x="330929" y="211764"/>
                  <a:pt x="332072" y="218143"/>
                </a:cubicBezTo>
                <a:close/>
              </a:path>
            </a:pathLst>
          </a:custGeom>
          <a:solidFill>
            <a:srgbClr val="FEFEFE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4" name="Free-form: Shape 73">
            <a:extLst>
              <a:ext uri="{FF2B5EF4-FFF2-40B4-BE49-F238E27FC236}">
                <a16:creationId xmlns:a16="http://schemas.microsoft.com/office/drawing/2014/main" id="{3CC14D6E-DE8B-7EAA-6A29-735FEF679727}"/>
              </a:ext>
            </a:extLst>
          </p:cNvPr>
          <p:cNvSpPr/>
          <p:nvPr/>
        </p:nvSpPr>
        <p:spPr>
          <a:xfrm>
            <a:off x="1516538" y="4133262"/>
            <a:ext cx="267393" cy="232628"/>
          </a:xfrm>
          <a:custGeom>
            <a:avLst/>
            <a:gdLst>
              <a:gd name="csX0" fmla="*/ 84645 w 321679"/>
              <a:gd name="csY0" fmla="*/ 279507 h 279857"/>
              <a:gd name="csX1" fmla="*/ 19 w 321679"/>
              <a:gd name="csY1" fmla="*/ 276629 h 279857"/>
              <a:gd name="csX2" fmla="*/ 61 w 321679"/>
              <a:gd name="csY2" fmla="*/ 231376 h 279857"/>
              <a:gd name="csX3" fmla="*/ 925 w 321679"/>
              <a:gd name="csY3" fmla="*/ 219150 h 279857"/>
              <a:gd name="csX4" fmla="*/ 8286 w 321679"/>
              <a:gd name="csY4" fmla="*/ 86910 h 279857"/>
              <a:gd name="csX5" fmla="*/ 11586 w 321679"/>
              <a:gd name="csY5" fmla="*/ 21981 h 279857"/>
              <a:gd name="csX6" fmla="*/ 26655 w 321679"/>
              <a:gd name="csY6" fmla="*/ 7635 h 279857"/>
              <a:gd name="csX7" fmla="*/ 67169 w 321679"/>
              <a:gd name="csY7" fmla="*/ 7178 h 279857"/>
              <a:gd name="csX8" fmla="*/ 201872 w 321679"/>
              <a:gd name="csY8" fmla="*/ 121 h 279857"/>
              <a:gd name="csX9" fmla="*/ 217558 w 321679"/>
              <a:gd name="csY9" fmla="*/ 87 h 279857"/>
              <a:gd name="csX10" fmla="*/ 214854 w 321679"/>
              <a:gd name="csY10" fmla="*/ 22019 h 279857"/>
              <a:gd name="csX11" fmla="*/ 235301 w 321679"/>
              <a:gd name="csY11" fmla="*/ 104861 h 279857"/>
              <a:gd name="csX12" fmla="*/ 269832 w 321679"/>
              <a:gd name="csY12" fmla="*/ 144587 h 279857"/>
              <a:gd name="csX13" fmla="*/ 299912 w 321679"/>
              <a:gd name="csY13" fmla="*/ 176874 h 279857"/>
              <a:gd name="csX14" fmla="*/ 320491 w 321679"/>
              <a:gd name="csY14" fmla="*/ 256903 h 279857"/>
              <a:gd name="csX15" fmla="*/ 255607 w 321679"/>
              <a:gd name="csY15" fmla="*/ 264918 h 279857"/>
              <a:gd name="csX16" fmla="*/ 172672 w 321679"/>
              <a:gd name="csY16" fmla="*/ 273435 h 279857"/>
              <a:gd name="csX17" fmla="*/ 133595 w 321679"/>
              <a:gd name="csY17" fmla="*/ 276823 h 279857"/>
              <a:gd name="csX18" fmla="*/ 84645 w 321679"/>
              <a:gd name="csY18" fmla="*/ 279507 h 27985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</a:cxnLst>
            <a:rect l="l" t="t" r="r" b="b"/>
            <a:pathLst>
              <a:path w="321679" h="279857">
                <a:moveTo>
                  <a:pt x="84645" y="279507"/>
                </a:moveTo>
                <a:cubicBezTo>
                  <a:pt x="55716" y="279830"/>
                  <a:pt x="27945" y="280875"/>
                  <a:pt x="19" y="276629"/>
                </a:cubicBezTo>
                <a:cubicBezTo>
                  <a:pt x="19" y="261343"/>
                  <a:pt x="-45" y="246359"/>
                  <a:pt x="61" y="231376"/>
                </a:cubicBezTo>
                <a:cubicBezTo>
                  <a:pt x="90" y="227299"/>
                  <a:pt x="696" y="223229"/>
                  <a:pt x="925" y="219150"/>
                </a:cubicBezTo>
                <a:cubicBezTo>
                  <a:pt x="3396" y="175071"/>
                  <a:pt x="5876" y="130992"/>
                  <a:pt x="8286" y="86910"/>
                </a:cubicBezTo>
                <a:cubicBezTo>
                  <a:pt x="9469" y="65271"/>
                  <a:pt x="10613" y="43630"/>
                  <a:pt x="11586" y="21981"/>
                </a:cubicBezTo>
                <a:cubicBezTo>
                  <a:pt x="12199" y="8328"/>
                  <a:pt x="12576" y="7792"/>
                  <a:pt x="26655" y="7635"/>
                </a:cubicBezTo>
                <a:cubicBezTo>
                  <a:pt x="40161" y="7484"/>
                  <a:pt x="53689" y="7831"/>
                  <a:pt x="67169" y="7178"/>
                </a:cubicBezTo>
                <a:cubicBezTo>
                  <a:pt x="112079" y="5004"/>
                  <a:pt x="156970" y="2455"/>
                  <a:pt x="201872" y="121"/>
                </a:cubicBezTo>
                <a:cubicBezTo>
                  <a:pt x="206690" y="-130"/>
                  <a:pt x="211533" y="87"/>
                  <a:pt x="217558" y="87"/>
                </a:cubicBezTo>
                <a:cubicBezTo>
                  <a:pt x="216603" y="7811"/>
                  <a:pt x="215688" y="14910"/>
                  <a:pt x="214854" y="22019"/>
                </a:cubicBezTo>
                <a:cubicBezTo>
                  <a:pt x="211318" y="52185"/>
                  <a:pt x="219749" y="79345"/>
                  <a:pt x="235301" y="104861"/>
                </a:cubicBezTo>
                <a:cubicBezTo>
                  <a:pt x="244591" y="120102"/>
                  <a:pt x="257536" y="132012"/>
                  <a:pt x="269832" y="144587"/>
                </a:cubicBezTo>
                <a:cubicBezTo>
                  <a:pt x="280116" y="155103"/>
                  <a:pt x="290551" y="165559"/>
                  <a:pt x="299912" y="176874"/>
                </a:cubicBezTo>
                <a:cubicBezTo>
                  <a:pt x="319006" y="199953"/>
                  <a:pt x="324386" y="226827"/>
                  <a:pt x="320491" y="256903"/>
                </a:cubicBezTo>
                <a:cubicBezTo>
                  <a:pt x="298421" y="259649"/>
                  <a:pt x="277043" y="262541"/>
                  <a:pt x="255607" y="264918"/>
                </a:cubicBezTo>
                <a:cubicBezTo>
                  <a:pt x="227987" y="267981"/>
                  <a:pt x="200327" y="270692"/>
                  <a:pt x="172672" y="273435"/>
                </a:cubicBezTo>
                <a:cubicBezTo>
                  <a:pt x="159662" y="274725"/>
                  <a:pt x="146637" y="275935"/>
                  <a:pt x="133595" y="276823"/>
                </a:cubicBezTo>
                <a:cubicBezTo>
                  <a:pt x="117688" y="277907"/>
                  <a:pt x="101755" y="278616"/>
                  <a:pt x="84645" y="279507"/>
                </a:cubicBezTo>
                <a:close/>
              </a:path>
            </a:pathLst>
          </a:custGeom>
          <a:solidFill>
            <a:srgbClr val="FDFEFE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5" name="Free-form: Shape 74">
            <a:extLst>
              <a:ext uri="{FF2B5EF4-FFF2-40B4-BE49-F238E27FC236}">
                <a16:creationId xmlns:a16="http://schemas.microsoft.com/office/drawing/2014/main" id="{E44CC1C2-AD75-27F8-88F6-1800BFDA4C4C}"/>
              </a:ext>
            </a:extLst>
          </p:cNvPr>
          <p:cNvSpPr/>
          <p:nvPr/>
        </p:nvSpPr>
        <p:spPr>
          <a:xfrm>
            <a:off x="1516435" y="4389923"/>
            <a:ext cx="284373" cy="65313"/>
          </a:xfrm>
          <a:custGeom>
            <a:avLst/>
            <a:gdLst>
              <a:gd name="csX0" fmla="*/ 270798 w 342106"/>
              <a:gd name="csY0" fmla="*/ 65953 h 78573"/>
              <a:gd name="csX1" fmla="*/ 183290 w 342106"/>
              <a:gd name="csY1" fmla="*/ 76017 h 78573"/>
              <a:gd name="csX2" fmla="*/ 72897 w 342106"/>
              <a:gd name="csY2" fmla="*/ 78565 h 78573"/>
              <a:gd name="csX3" fmla="*/ 5450 w 342106"/>
              <a:gd name="csY3" fmla="*/ 76564 h 78573"/>
              <a:gd name="csX4" fmla="*/ 0 w 342106"/>
              <a:gd name="csY4" fmla="*/ 75649 h 78573"/>
              <a:gd name="csX5" fmla="*/ 0 w 342106"/>
              <a:gd name="csY5" fmla="*/ 21324 h 78573"/>
              <a:gd name="csX6" fmla="*/ 8504 w 342106"/>
              <a:gd name="csY6" fmla="*/ 20688 h 78573"/>
              <a:gd name="csX7" fmla="*/ 98126 w 342106"/>
              <a:gd name="csY7" fmla="*/ 19655 h 78573"/>
              <a:gd name="csX8" fmla="*/ 221639 w 342106"/>
              <a:gd name="csY8" fmla="*/ 10929 h 78573"/>
              <a:gd name="csX9" fmla="*/ 304285 w 342106"/>
              <a:gd name="csY9" fmla="*/ 683 h 78573"/>
              <a:gd name="csX10" fmla="*/ 309173 w 342106"/>
              <a:gd name="csY10" fmla="*/ 212 h 78573"/>
              <a:gd name="csX11" fmla="*/ 335187 w 342106"/>
              <a:gd name="csY11" fmla="*/ 18545 h 78573"/>
              <a:gd name="csX12" fmla="*/ 342106 w 342106"/>
              <a:gd name="csY12" fmla="*/ 53602 h 78573"/>
              <a:gd name="csX13" fmla="*/ 270798 w 342106"/>
              <a:gd name="csY13" fmla="*/ 65953 h 7857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</a:cxnLst>
            <a:rect l="l" t="t" r="r" b="b"/>
            <a:pathLst>
              <a:path w="342106" h="78573">
                <a:moveTo>
                  <a:pt x="270798" y="65953"/>
                </a:moveTo>
                <a:cubicBezTo>
                  <a:pt x="240931" y="69594"/>
                  <a:pt x="212199" y="74306"/>
                  <a:pt x="183290" y="76017"/>
                </a:cubicBezTo>
                <a:cubicBezTo>
                  <a:pt x="146568" y="78191"/>
                  <a:pt x="109704" y="78349"/>
                  <a:pt x="72897" y="78565"/>
                </a:cubicBezTo>
                <a:cubicBezTo>
                  <a:pt x="50419" y="78697"/>
                  <a:pt x="27931" y="77315"/>
                  <a:pt x="5450" y="76564"/>
                </a:cubicBezTo>
                <a:cubicBezTo>
                  <a:pt x="3884" y="76512"/>
                  <a:pt x="2332" y="76053"/>
                  <a:pt x="0" y="75649"/>
                </a:cubicBezTo>
                <a:cubicBezTo>
                  <a:pt x="0" y="57619"/>
                  <a:pt x="0" y="39863"/>
                  <a:pt x="0" y="21324"/>
                </a:cubicBezTo>
                <a:cubicBezTo>
                  <a:pt x="3058" y="21086"/>
                  <a:pt x="5779" y="20715"/>
                  <a:pt x="8504" y="20688"/>
                </a:cubicBezTo>
                <a:cubicBezTo>
                  <a:pt x="38382" y="20390"/>
                  <a:pt x="68305" y="21101"/>
                  <a:pt x="98126" y="19655"/>
                </a:cubicBezTo>
                <a:cubicBezTo>
                  <a:pt x="139343" y="17657"/>
                  <a:pt x="180532" y="14597"/>
                  <a:pt x="221639" y="10929"/>
                </a:cubicBezTo>
                <a:cubicBezTo>
                  <a:pt x="249272" y="8463"/>
                  <a:pt x="276741" y="4156"/>
                  <a:pt x="304285" y="683"/>
                </a:cubicBezTo>
                <a:cubicBezTo>
                  <a:pt x="305908" y="478"/>
                  <a:pt x="307539" y="312"/>
                  <a:pt x="309173" y="212"/>
                </a:cubicBezTo>
                <a:cubicBezTo>
                  <a:pt x="326863" y="-867"/>
                  <a:pt x="330972" y="1719"/>
                  <a:pt x="335187" y="18545"/>
                </a:cubicBezTo>
                <a:cubicBezTo>
                  <a:pt x="337939" y="29526"/>
                  <a:pt x="339618" y="40777"/>
                  <a:pt x="342106" y="53602"/>
                </a:cubicBezTo>
                <a:cubicBezTo>
                  <a:pt x="317523" y="57833"/>
                  <a:pt x="294689" y="61762"/>
                  <a:pt x="270798" y="65953"/>
                </a:cubicBezTo>
                <a:close/>
              </a:path>
            </a:pathLst>
          </a:custGeom>
          <a:solidFill>
            <a:srgbClr val="FCFCFC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6" name="Free-form: Shape 75">
            <a:extLst>
              <a:ext uri="{FF2B5EF4-FFF2-40B4-BE49-F238E27FC236}">
                <a16:creationId xmlns:a16="http://schemas.microsoft.com/office/drawing/2014/main" id="{3EA70A49-C00B-C020-625A-03C868F4FB45}"/>
              </a:ext>
            </a:extLst>
          </p:cNvPr>
          <p:cNvSpPr/>
          <p:nvPr/>
        </p:nvSpPr>
        <p:spPr>
          <a:xfrm>
            <a:off x="1584154" y="3432067"/>
            <a:ext cx="72517" cy="55415"/>
          </a:xfrm>
          <a:custGeom>
            <a:avLst/>
            <a:gdLst>
              <a:gd name="csX0" fmla="*/ 9010 w 87239"/>
              <a:gd name="csY0" fmla="*/ 29316 h 66665"/>
              <a:gd name="csX1" fmla="*/ 6110 w 87239"/>
              <a:gd name="csY1" fmla="*/ 15162 h 66665"/>
              <a:gd name="csX2" fmla="*/ 0 w 87239"/>
              <a:gd name="csY2" fmla="*/ 3003 h 66665"/>
              <a:gd name="csX3" fmla="*/ 10641 w 87239"/>
              <a:gd name="csY3" fmla="*/ 697 h 66665"/>
              <a:gd name="csX4" fmla="*/ 42824 w 87239"/>
              <a:gd name="csY4" fmla="*/ 7981 h 66665"/>
              <a:gd name="csX5" fmla="*/ 73433 w 87239"/>
              <a:gd name="csY5" fmla="*/ 31631 h 66665"/>
              <a:gd name="csX6" fmla="*/ 86236 w 87239"/>
              <a:gd name="csY6" fmla="*/ 56519 h 66665"/>
              <a:gd name="csX7" fmla="*/ 82327 w 87239"/>
              <a:gd name="csY7" fmla="*/ 64249 h 66665"/>
              <a:gd name="csX8" fmla="*/ 49439 w 87239"/>
              <a:gd name="csY8" fmla="*/ 66665 h 66665"/>
              <a:gd name="csX9" fmla="*/ 11457 w 87239"/>
              <a:gd name="csY9" fmla="*/ 38560 h 66665"/>
              <a:gd name="csX10" fmla="*/ 9010 w 87239"/>
              <a:gd name="csY10" fmla="*/ 29316 h 6666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</a:cxnLst>
            <a:rect l="l" t="t" r="r" b="b"/>
            <a:pathLst>
              <a:path w="87239" h="66665">
                <a:moveTo>
                  <a:pt x="9010" y="29316"/>
                </a:moveTo>
                <a:cubicBezTo>
                  <a:pt x="7998" y="23924"/>
                  <a:pt x="7568" y="19365"/>
                  <a:pt x="6110" y="15162"/>
                </a:cubicBezTo>
                <a:cubicBezTo>
                  <a:pt x="4682" y="11044"/>
                  <a:pt x="2207" y="7289"/>
                  <a:pt x="0" y="3003"/>
                </a:cubicBezTo>
                <a:cubicBezTo>
                  <a:pt x="2648" y="-833"/>
                  <a:pt x="6580" y="-238"/>
                  <a:pt x="10641" y="697"/>
                </a:cubicBezTo>
                <a:cubicBezTo>
                  <a:pt x="21360" y="3163"/>
                  <a:pt x="32042" y="5825"/>
                  <a:pt x="42824" y="7981"/>
                </a:cubicBezTo>
                <a:cubicBezTo>
                  <a:pt x="57032" y="10823"/>
                  <a:pt x="67419" y="18068"/>
                  <a:pt x="73433" y="31631"/>
                </a:cubicBezTo>
                <a:cubicBezTo>
                  <a:pt x="77208" y="40146"/>
                  <a:pt x="81954" y="48228"/>
                  <a:pt x="86236" y="56519"/>
                </a:cubicBezTo>
                <a:cubicBezTo>
                  <a:pt x="88409" y="60728"/>
                  <a:pt x="87030" y="63806"/>
                  <a:pt x="82327" y="64249"/>
                </a:cubicBezTo>
                <a:cubicBezTo>
                  <a:pt x="71381" y="65282"/>
                  <a:pt x="60402" y="66689"/>
                  <a:pt x="49439" y="66665"/>
                </a:cubicBezTo>
                <a:cubicBezTo>
                  <a:pt x="28683" y="66620"/>
                  <a:pt x="18142" y="58428"/>
                  <a:pt x="11457" y="38560"/>
                </a:cubicBezTo>
                <a:cubicBezTo>
                  <a:pt x="10547" y="35855"/>
                  <a:pt x="9906" y="33058"/>
                  <a:pt x="9010" y="29316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750539C6-D31A-8ED3-8768-CA102474F194}"/>
              </a:ext>
            </a:extLst>
          </p:cNvPr>
          <p:cNvSpPr txBox="1"/>
          <p:nvPr/>
        </p:nvSpPr>
        <p:spPr>
          <a:xfrm>
            <a:off x="1110036" y="4477628"/>
            <a:ext cx="863983" cy="3927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ola-BR</a:t>
            </a:r>
          </a:p>
        </p:txBody>
      </p:sp>
      <p:sp>
        <p:nvSpPr>
          <p:cNvPr id="78" name="Slide Number Placeholder 77">
            <a:extLst>
              <a:ext uri="{FF2B5EF4-FFF2-40B4-BE49-F238E27FC236}">
                <a16:creationId xmlns:a16="http://schemas.microsoft.com/office/drawing/2014/main" id="{4660867E-C0D0-21C0-B980-BDC3139C79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01CC8E-1CEF-6746-999E-CF29FF00B1D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82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8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53" name="Free-form: Shape 252">
            <a:extLst>
              <a:ext uri="{FF2B5EF4-FFF2-40B4-BE49-F238E27FC236}">
                <a16:creationId xmlns:a16="http://schemas.microsoft.com/office/drawing/2014/main" id="{25B389A8-8090-B7C7-A7E0-ADAEB90191B2}"/>
              </a:ext>
            </a:extLst>
          </p:cNvPr>
          <p:cNvSpPr/>
          <p:nvPr/>
        </p:nvSpPr>
        <p:spPr>
          <a:xfrm>
            <a:off x="2955393" y="4742453"/>
            <a:ext cx="1273326" cy="314908"/>
          </a:xfrm>
          <a:custGeom>
            <a:avLst/>
            <a:gdLst>
              <a:gd name="csX0" fmla="*/ 433404 w 1540725"/>
              <a:gd name="csY0" fmla="*/ 0 h 381039"/>
              <a:gd name="csX1" fmla="*/ 1540725 w 1540725"/>
              <a:gd name="csY1" fmla="*/ 0 h 381039"/>
              <a:gd name="csX2" fmla="*/ 1222293 w 1540725"/>
              <a:gd name="csY2" fmla="*/ 381039 h 381039"/>
              <a:gd name="csX3" fmla="*/ 0 w 1540725"/>
              <a:gd name="csY3" fmla="*/ 381039 h 381039"/>
              <a:gd name="csX4" fmla="*/ 433404 w 1540725"/>
              <a:gd name="csY4" fmla="*/ 0 h 38103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540725" h="381039">
                <a:moveTo>
                  <a:pt x="433404" y="0"/>
                </a:moveTo>
                <a:lnTo>
                  <a:pt x="1540725" y="0"/>
                </a:lnTo>
                <a:lnTo>
                  <a:pt x="1222293" y="381039"/>
                </a:lnTo>
                <a:lnTo>
                  <a:pt x="0" y="381039"/>
                </a:lnTo>
                <a:lnTo>
                  <a:pt x="433404" y="0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54" name="Free-form: Shape 253">
            <a:extLst>
              <a:ext uri="{FF2B5EF4-FFF2-40B4-BE49-F238E27FC236}">
                <a16:creationId xmlns:a16="http://schemas.microsoft.com/office/drawing/2014/main" id="{ECD2FC78-1D80-BE19-9AFE-C6E0C3D69BF3}"/>
              </a:ext>
            </a:extLst>
          </p:cNvPr>
          <p:cNvSpPr/>
          <p:nvPr/>
        </p:nvSpPr>
        <p:spPr>
          <a:xfrm>
            <a:off x="6280606" y="3764022"/>
            <a:ext cx="697225" cy="142291"/>
          </a:xfrm>
          <a:custGeom>
            <a:avLst/>
            <a:gdLst>
              <a:gd name="csX0" fmla="*/ 47178 w 843642"/>
              <a:gd name="csY0" fmla="*/ 0 h 172172"/>
              <a:gd name="csX1" fmla="*/ 843642 w 843642"/>
              <a:gd name="csY1" fmla="*/ 0 h 172172"/>
              <a:gd name="csX2" fmla="*/ 842652 w 843642"/>
              <a:gd name="csY2" fmla="*/ 172172 h 172172"/>
              <a:gd name="csX3" fmla="*/ 0 w 843642"/>
              <a:gd name="csY3" fmla="*/ 172172 h 172172"/>
              <a:gd name="csX4" fmla="*/ 47178 w 843642"/>
              <a:gd name="csY4" fmla="*/ 0 h 17217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843642" h="172172">
                <a:moveTo>
                  <a:pt x="47178" y="0"/>
                </a:moveTo>
                <a:lnTo>
                  <a:pt x="843642" y="0"/>
                </a:lnTo>
                <a:lnTo>
                  <a:pt x="842652" y="172172"/>
                </a:lnTo>
                <a:lnTo>
                  <a:pt x="0" y="172172"/>
                </a:lnTo>
                <a:lnTo>
                  <a:pt x="47178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55" name="Free-form: Shape 254">
            <a:extLst>
              <a:ext uri="{FF2B5EF4-FFF2-40B4-BE49-F238E27FC236}">
                <a16:creationId xmlns:a16="http://schemas.microsoft.com/office/drawing/2014/main" id="{C4781F72-4783-F534-50C9-93E41C98CCF0}"/>
              </a:ext>
            </a:extLst>
          </p:cNvPr>
          <p:cNvSpPr/>
          <p:nvPr/>
        </p:nvSpPr>
        <p:spPr>
          <a:xfrm>
            <a:off x="5487328" y="3908342"/>
            <a:ext cx="792722" cy="173778"/>
          </a:xfrm>
          <a:custGeom>
            <a:avLst/>
            <a:gdLst>
              <a:gd name="csX0" fmla="*/ 116817 w 959194"/>
              <a:gd name="csY0" fmla="*/ 0 h 210271"/>
              <a:gd name="csX1" fmla="*/ 959194 w 959194"/>
              <a:gd name="csY1" fmla="*/ 0 h 210271"/>
              <a:gd name="csX2" fmla="*/ 901577 w 959194"/>
              <a:gd name="csY2" fmla="*/ 210271 h 210271"/>
              <a:gd name="csX3" fmla="*/ 0 w 959194"/>
              <a:gd name="csY3" fmla="*/ 210271 h 210271"/>
              <a:gd name="csX4" fmla="*/ 116817 w 959194"/>
              <a:gd name="csY4" fmla="*/ 0 h 21027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959194" h="210271">
                <a:moveTo>
                  <a:pt x="116817" y="0"/>
                </a:moveTo>
                <a:lnTo>
                  <a:pt x="959194" y="0"/>
                </a:lnTo>
                <a:lnTo>
                  <a:pt x="901577" y="210271"/>
                </a:lnTo>
                <a:lnTo>
                  <a:pt x="0" y="210271"/>
                </a:lnTo>
                <a:lnTo>
                  <a:pt x="116817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56" name="Free-form: Shape 255">
            <a:extLst>
              <a:ext uri="{FF2B5EF4-FFF2-40B4-BE49-F238E27FC236}">
                <a16:creationId xmlns:a16="http://schemas.microsoft.com/office/drawing/2014/main" id="{666BBBF9-9075-9F16-4D42-75BA3720D12C}"/>
              </a:ext>
            </a:extLst>
          </p:cNvPr>
          <p:cNvSpPr/>
          <p:nvPr/>
        </p:nvSpPr>
        <p:spPr>
          <a:xfrm>
            <a:off x="6976002" y="3908342"/>
            <a:ext cx="718291" cy="173778"/>
          </a:xfrm>
          <a:custGeom>
            <a:avLst/>
            <a:gdLst>
              <a:gd name="csX0" fmla="*/ 1208 w 869132"/>
              <a:gd name="csY0" fmla="*/ 0 h 210271"/>
              <a:gd name="csX1" fmla="*/ 809226 w 869132"/>
              <a:gd name="csY1" fmla="*/ 0 h 210271"/>
              <a:gd name="csX2" fmla="*/ 869132 w 869132"/>
              <a:gd name="csY2" fmla="*/ 210271 h 210271"/>
              <a:gd name="csX3" fmla="*/ 0 w 869132"/>
              <a:gd name="csY3" fmla="*/ 210271 h 210271"/>
              <a:gd name="csX4" fmla="*/ 1208 w 869132"/>
              <a:gd name="csY4" fmla="*/ 0 h 21027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869132" h="210271">
                <a:moveTo>
                  <a:pt x="1208" y="0"/>
                </a:moveTo>
                <a:lnTo>
                  <a:pt x="809226" y="0"/>
                </a:lnTo>
                <a:lnTo>
                  <a:pt x="869132" y="210271"/>
                </a:lnTo>
                <a:lnTo>
                  <a:pt x="0" y="210271"/>
                </a:lnTo>
                <a:lnTo>
                  <a:pt x="1208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57" name="Free-form: Shape 256">
            <a:extLst>
              <a:ext uri="{FF2B5EF4-FFF2-40B4-BE49-F238E27FC236}">
                <a16:creationId xmlns:a16="http://schemas.microsoft.com/office/drawing/2014/main" id="{64CC4CA4-19FE-11D1-C4EB-CB7E5C24EAB6}"/>
              </a:ext>
            </a:extLst>
          </p:cNvPr>
          <p:cNvSpPr/>
          <p:nvPr/>
        </p:nvSpPr>
        <p:spPr>
          <a:xfrm>
            <a:off x="6180665" y="4082119"/>
            <a:ext cx="795337" cy="188926"/>
          </a:xfrm>
          <a:custGeom>
            <a:avLst/>
            <a:gdLst>
              <a:gd name="csX0" fmla="*/ 62639 w 962358"/>
              <a:gd name="csY0" fmla="*/ 0 h 228600"/>
              <a:gd name="csX1" fmla="*/ 962358 w 962358"/>
              <a:gd name="csY1" fmla="*/ 0 h 228600"/>
              <a:gd name="csX2" fmla="*/ 961044 w 962358"/>
              <a:gd name="csY2" fmla="*/ 228600 h 228600"/>
              <a:gd name="csX3" fmla="*/ 0 w 962358"/>
              <a:gd name="csY3" fmla="*/ 228600 h 228600"/>
              <a:gd name="csX4" fmla="*/ 62639 w 962358"/>
              <a:gd name="csY4" fmla="*/ 0 h 22860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962358" h="228600">
                <a:moveTo>
                  <a:pt x="62639" y="0"/>
                </a:moveTo>
                <a:lnTo>
                  <a:pt x="962358" y="0"/>
                </a:lnTo>
                <a:lnTo>
                  <a:pt x="961044" y="228600"/>
                </a:lnTo>
                <a:lnTo>
                  <a:pt x="0" y="228600"/>
                </a:lnTo>
                <a:lnTo>
                  <a:pt x="62639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58" name="Free-form: Shape 257">
            <a:extLst>
              <a:ext uri="{FF2B5EF4-FFF2-40B4-BE49-F238E27FC236}">
                <a16:creationId xmlns:a16="http://schemas.microsoft.com/office/drawing/2014/main" id="{E42C5F42-092E-3118-FF8D-82C29AC52E3B}"/>
              </a:ext>
            </a:extLst>
          </p:cNvPr>
          <p:cNvSpPr/>
          <p:nvPr/>
        </p:nvSpPr>
        <p:spPr>
          <a:xfrm>
            <a:off x="7813155" y="4499329"/>
            <a:ext cx="989864" cy="248679"/>
          </a:xfrm>
          <a:custGeom>
            <a:avLst/>
            <a:gdLst>
              <a:gd name="csX0" fmla="*/ 0 w 1197736"/>
              <a:gd name="csY0" fmla="*/ 0 h 300901"/>
              <a:gd name="csX1" fmla="*/ 1030091 w 1197736"/>
              <a:gd name="csY1" fmla="*/ 0 h 300901"/>
              <a:gd name="csX2" fmla="*/ 1197736 w 1197736"/>
              <a:gd name="csY2" fmla="*/ 300901 h 300901"/>
              <a:gd name="csX3" fmla="*/ 85727 w 1197736"/>
              <a:gd name="csY3" fmla="*/ 300901 h 300901"/>
              <a:gd name="csX4" fmla="*/ 0 w 1197736"/>
              <a:gd name="csY4" fmla="*/ 0 h 30090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197736" h="300901">
                <a:moveTo>
                  <a:pt x="0" y="0"/>
                </a:moveTo>
                <a:lnTo>
                  <a:pt x="1030091" y="0"/>
                </a:lnTo>
                <a:lnTo>
                  <a:pt x="1197736" y="300901"/>
                </a:lnTo>
                <a:lnTo>
                  <a:pt x="85727" y="300901"/>
                </a:lnTo>
                <a:lnTo>
                  <a:pt x="0" y="0"/>
                </a:lnTo>
                <a:close/>
              </a:path>
            </a:pathLst>
          </a:custGeom>
          <a:solidFill>
            <a:srgbClr val="DDE5E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59" name="Free-form: Shape 258">
            <a:extLst>
              <a:ext uri="{FF2B5EF4-FFF2-40B4-BE49-F238E27FC236}">
                <a16:creationId xmlns:a16="http://schemas.microsoft.com/office/drawing/2014/main" id="{EB7EEB52-4C08-355C-A5F3-359FA3BA5D5E}"/>
              </a:ext>
            </a:extLst>
          </p:cNvPr>
          <p:cNvSpPr/>
          <p:nvPr/>
        </p:nvSpPr>
        <p:spPr>
          <a:xfrm>
            <a:off x="4067009" y="3908340"/>
            <a:ext cx="859446" cy="173779"/>
          </a:xfrm>
          <a:custGeom>
            <a:avLst/>
            <a:gdLst>
              <a:gd name="csX0" fmla="*/ 239169 w 1039930"/>
              <a:gd name="csY0" fmla="*/ 0 h 210272"/>
              <a:gd name="csX1" fmla="*/ 239170 w 1039930"/>
              <a:gd name="csY1" fmla="*/ 0 h 210272"/>
              <a:gd name="csX2" fmla="*/ 239169 w 1039930"/>
              <a:gd name="csY2" fmla="*/ 1 h 210272"/>
              <a:gd name="csX3" fmla="*/ 1039930 w 1039930"/>
              <a:gd name="csY3" fmla="*/ 1 h 210272"/>
              <a:gd name="csX4" fmla="*/ 864208 w 1039930"/>
              <a:gd name="csY4" fmla="*/ 210272 h 210272"/>
              <a:gd name="csX5" fmla="*/ 0 w 1039930"/>
              <a:gd name="csY5" fmla="*/ 210272 h 210272"/>
              <a:gd name="csX6" fmla="*/ 239169 w 1039930"/>
              <a:gd name="csY6" fmla="*/ 0 h 21027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</a:cxnLst>
            <a:rect l="l" t="t" r="r" b="b"/>
            <a:pathLst>
              <a:path w="1039930" h="210272">
                <a:moveTo>
                  <a:pt x="239169" y="0"/>
                </a:moveTo>
                <a:lnTo>
                  <a:pt x="239170" y="0"/>
                </a:lnTo>
                <a:lnTo>
                  <a:pt x="239169" y="1"/>
                </a:lnTo>
                <a:lnTo>
                  <a:pt x="1039930" y="1"/>
                </a:lnTo>
                <a:lnTo>
                  <a:pt x="864208" y="210272"/>
                </a:lnTo>
                <a:lnTo>
                  <a:pt x="0" y="210272"/>
                </a:lnTo>
                <a:lnTo>
                  <a:pt x="239169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60" name="Free-form: Shape 259">
            <a:extLst>
              <a:ext uri="{FF2B5EF4-FFF2-40B4-BE49-F238E27FC236}">
                <a16:creationId xmlns:a16="http://schemas.microsoft.com/office/drawing/2014/main" id="{985ECCAC-82B1-E832-4F11-88742CE74311}"/>
              </a:ext>
            </a:extLst>
          </p:cNvPr>
          <p:cNvSpPr/>
          <p:nvPr/>
        </p:nvSpPr>
        <p:spPr>
          <a:xfrm>
            <a:off x="3592464" y="4271045"/>
            <a:ext cx="1030881" cy="228284"/>
          </a:xfrm>
          <a:custGeom>
            <a:avLst/>
            <a:gdLst>
              <a:gd name="csX0" fmla="*/ 314185 w 1247366"/>
              <a:gd name="csY0" fmla="*/ 0 h 276224"/>
              <a:gd name="csX1" fmla="*/ 1247366 w 1247366"/>
              <a:gd name="csY1" fmla="*/ 0 h 276224"/>
              <a:gd name="csX2" fmla="*/ 1016527 w 1247366"/>
              <a:gd name="csY2" fmla="*/ 276224 h 276224"/>
              <a:gd name="csX3" fmla="*/ 0 w 1247366"/>
              <a:gd name="csY3" fmla="*/ 276224 h 276224"/>
              <a:gd name="csX4" fmla="*/ 314185 w 1247366"/>
              <a:gd name="csY4" fmla="*/ 0 h 27622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247366" h="276224">
                <a:moveTo>
                  <a:pt x="314185" y="0"/>
                </a:moveTo>
                <a:lnTo>
                  <a:pt x="1247366" y="0"/>
                </a:lnTo>
                <a:lnTo>
                  <a:pt x="1016527" y="276224"/>
                </a:lnTo>
                <a:lnTo>
                  <a:pt x="0" y="276224"/>
                </a:lnTo>
                <a:lnTo>
                  <a:pt x="314185" y="0"/>
                </a:lnTo>
                <a:close/>
              </a:path>
            </a:pathLst>
          </a:custGeom>
          <a:solidFill>
            <a:srgbClr val="DDE5E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61" name="Free-form: Shape 260">
            <a:extLst>
              <a:ext uri="{FF2B5EF4-FFF2-40B4-BE49-F238E27FC236}">
                <a16:creationId xmlns:a16="http://schemas.microsoft.com/office/drawing/2014/main" id="{E385BAD7-ECCD-C00A-14BD-6C3CBC0C8340}"/>
              </a:ext>
            </a:extLst>
          </p:cNvPr>
          <p:cNvSpPr/>
          <p:nvPr/>
        </p:nvSpPr>
        <p:spPr>
          <a:xfrm>
            <a:off x="4224750" y="4499329"/>
            <a:ext cx="1030793" cy="248679"/>
          </a:xfrm>
          <a:custGeom>
            <a:avLst/>
            <a:gdLst>
              <a:gd name="csX0" fmla="*/ 251461 w 1247260"/>
              <a:gd name="csY0" fmla="*/ 0 h 300901"/>
              <a:gd name="csX1" fmla="*/ 1247260 w 1247260"/>
              <a:gd name="csY1" fmla="*/ 0 h 300901"/>
              <a:gd name="csX2" fmla="*/ 1080093 w 1247260"/>
              <a:gd name="csY2" fmla="*/ 300901 h 300901"/>
              <a:gd name="csX3" fmla="*/ 0 w 1247260"/>
              <a:gd name="csY3" fmla="*/ 300901 h 300901"/>
              <a:gd name="csX4" fmla="*/ 251461 w 1247260"/>
              <a:gd name="csY4" fmla="*/ 0 h 30090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247260" h="300901">
                <a:moveTo>
                  <a:pt x="251461" y="0"/>
                </a:moveTo>
                <a:lnTo>
                  <a:pt x="1247260" y="0"/>
                </a:lnTo>
                <a:lnTo>
                  <a:pt x="1080093" y="300901"/>
                </a:lnTo>
                <a:lnTo>
                  <a:pt x="0" y="300901"/>
                </a:lnTo>
                <a:lnTo>
                  <a:pt x="251461" y="0"/>
                </a:lnTo>
                <a:close/>
              </a:path>
            </a:pathLst>
          </a:custGeom>
          <a:solidFill>
            <a:srgbClr val="F79B7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62" name="Free-form: Shape 261">
            <a:extLst>
              <a:ext uri="{FF2B5EF4-FFF2-40B4-BE49-F238E27FC236}">
                <a16:creationId xmlns:a16="http://schemas.microsoft.com/office/drawing/2014/main" id="{9946B60B-3312-CA18-6E13-A22ADC6774A7}"/>
              </a:ext>
            </a:extLst>
          </p:cNvPr>
          <p:cNvSpPr/>
          <p:nvPr/>
        </p:nvSpPr>
        <p:spPr>
          <a:xfrm>
            <a:off x="6049972" y="4499329"/>
            <a:ext cx="923632" cy="248679"/>
          </a:xfrm>
          <a:custGeom>
            <a:avLst/>
            <a:gdLst>
              <a:gd name="csX0" fmla="*/ 82451 w 1117595"/>
              <a:gd name="csY0" fmla="*/ 0 h 300902"/>
              <a:gd name="csX1" fmla="*/ 1117595 w 1117595"/>
              <a:gd name="csY1" fmla="*/ 0 h 300902"/>
              <a:gd name="csX2" fmla="*/ 1115866 w 1117595"/>
              <a:gd name="csY2" fmla="*/ 300902 h 300902"/>
              <a:gd name="csX3" fmla="*/ 0 w 1117595"/>
              <a:gd name="csY3" fmla="*/ 300902 h 300902"/>
              <a:gd name="csX4" fmla="*/ 82451 w 1117595"/>
              <a:gd name="csY4" fmla="*/ 0 h 30090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117595" h="300902">
                <a:moveTo>
                  <a:pt x="82451" y="0"/>
                </a:moveTo>
                <a:lnTo>
                  <a:pt x="1117595" y="0"/>
                </a:lnTo>
                <a:lnTo>
                  <a:pt x="1115866" y="300902"/>
                </a:lnTo>
                <a:lnTo>
                  <a:pt x="0" y="300902"/>
                </a:lnTo>
                <a:lnTo>
                  <a:pt x="82451" y="0"/>
                </a:lnTo>
                <a:close/>
              </a:path>
            </a:pathLst>
          </a:custGeom>
          <a:solidFill>
            <a:srgbClr val="DDE5E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63" name="Free-form: Shape 262">
            <a:extLst>
              <a:ext uri="{FF2B5EF4-FFF2-40B4-BE49-F238E27FC236}">
                <a16:creationId xmlns:a16="http://schemas.microsoft.com/office/drawing/2014/main" id="{D0C18D49-F34E-2A04-C7A4-22F168CDC959}"/>
              </a:ext>
            </a:extLst>
          </p:cNvPr>
          <p:cNvSpPr/>
          <p:nvPr/>
        </p:nvSpPr>
        <p:spPr>
          <a:xfrm>
            <a:off x="7973721" y="5062916"/>
            <a:ext cx="1225011" cy="395346"/>
          </a:xfrm>
          <a:custGeom>
            <a:avLst/>
            <a:gdLst>
              <a:gd name="csX0" fmla="*/ 0 w 1482263"/>
              <a:gd name="csY0" fmla="*/ 0 h 478368"/>
              <a:gd name="csX1" fmla="*/ 1215744 w 1482263"/>
              <a:gd name="csY1" fmla="*/ 0 h 478368"/>
              <a:gd name="csX2" fmla="*/ 1482263 w 1482263"/>
              <a:gd name="csY2" fmla="*/ 478368 h 478368"/>
              <a:gd name="csX3" fmla="*/ 136287 w 1482263"/>
              <a:gd name="csY3" fmla="*/ 478368 h 478368"/>
              <a:gd name="csX4" fmla="*/ 0 w 1482263"/>
              <a:gd name="csY4" fmla="*/ 0 h 47836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482263" h="478368">
                <a:moveTo>
                  <a:pt x="0" y="0"/>
                </a:moveTo>
                <a:lnTo>
                  <a:pt x="1215744" y="0"/>
                </a:lnTo>
                <a:lnTo>
                  <a:pt x="1482263" y="478368"/>
                </a:lnTo>
                <a:lnTo>
                  <a:pt x="136287" y="478368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64" name="Oval 263">
            <a:extLst>
              <a:ext uri="{FF2B5EF4-FFF2-40B4-BE49-F238E27FC236}">
                <a16:creationId xmlns:a16="http://schemas.microsoft.com/office/drawing/2014/main" id="{E169B117-00B6-611E-032F-2CC42C53B55E}"/>
              </a:ext>
            </a:extLst>
          </p:cNvPr>
          <p:cNvSpPr/>
          <p:nvPr/>
        </p:nvSpPr>
        <p:spPr>
          <a:xfrm>
            <a:off x="8146265" y="5200216"/>
            <a:ext cx="593138" cy="114548"/>
          </a:xfrm>
          <a:prstGeom prst="ellipse">
            <a:avLst/>
          </a:prstGeom>
          <a:solidFill>
            <a:schemeClr val="tx1">
              <a:alpha val="6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65" name="Free-form: Shape 264">
            <a:extLst>
              <a:ext uri="{FF2B5EF4-FFF2-40B4-BE49-F238E27FC236}">
                <a16:creationId xmlns:a16="http://schemas.microsoft.com/office/drawing/2014/main" id="{E352AB2E-FDDC-D5F3-5423-8CE9454B54E9}"/>
              </a:ext>
            </a:extLst>
          </p:cNvPr>
          <p:cNvSpPr/>
          <p:nvPr/>
        </p:nvSpPr>
        <p:spPr>
          <a:xfrm>
            <a:off x="8244931" y="4451500"/>
            <a:ext cx="433137" cy="847024"/>
          </a:xfrm>
          <a:custGeom>
            <a:avLst/>
            <a:gdLst>
              <a:gd name="csX0" fmla="*/ 581793 w 697572"/>
              <a:gd name="csY0" fmla="*/ 1234401 h 1240128"/>
              <a:gd name="csX1" fmla="*/ 577427 w 697572"/>
              <a:gd name="csY1" fmla="*/ 1234156 h 1240128"/>
              <a:gd name="csX2" fmla="*/ 559133 w 697572"/>
              <a:gd name="csY2" fmla="*/ 1230909 h 1240128"/>
              <a:gd name="csX3" fmla="*/ 516706 w 697572"/>
              <a:gd name="csY3" fmla="*/ 1235117 h 1240128"/>
              <a:gd name="csX4" fmla="*/ 475244 w 697572"/>
              <a:gd name="csY4" fmla="*/ 1237506 h 1240128"/>
              <a:gd name="csX5" fmla="*/ 371154 w 697572"/>
              <a:gd name="csY5" fmla="*/ 1239428 h 1240128"/>
              <a:gd name="csX6" fmla="*/ 276813 w 697572"/>
              <a:gd name="csY6" fmla="*/ 1237654 h 1240128"/>
              <a:gd name="csX7" fmla="*/ 268212 w 697572"/>
              <a:gd name="csY7" fmla="*/ 1237635 h 1240128"/>
              <a:gd name="csX8" fmla="*/ 262072 w 697572"/>
              <a:gd name="csY8" fmla="*/ 1237523 h 1240128"/>
              <a:gd name="csX9" fmla="*/ 195111 w 697572"/>
              <a:gd name="csY9" fmla="*/ 1232775 h 1240128"/>
              <a:gd name="csX10" fmla="*/ 145060 w 697572"/>
              <a:gd name="csY10" fmla="*/ 1230076 h 1240128"/>
              <a:gd name="csX11" fmla="*/ 114933 w 697572"/>
              <a:gd name="csY11" fmla="*/ 1225832 h 1240128"/>
              <a:gd name="csX12" fmla="*/ 72642 w 697572"/>
              <a:gd name="csY12" fmla="*/ 1220237 h 1240128"/>
              <a:gd name="csX13" fmla="*/ 10894 w 697572"/>
              <a:gd name="csY13" fmla="*/ 1205737 h 1240128"/>
              <a:gd name="csX14" fmla="*/ 5856 w 697572"/>
              <a:gd name="csY14" fmla="*/ 1202799 h 1240128"/>
              <a:gd name="csX15" fmla="*/ 40 w 697572"/>
              <a:gd name="csY15" fmla="*/ 1174450 h 1240128"/>
              <a:gd name="csX16" fmla="*/ 19831 w 697572"/>
              <a:gd name="csY16" fmla="*/ 1118410 h 1240128"/>
              <a:gd name="csX17" fmla="*/ 22004 w 697572"/>
              <a:gd name="csY17" fmla="*/ 1107240 h 1240128"/>
              <a:gd name="csX18" fmla="*/ 25947 w 697572"/>
              <a:gd name="csY18" fmla="*/ 1038650 h 1240128"/>
              <a:gd name="csX19" fmla="*/ 58234 w 697572"/>
              <a:gd name="csY19" fmla="*/ 988567 h 1240128"/>
              <a:gd name="csX20" fmla="*/ 118645 w 697572"/>
              <a:gd name="csY20" fmla="*/ 928298 h 1240128"/>
              <a:gd name="csX21" fmla="*/ 126320 w 697572"/>
              <a:gd name="csY21" fmla="*/ 892015 h 1240128"/>
              <a:gd name="csX22" fmla="*/ 120345 w 697572"/>
              <a:gd name="csY22" fmla="*/ 872258 h 1240128"/>
              <a:gd name="csX23" fmla="*/ 125668 w 697572"/>
              <a:gd name="csY23" fmla="*/ 861640 h 1240128"/>
              <a:gd name="csX24" fmla="*/ 154237 w 697572"/>
              <a:gd name="csY24" fmla="*/ 850716 h 1240128"/>
              <a:gd name="csX25" fmla="*/ 170248 w 697572"/>
              <a:gd name="csY25" fmla="*/ 836767 h 1240128"/>
              <a:gd name="csX26" fmla="*/ 187840 w 697572"/>
              <a:gd name="csY26" fmla="*/ 796341 h 1240128"/>
              <a:gd name="csX27" fmla="*/ 209346 w 697572"/>
              <a:gd name="csY27" fmla="*/ 743126 h 1240128"/>
              <a:gd name="csX28" fmla="*/ 210630 w 697572"/>
              <a:gd name="csY28" fmla="*/ 737219 h 1240128"/>
              <a:gd name="csX29" fmla="*/ 213836 w 697572"/>
              <a:gd name="csY29" fmla="*/ 720505 h 1240128"/>
              <a:gd name="csX30" fmla="*/ 227791 w 697572"/>
              <a:gd name="csY30" fmla="*/ 667353 h 1240128"/>
              <a:gd name="csX31" fmla="*/ 241013 w 697572"/>
              <a:gd name="csY31" fmla="*/ 599151 h 1240128"/>
              <a:gd name="csX32" fmla="*/ 247322 w 697572"/>
              <a:gd name="csY32" fmla="*/ 542242 h 1240128"/>
              <a:gd name="csX33" fmla="*/ 247948 w 697572"/>
              <a:gd name="csY33" fmla="*/ 499296 h 1240128"/>
              <a:gd name="csX34" fmla="*/ 247577 w 697572"/>
              <a:gd name="csY34" fmla="*/ 470384 h 1240128"/>
              <a:gd name="csX35" fmla="*/ 238877 w 697572"/>
              <a:gd name="csY35" fmla="*/ 460987 h 1240128"/>
              <a:gd name="csX36" fmla="*/ 222040 w 697572"/>
              <a:gd name="csY36" fmla="*/ 458353 h 1240128"/>
              <a:gd name="csX37" fmla="*/ 172193 w 697572"/>
              <a:gd name="csY37" fmla="*/ 433714 h 1240128"/>
              <a:gd name="csX38" fmla="*/ 168410 w 697572"/>
              <a:gd name="csY38" fmla="*/ 396591 h 1240128"/>
              <a:gd name="csX39" fmla="*/ 209826 w 697572"/>
              <a:gd name="csY39" fmla="*/ 367773 h 1240128"/>
              <a:gd name="csX40" fmla="*/ 250732 w 697572"/>
              <a:gd name="csY40" fmla="*/ 355208 h 1240128"/>
              <a:gd name="csX41" fmla="*/ 258289 w 697572"/>
              <a:gd name="csY41" fmla="*/ 350426 h 1240128"/>
              <a:gd name="csX42" fmla="*/ 233274 w 697572"/>
              <a:gd name="csY42" fmla="*/ 333513 h 1240128"/>
              <a:gd name="csX43" fmla="*/ 229677 w 697572"/>
              <a:gd name="csY43" fmla="*/ 333922 h 1240128"/>
              <a:gd name="csX44" fmla="*/ 230149 w 697572"/>
              <a:gd name="csY44" fmla="*/ 332979 h 1240128"/>
              <a:gd name="csX45" fmla="*/ 227053 w 697572"/>
              <a:gd name="csY45" fmla="*/ 327076 h 1240128"/>
              <a:gd name="csX46" fmla="*/ 196769 w 697572"/>
              <a:gd name="csY46" fmla="*/ 291380 h 1240128"/>
              <a:gd name="csX47" fmla="*/ 184389 w 697572"/>
              <a:gd name="csY47" fmla="*/ 264042 h 1240128"/>
              <a:gd name="csX48" fmla="*/ 180630 w 697572"/>
              <a:gd name="csY48" fmla="*/ 257839 h 1240128"/>
              <a:gd name="csX49" fmla="*/ 176231 w 697572"/>
              <a:gd name="csY49" fmla="*/ 250643 h 1240128"/>
              <a:gd name="csX50" fmla="*/ 170073 w 697572"/>
              <a:gd name="csY50" fmla="*/ 146723 h 1240128"/>
              <a:gd name="csX51" fmla="*/ 180929 w 697572"/>
              <a:gd name="csY51" fmla="*/ 114280 h 1240128"/>
              <a:gd name="csX52" fmla="*/ 180839 w 697572"/>
              <a:gd name="csY52" fmla="*/ 101501 h 1240128"/>
              <a:gd name="csX53" fmla="*/ 233536 w 697572"/>
              <a:gd name="csY53" fmla="*/ 39653 h 1240128"/>
              <a:gd name="csX54" fmla="*/ 347618 w 697572"/>
              <a:gd name="csY54" fmla="*/ 35 h 1240128"/>
              <a:gd name="csX55" fmla="*/ 437139 w 697572"/>
              <a:gd name="csY55" fmla="*/ 22396 h 1240128"/>
              <a:gd name="csX56" fmla="*/ 529052 w 697572"/>
              <a:gd name="csY56" fmla="*/ 131093 h 1240128"/>
              <a:gd name="csX57" fmla="*/ 518497 w 697572"/>
              <a:gd name="csY57" fmla="*/ 271517 h 1240128"/>
              <a:gd name="csX58" fmla="*/ 500808 w 697572"/>
              <a:gd name="csY58" fmla="*/ 287385 h 1240128"/>
              <a:gd name="csX59" fmla="*/ 472948 w 697572"/>
              <a:gd name="csY59" fmla="*/ 323290 h 1240128"/>
              <a:gd name="csX60" fmla="*/ 469385 w 697572"/>
              <a:gd name="csY60" fmla="*/ 331565 h 1240128"/>
              <a:gd name="csX61" fmla="*/ 468293 w 697572"/>
              <a:gd name="csY61" fmla="*/ 331320 h 1240128"/>
              <a:gd name="csX62" fmla="*/ 459542 w 697572"/>
              <a:gd name="csY62" fmla="*/ 338942 h 1240128"/>
              <a:gd name="csX63" fmla="*/ 458492 w 697572"/>
              <a:gd name="csY63" fmla="*/ 338671 h 1240128"/>
              <a:gd name="csX64" fmla="*/ 436978 w 697572"/>
              <a:gd name="csY64" fmla="*/ 352226 h 1240128"/>
              <a:gd name="csX65" fmla="*/ 472329 w 697572"/>
              <a:gd name="csY65" fmla="*/ 362890 h 1240128"/>
              <a:gd name="csX66" fmla="*/ 523779 w 697572"/>
              <a:gd name="csY66" fmla="*/ 391962 h 1240128"/>
              <a:gd name="csX67" fmla="*/ 527344 w 697572"/>
              <a:gd name="csY67" fmla="*/ 430096 h 1240128"/>
              <a:gd name="csX68" fmla="*/ 504112 w 697572"/>
              <a:gd name="csY68" fmla="*/ 449628 h 1240128"/>
              <a:gd name="csX69" fmla="*/ 459430 w 697572"/>
              <a:gd name="csY69" fmla="*/ 461116 h 1240128"/>
              <a:gd name="csX70" fmla="*/ 446666 w 697572"/>
              <a:gd name="csY70" fmla="*/ 474229 h 1240128"/>
              <a:gd name="csX71" fmla="*/ 449133 w 697572"/>
              <a:gd name="csY71" fmla="*/ 531639 h 1240128"/>
              <a:gd name="csX72" fmla="*/ 454546 w 697572"/>
              <a:gd name="csY72" fmla="*/ 588688 h 1240128"/>
              <a:gd name="csX73" fmla="*/ 466126 w 697572"/>
              <a:gd name="csY73" fmla="*/ 649736 h 1240128"/>
              <a:gd name="csX74" fmla="*/ 512154 w 697572"/>
              <a:gd name="csY74" fmla="*/ 794006 h 1240128"/>
              <a:gd name="csX75" fmla="*/ 525763 w 697572"/>
              <a:gd name="csY75" fmla="*/ 834323 h 1240128"/>
              <a:gd name="csX76" fmla="*/ 530555 w 697572"/>
              <a:gd name="csY76" fmla="*/ 845114 h 1240128"/>
              <a:gd name="csX77" fmla="*/ 554424 w 697572"/>
              <a:gd name="csY77" fmla="*/ 856618 h 1240128"/>
              <a:gd name="csX78" fmla="*/ 572880 w 697572"/>
              <a:gd name="csY78" fmla="*/ 862546 h 1240128"/>
              <a:gd name="csX79" fmla="*/ 578643 w 697572"/>
              <a:gd name="csY79" fmla="*/ 880396 h 1240128"/>
              <a:gd name="csX80" fmla="*/ 572188 w 697572"/>
              <a:gd name="csY80" fmla="*/ 899820 h 1240128"/>
              <a:gd name="csX81" fmla="*/ 582698 w 697572"/>
              <a:gd name="csY81" fmla="*/ 930382 h 1240128"/>
              <a:gd name="csX82" fmla="*/ 604747 w 697572"/>
              <a:gd name="csY82" fmla="*/ 960852 h 1240128"/>
              <a:gd name="csX83" fmla="*/ 613863 w 697572"/>
              <a:gd name="csY83" fmla="*/ 968311 h 1240128"/>
              <a:gd name="csX84" fmla="*/ 629435 w 697572"/>
              <a:gd name="csY84" fmla="*/ 981186 h 1240128"/>
              <a:gd name="csX85" fmla="*/ 633611 w 697572"/>
              <a:gd name="csY85" fmla="*/ 985609 h 1240128"/>
              <a:gd name="csX86" fmla="*/ 673790 w 697572"/>
              <a:gd name="csY86" fmla="*/ 1049348 h 1240128"/>
              <a:gd name="csX87" fmla="*/ 675873 w 697572"/>
              <a:gd name="csY87" fmla="*/ 1092839 h 1240128"/>
              <a:gd name="csX88" fmla="*/ 681668 w 697572"/>
              <a:gd name="csY88" fmla="*/ 1129292 h 1240128"/>
              <a:gd name="csX89" fmla="*/ 697338 w 697572"/>
              <a:gd name="csY89" fmla="*/ 1196079 h 1240128"/>
              <a:gd name="csX90" fmla="*/ 690637 w 697572"/>
              <a:gd name="csY90" fmla="*/ 1205035 h 1240128"/>
              <a:gd name="csX91" fmla="*/ 639777 w 697572"/>
              <a:gd name="csY91" fmla="*/ 1217994 h 1240128"/>
              <a:gd name="csX92" fmla="*/ 587072 w 697572"/>
              <a:gd name="csY92" fmla="*/ 1227761 h 1240128"/>
              <a:gd name="csX93" fmla="*/ 581793 w 697572"/>
              <a:gd name="csY93" fmla="*/ 1234401 h 1240128"/>
              <a:gd name="csX94" fmla="*/ 357446 w 697572"/>
              <a:gd name="csY94" fmla="*/ 903795 h 1240128"/>
              <a:gd name="csX95" fmla="*/ 344445 w 697572"/>
              <a:gd name="csY95" fmla="*/ 903795 h 1240128"/>
              <a:gd name="csX96" fmla="*/ 349212 w 697572"/>
              <a:gd name="csY96" fmla="*/ 950515 h 1240128"/>
              <a:gd name="csX97" fmla="*/ 349538 w 697572"/>
              <a:gd name="csY97" fmla="*/ 1069392 h 1240128"/>
              <a:gd name="csX98" fmla="*/ 349415 w 697572"/>
              <a:gd name="csY98" fmla="*/ 1108925 h 1240128"/>
              <a:gd name="csX99" fmla="*/ 647726 w 697572"/>
              <a:gd name="csY99" fmla="*/ 1089872 h 1240128"/>
              <a:gd name="csX100" fmla="*/ 647654 w 697572"/>
              <a:gd name="csY100" fmla="*/ 1076267 h 1240128"/>
              <a:gd name="csX101" fmla="*/ 610267 w 697572"/>
              <a:gd name="csY101" fmla="*/ 994126 h 1240128"/>
              <a:gd name="csX102" fmla="*/ 571459 w 697572"/>
              <a:gd name="csY102" fmla="*/ 956568 h 1240128"/>
              <a:gd name="csX103" fmla="*/ 541653 w 697572"/>
              <a:gd name="csY103" fmla="*/ 901544 h 1240128"/>
              <a:gd name="csX104" fmla="*/ 539477 w 697572"/>
              <a:gd name="csY104" fmla="*/ 895908 h 1240128"/>
              <a:gd name="csX105" fmla="*/ 357446 w 697572"/>
              <a:gd name="csY105" fmla="*/ 903795 h 1240128"/>
              <a:gd name="csX106" fmla="*/ 300108 w 697572"/>
              <a:gd name="csY106" fmla="*/ 85260 h 1240128"/>
              <a:gd name="csX107" fmla="*/ 290213 w 697572"/>
              <a:gd name="csY107" fmla="*/ 127888 h 1240128"/>
              <a:gd name="csX108" fmla="*/ 331056 w 697572"/>
              <a:gd name="csY108" fmla="*/ 214168 h 1240128"/>
              <a:gd name="csX109" fmla="*/ 424717 w 697572"/>
              <a:gd name="csY109" fmla="*/ 245160 h 1240128"/>
              <a:gd name="csX110" fmla="*/ 496752 w 697572"/>
              <a:gd name="csY110" fmla="*/ 141256 h 1240128"/>
              <a:gd name="csX111" fmla="*/ 390320 w 697572"/>
              <a:gd name="csY111" fmla="*/ 43995 h 1240128"/>
              <a:gd name="csX112" fmla="*/ 300108 w 697572"/>
              <a:gd name="csY112" fmla="*/ 85260 h 1240128"/>
              <a:gd name="csX113" fmla="*/ 343360 w 697572"/>
              <a:gd name="csY113" fmla="*/ 634332 h 1240128"/>
              <a:gd name="csX114" fmla="*/ 340877 w 697572"/>
              <a:gd name="csY114" fmla="*/ 732259 h 1240128"/>
              <a:gd name="csX115" fmla="*/ 338360 w 697572"/>
              <a:gd name="csY115" fmla="*/ 810538 h 1240128"/>
              <a:gd name="csX116" fmla="*/ 337115 w 697572"/>
              <a:gd name="csY116" fmla="*/ 817736 h 1240128"/>
              <a:gd name="csX117" fmla="*/ 336516 w 697572"/>
              <a:gd name="csY117" fmla="*/ 863022 h 1240128"/>
              <a:gd name="csX118" fmla="*/ 343436 w 697572"/>
              <a:gd name="csY118" fmla="*/ 864027 h 1240128"/>
              <a:gd name="csX119" fmla="*/ 406718 w 697572"/>
              <a:gd name="csY119" fmla="*/ 862982 h 1240128"/>
              <a:gd name="csX120" fmla="*/ 456888 w 697572"/>
              <a:gd name="csY120" fmla="*/ 861794 h 1240128"/>
              <a:gd name="csX121" fmla="*/ 495873 w 697572"/>
              <a:gd name="csY121" fmla="*/ 863963 h 1240128"/>
              <a:gd name="csX122" fmla="*/ 509286 w 697572"/>
              <a:gd name="csY122" fmla="*/ 863595 h 1240128"/>
              <a:gd name="csX123" fmla="*/ 516956 w 697572"/>
              <a:gd name="csY123" fmla="*/ 856791 h 1240128"/>
              <a:gd name="csX124" fmla="*/ 513920 w 697572"/>
              <a:gd name="csY124" fmla="*/ 848709 h 1240128"/>
              <a:gd name="csX125" fmla="*/ 506683 w 697572"/>
              <a:gd name="csY125" fmla="*/ 839054 h 1240128"/>
              <a:gd name="csX126" fmla="*/ 488629 w 697572"/>
              <a:gd name="csY126" fmla="*/ 799037 h 1240128"/>
              <a:gd name="csX127" fmla="*/ 456922 w 697572"/>
              <a:gd name="csY127" fmla="*/ 696297 h 1240128"/>
              <a:gd name="csX128" fmla="*/ 441346 w 697572"/>
              <a:gd name="csY128" fmla="*/ 619885 h 1240128"/>
              <a:gd name="csX129" fmla="*/ 435963 w 697572"/>
              <a:gd name="csY129" fmla="*/ 582529 h 1240128"/>
              <a:gd name="csX130" fmla="*/ 429497 w 697572"/>
              <a:gd name="csY130" fmla="*/ 521990 h 1240128"/>
              <a:gd name="csX131" fmla="*/ 426887 w 697572"/>
              <a:gd name="csY131" fmla="*/ 471989 h 1240128"/>
              <a:gd name="csX132" fmla="*/ 413744 w 697572"/>
              <a:gd name="csY132" fmla="*/ 461077 h 1240128"/>
              <a:gd name="csX133" fmla="*/ 353573 w 697572"/>
              <a:gd name="csY133" fmla="*/ 461120 h 1240128"/>
              <a:gd name="csX134" fmla="*/ 344160 w 697572"/>
              <a:gd name="csY134" fmla="*/ 462286 h 1240128"/>
              <a:gd name="csX135" fmla="*/ 343404 w 697572"/>
              <a:gd name="csY135" fmla="*/ 469192 h 1240128"/>
              <a:gd name="csX136" fmla="*/ 343469 w 697572"/>
              <a:gd name="csY136" fmla="*/ 574797 h 1240128"/>
              <a:gd name="csX137" fmla="*/ 345522 w 697572"/>
              <a:gd name="csY137" fmla="*/ 591669 h 1240128"/>
              <a:gd name="csX138" fmla="*/ 343360 w 697572"/>
              <a:gd name="csY138" fmla="*/ 634332 h 1240128"/>
              <a:gd name="csX139" fmla="*/ 416946 w 697572"/>
              <a:gd name="csY139" fmla="*/ 385943 h 1240128"/>
              <a:gd name="csX140" fmla="*/ 401091 w 697572"/>
              <a:gd name="csY140" fmla="*/ 387162 h 1240128"/>
              <a:gd name="csX141" fmla="*/ 369218 w 697572"/>
              <a:gd name="csY141" fmla="*/ 387708 h 1240128"/>
              <a:gd name="csX142" fmla="*/ 351833 w 697572"/>
              <a:gd name="csY142" fmla="*/ 398991 h 1240128"/>
              <a:gd name="csX143" fmla="*/ 349778 w 697572"/>
              <a:gd name="csY143" fmla="*/ 426021 h 1240128"/>
              <a:gd name="csX144" fmla="*/ 361839 w 697572"/>
              <a:gd name="csY144" fmla="*/ 426538 h 1240128"/>
              <a:gd name="csX145" fmla="*/ 455022 w 697572"/>
              <a:gd name="csY145" fmla="*/ 426922 h 1240128"/>
              <a:gd name="csX146" fmla="*/ 481958 w 697572"/>
              <a:gd name="csY146" fmla="*/ 426527 h 1240128"/>
              <a:gd name="csX147" fmla="*/ 499817 w 697572"/>
              <a:gd name="csY147" fmla="*/ 419888 h 1240128"/>
              <a:gd name="csX148" fmla="*/ 499439 w 697572"/>
              <a:gd name="csY148" fmla="*/ 400719 h 1240128"/>
              <a:gd name="csX149" fmla="*/ 468062 w 697572"/>
              <a:gd name="csY149" fmla="*/ 387775 h 1240128"/>
              <a:gd name="csX150" fmla="*/ 416946 w 697572"/>
              <a:gd name="csY150" fmla="*/ 385943 h 1240128"/>
              <a:gd name="csX151" fmla="*/ 636802 w 697572"/>
              <a:gd name="csY151" fmla="*/ 1190940 h 1240128"/>
              <a:gd name="csX152" fmla="*/ 666492 w 697572"/>
              <a:gd name="csY152" fmla="*/ 1184186 h 1240128"/>
              <a:gd name="csX153" fmla="*/ 674465 w 697572"/>
              <a:gd name="csY153" fmla="*/ 1170880 h 1240128"/>
              <a:gd name="csX154" fmla="*/ 662462 w 697572"/>
              <a:gd name="csY154" fmla="*/ 1141464 h 1240128"/>
              <a:gd name="csX155" fmla="*/ 645564 w 697572"/>
              <a:gd name="csY155" fmla="*/ 1131937 h 1240128"/>
              <a:gd name="csX156" fmla="*/ 627387 w 697572"/>
              <a:gd name="csY156" fmla="*/ 1133618 h 1240128"/>
              <a:gd name="csX157" fmla="*/ 583917 w 697572"/>
              <a:gd name="csY157" fmla="*/ 1139222 h 1240128"/>
              <a:gd name="csX158" fmla="*/ 543741 w 697572"/>
              <a:gd name="csY158" fmla="*/ 1141869 h 1240128"/>
              <a:gd name="csX159" fmla="*/ 512146 w 697572"/>
              <a:gd name="csY159" fmla="*/ 1144418 h 1240128"/>
              <a:gd name="csX160" fmla="*/ 447711 w 697572"/>
              <a:gd name="csY160" fmla="*/ 1148973 h 1240128"/>
              <a:gd name="csX161" fmla="*/ 351979 w 697572"/>
              <a:gd name="csY161" fmla="*/ 1149200 h 1240128"/>
              <a:gd name="csX162" fmla="*/ 338443 w 697572"/>
              <a:gd name="csY162" fmla="*/ 1150040 h 1240128"/>
              <a:gd name="csX163" fmla="*/ 338451 w 697572"/>
              <a:gd name="csY163" fmla="*/ 1190780 h 1240128"/>
              <a:gd name="csX164" fmla="*/ 351082 w 697572"/>
              <a:gd name="csY164" fmla="*/ 1207015 h 1240128"/>
              <a:gd name="csX165" fmla="*/ 358298 w 697572"/>
              <a:gd name="csY165" fmla="*/ 1208094 h 1240128"/>
              <a:gd name="csX166" fmla="*/ 521229 w 697572"/>
              <a:gd name="csY166" fmla="*/ 1205646 h 1240128"/>
              <a:gd name="csX167" fmla="*/ 523675 w 697572"/>
              <a:gd name="csY167" fmla="*/ 1205490 h 1240128"/>
              <a:gd name="csX168" fmla="*/ 580423 w 697572"/>
              <a:gd name="csY168" fmla="*/ 1198350 h 1240128"/>
              <a:gd name="csX169" fmla="*/ 636802 w 697572"/>
              <a:gd name="csY169" fmla="*/ 1190940 h 124012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</a:cxnLst>
            <a:rect l="l" t="t" r="r" b="b"/>
            <a:pathLst>
              <a:path w="697572" h="1240128">
                <a:moveTo>
                  <a:pt x="581793" y="1234401"/>
                </a:moveTo>
                <a:cubicBezTo>
                  <a:pt x="580693" y="1234661"/>
                  <a:pt x="579594" y="1234922"/>
                  <a:pt x="577427" y="1234156"/>
                </a:cubicBezTo>
                <a:cubicBezTo>
                  <a:pt x="571216" y="1227899"/>
                  <a:pt x="564912" y="1230441"/>
                  <a:pt x="559133" y="1230909"/>
                </a:cubicBezTo>
                <a:cubicBezTo>
                  <a:pt x="544971" y="1232056"/>
                  <a:pt x="530869" y="1233971"/>
                  <a:pt x="516706" y="1235117"/>
                </a:cubicBezTo>
                <a:cubicBezTo>
                  <a:pt x="502910" y="1236232"/>
                  <a:pt x="489077" y="1237097"/>
                  <a:pt x="475244" y="1237506"/>
                </a:cubicBezTo>
                <a:cubicBezTo>
                  <a:pt x="440539" y="1238535"/>
                  <a:pt x="405696" y="1241458"/>
                  <a:pt x="371154" y="1239428"/>
                </a:cubicBezTo>
                <a:cubicBezTo>
                  <a:pt x="339645" y="1237575"/>
                  <a:pt x="308239" y="1238753"/>
                  <a:pt x="276813" y="1237654"/>
                </a:cubicBezTo>
                <a:cubicBezTo>
                  <a:pt x="273949" y="1237553"/>
                  <a:pt x="271079" y="1237652"/>
                  <a:pt x="268212" y="1237635"/>
                </a:cubicBezTo>
                <a:cubicBezTo>
                  <a:pt x="266165" y="1237623"/>
                  <a:pt x="264111" y="1237668"/>
                  <a:pt x="262072" y="1237523"/>
                </a:cubicBezTo>
                <a:cubicBezTo>
                  <a:pt x="239751" y="1235944"/>
                  <a:pt x="217441" y="1234201"/>
                  <a:pt x="195111" y="1232775"/>
                </a:cubicBezTo>
                <a:cubicBezTo>
                  <a:pt x="178437" y="1231710"/>
                  <a:pt x="161712" y="1231378"/>
                  <a:pt x="145060" y="1230076"/>
                </a:cubicBezTo>
                <a:cubicBezTo>
                  <a:pt x="134969" y="1229287"/>
                  <a:pt x="124987" y="1227177"/>
                  <a:pt x="114933" y="1225832"/>
                </a:cubicBezTo>
                <a:cubicBezTo>
                  <a:pt x="100834" y="1223946"/>
                  <a:pt x="86554" y="1223022"/>
                  <a:pt x="72642" y="1220237"/>
                </a:cubicBezTo>
                <a:cubicBezTo>
                  <a:pt x="51920" y="1216091"/>
                  <a:pt x="31443" y="1210723"/>
                  <a:pt x="10894" y="1205737"/>
                </a:cubicBezTo>
                <a:cubicBezTo>
                  <a:pt x="9027" y="1205284"/>
                  <a:pt x="6196" y="1204140"/>
                  <a:pt x="5856" y="1202799"/>
                </a:cubicBezTo>
                <a:cubicBezTo>
                  <a:pt x="3474" y="1193418"/>
                  <a:pt x="-438" y="1183796"/>
                  <a:pt x="40" y="1174450"/>
                </a:cubicBezTo>
                <a:cubicBezTo>
                  <a:pt x="1079" y="1154149"/>
                  <a:pt x="9757" y="1135843"/>
                  <a:pt x="19831" y="1118410"/>
                </a:cubicBezTo>
                <a:cubicBezTo>
                  <a:pt x="21968" y="1114713"/>
                  <a:pt x="22970" y="1111858"/>
                  <a:pt x="22004" y="1107240"/>
                </a:cubicBezTo>
                <a:cubicBezTo>
                  <a:pt x="17168" y="1084118"/>
                  <a:pt x="17717" y="1061168"/>
                  <a:pt x="25947" y="1038650"/>
                </a:cubicBezTo>
                <a:cubicBezTo>
                  <a:pt x="32954" y="1019481"/>
                  <a:pt x="44478" y="1003118"/>
                  <a:pt x="58234" y="988567"/>
                </a:cubicBezTo>
                <a:cubicBezTo>
                  <a:pt x="77769" y="967902"/>
                  <a:pt x="97978" y="947832"/>
                  <a:pt x="118645" y="928298"/>
                </a:cubicBezTo>
                <a:cubicBezTo>
                  <a:pt x="130104" y="917467"/>
                  <a:pt x="131835" y="905961"/>
                  <a:pt x="126320" y="892015"/>
                </a:cubicBezTo>
                <a:cubicBezTo>
                  <a:pt x="123798" y="885637"/>
                  <a:pt x="122123" y="878904"/>
                  <a:pt x="120345" y="872258"/>
                </a:cubicBezTo>
                <a:cubicBezTo>
                  <a:pt x="119029" y="867341"/>
                  <a:pt x="120162" y="863613"/>
                  <a:pt x="125668" y="861640"/>
                </a:cubicBezTo>
                <a:cubicBezTo>
                  <a:pt x="135266" y="858201"/>
                  <a:pt x="144535" y="853788"/>
                  <a:pt x="154237" y="850716"/>
                </a:cubicBezTo>
                <a:cubicBezTo>
                  <a:pt x="161882" y="848296"/>
                  <a:pt x="167110" y="843897"/>
                  <a:pt x="170248" y="836767"/>
                </a:cubicBezTo>
                <a:cubicBezTo>
                  <a:pt x="176168" y="823316"/>
                  <a:pt x="182193" y="809907"/>
                  <a:pt x="187840" y="796341"/>
                </a:cubicBezTo>
                <a:cubicBezTo>
                  <a:pt x="195194" y="778679"/>
                  <a:pt x="202250" y="760894"/>
                  <a:pt x="209346" y="743126"/>
                </a:cubicBezTo>
                <a:cubicBezTo>
                  <a:pt x="210083" y="741280"/>
                  <a:pt x="210252" y="739200"/>
                  <a:pt x="210630" y="737219"/>
                </a:cubicBezTo>
                <a:cubicBezTo>
                  <a:pt x="211694" y="731645"/>
                  <a:pt x="212425" y="725987"/>
                  <a:pt x="213836" y="720505"/>
                </a:cubicBezTo>
                <a:cubicBezTo>
                  <a:pt x="218406" y="702764"/>
                  <a:pt x="223811" y="685219"/>
                  <a:pt x="227791" y="667353"/>
                </a:cubicBezTo>
                <a:cubicBezTo>
                  <a:pt x="232826" y="644755"/>
                  <a:pt x="237367" y="622009"/>
                  <a:pt x="241013" y="599151"/>
                </a:cubicBezTo>
                <a:cubicBezTo>
                  <a:pt x="244018" y="580319"/>
                  <a:pt x="246001" y="561272"/>
                  <a:pt x="247322" y="542242"/>
                </a:cubicBezTo>
                <a:cubicBezTo>
                  <a:pt x="248312" y="527975"/>
                  <a:pt x="246344" y="513451"/>
                  <a:pt x="247948" y="499296"/>
                </a:cubicBezTo>
                <a:cubicBezTo>
                  <a:pt x="249066" y="489432"/>
                  <a:pt x="247923" y="480014"/>
                  <a:pt x="247577" y="470384"/>
                </a:cubicBezTo>
                <a:cubicBezTo>
                  <a:pt x="247364" y="464453"/>
                  <a:pt x="245121" y="461397"/>
                  <a:pt x="238877" y="460987"/>
                </a:cubicBezTo>
                <a:cubicBezTo>
                  <a:pt x="233224" y="460615"/>
                  <a:pt x="227461" y="459920"/>
                  <a:pt x="222040" y="458353"/>
                </a:cubicBezTo>
                <a:cubicBezTo>
                  <a:pt x="203991" y="453134"/>
                  <a:pt x="185737" y="448229"/>
                  <a:pt x="172193" y="433714"/>
                </a:cubicBezTo>
                <a:cubicBezTo>
                  <a:pt x="162702" y="423544"/>
                  <a:pt x="160887" y="408134"/>
                  <a:pt x="168410" y="396591"/>
                </a:cubicBezTo>
                <a:cubicBezTo>
                  <a:pt x="178294" y="381428"/>
                  <a:pt x="193736" y="373793"/>
                  <a:pt x="209826" y="367773"/>
                </a:cubicBezTo>
                <a:cubicBezTo>
                  <a:pt x="223159" y="362784"/>
                  <a:pt x="237124" y="359493"/>
                  <a:pt x="250732" y="355208"/>
                </a:cubicBezTo>
                <a:cubicBezTo>
                  <a:pt x="253085" y="354467"/>
                  <a:pt x="255058" y="352518"/>
                  <a:pt x="258289" y="350426"/>
                </a:cubicBezTo>
                <a:cubicBezTo>
                  <a:pt x="250173" y="342610"/>
                  <a:pt x="241833" y="337880"/>
                  <a:pt x="233274" y="333513"/>
                </a:cubicBezTo>
                <a:cubicBezTo>
                  <a:pt x="232377" y="333055"/>
                  <a:pt x="230890" y="333758"/>
                  <a:pt x="229677" y="333922"/>
                </a:cubicBezTo>
                <a:cubicBezTo>
                  <a:pt x="229677" y="333922"/>
                  <a:pt x="230323" y="333834"/>
                  <a:pt x="230149" y="332979"/>
                </a:cubicBezTo>
                <a:cubicBezTo>
                  <a:pt x="229023" y="330409"/>
                  <a:pt x="228502" y="328059"/>
                  <a:pt x="227053" y="327076"/>
                </a:cubicBezTo>
                <a:cubicBezTo>
                  <a:pt x="213615" y="317962"/>
                  <a:pt x="204643" y="305332"/>
                  <a:pt x="196769" y="291380"/>
                </a:cubicBezTo>
                <a:cubicBezTo>
                  <a:pt x="191792" y="282564"/>
                  <a:pt x="185421" y="274665"/>
                  <a:pt x="184389" y="264042"/>
                </a:cubicBezTo>
                <a:cubicBezTo>
                  <a:pt x="184179" y="261874"/>
                  <a:pt x="181925" y="259908"/>
                  <a:pt x="180630" y="257839"/>
                </a:cubicBezTo>
                <a:cubicBezTo>
                  <a:pt x="179137" y="255454"/>
                  <a:pt x="177317" y="253204"/>
                  <a:pt x="176231" y="250643"/>
                </a:cubicBezTo>
                <a:cubicBezTo>
                  <a:pt x="161865" y="216749"/>
                  <a:pt x="159606" y="182060"/>
                  <a:pt x="170073" y="146723"/>
                </a:cubicBezTo>
                <a:cubicBezTo>
                  <a:pt x="173311" y="135795"/>
                  <a:pt x="177248" y="125074"/>
                  <a:pt x="180929" y="114280"/>
                </a:cubicBezTo>
                <a:cubicBezTo>
                  <a:pt x="182396" y="109981"/>
                  <a:pt x="183922" y="105742"/>
                  <a:pt x="180839" y="101501"/>
                </a:cubicBezTo>
                <a:cubicBezTo>
                  <a:pt x="192473" y="75833"/>
                  <a:pt x="211344" y="56271"/>
                  <a:pt x="233536" y="39653"/>
                </a:cubicBezTo>
                <a:cubicBezTo>
                  <a:pt x="267321" y="14353"/>
                  <a:pt x="305621" y="873"/>
                  <a:pt x="347618" y="35"/>
                </a:cubicBezTo>
                <a:cubicBezTo>
                  <a:pt x="379125" y="-593"/>
                  <a:pt x="409214" y="7172"/>
                  <a:pt x="437139" y="22396"/>
                </a:cubicBezTo>
                <a:cubicBezTo>
                  <a:pt x="481844" y="46766"/>
                  <a:pt x="514077" y="82116"/>
                  <a:pt x="529052" y="131093"/>
                </a:cubicBezTo>
                <a:cubicBezTo>
                  <a:pt x="543544" y="178495"/>
                  <a:pt x="541630" y="225548"/>
                  <a:pt x="518497" y="271517"/>
                </a:cubicBezTo>
                <a:cubicBezTo>
                  <a:pt x="511428" y="277096"/>
                  <a:pt x="503848" y="281136"/>
                  <a:pt x="500808" y="287385"/>
                </a:cubicBezTo>
                <a:cubicBezTo>
                  <a:pt x="493932" y="301522"/>
                  <a:pt x="483805" y="312513"/>
                  <a:pt x="472948" y="323290"/>
                </a:cubicBezTo>
                <a:cubicBezTo>
                  <a:pt x="470972" y="325253"/>
                  <a:pt x="470533" y="328767"/>
                  <a:pt x="469385" y="331565"/>
                </a:cubicBezTo>
                <a:cubicBezTo>
                  <a:pt x="469385" y="331565"/>
                  <a:pt x="469172" y="331584"/>
                  <a:pt x="468293" y="331320"/>
                </a:cubicBezTo>
                <a:cubicBezTo>
                  <a:pt x="461937" y="330836"/>
                  <a:pt x="458618" y="332772"/>
                  <a:pt x="459542" y="338942"/>
                </a:cubicBezTo>
                <a:cubicBezTo>
                  <a:pt x="459542" y="338942"/>
                  <a:pt x="459473" y="338913"/>
                  <a:pt x="458492" y="338671"/>
                </a:cubicBezTo>
                <a:cubicBezTo>
                  <a:pt x="450936" y="342653"/>
                  <a:pt x="440712" y="341355"/>
                  <a:pt x="436978" y="352226"/>
                </a:cubicBezTo>
                <a:cubicBezTo>
                  <a:pt x="449178" y="355911"/>
                  <a:pt x="460733" y="359469"/>
                  <a:pt x="472329" y="362890"/>
                </a:cubicBezTo>
                <a:cubicBezTo>
                  <a:pt x="491728" y="368613"/>
                  <a:pt x="510182" y="375784"/>
                  <a:pt x="523779" y="391962"/>
                </a:cubicBezTo>
                <a:cubicBezTo>
                  <a:pt x="535849" y="406326"/>
                  <a:pt x="534845" y="420076"/>
                  <a:pt x="527344" y="430096"/>
                </a:cubicBezTo>
                <a:cubicBezTo>
                  <a:pt x="521323" y="438139"/>
                  <a:pt x="513928" y="445333"/>
                  <a:pt x="504112" y="449628"/>
                </a:cubicBezTo>
                <a:cubicBezTo>
                  <a:pt x="489776" y="455901"/>
                  <a:pt x="475173" y="460486"/>
                  <a:pt x="459430" y="461116"/>
                </a:cubicBezTo>
                <a:cubicBezTo>
                  <a:pt x="448415" y="461557"/>
                  <a:pt x="446384" y="463369"/>
                  <a:pt x="446666" y="474229"/>
                </a:cubicBezTo>
                <a:cubicBezTo>
                  <a:pt x="447164" y="493376"/>
                  <a:pt x="447839" y="512533"/>
                  <a:pt x="449133" y="531639"/>
                </a:cubicBezTo>
                <a:cubicBezTo>
                  <a:pt x="450424" y="550696"/>
                  <a:pt x="451783" y="569809"/>
                  <a:pt x="454546" y="588688"/>
                </a:cubicBezTo>
                <a:cubicBezTo>
                  <a:pt x="457543" y="609164"/>
                  <a:pt x="462165" y="629403"/>
                  <a:pt x="466126" y="649736"/>
                </a:cubicBezTo>
                <a:cubicBezTo>
                  <a:pt x="475845" y="699621"/>
                  <a:pt x="493414" y="746980"/>
                  <a:pt x="512154" y="794006"/>
                </a:cubicBezTo>
                <a:cubicBezTo>
                  <a:pt x="517387" y="807138"/>
                  <a:pt x="525145" y="819463"/>
                  <a:pt x="525763" y="834323"/>
                </a:cubicBezTo>
                <a:cubicBezTo>
                  <a:pt x="525919" y="838081"/>
                  <a:pt x="527739" y="843335"/>
                  <a:pt x="530555" y="845114"/>
                </a:cubicBezTo>
                <a:cubicBezTo>
                  <a:pt x="537981" y="849801"/>
                  <a:pt x="546243" y="853278"/>
                  <a:pt x="554424" y="856618"/>
                </a:cubicBezTo>
                <a:cubicBezTo>
                  <a:pt x="560391" y="859054"/>
                  <a:pt x="567041" y="859887"/>
                  <a:pt x="572880" y="862546"/>
                </a:cubicBezTo>
                <a:cubicBezTo>
                  <a:pt x="581470" y="866458"/>
                  <a:pt x="582467" y="871415"/>
                  <a:pt x="578643" y="880396"/>
                </a:cubicBezTo>
                <a:cubicBezTo>
                  <a:pt x="575969" y="886677"/>
                  <a:pt x="572900" y="893182"/>
                  <a:pt x="572188" y="899820"/>
                </a:cubicBezTo>
                <a:cubicBezTo>
                  <a:pt x="570960" y="911271"/>
                  <a:pt x="576506" y="920944"/>
                  <a:pt x="582698" y="930382"/>
                </a:cubicBezTo>
                <a:cubicBezTo>
                  <a:pt x="589569" y="940856"/>
                  <a:pt x="600933" y="947930"/>
                  <a:pt x="604747" y="960852"/>
                </a:cubicBezTo>
                <a:cubicBezTo>
                  <a:pt x="605684" y="964030"/>
                  <a:pt x="610294" y="967128"/>
                  <a:pt x="613863" y="968311"/>
                </a:cubicBezTo>
                <a:cubicBezTo>
                  <a:pt x="620963" y="970665"/>
                  <a:pt x="625924" y="974774"/>
                  <a:pt x="629435" y="981186"/>
                </a:cubicBezTo>
                <a:cubicBezTo>
                  <a:pt x="630381" y="982913"/>
                  <a:pt x="631977" y="984459"/>
                  <a:pt x="633611" y="985609"/>
                </a:cubicBezTo>
                <a:cubicBezTo>
                  <a:pt x="655878" y="1001272"/>
                  <a:pt x="668032" y="1023762"/>
                  <a:pt x="673790" y="1049348"/>
                </a:cubicBezTo>
                <a:cubicBezTo>
                  <a:pt x="676936" y="1063327"/>
                  <a:pt x="679769" y="1077802"/>
                  <a:pt x="675873" y="1092839"/>
                </a:cubicBezTo>
                <a:cubicBezTo>
                  <a:pt x="672677" y="1105174"/>
                  <a:pt x="673042" y="1116963"/>
                  <a:pt x="681668" y="1129292"/>
                </a:cubicBezTo>
                <a:cubicBezTo>
                  <a:pt x="695321" y="1148802"/>
                  <a:pt x="698550" y="1172235"/>
                  <a:pt x="697338" y="1196079"/>
                </a:cubicBezTo>
                <a:cubicBezTo>
                  <a:pt x="697087" y="1201014"/>
                  <a:pt x="694979" y="1203886"/>
                  <a:pt x="690637" y="1205035"/>
                </a:cubicBezTo>
                <a:cubicBezTo>
                  <a:pt x="673723" y="1209511"/>
                  <a:pt x="656856" y="1214241"/>
                  <a:pt x="639777" y="1217994"/>
                </a:cubicBezTo>
                <a:cubicBezTo>
                  <a:pt x="622334" y="1221827"/>
                  <a:pt x="604691" y="1224790"/>
                  <a:pt x="587072" y="1227761"/>
                </a:cubicBezTo>
                <a:cubicBezTo>
                  <a:pt x="582708" y="1228497"/>
                  <a:pt x="581724" y="1230736"/>
                  <a:pt x="581793" y="1234401"/>
                </a:cubicBezTo>
                <a:moveTo>
                  <a:pt x="357446" y="903795"/>
                </a:moveTo>
                <a:cubicBezTo>
                  <a:pt x="353141" y="903795"/>
                  <a:pt x="348835" y="903795"/>
                  <a:pt x="344445" y="903795"/>
                </a:cubicBezTo>
                <a:cubicBezTo>
                  <a:pt x="346169" y="920562"/>
                  <a:pt x="347908" y="935520"/>
                  <a:pt x="349212" y="950515"/>
                </a:cubicBezTo>
                <a:cubicBezTo>
                  <a:pt x="352656" y="990125"/>
                  <a:pt x="351941" y="1029743"/>
                  <a:pt x="349538" y="1069392"/>
                </a:cubicBezTo>
                <a:cubicBezTo>
                  <a:pt x="348759" y="1082241"/>
                  <a:pt x="349415" y="1095176"/>
                  <a:pt x="349415" y="1108925"/>
                </a:cubicBezTo>
                <a:cubicBezTo>
                  <a:pt x="449467" y="1111953"/>
                  <a:pt x="548509" y="1104712"/>
                  <a:pt x="647726" y="1089872"/>
                </a:cubicBezTo>
                <a:cubicBezTo>
                  <a:pt x="647726" y="1084313"/>
                  <a:pt x="648180" y="1080225"/>
                  <a:pt x="647654" y="1076267"/>
                </a:cubicBezTo>
                <a:cubicBezTo>
                  <a:pt x="643515" y="1045124"/>
                  <a:pt x="633172" y="1016714"/>
                  <a:pt x="610267" y="994126"/>
                </a:cubicBezTo>
                <a:cubicBezTo>
                  <a:pt x="597451" y="981485"/>
                  <a:pt x="584392" y="969090"/>
                  <a:pt x="571459" y="956568"/>
                </a:cubicBezTo>
                <a:cubicBezTo>
                  <a:pt x="555751" y="941359"/>
                  <a:pt x="544836" y="923558"/>
                  <a:pt x="541653" y="901544"/>
                </a:cubicBezTo>
                <a:cubicBezTo>
                  <a:pt x="541430" y="900007"/>
                  <a:pt x="540528" y="898570"/>
                  <a:pt x="539477" y="895908"/>
                </a:cubicBezTo>
                <a:cubicBezTo>
                  <a:pt x="479736" y="901652"/>
                  <a:pt x="419815" y="904536"/>
                  <a:pt x="357446" y="903795"/>
                </a:cubicBezTo>
                <a:moveTo>
                  <a:pt x="300108" y="85260"/>
                </a:moveTo>
                <a:cubicBezTo>
                  <a:pt x="293656" y="98745"/>
                  <a:pt x="289202" y="113094"/>
                  <a:pt x="290213" y="127888"/>
                </a:cubicBezTo>
                <a:cubicBezTo>
                  <a:pt x="292527" y="161736"/>
                  <a:pt x="304185" y="191723"/>
                  <a:pt x="331056" y="214168"/>
                </a:cubicBezTo>
                <a:cubicBezTo>
                  <a:pt x="358172" y="236816"/>
                  <a:pt x="388435" y="249934"/>
                  <a:pt x="424717" y="245160"/>
                </a:cubicBezTo>
                <a:cubicBezTo>
                  <a:pt x="468593" y="239387"/>
                  <a:pt x="509574" y="203365"/>
                  <a:pt x="496752" y="141256"/>
                </a:cubicBezTo>
                <a:cubicBezTo>
                  <a:pt x="487021" y="94124"/>
                  <a:pt x="447261" y="51874"/>
                  <a:pt x="390320" y="43995"/>
                </a:cubicBezTo>
                <a:cubicBezTo>
                  <a:pt x="353241" y="38865"/>
                  <a:pt x="321136" y="48750"/>
                  <a:pt x="300108" y="85260"/>
                </a:cubicBezTo>
                <a:moveTo>
                  <a:pt x="343360" y="634332"/>
                </a:moveTo>
                <a:cubicBezTo>
                  <a:pt x="342539" y="666975"/>
                  <a:pt x="341785" y="699619"/>
                  <a:pt x="340877" y="732259"/>
                </a:cubicBezTo>
                <a:cubicBezTo>
                  <a:pt x="340151" y="758355"/>
                  <a:pt x="339265" y="784447"/>
                  <a:pt x="338360" y="810538"/>
                </a:cubicBezTo>
                <a:cubicBezTo>
                  <a:pt x="338277" y="812948"/>
                  <a:pt x="337465" y="815325"/>
                  <a:pt x="337115" y="817736"/>
                </a:cubicBezTo>
                <a:cubicBezTo>
                  <a:pt x="334935" y="832710"/>
                  <a:pt x="336026" y="847647"/>
                  <a:pt x="336516" y="863022"/>
                </a:cubicBezTo>
                <a:cubicBezTo>
                  <a:pt x="339537" y="863479"/>
                  <a:pt x="341490" y="864053"/>
                  <a:pt x="343436" y="864027"/>
                </a:cubicBezTo>
                <a:cubicBezTo>
                  <a:pt x="364531" y="863739"/>
                  <a:pt x="385626" y="863422"/>
                  <a:pt x="406718" y="862982"/>
                </a:cubicBezTo>
                <a:cubicBezTo>
                  <a:pt x="423444" y="862634"/>
                  <a:pt x="440168" y="861675"/>
                  <a:pt x="456888" y="861794"/>
                </a:cubicBezTo>
                <a:cubicBezTo>
                  <a:pt x="469887" y="861886"/>
                  <a:pt x="482872" y="863302"/>
                  <a:pt x="495873" y="863963"/>
                </a:cubicBezTo>
                <a:cubicBezTo>
                  <a:pt x="500358" y="864191"/>
                  <a:pt x="505108" y="864773"/>
                  <a:pt x="509286" y="863595"/>
                </a:cubicBezTo>
                <a:cubicBezTo>
                  <a:pt x="512346" y="862732"/>
                  <a:pt x="515714" y="859703"/>
                  <a:pt x="516956" y="856791"/>
                </a:cubicBezTo>
                <a:cubicBezTo>
                  <a:pt x="517783" y="854851"/>
                  <a:pt x="515475" y="851192"/>
                  <a:pt x="513920" y="848709"/>
                </a:cubicBezTo>
                <a:cubicBezTo>
                  <a:pt x="511791" y="845308"/>
                  <a:pt x="508393" y="842606"/>
                  <a:pt x="506683" y="839054"/>
                </a:cubicBezTo>
                <a:cubicBezTo>
                  <a:pt x="500331" y="825864"/>
                  <a:pt x="493224" y="812855"/>
                  <a:pt x="488629" y="799037"/>
                </a:cubicBezTo>
                <a:cubicBezTo>
                  <a:pt x="477322" y="765031"/>
                  <a:pt x="466537" y="730814"/>
                  <a:pt x="456922" y="696297"/>
                </a:cubicBezTo>
                <a:cubicBezTo>
                  <a:pt x="449953" y="671276"/>
                  <a:pt x="443477" y="646020"/>
                  <a:pt x="441346" y="619885"/>
                </a:cubicBezTo>
                <a:cubicBezTo>
                  <a:pt x="440327" y="607371"/>
                  <a:pt x="437466" y="595018"/>
                  <a:pt x="435963" y="582529"/>
                </a:cubicBezTo>
                <a:cubicBezTo>
                  <a:pt x="433539" y="562380"/>
                  <a:pt x="431154" y="542212"/>
                  <a:pt x="429497" y="521990"/>
                </a:cubicBezTo>
                <a:cubicBezTo>
                  <a:pt x="428135" y="505363"/>
                  <a:pt x="428437" y="488593"/>
                  <a:pt x="426887" y="471989"/>
                </a:cubicBezTo>
                <a:cubicBezTo>
                  <a:pt x="425874" y="461140"/>
                  <a:pt x="424983" y="461120"/>
                  <a:pt x="413744" y="461077"/>
                </a:cubicBezTo>
                <a:cubicBezTo>
                  <a:pt x="393687" y="461000"/>
                  <a:pt x="373630" y="461011"/>
                  <a:pt x="353573" y="461120"/>
                </a:cubicBezTo>
                <a:cubicBezTo>
                  <a:pt x="350472" y="461137"/>
                  <a:pt x="347374" y="461869"/>
                  <a:pt x="344160" y="462286"/>
                </a:cubicBezTo>
                <a:cubicBezTo>
                  <a:pt x="343828" y="465198"/>
                  <a:pt x="343406" y="467195"/>
                  <a:pt x="343404" y="469192"/>
                </a:cubicBezTo>
                <a:cubicBezTo>
                  <a:pt x="343360" y="504394"/>
                  <a:pt x="343267" y="539596"/>
                  <a:pt x="343469" y="574797"/>
                </a:cubicBezTo>
                <a:cubicBezTo>
                  <a:pt x="343501" y="580426"/>
                  <a:pt x="345652" y="586065"/>
                  <a:pt x="345522" y="591669"/>
                </a:cubicBezTo>
                <a:cubicBezTo>
                  <a:pt x="345214" y="605082"/>
                  <a:pt x="344131" y="618478"/>
                  <a:pt x="343360" y="634332"/>
                </a:cubicBezTo>
                <a:moveTo>
                  <a:pt x="416946" y="385943"/>
                </a:moveTo>
                <a:cubicBezTo>
                  <a:pt x="411661" y="386365"/>
                  <a:pt x="406384" y="387006"/>
                  <a:pt x="401091" y="387162"/>
                </a:cubicBezTo>
                <a:cubicBezTo>
                  <a:pt x="390470" y="387477"/>
                  <a:pt x="379841" y="387447"/>
                  <a:pt x="369218" y="387708"/>
                </a:cubicBezTo>
                <a:cubicBezTo>
                  <a:pt x="361167" y="387906"/>
                  <a:pt x="354429" y="391368"/>
                  <a:pt x="351833" y="398991"/>
                </a:cubicBezTo>
                <a:cubicBezTo>
                  <a:pt x="348989" y="407342"/>
                  <a:pt x="347050" y="416214"/>
                  <a:pt x="349778" y="426021"/>
                </a:cubicBezTo>
                <a:cubicBezTo>
                  <a:pt x="353876" y="426204"/>
                  <a:pt x="357857" y="426517"/>
                  <a:pt x="361839" y="426538"/>
                </a:cubicBezTo>
                <a:cubicBezTo>
                  <a:pt x="392900" y="426701"/>
                  <a:pt x="423961" y="426826"/>
                  <a:pt x="455022" y="426922"/>
                </a:cubicBezTo>
                <a:cubicBezTo>
                  <a:pt x="464013" y="426950"/>
                  <a:pt x="473106" y="427654"/>
                  <a:pt x="481958" y="426527"/>
                </a:cubicBezTo>
                <a:cubicBezTo>
                  <a:pt x="488144" y="425740"/>
                  <a:pt x="494821" y="423501"/>
                  <a:pt x="499817" y="419888"/>
                </a:cubicBezTo>
                <a:cubicBezTo>
                  <a:pt x="507869" y="414066"/>
                  <a:pt x="507286" y="406755"/>
                  <a:pt x="499439" y="400719"/>
                </a:cubicBezTo>
                <a:cubicBezTo>
                  <a:pt x="490179" y="393597"/>
                  <a:pt x="479486" y="388885"/>
                  <a:pt x="468062" y="387775"/>
                </a:cubicBezTo>
                <a:cubicBezTo>
                  <a:pt x="451873" y="386202"/>
                  <a:pt x="435520" y="386321"/>
                  <a:pt x="416946" y="385943"/>
                </a:cubicBezTo>
                <a:moveTo>
                  <a:pt x="636802" y="1190940"/>
                </a:moveTo>
                <a:cubicBezTo>
                  <a:pt x="646709" y="1188723"/>
                  <a:pt x="656705" y="1186841"/>
                  <a:pt x="666492" y="1184186"/>
                </a:cubicBezTo>
                <a:cubicBezTo>
                  <a:pt x="674710" y="1181958"/>
                  <a:pt x="676989" y="1178509"/>
                  <a:pt x="674465" y="1170880"/>
                </a:cubicBezTo>
                <a:cubicBezTo>
                  <a:pt x="671144" y="1160843"/>
                  <a:pt x="667026" y="1151009"/>
                  <a:pt x="662462" y="1141464"/>
                </a:cubicBezTo>
                <a:cubicBezTo>
                  <a:pt x="659273" y="1134795"/>
                  <a:pt x="653671" y="1130908"/>
                  <a:pt x="645564" y="1131937"/>
                </a:cubicBezTo>
                <a:cubicBezTo>
                  <a:pt x="639532" y="1132703"/>
                  <a:pt x="633423" y="1132867"/>
                  <a:pt x="627387" y="1133618"/>
                </a:cubicBezTo>
                <a:cubicBezTo>
                  <a:pt x="612888" y="1135421"/>
                  <a:pt x="598449" y="1137770"/>
                  <a:pt x="583917" y="1139222"/>
                </a:cubicBezTo>
                <a:cubicBezTo>
                  <a:pt x="570571" y="1140557"/>
                  <a:pt x="557130" y="1140930"/>
                  <a:pt x="543741" y="1141869"/>
                </a:cubicBezTo>
                <a:cubicBezTo>
                  <a:pt x="533202" y="1142610"/>
                  <a:pt x="522682" y="1143623"/>
                  <a:pt x="512146" y="1144418"/>
                </a:cubicBezTo>
                <a:cubicBezTo>
                  <a:pt x="490671" y="1146038"/>
                  <a:pt x="469214" y="1148450"/>
                  <a:pt x="447711" y="1148973"/>
                </a:cubicBezTo>
                <a:cubicBezTo>
                  <a:pt x="415817" y="1149749"/>
                  <a:pt x="383891" y="1149136"/>
                  <a:pt x="351979" y="1149200"/>
                </a:cubicBezTo>
                <a:cubicBezTo>
                  <a:pt x="347698" y="1149209"/>
                  <a:pt x="343419" y="1149717"/>
                  <a:pt x="338443" y="1150040"/>
                </a:cubicBezTo>
                <a:cubicBezTo>
                  <a:pt x="338443" y="1164651"/>
                  <a:pt x="338413" y="1177715"/>
                  <a:pt x="338451" y="1190780"/>
                </a:cubicBezTo>
                <a:cubicBezTo>
                  <a:pt x="338490" y="1204031"/>
                  <a:pt x="338512" y="1204062"/>
                  <a:pt x="351082" y="1207015"/>
                </a:cubicBezTo>
                <a:cubicBezTo>
                  <a:pt x="353445" y="1207570"/>
                  <a:pt x="355895" y="1208128"/>
                  <a:pt x="358298" y="1208094"/>
                </a:cubicBezTo>
                <a:cubicBezTo>
                  <a:pt x="412608" y="1207329"/>
                  <a:pt x="466919" y="1206484"/>
                  <a:pt x="521229" y="1205646"/>
                </a:cubicBezTo>
                <a:cubicBezTo>
                  <a:pt x="522045" y="1205634"/>
                  <a:pt x="522865" y="1205591"/>
                  <a:pt x="523675" y="1205490"/>
                </a:cubicBezTo>
                <a:cubicBezTo>
                  <a:pt x="542593" y="1203123"/>
                  <a:pt x="561519" y="1200820"/>
                  <a:pt x="580423" y="1198350"/>
                </a:cubicBezTo>
                <a:cubicBezTo>
                  <a:pt x="598523" y="1195985"/>
                  <a:pt x="616599" y="1193446"/>
                  <a:pt x="636802" y="1190940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66" name="Free-form: Shape 265">
            <a:extLst>
              <a:ext uri="{FF2B5EF4-FFF2-40B4-BE49-F238E27FC236}">
                <a16:creationId xmlns:a16="http://schemas.microsoft.com/office/drawing/2014/main" id="{84C6F3E0-B8C6-AD9C-4983-EE0842AFD717}"/>
              </a:ext>
            </a:extLst>
          </p:cNvPr>
          <p:cNvSpPr/>
          <p:nvPr/>
        </p:nvSpPr>
        <p:spPr>
          <a:xfrm>
            <a:off x="8496839" y="5300081"/>
            <a:ext cx="17183" cy="1998"/>
          </a:xfrm>
          <a:custGeom>
            <a:avLst/>
            <a:gdLst>
              <a:gd name="csX0" fmla="*/ 0 w 27674"/>
              <a:gd name="csY0" fmla="*/ 2915 h 2925"/>
              <a:gd name="csX1" fmla="*/ 27675 w 27674"/>
              <a:gd name="csY1" fmla="*/ 1550 h 2925"/>
              <a:gd name="csX2" fmla="*/ 0 w 27674"/>
              <a:gd name="csY2" fmla="*/ 2915 h 292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27674" h="2925">
                <a:moveTo>
                  <a:pt x="0" y="2915"/>
                </a:moveTo>
                <a:cubicBezTo>
                  <a:pt x="8211" y="-1939"/>
                  <a:pt x="17625" y="498"/>
                  <a:pt x="27675" y="1550"/>
                </a:cubicBezTo>
                <a:cubicBezTo>
                  <a:pt x="19225" y="2593"/>
                  <a:pt x="10029" y="2999"/>
                  <a:pt x="0" y="2915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67" name="Free-form: Shape 266">
            <a:extLst>
              <a:ext uri="{FF2B5EF4-FFF2-40B4-BE49-F238E27FC236}">
                <a16:creationId xmlns:a16="http://schemas.microsoft.com/office/drawing/2014/main" id="{6FD35C3A-9991-7227-D548-DEB75A402F30}"/>
              </a:ext>
            </a:extLst>
          </p:cNvPr>
          <p:cNvSpPr/>
          <p:nvPr/>
        </p:nvSpPr>
        <p:spPr>
          <a:xfrm>
            <a:off x="8449535" y="5301208"/>
            <a:ext cx="11179" cy="770"/>
          </a:xfrm>
          <a:custGeom>
            <a:avLst/>
            <a:gdLst>
              <a:gd name="csX0" fmla="*/ 0 w 18003"/>
              <a:gd name="csY0" fmla="*/ 1050 h 1128"/>
              <a:gd name="csX1" fmla="*/ 18004 w 18003"/>
              <a:gd name="csY1" fmla="*/ 93 h 1128"/>
              <a:gd name="csX2" fmla="*/ 0 w 18003"/>
              <a:gd name="csY2" fmla="*/ 1050 h 112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8003" h="1128">
                <a:moveTo>
                  <a:pt x="0" y="1050"/>
                </a:moveTo>
                <a:cubicBezTo>
                  <a:pt x="5276" y="182"/>
                  <a:pt x="11306" y="-189"/>
                  <a:pt x="18004" y="93"/>
                </a:cubicBezTo>
                <a:cubicBezTo>
                  <a:pt x="12699" y="1013"/>
                  <a:pt x="6726" y="1280"/>
                  <a:pt x="0" y="1050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68" name="Free-form: Shape 267">
            <a:extLst>
              <a:ext uri="{FF2B5EF4-FFF2-40B4-BE49-F238E27FC236}">
                <a16:creationId xmlns:a16="http://schemas.microsoft.com/office/drawing/2014/main" id="{19A5FBD5-642D-5F41-B779-BB62067FF909}"/>
              </a:ext>
            </a:extLst>
          </p:cNvPr>
          <p:cNvSpPr/>
          <p:nvPr/>
        </p:nvSpPr>
        <p:spPr>
          <a:xfrm>
            <a:off x="8530502" y="4677728"/>
            <a:ext cx="5257" cy="5354"/>
          </a:xfrm>
          <a:custGeom>
            <a:avLst/>
            <a:gdLst>
              <a:gd name="csX0" fmla="*/ 473 w 8466"/>
              <a:gd name="csY0" fmla="*/ 7839 h 7838"/>
              <a:gd name="csX1" fmla="*/ 8466 w 8466"/>
              <a:gd name="csY1" fmla="*/ 61 h 7838"/>
              <a:gd name="csX2" fmla="*/ 473 w 8466"/>
              <a:gd name="csY2" fmla="*/ 7839 h 783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66" h="7838">
                <a:moveTo>
                  <a:pt x="473" y="7839"/>
                </a:moveTo>
                <a:cubicBezTo>
                  <a:pt x="-1298" y="1550"/>
                  <a:pt x="2020" y="-386"/>
                  <a:pt x="8466" y="61"/>
                </a:cubicBezTo>
                <a:cubicBezTo>
                  <a:pt x="6730" y="2845"/>
                  <a:pt x="4026" y="5401"/>
                  <a:pt x="473" y="7839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69" name="Free-form: Shape 268">
            <a:extLst>
              <a:ext uri="{FF2B5EF4-FFF2-40B4-BE49-F238E27FC236}">
                <a16:creationId xmlns:a16="http://schemas.microsoft.com/office/drawing/2014/main" id="{08C587D9-9FB5-92C0-2297-18CB016D0A20}"/>
              </a:ext>
            </a:extLst>
          </p:cNvPr>
          <p:cNvSpPr/>
          <p:nvPr/>
        </p:nvSpPr>
        <p:spPr>
          <a:xfrm>
            <a:off x="8394506" y="5299542"/>
            <a:ext cx="5265" cy="680"/>
          </a:xfrm>
          <a:custGeom>
            <a:avLst/>
            <a:gdLst>
              <a:gd name="csX0" fmla="*/ 0 w 8480"/>
              <a:gd name="csY0" fmla="*/ 896 h 996"/>
              <a:gd name="csX1" fmla="*/ 8480 w 8480"/>
              <a:gd name="csY1" fmla="*/ 110 h 996"/>
              <a:gd name="csX2" fmla="*/ 0 w 8480"/>
              <a:gd name="csY2" fmla="*/ 896 h 99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80" h="996">
                <a:moveTo>
                  <a:pt x="0" y="896"/>
                </a:moveTo>
                <a:cubicBezTo>
                  <a:pt x="2285" y="115"/>
                  <a:pt x="5130" y="-182"/>
                  <a:pt x="8480" y="110"/>
                </a:cubicBezTo>
                <a:cubicBezTo>
                  <a:pt x="6177" y="927"/>
                  <a:pt x="3368" y="1153"/>
                  <a:pt x="0" y="896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70" name="Free-form: Shape 269">
            <a:extLst>
              <a:ext uri="{FF2B5EF4-FFF2-40B4-BE49-F238E27FC236}">
                <a16:creationId xmlns:a16="http://schemas.microsoft.com/office/drawing/2014/main" id="{340BF9A5-892B-12C7-97DC-FB4035C1074F}"/>
              </a:ext>
            </a:extLst>
          </p:cNvPr>
          <p:cNvSpPr/>
          <p:nvPr/>
        </p:nvSpPr>
        <p:spPr>
          <a:xfrm>
            <a:off x="8681267" y="5270361"/>
            <a:ext cx="763" cy="4547"/>
          </a:xfrm>
          <a:custGeom>
            <a:avLst/>
            <a:gdLst>
              <a:gd name="csX0" fmla="*/ 132 w 1229"/>
              <a:gd name="csY0" fmla="*/ 6659 h 6658"/>
              <a:gd name="csX1" fmla="*/ 1107 w 1229"/>
              <a:gd name="csY1" fmla="*/ 0 h 6658"/>
              <a:gd name="csX2" fmla="*/ 132 w 1229"/>
              <a:gd name="csY2" fmla="*/ 6659 h 665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229" h="6658">
                <a:moveTo>
                  <a:pt x="132" y="6659"/>
                </a:moveTo>
                <a:cubicBezTo>
                  <a:pt x="-219" y="4616"/>
                  <a:pt x="139" y="2560"/>
                  <a:pt x="1107" y="0"/>
                </a:cubicBezTo>
                <a:cubicBezTo>
                  <a:pt x="1425" y="1879"/>
                  <a:pt x="1133" y="4263"/>
                  <a:pt x="132" y="6659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71" name="Free-form: Shape 270">
            <a:extLst>
              <a:ext uri="{FF2B5EF4-FFF2-40B4-BE49-F238E27FC236}">
                <a16:creationId xmlns:a16="http://schemas.microsoft.com/office/drawing/2014/main" id="{9B26A34F-8C18-7720-413D-02AFE65067BE}"/>
              </a:ext>
            </a:extLst>
          </p:cNvPr>
          <p:cNvSpPr/>
          <p:nvPr/>
        </p:nvSpPr>
        <p:spPr>
          <a:xfrm>
            <a:off x="8614071" y="5292666"/>
            <a:ext cx="2352" cy="932"/>
          </a:xfrm>
          <a:custGeom>
            <a:avLst/>
            <a:gdLst>
              <a:gd name="csX0" fmla="*/ 0 w 3788"/>
              <a:gd name="csY0" fmla="*/ 1364 h 1364"/>
              <a:gd name="csX1" fmla="*/ 3788 w 3788"/>
              <a:gd name="csY1" fmla="*/ 0 h 1364"/>
              <a:gd name="csX2" fmla="*/ 0 w 3788"/>
              <a:gd name="csY2" fmla="*/ 1364 h 136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788" h="1364">
                <a:moveTo>
                  <a:pt x="0" y="1364"/>
                </a:moveTo>
                <a:cubicBezTo>
                  <a:pt x="856" y="517"/>
                  <a:pt x="2126" y="39"/>
                  <a:pt x="3788" y="0"/>
                </a:cubicBezTo>
                <a:cubicBezTo>
                  <a:pt x="2925" y="870"/>
                  <a:pt x="1670" y="1303"/>
                  <a:pt x="0" y="1364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72" name="Free-form: Shape 271">
            <a:extLst>
              <a:ext uri="{FF2B5EF4-FFF2-40B4-BE49-F238E27FC236}">
                <a16:creationId xmlns:a16="http://schemas.microsoft.com/office/drawing/2014/main" id="{D0CA2C72-85FC-6188-3096-4611D0A6E1C4}"/>
              </a:ext>
            </a:extLst>
          </p:cNvPr>
          <p:cNvSpPr/>
          <p:nvPr/>
        </p:nvSpPr>
        <p:spPr>
          <a:xfrm>
            <a:off x="8342488" y="5296267"/>
            <a:ext cx="2478" cy="566"/>
          </a:xfrm>
          <a:custGeom>
            <a:avLst/>
            <a:gdLst>
              <a:gd name="csX0" fmla="*/ 0 w 3990"/>
              <a:gd name="csY0" fmla="*/ 719 h 829"/>
              <a:gd name="csX1" fmla="*/ 3990 w 3990"/>
              <a:gd name="csY1" fmla="*/ 119 h 829"/>
              <a:gd name="csX2" fmla="*/ 0 w 3990"/>
              <a:gd name="csY2" fmla="*/ 719 h 82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990" h="829">
                <a:moveTo>
                  <a:pt x="0" y="719"/>
                </a:moveTo>
                <a:cubicBezTo>
                  <a:pt x="982" y="66"/>
                  <a:pt x="2323" y="-163"/>
                  <a:pt x="3990" y="119"/>
                </a:cubicBezTo>
                <a:cubicBezTo>
                  <a:pt x="2998" y="800"/>
                  <a:pt x="1678" y="972"/>
                  <a:pt x="0" y="719"/>
                </a:cubicBezTo>
                <a:close/>
              </a:path>
            </a:pathLst>
          </a:custGeom>
          <a:solidFill>
            <a:srgbClr val="959DA0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73" name="Free-form: Shape 272">
            <a:extLst>
              <a:ext uri="{FF2B5EF4-FFF2-40B4-BE49-F238E27FC236}">
                <a16:creationId xmlns:a16="http://schemas.microsoft.com/office/drawing/2014/main" id="{C03BBF38-FE7B-3FAB-4087-31DB4B0F0D7A}"/>
              </a:ext>
            </a:extLst>
          </p:cNvPr>
          <p:cNvSpPr/>
          <p:nvPr/>
        </p:nvSpPr>
        <p:spPr>
          <a:xfrm>
            <a:off x="8553036" y="5299519"/>
            <a:ext cx="2417" cy="775"/>
          </a:xfrm>
          <a:custGeom>
            <a:avLst/>
            <a:gdLst>
              <a:gd name="csX0" fmla="*/ 0 w 3893"/>
              <a:gd name="csY0" fmla="*/ 1133 h 1135"/>
              <a:gd name="csX1" fmla="*/ 3893 w 3893"/>
              <a:gd name="csY1" fmla="*/ 7 h 1135"/>
              <a:gd name="csX2" fmla="*/ 0 w 3893"/>
              <a:gd name="csY2" fmla="*/ 1133 h 113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893" h="1135">
                <a:moveTo>
                  <a:pt x="0" y="1133"/>
                </a:moveTo>
                <a:cubicBezTo>
                  <a:pt x="902" y="349"/>
                  <a:pt x="2213" y="-60"/>
                  <a:pt x="3893" y="7"/>
                </a:cubicBezTo>
                <a:cubicBezTo>
                  <a:pt x="2978" y="825"/>
                  <a:pt x="1693" y="1167"/>
                  <a:pt x="0" y="1133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74" name="Free-form: Shape 273">
            <a:extLst>
              <a:ext uri="{FF2B5EF4-FFF2-40B4-BE49-F238E27FC236}">
                <a16:creationId xmlns:a16="http://schemas.microsoft.com/office/drawing/2014/main" id="{A49AEA07-7A5D-CF88-2B9D-3572BF52B691}"/>
              </a:ext>
            </a:extLst>
          </p:cNvPr>
          <p:cNvSpPr/>
          <p:nvPr/>
        </p:nvSpPr>
        <p:spPr>
          <a:xfrm>
            <a:off x="8453440" y="4766387"/>
            <a:ext cx="112588" cy="275447"/>
          </a:xfrm>
          <a:custGeom>
            <a:avLst/>
            <a:gdLst>
              <a:gd name="csX0" fmla="*/ 7554 w 181323"/>
              <a:gd name="csY0" fmla="*/ 172079 h 403282"/>
              <a:gd name="csX1" fmla="*/ 9716 w 181323"/>
              <a:gd name="csY1" fmla="*/ 130641 h 403282"/>
              <a:gd name="csX2" fmla="*/ 7663 w 181323"/>
              <a:gd name="csY2" fmla="*/ 113770 h 403282"/>
              <a:gd name="csX3" fmla="*/ 7598 w 181323"/>
              <a:gd name="csY3" fmla="*/ 8165 h 403282"/>
              <a:gd name="csX4" fmla="*/ 8353 w 181323"/>
              <a:gd name="csY4" fmla="*/ 1259 h 403282"/>
              <a:gd name="csX5" fmla="*/ 17767 w 181323"/>
              <a:gd name="csY5" fmla="*/ 93 h 403282"/>
              <a:gd name="csX6" fmla="*/ 77938 w 181323"/>
              <a:gd name="csY6" fmla="*/ 50 h 403282"/>
              <a:gd name="csX7" fmla="*/ 91081 w 181323"/>
              <a:gd name="csY7" fmla="*/ 10962 h 403282"/>
              <a:gd name="csX8" fmla="*/ 93691 w 181323"/>
              <a:gd name="csY8" fmla="*/ 60963 h 403282"/>
              <a:gd name="csX9" fmla="*/ 100157 w 181323"/>
              <a:gd name="csY9" fmla="*/ 121501 h 403282"/>
              <a:gd name="csX10" fmla="*/ 105540 w 181323"/>
              <a:gd name="csY10" fmla="*/ 158857 h 403282"/>
              <a:gd name="csX11" fmla="*/ 121116 w 181323"/>
              <a:gd name="csY11" fmla="*/ 235269 h 403282"/>
              <a:gd name="csX12" fmla="*/ 152823 w 181323"/>
              <a:gd name="csY12" fmla="*/ 338010 h 403282"/>
              <a:gd name="csX13" fmla="*/ 170877 w 181323"/>
              <a:gd name="csY13" fmla="*/ 378027 h 403282"/>
              <a:gd name="csX14" fmla="*/ 178114 w 181323"/>
              <a:gd name="csY14" fmla="*/ 387682 h 403282"/>
              <a:gd name="csX15" fmla="*/ 181150 w 181323"/>
              <a:gd name="csY15" fmla="*/ 395764 h 403282"/>
              <a:gd name="csX16" fmla="*/ 173480 w 181323"/>
              <a:gd name="csY16" fmla="*/ 402568 h 403282"/>
              <a:gd name="csX17" fmla="*/ 160067 w 181323"/>
              <a:gd name="csY17" fmla="*/ 402936 h 403282"/>
              <a:gd name="csX18" fmla="*/ 121081 w 181323"/>
              <a:gd name="csY18" fmla="*/ 400766 h 403282"/>
              <a:gd name="csX19" fmla="*/ 70912 w 181323"/>
              <a:gd name="csY19" fmla="*/ 401955 h 403282"/>
              <a:gd name="csX20" fmla="*/ 7630 w 181323"/>
              <a:gd name="csY20" fmla="*/ 402999 h 403282"/>
              <a:gd name="csX21" fmla="*/ 710 w 181323"/>
              <a:gd name="csY21" fmla="*/ 401995 h 403282"/>
              <a:gd name="csX22" fmla="*/ 1308 w 181323"/>
              <a:gd name="csY22" fmla="*/ 356708 h 403282"/>
              <a:gd name="csX23" fmla="*/ 2554 w 181323"/>
              <a:gd name="csY23" fmla="*/ 349510 h 403282"/>
              <a:gd name="csX24" fmla="*/ 5071 w 181323"/>
              <a:gd name="csY24" fmla="*/ 271231 h 403282"/>
              <a:gd name="csX25" fmla="*/ 7554 w 181323"/>
              <a:gd name="csY25" fmla="*/ 172079 h 403282"/>
              <a:gd name="csX26" fmla="*/ 98286 w 181323"/>
              <a:gd name="csY26" fmla="*/ 163566 h 403282"/>
              <a:gd name="csX27" fmla="*/ 83497 w 181323"/>
              <a:gd name="csY27" fmla="*/ 8289 h 403282"/>
              <a:gd name="csX28" fmla="*/ 15161 w 181323"/>
              <a:gd name="csY28" fmla="*/ 9148 h 403282"/>
              <a:gd name="csX29" fmla="*/ 15058 w 181323"/>
              <a:gd name="csY29" fmla="*/ 137939 h 403282"/>
              <a:gd name="csX30" fmla="*/ 12252 w 181323"/>
              <a:gd name="csY30" fmla="*/ 266862 h 403282"/>
              <a:gd name="csX31" fmla="*/ 7068 w 181323"/>
              <a:gd name="csY31" fmla="*/ 395996 h 403282"/>
              <a:gd name="csX32" fmla="*/ 171647 w 181323"/>
              <a:gd name="csY32" fmla="*/ 395996 h 403282"/>
              <a:gd name="csX33" fmla="*/ 119950 w 181323"/>
              <a:gd name="csY33" fmla="*/ 259496 h 403282"/>
              <a:gd name="csX34" fmla="*/ 98286 w 181323"/>
              <a:gd name="csY34" fmla="*/ 163566 h 40328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</a:cxnLst>
            <a:rect l="l" t="t" r="r" b="b"/>
            <a:pathLst>
              <a:path w="181323" h="403282">
                <a:moveTo>
                  <a:pt x="7554" y="172079"/>
                </a:moveTo>
                <a:cubicBezTo>
                  <a:pt x="8325" y="157451"/>
                  <a:pt x="9408" y="144055"/>
                  <a:pt x="9716" y="130641"/>
                </a:cubicBezTo>
                <a:cubicBezTo>
                  <a:pt x="9846" y="125037"/>
                  <a:pt x="7695" y="119399"/>
                  <a:pt x="7663" y="113770"/>
                </a:cubicBezTo>
                <a:cubicBezTo>
                  <a:pt x="7461" y="78569"/>
                  <a:pt x="7554" y="43367"/>
                  <a:pt x="7598" y="8165"/>
                </a:cubicBezTo>
                <a:cubicBezTo>
                  <a:pt x="7600" y="6167"/>
                  <a:pt x="8022" y="4170"/>
                  <a:pt x="8353" y="1259"/>
                </a:cubicBezTo>
                <a:cubicBezTo>
                  <a:pt x="11568" y="842"/>
                  <a:pt x="14666" y="109"/>
                  <a:pt x="17767" y="93"/>
                </a:cubicBezTo>
                <a:cubicBezTo>
                  <a:pt x="37824" y="-17"/>
                  <a:pt x="57881" y="-27"/>
                  <a:pt x="77938" y="50"/>
                </a:cubicBezTo>
                <a:cubicBezTo>
                  <a:pt x="89177" y="93"/>
                  <a:pt x="90068" y="113"/>
                  <a:pt x="91081" y="10962"/>
                </a:cubicBezTo>
                <a:cubicBezTo>
                  <a:pt x="92631" y="27565"/>
                  <a:pt x="92329" y="44335"/>
                  <a:pt x="93691" y="60963"/>
                </a:cubicBezTo>
                <a:cubicBezTo>
                  <a:pt x="95348" y="81184"/>
                  <a:pt x="97732" y="101353"/>
                  <a:pt x="100157" y="121501"/>
                </a:cubicBezTo>
                <a:cubicBezTo>
                  <a:pt x="101660" y="133990"/>
                  <a:pt x="104521" y="146343"/>
                  <a:pt x="105540" y="158857"/>
                </a:cubicBezTo>
                <a:cubicBezTo>
                  <a:pt x="107671" y="184993"/>
                  <a:pt x="114147" y="210249"/>
                  <a:pt x="121116" y="235269"/>
                </a:cubicBezTo>
                <a:cubicBezTo>
                  <a:pt x="130731" y="269786"/>
                  <a:pt x="141516" y="304004"/>
                  <a:pt x="152823" y="338010"/>
                </a:cubicBezTo>
                <a:cubicBezTo>
                  <a:pt x="157418" y="351828"/>
                  <a:pt x="164524" y="364837"/>
                  <a:pt x="170877" y="378027"/>
                </a:cubicBezTo>
                <a:cubicBezTo>
                  <a:pt x="172587" y="381579"/>
                  <a:pt x="175985" y="384280"/>
                  <a:pt x="178114" y="387682"/>
                </a:cubicBezTo>
                <a:cubicBezTo>
                  <a:pt x="179669" y="390165"/>
                  <a:pt x="181977" y="393824"/>
                  <a:pt x="181150" y="395764"/>
                </a:cubicBezTo>
                <a:cubicBezTo>
                  <a:pt x="179907" y="398676"/>
                  <a:pt x="176540" y="401705"/>
                  <a:pt x="173480" y="402568"/>
                </a:cubicBezTo>
                <a:cubicBezTo>
                  <a:pt x="169302" y="403746"/>
                  <a:pt x="164551" y="403164"/>
                  <a:pt x="160067" y="402936"/>
                </a:cubicBezTo>
                <a:cubicBezTo>
                  <a:pt x="147066" y="402274"/>
                  <a:pt x="134081" y="400859"/>
                  <a:pt x="121081" y="400766"/>
                </a:cubicBezTo>
                <a:cubicBezTo>
                  <a:pt x="104362" y="400647"/>
                  <a:pt x="87638" y="401607"/>
                  <a:pt x="70912" y="401955"/>
                </a:cubicBezTo>
                <a:cubicBezTo>
                  <a:pt x="49820" y="402394"/>
                  <a:pt x="28725" y="402712"/>
                  <a:pt x="7630" y="402999"/>
                </a:cubicBezTo>
                <a:cubicBezTo>
                  <a:pt x="5684" y="403026"/>
                  <a:pt x="3731" y="402452"/>
                  <a:pt x="710" y="401995"/>
                </a:cubicBezTo>
                <a:cubicBezTo>
                  <a:pt x="219" y="386620"/>
                  <a:pt x="-871" y="371682"/>
                  <a:pt x="1308" y="356708"/>
                </a:cubicBezTo>
                <a:cubicBezTo>
                  <a:pt x="1659" y="354298"/>
                  <a:pt x="2471" y="351920"/>
                  <a:pt x="2554" y="349510"/>
                </a:cubicBezTo>
                <a:cubicBezTo>
                  <a:pt x="3459" y="323419"/>
                  <a:pt x="4345" y="297328"/>
                  <a:pt x="5071" y="271231"/>
                </a:cubicBezTo>
                <a:cubicBezTo>
                  <a:pt x="5979" y="238591"/>
                  <a:pt x="6733" y="205947"/>
                  <a:pt x="7554" y="172079"/>
                </a:cubicBezTo>
                <a:moveTo>
                  <a:pt x="98286" y="163566"/>
                </a:moveTo>
                <a:cubicBezTo>
                  <a:pt x="89288" y="112116"/>
                  <a:pt x="86355" y="60033"/>
                  <a:pt x="83497" y="8289"/>
                </a:cubicBezTo>
                <a:cubicBezTo>
                  <a:pt x="65606" y="5845"/>
                  <a:pt x="24110" y="6470"/>
                  <a:pt x="15161" y="9148"/>
                </a:cubicBezTo>
                <a:cubicBezTo>
                  <a:pt x="15161" y="52045"/>
                  <a:pt x="15527" y="94996"/>
                  <a:pt x="15058" y="137939"/>
                </a:cubicBezTo>
                <a:cubicBezTo>
                  <a:pt x="14587" y="180919"/>
                  <a:pt x="13597" y="223900"/>
                  <a:pt x="12252" y="266862"/>
                </a:cubicBezTo>
                <a:cubicBezTo>
                  <a:pt x="10912" y="309638"/>
                  <a:pt x="8849" y="352391"/>
                  <a:pt x="7068" y="395996"/>
                </a:cubicBezTo>
                <a:cubicBezTo>
                  <a:pt x="62774" y="395996"/>
                  <a:pt x="116821" y="395996"/>
                  <a:pt x="171647" y="395996"/>
                </a:cubicBezTo>
                <a:cubicBezTo>
                  <a:pt x="148550" y="352016"/>
                  <a:pt x="132566" y="306307"/>
                  <a:pt x="119950" y="259496"/>
                </a:cubicBezTo>
                <a:cubicBezTo>
                  <a:pt x="111608" y="228543"/>
                  <a:pt x="105493" y="196989"/>
                  <a:pt x="98286" y="163566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75" name="Free-form: Shape 274">
            <a:extLst>
              <a:ext uri="{FF2B5EF4-FFF2-40B4-BE49-F238E27FC236}">
                <a16:creationId xmlns:a16="http://schemas.microsoft.com/office/drawing/2014/main" id="{3A93D81A-83C1-F5CF-21A1-3853B0FF393A}"/>
              </a:ext>
            </a:extLst>
          </p:cNvPr>
          <p:cNvSpPr/>
          <p:nvPr/>
        </p:nvSpPr>
        <p:spPr>
          <a:xfrm>
            <a:off x="8455071" y="5224517"/>
            <a:ext cx="209255" cy="52128"/>
          </a:xfrm>
          <a:custGeom>
            <a:avLst/>
            <a:gdLst>
              <a:gd name="csX0" fmla="*/ 297312 w 337008"/>
              <a:gd name="csY0" fmla="*/ 59188 h 76321"/>
              <a:gd name="csX1" fmla="*/ 241991 w 337008"/>
              <a:gd name="csY1" fmla="*/ 66577 h 76321"/>
              <a:gd name="csX2" fmla="*/ 185243 w 337008"/>
              <a:gd name="csY2" fmla="*/ 73717 h 76321"/>
              <a:gd name="csX3" fmla="*/ 182797 w 337008"/>
              <a:gd name="csY3" fmla="*/ 73873 h 76321"/>
              <a:gd name="csX4" fmla="*/ 19866 w 337008"/>
              <a:gd name="csY4" fmla="*/ 76320 h 76321"/>
              <a:gd name="csX5" fmla="*/ 12650 w 337008"/>
              <a:gd name="csY5" fmla="*/ 75242 h 76321"/>
              <a:gd name="csX6" fmla="*/ 19 w 337008"/>
              <a:gd name="csY6" fmla="*/ 59006 h 76321"/>
              <a:gd name="csX7" fmla="*/ 11 w 337008"/>
              <a:gd name="csY7" fmla="*/ 18266 h 76321"/>
              <a:gd name="csX8" fmla="*/ 13547 w 337008"/>
              <a:gd name="csY8" fmla="*/ 17427 h 76321"/>
              <a:gd name="csX9" fmla="*/ 109279 w 337008"/>
              <a:gd name="csY9" fmla="*/ 17200 h 76321"/>
              <a:gd name="csX10" fmla="*/ 173714 w 337008"/>
              <a:gd name="csY10" fmla="*/ 12645 h 76321"/>
              <a:gd name="csX11" fmla="*/ 205309 w 337008"/>
              <a:gd name="csY11" fmla="*/ 10096 h 76321"/>
              <a:gd name="csX12" fmla="*/ 245485 w 337008"/>
              <a:gd name="csY12" fmla="*/ 7449 h 76321"/>
              <a:gd name="csX13" fmla="*/ 288955 w 337008"/>
              <a:gd name="csY13" fmla="*/ 1844 h 76321"/>
              <a:gd name="csX14" fmla="*/ 307132 w 337008"/>
              <a:gd name="csY14" fmla="*/ 164 h 76321"/>
              <a:gd name="csX15" fmla="*/ 324030 w 337008"/>
              <a:gd name="csY15" fmla="*/ 9691 h 76321"/>
              <a:gd name="csX16" fmla="*/ 336033 w 337008"/>
              <a:gd name="csY16" fmla="*/ 39107 h 76321"/>
              <a:gd name="csX17" fmla="*/ 328060 w 337008"/>
              <a:gd name="csY17" fmla="*/ 52413 h 76321"/>
              <a:gd name="csX18" fmla="*/ 297312 w 337008"/>
              <a:gd name="csY18" fmla="*/ 59188 h 76321"/>
              <a:gd name="csX19" fmla="*/ 207688 w 337008"/>
              <a:gd name="csY19" fmla="*/ 64284 h 76321"/>
              <a:gd name="csX20" fmla="*/ 330050 w 337008"/>
              <a:gd name="csY20" fmla="*/ 45606 h 76321"/>
              <a:gd name="csX21" fmla="*/ 317356 w 337008"/>
              <a:gd name="csY21" fmla="*/ 11297 h 76321"/>
              <a:gd name="csX22" fmla="*/ 304170 w 337008"/>
              <a:gd name="csY22" fmla="*/ 5545 h 76321"/>
              <a:gd name="csX23" fmla="*/ 273851 w 337008"/>
              <a:gd name="csY23" fmla="*/ 10014 h 76321"/>
              <a:gd name="csX24" fmla="*/ 163935 w 337008"/>
              <a:gd name="csY24" fmla="*/ 20274 h 76321"/>
              <a:gd name="csX25" fmla="*/ 17973 w 337008"/>
              <a:gd name="csY25" fmla="*/ 22950 h 76321"/>
              <a:gd name="csX26" fmla="*/ 7372 w 337008"/>
              <a:gd name="csY26" fmla="*/ 23601 h 76321"/>
              <a:gd name="csX27" fmla="*/ 7372 w 337008"/>
              <a:gd name="csY27" fmla="*/ 67898 h 76321"/>
              <a:gd name="csX28" fmla="*/ 207688 w 337008"/>
              <a:gd name="csY28" fmla="*/ 64284 h 7632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</a:cxnLst>
            <a:rect l="l" t="t" r="r" b="b"/>
            <a:pathLst>
              <a:path w="337008" h="76321">
                <a:moveTo>
                  <a:pt x="297312" y="59188"/>
                </a:moveTo>
                <a:cubicBezTo>
                  <a:pt x="278167" y="61672"/>
                  <a:pt x="260091" y="64212"/>
                  <a:pt x="241991" y="66577"/>
                </a:cubicBezTo>
                <a:cubicBezTo>
                  <a:pt x="223087" y="69047"/>
                  <a:pt x="204161" y="71350"/>
                  <a:pt x="185243" y="73717"/>
                </a:cubicBezTo>
                <a:cubicBezTo>
                  <a:pt x="184433" y="73818"/>
                  <a:pt x="183613" y="73861"/>
                  <a:pt x="182797" y="73873"/>
                </a:cubicBezTo>
                <a:cubicBezTo>
                  <a:pt x="128487" y="74710"/>
                  <a:pt x="74176" y="75556"/>
                  <a:pt x="19866" y="76320"/>
                </a:cubicBezTo>
                <a:cubicBezTo>
                  <a:pt x="17463" y="76354"/>
                  <a:pt x="15013" y="75797"/>
                  <a:pt x="12650" y="75242"/>
                </a:cubicBezTo>
                <a:cubicBezTo>
                  <a:pt x="80" y="72288"/>
                  <a:pt x="58" y="72258"/>
                  <a:pt x="19" y="59006"/>
                </a:cubicBezTo>
                <a:cubicBezTo>
                  <a:pt x="-19" y="45942"/>
                  <a:pt x="11" y="32877"/>
                  <a:pt x="11" y="18266"/>
                </a:cubicBezTo>
                <a:cubicBezTo>
                  <a:pt x="4987" y="17944"/>
                  <a:pt x="9266" y="17435"/>
                  <a:pt x="13547" y="17427"/>
                </a:cubicBezTo>
                <a:cubicBezTo>
                  <a:pt x="45459" y="17362"/>
                  <a:pt x="77385" y="17975"/>
                  <a:pt x="109279" y="17200"/>
                </a:cubicBezTo>
                <a:cubicBezTo>
                  <a:pt x="130782" y="16677"/>
                  <a:pt x="152239" y="14265"/>
                  <a:pt x="173714" y="12645"/>
                </a:cubicBezTo>
                <a:cubicBezTo>
                  <a:pt x="184250" y="11850"/>
                  <a:pt x="194770" y="10836"/>
                  <a:pt x="205309" y="10096"/>
                </a:cubicBezTo>
                <a:cubicBezTo>
                  <a:pt x="218698" y="9156"/>
                  <a:pt x="232139" y="8783"/>
                  <a:pt x="245485" y="7449"/>
                </a:cubicBezTo>
                <a:cubicBezTo>
                  <a:pt x="260017" y="5997"/>
                  <a:pt x="274456" y="3648"/>
                  <a:pt x="288955" y="1844"/>
                </a:cubicBezTo>
                <a:cubicBezTo>
                  <a:pt x="294991" y="1094"/>
                  <a:pt x="301100" y="930"/>
                  <a:pt x="307132" y="164"/>
                </a:cubicBezTo>
                <a:cubicBezTo>
                  <a:pt x="315239" y="-865"/>
                  <a:pt x="320841" y="3022"/>
                  <a:pt x="324030" y="9691"/>
                </a:cubicBezTo>
                <a:cubicBezTo>
                  <a:pt x="328594" y="19236"/>
                  <a:pt x="332712" y="29070"/>
                  <a:pt x="336033" y="39107"/>
                </a:cubicBezTo>
                <a:cubicBezTo>
                  <a:pt x="338557" y="46735"/>
                  <a:pt x="336278" y="50185"/>
                  <a:pt x="328060" y="52413"/>
                </a:cubicBezTo>
                <a:cubicBezTo>
                  <a:pt x="318273" y="55068"/>
                  <a:pt x="308277" y="56950"/>
                  <a:pt x="297312" y="59188"/>
                </a:cubicBezTo>
                <a:moveTo>
                  <a:pt x="207688" y="64284"/>
                </a:moveTo>
                <a:cubicBezTo>
                  <a:pt x="248681" y="60632"/>
                  <a:pt x="289317" y="54812"/>
                  <a:pt x="330050" y="45606"/>
                </a:cubicBezTo>
                <a:cubicBezTo>
                  <a:pt x="327603" y="32443"/>
                  <a:pt x="323777" y="21532"/>
                  <a:pt x="317356" y="11297"/>
                </a:cubicBezTo>
                <a:cubicBezTo>
                  <a:pt x="313908" y="5803"/>
                  <a:pt x="310145" y="4465"/>
                  <a:pt x="304170" y="5545"/>
                </a:cubicBezTo>
                <a:cubicBezTo>
                  <a:pt x="294121" y="7361"/>
                  <a:pt x="284007" y="9006"/>
                  <a:pt x="273851" y="10014"/>
                </a:cubicBezTo>
                <a:cubicBezTo>
                  <a:pt x="237233" y="13650"/>
                  <a:pt x="200632" y="17661"/>
                  <a:pt x="163935" y="20274"/>
                </a:cubicBezTo>
                <a:cubicBezTo>
                  <a:pt x="115360" y="23734"/>
                  <a:pt x="66701" y="25937"/>
                  <a:pt x="17973" y="22950"/>
                </a:cubicBezTo>
                <a:cubicBezTo>
                  <a:pt x="14492" y="22737"/>
                  <a:pt x="10959" y="23361"/>
                  <a:pt x="7372" y="23601"/>
                </a:cubicBezTo>
                <a:cubicBezTo>
                  <a:pt x="7372" y="38609"/>
                  <a:pt x="7372" y="52361"/>
                  <a:pt x="7372" y="67898"/>
                </a:cubicBezTo>
                <a:cubicBezTo>
                  <a:pt x="74001" y="69806"/>
                  <a:pt x="139746" y="71025"/>
                  <a:pt x="207688" y="64284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94" name="Free-form: Shape 293">
            <a:extLst>
              <a:ext uri="{FF2B5EF4-FFF2-40B4-BE49-F238E27FC236}">
                <a16:creationId xmlns:a16="http://schemas.microsoft.com/office/drawing/2014/main" id="{E2635EE2-4B78-D67D-2088-0C7553C2ABCE}"/>
              </a:ext>
            </a:extLst>
          </p:cNvPr>
          <p:cNvSpPr/>
          <p:nvPr/>
        </p:nvSpPr>
        <p:spPr>
          <a:xfrm>
            <a:off x="8458804" y="5063418"/>
            <a:ext cx="188426" cy="145956"/>
          </a:xfrm>
          <a:custGeom>
            <a:avLst/>
            <a:gdLst>
              <a:gd name="csX0" fmla="*/ 14160 w 303463"/>
              <a:gd name="csY0" fmla="*/ 7889 h 213695"/>
              <a:gd name="csX1" fmla="*/ 195033 w 303463"/>
              <a:gd name="csY1" fmla="*/ 0 h 213695"/>
              <a:gd name="csX2" fmla="*/ 197208 w 303463"/>
              <a:gd name="csY2" fmla="*/ 5635 h 213695"/>
              <a:gd name="csX3" fmla="*/ 227014 w 303463"/>
              <a:gd name="csY3" fmla="*/ 60660 h 213695"/>
              <a:gd name="csX4" fmla="*/ 265823 w 303463"/>
              <a:gd name="csY4" fmla="*/ 98217 h 213695"/>
              <a:gd name="csX5" fmla="*/ 303210 w 303463"/>
              <a:gd name="csY5" fmla="*/ 180358 h 213695"/>
              <a:gd name="csX6" fmla="*/ 303282 w 303463"/>
              <a:gd name="csY6" fmla="*/ 193964 h 213695"/>
              <a:gd name="csX7" fmla="*/ 4971 w 303463"/>
              <a:gd name="csY7" fmla="*/ 213017 h 213695"/>
              <a:gd name="csX8" fmla="*/ 5093 w 303463"/>
              <a:gd name="csY8" fmla="*/ 173484 h 213695"/>
              <a:gd name="csX9" fmla="*/ 4767 w 303463"/>
              <a:gd name="csY9" fmla="*/ 54607 h 213695"/>
              <a:gd name="csX10" fmla="*/ 0 w 303463"/>
              <a:gd name="csY10" fmla="*/ 7887 h 213695"/>
              <a:gd name="csX11" fmla="*/ 14160 w 303463"/>
              <a:gd name="csY11" fmla="*/ 7889 h 21369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303463" h="213695">
                <a:moveTo>
                  <a:pt x="14160" y="7889"/>
                </a:moveTo>
                <a:cubicBezTo>
                  <a:pt x="75371" y="8627"/>
                  <a:pt x="135292" y="5744"/>
                  <a:pt x="195033" y="0"/>
                </a:cubicBezTo>
                <a:cubicBezTo>
                  <a:pt x="196084" y="2662"/>
                  <a:pt x="196986" y="4099"/>
                  <a:pt x="197208" y="5635"/>
                </a:cubicBezTo>
                <a:cubicBezTo>
                  <a:pt x="200391" y="27650"/>
                  <a:pt x="211307" y="45450"/>
                  <a:pt x="227014" y="60660"/>
                </a:cubicBezTo>
                <a:cubicBezTo>
                  <a:pt x="239947" y="73182"/>
                  <a:pt x="253006" y="85577"/>
                  <a:pt x="265823" y="98217"/>
                </a:cubicBezTo>
                <a:cubicBezTo>
                  <a:pt x="288727" y="120806"/>
                  <a:pt x="299071" y="149215"/>
                  <a:pt x="303210" y="180358"/>
                </a:cubicBezTo>
                <a:cubicBezTo>
                  <a:pt x="303735" y="184317"/>
                  <a:pt x="303282" y="188405"/>
                  <a:pt x="303282" y="193964"/>
                </a:cubicBezTo>
                <a:cubicBezTo>
                  <a:pt x="204065" y="208804"/>
                  <a:pt x="105022" y="216044"/>
                  <a:pt x="4971" y="213017"/>
                </a:cubicBezTo>
                <a:cubicBezTo>
                  <a:pt x="4971" y="199268"/>
                  <a:pt x="4314" y="186332"/>
                  <a:pt x="5093" y="173484"/>
                </a:cubicBezTo>
                <a:cubicBezTo>
                  <a:pt x="7497" y="133835"/>
                  <a:pt x="8211" y="94216"/>
                  <a:pt x="4767" y="54607"/>
                </a:cubicBezTo>
                <a:cubicBezTo>
                  <a:pt x="3464" y="39611"/>
                  <a:pt x="1725" y="24653"/>
                  <a:pt x="0" y="7887"/>
                </a:cubicBezTo>
                <a:cubicBezTo>
                  <a:pt x="4390" y="7887"/>
                  <a:pt x="8696" y="7887"/>
                  <a:pt x="14160" y="7889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00" name="Free-form: Shape 299">
            <a:extLst>
              <a:ext uri="{FF2B5EF4-FFF2-40B4-BE49-F238E27FC236}">
                <a16:creationId xmlns:a16="http://schemas.microsoft.com/office/drawing/2014/main" id="{CAEC7FC8-A3A9-6DB0-43DC-660910C07974}"/>
              </a:ext>
            </a:extLst>
          </p:cNvPr>
          <p:cNvSpPr/>
          <p:nvPr/>
        </p:nvSpPr>
        <p:spPr>
          <a:xfrm>
            <a:off x="8425042" y="4480685"/>
            <a:ext cx="129814" cy="138929"/>
          </a:xfrm>
          <a:custGeom>
            <a:avLst/>
            <a:gdLst>
              <a:gd name="csX0" fmla="*/ 10475 w 209067"/>
              <a:gd name="csY0" fmla="*/ 41718 h 203406"/>
              <a:gd name="csX1" fmla="*/ 100250 w 209067"/>
              <a:gd name="csY1" fmla="*/ 1265 h 203406"/>
              <a:gd name="csX2" fmla="*/ 206681 w 209067"/>
              <a:gd name="csY2" fmla="*/ 98526 h 203406"/>
              <a:gd name="csX3" fmla="*/ 134647 w 209067"/>
              <a:gd name="csY3" fmla="*/ 202431 h 203406"/>
              <a:gd name="csX4" fmla="*/ 40986 w 209067"/>
              <a:gd name="csY4" fmla="*/ 171438 h 203406"/>
              <a:gd name="csX5" fmla="*/ 143 w 209067"/>
              <a:gd name="csY5" fmla="*/ 85158 h 203406"/>
              <a:gd name="csX6" fmla="*/ 10475 w 209067"/>
              <a:gd name="csY6" fmla="*/ 41718 h 20340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</a:cxnLst>
            <a:rect l="l" t="t" r="r" b="b"/>
            <a:pathLst>
              <a:path w="209067" h="203406">
                <a:moveTo>
                  <a:pt x="10475" y="41718"/>
                </a:moveTo>
                <a:cubicBezTo>
                  <a:pt x="31065" y="6021"/>
                  <a:pt x="63171" y="-3865"/>
                  <a:pt x="100250" y="1265"/>
                </a:cubicBezTo>
                <a:cubicBezTo>
                  <a:pt x="157191" y="9144"/>
                  <a:pt x="196951" y="51394"/>
                  <a:pt x="206681" y="98526"/>
                </a:cubicBezTo>
                <a:cubicBezTo>
                  <a:pt x="219504" y="160635"/>
                  <a:pt x="178523" y="196657"/>
                  <a:pt x="134647" y="202431"/>
                </a:cubicBezTo>
                <a:cubicBezTo>
                  <a:pt x="98365" y="207204"/>
                  <a:pt x="68101" y="194086"/>
                  <a:pt x="40986" y="171438"/>
                </a:cubicBezTo>
                <a:cubicBezTo>
                  <a:pt x="14115" y="148994"/>
                  <a:pt x="2457" y="119007"/>
                  <a:pt x="143" y="85158"/>
                </a:cubicBezTo>
                <a:cubicBezTo>
                  <a:pt x="-869" y="70364"/>
                  <a:pt x="3586" y="56015"/>
                  <a:pt x="10475" y="41718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02" name="Free-form: Shape 301">
            <a:extLst>
              <a:ext uri="{FF2B5EF4-FFF2-40B4-BE49-F238E27FC236}">
                <a16:creationId xmlns:a16="http://schemas.microsoft.com/office/drawing/2014/main" id="{8EADAB57-B7B4-3C86-3402-A02C5F183F44}"/>
              </a:ext>
            </a:extLst>
          </p:cNvPr>
          <p:cNvSpPr/>
          <p:nvPr/>
        </p:nvSpPr>
        <p:spPr>
          <a:xfrm>
            <a:off x="8461301" y="4715027"/>
            <a:ext cx="97564" cy="28232"/>
          </a:xfrm>
          <a:custGeom>
            <a:avLst/>
            <a:gdLst>
              <a:gd name="csX0" fmla="*/ 69625 w 157129"/>
              <a:gd name="csY0" fmla="*/ 0 h 41334"/>
              <a:gd name="csX1" fmla="*/ 119596 w 157129"/>
              <a:gd name="csY1" fmla="*/ 1945 h 41334"/>
              <a:gd name="csX2" fmla="*/ 150973 w 157129"/>
              <a:gd name="csY2" fmla="*/ 14889 h 41334"/>
              <a:gd name="csX3" fmla="*/ 151351 w 157129"/>
              <a:gd name="csY3" fmla="*/ 34058 h 41334"/>
              <a:gd name="csX4" fmla="*/ 133492 w 157129"/>
              <a:gd name="csY4" fmla="*/ 40697 h 41334"/>
              <a:gd name="csX5" fmla="*/ 106556 w 157129"/>
              <a:gd name="csY5" fmla="*/ 41092 h 41334"/>
              <a:gd name="csX6" fmla="*/ 13373 w 157129"/>
              <a:gd name="csY6" fmla="*/ 40708 h 41334"/>
              <a:gd name="csX7" fmla="*/ 1312 w 157129"/>
              <a:gd name="csY7" fmla="*/ 40191 h 41334"/>
              <a:gd name="csX8" fmla="*/ 3367 w 157129"/>
              <a:gd name="csY8" fmla="*/ 13162 h 41334"/>
              <a:gd name="csX9" fmla="*/ 20752 w 157129"/>
              <a:gd name="csY9" fmla="*/ 1879 h 41334"/>
              <a:gd name="csX10" fmla="*/ 52625 w 157129"/>
              <a:gd name="csY10" fmla="*/ 1332 h 41334"/>
              <a:gd name="csX11" fmla="*/ 69625 w 157129"/>
              <a:gd name="csY11" fmla="*/ 0 h 4133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157129" h="41334">
                <a:moveTo>
                  <a:pt x="69625" y="0"/>
                </a:moveTo>
                <a:cubicBezTo>
                  <a:pt x="87054" y="491"/>
                  <a:pt x="103407" y="373"/>
                  <a:pt x="119596" y="1945"/>
                </a:cubicBezTo>
                <a:cubicBezTo>
                  <a:pt x="131020" y="3055"/>
                  <a:pt x="141713" y="7767"/>
                  <a:pt x="150973" y="14889"/>
                </a:cubicBezTo>
                <a:cubicBezTo>
                  <a:pt x="158820" y="20925"/>
                  <a:pt x="159403" y="28236"/>
                  <a:pt x="151351" y="34058"/>
                </a:cubicBezTo>
                <a:cubicBezTo>
                  <a:pt x="146355" y="37671"/>
                  <a:pt x="139678" y="39910"/>
                  <a:pt x="133492" y="40697"/>
                </a:cubicBezTo>
                <a:cubicBezTo>
                  <a:pt x="124640" y="41824"/>
                  <a:pt x="115547" y="41120"/>
                  <a:pt x="106556" y="41092"/>
                </a:cubicBezTo>
                <a:cubicBezTo>
                  <a:pt x="75495" y="40996"/>
                  <a:pt x="44434" y="40872"/>
                  <a:pt x="13373" y="40708"/>
                </a:cubicBezTo>
                <a:cubicBezTo>
                  <a:pt x="9391" y="40687"/>
                  <a:pt x="5410" y="40374"/>
                  <a:pt x="1312" y="40191"/>
                </a:cubicBezTo>
                <a:cubicBezTo>
                  <a:pt x="-1416" y="30384"/>
                  <a:pt x="523" y="21512"/>
                  <a:pt x="3367" y="13162"/>
                </a:cubicBezTo>
                <a:cubicBezTo>
                  <a:pt x="5963" y="5538"/>
                  <a:pt x="12701" y="2077"/>
                  <a:pt x="20752" y="1879"/>
                </a:cubicBezTo>
                <a:cubicBezTo>
                  <a:pt x="31375" y="1617"/>
                  <a:pt x="42004" y="1647"/>
                  <a:pt x="52625" y="1332"/>
                </a:cubicBezTo>
                <a:cubicBezTo>
                  <a:pt x="57918" y="1176"/>
                  <a:pt x="63195" y="535"/>
                  <a:pt x="69625" y="0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03" name="Free-form: Shape 302">
            <a:extLst>
              <a:ext uri="{FF2B5EF4-FFF2-40B4-BE49-F238E27FC236}">
                <a16:creationId xmlns:a16="http://schemas.microsoft.com/office/drawing/2014/main" id="{8B5D1E1F-2B61-723C-8C3F-82B5AB72AEFB}"/>
              </a:ext>
            </a:extLst>
          </p:cNvPr>
          <p:cNvSpPr/>
          <p:nvPr/>
        </p:nvSpPr>
        <p:spPr>
          <a:xfrm>
            <a:off x="8457829" y="4771004"/>
            <a:ext cx="102191" cy="265855"/>
          </a:xfrm>
          <a:custGeom>
            <a:avLst/>
            <a:gdLst>
              <a:gd name="csX0" fmla="*/ 91265 w 164579"/>
              <a:gd name="csY0" fmla="*/ 157878 h 389238"/>
              <a:gd name="csX1" fmla="*/ 112882 w 164579"/>
              <a:gd name="csY1" fmla="*/ 252738 h 389238"/>
              <a:gd name="csX2" fmla="*/ 164579 w 164579"/>
              <a:gd name="csY2" fmla="*/ 389238 h 389238"/>
              <a:gd name="csX3" fmla="*/ 0 w 164579"/>
              <a:gd name="csY3" fmla="*/ 389238 h 389238"/>
              <a:gd name="csX4" fmla="*/ 5184 w 164579"/>
              <a:gd name="csY4" fmla="*/ 260105 h 389238"/>
              <a:gd name="csX5" fmla="*/ 7989 w 164579"/>
              <a:gd name="csY5" fmla="*/ 131182 h 389238"/>
              <a:gd name="csX6" fmla="*/ 8093 w 164579"/>
              <a:gd name="csY6" fmla="*/ 2390 h 389238"/>
              <a:gd name="csX7" fmla="*/ 76429 w 164579"/>
              <a:gd name="csY7" fmla="*/ 1531 h 389238"/>
              <a:gd name="csX8" fmla="*/ 91265 w 164579"/>
              <a:gd name="csY8" fmla="*/ 157878 h 38923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</a:cxnLst>
            <a:rect l="l" t="t" r="r" b="b"/>
            <a:pathLst>
              <a:path w="164579" h="389238">
                <a:moveTo>
                  <a:pt x="91265" y="157878"/>
                </a:moveTo>
                <a:cubicBezTo>
                  <a:pt x="98425" y="190232"/>
                  <a:pt x="104539" y="221785"/>
                  <a:pt x="112882" y="252738"/>
                </a:cubicBezTo>
                <a:cubicBezTo>
                  <a:pt x="125498" y="299549"/>
                  <a:pt x="141482" y="345258"/>
                  <a:pt x="164579" y="389238"/>
                </a:cubicBezTo>
                <a:cubicBezTo>
                  <a:pt x="109753" y="389238"/>
                  <a:pt x="55706" y="389238"/>
                  <a:pt x="0" y="389238"/>
                </a:cubicBezTo>
                <a:cubicBezTo>
                  <a:pt x="1781" y="345633"/>
                  <a:pt x="3844" y="302880"/>
                  <a:pt x="5184" y="260105"/>
                </a:cubicBezTo>
                <a:cubicBezTo>
                  <a:pt x="6529" y="217143"/>
                  <a:pt x="7519" y="174162"/>
                  <a:pt x="7989" y="131182"/>
                </a:cubicBezTo>
                <a:cubicBezTo>
                  <a:pt x="8459" y="88239"/>
                  <a:pt x="8093" y="45287"/>
                  <a:pt x="8093" y="2390"/>
                </a:cubicBezTo>
                <a:cubicBezTo>
                  <a:pt x="17041" y="-288"/>
                  <a:pt x="58537" y="-913"/>
                  <a:pt x="76429" y="1531"/>
                </a:cubicBezTo>
                <a:cubicBezTo>
                  <a:pt x="79287" y="53276"/>
                  <a:pt x="82219" y="105359"/>
                  <a:pt x="91265" y="157878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04" name="Free-form: Shape 303">
            <a:extLst>
              <a:ext uri="{FF2B5EF4-FFF2-40B4-BE49-F238E27FC236}">
                <a16:creationId xmlns:a16="http://schemas.microsoft.com/office/drawing/2014/main" id="{86D89A19-225E-C564-CBF4-B6739916B9FA}"/>
              </a:ext>
            </a:extLst>
          </p:cNvPr>
          <p:cNvSpPr/>
          <p:nvPr/>
        </p:nvSpPr>
        <p:spPr>
          <a:xfrm>
            <a:off x="8459648" y="5228068"/>
            <a:ext cx="200357" cy="43852"/>
          </a:xfrm>
          <a:custGeom>
            <a:avLst/>
            <a:gdLst>
              <a:gd name="csX0" fmla="*/ 199184 w 322677"/>
              <a:gd name="csY0" fmla="*/ 59136 h 64202"/>
              <a:gd name="csX1" fmla="*/ 0 w 322677"/>
              <a:gd name="csY1" fmla="*/ 62697 h 64202"/>
              <a:gd name="csX2" fmla="*/ 0 w 322677"/>
              <a:gd name="csY2" fmla="*/ 18400 h 64202"/>
              <a:gd name="csX3" fmla="*/ 10601 w 322677"/>
              <a:gd name="csY3" fmla="*/ 17750 h 64202"/>
              <a:gd name="csX4" fmla="*/ 156563 w 322677"/>
              <a:gd name="csY4" fmla="*/ 15074 h 64202"/>
              <a:gd name="csX5" fmla="*/ 266479 w 322677"/>
              <a:gd name="csY5" fmla="*/ 4814 h 64202"/>
              <a:gd name="csX6" fmla="*/ 296798 w 322677"/>
              <a:gd name="csY6" fmla="*/ 344 h 64202"/>
              <a:gd name="csX7" fmla="*/ 309983 w 322677"/>
              <a:gd name="csY7" fmla="*/ 6097 h 64202"/>
              <a:gd name="csX8" fmla="*/ 322678 w 322677"/>
              <a:gd name="csY8" fmla="*/ 40406 h 64202"/>
              <a:gd name="csX9" fmla="*/ 199184 w 322677"/>
              <a:gd name="csY9" fmla="*/ 59136 h 6420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322677" h="64202">
                <a:moveTo>
                  <a:pt x="199184" y="59136"/>
                </a:moveTo>
                <a:cubicBezTo>
                  <a:pt x="132374" y="65824"/>
                  <a:pt x="66629" y="64605"/>
                  <a:pt x="0" y="62697"/>
                </a:cubicBezTo>
                <a:cubicBezTo>
                  <a:pt x="0" y="47160"/>
                  <a:pt x="0" y="33409"/>
                  <a:pt x="0" y="18400"/>
                </a:cubicBezTo>
                <a:cubicBezTo>
                  <a:pt x="3587" y="18160"/>
                  <a:pt x="7120" y="17536"/>
                  <a:pt x="10601" y="17750"/>
                </a:cubicBezTo>
                <a:cubicBezTo>
                  <a:pt x="59329" y="20736"/>
                  <a:pt x="107987" y="18533"/>
                  <a:pt x="156563" y="15074"/>
                </a:cubicBezTo>
                <a:cubicBezTo>
                  <a:pt x="193260" y="12461"/>
                  <a:pt x="229860" y="8449"/>
                  <a:pt x="266479" y="4814"/>
                </a:cubicBezTo>
                <a:cubicBezTo>
                  <a:pt x="276635" y="3806"/>
                  <a:pt x="286748" y="2160"/>
                  <a:pt x="296798" y="344"/>
                </a:cubicBezTo>
                <a:cubicBezTo>
                  <a:pt x="302773" y="-735"/>
                  <a:pt x="306536" y="602"/>
                  <a:pt x="309983" y="6097"/>
                </a:cubicBezTo>
                <a:cubicBezTo>
                  <a:pt x="316405" y="16331"/>
                  <a:pt x="320231" y="27243"/>
                  <a:pt x="322678" y="40406"/>
                </a:cubicBezTo>
                <a:cubicBezTo>
                  <a:pt x="281944" y="49611"/>
                  <a:pt x="241309" y="55431"/>
                  <a:pt x="199184" y="59136"/>
                </a:cubicBezTo>
                <a:close/>
              </a:path>
            </a:pathLst>
          </a:custGeom>
          <a:solidFill>
            <a:schemeClr val="bg1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06" name="Free-form: Shape 305">
            <a:extLst>
              <a:ext uri="{FF2B5EF4-FFF2-40B4-BE49-F238E27FC236}">
                <a16:creationId xmlns:a16="http://schemas.microsoft.com/office/drawing/2014/main" id="{53ED5380-BCCC-8995-650A-5AF7CDEA764E}"/>
              </a:ext>
            </a:extLst>
          </p:cNvPr>
          <p:cNvSpPr/>
          <p:nvPr/>
        </p:nvSpPr>
        <p:spPr>
          <a:xfrm>
            <a:off x="8673736" y="5225719"/>
            <a:ext cx="2645" cy="6187"/>
          </a:xfrm>
          <a:custGeom>
            <a:avLst/>
            <a:gdLst>
              <a:gd name="csX0" fmla="*/ 815 w 2910"/>
              <a:gd name="csY0" fmla="*/ 0 h 6187"/>
              <a:gd name="csX1" fmla="*/ 113 w 2910"/>
              <a:gd name="csY1" fmla="*/ 6187 h 6187"/>
              <a:gd name="csX2" fmla="*/ 815 w 2910"/>
              <a:gd name="csY2" fmla="*/ 0 h 618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2910" h="6187">
                <a:moveTo>
                  <a:pt x="815" y="0"/>
                </a:moveTo>
                <a:cubicBezTo>
                  <a:pt x="4660" y="1891"/>
                  <a:pt x="2480" y="3840"/>
                  <a:pt x="113" y="6187"/>
                </a:cubicBezTo>
                <a:cubicBezTo>
                  <a:pt x="-172" y="4565"/>
                  <a:pt x="89" y="2579"/>
                  <a:pt x="815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08" name="Free-form: Shape 307">
            <a:extLst>
              <a:ext uri="{FF2B5EF4-FFF2-40B4-BE49-F238E27FC236}">
                <a16:creationId xmlns:a16="http://schemas.microsoft.com/office/drawing/2014/main" id="{E1B3A7C1-DC93-8A25-4B51-30351A66F365}"/>
              </a:ext>
            </a:extLst>
          </p:cNvPr>
          <p:cNvSpPr/>
          <p:nvPr/>
        </p:nvSpPr>
        <p:spPr>
          <a:xfrm>
            <a:off x="4904111" y="3760908"/>
            <a:ext cx="777434" cy="153278"/>
          </a:xfrm>
          <a:custGeom>
            <a:avLst/>
            <a:gdLst>
              <a:gd name="csX0" fmla="*/ 191041 w 1045419"/>
              <a:gd name="csY0" fmla="*/ 0 h 228601"/>
              <a:gd name="csX1" fmla="*/ 1045419 w 1045419"/>
              <a:gd name="csY1" fmla="*/ 0 h 228601"/>
              <a:gd name="csX2" fmla="*/ 918418 w 1045419"/>
              <a:gd name="csY2" fmla="*/ 228601 h 228601"/>
              <a:gd name="csX3" fmla="*/ 0 w 1045419"/>
              <a:gd name="csY3" fmla="*/ 228601 h 228601"/>
              <a:gd name="csX4" fmla="*/ 191041 w 1045419"/>
              <a:gd name="csY4" fmla="*/ 0 h 22860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045419" h="228601">
                <a:moveTo>
                  <a:pt x="191041" y="0"/>
                </a:moveTo>
                <a:lnTo>
                  <a:pt x="1045419" y="0"/>
                </a:lnTo>
                <a:lnTo>
                  <a:pt x="918418" y="228601"/>
                </a:lnTo>
                <a:lnTo>
                  <a:pt x="0" y="228601"/>
                </a:lnTo>
                <a:lnTo>
                  <a:pt x="191041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09" name="Free-form: Shape 308">
            <a:extLst>
              <a:ext uri="{FF2B5EF4-FFF2-40B4-BE49-F238E27FC236}">
                <a16:creationId xmlns:a16="http://schemas.microsoft.com/office/drawing/2014/main" id="{119F0FAF-7600-CD7B-0C95-2F2C007B12D5}"/>
              </a:ext>
            </a:extLst>
          </p:cNvPr>
          <p:cNvSpPr/>
          <p:nvPr/>
        </p:nvSpPr>
        <p:spPr>
          <a:xfrm>
            <a:off x="1984375" y="5458262"/>
            <a:ext cx="1646821" cy="454861"/>
          </a:xfrm>
          <a:custGeom>
            <a:avLst/>
            <a:gdLst>
              <a:gd name="csX0" fmla="*/ 626019 w 1992654"/>
              <a:gd name="csY0" fmla="*/ 0 h 550382"/>
              <a:gd name="csX1" fmla="*/ 1992654 w 1992654"/>
              <a:gd name="csY1" fmla="*/ 0 h 550382"/>
              <a:gd name="csX2" fmla="*/ 1532703 w 1992654"/>
              <a:gd name="csY2" fmla="*/ 550382 h 550382"/>
              <a:gd name="csX3" fmla="*/ 0 w 1992654"/>
              <a:gd name="csY3" fmla="*/ 550382 h 550382"/>
              <a:gd name="csX4" fmla="*/ 626019 w 1992654"/>
              <a:gd name="csY4" fmla="*/ 0 h 55038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992654" h="550382">
                <a:moveTo>
                  <a:pt x="626019" y="0"/>
                </a:moveTo>
                <a:lnTo>
                  <a:pt x="1992654" y="0"/>
                </a:lnTo>
                <a:lnTo>
                  <a:pt x="1532703" y="550382"/>
                </a:lnTo>
                <a:lnTo>
                  <a:pt x="0" y="550382"/>
                </a:lnTo>
                <a:lnTo>
                  <a:pt x="626019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11" name="Free-form: Shape 310">
            <a:extLst>
              <a:ext uri="{FF2B5EF4-FFF2-40B4-BE49-F238E27FC236}">
                <a16:creationId xmlns:a16="http://schemas.microsoft.com/office/drawing/2014/main" id="{1FDBA411-D021-0602-6E51-CF2732DD873F}"/>
              </a:ext>
            </a:extLst>
          </p:cNvPr>
          <p:cNvSpPr/>
          <p:nvPr/>
        </p:nvSpPr>
        <p:spPr>
          <a:xfrm>
            <a:off x="4286828" y="5458262"/>
            <a:ext cx="1568526" cy="454861"/>
          </a:xfrm>
          <a:custGeom>
            <a:avLst/>
            <a:gdLst>
              <a:gd name="csX0" fmla="*/ 527533 w 1897917"/>
              <a:gd name="csY0" fmla="*/ 0 h 550382"/>
              <a:gd name="csX1" fmla="*/ 1897917 w 1897917"/>
              <a:gd name="csY1" fmla="*/ 0 h 550382"/>
              <a:gd name="csX2" fmla="*/ 1747106 w 1897917"/>
              <a:gd name="csY2" fmla="*/ 550382 h 550382"/>
              <a:gd name="csX3" fmla="*/ 0 w 1897917"/>
              <a:gd name="csY3" fmla="*/ 550382 h 550382"/>
              <a:gd name="csX4" fmla="*/ 223004 w 1897917"/>
              <a:gd name="csY4" fmla="*/ 548152 h 550382"/>
              <a:gd name="csX5" fmla="*/ 527533 w 1897917"/>
              <a:gd name="csY5" fmla="*/ 0 h 55038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</a:cxnLst>
            <a:rect l="l" t="t" r="r" b="b"/>
            <a:pathLst>
              <a:path w="1897917" h="550382">
                <a:moveTo>
                  <a:pt x="527533" y="0"/>
                </a:moveTo>
                <a:lnTo>
                  <a:pt x="1897917" y="0"/>
                </a:lnTo>
                <a:lnTo>
                  <a:pt x="1747106" y="550382"/>
                </a:lnTo>
                <a:lnTo>
                  <a:pt x="0" y="550382"/>
                </a:lnTo>
                <a:lnTo>
                  <a:pt x="223004" y="548152"/>
                </a:lnTo>
                <a:lnTo>
                  <a:pt x="527533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12" name="Free-form: Shape 311">
            <a:extLst>
              <a:ext uri="{FF2B5EF4-FFF2-40B4-BE49-F238E27FC236}">
                <a16:creationId xmlns:a16="http://schemas.microsoft.com/office/drawing/2014/main" id="{96C56D98-5B71-2A3F-C3C3-A196F138AE9F}"/>
              </a:ext>
            </a:extLst>
          </p:cNvPr>
          <p:cNvSpPr/>
          <p:nvPr/>
        </p:nvSpPr>
        <p:spPr>
          <a:xfrm>
            <a:off x="6965560" y="5458262"/>
            <a:ext cx="1247364" cy="444260"/>
          </a:xfrm>
          <a:custGeom>
            <a:avLst/>
            <a:gdLst>
              <a:gd name="csX0" fmla="*/ 3065 w 1509311"/>
              <a:gd name="csY0" fmla="*/ 0 h 537554"/>
              <a:gd name="csX1" fmla="*/ 1356162 w 1509311"/>
              <a:gd name="csY1" fmla="*/ 0 h 537554"/>
              <a:gd name="csX2" fmla="*/ 1509311 w 1509311"/>
              <a:gd name="csY2" fmla="*/ 537554 h 537554"/>
              <a:gd name="csX3" fmla="*/ 0 w 1509311"/>
              <a:gd name="csY3" fmla="*/ 533283 h 537554"/>
              <a:gd name="csX4" fmla="*/ 3065 w 1509311"/>
              <a:gd name="csY4" fmla="*/ 0 h 53755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509311" h="537554">
                <a:moveTo>
                  <a:pt x="3065" y="0"/>
                </a:moveTo>
                <a:lnTo>
                  <a:pt x="1356162" y="0"/>
                </a:lnTo>
                <a:lnTo>
                  <a:pt x="1509311" y="537554"/>
                </a:lnTo>
                <a:lnTo>
                  <a:pt x="0" y="533283"/>
                </a:lnTo>
                <a:cubicBezTo>
                  <a:pt x="1022" y="355522"/>
                  <a:pt x="2043" y="177761"/>
                  <a:pt x="3065" y="0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13" name="Free-form: Shape 312">
            <a:extLst>
              <a:ext uri="{FF2B5EF4-FFF2-40B4-BE49-F238E27FC236}">
                <a16:creationId xmlns:a16="http://schemas.microsoft.com/office/drawing/2014/main" id="{6B9E073C-3230-E965-E4A1-6944875A8B88}"/>
              </a:ext>
            </a:extLst>
          </p:cNvPr>
          <p:cNvSpPr/>
          <p:nvPr/>
        </p:nvSpPr>
        <p:spPr>
          <a:xfrm>
            <a:off x="9198732" y="5458263"/>
            <a:ext cx="1478271" cy="451232"/>
          </a:xfrm>
          <a:custGeom>
            <a:avLst/>
            <a:gdLst>
              <a:gd name="csX0" fmla="*/ 0 w 1788708"/>
              <a:gd name="csY0" fmla="*/ 0 h 545991"/>
              <a:gd name="csX1" fmla="*/ 1331921 w 1788708"/>
              <a:gd name="csY1" fmla="*/ 0 h 545991"/>
              <a:gd name="csX2" fmla="*/ 1788708 w 1788708"/>
              <a:gd name="csY2" fmla="*/ 545991 h 545991"/>
              <a:gd name="csX3" fmla="*/ 241609 w 1788708"/>
              <a:gd name="csY3" fmla="*/ 541613 h 545991"/>
              <a:gd name="csX4" fmla="*/ 301257 w 1788708"/>
              <a:gd name="csY4" fmla="*/ 540718 h 545991"/>
              <a:gd name="csX5" fmla="*/ 0 w 1788708"/>
              <a:gd name="csY5" fmla="*/ 0 h 54599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</a:cxnLst>
            <a:rect l="l" t="t" r="r" b="b"/>
            <a:pathLst>
              <a:path w="1788708" h="545991">
                <a:moveTo>
                  <a:pt x="0" y="0"/>
                </a:moveTo>
                <a:lnTo>
                  <a:pt x="1331921" y="0"/>
                </a:lnTo>
                <a:lnTo>
                  <a:pt x="1788708" y="545991"/>
                </a:lnTo>
                <a:lnTo>
                  <a:pt x="241609" y="541613"/>
                </a:lnTo>
                <a:lnTo>
                  <a:pt x="301257" y="540718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15" name="Free-form: Shape 314">
            <a:extLst>
              <a:ext uri="{FF2B5EF4-FFF2-40B4-BE49-F238E27FC236}">
                <a16:creationId xmlns:a16="http://schemas.microsoft.com/office/drawing/2014/main" id="{6D260DF2-45AA-0A96-23A7-33848DA249A4}"/>
              </a:ext>
            </a:extLst>
          </p:cNvPr>
          <p:cNvSpPr/>
          <p:nvPr/>
        </p:nvSpPr>
        <p:spPr>
          <a:xfrm>
            <a:off x="3631196" y="5062916"/>
            <a:ext cx="1311245" cy="395346"/>
          </a:xfrm>
          <a:custGeom>
            <a:avLst/>
            <a:gdLst>
              <a:gd name="csX0" fmla="*/ 399769 w 1586606"/>
              <a:gd name="csY0" fmla="*/ 0 h 478368"/>
              <a:gd name="csX1" fmla="*/ 1586606 w 1586606"/>
              <a:gd name="csY1" fmla="*/ 0 h 478368"/>
              <a:gd name="csX2" fmla="*/ 1320846 w 1586606"/>
              <a:gd name="csY2" fmla="*/ 478368 h 478368"/>
              <a:gd name="csX3" fmla="*/ 0 w 1586606"/>
              <a:gd name="csY3" fmla="*/ 478368 h 478368"/>
              <a:gd name="csX4" fmla="*/ 399769 w 1586606"/>
              <a:gd name="csY4" fmla="*/ 0 h 47836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586606" h="478368">
                <a:moveTo>
                  <a:pt x="399769" y="0"/>
                </a:moveTo>
                <a:lnTo>
                  <a:pt x="1586606" y="0"/>
                </a:lnTo>
                <a:lnTo>
                  <a:pt x="1320846" y="478368"/>
                </a:lnTo>
                <a:lnTo>
                  <a:pt x="0" y="478368"/>
                </a:lnTo>
                <a:lnTo>
                  <a:pt x="399769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17" name="Free-form: Shape 316">
            <a:extLst>
              <a:ext uri="{FF2B5EF4-FFF2-40B4-BE49-F238E27FC236}">
                <a16:creationId xmlns:a16="http://schemas.microsoft.com/office/drawing/2014/main" id="{9D48222B-D33D-64B7-83F9-E5C16AC9709F}"/>
              </a:ext>
            </a:extLst>
          </p:cNvPr>
          <p:cNvSpPr/>
          <p:nvPr/>
        </p:nvSpPr>
        <p:spPr>
          <a:xfrm>
            <a:off x="5855354" y="5062916"/>
            <a:ext cx="1115011" cy="395346"/>
          </a:xfrm>
          <a:custGeom>
            <a:avLst/>
            <a:gdLst>
              <a:gd name="csX0" fmla="*/ 131078 w 1349163"/>
              <a:gd name="csY0" fmla="*/ 0 h 478368"/>
              <a:gd name="csX1" fmla="*/ 1349163 w 1349163"/>
              <a:gd name="csY1" fmla="*/ 0 h 478368"/>
              <a:gd name="csX2" fmla="*/ 1346414 w 1349163"/>
              <a:gd name="csY2" fmla="*/ 478368 h 478368"/>
              <a:gd name="csX3" fmla="*/ 0 w 1349163"/>
              <a:gd name="csY3" fmla="*/ 478368 h 478368"/>
              <a:gd name="csX4" fmla="*/ 131078 w 1349163"/>
              <a:gd name="csY4" fmla="*/ 0 h 47836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349163" h="478368">
                <a:moveTo>
                  <a:pt x="131078" y="0"/>
                </a:moveTo>
                <a:lnTo>
                  <a:pt x="1349163" y="0"/>
                </a:lnTo>
                <a:lnTo>
                  <a:pt x="1346414" y="478368"/>
                </a:lnTo>
                <a:lnTo>
                  <a:pt x="0" y="478368"/>
                </a:lnTo>
                <a:lnTo>
                  <a:pt x="131078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19" name="Free-form: Shape 318">
            <a:extLst>
              <a:ext uri="{FF2B5EF4-FFF2-40B4-BE49-F238E27FC236}">
                <a16:creationId xmlns:a16="http://schemas.microsoft.com/office/drawing/2014/main" id="{05B6F054-306C-E46D-A3E8-6879BE6495A1}"/>
              </a:ext>
            </a:extLst>
          </p:cNvPr>
          <p:cNvSpPr/>
          <p:nvPr/>
        </p:nvSpPr>
        <p:spPr>
          <a:xfrm>
            <a:off x="9968740" y="5062916"/>
            <a:ext cx="1462821" cy="395346"/>
          </a:xfrm>
          <a:custGeom>
            <a:avLst/>
            <a:gdLst>
              <a:gd name="csX0" fmla="*/ 0 w 1770014"/>
              <a:gd name="csY0" fmla="*/ 0 h 478368"/>
              <a:gd name="csX1" fmla="*/ 1231679 w 1770014"/>
              <a:gd name="csY1" fmla="*/ 0 h 478368"/>
              <a:gd name="csX2" fmla="*/ 1770014 w 1770014"/>
              <a:gd name="csY2" fmla="*/ 478368 h 478368"/>
              <a:gd name="csX3" fmla="*/ 400212 w 1770014"/>
              <a:gd name="csY3" fmla="*/ 478368 h 478368"/>
              <a:gd name="csX4" fmla="*/ 0 w 1770014"/>
              <a:gd name="csY4" fmla="*/ 0 h 47836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770014" h="478368">
                <a:moveTo>
                  <a:pt x="0" y="0"/>
                </a:moveTo>
                <a:lnTo>
                  <a:pt x="1231679" y="0"/>
                </a:lnTo>
                <a:lnTo>
                  <a:pt x="1770014" y="478368"/>
                </a:lnTo>
                <a:lnTo>
                  <a:pt x="400212" y="478368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0" name="Free-form: Shape 319">
            <a:extLst>
              <a:ext uri="{FF2B5EF4-FFF2-40B4-BE49-F238E27FC236}">
                <a16:creationId xmlns:a16="http://schemas.microsoft.com/office/drawing/2014/main" id="{74EB08DE-CA99-66C7-E55B-CA08C8B32701}"/>
              </a:ext>
            </a:extLst>
          </p:cNvPr>
          <p:cNvSpPr/>
          <p:nvPr/>
        </p:nvSpPr>
        <p:spPr>
          <a:xfrm>
            <a:off x="8913616" y="3760909"/>
            <a:ext cx="1718658" cy="987102"/>
          </a:xfrm>
          <a:custGeom>
            <a:avLst/>
            <a:gdLst>
              <a:gd name="csX0" fmla="*/ 1734208 w 2079576"/>
              <a:gd name="csY0" fmla="*/ 893490 h 1194393"/>
              <a:gd name="csX1" fmla="*/ 1740954 w 2079576"/>
              <a:gd name="csY1" fmla="*/ 893490 h 1194393"/>
              <a:gd name="csX2" fmla="*/ 2079576 w 2079576"/>
              <a:gd name="csY2" fmla="*/ 1194392 h 1194393"/>
              <a:gd name="csX3" fmla="*/ 1492572 w 2079576"/>
              <a:gd name="csY3" fmla="*/ 1194392 h 1194393"/>
              <a:gd name="csX4" fmla="*/ 1492573 w 2079576"/>
              <a:gd name="csY4" fmla="*/ 1194393 h 1194393"/>
              <a:gd name="csX5" fmla="*/ 957918 w 2079576"/>
              <a:gd name="csY5" fmla="*/ 1194393 h 1194393"/>
              <a:gd name="csX6" fmla="*/ 706177 w 2079576"/>
              <a:gd name="csY6" fmla="*/ 893491 h 1194393"/>
              <a:gd name="csX7" fmla="*/ 1734209 w 2079576"/>
              <a:gd name="csY7" fmla="*/ 893491 h 1194393"/>
              <a:gd name="csX8" fmla="*/ 1428628 w 2079576"/>
              <a:gd name="csY8" fmla="*/ 612504 h 1194393"/>
              <a:gd name="csX9" fmla="*/ 1433390 w 2079576"/>
              <a:gd name="csY9" fmla="*/ 617266 h 1194393"/>
              <a:gd name="csX10" fmla="*/ 1430104 w 2079576"/>
              <a:gd name="csY10" fmla="*/ 617266 h 1194393"/>
              <a:gd name="csX11" fmla="*/ 1424767 w 2079576"/>
              <a:gd name="csY11" fmla="*/ 612523 h 1194393"/>
              <a:gd name="csX12" fmla="*/ 283831 w 2079576"/>
              <a:gd name="csY12" fmla="*/ 388666 h 1194393"/>
              <a:gd name="csX13" fmla="*/ 631714 w 2079576"/>
              <a:gd name="csY13" fmla="*/ 388666 h 1194393"/>
              <a:gd name="csX14" fmla="*/ 1158324 w 2079576"/>
              <a:gd name="csY14" fmla="*/ 388666 h 1194393"/>
              <a:gd name="csX15" fmla="*/ 1172848 w 2079576"/>
              <a:gd name="csY15" fmla="*/ 388666 h 1194393"/>
              <a:gd name="csX16" fmla="*/ 1424767 w 2079576"/>
              <a:gd name="csY16" fmla="*/ 612523 h 1194393"/>
              <a:gd name="csX17" fmla="*/ 475083 w 2079576"/>
              <a:gd name="csY17" fmla="*/ 617267 h 1194393"/>
              <a:gd name="csX18" fmla="*/ 735460 w 2079576"/>
              <a:gd name="csY18" fmla="*/ 0 h 1194393"/>
              <a:gd name="csX19" fmla="*/ 936218 w 2079576"/>
              <a:gd name="csY19" fmla="*/ 178395 h 1194393"/>
              <a:gd name="csX20" fmla="*/ 918454 w 2079576"/>
              <a:gd name="csY20" fmla="*/ 178395 h 1194393"/>
              <a:gd name="csX21" fmla="*/ 918453 w 2079576"/>
              <a:gd name="csY21" fmla="*/ 178394 h 1194393"/>
              <a:gd name="csX22" fmla="*/ 918452 w 2079576"/>
              <a:gd name="csY22" fmla="*/ 178394 h 1194393"/>
              <a:gd name="csX23" fmla="*/ 105862 w 2079576"/>
              <a:gd name="csY23" fmla="*/ 175942 h 1194393"/>
              <a:gd name="csX24" fmla="*/ 0 w 2079576"/>
              <a:gd name="csY24" fmla="*/ 7665 h 119439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</a:cxnLst>
            <a:rect l="l" t="t" r="r" b="b"/>
            <a:pathLst>
              <a:path w="2079576" h="1194393">
                <a:moveTo>
                  <a:pt x="1734208" y="893490"/>
                </a:moveTo>
                <a:lnTo>
                  <a:pt x="1740954" y="893490"/>
                </a:lnTo>
                <a:lnTo>
                  <a:pt x="2079576" y="1194392"/>
                </a:lnTo>
                <a:lnTo>
                  <a:pt x="1492572" y="1194392"/>
                </a:lnTo>
                <a:lnTo>
                  <a:pt x="1492573" y="1194393"/>
                </a:lnTo>
                <a:lnTo>
                  <a:pt x="957918" y="1194393"/>
                </a:lnTo>
                <a:lnTo>
                  <a:pt x="706177" y="893491"/>
                </a:lnTo>
                <a:lnTo>
                  <a:pt x="1734209" y="893491"/>
                </a:lnTo>
                <a:close/>
                <a:moveTo>
                  <a:pt x="1428628" y="612504"/>
                </a:moveTo>
                <a:lnTo>
                  <a:pt x="1433390" y="617266"/>
                </a:lnTo>
                <a:lnTo>
                  <a:pt x="1430104" y="617266"/>
                </a:lnTo>
                <a:lnTo>
                  <a:pt x="1424767" y="612523"/>
                </a:lnTo>
                <a:close/>
                <a:moveTo>
                  <a:pt x="283831" y="388666"/>
                </a:moveTo>
                <a:lnTo>
                  <a:pt x="631714" y="388666"/>
                </a:lnTo>
                <a:lnTo>
                  <a:pt x="1158324" y="388666"/>
                </a:lnTo>
                <a:lnTo>
                  <a:pt x="1172848" y="388666"/>
                </a:lnTo>
                <a:lnTo>
                  <a:pt x="1424767" y="612523"/>
                </a:lnTo>
                <a:lnTo>
                  <a:pt x="475083" y="617267"/>
                </a:lnTo>
                <a:close/>
                <a:moveTo>
                  <a:pt x="735460" y="0"/>
                </a:moveTo>
                <a:lnTo>
                  <a:pt x="936218" y="178395"/>
                </a:lnTo>
                <a:lnTo>
                  <a:pt x="918454" y="178395"/>
                </a:lnTo>
                <a:lnTo>
                  <a:pt x="918453" y="178394"/>
                </a:lnTo>
                <a:lnTo>
                  <a:pt x="918452" y="178394"/>
                </a:lnTo>
                <a:lnTo>
                  <a:pt x="105862" y="175942"/>
                </a:lnTo>
                <a:lnTo>
                  <a:pt x="0" y="7665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2" name="Free-form: Shape 321">
            <a:extLst>
              <a:ext uri="{FF2B5EF4-FFF2-40B4-BE49-F238E27FC236}">
                <a16:creationId xmlns:a16="http://schemas.microsoft.com/office/drawing/2014/main" id="{430A7723-8DDC-8377-35CF-2AD7F2E51EB5}"/>
              </a:ext>
            </a:extLst>
          </p:cNvPr>
          <p:cNvSpPr/>
          <p:nvPr/>
        </p:nvSpPr>
        <p:spPr>
          <a:xfrm>
            <a:off x="8335207" y="3908342"/>
            <a:ext cx="812979" cy="173778"/>
          </a:xfrm>
          <a:custGeom>
            <a:avLst/>
            <a:gdLst>
              <a:gd name="csX0" fmla="*/ 0 w 983705"/>
              <a:gd name="csY0" fmla="*/ 0 h 210271"/>
              <a:gd name="csX1" fmla="*/ 807788 w 983705"/>
              <a:gd name="csY1" fmla="*/ 0 h 210271"/>
              <a:gd name="csX2" fmla="*/ 983705 w 983705"/>
              <a:gd name="csY2" fmla="*/ 210271 h 210271"/>
              <a:gd name="csX3" fmla="*/ 117151 w 983705"/>
              <a:gd name="csY3" fmla="*/ 210271 h 210271"/>
              <a:gd name="csX4" fmla="*/ 0 w 983705"/>
              <a:gd name="csY4" fmla="*/ 0 h 21027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983705" h="210271">
                <a:moveTo>
                  <a:pt x="0" y="0"/>
                </a:moveTo>
                <a:lnTo>
                  <a:pt x="807788" y="0"/>
                </a:lnTo>
                <a:lnTo>
                  <a:pt x="983705" y="210271"/>
                </a:lnTo>
                <a:lnTo>
                  <a:pt x="117151" y="21027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3" name="Free-form: Shape 322">
            <a:extLst>
              <a:ext uri="{FF2B5EF4-FFF2-40B4-BE49-F238E27FC236}">
                <a16:creationId xmlns:a16="http://schemas.microsoft.com/office/drawing/2014/main" id="{946857DF-EBE6-1289-FA79-902CE995F19E}"/>
              </a:ext>
            </a:extLst>
          </p:cNvPr>
          <p:cNvSpPr/>
          <p:nvPr/>
        </p:nvSpPr>
        <p:spPr>
          <a:xfrm>
            <a:off x="4623346" y="4082119"/>
            <a:ext cx="863983" cy="188926"/>
          </a:xfrm>
          <a:custGeom>
            <a:avLst/>
            <a:gdLst>
              <a:gd name="csX0" fmla="*/ 191041 w 1045419"/>
              <a:gd name="csY0" fmla="*/ 0 h 228601"/>
              <a:gd name="csX1" fmla="*/ 1045419 w 1045419"/>
              <a:gd name="csY1" fmla="*/ 0 h 228601"/>
              <a:gd name="csX2" fmla="*/ 918418 w 1045419"/>
              <a:gd name="csY2" fmla="*/ 228601 h 228601"/>
              <a:gd name="csX3" fmla="*/ 0 w 1045419"/>
              <a:gd name="csY3" fmla="*/ 228601 h 228601"/>
              <a:gd name="csX4" fmla="*/ 191041 w 1045419"/>
              <a:gd name="csY4" fmla="*/ 0 h 22860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045419" h="228601">
                <a:moveTo>
                  <a:pt x="191041" y="0"/>
                </a:moveTo>
                <a:lnTo>
                  <a:pt x="1045419" y="0"/>
                </a:lnTo>
                <a:lnTo>
                  <a:pt x="918418" y="228601"/>
                </a:lnTo>
                <a:lnTo>
                  <a:pt x="0" y="228601"/>
                </a:lnTo>
                <a:lnTo>
                  <a:pt x="191041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4" name="Free-form: Shape 323">
            <a:extLst>
              <a:ext uri="{FF2B5EF4-FFF2-40B4-BE49-F238E27FC236}">
                <a16:creationId xmlns:a16="http://schemas.microsoft.com/office/drawing/2014/main" id="{6465BDEF-ECB8-8008-3AB7-DCF21CD43E8D}"/>
              </a:ext>
            </a:extLst>
          </p:cNvPr>
          <p:cNvSpPr/>
          <p:nvPr/>
        </p:nvSpPr>
        <p:spPr>
          <a:xfrm>
            <a:off x="5255544" y="4271045"/>
            <a:ext cx="925121" cy="228284"/>
          </a:xfrm>
          <a:custGeom>
            <a:avLst/>
            <a:gdLst>
              <a:gd name="csX0" fmla="*/ 153458 w 1119397"/>
              <a:gd name="csY0" fmla="*/ 0 h 276224"/>
              <a:gd name="csX1" fmla="*/ 1119397 w 1119397"/>
              <a:gd name="csY1" fmla="*/ 0 h 276224"/>
              <a:gd name="csX2" fmla="*/ 1043709 w 1119397"/>
              <a:gd name="csY2" fmla="*/ 276224 h 276224"/>
              <a:gd name="csX3" fmla="*/ 0 w 1119397"/>
              <a:gd name="csY3" fmla="*/ 276224 h 276224"/>
              <a:gd name="csX4" fmla="*/ 153458 w 1119397"/>
              <a:gd name="csY4" fmla="*/ 0 h 27622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119397" h="276224">
                <a:moveTo>
                  <a:pt x="153458" y="0"/>
                </a:moveTo>
                <a:lnTo>
                  <a:pt x="1119397" y="0"/>
                </a:lnTo>
                <a:lnTo>
                  <a:pt x="1043709" y="276224"/>
                </a:lnTo>
                <a:lnTo>
                  <a:pt x="0" y="276224"/>
                </a:lnTo>
                <a:lnTo>
                  <a:pt x="153458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5" name="Free-form: Shape 324">
            <a:extLst>
              <a:ext uri="{FF2B5EF4-FFF2-40B4-BE49-F238E27FC236}">
                <a16:creationId xmlns:a16="http://schemas.microsoft.com/office/drawing/2014/main" id="{8BC17E11-3119-E756-D5AB-FCF95B805076}"/>
              </a:ext>
            </a:extLst>
          </p:cNvPr>
          <p:cNvSpPr/>
          <p:nvPr/>
        </p:nvSpPr>
        <p:spPr>
          <a:xfrm>
            <a:off x="6973604" y="4271045"/>
            <a:ext cx="839552" cy="228284"/>
          </a:xfrm>
          <a:custGeom>
            <a:avLst/>
            <a:gdLst>
              <a:gd name="csX0" fmla="*/ 1588 w 1015858"/>
              <a:gd name="csY0" fmla="*/ 0 h 276224"/>
              <a:gd name="csX1" fmla="*/ 937162 w 1015858"/>
              <a:gd name="csY1" fmla="*/ 0 h 276224"/>
              <a:gd name="csX2" fmla="*/ 1015858 w 1015858"/>
              <a:gd name="csY2" fmla="*/ 276224 h 276224"/>
              <a:gd name="csX3" fmla="*/ 0 w 1015858"/>
              <a:gd name="csY3" fmla="*/ 276224 h 276224"/>
              <a:gd name="csX4" fmla="*/ 1588 w 1015858"/>
              <a:gd name="csY4" fmla="*/ 0 h 27622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015858" h="276224">
                <a:moveTo>
                  <a:pt x="1588" y="0"/>
                </a:moveTo>
                <a:lnTo>
                  <a:pt x="937162" y="0"/>
                </a:lnTo>
                <a:lnTo>
                  <a:pt x="1015858" y="276224"/>
                </a:lnTo>
                <a:lnTo>
                  <a:pt x="0" y="276224"/>
                </a:lnTo>
                <a:lnTo>
                  <a:pt x="1588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6" name="Free-form: Shape 325">
            <a:extLst>
              <a:ext uri="{FF2B5EF4-FFF2-40B4-BE49-F238E27FC236}">
                <a16:creationId xmlns:a16="http://schemas.microsoft.com/office/drawing/2014/main" id="{0B9DCF25-3E75-7783-7578-2BCF8DC4B7A4}"/>
              </a:ext>
            </a:extLst>
          </p:cNvPr>
          <p:cNvSpPr/>
          <p:nvPr/>
        </p:nvSpPr>
        <p:spPr>
          <a:xfrm>
            <a:off x="8537283" y="4271045"/>
            <a:ext cx="959949" cy="228284"/>
          </a:xfrm>
          <a:custGeom>
            <a:avLst/>
            <a:gdLst>
              <a:gd name="csX0" fmla="*/ 0 w 1161538"/>
              <a:gd name="csY0" fmla="*/ 0 h 276224"/>
              <a:gd name="csX1" fmla="*/ 930444 w 1161538"/>
              <a:gd name="csY1" fmla="*/ 0 h 276224"/>
              <a:gd name="csX2" fmla="*/ 1161538 w 1161538"/>
              <a:gd name="csY2" fmla="*/ 276224 h 276224"/>
              <a:gd name="csX3" fmla="*/ 153896 w 1161538"/>
              <a:gd name="csY3" fmla="*/ 276224 h 276224"/>
              <a:gd name="csX4" fmla="*/ 0 w 1161538"/>
              <a:gd name="csY4" fmla="*/ 0 h 27622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161538" h="276224">
                <a:moveTo>
                  <a:pt x="0" y="0"/>
                </a:moveTo>
                <a:lnTo>
                  <a:pt x="930444" y="0"/>
                </a:lnTo>
                <a:lnTo>
                  <a:pt x="1161538" y="276224"/>
                </a:lnTo>
                <a:lnTo>
                  <a:pt x="153896" y="276224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7" name="Free-form: Shape 326">
            <a:extLst>
              <a:ext uri="{FF2B5EF4-FFF2-40B4-BE49-F238E27FC236}">
                <a16:creationId xmlns:a16="http://schemas.microsoft.com/office/drawing/2014/main" id="{7DE3487B-3CA3-1A94-0188-76B54FEE0425}"/>
              </a:ext>
            </a:extLst>
          </p:cNvPr>
          <p:cNvSpPr/>
          <p:nvPr/>
        </p:nvSpPr>
        <p:spPr>
          <a:xfrm>
            <a:off x="4942440" y="4748009"/>
            <a:ext cx="1107531" cy="314908"/>
          </a:xfrm>
          <a:custGeom>
            <a:avLst/>
            <a:gdLst>
              <a:gd name="csX0" fmla="*/ 211688 w 1340113"/>
              <a:gd name="csY0" fmla="*/ 0 h 381039"/>
              <a:gd name="csX1" fmla="*/ 1340113 w 1340113"/>
              <a:gd name="csY1" fmla="*/ 0 h 381039"/>
              <a:gd name="csX2" fmla="*/ 1235704 w 1340113"/>
              <a:gd name="csY2" fmla="*/ 381039 h 381039"/>
              <a:gd name="csX3" fmla="*/ 0 w 1340113"/>
              <a:gd name="csY3" fmla="*/ 381039 h 381039"/>
              <a:gd name="csX4" fmla="*/ 211688 w 1340113"/>
              <a:gd name="csY4" fmla="*/ 0 h 38103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340113" h="381039">
                <a:moveTo>
                  <a:pt x="211688" y="0"/>
                </a:moveTo>
                <a:lnTo>
                  <a:pt x="1340113" y="0"/>
                </a:lnTo>
                <a:lnTo>
                  <a:pt x="1235704" y="381039"/>
                </a:lnTo>
                <a:lnTo>
                  <a:pt x="0" y="381039"/>
                </a:lnTo>
                <a:lnTo>
                  <a:pt x="211688" y="0"/>
                </a:lnTo>
                <a:close/>
              </a:path>
            </a:pathLst>
          </a:custGeom>
          <a:solidFill>
            <a:srgbClr val="DDE5E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8" name="Free-form: Shape 327">
            <a:extLst>
              <a:ext uri="{FF2B5EF4-FFF2-40B4-BE49-F238E27FC236}">
                <a16:creationId xmlns:a16="http://schemas.microsoft.com/office/drawing/2014/main" id="{32BAB7EE-F5A6-EBB7-807D-FBD2127B78F6}"/>
              </a:ext>
            </a:extLst>
          </p:cNvPr>
          <p:cNvSpPr/>
          <p:nvPr/>
        </p:nvSpPr>
        <p:spPr>
          <a:xfrm>
            <a:off x="6970366" y="4748009"/>
            <a:ext cx="1003356" cy="314908"/>
          </a:xfrm>
          <a:custGeom>
            <a:avLst/>
            <a:gdLst>
              <a:gd name="csX0" fmla="*/ 2190 w 1214061"/>
              <a:gd name="csY0" fmla="*/ 0 h 381039"/>
              <a:gd name="csX1" fmla="*/ 1105503 w 1214061"/>
              <a:gd name="csY1" fmla="*/ 0 h 381039"/>
              <a:gd name="csX2" fmla="*/ 1214061 w 1214061"/>
              <a:gd name="csY2" fmla="*/ 381039 h 381039"/>
              <a:gd name="csX3" fmla="*/ 0 w 1214061"/>
              <a:gd name="csY3" fmla="*/ 381039 h 381039"/>
              <a:gd name="csX4" fmla="*/ 2190 w 1214061"/>
              <a:gd name="csY4" fmla="*/ 0 h 38103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214061" h="381039">
                <a:moveTo>
                  <a:pt x="2190" y="0"/>
                </a:moveTo>
                <a:lnTo>
                  <a:pt x="1105503" y="0"/>
                </a:lnTo>
                <a:lnTo>
                  <a:pt x="1214061" y="381039"/>
                </a:lnTo>
                <a:lnTo>
                  <a:pt x="0" y="381039"/>
                </a:lnTo>
                <a:lnTo>
                  <a:pt x="2190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9" name="Free-form: Shape 328">
            <a:extLst>
              <a:ext uri="{FF2B5EF4-FFF2-40B4-BE49-F238E27FC236}">
                <a16:creationId xmlns:a16="http://schemas.microsoft.com/office/drawing/2014/main" id="{1DA41BCB-2654-0DBC-6619-A522D4821318}"/>
              </a:ext>
            </a:extLst>
          </p:cNvPr>
          <p:cNvSpPr/>
          <p:nvPr/>
        </p:nvSpPr>
        <p:spPr>
          <a:xfrm>
            <a:off x="8803020" y="4748009"/>
            <a:ext cx="1165721" cy="314908"/>
          </a:xfrm>
          <a:custGeom>
            <a:avLst/>
            <a:gdLst>
              <a:gd name="csX0" fmla="*/ 0 w 1410522"/>
              <a:gd name="csY0" fmla="*/ 0 h 381039"/>
              <a:gd name="csX1" fmla="*/ 1091737 w 1410522"/>
              <a:gd name="csY1" fmla="*/ 0 h 381039"/>
              <a:gd name="csX2" fmla="*/ 1410522 w 1410522"/>
              <a:gd name="csY2" fmla="*/ 381039 h 381039"/>
              <a:gd name="csX3" fmla="*/ 212293 w 1410522"/>
              <a:gd name="csY3" fmla="*/ 381039 h 381039"/>
              <a:gd name="csX4" fmla="*/ 0 w 1410522"/>
              <a:gd name="csY4" fmla="*/ 0 h 38103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410522" h="381039">
                <a:moveTo>
                  <a:pt x="0" y="0"/>
                </a:moveTo>
                <a:lnTo>
                  <a:pt x="1091737" y="0"/>
                </a:lnTo>
                <a:lnTo>
                  <a:pt x="1410522" y="381039"/>
                </a:lnTo>
                <a:lnTo>
                  <a:pt x="212293" y="381039"/>
                </a:lnTo>
                <a:lnTo>
                  <a:pt x="0" y="0"/>
                </a:lnTo>
                <a:close/>
              </a:path>
            </a:pathLst>
          </a:custGeom>
          <a:solidFill>
            <a:srgbClr val="DDE5E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0" name="Oval 329">
            <a:extLst>
              <a:ext uri="{FF2B5EF4-FFF2-40B4-BE49-F238E27FC236}">
                <a16:creationId xmlns:a16="http://schemas.microsoft.com/office/drawing/2014/main" id="{416C3639-5C04-74B0-14F5-1DB69F106AF2}"/>
              </a:ext>
            </a:extLst>
          </p:cNvPr>
          <p:cNvSpPr/>
          <p:nvPr/>
        </p:nvSpPr>
        <p:spPr>
          <a:xfrm>
            <a:off x="4317914" y="3740938"/>
            <a:ext cx="656485" cy="147620"/>
          </a:xfrm>
          <a:prstGeom prst="ellipse">
            <a:avLst/>
          </a:prstGeom>
          <a:solidFill>
            <a:schemeClr val="tx1">
              <a:alpha val="5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1" name="Free-form: Shape 330">
            <a:extLst>
              <a:ext uri="{FF2B5EF4-FFF2-40B4-BE49-F238E27FC236}">
                <a16:creationId xmlns:a16="http://schemas.microsoft.com/office/drawing/2014/main" id="{ADC23D2E-A993-35F7-EBF1-3CC7F7AF805D}"/>
              </a:ext>
            </a:extLst>
          </p:cNvPr>
          <p:cNvSpPr/>
          <p:nvPr/>
        </p:nvSpPr>
        <p:spPr>
          <a:xfrm>
            <a:off x="4231935" y="2993658"/>
            <a:ext cx="880396" cy="841622"/>
          </a:xfrm>
          <a:custGeom>
            <a:avLst/>
            <a:gdLst>
              <a:gd name="csX0" fmla="*/ 401579 w 1609516"/>
              <a:gd name="csY0" fmla="*/ 1495809 h 1538630"/>
              <a:gd name="csX1" fmla="*/ 400190 w 1609516"/>
              <a:gd name="csY1" fmla="*/ 1496004 h 1538630"/>
              <a:gd name="csX2" fmla="*/ 401224 w 1609516"/>
              <a:gd name="csY2" fmla="*/ 1496470 h 1538630"/>
              <a:gd name="csX3" fmla="*/ 401224 w 1609516"/>
              <a:gd name="csY3" fmla="*/ 1498590 h 1538630"/>
              <a:gd name="csX4" fmla="*/ 401579 w 1609516"/>
              <a:gd name="csY4" fmla="*/ 1498628 h 1538630"/>
              <a:gd name="csX5" fmla="*/ 401579 w 1609516"/>
              <a:gd name="csY5" fmla="*/ 1495809 h 1538630"/>
              <a:gd name="csX6" fmla="*/ 368755 w 1609516"/>
              <a:gd name="csY6" fmla="*/ 1486512 h 1538630"/>
              <a:gd name="csX7" fmla="*/ 364089 w 1609516"/>
              <a:gd name="csY7" fmla="*/ 1487354 h 1538630"/>
              <a:gd name="csX8" fmla="*/ 364089 w 1609516"/>
              <a:gd name="csY8" fmla="*/ 1487908 h 1538630"/>
              <a:gd name="csX9" fmla="*/ 1049801 w 1609516"/>
              <a:gd name="csY9" fmla="*/ 1484562 h 1538630"/>
              <a:gd name="csX10" fmla="*/ 1046735 w 1609516"/>
              <a:gd name="csY10" fmla="*/ 1485945 h 1538630"/>
              <a:gd name="csX11" fmla="*/ 1046955 w 1609516"/>
              <a:gd name="csY11" fmla="*/ 1486045 h 1538630"/>
              <a:gd name="csX12" fmla="*/ 1049801 w 1609516"/>
              <a:gd name="csY12" fmla="*/ 1485188 h 1538630"/>
              <a:gd name="csX13" fmla="*/ 351234 w 1609516"/>
              <a:gd name="csY13" fmla="*/ 1444508 h 1538630"/>
              <a:gd name="csX14" fmla="*/ 351234 w 1609516"/>
              <a:gd name="csY14" fmla="*/ 1444997 h 1538630"/>
              <a:gd name="csX15" fmla="*/ 351592 w 1609516"/>
              <a:gd name="csY15" fmla="*/ 1445078 h 1538630"/>
              <a:gd name="csX16" fmla="*/ 351908 w 1609516"/>
              <a:gd name="csY16" fmla="*/ 1431206 h 1538630"/>
              <a:gd name="csX17" fmla="*/ 351234 w 1609516"/>
              <a:gd name="csY17" fmla="*/ 1431611 h 1538630"/>
              <a:gd name="csX18" fmla="*/ 351234 w 1609516"/>
              <a:gd name="csY18" fmla="*/ 1432274 h 1538630"/>
              <a:gd name="csX19" fmla="*/ 358162 w 1609516"/>
              <a:gd name="csY19" fmla="*/ 1421494 h 1538630"/>
              <a:gd name="csX20" fmla="*/ 355921 w 1609516"/>
              <a:gd name="csY20" fmla="*/ 1423156 h 1538630"/>
              <a:gd name="csX21" fmla="*/ 355921 w 1609516"/>
              <a:gd name="csY21" fmla="*/ 1423548 h 1538630"/>
              <a:gd name="csX22" fmla="*/ 376098 w 1609516"/>
              <a:gd name="csY22" fmla="*/ 1408347 h 1538630"/>
              <a:gd name="csX23" fmla="*/ 370750 w 1609516"/>
              <a:gd name="csY23" fmla="*/ 1412245 h 1538630"/>
              <a:gd name="csX24" fmla="*/ 375023 w 1609516"/>
              <a:gd name="csY24" fmla="*/ 1411256 h 1538630"/>
              <a:gd name="csX25" fmla="*/ 421956 w 1609516"/>
              <a:gd name="csY25" fmla="*/ 1365623 h 1538630"/>
              <a:gd name="csX26" fmla="*/ 421765 w 1609516"/>
              <a:gd name="csY26" fmla="*/ 1366161 h 1538630"/>
              <a:gd name="csX27" fmla="*/ 421887 w 1609516"/>
              <a:gd name="csY27" fmla="*/ 1366161 h 1538630"/>
              <a:gd name="csX28" fmla="*/ 754553 w 1609516"/>
              <a:gd name="csY28" fmla="*/ 1360575 h 1538630"/>
              <a:gd name="csX29" fmla="*/ 754089 w 1609516"/>
              <a:gd name="csY29" fmla="*/ 1361433 h 1538630"/>
              <a:gd name="csX30" fmla="*/ 754431 w 1609516"/>
              <a:gd name="csY30" fmla="*/ 1361125 h 1538630"/>
              <a:gd name="csX31" fmla="*/ 1277973 w 1609516"/>
              <a:gd name="csY31" fmla="*/ 1332923 h 1538630"/>
              <a:gd name="csX32" fmla="*/ 1277944 w 1609516"/>
              <a:gd name="csY32" fmla="*/ 1332936 h 1538630"/>
              <a:gd name="csX33" fmla="*/ 1277949 w 1609516"/>
              <a:gd name="csY33" fmla="*/ 1333139 h 1538630"/>
              <a:gd name="csX34" fmla="*/ 1268556 w 1609516"/>
              <a:gd name="csY34" fmla="*/ 1321066 h 1538630"/>
              <a:gd name="csX35" fmla="*/ 1268556 w 1609516"/>
              <a:gd name="csY35" fmla="*/ 1325294 h 1538630"/>
              <a:gd name="csX36" fmla="*/ 1265432 w 1609516"/>
              <a:gd name="csY36" fmla="*/ 1325294 h 1538630"/>
              <a:gd name="csX37" fmla="*/ 1265432 w 1609516"/>
              <a:gd name="csY37" fmla="*/ 1340795 h 1538630"/>
              <a:gd name="csX38" fmla="*/ 1265476 w 1609516"/>
              <a:gd name="csY38" fmla="*/ 1340714 h 1538630"/>
              <a:gd name="csX39" fmla="*/ 1265476 w 1609516"/>
              <a:gd name="csY39" fmla="*/ 1325877 h 1538630"/>
              <a:gd name="csX40" fmla="*/ 1268600 w 1609516"/>
              <a:gd name="csY40" fmla="*/ 1325877 h 1538630"/>
              <a:gd name="csX41" fmla="*/ 1268600 w 1609516"/>
              <a:gd name="csY41" fmla="*/ 1321649 h 1538630"/>
              <a:gd name="csX42" fmla="*/ 1273286 w 1609516"/>
              <a:gd name="csY42" fmla="*/ 1321649 h 1538630"/>
              <a:gd name="csX43" fmla="*/ 1273227 w 1609516"/>
              <a:gd name="csY43" fmla="*/ 1321066 h 1538630"/>
              <a:gd name="csX44" fmla="*/ 827891 w 1609516"/>
              <a:gd name="csY44" fmla="*/ 1291474 h 1538630"/>
              <a:gd name="csX45" fmla="*/ 822601 w 1609516"/>
              <a:gd name="csY45" fmla="*/ 1291544 h 1538630"/>
              <a:gd name="csX46" fmla="*/ 818272 w 1609516"/>
              <a:gd name="csY46" fmla="*/ 1292220 h 1538630"/>
              <a:gd name="csX47" fmla="*/ 827891 w 1609516"/>
              <a:gd name="csY47" fmla="*/ 1292047 h 1538630"/>
              <a:gd name="csX48" fmla="*/ 856397 w 1609516"/>
              <a:gd name="csY48" fmla="*/ 1288691 h 1538630"/>
              <a:gd name="csX49" fmla="*/ 865903 w 1609516"/>
              <a:gd name="csY49" fmla="*/ 1290590 h 1538630"/>
              <a:gd name="csX50" fmla="*/ 859999 w 1609516"/>
              <a:gd name="csY50" fmla="*/ 1288752 h 1538630"/>
              <a:gd name="csX51" fmla="*/ 834694 w 1609516"/>
              <a:gd name="csY51" fmla="*/ 1288572 h 1538630"/>
              <a:gd name="csX52" fmla="*/ 828038 w 1609516"/>
              <a:gd name="csY52" fmla="*/ 1288654 h 1538630"/>
              <a:gd name="csX53" fmla="*/ 828038 w 1609516"/>
              <a:gd name="csY53" fmla="*/ 1289214 h 1538630"/>
              <a:gd name="csX54" fmla="*/ 229746 w 1609516"/>
              <a:gd name="csY54" fmla="*/ 1191418 h 1538630"/>
              <a:gd name="csX55" fmla="*/ 227402 w 1609516"/>
              <a:gd name="csY55" fmla="*/ 1191947 h 1538630"/>
              <a:gd name="csX56" fmla="*/ 229315 w 1609516"/>
              <a:gd name="csY56" fmla="*/ 1191947 h 1538630"/>
              <a:gd name="csX57" fmla="*/ 229315 w 1609516"/>
              <a:gd name="csY57" fmla="*/ 1194765 h 1538630"/>
              <a:gd name="csX58" fmla="*/ 231321 w 1609516"/>
              <a:gd name="csY58" fmla="*/ 1194765 h 1538630"/>
              <a:gd name="csX59" fmla="*/ 229746 w 1609516"/>
              <a:gd name="csY59" fmla="*/ 1194236 h 1538630"/>
              <a:gd name="csX60" fmla="*/ 229746 w 1609516"/>
              <a:gd name="csY60" fmla="*/ 1191418 h 1538630"/>
              <a:gd name="csX61" fmla="*/ 215687 w 1609516"/>
              <a:gd name="csY61" fmla="*/ 1187190 h 1538630"/>
              <a:gd name="csX62" fmla="*/ 215198 w 1609516"/>
              <a:gd name="csY62" fmla="*/ 1187720 h 1538630"/>
              <a:gd name="csX63" fmla="*/ 215256 w 1609516"/>
              <a:gd name="csY63" fmla="*/ 1187720 h 1538630"/>
              <a:gd name="csX64" fmla="*/ 215256 w 1609516"/>
              <a:gd name="csY64" fmla="*/ 1191947 h 1538630"/>
              <a:gd name="csX65" fmla="*/ 222721 w 1609516"/>
              <a:gd name="csY65" fmla="*/ 1191947 h 1538630"/>
              <a:gd name="csX66" fmla="*/ 215687 w 1609516"/>
              <a:gd name="csY66" fmla="*/ 1191418 h 1538630"/>
              <a:gd name="csX67" fmla="*/ 215687 w 1609516"/>
              <a:gd name="csY67" fmla="*/ 1187190 h 1538630"/>
              <a:gd name="csX68" fmla="*/ 1279678 w 1609516"/>
              <a:gd name="csY68" fmla="*/ 1082356 h 1538630"/>
              <a:gd name="csX69" fmla="*/ 1271680 w 1609516"/>
              <a:gd name="csY69" fmla="*/ 1084589 h 1538630"/>
              <a:gd name="csX70" fmla="*/ 1282181 w 1609516"/>
              <a:gd name="csY70" fmla="*/ 1082544 h 1538630"/>
              <a:gd name="csX71" fmla="*/ 117703 w 1609516"/>
              <a:gd name="csY71" fmla="*/ 941507 h 1538630"/>
              <a:gd name="csX72" fmla="*/ 112587 w 1609516"/>
              <a:gd name="csY72" fmla="*/ 941985 h 1538630"/>
              <a:gd name="csX73" fmla="*/ 112565 w 1609516"/>
              <a:gd name="csY73" fmla="*/ 942333 h 1538630"/>
              <a:gd name="csX74" fmla="*/ 115665 w 1609516"/>
              <a:gd name="csY74" fmla="*/ 941837 h 1538630"/>
              <a:gd name="csX75" fmla="*/ 144268 w 1609516"/>
              <a:gd name="csY75" fmla="*/ 939395 h 1538630"/>
              <a:gd name="csX76" fmla="*/ 143354 w 1609516"/>
              <a:gd name="csY76" fmla="*/ 939580 h 1538630"/>
              <a:gd name="csX77" fmla="*/ 144077 w 1609516"/>
              <a:gd name="csY77" fmla="*/ 939739 h 1538630"/>
              <a:gd name="csX78" fmla="*/ 162575 w 1609516"/>
              <a:gd name="csY78" fmla="*/ 933530 h 1538630"/>
              <a:gd name="csX79" fmla="*/ 161704 w 1609516"/>
              <a:gd name="csY79" fmla="*/ 935101 h 1538630"/>
              <a:gd name="csX80" fmla="*/ 170045 w 1609516"/>
              <a:gd name="csY80" fmla="*/ 933585 h 1538630"/>
              <a:gd name="csX81" fmla="*/ 1321645 w 1609516"/>
              <a:gd name="csY81" fmla="*/ 918415 h 1538630"/>
              <a:gd name="csX82" fmla="*/ 1321534 w 1609516"/>
              <a:gd name="csY82" fmla="*/ 920177 h 1538630"/>
              <a:gd name="csX83" fmla="*/ 1321740 w 1609516"/>
              <a:gd name="csY83" fmla="*/ 918415 h 1538630"/>
              <a:gd name="csX84" fmla="*/ 1319333 w 1609516"/>
              <a:gd name="csY84" fmla="*/ 915183 h 1538630"/>
              <a:gd name="csX85" fmla="*/ 1318544 w 1609516"/>
              <a:gd name="csY85" fmla="*/ 918029 h 1538630"/>
              <a:gd name="csX86" fmla="*/ 1318702 w 1609516"/>
              <a:gd name="csY86" fmla="*/ 918029 h 1538630"/>
              <a:gd name="csX87" fmla="*/ 1326355 w 1609516"/>
              <a:gd name="csY87" fmla="*/ 907109 h 1538630"/>
              <a:gd name="csX88" fmla="*/ 1326355 w 1609516"/>
              <a:gd name="csY88" fmla="*/ 910983 h 1538630"/>
              <a:gd name="csX89" fmla="*/ 1325831 w 1609516"/>
              <a:gd name="csY89" fmla="*/ 911101 h 1538630"/>
              <a:gd name="csX90" fmla="*/ 1326426 w 1609516"/>
              <a:gd name="csY90" fmla="*/ 911369 h 1538630"/>
              <a:gd name="csX91" fmla="*/ 1326426 w 1609516"/>
              <a:gd name="csY91" fmla="*/ 907141 h 1538630"/>
              <a:gd name="csX92" fmla="*/ 1328144 w 1609516"/>
              <a:gd name="csY92" fmla="*/ 892192 h 1538630"/>
              <a:gd name="csX93" fmla="*/ 1327667 w 1609516"/>
              <a:gd name="csY93" fmla="*/ 893446 h 1538630"/>
              <a:gd name="csX94" fmla="*/ 1327989 w 1609516"/>
              <a:gd name="csY94" fmla="*/ 893049 h 1538630"/>
              <a:gd name="csX95" fmla="*/ 49605 w 1609516"/>
              <a:gd name="csY95" fmla="*/ 887420 h 1538630"/>
              <a:gd name="csX96" fmla="*/ 48549 w 1609516"/>
              <a:gd name="csY96" fmla="*/ 891229 h 1538630"/>
              <a:gd name="csX97" fmla="*/ 49956 w 1609516"/>
              <a:gd name="csY97" fmla="*/ 887420 h 1538630"/>
              <a:gd name="csX98" fmla="*/ 1332266 w 1609516"/>
              <a:gd name="csY98" fmla="*/ 883369 h 1538630"/>
              <a:gd name="csX99" fmla="*/ 1329479 w 1609516"/>
              <a:gd name="csY99" fmla="*/ 884207 h 1538630"/>
              <a:gd name="csX100" fmla="*/ 1329509 w 1609516"/>
              <a:gd name="csY100" fmla="*/ 884816 h 1538630"/>
              <a:gd name="csX101" fmla="*/ 1329551 w 1609516"/>
              <a:gd name="csY101" fmla="*/ 884594 h 1538630"/>
              <a:gd name="csX102" fmla="*/ 1555987 w 1609516"/>
              <a:gd name="csY102" fmla="*/ 821766 h 1538630"/>
              <a:gd name="csX103" fmla="*/ 1555987 w 1609516"/>
              <a:gd name="csY103" fmla="*/ 822201 h 1538630"/>
              <a:gd name="csX104" fmla="*/ 1556081 w 1609516"/>
              <a:gd name="csY104" fmla="*/ 822189 h 1538630"/>
              <a:gd name="csX105" fmla="*/ 1565360 w 1609516"/>
              <a:gd name="csY105" fmla="*/ 810928 h 1538630"/>
              <a:gd name="csX106" fmla="*/ 1564871 w 1609516"/>
              <a:gd name="csY106" fmla="*/ 811809 h 1538630"/>
              <a:gd name="csX107" fmla="*/ 1567314 w 1609516"/>
              <a:gd name="csY107" fmla="*/ 810928 h 1538630"/>
              <a:gd name="csX108" fmla="*/ 1563797 w 1609516"/>
              <a:gd name="csY108" fmla="*/ 810928 h 1538630"/>
              <a:gd name="csX109" fmla="*/ 1556762 w 1609516"/>
              <a:gd name="csY109" fmla="*/ 814736 h 1538630"/>
              <a:gd name="csX110" fmla="*/ 1563797 w 1609516"/>
              <a:gd name="csY110" fmla="*/ 812197 h 1538630"/>
              <a:gd name="csX111" fmla="*/ 265833 w 1609516"/>
              <a:gd name="csY111" fmla="*/ 806020 h 1538630"/>
              <a:gd name="csX112" fmla="*/ 263704 w 1609516"/>
              <a:gd name="csY112" fmla="*/ 809861 h 1538630"/>
              <a:gd name="csX113" fmla="*/ 263704 w 1609516"/>
              <a:gd name="csY113" fmla="*/ 816750 h 1538630"/>
              <a:gd name="csX114" fmla="*/ 264113 w 1609516"/>
              <a:gd name="csY114" fmla="*/ 816565 h 1538630"/>
              <a:gd name="csX115" fmla="*/ 263918 w 1609516"/>
              <a:gd name="csY115" fmla="*/ 812777 h 1538630"/>
              <a:gd name="csX116" fmla="*/ 263774 w 1609516"/>
              <a:gd name="csY116" fmla="*/ 779374 h 1538630"/>
              <a:gd name="csX117" fmla="*/ 263704 w 1609516"/>
              <a:gd name="csY117" fmla="*/ 783086 h 1538630"/>
              <a:gd name="csX118" fmla="*/ 264484 w 1609516"/>
              <a:gd name="csY118" fmla="*/ 785816 h 1538630"/>
              <a:gd name="csX119" fmla="*/ 265265 w 1609516"/>
              <a:gd name="csY119" fmla="*/ 794448 h 1538630"/>
              <a:gd name="csX120" fmla="*/ 265217 w 1609516"/>
              <a:gd name="csY120" fmla="*/ 799730 h 1538630"/>
              <a:gd name="csX121" fmla="*/ 266556 w 1609516"/>
              <a:gd name="csY121" fmla="*/ 803466 h 1538630"/>
              <a:gd name="csX122" fmla="*/ 267237 w 1609516"/>
              <a:gd name="csY122" fmla="*/ 801063 h 1538630"/>
              <a:gd name="csX123" fmla="*/ 265675 w 1609516"/>
              <a:gd name="csY123" fmla="*/ 799654 h 1538630"/>
              <a:gd name="csX124" fmla="*/ 265675 w 1609516"/>
              <a:gd name="csY124" fmla="*/ 793841 h 1538630"/>
              <a:gd name="csX125" fmla="*/ 260988 w 1609516"/>
              <a:gd name="csY125" fmla="*/ 770061 h 1538630"/>
              <a:gd name="csX126" fmla="*/ 260988 w 1609516"/>
              <a:gd name="csY126" fmla="*/ 771364 h 1538630"/>
              <a:gd name="csX127" fmla="*/ 263497 w 1609516"/>
              <a:gd name="csY127" fmla="*/ 777263 h 1538630"/>
              <a:gd name="csX128" fmla="*/ 262551 w 1609516"/>
              <a:gd name="csY128" fmla="*/ 770061 h 1538630"/>
              <a:gd name="csX129" fmla="*/ 260988 w 1609516"/>
              <a:gd name="csY129" fmla="*/ 770061 h 1538630"/>
              <a:gd name="csX130" fmla="*/ 157888 w 1609516"/>
              <a:gd name="csY130" fmla="*/ 651686 h 1538630"/>
              <a:gd name="csX131" fmla="*/ 157415 w 1609516"/>
              <a:gd name="csY131" fmla="*/ 651764 h 1538630"/>
              <a:gd name="csX132" fmla="*/ 160373 w 1609516"/>
              <a:gd name="csY132" fmla="*/ 652274 h 1538630"/>
              <a:gd name="csX133" fmla="*/ 267237 w 1609516"/>
              <a:gd name="csY133" fmla="*/ 426537 h 1538630"/>
              <a:gd name="csX134" fmla="*/ 267237 w 1609516"/>
              <a:gd name="csY134" fmla="*/ 427619 h 1538630"/>
              <a:gd name="csX135" fmla="*/ 270380 w 1609516"/>
              <a:gd name="csY135" fmla="*/ 428137 h 1538630"/>
              <a:gd name="csX136" fmla="*/ 273548 w 1609516"/>
              <a:gd name="csY136" fmla="*/ 428680 h 1538630"/>
              <a:gd name="csX137" fmla="*/ 37605 w 1609516"/>
              <a:gd name="csY137" fmla="*/ 359270 h 1538630"/>
              <a:gd name="csX138" fmla="*/ 37103 w 1609516"/>
              <a:gd name="csY138" fmla="*/ 361533 h 1538630"/>
              <a:gd name="csX139" fmla="*/ 37605 w 1609516"/>
              <a:gd name="csY139" fmla="*/ 361382 h 1538630"/>
              <a:gd name="csX140" fmla="*/ 52477 w 1609516"/>
              <a:gd name="csY140" fmla="*/ 337570 h 1538630"/>
              <a:gd name="csX141" fmla="*/ 47288 w 1609516"/>
              <a:gd name="csY141" fmla="*/ 342340 h 1538630"/>
              <a:gd name="csX142" fmla="*/ 45805 w 1609516"/>
              <a:gd name="csY142" fmla="*/ 345093 h 1538630"/>
              <a:gd name="csX143" fmla="*/ 104291 w 1609516"/>
              <a:gd name="csY143" fmla="*/ 336166 h 1538630"/>
              <a:gd name="csX144" fmla="*/ 103776 w 1609516"/>
              <a:gd name="csY144" fmla="*/ 337559 h 1538630"/>
              <a:gd name="csX145" fmla="*/ 108925 w 1609516"/>
              <a:gd name="csY145" fmla="*/ 336166 h 1538630"/>
              <a:gd name="csX146" fmla="*/ 1309237 w 1609516"/>
              <a:gd name="csY146" fmla="*/ 322954 h 1538630"/>
              <a:gd name="csX147" fmla="*/ 1309180 w 1609516"/>
              <a:gd name="csY147" fmla="*/ 330559 h 1538630"/>
              <a:gd name="csX148" fmla="*/ 1309237 w 1609516"/>
              <a:gd name="csY148" fmla="*/ 330520 h 1538630"/>
              <a:gd name="csX149" fmla="*/ 1308964 w 1609516"/>
              <a:gd name="csY149" fmla="*/ 317715 h 1538630"/>
              <a:gd name="csX150" fmla="*/ 1309237 w 1609516"/>
              <a:gd name="csY150" fmla="*/ 318569 h 1538630"/>
              <a:gd name="csX151" fmla="*/ 1309237 w 1609516"/>
              <a:gd name="csY151" fmla="*/ 317838 h 1538630"/>
              <a:gd name="csX152" fmla="*/ 1310087 w 1609516"/>
              <a:gd name="csY152" fmla="*/ 313153 h 1538630"/>
              <a:gd name="csX153" fmla="*/ 1307609 w 1609516"/>
              <a:gd name="csY153" fmla="*/ 313473 h 1538630"/>
              <a:gd name="csX154" fmla="*/ 1308045 w 1609516"/>
              <a:gd name="csY154" fmla="*/ 314836 h 1538630"/>
              <a:gd name="csX155" fmla="*/ 1318544 w 1609516"/>
              <a:gd name="csY155" fmla="*/ 312064 h 1538630"/>
              <a:gd name="csX156" fmla="*/ 1316298 w 1609516"/>
              <a:gd name="csY156" fmla="*/ 312353 h 1538630"/>
              <a:gd name="csX157" fmla="*/ 1318544 w 1609516"/>
              <a:gd name="csY157" fmla="*/ 312205 h 1538630"/>
              <a:gd name="csX158" fmla="*/ 1084622 w 1609516"/>
              <a:gd name="csY158" fmla="*/ 267674 h 1538630"/>
              <a:gd name="csX159" fmla="*/ 1084227 w 1609516"/>
              <a:gd name="csY159" fmla="*/ 268378 h 1538630"/>
              <a:gd name="csX160" fmla="*/ 1079540 w 1609516"/>
              <a:gd name="csY160" fmla="*/ 268378 h 1538630"/>
              <a:gd name="csX161" fmla="*/ 1079603 w 1609516"/>
              <a:gd name="csY161" fmla="*/ 268477 h 1538630"/>
              <a:gd name="csX162" fmla="*/ 1084192 w 1609516"/>
              <a:gd name="csY162" fmla="*/ 268477 h 1538630"/>
              <a:gd name="csX163" fmla="*/ 956410 w 1609516"/>
              <a:gd name="csY163" fmla="*/ 266968 h 1538630"/>
              <a:gd name="csX164" fmla="*/ 957576 w 1609516"/>
              <a:gd name="csY164" fmla="*/ 267083 h 1538630"/>
              <a:gd name="csX165" fmla="*/ 957576 w 1609516"/>
              <a:gd name="csY165" fmla="*/ 269776 h 1538630"/>
              <a:gd name="csX166" fmla="*/ 957694 w 1609516"/>
              <a:gd name="csY166" fmla="*/ 269787 h 1538630"/>
              <a:gd name="csX167" fmla="*/ 957694 w 1609516"/>
              <a:gd name="csY167" fmla="*/ 266968 h 1538630"/>
              <a:gd name="csX168" fmla="*/ 1089372 w 1609516"/>
              <a:gd name="csY168" fmla="*/ 259220 h 1538630"/>
              <a:gd name="csX169" fmla="*/ 1085856 w 1609516"/>
              <a:gd name="csY169" fmla="*/ 265479 h 1538630"/>
              <a:gd name="csX170" fmla="*/ 1088878 w 1609516"/>
              <a:gd name="csY170" fmla="*/ 261431 h 1538630"/>
              <a:gd name="csX171" fmla="*/ 1018517 w 1609516"/>
              <a:gd name="csY171" fmla="*/ 223356 h 1538630"/>
              <a:gd name="csX172" fmla="*/ 1013866 w 1609516"/>
              <a:gd name="csY172" fmla="*/ 226190 h 1538630"/>
              <a:gd name="csX173" fmla="*/ 1013024 w 1609516"/>
              <a:gd name="csY173" fmla="*/ 227709 h 1538630"/>
              <a:gd name="csX174" fmla="*/ 1017055 w 1609516"/>
              <a:gd name="csY174" fmla="*/ 224692 h 1538630"/>
              <a:gd name="csX175" fmla="*/ 850645 w 1609516"/>
              <a:gd name="csY175" fmla="*/ 220099 h 1538630"/>
              <a:gd name="csX176" fmla="*/ 850897 w 1609516"/>
              <a:gd name="csY176" fmla="*/ 221488 h 1538630"/>
              <a:gd name="csX177" fmla="*/ 851470 w 1609516"/>
              <a:gd name="csY177" fmla="*/ 224692 h 1538630"/>
              <a:gd name="csX178" fmla="*/ 852860 w 1609516"/>
              <a:gd name="csY178" fmla="*/ 224692 h 1538630"/>
              <a:gd name="csX179" fmla="*/ 1155019 w 1609516"/>
              <a:gd name="csY179" fmla="*/ 35 h 1538630"/>
              <a:gd name="csX180" fmla="*/ 1174829 w 1609516"/>
              <a:gd name="csY180" fmla="*/ 4853 h 1538630"/>
              <a:gd name="csX181" fmla="*/ 1179418 w 1609516"/>
              <a:gd name="csY181" fmla="*/ 5998 h 1538630"/>
              <a:gd name="csX182" fmla="*/ 1201385 w 1609516"/>
              <a:gd name="csY182" fmla="*/ 22997 h 1538630"/>
              <a:gd name="csX183" fmla="*/ 1201678 w 1609516"/>
              <a:gd name="csY183" fmla="*/ 62191 h 1538630"/>
              <a:gd name="csX184" fmla="*/ 1198261 w 1609516"/>
              <a:gd name="csY184" fmla="*/ 68268 h 1538630"/>
              <a:gd name="csX185" fmla="*/ 1195723 w 1609516"/>
              <a:gd name="csY185" fmla="*/ 72672 h 1538630"/>
              <a:gd name="csX186" fmla="*/ 1193575 w 1609516"/>
              <a:gd name="csY186" fmla="*/ 75314 h 1538630"/>
              <a:gd name="csX187" fmla="*/ 1190450 w 1609516"/>
              <a:gd name="csY187" fmla="*/ 75314 h 1538630"/>
              <a:gd name="csX188" fmla="*/ 1189474 w 1609516"/>
              <a:gd name="csY188" fmla="*/ 79366 h 1538630"/>
              <a:gd name="csX189" fmla="*/ 1182445 w 1609516"/>
              <a:gd name="csY189" fmla="*/ 85707 h 1538630"/>
              <a:gd name="csX190" fmla="*/ 1177953 w 1609516"/>
              <a:gd name="csY190" fmla="*/ 86588 h 1538630"/>
              <a:gd name="csX191" fmla="*/ 1177953 w 1609516"/>
              <a:gd name="csY191" fmla="*/ 89406 h 1538630"/>
              <a:gd name="csX192" fmla="*/ 1170045 w 1609516"/>
              <a:gd name="csY192" fmla="*/ 94251 h 1538630"/>
              <a:gd name="csX193" fmla="*/ 1143806 w 1609516"/>
              <a:gd name="csY193" fmla="*/ 132828 h 1538630"/>
              <a:gd name="csX194" fmla="*/ 1137338 w 1609516"/>
              <a:gd name="csY194" fmla="*/ 141548 h 1538630"/>
              <a:gd name="csX195" fmla="*/ 1133970 w 1609516"/>
              <a:gd name="csY195" fmla="*/ 149403 h 1538630"/>
              <a:gd name="csX196" fmla="*/ 1127965 w 1609516"/>
              <a:gd name="csY196" fmla="*/ 164095 h 1538630"/>
              <a:gd name="csX197" fmla="*/ 1124762 w 1609516"/>
              <a:gd name="csY197" fmla="*/ 171802 h 1538630"/>
              <a:gd name="csX198" fmla="*/ 1119359 w 1609516"/>
              <a:gd name="csY198" fmla="*/ 184798 h 1538630"/>
              <a:gd name="csX199" fmla="*/ 1111014 w 1609516"/>
              <a:gd name="csY199" fmla="*/ 204941 h 1538630"/>
              <a:gd name="csX200" fmla="*/ 1109729 w 1609516"/>
              <a:gd name="csY200" fmla="*/ 208059 h 1538630"/>
              <a:gd name="csX201" fmla="*/ 1106395 w 1609516"/>
              <a:gd name="csY201" fmla="*/ 216170 h 1538630"/>
              <a:gd name="csX202" fmla="*/ 1102147 w 1609516"/>
              <a:gd name="csY202" fmla="*/ 224810 h 1538630"/>
              <a:gd name="csX203" fmla="*/ 1098261 w 1609516"/>
              <a:gd name="csY203" fmla="*/ 227262 h 1538630"/>
              <a:gd name="csX204" fmla="*/ 1098367 w 1609516"/>
              <a:gd name="csY204" fmla="*/ 238475 h 1538630"/>
              <a:gd name="csX205" fmla="*/ 1097331 w 1609516"/>
              <a:gd name="csY205" fmla="*/ 242358 h 1538630"/>
              <a:gd name="csX206" fmla="*/ 1096201 w 1609516"/>
              <a:gd name="csY206" fmla="*/ 246458 h 1538630"/>
              <a:gd name="csX207" fmla="*/ 1089440 w 1609516"/>
              <a:gd name="csY207" fmla="*/ 279206 h 1538630"/>
              <a:gd name="csX208" fmla="*/ 1087316 w 1609516"/>
              <a:gd name="csY208" fmla="*/ 283978 h 1538630"/>
              <a:gd name="csX209" fmla="*/ 1086822 w 1609516"/>
              <a:gd name="csY209" fmla="*/ 291822 h 1538630"/>
              <a:gd name="csX210" fmla="*/ 1086623 w 1609516"/>
              <a:gd name="csY210" fmla="*/ 296625 h 1538630"/>
              <a:gd name="csX211" fmla="*/ 1086437 w 1609516"/>
              <a:gd name="csY211" fmla="*/ 301681 h 1538630"/>
              <a:gd name="csX212" fmla="*/ 1086233 w 1609516"/>
              <a:gd name="csY212" fmla="*/ 306754 h 1538630"/>
              <a:gd name="csX213" fmla="*/ 1086007 w 1609516"/>
              <a:gd name="csY213" fmla="*/ 312619 h 1538630"/>
              <a:gd name="csX214" fmla="*/ 1087470 w 1609516"/>
              <a:gd name="csY214" fmla="*/ 320554 h 1538630"/>
              <a:gd name="csX215" fmla="*/ 1098285 w 1609516"/>
              <a:gd name="csY215" fmla="*/ 334611 h 1538630"/>
              <a:gd name="csX216" fmla="*/ 1102607 w 1609516"/>
              <a:gd name="csY216" fmla="*/ 337679 h 1538630"/>
              <a:gd name="csX217" fmla="*/ 1106095 w 1609516"/>
              <a:gd name="csY217" fmla="*/ 340248 h 1538630"/>
              <a:gd name="csX218" fmla="*/ 1106095 w 1609516"/>
              <a:gd name="csY218" fmla="*/ 343066 h 1538630"/>
              <a:gd name="csX219" fmla="*/ 1109220 w 1609516"/>
              <a:gd name="csY219" fmla="*/ 343419 h 1538630"/>
              <a:gd name="csX220" fmla="*/ 1126403 w 1609516"/>
              <a:gd name="csY220" fmla="*/ 350112 h 1538630"/>
              <a:gd name="csX221" fmla="*/ 1131871 w 1609516"/>
              <a:gd name="csY221" fmla="*/ 352579 h 1538630"/>
              <a:gd name="csX222" fmla="*/ 1135776 w 1609516"/>
              <a:gd name="csY222" fmla="*/ 354340 h 1538630"/>
              <a:gd name="csX223" fmla="*/ 1135776 w 1609516"/>
              <a:gd name="csY223" fmla="*/ 357158 h 1538630"/>
              <a:gd name="csX224" fmla="*/ 1170143 w 1609516"/>
              <a:gd name="csY224" fmla="*/ 354340 h 1538630"/>
              <a:gd name="csX225" fmla="*/ 1174634 w 1609516"/>
              <a:gd name="csY225" fmla="*/ 352579 h 1538630"/>
              <a:gd name="csX226" fmla="*/ 1190890 w 1609516"/>
              <a:gd name="csY226" fmla="*/ 342907 h 1538630"/>
              <a:gd name="csX227" fmla="*/ 1204021 w 1609516"/>
              <a:gd name="csY227" fmla="*/ 335404 h 1538630"/>
              <a:gd name="csX228" fmla="*/ 1223255 w 1609516"/>
              <a:gd name="csY228" fmla="*/ 319110 h 1538630"/>
              <a:gd name="csX229" fmla="*/ 1226868 w 1609516"/>
              <a:gd name="csY229" fmla="*/ 315587 h 1538630"/>
              <a:gd name="csX230" fmla="*/ 1231859 w 1609516"/>
              <a:gd name="csY230" fmla="*/ 303559 h 1538630"/>
              <a:gd name="csX231" fmla="*/ 1234178 w 1609516"/>
              <a:gd name="csY231" fmla="*/ 298059 h 1538630"/>
              <a:gd name="csX232" fmla="*/ 1237314 w 1609516"/>
              <a:gd name="csY232" fmla="*/ 288195 h 1538630"/>
              <a:gd name="csX233" fmla="*/ 1249811 w 1609516"/>
              <a:gd name="csY233" fmla="*/ 265559 h 1538630"/>
              <a:gd name="csX234" fmla="*/ 1252935 w 1609516"/>
              <a:gd name="csY234" fmla="*/ 265559 h 1538630"/>
              <a:gd name="csX235" fmla="*/ 1252935 w 1609516"/>
              <a:gd name="csY235" fmla="*/ 262741 h 1538630"/>
              <a:gd name="csX236" fmla="*/ 1296675 w 1609516"/>
              <a:gd name="csY236" fmla="*/ 252876 h 1538630"/>
              <a:gd name="csX237" fmla="*/ 1307609 w 1609516"/>
              <a:gd name="csY237" fmla="*/ 255695 h 1538630"/>
              <a:gd name="csX238" fmla="*/ 1307609 w 1609516"/>
              <a:gd name="csY238" fmla="*/ 258513 h 1538630"/>
              <a:gd name="csX239" fmla="*/ 1311887 w 1609516"/>
              <a:gd name="csY239" fmla="*/ 258832 h 1538630"/>
              <a:gd name="csX240" fmla="*/ 1326715 w 1609516"/>
              <a:gd name="csY240" fmla="*/ 269969 h 1538630"/>
              <a:gd name="csX241" fmla="*/ 1334165 w 1609516"/>
              <a:gd name="csY241" fmla="*/ 307836 h 1538630"/>
              <a:gd name="csX242" fmla="*/ 1329479 w 1609516"/>
              <a:gd name="csY242" fmla="*/ 314882 h 1538630"/>
              <a:gd name="csX243" fmla="*/ 1323231 w 1609516"/>
              <a:gd name="csY243" fmla="*/ 314882 h 1538630"/>
              <a:gd name="csX244" fmla="*/ 1323231 w 1609516"/>
              <a:gd name="csY244" fmla="*/ 317700 h 1538630"/>
              <a:gd name="csX245" fmla="*/ 1322774 w 1609516"/>
              <a:gd name="csY245" fmla="*/ 317838 h 1538630"/>
              <a:gd name="csX246" fmla="*/ 1323295 w 1609516"/>
              <a:gd name="csY246" fmla="*/ 317838 h 1538630"/>
              <a:gd name="csX247" fmla="*/ 1323295 w 1609516"/>
              <a:gd name="csY247" fmla="*/ 315019 h 1538630"/>
              <a:gd name="csX248" fmla="*/ 1327982 w 1609516"/>
              <a:gd name="csY248" fmla="*/ 315019 h 1538630"/>
              <a:gd name="csX249" fmla="*/ 1317047 w 1609516"/>
              <a:gd name="csY249" fmla="*/ 327702 h 1538630"/>
              <a:gd name="csX250" fmla="*/ 1315484 w 1609516"/>
              <a:gd name="csY250" fmla="*/ 331930 h 1538630"/>
              <a:gd name="csX251" fmla="*/ 1309139 w 1609516"/>
              <a:gd name="csY251" fmla="*/ 333603 h 1538630"/>
              <a:gd name="csX252" fmla="*/ 1305666 w 1609516"/>
              <a:gd name="csY252" fmla="*/ 334280 h 1538630"/>
              <a:gd name="csX253" fmla="*/ 1302988 w 1609516"/>
              <a:gd name="csY253" fmla="*/ 334748 h 1538630"/>
              <a:gd name="csX254" fmla="*/ 1305905 w 1609516"/>
              <a:gd name="csY254" fmla="*/ 332775 h 1538630"/>
              <a:gd name="csX255" fmla="*/ 1304485 w 1609516"/>
              <a:gd name="csY255" fmla="*/ 333202 h 1538630"/>
              <a:gd name="csX256" fmla="*/ 1301459 w 1609516"/>
              <a:gd name="csY256" fmla="*/ 336108 h 1538630"/>
              <a:gd name="csX257" fmla="*/ 1291989 w 1609516"/>
              <a:gd name="csY257" fmla="*/ 338839 h 1538630"/>
              <a:gd name="csX258" fmla="*/ 1290426 w 1609516"/>
              <a:gd name="csY258" fmla="*/ 343066 h 1538630"/>
              <a:gd name="csX259" fmla="*/ 1285740 w 1609516"/>
              <a:gd name="csY259" fmla="*/ 344123 h 1538630"/>
              <a:gd name="csX260" fmla="*/ 1237314 w 1609516"/>
              <a:gd name="csY260" fmla="*/ 382525 h 1538630"/>
              <a:gd name="csX261" fmla="*/ 1232628 w 1609516"/>
              <a:gd name="csY261" fmla="*/ 392389 h 1538630"/>
              <a:gd name="csX262" fmla="*/ 1228625 w 1609516"/>
              <a:gd name="csY262" fmla="*/ 398731 h 1538630"/>
              <a:gd name="csX263" fmla="*/ 1222822 w 1609516"/>
              <a:gd name="csY263" fmla="*/ 434798 h 1538630"/>
              <a:gd name="csX264" fmla="*/ 1260746 w 1609516"/>
              <a:gd name="csY264" fmla="*/ 485398 h 1538630"/>
              <a:gd name="csX265" fmla="*/ 1268556 w 1609516"/>
              <a:gd name="csY265" fmla="*/ 488216 h 1538630"/>
              <a:gd name="csX266" fmla="*/ 1268556 w 1609516"/>
              <a:gd name="csY266" fmla="*/ 491034 h 1538630"/>
              <a:gd name="csX267" fmla="*/ 1338852 w 1609516"/>
              <a:gd name="csY267" fmla="*/ 489625 h 1538630"/>
              <a:gd name="csX268" fmla="*/ 1347444 w 1609516"/>
              <a:gd name="csY268" fmla="*/ 488480 h 1538630"/>
              <a:gd name="csX269" fmla="*/ 1369362 w 1609516"/>
              <a:gd name="csY269" fmla="*/ 482513 h 1538630"/>
              <a:gd name="csX270" fmla="*/ 1388840 w 1609516"/>
              <a:gd name="csY270" fmla="*/ 478351 h 1538630"/>
              <a:gd name="csX271" fmla="*/ 1388840 w 1609516"/>
              <a:gd name="csY271" fmla="*/ 475533 h 1538630"/>
              <a:gd name="csX272" fmla="*/ 1395576 w 1609516"/>
              <a:gd name="csY272" fmla="*/ 473419 h 1538630"/>
              <a:gd name="csX273" fmla="*/ 1399365 w 1609516"/>
              <a:gd name="csY273" fmla="*/ 472230 h 1538630"/>
              <a:gd name="csX274" fmla="*/ 1407585 w 1609516"/>
              <a:gd name="csY274" fmla="*/ 471305 h 1538630"/>
              <a:gd name="csX275" fmla="*/ 1409147 w 1609516"/>
              <a:gd name="csY275" fmla="*/ 467078 h 1538630"/>
              <a:gd name="csX276" fmla="*/ 1416470 w 1609516"/>
              <a:gd name="csY276" fmla="*/ 464259 h 1538630"/>
              <a:gd name="csX277" fmla="*/ 1437949 w 1609516"/>
              <a:gd name="csY277" fmla="*/ 455011 h 1538630"/>
              <a:gd name="csX278" fmla="*/ 1452887 w 1609516"/>
              <a:gd name="csY278" fmla="*/ 450167 h 1538630"/>
              <a:gd name="csX279" fmla="*/ 1452887 w 1609516"/>
              <a:gd name="csY279" fmla="*/ 447349 h 1538630"/>
              <a:gd name="csX280" fmla="*/ 1455394 w 1609516"/>
              <a:gd name="csY280" fmla="*/ 446122 h 1538630"/>
              <a:gd name="csX281" fmla="*/ 1466653 w 1609516"/>
              <a:gd name="csY281" fmla="*/ 440567 h 1538630"/>
              <a:gd name="csX282" fmla="*/ 1470598 w 1609516"/>
              <a:gd name="csY282" fmla="*/ 438637 h 1538630"/>
              <a:gd name="csX283" fmla="*/ 1474397 w 1609516"/>
              <a:gd name="csY283" fmla="*/ 436752 h 1538630"/>
              <a:gd name="csX284" fmla="*/ 1477892 w 1609516"/>
              <a:gd name="csY284" fmla="*/ 435030 h 1538630"/>
              <a:gd name="csX285" fmla="*/ 1485691 w 1609516"/>
              <a:gd name="csY285" fmla="*/ 429029 h 1538630"/>
              <a:gd name="csX286" fmla="*/ 1488858 w 1609516"/>
              <a:gd name="csY286" fmla="*/ 427653 h 1538630"/>
              <a:gd name="csX287" fmla="*/ 1495943 w 1609516"/>
              <a:gd name="csY287" fmla="*/ 421454 h 1538630"/>
              <a:gd name="csX288" fmla="*/ 1538608 w 1609516"/>
              <a:gd name="csY288" fmla="*/ 388338 h 1538630"/>
              <a:gd name="csX289" fmla="*/ 1543490 w 1609516"/>
              <a:gd name="csY289" fmla="*/ 388161 h 1538630"/>
              <a:gd name="csX290" fmla="*/ 1547621 w 1609516"/>
              <a:gd name="csY290" fmla="*/ 387804 h 1538630"/>
              <a:gd name="csX291" fmla="*/ 1579418 w 1609516"/>
              <a:gd name="csY291" fmla="*/ 396617 h 1538630"/>
              <a:gd name="csX292" fmla="*/ 1583342 w 1609516"/>
              <a:gd name="csY292" fmla="*/ 398780 h 1538630"/>
              <a:gd name="csX293" fmla="*/ 1601288 w 1609516"/>
              <a:gd name="csY293" fmla="*/ 423392 h 1538630"/>
              <a:gd name="csX294" fmla="*/ 1594484 w 1609516"/>
              <a:gd name="csY294" fmla="*/ 460159 h 1538630"/>
              <a:gd name="csX295" fmla="*/ 1574732 w 1609516"/>
              <a:gd name="csY295" fmla="*/ 475533 h 1538630"/>
              <a:gd name="csX296" fmla="*/ 1572097 w 1609516"/>
              <a:gd name="csY296" fmla="*/ 477078 h 1538630"/>
              <a:gd name="csX297" fmla="*/ 1556066 w 1609516"/>
              <a:gd name="csY297" fmla="*/ 478737 h 1538630"/>
              <a:gd name="csX298" fmla="*/ 1548631 w 1609516"/>
              <a:gd name="csY298" fmla="*/ 478825 h 1538630"/>
              <a:gd name="csX299" fmla="*/ 1536991 w 1609516"/>
              <a:gd name="csY299" fmla="*/ 478889 h 1538630"/>
              <a:gd name="csX300" fmla="*/ 1498188 w 1609516"/>
              <a:gd name="csY300" fmla="*/ 485398 h 1538630"/>
              <a:gd name="csX301" fmla="*/ 1493892 w 1609516"/>
              <a:gd name="csY301" fmla="*/ 487600 h 1538630"/>
              <a:gd name="csX302" fmla="*/ 1490377 w 1609516"/>
              <a:gd name="csY302" fmla="*/ 489625 h 1538630"/>
              <a:gd name="csX303" fmla="*/ 1471650 w 1609516"/>
              <a:gd name="csY303" fmla="*/ 498185 h 1538630"/>
              <a:gd name="csX304" fmla="*/ 1459135 w 1609516"/>
              <a:gd name="csY304" fmla="*/ 505127 h 1538630"/>
              <a:gd name="csX305" fmla="*/ 1452594 w 1609516"/>
              <a:gd name="csY305" fmla="*/ 508033 h 1538630"/>
              <a:gd name="csX306" fmla="*/ 1427795 w 1609516"/>
              <a:gd name="csY306" fmla="*/ 520100 h 1538630"/>
              <a:gd name="csX307" fmla="*/ 1423733 w 1609516"/>
              <a:gd name="csY307" fmla="*/ 522148 h 1538630"/>
              <a:gd name="csX308" fmla="*/ 1419929 w 1609516"/>
              <a:gd name="csY308" fmla="*/ 524118 h 1538630"/>
              <a:gd name="csX309" fmla="*/ 1416487 w 1609516"/>
              <a:gd name="csY309" fmla="*/ 525883 h 1538630"/>
              <a:gd name="csX310" fmla="*/ 1412271 w 1609516"/>
              <a:gd name="csY310" fmla="*/ 531902 h 1538630"/>
              <a:gd name="csX311" fmla="*/ 1396650 w 1609516"/>
              <a:gd name="csY311" fmla="*/ 537539 h 1538630"/>
              <a:gd name="csX312" fmla="*/ 1396650 w 1609516"/>
              <a:gd name="csY312" fmla="*/ 540357 h 1538630"/>
              <a:gd name="csX313" fmla="*/ 1393495 w 1609516"/>
              <a:gd name="csY313" fmla="*/ 541502 h 1538630"/>
              <a:gd name="csX314" fmla="*/ 1362284 w 1609516"/>
              <a:gd name="csY314" fmla="*/ 558678 h 1538630"/>
              <a:gd name="csX315" fmla="*/ 1355937 w 1609516"/>
              <a:gd name="csY315" fmla="*/ 562905 h 1538630"/>
              <a:gd name="csX316" fmla="*/ 1334165 w 1609516"/>
              <a:gd name="csY316" fmla="*/ 578406 h 1538630"/>
              <a:gd name="csX317" fmla="*/ 1331200 w 1609516"/>
              <a:gd name="csY317" fmla="*/ 580559 h 1538630"/>
              <a:gd name="csX318" fmla="*/ 1322175 w 1609516"/>
              <a:gd name="csY318" fmla="*/ 596793 h 1538630"/>
              <a:gd name="csX319" fmla="*/ 1320106 w 1609516"/>
              <a:gd name="csY319" fmla="*/ 602363 h 1538630"/>
              <a:gd name="csX320" fmla="*/ 1328015 w 1609516"/>
              <a:gd name="csY320" fmla="*/ 647640 h 1538630"/>
              <a:gd name="csX321" fmla="*/ 1332604 w 1609516"/>
              <a:gd name="csY321" fmla="*/ 675643 h 1538630"/>
              <a:gd name="csX322" fmla="*/ 1335727 w 1609516"/>
              <a:gd name="csY322" fmla="*/ 675643 h 1538630"/>
              <a:gd name="csX323" fmla="*/ 1337741 w 1609516"/>
              <a:gd name="csY323" fmla="*/ 690059 h 1538630"/>
              <a:gd name="csX324" fmla="*/ 1338003 w 1609516"/>
              <a:gd name="csY324" fmla="*/ 696222 h 1538630"/>
              <a:gd name="csX325" fmla="*/ 1338340 w 1609516"/>
              <a:gd name="csY325" fmla="*/ 705887 h 1538630"/>
              <a:gd name="csX326" fmla="*/ 1345277 w 1609516"/>
              <a:gd name="csY326" fmla="*/ 733245 h 1538630"/>
              <a:gd name="csX327" fmla="*/ 1363162 w 1609516"/>
              <a:gd name="csY327" fmla="*/ 741612 h 1538630"/>
              <a:gd name="csX328" fmla="*/ 1384154 w 1609516"/>
              <a:gd name="csY328" fmla="*/ 748922 h 1538630"/>
              <a:gd name="csX329" fmla="*/ 1391476 w 1609516"/>
              <a:gd name="csY329" fmla="*/ 750419 h 1538630"/>
              <a:gd name="csX330" fmla="*/ 1395564 w 1609516"/>
              <a:gd name="csY330" fmla="*/ 751080 h 1538630"/>
              <a:gd name="csX331" fmla="*/ 1399775 w 1609516"/>
              <a:gd name="csY331" fmla="*/ 751740 h 1538630"/>
              <a:gd name="csX332" fmla="*/ 1403887 w 1609516"/>
              <a:gd name="csY332" fmla="*/ 752489 h 1538630"/>
              <a:gd name="csX333" fmla="*/ 1465383 w 1609516"/>
              <a:gd name="csY333" fmla="*/ 755969 h 1538630"/>
              <a:gd name="csX334" fmla="*/ 1470339 w 1609516"/>
              <a:gd name="csY334" fmla="*/ 755897 h 1538630"/>
              <a:gd name="csX335" fmla="*/ 1496809 w 1609516"/>
              <a:gd name="csY335" fmla="*/ 749313 h 1538630"/>
              <a:gd name="csX336" fmla="*/ 1515371 w 1609516"/>
              <a:gd name="csY336" fmla="*/ 743285 h 1538630"/>
              <a:gd name="csX337" fmla="*/ 1515371 w 1609516"/>
              <a:gd name="csY337" fmla="*/ 740467 h 1538630"/>
              <a:gd name="csX338" fmla="*/ 1537632 w 1609516"/>
              <a:gd name="csY338" fmla="*/ 737120 h 1538630"/>
              <a:gd name="csX339" fmla="*/ 1541657 w 1609516"/>
              <a:gd name="csY339" fmla="*/ 737127 h 1538630"/>
              <a:gd name="csX340" fmla="*/ 1574732 w 1609516"/>
              <a:gd name="csY340" fmla="*/ 748922 h 1538630"/>
              <a:gd name="csX341" fmla="*/ 1588791 w 1609516"/>
              <a:gd name="csY341" fmla="*/ 792608 h 1538630"/>
              <a:gd name="csX342" fmla="*/ 1584105 w 1609516"/>
              <a:gd name="csY342" fmla="*/ 805291 h 1538630"/>
              <a:gd name="csX343" fmla="*/ 1580981 w 1609516"/>
              <a:gd name="csY343" fmla="*/ 806700 h 1538630"/>
              <a:gd name="csX344" fmla="*/ 1578735 w 1609516"/>
              <a:gd name="csY344" fmla="*/ 810311 h 1538630"/>
              <a:gd name="csX345" fmla="*/ 1576295 w 1609516"/>
              <a:gd name="csY345" fmla="*/ 813746 h 1538630"/>
              <a:gd name="csX346" fmla="*/ 1571652 w 1609516"/>
              <a:gd name="csY346" fmla="*/ 813746 h 1538630"/>
              <a:gd name="csX347" fmla="*/ 1571785 w 1609516"/>
              <a:gd name="csY347" fmla="*/ 814106 h 1538630"/>
              <a:gd name="csX348" fmla="*/ 1574909 w 1609516"/>
              <a:gd name="csY348" fmla="*/ 815515 h 1538630"/>
              <a:gd name="csX349" fmla="*/ 1565463 w 1609516"/>
              <a:gd name="csY349" fmla="*/ 821839 h 1538630"/>
              <a:gd name="csX350" fmla="*/ 1562085 w 1609516"/>
              <a:gd name="csY350" fmla="*/ 822101 h 1538630"/>
              <a:gd name="csX351" fmla="*/ 1551301 w 1609516"/>
              <a:gd name="csY351" fmla="*/ 825020 h 1538630"/>
              <a:gd name="csX352" fmla="*/ 1551301 w 1609516"/>
              <a:gd name="csY352" fmla="*/ 827838 h 1538630"/>
              <a:gd name="csX353" fmla="*/ 1485380 w 1609516"/>
              <a:gd name="csY353" fmla="*/ 815007 h 1538630"/>
              <a:gd name="csX354" fmla="*/ 1431603 w 1609516"/>
              <a:gd name="csY354" fmla="*/ 808726 h 1538630"/>
              <a:gd name="csX355" fmla="*/ 1424140 w 1609516"/>
              <a:gd name="csY355" fmla="*/ 808542 h 1538630"/>
              <a:gd name="csX356" fmla="*/ 1406023 w 1609516"/>
              <a:gd name="csY356" fmla="*/ 808109 h 1538630"/>
              <a:gd name="csX357" fmla="*/ 1406023 w 1609516"/>
              <a:gd name="csY357" fmla="*/ 810928 h 1538630"/>
              <a:gd name="csX358" fmla="*/ 1403383 w 1609516"/>
              <a:gd name="csY358" fmla="*/ 811311 h 1538630"/>
              <a:gd name="csX359" fmla="*/ 1345442 w 1609516"/>
              <a:gd name="csY359" fmla="*/ 828907 h 1538630"/>
              <a:gd name="csX360" fmla="*/ 1337875 w 1609516"/>
              <a:gd name="csY360" fmla="*/ 856639 h 1538630"/>
              <a:gd name="csX361" fmla="*/ 1337692 w 1609516"/>
              <a:gd name="csY361" fmla="*/ 860171 h 1538630"/>
              <a:gd name="csX362" fmla="*/ 1337290 w 1609516"/>
              <a:gd name="csY362" fmla="*/ 868706 h 1538630"/>
              <a:gd name="csX363" fmla="*/ 1334165 w 1609516"/>
              <a:gd name="csY363" fmla="*/ 868706 h 1538630"/>
              <a:gd name="csX364" fmla="*/ 1334165 w 1609516"/>
              <a:gd name="csY364" fmla="*/ 870034 h 1538630"/>
              <a:gd name="csX365" fmla="*/ 1334237 w 1609516"/>
              <a:gd name="csY365" fmla="*/ 869093 h 1538630"/>
              <a:gd name="csX366" fmla="*/ 1335800 w 1609516"/>
              <a:gd name="csY366" fmla="*/ 869093 h 1538630"/>
              <a:gd name="csX367" fmla="*/ 1335995 w 1609516"/>
              <a:gd name="csY367" fmla="*/ 876491 h 1538630"/>
              <a:gd name="csX368" fmla="*/ 1336105 w 1609516"/>
              <a:gd name="csY368" fmla="*/ 880653 h 1538630"/>
              <a:gd name="csX369" fmla="*/ 1334294 w 1609516"/>
              <a:gd name="csY369" fmla="*/ 887271 h 1538630"/>
              <a:gd name="csX370" fmla="*/ 1331455 w 1609516"/>
              <a:gd name="csY370" fmla="*/ 896440 h 1538630"/>
              <a:gd name="csX371" fmla="*/ 1330887 w 1609516"/>
              <a:gd name="csY371" fmla="*/ 899969 h 1538630"/>
              <a:gd name="csX372" fmla="*/ 1330332 w 1609516"/>
              <a:gd name="csY372" fmla="*/ 903618 h 1538630"/>
              <a:gd name="csX373" fmla="*/ 1329209 w 1609516"/>
              <a:gd name="csY373" fmla="*/ 910797 h 1538630"/>
              <a:gd name="csX374" fmla="*/ 1328724 w 1609516"/>
              <a:gd name="csY374" fmla="*/ 913998 h 1538630"/>
              <a:gd name="csX375" fmla="*/ 1324865 w 1609516"/>
              <a:gd name="csY375" fmla="*/ 922643 h 1538630"/>
              <a:gd name="csX376" fmla="*/ 1322619 w 1609516"/>
              <a:gd name="csY376" fmla="*/ 937979 h 1538630"/>
              <a:gd name="csX377" fmla="*/ 1318744 w 1609516"/>
              <a:gd name="csY377" fmla="*/ 944961 h 1538630"/>
              <a:gd name="csX378" fmla="*/ 1318544 w 1609516"/>
              <a:gd name="csY378" fmla="*/ 946213 h 1538630"/>
              <a:gd name="csX379" fmla="*/ 1318251 w 1609516"/>
              <a:gd name="csY379" fmla="*/ 955285 h 1538630"/>
              <a:gd name="csX380" fmla="*/ 1318184 w 1609516"/>
              <a:gd name="csY380" fmla="*/ 960036 h 1538630"/>
              <a:gd name="csX381" fmla="*/ 1324024 w 1609516"/>
              <a:gd name="csY381" fmla="*/ 973660 h 1538630"/>
              <a:gd name="csX382" fmla="*/ 1329284 w 1609516"/>
              <a:gd name="csY382" fmla="*/ 983382 h 1538630"/>
              <a:gd name="csX383" fmla="*/ 1340414 w 1609516"/>
              <a:gd name="csY383" fmla="*/ 998354 h 1538630"/>
              <a:gd name="csX384" fmla="*/ 1346272 w 1609516"/>
              <a:gd name="csY384" fmla="*/ 1005048 h 1538630"/>
              <a:gd name="csX385" fmla="*/ 1394716 w 1609516"/>
              <a:gd name="csY385" fmla="*/ 1042740 h 1538630"/>
              <a:gd name="csX386" fmla="*/ 1401953 w 1609516"/>
              <a:gd name="csY386" fmla="*/ 1047374 h 1538630"/>
              <a:gd name="csX387" fmla="*/ 1427197 w 1609516"/>
              <a:gd name="csY387" fmla="*/ 1059061 h 1538630"/>
              <a:gd name="csX388" fmla="*/ 1437265 w 1609516"/>
              <a:gd name="csY388" fmla="*/ 1064588 h 1538630"/>
              <a:gd name="csX389" fmla="*/ 1437265 w 1609516"/>
              <a:gd name="csY389" fmla="*/ 1067406 h 1538630"/>
              <a:gd name="csX390" fmla="*/ 1440878 w 1609516"/>
              <a:gd name="csY390" fmla="*/ 1067847 h 1538630"/>
              <a:gd name="csX391" fmla="*/ 1447175 w 1609516"/>
              <a:gd name="csY391" fmla="*/ 1070753 h 1538630"/>
              <a:gd name="csX392" fmla="*/ 1457866 w 1609516"/>
              <a:gd name="csY392" fmla="*/ 1076830 h 1538630"/>
              <a:gd name="csX393" fmla="*/ 1462132 w 1609516"/>
              <a:gd name="csY393" fmla="*/ 1078696 h 1538630"/>
              <a:gd name="csX394" fmla="*/ 1465383 w 1609516"/>
              <a:gd name="csY394" fmla="*/ 1080089 h 1538630"/>
              <a:gd name="csX395" fmla="*/ 1465383 w 1609516"/>
              <a:gd name="csY395" fmla="*/ 1082908 h 1538630"/>
              <a:gd name="csX396" fmla="*/ 1468758 w 1609516"/>
              <a:gd name="csY396" fmla="*/ 1083975 h 1538630"/>
              <a:gd name="csX397" fmla="*/ 1481688 w 1609516"/>
              <a:gd name="csY397" fmla="*/ 1091187 h 1538630"/>
              <a:gd name="csX398" fmla="*/ 1486283 w 1609516"/>
              <a:gd name="csY398" fmla="*/ 1094236 h 1538630"/>
              <a:gd name="csX399" fmla="*/ 1494869 w 1609516"/>
              <a:gd name="csY399" fmla="*/ 1100171 h 1538630"/>
              <a:gd name="csX400" fmla="*/ 1544335 w 1609516"/>
              <a:gd name="csY400" fmla="*/ 1109518 h 1538630"/>
              <a:gd name="csX401" fmla="*/ 1593477 w 1609516"/>
              <a:gd name="csY401" fmla="*/ 1119900 h 1538630"/>
              <a:gd name="csX402" fmla="*/ 1605975 w 1609516"/>
              <a:gd name="csY402" fmla="*/ 1144913 h 1538630"/>
              <a:gd name="csX403" fmla="*/ 1609099 w 1609516"/>
              <a:gd name="csY403" fmla="*/ 1144913 h 1538630"/>
              <a:gd name="csX404" fmla="*/ 1609392 w 1609516"/>
              <a:gd name="csY404" fmla="*/ 1156892 h 1538630"/>
              <a:gd name="csX405" fmla="*/ 1609511 w 1609516"/>
              <a:gd name="csY405" fmla="*/ 1160272 h 1538630"/>
              <a:gd name="csX406" fmla="*/ 1604412 w 1609516"/>
              <a:gd name="csY406" fmla="*/ 1181553 h 1538630"/>
              <a:gd name="csX407" fmla="*/ 1601288 w 1609516"/>
              <a:gd name="csY407" fmla="*/ 1190009 h 1538630"/>
              <a:gd name="csX408" fmla="*/ 1598164 w 1609516"/>
              <a:gd name="csY408" fmla="*/ 1190009 h 1538630"/>
              <a:gd name="csX409" fmla="*/ 1597187 w 1609516"/>
              <a:gd name="csY409" fmla="*/ 1192739 h 1538630"/>
              <a:gd name="csX410" fmla="*/ 1595040 w 1609516"/>
              <a:gd name="csY410" fmla="*/ 1195645 h 1538630"/>
              <a:gd name="csX411" fmla="*/ 1585667 w 1609516"/>
              <a:gd name="csY411" fmla="*/ 1197055 h 1538630"/>
              <a:gd name="csX412" fmla="*/ 1582543 w 1609516"/>
              <a:gd name="csY412" fmla="*/ 1202691 h 1538630"/>
              <a:gd name="csX413" fmla="*/ 1562431 w 1609516"/>
              <a:gd name="csY413" fmla="*/ 1204365 h 1538630"/>
              <a:gd name="csX414" fmla="*/ 1558690 w 1609516"/>
              <a:gd name="csY414" fmla="*/ 1204417 h 1538630"/>
              <a:gd name="csX415" fmla="*/ 1521102 w 1609516"/>
              <a:gd name="csY415" fmla="*/ 1189585 h 1538630"/>
              <a:gd name="csX416" fmla="*/ 1505022 w 1609516"/>
              <a:gd name="csY416" fmla="*/ 1172041 h 1538630"/>
              <a:gd name="csX417" fmla="*/ 1457573 w 1609516"/>
              <a:gd name="csY417" fmla="*/ 1140686 h 1538630"/>
              <a:gd name="csX418" fmla="*/ 1457573 w 1609516"/>
              <a:gd name="csY418" fmla="*/ 1137867 h 1538630"/>
              <a:gd name="csX419" fmla="*/ 1452985 w 1609516"/>
              <a:gd name="csY419" fmla="*/ 1137339 h 1538630"/>
              <a:gd name="csX420" fmla="*/ 1448200 w 1609516"/>
              <a:gd name="csY420" fmla="*/ 1136458 h 1538630"/>
              <a:gd name="csX421" fmla="*/ 1446638 w 1609516"/>
              <a:gd name="csY421" fmla="*/ 1133640 h 1538630"/>
              <a:gd name="csX422" fmla="*/ 1438937 w 1609516"/>
              <a:gd name="csY422" fmla="*/ 1130601 h 1538630"/>
              <a:gd name="csX423" fmla="*/ 1429260 w 1609516"/>
              <a:gd name="csY423" fmla="*/ 1126770 h 1538630"/>
              <a:gd name="csX424" fmla="*/ 1411393 w 1609516"/>
              <a:gd name="csY424" fmla="*/ 1120340 h 1538630"/>
              <a:gd name="csX425" fmla="*/ 1391427 w 1609516"/>
              <a:gd name="csY425" fmla="*/ 1111191 h 1538630"/>
              <a:gd name="csX426" fmla="*/ 1381029 w 1609516"/>
              <a:gd name="csY426" fmla="*/ 1106865 h 1538630"/>
              <a:gd name="csX427" fmla="*/ 1381029 w 1609516"/>
              <a:gd name="csY427" fmla="*/ 1104046 h 1538630"/>
              <a:gd name="csX428" fmla="*/ 1377221 w 1609516"/>
              <a:gd name="csY428" fmla="*/ 1103605 h 1538630"/>
              <a:gd name="csX429" fmla="*/ 1357597 w 1609516"/>
              <a:gd name="csY429" fmla="*/ 1098409 h 1538630"/>
              <a:gd name="csX430" fmla="*/ 1352032 w 1609516"/>
              <a:gd name="csY430" fmla="*/ 1096736 h 1538630"/>
              <a:gd name="csX431" fmla="*/ 1348225 w 1609516"/>
              <a:gd name="csY431" fmla="*/ 1095590 h 1538630"/>
              <a:gd name="csX432" fmla="*/ 1348225 w 1609516"/>
              <a:gd name="csY432" fmla="*/ 1092772 h 1538630"/>
              <a:gd name="csX433" fmla="*/ 1337290 w 1609516"/>
              <a:gd name="csY433" fmla="*/ 1091363 h 1538630"/>
              <a:gd name="csX434" fmla="*/ 1337290 w 1609516"/>
              <a:gd name="csY434" fmla="*/ 1088544 h 1538630"/>
              <a:gd name="csX435" fmla="*/ 1331529 w 1609516"/>
              <a:gd name="csY435" fmla="*/ 1088104 h 1538630"/>
              <a:gd name="csX436" fmla="*/ 1323297 w 1609516"/>
              <a:gd name="csY436" fmla="*/ 1086611 h 1538630"/>
              <a:gd name="csX437" fmla="*/ 1323297 w 1609516"/>
              <a:gd name="csY437" fmla="*/ 1087618 h 1538630"/>
              <a:gd name="csX438" fmla="*/ 1319789 w 1609516"/>
              <a:gd name="csY438" fmla="*/ 1087310 h 1538630"/>
              <a:gd name="csX439" fmla="*/ 1262375 w 1609516"/>
              <a:gd name="csY439" fmla="*/ 1089028 h 1538630"/>
              <a:gd name="csX440" fmla="*/ 1258728 w 1609516"/>
              <a:gd name="csY440" fmla="*/ 1088205 h 1538630"/>
              <a:gd name="csX441" fmla="*/ 1246964 w 1609516"/>
              <a:gd name="csY441" fmla="*/ 1091489 h 1538630"/>
              <a:gd name="csX442" fmla="*/ 1223224 w 1609516"/>
              <a:gd name="csY442" fmla="*/ 1112865 h 1538630"/>
              <a:gd name="csX443" fmla="*/ 1213883 w 1609516"/>
              <a:gd name="csY443" fmla="*/ 1122366 h 1538630"/>
              <a:gd name="csX444" fmla="*/ 1212505 w 1609516"/>
              <a:gd name="csY444" fmla="*/ 1125708 h 1538630"/>
              <a:gd name="csX445" fmla="*/ 1204180 w 1609516"/>
              <a:gd name="csY445" fmla="*/ 1135561 h 1538630"/>
              <a:gd name="csX446" fmla="*/ 1200238 w 1609516"/>
              <a:gd name="csY446" fmla="*/ 1138999 h 1538630"/>
              <a:gd name="csX447" fmla="*/ 1192025 w 1609516"/>
              <a:gd name="csY447" fmla="*/ 1146022 h 1538630"/>
              <a:gd name="csX448" fmla="*/ 1173945 w 1609516"/>
              <a:gd name="csY448" fmla="*/ 1174749 h 1538630"/>
              <a:gd name="csX449" fmla="*/ 1173950 w 1609516"/>
              <a:gd name="csY449" fmla="*/ 1182610 h 1538630"/>
              <a:gd name="csX450" fmla="*/ 1173989 w 1609516"/>
              <a:gd name="csY450" fmla="*/ 1186765 h 1538630"/>
              <a:gd name="csX451" fmla="*/ 1182640 w 1609516"/>
              <a:gd name="csY451" fmla="*/ 1215374 h 1538630"/>
              <a:gd name="csX452" fmla="*/ 1185764 w 1609516"/>
              <a:gd name="csY452" fmla="*/ 1221804 h 1538630"/>
              <a:gd name="csX453" fmla="*/ 1187301 w 1609516"/>
              <a:gd name="csY453" fmla="*/ 1224859 h 1538630"/>
              <a:gd name="csX454" fmla="*/ 1190573 w 1609516"/>
              <a:gd name="csY454" fmla="*/ 1231740 h 1538630"/>
              <a:gd name="csX455" fmla="*/ 1205925 w 1609516"/>
              <a:gd name="csY455" fmla="*/ 1255163 h 1538630"/>
              <a:gd name="csX456" fmla="*/ 1212174 w 1609516"/>
              <a:gd name="csY456" fmla="*/ 1263134 h 1538630"/>
              <a:gd name="csX457" fmla="*/ 1235556 w 1609516"/>
              <a:gd name="csY457" fmla="*/ 1282538 h 1538630"/>
              <a:gd name="csX458" fmla="*/ 1238876 w 1609516"/>
              <a:gd name="csY458" fmla="*/ 1284426 h 1538630"/>
              <a:gd name="csX459" fmla="*/ 1238876 w 1609516"/>
              <a:gd name="csY459" fmla="*/ 1287245 h 1538630"/>
              <a:gd name="csX460" fmla="*/ 1242245 w 1609516"/>
              <a:gd name="csY460" fmla="*/ 1287663 h 1538630"/>
              <a:gd name="csX461" fmla="*/ 1271681 w 1609516"/>
              <a:gd name="csY461" fmla="*/ 1305565 h 1538630"/>
              <a:gd name="csX462" fmla="*/ 1271742 w 1609516"/>
              <a:gd name="csY462" fmla="*/ 1306172 h 1538630"/>
              <a:gd name="csX463" fmla="*/ 1278525 w 1609516"/>
              <a:gd name="csY463" fmla="*/ 1315767 h 1538630"/>
              <a:gd name="csX464" fmla="*/ 1281097 w 1609516"/>
              <a:gd name="csY464" fmla="*/ 1327286 h 1538630"/>
              <a:gd name="csX465" fmla="*/ 1277973 w 1609516"/>
              <a:gd name="csY465" fmla="*/ 1355470 h 1538630"/>
              <a:gd name="csX466" fmla="*/ 1277460 w 1609516"/>
              <a:gd name="csY466" fmla="*/ 1347025 h 1538630"/>
              <a:gd name="csX467" fmla="*/ 1273531 w 1609516"/>
              <a:gd name="csY467" fmla="*/ 1357991 h 1538630"/>
              <a:gd name="csX468" fmla="*/ 1263870 w 1609516"/>
              <a:gd name="csY468" fmla="*/ 1368980 h 1538630"/>
              <a:gd name="csX469" fmla="*/ 1246686 w 1609516"/>
              <a:gd name="csY469" fmla="*/ 1376026 h 1538630"/>
              <a:gd name="csX470" fmla="*/ 1246686 w 1609516"/>
              <a:gd name="csY470" fmla="*/ 1378844 h 1538630"/>
              <a:gd name="csX471" fmla="*/ 1231651 w 1609516"/>
              <a:gd name="csY471" fmla="*/ 1379196 h 1538630"/>
              <a:gd name="csX472" fmla="*/ 1227373 w 1609516"/>
              <a:gd name="csY472" fmla="*/ 1379340 h 1538630"/>
              <a:gd name="csX473" fmla="*/ 1206071 w 1609516"/>
              <a:gd name="csY473" fmla="*/ 1373207 h 1538630"/>
              <a:gd name="csX474" fmla="*/ 1202069 w 1609516"/>
              <a:gd name="csY474" fmla="*/ 1371798 h 1538630"/>
              <a:gd name="csX475" fmla="*/ 1184104 w 1609516"/>
              <a:gd name="csY475" fmla="*/ 1356176 h 1538630"/>
              <a:gd name="csX476" fmla="*/ 1177270 w 1609516"/>
              <a:gd name="csY476" fmla="*/ 1335247 h 1538630"/>
              <a:gd name="csX477" fmla="*/ 1169002 w 1609516"/>
              <a:gd name="csY477" fmla="*/ 1313464 h 1538630"/>
              <a:gd name="csX478" fmla="*/ 1163504 w 1609516"/>
              <a:gd name="csY478" fmla="*/ 1302130 h 1538630"/>
              <a:gd name="csX479" fmla="*/ 1162015 w 1609516"/>
              <a:gd name="csY479" fmla="*/ 1298788 h 1538630"/>
              <a:gd name="csX480" fmla="*/ 1160111 w 1609516"/>
              <a:gd name="csY480" fmla="*/ 1292656 h 1538630"/>
              <a:gd name="csX481" fmla="*/ 1154522 w 1609516"/>
              <a:gd name="csY481" fmla="*/ 1287245 h 1538630"/>
              <a:gd name="csX482" fmla="*/ 1151398 w 1609516"/>
              <a:gd name="csY482" fmla="*/ 1280199 h 1538630"/>
              <a:gd name="csX483" fmla="*/ 1144173 w 1609516"/>
              <a:gd name="csY483" fmla="*/ 1270774 h 1538630"/>
              <a:gd name="csX484" fmla="*/ 1142065 w 1609516"/>
              <a:gd name="csY484" fmla="*/ 1268160 h 1538630"/>
              <a:gd name="csX485" fmla="*/ 1135776 w 1609516"/>
              <a:gd name="csY485" fmla="*/ 1260470 h 1538630"/>
              <a:gd name="csX486" fmla="*/ 1132353 w 1609516"/>
              <a:gd name="csY486" fmla="*/ 1256247 h 1538630"/>
              <a:gd name="csX487" fmla="*/ 1112344 w 1609516"/>
              <a:gd name="csY487" fmla="*/ 1240741 h 1538630"/>
              <a:gd name="csX488" fmla="*/ 1106193 w 1609516"/>
              <a:gd name="csY488" fmla="*/ 1237570 h 1538630"/>
              <a:gd name="csX489" fmla="*/ 1101409 w 1609516"/>
              <a:gd name="csY489" fmla="*/ 1235104 h 1538630"/>
              <a:gd name="csX490" fmla="*/ 1101409 w 1609516"/>
              <a:gd name="csY490" fmla="*/ 1230876 h 1538630"/>
              <a:gd name="csX491" fmla="*/ 1065480 w 1609516"/>
              <a:gd name="csY491" fmla="*/ 1230876 h 1538630"/>
              <a:gd name="csX492" fmla="*/ 1063919 w 1609516"/>
              <a:gd name="csY492" fmla="*/ 1235104 h 1538630"/>
              <a:gd name="csX493" fmla="*/ 1059232 w 1609516"/>
              <a:gd name="csY493" fmla="*/ 1235104 h 1538630"/>
              <a:gd name="csX494" fmla="*/ 1059232 w 1609516"/>
              <a:gd name="csY494" fmla="*/ 1237922 h 1538630"/>
              <a:gd name="csX495" fmla="*/ 1040194 w 1609516"/>
              <a:gd name="csY495" fmla="*/ 1245761 h 1538630"/>
              <a:gd name="csX496" fmla="*/ 1030333 w 1609516"/>
              <a:gd name="csY496" fmla="*/ 1249901 h 1538630"/>
              <a:gd name="csX497" fmla="*/ 1013931 w 1609516"/>
              <a:gd name="csY497" fmla="*/ 1256242 h 1538630"/>
              <a:gd name="csX498" fmla="*/ 1005925 w 1609516"/>
              <a:gd name="csY498" fmla="*/ 1261615 h 1538630"/>
              <a:gd name="csX499" fmla="*/ 1004558 w 1609516"/>
              <a:gd name="csY499" fmla="*/ 1264697 h 1538630"/>
              <a:gd name="csX500" fmla="*/ 1002959 w 1609516"/>
              <a:gd name="csY500" fmla="*/ 1267961 h 1538630"/>
              <a:gd name="csX501" fmla="*/ 1000653 w 1609516"/>
              <a:gd name="csY501" fmla="*/ 1278965 h 1538630"/>
              <a:gd name="csX502" fmla="*/ 998297 w 1609516"/>
              <a:gd name="csY502" fmla="*/ 1294137 h 1538630"/>
              <a:gd name="csX503" fmla="*/ 996162 w 1609516"/>
              <a:gd name="csY503" fmla="*/ 1324765 h 1538630"/>
              <a:gd name="csX504" fmla="*/ 996164 w 1609516"/>
              <a:gd name="csY504" fmla="*/ 1327846 h 1538630"/>
              <a:gd name="csX505" fmla="*/ 1007780 w 1609516"/>
              <a:gd name="csY505" fmla="*/ 1403329 h 1538630"/>
              <a:gd name="csX506" fmla="*/ 1008940 w 1609516"/>
              <a:gd name="csY506" fmla="*/ 1407701 h 1538630"/>
              <a:gd name="csX507" fmla="*/ 1010080 w 1609516"/>
              <a:gd name="csY507" fmla="*/ 1411730 h 1538630"/>
              <a:gd name="csX508" fmla="*/ 1011075 w 1609516"/>
              <a:gd name="csY508" fmla="*/ 1415277 h 1538630"/>
              <a:gd name="csX509" fmla="*/ 1017055 w 1609516"/>
              <a:gd name="csY509" fmla="*/ 1422530 h 1538630"/>
              <a:gd name="csX510" fmla="*/ 1020277 w 1609516"/>
              <a:gd name="csY510" fmla="*/ 1427991 h 1538630"/>
              <a:gd name="csX511" fmla="*/ 1021796 w 1609516"/>
              <a:gd name="csY511" fmla="*/ 1430798 h 1538630"/>
              <a:gd name="csX512" fmla="*/ 1024579 w 1609516"/>
              <a:gd name="csY512" fmla="*/ 1437239 h 1538630"/>
              <a:gd name="csX513" fmla="*/ 1034043 w 1609516"/>
              <a:gd name="csY513" fmla="*/ 1448072 h 1538630"/>
              <a:gd name="csX514" fmla="*/ 1043782 w 1609516"/>
              <a:gd name="csY514" fmla="*/ 1464320 h 1538630"/>
              <a:gd name="csX515" fmla="*/ 1050458 w 1609516"/>
              <a:gd name="csY515" fmla="*/ 1472189 h 1538630"/>
              <a:gd name="csX516" fmla="*/ 1052926 w 1609516"/>
              <a:gd name="csY516" fmla="*/ 1482370 h 1538630"/>
              <a:gd name="csX517" fmla="*/ 1053316 w 1609516"/>
              <a:gd name="csY517" fmla="*/ 1496903 h 1538630"/>
              <a:gd name="csX518" fmla="*/ 1053352 w 1609516"/>
              <a:gd name="csY518" fmla="*/ 1500660 h 1538630"/>
              <a:gd name="csX519" fmla="*/ 1053341 w 1609516"/>
              <a:gd name="csY519" fmla="*/ 1504285 h 1538630"/>
              <a:gd name="csX520" fmla="*/ 1053329 w 1609516"/>
              <a:gd name="csY520" fmla="*/ 1507529 h 1538630"/>
              <a:gd name="csX521" fmla="*/ 1049801 w 1609516"/>
              <a:gd name="csY521" fmla="*/ 1516192 h 1538630"/>
              <a:gd name="csX522" fmla="*/ 1047312 w 1609516"/>
              <a:gd name="csY522" fmla="*/ 1516192 h 1538630"/>
              <a:gd name="csX523" fmla="*/ 1043611 w 1609516"/>
              <a:gd name="csY523" fmla="*/ 1522585 h 1538630"/>
              <a:gd name="csX524" fmla="*/ 1029552 w 1609516"/>
              <a:gd name="csY524" fmla="*/ 1529631 h 1538630"/>
              <a:gd name="csX525" fmla="*/ 1028771 w 1609516"/>
              <a:gd name="csY525" fmla="*/ 1532273 h 1538630"/>
              <a:gd name="csX526" fmla="*/ 1018013 w 1609516"/>
              <a:gd name="csY526" fmla="*/ 1537640 h 1538630"/>
              <a:gd name="csX527" fmla="*/ 981126 w 1609516"/>
              <a:gd name="csY527" fmla="*/ 1533859 h 1538630"/>
              <a:gd name="csX528" fmla="*/ 977227 w 1609516"/>
              <a:gd name="csY528" fmla="*/ 1531943 h 1538630"/>
              <a:gd name="csX529" fmla="*/ 955376 w 1609516"/>
              <a:gd name="csY529" fmla="*/ 1508751 h 1538630"/>
              <a:gd name="csX530" fmla="*/ 954571 w 1609516"/>
              <a:gd name="csY530" fmla="*/ 1500037 h 1538630"/>
              <a:gd name="csX531" fmla="*/ 951446 w 1609516"/>
              <a:gd name="csY531" fmla="*/ 1500037 h 1538630"/>
              <a:gd name="csX532" fmla="*/ 951251 w 1609516"/>
              <a:gd name="csY532" fmla="*/ 1487883 h 1538630"/>
              <a:gd name="csX533" fmla="*/ 951171 w 1609516"/>
              <a:gd name="csY533" fmla="*/ 1484431 h 1538630"/>
              <a:gd name="csX534" fmla="*/ 954571 w 1609516"/>
              <a:gd name="csY534" fmla="*/ 1466216 h 1538630"/>
              <a:gd name="csX535" fmla="*/ 954961 w 1609516"/>
              <a:gd name="csY535" fmla="*/ 1455118 h 1538630"/>
              <a:gd name="csX536" fmla="*/ 954932 w 1609516"/>
              <a:gd name="csY536" fmla="*/ 1451972 h 1538630"/>
              <a:gd name="csX537" fmla="*/ 945099 w 1609516"/>
              <a:gd name="csY537" fmla="*/ 1403594 h 1538630"/>
              <a:gd name="csX538" fmla="*/ 942366 w 1609516"/>
              <a:gd name="csY538" fmla="*/ 1393553 h 1538630"/>
              <a:gd name="csX539" fmla="*/ 934451 w 1609516"/>
              <a:gd name="csY539" fmla="*/ 1372734 h 1538630"/>
              <a:gd name="csX540" fmla="*/ 931974 w 1609516"/>
              <a:gd name="csY540" fmla="*/ 1365754 h 1538630"/>
              <a:gd name="csX541" fmla="*/ 931138 w 1609516"/>
              <a:gd name="csY541" fmla="*/ 1363343 h 1538630"/>
              <a:gd name="csX542" fmla="*/ 926452 w 1609516"/>
              <a:gd name="csY542" fmla="*/ 1361933 h 1538630"/>
              <a:gd name="csX543" fmla="*/ 918641 w 1609516"/>
              <a:gd name="csY543" fmla="*/ 1340795 h 1538630"/>
              <a:gd name="csX544" fmla="*/ 917079 w 1609516"/>
              <a:gd name="csY544" fmla="*/ 1335158 h 1538630"/>
              <a:gd name="csX545" fmla="*/ 913955 w 1609516"/>
              <a:gd name="csY545" fmla="*/ 1335158 h 1538630"/>
              <a:gd name="csX546" fmla="*/ 912057 w 1609516"/>
              <a:gd name="csY546" fmla="*/ 1330793 h 1538630"/>
              <a:gd name="csX547" fmla="*/ 902142 w 1609516"/>
              <a:gd name="csY547" fmla="*/ 1316222 h 1538630"/>
              <a:gd name="csX548" fmla="*/ 900091 w 1609516"/>
              <a:gd name="csY548" fmla="*/ 1313828 h 1538630"/>
              <a:gd name="csX549" fmla="*/ 878026 w 1609516"/>
              <a:gd name="csY549" fmla="*/ 1295700 h 1538630"/>
              <a:gd name="csX550" fmla="*/ 875134 w 1609516"/>
              <a:gd name="csY550" fmla="*/ 1293465 h 1538630"/>
              <a:gd name="csX551" fmla="*/ 869869 w 1609516"/>
              <a:gd name="csY551" fmla="*/ 1291826 h 1538630"/>
              <a:gd name="csX552" fmla="*/ 862384 w 1609516"/>
              <a:gd name="csY552" fmla="*/ 1291327 h 1538630"/>
              <a:gd name="csX553" fmla="*/ 844390 w 1609516"/>
              <a:gd name="csY553" fmla="*/ 1290461 h 1538630"/>
              <a:gd name="csX554" fmla="*/ 840476 w 1609516"/>
              <a:gd name="csY554" fmla="*/ 1290500 h 1538630"/>
              <a:gd name="csX555" fmla="*/ 831015 w 1609516"/>
              <a:gd name="csY555" fmla="*/ 1290637 h 1538630"/>
              <a:gd name="csX556" fmla="*/ 831015 w 1609516"/>
              <a:gd name="csY556" fmla="*/ 1293456 h 1538630"/>
              <a:gd name="csX557" fmla="*/ 818225 w 1609516"/>
              <a:gd name="csY557" fmla="*/ 1295570 h 1538630"/>
              <a:gd name="csX558" fmla="*/ 796774 w 1609516"/>
              <a:gd name="csY558" fmla="*/ 1297671 h 1538630"/>
              <a:gd name="csX559" fmla="*/ 783646 w 1609516"/>
              <a:gd name="csY559" fmla="*/ 1305736 h 1538630"/>
              <a:gd name="csX560" fmla="*/ 769263 w 1609516"/>
              <a:gd name="csY560" fmla="*/ 1327143 h 1538630"/>
              <a:gd name="csX561" fmla="*/ 764797 w 1609516"/>
              <a:gd name="csY561" fmla="*/ 1334360 h 1538630"/>
              <a:gd name="csX562" fmla="*/ 757875 w 1609516"/>
              <a:gd name="csY562" fmla="*/ 1353503 h 1538630"/>
              <a:gd name="csX563" fmla="*/ 755676 w 1609516"/>
              <a:gd name="csY563" fmla="*/ 1367455 h 1538630"/>
              <a:gd name="csX564" fmla="*/ 750558 w 1609516"/>
              <a:gd name="csY564" fmla="*/ 1399690 h 1538630"/>
              <a:gd name="csX565" fmla="*/ 753057 w 1609516"/>
              <a:gd name="csY565" fmla="*/ 1411256 h 1538630"/>
              <a:gd name="csX566" fmla="*/ 753057 w 1609516"/>
              <a:gd name="csY566" fmla="*/ 1416893 h 1538630"/>
              <a:gd name="csX567" fmla="*/ 756181 w 1609516"/>
              <a:gd name="csY567" fmla="*/ 1416893 h 1538630"/>
              <a:gd name="csX568" fmla="*/ 758133 w 1609516"/>
              <a:gd name="csY568" fmla="*/ 1436182 h 1538630"/>
              <a:gd name="csX569" fmla="*/ 758231 w 1609516"/>
              <a:gd name="csY569" fmla="*/ 1440781 h 1538630"/>
              <a:gd name="csX570" fmla="*/ 750713 w 1609516"/>
              <a:gd name="csY570" fmla="*/ 1465704 h 1538630"/>
              <a:gd name="csX571" fmla="*/ 748370 w 1609516"/>
              <a:gd name="csY571" fmla="*/ 1467185 h 1538630"/>
              <a:gd name="csX572" fmla="*/ 741633 w 1609516"/>
              <a:gd name="csY572" fmla="*/ 1473526 h 1538630"/>
              <a:gd name="csX573" fmla="*/ 728154 w 1609516"/>
              <a:gd name="csY573" fmla="*/ 1478343 h 1538630"/>
              <a:gd name="csX574" fmla="*/ 721814 w 1609516"/>
              <a:gd name="csY574" fmla="*/ 1480308 h 1538630"/>
              <a:gd name="csX575" fmla="*/ 708341 w 1609516"/>
              <a:gd name="csY575" fmla="*/ 1480661 h 1538630"/>
              <a:gd name="csX576" fmla="*/ 704637 w 1609516"/>
              <a:gd name="csY576" fmla="*/ 1480748 h 1538630"/>
              <a:gd name="csX577" fmla="*/ 668507 w 1609516"/>
              <a:gd name="csY577" fmla="*/ 1468418 h 1538630"/>
              <a:gd name="csX578" fmla="*/ 660178 w 1609516"/>
              <a:gd name="csY578" fmla="*/ 1450027 h 1538630"/>
              <a:gd name="csX579" fmla="*/ 657767 w 1609516"/>
              <a:gd name="csY579" fmla="*/ 1445078 h 1538630"/>
              <a:gd name="csX580" fmla="*/ 663369 w 1609516"/>
              <a:gd name="csY580" fmla="*/ 1409390 h 1538630"/>
              <a:gd name="csX581" fmla="*/ 671826 w 1609516"/>
              <a:gd name="csY581" fmla="*/ 1401392 h 1538630"/>
              <a:gd name="csX582" fmla="*/ 678075 w 1609516"/>
              <a:gd name="csY582" fmla="*/ 1390118 h 1538630"/>
              <a:gd name="csX583" fmla="*/ 684323 w 1609516"/>
              <a:gd name="csY583" fmla="*/ 1388709 h 1538630"/>
              <a:gd name="csX584" fmla="*/ 685293 w 1609516"/>
              <a:gd name="csY584" fmla="*/ 1384233 h 1538630"/>
              <a:gd name="csX585" fmla="*/ 686569 w 1609516"/>
              <a:gd name="csY585" fmla="*/ 1378404 h 1538630"/>
              <a:gd name="csX586" fmla="*/ 687207 w 1609516"/>
              <a:gd name="csY586" fmla="*/ 1375456 h 1538630"/>
              <a:gd name="csX587" fmla="*/ 690572 w 1609516"/>
              <a:gd name="csY587" fmla="*/ 1363343 h 1538630"/>
              <a:gd name="csX588" fmla="*/ 692495 w 1609516"/>
              <a:gd name="csY588" fmla="*/ 1323376 h 1538630"/>
              <a:gd name="csX589" fmla="*/ 692625 w 1609516"/>
              <a:gd name="csY589" fmla="*/ 1315006 h 1538630"/>
              <a:gd name="csX590" fmla="*/ 687447 w 1609516"/>
              <a:gd name="csY590" fmla="*/ 1287245 h 1538630"/>
              <a:gd name="csX591" fmla="*/ 682761 w 1609516"/>
              <a:gd name="csY591" fmla="*/ 1285835 h 1538630"/>
              <a:gd name="csX592" fmla="*/ 678954 w 1609516"/>
              <a:gd name="csY592" fmla="*/ 1281608 h 1538630"/>
              <a:gd name="csX593" fmla="*/ 668702 w 1609516"/>
              <a:gd name="csY593" fmla="*/ 1275971 h 1538630"/>
              <a:gd name="csX594" fmla="*/ 662454 w 1609516"/>
              <a:gd name="csY594" fmla="*/ 1270334 h 1538630"/>
              <a:gd name="csX595" fmla="*/ 654643 w 1609516"/>
              <a:gd name="csY595" fmla="*/ 1267516 h 1538630"/>
              <a:gd name="csX596" fmla="*/ 654643 w 1609516"/>
              <a:gd name="csY596" fmla="*/ 1264697 h 1538630"/>
              <a:gd name="csX597" fmla="*/ 650152 w 1609516"/>
              <a:gd name="csY597" fmla="*/ 1264345 h 1538630"/>
              <a:gd name="csX598" fmla="*/ 628087 w 1609516"/>
              <a:gd name="csY598" fmla="*/ 1257651 h 1538630"/>
              <a:gd name="csX599" fmla="*/ 628087 w 1609516"/>
              <a:gd name="csY599" fmla="*/ 1254833 h 1538630"/>
              <a:gd name="csX600" fmla="*/ 625121 w 1609516"/>
              <a:gd name="csY600" fmla="*/ 1254315 h 1538630"/>
              <a:gd name="csX601" fmla="*/ 621252 w 1609516"/>
              <a:gd name="csY601" fmla="*/ 1253600 h 1538630"/>
              <a:gd name="csX602" fmla="*/ 617409 w 1609516"/>
              <a:gd name="csY602" fmla="*/ 1252906 h 1538630"/>
              <a:gd name="csX603" fmla="*/ 610904 w 1609516"/>
              <a:gd name="csY603" fmla="*/ 1249196 h 1538630"/>
              <a:gd name="csX604" fmla="*/ 565739 w 1609516"/>
              <a:gd name="csY604" fmla="*/ 1271742 h 1538630"/>
              <a:gd name="csX605" fmla="*/ 546924 w 1609516"/>
              <a:gd name="csY605" fmla="*/ 1290829 h 1538630"/>
              <a:gd name="csX606" fmla="*/ 543635 w 1609516"/>
              <a:gd name="csY606" fmla="*/ 1294643 h 1538630"/>
              <a:gd name="csX607" fmla="*/ 540651 w 1609516"/>
              <a:gd name="csY607" fmla="*/ 1298188 h 1538630"/>
              <a:gd name="csX608" fmla="*/ 529673 w 1609516"/>
              <a:gd name="csY608" fmla="*/ 1305565 h 1538630"/>
              <a:gd name="csX609" fmla="*/ 526549 w 1609516"/>
              <a:gd name="csY609" fmla="*/ 1311202 h 1538630"/>
              <a:gd name="csX610" fmla="*/ 523425 w 1609516"/>
              <a:gd name="csY610" fmla="*/ 1311202 h 1538630"/>
              <a:gd name="csX611" fmla="*/ 523230 w 1609516"/>
              <a:gd name="csY611" fmla="*/ 1313580 h 1538630"/>
              <a:gd name="csX612" fmla="*/ 517732 w 1609516"/>
              <a:gd name="csY612" fmla="*/ 1319739 h 1538630"/>
              <a:gd name="csX613" fmla="*/ 502239 w 1609516"/>
              <a:gd name="csY613" fmla="*/ 1337096 h 1538630"/>
              <a:gd name="csX614" fmla="*/ 497058 w 1609516"/>
              <a:gd name="csY614" fmla="*/ 1344087 h 1538630"/>
              <a:gd name="csX615" fmla="*/ 494572 w 1609516"/>
              <a:gd name="csY615" fmla="*/ 1347465 h 1538630"/>
              <a:gd name="csX616" fmla="*/ 487776 w 1609516"/>
              <a:gd name="csY616" fmla="*/ 1356181 h 1538630"/>
              <a:gd name="csX617" fmla="*/ 481248 w 1609516"/>
              <a:gd name="csY617" fmla="*/ 1367571 h 1538630"/>
              <a:gd name="csX618" fmla="*/ 478123 w 1609516"/>
              <a:gd name="csY618" fmla="*/ 1367571 h 1538630"/>
              <a:gd name="csX619" fmla="*/ 477635 w 1609516"/>
              <a:gd name="csY619" fmla="*/ 1370565 h 1538630"/>
              <a:gd name="csX620" fmla="*/ 465626 w 1609516"/>
              <a:gd name="csY620" fmla="*/ 1388709 h 1538630"/>
              <a:gd name="csX621" fmla="*/ 461233 w 1609516"/>
              <a:gd name="csY621" fmla="*/ 1397340 h 1538630"/>
              <a:gd name="csX622" fmla="*/ 455765 w 1609516"/>
              <a:gd name="csY622" fmla="*/ 1408086 h 1538630"/>
              <a:gd name="csX623" fmla="*/ 439070 w 1609516"/>
              <a:gd name="csY623" fmla="*/ 1477490 h 1538630"/>
              <a:gd name="csX624" fmla="*/ 434384 w 1609516"/>
              <a:gd name="csY624" fmla="*/ 1478899 h 1538630"/>
              <a:gd name="csX625" fmla="*/ 432431 w 1609516"/>
              <a:gd name="csY625" fmla="*/ 1481982 h 1538630"/>
              <a:gd name="csX626" fmla="*/ 418763 w 1609516"/>
              <a:gd name="csY626" fmla="*/ 1494401 h 1538630"/>
              <a:gd name="csX627" fmla="*/ 415639 w 1609516"/>
              <a:gd name="csY627" fmla="*/ 1494401 h 1538630"/>
              <a:gd name="csX628" fmla="*/ 415639 w 1609516"/>
              <a:gd name="csY628" fmla="*/ 1497219 h 1538630"/>
              <a:gd name="csX629" fmla="*/ 406265 w 1609516"/>
              <a:gd name="csY629" fmla="*/ 1498628 h 1538630"/>
              <a:gd name="csX630" fmla="*/ 406265 w 1609516"/>
              <a:gd name="csY630" fmla="*/ 1501447 h 1538630"/>
              <a:gd name="csX631" fmla="*/ 375023 w 1609516"/>
              <a:gd name="csY631" fmla="*/ 1501447 h 1538630"/>
              <a:gd name="csX632" fmla="*/ 375023 w 1609516"/>
              <a:gd name="csY632" fmla="*/ 1499438 h 1538630"/>
              <a:gd name="csX633" fmla="*/ 374964 w 1609516"/>
              <a:gd name="csY633" fmla="*/ 1499436 h 1538630"/>
              <a:gd name="csX634" fmla="*/ 373179 w 1609516"/>
              <a:gd name="csY634" fmla="*/ 1498628 h 1538630"/>
              <a:gd name="csX635" fmla="*/ 365650 w 1609516"/>
              <a:gd name="csY635" fmla="*/ 1498628 h 1538630"/>
              <a:gd name="csX636" fmla="*/ 363134 w 1609516"/>
              <a:gd name="csY636" fmla="*/ 1494087 h 1538630"/>
              <a:gd name="csX637" fmla="*/ 362171 w 1609516"/>
              <a:gd name="csY637" fmla="*/ 1493651 h 1538630"/>
              <a:gd name="csX638" fmla="*/ 360609 w 1609516"/>
              <a:gd name="csY638" fmla="*/ 1490833 h 1538630"/>
              <a:gd name="csX639" fmla="*/ 363733 w 1609516"/>
              <a:gd name="csY639" fmla="*/ 1490833 h 1538630"/>
              <a:gd name="csX640" fmla="*/ 363733 w 1609516"/>
              <a:gd name="csY640" fmla="*/ 1489980 h 1538630"/>
              <a:gd name="csX641" fmla="*/ 348467 w 1609516"/>
              <a:gd name="csY641" fmla="*/ 1481717 h 1538630"/>
              <a:gd name="csX642" fmla="*/ 343872 w 1609516"/>
              <a:gd name="csY642" fmla="*/ 1461078 h 1538630"/>
              <a:gd name="csX643" fmla="*/ 343656 w 1609516"/>
              <a:gd name="csY643" fmla="*/ 1463649 h 1538630"/>
              <a:gd name="csX644" fmla="*/ 343424 w 1609516"/>
              <a:gd name="csY644" fmla="*/ 1466842 h 1538630"/>
              <a:gd name="csX645" fmla="*/ 341861 w 1609516"/>
              <a:gd name="csY645" fmla="*/ 1466842 h 1538630"/>
              <a:gd name="csX646" fmla="*/ 354143 w 1609516"/>
              <a:gd name="csY646" fmla="*/ 1420549 h 1538630"/>
              <a:gd name="csX647" fmla="*/ 376229 w 1609516"/>
              <a:gd name="csY647" fmla="*/ 1403427 h 1538630"/>
              <a:gd name="csX648" fmla="*/ 379491 w 1609516"/>
              <a:gd name="csY648" fmla="*/ 1404408 h 1538630"/>
              <a:gd name="csX649" fmla="*/ 379710 w 1609516"/>
              <a:gd name="csY649" fmla="*/ 1404210 h 1538630"/>
              <a:gd name="csX650" fmla="*/ 380882 w 1609516"/>
              <a:gd name="csY650" fmla="*/ 1401568 h 1538630"/>
              <a:gd name="csX651" fmla="*/ 392207 w 1609516"/>
              <a:gd name="csY651" fmla="*/ 1392936 h 1538630"/>
              <a:gd name="csX652" fmla="*/ 399542 w 1609516"/>
              <a:gd name="csY652" fmla="*/ 1386774 h 1538630"/>
              <a:gd name="csX653" fmla="*/ 405485 w 1609516"/>
              <a:gd name="csY653" fmla="*/ 1378917 h 1538630"/>
              <a:gd name="csX654" fmla="*/ 412008 w 1609516"/>
              <a:gd name="csY654" fmla="*/ 1369481 h 1538630"/>
              <a:gd name="csX655" fmla="*/ 421130 w 1609516"/>
              <a:gd name="csY655" fmla="*/ 1357057 h 1538630"/>
              <a:gd name="csX656" fmla="*/ 424676 w 1609516"/>
              <a:gd name="csY656" fmla="*/ 1348443 h 1538630"/>
              <a:gd name="csX657" fmla="*/ 427275 w 1609516"/>
              <a:gd name="csY657" fmla="*/ 1348443 h 1538630"/>
              <a:gd name="csX658" fmla="*/ 428135 w 1609516"/>
              <a:gd name="csY658" fmla="*/ 1345727 h 1538630"/>
              <a:gd name="csX659" fmla="*/ 432822 w 1609516"/>
              <a:gd name="csY659" fmla="*/ 1335158 h 1538630"/>
              <a:gd name="csX660" fmla="*/ 435946 w 1609516"/>
              <a:gd name="csY660" fmla="*/ 1335158 h 1538630"/>
              <a:gd name="csX661" fmla="*/ 437704 w 1609516"/>
              <a:gd name="csY661" fmla="*/ 1329786 h 1538630"/>
              <a:gd name="csX662" fmla="*/ 447394 w 1609516"/>
              <a:gd name="csY662" fmla="*/ 1311196 h 1538630"/>
              <a:gd name="csX663" fmla="*/ 469287 w 1609516"/>
              <a:gd name="csY663" fmla="*/ 1265964 h 1538630"/>
              <a:gd name="csX664" fmla="*/ 478178 w 1609516"/>
              <a:gd name="csY664" fmla="*/ 1246787 h 1538630"/>
              <a:gd name="csX665" fmla="*/ 480179 w 1609516"/>
              <a:gd name="csY665" fmla="*/ 1225768 h 1538630"/>
              <a:gd name="csX666" fmla="*/ 480250 w 1609516"/>
              <a:gd name="csY666" fmla="*/ 1217149 h 1538630"/>
              <a:gd name="csX667" fmla="*/ 462972 w 1609516"/>
              <a:gd name="csY667" fmla="*/ 1174827 h 1538630"/>
              <a:gd name="csX668" fmla="*/ 457468 w 1609516"/>
              <a:gd name="csY668" fmla="*/ 1169949 h 1538630"/>
              <a:gd name="csX669" fmla="*/ 440657 w 1609516"/>
              <a:gd name="csY669" fmla="*/ 1152570 h 1538630"/>
              <a:gd name="csX670" fmla="*/ 403142 w 1609516"/>
              <a:gd name="csY670" fmla="*/ 1122366 h 1538630"/>
              <a:gd name="csX671" fmla="*/ 401579 w 1609516"/>
              <a:gd name="csY671" fmla="*/ 1119547 h 1538630"/>
              <a:gd name="csX672" fmla="*/ 364564 w 1609516"/>
              <a:gd name="csY672" fmla="*/ 1118209 h 1538630"/>
              <a:gd name="csX673" fmla="*/ 357822 w 1609516"/>
              <a:gd name="csY673" fmla="*/ 1122041 h 1538630"/>
              <a:gd name="csX674" fmla="*/ 348077 w 1609516"/>
              <a:gd name="csY674" fmla="*/ 1125273 h 1538630"/>
              <a:gd name="csX675" fmla="*/ 334408 w 1609516"/>
              <a:gd name="csY675" fmla="*/ 1132230 h 1538630"/>
              <a:gd name="csX676" fmla="*/ 327964 w 1609516"/>
              <a:gd name="csY676" fmla="*/ 1134080 h 1538630"/>
              <a:gd name="csX677" fmla="*/ 279734 w 1609516"/>
              <a:gd name="csY677" fmla="*/ 1166051 h 1538630"/>
              <a:gd name="csX678" fmla="*/ 276609 w 1609516"/>
              <a:gd name="csY678" fmla="*/ 1173098 h 1538630"/>
              <a:gd name="csX679" fmla="*/ 260988 w 1609516"/>
              <a:gd name="csY679" fmla="*/ 1188599 h 1538630"/>
              <a:gd name="csX680" fmla="*/ 257956 w 1609516"/>
              <a:gd name="csY680" fmla="*/ 1191132 h 1538630"/>
              <a:gd name="csX681" fmla="*/ 243805 w 1609516"/>
              <a:gd name="csY681" fmla="*/ 1196629 h 1538630"/>
              <a:gd name="csX682" fmla="*/ 243805 w 1609516"/>
              <a:gd name="csY682" fmla="*/ 1194236 h 1538630"/>
              <a:gd name="csX683" fmla="*/ 240288 w 1609516"/>
              <a:gd name="csY683" fmla="*/ 1194765 h 1538630"/>
              <a:gd name="csX684" fmla="*/ 243374 w 1609516"/>
              <a:gd name="csY684" fmla="*/ 1194765 h 1538630"/>
              <a:gd name="csX685" fmla="*/ 243374 w 1609516"/>
              <a:gd name="csY685" fmla="*/ 1196797 h 1538630"/>
              <a:gd name="csX686" fmla="*/ 243805 w 1609516"/>
              <a:gd name="csY686" fmla="*/ 1196629 h 1538630"/>
              <a:gd name="csX687" fmla="*/ 243805 w 1609516"/>
              <a:gd name="csY687" fmla="*/ 1197055 h 1538630"/>
              <a:gd name="csX688" fmla="*/ 243374 w 1609516"/>
              <a:gd name="csY688" fmla="*/ 1197055 h 1538630"/>
              <a:gd name="csX689" fmla="*/ 243374 w 1609516"/>
              <a:gd name="csY689" fmla="*/ 1197584 h 1538630"/>
              <a:gd name="csX690" fmla="*/ 241319 w 1609516"/>
              <a:gd name="csY690" fmla="*/ 1197595 h 1538630"/>
              <a:gd name="csX691" fmla="*/ 238009 w 1609516"/>
              <a:gd name="csY691" fmla="*/ 1198881 h 1538630"/>
              <a:gd name="csX692" fmla="*/ 215687 w 1609516"/>
              <a:gd name="csY692" fmla="*/ 1198464 h 1538630"/>
              <a:gd name="csX693" fmla="*/ 215687 w 1609516"/>
              <a:gd name="csY693" fmla="*/ 1197734 h 1538630"/>
              <a:gd name="csX694" fmla="*/ 213936 w 1609516"/>
              <a:gd name="csY694" fmla="*/ 1197744 h 1538630"/>
              <a:gd name="csX695" fmla="*/ 207446 w 1609516"/>
              <a:gd name="csY695" fmla="*/ 1196175 h 1538630"/>
              <a:gd name="csX696" fmla="*/ 207822 w 1609516"/>
              <a:gd name="csY696" fmla="*/ 1195610 h 1538630"/>
              <a:gd name="csX697" fmla="*/ 184737 w 1609516"/>
              <a:gd name="csY697" fmla="*/ 1180936 h 1538630"/>
              <a:gd name="csX698" fmla="*/ 179270 w 1609516"/>
              <a:gd name="csY698" fmla="*/ 1154866 h 1538630"/>
              <a:gd name="csX699" fmla="*/ 179194 w 1609516"/>
              <a:gd name="csY699" fmla="*/ 1151621 h 1538630"/>
              <a:gd name="csX700" fmla="*/ 193195 w 1609516"/>
              <a:gd name="csY700" fmla="*/ 1120065 h 1538630"/>
              <a:gd name="csX701" fmla="*/ 229551 w 1609516"/>
              <a:gd name="csY701" fmla="*/ 1110299 h 1538630"/>
              <a:gd name="csX702" fmla="*/ 260988 w 1609516"/>
              <a:gd name="csY702" fmla="*/ 1108274 h 1538630"/>
              <a:gd name="csX703" fmla="*/ 260988 w 1609516"/>
              <a:gd name="csY703" fmla="*/ 1105455 h 1538630"/>
              <a:gd name="csX704" fmla="*/ 263911 w 1609516"/>
              <a:gd name="csY704" fmla="*/ 1104310 h 1538630"/>
              <a:gd name="csX705" fmla="*/ 286995 w 1609516"/>
              <a:gd name="csY705" fmla="*/ 1090185 h 1538630"/>
              <a:gd name="csX706" fmla="*/ 299358 w 1609516"/>
              <a:gd name="csY706" fmla="*/ 1080970 h 1538630"/>
              <a:gd name="csX707" fmla="*/ 317762 w 1609516"/>
              <a:gd name="csY707" fmla="*/ 1063272 h 1538630"/>
              <a:gd name="csX708" fmla="*/ 325035 w 1609516"/>
              <a:gd name="csY708" fmla="*/ 1057542 h 1538630"/>
              <a:gd name="csX709" fmla="*/ 325328 w 1609516"/>
              <a:gd name="csY709" fmla="*/ 1023104 h 1538630"/>
              <a:gd name="csX710" fmla="*/ 324544 w 1609516"/>
              <a:gd name="csY710" fmla="*/ 1019247 h 1538630"/>
              <a:gd name="csX711" fmla="*/ 317225 w 1609516"/>
              <a:gd name="csY711" fmla="*/ 996945 h 1538630"/>
              <a:gd name="csX712" fmla="*/ 315388 w 1609516"/>
              <a:gd name="csY712" fmla="*/ 992690 h 1538630"/>
              <a:gd name="csX713" fmla="*/ 276232 w 1609516"/>
              <a:gd name="csY713" fmla="*/ 950666 h 1538630"/>
              <a:gd name="csX714" fmla="*/ 271923 w 1609516"/>
              <a:gd name="csY714" fmla="*/ 949031 h 1538630"/>
              <a:gd name="csX715" fmla="*/ 268299 w 1609516"/>
              <a:gd name="csY715" fmla="*/ 947441 h 1538630"/>
              <a:gd name="csX716" fmla="*/ 199187 w 1609516"/>
              <a:gd name="csY716" fmla="*/ 938991 h 1538630"/>
              <a:gd name="csX717" fmla="*/ 193719 w 1609516"/>
              <a:gd name="csY717" fmla="*/ 938971 h 1538630"/>
              <a:gd name="csX718" fmla="*/ 188539 w 1609516"/>
              <a:gd name="csY718" fmla="*/ 938980 h 1538630"/>
              <a:gd name="csX719" fmla="*/ 183874 w 1609516"/>
              <a:gd name="csY719" fmla="*/ 938985 h 1538630"/>
              <a:gd name="csX720" fmla="*/ 173509 w 1609516"/>
              <a:gd name="csY720" fmla="*/ 940576 h 1538630"/>
              <a:gd name="csX721" fmla="*/ 161403 w 1609516"/>
              <a:gd name="csY721" fmla="*/ 940664 h 1538630"/>
              <a:gd name="csX722" fmla="*/ 158102 w 1609516"/>
              <a:gd name="csY722" fmla="*/ 940645 h 1538630"/>
              <a:gd name="csX723" fmla="*/ 150875 w 1609516"/>
              <a:gd name="csY723" fmla="*/ 940583 h 1538630"/>
              <a:gd name="csX724" fmla="*/ 148425 w 1609516"/>
              <a:gd name="csY724" fmla="*/ 940717 h 1538630"/>
              <a:gd name="csX725" fmla="*/ 149617 w 1609516"/>
              <a:gd name="csY725" fmla="*/ 940995 h 1538630"/>
              <a:gd name="csX726" fmla="*/ 149617 w 1609516"/>
              <a:gd name="csY726" fmla="*/ 942404 h 1538630"/>
              <a:gd name="csX727" fmla="*/ 146627 w 1609516"/>
              <a:gd name="csY727" fmla="*/ 942871 h 1538630"/>
              <a:gd name="csX728" fmla="*/ 110564 w 1609516"/>
              <a:gd name="csY728" fmla="*/ 949449 h 1538630"/>
              <a:gd name="csX729" fmla="*/ 111283 w 1609516"/>
              <a:gd name="csY729" fmla="*/ 946205 h 1538630"/>
              <a:gd name="csX730" fmla="*/ 101652 w 1609516"/>
              <a:gd name="csY730" fmla="*/ 956078 h 1538630"/>
              <a:gd name="csX731" fmla="*/ 98052 w 1609516"/>
              <a:gd name="csY731" fmla="*/ 958467 h 1538630"/>
              <a:gd name="csX732" fmla="*/ 67286 w 1609516"/>
              <a:gd name="csY732" fmla="*/ 972989 h 1538630"/>
              <a:gd name="csX733" fmla="*/ 67286 w 1609516"/>
              <a:gd name="csY733" fmla="*/ 975807 h 1538630"/>
              <a:gd name="csX734" fmla="*/ 31942 w 1609516"/>
              <a:gd name="csY734" fmla="*/ 976423 h 1538630"/>
              <a:gd name="csX735" fmla="*/ 5673 w 1609516"/>
              <a:gd name="csY735" fmla="*/ 953419 h 1538630"/>
              <a:gd name="csX736" fmla="*/ 4801 w 1609516"/>
              <a:gd name="csY736" fmla="*/ 944804 h 1538630"/>
              <a:gd name="csX737" fmla="*/ 1676 w 1609516"/>
              <a:gd name="csY737" fmla="*/ 944804 h 1538630"/>
              <a:gd name="csX738" fmla="*/ 17 w 1609516"/>
              <a:gd name="csY738" fmla="*/ 931857 h 1538630"/>
              <a:gd name="csX739" fmla="*/ 59 w 1609516"/>
              <a:gd name="csY739" fmla="*/ 927216 h 1538630"/>
              <a:gd name="csX740" fmla="*/ 115 w 1609516"/>
              <a:gd name="csY740" fmla="*/ 923666 h 1538630"/>
              <a:gd name="csX741" fmla="*/ 3238 w 1609516"/>
              <a:gd name="csY741" fmla="*/ 923666 h 1538630"/>
              <a:gd name="csX742" fmla="*/ 3238 w 1609516"/>
              <a:gd name="csY742" fmla="*/ 918029 h 1538630"/>
              <a:gd name="csX743" fmla="*/ 6363 w 1609516"/>
              <a:gd name="csY743" fmla="*/ 918029 h 1538630"/>
              <a:gd name="csX744" fmla="*/ 6656 w 1609516"/>
              <a:gd name="csY744" fmla="*/ 912832 h 1538630"/>
              <a:gd name="csX745" fmla="*/ 15736 w 1609516"/>
              <a:gd name="csY745" fmla="*/ 899709 h 1538630"/>
              <a:gd name="csX746" fmla="*/ 17243 w 1609516"/>
              <a:gd name="csY746" fmla="*/ 898894 h 1538630"/>
              <a:gd name="csX747" fmla="*/ 16800 w 1609516"/>
              <a:gd name="csY747" fmla="*/ 898694 h 1538630"/>
              <a:gd name="csX748" fmla="*/ 24988 w 1609516"/>
              <a:gd name="csY748" fmla="*/ 894101 h 1538630"/>
              <a:gd name="csX749" fmla="*/ 26768 w 1609516"/>
              <a:gd name="csY749" fmla="*/ 892399 h 1538630"/>
              <a:gd name="csX750" fmla="*/ 30198 w 1609516"/>
              <a:gd name="csY750" fmla="*/ 890164 h 1538630"/>
              <a:gd name="csX751" fmla="*/ 32204 w 1609516"/>
              <a:gd name="csY751" fmla="*/ 890054 h 1538630"/>
              <a:gd name="csX752" fmla="*/ 38914 w 1609516"/>
              <a:gd name="csY752" fmla="*/ 886291 h 1538630"/>
              <a:gd name="csX753" fmla="*/ 63664 w 1609516"/>
              <a:gd name="csY753" fmla="*/ 886011 h 1538630"/>
              <a:gd name="csX754" fmla="*/ 63664 w 1609516"/>
              <a:gd name="csY754" fmla="*/ 886531 h 1538630"/>
              <a:gd name="csX755" fmla="*/ 70784 w 1609516"/>
              <a:gd name="csY755" fmla="*/ 886647 h 1538630"/>
              <a:gd name="csX756" fmla="*/ 82126 w 1609516"/>
              <a:gd name="csY756" fmla="*/ 889845 h 1538630"/>
              <a:gd name="csX757" fmla="*/ 114149 w 1609516"/>
              <a:gd name="csY757" fmla="*/ 892663 h 1538630"/>
              <a:gd name="csX758" fmla="*/ 118836 w 1609516"/>
              <a:gd name="csY758" fmla="*/ 889845 h 1538630"/>
              <a:gd name="csX759" fmla="*/ 131626 w 1609516"/>
              <a:gd name="csY759" fmla="*/ 887114 h 1538630"/>
              <a:gd name="csX760" fmla="*/ 155116 w 1609516"/>
              <a:gd name="csY760" fmla="*/ 880913 h 1538630"/>
              <a:gd name="csX761" fmla="*/ 165406 w 1609516"/>
              <a:gd name="csY761" fmla="*/ 878483 h 1538630"/>
              <a:gd name="csX762" fmla="*/ 176634 w 1609516"/>
              <a:gd name="csY762" fmla="*/ 874343 h 1538630"/>
              <a:gd name="csX763" fmla="*/ 186397 w 1609516"/>
              <a:gd name="csY763" fmla="*/ 871524 h 1538630"/>
              <a:gd name="csX764" fmla="*/ 191871 w 1609516"/>
              <a:gd name="csY764" fmla="*/ 870033 h 1538630"/>
              <a:gd name="csX765" fmla="*/ 203483 w 1609516"/>
              <a:gd name="csY765" fmla="*/ 867208 h 1538630"/>
              <a:gd name="csX766" fmla="*/ 211001 w 1609516"/>
              <a:gd name="csY766" fmla="*/ 861660 h 1538630"/>
              <a:gd name="csX767" fmla="*/ 218031 w 1609516"/>
              <a:gd name="csY767" fmla="*/ 858577 h 1538630"/>
              <a:gd name="csX768" fmla="*/ 254740 w 1609516"/>
              <a:gd name="csY768" fmla="*/ 825020 h 1538630"/>
              <a:gd name="csX769" fmla="*/ 257864 w 1609516"/>
              <a:gd name="csY769" fmla="*/ 820792 h 1538630"/>
              <a:gd name="csX770" fmla="*/ 258318 w 1609516"/>
              <a:gd name="csY770" fmla="*/ 813810 h 1538630"/>
              <a:gd name="csX771" fmla="*/ 258378 w 1609516"/>
              <a:gd name="csY771" fmla="*/ 809502 h 1538630"/>
              <a:gd name="csX772" fmla="*/ 258389 w 1609516"/>
              <a:gd name="csY772" fmla="*/ 804845 h 1538630"/>
              <a:gd name="csX773" fmla="*/ 258420 w 1609516"/>
              <a:gd name="csY773" fmla="*/ 800036 h 1538630"/>
              <a:gd name="csX774" fmla="*/ 258443 w 1609516"/>
              <a:gd name="csY774" fmla="*/ 789939 h 1538630"/>
              <a:gd name="csX775" fmla="*/ 258566 w 1609516"/>
              <a:gd name="csY775" fmla="*/ 774594 h 1538630"/>
              <a:gd name="csX776" fmla="*/ 258584 w 1609516"/>
              <a:gd name="csY776" fmla="*/ 764771 h 1538630"/>
              <a:gd name="csX777" fmla="*/ 258652 w 1609516"/>
              <a:gd name="csY777" fmla="*/ 760174 h 1538630"/>
              <a:gd name="csX778" fmla="*/ 251616 w 1609516"/>
              <a:gd name="csY778" fmla="*/ 733421 h 1538630"/>
              <a:gd name="csX779" fmla="*/ 247613 w 1609516"/>
              <a:gd name="csY779" fmla="*/ 721883 h 1538630"/>
              <a:gd name="csX780" fmla="*/ 241291 w 1609516"/>
              <a:gd name="csY780" fmla="*/ 705644 h 1538630"/>
              <a:gd name="csX781" fmla="*/ 237557 w 1609516"/>
              <a:gd name="csY781" fmla="*/ 689735 h 1538630"/>
              <a:gd name="csX782" fmla="*/ 248492 w 1609516"/>
              <a:gd name="csY782" fmla="*/ 685507 h 1538630"/>
              <a:gd name="csX783" fmla="*/ 248492 w 1609516"/>
              <a:gd name="csY783" fmla="*/ 681279 h 1538630"/>
              <a:gd name="csX784" fmla="*/ 240681 w 1609516"/>
              <a:gd name="csY784" fmla="*/ 679870 h 1538630"/>
              <a:gd name="csX785" fmla="*/ 240681 w 1609516"/>
              <a:gd name="csY785" fmla="*/ 677052 h 1538630"/>
              <a:gd name="csX786" fmla="*/ 238094 w 1609516"/>
              <a:gd name="csY786" fmla="*/ 676645 h 1538630"/>
              <a:gd name="csX787" fmla="*/ 225841 w 1609516"/>
              <a:gd name="csY787" fmla="*/ 670886 h 1538630"/>
              <a:gd name="csX788" fmla="*/ 201531 w 1609516"/>
              <a:gd name="csY788" fmla="*/ 662508 h 1538630"/>
              <a:gd name="csX789" fmla="*/ 188252 w 1609516"/>
              <a:gd name="csY789" fmla="*/ 658644 h 1538630"/>
              <a:gd name="csX790" fmla="*/ 182431 w 1609516"/>
              <a:gd name="csY790" fmla="*/ 657327 h 1538630"/>
              <a:gd name="csX791" fmla="*/ 182431 w 1609516"/>
              <a:gd name="csY791" fmla="*/ 657613 h 1538630"/>
              <a:gd name="csX792" fmla="*/ 146503 w 1609516"/>
              <a:gd name="csY792" fmla="*/ 656204 h 1538630"/>
              <a:gd name="csX793" fmla="*/ 146503 w 1609516"/>
              <a:gd name="csY793" fmla="*/ 659022 h 1538630"/>
              <a:gd name="csX794" fmla="*/ 110378 w 1609516"/>
              <a:gd name="csY794" fmla="*/ 663778 h 1538630"/>
              <a:gd name="csX795" fmla="*/ 106453 w 1609516"/>
              <a:gd name="csY795" fmla="*/ 663836 h 1538630"/>
              <a:gd name="csX796" fmla="*/ 102751 w 1609516"/>
              <a:gd name="csY796" fmla="*/ 663811 h 1538630"/>
              <a:gd name="csX797" fmla="*/ 99449 w 1609516"/>
              <a:gd name="csY797" fmla="*/ 663797 h 1538630"/>
              <a:gd name="csX798" fmla="*/ 91828 w 1609516"/>
              <a:gd name="csY798" fmla="*/ 659022 h 1538630"/>
              <a:gd name="csX799" fmla="*/ 98077 w 1609516"/>
              <a:gd name="csY799" fmla="*/ 659022 h 1538630"/>
              <a:gd name="csX800" fmla="*/ 98077 w 1609516"/>
              <a:gd name="csY800" fmla="*/ 661841 h 1538630"/>
              <a:gd name="csX801" fmla="*/ 119023 w 1609516"/>
              <a:gd name="csY801" fmla="*/ 661357 h 1538630"/>
              <a:gd name="csX802" fmla="*/ 119536 w 1609516"/>
              <a:gd name="csY802" fmla="*/ 661197 h 1538630"/>
              <a:gd name="csX803" fmla="*/ 109853 w 1609516"/>
              <a:gd name="csY803" fmla="*/ 661639 h 1538630"/>
              <a:gd name="csX804" fmla="*/ 106552 w 1609516"/>
              <a:gd name="csY804" fmla="*/ 661619 h 1538630"/>
              <a:gd name="csX805" fmla="*/ 98528 w 1609516"/>
              <a:gd name="csY805" fmla="*/ 661550 h 1538630"/>
              <a:gd name="csX806" fmla="*/ 98528 w 1609516"/>
              <a:gd name="csY806" fmla="*/ 658732 h 1538630"/>
              <a:gd name="csX807" fmla="*/ 89155 w 1609516"/>
              <a:gd name="csY807" fmla="*/ 657323 h 1538630"/>
              <a:gd name="csX808" fmla="*/ 89155 w 1609516"/>
              <a:gd name="csY808" fmla="*/ 654504 h 1538630"/>
              <a:gd name="csX809" fmla="*/ 86397 w 1609516"/>
              <a:gd name="csY809" fmla="*/ 653442 h 1538630"/>
              <a:gd name="csX810" fmla="*/ 77049 w 1609516"/>
              <a:gd name="csY810" fmla="*/ 646137 h 1538630"/>
              <a:gd name="csX811" fmla="*/ 74145 w 1609516"/>
              <a:gd name="csY811" fmla="*/ 643192 h 1538630"/>
              <a:gd name="csX812" fmla="*/ 71972 w 1609516"/>
              <a:gd name="csY812" fmla="*/ 636185 h 1538630"/>
              <a:gd name="csX813" fmla="*/ 68848 w 1609516"/>
              <a:gd name="csY813" fmla="*/ 636185 h 1538630"/>
              <a:gd name="csX814" fmla="*/ 70410 w 1609516"/>
              <a:gd name="csY814" fmla="*/ 595317 h 1538630"/>
              <a:gd name="csX815" fmla="*/ 79782 w 1609516"/>
              <a:gd name="csY815" fmla="*/ 584043 h 1538630"/>
              <a:gd name="csX816" fmla="*/ 82656 w 1609516"/>
              <a:gd name="csY816" fmla="*/ 581115 h 1538630"/>
              <a:gd name="csX817" fmla="*/ 116694 w 1609516"/>
              <a:gd name="csY817" fmla="*/ 572323 h 1538630"/>
              <a:gd name="csX818" fmla="*/ 152031 w 1609516"/>
              <a:gd name="csY818" fmla="*/ 590385 h 1538630"/>
              <a:gd name="csX819" fmla="*/ 191474 w 1609516"/>
              <a:gd name="csY819" fmla="*/ 605886 h 1538630"/>
              <a:gd name="csX820" fmla="*/ 206314 w 1609516"/>
              <a:gd name="csY820" fmla="*/ 608000 h 1538630"/>
              <a:gd name="csX821" fmla="*/ 206314 w 1609516"/>
              <a:gd name="csY821" fmla="*/ 610818 h 1538630"/>
              <a:gd name="csX822" fmla="*/ 234433 w 1609516"/>
              <a:gd name="csY822" fmla="*/ 610818 h 1538630"/>
              <a:gd name="csX823" fmla="*/ 239522 w 1609516"/>
              <a:gd name="csY823" fmla="*/ 610802 h 1538630"/>
              <a:gd name="csX824" fmla="*/ 268799 w 1609516"/>
              <a:gd name="csY824" fmla="*/ 600954 h 1538630"/>
              <a:gd name="csX825" fmla="*/ 271740 w 1609516"/>
              <a:gd name="csY825" fmla="*/ 599325 h 1538630"/>
              <a:gd name="csX826" fmla="*/ 284420 w 1609516"/>
              <a:gd name="csY826" fmla="*/ 579816 h 1538630"/>
              <a:gd name="csX827" fmla="*/ 289399 w 1609516"/>
              <a:gd name="csY827" fmla="*/ 568630 h 1538630"/>
              <a:gd name="csX828" fmla="*/ 293958 w 1609516"/>
              <a:gd name="csY828" fmla="*/ 535838 h 1538630"/>
              <a:gd name="csX829" fmla="*/ 289107 w 1609516"/>
              <a:gd name="csY829" fmla="*/ 529084 h 1538630"/>
              <a:gd name="csX830" fmla="*/ 289107 w 1609516"/>
              <a:gd name="csY830" fmla="*/ 526265 h 1538630"/>
              <a:gd name="csX831" fmla="*/ 284420 w 1609516"/>
              <a:gd name="csY831" fmla="*/ 524856 h 1538630"/>
              <a:gd name="csX832" fmla="*/ 282858 w 1609516"/>
              <a:gd name="csY832" fmla="*/ 520628 h 1538630"/>
              <a:gd name="csX833" fmla="*/ 277977 w 1609516"/>
              <a:gd name="csY833" fmla="*/ 516577 h 1538630"/>
              <a:gd name="csX834" fmla="*/ 264925 w 1609516"/>
              <a:gd name="csY834" fmla="*/ 506443 h 1538630"/>
              <a:gd name="csX835" fmla="*/ 229746 w 1609516"/>
              <a:gd name="csY835" fmla="*/ 481170 h 1538630"/>
              <a:gd name="csX836" fmla="*/ 221057 w 1609516"/>
              <a:gd name="csY836" fmla="*/ 475445 h 1538630"/>
              <a:gd name="csX837" fmla="*/ 212563 w 1609516"/>
              <a:gd name="csY837" fmla="*/ 469896 h 1538630"/>
              <a:gd name="csX838" fmla="*/ 208889 w 1609516"/>
              <a:gd name="csY838" fmla="*/ 467491 h 1538630"/>
              <a:gd name="csX839" fmla="*/ 190406 w 1609516"/>
              <a:gd name="csY839" fmla="*/ 456382 h 1538630"/>
              <a:gd name="csX840" fmla="*/ 186942 w 1609516"/>
              <a:gd name="csY840" fmla="*/ 454460 h 1538630"/>
              <a:gd name="csX841" fmla="*/ 180041 w 1609516"/>
              <a:gd name="csY841" fmla="*/ 450696 h 1538630"/>
              <a:gd name="csX842" fmla="*/ 171948 w 1609516"/>
              <a:gd name="csY842" fmla="*/ 445940 h 1538630"/>
              <a:gd name="csX843" fmla="*/ 171948 w 1609516"/>
              <a:gd name="csY843" fmla="*/ 443121 h 1538630"/>
              <a:gd name="csX844" fmla="*/ 168482 w 1609516"/>
              <a:gd name="csY844" fmla="*/ 442708 h 1538630"/>
              <a:gd name="csX845" fmla="*/ 157107 w 1609516"/>
              <a:gd name="csY845" fmla="*/ 437044 h 1538630"/>
              <a:gd name="csX846" fmla="*/ 132559 w 1609516"/>
              <a:gd name="csY846" fmla="*/ 427510 h 1538630"/>
              <a:gd name="csX847" fmla="*/ 123522 w 1609516"/>
              <a:gd name="csY847" fmla="*/ 421983 h 1538630"/>
              <a:gd name="csX848" fmla="*/ 107986 w 1609516"/>
              <a:gd name="csY848" fmla="*/ 418730 h 1538630"/>
              <a:gd name="csX849" fmla="*/ 102494 w 1609516"/>
              <a:gd name="csY849" fmla="*/ 418622 h 1538630"/>
              <a:gd name="csX850" fmla="*/ 91157 w 1609516"/>
              <a:gd name="csY850" fmla="*/ 418490 h 1538630"/>
              <a:gd name="csX851" fmla="*/ 55277 w 1609516"/>
              <a:gd name="csY851" fmla="*/ 410445 h 1538630"/>
              <a:gd name="csX852" fmla="*/ 51665 w 1609516"/>
              <a:gd name="csY852" fmla="*/ 406481 h 1538630"/>
              <a:gd name="csX853" fmla="*/ 45904 w 1609516"/>
              <a:gd name="csY853" fmla="*/ 400492 h 1538630"/>
              <a:gd name="csX854" fmla="*/ 43152 w 1609516"/>
              <a:gd name="csY854" fmla="*/ 397564 h 1538630"/>
              <a:gd name="csX855" fmla="*/ 37605 w 1609516"/>
              <a:gd name="csY855" fmla="*/ 393798 h 1538630"/>
              <a:gd name="csX856" fmla="*/ 38995 w 1609516"/>
              <a:gd name="csY856" fmla="*/ 368712 h 1538630"/>
              <a:gd name="csX857" fmla="*/ 38666 w 1609516"/>
              <a:gd name="csY857" fmla="*/ 369724 h 1538630"/>
              <a:gd name="csX858" fmla="*/ 35542 w 1609516"/>
              <a:gd name="csY858" fmla="*/ 384081 h 1538630"/>
              <a:gd name="csX859" fmla="*/ 33326 w 1609516"/>
              <a:gd name="csY859" fmla="*/ 357791 h 1538630"/>
              <a:gd name="csX860" fmla="*/ 52725 w 1609516"/>
              <a:gd name="csY860" fmla="*/ 333349 h 1538630"/>
              <a:gd name="csX861" fmla="*/ 55222 w 1609516"/>
              <a:gd name="csY861" fmla="*/ 334475 h 1538630"/>
              <a:gd name="csX862" fmla="*/ 56222 w 1609516"/>
              <a:gd name="csY862" fmla="*/ 333347 h 1538630"/>
              <a:gd name="csX863" fmla="*/ 55871 w 1609516"/>
              <a:gd name="csY863" fmla="*/ 333347 h 1538630"/>
              <a:gd name="csX864" fmla="*/ 56346 w 1609516"/>
              <a:gd name="csY864" fmla="*/ 333207 h 1538630"/>
              <a:gd name="csX865" fmla="*/ 56351 w 1609516"/>
              <a:gd name="csY865" fmla="*/ 333202 h 1538630"/>
              <a:gd name="csX866" fmla="*/ 56365 w 1609516"/>
              <a:gd name="csY866" fmla="*/ 333202 h 1538630"/>
              <a:gd name="csX867" fmla="*/ 79571 w 1609516"/>
              <a:gd name="csY867" fmla="*/ 326360 h 1538630"/>
              <a:gd name="csX868" fmla="*/ 104297 w 1609516"/>
              <a:gd name="csY868" fmla="*/ 330529 h 1538630"/>
              <a:gd name="csX869" fmla="*/ 107170 w 1609516"/>
              <a:gd name="csY869" fmla="*/ 334417 h 1538630"/>
              <a:gd name="csX870" fmla="*/ 109366 w 1609516"/>
              <a:gd name="csY870" fmla="*/ 336046 h 1538630"/>
              <a:gd name="csX871" fmla="*/ 109463 w 1609516"/>
              <a:gd name="csY871" fmla="*/ 336020 h 1538630"/>
              <a:gd name="csX872" fmla="*/ 109463 w 1609516"/>
              <a:gd name="csY872" fmla="*/ 336118 h 1538630"/>
              <a:gd name="csX873" fmla="*/ 115226 w 1609516"/>
              <a:gd name="csY873" fmla="*/ 340394 h 1538630"/>
              <a:gd name="csX874" fmla="*/ 114010 w 1609516"/>
              <a:gd name="csY874" fmla="*/ 340120 h 1538630"/>
              <a:gd name="csX875" fmla="*/ 133285 w 1609516"/>
              <a:gd name="csY875" fmla="*/ 357423 h 1538630"/>
              <a:gd name="csX876" fmla="*/ 173509 w 1609516"/>
              <a:gd name="csY876" fmla="*/ 389571 h 1538630"/>
              <a:gd name="csX877" fmla="*/ 181711 w 1609516"/>
              <a:gd name="csY877" fmla="*/ 393270 h 1538630"/>
              <a:gd name="csX878" fmla="*/ 185507 w 1609516"/>
              <a:gd name="csY878" fmla="*/ 394976 h 1538630"/>
              <a:gd name="csX879" fmla="*/ 192658 w 1609516"/>
              <a:gd name="csY879" fmla="*/ 398257 h 1538630"/>
              <a:gd name="csX880" fmla="*/ 195966 w 1609516"/>
              <a:gd name="csY880" fmla="*/ 399788 h 1538630"/>
              <a:gd name="csX881" fmla="*/ 198833 w 1609516"/>
              <a:gd name="csY881" fmla="*/ 401131 h 1538630"/>
              <a:gd name="csX882" fmla="*/ 207877 w 1609516"/>
              <a:gd name="csY882" fmla="*/ 403663 h 1538630"/>
              <a:gd name="csX883" fmla="*/ 207877 w 1609516"/>
              <a:gd name="csY883" fmla="*/ 406481 h 1538630"/>
              <a:gd name="csX884" fmla="*/ 248492 w 1609516"/>
              <a:gd name="csY884" fmla="*/ 419428 h 1538630"/>
              <a:gd name="csX885" fmla="*/ 253965 w 1609516"/>
              <a:gd name="csY885" fmla="*/ 421000 h 1538630"/>
              <a:gd name="csX886" fmla="*/ 267237 w 1609516"/>
              <a:gd name="csY886" fmla="*/ 424801 h 1538630"/>
              <a:gd name="csX887" fmla="*/ 267237 w 1609516"/>
              <a:gd name="csY887" fmla="*/ 426451 h 1538630"/>
              <a:gd name="csX888" fmla="*/ 288701 w 1609516"/>
              <a:gd name="csY888" fmla="*/ 429217 h 1538630"/>
              <a:gd name="csX889" fmla="*/ 288701 w 1609516"/>
              <a:gd name="csY889" fmla="*/ 432036 h 1538630"/>
              <a:gd name="csX890" fmla="*/ 327010 w 1609516"/>
              <a:gd name="csY890" fmla="*/ 433628 h 1538630"/>
              <a:gd name="csX891" fmla="*/ 337486 w 1609516"/>
              <a:gd name="csY891" fmla="*/ 433637 h 1538630"/>
              <a:gd name="csX892" fmla="*/ 344229 w 1609516"/>
              <a:gd name="csY892" fmla="*/ 433632 h 1538630"/>
              <a:gd name="csX893" fmla="*/ 350323 w 1609516"/>
              <a:gd name="csY893" fmla="*/ 433627 h 1538630"/>
              <a:gd name="csX894" fmla="*/ 365245 w 1609516"/>
              <a:gd name="csY894" fmla="*/ 432036 h 1538630"/>
              <a:gd name="csX895" fmla="*/ 360797 w 1609516"/>
              <a:gd name="csY895" fmla="*/ 433759 h 1538630"/>
              <a:gd name="csX896" fmla="*/ 365650 w 1609516"/>
              <a:gd name="csY896" fmla="*/ 433257 h 1538630"/>
              <a:gd name="csX897" fmla="*/ 367213 w 1609516"/>
              <a:gd name="csY897" fmla="*/ 429029 h 1538630"/>
              <a:gd name="csX898" fmla="*/ 375188 w 1609516"/>
              <a:gd name="csY898" fmla="*/ 424906 h 1538630"/>
              <a:gd name="csX899" fmla="*/ 404704 w 1609516"/>
              <a:gd name="csY899" fmla="*/ 389571 h 1538630"/>
              <a:gd name="csX900" fmla="*/ 406265 w 1609516"/>
              <a:gd name="csY900" fmla="*/ 388161 h 1538630"/>
              <a:gd name="csX901" fmla="*/ 406559 w 1609516"/>
              <a:gd name="csY901" fmla="*/ 370106 h 1538630"/>
              <a:gd name="csX902" fmla="*/ 406617 w 1609516"/>
              <a:gd name="csY902" fmla="*/ 364973 h 1538630"/>
              <a:gd name="csX903" fmla="*/ 406626 w 1609516"/>
              <a:gd name="csY903" fmla="*/ 360038 h 1538630"/>
              <a:gd name="csX904" fmla="*/ 406645 w 1609516"/>
              <a:gd name="csY904" fmla="*/ 355503 h 1538630"/>
              <a:gd name="csX905" fmla="*/ 403142 w 1609516"/>
              <a:gd name="csY905" fmla="*/ 345885 h 1538630"/>
              <a:gd name="csX906" fmla="*/ 401579 w 1609516"/>
              <a:gd name="csY906" fmla="*/ 338663 h 1538630"/>
              <a:gd name="csX907" fmla="*/ 390938 w 1609516"/>
              <a:gd name="csY907" fmla="*/ 315939 h 1538630"/>
              <a:gd name="csX908" fmla="*/ 388976 w 1609516"/>
              <a:gd name="csY908" fmla="*/ 312762 h 1538630"/>
              <a:gd name="csX909" fmla="*/ 377934 w 1609516"/>
              <a:gd name="csY909" fmla="*/ 297817 h 1538630"/>
              <a:gd name="csX910" fmla="*/ 368775 w 1609516"/>
              <a:gd name="csY910" fmla="*/ 282470 h 1538630"/>
              <a:gd name="csX911" fmla="*/ 359890 w 1609516"/>
              <a:gd name="csY911" fmla="*/ 271284 h 1538630"/>
              <a:gd name="csX912" fmla="*/ 357374 w 1609516"/>
              <a:gd name="csY912" fmla="*/ 268288 h 1538630"/>
              <a:gd name="csX913" fmla="*/ 337533 w 1609516"/>
              <a:gd name="csY913" fmla="*/ 248649 h 1538630"/>
              <a:gd name="csX914" fmla="*/ 335214 w 1609516"/>
              <a:gd name="csY914" fmla="*/ 246369 h 1538630"/>
              <a:gd name="csX915" fmla="*/ 327085 w 1609516"/>
              <a:gd name="csY915" fmla="*/ 242571 h 1538630"/>
              <a:gd name="csX916" fmla="*/ 288785 w 1609516"/>
              <a:gd name="csY916" fmla="*/ 207968 h 1538630"/>
              <a:gd name="csX917" fmla="*/ 286373 w 1609516"/>
              <a:gd name="csY917" fmla="*/ 192544 h 1538630"/>
              <a:gd name="csX918" fmla="*/ 286385 w 1609516"/>
              <a:gd name="csY918" fmla="*/ 189190 h 1538630"/>
              <a:gd name="csX919" fmla="*/ 300042 w 1609516"/>
              <a:gd name="csY919" fmla="*/ 164095 h 1538630"/>
              <a:gd name="csX920" fmla="*/ 302757 w 1609516"/>
              <a:gd name="csY920" fmla="*/ 161381 h 1538630"/>
              <a:gd name="csX921" fmla="*/ 338411 w 1609516"/>
              <a:gd name="csY921" fmla="*/ 152293 h 1538630"/>
              <a:gd name="csX922" fmla="*/ 368482 w 1609516"/>
              <a:gd name="csY922" fmla="*/ 161893 h 1538630"/>
              <a:gd name="csX923" fmla="*/ 371899 w 1609516"/>
              <a:gd name="csY923" fmla="*/ 165505 h 1538630"/>
              <a:gd name="csX924" fmla="*/ 375121 w 1609516"/>
              <a:gd name="csY924" fmla="*/ 168587 h 1538630"/>
              <a:gd name="csX925" fmla="*/ 384982 w 1609516"/>
              <a:gd name="csY925" fmla="*/ 193777 h 1538630"/>
              <a:gd name="csX926" fmla="*/ 390352 w 1609516"/>
              <a:gd name="csY926" fmla="*/ 214563 h 1538630"/>
              <a:gd name="csX927" fmla="*/ 391529 w 1609516"/>
              <a:gd name="csY927" fmla="*/ 217626 h 1538630"/>
              <a:gd name="csX928" fmla="*/ 401579 w 1609516"/>
              <a:gd name="csY928" fmla="*/ 234556 h 1538630"/>
              <a:gd name="csX929" fmla="*/ 401579 w 1609516"/>
              <a:gd name="csY929" fmla="*/ 238784 h 1538630"/>
              <a:gd name="csX930" fmla="*/ 404215 w 1609516"/>
              <a:gd name="csY930" fmla="*/ 239753 h 1538630"/>
              <a:gd name="csX931" fmla="*/ 417811 w 1609516"/>
              <a:gd name="csY931" fmla="*/ 251996 h 1538630"/>
              <a:gd name="csX932" fmla="*/ 426866 w 1609516"/>
              <a:gd name="csY932" fmla="*/ 262300 h 1538630"/>
              <a:gd name="csX933" fmla="*/ 450097 w 1609516"/>
              <a:gd name="csY933" fmla="*/ 287628 h 1538630"/>
              <a:gd name="csX934" fmla="*/ 457425 w 1609516"/>
              <a:gd name="csY934" fmla="*/ 293920 h 1538630"/>
              <a:gd name="csX935" fmla="*/ 460940 w 1609516"/>
              <a:gd name="csY935" fmla="*/ 296562 h 1538630"/>
              <a:gd name="csX936" fmla="*/ 460940 w 1609516"/>
              <a:gd name="csY936" fmla="*/ 300790 h 1538630"/>
              <a:gd name="csX937" fmla="*/ 473437 w 1609516"/>
              <a:gd name="csY937" fmla="*/ 305018 h 1538630"/>
              <a:gd name="csX938" fmla="*/ 473437 w 1609516"/>
              <a:gd name="csY938" fmla="*/ 307836 h 1538630"/>
              <a:gd name="csX939" fmla="*/ 479881 w 1609516"/>
              <a:gd name="csY939" fmla="*/ 309862 h 1538630"/>
              <a:gd name="csX940" fmla="*/ 483505 w 1609516"/>
              <a:gd name="csY940" fmla="*/ 311001 h 1538630"/>
              <a:gd name="csX941" fmla="*/ 548419 w 1609516"/>
              <a:gd name="csY941" fmla="*/ 306427 h 1538630"/>
              <a:gd name="csX942" fmla="*/ 551842 w 1609516"/>
              <a:gd name="csY942" fmla="*/ 305127 h 1538630"/>
              <a:gd name="csX943" fmla="*/ 560232 w 1609516"/>
              <a:gd name="csY943" fmla="*/ 298148 h 1538630"/>
              <a:gd name="csX944" fmla="*/ 562972 w 1609516"/>
              <a:gd name="csY944" fmla="*/ 295252 h 1538630"/>
              <a:gd name="csX945" fmla="*/ 568086 w 1609516"/>
              <a:gd name="csY945" fmla="*/ 289152 h 1538630"/>
              <a:gd name="csX946" fmla="*/ 570289 w 1609516"/>
              <a:gd name="csY946" fmla="*/ 286697 h 1538630"/>
              <a:gd name="csX947" fmla="*/ 573413 w 1609516"/>
              <a:gd name="csY947" fmla="*/ 286697 h 1538630"/>
              <a:gd name="csX948" fmla="*/ 577220 w 1609516"/>
              <a:gd name="csY948" fmla="*/ 257016 h 1538630"/>
              <a:gd name="csX949" fmla="*/ 577235 w 1609516"/>
              <a:gd name="csY949" fmla="*/ 254206 h 1538630"/>
              <a:gd name="csX950" fmla="*/ 569443 w 1609516"/>
              <a:gd name="csY950" fmla="*/ 206049 h 1538630"/>
              <a:gd name="csX951" fmla="*/ 568726 w 1609516"/>
              <a:gd name="csY951" fmla="*/ 200735 h 1538630"/>
              <a:gd name="csX952" fmla="*/ 565602 w 1609516"/>
              <a:gd name="csY952" fmla="*/ 200735 h 1538630"/>
              <a:gd name="csX953" fmla="*/ 559549 w 1609516"/>
              <a:gd name="csY953" fmla="*/ 184441 h 1538630"/>
              <a:gd name="csX954" fmla="*/ 537484 w 1609516"/>
              <a:gd name="csY954" fmla="*/ 159867 h 1538630"/>
              <a:gd name="csX955" fmla="*/ 531235 w 1609516"/>
              <a:gd name="csY955" fmla="*/ 154230 h 1538630"/>
              <a:gd name="csX956" fmla="*/ 531235 w 1609516"/>
              <a:gd name="csY956" fmla="*/ 151412 h 1538630"/>
              <a:gd name="csX957" fmla="*/ 526549 w 1609516"/>
              <a:gd name="csY957" fmla="*/ 150003 h 1538630"/>
              <a:gd name="csX958" fmla="*/ 524304 w 1609516"/>
              <a:gd name="csY958" fmla="*/ 107198 h 1538630"/>
              <a:gd name="csX959" fmla="*/ 547052 w 1609516"/>
              <a:gd name="csY959" fmla="*/ 85972 h 1538630"/>
              <a:gd name="csX960" fmla="*/ 588460 w 1609516"/>
              <a:gd name="csY960" fmla="*/ 83538 h 1538630"/>
              <a:gd name="csX961" fmla="*/ 617152 w 1609516"/>
              <a:gd name="csY961" fmla="*/ 111954 h 1538630"/>
              <a:gd name="csX962" fmla="*/ 617884 w 1609516"/>
              <a:gd name="csY962" fmla="*/ 124175 h 1538630"/>
              <a:gd name="csX963" fmla="*/ 617917 w 1609516"/>
              <a:gd name="csY963" fmla="*/ 127607 h 1538630"/>
              <a:gd name="csX964" fmla="*/ 617919 w 1609516"/>
              <a:gd name="csY964" fmla="*/ 141969 h 1538630"/>
              <a:gd name="csX965" fmla="*/ 630625 w 1609516"/>
              <a:gd name="csY965" fmla="*/ 191311 h 1538630"/>
              <a:gd name="csX966" fmla="*/ 637850 w 1609516"/>
              <a:gd name="csY966" fmla="*/ 205139 h 1538630"/>
              <a:gd name="csX967" fmla="*/ 643708 w 1609516"/>
              <a:gd name="csY967" fmla="*/ 212009 h 1538630"/>
              <a:gd name="csX968" fmla="*/ 647027 w 1609516"/>
              <a:gd name="csY968" fmla="*/ 217645 h 1538630"/>
              <a:gd name="csX969" fmla="*/ 670264 w 1609516"/>
              <a:gd name="csY969" fmla="*/ 241603 h 1538630"/>
              <a:gd name="csX970" fmla="*/ 670264 w 1609516"/>
              <a:gd name="csY970" fmla="*/ 244421 h 1538630"/>
              <a:gd name="csX971" fmla="*/ 675634 w 1609516"/>
              <a:gd name="csY971" fmla="*/ 245742 h 1538630"/>
              <a:gd name="csX972" fmla="*/ 682761 w 1609516"/>
              <a:gd name="csY972" fmla="*/ 248649 h 1538630"/>
              <a:gd name="csX973" fmla="*/ 752092 w 1609516"/>
              <a:gd name="csY973" fmla="*/ 245076 h 1538630"/>
              <a:gd name="csX974" fmla="*/ 758433 w 1609516"/>
              <a:gd name="csY974" fmla="*/ 240485 h 1538630"/>
              <a:gd name="csX975" fmla="*/ 763991 w 1609516"/>
              <a:gd name="csY975" fmla="*/ 238784 h 1538630"/>
              <a:gd name="csX976" fmla="*/ 765315 w 1609516"/>
              <a:gd name="csY976" fmla="*/ 235778 h 1538630"/>
              <a:gd name="csX977" fmla="*/ 770923 w 1609516"/>
              <a:gd name="csY977" fmla="*/ 223459 h 1538630"/>
              <a:gd name="csX978" fmla="*/ 772998 w 1609516"/>
              <a:gd name="csY978" fmla="*/ 218934 h 1538630"/>
              <a:gd name="csX979" fmla="*/ 777562 w 1609516"/>
              <a:gd name="csY979" fmla="*/ 209895 h 1538630"/>
              <a:gd name="csX980" fmla="*/ 781175 w 1609516"/>
              <a:gd name="csY980" fmla="*/ 124637 h 1538630"/>
              <a:gd name="csX981" fmla="*/ 778051 w 1609516"/>
              <a:gd name="csY981" fmla="*/ 124637 h 1538630"/>
              <a:gd name="csX982" fmla="*/ 767116 w 1609516"/>
              <a:gd name="csY982" fmla="*/ 79542 h 1538630"/>
              <a:gd name="csX983" fmla="*/ 793379 w 1609516"/>
              <a:gd name="csY983" fmla="*/ 54000 h 1538630"/>
              <a:gd name="csX984" fmla="*/ 840688 w 1609516"/>
              <a:gd name="csY984" fmla="*/ 55503 h 1538630"/>
              <a:gd name="csX985" fmla="*/ 851470 w 1609516"/>
              <a:gd name="csY985" fmla="*/ 64040 h 1538630"/>
              <a:gd name="csX986" fmla="*/ 853997 w 1609516"/>
              <a:gd name="csY986" fmla="*/ 66529 h 1538630"/>
              <a:gd name="csX987" fmla="*/ 861488 w 1609516"/>
              <a:gd name="csY987" fmla="*/ 82057 h 1538630"/>
              <a:gd name="csX988" fmla="*/ 861937 w 1609516"/>
              <a:gd name="csY988" fmla="*/ 90492 h 1538630"/>
              <a:gd name="csX989" fmla="*/ 863826 w 1609516"/>
              <a:gd name="csY989" fmla="*/ 100715 h 1538630"/>
              <a:gd name="csX990" fmla="*/ 857577 w 1609516"/>
              <a:gd name="csY990" fmla="*/ 121853 h 1538630"/>
              <a:gd name="csX991" fmla="*/ 856015 w 1609516"/>
              <a:gd name="csY991" fmla="*/ 121853 h 1538630"/>
              <a:gd name="csX992" fmla="*/ 855442 w 1609516"/>
              <a:gd name="csY992" fmla="*/ 118919 h 1538630"/>
              <a:gd name="csX993" fmla="*/ 855417 w 1609516"/>
              <a:gd name="csY993" fmla="*/ 118798 h 1538630"/>
              <a:gd name="csX994" fmla="*/ 856157 w 1609516"/>
              <a:gd name="csY994" fmla="*/ 124637 h 1538630"/>
              <a:gd name="csX995" fmla="*/ 850623 w 1609516"/>
              <a:gd name="csY995" fmla="*/ 134701 h 1538630"/>
              <a:gd name="csX996" fmla="*/ 851325 w 1609516"/>
              <a:gd name="csY996" fmla="*/ 135968 h 1538630"/>
              <a:gd name="csX997" fmla="*/ 849886 w 1609516"/>
              <a:gd name="csY997" fmla="*/ 139843 h 1538630"/>
              <a:gd name="csX998" fmla="*/ 847786 w 1609516"/>
              <a:gd name="csY998" fmla="*/ 152889 h 1538630"/>
              <a:gd name="csX999" fmla="*/ 847767 w 1609516"/>
              <a:gd name="csY999" fmla="*/ 157768 h 1538630"/>
              <a:gd name="csX1000" fmla="*/ 847810 w 1609516"/>
              <a:gd name="csY1000" fmla="*/ 162919 h 1538630"/>
              <a:gd name="csX1001" fmla="*/ 847832 w 1609516"/>
              <a:gd name="csY1001" fmla="*/ 168227 h 1538630"/>
              <a:gd name="csX1002" fmla="*/ 850903 w 1609516"/>
              <a:gd name="csY1002" fmla="*/ 209013 h 1538630"/>
              <a:gd name="csX1003" fmla="*/ 852880 w 1609516"/>
              <a:gd name="csY1003" fmla="*/ 224692 h 1538630"/>
              <a:gd name="csX1004" fmla="*/ 854595 w 1609516"/>
              <a:gd name="csY1004" fmla="*/ 224692 h 1538630"/>
              <a:gd name="csX1005" fmla="*/ 856083 w 1609516"/>
              <a:gd name="csY1005" fmla="*/ 227268 h 1538630"/>
              <a:gd name="csX1006" fmla="*/ 879588 w 1609516"/>
              <a:gd name="csY1006" fmla="*/ 247239 h 1538630"/>
              <a:gd name="csX1007" fmla="*/ 885739 w 1609516"/>
              <a:gd name="csY1007" fmla="*/ 249618 h 1538630"/>
              <a:gd name="csX1008" fmla="*/ 890523 w 1609516"/>
              <a:gd name="csY1008" fmla="*/ 251467 h 1538630"/>
              <a:gd name="csX1009" fmla="*/ 890523 w 1609516"/>
              <a:gd name="csY1009" fmla="*/ 254285 h 1538630"/>
              <a:gd name="csX1010" fmla="*/ 920203 w 1609516"/>
              <a:gd name="csY1010" fmla="*/ 261332 h 1538630"/>
              <a:gd name="csX1011" fmla="*/ 920203 w 1609516"/>
              <a:gd name="csY1011" fmla="*/ 262741 h 1538630"/>
              <a:gd name="csX1012" fmla="*/ 910831 w 1609516"/>
              <a:gd name="csY1012" fmla="*/ 262741 h 1538630"/>
              <a:gd name="csX1013" fmla="*/ 910831 w 1609516"/>
              <a:gd name="csY1013" fmla="*/ 262864 h 1538630"/>
              <a:gd name="csX1014" fmla="*/ 927993 w 1609516"/>
              <a:gd name="csY1014" fmla="*/ 264177 h 1538630"/>
              <a:gd name="csX1015" fmla="*/ 939273 w 1609516"/>
              <a:gd name="csY1015" fmla="*/ 265285 h 1538630"/>
              <a:gd name="csX1016" fmla="*/ 940456 w 1609516"/>
              <a:gd name="csY1016" fmla="*/ 265191 h 1538630"/>
              <a:gd name="csX1017" fmla="*/ 991622 w 1609516"/>
              <a:gd name="csY1017" fmla="*/ 242329 h 1538630"/>
              <a:gd name="csX1018" fmla="*/ 1000803 w 1609516"/>
              <a:gd name="csY1018" fmla="*/ 236505 h 1538630"/>
              <a:gd name="csX1019" fmla="*/ 999806 w 1609516"/>
              <a:gd name="csY1019" fmla="*/ 236055 h 1538630"/>
              <a:gd name="csX1020" fmla="*/ 1003126 w 1609516"/>
              <a:gd name="csY1020" fmla="*/ 232851 h 1538630"/>
              <a:gd name="csX1021" fmla="*/ 1029487 w 1609516"/>
              <a:gd name="csY1021" fmla="*/ 205052 h 1538630"/>
              <a:gd name="csX1022" fmla="*/ 1029872 w 1609516"/>
              <a:gd name="csY1022" fmla="*/ 206442 h 1538630"/>
              <a:gd name="csX1023" fmla="*/ 1031614 w 1609516"/>
              <a:gd name="csY1023" fmla="*/ 203719 h 1538630"/>
              <a:gd name="csX1024" fmla="*/ 1038924 w 1609516"/>
              <a:gd name="csY1024" fmla="*/ 192280 h 1538630"/>
              <a:gd name="csX1025" fmla="*/ 1042049 w 1609516"/>
              <a:gd name="csY1025" fmla="*/ 190870 h 1538630"/>
              <a:gd name="csX1026" fmla="*/ 1044294 w 1609516"/>
              <a:gd name="csY1026" fmla="*/ 186026 h 1538630"/>
              <a:gd name="csX1027" fmla="*/ 1051422 w 1609516"/>
              <a:gd name="csY1027" fmla="*/ 178188 h 1538630"/>
              <a:gd name="csX1028" fmla="*/ 1052984 w 1609516"/>
              <a:gd name="csY1028" fmla="*/ 172551 h 1538630"/>
              <a:gd name="csX1029" fmla="*/ 1056108 w 1609516"/>
              <a:gd name="csY1029" fmla="*/ 172551 h 1538630"/>
              <a:gd name="csX1030" fmla="*/ 1059232 w 1609516"/>
              <a:gd name="csY1030" fmla="*/ 162686 h 1538630"/>
              <a:gd name="csX1031" fmla="*/ 1062357 w 1609516"/>
              <a:gd name="csY1031" fmla="*/ 162686 h 1538630"/>
              <a:gd name="csX1032" fmla="*/ 1063162 w 1609516"/>
              <a:gd name="csY1032" fmla="*/ 160258 h 1538630"/>
              <a:gd name="csX1033" fmla="*/ 1073292 w 1609516"/>
              <a:gd name="csY1033" fmla="*/ 140138 h 1538630"/>
              <a:gd name="csX1034" fmla="*/ 1076415 w 1609516"/>
              <a:gd name="csY1034" fmla="*/ 140138 h 1538630"/>
              <a:gd name="csX1035" fmla="*/ 1085294 w 1609516"/>
              <a:gd name="csY1035" fmla="*/ 117569 h 1538630"/>
              <a:gd name="csX1036" fmla="*/ 1087350 w 1609516"/>
              <a:gd name="csY1036" fmla="*/ 113363 h 1538630"/>
              <a:gd name="csX1037" fmla="*/ 1092037 w 1609516"/>
              <a:gd name="csY1037" fmla="*/ 111954 h 1538630"/>
              <a:gd name="csX1038" fmla="*/ 1092623 w 1609516"/>
              <a:gd name="csY1038" fmla="*/ 108695 h 1538630"/>
              <a:gd name="csX1039" fmla="*/ 1096723 w 1609516"/>
              <a:gd name="csY1039" fmla="*/ 100680 h 1538630"/>
              <a:gd name="csX1040" fmla="*/ 1098188 w 1609516"/>
              <a:gd name="csY1040" fmla="*/ 96013 h 1538630"/>
              <a:gd name="csX1041" fmla="*/ 1102288 w 1609516"/>
              <a:gd name="csY1041" fmla="*/ 87029 h 1538630"/>
              <a:gd name="csX1042" fmla="*/ 1104534 w 1609516"/>
              <a:gd name="csY1042" fmla="*/ 61222 h 1538630"/>
              <a:gd name="csX1043" fmla="*/ 1104381 w 1609516"/>
              <a:gd name="csY1043" fmla="*/ 55569 h 1538630"/>
              <a:gd name="csX1044" fmla="*/ 1104397 w 1609516"/>
              <a:gd name="csY1044" fmla="*/ 52335 h 1538630"/>
              <a:gd name="csX1045" fmla="*/ 1104436 w 1609516"/>
              <a:gd name="csY1045" fmla="*/ 48979 h 1538630"/>
              <a:gd name="csX1046" fmla="*/ 1104457 w 1609516"/>
              <a:gd name="csY1046" fmla="*/ 45575 h 1538630"/>
              <a:gd name="csX1047" fmla="*/ 1104534 w 1609516"/>
              <a:gd name="csY1047" fmla="*/ 37265 h 1538630"/>
              <a:gd name="csX1048" fmla="*/ 1107658 w 1609516"/>
              <a:gd name="csY1048" fmla="*/ 37265 h 1538630"/>
              <a:gd name="csX1049" fmla="*/ 1107463 w 1609516"/>
              <a:gd name="csY1049" fmla="*/ 31805 h 1538630"/>
              <a:gd name="csX1050" fmla="*/ 1107658 w 1609516"/>
              <a:gd name="csY1050" fmla="*/ 25991 h 1538630"/>
              <a:gd name="csX1051" fmla="*/ 1110782 w 1609516"/>
              <a:gd name="csY1051" fmla="*/ 23173 h 1538630"/>
              <a:gd name="csX1052" fmla="*/ 1111759 w 1609516"/>
              <a:gd name="csY1052" fmla="*/ 20091 h 1538630"/>
              <a:gd name="csX1053" fmla="*/ 1134507 w 1609516"/>
              <a:gd name="csY1053" fmla="*/ 2828 h 1538630"/>
              <a:gd name="csX1054" fmla="*/ 1155019 w 1609516"/>
              <a:gd name="csY1054" fmla="*/ 35 h 153863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  <a:cxn ang="0">
                <a:pos x="csX170" y="csY170"/>
              </a:cxn>
              <a:cxn ang="0">
                <a:pos x="csX171" y="csY171"/>
              </a:cxn>
              <a:cxn ang="0">
                <a:pos x="csX172" y="csY172"/>
              </a:cxn>
              <a:cxn ang="0">
                <a:pos x="csX173" y="csY173"/>
              </a:cxn>
              <a:cxn ang="0">
                <a:pos x="csX174" y="csY174"/>
              </a:cxn>
              <a:cxn ang="0">
                <a:pos x="csX175" y="csY175"/>
              </a:cxn>
              <a:cxn ang="0">
                <a:pos x="csX176" y="csY176"/>
              </a:cxn>
              <a:cxn ang="0">
                <a:pos x="csX177" y="csY177"/>
              </a:cxn>
              <a:cxn ang="0">
                <a:pos x="csX178" y="csY178"/>
              </a:cxn>
              <a:cxn ang="0">
                <a:pos x="csX179" y="csY179"/>
              </a:cxn>
              <a:cxn ang="0">
                <a:pos x="csX180" y="csY180"/>
              </a:cxn>
              <a:cxn ang="0">
                <a:pos x="csX181" y="csY181"/>
              </a:cxn>
              <a:cxn ang="0">
                <a:pos x="csX182" y="csY182"/>
              </a:cxn>
              <a:cxn ang="0">
                <a:pos x="csX183" y="csY183"/>
              </a:cxn>
              <a:cxn ang="0">
                <a:pos x="csX184" y="csY184"/>
              </a:cxn>
              <a:cxn ang="0">
                <a:pos x="csX185" y="csY185"/>
              </a:cxn>
              <a:cxn ang="0">
                <a:pos x="csX186" y="csY186"/>
              </a:cxn>
              <a:cxn ang="0">
                <a:pos x="csX187" y="csY187"/>
              </a:cxn>
              <a:cxn ang="0">
                <a:pos x="csX188" y="csY188"/>
              </a:cxn>
              <a:cxn ang="0">
                <a:pos x="csX189" y="csY189"/>
              </a:cxn>
              <a:cxn ang="0">
                <a:pos x="csX190" y="csY190"/>
              </a:cxn>
              <a:cxn ang="0">
                <a:pos x="csX191" y="csY191"/>
              </a:cxn>
              <a:cxn ang="0">
                <a:pos x="csX192" y="csY192"/>
              </a:cxn>
              <a:cxn ang="0">
                <a:pos x="csX193" y="csY193"/>
              </a:cxn>
              <a:cxn ang="0">
                <a:pos x="csX194" y="csY194"/>
              </a:cxn>
              <a:cxn ang="0">
                <a:pos x="csX195" y="csY195"/>
              </a:cxn>
              <a:cxn ang="0">
                <a:pos x="csX196" y="csY196"/>
              </a:cxn>
              <a:cxn ang="0">
                <a:pos x="csX197" y="csY197"/>
              </a:cxn>
              <a:cxn ang="0">
                <a:pos x="csX198" y="csY198"/>
              </a:cxn>
              <a:cxn ang="0">
                <a:pos x="csX199" y="csY199"/>
              </a:cxn>
              <a:cxn ang="0">
                <a:pos x="csX200" y="csY200"/>
              </a:cxn>
              <a:cxn ang="0">
                <a:pos x="csX201" y="csY201"/>
              </a:cxn>
              <a:cxn ang="0">
                <a:pos x="csX202" y="csY202"/>
              </a:cxn>
              <a:cxn ang="0">
                <a:pos x="csX203" y="csY203"/>
              </a:cxn>
              <a:cxn ang="0">
                <a:pos x="csX204" y="csY204"/>
              </a:cxn>
              <a:cxn ang="0">
                <a:pos x="csX205" y="csY205"/>
              </a:cxn>
              <a:cxn ang="0">
                <a:pos x="csX206" y="csY206"/>
              </a:cxn>
              <a:cxn ang="0">
                <a:pos x="csX207" y="csY207"/>
              </a:cxn>
              <a:cxn ang="0">
                <a:pos x="csX208" y="csY208"/>
              </a:cxn>
              <a:cxn ang="0">
                <a:pos x="csX209" y="csY209"/>
              </a:cxn>
              <a:cxn ang="0">
                <a:pos x="csX210" y="csY210"/>
              </a:cxn>
              <a:cxn ang="0">
                <a:pos x="csX211" y="csY211"/>
              </a:cxn>
              <a:cxn ang="0">
                <a:pos x="csX212" y="csY212"/>
              </a:cxn>
              <a:cxn ang="0">
                <a:pos x="csX213" y="csY213"/>
              </a:cxn>
              <a:cxn ang="0">
                <a:pos x="csX214" y="csY214"/>
              </a:cxn>
              <a:cxn ang="0">
                <a:pos x="csX215" y="csY215"/>
              </a:cxn>
              <a:cxn ang="0">
                <a:pos x="csX216" y="csY216"/>
              </a:cxn>
              <a:cxn ang="0">
                <a:pos x="csX217" y="csY217"/>
              </a:cxn>
              <a:cxn ang="0">
                <a:pos x="csX218" y="csY218"/>
              </a:cxn>
              <a:cxn ang="0">
                <a:pos x="csX219" y="csY219"/>
              </a:cxn>
              <a:cxn ang="0">
                <a:pos x="csX220" y="csY220"/>
              </a:cxn>
              <a:cxn ang="0">
                <a:pos x="csX221" y="csY221"/>
              </a:cxn>
              <a:cxn ang="0">
                <a:pos x="csX222" y="csY222"/>
              </a:cxn>
              <a:cxn ang="0">
                <a:pos x="csX223" y="csY223"/>
              </a:cxn>
              <a:cxn ang="0">
                <a:pos x="csX224" y="csY224"/>
              </a:cxn>
              <a:cxn ang="0">
                <a:pos x="csX225" y="csY225"/>
              </a:cxn>
              <a:cxn ang="0">
                <a:pos x="csX226" y="csY226"/>
              </a:cxn>
              <a:cxn ang="0">
                <a:pos x="csX227" y="csY227"/>
              </a:cxn>
              <a:cxn ang="0">
                <a:pos x="csX228" y="csY228"/>
              </a:cxn>
              <a:cxn ang="0">
                <a:pos x="csX229" y="csY229"/>
              </a:cxn>
              <a:cxn ang="0">
                <a:pos x="csX230" y="csY230"/>
              </a:cxn>
              <a:cxn ang="0">
                <a:pos x="csX231" y="csY231"/>
              </a:cxn>
              <a:cxn ang="0">
                <a:pos x="csX232" y="csY232"/>
              </a:cxn>
              <a:cxn ang="0">
                <a:pos x="csX233" y="csY233"/>
              </a:cxn>
              <a:cxn ang="0">
                <a:pos x="csX234" y="csY234"/>
              </a:cxn>
              <a:cxn ang="0">
                <a:pos x="csX235" y="csY235"/>
              </a:cxn>
              <a:cxn ang="0">
                <a:pos x="csX236" y="csY236"/>
              </a:cxn>
              <a:cxn ang="0">
                <a:pos x="csX237" y="csY237"/>
              </a:cxn>
              <a:cxn ang="0">
                <a:pos x="csX238" y="csY238"/>
              </a:cxn>
              <a:cxn ang="0">
                <a:pos x="csX239" y="csY239"/>
              </a:cxn>
              <a:cxn ang="0">
                <a:pos x="csX240" y="csY240"/>
              </a:cxn>
              <a:cxn ang="0">
                <a:pos x="csX241" y="csY241"/>
              </a:cxn>
              <a:cxn ang="0">
                <a:pos x="csX242" y="csY242"/>
              </a:cxn>
              <a:cxn ang="0">
                <a:pos x="csX243" y="csY243"/>
              </a:cxn>
              <a:cxn ang="0">
                <a:pos x="csX244" y="csY244"/>
              </a:cxn>
              <a:cxn ang="0">
                <a:pos x="csX245" y="csY245"/>
              </a:cxn>
              <a:cxn ang="0">
                <a:pos x="csX246" y="csY246"/>
              </a:cxn>
              <a:cxn ang="0">
                <a:pos x="csX247" y="csY247"/>
              </a:cxn>
              <a:cxn ang="0">
                <a:pos x="csX248" y="csY248"/>
              </a:cxn>
              <a:cxn ang="0">
                <a:pos x="csX249" y="csY249"/>
              </a:cxn>
              <a:cxn ang="0">
                <a:pos x="csX250" y="csY250"/>
              </a:cxn>
              <a:cxn ang="0">
                <a:pos x="csX251" y="csY251"/>
              </a:cxn>
              <a:cxn ang="0">
                <a:pos x="csX252" y="csY252"/>
              </a:cxn>
              <a:cxn ang="0">
                <a:pos x="csX253" y="csY253"/>
              </a:cxn>
              <a:cxn ang="0">
                <a:pos x="csX254" y="csY254"/>
              </a:cxn>
              <a:cxn ang="0">
                <a:pos x="csX255" y="csY255"/>
              </a:cxn>
              <a:cxn ang="0">
                <a:pos x="csX256" y="csY256"/>
              </a:cxn>
              <a:cxn ang="0">
                <a:pos x="csX257" y="csY257"/>
              </a:cxn>
              <a:cxn ang="0">
                <a:pos x="csX258" y="csY258"/>
              </a:cxn>
              <a:cxn ang="0">
                <a:pos x="csX259" y="csY259"/>
              </a:cxn>
              <a:cxn ang="0">
                <a:pos x="csX260" y="csY260"/>
              </a:cxn>
              <a:cxn ang="0">
                <a:pos x="csX261" y="csY261"/>
              </a:cxn>
              <a:cxn ang="0">
                <a:pos x="csX262" y="csY262"/>
              </a:cxn>
              <a:cxn ang="0">
                <a:pos x="csX263" y="csY263"/>
              </a:cxn>
              <a:cxn ang="0">
                <a:pos x="csX264" y="csY264"/>
              </a:cxn>
              <a:cxn ang="0">
                <a:pos x="csX265" y="csY265"/>
              </a:cxn>
              <a:cxn ang="0">
                <a:pos x="csX266" y="csY266"/>
              </a:cxn>
              <a:cxn ang="0">
                <a:pos x="csX267" y="csY267"/>
              </a:cxn>
              <a:cxn ang="0">
                <a:pos x="csX268" y="csY268"/>
              </a:cxn>
              <a:cxn ang="0">
                <a:pos x="csX269" y="csY269"/>
              </a:cxn>
              <a:cxn ang="0">
                <a:pos x="csX270" y="csY270"/>
              </a:cxn>
              <a:cxn ang="0">
                <a:pos x="csX271" y="csY271"/>
              </a:cxn>
              <a:cxn ang="0">
                <a:pos x="csX272" y="csY272"/>
              </a:cxn>
              <a:cxn ang="0">
                <a:pos x="csX273" y="csY273"/>
              </a:cxn>
              <a:cxn ang="0">
                <a:pos x="csX274" y="csY274"/>
              </a:cxn>
              <a:cxn ang="0">
                <a:pos x="csX275" y="csY275"/>
              </a:cxn>
              <a:cxn ang="0">
                <a:pos x="csX276" y="csY276"/>
              </a:cxn>
              <a:cxn ang="0">
                <a:pos x="csX277" y="csY277"/>
              </a:cxn>
              <a:cxn ang="0">
                <a:pos x="csX278" y="csY278"/>
              </a:cxn>
              <a:cxn ang="0">
                <a:pos x="csX279" y="csY279"/>
              </a:cxn>
              <a:cxn ang="0">
                <a:pos x="csX280" y="csY280"/>
              </a:cxn>
              <a:cxn ang="0">
                <a:pos x="csX281" y="csY281"/>
              </a:cxn>
              <a:cxn ang="0">
                <a:pos x="csX282" y="csY282"/>
              </a:cxn>
              <a:cxn ang="0">
                <a:pos x="csX283" y="csY283"/>
              </a:cxn>
              <a:cxn ang="0">
                <a:pos x="csX284" y="csY284"/>
              </a:cxn>
              <a:cxn ang="0">
                <a:pos x="csX285" y="csY285"/>
              </a:cxn>
              <a:cxn ang="0">
                <a:pos x="csX286" y="csY286"/>
              </a:cxn>
              <a:cxn ang="0">
                <a:pos x="csX287" y="csY287"/>
              </a:cxn>
              <a:cxn ang="0">
                <a:pos x="csX288" y="csY288"/>
              </a:cxn>
              <a:cxn ang="0">
                <a:pos x="csX289" y="csY289"/>
              </a:cxn>
              <a:cxn ang="0">
                <a:pos x="csX290" y="csY290"/>
              </a:cxn>
              <a:cxn ang="0">
                <a:pos x="csX291" y="csY291"/>
              </a:cxn>
              <a:cxn ang="0">
                <a:pos x="csX292" y="csY292"/>
              </a:cxn>
              <a:cxn ang="0">
                <a:pos x="csX293" y="csY293"/>
              </a:cxn>
              <a:cxn ang="0">
                <a:pos x="csX294" y="csY294"/>
              </a:cxn>
              <a:cxn ang="0">
                <a:pos x="csX295" y="csY295"/>
              </a:cxn>
              <a:cxn ang="0">
                <a:pos x="csX296" y="csY296"/>
              </a:cxn>
              <a:cxn ang="0">
                <a:pos x="csX297" y="csY297"/>
              </a:cxn>
              <a:cxn ang="0">
                <a:pos x="csX298" y="csY298"/>
              </a:cxn>
              <a:cxn ang="0">
                <a:pos x="csX299" y="csY299"/>
              </a:cxn>
              <a:cxn ang="0">
                <a:pos x="csX300" y="csY300"/>
              </a:cxn>
              <a:cxn ang="0">
                <a:pos x="csX301" y="csY301"/>
              </a:cxn>
              <a:cxn ang="0">
                <a:pos x="csX302" y="csY302"/>
              </a:cxn>
              <a:cxn ang="0">
                <a:pos x="csX303" y="csY303"/>
              </a:cxn>
              <a:cxn ang="0">
                <a:pos x="csX304" y="csY304"/>
              </a:cxn>
              <a:cxn ang="0">
                <a:pos x="csX305" y="csY305"/>
              </a:cxn>
              <a:cxn ang="0">
                <a:pos x="csX306" y="csY306"/>
              </a:cxn>
              <a:cxn ang="0">
                <a:pos x="csX307" y="csY307"/>
              </a:cxn>
              <a:cxn ang="0">
                <a:pos x="csX308" y="csY308"/>
              </a:cxn>
              <a:cxn ang="0">
                <a:pos x="csX309" y="csY309"/>
              </a:cxn>
              <a:cxn ang="0">
                <a:pos x="csX310" y="csY310"/>
              </a:cxn>
              <a:cxn ang="0">
                <a:pos x="csX311" y="csY311"/>
              </a:cxn>
              <a:cxn ang="0">
                <a:pos x="csX312" y="csY312"/>
              </a:cxn>
              <a:cxn ang="0">
                <a:pos x="csX313" y="csY313"/>
              </a:cxn>
              <a:cxn ang="0">
                <a:pos x="csX314" y="csY314"/>
              </a:cxn>
              <a:cxn ang="0">
                <a:pos x="csX315" y="csY315"/>
              </a:cxn>
              <a:cxn ang="0">
                <a:pos x="csX316" y="csY316"/>
              </a:cxn>
              <a:cxn ang="0">
                <a:pos x="csX317" y="csY317"/>
              </a:cxn>
              <a:cxn ang="0">
                <a:pos x="csX318" y="csY318"/>
              </a:cxn>
              <a:cxn ang="0">
                <a:pos x="csX319" y="csY319"/>
              </a:cxn>
              <a:cxn ang="0">
                <a:pos x="csX320" y="csY320"/>
              </a:cxn>
              <a:cxn ang="0">
                <a:pos x="csX321" y="csY321"/>
              </a:cxn>
              <a:cxn ang="0">
                <a:pos x="csX322" y="csY322"/>
              </a:cxn>
              <a:cxn ang="0">
                <a:pos x="csX323" y="csY323"/>
              </a:cxn>
              <a:cxn ang="0">
                <a:pos x="csX324" y="csY324"/>
              </a:cxn>
              <a:cxn ang="0">
                <a:pos x="csX325" y="csY325"/>
              </a:cxn>
              <a:cxn ang="0">
                <a:pos x="csX326" y="csY326"/>
              </a:cxn>
              <a:cxn ang="0">
                <a:pos x="csX327" y="csY327"/>
              </a:cxn>
              <a:cxn ang="0">
                <a:pos x="csX328" y="csY328"/>
              </a:cxn>
              <a:cxn ang="0">
                <a:pos x="csX329" y="csY329"/>
              </a:cxn>
              <a:cxn ang="0">
                <a:pos x="csX330" y="csY330"/>
              </a:cxn>
              <a:cxn ang="0">
                <a:pos x="csX331" y="csY331"/>
              </a:cxn>
              <a:cxn ang="0">
                <a:pos x="csX332" y="csY332"/>
              </a:cxn>
              <a:cxn ang="0">
                <a:pos x="csX333" y="csY333"/>
              </a:cxn>
              <a:cxn ang="0">
                <a:pos x="csX334" y="csY334"/>
              </a:cxn>
              <a:cxn ang="0">
                <a:pos x="csX335" y="csY335"/>
              </a:cxn>
              <a:cxn ang="0">
                <a:pos x="csX336" y="csY336"/>
              </a:cxn>
              <a:cxn ang="0">
                <a:pos x="csX337" y="csY337"/>
              </a:cxn>
              <a:cxn ang="0">
                <a:pos x="csX338" y="csY338"/>
              </a:cxn>
              <a:cxn ang="0">
                <a:pos x="csX339" y="csY339"/>
              </a:cxn>
              <a:cxn ang="0">
                <a:pos x="csX340" y="csY340"/>
              </a:cxn>
              <a:cxn ang="0">
                <a:pos x="csX341" y="csY341"/>
              </a:cxn>
              <a:cxn ang="0">
                <a:pos x="csX342" y="csY342"/>
              </a:cxn>
              <a:cxn ang="0">
                <a:pos x="csX343" y="csY343"/>
              </a:cxn>
              <a:cxn ang="0">
                <a:pos x="csX344" y="csY344"/>
              </a:cxn>
              <a:cxn ang="0">
                <a:pos x="csX345" y="csY345"/>
              </a:cxn>
              <a:cxn ang="0">
                <a:pos x="csX346" y="csY346"/>
              </a:cxn>
              <a:cxn ang="0">
                <a:pos x="csX347" y="csY347"/>
              </a:cxn>
              <a:cxn ang="0">
                <a:pos x="csX348" y="csY348"/>
              </a:cxn>
              <a:cxn ang="0">
                <a:pos x="csX349" y="csY349"/>
              </a:cxn>
              <a:cxn ang="0">
                <a:pos x="csX350" y="csY350"/>
              </a:cxn>
              <a:cxn ang="0">
                <a:pos x="csX351" y="csY351"/>
              </a:cxn>
              <a:cxn ang="0">
                <a:pos x="csX352" y="csY352"/>
              </a:cxn>
              <a:cxn ang="0">
                <a:pos x="csX353" y="csY353"/>
              </a:cxn>
              <a:cxn ang="0">
                <a:pos x="csX354" y="csY354"/>
              </a:cxn>
              <a:cxn ang="0">
                <a:pos x="csX355" y="csY355"/>
              </a:cxn>
              <a:cxn ang="0">
                <a:pos x="csX356" y="csY356"/>
              </a:cxn>
              <a:cxn ang="0">
                <a:pos x="csX357" y="csY357"/>
              </a:cxn>
              <a:cxn ang="0">
                <a:pos x="csX358" y="csY358"/>
              </a:cxn>
              <a:cxn ang="0">
                <a:pos x="csX359" y="csY359"/>
              </a:cxn>
              <a:cxn ang="0">
                <a:pos x="csX360" y="csY360"/>
              </a:cxn>
              <a:cxn ang="0">
                <a:pos x="csX361" y="csY361"/>
              </a:cxn>
              <a:cxn ang="0">
                <a:pos x="csX362" y="csY362"/>
              </a:cxn>
              <a:cxn ang="0">
                <a:pos x="csX363" y="csY363"/>
              </a:cxn>
              <a:cxn ang="0">
                <a:pos x="csX364" y="csY364"/>
              </a:cxn>
              <a:cxn ang="0">
                <a:pos x="csX365" y="csY365"/>
              </a:cxn>
              <a:cxn ang="0">
                <a:pos x="csX366" y="csY366"/>
              </a:cxn>
              <a:cxn ang="0">
                <a:pos x="csX367" y="csY367"/>
              </a:cxn>
              <a:cxn ang="0">
                <a:pos x="csX368" y="csY368"/>
              </a:cxn>
              <a:cxn ang="0">
                <a:pos x="csX369" y="csY369"/>
              </a:cxn>
              <a:cxn ang="0">
                <a:pos x="csX370" y="csY370"/>
              </a:cxn>
              <a:cxn ang="0">
                <a:pos x="csX371" y="csY371"/>
              </a:cxn>
              <a:cxn ang="0">
                <a:pos x="csX372" y="csY372"/>
              </a:cxn>
              <a:cxn ang="0">
                <a:pos x="csX373" y="csY373"/>
              </a:cxn>
              <a:cxn ang="0">
                <a:pos x="csX374" y="csY374"/>
              </a:cxn>
              <a:cxn ang="0">
                <a:pos x="csX375" y="csY375"/>
              </a:cxn>
              <a:cxn ang="0">
                <a:pos x="csX376" y="csY376"/>
              </a:cxn>
              <a:cxn ang="0">
                <a:pos x="csX377" y="csY377"/>
              </a:cxn>
              <a:cxn ang="0">
                <a:pos x="csX378" y="csY378"/>
              </a:cxn>
              <a:cxn ang="0">
                <a:pos x="csX379" y="csY379"/>
              </a:cxn>
              <a:cxn ang="0">
                <a:pos x="csX380" y="csY380"/>
              </a:cxn>
              <a:cxn ang="0">
                <a:pos x="csX381" y="csY381"/>
              </a:cxn>
              <a:cxn ang="0">
                <a:pos x="csX382" y="csY382"/>
              </a:cxn>
              <a:cxn ang="0">
                <a:pos x="csX383" y="csY383"/>
              </a:cxn>
              <a:cxn ang="0">
                <a:pos x="csX384" y="csY384"/>
              </a:cxn>
              <a:cxn ang="0">
                <a:pos x="csX385" y="csY385"/>
              </a:cxn>
              <a:cxn ang="0">
                <a:pos x="csX386" y="csY386"/>
              </a:cxn>
              <a:cxn ang="0">
                <a:pos x="csX387" y="csY387"/>
              </a:cxn>
              <a:cxn ang="0">
                <a:pos x="csX388" y="csY388"/>
              </a:cxn>
              <a:cxn ang="0">
                <a:pos x="csX389" y="csY389"/>
              </a:cxn>
              <a:cxn ang="0">
                <a:pos x="csX390" y="csY390"/>
              </a:cxn>
              <a:cxn ang="0">
                <a:pos x="csX391" y="csY391"/>
              </a:cxn>
              <a:cxn ang="0">
                <a:pos x="csX392" y="csY392"/>
              </a:cxn>
              <a:cxn ang="0">
                <a:pos x="csX393" y="csY393"/>
              </a:cxn>
              <a:cxn ang="0">
                <a:pos x="csX394" y="csY394"/>
              </a:cxn>
              <a:cxn ang="0">
                <a:pos x="csX395" y="csY395"/>
              </a:cxn>
              <a:cxn ang="0">
                <a:pos x="csX396" y="csY396"/>
              </a:cxn>
              <a:cxn ang="0">
                <a:pos x="csX397" y="csY397"/>
              </a:cxn>
              <a:cxn ang="0">
                <a:pos x="csX398" y="csY398"/>
              </a:cxn>
              <a:cxn ang="0">
                <a:pos x="csX399" y="csY399"/>
              </a:cxn>
              <a:cxn ang="0">
                <a:pos x="csX400" y="csY400"/>
              </a:cxn>
              <a:cxn ang="0">
                <a:pos x="csX401" y="csY401"/>
              </a:cxn>
              <a:cxn ang="0">
                <a:pos x="csX402" y="csY402"/>
              </a:cxn>
              <a:cxn ang="0">
                <a:pos x="csX403" y="csY403"/>
              </a:cxn>
              <a:cxn ang="0">
                <a:pos x="csX404" y="csY404"/>
              </a:cxn>
              <a:cxn ang="0">
                <a:pos x="csX405" y="csY405"/>
              </a:cxn>
              <a:cxn ang="0">
                <a:pos x="csX406" y="csY406"/>
              </a:cxn>
              <a:cxn ang="0">
                <a:pos x="csX407" y="csY407"/>
              </a:cxn>
              <a:cxn ang="0">
                <a:pos x="csX408" y="csY408"/>
              </a:cxn>
              <a:cxn ang="0">
                <a:pos x="csX409" y="csY409"/>
              </a:cxn>
              <a:cxn ang="0">
                <a:pos x="csX410" y="csY410"/>
              </a:cxn>
              <a:cxn ang="0">
                <a:pos x="csX411" y="csY411"/>
              </a:cxn>
              <a:cxn ang="0">
                <a:pos x="csX412" y="csY412"/>
              </a:cxn>
              <a:cxn ang="0">
                <a:pos x="csX413" y="csY413"/>
              </a:cxn>
              <a:cxn ang="0">
                <a:pos x="csX414" y="csY414"/>
              </a:cxn>
              <a:cxn ang="0">
                <a:pos x="csX415" y="csY415"/>
              </a:cxn>
              <a:cxn ang="0">
                <a:pos x="csX416" y="csY416"/>
              </a:cxn>
              <a:cxn ang="0">
                <a:pos x="csX417" y="csY417"/>
              </a:cxn>
              <a:cxn ang="0">
                <a:pos x="csX418" y="csY418"/>
              </a:cxn>
              <a:cxn ang="0">
                <a:pos x="csX419" y="csY419"/>
              </a:cxn>
              <a:cxn ang="0">
                <a:pos x="csX420" y="csY420"/>
              </a:cxn>
              <a:cxn ang="0">
                <a:pos x="csX421" y="csY421"/>
              </a:cxn>
              <a:cxn ang="0">
                <a:pos x="csX422" y="csY422"/>
              </a:cxn>
              <a:cxn ang="0">
                <a:pos x="csX423" y="csY423"/>
              </a:cxn>
              <a:cxn ang="0">
                <a:pos x="csX424" y="csY424"/>
              </a:cxn>
              <a:cxn ang="0">
                <a:pos x="csX425" y="csY425"/>
              </a:cxn>
              <a:cxn ang="0">
                <a:pos x="csX426" y="csY426"/>
              </a:cxn>
              <a:cxn ang="0">
                <a:pos x="csX427" y="csY427"/>
              </a:cxn>
              <a:cxn ang="0">
                <a:pos x="csX428" y="csY428"/>
              </a:cxn>
              <a:cxn ang="0">
                <a:pos x="csX429" y="csY429"/>
              </a:cxn>
              <a:cxn ang="0">
                <a:pos x="csX430" y="csY430"/>
              </a:cxn>
              <a:cxn ang="0">
                <a:pos x="csX431" y="csY431"/>
              </a:cxn>
              <a:cxn ang="0">
                <a:pos x="csX432" y="csY432"/>
              </a:cxn>
              <a:cxn ang="0">
                <a:pos x="csX433" y="csY433"/>
              </a:cxn>
              <a:cxn ang="0">
                <a:pos x="csX434" y="csY434"/>
              </a:cxn>
              <a:cxn ang="0">
                <a:pos x="csX435" y="csY435"/>
              </a:cxn>
              <a:cxn ang="0">
                <a:pos x="csX436" y="csY436"/>
              </a:cxn>
              <a:cxn ang="0">
                <a:pos x="csX437" y="csY437"/>
              </a:cxn>
              <a:cxn ang="0">
                <a:pos x="csX438" y="csY438"/>
              </a:cxn>
              <a:cxn ang="0">
                <a:pos x="csX439" y="csY439"/>
              </a:cxn>
              <a:cxn ang="0">
                <a:pos x="csX440" y="csY440"/>
              </a:cxn>
              <a:cxn ang="0">
                <a:pos x="csX441" y="csY441"/>
              </a:cxn>
              <a:cxn ang="0">
                <a:pos x="csX442" y="csY442"/>
              </a:cxn>
              <a:cxn ang="0">
                <a:pos x="csX443" y="csY443"/>
              </a:cxn>
              <a:cxn ang="0">
                <a:pos x="csX444" y="csY444"/>
              </a:cxn>
              <a:cxn ang="0">
                <a:pos x="csX445" y="csY445"/>
              </a:cxn>
              <a:cxn ang="0">
                <a:pos x="csX446" y="csY446"/>
              </a:cxn>
              <a:cxn ang="0">
                <a:pos x="csX447" y="csY447"/>
              </a:cxn>
              <a:cxn ang="0">
                <a:pos x="csX448" y="csY448"/>
              </a:cxn>
              <a:cxn ang="0">
                <a:pos x="csX449" y="csY449"/>
              </a:cxn>
              <a:cxn ang="0">
                <a:pos x="csX450" y="csY450"/>
              </a:cxn>
              <a:cxn ang="0">
                <a:pos x="csX451" y="csY451"/>
              </a:cxn>
              <a:cxn ang="0">
                <a:pos x="csX452" y="csY452"/>
              </a:cxn>
              <a:cxn ang="0">
                <a:pos x="csX453" y="csY453"/>
              </a:cxn>
              <a:cxn ang="0">
                <a:pos x="csX454" y="csY454"/>
              </a:cxn>
              <a:cxn ang="0">
                <a:pos x="csX455" y="csY455"/>
              </a:cxn>
              <a:cxn ang="0">
                <a:pos x="csX456" y="csY456"/>
              </a:cxn>
              <a:cxn ang="0">
                <a:pos x="csX457" y="csY457"/>
              </a:cxn>
              <a:cxn ang="0">
                <a:pos x="csX458" y="csY458"/>
              </a:cxn>
              <a:cxn ang="0">
                <a:pos x="csX459" y="csY459"/>
              </a:cxn>
              <a:cxn ang="0">
                <a:pos x="csX460" y="csY460"/>
              </a:cxn>
              <a:cxn ang="0">
                <a:pos x="csX461" y="csY461"/>
              </a:cxn>
              <a:cxn ang="0">
                <a:pos x="csX462" y="csY462"/>
              </a:cxn>
              <a:cxn ang="0">
                <a:pos x="csX463" y="csY463"/>
              </a:cxn>
              <a:cxn ang="0">
                <a:pos x="csX464" y="csY464"/>
              </a:cxn>
              <a:cxn ang="0">
                <a:pos x="csX465" y="csY465"/>
              </a:cxn>
              <a:cxn ang="0">
                <a:pos x="csX466" y="csY466"/>
              </a:cxn>
              <a:cxn ang="0">
                <a:pos x="csX467" y="csY467"/>
              </a:cxn>
              <a:cxn ang="0">
                <a:pos x="csX468" y="csY468"/>
              </a:cxn>
              <a:cxn ang="0">
                <a:pos x="csX469" y="csY469"/>
              </a:cxn>
              <a:cxn ang="0">
                <a:pos x="csX470" y="csY470"/>
              </a:cxn>
              <a:cxn ang="0">
                <a:pos x="csX471" y="csY471"/>
              </a:cxn>
              <a:cxn ang="0">
                <a:pos x="csX472" y="csY472"/>
              </a:cxn>
              <a:cxn ang="0">
                <a:pos x="csX473" y="csY473"/>
              </a:cxn>
              <a:cxn ang="0">
                <a:pos x="csX474" y="csY474"/>
              </a:cxn>
              <a:cxn ang="0">
                <a:pos x="csX475" y="csY475"/>
              </a:cxn>
              <a:cxn ang="0">
                <a:pos x="csX476" y="csY476"/>
              </a:cxn>
              <a:cxn ang="0">
                <a:pos x="csX477" y="csY477"/>
              </a:cxn>
              <a:cxn ang="0">
                <a:pos x="csX478" y="csY478"/>
              </a:cxn>
              <a:cxn ang="0">
                <a:pos x="csX479" y="csY479"/>
              </a:cxn>
              <a:cxn ang="0">
                <a:pos x="csX480" y="csY480"/>
              </a:cxn>
              <a:cxn ang="0">
                <a:pos x="csX481" y="csY481"/>
              </a:cxn>
              <a:cxn ang="0">
                <a:pos x="csX482" y="csY482"/>
              </a:cxn>
              <a:cxn ang="0">
                <a:pos x="csX483" y="csY483"/>
              </a:cxn>
              <a:cxn ang="0">
                <a:pos x="csX484" y="csY484"/>
              </a:cxn>
              <a:cxn ang="0">
                <a:pos x="csX485" y="csY485"/>
              </a:cxn>
              <a:cxn ang="0">
                <a:pos x="csX486" y="csY486"/>
              </a:cxn>
              <a:cxn ang="0">
                <a:pos x="csX487" y="csY487"/>
              </a:cxn>
              <a:cxn ang="0">
                <a:pos x="csX488" y="csY488"/>
              </a:cxn>
              <a:cxn ang="0">
                <a:pos x="csX489" y="csY489"/>
              </a:cxn>
              <a:cxn ang="0">
                <a:pos x="csX490" y="csY490"/>
              </a:cxn>
              <a:cxn ang="0">
                <a:pos x="csX491" y="csY491"/>
              </a:cxn>
              <a:cxn ang="0">
                <a:pos x="csX492" y="csY492"/>
              </a:cxn>
              <a:cxn ang="0">
                <a:pos x="csX493" y="csY493"/>
              </a:cxn>
              <a:cxn ang="0">
                <a:pos x="csX494" y="csY494"/>
              </a:cxn>
              <a:cxn ang="0">
                <a:pos x="csX495" y="csY495"/>
              </a:cxn>
              <a:cxn ang="0">
                <a:pos x="csX496" y="csY496"/>
              </a:cxn>
              <a:cxn ang="0">
                <a:pos x="csX497" y="csY497"/>
              </a:cxn>
              <a:cxn ang="0">
                <a:pos x="csX498" y="csY498"/>
              </a:cxn>
              <a:cxn ang="0">
                <a:pos x="csX499" y="csY499"/>
              </a:cxn>
              <a:cxn ang="0">
                <a:pos x="csX500" y="csY500"/>
              </a:cxn>
              <a:cxn ang="0">
                <a:pos x="csX501" y="csY501"/>
              </a:cxn>
              <a:cxn ang="0">
                <a:pos x="csX502" y="csY502"/>
              </a:cxn>
              <a:cxn ang="0">
                <a:pos x="csX503" y="csY503"/>
              </a:cxn>
              <a:cxn ang="0">
                <a:pos x="csX504" y="csY504"/>
              </a:cxn>
              <a:cxn ang="0">
                <a:pos x="csX505" y="csY505"/>
              </a:cxn>
              <a:cxn ang="0">
                <a:pos x="csX506" y="csY506"/>
              </a:cxn>
              <a:cxn ang="0">
                <a:pos x="csX507" y="csY507"/>
              </a:cxn>
              <a:cxn ang="0">
                <a:pos x="csX508" y="csY508"/>
              </a:cxn>
              <a:cxn ang="0">
                <a:pos x="csX509" y="csY509"/>
              </a:cxn>
              <a:cxn ang="0">
                <a:pos x="csX510" y="csY510"/>
              </a:cxn>
              <a:cxn ang="0">
                <a:pos x="csX511" y="csY511"/>
              </a:cxn>
              <a:cxn ang="0">
                <a:pos x="csX512" y="csY512"/>
              </a:cxn>
              <a:cxn ang="0">
                <a:pos x="csX513" y="csY513"/>
              </a:cxn>
              <a:cxn ang="0">
                <a:pos x="csX514" y="csY514"/>
              </a:cxn>
              <a:cxn ang="0">
                <a:pos x="csX515" y="csY515"/>
              </a:cxn>
              <a:cxn ang="0">
                <a:pos x="csX516" y="csY516"/>
              </a:cxn>
              <a:cxn ang="0">
                <a:pos x="csX517" y="csY517"/>
              </a:cxn>
              <a:cxn ang="0">
                <a:pos x="csX518" y="csY518"/>
              </a:cxn>
              <a:cxn ang="0">
                <a:pos x="csX519" y="csY519"/>
              </a:cxn>
              <a:cxn ang="0">
                <a:pos x="csX520" y="csY520"/>
              </a:cxn>
              <a:cxn ang="0">
                <a:pos x="csX521" y="csY521"/>
              </a:cxn>
              <a:cxn ang="0">
                <a:pos x="csX522" y="csY522"/>
              </a:cxn>
              <a:cxn ang="0">
                <a:pos x="csX523" y="csY523"/>
              </a:cxn>
              <a:cxn ang="0">
                <a:pos x="csX524" y="csY524"/>
              </a:cxn>
              <a:cxn ang="0">
                <a:pos x="csX525" y="csY525"/>
              </a:cxn>
              <a:cxn ang="0">
                <a:pos x="csX526" y="csY526"/>
              </a:cxn>
              <a:cxn ang="0">
                <a:pos x="csX527" y="csY527"/>
              </a:cxn>
              <a:cxn ang="0">
                <a:pos x="csX528" y="csY528"/>
              </a:cxn>
              <a:cxn ang="0">
                <a:pos x="csX529" y="csY529"/>
              </a:cxn>
              <a:cxn ang="0">
                <a:pos x="csX530" y="csY530"/>
              </a:cxn>
              <a:cxn ang="0">
                <a:pos x="csX531" y="csY531"/>
              </a:cxn>
              <a:cxn ang="0">
                <a:pos x="csX532" y="csY532"/>
              </a:cxn>
              <a:cxn ang="0">
                <a:pos x="csX533" y="csY533"/>
              </a:cxn>
              <a:cxn ang="0">
                <a:pos x="csX534" y="csY534"/>
              </a:cxn>
              <a:cxn ang="0">
                <a:pos x="csX535" y="csY535"/>
              </a:cxn>
              <a:cxn ang="0">
                <a:pos x="csX536" y="csY536"/>
              </a:cxn>
              <a:cxn ang="0">
                <a:pos x="csX537" y="csY537"/>
              </a:cxn>
              <a:cxn ang="0">
                <a:pos x="csX538" y="csY538"/>
              </a:cxn>
              <a:cxn ang="0">
                <a:pos x="csX539" y="csY539"/>
              </a:cxn>
              <a:cxn ang="0">
                <a:pos x="csX540" y="csY540"/>
              </a:cxn>
              <a:cxn ang="0">
                <a:pos x="csX541" y="csY541"/>
              </a:cxn>
              <a:cxn ang="0">
                <a:pos x="csX542" y="csY542"/>
              </a:cxn>
              <a:cxn ang="0">
                <a:pos x="csX543" y="csY543"/>
              </a:cxn>
              <a:cxn ang="0">
                <a:pos x="csX544" y="csY544"/>
              </a:cxn>
              <a:cxn ang="0">
                <a:pos x="csX545" y="csY545"/>
              </a:cxn>
              <a:cxn ang="0">
                <a:pos x="csX546" y="csY546"/>
              </a:cxn>
              <a:cxn ang="0">
                <a:pos x="csX547" y="csY547"/>
              </a:cxn>
              <a:cxn ang="0">
                <a:pos x="csX548" y="csY548"/>
              </a:cxn>
              <a:cxn ang="0">
                <a:pos x="csX549" y="csY549"/>
              </a:cxn>
              <a:cxn ang="0">
                <a:pos x="csX550" y="csY550"/>
              </a:cxn>
              <a:cxn ang="0">
                <a:pos x="csX551" y="csY551"/>
              </a:cxn>
              <a:cxn ang="0">
                <a:pos x="csX552" y="csY552"/>
              </a:cxn>
              <a:cxn ang="0">
                <a:pos x="csX553" y="csY553"/>
              </a:cxn>
              <a:cxn ang="0">
                <a:pos x="csX554" y="csY554"/>
              </a:cxn>
              <a:cxn ang="0">
                <a:pos x="csX555" y="csY555"/>
              </a:cxn>
              <a:cxn ang="0">
                <a:pos x="csX556" y="csY556"/>
              </a:cxn>
              <a:cxn ang="0">
                <a:pos x="csX557" y="csY557"/>
              </a:cxn>
              <a:cxn ang="0">
                <a:pos x="csX558" y="csY558"/>
              </a:cxn>
              <a:cxn ang="0">
                <a:pos x="csX559" y="csY559"/>
              </a:cxn>
              <a:cxn ang="0">
                <a:pos x="csX560" y="csY560"/>
              </a:cxn>
              <a:cxn ang="0">
                <a:pos x="csX561" y="csY561"/>
              </a:cxn>
              <a:cxn ang="0">
                <a:pos x="csX562" y="csY562"/>
              </a:cxn>
              <a:cxn ang="0">
                <a:pos x="csX563" y="csY563"/>
              </a:cxn>
              <a:cxn ang="0">
                <a:pos x="csX564" y="csY564"/>
              </a:cxn>
              <a:cxn ang="0">
                <a:pos x="csX565" y="csY565"/>
              </a:cxn>
              <a:cxn ang="0">
                <a:pos x="csX566" y="csY566"/>
              </a:cxn>
              <a:cxn ang="0">
                <a:pos x="csX567" y="csY567"/>
              </a:cxn>
              <a:cxn ang="0">
                <a:pos x="csX568" y="csY568"/>
              </a:cxn>
              <a:cxn ang="0">
                <a:pos x="csX569" y="csY569"/>
              </a:cxn>
              <a:cxn ang="0">
                <a:pos x="csX570" y="csY570"/>
              </a:cxn>
              <a:cxn ang="0">
                <a:pos x="csX571" y="csY571"/>
              </a:cxn>
              <a:cxn ang="0">
                <a:pos x="csX572" y="csY572"/>
              </a:cxn>
              <a:cxn ang="0">
                <a:pos x="csX573" y="csY573"/>
              </a:cxn>
              <a:cxn ang="0">
                <a:pos x="csX574" y="csY574"/>
              </a:cxn>
              <a:cxn ang="0">
                <a:pos x="csX575" y="csY575"/>
              </a:cxn>
              <a:cxn ang="0">
                <a:pos x="csX576" y="csY576"/>
              </a:cxn>
              <a:cxn ang="0">
                <a:pos x="csX577" y="csY577"/>
              </a:cxn>
              <a:cxn ang="0">
                <a:pos x="csX578" y="csY578"/>
              </a:cxn>
              <a:cxn ang="0">
                <a:pos x="csX579" y="csY579"/>
              </a:cxn>
              <a:cxn ang="0">
                <a:pos x="csX580" y="csY580"/>
              </a:cxn>
              <a:cxn ang="0">
                <a:pos x="csX581" y="csY581"/>
              </a:cxn>
              <a:cxn ang="0">
                <a:pos x="csX582" y="csY582"/>
              </a:cxn>
              <a:cxn ang="0">
                <a:pos x="csX583" y="csY583"/>
              </a:cxn>
              <a:cxn ang="0">
                <a:pos x="csX584" y="csY584"/>
              </a:cxn>
              <a:cxn ang="0">
                <a:pos x="csX585" y="csY585"/>
              </a:cxn>
              <a:cxn ang="0">
                <a:pos x="csX586" y="csY586"/>
              </a:cxn>
              <a:cxn ang="0">
                <a:pos x="csX587" y="csY587"/>
              </a:cxn>
              <a:cxn ang="0">
                <a:pos x="csX588" y="csY588"/>
              </a:cxn>
              <a:cxn ang="0">
                <a:pos x="csX589" y="csY589"/>
              </a:cxn>
              <a:cxn ang="0">
                <a:pos x="csX590" y="csY590"/>
              </a:cxn>
              <a:cxn ang="0">
                <a:pos x="csX591" y="csY591"/>
              </a:cxn>
              <a:cxn ang="0">
                <a:pos x="csX592" y="csY592"/>
              </a:cxn>
              <a:cxn ang="0">
                <a:pos x="csX593" y="csY593"/>
              </a:cxn>
              <a:cxn ang="0">
                <a:pos x="csX594" y="csY594"/>
              </a:cxn>
              <a:cxn ang="0">
                <a:pos x="csX595" y="csY595"/>
              </a:cxn>
              <a:cxn ang="0">
                <a:pos x="csX596" y="csY596"/>
              </a:cxn>
              <a:cxn ang="0">
                <a:pos x="csX597" y="csY597"/>
              </a:cxn>
              <a:cxn ang="0">
                <a:pos x="csX598" y="csY598"/>
              </a:cxn>
              <a:cxn ang="0">
                <a:pos x="csX599" y="csY599"/>
              </a:cxn>
              <a:cxn ang="0">
                <a:pos x="csX600" y="csY600"/>
              </a:cxn>
              <a:cxn ang="0">
                <a:pos x="csX601" y="csY601"/>
              </a:cxn>
              <a:cxn ang="0">
                <a:pos x="csX602" y="csY602"/>
              </a:cxn>
              <a:cxn ang="0">
                <a:pos x="csX603" y="csY603"/>
              </a:cxn>
              <a:cxn ang="0">
                <a:pos x="csX604" y="csY604"/>
              </a:cxn>
              <a:cxn ang="0">
                <a:pos x="csX605" y="csY605"/>
              </a:cxn>
              <a:cxn ang="0">
                <a:pos x="csX606" y="csY606"/>
              </a:cxn>
              <a:cxn ang="0">
                <a:pos x="csX607" y="csY607"/>
              </a:cxn>
              <a:cxn ang="0">
                <a:pos x="csX608" y="csY608"/>
              </a:cxn>
              <a:cxn ang="0">
                <a:pos x="csX609" y="csY609"/>
              </a:cxn>
              <a:cxn ang="0">
                <a:pos x="csX610" y="csY610"/>
              </a:cxn>
              <a:cxn ang="0">
                <a:pos x="csX611" y="csY611"/>
              </a:cxn>
              <a:cxn ang="0">
                <a:pos x="csX612" y="csY612"/>
              </a:cxn>
              <a:cxn ang="0">
                <a:pos x="csX613" y="csY613"/>
              </a:cxn>
              <a:cxn ang="0">
                <a:pos x="csX614" y="csY614"/>
              </a:cxn>
              <a:cxn ang="0">
                <a:pos x="csX615" y="csY615"/>
              </a:cxn>
              <a:cxn ang="0">
                <a:pos x="csX616" y="csY616"/>
              </a:cxn>
              <a:cxn ang="0">
                <a:pos x="csX617" y="csY617"/>
              </a:cxn>
              <a:cxn ang="0">
                <a:pos x="csX618" y="csY618"/>
              </a:cxn>
              <a:cxn ang="0">
                <a:pos x="csX619" y="csY619"/>
              </a:cxn>
              <a:cxn ang="0">
                <a:pos x="csX620" y="csY620"/>
              </a:cxn>
              <a:cxn ang="0">
                <a:pos x="csX621" y="csY621"/>
              </a:cxn>
              <a:cxn ang="0">
                <a:pos x="csX622" y="csY622"/>
              </a:cxn>
              <a:cxn ang="0">
                <a:pos x="csX623" y="csY623"/>
              </a:cxn>
              <a:cxn ang="0">
                <a:pos x="csX624" y="csY624"/>
              </a:cxn>
              <a:cxn ang="0">
                <a:pos x="csX625" y="csY625"/>
              </a:cxn>
              <a:cxn ang="0">
                <a:pos x="csX626" y="csY626"/>
              </a:cxn>
              <a:cxn ang="0">
                <a:pos x="csX627" y="csY627"/>
              </a:cxn>
              <a:cxn ang="0">
                <a:pos x="csX628" y="csY628"/>
              </a:cxn>
              <a:cxn ang="0">
                <a:pos x="csX629" y="csY629"/>
              </a:cxn>
              <a:cxn ang="0">
                <a:pos x="csX630" y="csY630"/>
              </a:cxn>
              <a:cxn ang="0">
                <a:pos x="csX631" y="csY631"/>
              </a:cxn>
              <a:cxn ang="0">
                <a:pos x="csX632" y="csY632"/>
              </a:cxn>
              <a:cxn ang="0">
                <a:pos x="csX633" y="csY633"/>
              </a:cxn>
              <a:cxn ang="0">
                <a:pos x="csX634" y="csY634"/>
              </a:cxn>
              <a:cxn ang="0">
                <a:pos x="csX635" y="csY635"/>
              </a:cxn>
              <a:cxn ang="0">
                <a:pos x="csX636" y="csY636"/>
              </a:cxn>
              <a:cxn ang="0">
                <a:pos x="csX637" y="csY637"/>
              </a:cxn>
              <a:cxn ang="0">
                <a:pos x="csX638" y="csY638"/>
              </a:cxn>
              <a:cxn ang="0">
                <a:pos x="csX639" y="csY639"/>
              </a:cxn>
              <a:cxn ang="0">
                <a:pos x="csX640" y="csY640"/>
              </a:cxn>
              <a:cxn ang="0">
                <a:pos x="csX641" y="csY641"/>
              </a:cxn>
              <a:cxn ang="0">
                <a:pos x="csX642" y="csY642"/>
              </a:cxn>
              <a:cxn ang="0">
                <a:pos x="csX643" y="csY643"/>
              </a:cxn>
              <a:cxn ang="0">
                <a:pos x="csX644" y="csY644"/>
              </a:cxn>
              <a:cxn ang="0">
                <a:pos x="csX645" y="csY645"/>
              </a:cxn>
              <a:cxn ang="0">
                <a:pos x="csX646" y="csY646"/>
              </a:cxn>
              <a:cxn ang="0">
                <a:pos x="csX647" y="csY647"/>
              </a:cxn>
              <a:cxn ang="0">
                <a:pos x="csX648" y="csY648"/>
              </a:cxn>
              <a:cxn ang="0">
                <a:pos x="csX649" y="csY649"/>
              </a:cxn>
              <a:cxn ang="0">
                <a:pos x="csX650" y="csY650"/>
              </a:cxn>
              <a:cxn ang="0">
                <a:pos x="csX651" y="csY651"/>
              </a:cxn>
              <a:cxn ang="0">
                <a:pos x="csX652" y="csY652"/>
              </a:cxn>
              <a:cxn ang="0">
                <a:pos x="csX653" y="csY653"/>
              </a:cxn>
              <a:cxn ang="0">
                <a:pos x="csX654" y="csY654"/>
              </a:cxn>
              <a:cxn ang="0">
                <a:pos x="csX655" y="csY655"/>
              </a:cxn>
              <a:cxn ang="0">
                <a:pos x="csX656" y="csY656"/>
              </a:cxn>
              <a:cxn ang="0">
                <a:pos x="csX657" y="csY657"/>
              </a:cxn>
              <a:cxn ang="0">
                <a:pos x="csX658" y="csY658"/>
              </a:cxn>
              <a:cxn ang="0">
                <a:pos x="csX659" y="csY659"/>
              </a:cxn>
              <a:cxn ang="0">
                <a:pos x="csX660" y="csY660"/>
              </a:cxn>
              <a:cxn ang="0">
                <a:pos x="csX661" y="csY661"/>
              </a:cxn>
              <a:cxn ang="0">
                <a:pos x="csX662" y="csY662"/>
              </a:cxn>
              <a:cxn ang="0">
                <a:pos x="csX663" y="csY663"/>
              </a:cxn>
              <a:cxn ang="0">
                <a:pos x="csX664" y="csY664"/>
              </a:cxn>
              <a:cxn ang="0">
                <a:pos x="csX665" y="csY665"/>
              </a:cxn>
              <a:cxn ang="0">
                <a:pos x="csX666" y="csY666"/>
              </a:cxn>
              <a:cxn ang="0">
                <a:pos x="csX667" y="csY667"/>
              </a:cxn>
              <a:cxn ang="0">
                <a:pos x="csX668" y="csY668"/>
              </a:cxn>
              <a:cxn ang="0">
                <a:pos x="csX669" y="csY669"/>
              </a:cxn>
              <a:cxn ang="0">
                <a:pos x="csX670" y="csY670"/>
              </a:cxn>
              <a:cxn ang="0">
                <a:pos x="csX671" y="csY671"/>
              </a:cxn>
              <a:cxn ang="0">
                <a:pos x="csX672" y="csY672"/>
              </a:cxn>
              <a:cxn ang="0">
                <a:pos x="csX673" y="csY673"/>
              </a:cxn>
              <a:cxn ang="0">
                <a:pos x="csX674" y="csY674"/>
              </a:cxn>
              <a:cxn ang="0">
                <a:pos x="csX675" y="csY675"/>
              </a:cxn>
              <a:cxn ang="0">
                <a:pos x="csX676" y="csY676"/>
              </a:cxn>
              <a:cxn ang="0">
                <a:pos x="csX677" y="csY677"/>
              </a:cxn>
              <a:cxn ang="0">
                <a:pos x="csX678" y="csY678"/>
              </a:cxn>
              <a:cxn ang="0">
                <a:pos x="csX679" y="csY679"/>
              </a:cxn>
              <a:cxn ang="0">
                <a:pos x="csX680" y="csY680"/>
              </a:cxn>
              <a:cxn ang="0">
                <a:pos x="csX681" y="csY681"/>
              </a:cxn>
              <a:cxn ang="0">
                <a:pos x="csX682" y="csY682"/>
              </a:cxn>
              <a:cxn ang="0">
                <a:pos x="csX683" y="csY683"/>
              </a:cxn>
              <a:cxn ang="0">
                <a:pos x="csX684" y="csY684"/>
              </a:cxn>
              <a:cxn ang="0">
                <a:pos x="csX685" y="csY685"/>
              </a:cxn>
              <a:cxn ang="0">
                <a:pos x="csX686" y="csY686"/>
              </a:cxn>
              <a:cxn ang="0">
                <a:pos x="csX687" y="csY687"/>
              </a:cxn>
              <a:cxn ang="0">
                <a:pos x="csX688" y="csY688"/>
              </a:cxn>
              <a:cxn ang="0">
                <a:pos x="csX689" y="csY689"/>
              </a:cxn>
              <a:cxn ang="0">
                <a:pos x="csX690" y="csY690"/>
              </a:cxn>
              <a:cxn ang="0">
                <a:pos x="csX691" y="csY691"/>
              </a:cxn>
              <a:cxn ang="0">
                <a:pos x="csX692" y="csY692"/>
              </a:cxn>
              <a:cxn ang="0">
                <a:pos x="csX693" y="csY693"/>
              </a:cxn>
              <a:cxn ang="0">
                <a:pos x="csX694" y="csY694"/>
              </a:cxn>
              <a:cxn ang="0">
                <a:pos x="csX695" y="csY695"/>
              </a:cxn>
              <a:cxn ang="0">
                <a:pos x="csX696" y="csY696"/>
              </a:cxn>
              <a:cxn ang="0">
                <a:pos x="csX697" y="csY697"/>
              </a:cxn>
              <a:cxn ang="0">
                <a:pos x="csX698" y="csY698"/>
              </a:cxn>
              <a:cxn ang="0">
                <a:pos x="csX699" y="csY699"/>
              </a:cxn>
              <a:cxn ang="0">
                <a:pos x="csX700" y="csY700"/>
              </a:cxn>
              <a:cxn ang="0">
                <a:pos x="csX701" y="csY701"/>
              </a:cxn>
              <a:cxn ang="0">
                <a:pos x="csX702" y="csY702"/>
              </a:cxn>
              <a:cxn ang="0">
                <a:pos x="csX703" y="csY703"/>
              </a:cxn>
              <a:cxn ang="0">
                <a:pos x="csX704" y="csY704"/>
              </a:cxn>
              <a:cxn ang="0">
                <a:pos x="csX705" y="csY705"/>
              </a:cxn>
              <a:cxn ang="0">
                <a:pos x="csX706" y="csY706"/>
              </a:cxn>
              <a:cxn ang="0">
                <a:pos x="csX707" y="csY707"/>
              </a:cxn>
              <a:cxn ang="0">
                <a:pos x="csX708" y="csY708"/>
              </a:cxn>
              <a:cxn ang="0">
                <a:pos x="csX709" y="csY709"/>
              </a:cxn>
              <a:cxn ang="0">
                <a:pos x="csX710" y="csY710"/>
              </a:cxn>
              <a:cxn ang="0">
                <a:pos x="csX711" y="csY711"/>
              </a:cxn>
              <a:cxn ang="0">
                <a:pos x="csX712" y="csY712"/>
              </a:cxn>
              <a:cxn ang="0">
                <a:pos x="csX713" y="csY713"/>
              </a:cxn>
              <a:cxn ang="0">
                <a:pos x="csX714" y="csY714"/>
              </a:cxn>
              <a:cxn ang="0">
                <a:pos x="csX715" y="csY715"/>
              </a:cxn>
              <a:cxn ang="0">
                <a:pos x="csX716" y="csY716"/>
              </a:cxn>
              <a:cxn ang="0">
                <a:pos x="csX717" y="csY717"/>
              </a:cxn>
              <a:cxn ang="0">
                <a:pos x="csX718" y="csY718"/>
              </a:cxn>
              <a:cxn ang="0">
                <a:pos x="csX719" y="csY719"/>
              </a:cxn>
              <a:cxn ang="0">
                <a:pos x="csX720" y="csY720"/>
              </a:cxn>
              <a:cxn ang="0">
                <a:pos x="csX721" y="csY721"/>
              </a:cxn>
              <a:cxn ang="0">
                <a:pos x="csX722" y="csY722"/>
              </a:cxn>
              <a:cxn ang="0">
                <a:pos x="csX723" y="csY723"/>
              </a:cxn>
              <a:cxn ang="0">
                <a:pos x="csX724" y="csY724"/>
              </a:cxn>
              <a:cxn ang="0">
                <a:pos x="csX725" y="csY725"/>
              </a:cxn>
              <a:cxn ang="0">
                <a:pos x="csX726" y="csY726"/>
              </a:cxn>
              <a:cxn ang="0">
                <a:pos x="csX727" y="csY727"/>
              </a:cxn>
              <a:cxn ang="0">
                <a:pos x="csX728" y="csY728"/>
              </a:cxn>
              <a:cxn ang="0">
                <a:pos x="csX729" y="csY729"/>
              </a:cxn>
              <a:cxn ang="0">
                <a:pos x="csX730" y="csY730"/>
              </a:cxn>
              <a:cxn ang="0">
                <a:pos x="csX731" y="csY731"/>
              </a:cxn>
              <a:cxn ang="0">
                <a:pos x="csX732" y="csY732"/>
              </a:cxn>
              <a:cxn ang="0">
                <a:pos x="csX733" y="csY733"/>
              </a:cxn>
              <a:cxn ang="0">
                <a:pos x="csX734" y="csY734"/>
              </a:cxn>
              <a:cxn ang="0">
                <a:pos x="csX735" y="csY735"/>
              </a:cxn>
              <a:cxn ang="0">
                <a:pos x="csX736" y="csY736"/>
              </a:cxn>
              <a:cxn ang="0">
                <a:pos x="csX737" y="csY737"/>
              </a:cxn>
              <a:cxn ang="0">
                <a:pos x="csX738" y="csY738"/>
              </a:cxn>
              <a:cxn ang="0">
                <a:pos x="csX739" y="csY739"/>
              </a:cxn>
              <a:cxn ang="0">
                <a:pos x="csX740" y="csY740"/>
              </a:cxn>
              <a:cxn ang="0">
                <a:pos x="csX741" y="csY741"/>
              </a:cxn>
              <a:cxn ang="0">
                <a:pos x="csX742" y="csY742"/>
              </a:cxn>
              <a:cxn ang="0">
                <a:pos x="csX743" y="csY743"/>
              </a:cxn>
              <a:cxn ang="0">
                <a:pos x="csX744" y="csY744"/>
              </a:cxn>
              <a:cxn ang="0">
                <a:pos x="csX745" y="csY745"/>
              </a:cxn>
              <a:cxn ang="0">
                <a:pos x="csX746" y="csY746"/>
              </a:cxn>
              <a:cxn ang="0">
                <a:pos x="csX747" y="csY747"/>
              </a:cxn>
              <a:cxn ang="0">
                <a:pos x="csX748" y="csY748"/>
              </a:cxn>
              <a:cxn ang="0">
                <a:pos x="csX749" y="csY749"/>
              </a:cxn>
              <a:cxn ang="0">
                <a:pos x="csX750" y="csY750"/>
              </a:cxn>
              <a:cxn ang="0">
                <a:pos x="csX751" y="csY751"/>
              </a:cxn>
              <a:cxn ang="0">
                <a:pos x="csX752" y="csY752"/>
              </a:cxn>
              <a:cxn ang="0">
                <a:pos x="csX753" y="csY753"/>
              </a:cxn>
              <a:cxn ang="0">
                <a:pos x="csX754" y="csY754"/>
              </a:cxn>
              <a:cxn ang="0">
                <a:pos x="csX755" y="csY755"/>
              </a:cxn>
              <a:cxn ang="0">
                <a:pos x="csX756" y="csY756"/>
              </a:cxn>
              <a:cxn ang="0">
                <a:pos x="csX757" y="csY757"/>
              </a:cxn>
              <a:cxn ang="0">
                <a:pos x="csX758" y="csY758"/>
              </a:cxn>
              <a:cxn ang="0">
                <a:pos x="csX759" y="csY759"/>
              </a:cxn>
              <a:cxn ang="0">
                <a:pos x="csX760" y="csY760"/>
              </a:cxn>
              <a:cxn ang="0">
                <a:pos x="csX761" y="csY761"/>
              </a:cxn>
              <a:cxn ang="0">
                <a:pos x="csX762" y="csY762"/>
              </a:cxn>
              <a:cxn ang="0">
                <a:pos x="csX763" y="csY763"/>
              </a:cxn>
              <a:cxn ang="0">
                <a:pos x="csX764" y="csY764"/>
              </a:cxn>
              <a:cxn ang="0">
                <a:pos x="csX765" y="csY765"/>
              </a:cxn>
              <a:cxn ang="0">
                <a:pos x="csX766" y="csY766"/>
              </a:cxn>
              <a:cxn ang="0">
                <a:pos x="csX767" y="csY767"/>
              </a:cxn>
              <a:cxn ang="0">
                <a:pos x="csX768" y="csY768"/>
              </a:cxn>
              <a:cxn ang="0">
                <a:pos x="csX769" y="csY769"/>
              </a:cxn>
              <a:cxn ang="0">
                <a:pos x="csX770" y="csY770"/>
              </a:cxn>
              <a:cxn ang="0">
                <a:pos x="csX771" y="csY771"/>
              </a:cxn>
              <a:cxn ang="0">
                <a:pos x="csX772" y="csY772"/>
              </a:cxn>
              <a:cxn ang="0">
                <a:pos x="csX773" y="csY773"/>
              </a:cxn>
              <a:cxn ang="0">
                <a:pos x="csX774" y="csY774"/>
              </a:cxn>
              <a:cxn ang="0">
                <a:pos x="csX775" y="csY775"/>
              </a:cxn>
              <a:cxn ang="0">
                <a:pos x="csX776" y="csY776"/>
              </a:cxn>
              <a:cxn ang="0">
                <a:pos x="csX777" y="csY777"/>
              </a:cxn>
              <a:cxn ang="0">
                <a:pos x="csX778" y="csY778"/>
              </a:cxn>
              <a:cxn ang="0">
                <a:pos x="csX779" y="csY779"/>
              </a:cxn>
              <a:cxn ang="0">
                <a:pos x="csX780" y="csY780"/>
              </a:cxn>
              <a:cxn ang="0">
                <a:pos x="csX781" y="csY781"/>
              </a:cxn>
              <a:cxn ang="0">
                <a:pos x="csX782" y="csY782"/>
              </a:cxn>
              <a:cxn ang="0">
                <a:pos x="csX783" y="csY783"/>
              </a:cxn>
              <a:cxn ang="0">
                <a:pos x="csX784" y="csY784"/>
              </a:cxn>
              <a:cxn ang="0">
                <a:pos x="csX785" y="csY785"/>
              </a:cxn>
              <a:cxn ang="0">
                <a:pos x="csX786" y="csY786"/>
              </a:cxn>
              <a:cxn ang="0">
                <a:pos x="csX787" y="csY787"/>
              </a:cxn>
              <a:cxn ang="0">
                <a:pos x="csX788" y="csY788"/>
              </a:cxn>
              <a:cxn ang="0">
                <a:pos x="csX789" y="csY789"/>
              </a:cxn>
              <a:cxn ang="0">
                <a:pos x="csX790" y="csY790"/>
              </a:cxn>
              <a:cxn ang="0">
                <a:pos x="csX791" y="csY791"/>
              </a:cxn>
              <a:cxn ang="0">
                <a:pos x="csX792" y="csY792"/>
              </a:cxn>
              <a:cxn ang="0">
                <a:pos x="csX793" y="csY793"/>
              </a:cxn>
              <a:cxn ang="0">
                <a:pos x="csX794" y="csY794"/>
              </a:cxn>
              <a:cxn ang="0">
                <a:pos x="csX795" y="csY795"/>
              </a:cxn>
              <a:cxn ang="0">
                <a:pos x="csX796" y="csY796"/>
              </a:cxn>
              <a:cxn ang="0">
                <a:pos x="csX797" y="csY797"/>
              </a:cxn>
              <a:cxn ang="0">
                <a:pos x="csX798" y="csY798"/>
              </a:cxn>
              <a:cxn ang="0">
                <a:pos x="csX799" y="csY799"/>
              </a:cxn>
              <a:cxn ang="0">
                <a:pos x="csX800" y="csY800"/>
              </a:cxn>
              <a:cxn ang="0">
                <a:pos x="csX801" y="csY801"/>
              </a:cxn>
              <a:cxn ang="0">
                <a:pos x="csX802" y="csY802"/>
              </a:cxn>
              <a:cxn ang="0">
                <a:pos x="csX803" y="csY803"/>
              </a:cxn>
              <a:cxn ang="0">
                <a:pos x="csX804" y="csY804"/>
              </a:cxn>
              <a:cxn ang="0">
                <a:pos x="csX805" y="csY805"/>
              </a:cxn>
              <a:cxn ang="0">
                <a:pos x="csX806" y="csY806"/>
              </a:cxn>
              <a:cxn ang="0">
                <a:pos x="csX807" y="csY807"/>
              </a:cxn>
              <a:cxn ang="0">
                <a:pos x="csX808" y="csY808"/>
              </a:cxn>
              <a:cxn ang="0">
                <a:pos x="csX809" y="csY809"/>
              </a:cxn>
              <a:cxn ang="0">
                <a:pos x="csX810" y="csY810"/>
              </a:cxn>
              <a:cxn ang="0">
                <a:pos x="csX811" y="csY811"/>
              </a:cxn>
              <a:cxn ang="0">
                <a:pos x="csX812" y="csY812"/>
              </a:cxn>
              <a:cxn ang="0">
                <a:pos x="csX813" y="csY813"/>
              </a:cxn>
              <a:cxn ang="0">
                <a:pos x="csX814" y="csY814"/>
              </a:cxn>
              <a:cxn ang="0">
                <a:pos x="csX815" y="csY815"/>
              </a:cxn>
              <a:cxn ang="0">
                <a:pos x="csX816" y="csY816"/>
              </a:cxn>
              <a:cxn ang="0">
                <a:pos x="csX817" y="csY817"/>
              </a:cxn>
              <a:cxn ang="0">
                <a:pos x="csX818" y="csY818"/>
              </a:cxn>
              <a:cxn ang="0">
                <a:pos x="csX819" y="csY819"/>
              </a:cxn>
              <a:cxn ang="0">
                <a:pos x="csX820" y="csY820"/>
              </a:cxn>
              <a:cxn ang="0">
                <a:pos x="csX821" y="csY821"/>
              </a:cxn>
              <a:cxn ang="0">
                <a:pos x="csX822" y="csY822"/>
              </a:cxn>
              <a:cxn ang="0">
                <a:pos x="csX823" y="csY823"/>
              </a:cxn>
              <a:cxn ang="0">
                <a:pos x="csX824" y="csY824"/>
              </a:cxn>
              <a:cxn ang="0">
                <a:pos x="csX825" y="csY825"/>
              </a:cxn>
              <a:cxn ang="0">
                <a:pos x="csX826" y="csY826"/>
              </a:cxn>
              <a:cxn ang="0">
                <a:pos x="csX827" y="csY827"/>
              </a:cxn>
              <a:cxn ang="0">
                <a:pos x="csX828" y="csY828"/>
              </a:cxn>
              <a:cxn ang="0">
                <a:pos x="csX829" y="csY829"/>
              </a:cxn>
              <a:cxn ang="0">
                <a:pos x="csX830" y="csY830"/>
              </a:cxn>
              <a:cxn ang="0">
                <a:pos x="csX831" y="csY831"/>
              </a:cxn>
              <a:cxn ang="0">
                <a:pos x="csX832" y="csY832"/>
              </a:cxn>
              <a:cxn ang="0">
                <a:pos x="csX833" y="csY833"/>
              </a:cxn>
              <a:cxn ang="0">
                <a:pos x="csX834" y="csY834"/>
              </a:cxn>
              <a:cxn ang="0">
                <a:pos x="csX835" y="csY835"/>
              </a:cxn>
              <a:cxn ang="0">
                <a:pos x="csX836" y="csY836"/>
              </a:cxn>
              <a:cxn ang="0">
                <a:pos x="csX837" y="csY837"/>
              </a:cxn>
              <a:cxn ang="0">
                <a:pos x="csX838" y="csY838"/>
              </a:cxn>
              <a:cxn ang="0">
                <a:pos x="csX839" y="csY839"/>
              </a:cxn>
              <a:cxn ang="0">
                <a:pos x="csX840" y="csY840"/>
              </a:cxn>
              <a:cxn ang="0">
                <a:pos x="csX841" y="csY841"/>
              </a:cxn>
              <a:cxn ang="0">
                <a:pos x="csX842" y="csY842"/>
              </a:cxn>
              <a:cxn ang="0">
                <a:pos x="csX843" y="csY843"/>
              </a:cxn>
              <a:cxn ang="0">
                <a:pos x="csX844" y="csY844"/>
              </a:cxn>
              <a:cxn ang="0">
                <a:pos x="csX845" y="csY845"/>
              </a:cxn>
              <a:cxn ang="0">
                <a:pos x="csX846" y="csY846"/>
              </a:cxn>
              <a:cxn ang="0">
                <a:pos x="csX847" y="csY847"/>
              </a:cxn>
              <a:cxn ang="0">
                <a:pos x="csX848" y="csY848"/>
              </a:cxn>
              <a:cxn ang="0">
                <a:pos x="csX849" y="csY849"/>
              </a:cxn>
              <a:cxn ang="0">
                <a:pos x="csX850" y="csY850"/>
              </a:cxn>
              <a:cxn ang="0">
                <a:pos x="csX851" y="csY851"/>
              </a:cxn>
              <a:cxn ang="0">
                <a:pos x="csX852" y="csY852"/>
              </a:cxn>
              <a:cxn ang="0">
                <a:pos x="csX853" y="csY853"/>
              </a:cxn>
              <a:cxn ang="0">
                <a:pos x="csX854" y="csY854"/>
              </a:cxn>
              <a:cxn ang="0">
                <a:pos x="csX855" y="csY855"/>
              </a:cxn>
              <a:cxn ang="0">
                <a:pos x="csX856" y="csY856"/>
              </a:cxn>
              <a:cxn ang="0">
                <a:pos x="csX857" y="csY857"/>
              </a:cxn>
              <a:cxn ang="0">
                <a:pos x="csX858" y="csY858"/>
              </a:cxn>
              <a:cxn ang="0">
                <a:pos x="csX859" y="csY859"/>
              </a:cxn>
              <a:cxn ang="0">
                <a:pos x="csX860" y="csY860"/>
              </a:cxn>
              <a:cxn ang="0">
                <a:pos x="csX861" y="csY861"/>
              </a:cxn>
              <a:cxn ang="0">
                <a:pos x="csX862" y="csY862"/>
              </a:cxn>
              <a:cxn ang="0">
                <a:pos x="csX863" y="csY863"/>
              </a:cxn>
              <a:cxn ang="0">
                <a:pos x="csX864" y="csY864"/>
              </a:cxn>
              <a:cxn ang="0">
                <a:pos x="csX865" y="csY865"/>
              </a:cxn>
              <a:cxn ang="0">
                <a:pos x="csX866" y="csY866"/>
              </a:cxn>
              <a:cxn ang="0">
                <a:pos x="csX867" y="csY867"/>
              </a:cxn>
              <a:cxn ang="0">
                <a:pos x="csX868" y="csY868"/>
              </a:cxn>
              <a:cxn ang="0">
                <a:pos x="csX869" y="csY869"/>
              </a:cxn>
              <a:cxn ang="0">
                <a:pos x="csX870" y="csY870"/>
              </a:cxn>
              <a:cxn ang="0">
                <a:pos x="csX871" y="csY871"/>
              </a:cxn>
              <a:cxn ang="0">
                <a:pos x="csX872" y="csY872"/>
              </a:cxn>
              <a:cxn ang="0">
                <a:pos x="csX873" y="csY873"/>
              </a:cxn>
              <a:cxn ang="0">
                <a:pos x="csX874" y="csY874"/>
              </a:cxn>
              <a:cxn ang="0">
                <a:pos x="csX875" y="csY875"/>
              </a:cxn>
              <a:cxn ang="0">
                <a:pos x="csX876" y="csY876"/>
              </a:cxn>
              <a:cxn ang="0">
                <a:pos x="csX877" y="csY877"/>
              </a:cxn>
              <a:cxn ang="0">
                <a:pos x="csX878" y="csY878"/>
              </a:cxn>
              <a:cxn ang="0">
                <a:pos x="csX879" y="csY879"/>
              </a:cxn>
              <a:cxn ang="0">
                <a:pos x="csX880" y="csY880"/>
              </a:cxn>
              <a:cxn ang="0">
                <a:pos x="csX881" y="csY881"/>
              </a:cxn>
              <a:cxn ang="0">
                <a:pos x="csX882" y="csY882"/>
              </a:cxn>
              <a:cxn ang="0">
                <a:pos x="csX883" y="csY883"/>
              </a:cxn>
              <a:cxn ang="0">
                <a:pos x="csX884" y="csY884"/>
              </a:cxn>
              <a:cxn ang="0">
                <a:pos x="csX885" y="csY885"/>
              </a:cxn>
              <a:cxn ang="0">
                <a:pos x="csX886" y="csY886"/>
              </a:cxn>
              <a:cxn ang="0">
                <a:pos x="csX887" y="csY887"/>
              </a:cxn>
              <a:cxn ang="0">
                <a:pos x="csX888" y="csY888"/>
              </a:cxn>
              <a:cxn ang="0">
                <a:pos x="csX889" y="csY889"/>
              </a:cxn>
              <a:cxn ang="0">
                <a:pos x="csX890" y="csY890"/>
              </a:cxn>
              <a:cxn ang="0">
                <a:pos x="csX891" y="csY891"/>
              </a:cxn>
              <a:cxn ang="0">
                <a:pos x="csX892" y="csY892"/>
              </a:cxn>
              <a:cxn ang="0">
                <a:pos x="csX893" y="csY893"/>
              </a:cxn>
              <a:cxn ang="0">
                <a:pos x="csX894" y="csY894"/>
              </a:cxn>
              <a:cxn ang="0">
                <a:pos x="csX895" y="csY895"/>
              </a:cxn>
              <a:cxn ang="0">
                <a:pos x="csX896" y="csY896"/>
              </a:cxn>
              <a:cxn ang="0">
                <a:pos x="csX897" y="csY897"/>
              </a:cxn>
              <a:cxn ang="0">
                <a:pos x="csX898" y="csY898"/>
              </a:cxn>
              <a:cxn ang="0">
                <a:pos x="csX899" y="csY899"/>
              </a:cxn>
              <a:cxn ang="0">
                <a:pos x="csX900" y="csY900"/>
              </a:cxn>
              <a:cxn ang="0">
                <a:pos x="csX901" y="csY901"/>
              </a:cxn>
              <a:cxn ang="0">
                <a:pos x="csX902" y="csY902"/>
              </a:cxn>
              <a:cxn ang="0">
                <a:pos x="csX903" y="csY903"/>
              </a:cxn>
              <a:cxn ang="0">
                <a:pos x="csX904" y="csY904"/>
              </a:cxn>
              <a:cxn ang="0">
                <a:pos x="csX905" y="csY905"/>
              </a:cxn>
              <a:cxn ang="0">
                <a:pos x="csX906" y="csY906"/>
              </a:cxn>
              <a:cxn ang="0">
                <a:pos x="csX907" y="csY907"/>
              </a:cxn>
              <a:cxn ang="0">
                <a:pos x="csX908" y="csY908"/>
              </a:cxn>
              <a:cxn ang="0">
                <a:pos x="csX909" y="csY909"/>
              </a:cxn>
              <a:cxn ang="0">
                <a:pos x="csX910" y="csY910"/>
              </a:cxn>
              <a:cxn ang="0">
                <a:pos x="csX911" y="csY911"/>
              </a:cxn>
              <a:cxn ang="0">
                <a:pos x="csX912" y="csY912"/>
              </a:cxn>
              <a:cxn ang="0">
                <a:pos x="csX913" y="csY913"/>
              </a:cxn>
              <a:cxn ang="0">
                <a:pos x="csX914" y="csY914"/>
              </a:cxn>
              <a:cxn ang="0">
                <a:pos x="csX915" y="csY915"/>
              </a:cxn>
              <a:cxn ang="0">
                <a:pos x="csX916" y="csY916"/>
              </a:cxn>
              <a:cxn ang="0">
                <a:pos x="csX917" y="csY917"/>
              </a:cxn>
              <a:cxn ang="0">
                <a:pos x="csX918" y="csY918"/>
              </a:cxn>
              <a:cxn ang="0">
                <a:pos x="csX919" y="csY919"/>
              </a:cxn>
              <a:cxn ang="0">
                <a:pos x="csX920" y="csY920"/>
              </a:cxn>
              <a:cxn ang="0">
                <a:pos x="csX921" y="csY921"/>
              </a:cxn>
              <a:cxn ang="0">
                <a:pos x="csX922" y="csY922"/>
              </a:cxn>
              <a:cxn ang="0">
                <a:pos x="csX923" y="csY923"/>
              </a:cxn>
              <a:cxn ang="0">
                <a:pos x="csX924" y="csY924"/>
              </a:cxn>
              <a:cxn ang="0">
                <a:pos x="csX925" y="csY925"/>
              </a:cxn>
              <a:cxn ang="0">
                <a:pos x="csX926" y="csY926"/>
              </a:cxn>
              <a:cxn ang="0">
                <a:pos x="csX927" y="csY927"/>
              </a:cxn>
              <a:cxn ang="0">
                <a:pos x="csX928" y="csY928"/>
              </a:cxn>
              <a:cxn ang="0">
                <a:pos x="csX929" y="csY929"/>
              </a:cxn>
              <a:cxn ang="0">
                <a:pos x="csX930" y="csY930"/>
              </a:cxn>
              <a:cxn ang="0">
                <a:pos x="csX931" y="csY931"/>
              </a:cxn>
              <a:cxn ang="0">
                <a:pos x="csX932" y="csY932"/>
              </a:cxn>
              <a:cxn ang="0">
                <a:pos x="csX933" y="csY933"/>
              </a:cxn>
              <a:cxn ang="0">
                <a:pos x="csX934" y="csY934"/>
              </a:cxn>
              <a:cxn ang="0">
                <a:pos x="csX935" y="csY935"/>
              </a:cxn>
              <a:cxn ang="0">
                <a:pos x="csX936" y="csY936"/>
              </a:cxn>
              <a:cxn ang="0">
                <a:pos x="csX937" y="csY937"/>
              </a:cxn>
              <a:cxn ang="0">
                <a:pos x="csX938" y="csY938"/>
              </a:cxn>
              <a:cxn ang="0">
                <a:pos x="csX939" y="csY939"/>
              </a:cxn>
              <a:cxn ang="0">
                <a:pos x="csX940" y="csY940"/>
              </a:cxn>
              <a:cxn ang="0">
                <a:pos x="csX941" y="csY941"/>
              </a:cxn>
              <a:cxn ang="0">
                <a:pos x="csX942" y="csY942"/>
              </a:cxn>
              <a:cxn ang="0">
                <a:pos x="csX943" y="csY943"/>
              </a:cxn>
              <a:cxn ang="0">
                <a:pos x="csX944" y="csY944"/>
              </a:cxn>
              <a:cxn ang="0">
                <a:pos x="csX945" y="csY945"/>
              </a:cxn>
              <a:cxn ang="0">
                <a:pos x="csX946" y="csY946"/>
              </a:cxn>
              <a:cxn ang="0">
                <a:pos x="csX947" y="csY947"/>
              </a:cxn>
              <a:cxn ang="0">
                <a:pos x="csX948" y="csY948"/>
              </a:cxn>
              <a:cxn ang="0">
                <a:pos x="csX949" y="csY949"/>
              </a:cxn>
              <a:cxn ang="0">
                <a:pos x="csX950" y="csY950"/>
              </a:cxn>
              <a:cxn ang="0">
                <a:pos x="csX951" y="csY951"/>
              </a:cxn>
              <a:cxn ang="0">
                <a:pos x="csX952" y="csY952"/>
              </a:cxn>
              <a:cxn ang="0">
                <a:pos x="csX953" y="csY953"/>
              </a:cxn>
              <a:cxn ang="0">
                <a:pos x="csX954" y="csY954"/>
              </a:cxn>
              <a:cxn ang="0">
                <a:pos x="csX955" y="csY955"/>
              </a:cxn>
              <a:cxn ang="0">
                <a:pos x="csX956" y="csY956"/>
              </a:cxn>
              <a:cxn ang="0">
                <a:pos x="csX957" y="csY957"/>
              </a:cxn>
              <a:cxn ang="0">
                <a:pos x="csX958" y="csY958"/>
              </a:cxn>
              <a:cxn ang="0">
                <a:pos x="csX959" y="csY959"/>
              </a:cxn>
              <a:cxn ang="0">
                <a:pos x="csX960" y="csY960"/>
              </a:cxn>
              <a:cxn ang="0">
                <a:pos x="csX961" y="csY961"/>
              </a:cxn>
              <a:cxn ang="0">
                <a:pos x="csX962" y="csY962"/>
              </a:cxn>
              <a:cxn ang="0">
                <a:pos x="csX963" y="csY963"/>
              </a:cxn>
              <a:cxn ang="0">
                <a:pos x="csX964" y="csY964"/>
              </a:cxn>
              <a:cxn ang="0">
                <a:pos x="csX965" y="csY965"/>
              </a:cxn>
              <a:cxn ang="0">
                <a:pos x="csX966" y="csY966"/>
              </a:cxn>
              <a:cxn ang="0">
                <a:pos x="csX967" y="csY967"/>
              </a:cxn>
              <a:cxn ang="0">
                <a:pos x="csX968" y="csY968"/>
              </a:cxn>
              <a:cxn ang="0">
                <a:pos x="csX969" y="csY969"/>
              </a:cxn>
              <a:cxn ang="0">
                <a:pos x="csX970" y="csY970"/>
              </a:cxn>
              <a:cxn ang="0">
                <a:pos x="csX971" y="csY971"/>
              </a:cxn>
              <a:cxn ang="0">
                <a:pos x="csX972" y="csY972"/>
              </a:cxn>
              <a:cxn ang="0">
                <a:pos x="csX973" y="csY973"/>
              </a:cxn>
              <a:cxn ang="0">
                <a:pos x="csX974" y="csY974"/>
              </a:cxn>
              <a:cxn ang="0">
                <a:pos x="csX975" y="csY975"/>
              </a:cxn>
              <a:cxn ang="0">
                <a:pos x="csX976" y="csY976"/>
              </a:cxn>
              <a:cxn ang="0">
                <a:pos x="csX977" y="csY977"/>
              </a:cxn>
              <a:cxn ang="0">
                <a:pos x="csX978" y="csY978"/>
              </a:cxn>
              <a:cxn ang="0">
                <a:pos x="csX979" y="csY979"/>
              </a:cxn>
              <a:cxn ang="0">
                <a:pos x="csX980" y="csY980"/>
              </a:cxn>
              <a:cxn ang="0">
                <a:pos x="csX981" y="csY981"/>
              </a:cxn>
              <a:cxn ang="0">
                <a:pos x="csX982" y="csY982"/>
              </a:cxn>
              <a:cxn ang="0">
                <a:pos x="csX983" y="csY983"/>
              </a:cxn>
              <a:cxn ang="0">
                <a:pos x="csX984" y="csY984"/>
              </a:cxn>
              <a:cxn ang="0">
                <a:pos x="csX985" y="csY985"/>
              </a:cxn>
              <a:cxn ang="0">
                <a:pos x="csX986" y="csY986"/>
              </a:cxn>
              <a:cxn ang="0">
                <a:pos x="csX987" y="csY987"/>
              </a:cxn>
              <a:cxn ang="0">
                <a:pos x="csX988" y="csY988"/>
              </a:cxn>
              <a:cxn ang="0">
                <a:pos x="csX989" y="csY989"/>
              </a:cxn>
              <a:cxn ang="0">
                <a:pos x="csX990" y="csY990"/>
              </a:cxn>
              <a:cxn ang="0">
                <a:pos x="csX991" y="csY991"/>
              </a:cxn>
              <a:cxn ang="0">
                <a:pos x="csX992" y="csY992"/>
              </a:cxn>
              <a:cxn ang="0">
                <a:pos x="csX993" y="csY993"/>
              </a:cxn>
              <a:cxn ang="0">
                <a:pos x="csX994" y="csY994"/>
              </a:cxn>
              <a:cxn ang="0">
                <a:pos x="csX995" y="csY995"/>
              </a:cxn>
              <a:cxn ang="0">
                <a:pos x="csX996" y="csY996"/>
              </a:cxn>
              <a:cxn ang="0">
                <a:pos x="csX997" y="csY997"/>
              </a:cxn>
              <a:cxn ang="0">
                <a:pos x="csX998" y="csY998"/>
              </a:cxn>
              <a:cxn ang="0">
                <a:pos x="csX999" y="csY999"/>
              </a:cxn>
              <a:cxn ang="0">
                <a:pos x="csX1000" y="csY1000"/>
              </a:cxn>
              <a:cxn ang="0">
                <a:pos x="csX1001" y="csY1001"/>
              </a:cxn>
              <a:cxn ang="0">
                <a:pos x="csX1002" y="csY1002"/>
              </a:cxn>
              <a:cxn ang="0">
                <a:pos x="csX1003" y="csY1003"/>
              </a:cxn>
              <a:cxn ang="0">
                <a:pos x="csX1004" y="csY1004"/>
              </a:cxn>
              <a:cxn ang="0">
                <a:pos x="csX1005" y="csY1005"/>
              </a:cxn>
              <a:cxn ang="0">
                <a:pos x="csX1006" y="csY1006"/>
              </a:cxn>
              <a:cxn ang="0">
                <a:pos x="csX1007" y="csY1007"/>
              </a:cxn>
              <a:cxn ang="0">
                <a:pos x="csX1008" y="csY1008"/>
              </a:cxn>
              <a:cxn ang="0">
                <a:pos x="csX1009" y="csY1009"/>
              </a:cxn>
              <a:cxn ang="0">
                <a:pos x="csX1010" y="csY1010"/>
              </a:cxn>
              <a:cxn ang="0">
                <a:pos x="csX1011" y="csY1011"/>
              </a:cxn>
              <a:cxn ang="0">
                <a:pos x="csX1012" y="csY1012"/>
              </a:cxn>
              <a:cxn ang="0">
                <a:pos x="csX1013" y="csY1013"/>
              </a:cxn>
              <a:cxn ang="0">
                <a:pos x="csX1014" y="csY1014"/>
              </a:cxn>
              <a:cxn ang="0">
                <a:pos x="csX1015" y="csY1015"/>
              </a:cxn>
              <a:cxn ang="0">
                <a:pos x="csX1016" y="csY1016"/>
              </a:cxn>
              <a:cxn ang="0">
                <a:pos x="csX1017" y="csY1017"/>
              </a:cxn>
              <a:cxn ang="0">
                <a:pos x="csX1018" y="csY1018"/>
              </a:cxn>
              <a:cxn ang="0">
                <a:pos x="csX1019" y="csY1019"/>
              </a:cxn>
              <a:cxn ang="0">
                <a:pos x="csX1020" y="csY1020"/>
              </a:cxn>
              <a:cxn ang="0">
                <a:pos x="csX1021" y="csY1021"/>
              </a:cxn>
              <a:cxn ang="0">
                <a:pos x="csX1022" y="csY1022"/>
              </a:cxn>
              <a:cxn ang="0">
                <a:pos x="csX1023" y="csY1023"/>
              </a:cxn>
              <a:cxn ang="0">
                <a:pos x="csX1024" y="csY1024"/>
              </a:cxn>
              <a:cxn ang="0">
                <a:pos x="csX1025" y="csY1025"/>
              </a:cxn>
              <a:cxn ang="0">
                <a:pos x="csX1026" y="csY1026"/>
              </a:cxn>
              <a:cxn ang="0">
                <a:pos x="csX1027" y="csY1027"/>
              </a:cxn>
              <a:cxn ang="0">
                <a:pos x="csX1028" y="csY1028"/>
              </a:cxn>
              <a:cxn ang="0">
                <a:pos x="csX1029" y="csY1029"/>
              </a:cxn>
              <a:cxn ang="0">
                <a:pos x="csX1030" y="csY1030"/>
              </a:cxn>
              <a:cxn ang="0">
                <a:pos x="csX1031" y="csY1031"/>
              </a:cxn>
              <a:cxn ang="0">
                <a:pos x="csX1032" y="csY1032"/>
              </a:cxn>
              <a:cxn ang="0">
                <a:pos x="csX1033" y="csY1033"/>
              </a:cxn>
              <a:cxn ang="0">
                <a:pos x="csX1034" y="csY1034"/>
              </a:cxn>
              <a:cxn ang="0">
                <a:pos x="csX1035" y="csY1035"/>
              </a:cxn>
              <a:cxn ang="0">
                <a:pos x="csX1036" y="csY1036"/>
              </a:cxn>
              <a:cxn ang="0">
                <a:pos x="csX1037" y="csY1037"/>
              </a:cxn>
              <a:cxn ang="0">
                <a:pos x="csX1038" y="csY1038"/>
              </a:cxn>
              <a:cxn ang="0">
                <a:pos x="csX1039" y="csY1039"/>
              </a:cxn>
              <a:cxn ang="0">
                <a:pos x="csX1040" y="csY1040"/>
              </a:cxn>
              <a:cxn ang="0">
                <a:pos x="csX1041" y="csY1041"/>
              </a:cxn>
              <a:cxn ang="0">
                <a:pos x="csX1042" y="csY1042"/>
              </a:cxn>
              <a:cxn ang="0">
                <a:pos x="csX1043" y="csY1043"/>
              </a:cxn>
              <a:cxn ang="0">
                <a:pos x="csX1044" y="csY1044"/>
              </a:cxn>
              <a:cxn ang="0">
                <a:pos x="csX1045" y="csY1045"/>
              </a:cxn>
              <a:cxn ang="0">
                <a:pos x="csX1046" y="csY1046"/>
              </a:cxn>
              <a:cxn ang="0">
                <a:pos x="csX1047" y="csY1047"/>
              </a:cxn>
              <a:cxn ang="0">
                <a:pos x="csX1048" y="csY1048"/>
              </a:cxn>
              <a:cxn ang="0">
                <a:pos x="csX1049" y="csY1049"/>
              </a:cxn>
              <a:cxn ang="0">
                <a:pos x="csX1050" y="csY1050"/>
              </a:cxn>
              <a:cxn ang="0">
                <a:pos x="csX1051" y="csY1051"/>
              </a:cxn>
              <a:cxn ang="0">
                <a:pos x="csX1052" y="csY1052"/>
              </a:cxn>
              <a:cxn ang="0">
                <a:pos x="csX1053" y="csY1053"/>
              </a:cxn>
              <a:cxn ang="0">
                <a:pos x="csX1054" y="csY1054"/>
              </a:cxn>
            </a:cxnLst>
            <a:rect l="l" t="t" r="r" b="b"/>
            <a:pathLst>
              <a:path w="1609516" h="1538630">
                <a:moveTo>
                  <a:pt x="401579" y="1495809"/>
                </a:moveTo>
                <a:lnTo>
                  <a:pt x="400190" y="1496004"/>
                </a:lnTo>
                <a:lnTo>
                  <a:pt x="401224" y="1496470"/>
                </a:lnTo>
                <a:lnTo>
                  <a:pt x="401224" y="1498590"/>
                </a:lnTo>
                <a:lnTo>
                  <a:pt x="401579" y="1498628"/>
                </a:lnTo>
                <a:cubicBezTo>
                  <a:pt x="401579" y="1497698"/>
                  <a:pt x="401579" y="1496768"/>
                  <a:pt x="401579" y="1495809"/>
                </a:cubicBezTo>
                <a:close/>
                <a:moveTo>
                  <a:pt x="368755" y="1486512"/>
                </a:moveTo>
                <a:lnTo>
                  <a:pt x="364089" y="1487354"/>
                </a:lnTo>
                <a:lnTo>
                  <a:pt x="364089" y="1487908"/>
                </a:lnTo>
                <a:close/>
                <a:moveTo>
                  <a:pt x="1049801" y="1484562"/>
                </a:moveTo>
                <a:lnTo>
                  <a:pt x="1046735" y="1485945"/>
                </a:lnTo>
                <a:lnTo>
                  <a:pt x="1046955" y="1486045"/>
                </a:lnTo>
                <a:lnTo>
                  <a:pt x="1049801" y="1485188"/>
                </a:lnTo>
                <a:close/>
                <a:moveTo>
                  <a:pt x="351234" y="1444508"/>
                </a:moveTo>
                <a:lnTo>
                  <a:pt x="351234" y="1444997"/>
                </a:lnTo>
                <a:lnTo>
                  <a:pt x="351592" y="1445078"/>
                </a:lnTo>
                <a:close/>
                <a:moveTo>
                  <a:pt x="351908" y="1431206"/>
                </a:moveTo>
                <a:lnTo>
                  <a:pt x="351234" y="1431611"/>
                </a:lnTo>
                <a:lnTo>
                  <a:pt x="351234" y="1432274"/>
                </a:lnTo>
                <a:close/>
                <a:moveTo>
                  <a:pt x="358162" y="1421494"/>
                </a:moveTo>
                <a:lnTo>
                  <a:pt x="355921" y="1423156"/>
                </a:lnTo>
                <a:lnTo>
                  <a:pt x="355921" y="1423548"/>
                </a:lnTo>
                <a:close/>
                <a:moveTo>
                  <a:pt x="376098" y="1408347"/>
                </a:moveTo>
                <a:lnTo>
                  <a:pt x="370750" y="1412245"/>
                </a:lnTo>
                <a:lnTo>
                  <a:pt x="375023" y="1411256"/>
                </a:lnTo>
                <a:close/>
                <a:moveTo>
                  <a:pt x="421956" y="1365623"/>
                </a:moveTo>
                <a:lnTo>
                  <a:pt x="421765" y="1366161"/>
                </a:lnTo>
                <a:lnTo>
                  <a:pt x="421887" y="1366161"/>
                </a:lnTo>
                <a:close/>
                <a:moveTo>
                  <a:pt x="754553" y="1360575"/>
                </a:moveTo>
                <a:lnTo>
                  <a:pt x="754089" y="1361433"/>
                </a:lnTo>
                <a:lnTo>
                  <a:pt x="754431" y="1361125"/>
                </a:lnTo>
                <a:close/>
                <a:moveTo>
                  <a:pt x="1277973" y="1332923"/>
                </a:moveTo>
                <a:lnTo>
                  <a:pt x="1277944" y="1332936"/>
                </a:lnTo>
                <a:lnTo>
                  <a:pt x="1277949" y="1333139"/>
                </a:lnTo>
                <a:close/>
                <a:moveTo>
                  <a:pt x="1268556" y="1321066"/>
                </a:moveTo>
                <a:cubicBezTo>
                  <a:pt x="1268556" y="1322461"/>
                  <a:pt x="1268556" y="1323856"/>
                  <a:pt x="1268556" y="1325294"/>
                </a:cubicBezTo>
                <a:cubicBezTo>
                  <a:pt x="1267525" y="1325294"/>
                  <a:pt x="1266495" y="1325294"/>
                  <a:pt x="1265432" y="1325294"/>
                </a:cubicBezTo>
                <a:cubicBezTo>
                  <a:pt x="1265432" y="1330409"/>
                  <a:pt x="1265432" y="1335525"/>
                  <a:pt x="1265432" y="1340795"/>
                </a:cubicBezTo>
                <a:lnTo>
                  <a:pt x="1265476" y="1340714"/>
                </a:lnTo>
                <a:lnTo>
                  <a:pt x="1265476" y="1325877"/>
                </a:lnTo>
                <a:cubicBezTo>
                  <a:pt x="1266507" y="1325877"/>
                  <a:pt x="1267538" y="1325877"/>
                  <a:pt x="1268600" y="1325877"/>
                </a:cubicBezTo>
                <a:cubicBezTo>
                  <a:pt x="1268600" y="1324482"/>
                  <a:pt x="1268600" y="1323086"/>
                  <a:pt x="1268600" y="1321649"/>
                </a:cubicBezTo>
                <a:cubicBezTo>
                  <a:pt x="1270147" y="1321649"/>
                  <a:pt x="1271693" y="1321649"/>
                  <a:pt x="1273286" y="1321649"/>
                </a:cubicBezTo>
                <a:lnTo>
                  <a:pt x="1273227" y="1321066"/>
                </a:lnTo>
                <a:close/>
                <a:moveTo>
                  <a:pt x="827891" y="1291474"/>
                </a:moveTo>
                <a:lnTo>
                  <a:pt x="822601" y="1291544"/>
                </a:lnTo>
                <a:lnTo>
                  <a:pt x="818272" y="1292220"/>
                </a:lnTo>
                <a:lnTo>
                  <a:pt x="827891" y="1292047"/>
                </a:lnTo>
                <a:close/>
                <a:moveTo>
                  <a:pt x="856397" y="1288691"/>
                </a:moveTo>
                <a:lnTo>
                  <a:pt x="865903" y="1290590"/>
                </a:lnTo>
                <a:lnTo>
                  <a:pt x="859999" y="1288752"/>
                </a:lnTo>
                <a:close/>
                <a:moveTo>
                  <a:pt x="834694" y="1288572"/>
                </a:moveTo>
                <a:lnTo>
                  <a:pt x="828038" y="1288654"/>
                </a:lnTo>
                <a:lnTo>
                  <a:pt x="828038" y="1289214"/>
                </a:lnTo>
                <a:close/>
                <a:moveTo>
                  <a:pt x="229746" y="1191418"/>
                </a:moveTo>
                <a:lnTo>
                  <a:pt x="227402" y="1191947"/>
                </a:lnTo>
                <a:lnTo>
                  <a:pt x="229315" y="1191947"/>
                </a:lnTo>
                <a:cubicBezTo>
                  <a:pt x="229315" y="1192877"/>
                  <a:pt x="229315" y="1193807"/>
                  <a:pt x="229315" y="1194765"/>
                </a:cubicBezTo>
                <a:lnTo>
                  <a:pt x="231321" y="1194765"/>
                </a:lnTo>
                <a:lnTo>
                  <a:pt x="229746" y="1194236"/>
                </a:lnTo>
                <a:cubicBezTo>
                  <a:pt x="229746" y="1193306"/>
                  <a:pt x="229746" y="1192376"/>
                  <a:pt x="229746" y="1191418"/>
                </a:cubicBezTo>
                <a:close/>
                <a:moveTo>
                  <a:pt x="215687" y="1187190"/>
                </a:moveTo>
                <a:lnTo>
                  <a:pt x="215198" y="1187720"/>
                </a:lnTo>
                <a:lnTo>
                  <a:pt x="215256" y="1187720"/>
                </a:lnTo>
                <a:cubicBezTo>
                  <a:pt x="215256" y="1189115"/>
                  <a:pt x="215256" y="1190510"/>
                  <a:pt x="215256" y="1191947"/>
                </a:cubicBezTo>
                <a:lnTo>
                  <a:pt x="222721" y="1191947"/>
                </a:lnTo>
                <a:lnTo>
                  <a:pt x="215687" y="1191418"/>
                </a:lnTo>
                <a:cubicBezTo>
                  <a:pt x="215687" y="1190023"/>
                  <a:pt x="215687" y="1188628"/>
                  <a:pt x="215687" y="1187190"/>
                </a:cubicBezTo>
                <a:close/>
                <a:moveTo>
                  <a:pt x="1279678" y="1082356"/>
                </a:moveTo>
                <a:lnTo>
                  <a:pt x="1271680" y="1084589"/>
                </a:lnTo>
                <a:lnTo>
                  <a:pt x="1282181" y="1082544"/>
                </a:lnTo>
                <a:close/>
                <a:moveTo>
                  <a:pt x="117703" y="941507"/>
                </a:moveTo>
                <a:lnTo>
                  <a:pt x="112587" y="941985"/>
                </a:lnTo>
                <a:lnTo>
                  <a:pt x="112565" y="942333"/>
                </a:lnTo>
                <a:lnTo>
                  <a:pt x="115665" y="941837"/>
                </a:lnTo>
                <a:close/>
                <a:moveTo>
                  <a:pt x="144268" y="939395"/>
                </a:moveTo>
                <a:lnTo>
                  <a:pt x="143354" y="939580"/>
                </a:lnTo>
                <a:lnTo>
                  <a:pt x="144077" y="939739"/>
                </a:lnTo>
                <a:close/>
                <a:moveTo>
                  <a:pt x="162575" y="933530"/>
                </a:moveTo>
                <a:lnTo>
                  <a:pt x="161704" y="935101"/>
                </a:lnTo>
                <a:lnTo>
                  <a:pt x="170045" y="933585"/>
                </a:lnTo>
                <a:close/>
                <a:moveTo>
                  <a:pt x="1321645" y="918415"/>
                </a:moveTo>
                <a:lnTo>
                  <a:pt x="1321534" y="920177"/>
                </a:lnTo>
                <a:lnTo>
                  <a:pt x="1321740" y="918415"/>
                </a:lnTo>
                <a:close/>
                <a:moveTo>
                  <a:pt x="1319333" y="915183"/>
                </a:moveTo>
                <a:lnTo>
                  <a:pt x="1318544" y="918029"/>
                </a:lnTo>
                <a:lnTo>
                  <a:pt x="1318702" y="918029"/>
                </a:lnTo>
                <a:close/>
                <a:moveTo>
                  <a:pt x="1326355" y="907109"/>
                </a:moveTo>
                <a:lnTo>
                  <a:pt x="1326355" y="910983"/>
                </a:lnTo>
                <a:lnTo>
                  <a:pt x="1325831" y="911101"/>
                </a:lnTo>
                <a:lnTo>
                  <a:pt x="1326426" y="911369"/>
                </a:lnTo>
                <a:cubicBezTo>
                  <a:pt x="1326426" y="909974"/>
                  <a:pt x="1326426" y="908579"/>
                  <a:pt x="1326426" y="907141"/>
                </a:cubicBezTo>
                <a:close/>
                <a:moveTo>
                  <a:pt x="1328144" y="892192"/>
                </a:moveTo>
                <a:lnTo>
                  <a:pt x="1327667" y="893446"/>
                </a:lnTo>
                <a:lnTo>
                  <a:pt x="1327989" y="893049"/>
                </a:lnTo>
                <a:close/>
                <a:moveTo>
                  <a:pt x="49605" y="887420"/>
                </a:moveTo>
                <a:lnTo>
                  <a:pt x="48549" y="891229"/>
                </a:lnTo>
                <a:lnTo>
                  <a:pt x="49956" y="887420"/>
                </a:lnTo>
                <a:close/>
                <a:moveTo>
                  <a:pt x="1332266" y="883369"/>
                </a:moveTo>
                <a:lnTo>
                  <a:pt x="1329479" y="884207"/>
                </a:lnTo>
                <a:lnTo>
                  <a:pt x="1329509" y="884816"/>
                </a:lnTo>
                <a:lnTo>
                  <a:pt x="1329551" y="884594"/>
                </a:lnTo>
                <a:close/>
                <a:moveTo>
                  <a:pt x="1555987" y="821766"/>
                </a:moveTo>
                <a:lnTo>
                  <a:pt x="1555987" y="822201"/>
                </a:lnTo>
                <a:lnTo>
                  <a:pt x="1556081" y="822189"/>
                </a:lnTo>
                <a:close/>
                <a:moveTo>
                  <a:pt x="1565360" y="810928"/>
                </a:moveTo>
                <a:lnTo>
                  <a:pt x="1564871" y="811809"/>
                </a:lnTo>
                <a:lnTo>
                  <a:pt x="1567314" y="810928"/>
                </a:lnTo>
                <a:close/>
                <a:moveTo>
                  <a:pt x="1563797" y="810928"/>
                </a:moveTo>
                <a:lnTo>
                  <a:pt x="1556762" y="814736"/>
                </a:lnTo>
                <a:lnTo>
                  <a:pt x="1563797" y="812197"/>
                </a:lnTo>
                <a:close/>
                <a:moveTo>
                  <a:pt x="265833" y="806020"/>
                </a:moveTo>
                <a:lnTo>
                  <a:pt x="263704" y="809861"/>
                </a:lnTo>
                <a:lnTo>
                  <a:pt x="263704" y="816750"/>
                </a:lnTo>
                <a:lnTo>
                  <a:pt x="264113" y="816565"/>
                </a:lnTo>
                <a:cubicBezTo>
                  <a:pt x="264048" y="815315"/>
                  <a:pt x="263984" y="814065"/>
                  <a:pt x="263918" y="812777"/>
                </a:cubicBezTo>
                <a:close/>
                <a:moveTo>
                  <a:pt x="263774" y="779374"/>
                </a:moveTo>
                <a:lnTo>
                  <a:pt x="263704" y="783086"/>
                </a:lnTo>
                <a:cubicBezTo>
                  <a:pt x="263961" y="783987"/>
                  <a:pt x="264219" y="784888"/>
                  <a:pt x="264484" y="785816"/>
                </a:cubicBezTo>
                <a:cubicBezTo>
                  <a:pt x="265299" y="788846"/>
                  <a:pt x="265316" y="791337"/>
                  <a:pt x="265265" y="794448"/>
                </a:cubicBezTo>
                <a:cubicBezTo>
                  <a:pt x="265103" y="797155"/>
                  <a:pt x="265022" y="798508"/>
                  <a:pt x="265217" y="799730"/>
                </a:cubicBezTo>
                <a:lnTo>
                  <a:pt x="266556" y="803466"/>
                </a:lnTo>
                <a:lnTo>
                  <a:pt x="267237" y="801063"/>
                </a:lnTo>
                <a:cubicBezTo>
                  <a:pt x="266721" y="800598"/>
                  <a:pt x="266206" y="800133"/>
                  <a:pt x="265675" y="799654"/>
                </a:cubicBezTo>
                <a:cubicBezTo>
                  <a:pt x="265601" y="797718"/>
                  <a:pt x="265617" y="795778"/>
                  <a:pt x="265675" y="793841"/>
                </a:cubicBezTo>
                <a:close/>
                <a:moveTo>
                  <a:pt x="260988" y="770061"/>
                </a:moveTo>
                <a:lnTo>
                  <a:pt x="260988" y="771364"/>
                </a:lnTo>
                <a:lnTo>
                  <a:pt x="263497" y="777263"/>
                </a:lnTo>
                <a:lnTo>
                  <a:pt x="262551" y="770061"/>
                </a:lnTo>
                <a:cubicBezTo>
                  <a:pt x="262035" y="770061"/>
                  <a:pt x="261520" y="770061"/>
                  <a:pt x="260988" y="770061"/>
                </a:cubicBezTo>
                <a:close/>
                <a:moveTo>
                  <a:pt x="157888" y="651686"/>
                </a:moveTo>
                <a:lnTo>
                  <a:pt x="157415" y="651764"/>
                </a:lnTo>
                <a:lnTo>
                  <a:pt x="160373" y="652274"/>
                </a:lnTo>
                <a:close/>
                <a:moveTo>
                  <a:pt x="267237" y="426537"/>
                </a:moveTo>
                <a:lnTo>
                  <a:pt x="267237" y="427619"/>
                </a:lnTo>
                <a:cubicBezTo>
                  <a:pt x="268274" y="427791"/>
                  <a:pt x="269311" y="427961"/>
                  <a:pt x="270380" y="428137"/>
                </a:cubicBezTo>
                <a:lnTo>
                  <a:pt x="273548" y="428680"/>
                </a:lnTo>
                <a:close/>
                <a:moveTo>
                  <a:pt x="37605" y="359270"/>
                </a:moveTo>
                <a:lnTo>
                  <a:pt x="37103" y="361533"/>
                </a:lnTo>
                <a:lnTo>
                  <a:pt x="37605" y="361382"/>
                </a:lnTo>
                <a:close/>
                <a:moveTo>
                  <a:pt x="52477" y="337570"/>
                </a:moveTo>
                <a:lnTo>
                  <a:pt x="47288" y="342340"/>
                </a:lnTo>
                <a:lnTo>
                  <a:pt x="45805" y="345093"/>
                </a:lnTo>
                <a:close/>
                <a:moveTo>
                  <a:pt x="104291" y="336166"/>
                </a:moveTo>
                <a:lnTo>
                  <a:pt x="103776" y="337559"/>
                </a:lnTo>
                <a:lnTo>
                  <a:pt x="108925" y="336166"/>
                </a:lnTo>
                <a:close/>
                <a:moveTo>
                  <a:pt x="1309237" y="322954"/>
                </a:moveTo>
                <a:lnTo>
                  <a:pt x="1309180" y="330559"/>
                </a:lnTo>
                <a:lnTo>
                  <a:pt x="1309237" y="330520"/>
                </a:lnTo>
                <a:close/>
                <a:moveTo>
                  <a:pt x="1308964" y="317715"/>
                </a:moveTo>
                <a:lnTo>
                  <a:pt x="1309237" y="318569"/>
                </a:lnTo>
                <a:lnTo>
                  <a:pt x="1309237" y="317838"/>
                </a:lnTo>
                <a:close/>
                <a:moveTo>
                  <a:pt x="1310087" y="313153"/>
                </a:moveTo>
                <a:lnTo>
                  <a:pt x="1307609" y="313473"/>
                </a:lnTo>
                <a:lnTo>
                  <a:pt x="1308045" y="314836"/>
                </a:lnTo>
                <a:close/>
                <a:moveTo>
                  <a:pt x="1318544" y="312064"/>
                </a:moveTo>
                <a:lnTo>
                  <a:pt x="1316298" y="312353"/>
                </a:lnTo>
                <a:lnTo>
                  <a:pt x="1318544" y="312205"/>
                </a:lnTo>
                <a:close/>
                <a:moveTo>
                  <a:pt x="1084622" y="267674"/>
                </a:moveTo>
                <a:lnTo>
                  <a:pt x="1084227" y="268378"/>
                </a:lnTo>
                <a:cubicBezTo>
                  <a:pt x="1082679" y="268378"/>
                  <a:pt x="1081133" y="268378"/>
                  <a:pt x="1079540" y="268378"/>
                </a:cubicBezTo>
                <a:lnTo>
                  <a:pt x="1079603" y="268477"/>
                </a:lnTo>
                <a:lnTo>
                  <a:pt x="1084192" y="268477"/>
                </a:lnTo>
                <a:close/>
                <a:moveTo>
                  <a:pt x="956410" y="266968"/>
                </a:moveTo>
                <a:lnTo>
                  <a:pt x="957576" y="267083"/>
                </a:lnTo>
                <a:lnTo>
                  <a:pt x="957576" y="269776"/>
                </a:lnTo>
                <a:lnTo>
                  <a:pt x="957694" y="269787"/>
                </a:lnTo>
                <a:cubicBezTo>
                  <a:pt x="957694" y="268857"/>
                  <a:pt x="957694" y="267927"/>
                  <a:pt x="957694" y="266968"/>
                </a:cubicBezTo>
                <a:close/>
                <a:moveTo>
                  <a:pt x="1089372" y="259220"/>
                </a:moveTo>
                <a:lnTo>
                  <a:pt x="1085856" y="265479"/>
                </a:lnTo>
                <a:lnTo>
                  <a:pt x="1088878" y="261431"/>
                </a:lnTo>
                <a:close/>
                <a:moveTo>
                  <a:pt x="1018517" y="223356"/>
                </a:moveTo>
                <a:lnTo>
                  <a:pt x="1013866" y="226190"/>
                </a:lnTo>
                <a:lnTo>
                  <a:pt x="1013024" y="227709"/>
                </a:lnTo>
                <a:lnTo>
                  <a:pt x="1017055" y="224692"/>
                </a:lnTo>
                <a:close/>
                <a:moveTo>
                  <a:pt x="850645" y="220099"/>
                </a:moveTo>
                <a:lnTo>
                  <a:pt x="850897" y="221488"/>
                </a:lnTo>
                <a:cubicBezTo>
                  <a:pt x="851086" y="222545"/>
                  <a:pt x="851275" y="223602"/>
                  <a:pt x="851470" y="224692"/>
                </a:cubicBezTo>
                <a:lnTo>
                  <a:pt x="852860" y="224692"/>
                </a:lnTo>
                <a:close/>
                <a:moveTo>
                  <a:pt x="1155019" y="35"/>
                </a:moveTo>
                <a:cubicBezTo>
                  <a:pt x="1161775" y="275"/>
                  <a:pt x="1168415" y="1783"/>
                  <a:pt x="1174829" y="4853"/>
                </a:cubicBezTo>
                <a:cubicBezTo>
                  <a:pt x="1176343" y="5231"/>
                  <a:pt x="1177858" y="5609"/>
                  <a:pt x="1179418" y="5998"/>
                </a:cubicBezTo>
                <a:cubicBezTo>
                  <a:pt x="1189392" y="9487"/>
                  <a:pt x="1196322" y="14392"/>
                  <a:pt x="1201385" y="22997"/>
                </a:cubicBezTo>
                <a:cubicBezTo>
                  <a:pt x="1206849" y="35244"/>
                  <a:pt x="1206940" y="49865"/>
                  <a:pt x="1201678" y="62191"/>
                </a:cubicBezTo>
                <a:cubicBezTo>
                  <a:pt x="1200594" y="64241"/>
                  <a:pt x="1199461" y="66271"/>
                  <a:pt x="1198261" y="68268"/>
                </a:cubicBezTo>
                <a:cubicBezTo>
                  <a:pt x="1197423" y="69721"/>
                  <a:pt x="1196586" y="71175"/>
                  <a:pt x="1195723" y="72672"/>
                </a:cubicBezTo>
                <a:cubicBezTo>
                  <a:pt x="1194659" y="73980"/>
                  <a:pt x="1194659" y="73980"/>
                  <a:pt x="1193575" y="75314"/>
                </a:cubicBezTo>
                <a:cubicBezTo>
                  <a:pt x="1192544" y="75314"/>
                  <a:pt x="1191512" y="75314"/>
                  <a:pt x="1190450" y="75314"/>
                </a:cubicBezTo>
                <a:cubicBezTo>
                  <a:pt x="1190128" y="76651"/>
                  <a:pt x="1189806" y="77988"/>
                  <a:pt x="1189474" y="79366"/>
                </a:cubicBezTo>
                <a:cubicBezTo>
                  <a:pt x="1187326" y="83769"/>
                  <a:pt x="1187326" y="83769"/>
                  <a:pt x="1182445" y="85707"/>
                </a:cubicBezTo>
                <a:cubicBezTo>
                  <a:pt x="1180962" y="85998"/>
                  <a:pt x="1179480" y="86289"/>
                  <a:pt x="1177953" y="86588"/>
                </a:cubicBezTo>
                <a:cubicBezTo>
                  <a:pt x="1177953" y="87518"/>
                  <a:pt x="1177953" y="88448"/>
                  <a:pt x="1177953" y="89406"/>
                </a:cubicBezTo>
                <a:cubicBezTo>
                  <a:pt x="1175369" y="91088"/>
                  <a:pt x="1172720" y="92688"/>
                  <a:pt x="1170045" y="94251"/>
                </a:cubicBezTo>
                <a:cubicBezTo>
                  <a:pt x="1154651" y="104199"/>
                  <a:pt x="1148918" y="116979"/>
                  <a:pt x="1143806" y="132828"/>
                </a:cubicBezTo>
                <a:cubicBezTo>
                  <a:pt x="1142095" y="137144"/>
                  <a:pt x="1140989" y="138617"/>
                  <a:pt x="1137338" y="141548"/>
                </a:cubicBezTo>
                <a:cubicBezTo>
                  <a:pt x="1136166" y="144148"/>
                  <a:pt x="1134992" y="146751"/>
                  <a:pt x="1133970" y="149403"/>
                </a:cubicBezTo>
                <a:cubicBezTo>
                  <a:pt x="1132069" y="154334"/>
                  <a:pt x="1130006" y="159210"/>
                  <a:pt x="1127965" y="164095"/>
                </a:cubicBezTo>
                <a:cubicBezTo>
                  <a:pt x="1126897" y="166664"/>
                  <a:pt x="1125830" y="169233"/>
                  <a:pt x="1124762" y="171802"/>
                </a:cubicBezTo>
                <a:cubicBezTo>
                  <a:pt x="1122961" y="176134"/>
                  <a:pt x="1121160" y="180466"/>
                  <a:pt x="1119359" y="184798"/>
                </a:cubicBezTo>
                <a:cubicBezTo>
                  <a:pt x="1116567" y="191508"/>
                  <a:pt x="1113778" y="198220"/>
                  <a:pt x="1111014" y="204941"/>
                </a:cubicBezTo>
                <a:cubicBezTo>
                  <a:pt x="1110590" y="205970"/>
                  <a:pt x="1110165" y="206999"/>
                  <a:pt x="1109729" y="208059"/>
                </a:cubicBezTo>
                <a:cubicBezTo>
                  <a:pt x="1108615" y="210762"/>
                  <a:pt x="1107505" y="213466"/>
                  <a:pt x="1106395" y="216170"/>
                </a:cubicBezTo>
                <a:cubicBezTo>
                  <a:pt x="1104320" y="220956"/>
                  <a:pt x="1103283" y="223349"/>
                  <a:pt x="1102147" y="224810"/>
                </a:cubicBezTo>
                <a:lnTo>
                  <a:pt x="1098261" y="227262"/>
                </a:lnTo>
                <a:lnTo>
                  <a:pt x="1098367" y="238475"/>
                </a:lnTo>
                <a:cubicBezTo>
                  <a:pt x="1098025" y="239757"/>
                  <a:pt x="1097684" y="241038"/>
                  <a:pt x="1097331" y="242358"/>
                </a:cubicBezTo>
                <a:cubicBezTo>
                  <a:pt x="1096958" y="243711"/>
                  <a:pt x="1096585" y="245064"/>
                  <a:pt x="1096201" y="246458"/>
                </a:cubicBezTo>
                <a:cubicBezTo>
                  <a:pt x="1093302" y="257363"/>
                  <a:pt x="1090901" y="268062"/>
                  <a:pt x="1089440" y="279206"/>
                </a:cubicBezTo>
                <a:cubicBezTo>
                  <a:pt x="1088878" y="282569"/>
                  <a:pt x="1088878" y="282569"/>
                  <a:pt x="1087316" y="283978"/>
                </a:cubicBezTo>
                <a:cubicBezTo>
                  <a:pt x="1087070" y="286587"/>
                  <a:pt x="1086924" y="289205"/>
                  <a:pt x="1086822" y="291822"/>
                </a:cubicBezTo>
                <a:cubicBezTo>
                  <a:pt x="1086756" y="293408"/>
                  <a:pt x="1086691" y="294993"/>
                  <a:pt x="1086623" y="296625"/>
                </a:cubicBezTo>
                <a:cubicBezTo>
                  <a:pt x="1086562" y="298294"/>
                  <a:pt x="1086501" y="299962"/>
                  <a:pt x="1086437" y="301681"/>
                </a:cubicBezTo>
                <a:cubicBezTo>
                  <a:pt x="1086336" y="304192"/>
                  <a:pt x="1086336" y="304192"/>
                  <a:pt x="1086233" y="306754"/>
                </a:cubicBezTo>
                <a:lnTo>
                  <a:pt x="1086007" y="312619"/>
                </a:lnTo>
                <a:lnTo>
                  <a:pt x="1087470" y="320554"/>
                </a:lnTo>
                <a:cubicBezTo>
                  <a:pt x="1089648" y="325409"/>
                  <a:pt x="1093111" y="329799"/>
                  <a:pt x="1098285" y="334611"/>
                </a:cubicBezTo>
                <a:cubicBezTo>
                  <a:pt x="1100424" y="336130"/>
                  <a:pt x="1100424" y="336130"/>
                  <a:pt x="1102607" y="337679"/>
                </a:cubicBezTo>
                <a:cubicBezTo>
                  <a:pt x="1104334" y="338951"/>
                  <a:pt x="1104334" y="338951"/>
                  <a:pt x="1106095" y="340248"/>
                </a:cubicBezTo>
                <a:cubicBezTo>
                  <a:pt x="1106095" y="341178"/>
                  <a:pt x="1106095" y="342108"/>
                  <a:pt x="1106095" y="343066"/>
                </a:cubicBezTo>
                <a:cubicBezTo>
                  <a:pt x="1107127" y="343183"/>
                  <a:pt x="1108158" y="343299"/>
                  <a:pt x="1109220" y="343419"/>
                </a:cubicBezTo>
                <a:cubicBezTo>
                  <a:pt x="1115473" y="344829"/>
                  <a:pt x="1120724" y="347416"/>
                  <a:pt x="1126403" y="350112"/>
                </a:cubicBezTo>
                <a:cubicBezTo>
                  <a:pt x="1128207" y="350926"/>
                  <a:pt x="1130012" y="351740"/>
                  <a:pt x="1131871" y="352579"/>
                </a:cubicBezTo>
                <a:cubicBezTo>
                  <a:pt x="1133159" y="353160"/>
                  <a:pt x="1134448" y="353741"/>
                  <a:pt x="1135776" y="354340"/>
                </a:cubicBezTo>
                <a:cubicBezTo>
                  <a:pt x="1135776" y="355270"/>
                  <a:pt x="1135776" y="356200"/>
                  <a:pt x="1135776" y="357158"/>
                </a:cubicBezTo>
                <a:cubicBezTo>
                  <a:pt x="1148107" y="360029"/>
                  <a:pt x="1158679" y="359101"/>
                  <a:pt x="1170143" y="354340"/>
                </a:cubicBezTo>
                <a:cubicBezTo>
                  <a:pt x="1172366" y="353468"/>
                  <a:pt x="1172366" y="353468"/>
                  <a:pt x="1174634" y="352579"/>
                </a:cubicBezTo>
                <a:cubicBezTo>
                  <a:pt x="1180354" y="349689"/>
                  <a:pt x="1185568" y="346355"/>
                  <a:pt x="1190890" y="342907"/>
                </a:cubicBezTo>
                <a:cubicBezTo>
                  <a:pt x="1195169" y="340228"/>
                  <a:pt x="1199557" y="337821"/>
                  <a:pt x="1204021" y="335404"/>
                </a:cubicBezTo>
                <a:cubicBezTo>
                  <a:pt x="1211989" y="330886"/>
                  <a:pt x="1217509" y="325766"/>
                  <a:pt x="1223255" y="319110"/>
                </a:cubicBezTo>
                <a:cubicBezTo>
                  <a:pt x="1224447" y="317947"/>
                  <a:pt x="1225639" y="316784"/>
                  <a:pt x="1226868" y="315587"/>
                </a:cubicBezTo>
                <a:cubicBezTo>
                  <a:pt x="1229855" y="311593"/>
                  <a:pt x="1230852" y="308240"/>
                  <a:pt x="1231859" y="303559"/>
                </a:cubicBezTo>
                <a:cubicBezTo>
                  <a:pt x="1232628" y="300790"/>
                  <a:pt x="1232628" y="300790"/>
                  <a:pt x="1234178" y="298059"/>
                </a:cubicBezTo>
                <a:cubicBezTo>
                  <a:pt x="1235964" y="294761"/>
                  <a:pt x="1236623" y="291807"/>
                  <a:pt x="1237314" y="288195"/>
                </a:cubicBezTo>
                <a:cubicBezTo>
                  <a:pt x="1239360" y="278571"/>
                  <a:pt x="1242414" y="272733"/>
                  <a:pt x="1249811" y="265559"/>
                </a:cubicBezTo>
                <a:cubicBezTo>
                  <a:pt x="1250842" y="265559"/>
                  <a:pt x="1251873" y="265559"/>
                  <a:pt x="1252935" y="265559"/>
                </a:cubicBezTo>
                <a:cubicBezTo>
                  <a:pt x="1252935" y="264629"/>
                  <a:pt x="1252935" y="263699"/>
                  <a:pt x="1252935" y="262741"/>
                </a:cubicBezTo>
                <a:cubicBezTo>
                  <a:pt x="1265591" y="253427"/>
                  <a:pt x="1280762" y="251648"/>
                  <a:pt x="1296675" y="252876"/>
                </a:cubicBezTo>
                <a:cubicBezTo>
                  <a:pt x="1300535" y="253563"/>
                  <a:pt x="1303901" y="254478"/>
                  <a:pt x="1307609" y="255695"/>
                </a:cubicBezTo>
                <a:cubicBezTo>
                  <a:pt x="1307609" y="256625"/>
                  <a:pt x="1307609" y="257555"/>
                  <a:pt x="1307609" y="258513"/>
                </a:cubicBezTo>
                <a:cubicBezTo>
                  <a:pt x="1309021" y="258619"/>
                  <a:pt x="1310432" y="258723"/>
                  <a:pt x="1311887" y="258832"/>
                </a:cubicBezTo>
                <a:cubicBezTo>
                  <a:pt x="1319573" y="260476"/>
                  <a:pt x="1322149" y="264416"/>
                  <a:pt x="1326715" y="269969"/>
                </a:cubicBezTo>
                <a:cubicBezTo>
                  <a:pt x="1334402" y="281220"/>
                  <a:pt x="1336114" y="294839"/>
                  <a:pt x="1334165" y="307836"/>
                </a:cubicBezTo>
                <a:cubicBezTo>
                  <a:pt x="1332176" y="311898"/>
                  <a:pt x="1332176" y="311898"/>
                  <a:pt x="1329479" y="314882"/>
                </a:cubicBezTo>
                <a:cubicBezTo>
                  <a:pt x="1327417" y="314882"/>
                  <a:pt x="1325355" y="314882"/>
                  <a:pt x="1323231" y="314882"/>
                </a:cubicBezTo>
                <a:cubicBezTo>
                  <a:pt x="1323231" y="315812"/>
                  <a:pt x="1323231" y="316742"/>
                  <a:pt x="1323231" y="317700"/>
                </a:cubicBezTo>
                <a:lnTo>
                  <a:pt x="1322774" y="317838"/>
                </a:lnTo>
                <a:lnTo>
                  <a:pt x="1323295" y="317838"/>
                </a:lnTo>
                <a:cubicBezTo>
                  <a:pt x="1323295" y="316907"/>
                  <a:pt x="1323295" y="315977"/>
                  <a:pt x="1323295" y="315019"/>
                </a:cubicBezTo>
                <a:cubicBezTo>
                  <a:pt x="1324842" y="315019"/>
                  <a:pt x="1326388" y="315019"/>
                  <a:pt x="1327982" y="315019"/>
                </a:cubicBezTo>
                <a:cubicBezTo>
                  <a:pt x="1325845" y="321328"/>
                  <a:pt x="1322753" y="323742"/>
                  <a:pt x="1317047" y="327702"/>
                </a:cubicBezTo>
                <a:cubicBezTo>
                  <a:pt x="1316531" y="329097"/>
                  <a:pt x="1316016" y="330492"/>
                  <a:pt x="1315484" y="331930"/>
                </a:cubicBezTo>
                <a:cubicBezTo>
                  <a:pt x="1312599" y="332959"/>
                  <a:pt x="1312599" y="332959"/>
                  <a:pt x="1309139" y="333603"/>
                </a:cubicBezTo>
                <a:cubicBezTo>
                  <a:pt x="1307993" y="333827"/>
                  <a:pt x="1306847" y="334050"/>
                  <a:pt x="1305666" y="334280"/>
                </a:cubicBezTo>
                <a:cubicBezTo>
                  <a:pt x="1304783" y="334434"/>
                  <a:pt x="1303899" y="334589"/>
                  <a:pt x="1302988" y="334748"/>
                </a:cubicBezTo>
                <a:lnTo>
                  <a:pt x="1305905" y="332775"/>
                </a:lnTo>
                <a:lnTo>
                  <a:pt x="1304485" y="333202"/>
                </a:lnTo>
                <a:cubicBezTo>
                  <a:pt x="1302987" y="334640"/>
                  <a:pt x="1302987" y="334640"/>
                  <a:pt x="1301459" y="336108"/>
                </a:cubicBezTo>
                <a:cubicBezTo>
                  <a:pt x="1298237" y="338839"/>
                  <a:pt x="1298237" y="338839"/>
                  <a:pt x="1291989" y="338839"/>
                </a:cubicBezTo>
                <a:cubicBezTo>
                  <a:pt x="1291473" y="340234"/>
                  <a:pt x="1290957" y="341629"/>
                  <a:pt x="1290426" y="343066"/>
                </a:cubicBezTo>
                <a:cubicBezTo>
                  <a:pt x="1288879" y="343415"/>
                  <a:pt x="1287333" y="343764"/>
                  <a:pt x="1285740" y="344123"/>
                </a:cubicBezTo>
                <a:cubicBezTo>
                  <a:pt x="1266905" y="348491"/>
                  <a:pt x="1249005" y="369098"/>
                  <a:pt x="1237314" y="382525"/>
                </a:cubicBezTo>
                <a:cubicBezTo>
                  <a:pt x="1235678" y="385783"/>
                  <a:pt x="1234122" y="389075"/>
                  <a:pt x="1232628" y="392389"/>
                </a:cubicBezTo>
                <a:cubicBezTo>
                  <a:pt x="1231317" y="394515"/>
                  <a:pt x="1229981" y="396629"/>
                  <a:pt x="1228625" y="398731"/>
                </a:cubicBezTo>
                <a:cubicBezTo>
                  <a:pt x="1221457" y="410300"/>
                  <a:pt x="1219465" y="421836"/>
                  <a:pt x="1222822" y="434798"/>
                </a:cubicBezTo>
                <a:cubicBezTo>
                  <a:pt x="1229360" y="453710"/>
                  <a:pt x="1244088" y="472467"/>
                  <a:pt x="1260746" y="485398"/>
                </a:cubicBezTo>
                <a:cubicBezTo>
                  <a:pt x="1264961" y="487349"/>
                  <a:pt x="1264961" y="487349"/>
                  <a:pt x="1268556" y="488216"/>
                </a:cubicBezTo>
                <a:cubicBezTo>
                  <a:pt x="1268556" y="489146"/>
                  <a:pt x="1268556" y="490076"/>
                  <a:pt x="1268556" y="491034"/>
                </a:cubicBezTo>
                <a:cubicBezTo>
                  <a:pt x="1288790" y="497071"/>
                  <a:pt x="1319055" y="498555"/>
                  <a:pt x="1338852" y="489625"/>
                </a:cubicBezTo>
                <a:cubicBezTo>
                  <a:pt x="1341711" y="489213"/>
                  <a:pt x="1344575" y="488837"/>
                  <a:pt x="1347444" y="488480"/>
                </a:cubicBezTo>
                <a:cubicBezTo>
                  <a:pt x="1355372" y="487345"/>
                  <a:pt x="1362033" y="485390"/>
                  <a:pt x="1369362" y="482513"/>
                </a:cubicBezTo>
                <a:cubicBezTo>
                  <a:pt x="1375665" y="480318"/>
                  <a:pt x="1382189" y="479322"/>
                  <a:pt x="1388840" y="478351"/>
                </a:cubicBezTo>
                <a:cubicBezTo>
                  <a:pt x="1388840" y="477421"/>
                  <a:pt x="1388840" y="476492"/>
                  <a:pt x="1388840" y="475533"/>
                </a:cubicBezTo>
                <a:cubicBezTo>
                  <a:pt x="1391083" y="474821"/>
                  <a:pt x="1393329" y="474118"/>
                  <a:pt x="1395576" y="473419"/>
                </a:cubicBezTo>
                <a:cubicBezTo>
                  <a:pt x="1396827" y="473027"/>
                  <a:pt x="1398077" y="472635"/>
                  <a:pt x="1399365" y="472230"/>
                </a:cubicBezTo>
                <a:cubicBezTo>
                  <a:pt x="1402899" y="471305"/>
                  <a:pt x="1402899" y="471305"/>
                  <a:pt x="1407585" y="471305"/>
                </a:cubicBezTo>
                <a:cubicBezTo>
                  <a:pt x="1408101" y="469910"/>
                  <a:pt x="1408616" y="468515"/>
                  <a:pt x="1409147" y="467078"/>
                </a:cubicBezTo>
                <a:cubicBezTo>
                  <a:pt x="1412388" y="465580"/>
                  <a:pt x="1412388" y="465580"/>
                  <a:pt x="1416470" y="464259"/>
                </a:cubicBezTo>
                <a:cubicBezTo>
                  <a:pt x="1424029" y="461705"/>
                  <a:pt x="1431130" y="458955"/>
                  <a:pt x="1437949" y="455011"/>
                </a:cubicBezTo>
                <a:cubicBezTo>
                  <a:pt x="1442765" y="452574"/>
                  <a:pt x="1447553" y="451394"/>
                  <a:pt x="1452887" y="450167"/>
                </a:cubicBezTo>
                <a:cubicBezTo>
                  <a:pt x="1452887" y="449237"/>
                  <a:pt x="1452887" y="448307"/>
                  <a:pt x="1452887" y="447349"/>
                </a:cubicBezTo>
                <a:cubicBezTo>
                  <a:pt x="1453714" y="446944"/>
                  <a:pt x="1454541" y="446539"/>
                  <a:pt x="1455394" y="446122"/>
                </a:cubicBezTo>
                <a:cubicBezTo>
                  <a:pt x="1459151" y="444278"/>
                  <a:pt x="1462902" y="442422"/>
                  <a:pt x="1466653" y="440567"/>
                </a:cubicBezTo>
                <a:cubicBezTo>
                  <a:pt x="1467955" y="439930"/>
                  <a:pt x="1469256" y="439293"/>
                  <a:pt x="1470598" y="438637"/>
                </a:cubicBezTo>
                <a:cubicBezTo>
                  <a:pt x="1471852" y="438016"/>
                  <a:pt x="1473105" y="437393"/>
                  <a:pt x="1474397" y="436752"/>
                </a:cubicBezTo>
                <a:cubicBezTo>
                  <a:pt x="1475550" y="436184"/>
                  <a:pt x="1476703" y="435616"/>
                  <a:pt x="1477892" y="435030"/>
                </a:cubicBezTo>
                <a:cubicBezTo>
                  <a:pt x="1480966" y="433279"/>
                  <a:pt x="1483173" y="431373"/>
                  <a:pt x="1485691" y="429029"/>
                </a:cubicBezTo>
                <a:cubicBezTo>
                  <a:pt x="1486737" y="428575"/>
                  <a:pt x="1487781" y="428121"/>
                  <a:pt x="1488858" y="427653"/>
                </a:cubicBezTo>
                <a:cubicBezTo>
                  <a:pt x="1492438" y="425977"/>
                  <a:pt x="1493705" y="424453"/>
                  <a:pt x="1495943" y="421454"/>
                </a:cubicBezTo>
                <a:cubicBezTo>
                  <a:pt x="1507114" y="407544"/>
                  <a:pt x="1519758" y="393513"/>
                  <a:pt x="1538608" y="388338"/>
                </a:cubicBezTo>
                <a:cubicBezTo>
                  <a:pt x="1541025" y="388250"/>
                  <a:pt x="1541025" y="388250"/>
                  <a:pt x="1543490" y="388161"/>
                </a:cubicBezTo>
                <a:cubicBezTo>
                  <a:pt x="1545535" y="387984"/>
                  <a:pt x="1545535" y="387984"/>
                  <a:pt x="1547621" y="387804"/>
                </a:cubicBezTo>
                <a:cubicBezTo>
                  <a:pt x="1560659" y="387094"/>
                  <a:pt x="1568716" y="390117"/>
                  <a:pt x="1579418" y="396617"/>
                </a:cubicBezTo>
                <a:cubicBezTo>
                  <a:pt x="1581361" y="397687"/>
                  <a:pt x="1581361" y="397687"/>
                  <a:pt x="1583342" y="398780"/>
                </a:cubicBezTo>
                <a:cubicBezTo>
                  <a:pt x="1593703" y="405068"/>
                  <a:pt x="1598513" y="412459"/>
                  <a:pt x="1601288" y="423392"/>
                </a:cubicBezTo>
                <a:cubicBezTo>
                  <a:pt x="1603295" y="436596"/>
                  <a:pt x="1603517" y="449033"/>
                  <a:pt x="1594484" y="460159"/>
                </a:cubicBezTo>
                <a:cubicBezTo>
                  <a:pt x="1588468" y="466462"/>
                  <a:pt x="1582607" y="471150"/>
                  <a:pt x="1574732" y="475533"/>
                </a:cubicBezTo>
                <a:cubicBezTo>
                  <a:pt x="1573862" y="476043"/>
                  <a:pt x="1572993" y="476553"/>
                  <a:pt x="1572097" y="477078"/>
                </a:cubicBezTo>
                <a:cubicBezTo>
                  <a:pt x="1566828" y="478935"/>
                  <a:pt x="1561641" y="478744"/>
                  <a:pt x="1556066" y="478737"/>
                </a:cubicBezTo>
                <a:cubicBezTo>
                  <a:pt x="1553587" y="478765"/>
                  <a:pt x="1551109" y="478795"/>
                  <a:pt x="1548631" y="478825"/>
                </a:cubicBezTo>
                <a:cubicBezTo>
                  <a:pt x="1544751" y="478857"/>
                  <a:pt x="1540871" y="478880"/>
                  <a:pt x="1536991" y="478889"/>
                </a:cubicBezTo>
                <a:cubicBezTo>
                  <a:pt x="1516714" y="478693"/>
                  <a:pt x="1516714" y="478693"/>
                  <a:pt x="1498188" y="485398"/>
                </a:cubicBezTo>
                <a:cubicBezTo>
                  <a:pt x="1496062" y="486488"/>
                  <a:pt x="1496062" y="486488"/>
                  <a:pt x="1493892" y="487600"/>
                </a:cubicBezTo>
                <a:cubicBezTo>
                  <a:pt x="1492733" y="488268"/>
                  <a:pt x="1491573" y="488937"/>
                  <a:pt x="1490377" y="489625"/>
                </a:cubicBezTo>
                <a:cubicBezTo>
                  <a:pt x="1484304" y="493012"/>
                  <a:pt x="1478212" y="495675"/>
                  <a:pt x="1471650" y="498185"/>
                </a:cubicBezTo>
                <a:cubicBezTo>
                  <a:pt x="1467148" y="500054"/>
                  <a:pt x="1463242" y="502632"/>
                  <a:pt x="1459135" y="505127"/>
                </a:cubicBezTo>
                <a:cubicBezTo>
                  <a:pt x="1456968" y="506120"/>
                  <a:pt x="1454786" y="507086"/>
                  <a:pt x="1452594" y="508033"/>
                </a:cubicBezTo>
                <a:cubicBezTo>
                  <a:pt x="1444148" y="511772"/>
                  <a:pt x="1435969" y="515903"/>
                  <a:pt x="1427795" y="520100"/>
                </a:cubicBezTo>
                <a:cubicBezTo>
                  <a:pt x="1425784" y="521114"/>
                  <a:pt x="1425784" y="521114"/>
                  <a:pt x="1423733" y="522148"/>
                </a:cubicBezTo>
                <a:cubicBezTo>
                  <a:pt x="1422478" y="522798"/>
                  <a:pt x="1421223" y="523449"/>
                  <a:pt x="1419929" y="524118"/>
                </a:cubicBezTo>
                <a:cubicBezTo>
                  <a:pt x="1418794" y="524701"/>
                  <a:pt x="1417658" y="525283"/>
                  <a:pt x="1416487" y="525883"/>
                </a:cubicBezTo>
                <a:cubicBezTo>
                  <a:pt x="1413349" y="527646"/>
                  <a:pt x="1413349" y="527646"/>
                  <a:pt x="1412271" y="531902"/>
                </a:cubicBezTo>
                <a:cubicBezTo>
                  <a:pt x="1407205" y="535203"/>
                  <a:pt x="1402819" y="536744"/>
                  <a:pt x="1396650" y="537539"/>
                </a:cubicBezTo>
                <a:cubicBezTo>
                  <a:pt x="1396650" y="538469"/>
                  <a:pt x="1396650" y="539399"/>
                  <a:pt x="1396650" y="540357"/>
                </a:cubicBezTo>
                <a:cubicBezTo>
                  <a:pt x="1395609" y="540735"/>
                  <a:pt x="1394568" y="541113"/>
                  <a:pt x="1393495" y="541502"/>
                </a:cubicBezTo>
                <a:cubicBezTo>
                  <a:pt x="1381840" y="545973"/>
                  <a:pt x="1372279" y="551715"/>
                  <a:pt x="1362284" y="558678"/>
                </a:cubicBezTo>
                <a:cubicBezTo>
                  <a:pt x="1360170" y="560088"/>
                  <a:pt x="1358055" y="561497"/>
                  <a:pt x="1355937" y="562905"/>
                </a:cubicBezTo>
                <a:cubicBezTo>
                  <a:pt x="1348556" y="567937"/>
                  <a:pt x="1341292" y="573085"/>
                  <a:pt x="1334165" y="578406"/>
                </a:cubicBezTo>
                <a:cubicBezTo>
                  <a:pt x="1332697" y="579472"/>
                  <a:pt x="1332697" y="579472"/>
                  <a:pt x="1331200" y="580559"/>
                </a:cubicBezTo>
                <a:cubicBezTo>
                  <a:pt x="1325067" y="585430"/>
                  <a:pt x="1323406" y="589771"/>
                  <a:pt x="1322175" y="596793"/>
                </a:cubicBezTo>
                <a:cubicBezTo>
                  <a:pt x="1321669" y="599545"/>
                  <a:pt x="1321669" y="599545"/>
                  <a:pt x="1320106" y="602363"/>
                </a:cubicBezTo>
                <a:cubicBezTo>
                  <a:pt x="1318419" y="618189"/>
                  <a:pt x="1322416" y="632767"/>
                  <a:pt x="1328015" y="647640"/>
                </a:cubicBezTo>
                <a:cubicBezTo>
                  <a:pt x="1331267" y="656625"/>
                  <a:pt x="1333170" y="666179"/>
                  <a:pt x="1332604" y="675643"/>
                </a:cubicBezTo>
                <a:cubicBezTo>
                  <a:pt x="1333634" y="675643"/>
                  <a:pt x="1334665" y="675643"/>
                  <a:pt x="1335727" y="675643"/>
                </a:cubicBezTo>
                <a:cubicBezTo>
                  <a:pt x="1337571" y="680632"/>
                  <a:pt x="1337591" y="684795"/>
                  <a:pt x="1337741" y="690059"/>
                </a:cubicBezTo>
                <a:cubicBezTo>
                  <a:pt x="1337826" y="692114"/>
                  <a:pt x="1337913" y="694168"/>
                  <a:pt x="1338003" y="696222"/>
                </a:cubicBezTo>
                <a:cubicBezTo>
                  <a:pt x="1338142" y="699444"/>
                  <a:pt x="1338266" y="702664"/>
                  <a:pt x="1338340" y="705887"/>
                </a:cubicBezTo>
                <a:cubicBezTo>
                  <a:pt x="1338372" y="720474"/>
                  <a:pt x="1338372" y="720474"/>
                  <a:pt x="1345277" y="733245"/>
                </a:cubicBezTo>
                <a:cubicBezTo>
                  <a:pt x="1350822" y="737861"/>
                  <a:pt x="1355921" y="739823"/>
                  <a:pt x="1363162" y="741612"/>
                </a:cubicBezTo>
                <a:cubicBezTo>
                  <a:pt x="1370672" y="743533"/>
                  <a:pt x="1377197" y="745750"/>
                  <a:pt x="1384154" y="748922"/>
                </a:cubicBezTo>
                <a:cubicBezTo>
                  <a:pt x="1387833" y="749898"/>
                  <a:pt x="1387833" y="749898"/>
                  <a:pt x="1391476" y="750419"/>
                </a:cubicBezTo>
                <a:cubicBezTo>
                  <a:pt x="1393499" y="750747"/>
                  <a:pt x="1393499" y="750747"/>
                  <a:pt x="1395564" y="751080"/>
                </a:cubicBezTo>
                <a:cubicBezTo>
                  <a:pt x="1397648" y="751407"/>
                  <a:pt x="1397648" y="751407"/>
                  <a:pt x="1399775" y="751740"/>
                </a:cubicBezTo>
                <a:cubicBezTo>
                  <a:pt x="1401810" y="752111"/>
                  <a:pt x="1401810" y="752111"/>
                  <a:pt x="1403887" y="752489"/>
                </a:cubicBezTo>
                <a:cubicBezTo>
                  <a:pt x="1424247" y="756131"/>
                  <a:pt x="1444708" y="756350"/>
                  <a:pt x="1465383" y="755969"/>
                </a:cubicBezTo>
                <a:cubicBezTo>
                  <a:pt x="1467019" y="755945"/>
                  <a:pt x="1468654" y="755921"/>
                  <a:pt x="1470339" y="755897"/>
                </a:cubicBezTo>
                <a:cubicBezTo>
                  <a:pt x="1480128" y="755450"/>
                  <a:pt x="1487899" y="752933"/>
                  <a:pt x="1496809" y="749313"/>
                </a:cubicBezTo>
                <a:cubicBezTo>
                  <a:pt x="1502876" y="746888"/>
                  <a:pt x="1509049" y="745091"/>
                  <a:pt x="1515371" y="743285"/>
                </a:cubicBezTo>
                <a:cubicBezTo>
                  <a:pt x="1515371" y="742356"/>
                  <a:pt x="1515371" y="741425"/>
                  <a:pt x="1515371" y="740467"/>
                </a:cubicBezTo>
                <a:cubicBezTo>
                  <a:pt x="1522710" y="737103"/>
                  <a:pt x="1529583" y="737106"/>
                  <a:pt x="1537632" y="737120"/>
                </a:cubicBezTo>
                <a:cubicBezTo>
                  <a:pt x="1538960" y="737122"/>
                  <a:pt x="1540289" y="737124"/>
                  <a:pt x="1541657" y="737127"/>
                </a:cubicBezTo>
                <a:cubicBezTo>
                  <a:pt x="1555502" y="737372"/>
                  <a:pt x="1564314" y="740697"/>
                  <a:pt x="1574732" y="748922"/>
                </a:cubicBezTo>
                <a:cubicBezTo>
                  <a:pt x="1586507" y="762822"/>
                  <a:pt x="1590347" y="775219"/>
                  <a:pt x="1588791" y="792608"/>
                </a:cubicBezTo>
                <a:cubicBezTo>
                  <a:pt x="1587728" y="797050"/>
                  <a:pt x="1586468" y="801261"/>
                  <a:pt x="1584105" y="805291"/>
                </a:cubicBezTo>
                <a:cubicBezTo>
                  <a:pt x="1583074" y="805756"/>
                  <a:pt x="1582043" y="806221"/>
                  <a:pt x="1580981" y="806700"/>
                </a:cubicBezTo>
                <a:cubicBezTo>
                  <a:pt x="1580240" y="807892"/>
                  <a:pt x="1579499" y="809083"/>
                  <a:pt x="1578735" y="810311"/>
                </a:cubicBezTo>
                <a:cubicBezTo>
                  <a:pt x="1577930" y="811445"/>
                  <a:pt x="1577124" y="812579"/>
                  <a:pt x="1576295" y="813746"/>
                </a:cubicBezTo>
                <a:lnTo>
                  <a:pt x="1571652" y="813746"/>
                </a:lnTo>
                <a:lnTo>
                  <a:pt x="1571785" y="814106"/>
                </a:lnTo>
                <a:cubicBezTo>
                  <a:pt x="1572816" y="814571"/>
                  <a:pt x="1573846" y="815036"/>
                  <a:pt x="1574909" y="815515"/>
                </a:cubicBezTo>
                <a:cubicBezTo>
                  <a:pt x="1572126" y="818758"/>
                  <a:pt x="1569968" y="820871"/>
                  <a:pt x="1565463" y="821839"/>
                </a:cubicBezTo>
                <a:lnTo>
                  <a:pt x="1562085" y="822101"/>
                </a:lnTo>
                <a:lnTo>
                  <a:pt x="1551301" y="825020"/>
                </a:lnTo>
                <a:cubicBezTo>
                  <a:pt x="1551301" y="825950"/>
                  <a:pt x="1551301" y="826880"/>
                  <a:pt x="1551301" y="827838"/>
                </a:cubicBezTo>
                <a:cubicBezTo>
                  <a:pt x="1526697" y="828735"/>
                  <a:pt x="1507496" y="825036"/>
                  <a:pt x="1485380" y="815007"/>
                </a:cubicBezTo>
                <a:cubicBezTo>
                  <a:pt x="1468723" y="807743"/>
                  <a:pt x="1449749" y="809144"/>
                  <a:pt x="1431603" y="808726"/>
                </a:cubicBezTo>
                <a:cubicBezTo>
                  <a:pt x="1429115" y="808665"/>
                  <a:pt x="1426627" y="808604"/>
                  <a:pt x="1424140" y="808542"/>
                </a:cubicBezTo>
                <a:cubicBezTo>
                  <a:pt x="1418101" y="808392"/>
                  <a:pt x="1412062" y="808249"/>
                  <a:pt x="1406023" y="808109"/>
                </a:cubicBezTo>
                <a:cubicBezTo>
                  <a:pt x="1406023" y="809040"/>
                  <a:pt x="1406023" y="809970"/>
                  <a:pt x="1406023" y="810928"/>
                </a:cubicBezTo>
                <a:cubicBezTo>
                  <a:pt x="1404716" y="811118"/>
                  <a:pt x="1404716" y="811118"/>
                  <a:pt x="1403383" y="811311"/>
                </a:cubicBezTo>
                <a:cubicBezTo>
                  <a:pt x="1372054" y="815110"/>
                  <a:pt x="1372054" y="815110"/>
                  <a:pt x="1345442" y="828907"/>
                </a:cubicBezTo>
                <a:cubicBezTo>
                  <a:pt x="1338843" y="837605"/>
                  <a:pt x="1338313" y="846434"/>
                  <a:pt x="1337875" y="856639"/>
                </a:cubicBezTo>
                <a:cubicBezTo>
                  <a:pt x="1337815" y="857805"/>
                  <a:pt x="1337754" y="858970"/>
                  <a:pt x="1337692" y="860171"/>
                </a:cubicBezTo>
                <a:cubicBezTo>
                  <a:pt x="1337547" y="863016"/>
                  <a:pt x="1337417" y="865861"/>
                  <a:pt x="1337290" y="868706"/>
                </a:cubicBezTo>
                <a:cubicBezTo>
                  <a:pt x="1336258" y="868706"/>
                  <a:pt x="1335228" y="868706"/>
                  <a:pt x="1334165" y="868706"/>
                </a:cubicBezTo>
                <a:lnTo>
                  <a:pt x="1334165" y="870034"/>
                </a:lnTo>
                <a:lnTo>
                  <a:pt x="1334237" y="869093"/>
                </a:lnTo>
                <a:cubicBezTo>
                  <a:pt x="1334753" y="869093"/>
                  <a:pt x="1335268" y="869093"/>
                  <a:pt x="1335800" y="869093"/>
                </a:cubicBezTo>
                <a:cubicBezTo>
                  <a:pt x="1335884" y="871559"/>
                  <a:pt x="1335944" y="874025"/>
                  <a:pt x="1335995" y="876491"/>
                </a:cubicBezTo>
                <a:cubicBezTo>
                  <a:pt x="1336030" y="877865"/>
                  <a:pt x="1336067" y="879238"/>
                  <a:pt x="1336105" y="880653"/>
                </a:cubicBezTo>
                <a:cubicBezTo>
                  <a:pt x="1335800" y="884594"/>
                  <a:pt x="1335800" y="884594"/>
                  <a:pt x="1334294" y="887271"/>
                </a:cubicBezTo>
                <a:cubicBezTo>
                  <a:pt x="1332567" y="890428"/>
                  <a:pt x="1331982" y="892964"/>
                  <a:pt x="1331455" y="896440"/>
                </a:cubicBezTo>
                <a:cubicBezTo>
                  <a:pt x="1331267" y="897605"/>
                  <a:pt x="1331080" y="898769"/>
                  <a:pt x="1330887" y="899969"/>
                </a:cubicBezTo>
                <a:cubicBezTo>
                  <a:pt x="1330704" y="901174"/>
                  <a:pt x="1330521" y="902378"/>
                  <a:pt x="1330332" y="903618"/>
                </a:cubicBezTo>
                <a:cubicBezTo>
                  <a:pt x="1329968" y="906013"/>
                  <a:pt x="1329594" y="908405"/>
                  <a:pt x="1329209" y="910797"/>
                </a:cubicBezTo>
                <a:cubicBezTo>
                  <a:pt x="1329049" y="911853"/>
                  <a:pt x="1328889" y="912910"/>
                  <a:pt x="1328724" y="913998"/>
                </a:cubicBezTo>
                <a:cubicBezTo>
                  <a:pt x="1327933" y="917233"/>
                  <a:pt x="1326525" y="919703"/>
                  <a:pt x="1324865" y="922643"/>
                </a:cubicBezTo>
                <a:cubicBezTo>
                  <a:pt x="1323924" y="927743"/>
                  <a:pt x="1323282" y="932845"/>
                  <a:pt x="1322619" y="937979"/>
                </a:cubicBezTo>
                <a:lnTo>
                  <a:pt x="1318744" y="944961"/>
                </a:lnTo>
                <a:lnTo>
                  <a:pt x="1318544" y="946213"/>
                </a:lnTo>
                <a:cubicBezTo>
                  <a:pt x="1318360" y="949234"/>
                  <a:pt x="1318271" y="952260"/>
                  <a:pt x="1318251" y="955285"/>
                </a:cubicBezTo>
                <a:cubicBezTo>
                  <a:pt x="1318218" y="957637"/>
                  <a:pt x="1318218" y="957637"/>
                  <a:pt x="1318184" y="960036"/>
                </a:cubicBezTo>
                <a:cubicBezTo>
                  <a:pt x="1318624" y="965530"/>
                  <a:pt x="1319569" y="969724"/>
                  <a:pt x="1324024" y="973660"/>
                </a:cubicBezTo>
                <a:cubicBezTo>
                  <a:pt x="1327197" y="976583"/>
                  <a:pt x="1327950" y="979494"/>
                  <a:pt x="1329284" y="983382"/>
                </a:cubicBezTo>
                <a:cubicBezTo>
                  <a:pt x="1331875" y="990106"/>
                  <a:pt x="1334445" y="993582"/>
                  <a:pt x="1340414" y="998354"/>
                </a:cubicBezTo>
                <a:cubicBezTo>
                  <a:pt x="1342397" y="1000564"/>
                  <a:pt x="1344347" y="1002798"/>
                  <a:pt x="1346272" y="1005048"/>
                </a:cubicBezTo>
                <a:cubicBezTo>
                  <a:pt x="1360055" y="1020713"/>
                  <a:pt x="1376247" y="1031879"/>
                  <a:pt x="1394716" y="1042740"/>
                </a:cubicBezTo>
                <a:cubicBezTo>
                  <a:pt x="1397172" y="1044228"/>
                  <a:pt x="1399581" y="1045779"/>
                  <a:pt x="1401953" y="1047374"/>
                </a:cubicBezTo>
                <a:cubicBezTo>
                  <a:pt x="1410065" y="1052802"/>
                  <a:pt x="1417529" y="1056366"/>
                  <a:pt x="1427197" y="1059061"/>
                </a:cubicBezTo>
                <a:cubicBezTo>
                  <a:pt x="1431243" y="1060437"/>
                  <a:pt x="1434061" y="1061979"/>
                  <a:pt x="1437265" y="1064588"/>
                </a:cubicBezTo>
                <a:cubicBezTo>
                  <a:pt x="1437265" y="1065518"/>
                  <a:pt x="1437265" y="1066448"/>
                  <a:pt x="1437265" y="1067406"/>
                </a:cubicBezTo>
                <a:cubicBezTo>
                  <a:pt x="1439053" y="1067624"/>
                  <a:pt x="1439053" y="1067624"/>
                  <a:pt x="1440878" y="1067847"/>
                </a:cubicBezTo>
                <a:cubicBezTo>
                  <a:pt x="1445076" y="1068815"/>
                  <a:pt x="1445076" y="1068815"/>
                  <a:pt x="1447175" y="1070753"/>
                </a:cubicBezTo>
                <a:cubicBezTo>
                  <a:pt x="1450417" y="1073622"/>
                  <a:pt x="1453781" y="1075060"/>
                  <a:pt x="1457866" y="1076830"/>
                </a:cubicBezTo>
                <a:cubicBezTo>
                  <a:pt x="1459274" y="1077446"/>
                  <a:pt x="1460681" y="1078062"/>
                  <a:pt x="1462132" y="1078696"/>
                </a:cubicBezTo>
                <a:cubicBezTo>
                  <a:pt x="1463204" y="1079156"/>
                  <a:pt x="1464278" y="1079616"/>
                  <a:pt x="1465383" y="1080089"/>
                </a:cubicBezTo>
                <a:cubicBezTo>
                  <a:pt x="1465383" y="1081019"/>
                  <a:pt x="1465383" y="1081949"/>
                  <a:pt x="1465383" y="1082908"/>
                </a:cubicBezTo>
                <a:cubicBezTo>
                  <a:pt x="1466497" y="1083260"/>
                  <a:pt x="1467611" y="1083612"/>
                  <a:pt x="1468758" y="1083975"/>
                </a:cubicBezTo>
                <a:cubicBezTo>
                  <a:pt x="1473648" y="1085905"/>
                  <a:pt x="1477426" y="1088296"/>
                  <a:pt x="1481688" y="1091187"/>
                </a:cubicBezTo>
                <a:cubicBezTo>
                  <a:pt x="1483204" y="1092193"/>
                  <a:pt x="1484721" y="1093200"/>
                  <a:pt x="1486283" y="1094236"/>
                </a:cubicBezTo>
                <a:cubicBezTo>
                  <a:pt x="1489170" y="1096185"/>
                  <a:pt x="1492029" y="1098166"/>
                  <a:pt x="1494869" y="1100171"/>
                </a:cubicBezTo>
                <a:cubicBezTo>
                  <a:pt x="1510181" y="1107906"/>
                  <a:pt x="1527080" y="1109898"/>
                  <a:pt x="1544335" y="1109518"/>
                </a:cubicBezTo>
                <a:cubicBezTo>
                  <a:pt x="1579932" y="1108798"/>
                  <a:pt x="1579932" y="1108798"/>
                  <a:pt x="1593477" y="1119900"/>
                </a:cubicBezTo>
                <a:cubicBezTo>
                  <a:pt x="1600636" y="1127255"/>
                  <a:pt x="1604889" y="1135120"/>
                  <a:pt x="1605975" y="1144913"/>
                </a:cubicBezTo>
                <a:cubicBezTo>
                  <a:pt x="1607006" y="1144913"/>
                  <a:pt x="1608036" y="1144913"/>
                  <a:pt x="1609099" y="1144913"/>
                </a:cubicBezTo>
                <a:cubicBezTo>
                  <a:pt x="1609227" y="1148907"/>
                  <a:pt x="1609319" y="1152897"/>
                  <a:pt x="1609392" y="1156892"/>
                </a:cubicBezTo>
                <a:cubicBezTo>
                  <a:pt x="1609451" y="1158565"/>
                  <a:pt x="1609451" y="1158565"/>
                  <a:pt x="1609511" y="1160272"/>
                </a:cubicBezTo>
                <a:cubicBezTo>
                  <a:pt x="1609621" y="1168378"/>
                  <a:pt x="1607970" y="1174108"/>
                  <a:pt x="1604412" y="1181553"/>
                </a:cubicBezTo>
                <a:cubicBezTo>
                  <a:pt x="1603354" y="1184367"/>
                  <a:pt x="1602306" y="1187183"/>
                  <a:pt x="1601288" y="1190009"/>
                </a:cubicBezTo>
                <a:cubicBezTo>
                  <a:pt x="1600257" y="1190009"/>
                  <a:pt x="1599226" y="1190009"/>
                  <a:pt x="1598164" y="1190009"/>
                </a:cubicBezTo>
                <a:cubicBezTo>
                  <a:pt x="1597842" y="1190910"/>
                  <a:pt x="1597520" y="1191810"/>
                  <a:pt x="1597187" y="1192739"/>
                </a:cubicBezTo>
                <a:cubicBezTo>
                  <a:pt x="1596479" y="1193698"/>
                  <a:pt x="1595770" y="1194657"/>
                  <a:pt x="1595040" y="1195645"/>
                </a:cubicBezTo>
                <a:cubicBezTo>
                  <a:pt x="1591916" y="1196115"/>
                  <a:pt x="1588791" y="1196585"/>
                  <a:pt x="1585667" y="1197055"/>
                </a:cubicBezTo>
                <a:cubicBezTo>
                  <a:pt x="1583871" y="1199826"/>
                  <a:pt x="1583871" y="1199826"/>
                  <a:pt x="1582543" y="1202691"/>
                </a:cubicBezTo>
                <a:cubicBezTo>
                  <a:pt x="1575997" y="1204710"/>
                  <a:pt x="1569266" y="1204360"/>
                  <a:pt x="1562431" y="1204365"/>
                </a:cubicBezTo>
                <a:cubicBezTo>
                  <a:pt x="1561196" y="1204382"/>
                  <a:pt x="1559962" y="1204399"/>
                  <a:pt x="1558690" y="1204417"/>
                </a:cubicBezTo>
                <a:cubicBezTo>
                  <a:pt x="1543339" y="1204452"/>
                  <a:pt x="1531981" y="1199267"/>
                  <a:pt x="1521102" y="1189585"/>
                </a:cubicBezTo>
                <a:cubicBezTo>
                  <a:pt x="1515403" y="1183953"/>
                  <a:pt x="1510116" y="1178123"/>
                  <a:pt x="1505022" y="1172041"/>
                </a:cubicBezTo>
                <a:cubicBezTo>
                  <a:pt x="1493200" y="1158177"/>
                  <a:pt x="1475492" y="1147115"/>
                  <a:pt x="1457573" y="1140686"/>
                </a:cubicBezTo>
                <a:cubicBezTo>
                  <a:pt x="1457573" y="1139755"/>
                  <a:pt x="1457573" y="1138826"/>
                  <a:pt x="1457573" y="1137867"/>
                </a:cubicBezTo>
                <a:cubicBezTo>
                  <a:pt x="1456059" y="1137693"/>
                  <a:pt x="1454544" y="1137518"/>
                  <a:pt x="1452985" y="1137339"/>
                </a:cubicBezTo>
                <a:cubicBezTo>
                  <a:pt x="1451406" y="1137048"/>
                  <a:pt x="1449827" y="1136758"/>
                  <a:pt x="1448200" y="1136458"/>
                </a:cubicBezTo>
                <a:cubicBezTo>
                  <a:pt x="1447685" y="1135528"/>
                  <a:pt x="1447169" y="1134598"/>
                  <a:pt x="1446638" y="1133640"/>
                </a:cubicBezTo>
                <a:cubicBezTo>
                  <a:pt x="1444091" y="1132586"/>
                  <a:pt x="1441535" y="1131550"/>
                  <a:pt x="1438937" y="1130601"/>
                </a:cubicBezTo>
                <a:cubicBezTo>
                  <a:pt x="1435668" y="1129399"/>
                  <a:pt x="1432469" y="1128095"/>
                  <a:pt x="1429260" y="1126770"/>
                </a:cubicBezTo>
                <a:cubicBezTo>
                  <a:pt x="1423389" y="1124389"/>
                  <a:pt x="1417431" y="1122349"/>
                  <a:pt x="1411393" y="1120340"/>
                </a:cubicBezTo>
                <a:cubicBezTo>
                  <a:pt x="1404143" y="1117867"/>
                  <a:pt x="1397842" y="1115090"/>
                  <a:pt x="1391427" y="1111191"/>
                </a:cubicBezTo>
                <a:cubicBezTo>
                  <a:pt x="1388139" y="1109274"/>
                  <a:pt x="1384723" y="1108010"/>
                  <a:pt x="1381029" y="1106865"/>
                </a:cubicBezTo>
                <a:cubicBezTo>
                  <a:pt x="1381029" y="1105934"/>
                  <a:pt x="1381029" y="1105004"/>
                  <a:pt x="1381029" y="1104046"/>
                </a:cubicBezTo>
                <a:cubicBezTo>
                  <a:pt x="1379773" y="1103901"/>
                  <a:pt x="1378516" y="1103755"/>
                  <a:pt x="1377221" y="1103605"/>
                </a:cubicBezTo>
                <a:cubicBezTo>
                  <a:pt x="1370425" y="1102422"/>
                  <a:pt x="1364120" y="1100465"/>
                  <a:pt x="1357597" y="1098409"/>
                </a:cubicBezTo>
                <a:cubicBezTo>
                  <a:pt x="1355761" y="1097857"/>
                  <a:pt x="1353924" y="1097304"/>
                  <a:pt x="1352032" y="1096736"/>
                </a:cubicBezTo>
                <a:cubicBezTo>
                  <a:pt x="1350776" y="1096358"/>
                  <a:pt x="1349519" y="1095980"/>
                  <a:pt x="1348225" y="1095590"/>
                </a:cubicBezTo>
                <a:cubicBezTo>
                  <a:pt x="1348225" y="1094661"/>
                  <a:pt x="1348225" y="1093730"/>
                  <a:pt x="1348225" y="1092772"/>
                </a:cubicBezTo>
                <a:cubicBezTo>
                  <a:pt x="1344616" y="1092307"/>
                  <a:pt x="1341007" y="1091842"/>
                  <a:pt x="1337290" y="1091363"/>
                </a:cubicBezTo>
                <a:cubicBezTo>
                  <a:pt x="1337290" y="1090433"/>
                  <a:pt x="1337290" y="1089503"/>
                  <a:pt x="1337290" y="1088544"/>
                </a:cubicBezTo>
                <a:cubicBezTo>
                  <a:pt x="1334438" y="1088327"/>
                  <a:pt x="1334438" y="1088327"/>
                  <a:pt x="1331529" y="1088104"/>
                </a:cubicBezTo>
                <a:lnTo>
                  <a:pt x="1323297" y="1086611"/>
                </a:lnTo>
                <a:lnTo>
                  <a:pt x="1323297" y="1087618"/>
                </a:lnTo>
                <a:cubicBezTo>
                  <a:pt x="1322139" y="1087517"/>
                  <a:pt x="1320982" y="1087415"/>
                  <a:pt x="1319789" y="1087310"/>
                </a:cubicBezTo>
                <a:cubicBezTo>
                  <a:pt x="1300429" y="1085771"/>
                  <a:pt x="1281330" y="1084680"/>
                  <a:pt x="1262375" y="1089028"/>
                </a:cubicBezTo>
                <a:lnTo>
                  <a:pt x="1258728" y="1088205"/>
                </a:lnTo>
                <a:lnTo>
                  <a:pt x="1246964" y="1091489"/>
                </a:lnTo>
                <a:cubicBezTo>
                  <a:pt x="1237239" y="1097222"/>
                  <a:pt x="1228703" y="1103434"/>
                  <a:pt x="1223224" y="1112865"/>
                </a:cubicBezTo>
                <a:cubicBezTo>
                  <a:pt x="1220867" y="1116643"/>
                  <a:pt x="1217262" y="1119317"/>
                  <a:pt x="1213883" y="1122366"/>
                </a:cubicBezTo>
                <a:cubicBezTo>
                  <a:pt x="1213428" y="1123469"/>
                  <a:pt x="1212973" y="1124572"/>
                  <a:pt x="1212505" y="1125708"/>
                </a:cubicBezTo>
                <a:cubicBezTo>
                  <a:pt x="1210449" y="1130067"/>
                  <a:pt x="1207984" y="1132315"/>
                  <a:pt x="1204180" y="1135561"/>
                </a:cubicBezTo>
                <a:cubicBezTo>
                  <a:pt x="1202879" y="1136695"/>
                  <a:pt x="1201578" y="1137829"/>
                  <a:pt x="1200238" y="1138999"/>
                </a:cubicBezTo>
                <a:cubicBezTo>
                  <a:pt x="1197504" y="1141343"/>
                  <a:pt x="1194765" y="1143684"/>
                  <a:pt x="1192025" y="1146022"/>
                </a:cubicBezTo>
                <a:cubicBezTo>
                  <a:pt x="1181899" y="1154869"/>
                  <a:pt x="1174983" y="1161763"/>
                  <a:pt x="1173945" y="1174749"/>
                </a:cubicBezTo>
                <a:cubicBezTo>
                  <a:pt x="1173902" y="1177369"/>
                  <a:pt x="1173905" y="1179990"/>
                  <a:pt x="1173950" y="1182610"/>
                </a:cubicBezTo>
                <a:cubicBezTo>
                  <a:pt x="1173963" y="1183981"/>
                  <a:pt x="1173975" y="1185352"/>
                  <a:pt x="1173989" y="1186765"/>
                </a:cubicBezTo>
                <a:cubicBezTo>
                  <a:pt x="1174321" y="1197573"/>
                  <a:pt x="1176809" y="1205883"/>
                  <a:pt x="1182640" y="1215374"/>
                </a:cubicBezTo>
                <a:cubicBezTo>
                  <a:pt x="1183703" y="1217509"/>
                  <a:pt x="1184746" y="1219652"/>
                  <a:pt x="1185764" y="1221804"/>
                </a:cubicBezTo>
                <a:cubicBezTo>
                  <a:pt x="1186271" y="1222812"/>
                  <a:pt x="1186779" y="1223821"/>
                  <a:pt x="1187301" y="1224859"/>
                </a:cubicBezTo>
                <a:cubicBezTo>
                  <a:pt x="1188431" y="1227137"/>
                  <a:pt x="1189517" y="1229433"/>
                  <a:pt x="1190573" y="1231740"/>
                </a:cubicBezTo>
                <a:cubicBezTo>
                  <a:pt x="1194650" y="1240409"/>
                  <a:pt x="1199581" y="1247688"/>
                  <a:pt x="1205925" y="1255163"/>
                </a:cubicBezTo>
                <a:cubicBezTo>
                  <a:pt x="1208103" y="1257757"/>
                  <a:pt x="1210188" y="1260417"/>
                  <a:pt x="1212174" y="1263134"/>
                </a:cubicBezTo>
                <a:cubicBezTo>
                  <a:pt x="1218757" y="1272043"/>
                  <a:pt x="1225157" y="1277324"/>
                  <a:pt x="1235556" y="1282538"/>
                </a:cubicBezTo>
                <a:cubicBezTo>
                  <a:pt x="1236652" y="1283161"/>
                  <a:pt x="1237747" y="1283784"/>
                  <a:pt x="1238876" y="1284426"/>
                </a:cubicBezTo>
                <a:cubicBezTo>
                  <a:pt x="1238876" y="1285356"/>
                  <a:pt x="1238876" y="1286287"/>
                  <a:pt x="1238876" y="1287245"/>
                </a:cubicBezTo>
                <a:cubicBezTo>
                  <a:pt x="1239988" y="1287383"/>
                  <a:pt x="1241099" y="1287521"/>
                  <a:pt x="1242245" y="1287663"/>
                </a:cubicBezTo>
                <a:cubicBezTo>
                  <a:pt x="1253043" y="1290072"/>
                  <a:pt x="1264916" y="1297690"/>
                  <a:pt x="1271681" y="1305565"/>
                </a:cubicBezTo>
                <a:lnTo>
                  <a:pt x="1271742" y="1306172"/>
                </a:lnTo>
                <a:lnTo>
                  <a:pt x="1278525" y="1315767"/>
                </a:lnTo>
                <a:cubicBezTo>
                  <a:pt x="1279797" y="1319398"/>
                  <a:pt x="1280365" y="1323346"/>
                  <a:pt x="1281097" y="1327286"/>
                </a:cubicBezTo>
                <a:cubicBezTo>
                  <a:pt x="1281916" y="1337121"/>
                  <a:pt x="1281807" y="1346176"/>
                  <a:pt x="1277973" y="1355470"/>
                </a:cubicBezTo>
                <a:lnTo>
                  <a:pt x="1277460" y="1347025"/>
                </a:lnTo>
                <a:lnTo>
                  <a:pt x="1273531" y="1357991"/>
                </a:lnTo>
                <a:cubicBezTo>
                  <a:pt x="1270940" y="1361892"/>
                  <a:pt x="1267521" y="1365435"/>
                  <a:pt x="1263870" y="1368980"/>
                </a:cubicBezTo>
                <a:cubicBezTo>
                  <a:pt x="1258351" y="1372929"/>
                  <a:pt x="1253850" y="1376026"/>
                  <a:pt x="1246686" y="1376026"/>
                </a:cubicBezTo>
                <a:cubicBezTo>
                  <a:pt x="1246686" y="1376956"/>
                  <a:pt x="1246686" y="1377886"/>
                  <a:pt x="1246686" y="1378844"/>
                </a:cubicBezTo>
                <a:cubicBezTo>
                  <a:pt x="1241676" y="1379009"/>
                  <a:pt x="1236665" y="1379109"/>
                  <a:pt x="1231651" y="1379196"/>
                </a:cubicBezTo>
                <a:cubicBezTo>
                  <a:pt x="1230240" y="1379244"/>
                  <a:pt x="1228828" y="1379291"/>
                  <a:pt x="1227373" y="1379340"/>
                </a:cubicBezTo>
                <a:cubicBezTo>
                  <a:pt x="1218287" y="1379460"/>
                  <a:pt x="1213363" y="1378568"/>
                  <a:pt x="1206071" y="1373207"/>
                </a:cubicBezTo>
                <a:cubicBezTo>
                  <a:pt x="1204751" y="1372742"/>
                  <a:pt x="1203430" y="1372277"/>
                  <a:pt x="1202069" y="1371798"/>
                </a:cubicBezTo>
                <a:cubicBezTo>
                  <a:pt x="1193777" y="1368730"/>
                  <a:pt x="1188124" y="1363294"/>
                  <a:pt x="1184104" y="1356176"/>
                </a:cubicBezTo>
                <a:cubicBezTo>
                  <a:pt x="1180965" y="1349259"/>
                  <a:pt x="1178852" y="1342590"/>
                  <a:pt x="1177270" y="1335247"/>
                </a:cubicBezTo>
                <a:cubicBezTo>
                  <a:pt x="1175525" y="1327352"/>
                  <a:pt x="1172911" y="1320677"/>
                  <a:pt x="1169002" y="1313464"/>
                </a:cubicBezTo>
                <a:cubicBezTo>
                  <a:pt x="1166989" y="1309737"/>
                  <a:pt x="1165215" y="1305976"/>
                  <a:pt x="1163504" y="1302130"/>
                </a:cubicBezTo>
                <a:cubicBezTo>
                  <a:pt x="1163013" y="1301027"/>
                  <a:pt x="1162521" y="1299924"/>
                  <a:pt x="1162015" y="1298788"/>
                </a:cubicBezTo>
                <a:cubicBezTo>
                  <a:pt x="1160770" y="1295700"/>
                  <a:pt x="1160770" y="1295700"/>
                  <a:pt x="1160111" y="1292656"/>
                </a:cubicBezTo>
                <a:cubicBezTo>
                  <a:pt x="1159345" y="1289507"/>
                  <a:pt x="1159345" y="1289507"/>
                  <a:pt x="1154522" y="1287245"/>
                </a:cubicBezTo>
                <a:cubicBezTo>
                  <a:pt x="1153465" y="1284902"/>
                  <a:pt x="1152426" y="1282552"/>
                  <a:pt x="1151398" y="1280199"/>
                </a:cubicBezTo>
                <a:cubicBezTo>
                  <a:pt x="1149056" y="1276983"/>
                  <a:pt x="1146686" y="1273874"/>
                  <a:pt x="1144173" y="1270774"/>
                </a:cubicBezTo>
                <a:cubicBezTo>
                  <a:pt x="1143477" y="1269912"/>
                  <a:pt x="1142782" y="1269049"/>
                  <a:pt x="1142065" y="1268160"/>
                </a:cubicBezTo>
                <a:cubicBezTo>
                  <a:pt x="1139981" y="1265589"/>
                  <a:pt x="1137880" y="1263029"/>
                  <a:pt x="1135776" y="1260470"/>
                </a:cubicBezTo>
                <a:cubicBezTo>
                  <a:pt x="1134647" y="1259076"/>
                  <a:pt x="1133517" y="1257683"/>
                  <a:pt x="1132353" y="1256247"/>
                </a:cubicBezTo>
                <a:cubicBezTo>
                  <a:pt x="1126291" y="1249045"/>
                  <a:pt x="1121408" y="1244606"/>
                  <a:pt x="1112344" y="1240741"/>
                </a:cubicBezTo>
                <a:cubicBezTo>
                  <a:pt x="1110285" y="1239698"/>
                  <a:pt x="1108234" y="1238642"/>
                  <a:pt x="1106193" y="1237570"/>
                </a:cubicBezTo>
                <a:cubicBezTo>
                  <a:pt x="1104615" y="1236756"/>
                  <a:pt x="1103036" y="1235942"/>
                  <a:pt x="1101409" y="1235104"/>
                </a:cubicBezTo>
                <a:cubicBezTo>
                  <a:pt x="1101409" y="1233708"/>
                  <a:pt x="1101409" y="1232313"/>
                  <a:pt x="1101409" y="1230876"/>
                </a:cubicBezTo>
                <a:cubicBezTo>
                  <a:pt x="1089553" y="1230876"/>
                  <a:pt x="1077697" y="1230876"/>
                  <a:pt x="1065480" y="1230876"/>
                </a:cubicBezTo>
                <a:cubicBezTo>
                  <a:pt x="1064965" y="1232271"/>
                  <a:pt x="1064450" y="1233666"/>
                  <a:pt x="1063919" y="1235104"/>
                </a:cubicBezTo>
                <a:cubicBezTo>
                  <a:pt x="1062372" y="1235104"/>
                  <a:pt x="1060826" y="1235104"/>
                  <a:pt x="1059232" y="1235104"/>
                </a:cubicBezTo>
                <a:cubicBezTo>
                  <a:pt x="1059232" y="1236033"/>
                  <a:pt x="1059232" y="1236964"/>
                  <a:pt x="1059232" y="1237922"/>
                </a:cubicBezTo>
                <a:cubicBezTo>
                  <a:pt x="1052964" y="1240850"/>
                  <a:pt x="1046842" y="1243613"/>
                  <a:pt x="1040194" y="1245761"/>
                </a:cubicBezTo>
                <a:cubicBezTo>
                  <a:pt x="1036552" y="1246941"/>
                  <a:pt x="1033682" y="1248088"/>
                  <a:pt x="1030333" y="1249901"/>
                </a:cubicBezTo>
                <a:cubicBezTo>
                  <a:pt x="1025129" y="1252717"/>
                  <a:pt x="1019615" y="1254371"/>
                  <a:pt x="1013931" y="1256242"/>
                </a:cubicBezTo>
                <a:cubicBezTo>
                  <a:pt x="1009870" y="1257688"/>
                  <a:pt x="1008221" y="1258277"/>
                  <a:pt x="1005925" y="1261615"/>
                </a:cubicBezTo>
                <a:cubicBezTo>
                  <a:pt x="1005474" y="1262632"/>
                  <a:pt x="1005023" y="1263649"/>
                  <a:pt x="1004558" y="1264697"/>
                </a:cubicBezTo>
                <a:cubicBezTo>
                  <a:pt x="1004030" y="1265774"/>
                  <a:pt x="1003503" y="1266852"/>
                  <a:pt x="1002959" y="1267961"/>
                </a:cubicBezTo>
                <a:cubicBezTo>
                  <a:pt x="1001408" y="1271808"/>
                  <a:pt x="1000922" y="1274896"/>
                  <a:pt x="1000653" y="1278965"/>
                </a:cubicBezTo>
                <a:cubicBezTo>
                  <a:pt x="1000303" y="1284158"/>
                  <a:pt x="999467" y="1289055"/>
                  <a:pt x="998297" y="1294137"/>
                </a:cubicBezTo>
                <a:cubicBezTo>
                  <a:pt x="996204" y="1304306"/>
                  <a:pt x="996129" y="1314460"/>
                  <a:pt x="996162" y="1324765"/>
                </a:cubicBezTo>
                <a:cubicBezTo>
                  <a:pt x="996163" y="1325782"/>
                  <a:pt x="996163" y="1326799"/>
                  <a:pt x="996164" y="1327846"/>
                </a:cubicBezTo>
                <a:cubicBezTo>
                  <a:pt x="996263" y="1353742"/>
                  <a:pt x="1001081" y="1378188"/>
                  <a:pt x="1007780" y="1403329"/>
                </a:cubicBezTo>
                <a:cubicBezTo>
                  <a:pt x="1008163" y="1404772"/>
                  <a:pt x="1008546" y="1406215"/>
                  <a:pt x="1008940" y="1407701"/>
                </a:cubicBezTo>
                <a:cubicBezTo>
                  <a:pt x="1009316" y="1409030"/>
                  <a:pt x="1009693" y="1410360"/>
                  <a:pt x="1010080" y="1411730"/>
                </a:cubicBezTo>
                <a:cubicBezTo>
                  <a:pt x="1010409" y="1412900"/>
                  <a:pt x="1010737" y="1414071"/>
                  <a:pt x="1011075" y="1415277"/>
                </a:cubicBezTo>
                <a:cubicBezTo>
                  <a:pt x="1012501" y="1418612"/>
                  <a:pt x="1014136" y="1420168"/>
                  <a:pt x="1017055" y="1422530"/>
                </a:cubicBezTo>
                <a:cubicBezTo>
                  <a:pt x="1018770" y="1425162"/>
                  <a:pt x="1018770" y="1425162"/>
                  <a:pt x="1020277" y="1427991"/>
                </a:cubicBezTo>
                <a:cubicBezTo>
                  <a:pt x="1020778" y="1428917"/>
                  <a:pt x="1021280" y="1429844"/>
                  <a:pt x="1021796" y="1430798"/>
                </a:cubicBezTo>
                <a:cubicBezTo>
                  <a:pt x="1023303" y="1433804"/>
                  <a:pt x="1023303" y="1433804"/>
                  <a:pt x="1024579" y="1437239"/>
                </a:cubicBezTo>
                <a:cubicBezTo>
                  <a:pt x="1026915" y="1441803"/>
                  <a:pt x="1030098" y="1444534"/>
                  <a:pt x="1034043" y="1448072"/>
                </a:cubicBezTo>
                <a:lnTo>
                  <a:pt x="1043782" y="1464320"/>
                </a:lnTo>
                <a:lnTo>
                  <a:pt x="1050458" y="1472189"/>
                </a:lnTo>
                <a:cubicBezTo>
                  <a:pt x="1051737" y="1475181"/>
                  <a:pt x="1052277" y="1478513"/>
                  <a:pt x="1052926" y="1482370"/>
                </a:cubicBezTo>
                <a:cubicBezTo>
                  <a:pt x="1053325" y="1487224"/>
                  <a:pt x="1053364" y="1492038"/>
                  <a:pt x="1053316" y="1496903"/>
                </a:cubicBezTo>
                <a:cubicBezTo>
                  <a:pt x="1053328" y="1498142"/>
                  <a:pt x="1053340" y="1499382"/>
                  <a:pt x="1053352" y="1500660"/>
                </a:cubicBezTo>
                <a:cubicBezTo>
                  <a:pt x="1053348" y="1501856"/>
                  <a:pt x="1053344" y="1503052"/>
                  <a:pt x="1053341" y="1504285"/>
                </a:cubicBezTo>
                <a:cubicBezTo>
                  <a:pt x="1053336" y="1505355"/>
                  <a:pt x="1053333" y="1506426"/>
                  <a:pt x="1053329" y="1507529"/>
                </a:cubicBezTo>
                <a:cubicBezTo>
                  <a:pt x="1052876" y="1510927"/>
                  <a:pt x="1051672" y="1513237"/>
                  <a:pt x="1049801" y="1516192"/>
                </a:cubicBezTo>
                <a:lnTo>
                  <a:pt x="1047312" y="1516192"/>
                </a:lnTo>
                <a:lnTo>
                  <a:pt x="1043611" y="1522585"/>
                </a:lnTo>
                <a:cubicBezTo>
                  <a:pt x="1035301" y="1529631"/>
                  <a:pt x="1035301" y="1529631"/>
                  <a:pt x="1029552" y="1529631"/>
                </a:cubicBezTo>
                <a:cubicBezTo>
                  <a:pt x="1029294" y="1530503"/>
                  <a:pt x="1029036" y="1531375"/>
                  <a:pt x="1028771" y="1532273"/>
                </a:cubicBezTo>
                <a:cubicBezTo>
                  <a:pt x="1025795" y="1536076"/>
                  <a:pt x="1022970" y="1536733"/>
                  <a:pt x="1018013" y="1537640"/>
                </a:cubicBezTo>
                <a:cubicBezTo>
                  <a:pt x="1005216" y="1539038"/>
                  <a:pt x="992573" y="1539816"/>
                  <a:pt x="981126" y="1533859"/>
                </a:cubicBezTo>
                <a:cubicBezTo>
                  <a:pt x="979840" y="1533226"/>
                  <a:pt x="978553" y="1532594"/>
                  <a:pt x="977227" y="1531943"/>
                </a:cubicBezTo>
                <a:cubicBezTo>
                  <a:pt x="965286" y="1525877"/>
                  <a:pt x="959626" y="1520520"/>
                  <a:pt x="955376" y="1508751"/>
                </a:cubicBezTo>
                <a:cubicBezTo>
                  <a:pt x="954571" y="1505674"/>
                  <a:pt x="954571" y="1505674"/>
                  <a:pt x="954571" y="1500037"/>
                </a:cubicBezTo>
                <a:cubicBezTo>
                  <a:pt x="953539" y="1500037"/>
                  <a:pt x="952508" y="1500037"/>
                  <a:pt x="951446" y="1500037"/>
                </a:cubicBezTo>
                <a:cubicBezTo>
                  <a:pt x="951361" y="1495986"/>
                  <a:pt x="951299" y="1491935"/>
                  <a:pt x="951251" y="1487883"/>
                </a:cubicBezTo>
                <a:cubicBezTo>
                  <a:pt x="951224" y="1486744"/>
                  <a:pt x="951198" y="1485605"/>
                  <a:pt x="951171" y="1484431"/>
                </a:cubicBezTo>
                <a:cubicBezTo>
                  <a:pt x="951110" y="1477657"/>
                  <a:pt x="952093" y="1472660"/>
                  <a:pt x="954571" y="1466216"/>
                </a:cubicBezTo>
                <a:cubicBezTo>
                  <a:pt x="954867" y="1462451"/>
                  <a:pt x="955016" y="1458876"/>
                  <a:pt x="954961" y="1455118"/>
                </a:cubicBezTo>
                <a:cubicBezTo>
                  <a:pt x="954951" y="1454080"/>
                  <a:pt x="954942" y="1453042"/>
                  <a:pt x="954932" y="1451972"/>
                </a:cubicBezTo>
                <a:cubicBezTo>
                  <a:pt x="954606" y="1435235"/>
                  <a:pt x="952568" y="1419050"/>
                  <a:pt x="945099" y="1403594"/>
                </a:cubicBezTo>
                <a:cubicBezTo>
                  <a:pt x="943714" y="1400177"/>
                  <a:pt x="943046" y="1397128"/>
                  <a:pt x="942366" y="1393553"/>
                </a:cubicBezTo>
                <a:cubicBezTo>
                  <a:pt x="940837" y="1386134"/>
                  <a:pt x="937840" y="1379609"/>
                  <a:pt x="934451" y="1372734"/>
                </a:cubicBezTo>
                <a:cubicBezTo>
                  <a:pt x="932701" y="1368980"/>
                  <a:pt x="932701" y="1368980"/>
                  <a:pt x="931974" y="1365754"/>
                </a:cubicBezTo>
                <a:cubicBezTo>
                  <a:pt x="931699" y="1364958"/>
                  <a:pt x="931422" y="1364162"/>
                  <a:pt x="931138" y="1363343"/>
                </a:cubicBezTo>
                <a:cubicBezTo>
                  <a:pt x="929592" y="1362878"/>
                  <a:pt x="928045" y="1362413"/>
                  <a:pt x="926452" y="1361933"/>
                </a:cubicBezTo>
                <a:cubicBezTo>
                  <a:pt x="921830" y="1355261"/>
                  <a:pt x="920323" y="1348382"/>
                  <a:pt x="918641" y="1340795"/>
                </a:cubicBezTo>
                <a:cubicBezTo>
                  <a:pt x="918133" y="1338914"/>
                  <a:pt x="917616" y="1337034"/>
                  <a:pt x="917079" y="1335158"/>
                </a:cubicBezTo>
                <a:cubicBezTo>
                  <a:pt x="916048" y="1335158"/>
                  <a:pt x="915018" y="1335158"/>
                  <a:pt x="913955" y="1335158"/>
                </a:cubicBezTo>
                <a:cubicBezTo>
                  <a:pt x="913329" y="1333718"/>
                  <a:pt x="912703" y="1332277"/>
                  <a:pt x="912057" y="1330793"/>
                </a:cubicBezTo>
                <a:cubicBezTo>
                  <a:pt x="909497" y="1325424"/>
                  <a:pt x="906114" y="1320822"/>
                  <a:pt x="902142" y="1316222"/>
                </a:cubicBezTo>
                <a:cubicBezTo>
                  <a:pt x="901465" y="1315432"/>
                  <a:pt x="900788" y="1314642"/>
                  <a:pt x="900091" y="1313828"/>
                </a:cubicBezTo>
                <a:cubicBezTo>
                  <a:pt x="893705" y="1306618"/>
                  <a:pt x="886350" y="1301049"/>
                  <a:pt x="878026" y="1295700"/>
                </a:cubicBezTo>
                <a:cubicBezTo>
                  <a:pt x="876595" y="1294594"/>
                  <a:pt x="876595" y="1294594"/>
                  <a:pt x="875134" y="1293465"/>
                </a:cubicBezTo>
                <a:lnTo>
                  <a:pt x="869869" y="1291826"/>
                </a:lnTo>
                <a:lnTo>
                  <a:pt x="862384" y="1291327"/>
                </a:lnTo>
                <a:cubicBezTo>
                  <a:pt x="856441" y="1290067"/>
                  <a:pt x="850461" y="1290346"/>
                  <a:pt x="844390" y="1290461"/>
                </a:cubicBezTo>
                <a:cubicBezTo>
                  <a:pt x="842453" y="1290480"/>
                  <a:pt x="842453" y="1290480"/>
                  <a:pt x="840476" y="1290500"/>
                </a:cubicBezTo>
                <a:cubicBezTo>
                  <a:pt x="837322" y="1290532"/>
                  <a:pt x="834169" y="1290583"/>
                  <a:pt x="831015" y="1290637"/>
                </a:cubicBezTo>
                <a:cubicBezTo>
                  <a:pt x="831015" y="1291568"/>
                  <a:pt x="831015" y="1292498"/>
                  <a:pt x="831015" y="1293456"/>
                </a:cubicBezTo>
                <a:cubicBezTo>
                  <a:pt x="826519" y="1294808"/>
                  <a:pt x="822922" y="1295235"/>
                  <a:pt x="818225" y="1295570"/>
                </a:cubicBezTo>
                <a:lnTo>
                  <a:pt x="796774" y="1297671"/>
                </a:lnTo>
                <a:lnTo>
                  <a:pt x="783646" y="1305736"/>
                </a:lnTo>
                <a:cubicBezTo>
                  <a:pt x="776915" y="1312506"/>
                  <a:pt x="772692" y="1318638"/>
                  <a:pt x="769263" y="1327143"/>
                </a:cubicBezTo>
                <a:cubicBezTo>
                  <a:pt x="767116" y="1332340"/>
                  <a:pt x="767116" y="1332340"/>
                  <a:pt x="764797" y="1334360"/>
                </a:cubicBezTo>
                <a:lnTo>
                  <a:pt x="757875" y="1353503"/>
                </a:lnTo>
                <a:lnTo>
                  <a:pt x="755676" y="1367455"/>
                </a:lnTo>
                <a:lnTo>
                  <a:pt x="750558" y="1399690"/>
                </a:lnTo>
                <a:lnTo>
                  <a:pt x="753057" y="1411256"/>
                </a:lnTo>
                <a:cubicBezTo>
                  <a:pt x="753057" y="1413117"/>
                  <a:pt x="753057" y="1414976"/>
                  <a:pt x="753057" y="1416893"/>
                </a:cubicBezTo>
                <a:cubicBezTo>
                  <a:pt x="754087" y="1416893"/>
                  <a:pt x="755119" y="1416893"/>
                  <a:pt x="756181" y="1416893"/>
                </a:cubicBezTo>
                <a:cubicBezTo>
                  <a:pt x="759348" y="1422607"/>
                  <a:pt x="758101" y="1429902"/>
                  <a:pt x="758133" y="1436182"/>
                </a:cubicBezTo>
                <a:cubicBezTo>
                  <a:pt x="758182" y="1438458"/>
                  <a:pt x="758182" y="1438458"/>
                  <a:pt x="758231" y="1440781"/>
                </a:cubicBezTo>
                <a:cubicBezTo>
                  <a:pt x="758283" y="1450271"/>
                  <a:pt x="758174" y="1458360"/>
                  <a:pt x="750713" y="1465704"/>
                </a:cubicBezTo>
                <a:cubicBezTo>
                  <a:pt x="749940" y="1466193"/>
                  <a:pt x="749167" y="1466681"/>
                  <a:pt x="748370" y="1467185"/>
                </a:cubicBezTo>
                <a:cubicBezTo>
                  <a:pt x="743665" y="1470047"/>
                  <a:pt x="743665" y="1470047"/>
                  <a:pt x="741633" y="1473526"/>
                </a:cubicBezTo>
                <a:cubicBezTo>
                  <a:pt x="737793" y="1477248"/>
                  <a:pt x="733582" y="1477483"/>
                  <a:pt x="728154" y="1478343"/>
                </a:cubicBezTo>
                <a:cubicBezTo>
                  <a:pt x="724855" y="1478778"/>
                  <a:pt x="724855" y="1478778"/>
                  <a:pt x="721814" y="1480308"/>
                </a:cubicBezTo>
                <a:cubicBezTo>
                  <a:pt x="717303" y="1480523"/>
                  <a:pt x="712854" y="1480634"/>
                  <a:pt x="708341" y="1480661"/>
                </a:cubicBezTo>
                <a:cubicBezTo>
                  <a:pt x="707118" y="1480690"/>
                  <a:pt x="705896" y="1480719"/>
                  <a:pt x="704637" y="1480748"/>
                </a:cubicBezTo>
                <a:cubicBezTo>
                  <a:pt x="690446" y="1480834"/>
                  <a:pt x="679632" y="1476246"/>
                  <a:pt x="668507" y="1468418"/>
                </a:cubicBezTo>
                <a:cubicBezTo>
                  <a:pt x="662823" y="1463224"/>
                  <a:pt x="661745" y="1456995"/>
                  <a:pt x="660178" y="1450027"/>
                </a:cubicBezTo>
                <a:cubicBezTo>
                  <a:pt x="659725" y="1446589"/>
                  <a:pt x="659725" y="1446589"/>
                  <a:pt x="657767" y="1445078"/>
                </a:cubicBezTo>
                <a:cubicBezTo>
                  <a:pt x="656859" y="1433686"/>
                  <a:pt x="655965" y="1419178"/>
                  <a:pt x="663369" y="1409390"/>
                </a:cubicBezTo>
                <a:cubicBezTo>
                  <a:pt x="666078" y="1406601"/>
                  <a:pt x="668921" y="1404013"/>
                  <a:pt x="671826" y="1401392"/>
                </a:cubicBezTo>
                <a:cubicBezTo>
                  <a:pt x="675197" y="1397623"/>
                  <a:pt x="677125" y="1394916"/>
                  <a:pt x="678075" y="1390118"/>
                </a:cubicBezTo>
                <a:cubicBezTo>
                  <a:pt x="680137" y="1389653"/>
                  <a:pt x="682199" y="1389188"/>
                  <a:pt x="684323" y="1388709"/>
                </a:cubicBezTo>
                <a:cubicBezTo>
                  <a:pt x="684643" y="1387232"/>
                  <a:pt x="684964" y="1385755"/>
                  <a:pt x="685293" y="1384233"/>
                </a:cubicBezTo>
                <a:cubicBezTo>
                  <a:pt x="685718" y="1382290"/>
                  <a:pt x="686144" y="1380347"/>
                  <a:pt x="686569" y="1378404"/>
                </a:cubicBezTo>
                <a:cubicBezTo>
                  <a:pt x="686885" y="1376945"/>
                  <a:pt x="686885" y="1376945"/>
                  <a:pt x="687207" y="1375456"/>
                </a:cubicBezTo>
                <a:cubicBezTo>
                  <a:pt x="688115" y="1371315"/>
                  <a:pt x="689090" y="1367353"/>
                  <a:pt x="690572" y="1363343"/>
                </a:cubicBezTo>
                <a:cubicBezTo>
                  <a:pt x="692411" y="1350128"/>
                  <a:pt x="692374" y="1336672"/>
                  <a:pt x="692495" y="1323376"/>
                </a:cubicBezTo>
                <a:cubicBezTo>
                  <a:pt x="692524" y="1320586"/>
                  <a:pt x="692574" y="1317796"/>
                  <a:pt x="692625" y="1315006"/>
                </a:cubicBezTo>
                <a:cubicBezTo>
                  <a:pt x="692853" y="1300589"/>
                  <a:pt x="692853" y="1300589"/>
                  <a:pt x="687447" y="1287245"/>
                </a:cubicBezTo>
                <a:cubicBezTo>
                  <a:pt x="685901" y="1286780"/>
                  <a:pt x="684354" y="1286315"/>
                  <a:pt x="682761" y="1285835"/>
                </a:cubicBezTo>
                <a:cubicBezTo>
                  <a:pt x="680876" y="1283743"/>
                  <a:pt x="680876" y="1283743"/>
                  <a:pt x="678954" y="1281608"/>
                </a:cubicBezTo>
                <a:cubicBezTo>
                  <a:pt x="674854" y="1277278"/>
                  <a:pt x="674356" y="1276958"/>
                  <a:pt x="668702" y="1275971"/>
                </a:cubicBezTo>
                <a:cubicBezTo>
                  <a:pt x="666619" y="1274092"/>
                  <a:pt x="664536" y="1272213"/>
                  <a:pt x="662454" y="1270334"/>
                </a:cubicBezTo>
                <a:cubicBezTo>
                  <a:pt x="658341" y="1268566"/>
                  <a:pt x="658341" y="1268566"/>
                  <a:pt x="654643" y="1267516"/>
                </a:cubicBezTo>
                <a:cubicBezTo>
                  <a:pt x="654643" y="1266585"/>
                  <a:pt x="654643" y="1265656"/>
                  <a:pt x="654643" y="1264697"/>
                </a:cubicBezTo>
                <a:cubicBezTo>
                  <a:pt x="653161" y="1264581"/>
                  <a:pt x="651679" y="1264465"/>
                  <a:pt x="650152" y="1264345"/>
                </a:cubicBezTo>
                <a:cubicBezTo>
                  <a:pt x="642318" y="1263373"/>
                  <a:pt x="635297" y="1260465"/>
                  <a:pt x="628087" y="1257651"/>
                </a:cubicBezTo>
                <a:cubicBezTo>
                  <a:pt x="628087" y="1256721"/>
                  <a:pt x="628087" y="1255791"/>
                  <a:pt x="628087" y="1254833"/>
                </a:cubicBezTo>
                <a:cubicBezTo>
                  <a:pt x="627108" y="1254662"/>
                  <a:pt x="626129" y="1254491"/>
                  <a:pt x="625121" y="1254315"/>
                </a:cubicBezTo>
                <a:cubicBezTo>
                  <a:pt x="623845" y="1254079"/>
                  <a:pt x="622568" y="1253843"/>
                  <a:pt x="621252" y="1253600"/>
                </a:cubicBezTo>
                <a:cubicBezTo>
                  <a:pt x="619984" y="1253371"/>
                  <a:pt x="618716" y="1253142"/>
                  <a:pt x="617409" y="1252906"/>
                </a:cubicBezTo>
                <a:cubicBezTo>
                  <a:pt x="614027" y="1252014"/>
                  <a:pt x="614027" y="1252014"/>
                  <a:pt x="610904" y="1249196"/>
                </a:cubicBezTo>
                <a:cubicBezTo>
                  <a:pt x="592259" y="1248653"/>
                  <a:pt x="578635" y="1260869"/>
                  <a:pt x="565739" y="1271742"/>
                </a:cubicBezTo>
                <a:cubicBezTo>
                  <a:pt x="558808" y="1277725"/>
                  <a:pt x="552763" y="1283983"/>
                  <a:pt x="546924" y="1290829"/>
                </a:cubicBezTo>
                <a:cubicBezTo>
                  <a:pt x="545838" y="1292087"/>
                  <a:pt x="544753" y="1293346"/>
                  <a:pt x="543635" y="1294643"/>
                </a:cubicBezTo>
                <a:cubicBezTo>
                  <a:pt x="542650" y="1295813"/>
                  <a:pt x="541666" y="1296983"/>
                  <a:pt x="540651" y="1298188"/>
                </a:cubicBezTo>
                <a:cubicBezTo>
                  <a:pt x="537294" y="1301526"/>
                  <a:pt x="533978" y="1303337"/>
                  <a:pt x="529673" y="1305565"/>
                </a:cubicBezTo>
                <a:cubicBezTo>
                  <a:pt x="527599" y="1308478"/>
                  <a:pt x="527599" y="1308478"/>
                  <a:pt x="526549" y="1311202"/>
                </a:cubicBezTo>
                <a:cubicBezTo>
                  <a:pt x="525518" y="1311202"/>
                  <a:pt x="524487" y="1311202"/>
                  <a:pt x="523425" y="1311202"/>
                </a:cubicBezTo>
                <a:cubicBezTo>
                  <a:pt x="523360" y="1311986"/>
                  <a:pt x="523296" y="1312771"/>
                  <a:pt x="523230" y="1313580"/>
                </a:cubicBezTo>
                <a:cubicBezTo>
                  <a:pt x="521863" y="1316839"/>
                  <a:pt x="521863" y="1316839"/>
                  <a:pt x="517732" y="1319739"/>
                </a:cubicBezTo>
                <a:cubicBezTo>
                  <a:pt x="511111" y="1324565"/>
                  <a:pt x="506875" y="1330731"/>
                  <a:pt x="502239" y="1337096"/>
                </a:cubicBezTo>
                <a:cubicBezTo>
                  <a:pt x="500512" y="1339427"/>
                  <a:pt x="498785" y="1341757"/>
                  <a:pt x="497058" y="1344087"/>
                </a:cubicBezTo>
                <a:cubicBezTo>
                  <a:pt x="495827" y="1345760"/>
                  <a:pt x="495827" y="1345760"/>
                  <a:pt x="494572" y="1347465"/>
                </a:cubicBezTo>
                <a:cubicBezTo>
                  <a:pt x="492366" y="1350414"/>
                  <a:pt x="490094" y="1353304"/>
                  <a:pt x="487776" y="1356181"/>
                </a:cubicBezTo>
                <a:cubicBezTo>
                  <a:pt x="484805" y="1359972"/>
                  <a:pt x="482865" y="1363193"/>
                  <a:pt x="481248" y="1367571"/>
                </a:cubicBezTo>
                <a:cubicBezTo>
                  <a:pt x="480216" y="1367571"/>
                  <a:pt x="479186" y="1367571"/>
                  <a:pt x="478123" y="1367571"/>
                </a:cubicBezTo>
                <a:cubicBezTo>
                  <a:pt x="477963" y="1368558"/>
                  <a:pt x="477801" y="1369547"/>
                  <a:pt x="477635" y="1370565"/>
                </a:cubicBezTo>
                <a:cubicBezTo>
                  <a:pt x="475602" y="1378236"/>
                  <a:pt x="471952" y="1383371"/>
                  <a:pt x="465626" y="1388709"/>
                </a:cubicBezTo>
                <a:cubicBezTo>
                  <a:pt x="462272" y="1392748"/>
                  <a:pt x="462272" y="1392748"/>
                  <a:pt x="461233" y="1397340"/>
                </a:cubicBezTo>
                <a:cubicBezTo>
                  <a:pt x="460030" y="1401461"/>
                  <a:pt x="458298" y="1404501"/>
                  <a:pt x="455765" y="1408086"/>
                </a:cubicBezTo>
                <a:cubicBezTo>
                  <a:pt x="442829" y="1428603"/>
                  <a:pt x="441572" y="1454548"/>
                  <a:pt x="439070" y="1477490"/>
                </a:cubicBezTo>
                <a:cubicBezTo>
                  <a:pt x="437524" y="1477955"/>
                  <a:pt x="435977" y="1478420"/>
                  <a:pt x="434384" y="1478899"/>
                </a:cubicBezTo>
                <a:cubicBezTo>
                  <a:pt x="433739" y="1479916"/>
                  <a:pt x="433095" y="1480933"/>
                  <a:pt x="432431" y="1481982"/>
                </a:cubicBezTo>
                <a:cubicBezTo>
                  <a:pt x="428860" y="1487159"/>
                  <a:pt x="424291" y="1490903"/>
                  <a:pt x="418763" y="1494401"/>
                </a:cubicBezTo>
                <a:cubicBezTo>
                  <a:pt x="417731" y="1494401"/>
                  <a:pt x="416701" y="1494401"/>
                  <a:pt x="415639" y="1494401"/>
                </a:cubicBezTo>
                <a:cubicBezTo>
                  <a:pt x="415639" y="1495330"/>
                  <a:pt x="415639" y="1496260"/>
                  <a:pt x="415639" y="1497219"/>
                </a:cubicBezTo>
                <a:cubicBezTo>
                  <a:pt x="412546" y="1497684"/>
                  <a:pt x="409453" y="1498149"/>
                  <a:pt x="406265" y="1498628"/>
                </a:cubicBezTo>
                <a:cubicBezTo>
                  <a:pt x="406265" y="1499559"/>
                  <a:pt x="406265" y="1500488"/>
                  <a:pt x="406265" y="1501447"/>
                </a:cubicBezTo>
                <a:cubicBezTo>
                  <a:pt x="395955" y="1501447"/>
                  <a:pt x="385645" y="1501447"/>
                  <a:pt x="375023" y="1501447"/>
                </a:cubicBezTo>
                <a:lnTo>
                  <a:pt x="375023" y="1499438"/>
                </a:lnTo>
                <a:lnTo>
                  <a:pt x="374964" y="1499436"/>
                </a:lnTo>
                <a:lnTo>
                  <a:pt x="373179" y="1498628"/>
                </a:lnTo>
                <a:lnTo>
                  <a:pt x="365650" y="1498628"/>
                </a:lnTo>
                <a:lnTo>
                  <a:pt x="363134" y="1494087"/>
                </a:lnTo>
                <a:lnTo>
                  <a:pt x="362171" y="1493651"/>
                </a:lnTo>
                <a:cubicBezTo>
                  <a:pt x="361656" y="1492722"/>
                  <a:pt x="361140" y="1491791"/>
                  <a:pt x="360609" y="1490833"/>
                </a:cubicBezTo>
                <a:cubicBezTo>
                  <a:pt x="361640" y="1490833"/>
                  <a:pt x="362671" y="1490833"/>
                  <a:pt x="363733" y="1490833"/>
                </a:cubicBezTo>
                <a:lnTo>
                  <a:pt x="363733" y="1489980"/>
                </a:lnTo>
                <a:lnTo>
                  <a:pt x="348467" y="1481717"/>
                </a:lnTo>
                <a:lnTo>
                  <a:pt x="343872" y="1461078"/>
                </a:lnTo>
                <a:lnTo>
                  <a:pt x="343656" y="1463649"/>
                </a:lnTo>
                <a:cubicBezTo>
                  <a:pt x="343541" y="1465230"/>
                  <a:pt x="343541" y="1465230"/>
                  <a:pt x="343424" y="1466842"/>
                </a:cubicBezTo>
                <a:cubicBezTo>
                  <a:pt x="342908" y="1466842"/>
                  <a:pt x="342393" y="1466842"/>
                  <a:pt x="341861" y="1466842"/>
                </a:cubicBezTo>
                <a:cubicBezTo>
                  <a:pt x="340987" y="1449564"/>
                  <a:pt x="340999" y="1434331"/>
                  <a:pt x="354143" y="1420549"/>
                </a:cubicBezTo>
                <a:cubicBezTo>
                  <a:pt x="360765" y="1414011"/>
                  <a:pt x="367631" y="1407790"/>
                  <a:pt x="376229" y="1403427"/>
                </a:cubicBezTo>
                <a:lnTo>
                  <a:pt x="379491" y="1404408"/>
                </a:lnTo>
                <a:lnTo>
                  <a:pt x="379710" y="1404210"/>
                </a:lnTo>
                <a:cubicBezTo>
                  <a:pt x="380290" y="1402902"/>
                  <a:pt x="380290" y="1402902"/>
                  <a:pt x="380882" y="1401568"/>
                </a:cubicBezTo>
                <a:cubicBezTo>
                  <a:pt x="383675" y="1397284"/>
                  <a:pt x="387587" y="1395610"/>
                  <a:pt x="392207" y="1392936"/>
                </a:cubicBezTo>
                <a:lnTo>
                  <a:pt x="399542" y="1386774"/>
                </a:lnTo>
                <a:lnTo>
                  <a:pt x="405485" y="1378917"/>
                </a:lnTo>
                <a:cubicBezTo>
                  <a:pt x="408065" y="1375974"/>
                  <a:pt x="410029" y="1372774"/>
                  <a:pt x="412008" y="1369481"/>
                </a:cubicBezTo>
                <a:cubicBezTo>
                  <a:pt x="414759" y="1365166"/>
                  <a:pt x="417963" y="1361131"/>
                  <a:pt x="421130" y="1357057"/>
                </a:cubicBezTo>
                <a:cubicBezTo>
                  <a:pt x="423073" y="1354140"/>
                  <a:pt x="423985" y="1351767"/>
                  <a:pt x="424676" y="1348443"/>
                </a:cubicBezTo>
                <a:lnTo>
                  <a:pt x="427275" y="1348443"/>
                </a:lnTo>
                <a:lnTo>
                  <a:pt x="428135" y="1345727"/>
                </a:lnTo>
                <a:cubicBezTo>
                  <a:pt x="429370" y="1341828"/>
                  <a:pt x="430645" y="1338666"/>
                  <a:pt x="432822" y="1335158"/>
                </a:cubicBezTo>
                <a:cubicBezTo>
                  <a:pt x="433853" y="1335158"/>
                  <a:pt x="434884" y="1335158"/>
                  <a:pt x="435946" y="1335158"/>
                </a:cubicBezTo>
                <a:cubicBezTo>
                  <a:pt x="436526" y="1333385"/>
                  <a:pt x="437106" y="1331613"/>
                  <a:pt x="437704" y="1329786"/>
                </a:cubicBezTo>
                <a:cubicBezTo>
                  <a:pt x="440162" y="1323132"/>
                  <a:pt x="443602" y="1317301"/>
                  <a:pt x="447394" y="1311196"/>
                </a:cubicBezTo>
                <a:cubicBezTo>
                  <a:pt x="456493" y="1296485"/>
                  <a:pt x="463325" y="1281864"/>
                  <a:pt x="469287" y="1265964"/>
                </a:cubicBezTo>
                <a:cubicBezTo>
                  <a:pt x="474589" y="1252134"/>
                  <a:pt x="474589" y="1252134"/>
                  <a:pt x="478178" y="1246787"/>
                </a:cubicBezTo>
                <a:cubicBezTo>
                  <a:pt x="481232" y="1240246"/>
                  <a:pt x="480204" y="1232766"/>
                  <a:pt x="480179" y="1225768"/>
                </a:cubicBezTo>
                <a:cubicBezTo>
                  <a:pt x="480174" y="1222894"/>
                  <a:pt x="480210" y="1220023"/>
                  <a:pt x="480250" y="1217149"/>
                </a:cubicBezTo>
                <a:cubicBezTo>
                  <a:pt x="480260" y="1199291"/>
                  <a:pt x="476718" y="1187768"/>
                  <a:pt x="462972" y="1174827"/>
                </a:cubicBezTo>
                <a:cubicBezTo>
                  <a:pt x="461148" y="1173192"/>
                  <a:pt x="459312" y="1171566"/>
                  <a:pt x="457468" y="1169949"/>
                </a:cubicBezTo>
                <a:cubicBezTo>
                  <a:pt x="451412" y="1164522"/>
                  <a:pt x="445876" y="1158660"/>
                  <a:pt x="440657" y="1152570"/>
                </a:cubicBezTo>
                <a:cubicBezTo>
                  <a:pt x="430474" y="1140786"/>
                  <a:pt x="418230" y="1128998"/>
                  <a:pt x="403142" y="1122366"/>
                </a:cubicBezTo>
                <a:cubicBezTo>
                  <a:pt x="402626" y="1121436"/>
                  <a:pt x="402110" y="1120506"/>
                  <a:pt x="401579" y="1119547"/>
                </a:cubicBezTo>
                <a:cubicBezTo>
                  <a:pt x="390472" y="1115326"/>
                  <a:pt x="375918" y="1114217"/>
                  <a:pt x="364564" y="1118209"/>
                </a:cubicBezTo>
                <a:cubicBezTo>
                  <a:pt x="362278" y="1119428"/>
                  <a:pt x="360026" y="1120704"/>
                  <a:pt x="357822" y="1122041"/>
                </a:cubicBezTo>
                <a:cubicBezTo>
                  <a:pt x="354521" y="1123884"/>
                  <a:pt x="351862" y="1124582"/>
                  <a:pt x="348077" y="1125273"/>
                </a:cubicBezTo>
                <a:cubicBezTo>
                  <a:pt x="341765" y="1126696"/>
                  <a:pt x="339382" y="1128619"/>
                  <a:pt x="334408" y="1132230"/>
                </a:cubicBezTo>
                <a:cubicBezTo>
                  <a:pt x="332284" y="1132909"/>
                  <a:pt x="330131" y="1133519"/>
                  <a:pt x="327964" y="1134080"/>
                </a:cubicBezTo>
                <a:cubicBezTo>
                  <a:pt x="309975" y="1139067"/>
                  <a:pt x="290592" y="1152117"/>
                  <a:pt x="279734" y="1166051"/>
                </a:cubicBezTo>
                <a:cubicBezTo>
                  <a:pt x="277929" y="1169534"/>
                  <a:pt x="277929" y="1169534"/>
                  <a:pt x="276609" y="1173098"/>
                </a:cubicBezTo>
                <a:cubicBezTo>
                  <a:pt x="272413" y="1180804"/>
                  <a:pt x="269322" y="1184144"/>
                  <a:pt x="260988" y="1188599"/>
                </a:cubicBezTo>
                <a:cubicBezTo>
                  <a:pt x="259988" y="1189435"/>
                  <a:pt x="258987" y="1190271"/>
                  <a:pt x="257956" y="1191132"/>
                </a:cubicBezTo>
                <a:lnTo>
                  <a:pt x="243805" y="1196629"/>
                </a:lnTo>
                <a:lnTo>
                  <a:pt x="243805" y="1194236"/>
                </a:lnTo>
                <a:lnTo>
                  <a:pt x="240288" y="1194765"/>
                </a:lnTo>
                <a:lnTo>
                  <a:pt x="243374" y="1194765"/>
                </a:lnTo>
                <a:lnTo>
                  <a:pt x="243374" y="1196797"/>
                </a:lnTo>
                <a:lnTo>
                  <a:pt x="243805" y="1196629"/>
                </a:lnTo>
                <a:lnTo>
                  <a:pt x="243805" y="1197055"/>
                </a:lnTo>
                <a:lnTo>
                  <a:pt x="243374" y="1197055"/>
                </a:lnTo>
                <a:lnTo>
                  <a:pt x="243374" y="1197584"/>
                </a:lnTo>
                <a:lnTo>
                  <a:pt x="241319" y="1197595"/>
                </a:lnTo>
                <a:lnTo>
                  <a:pt x="238009" y="1198881"/>
                </a:lnTo>
                <a:cubicBezTo>
                  <a:pt x="231012" y="1199584"/>
                  <a:pt x="223620" y="1198927"/>
                  <a:pt x="215687" y="1198464"/>
                </a:cubicBezTo>
                <a:lnTo>
                  <a:pt x="215687" y="1197734"/>
                </a:lnTo>
                <a:lnTo>
                  <a:pt x="213936" y="1197744"/>
                </a:lnTo>
                <a:cubicBezTo>
                  <a:pt x="210570" y="1197584"/>
                  <a:pt x="210570" y="1197584"/>
                  <a:pt x="207446" y="1196175"/>
                </a:cubicBezTo>
                <a:lnTo>
                  <a:pt x="207822" y="1195610"/>
                </a:lnTo>
                <a:lnTo>
                  <a:pt x="184737" y="1180936"/>
                </a:lnTo>
                <a:cubicBezTo>
                  <a:pt x="180258" y="1172216"/>
                  <a:pt x="179226" y="1164355"/>
                  <a:pt x="179270" y="1154866"/>
                </a:cubicBezTo>
                <a:cubicBezTo>
                  <a:pt x="179233" y="1153260"/>
                  <a:pt x="179233" y="1153260"/>
                  <a:pt x="179194" y="1151621"/>
                </a:cubicBezTo>
                <a:cubicBezTo>
                  <a:pt x="179182" y="1139523"/>
                  <a:pt x="183658" y="1128837"/>
                  <a:pt x="193195" y="1120065"/>
                </a:cubicBezTo>
                <a:cubicBezTo>
                  <a:pt x="204265" y="1110959"/>
                  <a:pt x="215062" y="1110626"/>
                  <a:pt x="229551" y="1110299"/>
                </a:cubicBezTo>
                <a:cubicBezTo>
                  <a:pt x="240132" y="1110024"/>
                  <a:pt x="250506" y="1109652"/>
                  <a:pt x="260988" y="1108274"/>
                </a:cubicBezTo>
                <a:cubicBezTo>
                  <a:pt x="260988" y="1107344"/>
                  <a:pt x="260988" y="1106413"/>
                  <a:pt x="260988" y="1105455"/>
                </a:cubicBezTo>
                <a:cubicBezTo>
                  <a:pt x="261953" y="1105078"/>
                  <a:pt x="262918" y="1104699"/>
                  <a:pt x="263911" y="1104310"/>
                </a:cubicBezTo>
                <a:cubicBezTo>
                  <a:pt x="272903" y="1100557"/>
                  <a:pt x="279802" y="1096307"/>
                  <a:pt x="286995" y="1090185"/>
                </a:cubicBezTo>
                <a:cubicBezTo>
                  <a:pt x="290956" y="1086897"/>
                  <a:pt x="295114" y="1083955"/>
                  <a:pt x="299358" y="1080970"/>
                </a:cubicBezTo>
                <a:cubicBezTo>
                  <a:pt x="306613" y="1075692"/>
                  <a:pt x="312234" y="1070023"/>
                  <a:pt x="317762" y="1063272"/>
                </a:cubicBezTo>
                <a:cubicBezTo>
                  <a:pt x="320349" y="1060360"/>
                  <a:pt x="320349" y="1060360"/>
                  <a:pt x="325035" y="1057542"/>
                </a:cubicBezTo>
                <a:cubicBezTo>
                  <a:pt x="329912" y="1045734"/>
                  <a:pt x="327928" y="1035103"/>
                  <a:pt x="325328" y="1023104"/>
                </a:cubicBezTo>
                <a:cubicBezTo>
                  <a:pt x="325069" y="1021831"/>
                  <a:pt x="324811" y="1020559"/>
                  <a:pt x="324544" y="1019247"/>
                </a:cubicBezTo>
                <a:cubicBezTo>
                  <a:pt x="322876" y="1011407"/>
                  <a:pt x="320562" y="1004340"/>
                  <a:pt x="317225" y="996945"/>
                </a:cubicBezTo>
                <a:cubicBezTo>
                  <a:pt x="316619" y="995541"/>
                  <a:pt x="316013" y="994137"/>
                  <a:pt x="315388" y="992690"/>
                </a:cubicBezTo>
                <a:cubicBezTo>
                  <a:pt x="306307" y="972561"/>
                  <a:pt x="298931" y="959343"/>
                  <a:pt x="276232" y="950666"/>
                </a:cubicBezTo>
                <a:cubicBezTo>
                  <a:pt x="274810" y="950127"/>
                  <a:pt x="273388" y="949587"/>
                  <a:pt x="271923" y="949031"/>
                </a:cubicBezTo>
                <a:cubicBezTo>
                  <a:pt x="270129" y="948244"/>
                  <a:pt x="270129" y="948244"/>
                  <a:pt x="268299" y="947441"/>
                </a:cubicBezTo>
                <a:cubicBezTo>
                  <a:pt x="247071" y="938140"/>
                  <a:pt x="222259" y="939051"/>
                  <a:pt x="199187" y="938991"/>
                </a:cubicBezTo>
                <a:cubicBezTo>
                  <a:pt x="197383" y="938984"/>
                  <a:pt x="195579" y="938978"/>
                  <a:pt x="193719" y="938971"/>
                </a:cubicBezTo>
                <a:cubicBezTo>
                  <a:pt x="192010" y="938974"/>
                  <a:pt x="190300" y="938977"/>
                  <a:pt x="188539" y="938980"/>
                </a:cubicBezTo>
                <a:cubicBezTo>
                  <a:pt x="187000" y="938981"/>
                  <a:pt x="185460" y="938983"/>
                  <a:pt x="183874" y="938985"/>
                </a:cubicBezTo>
                <a:cubicBezTo>
                  <a:pt x="180148" y="939150"/>
                  <a:pt x="177092" y="939720"/>
                  <a:pt x="173509" y="940576"/>
                </a:cubicBezTo>
                <a:cubicBezTo>
                  <a:pt x="169458" y="940674"/>
                  <a:pt x="165452" y="940710"/>
                  <a:pt x="161403" y="940664"/>
                </a:cubicBezTo>
                <a:cubicBezTo>
                  <a:pt x="160314" y="940658"/>
                  <a:pt x="159224" y="940651"/>
                  <a:pt x="158102" y="940645"/>
                </a:cubicBezTo>
                <a:lnTo>
                  <a:pt x="150875" y="940583"/>
                </a:lnTo>
                <a:lnTo>
                  <a:pt x="148425" y="940717"/>
                </a:lnTo>
                <a:lnTo>
                  <a:pt x="149617" y="940995"/>
                </a:lnTo>
                <a:cubicBezTo>
                  <a:pt x="149617" y="941459"/>
                  <a:pt x="149617" y="941924"/>
                  <a:pt x="149617" y="942404"/>
                </a:cubicBezTo>
                <a:cubicBezTo>
                  <a:pt x="148630" y="942558"/>
                  <a:pt x="147643" y="942712"/>
                  <a:pt x="146627" y="942871"/>
                </a:cubicBezTo>
                <a:cubicBezTo>
                  <a:pt x="134541" y="944804"/>
                  <a:pt x="122553" y="947081"/>
                  <a:pt x="110564" y="949449"/>
                </a:cubicBezTo>
                <a:lnTo>
                  <a:pt x="111283" y="946205"/>
                </a:lnTo>
                <a:lnTo>
                  <a:pt x="101652" y="956078"/>
                </a:lnTo>
                <a:cubicBezTo>
                  <a:pt x="99870" y="957260"/>
                  <a:pt x="99870" y="957260"/>
                  <a:pt x="98052" y="958467"/>
                </a:cubicBezTo>
                <a:cubicBezTo>
                  <a:pt x="75683" y="972989"/>
                  <a:pt x="75683" y="972989"/>
                  <a:pt x="67286" y="972989"/>
                </a:cubicBezTo>
                <a:cubicBezTo>
                  <a:pt x="67286" y="973918"/>
                  <a:pt x="67286" y="974848"/>
                  <a:pt x="67286" y="975807"/>
                </a:cubicBezTo>
                <a:cubicBezTo>
                  <a:pt x="55713" y="979519"/>
                  <a:pt x="43549" y="980689"/>
                  <a:pt x="31942" y="976423"/>
                </a:cubicBezTo>
                <a:cubicBezTo>
                  <a:pt x="19953" y="970870"/>
                  <a:pt x="10774" y="964932"/>
                  <a:pt x="5673" y="953419"/>
                </a:cubicBezTo>
                <a:cubicBezTo>
                  <a:pt x="4801" y="950441"/>
                  <a:pt x="4801" y="950441"/>
                  <a:pt x="4801" y="944804"/>
                </a:cubicBezTo>
                <a:cubicBezTo>
                  <a:pt x="3770" y="944804"/>
                  <a:pt x="2739" y="944804"/>
                  <a:pt x="1676" y="944804"/>
                </a:cubicBezTo>
                <a:cubicBezTo>
                  <a:pt x="-34" y="940174"/>
                  <a:pt x="-41" y="936720"/>
                  <a:pt x="17" y="931857"/>
                </a:cubicBezTo>
                <a:cubicBezTo>
                  <a:pt x="31" y="930325"/>
                  <a:pt x="45" y="928794"/>
                  <a:pt x="59" y="927216"/>
                </a:cubicBezTo>
                <a:cubicBezTo>
                  <a:pt x="78" y="926044"/>
                  <a:pt x="96" y="924873"/>
                  <a:pt x="115" y="923666"/>
                </a:cubicBezTo>
                <a:cubicBezTo>
                  <a:pt x="1145" y="923666"/>
                  <a:pt x="2176" y="923666"/>
                  <a:pt x="3238" y="923666"/>
                </a:cubicBezTo>
                <a:cubicBezTo>
                  <a:pt x="3238" y="921805"/>
                  <a:pt x="3238" y="919945"/>
                  <a:pt x="3238" y="918029"/>
                </a:cubicBezTo>
                <a:cubicBezTo>
                  <a:pt x="4270" y="918029"/>
                  <a:pt x="5300" y="918029"/>
                  <a:pt x="6363" y="918029"/>
                </a:cubicBezTo>
                <a:cubicBezTo>
                  <a:pt x="6459" y="916314"/>
                  <a:pt x="6556" y="914599"/>
                  <a:pt x="6656" y="912832"/>
                </a:cubicBezTo>
                <a:cubicBezTo>
                  <a:pt x="7542" y="906455"/>
                  <a:pt x="10104" y="903750"/>
                  <a:pt x="15736" y="899709"/>
                </a:cubicBezTo>
                <a:lnTo>
                  <a:pt x="17243" y="898894"/>
                </a:lnTo>
                <a:lnTo>
                  <a:pt x="16800" y="898694"/>
                </a:lnTo>
                <a:lnTo>
                  <a:pt x="24988" y="894101"/>
                </a:lnTo>
                <a:lnTo>
                  <a:pt x="26768" y="892399"/>
                </a:lnTo>
                <a:cubicBezTo>
                  <a:pt x="28282" y="891122"/>
                  <a:pt x="29038" y="890483"/>
                  <a:pt x="30198" y="890164"/>
                </a:cubicBezTo>
                <a:lnTo>
                  <a:pt x="32204" y="890054"/>
                </a:lnTo>
                <a:lnTo>
                  <a:pt x="38914" y="886291"/>
                </a:lnTo>
                <a:cubicBezTo>
                  <a:pt x="47169" y="885770"/>
                  <a:pt x="55396" y="885800"/>
                  <a:pt x="63664" y="886011"/>
                </a:cubicBezTo>
                <a:lnTo>
                  <a:pt x="63664" y="886531"/>
                </a:lnTo>
                <a:lnTo>
                  <a:pt x="70784" y="886647"/>
                </a:lnTo>
                <a:cubicBezTo>
                  <a:pt x="74787" y="887000"/>
                  <a:pt x="77233" y="887948"/>
                  <a:pt x="82126" y="889845"/>
                </a:cubicBezTo>
                <a:cubicBezTo>
                  <a:pt x="92427" y="893791"/>
                  <a:pt x="103139" y="893710"/>
                  <a:pt x="114149" y="892663"/>
                </a:cubicBezTo>
                <a:cubicBezTo>
                  <a:pt x="115696" y="891733"/>
                  <a:pt x="117242" y="890803"/>
                  <a:pt x="118836" y="889845"/>
                </a:cubicBezTo>
                <a:cubicBezTo>
                  <a:pt x="123097" y="888850"/>
                  <a:pt x="127325" y="887944"/>
                  <a:pt x="131626" y="887114"/>
                </a:cubicBezTo>
                <a:cubicBezTo>
                  <a:pt x="139750" y="885542"/>
                  <a:pt x="147376" y="883653"/>
                  <a:pt x="155116" y="880913"/>
                </a:cubicBezTo>
                <a:cubicBezTo>
                  <a:pt x="158498" y="879775"/>
                  <a:pt x="161861" y="879076"/>
                  <a:pt x="165406" y="878483"/>
                </a:cubicBezTo>
                <a:cubicBezTo>
                  <a:pt x="170342" y="877655"/>
                  <a:pt x="172265" y="876971"/>
                  <a:pt x="176634" y="874343"/>
                </a:cubicBezTo>
                <a:cubicBezTo>
                  <a:pt x="179863" y="873335"/>
                  <a:pt x="183123" y="872404"/>
                  <a:pt x="186397" y="871524"/>
                </a:cubicBezTo>
                <a:cubicBezTo>
                  <a:pt x="189107" y="870786"/>
                  <a:pt x="189107" y="870786"/>
                  <a:pt x="191871" y="870033"/>
                </a:cubicBezTo>
                <a:cubicBezTo>
                  <a:pt x="195731" y="869023"/>
                  <a:pt x="199587" y="868093"/>
                  <a:pt x="203483" y="867208"/>
                </a:cubicBezTo>
                <a:cubicBezTo>
                  <a:pt x="208339" y="866199"/>
                  <a:pt x="208339" y="866199"/>
                  <a:pt x="211001" y="861660"/>
                </a:cubicBezTo>
                <a:cubicBezTo>
                  <a:pt x="214174" y="860102"/>
                  <a:pt x="214174" y="860102"/>
                  <a:pt x="218031" y="858577"/>
                </a:cubicBezTo>
                <a:cubicBezTo>
                  <a:pt x="236068" y="850629"/>
                  <a:pt x="245199" y="840442"/>
                  <a:pt x="254740" y="825020"/>
                </a:cubicBezTo>
                <a:cubicBezTo>
                  <a:pt x="255771" y="823625"/>
                  <a:pt x="256802" y="822230"/>
                  <a:pt x="257864" y="820792"/>
                </a:cubicBezTo>
                <a:cubicBezTo>
                  <a:pt x="258359" y="817506"/>
                  <a:pt x="258359" y="817506"/>
                  <a:pt x="258318" y="813810"/>
                </a:cubicBezTo>
                <a:cubicBezTo>
                  <a:pt x="258338" y="812388"/>
                  <a:pt x="258358" y="810967"/>
                  <a:pt x="258378" y="809502"/>
                </a:cubicBezTo>
                <a:cubicBezTo>
                  <a:pt x="258382" y="807965"/>
                  <a:pt x="258385" y="806429"/>
                  <a:pt x="258389" y="804845"/>
                </a:cubicBezTo>
                <a:cubicBezTo>
                  <a:pt x="258399" y="803258"/>
                  <a:pt x="258410" y="801671"/>
                  <a:pt x="258420" y="800036"/>
                </a:cubicBezTo>
                <a:cubicBezTo>
                  <a:pt x="258436" y="796670"/>
                  <a:pt x="258443" y="793305"/>
                  <a:pt x="258443" y="789939"/>
                </a:cubicBezTo>
                <a:cubicBezTo>
                  <a:pt x="258450" y="784823"/>
                  <a:pt x="258506" y="779709"/>
                  <a:pt x="258566" y="774594"/>
                </a:cubicBezTo>
                <a:cubicBezTo>
                  <a:pt x="258575" y="771319"/>
                  <a:pt x="258581" y="768045"/>
                  <a:pt x="258584" y="764771"/>
                </a:cubicBezTo>
                <a:cubicBezTo>
                  <a:pt x="258618" y="762495"/>
                  <a:pt x="258618" y="762495"/>
                  <a:pt x="258652" y="760174"/>
                </a:cubicBezTo>
                <a:cubicBezTo>
                  <a:pt x="258586" y="750030"/>
                  <a:pt x="256266" y="742584"/>
                  <a:pt x="251616" y="733421"/>
                </a:cubicBezTo>
                <a:cubicBezTo>
                  <a:pt x="250163" y="729605"/>
                  <a:pt x="248880" y="725752"/>
                  <a:pt x="247613" y="721883"/>
                </a:cubicBezTo>
                <a:cubicBezTo>
                  <a:pt x="245789" y="716328"/>
                  <a:pt x="243913" y="710939"/>
                  <a:pt x="241291" y="705644"/>
                </a:cubicBezTo>
                <a:cubicBezTo>
                  <a:pt x="238691" y="700096"/>
                  <a:pt x="238136" y="695685"/>
                  <a:pt x="237557" y="689735"/>
                </a:cubicBezTo>
                <a:cubicBezTo>
                  <a:pt x="244977" y="685507"/>
                  <a:pt x="244977" y="685507"/>
                  <a:pt x="248492" y="685507"/>
                </a:cubicBezTo>
                <a:cubicBezTo>
                  <a:pt x="248492" y="684112"/>
                  <a:pt x="248492" y="682717"/>
                  <a:pt x="248492" y="681279"/>
                </a:cubicBezTo>
                <a:cubicBezTo>
                  <a:pt x="245914" y="680815"/>
                  <a:pt x="243337" y="680350"/>
                  <a:pt x="240681" y="679870"/>
                </a:cubicBezTo>
                <a:cubicBezTo>
                  <a:pt x="240681" y="678940"/>
                  <a:pt x="240681" y="678010"/>
                  <a:pt x="240681" y="677052"/>
                </a:cubicBezTo>
                <a:cubicBezTo>
                  <a:pt x="239827" y="676917"/>
                  <a:pt x="238973" y="676783"/>
                  <a:pt x="238094" y="676645"/>
                </a:cubicBezTo>
                <a:cubicBezTo>
                  <a:pt x="233442" y="675371"/>
                  <a:pt x="229939" y="673242"/>
                  <a:pt x="225841" y="670886"/>
                </a:cubicBezTo>
                <a:cubicBezTo>
                  <a:pt x="217808" y="666564"/>
                  <a:pt x="210635" y="664241"/>
                  <a:pt x="201531" y="662508"/>
                </a:cubicBezTo>
                <a:cubicBezTo>
                  <a:pt x="196896" y="661541"/>
                  <a:pt x="192682" y="660199"/>
                  <a:pt x="188252" y="658644"/>
                </a:cubicBezTo>
                <a:lnTo>
                  <a:pt x="182431" y="657327"/>
                </a:lnTo>
                <a:lnTo>
                  <a:pt x="182431" y="657613"/>
                </a:lnTo>
                <a:cubicBezTo>
                  <a:pt x="170575" y="657148"/>
                  <a:pt x="158718" y="656683"/>
                  <a:pt x="146503" y="656204"/>
                </a:cubicBezTo>
                <a:cubicBezTo>
                  <a:pt x="146503" y="657133"/>
                  <a:pt x="146503" y="658064"/>
                  <a:pt x="146503" y="659022"/>
                </a:cubicBezTo>
                <a:cubicBezTo>
                  <a:pt x="134359" y="662326"/>
                  <a:pt x="123013" y="663700"/>
                  <a:pt x="110378" y="663778"/>
                </a:cubicBezTo>
                <a:cubicBezTo>
                  <a:pt x="108435" y="663806"/>
                  <a:pt x="108435" y="663806"/>
                  <a:pt x="106453" y="663836"/>
                </a:cubicBezTo>
                <a:cubicBezTo>
                  <a:pt x="105231" y="663828"/>
                  <a:pt x="104009" y="663820"/>
                  <a:pt x="102751" y="663811"/>
                </a:cubicBezTo>
                <a:cubicBezTo>
                  <a:pt x="101117" y="663804"/>
                  <a:pt x="101117" y="663804"/>
                  <a:pt x="99449" y="663797"/>
                </a:cubicBezTo>
                <a:cubicBezTo>
                  <a:pt x="95696" y="663097"/>
                  <a:pt x="94265" y="661615"/>
                  <a:pt x="91828" y="659022"/>
                </a:cubicBezTo>
                <a:cubicBezTo>
                  <a:pt x="93890" y="659022"/>
                  <a:pt x="95953" y="659022"/>
                  <a:pt x="98077" y="659022"/>
                </a:cubicBezTo>
                <a:cubicBezTo>
                  <a:pt x="98077" y="659952"/>
                  <a:pt x="98077" y="660882"/>
                  <a:pt x="98077" y="661841"/>
                </a:cubicBezTo>
                <a:cubicBezTo>
                  <a:pt x="108735" y="662045"/>
                  <a:pt x="114063" y="662148"/>
                  <a:pt x="119023" y="661357"/>
                </a:cubicBezTo>
                <a:lnTo>
                  <a:pt x="119536" y="661197"/>
                </a:lnTo>
                <a:lnTo>
                  <a:pt x="109853" y="661639"/>
                </a:lnTo>
                <a:cubicBezTo>
                  <a:pt x="108764" y="661632"/>
                  <a:pt x="107675" y="661626"/>
                  <a:pt x="106552" y="661619"/>
                </a:cubicBezTo>
                <a:cubicBezTo>
                  <a:pt x="103877" y="661603"/>
                  <a:pt x="101203" y="661577"/>
                  <a:pt x="98528" y="661550"/>
                </a:cubicBezTo>
                <a:cubicBezTo>
                  <a:pt x="98528" y="660620"/>
                  <a:pt x="98528" y="659691"/>
                  <a:pt x="98528" y="658732"/>
                </a:cubicBezTo>
                <a:cubicBezTo>
                  <a:pt x="95435" y="658267"/>
                  <a:pt x="92342" y="657802"/>
                  <a:pt x="89155" y="657323"/>
                </a:cubicBezTo>
                <a:cubicBezTo>
                  <a:pt x="89155" y="656393"/>
                  <a:pt x="89155" y="655462"/>
                  <a:pt x="89155" y="654504"/>
                </a:cubicBezTo>
                <a:cubicBezTo>
                  <a:pt x="87790" y="653978"/>
                  <a:pt x="87790" y="653978"/>
                  <a:pt x="86397" y="653442"/>
                </a:cubicBezTo>
                <a:cubicBezTo>
                  <a:pt x="82415" y="651438"/>
                  <a:pt x="80039" y="649232"/>
                  <a:pt x="77049" y="646137"/>
                </a:cubicBezTo>
                <a:cubicBezTo>
                  <a:pt x="75611" y="644679"/>
                  <a:pt x="75611" y="644679"/>
                  <a:pt x="74145" y="643192"/>
                </a:cubicBezTo>
                <a:cubicBezTo>
                  <a:pt x="71972" y="640412"/>
                  <a:pt x="71972" y="640412"/>
                  <a:pt x="71972" y="636185"/>
                </a:cubicBezTo>
                <a:cubicBezTo>
                  <a:pt x="70941" y="636185"/>
                  <a:pt x="69910" y="636185"/>
                  <a:pt x="68848" y="636185"/>
                </a:cubicBezTo>
                <a:cubicBezTo>
                  <a:pt x="64250" y="621928"/>
                  <a:pt x="64695" y="609404"/>
                  <a:pt x="70410" y="595317"/>
                </a:cubicBezTo>
                <a:cubicBezTo>
                  <a:pt x="73096" y="591142"/>
                  <a:pt x="76144" y="587574"/>
                  <a:pt x="79782" y="584043"/>
                </a:cubicBezTo>
                <a:cubicBezTo>
                  <a:pt x="81205" y="582594"/>
                  <a:pt x="81205" y="582594"/>
                  <a:pt x="82656" y="581115"/>
                </a:cubicBezTo>
                <a:cubicBezTo>
                  <a:pt x="91488" y="574027"/>
                  <a:pt x="105133" y="571806"/>
                  <a:pt x="116694" y="572323"/>
                </a:cubicBezTo>
                <a:cubicBezTo>
                  <a:pt x="131556" y="574113"/>
                  <a:pt x="142046" y="580551"/>
                  <a:pt x="152031" y="590385"/>
                </a:cubicBezTo>
                <a:cubicBezTo>
                  <a:pt x="162272" y="600009"/>
                  <a:pt x="176992" y="605062"/>
                  <a:pt x="191474" y="605886"/>
                </a:cubicBezTo>
                <a:cubicBezTo>
                  <a:pt x="196845" y="606192"/>
                  <a:pt x="201203" y="606463"/>
                  <a:pt x="206314" y="608000"/>
                </a:cubicBezTo>
                <a:cubicBezTo>
                  <a:pt x="206314" y="608930"/>
                  <a:pt x="206314" y="609860"/>
                  <a:pt x="206314" y="610818"/>
                </a:cubicBezTo>
                <a:cubicBezTo>
                  <a:pt x="215689" y="610902"/>
                  <a:pt x="225058" y="610898"/>
                  <a:pt x="234433" y="610818"/>
                </a:cubicBezTo>
                <a:cubicBezTo>
                  <a:pt x="236112" y="610813"/>
                  <a:pt x="237791" y="610808"/>
                  <a:pt x="239522" y="610802"/>
                </a:cubicBezTo>
                <a:cubicBezTo>
                  <a:pt x="251005" y="610364"/>
                  <a:pt x="259257" y="606564"/>
                  <a:pt x="268799" y="600954"/>
                </a:cubicBezTo>
                <a:cubicBezTo>
                  <a:pt x="269770" y="600416"/>
                  <a:pt x="270740" y="599879"/>
                  <a:pt x="271740" y="599325"/>
                </a:cubicBezTo>
                <a:cubicBezTo>
                  <a:pt x="279452" y="594430"/>
                  <a:pt x="281420" y="587464"/>
                  <a:pt x="284420" y="579816"/>
                </a:cubicBezTo>
                <a:cubicBezTo>
                  <a:pt x="286047" y="576075"/>
                  <a:pt x="287725" y="572353"/>
                  <a:pt x="289399" y="568630"/>
                </a:cubicBezTo>
                <a:cubicBezTo>
                  <a:pt x="294095" y="558121"/>
                  <a:pt x="299004" y="547070"/>
                  <a:pt x="293958" y="535838"/>
                </a:cubicBezTo>
                <a:cubicBezTo>
                  <a:pt x="292436" y="533533"/>
                  <a:pt x="290781" y="531301"/>
                  <a:pt x="289107" y="529084"/>
                </a:cubicBezTo>
                <a:cubicBezTo>
                  <a:pt x="289107" y="528153"/>
                  <a:pt x="289107" y="527223"/>
                  <a:pt x="289107" y="526265"/>
                </a:cubicBezTo>
                <a:cubicBezTo>
                  <a:pt x="287560" y="525800"/>
                  <a:pt x="286014" y="525335"/>
                  <a:pt x="284420" y="524856"/>
                </a:cubicBezTo>
                <a:cubicBezTo>
                  <a:pt x="283905" y="523461"/>
                  <a:pt x="283389" y="522066"/>
                  <a:pt x="282858" y="520628"/>
                </a:cubicBezTo>
                <a:cubicBezTo>
                  <a:pt x="280750" y="518590"/>
                  <a:pt x="280750" y="518590"/>
                  <a:pt x="277977" y="516577"/>
                </a:cubicBezTo>
                <a:cubicBezTo>
                  <a:pt x="273591" y="513232"/>
                  <a:pt x="269227" y="509874"/>
                  <a:pt x="264925" y="506443"/>
                </a:cubicBezTo>
                <a:cubicBezTo>
                  <a:pt x="253596" y="497433"/>
                  <a:pt x="242132" y="488987"/>
                  <a:pt x="229746" y="481170"/>
                </a:cubicBezTo>
                <a:cubicBezTo>
                  <a:pt x="226846" y="479266"/>
                  <a:pt x="223950" y="477358"/>
                  <a:pt x="221057" y="475445"/>
                </a:cubicBezTo>
                <a:cubicBezTo>
                  <a:pt x="218227" y="473594"/>
                  <a:pt x="215396" y="471744"/>
                  <a:pt x="212563" y="469896"/>
                </a:cubicBezTo>
                <a:cubicBezTo>
                  <a:pt x="211351" y="469102"/>
                  <a:pt x="210138" y="468309"/>
                  <a:pt x="208889" y="467491"/>
                </a:cubicBezTo>
                <a:cubicBezTo>
                  <a:pt x="202848" y="463599"/>
                  <a:pt x="196732" y="459888"/>
                  <a:pt x="190406" y="456382"/>
                </a:cubicBezTo>
                <a:cubicBezTo>
                  <a:pt x="189263" y="455748"/>
                  <a:pt x="188119" y="455114"/>
                  <a:pt x="186942" y="454460"/>
                </a:cubicBezTo>
                <a:cubicBezTo>
                  <a:pt x="184648" y="453196"/>
                  <a:pt x="182348" y="451941"/>
                  <a:pt x="180041" y="450696"/>
                </a:cubicBezTo>
                <a:cubicBezTo>
                  <a:pt x="177292" y="449185"/>
                  <a:pt x="174612" y="447571"/>
                  <a:pt x="171948" y="445940"/>
                </a:cubicBezTo>
                <a:cubicBezTo>
                  <a:pt x="171948" y="445009"/>
                  <a:pt x="171948" y="444079"/>
                  <a:pt x="171948" y="443121"/>
                </a:cubicBezTo>
                <a:cubicBezTo>
                  <a:pt x="170804" y="442985"/>
                  <a:pt x="169660" y="442848"/>
                  <a:pt x="168482" y="442708"/>
                </a:cubicBezTo>
                <a:cubicBezTo>
                  <a:pt x="163547" y="441576"/>
                  <a:pt x="161063" y="439897"/>
                  <a:pt x="157107" y="437044"/>
                </a:cubicBezTo>
                <a:cubicBezTo>
                  <a:pt x="149345" y="431895"/>
                  <a:pt x="141843" y="429626"/>
                  <a:pt x="132559" y="427510"/>
                </a:cubicBezTo>
                <a:cubicBezTo>
                  <a:pt x="128067" y="426168"/>
                  <a:pt x="126607" y="425060"/>
                  <a:pt x="123522" y="421983"/>
                </a:cubicBezTo>
                <a:cubicBezTo>
                  <a:pt x="118310" y="419033"/>
                  <a:pt x="114076" y="418794"/>
                  <a:pt x="107986" y="418730"/>
                </a:cubicBezTo>
                <a:cubicBezTo>
                  <a:pt x="106174" y="418694"/>
                  <a:pt x="104362" y="418659"/>
                  <a:pt x="102494" y="418622"/>
                </a:cubicBezTo>
                <a:cubicBezTo>
                  <a:pt x="98715" y="418573"/>
                  <a:pt x="94936" y="418529"/>
                  <a:pt x="91157" y="418490"/>
                </a:cubicBezTo>
                <a:cubicBezTo>
                  <a:pt x="78470" y="418231"/>
                  <a:pt x="65485" y="417940"/>
                  <a:pt x="55277" y="410445"/>
                </a:cubicBezTo>
                <a:cubicBezTo>
                  <a:pt x="54084" y="409137"/>
                  <a:pt x="52893" y="407829"/>
                  <a:pt x="51665" y="406481"/>
                </a:cubicBezTo>
                <a:cubicBezTo>
                  <a:pt x="49752" y="404480"/>
                  <a:pt x="47831" y="402483"/>
                  <a:pt x="45904" y="400492"/>
                </a:cubicBezTo>
                <a:cubicBezTo>
                  <a:pt x="44996" y="399526"/>
                  <a:pt x="44088" y="398559"/>
                  <a:pt x="43152" y="397564"/>
                </a:cubicBezTo>
                <a:cubicBezTo>
                  <a:pt x="40865" y="395062"/>
                  <a:pt x="40865" y="395062"/>
                  <a:pt x="37605" y="393798"/>
                </a:cubicBezTo>
                <a:lnTo>
                  <a:pt x="38995" y="368712"/>
                </a:lnTo>
                <a:lnTo>
                  <a:pt x="38666" y="369724"/>
                </a:lnTo>
                <a:cubicBezTo>
                  <a:pt x="37003" y="374506"/>
                  <a:pt x="36202" y="379113"/>
                  <a:pt x="35542" y="384081"/>
                </a:cubicBezTo>
                <a:cubicBezTo>
                  <a:pt x="30313" y="376119"/>
                  <a:pt x="31188" y="366593"/>
                  <a:pt x="33326" y="357791"/>
                </a:cubicBezTo>
                <a:cubicBezTo>
                  <a:pt x="37176" y="347767"/>
                  <a:pt x="44536" y="340769"/>
                  <a:pt x="52725" y="333349"/>
                </a:cubicBezTo>
                <a:lnTo>
                  <a:pt x="55222" y="334475"/>
                </a:lnTo>
                <a:lnTo>
                  <a:pt x="56222" y="333347"/>
                </a:lnTo>
                <a:lnTo>
                  <a:pt x="55871" y="333347"/>
                </a:lnTo>
                <a:lnTo>
                  <a:pt x="56346" y="333207"/>
                </a:lnTo>
                <a:lnTo>
                  <a:pt x="56351" y="333202"/>
                </a:lnTo>
                <a:lnTo>
                  <a:pt x="56365" y="333202"/>
                </a:lnTo>
                <a:lnTo>
                  <a:pt x="79571" y="326360"/>
                </a:lnTo>
                <a:cubicBezTo>
                  <a:pt x="87782" y="326037"/>
                  <a:pt x="96164" y="327572"/>
                  <a:pt x="104297" y="330529"/>
                </a:cubicBezTo>
                <a:lnTo>
                  <a:pt x="107170" y="334417"/>
                </a:lnTo>
                <a:lnTo>
                  <a:pt x="109366" y="336046"/>
                </a:lnTo>
                <a:lnTo>
                  <a:pt x="109463" y="336020"/>
                </a:lnTo>
                <a:lnTo>
                  <a:pt x="109463" y="336118"/>
                </a:lnTo>
                <a:lnTo>
                  <a:pt x="115226" y="340394"/>
                </a:lnTo>
                <a:lnTo>
                  <a:pt x="114010" y="340120"/>
                </a:lnTo>
                <a:lnTo>
                  <a:pt x="133285" y="357423"/>
                </a:lnTo>
                <a:cubicBezTo>
                  <a:pt x="142471" y="373187"/>
                  <a:pt x="155564" y="382744"/>
                  <a:pt x="173509" y="389571"/>
                </a:cubicBezTo>
                <a:cubicBezTo>
                  <a:pt x="176254" y="390785"/>
                  <a:pt x="178988" y="392017"/>
                  <a:pt x="181711" y="393270"/>
                </a:cubicBezTo>
                <a:cubicBezTo>
                  <a:pt x="182964" y="393833"/>
                  <a:pt x="184216" y="394396"/>
                  <a:pt x="185507" y="394976"/>
                </a:cubicBezTo>
                <a:cubicBezTo>
                  <a:pt x="187897" y="396058"/>
                  <a:pt x="190281" y="397151"/>
                  <a:pt x="192658" y="398257"/>
                </a:cubicBezTo>
                <a:cubicBezTo>
                  <a:pt x="193749" y="398762"/>
                  <a:pt x="194841" y="399267"/>
                  <a:pt x="195966" y="399788"/>
                </a:cubicBezTo>
                <a:cubicBezTo>
                  <a:pt x="196912" y="400231"/>
                  <a:pt x="197858" y="400674"/>
                  <a:pt x="198833" y="401131"/>
                </a:cubicBezTo>
                <a:cubicBezTo>
                  <a:pt x="201808" y="402326"/>
                  <a:pt x="204701" y="403032"/>
                  <a:pt x="207877" y="403663"/>
                </a:cubicBezTo>
                <a:cubicBezTo>
                  <a:pt x="207877" y="404593"/>
                  <a:pt x="207877" y="405523"/>
                  <a:pt x="207877" y="406481"/>
                </a:cubicBezTo>
                <a:cubicBezTo>
                  <a:pt x="221233" y="411377"/>
                  <a:pt x="234752" y="415503"/>
                  <a:pt x="248492" y="419428"/>
                </a:cubicBezTo>
                <a:cubicBezTo>
                  <a:pt x="250298" y="419947"/>
                  <a:pt x="252104" y="420466"/>
                  <a:pt x="253965" y="421000"/>
                </a:cubicBezTo>
                <a:cubicBezTo>
                  <a:pt x="258388" y="422270"/>
                  <a:pt x="262812" y="423537"/>
                  <a:pt x="267237" y="424801"/>
                </a:cubicBezTo>
                <a:lnTo>
                  <a:pt x="267237" y="426451"/>
                </a:lnTo>
                <a:lnTo>
                  <a:pt x="288701" y="429217"/>
                </a:lnTo>
                <a:cubicBezTo>
                  <a:pt x="288701" y="430147"/>
                  <a:pt x="288701" y="431078"/>
                  <a:pt x="288701" y="432036"/>
                </a:cubicBezTo>
                <a:cubicBezTo>
                  <a:pt x="301487" y="433472"/>
                  <a:pt x="314148" y="433662"/>
                  <a:pt x="327010" y="433628"/>
                </a:cubicBezTo>
                <a:cubicBezTo>
                  <a:pt x="330502" y="433621"/>
                  <a:pt x="333994" y="433628"/>
                  <a:pt x="337486" y="433637"/>
                </a:cubicBezTo>
                <a:cubicBezTo>
                  <a:pt x="339734" y="433637"/>
                  <a:pt x="341982" y="433635"/>
                  <a:pt x="344229" y="433632"/>
                </a:cubicBezTo>
                <a:cubicBezTo>
                  <a:pt x="347246" y="433630"/>
                  <a:pt x="347246" y="433630"/>
                  <a:pt x="350323" y="433627"/>
                </a:cubicBezTo>
                <a:cubicBezTo>
                  <a:pt x="355445" y="433459"/>
                  <a:pt x="360220" y="432915"/>
                  <a:pt x="365245" y="432036"/>
                </a:cubicBezTo>
                <a:lnTo>
                  <a:pt x="360797" y="433759"/>
                </a:lnTo>
                <a:lnTo>
                  <a:pt x="365650" y="433257"/>
                </a:lnTo>
                <a:cubicBezTo>
                  <a:pt x="366166" y="431861"/>
                  <a:pt x="366682" y="430466"/>
                  <a:pt x="367213" y="429029"/>
                </a:cubicBezTo>
                <a:cubicBezTo>
                  <a:pt x="369854" y="427628"/>
                  <a:pt x="372501" y="426234"/>
                  <a:pt x="375188" y="424906"/>
                </a:cubicBezTo>
                <a:cubicBezTo>
                  <a:pt x="390245" y="417204"/>
                  <a:pt x="397438" y="403183"/>
                  <a:pt x="404704" y="389571"/>
                </a:cubicBezTo>
                <a:cubicBezTo>
                  <a:pt x="405219" y="389105"/>
                  <a:pt x="405734" y="388641"/>
                  <a:pt x="406265" y="388161"/>
                </a:cubicBezTo>
                <a:cubicBezTo>
                  <a:pt x="406663" y="382152"/>
                  <a:pt x="406555" y="376125"/>
                  <a:pt x="406559" y="370106"/>
                </a:cubicBezTo>
                <a:cubicBezTo>
                  <a:pt x="406578" y="368412"/>
                  <a:pt x="406597" y="366718"/>
                  <a:pt x="406617" y="364973"/>
                </a:cubicBezTo>
                <a:cubicBezTo>
                  <a:pt x="406620" y="363344"/>
                  <a:pt x="406622" y="361715"/>
                  <a:pt x="406626" y="360038"/>
                </a:cubicBezTo>
                <a:cubicBezTo>
                  <a:pt x="406632" y="358541"/>
                  <a:pt x="406638" y="357045"/>
                  <a:pt x="406645" y="355503"/>
                </a:cubicBezTo>
                <a:cubicBezTo>
                  <a:pt x="406264" y="351503"/>
                  <a:pt x="405326" y="349318"/>
                  <a:pt x="403142" y="345885"/>
                </a:cubicBezTo>
                <a:cubicBezTo>
                  <a:pt x="402583" y="343484"/>
                  <a:pt x="402067" y="341075"/>
                  <a:pt x="401579" y="338663"/>
                </a:cubicBezTo>
                <a:cubicBezTo>
                  <a:pt x="399365" y="330323"/>
                  <a:pt x="395538" y="323370"/>
                  <a:pt x="390938" y="315939"/>
                </a:cubicBezTo>
                <a:cubicBezTo>
                  <a:pt x="390290" y="314890"/>
                  <a:pt x="389642" y="313842"/>
                  <a:pt x="388976" y="312762"/>
                </a:cubicBezTo>
                <a:cubicBezTo>
                  <a:pt x="385623" y="307500"/>
                  <a:pt x="382070" y="302607"/>
                  <a:pt x="377934" y="297817"/>
                </a:cubicBezTo>
                <a:cubicBezTo>
                  <a:pt x="373788" y="292978"/>
                  <a:pt x="371423" y="288111"/>
                  <a:pt x="368775" y="282470"/>
                </a:cubicBezTo>
                <a:cubicBezTo>
                  <a:pt x="366035" y="278585"/>
                  <a:pt x="362994" y="274937"/>
                  <a:pt x="359890" y="271284"/>
                </a:cubicBezTo>
                <a:cubicBezTo>
                  <a:pt x="359059" y="270296"/>
                  <a:pt x="358230" y="269307"/>
                  <a:pt x="357374" y="268288"/>
                </a:cubicBezTo>
                <a:cubicBezTo>
                  <a:pt x="351312" y="261177"/>
                  <a:pt x="344882" y="254704"/>
                  <a:pt x="337533" y="248649"/>
                </a:cubicBezTo>
                <a:cubicBezTo>
                  <a:pt x="336767" y="247896"/>
                  <a:pt x="336002" y="247144"/>
                  <a:pt x="335214" y="246369"/>
                </a:cubicBezTo>
                <a:cubicBezTo>
                  <a:pt x="332597" y="243963"/>
                  <a:pt x="332597" y="243963"/>
                  <a:pt x="327085" y="242571"/>
                </a:cubicBezTo>
                <a:cubicBezTo>
                  <a:pt x="309670" y="236923"/>
                  <a:pt x="296614" y="222751"/>
                  <a:pt x="288785" y="207968"/>
                </a:cubicBezTo>
                <a:cubicBezTo>
                  <a:pt x="286673" y="202851"/>
                  <a:pt x="286348" y="197968"/>
                  <a:pt x="286373" y="192544"/>
                </a:cubicBezTo>
                <a:cubicBezTo>
                  <a:pt x="286377" y="191437"/>
                  <a:pt x="286381" y="190330"/>
                  <a:pt x="286385" y="189190"/>
                </a:cubicBezTo>
                <a:cubicBezTo>
                  <a:pt x="286881" y="178340"/>
                  <a:pt x="291581" y="171728"/>
                  <a:pt x="300042" y="164095"/>
                </a:cubicBezTo>
                <a:cubicBezTo>
                  <a:pt x="301386" y="162752"/>
                  <a:pt x="301386" y="162752"/>
                  <a:pt x="302757" y="161381"/>
                </a:cubicBezTo>
                <a:cubicBezTo>
                  <a:pt x="312597" y="152504"/>
                  <a:pt x="325185" y="152675"/>
                  <a:pt x="338411" y="152293"/>
                </a:cubicBezTo>
                <a:cubicBezTo>
                  <a:pt x="350839" y="152463"/>
                  <a:pt x="359094" y="154554"/>
                  <a:pt x="368482" y="161893"/>
                </a:cubicBezTo>
                <a:cubicBezTo>
                  <a:pt x="369609" y="163085"/>
                  <a:pt x="370737" y="164277"/>
                  <a:pt x="371899" y="165505"/>
                </a:cubicBezTo>
                <a:cubicBezTo>
                  <a:pt x="372962" y="166522"/>
                  <a:pt x="374026" y="167539"/>
                  <a:pt x="375121" y="168587"/>
                </a:cubicBezTo>
                <a:cubicBezTo>
                  <a:pt x="381050" y="176351"/>
                  <a:pt x="384520" y="184328"/>
                  <a:pt x="384982" y="193777"/>
                </a:cubicBezTo>
                <a:cubicBezTo>
                  <a:pt x="385464" y="201192"/>
                  <a:pt x="387638" y="207607"/>
                  <a:pt x="390352" y="214563"/>
                </a:cubicBezTo>
                <a:cubicBezTo>
                  <a:pt x="390934" y="216079"/>
                  <a:pt x="390934" y="216079"/>
                  <a:pt x="391529" y="217626"/>
                </a:cubicBezTo>
                <a:cubicBezTo>
                  <a:pt x="394082" y="223926"/>
                  <a:pt x="397412" y="228969"/>
                  <a:pt x="401579" y="234556"/>
                </a:cubicBezTo>
                <a:cubicBezTo>
                  <a:pt x="401579" y="235952"/>
                  <a:pt x="401579" y="237347"/>
                  <a:pt x="401579" y="238784"/>
                </a:cubicBezTo>
                <a:cubicBezTo>
                  <a:pt x="402884" y="239263"/>
                  <a:pt x="402884" y="239263"/>
                  <a:pt x="404215" y="239753"/>
                </a:cubicBezTo>
                <a:cubicBezTo>
                  <a:pt x="410099" y="242765"/>
                  <a:pt x="414395" y="246733"/>
                  <a:pt x="417811" y="251996"/>
                </a:cubicBezTo>
                <a:cubicBezTo>
                  <a:pt x="420462" y="255897"/>
                  <a:pt x="423407" y="258959"/>
                  <a:pt x="426866" y="262300"/>
                </a:cubicBezTo>
                <a:cubicBezTo>
                  <a:pt x="435101" y="270407"/>
                  <a:pt x="442641" y="278936"/>
                  <a:pt x="450097" y="287628"/>
                </a:cubicBezTo>
                <a:cubicBezTo>
                  <a:pt x="453081" y="291117"/>
                  <a:pt x="453081" y="291117"/>
                  <a:pt x="457425" y="293920"/>
                </a:cubicBezTo>
                <a:cubicBezTo>
                  <a:pt x="458585" y="294792"/>
                  <a:pt x="459745" y="295664"/>
                  <a:pt x="460940" y="296562"/>
                </a:cubicBezTo>
                <a:cubicBezTo>
                  <a:pt x="460940" y="297957"/>
                  <a:pt x="460940" y="299352"/>
                  <a:pt x="460940" y="300790"/>
                </a:cubicBezTo>
                <a:cubicBezTo>
                  <a:pt x="465063" y="302782"/>
                  <a:pt x="468862" y="304133"/>
                  <a:pt x="473437" y="305018"/>
                </a:cubicBezTo>
                <a:cubicBezTo>
                  <a:pt x="473437" y="305947"/>
                  <a:pt x="473437" y="306877"/>
                  <a:pt x="473437" y="307836"/>
                </a:cubicBezTo>
                <a:cubicBezTo>
                  <a:pt x="475581" y="308519"/>
                  <a:pt x="477730" y="309193"/>
                  <a:pt x="479881" y="309862"/>
                </a:cubicBezTo>
                <a:cubicBezTo>
                  <a:pt x="481077" y="310237"/>
                  <a:pt x="482273" y="310614"/>
                  <a:pt x="483505" y="311001"/>
                </a:cubicBezTo>
                <a:cubicBezTo>
                  <a:pt x="505448" y="316843"/>
                  <a:pt x="527690" y="314359"/>
                  <a:pt x="548419" y="306427"/>
                </a:cubicBezTo>
                <a:cubicBezTo>
                  <a:pt x="549548" y="305998"/>
                  <a:pt x="550678" y="305569"/>
                  <a:pt x="551842" y="305127"/>
                </a:cubicBezTo>
                <a:cubicBezTo>
                  <a:pt x="555376" y="303227"/>
                  <a:pt x="557584" y="300980"/>
                  <a:pt x="560232" y="298148"/>
                </a:cubicBezTo>
                <a:cubicBezTo>
                  <a:pt x="561137" y="297192"/>
                  <a:pt x="562041" y="296236"/>
                  <a:pt x="562972" y="295252"/>
                </a:cubicBezTo>
                <a:cubicBezTo>
                  <a:pt x="564755" y="293274"/>
                  <a:pt x="566459" y="291237"/>
                  <a:pt x="568086" y="289152"/>
                </a:cubicBezTo>
                <a:cubicBezTo>
                  <a:pt x="568813" y="288342"/>
                  <a:pt x="569539" y="287532"/>
                  <a:pt x="570289" y="286697"/>
                </a:cubicBezTo>
                <a:cubicBezTo>
                  <a:pt x="571319" y="286697"/>
                  <a:pt x="572350" y="286697"/>
                  <a:pt x="573413" y="286697"/>
                </a:cubicBezTo>
                <a:cubicBezTo>
                  <a:pt x="577408" y="276984"/>
                  <a:pt x="577197" y="267284"/>
                  <a:pt x="577220" y="257016"/>
                </a:cubicBezTo>
                <a:cubicBezTo>
                  <a:pt x="577227" y="255625"/>
                  <a:pt x="577227" y="255625"/>
                  <a:pt x="577235" y="254206"/>
                </a:cubicBezTo>
                <a:cubicBezTo>
                  <a:pt x="577257" y="237553"/>
                  <a:pt x="574604" y="222055"/>
                  <a:pt x="569443" y="206049"/>
                </a:cubicBezTo>
                <a:cubicBezTo>
                  <a:pt x="568726" y="203553"/>
                  <a:pt x="568726" y="203553"/>
                  <a:pt x="568726" y="200735"/>
                </a:cubicBezTo>
                <a:cubicBezTo>
                  <a:pt x="567695" y="200735"/>
                  <a:pt x="566664" y="200735"/>
                  <a:pt x="565602" y="200735"/>
                </a:cubicBezTo>
                <a:cubicBezTo>
                  <a:pt x="563274" y="195295"/>
                  <a:pt x="561092" y="190108"/>
                  <a:pt x="559549" y="184441"/>
                </a:cubicBezTo>
                <a:cubicBezTo>
                  <a:pt x="555572" y="173477"/>
                  <a:pt x="547043" y="167105"/>
                  <a:pt x="537484" y="159867"/>
                </a:cubicBezTo>
                <a:cubicBezTo>
                  <a:pt x="533579" y="156609"/>
                  <a:pt x="533579" y="156609"/>
                  <a:pt x="531235" y="154230"/>
                </a:cubicBezTo>
                <a:cubicBezTo>
                  <a:pt x="531235" y="153301"/>
                  <a:pt x="531235" y="152371"/>
                  <a:pt x="531235" y="151412"/>
                </a:cubicBezTo>
                <a:cubicBezTo>
                  <a:pt x="529689" y="150947"/>
                  <a:pt x="528143" y="150482"/>
                  <a:pt x="526549" y="150003"/>
                </a:cubicBezTo>
                <a:cubicBezTo>
                  <a:pt x="519904" y="137298"/>
                  <a:pt x="519105" y="120357"/>
                  <a:pt x="524304" y="107198"/>
                </a:cubicBezTo>
                <a:cubicBezTo>
                  <a:pt x="529443" y="97376"/>
                  <a:pt x="535781" y="90193"/>
                  <a:pt x="547052" y="85972"/>
                </a:cubicBezTo>
                <a:cubicBezTo>
                  <a:pt x="559924" y="81835"/>
                  <a:pt x="575221" y="79746"/>
                  <a:pt x="588460" y="83538"/>
                </a:cubicBezTo>
                <a:cubicBezTo>
                  <a:pt x="601643" y="89713"/>
                  <a:pt x="611835" y="99450"/>
                  <a:pt x="617152" y="111954"/>
                </a:cubicBezTo>
                <a:cubicBezTo>
                  <a:pt x="617935" y="116052"/>
                  <a:pt x="617954" y="120024"/>
                  <a:pt x="617884" y="124175"/>
                </a:cubicBezTo>
                <a:cubicBezTo>
                  <a:pt x="617896" y="125307"/>
                  <a:pt x="617906" y="126440"/>
                  <a:pt x="617917" y="127607"/>
                </a:cubicBezTo>
                <a:cubicBezTo>
                  <a:pt x="617963" y="132394"/>
                  <a:pt x="617938" y="137181"/>
                  <a:pt x="617919" y="141969"/>
                </a:cubicBezTo>
                <a:cubicBezTo>
                  <a:pt x="617899" y="160184"/>
                  <a:pt x="619422" y="175572"/>
                  <a:pt x="630625" y="191311"/>
                </a:cubicBezTo>
                <a:cubicBezTo>
                  <a:pt x="633753" y="195891"/>
                  <a:pt x="636431" y="199900"/>
                  <a:pt x="637850" y="205139"/>
                </a:cubicBezTo>
                <a:cubicBezTo>
                  <a:pt x="638615" y="209623"/>
                  <a:pt x="638615" y="209623"/>
                  <a:pt x="643708" y="212009"/>
                </a:cubicBezTo>
                <a:cubicBezTo>
                  <a:pt x="645380" y="214563"/>
                  <a:pt x="645380" y="214563"/>
                  <a:pt x="647027" y="217645"/>
                </a:cubicBezTo>
                <a:cubicBezTo>
                  <a:pt x="652549" y="227016"/>
                  <a:pt x="660443" y="235696"/>
                  <a:pt x="670264" y="241603"/>
                </a:cubicBezTo>
                <a:cubicBezTo>
                  <a:pt x="670264" y="242532"/>
                  <a:pt x="670264" y="243462"/>
                  <a:pt x="670264" y="244421"/>
                </a:cubicBezTo>
                <a:cubicBezTo>
                  <a:pt x="672036" y="244857"/>
                  <a:pt x="673808" y="245293"/>
                  <a:pt x="675634" y="245742"/>
                </a:cubicBezTo>
                <a:cubicBezTo>
                  <a:pt x="681199" y="247239"/>
                  <a:pt x="681199" y="247239"/>
                  <a:pt x="682761" y="248649"/>
                </a:cubicBezTo>
                <a:cubicBezTo>
                  <a:pt x="704487" y="252065"/>
                  <a:pt x="732606" y="256402"/>
                  <a:pt x="752092" y="245076"/>
                </a:cubicBezTo>
                <a:cubicBezTo>
                  <a:pt x="754252" y="243599"/>
                  <a:pt x="756372" y="242073"/>
                  <a:pt x="758433" y="240485"/>
                </a:cubicBezTo>
                <a:cubicBezTo>
                  <a:pt x="760867" y="238784"/>
                  <a:pt x="760867" y="238784"/>
                  <a:pt x="763991" y="238784"/>
                </a:cubicBezTo>
                <a:cubicBezTo>
                  <a:pt x="764647" y="237296"/>
                  <a:pt x="764647" y="237296"/>
                  <a:pt x="765315" y="235778"/>
                </a:cubicBezTo>
                <a:cubicBezTo>
                  <a:pt x="767151" y="231659"/>
                  <a:pt x="769030" y="227557"/>
                  <a:pt x="770923" y="223459"/>
                </a:cubicBezTo>
                <a:cubicBezTo>
                  <a:pt x="771608" y="221966"/>
                  <a:pt x="772292" y="220472"/>
                  <a:pt x="772998" y="218934"/>
                </a:cubicBezTo>
                <a:cubicBezTo>
                  <a:pt x="774429" y="215885"/>
                  <a:pt x="775968" y="212878"/>
                  <a:pt x="777562" y="209895"/>
                </a:cubicBezTo>
                <a:cubicBezTo>
                  <a:pt x="787607" y="185732"/>
                  <a:pt x="788559" y="149501"/>
                  <a:pt x="781175" y="124637"/>
                </a:cubicBezTo>
                <a:cubicBezTo>
                  <a:pt x="780144" y="124637"/>
                  <a:pt x="779113" y="124637"/>
                  <a:pt x="778051" y="124637"/>
                </a:cubicBezTo>
                <a:cubicBezTo>
                  <a:pt x="768501" y="110080"/>
                  <a:pt x="762898" y="96653"/>
                  <a:pt x="767116" y="79542"/>
                </a:cubicBezTo>
                <a:cubicBezTo>
                  <a:pt x="772286" y="69057"/>
                  <a:pt x="781456" y="58252"/>
                  <a:pt x="793379" y="54000"/>
                </a:cubicBezTo>
                <a:cubicBezTo>
                  <a:pt x="808369" y="49250"/>
                  <a:pt x="826058" y="49579"/>
                  <a:pt x="840688" y="55503"/>
                </a:cubicBezTo>
                <a:cubicBezTo>
                  <a:pt x="845183" y="57759"/>
                  <a:pt x="848037" y="60575"/>
                  <a:pt x="851470" y="64040"/>
                </a:cubicBezTo>
                <a:cubicBezTo>
                  <a:pt x="852721" y="65272"/>
                  <a:pt x="852721" y="65272"/>
                  <a:pt x="853997" y="66529"/>
                </a:cubicBezTo>
                <a:cubicBezTo>
                  <a:pt x="858396" y="71505"/>
                  <a:pt x="860490" y="76640"/>
                  <a:pt x="861488" y="82057"/>
                </a:cubicBezTo>
                <a:lnTo>
                  <a:pt x="861937" y="90492"/>
                </a:lnTo>
                <a:lnTo>
                  <a:pt x="863826" y="100715"/>
                </a:lnTo>
                <a:cubicBezTo>
                  <a:pt x="862141" y="107853"/>
                  <a:pt x="859866" y="114857"/>
                  <a:pt x="857577" y="121853"/>
                </a:cubicBezTo>
                <a:cubicBezTo>
                  <a:pt x="857062" y="121853"/>
                  <a:pt x="856547" y="121853"/>
                  <a:pt x="856015" y="121853"/>
                </a:cubicBezTo>
                <a:cubicBezTo>
                  <a:pt x="855731" y="120401"/>
                  <a:pt x="855731" y="120401"/>
                  <a:pt x="855442" y="118919"/>
                </a:cubicBezTo>
                <a:lnTo>
                  <a:pt x="855417" y="118798"/>
                </a:lnTo>
                <a:lnTo>
                  <a:pt x="856157" y="124637"/>
                </a:lnTo>
                <a:lnTo>
                  <a:pt x="850623" y="134701"/>
                </a:lnTo>
                <a:lnTo>
                  <a:pt x="851325" y="135968"/>
                </a:lnTo>
                <a:cubicBezTo>
                  <a:pt x="850851" y="137246"/>
                  <a:pt x="850376" y="138525"/>
                  <a:pt x="849886" y="139843"/>
                </a:cubicBezTo>
                <a:cubicBezTo>
                  <a:pt x="848171" y="144505"/>
                  <a:pt x="847798" y="148002"/>
                  <a:pt x="847786" y="152889"/>
                </a:cubicBezTo>
                <a:cubicBezTo>
                  <a:pt x="847779" y="154500"/>
                  <a:pt x="847773" y="156109"/>
                  <a:pt x="847767" y="157768"/>
                </a:cubicBezTo>
                <a:cubicBezTo>
                  <a:pt x="847782" y="159468"/>
                  <a:pt x="847796" y="161167"/>
                  <a:pt x="847810" y="162919"/>
                </a:cubicBezTo>
                <a:cubicBezTo>
                  <a:pt x="847821" y="165546"/>
                  <a:pt x="847821" y="165546"/>
                  <a:pt x="847832" y="168227"/>
                </a:cubicBezTo>
                <a:cubicBezTo>
                  <a:pt x="847980" y="181934"/>
                  <a:pt x="849003" y="195419"/>
                  <a:pt x="850903" y="209013"/>
                </a:cubicBezTo>
                <a:lnTo>
                  <a:pt x="852880" y="224692"/>
                </a:lnTo>
                <a:lnTo>
                  <a:pt x="854595" y="224692"/>
                </a:lnTo>
                <a:cubicBezTo>
                  <a:pt x="855086" y="225542"/>
                  <a:pt x="855577" y="226392"/>
                  <a:pt x="856083" y="227268"/>
                </a:cubicBezTo>
                <a:cubicBezTo>
                  <a:pt x="862358" y="237839"/>
                  <a:pt x="866924" y="242785"/>
                  <a:pt x="879588" y="247239"/>
                </a:cubicBezTo>
                <a:cubicBezTo>
                  <a:pt x="881642" y="248025"/>
                  <a:pt x="883692" y="248817"/>
                  <a:pt x="885739" y="249618"/>
                </a:cubicBezTo>
                <a:cubicBezTo>
                  <a:pt x="887318" y="250227"/>
                  <a:pt x="888897" y="250838"/>
                  <a:pt x="890523" y="251467"/>
                </a:cubicBezTo>
                <a:cubicBezTo>
                  <a:pt x="890523" y="252397"/>
                  <a:pt x="890523" y="253327"/>
                  <a:pt x="890523" y="254285"/>
                </a:cubicBezTo>
                <a:cubicBezTo>
                  <a:pt x="900347" y="257061"/>
                  <a:pt x="910127" y="259425"/>
                  <a:pt x="920203" y="261332"/>
                </a:cubicBezTo>
                <a:cubicBezTo>
                  <a:pt x="920203" y="261796"/>
                  <a:pt x="920203" y="262262"/>
                  <a:pt x="920203" y="262741"/>
                </a:cubicBezTo>
                <a:cubicBezTo>
                  <a:pt x="917111" y="262741"/>
                  <a:pt x="914018" y="262741"/>
                  <a:pt x="910831" y="262741"/>
                </a:cubicBezTo>
                <a:lnTo>
                  <a:pt x="910831" y="262864"/>
                </a:lnTo>
                <a:lnTo>
                  <a:pt x="927993" y="264177"/>
                </a:lnTo>
                <a:lnTo>
                  <a:pt x="939273" y="265285"/>
                </a:lnTo>
                <a:lnTo>
                  <a:pt x="940456" y="265191"/>
                </a:lnTo>
                <a:cubicBezTo>
                  <a:pt x="962552" y="263054"/>
                  <a:pt x="974979" y="255295"/>
                  <a:pt x="991622" y="242329"/>
                </a:cubicBezTo>
                <a:lnTo>
                  <a:pt x="1000803" y="236505"/>
                </a:lnTo>
                <a:lnTo>
                  <a:pt x="999806" y="236055"/>
                </a:lnTo>
                <a:cubicBezTo>
                  <a:pt x="1000902" y="234997"/>
                  <a:pt x="1001997" y="233941"/>
                  <a:pt x="1003126" y="232851"/>
                </a:cubicBezTo>
                <a:cubicBezTo>
                  <a:pt x="1012364" y="223880"/>
                  <a:pt x="1021184" y="214752"/>
                  <a:pt x="1029487" y="205052"/>
                </a:cubicBezTo>
                <a:lnTo>
                  <a:pt x="1029872" y="206442"/>
                </a:lnTo>
                <a:lnTo>
                  <a:pt x="1031614" y="203719"/>
                </a:lnTo>
                <a:cubicBezTo>
                  <a:pt x="1033221" y="199204"/>
                  <a:pt x="1035713" y="196017"/>
                  <a:pt x="1038924" y="192280"/>
                </a:cubicBezTo>
                <a:cubicBezTo>
                  <a:pt x="1039956" y="191815"/>
                  <a:pt x="1040987" y="191349"/>
                  <a:pt x="1042049" y="190870"/>
                </a:cubicBezTo>
                <a:cubicBezTo>
                  <a:pt x="1043161" y="188473"/>
                  <a:pt x="1043161" y="188473"/>
                  <a:pt x="1044294" y="186026"/>
                </a:cubicBezTo>
                <a:cubicBezTo>
                  <a:pt x="1046735" y="181006"/>
                  <a:pt x="1046735" y="181006"/>
                  <a:pt x="1051422" y="178188"/>
                </a:cubicBezTo>
                <a:cubicBezTo>
                  <a:pt x="1052553" y="175286"/>
                  <a:pt x="1052553" y="175286"/>
                  <a:pt x="1052984" y="172551"/>
                </a:cubicBezTo>
                <a:cubicBezTo>
                  <a:pt x="1054014" y="172551"/>
                  <a:pt x="1055046" y="172551"/>
                  <a:pt x="1056108" y="172551"/>
                </a:cubicBezTo>
                <a:cubicBezTo>
                  <a:pt x="1057139" y="169295"/>
                  <a:pt x="1058170" y="166040"/>
                  <a:pt x="1059232" y="162686"/>
                </a:cubicBezTo>
                <a:cubicBezTo>
                  <a:pt x="1060263" y="162686"/>
                  <a:pt x="1061295" y="162686"/>
                  <a:pt x="1062357" y="162686"/>
                </a:cubicBezTo>
                <a:cubicBezTo>
                  <a:pt x="1062755" y="161484"/>
                  <a:pt x="1062755" y="161484"/>
                  <a:pt x="1063162" y="160258"/>
                </a:cubicBezTo>
                <a:cubicBezTo>
                  <a:pt x="1065716" y="152917"/>
                  <a:pt x="1068813" y="146686"/>
                  <a:pt x="1073292" y="140138"/>
                </a:cubicBezTo>
                <a:cubicBezTo>
                  <a:pt x="1074322" y="140138"/>
                  <a:pt x="1075353" y="140138"/>
                  <a:pt x="1076415" y="140138"/>
                </a:cubicBezTo>
                <a:cubicBezTo>
                  <a:pt x="1079808" y="132748"/>
                  <a:pt x="1082509" y="125160"/>
                  <a:pt x="1085294" y="117569"/>
                </a:cubicBezTo>
                <a:cubicBezTo>
                  <a:pt x="1085972" y="116181"/>
                  <a:pt x="1086651" y="114793"/>
                  <a:pt x="1087350" y="113363"/>
                </a:cubicBezTo>
                <a:cubicBezTo>
                  <a:pt x="1089671" y="112666"/>
                  <a:pt x="1089671" y="112666"/>
                  <a:pt x="1092037" y="111954"/>
                </a:cubicBezTo>
                <a:cubicBezTo>
                  <a:pt x="1092230" y="110879"/>
                  <a:pt x="1092423" y="109803"/>
                  <a:pt x="1092623" y="108695"/>
                </a:cubicBezTo>
                <a:cubicBezTo>
                  <a:pt x="1093599" y="104908"/>
                  <a:pt x="1093599" y="104908"/>
                  <a:pt x="1096723" y="100680"/>
                </a:cubicBezTo>
                <a:cubicBezTo>
                  <a:pt x="1097207" y="99140"/>
                  <a:pt x="1097689" y="97599"/>
                  <a:pt x="1098188" y="96013"/>
                </a:cubicBezTo>
                <a:cubicBezTo>
                  <a:pt x="1099847" y="90815"/>
                  <a:pt x="1099847" y="90815"/>
                  <a:pt x="1102288" y="87029"/>
                </a:cubicBezTo>
                <a:cubicBezTo>
                  <a:pt x="1106061" y="79186"/>
                  <a:pt x="1107564" y="69424"/>
                  <a:pt x="1104534" y="61222"/>
                </a:cubicBezTo>
                <a:cubicBezTo>
                  <a:pt x="1104409" y="59341"/>
                  <a:pt x="1104366" y="57454"/>
                  <a:pt x="1104381" y="55569"/>
                </a:cubicBezTo>
                <a:cubicBezTo>
                  <a:pt x="1104386" y="54501"/>
                  <a:pt x="1104391" y="53434"/>
                  <a:pt x="1104397" y="52335"/>
                </a:cubicBezTo>
                <a:cubicBezTo>
                  <a:pt x="1104410" y="51228"/>
                  <a:pt x="1104423" y="50120"/>
                  <a:pt x="1104436" y="48979"/>
                </a:cubicBezTo>
                <a:cubicBezTo>
                  <a:pt x="1104443" y="47856"/>
                  <a:pt x="1104451" y="46733"/>
                  <a:pt x="1104457" y="45575"/>
                </a:cubicBezTo>
                <a:cubicBezTo>
                  <a:pt x="1104476" y="42805"/>
                  <a:pt x="1104504" y="40035"/>
                  <a:pt x="1104534" y="37265"/>
                </a:cubicBezTo>
                <a:cubicBezTo>
                  <a:pt x="1105565" y="37265"/>
                  <a:pt x="1106596" y="37265"/>
                  <a:pt x="1107658" y="37265"/>
                </a:cubicBezTo>
                <a:cubicBezTo>
                  <a:pt x="1107561" y="34562"/>
                  <a:pt x="1107561" y="34562"/>
                  <a:pt x="1107463" y="31805"/>
                </a:cubicBezTo>
                <a:cubicBezTo>
                  <a:pt x="1107353" y="28733"/>
                  <a:pt x="1107353" y="28733"/>
                  <a:pt x="1107658" y="25991"/>
                </a:cubicBezTo>
                <a:cubicBezTo>
                  <a:pt x="1108689" y="25062"/>
                  <a:pt x="1109720" y="24131"/>
                  <a:pt x="1110782" y="23173"/>
                </a:cubicBezTo>
                <a:cubicBezTo>
                  <a:pt x="1111104" y="22156"/>
                  <a:pt x="1111427" y="21138"/>
                  <a:pt x="1111759" y="20091"/>
                </a:cubicBezTo>
                <a:cubicBezTo>
                  <a:pt x="1116393" y="11539"/>
                  <a:pt x="1124927" y="6390"/>
                  <a:pt x="1134507" y="2828"/>
                </a:cubicBezTo>
                <a:cubicBezTo>
                  <a:pt x="1141389" y="825"/>
                  <a:pt x="1148262" y="-204"/>
                  <a:pt x="1155019" y="35"/>
                </a:cubicBezTo>
                <a:close/>
              </a:path>
            </a:pathLst>
          </a:custGeom>
          <a:solidFill>
            <a:schemeClr val="accent3"/>
          </a:solidFill>
          <a:ln w="2232" cap="flat">
            <a:noFill/>
            <a:prstDash val="solid"/>
            <a:miter/>
          </a:ln>
          <a:effectLst>
            <a:innerShdw blurRad="63500" dist="190500" dir="8100000">
              <a:schemeClr val="accent3">
                <a:lumMod val="75000"/>
                <a:alpha val="50000"/>
              </a:schemeClr>
            </a:innerShdw>
          </a:effectLst>
        </p:spPr>
        <p:txBody>
          <a:bodyPr wrap="squar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2" name="Oval 331">
            <a:extLst>
              <a:ext uri="{FF2B5EF4-FFF2-40B4-BE49-F238E27FC236}">
                <a16:creationId xmlns:a16="http://schemas.microsoft.com/office/drawing/2014/main" id="{F0ADF415-52DA-4921-3D8F-960B3C40F542}"/>
              </a:ext>
            </a:extLst>
          </p:cNvPr>
          <p:cNvSpPr/>
          <p:nvPr/>
        </p:nvSpPr>
        <p:spPr>
          <a:xfrm>
            <a:off x="4551183" y="3226737"/>
            <a:ext cx="96793" cy="96793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3" name="Oval 332">
            <a:extLst>
              <a:ext uri="{FF2B5EF4-FFF2-40B4-BE49-F238E27FC236}">
                <a16:creationId xmlns:a16="http://schemas.microsoft.com/office/drawing/2014/main" id="{D0B6CCCE-0558-EB63-8654-DF477D7C95A4}"/>
              </a:ext>
            </a:extLst>
          </p:cNvPr>
          <p:cNvSpPr/>
          <p:nvPr/>
        </p:nvSpPr>
        <p:spPr>
          <a:xfrm>
            <a:off x="4680395" y="3311489"/>
            <a:ext cx="96793" cy="96793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4" name="Oval 333">
            <a:extLst>
              <a:ext uri="{FF2B5EF4-FFF2-40B4-BE49-F238E27FC236}">
                <a16:creationId xmlns:a16="http://schemas.microsoft.com/office/drawing/2014/main" id="{36E0DF53-8F9A-44B1-0C84-85B9CDFC6D3B}"/>
              </a:ext>
            </a:extLst>
          </p:cNvPr>
          <p:cNvSpPr/>
          <p:nvPr/>
        </p:nvSpPr>
        <p:spPr>
          <a:xfrm>
            <a:off x="4586612" y="3469181"/>
            <a:ext cx="75769" cy="75769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5" name="Oval 334">
            <a:extLst>
              <a:ext uri="{FF2B5EF4-FFF2-40B4-BE49-F238E27FC236}">
                <a16:creationId xmlns:a16="http://schemas.microsoft.com/office/drawing/2014/main" id="{E6201997-86AE-4991-8B74-59D4BC53940A}"/>
              </a:ext>
            </a:extLst>
          </p:cNvPr>
          <p:cNvSpPr/>
          <p:nvPr/>
        </p:nvSpPr>
        <p:spPr>
          <a:xfrm>
            <a:off x="4788765" y="3451814"/>
            <a:ext cx="96793" cy="96793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6" name="Oval 335">
            <a:extLst>
              <a:ext uri="{FF2B5EF4-FFF2-40B4-BE49-F238E27FC236}">
                <a16:creationId xmlns:a16="http://schemas.microsoft.com/office/drawing/2014/main" id="{01E320D4-421F-65EE-8634-DE85F868A08E}"/>
              </a:ext>
            </a:extLst>
          </p:cNvPr>
          <p:cNvSpPr/>
          <p:nvPr/>
        </p:nvSpPr>
        <p:spPr>
          <a:xfrm>
            <a:off x="4820025" y="3250356"/>
            <a:ext cx="65532" cy="65532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7" name="Free-form: Shape 336">
            <a:extLst>
              <a:ext uri="{FF2B5EF4-FFF2-40B4-BE49-F238E27FC236}">
                <a16:creationId xmlns:a16="http://schemas.microsoft.com/office/drawing/2014/main" id="{A6C00A30-3CDC-FB23-0DEA-AB248905625E}"/>
              </a:ext>
            </a:extLst>
          </p:cNvPr>
          <p:cNvSpPr/>
          <p:nvPr/>
        </p:nvSpPr>
        <p:spPr>
          <a:xfrm>
            <a:off x="7597039" y="3760908"/>
            <a:ext cx="744826" cy="151965"/>
          </a:xfrm>
          <a:custGeom>
            <a:avLst/>
            <a:gdLst>
              <a:gd name="csX0" fmla="*/ 0 w 1020019"/>
              <a:gd name="csY0" fmla="*/ 0 h 228600"/>
              <a:gd name="csX1" fmla="*/ 892656 w 1020019"/>
              <a:gd name="csY1" fmla="*/ 0 h 228600"/>
              <a:gd name="csX2" fmla="*/ 1020019 w 1020019"/>
              <a:gd name="csY2" fmla="*/ 228600 h 228600"/>
              <a:gd name="csX3" fmla="*/ 65128 w 1020019"/>
              <a:gd name="csY3" fmla="*/ 228600 h 228600"/>
              <a:gd name="csX4" fmla="*/ 0 w 1020019"/>
              <a:gd name="csY4" fmla="*/ 0 h 22860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020019" h="228600">
                <a:moveTo>
                  <a:pt x="0" y="0"/>
                </a:moveTo>
                <a:lnTo>
                  <a:pt x="892656" y="0"/>
                </a:lnTo>
                <a:lnTo>
                  <a:pt x="1020019" y="228600"/>
                </a:lnTo>
                <a:lnTo>
                  <a:pt x="65128" y="2286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8" name="Free-form: Shape 337">
            <a:extLst>
              <a:ext uri="{FF2B5EF4-FFF2-40B4-BE49-F238E27FC236}">
                <a16:creationId xmlns:a16="http://schemas.microsoft.com/office/drawing/2014/main" id="{F33E9F24-431C-070C-5BEB-B5B824E116F8}"/>
              </a:ext>
            </a:extLst>
          </p:cNvPr>
          <p:cNvSpPr/>
          <p:nvPr/>
        </p:nvSpPr>
        <p:spPr>
          <a:xfrm>
            <a:off x="7688878" y="4075784"/>
            <a:ext cx="856070" cy="205101"/>
          </a:xfrm>
          <a:custGeom>
            <a:avLst/>
            <a:gdLst>
              <a:gd name="csX0" fmla="*/ 0 w 1020019"/>
              <a:gd name="csY0" fmla="*/ 0 h 228600"/>
              <a:gd name="csX1" fmla="*/ 892656 w 1020019"/>
              <a:gd name="csY1" fmla="*/ 0 h 228600"/>
              <a:gd name="csX2" fmla="*/ 1020019 w 1020019"/>
              <a:gd name="csY2" fmla="*/ 228600 h 228600"/>
              <a:gd name="csX3" fmla="*/ 65128 w 1020019"/>
              <a:gd name="csY3" fmla="*/ 228600 h 228600"/>
              <a:gd name="csX4" fmla="*/ 0 w 1020019"/>
              <a:gd name="csY4" fmla="*/ 0 h 228600"/>
              <a:gd name="csX0" fmla="*/ 0 w 1020019"/>
              <a:gd name="csY0" fmla="*/ 0 h 230815"/>
              <a:gd name="csX1" fmla="*/ 892656 w 1020019"/>
              <a:gd name="csY1" fmla="*/ 0 h 230815"/>
              <a:gd name="csX2" fmla="*/ 1020019 w 1020019"/>
              <a:gd name="csY2" fmla="*/ 228600 h 230815"/>
              <a:gd name="csX3" fmla="*/ 67512 w 1020019"/>
              <a:gd name="csY3" fmla="*/ 230815 h 230815"/>
              <a:gd name="csX4" fmla="*/ 0 w 1020019"/>
              <a:gd name="csY4" fmla="*/ 0 h 230815"/>
              <a:gd name="csX0" fmla="*/ 0 w 1036702"/>
              <a:gd name="csY0" fmla="*/ 0 h 230815"/>
              <a:gd name="csX1" fmla="*/ 892656 w 1036702"/>
              <a:gd name="csY1" fmla="*/ 0 h 230815"/>
              <a:gd name="csX2" fmla="*/ 1036702 w 1036702"/>
              <a:gd name="csY2" fmla="*/ 226385 h 230815"/>
              <a:gd name="csX3" fmla="*/ 67512 w 1036702"/>
              <a:gd name="csY3" fmla="*/ 230815 h 230815"/>
              <a:gd name="csX4" fmla="*/ 0 w 1036702"/>
              <a:gd name="csY4" fmla="*/ 0 h 23081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036702" h="230815">
                <a:moveTo>
                  <a:pt x="0" y="0"/>
                </a:moveTo>
                <a:lnTo>
                  <a:pt x="892656" y="0"/>
                </a:lnTo>
                <a:lnTo>
                  <a:pt x="1036702" y="226385"/>
                </a:lnTo>
                <a:lnTo>
                  <a:pt x="67512" y="23081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9" name="Oval 338">
            <a:extLst>
              <a:ext uri="{FF2B5EF4-FFF2-40B4-BE49-F238E27FC236}">
                <a16:creationId xmlns:a16="http://schemas.microsoft.com/office/drawing/2014/main" id="{1E289C4C-065D-33A6-70F1-8487F0B6D03A}"/>
              </a:ext>
            </a:extLst>
          </p:cNvPr>
          <p:cNvSpPr/>
          <p:nvPr/>
        </p:nvSpPr>
        <p:spPr>
          <a:xfrm>
            <a:off x="7175594" y="5714986"/>
            <a:ext cx="717698" cy="104135"/>
          </a:xfrm>
          <a:prstGeom prst="ellipse">
            <a:avLst/>
          </a:prstGeom>
          <a:solidFill>
            <a:schemeClr val="tx1">
              <a:alpha val="6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0" name="Oval 339">
            <a:extLst>
              <a:ext uri="{FF2B5EF4-FFF2-40B4-BE49-F238E27FC236}">
                <a16:creationId xmlns:a16="http://schemas.microsoft.com/office/drawing/2014/main" id="{1F4671B5-10B7-9577-E05F-2C30A79EBD71}"/>
              </a:ext>
            </a:extLst>
          </p:cNvPr>
          <p:cNvSpPr/>
          <p:nvPr/>
        </p:nvSpPr>
        <p:spPr>
          <a:xfrm>
            <a:off x="2426342" y="5714986"/>
            <a:ext cx="717698" cy="104135"/>
          </a:xfrm>
          <a:prstGeom prst="ellipse">
            <a:avLst/>
          </a:prstGeom>
          <a:solidFill>
            <a:schemeClr val="tx1">
              <a:alpha val="6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1" name="Oval 340">
            <a:extLst>
              <a:ext uri="{FF2B5EF4-FFF2-40B4-BE49-F238E27FC236}">
                <a16:creationId xmlns:a16="http://schemas.microsoft.com/office/drawing/2014/main" id="{4CEAB113-B73B-6526-BD03-B65A81464397}"/>
              </a:ext>
            </a:extLst>
          </p:cNvPr>
          <p:cNvSpPr/>
          <p:nvPr/>
        </p:nvSpPr>
        <p:spPr>
          <a:xfrm>
            <a:off x="10689917" y="5714986"/>
            <a:ext cx="717698" cy="104135"/>
          </a:xfrm>
          <a:prstGeom prst="ellipse">
            <a:avLst/>
          </a:prstGeom>
          <a:solidFill>
            <a:schemeClr val="tx1">
              <a:alpha val="6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2" name="Oval 341">
            <a:extLst>
              <a:ext uri="{FF2B5EF4-FFF2-40B4-BE49-F238E27FC236}">
                <a16:creationId xmlns:a16="http://schemas.microsoft.com/office/drawing/2014/main" id="{5603728F-47C0-77FE-1AB2-970CBF75BFFB}"/>
              </a:ext>
            </a:extLst>
          </p:cNvPr>
          <p:cNvSpPr/>
          <p:nvPr/>
        </p:nvSpPr>
        <p:spPr>
          <a:xfrm>
            <a:off x="3612119" y="5714986"/>
            <a:ext cx="717698" cy="104135"/>
          </a:xfrm>
          <a:prstGeom prst="ellipse">
            <a:avLst/>
          </a:prstGeom>
          <a:solidFill>
            <a:schemeClr val="tx1">
              <a:alpha val="6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3" name="Free-form: Shape 342">
            <a:extLst>
              <a:ext uri="{FF2B5EF4-FFF2-40B4-BE49-F238E27FC236}">
                <a16:creationId xmlns:a16="http://schemas.microsoft.com/office/drawing/2014/main" id="{E56BC92E-F5B8-6F4C-942A-4EBFB30AF2C7}"/>
              </a:ext>
            </a:extLst>
          </p:cNvPr>
          <p:cNvSpPr/>
          <p:nvPr/>
        </p:nvSpPr>
        <p:spPr>
          <a:xfrm>
            <a:off x="6557036" y="4949924"/>
            <a:ext cx="17183" cy="1817"/>
          </a:xfrm>
          <a:custGeom>
            <a:avLst/>
            <a:gdLst>
              <a:gd name="csX0" fmla="*/ 0 w 27674"/>
              <a:gd name="csY0" fmla="*/ 2915 h 2925"/>
              <a:gd name="csX1" fmla="*/ 27675 w 27674"/>
              <a:gd name="csY1" fmla="*/ 1550 h 2925"/>
              <a:gd name="csX2" fmla="*/ 0 w 27674"/>
              <a:gd name="csY2" fmla="*/ 2915 h 292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27674" h="2925">
                <a:moveTo>
                  <a:pt x="0" y="2915"/>
                </a:moveTo>
                <a:cubicBezTo>
                  <a:pt x="8211" y="-1939"/>
                  <a:pt x="17625" y="498"/>
                  <a:pt x="27675" y="1550"/>
                </a:cubicBezTo>
                <a:cubicBezTo>
                  <a:pt x="19225" y="2593"/>
                  <a:pt x="10029" y="2999"/>
                  <a:pt x="0" y="2915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4" name="Free-form: Shape 343">
            <a:extLst>
              <a:ext uri="{FF2B5EF4-FFF2-40B4-BE49-F238E27FC236}">
                <a16:creationId xmlns:a16="http://schemas.microsoft.com/office/drawing/2014/main" id="{0EF944C7-09E2-EE04-740A-375FBB5C0D3E}"/>
              </a:ext>
            </a:extLst>
          </p:cNvPr>
          <p:cNvSpPr/>
          <p:nvPr/>
        </p:nvSpPr>
        <p:spPr>
          <a:xfrm>
            <a:off x="6509732" y="4950948"/>
            <a:ext cx="11179" cy="700"/>
          </a:xfrm>
          <a:custGeom>
            <a:avLst/>
            <a:gdLst>
              <a:gd name="csX0" fmla="*/ 0 w 18003"/>
              <a:gd name="csY0" fmla="*/ 1050 h 1128"/>
              <a:gd name="csX1" fmla="*/ 18004 w 18003"/>
              <a:gd name="csY1" fmla="*/ 93 h 1128"/>
              <a:gd name="csX2" fmla="*/ 0 w 18003"/>
              <a:gd name="csY2" fmla="*/ 1050 h 112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8003" h="1128">
                <a:moveTo>
                  <a:pt x="0" y="1050"/>
                </a:moveTo>
                <a:cubicBezTo>
                  <a:pt x="5276" y="182"/>
                  <a:pt x="11306" y="-189"/>
                  <a:pt x="18004" y="93"/>
                </a:cubicBezTo>
                <a:cubicBezTo>
                  <a:pt x="12699" y="1013"/>
                  <a:pt x="6726" y="1280"/>
                  <a:pt x="0" y="1050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5" name="Free-form: Shape 344">
            <a:extLst>
              <a:ext uri="{FF2B5EF4-FFF2-40B4-BE49-F238E27FC236}">
                <a16:creationId xmlns:a16="http://schemas.microsoft.com/office/drawing/2014/main" id="{39A56217-4C8A-0AC7-E4CD-FA72B5757302}"/>
              </a:ext>
            </a:extLst>
          </p:cNvPr>
          <p:cNvSpPr/>
          <p:nvPr/>
        </p:nvSpPr>
        <p:spPr>
          <a:xfrm>
            <a:off x="6590699" y="4384148"/>
            <a:ext cx="5257" cy="4867"/>
          </a:xfrm>
          <a:custGeom>
            <a:avLst/>
            <a:gdLst>
              <a:gd name="csX0" fmla="*/ 473 w 8466"/>
              <a:gd name="csY0" fmla="*/ 7839 h 7838"/>
              <a:gd name="csX1" fmla="*/ 8466 w 8466"/>
              <a:gd name="csY1" fmla="*/ 61 h 7838"/>
              <a:gd name="csX2" fmla="*/ 473 w 8466"/>
              <a:gd name="csY2" fmla="*/ 7839 h 783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66" h="7838">
                <a:moveTo>
                  <a:pt x="473" y="7839"/>
                </a:moveTo>
                <a:cubicBezTo>
                  <a:pt x="-1298" y="1550"/>
                  <a:pt x="2020" y="-386"/>
                  <a:pt x="8466" y="61"/>
                </a:cubicBezTo>
                <a:cubicBezTo>
                  <a:pt x="6730" y="2845"/>
                  <a:pt x="4026" y="5401"/>
                  <a:pt x="473" y="7839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6" name="Free-form: Shape 345">
            <a:extLst>
              <a:ext uri="{FF2B5EF4-FFF2-40B4-BE49-F238E27FC236}">
                <a16:creationId xmlns:a16="http://schemas.microsoft.com/office/drawing/2014/main" id="{C296796F-06FB-B216-B6AA-ED3584BFD2DE}"/>
              </a:ext>
            </a:extLst>
          </p:cNvPr>
          <p:cNvSpPr/>
          <p:nvPr/>
        </p:nvSpPr>
        <p:spPr>
          <a:xfrm>
            <a:off x="6454703" y="4949434"/>
            <a:ext cx="5265" cy="618"/>
          </a:xfrm>
          <a:custGeom>
            <a:avLst/>
            <a:gdLst>
              <a:gd name="csX0" fmla="*/ 0 w 8480"/>
              <a:gd name="csY0" fmla="*/ 896 h 996"/>
              <a:gd name="csX1" fmla="*/ 8480 w 8480"/>
              <a:gd name="csY1" fmla="*/ 110 h 996"/>
              <a:gd name="csX2" fmla="*/ 0 w 8480"/>
              <a:gd name="csY2" fmla="*/ 896 h 99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80" h="996">
                <a:moveTo>
                  <a:pt x="0" y="896"/>
                </a:moveTo>
                <a:cubicBezTo>
                  <a:pt x="2285" y="115"/>
                  <a:pt x="5130" y="-182"/>
                  <a:pt x="8480" y="110"/>
                </a:cubicBezTo>
                <a:cubicBezTo>
                  <a:pt x="6177" y="927"/>
                  <a:pt x="3368" y="1153"/>
                  <a:pt x="0" y="896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7" name="Free-form: Shape 346">
            <a:extLst>
              <a:ext uri="{FF2B5EF4-FFF2-40B4-BE49-F238E27FC236}">
                <a16:creationId xmlns:a16="http://schemas.microsoft.com/office/drawing/2014/main" id="{003F95A6-229F-FBAA-758B-B45C7D5161FD}"/>
              </a:ext>
            </a:extLst>
          </p:cNvPr>
          <p:cNvSpPr/>
          <p:nvPr/>
        </p:nvSpPr>
        <p:spPr>
          <a:xfrm>
            <a:off x="6741464" y="4922905"/>
            <a:ext cx="763" cy="4134"/>
          </a:xfrm>
          <a:custGeom>
            <a:avLst/>
            <a:gdLst>
              <a:gd name="csX0" fmla="*/ 132 w 1229"/>
              <a:gd name="csY0" fmla="*/ 6659 h 6658"/>
              <a:gd name="csX1" fmla="*/ 1107 w 1229"/>
              <a:gd name="csY1" fmla="*/ 0 h 6658"/>
              <a:gd name="csX2" fmla="*/ 132 w 1229"/>
              <a:gd name="csY2" fmla="*/ 6659 h 665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229" h="6658">
                <a:moveTo>
                  <a:pt x="132" y="6659"/>
                </a:moveTo>
                <a:cubicBezTo>
                  <a:pt x="-219" y="4616"/>
                  <a:pt x="139" y="2560"/>
                  <a:pt x="1107" y="0"/>
                </a:cubicBezTo>
                <a:cubicBezTo>
                  <a:pt x="1425" y="1879"/>
                  <a:pt x="1133" y="4263"/>
                  <a:pt x="132" y="6659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8" name="Free-form: Shape 347">
            <a:extLst>
              <a:ext uri="{FF2B5EF4-FFF2-40B4-BE49-F238E27FC236}">
                <a16:creationId xmlns:a16="http://schemas.microsoft.com/office/drawing/2014/main" id="{A3B72346-0191-98C0-0F66-832F74859393}"/>
              </a:ext>
            </a:extLst>
          </p:cNvPr>
          <p:cNvSpPr/>
          <p:nvPr/>
        </p:nvSpPr>
        <p:spPr>
          <a:xfrm>
            <a:off x="6674268" y="4943182"/>
            <a:ext cx="2352" cy="847"/>
          </a:xfrm>
          <a:custGeom>
            <a:avLst/>
            <a:gdLst>
              <a:gd name="csX0" fmla="*/ 0 w 3788"/>
              <a:gd name="csY0" fmla="*/ 1364 h 1364"/>
              <a:gd name="csX1" fmla="*/ 3788 w 3788"/>
              <a:gd name="csY1" fmla="*/ 0 h 1364"/>
              <a:gd name="csX2" fmla="*/ 0 w 3788"/>
              <a:gd name="csY2" fmla="*/ 1364 h 136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788" h="1364">
                <a:moveTo>
                  <a:pt x="0" y="1364"/>
                </a:moveTo>
                <a:cubicBezTo>
                  <a:pt x="856" y="517"/>
                  <a:pt x="2126" y="39"/>
                  <a:pt x="3788" y="0"/>
                </a:cubicBezTo>
                <a:cubicBezTo>
                  <a:pt x="2925" y="870"/>
                  <a:pt x="1670" y="1303"/>
                  <a:pt x="0" y="1364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9" name="Free-form: Shape 348">
            <a:extLst>
              <a:ext uri="{FF2B5EF4-FFF2-40B4-BE49-F238E27FC236}">
                <a16:creationId xmlns:a16="http://schemas.microsoft.com/office/drawing/2014/main" id="{871DDF13-AF9F-ABFD-7B5E-76EB09F3111E}"/>
              </a:ext>
            </a:extLst>
          </p:cNvPr>
          <p:cNvSpPr/>
          <p:nvPr/>
        </p:nvSpPr>
        <p:spPr>
          <a:xfrm>
            <a:off x="6402685" y="4946456"/>
            <a:ext cx="2478" cy="515"/>
          </a:xfrm>
          <a:custGeom>
            <a:avLst/>
            <a:gdLst>
              <a:gd name="csX0" fmla="*/ 0 w 3990"/>
              <a:gd name="csY0" fmla="*/ 719 h 829"/>
              <a:gd name="csX1" fmla="*/ 3990 w 3990"/>
              <a:gd name="csY1" fmla="*/ 119 h 829"/>
              <a:gd name="csX2" fmla="*/ 0 w 3990"/>
              <a:gd name="csY2" fmla="*/ 719 h 82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990" h="829">
                <a:moveTo>
                  <a:pt x="0" y="719"/>
                </a:moveTo>
                <a:cubicBezTo>
                  <a:pt x="982" y="66"/>
                  <a:pt x="2323" y="-163"/>
                  <a:pt x="3990" y="119"/>
                </a:cubicBezTo>
                <a:cubicBezTo>
                  <a:pt x="2998" y="800"/>
                  <a:pt x="1678" y="972"/>
                  <a:pt x="0" y="719"/>
                </a:cubicBezTo>
                <a:close/>
              </a:path>
            </a:pathLst>
          </a:custGeom>
          <a:solidFill>
            <a:srgbClr val="959DA0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0" name="Free-form: Shape 349">
            <a:extLst>
              <a:ext uri="{FF2B5EF4-FFF2-40B4-BE49-F238E27FC236}">
                <a16:creationId xmlns:a16="http://schemas.microsoft.com/office/drawing/2014/main" id="{240738CD-AD57-487F-3DA8-524FAD38A57B}"/>
              </a:ext>
            </a:extLst>
          </p:cNvPr>
          <p:cNvSpPr/>
          <p:nvPr/>
        </p:nvSpPr>
        <p:spPr>
          <a:xfrm>
            <a:off x="6613233" y="4949412"/>
            <a:ext cx="2417" cy="705"/>
          </a:xfrm>
          <a:custGeom>
            <a:avLst/>
            <a:gdLst>
              <a:gd name="csX0" fmla="*/ 0 w 3893"/>
              <a:gd name="csY0" fmla="*/ 1133 h 1135"/>
              <a:gd name="csX1" fmla="*/ 3893 w 3893"/>
              <a:gd name="csY1" fmla="*/ 7 h 1135"/>
              <a:gd name="csX2" fmla="*/ 0 w 3893"/>
              <a:gd name="csY2" fmla="*/ 1133 h 113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893" h="1135">
                <a:moveTo>
                  <a:pt x="0" y="1133"/>
                </a:moveTo>
                <a:cubicBezTo>
                  <a:pt x="902" y="349"/>
                  <a:pt x="2213" y="-60"/>
                  <a:pt x="3893" y="7"/>
                </a:cubicBezTo>
                <a:cubicBezTo>
                  <a:pt x="2978" y="825"/>
                  <a:pt x="1693" y="1167"/>
                  <a:pt x="0" y="1133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1" name="Free-form: Shape 350">
            <a:extLst>
              <a:ext uri="{FF2B5EF4-FFF2-40B4-BE49-F238E27FC236}">
                <a16:creationId xmlns:a16="http://schemas.microsoft.com/office/drawing/2014/main" id="{AC543039-2CA1-53E6-F742-3103F83EBABE}"/>
              </a:ext>
            </a:extLst>
          </p:cNvPr>
          <p:cNvSpPr/>
          <p:nvPr/>
        </p:nvSpPr>
        <p:spPr>
          <a:xfrm>
            <a:off x="6521498" y="4418057"/>
            <a:ext cx="97564" cy="25665"/>
          </a:xfrm>
          <a:custGeom>
            <a:avLst/>
            <a:gdLst>
              <a:gd name="csX0" fmla="*/ 69625 w 157129"/>
              <a:gd name="csY0" fmla="*/ 0 h 41334"/>
              <a:gd name="csX1" fmla="*/ 119596 w 157129"/>
              <a:gd name="csY1" fmla="*/ 1945 h 41334"/>
              <a:gd name="csX2" fmla="*/ 150973 w 157129"/>
              <a:gd name="csY2" fmla="*/ 14889 h 41334"/>
              <a:gd name="csX3" fmla="*/ 151351 w 157129"/>
              <a:gd name="csY3" fmla="*/ 34058 h 41334"/>
              <a:gd name="csX4" fmla="*/ 133492 w 157129"/>
              <a:gd name="csY4" fmla="*/ 40697 h 41334"/>
              <a:gd name="csX5" fmla="*/ 106556 w 157129"/>
              <a:gd name="csY5" fmla="*/ 41092 h 41334"/>
              <a:gd name="csX6" fmla="*/ 13373 w 157129"/>
              <a:gd name="csY6" fmla="*/ 40708 h 41334"/>
              <a:gd name="csX7" fmla="*/ 1312 w 157129"/>
              <a:gd name="csY7" fmla="*/ 40191 h 41334"/>
              <a:gd name="csX8" fmla="*/ 3367 w 157129"/>
              <a:gd name="csY8" fmla="*/ 13162 h 41334"/>
              <a:gd name="csX9" fmla="*/ 20752 w 157129"/>
              <a:gd name="csY9" fmla="*/ 1879 h 41334"/>
              <a:gd name="csX10" fmla="*/ 52625 w 157129"/>
              <a:gd name="csY10" fmla="*/ 1332 h 41334"/>
              <a:gd name="csX11" fmla="*/ 69625 w 157129"/>
              <a:gd name="csY11" fmla="*/ 0 h 4133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157129" h="41334">
                <a:moveTo>
                  <a:pt x="69625" y="0"/>
                </a:moveTo>
                <a:cubicBezTo>
                  <a:pt x="87054" y="491"/>
                  <a:pt x="103407" y="373"/>
                  <a:pt x="119596" y="1945"/>
                </a:cubicBezTo>
                <a:cubicBezTo>
                  <a:pt x="131020" y="3055"/>
                  <a:pt x="141713" y="7767"/>
                  <a:pt x="150973" y="14889"/>
                </a:cubicBezTo>
                <a:cubicBezTo>
                  <a:pt x="158820" y="20925"/>
                  <a:pt x="159403" y="28236"/>
                  <a:pt x="151351" y="34058"/>
                </a:cubicBezTo>
                <a:cubicBezTo>
                  <a:pt x="146355" y="37671"/>
                  <a:pt x="139678" y="39910"/>
                  <a:pt x="133492" y="40697"/>
                </a:cubicBezTo>
                <a:cubicBezTo>
                  <a:pt x="124640" y="41824"/>
                  <a:pt x="115547" y="41120"/>
                  <a:pt x="106556" y="41092"/>
                </a:cubicBezTo>
                <a:cubicBezTo>
                  <a:pt x="75495" y="40996"/>
                  <a:pt x="44434" y="40872"/>
                  <a:pt x="13373" y="40708"/>
                </a:cubicBezTo>
                <a:cubicBezTo>
                  <a:pt x="9391" y="40687"/>
                  <a:pt x="5410" y="40374"/>
                  <a:pt x="1312" y="40191"/>
                </a:cubicBezTo>
                <a:cubicBezTo>
                  <a:pt x="-1416" y="30384"/>
                  <a:pt x="523" y="21512"/>
                  <a:pt x="3367" y="13162"/>
                </a:cubicBezTo>
                <a:cubicBezTo>
                  <a:pt x="5963" y="5538"/>
                  <a:pt x="12701" y="2077"/>
                  <a:pt x="20752" y="1879"/>
                </a:cubicBezTo>
                <a:cubicBezTo>
                  <a:pt x="31375" y="1617"/>
                  <a:pt x="42004" y="1647"/>
                  <a:pt x="52625" y="1332"/>
                </a:cubicBezTo>
                <a:cubicBezTo>
                  <a:pt x="57918" y="1176"/>
                  <a:pt x="63195" y="535"/>
                  <a:pt x="69625" y="0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2" name="Free-form: Shape 351">
            <a:extLst>
              <a:ext uri="{FF2B5EF4-FFF2-40B4-BE49-F238E27FC236}">
                <a16:creationId xmlns:a16="http://schemas.microsoft.com/office/drawing/2014/main" id="{77587515-145F-321F-2749-B1162B737BF7}"/>
              </a:ext>
            </a:extLst>
          </p:cNvPr>
          <p:cNvSpPr/>
          <p:nvPr/>
        </p:nvSpPr>
        <p:spPr>
          <a:xfrm>
            <a:off x="7518630" y="5259199"/>
            <a:ext cx="18902" cy="1998"/>
          </a:xfrm>
          <a:custGeom>
            <a:avLst/>
            <a:gdLst>
              <a:gd name="csX0" fmla="*/ 0 w 27674"/>
              <a:gd name="csY0" fmla="*/ 2915 h 2925"/>
              <a:gd name="csX1" fmla="*/ 27675 w 27674"/>
              <a:gd name="csY1" fmla="*/ 1550 h 2925"/>
              <a:gd name="csX2" fmla="*/ 0 w 27674"/>
              <a:gd name="csY2" fmla="*/ 2915 h 292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27674" h="2925">
                <a:moveTo>
                  <a:pt x="0" y="2915"/>
                </a:moveTo>
                <a:cubicBezTo>
                  <a:pt x="8211" y="-1939"/>
                  <a:pt x="17625" y="498"/>
                  <a:pt x="27675" y="1550"/>
                </a:cubicBezTo>
                <a:cubicBezTo>
                  <a:pt x="19225" y="2593"/>
                  <a:pt x="10029" y="2999"/>
                  <a:pt x="0" y="2915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3" name="Free-form: Shape 352">
            <a:extLst>
              <a:ext uri="{FF2B5EF4-FFF2-40B4-BE49-F238E27FC236}">
                <a16:creationId xmlns:a16="http://schemas.microsoft.com/office/drawing/2014/main" id="{C4D876F0-FFA4-A7F7-EADA-83DACF513B2B}"/>
              </a:ext>
            </a:extLst>
          </p:cNvPr>
          <p:cNvSpPr/>
          <p:nvPr/>
        </p:nvSpPr>
        <p:spPr>
          <a:xfrm>
            <a:off x="7466595" y="5260325"/>
            <a:ext cx="12297" cy="770"/>
          </a:xfrm>
          <a:custGeom>
            <a:avLst/>
            <a:gdLst>
              <a:gd name="csX0" fmla="*/ 0 w 18003"/>
              <a:gd name="csY0" fmla="*/ 1050 h 1128"/>
              <a:gd name="csX1" fmla="*/ 18004 w 18003"/>
              <a:gd name="csY1" fmla="*/ 93 h 1128"/>
              <a:gd name="csX2" fmla="*/ 0 w 18003"/>
              <a:gd name="csY2" fmla="*/ 1050 h 112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8003" h="1128">
                <a:moveTo>
                  <a:pt x="0" y="1050"/>
                </a:moveTo>
                <a:cubicBezTo>
                  <a:pt x="5276" y="182"/>
                  <a:pt x="11306" y="-189"/>
                  <a:pt x="18004" y="93"/>
                </a:cubicBezTo>
                <a:cubicBezTo>
                  <a:pt x="12699" y="1013"/>
                  <a:pt x="6726" y="1280"/>
                  <a:pt x="0" y="1050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4" name="Free-form: Shape 353">
            <a:extLst>
              <a:ext uri="{FF2B5EF4-FFF2-40B4-BE49-F238E27FC236}">
                <a16:creationId xmlns:a16="http://schemas.microsoft.com/office/drawing/2014/main" id="{F1302B5E-0825-4C91-EEEF-3282F378FD22}"/>
              </a:ext>
            </a:extLst>
          </p:cNvPr>
          <p:cNvSpPr/>
          <p:nvPr/>
        </p:nvSpPr>
        <p:spPr>
          <a:xfrm>
            <a:off x="7555659" y="4636845"/>
            <a:ext cx="5783" cy="5354"/>
          </a:xfrm>
          <a:custGeom>
            <a:avLst/>
            <a:gdLst>
              <a:gd name="csX0" fmla="*/ 473 w 8466"/>
              <a:gd name="csY0" fmla="*/ 7839 h 7838"/>
              <a:gd name="csX1" fmla="*/ 8466 w 8466"/>
              <a:gd name="csY1" fmla="*/ 61 h 7838"/>
              <a:gd name="csX2" fmla="*/ 473 w 8466"/>
              <a:gd name="csY2" fmla="*/ 7839 h 783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66" h="7838">
                <a:moveTo>
                  <a:pt x="473" y="7839"/>
                </a:moveTo>
                <a:cubicBezTo>
                  <a:pt x="-1298" y="1550"/>
                  <a:pt x="2020" y="-386"/>
                  <a:pt x="8466" y="61"/>
                </a:cubicBezTo>
                <a:cubicBezTo>
                  <a:pt x="6730" y="2845"/>
                  <a:pt x="4026" y="5401"/>
                  <a:pt x="473" y="7839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5" name="Free-form: Shape 354">
            <a:extLst>
              <a:ext uri="{FF2B5EF4-FFF2-40B4-BE49-F238E27FC236}">
                <a16:creationId xmlns:a16="http://schemas.microsoft.com/office/drawing/2014/main" id="{6815A6FB-7275-0BE2-AF72-D29C8C96163A}"/>
              </a:ext>
            </a:extLst>
          </p:cNvPr>
          <p:cNvSpPr/>
          <p:nvPr/>
        </p:nvSpPr>
        <p:spPr>
          <a:xfrm>
            <a:off x="7406063" y="5258659"/>
            <a:ext cx="5792" cy="680"/>
          </a:xfrm>
          <a:custGeom>
            <a:avLst/>
            <a:gdLst>
              <a:gd name="csX0" fmla="*/ 0 w 8480"/>
              <a:gd name="csY0" fmla="*/ 896 h 996"/>
              <a:gd name="csX1" fmla="*/ 8480 w 8480"/>
              <a:gd name="csY1" fmla="*/ 110 h 996"/>
              <a:gd name="csX2" fmla="*/ 0 w 8480"/>
              <a:gd name="csY2" fmla="*/ 896 h 99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80" h="996">
                <a:moveTo>
                  <a:pt x="0" y="896"/>
                </a:moveTo>
                <a:cubicBezTo>
                  <a:pt x="2285" y="115"/>
                  <a:pt x="5130" y="-182"/>
                  <a:pt x="8480" y="110"/>
                </a:cubicBezTo>
                <a:cubicBezTo>
                  <a:pt x="6177" y="927"/>
                  <a:pt x="3368" y="1153"/>
                  <a:pt x="0" y="896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6" name="Free-form: Shape 355">
            <a:extLst>
              <a:ext uri="{FF2B5EF4-FFF2-40B4-BE49-F238E27FC236}">
                <a16:creationId xmlns:a16="http://schemas.microsoft.com/office/drawing/2014/main" id="{418669F2-FEB3-154A-A8CF-9993AEE47161}"/>
              </a:ext>
            </a:extLst>
          </p:cNvPr>
          <p:cNvSpPr/>
          <p:nvPr/>
        </p:nvSpPr>
        <p:spPr>
          <a:xfrm>
            <a:off x="7721500" y="5229478"/>
            <a:ext cx="840" cy="4547"/>
          </a:xfrm>
          <a:custGeom>
            <a:avLst/>
            <a:gdLst>
              <a:gd name="csX0" fmla="*/ 132 w 1229"/>
              <a:gd name="csY0" fmla="*/ 6659 h 6658"/>
              <a:gd name="csX1" fmla="*/ 1107 w 1229"/>
              <a:gd name="csY1" fmla="*/ 0 h 6658"/>
              <a:gd name="csX2" fmla="*/ 132 w 1229"/>
              <a:gd name="csY2" fmla="*/ 6659 h 665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229" h="6658">
                <a:moveTo>
                  <a:pt x="132" y="6659"/>
                </a:moveTo>
                <a:cubicBezTo>
                  <a:pt x="-219" y="4616"/>
                  <a:pt x="139" y="2560"/>
                  <a:pt x="1107" y="0"/>
                </a:cubicBezTo>
                <a:cubicBezTo>
                  <a:pt x="1425" y="1879"/>
                  <a:pt x="1133" y="4263"/>
                  <a:pt x="132" y="6659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7" name="Free-form: Shape 356">
            <a:extLst>
              <a:ext uri="{FF2B5EF4-FFF2-40B4-BE49-F238E27FC236}">
                <a16:creationId xmlns:a16="http://schemas.microsoft.com/office/drawing/2014/main" id="{D242682A-4EFB-4184-5BB0-7700B572FBAC}"/>
              </a:ext>
            </a:extLst>
          </p:cNvPr>
          <p:cNvSpPr/>
          <p:nvPr/>
        </p:nvSpPr>
        <p:spPr>
          <a:xfrm>
            <a:off x="7647584" y="5251783"/>
            <a:ext cx="2588" cy="931"/>
          </a:xfrm>
          <a:custGeom>
            <a:avLst/>
            <a:gdLst>
              <a:gd name="csX0" fmla="*/ 0 w 3788"/>
              <a:gd name="csY0" fmla="*/ 1364 h 1364"/>
              <a:gd name="csX1" fmla="*/ 3788 w 3788"/>
              <a:gd name="csY1" fmla="*/ 0 h 1364"/>
              <a:gd name="csX2" fmla="*/ 0 w 3788"/>
              <a:gd name="csY2" fmla="*/ 1364 h 136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788" h="1364">
                <a:moveTo>
                  <a:pt x="0" y="1364"/>
                </a:moveTo>
                <a:cubicBezTo>
                  <a:pt x="856" y="517"/>
                  <a:pt x="2126" y="39"/>
                  <a:pt x="3788" y="0"/>
                </a:cubicBezTo>
                <a:cubicBezTo>
                  <a:pt x="2925" y="870"/>
                  <a:pt x="1670" y="1303"/>
                  <a:pt x="0" y="1364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8" name="Free-form: Shape 357">
            <a:extLst>
              <a:ext uri="{FF2B5EF4-FFF2-40B4-BE49-F238E27FC236}">
                <a16:creationId xmlns:a16="http://schemas.microsoft.com/office/drawing/2014/main" id="{B35A01BE-73F5-080C-1B71-CD52CB0F973D}"/>
              </a:ext>
            </a:extLst>
          </p:cNvPr>
          <p:cNvSpPr/>
          <p:nvPr/>
        </p:nvSpPr>
        <p:spPr>
          <a:xfrm>
            <a:off x="7348844" y="5255383"/>
            <a:ext cx="2726" cy="566"/>
          </a:xfrm>
          <a:custGeom>
            <a:avLst/>
            <a:gdLst>
              <a:gd name="csX0" fmla="*/ 0 w 3990"/>
              <a:gd name="csY0" fmla="*/ 719 h 829"/>
              <a:gd name="csX1" fmla="*/ 3990 w 3990"/>
              <a:gd name="csY1" fmla="*/ 119 h 829"/>
              <a:gd name="csX2" fmla="*/ 0 w 3990"/>
              <a:gd name="csY2" fmla="*/ 719 h 82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990" h="829">
                <a:moveTo>
                  <a:pt x="0" y="719"/>
                </a:moveTo>
                <a:cubicBezTo>
                  <a:pt x="982" y="66"/>
                  <a:pt x="2323" y="-163"/>
                  <a:pt x="3990" y="119"/>
                </a:cubicBezTo>
                <a:cubicBezTo>
                  <a:pt x="2998" y="800"/>
                  <a:pt x="1678" y="972"/>
                  <a:pt x="0" y="719"/>
                </a:cubicBezTo>
                <a:close/>
              </a:path>
            </a:pathLst>
          </a:custGeom>
          <a:solidFill>
            <a:srgbClr val="959DA0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9" name="Free-form: Shape 358">
            <a:extLst>
              <a:ext uri="{FF2B5EF4-FFF2-40B4-BE49-F238E27FC236}">
                <a16:creationId xmlns:a16="http://schemas.microsoft.com/office/drawing/2014/main" id="{D8D58E90-007E-0F4C-C8F1-2ADCEADECBBB}"/>
              </a:ext>
            </a:extLst>
          </p:cNvPr>
          <p:cNvSpPr/>
          <p:nvPr/>
        </p:nvSpPr>
        <p:spPr>
          <a:xfrm>
            <a:off x="7580446" y="5258636"/>
            <a:ext cx="2659" cy="775"/>
          </a:xfrm>
          <a:custGeom>
            <a:avLst/>
            <a:gdLst>
              <a:gd name="csX0" fmla="*/ 0 w 3893"/>
              <a:gd name="csY0" fmla="*/ 1133 h 1135"/>
              <a:gd name="csX1" fmla="*/ 3893 w 3893"/>
              <a:gd name="csY1" fmla="*/ 7 h 1135"/>
              <a:gd name="csX2" fmla="*/ 0 w 3893"/>
              <a:gd name="csY2" fmla="*/ 1133 h 113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893" h="1135">
                <a:moveTo>
                  <a:pt x="0" y="1133"/>
                </a:moveTo>
                <a:cubicBezTo>
                  <a:pt x="902" y="349"/>
                  <a:pt x="2213" y="-60"/>
                  <a:pt x="3893" y="7"/>
                </a:cubicBezTo>
                <a:cubicBezTo>
                  <a:pt x="2978" y="825"/>
                  <a:pt x="1693" y="1167"/>
                  <a:pt x="0" y="1133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60" name="Free-form: Shape 359">
            <a:extLst>
              <a:ext uri="{FF2B5EF4-FFF2-40B4-BE49-F238E27FC236}">
                <a16:creationId xmlns:a16="http://schemas.microsoft.com/office/drawing/2014/main" id="{800560A9-5AD1-D5E1-1A71-50A6A1342A15}"/>
              </a:ext>
            </a:extLst>
          </p:cNvPr>
          <p:cNvSpPr/>
          <p:nvPr/>
        </p:nvSpPr>
        <p:spPr>
          <a:xfrm>
            <a:off x="7470890" y="4725505"/>
            <a:ext cx="123846" cy="275447"/>
          </a:xfrm>
          <a:custGeom>
            <a:avLst/>
            <a:gdLst>
              <a:gd name="csX0" fmla="*/ 7554 w 181323"/>
              <a:gd name="csY0" fmla="*/ 172079 h 403282"/>
              <a:gd name="csX1" fmla="*/ 9716 w 181323"/>
              <a:gd name="csY1" fmla="*/ 130641 h 403282"/>
              <a:gd name="csX2" fmla="*/ 7663 w 181323"/>
              <a:gd name="csY2" fmla="*/ 113770 h 403282"/>
              <a:gd name="csX3" fmla="*/ 7598 w 181323"/>
              <a:gd name="csY3" fmla="*/ 8165 h 403282"/>
              <a:gd name="csX4" fmla="*/ 8353 w 181323"/>
              <a:gd name="csY4" fmla="*/ 1259 h 403282"/>
              <a:gd name="csX5" fmla="*/ 17767 w 181323"/>
              <a:gd name="csY5" fmla="*/ 93 h 403282"/>
              <a:gd name="csX6" fmla="*/ 77938 w 181323"/>
              <a:gd name="csY6" fmla="*/ 50 h 403282"/>
              <a:gd name="csX7" fmla="*/ 91081 w 181323"/>
              <a:gd name="csY7" fmla="*/ 10962 h 403282"/>
              <a:gd name="csX8" fmla="*/ 93691 w 181323"/>
              <a:gd name="csY8" fmla="*/ 60963 h 403282"/>
              <a:gd name="csX9" fmla="*/ 100157 w 181323"/>
              <a:gd name="csY9" fmla="*/ 121501 h 403282"/>
              <a:gd name="csX10" fmla="*/ 105540 w 181323"/>
              <a:gd name="csY10" fmla="*/ 158857 h 403282"/>
              <a:gd name="csX11" fmla="*/ 121116 w 181323"/>
              <a:gd name="csY11" fmla="*/ 235269 h 403282"/>
              <a:gd name="csX12" fmla="*/ 152823 w 181323"/>
              <a:gd name="csY12" fmla="*/ 338010 h 403282"/>
              <a:gd name="csX13" fmla="*/ 170877 w 181323"/>
              <a:gd name="csY13" fmla="*/ 378027 h 403282"/>
              <a:gd name="csX14" fmla="*/ 178114 w 181323"/>
              <a:gd name="csY14" fmla="*/ 387682 h 403282"/>
              <a:gd name="csX15" fmla="*/ 181150 w 181323"/>
              <a:gd name="csY15" fmla="*/ 395764 h 403282"/>
              <a:gd name="csX16" fmla="*/ 173480 w 181323"/>
              <a:gd name="csY16" fmla="*/ 402568 h 403282"/>
              <a:gd name="csX17" fmla="*/ 160067 w 181323"/>
              <a:gd name="csY17" fmla="*/ 402936 h 403282"/>
              <a:gd name="csX18" fmla="*/ 121081 w 181323"/>
              <a:gd name="csY18" fmla="*/ 400766 h 403282"/>
              <a:gd name="csX19" fmla="*/ 70912 w 181323"/>
              <a:gd name="csY19" fmla="*/ 401955 h 403282"/>
              <a:gd name="csX20" fmla="*/ 7630 w 181323"/>
              <a:gd name="csY20" fmla="*/ 402999 h 403282"/>
              <a:gd name="csX21" fmla="*/ 710 w 181323"/>
              <a:gd name="csY21" fmla="*/ 401995 h 403282"/>
              <a:gd name="csX22" fmla="*/ 1308 w 181323"/>
              <a:gd name="csY22" fmla="*/ 356708 h 403282"/>
              <a:gd name="csX23" fmla="*/ 2554 w 181323"/>
              <a:gd name="csY23" fmla="*/ 349510 h 403282"/>
              <a:gd name="csX24" fmla="*/ 5071 w 181323"/>
              <a:gd name="csY24" fmla="*/ 271231 h 403282"/>
              <a:gd name="csX25" fmla="*/ 7554 w 181323"/>
              <a:gd name="csY25" fmla="*/ 172079 h 403282"/>
              <a:gd name="csX26" fmla="*/ 98286 w 181323"/>
              <a:gd name="csY26" fmla="*/ 163566 h 403282"/>
              <a:gd name="csX27" fmla="*/ 83497 w 181323"/>
              <a:gd name="csY27" fmla="*/ 8289 h 403282"/>
              <a:gd name="csX28" fmla="*/ 15161 w 181323"/>
              <a:gd name="csY28" fmla="*/ 9148 h 403282"/>
              <a:gd name="csX29" fmla="*/ 15058 w 181323"/>
              <a:gd name="csY29" fmla="*/ 137939 h 403282"/>
              <a:gd name="csX30" fmla="*/ 12252 w 181323"/>
              <a:gd name="csY30" fmla="*/ 266862 h 403282"/>
              <a:gd name="csX31" fmla="*/ 7068 w 181323"/>
              <a:gd name="csY31" fmla="*/ 395996 h 403282"/>
              <a:gd name="csX32" fmla="*/ 171647 w 181323"/>
              <a:gd name="csY32" fmla="*/ 395996 h 403282"/>
              <a:gd name="csX33" fmla="*/ 119950 w 181323"/>
              <a:gd name="csY33" fmla="*/ 259496 h 403282"/>
              <a:gd name="csX34" fmla="*/ 98286 w 181323"/>
              <a:gd name="csY34" fmla="*/ 163566 h 40328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</a:cxnLst>
            <a:rect l="l" t="t" r="r" b="b"/>
            <a:pathLst>
              <a:path w="181323" h="403282">
                <a:moveTo>
                  <a:pt x="7554" y="172079"/>
                </a:moveTo>
                <a:cubicBezTo>
                  <a:pt x="8325" y="157451"/>
                  <a:pt x="9408" y="144055"/>
                  <a:pt x="9716" y="130641"/>
                </a:cubicBezTo>
                <a:cubicBezTo>
                  <a:pt x="9846" y="125037"/>
                  <a:pt x="7695" y="119399"/>
                  <a:pt x="7663" y="113770"/>
                </a:cubicBezTo>
                <a:cubicBezTo>
                  <a:pt x="7461" y="78569"/>
                  <a:pt x="7554" y="43367"/>
                  <a:pt x="7598" y="8165"/>
                </a:cubicBezTo>
                <a:cubicBezTo>
                  <a:pt x="7600" y="6167"/>
                  <a:pt x="8022" y="4170"/>
                  <a:pt x="8353" y="1259"/>
                </a:cubicBezTo>
                <a:cubicBezTo>
                  <a:pt x="11568" y="842"/>
                  <a:pt x="14666" y="109"/>
                  <a:pt x="17767" y="93"/>
                </a:cubicBezTo>
                <a:cubicBezTo>
                  <a:pt x="37824" y="-17"/>
                  <a:pt x="57881" y="-27"/>
                  <a:pt x="77938" y="50"/>
                </a:cubicBezTo>
                <a:cubicBezTo>
                  <a:pt x="89177" y="93"/>
                  <a:pt x="90068" y="113"/>
                  <a:pt x="91081" y="10962"/>
                </a:cubicBezTo>
                <a:cubicBezTo>
                  <a:pt x="92631" y="27565"/>
                  <a:pt x="92329" y="44335"/>
                  <a:pt x="93691" y="60963"/>
                </a:cubicBezTo>
                <a:cubicBezTo>
                  <a:pt x="95348" y="81184"/>
                  <a:pt x="97732" y="101353"/>
                  <a:pt x="100157" y="121501"/>
                </a:cubicBezTo>
                <a:cubicBezTo>
                  <a:pt x="101660" y="133990"/>
                  <a:pt x="104521" y="146343"/>
                  <a:pt x="105540" y="158857"/>
                </a:cubicBezTo>
                <a:cubicBezTo>
                  <a:pt x="107671" y="184993"/>
                  <a:pt x="114147" y="210249"/>
                  <a:pt x="121116" y="235269"/>
                </a:cubicBezTo>
                <a:cubicBezTo>
                  <a:pt x="130731" y="269786"/>
                  <a:pt x="141516" y="304004"/>
                  <a:pt x="152823" y="338010"/>
                </a:cubicBezTo>
                <a:cubicBezTo>
                  <a:pt x="157418" y="351828"/>
                  <a:pt x="164524" y="364837"/>
                  <a:pt x="170877" y="378027"/>
                </a:cubicBezTo>
                <a:cubicBezTo>
                  <a:pt x="172587" y="381579"/>
                  <a:pt x="175985" y="384280"/>
                  <a:pt x="178114" y="387682"/>
                </a:cubicBezTo>
                <a:cubicBezTo>
                  <a:pt x="179669" y="390165"/>
                  <a:pt x="181977" y="393824"/>
                  <a:pt x="181150" y="395764"/>
                </a:cubicBezTo>
                <a:cubicBezTo>
                  <a:pt x="179907" y="398676"/>
                  <a:pt x="176540" y="401705"/>
                  <a:pt x="173480" y="402568"/>
                </a:cubicBezTo>
                <a:cubicBezTo>
                  <a:pt x="169302" y="403746"/>
                  <a:pt x="164551" y="403164"/>
                  <a:pt x="160067" y="402936"/>
                </a:cubicBezTo>
                <a:cubicBezTo>
                  <a:pt x="147066" y="402274"/>
                  <a:pt x="134081" y="400859"/>
                  <a:pt x="121081" y="400766"/>
                </a:cubicBezTo>
                <a:cubicBezTo>
                  <a:pt x="104362" y="400647"/>
                  <a:pt x="87638" y="401607"/>
                  <a:pt x="70912" y="401955"/>
                </a:cubicBezTo>
                <a:cubicBezTo>
                  <a:pt x="49820" y="402394"/>
                  <a:pt x="28725" y="402712"/>
                  <a:pt x="7630" y="402999"/>
                </a:cubicBezTo>
                <a:cubicBezTo>
                  <a:pt x="5684" y="403026"/>
                  <a:pt x="3731" y="402452"/>
                  <a:pt x="710" y="401995"/>
                </a:cubicBezTo>
                <a:cubicBezTo>
                  <a:pt x="219" y="386620"/>
                  <a:pt x="-871" y="371682"/>
                  <a:pt x="1308" y="356708"/>
                </a:cubicBezTo>
                <a:cubicBezTo>
                  <a:pt x="1659" y="354298"/>
                  <a:pt x="2471" y="351920"/>
                  <a:pt x="2554" y="349510"/>
                </a:cubicBezTo>
                <a:cubicBezTo>
                  <a:pt x="3459" y="323419"/>
                  <a:pt x="4345" y="297328"/>
                  <a:pt x="5071" y="271231"/>
                </a:cubicBezTo>
                <a:cubicBezTo>
                  <a:pt x="5979" y="238591"/>
                  <a:pt x="6733" y="205947"/>
                  <a:pt x="7554" y="172079"/>
                </a:cubicBezTo>
                <a:moveTo>
                  <a:pt x="98286" y="163566"/>
                </a:moveTo>
                <a:cubicBezTo>
                  <a:pt x="89288" y="112116"/>
                  <a:pt x="86355" y="60033"/>
                  <a:pt x="83497" y="8289"/>
                </a:cubicBezTo>
                <a:cubicBezTo>
                  <a:pt x="65606" y="5845"/>
                  <a:pt x="24110" y="6470"/>
                  <a:pt x="15161" y="9148"/>
                </a:cubicBezTo>
                <a:cubicBezTo>
                  <a:pt x="15161" y="52045"/>
                  <a:pt x="15527" y="94996"/>
                  <a:pt x="15058" y="137939"/>
                </a:cubicBezTo>
                <a:cubicBezTo>
                  <a:pt x="14587" y="180919"/>
                  <a:pt x="13597" y="223900"/>
                  <a:pt x="12252" y="266862"/>
                </a:cubicBezTo>
                <a:cubicBezTo>
                  <a:pt x="10912" y="309638"/>
                  <a:pt x="8849" y="352391"/>
                  <a:pt x="7068" y="395996"/>
                </a:cubicBezTo>
                <a:cubicBezTo>
                  <a:pt x="62774" y="395996"/>
                  <a:pt x="116821" y="395996"/>
                  <a:pt x="171647" y="395996"/>
                </a:cubicBezTo>
                <a:cubicBezTo>
                  <a:pt x="148550" y="352016"/>
                  <a:pt x="132566" y="306307"/>
                  <a:pt x="119950" y="259496"/>
                </a:cubicBezTo>
                <a:cubicBezTo>
                  <a:pt x="111608" y="228543"/>
                  <a:pt x="105493" y="196989"/>
                  <a:pt x="98286" y="163566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61" name="Free-form: Shape 360">
            <a:extLst>
              <a:ext uri="{FF2B5EF4-FFF2-40B4-BE49-F238E27FC236}">
                <a16:creationId xmlns:a16="http://schemas.microsoft.com/office/drawing/2014/main" id="{CC0CCE56-6AC0-DCEC-9F3A-0D760B03E4FB}"/>
              </a:ext>
            </a:extLst>
          </p:cNvPr>
          <p:cNvSpPr/>
          <p:nvPr/>
        </p:nvSpPr>
        <p:spPr>
          <a:xfrm>
            <a:off x="7472684" y="5183634"/>
            <a:ext cx="230181" cy="52128"/>
          </a:xfrm>
          <a:custGeom>
            <a:avLst/>
            <a:gdLst>
              <a:gd name="csX0" fmla="*/ 297312 w 337008"/>
              <a:gd name="csY0" fmla="*/ 59188 h 76321"/>
              <a:gd name="csX1" fmla="*/ 241991 w 337008"/>
              <a:gd name="csY1" fmla="*/ 66577 h 76321"/>
              <a:gd name="csX2" fmla="*/ 185243 w 337008"/>
              <a:gd name="csY2" fmla="*/ 73717 h 76321"/>
              <a:gd name="csX3" fmla="*/ 182797 w 337008"/>
              <a:gd name="csY3" fmla="*/ 73873 h 76321"/>
              <a:gd name="csX4" fmla="*/ 19866 w 337008"/>
              <a:gd name="csY4" fmla="*/ 76320 h 76321"/>
              <a:gd name="csX5" fmla="*/ 12650 w 337008"/>
              <a:gd name="csY5" fmla="*/ 75242 h 76321"/>
              <a:gd name="csX6" fmla="*/ 19 w 337008"/>
              <a:gd name="csY6" fmla="*/ 59006 h 76321"/>
              <a:gd name="csX7" fmla="*/ 11 w 337008"/>
              <a:gd name="csY7" fmla="*/ 18266 h 76321"/>
              <a:gd name="csX8" fmla="*/ 13547 w 337008"/>
              <a:gd name="csY8" fmla="*/ 17427 h 76321"/>
              <a:gd name="csX9" fmla="*/ 109279 w 337008"/>
              <a:gd name="csY9" fmla="*/ 17200 h 76321"/>
              <a:gd name="csX10" fmla="*/ 173714 w 337008"/>
              <a:gd name="csY10" fmla="*/ 12645 h 76321"/>
              <a:gd name="csX11" fmla="*/ 205309 w 337008"/>
              <a:gd name="csY11" fmla="*/ 10096 h 76321"/>
              <a:gd name="csX12" fmla="*/ 245485 w 337008"/>
              <a:gd name="csY12" fmla="*/ 7449 h 76321"/>
              <a:gd name="csX13" fmla="*/ 288955 w 337008"/>
              <a:gd name="csY13" fmla="*/ 1844 h 76321"/>
              <a:gd name="csX14" fmla="*/ 307132 w 337008"/>
              <a:gd name="csY14" fmla="*/ 164 h 76321"/>
              <a:gd name="csX15" fmla="*/ 324030 w 337008"/>
              <a:gd name="csY15" fmla="*/ 9691 h 76321"/>
              <a:gd name="csX16" fmla="*/ 336033 w 337008"/>
              <a:gd name="csY16" fmla="*/ 39107 h 76321"/>
              <a:gd name="csX17" fmla="*/ 328060 w 337008"/>
              <a:gd name="csY17" fmla="*/ 52413 h 76321"/>
              <a:gd name="csX18" fmla="*/ 297312 w 337008"/>
              <a:gd name="csY18" fmla="*/ 59188 h 76321"/>
              <a:gd name="csX19" fmla="*/ 207688 w 337008"/>
              <a:gd name="csY19" fmla="*/ 64284 h 76321"/>
              <a:gd name="csX20" fmla="*/ 330050 w 337008"/>
              <a:gd name="csY20" fmla="*/ 45606 h 76321"/>
              <a:gd name="csX21" fmla="*/ 317356 w 337008"/>
              <a:gd name="csY21" fmla="*/ 11297 h 76321"/>
              <a:gd name="csX22" fmla="*/ 304170 w 337008"/>
              <a:gd name="csY22" fmla="*/ 5545 h 76321"/>
              <a:gd name="csX23" fmla="*/ 273851 w 337008"/>
              <a:gd name="csY23" fmla="*/ 10014 h 76321"/>
              <a:gd name="csX24" fmla="*/ 163935 w 337008"/>
              <a:gd name="csY24" fmla="*/ 20274 h 76321"/>
              <a:gd name="csX25" fmla="*/ 17973 w 337008"/>
              <a:gd name="csY25" fmla="*/ 22950 h 76321"/>
              <a:gd name="csX26" fmla="*/ 7372 w 337008"/>
              <a:gd name="csY26" fmla="*/ 23601 h 76321"/>
              <a:gd name="csX27" fmla="*/ 7372 w 337008"/>
              <a:gd name="csY27" fmla="*/ 67898 h 76321"/>
              <a:gd name="csX28" fmla="*/ 207688 w 337008"/>
              <a:gd name="csY28" fmla="*/ 64284 h 7632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</a:cxnLst>
            <a:rect l="l" t="t" r="r" b="b"/>
            <a:pathLst>
              <a:path w="337008" h="76321">
                <a:moveTo>
                  <a:pt x="297312" y="59188"/>
                </a:moveTo>
                <a:cubicBezTo>
                  <a:pt x="278167" y="61672"/>
                  <a:pt x="260091" y="64212"/>
                  <a:pt x="241991" y="66577"/>
                </a:cubicBezTo>
                <a:cubicBezTo>
                  <a:pt x="223087" y="69047"/>
                  <a:pt x="204161" y="71350"/>
                  <a:pt x="185243" y="73717"/>
                </a:cubicBezTo>
                <a:cubicBezTo>
                  <a:pt x="184433" y="73818"/>
                  <a:pt x="183613" y="73861"/>
                  <a:pt x="182797" y="73873"/>
                </a:cubicBezTo>
                <a:cubicBezTo>
                  <a:pt x="128487" y="74710"/>
                  <a:pt x="74176" y="75556"/>
                  <a:pt x="19866" y="76320"/>
                </a:cubicBezTo>
                <a:cubicBezTo>
                  <a:pt x="17463" y="76354"/>
                  <a:pt x="15013" y="75797"/>
                  <a:pt x="12650" y="75242"/>
                </a:cubicBezTo>
                <a:cubicBezTo>
                  <a:pt x="80" y="72288"/>
                  <a:pt x="58" y="72258"/>
                  <a:pt x="19" y="59006"/>
                </a:cubicBezTo>
                <a:cubicBezTo>
                  <a:pt x="-19" y="45942"/>
                  <a:pt x="11" y="32877"/>
                  <a:pt x="11" y="18266"/>
                </a:cubicBezTo>
                <a:cubicBezTo>
                  <a:pt x="4987" y="17944"/>
                  <a:pt x="9266" y="17435"/>
                  <a:pt x="13547" y="17427"/>
                </a:cubicBezTo>
                <a:cubicBezTo>
                  <a:pt x="45459" y="17362"/>
                  <a:pt x="77385" y="17975"/>
                  <a:pt x="109279" y="17200"/>
                </a:cubicBezTo>
                <a:cubicBezTo>
                  <a:pt x="130782" y="16677"/>
                  <a:pt x="152239" y="14265"/>
                  <a:pt x="173714" y="12645"/>
                </a:cubicBezTo>
                <a:cubicBezTo>
                  <a:pt x="184250" y="11850"/>
                  <a:pt x="194770" y="10836"/>
                  <a:pt x="205309" y="10096"/>
                </a:cubicBezTo>
                <a:cubicBezTo>
                  <a:pt x="218698" y="9156"/>
                  <a:pt x="232139" y="8783"/>
                  <a:pt x="245485" y="7449"/>
                </a:cubicBezTo>
                <a:cubicBezTo>
                  <a:pt x="260017" y="5997"/>
                  <a:pt x="274456" y="3648"/>
                  <a:pt x="288955" y="1844"/>
                </a:cubicBezTo>
                <a:cubicBezTo>
                  <a:pt x="294991" y="1094"/>
                  <a:pt x="301100" y="930"/>
                  <a:pt x="307132" y="164"/>
                </a:cubicBezTo>
                <a:cubicBezTo>
                  <a:pt x="315239" y="-865"/>
                  <a:pt x="320841" y="3022"/>
                  <a:pt x="324030" y="9691"/>
                </a:cubicBezTo>
                <a:cubicBezTo>
                  <a:pt x="328594" y="19236"/>
                  <a:pt x="332712" y="29070"/>
                  <a:pt x="336033" y="39107"/>
                </a:cubicBezTo>
                <a:cubicBezTo>
                  <a:pt x="338557" y="46735"/>
                  <a:pt x="336278" y="50185"/>
                  <a:pt x="328060" y="52413"/>
                </a:cubicBezTo>
                <a:cubicBezTo>
                  <a:pt x="318273" y="55068"/>
                  <a:pt x="308277" y="56950"/>
                  <a:pt x="297312" y="59188"/>
                </a:cubicBezTo>
                <a:moveTo>
                  <a:pt x="207688" y="64284"/>
                </a:moveTo>
                <a:cubicBezTo>
                  <a:pt x="248681" y="60632"/>
                  <a:pt x="289317" y="54812"/>
                  <a:pt x="330050" y="45606"/>
                </a:cubicBezTo>
                <a:cubicBezTo>
                  <a:pt x="327603" y="32443"/>
                  <a:pt x="323777" y="21532"/>
                  <a:pt x="317356" y="11297"/>
                </a:cubicBezTo>
                <a:cubicBezTo>
                  <a:pt x="313908" y="5803"/>
                  <a:pt x="310145" y="4465"/>
                  <a:pt x="304170" y="5545"/>
                </a:cubicBezTo>
                <a:cubicBezTo>
                  <a:pt x="294121" y="7361"/>
                  <a:pt x="284007" y="9006"/>
                  <a:pt x="273851" y="10014"/>
                </a:cubicBezTo>
                <a:cubicBezTo>
                  <a:pt x="237233" y="13650"/>
                  <a:pt x="200632" y="17661"/>
                  <a:pt x="163935" y="20274"/>
                </a:cubicBezTo>
                <a:cubicBezTo>
                  <a:pt x="115360" y="23734"/>
                  <a:pt x="66701" y="25937"/>
                  <a:pt x="17973" y="22950"/>
                </a:cubicBezTo>
                <a:cubicBezTo>
                  <a:pt x="14492" y="22737"/>
                  <a:pt x="10959" y="23361"/>
                  <a:pt x="7372" y="23601"/>
                </a:cubicBezTo>
                <a:cubicBezTo>
                  <a:pt x="7372" y="38609"/>
                  <a:pt x="7372" y="52361"/>
                  <a:pt x="7372" y="67898"/>
                </a:cubicBezTo>
                <a:cubicBezTo>
                  <a:pt x="74001" y="69806"/>
                  <a:pt x="139746" y="71025"/>
                  <a:pt x="207688" y="64284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62" name="Free-form: Shape 361">
            <a:extLst>
              <a:ext uri="{FF2B5EF4-FFF2-40B4-BE49-F238E27FC236}">
                <a16:creationId xmlns:a16="http://schemas.microsoft.com/office/drawing/2014/main" id="{386ED9A4-AB09-7DAA-A0A4-FFB3F11228EC}"/>
              </a:ext>
            </a:extLst>
          </p:cNvPr>
          <p:cNvSpPr/>
          <p:nvPr/>
        </p:nvSpPr>
        <p:spPr>
          <a:xfrm>
            <a:off x="7476790" y="5022534"/>
            <a:ext cx="207269" cy="145956"/>
          </a:xfrm>
          <a:custGeom>
            <a:avLst/>
            <a:gdLst>
              <a:gd name="csX0" fmla="*/ 14160 w 303463"/>
              <a:gd name="csY0" fmla="*/ 7889 h 213695"/>
              <a:gd name="csX1" fmla="*/ 195033 w 303463"/>
              <a:gd name="csY1" fmla="*/ 0 h 213695"/>
              <a:gd name="csX2" fmla="*/ 197208 w 303463"/>
              <a:gd name="csY2" fmla="*/ 5635 h 213695"/>
              <a:gd name="csX3" fmla="*/ 227014 w 303463"/>
              <a:gd name="csY3" fmla="*/ 60660 h 213695"/>
              <a:gd name="csX4" fmla="*/ 265823 w 303463"/>
              <a:gd name="csY4" fmla="*/ 98217 h 213695"/>
              <a:gd name="csX5" fmla="*/ 303210 w 303463"/>
              <a:gd name="csY5" fmla="*/ 180358 h 213695"/>
              <a:gd name="csX6" fmla="*/ 303282 w 303463"/>
              <a:gd name="csY6" fmla="*/ 193964 h 213695"/>
              <a:gd name="csX7" fmla="*/ 4971 w 303463"/>
              <a:gd name="csY7" fmla="*/ 213017 h 213695"/>
              <a:gd name="csX8" fmla="*/ 5093 w 303463"/>
              <a:gd name="csY8" fmla="*/ 173484 h 213695"/>
              <a:gd name="csX9" fmla="*/ 4767 w 303463"/>
              <a:gd name="csY9" fmla="*/ 54607 h 213695"/>
              <a:gd name="csX10" fmla="*/ 0 w 303463"/>
              <a:gd name="csY10" fmla="*/ 7887 h 213695"/>
              <a:gd name="csX11" fmla="*/ 14160 w 303463"/>
              <a:gd name="csY11" fmla="*/ 7889 h 21369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303463" h="213695">
                <a:moveTo>
                  <a:pt x="14160" y="7889"/>
                </a:moveTo>
                <a:cubicBezTo>
                  <a:pt x="75371" y="8627"/>
                  <a:pt x="135292" y="5744"/>
                  <a:pt x="195033" y="0"/>
                </a:cubicBezTo>
                <a:cubicBezTo>
                  <a:pt x="196084" y="2662"/>
                  <a:pt x="196986" y="4099"/>
                  <a:pt x="197208" y="5635"/>
                </a:cubicBezTo>
                <a:cubicBezTo>
                  <a:pt x="200391" y="27650"/>
                  <a:pt x="211307" y="45450"/>
                  <a:pt x="227014" y="60660"/>
                </a:cubicBezTo>
                <a:cubicBezTo>
                  <a:pt x="239947" y="73182"/>
                  <a:pt x="253006" y="85577"/>
                  <a:pt x="265823" y="98217"/>
                </a:cubicBezTo>
                <a:cubicBezTo>
                  <a:pt x="288727" y="120806"/>
                  <a:pt x="299071" y="149215"/>
                  <a:pt x="303210" y="180358"/>
                </a:cubicBezTo>
                <a:cubicBezTo>
                  <a:pt x="303735" y="184317"/>
                  <a:pt x="303282" y="188405"/>
                  <a:pt x="303282" y="193964"/>
                </a:cubicBezTo>
                <a:cubicBezTo>
                  <a:pt x="204065" y="208804"/>
                  <a:pt x="105022" y="216044"/>
                  <a:pt x="4971" y="213017"/>
                </a:cubicBezTo>
                <a:cubicBezTo>
                  <a:pt x="4971" y="199268"/>
                  <a:pt x="4314" y="186332"/>
                  <a:pt x="5093" y="173484"/>
                </a:cubicBezTo>
                <a:cubicBezTo>
                  <a:pt x="7497" y="133835"/>
                  <a:pt x="8211" y="94216"/>
                  <a:pt x="4767" y="54607"/>
                </a:cubicBezTo>
                <a:cubicBezTo>
                  <a:pt x="3464" y="39611"/>
                  <a:pt x="1725" y="24653"/>
                  <a:pt x="0" y="7887"/>
                </a:cubicBezTo>
                <a:cubicBezTo>
                  <a:pt x="4390" y="7887"/>
                  <a:pt x="8696" y="7887"/>
                  <a:pt x="14160" y="7889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63" name="Free-form: Shape 362">
            <a:extLst>
              <a:ext uri="{FF2B5EF4-FFF2-40B4-BE49-F238E27FC236}">
                <a16:creationId xmlns:a16="http://schemas.microsoft.com/office/drawing/2014/main" id="{7E8C3EB3-E1AB-C29F-9EAD-210AAEFF7D83}"/>
              </a:ext>
            </a:extLst>
          </p:cNvPr>
          <p:cNvSpPr/>
          <p:nvPr/>
        </p:nvSpPr>
        <p:spPr>
          <a:xfrm>
            <a:off x="7479537" y="4674144"/>
            <a:ext cx="107321" cy="28231"/>
          </a:xfrm>
          <a:custGeom>
            <a:avLst/>
            <a:gdLst>
              <a:gd name="csX0" fmla="*/ 69625 w 157129"/>
              <a:gd name="csY0" fmla="*/ 0 h 41334"/>
              <a:gd name="csX1" fmla="*/ 119596 w 157129"/>
              <a:gd name="csY1" fmla="*/ 1945 h 41334"/>
              <a:gd name="csX2" fmla="*/ 150973 w 157129"/>
              <a:gd name="csY2" fmla="*/ 14889 h 41334"/>
              <a:gd name="csX3" fmla="*/ 151351 w 157129"/>
              <a:gd name="csY3" fmla="*/ 34058 h 41334"/>
              <a:gd name="csX4" fmla="*/ 133492 w 157129"/>
              <a:gd name="csY4" fmla="*/ 40697 h 41334"/>
              <a:gd name="csX5" fmla="*/ 106556 w 157129"/>
              <a:gd name="csY5" fmla="*/ 41092 h 41334"/>
              <a:gd name="csX6" fmla="*/ 13373 w 157129"/>
              <a:gd name="csY6" fmla="*/ 40708 h 41334"/>
              <a:gd name="csX7" fmla="*/ 1312 w 157129"/>
              <a:gd name="csY7" fmla="*/ 40191 h 41334"/>
              <a:gd name="csX8" fmla="*/ 3367 w 157129"/>
              <a:gd name="csY8" fmla="*/ 13162 h 41334"/>
              <a:gd name="csX9" fmla="*/ 20752 w 157129"/>
              <a:gd name="csY9" fmla="*/ 1879 h 41334"/>
              <a:gd name="csX10" fmla="*/ 52625 w 157129"/>
              <a:gd name="csY10" fmla="*/ 1332 h 41334"/>
              <a:gd name="csX11" fmla="*/ 69625 w 157129"/>
              <a:gd name="csY11" fmla="*/ 0 h 4133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157129" h="41334">
                <a:moveTo>
                  <a:pt x="69625" y="0"/>
                </a:moveTo>
                <a:cubicBezTo>
                  <a:pt x="87054" y="491"/>
                  <a:pt x="103407" y="373"/>
                  <a:pt x="119596" y="1945"/>
                </a:cubicBezTo>
                <a:cubicBezTo>
                  <a:pt x="131020" y="3055"/>
                  <a:pt x="141713" y="7767"/>
                  <a:pt x="150973" y="14889"/>
                </a:cubicBezTo>
                <a:cubicBezTo>
                  <a:pt x="158820" y="20925"/>
                  <a:pt x="159403" y="28236"/>
                  <a:pt x="151351" y="34058"/>
                </a:cubicBezTo>
                <a:cubicBezTo>
                  <a:pt x="146355" y="37671"/>
                  <a:pt x="139678" y="39910"/>
                  <a:pt x="133492" y="40697"/>
                </a:cubicBezTo>
                <a:cubicBezTo>
                  <a:pt x="124640" y="41824"/>
                  <a:pt x="115547" y="41120"/>
                  <a:pt x="106556" y="41092"/>
                </a:cubicBezTo>
                <a:cubicBezTo>
                  <a:pt x="75495" y="40996"/>
                  <a:pt x="44434" y="40872"/>
                  <a:pt x="13373" y="40708"/>
                </a:cubicBezTo>
                <a:cubicBezTo>
                  <a:pt x="9391" y="40687"/>
                  <a:pt x="5410" y="40374"/>
                  <a:pt x="1312" y="40191"/>
                </a:cubicBezTo>
                <a:cubicBezTo>
                  <a:pt x="-1416" y="30384"/>
                  <a:pt x="523" y="21512"/>
                  <a:pt x="3367" y="13162"/>
                </a:cubicBezTo>
                <a:cubicBezTo>
                  <a:pt x="5963" y="5538"/>
                  <a:pt x="12701" y="2077"/>
                  <a:pt x="20752" y="1879"/>
                </a:cubicBezTo>
                <a:cubicBezTo>
                  <a:pt x="31375" y="1617"/>
                  <a:pt x="42004" y="1647"/>
                  <a:pt x="52625" y="1332"/>
                </a:cubicBezTo>
                <a:cubicBezTo>
                  <a:pt x="57918" y="1176"/>
                  <a:pt x="63195" y="535"/>
                  <a:pt x="69625" y="0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64" name="Free-form: Shape 363">
            <a:extLst>
              <a:ext uri="{FF2B5EF4-FFF2-40B4-BE49-F238E27FC236}">
                <a16:creationId xmlns:a16="http://schemas.microsoft.com/office/drawing/2014/main" id="{3F346962-9DDD-561D-931D-CAE18A1741C6}"/>
              </a:ext>
            </a:extLst>
          </p:cNvPr>
          <p:cNvSpPr/>
          <p:nvPr/>
        </p:nvSpPr>
        <p:spPr>
          <a:xfrm>
            <a:off x="7475718" y="4730120"/>
            <a:ext cx="112410" cy="265855"/>
          </a:xfrm>
          <a:custGeom>
            <a:avLst/>
            <a:gdLst>
              <a:gd name="csX0" fmla="*/ 91265 w 164579"/>
              <a:gd name="csY0" fmla="*/ 157878 h 389238"/>
              <a:gd name="csX1" fmla="*/ 112882 w 164579"/>
              <a:gd name="csY1" fmla="*/ 252738 h 389238"/>
              <a:gd name="csX2" fmla="*/ 164579 w 164579"/>
              <a:gd name="csY2" fmla="*/ 389238 h 389238"/>
              <a:gd name="csX3" fmla="*/ 0 w 164579"/>
              <a:gd name="csY3" fmla="*/ 389238 h 389238"/>
              <a:gd name="csX4" fmla="*/ 5184 w 164579"/>
              <a:gd name="csY4" fmla="*/ 260105 h 389238"/>
              <a:gd name="csX5" fmla="*/ 7989 w 164579"/>
              <a:gd name="csY5" fmla="*/ 131182 h 389238"/>
              <a:gd name="csX6" fmla="*/ 8093 w 164579"/>
              <a:gd name="csY6" fmla="*/ 2390 h 389238"/>
              <a:gd name="csX7" fmla="*/ 76429 w 164579"/>
              <a:gd name="csY7" fmla="*/ 1531 h 389238"/>
              <a:gd name="csX8" fmla="*/ 91265 w 164579"/>
              <a:gd name="csY8" fmla="*/ 157878 h 38923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</a:cxnLst>
            <a:rect l="l" t="t" r="r" b="b"/>
            <a:pathLst>
              <a:path w="164579" h="389238">
                <a:moveTo>
                  <a:pt x="91265" y="157878"/>
                </a:moveTo>
                <a:cubicBezTo>
                  <a:pt x="98425" y="190232"/>
                  <a:pt x="104539" y="221785"/>
                  <a:pt x="112882" y="252738"/>
                </a:cubicBezTo>
                <a:cubicBezTo>
                  <a:pt x="125498" y="299549"/>
                  <a:pt x="141482" y="345258"/>
                  <a:pt x="164579" y="389238"/>
                </a:cubicBezTo>
                <a:cubicBezTo>
                  <a:pt x="109753" y="389238"/>
                  <a:pt x="55706" y="389238"/>
                  <a:pt x="0" y="389238"/>
                </a:cubicBezTo>
                <a:cubicBezTo>
                  <a:pt x="1781" y="345633"/>
                  <a:pt x="3844" y="302880"/>
                  <a:pt x="5184" y="260105"/>
                </a:cubicBezTo>
                <a:cubicBezTo>
                  <a:pt x="6529" y="217143"/>
                  <a:pt x="7519" y="174162"/>
                  <a:pt x="7989" y="131182"/>
                </a:cubicBezTo>
                <a:cubicBezTo>
                  <a:pt x="8459" y="88239"/>
                  <a:pt x="8093" y="45287"/>
                  <a:pt x="8093" y="2390"/>
                </a:cubicBezTo>
                <a:cubicBezTo>
                  <a:pt x="17041" y="-288"/>
                  <a:pt x="58537" y="-913"/>
                  <a:pt x="76429" y="1531"/>
                </a:cubicBezTo>
                <a:cubicBezTo>
                  <a:pt x="79287" y="53276"/>
                  <a:pt x="82219" y="105359"/>
                  <a:pt x="91265" y="157878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65" name="Free-form: Shape 364">
            <a:extLst>
              <a:ext uri="{FF2B5EF4-FFF2-40B4-BE49-F238E27FC236}">
                <a16:creationId xmlns:a16="http://schemas.microsoft.com/office/drawing/2014/main" id="{ED53E896-A890-E68A-1013-E6E165AEE26F}"/>
              </a:ext>
            </a:extLst>
          </p:cNvPr>
          <p:cNvSpPr/>
          <p:nvPr/>
        </p:nvSpPr>
        <p:spPr>
          <a:xfrm>
            <a:off x="7477718" y="5187184"/>
            <a:ext cx="220393" cy="43851"/>
          </a:xfrm>
          <a:custGeom>
            <a:avLst/>
            <a:gdLst>
              <a:gd name="csX0" fmla="*/ 199184 w 322677"/>
              <a:gd name="csY0" fmla="*/ 59136 h 64202"/>
              <a:gd name="csX1" fmla="*/ 0 w 322677"/>
              <a:gd name="csY1" fmla="*/ 62697 h 64202"/>
              <a:gd name="csX2" fmla="*/ 0 w 322677"/>
              <a:gd name="csY2" fmla="*/ 18400 h 64202"/>
              <a:gd name="csX3" fmla="*/ 10601 w 322677"/>
              <a:gd name="csY3" fmla="*/ 17750 h 64202"/>
              <a:gd name="csX4" fmla="*/ 156563 w 322677"/>
              <a:gd name="csY4" fmla="*/ 15074 h 64202"/>
              <a:gd name="csX5" fmla="*/ 266479 w 322677"/>
              <a:gd name="csY5" fmla="*/ 4814 h 64202"/>
              <a:gd name="csX6" fmla="*/ 296798 w 322677"/>
              <a:gd name="csY6" fmla="*/ 344 h 64202"/>
              <a:gd name="csX7" fmla="*/ 309983 w 322677"/>
              <a:gd name="csY7" fmla="*/ 6097 h 64202"/>
              <a:gd name="csX8" fmla="*/ 322678 w 322677"/>
              <a:gd name="csY8" fmla="*/ 40406 h 64202"/>
              <a:gd name="csX9" fmla="*/ 199184 w 322677"/>
              <a:gd name="csY9" fmla="*/ 59136 h 6420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322677" h="64202">
                <a:moveTo>
                  <a:pt x="199184" y="59136"/>
                </a:moveTo>
                <a:cubicBezTo>
                  <a:pt x="132374" y="65824"/>
                  <a:pt x="66629" y="64605"/>
                  <a:pt x="0" y="62697"/>
                </a:cubicBezTo>
                <a:cubicBezTo>
                  <a:pt x="0" y="47160"/>
                  <a:pt x="0" y="33409"/>
                  <a:pt x="0" y="18400"/>
                </a:cubicBezTo>
                <a:cubicBezTo>
                  <a:pt x="3587" y="18160"/>
                  <a:pt x="7120" y="17536"/>
                  <a:pt x="10601" y="17750"/>
                </a:cubicBezTo>
                <a:cubicBezTo>
                  <a:pt x="59329" y="20736"/>
                  <a:pt x="107987" y="18533"/>
                  <a:pt x="156563" y="15074"/>
                </a:cubicBezTo>
                <a:cubicBezTo>
                  <a:pt x="193260" y="12461"/>
                  <a:pt x="229860" y="8449"/>
                  <a:pt x="266479" y="4814"/>
                </a:cubicBezTo>
                <a:cubicBezTo>
                  <a:pt x="276635" y="3806"/>
                  <a:pt x="286748" y="2160"/>
                  <a:pt x="296798" y="344"/>
                </a:cubicBezTo>
                <a:cubicBezTo>
                  <a:pt x="302773" y="-735"/>
                  <a:pt x="306536" y="602"/>
                  <a:pt x="309983" y="6097"/>
                </a:cubicBezTo>
                <a:cubicBezTo>
                  <a:pt x="316405" y="16331"/>
                  <a:pt x="320231" y="27243"/>
                  <a:pt x="322678" y="40406"/>
                </a:cubicBezTo>
                <a:cubicBezTo>
                  <a:pt x="281944" y="49611"/>
                  <a:pt x="241309" y="55431"/>
                  <a:pt x="199184" y="59136"/>
                </a:cubicBezTo>
                <a:close/>
              </a:path>
            </a:pathLst>
          </a:custGeom>
          <a:solidFill>
            <a:schemeClr val="bg1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66" name="Free-form: Shape 365">
            <a:extLst>
              <a:ext uri="{FF2B5EF4-FFF2-40B4-BE49-F238E27FC236}">
                <a16:creationId xmlns:a16="http://schemas.microsoft.com/office/drawing/2014/main" id="{E40064C8-50A8-96CA-948D-79E5B7931F6E}"/>
              </a:ext>
            </a:extLst>
          </p:cNvPr>
          <p:cNvSpPr/>
          <p:nvPr/>
        </p:nvSpPr>
        <p:spPr>
          <a:xfrm>
            <a:off x="7558694" y="4470003"/>
            <a:ext cx="61317" cy="24570"/>
          </a:xfrm>
          <a:custGeom>
            <a:avLst/>
            <a:gdLst>
              <a:gd name="csX0" fmla="*/ 94424 w 144688"/>
              <a:gd name="csY0" fmla="*/ 9299 h 52707"/>
              <a:gd name="csX1" fmla="*/ 121261 w 144688"/>
              <a:gd name="csY1" fmla="*/ 16460 h 52707"/>
              <a:gd name="csX2" fmla="*/ 143563 w 144688"/>
              <a:gd name="csY2" fmla="*/ 43347 h 52707"/>
              <a:gd name="csX3" fmla="*/ 144689 w 144688"/>
              <a:gd name="csY3" fmla="*/ 52708 h 52707"/>
              <a:gd name="csX4" fmla="*/ 349 w 144688"/>
              <a:gd name="csY4" fmla="*/ 52708 h 52707"/>
              <a:gd name="csX5" fmla="*/ 738 w 144688"/>
              <a:gd name="csY5" fmla="*/ 572 h 52707"/>
              <a:gd name="csX6" fmla="*/ 94424 w 144688"/>
              <a:gd name="csY6" fmla="*/ 9299 h 5270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</a:cxnLst>
            <a:rect l="l" t="t" r="r" b="b"/>
            <a:pathLst>
              <a:path w="144688" h="52707">
                <a:moveTo>
                  <a:pt x="94424" y="9299"/>
                </a:moveTo>
                <a:cubicBezTo>
                  <a:pt x="104138" y="11826"/>
                  <a:pt x="112739" y="14007"/>
                  <a:pt x="121261" y="16460"/>
                </a:cubicBezTo>
                <a:cubicBezTo>
                  <a:pt x="134742" y="20340"/>
                  <a:pt x="143121" y="28544"/>
                  <a:pt x="143563" y="43347"/>
                </a:cubicBezTo>
                <a:cubicBezTo>
                  <a:pt x="143645" y="46090"/>
                  <a:pt x="144206" y="48818"/>
                  <a:pt x="144689" y="52708"/>
                </a:cubicBezTo>
                <a:cubicBezTo>
                  <a:pt x="96675" y="52708"/>
                  <a:pt x="49316" y="52708"/>
                  <a:pt x="349" y="52708"/>
                </a:cubicBezTo>
                <a:cubicBezTo>
                  <a:pt x="-379" y="35695"/>
                  <a:pt x="172" y="18742"/>
                  <a:pt x="738" y="572"/>
                </a:cubicBezTo>
                <a:cubicBezTo>
                  <a:pt x="32910" y="-1712"/>
                  <a:pt x="63133" y="3179"/>
                  <a:pt x="94424" y="9299"/>
                </a:cubicBezTo>
                <a:close/>
              </a:path>
            </a:pathLst>
          </a:custGeom>
          <a:solidFill>
            <a:srgbClr val="FBFCFB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67" name="Free-form: Shape 366">
            <a:extLst>
              <a:ext uri="{FF2B5EF4-FFF2-40B4-BE49-F238E27FC236}">
                <a16:creationId xmlns:a16="http://schemas.microsoft.com/office/drawing/2014/main" id="{FD6E2D30-7DB4-B82A-298F-85A93C048BB0}"/>
              </a:ext>
            </a:extLst>
          </p:cNvPr>
          <p:cNvSpPr/>
          <p:nvPr/>
        </p:nvSpPr>
        <p:spPr>
          <a:xfrm>
            <a:off x="7557211" y="4980451"/>
            <a:ext cx="149086" cy="475360"/>
          </a:xfrm>
          <a:custGeom>
            <a:avLst/>
            <a:gdLst>
              <a:gd name="csX0" fmla="*/ 0 w 351791"/>
              <a:gd name="csY0" fmla="*/ 975370 h 1019713"/>
              <a:gd name="csX1" fmla="*/ 2187 w 351791"/>
              <a:gd name="csY1" fmla="*/ 923083 h 1019713"/>
              <a:gd name="csX2" fmla="*/ 2287 w 351791"/>
              <a:gd name="csY2" fmla="*/ 897079 h 1019713"/>
              <a:gd name="csX3" fmla="*/ 2799 w 351791"/>
              <a:gd name="csY3" fmla="*/ 849144 h 1019713"/>
              <a:gd name="csX4" fmla="*/ 5052 w 351791"/>
              <a:gd name="csY4" fmla="*/ 773650 h 1019713"/>
              <a:gd name="csX5" fmla="*/ 7113 w 351791"/>
              <a:gd name="csY5" fmla="*/ 630071 h 1019713"/>
              <a:gd name="csX6" fmla="*/ 9133 w 351791"/>
              <a:gd name="csY6" fmla="*/ 528600 h 1019713"/>
              <a:gd name="csX7" fmla="*/ 9163 w 351791"/>
              <a:gd name="csY7" fmla="*/ 497413 h 1019713"/>
              <a:gd name="csX8" fmla="*/ 11812 w 351791"/>
              <a:gd name="csY8" fmla="*/ 379910 h 1019713"/>
              <a:gd name="csX9" fmla="*/ 12024 w 351791"/>
              <a:gd name="csY9" fmla="*/ 348726 h 1019713"/>
              <a:gd name="csX10" fmla="*/ 14645 w 351791"/>
              <a:gd name="csY10" fmla="*/ 239691 h 1019713"/>
              <a:gd name="csX11" fmla="*/ 14784 w 351791"/>
              <a:gd name="csY11" fmla="*/ 214091 h 1019713"/>
              <a:gd name="csX12" fmla="*/ 17570 w 351791"/>
              <a:gd name="csY12" fmla="*/ 88165 h 1019713"/>
              <a:gd name="csX13" fmla="*/ 17615 w 351791"/>
              <a:gd name="csY13" fmla="*/ 37421 h 1019713"/>
              <a:gd name="csX14" fmla="*/ 18182 w 351791"/>
              <a:gd name="csY14" fmla="*/ 15484 h 1019713"/>
              <a:gd name="csX15" fmla="*/ 22091 w 351791"/>
              <a:gd name="csY15" fmla="*/ 2787 h 1019713"/>
              <a:gd name="csX16" fmla="*/ 54703 w 351791"/>
              <a:gd name="csY16" fmla="*/ 2968 h 1019713"/>
              <a:gd name="csX17" fmla="*/ 102677 w 351791"/>
              <a:gd name="csY17" fmla="*/ 2086 h 1019713"/>
              <a:gd name="csX18" fmla="*/ 175262 w 351791"/>
              <a:gd name="csY18" fmla="*/ 0 h 1019713"/>
              <a:gd name="csX19" fmla="*/ 189022 w 351791"/>
              <a:gd name="csY19" fmla="*/ 1595 h 1019713"/>
              <a:gd name="csX20" fmla="*/ 190628 w 351791"/>
              <a:gd name="csY20" fmla="*/ 112461 h 1019713"/>
              <a:gd name="csX21" fmla="*/ 191584 w 351791"/>
              <a:gd name="csY21" fmla="*/ 129605 h 1019713"/>
              <a:gd name="csX22" fmla="*/ 193429 w 351791"/>
              <a:gd name="csY22" fmla="*/ 173943 h 1019713"/>
              <a:gd name="csX23" fmla="*/ 194215 w 351791"/>
              <a:gd name="csY23" fmla="*/ 182908 h 1019713"/>
              <a:gd name="csX24" fmla="*/ 196316 w 351791"/>
              <a:gd name="csY24" fmla="*/ 215902 h 1019713"/>
              <a:gd name="csX25" fmla="*/ 196980 w 351791"/>
              <a:gd name="csY25" fmla="*/ 222182 h 1019713"/>
              <a:gd name="csX26" fmla="*/ 198972 w 351791"/>
              <a:gd name="csY26" fmla="*/ 249680 h 1019713"/>
              <a:gd name="csX27" fmla="*/ 199949 w 351791"/>
              <a:gd name="csY27" fmla="*/ 258553 h 1019713"/>
              <a:gd name="csX28" fmla="*/ 201912 w 351791"/>
              <a:gd name="csY28" fmla="*/ 280418 h 1019713"/>
              <a:gd name="csX29" fmla="*/ 202686 w 351791"/>
              <a:gd name="csY29" fmla="*/ 286632 h 1019713"/>
              <a:gd name="csX30" fmla="*/ 204600 w 351791"/>
              <a:gd name="csY30" fmla="*/ 308453 h 1019713"/>
              <a:gd name="csX31" fmla="*/ 205443 w 351791"/>
              <a:gd name="csY31" fmla="*/ 314650 h 1019713"/>
              <a:gd name="csX32" fmla="*/ 207431 w 351791"/>
              <a:gd name="csY32" fmla="*/ 333707 h 1019713"/>
              <a:gd name="csX33" fmla="*/ 208345 w 351791"/>
              <a:gd name="csY33" fmla="*/ 339842 h 1019713"/>
              <a:gd name="csX34" fmla="*/ 210218 w 351791"/>
              <a:gd name="csY34" fmla="*/ 356144 h 1019713"/>
              <a:gd name="csX35" fmla="*/ 211157 w 351791"/>
              <a:gd name="csY35" fmla="*/ 362375 h 1019713"/>
              <a:gd name="csX36" fmla="*/ 215820 w 351791"/>
              <a:gd name="csY36" fmla="*/ 398224 h 1019713"/>
              <a:gd name="csX37" fmla="*/ 216821 w 351791"/>
              <a:gd name="csY37" fmla="*/ 404425 h 1019713"/>
              <a:gd name="csX38" fmla="*/ 224187 w 351791"/>
              <a:gd name="csY38" fmla="*/ 451440 h 1019713"/>
              <a:gd name="csX39" fmla="*/ 225295 w 351791"/>
              <a:gd name="csY39" fmla="*/ 457691 h 1019713"/>
              <a:gd name="csX40" fmla="*/ 226831 w 351791"/>
              <a:gd name="csY40" fmla="*/ 468268 h 1019713"/>
              <a:gd name="csX41" fmla="*/ 228069 w 351791"/>
              <a:gd name="csY41" fmla="*/ 474360 h 1019713"/>
              <a:gd name="csX42" fmla="*/ 229778 w 351791"/>
              <a:gd name="csY42" fmla="*/ 485181 h 1019713"/>
              <a:gd name="csX43" fmla="*/ 230932 w 351791"/>
              <a:gd name="csY43" fmla="*/ 491348 h 1019713"/>
              <a:gd name="csX44" fmla="*/ 238095 w 351791"/>
              <a:gd name="csY44" fmla="*/ 532855 h 1019713"/>
              <a:gd name="csX45" fmla="*/ 239424 w 351791"/>
              <a:gd name="csY45" fmla="*/ 539021 h 1019713"/>
              <a:gd name="csX46" fmla="*/ 252120 w 351791"/>
              <a:gd name="csY46" fmla="*/ 605725 h 1019713"/>
              <a:gd name="csX47" fmla="*/ 253460 w 351791"/>
              <a:gd name="csY47" fmla="*/ 611945 h 1019713"/>
              <a:gd name="csX48" fmla="*/ 258622 w 351791"/>
              <a:gd name="csY48" fmla="*/ 639154 h 1019713"/>
              <a:gd name="csX49" fmla="*/ 285765 w 351791"/>
              <a:gd name="csY49" fmla="*/ 762817 h 1019713"/>
              <a:gd name="csX50" fmla="*/ 287284 w 351791"/>
              <a:gd name="csY50" fmla="*/ 768970 h 1019713"/>
              <a:gd name="csX51" fmla="*/ 351792 w 351791"/>
              <a:gd name="csY51" fmla="*/ 1017474 h 1019713"/>
              <a:gd name="csX52" fmla="*/ 308062 w 351791"/>
              <a:gd name="csY52" fmla="*/ 1016918 h 1019713"/>
              <a:gd name="csX53" fmla="*/ 241358 w 351791"/>
              <a:gd name="csY53" fmla="*/ 1016276 h 1019713"/>
              <a:gd name="csX54" fmla="*/ 229231 w 351791"/>
              <a:gd name="csY54" fmla="*/ 1017881 h 1019713"/>
              <a:gd name="csX55" fmla="*/ 0 w 351791"/>
              <a:gd name="csY55" fmla="*/ 1019714 h 1019713"/>
              <a:gd name="csX56" fmla="*/ 0 w 351791"/>
              <a:gd name="csY56" fmla="*/ 975370 h 101971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</a:cxnLst>
            <a:rect l="l" t="t" r="r" b="b"/>
            <a:pathLst>
              <a:path w="351791" h="1019713">
                <a:moveTo>
                  <a:pt x="0" y="975370"/>
                </a:moveTo>
                <a:cubicBezTo>
                  <a:pt x="743" y="957941"/>
                  <a:pt x="1582" y="940516"/>
                  <a:pt x="2187" y="923083"/>
                </a:cubicBezTo>
                <a:cubicBezTo>
                  <a:pt x="2458" y="915260"/>
                  <a:pt x="2262" y="907422"/>
                  <a:pt x="2287" y="897079"/>
                </a:cubicBezTo>
                <a:cubicBezTo>
                  <a:pt x="2463" y="879425"/>
                  <a:pt x="2631" y="864284"/>
                  <a:pt x="2799" y="849144"/>
                </a:cubicBezTo>
                <a:cubicBezTo>
                  <a:pt x="3544" y="824817"/>
                  <a:pt x="4289" y="800489"/>
                  <a:pt x="5052" y="773650"/>
                </a:cubicBezTo>
                <a:cubicBezTo>
                  <a:pt x="5751" y="724115"/>
                  <a:pt x="6432" y="677093"/>
                  <a:pt x="7113" y="630071"/>
                </a:cubicBezTo>
                <a:cubicBezTo>
                  <a:pt x="7598" y="596560"/>
                  <a:pt x="8084" y="563050"/>
                  <a:pt x="9133" y="528600"/>
                </a:cubicBezTo>
                <a:cubicBezTo>
                  <a:pt x="9465" y="518010"/>
                  <a:pt x="9234" y="508360"/>
                  <a:pt x="9163" y="497413"/>
                </a:cubicBezTo>
                <a:cubicBezTo>
                  <a:pt x="9957" y="457690"/>
                  <a:pt x="10592" y="419261"/>
                  <a:pt x="11812" y="379910"/>
                </a:cubicBezTo>
                <a:cubicBezTo>
                  <a:pt x="12221" y="369334"/>
                  <a:pt x="12045" y="359680"/>
                  <a:pt x="12024" y="348726"/>
                </a:cubicBezTo>
                <a:cubicBezTo>
                  <a:pt x="12813" y="311813"/>
                  <a:pt x="13446" y="276201"/>
                  <a:pt x="14645" y="239691"/>
                </a:cubicBezTo>
                <a:cubicBezTo>
                  <a:pt x="15021" y="230992"/>
                  <a:pt x="14832" y="223190"/>
                  <a:pt x="14784" y="214091"/>
                </a:cubicBezTo>
                <a:cubicBezTo>
                  <a:pt x="15615" y="171575"/>
                  <a:pt x="16305" y="130355"/>
                  <a:pt x="17570" y="88165"/>
                </a:cubicBezTo>
                <a:cubicBezTo>
                  <a:pt x="17924" y="71015"/>
                  <a:pt x="17703" y="54835"/>
                  <a:pt x="17615" y="37421"/>
                </a:cubicBezTo>
                <a:cubicBezTo>
                  <a:pt x="17715" y="29569"/>
                  <a:pt x="17682" y="22951"/>
                  <a:pt x="18182" y="15484"/>
                </a:cubicBezTo>
                <a:cubicBezTo>
                  <a:pt x="19427" y="10639"/>
                  <a:pt x="20141" y="6642"/>
                  <a:pt x="22091" y="2787"/>
                </a:cubicBezTo>
                <a:cubicBezTo>
                  <a:pt x="33455" y="2760"/>
                  <a:pt x="43581" y="2592"/>
                  <a:pt x="54703" y="2968"/>
                </a:cubicBezTo>
                <a:cubicBezTo>
                  <a:pt x="70921" y="2997"/>
                  <a:pt x="86144" y="2480"/>
                  <a:pt x="102677" y="2086"/>
                </a:cubicBezTo>
                <a:cubicBezTo>
                  <a:pt x="127444" y="1303"/>
                  <a:pt x="150901" y="399"/>
                  <a:pt x="175262" y="0"/>
                </a:cubicBezTo>
                <a:cubicBezTo>
                  <a:pt x="180415" y="388"/>
                  <a:pt x="184664" y="270"/>
                  <a:pt x="189022" y="1595"/>
                </a:cubicBezTo>
                <a:cubicBezTo>
                  <a:pt x="189796" y="39233"/>
                  <a:pt x="190459" y="75430"/>
                  <a:pt x="190628" y="112461"/>
                </a:cubicBezTo>
                <a:cubicBezTo>
                  <a:pt x="190659" y="118310"/>
                  <a:pt x="191185" y="123324"/>
                  <a:pt x="191584" y="129605"/>
                </a:cubicBezTo>
                <a:cubicBezTo>
                  <a:pt x="192268" y="145024"/>
                  <a:pt x="193079" y="159176"/>
                  <a:pt x="193429" y="173943"/>
                </a:cubicBezTo>
                <a:cubicBezTo>
                  <a:pt x="193407" y="176938"/>
                  <a:pt x="193846" y="179318"/>
                  <a:pt x="194215" y="182908"/>
                </a:cubicBezTo>
                <a:cubicBezTo>
                  <a:pt x="195008" y="194551"/>
                  <a:pt x="195871" y="204983"/>
                  <a:pt x="196316" y="215902"/>
                </a:cubicBezTo>
                <a:cubicBezTo>
                  <a:pt x="196287" y="217918"/>
                  <a:pt x="196676" y="219447"/>
                  <a:pt x="196980" y="222182"/>
                </a:cubicBezTo>
                <a:cubicBezTo>
                  <a:pt x="197737" y="231943"/>
                  <a:pt x="198578" y="240498"/>
                  <a:pt x="198972" y="249680"/>
                </a:cubicBezTo>
                <a:cubicBezTo>
                  <a:pt x="199023" y="252674"/>
                  <a:pt x="199521" y="255040"/>
                  <a:pt x="199949" y="258553"/>
                </a:cubicBezTo>
                <a:cubicBezTo>
                  <a:pt x="200695" y="266443"/>
                  <a:pt x="201512" y="273186"/>
                  <a:pt x="201912" y="280418"/>
                </a:cubicBezTo>
                <a:cubicBezTo>
                  <a:pt x="201915" y="282431"/>
                  <a:pt x="202335" y="283954"/>
                  <a:pt x="202686" y="286632"/>
                </a:cubicBezTo>
                <a:cubicBezTo>
                  <a:pt x="203420" y="294511"/>
                  <a:pt x="204221" y="301235"/>
                  <a:pt x="204600" y="308453"/>
                </a:cubicBezTo>
                <a:cubicBezTo>
                  <a:pt x="204617" y="310478"/>
                  <a:pt x="205056" y="312010"/>
                  <a:pt x="205443" y="314650"/>
                </a:cubicBezTo>
                <a:cubicBezTo>
                  <a:pt x="206209" y="321575"/>
                  <a:pt x="207026" y="327392"/>
                  <a:pt x="207431" y="333707"/>
                </a:cubicBezTo>
                <a:cubicBezTo>
                  <a:pt x="207477" y="335726"/>
                  <a:pt x="207935" y="337248"/>
                  <a:pt x="208345" y="339842"/>
                </a:cubicBezTo>
                <a:cubicBezTo>
                  <a:pt x="209075" y="345825"/>
                  <a:pt x="209853" y="350735"/>
                  <a:pt x="210218" y="356144"/>
                </a:cubicBezTo>
                <a:cubicBezTo>
                  <a:pt x="210268" y="358165"/>
                  <a:pt x="210732" y="359689"/>
                  <a:pt x="211157" y="362375"/>
                </a:cubicBezTo>
                <a:cubicBezTo>
                  <a:pt x="212820" y="374932"/>
                  <a:pt x="214522" y="386326"/>
                  <a:pt x="215820" y="398224"/>
                </a:cubicBezTo>
                <a:cubicBezTo>
                  <a:pt x="215896" y="400245"/>
                  <a:pt x="216376" y="401761"/>
                  <a:pt x="216821" y="404425"/>
                </a:cubicBezTo>
                <a:cubicBezTo>
                  <a:pt x="219381" y="420620"/>
                  <a:pt x="221974" y="435667"/>
                  <a:pt x="224187" y="451440"/>
                </a:cubicBezTo>
                <a:cubicBezTo>
                  <a:pt x="224310" y="453633"/>
                  <a:pt x="224814" y="455099"/>
                  <a:pt x="225295" y="457691"/>
                </a:cubicBezTo>
                <a:cubicBezTo>
                  <a:pt x="225916" y="461722"/>
                  <a:pt x="226560" y="464628"/>
                  <a:pt x="226831" y="468268"/>
                </a:cubicBezTo>
                <a:cubicBezTo>
                  <a:pt x="227002" y="470469"/>
                  <a:pt x="227545" y="471935"/>
                  <a:pt x="228069" y="474360"/>
                </a:cubicBezTo>
                <a:cubicBezTo>
                  <a:pt x="228757" y="478435"/>
                  <a:pt x="229465" y="481551"/>
                  <a:pt x="229778" y="485181"/>
                </a:cubicBezTo>
                <a:cubicBezTo>
                  <a:pt x="229895" y="487205"/>
                  <a:pt x="230405" y="488717"/>
                  <a:pt x="230932" y="491348"/>
                </a:cubicBezTo>
                <a:cubicBezTo>
                  <a:pt x="233462" y="505758"/>
                  <a:pt x="235976" y="519047"/>
                  <a:pt x="238095" y="532855"/>
                </a:cubicBezTo>
                <a:cubicBezTo>
                  <a:pt x="238266" y="534884"/>
                  <a:pt x="238832" y="536393"/>
                  <a:pt x="239424" y="539021"/>
                </a:cubicBezTo>
                <a:cubicBezTo>
                  <a:pt x="243794" y="561754"/>
                  <a:pt x="248139" y="583369"/>
                  <a:pt x="252120" y="605725"/>
                </a:cubicBezTo>
                <a:cubicBezTo>
                  <a:pt x="252314" y="607922"/>
                  <a:pt x="252872" y="609379"/>
                  <a:pt x="253460" y="611945"/>
                </a:cubicBezTo>
                <a:cubicBezTo>
                  <a:pt x="255190" y="621757"/>
                  <a:pt x="256700" y="630501"/>
                  <a:pt x="258622" y="639154"/>
                </a:cubicBezTo>
                <a:cubicBezTo>
                  <a:pt x="267724" y="680139"/>
                  <a:pt x="276939" y="721098"/>
                  <a:pt x="285765" y="762817"/>
                </a:cubicBezTo>
                <a:cubicBezTo>
                  <a:pt x="286023" y="765009"/>
                  <a:pt x="286629" y="766448"/>
                  <a:pt x="287284" y="768970"/>
                </a:cubicBezTo>
                <a:cubicBezTo>
                  <a:pt x="306160" y="852474"/>
                  <a:pt x="325237" y="934833"/>
                  <a:pt x="351792" y="1017474"/>
                </a:cubicBezTo>
                <a:cubicBezTo>
                  <a:pt x="335905" y="1017474"/>
                  <a:pt x="322480" y="1017474"/>
                  <a:pt x="308062" y="1016918"/>
                </a:cubicBezTo>
                <a:cubicBezTo>
                  <a:pt x="285165" y="1016306"/>
                  <a:pt x="263261" y="1016166"/>
                  <a:pt x="241358" y="1016276"/>
                </a:cubicBezTo>
                <a:cubicBezTo>
                  <a:pt x="237751" y="1016294"/>
                  <a:pt x="234149" y="1017408"/>
                  <a:pt x="229231" y="1017881"/>
                </a:cubicBezTo>
                <a:cubicBezTo>
                  <a:pt x="152375" y="1018399"/>
                  <a:pt x="76832" y="1019051"/>
                  <a:pt x="0" y="1019714"/>
                </a:cubicBezTo>
                <a:cubicBezTo>
                  <a:pt x="0" y="1004040"/>
                  <a:pt x="0" y="989705"/>
                  <a:pt x="0" y="975370"/>
                </a:cubicBezTo>
                <a:close/>
              </a:path>
            </a:pathLst>
          </a:custGeom>
          <a:solidFill>
            <a:srgbClr val="FEFEFD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68" name="Free-form: Shape 367">
            <a:extLst>
              <a:ext uri="{FF2B5EF4-FFF2-40B4-BE49-F238E27FC236}">
                <a16:creationId xmlns:a16="http://schemas.microsoft.com/office/drawing/2014/main" id="{35BF05D0-E23B-126F-A945-DF8A1556EC8A}"/>
              </a:ext>
            </a:extLst>
          </p:cNvPr>
          <p:cNvSpPr/>
          <p:nvPr/>
        </p:nvSpPr>
        <p:spPr>
          <a:xfrm>
            <a:off x="7557096" y="5492258"/>
            <a:ext cx="242745" cy="166660"/>
          </a:xfrm>
          <a:custGeom>
            <a:avLst/>
            <a:gdLst>
              <a:gd name="csX0" fmla="*/ 344821 w 572791"/>
              <a:gd name="csY0" fmla="*/ 351014 h 357509"/>
              <a:gd name="csX1" fmla="*/ 0 w 572791"/>
              <a:gd name="csY1" fmla="*/ 355669 h 357509"/>
              <a:gd name="csX2" fmla="*/ 1306 w 572791"/>
              <a:gd name="csY2" fmla="*/ 18915 h 357509"/>
              <a:gd name="csX3" fmla="*/ 12212 w 572791"/>
              <a:gd name="csY3" fmla="*/ 17740 h 357509"/>
              <a:gd name="csX4" fmla="*/ 132738 w 572791"/>
              <a:gd name="csY4" fmla="*/ 15715 h 357509"/>
              <a:gd name="csX5" fmla="*/ 364924 w 572791"/>
              <a:gd name="csY5" fmla="*/ 2198 h 357509"/>
              <a:gd name="csX6" fmla="*/ 402207 w 572791"/>
              <a:gd name="csY6" fmla="*/ 0 h 357509"/>
              <a:gd name="csX7" fmla="*/ 403816 w 572791"/>
              <a:gd name="csY7" fmla="*/ 4817 h 357509"/>
              <a:gd name="csX8" fmla="*/ 443486 w 572791"/>
              <a:gd name="csY8" fmla="*/ 95035 h 357509"/>
              <a:gd name="csX9" fmla="*/ 503695 w 572791"/>
              <a:gd name="csY9" fmla="*/ 157671 h 357509"/>
              <a:gd name="csX10" fmla="*/ 544964 w 572791"/>
              <a:gd name="csY10" fmla="*/ 208741 h 357509"/>
              <a:gd name="csX11" fmla="*/ 572752 w 572791"/>
              <a:gd name="csY11" fmla="*/ 314190 h 357509"/>
              <a:gd name="csX12" fmla="*/ 571373 w 572791"/>
              <a:gd name="csY12" fmla="*/ 324914 h 357509"/>
              <a:gd name="csX13" fmla="*/ 344821 w 572791"/>
              <a:gd name="csY13" fmla="*/ 351014 h 35750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</a:cxnLst>
            <a:rect l="l" t="t" r="r" b="b"/>
            <a:pathLst>
              <a:path w="572791" h="357509">
                <a:moveTo>
                  <a:pt x="344821" y="351014"/>
                </a:moveTo>
                <a:cubicBezTo>
                  <a:pt x="229704" y="359270"/>
                  <a:pt x="115810" y="358215"/>
                  <a:pt x="0" y="355669"/>
                </a:cubicBezTo>
                <a:cubicBezTo>
                  <a:pt x="6641" y="242789"/>
                  <a:pt x="11423" y="131403"/>
                  <a:pt x="1306" y="18915"/>
                </a:cubicBezTo>
                <a:cubicBezTo>
                  <a:pt x="5142" y="18486"/>
                  <a:pt x="8671" y="17803"/>
                  <a:pt x="12212" y="17740"/>
                </a:cubicBezTo>
                <a:cubicBezTo>
                  <a:pt x="52386" y="17019"/>
                  <a:pt x="92565" y="16532"/>
                  <a:pt x="132738" y="15715"/>
                </a:cubicBezTo>
                <a:cubicBezTo>
                  <a:pt x="210300" y="14136"/>
                  <a:pt x="287658" y="8969"/>
                  <a:pt x="364924" y="2198"/>
                </a:cubicBezTo>
                <a:cubicBezTo>
                  <a:pt x="377346" y="1110"/>
                  <a:pt x="389829" y="713"/>
                  <a:pt x="402207" y="0"/>
                </a:cubicBezTo>
                <a:cubicBezTo>
                  <a:pt x="402989" y="2261"/>
                  <a:pt x="403828" y="3543"/>
                  <a:pt x="403816" y="4817"/>
                </a:cubicBezTo>
                <a:cubicBezTo>
                  <a:pt x="403458" y="40866"/>
                  <a:pt x="420668" y="69493"/>
                  <a:pt x="443486" y="95035"/>
                </a:cubicBezTo>
                <a:cubicBezTo>
                  <a:pt x="462767" y="116618"/>
                  <a:pt x="484228" y="136244"/>
                  <a:pt x="503695" y="157671"/>
                </a:cubicBezTo>
                <a:cubicBezTo>
                  <a:pt x="518401" y="173858"/>
                  <a:pt x="532941" y="190557"/>
                  <a:pt x="544964" y="208741"/>
                </a:cubicBezTo>
                <a:cubicBezTo>
                  <a:pt x="565917" y="240429"/>
                  <a:pt x="573411" y="276430"/>
                  <a:pt x="572752" y="314190"/>
                </a:cubicBezTo>
                <a:cubicBezTo>
                  <a:pt x="572696" y="317365"/>
                  <a:pt x="571957" y="320529"/>
                  <a:pt x="571373" y="324914"/>
                </a:cubicBezTo>
                <a:cubicBezTo>
                  <a:pt x="496226" y="334583"/>
                  <a:pt x="421404" y="344621"/>
                  <a:pt x="344821" y="351014"/>
                </a:cubicBezTo>
                <a:close/>
              </a:path>
            </a:pathLst>
          </a:custGeom>
          <a:solidFill>
            <a:srgbClr val="FEFEFD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69" name="Free-form: Shape 368">
            <a:extLst>
              <a:ext uri="{FF2B5EF4-FFF2-40B4-BE49-F238E27FC236}">
                <a16:creationId xmlns:a16="http://schemas.microsoft.com/office/drawing/2014/main" id="{F804F17E-219C-4D46-C1E9-301DDEC59255}"/>
              </a:ext>
            </a:extLst>
          </p:cNvPr>
          <p:cNvSpPr/>
          <p:nvPr/>
        </p:nvSpPr>
        <p:spPr>
          <a:xfrm>
            <a:off x="7556207" y="5684978"/>
            <a:ext cx="259324" cy="66477"/>
          </a:xfrm>
          <a:custGeom>
            <a:avLst/>
            <a:gdLst>
              <a:gd name="csX0" fmla="*/ 298270 w 611913"/>
              <a:gd name="csY0" fmla="*/ 29215 h 142602"/>
              <a:gd name="csX1" fmla="*/ 512796 w 611913"/>
              <a:gd name="csY1" fmla="*/ 6951 h 142602"/>
              <a:gd name="csX2" fmla="*/ 567029 w 611913"/>
              <a:gd name="csY2" fmla="*/ 256 h 142602"/>
              <a:gd name="csX3" fmla="*/ 586840 w 611913"/>
              <a:gd name="csY3" fmla="*/ 10038 h 142602"/>
              <a:gd name="csX4" fmla="*/ 593324 w 611913"/>
              <a:gd name="csY4" fmla="*/ 20837 h 142602"/>
              <a:gd name="csX5" fmla="*/ 611914 w 611913"/>
              <a:gd name="csY5" fmla="*/ 96596 h 142602"/>
              <a:gd name="csX6" fmla="*/ 598468 w 611913"/>
              <a:gd name="csY6" fmla="*/ 100799 h 142602"/>
              <a:gd name="csX7" fmla="*/ 410669 w 611913"/>
              <a:gd name="csY7" fmla="*/ 132209 h 142602"/>
              <a:gd name="csX8" fmla="*/ 125026 w 611913"/>
              <a:gd name="csY8" fmla="*/ 141814 h 142602"/>
              <a:gd name="csX9" fmla="*/ 11546 w 611913"/>
              <a:gd name="csY9" fmla="*/ 137848 h 142602"/>
              <a:gd name="csX10" fmla="*/ 0 w 611913"/>
              <a:gd name="csY10" fmla="*/ 136841 h 142602"/>
              <a:gd name="csX11" fmla="*/ 6226 w 611913"/>
              <a:gd name="csY11" fmla="*/ 34049 h 142602"/>
              <a:gd name="csX12" fmla="*/ 25148 w 611913"/>
              <a:gd name="csY12" fmla="*/ 34049 h 142602"/>
              <a:gd name="csX13" fmla="*/ 203168 w 611913"/>
              <a:gd name="csY13" fmla="*/ 33784 h 142602"/>
              <a:gd name="csX14" fmla="*/ 298270 w 611913"/>
              <a:gd name="csY14" fmla="*/ 29215 h 14260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</a:cxnLst>
            <a:rect l="l" t="t" r="r" b="b"/>
            <a:pathLst>
              <a:path w="611913" h="142602">
                <a:moveTo>
                  <a:pt x="298270" y="29215"/>
                </a:moveTo>
                <a:cubicBezTo>
                  <a:pt x="370954" y="24666"/>
                  <a:pt x="441996" y="17008"/>
                  <a:pt x="512796" y="6951"/>
                </a:cubicBezTo>
                <a:cubicBezTo>
                  <a:pt x="530827" y="4390"/>
                  <a:pt x="548992" y="2783"/>
                  <a:pt x="567029" y="256"/>
                </a:cubicBezTo>
                <a:cubicBezTo>
                  <a:pt x="576202" y="-1030"/>
                  <a:pt x="582311" y="2575"/>
                  <a:pt x="586840" y="10038"/>
                </a:cubicBezTo>
                <a:cubicBezTo>
                  <a:pt x="589020" y="13630"/>
                  <a:pt x="591618" y="17033"/>
                  <a:pt x="593324" y="20837"/>
                </a:cubicBezTo>
                <a:cubicBezTo>
                  <a:pt x="603952" y="44539"/>
                  <a:pt x="608111" y="69801"/>
                  <a:pt x="611914" y="96596"/>
                </a:cubicBezTo>
                <a:cubicBezTo>
                  <a:pt x="607052" y="98130"/>
                  <a:pt x="602824" y="99720"/>
                  <a:pt x="598468" y="100799"/>
                </a:cubicBezTo>
                <a:cubicBezTo>
                  <a:pt x="536680" y="116108"/>
                  <a:pt x="473961" y="125773"/>
                  <a:pt x="410669" y="132209"/>
                </a:cubicBezTo>
                <a:cubicBezTo>
                  <a:pt x="315660" y="141870"/>
                  <a:pt x="220411" y="144010"/>
                  <a:pt x="125026" y="141814"/>
                </a:cubicBezTo>
                <a:cubicBezTo>
                  <a:pt x="87189" y="140943"/>
                  <a:pt x="49371" y="139223"/>
                  <a:pt x="11546" y="137848"/>
                </a:cubicBezTo>
                <a:cubicBezTo>
                  <a:pt x="8331" y="137731"/>
                  <a:pt x="5128" y="137299"/>
                  <a:pt x="0" y="136841"/>
                </a:cubicBezTo>
                <a:cubicBezTo>
                  <a:pt x="917" y="102718"/>
                  <a:pt x="4600" y="69125"/>
                  <a:pt x="6226" y="34049"/>
                </a:cubicBezTo>
                <a:cubicBezTo>
                  <a:pt x="13237" y="34049"/>
                  <a:pt x="19192" y="34051"/>
                  <a:pt x="25148" y="34049"/>
                </a:cubicBezTo>
                <a:cubicBezTo>
                  <a:pt x="84488" y="34030"/>
                  <a:pt x="143836" y="34519"/>
                  <a:pt x="203168" y="33784"/>
                </a:cubicBezTo>
                <a:cubicBezTo>
                  <a:pt x="234447" y="33397"/>
                  <a:pt x="265701" y="30872"/>
                  <a:pt x="298270" y="29215"/>
                </a:cubicBezTo>
                <a:close/>
              </a:path>
            </a:pathLst>
          </a:custGeom>
          <a:solidFill>
            <a:srgbClr val="FEFDFB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70" name="Free-form: Shape 369">
            <a:extLst>
              <a:ext uri="{FF2B5EF4-FFF2-40B4-BE49-F238E27FC236}">
                <a16:creationId xmlns:a16="http://schemas.microsoft.com/office/drawing/2014/main" id="{3EDEA466-1ED8-59EA-54AA-E693E67C3F24}"/>
              </a:ext>
            </a:extLst>
          </p:cNvPr>
          <p:cNvSpPr/>
          <p:nvPr/>
        </p:nvSpPr>
        <p:spPr>
          <a:xfrm>
            <a:off x="7565097" y="4918059"/>
            <a:ext cx="130728" cy="33077"/>
          </a:xfrm>
          <a:custGeom>
            <a:avLst/>
            <a:gdLst>
              <a:gd name="csX0" fmla="*/ 113686 w 308472"/>
              <a:gd name="csY0" fmla="*/ 4708 h 70954"/>
              <a:gd name="csX1" fmla="*/ 238304 w 308472"/>
              <a:gd name="csY1" fmla="*/ 79 h 70954"/>
              <a:gd name="csX2" fmla="*/ 293684 w 308472"/>
              <a:gd name="csY2" fmla="*/ 16423 h 70954"/>
              <a:gd name="csX3" fmla="*/ 308469 w 308472"/>
              <a:gd name="csY3" fmla="*/ 46566 h 70954"/>
              <a:gd name="csX4" fmla="*/ 296679 w 308472"/>
              <a:gd name="csY4" fmla="*/ 60539 h 70954"/>
              <a:gd name="csX5" fmla="*/ 281393 w 308472"/>
              <a:gd name="csY5" fmla="*/ 62359 h 70954"/>
              <a:gd name="csX6" fmla="*/ 13891 w 308472"/>
              <a:gd name="csY6" fmla="*/ 70892 h 70954"/>
              <a:gd name="csX7" fmla="*/ 0 w 308472"/>
              <a:gd name="csY7" fmla="*/ 70909 h 70954"/>
              <a:gd name="csX8" fmla="*/ 4414 w 308472"/>
              <a:gd name="csY8" fmla="*/ 8877 h 70954"/>
              <a:gd name="csX9" fmla="*/ 59085 w 308472"/>
              <a:gd name="csY9" fmla="*/ 6769 h 70954"/>
              <a:gd name="csX10" fmla="*/ 113686 w 308472"/>
              <a:gd name="csY10" fmla="*/ 4708 h 7095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</a:cxnLst>
            <a:rect l="l" t="t" r="r" b="b"/>
            <a:pathLst>
              <a:path w="308472" h="70954">
                <a:moveTo>
                  <a:pt x="113686" y="4708"/>
                </a:moveTo>
                <a:cubicBezTo>
                  <a:pt x="156156" y="3151"/>
                  <a:pt x="197235" y="1744"/>
                  <a:pt x="238304" y="79"/>
                </a:cubicBezTo>
                <a:cubicBezTo>
                  <a:pt x="258693" y="-748"/>
                  <a:pt x="277061" y="4922"/>
                  <a:pt x="293684" y="16423"/>
                </a:cubicBezTo>
                <a:cubicBezTo>
                  <a:pt x="304119" y="23641"/>
                  <a:pt x="308615" y="34077"/>
                  <a:pt x="308469" y="46566"/>
                </a:cubicBezTo>
                <a:cubicBezTo>
                  <a:pt x="308355" y="56359"/>
                  <a:pt x="306312" y="58808"/>
                  <a:pt x="296679" y="60539"/>
                </a:cubicBezTo>
                <a:cubicBezTo>
                  <a:pt x="291635" y="61446"/>
                  <a:pt x="286506" y="62192"/>
                  <a:pt x="281393" y="62359"/>
                </a:cubicBezTo>
                <a:cubicBezTo>
                  <a:pt x="192228" y="65269"/>
                  <a:pt x="103059" y="68083"/>
                  <a:pt x="13891" y="70892"/>
                </a:cubicBezTo>
                <a:cubicBezTo>
                  <a:pt x="9772" y="71022"/>
                  <a:pt x="5645" y="70909"/>
                  <a:pt x="0" y="70909"/>
                </a:cubicBezTo>
                <a:cubicBezTo>
                  <a:pt x="1487" y="50015"/>
                  <a:pt x="2892" y="30265"/>
                  <a:pt x="4414" y="8877"/>
                </a:cubicBezTo>
                <a:cubicBezTo>
                  <a:pt x="23034" y="7159"/>
                  <a:pt x="41075" y="7283"/>
                  <a:pt x="59085" y="6769"/>
                </a:cubicBezTo>
                <a:cubicBezTo>
                  <a:pt x="76825" y="6262"/>
                  <a:pt x="94556" y="5438"/>
                  <a:pt x="113686" y="4708"/>
                </a:cubicBezTo>
                <a:close/>
              </a:path>
            </a:pathLst>
          </a:custGeom>
          <a:solidFill>
            <a:srgbClr val="FEFDFB"/>
          </a:solidFill>
          <a:ln w="1401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71" name="Free-form: Shape 370">
            <a:extLst>
              <a:ext uri="{FF2B5EF4-FFF2-40B4-BE49-F238E27FC236}">
                <a16:creationId xmlns:a16="http://schemas.microsoft.com/office/drawing/2014/main" id="{5A31694E-D28E-D90E-3A7A-6B4C9643E446}"/>
              </a:ext>
            </a:extLst>
          </p:cNvPr>
          <p:cNvSpPr/>
          <p:nvPr/>
        </p:nvSpPr>
        <p:spPr>
          <a:xfrm>
            <a:off x="7557254" y="4517692"/>
            <a:ext cx="162064" cy="275701"/>
          </a:xfrm>
          <a:custGeom>
            <a:avLst/>
            <a:gdLst>
              <a:gd name="csX0" fmla="*/ 14188 w 382415"/>
              <a:gd name="csY0" fmla="*/ 447946 h 591415"/>
              <a:gd name="csX1" fmla="*/ 12298 w 382415"/>
              <a:gd name="csY1" fmla="*/ 381038 h 591415"/>
              <a:gd name="csX2" fmla="*/ 11200 w 382415"/>
              <a:gd name="csY2" fmla="*/ 363835 h 591415"/>
              <a:gd name="csX3" fmla="*/ 9378 w 382415"/>
              <a:gd name="csY3" fmla="*/ 305508 h 591415"/>
              <a:gd name="csX4" fmla="*/ 8516 w 382415"/>
              <a:gd name="csY4" fmla="*/ 296482 h 591415"/>
              <a:gd name="csX5" fmla="*/ 6728 w 382415"/>
              <a:gd name="csY5" fmla="*/ 223958 h 591415"/>
              <a:gd name="csX6" fmla="*/ 5645 w 382415"/>
              <a:gd name="csY6" fmla="*/ 206735 h 591415"/>
              <a:gd name="csX7" fmla="*/ 3964 w 382415"/>
              <a:gd name="csY7" fmla="*/ 137053 h 591415"/>
              <a:gd name="csX8" fmla="*/ 2902 w 382415"/>
              <a:gd name="csY8" fmla="*/ 122565 h 591415"/>
              <a:gd name="csX9" fmla="*/ 1011 w 382415"/>
              <a:gd name="csY9" fmla="*/ 47301 h 591415"/>
              <a:gd name="csX10" fmla="*/ 20 w 382415"/>
              <a:gd name="csY10" fmla="*/ 32821 h 591415"/>
              <a:gd name="csX11" fmla="*/ 512 w 382415"/>
              <a:gd name="csY11" fmla="*/ 4394 h 591415"/>
              <a:gd name="csX12" fmla="*/ 2417 w 382415"/>
              <a:gd name="csY12" fmla="*/ 1592 h 591415"/>
              <a:gd name="csX13" fmla="*/ 115794 w 382415"/>
              <a:gd name="csY13" fmla="*/ 4 h 591415"/>
              <a:gd name="csX14" fmla="*/ 162265 w 382415"/>
              <a:gd name="csY14" fmla="*/ 2117 h 591415"/>
              <a:gd name="csX15" fmla="*/ 168630 w 382415"/>
              <a:gd name="csY15" fmla="*/ 1773 h 591415"/>
              <a:gd name="csX16" fmla="*/ 314663 w 382415"/>
              <a:gd name="csY16" fmla="*/ 18731 h 591415"/>
              <a:gd name="csX17" fmla="*/ 367127 w 382415"/>
              <a:gd name="csY17" fmla="*/ 32924 h 591415"/>
              <a:gd name="csX18" fmla="*/ 382384 w 382415"/>
              <a:gd name="csY18" fmla="*/ 56466 h 591415"/>
              <a:gd name="csX19" fmla="*/ 368394 w 382415"/>
              <a:gd name="csY19" fmla="*/ 120544 h 591415"/>
              <a:gd name="csX20" fmla="*/ 314675 w 382415"/>
              <a:gd name="csY20" fmla="*/ 270961 h 591415"/>
              <a:gd name="csX21" fmla="*/ 213644 w 382415"/>
              <a:gd name="csY21" fmla="*/ 563667 h 591415"/>
              <a:gd name="csX22" fmla="*/ 205897 w 382415"/>
              <a:gd name="csY22" fmla="*/ 585758 h 591415"/>
              <a:gd name="csX23" fmla="*/ 138249 w 382415"/>
              <a:gd name="csY23" fmla="*/ 587362 h 591415"/>
              <a:gd name="csX24" fmla="*/ 118197 w 382415"/>
              <a:gd name="csY24" fmla="*/ 588344 h 591415"/>
              <a:gd name="csX25" fmla="*/ 59707 w 382415"/>
              <a:gd name="csY25" fmla="*/ 590000 h 591415"/>
              <a:gd name="csX26" fmla="*/ 42516 w 382415"/>
              <a:gd name="csY26" fmla="*/ 591416 h 591415"/>
              <a:gd name="csX27" fmla="*/ 20811 w 382415"/>
              <a:gd name="csY27" fmla="*/ 591416 h 591415"/>
              <a:gd name="csX28" fmla="*/ 17902 w 382415"/>
              <a:gd name="csY28" fmla="*/ 546518 h 591415"/>
              <a:gd name="csX29" fmla="*/ 16779 w 382415"/>
              <a:gd name="csY29" fmla="*/ 526538 h 591415"/>
              <a:gd name="csX30" fmla="*/ 15163 w 382415"/>
              <a:gd name="csY30" fmla="*/ 459741 h 591415"/>
              <a:gd name="csX31" fmla="*/ 14188 w 382415"/>
              <a:gd name="csY31" fmla="*/ 447946 h 59141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</a:cxnLst>
            <a:rect l="l" t="t" r="r" b="b"/>
            <a:pathLst>
              <a:path w="382415" h="591415">
                <a:moveTo>
                  <a:pt x="14188" y="447946"/>
                </a:moveTo>
                <a:cubicBezTo>
                  <a:pt x="13448" y="426344"/>
                  <a:pt x="12708" y="404741"/>
                  <a:pt x="12298" y="381038"/>
                </a:cubicBezTo>
                <a:cubicBezTo>
                  <a:pt x="12152" y="373904"/>
                  <a:pt x="11676" y="368869"/>
                  <a:pt x="11200" y="363835"/>
                </a:cubicBezTo>
                <a:cubicBezTo>
                  <a:pt x="10498" y="345020"/>
                  <a:pt x="9796" y="326206"/>
                  <a:pt x="9378" y="305508"/>
                </a:cubicBezTo>
                <a:cubicBezTo>
                  <a:pt x="9280" y="301244"/>
                  <a:pt x="8898" y="298863"/>
                  <a:pt x="8516" y="296482"/>
                </a:cubicBezTo>
                <a:cubicBezTo>
                  <a:pt x="7809" y="273008"/>
                  <a:pt x="7102" y="249535"/>
                  <a:pt x="6728" y="223958"/>
                </a:cubicBezTo>
                <a:cubicBezTo>
                  <a:pt x="6589" y="216815"/>
                  <a:pt x="6117" y="211775"/>
                  <a:pt x="5645" y="206735"/>
                </a:cubicBezTo>
                <a:cubicBezTo>
                  <a:pt x="4976" y="184187"/>
                  <a:pt x="4307" y="161639"/>
                  <a:pt x="3964" y="137053"/>
                </a:cubicBezTo>
                <a:cubicBezTo>
                  <a:pt x="3828" y="130865"/>
                  <a:pt x="3365" y="126715"/>
                  <a:pt x="2902" y="122565"/>
                </a:cubicBezTo>
                <a:cubicBezTo>
                  <a:pt x="2158" y="98167"/>
                  <a:pt x="1414" y="73768"/>
                  <a:pt x="1011" y="47301"/>
                </a:cubicBezTo>
                <a:cubicBezTo>
                  <a:pt x="908" y="41095"/>
                  <a:pt x="464" y="36958"/>
                  <a:pt x="20" y="32821"/>
                </a:cubicBezTo>
                <a:cubicBezTo>
                  <a:pt x="-19" y="23766"/>
                  <a:pt x="-59" y="14711"/>
                  <a:pt x="512" y="4394"/>
                </a:cubicBezTo>
                <a:cubicBezTo>
                  <a:pt x="1883" y="2894"/>
                  <a:pt x="2314" y="2381"/>
                  <a:pt x="2417" y="1592"/>
                </a:cubicBezTo>
                <a:cubicBezTo>
                  <a:pt x="40209" y="1024"/>
                  <a:pt x="78000" y="223"/>
                  <a:pt x="115794" y="4"/>
                </a:cubicBezTo>
                <a:cubicBezTo>
                  <a:pt x="130708" y="-82"/>
                  <a:pt x="145630" y="1128"/>
                  <a:pt x="162265" y="2117"/>
                </a:cubicBezTo>
                <a:cubicBezTo>
                  <a:pt x="165531" y="2247"/>
                  <a:pt x="167081" y="2010"/>
                  <a:pt x="168630" y="1773"/>
                </a:cubicBezTo>
                <a:cubicBezTo>
                  <a:pt x="217325" y="7297"/>
                  <a:pt x="266121" y="12088"/>
                  <a:pt x="314663" y="18731"/>
                </a:cubicBezTo>
                <a:cubicBezTo>
                  <a:pt x="332471" y="21168"/>
                  <a:pt x="349777" y="27666"/>
                  <a:pt x="367127" y="32924"/>
                </a:cubicBezTo>
                <a:cubicBezTo>
                  <a:pt x="378391" y="36339"/>
                  <a:pt x="382842" y="44413"/>
                  <a:pt x="382384" y="56466"/>
                </a:cubicBezTo>
                <a:cubicBezTo>
                  <a:pt x="381538" y="78749"/>
                  <a:pt x="375716" y="99822"/>
                  <a:pt x="368394" y="120544"/>
                </a:cubicBezTo>
                <a:cubicBezTo>
                  <a:pt x="350655" y="170742"/>
                  <a:pt x="332173" y="220680"/>
                  <a:pt x="314675" y="270961"/>
                </a:cubicBezTo>
                <a:cubicBezTo>
                  <a:pt x="280751" y="368444"/>
                  <a:pt x="247300" y="466091"/>
                  <a:pt x="213644" y="563667"/>
                </a:cubicBezTo>
                <a:cubicBezTo>
                  <a:pt x="211232" y="570661"/>
                  <a:pt x="208750" y="577629"/>
                  <a:pt x="205897" y="585758"/>
                </a:cubicBezTo>
                <a:cubicBezTo>
                  <a:pt x="184079" y="586417"/>
                  <a:pt x="162247" y="587077"/>
                  <a:pt x="138249" y="587362"/>
                </a:cubicBezTo>
                <a:cubicBezTo>
                  <a:pt x="130120" y="587439"/>
                  <a:pt x="124159" y="587891"/>
                  <a:pt x="118197" y="588344"/>
                </a:cubicBezTo>
                <a:cubicBezTo>
                  <a:pt x="99397" y="589004"/>
                  <a:pt x="80596" y="589663"/>
                  <a:pt x="59707" y="590000"/>
                </a:cubicBezTo>
                <a:cubicBezTo>
                  <a:pt x="52584" y="590258"/>
                  <a:pt x="47550" y="590837"/>
                  <a:pt x="42516" y="591416"/>
                </a:cubicBezTo>
                <a:cubicBezTo>
                  <a:pt x="35565" y="591416"/>
                  <a:pt x="28614" y="591416"/>
                  <a:pt x="20811" y="591416"/>
                </a:cubicBezTo>
                <a:cubicBezTo>
                  <a:pt x="16891" y="577297"/>
                  <a:pt x="18678" y="562841"/>
                  <a:pt x="17902" y="546518"/>
                </a:cubicBezTo>
                <a:cubicBezTo>
                  <a:pt x="17764" y="538425"/>
                  <a:pt x="17271" y="532482"/>
                  <a:pt x="16779" y="526538"/>
                </a:cubicBezTo>
                <a:cubicBezTo>
                  <a:pt x="16131" y="504937"/>
                  <a:pt x="15482" y="483336"/>
                  <a:pt x="15163" y="459741"/>
                </a:cubicBezTo>
                <a:cubicBezTo>
                  <a:pt x="15057" y="454480"/>
                  <a:pt x="14622" y="451213"/>
                  <a:pt x="14188" y="447946"/>
                </a:cubicBezTo>
                <a:close/>
              </a:path>
            </a:pathLst>
          </a:custGeom>
          <a:solidFill>
            <a:srgbClr val="FEFEFD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72" name="Free-form: Shape 371">
            <a:extLst>
              <a:ext uri="{FF2B5EF4-FFF2-40B4-BE49-F238E27FC236}">
                <a16:creationId xmlns:a16="http://schemas.microsoft.com/office/drawing/2014/main" id="{F3912A32-DDCF-8D3F-20B2-E11B575B60B5}"/>
              </a:ext>
            </a:extLst>
          </p:cNvPr>
          <p:cNvSpPr/>
          <p:nvPr/>
        </p:nvSpPr>
        <p:spPr>
          <a:xfrm>
            <a:off x="7565442" y="4828404"/>
            <a:ext cx="100308" cy="62743"/>
          </a:xfrm>
          <a:custGeom>
            <a:avLst/>
            <a:gdLst>
              <a:gd name="csX0" fmla="*/ 105130 w 236692"/>
              <a:gd name="csY0" fmla="*/ 130054 h 134592"/>
              <a:gd name="csX1" fmla="*/ 4609 w 236692"/>
              <a:gd name="csY1" fmla="*/ 134592 h 134592"/>
              <a:gd name="csX2" fmla="*/ 3775 w 236692"/>
              <a:gd name="csY2" fmla="*/ 121667 h 134592"/>
              <a:gd name="csX3" fmla="*/ 3868 w 236692"/>
              <a:gd name="csY3" fmla="*/ 51573 h 134592"/>
              <a:gd name="csX4" fmla="*/ 0 w 236692"/>
              <a:gd name="csY4" fmla="*/ 9673 h 134592"/>
              <a:gd name="csX5" fmla="*/ 184850 w 236692"/>
              <a:gd name="csY5" fmla="*/ 471 h 134592"/>
              <a:gd name="csX6" fmla="*/ 185564 w 236692"/>
              <a:gd name="csY6" fmla="*/ 15071 h 134592"/>
              <a:gd name="csX7" fmla="*/ 204819 w 236692"/>
              <a:gd name="csY7" fmla="*/ 54944 h 134592"/>
              <a:gd name="csX8" fmla="*/ 236693 w 236692"/>
              <a:gd name="csY8" fmla="*/ 123534 h 134592"/>
              <a:gd name="csX9" fmla="*/ 170865 w 236692"/>
              <a:gd name="csY9" fmla="*/ 126995 h 134592"/>
              <a:gd name="csX10" fmla="*/ 105130 w 236692"/>
              <a:gd name="csY10" fmla="*/ 130054 h 13459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</a:cxnLst>
            <a:rect l="l" t="t" r="r" b="b"/>
            <a:pathLst>
              <a:path w="236692" h="134592">
                <a:moveTo>
                  <a:pt x="105130" y="130054"/>
                </a:moveTo>
                <a:cubicBezTo>
                  <a:pt x="71180" y="131586"/>
                  <a:pt x="38558" y="133059"/>
                  <a:pt x="4609" y="134592"/>
                </a:cubicBezTo>
                <a:cubicBezTo>
                  <a:pt x="4277" y="129680"/>
                  <a:pt x="3770" y="125673"/>
                  <a:pt x="3775" y="121667"/>
                </a:cubicBezTo>
                <a:cubicBezTo>
                  <a:pt x="3800" y="98301"/>
                  <a:pt x="4430" y="74923"/>
                  <a:pt x="3868" y="51573"/>
                </a:cubicBezTo>
                <a:cubicBezTo>
                  <a:pt x="3536" y="37759"/>
                  <a:pt x="1384" y="23989"/>
                  <a:pt x="0" y="9673"/>
                </a:cubicBezTo>
                <a:cubicBezTo>
                  <a:pt x="9728" y="5925"/>
                  <a:pt x="156314" y="-2008"/>
                  <a:pt x="184850" y="471"/>
                </a:cubicBezTo>
                <a:cubicBezTo>
                  <a:pt x="185096" y="5177"/>
                  <a:pt x="185626" y="10128"/>
                  <a:pt x="185564" y="15071"/>
                </a:cubicBezTo>
                <a:cubicBezTo>
                  <a:pt x="185359" y="31609"/>
                  <a:pt x="191283" y="44787"/>
                  <a:pt x="204819" y="54944"/>
                </a:cubicBezTo>
                <a:cubicBezTo>
                  <a:pt x="227073" y="71641"/>
                  <a:pt x="235149" y="95272"/>
                  <a:pt x="236693" y="123534"/>
                </a:cubicBezTo>
                <a:cubicBezTo>
                  <a:pt x="214423" y="127191"/>
                  <a:pt x="192555" y="125928"/>
                  <a:pt x="170865" y="126995"/>
                </a:cubicBezTo>
                <a:cubicBezTo>
                  <a:pt x="149400" y="128051"/>
                  <a:pt x="127929" y="128999"/>
                  <a:pt x="105130" y="130054"/>
                </a:cubicBezTo>
                <a:close/>
              </a:path>
            </a:pathLst>
          </a:custGeom>
          <a:solidFill>
            <a:srgbClr val="FEFDFB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73" name="Free-form: Shape 372">
            <a:extLst>
              <a:ext uri="{FF2B5EF4-FFF2-40B4-BE49-F238E27FC236}">
                <a16:creationId xmlns:a16="http://schemas.microsoft.com/office/drawing/2014/main" id="{7D1B9030-1151-D6DA-EAC4-55FBE6389A7C}"/>
              </a:ext>
            </a:extLst>
          </p:cNvPr>
          <p:cNvSpPr/>
          <p:nvPr/>
        </p:nvSpPr>
        <p:spPr>
          <a:xfrm>
            <a:off x="2562825" y="4505549"/>
            <a:ext cx="593502" cy="1281815"/>
          </a:xfrm>
          <a:custGeom>
            <a:avLst/>
            <a:gdLst>
              <a:gd name="csX0" fmla="*/ 576414 w 768725"/>
              <a:gd name="csY0" fmla="*/ 893042 h 1509319"/>
              <a:gd name="csX1" fmla="*/ 613047 w 768725"/>
              <a:gd name="csY1" fmla="*/ 1059329 h 1509319"/>
              <a:gd name="csX2" fmla="*/ 623337 w 768725"/>
              <a:gd name="csY2" fmla="*/ 1071825 h 1509319"/>
              <a:gd name="csX3" fmla="*/ 639863 w 768725"/>
              <a:gd name="csY3" fmla="*/ 1079946 h 1509319"/>
              <a:gd name="csX4" fmla="*/ 652266 w 768725"/>
              <a:gd name="csY4" fmla="*/ 1109045 h 1509319"/>
              <a:gd name="csX5" fmla="*/ 645501 w 768725"/>
              <a:gd name="csY5" fmla="*/ 1127466 h 1509319"/>
              <a:gd name="csX6" fmla="*/ 645547 w 768725"/>
              <a:gd name="csY6" fmla="*/ 1144138 h 1509319"/>
              <a:gd name="csX7" fmla="*/ 664589 w 768725"/>
              <a:gd name="csY7" fmla="*/ 1175322 h 1509319"/>
              <a:gd name="csX8" fmla="*/ 712015 w 768725"/>
              <a:gd name="csY8" fmla="*/ 1225118 h 1509319"/>
              <a:gd name="csX9" fmla="*/ 744465 w 768725"/>
              <a:gd name="csY9" fmla="*/ 1300385 h 1509319"/>
              <a:gd name="csX10" fmla="*/ 743270 w 768725"/>
              <a:gd name="csY10" fmla="*/ 1350524 h 1509319"/>
              <a:gd name="csX11" fmla="*/ 745429 w 768725"/>
              <a:gd name="csY11" fmla="*/ 1363274 h 1509319"/>
              <a:gd name="csX12" fmla="*/ 768672 w 768725"/>
              <a:gd name="csY12" fmla="*/ 1456512 h 1509319"/>
              <a:gd name="csX13" fmla="*/ 758521 w 768725"/>
              <a:gd name="csY13" fmla="*/ 1472434 h 1509319"/>
              <a:gd name="csX14" fmla="*/ 730455 w 768725"/>
              <a:gd name="csY14" fmla="*/ 1481228 h 1509319"/>
              <a:gd name="csX15" fmla="*/ 594867 w 768725"/>
              <a:gd name="csY15" fmla="*/ 1502210 h 1509319"/>
              <a:gd name="csX16" fmla="*/ 320018 w 768725"/>
              <a:gd name="csY16" fmla="*/ 1508300 h 1509319"/>
              <a:gd name="csX17" fmla="*/ 186464 w 768725"/>
              <a:gd name="csY17" fmla="*/ 1501258 h 1509319"/>
              <a:gd name="csX18" fmla="*/ 26582 w 768725"/>
              <a:gd name="csY18" fmla="*/ 1477021 h 1509319"/>
              <a:gd name="csX19" fmla="*/ 3929 w 768725"/>
              <a:gd name="csY19" fmla="*/ 1465652 h 1509319"/>
              <a:gd name="csX20" fmla="*/ 18 w 768725"/>
              <a:gd name="csY20" fmla="*/ 1456203 h 1509319"/>
              <a:gd name="csX21" fmla="*/ 4393 w 768725"/>
              <a:gd name="csY21" fmla="*/ 1417235 h 1509319"/>
              <a:gd name="csX22" fmla="*/ 19158 w 768725"/>
              <a:gd name="csY22" fmla="*/ 1370678 h 1509319"/>
              <a:gd name="csX23" fmla="*/ 23255 w 768725"/>
              <a:gd name="csY23" fmla="*/ 1342388 h 1509319"/>
              <a:gd name="csX24" fmla="*/ 38705 w 768725"/>
              <a:gd name="csY24" fmla="*/ 1247261 h 1509319"/>
              <a:gd name="csX25" fmla="*/ 58454 w 768725"/>
              <a:gd name="csY25" fmla="*/ 1220807 h 1509319"/>
              <a:gd name="csX26" fmla="*/ 103638 w 768725"/>
              <a:gd name="csY26" fmla="*/ 1175667 h 1509319"/>
              <a:gd name="csX27" fmla="*/ 122996 w 768725"/>
              <a:gd name="csY27" fmla="*/ 1146131 h 1509319"/>
              <a:gd name="csX28" fmla="*/ 122689 w 768725"/>
              <a:gd name="csY28" fmla="*/ 1128316 h 1509319"/>
              <a:gd name="csX29" fmla="*/ 116576 w 768725"/>
              <a:gd name="csY29" fmla="*/ 1113575 h 1509319"/>
              <a:gd name="csX30" fmla="*/ 127479 w 768725"/>
              <a:gd name="csY30" fmla="*/ 1081076 h 1509319"/>
              <a:gd name="csX31" fmla="*/ 137480 w 768725"/>
              <a:gd name="csY31" fmla="*/ 1076482 h 1509319"/>
              <a:gd name="csX32" fmla="*/ 157312 w 768725"/>
              <a:gd name="csY32" fmla="*/ 1053855 h 1509319"/>
              <a:gd name="csX33" fmla="*/ 178876 w 768725"/>
              <a:gd name="csY33" fmla="*/ 958120 h 1509319"/>
              <a:gd name="csX34" fmla="*/ 210165 w 768725"/>
              <a:gd name="csY34" fmla="*/ 781849 h 1509319"/>
              <a:gd name="csX35" fmla="*/ 223295 w 768725"/>
              <a:gd name="csY35" fmla="*/ 674755 h 1509319"/>
              <a:gd name="csX36" fmla="*/ 231121 w 768725"/>
              <a:gd name="csY36" fmla="*/ 564636 h 1509319"/>
              <a:gd name="csX37" fmla="*/ 235173 w 768725"/>
              <a:gd name="csY37" fmla="*/ 453038 h 1509319"/>
              <a:gd name="csX38" fmla="*/ 235001 w 768725"/>
              <a:gd name="csY38" fmla="*/ 443215 h 1509319"/>
              <a:gd name="csX39" fmla="*/ 224321 w 768725"/>
              <a:gd name="csY39" fmla="*/ 428479 h 1509319"/>
              <a:gd name="csX40" fmla="*/ 204712 w 768725"/>
              <a:gd name="csY40" fmla="*/ 418450 h 1509319"/>
              <a:gd name="csX41" fmla="*/ 184069 w 768725"/>
              <a:gd name="csY41" fmla="*/ 366060 h 1509319"/>
              <a:gd name="csX42" fmla="*/ 206519 w 768725"/>
              <a:gd name="csY42" fmla="*/ 338181 h 1509319"/>
              <a:gd name="csX43" fmla="*/ 226643 w 768725"/>
              <a:gd name="csY43" fmla="*/ 329113 h 1509319"/>
              <a:gd name="csX44" fmla="*/ 232085 w 768725"/>
              <a:gd name="csY44" fmla="*/ 311135 h 1509319"/>
              <a:gd name="csX45" fmla="*/ 221280 w 768725"/>
              <a:gd name="csY45" fmla="*/ 299552 h 1509319"/>
              <a:gd name="csX46" fmla="*/ 173478 w 768725"/>
              <a:gd name="csY46" fmla="*/ 230303 h 1509319"/>
              <a:gd name="csX47" fmla="*/ 141864 w 768725"/>
              <a:gd name="csY47" fmla="*/ 95780 h 1509319"/>
              <a:gd name="csX48" fmla="*/ 137158 w 768725"/>
              <a:gd name="csY48" fmla="*/ 37107 h 1509319"/>
              <a:gd name="csX49" fmla="*/ 148750 w 768725"/>
              <a:gd name="csY49" fmla="*/ 22335 h 1509319"/>
              <a:gd name="csX50" fmla="*/ 236982 w 768725"/>
              <a:gd name="csY50" fmla="*/ 7640 h 1509319"/>
              <a:gd name="csX51" fmla="*/ 246862 w 768725"/>
              <a:gd name="csY51" fmla="*/ 7580 h 1509319"/>
              <a:gd name="csX52" fmla="*/ 261473 w 768725"/>
              <a:gd name="csY52" fmla="*/ 86763 h 1509319"/>
              <a:gd name="csX53" fmla="*/ 306246 w 768725"/>
              <a:gd name="csY53" fmla="*/ 83559 h 1509319"/>
              <a:gd name="csX54" fmla="*/ 306960 w 768725"/>
              <a:gd name="csY54" fmla="*/ 71087 h 1509319"/>
              <a:gd name="csX55" fmla="*/ 306724 w 768725"/>
              <a:gd name="csY55" fmla="*/ 19491 h 1509319"/>
              <a:gd name="csX56" fmla="*/ 319581 w 768725"/>
              <a:gd name="csY56" fmla="*/ 4733 h 1509319"/>
              <a:gd name="csX57" fmla="*/ 430956 w 768725"/>
              <a:gd name="csY57" fmla="*/ 2070 h 1509319"/>
              <a:gd name="csX58" fmla="*/ 437066 w 768725"/>
              <a:gd name="csY58" fmla="*/ 2646 h 1509319"/>
              <a:gd name="csX59" fmla="*/ 460335 w 768725"/>
              <a:gd name="csY59" fmla="*/ 24205 h 1509319"/>
              <a:gd name="csX60" fmla="*/ 463579 w 768725"/>
              <a:gd name="csY60" fmla="*/ 62081 h 1509319"/>
              <a:gd name="csX61" fmla="*/ 463652 w 768725"/>
              <a:gd name="csY61" fmla="*/ 82953 h 1509319"/>
              <a:gd name="csX62" fmla="*/ 507205 w 768725"/>
              <a:gd name="csY62" fmla="*/ 85553 h 1509319"/>
              <a:gd name="csX63" fmla="*/ 513271 w 768725"/>
              <a:gd name="csY63" fmla="*/ 61890 h 1509319"/>
              <a:gd name="csX64" fmla="*/ 520203 w 768725"/>
              <a:gd name="csY64" fmla="*/ 18323 h 1509319"/>
              <a:gd name="csX65" fmla="*/ 534008 w 768725"/>
              <a:gd name="csY65" fmla="*/ 7785 h 1509319"/>
              <a:gd name="csX66" fmla="*/ 595925 w 768725"/>
              <a:gd name="csY66" fmla="*/ 16407 h 1509319"/>
              <a:gd name="csX67" fmla="*/ 619972 w 768725"/>
              <a:gd name="csY67" fmla="*/ 21156 h 1509319"/>
              <a:gd name="csX68" fmla="*/ 631161 w 768725"/>
              <a:gd name="csY68" fmla="*/ 36134 h 1509319"/>
              <a:gd name="csX69" fmla="*/ 628140 w 768725"/>
              <a:gd name="csY69" fmla="*/ 85104 h 1509319"/>
              <a:gd name="csX70" fmla="*/ 613954 w 768725"/>
              <a:gd name="csY70" fmla="*/ 179618 h 1509319"/>
              <a:gd name="csX71" fmla="*/ 586196 w 768725"/>
              <a:gd name="csY71" fmla="*/ 256886 h 1509319"/>
              <a:gd name="csX72" fmla="*/ 554619 w 768725"/>
              <a:gd name="csY72" fmla="*/ 295312 h 1509319"/>
              <a:gd name="csX73" fmla="*/ 538601 w 768725"/>
              <a:gd name="csY73" fmla="*/ 315001 h 1509319"/>
              <a:gd name="csX74" fmla="*/ 542630 w 768725"/>
              <a:gd name="csY74" fmla="*/ 326199 h 1509319"/>
              <a:gd name="csX75" fmla="*/ 560240 w 768725"/>
              <a:gd name="csY75" fmla="*/ 334912 h 1509319"/>
              <a:gd name="csX76" fmla="*/ 586933 w 768725"/>
              <a:gd name="csY76" fmla="*/ 371800 h 1509319"/>
              <a:gd name="csX77" fmla="*/ 563039 w 768725"/>
              <a:gd name="csY77" fmla="*/ 418184 h 1509319"/>
              <a:gd name="csX78" fmla="*/ 545522 w 768725"/>
              <a:gd name="csY78" fmla="*/ 427008 h 1509319"/>
              <a:gd name="csX79" fmla="*/ 535507 w 768725"/>
              <a:gd name="csY79" fmla="*/ 440667 h 1509319"/>
              <a:gd name="csX80" fmla="*/ 536723 w 768725"/>
              <a:gd name="csY80" fmla="*/ 537651 h 1509319"/>
              <a:gd name="csX81" fmla="*/ 539820 w 768725"/>
              <a:gd name="csY81" fmla="*/ 595237 h 1509319"/>
              <a:gd name="csX82" fmla="*/ 553105 w 768725"/>
              <a:gd name="csY82" fmla="*/ 746727 h 1509319"/>
              <a:gd name="csX83" fmla="*/ 576414 w 768725"/>
              <a:gd name="csY83" fmla="*/ 893042 h 1509319"/>
              <a:gd name="csX84" fmla="*/ 500356 w 768725"/>
              <a:gd name="csY84" fmla="*/ 473996 h 1509319"/>
              <a:gd name="csX85" fmla="*/ 499749 w 768725"/>
              <a:gd name="csY85" fmla="*/ 463598 h 1509319"/>
              <a:gd name="csX86" fmla="*/ 392525 w 768725"/>
              <a:gd name="csY86" fmla="*/ 471627 h 1509319"/>
              <a:gd name="csX87" fmla="*/ 392518 w 768725"/>
              <a:gd name="csY87" fmla="*/ 482742 h 1509319"/>
              <a:gd name="csX88" fmla="*/ 390814 w 768725"/>
              <a:gd name="csY88" fmla="*/ 596913 h 1509319"/>
              <a:gd name="csX89" fmla="*/ 385953 w 768725"/>
              <a:gd name="csY89" fmla="*/ 788374 h 1509319"/>
              <a:gd name="csX90" fmla="*/ 383485 w 768725"/>
              <a:gd name="csY90" fmla="*/ 884103 h 1509319"/>
              <a:gd name="csX91" fmla="*/ 380173 w 768725"/>
              <a:gd name="csY91" fmla="*/ 1035109 h 1509319"/>
              <a:gd name="csX92" fmla="*/ 378826 w 768725"/>
              <a:gd name="csY92" fmla="*/ 1068199 h 1509319"/>
              <a:gd name="csX93" fmla="*/ 380180 w 768725"/>
              <a:gd name="csY93" fmla="*/ 1074648 h 1509319"/>
              <a:gd name="csX94" fmla="*/ 446854 w 768725"/>
              <a:gd name="csY94" fmla="*/ 1074654 h 1509319"/>
              <a:gd name="csX95" fmla="*/ 513191 w 768725"/>
              <a:gd name="csY95" fmla="*/ 1074731 h 1509319"/>
              <a:gd name="csX96" fmla="*/ 580317 w 768725"/>
              <a:gd name="csY96" fmla="*/ 1075095 h 1509319"/>
              <a:gd name="csX97" fmla="*/ 500356 w 768725"/>
              <a:gd name="csY97" fmla="*/ 473996 h 1509319"/>
              <a:gd name="csX98" fmla="*/ 459731 w 768725"/>
              <a:gd name="csY98" fmla="*/ 1135086 h 1509319"/>
              <a:gd name="csX99" fmla="*/ 383756 w 768725"/>
              <a:gd name="csY99" fmla="*/ 1135086 h 1509319"/>
              <a:gd name="csX100" fmla="*/ 387612 w 768725"/>
              <a:gd name="csY100" fmla="*/ 1242590 h 1509319"/>
              <a:gd name="csX101" fmla="*/ 383907 w 768725"/>
              <a:gd name="csY101" fmla="*/ 1351330 h 1509319"/>
              <a:gd name="csX102" fmla="*/ 707112 w 768725"/>
              <a:gd name="csY102" fmla="*/ 1330559 h 1509319"/>
              <a:gd name="csX103" fmla="*/ 686366 w 768725"/>
              <a:gd name="csY103" fmla="*/ 1251637 h 1509319"/>
              <a:gd name="csX104" fmla="*/ 639403 w 768725"/>
              <a:gd name="csY104" fmla="*/ 1199952 h 1509319"/>
              <a:gd name="csX105" fmla="*/ 606292 w 768725"/>
              <a:gd name="csY105" fmla="*/ 1135508 h 1509319"/>
              <a:gd name="csX106" fmla="*/ 602971 w 768725"/>
              <a:gd name="csY106" fmla="*/ 1123400 h 1509319"/>
              <a:gd name="csX107" fmla="*/ 591474 w 768725"/>
              <a:gd name="csY107" fmla="*/ 1124633 h 1509319"/>
              <a:gd name="csX108" fmla="*/ 530551 w 768725"/>
              <a:gd name="csY108" fmla="*/ 1130880 h 1509319"/>
              <a:gd name="csX109" fmla="*/ 459731 w 768725"/>
              <a:gd name="csY109" fmla="*/ 1135086 h 1509319"/>
              <a:gd name="csX110" fmla="*/ 469505 w 768725"/>
              <a:gd name="csY110" fmla="*/ 116252 h 1509319"/>
              <a:gd name="csX111" fmla="*/ 443782 w 768725"/>
              <a:gd name="csY111" fmla="*/ 114911 h 1509319"/>
              <a:gd name="csX112" fmla="*/ 430007 w 768725"/>
              <a:gd name="csY112" fmla="*/ 99878 h 1509319"/>
              <a:gd name="csX113" fmla="*/ 429331 w 768725"/>
              <a:gd name="csY113" fmla="*/ 69197 h 1509319"/>
              <a:gd name="csX114" fmla="*/ 426333 w 768725"/>
              <a:gd name="csY114" fmla="*/ 34606 h 1509319"/>
              <a:gd name="csX115" fmla="*/ 377548 w 768725"/>
              <a:gd name="csY115" fmla="*/ 34613 h 1509319"/>
              <a:gd name="csX116" fmla="*/ 368004 w 768725"/>
              <a:gd name="csY116" fmla="*/ 44529 h 1509319"/>
              <a:gd name="csX117" fmla="*/ 366185 w 768725"/>
              <a:gd name="csY117" fmla="*/ 76343 h 1509319"/>
              <a:gd name="csX118" fmla="*/ 379384 w 768725"/>
              <a:gd name="csY118" fmla="*/ 206619 h 1509319"/>
              <a:gd name="csX119" fmla="*/ 390997 w 768725"/>
              <a:gd name="csY119" fmla="*/ 277965 h 1509319"/>
              <a:gd name="csX120" fmla="*/ 394040 w 768725"/>
              <a:gd name="csY120" fmla="*/ 305053 h 1509319"/>
              <a:gd name="csX121" fmla="*/ 501758 w 768725"/>
              <a:gd name="csY121" fmla="*/ 304814 h 1509319"/>
              <a:gd name="csX122" fmla="*/ 510340 w 768725"/>
              <a:gd name="csY122" fmla="*/ 299427 h 1509319"/>
              <a:gd name="csX123" fmla="*/ 526940 w 768725"/>
              <a:gd name="csY123" fmla="*/ 279822 h 1509319"/>
              <a:gd name="csX124" fmla="*/ 576920 w 768725"/>
              <a:gd name="csY124" fmla="*/ 192342 h 1509319"/>
              <a:gd name="csX125" fmla="*/ 594042 w 768725"/>
              <a:gd name="csY125" fmla="*/ 74918 h 1509319"/>
              <a:gd name="csX126" fmla="*/ 594159 w 768725"/>
              <a:gd name="csY126" fmla="*/ 49195 h 1509319"/>
              <a:gd name="csX127" fmla="*/ 554791 w 768725"/>
              <a:gd name="csY127" fmla="*/ 42552 h 1509319"/>
              <a:gd name="csX128" fmla="*/ 552461 w 768725"/>
              <a:gd name="csY128" fmla="*/ 55598 h 1509319"/>
              <a:gd name="csX129" fmla="*/ 544678 w 768725"/>
              <a:gd name="csY129" fmla="*/ 102721 h 1509319"/>
              <a:gd name="csX130" fmla="*/ 525701 w 768725"/>
              <a:gd name="csY130" fmla="*/ 118186 h 1509319"/>
              <a:gd name="csX131" fmla="*/ 469505 w 768725"/>
              <a:gd name="csY131" fmla="*/ 116252 h 1509319"/>
              <a:gd name="csX132" fmla="*/ 513928 w 768725"/>
              <a:gd name="csY132" fmla="*/ 1403203 h 1509319"/>
              <a:gd name="csX133" fmla="*/ 379322 w 768725"/>
              <a:gd name="csY133" fmla="*/ 1404000 h 1509319"/>
              <a:gd name="csX134" fmla="*/ 379322 w 768725"/>
              <a:gd name="csY134" fmla="*/ 1460424 h 1509319"/>
              <a:gd name="csX135" fmla="*/ 726554 w 768725"/>
              <a:gd name="csY135" fmla="*/ 1439225 h 1509319"/>
              <a:gd name="csX136" fmla="*/ 721089 w 768725"/>
              <a:gd name="csY136" fmla="*/ 1397750 h 1509319"/>
              <a:gd name="csX137" fmla="*/ 697967 w 768725"/>
              <a:gd name="csY137" fmla="*/ 1385046 h 1509319"/>
              <a:gd name="csX138" fmla="*/ 619039 w 768725"/>
              <a:gd name="csY138" fmla="*/ 1395892 h 1509319"/>
              <a:gd name="csX139" fmla="*/ 513928 w 768725"/>
              <a:gd name="csY139" fmla="*/ 1403203 h 1509319"/>
              <a:gd name="csX140" fmla="*/ 462814 w 768725"/>
              <a:gd name="csY140" fmla="*/ 375981 h 1509319"/>
              <a:gd name="csX141" fmla="*/ 538992 w 768725"/>
              <a:gd name="csY141" fmla="*/ 375736 h 1509319"/>
              <a:gd name="csX142" fmla="*/ 551835 w 768725"/>
              <a:gd name="csY142" fmla="*/ 373923 h 1509319"/>
              <a:gd name="csX143" fmla="*/ 539689 w 768725"/>
              <a:gd name="csY143" fmla="*/ 356085 h 1509319"/>
              <a:gd name="csX144" fmla="*/ 521074 w 768725"/>
              <a:gd name="csY144" fmla="*/ 344186 h 1509319"/>
              <a:gd name="csX145" fmla="*/ 503789 w 768725"/>
              <a:gd name="csY145" fmla="*/ 339280 h 1509319"/>
              <a:gd name="csX146" fmla="*/ 404270 w 768725"/>
              <a:gd name="csY146" fmla="*/ 339994 h 1509319"/>
              <a:gd name="csX147" fmla="*/ 393081 w 768725"/>
              <a:gd name="csY147" fmla="*/ 340868 h 1509319"/>
              <a:gd name="csX148" fmla="*/ 395001 w 768725"/>
              <a:gd name="csY148" fmla="*/ 375976 h 1509319"/>
              <a:gd name="csX149" fmla="*/ 462814 w 768725"/>
              <a:gd name="csY149" fmla="*/ 375981 h 150931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</a:cxnLst>
            <a:rect l="l" t="t" r="r" b="b"/>
            <a:pathLst>
              <a:path w="768725" h="1509319">
                <a:moveTo>
                  <a:pt x="576414" y="893042"/>
                </a:moveTo>
                <a:cubicBezTo>
                  <a:pt x="588806" y="949146"/>
                  <a:pt x="601091" y="1004202"/>
                  <a:pt x="613047" y="1059329"/>
                </a:cubicBezTo>
                <a:cubicBezTo>
                  <a:pt x="614432" y="1065716"/>
                  <a:pt x="617736" y="1069332"/>
                  <a:pt x="623337" y="1071825"/>
                </a:cubicBezTo>
                <a:cubicBezTo>
                  <a:pt x="628942" y="1074320"/>
                  <a:pt x="634521" y="1076938"/>
                  <a:pt x="639863" y="1079946"/>
                </a:cubicBezTo>
                <a:cubicBezTo>
                  <a:pt x="650944" y="1086186"/>
                  <a:pt x="655598" y="1096871"/>
                  <a:pt x="652266" y="1109045"/>
                </a:cubicBezTo>
                <a:cubicBezTo>
                  <a:pt x="650545" y="1115333"/>
                  <a:pt x="647953" y="1121401"/>
                  <a:pt x="645501" y="1127466"/>
                </a:cubicBezTo>
                <a:cubicBezTo>
                  <a:pt x="643225" y="1133097"/>
                  <a:pt x="643438" y="1138435"/>
                  <a:pt x="645547" y="1144138"/>
                </a:cubicBezTo>
                <a:cubicBezTo>
                  <a:pt x="649868" y="1155821"/>
                  <a:pt x="655892" y="1166306"/>
                  <a:pt x="664589" y="1175322"/>
                </a:cubicBezTo>
                <a:cubicBezTo>
                  <a:pt x="680503" y="1191819"/>
                  <a:pt x="696298" y="1208434"/>
                  <a:pt x="712015" y="1225118"/>
                </a:cubicBezTo>
                <a:cubicBezTo>
                  <a:pt x="731931" y="1246258"/>
                  <a:pt x="740856" y="1272032"/>
                  <a:pt x="744465" y="1300385"/>
                </a:cubicBezTo>
                <a:cubicBezTo>
                  <a:pt x="746614" y="1317273"/>
                  <a:pt x="744537" y="1333855"/>
                  <a:pt x="743270" y="1350524"/>
                </a:cubicBezTo>
                <a:cubicBezTo>
                  <a:pt x="742916" y="1355183"/>
                  <a:pt x="743079" y="1358990"/>
                  <a:pt x="745429" y="1363274"/>
                </a:cubicBezTo>
                <a:cubicBezTo>
                  <a:pt x="761335" y="1392276"/>
                  <a:pt x="766719" y="1423956"/>
                  <a:pt x="768672" y="1456512"/>
                </a:cubicBezTo>
                <a:cubicBezTo>
                  <a:pt x="769161" y="1464651"/>
                  <a:pt x="766327" y="1469951"/>
                  <a:pt x="758521" y="1472434"/>
                </a:cubicBezTo>
                <a:cubicBezTo>
                  <a:pt x="749176" y="1475406"/>
                  <a:pt x="739961" y="1478919"/>
                  <a:pt x="730455" y="1481228"/>
                </a:cubicBezTo>
                <a:cubicBezTo>
                  <a:pt x="685866" y="1492058"/>
                  <a:pt x="640613" y="1498445"/>
                  <a:pt x="594867" y="1502210"/>
                </a:cubicBezTo>
                <a:cubicBezTo>
                  <a:pt x="503351" y="1509743"/>
                  <a:pt x="411695" y="1510364"/>
                  <a:pt x="320018" y="1508300"/>
                </a:cubicBezTo>
                <a:cubicBezTo>
                  <a:pt x="275466" y="1507297"/>
                  <a:pt x="230913" y="1504582"/>
                  <a:pt x="186464" y="1501258"/>
                </a:cubicBezTo>
                <a:cubicBezTo>
                  <a:pt x="132610" y="1497231"/>
                  <a:pt x="79072" y="1490389"/>
                  <a:pt x="26582" y="1477021"/>
                </a:cubicBezTo>
                <a:cubicBezTo>
                  <a:pt x="18195" y="1474885"/>
                  <a:pt x="9735" y="1472585"/>
                  <a:pt x="3929" y="1465652"/>
                </a:cubicBezTo>
                <a:cubicBezTo>
                  <a:pt x="1807" y="1463117"/>
                  <a:pt x="-213" y="1459275"/>
                  <a:pt x="18" y="1456203"/>
                </a:cubicBezTo>
                <a:cubicBezTo>
                  <a:pt x="995" y="1443177"/>
                  <a:pt x="2714" y="1430200"/>
                  <a:pt x="4393" y="1417235"/>
                </a:cubicBezTo>
                <a:cubicBezTo>
                  <a:pt x="6515" y="1400846"/>
                  <a:pt x="11310" y="1385118"/>
                  <a:pt x="19158" y="1370678"/>
                </a:cubicBezTo>
                <a:cubicBezTo>
                  <a:pt x="24205" y="1361393"/>
                  <a:pt x="24576" y="1352443"/>
                  <a:pt x="23255" y="1342388"/>
                </a:cubicBezTo>
                <a:cubicBezTo>
                  <a:pt x="18901" y="1309218"/>
                  <a:pt x="21603" y="1276876"/>
                  <a:pt x="38705" y="1247261"/>
                </a:cubicBezTo>
                <a:cubicBezTo>
                  <a:pt x="44179" y="1237783"/>
                  <a:pt x="50956" y="1228786"/>
                  <a:pt x="58454" y="1220807"/>
                </a:cubicBezTo>
                <a:cubicBezTo>
                  <a:pt x="73024" y="1205299"/>
                  <a:pt x="88543" y="1190683"/>
                  <a:pt x="103638" y="1175667"/>
                </a:cubicBezTo>
                <a:cubicBezTo>
                  <a:pt x="112161" y="1167189"/>
                  <a:pt x="118801" y="1157513"/>
                  <a:pt x="122996" y="1146131"/>
                </a:cubicBezTo>
                <a:cubicBezTo>
                  <a:pt x="125249" y="1140016"/>
                  <a:pt x="125488" y="1134282"/>
                  <a:pt x="122689" y="1128316"/>
                </a:cubicBezTo>
                <a:cubicBezTo>
                  <a:pt x="120431" y="1123504"/>
                  <a:pt x="118446" y="1118553"/>
                  <a:pt x="116576" y="1113575"/>
                </a:cubicBezTo>
                <a:cubicBezTo>
                  <a:pt x="111153" y="1099133"/>
                  <a:pt x="114404" y="1089299"/>
                  <a:pt x="127479" y="1081076"/>
                </a:cubicBezTo>
                <a:cubicBezTo>
                  <a:pt x="130563" y="1079137"/>
                  <a:pt x="134000" y="1077564"/>
                  <a:pt x="137480" y="1076482"/>
                </a:cubicBezTo>
                <a:cubicBezTo>
                  <a:pt x="148800" y="1072962"/>
                  <a:pt x="154794" y="1065351"/>
                  <a:pt x="157312" y="1053855"/>
                </a:cubicBezTo>
                <a:cubicBezTo>
                  <a:pt x="164312" y="1021900"/>
                  <a:pt x="172752" y="990234"/>
                  <a:pt x="178876" y="958120"/>
                </a:cubicBezTo>
                <a:cubicBezTo>
                  <a:pt x="190055" y="899504"/>
                  <a:pt x="200649" y="840756"/>
                  <a:pt x="210165" y="781849"/>
                </a:cubicBezTo>
                <a:cubicBezTo>
                  <a:pt x="215898" y="746366"/>
                  <a:pt x="219868" y="710550"/>
                  <a:pt x="223295" y="674755"/>
                </a:cubicBezTo>
                <a:cubicBezTo>
                  <a:pt x="226801" y="638133"/>
                  <a:pt x="229185" y="601381"/>
                  <a:pt x="231121" y="564636"/>
                </a:cubicBezTo>
                <a:cubicBezTo>
                  <a:pt x="233079" y="527469"/>
                  <a:pt x="233899" y="490241"/>
                  <a:pt x="235173" y="453038"/>
                </a:cubicBezTo>
                <a:cubicBezTo>
                  <a:pt x="235285" y="449770"/>
                  <a:pt x="235108" y="446488"/>
                  <a:pt x="235001" y="443215"/>
                </a:cubicBezTo>
                <a:cubicBezTo>
                  <a:pt x="234761" y="435907"/>
                  <a:pt x="231291" y="431283"/>
                  <a:pt x="224321" y="428479"/>
                </a:cubicBezTo>
                <a:cubicBezTo>
                  <a:pt x="217531" y="425747"/>
                  <a:pt x="210873" y="422395"/>
                  <a:pt x="204712" y="418450"/>
                </a:cubicBezTo>
                <a:cubicBezTo>
                  <a:pt x="187562" y="407468"/>
                  <a:pt x="179141" y="385623"/>
                  <a:pt x="184069" y="366060"/>
                </a:cubicBezTo>
                <a:cubicBezTo>
                  <a:pt x="187270" y="353354"/>
                  <a:pt x="195406" y="344379"/>
                  <a:pt x="206519" y="338181"/>
                </a:cubicBezTo>
                <a:cubicBezTo>
                  <a:pt x="212922" y="334611"/>
                  <a:pt x="219930" y="332132"/>
                  <a:pt x="226643" y="329113"/>
                </a:cubicBezTo>
                <a:cubicBezTo>
                  <a:pt x="236636" y="324620"/>
                  <a:pt x="238185" y="320246"/>
                  <a:pt x="232085" y="311135"/>
                </a:cubicBezTo>
                <a:cubicBezTo>
                  <a:pt x="229169" y="306779"/>
                  <a:pt x="225643" y="302195"/>
                  <a:pt x="221280" y="299552"/>
                </a:cubicBezTo>
                <a:cubicBezTo>
                  <a:pt x="194874" y="283553"/>
                  <a:pt x="183766" y="257401"/>
                  <a:pt x="173478" y="230303"/>
                </a:cubicBezTo>
                <a:cubicBezTo>
                  <a:pt x="156973" y="186824"/>
                  <a:pt x="146078" y="142097"/>
                  <a:pt x="141864" y="95780"/>
                </a:cubicBezTo>
                <a:cubicBezTo>
                  <a:pt x="140086" y="76240"/>
                  <a:pt x="138323" y="56689"/>
                  <a:pt x="137158" y="37107"/>
                </a:cubicBezTo>
                <a:cubicBezTo>
                  <a:pt x="136482" y="25735"/>
                  <a:pt x="137408" y="24372"/>
                  <a:pt x="148750" y="22335"/>
                </a:cubicBezTo>
                <a:cubicBezTo>
                  <a:pt x="178094" y="17065"/>
                  <a:pt x="207551" y="12418"/>
                  <a:pt x="236982" y="7640"/>
                </a:cubicBezTo>
                <a:cubicBezTo>
                  <a:pt x="239748" y="7191"/>
                  <a:pt x="242650" y="7580"/>
                  <a:pt x="246862" y="7580"/>
                </a:cubicBezTo>
                <a:cubicBezTo>
                  <a:pt x="255824" y="32568"/>
                  <a:pt x="255201" y="59502"/>
                  <a:pt x="261473" y="86763"/>
                </a:cubicBezTo>
                <a:cubicBezTo>
                  <a:pt x="276122" y="85715"/>
                  <a:pt x="290587" y="84680"/>
                  <a:pt x="306246" y="83559"/>
                </a:cubicBezTo>
                <a:cubicBezTo>
                  <a:pt x="306524" y="78935"/>
                  <a:pt x="306966" y="75011"/>
                  <a:pt x="306960" y="71087"/>
                </a:cubicBezTo>
                <a:cubicBezTo>
                  <a:pt x="306936" y="53888"/>
                  <a:pt x="306633" y="36688"/>
                  <a:pt x="306724" y="19491"/>
                </a:cubicBezTo>
                <a:cubicBezTo>
                  <a:pt x="306789" y="7258"/>
                  <a:pt x="307148" y="6664"/>
                  <a:pt x="319581" y="4733"/>
                </a:cubicBezTo>
                <a:cubicBezTo>
                  <a:pt x="356571" y="-1011"/>
                  <a:pt x="393735" y="-1048"/>
                  <a:pt x="430956" y="2070"/>
                </a:cubicBezTo>
                <a:cubicBezTo>
                  <a:pt x="432994" y="2241"/>
                  <a:pt x="435026" y="2485"/>
                  <a:pt x="437066" y="2646"/>
                </a:cubicBezTo>
                <a:cubicBezTo>
                  <a:pt x="455684" y="4122"/>
                  <a:pt x="457626" y="5472"/>
                  <a:pt x="460335" y="24205"/>
                </a:cubicBezTo>
                <a:cubicBezTo>
                  <a:pt x="462146" y="36727"/>
                  <a:pt x="462770" y="49435"/>
                  <a:pt x="463579" y="62081"/>
                </a:cubicBezTo>
                <a:cubicBezTo>
                  <a:pt x="463995" y="68573"/>
                  <a:pt x="463652" y="75113"/>
                  <a:pt x="463652" y="82953"/>
                </a:cubicBezTo>
                <a:cubicBezTo>
                  <a:pt x="478793" y="83857"/>
                  <a:pt x="492851" y="84696"/>
                  <a:pt x="507205" y="85553"/>
                </a:cubicBezTo>
                <a:cubicBezTo>
                  <a:pt x="512102" y="78145"/>
                  <a:pt x="511920" y="69770"/>
                  <a:pt x="513271" y="61890"/>
                </a:cubicBezTo>
                <a:cubicBezTo>
                  <a:pt x="515756" y="47397"/>
                  <a:pt x="517439" y="32758"/>
                  <a:pt x="520203" y="18323"/>
                </a:cubicBezTo>
                <a:cubicBezTo>
                  <a:pt x="522330" y="7216"/>
                  <a:pt x="522926" y="6539"/>
                  <a:pt x="534008" y="7785"/>
                </a:cubicBezTo>
                <a:cubicBezTo>
                  <a:pt x="554709" y="10113"/>
                  <a:pt x="575316" y="13322"/>
                  <a:pt x="595925" y="16407"/>
                </a:cubicBezTo>
                <a:cubicBezTo>
                  <a:pt x="604001" y="17616"/>
                  <a:pt x="612093" y="19051"/>
                  <a:pt x="619972" y="21156"/>
                </a:cubicBezTo>
                <a:cubicBezTo>
                  <a:pt x="628887" y="23538"/>
                  <a:pt x="631496" y="26848"/>
                  <a:pt x="631161" y="36134"/>
                </a:cubicBezTo>
                <a:cubicBezTo>
                  <a:pt x="630572" y="52475"/>
                  <a:pt x="629765" y="68840"/>
                  <a:pt x="628140" y="85104"/>
                </a:cubicBezTo>
                <a:cubicBezTo>
                  <a:pt x="624968" y="116827"/>
                  <a:pt x="621618" y="148545"/>
                  <a:pt x="613954" y="179618"/>
                </a:cubicBezTo>
                <a:cubicBezTo>
                  <a:pt x="607361" y="206344"/>
                  <a:pt x="597791" y="231950"/>
                  <a:pt x="586196" y="256886"/>
                </a:cubicBezTo>
                <a:cubicBezTo>
                  <a:pt x="578940" y="272491"/>
                  <a:pt x="568647" y="285371"/>
                  <a:pt x="554619" y="295312"/>
                </a:cubicBezTo>
                <a:cubicBezTo>
                  <a:pt x="547467" y="300381"/>
                  <a:pt x="541673" y="306562"/>
                  <a:pt x="538601" y="315001"/>
                </a:cubicBezTo>
                <a:cubicBezTo>
                  <a:pt x="536802" y="319945"/>
                  <a:pt x="537533" y="323761"/>
                  <a:pt x="542630" y="326199"/>
                </a:cubicBezTo>
                <a:cubicBezTo>
                  <a:pt x="548539" y="329025"/>
                  <a:pt x="554513" y="331748"/>
                  <a:pt x="560240" y="334912"/>
                </a:cubicBezTo>
                <a:cubicBezTo>
                  <a:pt x="574874" y="342998"/>
                  <a:pt x="586216" y="353688"/>
                  <a:pt x="586933" y="371800"/>
                </a:cubicBezTo>
                <a:cubicBezTo>
                  <a:pt x="587721" y="391697"/>
                  <a:pt x="581146" y="407998"/>
                  <a:pt x="563039" y="418184"/>
                </a:cubicBezTo>
                <a:cubicBezTo>
                  <a:pt x="557338" y="421391"/>
                  <a:pt x="551634" y="424825"/>
                  <a:pt x="545522" y="427008"/>
                </a:cubicBezTo>
                <a:cubicBezTo>
                  <a:pt x="538690" y="429449"/>
                  <a:pt x="535443" y="433770"/>
                  <a:pt x="535507" y="440667"/>
                </a:cubicBezTo>
                <a:cubicBezTo>
                  <a:pt x="535813" y="472997"/>
                  <a:pt x="535953" y="505332"/>
                  <a:pt x="536723" y="537651"/>
                </a:cubicBezTo>
                <a:cubicBezTo>
                  <a:pt x="537181" y="556862"/>
                  <a:pt x="538274" y="576081"/>
                  <a:pt x="539820" y="595237"/>
                </a:cubicBezTo>
                <a:cubicBezTo>
                  <a:pt x="543897" y="645768"/>
                  <a:pt x="546950" y="696441"/>
                  <a:pt x="553105" y="746727"/>
                </a:cubicBezTo>
                <a:cubicBezTo>
                  <a:pt x="559060" y="795370"/>
                  <a:pt x="568372" y="843602"/>
                  <a:pt x="576414" y="893042"/>
                </a:cubicBezTo>
                <a:moveTo>
                  <a:pt x="500356" y="473996"/>
                </a:moveTo>
                <a:cubicBezTo>
                  <a:pt x="500146" y="470396"/>
                  <a:pt x="499936" y="466797"/>
                  <a:pt x="499749" y="463598"/>
                </a:cubicBezTo>
                <a:cubicBezTo>
                  <a:pt x="463731" y="466295"/>
                  <a:pt x="428548" y="468929"/>
                  <a:pt x="392525" y="471627"/>
                </a:cubicBezTo>
                <a:cubicBezTo>
                  <a:pt x="392525" y="475456"/>
                  <a:pt x="392570" y="479099"/>
                  <a:pt x="392518" y="482742"/>
                </a:cubicBezTo>
                <a:cubicBezTo>
                  <a:pt x="391977" y="520799"/>
                  <a:pt x="391669" y="558862"/>
                  <a:pt x="390814" y="596913"/>
                </a:cubicBezTo>
                <a:cubicBezTo>
                  <a:pt x="389379" y="660737"/>
                  <a:pt x="387596" y="724554"/>
                  <a:pt x="385953" y="788374"/>
                </a:cubicBezTo>
                <a:cubicBezTo>
                  <a:pt x="385132" y="820284"/>
                  <a:pt x="384217" y="852191"/>
                  <a:pt x="383485" y="884103"/>
                </a:cubicBezTo>
                <a:cubicBezTo>
                  <a:pt x="382329" y="934437"/>
                  <a:pt x="381336" y="984775"/>
                  <a:pt x="380173" y="1035109"/>
                </a:cubicBezTo>
                <a:cubicBezTo>
                  <a:pt x="379918" y="1046143"/>
                  <a:pt x="379172" y="1057166"/>
                  <a:pt x="378826" y="1068199"/>
                </a:cubicBezTo>
                <a:cubicBezTo>
                  <a:pt x="378768" y="1070073"/>
                  <a:pt x="379592" y="1071975"/>
                  <a:pt x="380180" y="1074648"/>
                </a:cubicBezTo>
                <a:cubicBezTo>
                  <a:pt x="402724" y="1074648"/>
                  <a:pt x="424789" y="1074626"/>
                  <a:pt x="446854" y="1074654"/>
                </a:cubicBezTo>
                <a:cubicBezTo>
                  <a:pt x="468967" y="1074682"/>
                  <a:pt x="491084" y="1075062"/>
                  <a:pt x="513191" y="1074731"/>
                </a:cubicBezTo>
                <a:cubicBezTo>
                  <a:pt x="535020" y="1074404"/>
                  <a:pt x="556890" y="1078397"/>
                  <a:pt x="580317" y="1075095"/>
                </a:cubicBezTo>
                <a:cubicBezTo>
                  <a:pt x="530688" y="877741"/>
                  <a:pt x="498514" y="679261"/>
                  <a:pt x="500356" y="473996"/>
                </a:cubicBezTo>
                <a:moveTo>
                  <a:pt x="459731" y="1135086"/>
                </a:moveTo>
                <a:cubicBezTo>
                  <a:pt x="434501" y="1135086"/>
                  <a:pt x="409270" y="1135086"/>
                  <a:pt x="383756" y="1135086"/>
                </a:cubicBezTo>
                <a:cubicBezTo>
                  <a:pt x="385145" y="1171037"/>
                  <a:pt x="387590" y="1206813"/>
                  <a:pt x="387612" y="1242590"/>
                </a:cubicBezTo>
                <a:cubicBezTo>
                  <a:pt x="387634" y="1278699"/>
                  <a:pt x="385252" y="1314810"/>
                  <a:pt x="383907" y="1351330"/>
                </a:cubicBezTo>
                <a:cubicBezTo>
                  <a:pt x="493016" y="1355954"/>
                  <a:pt x="600298" y="1349068"/>
                  <a:pt x="707112" y="1330559"/>
                </a:cubicBezTo>
                <a:cubicBezTo>
                  <a:pt x="710922" y="1301049"/>
                  <a:pt x="703971" y="1274394"/>
                  <a:pt x="686366" y="1251637"/>
                </a:cubicBezTo>
                <a:cubicBezTo>
                  <a:pt x="672164" y="1233278"/>
                  <a:pt x="655625" y="1216649"/>
                  <a:pt x="639403" y="1199952"/>
                </a:cubicBezTo>
                <a:cubicBezTo>
                  <a:pt x="621690" y="1181720"/>
                  <a:pt x="611031" y="1160243"/>
                  <a:pt x="606292" y="1135508"/>
                </a:cubicBezTo>
                <a:cubicBezTo>
                  <a:pt x="605546" y="1131614"/>
                  <a:pt x="604205" y="1127833"/>
                  <a:pt x="602971" y="1123400"/>
                </a:cubicBezTo>
                <a:cubicBezTo>
                  <a:pt x="598647" y="1123864"/>
                  <a:pt x="595062" y="1124258"/>
                  <a:pt x="591474" y="1124633"/>
                </a:cubicBezTo>
                <a:cubicBezTo>
                  <a:pt x="571170" y="1126753"/>
                  <a:pt x="550896" y="1129262"/>
                  <a:pt x="530551" y="1130880"/>
                </a:cubicBezTo>
                <a:cubicBezTo>
                  <a:pt x="507752" y="1132694"/>
                  <a:pt x="484887" y="1133699"/>
                  <a:pt x="459731" y="1135086"/>
                </a:cubicBezTo>
                <a:moveTo>
                  <a:pt x="469505" y="116252"/>
                </a:moveTo>
                <a:cubicBezTo>
                  <a:pt x="460926" y="115846"/>
                  <a:pt x="452288" y="115932"/>
                  <a:pt x="443782" y="114911"/>
                </a:cubicBezTo>
                <a:cubicBezTo>
                  <a:pt x="433023" y="113619"/>
                  <a:pt x="430601" y="110848"/>
                  <a:pt x="430007" y="99878"/>
                </a:cubicBezTo>
                <a:cubicBezTo>
                  <a:pt x="429457" y="89668"/>
                  <a:pt x="429903" y="79404"/>
                  <a:pt x="429331" y="69197"/>
                </a:cubicBezTo>
                <a:cubicBezTo>
                  <a:pt x="428702" y="57943"/>
                  <a:pt x="427414" y="46725"/>
                  <a:pt x="426333" y="34606"/>
                </a:cubicBezTo>
                <a:cubicBezTo>
                  <a:pt x="409217" y="34606"/>
                  <a:pt x="393383" y="34593"/>
                  <a:pt x="377548" y="34613"/>
                </a:cubicBezTo>
                <a:cubicBezTo>
                  <a:pt x="370973" y="34621"/>
                  <a:pt x="368175" y="37880"/>
                  <a:pt x="368004" y="44529"/>
                </a:cubicBezTo>
                <a:cubicBezTo>
                  <a:pt x="367731" y="55142"/>
                  <a:pt x="366531" y="65729"/>
                  <a:pt x="366185" y="76343"/>
                </a:cubicBezTo>
                <a:cubicBezTo>
                  <a:pt x="364748" y="120348"/>
                  <a:pt x="372586" y="163440"/>
                  <a:pt x="379384" y="206619"/>
                </a:cubicBezTo>
                <a:cubicBezTo>
                  <a:pt x="383132" y="230420"/>
                  <a:pt x="387281" y="254159"/>
                  <a:pt x="390997" y="277965"/>
                </a:cubicBezTo>
                <a:cubicBezTo>
                  <a:pt x="392356" y="286668"/>
                  <a:pt x="392988" y="295485"/>
                  <a:pt x="394040" y="305053"/>
                </a:cubicBezTo>
                <a:cubicBezTo>
                  <a:pt x="430625" y="305053"/>
                  <a:pt x="466194" y="305182"/>
                  <a:pt x="501758" y="304814"/>
                </a:cubicBezTo>
                <a:cubicBezTo>
                  <a:pt x="504672" y="304784"/>
                  <a:pt x="508099" y="301870"/>
                  <a:pt x="510340" y="299427"/>
                </a:cubicBezTo>
                <a:cubicBezTo>
                  <a:pt x="516125" y="293119"/>
                  <a:pt x="520822" y="285749"/>
                  <a:pt x="526940" y="279822"/>
                </a:cubicBezTo>
                <a:cubicBezTo>
                  <a:pt x="552103" y="255447"/>
                  <a:pt x="566819" y="225104"/>
                  <a:pt x="576920" y="192342"/>
                </a:cubicBezTo>
                <a:cubicBezTo>
                  <a:pt x="588690" y="154165"/>
                  <a:pt x="590063" y="114309"/>
                  <a:pt x="594042" y="74918"/>
                </a:cubicBezTo>
                <a:cubicBezTo>
                  <a:pt x="594852" y="66901"/>
                  <a:pt x="594159" y="58731"/>
                  <a:pt x="594159" y="49195"/>
                </a:cubicBezTo>
                <a:cubicBezTo>
                  <a:pt x="581125" y="46996"/>
                  <a:pt x="568493" y="44864"/>
                  <a:pt x="554791" y="42552"/>
                </a:cubicBezTo>
                <a:cubicBezTo>
                  <a:pt x="553857" y="47762"/>
                  <a:pt x="553099" y="51670"/>
                  <a:pt x="552461" y="55598"/>
                </a:cubicBezTo>
                <a:cubicBezTo>
                  <a:pt x="549905" y="71314"/>
                  <a:pt x="547903" y="87144"/>
                  <a:pt x="544678" y="102721"/>
                </a:cubicBezTo>
                <a:cubicBezTo>
                  <a:pt x="542363" y="113902"/>
                  <a:pt x="537010" y="118223"/>
                  <a:pt x="525701" y="118186"/>
                </a:cubicBezTo>
                <a:cubicBezTo>
                  <a:pt x="507730" y="118128"/>
                  <a:pt x="489762" y="117027"/>
                  <a:pt x="469505" y="116252"/>
                </a:cubicBezTo>
                <a:moveTo>
                  <a:pt x="513928" y="1403203"/>
                </a:moveTo>
                <a:cubicBezTo>
                  <a:pt x="469441" y="1403467"/>
                  <a:pt x="424955" y="1403730"/>
                  <a:pt x="379322" y="1404000"/>
                </a:cubicBezTo>
                <a:cubicBezTo>
                  <a:pt x="379322" y="1423089"/>
                  <a:pt x="379322" y="1440883"/>
                  <a:pt x="379322" y="1460424"/>
                </a:cubicBezTo>
                <a:cubicBezTo>
                  <a:pt x="496078" y="1471584"/>
                  <a:pt x="611510" y="1462301"/>
                  <a:pt x="726554" y="1439225"/>
                </a:cubicBezTo>
                <a:cubicBezTo>
                  <a:pt x="728615" y="1424350"/>
                  <a:pt x="725601" y="1410872"/>
                  <a:pt x="721089" y="1397750"/>
                </a:cubicBezTo>
                <a:cubicBezTo>
                  <a:pt x="717269" y="1386638"/>
                  <a:pt x="709802" y="1383286"/>
                  <a:pt x="697967" y="1385046"/>
                </a:cubicBezTo>
                <a:cubicBezTo>
                  <a:pt x="671697" y="1388954"/>
                  <a:pt x="645454" y="1393360"/>
                  <a:pt x="619039" y="1395892"/>
                </a:cubicBezTo>
                <a:cubicBezTo>
                  <a:pt x="584863" y="1399168"/>
                  <a:pt x="550531" y="1400815"/>
                  <a:pt x="513928" y="1403203"/>
                </a:cubicBezTo>
                <a:moveTo>
                  <a:pt x="462814" y="375981"/>
                </a:moveTo>
                <a:cubicBezTo>
                  <a:pt x="488207" y="375927"/>
                  <a:pt x="513601" y="375954"/>
                  <a:pt x="538992" y="375736"/>
                </a:cubicBezTo>
                <a:cubicBezTo>
                  <a:pt x="543170" y="375700"/>
                  <a:pt x="547338" y="374587"/>
                  <a:pt x="551835" y="373923"/>
                </a:cubicBezTo>
                <a:cubicBezTo>
                  <a:pt x="550780" y="364535"/>
                  <a:pt x="545320" y="360090"/>
                  <a:pt x="539689" y="356085"/>
                </a:cubicBezTo>
                <a:cubicBezTo>
                  <a:pt x="533696" y="351821"/>
                  <a:pt x="527145" y="348349"/>
                  <a:pt x="521074" y="344186"/>
                </a:cubicBezTo>
                <a:cubicBezTo>
                  <a:pt x="515783" y="340559"/>
                  <a:pt x="510232" y="339198"/>
                  <a:pt x="503789" y="339280"/>
                </a:cubicBezTo>
                <a:cubicBezTo>
                  <a:pt x="470618" y="339700"/>
                  <a:pt x="437443" y="339744"/>
                  <a:pt x="404270" y="339994"/>
                </a:cubicBezTo>
                <a:cubicBezTo>
                  <a:pt x="400758" y="340021"/>
                  <a:pt x="397250" y="340529"/>
                  <a:pt x="393081" y="340868"/>
                </a:cubicBezTo>
                <a:cubicBezTo>
                  <a:pt x="393653" y="352908"/>
                  <a:pt x="392145" y="363845"/>
                  <a:pt x="395001" y="375976"/>
                </a:cubicBezTo>
                <a:cubicBezTo>
                  <a:pt x="417133" y="375976"/>
                  <a:pt x="438745" y="375976"/>
                  <a:pt x="462814" y="375981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74" name="Free-form: Shape 373">
            <a:extLst>
              <a:ext uri="{FF2B5EF4-FFF2-40B4-BE49-F238E27FC236}">
                <a16:creationId xmlns:a16="http://schemas.microsoft.com/office/drawing/2014/main" id="{2B82815F-0E13-54B8-57AC-22B82E040821}"/>
              </a:ext>
            </a:extLst>
          </p:cNvPr>
          <p:cNvSpPr/>
          <p:nvPr/>
        </p:nvSpPr>
        <p:spPr>
          <a:xfrm>
            <a:off x="2855301" y="4899267"/>
            <a:ext cx="155564" cy="520442"/>
          </a:xfrm>
          <a:custGeom>
            <a:avLst/>
            <a:gdLst>
              <a:gd name="csX0" fmla="*/ 121535 w 201493"/>
              <a:gd name="csY0" fmla="*/ 11562 h 612813"/>
              <a:gd name="csX1" fmla="*/ 201493 w 201493"/>
              <a:gd name="csY1" fmla="*/ 611498 h 612813"/>
              <a:gd name="csX2" fmla="*/ 134368 w 201493"/>
              <a:gd name="csY2" fmla="*/ 611133 h 612813"/>
              <a:gd name="csX3" fmla="*/ 68030 w 201493"/>
              <a:gd name="csY3" fmla="*/ 611056 h 612813"/>
              <a:gd name="csX4" fmla="*/ 1357 w 201493"/>
              <a:gd name="csY4" fmla="*/ 611050 h 612813"/>
              <a:gd name="csX5" fmla="*/ 3 w 201493"/>
              <a:gd name="csY5" fmla="*/ 604601 h 612813"/>
              <a:gd name="csX6" fmla="*/ 1350 w 201493"/>
              <a:gd name="csY6" fmla="*/ 571511 h 612813"/>
              <a:gd name="csX7" fmla="*/ 4661 w 201493"/>
              <a:gd name="csY7" fmla="*/ 420505 h 612813"/>
              <a:gd name="csX8" fmla="*/ 7130 w 201493"/>
              <a:gd name="csY8" fmla="*/ 324777 h 612813"/>
              <a:gd name="csX9" fmla="*/ 11991 w 201493"/>
              <a:gd name="csY9" fmla="*/ 133315 h 612813"/>
              <a:gd name="csX10" fmla="*/ 13695 w 201493"/>
              <a:gd name="csY10" fmla="*/ 19144 h 612813"/>
              <a:gd name="csX11" fmla="*/ 13702 w 201493"/>
              <a:gd name="csY11" fmla="*/ 8029 h 612813"/>
              <a:gd name="csX12" fmla="*/ 120926 w 201493"/>
              <a:gd name="csY12" fmla="*/ 0 h 612813"/>
              <a:gd name="csX13" fmla="*/ 121535 w 201493"/>
              <a:gd name="csY13" fmla="*/ 11562 h 61281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</a:cxnLst>
            <a:rect l="l" t="t" r="r" b="b"/>
            <a:pathLst>
              <a:path w="201493" h="612813">
                <a:moveTo>
                  <a:pt x="121535" y="11562"/>
                </a:moveTo>
                <a:cubicBezTo>
                  <a:pt x="119691" y="215664"/>
                  <a:pt x="151865" y="414144"/>
                  <a:pt x="201493" y="611498"/>
                </a:cubicBezTo>
                <a:cubicBezTo>
                  <a:pt x="178066" y="614799"/>
                  <a:pt x="156197" y="610806"/>
                  <a:pt x="134368" y="611133"/>
                </a:cubicBezTo>
                <a:cubicBezTo>
                  <a:pt x="112261" y="611465"/>
                  <a:pt x="90143" y="611084"/>
                  <a:pt x="68030" y="611056"/>
                </a:cubicBezTo>
                <a:cubicBezTo>
                  <a:pt x="45965" y="611028"/>
                  <a:pt x="23900" y="611050"/>
                  <a:pt x="1357" y="611050"/>
                </a:cubicBezTo>
                <a:cubicBezTo>
                  <a:pt x="769" y="608377"/>
                  <a:pt x="-56" y="606475"/>
                  <a:pt x="3" y="604601"/>
                </a:cubicBezTo>
                <a:cubicBezTo>
                  <a:pt x="349" y="593568"/>
                  <a:pt x="1095" y="582545"/>
                  <a:pt x="1350" y="571511"/>
                </a:cubicBezTo>
                <a:cubicBezTo>
                  <a:pt x="2513" y="521177"/>
                  <a:pt x="3506" y="470839"/>
                  <a:pt x="4661" y="420505"/>
                </a:cubicBezTo>
                <a:cubicBezTo>
                  <a:pt x="5393" y="388594"/>
                  <a:pt x="6308" y="356686"/>
                  <a:pt x="7130" y="324777"/>
                </a:cubicBezTo>
                <a:cubicBezTo>
                  <a:pt x="8772" y="260956"/>
                  <a:pt x="10555" y="197140"/>
                  <a:pt x="11991" y="133315"/>
                </a:cubicBezTo>
                <a:cubicBezTo>
                  <a:pt x="12846" y="95264"/>
                  <a:pt x="13154" y="57201"/>
                  <a:pt x="13695" y="19144"/>
                </a:cubicBezTo>
                <a:cubicBezTo>
                  <a:pt x="13746" y="15501"/>
                  <a:pt x="13702" y="11858"/>
                  <a:pt x="13702" y="8029"/>
                </a:cubicBezTo>
                <a:cubicBezTo>
                  <a:pt x="49725" y="5331"/>
                  <a:pt x="84908" y="2697"/>
                  <a:pt x="120926" y="0"/>
                </a:cubicBezTo>
                <a:cubicBezTo>
                  <a:pt x="121113" y="3199"/>
                  <a:pt x="121323" y="6798"/>
                  <a:pt x="121535" y="11562"/>
                </a:cubicBezTo>
                <a:close/>
              </a:path>
            </a:pathLst>
          </a:custGeom>
          <a:solidFill>
            <a:srgbClr val="FDFDFD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75" name="Free-form: Shape 374">
            <a:extLst>
              <a:ext uri="{FF2B5EF4-FFF2-40B4-BE49-F238E27FC236}">
                <a16:creationId xmlns:a16="http://schemas.microsoft.com/office/drawing/2014/main" id="{696D96D9-A976-5341-0E10-7E967D170363}"/>
              </a:ext>
            </a:extLst>
          </p:cNvPr>
          <p:cNvSpPr/>
          <p:nvPr/>
        </p:nvSpPr>
        <p:spPr>
          <a:xfrm>
            <a:off x="2859109" y="5459616"/>
            <a:ext cx="250431" cy="194755"/>
          </a:xfrm>
          <a:custGeom>
            <a:avLst/>
            <a:gdLst>
              <a:gd name="csX0" fmla="*/ 77135 w 324367"/>
              <a:gd name="csY0" fmla="*/ 11670 h 229322"/>
              <a:gd name="csX1" fmla="*/ 146795 w 324367"/>
              <a:gd name="csY1" fmla="*/ 7480 h 229322"/>
              <a:gd name="csX2" fmla="*/ 207718 w 324367"/>
              <a:gd name="csY2" fmla="*/ 1232 h 229322"/>
              <a:gd name="csX3" fmla="*/ 219215 w 324367"/>
              <a:gd name="csY3" fmla="*/ 0 h 229322"/>
              <a:gd name="csX4" fmla="*/ 222536 w 324367"/>
              <a:gd name="csY4" fmla="*/ 12108 h 229322"/>
              <a:gd name="csX5" fmla="*/ 255647 w 324367"/>
              <a:gd name="csY5" fmla="*/ 76552 h 229322"/>
              <a:gd name="csX6" fmla="*/ 302610 w 324367"/>
              <a:gd name="csY6" fmla="*/ 128236 h 229322"/>
              <a:gd name="csX7" fmla="*/ 323355 w 324367"/>
              <a:gd name="csY7" fmla="*/ 207159 h 229322"/>
              <a:gd name="csX8" fmla="*/ 151 w 324367"/>
              <a:gd name="csY8" fmla="*/ 227930 h 229322"/>
              <a:gd name="csX9" fmla="*/ 3855 w 324367"/>
              <a:gd name="csY9" fmla="*/ 119190 h 229322"/>
              <a:gd name="csX10" fmla="*/ 0 w 324367"/>
              <a:gd name="csY10" fmla="*/ 11685 h 229322"/>
              <a:gd name="csX11" fmla="*/ 77135 w 324367"/>
              <a:gd name="csY11" fmla="*/ 11670 h 22932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324367" h="229322">
                <a:moveTo>
                  <a:pt x="77135" y="11670"/>
                </a:moveTo>
                <a:cubicBezTo>
                  <a:pt x="101131" y="10299"/>
                  <a:pt x="123996" y="9293"/>
                  <a:pt x="146795" y="7480"/>
                </a:cubicBezTo>
                <a:cubicBezTo>
                  <a:pt x="167139" y="5862"/>
                  <a:pt x="187413" y="3352"/>
                  <a:pt x="207718" y="1232"/>
                </a:cubicBezTo>
                <a:cubicBezTo>
                  <a:pt x="211305" y="858"/>
                  <a:pt x="214891" y="464"/>
                  <a:pt x="219215" y="0"/>
                </a:cubicBezTo>
                <a:cubicBezTo>
                  <a:pt x="220448" y="4433"/>
                  <a:pt x="221789" y="8213"/>
                  <a:pt x="222536" y="12108"/>
                </a:cubicBezTo>
                <a:cubicBezTo>
                  <a:pt x="227274" y="36843"/>
                  <a:pt x="237933" y="58320"/>
                  <a:pt x="255647" y="76552"/>
                </a:cubicBezTo>
                <a:cubicBezTo>
                  <a:pt x="271868" y="93249"/>
                  <a:pt x="288407" y="109878"/>
                  <a:pt x="302610" y="128236"/>
                </a:cubicBezTo>
                <a:cubicBezTo>
                  <a:pt x="320215" y="150993"/>
                  <a:pt x="327166" y="177648"/>
                  <a:pt x="323355" y="207159"/>
                </a:cubicBezTo>
                <a:cubicBezTo>
                  <a:pt x="216542" y="225668"/>
                  <a:pt x="109259" y="232554"/>
                  <a:pt x="151" y="227930"/>
                </a:cubicBezTo>
                <a:cubicBezTo>
                  <a:pt x="1495" y="191410"/>
                  <a:pt x="3878" y="155299"/>
                  <a:pt x="3855" y="119190"/>
                </a:cubicBezTo>
                <a:cubicBezTo>
                  <a:pt x="3834" y="83413"/>
                  <a:pt x="1388" y="47637"/>
                  <a:pt x="0" y="11685"/>
                </a:cubicBezTo>
                <a:cubicBezTo>
                  <a:pt x="25514" y="11685"/>
                  <a:pt x="50744" y="11685"/>
                  <a:pt x="77135" y="11670"/>
                </a:cubicBezTo>
                <a:close/>
              </a:path>
            </a:pathLst>
          </a:custGeom>
          <a:solidFill>
            <a:srgbClr val="FDFEFE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76" name="Free-form: Shape 375">
            <a:extLst>
              <a:ext uri="{FF2B5EF4-FFF2-40B4-BE49-F238E27FC236}">
                <a16:creationId xmlns:a16="http://schemas.microsoft.com/office/drawing/2014/main" id="{CFA44373-5013-01C5-8EB3-718C1EA041E9}"/>
              </a:ext>
            </a:extLst>
          </p:cNvPr>
          <p:cNvSpPr/>
          <p:nvPr/>
        </p:nvSpPr>
        <p:spPr>
          <a:xfrm>
            <a:off x="2845410" y="4534935"/>
            <a:ext cx="176355" cy="229704"/>
          </a:xfrm>
          <a:custGeom>
            <a:avLst/>
            <a:gdLst>
              <a:gd name="csX0" fmla="*/ 104636 w 228422"/>
              <a:gd name="csY0" fmla="*/ 81707 h 270473"/>
              <a:gd name="csX1" fmla="*/ 159689 w 228422"/>
              <a:gd name="csY1" fmla="*/ 83584 h 270473"/>
              <a:gd name="csX2" fmla="*/ 178665 w 228422"/>
              <a:gd name="csY2" fmla="*/ 68119 h 270473"/>
              <a:gd name="csX3" fmla="*/ 186448 w 228422"/>
              <a:gd name="csY3" fmla="*/ 20996 h 270473"/>
              <a:gd name="csX4" fmla="*/ 188779 w 228422"/>
              <a:gd name="csY4" fmla="*/ 7950 h 270473"/>
              <a:gd name="csX5" fmla="*/ 228146 w 228422"/>
              <a:gd name="csY5" fmla="*/ 14593 h 270473"/>
              <a:gd name="csX6" fmla="*/ 228030 w 228422"/>
              <a:gd name="csY6" fmla="*/ 40316 h 270473"/>
              <a:gd name="csX7" fmla="*/ 210907 w 228422"/>
              <a:gd name="csY7" fmla="*/ 157740 h 270473"/>
              <a:gd name="csX8" fmla="*/ 160928 w 228422"/>
              <a:gd name="csY8" fmla="*/ 245220 h 270473"/>
              <a:gd name="csX9" fmla="*/ 144327 w 228422"/>
              <a:gd name="csY9" fmla="*/ 264825 h 270473"/>
              <a:gd name="csX10" fmla="*/ 135745 w 228422"/>
              <a:gd name="csY10" fmla="*/ 270212 h 270473"/>
              <a:gd name="csX11" fmla="*/ 28028 w 228422"/>
              <a:gd name="csY11" fmla="*/ 270451 h 270473"/>
              <a:gd name="csX12" fmla="*/ 24984 w 228422"/>
              <a:gd name="csY12" fmla="*/ 243363 h 270473"/>
              <a:gd name="csX13" fmla="*/ 13372 w 228422"/>
              <a:gd name="csY13" fmla="*/ 172017 h 270473"/>
              <a:gd name="csX14" fmla="*/ 172 w 228422"/>
              <a:gd name="csY14" fmla="*/ 41741 h 270473"/>
              <a:gd name="csX15" fmla="*/ 1991 w 228422"/>
              <a:gd name="csY15" fmla="*/ 9927 h 270473"/>
              <a:gd name="csX16" fmla="*/ 11535 w 228422"/>
              <a:gd name="csY16" fmla="*/ 11 h 270473"/>
              <a:gd name="csX17" fmla="*/ 60320 w 228422"/>
              <a:gd name="csY17" fmla="*/ 4 h 270473"/>
              <a:gd name="csX18" fmla="*/ 63319 w 228422"/>
              <a:gd name="csY18" fmla="*/ 34595 h 270473"/>
              <a:gd name="csX19" fmla="*/ 63995 w 228422"/>
              <a:gd name="csY19" fmla="*/ 65276 h 270473"/>
              <a:gd name="csX20" fmla="*/ 77770 w 228422"/>
              <a:gd name="csY20" fmla="*/ 80309 h 270473"/>
              <a:gd name="csX21" fmla="*/ 104636 w 228422"/>
              <a:gd name="csY21" fmla="*/ 81707 h 27047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</a:cxnLst>
            <a:rect l="l" t="t" r="r" b="b"/>
            <a:pathLst>
              <a:path w="228422" h="270473">
                <a:moveTo>
                  <a:pt x="104636" y="81707"/>
                </a:moveTo>
                <a:cubicBezTo>
                  <a:pt x="123750" y="82425"/>
                  <a:pt x="141717" y="83526"/>
                  <a:pt x="159689" y="83584"/>
                </a:cubicBezTo>
                <a:cubicBezTo>
                  <a:pt x="170998" y="83621"/>
                  <a:pt x="176351" y="79300"/>
                  <a:pt x="178665" y="68119"/>
                </a:cubicBezTo>
                <a:cubicBezTo>
                  <a:pt x="181890" y="52542"/>
                  <a:pt x="183892" y="36712"/>
                  <a:pt x="186448" y="20996"/>
                </a:cubicBezTo>
                <a:cubicBezTo>
                  <a:pt x="187087" y="17068"/>
                  <a:pt x="187844" y="13160"/>
                  <a:pt x="188779" y="7950"/>
                </a:cubicBezTo>
                <a:cubicBezTo>
                  <a:pt x="202480" y="10262"/>
                  <a:pt x="215113" y="12394"/>
                  <a:pt x="228146" y="14593"/>
                </a:cubicBezTo>
                <a:cubicBezTo>
                  <a:pt x="228146" y="24129"/>
                  <a:pt x="228839" y="32299"/>
                  <a:pt x="228030" y="40316"/>
                </a:cubicBezTo>
                <a:cubicBezTo>
                  <a:pt x="224051" y="79707"/>
                  <a:pt x="222678" y="119563"/>
                  <a:pt x="210907" y="157740"/>
                </a:cubicBezTo>
                <a:cubicBezTo>
                  <a:pt x="200806" y="190502"/>
                  <a:pt x="186090" y="220845"/>
                  <a:pt x="160928" y="245220"/>
                </a:cubicBezTo>
                <a:cubicBezTo>
                  <a:pt x="154810" y="251147"/>
                  <a:pt x="150112" y="258517"/>
                  <a:pt x="144327" y="264825"/>
                </a:cubicBezTo>
                <a:cubicBezTo>
                  <a:pt x="142086" y="267268"/>
                  <a:pt x="138659" y="270182"/>
                  <a:pt x="135745" y="270212"/>
                </a:cubicBezTo>
                <a:cubicBezTo>
                  <a:pt x="100181" y="270580"/>
                  <a:pt x="64612" y="270451"/>
                  <a:pt x="28028" y="270451"/>
                </a:cubicBezTo>
                <a:cubicBezTo>
                  <a:pt x="26976" y="260883"/>
                  <a:pt x="26343" y="252066"/>
                  <a:pt x="24984" y="243363"/>
                </a:cubicBezTo>
                <a:cubicBezTo>
                  <a:pt x="21268" y="219557"/>
                  <a:pt x="17119" y="195818"/>
                  <a:pt x="13372" y="172017"/>
                </a:cubicBezTo>
                <a:cubicBezTo>
                  <a:pt x="6574" y="128838"/>
                  <a:pt x="-1265" y="85746"/>
                  <a:pt x="172" y="41741"/>
                </a:cubicBezTo>
                <a:cubicBezTo>
                  <a:pt x="518" y="31127"/>
                  <a:pt x="1719" y="20540"/>
                  <a:pt x="1991" y="9927"/>
                </a:cubicBezTo>
                <a:cubicBezTo>
                  <a:pt x="2163" y="3278"/>
                  <a:pt x="4961" y="19"/>
                  <a:pt x="11535" y="11"/>
                </a:cubicBezTo>
                <a:cubicBezTo>
                  <a:pt x="27370" y="-9"/>
                  <a:pt x="43205" y="4"/>
                  <a:pt x="60320" y="4"/>
                </a:cubicBezTo>
                <a:cubicBezTo>
                  <a:pt x="61401" y="12123"/>
                  <a:pt x="62689" y="23341"/>
                  <a:pt x="63319" y="34595"/>
                </a:cubicBezTo>
                <a:cubicBezTo>
                  <a:pt x="63890" y="44802"/>
                  <a:pt x="63444" y="55066"/>
                  <a:pt x="63995" y="65276"/>
                </a:cubicBezTo>
                <a:cubicBezTo>
                  <a:pt x="64588" y="76246"/>
                  <a:pt x="67011" y="79017"/>
                  <a:pt x="77770" y="80309"/>
                </a:cubicBezTo>
                <a:cubicBezTo>
                  <a:pt x="86275" y="81330"/>
                  <a:pt x="94914" y="81244"/>
                  <a:pt x="104636" y="81707"/>
                </a:cubicBezTo>
                <a:close/>
              </a:path>
            </a:pathLst>
          </a:custGeom>
          <a:solidFill>
            <a:srgbClr val="FDFDFD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77" name="Free-form: Shape 376">
            <a:extLst>
              <a:ext uri="{FF2B5EF4-FFF2-40B4-BE49-F238E27FC236}">
                <a16:creationId xmlns:a16="http://schemas.microsoft.com/office/drawing/2014/main" id="{A3D32ACC-3472-E5CF-957C-1C6C4BBFDC0E}"/>
              </a:ext>
            </a:extLst>
          </p:cNvPr>
          <p:cNvSpPr/>
          <p:nvPr/>
        </p:nvSpPr>
        <p:spPr>
          <a:xfrm>
            <a:off x="2855685" y="5681448"/>
            <a:ext cx="268594" cy="68395"/>
          </a:xfrm>
          <a:custGeom>
            <a:avLst/>
            <a:gdLst>
              <a:gd name="csX0" fmla="*/ 135775 w 347893"/>
              <a:gd name="csY0" fmla="*/ 18580 h 80534"/>
              <a:gd name="csX1" fmla="*/ 239717 w 347893"/>
              <a:gd name="csY1" fmla="*/ 11288 h 80534"/>
              <a:gd name="csX2" fmla="*/ 318645 w 347893"/>
              <a:gd name="csY2" fmla="*/ 442 h 80534"/>
              <a:gd name="csX3" fmla="*/ 341767 w 347893"/>
              <a:gd name="csY3" fmla="*/ 13145 h 80534"/>
              <a:gd name="csX4" fmla="*/ 347232 w 347893"/>
              <a:gd name="csY4" fmla="*/ 54621 h 80534"/>
              <a:gd name="csX5" fmla="*/ 0 w 347893"/>
              <a:gd name="csY5" fmla="*/ 75820 h 80534"/>
              <a:gd name="csX6" fmla="*/ 0 w 347893"/>
              <a:gd name="csY6" fmla="*/ 19396 h 80534"/>
              <a:gd name="csX7" fmla="*/ 135775 w 347893"/>
              <a:gd name="csY7" fmla="*/ 18580 h 8053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</a:cxnLst>
            <a:rect l="l" t="t" r="r" b="b"/>
            <a:pathLst>
              <a:path w="347893" h="80534">
                <a:moveTo>
                  <a:pt x="135775" y="18580"/>
                </a:moveTo>
                <a:cubicBezTo>
                  <a:pt x="171209" y="16211"/>
                  <a:pt x="205541" y="14564"/>
                  <a:pt x="239717" y="11288"/>
                </a:cubicBezTo>
                <a:cubicBezTo>
                  <a:pt x="266132" y="8756"/>
                  <a:pt x="292375" y="4350"/>
                  <a:pt x="318645" y="442"/>
                </a:cubicBezTo>
                <a:cubicBezTo>
                  <a:pt x="330480" y="-1319"/>
                  <a:pt x="337947" y="2033"/>
                  <a:pt x="341767" y="13145"/>
                </a:cubicBezTo>
                <a:cubicBezTo>
                  <a:pt x="346279" y="26268"/>
                  <a:pt x="349293" y="39746"/>
                  <a:pt x="347232" y="54621"/>
                </a:cubicBezTo>
                <a:cubicBezTo>
                  <a:pt x="232188" y="77697"/>
                  <a:pt x="116756" y="86979"/>
                  <a:pt x="0" y="75820"/>
                </a:cubicBezTo>
                <a:cubicBezTo>
                  <a:pt x="0" y="56279"/>
                  <a:pt x="0" y="38485"/>
                  <a:pt x="0" y="19396"/>
                </a:cubicBezTo>
                <a:cubicBezTo>
                  <a:pt x="45633" y="19126"/>
                  <a:pt x="90119" y="18862"/>
                  <a:pt x="135775" y="18580"/>
                </a:cubicBezTo>
                <a:close/>
              </a:path>
            </a:pathLst>
          </a:custGeom>
          <a:solidFill>
            <a:srgbClr val="FCFDFD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78" name="Free-form: Shape 377">
            <a:extLst>
              <a:ext uri="{FF2B5EF4-FFF2-40B4-BE49-F238E27FC236}">
                <a16:creationId xmlns:a16="http://schemas.microsoft.com/office/drawing/2014/main" id="{554790DB-6699-61F3-EDC5-D19431C2934C}"/>
              </a:ext>
            </a:extLst>
          </p:cNvPr>
          <p:cNvSpPr/>
          <p:nvPr/>
        </p:nvSpPr>
        <p:spPr>
          <a:xfrm>
            <a:off x="10826401" y="4505549"/>
            <a:ext cx="593502" cy="1281815"/>
          </a:xfrm>
          <a:custGeom>
            <a:avLst/>
            <a:gdLst>
              <a:gd name="csX0" fmla="*/ 576414 w 768725"/>
              <a:gd name="csY0" fmla="*/ 893042 h 1509319"/>
              <a:gd name="csX1" fmla="*/ 613047 w 768725"/>
              <a:gd name="csY1" fmla="*/ 1059329 h 1509319"/>
              <a:gd name="csX2" fmla="*/ 623337 w 768725"/>
              <a:gd name="csY2" fmla="*/ 1071825 h 1509319"/>
              <a:gd name="csX3" fmla="*/ 639863 w 768725"/>
              <a:gd name="csY3" fmla="*/ 1079946 h 1509319"/>
              <a:gd name="csX4" fmla="*/ 652266 w 768725"/>
              <a:gd name="csY4" fmla="*/ 1109045 h 1509319"/>
              <a:gd name="csX5" fmla="*/ 645501 w 768725"/>
              <a:gd name="csY5" fmla="*/ 1127466 h 1509319"/>
              <a:gd name="csX6" fmla="*/ 645547 w 768725"/>
              <a:gd name="csY6" fmla="*/ 1144138 h 1509319"/>
              <a:gd name="csX7" fmla="*/ 664589 w 768725"/>
              <a:gd name="csY7" fmla="*/ 1175322 h 1509319"/>
              <a:gd name="csX8" fmla="*/ 712015 w 768725"/>
              <a:gd name="csY8" fmla="*/ 1225118 h 1509319"/>
              <a:gd name="csX9" fmla="*/ 744465 w 768725"/>
              <a:gd name="csY9" fmla="*/ 1300385 h 1509319"/>
              <a:gd name="csX10" fmla="*/ 743270 w 768725"/>
              <a:gd name="csY10" fmla="*/ 1350524 h 1509319"/>
              <a:gd name="csX11" fmla="*/ 745429 w 768725"/>
              <a:gd name="csY11" fmla="*/ 1363274 h 1509319"/>
              <a:gd name="csX12" fmla="*/ 768672 w 768725"/>
              <a:gd name="csY12" fmla="*/ 1456512 h 1509319"/>
              <a:gd name="csX13" fmla="*/ 758521 w 768725"/>
              <a:gd name="csY13" fmla="*/ 1472434 h 1509319"/>
              <a:gd name="csX14" fmla="*/ 730455 w 768725"/>
              <a:gd name="csY14" fmla="*/ 1481228 h 1509319"/>
              <a:gd name="csX15" fmla="*/ 594867 w 768725"/>
              <a:gd name="csY15" fmla="*/ 1502210 h 1509319"/>
              <a:gd name="csX16" fmla="*/ 320018 w 768725"/>
              <a:gd name="csY16" fmla="*/ 1508300 h 1509319"/>
              <a:gd name="csX17" fmla="*/ 186464 w 768725"/>
              <a:gd name="csY17" fmla="*/ 1501258 h 1509319"/>
              <a:gd name="csX18" fmla="*/ 26582 w 768725"/>
              <a:gd name="csY18" fmla="*/ 1477021 h 1509319"/>
              <a:gd name="csX19" fmla="*/ 3929 w 768725"/>
              <a:gd name="csY19" fmla="*/ 1465652 h 1509319"/>
              <a:gd name="csX20" fmla="*/ 18 w 768725"/>
              <a:gd name="csY20" fmla="*/ 1456203 h 1509319"/>
              <a:gd name="csX21" fmla="*/ 4393 w 768725"/>
              <a:gd name="csY21" fmla="*/ 1417235 h 1509319"/>
              <a:gd name="csX22" fmla="*/ 19158 w 768725"/>
              <a:gd name="csY22" fmla="*/ 1370678 h 1509319"/>
              <a:gd name="csX23" fmla="*/ 23255 w 768725"/>
              <a:gd name="csY23" fmla="*/ 1342388 h 1509319"/>
              <a:gd name="csX24" fmla="*/ 38705 w 768725"/>
              <a:gd name="csY24" fmla="*/ 1247261 h 1509319"/>
              <a:gd name="csX25" fmla="*/ 58454 w 768725"/>
              <a:gd name="csY25" fmla="*/ 1220807 h 1509319"/>
              <a:gd name="csX26" fmla="*/ 103638 w 768725"/>
              <a:gd name="csY26" fmla="*/ 1175667 h 1509319"/>
              <a:gd name="csX27" fmla="*/ 122996 w 768725"/>
              <a:gd name="csY27" fmla="*/ 1146131 h 1509319"/>
              <a:gd name="csX28" fmla="*/ 122689 w 768725"/>
              <a:gd name="csY28" fmla="*/ 1128316 h 1509319"/>
              <a:gd name="csX29" fmla="*/ 116576 w 768725"/>
              <a:gd name="csY29" fmla="*/ 1113575 h 1509319"/>
              <a:gd name="csX30" fmla="*/ 127479 w 768725"/>
              <a:gd name="csY30" fmla="*/ 1081076 h 1509319"/>
              <a:gd name="csX31" fmla="*/ 137480 w 768725"/>
              <a:gd name="csY31" fmla="*/ 1076482 h 1509319"/>
              <a:gd name="csX32" fmla="*/ 157312 w 768725"/>
              <a:gd name="csY32" fmla="*/ 1053855 h 1509319"/>
              <a:gd name="csX33" fmla="*/ 178876 w 768725"/>
              <a:gd name="csY33" fmla="*/ 958120 h 1509319"/>
              <a:gd name="csX34" fmla="*/ 210165 w 768725"/>
              <a:gd name="csY34" fmla="*/ 781849 h 1509319"/>
              <a:gd name="csX35" fmla="*/ 223295 w 768725"/>
              <a:gd name="csY35" fmla="*/ 674755 h 1509319"/>
              <a:gd name="csX36" fmla="*/ 231121 w 768725"/>
              <a:gd name="csY36" fmla="*/ 564636 h 1509319"/>
              <a:gd name="csX37" fmla="*/ 235173 w 768725"/>
              <a:gd name="csY37" fmla="*/ 453038 h 1509319"/>
              <a:gd name="csX38" fmla="*/ 235001 w 768725"/>
              <a:gd name="csY38" fmla="*/ 443215 h 1509319"/>
              <a:gd name="csX39" fmla="*/ 224321 w 768725"/>
              <a:gd name="csY39" fmla="*/ 428479 h 1509319"/>
              <a:gd name="csX40" fmla="*/ 204712 w 768725"/>
              <a:gd name="csY40" fmla="*/ 418450 h 1509319"/>
              <a:gd name="csX41" fmla="*/ 184069 w 768725"/>
              <a:gd name="csY41" fmla="*/ 366060 h 1509319"/>
              <a:gd name="csX42" fmla="*/ 206519 w 768725"/>
              <a:gd name="csY42" fmla="*/ 338181 h 1509319"/>
              <a:gd name="csX43" fmla="*/ 226643 w 768725"/>
              <a:gd name="csY43" fmla="*/ 329113 h 1509319"/>
              <a:gd name="csX44" fmla="*/ 232085 w 768725"/>
              <a:gd name="csY44" fmla="*/ 311135 h 1509319"/>
              <a:gd name="csX45" fmla="*/ 221280 w 768725"/>
              <a:gd name="csY45" fmla="*/ 299552 h 1509319"/>
              <a:gd name="csX46" fmla="*/ 173478 w 768725"/>
              <a:gd name="csY46" fmla="*/ 230303 h 1509319"/>
              <a:gd name="csX47" fmla="*/ 141864 w 768725"/>
              <a:gd name="csY47" fmla="*/ 95780 h 1509319"/>
              <a:gd name="csX48" fmla="*/ 137158 w 768725"/>
              <a:gd name="csY48" fmla="*/ 37107 h 1509319"/>
              <a:gd name="csX49" fmla="*/ 148750 w 768725"/>
              <a:gd name="csY49" fmla="*/ 22335 h 1509319"/>
              <a:gd name="csX50" fmla="*/ 236982 w 768725"/>
              <a:gd name="csY50" fmla="*/ 7640 h 1509319"/>
              <a:gd name="csX51" fmla="*/ 246862 w 768725"/>
              <a:gd name="csY51" fmla="*/ 7580 h 1509319"/>
              <a:gd name="csX52" fmla="*/ 261473 w 768725"/>
              <a:gd name="csY52" fmla="*/ 86763 h 1509319"/>
              <a:gd name="csX53" fmla="*/ 306246 w 768725"/>
              <a:gd name="csY53" fmla="*/ 83559 h 1509319"/>
              <a:gd name="csX54" fmla="*/ 306960 w 768725"/>
              <a:gd name="csY54" fmla="*/ 71087 h 1509319"/>
              <a:gd name="csX55" fmla="*/ 306724 w 768725"/>
              <a:gd name="csY55" fmla="*/ 19491 h 1509319"/>
              <a:gd name="csX56" fmla="*/ 319581 w 768725"/>
              <a:gd name="csY56" fmla="*/ 4733 h 1509319"/>
              <a:gd name="csX57" fmla="*/ 430956 w 768725"/>
              <a:gd name="csY57" fmla="*/ 2070 h 1509319"/>
              <a:gd name="csX58" fmla="*/ 437066 w 768725"/>
              <a:gd name="csY58" fmla="*/ 2646 h 1509319"/>
              <a:gd name="csX59" fmla="*/ 460335 w 768725"/>
              <a:gd name="csY59" fmla="*/ 24205 h 1509319"/>
              <a:gd name="csX60" fmla="*/ 463579 w 768725"/>
              <a:gd name="csY60" fmla="*/ 62081 h 1509319"/>
              <a:gd name="csX61" fmla="*/ 463652 w 768725"/>
              <a:gd name="csY61" fmla="*/ 82953 h 1509319"/>
              <a:gd name="csX62" fmla="*/ 507205 w 768725"/>
              <a:gd name="csY62" fmla="*/ 85553 h 1509319"/>
              <a:gd name="csX63" fmla="*/ 513271 w 768725"/>
              <a:gd name="csY63" fmla="*/ 61890 h 1509319"/>
              <a:gd name="csX64" fmla="*/ 520203 w 768725"/>
              <a:gd name="csY64" fmla="*/ 18323 h 1509319"/>
              <a:gd name="csX65" fmla="*/ 534008 w 768725"/>
              <a:gd name="csY65" fmla="*/ 7785 h 1509319"/>
              <a:gd name="csX66" fmla="*/ 595925 w 768725"/>
              <a:gd name="csY66" fmla="*/ 16407 h 1509319"/>
              <a:gd name="csX67" fmla="*/ 619972 w 768725"/>
              <a:gd name="csY67" fmla="*/ 21156 h 1509319"/>
              <a:gd name="csX68" fmla="*/ 631161 w 768725"/>
              <a:gd name="csY68" fmla="*/ 36134 h 1509319"/>
              <a:gd name="csX69" fmla="*/ 628140 w 768725"/>
              <a:gd name="csY69" fmla="*/ 85104 h 1509319"/>
              <a:gd name="csX70" fmla="*/ 613954 w 768725"/>
              <a:gd name="csY70" fmla="*/ 179618 h 1509319"/>
              <a:gd name="csX71" fmla="*/ 586196 w 768725"/>
              <a:gd name="csY71" fmla="*/ 256886 h 1509319"/>
              <a:gd name="csX72" fmla="*/ 554619 w 768725"/>
              <a:gd name="csY72" fmla="*/ 295312 h 1509319"/>
              <a:gd name="csX73" fmla="*/ 538601 w 768725"/>
              <a:gd name="csY73" fmla="*/ 315001 h 1509319"/>
              <a:gd name="csX74" fmla="*/ 542630 w 768725"/>
              <a:gd name="csY74" fmla="*/ 326199 h 1509319"/>
              <a:gd name="csX75" fmla="*/ 560240 w 768725"/>
              <a:gd name="csY75" fmla="*/ 334912 h 1509319"/>
              <a:gd name="csX76" fmla="*/ 586933 w 768725"/>
              <a:gd name="csY76" fmla="*/ 371800 h 1509319"/>
              <a:gd name="csX77" fmla="*/ 563039 w 768725"/>
              <a:gd name="csY77" fmla="*/ 418184 h 1509319"/>
              <a:gd name="csX78" fmla="*/ 545522 w 768725"/>
              <a:gd name="csY78" fmla="*/ 427008 h 1509319"/>
              <a:gd name="csX79" fmla="*/ 535507 w 768725"/>
              <a:gd name="csY79" fmla="*/ 440667 h 1509319"/>
              <a:gd name="csX80" fmla="*/ 536723 w 768725"/>
              <a:gd name="csY80" fmla="*/ 537651 h 1509319"/>
              <a:gd name="csX81" fmla="*/ 539820 w 768725"/>
              <a:gd name="csY81" fmla="*/ 595237 h 1509319"/>
              <a:gd name="csX82" fmla="*/ 553105 w 768725"/>
              <a:gd name="csY82" fmla="*/ 746727 h 1509319"/>
              <a:gd name="csX83" fmla="*/ 576414 w 768725"/>
              <a:gd name="csY83" fmla="*/ 893042 h 1509319"/>
              <a:gd name="csX84" fmla="*/ 500356 w 768725"/>
              <a:gd name="csY84" fmla="*/ 473996 h 1509319"/>
              <a:gd name="csX85" fmla="*/ 499749 w 768725"/>
              <a:gd name="csY85" fmla="*/ 463598 h 1509319"/>
              <a:gd name="csX86" fmla="*/ 392525 w 768725"/>
              <a:gd name="csY86" fmla="*/ 471627 h 1509319"/>
              <a:gd name="csX87" fmla="*/ 392518 w 768725"/>
              <a:gd name="csY87" fmla="*/ 482742 h 1509319"/>
              <a:gd name="csX88" fmla="*/ 390814 w 768725"/>
              <a:gd name="csY88" fmla="*/ 596913 h 1509319"/>
              <a:gd name="csX89" fmla="*/ 385953 w 768725"/>
              <a:gd name="csY89" fmla="*/ 788374 h 1509319"/>
              <a:gd name="csX90" fmla="*/ 383485 w 768725"/>
              <a:gd name="csY90" fmla="*/ 884103 h 1509319"/>
              <a:gd name="csX91" fmla="*/ 380173 w 768725"/>
              <a:gd name="csY91" fmla="*/ 1035109 h 1509319"/>
              <a:gd name="csX92" fmla="*/ 378826 w 768725"/>
              <a:gd name="csY92" fmla="*/ 1068199 h 1509319"/>
              <a:gd name="csX93" fmla="*/ 380180 w 768725"/>
              <a:gd name="csY93" fmla="*/ 1074648 h 1509319"/>
              <a:gd name="csX94" fmla="*/ 446854 w 768725"/>
              <a:gd name="csY94" fmla="*/ 1074654 h 1509319"/>
              <a:gd name="csX95" fmla="*/ 513191 w 768725"/>
              <a:gd name="csY95" fmla="*/ 1074731 h 1509319"/>
              <a:gd name="csX96" fmla="*/ 580317 w 768725"/>
              <a:gd name="csY96" fmla="*/ 1075095 h 1509319"/>
              <a:gd name="csX97" fmla="*/ 500356 w 768725"/>
              <a:gd name="csY97" fmla="*/ 473996 h 1509319"/>
              <a:gd name="csX98" fmla="*/ 459731 w 768725"/>
              <a:gd name="csY98" fmla="*/ 1135086 h 1509319"/>
              <a:gd name="csX99" fmla="*/ 383756 w 768725"/>
              <a:gd name="csY99" fmla="*/ 1135086 h 1509319"/>
              <a:gd name="csX100" fmla="*/ 387612 w 768725"/>
              <a:gd name="csY100" fmla="*/ 1242590 h 1509319"/>
              <a:gd name="csX101" fmla="*/ 383907 w 768725"/>
              <a:gd name="csY101" fmla="*/ 1351330 h 1509319"/>
              <a:gd name="csX102" fmla="*/ 707112 w 768725"/>
              <a:gd name="csY102" fmla="*/ 1330559 h 1509319"/>
              <a:gd name="csX103" fmla="*/ 686366 w 768725"/>
              <a:gd name="csY103" fmla="*/ 1251637 h 1509319"/>
              <a:gd name="csX104" fmla="*/ 639403 w 768725"/>
              <a:gd name="csY104" fmla="*/ 1199952 h 1509319"/>
              <a:gd name="csX105" fmla="*/ 606292 w 768725"/>
              <a:gd name="csY105" fmla="*/ 1135508 h 1509319"/>
              <a:gd name="csX106" fmla="*/ 602971 w 768725"/>
              <a:gd name="csY106" fmla="*/ 1123400 h 1509319"/>
              <a:gd name="csX107" fmla="*/ 591474 w 768725"/>
              <a:gd name="csY107" fmla="*/ 1124633 h 1509319"/>
              <a:gd name="csX108" fmla="*/ 530551 w 768725"/>
              <a:gd name="csY108" fmla="*/ 1130880 h 1509319"/>
              <a:gd name="csX109" fmla="*/ 459731 w 768725"/>
              <a:gd name="csY109" fmla="*/ 1135086 h 1509319"/>
              <a:gd name="csX110" fmla="*/ 469505 w 768725"/>
              <a:gd name="csY110" fmla="*/ 116252 h 1509319"/>
              <a:gd name="csX111" fmla="*/ 443782 w 768725"/>
              <a:gd name="csY111" fmla="*/ 114911 h 1509319"/>
              <a:gd name="csX112" fmla="*/ 430007 w 768725"/>
              <a:gd name="csY112" fmla="*/ 99878 h 1509319"/>
              <a:gd name="csX113" fmla="*/ 429331 w 768725"/>
              <a:gd name="csY113" fmla="*/ 69197 h 1509319"/>
              <a:gd name="csX114" fmla="*/ 426333 w 768725"/>
              <a:gd name="csY114" fmla="*/ 34606 h 1509319"/>
              <a:gd name="csX115" fmla="*/ 377548 w 768725"/>
              <a:gd name="csY115" fmla="*/ 34613 h 1509319"/>
              <a:gd name="csX116" fmla="*/ 368004 w 768725"/>
              <a:gd name="csY116" fmla="*/ 44529 h 1509319"/>
              <a:gd name="csX117" fmla="*/ 366185 w 768725"/>
              <a:gd name="csY117" fmla="*/ 76343 h 1509319"/>
              <a:gd name="csX118" fmla="*/ 379384 w 768725"/>
              <a:gd name="csY118" fmla="*/ 206619 h 1509319"/>
              <a:gd name="csX119" fmla="*/ 390997 w 768725"/>
              <a:gd name="csY119" fmla="*/ 277965 h 1509319"/>
              <a:gd name="csX120" fmla="*/ 394040 w 768725"/>
              <a:gd name="csY120" fmla="*/ 305053 h 1509319"/>
              <a:gd name="csX121" fmla="*/ 501758 w 768725"/>
              <a:gd name="csY121" fmla="*/ 304814 h 1509319"/>
              <a:gd name="csX122" fmla="*/ 510340 w 768725"/>
              <a:gd name="csY122" fmla="*/ 299427 h 1509319"/>
              <a:gd name="csX123" fmla="*/ 526940 w 768725"/>
              <a:gd name="csY123" fmla="*/ 279822 h 1509319"/>
              <a:gd name="csX124" fmla="*/ 576920 w 768725"/>
              <a:gd name="csY124" fmla="*/ 192342 h 1509319"/>
              <a:gd name="csX125" fmla="*/ 594042 w 768725"/>
              <a:gd name="csY125" fmla="*/ 74918 h 1509319"/>
              <a:gd name="csX126" fmla="*/ 594159 w 768725"/>
              <a:gd name="csY126" fmla="*/ 49195 h 1509319"/>
              <a:gd name="csX127" fmla="*/ 554791 w 768725"/>
              <a:gd name="csY127" fmla="*/ 42552 h 1509319"/>
              <a:gd name="csX128" fmla="*/ 552461 w 768725"/>
              <a:gd name="csY128" fmla="*/ 55598 h 1509319"/>
              <a:gd name="csX129" fmla="*/ 544678 w 768725"/>
              <a:gd name="csY129" fmla="*/ 102721 h 1509319"/>
              <a:gd name="csX130" fmla="*/ 525701 w 768725"/>
              <a:gd name="csY130" fmla="*/ 118186 h 1509319"/>
              <a:gd name="csX131" fmla="*/ 469505 w 768725"/>
              <a:gd name="csY131" fmla="*/ 116252 h 1509319"/>
              <a:gd name="csX132" fmla="*/ 513928 w 768725"/>
              <a:gd name="csY132" fmla="*/ 1403203 h 1509319"/>
              <a:gd name="csX133" fmla="*/ 379322 w 768725"/>
              <a:gd name="csY133" fmla="*/ 1404000 h 1509319"/>
              <a:gd name="csX134" fmla="*/ 379322 w 768725"/>
              <a:gd name="csY134" fmla="*/ 1460424 h 1509319"/>
              <a:gd name="csX135" fmla="*/ 726554 w 768725"/>
              <a:gd name="csY135" fmla="*/ 1439225 h 1509319"/>
              <a:gd name="csX136" fmla="*/ 721089 w 768725"/>
              <a:gd name="csY136" fmla="*/ 1397750 h 1509319"/>
              <a:gd name="csX137" fmla="*/ 697967 w 768725"/>
              <a:gd name="csY137" fmla="*/ 1385046 h 1509319"/>
              <a:gd name="csX138" fmla="*/ 619039 w 768725"/>
              <a:gd name="csY138" fmla="*/ 1395892 h 1509319"/>
              <a:gd name="csX139" fmla="*/ 513928 w 768725"/>
              <a:gd name="csY139" fmla="*/ 1403203 h 1509319"/>
              <a:gd name="csX140" fmla="*/ 462814 w 768725"/>
              <a:gd name="csY140" fmla="*/ 375981 h 1509319"/>
              <a:gd name="csX141" fmla="*/ 538992 w 768725"/>
              <a:gd name="csY141" fmla="*/ 375736 h 1509319"/>
              <a:gd name="csX142" fmla="*/ 551835 w 768725"/>
              <a:gd name="csY142" fmla="*/ 373923 h 1509319"/>
              <a:gd name="csX143" fmla="*/ 539689 w 768725"/>
              <a:gd name="csY143" fmla="*/ 356085 h 1509319"/>
              <a:gd name="csX144" fmla="*/ 521074 w 768725"/>
              <a:gd name="csY144" fmla="*/ 344186 h 1509319"/>
              <a:gd name="csX145" fmla="*/ 503789 w 768725"/>
              <a:gd name="csY145" fmla="*/ 339280 h 1509319"/>
              <a:gd name="csX146" fmla="*/ 404270 w 768725"/>
              <a:gd name="csY146" fmla="*/ 339994 h 1509319"/>
              <a:gd name="csX147" fmla="*/ 393081 w 768725"/>
              <a:gd name="csY147" fmla="*/ 340868 h 1509319"/>
              <a:gd name="csX148" fmla="*/ 395001 w 768725"/>
              <a:gd name="csY148" fmla="*/ 375976 h 1509319"/>
              <a:gd name="csX149" fmla="*/ 462814 w 768725"/>
              <a:gd name="csY149" fmla="*/ 375981 h 150931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</a:cxnLst>
            <a:rect l="l" t="t" r="r" b="b"/>
            <a:pathLst>
              <a:path w="768725" h="1509319">
                <a:moveTo>
                  <a:pt x="576414" y="893042"/>
                </a:moveTo>
                <a:cubicBezTo>
                  <a:pt x="588806" y="949146"/>
                  <a:pt x="601091" y="1004202"/>
                  <a:pt x="613047" y="1059329"/>
                </a:cubicBezTo>
                <a:cubicBezTo>
                  <a:pt x="614432" y="1065716"/>
                  <a:pt x="617736" y="1069332"/>
                  <a:pt x="623337" y="1071825"/>
                </a:cubicBezTo>
                <a:cubicBezTo>
                  <a:pt x="628942" y="1074320"/>
                  <a:pt x="634521" y="1076938"/>
                  <a:pt x="639863" y="1079946"/>
                </a:cubicBezTo>
                <a:cubicBezTo>
                  <a:pt x="650944" y="1086186"/>
                  <a:pt x="655598" y="1096871"/>
                  <a:pt x="652266" y="1109045"/>
                </a:cubicBezTo>
                <a:cubicBezTo>
                  <a:pt x="650545" y="1115333"/>
                  <a:pt x="647953" y="1121401"/>
                  <a:pt x="645501" y="1127466"/>
                </a:cubicBezTo>
                <a:cubicBezTo>
                  <a:pt x="643225" y="1133097"/>
                  <a:pt x="643438" y="1138435"/>
                  <a:pt x="645547" y="1144138"/>
                </a:cubicBezTo>
                <a:cubicBezTo>
                  <a:pt x="649868" y="1155821"/>
                  <a:pt x="655892" y="1166306"/>
                  <a:pt x="664589" y="1175322"/>
                </a:cubicBezTo>
                <a:cubicBezTo>
                  <a:pt x="680503" y="1191819"/>
                  <a:pt x="696298" y="1208434"/>
                  <a:pt x="712015" y="1225118"/>
                </a:cubicBezTo>
                <a:cubicBezTo>
                  <a:pt x="731931" y="1246258"/>
                  <a:pt x="740856" y="1272032"/>
                  <a:pt x="744465" y="1300385"/>
                </a:cubicBezTo>
                <a:cubicBezTo>
                  <a:pt x="746614" y="1317273"/>
                  <a:pt x="744537" y="1333855"/>
                  <a:pt x="743270" y="1350524"/>
                </a:cubicBezTo>
                <a:cubicBezTo>
                  <a:pt x="742916" y="1355183"/>
                  <a:pt x="743079" y="1358990"/>
                  <a:pt x="745429" y="1363274"/>
                </a:cubicBezTo>
                <a:cubicBezTo>
                  <a:pt x="761335" y="1392276"/>
                  <a:pt x="766719" y="1423956"/>
                  <a:pt x="768672" y="1456512"/>
                </a:cubicBezTo>
                <a:cubicBezTo>
                  <a:pt x="769161" y="1464651"/>
                  <a:pt x="766327" y="1469951"/>
                  <a:pt x="758521" y="1472434"/>
                </a:cubicBezTo>
                <a:cubicBezTo>
                  <a:pt x="749176" y="1475406"/>
                  <a:pt x="739961" y="1478919"/>
                  <a:pt x="730455" y="1481228"/>
                </a:cubicBezTo>
                <a:cubicBezTo>
                  <a:pt x="685866" y="1492058"/>
                  <a:pt x="640613" y="1498445"/>
                  <a:pt x="594867" y="1502210"/>
                </a:cubicBezTo>
                <a:cubicBezTo>
                  <a:pt x="503351" y="1509743"/>
                  <a:pt x="411695" y="1510364"/>
                  <a:pt x="320018" y="1508300"/>
                </a:cubicBezTo>
                <a:cubicBezTo>
                  <a:pt x="275466" y="1507297"/>
                  <a:pt x="230913" y="1504582"/>
                  <a:pt x="186464" y="1501258"/>
                </a:cubicBezTo>
                <a:cubicBezTo>
                  <a:pt x="132610" y="1497231"/>
                  <a:pt x="79072" y="1490389"/>
                  <a:pt x="26582" y="1477021"/>
                </a:cubicBezTo>
                <a:cubicBezTo>
                  <a:pt x="18195" y="1474885"/>
                  <a:pt x="9735" y="1472585"/>
                  <a:pt x="3929" y="1465652"/>
                </a:cubicBezTo>
                <a:cubicBezTo>
                  <a:pt x="1807" y="1463117"/>
                  <a:pt x="-213" y="1459275"/>
                  <a:pt x="18" y="1456203"/>
                </a:cubicBezTo>
                <a:cubicBezTo>
                  <a:pt x="995" y="1443177"/>
                  <a:pt x="2714" y="1430200"/>
                  <a:pt x="4393" y="1417235"/>
                </a:cubicBezTo>
                <a:cubicBezTo>
                  <a:pt x="6515" y="1400846"/>
                  <a:pt x="11310" y="1385118"/>
                  <a:pt x="19158" y="1370678"/>
                </a:cubicBezTo>
                <a:cubicBezTo>
                  <a:pt x="24205" y="1361393"/>
                  <a:pt x="24576" y="1352443"/>
                  <a:pt x="23255" y="1342388"/>
                </a:cubicBezTo>
                <a:cubicBezTo>
                  <a:pt x="18901" y="1309218"/>
                  <a:pt x="21603" y="1276876"/>
                  <a:pt x="38705" y="1247261"/>
                </a:cubicBezTo>
                <a:cubicBezTo>
                  <a:pt x="44179" y="1237783"/>
                  <a:pt x="50956" y="1228786"/>
                  <a:pt x="58454" y="1220807"/>
                </a:cubicBezTo>
                <a:cubicBezTo>
                  <a:pt x="73024" y="1205299"/>
                  <a:pt x="88543" y="1190683"/>
                  <a:pt x="103638" y="1175667"/>
                </a:cubicBezTo>
                <a:cubicBezTo>
                  <a:pt x="112161" y="1167189"/>
                  <a:pt x="118801" y="1157513"/>
                  <a:pt x="122996" y="1146131"/>
                </a:cubicBezTo>
                <a:cubicBezTo>
                  <a:pt x="125249" y="1140016"/>
                  <a:pt x="125488" y="1134282"/>
                  <a:pt x="122689" y="1128316"/>
                </a:cubicBezTo>
                <a:cubicBezTo>
                  <a:pt x="120431" y="1123504"/>
                  <a:pt x="118446" y="1118553"/>
                  <a:pt x="116576" y="1113575"/>
                </a:cubicBezTo>
                <a:cubicBezTo>
                  <a:pt x="111153" y="1099133"/>
                  <a:pt x="114404" y="1089299"/>
                  <a:pt x="127479" y="1081076"/>
                </a:cubicBezTo>
                <a:cubicBezTo>
                  <a:pt x="130563" y="1079137"/>
                  <a:pt x="134000" y="1077564"/>
                  <a:pt x="137480" y="1076482"/>
                </a:cubicBezTo>
                <a:cubicBezTo>
                  <a:pt x="148800" y="1072962"/>
                  <a:pt x="154794" y="1065351"/>
                  <a:pt x="157312" y="1053855"/>
                </a:cubicBezTo>
                <a:cubicBezTo>
                  <a:pt x="164312" y="1021900"/>
                  <a:pt x="172752" y="990234"/>
                  <a:pt x="178876" y="958120"/>
                </a:cubicBezTo>
                <a:cubicBezTo>
                  <a:pt x="190055" y="899504"/>
                  <a:pt x="200649" y="840756"/>
                  <a:pt x="210165" y="781849"/>
                </a:cubicBezTo>
                <a:cubicBezTo>
                  <a:pt x="215898" y="746366"/>
                  <a:pt x="219868" y="710550"/>
                  <a:pt x="223295" y="674755"/>
                </a:cubicBezTo>
                <a:cubicBezTo>
                  <a:pt x="226801" y="638133"/>
                  <a:pt x="229185" y="601381"/>
                  <a:pt x="231121" y="564636"/>
                </a:cubicBezTo>
                <a:cubicBezTo>
                  <a:pt x="233079" y="527469"/>
                  <a:pt x="233899" y="490241"/>
                  <a:pt x="235173" y="453038"/>
                </a:cubicBezTo>
                <a:cubicBezTo>
                  <a:pt x="235285" y="449770"/>
                  <a:pt x="235108" y="446488"/>
                  <a:pt x="235001" y="443215"/>
                </a:cubicBezTo>
                <a:cubicBezTo>
                  <a:pt x="234761" y="435907"/>
                  <a:pt x="231291" y="431283"/>
                  <a:pt x="224321" y="428479"/>
                </a:cubicBezTo>
                <a:cubicBezTo>
                  <a:pt x="217531" y="425747"/>
                  <a:pt x="210873" y="422395"/>
                  <a:pt x="204712" y="418450"/>
                </a:cubicBezTo>
                <a:cubicBezTo>
                  <a:pt x="187562" y="407468"/>
                  <a:pt x="179141" y="385623"/>
                  <a:pt x="184069" y="366060"/>
                </a:cubicBezTo>
                <a:cubicBezTo>
                  <a:pt x="187270" y="353354"/>
                  <a:pt x="195406" y="344379"/>
                  <a:pt x="206519" y="338181"/>
                </a:cubicBezTo>
                <a:cubicBezTo>
                  <a:pt x="212922" y="334611"/>
                  <a:pt x="219930" y="332132"/>
                  <a:pt x="226643" y="329113"/>
                </a:cubicBezTo>
                <a:cubicBezTo>
                  <a:pt x="236636" y="324620"/>
                  <a:pt x="238185" y="320246"/>
                  <a:pt x="232085" y="311135"/>
                </a:cubicBezTo>
                <a:cubicBezTo>
                  <a:pt x="229169" y="306779"/>
                  <a:pt x="225643" y="302195"/>
                  <a:pt x="221280" y="299552"/>
                </a:cubicBezTo>
                <a:cubicBezTo>
                  <a:pt x="194874" y="283553"/>
                  <a:pt x="183766" y="257401"/>
                  <a:pt x="173478" y="230303"/>
                </a:cubicBezTo>
                <a:cubicBezTo>
                  <a:pt x="156973" y="186824"/>
                  <a:pt x="146078" y="142097"/>
                  <a:pt x="141864" y="95780"/>
                </a:cubicBezTo>
                <a:cubicBezTo>
                  <a:pt x="140086" y="76240"/>
                  <a:pt x="138323" y="56689"/>
                  <a:pt x="137158" y="37107"/>
                </a:cubicBezTo>
                <a:cubicBezTo>
                  <a:pt x="136482" y="25735"/>
                  <a:pt x="137408" y="24372"/>
                  <a:pt x="148750" y="22335"/>
                </a:cubicBezTo>
                <a:cubicBezTo>
                  <a:pt x="178094" y="17065"/>
                  <a:pt x="207551" y="12418"/>
                  <a:pt x="236982" y="7640"/>
                </a:cubicBezTo>
                <a:cubicBezTo>
                  <a:pt x="239748" y="7191"/>
                  <a:pt x="242650" y="7580"/>
                  <a:pt x="246862" y="7580"/>
                </a:cubicBezTo>
                <a:cubicBezTo>
                  <a:pt x="255824" y="32568"/>
                  <a:pt x="255201" y="59502"/>
                  <a:pt x="261473" y="86763"/>
                </a:cubicBezTo>
                <a:cubicBezTo>
                  <a:pt x="276122" y="85715"/>
                  <a:pt x="290587" y="84680"/>
                  <a:pt x="306246" y="83559"/>
                </a:cubicBezTo>
                <a:cubicBezTo>
                  <a:pt x="306524" y="78935"/>
                  <a:pt x="306966" y="75011"/>
                  <a:pt x="306960" y="71087"/>
                </a:cubicBezTo>
                <a:cubicBezTo>
                  <a:pt x="306936" y="53888"/>
                  <a:pt x="306633" y="36688"/>
                  <a:pt x="306724" y="19491"/>
                </a:cubicBezTo>
                <a:cubicBezTo>
                  <a:pt x="306789" y="7258"/>
                  <a:pt x="307148" y="6664"/>
                  <a:pt x="319581" y="4733"/>
                </a:cubicBezTo>
                <a:cubicBezTo>
                  <a:pt x="356571" y="-1011"/>
                  <a:pt x="393735" y="-1048"/>
                  <a:pt x="430956" y="2070"/>
                </a:cubicBezTo>
                <a:cubicBezTo>
                  <a:pt x="432994" y="2241"/>
                  <a:pt x="435026" y="2485"/>
                  <a:pt x="437066" y="2646"/>
                </a:cubicBezTo>
                <a:cubicBezTo>
                  <a:pt x="455684" y="4122"/>
                  <a:pt x="457626" y="5472"/>
                  <a:pt x="460335" y="24205"/>
                </a:cubicBezTo>
                <a:cubicBezTo>
                  <a:pt x="462146" y="36727"/>
                  <a:pt x="462770" y="49435"/>
                  <a:pt x="463579" y="62081"/>
                </a:cubicBezTo>
                <a:cubicBezTo>
                  <a:pt x="463995" y="68573"/>
                  <a:pt x="463652" y="75113"/>
                  <a:pt x="463652" y="82953"/>
                </a:cubicBezTo>
                <a:cubicBezTo>
                  <a:pt x="478793" y="83857"/>
                  <a:pt x="492851" y="84696"/>
                  <a:pt x="507205" y="85553"/>
                </a:cubicBezTo>
                <a:cubicBezTo>
                  <a:pt x="512102" y="78145"/>
                  <a:pt x="511920" y="69770"/>
                  <a:pt x="513271" y="61890"/>
                </a:cubicBezTo>
                <a:cubicBezTo>
                  <a:pt x="515756" y="47397"/>
                  <a:pt x="517439" y="32758"/>
                  <a:pt x="520203" y="18323"/>
                </a:cubicBezTo>
                <a:cubicBezTo>
                  <a:pt x="522330" y="7216"/>
                  <a:pt x="522926" y="6539"/>
                  <a:pt x="534008" y="7785"/>
                </a:cubicBezTo>
                <a:cubicBezTo>
                  <a:pt x="554709" y="10113"/>
                  <a:pt x="575316" y="13322"/>
                  <a:pt x="595925" y="16407"/>
                </a:cubicBezTo>
                <a:cubicBezTo>
                  <a:pt x="604001" y="17616"/>
                  <a:pt x="612093" y="19051"/>
                  <a:pt x="619972" y="21156"/>
                </a:cubicBezTo>
                <a:cubicBezTo>
                  <a:pt x="628887" y="23538"/>
                  <a:pt x="631496" y="26848"/>
                  <a:pt x="631161" y="36134"/>
                </a:cubicBezTo>
                <a:cubicBezTo>
                  <a:pt x="630572" y="52475"/>
                  <a:pt x="629765" y="68840"/>
                  <a:pt x="628140" y="85104"/>
                </a:cubicBezTo>
                <a:cubicBezTo>
                  <a:pt x="624968" y="116827"/>
                  <a:pt x="621618" y="148545"/>
                  <a:pt x="613954" y="179618"/>
                </a:cubicBezTo>
                <a:cubicBezTo>
                  <a:pt x="607361" y="206344"/>
                  <a:pt x="597791" y="231950"/>
                  <a:pt x="586196" y="256886"/>
                </a:cubicBezTo>
                <a:cubicBezTo>
                  <a:pt x="578940" y="272491"/>
                  <a:pt x="568647" y="285371"/>
                  <a:pt x="554619" y="295312"/>
                </a:cubicBezTo>
                <a:cubicBezTo>
                  <a:pt x="547467" y="300381"/>
                  <a:pt x="541673" y="306562"/>
                  <a:pt x="538601" y="315001"/>
                </a:cubicBezTo>
                <a:cubicBezTo>
                  <a:pt x="536802" y="319945"/>
                  <a:pt x="537533" y="323761"/>
                  <a:pt x="542630" y="326199"/>
                </a:cubicBezTo>
                <a:cubicBezTo>
                  <a:pt x="548539" y="329025"/>
                  <a:pt x="554513" y="331748"/>
                  <a:pt x="560240" y="334912"/>
                </a:cubicBezTo>
                <a:cubicBezTo>
                  <a:pt x="574874" y="342998"/>
                  <a:pt x="586216" y="353688"/>
                  <a:pt x="586933" y="371800"/>
                </a:cubicBezTo>
                <a:cubicBezTo>
                  <a:pt x="587721" y="391697"/>
                  <a:pt x="581146" y="407998"/>
                  <a:pt x="563039" y="418184"/>
                </a:cubicBezTo>
                <a:cubicBezTo>
                  <a:pt x="557338" y="421391"/>
                  <a:pt x="551634" y="424825"/>
                  <a:pt x="545522" y="427008"/>
                </a:cubicBezTo>
                <a:cubicBezTo>
                  <a:pt x="538690" y="429449"/>
                  <a:pt x="535443" y="433770"/>
                  <a:pt x="535507" y="440667"/>
                </a:cubicBezTo>
                <a:cubicBezTo>
                  <a:pt x="535813" y="472997"/>
                  <a:pt x="535953" y="505332"/>
                  <a:pt x="536723" y="537651"/>
                </a:cubicBezTo>
                <a:cubicBezTo>
                  <a:pt x="537181" y="556862"/>
                  <a:pt x="538274" y="576081"/>
                  <a:pt x="539820" y="595237"/>
                </a:cubicBezTo>
                <a:cubicBezTo>
                  <a:pt x="543897" y="645768"/>
                  <a:pt x="546950" y="696441"/>
                  <a:pt x="553105" y="746727"/>
                </a:cubicBezTo>
                <a:cubicBezTo>
                  <a:pt x="559060" y="795370"/>
                  <a:pt x="568372" y="843602"/>
                  <a:pt x="576414" y="893042"/>
                </a:cubicBezTo>
                <a:moveTo>
                  <a:pt x="500356" y="473996"/>
                </a:moveTo>
                <a:cubicBezTo>
                  <a:pt x="500146" y="470396"/>
                  <a:pt x="499936" y="466797"/>
                  <a:pt x="499749" y="463598"/>
                </a:cubicBezTo>
                <a:cubicBezTo>
                  <a:pt x="463731" y="466295"/>
                  <a:pt x="428548" y="468929"/>
                  <a:pt x="392525" y="471627"/>
                </a:cubicBezTo>
                <a:cubicBezTo>
                  <a:pt x="392525" y="475456"/>
                  <a:pt x="392570" y="479099"/>
                  <a:pt x="392518" y="482742"/>
                </a:cubicBezTo>
                <a:cubicBezTo>
                  <a:pt x="391977" y="520799"/>
                  <a:pt x="391669" y="558862"/>
                  <a:pt x="390814" y="596913"/>
                </a:cubicBezTo>
                <a:cubicBezTo>
                  <a:pt x="389379" y="660737"/>
                  <a:pt x="387596" y="724554"/>
                  <a:pt x="385953" y="788374"/>
                </a:cubicBezTo>
                <a:cubicBezTo>
                  <a:pt x="385132" y="820284"/>
                  <a:pt x="384217" y="852191"/>
                  <a:pt x="383485" y="884103"/>
                </a:cubicBezTo>
                <a:cubicBezTo>
                  <a:pt x="382329" y="934437"/>
                  <a:pt x="381336" y="984775"/>
                  <a:pt x="380173" y="1035109"/>
                </a:cubicBezTo>
                <a:cubicBezTo>
                  <a:pt x="379918" y="1046143"/>
                  <a:pt x="379172" y="1057166"/>
                  <a:pt x="378826" y="1068199"/>
                </a:cubicBezTo>
                <a:cubicBezTo>
                  <a:pt x="378768" y="1070073"/>
                  <a:pt x="379592" y="1071975"/>
                  <a:pt x="380180" y="1074648"/>
                </a:cubicBezTo>
                <a:cubicBezTo>
                  <a:pt x="402724" y="1074648"/>
                  <a:pt x="424789" y="1074626"/>
                  <a:pt x="446854" y="1074654"/>
                </a:cubicBezTo>
                <a:cubicBezTo>
                  <a:pt x="468967" y="1074682"/>
                  <a:pt x="491084" y="1075062"/>
                  <a:pt x="513191" y="1074731"/>
                </a:cubicBezTo>
                <a:cubicBezTo>
                  <a:pt x="535020" y="1074404"/>
                  <a:pt x="556890" y="1078397"/>
                  <a:pt x="580317" y="1075095"/>
                </a:cubicBezTo>
                <a:cubicBezTo>
                  <a:pt x="530688" y="877741"/>
                  <a:pt x="498514" y="679261"/>
                  <a:pt x="500356" y="473996"/>
                </a:cubicBezTo>
                <a:moveTo>
                  <a:pt x="459731" y="1135086"/>
                </a:moveTo>
                <a:cubicBezTo>
                  <a:pt x="434501" y="1135086"/>
                  <a:pt x="409270" y="1135086"/>
                  <a:pt x="383756" y="1135086"/>
                </a:cubicBezTo>
                <a:cubicBezTo>
                  <a:pt x="385145" y="1171037"/>
                  <a:pt x="387590" y="1206813"/>
                  <a:pt x="387612" y="1242590"/>
                </a:cubicBezTo>
                <a:cubicBezTo>
                  <a:pt x="387634" y="1278699"/>
                  <a:pt x="385252" y="1314810"/>
                  <a:pt x="383907" y="1351330"/>
                </a:cubicBezTo>
                <a:cubicBezTo>
                  <a:pt x="493016" y="1355954"/>
                  <a:pt x="600298" y="1349068"/>
                  <a:pt x="707112" y="1330559"/>
                </a:cubicBezTo>
                <a:cubicBezTo>
                  <a:pt x="710922" y="1301049"/>
                  <a:pt x="703971" y="1274394"/>
                  <a:pt x="686366" y="1251637"/>
                </a:cubicBezTo>
                <a:cubicBezTo>
                  <a:pt x="672164" y="1233278"/>
                  <a:pt x="655625" y="1216649"/>
                  <a:pt x="639403" y="1199952"/>
                </a:cubicBezTo>
                <a:cubicBezTo>
                  <a:pt x="621690" y="1181720"/>
                  <a:pt x="611031" y="1160243"/>
                  <a:pt x="606292" y="1135508"/>
                </a:cubicBezTo>
                <a:cubicBezTo>
                  <a:pt x="605546" y="1131614"/>
                  <a:pt x="604205" y="1127833"/>
                  <a:pt x="602971" y="1123400"/>
                </a:cubicBezTo>
                <a:cubicBezTo>
                  <a:pt x="598647" y="1123864"/>
                  <a:pt x="595062" y="1124258"/>
                  <a:pt x="591474" y="1124633"/>
                </a:cubicBezTo>
                <a:cubicBezTo>
                  <a:pt x="571170" y="1126753"/>
                  <a:pt x="550896" y="1129262"/>
                  <a:pt x="530551" y="1130880"/>
                </a:cubicBezTo>
                <a:cubicBezTo>
                  <a:pt x="507752" y="1132694"/>
                  <a:pt x="484887" y="1133699"/>
                  <a:pt x="459731" y="1135086"/>
                </a:cubicBezTo>
                <a:moveTo>
                  <a:pt x="469505" y="116252"/>
                </a:moveTo>
                <a:cubicBezTo>
                  <a:pt x="460926" y="115846"/>
                  <a:pt x="452288" y="115932"/>
                  <a:pt x="443782" y="114911"/>
                </a:cubicBezTo>
                <a:cubicBezTo>
                  <a:pt x="433023" y="113619"/>
                  <a:pt x="430601" y="110848"/>
                  <a:pt x="430007" y="99878"/>
                </a:cubicBezTo>
                <a:cubicBezTo>
                  <a:pt x="429457" y="89668"/>
                  <a:pt x="429903" y="79404"/>
                  <a:pt x="429331" y="69197"/>
                </a:cubicBezTo>
                <a:cubicBezTo>
                  <a:pt x="428702" y="57943"/>
                  <a:pt x="427414" y="46725"/>
                  <a:pt x="426333" y="34606"/>
                </a:cubicBezTo>
                <a:cubicBezTo>
                  <a:pt x="409217" y="34606"/>
                  <a:pt x="393383" y="34593"/>
                  <a:pt x="377548" y="34613"/>
                </a:cubicBezTo>
                <a:cubicBezTo>
                  <a:pt x="370973" y="34621"/>
                  <a:pt x="368175" y="37880"/>
                  <a:pt x="368004" y="44529"/>
                </a:cubicBezTo>
                <a:cubicBezTo>
                  <a:pt x="367731" y="55142"/>
                  <a:pt x="366531" y="65729"/>
                  <a:pt x="366185" y="76343"/>
                </a:cubicBezTo>
                <a:cubicBezTo>
                  <a:pt x="364748" y="120348"/>
                  <a:pt x="372586" y="163440"/>
                  <a:pt x="379384" y="206619"/>
                </a:cubicBezTo>
                <a:cubicBezTo>
                  <a:pt x="383132" y="230420"/>
                  <a:pt x="387281" y="254159"/>
                  <a:pt x="390997" y="277965"/>
                </a:cubicBezTo>
                <a:cubicBezTo>
                  <a:pt x="392356" y="286668"/>
                  <a:pt x="392988" y="295485"/>
                  <a:pt x="394040" y="305053"/>
                </a:cubicBezTo>
                <a:cubicBezTo>
                  <a:pt x="430625" y="305053"/>
                  <a:pt x="466194" y="305182"/>
                  <a:pt x="501758" y="304814"/>
                </a:cubicBezTo>
                <a:cubicBezTo>
                  <a:pt x="504672" y="304784"/>
                  <a:pt x="508099" y="301870"/>
                  <a:pt x="510340" y="299427"/>
                </a:cubicBezTo>
                <a:cubicBezTo>
                  <a:pt x="516125" y="293119"/>
                  <a:pt x="520822" y="285749"/>
                  <a:pt x="526940" y="279822"/>
                </a:cubicBezTo>
                <a:cubicBezTo>
                  <a:pt x="552103" y="255447"/>
                  <a:pt x="566819" y="225104"/>
                  <a:pt x="576920" y="192342"/>
                </a:cubicBezTo>
                <a:cubicBezTo>
                  <a:pt x="588690" y="154165"/>
                  <a:pt x="590063" y="114309"/>
                  <a:pt x="594042" y="74918"/>
                </a:cubicBezTo>
                <a:cubicBezTo>
                  <a:pt x="594852" y="66901"/>
                  <a:pt x="594159" y="58731"/>
                  <a:pt x="594159" y="49195"/>
                </a:cubicBezTo>
                <a:cubicBezTo>
                  <a:pt x="581125" y="46996"/>
                  <a:pt x="568493" y="44864"/>
                  <a:pt x="554791" y="42552"/>
                </a:cubicBezTo>
                <a:cubicBezTo>
                  <a:pt x="553857" y="47762"/>
                  <a:pt x="553099" y="51670"/>
                  <a:pt x="552461" y="55598"/>
                </a:cubicBezTo>
                <a:cubicBezTo>
                  <a:pt x="549905" y="71314"/>
                  <a:pt x="547903" y="87144"/>
                  <a:pt x="544678" y="102721"/>
                </a:cubicBezTo>
                <a:cubicBezTo>
                  <a:pt x="542363" y="113902"/>
                  <a:pt x="537010" y="118223"/>
                  <a:pt x="525701" y="118186"/>
                </a:cubicBezTo>
                <a:cubicBezTo>
                  <a:pt x="507730" y="118128"/>
                  <a:pt x="489762" y="117027"/>
                  <a:pt x="469505" y="116252"/>
                </a:cubicBezTo>
                <a:moveTo>
                  <a:pt x="513928" y="1403203"/>
                </a:moveTo>
                <a:cubicBezTo>
                  <a:pt x="469441" y="1403467"/>
                  <a:pt x="424955" y="1403730"/>
                  <a:pt x="379322" y="1404000"/>
                </a:cubicBezTo>
                <a:cubicBezTo>
                  <a:pt x="379322" y="1423089"/>
                  <a:pt x="379322" y="1440883"/>
                  <a:pt x="379322" y="1460424"/>
                </a:cubicBezTo>
                <a:cubicBezTo>
                  <a:pt x="496078" y="1471584"/>
                  <a:pt x="611510" y="1462301"/>
                  <a:pt x="726554" y="1439225"/>
                </a:cubicBezTo>
                <a:cubicBezTo>
                  <a:pt x="728615" y="1424350"/>
                  <a:pt x="725601" y="1410872"/>
                  <a:pt x="721089" y="1397750"/>
                </a:cubicBezTo>
                <a:cubicBezTo>
                  <a:pt x="717269" y="1386638"/>
                  <a:pt x="709802" y="1383286"/>
                  <a:pt x="697967" y="1385046"/>
                </a:cubicBezTo>
                <a:cubicBezTo>
                  <a:pt x="671697" y="1388954"/>
                  <a:pt x="645454" y="1393360"/>
                  <a:pt x="619039" y="1395892"/>
                </a:cubicBezTo>
                <a:cubicBezTo>
                  <a:pt x="584863" y="1399168"/>
                  <a:pt x="550531" y="1400815"/>
                  <a:pt x="513928" y="1403203"/>
                </a:cubicBezTo>
                <a:moveTo>
                  <a:pt x="462814" y="375981"/>
                </a:moveTo>
                <a:cubicBezTo>
                  <a:pt x="488207" y="375927"/>
                  <a:pt x="513601" y="375954"/>
                  <a:pt x="538992" y="375736"/>
                </a:cubicBezTo>
                <a:cubicBezTo>
                  <a:pt x="543170" y="375700"/>
                  <a:pt x="547338" y="374587"/>
                  <a:pt x="551835" y="373923"/>
                </a:cubicBezTo>
                <a:cubicBezTo>
                  <a:pt x="550780" y="364535"/>
                  <a:pt x="545320" y="360090"/>
                  <a:pt x="539689" y="356085"/>
                </a:cubicBezTo>
                <a:cubicBezTo>
                  <a:pt x="533696" y="351821"/>
                  <a:pt x="527145" y="348349"/>
                  <a:pt x="521074" y="344186"/>
                </a:cubicBezTo>
                <a:cubicBezTo>
                  <a:pt x="515783" y="340559"/>
                  <a:pt x="510232" y="339198"/>
                  <a:pt x="503789" y="339280"/>
                </a:cubicBezTo>
                <a:cubicBezTo>
                  <a:pt x="470618" y="339700"/>
                  <a:pt x="437443" y="339744"/>
                  <a:pt x="404270" y="339994"/>
                </a:cubicBezTo>
                <a:cubicBezTo>
                  <a:pt x="400758" y="340021"/>
                  <a:pt x="397250" y="340529"/>
                  <a:pt x="393081" y="340868"/>
                </a:cubicBezTo>
                <a:cubicBezTo>
                  <a:pt x="393653" y="352908"/>
                  <a:pt x="392145" y="363845"/>
                  <a:pt x="395001" y="375976"/>
                </a:cubicBezTo>
                <a:cubicBezTo>
                  <a:pt x="417133" y="375976"/>
                  <a:pt x="438745" y="375976"/>
                  <a:pt x="462814" y="375981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79" name="Free-form: Shape 378">
            <a:extLst>
              <a:ext uri="{FF2B5EF4-FFF2-40B4-BE49-F238E27FC236}">
                <a16:creationId xmlns:a16="http://schemas.microsoft.com/office/drawing/2014/main" id="{C42AB4CA-4AA2-CBDD-0807-EA6798E5FE55}"/>
              </a:ext>
            </a:extLst>
          </p:cNvPr>
          <p:cNvSpPr/>
          <p:nvPr/>
        </p:nvSpPr>
        <p:spPr>
          <a:xfrm>
            <a:off x="11118876" y="4899267"/>
            <a:ext cx="155564" cy="520442"/>
          </a:xfrm>
          <a:custGeom>
            <a:avLst/>
            <a:gdLst>
              <a:gd name="csX0" fmla="*/ 121535 w 201493"/>
              <a:gd name="csY0" fmla="*/ 11562 h 612813"/>
              <a:gd name="csX1" fmla="*/ 201493 w 201493"/>
              <a:gd name="csY1" fmla="*/ 611498 h 612813"/>
              <a:gd name="csX2" fmla="*/ 134368 w 201493"/>
              <a:gd name="csY2" fmla="*/ 611133 h 612813"/>
              <a:gd name="csX3" fmla="*/ 68030 w 201493"/>
              <a:gd name="csY3" fmla="*/ 611056 h 612813"/>
              <a:gd name="csX4" fmla="*/ 1357 w 201493"/>
              <a:gd name="csY4" fmla="*/ 611050 h 612813"/>
              <a:gd name="csX5" fmla="*/ 3 w 201493"/>
              <a:gd name="csY5" fmla="*/ 604601 h 612813"/>
              <a:gd name="csX6" fmla="*/ 1350 w 201493"/>
              <a:gd name="csY6" fmla="*/ 571511 h 612813"/>
              <a:gd name="csX7" fmla="*/ 4661 w 201493"/>
              <a:gd name="csY7" fmla="*/ 420505 h 612813"/>
              <a:gd name="csX8" fmla="*/ 7130 w 201493"/>
              <a:gd name="csY8" fmla="*/ 324777 h 612813"/>
              <a:gd name="csX9" fmla="*/ 11991 w 201493"/>
              <a:gd name="csY9" fmla="*/ 133315 h 612813"/>
              <a:gd name="csX10" fmla="*/ 13695 w 201493"/>
              <a:gd name="csY10" fmla="*/ 19144 h 612813"/>
              <a:gd name="csX11" fmla="*/ 13702 w 201493"/>
              <a:gd name="csY11" fmla="*/ 8029 h 612813"/>
              <a:gd name="csX12" fmla="*/ 120926 w 201493"/>
              <a:gd name="csY12" fmla="*/ 0 h 612813"/>
              <a:gd name="csX13" fmla="*/ 121535 w 201493"/>
              <a:gd name="csY13" fmla="*/ 11562 h 61281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</a:cxnLst>
            <a:rect l="l" t="t" r="r" b="b"/>
            <a:pathLst>
              <a:path w="201493" h="612813">
                <a:moveTo>
                  <a:pt x="121535" y="11562"/>
                </a:moveTo>
                <a:cubicBezTo>
                  <a:pt x="119691" y="215664"/>
                  <a:pt x="151865" y="414144"/>
                  <a:pt x="201493" y="611498"/>
                </a:cubicBezTo>
                <a:cubicBezTo>
                  <a:pt x="178066" y="614799"/>
                  <a:pt x="156197" y="610806"/>
                  <a:pt x="134368" y="611133"/>
                </a:cubicBezTo>
                <a:cubicBezTo>
                  <a:pt x="112261" y="611465"/>
                  <a:pt x="90143" y="611084"/>
                  <a:pt x="68030" y="611056"/>
                </a:cubicBezTo>
                <a:cubicBezTo>
                  <a:pt x="45965" y="611028"/>
                  <a:pt x="23900" y="611050"/>
                  <a:pt x="1357" y="611050"/>
                </a:cubicBezTo>
                <a:cubicBezTo>
                  <a:pt x="769" y="608377"/>
                  <a:pt x="-56" y="606475"/>
                  <a:pt x="3" y="604601"/>
                </a:cubicBezTo>
                <a:cubicBezTo>
                  <a:pt x="349" y="593568"/>
                  <a:pt x="1095" y="582545"/>
                  <a:pt x="1350" y="571511"/>
                </a:cubicBezTo>
                <a:cubicBezTo>
                  <a:pt x="2513" y="521177"/>
                  <a:pt x="3506" y="470839"/>
                  <a:pt x="4661" y="420505"/>
                </a:cubicBezTo>
                <a:cubicBezTo>
                  <a:pt x="5393" y="388594"/>
                  <a:pt x="6308" y="356686"/>
                  <a:pt x="7130" y="324777"/>
                </a:cubicBezTo>
                <a:cubicBezTo>
                  <a:pt x="8772" y="260956"/>
                  <a:pt x="10555" y="197140"/>
                  <a:pt x="11991" y="133315"/>
                </a:cubicBezTo>
                <a:cubicBezTo>
                  <a:pt x="12846" y="95264"/>
                  <a:pt x="13154" y="57201"/>
                  <a:pt x="13695" y="19144"/>
                </a:cubicBezTo>
                <a:cubicBezTo>
                  <a:pt x="13746" y="15501"/>
                  <a:pt x="13702" y="11858"/>
                  <a:pt x="13702" y="8029"/>
                </a:cubicBezTo>
                <a:cubicBezTo>
                  <a:pt x="49725" y="5331"/>
                  <a:pt x="84908" y="2697"/>
                  <a:pt x="120926" y="0"/>
                </a:cubicBezTo>
                <a:cubicBezTo>
                  <a:pt x="121113" y="3199"/>
                  <a:pt x="121323" y="6798"/>
                  <a:pt x="121535" y="11562"/>
                </a:cubicBezTo>
                <a:close/>
              </a:path>
            </a:pathLst>
          </a:custGeom>
          <a:solidFill>
            <a:srgbClr val="FDFDFD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80" name="Free-form: Shape 379">
            <a:extLst>
              <a:ext uri="{FF2B5EF4-FFF2-40B4-BE49-F238E27FC236}">
                <a16:creationId xmlns:a16="http://schemas.microsoft.com/office/drawing/2014/main" id="{2B944958-F735-5213-0B2F-79616D29BA3A}"/>
              </a:ext>
            </a:extLst>
          </p:cNvPr>
          <p:cNvSpPr/>
          <p:nvPr/>
        </p:nvSpPr>
        <p:spPr>
          <a:xfrm>
            <a:off x="11122684" y="5459616"/>
            <a:ext cx="250431" cy="194755"/>
          </a:xfrm>
          <a:custGeom>
            <a:avLst/>
            <a:gdLst>
              <a:gd name="csX0" fmla="*/ 77135 w 324367"/>
              <a:gd name="csY0" fmla="*/ 11670 h 229322"/>
              <a:gd name="csX1" fmla="*/ 146795 w 324367"/>
              <a:gd name="csY1" fmla="*/ 7480 h 229322"/>
              <a:gd name="csX2" fmla="*/ 207718 w 324367"/>
              <a:gd name="csY2" fmla="*/ 1232 h 229322"/>
              <a:gd name="csX3" fmla="*/ 219215 w 324367"/>
              <a:gd name="csY3" fmla="*/ 0 h 229322"/>
              <a:gd name="csX4" fmla="*/ 222536 w 324367"/>
              <a:gd name="csY4" fmla="*/ 12108 h 229322"/>
              <a:gd name="csX5" fmla="*/ 255647 w 324367"/>
              <a:gd name="csY5" fmla="*/ 76552 h 229322"/>
              <a:gd name="csX6" fmla="*/ 302610 w 324367"/>
              <a:gd name="csY6" fmla="*/ 128236 h 229322"/>
              <a:gd name="csX7" fmla="*/ 323355 w 324367"/>
              <a:gd name="csY7" fmla="*/ 207159 h 229322"/>
              <a:gd name="csX8" fmla="*/ 151 w 324367"/>
              <a:gd name="csY8" fmla="*/ 227930 h 229322"/>
              <a:gd name="csX9" fmla="*/ 3855 w 324367"/>
              <a:gd name="csY9" fmla="*/ 119190 h 229322"/>
              <a:gd name="csX10" fmla="*/ 0 w 324367"/>
              <a:gd name="csY10" fmla="*/ 11685 h 229322"/>
              <a:gd name="csX11" fmla="*/ 77135 w 324367"/>
              <a:gd name="csY11" fmla="*/ 11670 h 22932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324367" h="229322">
                <a:moveTo>
                  <a:pt x="77135" y="11670"/>
                </a:moveTo>
                <a:cubicBezTo>
                  <a:pt x="101131" y="10299"/>
                  <a:pt x="123996" y="9293"/>
                  <a:pt x="146795" y="7480"/>
                </a:cubicBezTo>
                <a:cubicBezTo>
                  <a:pt x="167139" y="5862"/>
                  <a:pt x="187413" y="3352"/>
                  <a:pt x="207718" y="1232"/>
                </a:cubicBezTo>
                <a:cubicBezTo>
                  <a:pt x="211305" y="858"/>
                  <a:pt x="214891" y="464"/>
                  <a:pt x="219215" y="0"/>
                </a:cubicBezTo>
                <a:cubicBezTo>
                  <a:pt x="220448" y="4433"/>
                  <a:pt x="221789" y="8213"/>
                  <a:pt x="222536" y="12108"/>
                </a:cubicBezTo>
                <a:cubicBezTo>
                  <a:pt x="227274" y="36843"/>
                  <a:pt x="237933" y="58320"/>
                  <a:pt x="255647" y="76552"/>
                </a:cubicBezTo>
                <a:cubicBezTo>
                  <a:pt x="271868" y="93249"/>
                  <a:pt x="288407" y="109878"/>
                  <a:pt x="302610" y="128236"/>
                </a:cubicBezTo>
                <a:cubicBezTo>
                  <a:pt x="320215" y="150993"/>
                  <a:pt x="327166" y="177648"/>
                  <a:pt x="323355" y="207159"/>
                </a:cubicBezTo>
                <a:cubicBezTo>
                  <a:pt x="216542" y="225668"/>
                  <a:pt x="109259" y="232554"/>
                  <a:pt x="151" y="227930"/>
                </a:cubicBezTo>
                <a:cubicBezTo>
                  <a:pt x="1495" y="191410"/>
                  <a:pt x="3878" y="155299"/>
                  <a:pt x="3855" y="119190"/>
                </a:cubicBezTo>
                <a:cubicBezTo>
                  <a:pt x="3834" y="83413"/>
                  <a:pt x="1388" y="47637"/>
                  <a:pt x="0" y="11685"/>
                </a:cubicBezTo>
                <a:cubicBezTo>
                  <a:pt x="25514" y="11685"/>
                  <a:pt x="50744" y="11685"/>
                  <a:pt x="77135" y="11670"/>
                </a:cubicBezTo>
                <a:close/>
              </a:path>
            </a:pathLst>
          </a:custGeom>
          <a:solidFill>
            <a:srgbClr val="FDFEFE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81" name="Free-form: Shape 380">
            <a:extLst>
              <a:ext uri="{FF2B5EF4-FFF2-40B4-BE49-F238E27FC236}">
                <a16:creationId xmlns:a16="http://schemas.microsoft.com/office/drawing/2014/main" id="{B0A42346-A2CB-B64B-0F05-EBBC4910A5AC}"/>
              </a:ext>
            </a:extLst>
          </p:cNvPr>
          <p:cNvSpPr/>
          <p:nvPr/>
        </p:nvSpPr>
        <p:spPr>
          <a:xfrm>
            <a:off x="11108985" y="4534935"/>
            <a:ext cx="176355" cy="229704"/>
          </a:xfrm>
          <a:custGeom>
            <a:avLst/>
            <a:gdLst>
              <a:gd name="csX0" fmla="*/ 104636 w 228422"/>
              <a:gd name="csY0" fmla="*/ 81707 h 270473"/>
              <a:gd name="csX1" fmla="*/ 159689 w 228422"/>
              <a:gd name="csY1" fmla="*/ 83584 h 270473"/>
              <a:gd name="csX2" fmla="*/ 178665 w 228422"/>
              <a:gd name="csY2" fmla="*/ 68119 h 270473"/>
              <a:gd name="csX3" fmla="*/ 186448 w 228422"/>
              <a:gd name="csY3" fmla="*/ 20996 h 270473"/>
              <a:gd name="csX4" fmla="*/ 188779 w 228422"/>
              <a:gd name="csY4" fmla="*/ 7950 h 270473"/>
              <a:gd name="csX5" fmla="*/ 228146 w 228422"/>
              <a:gd name="csY5" fmla="*/ 14593 h 270473"/>
              <a:gd name="csX6" fmla="*/ 228030 w 228422"/>
              <a:gd name="csY6" fmla="*/ 40316 h 270473"/>
              <a:gd name="csX7" fmla="*/ 210907 w 228422"/>
              <a:gd name="csY7" fmla="*/ 157740 h 270473"/>
              <a:gd name="csX8" fmla="*/ 160928 w 228422"/>
              <a:gd name="csY8" fmla="*/ 245220 h 270473"/>
              <a:gd name="csX9" fmla="*/ 144327 w 228422"/>
              <a:gd name="csY9" fmla="*/ 264825 h 270473"/>
              <a:gd name="csX10" fmla="*/ 135745 w 228422"/>
              <a:gd name="csY10" fmla="*/ 270212 h 270473"/>
              <a:gd name="csX11" fmla="*/ 28028 w 228422"/>
              <a:gd name="csY11" fmla="*/ 270451 h 270473"/>
              <a:gd name="csX12" fmla="*/ 24984 w 228422"/>
              <a:gd name="csY12" fmla="*/ 243363 h 270473"/>
              <a:gd name="csX13" fmla="*/ 13372 w 228422"/>
              <a:gd name="csY13" fmla="*/ 172017 h 270473"/>
              <a:gd name="csX14" fmla="*/ 172 w 228422"/>
              <a:gd name="csY14" fmla="*/ 41741 h 270473"/>
              <a:gd name="csX15" fmla="*/ 1991 w 228422"/>
              <a:gd name="csY15" fmla="*/ 9927 h 270473"/>
              <a:gd name="csX16" fmla="*/ 11535 w 228422"/>
              <a:gd name="csY16" fmla="*/ 11 h 270473"/>
              <a:gd name="csX17" fmla="*/ 60320 w 228422"/>
              <a:gd name="csY17" fmla="*/ 4 h 270473"/>
              <a:gd name="csX18" fmla="*/ 63319 w 228422"/>
              <a:gd name="csY18" fmla="*/ 34595 h 270473"/>
              <a:gd name="csX19" fmla="*/ 63995 w 228422"/>
              <a:gd name="csY19" fmla="*/ 65276 h 270473"/>
              <a:gd name="csX20" fmla="*/ 77770 w 228422"/>
              <a:gd name="csY20" fmla="*/ 80309 h 270473"/>
              <a:gd name="csX21" fmla="*/ 104636 w 228422"/>
              <a:gd name="csY21" fmla="*/ 81707 h 27047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</a:cxnLst>
            <a:rect l="l" t="t" r="r" b="b"/>
            <a:pathLst>
              <a:path w="228422" h="270473">
                <a:moveTo>
                  <a:pt x="104636" y="81707"/>
                </a:moveTo>
                <a:cubicBezTo>
                  <a:pt x="123750" y="82425"/>
                  <a:pt x="141717" y="83526"/>
                  <a:pt x="159689" y="83584"/>
                </a:cubicBezTo>
                <a:cubicBezTo>
                  <a:pt x="170998" y="83621"/>
                  <a:pt x="176351" y="79300"/>
                  <a:pt x="178665" y="68119"/>
                </a:cubicBezTo>
                <a:cubicBezTo>
                  <a:pt x="181890" y="52542"/>
                  <a:pt x="183892" y="36712"/>
                  <a:pt x="186448" y="20996"/>
                </a:cubicBezTo>
                <a:cubicBezTo>
                  <a:pt x="187087" y="17068"/>
                  <a:pt x="187844" y="13160"/>
                  <a:pt x="188779" y="7950"/>
                </a:cubicBezTo>
                <a:cubicBezTo>
                  <a:pt x="202480" y="10262"/>
                  <a:pt x="215113" y="12394"/>
                  <a:pt x="228146" y="14593"/>
                </a:cubicBezTo>
                <a:cubicBezTo>
                  <a:pt x="228146" y="24129"/>
                  <a:pt x="228839" y="32299"/>
                  <a:pt x="228030" y="40316"/>
                </a:cubicBezTo>
                <a:cubicBezTo>
                  <a:pt x="224051" y="79707"/>
                  <a:pt x="222678" y="119563"/>
                  <a:pt x="210907" y="157740"/>
                </a:cubicBezTo>
                <a:cubicBezTo>
                  <a:pt x="200806" y="190502"/>
                  <a:pt x="186090" y="220845"/>
                  <a:pt x="160928" y="245220"/>
                </a:cubicBezTo>
                <a:cubicBezTo>
                  <a:pt x="154810" y="251147"/>
                  <a:pt x="150112" y="258517"/>
                  <a:pt x="144327" y="264825"/>
                </a:cubicBezTo>
                <a:cubicBezTo>
                  <a:pt x="142086" y="267268"/>
                  <a:pt x="138659" y="270182"/>
                  <a:pt x="135745" y="270212"/>
                </a:cubicBezTo>
                <a:cubicBezTo>
                  <a:pt x="100181" y="270580"/>
                  <a:pt x="64612" y="270451"/>
                  <a:pt x="28028" y="270451"/>
                </a:cubicBezTo>
                <a:cubicBezTo>
                  <a:pt x="26976" y="260883"/>
                  <a:pt x="26343" y="252066"/>
                  <a:pt x="24984" y="243363"/>
                </a:cubicBezTo>
                <a:cubicBezTo>
                  <a:pt x="21268" y="219557"/>
                  <a:pt x="17119" y="195818"/>
                  <a:pt x="13372" y="172017"/>
                </a:cubicBezTo>
                <a:cubicBezTo>
                  <a:pt x="6574" y="128838"/>
                  <a:pt x="-1265" y="85746"/>
                  <a:pt x="172" y="41741"/>
                </a:cubicBezTo>
                <a:cubicBezTo>
                  <a:pt x="518" y="31127"/>
                  <a:pt x="1719" y="20540"/>
                  <a:pt x="1991" y="9927"/>
                </a:cubicBezTo>
                <a:cubicBezTo>
                  <a:pt x="2163" y="3278"/>
                  <a:pt x="4961" y="19"/>
                  <a:pt x="11535" y="11"/>
                </a:cubicBezTo>
                <a:cubicBezTo>
                  <a:pt x="27370" y="-9"/>
                  <a:pt x="43205" y="4"/>
                  <a:pt x="60320" y="4"/>
                </a:cubicBezTo>
                <a:cubicBezTo>
                  <a:pt x="61401" y="12123"/>
                  <a:pt x="62689" y="23341"/>
                  <a:pt x="63319" y="34595"/>
                </a:cubicBezTo>
                <a:cubicBezTo>
                  <a:pt x="63890" y="44802"/>
                  <a:pt x="63444" y="55066"/>
                  <a:pt x="63995" y="65276"/>
                </a:cubicBezTo>
                <a:cubicBezTo>
                  <a:pt x="64588" y="76246"/>
                  <a:pt x="67011" y="79017"/>
                  <a:pt x="77770" y="80309"/>
                </a:cubicBezTo>
                <a:cubicBezTo>
                  <a:pt x="86275" y="81330"/>
                  <a:pt x="94914" y="81244"/>
                  <a:pt x="104636" y="81707"/>
                </a:cubicBezTo>
                <a:close/>
              </a:path>
            </a:pathLst>
          </a:custGeom>
          <a:solidFill>
            <a:srgbClr val="FDFDFD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82" name="Free-form: Shape 381">
            <a:extLst>
              <a:ext uri="{FF2B5EF4-FFF2-40B4-BE49-F238E27FC236}">
                <a16:creationId xmlns:a16="http://schemas.microsoft.com/office/drawing/2014/main" id="{8E175DF6-C101-B7BD-C94B-A884224FA7E4}"/>
              </a:ext>
            </a:extLst>
          </p:cNvPr>
          <p:cNvSpPr/>
          <p:nvPr/>
        </p:nvSpPr>
        <p:spPr>
          <a:xfrm>
            <a:off x="11119260" y="5681448"/>
            <a:ext cx="268594" cy="68395"/>
          </a:xfrm>
          <a:custGeom>
            <a:avLst/>
            <a:gdLst>
              <a:gd name="csX0" fmla="*/ 135775 w 347893"/>
              <a:gd name="csY0" fmla="*/ 18580 h 80534"/>
              <a:gd name="csX1" fmla="*/ 239717 w 347893"/>
              <a:gd name="csY1" fmla="*/ 11288 h 80534"/>
              <a:gd name="csX2" fmla="*/ 318645 w 347893"/>
              <a:gd name="csY2" fmla="*/ 442 h 80534"/>
              <a:gd name="csX3" fmla="*/ 341767 w 347893"/>
              <a:gd name="csY3" fmla="*/ 13145 h 80534"/>
              <a:gd name="csX4" fmla="*/ 347232 w 347893"/>
              <a:gd name="csY4" fmla="*/ 54621 h 80534"/>
              <a:gd name="csX5" fmla="*/ 0 w 347893"/>
              <a:gd name="csY5" fmla="*/ 75820 h 80534"/>
              <a:gd name="csX6" fmla="*/ 0 w 347893"/>
              <a:gd name="csY6" fmla="*/ 19396 h 80534"/>
              <a:gd name="csX7" fmla="*/ 135775 w 347893"/>
              <a:gd name="csY7" fmla="*/ 18580 h 8053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</a:cxnLst>
            <a:rect l="l" t="t" r="r" b="b"/>
            <a:pathLst>
              <a:path w="347893" h="80534">
                <a:moveTo>
                  <a:pt x="135775" y="18580"/>
                </a:moveTo>
                <a:cubicBezTo>
                  <a:pt x="171209" y="16211"/>
                  <a:pt x="205541" y="14564"/>
                  <a:pt x="239717" y="11288"/>
                </a:cubicBezTo>
                <a:cubicBezTo>
                  <a:pt x="266132" y="8756"/>
                  <a:pt x="292375" y="4350"/>
                  <a:pt x="318645" y="442"/>
                </a:cubicBezTo>
                <a:cubicBezTo>
                  <a:pt x="330480" y="-1319"/>
                  <a:pt x="337947" y="2033"/>
                  <a:pt x="341767" y="13145"/>
                </a:cubicBezTo>
                <a:cubicBezTo>
                  <a:pt x="346279" y="26268"/>
                  <a:pt x="349293" y="39746"/>
                  <a:pt x="347232" y="54621"/>
                </a:cubicBezTo>
                <a:cubicBezTo>
                  <a:pt x="232188" y="77697"/>
                  <a:pt x="116756" y="86979"/>
                  <a:pt x="0" y="75820"/>
                </a:cubicBezTo>
                <a:cubicBezTo>
                  <a:pt x="0" y="56279"/>
                  <a:pt x="0" y="38485"/>
                  <a:pt x="0" y="19396"/>
                </a:cubicBezTo>
                <a:cubicBezTo>
                  <a:pt x="45633" y="19126"/>
                  <a:pt x="90119" y="18862"/>
                  <a:pt x="135775" y="18580"/>
                </a:cubicBezTo>
                <a:close/>
              </a:path>
            </a:pathLst>
          </a:custGeom>
          <a:solidFill>
            <a:srgbClr val="FCFDFD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83" name="Free-form: Shape 382">
            <a:extLst>
              <a:ext uri="{FF2B5EF4-FFF2-40B4-BE49-F238E27FC236}">
                <a16:creationId xmlns:a16="http://schemas.microsoft.com/office/drawing/2014/main" id="{38E6E21D-1380-82BC-9D64-EDF3D208B396}"/>
              </a:ext>
            </a:extLst>
          </p:cNvPr>
          <p:cNvSpPr/>
          <p:nvPr/>
        </p:nvSpPr>
        <p:spPr>
          <a:xfrm>
            <a:off x="11129883" y="4793685"/>
            <a:ext cx="122568" cy="31169"/>
          </a:xfrm>
          <a:custGeom>
            <a:avLst/>
            <a:gdLst>
              <a:gd name="csX0" fmla="*/ 68505 w 158754"/>
              <a:gd name="csY0" fmla="*/ 36702 h 36701"/>
              <a:gd name="csX1" fmla="*/ 1920 w 158754"/>
              <a:gd name="csY1" fmla="*/ 36699 h 36701"/>
              <a:gd name="csX2" fmla="*/ 0 w 158754"/>
              <a:gd name="csY2" fmla="*/ 1592 h 36701"/>
              <a:gd name="csX3" fmla="*/ 11189 w 158754"/>
              <a:gd name="csY3" fmla="*/ 718 h 36701"/>
              <a:gd name="csX4" fmla="*/ 110708 w 158754"/>
              <a:gd name="csY4" fmla="*/ 3 h 36701"/>
              <a:gd name="csX5" fmla="*/ 127993 w 158754"/>
              <a:gd name="csY5" fmla="*/ 4910 h 36701"/>
              <a:gd name="csX6" fmla="*/ 146608 w 158754"/>
              <a:gd name="csY6" fmla="*/ 16808 h 36701"/>
              <a:gd name="csX7" fmla="*/ 158755 w 158754"/>
              <a:gd name="csY7" fmla="*/ 34647 h 36701"/>
              <a:gd name="csX8" fmla="*/ 145911 w 158754"/>
              <a:gd name="csY8" fmla="*/ 36459 h 36701"/>
              <a:gd name="csX9" fmla="*/ 68505 w 158754"/>
              <a:gd name="csY9" fmla="*/ 36702 h 3670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158754" h="36701">
                <a:moveTo>
                  <a:pt x="68505" y="36702"/>
                </a:moveTo>
                <a:cubicBezTo>
                  <a:pt x="45664" y="36699"/>
                  <a:pt x="24052" y="36699"/>
                  <a:pt x="1920" y="36699"/>
                </a:cubicBezTo>
                <a:cubicBezTo>
                  <a:pt x="-935" y="24569"/>
                  <a:pt x="572" y="13631"/>
                  <a:pt x="0" y="1592"/>
                </a:cubicBezTo>
                <a:cubicBezTo>
                  <a:pt x="4169" y="1253"/>
                  <a:pt x="7677" y="744"/>
                  <a:pt x="11189" y="718"/>
                </a:cubicBezTo>
                <a:cubicBezTo>
                  <a:pt x="44362" y="468"/>
                  <a:pt x="77538" y="423"/>
                  <a:pt x="110708" y="3"/>
                </a:cubicBezTo>
                <a:cubicBezTo>
                  <a:pt x="117152" y="-78"/>
                  <a:pt x="122702" y="1282"/>
                  <a:pt x="127993" y="4910"/>
                </a:cubicBezTo>
                <a:cubicBezTo>
                  <a:pt x="134065" y="9072"/>
                  <a:pt x="140615" y="12545"/>
                  <a:pt x="146608" y="16808"/>
                </a:cubicBezTo>
                <a:cubicBezTo>
                  <a:pt x="152239" y="20814"/>
                  <a:pt x="157699" y="25259"/>
                  <a:pt x="158755" y="34647"/>
                </a:cubicBezTo>
                <a:cubicBezTo>
                  <a:pt x="154257" y="35310"/>
                  <a:pt x="150089" y="36424"/>
                  <a:pt x="145911" y="36459"/>
                </a:cubicBezTo>
                <a:cubicBezTo>
                  <a:pt x="120520" y="36677"/>
                  <a:pt x="95126" y="36650"/>
                  <a:pt x="68505" y="36702"/>
                </a:cubicBezTo>
                <a:close/>
              </a:path>
            </a:pathLst>
          </a:custGeom>
          <a:solidFill>
            <a:srgbClr val="FBFCFB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84" name="Free-form: Shape 383">
            <a:extLst>
              <a:ext uri="{FF2B5EF4-FFF2-40B4-BE49-F238E27FC236}">
                <a16:creationId xmlns:a16="http://schemas.microsoft.com/office/drawing/2014/main" id="{F29D4C55-DF23-F28E-5D7E-336E2603498C}"/>
              </a:ext>
            </a:extLst>
          </p:cNvPr>
          <p:cNvSpPr/>
          <p:nvPr/>
        </p:nvSpPr>
        <p:spPr>
          <a:xfrm>
            <a:off x="3707163" y="4521102"/>
            <a:ext cx="634942" cy="1266262"/>
          </a:xfrm>
          <a:custGeom>
            <a:avLst/>
            <a:gdLst>
              <a:gd name="csX0" fmla="*/ 703087 w 763849"/>
              <a:gd name="csY0" fmla="*/ 1241174 h 1523340"/>
              <a:gd name="csX1" fmla="*/ 732932 w 763849"/>
              <a:gd name="csY1" fmla="*/ 1359634 h 1523340"/>
              <a:gd name="csX2" fmla="*/ 735544 w 763849"/>
              <a:gd name="csY2" fmla="*/ 1377287 h 1523340"/>
              <a:gd name="csX3" fmla="*/ 756764 w 763849"/>
              <a:gd name="csY3" fmla="*/ 1458577 h 1523340"/>
              <a:gd name="csX4" fmla="*/ 757108 w 763849"/>
              <a:gd name="csY4" fmla="*/ 1465940 h 1523340"/>
              <a:gd name="csX5" fmla="*/ 744215 w 763849"/>
              <a:gd name="csY5" fmla="*/ 1488332 h 1523340"/>
              <a:gd name="csX6" fmla="*/ 712781 w 763849"/>
              <a:gd name="csY6" fmla="*/ 1498472 h 1523340"/>
              <a:gd name="csX7" fmla="*/ 625540 w 763849"/>
              <a:gd name="csY7" fmla="*/ 1511981 h 1523340"/>
              <a:gd name="csX8" fmla="*/ 488540 w 763849"/>
              <a:gd name="csY8" fmla="*/ 1522029 h 1523340"/>
              <a:gd name="csX9" fmla="*/ 306789 w 763849"/>
              <a:gd name="csY9" fmla="*/ 1523231 h 1523340"/>
              <a:gd name="csX10" fmla="*/ 200103 w 763849"/>
              <a:gd name="csY10" fmla="*/ 1518579 h 1523340"/>
              <a:gd name="csX11" fmla="*/ 31607 w 763849"/>
              <a:gd name="csY11" fmla="*/ 1493880 h 1523340"/>
              <a:gd name="csX12" fmla="*/ 5860 w 763849"/>
              <a:gd name="csY12" fmla="*/ 1482933 h 1523340"/>
              <a:gd name="csX13" fmla="*/ 32 w 763849"/>
              <a:gd name="csY13" fmla="*/ 1471774 h 1523340"/>
              <a:gd name="csX14" fmla="*/ 21295 w 763849"/>
              <a:gd name="csY14" fmla="*/ 1378237 h 1523340"/>
              <a:gd name="csX15" fmla="*/ 23169 w 763849"/>
              <a:gd name="csY15" fmla="*/ 1364271 h 1523340"/>
              <a:gd name="csX16" fmla="*/ 23871 w 763849"/>
              <a:gd name="csY16" fmla="*/ 1303132 h 1523340"/>
              <a:gd name="csX17" fmla="*/ 59740 w 763849"/>
              <a:gd name="csY17" fmla="*/ 1234649 h 1523340"/>
              <a:gd name="csX18" fmla="*/ 98899 w 763849"/>
              <a:gd name="csY18" fmla="*/ 1195619 h 1523340"/>
              <a:gd name="csX19" fmla="*/ 131493 w 763849"/>
              <a:gd name="csY19" fmla="*/ 1127593 h 1523340"/>
              <a:gd name="csX20" fmla="*/ 108213 w 763849"/>
              <a:gd name="csY20" fmla="*/ 1058723 h 1523340"/>
              <a:gd name="csX21" fmla="*/ 74370 w 763849"/>
              <a:gd name="csY21" fmla="*/ 1024929 h 1523340"/>
              <a:gd name="csX22" fmla="*/ 68137 w 763849"/>
              <a:gd name="csY22" fmla="*/ 987550 h 1523340"/>
              <a:gd name="csX23" fmla="*/ 86420 w 763849"/>
              <a:gd name="csY23" fmla="*/ 941991 h 1523340"/>
              <a:gd name="csX24" fmla="*/ 97082 w 763849"/>
              <a:gd name="csY24" fmla="*/ 828037 h 1523340"/>
              <a:gd name="csX25" fmla="*/ 61782 w 763849"/>
              <a:gd name="csY25" fmla="*/ 696973 h 1523340"/>
              <a:gd name="csX26" fmla="*/ 26901 w 763849"/>
              <a:gd name="csY26" fmla="*/ 547868 h 1523340"/>
              <a:gd name="csX27" fmla="*/ 20221 w 763849"/>
              <a:gd name="csY27" fmla="*/ 479529 h 1523340"/>
              <a:gd name="csX28" fmla="*/ 40808 w 763849"/>
              <a:gd name="csY28" fmla="*/ 334388 h 1523340"/>
              <a:gd name="csX29" fmla="*/ 65171 w 763849"/>
              <a:gd name="csY29" fmla="*/ 263707 h 1523340"/>
              <a:gd name="csX30" fmla="*/ 142827 w 763849"/>
              <a:gd name="csY30" fmla="*/ 171003 h 1523340"/>
              <a:gd name="csX31" fmla="*/ 172290 w 763849"/>
              <a:gd name="csY31" fmla="*/ 155872 h 1523340"/>
              <a:gd name="csX32" fmla="*/ 189008 w 763849"/>
              <a:gd name="csY32" fmla="*/ 148158 h 1523340"/>
              <a:gd name="csX33" fmla="*/ 212828 w 763849"/>
              <a:gd name="csY33" fmla="*/ 126123 h 1523340"/>
              <a:gd name="csX34" fmla="*/ 217217 w 763849"/>
              <a:gd name="csY34" fmla="*/ 118740 h 1523340"/>
              <a:gd name="csX35" fmla="*/ 253000 w 763849"/>
              <a:gd name="csY35" fmla="*/ 88998 h 1523340"/>
              <a:gd name="csX36" fmla="*/ 322085 w 763849"/>
              <a:gd name="csY36" fmla="*/ 72193 h 1523340"/>
              <a:gd name="csX37" fmla="*/ 330478 w 763849"/>
              <a:gd name="csY37" fmla="*/ 70387 h 1523340"/>
              <a:gd name="csX38" fmla="*/ 388016 w 763849"/>
              <a:gd name="csY38" fmla="*/ 35457 h 1523340"/>
              <a:gd name="csX39" fmla="*/ 421527 w 763849"/>
              <a:gd name="csY39" fmla="*/ 0 h 1523340"/>
              <a:gd name="csX40" fmla="*/ 424538 w 763849"/>
              <a:gd name="csY40" fmla="*/ 10833 h 1523340"/>
              <a:gd name="csX41" fmla="*/ 436339 w 763849"/>
              <a:gd name="csY41" fmla="*/ 121836 h 1523340"/>
              <a:gd name="csX42" fmla="*/ 449983 w 763849"/>
              <a:gd name="csY42" fmla="*/ 141450 h 1523340"/>
              <a:gd name="csX43" fmla="*/ 503299 w 763849"/>
              <a:gd name="csY43" fmla="*/ 169290 h 1523340"/>
              <a:gd name="csX44" fmla="*/ 551461 w 763849"/>
              <a:gd name="csY44" fmla="*/ 203111 h 1523340"/>
              <a:gd name="csX45" fmla="*/ 588803 w 763849"/>
              <a:gd name="csY45" fmla="*/ 252797 h 1523340"/>
              <a:gd name="csX46" fmla="*/ 634209 w 763849"/>
              <a:gd name="csY46" fmla="*/ 327081 h 1523340"/>
              <a:gd name="csX47" fmla="*/ 697923 w 763849"/>
              <a:gd name="csY47" fmla="*/ 384157 h 1523340"/>
              <a:gd name="csX48" fmla="*/ 729658 w 763849"/>
              <a:gd name="csY48" fmla="*/ 407288 h 1523340"/>
              <a:gd name="csX49" fmla="*/ 763354 w 763849"/>
              <a:gd name="csY49" fmla="*/ 471325 h 1523340"/>
              <a:gd name="csX50" fmla="*/ 757092 w 763849"/>
              <a:gd name="csY50" fmla="*/ 527116 h 1523340"/>
              <a:gd name="csX51" fmla="*/ 720673 w 763849"/>
              <a:gd name="csY51" fmla="*/ 570023 h 1523340"/>
              <a:gd name="csX52" fmla="*/ 704918 w 763849"/>
              <a:gd name="csY52" fmla="*/ 581294 h 1523340"/>
              <a:gd name="csX53" fmla="*/ 671960 w 763849"/>
              <a:gd name="csY53" fmla="*/ 595325 h 1523340"/>
              <a:gd name="csX54" fmla="*/ 633021 w 763849"/>
              <a:gd name="csY54" fmla="*/ 591397 h 1523340"/>
              <a:gd name="csX55" fmla="*/ 580696 w 763849"/>
              <a:gd name="csY55" fmla="*/ 556742 h 1523340"/>
              <a:gd name="csX56" fmla="*/ 545415 w 763849"/>
              <a:gd name="csY56" fmla="*/ 524617 h 1523340"/>
              <a:gd name="csX57" fmla="*/ 518889 w 763849"/>
              <a:gd name="csY57" fmla="*/ 516179 h 1523340"/>
              <a:gd name="csX58" fmla="*/ 472309 w 763849"/>
              <a:gd name="csY58" fmla="*/ 517812 h 1523340"/>
              <a:gd name="csX59" fmla="*/ 415953 w 763849"/>
              <a:gd name="csY59" fmla="*/ 517245 h 1523340"/>
              <a:gd name="csX60" fmla="*/ 403392 w 763849"/>
              <a:gd name="csY60" fmla="*/ 516539 h 1523340"/>
              <a:gd name="csX61" fmla="*/ 407957 w 763849"/>
              <a:gd name="csY61" fmla="*/ 542045 h 1523340"/>
              <a:gd name="csX62" fmla="*/ 434134 w 763849"/>
              <a:gd name="csY62" fmla="*/ 583349 h 1523340"/>
              <a:gd name="csX63" fmla="*/ 524267 w 763849"/>
              <a:gd name="csY63" fmla="*/ 683922 h 1523340"/>
              <a:gd name="csX64" fmla="*/ 614317 w 763849"/>
              <a:gd name="csY64" fmla="*/ 786085 h 1523340"/>
              <a:gd name="csX65" fmla="*/ 669590 w 763849"/>
              <a:gd name="csY65" fmla="*/ 921089 h 1523340"/>
              <a:gd name="csX66" fmla="*/ 647360 w 763849"/>
              <a:gd name="csY66" fmla="*/ 1057245 h 1523340"/>
              <a:gd name="csX67" fmla="*/ 627872 w 763849"/>
              <a:gd name="csY67" fmla="*/ 1102111 h 1523340"/>
              <a:gd name="csX68" fmla="*/ 642300 w 763849"/>
              <a:gd name="csY68" fmla="*/ 1175941 h 1523340"/>
              <a:gd name="csX69" fmla="*/ 668829 w 763849"/>
              <a:gd name="csY69" fmla="*/ 1206449 h 1523340"/>
              <a:gd name="csX70" fmla="*/ 703087 w 763849"/>
              <a:gd name="csY70" fmla="*/ 1241174 h 1523340"/>
              <a:gd name="csX71" fmla="*/ 648750 w 763849"/>
              <a:gd name="csY71" fmla="*/ 562343 h 1523340"/>
              <a:gd name="csX72" fmla="*/ 674049 w 763849"/>
              <a:gd name="csY72" fmla="*/ 562834 h 1523340"/>
              <a:gd name="csX73" fmla="*/ 660781 w 763849"/>
              <a:gd name="csY73" fmla="*/ 550178 h 1523340"/>
              <a:gd name="csX74" fmla="*/ 650911 w 763849"/>
              <a:gd name="csY74" fmla="*/ 534051 h 1523340"/>
              <a:gd name="csX75" fmla="*/ 660724 w 763849"/>
              <a:gd name="csY75" fmla="*/ 537605 h 1523340"/>
              <a:gd name="csX76" fmla="*/ 688133 w 763849"/>
              <a:gd name="csY76" fmla="*/ 543363 h 1523340"/>
              <a:gd name="csX77" fmla="*/ 731514 w 763849"/>
              <a:gd name="csY77" fmla="*/ 510767 h 1523340"/>
              <a:gd name="csX78" fmla="*/ 733611 w 763849"/>
              <a:gd name="csY78" fmla="*/ 466905 h 1523340"/>
              <a:gd name="csX79" fmla="*/ 708076 w 763849"/>
              <a:gd name="csY79" fmla="*/ 425975 h 1523340"/>
              <a:gd name="csX80" fmla="*/ 667538 w 763849"/>
              <a:gd name="csY80" fmla="*/ 398254 h 1523340"/>
              <a:gd name="csX81" fmla="*/ 601016 w 763849"/>
              <a:gd name="csY81" fmla="*/ 332127 h 1523340"/>
              <a:gd name="csX82" fmla="*/ 565354 w 763849"/>
              <a:gd name="csY82" fmla="*/ 270526 h 1523340"/>
              <a:gd name="csX83" fmla="*/ 490657 w 763849"/>
              <a:gd name="csY83" fmla="*/ 195121 h 1523340"/>
              <a:gd name="csX84" fmla="*/ 432834 w 763849"/>
              <a:gd name="csY84" fmla="*/ 165243 h 1523340"/>
              <a:gd name="csX85" fmla="*/ 407594 w 763849"/>
              <a:gd name="csY85" fmla="*/ 127852 h 1523340"/>
              <a:gd name="csX86" fmla="*/ 405020 w 763849"/>
              <a:gd name="csY86" fmla="*/ 69029 h 1523340"/>
              <a:gd name="csX87" fmla="*/ 403638 w 763849"/>
              <a:gd name="csY87" fmla="*/ 58130 h 1523340"/>
              <a:gd name="csX88" fmla="*/ 349776 w 763849"/>
              <a:gd name="csY88" fmla="*/ 133259 h 1523340"/>
              <a:gd name="csX89" fmla="*/ 326975 w 763849"/>
              <a:gd name="csY89" fmla="*/ 159669 h 1523340"/>
              <a:gd name="csX90" fmla="*/ 240374 w 763849"/>
              <a:gd name="csY90" fmla="*/ 221714 h 1523340"/>
              <a:gd name="csX91" fmla="*/ 171637 w 763849"/>
              <a:gd name="csY91" fmla="*/ 309087 h 1523340"/>
              <a:gd name="csX92" fmla="*/ 138048 w 763849"/>
              <a:gd name="csY92" fmla="*/ 516954 h 1523340"/>
              <a:gd name="csX93" fmla="*/ 163889 w 763849"/>
              <a:gd name="csY93" fmla="*/ 641780 h 1523340"/>
              <a:gd name="csX94" fmla="*/ 204800 w 763849"/>
              <a:gd name="csY94" fmla="*/ 787055 h 1523340"/>
              <a:gd name="csX95" fmla="*/ 218549 w 763849"/>
              <a:gd name="csY95" fmla="*/ 949545 h 1523340"/>
              <a:gd name="csX96" fmla="*/ 191487 w 763849"/>
              <a:gd name="csY96" fmla="*/ 1033064 h 1523340"/>
              <a:gd name="csX97" fmla="*/ 188729 w 763849"/>
              <a:gd name="csY97" fmla="*/ 1039835 h 1523340"/>
              <a:gd name="csX98" fmla="*/ 221417 w 763849"/>
              <a:gd name="csY98" fmla="*/ 1040799 h 1523340"/>
              <a:gd name="csX99" fmla="*/ 348895 w 763849"/>
              <a:gd name="csY99" fmla="*/ 1046759 h 1523340"/>
              <a:gd name="csX100" fmla="*/ 545369 w 763849"/>
              <a:gd name="csY100" fmla="*/ 1044456 h 1523340"/>
              <a:gd name="csX101" fmla="*/ 612424 w 763849"/>
              <a:gd name="csY101" fmla="*/ 1037365 h 1523340"/>
              <a:gd name="csX102" fmla="*/ 623169 w 763849"/>
              <a:gd name="csY102" fmla="*/ 1028873 h 1523340"/>
              <a:gd name="csX103" fmla="*/ 638508 w 763849"/>
              <a:gd name="csY103" fmla="*/ 959599 h 1523340"/>
              <a:gd name="csX104" fmla="*/ 609213 w 763849"/>
              <a:gd name="csY104" fmla="*/ 842075 h 1523340"/>
              <a:gd name="csX105" fmla="*/ 529367 w 763849"/>
              <a:gd name="csY105" fmla="*/ 735065 h 1523340"/>
              <a:gd name="csX106" fmla="*/ 403792 w 763849"/>
              <a:gd name="csY106" fmla="*/ 596993 h 1523340"/>
              <a:gd name="csX107" fmla="*/ 344708 w 763849"/>
              <a:gd name="csY107" fmla="*/ 511366 h 1523340"/>
              <a:gd name="csX108" fmla="*/ 324464 w 763849"/>
              <a:gd name="csY108" fmla="*/ 380084 h 1523340"/>
              <a:gd name="csX109" fmla="*/ 327688 w 763849"/>
              <a:gd name="csY109" fmla="*/ 373535 h 1523340"/>
              <a:gd name="csX110" fmla="*/ 330334 w 763849"/>
              <a:gd name="csY110" fmla="*/ 373641 h 1523340"/>
              <a:gd name="csX111" fmla="*/ 334272 w 763849"/>
              <a:gd name="csY111" fmla="*/ 384645 h 1523340"/>
              <a:gd name="csX112" fmla="*/ 365260 w 763849"/>
              <a:gd name="csY112" fmla="*/ 453955 h 1523340"/>
              <a:gd name="csX113" fmla="*/ 408246 w 763849"/>
              <a:gd name="csY113" fmla="*/ 483592 h 1523340"/>
              <a:gd name="csX114" fmla="*/ 464529 w 763849"/>
              <a:gd name="csY114" fmla="*/ 486187 h 1523340"/>
              <a:gd name="csX115" fmla="*/ 511119 w 763849"/>
              <a:gd name="csY115" fmla="*/ 484308 h 1523340"/>
              <a:gd name="csX116" fmla="*/ 567913 w 763849"/>
              <a:gd name="csY116" fmla="*/ 503736 h 1523340"/>
              <a:gd name="csX117" fmla="*/ 607611 w 763849"/>
              <a:gd name="csY117" fmla="*/ 540326 h 1523340"/>
              <a:gd name="csX118" fmla="*/ 648750 w 763849"/>
              <a:gd name="csY118" fmla="*/ 562343 h 1523340"/>
              <a:gd name="csX119" fmla="*/ 462594 w 763849"/>
              <a:gd name="csY119" fmla="*/ 1369008 h 1523340"/>
              <a:gd name="csX120" fmla="*/ 510357 w 763849"/>
              <a:gd name="csY120" fmla="*/ 1366345 h 1523340"/>
              <a:gd name="csX121" fmla="*/ 549434 w 763849"/>
              <a:gd name="csY121" fmla="*/ 1362956 h 1523340"/>
              <a:gd name="csX122" fmla="*/ 632369 w 763849"/>
              <a:gd name="csY122" fmla="*/ 1354439 h 1523340"/>
              <a:gd name="csX123" fmla="*/ 697252 w 763849"/>
              <a:gd name="csY123" fmla="*/ 1346424 h 1523340"/>
              <a:gd name="csX124" fmla="*/ 676674 w 763849"/>
              <a:gd name="csY124" fmla="*/ 1266396 h 1523340"/>
              <a:gd name="csX125" fmla="*/ 646594 w 763849"/>
              <a:gd name="csY125" fmla="*/ 1234108 h 1523340"/>
              <a:gd name="csX126" fmla="*/ 612063 w 763849"/>
              <a:gd name="csY126" fmla="*/ 1194382 h 1523340"/>
              <a:gd name="csX127" fmla="*/ 591616 w 763849"/>
              <a:gd name="csY127" fmla="*/ 1111541 h 1523340"/>
              <a:gd name="csX128" fmla="*/ 594320 w 763849"/>
              <a:gd name="csY128" fmla="*/ 1089609 h 1523340"/>
              <a:gd name="csX129" fmla="*/ 578634 w 763849"/>
              <a:gd name="csY129" fmla="*/ 1089642 h 1523340"/>
              <a:gd name="csX130" fmla="*/ 443931 w 763849"/>
              <a:gd name="csY130" fmla="*/ 1096700 h 1523340"/>
              <a:gd name="csX131" fmla="*/ 403417 w 763849"/>
              <a:gd name="csY131" fmla="*/ 1097156 h 1523340"/>
              <a:gd name="csX132" fmla="*/ 388348 w 763849"/>
              <a:gd name="csY132" fmla="*/ 1111502 h 1523340"/>
              <a:gd name="csX133" fmla="*/ 385048 w 763849"/>
              <a:gd name="csY133" fmla="*/ 1176431 h 1523340"/>
              <a:gd name="csX134" fmla="*/ 377687 w 763849"/>
              <a:gd name="csY134" fmla="*/ 1308672 h 1523340"/>
              <a:gd name="csX135" fmla="*/ 376823 w 763849"/>
              <a:gd name="csY135" fmla="*/ 1320897 h 1523340"/>
              <a:gd name="csX136" fmla="*/ 376781 w 763849"/>
              <a:gd name="csY136" fmla="*/ 1366151 h 1523340"/>
              <a:gd name="csX137" fmla="*/ 462594 w 763849"/>
              <a:gd name="csY137" fmla="*/ 1369008 h 1523340"/>
              <a:gd name="csX138" fmla="*/ 648494 w 763849"/>
              <a:gd name="csY138" fmla="*/ 1463981 h 1523340"/>
              <a:gd name="csX139" fmla="*/ 718746 w 763849"/>
              <a:gd name="csY139" fmla="*/ 1451892 h 1523340"/>
              <a:gd name="csX140" fmla="*/ 711827 w 763849"/>
              <a:gd name="csY140" fmla="*/ 1416835 h 1523340"/>
              <a:gd name="csX141" fmla="*/ 685812 w 763849"/>
              <a:gd name="csY141" fmla="*/ 1398502 h 1523340"/>
              <a:gd name="csX142" fmla="*/ 680924 w 763849"/>
              <a:gd name="csY142" fmla="*/ 1398973 h 1523340"/>
              <a:gd name="csX143" fmla="*/ 598278 w 763849"/>
              <a:gd name="csY143" fmla="*/ 1409218 h 1523340"/>
              <a:gd name="csX144" fmla="*/ 474765 w 763849"/>
              <a:gd name="csY144" fmla="*/ 1417945 h 1523340"/>
              <a:gd name="csX145" fmla="*/ 385143 w 763849"/>
              <a:gd name="csY145" fmla="*/ 1418978 h 1523340"/>
              <a:gd name="csX146" fmla="*/ 376639 w 763849"/>
              <a:gd name="csY146" fmla="*/ 1419613 h 1523340"/>
              <a:gd name="csX147" fmla="*/ 376639 w 763849"/>
              <a:gd name="csY147" fmla="*/ 1473939 h 1523340"/>
              <a:gd name="csX148" fmla="*/ 382089 w 763849"/>
              <a:gd name="csY148" fmla="*/ 1474854 h 1523340"/>
              <a:gd name="csX149" fmla="*/ 449536 w 763849"/>
              <a:gd name="csY149" fmla="*/ 1476855 h 1523340"/>
              <a:gd name="csX150" fmla="*/ 559930 w 763849"/>
              <a:gd name="csY150" fmla="*/ 1474307 h 1523340"/>
              <a:gd name="csX151" fmla="*/ 648494 w 763849"/>
              <a:gd name="csY151" fmla="*/ 1463981 h 152334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</a:cxnLst>
            <a:rect l="l" t="t" r="r" b="b"/>
            <a:pathLst>
              <a:path w="763849" h="1523340">
                <a:moveTo>
                  <a:pt x="703087" y="1241174"/>
                </a:moveTo>
                <a:cubicBezTo>
                  <a:pt x="732418" y="1276379"/>
                  <a:pt x="738825" y="1316526"/>
                  <a:pt x="732932" y="1359634"/>
                </a:cubicBezTo>
                <a:cubicBezTo>
                  <a:pt x="732067" y="1365959"/>
                  <a:pt x="732453" y="1371428"/>
                  <a:pt x="735544" y="1377287"/>
                </a:cubicBezTo>
                <a:cubicBezTo>
                  <a:pt x="748937" y="1402675"/>
                  <a:pt x="755318" y="1430010"/>
                  <a:pt x="756764" y="1458577"/>
                </a:cubicBezTo>
                <a:cubicBezTo>
                  <a:pt x="756887" y="1461031"/>
                  <a:pt x="756895" y="1463494"/>
                  <a:pt x="757108" y="1465940"/>
                </a:cubicBezTo>
                <a:cubicBezTo>
                  <a:pt x="758375" y="1480486"/>
                  <a:pt x="757802" y="1482498"/>
                  <a:pt x="744215" y="1488332"/>
                </a:cubicBezTo>
                <a:cubicBezTo>
                  <a:pt x="734126" y="1492664"/>
                  <a:pt x="723536" y="1496562"/>
                  <a:pt x="712781" y="1498472"/>
                </a:cubicBezTo>
                <a:cubicBezTo>
                  <a:pt x="683814" y="1503617"/>
                  <a:pt x="654674" y="1507832"/>
                  <a:pt x="625540" y="1511981"/>
                </a:cubicBezTo>
                <a:cubicBezTo>
                  <a:pt x="580114" y="1518449"/>
                  <a:pt x="534395" y="1521481"/>
                  <a:pt x="488540" y="1522029"/>
                </a:cubicBezTo>
                <a:cubicBezTo>
                  <a:pt x="427958" y="1522752"/>
                  <a:pt x="367367" y="1523658"/>
                  <a:pt x="306789" y="1523231"/>
                </a:cubicBezTo>
                <a:cubicBezTo>
                  <a:pt x="271215" y="1522980"/>
                  <a:pt x="235625" y="1520833"/>
                  <a:pt x="200103" y="1518579"/>
                </a:cubicBezTo>
                <a:cubicBezTo>
                  <a:pt x="143289" y="1514974"/>
                  <a:pt x="86915" y="1507766"/>
                  <a:pt x="31607" y="1493880"/>
                </a:cubicBezTo>
                <a:cubicBezTo>
                  <a:pt x="22666" y="1491635"/>
                  <a:pt x="14297" y="1486920"/>
                  <a:pt x="5860" y="1482933"/>
                </a:cubicBezTo>
                <a:cubicBezTo>
                  <a:pt x="1433" y="1480841"/>
                  <a:pt x="-262" y="1476934"/>
                  <a:pt x="32" y="1471774"/>
                </a:cubicBezTo>
                <a:cubicBezTo>
                  <a:pt x="1880" y="1439401"/>
                  <a:pt x="3993" y="1407192"/>
                  <a:pt x="21295" y="1378237"/>
                </a:cubicBezTo>
                <a:cubicBezTo>
                  <a:pt x="23526" y="1374504"/>
                  <a:pt x="23666" y="1368858"/>
                  <a:pt x="23169" y="1364271"/>
                </a:cubicBezTo>
                <a:cubicBezTo>
                  <a:pt x="20957" y="1343833"/>
                  <a:pt x="20482" y="1323540"/>
                  <a:pt x="23871" y="1303132"/>
                </a:cubicBezTo>
                <a:cubicBezTo>
                  <a:pt x="28332" y="1276267"/>
                  <a:pt x="41045" y="1253887"/>
                  <a:pt x="59740" y="1234649"/>
                </a:cubicBezTo>
                <a:cubicBezTo>
                  <a:pt x="72582" y="1221434"/>
                  <a:pt x="85657" y="1208434"/>
                  <a:pt x="98899" y="1195619"/>
                </a:cubicBezTo>
                <a:cubicBezTo>
                  <a:pt x="118216" y="1176926"/>
                  <a:pt x="130484" y="1154702"/>
                  <a:pt x="131493" y="1127593"/>
                </a:cubicBezTo>
                <a:cubicBezTo>
                  <a:pt x="132448" y="1101948"/>
                  <a:pt x="127125" y="1077868"/>
                  <a:pt x="108213" y="1058723"/>
                </a:cubicBezTo>
                <a:cubicBezTo>
                  <a:pt x="97010" y="1047381"/>
                  <a:pt x="85438" y="1036399"/>
                  <a:pt x="74370" y="1024929"/>
                </a:cubicBezTo>
                <a:cubicBezTo>
                  <a:pt x="63868" y="1014043"/>
                  <a:pt x="62267" y="1001475"/>
                  <a:pt x="68137" y="987550"/>
                </a:cubicBezTo>
                <a:cubicBezTo>
                  <a:pt x="74493" y="972473"/>
                  <a:pt x="80703" y="957319"/>
                  <a:pt x="86420" y="941991"/>
                </a:cubicBezTo>
                <a:cubicBezTo>
                  <a:pt x="100218" y="905001"/>
                  <a:pt x="99441" y="866690"/>
                  <a:pt x="97082" y="828037"/>
                </a:cubicBezTo>
                <a:cubicBezTo>
                  <a:pt x="94260" y="781809"/>
                  <a:pt x="76370" y="739899"/>
                  <a:pt x="61782" y="696973"/>
                </a:cubicBezTo>
                <a:cubicBezTo>
                  <a:pt x="45282" y="648419"/>
                  <a:pt x="33285" y="598770"/>
                  <a:pt x="26901" y="547868"/>
                </a:cubicBezTo>
                <a:cubicBezTo>
                  <a:pt x="24054" y="525160"/>
                  <a:pt x="21110" y="502364"/>
                  <a:pt x="20221" y="479529"/>
                </a:cubicBezTo>
                <a:cubicBezTo>
                  <a:pt x="18293" y="430013"/>
                  <a:pt x="26126" y="381610"/>
                  <a:pt x="40808" y="334388"/>
                </a:cubicBezTo>
                <a:cubicBezTo>
                  <a:pt x="48208" y="310588"/>
                  <a:pt x="55162" y="286441"/>
                  <a:pt x="65171" y="263707"/>
                </a:cubicBezTo>
                <a:cubicBezTo>
                  <a:pt x="81946" y="225606"/>
                  <a:pt x="106517" y="193071"/>
                  <a:pt x="142827" y="171003"/>
                </a:cubicBezTo>
                <a:cubicBezTo>
                  <a:pt x="152238" y="165283"/>
                  <a:pt x="162401" y="160787"/>
                  <a:pt x="172290" y="155872"/>
                </a:cubicBezTo>
                <a:cubicBezTo>
                  <a:pt x="177784" y="153142"/>
                  <a:pt x="183393" y="150635"/>
                  <a:pt x="189008" y="148158"/>
                </a:cubicBezTo>
                <a:cubicBezTo>
                  <a:pt x="199487" y="143534"/>
                  <a:pt x="207598" y="136426"/>
                  <a:pt x="212828" y="126123"/>
                </a:cubicBezTo>
                <a:cubicBezTo>
                  <a:pt x="214121" y="123575"/>
                  <a:pt x="215966" y="121304"/>
                  <a:pt x="217217" y="118740"/>
                </a:cubicBezTo>
                <a:cubicBezTo>
                  <a:pt x="224688" y="103433"/>
                  <a:pt x="237053" y="93440"/>
                  <a:pt x="253000" y="88998"/>
                </a:cubicBezTo>
                <a:cubicBezTo>
                  <a:pt x="275818" y="82642"/>
                  <a:pt x="299033" y="77711"/>
                  <a:pt x="322085" y="72193"/>
                </a:cubicBezTo>
                <a:cubicBezTo>
                  <a:pt x="324867" y="71527"/>
                  <a:pt x="327694" y="71045"/>
                  <a:pt x="330478" y="70387"/>
                </a:cubicBezTo>
                <a:cubicBezTo>
                  <a:pt x="364731" y="62297"/>
                  <a:pt x="364569" y="62151"/>
                  <a:pt x="388016" y="35457"/>
                </a:cubicBezTo>
                <a:cubicBezTo>
                  <a:pt x="398189" y="23875"/>
                  <a:pt x="409180" y="13010"/>
                  <a:pt x="421527" y="0"/>
                </a:cubicBezTo>
                <a:cubicBezTo>
                  <a:pt x="423000" y="5190"/>
                  <a:pt x="424219" y="7961"/>
                  <a:pt x="424538" y="10833"/>
                </a:cubicBezTo>
                <a:cubicBezTo>
                  <a:pt x="428638" y="47817"/>
                  <a:pt x="433030" y="84779"/>
                  <a:pt x="436339" y="121836"/>
                </a:cubicBezTo>
                <a:cubicBezTo>
                  <a:pt x="437236" y="131893"/>
                  <a:pt x="441545" y="137271"/>
                  <a:pt x="449983" y="141450"/>
                </a:cubicBezTo>
                <a:cubicBezTo>
                  <a:pt x="467954" y="150348"/>
                  <a:pt x="486187" y="158915"/>
                  <a:pt x="503299" y="169290"/>
                </a:cubicBezTo>
                <a:cubicBezTo>
                  <a:pt x="520041" y="179441"/>
                  <a:pt x="535883" y="191197"/>
                  <a:pt x="551461" y="203111"/>
                </a:cubicBezTo>
                <a:cubicBezTo>
                  <a:pt x="568416" y="216079"/>
                  <a:pt x="579195" y="234146"/>
                  <a:pt x="588803" y="252797"/>
                </a:cubicBezTo>
                <a:cubicBezTo>
                  <a:pt x="602134" y="278677"/>
                  <a:pt x="616556" y="303835"/>
                  <a:pt x="634209" y="327081"/>
                </a:cubicBezTo>
                <a:cubicBezTo>
                  <a:pt x="651797" y="350241"/>
                  <a:pt x="673980" y="368103"/>
                  <a:pt x="697923" y="384157"/>
                </a:cubicBezTo>
                <a:cubicBezTo>
                  <a:pt x="708787" y="391441"/>
                  <a:pt x="719007" y="399678"/>
                  <a:pt x="729658" y="407288"/>
                </a:cubicBezTo>
                <a:cubicBezTo>
                  <a:pt x="751657" y="423004"/>
                  <a:pt x="761259" y="445265"/>
                  <a:pt x="763354" y="471325"/>
                </a:cubicBezTo>
                <a:cubicBezTo>
                  <a:pt x="764877" y="490275"/>
                  <a:pt x="762919" y="509064"/>
                  <a:pt x="757092" y="527116"/>
                </a:cubicBezTo>
                <a:cubicBezTo>
                  <a:pt x="750932" y="546198"/>
                  <a:pt x="738296" y="560266"/>
                  <a:pt x="720673" y="570023"/>
                </a:cubicBezTo>
                <a:cubicBezTo>
                  <a:pt x="715048" y="573138"/>
                  <a:pt x="709487" y="576825"/>
                  <a:pt x="704918" y="581294"/>
                </a:cubicBezTo>
                <a:cubicBezTo>
                  <a:pt x="695625" y="590383"/>
                  <a:pt x="684728" y="595697"/>
                  <a:pt x="671960" y="595325"/>
                </a:cubicBezTo>
                <a:cubicBezTo>
                  <a:pt x="658939" y="594945"/>
                  <a:pt x="645743" y="594018"/>
                  <a:pt x="633021" y="591397"/>
                </a:cubicBezTo>
                <a:cubicBezTo>
                  <a:pt x="611233" y="586907"/>
                  <a:pt x="595034" y="572939"/>
                  <a:pt x="580696" y="556742"/>
                </a:cubicBezTo>
                <a:cubicBezTo>
                  <a:pt x="570081" y="544750"/>
                  <a:pt x="559052" y="533306"/>
                  <a:pt x="545415" y="524617"/>
                </a:cubicBezTo>
                <a:cubicBezTo>
                  <a:pt x="537261" y="519422"/>
                  <a:pt x="528551" y="515996"/>
                  <a:pt x="518889" y="516179"/>
                </a:cubicBezTo>
                <a:cubicBezTo>
                  <a:pt x="503357" y="516473"/>
                  <a:pt x="487839" y="517663"/>
                  <a:pt x="472309" y="517812"/>
                </a:cubicBezTo>
                <a:cubicBezTo>
                  <a:pt x="453527" y="517993"/>
                  <a:pt x="434738" y="517514"/>
                  <a:pt x="415953" y="517245"/>
                </a:cubicBezTo>
                <a:cubicBezTo>
                  <a:pt x="411976" y="517189"/>
                  <a:pt x="408003" y="516808"/>
                  <a:pt x="403392" y="516539"/>
                </a:cubicBezTo>
                <a:cubicBezTo>
                  <a:pt x="401207" y="526363"/>
                  <a:pt x="404857" y="534293"/>
                  <a:pt x="407957" y="542045"/>
                </a:cubicBezTo>
                <a:cubicBezTo>
                  <a:pt x="414092" y="557387"/>
                  <a:pt x="423168" y="571042"/>
                  <a:pt x="434134" y="583349"/>
                </a:cubicBezTo>
                <a:cubicBezTo>
                  <a:pt x="464083" y="616959"/>
                  <a:pt x="493980" y="650618"/>
                  <a:pt x="524267" y="683922"/>
                </a:cubicBezTo>
                <a:cubicBezTo>
                  <a:pt x="554818" y="717518"/>
                  <a:pt x="588291" y="748619"/>
                  <a:pt x="614317" y="786085"/>
                </a:cubicBezTo>
                <a:cubicBezTo>
                  <a:pt x="642656" y="826881"/>
                  <a:pt x="663974" y="871159"/>
                  <a:pt x="669590" y="921089"/>
                </a:cubicBezTo>
                <a:cubicBezTo>
                  <a:pt x="674894" y="968240"/>
                  <a:pt x="669774" y="1014226"/>
                  <a:pt x="647360" y="1057245"/>
                </a:cubicBezTo>
                <a:cubicBezTo>
                  <a:pt x="639830" y="1071697"/>
                  <a:pt x="630533" y="1085565"/>
                  <a:pt x="627872" y="1102111"/>
                </a:cubicBezTo>
                <a:cubicBezTo>
                  <a:pt x="623640" y="1128439"/>
                  <a:pt x="626183" y="1153784"/>
                  <a:pt x="642300" y="1175941"/>
                </a:cubicBezTo>
                <a:cubicBezTo>
                  <a:pt x="650201" y="1186801"/>
                  <a:pt x="659595" y="1196636"/>
                  <a:pt x="668829" y="1206449"/>
                </a:cubicBezTo>
                <a:cubicBezTo>
                  <a:pt x="679770" y="1218075"/>
                  <a:pt x="691267" y="1229177"/>
                  <a:pt x="703087" y="1241174"/>
                </a:cubicBezTo>
                <a:moveTo>
                  <a:pt x="648750" y="562343"/>
                </a:moveTo>
                <a:cubicBezTo>
                  <a:pt x="656729" y="562558"/>
                  <a:pt x="664698" y="567407"/>
                  <a:pt x="674049" y="562834"/>
                </a:cubicBezTo>
                <a:cubicBezTo>
                  <a:pt x="668990" y="558037"/>
                  <a:pt x="664729" y="554259"/>
                  <a:pt x="660781" y="550178"/>
                </a:cubicBezTo>
                <a:cubicBezTo>
                  <a:pt x="656713" y="545973"/>
                  <a:pt x="651493" y="542363"/>
                  <a:pt x="650911" y="534051"/>
                </a:cubicBezTo>
                <a:cubicBezTo>
                  <a:pt x="654940" y="535536"/>
                  <a:pt x="657753" y="536907"/>
                  <a:pt x="660724" y="537605"/>
                </a:cubicBezTo>
                <a:cubicBezTo>
                  <a:pt x="669824" y="539743"/>
                  <a:pt x="678915" y="542853"/>
                  <a:pt x="688133" y="543363"/>
                </a:cubicBezTo>
                <a:cubicBezTo>
                  <a:pt x="712019" y="544686"/>
                  <a:pt x="726964" y="534053"/>
                  <a:pt x="731514" y="510767"/>
                </a:cubicBezTo>
                <a:cubicBezTo>
                  <a:pt x="734296" y="496535"/>
                  <a:pt x="734146" y="481511"/>
                  <a:pt x="733611" y="466905"/>
                </a:cubicBezTo>
                <a:cubicBezTo>
                  <a:pt x="732951" y="448863"/>
                  <a:pt x="723348" y="435653"/>
                  <a:pt x="708076" y="425975"/>
                </a:cubicBezTo>
                <a:cubicBezTo>
                  <a:pt x="694258" y="417218"/>
                  <a:pt x="681056" y="407489"/>
                  <a:pt x="667538" y="398254"/>
                </a:cubicBezTo>
                <a:cubicBezTo>
                  <a:pt x="641278" y="380314"/>
                  <a:pt x="617580" y="359743"/>
                  <a:pt x="601016" y="332127"/>
                </a:cubicBezTo>
                <a:cubicBezTo>
                  <a:pt x="588810" y="311778"/>
                  <a:pt x="576093" y="291645"/>
                  <a:pt x="565354" y="270526"/>
                </a:cubicBezTo>
                <a:cubicBezTo>
                  <a:pt x="548401" y="237186"/>
                  <a:pt x="523821" y="212104"/>
                  <a:pt x="490657" y="195121"/>
                </a:cubicBezTo>
                <a:cubicBezTo>
                  <a:pt x="471346" y="185231"/>
                  <a:pt x="452394" y="174606"/>
                  <a:pt x="432834" y="165243"/>
                </a:cubicBezTo>
                <a:cubicBezTo>
                  <a:pt x="416725" y="157532"/>
                  <a:pt x="408325" y="145526"/>
                  <a:pt x="407594" y="127852"/>
                </a:cubicBezTo>
                <a:cubicBezTo>
                  <a:pt x="406783" y="108242"/>
                  <a:pt x="405935" y="88634"/>
                  <a:pt x="405020" y="69029"/>
                </a:cubicBezTo>
                <a:cubicBezTo>
                  <a:pt x="404882" y="66067"/>
                  <a:pt x="404287" y="63127"/>
                  <a:pt x="403638" y="58130"/>
                </a:cubicBezTo>
                <a:cubicBezTo>
                  <a:pt x="381792" y="82321"/>
                  <a:pt x="361650" y="104820"/>
                  <a:pt x="349776" y="133259"/>
                </a:cubicBezTo>
                <a:cubicBezTo>
                  <a:pt x="345032" y="144621"/>
                  <a:pt x="337822" y="153814"/>
                  <a:pt x="326975" y="159669"/>
                </a:cubicBezTo>
                <a:cubicBezTo>
                  <a:pt x="295461" y="176681"/>
                  <a:pt x="266610" y="197333"/>
                  <a:pt x="240374" y="221714"/>
                </a:cubicBezTo>
                <a:cubicBezTo>
                  <a:pt x="212881" y="247263"/>
                  <a:pt x="188313" y="275340"/>
                  <a:pt x="171637" y="309087"/>
                </a:cubicBezTo>
                <a:cubicBezTo>
                  <a:pt x="139180" y="374765"/>
                  <a:pt x="129692" y="444532"/>
                  <a:pt x="138048" y="516954"/>
                </a:cubicBezTo>
                <a:cubicBezTo>
                  <a:pt x="142936" y="559318"/>
                  <a:pt x="152518" y="600762"/>
                  <a:pt x="163889" y="641780"/>
                </a:cubicBezTo>
                <a:cubicBezTo>
                  <a:pt x="177329" y="690261"/>
                  <a:pt x="191989" y="738413"/>
                  <a:pt x="204800" y="787055"/>
                </a:cubicBezTo>
                <a:cubicBezTo>
                  <a:pt x="218820" y="840287"/>
                  <a:pt x="228587" y="894088"/>
                  <a:pt x="218549" y="949545"/>
                </a:cubicBezTo>
                <a:cubicBezTo>
                  <a:pt x="213279" y="978659"/>
                  <a:pt x="207130" y="1007359"/>
                  <a:pt x="191487" y="1033064"/>
                </a:cubicBezTo>
                <a:cubicBezTo>
                  <a:pt x="190499" y="1034686"/>
                  <a:pt x="190018" y="1036618"/>
                  <a:pt x="188729" y="1039835"/>
                </a:cubicBezTo>
                <a:cubicBezTo>
                  <a:pt x="200470" y="1040170"/>
                  <a:pt x="210952" y="1040298"/>
                  <a:pt x="221417" y="1040799"/>
                </a:cubicBezTo>
                <a:cubicBezTo>
                  <a:pt x="263912" y="1042835"/>
                  <a:pt x="306390" y="1046436"/>
                  <a:pt x="348895" y="1046759"/>
                </a:cubicBezTo>
                <a:cubicBezTo>
                  <a:pt x="414380" y="1047258"/>
                  <a:pt x="479896" y="1046092"/>
                  <a:pt x="545369" y="1044456"/>
                </a:cubicBezTo>
                <a:cubicBezTo>
                  <a:pt x="567764" y="1043897"/>
                  <a:pt x="590066" y="1039744"/>
                  <a:pt x="612424" y="1037365"/>
                </a:cubicBezTo>
                <a:cubicBezTo>
                  <a:pt x="617948" y="1036777"/>
                  <a:pt x="621342" y="1034139"/>
                  <a:pt x="623169" y="1028873"/>
                </a:cubicBezTo>
                <a:cubicBezTo>
                  <a:pt x="630975" y="1006370"/>
                  <a:pt x="637026" y="983472"/>
                  <a:pt x="638508" y="959599"/>
                </a:cubicBezTo>
                <a:cubicBezTo>
                  <a:pt x="641131" y="917363"/>
                  <a:pt x="628970" y="878727"/>
                  <a:pt x="609213" y="842075"/>
                </a:cubicBezTo>
                <a:cubicBezTo>
                  <a:pt x="587874" y="802491"/>
                  <a:pt x="559403" y="768169"/>
                  <a:pt x="529367" y="735065"/>
                </a:cubicBezTo>
                <a:cubicBezTo>
                  <a:pt x="487563" y="688992"/>
                  <a:pt x="445474" y="643176"/>
                  <a:pt x="403792" y="596993"/>
                </a:cubicBezTo>
                <a:cubicBezTo>
                  <a:pt x="380393" y="571066"/>
                  <a:pt x="360083" y="542922"/>
                  <a:pt x="344708" y="511366"/>
                </a:cubicBezTo>
                <a:cubicBezTo>
                  <a:pt x="324385" y="469655"/>
                  <a:pt x="317321" y="425966"/>
                  <a:pt x="324464" y="380084"/>
                </a:cubicBezTo>
                <a:cubicBezTo>
                  <a:pt x="324821" y="377789"/>
                  <a:pt x="326581" y="375713"/>
                  <a:pt x="327688" y="373535"/>
                </a:cubicBezTo>
                <a:cubicBezTo>
                  <a:pt x="328570" y="373570"/>
                  <a:pt x="329452" y="373606"/>
                  <a:pt x="330334" y="373641"/>
                </a:cubicBezTo>
                <a:cubicBezTo>
                  <a:pt x="331649" y="377308"/>
                  <a:pt x="333001" y="380963"/>
                  <a:pt x="334272" y="384645"/>
                </a:cubicBezTo>
                <a:cubicBezTo>
                  <a:pt x="342569" y="408660"/>
                  <a:pt x="351164" y="432573"/>
                  <a:pt x="365260" y="453955"/>
                </a:cubicBezTo>
                <a:cubicBezTo>
                  <a:pt x="375537" y="469544"/>
                  <a:pt x="388811" y="481767"/>
                  <a:pt x="408246" y="483592"/>
                </a:cubicBezTo>
                <a:cubicBezTo>
                  <a:pt x="426928" y="485346"/>
                  <a:pt x="445757" y="486037"/>
                  <a:pt x="464529" y="486187"/>
                </a:cubicBezTo>
                <a:cubicBezTo>
                  <a:pt x="480053" y="486311"/>
                  <a:pt x="495582" y="484792"/>
                  <a:pt x="511119" y="484308"/>
                </a:cubicBezTo>
                <a:cubicBezTo>
                  <a:pt x="532443" y="483644"/>
                  <a:pt x="551690" y="490014"/>
                  <a:pt x="567913" y="503736"/>
                </a:cubicBezTo>
                <a:cubicBezTo>
                  <a:pt x="581642" y="515348"/>
                  <a:pt x="594604" y="527888"/>
                  <a:pt x="607611" y="540326"/>
                </a:cubicBezTo>
                <a:cubicBezTo>
                  <a:pt x="618811" y="551038"/>
                  <a:pt x="631177" y="559300"/>
                  <a:pt x="648750" y="562343"/>
                </a:cubicBezTo>
                <a:moveTo>
                  <a:pt x="462594" y="1369008"/>
                </a:moveTo>
                <a:cubicBezTo>
                  <a:pt x="478517" y="1368137"/>
                  <a:pt x="494449" y="1367429"/>
                  <a:pt x="510357" y="1366345"/>
                </a:cubicBezTo>
                <a:cubicBezTo>
                  <a:pt x="523399" y="1365456"/>
                  <a:pt x="536424" y="1364247"/>
                  <a:pt x="549434" y="1362956"/>
                </a:cubicBezTo>
                <a:cubicBezTo>
                  <a:pt x="577089" y="1360213"/>
                  <a:pt x="604749" y="1357503"/>
                  <a:pt x="632369" y="1354439"/>
                </a:cubicBezTo>
                <a:cubicBezTo>
                  <a:pt x="653805" y="1352062"/>
                  <a:pt x="675183" y="1349170"/>
                  <a:pt x="697252" y="1346424"/>
                </a:cubicBezTo>
                <a:cubicBezTo>
                  <a:pt x="701148" y="1316348"/>
                  <a:pt x="695768" y="1289474"/>
                  <a:pt x="676674" y="1266396"/>
                </a:cubicBezTo>
                <a:cubicBezTo>
                  <a:pt x="667313" y="1255080"/>
                  <a:pt x="656878" y="1244625"/>
                  <a:pt x="646594" y="1234108"/>
                </a:cubicBezTo>
                <a:cubicBezTo>
                  <a:pt x="634298" y="1221533"/>
                  <a:pt x="621353" y="1209623"/>
                  <a:pt x="612063" y="1194382"/>
                </a:cubicBezTo>
                <a:cubicBezTo>
                  <a:pt x="596511" y="1168867"/>
                  <a:pt x="588079" y="1141707"/>
                  <a:pt x="591616" y="1111541"/>
                </a:cubicBezTo>
                <a:cubicBezTo>
                  <a:pt x="592450" y="1104432"/>
                  <a:pt x="593365" y="1097332"/>
                  <a:pt x="594320" y="1089609"/>
                </a:cubicBezTo>
                <a:cubicBezTo>
                  <a:pt x="588294" y="1089609"/>
                  <a:pt x="583452" y="1089392"/>
                  <a:pt x="578634" y="1089642"/>
                </a:cubicBezTo>
                <a:cubicBezTo>
                  <a:pt x="533732" y="1091976"/>
                  <a:pt x="488841" y="1094525"/>
                  <a:pt x="443931" y="1096700"/>
                </a:cubicBezTo>
                <a:cubicBezTo>
                  <a:pt x="430451" y="1097353"/>
                  <a:pt x="416923" y="1097005"/>
                  <a:pt x="403417" y="1097156"/>
                </a:cubicBezTo>
                <a:cubicBezTo>
                  <a:pt x="389337" y="1097313"/>
                  <a:pt x="388961" y="1097850"/>
                  <a:pt x="388348" y="1111502"/>
                </a:cubicBezTo>
                <a:cubicBezTo>
                  <a:pt x="387375" y="1133151"/>
                  <a:pt x="386231" y="1154793"/>
                  <a:pt x="385048" y="1176431"/>
                </a:cubicBezTo>
                <a:cubicBezTo>
                  <a:pt x="382637" y="1220514"/>
                  <a:pt x="380158" y="1264593"/>
                  <a:pt x="377687" y="1308672"/>
                </a:cubicBezTo>
                <a:cubicBezTo>
                  <a:pt x="377458" y="1312751"/>
                  <a:pt x="376852" y="1316821"/>
                  <a:pt x="376823" y="1320897"/>
                </a:cubicBezTo>
                <a:cubicBezTo>
                  <a:pt x="376717" y="1335880"/>
                  <a:pt x="376781" y="1350864"/>
                  <a:pt x="376781" y="1366151"/>
                </a:cubicBezTo>
                <a:cubicBezTo>
                  <a:pt x="404707" y="1370397"/>
                  <a:pt x="432477" y="1369351"/>
                  <a:pt x="462594" y="1369008"/>
                </a:cubicBezTo>
                <a:moveTo>
                  <a:pt x="648494" y="1463981"/>
                </a:moveTo>
                <a:cubicBezTo>
                  <a:pt x="671329" y="1460052"/>
                  <a:pt x="694163" y="1456122"/>
                  <a:pt x="718746" y="1451892"/>
                </a:cubicBezTo>
                <a:cubicBezTo>
                  <a:pt x="716257" y="1439067"/>
                  <a:pt x="714578" y="1427816"/>
                  <a:pt x="711827" y="1416835"/>
                </a:cubicBezTo>
                <a:cubicBezTo>
                  <a:pt x="707611" y="1400009"/>
                  <a:pt x="703502" y="1397423"/>
                  <a:pt x="685812" y="1398502"/>
                </a:cubicBezTo>
                <a:cubicBezTo>
                  <a:pt x="684179" y="1398602"/>
                  <a:pt x="682547" y="1398768"/>
                  <a:pt x="680924" y="1398973"/>
                </a:cubicBezTo>
                <a:cubicBezTo>
                  <a:pt x="653380" y="1402446"/>
                  <a:pt x="625911" y="1406752"/>
                  <a:pt x="598278" y="1409218"/>
                </a:cubicBezTo>
                <a:cubicBezTo>
                  <a:pt x="557171" y="1412886"/>
                  <a:pt x="515983" y="1415946"/>
                  <a:pt x="474765" y="1417945"/>
                </a:cubicBezTo>
                <a:cubicBezTo>
                  <a:pt x="444944" y="1419391"/>
                  <a:pt x="415021" y="1418680"/>
                  <a:pt x="385143" y="1418978"/>
                </a:cubicBezTo>
                <a:cubicBezTo>
                  <a:pt x="382419" y="1419005"/>
                  <a:pt x="379697" y="1419376"/>
                  <a:pt x="376639" y="1419613"/>
                </a:cubicBezTo>
                <a:cubicBezTo>
                  <a:pt x="376639" y="1438152"/>
                  <a:pt x="376639" y="1455909"/>
                  <a:pt x="376639" y="1473939"/>
                </a:cubicBezTo>
                <a:cubicBezTo>
                  <a:pt x="378971" y="1474343"/>
                  <a:pt x="380523" y="1474802"/>
                  <a:pt x="382089" y="1474854"/>
                </a:cubicBezTo>
                <a:cubicBezTo>
                  <a:pt x="404571" y="1475605"/>
                  <a:pt x="427058" y="1476986"/>
                  <a:pt x="449536" y="1476855"/>
                </a:cubicBezTo>
                <a:cubicBezTo>
                  <a:pt x="486344" y="1476639"/>
                  <a:pt x="523207" y="1476480"/>
                  <a:pt x="559930" y="1474307"/>
                </a:cubicBezTo>
                <a:cubicBezTo>
                  <a:pt x="588839" y="1472596"/>
                  <a:pt x="617570" y="1467884"/>
                  <a:pt x="648494" y="1463981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85" name="Free-form: Shape 384">
            <a:extLst>
              <a:ext uri="{FF2B5EF4-FFF2-40B4-BE49-F238E27FC236}">
                <a16:creationId xmlns:a16="http://schemas.microsoft.com/office/drawing/2014/main" id="{F680A405-458F-A37F-C97C-7592B2A0FFD1}"/>
              </a:ext>
            </a:extLst>
          </p:cNvPr>
          <p:cNvSpPr/>
          <p:nvPr/>
        </p:nvSpPr>
        <p:spPr>
          <a:xfrm>
            <a:off x="3819527" y="4569422"/>
            <a:ext cx="497702" cy="821885"/>
          </a:xfrm>
          <a:custGeom>
            <a:avLst/>
            <a:gdLst>
              <a:gd name="csX0" fmla="*/ 512604 w 598747"/>
              <a:gd name="csY0" fmla="*/ 503918 h 988745"/>
              <a:gd name="csX1" fmla="*/ 472435 w 598747"/>
              <a:gd name="csY1" fmla="*/ 482196 h 988745"/>
              <a:gd name="csX2" fmla="*/ 432737 w 598747"/>
              <a:gd name="csY2" fmla="*/ 445605 h 988745"/>
              <a:gd name="csX3" fmla="*/ 375943 w 598747"/>
              <a:gd name="csY3" fmla="*/ 426178 h 988745"/>
              <a:gd name="csX4" fmla="*/ 329354 w 598747"/>
              <a:gd name="csY4" fmla="*/ 428057 h 988745"/>
              <a:gd name="csX5" fmla="*/ 273070 w 598747"/>
              <a:gd name="csY5" fmla="*/ 425461 h 988745"/>
              <a:gd name="csX6" fmla="*/ 230084 w 598747"/>
              <a:gd name="csY6" fmla="*/ 395825 h 988745"/>
              <a:gd name="csX7" fmla="*/ 199097 w 598747"/>
              <a:gd name="csY7" fmla="*/ 326515 h 988745"/>
              <a:gd name="csX8" fmla="*/ 195158 w 598747"/>
              <a:gd name="csY8" fmla="*/ 315511 h 988745"/>
              <a:gd name="csX9" fmla="*/ 192512 w 598747"/>
              <a:gd name="csY9" fmla="*/ 315405 h 988745"/>
              <a:gd name="csX10" fmla="*/ 189288 w 598747"/>
              <a:gd name="csY10" fmla="*/ 321954 h 988745"/>
              <a:gd name="csX11" fmla="*/ 209532 w 598747"/>
              <a:gd name="csY11" fmla="*/ 453235 h 988745"/>
              <a:gd name="csX12" fmla="*/ 268616 w 598747"/>
              <a:gd name="csY12" fmla="*/ 538863 h 988745"/>
              <a:gd name="csX13" fmla="*/ 394191 w 598747"/>
              <a:gd name="csY13" fmla="*/ 676935 h 988745"/>
              <a:gd name="csX14" fmla="*/ 474037 w 598747"/>
              <a:gd name="csY14" fmla="*/ 783945 h 988745"/>
              <a:gd name="csX15" fmla="*/ 503332 w 598747"/>
              <a:gd name="csY15" fmla="*/ 901469 h 988745"/>
              <a:gd name="csX16" fmla="*/ 487993 w 598747"/>
              <a:gd name="csY16" fmla="*/ 970743 h 988745"/>
              <a:gd name="csX17" fmla="*/ 477248 w 598747"/>
              <a:gd name="csY17" fmla="*/ 979235 h 988745"/>
              <a:gd name="csX18" fmla="*/ 410194 w 598747"/>
              <a:gd name="csY18" fmla="*/ 986326 h 988745"/>
              <a:gd name="csX19" fmla="*/ 213720 w 598747"/>
              <a:gd name="csY19" fmla="*/ 988629 h 988745"/>
              <a:gd name="csX20" fmla="*/ 86242 w 598747"/>
              <a:gd name="csY20" fmla="*/ 982669 h 988745"/>
              <a:gd name="csX21" fmla="*/ 53553 w 598747"/>
              <a:gd name="csY21" fmla="*/ 981705 h 988745"/>
              <a:gd name="csX22" fmla="*/ 56311 w 598747"/>
              <a:gd name="csY22" fmla="*/ 974933 h 988745"/>
              <a:gd name="csX23" fmla="*/ 83373 w 598747"/>
              <a:gd name="csY23" fmla="*/ 891414 h 988745"/>
              <a:gd name="csX24" fmla="*/ 69625 w 598747"/>
              <a:gd name="csY24" fmla="*/ 728925 h 988745"/>
              <a:gd name="csX25" fmla="*/ 28713 w 598747"/>
              <a:gd name="csY25" fmla="*/ 583650 h 988745"/>
              <a:gd name="csX26" fmla="*/ 2872 w 598747"/>
              <a:gd name="csY26" fmla="*/ 458823 h 988745"/>
              <a:gd name="csX27" fmla="*/ 36461 w 598747"/>
              <a:gd name="csY27" fmla="*/ 250957 h 988745"/>
              <a:gd name="csX28" fmla="*/ 105198 w 598747"/>
              <a:gd name="csY28" fmla="*/ 163584 h 988745"/>
              <a:gd name="csX29" fmla="*/ 191800 w 598747"/>
              <a:gd name="csY29" fmla="*/ 101539 h 988745"/>
              <a:gd name="csX30" fmla="*/ 214600 w 598747"/>
              <a:gd name="csY30" fmla="*/ 75129 h 988745"/>
              <a:gd name="csX31" fmla="*/ 268462 w 598747"/>
              <a:gd name="csY31" fmla="*/ 0 h 988745"/>
              <a:gd name="csX32" fmla="*/ 269844 w 598747"/>
              <a:gd name="csY32" fmla="*/ 10898 h 988745"/>
              <a:gd name="csX33" fmla="*/ 272418 w 598747"/>
              <a:gd name="csY33" fmla="*/ 69722 h 988745"/>
              <a:gd name="csX34" fmla="*/ 297658 w 598747"/>
              <a:gd name="csY34" fmla="*/ 107113 h 988745"/>
              <a:gd name="csX35" fmla="*/ 355481 w 598747"/>
              <a:gd name="csY35" fmla="*/ 136991 h 988745"/>
              <a:gd name="csX36" fmla="*/ 430178 w 598747"/>
              <a:gd name="csY36" fmla="*/ 212396 h 988745"/>
              <a:gd name="csX37" fmla="*/ 465840 w 598747"/>
              <a:gd name="csY37" fmla="*/ 273997 h 988745"/>
              <a:gd name="csX38" fmla="*/ 532362 w 598747"/>
              <a:gd name="csY38" fmla="*/ 340124 h 988745"/>
              <a:gd name="csX39" fmla="*/ 572901 w 598747"/>
              <a:gd name="csY39" fmla="*/ 367845 h 988745"/>
              <a:gd name="csX40" fmla="*/ 598436 w 598747"/>
              <a:gd name="csY40" fmla="*/ 408775 h 988745"/>
              <a:gd name="csX41" fmla="*/ 596339 w 598747"/>
              <a:gd name="csY41" fmla="*/ 452637 h 988745"/>
              <a:gd name="csX42" fmla="*/ 552957 w 598747"/>
              <a:gd name="csY42" fmla="*/ 485233 h 988745"/>
              <a:gd name="csX43" fmla="*/ 525548 w 598747"/>
              <a:gd name="csY43" fmla="*/ 479475 h 988745"/>
              <a:gd name="csX44" fmla="*/ 515736 w 598747"/>
              <a:gd name="csY44" fmla="*/ 475921 h 988745"/>
              <a:gd name="csX45" fmla="*/ 525605 w 598747"/>
              <a:gd name="csY45" fmla="*/ 492048 h 988745"/>
              <a:gd name="csX46" fmla="*/ 538873 w 598747"/>
              <a:gd name="csY46" fmla="*/ 504704 h 988745"/>
              <a:gd name="csX47" fmla="*/ 512604 w 598747"/>
              <a:gd name="csY47" fmla="*/ 503918 h 988745"/>
              <a:gd name="csX48" fmla="*/ 332072 w 598747"/>
              <a:gd name="csY48" fmla="*/ 218143 h 988745"/>
              <a:gd name="csX49" fmla="*/ 334388 w 598747"/>
              <a:gd name="csY49" fmla="*/ 226400 h 988745"/>
              <a:gd name="csX50" fmla="*/ 372370 w 598747"/>
              <a:gd name="csY50" fmla="*/ 254505 h 988745"/>
              <a:gd name="csX51" fmla="*/ 405258 w 598747"/>
              <a:gd name="csY51" fmla="*/ 252089 h 988745"/>
              <a:gd name="csX52" fmla="*/ 409167 w 598747"/>
              <a:gd name="csY52" fmla="*/ 244359 h 988745"/>
              <a:gd name="csX53" fmla="*/ 396364 w 598747"/>
              <a:gd name="csY53" fmla="*/ 219471 h 988745"/>
              <a:gd name="csX54" fmla="*/ 365755 w 598747"/>
              <a:gd name="csY54" fmla="*/ 195821 h 988745"/>
              <a:gd name="csX55" fmla="*/ 333572 w 598747"/>
              <a:gd name="csY55" fmla="*/ 188536 h 988745"/>
              <a:gd name="csX56" fmla="*/ 322931 w 598747"/>
              <a:gd name="csY56" fmla="*/ 190843 h 988745"/>
              <a:gd name="csX57" fmla="*/ 329041 w 598747"/>
              <a:gd name="csY57" fmla="*/ 203001 h 988745"/>
              <a:gd name="csX58" fmla="*/ 332072 w 598747"/>
              <a:gd name="csY58" fmla="*/ 218143 h 98874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</a:cxnLst>
            <a:rect l="l" t="t" r="r" b="b"/>
            <a:pathLst>
              <a:path w="598747" h="988745">
                <a:moveTo>
                  <a:pt x="512604" y="503918"/>
                </a:moveTo>
                <a:cubicBezTo>
                  <a:pt x="496002" y="501170"/>
                  <a:pt x="483635" y="492907"/>
                  <a:pt x="472435" y="482196"/>
                </a:cubicBezTo>
                <a:cubicBezTo>
                  <a:pt x="459429" y="469758"/>
                  <a:pt x="446467" y="457218"/>
                  <a:pt x="432737" y="445605"/>
                </a:cubicBezTo>
                <a:cubicBezTo>
                  <a:pt x="416514" y="431883"/>
                  <a:pt x="397267" y="425513"/>
                  <a:pt x="375943" y="426178"/>
                </a:cubicBezTo>
                <a:cubicBezTo>
                  <a:pt x="360407" y="426662"/>
                  <a:pt x="344877" y="428180"/>
                  <a:pt x="329354" y="428057"/>
                </a:cubicBezTo>
                <a:cubicBezTo>
                  <a:pt x="310581" y="427907"/>
                  <a:pt x="291752" y="427215"/>
                  <a:pt x="273070" y="425461"/>
                </a:cubicBezTo>
                <a:cubicBezTo>
                  <a:pt x="253636" y="423637"/>
                  <a:pt x="240361" y="411413"/>
                  <a:pt x="230084" y="395825"/>
                </a:cubicBezTo>
                <a:cubicBezTo>
                  <a:pt x="215988" y="374443"/>
                  <a:pt x="207393" y="350530"/>
                  <a:pt x="199097" y="326515"/>
                </a:cubicBezTo>
                <a:cubicBezTo>
                  <a:pt x="197825" y="322833"/>
                  <a:pt x="196473" y="319178"/>
                  <a:pt x="195158" y="315511"/>
                </a:cubicBezTo>
                <a:cubicBezTo>
                  <a:pt x="194276" y="315475"/>
                  <a:pt x="193394" y="315440"/>
                  <a:pt x="192512" y="315405"/>
                </a:cubicBezTo>
                <a:cubicBezTo>
                  <a:pt x="191405" y="317583"/>
                  <a:pt x="189646" y="319659"/>
                  <a:pt x="189288" y="321954"/>
                </a:cubicBezTo>
                <a:cubicBezTo>
                  <a:pt x="182145" y="367836"/>
                  <a:pt x="189209" y="411525"/>
                  <a:pt x="209532" y="453235"/>
                </a:cubicBezTo>
                <a:cubicBezTo>
                  <a:pt x="224908" y="484792"/>
                  <a:pt x="245217" y="512936"/>
                  <a:pt x="268616" y="538863"/>
                </a:cubicBezTo>
                <a:cubicBezTo>
                  <a:pt x="310298" y="585046"/>
                  <a:pt x="352387" y="630861"/>
                  <a:pt x="394191" y="676935"/>
                </a:cubicBezTo>
                <a:cubicBezTo>
                  <a:pt x="424227" y="710039"/>
                  <a:pt x="452698" y="744360"/>
                  <a:pt x="474037" y="783945"/>
                </a:cubicBezTo>
                <a:cubicBezTo>
                  <a:pt x="493795" y="820596"/>
                  <a:pt x="505956" y="859233"/>
                  <a:pt x="503332" y="901469"/>
                </a:cubicBezTo>
                <a:cubicBezTo>
                  <a:pt x="501850" y="925342"/>
                  <a:pt x="495799" y="948239"/>
                  <a:pt x="487993" y="970743"/>
                </a:cubicBezTo>
                <a:cubicBezTo>
                  <a:pt x="486166" y="976009"/>
                  <a:pt x="482772" y="978647"/>
                  <a:pt x="477248" y="979235"/>
                </a:cubicBezTo>
                <a:cubicBezTo>
                  <a:pt x="454890" y="981614"/>
                  <a:pt x="432589" y="985767"/>
                  <a:pt x="410194" y="986326"/>
                </a:cubicBezTo>
                <a:cubicBezTo>
                  <a:pt x="344720" y="987961"/>
                  <a:pt x="279205" y="989128"/>
                  <a:pt x="213720" y="988629"/>
                </a:cubicBezTo>
                <a:cubicBezTo>
                  <a:pt x="171215" y="988306"/>
                  <a:pt x="128736" y="984705"/>
                  <a:pt x="86242" y="982669"/>
                </a:cubicBezTo>
                <a:cubicBezTo>
                  <a:pt x="75776" y="982167"/>
                  <a:pt x="65294" y="982040"/>
                  <a:pt x="53553" y="981705"/>
                </a:cubicBezTo>
                <a:cubicBezTo>
                  <a:pt x="54842" y="978488"/>
                  <a:pt x="55323" y="976556"/>
                  <a:pt x="56311" y="974933"/>
                </a:cubicBezTo>
                <a:cubicBezTo>
                  <a:pt x="71955" y="949229"/>
                  <a:pt x="78103" y="920529"/>
                  <a:pt x="83373" y="891414"/>
                </a:cubicBezTo>
                <a:cubicBezTo>
                  <a:pt x="93411" y="835958"/>
                  <a:pt x="83645" y="782156"/>
                  <a:pt x="69625" y="728925"/>
                </a:cubicBezTo>
                <a:cubicBezTo>
                  <a:pt x="56813" y="680283"/>
                  <a:pt x="42153" y="632130"/>
                  <a:pt x="28713" y="583650"/>
                </a:cubicBezTo>
                <a:cubicBezTo>
                  <a:pt x="17342" y="542631"/>
                  <a:pt x="7760" y="501188"/>
                  <a:pt x="2872" y="458823"/>
                </a:cubicBezTo>
                <a:cubicBezTo>
                  <a:pt x="-5484" y="386401"/>
                  <a:pt x="4005" y="316635"/>
                  <a:pt x="36461" y="250957"/>
                </a:cubicBezTo>
                <a:cubicBezTo>
                  <a:pt x="53137" y="217210"/>
                  <a:pt x="77705" y="189133"/>
                  <a:pt x="105198" y="163584"/>
                </a:cubicBezTo>
                <a:cubicBezTo>
                  <a:pt x="131434" y="139203"/>
                  <a:pt x="160285" y="118551"/>
                  <a:pt x="191800" y="101539"/>
                </a:cubicBezTo>
                <a:cubicBezTo>
                  <a:pt x="202646" y="95684"/>
                  <a:pt x="209856" y="86491"/>
                  <a:pt x="214600" y="75129"/>
                </a:cubicBezTo>
                <a:cubicBezTo>
                  <a:pt x="226474" y="46689"/>
                  <a:pt x="246616" y="24191"/>
                  <a:pt x="268462" y="0"/>
                </a:cubicBezTo>
                <a:cubicBezTo>
                  <a:pt x="269111" y="4997"/>
                  <a:pt x="269706" y="7937"/>
                  <a:pt x="269844" y="10898"/>
                </a:cubicBezTo>
                <a:cubicBezTo>
                  <a:pt x="270760" y="30504"/>
                  <a:pt x="271607" y="50112"/>
                  <a:pt x="272418" y="69722"/>
                </a:cubicBezTo>
                <a:cubicBezTo>
                  <a:pt x="273150" y="87396"/>
                  <a:pt x="281549" y="99401"/>
                  <a:pt x="297658" y="107113"/>
                </a:cubicBezTo>
                <a:cubicBezTo>
                  <a:pt x="317218" y="116476"/>
                  <a:pt x="336170" y="127101"/>
                  <a:pt x="355481" y="136991"/>
                </a:cubicBezTo>
                <a:cubicBezTo>
                  <a:pt x="388645" y="153974"/>
                  <a:pt x="413226" y="179056"/>
                  <a:pt x="430178" y="212396"/>
                </a:cubicBezTo>
                <a:cubicBezTo>
                  <a:pt x="440917" y="233515"/>
                  <a:pt x="453634" y="253647"/>
                  <a:pt x="465840" y="273997"/>
                </a:cubicBezTo>
                <a:cubicBezTo>
                  <a:pt x="482404" y="301613"/>
                  <a:pt x="506102" y="322183"/>
                  <a:pt x="532362" y="340124"/>
                </a:cubicBezTo>
                <a:cubicBezTo>
                  <a:pt x="545881" y="349359"/>
                  <a:pt x="559082" y="359088"/>
                  <a:pt x="572901" y="367845"/>
                </a:cubicBezTo>
                <a:cubicBezTo>
                  <a:pt x="588172" y="377523"/>
                  <a:pt x="597775" y="390733"/>
                  <a:pt x="598436" y="408775"/>
                </a:cubicBezTo>
                <a:cubicBezTo>
                  <a:pt x="598970" y="423381"/>
                  <a:pt x="599120" y="438404"/>
                  <a:pt x="596339" y="452637"/>
                </a:cubicBezTo>
                <a:cubicBezTo>
                  <a:pt x="591789" y="475923"/>
                  <a:pt x="576843" y="486555"/>
                  <a:pt x="552957" y="485233"/>
                </a:cubicBezTo>
                <a:cubicBezTo>
                  <a:pt x="543740" y="484722"/>
                  <a:pt x="534648" y="481613"/>
                  <a:pt x="525548" y="479475"/>
                </a:cubicBezTo>
                <a:cubicBezTo>
                  <a:pt x="522577" y="478776"/>
                  <a:pt x="519764" y="477405"/>
                  <a:pt x="515736" y="475921"/>
                </a:cubicBezTo>
                <a:cubicBezTo>
                  <a:pt x="516318" y="484233"/>
                  <a:pt x="521537" y="487842"/>
                  <a:pt x="525605" y="492048"/>
                </a:cubicBezTo>
                <a:cubicBezTo>
                  <a:pt x="529554" y="496129"/>
                  <a:pt x="533815" y="499907"/>
                  <a:pt x="538873" y="504704"/>
                </a:cubicBezTo>
                <a:cubicBezTo>
                  <a:pt x="529522" y="509277"/>
                  <a:pt x="521553" y="504428"/>
                  <a:pt x="512604" y="503918"/>
                </a:cubicBezTo>
                <a:moveTo>
                  <a:pt x="332072" y="218143"/>
                </a:moveTo>
                <a:cubicBezTo>
                  <a:pt x="332837" y="220898"/>
                  <a:pt x="333478" y="223695"/>
                  <a:pt x="334388" y="226400"/>
                </a:cubicBezTo>
                <a:cubicBezTo>
                  <a:pt x="341073" y="246268"/>
                  <a:pt x="351614" y="254460"/>
                  <a:pt x="372370" y="254505"/>
                </a:cubicBezTo>
                <a:cubicBezTo>
                  <a:pt x="383333" y="254529"/>
                  <a:pt x="394312" y="253121"/>
                  <a:pt x="405258" y="252089"/>
                </a:cubicBezTo>
                <a:cubicBezTo>
                  <a:pt x="409961" y="251646"/>
                  <a:pt x="411340" y="248568"/>
                  <a:pt x="409167" y="244359"/>
                </a:cubicBezTo>
                <a:cubicBezTo>
                  <a:pt x="404885" y="236068"/>
                  <a:pt x="400139" y="227985"/>
                  <a:pt x="396364" y="219471"/>
                </a:cubicBezTo>
                <a:cubicBezTo>
                  <a:pt x="390350" y="205908"/>
                  <a:pt x="379963" y="198663"/>
                  <a:pt x="365755" y="195821"/>
                </a:cubicBezTo>
                <a:cubicBezTo>
                  <a:pt x="354973" y="193665"/>
                  <a:pt x="344291" y="191003"/>
                  <a:pt x="333572" y="188536"/>
                </a:cubicBezTo>
                <a:cubicBezTo>
                  <a:pt x="329511" y="187602"/>
                  <a:pt x="325579" y="187007"/>
                  <a:pt x="322931" y="190843"/>
                </a:cubicBezTo>
                <a:cubicBezTo>
                  <a:pt x="325138" y="195129"/>
                  <a:pt x="327613" y="198884"/>
                  <a:pt x="329041" y="203001"/>
                </a:cubicBezTo>
                <a:cubicBezTo>
                  <a:pt x="330500" y="207204"/>
                  <a:pt x="330929" y="211764"/>
                  <a:pt x="332072" y="218143"/>
                </a:cubicBezTo>
                <a:close/>
              </a:path>
            </a:pathLst>
          </a:custGeom>
          <a:solidFill>
            <a:srgbClr val="FEFEFE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86" name="Free-form: Shape 385">
            <a:extLst>
              <a:ext uri="{FF2B5EF4-FFF2-40B4-BE49-F238E27FC236}">
                <a16:creationId xmlns:a16="http://schemas.microsoft.com/office/drawing/2014/main" id="{C7506CF4-B620-9DB1-78DF-C6F466B777EB}"/>
              </a:ext>
            </a:extLst>
          </p:cNvPr>
          <p:cNvSpPr/>
          <p:nvPr/>
        </p:nvSpPr>
        <p:spPr>
          <a:xfrm>
            <a:off x="4020344" y="5426757"/>
            <a:ext cx="267393" cy="232628"/>
          </a:xfrm>
          <a:custGeom>
            <a:avLst/>
            <a:gdLst>
              <a:gd name="csX0" fmla="*/ 84645 w 321679"/>
              <a:gd name="csY0" fmla="*/ 279507 h 279857"/>
              <a:gd name="csX1" fmla="*/ 19 w 321679"/>
              <a:gd name="csY1" fmla="*/ 276629 h 279857"/>
              <a:gd name="csX2" fmla="*/ 61 w 321679"/>
              <a:gd name="csY2" fmla="*/ 231376 h 279857"/>
              <a:gd name="csX3" fmla="*/ 925 w 321679"/>
              <a:gd name="csY3" fmla="*/ 219150 h 279857"/>
              <a:gd name="csX4" fmla="*/ 8286 w 321679"/>
              <a:gd name="csY4" fmla="*/ 86910 h 279857"/>
              <a:gd name="csX5" fmla="*/ 11586 w 321679"/>
              <a:gd name="csY5" fmla="*/ 21981 h 279857"/>
              <a:gd name="csX6" fmla="*/ 26655 w 321679"/>
              <a:gd name="csY6" fmla="*/ 7635 h 279857"/>
              <a:gd name="csX7" fmla="*/ 67169 w 321679"/>
              <a:gd name="csY7" fmla="*/ 7178 h 279857"/>
              <a:gd name="csX8" fmla="*/ 201872 w 321679"/>
              <a:gd name="csY8" fmla="*/ 121 h 279857"/>
              <a:gd name="csX9" fmla="*/ 217558 w 321679"/>
              <a:gd name="csY9" fmla="*/ 87 h 279857"/>
              <a:gd name="csX10" fmla="*/ 214854 w 321679"/>
              <a:gd name="csY10" fmla="*/ 22019 h 279857"/>
              <a:gd name="csX11" fmla="*/ 235301 w 321679"/>
              <a:gd name="csY11" fmla="*/ 104861 h 279857"/>
              <a:gd name="csX12" fmla="*/ 269832 w 321679"/>
              <a:gd name="csY12" fmla="*/ 144587 h 279857"/>
              <a:gd name="csX13" fmla="*/ 299912 w 321679"/>
              <a:gd name="csY13" fmla="*/ 176874 h 279857"/>
              <a:gd name="csX14" fmla="*/ 320491 w 321679"/>
              <a:gd name="csY14" fmla="*/ 256903 h 279857"/>
              <a:gd name="csX15" fmla="*/ 255607 w 321679"/>
              <a:gd name="csY15" fmla="*/ 264918 h 279857"/>
              <a:gd name="csX16" fmla="*/ 172672 w 321679"/>
              <a:gd name="csY16" fmla="*/ 273435 h 279857"/>
              <a:gd name="csX17" fmla="*/ 133595 w 321679"/>
              <a:gd name="csY17" fmla="*/ 276823 h 279857"/>
              <a:gd name="csX18" fmla="*/ 84645 w 321679"/>
              <a:gd name="csY18" fmla="*/ 279507 h 27985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</a:cxnLst>
            <a:rect l="l" t="t" r="r" b="b"/>
            <a:pathLst>
              <a:path w="321679" h="279857">
                <a:moveTo>
                  <a:pt x="84645" y="279507"/>
                </a:moveTo>
                <a:cubicBezTo>
                  <a:pt x="55716" y="279830"/>
                  <a:pt x="27945" y="280875"/>
                  <a:pt x="19" y="276629"/>
                </a:cubicBezTo>
                <a:cubicBezTo>
                  <a:pt x="19" y="261343"/>
                  <a:pt x="-45" y="246359"/>
                  <a:pt x="61" y="231376"/>
                </a:cubicBezTo>
                <a:cubicBezTo>
                  <a:pt x="90" y="227299"/>
                  <a:pt x="696" y="223229"/>
                  <a:pt x="925" y="219150"/>
                </a:cubicBezTo>
                <a:cubicBezTo>
                  <a:pt x="3396" y="175071"/>
                  <a:pt x="5876" y="130992"/>
                  <a:pt x="8286" y="86910"/>
                </a:cubicBezTo>
                <a:cubicBezTo>
                  <a:pt x="9469" y="65271"/>
                  <a:pt x="10613" y="43630"/>
                  <a:pt x="11586" y="21981"/>
                </a:cubicBezTo>
                <a:cubicBezTo>
                  <a:pt x="12199" y="8328"/>
                  <a:pt x="12576" y="7792"/>
                  <a:pt x="26655" y="7635"/>
                </a:cubicBezTo>
                <a:cubicBezTo>
                  <a:pt x="40161" y="7484"/>
                  <a:pt x="53689" y="7831"/>
                  <a:pt x="67169" y="7178"/>
                </a:cubicBezTo>
                <a:cubicBezTo>
                  <a:pt x="112079" y="5004"/>
                  <a:pt x="156970" y="2455"/>
                  <a:pt x="201872" y="121"/>
                </a:cubicBezTo>
                <a:cubicBezTo>
                  <a:pt x="206690" y="-130"/>
                  <a:pt x="211533" y="87"/>
                  <a:pt x="217558" y="87"/>
                </a:cubicBezTo>
                <a:cubicBezTo>
                  <a:pt x="216603" y="7811"/>
                  <a:pt x="215688" y="14910"/>
                  <a:pt x="214854" y="22019"/>
                </a:cubicBezTo>
                <a:cubicBezTo>
                  <a:pt x="211318" y="52185"/>
                  <a:pt x="219749" y="79345"/>
                  <a:pt x="235301" y="104861"/>
                </a:cubicBezTo>
                <a:cubicBezTo>
                  <a:pt x="244591" y="120102"/>
                  <a:pt x="257536" y="132012"/>
                  <a:pt x="269832" y="144587"/>
                </a:cubicBezTo>
                <a:cubicBezTo>
                  <a:pt x="280116" y="155103"/>
                  <a:pt x="290551" y="165559"/>
                  <a:pt x="299912" y="176874"/>
                </a:cubicBezTo>
                <a:cubicBezTo>
                  <a:pt x="319006" y="199953"/>
                  <a:pt x="324386" y="226827"/>
                  <a:pt x="320491" y="256903"/>
                </a:cubicBezTo>
                <a:cubicBezTo>
                  <a:pt x="298421" y="259649"/>
                  <a:pt x="277043" y="262541"/>
                  <a:pt x="255607" y="264918"/>
                </a:cubicBezTo>
                <a:cubicBezTo>
                  <a:pt x="227987" y="267981"/>
                  <a:pt x="200327" y="270692"/>
                  <a:pt x="172672" y="273435"/>
                </a:cubicBezTo>
                <a:cubicBezTo>
                  <a:pt x="159662" y="274725"/>
                  <a:pt x="146637" y="275935"/>
                  <a:pt x="133595" y="276823"/>
                </a:cubicBezTo>
                <a:cubicBezTo>
                  <a:pt x="117688" y="277907"/>
                  <a:pt x="101755" y="278616"/>
                  <a:pt x="84645" y="279507"/>
                </a:cubicBezTo>
                <a:close/>
              </a:path>
            </a:pathLst>
          </a:custGeom>
          <a:solidFill>
            <a:srgbClr val="FDFEFE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87" name="Free-form: Shape 386">
            <a:extLst>
              <a:ext uri="{FF2B5EF4-FFF2-40B4-BE49-F238E27FC236}">
                <a16:creationId xmlns:a16="http://schemas.microsoft.com/office/drawing/2014/main" id="{2506BA98-E0FC-D6F4-2FD3-9B417332F2EB}"/>
              </a:ext>
            </a:extLst>
          </p:cNvPr>
          <p:cNvSpPr/>
          <p:nvPr/>
        </p:nvSpPr>
        <p:spPr>
          <a:xfrm>
            <a:off x="4020241" y="5683418"/>
            <a:ext cx="284373" cy="65313"/>
          </a:xfrm>
          <a:custGeom>
            <a:avLst/>
            <a:gdLst>
              <a:gd name="csX0" fmla="*/ 270798 w 342106"/>
              <a:gd name="csY0" fmla="*/ 65953 h 78573"/>
              <a:gd name="csX1" fmla="*/ 183290 w 342106"/>
              <a:gd name="csY1" fmla="*/ 76017 h 78573"/>
              <a:gd name="csX2" fmla="*/ 72897 w 342106"/>
              <a:gd name="csY2" fmla="*/ 78565 h 78573"/>
              <a:gd name="csX3" fmla="*/ 5450 w 342106"/>
              <a:gd name="csY3" fmla="*/ 76564 h 78573"/>
              <a:gd name="csX4" fmla="*/ 0 w 342106"/>
              <a:gd name="csY4" fmla="*/ 75649 h 78573"/>
              <a:gd name="csX5" fmla="*/ 0 w 342106"/>
              <a:gd name="csY5" fmla="*/ 21324 h 78573"/>
              <a:gd name="csX6" fmla="*/ 8504 w 342106"/>
              <a:gd name="csY6" fmla="*/ 20688 h 78573"/>
              <a:gd name="csX7" fmla="*/ 98126 w 342106"/>
              <a:gd name="csY7" fmla="*/ 19655 h 78573"/>
              <a:gd name="csX8" fmla="*/ 221639 w 342106"/>
              <a:gd name="csY8" fmla="*/ 10929 h 78573"/>
              <a:gd name="csX9" fmla="*/ 304285 w 342106"/>
              <a:gd name="csY9" fmla="*/ 683 h 78573"/>
              <a:gd name="csX10" fmla="*/ 309173 w 342106"/>
              <a:gd name="csY10" fmla="*/ 212 h 78573"/>
              <a:gd name="csX11" fmla="*/ 335187 w 342106"/>
              <a:gd name="csY11" fmla="*/ 18545 h 78573"/>
              <a:gd name="csX12" fmla="*/ 342106 w 342106"/>
              <a:gd name="csY12" fmla="*/ 53602 h 78573"/>
              <a:gd name="csX13" fmla="*/ 270798 w 342106"/>
              <a:gd name="csY13" fmla="*/ 65953 h 7857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</a:cxnLst>
            <a:rect l="l" t="t" r="r" b="b"/>
            <a:pathLst>
              <a:path w="342106" h="78573">
                <a:moveTo>
                  <a:pt x="270798" y="65953"/>
                </a:moveTo>
                <a:cubicBezTo>
                  <a:pt x="240931" y="69594"/>
                  <a:pt x="212199" y="74306"/>
                  <a:pt x="183290" y="76017"/>
                </a:cubicBezTo>
                <a:cubicBezTo>
                  <a:pt x="146568" y="78191"/>
                  <a:pt x="109704" y="78349"/>
                  <a:pt x="72897" y="78565"/>
                </a:cubicBezTo>
                <a:cubicBezTo>
                  <a:pt x="50419" y="78697"/>
                  <a:pt x="27931" y="77315"/>
                  <a:pt x="5450" y="76564"/>
                </a:cubicBezTo>
                <a:cubicBezTo>
                  <a:pt x="3884" y="76512"/>
                  <a:pt x="2332" y="76053"/>
                  <a:pt x="0" y="75649"/>
                </a:cubicBezTo>
                <a:cubicBezTo>
                  <a:pt x="0" y="57619"/>
                  <a:pt x="0" y="39863"/>
                  <a:pt x="0" y="21324"/>
                </a:cubicBezTo>
                <a:cubicBezTo>
                  <a:pt x="3058" y="21086"/>
                  <a:pt x="5779" y="20715"/>
                  <a:pt x="8504" y="20688"/>
                </a:cubicBezTo>
                <a:cubicBezTo>
                  <a:pt x="38382" y="20390"/>
                  <a:pt x="68305" y="21101"/>
                  <a:pt x="98126" y="19655"/>
                </a:cubicBezTo>
                <a:cubicBezTo>
                  <a:pt x="139343" y="17657"/>
                  <a:pt x="180532" y="14597"/>
                  <a:pt x="221639" y="10929"/>
                </a:cubicBezTo>
                <a:cubicBezTo>
                  <a:pt x="249272" y="8463"/>
                  <a:pt x="276741" y="4156"/>
                  <a:pt x="304285" y="683"/>
                </a:cubicBezTo>
                <a:cubicBezTo>
                  <a:pt x="305908" y="478"/>
                  <a:pt x="307539" y="312"/>
                  <a:pt x="309173" y="212"/>
                </a:cubicBezTo>
                <a:cubicBezTo>
                  <a:pt x="326863" y="-867"/>
                  <a:pt x="330972" y="1719"/>
                  <a:pt x="335187" y="18545"/>
                </a:cubicBezTo>
                <a:cubicBezTo>
                  <a:pt x="337939" y="29526"/>
                  <a:pt x="339618" y="40777"/>
                  <a:pt x="342106" y="53602"/>
                </a:cubicBezTo>
                <a:cubicBezTo>
                  <a:pt x="317523" y="57833"/>
                  <a:pt x="294689" y="61762"/>
                  <a:pt x="270798" y="65953"/>
                </a:cubicBezTo>
                <a:close/>
              </a:path>
            </a:pathLst>
          </a:custGeom>
          <a:solidFill>
            <a:srgbClr val="FCFCFC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88" name="Free-form: Shape 387">
            <a:extLst>
              <a:ext uri="{FF2B5EF4-FFF2-40B4-BE49-F238E27FC236}">
                <a16:creationId xmlns:a16="http://schemas.microsoft.com/office/drawing/2014/main" id="{210FC145-0B81-CA5F-8280-D96856A33619}"/>
              </a:ext>
            </a:extLst>
          </p:cNvPr>
          <p:cNvSpPr/>
          <p:nvPr/>
        </p:nvSpPr>
        <p:spPr>
          <a:xfrm>
            <a:off x="4087960" y="4725562"/>
            <a:ext cx="72517" cy="55415"/>
          </a:xfrm>
          <a:custGeom>
            <a:avLst/>
            <a:gdLst>
              <a:gd name="csX0" fmla="*/ 9010 w 87239"/>
              <a:gd name="csY0" fmla="*/ 29316 h 66665"/>
              <a:gd name="csX1" fmla="*/ 6110 w 87239"/>
              <a:gd name="csY1" fmla="*/ 15162 h 66665"/>
              <a:gd name="csX2" fmla="*/ 0 w 87239"/>
              <a:gd name="csY2" fmla="*/ 3003 h 66665"/>
              <a:gd name="csX3" fmla="*/ 10641 w 87239"/>
              <a:gd name="csY3" fmla="*/ 697 h 66665"/>
              <a:gd name="csX4" fmla="*/ 42824 w 87239"/>
              <a:gd name="csY4" fmla="*/ 7981 h 66665"/>
              <a:gd name="csX5" fmla="*/ 73433 w 87239"/>
              <a:gd name="csY5" fmla="*/ 31631 h 66665"/>
              <a:gd name="csX6" fmla="*/ 86236 w 87239"/>
              <a:gd name="csY6" fmla="*/ 56519 h 66665"/>
              <a:gd name="csX7" fmla="*/ 82327 w 87239"/>
              <a:gd name="csY7" fmla="*/ 64249 h 66665"/>
              <a:gd name="csX8" fmla="*/ 49439 w 87239"/>
              <a:gd name="csY8" fmla="*/ 66665 h 66665"/>
              <a:gd name="csX9" fmla="*/ 11457 w 87239"/>
              <a:gd name="csY9" fmla="*/ 38560 h 66665"/>
              <a:gd name="csX10" fmla="*/ 9010 w 87239"/>
              <a:gd name="csY10" fmla="*/ 29316 h 6666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</a:cxnLst>
            <a:rect l="l" t="t" r="r" b="b"/>
            <a:pathLst>
              <a:path w="87239" h="66665">
                <a:moveTo>
                  <a:pt x="9010" y="29316"/>
                </a:moveTo>
                <a:cubicBezTo>
                  <a:pt x="7998" y="23924"/>
                  <a:pt x="7568" y="19365"/>
                  <a:pt x="6110" y="15162"/>
                </a:cubicBezTo>
                <a:cubicBezTo>
                  <a:pt x="4682" y="11044"/>
                  <a:pt x="2207" y="7289"/>
                  <a:pt x="0" y="3003"/>
                </a:cubicBezTo>
                <a:cubicBezTo>
                  <a:pt x="2648" y="-833"/>
                  <a:pt x="6580" y="-238"/>
                  <a:pt x="10641" y="697"/>
                </a:cubicBezTo>
                <a:cubicBezTo>
                  <a:pt x="21360" y="3163"/>
                  <a:pt x="32042" y="5825"/>
                  <a:pt x="42824" y="7981"/>
                </a:cubicBezTo>
                <a:cubicBezTo>
                  <a:pt x="57032" y="10823"/>
                  <a:pt x="67419" y="18068"/>
                  <a:pt x="73433" y="31631"/>
                </a:cubicBezTo>
                <a:cubicBezTo>
                  <a:pt x="77208" y="40146"/>
                  <a:pt x="81954" y="48228"/>
                  <a:pt x="86236" y="56519"/>
                </a:cubicBezTo>
                <a:cubicBezTo>
                  <a:pt x="88409" y="60728"/>
                  <a:pt x="87030" y="63806"/>
                  <a:pt x="82327" y="64249"/>
                </a:cubicBezTo>
                <a:cubicBezTo>
                  <a:pt x="71381" y="65282"/>
                  <a:pt x="60402" y="66689"/>
                  <a:pt x="49439" y="66665"/>
                </a:cubicBezTo>
                <a:cubicBezTo>
                  <a:pt x="28683" y="66620"/>
                  <a:pt x="18142" y="58428"/>
                  <a:pt x="11457" y="38560"/>
                </a:cubicBezTo>
                <a:cubicBezTo>
                  <a:pt x="10547" y="35855"/>
                  <a:pt x="9906" y="33058"/>
                  <a:pt x="9010" y="29316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89" name="Oval 388">
            <a:extLst>
              <a:ext uri="{FF2B5EF4-FFF2-40B4-BE49-F238E27FC236}">
                <a16:creationId xmlns:a16="http://schemas.microsoft.com/office/drawing/2014/main" id="{B7E316E2-1581-3E60-2BA3-19F030A7184D}"/>
              </a:ext>
            </a:extLst>
          </p:cNvPr>
          <p:cNvSpPr/>
          <p:nvPr/>
        </p:nvSpPr>
        <p:spPr>
          <a:xfrm>
            <a:off x="4819245" y="5666931"/>
            <a:ext cx="739960" cy="152189"/>
          </a:xfrm>
          <a:prstGeom prst="ellipse">
            <a:avLst/>
          </a:prstGeom>
          <a:solidFill>
            <a:schemeClr val="tx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90" name="Free-form: Shape 389">
            <a:extLst>
              <a:ext uri="{FF2B5EF4-FFF2-40B4-BE49-F238E27FC236}">
                <a16:creationId xmlns:a16="http://schemas.microsoft.com/office/drawing/2014/main" id="{EC6D7D55-1E6A-374C-7E96-E30B633D70F4}"/>
              </a:ext>
            </a:extLst>
          </p:cNvPr>
          <p:cNvSpPr/>
          <p:nvPr/>
        </p:nvSpPr>
        <p:spPr>
          <a:xfrm>
            <a:off x="4899209" y="4365354"/>
            <a:ext cx="650203" cy="1414846"/>
          </a:xfrm>
          <a:custGeom>
            <a:avLst/>
            <a:gdLst>
              <a:gd name="csX0" fmla="*/ 466852 w 715223"/>
              <a:gd name="csY0" fmla="*/ 229083 h 1556330"/>
              <a:gd name="csX1" fmla="*/ 462328 w 715223"/>
              <a:gd name="csY1" fmla="*/ 242604 h 1556330"/>
              <a:gd name="csX2" fmla="*/ 496944 w 715223"/>
              <a:gd name="csY2" fmla="*/ 204739 h 1556330"/>
              <a:gd name="csX3" fmla="*/ 534359 w 715223"/>
              <a:gd name="csY3" fmla="*/ 270960 h 1556330"/>
              <a:gd name="csX4" fmla="*/ 540589 w 715223"/>
              <a:gd name="csY4" fmla="*/ 445986 h 1556330"/>
              <a:gd name="csX5" fmla="*/ 509727 w 715223"/>
              <a:gd name="csY5" fmla="*/ 496924 h 1556330"/>
              <a:gd name="csX6" fmla="*/ 505366 w 715223"/>
              <a:gd name="csY6" fmla="*/ 511893 h 1556330"/>
              <a:gd name="csX7" fmla="*/ 501982 w 715223"/>
              <a:gd name="csY7" fmla="*/ 530377 h 1556330"/>
              <a:gd name="csX8" fmla="*/ 505678 w 715223"/>
              <a:gd name="csY8" fmla="*/ 556455 h 1556330"/>
              <a:gd name="csX9" fmla="*/ 526115 w 715223"/>
              <a:gd name="csY9" fmla="*/ 591784 h 1556330"/>
              <a:gd name="csX10" fmla="*/ 541579 w 715223"/>
              <a:gd name="csY10" fmla="*/ 612264 h 1556330"/>
              <a:gd name="csX11" fmla="*/ 569572 w 715223"/>
              <a:gd name="csY11" fmla="*/ 643441 h 1556330"/>
              <a:gd name="csX12" fmla="*/ 555234 w 715223"/>
              <a:gd name="csY12" fmla="*/ 688473 h 1556330"/>
              <a:gd name="csX13" fmla="*/ 513278 w 715223"/>
              <a:gd name="csY13" fmla="*/ 700556 h 1556330"/>
              <a:gd name="csX14" fmla="*/ 488559 w 715223"/>
              <a:gd name="csY14" fmla="*/ 702821 h 1556330"/>
              <a:gd name="csX15" fmla="*/ 488544 w 715223"/>
              <a:gd name="csY15" fmla="*/ 718085 h 1556330"/>
              <a:gd name="csX16" fmla="*/ 526561 w 715223"/>
              <a:gd name="csY16" fmla="*/ 1010212 h 1556330"/>
              <a:gd name="csX17" fmla="*/ 569986 w 715223"/>
              <a:gd name="csY17" fmla="*/ 1153317 h 1556330"/>
              <a:gd name="csX18" fmla="*/ 587389 w 715223"/>
              <a:gd name="csY18" fmla="*/ 1172173 h 1556330"/>
              <a:gd name="csX19" fmla="*/ 606286 w 715223"/>
              <a:gd name="csY19" fmla="*/ 1180891 h 1556330"/>
              <a:gd name="csX20" fmla="*/ 613400 w 715223"/>
              <a:gd name="csY20" fmla="*/ 1204260 h 1556330"/>
              <a:gd name="csX21" fmla="*/ 605350 w 715223"/>
              <a:gd name="csY21" fmla="*/ 1216760 h 1556330"/>
              <a:gd name="csX22" fmla="*/ 600268 w 715223"/>
              <a:gd name="csY22" fmla="*/ 1220273 h 1556330"/>
              <a:gd name="csX23" fmla="*/ 610574 w 715223"/>
              <a:gd name="csY23" fmla="*/ 1258750 h 1556330"/>
              <a:gd name="csX24" fmla="*/ 672371 w 715223"/>
              <a:gd name="csY24" fmla="*/ 1319810 h 1556330"/>
              <a:gd name="csX25" fmla="*/ 675494 w 715223"/>
              <a:gd name="csY25" fmla="*/ 1323366 h 1556330"/>
              <a:gd name="csX26" fmla="*/ 692949 w 715223"/>
              <a:gd name="csY26" fmla="*/ 1396068 h 1556330"/>
              <a:gd name="csX27" fmla="*/ 690628 w 715223"/>
              <a:gd name="csY27" fmla="*/ 1414117 h 1556330"/>
              <a:gd name="csX28" fmla="*/ 695588 w 715223"/>
              <a:gd name="csY28" fmla="*/ 1421035 h 1556330"/>
              <a:gd name="csX29" fmla="*/ 694353 w 715223"/>
              <a:gd name="csY29" fmla="*/ 1425190 h 1556330"/>
              <a:gd name="csX30" fmla="*/ 689106 w 715223"/>
              <a:gd name="csY30" fmla="*/ 1428714 h 1556330"/>
              <a:gd name="csX31" fmla="*/ 695093 w 715223"/>
              <a:gd name="csY31" fmla="*/ 1428433 h 1556330"/>
              <a:gd name="csX32" fmla="*/ 697643 w 715223"/>
              <a:gd name="csY32" fmla="*/ 1432864 h 1556330"/>
              <a:gd name="csX33" fmla="*/ 698207 w 715223"/>
              <a:gd name="csY33" fmla="*/ 1441988 h 1556330"/>
              <a:gd name="csX34" fmla="*/ 715183 w 715223"/>
              <a:gd name="csY34" fmla="*/ 1508752 h 1556330"/>
              <a:gd name="csX35" fmla="*/ 701540 w 715223"/>
              <a:gd name="csY35" fmla="*/ 1526524 h 1556330"/>
              <a:gd name="csX36" fmla="*/ 581715 w 715223"/>
              <a:gd name="csY36" fmla="*/ 1548559 h 1556330"/>
              <a:gd name="csX37" fmla="*/ 522168 w 715223"/>
              <a:gd name="csY37" fmla="*/ 1553543 h 1556330"/>
              <a:gd name="csX38" fmla="*/ 450008 w 715223"/>
              <a:gd name="csY38" fmla="*/ 1556019 h 1556330"/>
              <a:gd name="csX39" fmla="*/ 245169 w 715223"/>
              <a:gd name="csY39" fmla="*/ 1553749 h 1556330"/>
              <a:gd name="csX40" fmla="*/ 221854 w 715223"/>
              <a:gd name="csY40" fmla="*/ 1553306 h 1556330"/>
              <a:gd name="csX41" fmla="*/ 168405 w 715223"/>
              <a:gd name="csY41" fmla="*/ 1548828 h 1556330"/>
              <a:gd name="csX42" fmla="*/ 126970 w 715223"/>
              <a:gd name="csY42" fmla="*/ 1546091 h 1556330"/>
              <a:gd name="csX43" fmla="*/ 104053 w 715223"/>
              <a:gd name="csY43" fmla="*/ 1542912 h 1556330"/>
              <a:gd name="csX44" fmla="*/ 65625 w 715223"/>
              <a:gd name="csY44" fmla="*/ 1536401 h 1556330"/>
              <a:gd name="csX45" fmla="*/ 10909 w 715223"/>
              <a:gd name="csY45" fmla="*/ 1524010 h 1556330"/>
              <a:gd name="csX46" fmla="*/ 8 w 715223"/>
              <a:gd name="csY46" fmla="*/ 1509263 h 1556330"/>
              <a:gd name="csX47" fmla="*/ 21158 w 715223"/>
              <a:gd name="csY47" fmla="*/ 1433611 h 1556330"/>
              <a:gd name="csX48" fmla="*/ 23462 w 715223"/>
              <a:gd name="csY48" fmla="*/ 1418658 h 1556330"/>
              <a:gd name="csX49" fmla="*/ 19643 w 715223"/>
              <a:gd name="csY49" fmla="*/ 1382324 h 1556330"/>
              <a:gd name="csX50" fmla="*/ 49060 w 715223"/>
              <a:gd name="csY50" fmla="*/ 1311832 h 1556330"/>
              <a:gd name="csX51" fmla="*/ 109176 w 715223"/>
              <a:gd name="csY51" fmla="*/ 1254078 h 1556330"/>
              <a:gd name="csX52" fmla="*/ 118319 w 715223"/>
              <a:gd name="csY52" fmla="*/ 1214801 h 1556330"/>
              <a:gd name="csX53" fmla="*/ 113082 w 715223"/>
              <a:gd name="csY53" fmla="*/ 1201084 h 1556330"/>
              <a:gd name="csX54" fmla="*/ 120417 w 715223"/>
              <a:gd name="csY54" fmla="*/ 1183950 h 1556330"/>
              <a:gd name="csX55" fmla="*/ 135209 w 715223"/>
              <a:gd name="csY55" fmla="*/ 1178138 h 1556330"/>
              <a:gd name="csX56" fmla="*/ 156535 w 715223"/>
              <a:gd name="csY56" fmla="*/ 1156396 h 1556330"/>
              <a:gd name="csX57" fmla="*/ 185647 w 715223"/>
              <a:gd name="csY57" fmla="*/ 1061682 h 1556330"/>
              <a:gd name="csX58" fmla="*/ 201074 w 715223"/>
              <a:gd name="csY58" fmla="*/ 1005093 h 1556330"/>
              <a:gd name="csX59" fmla="*/ 213864 w 715223"/>
              <a:gd name="csY59" fmla="*/ 943040 h 1556330"/>
              <a:gd name="csX60" fmla="*/ 223580 w 715223"/>
              <a:gd name="csY60" fmla="*/ 884167 h 1556330"/>
              <a:gd name="csX61" fmla="*/ 228827 w 715223"/>
              <a:gd name="csY61" fmla="*/ 839382 h 1556330"/>
              <a:gd name="csX62" fmla="*/ 233251 w 715223"/>
              <a:gd name="csY62" fmla="*/ 794539 h 1556330"/>
              <a:gd name="csX63" fmla="*/ 233413 w 715223"/>
              <a:gd name="csY63" fmla="*/ 708554 h 1556330"/>
              <a:gd name="csX64" fmla="*/ 232253 w 715223"/>
              <a:gd name="csY64" fmla="*/ 699181 h 1556330"/>
              <a:gd name="csX65" fmla="*/ 192775 w 715223"/>
              <a:gd name="csY65" fmla="*/ 693131 h 1556330"/>
              <a:gd name="csX66" fmla="*/ 166222 w 715223"/>
              <a:gd name="csY66" fmla="*/ 684229 h 1556330"/>
              <a:gd name="csX67" fmla="*/ 153485 w 715223"/>
              <a:gd name="csY67" fmla="*/ 649704 h 1556330"/>
              <a:gd name="csX68" fmla="*/ 179302 w 715223"/>
              <a:gd name="csY68" fmla="*/ 621006 h 1556330"/>
              <a:gd name="csX69" fmla="*/ 192182 w 715223"/>
              <a:gd name="csY69" fmla="*/ 601675 h 1556330"/>
              <a:gd name="csX70" fmla="*/ 204894 w 715223"/>
              <a:gd name="csY70" fmla="*/ 583417 h 1556330"/>
              <a:gd name="csX71" fmla="*/ 233213 w 715223"/>
              <a:gd name="csY71" fmla="*/ 564393 h 1556330"/>
              <a:gd name="csX72" fmla="*/ 229725 w 715223"/>
              <a:gd name="csY72" fmla="*/ 538177 h 1556330"/>
              <a:gd name="csX73" fmla="*/ 218771 w 715223"/>
              <a:gd name="csY73" fmla="*/ 532633 h 1556330"/>
              <a:gd name="csX74" fmla="*/ 215183 w 715223"/>
              <a:gd name="csY74" fmla="*/ 521568 h 1556330"/>
              <a:gd name="csX75" fmla="*/ 223368 w 715223"/>
              <a:gd name="csY75" fmla="*/ 508901 h 1556330"/>
              <a:gd name="csX76" fmla="*/ 218372 w 715223"/>
              <a:gd name="csY76" fmla="*/ 498135 h 1556330"/>
              <a:gd name="csX77" fmla="*/ 181440 w 715223"/>
              <a:gd name="csY77" fmla="*/ 432308 h 1556330"/>
              <a:gd name="csX78" fmla="*/ 167535 w 715223"/>
              <a:gd name="csY78" fmla="*/ 349841 h 1556330"/>
              <a:gd name="csX79" fmla="*/ 193488 w 715223"/>
              <a:gd name="csY79" fmla="*/ 262518 h 1556330"/>
              <a:gd name="csX80" fmla="*/ 237748 w 715223"/>
              <a:gd name="csY80" fmla="*/ 190690 h 1556330"/>
              <a:gd name="csX81" fmla="*/ 309459 w 715223"/>
              <a:gd name="csY81" fmla="*/ 102623 h 1556330"/>
              <a:gd name="csX82" fmla="*/ 310459 w 715223"/>
              <a:gd name="csY82" fmla="*/ 78521 h 1556330"/>
              <a:gd name="csX83" fmla="*/ 300267 w 715223"/>
              <a:gd name="csY83" fmla="*/ 57856 h 1556330"/>
              <a:gd name="csX84" fmla="*/ 332242 w 715223"/>
              <a:gd name="csY84" fmla="*/ 4422 h 1556330"/>
              <a:gd name="csX85" fmla="*/ 384904 w 715223"/>
              <a:gd name="csY85" fmla="*/ 5551 h 1556330"/>
              <a:gd name="csX86" fmla="*/ 409773 w 715223"/>
              <a:gd name="csY86" fmla="*/ 26778 h 1556330"/>
              <a:gd name="csX87" fmla="*/ 407026 w 715223"/>
              <a:gd name="csY87" fmla="*/ 46052 h 1556330"/>
              <a:gd name="csX88" fmla="*/ 402771 w 715223"/>
              <a:gd name="csY88" fmla="*/ 30951 h 1556330"/>
              <a:gd name="csX89" fmla="*/ 397038 w 715223"/>
              <a:gd name="csY89" fmla="*/ 30361 h 1556330"/>
              <a:gd name="csX90" fmla="*/ 360694 w 715223"/>
              <a:gd name="csY90" fmla="*/ 22760 h 1556330"/>
              <a:gd name="csX91" fmla="*/ 351669 w 715223"/>
              <a:gd name="csY91" fmla="*/ 31736 h 1556330"/>
              <a:gd name="csX92" fmla="*/ 351426 w 715223"/>
              <a:gd name="csY92" fmla="*/ 43987 h 1556330"/>
              <a:gd name="csX93" fmla="*/ 390968 w 715223"/>
              <a:gd name="csY93" fmla="*/ 68762 h 1556330"/>
              <a:gd name="csX94" fmla="*/ 401770 w 715223"/>
              <a:gd name="csY94" fmla="*/ 59025 h 1556330"/>
              <a:gd name="csX95" fmla="*/ 409619 w 715223"/>
              <a:gd name="csY95" fmla="*/ 55786 h 1556330"/>
              <a:gd name="csX96" fmla="*/ 410427 w 715223"/>
              <a:gd name="csY96" fmla="*/ 64256 h 1556330"/>
              <a:gd name="csX97" fmla="*/ 399453 w 715223"/>
              <a:gd name="csY97" fmla="*/ 81811 h 1556330"/>
              <a:gd name="csX98" fmla="*/ 399346 w 715223"/>
              <a:gd name="csY98" fmla="*/ 98083 h 1556330"/>
              <a:gd name="csX99" fmla="*/ 471592 w 715223"/>
              <a:gd name="csY99" fmla="*/ 180524 h 1556330"/>
              <a:gd name="csX100" fmla="*/ 473550 w 715223"/>
              <a:gd name="csY100" fmla="*/ 200923 h 1556330"/>
              <a:gd name="csX101" fmla="*/ 463677 w 715223"/>
              <a:gd name="csY101" fmla="*/ 223311 h 1556330"/>
              <a:gd name="csX102" fmla="*/ 466852 w 715223"/>
              <a:gd name="csY102" fmla="*/ 229083 h 1556330"/>
              <a:gd name="csX103" fmla="*/ 474186 w 715223"/>
              <a:gd name="csY103" fmla="*/ 928382 h 1556330"/>
              <a:gd name="csX104" fmla="*/ 459927 w 715223"/>
              <a:gd name="csY104" fmla="*/ 817790 h 1556330"/>
              <a:gd name="csX105" fmla="*/ 456025 w 715223"/>
              <a:gd name="csY105" fmla="*/ 706469 h 1556330"/>
              <a:gd name="csX106" fmla="*/ 366863 w 715223"/>
              <a:gd name="csY106" fmla="*/ 710754 h 1556330"/>
              <a:gd name="csX107" fmla="*/ 366159 w 715223"/>
              <a:gd name="csY107" fmla="*/ 719219 h 1556330"/>
              <a:gd name="csX108" fmla="*/ 364159 w 715223"/>
              <a:gd name="csY108" fmla="*/ 834581 h 1556330"/>
              <a:gd name="csX109" fmla="*/ 361633 w 715223"/>
              <a:gd name="csY109" fmla="*/ 940117 h 1556330"/>
              <a:gd name="csX110" fmla="*/ 358313 w 715223"/>
              <a:gd name="csY110" fmla="*/ 1053005 h 1556330"/>
              <a:gd name="csX111" fmla="*/ 358081 w 715223"/>
              <a:gd name="csY111" fmla="*/ 1057912 h 1556330"/>
              <a:gd name="csX112" fmla="*/ 353706 w 715223"/>
              <a:gd name="csY112" fmla="*/ 1164570 h 1556330"/>
              <a:gd name="csX113" fmla="*/ 354951 w 715223"/>
              <a:gd name="csY113" fmla="*/ 1172547 h 1556330"/>
              <a:gd name="csX114" fmla="*/ 540959 w 715223"/>
              <a:gd name="csY114" fmla="*/ 1175972 h 1556330"/>
              <a:gd name="csX115" fmla="*/ 474186 w 715223"/>
              <a:gd name="csY115" fmla="*/ 928382 h 1556330"/>
              <a:gd name="csX116" fmla="*/ 513768 w 715223"/>
              <a:gd name="csY116" fmla="*/ 1417676 h 1556330"/>
              <a:gd name="csX117" fmla="*/ 519822 w 715223"/>
              <a:gd name="csY117" fmla="*/ 1416700 h 1556330"/>
              <a:gd name="csX118" fmla="*/ 632041 w 715223"/>
              <a:gd name="csY118" fmla="*/ 1406122 h 1556330"/>
              <a:gd name="csX119" fmla="*/ 665040 w 715223"/>
              <a:gd name="csY119" fmla="*/ 1400634 h 1556330"/>
              <a:gd name="csX120" fmla="*/ 665677 w 715223"/>
              <a:gd name="csY120" fmla="*/ 1396126 h 1556330"/>
              <a:gd name="csX121" fmla="*/ 665529 w 715223"/>
              <a:gd name="csY121" fmla="*/ 1389994 h 1556330"/>
              <a:gd name="csX122" fmla="*/ 623046 w 715223"/>
              <a:gd name="csY122" fmla="*/ 1306238 h 1556330"/>
              <a:gd name="csX123" fmla="*/ 596015 w 715223"/>
              <a:gd name="csY123" fmla="*/ 1281285 h 1556330"/>
              <a:gd name="csX124" fmla="*/ 567683 w 715223"/>
              <a:gd name="csY124" fmla="*/ 1220059 h 1556330"/>
              <a:gd name="csX125" fmla="*/ 540273 w 715223"/>
              <a:gd name="csY125" fmla="*/ 1220129 h 1556330"/>
              <a:gd name="csX126" fmla="*/ 424010 w 715223"/>
              <a:gd name="csY126" fmla="*/ 1226781 h 1556330"/>
              <a:gd name="csX127" fmla="*/ 357832 w 715223"/>
              <a:gd name="csY127" fmla="*/ 1229178 h 1556330"/>
              <a:gd name="csX128" fmla="*/ 352386 w 715223"/>
              <a:gd name="csY128" fmla="*/ 1230616 h 1556330"/>
              <a:gd name="csX129" fmla="*/ 355852 w 715223"/>
              <a:gd name="csY129" fmla="*/ 1324222 h 1556330"/>
              <a:gd name="csX130" fmla="*/ 352930 w 715223"/>
              <a:gd name="csY130" fmla="*/ 1417867 h 1556330"/>
              <a:gd name="csX131" fmla="*/ 513768 w 715223"/>
              <a:gd name="csY131" fmla="*/ 1417676 h 1556330"/>
              <a:gd name="csX132" fmla="*/ 387930 w 715223"/>
              <a:gd name="csY132" fmla="*/ 499741 h 1556330"/>
              <a:gd name="csX133" fmla="*/ 456529 w 715223"/>
              <a:gd name="csY133" fmla="*/ 496826 h 1556330"/>
              <a:gd name="csX134" fmla="*/ 482355 w 715223"/>
              <a:gd name="csY134" fmla="*/ 485095 h 1556330"/>
              <a:gd name="csX135" fmla="*/ 528016 w 715223"/>
              <a:gd name="csY135" fmla="*/ 374829 h 1556330"/>
              <a:gd name="csX136" fmla="*/ 501375 w 715223"/>
              <a:gd name="csY136" fmla="*/ 261643 h 1556330"/>
              <a:gd name="csX137" fmla="*/ 493534 w 715223"/>
              <a:gd name="csY137" fmla="*/ 249818 h 1556330"/>
              <a:gd name="csX138" fmla="*/ 485920 w 715223"/>
              <a:gd name="csY138" fmla="*/ 260010 h 1556330"/>
              <a:gd name="csX139" fmla="*/ 453305 w 715223"/>
              <a:gd name="csY139" fmla="*/ 310523 h 1556330"/>
              <a:gd name="csX140" fmla="*/ 433678 w 715223"/>
              <a:gd name="csY140" fmla="*/ 338672 h 1556330"/>
              <a:gd name="csX141" fmla="*/ 403713 w 715223"/>
              <a:gd name="csY141" fmla="*/ 343710 h 1556330"/>
              <a:gd name="csX142" fmla="*/ 396427 w 715223"/>
              <a:gd name="csY142" fmla="*/ 315612 h 1556330"/>
              <a:gd name="csX143" fmla="*/ 399663 w 715223"/>
              <a:gd name="csY143" fmla="*/ 309000 h 1556330"/>
              <a:gd name="csX144" fmla="*/ 452097 w 715223"/>
              <a:gd name="csY144" fmla="*/ 200770 h 1556330"/>
              <a:gd name="csX145" fmla="*/ 450118 w 715223"/>
              <a:gd name="csY145" fmla="*/ 180596 h 1556330"/>
              <a:gd name="csX146" fmla="*/ 376545 w 715223"/>
              <a:gd name="csY146" fmla="*/ 105525 h 1556330"/>
              <a:gd name="csX147" fmla="*/ 368791 w 715223"/>
              <a:gd name="csY147" fmla="*/ 101653 h 1556330"/>
              <a:gd name="csX148" fmla="*/ 366449 w 715223"/>
              <a:gd name="csY148" fmla="*/ 144676 h 1556330"/>
              <a:gd name="csX149" fmla="*/ 365447 w 715223"/>
              <a:gd name="csY149" fmla="*/ 183946 h 1556330"/>
              <a:gd name="csX150" fmla="*/ 364738 w 715223"/>
              <a:gd name="csY150" fmla="*/ 298022 h 1556330"/>
              <a:gd name="csX151" fmla="*/ 373865 w 715223"/>
              <a:gd name="csY151" fmla="*/ 430096 h 1556330"/>
              <a:gd name="csX152" fmla="*/ 381088 w 715223"/>
              <a:gd name="csY152" fmla="*/ 492169 h 1556330"/>
              <a:gd name="csX153" fmla="*/ 387930 w 715223"/>
              <a:gd name="csY153" fmla="*/ 499741 h 1556330"/>
              <a:gd name="csX154" fmla="*/ 455850 w 715223"/>
              <a:gd name="csY154" fmla="*/ 1521476 h 1556330"/>
              <a:gd name="csX155" fmla="*/ 685121 w 715223"/>
              <a:gd name="csY155" fmla="*/ 1496509 h 1556330"/>
              <a:gd name="csX156" fmla="*/ 672999 w 715223"/>
              <a:gd name="csY156" fmla="*/ 1456665 h 1556330"/>
              <a:gd name="csX157" fmla="*/ 660009 w 715223"/>
              <a:gd name="csY157" fmla="*/ 1450249 h 1556330"/>
              <a:gd name="csX158" fmla="*/ 633248 w 715223"/>
              <a:gd name="csY158" fmla="*/ 1453589 h 1556330"/>
              <a:gd name="csX159" fmla="*/ 451131 w 715223"/>
              <a:gd name="csY159" fmla="*/ 1467458 h 1556330"/>
              <a:gd name="csX160" fmla="*/ 362719 w 715223"/>
              <a:gd name="csY160" fmla="*/ 1467934 h 1556330"/>
              <a:gd name="csX161" fmla="*/ 349983 w 715223"/>
              <a:gd name="csY161" fmla="*/ 1467936 h 1556330"/>
              <a:gd name="csX162" fmla="*/ 352220 w 715223"/>
              <a:gd name="csY162" fmla="*/ 1519140 h 1556330"/>
              <a:gd name="csX163" fmla="*/ 455850 w 715223"/>
              <a:gd name="csY163" fmla="*/ 1521476 h 1556330"/>
              <a:gd name="csX164" fmla="*/ 368682 w 715223"/>
              <a:gd name="csY164" fmla="*/ 544846 h 1556330"/>
              <a:gd name="csX165" fmla="*/ 363600 w 715223"/>
              <a:gd name="csY165" fmla="*/ 605633 h 1556330"/>
              <a:gd name="csX166" fmla="*/ 496351 w 715223"/>
              <a:gd name="csY166" fmla="*/ 601466 h 1556330"/>
              <a:gd name="csX167" fmla="*/ 485068 w 715223"/>
              <a:gd name="csY167" fmla="*/ 579288 h 1556330"/>
              <a:gd name="csX168" fmla="*/ 466524 w 715223"/>
              <a:gd name="csY168" fmla="*/ 541026 h 1556330"/>
              <a:gd name="csX169" fmla="*/ 465000 w 715223"/>
              <a:gd name="csY169" fmla="*/ 536289 h 1556330"/>
              <a:gd name="csX170" fmla="*/ 451328 w 715223"/>
              <a:gd name="csY170" fmla="*/ 536316 h 1556330"/>
              <a:gd name="csX171" fmla="*/ 390140 w 715223"/>
              <a:gd name="csY171" fmla="*/ 538979 h 1556330"/>
              <a:gd name="csX172" fmla="*/ 374215 w 715223"/>
              <a:gd name="csY172" fmla="*/ 539303 h 1556330"/>
              <a:gd name="csX173" fmla="*/ 368682 w 715223"/>
              <a:gd name="csY173" fmla="*/ 544846 h 1556330"/>
              <a:gd name="csX174" fmla="*/ 453915 w 715223"/>
              <a:gd name="csY174" fmla="*/ 635267 h 1556330"/>
              <a:gd name="csX175" fmla="*/ 374200 w 715223"/>
              <a:gd name="csY175" fmla="*/ 639402 h 1556330"/>
              <a:gd name="csX176" fmla="*/ 374200 w 715223"/>
              <a:gd name="csY176" fmla="*/ 673206 h 1556330"/>
              <a:gd name="csX177" fmla="*/ 386639 w 715223"/>
              <a:gd name="csY177" fmla="*/ 673718 h 1556330"/>
              <a:gd name="csX178" fmla="*/ 521198 w 715223"/>
              <a:gd name="csY178" fmla="*/ 668541 h 1556330"/>
              <a:gd name="csX179" fmla="*/ 534198 w 715223"/>
              <a:gd name="csY179" fmla="*/ 665521 h 1556330"/>
              <a:gd name="csX180" fmla="*/ 538413 w 715223"/>
              <a:gd name="csY180" fmla="*/ 652526 h 1556330"/>
              <a:gd name="csX181" fmla="*/ 529377 w 715223"/>
              <a:gd name="csY181" fmla="*/ 642895 h 1556330"/>
              <a:gd name="csX182" fmla="*/ 502829 w 715223"/>
              <a:gd name="csY182" fmla="*/ 634808 h 1556330"/>
              <a:gd name="csX183" fmla="*/ 453915 w 715223"/>
              <a:gd name="csY183" fmla="*/ 635267 h 155633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  <a:cxn ang="0">
                <a:pos x="csX170" y="csY170"/>
              </a:cxn>
              <a:cxn ang="0">
                <a:pos x="csX171" y="csY171"/>
              </a:cxn>
              <a:cxn ang="0">
                <a:pos x="csX172" y="csY172"/>
              </a:cxn>
              <a:cxn ang="0">
                <a:pos x="csX173" y="csY173"/>
              </a:cxn>
              <a:cxn ang="0">
                <a:pos x="csX174" y="csY174"/>
              </a:cxn>
              <a:cxn ang="0">
                <a:pos x="csX175" y="csY175"/>
              </a:cxn>
              <a:cxn ang="0">
                <a:pos x="csX176" y="csY176"/>
              </a:cxn>
              <a:cxn ang="0">
                <a:pos x="csX177" y="csY177"/>
              </a:cxn>
              <a:cxn ang="0">
                <a:pos x="csX178" y="csY178"/>
              </a:cxn>
              <a:cxn ang="0">
                <a:pos x="csX179" y="csY179"/>
              </a:cxn>
              <a:cxn ang="0">
                <a:pos x="csX180" y="csY180"/>
              </a:cxn>
              <a:cxn ang="0">
                <a:pos x="csX181" y="csY181"/>
              </a:cxn>
              <a:cxn ang="0">
                <a:pos x="csX182" y="csY182"/>
              </a:cxn>
              <a:cxn ang="0">
                <a:pos x="csX183" y="csY183"/>
              </a:cxn>
            </a:cxnLst>
            <a:rect l="l" t="t" r="r" b="b"/>
            <a:pathLst>
              <a:path w="715223" h="1556330">
                <a:moveTo>
                  <a:pt x="466852" y="229083"/>
                </a:moveTo>
                <a:cubicBezTo>
                  <a:pt x="465344" y="233590"/>
                  <a:pt x="463836" y="238097"/>
                  <a:pt x="462328" y="242604"/>
                </a:cubicBezTo>
                <a:cubicBezTo>
                  <a:pt x="476604" y="232528"/>
                  <a:pt x="484219" y="216936"/>
                  <a:pt x="496944" y="204739"/>
                </a:cubicBezTo>
                <a:cubicBezTo>
                  <a:pt x="511903" y="225901"/>
                  <a:pt x="524807" y="247414"/>
                  <a:pt x="534359" y="270960"/>
                </a:cubicBezTo>
                <a:cubicBezTo>
                  <a:pt x="557740" y="328591"/>
                  <a:pt x="560223" y="386926"/>
                  <a:pt x="540589" y="445986"/>
                </a:cubicBezTo>
                <a:cubicBezTo>
                  <a:pt x="534197" y="465215"/>
                  <a:pt x="524450" y="482672"/>
                  <a:pt x="509727" y="496924"/>
                </a:cubicBezTo>
                <a:cubicBezTo>
                  <a:pt x="505277" y="501232"/>
                  <a:pt x="502734" y="505157"/>
                  <a:pt x="505366" y="511893"/>
                </a:cubicBezTo>
                <a:cubicBezTo>
                  <a:pt x="507828" y="518196"/>
                  <a:pt x="505953" y="524402"/>
                  <a:pt x="501982" y="530377"/>
                </a:cubicBezTo>
                <a:cubicBezTo>
                  <a:pt x="495613" y="539961"/>
                  <a:pt x="496865" y="548901"/>
                  <a:pt x="505678" y="556455"/>
                </a:cubicBezTo>
                <a:cubicBezTo>
                  <a:pt x="516748" y="565943"/>
                  <a:pt x="523694" y="577557"/>
                  <a:pt x="526115" y="591784"/>
                </a:cubicBezTo>
                <a:cubicBezTo>
                  <a:pt x="527758" y="601445"/>
                  <a:pt x="532593" y="608029"/>
                  <a:pt x="541579" y="612264"/>
                </a:cubicBezTo>
                <a:cubicBezTo>
                  <a:pt x="555150" y="618662"/>
                  <a:pt x="564081" y="629523"/>
                  <a:pt x="569572" y="643441"/>
                </a:cubicBezTo>
                <a:cubicBezTo>
                  <a:pt x="576413" y="660776"/>
                  <a:pt x="570996" y="678245"/>
                  <a:pt x="555234" y="688473"/>
                </a:cubicBezTo>
                <a:cubicBezTo>
                  <a:pt x="542486" y="696746"/>
                  <a:pt x="528127" y="699474"/>
                  <a:pt x="513278" y="700556"/>
                </a:cubicBezTo>
                <a:cubicBezTo>
                  <a:pt x="505590" y="701115"/>
                  <a:pt x="497922" y="701952"/>
                  <a:pt x="488559" y="702821"/>
                </a:cubicBezTo>
                <a:cubicBezTo>
                  <a:pt x="488559" y="708552"/>
                  <a:pt x="488653" y="713320"/>
                  <a:pt x="488544" y="718085"/>
                </a:cubicBezTo>
                <a:cubicBezTo>
                  <a:pt x="486284" y="817406"/>
                  <a:pt x="502313" y="914319"/>
                  <a:pt x="526561" y="1010212"/>
                </a:cubicBezTo>
                <a:cubicBezTo>
                  <a:pt x="538799" y="1058612"/>
                  <a:pt x="553050" y="1106345"/>
                  <a:pt x="569986" y="1153317"/>
                </a:cubicBezTo>
                <a:cubicBezTo>
                  <a:pt x="573328" y="1162590"/>
                  <a:pt x="578279" y="1168740"/>
                  <a:pt x="587389" y="1172173"/>
                </a:cubicBezTo>
                <a:cubicBezTo>
                  <a:pt x="593869" y="1174616"/>
                  <a:pt x="600289" y="1177449"/>
                  <a:pt x="606286" y="1180891"/>
                </a:cubicBezTo>
                <a:cubicBezTo>
                  <a:pt x="617185" y="1187146"/>
                  <a:pt x="618776" y="1192931"/>
                  <a:pt x="613400" y="1204260"/>
                </a:cubicBezTo>
                <a:cubicBezTo>
                  <a:pt x="611475" y="1208315"/>
                  <a:pt x="609140" y="1212177"/>
                  <a:pt x="605350" y="1216760"/>
                </a:cubicBezTo>
                <a:cubicBezTo>
                  <a:pt x="602514" y="1218347"/>
                  <a:pt x="600399" y="1219189"/>
                  <a:pt x="600268" y="1220273"/>
                </a:cubicBezTo>
                <a:cubicBezTo>
                  <a:pt x="598551" y="1234430"/>
                  <a:pt x="599473" y="1247881"/>
                  <a:pt x="610574" y="1258750"/>
                </a:cubicBezTo>
                <a:cubicBezTo>
                  <a:pt x="631265" y="1279009"/>
                  <a:pt x="651790" y="1299438"/>
                  <a:pt x="672371" y="1319810"/>
                </a:cubicBezTo>
                <a:cubicBezTo>
                  <a:pt x="673495" y="1320922"/>
                  <a:pt x="674892" y="1321987"/>
                  <a:pt x="675494" y="1323366"/>
                </a:cubicBezTo>
                <a:cubicBezTo>
                  <a:pt x="685626" y="1346558"/>
                  <a:pt x="694775" y="1370031"/>
                  <a:pt x="692949" y="1396068"/>
                </a:cubicBezTo>
                <a:cubicBezTo>
                  <a:pt x="692525" y="1402108"/>
                  <a:pt x="691276" y="1408087"/>
                  <a:pt x="690628" y="1414117"/>
                </a:cubicBezTo>
                <a:cubicBezTo>
                  <a:pt x="690241" y="1417713"/>
                  <a:pt x="691290" y="1420628"/>
                  <a:pt x="695588" y="1421035"/>
                </a:cubicBezTo>
                <a:cubicBezTo>
                  <a:pt x="695527" y="1422155"/>
                  <a:pt x="695467" y="1423274"/>
                  <a:pt x="694353" y="1425190"/>
                </a:cubicBezTo>
                <a:cubicBezTo>
                  <a:pt x="691901" y="1426894"/>
                  <a:pt x="690503" y="1427804"/>
                  <a:pt x="689106" y="1428714"/>
                </a:cubicBezTo>
                <a:cubicBezTo>
                  <a:pt x="691101" y="1428620"/>
                  <a:pt x="693098" y="1428527"/>
                  <a:pt x="695093" y="1428433"/>
                </a:cubicBezTo>
                <a:cubicBezTo>
                  <a:pt x="695976" y="1429430"/>
                  <a:pt x="696859" y="1430427"/>
                  <a:pt x="697643" y="1432864"/>
                </a:cubicBezTo>
                <a:cubicBezTo>
                  <a:pt x="697724" y="1436887"/>
                  <a:pt x="697087" y="1439912"/>
                  <a:pt x="698207" y="1441988"/>
                </a:cubicBezTo>
                <a:cubicBezTo>
                  <a:pt x="709464" y="1462853"/>
                  <a:pt x="715798" y="1484864"/>
                  <a:pt x="715183" y="1508752"/>
                </a:cubicBezTo>
                <a:cubicBezTo>
                  <a:pt x="714863" y="1521166"/>
                  <a:pt x="713458" y="1523372"/>
                  <a:pt x="701540" y="1526524"/>
                </a:cubicBezTo>
                <a:cubicBezTo>
                  <a:pt x="662165" y="1536936"/>
                  <a:pt x="622006" y="1543243"/>
                  <a:pt x="581715" y="1548559"/>
                </a:cubicBezTo>
                <a:cubicBezTo>
                  <a:pt x="561988" y="1551162"/>
                  <a:pt x="542052" y="1552457"/>
                  <a:pt x="522168" y="1553543"/>
                </a:cubicBezTo>
                <a:cubicBezTo>
                  <a:pt x="498138" y="1554856"/>
                  <a:pt x="474063" y="1556013"/>
                  <a:pt x="450008" y="1556019"/>
                </a:cubicBezTo>
                <a:cubicBezTo>
                  <a:pt x="381724" y="1556035"/>
                  <a:pt x="313415" y="1557550"/>
                  <a:pt x="245169" y="1553749"/>
                </a:cubicBezTo>
                <a:cubicBezTo>
                  <a:pt x="237413" y="1553317"/>
                  <a:pt x="229596" y="1553867"/>
                  <a:pt x="221854" y="1553306"/>
                </a:cubicBezTo>
                <a:cubicBezTo>
                  <a:pt x="204023" y="1552015"/>
                  <a:pt x="186231" y="1550202"/>
                  <a:pt x="168405" y="1548828"/>
                </a:cubicBezTo>
                <a:cubicBezTo>
                  <a:pt x="154605" y="1547764"/>
                  <a:pt x="140762" y="1547242"/>
                  <a:pt x="126970" y="1546091"/>
                </a:cubicBezTo>
                <a:cubicBezTo>
                  <a:pt x="119295" y="1545451"/>
                  <a:pt x="111668" y="1544132"/>
                  <a:pt x="104053" y="1542912"/>
                </a:cubicBezTo>
                <a:cubicBezTo>
                  <a:pt x="91223" y="1540858"/>
                  <a:pt x="78344" y="1539011"/>
                  <a:pt x="65625" y="1536401"/>
                </a:cubicBezTo>
                <a:cubicBezTo>
                  <a:pt x="47307" y="1532642"/>
                  <a:pt x="29006" y="1528694"/>
                  <a:pt x="10909" y="1524010"/>
                </a:cubicBezTo>
                <a:cubicBezTo>
                  <a:pt x="744" y="1521379"/>
                  <a:pt x="119" y="1519620"/>
                  <a:pt x="8" y="1509263"/>
                </a:cubicBezTo>
                <a:cubicBezTo>
                  <a:pt x="-283" y="1482004"/>
                  <a:pt x="7525" y="1456906"/>
                  <a:pt x="21158" y="1433611"/>
                </a:cubicBezTo>
                <a:cubicBezTo>
                  <a:pt x="24128" y="1428537"/>
                  <a:pt x="25100" y="1424162"/>
                  <a:pt x="23462" y="1418658"/>
                </a:cubicBezTo>
                <a:cubicBezTo>
                  <a:pt x="19938" y="1406814"/>
                  <a:pt x="19145" y="1394638"/>
                  <a:pt x="19643" y="1382324"/>
                </a:cubicBezTo>
                <a:cubicBezTo>
                  <a:pt x="20741" y="1355171"/>
                  <a:pt x="29461" y="1331114"/>
                  <a:pt x="49060" y="1311832"/>
                </a:cubicBezTo>
                <a:cubicBezTo>
                  <a:pt x="68866" y="1292344"/>
                  <a:pt x="89102" y="1273294"/>
                  <a:pt x="109176" y="1254078"/>
                </a:cubicBezTo>
                <a:cubicBezTo>
                  <a:pt x="120788" y="1242961"/>
                  <a:pt x="123122" y="1229673"/>
                  <a:pt x="118319" y="1214801"/>
                </a:cubicBezTo>
                <a:cubicBezTo>
                  <a:pt x="116817" y="1210150"/>
                  <a:pt x="114697" y="1205702"/>
                  <a:pt x="113082" y="1201084"/>
                </a:cubicBezTo>
                <a:cubicBezTo>
                  <a:pt x="109606" y="1191147"/>
                  <a:pt x="110855" y="1188189"/>
                  <a:pt x="120417" y="1183950"/>
                </a:cubicBezTo>
                <a:cubicBezTo>
                  <a:pt x="125262" y="1181801"/>
                  <a:pt x="130109" y="1179394"/>
                  <a:pt x="135209" y="1178138"/>
                </a:cubicBezTo>
                <a:cubicBezTo>
                  <a:pt x="146972" y="1175241"/>
                  <a:pt x="153194" y="1166910"/>
                  <a:pt x="156535" y="1156396"/>
                </a:cubicBezTo>
                <a:cubicBezTo>
                  <a:pt x="166535" y="1124919"/>
                  <a:pt x="176229" y="1093339"/>
                  <a:pt x="185647" y="1061682"/>
                </a:cubicBezTo>
                <a:cubicBezTo>
                  <a:pt x="191222" y="1042945"/>
                  <a:pt x="196570" y="1024108"/>
                  <a:pt x="201074" y="1005093"/>
                </a:cubicBezTo>
                <a:cubicBezTo>
                  <a:pt x="205941" y="984550"/>
                  <a:pt x="210000" y="963801"/>
                  <a:pt x="213864" y="943040"/>
                </a:cubicBezTo>
                <a:cubicBezTo>
                  <a:pt x="217503" y="923489"/>
                  <a:pt x="220701" y="903846"/>
                  <a:pt x="223580" y="884167"/>
                </a:cubicBezTo>
                <a:cubicBezTo>
                  <a:pt x="225754" y="869301"/>
                  <a:pt x="227195" y="854324"/>
                  <a:pt x="228827" y="839382"/>
                </a:cubicBezTo>
                <a:cubicBezTo>
                  <a:pt x="230459" y="824446"/>
                  <a:pt x="232880" y="809515"/>
                  <a:pt x="233251" y="794539"/>
                </a:cubicBezTo>
                <a:cubicBezTo>
                  <a:pt x="233961" y="765893"/>
                  <a:pt x="233499" y="737217"/>
                  <a:pt x="233413" y="708554"/>
                </a:cubicBezTo>
                <a:cubicBezTo>
                  <a:pt x="233404" y="705465"/>
                  <a:pt x="232667" y="702378"/>
                  <a:pt x="232253" y="699181"/>
                </a:cubicBezTo>
                <a:cubicBezTo>
                  <a:pt x="218443" y="697138"/>
                  <a:pt x="205461" y="695831"/>
                  <a:pt x="192775" y="693131"/>
                </a:cubicBezTo>
                <a:cubicBezTo>
                  <a:pt x="183686" y="691197"/>
                  <a:pt x="174549" y="688305"/>
                  <a:pt x="166222" y="684229"/>
                </a:cubicBezTo>
                <a:cubicBezTo>
                  <a:pt x="151266" y="676909"/>
                  <a:pt x="147247" y="664789"/>
                  <a:pt x="153485" y="649704"/>
                </a:cubicBezTo>
                <a:cubicBezTo>
                  <a:pt x="158693" y="637111"/>
                  <a:pt x="168160" y="628190"/>
                  <a:pt x="179302" y="621006"/>
                </a:cubicBezTo>
                <a:cubicBezTo>
                  <a:pt x="186548" y="616334"/>
                  <a:pt x="191317" y="611105"/>
                  <a:pt x="192182" y="601675"/>
                </a:cubicBezTo>
                <a:cubicBezTo>
                  <a:pt x="192878" y="594094"/>
                  <a:pt x="197099" y="587626"/>
                  <a:pt x="204894" y="583417"/>
                </a:cubicBezTo>
                <a:cubicBezTo>
                  <a:pt x="214873" y="578030"/>
                  <a:pt x="224643" y="571774"/>
                  <a:pt x="233213" y="564393"/>
                </a:cubicBezTo>
                <a:cubicBezTo>
                  <a:pt x="242623" y="556289"/>
                  <a:pt x="240441" y="544193"/>
                  <a:pt x="229725" y="538177"/>
                </a:cubicBezTo>
                <a:cubicBezTo>
                  <a:pt x="226159" y="536176"/>
                  <a:pt x="222483" y="534351"/>
                  <a:pt x="218771" y="532633"/>
                </a:cubicBezTo>
                <a:cubicBezTo>
                  <a:pt x="213503" y="530196"/>
                  <a:pt x="212651" y="526226"/>
                  <a:pt x="215183" y="521568"/>
                </a:cubicBezTo>
                <a:cubicBezTo>
                  <a:pt x="217485" y="517332"/>
                  <a:pt x="220405" y="513432"/>
                  <a:pt x="223368" y="508901"/>
                </a:cubicBezTo>
                <a:cubicBezTo>
                  <a:pt x="221781" y="505376"/>
                  <a:pt x="220809" y="501165"/>
                  <a:pt x="218372" y="498135"/>
                </a:cubicBezTo>
                <a:cubicBezTo>
                  <a:pt x="202366" y="478231"/>
                  <a:pt x="190774" y="455961"/>
                  <a:pt x="181440" y="432308"/>
                </a:cubicBezTo>
                <a:cubicBezTo>
                  <a:pt x="170959" y="405748"/>
                  <a:pt x="164933" y="378186"/>
                  <a:pt x="167535" y="349841"/>
                </a:cubicBezTo>
                <a:cubicBezTo>
                  <a:pt x="170341" y="319265"/>
                  <a:pt x="179208" y="289917"/>
                  <a:pt x="193488" y="262518"/>
                </a:cubicBezTo>
                <a:cubicBezTo>
                  <a:pt x="206512" y="237529"/>
                  <a:pt x="220831" y="213359"/>
                  <a:pt x="237748" y="190690"/>
                </a:cubicBezTo>
                <a:cubicBezTo>
                  <a:pt x="260421" y="160310"/>
                  <a:pt x="282602" y="129592"/>
                  <a:pt x="309459" y="102623"/>
                </a:cubicBezTo>
                <a:cubicBezTo>
                  <a:pt x="316627" y="95424"/>
                  <a:pt x="316261" y="87541"/>
                  <a:pt x="310459" y="78521"/>
                </a:cubicBezTo>
                <a:cubicBezTo>
                  <a:pt x="306309" y="72071"/>
                  <a:pt x="301695" y="65150"/>
                  <a:pt x="300267" y="57856"/>
                </a:cubicBezTo>
                <a:cubicBezTo>
                  <a:pt x="295286" y="32423"/>
                  <a:pt x="314502" y="10133"/>
                  <a:pt x="332242" y="4422"/>
                </a:cubicBezTo>
                <a:cubicBezTo>
                  <a:pt x="349540" y="-1148"/>
                  <a:pt x="367530" y="-2176"/>
                  <a:pt x="384904" y="5551"/>
                </a:cubicBezTo>
                <a:cubicBezTo>
                  <a:pt x="395271" y="10161"/>
                  <a:pt x="403310" y="17760"/>
                  <a:pt x="409773" y="26778"/>
                </a:cubicBezTo>
                <a:cubicBezTo>
                  <a:pt x="415168" y="34307"/>
                  <a:pt x="413749" y="41584"/>
                  <a:pt x="407026" y="46052"/>
                </a:cubicBezTo>
                <a:cubicBezTo>
                  <a:pt x="405624" y="40964"/>
                  <a:pt x="404503" y="35849"/>
                  <a:pt x="402771" y="30951"/>
                </a:cubicBezTo>
                <a:cubicBezTo>
                  <a:pt x="401450" y="27216"/>
                  <a:pt x="399383" y="28477"/>
                  <a:pt x="397038" y="30361"/>
                </a:cubicBezTo>
                <a:cubicBezTo>
                  <a:pt x="384440" y="15986"/>
                  <a:pt x="377037" y="14494"/>
                  <a:pt x="360694" y="22760"/>
                </a:cubicBezTo>
                <a:cubicBezTo>
                  <a:pt x="353707" y="22767"/>
                  <a:pt x="352275" y="27176"/>
                  <a:pt x="351669" y="31736"/>
                </a:cubicBezTo>
                <a:cubicBezTo>
                  <a:pt x="351136" y="35760"/>
                  <a:pt x="351383" y="39899"/>
                  <a:pt x="351426" y="43987"/>
                </a:cubicBezTo>
                <a:cubicBezTo>
                  <a:pt x="351648" y="64919"/>
                  <a:pt x="372389" y="78115"/>
                  <a:pt x="390968" y="68762"/>
                </a:cubicBezTo>
                <a:cubicBezTo>
                  <a:pt x="395158" y="66653"/>
                  <a:pt x="398534" y="62629"/>
                  <a:pt x="401770" y="59025"/>
                </a:cubicBezTo>
                <a:cubicBezTo>
                  <a:pt x="404045" y="56491"/>
                  <a:pt x="405661" y="53409"/>
                  <a:pt x="409619" y="55786"/>
                </a:cubicBezTo>
                <a:cubicBezTo>
                  <a:pt x="413544" y="58145"/>
                  <a:pt x="412176" y="61347"/>
                  <a:pt x="410427" y="64256"/>
                </a:cubicBezTo>
                <a:cubicBezTo>
                  <a:pt x="406872" y="70170"/>
                  <a:pt x="403244" y="76046"/>
                  <a:pt x="399453" y="81811"/>
                </a:cubicBezTo>
                <a:cubicBezTo>
                  <a:pt x="394663" y="89097"/>
                  <a:pt x="394382" y="94032"/>
                  <a:pt x="399346" y="98083"/>
                </a:cubicBezTo>
                <a:cubicBezTo>
                  <a:pt x="428062" y="121519"/>
                  <a:pt x="450822" y="150083"/>
                  <a:pt x="471592" y="180524"/>
                </a:cubicBezTo>
                <a:cubicBezTo>
                  <a:pt x="476398" y="187569"/>
                  <a:pt x="476844" y="193688"/>
                  <a:pt x="473550" y="200923"/>
                </a:cubicBezTo>
                <a:cubicBezTo>
                  <a:pt x="470171" y="208346"/>
                  <a:pt x="467091" y="215905"/>
                  <a:pt x="463677" y="223311"/>
                </a:cubicBezTo>
                <a:cubicBezTo>
                  <a:pt x="461993" y="226965"/>
                  <a:pt x="462995" y="228697"/>
                  <a:pt x="466852" y="229083"/>
                </a:cubicBezTo>
                <a:moveTo>
                  <a:pt x="474186" y="928382"/>
                </a:moveTo>
                <a:cubicBezTo>
                  <a:pt x="469297" y="891529"/>
                  <a:pt x="462961" y="854794"/>
                  <a:pt x="459927" y="817790"/>
                </a:cubicBezTo>
                <a:cubicBezTo>
                  <a:pt x="456905" y="780939"/>
                  <a:pt x="457197" y="743817"/>
                  <a:pt x="456025" y="706469"/>
                </a:cubicBezTo>
                <a:cubicBezTo>
                  <a:pt x="425780" y="707923"/>
                  <a:pt x="396554" y="709327"/>
                  <a:pt x="366863" y="710754"/>
                </a:cubicBezTo>
                <a:cubicBezTo>
                  <a:pt x="366546" y="714450"/>
                  <a:pt x="366201" y="716832"/>
                  <a:pt x="366159" y="719219"/>
                </a:cubicBezTo>
                <a:cubicBezTo>
                  <a:pt x="365479" y="757672"/>
                  <a:pt x="364935" y="796129"/>
                  <a:pt x="364159" y="834581"/>
                </a:cubicBezTo>
                <a:cubicBezTo>
                  <a:pt x="363450" y="869762"/>
                  <a:pt x="362581" y="904941"/>
                  <a:pt x="361633" y="940117"/>
                </a:cubicBezTo>
                <a:cubicBezTo>
                  <a:pt x="360619" y="977749"/>
                  <a:pt x="359431" y="1015376"/>
                  <a:pt x="358313" y="1053005"/>
                </a:cubicBezTo>
                <a:cubicBezTo>
                  <a:pt x="358265" y="1054641"/>
                  <a:pt x="358149" y="1056276"/>
                  <a:pt x="358081" y="1057912"/>
                </a:cubicBezTo>
                <a:cubicBezTo>
                  <a:pt x="356598" y="1093463"/>
                  <a:pt x="355081" y="1129014"/>
                  <a:pt x="353706" y="1164570"/>
                </a:cubicBezTo>
                <a:cubicBezTo>
                  <a:pt x="353604" y="1167221"/>
                  <a:pt x="354516" y="1169911"/>
                  <a:pt x="354951" y="1172547"/>
                </a:cubicBezTo>
                <a:cubicBezTo>
                  <a:pt x="416984" y="1173689"/>
                  <a:pt x="478158" y="1174816"/>
                  <a:pt x="540959" y="1175972"/>
                </a:cubicBezTo>
                <a:cubicBezTo>
                  <a:pt x="513162" y="1094194"/>
                  <a:pt x="489081" y="1013598"/>
                  <a:pt x="474186" y="928382"/>
                </a:cubicBezTo>
                <a:moveTo>
                  <a:pt x="513768" y="1417676"/>
                </a:moveTo>
                <a:cubicBezTo>
                  <a:pt x="515785" y="1417344"/>
                  <a:pt x="517792" y="1416889"/>
                  <a:pt x="519822" y="1416700"/>
                </a:cubicBezTo>
                <a:cubicBezTo>
                  <a:pt x="557234" y="1413220"/>
                  <a:pt x="594682" y="1410089"/>
                  <a:pt x="632041" y="1406122"/>
                </a:cubicBezTo>
                <a:cubicBezTo>
                  <a:pt x="643122" y="1404945"/>
                  <a:pt x="654730" y="1405292"/>
                  <a:pt x="665040" y="1400634"/>
                </a:cubicBezTo>
                <a:cubicBezTo>
                  <a:pt x="665352" y="1398517"/>
                  <a:pt x="665651" y="1397324"/>
                  <a:pt x="665677" y="1396126"/>
                </a:cubicBezTo>
                <a:cubicBezTo>
                  <a:pt x="665722" y="1394084"/>
                  <a:pt x="665674" y="1392032"/>
                  <a:pt x="665529" y="1389994"/>
                </a:cubicBezTo>
                <a:cubicBezTo>
                  <a:pt x="663118" y="1356121"/>
                  <a:pt x="650063" y="1327787"/>
                  <a:pt x="623046" y="1306238"/>
                </a:cubicBezTo>
                <a:cubicBezTo>
                  <a:pt x="613485" y="1298611"/>
                  <a:pt x="605001" y="1289635"/>
                  <a:pt x="596015" y="1281285"/>
                </a:cubicBezTo>
                <a:cubicBezTo>
                  <a:pt x="578506" y="1265018"/>
                  <a:pt x="567837" y="1245446"/>
                  <a:pt x="567683" y="1220059"/>
                </a:cubicBezTo>
                <a:cubicBezTo>
                  <a:pt x="558046" y="1220059"/>
                  <a:pt x="549136" y="1219649"/>
                  <a:pt x="540273" y="1220129"/>
                </a:cubicBezTo>
                <a:cubicBezTo>
                  <a:pt x="501512" y="1222229"/>
                  <a:pt x="462775" y="1224768"/>
                  <a:pt x="424010" y="1226781"/>
                </a:cubicBezTo>
                <a:cubicBezTo>
                  <a:pt x="401969" y="1227926"/>
                  <a:pt x="379889" y="1228330"/>
                  <a:pt x="357832" y="1229178"/>
                </a:cubicBezTo>
                <a:cubicBezTo>
                  <a:pt x="355938" y="1229251"/>
                  <a:pt x="354076" y="1230151"/>
                  <a:pt x="352386" y="1230616"/>
                </a:cubicBezTo>
                <a:cubicBezTo>
                  <a:pt x="353642" y="1262222"/>
                  <a:pt x="355769" y="1293219"/>
                  <a:pt x="355852" y="1324222"/>
                </a:cubicBezTo>
                <a:cubicBezTo>
                  <a:pt x="355936" y="1355438"/>
                  <a:pt x="353988" y="1386659"/>
                  <a:pt x="352930" y="1417867"/>
                </a:cubicBezTo>
                <a:cubicBezTo>
                  <a:pt x="406069" y="1417867"/>
                  <a:pt x="458771" y="1417867"/>
                  <a:pt x="513768" y="1417676"/>
                </a:cubicBezTo>
                <a:moveTo>
                  <a:pt x="387930" y="499741"/>
                </a:moveTo>
                <a:cubicBezTo>
                  <a:pt x="410797" y="498777"/>
                  <a:pt x="433665" y="497860"/>
                  <a:pt x="456529" y="496826"/>
                </a:cubicBezTo>
                <a:cubicBezTo>
                  <a:pt x="466656" y="496369"/>
                  <a:pt x="475418" y="493371"/>
                  <a:pt x="482355" y="485095"/>
                </a:cubicBezTo>
                <a:cubicBezTo>
                  <a:pt x="509188" y="453083"/>
                  <a:pt x="525387" y="416636"/>
                  <a:pt x="528016" y="374829"/>
                </a:cubicBezTo>
                <a:cubicBezTo>
                  <a:pt x="530547" y="334558"/>
                  <a:pt x="520095" y="297041"/>
                  <a:pt x="501375" y="261643"/>
                </a:cubicBezTo>
                <a:cubicBezTo>
                  <a:pt x="499379" y="257869"/>
                  <a:pt x="496654" y="254482"/>
                  <a:pt x="493534" y="249818"/>
                </a:cubicBezTo>
                <a:cubicBezTo>
                  <a:pt x="490233" y="254212"/>
                  <a:pt x="487883" y="256986"/>
                  <a:pt x="485920" y="260010"/>
                </a:cubicBezTo>
                <a:cubicBezTo>
                  <a:pt x="475010" y="276824"/>
                  <a:pt x="464300" y="293767"/>
                  <a:pt x="453305" y="310523"/>
                </a:cubicBezTo>
                <a:cubicBezTo>
                  <a:pt x="447028" y="320089"/>
                  <a:pt x="440916" y="329858"/>
                  <a:pt x="433678" y="338672"/>
                </a:cubicBezTo>
                <a:cubicBezTo>
                  <a:pt x="425909" y="348131"/>
                  <a:pt x="413084" y="349691"/>
                  <a:pt x="403713" y="343710"/>
                </a:cubicBezTo>
                <a:cubicBezTo>
                  <a:pt x="394358" y="337739"/>
                  <a:pt x="391675" y="327526"/>
                  <a:pt x="396427" y="315612"/>
                </a:cubicBezTo>
                <a:cubicBezTo>
                  <a:pt x="397334" y="313339"/>
                  <a:pt x="398595" y="311210"/>
                  <a:pt x="399663" y="309000"/>
                </a:cubicBezTo>
                <a:cubicBezTo>
                  <a:pt x="417094" y="272900"/>
                  <a:pt x="434331" y="236704"/>
                  <a:pt x="452097" y="200770"/>
                </a:cubicBezTo>
                <a:cubicBezTo>
                  <a:pt x="455910" y="193060"/>
                  <a:pt x="455310" y="187173"/>
                  <a:pt x="450118" y="180596"/>
                </a:cubicBezTo>
                <a:cubicBezTo>
                  <a:pt x="428273" y="152922"/>
                  <a:pt x="405805" y="125901"/>
                  <a:pt x="376545" y="105525"/>
                </a:cubicBezTo>
                <a:cubicBezTo>
                  <a:pt x="374483" y="104089"/>
                  <a:pt x="372013" y="103239"/>
                  <a:pt x="368791" y="101653"/>
                </a:cubicBezTo>
                <a:cubicBezTo>
                  <a:pt x="367942" y="116965"/>
                  <a:pt x="367019" y="130814"/>
                  <a:pt x="366449" y="144676"/>
                </a:cubicBezTo>
                <a:cubicBezTo>
                  <a:pt x="365912" y="157758"/>
                  <a:pt x="365593" y="170854"/>
                  <a:pt x="365447" y="183946"/>
                </a:cubicBezTo>
                <a:cubicBezTo>
                  <a:pt x="365020" y="221975"/>
                  <a:pt x="363367" y="260055"/>
                  <a:pt x="364738" y="298022"/>
                </a:cubicBezTo>
                <a:cubicBezTo>
                  <a:pt x="366329" y="342101"/>
                  <a:pt x="370336" y="386106"/>
                  <a:pt x="373865" y="430096"/>
                </a:cubicBezTo>
                <a:cubicBezTo>
                  <a:pt x="375530" y="450849"/>
                  <a:pt x="378387" y="471514"/>
                  <a:pt x="381088" y="492169"/>
                </a:cubicBezTo>
                <a:cubicBezTo>
                  <a:pt x="381433" y="494807"/>
                  <a:pt x="384102" y="497143"/>
                  <a:pt x="387930" y="499741"/>
                </a:cubicBezTo>
                <a:moveTo>
                  <a:pt x="455850" y="1521476"/>
                </a:moveTo>
                <a:cubicBezTo>
                  <a:pt x="533043" y="1519612"/>
                  <a:pt x="609810" y="1514084"/>
                  <a:pt x="685121" y="1496509"/>
                </a:cubicBezTo>
                <a:cubicBezTo>
                  <a:pt x="683922" y="1481705"/>
                  <a:pt x="679199" y="1467708"/>
                  <a:pt x="672999" y="1456665"/>
                </a:cubicBezTo>
                <a:cubicBezTo>
                  <a:pt x="669933" y="1451203"/>
                  <a:pt x="666057" y="1449329"/>
                  <a:pt x="660009" y="1450249"/>
                </a:cubicBezTo>
                <a:cubicBezTo>
                  <a:pt x="651125" y="1451601"/>
                  <a:pt x="642144" y="1452308"/>
                  <a:pt x="633248" y="1453589"/>
                </a:cubicBezTo>
                <a:cubicBezTo>
                  <a:pt x="572852" y="1462289"/>
                  <a:pt x="511993" y="1465134"/>
                  <a:pt x="451131" y="1467458"/>
                </a:cubicBezTo>
                <a:cubicBezTo>
                  <a:pt x="421697" y="1468582"/>
                  <a:pt x="392192" y="1467837"/>
                  <a:pt x="362719" y="1467934"/>
                </a:cubicBezTo>
                <a:cubicBezTo>
                  <a:pt x="358386" y="1467948"/>
                  <a:pt x="354052" y="1467936"/>
                  <a:pt x="349983" y="1467936"/>
                </a:cubicBezTo>
                <a:cubicBezTo>
                  <a:pt x="347592" y="1485362"/>
                  <a:pt x="348606" y="1509458"/>
                  <a:pt x="352220" y="1519140"/>
                </a:cubicBezTo>
                <a:cubicBezTo>
                  <a:pt x="385617" y="1519916"/>
                  <a:pt x="419507" y="1520703"/>
                  <a:pt x="455850" y="1521476"/>
                </a:cubicBezTo>
                <a:moveTo>
                  <a:pt x="368682" y="544846"/>
                </a:moveTo>
                <a:cubicBezTo>
                  <a:pt x="374258" y="564891"/>
                  <a:pt x="370074" y="584394"/>
                  <a:pt x="363600" y="605633"/>
                </a:cubicBezTo>
                <a:cubicBezTo>
                  <a:pt x="408859" y="604212"/>
                  <a:pt x="452263" y="602850"/>
                  <a:pt x="496351" y="601466"/>
                </a:cubicBezTo>
                <a:cubicBezTo>
                  <a:pt x="496109" y="591095"/>
                  <a:pt x="491408" y="584247"/>
                  <a:pt x="485068" y="579288"/>
                </a:cubicBezTo>
                <a:cubicBezTo>
                  <a:pt x="472414" y="569391"/>
                  <a:pt x="466934" y="556602"/>
                  <a:pt x="466524" y="541026"/>
                </a:cubicBezTo>
                <a:cubicBezTo>
                  <a:pt x="466485" y="539528"/>
                  <a:pt x="465591" y="538053"/>
                  <a:pt x="465000" y="536289"/>
                </a:cubicBezTo>
                <a:cubicBezTo>
                  <a:pt x="460209" y="536289"/>
                  <a:pt x="455761" y="536132"/>
                  <a:pt x="451328" y="536316"/>
                </a:cubicBezTo>
                <a:cubicBezTo>
                  <a:pt x="430930" y="537159"/>
                  <a:pt x="410538" y="538137"/>
                  <a:pt x="390140" y="538979"/>
                </a:cubicBezTo>
                <a:cubicBezTo>
                  <a:pt x="384834" y="539198"/>
                  <a:pt x="379484" y="538790"/>
                  <a:pt x="374215" y="539303"/>
                </a:cubicBezTo>
                <a:cubicBezTo>
                  <a:pt x="372259" y="539494"/>
                  <a:pt x="370480" y="541498"/>
                  <a:pt x="368682" y="544846"/>
                </a:cubicBezTo>
                <a:moveTo>
                  <a:pt x="453915" y="635267"/>
                </a:moveTo>
                <a:cubicBezTo>
                  <a:pt x="427589" y="636632"/>
                  <a:pt x="401262" y="637998"/>
                  <a:pt x="374200" y="639402"/>
                </a:cubicBezTo>
                <a:cubicBezTo>
                  <a:pt x="374200" y="651578"/>
                  <a:pt x="374200" y="661970"/>
                  <a:pt x="374200" y="673206"/>
                </a:cubicBezTo>
                <a:cubicBezTo>
                  <a:pt x="378672" y="673406"/>
                  <a:pt x="382666" y="673863"/>
                  <a:pt x="386639" y="673718"/>
                </a:cubicBezTo>
                <a:cubicBezTo>
                  <a:pt x="431495" y="672082"/>
                  <a:pt x="476352" y="670422"/>
                  <a:pt x="521198" y="668541"/>
                </a:cubicBezTo>
                <a:cubicBezTo>
                  <a:pt x="525584" y="668357"/>
                  <a:pt x="530162" y="667254"/>
                  <a:pt x="534198" y="665521"/>
                </a:cubicBezTo>
                <a:cubicBezTo>
                  <a:pt x="540213" y="662938"/>
                  <a:pt x="541802" y="658194"/>
                  <a:pt x="538413" y="652526"/>
                </a:cubicBezTo>
                <a:cubicBezTo>
                  <a:pt x="536192" y="648813"/>
                  <a:pt x="532979" y="645251"/>
                  <a:pt x="529377" y="642895"/>
                </a:cubicBezTo>
                <a:cubicBezTo>
                  <a:pt x="521426" y="637695"/>
                  <a:pt x="512576" y="634669"/>
                  <a:pt x="502829" y="634808"/>
                </a:cubicBezTo>
                <a:cubicBezTo>
                  <a:pt x="487311" y="635030"/>
                  <a:pt x="471791" y="635092"/>
                  <a:pt x="453915" y="635267"/>
                </a:cubicBezTo>
                <a:close/>
              </a:path>
            </a:pathLst>
          </a:custGeom>
          <a:solidFill>
            <a:srgbClr val="CDD9DF"/>
          </a:solidFill>
          <a:ln w="12700" cap="flat">
            <a:solidFill>
              <a:srgbClr val="CDD9DF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91" name="Free-form: Shape 390">
            <a:extLst>
              <a:ext uri="{FF2B5EF4-FFF2-40B4-BE49-F238E27FC236}">
                <a16:creationId xmlns:a16="http://schemas.microsoft.com/office/drawing/2014/main" id="{5EE7B3F7-B9DE-7758-0D78-1E3A9AA73277}"/>
              </a:ext>
            </a:extLst>
          </p:cNvPr>
          <p:cNvSpPr/>
          <p:nvPr/>
        </p:nvSpPr>
        <p:spPr>
          <a:xfrm>
            <a:off x="4890871" y="4358634"/>
            <a:ext cx="665488" cy="1428730"/>
          </a:xfrm>
          <a:custGeom>
            <a:avLst/>
            <a:gdLst>
              <a:gd name="csX0" fmla="*/ 406842 w 732037"/>
              <a:gd name="csY0" fmla="*/ 38347 h 1571603"/>
              <a:gd name="csX1" fmla="*/ 411944 w 732037"/>
              <a:gd name="csY1" fmla="*/ 38343 h 1571603"/>
              <a:gd name="csX2" fmla="*/ 416198 w 732037"/>
              <a:gd name="csY2" fmla="*/ 53444 h 1571603"/>
              <a:gd name="csX3" fmla="*/ 418945 w 732037"/>
              <a:gd name="csY3" fmla="*/ 34170 h 1571603"/>
              <a:gd name="csX4" fmla="*/ 394077 w 732037"/>
              <a:gd name="csY4" fmla="*/ 12943 h 1571603"/>
              <a:gd name="csX5" fmla="*/ 341415 w 732037"/>
              <a:gd name="csY5" fmla="*/ 11814 h 1571603"/>
              <a:gd name="csX6" fmla="*/ 309440 w 732037"/>
              <a:gd name="csY6" fmla="*/ 65249 h 1571603"/>
              <a:gd name="csX7" fmla="*/ 319632 w 732037"/>
              <a:gd name="csY7" fmla="*/ 85914 h 1571603"/>
              <a:gd name="csX8" fmla="*/ 318632 w 732037"/>
              <a:gd name="csY8" fmla="*/ 110015 h 1571603"/>
              <a:gd name="csX9" fmla="*/ 246921 w 732037"/>
              <a:gd name="csY9" fmla="*/ 198083 h 1571603"/>
              <a:gd name="csX10" fmla="*/ 202660 w 732037"/>
              <a:gd name="csY10" fmla="*/ 269911 h 1571603"/>
              <a:gd name="csX11" fmla="*/ 176707 w 732037"/>
              <a:gd name="csY11" fmla="*/ 357233 h 1571603"/>
              <a:gd name="csX12" fmla="*/ 190612 w 732037"/>
              <a:gd name="csY12" fmla="*/ 439700 h 1571603"/>
              <a:gd name="csX13" fmla="*/ 227544 w 732037"/>
              <a:gd name="csY13" fmla="*/ 505527 h 1571603"/>
              <a:gd name="csX14" fmla="*/ 232541 w 732037"/>
              <a:gd name="csY14" fmla="*/ 516294 h 1571603"/>
              <a:gd name="csX15" fmla="*/ 224356 w 732037"/>
              <a:gd name="csY15" fmla="*/ 528960 h 1571603"/>
              <a:gd name="csX16" fmla="*/ 227944 w 732037"/>
              <a:gd name="csY16" fmla="*/ 540026 h 1571603"/>
              <a:gd name="csX17" fmla="*/ 238897 w 732037"/>
              <a:gd name="csY17" fmla="*/ 545570 h 1571603"/>
              <a:gd name="csX18" fmla="*/ 242386 w 732037"/>
              <a:gd name="csY18" fmla="*/ 571785 h 1571603"/>
              <a:gd name="csX19" fmla="*/ 214067 w 732037"/>
              <a:gd name="csY19" fmla="*/ 590809 h 1571603"/>
              <a:gd name="csX20" fmla="*/ 201355 w 732037"/>
              <a:gd name="csY20" fmla="*/ 609067 h 1571603"/>
              <a:gd name="csX21" fmla="*/ 188474 w 732037"/>
              <a:gd name="csY21" fmla="*/ 628398 h 1571603"/>
              <a:gd name="csX22" fmla="*/ 162658 w 732037"/>
              <a:gd name="csY22" fmla="*/ 657096 h 1571603"/>
              <a:gd name="csX23" fmla="*/ 175395 w 732037"/>
              <a:gd name="csY23" fmla="*/ 691621 h 1571603"/>
              <a:gd name="csX24" fmla="*/ 201948 w 732037"/>
              <a:gd name="csY24" fmla="*/ 700523 h 1571603"/>
              <a:gd name="csX25" fmla="*/ 241426 w 732037"/>
              <a:gd name="csY25" fmla="*/ 706574 h 1571603"/>
              <a:gd name="csX26" fmla="*/ 242586 w 732037"/>
              <a:gd name="csY26" fmla="*/ 715946 h 1571603"/>
              <a:gd name="csX27" fmla="*/ 242424 w 732037"/>
              <a:gd name="csY27" fmla="*/ 801932 h 1571603"/>
              <a:gd name="csX28" fmla="*/ 238000 w 732037"/>
              <a:gd name="csY28" fmla="*/ 846774 h 1571603"/>
              <a:gd name="csX29" fmla="*/ 232752 w 732037"/>
              <a:gd name="csY29" fmla="*/ 891559 h 1571603"/>
              <a:gd name="csX30" fmla="*/ 223037 w 732037"/>
              <a:gd name="csY30" fmla="*/ 950433 h 1571603"/>
              <a:gd name="csX31" fmla="*/ 210247 w 732037"/>
              <a:gd name="csY31" fmla="*/ 1012485 h 1571603"/>
              <a:gd name="csX32" fmla="*/ 194820 w 732037"/>
              <a:gd name="csY32" fmla="*/ 1069074 h 1571603"/>
              <a:gd name="csX33" fmla="*/ 165707 w 732037"/>
              <a:gd name="csY33" fmla="*/ 1163788 h 1571603"/>
              <a:gd name="csX34" fmla="*/ 144382 w 732037"/>
              <a:gd name="csY34" fmla="*/ 1185530 h 1571603"/>
              <a:gd name="csX35" fmla="*/ 129590 w 732037"/>
              <a:gd name="csY35" fmla="*/ 1191342 h 1571603"/>
              <a:gd name="csX36" fmla="*/ 122255 w 732037"/>
              <a:gd name="csY36" fmla="*/ 1208476 h 1571603"/>
              <a:gd name="csX37" fmla="*/ 127491 w 732037"/>
              <a:gd name="csY37" fmla="*/ 1222193 h 1571603"/>
              <a:gd name="csX38" fmla="*/ 118348 w 732037"/>
              <a:gd name="csY38" fmla="*/ 1261470 h 1571603"/>
              <a:gd name="csX39" fmla="*/ 58232 w 732037"/>
              <a:gd name="csY39" fmla="*/ 1319224 h 1571603"/>
              <a:gd name="csX40" fmla="*/ 28815 w 732037"/>
              <a:gd name="csY40" fmla="*/ 1389717 h 1571603"/>
              <a:gd name="csX41" fmla="*/ 32634 w 732037"/>
              <a:gd name="csY41" fmla="*/ 1426050 h 1571603"/>
              <a:gd name="csX42" fmla="*/ 30331 w 732037"/>
              <a:gd name="csY42" fmla="*/ 1441003 h 1571603"/>
              <a:gd name="csX43" fmla="*/ 9180 w 732037"/>
              <a:gd name="csY43" fmla="*/ 1516655 h 1571603"/>
              <a:gd name="csX44" fmla="*/ 20082 w 732037"/>
              <a:gd name="csY44" fmla="*/ 1531402 h 1571603"/>
              <a:gd name="csX45" fmla="*/ 74798 w 732037"/>
              <a:gd name="csY45" fmla="*/ 1543794 h 1571603"/>
              <a:gd name="csX46" fmla="*/ 113225 w 732037"/>
              <a:gd name="csY46" fmla="*/ 1550305 h 1571603"/>
              <a:gd name="csX47" fmla="*/ 136142 w 732037"/>
              <a:gd name="csY47" fmla="*/ 1553484 h 1571603"/>
              <a:gd name="csX48" fmla="*/ 177578 w 732037"/>
              <a:gd name="csY48" fmla="*/ 1556220 h 1571603"/>
              <a:gd name="csX49" fmla="*/ 231027 w 732037"/>
              <a:gd name="csY49" fmla="*/ 1560698 h 1571603"/>
              <a:gd name="csX50" fmla="*/ 254342 w 732037"/>
              <a:gd name="csY50" fmla="*/ 1561142 h 1571603"/>
              <a:gd name="csX51" fmla="*/ 459180 w 732037"/>
              <a:gd name="csY51" fmla="*/ 1563411 h 1571603"/>
              <a:gd name="csX52" fmla="*/ 531340 w 732037"/>
              <a:gd name="csY52" fmla="*/ 1560936 h 1571603"/>
              <a:gd name="csX53" fmla="*/ 590888 w 732037"/>
              <a:gd name="csY53" fmla="*/ 1555951 h 1571603"/>
              <a:gd name="csX54" fmla="*/ 710712 w 732037"/>
              <a:gd name="csY54" fmla="*/ 1533916 h 1571603"/>
              <a:gd name="csX55" fmla="*/ 724356 w 732037"/>
              <a:gd name="csY55" fmla="*/ 1516144 h 1571603"/>
              <a:gd name="csX56" fmla="*/ 707380 w 732037"/>
              <a:gd name="csY56" fmla="*/ 1449380 h 1571603"/>
              <a:gd name="csX57" fmla="*/ 707050 w 732037"/>
              <a:gd name="csY57" fmla="*/ 1440881 h 1571603"/>
              <a:gd name="csX58" fmla="*/ 731479 w 732037"/>
              <a:gd name="csY58" fmla="*/ 1500017 h 1571603"/>
              <a:gd name="csX59" fmla="*/ 731163 w 732037"/>
              <a:gd name="csY59" fmla="*/ 1513759 h 1571603"/>
              <a:gd name="csX60" fmla="*/ 731650 w 732037"/>
              <a:gd name="csY60" fmla="*/ 1521766 h 1571603"/>
              <a:gd name="csX61" fmla="*/ 721896 w 732037"/>
              <a:gd name="csY61" fmla="*/ 1537319 h 1571603"/>
              <a:gd name="csX62" fmla="*/ 657740 w 732037"/>
              <a:gd name="csY62" fmla="*/ 1553265 h 1571603"/>
              <a:gd name="csX63" fmla="*/ 507791 w 732037"/>
              <a:gd name="csY63" fmla="*/ 1568943 h 1571603"/>
              <a:gd name="csX64" fmla="*/ 264676 w 732037"/>
              <a:gd name="csY64" fmla="*/ 1569724 h 1571603"/>
              <a:gd name="csX65" fmla="*/ 82743 w 732037"/>
              <a:gd name="csY65" fmla="*/ 1553254 h 1571603"/>
              <a:gd name="csX66" fmla="*/ 17072 w 732037"/>
              <a:gd name="csY66" fmla="*/ 1538153 h 1571603"/>
              <a:gd name="csX67" fmla="*/ 275 w 732037"/>
              <a:gd name="csY67" fmla="*/ 1513030 h 1571603"/>
              <a:gd name="csX68" fmla="*/ 20923 w 732037"/>
              <a:gd name="csY68" fmla="*/ 1441861 h 1571603"/>
              <a:gd name="csX69" fmla="*/ 23045 w 732037"/>
              <a:gd name="csY69" fmla="*/ 1423105 h 1571603"/>
              <a:gd name="csX70" fmla="*/ 30564 w 732037"/>
              <a:gd name="csY70" fmla="*/ 1346289 h 1571603"/>
              <a:gd name="csX71" fmla="*/ 71350 w 732037"/>
              <a:gd name="csY71" fmla="*/ 1295039 h 1571603"/>
              <a:gd name="csX72" fmla="*/ 112257 w 732037"/>
              <a:gd name="csY72" fmla="*/ 1255093 h 1571603"/>
              <a:gd name="csX73" fmla="*/ 115864 w 732037"/>
              <a:gd name="csY73" fmla="*/ 1217271 h 1571603"/>
              <a:gd name="csX74" fmla="*/ 112256 w 732037"/>
              <a:gd name="csY74" fmla="*/ 1210870 h 1571603"/>
              <a:gd name="csX75" fmla="*/ 121141 w 732037"/>
              <a:gd name="csY75" fmla="*/ 1186548 h 1571603"/>
              <a:gd name="csX76" fmla="*/ 136571 w 732037"/>
              <a:gd name="csY76" fmla="*/ 1179850 h 1571603"/>
              <a:gd name="csX77" fmla="*/ 158281 w 732037"/>
              <a:gd name="csY77" fmla="*/ 1157879 h 1571603"/>
              <a:gd name="csX78" fmla="*/ 187986 w 732037"/>
              <a:gd name="csY78" fmla="*/ 1059736 h 1571603"/>
              <a:gd name="csX79" fmla="*/ 217119 w 732037"/>
              <a:gd name="csY79" fmla="*/ 938896 h 1571603"/>
              <a:gd name="csX80" fmla="*/ 225792 w 732037"/>
              <a:gd name="csY80" fmla="*/ 893236 h 1571603"/>
              <a:gd name="csX81" fmla="*/ 226150 w 732037"/>
              <a:gd name="csY81" fmla="*/ 887970 h 1571603"/>
              <a:gd name="csX82" fmla="*/ 230782 w 732037"/>
              <a:gd name="csY82" fmla="*/ 853969 h 1571603"/>
              <a:gd name="csX83" fmla="*/ 230786 w 732037"/>
              <a:gd name="csY83" fmla="*/ 848558 h 1571603"/>
              <a:gd name="csX84" fmla="*/ 233315 w 732037"/>
              <a:gd name="csY84" fmla="*/ 824438 h 1571603"/>
              <a:gd name="csX85" fmla="*/ 233199 w 732037"/>
              <a:gd name="csY85" fmla="*/ 819050 h 1571603"/>
              <a:gd name="csX86" fmla="*/ 235848 w 732037"/>
              <a:gd name="csY86" fmla="*/ 782380 h 1571603"/>
              <a:gd name="csX87" fmla="*/ 237465 w 732037"/>
              <a:gd name="csY87" fmla="*/ 719113 h 1571603"/>
              <a:gd name="csX88" fmla="*/ 233057 w 732037"/>
              <a:gd name="csY88" fmla="*/ 713160 h 1571603"/>
              <a:gd name="csX89" fmla="*/ 203056 w 732037"/>
              <a:gd name="csY89" fmla="*/ 708405 h 1571603"/>
              <a:gd name="csX90" fmla="*/ 169628 w 732037"/>
              <a:gd name="csY90" fmla="*/ 698106 h 1571603"/>
              <a:gd name="csX91" fmla="*/ 153237 w 732037"/>
              <a:gd name="csY91" fmla="*/ 659111 h 1571603"/>
              <a:gd name="csX92" fmla="*/ 178365 w 732037"/>
              <a:gd name="csY92" fmla="*/ 626008 h 1571603"/>
              <a:gd name="csX93" fmla="*/ 191885 w 732037"/>
              <a:gd name="csY93" fmla="*/ 617513 h 1571603"/>
              <a:gd name="csX94" fmla="*/ 193681 w 732037"/>
              <a:gd name="csY94" fmla="*/ 610098 h 1571603"/>
              <a:gd name="csX95" fmla="*/ 213301 w 732037"/>
              <a:gd name="csY95" fmla="*/ 579885 h 1571603"/>
              <a:gd name="csX96" fmla="*/ 229635 w 732037"/>
              <a:gd name="csY96" fmla="*/ 571429 h 1571603"/>
              <a:gd name="csX97" fmla="*/ 237351 w 732037"/>
              <a:gd name="csY97" fmla="*/ 565882 h 1571603"/>
              <a:gd name="csX98" fmla="*/ 233673 w 732037"/>
              <a:gd name="csY98" fmla="*/ 550926 h 1571603"/>
              <a:gd name="csX99" fmla="*/ 226799 w 732037"/>
              <a:gd name="csY99" fmla="*/ 548359 h 1571603"/>
              <a:gd name="csX100" fmla="*/ 218639 w 732037"/>
              <a:gd name="csY100" fmla="*/ 522664 h 1571603"/>
              <a:gd name="csX101" fmla="*/ 218264 w 732037"/>
              <a:gd name="csY101" fmla="*/ 505463 h 1571603"/>
              <a:gd name="csX102" fmla="*/ 181762 w 732037"/>
              <a:gd name="csY102" fmla="*/ 437574 h 1571603"/>
              <a:gd name="csX103" fmla="*/ 185971 w 732037"/>
              <a:gd name="csY103" fmla="*/ 289069 h 1571603"/>
              <a:gd name="csX104" fmla="*/ 253787 w 732037"/>
              <a:gd name="csY104" fmla="*/ 175580 h 1571603"/>
              <a:gd name="csX105" fmla="*/ 309639 w 732037"/>
              <a:gd name="csY105" fmla="*/ 108695 h 1571603"/>
              <a:gd name="csX106" fmla="*/ 318061 w 732037"/>
              <a:gd name="csY106" fmla="*/ 98855 h 1571603"/>
              <a:gd name="csX107" fmla="*/ 304967 w 732037"/>
              <a:gd name="csY107" fmla="*/ 70056 h 1571603"/>
              <a:gd name="csX108" fmla="*/ 317012 w 732037"/>
              <a:gd name="csY108" fmla="*/ 19436 h 1571603"/>
              <a:gd name="csX109" fmla="*/ 415542 w 732037"/>
              <a:gd name="csY109" fmla="*/ 18221 h 1571603"/>
              <a:gd name="csX110" fmla="*/ 423203 w 732037"/>
              <a:gd name="csY110" fmla="*/ 82660 h 1571603"/>
              <a:gd name="csX111" fmla="*/ 413361 w 732037"/>
              <a:gd name="csY111" fmla="*/ 97975 h 1571603"/>
              <a:gd name="csX112" fmla="*/ 421654 w 732037"/>
              <a:gd name="csY112" fmla="*/ 106676 h 1571603"/>
              <a:gd name="csX113" fmla="*/ 487032 w 732037"/>
              <a:gd name="csY113" fmla="*/ 184632 h 1571603"/>
              <a:gd name="csX114" fmla="*/ 489213 w 732037"/>
              <a:gd name="csY114" fmla="*/ 208238 h 1571603"/>
              <a:gd name="csX115" fmla="*/ 476520 w 732037"/>
              <a:gd name="csY115" fmla="*/ 235738 h 1571603"/>
              <a:gd name="csX116" fmla="*/ 472850 w 732037"/>
              <a:gd name="csY116" fmla="*/ 230703 h 1571603"/>
              <a:gd name="csX117" fmla="*/ 482723 w 732037"/>
              <a:gd name="csY117" fmla="*/ 208315 h 1571603"/>
              <a:gd name="csX118" fmla="*/ 480764 w 732037"/>
              <a:gd name="csY118" fmla="*/ 187916 h 1571603"/>
              <a:gd name="csX119" fmla="*/ 408519 w 732037"/>
              <a:gd name="csY119" fmla="*/ 105475 h 1571603"/>
              <a:gd name="csX120" fmla="*/ 408625 w 732037"/>
              <a:gd name="csY120" fmla="*/ 89203 h 1571603"/>
              <a:gd name="csX121" fmla="*/ 419600 w 732037"/>
              <a:gd name="csY121" fmla="*/ 71648 h 1571603"/>
              <a:gd name="csX122" fmla="*/ 418792 w 732037"/>
              <a:gd name="csY122" fmla="*/ 63179 h 1571603"/>
              <a:gd name="csX123" fmla="*/ 410943 w 732037"/>
              <a:gd name="csY123" fmla="*/ 66417 h 1571603"/>
              <a:gd name="csX124" fmla="*/ 400140 w 732037"/>
              <a:gd name="csY124" fmla="*/ 76155 h 1571603"/>
              <a:gd name="csX125" fmla="*/ 360599 w 732037"/>
              <a:gd name="csY125" fmla="*/ 51379 h 1571603"/>
              <a:gd name="csX126" fmla="*/ 360842 w 732037"/>
              <a:gd name="csY126" fmla="*/ 39128 h 1571603"/>
              <a:gd name="csX127" fmla="*/ 369470 w 732037"/>
              <a:gd name="csY127" fmla="*/ 30960 h 1571603"/>
              <a:gd name="csX128" fmla="*/ 365613 w 732037"/>
              <a:gd name="csY128" fmla="*/ 49108 h 1571603"/>
              <a:gd name="csX129" fmla="*/ 389468 w 732037"/>
              <a:gd name="csY129" fmla="*/ 71608 h 1571603"/>
              <a:gd name="csX130" fmla="*/ 408822 w 732037"/>
              <a:gd name="csY130" fmla="*/ 46613 h 1571603"/>
              <a:gd name="csX131" fmla="*/ 406842 w 732037"/>
              <a:gd name="csY131" fmla="*/ 38347 h 157160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</a:cxnLst>
            <a:rect l="l" t="t" r="r" b="b"/>
            <a:pathLst>
              <a:path w="732037" h="1571603">
                <a:moveTo>
                  <a:pt x="406842" y="38347"/>
                </a:moveTo>
                <a:cubicBezTo>
                  <a:pt x="408555" y="35869"/>
                  <a:pt x="410622" y="34608"/>
                  <a:pt x="411944" y="38343"/>
                </a:cubicBezTo>
                <a:cubicBezTo>
                  <a:pt x="413676" y="43242"/>
                  <a:pt x="414797" y="48356"/>
                  <a:pt x="416198" y="53444"/>
                </a:cubicBezTo>
                <a:cubicBezTo>
                  <a:pt x="422922" y="48977"/>
                  <a:pt x="424340" y="41699"/>
                  <a:pt x="418945" y="34170"/>
                </a:cubicBezTo>
                <a:cubicBezTo>
                  <a:pt x="412483" y="25152"/>
                  <a:pt x="404444" y="17554"/>
                  <a:pt x="394077" y="12943"/>
                </a:cubicBezTo>
                <a:cubicBezTo>
                  <a:pt x="376702" y="5216"/>
                  <a:pt x="358713" y="6244"/>
                  <a:pt x="341415" y="11814"/>
                </a:cubicBezTo>
                <a:cubicBezTo>
                  <a:pt x="323675" y="17525"/>
                  <a:pt x="304459" y="39816"/>
                  <a:pt x="309440" y="65249"/>
                </a:cubicBezTo>
                <a:cubicBezTo>
                  <a:pt x="310868" y="72543"/>
                  <a:pt x="315482" y="79463"/>
                  <a:pt x="319632" y="85914"/>
                </a:cubicBezTo>
                <a:cubicBezTo>
                  <a:pt x="325434" y="94933"/>
                  <a:pt x="325800" y="102817"/>
                  <a:pt x="318632" y="110015"/>
                </a:cubicBezTo>
                <a:cubicBezTo>
                  <a:pt x="291775" y="136984"/>
                  <a:pt x="269594" y="167702"/>
                  <a:pt x="246921" y="198083"/>
                </a:cubicBezTo>
                <a:cubicBezTo>
                  <a:pt x="230003" y="220751"/>
                  <a:pt x="215685" y="244921"/>
                  <a:pt x="202660" y="269911"/>
                </a:cubicBezTo>
                <a:cubicBezTo>
                  <a:pt x="188381" y="297309"/>
                  <a:pt x="179513" y="326657"/>
                  <a:pt x="176707" y="357233"/>
                </a:cubicBezTo>
                <a:cubicBezTo>
                  <a:pt x="174106" y="385578"/>
                  <a:pt x="180131" y="413140"/>
                  <a:pt x="190612" y="439700"/>
                </a:cubicBezTo>
                <a:cubicBezTo>
                  <a:pt x="199946" y="463353"/>
                  <a:pt x="211538" y="485623"/>
                  <a:pt x="227544" y="505527"/>
                </a:cubicBezTo>
                <a:cubicBezTo>
                  <a:pt x="229982" y="508558"/>
                  <a:pt x="230954" y="512768"/>
                  <a:pt x="232541" y="516294"/>
                </a:cubicBezTo>
                <a:cubicBezTo>
                  <a:pt x="229578" y="520824"/>
                  <a:pt x="226658" y="524724"/>
                  <a:pt x="224356" y="528960"/>
                </a:cubicBezTo>
                <a:cubicBezTo>
                  <a:pt x="221823" y="533618"/>
                  <a:pt x="222675" y="537588"/>
                  <a:pt x="227944" y="540026"/>
                </a:cubicBezTo>
                <a:cubicBezTo>
                  <a:pt x="231656" y="541743"/>
                  <a:pt x="235331" y="543568"/>
                  <a:pt x="238897" y="545570"/>
                </a:cubicBezTo>
                <a:cubicBezTo>
                  <a:pt x="249613" y="551585"/>
                  <a:pt x="251795" y="563681"/>
                  <a:pt x="242386" y="571785"/>
                </a:cubicBezTo>
                <a:cubicBezTo>
                  <a:pt x="233816" y="579166"/>
                  <a:pt x="224045" y="585423"/>
                  <a:pt x="214067" y="590809"/>
                </a:cubicBezTo>
                <a:cubicBezTo>
                  <a:pt x="206271" y="595018"/>
                  <a:pt x="202051" y="601487"/>
                  <a:pt x="201355" y="609067"/>
                </a:cubicBezTo>
                <a:cubicBezTo>
                  <a:pt x="200489" y="618497"/>
                  <a:pt x="195720" y="623726"/>
                  <a:pt x="188474" y="628398"/>
                </a:cubicBezTo>
                <a:cubicBezTo>
                  <a:pt x="177332" y="635582"/>
                  <a:pt x="167866" y="644503"/>
                  <a:pt x="162658" y="657096"/>
                </a:cubicBezTo>
                <a:cubicBezTo>
                  <a:pt x="156420" y="672181"/>
                  <a:pt x="160439" y="684301"/>
                  <a:pt x="175395" y="691621"/>
                </a:cubicBezTo>
                <a:cubicBezTo>
                  <a:pt x="183722" y="695697"/>
                  <a:pt x="192859" y="698589"/>
                  <a:pt x="201948" y="700523"/>
                </a:cubicBezTo>
                <a:cubicBezTo>
                  <a:pt x="214634" y="703224"/>
                  <a:pt x="227616" y="704530"/>
                  <a:pt x="241426" y="706574"/>
                </a:cubicBezTo>
                <a:cubicBezTo>
                  <a:pt x="241839" y="709770"/>
                  <a:pt x="242576" y="712857"/>
                  <a:pt x="242586" y="715946"/>
                </a:cubicBezTo>
                <a:cubicBezTo>
                  <a:pt x="242672" y="744610"/>
                  <a:pt x="243133" y="773285"/>
                  <a:pt x="242424" y="801932"/>
                </a:cubicBezTo>
                <a:cubicBezTo>
                  <a:pt x="242053" y="816907"/>
                  <a:pt x="239631" y="831838"/>
                  <a:pt x="238000" y="846774"/>
                </a:cubicBezTo>
                <a:cubicBezTo>
                  <a:pt x="236368" y="861717"/>
                  <a:pt x="234927" y="876693"/>
                  <a:pt x="232752" y="891559"/>
                </a:cubicBezTo>
                <a:cubicBezTo>
                  <a:pt x="229873" y="911238"/>
                  <a:pt x="226675" y="930882"/>
                  <a:pt x="223037" y="950433"/>
                </a:cubicBezTo>
                <a:cubicBezTo>
                  <a:pt x="219173" y="971193"/>
                  <a:pt x="215113" y="991942"/>
                  <a:pt x="210247" y="1012485"/>
                </a:cubicBezTo>
                <a:cubicBezTo>
                  <a:pt x="205743" y="1031500"/>
                  <a:pt x="200395" y="1050337"/>
                  <a:pt x="194820" y="1069074"/>
                </a:cubicBezTo>
                <a:cubicBezTo>
                  <a:pt x="185401" y="1100731"/>
                  <a:pt x="175708" y="1132311"/>
                  <a:pt x="165707" y="1163788"/>
                </a:cubicBezTo>
                <a:cubicBezTo>
                  <a:pt x="162367" y="1174302"/>
                  <a:pt x="156145" y="1182634"/>
                  <a:pt x="144382" y="1185530"/>
                </a:cubicBezTo>
                <a:cubicBezTo>
                  <a:pt x="139281" y="1186787"/>
                  <a:pt x="134434" y="1189193"/>
                  <a:pt x="129590" y="1191342"/>
                </a:cubicBezTo>
                <a:cubicBezTo>
                  <a:pt x="120028" y="1195581"/>
                  <a:pt x="118779" y="1198539"/>
                  <a:pt x="122255" y="1208476"/>
                </a:cubicBezTo>
                <a:cubicBezTo>
                  <a:pt x="123870" y="1213094"/>
                  <a:pt x="125990" y="1217542"/>
                  <a:pt x="127491" y="1222193"/>
                </a:cubicBezTo>
                <a:cubicBezTo>
                  <a:pt x="132294" y="1237066"/>
                  <a:pt x="129961" y="1250353"/>
                  <a:pt x="118348" y="1261470"/>
                </a:cubicBezTo>
                <a:cubicBezTo>
                  <a:pt x="98275" y="1280686"/>
                  <a:pt x="78038" y="1299737"/>
                  <a:pt x="58232" y="1319224"/>
                </a:cubicBezTo>
                <a:cubicBezTo>
                  <a:pt x="38634" y="1338507"/>
                  <a:pt x="29913" y="1362564"/>
                  <a:pt x="28815" y="1389717"/>
                </a:cubicBezTo>
                <a:cubicBezTo>
                  <a:pt x="28318" y="1402031"/>
                  <a:pt x="29110" y="1414206"/>
                  <a:pt x="32634" y="1426050"/>
                </a:cubicBezTo>
                <a:cubicBezTo>
                  <a:pt x="34273" y="1431554"/>
                  <a:pt x="33300" y="1435929"/>
                  <a:pt x="30331" y="1441003"/>
                </a:cubicBezTo>
                <a:cubicBezTo>
                  <a:pt x="16698" y="1464298"/>
                  <a:pt x="8890" y="1489397"/>
                  <a:pt x="9180" y="1516655"/>
                </a:cubicBezTo>
                <a:cubicBezTo>
                  <a:pt x="9291" y="1527012"/>
                  <a:pt x="9917" y="1528771"/>
                  <a:pt x="20082" y="1531402"/>
                </a:cubicBezTo>
                <a:cubicBezTo>
                  <a:pt x="38179" y="1536086"/>
                  <a:pt x="56480" y="1540035"/>
                  <a:pt x="74798" y="1543794"/>
                </a:cubicBezTo>
                <a:cubicBezTo>
                  <a:pt x="87517" y="1546403"/>
                  <a:pt x="100396" y="1548250"/>
                  <a:pt x="113225" y="1550305"/>
                </a:cubicBezTo>
                <a:cubicBezTo>
                  <a:pt x="120841" y="1551524"/>
                  <a:pt x="128467" y="1552843"/>
                  <a:pt x="136142" y="1553484"/>
                </a:cubicBezTo>
                <a:cubicBezTo>
                  <a:pt x="149934" y="1554635"/>
                  <a:pt x="163778" y="1555156"/>
                  <a:pt x="177578" y="1556220"/>
                </a:cubicBezTo>
                <a:cubicBezTo>
                  <a:pt x="195403" y="1557595"/>
                  <a:pt x="213196" y="1559407"/>
                  <a:pt x="231027" y="1560698"/>
                </a:cubicBezTo>
                <a:cubicBezTo>
                  <a:pt x="238768" y="1561259"/>
                  <a:pt x="246585" y="1560709"/>
                  <a:pt x="254342" y="1561142"/>
                </a:cubicBezTo>
                <a:cubicBezTo>
                  <a:pt x="322588" y="1564942"/>
                  <a:pt x="390896" y="1563427"/>
                  <a:pt x="459180" y="1563411"/>
                </a:cubicBezTo>
                <a:cubicBezTo>
                  <a:pt x="483236" y="1563406"/>
                  <a:pt x="507311" y="1562248"/>
                  <a:pt x="531340" y="1560936"/>
                </a:cubicBezTo>
                <a:cubicBezTo>
                  <a:pt x="551225" y="1559849"/>
                  <a:pt x="571160" y="1558554"/>
                  <a:pt x="590888" y="1555951"/>
                </a:cubicBezTo>
                <a:cubicBezTo>
                  <a:pt x="631179" y="1550635"/>
                  <a:pt x="671338" y="1544328"/>
                  <a:pt x="710712" y="1533916"/>
                </a:cubicBezTo>
                <a:cubicBezTo>
                  <a:pt x="722630" y="1530764"/>
                  <a:pt x="724036" y="1528558"/>
                  <a:pt x="724356" y="1516144"/>
                </a:cubicBezTo>
                <a:cubicBezTo>
                  <a:pt x="724970" y="1492256"/>
                  <a:pt x="718637" y="1470245"/>
                  <a:pt x="707380" y="1449380"/>
                </a:cubicBezTo>
                <a:cubicBezTo>
                  <a:pt x="706259" y="1447304"/>
                  <a:pt x="706896" y="1444279"/>
                  <a:pt x="707050" y="1440881"/>
                </a:cubicBezTo>
                <a:cubicBezTo>
                  <a:pt x="722747" y="1457101"/>
                  <a:pt x="728653" y="1477963"/>
                  <a:pt x="731479" y="1500017"/>
                </a:cubicBezTo>
                <a:cubicBezTo>
                  <a:pt x="731992" y="1504029"/>
                  <a:pt x="731781" y="1508135"/>
                  <a:pt x="731163" y="1513759"/>
                </a:cubicBezTo>
                <a:cubicBezTo>
                  <a:pt x="730831" y="1517468"/>
                  <a:pt x="731241" y="1519618"/>
                  <a:pt x="731650" y="1521766"/>
                </a:cubicBezTo>
                <a:cubicBezTo>
                  <a:pt x="733191" y="1529956"/>
                  <a:pt x="730165" y="1535242"/>
                  <a:pt x="721896" y="1537319"/>
                </a:cubicBezTo>
                <a:cubicBezTo>
                  <a:pt x="700520" y="1542690"/>
                  <a:pt x="679367" y="1549248"/>
                  <a:pt x="657740" y="1553265"/>
                </a:cubicBezTo>
                <a:cubicBezTo>
                  <a:pt x="608220" y="1562464"/>
                  <a:pt x="558146" y="1566701"/>
                  <a:pt x="507791" y="1568943"/>
                </a:cubicBezTo>
                <a:cubicBezTo>
                  <a:pt x="426738" y="1572552"/>
                  <a:pt x="345677" y="1572161"/>
                  <a:pt x="264676" y="1569724"/>
                </a:cubicBezTo>
                <a:cubicBezTo>
                  <a:pt x="203800" y="1567891"/>
                  <a:pt x="142882" y="1563907"/>
                  <a:pt x="82743" y="1553254"/>
                </a:cubicBezTo>
                <a:cubicBezTo>
                  <a:pt x="60647" y="1549341"/>
                  <a:pt x="38739" y="1544032"/>
                  <a:pt x="17072" y="1538153"/>
                </a:cubicBezTo>
                <a:cubicBezTo>
                  <a:pt x="1381" y="1533894"/>
                  <a:pt x="-938" y="1529341"/>
                  <a:pt x="275" y="1513030"/>
                </a:cubicBezTo>
                <a:cubicBezTo>
                  <a:pt x="2146" y="1487871"/>
                  <a:pt x="7321" y="1463566"/>
                  <a:pt x="20923" y="1441861"/>
                </a:cubicBezTo>
                <a:cubicBezTo>
                  <a:pt x="24812" y="1435656"/>
                  <a:pt x="24566" y="1429699"/>
                  <a:pt x="23045" y="1423105"/>
                </a:cubicBezTo>
                <a:cubicBezTo>
                  <a:pt x="16952" y="1396684"/>
                  <a:pt x="19689" y="1370924"/>
                  <a:pt x="30564" y="1346289"/>
                </a:cubicBezTo>
                <a:cubicBezTo>
                  <a:pt x="39621" y="1325774"/>
                  <a:pt x="54481" y="1309709"/>
                  <a:pt x="71350" y="1295039"/>
                </a:cubicBezTo>
                <a:cubicBezTo>
                  <a:pt x="85712" y="1282550"/>
                  <a:pt x="99164" y="1268932"/>
                  <a:pt x="112257" y="1255093"/>
                </a:cubicBezTo>
                <a:cubicBezTo>
                  <a:pt x="122891" y="1243852"/>
                  <a:pt x="124955" y="1230879"/>
                  <a:pt x="115864" y="1217271"/>
                </a:cubicBezTo>
                <a:cubicBezTo>
                  <a:pt x="114506" y="1215239"/>
                  <a:pt x="113304" y="1213078"/>
                  <a:pt x="112256" y="1210870"/>
                </a:cubicBezTo>
                <a:cubicBezTo>
                  <a:pt x="106526" y="1198808"/>
                  <a:pt x="109052" y="1191969"/>
                  <a:pt x="121141" y="1186548"/>
                </a:cubicBezTo>
                <a:cubicBezTo>
                  <a:pt x="126274" y="1184246"/>
                  <a:pt x="131201" y="1180803"/>
                  <a:pt x="136571" y="1179850"/>
                </a:cubicBezTo>
                <a:cubicBezTo>
                  <a:pt x="149372" y="1177579"/>
                  <a:pt x="154892" y="1168948"/>
                  <a:pt x="158281" y="1157879"/>
                </a:cubicBezTo>
                <a:cubicBezTo>
                  <a:pt x="168288" y="1125194"/>
                  <a:pt x="179178" y="1092742"/>
                  <a:pt x="187986" y="1059736"/>
                </a:cubicBezTo>
                <a:cubicBezTo>
                  <a:pt x="198666" y="1019713"/>
                  <a:pt x="207813" y="979272"/>
                  <a:pt x="217119" y="938896"/>
                </a:cubicBezTo>
                <a:cubicBezTo>
                  <a:pt x="220491" y="924267"/>
                  <a:pt x="222410" y="909302"/>
                  <a:pt x="225792" y="893236"/>
                </a:cubicBezTo>
                <a:cubicBezTo>
                  <a:pt x="226444" y="890644"/>
                  <a:pt x="226297" y="889307"/>
                  <a:pt x="226150" y="887970"/>
                </a:cubicBezTo>
                <a:cubicBezTo>
                  <a:pt x="227450" y="877085"/>
                  <a:pt x="228750" y="866198"/>
                  <a:pt x="230782" y="853969"/>
                </a:cubicBezTo>
                <a:cubicBezTo>
                  <a:pt x="231271" y="851270"/>
                  <a:pt x="231029" y="849914"/>
                  <a:pt x="230786" y="848558"/>
                </a:cubicBezTo>
                <a:cubicBezTo>
                  <a:pt x="231390" y="840967"/>
                  <a:pt x="231993" y="833375"/>
                  <a:pt x="233315" y="824438"/>
                </a:cubicBezTo>
                <a:cubicBezTo>
                  <a:pt x="233755" y="821744"/>
                  <a:pt x="233477" y="820397"/>
                  <a:pt x="233199" y="819050"/>
                </a:cubicBezTo>
                <a:cubicBezTo>
                  <a:pt x="233786" y="807422"/>
                  <a:pt x="234374" y="795794"/>
                  <a:pt x="235848" y="782380"/>
                </a:cubicBezTo>
                <a:cubicBezTo>
                  <a:pt x="237047" y="760099"/>
                  <a:pt x="237488" y="739606"/>
                  <a:pt x="237465" y="719113"/>
                </a:cubicBezTo>
                <a:cubicBezTo>
                  <a:pt x="237463" y="717127"/>
                  <a:pt x="234595" y="715144"/>
                  <a:pt x="233057" y="713160"/>
                </a:cubicBezTo>
                <a:cubicBezTo>
                  <a:pt x="223043" y="711630"/>
                  <a:pt x="212881" y="710731"/>
                  <a:pt x="203056" y="708405"/>
                </a:cubicBezTo>
                <a:cubicBezTo>
                  <a:pt x="191716" y="705720"/>
                  <a:pt x="180144" y="702931"/>
                  <a:pt x="169628" y="698106"/>
                </a:cubicBezTo>
                <a:cubicBezTo>
                  <a:pt x="154505" y="691164"/>
                  <a:pt x="148867" y="675179"/>
                  <a:pt x="153237" y="659111"/>
                </a:cubicBezTo>
                <a:cubicBezTo>
                  <a:pt x="157196" y="644561"/>
                  <a:pt x="166649" y="634454"/>
                  <a:pt x="178365" y="626008"/>
                </a:cubicBezTo>
                <a:cubicBezTo>
                  <a:pt x="182258" y="623202"/>
                  <a:pt x="186579" y="620992"/>
                  <a:pt x="191885" y="617513"/>
                </a:cubicBezTo>
                <a:cubicBezTo>
                  <a:pt x="194882" y="614532"/>
                  <a:pt x="197062" y="612583"/>
                  <a:pt x="193681" y="610098"/>
                </a:cubicBezTo>
                <a:cubicBezTo>
                  <a:pt x="193381" y="595591"/>
                  <a:pt x="202034" y="586776"/>
                  <a:pt x="213301" y="579885"/>
                </a:cubicBezTo>
                <a:cubicBezTo>
                  <a:pt x="218517" y="576695"/>
                  <a:pt x="224270" y="574393"/>
                  <a:pt x="229635" y="571429"/>
                </a:cubicBezTo>
                <a:cubicBezTo>
                  <a:pt x="232401" y="569901"/>
                  <a:pt x="235344" y="568225"/>
                  <a:pt x="237351" y="565882"/>
                </a:cubicBezTo>
                <a:cubicBezTo>
                  <a:pt x="243193" y="559063"/>
                  <a:pt x="242021" y="554779"/>
                  <a:pt x="233673" y="550926"/>
                </a:cubicBezTo>
                <a:cubicBezTo>
                  <a:pt x="231458" y="549904"/>
                  <a:pt x="229049" y="549314"/>
                  <a:pt x="226799" y="548359"/>
                </a:cubicBezTo>
                <a:cubicBezTo>
                  <a:pt x="215108" y="543398"/>
                  <a:pt x="211118" y="532802"/>
                  <a:pt x="218639" y="522664"/>
                </a:cubicBezTo>
                <a:cubicBezTo>
                  <a:pt x="223647" y="515913"/>
                  <a:pt x="222661" y="511633"/>
                  <a:pt x="218264" y="505463"/>
                </a:cubicBezTo>
                <a:cubicBezTo>
                  <a:pt x="203255" y="484407"/>
                  <a:pt x="190650" y="461993"/>
                  <a:pt x="181762" y="437574"/>
                </a:cubicBezTo>
                <a:cubicBezTo>
                  <a:pt x="163530" y="387483"/>
                  <a:pt x="165826" y="338057"/>
                  <a:pt x="185971" y="289069"/>
                </a:cubicBezTo>
                <a:cubicBezTo>
                  <a:pt x="202921" y="247851"/>
                  <a:pt x="226229" y="210377"/>
                  <a:pt x="253787" y="175580"/>
                </a:cubicBezTo>
                <a:cubicBezTo>
                  <a:pt x="271814" y="152817"/>
                  <a:pt x="290973" y="130951"/>
                  <a:pt x="309639" y="108695"/>
                </a:cubicBezTo>
                <a:cubicBezTo>
                  <a:pt x="312744" y="104993"/>
                  <a:pt x="315922" y="101352"/>
                  <a:pt x="318061" y="98855"/>
                </a:cubicBezTo>
                <a:cubicBezTo>
                  <a:pt x="313257" y="88362"/>
                  <a:pt x="308695" y="79376"/>
                  <a:pt x="304967" y="70056"/>
                </a:cubicBezTo>
                <a:cubicBezTo>
                  <a:pt x="297146" y="50504"/>
                  <a:pt x="303366" y="33481"/>
                  <a:pt x="317012" y="19436"/>
                </a:cubicBezTo>
                <a:cubicBezTo>
                  <a:pt x="344741" y="-9105"/>
                  <a:pt x="393463" y="-3345"/>
                  <a:pt x="415542" y="18221"/>
                </a:cubicBezTo>
                <a:cubicBezTo>
                  <a:pt x="429559" y="31914"/>
                  <a:pt x="438373" y="56968"/>
                  <a:pt x="423203" y="82660"/>
                </a:cubicBezTo>
                <a:cubicBezTo>
                  <a:pt x="420306" y="87568"/>
                  <a:pt x="417047" y="92262"/>
                  <a:pt x="413361" y="97975"/>
                </a:cubicBezTo>
                <a:cubicBezTo>
                  <a:pt x="416167" y="100932"/>
                  <a:pt x="418781" y="103940"/>
                  <a:pt x="421654" y="106676"/>
                </a:cubicBezTo>
                <a:cubicBezTo>
                  <a:pt x="446372" y="130213"/>
                  <a:pt x="467902" y="156374"/>
                  <a:pt x="487032" y="184632"/>
                </a:cubicBezTo>
                <a:cubicBezTo>
                  <a:pt x="492374" y="192525"/>
                  <a:pt x="493990" y="199495"/>
                  <a:pt x="489213" y="208238"/>
                </a:cubicBezTo>
                <a:cubicBezTo>
                  <a:pt x="484525" y="216819"/>
                  <a:pt x="481033" y="226053"/>
                  <a:pt x="476520" y="235738"/>
                </a:cubicBezTo>
                <a:cubicBezTo>
                  <a:pt x="472168" y="236089"/>
                  <a:pt x="471165" y="234358"/>
                  <a:pt x="472850" y="230703"/>
                </a:cubicBezTo>
                <a:cubicBezTo>
                  <a:pt x="476263" y="223297"/>
                  <a:pt x="479344" y="215738"/>
                  <a:pt x="482723" y="208315"/>
                </a:cubicBezTo>
                <a:cubicBezTo>
                  <a:pt x="486016" y="201080"/>
                  <a:pt x="485571" y="194961"/>
                  <a:pt x="480764" y="187916"/>
                </a:cubicBezTo>
                <a:cubicBezTo>
                  <a:pt x="459995" y="157475"/>
                  <a:pt x="437234" y="128912"/>
                  <a:pt x="408519" y="105475"/>
                </a:cubicBezTo>
                <a:cubicBezTo>
                  <a:pt x="403555" y="101425"/>
                  <a:pt x="403835" y="96489"/>
                  <a:pt x="408625" y="89203"/>
                </a:cubicBezTo>
                <a:cubicBezTo>
                  <a:pt x="412416" y="83438"/>
                  <a:pt x="416045" y="77562"/>
                  <a:pt x="419600" y="71648"/>
                </a:cubicBezTo>
                <a:cubicBezTo>
                  <a:pt x="421349" y="68739"/>
                  <a:pt x="422717" y="65537"/>
                  <a:pt x="418792" y="63179"/>
                </a:cubicBezTo>
                <a:cubicBezTo>
                  <a:pt x="414834" y="60801"/>
                  <a:pt x="413218" y="63883"/>
                  <a:pt x="410943" y="66417"/>
                </a:cubicBezTo>
                <a:cubicBezTo>
                  <a:pt x="407706" y="70022"/>
                  <a:pt x="404330" y="74045"/>
                  <a:pt x="400140" y="76155"/>
                </a:cubicBezTo>
                <a:cubicBezTo>
                  <a:pt x="381561" y="85507"/>
                  <a:pt x="360821" y="72312"/>
                  <a:pt x="360599" y="51379"/>
                </a:cubicBezTo>
                <a:cubicBezTo>
                  <a:pt x="360556" y="47292"/>
                  <a:pt x="360308" y="43152"/>
                  <a:pt x="360842" y="39128"/>
                </a:cubicBezTo>
                <a:cubicBezTo>
                  <a:pt x="361447" y="34568"/>
                  <a:pt x="362880" y="30159"/>
                  <a:pt x="369470" y="30960"/>
                </a:cubicBezTo>
                <a:cubicBezTo>
                  <a:pt x="368501" y="37551"/>
                  <a:pt x="365745" y="43300"/>
                  <a:pt x="365613" y="49108"/>
                </a:cubicBezTo>
                <a:cubicBezTo>
                  <a:pt x="365328" y="61659"/>
                  <a:pt x="377498" y="72522"/>
                  <a:pt x="389468" y="71608"/>
                </a:cubicBezTo>
                <a:cubicBezTo>
                  <a:pt x="401478" y="70690"/>
                  <a:pt x="410127" y="59637"/>
                  <a:pt x="408822" y="46613"/>
                </a:cubicBezTo>
                <a:cubicBezTo>
                  <a:pt x="408542" y="43819"/>
                  <a:pt x="407521" y="41100"/>
                  <a:pt x="406842" y="38347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92" name="Free-form: Shape 391">
            <a:extLst>
              <a:ext uri="{FF2B5EF4-FFF2-40B4-BE49-F238E27FC236}">
                <a16:creationId xmlns:a16="http://schemas.microsoft.com/office/drawing/2014/main" id="{DF134203-CA5A-4BAE-4D47-FC7DE11726C5}"/>
              </a:ext>
            </a:extLst>
          </p:cNvPr>
          <p:cNvSpPr/>
          <p:nvPr/>
        </p:nvSpPr>
        <p:spPr>
          <a:xfrm>
            <a:off x="5444293" y="5472025"/>
            <a:ext cx="91545" cy="184495"/>
          </a:xfrm>
          <a:custGeom>
            <a:avLst/>
            <a:gdLst>
              <a:gd name="csX0" fmla="*/ 96534 w 100699"/>
              <a:gd name="csY0" fmla="*/ 202912 h 202945"/>
              <a:gd name="csX1" fmla="*/ 91036 w 100699"/>
              <a:gd name="csY1" fmla="*/ 196780 h 202945"/>
              <a:gd name="csX2" fmla="*/ 93357 w 100699"/>
              <a:gd name="csY2" fmla="*/ 178731 h 202945"/>
              <a:gd name="csX3" fmla="*/ 75903 w 100699"/>
              <a:gd name="csY3" fmla="*/ 106029 h 202945"/>
              <a:gd name="csX4" fmla="*/ 72780 w 100699"/>
              <a:gd name="csY4" fmla="*/ 102473 h 202945"/>
              <a:gd name="csX5" fmla="*/ 10982 w 100699"/>
              <a:gd name="csY5" fmla="*/ 41414 h 202945"/>
              <a:gd name="csX6" fmla="*/ 676 w 100699"/>
              <a:gd name="csY6" fmla="*/ 2936 h 202945"/>
              <a:gd name="csX7" fmla="*/ 5198 w 100699"/>
              <a:gd name="csY7" fmla="*/ 0 h 202945"/>
              <a:gd name="csX8" fmla="*/ 15435 w 100699"/>
              <a:gd name="csY8" fmla="*/ 35855 h 202945"/>
              <a:gd name="csX9" fmla="*/ 44498 w 100699"/>
              <a:gd name="csY9" fmla="*/ 63833 h 202945"/>
              <a:gd name="csX10" fmla="*/ 81385 w 100699"/>
              <a:gd name="csY10" fmla="*/ 106005 h 202945"/>
              <a:gd name="csX11" fmla="*/ 98950 w 100699"/>
              <a:gd name="csY11" fmla="*/ 190063 h 202945"/>
              <a:gd name="csX12" fmla="*/ 96534 w 100699"/>
              <a:gd name="csY12" fmla="*/ 202912 h 20294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</a:cxnLst>
            <a:rect l="l" t="t" r="r" b="b"/>
            <a:pathLst>
              <a:path w="100699" h="202945">
                <a:moveTo>
                  <a:pt x="96534" y="202912"/>
                </a:moveTo>
                <a:cubicBezTo>
                  <a:pt x="91699" y="203291"/>
                  <a:pt x="90650" y="200377"/>
                  <a:pt x="91036" y="196780"/>
                </a:cubicBezTo>
                <a:cubicBezTo>
                  <a:pt x="91685" y="190750"/>
                  <a:pt x="92933" y="184771"/>
                  <a:pt x="93357" y="178731"/>
                </a:cubicBezTo>
                <a:cubicBezTo>
                  <a:pt x="95183" y="152694"/>
                  <a:pt x="86034" y="129222"/>
                  <a:pt x="75903" y="106029"/>
                </a:cubicBezTo>
                <a:cubicBezTo>
                  <a:pt x="75300" y="104650"/>
                  <a:pt x="73904" y="103585"/>
                  <a:pt x="72780" y="102473"/>
                </a:cubicBezTo>
                <a:cubicBezTo>
                  <a:pt x="52199" y="82101"/>
                  <a:pt x="31673" y="61673"/>
                  <a:pt x="10982" y="41414"/>
                </a:cubicBezTo>
                <a:cubicBezTo>
                  <a:pt x="-119" y="30544"/>
                  <a:pt x="-1041" y="17093"/>
                  <a:pt x="676" y="2936"/>
                </a:cubicBezTo>
                <a:cubicBezTo>
                  <a:pt x="808" y="1852"/>
                  <a:pt x="2922" y="1010"/>
                  <a:pt x="5198" y="0"/>
                </a:cubicBezTo>
                <a:cubicBezTo>
                  <a:pt x="2043" y="13772"/>
                  <a:pt x="5665" y="25821"/>
                  <a:pt x="15435" y="35855"/>
                </a:cubicBezTo>
                <a:cubicBezTo>
                  <a:pt x="24811" y="45486"/>
                  <a:pt x="35301" y="54047"/>
                  <a:pt x="44498" y="63833"/>
                </a:cubicBezTo>
                <a:cubicBezTo>
                  <a:pt x="57293" y="77447"/>
                  <a:pt x="70760" y="90773"/>
                  <a:pt x="81385" y="106005"/>
                </a:cubicBezTo>
                <a:cubicBezTo>
                  <a:pt x="98896" y="131109"/>
                  <a:pt x="103759" y="159808"/>
                  <a:pt x="98950" y="190063"/>
                </a:cubicBezTo>
                <a:cubicBezTo>
                  <a:pt x="98311" y="194082"/>
                  <a:pt x="97697" y="198105"/>
                  <a:pt x="96534" y="202912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93" name="Free-form: Shape 392">
            <a:extLst>
              <a:ext uri="{FF2B5EF4-FFF2-40B4-BE49-F238E27FC236}">
                <a16:creationId xmlns:a16="http://schemas.microsoft.com/office/drawing/2014/main" id="{EF9E1E59-85E0-6779-39BF-580AAFC16706}"/>
              </a:ext>
            </a:extLst>
          </p:cNvPr>
          <p:cNvSpPr/>
          <p:nvPr/>
        </p:nvSpPr>
        <p:spPr>
          <a:xfrm>
            <a:off x="5103009" y="5007989"/>
            <a:ext cx="3739" cy="60936"/>
          </a:xfrm>
          <a:custGeom>
            <a:avLst/>
            <a:gdLst>
              <a:gd name="csX0" fmla="*/ 0 w 4113"/>
              <a:gd name="csY0" fmla="*/ 0 h 67029"/>
              <a:gd name="csX1" fmla="*/ 4113 w 4113"/>
              <a:gd name="csY1" fmla="*/ 4824 h 67029"/>
              <a:gd name="csX2" fmla="*/ 2662 w 4113"/>
              <a:gd name="csY2" fmla="*/ 67030 h 67029"/>
              <a:gd name="csX3" fmla="*/ 631 w 4113"/>
              <a:gd name="csY3" fmla="*/ 55883 h 67029"/>
              <a:gd name="csX4" fmla="*/ 0 w 4113"/>
              <a:gd name="csY4" fmla="*/ 0 h 6702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4113" h="67029">
                <a:moveTo>
                  <a:pt x="0" y="0"/>
                </a:moveTo>
                <a:cubicBezTo>
                  <a:pt x="1242" y="855"/>
                  <a:pt x="4111" y="2838"/>
                  <a:pt x="4113" y="4824"/>
                </a:cubicBezTo>
                <a:cubicBezTo>
                  <a:pt x="4135" y="25317"/>
                  <a:pt x="3695" y="45810"/>
                  <a:pt x="2662" y="67030"/>
                </a:cubicBezTo>
                <a:cubicBezTo>
                  <a:pt x="1483" y="63799"/>
                  <a:pt x="680" y="59846"/>
                  <a:pt x="631" y="55883"/>
                </a:cubicBezTo>
                <a:cubicBezTo>
                  <a:pt x="404" y="37633"/>
                  <a:pt x="388" y="19381"/>
                  <a:pt x="0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94" name="Free-form: Shape 393">
            <a:extLst>
              <a:ext uri="{FF2B5EF4-FFF2-40B4-BE49-F238E27FC236}">
                <a16:creationId xmlns:a16="http://schemas.microsoft.com/office/drawing/2014/main" id="{E35FB7E0-43B3-84CD-968E-8868D98153A3}"/>
              </a:ext>
            </a:extLst>
          </p:cNvPr>
          <p:cNvSpPr/>
          <p:nvPr/>
        </p:nvSpPr>
        <p:spPr>
          <a:xfrm>
            <a:off x="5555398" y="5735789"/>
            <a:ext cx="1060" cy="5803"/>
          </a:xfrm>
          <a:custGeom>
            <a:avLst/>
            <a:gdLst>
              <a:gd name="csX0" fmla="*/ 1130 w 1165"/>
              <a:gd name="csY0" fmla="*/ 6385 h 6384"/>
              <a:gd name="csX1" fmla="*/ 49 w 1165"/>
              <a:gd name="csY1" fmla="*/ 0 h 6384"/>
              <a:gd name="csX2" fmla="*/ 1130 w 1165"/>
              <a:gd name="csY2" fmla="*/ 6385 h 638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165" h="6384">
                <a:moveTo>
                  <a:pt x="1130" y="6385"/>
                </a:moveTo>
                <a:cubicBezTo>
                  <a:pt x="260" y="4748"/>
                  <a:pt x="-149" y="2599"/>
                  <a:pt x="49" y="0"/>
                </a:cubicBezTo>
                <a:cubicBezTo>
                  <a:pt x="969" y="1658"/>
                  <a:pt x="1279" y="3765"/>
                  <a:pt x="1130" y="6385"/>
                </a:cubicBezTo>
                <a:close/>
              </a:path>
            </a:pathLst>
          </a:custGeom>
          <a:solidFill>
            <a:srgbClr val="939B9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95" name="Free-form: Shape 394">
            <a:extLst>
              <a:ext uri="{FF2B5EF4-FFF2-40B4-BE49-F238E27FC236}">
                <a16:creationId xmlns:a16="http://schemas.microsoft.com/office/drawing/2014/main" id="{83E331E8-4AE0-4FE0-D97F-00EB3D87EC7C}"/>
              </a:ext>
            </a:extLst>
          </p:cNvPr>
          <p:cNvSpPr/>
          <p:nvPr/>
        </p:nvSpPr>
        <p:spPr>
          <a:xfrm>
            <a:off x="5525669" y="5661694"/>
            <a:ext cx="5440" cy="2491"/>
          </a:xfrm>
          <a:custGeom>
            <a:avLst/>
            <a:gdLst>
              <a:gd name="csX0" fmla="*/ 5985 w 5984"/>
              <a:gd name="csY0" fmla="*/ 1832 h 2740"/>
              <a:gd name="csX1" fmla="*/ 0 w 5984"/>
              <a:gd name="csY1" fmla="*/ 2740 h 2740"/>
              <a:gd name="csX2" fmla="*/ 4930 w 5984"/>
              <a:gd name="csY2" fmla="*/ 0 h 2740"/>
              <a:gd name="csX3" fmla="*/ 5985 w 5984"/>
              <a:gd name="csY3" fmla="*/ 1832 h 274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</a:cxnLst>
            <a:rect l="l" t="t" r="r" b="b"/>
            <a:pathLst>
              <a:path w="5984" h="2740">
                <a:moveTo>
                  <a:pt x="5985" y="1832"/>
                </a:moveTo>
                <a:cubicBezTo>
                  <a:pt x="3992" y="2553"/>
                  <a:pt x="1996" y="2646"/>
                  <a:pt x="0" y="2740"/>
                </a:cubicBezTo>
                <a:cubicBezTo>
                  <a:pt x="1398" y="1830"/>
                  <a:pt x="2796" y="920"/>
                  <a:pt x="4930" y="0"/>
                </a:cubicBezTo>
                <a:cubicBezTo>
                  <a:pt x="5772" y="394"/>
                  <a:pt x="5877" y="799"/>
                  <a:pt x="5985" y="1832"/>
                </a:cubicBezTo>
                <a:close/>
              </a:path>
            </a:pathLst>
          </a:custGeom>
          <a:solidFill>
            <a:srgbClr val="8E9395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96" name="Free-form: Shape 395">
            <a:extLst>
              <a:ext uri="{FF2B5EF4-FFF2-40B4-BE49-F238E27FC236}">
                <a16:creationId xmlns:a16="http://schemas.microsoft.com/office/drawing/2014/main" id="{96004F11-910E-79CF-0863-19F0DF068B72}"/>
              </a:ext>
            </a:extLst>
          </p:cNvPr>
          <p:cNvSpPr/>
          <p:nvPr/>
        </p:nvSpPr>
        <p:spPr>
          <a:xfrm>
            <a:off x="5065782" y="4913809"/>
            <a:ext cx="2645" cy="5625"/>
          </a:xfrm>
          <a:custGeom>
            <a:avLst/>
            <a:gdLst>
              <a:gd name="csX0" fmla="*/ 815 w 2910"/>
              <a:gd name="csY0" fmla="*/ 0 h 6187"/>
              <a:gd name="csX1" fmla="*/ 113 w 2910"/>
              <a:gd name="csY1" fmla="*/ 6187 h 6187"/>
              <a:gd name="csX2" fmla="*/ 815 w 2910"/>
              <a:gd name="csY2" fmla="*/ 0 h 618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2910" h="6187">
                <a:moveTo>
                  <a:pt x="815" y="0"/>
                </a:moveTo>
                <a:cubicBezTo>
                  <a:pt x="4660" y="1891"/>
                  <a:pt x="2480" y="3840"/>
                  <a:pt x="113" y="6187"/>
                </a:cubicBezTo>
                <a:cubicBezTo>
                  <a:pt x="-172" y="4565"/>
                  <a:pt x="89" y="2579"/>
                  <a:pt x="815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97" name="Free-form: Shape 396">
            <a:extLst>
              <a:ext uri="{FF2B5EF4-FFF2-40B4-BE49-F238E27FC236}">
                <a16:creationId xmlns:a16="http://schemas.microsoft.com/office/drawing/2014/main" id="{41962EE2-7076-5A05-0F2D-BCEE0677ED35}"/>
              </a:ext>
            </a:extLst>
          </p:cNvPr>
          <p:cNvSpPr/>
          <p:nvPr/>
        </p:nvSpPr>
        <p:spPr>
          <a:xfrm>
            <a:off x="5100197" y="5130383"/>
            <a:ext cx="770" cy="3664"/>
          </a:xfrm>
          <a:custGeom>
            <a:avLst/>
            <a:gdLst>
              <a:gd name="csX0" fmla="*/ 106 w 847"/>
              <a:gd name="csY0" fmla="*/ 0 h 4030"/>
              <a:gd name="csX1" fmla="*/ 732 w 847"/>
              <a:gd name="csY1" fmla="*/ 4031 h 4030"/>
              <a:gd name="csX2" fmla="*/ 106 w 847"/>
              <a:gd name="csY2" fmla="*/ 0 h 403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7" h="4030">
                <a:moveTo>
                  <a:pt x="106" y="0"/>
                </a:moveTo>
                <a:cubicBezTo>
                  <a:pt x="770" y="990"/>
                  <a:pt x="1013" y="2346"/>
                  <a:pt x="732" y="4031"/>
                </a:cubicBezTo>
                <a:cubicBezTo>
                  <a:pt x="34" y="3029"/>
                  <a:pt x="-141" y="1697"/>
                  <a:pt x="106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98" name="Free-form: Shape 397">
            <a:extLst>
              <a:ext uri="{FF2B5EF4-FFF2-40B4-BE49-F238E27FC236}">
                <a16:creationId xmlns:a16="http://schemas.microsoft.com/office/drawing/2014/main" id="{126097AF-E8AE-D207-A144-719B1F1DFC55}"/>
              </a:ext>
            </a:extLst>
          </p:cNvPr>
          <p:cNvSpPr/>
          <p:nvPr/>
        </p:nvSpPr>
        <p:spPr>
          <a:xfrm>
            <a:off x="5095873" y="5166177"/>
            <a:ext cx="703" cy="3631"/>
          </a:xfrm>
          <a:custGeom>
            <a:avLst/>
            <a:gdLst>
              <a:gd name="csX0" fmla="*/ 195 w 774"/>
              <a:gd name="csY0" fmla="*/ 0 h 3994"/>
              <a:gd name="csX1" fmla="*/ 575 w 774"/>
              <a:gd name="csY1" fmla="*/ 3994 h 3994"/>
              <a:gd name="csX2" fmla="*/ 195 w 774"/>
              <a:gd name="csY2" fmla="*/ 0 h 399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774" h="3994">
                <a:moveTo>
                  <a:pt x="195" y="0"/>
                </a:moveTo>
                <a:cubicBezTo>
                  <a:pt x="794" y="1011"/>
                  <a:pt x="941" y="2348"/>
                  <a:pt x="575" y="3994"/>
                </a:cubicBezTo>
                <a:cubicBezTo>
                  <a:pt x="-44" y="2978"/>
                  <a:pt x="-151" y="1652"/>
                  <a:pt x="195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99" name="Free-form: Shape 398">
            <a:extLst>
              <a:ext uri="{FF2B5EF4-FFF2-40B4-BE49-F238E27FC236}">
                <a16:creationId xmlns:a16="http://schemas.microsoft.com/office/drawing/2014/main" id="{E76E701A-76AD-865C-6DAA-6013D48D51A5}"/>
              </a:ext>
            </a:extLst>
          </p:cNvPr>
          <p:cNvSpPr/>
          <p:nvPr/>
        </p:nvSpPr>
        <p:spPr>
          <a:xfrm>
            <a:off x="5102450" y="5103573"/>
            <a:ext cx="787" cy="3631"/>
          </a:xfrm>
          <a:custGeom>
            <a:avLst/>
            <a:gdLst>
              <a:gd name="csX0" fmla="*/ 71 w 865"/>
              <a:gd name="csY0" fmla="*/ 0 h 3995"/>
              <a:gd name="csX1" fmla="*/ 783 w 865"/>
              <a:gd name="csY1" fmla="*/ 3996 h 3995"/>
              <a:gd name="csX2" fmla="*/ 71 w 865"/>
              <a:gd name="csY2" fmla="*/ 0 h 399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65" h="3995">
                <a:moveTo>
                  <a:pt x="71" y="0"/>
                </a:moveTo>
                <a:cubicBezTo>
                  <a:pt x="740" y="963"/>
                  <a:pt x="1018" y="2311"/>
                  <a:pt x="783" y="3996"/>
                </a:cubicBezTo>
                <a:cubicBezTo>
                  <a:pt x="73" y="3017"/>
                  <a:pt x="-124" y="1701"/>
                  <a:pt x="71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0" name="Free-form: Shape 399">
            <a:extLst>
              <a:ext uri="{FF2B5EF4-FFF2-40B4-BE49-F238E27FC236}">
                <a16:creationId xmlns:a16="http://schemas.microsoft.com/office/drawing/2014/main" id="{8A0CCA33-4578-3279-C430-64EA012187B4}"/>
              </a:ext>
            </a:extLst>
          </p:cNvPr>
          <p:cNvSpPr/>
          <p:nvPr/>
        </p:nvSpPr>
        <p:spPr>
          <a:xfrm>
            <a:off x="5220754" y="5007599"/>
            <a:ext cx="170236" cy="426821"/>
          </a:xfrm>
          <a:custGeom>
            <a:avLst/>
            <a:gdLst>
              <a:gd name="csX0" fmla="*/ 120604 w 187260"/>
              <a:gd name="csY0" fmla="*/ 222968 h 469503"/>
              <a:gd name="csX1" fmla="*/ 187261 w 187260"/>
              <a:gd name="csY1" fmla="*/ 469503 h 469503"/>
              <a:gd name="csX2" fmla="*/ 1253 w 187260"/>
              <a:gd name="csY2" fmla="*/ 466078 h 469503"/>
              <a:gd name="csX3" fmla="*/ 8 w 187260"/>
              <a:gd name="csY3" fmla="*/ 458101 h 469503"/>
              <a:gd name="csX4" fmla="*/ 4383 w 187260"/>
              <a:gd name="csY4" fmla="*/ 351443 h 469503"/>
              <a:gd name="csX5" fmla="*/ 4615 w 187260"/>
              <a:gd name="csY5" fmla="*/ 346536 h 469503"/>
              <a:gd name="csX6" fmla="*/ 7935 w 187260"/>
              <a:gd name="csY6" fmla="*/ 233648 h 469503"/>
              <a:gd name="csX7" fmla="*/ 10461 w 187260"/>
              <a:gd name="csY7" fmla="*/ 128112 h 469503"/>
              <a:gd name="csX8" fmla="*/ 12461 w 187260"/>
              <a:gd name="csY8" fmla="*/ 12750 h 469503"/>
              <a:gd name="csX9" fmla="*/ 13165 w 187260"/>
              <a:gd name="csY9" fmla="*/ 4285 h 469503"/>
              <a:gd name="csX10" fmla="*/ 102327 w 187260"/>
              <a:gd name="csY10" fmla="*/ 0 h 469503"/>
              <a:gd name="csX11" fmla="*/ 106229 w 187260"/>
              <a:gd name="csY11" fmla="*/ 111321 h 469503"/>
              <a:gd name="csX12" fmla="*/ 120604 w 187260"/>
              <a:gd name="csY12" fmla="*/ 222968 h 46950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</a:cxnLst>
            <a:rect l="l" t="t" r="r" b="b"/>
            <a:pathLst>
              <a:path w="187260" h="469503">
                <a:moveTo>
                  <a:pt x="120604" y="222968"/>
                </a:moveTo>
                <a:cubicBezTo>
                  <a:pt x="135383" y="307129"/>
                  <a:pt x="159464" y="387725"/>
                  <a:pt x="187261" y="469503"/>
                </a:cubicBezTo>
                <a:cubicBezTo>
                  <a:pt x="124460" y="468347"/>
                  <a:pt x="63286" y="467220"/>
                  <a:pt x="1253" y="466078"/>
                </a:cubicBezTo>
                <a:cubicBezTo>
                  <a:pt x="818" y="463442"/>
                  <a:pt x="-95" y="460752"/>
                  <a:pt x="8" y="458101"/>
                </a:cubicBezTo>
                <a:cubicBezTo>
                  <a:pt x="1383" y="422545"/>
                  <a:pt x="2900" y="386994"/>
                  <a:pt x="4383" y="351443"/>
                </a:cubicBezTo>
                <a:cubicBezTo>
                  <a:pt x="4451" y="349807"/>
                  <a:pt x="4566" y="348172"/>
                  <a:pt x="4615" y="346536"/>
                </a:cubicBezTo>
                <a:cubicBezTo>
                  <a:pt x="5732" y="308907"/>
                  <a:pt x="6921" y="271280"/>
                  <a:pt x="7935" y="233648"/>
                </a:cubicBezTo>
                <a:cubicBezTo>
                  <a:pt x="8883" y="198472"/>
                  <a:pt x="9752" y="163293"/>
                  <a:pt x="10461" y="128112"/>
                </a:cubicBezTo>
                <a:cubicBezTo>
                  <a:pt x="11237" y="89660"/>
                  <a:pt x="11781" y="51204"/>
                  <a:pt x="12461" y="12750"/>
                </a:cubicBezTo>
                <a:cubicBezTo>
                  <a:pt x="12503" y="10363"/>
                  <a:pt x="12848" y="7981"/>
                  <a:pt x="13165" y="4285"/>
                </a:cubicBezTo>
                <a:cubicBezTo>
                  <a:pt x="42856" y="2858"/>
                  <a:pt x="72082" y="1454"/>
                  <a:pt x="102327" y="0"/>
                </a:cubicBezTo>
                <a:cubicBezTo>
                  <a:pt x="103499" y="37348"/>
                  <a:pt x="103207" y="74470"/>
                  <a:pt x="106229" y="111321"/>
                </a:cubicBezTo>
                <a:cubicBezTo>
                  <a:pt x="109263" y="148326"/>
                  <a:pt x="115599" y="185060"/>
                  <a:pt x="120604" y="222968"/>
                </a:cubicBezTo>
                <a:close/>
              </a:path>
            </a:pathLst>
          </a:custGeom>
          <a:solidFill>
            <a:srgbClr val="FDFDFD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1" name="Free-form: Shape 400">
            <a:extLst>
              <a:ext uri="{FF2B5EF4-FFF2-40B4-BE49-F238E27FC236}">
                <a16:creationId xmlns:a16="http://schemas.microsoft.com/office/drawing/2014/main" id="{A2A39C81-95C1-11F5-B6C5-913FFA3CACB2}"/>
              </a:ext>
            </a:extLst>
          </p:cNvPr>
          <p:cNvSpPr/>
          <p:nvPr/>
        </p:nvSpPr>
        <p:spPr>
          <a:xfrm>
            <a:off x="5219561" y="5474351"/>
            <a:ext cx="284824" cy="179974"/>
          </a:xfrm>
          <a:custGeom>
            <a:avLst/>
            <a:gdLst>
              <a:gd name="csX0" fmla="*/ 160234 w 313306"/>
              <a:gd name="csY0" fmla="*/ 197876 h 197971"/>
              <a:gd name="csX1" fmla="*/ 544 w 313306"/>
              <a:gd name="csY1" fmla="*/ 197972 h 197971"/>
              <a:gd name="csX2" fmla="*/ 3466 w 313306"/>
              <a:gd name="csY2" fmla="*/ 104326 h 197971"/>
              <a:gd name="csX3" fmla="*/ 0 w 313306"/>
              <a:gd name="csY3" fmla="*/ 10720 h 197971"/>
              <a:gd name="csX4" fmla="*/ 5445 w 313306"/>
              <a:gd name="csY4" fmla="*/ 9282 h 197971"/>
              <a:gd name="csX5" fmla="*/ 71623 w 313306"/>
              <a:gd name="csY5" fmla="*/ 6885 h 197971"/>
              <a:gd name="csX6" fmla="*/ 187887 w 313306"/>
              <a:gd name="csY6" fmla="*/ 233 h 197971"/>
              <a:gd name="csX7" fmla="*/ 215297 w 313306"/>
              <a:gd name="csY7" fmla="*/ 163 h 197971"/>
              <a:gd name="csX8" fmla="*/ 243629 w 313306"/>
              <a:gd name="csY8" fmla="*/ 61389 h 197971"/>
              <a:gd name="csX9" fmla="*/ 270660 w 313306"/>
              <a:gd name="csY9" fmla="*/ 86342 h 197971"/>
              <a:gd name="csX10" fmla="*/ 313142 w 313306"/>
              <a:gd name="csY10" fmla="*/ 170098 h 197971"/>
              <a:gd name="csX11" fmla="*/ 313291 w 313306"/>
              <a:gd name="csY11" fmla="*/ 176231 h 197971"/>
              <a:gd name="csX12" fmla="*/ 312654 w 313306"/>
              <a:gd name="csY12" fmla="*/ 180738 h 197971"/>
              <a:gd name="csX13" fmla="*/ 279655 w 313306"/>
              <a:gd name="csY13" fmla="*/ 186226 h 197971"/>
              <a:gd name="csX14" fmla="*/ 167436 w 313306"/>
              <a:gd name="csY14" fmla="*/ 196805 h 197971"/>
              <a:gd name="csX15" fmla="*/ 160234 w 313306"/>
              <a:gd name="csY15" fmla="*/ 197876 h 19797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</a:cxnLst>
            <a:rect l="l" t="t" r="r" b="b"/>
            <a:pathLst>
              <a:path w="313306" h="197971">
                <a:moveTo>
                  <a:pt x="160234" y="197876"/>
                </a:moveTo>
                <a:cubicBezTo>
                  <a:pt x="106384" y="197972"/>
                  <a:pt x="53682" y="197972"/>
                  <a:pt x="544" y="197972"/>
                </a:cubicBezTo>
                <a:cubicBezTo>
                  <a:pt x="1602" y="166763"/>
                  <a:pt x="3550" y="135542"/>
                  <a:pt x="3466" y="104326"/>
                </a:cubicBezTo>
                <a:cubicBezTo>
                  <a:pt x="3383" y="73323"/>
                  <a:pt x="1255" y="42326"/>
                  <a:pt x="0" y="10720"/>
                </a:cubicBezTo>
                <a:cubicBezTo>
                  <a:pt x="1689" y="10255"/>
                  <a:pt x="3551" y="9355"/>
                  <a:pt x="5445" y="9282"/>
                </a:cubicBezTo>
                <a:cubicBezTo>
                  <a:pt x="27503" y="8435"/>
                  <a:pt x="49582" y="8030"/>
                  <a:pt x="71623" y="6885"/>
                </a:cubicBezTo>
                <a:cubicBezTo>
                  <a:pt x="110388" y="4872"/>
                  <a:pt x="149126" y="2333"/>
                  <a:pt x="187887" y="233"/>
                </a:cubicBezTo>
                <a:cubicBezTo>
                  <a:pt x="196749" y="-247"/>
                  <a:pt x="205660" y="163"/>
                  <a:pt x="215297" y="163"/>
                </a:cubicBezTo>
                <a:cubicBezTo>
                  <a:pt x="215450" y="25550"/>
                  <a:pt x="226120" y="45122"/>
                  <a:pt x="243629" y="61389"/>
                </a:cubicBezTo>
                <a:cubicBezTo>
                  <a:pt x="252615" y="69739"/>
                  <a:pt x="261099" y="78715"/>
                  <a:pt x="270660" y="86342"/>
                </a:cubicBezTo>
                <a:cubicBezTo>
                  <a:pt x="297676" y="107892"/>
                  <a:pt x="310731" y="136225"/>
                  <a:pt x="313142" y="170098"/>
                </a:cubicBezTo>
                <a:cubicBezTo>
                  <a:pt x="313287" y="172136"/>
                  <a:pt x="313335" y="174188"/>
                  <a:pt x="313291" y="176231"/>
                </a:cubicBezTo>
                <a:cubicBezTo>
                  <a:pt x="313265" y="177429"/>
                  <a:pt x="312966" y="178621"/>
                  <a:pt x="312654" y="180738"/>
                </a:cubicBezTo>
                <a:cubicBezTo>
                  <a:pt x="302343" y="185396"/>
                  <a:pt x="290736" y="185049"/>
                  <a:pt x="279655" y="186226"/>
                </a:cubicBezTo>
                <a:cubicBezTo>
                  <a:pt x="242295" y="190193"/>
                  <a:pt x="204847" y="193324"/>
                  <a:pt x="167436" y="196805"/>
                </a:cubicBezTo>
                <a:cubicBezTo>
                  <a:pt x="165405" y="196994"/>
                  <a:pt x="163399" y="197449"/>
                  <a:pt x="160234" y="197876"/>
                </a:cubicBezTo>
                <a:close/>
              </a:path>
            </a:pathLst>
          </a:custGeom>
          <a:solidFill>
            <a:srgbClr val="FDFEFE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2" name="Free-form: Shape 401">
            <a:extLst>
              <a:ext uri="{FF2B5EF4-FFF2-40B4-BE49-F238E27FC236}">
                <a16:creationId xmlns:a16="http://schemas.microsoft.com/office/drawing/2014/main" id="{7DAB2F3E-374D-C8D2-44DB-0754A881B5EC}"/>
              </a:ext>
            </a:extLst>
          </p:cNvPr>
          <p:cNvSpPr/>
          <p:nvPr/>
        </p:nvSpPr>
        <p:spPr>
          <a:xfrm>
            <a:off x="5230304" y="4457767"/>
            <a:ext cx="149260" cy="361842"/>
          </a:xfrm>
          <a:custGeom>
            <a:avLst/>
            <a:gdLst>
              <a:gd name="csX0" fmla="*/ 22609 w 164186"/>
              <a:gd name="csY0" fmla="*/ 398026 h 398026"/>
              <a:gd name="csX1" fmla="*/ 16884 w 164186"/>
              <a:gd name="csY1" fmla="*/ 390515 h 398026"/>
              <a:gd name="csX2" fmla="*/ 9661 w 164186"/>
              <a:gd name="csY2" fmla="*/ 328443 h 398026"/>
              <a:gd name="csX3" fmla="*/ 534 w 164186"/>
              <a:gd name="csY3" fmla="*/ 196369 h 398026"/>
              <a:gd name="csX4" fmla="*/ 1243 w 164186"/>
              <a:gd name="csY4" fmla="*/ 82293 h 398026"/>
              <a:gd name="csX5" fmla="*/ 2245 w 164186"/>
              <a:gd name="csY5" fmla="*/ 43023 h 398026"/>
              <a:gd name="csX6" fmla="*/ 4587 w 164186"/>
              <a:gd name="csY6" fmla="*/ 0 h 398026"/>
              <a:gd name="csX7" fmla="*/ 12341 w 164186"/>
              <a:gd name="csY7" fmla="*/ 3872 h 398026"/>
              <a:gd name="csX8" fmla="*/ 85914 w 164186"/>
              <a:gd name="csY8" fmla="*/ 78943 h 398026"/>
              <a:gd name="csX9" fmla="*/ 87893 w 164186"/>
              <a:gd name="csY9" fmla="*/ 99117 h 398026"/>
              <a:gd name="csX10" fmla="*/ 35459 w 164186"/>
              <a:gd name="csY10" fmla="*/ 207346 h 398026"/>
              <a:gd name="csX11" fmla="*/ 32223 w 164186"/>
              <a:gd name="csY11" fmla="*/ 213959 h 398026"/>
              <a:gd name="csX12" fmla="*/ 39509 w 164186"/>
              <a:gd name="csY12" fmla="*/ 242056 h 398026"/>
              <a:gd name="csX13" fmla="*/ 69474 w 164186"/>
              <a:gd name="csY13" fmla="*/ 237019 h 398026"/>
              <a:gd name="csX14" fmla="*/ 89101 w 164186"/>
              <a:gd name="csY14" fmla="*/ 208870 h 398026"/>
              <a:gd name="csX15" fmla="*/ 121716 w 164186"/>
              <a:gd name="csY15" fmla="*/ 158357 h 398026"/>
              <a:gd name="csX16" fmla="*/ 129330 w 164186"/>
              <a:gd name="csY16" fmla="*/ 148165 h 398026"/>
              <a:gd name="csX17" fmla="*/ 137171 w 164186"/>
              <a:gd name="csY17" fmla="*/ 159989 h 398026"/>
              <a:gd name="csX18" fmla="*/ 163812 w 164186"/>
              <a:gd name="csY18" fmla="*/ 273175 h 398026"/>
              <a:gd name="csX19" fmla="*/ 118151 w 164186"/>
              <a:gd name="csY19" fmla="*/ 383442 h 398026"/>
              <a:gd name="csX20" fmla="*/ 92325 w 164186"/>
              <a:gd name="csY20" fmla="*/ 395173 h 398026"/>
              <a:gd name="csX21" fmla="*/ 22609 w 164186"/>
              <a:gd name="csY21" fmla="*/ 398026 h 39802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</a:cxnLst>
            <a:rect l="l" t="t" r="r" b="b"/>
            <a:pathLst>
              <a:path w="164186" h="398026">
                <a:moveTo>
                  <a:pt x="22609" y="398026"/>
                </a:moveTo>
                <a:cubicBezTo>
                  <a:pt x="19898" y="395489"/>
                  <a:pt x="17229" y="393154"/>
                  <a:pt x="16884" y="390515"/>
                </a:cubicBezTo>
                <a:cubicBezTo>
                  <a:pt x="14183" y="369861"/>
                  <a:pt x="11326" y="349196"/>
                  <a:pt x="9661" y="328443"/>
                </a:cubicBezTo>
                <a:cubicBezTo>
                  <a:pt x="6132" y="284452"/>
                  <a:pt x="2125" y="240448"/>
                  <a:pt x="534" y="196369"/>
                </a:cubicBezTo>
                <a:cubicBezTo>
                  <a:pt x="-837" y="158401"/>
                  <a:pt x="816" y="120322"/>
                  <a:pt x="1243" y="82293"/>
                </a:cubicBezTo>
                <a:cubicBezTo>
                  <a:pt x="1389" y="69201"/>
                  <a:pt x="1708" y="56105"/>
                  <a:pt x="2245" y="43023"/>
                </a:cubicBezTo>
                <a:cubicBezTo>
                  <a:pt x="2815" y="29160"/>
                  <a:pt x="3738" y="15312"/>
                  <a:pt x="4587" y="0"/>
                </a:cubicBezTo>
                <a:cubicBezTo>
                  <a:pt x="7809" y="1586"/>
                  <a:pt x="10279" y="2436"/>
                  <a:pt x="12341" y="3872"/>
                </a:cubicBezTo>
                <a:cubicBezTo>
                  <a:pt x="41601" y="24248"/>
                  <a:pt x="64069" y="51269"/>
                  <a:pt x="85914" y="78943"/>
                </a:cubicBezTo>
                <a:cubicBezTo>
                  <a:pt x="91106" y="85520"/>
                  <a:pt x="91706" y="91406"/>
                  <a:pt x="87893" y="99117"/>
                </a:cubicBezTo>
                <a:cubicBezTo>
                  <a:pt x="70127" y="135051"/>
                  <a:pt x="52890" y="171246"/>
                  <a:pt x="35459" y="207346"/>
                </a:cubicBezTo>
                <a:cubicBezTo>
                  <a:pt x="34391" y="209557"/>
                  <a:pt x="33130" y="211686"/>
                  <a:pt x="32223" y="213959"/>
                </a:cubicBezTo>
                <a:cubicBezTo>
                  <a:pt x="27471" y="225873"/>
                  <a:pt x="30154" y="236086"/>
                  <a:pt x="39509" y="242056"/>
                </a:cubicBezTo>
                <a:cubicBezTo>
                  <a:pt x="48880" y="248038"/>
                  <a:pt x="61705" y="246477"/>
                  <a:pt x="69474" y="237019"/>
                </a:cubicBezTo>
                <a:cubicBezTo>
                  <a:pt x="76712" y="228205"/>
                  <a:pt x="82824" y="218436"/>
                  <a:pt x="89101" y="208870"/>
                </a:cubicBezTo>
                <a:cubicBezTo>
                  <a:pt x="100096" y="192114"/>
                  <a:pt x="110806" y="175170"/>
                  <a:pt x="121716" y="158357"/>
                </a:cubicBezTo>
                <a:cubicBezTo>
                  <a:pt x="123679" y="155333"/>
                  <a:pt x="126029" y="152559"/>
                  <a:pt x="129330" y="148165"/>
                </a:cubicBezTo>
                <a:cubicBezTo>
                  <a:pt x="132450" y="152828"/>
                  <a:pt x="135175" y="156216"/>
                  <a:pt x="137171" y="159989"/>
                </a:cubicBezTo>
                <a:cubicBezTo>
                  <a:pt x="155891" y="195388"/>
                  <a:pt x="166343" y="232905"/>
                  <a:pt x="163812" y="273175"/>
                </a:cubicBezTo>
                <a:cubicBezTo>
                  <a:pt x="161183" y="314982"/>
                  <a:pt x="144984" y="351430"/>
                  <a:pt x="118151" y="383442"/>
                </a:cubicBezTo>
                <a:cubicBezTo>
                  <a:pt x="111214" y="391718"/>
                  <a:pt x="102452" y="394716"/>
                  <a:pt x="92325" y="395173"/>
                </a:cubicBezTo>
                <a:cubicBezTo>
                  <a:pt x="69461" y="396207"/>
                  <a:pt x="46593" y="397123"/>
                  <a:pt x="22609" y="398026"/>
                </a:cubicBezTo>
                <a:close/>
              </a:path>
            </a:pathLst>
          </a:custGeom>
          <a:solidFill>
            <a:srgbClr val="FCFDFD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3" name="Free-form: Shape 402">
            <a:extLst>
              <a:ext uri="{FF2B5EF4-FFF2-40B4-BE49-F238E27FC236}">
                <a16:creationId xmlns:a16="http://schemas.microsoft.com/office/drawing/2014/main" id="{39F48681-A44B-0C09-C806-3AE3EE789C94}"/>
              </a:ext>
            </a:extLst>
          </p:cNvPr>
          <p:cNvSpPr/>
          <p:nvPr/>
        </p:nvSpPr>
        <p:spPr>
          <a:xfrm>
            <a:off x="5216197" y="5683558"/>
            <a:ext cx="305850" cy="64961"/>
          </a:xfrm>
          <a:custGeom>
            <a:avLst/>
            <a:gdLst>
              <a:gd name="csX0" fmla="*/ 105937 w 336434"/>
              <a:gd name="csY0" fmla="*/ 71458 h 71457"/>
              <a:gd name="csX1" fmla="*/ 3534 w 336434"/>
              <a:gd name="csY1" fmla="*/ 69115 h 71457"/>
              <a:gd name="csX2" fmla="*/ 1296 w 336434"/>
              <a:gd name="csY2" fmla="*/ 17910 h 71457"/>
              <a:gd name="csX3" fmla="*/ 14032 w 336434"/>
              <a:gd name="csY3" fmla="*/ 17908 h 71457"/>
              <a:gd name="csX4" fmla="*/ 102444 w 336434"/>
              <a:gd name="csY4" fmla="*/ 17433 h 71457"/>
              <a:gd name="csX5" fmla="*/ 284561 w 336434"/>
              <a:gd name="csY5" fmla="*/ 3564 h 71457"/>
              <a:gd name="csX6" fmla="*/ 311323 w 336434"/>
              <a:gd name="csY6" fmla="*/ 224 h 71457"/>
              <a:gd name="csX7" fmla="*/ 324313 w 336434"/>
              <a:gd name="csY7" fmla="*/ 6639 h 71457"/>
              <a:gd name="csX8" fmla="*/ 336434 w 336434"/>
              <a:gd name="csY8" fmla="*/ 46484 h 71457"/>
              <a:gd name="csX9" fmla="*/ 105937 w 336434"/>
              <a:gd name="csY9" fmla="*/ 71458 h 7145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336434" h="71457">
                <a:moveTo>
                  <a:pt x="105937" y="71458"/>
                </a:moveTo>
                <a:cubicBezTo>
                  <a:pt x="70820" y="70678"/>
                  <a:pt x="36930" y="69891"/>
                  <a:pt x="3534" y="69115"/>
                </a:cubicBezTo>
                <a:cubicBezTo>
                  <a:pt x="-81" y="59433"/>
                  <a:pt x="-1094" y="35337"/>
                  <a:pt x="1296" y="17910"/>
                </a:cubicBezTo>
                <a:cubicBezTo>
                  <a:pt x="5366" y="17910"/>
                  <a:pt x="9699" y="17923"/>
                  <a:pt x="14032" y="17908"/>
                </a:cubicBezTo>
                <a:cubicBezTo>
                  <a:pt x="43505" y="17812"/>
                  <a:pt x="73011" y="18557"/>
                  <a:pt x="102444" y="17433"/>
                </a:cubicBezTo>
                <a:cubicBezTo>
                  <a:pt x="163306" y="15109"/>
                  <a:pt x="224166" y="12264"/>
                  <a:pt x="284561" y="3564"/>
                </a:cubicBezTo>
                <a:cubicBezTo>
                  <a:pt x="293458" y="2283"/>
                  <a:pt x="302438" y="1575"/>
                  <a:pt x="311323" y="224"/>
                </a:cubicBezTo>
                <a:cubicBezTo>
                  <a:pt x="317371" y="-696"/>
                  <a:pt x="321247" y="1177"/>
                  <a:pt x="324313" y="6639"/>
                </a:cubicBezTo>
                <a:cubicBezTo>
                  <a:pt x="330512" y="17683"/>
                  <a:pt x="335236" y="31679"/>
                  <a:pt x="336434" y="46484"/>
                </a:cubicBezTo>
                <a:cubicBezTo>
                  <a:pt x="261124" y="64059"/>
                  <a:pt x="184356" y="69587"/>
                  <a:pt x="105937" y="71458"/>
                </a:cubicBezTo>
                <a:close/>
              </a:path>
            </a:pathLst>
          </a:custGeom>
          <a:solidFill>
            <a:srgbClr val="FCFCFC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4" name="Free-form: Shape 403">
            <a:extLst>
              <a:ext uri="{FF2B5EF4-FFF2-40B4-BE49-F238E27FC236}">
                <a16:creationId xmlns:a16="http://schemas.microsoft.com/office/drawing/2014/main" id="{63D81B69-A9C0-4576-D6F6-098AE5E6EE83}"/>
              </a:ext>
            </a:extLst>
          </p:cNvPr>
          <p:cNvSpPr/>
          <p:nvPr/>
        </p:nvSpPr>
        <p:spPr>
          <a:xfrm>
            <a:off x="5229754" y="4852834"/>
            <a:ext cx="120683" cy="63097"/>
          </a:xfrm>
          <a:custGeom>
            <a:avLst/>
            <a:gdLst>
              <a:gd name="csX0" fmla="*/ 5051 w 132751"/>
              <a:gd name="csY0" fmla="*/ 7534 h 69406"/>
              <a:gd name="csX1" fmla="*/ 10615 w 132751"/>
              <a:gd name="csY1" fmla="*/ 3077 h 69406"/>
              <a:gd name="csX2" fmla="*/ 26541 w 132751"/>
              <a:gd name="csY2" fmla="*/ 2752 h 69406"/>
              <a:gd name="csX3" fmla="*/ 87728 w 132751"/>
              <a:gd name="csY3" fmla="*/ 89 h 69406"/>
              <a:gd name="csX4" fmla="*/ 101400 w 132751"/>
              <a:gd name="csY4" fmla="*/ 62 h 69406"/>
              <a:gd name="csX5" fmla="*/ 102924 w 132751"/>
              <a:gd name="csY5" fmla="*/ 4800 h 69406"/>
              <a:gd name="csX6" fmla="*/ 121469 w 132751"/>
              <a:gd name="csY6" fmla="*/ 43062 h 69406"/>
              <a:gd name="csX7" fmla="*/ 132751 w 132751"/>
              <a:gd name="csY7" fmla="*/ 65240 h 69406"/>
              <a:gd name="csX8" fmla="*/ 0 w 132751"/>
              <a:gd name="csY8" fmla="*/ 69406 h 69406"/>
              <a:gd name="csX9" fmla="*/ 5051 w 132751"/>
              <a:gd name="csY9" fmla="*/ 7534 h 6940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132751" h="69406">
                <a:moveTo>
                  <a:pt x="5051" y="7534"/>
                </a:moveTo>
                <a:cubicBezTo>
                  <a:pt x="6880" y="5272"/>
                  <a:pt x="8659" y="3268"/>
                  <a:pt x="10615" y="3077"/>
                </a:cubicBezTo>
                <a:cubicBezTo>
                  <a:pt x="15884" y="2564"/>
                  <a:pt x="21234" y="2972"/>
                  <a:pt x="26541" y="2752"/>
                </a:cubicBezTo>
                <a:cubicBezTo>
                  <a:pt x="46938" y="1911"/>
                  <a:pt x="67330" y="933"/>
                  <a:pt x="87728" y="89"/>
                </a:cubicBezTo>
                <a:cubicBezTo>
                  <a:pt x="92161" y="-94"/>
                  <a:pt x="96609" y="62"/>
                  <a:pt x="101400" y="62"/>
                </a:cubicBezTo>
                <a:cubicBezTo>
                  <a:pt x="101991" y="1827"/>
                  <a:pt x="102885" y="3302"/>
                  <a:pt x="102924" y="4800"/>
                </a:cubicBezTo>
                <a:cubicBezTo>
                  <a:pt x="103334" y="20376"/>
                  <a:pt x="108815" y="33165"/>
                  <a:pt x="121469" y="43062"/>
                </a:cubicBezTo>
                <a:cubicBezTo>
                  <a:pt x="127809" y="48021"/>
                  <a:pt x="132509" y="54869"/>
                  <a:pt x="132751" y="65240"/>
                </a:cubicBezTo>
                <a:cubicBezTo>
                  <a:pt x="88663" y="66624"/>
                  <a:pt x="45259" y="67986"/>
                  <a:pt x="0" y="69406"/>
                </a:cubicBezTo>
                <a:cubicBezTo>
                  <a:pt x="6474" y="48167"/>
                  <a:pt x="10658" y="28665"/>
                  <a:pt x="5051" y="7534"/>
                </a:cubicBezTo>
                <a:close/>
              </a:path>
            </a:pathLst>
          </a:custGeom>
          <a:solidFill>
            <a:srgbClr val="FBFCFB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5" name="Free-form: Shape 404">
            <a:extLst>
              <a:ext uri="{FF2B5EF4-FFF2-40B4-BE49-F238E27FC236}">
                <a16:creationId xmlns:a16="http://schemas.microsoft.com/office/drawing/2014/main" id="{75C4EEC9-0F88-E4A6-E837-43D93B467C02}"/>
              </a:ext>
            </a:extLst>
          </p:cNvPr>
          <p:cNvSpPr/>
          <p:nvPr/>
        </p:nvSpPr>
        <p:spPr>
          <a:xfrm>
            <a:off x="5239391" y="4942448"/>
            <a:ext cx="150878" cy="35402"/>
          </a:xfrm>
          <a:custGeom>
            <a:avLst/>
            <a:gdLst>
              <a:gd name="csX0" fmla="*/ 80894 w 165965"/>
              <a:gd name="csY0" fmla="*/ 440 h 38942"/>
              <a:gd name="csX1" fmla="*/ 128629 w 165965"/>
              <a:gd name="csY1" fmla="*/ 5 h 38942"/>
              <a:gd name="csX2" fmla="*/ 155177 w 165965"/>
              <a:gd name="csY2" fmla="*/ 8091 h 38942"/>
              <a:gd name="csX3" fmla="*/ 164213 w 165965"/>
              <a:gd name="csY3" fmla="*/ 17723 h 38942"/>
              <a:gd name="csX4" fmla="*/ 159998 w 165965"/>
              <a:gd name="csY4" fmla="*/ 30717 h 38942"/>
              <a:gd name="csX5" fmla="*/ 146998 w 165965"/>
              <a:gd name="csY5" fmla="*/ 33737 h 38942"/>
              <a:gd name="csX6" fmla="*/ 12439 w 165965"/>
              <a:gd name="csY6" fmla="*/ 38914 h 38942"/>
              <a:gd name="csX7" fmla="*/ 0 w 165965"/>
              <a:gd name="csY7" fmla="*/ 38402 h 38942"/>
              <a:gd name="csX8" fmla="*/ 0 w 165965"/>
              <a:gd name="csY8" fmla="*/ 4598 h 38942"/>
              <a:gd name="csX9" fmla="*/ 80894 w 165965"/>
              <a:gd name="csY9" fmla="*/ 440 h 3894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165965" h="38942">
                <a:moveTo>
                  <a:pt x="80894" y="440"/>
                </a:moveTo>
                <a:cubicBezTo>
                  <a:pt x="97591" y="288"/>
                  <a:pt x="113111" y="227"/>
                  <a:pt x="128629" y="5"/>
                </a:cubicBezTo>
                <a:cubicBezTo>
                  <a:pt x="138376" y="-135"/>
                  <a:pt x="147226" y="2891"/>
                  <a:pt x="155177" y="8091"/>
                </a:cubicBezTo>
                <a:cubicBezTo>
                  <a:pt x="158779" y="10447"/>
                  <a:pt x="161992" y="14009"/>
                  <a:pt x="164213" y="17723"/>
                </a:cubicBezTo>
                <a:cubicBezTo>
                  <a:pt x="167602" y="23390"/>
                  <a:pt x="166013" y="28134"/>
                  <a:pt x="159998" y="30717"/>
                </a:cubicBezTo>
                <a:cubicBezTo>
                  <a:pt x="155963" y="32450"/>
                  <a:pt x="151384" y="33554"/>
                  <a:pt x="146998" y="33737"/>
                </a:cubicBezTo>
                <a:cubicBezTo>
                  <a:pt x="102152" y="35619"/>
                  <a:pt x="57295" y="37279"/>
                  <a:pt x="12439" y="38914"/>
                </a:cubicBezTo>
                <a:cubicBezTo>
                  <a:pt x="8467" y="39059"/>
                  <a:pt x="4472" y="38602"/>
                  <a:pt x="0" y="38402"/>
                </a:cubicBezTo>
                <a:cubicBezTo>
                  <a:pt x="0" y="27166"/>
                  <a:pt x="0" y="16774"/>
                  <a:pt x="0" y="4598"/>
                </a:cubicBezTo>
                <a:cubicBezTo>
                  <a:pt x="27063" y="3194"/>
                  <a:pt x="53389" y="1829"/>
                  <a:pt x="80894" y="440"/>
                </a:cubicBezTo>
                <a:close/>
              </a:path>
            </a:pathLst>
          </a:custGeom>
          <a:solidFill>
            <a:srgbClr val="FBFCFB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6" name="Free-form: Shape 405">
            <a:extLst>
              <a:ext uri="{FF2B5EF4-FFF2-40B4-BE49-F238E27FC236}">
                <a16:creationId xmlns:a16="http://schemas.microsoft.com/office/drawing/2014/main" id="{891AD124-7398-D2E2-B6A3-97A1538711F3}"/>
              </a:ext>
            </a:extLst>
          </p:cNvPr>
          <p:cNvSpPr/>
          <p:nvPr/>
        </p:nvSpPr>
        <p:spPr>
          <a:xfrm>
            <a:off x="5223242" y="4381624"/>
            <a:ext cx="39402" cy="42156"/>
          </a:xfrm>
          <a:custGeom>
            <a:avLst/>
            <a:gdLst>
              <a:gd name="csX0" fmla="*/ 40602 w 43343"/>
              <a:gd name="csY0" fmla="*/ 12465 h 46372"/>
              <a:gd name="csX1" fmla="*/ 43214 w 43343"/>
              <a:gd name="csY1" fmla="*/ 21324 h 46372"/>
              <a:gd name="csX2" fmla="*/ 23859 w 43343"/>
              <a:gd name="csY2" fmla="*/ 46319 h 46372"/>
              <a:gd name="csX3" fmla="*/ 5 w 43343"/>
              <a:gd name="csY3" fmla="*/ 23820 h 46372"/>
              <a:gd name="csX4" fmla="*/ 4855 w 43343"/>
              <a:gd name="csY4" fmla="*/ 5679 h 46372"/>
              <a:gd name="csX5" fmla="*/ 40602 w 43343"/>
              <a:gd name="csY5" fmla="*/ 12465 h 4637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</a:cxnLst>
            <a:rect l="l" t="t" r="r" b="b"/>
            <a:pathLst>
              <a:path w="43343" h="46372">
                <a:moveTo>
                  <a:pt x="40602" y="12465"/>
                </a:moveTo>
                <a:cubicBezTo>
                  <a:pt x="41913" y="15811"/>
                  <a:pt x="42933" y="18530"/>
                  <a:pt x="43214" y="21324"/>
                </a:cubicBezTo>
                <a:cubicBezTo>
                  <a:pt x="44519" y="34348"/>
                  <a:pt x="35870" y="45401"/>
                  <a:pt x="23859" y="46319"/>
                </a:cubicBezTo>
                <a:cubicBezTo>
                  <a:pt x="11890" y="47233"/>
                  <a:pt x="-280" y="36371"/>
                  <a:pt x="5" y="23820"/>
                </a:cubicBezTo>
                <a:cubicBezTo>
                  <a:pt x="136" y="18011"/>
                  <a:pt x="2893" y="12263"/>
                  <a:pt x="4855" y="5679"/>
                </a:cubicBezTo>
                <a:cubicBezTo>
                  <a:pt x="20601" y="-3403"/>
                  <a:pt x="28004" y="-1910"/>
                  <a:pt x="40602" y="12465"/>
                </a:cubicBezTo>
                <a:close/>
              </a:path>
            </a:pathLst>
          </a:custGeom>
          <a:solidFill>
            <a:srgbClr val="FBFCFB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7" name="Oval 406">
            <a:extLst>
              <a:ext uri="{FF2B5EF4-FFF2-40B4-BE49-F238E27FC236}">
                <a16:creationId xmlns:a16="http://schemas.microsoft.com/office/drawing/2014/main" id="{4715D5C8-FC4B-D7B4-ADFE-9C3F8F0B3FD9}"/>
              </a:ext>
            </a:extLst>
          </p:cNvPr>
          <p:cNvSpPr/>
          <p:nvPr/>
        </p:nvSpPr>
        <p:spPr>
          <a:xfrm>
            <a:off x="8361601" y="5666931"/>
            <a:ext cx="739960" cy="152189"/>
          </a:xfrm>
          <a:prstGeom prst="ellipse">
            <a:avLst/>
          </a:prstGeom>
          <a:solidFill>
            <a:schemeClr val="tx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8" name="Free-form: Shape 407">
            <a:extLst>
              <a:ext uri="{FF2B5EF4-FFF2-40B4-BE49-F238E27FC236}">
                <a16:creationId xmlns:a16="http://schemas.microsoft.com/office/drawing/2014/main" id="{3917ECA3-499F-9DBF-B004-DD653FF542EB}"/>
              </a:ext>
            </a:extLst>
          </p:cNvPr>
          <p:cNvSpPr/>
          <p:nvPr/>
        </p:nvSpPr>
        <p:spPr>
          <a:xfrm>
            <a:off x="8441564" y="4365354"/>
            <a:ext cx="650203" cy="1414846"/>
          </a:xfrm>
          <a:custGeom>
            <a:avLst/>
            <a:gdLst>
              <a:gd name="csX0" fmla="*/ 466852 w 715223"/>
              <a:gd name="csY0" fmla="*/ 229083 h 1556330"/>
              <a:gd name="csX1" fmla="*/ 462328 w 715223"/>
              <a:gd name="csY1" fmla="*/ 242604 h 1556330"/>
              <a:gd name="csX2" fmla="*/ 496944 w 715223"/>
              <a:gd name="csY2" fmla="*/ 204739 h 1556330"/>
              <a:gd name="csX3" fmla="*/ 534359 w 715223"/>
              <a:gd name="csY3" fmla="*/ 270960 h 1556330"/>
              <a:gd name="csX4" fmla="*/ 540589 w 715223"/>
              <a:gd name="csY4" fmla="*/ 445986 h 1556330"/>
              <a:gd name="csX5" fmla="*/ 509727 w 715223"/>
              <a:gd name="csY5" fmla="*/ 496924 h 1556330"/>
              <a:gd name="csX6" fmla="*/ 505366 w 715223"/>
              <a:gd name="csY6" fmla="*/ 511893 h 1556330"/>
              <a:gd name="csX7" fmla="*/ 501982 w 715223"/>
              <a:gd name="csY7" fmla="*/ 530377 h 1556330"/>
              <a:gd name="csX8" fmla="*/ 505678 w 715223"/>
              <a:gd name="csY8" fmla="*/ 556455 h 1556330"/>
              <a:gd name="csX9" fmla="*/ 526115 w 715223"/>
              <a:gd name="csY9" fmla="*/ 591784 h 1556330"/>
              <a:gd name="csX10" fmla="*/ 541579 w 715223"/>
              <a:gd name="csY10" fmla="*/ 612264 h 1556330"/>
              <a:gd name="csX11" fmla="*/ 569572 w 715223"/>
              <a:gd name="csY11" fmla="*/ 643441 h 1556330"/>
              <a:gd name="csX12" fmla="*/ 555234 w 715223"/>
              <a:gd name="csY12" fmla="*/ 688473 h 1556330"/>
              <a:gd name="csX13" fmla="*/ 513278 w 715223"/>
              <a:gd name="csY13" fmla="*/ 700556 h 1556330"/>
              <a:gd name="csX14" fmla="*/ 488559 w 715223"/>
              <a:gd name="csY14" fmla="*/ 702821 h 1556330"/>
              <a:gd name="csX15" fmla="*/ 488544 w 715223"/>
              <a:gd name="csY15" fmla="*/ 718085 h 1556330"/>
              <a:gd name="csX16" fmla="*/ 526561 w 715223"/>
              <a:gd name="csY16" fmla="*/ 1010212 h 1556330"/>
              <a:gd name="csX17" fmla="*/ 569986 w 715223"/>
              <a:gd name="csY17" fmla="*/ 1153317 h 1556330"/>
              <a:gd name="csX18" fmla="*/ 587389 w 715223"/>
              <a:gd name="csY18" fmla="*/ 1172173 h 1556330"/>
              <a:gd name="csX19" fmla="*/ 606286 w 715223"/>
              <a:gd name="csY19" fmla="*/ 1180891 h 1556330"/>
              <a:gd name="csX20" fmla="*/ 613400 w 715223"/>
              <a:gd name="csY20" fmla="*/ 1204260 h 1556330"/>
              <a:gd name="csX21" fmla="*/ 605350 w 715223"/>
              <a:gd name="csY21" fmla="*/ 1216760 h 1556330"/>
              <a:gd name="csX22" fmla="*/ 600268 w 715223"/>
              <a:gd name="csY22" fmla="*/ 1220273 h 1556330"/>
              <a:gd name="csX23" fmla="*/ 610574 w 715223"/>
              <a:gd name="csY23" fmla="*/ 1258750 h 1556330"/>
              <a:gd name="csX24" fmla="*/ 672371 w 715223"/>
              <a:gd name="csY24" fmla="*/ 1319810 h 1556330"/>
              <a:gd name="csX25" fmla="*/ 675494 w 715223"/>
              <a:gd name="csY25" fmla="*/ 1323366 h 1556330"/>
              <a:gd name="csX26" fmla="*/ 692949 w 715223"/>
              <a:gd name="csY26" fmla="*/ 1396068 h 1556330"/>
              <a:gd name="csX27" fmla="*/ 690628 w 715223"/>
              <a:gd name="csY27" fmla="*/ 1414117 h 1556330"/>
              <a:gd name="csX28" fmla="*/ 695588 w 715223"/>
              <a:gd name="csY28" fmla="*/ 1421035 h 1556330"/>
              <a:gd name="csX29" fmla="*/ 694353 w 715223"/>
              <a:gd name="csY29" fmla="*/ 1425190 h 1556330"/>
              <a:gd name="csX30" fmla="*/ 689106 w 715223"/>
              <a:gd name="csY30" fmla="*/ 1428714 h 1556330"/>
              <a:gd name="csX31" fmla="*/ 695093 w 715223"/>
              <a:gd name="csY31" fmla="*/ 1428433 h 1556330"/>
              <a:gd name="csX32" fmla="*/ 697643 w 715223"/>
              <a:gd name="csY32" fmla="*/ 1432864 h 1556330"/>
              <a:gd name="csX33" fmla="*/ 698207 w 715223"/>
              <a:gd name="csY33" fmla="*/ 1441988 h 1556330"/>
              <a:gd name="csX34" fmla="*/ 715183 w 715223"/>
              <a:gd name="csY34" fmla="*/ 1508752 h 1556330"/>
              <a:gd name="csX35" fmla="*/ 701540 w 715223"/>
              <a:gd name="csY35" fmla="*/ 1526524 h 1556330"/>
              <a:gd name="csX36" fmla="*/ 581715 w 715223"/>
              <a:gd name="csY36" fmla="*/ 1548559 h 1556330"/>
              <a:gd name="csX37" fmla="*/ 522168 w 715223"/>
              <a:gd name="csY37" fmla="*/ 1553543 h 1556330"/>
              <a:gd name="csX38" fmla="*/ 450008 w 715223"/>
              <a:gd name="csY38" fmla="*/ 1556019 h 1556330"/>
              <a:gd name="csX39" fmla="*/ 245169 w 715223"/>
              <a:gd name="csY39" fmla="*/ 1553749 h 1556330"/>
              <a:gd name="csX40" fmla="*/ 221854 w 715223"/>
              <a:gd name="csY40" fmla="*/ 1553306 h 1556330"/>
              <a:gd name="csX41" fmla="*/ 168405 w 715223"/>
              <a:gd name="csY41" fmla="*/ 1548828 h 1556330"/>
              <a:gd name="csX42" fmla="*/ 126970 w 715223"/>
              <a:gd name="csY42" fmla="*/ 1546091 h 1556330"/>
              <a:gd name="csX43" fmla="*/ 104053 w 715223"/>
              <a:gd name="csY43" fmla="*/ 1542912 h 1556330"/>
              <a:gd name="csX44" fmla="*/ 65625 w 715223"/>
              <a:gd name="csY44" fmla="*/ 1536401 h 1556330"/>
              <a:gd name="csX45" fmla="*/ 10909 w 715223"/>
              <a:gd name="csY45" fmla="*/ 1524010 h 1556330"/>
              <a:gd name="csX46" fmla="*/ 8 w 715223"/>
              <a:gd name="csY46" fmla="*/ 1509263 h 1556330"/>
              <a:gd name="csX47" fmla="*/ 21158 w 715223"/>
              <a:gd name="csY47" fmla="*/ 1433611 h 1556330"/>
              <a:gd name="csX48" fmla="*/ 23462 w 715223"/>
              <a:gd name="csY48" fmla="*/ 1418658 h 1556330"/>
              <a:gd name="csX49" fmla="*/ 19643 w 715223"/>
              <a:gd name="csY49" fmla="*/ 1382324 h 1556330"/>
              <a:gd name="csX50" fmla="*/ 49060 w 715223"/>
              <a:gd name="csY50" fmla="*/ 1311832 h 1556330"/>
              <a:gd name="csX51" fmla="*/ 109176 w 715223"/>
              <a:gd name="csY51" fmla="*/ 1254078 h 1556330"/>
              <a:gd name="csX52" fmla="*/ 118319 w 715223"/>
              <a:gd name="csY52" fmla="*/ 1214801 h 1556330"/>
              <a:gd name="csX53" fmla="*/ 113082 w 715223"/>
              <a:gd name="csY53" fmla="*/ 1201084 h 1556330"/>
              <a:gd name="csX54" fmla="*/ 120417 w 715223"/>
              <a:gd name="csY54" fmla="*/ 1183950 h 1556330"/>
              <a:gd name="csX55" fmla="*/ 135209 w 715223"/>
              <a:gd name="csY55" fmla="*/ 1178138 h 1556330"/>
              <a:gd name="csX56" fmla="*/ 156535 w 715223"/>
              <a:gd name="csY56" fmla="*/ 1156396 h 1556330"/>
              <a:gd name="csX57" fmla="*/ 185647 w 715223"/>
              <a:gd name="csY57" fmla="*/ 1061682 h 1556330"/>
              <a:gd name="csX58" fmla="*/ 201074 w 715223"/>
              <a:gd name="csY58" fmla="*/ 1005093 h 1556330"/>
              <a:gd name="csX59" fmla="*/ 213864 w 715223"/>
              <a:gd name="csY59" fmla="*/ 943040 h 1556330"/>
              <a:gd name="csX60" fmla="*/ 223580 w 715223"/>
              <a:gd name="csY60" fmla="*/ 884167 h 1556330"/>
              <a:gd name="csX61" fmla="*/ 228827 w 715223"/>
              <a:gd name="csY61" fmla="*/ 839382 h 1556330"/>
              <a:gd name="csX62" fmla="*/ 233251 w 715223"/>
              <a:gd name="csY62" fmla="*/ 794539 h 1556330"/>
              <a:gd name="csX63" fmla="*/ 233413 w 715223"/>
              <a:gd name="csY63" fmla="*/ 708554 h 1556330"/>
              <a:gd name="csX64" fmla="*/ 232253 w 715223"/>
              <a:gd name="csY64" fmla="*/ 699181 h 1556330"/>
              <a:gd name="csX65" fmla="*/ 192775 w 715223"/>
              <a:gd name="csY65" fmla="*/ 693131 h 1556330"/>
              <a:gd name="csX66" fmla="*/ 166222 w 715223"/>
              <a:gd name="csY66" fmla="*/ 684229 h 1556330"/>
              <a:gd name="csX67" fmla="*/ 153485 w 715223"/>
              <a:gd name="csY67" fmla="*/ 649704 h 1556330"/>
              <a:gd name="csX68" fmla="*/ 179302 w 715223"/>
              <a:gd name="csY68" fmla="*/ 621006 h 1556330"/>
              <a:gd name="csX69" fmla="*/ 192182 w 715223"/>
              <a:gd name="csY69" fmla="*/ 601675 h 1556330"/>
              <a:gd name="csX70" fmla="*/ 204894 w 715223"/>
              <a:gd name="csY70" fmla="*/ 583417 h 1556330"/>
              <a:gd name="csX71" fmla="*/ 233213 w 715223"/>
              <a:gd name="csY71" fmla="*/ 564393 h 1556330"/>
              <a:gd name="csX72" fmla="*/ 229725 w 715223"/>
              <a:gd name="csY72" fmla="*/ 538177 h 1556330"/>
              <a:gd name="csX73" fmla="*/ 218771 w 715223"/>
              <a:gd name="csY73" fmla="*/ 532633 h 1556330"/>
              <a:gd name="csX74" fmla="*/ 215183 w 715223"/>
              <a:gd name="csY74" fmla="*/ 521568 h 1556330"/>
              <a:gd name="csX75" fmla="*/ 223368 w 715223"/>
              <a:gd name="csY75" fmla="*/ 508901 h 1556330"/>
              <a:gd name="csX76" fmla="*/ 218372 w 715223"/>
              <a:gd name="csY76" fmla="*/ 498135 h 1556330"/>
              <a:gd name="csX77" fmla="*/ 181440 w 715223"/>
              <a:gd name="csY77" fmla="*/ 432308 h 1556330"/>
              <a:gd name="csX78" fmla="*/ 167535 w 715223"/>
              <a:gd name="csY78" fmla="*/ 349841 h 1556330"/>
              <a:gd name="csX79" fmla="*/ 193488 w 715223"/>
              <a:gd name="csY79" fmla="*/ 262518 h 1556330"/>
              <a:gd name="csX80" fmla="*/ 237748 w 715223"/>
              <a:gd name="csY80" fmla="*/ 190690 h 1556330"/>
              <a:gd name="csX81" fmla="*/ 309459 w 715223"/>
              <a:gd name="csY81" fmla="*/ 102623 h 1556330"/>
              <a:gd name="csX82" fmla="*/ 310459 w 715223"/>
              <a:gd name="csY82" fmla="*/ 78521 h 1556330"/>
              <a:gd name="csX83" fmla="*/ 300267 w 715223"/>
              <a:gd name="csY83" fmla="*/ 57856 h 1556330"/>
              <a:gd name="csX84" fmla="*/ 332242 w 715223"/>
              <a:gd name="csY84" fmla="*/ 4422 h 1556330"/>
              <a:gd name="csX85" fmla="*/ 384904 w 715223"/>
              <a:gd name="csY85" fmla="*/ 5551 h 1556330"/>
              <a:gd name="csX86" fmla="*/ 409773 w 715223"/>
              <a:gd name="csY86" fmla="*/ 26778 h 1556330"/>
              <a:gd name="csX87" fmla="*/ 407026 w 715223"/>
              <a:gd name="csY87" fmla="*/ 46052 h 1556330"/>
              <a:gd name="csX88" fmla="*/ 402771 w 715223"/>
              <a:gd name="csY88" fmla="*/ 30951 h 1556330"/>
              <a:gd name="csX89" fmla="*/ 397038 w 715223"/>
              <a:gd name="csY89" fmla="*/ 30361 h 1556330"/>
              <a:gd name="csX90" fmla="*/ 360694 w 715223"/>
              <a:gd name="csY90" fmla="*/ 22760 h 1556330"/>
              <a:gd name="csX91" fmla="*/ 351669 w 715223"/>
              <a:gd name="csY91" fmla="*/ 31736 h 1556330"/>
              <a:gd name="csX92" fmla="*/ 351426 w 715223"/>
              <a:gd name="csY92" fmla="*/ 43987 h 1556330"/>
              <a:gd name="csX93" fmla="*/ 390968 w 715223"/>
              <a:gd name="csY93" fmla="*/ 68762 h 1556330"/>
              <a:gd name="csX94" fmla="*/ 401770 w 715223"/>
              <a:gd name="csY94" fmla="*/ 59025 h 1556330"/>
              <a:gd name="csX95" fmla="*/ 409619 w 715223"/>
              <a:gd name="csY95" fmla="*/ 55786 h 1556330"/>
              <a:gd name="csX96" fmla="*/ 410427 w 715223"/>
              <a:gd name="csY96" fmla="*/ 64256 h 1556330"/>
              <a:gd name="csX97" fmla="*/ 399453 w 715223"/>
              <a:gd name="csY97" fmla="*/ 81811 h 1556330"/>
              <a:gd name="csX98" fmla="*/ 399346 w 715223"/>
              <a:gd name="csY98" fmla="*/ 98083 h 1556330"/>
              <a:gd name="csX99" fmla="*/ 471592 w 715223"/>
              <a:gd name="csY99" fmla="*/ 180524 h 1556330"/>
              <a:gd name="csX100" fmla="*/ 473550 w 715223"/>
              <a:gd name="csY100" fmla="*/ 200923 h 1556330"/>
              <a:gd name="csX101" fmla="*/ 463677 w 715223"/>
              <a:gd name="csY101" fmla="*/ 223311 h 1556330"/>
              <a:gd name="csX102" fmla="*/ 466852 w 715223"/>
              <a:gd name="csY102" fmla="*/ 229083 h 1556330"/>
              <a:gd name="csX103" fmla="*/ 474186 w 715223"/>
              <a:gd name="csY103" fmla="*/ 928382 h 1556330"/>
              <a:gd name="csX104" fmla="*/ 459927 w 715223"/>
              <a:gd name="csY104" fmla="*/ 817790 h 1556330"/>
              <a:gd name="csX105" fmla="*/ 456025 w 715223"/>
              <a:gd name="csY105" fmla="*/ 706469 h 1556330"/>
              <a:gd name="csX106" fmla="*/ 366863 w 715223"/>
              <a:gd name="csY106" fmla="*/ 710754 h 1556330"/>
              <a:gd name="csX107" fmla="*/ 366159 w 715223"/>
              <a:gd name="csY107" fmla="*/ 719219 h 1556330"/>
              <a:gd name="csX108" fmla="*/ 364159 w 715223"/>
              <a:gd name="csY108" fmla="*/ 834581 h 1556330"/>
              <a:gd name="csX109" fmla="*/ 361633 w 715223"/>
              <a:gd name="csY109" fmla="*/ 940117 h 1556330"/>
              <a:gd name="csX110" fmla="*/ 358313 w 715223"/>
              <a:gd name="csY110" fmla="*/ 1053005 h 1556330"/>
              <a:gd name="csX111" fmla="*/ 358081 w 715223"/>
              <a:gd name="csY111" fmla="*/ 1057912 h 1556330"/>
              <a:gd name="csX112" fmla="*/ 353706 w 715223"/>
              <a:gd name="csY112" fmla="*/ 1164570 h 1556330"/>
              <a:gd name="csX113" fmla="*/ 354951 w 715223"/>
              <a:gd name="csY113" fmla="*/ 1172547 h 1556330"/>
              <a:gd name="csX114" fmla="*/ 540959 w 715223"/>
              <a:gd name="csY114" fmla="*/ 1175972 h 1556330"/>
              <a:gd name="csX115" fmla="*/ 474186 w 715223"/>
              <a:gd name="csY115" fmla="*/ 928382 h 1556330"/>
              <a:gd name="csX116" fmla="*/ 513768 w 715223"/>
              <a:gd name="csY116" fmla="*/ 1417676 h 1556330"/>
              <a:gd name="csX117" fmla="*/ 519822 w 715223"/>
              <a:gd name="csY117" fmla="*/ 1416700 h 1556330"/>
              <a:gd name="csX118" fmla="*/ 632041 w 715223"/>
              <a:gd name="csY118" fmla="*/ 1406122 h 1556330"/>
              <a:gd name="csX119" fmla="*/ 665040 w 715223"/>
              <a:gd name="csY119" fmla="*/ 1400634 h 1556330"/>
              <a:gd name="csX120" fmla="*/ 665677 w 715223"/>
              <a:gd name="csY120" fmla="*/ 1396126 h 1556330"/>
              <a:gd name="csX121" fmla="*/ 665529 w 715223"/>
              <a:gd name="csY121" fmla="*/ 1389994 h 1556330"/>
              <a:gd name="csX122" fmla="*/ 623046 w 715223"/>
              <a:gd name="csY122" fmla="*/ 1306238 h 1556330"/>
              <a:gd name="csX123" fmla="*/ 596015 w 715223"/>
              <a:gd name="csY123" fmla="*/ 1281285 h 1556330"/>
              <a:gd name="csX124" fmla="*/ 567683 w 715223"/>
              <a:gd name="csY124" fmla="*/ 1220059 h 1556330"/>
              <a:gd name="csX125" fmla="*/ 540273 w 715223"/>
              <a:gd name="csY125" fmla="*/ 1220129 h 1556330"/>
              <a:gd name="csX126" fmla="*/ 424010 w 715223"/>
              <a:gd name="csY126" fmla="*/ 1226781 h 1556330"/>
              <a:gd name="csX127" fmla="*/ 357832 w 715223"/>
              <a:gd name="csY127" fmla="*/ 1229178 h 1556330"/>
              <a:gd name="csX128" fmla="*/ 352386 w 715223"/>
              <a:gd name="csY128" fmla="*/ 1230616 h 1556330"/>
              <a:gd name="csX129" fmla="*/ 355852 w 715223"/>
              <a:gd name="csY129" fmla="*/ 1324222 h 1556330"/>
              <a:gd name="csX130" fmla="*/ 352930 w 715223"/>
              <a:gd name="csY130" fmla="*/ 1417867 h 1556330"/>
              <a:gd name="csX131" fmla="*/ 513768 w 715223"/>
              <a:gd name="csY131" fmla="*/ 1417676 h 1556330"/>
              <a:gd name="csX132" fmla="*/ 387930 w 715223"/>
              <a:gd name="csY132" fmla="*/ 499741 h 1556330"/>
              <a:gd name="csX133" fmla="*/ 456529 w 715223"/>
              <a:gd name="csY133" fmla="*/ 496826 h 1556330"/>
              <a:gd name="csX134" fmla="*/ 482355 w 715223"/>
              <a:gd name="csY134" fmla="*/ 485095 h 1556330"/>
              <a:gd name="csX135" fmla="*/ 528016 w 715223"/>
              <a:gd name="csY135" fmla="*/ 374829 h 1556330"/>
              <a:gd name="csX136" fmla="*/ 501375 w 715223"/>
              <a:gd name="csY136" fmla="*/ 261643 h 1556330"/>
              <a:gd name="csX137" fmla="*/ 493534 w 715223"/>
              <a:gd name="csY137" fmla="*/ 249818 h 1556330"/>
              <a:gd name="csX138" fmla="*/ 485920 w 715223"/>
              <a:gd name="csY138" fmla="*/ 260010 h 1556330"/>
              <a:gd name="csX139" fmla="*/ 453305 w 715223"/>
              <a:gd name="csY139" fmla="*/ 310523 h 1556330"/>
              <a:gd name="csX140" fmla="*/ 433678 w 715223"/>
              <a:gd name="csY140" fmla="*/ 338672 h 1556330"/>
              <a:gd name="csX141" fmla="*/ 403713 w 715223"/>
              <a:gd name="csY141" fmla="*/ 343710 h 1556330"/>
              <a:gd name="csX142" fmla="*/ 396427 w 715223"/>
              <a:gd name="csY142" fmla="*/ 315612 h 1556330"/>
              <a:gd name="csX143" fmla="*/ 399663 w 715223"/>
              <a:gd name="csY143" fmla="*/ 309000 h 1556330"/>
              <a:gd name="csX144" fmla="*/ 452097 w 715223"/>
              <a:gd name="csY144" fmla="*/ 200770 h 1556330"/>
              <a:gd name="csX145" fmla="*/ 450118 w 715223"/>
              <a:gd name="csY145" fmla="*/ 180596 h 1556330"/>
              <a:gd name="csX146" fmla="*/ 376545 w 715223"/>
              <a:gd name="csY146" fmla="*/ 105525 h 1556330"/>
              <a:gd name="csX147" fmla="*/ 368791 w 715223"/>
              <a:gd name="csY147" fmla="*/ 101653 h 1556330"/>
              <a:gd name="csX148" fmla="*/ 366449 w 715223"/>
              <a:gd name="csY148" fmla="*/ 144676 h 1556330"/>
              <a:gd name="csX149" fmla="*/ 365447 w 715223"/>
              <a:gd name="csY149" fmla="*/ 183946 h 1556330"/>
              <a:gd name="csX150" fmla="*/ 364738 w 715223"/>
              <a:gd name="csY150" fmla="*/ 298022 h 1556330"/>
              <a:gd name="csX151" fmla="*/ 373865 w 715223"/>
              <a:gd name="csY151" fmla="*/ 430096 h 1556330"/>
              <a:gd name="csX152" fmla="*/ 381088 w 715223"/>
              <a:gd name="csY152" fmla="*/ 492169 h 1556330"/>
              <a:gd name="csX153" fmla="*/ 387930 w 715223"/>
              <a:gd name="csY153" fmla="*/ 499741 h 1556330"/>
              <a:gd name="csX154" fmla="*/ 455850 w 715223"/>
              <a:gd name="csY154" fmla="*/ 1521476 h 1556330"/>
              <a:gd name="csX155" fmla="*/ 685121 w 715223"/>
              <a:gd name="csY155" fmla="*/ 1496509 h 1556330"/>
              <a:gd name="csX156" fmla="*/ 672999 w 715223"/>
              <a:gd name="csY156" fmla="*/ 1456665 h 1556330"/>
              <a:gd name="csX157" fmla="*/ 660009 w 715223"/>
              <a:gd name="csY157" fmla="*/ 1450249 h 1556330"/>
              <a:gd name="csX158" fmla="*/ 633248 w 715223"/>
              <a:gd name="csY158" fmla="*/ 1453589 h 1556330"/>
              <a:gd name="csX159" fmla="*/ 451131 w 715223"/>
              <a:gd name="csY159" fmla="*/ 1467458 h 1556330"/>
              <a:gd name="csX160" fmla="*/ 362719 w 715223"/>
              <a:gd name="csY160" fmla="*/ 1467934 h 1556330"/>
              <a:gd name="csX161" fmla="*/ 349983 w 715223"/>
              <a:gd name="csY161" fmla="*/ 1467936 h 1556330"/>
              <a:gd name="csX162" fmla="*/ 352220 w 715223"/>
              <a:gd name="csY162" fmla="*/ 1519140 h 1556330"/>
              <a:gd name="csX163" fmla="*/ 455850 w 715223"/>
              <a:gd name="csY163" fmla="*/ 1521476 h 1556330"/>
              <a:gd name="csX164" fmla="*/ 368682 w 715223"/>
              <a:gd name="csY164" fmla="*/ 544846 h 1556330"/>
              <a:gd name="csX165" fmla="*/ 363600 w 715223"/>
              <a:gd name="csY165" fmla="*/ 605633 h 1556330"/>
              <a:gd name="csX166" fmla="*/ 496351 w 715223"/>
              <a:gd name="csY166" fmla="*/ 601466 h 1556330"/>
              <a:gd name="csX167" fmla="*/ 485068 w 715223"/>
              <a:gd name="csY167" fmla="*/ 579288 h 1556330"/>
              <a:gd name="csX168" fmla="*/ 466524 w 715223"/>
              <a:gd name="csY168" fmla="*/ 541026 h 1556330"/>
              <a:gd name="csX169" fmla="*/ 465000 w 715223"/>
              <a:gd name="csY169" fmla="*/ 536289 h 1556330"/>
              <a:gd name="csX170" fmla="*/ 451328 w 715223"/>
              <a:gd name="csY170" fmla="*/ 536316 h 1556330"/>
              <a:gd name="csX171" fmla="*/ 390140 w 715223"/>
              <a:gd name="csY171" fmla="*/ 538979 h 1556330"/>
              <a:gd name="csX172" fmla="*/ 374215 w 715223"/>
              <a:gd name="csY172" fmla="*/ 539303 h 1556330"/>
              <a:gd name="csX173" fmla="*/ 368682 w 715223"/>
              <a:gd name="csY173" fmla="*/ 544846 h 1556330"/>
              <a:gd name="csX174" fmla="*/ 453915 w 715223"/>
              <a:gd name="csY174" fmla="*/ 635267 h 1556330"/>
              <a:gd name="csX175" fmla="*/ 374200 w 715223"/>
              <a:gd name="csY175" fmla="*/ 639402 h 1556330"/>
              <a:gd name="csX176" fmla="*/ 374200 w 715223"/>
              <a:gd name="csY176" fmla="*/ 673206 h 1556330"/>
              <a:gd name="csX177" fmla="*/ 386639 w 715223"/>
              <a:gd name="csY177" fmla="*/ 673718 h 1556330"/>
              <a:gd name="csX178" fmla="*/ 521198 w 715223"/>
              <a:gd name="csY178" fmla="*/ 668541 h 1556330"/>
              <a:gd name="csX179" fmla="*/ 534198 w 715223"/>
              <a:gd name="csY179" fmla="*/ 665521 h 1556330"/>
              <a:gd name="csX180" fmla="*/ 538413 w 715223"/>
              <a:gd name="csY180" fmla="*/ 652526 h 1556330"/>
              <a:gd name="csX181" fmla="*/ 529377 w 715223"/>
              <a:gd name="csY181" fmla="*/ 642895 h 1556330"/>
              <a:gd name="csX182" fmla="*/ 502829 w 715223"/>
              <a:gd name="csY182" fmla="*/ 634808 h 1556330"/>
              <a:gd name="csX183" fmla="*/ 453915 w 715223"/>
              <a:gd name="csY183" fmla="*/ 635267 h 155633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  <a:cxn ang="0">
                <a:pos x="csX170" y="csY170"/>
              </a:cxn>
              <a:cxn ang="0">
                <a:pos x="csX171" y="csY171"/>
              </a:cxn>
              <a:cxn ang="0">
                <a:pos x="csX172" y="csY172"/>
              </a:cxn>
              <a:cxn ang="0">
                <a:pos x="csX173" y="csY173"/>
              </a:cxn>
              <a:cxn ang="0">
                <a:pos x="csX174" y="csY174"/>
              </a:cxn>
              <a:cxn ang="0">
                <a:pos x="csX175" y="csY175"/>
              </a:cxn>
              <a:cxn ang="0">
                <a:pos x="csX176" y="csY176"/>
              </a:cxn>
              <a:cxn ang="0">
                <a:pos x="csX177" y="csY177"/>
              </a:cxn>
              <a:cxn ang="0">
                <a:pos x="csX178" y="csY178"/>
              </a:cxn>
              <a:cxn ang="0">
                <a:pos x="csX179" y="csY179"/>
              </a:cxn>
              <a:cxn ang="0">
                <a:pos x="csX180" y="csY180"/>
              </a:cxn>
              <a:cxn ang="0">
                <a:pos x="csX181" y="csY181"/>
              </a:cxn>
              <a:cxn ang="0">
                <a:pos x="csX182" y="csY182"/>
              </a:cxn>
              <a:cxn ang="0">
                <a:pos x="csX183" y="csY183"/>
              </a:cxn>
            </a:cxnLst>
            <a:rect l="l" t="t" r="r" b="b"/>
            <a:pathLst>
              <a:path w="715223" h="1556330">
                <a:moveTo>
                  <a:pt x="466852" y="229083"/>
                </a:moveTo>
                <a:cubicBezTo>
                  <a:pt x="465344" y="233590"/>
                  <a:pt x="463836" y="238097"/>
                  <a:pt x="462328" y="242604"/>
                </a:cubicBezTo>
                <a:cubicBezTo>
                  <a:pt x="476604" y="232528"/>
                  <a:pt x="484219" y="216936"/>
                  <a:pt x="496944" y="204739"/>
                </a:cubicBezTo>
                <a:cubicBezTo>
                  <a:pt x="511903" y="225901"/>
                  <a:pt x="524807" y="247414"/>
                  <a:pt x="534359" y="270960"/>
                </a:cubicBezTo>
                <a:cubicBezTo>
                  <a:pt x="557740" y="328591"/>
                  <a:pt x="560223" y="386926"/>
                  <a:pt x="540589" y="445986"/>
                </a:cubicBezTo>
                <a:cubicBezTo>
                  <a:pt x="534197" y="465215"/>
                  <a:pt x="524450" y="482672"/>
                  <a:pt x="509727" y="496924"/>
                </a:cubicBezTo>
                <a:cubicBezTo>
                  <a:pt x="505277" y="501232"/>
                  <a:pt x="502734" y="505157"/>
                  <a:pt x="505366" y="511893"/>
                </a:cubicBezTo>
                <a:cubicBezTo>
                  <a:pt x="507828" y="518196"/>
                  <a:pt x="505953" y="524402"/>
                  <a:pt x="501982" y="530377"/>
                </a:cubicBezTo>
                <a:cubicBezTo>
                  <a:pt x="495613" y="539961"/>
                  <a:pt x="496865" y="548901"/>
                  <a:pt x="505678" y="556455"/>
                </a:cubicBezTo>
                <a:cubicBezTo>
                  <a:pt x="516748" y="565943"/>
                  <a:pt x="523694" y="577557"/>
                  <a:pt x="526115" y="591784"/>
                </a:cubicBezTo>
                <a:cubicBezTo>
                  <a:pt x="527758" y="601445"/>
                  <a:pt x="532593" y="608029"/>
                  <a:pt x="541579" y="612264"/>
                </a:cubicBezTo>
                <a:cubicBezTo>
                  <a:pt x="555150" y="618662"/>
                  <a:pt x="564081" y="629523"/>
                  <a:pt x="569572" y="643441"/>
                </a:cubicBezTo>
                <a:cubicBezTo>
                  <a:pt x="576413" y="660776"/>
                  <a:pt x="570996" y="678245"/>
                  <a:pt x="555234" y="688473"/>
                </a:cubicBezTo>
                <a:cubicBezTo>
                  <a:pt x="542486" y="696746"/>
                  <a:pt x="528127" y="699474"/>
                  <a:pt x="513278" y="700556"/>
                </a:cubicBezTo>
                <a:cubicBezTo>
                  <a:pt x="505590" y="701115"/>
                  <a:pt x="497922" y="701952"/>
                  <a:pt x="488559" y="702821"/>
                </a:cubicBezTo>
                <a:cubicBezTo>
                  <a:pt x="488559" y="708552"/>
                  <a:pt x="488653" y="713320"/>
                  <a:pt x="488544" y="718085"/>
                </a:cubicBezTo>
                <a:cubicBezTo>
                  <a:pt x="486284" y="817406"/>
                  <a:pt x="502313" y="914319"/>
                  <a:pt x="526561" y="1010212"/>
                </a:cubicBezTo>
                <a:cubicBezTo>
                  <a:pt x="538799" y="1058612"/>
                  <a:pt x="553050" y="1106345"/>
                  <a:pt x="569986" y="1153317"/>
                </a:cubicBezTo>
                <a:cubicBezTo>
                  <a:pt x="573328" y="1162590"/>
                  <a:pt x="578279" y="1168740"/>
                  <a:pt x="587389" y="1172173"/>
                </a:cubicBezTo>
                <a:cubicBezTo>
                  <a:pt x="593869" y="1174616"/>
                  <a:pt x="600289" y="1177449"/>
                  <a:pt x="606286" y="1180891"/>
                </a:cubicBezTo>
                <a:cubicBezTo>
                  <a:pt x="617185" y="1187146"/>
                  <a:pt x="618776" y="1192931"/>
                  <a:pt x="613400" y="1204260"/>
                </a:cubicBezTo>
                <a:cubicBezTo>
                  <a:pt x="611475" y="1208315"/>
                  <a:pt x="609140" y="1212177"/>
                  <a:pt x="605350" y="1216760"/>
                </a:cubicBezTo>
                <a:cubicBezTo>
                  <a:pt x="602514" y="1218347"/>
                  <a:pt x="600399" y="1219189"/>
                  <a:pt x="600268" y="1220273"/>
                </a:cubicBezTo>
                <a:cubicBezTo>
                  <a:pt x="598551" y="1234430"/>
                  <a:pt x="599473" y="1247881"/>
                  <a:pt x="610574" y="1258750"/>
                </a:cubicBezTo>
                <a:cubicBezTo>
                  <a:pt x="631265" y="1279009"/>
                  <a:pt x="651790" y="1299438"/>
                  <a:pt x="672371" y="1319810"/>
                </a:cubicBezTo>
                <a:cubicBezTo>
                  <a:pt x="673495" y="1320922"/>
                  <a:pt x="674892" y="1321987"/>
                  <a:pt x="675494" y="1323366"/>
                </a:cubicBezTo>
                <a:cubicBezTo>
                  <a:pt x="685626" y="1346558"/>
                  <a:pt x="694775" y="1370031"/>
                  <a:pt x="692949" y="1396068"/>
                </a:cubicBezTo>
                <a:cubicBezTo>
                  <a:pt x="692525" y="1402108"/>
                  <a:pt x="691276" y="1408087"/>
                  <a:pt x="690628" y="1414117"/>
                </a:cubicBezTo>
                <a:cubicBezTo>
                  <a:pt x="690241" y="1417713"/>
                  <a:pt x="691290" y="1420628"/>
                  <a:pt x="695588" y="1421035"/>
                </a:cubicBezTo>
                <a:cubicBezTo>
                  <a:pt x="695527" y="1422155"/>
                  <a:pt x="695467" y="1423274"/>
                  <a:pt x="694353" y="1425190"/>
                </a:cubicBezTo>
                <a:cubicBezTo>
                  <a:pt x="691901" y="1426894"/>
                  <a:pt x="690503" y="1427804"/>
                  <a:pt x="689106" y="1428714"/>
                </a:cubicBezTo>
                <a:cubicBezTo>
                  <a:pt x="691101" y="1428620"/>
                  <a:pt x="693098" y="1428527"/>
                  <a:pt x="695093" y="1428433"/>
                </a:cubicBezTo>
                <a:cubicBezTo>
                  <a:pt x="695976" y="1429430"/>
                  <a:pt x="696859" y="1430427"/>
                  <a:pt x="697643" y="1432864"/>
                </a:cubicBezTo>
                <a:cubicBezTo>
                  <a:pt x="697724" y="1436887"/>
                  <a:pt x="697087" y="1439912"/>
                  <a:pt x="698207" y="1441988"/>
                </a:cubicBezTo>
                <a:cubicBezTo>
                  <a:pt x="709464" y="1462853"/>
                  <a:pt x="715798" y="1484864"/>
                  <a:pt x="715183" y="1508752"/>
                </a:cubicBezTo>
                <a:cubicBezTo>
                  <a:pt x="714863" y="1521166"/>
                  <a:pt x="713458" y="1523372"/>
                  <a:pt x="701540" y="1526524"/>
                </a:cubicBezTo>
                <a:cubicBezTo>
                  <a:pt x="662165" y="1536936"/>
                  <a:pt x="622006" y="1543243"/>
                  <a:pt x="581715" y="1548559"/>
                </a:cubicBezTo>
                <a:cubicBezTo>
                  <a:pt x="561988" y="1551162"/>
                  <a:pt x="542052" y="1552457"/>
                  <a:pt x="522168" y="1553543"/>
                </a:cubicBezTo>
                <a:cubicBezTo>
                  <a:pt x="498138" y="1554856"/>
                  <a:pt x="474063" y="1556013"/>
                  <a:pt x="450008" y="1556019"/>
                </a:cubicBezTo>
                <a:cubicBezTo>
                  <a:pt x="381724" y="1556035"/>
                  <a:pt x="313415" y="1557550"/>
                  <a:pt x="245169" y="1553749"/>
                </a:cubicBezTo>
                <a:cubicBezTo>
                  <a:pt x="237413" y="1553317"/>
                  <a:pt x="229596" y="1553867"/>
                  <a:pt x="221854" y="1553306"/>
                </a:cubicBezTo>
                <a:cubicBezTo>
                  <a:pt x="204023" y="1552015"/>
                  <a:pt x="186231" y="1550202"/>
                  <a:pt x="168405" y="1548828"/>
                </a:cubicBezTo>
                <a:cubicBezTo>
                  <a:pt x="154605" y="1547764"/>
                  <a:pt x="140762" y="1547242"/>
                  <a:pt x="126970" y="1546091"/>
                </a:cubicBezTo>
                <a:cubicBezTo>
                  <a:pt x="119295" y="1545451"/>
                  <a:pt x="111668" y="1544132"/>
                  <a:pt x="104053" y="1542912"/>
                </a:cubicBezTo>
                <a:cubicBezTo>
                  <a:pt x="91223" y="1540858"/>
                  <a:pt x="78344" y="1539011"/>
                  <a:pt x="65625" y="1536401"/>
                </a:cubicBezTo>
                <a:cubicBezTo>
                  <a:pt x="47307" y="1532642"/>
                  <a:pt x="29006" y="1528694"/>
                  <a:pt x="10909" y="1524010"/>
                </a:cubicBezTo>
                <a:cubicBezTo>
                  <a:pt x="744" y="1521379"/>
                  <a:pt x="119" y="1519620"/>
                  <a:pt x="8" y="1509263"/>
                </a:cubicBezTo>
                <a:cubicBezTo>
                  <a:pt x="-283" y="1482004"/>
                  <a:pt x="7525" y="1456906"/>
                  <a:pt x="21158" y="1433611"/>
                </a:cubicBezTo>
                <a:cubicBezTo>
                  <a:pt x="24128" y="1428537"/>
                  <a:pt x="25100" y="1424162"/>
                  <a:pt x="23462" y="1418658"/>
                </a:cubicBezTo>
                <a:cubicBezTo>
                  <a:pt x="19938" y="1406814"/>
                  <a:pt x="19145" y="1394638"/>
                  <a:pt x="19643" y="1382324"/>
                </a:cubicBezTo>
                <a:cubicBezTo>
                  <a:pt x="20741" y="1355171"/>
                  <a:pt x="29461" y="1331114"/>
                  <a:pt x="49060" y="1311832"/>
                </a:cubicBezTo>
                <a:cubicBezTo>
                  <a:pt x="68866" y="1292344"/>
                  <a:pt x="89102" y="1273294"/>
                  <a:pt x="109176" y="1254078"/>
                </a:cubicBezTo>
                <a:cubicBezTo>
                  <a:pt x="120788" y="1242961"/>
                  <a:pt x="123122" y="1229673"/>
                  <a:pt x="118319" y="1214801"/>
                </a:cubicBezTo>
                <a:cubicBezTo>
                  <a:pt x="116817" y="1210150"/>
                  <a:pt x="114697" y="1205702"/>
                  <a:pt x="113082" y="1201084"/>
                </a:cubicBezTo>
                <a:cubicBezTo>
                  <a:pt x="109606" y="1191147"/>
                  <a:pt x="110855" y="1188189"/>
                  <a:pt x="120417" y="1183950"/>
                </a:cubicBezTo>
                <a:cubicBezTo>
                  <a:pt x="125262" y="1181801"/>
                  <a:pt x="130109" y="1179394"/>
                  <a:pt x="135209" y="1178138"/>
                </a:cubicBezTo>
                <a:cubicBezTo>
                  <a:pt x="146972" y="1175241"/>
                  <a:pt x="153194" y="1166910"/>
                  <a:pt x="156535" y="1156396"/>
                </a:cubicBezTo>
                <a:cubicBezTo>
                  <a:pt x="166535" y="1124919"/>
                  <a:pt x="176229" y="1093339"/>
                  <a:pt x="185647" y="1061682"/>
                </a:cubicBezTo>
                <a:cubicBezTo>
                  <a:pt x="191222" y="1042945"/>
                  <a:pt x="196570" y="1024108"/>
                  <a:pt x="201074" y="1005093"/>
                </a:cubicBezTo>
                <a:cubicBezTo>
                  <a:pt x="205941" y="984550"/>
                  <a:pt x="210000" y="963801"/>
                  <a:pt x="213864" y="943040"/>
                </a:cubicBezTo>
                <a:cubicBezTo>
                  <a:pt x="217503" y="923489"/>
                  <a:pt x="220701" y="903846"/>
                  <a:pt x="223580" y="884167"/>
                </a:cubicBezTo>
                <a:cubicBezTo>
                  <a:pt x="225754" y="869301"/>
                  <a:pt x="227195" y="854324"/>
                  <a:pt x="228827" y="839382"/>
                </a:cubicBezTo>
                <a:cubicBezTo>
                  <a:pt x="230459" y="824446"/>
                  <a:pt x="232880" y="809515"/>
                  <a:pt x="233251" y="794539"/>
                </a:cubicBezTo>
                <a:cubicBezTo>
                  <a:pt x="233961" y="765893"/>
                  <a:pt x="233499" y="737217"/>
                  <a:pt x="233413" y="708554"/>
                </a:cubicBezTo>
                <a:cubicBezTo>
                  <a:pt x="233404" y="705465"/>
                  <a:pt x="232667" y="702378"/>
                  <a:pt x="232253" y="699181"/>
                </a:cubicBezTo>
                <a:cubicBezTo>
                  <a:pt x="218443" y="697138"/>
                  <a:pt x="205461" y="695831"/>
                  <a:pt x="192775" y="693131"/>
                </a:cubicBezTo>
                <a:cubicBezTo>
                  <a:pt x="183686" y="691197"/>
                  <a:pt x="174549" y="688305"/>
                  <a:pt x="166222" y="684229"/>
                </a:cubicBezTo>
                <a:cubicBezTo>
                  <a:pt x="151266" y="676909"/>
                  <a:pt x="147247" y="664789"/>
                  <a:pt x="153485" y="649704"/>
                </a:cubicBezTo>
                <a:cubicBezTo>
                  <a:pt x="158693" y="637111"/>
                  <a:pt x="168160" y="628190"/>
                  <a:pt x="179302" y="621006"/>
                </a:cubicBezTo>
                <a:cubicBezTo>
                  <a:pt x="186548" y="616334"/>
                  <a:pt x="191317" y="611105"/>
                  <a:pt x="192182" y="601675"/>
                </a:cubicBezTo>
                <a:cubicBezTo>
                  <a:pt x="192878" y="594094"/>
                  <a:pt x="197099" y="587626"/>
                  <a:pt x="204894" y="583417"/>
                </a:cubicBezTo>
                <a:cubicBezTo>
                  <a:pt x="214873" y="578030"/>
                  <a:pt x="224643" y="571774"/>
                  <a:pt x="233213" y="564393"/>
                </a:cubicBezTo>
                <a:cubicBezTo>
                  <a:pt x="242623" y="556289"/>
                  <a:pt x="240441" y="544193"/>
                  <a:pt x="229725" y="538177"/>
                </a:cubicBezTo>
                <a:cubicBezTo>
                  <a:pt x="226159" y="536176"/>
                  <a:pt x="222483" y="534351"/>
                  <a:pt x="218771" y="532633"/>
                </a:cubicBezTo>
                <a:cubicBezTo>
                  <a:pt x="213503" y="530196"/>
                  <a:pt x="212651" y="526226"/>
                  <a:pt x="215183" y="521568"/>
                </a:cubicBezTo>
                <a:cubicBezTo>
                  <a:pt x="217485" y="517332"/>
                  <a:pt x="220405" y="513432"/>
                  <a:pt x="223368" y="508901"/>
                </a:cubicBezTo>
                <a:cubicBezTo>
                  <a:pt x="221781" y="505376"/>
                  <a:pt x="220809" y="501165"/>
                  <a:pt x="218372" y="498135"/>
                </a:cubicBezTo>
                <a:cubicBezTo>
                  <a:pt x="202366" y="478231"/>
                  <a:pt x="190774" y="455961"/>
                  <a:pt x="181440" y="432308"/>
                </a:cubicBezTo>
                <a:cubicBezTo>
                  <a:pt x="170959" y="405748"/>
                  <a:pt x="164933" y="378186"/>
                  <a:pt x="167535" y="349841"/>
                </a:cubicBezTo>
                <a:cubicBezTo>
                  <a:pt x="170341" y="319265"/>
                  <a:pt x="179208" y="289917"/>
                  <a:pt x="193488" y="262518"/>
                </a:cubicBezTo>
                <a:cubicBezTo>
                  <a:pt x="206512" y="237529"/>
                  <a:pt x="220831" y="213359"/>
                  <a:pt x="237748" y="190690"/>
                </a:cubicBezTo>
                <a:cubicBezTo>
                  <a:pt x="260421" y="160310"/>
                  <a:pt x="282602" y="129592"/>
                  <a:pt x="309459" y="102623"/>
                </a:cubicBezTo>
                <a:cubicBezTo>
                  <a:pt x="316627" y="95424"/>
                  <a:pt x="316261" y="87541"/>
                  <a:pt x="310459" y="78521"/>
                </a:cubicBezTo>
                <a:cubicBezTo>
                  <a:pt x="306309" y="72071"/>
                  <a:pt x="301695" y="65150"/>
                  <a:pt x="300267" y="57856"/>
                </a:cubicBezTo>
                <a:cubicBezTo>
                  <a:pt x="295286" y="32423"/>
                  <a:pt x="314502" y="10133"/>
                  <a:pt x="332242" y="4422"/>
                </a:cubicBezTo>
                <a:cubicBezTo>
                  <a:pt x="349540" y="-1148"/>
                  <a:pt x="367530" y="-2176"/>
                  <a:pt x="384904" y="5551"/>
                </a:cubicBezTo>
                <a:cubicBezTo>
                  <a:pt x="395271" y="10161"/>
                  <a:pt x="403310" y="17760"/>
                  <a:pt x="409773" y="26778"/>
                </a:cubicBezTo>
                <a:cubicBezTo>
                  <a:pt x="415168" y="34307"/>
                  <a:pt x="413749" y="41584"/>
                  <a:pt x="407026" y="46052"/>
                </a:cubicBezTo>
                <a:cubicBezTo>
                  <a:pt x="405624" y="40964"/>
                  <a:pt x="404503" y="35849"/>
                  <a:pt x="402771" y="30951"/>
                </a:cubicBezTo>
                <a:cubicBezTo>
                  <a:pt x="401450" y="27216"/>
                  <a:pt x="399383" y="28477"/>
                  <a:pt x="397038" y="30361"/>
                </a:cubicBezTo>
                <a:cubicBezTo>
                  <a:pt x="384440" y="15986"/>
                  <a:pt x="377037" y="14494"/>
                  <a:pt x="360694" y="22760"/>
                </a:cubicBezTo>
                <a:cubicBezTo>
                  <a:pt x="353707" y="22767"/>
                  <a:pt x="352275" y="27176"/>
                  <a:pt x="351669" y="31736"/>
                </a:cubicBezTo>
                <a:cubicBezTo>
                  <a:pt x="351136" y="35760"/>
                  <a:pt x="351383" y="39899"/>
                  <a:pt x="351426" y="43987"/>
                </a:cubicBezTo>
                <a:cubicBezTo>
                  <a:pt x="351648" y="64919"/>
                  <a:pt x="372389" y="78115"/>
                  <a:pt x="390968" y="68762"/>
                </a:cubicBezTo>
                <a:cubicBezTo>
                  <a:pt x="395158" y="66653"/>
                  <a:pt x="398534" y="62629"/>
                  <a:pt x="401770" y="59025"/>
                </a:cubicBezTo>
                <a:cubicBezTo>
                  <a:pt x="404045" y="56491"/>
                  <a:pt x="405661" y="53409"/>
                  <a:pt x="409619" y="55786"/>
                </a:cubicBezTo>
                <a:cubicBezTo>
                  <a:pt x="413544" y="58145"/>
                  <a:pt x="412176" y="61347"/>
                  <a:pt x="410427" y="64256"/>
                </a:cubicBezTo>
                <a:cubicBezTo>
                  <a:pt x="406872" y="70170"/>
                  <a:pt x="403244" y="76046"/>
                  <a:pt x="399453" y="81811"/>
                </a:cubicBezTo>
                <a:cubicBezTo>
                  <a:pt x="394663" y="89097"/>
                  <a:pt x="394382" y="94032"/>
                  <a:pt x="399346" y="98083"/>
                </a:cubicBezTo>
                <a:cubicBezTo>
                  <a:pt x="428062" y="121519"/>
                  <a:pt x="450822" y="150083"/>
                  <a:pt x="471592" y="180524"/>
                </a:cubicBezTo>
                <a:cubicBezTo>
                  <a:pt x="476398" y="187569"/>
                  <a:pt x="476844" y="193688"/>
                  <a:pt x="473550" y="200923"/>
                </a:cubicBezTo>
                <a:cubicBezTo>
                  <a:pt x="470171" y="208346"/>
                  <a:pt x="467091" y="215905"/>
                  <a:pt x="463677" y="223311"/>
                </a:cubicBezTo>
                <a:cubicBezTo>
                  <a:pt x="461993" y="226965"/>
                  <a:pt x="462995" y="228697"/>
                  <a:pt x="466852" y="229083"/>
                </a:cubicBezTo>
                <a:moveTo>
                  <a:pt x="474186" y="928382"/>
                </a:moveTo>
                <a:cubicBezTo>
                  <a:pt x="469297" y="891529"/>
                  <a:pt x="462961" y="854794"/>
                  <a:pt x="459927" y="817790"/>
                </a:cubicBezTo>
                <a:cubicBezTo>
                  <a:pt x="456905" y="780939"/>
                  <a:pt x="457197" y="743817"/>
                  <a:pt x="456025" y="706469"/>
                </a:cubicBezTo>
                <a:cubicBezTo>
                  <a:pt x="425780" y="707923"/>
                  <a:pt x="396554" y="709327"/>
                  <a:pt x="366863" y="710754"/>
                </a:cubicBezTo>
                <a:cubicBezTo>
                  <a:pt x="366546" y="714450"/>
                  <a:pt x="366201" y="716832"/>
                  <a:pt x="366159" y="719219"/>
                </a:cubicBezTo>
                <a:cubicBezTo>
                  <a:pt x="365479" y="757672"/>
                  <a:pt x="364935" y="796129"/>
                  <a:pt x="364159" y="834581"/>
                </a:cubicBezTo>
                <a:cubicBezTo>
                  <a:pt x="363450" y="869762"/>
                  <a:pt x="362581" y="904941"/>
                  <a:pt x="361633" y="940117"/>
                </a:cubicBezTo>
                <a:cubicBezTo>
                  <a:pt x="360619" y="977749"/>
                  <a:pt x="359431" y="1015376"/>
                  <a:pt x="358313" y="1053005"/>
                </a:cubicBezTo>
                <a:cubicBezTo>
                  <a:pt x="358265" y="1054641"/>
                  <a:pt x="358149" y="1056276"/>
                  <a:pt x="358081" y="1057912"/>
                </a:cubicBezTo>
                <a:cubicBezTo>
                  <a:pt x="356598" y="1093463"/>
                  <a:pt x="355081" y="1129014"/>
                  <a:pt x="353706" y="1164570"/>
                </a:cubicBezTo>
                <a:cubicBezTo>
                  <a:pt x="353604" y="1167221"/>
                  <a:pt x="354516" y="1169911"/>
                  <a:pt x="354951" y="1172547"/>
                </a:cubicBezTo>
                <a:cubicBezTo>
                  <a:pt x="416984" y="1173689"/>
                  <a:pt x="478158" y="1174816"/>
                  <a:pt x="540959" y="1175972"/>
                </a:cubicBezTo>
                <a:cubicBezTo>
                  <a:pt x="513162" y="1094194"/>
                  <a:pt x="489081" y="1013598"/>
                  <a:pt x="474186" y="928382"/>
                </a:cubicBezTo>
                <a:moveTo>
                  <a:pt x="513768" y="1417676"/>
                </a:moveTo>
                <a:cubicBezTo>
                  <a:pt x="515785" y="1417344"/>
                  <a:pt x="517792" y="1416889"/>
                  <a:pt x="519822" y="1416700"/>
                </a:cubicBezTo>
                <a:cubicBezTo>
                  <a:pt x="557234" y="1413220"/>
                  <a:pt x="594682" y="1410089"/>
                  <a:pt x="632041" y="1406122"/>
                </a:cubicBezTo>
                <a:cubicBezTo>
                  <a:pt x="643122" y="1404945"/>
                  <a:pt x="654730" y="1405292"/>
                  <a:pt x="665040" y="1400634"/>
                </a:cubicBezTo>
                <a:cubicBezTo>
                  <a:pt x="665352" y="1398517"/>
                  <a:pt x="665651" y="1397324"/>
                  <a:pt x="665677" y="1396126"/>
                </a:cubicBezTo>
                <a:cubicBezTo>
                  <a:pt x="665722" y="1394084"/>
                  <a:pt x="665674" y="1392032"/>
                  <a:pt x="665529" y="1389994"/>
                </a:cubicBezTo>
                <a:cubicBezTo>
                  <a:pt x="663118" y="1356121"/>
                  <a:pt x="650063" y="1327787"/>
                  <a:pt x="623046" y="1306238"/>
                </a:cubicBezTo>
                <a:cubicBezTo>
                  <a:pt x="613485" y="1298611"/>
                  <a:pt x="605001" y="1289635"/>
                  <a:pt x="596015" y="1281285"/>
                </a:cubicBezTo>
                <a:cubicBezTo>
                  <a:pt x="578506" y="1265018"/>
                  <a:pt x="567837" y="1245446"/>
                  <a:pt x="567683" y="1220059"/>
                </a:cubicBezTo>
                <a:cubicBezTo>
                  <a:pt x="558046" y="1220059"/>
                  <a:pt x="549136" y="1219649"/>
                  <a:pt x="540273" y="1220129"/>
                </a:cubicBezTo>
                <a:cubicBezTo>
                  <a:pt x="501512" y="1222229"/>
                  <a:pt x="462775" y="1224768"/>
                  <a:pt x="424010" y="1226781"/>
                </a:cubicBezTo>
                <a:cubicBezTo>
                  <a:pt x="401969" y="1227926"/>
                  <a:pt x="379889" y="1228330"/>
                  <a:pt x="357832" y="1229178"/>
                </a:cubicBezTo>
                <a:cubicBezTo>
                  <a:pt x="355938" y="1229251"/>
                  <a:pt x="354076" y="1230151"/>
                  <a:pt x="352386" y="1230616"/>
                </a:cubicBezTo>
                <a:cubicBezTo>
                  <a:pt x="353642" y="1262222"/>
                  <a:pt x="355769" y="1293219"/>
                  <a:pt x="355852" y="1324222"/>
                </a:cubicBezTo>
                <a:cubicBezTo>
                  <a:pt x="355936" y="1355438"/>
                  <a:pt x="353988" y="1386659"/>
                  <a:pt x="352930" y="1417867"/>
                </a:cubicBezTo>
                <a:cubicBezTo>
                  <a:pt x="406069" y="1417867"/>
                  <a:pt x="458771" y="1417867"/>
                  <a:pt x="513768" y="1417676"/>
                </a:cubicBezTo>
                <a:moveTo>
                  <a:pt x="387930" y="499741"/>
                </a:moveTo>
                <a:cubicBezTo>
                  <a:pt x="410797" y="498777"/>
                  <a:pt x="433665" y="497860"/>
                  <a:pt x="456529" y="496826"/>
                </a:cubicBezTo>
                <a:cubicBezTo>
                  <a:pt x="466656" y="496369"/>
                  <a:pt x="475418" y="493371"/>
                  <a:pt x="482355" y="485095"/>
                </a:cubicBezTo>
                <a:cubicBezTo>
                  <a:pt x="509188" y="453083"/>
                  <a:pt x="525387" y="416636"/>
                  <a:pt x="528016" y="374829"/>
                </a:cubicBezTo>
                <a:cubicBezTo>
                  <a:pt x="530547" y="334558"/>
                  <a:pt x="520095" y="297041"/>
                  <a:pt x="501375" y="261643"/>
                </a:cubicBezTo>
                <a:cubicBezTo>
                  <a:pt x="499379" y="257869"/>
                  <a:pt x="496654" y="254482"/>
                  <a:pt x="493534" y="249818"/>
                </a:cubicBezTo>
                <a:cubicBezTo>
                  <a:pt x="490233" y="254212"/>
                  <a:pt x="487883" y="256986"/>
                  <a:pt x="485920" y="260010"/>
                </a:cubicBezTo>
                <a:cubicBezTo>
                  <a:pt x="475010" y="276824"/>
                  <a:pt x="464300" y="293767"/>
                  <a:pt x="453305" y="310523"/>
                </a:cubicBezTo>
                <a:cubicBezTo>
                  <a:pt x="447028" y="320089"/>
                  <a:pt x="440916" y="329858"/>
                  <a:pt x="433678" y="338672"/>
                </a:cubicBezTo>
                <a:cubicBezTo>
                  <a:pt x="425909" y="348131"/>
                  <a:pt x="413084" y="349691"/>
                  <a:pt x="403713" y="343710"/>
                </a:cubicBezTo>
                <a:cubicBezTo>
                  <a:pt x="394358" y="337739"/>
                  <a:pt x="391675" y="327526"/>
                  <a:pt x="396427" y="315612"/>
                </a:cubicBezTo>
                <a:cubicBezTo>
                  <a:pt x="397334" y="313339"/>
                  <a:pt x="398595" y="311210"/>
                  <a:pt x="399663" y="309000"/>
                </a:cubicBezTo>
                <a:cubicBezTo>
                  <a:pt x="417094" y="272900"/>
                  <a:pt x="434331" y="236704"/>
                  <a:pt x="452097" y="200770"/>
                </a:cubicBezTo>
                <a:cubicBezTo>
                  <a:pt x="455910" y="193060"/>
                  <a:pt x="455310" y="187173"/>
                  <a:pt x="450118" y="180596"/>
                </a:cubicBezTo>
                <a:cubicBezTo>
                  <a:pt x="428273" y="152922"/>
                  <a:pt x="405805" y="125901"/>
                  <a:pt x="376545" y="105525"/>
                </a:cubicBezTo>
                <a:cubicBezTo>
                  <a:pt x="374483" y="104089"/>
                  <a:pt x="372013" y="103239"/>
                  <a:pt x="368791" y="101653"/>
                </a:cubicBezTo>
                <a:cubicBezTo>
                  <a:pt x="367942" y="116965"/>
                  <a:pt x="367019" y="130814"/>
                  <a:pt x="366449" y="144676"/>
                </a:cubicBezTo>
                <a:cubicBezTo>
                  <a:pt x="365912" y="157758"/>
                  <a:pt x="365593" y="170854"/>
                  <a:pt x="365447" y="183946"/>
                </a:cubicBezTo>
                <a:cubicBezTo>
                  <a:pt x="365020" y="221975"/>
                  <a:pt x="363367" y="260055"/>
                  <a:pt x="364738" y="298022"/>
                </a:cubicBezTo>
                <a:cubicBezTo>
                  <a:pt x="366329" y="342101"/>
                  <a:pt x="370336" y="386106"/>
                  <a:pt x="373865" y="430096"/>
                </a:cubicBezTo>
                <a:cubicBezTo>
                  <a:pt x="375530" y="450849"/>
                  <a:pt x="378387" y="471514"/>
                  <a:pt x="381088" y="492169"/>
                </a:cubicBezTo>
                <a:cubicBezTo>
                  <a:pt x="381433" y="494807"/>
                  <a:pt x="384102" y="497143"/>
                  <a:pt x="387930" y="499741"/>
                </a:cubicBezTo>
                <a:moveTo>
                  <a:pt x="455850" y="1521476"/>
                </a:moveTo>
                <a:cubicBezTo>
                  <a:pt x="533043" y="1519612"/>
                  <a:pt x="609810" y="1514084"/>
                  <a:pt x="685121" y="1496509"/>
                </a:cubicBezTo>
                <a:cubicBezTo>
                  <a:pt x="683922" y="1481705"/>
                  <a:pt x="679199" y="1467708"/>
                  <a:pt x="672999" y="1456665"/>
                </a:cubicBezTo>
                <a:cubicBezTo>
                  <a:pt x="669933" y="1451203"/>
                  <a:pt x="666057" y="1449329"/>
                  <a:pt x="660009" y="1450249"/>
                </a:cubicBezTo>
                <a:cubicBezTo>
                  <a:pt x="651125" y="1451601"/>
                  <a:pt x="642144" y="1452308"/>
                  <a:pt x="633248" y="1453589"/>
                </a:cubicBezTo>
                <a:cubicBezTo>
                  <a:pt x="572852" y="1462289"/>
                  <a:pt x="511993" y="1465134"/>
                  <a:pt x="451131" y="1467458"/>
                </a:cubicBezTo>
                <a:cubicBezTo>
                  <a:pt x="421697" y="1468582"/>
                  <a:pt x="392192" y="1467837"/>
                  <a:pt x="362719" y="1467934"/>
                </a:cubicBezTo>
                <a:cubicBezTo>
                  <a:pt x="358386" y="1467948"/>
                  <a:pt x="354052" y="1467936"/>
                  <a:pt x="349983" y="1467936"/>
                </a:cubicBezTo>
                <a:cubicBezTo>
                  <a:pt x="347592" y="1485362"/>
                  <a:pt x="348606" y="1509458"/>
                  <a:pt x="352220" y="1519140"/>
                </a:cubicBezTo>
                <a:cubicBezTo>
                  <a:pt x="385617" y="1519916"/>
                  <a:pt x="419507" y="1520703"/>
                  <a:pt x="455850" y="1521476"/>
                </a:cubicBezTo>
                <a:moveTo>
                  <a:pt x="368682" y="544846"/>
                </a:moveTo>
                <a:cubicBezTo>
                  <a:pt x="374258" y="564891"/>
                  <a:pt x="370074" y="584394"/>
                  <a:pt x="363600" y="605633"/>
                </a:cubicBezTo>
                <a:cubicBezTo>
                  <a:pt x="408859" y="604212"/>
                  <a:pt x="452263" y="602850"/>
                  <a:pt x="496351" y="601466"/>
                </a:cubicBezTo>
                <a:cubicBezTo>
                  <a:pt x="496109" y="591095"/>
                  <a:pt x="491408" y="584247"/>
                  <a:pt x="485068" y="579288"/>
                </a:cubicBezTo>
                <a:cubicBezTo>
                  <a:pt x="472414" y="569391"/>
                  <a:pt x="466934" y="556602"/>
                  <a:pt x="466524" y="541026"/>
                </a:cubicBezTo>
                <a:cubicBezTo>
                  <a:pt x="466485" y="539528"/>
                  <a:pt x="465591" y="538053"/>
                  <a:pt x="465000" y="536289"/>
                </a:cubicBezTo>
                <a:cubicBezTo>
                  <a:pt x="460209" y="536289"/>
                  <a:pt x="455761" y="536132"/>
                  <a:pt x="451328" y="536316"/>
                </a:cubicBezTo>
                <a:cubicBezTo>
                  <a:pt x="430930" y="537159"/>
                  <a:pt x="410538" y="538137"/>
                  <a:pt x="390140" y="538979"/>
                </a:cubicBezTo>
                <a:cubicBezTo>
                  <a:pt x="384834" y="539198"/>
                  <a:pt x="379484" y="538790"/>
                  <a:pt x="374215" y="539303"/>
                </a:cubicBezTo>
                <a:cubicBezTo>
                  <a:pt x="372259" y="539494"/>
                  <a:pt x="370480" y="541498"/>
                  <a:pt x="368682" y="544846"/>
                </a:cubicBezTo>
                <a:moveTo>
                  <a:pt x="453915" y="635267"/>
                </a:moveTo>
                <a:cubicBezTo>
                  <a:pt x="427589" y="636632"/>
                  <a:pt x="401262" y="637998"/>
                  <a:pt x="374200" y="639402"/>
                </a:cubicBezTo>
                <a:cubicBezTo>
                  <a:pt x="374200" y="651578"/>
                  <a:pt x="374200" y="661970"/>
                  <a:pt x="374200" y="673206"/>
                </a:cubicBezTo>
                <a:cubicBezTo>
                  <a:pt x="378672" y="673406"/>
                  <a:pt x="382666" y="673863"/>
                  <a:pt x="386639" y="673718"/>
                </a:cubicBezTo>
                <a:cubicBezTo>
                  <a:pt x="431495" y="672082"/>
                  <a:pt x="476352" y="670422"/>
                  <a:pt x="521198" y="668541"/>
                </a:cubicBezTo>
                <a:cubicBezTo>
                  <a:pt x="525584" y="668357"/>
                  <a:pt x="530162" y="667254"/>
                  <a:pt x="534198" y="665521"/>
                </a:cubicBezTo>
                <a:cubicBezTo>
                  <a:pt x="540213" y="662938"/>
                  <a:pt x="541802" y="658194"/>
                  <a:pt x="538413" y="652526"/>
                </a:cubicBezTo>
                <a:cubicBezTo>
                  <a:pt x="536192" y="648813"/>
                  <a:pt x="532979" y="645251"/>
                  <a:pt x="529377" y="642895"/>
                </a:cubicBezTo>
                <a:cubicBezTo>
                  <a:pt x="521426" y="637695"/>
                  <a:pt x="512576" y="634669"/>
                  <a:pt x="502829" y="634808"/>
                </a:cubicBezTo>
                <a:cubicBezTo>
                  <a:pt x="487311" y="635030"/>
                  <a:pt x="471791" y="635092"/>
                  <a:pt x="453915" y="635267"/>
                </a:cubicBezTo>
                <a:close/>
              </a:path>
            </a:pathLst>
          </a:custGeom>
          <a:solidFill>
            <a:srgbClr val="CDD9DF"/>
          </a:solidFill>
          <a:ln w="12700" cap="flat">
            <a:solidFill>
              <a:srgbClr val="CDD9DF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9" name="Free-form: Shape 408">
            <a:extLst>
              <a:ext uri="{FF2B5EF4-FFF2-40B4-BE49-F238E27FC236}">
                <a16:creationId xmlns:a16="http://schemas.microsoft.com/office/drawing/2014/main" id="{B62CD613-1143-EA28-49B4-498F408E7C0C}"/>
              </a:ext>
            </a:extLst>
          </p:cNvPr>
          <p:cNvSpPr/>
          <p:nvPr/>
        </p:nvSpPr>
        <p:spPr>
          <a:xfrm>
            <a:off x="8433226" y="4358634"/>
            <a:ext cx="665488" cy="1428730"/>
          </a:xfrm>
          <a:custGeom>
            <a:avLst/>
            <a:gdLst>
              <a:gd name="csX0" fmla="*/ 406842 w 732037"/>
              <a:gd name="csY0" fmla="*/ 38347 h 1571603"/>
              <a:gd name="csX1" fmla="*/ 411944 w 732037"/>
              <a:gd name="csY1" fmla="*/ 38343 h 1571603"/>
              <a:gd name="csX2" fmla="*/ 416198 w 732037"/>
              <a:gd name="csY2" fmla="*/ 53444 h 1571603"/>
              <a:gd name="csX3" fmla="*/ 418945 w 732037"/>
              <a:gd name="csY3" fmla="*/ 34170 h 1571603"/>
              <a:gd name="csX4" fmla="*/ 394077 w 732037"/>
              <a:gd name="csY4" fmla="*/ 12943 h 1571603"/>
              <a:gd name="csX5" fmla="*/ 341415 w 732037"/>
              <a:gd name="csY5" fmla="*/ 11814 h 1571603"/>
              <a:gd name="csX6" fmla="*/ 309440 w 732037"/>
              <a:gd name="csY6" fmla="*/ 65249 h 1571603"/>
              <a:gd name="csX7" fmla="*/ 319632 w 732037"/>
              <a:gd name="csY7" fmla="*/ 85914 h 1571603"/>
              <a:gd name="csX8" fmla="*/ 318632 w 732037"/>
              <a:gd name="csY8" fmla="*/ 110015 h 1571603"/>
              <a:gd name="csX9" fmla="*/ 246921 w 732037"/>
              <a:gd name="csY9" fmla="*/ 198083 h 1571603"/>
              <a:gd name="csX10" fmla="*/ 202660 w 732037"/>
              <a:gd name="csY10" fmla="*/ 269911 h 1571603"/>
              <a:gd name="csX11" fmla="*/ 176707 w 732037"/>
              <a:gd name="csY11" fmla="*/ 357233 h 1571603"/>
              <a:gd name="csX12" fmla="*/ 190612 w 732037"/>
              <a:gd name="csY12" fmla="*/ 439700 h 1571603"/>
              <a:gd name="csX13" fmla="*/ 227544 w 732037"/>
              <a:gd name="csY13" fmla="*/ 505527 h 1571603"/>
              <a:gd name="csX14" fmla="*/ 232541 w 732037"/>
              <a:gd name="csY14" fmla="*/ 516294 h 1571603"/>
              <a:gd name="csX15" fmla="*/ 224356 w 732037"/>
              <a:gd name="csY15" fmla="*/ 528960 h 1571603"/>
              <a:gd name="csX16" fmla="*/ 227944 w 732037"/>
              <a:gd name="csY16" fmla="*/ 540026 h 1571603"/>
              <a:gd name="csX17" fmla="*/ 238897 w 732037"/>
              <a:gd name="csY17" fmla="*/ 545570 h 1571603"/>
              <a:gd name="csX18" fmla="*/ 242386 w 732037"/>
              <a:gd name="csY18" fmla="*/ 571785 h 1571603"/>
              <a:gd name="csX19" fmla="*/ 214067 w 732037"/>
              <a:gd name="csY19" fmla="*/ 590809 h 1571603"/>
              <a:gd name="csX20" fmla="*/ 201355 w 732037"/>
              <a:gd name="csY20" fmla="*/ 609067 h 1571603"/>
              <a:gd name="csX21" fmla="*/ 188474 w 732037"/>
              <a:gd name="csY21" fmla="*/ 628398 h 1571603"/>
              <a:gd name="csX22" fmla="*/ 162658 w 732037"/>
              <a:gd name="csY22" fmla="*/ 657096 h 1571603"/>
              <a:gd name="csX23" fmla="*/ 175395 w 732037"/>
              <a:gd name="csY23" fmla="*/ 691621 h 1571603"/>
              <a:gd name="csX24" fmla="*/ 201948 w 732037"/>
              <a:gd name="csY24" fmla="*/ 700523 h 1571603"/>
              <a:gd name="csX25" fmla="*/ 241426 w 732037"/>
              <a:gd name="csY25" fmla="*/ 706574 h 1571603"/>
              <a:gd name="csX26" fmla="*/ 242586 w 732037"/>
              <a:gd name="csY26" fmla="*/ 715946 h 1571603"/>
              <a:gd name="csX27" fmla="*/ 242424 w 732037"/>
              <a:gd name="csY27" fmla="*/ 801932 h 1571603"/>
              <a:gd name="csX28" fmla="*/ 238000 w 732037"/>
              <a:gd name="csY28" fmla="*/ 846774 h 1571603"/>
              <a:gd name="csX29" fmla="*/ 232752 w 732037"/>
              <a:gd name="csY29" fmla="*/ 891559 h 1571603"/>
              <a:gd name="csX30" fmla="*/ 223037 w 732037"/>
              <a:gd name="csY30" fmla="*/ 950433 h 1571603"/>
              <a:gd name="csX31" fmla="*/ 210247 w 732037"/>
              <a:gd name="csY31" fmla="*/ 1012485 h 1571603"/>
              <a:gd name="csX32" fmla="*/ 194820 w 732037"/>
              <a:gd name="csY32" fmla="*/ 1069074 h 1571603"/>
              <a:gd name="csX33" fmla="*/ 165707 w 732037"/>
              <a:gd name="csY33" fmla="*/ 1163788 h 1571603"/>
              <a:gd name="csX34" fmla="*/ 144382 w 732037"/>
              <a:gd name="csY34" fmla="*/ 1185530 h 1571603"/>
              <a:gd name="csX35" fmla="*/ 129590 w 732037"/>
              <a:gd name="csY35" fmla="*/ 1191342 h 1571603"/>
              <a:gd name="csX36" fmla="*/ 122255 w 732037"/>
              <a:gd name="csY36" fmla="*/ 1208476 h 1571603"/>
              <a:gd name="csX37" fmla="*/ 127491 w 732037"/>
              <a:gd name="csY37" fmla="*/ 1222193 h 1571603"/>
              <a:gd name="csX38" fmla="*/ 118348 w 732037"/>
              <a:gd name="csY38" fmla="*/ 1261470 h 1571603"/>
              <a:gd name="csX39" fmla="*/ 58232 w 732037"/>
              <a:gd name="csY39" fmla="*/ 1319224 h 1571603"/>
              <a:gd name="csX40" fmla="*/ 28815 w 732037"/>
              <a:gd name="csY40" fmla="*/ 1389717 h 1571603"/>
              <a:gd name="csX41" fmla="*/ 32634 w 732037"/>
              <a:gd name="csY41" fmla="*/ 1426050 h 1571603"/>
              <a:gd name="csX42" fmla="*/ 30331 w 732037"/>
              <a:gd name="csY42" fmla="*/ 1441003 h 1571603"/>
              <a:gd name="csX43" fmla="*/ 9180 w 732037"/>
              <a:gd name="csY43" fmla="*/ 1516655 h 1571603"/>
              <a:gd name="csX44" fmla="*/ 20082 w 732037"/>
              <a:gd name="csY44" fmla="*/ 1531402 h 1571603"/>
              <a:gd name="csX45" fmla="*/ 74798 w 732037"/>
              <a:gd name="csY45" fmla="*/ 1543794 h 1571603"/>
              <a:gd name="csX46" fmla="*/ 113225 w 732037"/>
              <a:gd name="csY46" fmla="*/ 1550305 h 1571603"/>
              <a:gd name="csX47" fmla="*/ 136142 w 732037"/>
              <a:gd name="csY47" fmla="*/ 1553484 h 1571603"/>
              <a:gd name="csX48" fmla="*/ 177578 w 732037"/>
              <a:gd name="csY48" fmla="*/ 1556220 h 1571603"/>
              <a:gd name="csX49" fmla="*/ 231027 w 732037"/>
              <a:gd name="csY49" fmla="*/ 1560698 h 1571603"/>
              <a:gd name="csX50" fmla="*/ 254342 w 732037"/>
              <a:gd name="csY50" fmla="*/ 1561142 h 1571603"/>
              <a:gd name="csX51" fmla="*/ 459180 w 732037"/>
              <a:gd name="csY51" fmla="*/ 1563411 h 1571603"/>
              <a:gd name="csX52" fmla="*/ 531340 w 732037"/>
              <a:gd name="csY52" fmla="*/ 1560936 h 1571603"/>
              <a:gd name="csX53" fmla="*/ 590888 w 732037"/>
              <a:gd name="csY53" fmla="*/ 1555951 h 1571603"/>
              <a:gd name="csX54" fmla="*/ 710712 w 732037"/>
              <a:gd name="csY54" fmla="*/ 1533916 h 1571603"/>
              <a:gd name="csX55" fmla="*/ 724356 w 732037"/>
              <a:gd name="csY55" fmla="*/ 1516144 h 1571603"/>
              <a:gd name="csX56" fmla="*/ 707380 w 732037"/>
              <a:gd name="csY56" fmla="*/ 1449380 h 1571603"/>
              <a:gd name="csX57" fmla="*/ 707050 w 732037"/>
              <a:gd name="csY57" fmla="*/ 1440881 h 1571603"/>
              <a:gd name="csX58" fmla="*/ 731479 w 732037"/>
              <a:gd name="csY58" fmla="*/ 1500017 h 1571603"/>
              <a:gd name="csX59" fmla="*/ 731163 w 732037"/>
              <a:gd name="csY59" fmla="*/ 1513759 h 1571603"/>
              <a:gd name="csX60" fmla="*/ 731650 w 732037"/>
              <a:gd name="csY60" fmla="*/ 1521766 h 1571603"/>
              <a:gd name="csX61" fmla="*/ 721896 w 732037"/>
              <a:gd name="csY61" fmla="*/ 1537319 h 1571603"/>
              <a:gd name="csX62" fmla="*/ 657740 w 732037"/>
              <a:gd name="csY62" fmla="*/ 1553265 h 1571603"/>
              <a:gd name="csX63" fmla="*/ 507791 w 732037"/>
              <a:gd name="csY63" fmla="*/ 1568943 h 1571603"/>
              <a:gd name="csX64" fmla="*/ 264676 w 732037"/>
              <a:gd name="csY64" fmla="*/ 1569724 h 1571603"/>
              <a:gd name="csX65" fmla="*/ 82743 w 732037"/>
              <a:gd name="csY65" fmla="*/ 1553254 h 1571603"/>
              <a:gd name="csX66" fmla="*/ 17072 w 732037"/>
              <a:gd name="csY66" fmla="*/ 1538153 h 1571603"/>
              <a:gd name="csX67" fmla="*/ 275 w 732037"/>
              <a:gd name="csY67" fmla="*/ 1513030 h 1571603"/>
              <a:gd name="csX68" fmla="*/ 20923 w 732037"/>
              <a:gd name="csY68" fmla="*/ 1441861 h 1571603"/>
              <a:gd name="csX69" fmla="*/ 23045 w 732037"/>
              <a:gd name="csY69" fmla="*/ 1423105 h 1571603"/>
              <a:gd name="csX70" fmla="*/ 30564 w 732037"/>
              <a:gd name="csY70" fmla="*/ 1346289 h 1571603"/>
              <a:gd name="csX71" fmla="*/ 71350 w 732037"/>
              <a:gd name="csY71" fmla="*/ 1295039 h 1571603"/>
              <a:gd name="csX72" fmla="*/ 112257 w 732037"/>
              <a:gd name="csY72" fmla="*/ 1255093 h 1571603"/>
              <a:gd name="csX73" fmla="*/ 115864 w 732037"/>
              <a:gd name="csY73" fmla="*/ 1217271 h 1571603"/>
              <a:gd name="csX74" fmla="*/ 112256 w 732037"/>
              <a:gd name="csY74" fmla="*/ 1210870 h 1571603"/>
              <a:gd name="csX75" fmla="*/ 121141 w 732037"/>
              <a:gd name="csY75" fmla="*/ 1186548 h 1571603"/>
              <a:gd name="csX76" fmla="*/ 136571 w 732037"/>
              <a:gd name="csY76" fmla="*/ 1179850 h 1571603"/>
              <a:gd name="csX77" fmla="*/ 158281 w 732037"/>
              <a:gd name="csY77" fmla="*/ 1157879 h 1571603"/>
              <a:gd name="csX78" fmla="*/ 187986 w 732037"/>
              <a:gd name="csY78" fmla="*/ 1059736 h 1571603"/>
              <a:gd name="csX79" fmla="*/ 217119 w 732037"/>
              <a:gd name="csY79" fmla="*/ 938896 h 1571603"/>
              <a:gd name="csX80" fmla="*/ 225792 w 732037"/>
              <a:gd name="csY80" fmla="*/ 893236 h 1571603"/>
              <a:gd name="csX81" fmla="*/ 226150 w 732037"/>
              <a:gd name="csY81" fmla="*/ 887970 h 1571603"/>
              <a:gd name="csX82" fmla="*/ 230782 w 732037"/>
              <a:gd name="csY82" fmla="*/ 853969 h 1571603"/>
              <a:gd name="csX83" fmla="*/ 230786 w 732037"/>
              <a:gd name="csY83" fmla="*/ 848558 h 1571603"/>
              <a:gd name="csX84" fmla="*/ 233315 w 732037"/>
              <a:gd name="csY84" fmla="*/ 824438 h 1571603"/>
              <a:gd name="csX85" fmla="*/ 233199 w 732037"/>
              <a:gd name="csY85" fmla="*/ 819050 h 1571603"/>
              <a:gd name="csX86" fmla="*/ 235848 w 732037"/>
              <a:gd name="csY86" fmla="*/ 782380 h 1571603"/>
              <a:gd name="csX87" fmla="*/ 237465 w 732037"/>
              <a:gd name="csY87" fmla="*/ 719113 h 1571603"/>
              <a:gd name="csX88" fmla="*/ 233057 w 732037"/>
              <a:gd name="csY88" fmla="*/ 713160 h 1571603"/>
              <a:gd name="csX89" fmla="*/ 203056 w 732037"/>
              <a:gd name="csY89" fmla="*/ 708405 h 1571603"/>
              <a:gd name="csX90" fmla="*/ 169628 w 732037"/>
              <a:gd name="csY90" fmla="*/ 698106 h 1571603"/>
              <a:gd name="csX91" fmla="*/ 153237 w 732037"/>
              <a:gd name="csY91" fmla="*/ 659111 h 1571603"/>
              <a:gd name="csX92" fmla="*/ 178365 w 732037"/>
              <a:gd name="csY92" fmla="*/ 626008 h 1571603"/>
              <a:gd name="csX93" fmla="*/ 191885 w 732037"/>
              <a:gd name="csY93" fmla="*/ 617513 h 1571603"/>
              <a:gd name="csX94" fmla="*/ 193681 w 732037"/>
              <a:gd name="csY94" fmla="*/ 610098 h 1571603"/>
              <a:gd name="csX95" fmla="*/ 213301 w 732037"/>
              <a:gd name="csY95" fmla="*/ 579885 h 1571603"/>
              <a:gd name="csX96" fmla="*/ 229635 w 732037"/>
              <a:gd name="csY96" fmla="*/ 571429 h 1571603"/>
              <a:gd name="csX97" fmla="*/ 237351 w 732037"/>
              <a:gd name="csY97" fmla="*/ 565882 h 1571603"/>
              <a:gd name="csX98" fmla="*/ 233673 w 732037"/>
              <a:gd name="csY98" fmla="*/ 550926 h 1571603"/>
              <a:gd name="csX99" fmla="*/ 226799 w 732037"/>
              <a:gd name="csY99" fmla="*/ 548359 h 1571603"/>
              <a:gd name="csX100" fmla="*/ 218639 w 732037"/>
              <a:gd name="csY100" fmla="*/ 522664 h 1571603"/>
              <a:gd name="csX101" fmla="*/ 218264 w 732037"/>
              <a:gd name="csY101" fmla="*/ 505463 h 1571603"/>
              <a:gd name="csX102" fmla="*/ 181762 w 732037"/>
              <a:gd name="csY102" fmla="*/ 437574 h 1571603"/>
              <a:gd name="csX103" fmla="*/ 185971 w 732037"/>
              <a:gd name="csY103" fmla="*/ 289069 h 1571603"/>
              <a:gd name="csX104" fmla="*/ 253787 w 732037"/>
              <a:gd name="csY104" fmla="*/ 175580 h 1571603"/>
              <a:gd name="csX105" fmla="*/ 309639 w 732037"/>
              <a:gd name="csY105" fmla="*/ 108695 h 1571603"/>
              <a:gd name="csX106" fmla="*/ 318061 w 732037"/>
              <a:gd name="csY106" fmla="*/ 98855 h 1571603"/>
              <a:gd name="csX107" fmla="*/ 304967 w 732037"/>
              <a:gd name="csY107" fmla="*/ 70056 h 1571603"/>
              <a:gd name="csX108" fmla="*/ 317012 w 732037"/>
              <a:gd name="csY108" fmla="*/ 19436 h 1571603"/>
              <a:gd name="csX109" fmla="*/ 415542 w 732037"/>
              <a:gd name="csY109" fmla="*/ 18221 h 1571603"/>
              <a:gd name="csX110" fmla="*/ 423203 w 732037"/>
              <a:gd name="csY110" fmla="*/ 82660 h 1571603"/>
              <a:gd name="csX111" fmla="*/ 413361 w 732037"/>
              <a:gd name="csY111" fmla="*/ 97975 h 1571603"/>
              <a:gd name="csX112" fmla="*/ 421654 w 732037"/>
              <a:gd name="csY112" fmla="*/ 106676 h 1571603"/>
              <a:gd name="csX113" fmla="*/ 487032 w 732037"/>
              <a:gd name="csY113" fmla="*/ 184632 h 1571603"/>
              <a:gd name="csX114" fmla="*/ 489213 w 732037"/>
              <a:gd name="csY114" fmla="*/ 208238 h 1571603"/>
              <a:gd name="csX115" fmla="*/ 476520 w 732037"/>
              <a:gd name="csY115" fmla="*/ 235738 h 1571603"/>
              <a:gd name="csX116" fmla="*/ 472850 w 732037"/>
              <a:gd name="csY116" fmla="*/ 230703 h 1571603"/>
              <a:gd name="csX117" fmla="*/ 482723 w 732037"/>
              <a:gd name="csY117" fmla="*/ 208315 h 1571603"/>
              <a:gd name="csX118" fmla="*/ 480764 w 732037"/>
              <a:gd name="csY118" fmla="*/ 187916 h 1571603"/>
              <a:gd name="csX119" fmla="*/ 408519 w 732037"/>
              <a:gd name="csY119" fmla="*/ 105475 h 1571603"/>
              <a:gd name="csX120" fmla="*/ 408625 w 732037"/>
              <a:gd name="csY120" fmla="*/ 89203 h 1571603"/>
              <a:gd name="csX121" fmla="*/ 419600 w 732037"/>
              <a:gd name="csY121" fmla="*/ 71648 h 1571603"/>
              <a:gd name="csX122" fmla="*/ 418792 w 732037"/>
              <a:gd name="csY122" fmla="*/ 63179 h 1571603"/>
              <a:gd name="csX123" fmla="*/ 410943 w 732037"/>
              <a:gd name="csY123" fmla="*/ 66417 h 1571603"/>
              <a:gd name="csX124" fmla="*/ 400140 w 732037"/>
              <a:gd name="csY124" fmla="*/ 76155 h 1571603"/>
              <a:gd name="csX125" fmla="*/ 360599 w 732037"/>
              <a:gd name="csY125" fmla="*/ 51379 h 1571603"/>
              <a:gd name="csX126" fmla="*/ 360842 w 732037"/>
              <a:gd name="csY126" fmla="*/ 39128 h 1571603"/>
              <a:gd name="csX127" fmla="*/ 369470 w 732037"/>
              <a:gd name="csY127" fmla="*/ 30960 h 1571603"/>
              <a:gd name="csX128" fmla="*/ 365613 w 732037"/>
              <a:gd name="csY128" fmla="*/ 49108 h 1571603"/>
              <a:gd name="csX129" fmla="*/ 389468 w 732037"/>
              <a:gd name="csY129" fmla="*/ 71608 h 1571603"/>
              <a:gd name="csX130" fmla="*/ 408822 w 732037"/>
              <a:gd name="csY130" fmla="*/ 46613 h 1571603"/>
              <a:gd name="csX131" fmla="*/ 406842 w 732037"/>
              <a:gd name="csY131" fmla="*/ 38347 h 157160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</a:cxnLst>
            <a:rect l="l" t="t" r="r" b="b"/>
            <a:pathLst>
              <a:path w="732037" h="1571603">
                <a:moveTo>
                  <a:pt x="406842" y="38347"/>
                </a:moveTo>
                <a:cubicBezTo>
                  <a:pt x="408555" y="35869"/>
                  <a:pt x="410622" y="34608"/>
                  <a:pt x="411944" y="38343"/>
                </a:cubicBezTo>
                <a:cubicBezTo>
                  <a:pt x="413676" y="43242"/>
                  <a:pt x="414797" y="48356"/>
                  <a:pt x="416198" y="53444"/>
                </a:cubicBezTo>
                <a:cubicBezTo>
                  <a:pt x="422922" y="48977"/>
                  <a:pt x="424340" y="41699"/>
                  <a:pt x="418945" y="34170"/>
                </a:cubicBezTo>
                <a:cubicBezTo>
                  <a:pt x="412483" y="25152"/>
                  <a:pt x="404444" y="17554"/>
                  <a:pt x="394077" y="12943"/>
                </a:cubicBezTo>
                <a:cubicBezTo>
                  <a:pt x="376702" y="5216"/>
                  <a:pt x="358713" y="6244"/>
                  <a:pt x="341415" y="11814"/>
                </a:cubicBezTo>
                <a:cubicBezTo>
                  <a:pt x="323675" y="17525"/>
                  <a:pt x="304459" y="39816"/>
                  <a:pt x="309440" y="65249"/>
                </a:cubicBezTo>
                <a:cubicBezTo>
                  <a:pt x="310868" y="72543"/>
                  <a:pt x="315482" y="79463"/>
                  <a:pt x="319632" y="85914"/>
                </a:cubicBezTo>
                <a:cubicBezTo>
                  <a:pt x="325434" y="94933"/>
                  <a:pt x="325800" y="102817"/>
                  <a:pt x="318632" y="110015"/>
                </a:cubicBezTo>
                <a:cubicBezTo>
                  <a:pt x="291775" y="136984"/>
                  <a:pt x="269594" y="167702"/>
                  <a:pt x="246921" y="198083"/>
                </a:cubicBezTo>
                <a:cubicBezTo>
                  <a:pt x="230003" y="220751"/>
                  <a:pt x="215685" y="244921"/>
                  <a:pt x="202660" y="269911"/>
                </a:cubicBezTo>
                <a:cubicBezTo>
                  <a:pt x="188381" y="297309"/>
                  <a:pt x="179513" y="326657"/>
                  <a:pt x="176707" y="357233"/>
                </a:cubicBezTo>
                <a:cubicBezTo>
                  <a:pt x="174106" y="385578"/>
                  <a:pt x="180131" y="413140"/>
                  <a:pt x="190612" y="439700"/>
                </a:cubicBezTo>
                <a:cubicBezTo>
                  <a:pt x="199946" y="463353"/>
                  <a:pt x="211538" y="485623"/>
                  <a:pt x="227544" y="505527"/>
                </a:cubicBezTo>
                <a:cubicBezTo>
                  <a:pt x="229982" y="508558"/>
                  <a:pt x="230954" y="512768"/>
                  <a:pt x="232541" y="516294"/>
                </a:cubicBezTo>
                <a:cubicBezTo>
                  <a:pt x="229578" y="520824"/>
                  <a:pt x="226658" y="524724"/>
                  <a:pt x="224356" y="528960"/>
                </a:cubicBezTo>
                <a:cubicBezTo>
                  <a:pt x="221823" y="533618"/>
                  <a:pt x="222675" y="537588"/>
                  <a:pt x="227944" y="540026"/>
                </a:cubicBezTo>
                <a:cubicBezTo>
                  <a:pt x="231656" y="541743"/>
                  <a:pt x="235331" y="543568"/>
                  <a:pt x="238897" y="545570"/>
                </a:cubicBezTo>
                <a:cubicBezTo>
                  <a:pt x="249613" y="551585"/>
                  <a:pt x="251795" y="563681"/>
                  <a:pt x="242386" y="571785"/>
                </a:cubicBezTo>
                <a:cubicBezTo>
                  <a:pt x="233816" y="579166"/>
                  <a:pt x="224045" y="585423"/>
                  <a:pt x="214067" y="590809"/>
                </a:cubicBezTo>
                <a:cubicBezTo>
                  <a:pt x="206271" y="595018"/>
                  <a:pt x="202051" y="601487"/>
                  <a:pt x="201355" y="609067"/>
                </a:cubicBezTo>
                <a:cubicBezTo>
                  <a:pt x="200489" y="618497"/>
                  <a:pt x="195720" y="623726"/>
                  <a:pt x="188474" y="628398"/>
                </a:cubicBezTo>
                <a:cubicBezTo>
                  <a:pt x="177332" y="635582"/>
                  <a:pt x="167866" y="644503"/>
                  <a:pt x="162658" y="657096"/>
                </a:cubicBezTo>
                <a:cubicBezTo>
                  <a:pt x="156420" y="672181"/>
                  <a:pt x="160439" y="684301"/>
                  <a:pt x="175395" y="691621"/>
                </a:cubicBezTo>
                <a:cubicBezTo>
                  <a:pt x="183722" y="695697"/>
                  <a:pt x="192859" y="698589"/>
                  <a:pt x="201948" y="700523"/>
                </a:cubicBezTo>
                <a:cubicBezTo>
                  <a:pt x="214634" y="703224"/>
                  <a:pt x="227616" y="704530"/>
                  <a:pt x="241426" y="706574"/>
                </a:cubicBezTo>
                <a:cubicBezTo>
                  <a:pt x="241839" y="709770"/>
                  <a:pt x="242576" y="712857"/>
                  <a:pt x="242586" y="715946"/>
                </a:cubicBezTo>
                <a:cubicBezTo>
                  <a:pt x="242672" y="744610"/>
                  <a:pt x="243133" y="773285"/>
                  <a:pt x="242424" y="801932"/>
                </a:cubicBezTo>
                <a:cubicBezTo>
                  <a:pt x="242053" y="816907"/>
                  <a:pt x="239631" y="831838"/>
                  <a:pt x="238000" y="846774"/>
                </a:cubicBezTo>
                <a:cubicBezTo>
                  <a:pt x="236368" y="861717"/>
                  <a:pt x="234927" y="876693"/>
                  <a:pt x="232752" y="891559"/>
                </a:cubicBezTo>
                <a:cubicBezTo>
                  <a:pt x="229873" y="911238"/>
                  <a:pt x="226675" y="930882"/>
                  <a:pt x="223037" y="950433"/>
                </a:cubicBezTo>
                <a:cubicBezTo>
                  <a:pt x="219173" y="971193"/>
                  <a:pt x="215113" y="991942"/>
                  <a:pt x="210247" y="1012485"/>
                </a:cubicBezTo>
                <a:cubicBezTo>
                  <a:pt x="205743" y="1031500"/>
                  <a:pt x="200395" y="1050337"/>
                  <a:pt x="194820" y="1069074"/>
                </a:cubicBezTo>
                <a:cubicBezTo>
                  <a:pt x="185401" y="1100731"/>
                  <a:pt x="175708" y="1132311"/>
                  <a:pt x="165707" y="1163788"/>
                </a:cubicBezTo>
                <a:cubicBezTo>
                  <a:pt x="162367" y="1174302"/>
                  <a:pt x="156145" y="1182634"/>
                  <a:pt x="144382" y="1185530"/>
                </a:cubicBezTo>
                <a:cubicBezTo>
                  <a:pt x="139281" y="1186787"/>
                  <a:pt x="134434" y="1189193"/>
                  <a:pt x="129590" y="1191342"/>
                </a:cubicBezTo>
                <a:cubicBezTo>
                  <a:pt x="120028" y="1195581"/>
                  <a:pt x="118779" y="1198539"/>
                  <a:pt x="122255" y="1208476"/>
                </a:cubicBezTo>
                <a:cubicBezTo>
                  <a:pt x="123870" y="1213094"/>
                  <a:pt x="125990" y="1217542"/>
                  <a:pt x="127491" y="1222193"/>
                </a:cubicBezTo>
                <a:cubicBezTo>
                  <a:pt x="132294" y="1237066"/>
                  <a:pt x="129961" y="1250353"/>
                  <a:pt x="118348" y="1261470"/>
                </a:cubicBezTo>
                <a:cubicBezTo>
                  <a:pt x="98275" y="1280686"/>
                  <a:pt x="78038" y="1299737"/>
                  <a:pt x="58232" y="1319224"/>
                </a:cubicBezTo>
                <a:cubicBezTo>
                  <a:pt x="38634" y="1338507"/>
                  <a:pt x="29913" y="1362564"/>
                  <a:pt x="28815" y="1389717"/>
                </a:cubicBezTo>
                <a:cubicBezTo>
                  <a:pt x="28318" y="1402031"/>
                  <a:pt x="29110" y="1414206"/>
                  <a:pt x="32634" y="1426050"/>
                </a:cubicBezTo>
                <a:cubicBezTo>
                  <a:pt x="34273" y="1431554"/>
                  <a:pt x="33300" y="1435929"/>
                  <a:pt x="30331" y="1441003"/>
                </a:cubicBezTo>
                <a:cubicBezTo>
                  <a:pt x="16698" y="1464298"/>
                  <a:pt x="8890" y="1489397"/>
                  <a:pt x="9180" y="1516655"/>
                </a:cubicBezTo>
                <a:cubicBezTo>
                  <a:pt x="9291" y="1527012"/>
                  <a:pt x="9917" y="1528771"/>
                  <a:pt x="20082" y="1531402"/>
                </a:cubicBezTo>
                <a:cubicBezTo>
                  <a:pt x="38179" y="1536086"/>
                  <a:pt x="56480" y="1540035"/>
                  <a:pt x="74798" y="1543794"/>
                </a:cubicBezTo>
                <a:cubicBezTo>
                  <a:pt x="87517" y="1546403"/>
                  <a:pt x="100396" y="1548250"/>
                  <a:pt x="113225" y="1550305"/>
                </a:cubicBezTo>
                <a:cubicBezTo>
                  <a:pt x="120841" y="1551524"/>
                  <a:pt x="128467" y="1552843"/>
                  <a:pt x="136142" y="1553484"/>
                </a:cubicBezTo>
                <a:cubicBezTo>
                  <a:pt x="149934" y="1554635"/>
                  <a:pt x="163778" y="1555156"/>
                  <a:pt x="177578" y="1556220"/>
                </a:cubicBezTo>
                <a:cubicBezTo>
                  <a:pt x="195403" y="1557595"/>
                  <a:pt x="213196" y="1559407"/>
                  <a:pt x="231027" y="1560698"/>
                </a:cubicBezTo>
                <a:cubicBezTo>
                  <a:pt x="238768" y="1561259"/>
                  <a:pt x="246585" y="1560709"/>
                  <a:pt x="254342" y="1561142"/>
                </a:cubicBezTo>
                <a:cubicBezTo>
                  <a:pt x="322588" y="1564942"/>
                  <a:pt x="390896" y="1563427"/>
                  <a:pt x="459180" y="1563411"/>
                </a:cubicBezTo>
                <a:cubicBezTo>
                  <a:pt x="483236" y="1563406"/>
                  <a:pt x="507311" y="1562248"/>
                  <a:pt x="531340" y="1560936"/>
                </a:cubicBezTo>
                <a:cubicBezTo>
                  <a:pt x="551225" y="1559849"/>
                  <a:pt x="571160" y="1558554"/>
                  <a:pt x="590888" y="1555951"/>
                </a:cubicBezTo>
                <a:cubicBezTo>
                  <a:pt x="631179" y="1550635"/>
                  <a:pt x="671338" y="1544328"/>
                  <a:pt x="710712" y="1533916"/>
                </a:cubicBezTo>
                <a:cubicBezTo>
                  <a:pt x="722630" y="1530764"/>
                  <a:pt x="724036" y="1528558"/>
                  <a:pt x="724356" y="1516144"/>
                </a:cubicBezTo>
                <a:cubicBezTo>
                  <a:pt x="724970" y="1492256"/>
                  <a:pt x="718637" y="1470245"/>
                  <a:pt x="707380" y="1449380"/>
                </a:cubicBezTo>
                <a:cubicBezTo>
                  <a:pt x="706259" y="1447304"/>
                  <a:pt x="706896" y="1444279"/>
                  <a:pt x="707050" y="1440881"/>
                </a:cubicBezTo>
                <a:cubicBezTo>
                  <a:pt x="722747" y="1457101"/>
                  <a:pt x="728653" y="1477963"/>
                  <a:pt x="731479" y="1500017"/>
                </a:cubicBezTo>
                <a:cubicBezTo>
                  <a:pt x="731992" y="1504029"/>
                  <a:pt x="731781" y="1508135"/>
                  <a:pt x="731163" y="1513759"/>
                </a:cubicBezTo>
                <a:cubicBezTo>
                  <a:pt x="730831" y="1517468"/>
                  <a:pt x="731241" y="1519618"/>
                  <a:pt x="731650" y="1521766"/>
                </a:cubicBezTo>
                <a:cubicBezTo>
                  <a:pt x="733191" y="1529956"/>
                  <a:pt x="730165" y="1535242"/>
                  <a:pt x="721896" y="1537319"/>
                </a:cubicBezTo>
                <a:cubicBezTo>
                  <a:pt x="700520" y="1542690"/>
                  <a:pt x="679367" y="1549248"/>
                  <a:pt x="657740" y="1553265"/>
                </a:cubicBezTo>
                <a:cubicBezTo>
                  <a:pt x="608220" y="1562464"/>
                  <a:pt x="558146" y="1566701"/>
                  <a:pt x="507791" y="1568943"/>
                </a:cubicBezTo>
                <a:cubicBezTo>
                  <a:pt x="426738" y="1572552"/>
                  <a:pt x="345677" y="1572161"/>
                  <a:pt x="264676" y="1569724"/>
                </a:cubicBezTo>
                <a:cubicBezTo>
                  <a:pt x="203800" y="1567891"/>
                  <a:pt x="142882" y="1563907"/>
                  <a:pt x="82743" y="1553254"/>
                </a:cubicBezTo>
                <a:cubicBezTo>
                  <a:pt x="60647" y="1549341"/>
                  <a:pt x="38739" y="1544032"/>
                  <a:pt x="17072" y="1538153"/>
                </a:cubicBezTo>
                <a:cubicBezTo>
                  <a:pt x="1381" y="1533894"/>
                  <a:pt x="-938" y="1529341"/>
                  <a:pt x="275" y="1513030"/>
                </a:cubicBezTo>
                <a:cubicBezTo>
                  <a:pt x="2146" y="1487871"/>
                  <a:pt x="7321" y="1463566"/>
                  <a:pt x="20923" y="1441861"/>
                </a:cubicBezTo>
                <a:cubicBezTo>
                  <a:pt x="24812" y="1435656"/>
                  <a:pt x="24566" y="1429699"/>
                  <a:pt x="23045" y="1423105"/>
                </a:cubicBezTo>
                <a:cubicBezTo>
                  <a:pt x="16952" y="1396684"/>
                  <a:pt x="19689" y="1370924"/>
                  <a:pt x="30564" y="1346289"/>
                </a:cubicBezTo>
                <a:cubicBezTo>
                  <a:pt x="39621" y="1325774"/>
                  <a:pt x="54481" y="1309709"/>
                  <a:pt x="71350" y="1295039"/>
                </a:cubicBezTo>
                <a:cubicBezTo>
                  <a:pt x="85712" y="1282550"/>
                  <a:pt x="99164" y="1268932"/>
                  <a:pt x="112257" y="1255093"/>
                </a:cubicBezTo>
                <a:cubicBezTo>
                  <a:pt x="122891" y="1243852"/>
                  <a:pt x="124955" y="1230879"/>
                  <a:pt x="115864" y="1217271"/>
                </a:cubicBezTo>
                <a:cubicBezTo>
                  <a:pt x="114506" y="1215239"/>
                  <a:pt x="113304" y="1213078"/>
                  <a:pt x="112256" y="1210870"/>
                </a:cubicBezTo>
                <a:cubicBezTo>
                  <a:pt x="106526" y="1198808"/>
                  <a:pt x="109052" y="1191969"/>
                  <a:pt x="121141" y="1186548"/>
                </a:cubicBezTo>
                <a:cubicBezTo>
                  <a:pt x="126274" y="1184246"/>
                  <a:pt x="131201" y="1180803"/>
                  <a:pt x="136571" y="1179850"/>
                </a:cubicBezTo>
                <a:cubicBezTo>
                  <a:pt x="149372" y="1177579"/>
                  <a:pt x="154892" y="1168948"/>
                  <a:pt x="158281" y="1157879"/>
                </a:cubicBezTo>
                <a:cubicBezTo>
                  <a:pt x="168288" y="1125194"/>
                  <a:pt x="179178" y="1092742"/>
                  <a:pt x="187986" y="1059736"/>
                </a:cubicBezTo>
                <a:cubicBezTo>
                  <a:pt x="198666" y="1019713"/>
                  <a:pt x="207813" y="979272"/>
                  <a:pt x="217119" y="938896"/>
                </a:cubicBezTo>
                <a:cubicBezTo>
                  <a:pt x="220491" y="924267"/>
                  <a:pt x="222410" y="909302"/>
                  <a:pt x="225792" y="893236"/>
                </a:cubicBezTo>
                <a:cubicBezTo>
                  <a:pt x="226444" y="890644"/>
                  <a:pt x="226297" y="889307"/>
                  <a:pt x="226150" y="887970"/>
                </a:cubicBezTo>
                <a:cubicBezTo>
                  <a:pt x="227450" y="877085"/>
                  <a:pt x="228750" y="866198"/>
                  <a:pt x="230782" y="853969"/>
                </a:cubicBezTo>
                <a:cubicBezTo>
                  <a:pt x="231271" y="851270"/>
                  <a:pt x="231029" y="849914"/>
                  <a:pt x="230786" y="848558"/>
                </a:cubicBezTo>
                <a:cubicBezTo>
                  <a:pt x="231390" y="840967"/>
                  <a:pt x="231993" y="833375"/>
                  <a:pt x="233315" y="824438"/>
                </a:cubicBezTo>
                <a:cubicBezTo>
                  <a:pt x="233755" y="821744"/>
                  <a:pt x="233477" y="820397"/>
                  <a:pt x="233199" y="819050"/>
                </a:cubicBezTo>
                <a:cubicBezTo>
                  <a:pt x="233786" y="807422"/>
                  <a:pt x="234374" y="795794"/>
                  <a:pt x="235848" y="782380"/>
                </a:cubicBezTo>
                <a:cubicBezTo>
                  <a:pt x="237047" y="760099"/>
                  <a:pt x="237488" y="739606"/>
                  <a:pt x="237465" y="719113"/>
                </a:cubicBezTo>
                <a:cubicBezTo>
                  <a:pt x="237463" y="717127"/>
                  <a:pt x="234595" y="715144"/>
                  <a:pt x="233057" y="713160"/>
                </a:cubicBezTo>
                <a:cubicBezTo>
                  <a:pt x="223043" y="711630"/>
                  <a:pt x="212881" y="710731"/>
                  <a:pt x="203056" y="708405"/>
                </a:cubicBezTo>
                <a:cubicBezTo>
                  <a:pt x="191716" y="705720"/>
                  <a:pt x="180144" y="702931"/>
                  <a:pt x="169628" y="698106"/>
                </a:cubicBezTo>
                <a:cubicBezTo>
                  <a:pt x="154505" y="691164"/>
                  <a:pt x="148867" y="675179"/>
                  <a:pt x="153237" y="659111"/>
                </a:cubicBezTo>
                <a:cubicBezTo>
                  <a:pt x="157196" y="644561"/>
                  <a:pt x="166649" y="634454"/>
                  <a:pt x="178365" y="626008"/>
                </a:cubicBezTo>
                <a:cubicBezTo>
                  <a:pt x="182258" y="623202"/>
                  <a:pt x="186579" y="620992"/>
                  <a:pt x="191885" y="617513"/>
                </a:cubicBezTo>
                <a:cubicBezTo>
                  <a:pt x="194882" y="614532"/>
                  <a:pt x="197062" y="612583"/>
                  <a:pt x="193681" y="610098"/>
                </a:cubicBezTo>
                <a:cubicBezTo>
                  <a:pt x="193381" y="595591"/>
                  <a:pt x="202034" y="586776"/>
                  <a:pt x="213301" y="579885"/>
                </a:cubicBezTo>
                <a:cubicBezTo>
                  <a:pt x="218517" y="576695"/>
                  <a:pt x="224270" y="574393"/>
                  <a:pt x="229635" y="571429"/>
                </a:cubicBezTo>
                <a:cubicBezTo>
                  <a:pt x="232401" y="569901"/>
                  <a:pt x="235344" y="568225"/>
                  <a:pt x="237351" y="565882"/>
                </a:cubicBezTo>
                <a:cubicBezTo>
                  <a:pt x="243193" y="559063"/>
                  <a:pt x="242021" y="554779"/>
                  <a:pt x="233673" y="550926"/>
                </a:cubicBezTo>
                <a:cubicBezTo>
                  <a:pt x="231458" y="549904"/>
                  <a:pt x="229049" y="549314"/>
                  <a:pt x="226799" y="548359"/>
                </a:cubicBezTo>
                <a:cubicBezTo>
                  <a:pt x="215108" y="543398"/>
                  <a:pt x="211118" y="532802"/>
                  <a:pt x="218639" y="522664"/>
                </a:cubicBezTo>
                <a:cubicBezTo>
                  <a:pt x="223647" y="515913"/>
                  <a:pt x="222661" y="511633"/>
                  <a:pt x="218264" y="505463"/>
                </a:cubicBezTo>
                <a:cubicBezTo>
                  <a:pt x="203255" y="484407"/>
                  <a:pt x="190650" y="461993"/>
                  <a:pt x="181762" y="437574"/>
                </a:cubicBezTo>
                <a:cubicBezTo>
                  <a:pt x="163530" y="387483"/>
                  <a:pt x="165826" y="338057"/>
                  <a:pt x="185971" y="289069"/>
                </a:cubicBezTo>
                <a:cubicBezTo>
                  <a:pt x="202921" y="247851"/>
                  <a:pt x="226229" y="210377"/>
                  <a:pt x="253787" y="175580"/>
                </a:cubicBezTo>
                <a:cubicBezTo>
                  <a:pt x="271814" y="152817"/>
                  <a:pt x="290973" y="130951"/>
                  <a:pt x="309639" y="108695"/>
                </a:cubicBezTo>
                <a:cubicBezTo>
                  <a:pt x="312744" y="104993"/>
                  <a:pt x="315922" y="101352"/>
                  <a:pt x="318061" y="98855"/>
                </a:cubicBezTo>
                <a:cubicBezTo>
                  <a:pt x="313257" y="88362"/>
                  <a:pt x="308695" y="79376"/>
                  <a:pt x="304967" y="70056"/>
                </a:cubicBezTo>
                <a:cubicBezTo>
                  <a:pt x="297146" y="50504"/>
                  <a:pt x="303366" y="33481"/>
                  <a:pt x="317012" y="19436"/>
                </a:cubicBezTo>
                <a:cubicBezTo>
                  <a:pt x="344741" y="-9105"/>
                  <a:pt x="393463" y="-3345"/>
                  <a:pt x="415542" y="18221"/>
                </a:cubicBezTo>
                <a:cubicBezTo>
                  <a:pt x="429559" y="31914"/>
                  <a:pt x="438373" y="56968"/>
                  <a:pt x="423203" y="82660"/>
                </a:cubicBezTo>
                <a:cubicBezTo>
                  <a:pt x="420306" y="87568"/>
                  <a:pt x="417047" y="92262"/>
                  <a:pt x="413361" y="97975"/>
                </a:cubicBezTo>
                <a:cubicBezTo>
                  <a:pt x="416167" y="100932"/>
                  <a:pt x="418781" y="103940"/>
                  <a:pt x="421654" y="106676"/>
                </a:cubicBezTo>
                <a:cubicBezTo>
                  <a:pt x="446372" y="130213"/>
                  <a:pt x="467902" y="156374"/>
                  <a:pt x="487032" y="184632"/>
                </a:cubicBezTo>
                <a:cubicBezTo>
                  <a:pt x="492374" y="192525"/>
                  <a:pt x="493990" y="199495"/>
                  <a:pt x="489213" y="208238"/>
                </a:cubicBezTo>
                <a:cubicBezTo>
                  <a:pt x="484525" y="216819"/>
                  <a:pt x="481033" y="226053"/>
                  <a:pt x="476520" y="235738"/>
                </a:cubicBezTo>
                <a:cubicBezTo>
                  <a:pt x="472168" y="236089"/>
                  <a:pt x="471165" y="234358"/>
                  <a:pt x="472850" y="230703"/>
                </a:cubicBezTo>
                <a:cubicBezTo>
                  <a:pt x="476263" y="223297"/>
                  <a:pt x="479344" y="215738"/>
                  <a:pt x="482723" y="208315"/>
                </a:cubicBezTo>
                <a:cubicBezTo>
                  <a:pt x="486016" y="201080"/>
                  <a:pt x="485571" y="194961"/>
                  <a:pt x="480764" y="187916"/>
                </a:cubicBezTo>
                <a:cubicBezTo>
                  <a:pt x="459995" y="157475"/>
                  <a:pt x="437234" y="128912"/>
                  <a:pt x="408519" y="105475"/>
                </a:cubicBezTo>
                <a:cubicBezTo>
                  <a:pt x="403555" y="101425"/>
                  <a:pt x="403835" y="96489"/>
                  <a:pt x="408625" y="89203"/>
                </a:cubicBezTo>
                <a:cubicBezTo>
                  <a:pt x="412416" y="83438"/>
                  <a:pt x="416045" y="77562"/>
                  <a:pt x="419600" y="71648"/>
                </a:cubicBezTo>
                <a:cubicBezTo>
                  <a:pt x="421349" y="68739"/>
                  <a:pt x="422717" y="65537"/>
                  <a:pt x="418792" y="63179"/>
                </a:cubicBezTo>
                <a:cubicBezTo>
                  <a:pt x="414834" y="60801"/>
                  <a:pt x="413218" y="63883"/>
                  <a:pt x="410943" y="66417"/>
                </a:cubicBezTo>
                <a:cubicBezTo>
                  <a:pt x="407706" y="70022"/>
                  <a:pt x="404330" y="74045"/>
                  <a:pt x="400140" y="76155"/>
                </a:cubicBezTo>
                <a:cubicBezTo>
                  <a:pt x="381561" y="85507"/>
                  <a:pt x="360821" y="72312"/>
                  <a:pt x="360599" y="51379"/>
                </a:cubicBezTo>
                <a:cubicBezTo>
                  <a:pt x="360556" y="47292"/>
                  <a:pt x="360308" y="43152"/>
                  <a:pt x="360842" y="39128"/>
                </a:cubicBezTo>
                <a:cubicBezTo>
                  <a:pt x="361447" y="34568"/>
                  <a:pt x="362880" y="30159"/>
                  <a:pt x="369470" y="30960"/>
                </a:cubicBezTo>
                <a:cubicBezTo>
                  <a:pt x="368501" y="37551"/>
                  <a:pt x="365745" y="43300"/>
                  <a:pt x="365613" y="49108"/>
                </a:cubicBezTo>
                <a:cubicBezTo>
                  <a:pt x="365328" y="61659"/>
                  <a:pt x="377498" y="72522"/>
                  <a:pt x="389468" y="71608"/>
                </a:cubicBezTo>
                <a:cubicBezTo>
                  <a:pt x="401478" y="70690"/>
                  <a:pt x="410127" y="59637"/>
                  <a:pt x="408822" y="46613"/>
                </a:cubicBezTo>
                <a:cubicBezTo>
                  <a:pt x="408542" y="43819"/>
                  <a:pt x="407521" y="41100"/>
                  <a:pt x="406842" y="38347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10" name="Free-form: Shape 409">
            <a:extLst>
              <a:ext uri="{FF2B5EF4-FFF2-40B4-BE49-F238E27FC236}">
                <a16:creationId xmlns:a16="http://schemas.microsoft.com/office/drawing/2014/main" id="{154F7CFB-90CB-7B0F-BEAE-510C9C0A02AD}"/>
              </a:ext>
            </a:extLst>
          </p:cNvPr>
          <p:cNvSpPr/>
          <p:nvPr/>
        </p:nvSpPr>
        <p:spPr>
          <a:xfrm>
            <a:off x="8986649" y="5472025"/>
            <a:ext cx="91545" cy="184495"/>
          </a:xfrm>
          <a:custGeom>
            <a:avLst/>
            <a:gdLst>
              <a:gd name="csX0" fmla="*/ 96534 w 100699"/>
              <a:gd name="csY0" fmla="*/ 202912 h 202945"/>
              <a:gd name="csX1" fmla="*/ 91036 w 100699"/>
              <a:gd name="csY1" fmla="*/ 196780 h 202945"/>
              <a:gd name="csX2" fmla="*/ 93357 w 100699"/>
              <a:gd name="csY2" fmla="*/ 178731 h 202945"/>
              <a:gd name="csX3" fmla="*/ 75903 w 100699"/>
              <a:gd name="csY3" fmla="*/ 106029 h 202945"/>
              <a:gd name="csX4" fmla="*/ 72780 w 100699"/>
              <a:gd name="csY4" fmla="*/ 102473 h 202945"/>
              <a:gd name="csX5" fmla="*/ 10982 w 100699"/>
              <a:gd name="csY5" fmla="*/ 41414 h 202945"/>
              <a:gd name="csX6" fmla="*/ 676 w 100699"/>
              <a:gd name="csY6" fmla="*/ 2936 h 202945"/>
              <a:gd name="csX7" fmla="*/ 5198 w 100699"/>
              <a:gd name="csY7" fmla="*/ 0 h 202945"/>
              <a:gd name="csX8" fmla="*/ 15435 w 100699"/>
              <a:gd name="csY8" fmla="*/ 35855 h 202945"/>
              <a:gd name="csX9" fmla="*/ 44498 w 100699"/>
              <a:gd name="csY9" fmla="*/ 63833 h 202945"/>
              <a:gd name="csX10" fmla="*/ 81385 w 100699"/>
              <a:gd name="csY10" fmla="*/ 106005 h 202945"/>
              <a:gd name="csX11" fmla="*/ 98950 w 100699"/>
              <a:gd name="csY11" fmla="*/ 190063 h 202945"/>
              <a:gd name="csX12" fmla="*/ 96534 w 100699"/>
              <a:gd name="csY12" fmla="*/ 202912 h 20294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</a:cxnLst>
            <a:rect l="l" t="t" r="r" b="b"/>
            <a:pathLst>
              <a:path w="100699" h="202945">
                <a:moveTo>
                  <a:pt x="96534" y="202912"/>
                </a:moveTo>
                <a:cubicBezTo>
                  <a:pt x="91699" y="203291"/>
                  <a:pt x="90650" y="200377"/>
                  <a:pt x="91036" y="196780"/>
                </a:cubicBezTo>
                <a:cubicBezTo>
                  <a:pt x="91685" y="190750"/>
                  <a:pt x="92933" y="184771"/>
                  <a:pt x="93357" y="178731"/>
                </a:cubicBezTo>
                <a:cubicBezTo>
                  <a:pt x="95183" y="152694"/>
                  <a:pt x="86034" y="129222"/>
                  <a:pt x="75903" y="106029"/>
                </a:cubicBezTo>
                <a:cubicBezTo>
                  <a:pt x="75300" y="104650"/>
                  <a:pt x="73904" y="103585"/>
                  <a:pt x="72780" y="102473"/>
                </a:cubicBezTo>
                <a:cubicBezTo>
                  <a:pt x="52199" y="82101"/>
                  <a:pt x="31673" y="61673"/>
                  <a:pt x="10982" y="41414"/>
                </a:cubicBezTo>
                <a:cubicBezTo>
                  <a:pt x="-119" y="30544"/>
                  <a:pt x="-1041" y="17093"/>
                  <a:pt x="676" y="2936"/>
                </a:cubicBezTo>
                <a:cubicBezTo>
                  <a:pt x="808" y="1852"/>
                  <a:pt x="2922" y="1010"/>
                  <a:pt x="5198" y="0"/>
                </a:cubicBezTo>
                <a:cubicBezTo>
                  <a:pt x="2043" y="13772"/>
                  <a:pt x="5665" y="25821"/>
                  <a:pt x="15435" y="35855"/>
                </a:cubicBezTo>
                <a:cubicBezTo>
                  <a:pt x="24811" y="45486"/>
                  <a:pt x="35301" y="54047"/>
                  <a:pt x="44498" y="63833"/>
                </a:cubicBezTo>
                <a:cubicBezTo>
                  <a:pt x="57293" y="77447"/>
                  <a:pt x="70760" y="90773"/>
                  <a:pt x="81385" y="106005"/>
                </a:cubicBezTo>
                <a:cubicBezTo>
                  <a:pt x="98896" y="131109"/>
                  <a:pt x="103759" y="159808"/>
                  <a:pt x="98950" y="190063"/>
                </a:cubicBezTo>
                <a:cubicBezTo>
                  <a:pt x="98311" y="194082"/>
                  <a:pt x="97697" y="198105"/>
                  <a:pt x="96534" y="202912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11" name="Free-form: Shape 410">
            <a:extLst>
              <a:ext uri="{FF2B5EF4-FFF2-40B4-BE49-F238E27FC236}">
                <a16:creationId xmlns:a16="http://schemas.microsoft.com/office/drawing/2014/main" id="{DF81F6E6-53EB-8C24-4EB1-FC7582998793}"/>
              </a:ext>
            </a:extLst>
          </p:cNvPr>
          <p:cNvSpPr/>
          <p:nvPr/>
        </p:nvSpPr>
        <p:spPr>
          <a:xfrm>
            <a:off x="8645364" y="5007989"/>
            <a:ext cx="3739" cy="60936"/>
          </a:xfrm>
          <a:custGeom>
            <a:avLst/>
            <a:gdLst>
              <a:gd name="csX0" fmla="*/ 0 w 4113"/>
              <a:gd name="csY0" fmla="*/ 0 h 67029"/>
              <a:gd name="csX1" fmla="*/ 4113 w 4113"/>
              <a:gd name="csY1" fmla="*/ 4824 h 67029"/>
              <a:gd name="csX2" fmla="*/ 2662 w 4113"/>
              <a:gd name="csY2" fmla="*/ 67030 h 67029"/>
              <a:gd name="csX3" fmla="*/ 631 w 4113"/>
              <a:gd name="csY3" fmla="*/ 55883 h 67029"/>
              <a:gd name="csX4" fmla="*/ 0 w 4113"/>
              <a:gd name="csY4" fmla="*/ 0 h 6702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4113" h="67029">
                <a:moveTo>
                  <a:pt x="0" y="0"/>
                </a:moveTo>
                <a:cubicBezTo>
                  <a:pt x="1242" y="855"/>
                  <a:pt x="4111" y="2838"/>
                  <a:pt x="4113" y="4824"/>
                </a:cubicBezTo>
                <a:cubicBezTo>
                  <a:pt x="4135" y="25317"/>
                  <a:pt x="3695" y="45810"/>
                  <a:pt x="2662" y="67030"/>
                </a:cubicBezTo>
                <a:cubicBezTo>
                  <a:pt x="1483" y="63799"/>
                  <a:pt x="680" y="59846"/>
                  <a:pt x="631" y="55883"/>
                </a:cubicBezTo>
                <a:cubicBezTo>
                  <a:pt x="404" y="37633"/>
                  <a:pt x="388" y="19381"/>
                  <a:pt x="0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12" name="Free-form: Shape 411">
            <a:extLst>
              <a:ext uri="{FF2B5EF4-FFF2-40B4-BE49-F238E27FC236}">
                <a16:creationId xmlns:a16="http://schemas.microsoft.com/office/drawing/2014/main" id="{CFF8C65B-2F78-5F76-4537-54402769818B}"/>
              </a:ext>
            </a:extLst>
          </p:cNvPr>
          <p:cNvSpPr/>
          <p:nvPr/>
        </p:nvSpPr>
        <p:spPr>
          <a:xfrm>
            <a:off x="9097754" y="5735789"/>
            <a:ext cx="1060" cy="5803"/>
          </a:xfrm>
          <a:custGeom>
            <a:avLst/>
            <a:gdLst>
              <a:gd name="csX0" fmla="*/ 1130 w 1165"/>
              <a:gd name="csY0" fmla="*/ 6385 h 6384"/>
              <a:gd name="csX1" fmla="*/ 49 w 1165"/>
              <a:gd name="csY1" fmla="*/ 0 h 6384"/>
              <a:gd name="csX2" fmla="*/ 1130 w 1165"/>
              <a:gd name="csY2" fmla="*/ 6385 h 638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165" h="6384">
                <a:moveTo>
                  <a:pt x="1130" y="6385"/>
                </a:moveTo>
                <a:cubicBezTo>
                  <a:pt x="260" y="4748"/>
                  <a:pt x="-149" y="2599"/>
                  <a:pt x="49" y="0"/>
                </a:cubicBezTo>
                <a:cubicBezTo>
                  <a:pt x="969" y="1658"/>
                  <a:pt x="1279" y="3765"/>
                  <a:pt x="1130" y="6385"/>
                </a:cubicBezTo>
                <a:close/>
              </a:path>
            </a:pathLst>
          </a:custGeom>
          <a:solidFill>
            <a:srgbClr val="939B9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13" name="Free-form: Shape 412">
            <a:extLst>
              <a:ext uri="{FF2B5EF4-FFF2-40B4-BE49-F238E27FC236}">
                <a16:creationId xmlns:a16="http://schemas.microsoft.com/office/drawing/2014/main" id="{BD62E33B-7C4D-B64A-3C0D-CE35BD37CE83}"/>
              </a:ext>
            </a:extLst>
          </p:cNvPr>
          <p:cNvSpPr/>
          <p:nvPr/>
        </p:nvSpPr>
        <p:spPr>
          <a:xfrm>
            <a:off x="9068025" y="5661694"/>
            <a:ext cx="5440" cy="2491"/>
          </a:xfrm>
          <a:custGeom>
            <a:avLst/>
            <a:gdLst>
              <a:gd name="csX0" fmla="*/ 5985 w 5984"/>
              <a:gd name="csY0" fmla="*/ 1832 h 2740"/>
              <a:gd name="csX1" fmla="*/ 0 w 5984"/>
              <a:gd name="csY1" fmla="*/ 2740 h 2740"/>
              <a:gd name="csX2" fmla="*/ 4930 w 5984"/>
              <a:gd name="csY2" fmla="*/ 0 h 2740"/>
              <a:gd name="csX3" fmla="*/ 5985 w 5984"/>
              <a:gd name="csY3" fmla="*/ 1832 h 274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</a:cxnLst>
            <a:rect l="l" t="t" r="r" b="b"/>
            <a:pathLst>
              <a:path w="5984" h="2740">
                <a:moveTo>
                  <a:pt x="5985" y="1832"/>
                </a:moveTo>
                <a:cubicBezTo>
                  <a:pt x="3992" y="2553"/>
                  <a:pt x="1996" y="2646"/>
                  <a:pt x="0" y="2740"/>
                </a:cubicBezTo>
                <a:cubicBezTo>
                  <a:pt x="1398" y="1830"/>
                  <a:pt x="2796" y="920"/>
                  <a:pt x="4930" y="0"/>
                </a:cubicBezTo>
                <a:cubicBezTo>
                  <a:pt x="5772" y="394"/>
                  <a:pt x="5877" y="799"/>
                  <a:pt x="5985" y="1832"/>
                </a:cubicBezTo>
                <a:close/>
              </a:path>
            </a:pathLst>
          </a:custGeom>
          <a:solidFill>
            <a:srgbClr val="8E9395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14" name="Free-form: Shape 413">
            <a:extLst>
              <a:ext uri="{FF2B5EF4-FFF2-40B4-BE49-F238E27FC236}">
                <a16:creationId xmlns:a16="http://schemas.microsoft.com/office/drawing/2014/main" id="{5A829D72-4E70-CCB9-A0AD-C9283DAC626C}"/>
              </a:ext>
            </a:extLst>
          </p:cNvPr>
          <p:cNvSpPr/>
          <p:nvPr/>
        </p:nvSpPr>
        <p:spPr>
          <a:xfrm>
            <a:off x="8642552" y="5130383"/>
            <a:ext cx="770" cy="3664"/>
          </a:xfrm>
          <a:custGeom>
            <a:avLst/>
            <a:gdLst>
              <a:gd name="csX0" fmla="*/ 106 w 847"/>
              <a:gd name="csY0" fmla="*/ 0 h 4030"/>
              <a:gd name="csX1" fmla="*/ 732 w 847"/>
              <a:gd name="csY1" fmla="*/ 4031 h 4030"/>
              <a:gd name="csX2" fmla="*/ 106 w 847"/>
              <a:gd name="csY2" fmla="*/ 0 h 403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7" h="4030">
                <a:moveTo>
                  <a:pt x="106" y="0"/>
                </a:moveTo>
                <a:cubicBezTo>
                  <a:pt x="770" y="990"/>
                  <a:pt x="1013" y="2346"/>
                  <a:pt x="732" y="4031"/>
                </a:cubicBezTo>
                <a:cubicBezTo>
                  <a:pt x="34" y="3029"/>
                  <a:pt x="-141" y="1697"/>
                  <a:pt x="106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15" name="Free-form: Shape 414">
            <a:extLst>
              <a:ext uri="{FF2B5EF4-FFF2-40B4-BE49-F238E27FC236}">
                <a16:creationId xmlns:a16="http://schemas.microsoft.com/office/drawing/2014/main" id="{9789EBD7-F15D-4DE3-DFAB-10A7EF569DF5}"/>
              </a:ext>
            </a:extLst>
          </p:cNvPr>
          <p:cNvSpPr/>
          <p:nvPr/>
        </p:nvSpPr>
        <p:spPr>
          <a:xfrm>
            <a:off x="8638228" y="5166177"/>
            <a:ext cx="703" cy="3631"/>
          </a:xfrm>
          <a:custGeom>
            <a:avLst/>
            <a:gdLst>
              <a:gd name="csX0" fmla="*/ 195 w 774"/>
              <a:gd name="csY0" fmla="*/ 0 h 3994"/>
              <a:gd name="csX1" fmla="*/ 575 w 774"/>
              <a:gd name="csY1" fmla="*/ 3994 h 3994"/>
              <a:gd name="csX2" fmla="*/ 195 w 774"/>
              <a:gd name="csY2" fmla="*/ 0 h 399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774" h="3994">
                <a:moveTo>
                  <a:pt x="195" y="0"/>
                </a:moveTo>
                <a:cubicBezTo>
                  <a:pt x="794" y="1011"/>
                  <a:pt x="941" y="2348"/>
                  <a:pt x="575" y="3994"/>
                </a:cubicBezTo>
                <a:cubicBezTo>
                  <a:pt x="-44" y="2978"/>
                  <a:pt x="-151" y="1652"/>
                  <a:pt x="195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16" name="Free-form: Shape 415">
            <a:extLst>
              <a:ext uri="{FF2B5EF4-FFF2-40B4-BE49-F238E27FC236}">
                <a16:creationId xmlns:a16="http://schemas.microsoft.com/office/drawing/2014/main" id="{2ED6FC04-84B8-F350-20A5-B0C21D7AC202}"/>
              </a:ext>
            </a:extLst>
          </p:cNvPr>
          <p:cNvSpPr/>
          <p:nvPr/>
        </p:nvSpPr>
        <p:spPr>
          <a:xfrm>
            <a:off x="8644806" y="5103573"/>
            <a:ext cx="787" cy="3631"/>
          </a:xfrm>
          <a:custGeom>
            <a:avLst/>
            <a:gdLst>
              <a:gd name="csX0" fmla="*/ 71 w 865"/>
              <a:gd name="csY0" fmla="*/ 0 h 3995"/>
              <a:gd name="csX1" fmla="*/ 783 w 865"/>
              <a:gd name="csY1" fmla="*/ 3996 h 3995"/>
              <a:gd name="csX2" fmla="*/ 71 w 865"/>
              <a:gd name="csY2" fmla="*/ 0 h 399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65" h="3995">
                <a:moveTo>
                  <a:pt x="71" y="0"/>
                </a:moveTo>
                <a:cubicBezTo>
                  <a:pt x="740" y="963"/>
                  <a:pt x="1018" y="2311"/>
                  <a:pt x="783" y="3996"/>
                </a:cubicBezTo>
                <a:cubicBezTo>
                  <a:pt x="73" y="3017"/>
                  <a:pt x="-124" y="1701"/>
                  <a:pt x="71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17" name="Free-form: Shape 416">
            <a:extLst>
              <a:ext uri="{FF2B5EF4-FFF2-40B4-BE49-F238E27FC236}">
                <a16:creationId xmlns:a16="http://schemas.microsoft.com/office/drawing/2014/main" id="{5A1D5DEF-38AF-0144-B9D5-8557532DD06E}"/>
              </a:ext>
            </a:extLst>
          </p:cNvPr>
          <p:cNvSpPr/>
          <p:nvPr/>
        </p:nvSpPr>
        <p:spPr>
          <a:xfrm>
            <a:off x="8763109" y="5007599"/>
            <a:ext cx="170236" cy="426821"/>
          </a:xfrm>
          <a:custGeom>
            <a:avLst/>
            <a:gdLst>
              <a:gd name="csX0" fmla="*/ 120604 w 187260"/>
              <a:gd name="csY0" fmla="*/ 222968 h 469503"/>
              <a:gd name="csX1" fmla="*/ 187261 w 187260"/>
              <a:gd name="csY1" fmla="*/ 469503 h 469503"/>
              <a:gd name="csX2" fmla="*/ 1253 w 187260"/>
              <a:gd name="csY2" fmla="*/ 466078 h 469503"/>
              <a:gd name="csX3" fmla="*/ 8 w 187260"/>
              <a:gd name="csY3" fmla="*/ 458101 h 469503"/>
              <a:gd name="csX4" fmla="*/ 4383 w 187260"/>
              <a:gd name="csY4" fmla="*/ 351443 h 469503"/>
              <a:gd name="csX5" fmla="*/ 4615 w 187260"/>
              <a:gd name="csY5" fmla="*/ 346536 h 469503"/>
              <a:gd name="csX6" fmla="*/ 7935 w 187260"/>
              <a:gd name="csY6" fmla="*/ 233648 h 469503"/>
              <a:gd name="csX7" fmla="*/ 10461 w 187260"/>
              <a:gd name="csY7" fmla="*/ 128112 h 469503"/>
              <a:gd name="csX8" fmla="*/ 12461 w 187260"/>
              <a:gd name="csY8" fmla="*/ 12750 h 469503"/>
              <a:gd name="csX9" fmla="*/ 13165 w 187260"/>
              <a:gd name="csY9" fmla="*/ 4285 h 469503"/>
              <a:gd name="csX10" fmla="*/ 102327 w 187260"/>
              <a:gd name="csY10" fmla="*/ 0 h 469503"/>
              <a:gd name="csX11" fmla="*/ 106229 w 187260"/>
              <a:gd name="csY11" fmla="*/ 111321 h 469503"/>
              <a:gd name="csX12" fmla="*/ 120604 w 187260"/>
              <a:gd name="csY12" fmla="*/ 222968 h 46950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</a:cxnLst>
            <a:rect l="l" t="t" r="r" b="b"/>
            <a:pathLst>
              <a:path w="187260" h="469503">
                <a:moveTo>
                  <a:pt x="120604" y="222968"/>
                </a:moveTo>
                <a:cubicBezTo>
                  <a:pt x="135383" y="307129"/>
                  <a:pt x="159464" y="387725"/>
                  <a:pt x="187261" y="469503"/>
                </a:cubicBezTo>
                <a:cubicBezTo>
                  <a:pt x="124460" y="468347"/>
                  <a:pt x="63286" y="467220"/>
                  <a:pt x="1253" y="466078"/>
                </a:cubicBezTo>
                <a:cubicBezTo>
                  <a:pt x="818" y="463442"/>
                  <a:pt x="-95" y="460752"/>
                  <a:pt x="8" y="458101"/>
                </a:cubicBezTo>
                <a:cubicBezTo>
                  <a:pt x="1383" y="422545"/>
                  <a:pt x="2900" y="386994"/>
                  <a:pt x="4383" y="351443"/>
                </a:cubicBezTo>
                <a:cubicBezTo>
                  <a:pt x="4451" y="349807"/>
                  <a:pt x="4566" y="348172"/>
                  <a:pt x="4615" y="346536"/>
                </a:cubicBezTo>
                <a:cubicBezTo>
                  <a:pt x="5732" y="308907"/>
                  <a:pt x="6921" y="271280"/>
                  <a:pt x="7935" y="233648"/>
                </a:cubicBezTo>
                <a:cubicBezTo>
                  <a:pt x="8883" y="198472"/>
                  <a:pt x="9752" y="163293"/>
                  <a:pt x="10461" y="128112"/>
                </a:cubicBezTo>
                <a:cubicBezTo>
                  <a:pt x="11237" y="89660"/>
                  <a:pt x="11781" y="51204"/>
                  <a:pt x="12461" y="12750"/>
                </a:cubicBezTo>
                <a:cubicBezTo>
                  <a:pt x="12503" y="10363"/>
                  <a:pt x="12848" y="7981"/>
                  <a:pt x="13165" y="4285"/>
                </a:cubicBezTo>
                <a:cubicBezTo>
                  <a:pt x="42856" y="2858"/>
                  <a:pt x="72082" y="1454"/>
                  <a:pt x="102327" y="0"/>
                </a:cubicBezTo>
                <a:cubicBezTo>
                  <a:pt x="103499" y="37348"/>
                  <a:pt x="103207" y="74470"/>
                  <a:pt x="106229" y="111321"/>
                </a:cubicBezTo>
                <a:cubicBezTo>
                  <a:pt x="109263" y="148326"/>
                  <a:pt x="115599" y="185060"/>
                  <a:pt x="120604" y="222968"/>
                </a:cubicBezTo>
                <a:close/>
              </a:path>
            </a:pathLst>
          </a:custGeom>
          <a:solidFill>
            <a:srgbClr val="FDFDFD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18" name="Free-form: Shape 417">
            <a:extLst>
              <a:ext uri="{FF2B5EF4-FFF2-40B4-BE49-F238E27FC236}">
                <a16:creationId xmlns:a16="http://schemas.microsoft.com/office/drawing/2014/main" id="{ACDF366A-231A-67D4-DE0E-FC607C8B27BB}"/>
              </a:ext>
            </a:extLst>
          </p:cNvPr>
          <p:cNvSpPr/>
          <p:nvPr/>
        </p:nvSpPr>
        <p:spPr>
          <a:xfrm>
            <a:off x="8761916" y="5474351"/>
            <a:ext cx="284824" cy="179974"/>
          </a:xfrm>
          <a:custGeom>
            <a:avLst/>
            <a:gdLst>
              <a:gd name="csX0" fmla="*/ 160234 w 313306"/>
              <a:gd name="csY0" fmla="*/ 197876 h 197971"/>
              <a:gd name="csX1" fmla="*/ 544 w 313306"/>
              <a:gd name="csY1" fmla="*/ 197972 h 197971"/>
              <a:gd name="csX2" fmla="*/ 3466 w 313306"/>
              <a:gd name="csY2" fmla="*/ 104326 h 197971"/>
              <a:gd name="csX3" fmla="*/ 0 w 313306"/>
              <a:gd name="csY3" fmla="*/ 10720 h 197971"/>
              <a:gd name="csX4" fmla="*/ 5445 w 313306"/>
              <a:gd name="csY4" fmla="*/ 9282 h 197971"/>
              <a:gd name="csX5" fmla="*/ 71623 w 313306"/>
              <a:gd name="csY5" fmla="*/ 6885 h 197971"/>
              <a:gd name="csX6" fmla="*/ 187887 w 313306"/>
              <a:gd name="csY6" fmla="*/ 233 h 197971"/>
              <a:gd name="csX7" fmla="*/ 215297 w 313306"/>
              <a:gd name="csY7" fmla="*/ 163 h 197971"/>
              <a:gd name="csX8" fmla="*/ 243629 w 313306"/>
              <a:gd name="csY8" fmla="*/ 61389 h 197971"/>
              <a:gd name="csX9" fmla="*/ 270660 w 313306"/>
              <a:gd name="csY9" fmla="*/ 86342 h 197971"/>
              <a:gd name="csX10" fmla="*/ 313142 w 313306"/>
              <a:gd name="csY10" fmla="*/ 170098 h 197971"/>
              <a:gd name="csX11" fmla="*/ 313291 w 313306"/>
              <a:gd name="csY11" fmla="*/ 176231 h 197971"/>
              <a:gd name="csX12" fmla="*/ 312654 w 313306"/>
              <a:gd name="csY12" fmla="*/ 180738 h 197971"/>
              <a:gd name="csX13" fmla="*/ 279655 w 313306"/>
              <a:gd name="csY13" fmla="*/ 186226 h 197971"/>
              <a:gd name="csX14" fmla="*/ 167436 w 313306"/>
              <a:gd name="csY14" fmla="*/ 196805 h 197971"/>
              <a:gd name="csX15" fmla="*/ 160234 w 313306"/>
              <a:gd name="csY15" fmla="*/ 197876 h 19797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</a:cxnLst>
            <a:rect l="l" t="t" r="r" b="b"/>
            <a:pathLst>
              <a:path w="313306" h="197971">
                <a:moveTo>
                  <a:pt x="160234" y="197876"/>
                </a:moveTo>
                <a:cubicBezTo>
                  <a:pt x="106384" y="197972"/>
                  <a:pt x="53682" y="197972"/>
                  <a:pt x="544" y="197972"/>
                </a:cubicBezTo>
                <a:cubicBezTo>
                  <a:pt x="1602" y="166763"/>
                  <a:pt x="3550" y="135542"/>
                  <a:pt x="3466" y="104326"/>
                </a:cubicBezTo>
                <a:cubicBezTo>
                  <a:pt x="3383" y="73323"/>
                  <a:pt x="1255" y="42326"/>
                  <a:pt x="0" y="10720"/>
                </a:cubicBezTo>
                <a:cubicBezTo>
                  <a:pt x="1689" y="10255"/>
                  <a:pt x="3551" y="9355"/>
                  <a:pt x="5445" y="9282"/>
                </a:cubicBezTo>
                <a:cubicBezTo>
                  <a:pt x="27503" y="8435"/>
                  <a:pt x="49582" y="8030"/>
                  <a:pt x="71623" y="6885"/>
                </a:cubicBezTo>
                <a:cubicBezTo>
                  <a:pt x="110388" y="4872"/>
                  <a:pt x="149126" y="2333"/>
                  <a:pt x="187887" y="233"/>
                </a:cubicBezTo>
                <a:cubicBezTo>
                  <a:pt x="196749" y="-247"/>
                  <a:pt x="205660" y="163"/>
                  <a:pt x="215297" y="163"/>
                </a:cubicBezTo>
                <a:cubicBezTo>
                  <a:pt x="215450" y="25550"/>
                  <a:pt x="226120" y="45122"/>
                  <a:pt x="243629" y="61389"/>
                </a:cubicBezTo>
                <a:cubicBezTo>
                  <a:pt x="252615" y="69739"/>
                  <a:pt x="261099" y="78715"/>
                  <a:pt x="270660" y="86342"/>
                </a:cubicBezTo>
                <a:cubicBezTo>
                  <a:pt x="297676" y="107892"/>
                  <a:pt x="310731" y="136225"/>
                  <a:pt x="313142" y="170098"/>
                </a:cubicBezTo>
                <a:cubicBezTo>
                  <a:pt x="313287" y="172136"/>
                  <a:pt x="313335" y="174188"/>
                  <a:pt x="313291" y="176231"/>
                </a:cubicBezTo>
                <a:cubicBezTo>
                  <a:pt x="313265" y="177429"/>
                  <a:pt x="312966" y="178621"/>
                  <a:pt x="312654" y="180738"/>
                </a:cubicBezTo>
                <a:cubicBezTo>
                  <a:pt x="302343" y="185396"/>
                  <a:pt x="290736" y="185049"/>
                  <a:pt x="279655" y="186226"/>
                </a:cubicBezTo>
                <a:cubicBezTo>
                  <a:pt x="242295" y="190193"/>
                  <a:pt x="204847" y="193324"/>
                  <a:pt x="167436" y="196805"/>
                </a:cubicBezTo>
                <a:cubicBezTo>
                  <a:pt x="165405" y="196994"/>
                  <a:pt x="163399" y="197449"/>
                  <a:pt x="160234" y="197876"/>
                </a:cubicBezTo>
                <a:close/>
              </a:path>
            </a:pathLst>
          </a:custGeom>
          <a:solidFill>
            <a:srgbClr val="FDFEFE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19" name="Free-form: Shape 418">
            <a:extLst>
              <a:ext uri="{FF2B5EF4-FFF2-40B4-BE49-F238E27FC236}">
                <a16:creationId xmlns:a16="http://schemas.microsoft.com/office/drawing/2014/main" id="{9E4830BB-75D7-2A3C-EA3D-6D3BCE6F2AEC}"/>
              </a:ext>
            </a:extLst>
          </p:cNvPr>
          <p:cNvSpPr/>
          <p:nvPr/>
        </p:nvSpPr>
        <p:spPr>
          <a:xfrm>
            <a:off x="8772659" y="4457767"/>
            <a:ext cx="149260" cy="361842"/>
          </a:xfrm>
          <a:custGeom>
            <a:avLst/>
            <a:gdLst>
              <a:gd name="csX0" fmla="*/ 22609 w 164186"/>
              <a:gd name="csY0" fmla="*/ 398026 h 398026"/>
              <a:gd name="csX1" fmla="*/ 16884 w 164186"/>
              <a:gd name="csY1" fmla="*/ 390515 h 398026"/>
              <a:gd name="csX2" fmla="*/ 9661 w 164186"/>
              <a:gd name="csY2" fmla="*/ 328443 h 398026"/>
              <a:gd name="csX3" fmla="*/ 534 w 164186"/>
              <a:gd name="csY3" fmla="*/ 196369 h 398026"/>
              <a:gd name="csX4" fmla="*/ 1243 w 164186"/>
              <a:gd name="csY4" fmla="*/ 82293 h 398026"/>
              <a:gd name="csX5" fmla="*/ 2245 w 164186"/>
              <a:gd name="csY5" fmla="*/ 43023 h 398026"/>
              <a:gd name="csX6" fmla="*/ 4587 w 164186"/>
              <a:gd name="csY6" fmla="*/ 0 h 398026"/>
              <a:gd name="csX7" fmla="*/ 12341 w 164186"/>
              <a:gd name="csY7" fmla="*/ 3872 h 398026"/>
              <a:gd name="csX8" fmla="*/ 85914 w 164186"/>
              <a:gd name="csY8" fmla="*/ 78943 h 398026"/>
              <a:gd name="csX9" fmla="*/ 87893 w 164186"/>
              <a:gd name="csY9" fmla="*/ 99117 h 398026"/>
              <a:gd name="csX10" fmla="*/ 35459 w 164186"/>
              <a:gd name="csY10" fmla="*/ 207346 h 398026"/>
              <a:gd name="csX11" fmla="*/ 32223 w 164186"/>
              <a:gd name="csY11" fmla="*/ 213959 h 398026"/>
              <a:gd name="csX12" fmla="*/ 39509 w 164186"/>
              <a:gd name="csY12" fmla="*/ 242056 h 398026"/>
              <a:gd name="csX13" fmla="*/ 69474 w 164186"/>
              <a:gd name="csY13" fmla="*/ 237019 h 398026"/>
              <a:gd name="csX14" fmla="*/ 89101 w 164186"/>
              <a:gd name="csY14" fmla="*/ 208870 h 398026"/>
              <a:gd name="csX15" fmla="*/ 121716 w 164186"/>
              <a:gd name="csY15" fmla="*/ 158357 h 398026"/>
              <a:gd name="csX16" fmla="*/ 129330 w 164186"/>
              <a:gd name="csY16" fmla="*/ 148165 h 398026"/>
              <a:gd name="csX17" fmla="*/ 137171 w 164186"/>
              <a:gd name="csY17" fmla="*/ 159989 h 398026"/>
              <a:gd name="csX18" fmla="*/ 163812 w 164186"/>
              <a:gd name="csY18" fmla="*/ 273175 h 398026"/>
              <a:gd name="csX19" fmla="*/ 118151 w 164186"/>
              <a:gd name="csY19" fmla="*/ 383442 h 398026"/>
              <a:gd name="csX20" fmla="*/ 92325 w 164186"/>
              <a:gd name="csY20" fmla="*/ 395173 h 398026"/>
              <a:gd name="csX21" fmla="*/ 22609 w 164186"/>
              <a:gd name="csY21" fmla="*/ 398026 h 39802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</a:cxnLst>
            <a:rect l="l" t="t" r="r" b="b"/>
            <a:pathLst>
              <a:path w="164186" h="398026">
                <a:moveTo>
                  <a:pt x="22609" y="398026"/>
                </a:moveTo>
                <a:cubicBezTo>
                  <a:pt x="19898" y="395489"/>
                  <a:pt x="17229" y="393154"/>
                  <a:pt x="16884" y="390515"/>
                </a:cubicBezTo>
                <a:cubicBezTo>
                  <a:pt x="14183" y="369861"/>
                  <a:pt x="11326" y="349196"/>
                  <a:pt x="9661" y="328443"/>
                </a:cubicBezTo>
                <a:cubicBezTo>
                  <a:pt x="6132" y="284452"/>
                  <a:pt x="2125" y="240448"/>
                  <a:pt x="534" y="196369"/>
                </a:cubicBezTo>
                <a:cubicBezTo>
                  <a:pt x="-837" y="158401"/>
                  <a:pt x="816" y="120322"/>
                  <a:pt x="1243" y="82293"/>
                </a:cubicBezTo>
                <a:cubicBezTo>
                  <a:pt x="1389" y="69201"/>
                  <a:pt x="1708" y="56105"/>
                  <a:pt x="2245" y="43023"/>
                </a:cubicBezTo>
                <a:cubicBezTo>
                  <a:pt x="2815" y="29160"/>
                  <a:pt x="3738" y="15312"/>
                  <a:pt x="4587" y="0"/>
                </a:cubicBezTo>
                <a:cubicBezTo>
                  <a:pt x="7809" y="1586"/>
                  <a:pt x="10279" y="2436"/>
                  <a:pt x="12341" y="3872"/>
                </a:cubicBezTo>
                <a:cubicBezTo>
                  <a:pt x="41601" y="24248"/>
                  <a:pt x="64069" y="51269"/>
                  <a:pt x="85914" y="78943"/>
                </a:cubicBezTo>
                <a:cubicBezTo>
                  <a:pt x="91106" y="85520"/>
                  <a:pt x="91706" y="91406"/>
                  <a:pt x="87893" y="99117"/>
                </a:cubicBezTo>
                <a:cubicBezTo>
                  <a:pt x="70127" y="135051"/>
                  <a:pt x="52890" y="171246"/>
                  <a:pt x="35459" y="207346"/>
                </a:cubicBezTo>
                <a:cubicBezTo>
                  <a:pt x="34391" y="209557"/>
                  <a:pt x="33130" y="211686"/>
                  <a:pt x="32223" y="213959"/>
                </a:cubicBezTo>
                <a:cubicBezTo>
                  <a:pt x="27471" y="225873"/>
                  <a:pt x="30154" y="236086"/>
                  <a:pt x="39509" y="242056"/>
                </a:cubicBezTo>
                <a:cubicBezTo>
                  <a:pt x="48880" y="248038"/>
                  <a:pt x="61705" y="246477"/>
                  <a:pt x="69474" y="237019"/>
                </a:cubicBezTo>
                <a:cubicBezTo>
                  <a:pt x="76712" y="228205"/>
                  <a:pt x="82824" y="218436"/>
                  <a:pt x="89101" y="208870"/>
                </a:cubicBezTo>
                <a:cubicBezTo>
                  <a:pt x="100096" y="192114"/>
                  <a:pt x="110806" y="175170"/>
                  <a:pt x="121716" y="158357"/>
                </a:cubicBezTo>
                <a:cubicBezTo>
                  <a:pt x="123679" y="155333"/>
                  <a:pt x="126029" y="152559"/>
                  <a:pt x="129330" y="148165"/>
                </a:cubicBezTo>
                <a:cubicBezTo>
                  <a:pt x="132450" y="152828"/>
                  <a:pt x="135175" y="156216"/>
                  <a:pt x="137171" y="159989"/>
                </a:cubicBezTo>
                <a:cubicBezTo>
                  <a:pt x="155891" y="195388"/>
                  <a:pt x="166343" y="232905"/>
                  <a:pt x="163812" y="273175"/>
                </a:cubicBezTo>
                <a:cubicBezTo>
                  <a:pt x="161183" y="314982"/>
                  <a:pt x="144984" y="351430"/>
                  <a:pt x="118151" y="383442"/>
                </a:cubicBezTo>
                <a:cubicBezTo>
                  <a:pt x="111214" y="391718"/>
                  <a:pt x="102452" y="394716"/>
                  <a:pt x="92325" y="395173"/>
                </a:cubicBezTo>
                <a:cubicBezTo>
                  <a:pt x="69461" y="396207"/>
                  <a:pt x="46593" y="397123"/>
                  <a:pt x="22609" y="398026"/>
                </a:cubicBezTo>
                <a:close/>
              </a:path>
            </a:pathLst>
          </a:custGeom>
          <a:solidFill>
            <a:srgbClr val="FCFDFD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20" name="Free-form: Shape 419">
            <a:extLst>
              <a:ext uri="{FF2B5EF4-FFF2-40B4-BE49-F238E27FC236}">
                <a16:creationId xmlns:a16="http://schemas.microsoft.com/office/drawing/2014/main" id="{0BFDB8C3-662F-77A4-81E1-248B684DCA4D}"/>
              </a:ext>
            </a:extLst>
          </p:cNvPr>
          <p:cNvSpPr/>
          <p:nvPr/>
        </p:nvSpPr>
        <p:spPr>
          <a:xfrm>
            <a:off x="8758553" y="5683558"/>
            <a:ext cx="305850" cy="64961"/>
          </a:xfrm>
          <a:custGeom>
            <a:avLst/>
            <a:gdLst>
              <a:gd name="csX0" fmla="*/ 105937 w 336434"/>
              <a:gd name="csY0" fmla="*/ 71458 h 71457"/>
              <a:gd name="csX1" fmla="*/ 3534 w 336434"/>
              <a:gd name="csY1" fmla="*/ 69115 h 71457"/>
              <a:gd name="csX2" fmla="*/ 1296 w 336434"/>
              <a:gd name="csY2" fmla="*/ 17910 h 71457"/>
              <a:gd name="csX3" fmla="*/ 14032 w 336434"/>
              <a:gd name="csY3" fmla="*/ 17908 h 71457"/>
              <a:gd name="csX4" fmla="*/ 102444 w 336434"/>
              <a:gd name="csY4" fmla="*/ 17433 h 71457"/>
              <a:gd name="csX5" fmla="*/ 284561 w 336434"/>
              <a:gd name="csY5" fmla="*/ 3564 h 71457"/>
              <a:gd name="csX6" fmla="*/ 311323 w 336434"/>
              <a:gd name="csY6" fmla="*/ 224 h 71457"/>
              <a:gd name="csX7" fmla="*/ 324313 w 336434"/>
              <a:gd name="csY7" fmla="*/ 6639 h 71457"/>
              <a:gd name="csX8" fmla="*/ 336434 w 336434"/>
              <a:gd name="csY8" fmla="*/ 46484 h 71457"/>
              <a:gd name="csX9" fmla="*/ 105937 w 336434"/>
              <a:gd name="csY9" fmla="*/ 71458 h 7145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336434" h="71457">
                <a:moveTo>
                  <a:pt x="105937" y="71458"/>
                </a:moveTo>
                <a:cubicBezTo>
                  <a:pt x="70820" y="70678"/>
                  <a:pt x="36930" y="69891"/>
                  <a:pt x="3534" y="69115"/>
                </a:cubicBezTo>
                <a:cubicBezTo>
                  <a:pt x="-81" y="59433"/>
                  <a:pt x="-1094" y="35337"/>
                  <a:pt x="1296" y="17910"/>
                </a:cubicBezTo>
                <a:cubicBezTo>
                  <a:pt x="5366" y="17910"/>
                  <a:pt x="9699" y="17923"/>
                  <a:pt x="14032" y="17908"/>
                </a:cubicBezTo>
                <a:cubicBezTo>
                  <a:pt x="43505" y="17812"/>
                  <a:pt x="73011" y="18557"/>
                  <a:pt x="102444" y="17433"/>
                </a:cubicBezTo>
                <a:cubicBezTo>
                  <a:pt x="163306" y="15109"/>
                  <a:pt x="224166" y="12264"/>
                  <a:pt x="284561" y="3564"/>
                </a:cubicBezTo>
                <a:cubicBezTo>
                  <a:pt x="293458" y="2283"/>
                  <a:pt x="302438" y="1575"/>
                  <a:pt x="311323" y="224"/>
                </a:cubicBezTo>
                <a:cubicBezTo>
                  <a:pt x="317371" y="-696"/>
                  <a:pt x="321247" y="1177"/>
                  <a:pt x="324313" y="6639"/>
                </a:cubicBezTo>
                <a:cubicBezTo>
                  <a:pt x="330512" y="17683"/>
                  <a:pt x="335236" y="31679"/>
                  <a:pt x="336434" y="46484"/>
                </a:cubicBezTo>
                <a:cubicBezTo>
                  <a:pt x="261124" y="64059"/>
                  <a:pt x="184356" y="69587"/>
                  <a:pt x="105937" y="71458"/>
                </a:cubicBezTo>
                <a:close/>
              </a:path>
            </a:pathLst>
          </a:custGeom>
          <a:solidFill>
            <a:srgbClr val="FCFCFC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21" name="Free-form: Shape 420">
            <a:extLst>
              <a:ext uri="{FF2B5EF4-FFF2-40B4-BE49-F238E27FC236}">
                <a16:creationId xmlns:a16="http://schemas.microsoft.com/office/drawing/2014/main" id="{EBA75545-FACC-30A6-EA0F-A766D671F0EC}"/>
              </a:ext>
            </a:extLst>
          </p:cNvPr>
          <p:cNvSpPr/>
          <p:nvPr/>
        </p:nvSpPr>
        <p:spPr>
          <a:xfrm>
            <a:off x="8772110" y="4852834"/>
            <a:ext cx="120683" cy="63097"/>
          </a:xfrm>
          <a:custGeom>
            <a:avLst/>
            <a:gdLst>
              <a:gd name="csX0" fmla="*/ 5051 w 132751"/>
              <a:gd name="csY0" fmla="*/ 7534 h 69406"/>
              <a:gd name="csX1" fmla="*/ 10615 w 132751"/>
              <a:gd name="csY1" fmla="*/ 3077 h 69406"/>
              <a:gd name="csX2" fmla="*/ 26541 w 132751"/>
              <a:gd name="csY2" fmla="*/ 2752 h 69406"/>
              <a:gd name="csX3" fmla="*/ 87728 w 132751"/>
              <a:gd name="csY3" fmla="*/ 89 h 69406"/>
              <a:gd name="csX4" fmla="*/ 101400 w 132751"/>
              <a:gd name="csY4" fmla="*/ 62 h 69406"/>
              <a:gd name="csX5" fmla="*/ 102924 w 132751"/>
              <a:gd name="csY5" fmla="*/ 4800 h 69406"/>
              <a:gd name="csX6" fmla="*/ 121469 w 132751"/>
              <a:gd name="csY6" fmla="*/ 43062 h 69406"/>
              <a:gd name="csX7" fmla="*/ 132751 w 132751"/>
              <a:gd name="csY7" fmla="*/ 65240 h 69406"/>
              <a:gd name="csX8" fmla="*/ 0 w 132751"/>
              <a:gd name="csY8" fmla="*/ 69406 h 69406"/>
              <a:gd name="csX9" fmla="*/ 5051 w 132751"/>
              <a:gd name="csY9" fmla="*/ 7534 h 6940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132751" h="69406">
                <a:moveTo>
                  <a:pt x="5051" y="7534"/>
                </a:moveTo>
                <a:cubicBezTo>
                  <a:pt x="6880" y="5272"/>
                  <a:pt x="8659" y="3268"/>
                  <a:pt x="10615" y="3077"/>
                </a:cubicBezTo>
                <a:cubicBezTo>
                  <a:pt x="15884" y="2564"/>
                  <a:pt x="21234" y="2972"/>
                  <a:pt x="26541" y="2752"/>
                </a:cubicBezTo>
                <a:cubicBezTo>
                  <a:pt x="46938" y="1911"/>
                  <a:pt x="67330" y="933"/>
                  <a:pt x="87728" y="89"/>
                </a:cubicBezTo>
                <a:cubicBezTo>
                  <a:pt x="92161" y="-94"/>
                  <a:pt x="96609" y="62"/>
                  <a:pt x="101400" y="62"/>
                </a:cubicBezTo>
                <a:cubicBezTo>
                  <a:pt x="101991" y="1827"/>
                  <a:pt x="102885" y="3302"/>
                  <a:pt x="102924" y="4800"/>
                </a:cubicBezTo>
                <a:cubicBezTo>
                  <a:pt x="103334" y="20376"/>
                  <a:pt x="108815" y="33165"/>
                  <a:pt x="121469" y="43062"/>
                </a:cubicBezTo>
                <a:cubicBezTo>
                  <a:pt x="127809" y="48021"/>
                  <a:pt x="132509" y="54869"/>
                  <a:pt x="132751" y="65240"/>
                </a:cubicBezTo>
                <a:cubicBezTo>
                  <a:pt x="88663" y="66624"/>
                  <a:pt x="45259" y="67986"/>
                  <a:pt x="0" y="69406"/>
                </a:cubicBezTo>
                <a:cubicBezTo>
                  <a:pt x="6474" y="48167"/>
                  <a:pt x="10658" y="28665"/>
                  <a:pt x="5051" y="7534"/>
                </a:cubicBezTo>
                <a:close/>
              </a:path>
            </a:pathLst>
          </a:custGeom>
          <a:solidFill>
            <a:srgbClr val="FBFCFB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22" name="Free-form: Shape 421">
            <a:extLst>
              <a:ext uri="{FF2B5EF4-FFF2-40B4-BE49-F238E27FC236}">
                <a16:creationId xmlns:a16="http://schemas.microsoft.com/office/drawing/2014/main" id="{9EF2512D-1908-4173-13A8-20E26EB32420}"/>
              </a:ext>
            </a:extLst>
          </p:cNvPr>
          <p:cNvSpPr/>
          <p:nvPr/>
        </p:nvSpPr>
        <p:spPr>
          <a:xfrm>
            <a:off x="8781746" y="4942448"/>
            <a:ext cx="150878" cy="35402"/>
          </a:xfrm>
          <a:custGeom>
            <a:avLst/>
            <a:gdLst>
              <a:gd name="csX0" fmla="*/ 80894 w 165965"/>
              <a:gd name="csY0" fmla="*/ 440 h 38942"/>
              <a:gd name="csX1" fmla="*/ 128629 w 165965"/>
              <a:gd name="csY1" fmla="*/ 5 h 38942"/>
              <a:gd name="csX2" fmla="*/ 155177 w 165965"/>
              <a:gd name="csY2" fmla="*/ 8091 h 38942"/>
              <a:gd name="csX3" fmla="*/ 164213 w 165965"/>
              <a:gd name="csY3" fmla="*/ 17723 h 38942"/>
              <a:gd name="csX4" fmla="*/ 159998 w 165965"/>
              <a:gd name="csY4" fmla="*/ 30717 h 38942"/>
              <a:gd name="csX5" fmla="*/ 146998 w 165965"/>
              <a:gd name="csY5" fmla="*/ 33737 h 38942"/>
              <a:gd name="csX6" fmla="*/ 12439 w 165965"/>
              <a:gd name="csY6" fmla="*/ 38914 h 38942"/>
              <a:gd name="csX7" fmla="*/ 0 w 165965"/>
              <a:gd name="csY7" fmla="*/ 38402 h 38942"/>
              <a:gd name="csX8" fmla="*/ 0 w 165965"/>
              <a:gd name="csY8" fmla="*/ 4598 h 38942"/>
              <a:gd name="csX9" fmla="*/ 80894 w 165965"/>
              <a:gd name="csY9" fmla="*/ 440 h 3894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165965" h="38942">
                <a:moveTo>
                  <a:pt x="80894" y="440"/>
                </a:moveTo>
                <a:cubicBezTo>
                  <a:pt x="97591" y="288"/>
                  <a:pt x="113111" y="227"/>
                  <a:pt x="128629" y="5"/>
                </a:cubicBezTo>
                <a:cubicBezTo>
                  <a:pt x="138376" y="-135"/>
                  <a:pt x="147226" y="2891"/>
                  <a:pt x="155177" y="8091"/>
                </a:cubicBezTo>
                <a:cubicBezTo>
                  <a:pt x="158779" y="10447"/>
                  <a:pt x="161992" y="14009"/>
                  <a:pt x="164213" y="17723"/>
                </a:cubicBezTo>
                <a:cubicBezTo>
                  <a:pt x="167602" y="23390"/>
                  <a:pt x="166013" y="28134"/>
                  <a:pt x="159998" y="30717"/>
                </a:cubicBezTo>
                <a:cubicBezTo>
                  <a:pt x="155963" y="32450"/>
                  <a:pt x="151384" y="33554"/>
                  <a:pt x="146998" y="33737"/>
                </a:cubicBezTo>
                <a:cubicBezTo>
                  <a:pt x="102152" y="35619"/>
                  <a:pt x="57295" y="37279"/>
                  <a:pt x="12439" y="38914"/>
                </a:cubicBezTo>
                <a:cubicBezTo>
                  <a:pt x="8467" y="39059"/>
                  <a:pt x="4472" y="38602"/>
                  <a:pt x="0" y="38402"/>
                </a:cubicBezTo>
                <a:cubicBezTo>
                  <a:pt x="0" y="27166"/>
                  <a:pt x="0" y="16774"/>
                  <a:pt x="0" y="4598"/>
                </a:cubicBezTo>
                <a:cubicBezTo>
                  <a:pt x="27063" y="3194"/>
                  <a:pt x="53389" y="1829"/>
                  <a:pt x="80894" y="440"/>
                </a:cubicBezTo>
                <a:close/>
              </a:path>
            </a:pathLst>
          </a:custGeom>
          <a:solidFill>
            <a:srgbClr val="FBFCFB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23" name="Free-form: Shape 422">
            <a:extLst>
              <a:ext uri="{FF2B5EF4-FFF2-40B4-BE49-F238E27FC236}">
                <a16:creationId xmlns:a16="http://schemas.microsoft.com/office/drawing/2014/main" id="{8E6728F2-21B1-8F06-E493-93F3BAFD9293}"/>
              </a:ext>
            </a:extLst>
          </p:cNvPr>
          <p:cNvSpPr/>
          <p:nvPr/>
        </p:nvSpPr>
        <p:spPr>
          <a:xfrm>
            <a:off x="8765597" y="4381624"/>
            <a:ext cx="39402" cy="42156"/>
          </a:xfrm>
          <a:custGeom>
            <a:avLst/>
            <a:gdLst>
              <a:gd name="csX0" fmla="*/ 40602 w 43343"/>
              <a:gd name="csY0" fmla="*/ 12465 h 46372"/>
              <a:gd name="csX1" fmla="*/ 43214 w 43343"/>
              <a:gd name="csY1" fmla="*/ 21324 h 46372"/>
              <a:gd name="csX2" fmla="*/ 23859 w 43343"/>
              <a:gd name="csY2" fmla="*/ 46319 h 46372"/>
              <a:gd name="csX3" fmla="*/ 5 w 43343"/>
              <a:gd name="csY3" fmla="*/ 23820 h 46372"/>
              <a:gd name="csX4" fmla="*/ 4855 w 43343"/>
              <a:gd name="csY4" fmla="*/ 5679 h 46372"/>
              <a:gd name="csX5" fmla="*/ 40602 w 43343"/>
              <a:gd name="csY5" fmla="*/ 12465 h 4637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</a:cxnLst>
            <a:rect l="l" t="t" r="r" b="b"/>
            <a:pathLst>
              <a:path w="43343" h="46372">
                <a:moveTo>
                  <a:pt x="40602" y="12465"/>
                </a:moveTo>
                <a:cubicBezTo>
                  <a:pt x="41913" y="15811"/>
                  <a:pt x="42933" y="18530"/>
                  <a:pt x="43214" y="21324"/>
                </a:cubicBezTo>
                <a:cubicBezTo>
                  <a:pt x="44519" y="34348"/>
                  <a:pt x="35870" y="45401"/>
                  <a:pt x="23859" y="46319"/>
                </a:cubicBezTo>
                <a:cubicBezTo>
                  <a:pt x="11890" y="47233"/>
                  <a:pt x="-280" y="36371"/>
                  <a:pt x="5" y="23820"/>
                </a:cubicBezTo>
                <a:cubicBezTo>
                  <a:pt x="136" y="18011"/>
                  <a:pt x="2893" y="12263"/>
                  <a:pt x="4855" y="5679"/>
                </a:cubicBezTo>
                <a:cubicBezTo>
                  <a:pt x="20601" y="-3403"/>
                  <a:pt x="28004" y="-1910"/>
                  <a:pt x="40602" y="12465"/>
                </a:cubicBezTo>
                <a:close/>
              </a:path>
            </a:pathLst>
          </a:custGeom>
          <a:solidFill>
            <a:srgbClr val="FBFCFB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24" name="Oval 423">
            <a:extLst>
              <a:ext uri="{FF2B5EF4-FFF2-40B4-BE49-F238E27FC236}">
                <a16:creationId xmlns:a16="http://schemas.microsoft.com/office/drawing/2014/main" id="{3D95F828-1A3C-DEBA-B88D-997BAAFD62D0}"/>
              </a:ext>
            </a:extLst>
          </p:cNvPr>
          <p:cNvSpPr/>
          <p:nvPr/>
        </p:nvSpPr>
        <p:spPr>
          <a:xfrm>
            <a:off x="5989561" y="5714986"/>
            <a:ext cx="717698" cy="104135"/>
          </a:xfrm>
          <a:prstGeom prst="ellipse">
            <a:avLst/>
          </a:prstGeom>
          <a:solidFill>
            <a:schemeClr val="tx1">
              <a:alpha val="6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25" name="Free-form: Shape 424">
            <a:extLst>
              <a:ext uri="{FF2B5EF4-FFF2-40B4-BE49-F238E27FC236}">
                <a16:creationId xmlns:a16="http://schemas.microsoft.com/office/drawing/2014/main" id="{5010D14B-A40C-EE08-1384-FEE27DC1688C}"/>
              </a:ext>
            </a:extLst>
          </p:cNvPr>
          <p:cNvSpPr/>
          <p:nvPr/>
        </p:nvSpPr>
        <p:spPr>
          <a:xfrm flipH="1">
            <a:off x="6123444" y="4289649"/>
            <a:ext cx="557648" cy="1497715"/>
          </a:xfrm>
          <a:custGeom>
            <a:avLst/>
            <a:gdLst>
              <a:gd name="csX0" fmla="*/ 96263 w 729419"/>
              <a:gd name="csY0" fmla="*/ 2076207 h 2076207"/>
              <a:gd name="csX1" fmla="*/ 63862 w 729419"/>
              <a:gd name="csY1" fmla="*/ 2065388 h 2076207"/>
              <a:gd name="csX2" fmla="*/ 16555 w 729419"/>
              <a:gd name="csY2" fmla="*/ 2050152 h 2076207"/>
              <a:gd name="csX3" fmla="*/ 15 w 729419"/>
              <a:gd name="csY3" fmla="*/ 2023802 h 2076207"/>
              <a:gd name="csX4" fmla="*/ 18368 w 729419"/>
              <a:gd name="csY4" fmla="*/ 1940709 h 2076207"/>
              <a:gd name="csX5" fmla="*/ 22139 w 729419"/>
              <a:gd name="csY5" fmla="*/ 1907268 h 2076207"/>
              <a:gd name="csX6" fmla="*/ 57941 w 729419"/>
              <a:gd name="csY6" fmla="*/ 1774163 h 2076207"/>
              <a:gd name="csX7" fmla="*/ 102478 w 729419"/>
              <a:gd name="csY7" fmla="*/ 1720275 h 2076207"/>
              <a:gd name="csX8" fmla="*/ 108579 w 729419"/>
              <a:gd name="csY8" fmla="*/ 1650967 h 2076207"/>
              <a:gd name="csX9" fmla="*/ 115628 w 729419"/>
              <a:gd name="csY9" fmla="*/ 1625405 h 2076207"/>
              <a:gd name="csX10" fmla="*/ 156323 w 729419"/>
              <a:gd name="csY10" fmla="*/ 1560181 h 2076207"/>
              <a:gd name="csX11" fmla="*/ 199424 w 729419"/>
              <a:gd name="csY11" fmla="*/ 1364729 h 2076207"/>
              <a:gd name="csX12" fmla="*/ 216779 w 729419"/>
              <a:gd name="csY12" fmla="*/ 1219490 h 2076207"/>
              <a:gd name="csX13" fmla="*/ 229755 w 729419"/>
              <a:gd name="csY13" fmla="*/ 1099357 h 2076207"/>
              <a:gd name="csX14" fmla="*/ 232707 w 729419"/>
              <a:gd name="csY14" fmla="*/ 1056423 h 2076207"/>
              <a:gd name="csX15" fmla="*/ 235622 w 729419"/>
              <a:gd name="csY15" fmla="*/ 952675 h 2076207"/>
              <a:gd name="csX16" fmla="*/ 235445 w 729419"/>
              <a:gd name="csY16" fmla="*/ 780278 h 2076207"/>
              <a:gd name="csX17" fmla="*/ 214544 w 729419"/>
              <a:gd name="csY17" fmla="*/ 756435 h 2076207"/>
              <a:gd name="csX18" fmla="*/ 172569 w 729419"/>
              <a:gd name="csY18" fmla="*/ 742582 h 2076207"/>
              <a:gd name="csX19" fmla="*/ 168784 w 729419"/>
              <a:gd name="csY19" fmla="*/ 669116 h 2076207"/>
              <a:gd name="csX20" fmla="*/ 191657 w 729419"/>
              <a:gd name="csY20" fmla="*/ 630765 h 2076207"/>
              <a:gd name="csX21" fmla="*/ 208150 w 729419"/>
              <a:gd name="csY21" fmla="*/ 609084 h 2076207"/>
              <a:gd name="csX22" fmla="*/ 216756 w 729419"/>
              <a:gd name="csY22" fmla="*/ 558673 h 2076207"/>
              <a:gd name="csX23" fmla="*/ 209092 w 729419"/>
              <a:gd name="csY23" fmla="*/ 521540 h 2076207"/>
              <a:gd name="csX24" fmla="*/ 204683 w 729419"/>
              <a:gd name="csY24" fmla="*/ 474024 h 2076207"/>
              <a:gd name="csX25" fmla="*/ 115483 w 729419"/>
              <a:gd name="csY25" fmla="*/ 213499 h 2076207"/>
              <a:gd name="csX26" fmla="*/ 102909 w 729419"/>
              <a:gd name="csY26" fmla="*/ 182297 h 2076207"/>
              <a:gd name="csX27" fmla="*/ 104315 w 729419"/>
              <a:gd name="csY27" fmla="*/ 163968 h 2076207"/>
              <a:gd name="csX28" fmla="*/ 122444 w 729419"/>
              <a:gd name="csY28" fmla="*/ 160805 h 2076207"/>
              <a:gd name="csX29" fmla="*/ 170283 w 729419"/>
              <a:gd name="csY29" fmla="*/ 187783 h 2076207"/>
              <a:gd name="csX30" fmla="*/ 180938 w 729419"/>
              <a:gd name="csY30" fmla="*/ 195322 h 2076207"/>
              <a:gd name="csX31" fmla="*/ 221419 w 729419"/>
              <a:gd name="csY31" fmla="*/ 138058 h 2076207"/>
              <a:gd name="csX32" fmla="*/ 294099 w 729419"/>
              <a:gd name="csY32" fmla="*/ 91372 h 2076207"/>
              <a:gd name="csX33" fmla="*/ 302307 w 729419"/>
              <a:gd name="csY33" fmla="*/ 76560 h 2076207"/>
              <a:gd name="csX34" fmla="*/ 320284 w 729419"/>
              <a:gd name="csY34" fmla="*/ 8414 h 2076207"/>
              <a:gd name="csX35" fmla="*/ 324784 w 729419"/>
              <a:gd name="csY35" fmla="*/ 946 h 2076207"/>
              <a:gd name="csX36" fmla="*/ 399212 w 729419"/>
              <a:gd name="csY36" fmla="*/ 0 h 2076207"/>
              <a:gd name="csX37" fmla="*/ 425980 w 729419"/>
              <a:gd name="csY37" fmla="*/ 78301 h 2076207"/>
              <a:gd name="csX38" fmla="*/ 431861 w 729419"/>
              <a:gd name="csY38" fmla="*/ 90312 h 2076207"/>
              <a:gd name="csX39" fmla="*/ 540349 w 729419"/>
              <a:gd name="csY39" fmla="*/ 187946 h 2076207"/>
              <a:gd name="csX40" fmla="*/ 545555 w 729419"/>
              <a:gd name="csY40" fmla="*/ 197828 h 2076207"/>
              <a:gd name="csX41" fmla="*/ 587318 w 729419"/>
              <a:gd name="csY41" fmla="*/ 171260 h 2076207"/>
              <a:gd name="csX42" fmla="*/ 601503 w 729419"/>
              <a:gd name="csY42" fmla="*/ 163707 h 2076207"/>
              <a:gd name="csX43" fmla="*/ 625254 w 729419"/>
              <a:gd name="csY43" fmla="*/ 163123 h 2076207"/>
              <a:gd name="csX44" fmla="*/ 625468 w 729419"/>
              <a:gd name="csY44" fmla="*/ 187579 h 2076207"/>
              <a:gd name="csX45" fmla="*/ 597543 w 729419"/>
              <a:gd name="csY45" fmla="*/ 251872 h 2076207"/>
              <a:gd name="csX46" fmla="*/ 531831 w 729419"/>
              <a:gd name="csY46" fmla="*/ 442689 h 2076207"/>
              <a:gd name="csX47" fmla="*/ 519888 w 729419"/>
              <a:gd name="csY47" fmla="*/ 501474 h 2076207"/>
              <a:gd name="csX48" fmla="*/ 522506 w 729419"/>
              <a:gd name="csY48" fmla="*/ 525086 h 2076207"/>
              <a:gd name="csX49" fmla="*/ 516235 w 729419"/>
              <a:gd name="csY49" fmla="*/ 555946 h 2076207"/>
              <a:gd name="csX50" fmla="*/ 521332 w 729419"/>
              <a:gd name="csY50" fmla="*/ 610676 h 2076207"/>
              <a:gd name="csX51" fmla="*/ 541382 w 729419"/>
              <a:gd name="csY51" fmla="*/ 642597 h 2076207"/>
              <a:gd name="csX52" fmla="*/ 557031 w 729419"/>
              <a:gd name="csY52" fmla="*/ 667949 h 2076207"/>
              <a:gd name="csX53" fmla="*/ 553994 w 729419"/>
              <a:gd name="csY53" fmla="*/ 744146 h 2076207"/>
              <a:gd name="csX54" fmla="*/ 508215 w 729419"/>
              <a:gd name="csY54" fmla="*/ 758841 h 2076207"/>
              <a:gd name="csX55" fmla="*/ 497442 w 729419"/>
              <a:gd name="csY55" fmla="*/ 771256 h 2076207"/>
              <a:gd name="csX56" fmla="*/ 493005 w 729419"/>
              <a:gd name="csY56" fmla="*/ 922055 h 2076207"/>
              <a:gd name="csX57" fmla="*/ 502900 w 729419"/>
              <a:gd name="csY57" fmla="*/ 1114191 h 2076207"/>
              <a:gd name="csX58" fmla="*/ 508800 w 729419"/>
              <a:gd name="csY58" fmla="*/ 1205474 h 2076207"/>
              <a:gd name="csX59" fmla="*/ 522952 w 729419"/>
              <a:gd name="csY59" fmla="*/ 1320065 h 2076207"/>
              <a:gd name="csX60" fmla="*/ 554682 w 729419"/>
              <a:gd name="csY60" fmla="*/ 1501203 h 2076207"/>
              <a:gd name="csX61" fmla="*/ 576958 w 729419"/>
              <a:gd name="csY61" fmla="*/ 1593963 h 2076207"/>
              <a:gd name="csX62" fmla="*/ 595349 w 729419"/>
              <a:gd name="csY62" fmla="*/ 1613498 h 2076207"/>
              <a:gd name="csX63" fmla="*/ 613936 w 729419"/>
              <a:gd name="csY63" fmla="*/ 1624058 h 2076207"/>
              <a:gd name="csX64" fmla="*/ 620938 w 729419"/>
              <a:gd name="csY64" fmla="*/ 1652071 h 2076207"/>
              <a:gd name="csX65" fmla="*/ 630805 w 729419"/>
              <a:gd name="csY65" fmla="*/ 1721702 h 2076207"/>
              <a:gd name="csX66" fmla="*/ 685830 w 729419"/>
              <a:gd name="csY66" fmla="*/ 1792915 h 2076207"/>
              <a:gd name="csX67" fmla="*/ 708904 w 729419"/>
              <a:gd name="csY67" fmla="*/ 1890290 h 2076207"/>
              <a:gd name="csX68" fmla="*/ 716580 w 729419"/>
              <a:gd name="csY68" fmla="*/ 1951136 h 2076207"/>
              <a:gd name="csX69" fmla="*/ 729397 w 729419"/>
              <a:gd name="csY69" fmla="*/ 2030261 h 2076207"/>
              <a:gd name="csX70" fmla="*/ 714212 w 729419"/>
              <a:gd name="csY70" fmla="*/ 2049544 h 2076207"/>
              <a:gd name="csX71" fmla="*/ 645428 w 729419"/>
              <a:gd name="csY71" fmla="*/ 2070825 h 2076207"/>
              <a:gd name="csX72" fmla="*/ 635822 w 729419"/>
              <a:gd name="csY72" fmla="*/ 2075145 h 2076207"/>
              <a:gd name="csX73" fmla="*/ 588428 w 729419"/>
              <a:gd name="csY73" fmla="*/ 2075144 h 2076207"/>
              <a:gd name="csX74" fmla="*/ 590041 w 729419"/>
              <a:gd name="csY74" fmla="*/ 2071383 h 2076207"/>
              <a:gd name="csX75" fmla="*/ 667788 w 729419"/>
              <a:gd name="csY75" fmla="*/ 2056852 h 2076207"/>
              <a:gd name="csX76" fmla="*/ 706629 w 729419"/>
              <a:gd name="csY76" fmla="*/ 2044290 h 2076207"/>
              <a:gd name="csX77" fmla="*/ 702674 w 729419"/>
              <a:gd name="csY77" fmla="*/ 2041581 h 2076207"/>
              <a:gd name="csX78" fmla="*/ 544974 w 729419"/>
              <a:gd name="csY78" fmla="*/ 2071274 h 2076207"/>
              <a:gd name="csX79" fmla="*/ 538352 w 729419"/>
              <a:gd name="csY79" fmla="*/ 2076207 h 2076207"/>
              <a:gd name="csX80" fmla="*/ 96263 w 729419"/>
              <a:gd name="csY80" fmla="*/ 2076207 h 2076207"/>
              <a:gd name="csX81" fmla="*/ 489970 w 729419"/>
              <a:gd name="csY81" fmla="*/ 152208 h 2076207"/>
              <a:gd name="csX82" fmla="*/ 490754 w 729419"/>
              <a:gd name="csY82" fmla="*/ 152592 h 2076207"/>
              <a:gd name="csX83" fmla="*/ 489489 w 729419"/>
              <a:gd name="csY83" fmla="*/ 149547 h 2076207"/>
              <a:gd name="csX84" fmla="*/ 393621 w 729419"/>
              <a:gd name="csY84" fmla="*/ 99259 h 2076207"/>
              <a:gd name="csX85" fmla="*/ 390419 w 729419"/>
              <a:gd name="csY85" fmla="*/ 18568 h 2076207"/>
              <a:gd name="csX86" fmla="*/ 334131 w 729419"/>
              <a:gd name="csY86" fmla="*/ 24327 h 2076207"/>
              <a:gd name="csX87" fmla="*/ 344678 w 729419"/>
              <a:gd name="csY87" fmla="*/ 101259 h 2076207"/>
              <a:gd name="csX88" fmla="*/ 298854 w 729419"/>
              <a:gd name="csY88" fmla="*/ 114003 h 2076207"/>
              <a:gd name="csX89" fmla="*/ 237456 w 729419"/>
              <a:gd name="csY89" fmla="*/ 154340 h 2076207"/>
              <a:gd name="csX90" fmla="*/ 240382 w 729419"/>
              <a:gd name="csY90" fmla="*/ 154035 h 2076207"/>
              <a:gd name="csX91" fmla="*/ 262731 w 729419"/>
              <a:gd name="csY91" fmla="*/ 170426 h 2076207"/>
              <a:gd name="csX92" fmla="*/ 279169 w 729419"/>
              <a:gd name="csY92" fmla="*/ 193173 h 2076207"/>
              <a:gd name="csX93" fmla="*/ 327717 w 729419"/>
              <a:gd name="csY93" fmla="*/ 188556 h 2076207"/>
              <a:gd name="csX94" fmla="*/ 348052 w 729419"/>
              <a:gd name="csY94" fmla="*/ 156919 h 2076207"/>
              <a:gd name="csX95" fmla="*/ 380330 w 729419"/>
              <a:gd name="csY95" fmla="*/ 156483 h 2076207"/>
              <a:gd name="csX96" fmla="*/ 408490 w 729419"/>
              <a:gd name="csY96" fmla="*/ 195400 h 2076207"/>
              <a:gd name="csX97" fmla="*/ 445346 w 729419"/>
              <a:gd name="csY97" fmla="*/ 197582 h 2076207"/>
              <a:gd name="csX98" fmla="*/ 464798 w 729419"/>
              <a:gd name="csY98" fmla="*/ 174107 h 2076207"/>
              <a:gd name="csX99" fmla="*/ 489970 w 729419"/>
              <a:gd name="csY99" fmla="*/ 152208 h 2076207"/>
              <a:gd name="csX100" fmla="*/ 140694 w 729419"/>
              <a:gd name="csY100" fmla="*/ 201837 h 2076207"/>
              <a:gd name="csX101" fmla="*/ 139834 w 729419"/>
              <a:gd name="csY101" fmla="*/ 201482 h 2076207"/>
              <a:gd name="csX102" fmla="*/ 140812 w 729419"/>
              <a:gd name="csY102" fmla="*/ 204941 h 2076207"/>
              <a:gd name="csX103" fmla="*/ 144631 w 729419"/>
              <a:gd name="csY103" fmla="*/ 217811 h 2076207"/>
              <a:gd name="csX104" fmla="*/ 201241 w 729419"/>
              <a:gd name="csY104" fmla="*/ 373387 h 2076207"/>
              <a:gd name="csX105" fmla="*/ 235971 w 729419"/>
              <a:gd name="csY105" fmla="*/ 504451 h 2076207"/>
              <a:gd name="csX106" fmla="*/ 247475 w 729419"/>
              <a:gd name="csY106" fmla="*/ 513241 h 2076207"/>
              <a:gd name="csX107" fmla="*/ 289066 w 729419"/>
              <a:gd name="csY107" fmla="*/ 511170 h 2076207"/>
              <a:gd name="csX108" fmla="*/ 378229 w 729419"/>
              <a:gd name="csY108" fmla="*/ 511084 h 2076207"/>
              <a:gd name="csX109" fmla="*/ 470850 w 729419"/>
              <a:gd name="csY109" fmla="*/ 516341 h 2076207"/>
              <a:gd name="csX110" fmla="*/ 492933 w 729419"/>
              <a:gd name="csY110" fmla="*/ 497969 h 2076207"/>
              <a:gd name="csX111" fmla="*/ 557617 w 729419"/>
              <a:gd name="csY111" fmla="*/ 280398 h 2076207"/>
              <a:gd name="csX112" fmla="*/ 588788 w 729419"/>
              <a:gd name="csY112" fmla="*/ 200385 h 2076207"/>
              <a:gd name="csX113" fmla="*/ 530958 w 729419"/>
              <a:gd name="csY113" fmla="*/ 232968 h 2076207"/>
              <a:gd name="csX114" fmla="*/ 483823 w 729419"/>
              <a:gd name="csY114" fmla="*/ 190364 h 2076207"/>
              <a:gd name="csX115" fmla="*/ 466649 w 729419"/>
              <a:gd name="csY115" fmla="*/ 209061 h 2076207"/>
              <a:gd name="csX116" fmla="*/ 399941 w 729419"/>
              <a:gd name="csY116" fmla="*/ 216988 h 2076207"/>
              <a:gd name="csX117" fmla="*/ 363018 w 729419"/>
              <a:gd name="csY117" fmla="*/ 179615 h 2076207"/>
              <a:gd name="csX118" fmla="*/ 308839 w 729419"/>
              <a:gd name="csY118" fmla="*/ 227846 h 2076207"/>
              <a:gd name="csX119" fmla="*/ 245077 w 729419"/>
              <a:gd name="csY119" fmla="*/ 192402 h 2076207"/>
              <a:gd name="csX120" fmla="*/ 242829 w 729419"/>
              <a:gd name="csY120" fmla="*/ 198815 h 2076207"/>
              <a:gd name="csX121" fmla="*/ 168452 w 729419"/>
              <a:gd name="csY121" fmla="*/ 219348 h 2076207"/>
              <a:gd name="csX122" fmla="*/ 140694 w 729419"/>
              <a:gd name="csY122" fmla="*/ 201837 h 2076207"/>
              <a:gd name="csX123" fmla="*/ 259999 w 729419"/>
              <a:gd name="csY123" fmla="*/ 966699 h 2076207"/>
              <a:gd name="csX124" fmla="*/ 257072 w 729419"/>
              <a:gd name="csY124" fmla="*/ 1070424 h 2076207"/>
              <a:gd name="csX125" fmla="*/ 251372 w 729419"/>
              <a:gd name="csY125" fmla="*/ 1157618 h 2076207"/>
              <a:gd name="csX126" fmla="*/ 232677 w 729419"/>
              <a:gd name="csY126" fmla="*/ 1320279 h 2076207"/>
              <a:gd name="csX127" fmla="*/ 209182 w 729419"/>
              <a:gd name="csY127" fmla="*/ 1468667 h 2076207"/>
              <a:gd name="csX128" fmla="*/ 175302 w 729419"/>
              <a:gd name="csY128" fmla="*/ 1616623 h 2076207"/>
              <a:gd name="csX129" fmla="*/ 182769 w 729419"/>
              <a:gd name="csY129" fmla="*/ 1629786 h 2076207"/>
              <a:gd name="csX130" fmla="*/ 212156 w 729419"/>
              <a:gd name="csY130" fmla="*/ 1632656 h 2076207"/>
              <a:gd name="csX131" fmla="*/ 351295 w 729419"/>
              <a:gd name="csY131" fmla="*/ 1632801 h 2076207"/>
              <a:gd name="csX132" fmla="*/ 376150 w 729419"/>
              <a:gd name="csY132" fmla="*/ 1608307 h 2076207"/>
              <a:gd name="csX133" fmla="*/ 373450 w 729419"/>
              <a:gd name="csY133" fmla="*/ 1457291 h 2076207"/>
              <a:gd name="csX134" fmla="*/ 370936 w 729419"/>
              <a:gd name="csY134" fmla="*/ 1342736 h 2076207"/>
              <a:gd name="csX135" fmla="*/ 368328 w 729419"/>
              <a:gd name="csY135" fmla="*/ 1203878 h 2076207"/>
              <a:gd name="csX136" fmla="*/ 367836 w 729419"/>
              <a:gd name="csY136" fmla="*/ 813478 h 2076207"/>
              <a:gd name="csX137" fmla="*/ 365240 w 729419"/>
              <a:gd name="csY137" fmla="*/ 773243 h 2076207"/>
              <a:gd name="csX138" fmla="*/ 353084 w 729419"/>
              <a:gd name="csY138" fmla="*/ 762083 h 2076207"/>
              <a:gd name="csX139" fmla="*/ 280966 w 729419"/>
              <a:gd name="csY139" fmla="*/ 759855 h 2076207"/>
              <a:gd name="csX140" fmla="*/ 259965 w 729419"/>
              <a:gd name="csY140" fmla="*/ 779553 h 2076207"/>
              <a:gd name="csX141" fmla="*/ 262341 w 729419"/>
              <a:gd name="csY141" fmla="*/ 856275 h 2076207"/>
              <a:gd name="csX142" fmla="*/ 259999 w 729419"/>
              <a:gd name="csY142" fmla="*/ 966699 h 2076207"/>
              <a:gd name="csX143" fmla="*/ 55556 w 729419"/>
              <a:gd name="csY143" fmla="*/ 1835827 h 2076207"/>
              <a:gd name="csX144" fmla="*/ 49393 w 729419"/>
              <a:gd name="csY144" fmla="*/ 1878155 h 2076207"/>
              <a:gd name="csX145" fmla="*/ 73949 w 729419"/>
              <a:gd name="csY145" fmla="*/ 1905781 h 2076207"/>
              <a:gd name="csX146" fmla="*/ 110073 w 729419"/>
              <a:gd name="csY146" fmla="*/ 1909068 h 2076207"/>
              <a:gd name="csX147" fmla="*/ 224745 w 729419"/>
              <a:gd name="csY147" fmla="*/ 1921652 h 2076207"/>
              <a:gd name="csX148" fmla="*/ 347327 w 729419"/>
              <a:gd name="csY148" fmla="*/ 1924778 h 2076207"/>
              <a:gd name="csX149" fmla="*/ 363345 w 729419"/>
              <a:gd name="csY149" fmla="*/ 1923293 h 2076207"/>
              <a:gd name="csX150" fmla="*/ 373787 w 729419"/>
              <a:gd name="csY150" fmla="*/ 1911200 h 2076207"/>
              <a:gd name="csX151" fmla="*/ 376623 w 729419"/>
              <a:gd name="csY151" fmla="*/ 1696741 h 2076207"/>
              <a:gd name="csX152" fmla="*/ 360437 w 729419"/>
              <a:gd name="csY152" fmla="*/ 1681289 h 2076207"/>
              <a:gd name="csX153" fmla="*/ 263503 w 729419"/>
              <a:gd name="csY153" fmla="*/ 1678179 h 2076207"/>
              <a:gd name="csX154" fmla="*/ 160381 w 729419"/>
              <a:gd name="csY154" fmla="*/ 1670405 h 2076207"/>
              <a:gd name="csX155" fmla="*/ 143321 w 729419"/>
              <a:gd name="csY155" fmla="*/ 1685538 h 2076207"/>
              <a:gd name="csX156" fmla="*/ 124769 w 729419"/>
              <a:gd name="csY156" fmla="*/ 1738195 h 2076207"/>
              <a:gd name="csX157" fmla="*/ 90593 w 729419"/>
              <a:gd name="csY157" fmla="*/ 1779570 h 2076207"/>
              <a:gd name="csX158" fmla="*/ 55556 w 729419"/>
              <a:gd name="csY158" fmla="*/ 1835827 h 2076207"/>
              <a:gd name="csX159" fmla="*/ 378900 w 729419"/>
              <a:gd name="csY159" fmla="*/ 2007280 h 2076207"/>
              <a:gd name="csX160" fmla="*/ 378887 w 729419"/>
              <a:gd name="csY160" fmla="*/ 1995127 h 2076207"/>
              <a:gd name="csX161" fmla="*/ 359084 w 729419"/>
              <a:gd name="csY161" fmla="*/ 1975964 h 2076207"/>
              <a:gd name="csX162" fmla="*/ 247288 w 729419"/>
              <a:gd name="csY162" fmla="*/ 1973305 h 2076207"/>
              <a:gd name="csX163" fmla="*/ 201692 w 729419"/>
              <a:gd name="csY163" fmla="*/ 1970275 h 2076207"/>
              <a:gd name="csX164" fmla="*/ 57962 w 729419"/>
              <a:gd name="csY164" fmla="*/ 1952648 h 2076207"/>
              <a:gd name="csX165" fmla="*/ 39194 w 729419"/>
              <a:gd name="csY165" fmla="*/ 1963552 h 2076207"/>
              <a:gd name="csX166" fmla="*/ 30066 w 729419"/>
              <a:gd name="csY166" fmla="*/ 2006631 h 2076207"/>
              <a:gd name="csX167" fmla="*/ 40232 w 729419"/>
              <a:gd name="csY167" fmla="*/ 2019486 h 2076207"/>
              <a:gd name="csX168" fmla="*/ 238186 w 729419"/>
              <a:gd name="csY168" fmla="*/ 2046096 h 2076207"/>
              <a:gd name="csX169" fmla="*/ 342155 w 729419"/>
              <a:gd name="csY169" fmla="*/ 2046441 h 2076207"/>
              <a:gd name="csX170" fmla="*/ 378900 w 729419"/>
              <a:gd name="csY170" fmla="*/ 2007280 h 2076207"/>
              <a:gd name="csX171" fmla="*/ 310220 w 729419"/>
              <a:gd name="csY171" fmla="*/ 554288 h 2076207"/>
              <a:gd name="csX172" fmla="*/ 259136 w 729419"/>
              <a:gd name="csY172" fmla="*/ 556881 h 2076207"/>
              <a:gd name="csX173" fmla="*/ 249085 w 729419"/>
              <a:gd name="csY173" fmla="*/ 567981 h 2076207"/>
              <a:gd name="csX174" fmla="*/ 249141 w 729419"/>
              <a:gd name="csY174" fmla="*/ 605644 h 2076207"/>
              <a:gd name="csX175" fmla="*/ 262628 w 729419"/>
              <a:gd name="csY175" fmla="*/ 605627 h 2076207"/>
              <a:gd name="csX176" fmla="*/ 369608 w 729419"/>
              <a:gd name="csY176" fmla="*/ 603027 h 2076207"/>
              <a:gd name="csX177" fmla="*/ 463931 w 729419"/>
              <a:gd name="csY177" fmla="*/ 605146 h 2076207"/>
              <a:gd name="csX178" fmla="*/ 478113 w 729419"/>
              <a:gd name="csY178" fmla="*/ 595843 h 2076207"/>
              <a:gd name="csX179" fmla="*/ 478796 w 729419"/>
              <a:gd name="csY179" fmla="*/ 556832 h 2076207"/>
              <a:gd name="csX180" fmla="*/ 310220 w 729419"/>
              <a:gd name="csY180" fmla="*/ 554288 h 2076207"/>
              <a:gd name="csX181" fmla="*/ 348836 w 729419"/>
              <a:gd name="csY181" fmla="*/ 684115 h 2076207"/>
              <a:gd name="csX182" fmla="*/ 281333 w 729419"/>
              <a:gd name="csY182" fmla="*/ 683313 h 2076207"/>
              <a:gd name="csX183" fmla="*/ 212728 w 729419"/>
              <a:gd name="csY183" fmla="*/ 681931 h 2076207"/>
              <a:gd name="csX184" fmla="*/ 187283 w 729419"/>
              <a:gd name="csY184" fmla="*/ 689555 h 2076207"/>
              <a:gd name="csX185" fmla="*/ 186163 w 729419"/>
              <a:gd name="csY185" fmla="*/ 718266 h 2076207"/>
              <a:gd name="csX186" fmla="*/ 209894 w 729419"/>
              <a:gd name="csY186" fmla="*/ 726798 h 2076207"/>
              <a:gd name="csX187" fmla="*/ 334814 w 729419"/>
              <a:gd name="csY187" fmla="*/ 732494 h 2076207"/>
              <a:gd name="csX188" fmla="*/ 364856 w 729419"/>
              <a:gd name="csY188" fmla="*/ 707963 h 2076207"/>
              <a:gd name="csX189" fmla="*/ 348836 w 729419"/>
              <a:gd name="csY189" fmla="*/ 684115 h 2076207"/>
              <a:gd name="csX190" fmla="*/ 298865 w 729419"/>
              <a:gd name="csY190" fmla="*/ 621954 h 2076207"/>
              <a:gd name="csX191" fmla="*/ 251619 w 729419"/>
              <a:gd name="csY191" fmla="*/ 622133 h 2076207"/>
              <a:gd name="csX192" fmla="*/ 214459 w 729419"/>
              <a:gd name="csY192" fmla="*/ 636230 h 2076207"/>
              <a:gd name="csX193" fmla="*/ 221436 w 729419"/>
              <a:gd name="csY193" fmla="*/ 654205 h 2076207"/>
              <a:gd name="csX194" fmla="*/ 272412 w 729419"/>
              <a:gd name="csY194" fmla="*/ 657250 h 2076207"/>
              <a:gd name="csX195" fmla="*/ 349094 w 729419"/>
              <a:gd name="csY195" fmla="*/ 659282 h 2076207"/>
              <a:gd name="csX196" fmla="*/ 362996 w 729419"/>
              <a:gd name="csY196" fmla="*/ 644234 h 2076207"/>
              <a:gd name="csX197" fmla="*/ 348472 w 729419"/>
              <a:gd name="csY197" fmla="*/ 624649 h 2076207"/>
              <a:gd name="csX198" fmla="*/ 298865 w 729419"/>
              <a:gd name="csY198" fmla="*/ 621954 h 2076207"/>
              <a:gd name="csX199" fmla="*/ 227796 w 729419"/>
              <a:gd name="csY199" fmla="*/ 528000 h 2076207"/>
              <a:gd name="csX200" fmla="*/ 241009 w 729419"/>
              <a:gd name="csY200" fmla="*/ 545897 h 2076207"/>
              <a:gd name="csX201" fmla="*/ 282607 w 729419"/>
              <a:gd name="csY201" fmla="*/ 543480 h 2076207"/>
              <a:gd name="csX202" fmla="*/ 354213 w 729419"/>
              <a:gd name="csY202" fmla="*/ 543384 h 2076207"/>
              <a:gd name="csX203" fmla="*/ 365334 w 729419"/>
              <a:gd name="csY203" fmla="*/ 533397 h 2076207"/>
              <a:gd name="csX204" fmla="*/ 354531 w 729419"/>
              <a:gd name="csY204" fmla="*/ 521620 h 2076207"/>
              <a:gd name="csX205" fmla="*/ 259169 w 729419"/>
              <a:gd name="csY205" fmla="*/ 521978 h 2076207"/>
              <a:gd name="csX206" fmla="*/ 227796 w 729419"/>
              <a:gd name="csY206" fmla="*/ 528000 h 2076207"/>
              <a:gd name="csX207" fmla="*/ 508068 w 729419"/>
              <a:gd name="csY207" fmla="*/ 190710 h 2076207"/>
              <a:gd name="csX208" fmla="*/ 521293 w 729419"/>
              <a:gd name="csY208" fmla="*/ 205907 h 2076207"/>
              <a:gd name="csX209" fmla="*/ 525175 w 729419"/>
              <a:gd name="csY209" fmla="*/ 202985 h 2076207"/>
              <a:gd name="csX210" fmla="*/ 500276 w 729419"/>
              <a:gd name="csY210" fmla="*/ 160640 h 2076207"/>
              <a:gd name="csX211" fmla="*/ 497122 w 729419"/>
              <a:gd name="csY211" fmla="*/ 162007 h 2076207"/>
              <a:gd name="csX212" fmla="*/ 508068 w 729419"/>
              <a:gd name="csY212" fmla="*/ 190710 h 2076207"/>
              <a:gd name="csX213" fmla="*/ 215522 w 729419"/>
              <a:gd name="csY213" fmla="*/ 197296 h 2076207"/>
              <a:gd name="csX214" fmla="*/ 234029 w 729419"/>
              <a:gd name="csY214" fmla="*/ 162725 h 2076207"/>
              <a:gd name="csX215" fmla="*/ 229000 w 729419"/>
              <a:gd name="csY215" fmla="*/ 159902 h 2076207"/>
              <a:gd name="csX216" fmla="*/ 204824 w 729419"/>
              <a:gd name="csY216" fmla="*/ 199677 h 2076207"/>
              <a:gd name="csX217" fmla="*/ 207990 w 729419"/>
              <a:gd name="csY217" fmla="*/ 202198 h 2076207"/>
              <a:gd name="csX218" fmla="*/ 215522 w 729419"/>
              <a:gd name="csY218" fmla="*/ 197296 h 2076207"/>
              <a:gd name="csX219" fmla="*/ 484400 w 729419"/>
              <a:gd name="csY219" fmla="*/ 863693 h 2076207"/>
              <a:gd name="csX220" fmla="*/ 484400 w 729419"/>
              <a:gd name="csY220" fmla="*/ 896678 h 2076207"/>
              <a:gd name="csX221" fmla="*/ 486181 w 729419"/>
              <a:gd name="csY221" fmla="*/ 896585 h 2076207"/>
              <a:gd name="csX222" fmla="*/ 486181 w 729419"/>
              <a:gd name="csY222" fmla="*/ 795289 h 2076207"/>
              <a:gd name="csX223" fmla="*/ 484406 w 729419"/>
              <a:gd name="csY223" fmla="*/ 795283 h 2076207"/>
              <a:gd name="csX224" fmla="*/ 484400 w 729419"/>
              <a:gd name="csY224" fmla="*/ 863693 h 2076207"/>
              <a:gd name="csX225" fmla="*/ 720241 w 729419"/>
              <a:gd name="csY225" fmla="*/ 2030666 h 2076207"/>
              <a:gd name="csX226" fmla="*/ 721175 w 729419"/>
              <a:gd name="csY226" fmla="*/ 2029733 h 2076207"/>
              <a:gd name="csX227" fmla="*/ 720241 w 729419"/>
              <a:gd name="csY227" fmla="*/ 2030666 h 2076207"/>
              <a:gd name="csX228" fmla="*/ 715702 w 729419"/>
              <a:gd name="csY228" fmla="*/ 2037051 h 2076207"/>
              <a:gd name="csX229" fmla="*/ 715702 w 729419"/>
              <a:gd name="csY229" fmla="*/ 2037051 h 2076207"/>
              <a:gd name="csX230" fmla="*/ 709953 w 729419"/>
              <a:gd name="csY230" fmla="*/ 2040017 h 2076207"/>
              <a:gd name="csX231" fmla="*/ 710209 w 729419"/>
              <a:gd name="csY231" fmla="*/ 2039597 h 2076207"/>
              <a:gd name="csX232" fmla="*/ 709953 w 729419"/>
              <a:gd name="csY232" fmla="*/ 2040017 h 2076207"/>
              <a:gd name="csX0" fmla="*/ 96263 w 729419"/>
              <a:gd name="csY0" fmla="*/ 2076207 h 2076207"/>
              <a:gd name="csX1" fmla="*/ 63862 w 729419"/>
              <a:gd name="csY1" fmla="*/ 2065388 h 2076207"/>
              <a:gd name="csX2" fmla="*/ 16555 w 729419"/>
              <a:gd name="csY2" fmla="*/ 2050152 h 2076207"/>
              <a:gd name="csX3" fmla="*/ 15 w 729419"/>
              <a:gd name="csY3" fmla="*/ 2023802 h 2076207"/>
              <a:gd name="csX4" fmla="*/ 18368 w 729419"/>
              <a:gd name="csY4" fmla="*/ 1940709 h 2076207"/>
              <a:gd name="csX5" fmla="*/ 22139 w 729419"/>
              <a:gd name="csY5" fmla="*/ 1907268 h 2076207"/>
              <a:gd name="csX6" fmla="*/ 57941 w 729419"/>
              <a:gd name="csY6" fmla="*/ 1774163 h 2076207"/>
              <a:gd name="csX7" fmla="*/ 102478 w 729419"/>
              <a:gd name="csY7" fmla="*/ 1720275 h 2076207"/>
              <a:gd name="csX8" fmla="*/ 108579 w 729419"/>
              <a:gd name="csY8" fmla="*/ 1650967 h 2076207"/>
              <a:gd name="csX9" fmla="*/ 115628 w 729419"/>
              <a:gd name="csY9" fmla="*/ 1625405 h 2076207"/>
              <a:gd name="csX10" fmla="*/ 156323 w 729419"/>
              <a:gd name="csY10" fmla="*/ 1560181 h 2076207"/>
              <a:gd name="csX11" fmla="*/ 199424 w 729419"/>
              <a:gd name="csY11" fmla="*/ 1364729 h 2076207"/>
              <a:gd name="csX12" fmla="*/ 216779 w 729419"/>
              <a:gd name="csY12" fmla="*/ 1219490 h 2076207"/>
              <a:gd name="csX13" fmla="*/ 229755 w 729419"/>
              <a:gd name="csY13" fmla="*/ 1099357 h 2076207"/>
              <a:gd name="csX14" fmla="*/ 232707 w 729419"/>
              <a:gd name="csY14" fmla="*/ 1056423 h 2076207"/>
              <a:gd name="csX15" fmla="*/ 235622 w 729419"/>
              <a:gd name="csY15" fmla="*/ 952675 h 2076207"/>
              <a:gd name="csX16" fmla="*/ 235445 w 729419"/>
              <a:gd name="csY16" fmla="*/ 780278 h 2076207"/>
              <a:gd name="csX17" fmla="*/ 214544 w 729419"/>
              <a:gd name="csY17" fmla="*/ 756435 h 2076207"/>
              <a:gd name="csX18" fmla="*/ 172569 w 729419"/>
              <a:gd name="csY18" fmla="*/ 742582 h 2076207"/>
              <a:gd name="csX19" fmla="*/ 168784 w 729419"/>
              <a:gd name="csY19" fmla="*/ 669116 h 2076207"/>
              <a:gd name="csX20" fmla="*/ 191657 w 729419"/>
              <a:gd name="csY20" fmla="*/ 630765 h 2076207"/>
              <a:gd name="csX21" fmla="*/ 208150 w 729419"/>
              <a:gd name="csY21" fmla="*/ 609084 h 2076207"/>
              <a:gd name="csX22" fmla="*/ 216756 w 729419"/>
              <a:gd name="csY22" fmla="*/ 558673 h 2076207"/>
              <a:gd name="csX23" fmla="*/ 209092 w 729419"/>
              <a:gd name="csY23" fmla="*/ 521540 h 2076207"/>
              <a:gd name="csX24" fmla="*/ 204683 w 729419"/>
              <a:gd name="csY24" fmla="*/ 474024 h 2076207"/>
              <a:gd name="csX25" fmla="*/ 115483 w 729419"/>
              <a:gd name="csY25" fmla="*/ 213499 h 2076207"/>
              <a:gd name="csX26" fmla="*/ 102909 w 729419"/>
              <a:gd name="csY26" fmla="*/ 182297 h 2076207"/>
              <a:gd name="csX27" fmla="*/ 104315 w 729419"/>
              <a:gd name="csY27" fmla="*/ 163968 h 2076207"/>
              <a:gd name="csX28" fmla="*/ 122444 w 729419"/>
              <a:gd name="csY28" fmla="*/ 160805 h 2076207"/>
              <a:gd name="csX29" fmla="*/ 170283 w 729419"/>
              <a:gd name="csY29" fmla="*/ 187783 h 2076207"/>
              <a:gd name="csX30" fmla="*/ 180938 w 729419"/>
              <a:gd name="csY30" fmla="*/ 195322 h 2076207"/>
              <a:gd name="csX31" fmla="*/ 221419 w 729419"/>
              <a:gd name="csY31" fmla="*/ 138058 h 2076207"/>
              <a:gd name="csX32" fmla="*/ 294099 w 729419"/>
              <a:gd name="csY32" fmla="*/ 91372 h 2076207"/>
              <a:gd name="csX33" fmla="*/ 302307 w 729419"/>
              <a:gd name="csY33" fmla="*/ 76560 h 2076207"/>
              <a:gd name="csX34" fmla="*/ 320284 w 729419"/>
              <a:gd name="csY34" fmla="*/ 8414 h 2076207"/>
              <a:gd name="csX35" fmla="*/ 324784 w 729419"/>
              <a:gd name="csY35" fmla="*/ 946 h 2076207"/>
              <a:gd name="csX36" fmla="*/ 399212 w 729419"/>
              <a:gd name="csY36" fmla="*/ 0 h 2076207"/>
              <a:gd name="csX37" fmla="*/ 425980 w 729419"/>
              <a:gd name="csY37" fmla="*/ 78301 h 2076207"/>
              <a:gd name="csX38" fmla="*/ 431861 w 729419"/>
              <a:gd name="csY38" fmla="*/ 90312 h 2076207"/>
              <a:gd name="csX39" fmla="*/ 540349 w 729419"/>
              <a:gd name="csY39" fmla="*/ 187946 h 2076207"/>
              <a:gd name="csX40" fmla="*/ 545555 w 729419"/>
              <a:gd name="csY40" fmla="*/ 197828 h 2076207"/>
              <a:gd name="csX41" fmla="*/ 587318 w 729419"/>
              <a:gd name="csY41" fmla="*/ 171260 h 2076207"/>
              <a:gd name="csX42" fmla="*/ 601503 w 729419"/>
              <a:gd name="csY42" fmla="*/ 163707 h 2076207"/>
              <a:gd name="csX43" fmla="*/ 625254 w 729419"/>
              <a:gd name="csY43" fmla="*/ 163123 h 2076207"/>
              <a:gd name="csX44" fmla="*/ 625468 w 729419"/>
              <a:gd name="csY44" fmla="*/ 187579 h 2076207"/>
              <a:gd name="csX45" fmla="*/ 597543 w 729419"/>
              <a:gd name="csY45" fmla="*/ 251872 h 2076207"/>
              <a:gd name="csX46" fmla="*/ 531831 w 729419"/>
              <a:gd name="csY46" fmla="*/ 442689 h 2076207"/>
              <a:gd name="csX47" fmla="*/ 519888 w 729419"/>
              <a:gd name="csY47" fmla="*/ 501474 h 2076207"/>
              <a:gd name="csX48" fmla="*/ 522506 w 729419"/>
              <a:gd name="csY48" fmla="*/ 525086 h 2076207"/>
              <a:gd name="csX49" fmla="*/ 516235 w 729419"/>
              <a:gd name="csY49" fmla="*/ 555946 h 2076207"/>
              <a:gd name="csX50" fmla="*/ 521332 w 729419"/>
              <a:gd name="csY50" fmla="*/ 610676 h 2076207"/>
              <a:gd name="csX51" fmla="*/ 541382 w 729419"/>
              <a:gd name="csY51" fmla="*/ 642597 h 2076207"/>
              <a:gd name="csX52" fmla="*/ 557031 w 729419"/>
              <a:gd name="csY52" fmla="*/ 667949 h 2076207"/>
              <a:gd name="csX53" fmla="*/ 553994 w 729419"/>
              <a:gd name="csY53" fmla="*/ 744146 h 2076207"/>
              <a:gd name="csX54" fmla="*/ 508215 w 729419"/>
              <a:gd name="csY54" fmla="*/ 758841 h 2076207"/>
              <a:gd name="csX55" fmla="*/ 497442 w 729419"/>
              <a:gd name="csY55" fmla="*/ 771256 h 2076207"/>
              <a:gd name="csX56" fmla="*/ 493005 w 729419"/>
              <a:gd name="csY56" fmla="*/ 922055 h 2076207"/>
              <a:gd name="csX57" fmla="*/ 502900 w 729419"/>
              <a:gd name="csY57" fmla="*/ 1114191 h 2076207"/>
              <a:gd name="csX58" fmla="*/ 508800 w 729419"/>
              <a:gd name="csY58" fmla="*/ 1205474 h 2076207"/>
              <a:gd name="csX59" fmla="*/ 522952 w 729419"/>
              <a:gd name="csY59" fmla="*/ 1320065 h 2076207"/>
              <a:gd name="csX60" fmla="*/ 554682 w 729419"/>
              <a:gd name="csY60" fmla="*/ 1501203 h 2076207"/>
              <a:gd name="csX61" fmla="*/ 576958 w 729419"/>
              <a:gd name="csY61" fmla="*/ 1593963 h 2076207"/>
              <a:gd name="csX62" fmla="*/ 595349 w 729419"/>
              <a:gd name="csY62" fmla="*/ 1613498 h 2076207"/>
              <a:gd name="csX63" fmla="*/ 613936 w 729419"/>
              <a:gd name="csY63" fmla="*/ 1624058 h 2076207"/>
              <a:gd name="csX64" fmla="*/ 620938 w 729419"/>
              <a:gd name="csY64" fmla="*/ 1652071 h 2076207"/>
              <a:gd name="csX65" fmla="*/ 630805 w 729419"/>
              <a:gd name="csY65" fmla="*/ 1721702 h 2076207"/>
              <a:gd name="csX66" fmla="*/ 685830 w 729419"/>
              <a:gd name="csY66" fmla="*/ 1792915 h 2076207"/>
              <a:gd name="csX67" fmla="*/ 708904 w 729419"/>
              <a:gd name="csY67" fmla="*/ 1890290 h 2076207"/>
              <a:gd name="csX68" fmla="*/ 716580 w 729419"/>
              <a:gd name="csY68" fmla="*/ 1951136 h 2076207"/>
              <a:gd name="csX69" fmla="*/ 729397 w 729419"/>
              <a:gd name="csY69" fmla="*/ 2030261 h 2076207"/>
              <a:gd name="csX70" fmla="*/ 714212 w 729419"/>
              <a:gd name="csY70" fmla="*/ 2049544 h 2076207"/>
              <a:gd name="csX71" fmla="*/ 645428 w 729419"/>
              <a:gd name="csY71" fmla="*/ 2070825 h 2076207"/>
              <a:gd name="csX72" fmla="*/ 635822 w 729419"/>
              <a:gd name="csY72" fmla="*/ 2075145 h 2076207"/>
              <a:gd name="csX73" fmla="*/ 588428 w 729419"/>
              <a:gd name="csY73" fmla="*/ 2075144 h 2076207"/>
              <a:gd name="csX74" fmla="*/ 590041 w 729419"/>
              <a:gd name="csY74" fmla="*/ 2071383 h 2076207"/>
              <a:gd name="csX75" fmla="*/ 667788 w 729419"/>
              <a:gd name="csY75" fmla="*/ 2056852 h 2076207"/>
              <a:gd name="csX76" fmla="*/ 706629 w 729419"/>
              <a:gd name="csY76" fmla="*/ 2044290 h 2076207"/>
              <a:gd name="csX77" fmla="*/ 702674 w 729419"/>
              <a:gd name="csY77" fmla="*/ 2041581 h 2076207"/>
              <a:gd name="csX78" fmla="*/ 544974 w 729419"/>
              <a:gd name="csY78" fmla="*/ 2071274 h 2076207"/>
              <a:gd name="csX79" fmla="*/ 538352 w 729419"/>
              <a:gd name="csY79" fmla="*/ 2076207 h 2076207"/>
              <a:gd name="csX80" fmla="*/ 96263 w 729419"/>
              <a:gd name="csY80" fmla="*/ 2076207 h 2076207"/>
              <a:gd name="csX81" fmla="*/ 489970 w 729419"/>
              <a:gd name="csY81" fmla="*/ 152208 h 2076207"/>
              <a:gd name="csX82" fmla="*/ 490754 w 729419"/>
              <a:gd name="csY82" fmla="*/ 152592 h 2076207"/>
              <a:gd name="csX83" fmla="*/ 489489 w 729419"/>
              <a:gd name="csY83" fmla="*/ 149547 h 2076207"/>
              <a:gd name="csX84" fmla="*/ 393621 w 729419"/>
              <a:gd name="csY84" fmla="*/ 99259 h 2076207"/>
              <a:gd name="csX85" fmla="*/ 390419 w 729419"/>
              <a:gd name="csY85" fmla="*/ 18568 h 2076207"/>
              <a:gd name="csX86" fmla="*/ 334131 w 729419"/>
              <a:gd name="csY86" fmla="*/ 24327 h 2076207"/>
              <a:gd name="csX87" fmla="*/ 344678 w 729419"/>
              <a:gd name="csY87" fmla="*/ 101259 h 2076207"/>
              <a:gd name="csX88" fmla="*/ 298854 w 729419"/>
              <a:gd name="csY88" fmla="*/ 114003 h 2076207"/>
              <a:gd name="csX89" fmla="*/ 237456 w 729419"/>
              <a:gd name="csY89" fmla="*/ 154340 h 2076207"/>
              <a:gd name="csX90" fmla="*/ 240382 w 729419"/>
              <a:gd name="csY90" fmla="*/ 154035 h 2076207"/>
              <a:gd name="csX91" fmla="*/ 262731 w 729419"/>
              <a:gd name="csY91" fmla="*/ 170426 h 2076207"/>
              <a:gd name="csX92" fmla="*/ 279169 w 729419"/>
              <a:gd name="csY92" fmla="*/ 193173 h 2076207"/>
              <a:gd name="csX93" fmla="*/ 327717 w 729419"/>
              <a:gd name="csY93" fmla="*/ 188556 h 2076207"/>
              <a:gd name="csX94" fmla="*/ 348052 w 729419"/>
              <a:gd name="csY94" fmla="*/ 156919 h 2076207"/>
              <a:gd name="csX95" fmla="*/ 380330 w 729419"/>
              <a:gd name="csY95" fmla="*/ 156483 h 2076207"/>
              <a:gd name="csX96" fmla="*/ 408490 w 729419"/>
              <a:gd name="csY96" fmla="*/ 195400 h 2076207"/>
              <a:gd name="csX97" fmla="*/ 445346 w 729419"/>
              <a:gd name="csY97" fmla="*/ 197582 h 2076207"/>
              <a:gd name="csX98" fmla="*/ 464798 w 729419"/>
              <a:gd name="csY98" fmla="*/ 174107 h 2076207"/>
              <a:gd name="csX99" fmla="*/ 489970 w 729419"/>
              <a:gd name="csY99" fmla="*/ 152208 h 2076207"/>
              <a:gd name="csX100" fmla="*/ 140694 w 729419"/>
              <a:gd name="csY100" fmla="*/ 201837 h 2076207"/>
              <a:gd name="csX101" fmla="*/ 139834 w 729419"/>
              <a:gd name="csY101" fmla="*/ 201482 h 2076207"/>
              <a:gd name="csX102" fmla="*/ 140812 w 729419"/>
              <a:gd name="csY102" fmla="*/ 204941 h 2076207"/>
              <a:gd name="csX103" fmla="*/ 144631 w 729419"/>
              <a:gd name="csY103" fmla="*/ 217811 h 2076207"/>
              <a:gd name="csX104" fmla="*/ 201241 w 729419"/>
              <a:gd name="csY104" fmla="*/ 373387 h 2076207"/>
              <a:gd name="csX105" fmla="*/ 235971 w 729419"/>
              <a:gd name="csY105" fmla="*/ 504451 h 2076207"/>
              <a:gd name="csX106" fmla="*/ 247475 w 729419"/>
              <a:gd name="csY106" fmla="*/ 513241 h 2076207"/>
              <a:gd name="csX107" fmla="*/ 289066 w 729419"/>
              <a:gd name="csY107" fmla="*/ 511170 h 2076207"/>
              <a:gd name="csX108" fmla="*/ 378229 w 729419"/>
              <a:gd name="csY108" fmla="*/ 511084 h 2076207"/>
              <a:gd name="csX109" fmla="*/ 470850 w 729419"/>
              <a:gd name="csY109" fmla="*/ 516341 h 2076207"/>
              <a:gd name="csX110" fmla="*/ 492933 w 729419"/>
              <a:gd name="csY110" fmla="*/ 497969 h 2076207"/>
              <a:gd name="csX111" fmla="*/ 557617 w 729419"/>
              <a:gd name="csY111" fmla="*/ 280398 h 2076207"/>
              <a:gd name="csX112" fmla="*/ 588788 w 729419"/>
              <a:gd name="csY112" fmla="*/ 200385 h 2076207"/>
              <a:gd name="csX113" fmla="*/ 530958 w 729419"/>
              <a:gd name="csY113" fmla="*/ 232968 h 2076207"/>
              <a:gd name="csX114" fmla="*/ 483823 w 729419"/>
              <a:gd name="csY114" fmla="*/ 190364 h 2076207"/>
              <a:gd name="csX115" fmla="*/ 466649 w 729419"/>
              <a:gd name="csY115" fmla="*/ 209061 h 2076207"/>
              <a:gd name="csX116" fmla="*/ 399941 w 729419"/>
              <a:gd name="csY116" fmla="*/ 216988 h 2076207"/>
              <a:gd name="csX117" fmla="*/ 363018 w 729419"/>
              <a:gd name="csY117" fmla="*/ 179615 h 2076207"/>
              <a:gd name="csX118" fmla="*/ 308839 w 729419"/>
              <a:gd name="csY118" fmla="*/ 227846 h 2076207"/>
              <a:gd name="csX119" fmla="*/ 245077 w 729419"/>
              <a:gd name="csY119" fmla="*/ 192402 h 2076207"/>
              <a:gd name="csX120" fmla="*/ 242829 w 729419"/>
              <a:gd name="csY120" fmla="*/ 198815 h 2076207"/>
              <a:gd name="csX121" fmla="*/ 168452 w 729419"/>
              <a:gd name="csY121" fmla="*/ 219348 h 2076207"/>
              <a:gd name="csX122" fmla="*/ 140694 w 729419"/>
              <a:gd name="csY122" fmla="*/ 201837 h 2076207"/>
              <a:gd name="csX123" fmla="*/ 259999 w 729419"/>
              <a:gd name="csY123" fmla="*/ 966699 h 2076207"/>
              <a:gd name="csX124" fmla="*/ 257072 w 729419"/>
              <a:gd name="csY124" fmla="*/ 1070424 h 2076207"/>
              <a:gd name="csX125" fmla="*/ 251372 w 729419"/>
              <a:gd name="csY125" fmla="*/ 1157618 h 2076207"/>
              <a:gd name="csX126" fmla="*/ 232677 w 729419"/>
              <a:gd name="csY126" fmla="*/ 1320279 h 2076207"/>
              <a:gd name="csX127" fmla="*/ 209182 w 729419"/>
              <a:gd name="csY127" fmla="*/ 1468667 h 2076207"/>
              <a:gd name="csX128" fmla="*/ 175302 w 729419"/>
              <a:gd name="csY128" fmla="*/ 1616623 h 2076207"/>
              <a:gd name="csX129" fmla="*/ 182769 w 729419"/>
              <a:gd name="csY129" fmla="*/ 1629786 h 2076207"/>
              <a:gd name="csX130" fmla="*/ 212156 w 729419"/>
              <a:gd name="csY130" fmla="*/ 1632656 h 2076207"/>
              <a:gd name="csX131" fmla="*/ 351295 w 729419"/>
              <a:gd name="csY131" fmla="*/ 1632801 h 2076207"/>
              <a:gd name="csX132" fmla="*/ 376150 w 729419"/>
              <a:gd name="csY132" fmla="*/ 1608307 h 2076207"/>
              <a:gd name="csX133" fmla="*/ 373450 w 729419"/>
              <a:gd name="csY133" fmla="*/ 1457291 h 2076207"/>
              <a:gd name="csX134" fmla="*/ 370936 w 729419"/>
              <a:gd name="csY134" fmla="*/ 1342736 h 2076207"/>
              <a:gd name="csX135" fmla="*/ 368328 w 729419"/>
              <a:gd name="csY135" fmla="*/ 1203878 h 2076207"/>
              <a:gd name="csX136" fmla="*/ 367836 w 729419"/>
              <a:gd name="csY136" fmla="*/ 813478 h 2076207"/>
              <a:gd name="csX137" fmla="*/ 365240 w 729419"/>
              <a:gd name="csY137" fmla="*/ 773243 h 2076207"/>
              <a:gd name="csX138" fmla="*/ 353084 w 729419"/>
              <a:gd name="csY138" fmla="*/ 762083 h 2076207"/>
              <a:gd name="csX139" fmla="*/ 280966 w 729419"/>
              <a:gd name="csY139" fmla="*/ 759855 h 2076207"/>
              <a:gd name="csX140" fmla="*/ 259965 w 729419"/>
              <a:gd name="csY140" fmla="*/ 779553 h 2076207"/>
              <a:gd name="csX141" fmla="*/ 262341 w 729419"/>
              <a:gd name="csY141" fmla="*/ 856275 h 2076207"/>
              <a:gd name="csX142" fmla="*/ 259999 w 729419"/>
              <a:gd name="csY142" fmla="*/ 966699 h 2076207"/>
              <a:gd name="csX143" fmla="*/ 55556 w 729419"/>
              <a:gd name="csY143" fmla="*/ 1835827 h 2076207"/>
              <a:gd name="csX144" fmla="*/ 49393 w 729419"/>
              <a:gd name="csY144" fmla="*/ 1878155 h 2076207"/>
              <a:gd name="csX145" fmla="*/ 73949 w 729419"/>
              <a:gd name="csY145" fmla="*/ 1905781 h 2076207"/>
              <a:gd name="csX146" fmla="*/ 110073 w 729419"/>
              <a:gd name="csY146" fmla="*/ 1909068 h 2076207"/>
              <a:gd name="csX147" fmla="*/ 224745 w 729419"/>
              <a:gd name="csY147" fmla="*/ 1921652 h 2076207"/>
              <a:gd name="csX148" fmla="*/ 347327 w 729419"/>
              <a:gd name="csY148" fmla="*/ 1924778 h 2076207"/>
              <a:gd name="csX149" fmla="*/ 363345 w 729419"/>
              <a:gd name="csY149" fmla="*/ 1923293 h 2076207"/>
              <a:gd name="csX150" fmla="*/ 373787 w 729419"/>
              <a:gd name="csY150" fmla="*/ 1911200 h 2076207"/>
              <a:gd name="csX151" fmla="*/ 376623 w 729419"/>
              <a:gd name="csY151" fmla="*/ 1696741 h 2076207"/>
              <a:gd name="csX152" fmla="*/ 360437 w 729419"/>
              <a:gd name="csY152" fmla="*/ 1681289 h 2076207"/>
              <a:gd name="csX153" fmla="*/ 263503 w 729419"/>
              <a:gd name="csY153" fmla="*/ 1678179 h 2076207"/>
              <a:gd name="csX154" fmla="*/ 160381 w 729419"/>
              <a:gd name="csY154" fmla="*/ 1670405 h 2076207"/>
              <a:gd name="csX155" fmla="*/ 143321 w 729419"/>
              <a:gd name="csY155" fmla="*/ 1685538 h 2076207"/>
              <a:gd name="csX156" fmla="*/ 124769 w 729419"/>
              <a:gd name="csY156" fmla="*/ 1738195 h 2076207"/>
              <a:gd name="csX157" fmla="*/ 90593 w 729419"/>
              <a:gd name="csY157" fmla="*/ 1779570 h 2076207"/>
              <a:gd name="csX158" fmla="*/ 55556 w 729419"/>
              <a:gd name="csY158" fmla="*/ 1835827 h 2076207"/>
              <a:gd name="csX159" fmla="*/ 378900 w 729419"/>
              <a:gd name="csY159" fmla="*/ 2007280 h 2076207"/>
              <a:gd name="csX160" fmla="*/ 378887 w 729419"/>
              <a:gd name="csY160" fmla="*/ 1995127 h 2076207"/>
              <a:gd name="csX161" fmla="*/ 359084 w 729419"/>
              <a:gd name="csY161" fmla="*/ 1975964 h 2076207"/>
              <a:gd name="csX162" fmla="*/ 247288 w 729419"/>
              <a:gd name="csY162" fmla="*/ 1973305 h 2076207"/>
              <a:gd name="csX163" fmla="*/ 201692 w 729419"/>
              <a:gd name="csY163" fmla="*/ 1970275 h 2076207"/>
              <a:gd name="csX164" fmla="*/ 57962 w 729419"/>
              <a:gd name="csY164" fmla="*/ 1952648 h 2076207"/>
              <a:gd name="csX165" fmla="*/ 39194 w 729419"/>
              <a:gd name="csY165" fmla="*/ 1963552 h 2076207"/>
              <a:gd name="csX166" fmla="*/ 30066 w 729419"/>
              <a:gd name="csY166" fmla="*/ 2006631 h 2076207"/>
              <a:gd name="csX167" fmla="*/ 40232 w 729419"/>
              <a:gd name="csY167" fmla="*/ 2019486 h 2076207"/>
              <a:gd name="csX168" fmla="*/ 238186 w 729419"/>
              <a:gd name="csY168" fmla="*/ 2046096 h 2076207"/>
              <a:gd name="csX169" fmla="*/ 342155 w 729419"/>
              <a:gd name="csY169" fmla="*/ 2046441 h 2076207"/>
              <a:gd name="csX170" fmla="*/ 378900 w 729419"/>
              <a:gd name="csY170" fmla="*/ 2007280 h 2076207"/>
              <a:gd name="csX171" fmla="*/ 310220 w 729419"/>
              <a:gd name="csY171" fmla="*/ 554288 h 2076207"/>
              <a:gd name="csX172" fmla="*/ 259136 w 729419"/>
              <a:gd name="csY172" fmla="*/ 556881 h 2076207"/>
              <a:gd name="csX173" fmla="*/ 249085 w 729419"/>
              <a:gd name="csY173" fmla="*/ 567981 h 2076207"/>
              <a:gd name="csX174" fmla="*/ 249141 w 729419"/>
              <a:gd name="csY174" fmla="*/ 605644 h 2076207"/>
              <a:gd name="csX175" fmla="*/ 262628 w 729419"/>
              <a:gd name="csY175" fmla="*/ 605627 h 2076207"/>
              <a:gd name="csX176" fmla="*/ 369608 w 729419"/>
              <a:gd name="csY176" fmla="*/ 603027 h 2076207"/>
              <a:gd name="csX177" fmla="*/ 463931 w 729419"/>
              <a:gd name="csY177" fmla="*/ 605146 h 2076207"/>
              <a:gd name="csX178" fmla="*/ 478113 w 729419"/>
              <a:gd name="csY178" fmla="*/ 595843 h 2076207"/>
              <a:gd name="csX179" fmla="*/ 478796 w 729419"/>
              <a:gd name="csY179" fmla="*/ 556832 h 2076207"/>
              <a:gd name="csX180" fmla="*/ 310220 w 729419"/>
              <a:gd name="csY180" fmla="*/ 554288 h 2076207"/>
              <a:gd name="csX181" fmla="*/ 348836 w 729419"/>
              <a:gd name="csY181" fmla="*/ 684115 h 2076207"/>
              <a:gd name="csX182" fmla="*/ 281333 w 729419"/>
              <a:gd name="csY182" fmla="*/ 683313 h 2076207"/>
              <a:gd name="csX183" fmla="*/ 212728 w 729419"/>
              <a:gd name="csY183" fmla="*/ 681931 h 2076207"/>
              <a:gd name="csX184" fmla="*/ 187283 w 729419"/>
              <a:gd name="csY184" fmla="*/ 689555 h 2076207"/>
              <a:gd name="csX185" fmla="*/ 186163 w 729419"/>
              <a:gd name="csY185" fmla="*/ 718266 h 2076207"/>
              <a:gd name="csX186" fmla="*/ 209894 w 729419"/>
              <a:gd name="csY186" fmla="*/ 726798 h 2076207"/>
              <a:gd name="csX187" fmla="*/ 334814 w 729419"/>
              <a:gd name="csY187" fmla="*/ 732494 h 2076207"/>
              <a:gd name="csX188" fmla="*/ 364856 w 729419"/>
              <a:gd name="csY188" fmla="*/ 707963 h 2076207"/>
              <a:gd name="csX189" fmla="*/ 348836 w 729419"/>
              <a:gd name="csY189" fmla="*/ 684115 h 2076207"/>
              <a:gd name="csX190" fmla="*/ 298865 w 729419"/>
              <a:gd name="csY190" fmla="*/ 621954 h 2076207"/>
              <a:gd name="csX191" fmla="*/ 251619 w 729419"/>
              <a:gd name="csY191" fmla="*/ 622133 h 2076207"/>
              <a:gd name="csX192" fmla="*/ 214459 w 729419"/>
              <a:gd name="csY192" fmla="*/ 636230 h 2076207"/>
              <a:gd name="csX193" fmla="*/ 221436 w 729419"/>
              <a:gd name="csY193" fmla="*/ 654205 h 2076207"/>
              <a:gd name="csX194" fmla="*/ 272412 w 729419"/>
              <a:gd name="csY194" fmla="*/ 657250 h 2076207"/>
              <a:gd name="csX195" fmla="*/ 349094 w 729419"/>
              <a:gd name="csY195" fmla="*/ 659282 h 2076207"/>
              <a:gd name="csX196" fmla="*/ 362996 w 729419"/>
              <a:gd name="csY196" fmla="*/ 644234 h 2076207"/>
              <a:gd name="csX197" fmla="*/ 348472 w 729419"/>
              <a:gd name="csY197" fmla="*/ 624649 h 2076207"/>
              <a:gd name="csX198" fmla="*/ 298865 w 729419"/>
              <a:gd name="csY198" fmla="*/ 621954 h 2076207"/>
              <a:gd name="csX199" fmla="*/ 227796 w 729419"/>
              <a:gd name="csY199" fmla="*/ 528000 h 2076207"/>
              <a:gd name="csX200" fmla="*/ 241009 w 729419"/>
              <a:gd name="csY200" fmla="*/ 545897 h 2076207"/>
              <a:gd name="csX201" fmla="*/ 282607 w 729419"/>
              <a:gd name="csY201" fmla="*/ 543480 h 2076207"/>
              <a:gd name="csX202" fmla="*/ 354213 w 729419"/>
              <a:gd name="csY202" fmla="*/ 543384 h 2076207"/>
              <a:gd name="csX203" fmla="*/ 365334 w 729419"/>
              <a:gd name="csY203" fmla="*/ 533397 h 2076207"/>
              <a:gd name="csX204" fmla="*/ 354531 w 729419"/>
              <a:gd name="csY204" fmla="*/ 521620 h 2076207"/>
              <a:gd name="csX205" fmla="*/ 259169 w 729419"/>
              <a:gd name="csY205" fmla="*/ 521978 h 2076207"/>
              <a:gd name="csX206" fmla="*/ 227796 w 729419"/>
              <a:gd name="csY206" fmla="*/ 528000 h 2076207"/>
              <a:gd name="csX207" fmla="*/ 508068 w 729419"/>
              <a:gd name="csY207" fmla="*/ 190710 h 2076207"/>
              <a:gd name="csX208" fmla="*/ 521293 w 729419"/>
              <a:gd name="csY208" fmla="*/ 205907 h 2076207"/>
              <a:gd name="csX209" fmla="*/ 525175 w 729419"/>
              <a:gd name="csY209" fmla="*/ 202985 h 2076207"/>
              <a:gd name="csX210" fmla="*/ 500276 w 729419"/>
              <a:gd name="csY210" fmla="*/ 160640 h 2076207"/>
              <a:gd name="csX211" fmla="*/ 497122 w 729419"/>
              <a:gd name="csY211" fmla="*/ 162007 h 2076207"/>
              <a:gd name="csX212" fmla="*/ 508068 w 729419"/>
              <a:gd name="csY212" fmla="*/ 190710 h 2076207"/>
              <a:gd name="csX213" fmla="*/ 215522 w 729419"/>
              <a:gd name="csY213" fmla="*/ 197296 h 2076207"/>
              <a:gd name="csX214" fmla="*/ 234029 w 729419"/>
              <a:gd name="csY214" fmla="*/ 162725 h 2076207"/>
              <a:gd name="csX215" fmla="*/ 229000 w 729419"/>
              <a:gd name="csY215" fmla="*/ 159902 h 2076207"/>
              <a:gd name="csX216" fmla="*/ 204824 w 729419"/>
              <a:gd name="csY216" fmla="*/ 199677 h 2076207"/>
              <a:gd name="csX217" fmla="*/ 207990 w 729419"/>
              <a:gd name="csY217" fmla="*/ 202198 h 2076207"/>
              <a:gd name="csX218" fmla="*/ 215522 w 729419"/>
              <a:gd name="csY218" fmla="*/ 197296 h 2076207"/>
              <a:gd name="csX219" fmla="*/ 484400 w 729419"/>
              <a:gd name="csY219" fmla="*/ 863693 h 2076207"/>
              <a:gd name="csX220" fmla="*/ 484400 w 729419"/>
              <a:gd name="csY220" fmla="*/ 896678 h 2076207"/>
              <a:gd name="csX221" fmla="*/ 486181 w 729419"/>
              <a:gd name="csY221" fmla="*/ 896585 h 2076207"/>
              <a:gd name="csX222" fmla="*/ 486181 w 729419"/>
              <a:gd name="csY222" fmla="*/ 795289 h 2076207"/>
              <a:gd name="csX223" fmla="*/ 484400 w 729419"/>
              <a:gd name="csY223" fmla="*/ 863693 h 2076207"/>
              <a:gd name="csX224" fmla="*/ 720241 w 729419"/>
              <a:gd name="csY224" fmla="*/ 2030666 h 2076207"/>
              <a:gd name="csX225" fmla="*/ 721175 w 729419"/>
              <a:gd name="csY225" fmla="*/ 2029733 h 2076207"/>
              <a:gd name="csX226" fmla="*/ 720241 w 729419"/>
              <a:gd name="csY226" fmla="*/ 2030666 h 2076207"/>
              <a:gd name="csX227" fmla="*/ 715702 w 729419"/>
              <a:gd name="csY227" fmla="*/ 2037051 h 2076207"/>
              <a:gd name="csX228" fmla="*/ 715702 w 729419"/>
              <a:gd name="csY228" fmla="*/ 2037051 h 2076207"/>
              <a:gd name="csX229" fmla="*/ 709953 w 729419"/>
              <a:gd name="csY229" fmla="*/ 2040017 h 2076207"/>
              <a:gd name="csX230" fmla="*/ 710209 w 729419"/>
              <a:gd name="csY230" fmla="*/ 2039597 h 2076207"/>
              <a:gd name="csX231" fmla="*/ 709953 w 729419"/>
              <a:gd name="csY231" fmla="*/ 2040017 h 2076207"/>
              <a:gd name="csX0" fmla="*/ 96263 w 729419"/>
              <a:gd name="csY0" fmla="*/ 2076207 h 2076207"/>
              <a:gd name="csX1" fmla="*/ 63862 w 729419"/>
              <a:gd name="csY1" fmla="*/ 2065388 h 2076207"/>
              <a:gd name="csX2" fmla="*/ 16555 w 729419"/>
              <a:gd name="csY2" fmla="*/ 2050152 h 2076207"/>
              <a:gd name="csX3" fmla="*/ 15 w 729419"/>
              <a:gd name="csY3" fmla="*/ 2023802 h 2076207"/>
              <a:gd name="csX4" fmla="*/ 18368 w 729419"/>
              <a:gd name="csY4" fmla="*/ 1940709 h 2076207"/>
              <a:gd name="csX5" fmla="*/ 22139 w 729419"/>
              <a:gd name="csY5" fmla="*/ 1907268 h 2076207"/>
              <a:gd name="csX6" fmla="*/ 57941 w 729419"/>
              <a:gd name="csY6" fmla="*/ 1774163 h 2076207"/>
              <a:gd name="csX7" fmla="*/ 102478 w 729419"/>
              <a:gd name="csY7" fmla="*/ 1720275 h 2076207"/>
              <a:gd name="csX8" fmla="*/ 108579 w 729419"/>
              <a:gd name="csY8" fmla="*/ 1650967 h 2076207"/>
              <a:gd name="csX9" fmla="*/ 115628 w 729419"/>
              <a:gd name="csY9" fmla="*/ 1625405 h 2076207"/>
              <a:gd name="csX10" fmla="*/ 156323 w 729419"/>
              <a:gd name="csY10" fmla="*/ 1560181 h 2076207"/>
              <a:gd name="csX11" fmla="*/ 199424 w 729419"/>
              <a:gd name="csY11" fmla="*/ 1364729 h 2076207"/>
              <a:gd name="csX12" fmla="*/ 216779 w 729419"/>
              <a:gd name="csY12" fmla="*/ 1219490 h 2076207"/>
              <a:gd name="csX13" fmla="*/ 229755 w 729419"/>
              <a:gd name="csY13" fmla="*/ 1099357 h 2076207"/>
              <a:gd name="csX14" fmla="*/ 232707 w 729419"/>
              <a:gd name="csY14" fmla="*/ 1056423 h 2076207"/>
              <a:gd name="csX15" fmla="*/ 235622 w 729419"/>
              <a:gd name="csY15" fmla="*/ 952675 h 2076207"/>
              <a:gd name="csX16" fmla="*/ 235445 w 729419"/>
              <a:gd name="csY16" fmla="*/ 780278 h 2076207"/>
              <a:gd name="csX17" fmla="*/ 214544 w 729419"/>
              <a:gd name="csY17" fmla="*/ 756435 h 2076207"/>
              <a:gd name="csX18" fmla="*/ 172569 w 729419"/>
              <a:gd name="csY18" fmla="*/ 742582 h 2076207"/>
              <a:gd name="csX19" fmla="*/ 168784 w 729419"/>
              <a:gd name="csY19" fmla="*/ 669116 h 2076207"/>
              <a:gd name="csX20" fmla="*/ 191657 w 729419"/>
              <a:gd name="csY20" fmla="*/ 630765 h 2076207"/>
              <a:gd name="csX21" fmla="*/ 208150 w 729419"/>
              <a:gd name="csY21" fmla="*/ 609084 h 2076207"/>
              <a:gd name="csX22" fmla="*/ 216756 w 729419"/>
              <a:gd name="csY22" fmla="*/ 558673 h 2076207"/>
              <a:gd name="csX23" fmla="*/ 209092 w 729419"/>
              <a:gd name="csY23" fmla="*/ 521540 h 2076207"/>
              <a:gd name="csX24" fmla="*/ 204683 w 729419"/>
              <a:gd name="csY24" fmla="*/ 474024 h 2076207"/>
              <a:gd name="csX25" fmla="*/ 115483 w 729419"/>
              <a:gd name="csY25" fmla="*/ 213499 h 2076207"/>
              <a:gd name="csX26" fmla="*/ 102909 w 729419"/>
              <a:gd name="csY26" fmla="*/ 182297 h 2076207"/>
              <a:gd name="csX27" fmla="*/ 104315 w 729419"/>
              <a:gd name="csY27" fmla="*/ 163968 h 2076207"/>
              <a:gd name="csX28" fmla="*/ 122444 w 729419"/>
              <a:gd name="csY28" fmla="*/ 160805 h 2076207"/>
              <a:gd name="csX29" fmla="*/ 170283 w 729419"/>
              <a:gd name="csY29" fmla="*/ 187783 h 2076207"/>
              <a:gd name="csX30" fmla="*/ 180938 w 729419"/>
              <a:gd name="csY30" fmla="*/ 195322 h 2076207"/>
              <a:gd name="csX31" fmla="*/ 221419 w 729419"/>
              <a:gd name="csY31" fmla="*/ 138058 h 2076207"/>
              <a:gd name="csX32" fmla="*/ 294099 w 729419"/>
              <a:gd name="csY32" fmla="*/ 91372 h 2076207"/>
              <a:gd name="csX33" fmla="*/ 302307 w 729419"/>
              <a:gd name="csY33" fmla="*/ 76560 h 2076207"/>
              <a:gd name="csX34" fmla="*/ 320284 w 729419"/>
              <a:gd name="csY34" fmla="*/ 8414 h 2076207"/>
              <a:gd name="csX35" fmla="*/ 324784 w 729419"/>
              <a:gd name="csY35" fmla="*/ 946 h 2076207"/>
              <a:gd name="csX36" fmla="*/ 399212 w 729419"/>
              <a:gd name="csY36" fmla="*/ 0 h 2076207"/>
              <a:gd name="csX37" fmla="*/ 425980 w 729419"/>
              <a:gd name="csY37" fmla="*/ 78301 h 2076207"/>
              <a:gd name="csX38" fmla="*/ 431861 w 729419"/>
              <a:gd name="csY38" fmla="*/ 90312 h 2076207"/>
              <a:gd name="csX39" fmla="*/ 540349 w 729419"/>
              <a:gd name="csY39" fmla="*/ 187946 h 2076207"/>
              <a:gd name="csX40" fmla="*/ 545555 w 729419"/>
              <a:gd name="csY40" fmla="*/ 197828 h 2076207"/>
              <a:gd name="csX41" fmla="*/ 587318 w 729419"/>
              <a:gd name="csY41" fmla="*/ 171260 h 2076207"/>
              <a:gd name="csX42" fmla="*/ 601503 w 729419"/>
              <a:gd name="csY42" fmla="*/ 163707 h 2076207"/>
              <a:gd name="csX43" fmla="*/ 625254 w 729419"/>
              <a:gd name="csY43" fmla="*/ 163123 h 2076207"/>
              <a:gd name="csX44" fmla="*/ 625468 w 729419"/>
              <a:gd name="csY44" fmla="*/ 187579 h 2076207"/>
              <a:gd name="csX45" fmla="*/ 597543 w 729419"/>
              <a:gd name="csY45" fmla="*/ 251872 h 2076207"/>
              <a:gd name="csX46" fmla="*/ 531831 w 729419"/>
              <a:gd name="csY46" fmla="*/ 442689 h 2076207"/>
              <a:gd name="csX47" fmla="*/ 519888 w 729419"/>
              <a:gd name="csY47" fmla="*/ 501474 h 2076207"/>
              <a:gd name="csX48" fmla="*/ 522506 w 729419"/>
              <a:gd name="csY48" fmla="*/ 525086 h 2076207"/>
              <a:gd name="csX49" fmla="*/ 516235 w 729419"/>
              <a:gd name="csY49" fmla="*/ 555946 h 2076207"/>
              <a:gd name="csX50" fmla="*/ 521332 w 729419"/>
              <a:gd name="csY50" fmla="*/ 610676 h 2076207"/>
              <a:gd name="csX51" fmla="*/ 541382 w 729419"/>
              <a:gd name="csY51" fmla="*/ 642597 h 2076207"/>
              <a:gd name="csX52" fmla="*/ 557031 w 729419"/>
              <a:gd name="csY52" fmla="*/ 667949 h 2076207"/>
              <a:gd name="csX53" fmla="*/ 553994 w 729419"/>
              <a:gd name="csY53" fmla="*/ 744146 h 2076207"/>
              <a:gd name="csX54" fmla="*/ 508215 w 729419"/>
              <a:gd name="csY54" fmla="*/ 758841 h 2076207"/>
              <a:gd name="csX55" fmla="*/ 497442 w 729419"/>
              <a:gd name="csY55" fmla="*/ 771256 h 2076207"/>
              <a:gd name="csX56" fmla="*/ 493005 w 729419"/>
              <a:gd name="csY56" fmla="*/ 922055 h 2076207"/>
              <a:gd name="csX57" fmla="*/ 502900 w 729419"/>
              <a:gd name="csY57" fmla="*/ 1114191 h 2076207"/>
              <a:gd name="csX58" fmla="*/ 508800 w 729419"/>
              <a:gd name="csY58" fmla="*/ 1205474 h 2076207"/>
              <a:gd name="csX59" fmla="*/ 522952 w 729419"/>
              <a:gd name="csY59" fmla="*/ 1320065 h 2076207"/>
              <a:gd name="csX60" fmla="*/ 554682 w 729419"/>
              <a:gd name="csY60" fmla="*/ 1501203 h 2076207"/>
              <a:gd name="csX61" fmla="*/ 576958 w 729419"/>
              <a:gd name="csY61" fmla="*/ 1593963 h 2076207"/>
              <a:gd name="csX62" fmla="*/ 595349 w 729419"/>
              <a:gd name="csY62" fmla="*/ 1613498 h 2076207"/>
              <a:gd name="csX63" fmla="*/ 613936 w 729419"/>
              <a:gd name="csY63" fmla="*/ 1624058 h 2076207"/>
              <a:gd name="csX64" fmla="*/ 620938 w 729419"/>
              <a:gd name="csY64" fmla="*/ 1652071 h 2076207"/>
              <a:gd name="csX65" fmla="*/ 630805 w 729419"/>
              <a:gd name="csY65" fmla="*/ 1721702 h 2076207"/>
              <a:gd name="csX66" fmla="*/ 685830 w 729419"/>
              <a:gd name="csY66" fmla="*/ 1792915 h 2076207"/>
              <a:gd name="csX67" fmla="*/ 708904 w 729419"/>
              <a:gd name="csY67" fmla="*/ 1890290 h 2076207"/>
              <a:gd name="csX68" fmla="*/ 716580 w 729419"/>
              <a:gd name="csY68" fmla="*/ 1951136 h 2076207"/>
              <a:gd name="csX69" fmla="*/ 729397 w 729419"/>
              <a:gd name="csY69" fmla="*/ 2030261 h 2076207"/>
              <a:gd name="csX70" fmla="*/ 714212 w 729419"/>
              <a:gd name="csY70" fmla="*/ 2049544 h 2076207"/>
              <a:gd name="csX71" fmla="*/ 645428 w 729419"/>
              <a:gd name="csY71" fmla="*/ 2070825 h 2076207"/>
              <a:gd name="csX72" fmla="*/ 635822 w 729419"/>
              <a:gd name="csY72" fmla="*/ 2075145 h 2076207"/>
              <a:gd name="csX73" fmla="*/ 588428 w 729419"/>
              <a:gd name="csY73" fmla="*/ 2075144 h 2076207"/>
              <a:gd name="csX74" fmla="*/ 590041 w 729419"/>
              <a:gd name="csY74" fmla="*/ 2071383 h 2076207"/>
              <a:gd name="csX75" fmla="*/ 667788 w 729419"/>
              <a:gd name="csY75" fmla="*/ 2056852 h 2076207"/>
              <a:gd name="csX76" fmla="*/ 706629 w 729419"/>
              <a:gd name="csY76" fmla="*/ 2044290 h 2076207"/>
              <a:gd name="csX77" fmla="*/ 702674 w 729419"/>
              <a:gd name="csY77" fmla="*/ 2041581 h 2076207"/>
              <a:gd name="csX78" fmla="*/ 544974 w 729419"/>
              <a:gd name="csY78" fmla="*/ 2071274 h 2076207"/>
              <a:gd name="csX79" fmla="*/ 538352 w 729419"/>
              <a:gd name="csY79" fmla="*/ 2076207 h 2076207"/>
              <a:gd name="csX80" fmla="*/ 96263 w 729419"/>
              <a:gd name="csY80" fmla="*/ 2076207 h 2076207"/>
              <a:gd name="csX81" fmla="*/ 489970 w 729419"/>
              <a:gd name="csY81" fmla="*/ 152208 h 2076207"/>
              <a:gd name="csX82" fmla="*/ 490754 w 729419"/>
              <a:gd name="csY82" fmla="*/ 152592 h 2076207"/>
              <a:gd name="csX83" fmla="*/ 489489 w 729419"/>
              <a:gd name="csY83" fmla="*/ 149547 h 2076207"/>
              <a:gd name="csX84" fmla="*/ 393621 w 729419"/>
              <a:gd name="csY84" fmla="*/ 99259 h 2076207"/>
              <a:gd name="csX85" fmla="*/ 390419 w 729419"/>
              <a:gd name="csY85" fmla="*/ 18568 h 2076207"/>
              <a:gd name="csX86" fmla="*/ 334131 w 729419"/>
              <a:gd name="csY86" fmla="*/ 24327 h 2076207"/>
              <a:gd name="csX87" fmla="*/ 344678 w 729419"/>
              <a:gd name="csY87" fmla="*/ 101259 h 2076207"/>
              <a:gd name="csX88" fmla="*/ 298854 w 729419"/>
              <a:gd name="csY88" fmla="*/ 114003 h 2076207"/>
              <a:gd name="csX89" fmla="*/ 237456 w 729419"/>
              <a:gd name="csY89" fmla="*/ 154340 h 2076207"/>
              <a:gd name="csX90" fmla="*/ 240382 w 729419"/>
              <a:gd name="csY90" fmla="*/ 154035 h 2076207"/>
              <a:gd name="csX91" fmla="*/ 262731 w 729419"/>
              <a:gd name="csY91" fmla="*/ 170426 h 2076207"/>
              <a:gd name="csX92" fmla="*/ 279169 w 729419"/>
              <a:gd name="csY92" fmla="*/ 193173 h 2076207"/>
              <a:gd name="csX93" fmla="*/ 327717 w 729419"/>
              <a:gd name="csY93" fmla="*/ 188556 h 2076207"/>
              <a:gd name="csX94" fmla="*/ 348052 w 729419"/>
              <a:gd name="csY94" fmla="*/ 156919 h 2076207"/>
              <a:gd name="csX95" fmla="*/ 380330 w 729419"/>
              <a:gd name="csY95" fmla="*/ 156483 h 2076207"/>
              <a:gd name="csX96" fmla="*/ 408490 w 729419"/>
              <a:gd name="csY96" fmla="*/ 195400 h 2076207"/>
              <a:gd name="csX97" fmla="*/ 445346 w 729419"/>
              <a:gd name="csY97" fmla="*/ 197582 h 2076207"/>
              <a:gd name="csX98" fmla="*/ 464798 w 729419"/>
              <a:gd name="csY98" fmla="*/ 174107 h 2076207"/>
              <a:gd name="csX99" fmla="*/ 489970 w 729419"/>
              <a:gd name="csY99" fmla="*/ 152208 h 2076207"/>
              <a:gd name="csX100" fmla="*/ 140694 w 729419"/>
              <a:gd name="csY100" fmla="*/ 201837 h 2076207"/>
              <a:gd name="csX101" fmla="*/ 139834 w 729419"/>
              <a:gd name="csY101" fmla="*/ 201482 h 2076207"/>
              <a:gd name="csX102" fmla="*/ 140812 w 729419"/>
              <a:gd name="csY102" fmla="*/ 204941 h 2076207"/>
              <a:gd name="csX103" fmla="*/ 144631 w 729419"/>
              <a:gd name="csY103" fmla="*/ 217811 h 2076207"/>
              <a:gd name="csX104" fmla="*/ 201241 w 729419"/>
              <a:gd name="csY104" fmla="*/ 373387 h 2076207"/>
              <a:gd name="csX105" fmla="*/ 235971 w 729419"/>
              <a:gd name="csY105" fmla="*/ 504451 h 2076207"/>
              <a:gd name="csX106" fmla="*/ 247475 w 729419"/>
              <a:gd name="csY106" fmla="*/ 513241 h 2076207"/>
              <a:gd name="csX107" fmla="*/ 289066 w 729419"/>
              <a:gd name="csY107" fmla="*/ 511170 h 2076207"/>
              <a:gd name="csX108" fmla="*/ 378229 w 729419"/>
              <a:gd name="csY108" fmla="*/ 511084 h 2076207"/>
              <a:gd name="csX109" fmla="*/ 470850 w 729419"/>
              <a:gd name="csY109" fmla="*/ 516341 h 2076207"/>
              <a:gd name="csX110" fmla="*/ 492933 w 729419"/>
              <a:gd name="csY110" fmla="*/ 497969 h 2076207"/>
              <a:gd name="csX111" fmla="*/ 557617 w 729419"/>
              <a:gd name="csY111" fmla="*/ 280398 h 2076207"/>
              <a:gd name="csX112" fmla="*/ 588788 w 729419"/>
              <a:gd name="csY112" fmla="*/ 200385 h 2076207"/>
              <a:gd name="csX113" fmla="*/ 530958 w 729419"/>
              <a:gd name="csY113" fmla="*/ 232968 h 2076207"/>
              <a:gd name="csX114" fmla="*/ 483823 w 729419"/>
              <a:gd name="csY114" fmla="*/ 190364 h 2076207"/>
              <a:gd name="csX115" fmla="*/ 466649 w 729419"/>
              <a:gd name="csY115" fmla="*/ 209061 h 2076207"/>
              <a:gd name="csX116" fmla="*/ 399941 w 729419"/>
              <a:gd name="csY116" fmla="*/ 216988 h 2076207"/>
              <a:gd name="csX117" fmla="*/ 363018 w 729419"/>
              <a:gd name="csY117" fmla="*/ 179615 h 2076207"/>
              <a:gd name="csX118" fmla="*/ 308839 w 729419"/>
              <a:gd name="csY118" fmla="*/ 227846 h 2076207"/>
              <a:gd name="csX119" fmla="*/ 245077 w 729419"/>
              <a:gd name="csY119" fmla="*/ 192402 h 2076207"/>
              <a:gd name="csX120" fmla="*/ 242829 w 729419"/>
              <a:gd name="csY120" fmla="*/ 198815 h 2076207"/>
              <a:gd name="csX121" fmla="*/ 168452 w 729419"/>
              <a:gd name="csY121" fmla="*/ 219348 h 2076207"/>
              <a:gd name="csX122" fmla="*/ 140694 w 729419"/>
              <a:gd name="csY122" fmla="*/ 201837 h 2076207"/>
              <a:gd name="csX123" fmla="*/ 259999 w 729419"/>
              <a:gd name="csY123" fmla="*/ 966699 h 2076207"/>
              <a:gd name="csX124" fmla="*/ 257072 w 729419"/>
              <a:gd name="csY124" fmla="*/ 1070424 h 2076207"/>
              <a:gd name="csX125" fmla="*/ 251372 w 729419"/>
              <a:gd name="csY125" fmla="*/ 1157618 h 2076207"/>
              <a:gd name="csX126" fmla="*/ 232677 w 729419"/>
              <a:gd name="csY126" fmla="*/ 1320279 h 2076207"/>
              <a:gd name="csX127" fmla="*/ 209182 w 729419"/>
              <a:gd name="csY127" fmla="*/ 1468667 h 2076207"/>
              <a:gd name="csX128" fmla="*/ 175302 w 729419"/>
              <a:gd name="csY128" fmla="*/ 1616623 h 2076207"/>
              <a:gd name="csX129" fmla="*/ 182769 w 729419"/>
              <a:gd name="csY129" fmla="*/ 1629786 h 2076207"/>
              <a:gd name="csX130" fmla="*/ 212156 w 729419"/>
              <a:gd name="csY130" fmla="*/ 1632656 h 2076207"/>
              <a:gd name="csX131" fmla="*/ 351295 w 729419"/>
              <a:gd name="csY131" fmla="*/ 1632801 h 2076207"/>
              <a:gd name="csX132" fmla="*/ 376150 w 729419"/>
              <a:gd name="csY132" fmla="*/ 1608307 h 2076207"/>
              <a:gd name="csX133" fmla="*/ 373450 w 729419"/>
              <a:gd name="csY133" fmla="*/ 1457291 h 2076207"/>
              <a:gd name="csX134" fmla="*/ 370936 w 729419"/>
              <a:gd name="csY134" fmla="*/ 1342736 h 2076207"/>
              <a:gd name="csX135" fmla="*/ 368328 w 729419"/>
              <a:gd name="csY135" fmla="*/ 1203878 h 2076207"/>
              <a:gd name="csX136" fmla="*/ 367836 w 729419"/>
              <a:gd name="csY136" fmla="*/ 813478 h 2076207"/>
              <a:gd name="csX137" fmla="*/ 365240 w 729419"/>
              <a:gd name="csY137" fmla="*/ 773243 h 2076207"/>
              <a:gd name="csX138" fmla="*/ 353084 w 729419"/>
              <a:gd name="csY138" fmla="*/ 762083 h 2076207"/>
              <a:gd name="csX139" fmla="*/ 280966 w 729419"/>
              <a:gd name="csY139" fmla="*/ 759855 h 2076207"/>
              <a:gd name="csX140" fmla="*/ 259965 w 729419"/>
              <a:gd name="csY140" fmla="*/ 779553 h 2076207"/>
              <a:gd name="csX141" fmla="*/ 262341 w 729419"/>
              <a:gd name="csY141" fmla="*/ 856275 h 2076207"/>
              <a:gd name="csX142" fmla="*/ 259999 w 729419"/>
              <a:gd name="csY142" fmla="*/ 966699 h 2076207"/>
              <a:gd name="csX143" fmla="*/ 55556 w 729419"/>
              <a:gd name="csY143" fmla="*/ 1835827 h 2076207"/>
              <a:gd name="csX144" fmla="*/ 49393 w 729419"/>
              <a:gd name="csY144" fmla="*/ 1878155 h 2076207"/>
              <a:gd name="csX145" fmla="*/ 73949 w 729419"/>
              <a:gd name="csY145" fmla="*/ 1905781 h 2076207"/>
              <a:gd name="csX146" fmla="*/ 110073 w 729419"/>
              <a:gd name="csY146" fmla="*/ 1909068 h 2076207"/>
              <a:gd name="csX147" fmla="*/ 224745 w 729419"/>
              <a:gd name="csY147" fmla="*/ 1921652 h 2076207"/>
              <a:gd name="csX148" fmla="*/ 347327 w 729419"/>
              <a:gd name="csY148" fmla="*/ 1924778 h 2076207"/>
              <a:gd name="csX149" fmla="*/ 363345 w 729419"/>
              <a:gd name="csY149" fmla="*/ 1923293 h 2076207"/>
              <a:gd name="csX150" fmla="*/ 373787 w 729419"/>
              <a:gd name="csY150" fmla="*/ 1911200 h 2076207"/>
              <a:gd name="csX151" fmla="*/ 376623 w 729419"/>
              <a:gd name="csY151" fmla="*/ 1696741 h 2076207"/>
              <a:gd name="csX152" fmla="*/ 360437 w 729419"/>
              <a:gd name="csY152" fmla="*/ 1681289 h 2076207"/>
              <a:gd name="csX153" fmla="*/ 263503 w 729419"/>
              <a:gd name="csY153" fmla="*/ 1678179 h 2076207"/>
              <a:gd name="csX154" fmla="*/ 160381 w 729419"/>
              <a:gd name="csY154" fmla="*/ 1670405 h 2076207"/>
              <a:gd name="csX155" fmla="*/ 143321 w 729419"/>
              <a:gd name="csY155" fmla="*/ 1685538 h 2076207"/>
              <a:gd name="csX156" fmla="*/ 124769 w 729419"/>
              <a:gd name="csY156" fmla="*/ 1738195 h 2076207"/>
              <a:gd name="csX157" fmla="*/ 90593 w 729419"/>
              <a:gd name="csY157" fmla="*/ 1779570 h 2076207"/>
              <a:gd name="csX158" fmla="*/ 55556 w 729419"/>
              <a:gd name="csY158" fmla="*/ 1835827 h 2076207"/>
              <a:gd name="csX159" fmla="*/ 378900 w 729419"/>
              <a:gd name="csY159" fmla="*/ 2007280 h 2076207"/>
              <a:gd name="csX160" fmla="*/ 378887 w 729419"/>
              <a:gd name="csY160" fmla="*/ 1995127 h 2076207"/>
              <a:gd name="csX161" fmla="*/ 359084 w 729419"/>
              <a:gd name="csY161" fmla="*/ 1975964 h 2076207"/>
              <a:gd name="csX162" fmla="*/ 247288 w 729419"/>
              <a:gd name="csY162" fmla="*/ 1973305 h 2076207"/>
              <a:gd name="csX163" fmla="*/ 201692 w 729419"/>
              <a:gd name="csY163" fmla="*/ 1970275 h 2076207"/>
              <a:gd name="csX164" fmla="*/ 57962 w 729419"/>
              <a:gd name="csY164" fmla="*/ 1952648 h 2076207"/>
              <a:gd name="csX165" fmla="*/ 39194 w 729419"/>
              <a:gd name="csY165" fmla="*/ 1963552 h 2076207"/>
              <a:gd name="csX166" fmla="*/ 30066 w 729419"/>
              <a:gd name="csY166" fmla="*/ 2006631 h 2076207"/>
              <a:gd name="csX167" fmla="*/ 40232 w 729419"/>
              <a:gd name="csY167" fmla="*/ 2019486 h 2076207"/>
              <a:gd name="csX168" fmla="*/ 238186 w 729419"/>
              <a:gd name="csY168" fmla="*/ 2046096 h 2076207"/>
              <a:gd name="csX169" fmla="*/ 342155 w 729419"/>
              <a:gd name="csY169" fmla="*/ 2046441 h 2076207"/>
              <a:gd name="csX170" fmla="*/ 378900 w 729419"/>
              <a:gd name="csY170" fmla="*/ 2007280 h 2076207"/>
              <a:gd name="csX171" fmla="*/ 310220 w 729419"/>
              <a:gd name="csY171" fmla="*/ 554288 h 2076207"/>
              <a:gd name="csX172" fmla="*/ 259136 w 729419"/>
              <a:gd name="csY172" fmla="*/ 556881 h 2076207"/>
              <a:gd name="csX173" fmla="*/ 249085 w 729419"/>
              <a:gd name="csY173" fmla="*/ 567981 h 2076207"/>
              <a:gd name="csX174" fmla="*/ 249141 w 729419"/>
              <a:gd name="csY174" fmla="*/ 605644 h 2076207"/>
              <a:gd name="csX175" fmla="*/ 262628 w 729419"/>
              <a:gd name="csY175" fmla="*/ 605627 h 2076207"/>
              <a:gd name="csX176" fmla="*/ 369608 w 729419"/>
              <a:gd name="csY176" fmla="*/ 603027 h 2076207"/>
              <a:gd name="csX177" fmla="*/ 463931 w 729419"/>
              <a:gd name="csY177" fmla="*/ 605146 h 2076207"/>
              <a:gd name="csX178" fmla="*/ 478113 w 729419"/>
              <a:gd name="csY178" fmla="*/ 595843 h 2076207"/>
              <a:gd name="csX179" fmla="*/ 478796 w 729419"/>
              <a:gd name="csY179" fmla="*/ 556832 h 2076207"/>
              <a:gd name="csX180" fmla="*/ 310220 w 729419"/>
              <a:gd name="csY180" fmla="*/ 554288 h 2076207"/>
              <a:gd name="csX181" fmla="*/ 348836 w 729419"/>
              <a:gd name="csY181" fmla="*/ 684115 h 2076207"/>
              <a:gd name="csX182" fmla="*/ 281333 w 729419"/>
              <a:gd name="csY182" fmla="*/ 683313 h 2076207"/>
              <a:gd name="csX183" fmla="*/ 212728 w 729419"/>
              <a:gd name="csY183" fmla="*/ 681931 h 2076207"/>
              <a:gd name="csX184" fmla="*/ 187283 w 729419"/>
              <a:gd name="csY184" fmla="*/ 689555 h 2076207"/>
              <a:gd name="csX185" fmla="*/ 186163 w 729419"/>
              <a:gd name="csY185" fmla="*/ 718266 h 2076207"/>
              <a:gd name="csX186" fmla="*/ 209894 w 729419"/>
              <a:gd name="csY186" fmla="*/ 726798 h 2076207"/>
              <a:gd name="csX187" fmla="*/ 334814 w 729419"/>
              <a:gd name="csY187" fmla="*/ 732494 h 2076207"/>
              <a:gd name="csX188" fmla="*/ 364856 w 729419"/>
              <a:gd name="csY188" fmla="*/ 707963 h 2076207"/>
              <a:gd name="csX189" fmla="*/ 348836 w 729419"/>
              <a:gd name="csY189" fmla="*/ 684115 h 2076207"/>
              <a:gd name="csX190" fmla="*/ 298865 w 729419"/>
              <a:gd name="csY190" fmla="*/ 621954 h 2076207"/>
              <a:gd name="csX191" fmla="*/ 251619 w 729419"/>
              <a:gd name="csY191" fmla="*/ 622133 h 2076207"/>
              <a:gd name="csX192" fmla="*/ 214459 w 729419"/>
              <a:gd name="csY192" fmla="*/ 636230 h 2076207"/>
              <a:gd name="csX193" fmla="*/ 221436 w 729419"/>
              <a:gd name="csY193" fmla="*/ 654205 h 2076207"/>
              <a:gd name="csX194" fmla="*/ 272412 w 729419"/>
              <a:gd name="csY194" fmla="*/ 657250 h 2076207"/>
              <a:gd name="csX195" fmla="*/ 349094 w 729419"/>
              <a:gd name="csY195" fmla="*/ 659282 h 2076207"/>
              <a:gd name="csX196" fmla="*/ 362996 w 729419"/>
              <a:gd name="csY196" fmla="*/ 644234 h 2076207"/>
              <a:gd name="csX197" fmla="*/ 348472 w 729419"/>
              <a:gd name="csY197" fmla="*/ 624649 h 2076207"/>
              <a:gd name="csX198" fmla="*/ 298865 w 729419"/>
              <a:gd name="csY198" fmla="*/ 621954 h 2076207"/>
              <a:gd name="csX199" fmla="*/ 227796 w 729419"/>
              <a:gd name="csY199" fmla="*/ 528000 h 2076207"/>
              <a:gd name="csX200" fmla="*/ 241009 w 729419"/>
              <a:gd name="csY200" fmla="*/ 545897 h 2076207"/>
              <a:gd name="csX201" fmla="*/ 282607 w 729419"/>
              <a:gd name="csY201" fmla="*/ 543480 h 2076207"/>
              <a:gd name="csX202" fmla="*/ 354213 w 729419"/>
              <a:gd name="csY202" fmla="*/ 543384 h 2076207"/>
              <a:gd name="csX203" fmla="*/ 365334 w 729419"/>
              <a:gd name="csY203" fmla="*/ 533397 h 2076207"/>
              <a:gd name="csX204" fmla="*/ 354531 w 729419"/>
              <a:gd name="csY204" fmla="*/ 521620 h 2076207"/>
              <a:gd name="csX205" fmla="*/ 259169 w 729419"/>
              <a:gd name="csY205" fmla="*/ 521978 h 2076207"/>
              <a:gd name="csX206" fmla="*/ 227796 w 729419"/>
              <a:gd name="csY206" fmla="*/ 528000 h 2076207"/>
              <a:gd name="csX207" fmla="*/ 508068 w 729419"/>
              <a:gd name="csY207" fmla="*/ 190710 h 2076207"/>
              <a:gd name="csX208" fmla="*/ 521293 w 729419"/>
              <a:gd name="csY208" fmla="*/ 205907 h 2076207"/>
              <a:gd name="csX209" fmla="*/ 525175 w 729419"/>
              <a:gd name="csY209" fmla="*/ 202985 h 2076207"/>
              <a:gd name="csX210" fmla="*/ 500276 w 729419"/>
              <a:gd name="csY210" fmla="*/ 160640 h 2076207"/>
              <a:gd name="csX211" fmla="*/ 497122 w 729419"/>
              <a:gd name="csY211" fmla="*/ 162007 h 2076207"/>
              <a:gd name="csX212" fmla="*/ 508068 w 729419"/>
              <a:gd name="csY212" fmla="*/ 190710 h 2076207"/>
              <a:gd name="csX213" fmla="*/ 215522 w 729419"/>
              <a:gd name="csY213" fmla="*/ 197296 h 2076207"/>
              <a:gd name="csX214" fmla="*/ 234029 w 729419"/>
              <a:gd name="csY214" fmla="*/ 162725 h 2076207"/>
              <a:gd name="csX215" fmla="*/ 229000 w 729419"/>
              <a:gd name="csY215" fmla="*/ 159902 h 2076207"/>
              <a:gd name="csX216" fmla="*/ 204824 w 729419"/>
              <a:gd name="csY216" fmla="*/ 199677 h 2076207"/>
              <a:gd name="csX217" fmla="*/ 207990 w 729419"/>
              <a:gd name="csY217" fmla="*/ 202198 h 2076207"/>
              <a:gd name="csX218" fmla="*/ 215522 w 729419"/>
              <a:gd name="csY218" fmla="*/ 197296 h 2076207"/>
              <a:gd name="csX219" fmla="*/ 484400 w 729419"/>
              <a:gd name="csY219" fmla="*/ 863693 h 2076207"/>
              <a:gd name="csX220" fmla="*/ 484400 w 729419"/>
              <a:gd name="csY220" fmla="*/ 896678 h 2076207"/>
              <a:gd name="csX221" fmla="*/ 486181 w 729419"/>
              <a:gd name="csY221" fmla="*/ 896585 h 2076207"/>
              <a:gd name="csX222" fmla="*/ 486181 w 729419"/>
              <a:gd name="csY222" fmla="*/ 795289 h 2076207"/>
              <a:gd name="csX223" fmla="*/ 720241 w 729419"/>
              <a:gd name="csY223" fmla="*/ 2030666 h 2076207"/>
              <a:gd name="csX224" fmla="*/ 721175 w 729419"/>
              <a:gd name="csY224" fmla="*/ 2029733 h 2076207"/>
              <a:gd name="csX225" fmla="*/ 720241 w 729419"/>
              <a:gd name="csY225" fmla="*/ 2030666 h 2076207"/>
              <a:gd name="csX226" fmla="*/ 715702 w 729419"/>
              <a:gd name="csY226" fmla="*/ 2037051 h 2076207"/>
              <a:gd name="csX227" fmla="*/ 715702 w 729419"/>
              <a:gd name="csY227" fmla="*/ 2037051 h 2076207"/>
              <a:gd name="csX228" fmla="*/ 709953 w 729419"/>
              <a:gd name="csY228" fmla="*/ 2040017 h 2076207"/>
              <a:gd name="csX229" fmla="*/ 710209 w 729419"/>
              <a:gd name="csY229" fmla="*/ 2039597 h 2076207"/>
              <a:gd name="csX230" fmla="*/ 709953 w 729419"/>
              <a:gd name="csY230" fmla="*/ 2040017 h 2076207"/>
              <a:gd name="csX0" fmla="*/ 96263 w 729419"/>
              <a:gd name="csY0" fmla="*/ 2076207 h 2076207"/>
              <a:gd name="csX1" fmla="*/ 63862 w 729419"/>
              <a:gd name="csY1" fmla="*/ 2065388 h 2076207"/>
              <a:gd name="csX2" fmla="*/ 16555 w 729419"/>
              <a:gd name="csY2" fmla="*/ 2050152 h 2076207"/>
              <a:gd name="csX3" fmla="*/ 15 w 729419"/>
              <a:gd name="csY3" fmla="*/ 2023802 h 2076207"/>
              <a:gd name="csX4" fmla="*/ 18368 w 729419"/>
              <a:gd name="csY4" fmla="*/ 1940709 h 2076207"/>
              <a:gd name="csX5" fmla="*/ 22139 w 729419"/>
              <a:gd name="csY5" fmla="*/ 1907268 h 2076207"/>
              <a:gd name="csX6" fmla="*/ 57941 w 729419"/>
              <a:gd name="csY6" fmla="*/ 1774163 h 2076207"/>
              <a:gd name="csX7" fmla="*/ 102478 w 729419"/>
              <a:gd name="csY7" fmla="*/ 1720275 h 2076207"/>
              <a:gd name="csX8" fmla="*/ 108579 w 729419"/>
              <a:gd name="csY8" fmla="*/ 1650967 h 2076207"/>
              <a:gd name="csX9" fmla="*/ 115628 w 729419"/>
              <a:gd name="csY9" fmla="*/ 1625405 h 2076207"/>
              <a:gd name="csX10" fmla="*/ 156323 w 729419"/>
              <a:gd name="csY10" fmla="*/ 1560181 h 2076207"/>
              <a:gd name="csX11" fmla="*/ 199424 w 729419"/>
              <a:gd name="csY11" fmla="*/ 1364729 h 2076207"/>
              <a:gd name="csX12" fmla="*/ 216779 w 729419"/>
              <a:gd name="csY12" fmla="*/ 1219490 h 2076207"/>
              <a:gd name="csX13" fmla="*/ 229755 w 729419"/>
              <a:gd name="csY13" fmla="*/ 1099357 h 2076207"/>
              <a:gd name="csX14" fmla="*/ 232707 w 729419"/>
              <a:gd name="csY14" fmla="*/ 1056423 h 2076207"/>
              <a:gd name="csX15" fmla="*/ 235622 w 729419"/>
              <a:gd name="csY15" fmla="*/ 952675 h 2076207"/>
              <a:gd name="csX16" fmla="*/ 235445 w 729419"/>
              <a:gd name="csY16" fmla="*/ 780278 h 2076207"/>
              <a:gd name="csX17" fmla="*/ 214544 w 729419"/>
              <a:gd name="csY17" fmla="*/ 756435 h 2076207"/>
              <a:gd name="csX18" fmla="*/ 172569 w 729419"/>
              <a:gd name="csY18" fmla="*/ 742582 h 2076207"/>
              <a:gd name="csX19" fmla="*/ 168784 w 729419"/>
              <a:gd name="csY19" fmla="*/ 669116 h 2076207"/>
              <a:gd name="csX20" fmla="*/ 191657 w 729419"/>
              <a:gd name="csY20" fmla="*/ 630765 h 2076207"/>
              <a:gd name="csX21" fmla="*/ 208150 w 729419"/>
              <a:gd name="csY21" fmla="*/ 609084 h 2076207"/>
              <a:gd name="csX22" fmla="*/ 216756 w 729419"/>
              <a:gd name="csY22" fmla="*/ 558673 h 2076207"/>
              <a:gd name="csX23" fmla="*/ 209092 w 729419"/>
              <a:gd name="csY23" fmla="*/ 521540 h 2076207"/>
              <a:gd name="csX24" fmla="*/ 204683 w 729419"/>
              <a:gd name="csY24" fmla="*/ 474024 h 2076207"/>
              <a:gd name="csX25" fmla="*/ 115483 w 729419"/>
              <a:gd name="csY25" fmla="*/ 213499 h 2076207"/>
              <a:gd name="csX26" fmla="*/ 102909 w 729419"/>
              <a:gd name="csY26" fmla="*/ 182297 h 2076207"/>
              <a:gd name="csX27" fmla="*/ 104315 w 729419"/>
              <a:gd name="csY27" fmla="*/ 163968 h 2076207"/>
              <a:gd name="csX28" fmla="*/ 122444 w 729419"/>
              <a:gd name="csY28" fmla="*/ 160805 h 2076207"/>
              <a:gd name="csX29" fmla="*/ 170283 w 729419"/>
              <a:gd name="csY29" fmla="*/ 187783 h 2076207"/>
              <a:gd name="csX30" fmla="*/ 180938 w 729419"/>
              <a:gd name="csY30" fmla="*/ 195322 h 2076207"/>
              <a:gd name="csX31" fmla="*/ 221419 w 729419"/>
              <a:gd name="csY31" fmla="*/ 138058 h 2076207"/>
              <a:gd name="csX32" fmla="*/ 294099 w 729419"/>
              <a:gd name="csY32" fmla="*/ 91372 h 2076207"/>
              <a:gd name="csX33" fmla="*/ 302307 w 729419"/>
              <a:gd name="csY33" fmla="*/ 76560 h 2076207"/>
              <a:gd name="csX34" fmla="*/ 320284 w 729419"/>
              <a:gd name="csY34" fmla="*/ 8414 h 2076207"/>
              <a:gd name="csX35" fmla="*/ 324784 w 729419"/>
              <a:gd name="csY35" fmla="*/ 946 h 2076207"/>
              <a:gd name="csX36" fmla="*/ 399212 w 729419"/>
              <a:gd name="csY36" fmla="*/ 0 h 2076207"/>
              <a:gd name="csX37" fmla="*/ 425980 w 729419"/>
              <a:gd name="csY37" fmla="*/ 78301 h 2076207"/>
              <a:gd name="csX38" fmla="*/ 431861 w 729419"/>
              <a:gd name="csY38" fmla="*/ 90312 h 2076207"/>
              <a:gd name="csX39" fmla="*/ 540349 w 729419"/>
              <a:gd name="csY39" fmla="*/ 187946 h 2076207"/>
              <a:gd name="csX40" fmla="*/ 545555 w 729419"/>
              <a:gd name="csY40" fmla="*/ 197828 h 2076207"/>
              <a:gd name="csX41" fmla="*/ 587318 w 729419"/>
              <a:gd name="csY41" fmla="*/ 171260 h 2076207"/>
              <a:gd name="csX42" fmla="*/ 601503 w 729419"/>
              <a:gd name="csY42" fmla="*/ 163707 h 2076207"/>
              <a:gd name="csX43" fmla="*/ 625254 w 729419"/>
              <a:gd name="csY43" fmla="*/ 163123 h 2076207"/>
              <a:gd name="csX44" fmla="*/ 625468 w 729419"/>
              <a:gd name="csY44" fmla="*/ 187579 h 2076207"/>
              <a:gd name="csX45" fmla="*/ 597543 w 729419"/>
              <a:gd name="csY45" fmla="*/ 251872 h 2076207"/>
              <a:gd name="csX46" fmla="*/ 531831 w 729419"/>
              <a:gd name="csY46" fmla="*/ 442689 h 2076207"/>
              <a:gd name="csX47" fmla="*/ 519888 w 729419"/>
              <a:gd name="csY47" fmla="*/ 501474 h 2076207"/>
              <a:gd name="csX48" fmla="*/ 522506 w 729419"/>
              <a:gd name="csY48" fmla="*/ 525086 h 2076207"/>
              <a:gd name="csX49" fmla="*/ 516235 w 729419"/>
              <a:gd name="csY49" fmla="*/ 555946 h 2076207"/>
              <a:gd name="csX50" fmla="*/ 521332 w 729419"/>
              <a:gd name="csY50" fmla="*/ 610676 h 2076207"/>
              <a:gd name="csX51" fmla="*/ 541382 w 729419"/>
              <a:gd name="csY51" fmla="*/ 642597 h 2076207"/>
              <a:gd name="csX52" fmla="*/ 557031 w 729419"/>
              <a:gd name="csY52" fmla="*/ 667949 h 2076207"/>
              <a:gd name="csX53" fmla="*/ 553994 w 729419"/>
              <a:gd name="csY53" fmla="*/ 744146 h 2076207"/>
              <a:gd name="csX54" fmla="*/ 508215 w 729419"/>
              <a:gd name="csY54" fmla="*/ 758841 h 2076207"/>
              <a:gd name="csX55" fmla="*/ 497442 w 729419"/>
              <a:gd name="csY55" fmla="*/ 771256 h 2076207"/>
              <a:gd name="csX56" fmla="*/ 493005 w 729419"/>
              <a:gd name="csY56" fmla="*/ 922055 h 2076207"/>
              <a:gd name="csX57" fmla="*/ 502900 w 729419"/>
              <a:gd name="csY57" fmla="*/ 1114191 h 2076207"/>
              <a:gd name="csX58" fmla="*/ 508800 w 729419"/>
              <a:gd name="csY58" fmla="*/ 1205474 h 2076207"/>
              <a:gd name="csX59" fmla="*/ 522952 w 729419"/>
              <a:gd name="csY59" fmla="*/ 1320065 h 2076207"/>
              <a:gd name="csX60" fmla="*/ 554682 w 729419"/>
              <a:gd name="csY60" fmla="*/ 1501203 h 2076207"/>
              <a:gd name="csX61" fmla="*/ 576958 w 729419"/>
              <a:gd name="csY61" fmla="*/ 1593963 h 2076207"/>
              <a:gd name="csX62" fmla="*/ 595349 w 729419"/>
              <a:gd name="csY62" fmla="*/ 1613498 h 2076207"/>
              <a:gd name="csX63" fmla="*/ 613936 w 729419"/>
              <a:gd name="csY63" fmla="*/ 1624058 h 2076207"/>
              <a:gd name="csX64" fmla="*/ 620938 w 729419"/>
              <a:gd name="csY64" fmla="*/ 1652071 h 2076207"/>
              <a:gd name="csX65" fmla="*/ 630805 w 729419"/>
              <a:gd name="csY65" fmla="*/ 1721702 h 2076207"/>
              <a:gd name="csX66" fmla="*/ 685830 w 729419"/>
              <a:gd name="csY66" fmla="*/ 1792915 h 2076207"/>
              <a:gd name="csX67" fmla="*/ 708904 w 729419"/>
              <a:gd name="csY67" fmla="*/ 1890290 h 2076207"/>
              <a:gd name="csX68" fmla="*/ 716580 w 729419"/>
              <a:gd name="csY68" fmla="*/ 1951136 h 2076207"/>
              <a:gd name="csX69" fmla="*/ 729397 w 729419"/>
              <a:gd name="csY69" fmla="*/ 2030261 h 2076207"/>
              <a:gd name="csX70" fmla="*/ 714212 w 729419"/>
              <a:gd name="csY70" fmla="*/ 2049544 h 2076207"/>
              <a:gd name="csX71" fmla="*/ 645428 w 729419"/>
              <a:gd name="csY71" fmla="*/ 2070825 h 2076207"/>
              <a:gd name="csX72" fmla="*/ 635822 w 729419"/>
              <a:gd name="csY72" fmla="*/ 2075145 h 2076207"/>
              <a:gd name="csX73" fmla="*/ 588428 w 729419"/>
              <a:gd name="csY73" fmla="*/ 2075144 h 2076207"/>
              <a:gd name="csX74" fmla="*/ 590041 w 729419"/>
              <a:gd name="csY74" fmla="*/ 2071383 h 2076207"/>
              <a:gd name="csX75" fmla="*/ 667788 w 729419"/>
              <a:gd name="csY75" fmla="*/ 2056852 h 2076207"/>
              <a:gd name="csX76" fmla="*/ 706629 w 729419"/>
              <a:gd name="csY76" fmla="*/ 2044290 h 2076207"/>
              <a:gd name="csX77" fmla="*/ 702674 w 729419"/>
              <a:gd name="csY77" fmla="*/ 2041581 h 2076207"/>
              <a:gd name="csX78" fmla="*/ 544974 w 729419"/>
              <a:gd name="csY78" fmla="*/ 2071274 h 2076207"/>
              <a:gd name="csX79" fmla="*/ 538352 w 729419"/>
              <a:gd name="csY79" fmla="*/ 2076207 h 2076207"/>
              <a:gd name="csX80" fmla="*/ 96263 w 729419"/>
              <a:gd name="csY80" fmla="*/ 2076207 h 2076207"/>
              <a:gd name="csX81" fmla="*/ 489970 w 729419"/>
              <a:gd name="csY81" fmla="*/ 152208 h 2076207"/>
              <a:gd name="csX82" fmla="*/ 490754 w 729419"/>
              <a:gd name="csY82" fmla="*/ 152592 h 2076207"/>
              <a:gd name="csX83" fmla="*/ 489489 w 729419"/>
              <a:gd name="csY83" fmla="*/ 149547 h 2076207"/>
              <a:gd name="csX84" fmla="*/ 393621 w 729419"/>
              <a:gd name="csY84" fmla="*/ 99259 h 2076207"/>
              <a:gd name="csX85" fmla="*/ 390419 w 729419"/>
              <a:gd name="csY85" fmla="*/ 18568 h 2076207"/>
              <a:gd name="csX86" fmla="*/ 334131 w 729419"/>
              <a:gd name="csY86" fmla="*/ 24327 h 2076207"/>
              <a:gd name="csX87" fmla="*/ 344678 w 729419"/>
              <a:gd name="csY87" fmla="*/ 101259 h 2076207"/>
              <a:gd name="csX88" fmla="*/ 298854 w 729419"/>
              <a:gd name="csY88" fmla="*/ 114003 h 2076207"/>
              <a:gd name="csX89" fmla="*/ 237456 w 729419"/>
              <a:gd name="csY89" fmla="*/ 154340 h 2076207"/>
              <a:gd name="csX90" fmla="*/ 240382 w 729419"/>
              <a:gd name="csY90" fmla="*/ 154035 h 2076207"/>
              <a:gd name="csX91" fmla="*/ 262731 w 729419"/>
              <a:gd name="csY91" fmla="*/ 170426 h 2076207"/>
              <a:gd name="csX92" fmla="*/ 279169 w 729419"/>
              <a:gd name="csY92" fmla="*/ 193173 h 2076207"/>
              <a:gd name="csX93" fmla="*/ 327717 w 729419"/>
              <a:gd name="csY93" fmla="*/ 188556 h 2076207"/>
              <a:gd name="csX94" fmla="*/ 348052 w 729419"/>
              <a:gd name="csY94" fmla="*/ 156919 h 2076207"/>
              <a:gd name="csX95" fmla="*/ 380330 w 729419"/>
              <a:gd name="csY95" fmla="*/ 156483 h 2076207"/>
              <a:gd name="csX96" fmla="*/ 408490 w 729419"/>
              <a:gd name="csY96" fmla="*/ 195400 h 2076207"/>
              <a:gd name="csX97" fmla="*/ 445346 w 729419"/>
              <a:gd name="csY97" fmla="*/ 197582 h 2076207"/>
              <a:gd name="csX98" fmla="*/ 464798 w 729419"/>
              <a:gd name="csY98" fmla="*/ 174107 h 2076207"/>
              <a:gd name="csX99" fmla="*/ 489970 w 729419"/>
              <a:gd name="csY99" fmla="*/ 152208 h 2076207"/>
              <a:gd name="csX100" fmla="*/ 140694 w 729419"/>
              <a:gd name="csY100" fmla="*/ 201837 h 2076207"/>
              <a:gd name="csX101" fmla="*/ 139834 w 729419"/>
              <a:gd name="csY101" fmla="*/ 201482 h 2076207"/>
              <a:gd name="csX102" fmla="*/ 140812 w 729419"/>
              <a:gd name="csY102" fmla="*/ 204941 h 2076207"/>
              <a:gd name="csX103" fmla="*/ 144631 w 729419"/>
              <a:gd name="csY103" fmla="*/ 217811 h 2076207"/>
              <a:gd name="csX104" fmla="*/ 201241 w 729419"/>
              <a:gd name="csY104" fmla="*/ 373387 h 2076207"/>
              <a:gd name="csX105" fmla="*/ 235971 w 729419"/>
              <a:gd name="csY105" fmla="*/ 504451 h 2076207"/>
              <a:gd name="csX106" fmla="*/ 247475 w 729419"/>
              <a:gd name="csY106" fmla="*/ 513241 h 2076207"/>
              <a:gd name="csX107" fmla="*/ 289066 w 729419"/>
              <a:gd name="csY107" fmla="*/ 511170 h 2076207"/>
              <a:gd name="csX108" fmla="*/ 378229 w 729419"/>
              <a:gd name="csY108" fmla="*/ 511084 h 2076207"/>
              <a:gd name="csX109" fmla="*/ 470850 w 729419"/>
              <a:gd name="csY109" fmla="*/ 516341 h 2076207"/>
              <a:gd name="csX110" fmla="*/ 492933 w 729419"/>
              <a:gd name="csY110" fmla="*/ 497969 h 2076207"/>
              <a:gd name="csX111" fmla="*/ 557617 w 729419"/>
              <a:gd name="csY111" fmla="*/ 280398 h 2076207"/>
              <a:gd name="csX112" fmla="*/ 588788 w 729419"/>
              <a:gd name="csY112" fmla="*/ 200385 h 2076207"/>
              <a:gd name="csX113" fmla="*/ 530958 w 729419"/>
              <a:gd name="csY113" fmla="*/ 232968 h 2076207"/>
              <a:gd name="csX114" fmla="*/ 483823 w 729419"/>
              <a:gd name="csY114" fmla="*/ 190364 h 2076207"/>
              <a:gd name="csX115" fmla="*/ 466649 w 729419"/>
              <a:gd name="csY115" fmla="*/ 209061 h 2076207"/>
              <a:gd name="csX116" fmla="*/ 399941 w 729419"/>
              <a:gd name="csY116" fmla="*/ 216988 h 2076207"/>
              <a:gd name="csX117" fmla="*/ 363018 w 729419"/>
              <a:gd name="csY117" fmla="*/ 179615 h 2076207"/>
              <a:gd name="csX118" fmla="*/ 308839 w 729419"/>
              <a:gd name="csY118" fmla="*/ 227846 h 2076207"/>
              <a:gd name="csX119" fmla="*/ 245077 w 729419"/>
              <a:gd name="csY119" fmla="*/ 192402 h 2076207"/>
              <a:gd name="csX120" fmla="*/ 242829 w 729419"/>
              <a:gd name="csY120" fmla="*/ 198815 h 2076207"/>
              <a:gd name="csX121" fmla="*/ 168452 w 729419"/>
              <a:gd name="csY121" fmla="*/ 219348 h 2076207"/>
              <a:gd name="csX122" fmla="*/ 140694 w 729419"/>
              <a:gd name="csY122" fmla="*/ 201837 h 2076207"/>
              <a:gd name="csX123" fmla="*/ 259999 w 729419"/>
              <a:gd name="csY123" fmla="*/ 966699 h 2076207"/>
              <a:gd name="csX124" fmla="*/ 257072 w 729419"/>
              <a:gd name="csY124" fmla="*/ 1070424 h 2076207"/>
              <a:gd name="csX125" fmla="*/ 251372 w 729419"/>
              <a:gd name="csY125" fmla="*/ 1157618 h 2076207"/>
              <a:gd name="csX126" fmla="*/ 232677 w 729419"/>
              <a:gd name="csY126" fmla="*/ 1320279 h 2076207"/>
              <a:gd name="csX127" fmla="*/ 209182 w 729419"/>
              <a:gd name="csY127" fmla="*/ 1468667 h 2076207"/>
              <a:gd name="csX128" fmla="*/ 175302 w 729419"/>
              <a:gd name="csY128" fmla="*/ 1616623 h 2076207"/>
              <a:gd name="csX129" fmla="*/ 182769 w 729419"/>
              <a:gd name="csY129" fmla="*/ 1629786 h 2076207"/>
              <a:gd name="csX130" fmla="*/ 212156 w 729419"/>
              <a:gd name="csY130" fmla="*/ 1632656 h 2076207"/>
              <a:gd name="csX131" fmla="*/ 351295 w 729419"/>
              <a:gd name="csY131" fmla="*/ 1632801 h 2076207"/>
              <a:gd name="csX132" fmla="*/ 376150 w 729419"/>
              <a:gd name="csY132" fmla="*/ 1608307 h 2076207"/>
              <a:gd name="csX133" fmla="*/ 373450 w 729419"/>
              <a:gd name="csY133" fmla="*/ 1457291 h 2076207"/>
              <a:gd name="csX134" fmla="*/ 370936 w 729419"/>
              <a:gd name="csY134" fmla="*/ 1342736 h 2076207"/>
              <a:gd name="csX135" fmla="*/ 368328 w 729419"/>
              <a:gd name="csY135" fmla="*/ 1203878 h 2076207"/>
              <a:gd name="csX136" fmla="*/ 367836 w 729419"/>
              <a:gd name="csY136" fmla="*/ 813478 h 2076207"/>
              <a:gd name="csX137" fmla="*/ 365240 w 729419"/>
              <a:gd name="csY137" fmla="*/ 773243 h 2076207"/>
              <a:gd name="csX138" fmla="*/ 353084 w 729419"/>
              <a:gd name="csY138" fmla="*/ 762083 h 2076207"/>
              <a:gd name="csX139" fmla="*/ 280966 w 729419"/>
              <a:gd name="csY139" fmla="*/ 759855 h 2076207"/>
              <a:gd name="csX140" fmla="*/ 259965 w 729419"/>
              <a:gd name="csY140" fmla="*/ 779553 h 2076207"/>
              <a:gd name="csX141" fmla="*/ 262341 w 729419"/>
              <a:gd name="csY141" fmla="*/ 856275 h 2076207"/>
              <a:gd name="csX142" fmla="*/ 259999 w 729419"/>
              <a:gd name="csY142" fmla="*/ 966699 h 2076207"/>
              <a:gd name="csX143" fmla="*/ 55556 w 729419"/>
              <a:gd name="csY143" fmla="*/ 1835827 h 2076207"/>
              <a:gd name="csX144" fmla="*/ 49393 w 729419"/>
              <a:gd name="csY144" fmla="*/ 1878155 h 2076207"/>
              <a:gd name="csX145" fmla="*/ 73949 w 729419"/>
              <a:gd name="csY145" fmla="*/ 1905781 h 2076207"/>
              <a:gd name="csX146" fmla="*/ 110073 w 729419"/>
              <a:gd name="csY146" fmla="*/ 1909068 h 2076207"/>
              <a:gd name="csX147" fmla="*/ 224745 w 729419"/>
              <a:gd name="csY147" fmla="*/ 1921652 h 2076207"/>
              <a:gd name="csX148" fmla="*/ 347327 w 729419"/>
              <a:gd name="csY148" fmla="*/ 1924778 h 2076207"/>
              <a:gd name="csX149" fmla="*/ 363345 w 729419"/>
              <a:gd name="csY149" fmla="*/ 1923293 h 2076207"/>
              <a:gd name="csX150" fmla="*/ 373787 w 729419"/>
              <a:gd name="csY150" fmla="*/ 1911200 h 2076207"/>
              <a:gd name="csX151" fmla="*/ 376623 w 729419"/>
              <a:gd name="csY151" fmla="*/ 1696741 h 2076207"/>
              <a:gd name="csX152" fmla="*/ 360437 w 729419"/>
              <a:gd name="csY152" fmla="*/ 1681289 h 2076207"/>
              <a:gd name="csX153" fmla="*/ 263503 w 729419"/>
              <a:gd name="csY153" fmla="*/ 1678179 h 2076207"/>
              <a:gd name="csX154" fmla="*/ 160381 w 729419"/>
              <a:gd name="csY154" fmla="*/ 1670405 h 2076207"/>
              <a:gd name="csX155" fmla="*/ 143321 w 729419"/>
              <a:gd name="csY155" fmla="*/ 1685538 h 2076207"/>
              <a:gd name="csX156" fmla="*/ 124769 w 729419"/>
              <a:gd name="csY156" fmla="*/ 1738195 h 2076207"/>
              <a:gd name="csX157" fmla="*/ 90593 w 729419"/>
              <a:gd name="csY157" fmla="*/ 1779570 h 2076207"/>
              <a:gd name="csX158" fmla="*/ 55556 w 729419"/>
              <a:gd name="csY158" fmla="*/ 1835827 h 2076207"/>
              <a:gd name="csX159" fmla="*/ 378900 w 729419"/>
              <a:gd name="csY159" fmla="*/ 2007280 h 2076207"/>
              <a:gd name="csX160" fmla="*/ 378887 w 729419"/>
              <a:gd name="csY160" fmla="*/ 1995127 h 2076207"/>
              <a:gd name="csX161" fmla="*/ 359084 w 729419"/>
              <a:gd name="csY161" fmla="*/ 1975964 h 2076207"/>
              <a:gd name="csX162" fmla="*/ 247288 w 729419"/>
              <a:gd name="csY162" fmla="*/ 1973305 h 2076207"/>
              <a:gd name="csX163" fmla="*/ 201692 w 729419"/>
              <a:gd name="csY163" fmla="*/ 1970275 h 2076207"/>
              <a:gd name="csX164" fmla="*/ 57962 w 729419"/>
              <a:gd name="csY164" fmla="*/ 1952648 h 2076207"/>
              <a:gd name="csX165" fmla="*/ 39194 w 729419"/>
              <a:gd name="csY165" fmla="*/ 1963552 h 2076207"/>
              <a:gd name="csX166" fmla="*/ 30066 w 729419"/>
              <a:gd name="csY166" fmla="*/ 2006631 h 2076207"/>
              <a:gd name="csX167" fmla="*/ 40232 w 729419"/>
              <a:gd name="csY167" fmla="*/ 2019486 h 2076207"/>
              <a:gd name="csX168" fmla="*/ 238186 w 729419"/>
              <a:gd name="csY168" fmla="*/ 2046096 h 2076207"/>
              <a:gd name="csX169" fmla="*/ 342155 w 729419"/>
              <a:gd name="csY169" fmla="*/ 2046441 h 2076207"/>
              <a:gd name="csX170" fmla="*/ 378900 w 729419"/>
              <a:gd name="csY170" fmla="*/ 2007280 h 2076207"/>
              <a:gd name="csX171" fmla="*/ 310220 w 729419"/>
              <a:gd name="csY171" fmla="*/ 554288 h 2076207"/>
              <a:gd name="csX172" fmla="*/ 259136 w 729419"/>
              <a:gd name="csY172" fmla="*/ 556881 h 2076207"/>
              <a:gd name="csX173" fmla="*/ 249085 w 729419"/>
              <a:gd name="csY173" fmla="*/ 567981 h 2076207"/>
              <a:gd name="csX174" fmla="*/ 249141 w 729419"/>
              <a:gd name="csY174" fmla="*/ 605644 h 2076207"/>
              <a:gd name="csX175" fmla="*/ 262628 w 729419"/>
              <a:gd name="csY175" fmla="*/ 605627 h 2076207"/>
              <a:gd name="csX176" fmla="*/ 369608 w 729419"/>
              <a:gd name="csY176" fmla="*/ 603027 h 2076207"/>
              <a:gd name="csX177" fmla="*/ 463931 w 729419"/>
              <a:gd name="csY177" fmla="*/ 605146 h 2076207"/>
              <a:gd name="csX178" fmla="*/ 478113 w 729419"/>
              <a:gd name="csY178" fmla="*/ 595843 h 2076207"/>
              <a:gd name="csX179" fmla="*/ 478796 w 729419"/>
              <a:gd name="csY179" fmla="*/ 556832 h 2076207"/>
              <a:gd name="csX180" fmla="*/ 310220 w 729419"/>
              <a:gd name="csY180" fmla="*/ 554288 h 2076207"/>
              <a:gd name="csX181" fmla="*/ 348836 w 729419"/>
              <a:gd name="csY181" fmla="*/ 684115 h 2076207"/>
              <a:gd name="csX182" fmla="*/ 281333 w 729419"/>
              <a:gd name="csY182" fmla="*/ 683313 h 2076207"/>
              <a:gd name="csX183" fmla="*/ 212728 w 729419"/>
              <a:gd name="csY183" fmla="*/ 681931 h 2076207"/>
              <a:gd name="csX184" fmla="*/ 187283 w 729419"/>
              <a:gd name="csY184" fmla="*/ 689555 h 2076207"/>
              <a:gd name="csX185" fmla="*/ 186163 w 729419"/>
              <a:gd name="csY185" fmla="*/ 718266 h 2076207"/>
              <a:gd name="csX186" fmla="*/ 209894 w 729419"/>
              <a:gd name="csY186" fmla="*/ 726798 h 2076207"/>
              <a:gd name="csX187" fmla="*/ 334814 w 729419"/>
              <a:gd name="csY187" fmla="*/ 732494 h 2076207"/>
              <a:gd name="csX188" fmla="*/ 364856 w 729419"/>
              <a:gd name="csY188" fmla="*/ 707963 h 2076207"/>
              <a:gd name="csX189" fmla="*/ 348836 w 729419"/>
              <a:gd name="csY189" fmla="*/ 684115 h 2076207"/>
              <a:gd name="csX190" fmla="*/ 298865 w 729419"/>
              <a:gd name="csY190" fmla="*/ 621954 h 2076207"/>
              <a:gd name="csX191" fmla="*/ 251619 w 729419"/>
              <a:gd name="csY191" fmla="*/ 622133 h 2076207"/>
              <a:gd name="csX192" fmla="*/ 214459 w 729419"/>
              <a:gd name="csY192" fmla="*/ 636230 h 2076207"/>
              <a:gd name="csX193" fmla="*/ 221436 w 729419"/>
              <a:gd name="csY193" fmla="*/ 654205 h 2076207"/>
              <a:gd name="csX194" fmla="*/ 272412 w 729419"/>
              <a:gd name="csY194" fmla="*/ 657250 h 2076207"/>
              <a:gd name="csX195" fmla="*/ 349094 w 729419"/>
              <a:gd name="csY195" fmla="*/ 659282 h 2076207"/>
              <a:gd name="csX196" fmla="*/ 362996 w 729419"/>
              <a:gd name="csY196" fmla="*/ 644234 h 2076207"/>
              <a:gd name="csX197" fmla="*/ 348472 w 729419"/>
              <a:gd name="csY197" fmla="*/ 624649 h 2076207"/>
              <a:gd name="csX198" fmla="*/ 298865 w 729419"/>
              <a:gd name="csY198" fmla="*/ 621954 h 2076207"/>
              <a:gd name="csX199" fmla="*/ 227796 w 729419"/>
              <a:gd name="csY199" fmla="*/ 528000 h 2076207"/>
              <a:gd name="csX200" fmla="*/ 241009 w 729419"/>
              <a:gd name="csY200" fmla="*/ 545897 h 2076207"/>
              <a:gd name="csX201" fmla="*/ 282607 w 729419"/>
              <a:gd name="csY201" fmla="*/ 543480 h 2076207"/>
              <a:gd name="csX202" fmla="*/ 354213 w 729419"/>
              <a:gd name="csY202" fmla="*/ 543384 h 2076207"/>
              <a:gd name="csX203" fmla="*/ 365334 w 729419"/>
              <a:gd name="csY203" fmla="*/ 533397 h 2076207"/>
              <a:gd name="csX204" fmla="*/ 354531 w 729419"/>
              <a:gd name="csY204" fmla="*/ 521620 h 2076207"/>
              <a:gd name="csX205" fmla="*/ 259169 w 729419"/>
              <a:gd name="csY205" fmla="*/ 521978 h 2076207"/>
              <a:gd name="csX206" fmla="*/ 227796 w 729419"/>
              <a:gd name="csY206" fmla="*/ 528000 h 2076207"/>
              <a:gd name="csX207" fmla="*/ 508068 w 729419"/>
              <a:gd name="csY207" fmla="*/ 190710 h 2076207"/>
              <a:gd name="csX208" fmla="*/ 521293 w 729419"/>
              <a:gd name="csY208" fmla="*/ 205907 h 2076207"/>
              <a:gd name="csX209" fmla="*/ 525175 w 729419"/>
              <a:gd name="csY209" fmla="*/ 202985 h 2076207"/>
              <a:gd name="csX210" fmla="*/ 500276 w 729419"/>
              <a:gd name="csY210" fmla="*/ 160640 h 2076207"/>
              <a:gd name="csX211" fmla="*/ 497122 w 729419"/>
              <a:gd name="csY211" fmla="*/ 162007 h 2076207"/>
              <a:gd name="csX212" fmla="*/ 508068 w 729419"/>
              <a:gd name="csY212" fmla="*/ 190710 h 2076207"/>
              <a:gd name="csX213" fmla="*/ 215522 w 729419"/>
              <a:gd name="csY213" fmla="*/ 197296 h 2076207"/>
              <a:gd name="csX214" fmla="*/ 234029 w 729419"/>
              <a:gd name="csY214" fmla="*/ 162725 h 2076207"/>
              <a:gd name="csX215" fmla="*/ 229000 w 729419"/>
              <a:gd name="csY215" fmla="*/ 159902 h 2076207"/>
              <a:gd name="csX216" fmla="*/ 204824 w 729419"/>
              <a:gd name="csY216" fmla="*/ 199677 h 2076207"/>
              <a:gd name="csX217" fmla="*/ 207990 w 729419"/>
              <a:gd name="csY217" fmla="*/ 202198 h 2076207"/>
              <a:gd name="csX218" fmla="*/ 215522 w 729419"/>
              <a:gd name="csY218" fmla="*/ 197296 h 2076207"/>
              <a:gd name="csX219" fmla="*/ 484400 w 729419"/>
              <a:gd name="csY219" fmla="*/ 896678 h 2076207"/>
              <a:gd name="csX220" fmla="*/ 486181 w 729419"/>
              <a:gd name="csY220" fmla="*/ 896585 h 2076207"/>
              <a:gd name="csX221" fmla="*/ 486181 w 729419"/>
              <a:gd name="csY221" fmla="*/ 795289 h 2076207"/>
              <a:gd name="csX222" fmla="*/ 720241 w 729419"/>
              <a:gd name="csY222" fmla="*/ 2030666 h 2076207"/>
              <a:gd name="csX223" fmla="*/ 721175 w 729419"/>
              <a:gd name="csY223" fmla="*/ 2029733 h 2076207"/>
              <a:gd name="csX224" fmla="*/ 720241 w 729419"/>
              <a:gd name="csY224" fmla="*/ 2030666 h 2076207"/>
              <a:gd name="csX225" fmla="*/ 715702 w 729419"/>
              <a:gd name="csY225" fmla="*/ 2037051 h 2076207"/>
              <a:gd name="csX226" fmla="*/ 715702 w 729419"/>
              <a:gd name="csY226" fmla="*/ 2037051 h 2076207"/>
              <a:gd name="csX227" fmla="*/ 709953 w 729419"/>
              <a:gd name="csY227" fmla="*/ 2040017 h 2076207"/>
              <a:gd name="csX228" fmla="*/ 710209 w 729419"/>
              <a:gd name="csY228" fmla="*/ 2039597 h 2076207"/>
              <a:gd name="csX229" fmla="*/ 709953 w 729419"/>
              <a:gd name="csY229" fmla="*/ 2040017 h 2076207"/>
              <a:gd name="csX0" fmla="*/ 96263 w 729419"/>
              <a:gd name="csY0" fmla="*/ 2076207 h 2076207"/>
              <a:gd name="csX1" fmla="*/ 63862 w 729419"/>
              <a:gd name="csY1" fmla="*/ 2065388 h 2076207"/>
              <a:gd name="csX2" fmla="*/ 16555 w 729419"/>
              <a:gd name="csY2" fmla="*/ 2050152 h 2076207"/>
              <a:gd name="csX3" fmla="*/ 15 w 729419"/>
              <a:gd name="csY3" fmla="*/ 2023802 h 2076207"/>
              <a:gd name="csX4" fmla="*/ 18368 w 729419"/>
              <a:gd name="csY4" fmla="*/ 1940709 h 2076207"/>
              <a:gd name="csX5" fmla="*/ 22139 w 729419"/>
              <a:gd name="csY5" fmla="*/ 1907268 h 2076207"/>
              <a:gd name="csX6" fmla="*/ 57941 w 729419"/>
              <a:gd name="csY6" fmla="*/ 1774163 h 2076207"/>
              <a:gd name="csX7" fmla="*/ 102478 w 729419"/>
              <a:gd name="csY7" fmla="*/ 1720275 h 2076207"/>
              <a:gd name="csX8" fmla="*/ 108579 w 729419"/>
              <a:gd name="csY8" fmla="*/ 1650967 h 2076207"/>
              <a:gd name="csX9" fmla="*/ 115628 w 729419"/>
              <a:gd name="csY9" fmla="*/ 1625405 h 2076207"/>
              <a:gd name="csX10" fmla="*/ 156323 w 729419"/>
              <a:gd name="csY10" fmla="*/ 1560181 h 2076207"/>
              <a:gd name="csX11" fmla="*/ 199424 w 729419"/>
              <a:gd name="csY11" fmla="*/ 1364729 h 2076207"/>
              <a:gd name="csX12" fmla="*/ 216779 w 729419"/>
              <a:gd name="csY12" fmla="*/ 1219490 h 2076207"/>
              <a:gd name="csX13" fmla="*/ 229755 w 729419"/>
              <a:gd name="csY13" fmla="*/ 1099357 h 2076207"/>
              <a:gd name="csX14" fmla="*/ 232707 w 729419"/>
              <a:gd name="csY14" fmla="*/ 1056423 h 2076207"/>
              <a:gd name="csX15" fmla="*/ 235622 w 729419"/>
              <a:gd name="csY15" fmla="*/ 952675 h 2076207"/>
              <a:gd name="csX16" fmla="*/ 235445 w 729419"/>
              <a:gd name="csY16" fmla="*/ 780278 h 2076207"/>
              <a:gd name="csX17" fmla="*/ 214544 w 729419"/>
              <a:gd name="csY17" fmla="*/ 756435 h 2076207"/>
              <a:gd name="csX18" fmla="*/ 172569 w 729419"/>
              <a:gd name="csY18" fmla="*/ 742582 h 2076207"/>
              <a:gd name="csX19" fmla="*/ 168784 w 729419"/>
              <a:gd name="csY19" fmla="*/ 669116 h 2076207"/>
              <a:gd name="csX20" fmla="*/ 191657 w 729419"/>
              <a:gd name="csY20" fmla="*/ 630765 h 2076207"/>
              <a:gd name="csX21" fmla="*/ 208150 w 729419"/>
              <a:gd name="csY21" fmla="*/ 609084 h 2076207"/>
              <a:gd name="csX22" fmla="*/ 216756 w 729419"/>
              <a:gd name="csY22" fmla="*/ 558673 h 2076207"/>
              <a:gd name="csX23" fmla="*/ 209092 w 729419"/>
              <a:gd name="csY23" fmla="*/ 521540 h 2076207"/>
              <a:gd name="csX24" fmla="*/ 204683 w 729419"/>
              <a:gd name="csY24" fmla="*/ 474024 h 2076207"/>
              <a:gd name="csX25" fmla="*/ 115483 w 729419"/>
              <a:gd name="csY25" fmla="*/ 213499 h 2076207"/>
              <a:gd name="csX26" fmla="*/ 102909 w 729419"/>
              <a:gd name="csY26" fmla="*/ 182297 h 2076207"/>
              <a:gd name="csX27" fmla="*/ 104315 w 729419"/>
              <a:gd name="csY27" fmla="*/ 163968 h 2076207"/>
              <a:gd name="csX28" fmla="*/ 122444 w 729419"/>
              <a:gd name="csY28" fmla="*/ 160805 h 2076207"/>
              <a:gd name="csX29" fmla="*/ 170283 w 729419"/>
              <a:gd name="csY29" fmla="*/ 187783 h 2076207"/>
              <a:gd name="csX30" fmla="*/ 180938 w 729419"/>
              <a:gd name="csY30" fmla="*/ 195322 h 2076207"/>
              <a:gd name="csX31" fmla="*/ 221419 w 729419"/>
              <a:gd name="csY31" fmla="*/ 138058 h 2076207"/>
              <a:gd name="csX32" fmla="*/ 294099 w 729419"/>
              <a:gd name="csY32" fmla="*/ 91372 h 2076207"/>
              <a:gd name="csX33" fmla="*/ 302307 w 729419"/>
              <a:gd name="csY33" fmla="*/ 76560 h 2076207"/>
              <a:gd name="csX34" fmla="*/ 320284 w 729419"/>
              <a:gd name="csY34" fmla="*/ 8414 h 2076207"/>
              <a:gd name="csX35" fmla="*/ 324784 w 729419"/>
              <a:gd name="csY35" fmla="*/ 946 h 2076207"/>
              <a:gd name="csX36" fmla="*/ 399212 w 729419"/>
              <a:gd name="csY36" fmla="*/ 0 h 2076207"/>
              <a:gd name="csX37" fmla="*/ 425980 w 729419"/>
              <a:gd name="csY37" fmla="*/ 78301 h 2076207"/>
              <a:gd name="csX38" fmla="*/ 431861 w 729419"/>
              <a:gd name="csY38" fmla="*/ 90312 h 2076207"/>
              <a:gd name="csX39" fmla="*/ 540349 w 729419"/>
              <a:gd name="csY39" fmla="*/ 187946 h 2076207"/>
              <a:gd name="csX40" fmla="*/ 545555 w 729419"/>
              <a:gd name="csY40" fmla="*/ 197828 h 2076207"/>
              <a:gd name="csX41" fmla="*/ 587318 w 729419"/>
              <a:gd name="csY41" fmla="*/ 171260 h 2076207"/>
              <a:gd name="csX42" fmla="*/ 601503 w 729419"/>
              <a:gd name="csY42" fmla="*/ 163707 h 2076207"/>
              <a:gd name="csX43" fmla="*/ 625254 w 729419"/>
              <a:gd name="csY43" fmla="*/ 163123 h 2076207"/>
              <a:gd name="csX44" fmla="*/ 625468 w 729419"/>
              <a:gd name="csY44" fmla="*/ 187579 h 2076207"/>
              <a:gd name="csX45" fmla="*/ 597543 w 729419"/>
              <a:gd name="csY45" fmla="*/ 251872 h 2076207"/>
              <a:gd name="csX46" fmla="*/ 531831 w 729419"/>
              <a:gd name="csY46" fmla="*/ 442689 h 2076207"/>
              <a:gd name="csX47" fmla="*/ 519888 w 729419"/>
              <a:gd name="csY47" fmla="*/ 501474 h 2076207"/>
              <a:gd name="csX48" fmla="*/ 522506 w 729419"/>
              <a:gd name="csY48" fmla="*/ 525086 h 2076207"/>
              <a:gd name="csX49" fmla="*/ 516235 w 729419"/>
              <a:gd name="csY49" fmla="*/ 555946 h 2076207"/>
              <a:gd name="csX50" fmla="*/ 521332 w 729419"/>
              <a:gd name="csY50" fmla="*/ 610676 h 2076207"/>
              <a:gd name="csX51" fmla="*/ 541382 w 729419"/>
              <a:gd name="csY51" fmla="*/ 642597 h 2076207"/>
              <a:gd name="csX52" fmla="*/ 557031 w 729419"/>
              <a:gd name="csY52" fmla="*/ 667949 h 2076207"/>
              <a:gd name="csX53" fmla="*/ 553994 w 729419"/>
              <a:gd name="csY53" fmla="*/ 744146 h 2076207"/>
              <a:gd name="csX54" fmla="*/ 508215 w 729419"/>
              <a:gd name="csY54" fmla="*/ 758841 h 2076207"/>
              <a:gd name="csX55" fmla="*/ 497442 w 729419"/>
              <a:gd name="csY55" fmla="*/ 771256 h 2076207"/>
              <a:gd name="csX56" fmla="*/ 493005 w 729419"/>
              <a:gd name="csY56" fmla="*/ 922055 h 2076207"/>
              <a:gd name="csX57" fmla="*/ 502900 w 729419"/>
              <a:gd name="csY57" fmla="*/ 1114191 h 2076207"/>
              <a:gd name="csX58" fmla="*/ 508800 w 729419"/>
              <a:gd name="csY58" fmla="*/ 1205474 h 2076207"/>
              <a:gd name="csX59" fmla="*/ 522952 w 729419"/>
              <a:gd name="csY59" fmla="*/ 1320065 h 2076207"/>
              <a:gd name="csX60" fmla="*/ 554682 w 729419"/>
              <a:gd name="csY60" fmla="*/ 1501203 h 2076207"/>
              <a:gd name="csX61" fmla="*/ 576958 w 729419"/>
              <a:gd name="csY61" fmla="*/ 1593963 h 2076207"/>
              <a:gd name="csX62" fmla="*/ 595349 w 729419"/>
              <a:gd name="csY62" fmla="*/ 1613498 h 2076207"/>
              <a:gd name="csX63" fmla="*/ 613936 w 729419"/>
              <a:gd name="csY63" fmla="*/ 1624058 h 2076207"/>
              <a:gd name="csX64" fmla="*/ 620938 w 729419"/>
              <a:gd name="csY64" fmla="*/ 1652071 h 2076207"/>
              <a:gd name="csX65" fmla="*/ 630805 w 729419"/>
              <a:gd name="csY65" fmla="*/ 1721702 h 2076207"/>
              <a:gd name="csX66" fmla="*/ 685830 w 729419"/>
              <a:gd name="csY66" fmla="*/ 1792915 h 2076207"/>
              <a:gd name="csX67" fmla="*/ 708904 w 729419"/>
              <a:gd name="csY67" fmla="*/ 1890290 h 2076207"/>
              <a:gd name="csX68" fmla="*/ 716580 w 729419"/>
              <a:gd name="csY68" fmla="*/ 1951136 h 2076207"/>
              <a:gd name="csX69" fmla="*/ 729397 w 729419"/>
              <a:gd name="csY69" fmla="*/ 2030261 h 2076207"/>
              <a:gd name="csX70" fmla="*/ 714212 w 729419"/>
              <a:gd name="csY70" fmla="*/ 2049544 h 2076207"/>
              <a:gd name="csX71" fmla="*/ 645428 w 729419"/>
              <a:gd name="csY71" fmla="*/ 2070825 h 2076207"/>
              <a:gd name="csX72" fmla="*/ 635822 w 729419"/>
              <a:gd name="csY72" fmla="*/ 2075145 h 2076207"/>
              <a:gd name="csX73" fmla="*/ 588428 w 729419"/>
              <a:gd name="csY73" fmla="*/ 2075144 h 2076207"/>
              <a:gd name="csX74" fmla="*/ 590041 w 729419"/>
              <a:gd name="csY74" fmla="*/ 2071383 h 2076207"/>
              <a:gd name="csX75" fmla="*/ 667788 w 729419"/>
              <a:gd name="csY75" fmla="*/ 2056852 h 2076207"/>
              <a:gd name="csX76" fmla="*/ 706629 w 729419"/>
              <a:gd name="csY76" fmla="*/ 2044290 h 2076207"/>
              <a:gd name="csX77" fmla="*/ 702674 w 729419"/>
              <a:gd name="csY77" fmla="*/ 2041581 h 2076207"/>
              <a:gd name="csX78" fmla="*/ 544974 w 729419"/>
              <a:gd name="csY78" fmla="*/ 2071274 h 2076207"/>
              <a:gd name="csX79" fmla="*/ 538352 w 729419"/>
              <a:gd name="csY79" fmla="*/ 2076207 h 2076207"/>
              <a:gd name="csX80" fmla="*/ 96263 w 729419"/>
              <a:gd name="csY80" fmla="*/ 2076207 h 2076207"/>
              <a:gd name="csX81" fmla="*/ 489970 w 729419"/>
              <a:gd name="csY81" fmla="*/ 152208 h 2076207"/>
              <a:gd name="csX82" fmla="*/ 490754 w 729419"/>
              <a:gd name="csY82" fmla="*/ 152592 h 2076207"/>
              <a:gd name="csX83" fmla="*/ 489489 w 729419"/>
              <a:gd name="csY83" fmla="*/ 149547 h 2076207"/>
              <a:gd name="csX84" fmla="*/ 393621 w 729419"/>
              <a:gd name="csY84" fmla="*/ 99259 h 2076207"/>
              <a:gd name="csX85" fmla="*/ 390419 w 729419"/>
              <a:gd name="csY85" fmla="*/ 18568 h 2076207"/>
              <a:gd name="csX86" fmla="*/ 334131 w 729419"/>
              <a:gd name="csY86" fmla="*/ 24327 h 2076207"/>
              <a:gd name="csX87" fmla="*/ 344678 w 729419"/>
              <a:gd name="csY87" fmla="*/ 101259 h 2076207"/>
              <a:gd name="csX88" fmla="*/ 298854 w 729419"/>
              <a:gd name="csY88" fmla="*/ 114003 h 2076207"/>
              <a:gd name="csX89" fmla="*/ 237456 w 729419"/>
              <a:gd name="csY89" fmla="*/ 154340 h 2076207"/>
              <a:gd name="csX90" fmla="*/ 240382 w 729419"/>
              <a:gd name="csY90" fmla="*/ 154035 h 2076207"/>
              <a:gd name="csX91" fmla="*/ 262731 w 729419"/>
              <a:gd name="csY91" fmla="*/ 170426 h 2076207"/>
              <a:gd name="csX92" fmla="*/ 279169 w 729419"/>
              <a:gd name="csY92" fmla="*/ 193173 h 2076207"/>
              <a:gd name="csX93" fmla="*/ 327717 w 729419"/>
              <a:gd name="csY93" fmla="*/ 188556 h 2076207"/>
              <a:gd name="csX94" fmla="*/ 348052 w 729419"/>
              <a:gd name="csY94" fmla="*/ 156919 h 2076207"/>
              <a:gd name="csX95" fmla="*/ 380330 w 729419"/>
              <a:gd name="csY95" fmla="*/ 156483 h 2076207"/>
              <a:gd name="csX96" fmla="*/ 408490 w 729419"/>
              <a:gd name="csY96" fmla="*/ 195400 h 2076207"/>
              <a:gd name="csX97" fmla="*/ 445346 w 729419"/>
              <a:gd name="csY97" fmla="*/ 197582 h 2076207"/>
              <a:gd name="csX98" fmla="*/ 464798 w 729419"/>
              <a:gd name="csY98" fmla="*/ 174107 h 2076207"/>
              <a:gd name="csX99" fmla="*/ 489970 w 729419"/>
              <a:gd name="csY99" fmla="*/ 152208 h 2076207"/>
              <a:gd name="csX100" fmla="*/ 140694 w 729419"/>
              <a:gd name="csY100" fmla="*/ 201837 h 2076207"/>
              <a:gd name="csX101" fmla="*/ 139834 w 729419"/>
              <a:gd name="csY101" fmla="*/ 201482 h 2076207"/>
              <a:gd name="csX102" fmla="*/ 140812 w 729419"/>
              <a:gd name="csY102" fmla="*/ 204941 h 2076207"/>
              <a:gd name="csX103" fmla="*/ 144631 w 729419"/>
              <a:gd name="csY103" fmla="*/ 217811 h 2076207"/>
              <a:gd name="csX104" fmla="*/ 201241 w 729419"/>
              <a:gd name="csY104" fmla="*/ 373387 h 2076207"/>
              <a:gd name="csX105" fmla="*/ 235971 w 729419"/>
              <a:gd name="csY105" fmla="*/ 504451 h 2076207"/>
              <a:gd name="csX106" fmla="*/ 247475 w 729419"/>
              <a:gd name="csY106" fmla="*/ 513241 h 2076207"/>
              <a:gd name="csX107" fmla="*/ 289066 w 729419"/>
              <a:gd name="csY107" fmla="*/ 511170 h 2076207"/>
              <a:gd name="csX108" fmla="*/ 378229 w 729419"/>
              <a:gd name="csY108" fmla="*/ 511084 h 2076207"/>
              <a:gd name="csX109" fmla="*/ 470850 w 729419"/>
              <a:gd name="csY109" fmla="*/ 516341 h 2076207"/>
              <a:gd name="csX110" fmla="*/ 492933 w 729419"/>
              <a:gd name="csY110" fmla="*/ 497969 h 2076207"/>
              <a:gd name="csX111" fmla="*/ 557617 w 729419"/>
              <a:gd name="csY111" fmla="*/ 280398 h 2076207"/>
              <a:gd name="csX112" fmla="*/ 588788 w 729419"/>
              <a:gd name="csY112" fmla="*/ 200385 h 2076207"/>
              <a:gd name="csX113" fmla="*/ 530958 w 729419"/>
              <a:gd name="csY113" fmla="*/ 232968 h 2076207"/>
              <a:gd name="csX114" fmla="*/ 483823 w 729419"/>
              <a:gd name="csY114" fmla="*/ 190364 h 2076207"/>
              <a:gd name="csX115" fmla="*/ 466649 w 729419"/>
              <a:gd name="csY115" fmla="*/ 209061 h 2076207"/>
              <a:gd name="csX116" fmla="*/ 399941 w 729419"/>
              <a:gd name="csY116" fmla="*/ 216988 h 2076207"/>
              <a:gd name="csX117" fmla="*/ 363018 w 729419"/>
              <a:gd name="csY117" fmla="*/ 179615 h 2076207"/>
              <a:gd name="csX118" fmla="*/ 308839 w 729419"/>
              <a:gd name="csY118" fmla="*/ 227846 h 2076207"/>
              <a:gd name="csX119" fmla="*/ 245077 w 729419"/>
              <a:gd name="csY119" fmla="*/ 192402 h 2076207"/>
              <a:gd name="csX120" fmla="*/ 242829 w 729419"/>
              <a:gd name="csY120" fmla="*/ 198815 h 2076207"/>
              <a:gd name="csX121" fmla="*/ 168452 w 729419"/>
              <a:gd name="csY121" fmla="*/ 219348 h 2076207"/>
              <a:gd name="csX122" fmla="*/ 140694 w 729419"/>
              <a:gd name="csY122" fmla="*/ 201837 h 2076207"/>
              <a:gd name="csX123" fmla="*/ 259999 w 729419"/>
              <a:gd name="csY123" fmla="*/ 966699 h 2076207"/>
              <a:gd name="csX124" fmla="*/ 257072 w 729419"/>
              <a:gd name="csY124" fmla="*/ 1070424 h 2076207"/>
              <a:gd name="csX125" fmla="*/ 251372 w 729419"/>
              <a:gd name="csY125" fmla="*/ 1157618 h 2076207"/>
              <a:gd name="csX126" fmla="*/ 232677 w 729419"/>
              <a:gd name="csY126" fmla="*/ 1320279 h 2076207"/>
              <a:gd name="csX127" fmla="*/ 209182 w 729419"/>
              <a:gd name="csY127" fmla="*/ 1468667 h 2076207"/>
              <a:gd name="csX128" fmla="*/ 175302 w 729419"/>
              <a:gd name="csY128" fmla="*/ 1616623 h 2076207"/>
              <a:gd name="csX129" fmla="*/ 182769 w 729419"/>
              <a:gd name="csY129" fmla="*/ 1629786 h 2076207"/>
              <a:gd name="csX130" fmla="*/ 212156 w 729419"/>
              <a:gd name="csY130" fmla="*/ 1632656 h 2076207"/>
              <a:gd name="csX131" fmla="*/ 351295 w 729419"/>
              <a:gd name="csY131" fmla="*/ 1632801 h 2076207"/>
              <a:gd name="csX132" fmla="*/ 376150 w 729419"/>
              <a:gd name="csY132" fmla="*/ 1608307 h 2076207"/>
              <a:gd name="csX133" fmla="*/ 373450 w 729419"/>
              <a:gd name="csY133" fmla="*/ 1457291 h 2076207"/>
              <a:gd name="csX134" fmla="*/ 370936 w 729419"/>
              <a:gd name="csY134" fmla="*/ 1342736 h 2076207"/>
              <a:gd name="csX135" fmla="*/ 368328 w 729419"/>
              <a:gd name="csY135" fmla="*/ 1203878 h 2076207"/>
              <a:gd name="csX136" fmla="*/ 367836 w 729419"/>
              <a:gd name="csY136" fmla="*/ 813478 h 2076207"/>
              <a:gd name="csX137" fmla="*/ 365240 w 729419"/>
              <a:gd name="csY137" fmla="*/ 773243 h 2076207"/>
              <a:gd name="csX138" fmla="*/ 353084 w 729419"/>
              <a:gd name="csY138" fmla="*/ 762083 h 2076207"/>
              <a:gd name="csX139" fmla="*/ 280966 w 729419"/>
              <a:gd name="csY139" fmla="*/ 759855 h 2076207"/>
              <a:gd name="csX140" fmla="*/ 259965 w 729419"/>
              <a:gd name="csY140" fmla="*/ 779553 h 2076207"/>
              <a:gd name="csX141" fmla="*/ 262341 w 729419"/>
              <a:gd name="csY141" fmla="*/ 856275 h 2076207"/>
              <a:gd name="csX142" fmla="*/ 259999 w 729419"/>
              <a:gd name="csY142" fmla="*/ 966699 h 2076207"/>
              <a:gd name="csX143" fmla="*/ 55556 w 729419"/>
              <a:gd name="csY143" fmla="*/ 1835827 h 2076207"/>
              <a:gd name="csX144" fmla="*/ 49393 w 729419"/>
              <a:gd name="csY144" fmla="*/ 1878155 h 2076207"/>
              <a:gd name="csX145" fmla="*/ 73949 w 729419"/>
              <a:gd name="csY145" fmla="*/ 1905781 h 2076207"/>
              <a:gd name="csX146" fmla="*/ 110073 w 729419"/>
              <a:gd name="csY146" fmla="*/ 1909068 h 2076207"/>
              <a:gd name="csX147" fmla="*/ 224745 w 729419"/>
              <a:gd name="csY147" fmla="*/ 1921652 h 2076207"/>
              <a:gd name="csX148" fmla="*/ 347327 w 729419"/>
              <a:gd name="csY148" fmla="*/ 1924778 h 2076207"/>
              <a:gd name="csX149" fmla="*/ 363345 w 729419"/>
              <a:gd name="csY149" fmla="*/ 1923293 h 2076207"/>
              <a:gd name="csX150" fmla="*/ 373787 w 729419"/>
              <a:gd name="csY150" fmla="*/ 1911200 h 2076207"/>
              <a:gd name="csX151" fmla="*/ 376623 w 729419"/>
              <a:gd name="csY151" fmla="*/ 1696741 h 2076207"/>
              <a:gd name="csX152" fmla="*/ 360437 w 729419"/>
              <a:gd name="csY152" fmla="*/ 1681289 h 2076207"/>
              <a:gd name="csX153" fmla="*/ 263503 w 729419"/>
              <a:gd name="csY153" fmla="*/ 1678179 h 2076207"/>
              <a:gd name="csX154" fmla="*/ 160381 w 729419"/>
              <a:gd name="csY154" fmla="*/ 1670405 h 2076207"/>
              <a:gd name="csX155" fmla="*/ 143321 w 729419"/>
              <a:gd name="csY155" fmla="*/ 1685538 h 2076207"/>
              <a:gd name="csX156" fmla="*/ 124769 w 729419"/>
              <a:gd name="csY156" fmla="*/ 1738195 h 2076207"/>
              <a:gd name="csX157" fmla="*/ 90593 w 729419"/>
              <a:gd name="csY157" fmla="*/ 1779570 h 2076207"/>
              <a:gd name="csX158" fmla="*/ 55556 w 729419"/>
              <a:gd name="csY158" fmla="*/ 1835827 h 2076207"/>
              <a:gd name="csX159" fmla="*/ 378900 w 729419"/>
              <a:gd name="csY159" fmla="*/ 2007280 h 2076207"/>
              <a:gd name="csX160" fmla="*/ 378887 w 729419"/>
              <a:gd name="csY160" fmla="*/ 1995127 h 2076207"/>
              <a:gd name="csX161" fmla="*/ 359084 w 729419"/>
              <a:gd name="csY161" fmla="*/ 1975964 h 2076207"/>
              <a:gd name="csX162" fmla="*/ 247288 w 729419"/>
              <a:gd name="csY162" fmla="*/ 1973305 h 2076207"/>
              <a:gd name="csX163" fmla="*/ 201692 w 729419"/>
              <a:gd name="csY163" fmla="*/ 1970275 h 2076207"/>
              <a:gd name="csX164" fmla="*/ 57962 w 729419"/>
              <a:gd name="csY164" fmla="*/ 1952648 h 2076207"/>
              <a:gd name="csX165" fmla="*/ 39194 w 729419"/>
              <a:gd name="csY165" fmla="*/ 1963552 h 2076207"/>
              <a:gd name="csX166" fmla="*/ 30066 w 729419"/>
              <a:gd name="csY166" fmla="*/ 2006631 h 2076207"/>
              <a:gd name="csX167" fmla="*/ 40232 w 729419"/>
              <a:gd name="csY167" fmla="*/ 2019486 h 2076207"/>
              <a:gd name="csX168" fmla="*/ 238186 w 729419"/>
              <a:gd name="csY168" fmla="*/ 2046096 h 2076207"/>
              <a:gd name="csX169" fmla="*/ 342155 w 729419"/>
              <a:gd name="csY169" fmla="*/ 2046441 h 2076207"/>
              <a:gd name="csX170" fmla="*/ 378900 w 729419"/>
              <a:gd name="csY170" fmla="*/ 2007280 h 2076207"/>
              <a:gd name="csX171" fmla="*/ 310220 w 729419"/>
              <a:gd name="csY171" fmla="*/ 554288 h 2076207"/>
              <a:gd name="csX172" fmla="*/ 259136 w 729419"/>
              <a:gd name="csY172" fmla="*/ 556881 h 2076207"/>
              <a:gd name="csX173" fmla="*/ 249085 w 729419"/>
              <a:gd name="csY173" fmla="*/ 567981 h 2076207"/>
              <a:gd name="csX174" fmla="*/ 249141 w 729419"/>
              <a:gd name="csY174" fmla="*/ 605644 h 2076207"/>
              <a:gd name="csX175" fmla="*/ 262628 w 729419"/>
              <a:gd name="csY175" fmla="*/ 605627 h 2076207"/>
              <a:gd name="csX176" fmla="*/ 369608 w 729419"/>
              <a:gd name="csY176" fmla="*/ 603027 h 2076207"/>
              <a:gd name="csX177" fmla="*/ 463931 w 729419"/>
              <a:gd name="csY177" fmla="*/ 605146 h 2076207"/>
              <a:gd name="csX178" fmla="*/ 478113 w 729419"/>
              <a:gd name="csY178" fmla="*/ 595843 h 2076207"/>
              <a:gd name="csX179" fmla="*/ 478796 w 729419"/>
              <a:gd name="csY179" fmla="*/ 556832 h 2076207"/>
              <a:gd name="csX180" fmla="*/ 310220 w 729419"/>
              <a:gd name="csY180" fmla="*/ 554288 h 2076207"/>
              <a:gd name="csX181" fmla="*/ 348836 w 729419"/>
              <a:gd name="csY181" fmla="*/ 684115 h 2076207"/>
              <a:gd name="csX182" fmla="*/ 281333 w 729419"/>
              <a:gd name="csY182" fmla="*/ 683313 h 2076207"/>
              <a:gd name="csX183" fmla="*/ 212728 w 729419"/>
              <a:gd name="csY183" fmla="*/ 681931 h 2076207"/>
              <a:gd name="csX184" fmla="*/ 187283 w 729419"/>
              <a:gd name="csY184" fmla="*/ 689555 h 2076207"/>
              <a:gd name="csX185" fmla="*/ 186163 w 729419"/>
              <a:gd name="csY185" fmla="*/ 718266 h 2076207"/>
              <a:gd name="csX186" fmla="*/ 209894 w 729419"/>
              <a:gd name="csY186" fmla="*/ 726798 h 2076207"/>
              <a:gd name="csX187" fmla="*/ 334814 w 729419"/>
              <a:gd name="csY187" fmla="*/ 732494 h 2076207"/>
              <a:gd name="csX188" fmla="*/ 364856 w 729419"/>
              <a:gd name="csY188" fmla="*/ 707963 h 2076207"/>
              <a:gd name="csX189" fmla="*/ 348836 w 729419"/>
              <a:gd name="csY189" fmla="*/ 684115 h 2076207"/>
              <a:gd name="csX190" fmla="*/ 298865 w 729419"/>
              <a:gd name="csY190" fmla="*/ 621954 h 2076207"/>
              <a:gd name="csX191" fmla="*/ 251619 w 729419"/>
              <a:gd name="csY191" fmla="*/ 622133 h 2076207"/>
              <a:gd name="csX192" fmla="*/ 214459 w 729419"/>
              <a:gd name="csY192" fmla="*/ 636230 h 2076207"/>
              <a:gd name="csX193" fmla="*/ 221436 w 729419"/>
              <a:gd name="csY193" fmla="*/ 654205 h 2076207"/>
              <a:gd name="csX194" fmla="*/ 272412 w 729419"/>
              <a:gd name="csY194" fmla="*/ 657250 h 2076207"/>
              <a:gd name="csX195" fmla="*/ 349094 w 729419"/>
              <a:gd name="csY195" fmla="*/ 659282 h 2076207"/>
              <a:gd name="csX196" fmla="*/ 362996 w 729419"/>
              <a:gd name="csY196" fmla="*/ 644234 h 2076207"/>
              <a:gd name="csX197" fmla="*/ 348472 w 729419"/>
              <a:gd name="csY197" fmla="*/ 624649 h 2076207"/>
              <a:gd name="csX198" fmla="*/ 298865 w 729419"/>
              <a:gd name="csY198" fmla="*/ 621954 h 2076207"/>
              <a:gd name="csX199" fmla="*/ 227796 w 729419"/>
              <a:gd name="csY199" fmla="*/ 528000 h 2076207"/>
              <a:gd name="csX200" fmla="*/ 241009 w 729419"/>
              <a:gd name="csY200" fmla="*/ 545897 h 2076207"/>
              <a:gd name="csX201" fmla="*/ 282607 w 729419"/>
              <a:gd name="csY201" fmla="*/ 543480 h 2076207"/>
              <a:gd name="csX202" fmla="*/ 354213 w 729419"/>
              <a:gd name="csY202" fmla="*/ 543384 h 2076207"/>
              <a:gd name="csX203" fmla="*/ 365334 w 729419"/>
              <a:gd name="csY203" fmla="*/ 533397 h 2076207"/>
              <a:gd name="csX204" fmla="*/ 354531 w 729419"/>
              <a:gd name="csY204" fmla="*/ 521620 h 2076207"/>
              <a:gd name="csX205" fmla="*/ 259169 w 729419"/>
              <a:gd name="csY205" fmla="*/ 521978 h 2076207"/>
              <a:gd name="csX206" fmla="*/ 227796 w 729419"/>
              <a:gd name="csY206" fmla="*/ 528000 h 2076207"/>
              <a:gd name="csX207" fmla="*/ 508068 w 729419"/>
              <a:gd name="csY207" fmla="*/ 190710 h 2076207"/>
              <a:gd name="csX208" fmla="*/ 521293 w 729419"/>
              <a:gd name="csY208" fmla="*/ 205907 h 2076207"/>
              <a:gd name="csX209" fmla="*/ 525175 w 729419"/>
              <a:gd name="csY209" fmla="*/ 202985 h 2076207"/>
              <a:gd name="csX210" fmla="*/ 500276 w 729419"/>
              <a:gd name="csY210" fmla="*/ 160640 h 2076207"/>
              <a:gd name="csX211" fmla="*/ 497122 w 729419"/>
              <a:gd name="csY211" fmla="*/ 162007 h 2076207"/>
              <a:gd name="csX212" fmla="*/ 508068 w 729419"/>
              <a:gd name="csY212" fmla="*/ 190710 h 2076207"/>
              <a:gd name="csX213" fmla="*/ 215522 w 729419"/>
              <a:gd name="csY213" fmla="*/ 197296 h 2076207"/>
              <a:gd name="csX214" fmla="*/ 234029 w 729419"/>
              <a:gd name="csY214" fmla="*/ 162725 h 2076207"/>
              <a:gd name="csX215" fmla="*/ 229000 w 729419"/>
              <a:gd name="csY215" fmla="*/ 159902 h 2076207"/>
              <a:gd name="csX216" fmla="*/ 204824 w 729419"/>
              <a:gd name="csY216" fmla="*/ 199677 h 2076207"/>
              <a:gd name="csX217" fmla="*/ 207990 w 729419"/>
              <a:gd name="csY217" fmla="*/ 202198 h 2076207"/>
              <a:gd name="csX218" fmla="*/ 215522 w 729419"/>
              <a:gd name="csY218" fmla="*/ 197296 h 2076207"/>
              <a:gd name="csX219" fmla="*/ 484400 w 729419"/>
              <a:gd name="csY219" fmla="*/ 896678 h 2076207"/>
              <a:gd name="csX220" fmla="*/ 486181 w 729419"/>
              <a:gd name="csY220" fmla="*/ 896585 h 2076207"/>
              <a:gd name="csX221" fmla="*/ 486181 w 729419"/>
              <a:gd name="csY221" fmla="*/ 795289 h 2076207"/>
              <a:gd name="csX222" fmla="*/ 720241 w 729419"/>
              <a:gd name="csY222" fmla="*/ 2030666 h 2076207"/>
              <a:gd name="csX223" fmla="*/ 721175 w 729419"/>
              <a:gd name="csY223" fmla="*/ 2029733 h 2076207"/>
              <a:gd name="csX224" fmla="*/ 720241 w 729419"/>
              <a:gd name="csY224" fmla="*/ 2030666 h 2076207"/>
              <a:gd name="csX225" fmla="*/ 715702 w 729419"/>
              <a:gd name="csY225" fmla="*/ 2037051 h 2076207"/>
              <a:gd name="csX226" fmla="*/ 715702 w 729419"/>
              <a:gd name="csY226" fmla="*/ 2037051 h 2076207"/>
              <a:gd name="csX0" fmla="*/ 96263 w 729419"/>
              <a:gd name="csY0" fmla="*/ 2076207 h 2091729"/>
              <a:gd name="csX1" fmla="*/ 63862 w 729419"/>
              <a:gd name="csY1" fmla="*/ 2065388 h 2091729"/>
              <a:gd name="csX2" fmla="*/ 16555 w 729419"/>
              <a:gd name="csY2" fmla="*/ 2050152 h 2091729"/>
              <a:gd name="csX3" fmla="*/ 15 w 729419"/>
              <a:gd name="csY3" fmla="*/ 2023802 h 2091729"/>
              <a:gd name="csX4" fmla="*/ 18368 w 729419"/>
              <a:gd name="csY4" fmla="*/ 1940709 h 2091729"/>
              <a:gd name="csX5" fmla="*/ 22139 w 729419"/>
              <a:gd name="csY5" fmla="*/ 1907268 h 2091729"/>
              <a:gd name="csX6" fmla="*/ 57941 w 729419"/>
              <a:gd name="csY6" fmla="*/ 1774163 h 2091729"/>
              <a:gd name="csX7" fmla="*/ 102478 w 729419"/>
              <a:gd name="csY7" fmla="*/ 1720275 h 2091729"/>
              <a:gd name="csX8" fmla="*/ 108579 w 729419"/>
              <a:gd name="csY8" fmla="*/ 1650967 h 2091729"/>
              <a:gd name="csX9" fmla="*/ 115628 w 729419"/>
              <a:gd name="csY9" fmla="*/ 1625405 h 2091729"/>
              <a:gd name="csX10" fmla="*/ 156323 w 729419"/>
              <a:gd name="csY10" fmla="*/ 1560181 h 2091729"/>
              <a:gd name="csX11" fmla="*/ 199424 w 729419"/>
              <a:gd name="csY11" fmla="*/ 1364729 h 2091729"/>
              <a:gd name="csX12" fmla="*/ 216779 w 729419"/>
              <a:gd name="csY12" fmla="*/ 1219490 h 2091729"/>
              <a:gd name="csX13" fmla="*/ 229755 w 729419"/>
              <a:gd name="csY13" fmla="*/ 1099357 h 2091729"/>
              <a:gd name="csX14" fmla="*/ 232707 w 729419"/>
              <a:gd name="csY14" fmla="*/ 1056423 h 2091729"/>
              <a:gd name="csX15" fmla="*/ 235622 w 729419"/>
              <a:gd name="csY15" fmla="*/ 952675 h 2091729"/>
              <a:gd name="csX16" fmla="*/ 235445 w 729419"/>
              <a:gd name="csY16" fmla="*/ 780278 h 2091729"/>
              <a:gd name="csX17" fmla="*/ 214544 w 729419"/>
              <a:gd name="csY17" fmla="*/ 756435 h 2091729"/>
              <a:gd name="csX18" fmla="*/ 172569 w 729419"/>
              <a:gd name="csY18" fmla="*/ 742582 h 2091729"/>
              <a:gd name="csX19" fmla="*/ 168784 w 729419"/>
              <a:gd name="csY19" fmla="*/ 669116 h 2091729"/>
              <a:gd name="csX20" fmla="*/ 191657 w 729419"/>
              <a:gd name="csY20" fmla="*/ 630765 h 2091729"/>
              <a:gd name="csX21" fmla="*/ 208150 w 729419"/>
              <a:gd name="csY21" fmla="*/ 609084 h 2091729"/>
              <a:gd name="csX22" fmla="*/ 216756 w 729419"/>
              <a:gd name="csY22" fmla="*/ 558673 h 2091729"/>
              <a:gd name="csX23" fmla="*/ 209092 w 729419"/>
              <a:gd name="csY23" fmla="*/ 521540 h 2091729"/>
              <a:gd name="csX24" fmla="*/ 204683 w 729419"/>
              <a:gd name="csY24" fmla="*/ 474024 h 2091729"/>
              <a:gd name="csX25" fmla="*/ 115483 w 729419"/>
              <a:gd name="csY25" fmla="*/ 213499 h 2091729"/>
              <a:gd name="csX26" fmla="*/ 102909 w 729419"/>
              <a:gd name="csY26" fmla="*/ 182297 h 2091729"/>
              <a:gd name="csX27" fmla="*/ 104315 w 729419"/>
              <a:gd name="csY27" fmla="*/ 163968 h 2091729"/>
              <a:gd name="csX28" fmla="*/ 122444 w 729419"/>
              <a:gd name="csY28" fmla="*/ 160805 h 2091729"/>
              <a:gd name="csX29" fmla="*/ 170283 w 729419"/>
              <a:gd name="csY29" fmla="*/ 187783 h 2091729"/>
              <a:gd name="csX30" fmla="*/ 180938 w 729419"/>
              <a:gd name="csY30" fmla="*/ 195322 h 2091729"/>
              <a:gd name="csX31" fmla="*/ 221419 w 729419"/>
              <a:gd name="csY31" fmla="*/ 138058 h 2091729"/>
              <a:gd name="csX32" fmla="*/ 294099 w 729419"/>
              <a:gd name="csY32" fmla="*/ 91372 h 2091729"/>
              <a:gd name="csX33" fmla="*/ 302307 w 729419"/>
              <a:gd name="csY33" fmla="*/ 76560 h 2091729"/>
              <a:gd name="csX34" fmla="*/ 320284 w 729419"/>
              <a:gd name="csY34" fmla="*/ 8414 h 2091729"/>
              <a:gd name="csX35" fmla="*/ 324784 w 729419"/>
              <a:gd name="csY35" fmla="*/ 946 h 2091729"/>
              <a:gd name="csX36" fmla="*/ 399212 w 729419"/>
              <a:gd name="csY36" fmla="*/ 0 h 2091729"/>
              <a:gd name="csX37" fmla="*/ 425980 w 729419"/>
              <a:gd name="csY37" fmla="*/ 78301 h 2091729"/>
              <a:gd name="csX38" fmla="*/ 431861 w 729419"/>
              <a:gd name="csY38" fmla="*/ 90312 h 2091729"/>
              <a:gd name="csX39" fmla="*/ 540349 w 729419"/>
              <a:gd name="csY39" fmla="*/ 187946 h 2091729"/>
              <a:gd name="csX40" fmla="*/ 545555 w 729419"/>
              <a:gd name="csY40" fmla="*/ 197828 h 2091729"/>
              <a:gd name="csX41" fmla="*/ 587318 w 729419"/>
              <a:gd name="csY41" fmla="*/ 171260 h 2091729"/>
              <a:gd name="csX42" fmla="*/ 601503 w 729419"/>
              <a:gd name="csY42" fmla="*/ 163707 h 2091729"/>
              <a:gd name="csX43" fmla="*/ 625254 w 729419"/>
              <a:gd name="csY43" fmla="*/ 163123 h 2091729"/>
              <a:gd name="csX44" fmla="*/ 625468 w 729419"/>
              <a:gd name="csY44" fmla="*/ 187579 h 2091729"/>
              <a:gd name="csX45" fmla="*/ 597543 w 729419"/>
              <a:gd name="csY45" fmla="*/ 251872 h 2091729"/>
              <a:gd name="csX46" fmla="*/ 531831 w 729419"/>
              <a:gd name="csY46" fmla="*/ 442689 h 2091729"/>
              <a:gd name="csX47" fmla="*/ 519888 w 729419"/>
              <a:gd name="csY47" fmla="*/ 501474 h 2091729"/>
              <a:gd name="csX48" fmla="*/ 522506 w 729419"/>
              <a:gd name="csY48" fmla="*/ 525086 h 2091729"/>
              <a:gd name="csX49" fmla="*/ 516235 w 729419"/>
              <a:gd name="csY49" fmla="*/ 555946 h 2091729"/>
              <a:gd name="csX50" fmla="*/ 521332 w 729419"/>
              <a:gd name="csY50" fmla="*/ 610676 h 2091729"/>
              <a:gd name="csX51" fmla="*/ 541382 w 729419"/>
              <a:gd name="csY51" fmla="*/ 642597 h 2091729"/>
              <a:gd name="csX52" fmla="*/ 557031 w 729419"/>
              <a:gd name="csY52" fmla="*/ 667949 h 2091729"/>
              <a:gd name="csX53" fmla="*/ 553994 w 729419"/>
              <a:gd name="csY53" fmla="*/ 744146 h 2091729"/>
              <a:gd name="csX54" fmla="*/ 508215 w 729419"/>
              <a:gd name="csY54" fmla="*/ 758841 h 2091729"/>
              <a:gd name="csX55" fmla="*/ 497442 w 729419"/>
              <a:gd name="csY55" fmla="*/ 771256 h 2091729"/>
              <a:gd name="csX56" fmla="*/ 493005 w 729419"/>
              <a:gd name="csY56" fmla="*/ 922055 h 2091729"/>
              <a:gd name="csX57" fmla="*/ 502900 w 729419"/>
              <a:gd name="csY57" fmla="*/ 1114191 h 2091729"/>
              <a:gd name="csX58" fmla="*/ 508800 w 729419"/>
              <a:gd name="csY58" fmla="*/ 1205474 h 2091729"/>
              <a:gd name="csX59" fmla="*/ 522952 w 729419"/>
              <a:gd name="csY59" fmla="*/ 1320065 h 2091729"/>
              <a:gd name="csX60" fmla="*/ 554682 w 729419"/>
              <a:gd name="csY60" fmla="*/ 1501203 h 2091729"/>
              <a:gd name="csX61" fmla="*/ 576958 w 729419"/>
              <a:gd name="csY61" fmla="*/ 1593963 h 2091729"/>
              <a:gd name="csX62" fmla="*/ 595349 w 729419"/>
              <a:gd name="csY62" fmla="*/ 1613498 h 2091729"/>
              <a:gd name="csX63" fmla="*/ 613936 w 729419"/>
              <a:gd name="csY63" fmla="*/ 1624058 h 2091729"/>
              <a:gd name="csX64" fmla="*/ 620938 w 729419"/>
              <a:gd name="csY64" fmla="*/ 1652071 h 2091729"/>
              <a:gd name="csX65" fmla="*/ 630805 w 729419"/>
              <a:gd name="csY65" fmla="*/ 1721702 h 2091729"/>
              <a:gd name="csX66" fmla="*/ 685830 w 729419"/>
              <a:gd name="csY66" fmla="*/ 1792915 h 2091729"/>
              <a:gd name="csX67" fmla="*/ 708904 w 729419"/>
              <a:gd name="csY67" fmla="*/ 1890290 h 2091729"/>
              <a:gd name="csX68" fmla="*/ 716580 w 729419"/>
              <a:gd name="csY68" fmla="*/ 1951136 h 2091729"/>
              <a:gd name="csX69" fmla="*/ 729397 w 729419"/>
              <a:gd name="csY69" fmla="*/ 2030261 h 2091729"/>
              <a:gd name="csX70" fmla="*/ 714212 w 729419"/>
              <a:gd name="csY70" fmla="*/ 2049544 h 2091729"/>
              <a:gd name="csX71" fmla="*/ 645428 w 729419"/>
              <a:gd name="csY71" fmla="*/ 2070825 h 2091729"/>
              <a:gd name="csX72" fmla="*/ 635822 w 729419"/>
              <a:gd name="csY72" fmla="*/ 2075145 h 2091729"/>
              <a:gd name="csX73" fmla="*/ 588428 w 729419"/>
              <a:gd name="csY73" fmla="*/ 2075144 h 2091729"/>
              <a:gd name="csX74" fmla="*/ 590041 w 729419"/>
              <a:gd name="csY74" fmla="*/ 2071383 h 2091729"/>
              <a:gd name="csX75" fmla="*/ 667788 w 729419"/>
              <a:gd name="csY75" fmla="*/ 2056852 h 2091729"/>
              <a:gd name="csX76" fmla="*/ 706629 w 729419"/>
              <a:gd name="csY76" fmla="*/ 2044290 h 2091729"/>
              <a:gd name="csX77" fmla="*/ 702674 w 729419"/>
              <a:gd name="csY77" fmla="*/ 2041581 h 2091729"/>
              <a:gd name="csX78" fmla="*/ 544974 w 729419"/>
              <a:gd name="csY78" fmla="*/ 2071274 h 2091729"/>
              <a:gd name="csX79" fmla="*/ 538352 w 729419"/>
              <a:gd name="csY79" fmla="*/ 2076207 h 2091729"/>
              <a:gd name="csX80" fmla="*/ 96263 w 729419"/>
              <a:gd name="csY80" fmla="*/ 2076207 h 2091729"/>
              <a:gd name="csX81" fmla="*/ 489970 w 729419"/>
              <a:gd name="csY81" fmla="*/ 152208 h 2091729"/>
              <a:gd name="csX82" fmla="*/ 490754 w 729419"/>
              <a:gd name="csY82" fmla="*/ 152592 h 2091729"/>
              <a:gd name="csX83" fmla="*/ 489489 w 729419"/>
              <a:gd name="csY83" fmla="*/ 149547 h 2091729"/>
              <a:gd name="csX84" fmla="*/ 393621 w 729419"/>
              <a:gd name="csY84" fmla="*/ 99259 h 2091729"/>
              <a:gd name="csX85" fmla="*/ 390419 w 729419"/>
              <a:gd name="csY85" fmla="*/ 18568 h 2091729"/>
              <a:gd name="csX86" fmla="*/ 334131 w 729419"/>
              <a:gd name="csY86" fmla="*/ 24327 h 2091729"/>
              <a:gd name="csX87" fmla="*/ 344678 w 729419"/>
              <a:gd name="csY87" fmla="*/ 101259 h 2091729"/>
              <a:gd name="csX88" fmla="*/ 298854 w 729419"/>
              <a:gd name="csY88" fmla="*/ 114003 h 2091729"/>
              <a:gd name="csX89" fmla="*/ 237456 w 729419"/>
              <a:gd name="csY89" fmla="*/ 154340 h 2091729"/>
              <a:gd name="csX90" fmla="*/ 240382 w 729419"/>
              <a:gd name="csY90" fmla="*/ 154035 h 2091729"/>
              <a:gd name="csX91" fmla="*/ 262731 w 729419"/>
              <a:gd name="csY91" fmla="*/ 170426 h 2091729"/>
              <a:gd name="csX92" fmla="*/ 279169 w 729419"/>
              <a:gd name="csY92" fmla="*/ 193173 h 2091729"/>
              <a:gd name="csX93" fmla="*/ 327717 w 729419"/>
              <a:gd name="csY93" fmla="*/ 188556 h 2091729"/>
              <a:gd name="csX94" fmla="*/ 348052 w 729419"/>
              <a:gd name="csY94" fmla="*/ 156919 h 2091729"/>
              <a:gd name="csX95" fmla="*/ 380330 w 729419"/>
              <a:gd name="csY95" fmla="*/ 156483 h 2091729"/>
              <a:gd name="csX96" fmla="*/ 408490 w 729419"/>
              <a:gd name="csY96" fmla="*/ 195400 h 2091729"/>
              <a:gd name="csX97" fmla="*/ 445346 w 729419"/>
              <a:gd name="csY97" fmla="*/ 197582 h 2091729"/>
              <a:gd name="csX98" fmla="*/ 464798 w 729419"/>
              <a:gd name="csY98" fmla="*/ 174107 h 2091729"/>
              <a:gd name="csX99" fmla="*/ 489970 w 729419"/>
              <a:gd name="csY99" fmla="*/ 152208 h 2091729"/>
              <a:gd name="csX100" fmla="*/ 140694 w 729419"/>
              <a:gd name="csY100" fmla="*/ 201837 h 2091729"/>
              <a:gd name="csX101" fmla="*/ 139834 w 729419"/>
              <a:gd name="csY101" fmla="*/ 201482 h 2091729"/>
              <a:gd name="csX102" fmla="*/ 140812 w 729419"/>
              <a:gd name="csY102" fmla="*/ 204941 h 2091729"/>
              <a:gd name="csX103" fmla="*/ 144631 w 729419"/>
              <a:gd name="csY103" fmla="*/ 217811 h 2091729"/>
              <a:gd name="csX104" fmla="*/ 201241 w 729419"/>
              <a:gd name="csY104" fmla="*/ 373387 h 2091729"/>
              <a:gd name="csX105" fmla="*/ 235971 w 729419"/>
              <a:gd name="csY105" fmla="*/ 504451 h 2091729"/>
              <a:gd name="csX106" fmla="*/ 247475 w 729419"/>
              <a:gd name="csY106" fmla="*/ 513241 h 2091729"/>
              <a:gd name="csX107" fmla="*/ 289066 w 729419"/>
              <a:gd name="csY107" fmla="*/ 511170 h 2091729"/>
              <a:gd name="csX108" fmla="*/ 378229 w 729419"/>
              <a:gd name="csY108" fmla="*/ 511084 h 2091729"/>
              <a:gd name="csX109" fmla="*/ 470850 w 729419"/>
              <a:gd name="csY109" fmla="*/ 516341 h 2091729"/>
              <a:gd name="csX110" fmla="*/ 492933 w 729419"/>
              <a:gd name="csY110" fmla="*/ 497969 h 2091729"/>
              <a:gd name="csX111" fmla="*/ 557617 w 729419"/>
              <a:gd name="csY111" fmla="*/ 280398 h 2091729"/>
              <a:gd name="csX112" fmla="*/ 588788 w 729419"/>
              <a:gd name="csY112" fmla="*/ 200385 h 2091729"/>
              <a:gd name="csX113" fmla="*/ 530958 w 729419"/>
              <a:gd name="csY113" fmla="*/ 232968 h 2091729"/>
              <a:gd name="csX114" fmla="*/ 483823 w 729419"/>
              <a:gd name="csY114" fmla="*/ 190364 h 2091729"/>
              <a:gd name="csX115" fmla="*/ 466649 w 729419"/>
              <a:gd name="csY115" fmla="*/ 209061 h 2091729"/>
              <a:gd name="csX116" fmla="*/ 399941 w 729419"/>
              <a:gd name="csY116" fmla="*/ 216988 h 2091729"/>
              <a:gd name="csX117" fmla="*/ 363018 w 729419"/>
              <a:gd name="csY117" fmla="*/ 179615 h 2091729"/>
              <a:gd name="csX118" fmla="*/ 308839 w 729419"/>
              <a:gd name="csY118" fmla="*/ 227846 h 2091729"/>
              <a:gd name="csX119" fmla="*/ 245077 w 729419"/>
              <a:gd name="csY119" fmla="*/ 192402 h 2091729"/>
              <a:gd name="csX120" fmla="*/ 242829 w 729419"/>
              <a:gd name="csY120" fmla="*/ 198815 h 2091729"/>
              <a:gd name="csX121" fmla="*/ 168452 w 729419"/>
              <a:gd name="csY121" fmla="*/ 219348 h 2091729"/>
              <a:gd name="csX122" fmla="*/ 140694 w 729419"/>
              <a:gd name="csY122" fmla="*/ 201837 h 2091729"/>
              <a:gd name="csX123" fmla="*/ 259999 w 729419"/>
              <a:gd name="csY123" fmla="*/ 966699 h 2091729"/>
              <a:gd name="csX124" fmla="*/ 257072 w 729419"/>
              <a:gd name="csY124" fmla="*/ 1070424 h 2091729"/>
              <a:gd name="csX125" fmla="*/ 251372 w 729419"/>
              <a:gd name="csY125" fmla="*/ 1157618 h 2091729"/>
              <a:gd name="csX126" fmla="*/ 232677 w 729419"/>
              <a:gd name="csY126" fmla="*/ 1320279 h 2091729"/>
              <a:gd name="csX127" fmla="*/ 209182 w 729419"/>
              <a:gd name="csY127" fmla="*/ 1468667 h 2091729"/>
              <a:gd name="csX128" fmla="*/ 175302 w 729419"/>
              <a:gd name="csY128" fmla="*/ 1616623 h 2091729"/>
              <a:gd name="csX129" fmla="*/ 182769 w 729419"/>
              <a:gd name="csY129" fmla="*/ 1629786 h 2091729"/>
              <a:gd name="csX130" fmla="*/ 212156 w 729419"/>
              <a:gd name="csY130" fmla="*/ 1632656 h 2091729"/>
              <a:gd name="csX131" fmla="*/ 351295 w 729419"/>
              <a:gd name="csY131" fmla="*/ 1632801 h 2091729"/>
              <a:gd name="csX132" fmla="*/ 376150 w 729419"/>
              <a:gd name="csY132" fmla="*/ 1608307 h 2091729"/>
              <a:gd name="csX133" fmla="*/ 373450 w 729419"/>
              <a:gd name="csY133" fmla="*/ 1457291 h 2091729"/>
              <a:gd name="csX134" fmla="*/ 370936 w 729419"/>
              <a:gd name="csY134" fmla="*/ 1342736 h 2091729"/>
              <a:gd name="csX135" fmla="*/ 368328 w 729419"/>
              <a:gd name="csY135" fmla="*/ 1203878 h 2091729"/>
              <a:gd name="csX136" fmla="*/ 367836 w 729419"/>
              <a:gd name="csY136" fmla="*/ 813478 h 2091729"/>
              <a:gd name="csX137" fmla="*/ 365240 w 729419"/>
              <a:gd name="csY137" fmla="*/ 773243 h 2091729"/>
              <a:gd name="csX138" fmla="*/ 353084 w 729419"/>
              <a:gd name="csY138" fmla="*/ 762083 h 2091729"/>
              <a:gd name="csX139" fmla="*/ 280966 w 729419"/>
              <a:gd name="csY139" fmla="*/ 759855 h 2091729"/>
              <a:gd name="csX140" fmla="*/ 259965 w 729419"/>
              <a:gd name="csY140" fmla="*/ 779553 h 2091729"/>
              <a:gd name="csX141" fmla="*/ 262341 w 729419"/>
              <a:gd name="csY141" fmla="*/ 856275 h 2091729"/>
              <a:gd name="csX142" fmla="*/ 259999 w 729419"/>
              <a:gd name="csY142" fmla="*/ 966699 h 2091729"/>
              <a:gd name="csX143" fmla="*/ 55556 w 729419"/>
              <a:gd name="csY143" fmla="*/ 1835827 h 2091729"/>
              <a:gd name="csX144" fmla="*/ 49393 w 729419"/>
              <a:gd name="csY144" fmla="*/ 1878155 h 2091729"/>
              <a:gd name="csX145" fmla="*/ 73949 w 729419"/>
              <a:gd name="csY145" fmla="*/ 1905781 h 2091729"/>
              <a:gd name="csX146" fmla="*/ 110073 w 729419"/>
              <a:gd name="csY146" fmla="*/ 1909068 h 2091729"/>
              <a:gd name="csX147" fmla="*/ 224745 w 729419"/>
              <a:gd name="csY147" fmla="*/ 1921652 h 2091729"/>
              <a:gd name="csX148" fmla="*/ 347327 w 729419"/>
              <a:gd name="csY148" fmla="*/ 1924778 h 2091729"/>
              <a:gd name="csX149" fmla="*/ 363345 w 729419"/>
              <a:gd name="csY149" fmla="*/ 1923293 h 2091729"/>
              <a:gd name="csX150" fmla="*/ 373787 w 729419"/>
              <a:gd name="csY150" fmla="*/ 1911200 h 2091729"/>
              <a:gd name="csX151" fmla="*/ 376623 w 729419"/>
              <a:gd name="csY151" fmla="*/ 1696741 h 2091729"/>
              <a:gd name="csX152" fmla="*/ 360437 w 729419"/>
              <a:gd name="csY152" fmla="*/ 1681289 h 2091729"/>
              <a:gd name="csX153" fmla="*/ 263503 w 729419"/>
              <a:gd name="csY153" fmla="*/ 1678179 h 2091729"/>
              <a:gd name="csX154" fmla="*/ 160381 w 729419"/>
              <a:gd name="csY154" fmla="*/ 1670405 h 2091729"/>
              <a:gd name="csX155" fmla="*/ 143321 w 729419"/>
              <a:gd name="csY155" fmla="*/ 1685538 h 2091729"/>
              <a:gd name="csX156" fmla="*/ 124769 w 729419"/>
              <a:gd name="csY156" fmla="*/ 1738195 h 2091729"/>
              <a:gd name="csX157" fmla="*/ 90593 w 729419"/>
              <a:gd name="csY157" fmla="*/ 1779570 h 2091729"/>
              <a:gd name="csX158" fmla="*/ 55556 w 729419"/>
              <a:gd name="csY158" fmla="*/ 1835827 h 2091729"/>
              <a:gd name="csX159" fmla="*/ 378900 w 729419"/>
              <a:gd name="csY159" fmla="*/ 2007280 h 2091729"/>
              <a:gd name="csX160" fmla="*/ 378887 w 729419"/>
              <a:gd name="csY160" fmla="*/ 1995127 h 2091729"/>
              <a:gd name="csX161" fmla="*/ 359084 w 729419"/>
              <a:gd name="csY161" fmla="*/ 1975964 h 2091729"/>
              <a:gd name="csX162" fmla="*/ 247288 w 729419"/>
              <a:gd name="csY162" fmla="*/ 1973305 h 2091729"/>
              <a:gd name="csX163" fmla="*/ 201692 w 729419"/>
              <a:gd name="csY163" fmla="*/ 1970275 h 2091729"/>
              <a:gd name="csX164" fmla="*/ 57962 w 729419"/>
              <a:gd name="csY164" fmla="*/ 1952648 h 2091729"/>
              <a:gd name="csX165" fmla="*/ 39194 w 729419"/>
              <a:gd name="csY165" fmla="*/ 1963552 h 2091729"/>
              <a:gd name="csX166" fmla="*/ 30066 w 729419"/>
              <a:gd name="csY166" fmla="*/ 2006631 h 2091729"/>
              <a:gd name="csX167" fmla="*/ 40232 w 729419"/>
              <a:gd name="csY167" fmla="*/ 2019486 h 2091729"/>
              <a:gd name="csX168" fmla="*/ 238186 w 729419"/>
              <a:gd name="csY168" fmla="*/ 2046096 h 2091729"/>
              <a:gd name="csX169" fmla="*/ 342155 w 729419"/>
              <a:gd name="csY169" fmla="*/ 2046441 h 2091729"/>
              <a:gd name="csX170" fmla="*/ 378900 w 729419"/>
              <a:gd name="csY170" fmla="*/ 2007280 h 2091729"/>
              <a:gd name="csX171" fmla="*/ 310220 w 729419"/>
              <a:gd name="csY171" fmla="*/ 554288 h 2091729"/>
              <a:gd name="csX172" fmla="*/ 259136 w 729419"/>
              <a:gd name="csY172" fmla="*/ 556881 h 2091729"/>
              <a:gd name="csX173" fmla="*/ 249085 w 729419"/>
              <a:gd name="csY173" fmla="*/ 567981 h 2091729"/>
              <a:gd name="csX174" fmla="*/ 249141 w 729419"/>
              <a:gd name="csY174" fmla="*/ 605644 h 2091729"/>
              <a:gd name="csX175" fmla="*/ 262628 w 729419"/>
              <a:gd name="csY175" fmla="*/ 605627 h 2091729"/>
              <a:gd name="csX176" fmla="*/ 369608 w 729419"/>
              <a:gd name="csY176" fmla="*/ 603027 h 2091729"/>
              <a:gd name="csX177" fmla="*/ 463931 w 729419"/>
              <a:gd name="csY177" fmla="*/ 605146 h 2091729"/>
              <a:gd name="csX178" fmla="*/ 478113 w 729419"/>
              <a:gd name="csY178" fmla="*/ 595843 h 2091729"/>
              <a:gd name="csX179" fmla="*/ 478796 w 729419"/>
              <a:gd name="csY179" fmla="*/ 556832 h 2091729"/>
              <a:gd name="csX180" fmla="*/ 310220 w 729419"/>
              <a:gd name="csY180" fmla="*/ 554288 h 2091729"/>
              <a:gd name="csX181" fmla="*/ 348836 w 729419"/>
              <a:gd name="csY181" fmla="*/ 684115 h 2091729"/>
              <a:gd name="csX182" fmla="*/ 281333 w 729419"/>
              <a:gd name="csY182" fmla="*/ 683313 h 2091729"/>
              <a:gd name="csX183" fmla="*/ 212728 w 729419"/>
              <a:gd name="csY183" fmla="*/ 681931 h 2091729"/>
              <a:gd name="csX184" fmla="*/ 187283 w 729419"/>
              <a:gd name="csY184" fmla="*/ 689555 h 2091729"/>
              <a:gd name="csX185" fmla="*/ 186163 w 729419"/>
              <a:gd name="csY185" fmla="*/ 718266 h 2091729"/>
              <a:gd name="csX186" fmla="*/ 209894 w 729419"/>
              <a:gd name="csY186" fmla="*/ 726798 h 2091729"/>
              <a:gd name="csX187" fmla="*/ 334814 w 729419"/>
              <a:gd name="csY187" fmla="*/ 732494 h 2091729"/>
              <a:gd name="csX188" fmla="*/ 364856 w 729419"/>
              <a:gd name="csY188" fmla="*/ 707963 h 2091729"/>
              <a:gd name="csX189" fmla="*/ 348836 w 729419"/>
              <a:gd name="csY189" fmla="*/ 684115 h 2091729"/>
              <a:gd name="csX190" fmla="*/ 298865 w 729419"/>
              <a:gd name="csY190" fmla="*/ 621954 h 2091729"/>
              <a:gd name="csX191" fmla="*/ 251619 w 729419"/>
              <a:gd name="csY191" fmla="*/ 622133 h 2091729"/>
              <a:gd name="csX192" fmla="*/ 214459 w 729419"/>
              <a:gd name="csY192" fmla="*/ 636230 h 2091729"/>
              <a:gd name="csX193" fmla="*/ 221436 w 729419"/>
              <a:gd name="csY193" fmla="*/ 654205 h 2091729"/>
              <a:gd name="csX194" fmla="*/ 272412 w 729419"/>
              <a:gd name="csY194" fmla="*/ 657250 h 2091729"/>
              <a:gd name="csX195" fmla="*/ 349094 w 729419"/>
              <a:gd name="csY195" fmla="*/ 659282 h 2091729"/>
              <a:gd name="csX196" fmla="*/ 362996 w 729419"/>
              <a:gd name="csY196" fmla="*/ 644234 h 2091729"/>
              <a:gd name="csX197" fmla="*/ 348472 w 729419"/>
              <a:gd name="csY197" fmla="*/ 624649 h 2091729"/>
              <a:gd name="csX198" fmla="*/ 298865 w 729419"/>
              <a:gd name="csY198" fmla="*/ 621954 h 2091729"/>
              <a:gd name="csX199" fmla="*/ 227796 w 729419"/>
              <a:gd name="csY199" fmla="*/ 528000 h 2091729"/>
              <a:gd name="csX200" fmla="*/ 241009 w 729419"/>
              <a:gd name="csY200" fmla="*/ 545897 h 2091729"/>
              <a:gd name="csX201" fmla="*/ 282607 w 729419"/>
              <a:gd name="csY201" fmla="*/ 543480 h 2091729"/>
              <a:gd name="csX202" fmla="*/ 354213 w 729419"/>
              <a:gd name="csY202" fmla="*/ 543384 h 2091729"/>
              <a:gd name="csX203" fmla="*/ 365334 w 729419"/>
              <a:gd name="csY203" fmla="*/ 533397 h 2091729"/>
              <a:gd name="csX204" fmla="*/ 354531 w 729419"/>
              <a:gd name="csY204" fmla="*/ 521620 h 2091729"/>
              <a:gd name="csX205" fmla="*/ 259169 w 729419"/>
              <a:gd name="csY205" fmla="*/ 521978 h 2091729"/>
              <a:gd name="csX206" fmla="*/ 227796 w 729419"/>
              <a:gd name="csY206" fmla="*/ 528000 h 2091729"/>
              <a:gd name="csX207" fmla="*/ 508068 w 729419"/>
              <a:gd name="csY207" fmla="*/ 190710 h 2091729"/>
              <a:gd name="csX208" fmla="*/ 521293 w 729419"/>
              <a:gd name="csY208" fmla="*/ 205907 h 2091729"/>
              <a:gd name="csX209" fmla="*/ 525175 w 729419"/>
              <a:gd name="csY209" fmla="*/ 202985 h 2091729"/>
              <a:gd name="csX210" fmla="*/ 500276 w 729419"/>
              <a:gd name="csY210" fmla="*/ 160640 h 2091729"/>
              <a:gd name="csX211" fmla="*/ 497122 w 729419"/>
              <a:gd name="csY211" fmla="*/ 162007 h 2091729"/>
              <a:gd name="csX212" fmla="*/ 508068 w 729419"/>
              <a:gd name="csY212" fmla="*/ 190710 h 2091729"/>
              <a:gd name="csX213" fmla="*/ 215522 w 729419"/>
              <a:gd name="csY213" fmla="*/ 197296 h 2091729"/>
              <a:gd name="csX214" fmla="*/ 234029 w 729419"/>
              <a:gd name="csY214" fmla="*/ 162725 h 2091729"/>
              <a:gd name="csX215" fmla="*/ 229000 w 729419"/>
              <a:gd name="csY215" fmla="*/ 159902 h 2091729"/>
              <a:gd name="csX216" fmla="*/ 204824 w 729419"/>
              <a:gd name="csY216" fmla="*/ 199677 h 2091729"/>
              <a:gd name="csX217" fmla="*/ 207990 w 729419"/>
              <a:gd name="csY217" fmla="*/ 202198 h 2091729"/>
              <a:gd name="csX218" fmla="*/ 215522 w 729419"/>
              <a:gd name="csY218" fmla="*/ 197296 h 2091729"/>
              <a:gd name="csX219" fmla="*/ 484400 w 729419"/>
              <a:gd name="csY219" fmla="*/ 896678 h 2091729"/>
              <a:gd name="csX220" fmla="*/ 486181 w 729419"/>
              <a:gd name="csY220" fmla="*/ 896585 h 2091729"/>
              <a:gd name="csX221" fmla="*/ 486181 w 729419"/>
              <a:gd name="csY221" fmla="*/ 795289 h 2091729"/>
              <a:gd name="csX222" fmla="*/ 720241 w 729419"/>
              <a:gd name="csY222" fmla="*/ 2030666 h 2091729"/>
              <a:gd name="csX223" fmla="*/ 721175 w 729419"/>
              <a:gd name="csY223" fmla="*/ 2029733 h 2091729"/>
              <a:gd name="csX224" fmla="*/ 720241 w 729419"/>
              <a:gd name="csY224" fmla="*/ 2030666 h 2091729"/>
              <a:gd name="csX225" fmla="*/ 715702 w 729419"/>
              <a:gd name="csY225" fmla="*/ 2037051 h 2091729"/>
              <a:gd name="csX226" fmla="*/ 715702 w 729419"/>
              <a:gd name="csY226" fmla="*/ 2037051 h 2091729"/>
              <a:gd name="csX0" fmla="*/ 96263 w 729419"/>
              <a:gd name="csY0" fmla="*/ 2076207 h 2102400"/>
              <a:gd name="csX1" fmla="*/ 63862 w 729419"/>
              <a:gd name="csY1" fmla="*/ 2065388 h 2102400"/>
              <a:gd name="csX2" fmla="*/ 16555 w 729419"/>
              <a:gd name="csY2" fmla="*/ 2050152 h 2102400"/>
              <a:gd name="csX3" fmla="*/ 15 w 729419"/>
              <a:gd name="csY3" fmla="*/ 2023802 h 2102400"/>
              <a:gd name="csX4" fmla="*/ 18368 w 729419"/>
              <a:gd name="csY4" fmla="*/ 1940709 h 2102400"/>
              <a:gd name="csX5" fmla="*/ 22139 w 729419"/>
              <a:gd name="csY5" fmla="*/ 1907268 h 2102400"/>
              <a:gd name="csX6" fmla="*/ 57941 w 729419"/>
              <a:gd name="csY6" fmla="*/ 1774163 h 2102400"/>
              <a:gd name="csX7" fmla="*/ 102478 w 729419"/>
              <a:gd name="csY7" fmla="*/ 1720275 h 2102400"/>
              <a:gd name="csX8" fmla="*/ 108579 w 729419"/>
              <a:gd name="csY8" fmla="*/ 1650967 h 2102400"/>
              <a:gd name="csX9" fmla="*/ 115628 w 729419"/>
              <a:gd name="csY9" fmla="*/ 1625405 h 2102400"/>
              <a:gd name="csX10" fmla="*/ 156323 w 729419"/>
              <a:gd name="csY10" fmla="*/ 1560181 h 2102400"/>
              <a:gd name="csX11" fmla="*/ 199424 w 729419"/>
              <a:gd name="csY11" fmla="*/ 1364729 h 2102400"/>
              <a:gd name="csX12" fmla="*/ 216779 w 729419"/>
              <a:gd name="csY12" fmla="*/ 1219490 h 2102400"/>
              <a:gd name="csX13" fmla="*/ 229755 w 729419"/>
              <a:gd name="csY13" fmla="*/ 1099357 h 2102400"/>
              <a:gd name="csX14" fmla="*/ 232707 w 729419"/>
              <a:gd name="csY14" fmla="*/ 1056423 h 2102400"/>
              <a:gd name="csX15" fmla="*/ 235622 w 729419"/>
              <a:gd name="csY15" fmla="*/ 952675 h 2102400"/>
              <a:gd name="csX16" fmla="*/ 235445 w 729419"/>
              <a:gd name="csY16" fmla="*/ 780278 h 2102400"/>
              <a:gd name="csX17" fmla="*/ 214544 w 729419"/>
              <a:gd name="csY17" fmla="*/ 756435 h 2102400"/>
              <a:gd name="csX18" fmla="*/ 172569 w 729419"/>
              <a:gd name="csY18" fmla="*/ 742582 h 2102400"/>
              <a:gd name="csX19" fmla="*/ 168784 w 729419"/>
              <a:gd name="csY19" fmla="*/ 669116 h 2102400"/>
              <a:gd name="csX20" fmla="*/ 191657 w 729419"/>
              <a:gd name="csY20" fmla="*/ 630765 h 2102400"/>
              <a:gd name="csX21" fmla="*/ 208150 w 729419"/>
              <a:gd name="csY21" fmla="*/ 609084 h 2102400"/>
              <a:gd name="csX22" fmla="*/ 216756 w 729419"/>
              <a:gd name="csY22" fmla="*/ 558673 h 2102400"/>
              <a:gd name="csX23" fmla="*/ 209092 w 729419"/>
              <a:gd name="csY23" fmla="*/ 521540 h 2102400"/>
              <a:gd name="csX24" fmla="*/ 204683 w 729419"/>
              <a:gd name="csY24" fmla="*/ 474024 h 2102400"/>
              <a:gd name="csX25" fmla="*/ 115483 w 729419"/>
              <a:gd name="csY25" fmla="*/ 213499 h 2102400"/>
              <a:gd name="csX26" fmla="*/ 102909 w 729419"/>
              <a:gd name="csY26" fmla="*/ 182297 h 2102400"/>
              <a:gd name="csX27" fmla="*/ 104315 w 729419"/>
              <a:gd name="csY27" fmla="*/ 163968 h 2102400"/>
              <a:gd name="csX28" fmla="*/ 122444 w 729419"/>
              <a:gd name="csY28" fmla="*/ 160805 h 2102400"/>
              <a:gd name="csX29" fmla="*/ 170283 w 729419"/>
              <a:gd name="csY29" fmla="*/ 187783 h 2102400"/>
              <a:gd name="csX30" fmla="*/ 180938 w 729419"/>
              <a:gd name="csY30" fmla="*/ 195322 h 2102400"/>
              <a:gd name="csX31" fmla="*/ 221419 w 729419"/>
              <a:gd name="csY31" fmla="*/ 138058 h 2102400"/>
              <a:gd name="csX32" fmla="*/ 294099 w 729419"/>
              <a:gd name="csY32" fmla="*/ 91372 h 2102400"/>
              <a:gd name="csX33" fmla="*/ 302307 w 729419"/>
              <a:gd name="csY33" fmla="*/ 76560 h 2102400"/>
              <a:gd name="csX34" fmla="*/ 320284 w 729419"/>
              <a:gd name="csY34" fmla="*/ 8414 h 2102400"/>
              <a:gd name="csX35" fmla="*/ 324784 w 729419"/>
              <a:gd name="csY35" fmla="*/ 946 h 2102400"/>
              <a:gd name="csX36" fmla="*/ 399212 w 729419"/>
              <a:gd name="csY36" fmla="*/ 0 h 2102400"/>
              <a:gd name="csX37" fmla="*/ 425980 w 729419"/>
              <a:gd name="csY37" fmla="*/ 78301 h 2102400"/>
              <a:gd name="csX38" fmla="*/ 431861 w 729419"/>
              <a:gd name="csY38" fmla="*/ 90312 h 2102400"/>
              <a:gd name="csX39" fmla="*/ 540349 w 729419"/>
              <a:gd name="csY39" fmla="*/ 187946 h 2102400"/>
              <a:gd name="csX40" fmla="*/ 545555 w 729419"/>
              <a:gd name="csY40" fmla="*/ 197828 h 2102400"/>
              <a:gd name="csX41" fmla="*/ 587318 w 729419"/>
              <a:gd name="csY41" fmla="*/ 171260 h 2102400"/>
              <a:gd name="csX42" fmla="*/ 601503 w 729419"/>
              <a:gd name="csY42" fmla="*/ 163707 h 2102400"/>
              <a:gd name="csX43" fmla="*/ 625254 w 729419"/>
              <a:gd name="csY43" fmla="*/ 163123 h 2102400"/>
              <a:gd name="csX44" fmla="*/ 625468 w 729419"/>
              <a:gd name="csY44" fmla="*/ 187579 h 2102400"/>
              <a:gd name="csX45" fmla="*/ 597543 w 729419"/>
              <a:gd name="csY45" fmla="*/ 251872 h 2102400"/>
              <a:gd name="csX46" fmla="*/ 531831 w 729419"/>
              <a:gd name="csY46" fmla="*/ 442689 h 2102400"/>
              <a:gd name="csX47" fmla="*/ 519888 w 729419"/>
              <a:gd name="csY47" fmla="*/ 501474 h 2102400"/>
              <a:gd name="csX48" fmla="*/ 522506 w 729419"/>
              <a:gd name="csY48" fmla="*/ 525086 h 2102400"/>
              <a:gd name="csX49" fmla="*/ 516235 w 729419"/>
              <a:gd name="csY49" fmla="*/ 555946 h 2102400"/>
              <a:gd name="csX50" fmla="*/ 521332 w 729419"/>
              <a:gd name="csY50" fmla="*/ 610676 h 2102400"/>
              <a:gd name="csX51" fmla="*/ 541382 w 729419"/>
              <a:gd name="csY51" fmla="*/ 642597 h 2102400"/>
              <a:gd name="csX52" fmla="*/ 557031 w 729419"/>
              <a:gd name="csY52" fmla="*/ 667949 h 2102400"/>
              <a:gd name="csX53" fmla="*/ 553994 w 729419"/>
              <a:gd name="csY53" fmla="*/ 744146 h 2102400"/>
              <a:gd name="csX54" fmla="*/ 508215 w 729419"/>
              <a:gd name="csY54" fmla="*/ 758841 h 2102400"/>
              <a:gd name="csX55" fmla="*/ 497442 w 729419"/>
              <a:gd name="csY55" fmla="*/ 771256 h 2102400"/>
              <a:gd name="csX56" fmla="*/ 493005 w 729419"/>
              <a:gd name="csY56" fmla="*/ 922055 h 2102400"/>
              <a:gd name="csX57" fmla="*/ 502900 w 729419"/>
              <a:gd name="csY57" fmla="*/ 1114191 h 2102400"/>
              <a:gd name="csX58" fmla="*/ 508800 w 729419"/>
              <a:gd name="csY58" fmla="*/ 1205474 h 2102400"/>
              <a:gd name="csX59" fmla="*/ 522952 w 729419"/>
              <a:gd name="csY59" fmla="*/ 1320065 h 2102400"/>
              <a:gd name="csX60" fmla="*/ 554682 w 729419"/>
              <a:gd name="csY60" fmla="*/ 1501203 h 2102400"/>
              <a:gd name="csX61" fmla="*/ 576958 w 729419"/>
              <a:gd name="csY61" fmla="*/ 1593963 h 2102400"/>
              <a:gd name="csX62" fmla="*/ 595349 w 729419"/>
              <a:gd name="csY62" fmla="*/ 1613498 h 2102400"/>
              <a:gd name="csX63" fmla="*/ 613936 w 729419"/>
              <a:gd name="csY63" fmla="*/ 1624058 h 2102400"/>
              <a:gd name="csX64" fmla="*/ 620938 w 729419"/>
              <a:gd name="csY64" fmla="*/ 1652071 h 2102400"/>
              <a:gd name="csX65" fmla="*/ 630805 w 729419"/>
              <a:gd name="csY65" fmla="*/ 1721702 h 2102400"/>
              <a:gd name="csX66" fmla="*/ 685830 w 729419"/>
              <a:gd name="csY66" fmla="*/ 1792915 h 2102400"/>
              <a:gd name="csX67" fmla="*/ 708904 w 729419"/>
              <a:gd name="csY67" fmla="*/ 1890290 h 2102400"/>
              <a:gd name="csX68" fmla="*/ 716580 w 729419"/>
              <a:gd name="csY68" fmla="*/ 1951136 h 2102400"/>
              <a:gd name="csX69" fmla="*/ 729397 w 729419"/>
              <a:gd name="csY69" fmla="*/ 2030261 h 2102400"/>
              <a:gd name="csX70" fmla="*/ 714212 w 729419"/>
              <a:gd name="csY70" fmla="*/ 2049544 h 2102400"/>
              <a:gd name="csX71" fmla="*/ 645428 w 729419"/>
              <a:gd name="csY71" fmla="*/ 2070825 h 2102400"/>
              <a:gd name="csX72" fmla="*/ 635822 w 729419"/>
              <a:gd name="csY72" fmla="*/ 2075145 h 2102400"/>
              <a:gd name="csX73" fmla="*/ 588428 w 729419"/>
              <a:gd name="csY73" fmla="*/ 2075144 h 2102400"/>
              <a:gd name="csX74" fmla="*/ 590041 w 729419"/>
              <a:gd name="csY74" fmla="*/ 2071383 h 2102400"/>
              <a:gd name="csX75" fmla="*/ 667788 w 729419"/>
              <a:gd name="csY75" fmla="*/ 2056852 h 2102400"/>
              <a:gd name="csX76" fmla="*/ 706629 w 729419"/>
              <a:gd name="csY76" fmla="*/ 2044290 h 2102400"/>
              <a:gd name="csX77" fmla="*/ 702674 w 729419"/>
              <a:gd name="csY77" fmla="*/ 2041581 h 2102400"/>
              <a:gd name="csX78" fmla="*/ 544974 w 729419"/>
              <a:gd name="csY78" fmla="*/ 2071274 h 2102400"/>
              <a:gd name="csX79" fmla="*/ 538352 w 729419"/>
              <a:gd name="csY79" fmla="*/ 2076207 h 2102400"/>
              <a:gd name="csX80" fmla="*/ 96263 w 729419"/>
              <a:gd name="csY80" fmla="*/ 2076207 h 2102400"/>
              <a:gd name="csX81" fmla="*/ 489970 w 729419"/>
              <a:gd name="csY81" fmla="*/ 152208 h 2102400"/>
              <a:gd name="csX82" fmla="*/ 490754 w 729419"/>
              <a:gd name="csY82" fmla="*/ 152592 h 2102400"/>
              <a:gd name="csX83" fmla="*/ 489489 w 729419"/>
              <a:gd name="csY83" fmla="*/ 149547 h 2102400"/>
              <a:gd name="csX84" fmla="*/ 393621 w 729419"/>
              <a:gd name="csY84" fmla="*/ 99259 h 2102400"/>
              <a:gd name="csX85" fmla="*/ 390419 w 729419"/>
              <a:gd name="csY85" fmla="*/ 18568 h 2102400"/>
              <a:gd name="csX86" fmla="*/ 334131 w 729419"/>
              <a:gd name="csY86" fmla="*/ 24327 h 2102400"/>
              <a:gd name="csX87" fmla="*/ 344678 w 729419"/>
              <a:gd name="csY87" fmla="*/ 101259 h 2102400"/>
              <a:gd name="csX88" fmla="*/ 298854 w 729419"/>
              <a:gd name="csY88" fmla="*/ 114003 h 2102400"/>
              <a:gd name="csX89" fmla="*/ 237456 w 729419"/>
              <a:gd name="csY89" fmla="*/ 154340 h 2102400"/>
              <a:gd name="csX90" fmla="*/ 240382 w 729419"/>
              <a:gd name="csY90" fmla="*/ 154035 h 2102400"/>
              <a:gd name="csX91" fmla="*/ 262731 w 729419"/>
              <a:gd name="csY91" fmla="*/ 170426 h 2102400"/>
              <a:gd name="csX92" fmla="*/ 279169 w 729419"/>
              <a:gd name="csY92" fmla="*/ 193173 h 2102400"/>
              <a:gd name="csX93" fmla="*/ 327717 w 729419"/>
              <a:gd name="csY93" fmla="*/ 188556 h 2102400"/>
              <a:gd name="csX94" fmla="*/ 348052 w 729419"/>
              <a:gd name="csY94" fmla="*/ 156919 h 2102400"/>
              <a:gd name="csX95" fmla="*/ 380330 w 729419"/>
              <a:gd name="csY95" fmla="*/ 156483 h 2102400"/>
              <a:gd name="csX96" fmla="*/ 408490 w 729419"/>
              <a:gd name="csY96" fmla="*/ 195400 h 2102400"/>
              <a:gd name="csX97" fmla="*/ 445346 w 729419"/>
              <a:gd name="csY97" fmla="*/ 197582 h 2102400"/>
              <a:gd name="csX98" fmla="*/ 464798 w 729419"/>
              <a:gd name="csY98" fmla="*/ 174107 h 2102400"/>
              <a:gd name="csX99" fmla="*/ 489970 w 729419"/>
              <a:gd name="csY99" fmla="*/ 152208 h 2102400"/>
              <a:gd name="csX100" fmla="*/ 140694 w 729419"/>
              <a:gd name="csY100" fmla="*/ 201837 h 2102400"/>
              <a:gd name="csX101" fmla="*/ 139834 w 729419"/>
              <a:gd name="csY101" fmla="*/ 201482 h 2102400"/>
              <a:gd name="csX102" fmla="*/ 140812 w 729419"/>
              <a:gd name="csY102" fmla="*/ 204941 h 2102400"/>
              <a:gd name="csX103" fmla="*/ 144631 w 729419"/>
              <a:gd name="csY103" fmla="*/ 217811 h 2102400"/>
              <a:gd name="csX104" fmla="*/ 201241 w 729419"/>
              <a:gd name="csY104" fmla="*/ 373387 h 2102400"/>
              <a:gd name="csX105" fmla="*/ 235971 w 729419"/>
              <a:gd name="csY105" fmla="*/ 504451 h 2102400"/>
              <a:gd name="csX106" fmla="*/ 247475 w 729419"/>
              <a:gd name="csY106" fmla="*/ 513241 h 2102400"/>
              <a:gd name="csX107" fmla="*/ 289066 w 729419"/>
              <a:gd name="csY107" fmla="*/ 511170 h 2102400"/>
              <a:gd name="csX108" fmla="*/ 378229 w 729419"/>
              <a:gd name="csY108" fmla="*/ 511084 h 2102400"/>
              <a:gd name="csX109" fmla="*/ 470850 w 729419"/>
              <a:gd name="csY109" fmla="*/ 516341 h 2102400"/>
              <a:gd name="csX110" fmla="*/ 492933 w 729419"/>
              <a:gd name="csY110" fmla="*/ 497969 h 2102400"/>
              <a:gd name="csX111" fmla="*/ 557617 w 729419"/>
              <a:gd name="csY111" fmla="*/ 280398 h 2102400"/>
              <a:gd name="csX112" fmla="*/ 588788 w 729419"/>
              <a:gd name="csY112" fmla="*/ 200385 h 2102400"/>
              <a:gd name="csX113" fmla="*/ 530958 w 729419"/>
              <a:gd name="csY113" fmla="*/ 232968 h 2102400"/>
              <a:gd name="csX114" fmla="*/ 483823 w 729419"/>
              <a:gd name="csY114" fmla="*/ 190364 h 2102400"/>
              <a:gd name="csX115" fmla="*/ 466649 w 729419"/>
              <a:gd name="csY115" fmla="*/ 209061 h 2102400"/>
              <a:gd name="csX116" fmla="*/ 399941 w 729419"/>
              <a:gd name="csY116" fmla="*/ 216988 h 2102400"/>
              <a:gd name="csX117" fmla="*/ 363018 w 729419"/>
              <a:gd name="csY117" fmla="*/ 179615 h 2102400"/>
              <a:gd name="csX118" fmla="*/ 308839 w 729419"/>
              <a:gd name="csY118" fmla="*/ 227846 h 2102400"/>
              <a:gd name="csX119" fmla="*/ 245077 w 729419"/>
              <a:gd name="csY119" fmla="*/ 192402 h 2102400"/>
              <a:gd name="csX120" fmla="*/ 242829 w 729419"/>
              <a:gd name="csY120" fmla="*/ 198815 h 2102400"/>
              <a:gd name="csX121" fmla="*/ 168452 w 729419"/>
              <a:gd name="csY121" fmla="*/ 219348 h 2102400"/>
              <a:gd name="csX122" fmla="*/ 140694 w 729419"/>
              <a:gd name="csY122" fmla="*/ 201837 h 2102400"/>
              <a:gd name="csX123" fmla="*/ 259999 w 729419"/>
              <a:gd name="csY123" fmla="*/ 966699 h 2102400"/>
              <a:gd name="csX124" fmla="*/ 257072 w 729419"/>
              <a:gd name="csY124" fmla="*/ 1070424 h 2102400"/>
              <a:gd name="csX125" fmla="*/ 251372 w 729419"/>
              <a:gd name="csY125" fmla="*/ 1157618 h 2102400"/>
              <a:gd name="csX126" fmla="*/ 232677 w 729419"/>
              <a:gd name="csY126" fmla="*/ 1320279 h 2102400"/>
              <a:gd name="csX127" fmla="*/ 209182 w 729419"/>
              <a:gd name="csY127" fmla="*/ 1468667 h 2102400"/>
              <a:gd name="csX128" fmla="*/ 175302 w 729419"/>
              <a:gd name="csY128" fmla="*/ 1616623 h 2102400"/>
              <a:gd name="csX129" fmla="*/ 182769 w 729419"/>
              <a:gd name="csY129" fmla="*/ 1629786 h 2102400"/>
              <a:gd name="csX130" fmla="*/ 212156 w 729419"/>
              <a:gd name="csY130" fmla="*/ 1632656 h 2102400"/>
              <a:gd name="csX131" fmla="*/ 351295 w 729419"/>
              <a:gd name="csY131" fmla="*/ 1632801 h 2102400"/>
              <a:gd name="csX132" fmla="*/ 376150 w 729419"/>
              <a:gd name="csY132" fmla="*/ 1608307 h 2102400"/>
              <a:gd name="csX133" fmla="*/ 373450 w 729419"/>
              <a:gd name="csY133" fmla="*/ 1457291 h 2102400"/>
              <a:gd name="csX134" fmla="*/ 370936 w 729419"/>
              <a:gd name="csY134" fmla="*/ 1342736 h 2102400"/>
              <a:gd name="csX135" fmla="*/ 368328 w 729419"/>
              <a:gd name="csY135" fmla="*/ 1203878 h 2102400"/>
              <a:gd name="csX136" fmla="*/ 367836 w 729419"/>
              <a:gd name="csY136" fmla="*/ 813478 h 2102400"/>
              <a:gd name="csX137" fmla="*/ 365240 w 729419"/>
              <a:gd name="csY137" fmla="*/ 773243 h 2102400"/>
              <a:gd name="csX138" fmla="*/ 353084 w 729419"/>
              <a:gd name="csY138" fmla="*/ 762083 h 2102400"/>
              <a:gd name="csX139" fmla="*/ 280966 w 729419"/>
              <a:gd name="csY139" fmla="*/ 759855 h 2102400"/>
              <a:gd name="csX140" fmla="*/ 259965 w 729419"/>
              <a:gd name="csY140" fmla="*/ 779553 h 2102400"/>
              <a:gd name="csX141" fmla="*/ 262341 w 729419"/>
              <a:gd name="csY141" fmla="*/ 856275 h 2102400"/>
              <a:gd name="csX142" fmla="*/ 259999 w 729419"/>
              <a:gd name="csY142" fmla="*/ 966699 h 2102400"/>
              <a:gd name="csX143" fmla="*/ 55556 w 729419"/>
              <a:gd name="csY143" fmla="*/ 1835827 h 2102400"/>
              <a:gd name="csX144" fmla="*/ 49393 w 729419"/>
              <a:gd name="csY144" fmla="*/ 1878155 h 2102400"/>
              <a:gd name="csX145" fmla="*/ 73949 w 729419"/>
              <a:gd name="csY145" fmla="*/ 1905781 h 2102400"/>
              <a:gd name="csX146" fmla="*/ 110073 w 729419"/>
              <a:gd name="csY146" fmla="*/ 1909068 h 2102400"/>
              <a:gd name="csX147" fmla="*/ 224745 w 729419"/>
              <a:gd name="csY147" fmla="*/ 1921652 h 2102400"/>
              <a:gd name="csX148" fmla="*/ 347327 w 729419"/>
              <a:gd name="csY148" fmla="*/ 1924778 h 2102400"/>
              <a:gd name="csX149" fmla="*/ 363345 w 729419"/>
              <a:gd name="csY149" fmla="*/ 1923293 h 2102400"/>
              <a:gd name="csX150" fmla="*/ 373787 w 729419"/>
              <a:gd name="csY150" fmla="*/ 1911200 h 2102400"/>
              <a:gd name="csX151" fmla="*/ 376623 w 729419"/>
              <a:gd name="csY151" fmla="*/ 1696741 h 2102400"/>
              <a:gd name="csX152" fmla="*/ 360437 w 729419"/>
              <a:gd name="csY152" fmla="*/ 1681289 h 2102400"/>
              <a:gd name="csX153" fmla="*/ 263503 w 729419"/>
              <a:gd name="csY153" fmla="*/ 1678179 h 2102400"/>
              <a:gd name="csX154" fmla="*/ 160381 w 729419"/>
              <a:gd name="csY154" fmla="*/ 1670405 h 2102400"/>
              <a:gd name="csX155" fmla="*/ 143321 w 729419"/>
              <a:gd name="csY155" fmla="*/ 1685538 h 2102400"/>
              <a:gd name="csX156" fmla="*/ 124769 w 729419"/>
              <a:gd name="csY156" fmla="*/ 1738195 h 2102400"/>
              <a:gd name="csX157" fmla="*/ 90593 w 729419"/>
              <a:gd name="csY157" fmla="*/ 1779570 h 2102400"/>
              <a:gd name="csX158" fmla="*/ 55556 w 729419"/>
              <a:gd name="csY158" fmla="*/ 1835827 h 2102400"/>
              <a:gd name="csX159" fmla="*/ 378900 w 729419"/>
              <a:gd name="csY159" fmla="*/ 2007280 h 2102400"/>
              <a:gd name="csX160" fmla="*/ 378887 w 729419"/>
              <a:gd name="csY160" fmla="*/ 1995127 h 2102400"/>
              <a:gd name="csX161" fmla="*/ 359084 w 729419"/>
              <a:gd name="csY161" fmla="*/ 1975964 h 2102400"/>
              <a:gd name="csX162" fmla="*/ 247288 w 729419"/>
              <a:gd name="csY162" fmla="*/ 1973305 h 2102400"/>
              <a:gd name="csX163" fmla="*/ 201692 w 729419"/>
              <a:gd name="csY163" fmla="*/ 1970275 h 2102400"/>
              <a:gd name="csX164" fmla="*/ 57962 w 729419"/>
              <a:gd name="csY164" fmla="*/ 1952648 h 2102400"/>
              <a:gd name="csX165" fmla="*/ 39194 w 729419"/>
              <a:gd name="csY165" fmla="*/ 1963552 h 2102400"/>
              <a:gd name="csX166" fmla="*/ 30066 w 729419"/>
              <a:gd name="csY166" fmla="*/ 2006631 h 2102400"/>
              <a:gd name="csX167" fmla="*/ 40232 w 729419"/>
              <a:gd name="csY167" fmla="*/ 2019486 h 2102400"/>
              <a:gd name="csX168" fmla="*/ 238186 w 729419"/>
              <a:gd name="csY168" fmla="*/ 2046096 h 2102400"/>
              <a:gd name="csX169" fmla="*/ 342155 w 729419"/>
              <a:gd name="csY169" fmla="*/ 2046441 h 2102400"/>
              <a:gd name="csX170" fmla="*/ 378900 w 729419"/>
              <a:gd name="csY170" fmla="*/ 2007280 h 2102400"/>
              <a:gd name="csX171" fmla="*/ 310220 w 729419"/>
              <a:gd name="csY171" fmla="*/ 554288 h 2102400"/>
              <a:gd name="csX172" fmla="*/ 259136 w 729419"/>
              <a:gd name="csY172" fmla="*/ 556881 h 2102400"/>
              <a:gd name="csX173" fmla="*/ 249085 w 729419"/>
              <a:gd name="csY173" fmla="*/ 567981 h 2102400"/>
              <a:gd name="csX174" fmla="*/ 249141 w 729419"/>
              <a:gd name="csY174" fmla="*/ 605644 h 2102400"/>
              <a:gd name="csX175" fmla="*/ 262628 w 729419"/>
              <a:gd name="csY175" fmla="*/ 605627 h 2102400"/>
              <a:gd name="csX176" fmla="*/ 369608 w 729419"/>
              <a:gd name="csY176" fmla="*/ 603027 h 2102400"/>
              <a:gd name="csX177" fmla="*/ 463931 w 729419"/>
              <a:gd name="csY177" fmla="*/ 605146 h 2102400"/>
              <a:gd name="csX178" fmla="*/ 478113 w 729419"/>
              <a:gd name="csY178" fmla="*/ 595843 h 2102400"/>
              <a:gd name="csX179" fmla="*/ 478796 w 729419"/>
              <a:gd name="csY179" fmla="*/ 556832 h 2102400"/>
              <a:gd name="csX180" fmla="*/ 310220 w 729419"/>
              <a:gd name="csY180" fmla="*/ 554288 h 2102400"/>
              <a:gd name="csX181" fmla="*/ 348836 w 729419"/>
              <a:gd name="csY181" fmla="*/ 684115 h 2102400"/>
              <a:gd name="csX182" fmla="*/ 281333 w 729419"/>
              <a:gd name="csY182" fmla="*/ 683313 h 2102400"/>
              <a:gd name="csX183" fmla="*/ 212728 w 729419"/>
              <a:gd name="csY183" fmla="*/ 681931 h 2102400"/>
              <a:gd name="csX184" fmla="*/ 187283 w 729419"/>
              <a:gd name="csY184" fmla="*/ 689555 h 2102400"/>
              <a:gd name="csX185" fmla="*/ 186163 w 729419"/>
              <a:gd name="csY185" fmla="*/ 718266 h 2102400"/>
              <a:gd name="csX186" fmla="*/ 209894 w 729419"/>
              <a:gd name="csY186" fmla="*/ 726798 h 2102400"/>
              <a:gd name="csX187" fmla="*/ 334814 w 729419"/>
              <a:gd name="csY187" fmla="*/ 732494 h 2102400"/>
              <a:gd name="csX188" fmla="*/ 364856 w 729419"/>
              <a:gd name="csY188" fmla="*/ 707963 h 2102400"/>
              <a:gd name="csX189" fmla="*/ 348836 w 729419"/>
              <a:gd name="csY189" fmla="*/ 684115 h 2102400"/>
              <a:gd name="csX190" fmla="*/ 298865 w 729419"/>
              <a:gd name="csY190" fmla="*/ 621954 h 2102400"/>
              <a:gd name="csX191" fmla="*/ 251619 w 729419"/>
              <a:gd name="csY191" fmla="*/ 622133 h 2102400"/>
              <a:gd name="csX192" fmla="*/ 214459 w 729419"/>
              <a:gd name="csY192" fmla="*/ 636230 h 2102400"/>
              <a:gd name="csX193" fmla="*/ 221436 w 729419"/>
              <a:gd name="csY193" fmla="*/ 654205 h 2102400"/>
              <a:gd name="csX194" fmla="*/ 272412 w 729419"/>
              <a:gd name="csY194" fmla="*/ 657250 h 2102400"/>
              <a:gd name="csX195" fmla="*/ 349094 w 729419"/>
              <a:gd name="csY195" fmla="*/ 659282 h 2102400"/>
              <a:gd name="csX196" fmla="*/ 362996 w 729419"/>
              <a:gd name="csY196" fmla="*/ 644234 h 2102400"/>
              <a:gd name="csX197" fmla="*/ 348472 w 729419"/>
              <a:gd name="csY197" fmla="*/ 624649 h 2102400"/>
              <a:gd name="csX198" fmla="*/ 298865 w 729419"/>
              <a:gd name="csY198" fmla="*/ 621954 h 2102400"/>
              <a:gd name="csX199" fmla="*/ 227796 w 729419"/>
              <a:gd name="csY199" fmla="*/ 528000 h 2102400"/>
              <a:gd name="csX200" fmla="*/ 241009 w 729419"/>
              <a:gd name="csY200" fmla="*/ 545897 h 2102400"/>
              <a:gd name="csX201" fmla="*/ 282607 w 729419"/>
              <a:gd name="csY201" fmla="*/ 543480 h 2102400"/>
              <a:gd name="csX202" fmla="*/ 354213 w 729419"/>
              <a:gd name="csY202" fmla="*/ 543384 h 2102400"/>
              <a:gd name="csX203" fmla="*/ 365334 w 729419"/>
              <a:gd name="csY203" fmla="*/ 533397 h 2102400"/>
              <a:gd name="csX204" fmla="*/ 354531 w 729419"/>
              <a:gd name="csY204" fmla="*/ 521620 h 2102400"/>
              <a:gd name="csX205" fmla="*/ 259169 w 729419"/>
              <a:gd name="csY205" fmla="*/ 521978 h 2102400"/>
              <a:gd name="csX206" fmla="*/ 227796 w 729419"/>
              <a:gd name="csY206" fmla="*/ 528000 h 2102400"/>
              <a:gd name="csX207" fmla="*/ 508068 w 729419"/>
              <a:gd name="csY207" fmla="*/ 190710 h 2102400"/>
              <a:gd name="csX208" fmla="*/ 521293 w 729419"/>
              <a:gd name="csY208" fmla="*/ 205907 h 2102400"/>
              <a:gd name="csX209" fmla="*/ 525175 w 729419"/>
              <a:gd name="csY209" fmla="*/ 202985 h 2102400"/>
              <a:gd name="csX210" fmla="*/ 500276 w 729419"/>
              <a:gd name="csY210" fmla="*/ 160640 h 2102400"/>
              <a:gd name="csX211" fmla="*/ 497122 w 729419"/>
              <a:gd name="csY211" fmla="*/ 162007 h 2102400"/>
              <a:gd name="csX212" fmla="*/ 508068 w 729419"/>
              <a:gd name="csY212" fmla="*/ 190710 h 2102400"/>
              <a:gd name="csX213" fmla="*/ 215522 w 729419"/>
              <a:gd name="csY213" fmla="*/ 197296 h 2102400"/>
              <a:gd name="csX214" fmla="*/ 234029 w 729419"/>
              <a:gd name="csY214" fmla="*/ 162725 h 2102400"/>
              <a:gd name="csX215" fmla="*/ 229000 w 729419"/>
              <a:gd name="csY215" fmla="*/ 159902 h 2102400"/>
              <a:gd name="csX216" fmla="*/ 204824 w 729419"/>
              <a:gd name="csY216" fmla="*/ 199677 h 2102400"/>
              <a:gd name="csX217" fmla="*/ 207990 w 729419"/>
              <a:gd name="csY217" fmla="*/ 202198 h 2102400"/>
              <a:gd name="csX218" fmla="*/ 215522 w 729419"/>
              <a:gd name="csY218" fmla="*/ 197296 h 2102400"/>
              <a:gd name="csX219" fmla="*/ 484400 w 729419"/>
              <a:gd name="csY219" fmla="*/ 896678 h 2102400"/>
              <a:gd name="csX220" fmla="*/ 486181 w 729419"/>
              <a:gd name="csY220" fmla="*/ 896585 h 2102400"/>
              <a:gd name="csX221" fmla="*/ 486181 w 729419"/>
              <a:gd name="csY221" fmla="*/ 795289 h 2102400"/>
              <a:gd name="csX222" fmla="*/ 720241 w 729419"/>
              <a:gd name="csY222" fmla="*/ 2030666 h 2102400"/>
              <a:gd name="csX223" fmla="*/ 721175 w 729419"/>
              <a:gd name="csY223" fmla="*/ 2029733 h 2102400"/>
              <a:gd name="csX224" fmla="*/ 720241 w 729419"/>
              <a:gd name="csY224" fmla="*/ 2030666 h 2102400"/>
              <a:gd name="csX225" fmla="*/ 715702 w 729419"/>
              <a:gd name="csY225" fmla="*/ 2037051 h 2102400"/>
              <a:gd name="csX226" fmla="*/ 715702 w 729419"/>
              <a:gd name="csY226" fmla="*/ 2037051 h 2102400"/>
              <a:gd name="csX0" fmla="*/ 96263 w 729419"/>
              <a:gd name="csY0" fmla="*/ 2076207 h 2076207"/>
              <a:gd name="csX1" fmla="*/ 63862 w 729419"/>
              <a:gd name="csY1" fmla="*/ 2065388 h 2076207"/>
              <a:gd name="csX2" fmla="*/ 16555 w 729419"/>
              <a:gd name="csY2" fmla="*/ 2050152 h 2076207"/>
              <a:gd name="csX3" fmla="*/ 15 w 729419"/>
              <a:gd name="csY3" fmla="*/ 2023802 h 2076207"/>
              <a:gd name="csX4" fmla="*/ 18368 w 729419"/>
              <a:gd name="csY4" fmla="*/ 1940709 h 2076207"/>
              <a:gd name="csX5" fmla="*/ 22139 w 729419"/>
              <a:gd name="csY5" fmla="*/ 1907268 h 2076207"/>
              <a:gd name="csX6" fmla="*/ 57941 w 729419"/>
              <a:gd name="csY6" fmla="*/ 1774163 h 2076207"/>
              <a:gd name="csX7" fmla="*/ 102478 w 729419"/>
              <a:gd name="csY7" fmla="*/ 1720275 h 2076207"/>
              <a:gd name="csX8" fmla="*/ 108579 w 729419"/>
              <a:gd name="csY8" fmla="*/ 1650967 h 2076207"/>
              <a:gd name="csX9" fmla="*/ 115628 w 729419"/>
              <a:gd name="csY9" fmla="*/ 1625405 h 2076207"/>
              <a:gd name="csX10" fmla="*/ 156323 w 729419"/>
              <a:gd name="csY10" fmla="*/ 1560181 h 2076207"/>
              <a:gd name="csX11" fmla="*/ 199424 w 729419"/>
              <a:gd name="csY11" fmla="*/ 1364729 h 2076207"/>
              <a:gd name="csX12" fmla="*/ 216779 w 729419"/>
              <a:gd name="csY12" fmla="*/ 1219490 h 2076207"/>
              <a:gd name="csX13" fmla="*/ 229755 w 729419"/>
              <a:gd name="csY13" fmla="*/ 1099357 h 2076207"/>
              <a:gd name="csX14" fmla="*/ 232707 w 729419"/>
              <a:gd name="csY14" fmla="*/ 1056423 h 2076207"/>
              <a:gd name="csX15" fmla="*/ 235622 w 729419"/>
              <a:gd name="csY15" fmla="*/ 952675 h 2076207"/>
              <a:gd name="csX16" fmla="*/ 235445 w 729419"/>
              <a:gd name="csY16" fmla="*/ 780278 h 2076207"/>
              <a:gd name="csX17" fmla="*/ 214544 w 729419"/>
              <a:gd name="csY17" fmla="*/ 756435 h 2076207"/>
              <a:gd name="csX18" fmla="*/ 172569 w 729419"/>
              <a:gd name="csY18" fmla="*/ 742582 h 2076207"/>
              <a:gd name="csX19" fmla="*/ 168784 w 729419"/>
              <a:gd name="csY19" fmla="*/ 669116 h 2076207"/>
              <a:gd name="csX20" fmla="*/ 191657 w 729419"/>
              <a:gd name="csY20" fmla="*/ 630765 h 2076207"/>
              <a:gd name="csX21" fmla="*/ 208150 w 729419"/>
              <a:gd name="csY21" fmla="*/ 609084 h 2076207"/>
              <a:gd name="csX22" fmla="*/ 216756 w 729419"/>
              <a:gd name="csY22" fmla="*/ 558673 h 2076207"/>
              <a:gd name="csX23" fmla="*/ 209092 w 729419"/>
              <a:gd name="csY23" fmla="*/ 521540 h 2076207"/>
              <a:gd name="csX24" fmla="*/ 204683 w 729419"/>
              <a:gd name="csY24" fmla="*/ 474024 h 2076207"/>
              <a:gd name="csX25" fmla="*/ 115483 w 729419"/>
              <a:gd name="csY25" fmla="*/ 213499 h 2076207"/>
              <a:gd name="csX26" fmla="*/ 102909 w 729419"/>
              <a:gd name="csY26" fmla="*/ 182297 h 2076207"/>
              <a:gd name="csX27" fmla="*/ 104315 w 729419"/>
              <a:gd name="csY27" fmla="*/ 163968 h 2076207"/>
              <a:gd name="csX28" fmla="*/ 122444 w 729419"/>
              <a:gd name="csY28" fmla="*/ 160805 h 2076207"/>
              <a:gd name="csX29" fmla="*/ 170283 w 729419"/>
              <a:gd name="csY29" fmla="*/ 187783 h 2076207"/>
              <a:gd name="csX30" fmla="*/ 180938 w 729419"/>
              <a:gd name="csY30" fmla="*/ 195322 h 2076207"/>
              <a:gd name="csX31" fmla="*/ 221419 w 729419"/>
              <a:gd name="csY31" fmla="*/ 138058 h 2076207"/>
              <a:gd name="csX32" fmla="*/ 294099 w 729419"/>
              <a:gd name="csY32" fmla="*/ 91372 h 2076207"/>
              <a:gd name="csX33" fmla="*/ 302307 w 729419"/>
              <a:gd name="csY33" fmla="*/ 76560 h 2076207"/>
              <a:gd name="csX34" fmla="*/ 320284 w 729419"/>
              <a:gd name="csY34" fmla="*/ 8414 h 2076207"/>
              <a:gd name="csX35" fmla="*/ 324784 w 729419"/>
              <a:gd name="csY35" fmla="*/ 946 h 2076207"/>
              <a:gd name="csX36" fmla="*/ 399212 w 729419"/>
              <a:gd name="csY36" fmla="*/ 0 h 2076207"/>
              <a:gd name="csX37" fmla="*/ 425980 w 729419"/>
              <a:gd name="csY37" fmla="*/ 78301 h 2076207"/>
              <a:gd name="csX38" fmla="*/ 431861 w 729419"/>
              <a:gd name="csY38" fmla="*/ 90312 h 2076207"/>
              <a:gd name="csX39" fmla="*/ 540349 w 729419"/>
              <a:gd name="csY39" fmla="*/ 187946 h 2076207"/>
              <a:gd name="csX40" fmla="*/ 545555 w 729419"/>
              <a:gd name="csY40" fmla="*/ 197828 h 2076207"/>
              <a:gd name="csX41" fmla="*/ 587318 w 729419"/>
              <a:gd name="csY41" fmla="*/ 171260 h 2076207"/>
              <a:gd name="csX42" fmla="*/ 601503 w 729419"/>
              <a:gd name="csY42" fmla="*/ 163707 h 2076207"/>
              <a:gd name="csX43" fmla="*/ 625254 w 729419"/>
              <a:gd name="csY43" fmla="*/ 163123 h 2076207"/>
              <a:gd name="csX44" fmla="*/ 625468 w 729419"/>
              <a:gd name="csY44" fmla="*/ 187579 h 2076207"/>
              <a:gd name="csX45" fmla="*/ 597543 w 729419"/>
              <a:gd name="csY45" fmla="*/ 251872 h 2076207"/>
              <a:gd name="csX46" fmla="*/ 531831 w 729419"/>
              <a:gd name="csY46" fmla="*/ 442689 h 2076207"/>
              <a:gd name="csX47" fmla="*/ 519888 w 729419"/>
              <a:gd name="csY47" fmla="*/ 501474 h 2076207"/>
              <a:gd name="csX48" fmla="*/ 522506 w 729419"/>
              <a:gd name="csY48" fmla="*/ 525086 h 2076207"/>
              <a:gd name="csX49" fmla="*/ 516235 w 729419"/>
              <a:gd name="csY49" fmla="*/ 555946 h 2076207"/>
              <a:gd name="csX50" fmla="*/ 521332 w 729419"/>
              <a:gd name="csY50" fmla="*/ 610676 h 2076207"/>
              <a:gd name="csX51" fmla="*/ 541382 w 729419"/>
              <a:gd name="csY51" fmla="*/ 642597 h 2076207"/>
              <a:gd name="csX52" fmla="*/ 557031 w 729419"/>
              <a:gd name="csY52" fmla="*/ 667949 h 2076207"/>
              <a:gd name="csX53" fmla="*/ 553994 w 729419"/>
              <a:gd name="csY53" fmla="*/ 744146 h 2076207"/>
              <a:gd name="csX54" fmla="*/ 508215 w 729419"/>
              <a:gd name="csY54" fmla="*/ 758841 h 2076207"/>
              <a:gd name="csX55" fmla="*/ 497442 w 729419"/>
              <a:gd name="csY55" fmla="*/ 771256 h 2076207"/>
              <a:gd name="csX56" fmla="*/ 493005 w 729419"/>
              <a:gd name="csY56" fmla="*/ 922055 h 2076207"/>
              <a:gd name="csX57" fmla="*/ 502900 w 729419"/>
              <a:gd name="csY57" fmla="*/ 1114191 h 2076207"/>
              <a:gd name="csX58" fmla="*/ 508800 w 729419"/>
              <a:gd name="csY58" fmla="*/ 1205474 h 2076207"/>
              <a:gd name="csX59" fmla="*/ 522952 w 729419"/>
              <a:gd name="csY59" fmla="*/ 1320065 h 2076207"/>
              <a:gd name="csX60" fmla="*/ 554682 w 729419"/>
              <a:gd name="csY60" fmla="*/ 1501203 h 2076207"/>
              <a:gd name="csX61" fmla="*/ 576958 w 729419"/>
              <a:gd name="csY61" fmla="*/ 1593963 h 2076207"/>
              <a:gd name="csX62" fmla="*/ 595349 w 729419"/>
              <a:gd name="csY62" fmla="*/ 1613498 h 2076207"/>
              <a:gd name="csX63" fmla="*/ 613936 w 729419"/>
              <a:gd name="csY63" fmla="*/ 1624058 h 2076207"/>
              <a:gd name="csX64" fmla="*/ 620938 w 729419"/>
              <a:gd name="csY64" fmla="*/ 1652071 h 2076207"/>
              <a:gd name="csX65" fmla="*/ 630805 w 729419"/>
              <a:gd name="csY65" fmla="*/ 1721702 h 2076207"/>
              <a:gd name="csX66" fmla="*/ 685830 w 729419"/>
              <a:gd name="csY66" fmla="*/ 1792915 h 2076207"/>
              <a:gd name="csX67" fmla="*/ 708904 w 729419"/>
              <a:gd name="csY67" fmla="*/ 1890290 h 2076207"/>
              <a:gd name="csX68" fmla="*/ 716580 w 729419"/>
              <a:gd name="csY68" fmla="*/ 1951136 h 2076207"/>
              <a:gd name="csX69" fmla="*/ 729397 w 729419"/>
              <a:gd name="csY69" fmla="*/ 2030261 h 2076207"/>
              <a:gd name="csX70" fmla="*/ 714212 w 729419"/>
              <a:gd name="csY70" fmla="*/ 2049544 h 2076207"/>
              <a:gd name="csX71" fmla="*/ 645428 w 729419"/>
              <a:gd name="csY71" fmla="*/ 2070825 h 2076207"/>
              <a:gd name="csX72" fmla="*/ 635822 w 729419"/>
              <a:gd name="csY72" fmla="*/ 2075145 h 2076207"/>
              <a:gd name="csX73" fmla="*/ 588428 w 729419"/>
              <a:gd name="csY73" fmla="*/ 2075144 h 2076207"/>
              <a:gd name="csX74" fmla="*/ 590041 w 729419"/>
              <a:gd name="csY74" fmla="*/ 2071383 h 2076207"/>
              <a:gd name="csX75" fmla="*/ 667788 w 729419"/>
              <a:gd name="csY75" fmla="*/ 2056852 h 2076207"/>
              <a:gd name="csX76" fmla="*/ 706629 w 729419"/>
              <a:gd name="csY76" fmla="*/ 2044290 h 2076207"/>
              <a:gd name="csX77" fmla="*/ 702674 w 729419"/>
              <a:gd name="csY77" fmla="*/ 2041581 h 2076207"/>
              <a:gd name="csX78" fmla="*/ 544974 w 729419"/>
              <a:gd name="csY78" fmla="*/ 2071274 h 2076207"/>
              <a:gd name="csX79" fmla="*/ 96263 w 729419"/>
              <a:gd name="csY79" fmla="*/ 2076207 h 2076207"/>
              <a:gd name="csX80" fmla="*/ 489970 w 729419"/>
              <a:gd name="csY80" fmla="*/ 152208 h 2076207"/>
              <a:gd name="csX81" fmla="*/ 490754 w 729419"/>
              <a:gd name="csY81" fmla="*/ 152592 h 2076207"/>
              <a:gd name="csX82" fmla="*/ 489489 w 729419"/>
              <a:gd name="csY82" fmla="*/ 149547 h 2076207"/>
              <a:gd name="csX83" fmla="*/ 393621 w 729419"/>
              <a:gd name="csY83" fmla="*/ 99259 h 2076207"/>
              <a:gd name="csX84" fmla="*/ 390419 w 729419"/>
              <a:gd name="csY84" fmla="*/ 18568 h 2076207"/>
              <a:gd name="csX85" fmla="*/ 334131 w 729419"/>
              <a:gd name="csY85" fmla="*/ 24327 h 2076207"/>
              <a:gd name="csX86" fmla="*/ 344678 w 729419"/>
              <a:gd name="csY86" fmla="*/ 101259 h 2076207"/>
              <a:gd name="csX87" fmla="*/ 298854 w 729419"/>
              <a:gd name="csY87" fmla="*/ 114003 h 2076207"/>
              <a:gd name="csX88" fmla="*/ 237456 w 729419"/>
              <a:gd name="csY88" fmla="*/ 154340 h 2076207"/>
              <a:gd name="csX89" fmla="*/ 240382 w 729419"/>
              <a:gd name="csY89" fmla="*/ 154035 h 2076207"/>
              <a:gd name="csX90" fmla="*/ 262731 w 729419"/>
              <a:gd name="csY90" fmla="*/ 170426 h 2076207"/>
              <a:gd name="csX91" fmla="*/ 279169 w 729419"/>
              <a:gd name="csY91" fmla="*/ 193173 h 2076207"/>
              <a:gd name="csX92" fmla="*/ 327717 w 729419"/>
              <a:gd name="csY92" fmla="*/ 188556 h 2076207"/>
              <a:gd name="csX93" fmla="*/ 348052 w 729419"/>
              <a:gd name="csY93" fmla="*/ 156919 h 2076207"/>
              <a:gd name="csX94" fmla="*/ 380330 w 729419"/>
              <a:gd name="csY94" fmla="*/ 156483 h 2076207"/>
              <a:gd name="csX95" fmla="*/ 408490 w 729419"/>
              <a:gd name="csY95" fmla="*/ 195400 h 2076207"/>
              <a:gd name="csX96" fmla="*/ 445346 w 729419"/>
              <a:gd name="csY96" fmla="*/ 197582 h 2076207"/>
              <a:gd name="csX97" fmla="*/ 464798 w 729419"/>
              <a:gd name="csY97" fmla="*/ 174107 h 2076207"/>
              <a:gd name="csX98" fmla="*/ 489970 w 729419"/>
              <a:gd name="csY98" fmla="*/ 152208 h 2076207"/>
              <a:gd name="csX99" fmla="*/ 140694 w 729419"/>
              <a:gd name="csY99" fmla="*/ 201837 h 2076207"/>
              <a:gd name="csX100" fmla="*/ 139834 w 729419"/>
              <a:gd name="csY100" fmla="*/ 201482 h 2076207"/>
              <a:gd name="csX101" fmla="*/ 140812 w 729419"/>
              <a:gd name="csY101" fmla="*/ 204941 h 2076207"/>
              <a:gd name="csX102" fmla="*/ 144631 w 729419"/>
              <a:gd name="csY102" fmla="*/ 217811 h 2076207"/>
              <a:gd name="csX103" fmla="*/ 201241 w 729419"/>
              <a:gd name="csY103" fmla="*/ 373387 h 2076207"/>
              <a:gd name="csX104" fmla="*/ 235971 w 729419"/>
              <a:gd name="csY104" fmla="*/ 504451 h 2076207"/>
              <a:gd name="csX105" fmla="*/ 247475 w 729419"/>
              <a:gd name="csY105" fmla="*/ 513241 h 2076207"/>
              <a:gd name="csX106" fmla="*/ 289066 w 729419"/>
              <a:gd name="csY106" fmla="*/ 511170 h 2076207"/>
              <a:gd name="csX107" fmla="*/ 378229 w 729419"/>
              <a:gd name="csY107" fmla="*/ 511084 h 2076207"/>
              <a:gd name="csX108" fmla="*/ 470850 w 729419"/>
              <a:gd name="csY108" fmla="*/ 516341 h 2076207"/>
              <a:gd name="csX109" fmla="*/ 492933 w 729419"/>
              <a:gd name="csY109" fmla="*/ 497969 h 2076207"/>
              <a:gd name="csX110" fmla="*/ 557617 w 729419"/>
              <a:gd name="csY110" fmla="*/ 280398 h 2076207"/>
              <a:gd name="csX111" fmla="*/ 588788 w 729419"/>
              <a:gd name="csY111" fmla="*/ 200385 h 2076207"/>
              <a:gd name="csX112" fmla="*/ 530958 w 729419"/>
              <a:gd name="csY112" fmla="*/ 232968 h 2076207"/>
              <a:gd name="csX113" fmla="*/ 483823 w 729419"/>
              <a:gd name="csY113" fmla="*/ 190364 h 2076207"/>
              <a:gd name="csX114" fmla="*/ 466649 w 729419"/>
              <a:gd name="csY114" fmla="*/ 209061 h 2076207"/>
              <a:gd name="csX115" fmla="*/ 399941 w 729419"/>
              <a:gd name="csY115" fmla="*/ 216988 h 2076207"/>
              <a:gd name="csX116" fmla="*/ 363018 w 729419"/>
              <a:gd name="csY116" fmla="*/ 179615 h 2076207"/>
              <a:gd name="csX117" fmla="*/ 308839 w 729419"/>
              <a:gd name="csY117" fmla="*/ 227846 h 2076207"/>
              <a:gd name="csX118" fmla="*/ 245077 w 729419"/>
              <a:gd name="csY118" fmla="*/ 192402 h 2076207"/>
              <a:gd name="csX119" fmla="*/ 242829 w 729419"/>
              <a:gd name="csY119" fmla="*/ 198815 h 2076207"/>
              <a:gd name="csX120" fmla="*/ 168452 w 729419"/>
              <a:gd name="csY120" fmla="*/ 219348 h 2076207"/>
              <a:gd name="csX121" fmla="*/ 140694 w 729419"/>
              <a:gd name="csY121" fmla="*/ 201837 h 2076207"/>
              <a:gd name="csX122" fmla="*/ 259999 w 729419"/>
              <a:gd name="csY122" fmla="*/ 966699 h 2076207"/>
              <a:gd name="csX123" fmla="*/ 257072 w 729419"/>
              <a:gd name="csY123" fmla="*/ 1070424 h 2076207"/>
              <a:gd name="csX124" fmla="*/ 251372 w 729419"/>
              <a:gd name="csY124" fmla="*/ 1157618 h 2076207"/>
              <a:gd name="csX125" fmla="*/ 232677 w 729419"/>
              <a:gd name="csY125" fmla="*/ 1320279 h 2076207"/>
              <a:gd name="csX126" fmla="*/ 209182 w 729419"/>
              <a:gd name="csY126" fmla="*/ 1468667 h 2076207"/>
              <a:gd name="csX127" fmla="*/ 175302 w 729419"/>
              <a:gd name="csY127" fmla="*/ 1616623 h 2076207"/>
              <a:gd name="csX128" fmla="*/ 182769 w 729419"/>
              <a:gd name="csY128" fmla="*/ 1629786 h 2076207"/>
              <a:gd name="csX129" fmla="*/ 212156 w 729419"/>
              <a:gd name="csY129" fmla="*/ 1632656 h 2076207"/>
              <a:gd name="csX130" fmla="*/ 351295 w 729419"/>
              <a:gd name="csY130" fmla="*/ 1632801 h 2076207"/>
              <a:gd name="csX131" fmla="*/ 376150 w 729419"/>
              <a:gd name="csY131" fmla="*/ 1608307 h 2076207"/>
              <a:gd name="csX132" fmla="*/ 373450 w 729419"/>
              <a:gd name="csY132" fmla="*/ 1457291 h 2076207"/>
              <a:gd name="csX133" fmla="*/ 370936 w 729419"/>
              <a:gd name="csY133" fmla="*/ 1342736 h 2076207"/>
              <a:gd name="csX134" fmla="*/ 368328 w 729419"/>
              <a:gd name="csY134" fmla="*/ 1203878 h 2076207"/>
              <a:gd name="csX135" fmla="*/ 367836 w 729419"/>
              <a:gd name="csY135" fmla="*/ 813478 h 2076207"/>
              <a:gd name="csX136" fmla="*/ 365240 w 729419"/>
              <a:gd name="csY136" fmla="*/ 773243 h 2076207"/>
              <a:gd name="csX137" fmla="*/ 353084 w 729419"/>
              <a:gd name="csY137" fmla="*/ 762083 h 2076207"/>
              <a:gd name="csX138" fmla="*/ 280966 w 729419"/>
              <a:gd name="csY138" fmla="*/ 759855 h 2076207"/>
              <a:gd name="csX139" fmla="*/ 259965 w 729419"/>
              <a:gd name="csY139" fmla="*/ 779553 h 2076207"/>
              <a:gd name="csX140" fmla="*/ 262341 w 729419"/>
              <a:gd name="csY140" fmla="*/ 856275 h 2076207"/>
              <a:gd name="csX141" fmla="*/ 259999 w 729419"/>
              <a:gd name="csY141" fmla="*/ 966699 h 2076207"/>
              <a:gd name="csX142" fmla="*/ 55556 w 729419"/>
              <a:gd name="csY142" fmla="*/ 1835827 h 2076207"/>
              <a:gd name="csX143" fmla="*/ 49393 w 729419"/>
              <a:gd name="csY143" fmla="*/ 1878155 h 2076207"/>
              <a:gd name="csX144" fmla="*/ 73949 w 729419"/>
              <a:gd name="csY144" fmla="*/ 1905781 h 2076207"/>
              <a:gd name="csX145" fmla="*/ 110073 w 729419"/>
              <a:gd name="csY145" fmla="*/ 1909068 h 2076207"/>
              <a:gd name="csX146" fmla="*/ 224745 w 729419"/>
              <a:gd name="csY146" fmla="*/ 1921652 h 2076207"/>
              <a:gd name="csX147" fmla="*/ 347327 w 729419"/>
              <a:gd name="csY147" fmla="*/ 1924778 h 2076207"/>
              <a:gd name="csX148" fmla="*/ 363345 w 729419"/>
              <a:gd name="csY148" fmla="*/ 1923293 h 2076207"/>
              <a:gd name="csX149" fmla="*/ 373787 w 729419"/>
              <a:gd name="csY149" fmla="*/ 1911200 h 2076207"/>
              <a:gd name="csX150" fmla="*/ 376623 w 729419"/>
              <a:gd name="csY150" fmla="*/ 1696741 h 2076207"/>
              <a:gd name="csX151" fmla="*/ 360437 w 729419"/>
              <a:gd name="csY151" fmla="*/ 1681289 h 2076207"/>
              <a:gd name="csX152" fmla="*/ 263503 w 729419"/>
              <a:gd name="csY152" fmla="*/ 1678179 h 2076207"/>
              <a:gd name="csX153" fmla="*/ 160381 w 729419"/>
              <a:gd name="csY153" fmla="*/ 1670405 h 2076207"/>
              <a:gd name="csX154" fmla="*/ 143321 w 729419"/>
              <a:gd name="csY154" fmla="*/ 1685538 h 2076207"/>
              <a:gd name="csX155" fmla="*/ 124769 w 729419"/>
              <a:gd name="csY155" fmla="*/ 1738195 h 2076207"/>
              <a:gd name="csX156" fmla="*/ 90593 w 729419"/>
              <a:gd name="csY156" fmla="*/ 1779570 h 2076207"/>
              <a:gd name="csX157" fmla="*/ 55556 w 729419"/>
              <a:gd name="csY157" fmla="*/ 1835827 h 2076207"/>
              <a:gd name="csX158" fmla="*/ 378900 w 729419"/>
              <a:gd name="csY158" fmla="*/ 2007280 h 2076207"/>
              <a:gd name="csX159" fmla="*/ 378887 w 729419"/>
              <a:gd name="csY159" fmla="*/ 1995127 h 2076207"/>
              <a:gd name="csX160" fmla="*/ 359084 w 729419"/>
              <a:gd name="csY160" fmla="*/ 1975964 h 2076207"/>
              <a:gd name="csX161" fmla="*/ 247288 w 729419"/>
              <a:gd name="csY161" fmla="*/ 1973305 h 2076207"/>
              <a:gd name="csX162" fmla="*/ 201692 w 729419"/>
              <a:gd name="csY162" fmla="*/ 1970275 h 2076207"/>
              <a:gd name="csX163" fmla="*/ 57962 w 729419"/>
              <a:gd name="csY163" fmla="*/ 1952648 h 2076207"/>
              <a:gd name="csX164" fmla="*/ 39194 w 729419"/>
              <a:gd name="csY164" fmla="*/ 1963552 h 2076207"/>
              <a:gd name="csX165" fmla="*/ 30066 w 729419"/>
              <a:gd name="csY165" fmla="*/ 2006631 h 2076207"/>
              <a:gd name="csX166" fmla="*/ 40232 w 729419"/>
              <a:gd name="csY166" fmla="*/ 2019486 h 2076207"/>
              <a:gd name="csX167" fmla="*/ 238186 w 729419"/>
              <a:gd name="csY167" fmla="*/ 2046096 h 2076207"/>
              <a:gd name="csX168" fmla="*/ 342155 w 729419"/>
              <a:gd name="csY168" fmla="*/ 2046441 h 2076207"/>
              <a:gd name="csX169" fmla="*/ 378900 w 729419"/>
              <a:gd name="csY169" fmla="*/ 2007280 h 2076207"/>
              <a:gd name="csX170" fmla="*/ 310220 w 729419"/>
              <a:gd name="csY170" fmla="*/ 554288 h 2076207"/>
              <a:gd name="csX171" fmla="*/ 259136 w 729419"/>
              <a:gd name="csY171" fmla="*/ 556881 h 2076207"/>
              <a:gd name="csX172" fmla="*/ 249085 w 729419"/>
              <a:gd name="csY172" fmla="*/ 567981 h 2076207"/>
              <a:gd name="csX173" fmla="*/ 249141 w 729419"/>
              <a:gd name="csY173" fmla="*/ 605644 h 2076207"/>
              <a:gd name="csX174" fmla="*/ 262628 w 729419"/>
              <a:gd name="csY174" fmla="*/ 605627 h 2076207"/>
              <a:gd name="csX175" fmla="*/ 369608 w 729419"/>
              <a:gd name="csY175" fmla="*/ 603027 h 2076207"/>
              <a:gd name="csX176" fmla="*/ 463931 w 729419"/>
              <a:gd name="csY176" fmla="*/ 605146 h 2076207"/>
              <a:gd name="csX177" fmla="*/ 478113 w 729419"/>
              <a:gd name="csY177" fmla="*/ 595843 h 2076207"/>
              <a:gd name="csX178" fmla="*/ 478796 w 729419"/>
              <a:gd name="csY178" fmla="*/ 556832 h 2076207"/>
              <a:gd name="csX179" fmla="*/ 310220 w 729419"/>
              <a:gd name="csY179" fmla="*/ 554288 h 2076207"/>
              <a:gd name="csX180" fmla="*/ 348836 w 729419"/>
              <a:gd name="csY180" fmla="*/ 684115 h 2076207"/>
              <a:gd name="csX181" fmla="*/ 281333 w 729419"/>
              <a:gd name="csY181" fmla="*/ 683313 h 2076207"/>
              <a:gd name="csX182" fmla="*/ 212728 w 729419"/>
              <a:gd name="csY182" fmla="*/ 681931 h 2076207"/>
              <a:gd name="csX183" fmla="*/ 187283 w 729419"/>
              <a:gd name="csY183" fmla="*/ 689555 h 2076207"/>
              <a:gd name="csX184" fmla="*/ 186163 w 729419"/>
              <a:gd name="csY184" fmla="*/ 718266 h 2076207"/>
              <a:gd name="csX185" fmla="*/ 209894 w 729419"/>
              <a:gd name="csY185" fmla="*/ 726798 h 2076207"/>
              <a:gd name="csX186" fmla="*/ 334814 w 729419"/>
              <a:gd name="csY186" fmla="*/ 732494 h 2076207"/>
              <a:gd name="csX187" fmla="*/ 364856 w 729419"/>
              <a:gd name="csY187" fmla="*/ 707963 h 2076207"/>
              <a:gd name="csX188" fmla="*/ 348836 w 729419"/>
              <a:gd name="csY188" fmla="*/ 684115 h 2076207"/>
              <a:gd name="csX189" fmla="*/ 298865 w 729419"/>
              <a:gd name="csY189" fmla="*/ 621954 h 2076207"/>
              <a:gd name="csX190" fmla="*/ 251619 w 729419"/>
              <a:gd name="csY190" fmla="*/ 622133 h 2076207"/>
              <a:gd name="csX191" fmla="*/ 214459 w 729419"/>
              <a:gd name="csY191" fmla="*/ 636230 h 2076207"/>
              <a:gd name="csX192" fmla="*/ 221436 w 729419"/>
              <a:gd name="csY192" fmla="*/ 654205 h 2076207"/>
              <a:gd name="csX193" fmla="*/ 272412 w 729419"/>
              <a:gd name="csY193" fmla="*/ 657250 h 2076207"/>
              <a:gd name="csX194" fmla="*/ 349094 w 729419"/>
              <a:gd name="csY194" fmla="*/ 659282 h 2076207"/>
              <a:gd name="csX195" fmla="*/ 362996 w 729419"/>
              <a:gd name="csY195" fmla="*/ 644234 h 2076207"/>
              <a:gd name="csX196" fmla="*/ 348472 w 729419"/>
              <a:gd name="csY196" fmla="*/ 624649 h 2076207"/>
              <a:gd name="csX197" fmla="*/ 298865 w 729419"/>
              <a:gd name="csY197" fmla="*/ 621954 h 2076207"/>
              <a:gd name="csX198" fmla="*/ 227796 w 729419"/>
              <a:gd name="csY198" fmla="*/ 528000 h 2076207"/>
              <a:gd name="csX199" fmla="*/ 241009 w 729419"/>
              <a:gd name="csY199" fmla="*/ 545897 h 2076207"/>
              <a:gd name="csX200" fmla="*/ 282607 w 729419"/>
              <a:gd name="csY200" fmla="*/ 543480 h 2076207"/>
              <a:gd name="csX201" fmla="*/ 354213 w 729419"/>
              <a:gd name="csY201" fmla="*/ 543384 h 2076207"/>
              <a:gd name="csX202" fmla="*/ 365334 w 729419"/>
              <a:gd name="csY202" fmla="*/ 533397 h 2076207"/>
              <a:gd name="csX203" fmla="*/ 354531 w 729419"/>
              <a:gd name="csY203" fmla="*/ 521620 h 2076207"/>
              <a:gd name="csX204" fmla="*/ 259169 w 729419"/>
              <a:gd name="csY204" fmla="*/ 521978 h 2076207"/>
              <a:gd name="csX205" fmla="*/ 227796 w 729419"/>
              <a:gd name="csY205" fmla="*/ 528000 h 2076207"/>
              <a:gd name="csX206" fmla="*/ 508068 w 729419"/>
              <a:gd name="csY206" fmla="*/ 190710 h 2076207"/>
              <a:gd name="csX207" fmla="*/ 521293 w 729419"/>
              <a:gd name="csY207" fmla="*/ 205907 h 2076207"/>
              <a:gd name="csX208" fmla="*/ 525175 w 729419"/>
              <a:gd name="csY208" fmla="*/ 202985 h 2076207"/>
              <a:gd name="csX209" fmla="*/ 500276 w 729419"/>
              <a:gd name="csY209" fmla="*/ 160640 h 2076207"/>
              <a:gd name="csX210" fmla="*/ 497122 w 729419"/>
              <a:gd name="csY210" fmla="*/ 162007 h 2076207"/>
              <a:gd name="csX211" fmla="*/ 508068 w 729419"/>
              <a:gd name="csY211" fmla="*/ 190710 h 2076207"/>
              <a:gd name="csX212" fmla="*/ 215522 w 729419"/>
              <a:gd name="csY212" fmla="*/ 197296 h 2076207"/>
              <a:gd name="csX213" fmla="*/ 234029 w 729419"/>
              <a:gd name="csY213" fmla="*/ 162725 h 2076207"/>
              <a:gd name="csX214" fmla="*/ 229000 w 729419"/>
              <a:gd name="csY214" fmla="*/ 159902 h 2076207"/>
              <a:gd name="csX215" fmla="*/ 204824 w 729419"/>
              <a:gd name="csY215" fmla="*/ 199677 h 2076207"/>
              <a:gd name="csX216" fmla="*/ 207990 w 729419"/>
              <a:gd name="csY216" fmla="*/ 202198 h 2076207"/>
              <a:gd name="csX217" fmla="*/ 215522 w 729419"/>
              <a:gd name="csY217" fmla="*/ 197296 h 2076207"/>
              <a:gd name="csX218" fmla="*/ 484400 w 729419"/>
              <a:gd name="csY218" fmla="*/ 896678 h 2076207"/>
              <a:gd name="csX219" fmla="*/ 486181 w 729419"/>
              <a:gd name="csY219" fmla="*/ 896585 h 2076207"/>
              <a:gd name="csX220" fmla="*/ 486181 w 729419"/>
              <a:gd name="csY220" fmla="*/ 795289 h 2076207"/>
              <a:gd name="csX221" fmla="*/ 720241 w 729419"/>
              <a:gd name="csY221" fmla="*/ 2030666 h 2076207"/>
              <a:gd name="csX222" fmla="*/ 721175 w 729419"/>
              <a:gd name="csY222" fmla="*/ 2029733 h 2076207"/>
              <a:gd name="csX223" fmla="*/ 720241 w 729419"/>
              <a:gd name="csY223" fmla="*/ 2030666 h 2076207"/>
              <a:gd name="csX224" fmla="*/ 715702 w 729419"/>
              <a:gd name="csY224" fmla="*/ 2037051 h 2076207"/>
              <a:gd name="csX225" fmla="*/ 715702 w 729419"/>
              <a:gd name="csY225" fmla="*/ 2037051 h 2076207"/>
              <a:gd name="csX0" fmla="*/ 96263 w 748195"/>
              <a:gd name="csY0" fmla="*/ 2076207 h 2076207"/>
              <a:gd name="csX1" fmla="*/ 63862 w 748195"/>
              <a:gd name="csY1" fmla="*/ 2065388 h 2076207"/>
              <a:gd name="csX2" fmla="*/ 16555 w 748195"/>
              <a:gd name="csY2" fmla="*/ 2050152 h 2076207"/>
              <a:gd name="csX3" fmla="*/ 15 w 748195"/>
              <a:gd name="csY3" fmla="*/ 2023802 h 2076207"/>
              <a:gd name="csX4" fmla="*/ 18368 w 748195"/>
              <a:gd name="csY4" fmla="*/ 1940709 h 2076207"/>
              <a:gd name="csX5" fmla="*/ 22139 w 748195"/>
              <a:gd name="csY5" fmla="*/ 1907268 h 2076207"/>
              <a:gd name="csX6" fmla="*/ 57941 w 748195"/>
              <a:gd name="csY6" fmla="*/ 1774163 h 2076207"/>
              <a:gd name="csX7" fmla="*/ 102478 w 748195"/>
              <a:gd name="csY7" fmla="*/ 1720275 h 2076207"/>
              <a:gd name="csX8" fmla="*/ 108579 w 748195"/>
              <a:gd name="csY8" fmla="*/ 1650967 h 2076207"/>
              <a:gd name="csX9" fmla="*/ 115628 w 748195"/>
              <a:gd name="csY9" fmla="*/ 1625405 h 2076207"/>
              <a:gd name="csX10" fmla="*/ 156323 w 748195"/>
              <a:gd name="csY10" fmla="*/ 1560181 h 2076207"/>
              <a:gd name="csX11" fmla="*/ 199424 w 748195"/>
              <a:gd name="csY11" fmla="*/ 1364729 h 2076207"/>
              <a:gd name="csX12" fmla="*/ 216779 w 748195"/>
              <a:gd name="csY12" fmla="*/ 1219490 h 2076207"/>
              <a:gd name="csX13" fmla="*/ 229755 w 748195"/>
              <a:gd name="csY13" fmla="*/ 1099357 h 2076207"/>
              <a:gd name="csX14" fmla="*/ 232707 w 748195"/>
              <a:gd name="csY14" fmla="*/ 1056423 h 2076207"/>
              <a:gd name="csX15" fmla="*/ 235622 w 748195"/>
              <a:gd name="csY15" fmla="*/ 952675 h 2076207"/>
              <a:gd name="csX16" fmla="*/ 235445 w 748195"/>
              <a:gd name="csY16" fmla="*/ 780278 h 2076207"/>
              <a:gd name="csX17" fmla="*/ 214544 w 748195"/>
              <a:gd name="csY17" fmla="*/ 756435 h 2076207"/>
              <a:gd name="csX18" fmla="*/ 172569 w 748195"/>
              <a:gd name="csY18" fmla="*/ 742582 h 2076207"/>
              <a:gd name="csX19" fmla="*/ 168784 w 748195"/>
              <a:gd name="csY19" fmla="*/ 669116 h 2076207"/>
              <a:gd name="csX20" fmla="*/ 191657 w 748195"/>
              <a:gd name="csY20" fmla="*/ 630765 h 2076207"/>
              <a:gd name="csX21" fmla="*/ 208150 w 748195"/>
              <a:gd name="csY21" fmla="*/ 609084 h 2076207"/>
              <a:gd name="csX22" fmla="*/ 216756 w 748195"/>
              <a:gd name="csY22" fmla="*/ 558673 h 2076207"/>
              <a:gd name="csX23" fmla="*/ 209092 w 748195"/>
              <a:gd name="csY23" fmla="*/ 521540 h 2076207"/>
              <a:gd name="csX24" fmla="*/ 204683 w 748195"/>
              <a:gd name="csY24" fmla="*/ 474024 h 2076207"/>
              <a:gd name="csX25" fmla="*/ 115483 w 748195"/>
              <a:gd name="csY25" fmla="*/ 213499 h 2076207"/>
              <a:gd name="csX26" fmla="*/ 102909 w 748195"/>
              <a:gd name="csY26" fmla="*/ 182297 h 2076207"/>
              <a:gd name="csX27" fmla="*/ 104315 w 748195"/>
              <a:gd name="csY27" fmla="*/ 163968 h 2076207"/>
              <a:gd name="csX28" fmla="*/ 122444 w 748195"/>
              <a:gd name="csY28" fmla="*/ 160805 h 2076207"/>
              <a:gd name="csX29" fmla="*/ 170283 w 748195"/>
              <a:gd name="csY29" fmla="*/ 187783 h 2076207"/>
              <a:gd name="csX30" fmla="*/ 180938 w 748195"/>
              <a:gd name="csY30" fmla="*/ 195322 h 2076207"/>
              <a:gd name="csX31" fmla="*/ 221419 w 748195"/>
              <a:gd name="csY31" fmla="*/ 138058 h 2076207"/>
              <a:gd name="csX32" fmla="*/ 294099 w 748195"/>
              <a:gd name="csY32" fmla="*/ 91372 h 2076207"/>
              <a:gd name="csX33" fmla="*/ 302307 w 748195"/>
              <a:gd name="csY33" fmla="*/ 76560 h 2076207"/>
              <a:gd name="csX34" fmla="*/ 320284 w 748195"/>
              <a:gd name="csY34" fmla="*/ 8414 h 2076207"/>
              <a:gd name="csX35" fmla="*/ 324784 w 748195"/>
              <a:gd name="csY35" fmla="*/ 946 h 2076207"/>
              <a:gd name="csX36" fmla="*/ 399212 w 748195"/>
              <a:gd name="csY36" fmla="*/ 0 h 2076207"/>
              <a:gd name="csX37" fmla="*/ 425980 w 748195"/>
              <a:gd name="csY37" fmla="*/ 78301 h 2076207"/>
              <a:gd name="csX38" fmla="*/ 431861 w 748195"/>
              <a:gd name="csY38" fmla="*/ 90312 h 2076207"/>
              <a:gd name="csX39" fmla="*/ 540349 w 748195"/>
              <a:gd name="csY39" fmla="*/ 187946 h 2076207"/>
              <a:gd name="csX40" fmla="*/ 545555 w 748195"/>
              <a:gd name="csY40" fmla="*/ 197828 h 2076207"/>
              <a:gd name="csX41" fmla="*/ 587318 w 748195"/>
              <a:gd name="csY41" fmla="*/ 171260 h 2076207"/>
              <a:gd name="csX42" fmla="*/ 601503 w 748195"/>
              <a:gd name="csY42" fmla="*/ 163707 h 2076207"/>
              <a:gd name="csX43" fmla="*/ 625254 w 748195"/>
              <a:gd name="csY43" fmla="*/ 163123 h 2076207"/>
              <a:gd name="csX44" fmla="*/ 625468 w 748195"/>
              <a:gd name="csY44" fmla="*/ 187579 h 2076207"/>
              <a:gd name="csX45" fmla="*/ 597543 w 748195"/>
              <a:gd name="csY45" fmla="*/ 251872 h 2076207"/>
              <a:gd name="csX46" fmla="*/ 531831 w 748195"/>
              <a:gd name="csY46" fmla="*/ 442689 h 2076207"/>
              <a:gd name="csX47" fmla="*/ 519888 w 748195"/>
              <a:gd name="csY47" fmla="*/ 501474 h 2076207"/>
              <a:gd name="csX48" fmla="*/ 522506 w 748195"/>
              <a:gd name="csY48" fmla="*/ 525086 h 2076207"/>
              <a:gd name="csX49" fmla="*/ 516235 w 748195"/>
              <a:gd name="csY49" fmla="*/ 555946 h 2076207"/>
              <a:gd name="csX50" fmla="*/ 521332 w 748195"/>
              <a:gd name="csY50" fmla="*/ 610676 h 2076207"/>
              <a:gd name="csX51" fmla="*/ 541382 w 748195"/>
              <a:gd name="csY51" fmla="*/ 642597 h 2076207"/>
              <a:gd name="csX52" fmla="*/ 557031 w 748195"/>
              <a:gd name="csY52" fmla="*/ 667949 h 2076207"/>
              <a:gd name="csX53" fmla="*/ 553994 w 748195"/>
              <a:gd name="csY53" fmla="*/ 744146 h 2076207"/>
              <a:gd name="csX54" fmla="*/ 508215 w 748195"/>
              <a:gd name="csY54" fmla="*/ 758841 h 2076207"/>
              <a:gd name="csX55" fmla="*/ 497442 w 748195"/>
              <a:gd name="csY55" fmla="*/ 771256 h 2076207"/>
              <a:gd name="csX56" fmla="*/ 493005 w 748195"/>
              <a:gd name="csY56" fmla="*/ 922055 h 2076207"/>
              <a:gd name="csX57" fmla="*/ 502900 w 748195"/>
              <a:gd name="csY57" fmla="*/ 1114191 h 2076207"/>
              <a:gd name="csX58" fmla="*/ 508800 w 748195"/>
              <a:gd name="csY58" fmla="*/ 1205474 h 2076207"/>
              <a:gd name="csX59" fmla="*/ 522952 w 748195"/>
              <a:gd name="csY59" fmla="*/ 1320065 h 2076207"/>
              <a:gd name="csX60" fmla="*/ 554682 w 748195"/>
              <a:gd name="csY60" fmla="*/ 1501203 h 2076207"/>
              <a:gd name="csX61" fmla="*/ 576958 w 748195"/>
              <a:gd name="csY61" fmla="*/ 1593963 h 2076207"/>
              <a:gd name="csX62" fmla="*/ 595349 w 748195"/>
              <a:gd name="csY62" fmla="*/ 1613498 h 2076207"/>
              <a:gd name="csX63" fmla="*/ 613936 w 748195"/>
              <a:gd name="csY63" fmla="*/ 1624058 h 2076207"/>
              <a:gd name="csX64" fmla="*/ 620938 w 748195"/>
              <a:gd name="csY64" fmla="*/ 1652071 h 2076207"/>
              <a:gd name="csX65" fmla="*/ 630805 w 748195"/>
              <a:gd name="csY65" fmla="*/ 1721702 h 2076207"/>
              <a:gd name="csX66" fmla="*/ 685830 w 748195"/>
              <a:gd name="csY66" fmla="*/ 1792915 h 2076207"/>
              <a:gd name="csX67" fmla="*/ 708904 w 748195"/>
              <a:gd name="csY67" fmla="*/ 1890290 h 2076207"/>
              <a:gd name="csX68" fmla="*/ 716580 w 748195"/>
              <a:gd name="csY68" fmla="*/ 1951136 h 2076207"/>
              <a:gd name="csX69" fmla="*/ 729397 w 748195"/>
              <a:gd name="csY69" fmla="*/ 2030261 h 2076207"/>
              <a:gd name="csX70" fmla="*/ 714212 w 748195"/>
              <a:gd name="csY70" fmla="*/ 2049544 h 2076207"/>
              <a:gd name="csX71" fmla="*/ 645428 w 748195"/>
              <a:gd name="csY71" fmla="*/ 2070825 h 2076207"/>
              <a:gd name="csX72" fmla="*/ 635822 w 748195"/>
              <a:gd name="csY72" fmla="*/ 2075145 h 2076207"/>
              <a:gd name="csX73" fmla="*/ 588428 w 748195"/>
              <a:gd name="csY73" fmla="*/ 2075144 h 2076207"/>
              <a:gd name="csX74" fmla="*/ 590041 w 748195"/>
              <a:gd name="csY74" fmla="*/ 2071383 h 2076207"/>
              <a:gd name="csX75" fmla="*/ 667788 w 748195"/>
              <a:gd name="csY75" fmla="*/ 2056852 h 2076207"/>
              <a:gd name="csX76" fmla="*/ 706629 w 748195"/>
              <a:gd name="csY76" fmla="*/ 2044290 h 2076207"/>
              <a:gd name="csX77" fmla="*/ 702674 w 748195"/>
              <a:gd name="csY77" fmla="*/ 2041581 h 2076207"/>
              <a:gd name="csX78" fmla="*/ 96263 w 748195"/>
              <a:gd name="csY78" fmla="*/ 2076207 h 2076207"/>
              <a:gd name="csX79" fmla="*/ 489970 w 748195"/>
              <a:gd name="csY79" fmla="*/ 152208 h 2076207"/>
              <a:gd name="csX80" fmla="*/ 490754 w 748195"/>
              <a:gd name="csY80" fmla="*/ 152592 h 2076207"/>
              <a:gd name="csX81" fmla="*/ 489489 w 748195"/>
              <a:gd name="csY81" fmla="*/ 149547 h 2076207"/>
              <a:gd name="csX82" fmla="*/ 393621 w 748195"/>
              <a:gd name="csY82" fmla="*/ 99259 h 2076207"/>
              <a:gd name="csX83" fmla="*/ 390419 w 748195"/>
              <a:gd name="csY83" fmla="*/ 18568 h 2076207"/>
              <a:gd name="csX84" fmla="*/ 334131 w 748195"/>
              <a:gd name="csY84" fmla="*/ 24327 h 2076207"/>
              <a:gd name="csX85" fmla="*/ 344678 w 748195"/>
              <a:gd name="csY85" fmla="*/ 101259 h 2076207"/>
              <a:gd name="csX86" fmla="*/ 298854 w 748195"/>
              <a:gd name="csY86" fmla="*/ 114003 h 2076207"/>
              <a:gd name="csX87" fmla="*/ 237456 w 748195"/>
              <a:gd name="csY87" fmla="*/ 154340 h 2076207"/>
              <a:gd name="csX88" fmla="*/ 240382 w 748195"/>
              <a:gd name="csY88" fmla="*/ 154035 h 2076207"/>
              <a:gd name="csX89" fmla="*/ 262731 w 748195"/>
              <a:gd name="csY89" fmla="*/ 170426 h 2076207"/>
              <a:gd name="csX90" fmla="*/ 279169 w 748195"/>
              <a:gd name="csY90" fmla="*/ 193173 h 2076207"/>
              <a:gd name="csX91" fmla="*/ 327717 w 748195"/>
              <a:gd name="csY91" fmla="*/ 188556 h 2076207"/>
              <a:gd name="csX92" fmla="*/ 348052 w 748195"/>
              <a:gd name="csY92" fmla="*/ 156919 h 2076207"/>
              <a:gd name="csX93" fmla="*/ 380330 w 748195"/>
              <a:gd name="csY93" fmla="*/ 156483 h 2076207"/>
              <a:gd name="csX94" fmla="*/ 408490 w 748195"/>
              <a:gd name="csY94" fmla="*/ 195400 h 2076207"/>
              <a:gd name="csX95" fmla="*/ 445346 w 748195"/>
              <a:gd name="csY95" fmla="*/ 197582 h 2076207"/>
              <a:gd name="csX96" fmla="*/ 464798 w 748195"/>
              <a:gd name="csY96" fmla="*/ 174107 h 2076207"/>
              <a:gd name="csX97" fmla="*/ 489970 w 748195"/>
              <a:gd name="csY97" fmla="*/ 152208 h 2076207"/>
              <a:gd name="csX98" fmla="*/ 140694 w 748195"/>
              <a:gd name="csY98" fmla="*/ 201837 h 2076207"/>
              <a:gd name="csX99" fmla="*/ 139834 w 748195"/>
              <a:gd name="csY99" fmla="*/ 201482 h 2076207"/>
              <a:gd name="csX100" fmla="*/ 140812 w 748195"/>
              <a:gd name="csY100" fmla="*/ 204941 h 2076207"/>
              <a:gd name="csX101" fmla="*/ 144631 w 748195"/>
              <a:gd name="csY101" fmla="*/ 217811 h 2076207"/>
              <a:gd name="csX102" fmla="*/ 201241 w 748195"/>
              <a:gd name="csY102" fmla="*/ 373387 h 2076207"/>
              <a:gd name="csX103" fmla="*/ 235971 w 748195"/>
              <a:gd name="csY103" fmla="*/ 504451 h 2076207"/>
              <a:gd name="csX104" fmla="*/ 247475 w 748195"/>
              <a:gd name="csY104" fmla="*/ 513241 h 2076207"/>
              <a:gd name="csX105" fmla="*/ 289066 w 748195"/>
              <a:gd name="csY105" fmla="*/ 511170 h 2076207"/>
              <a:gd name="csX106" fmla="*/ 378229 w 748195"/>
              <a:gd name="csY106" fmla="*/ 511084 h 2076207"/>
              <a:gd name="csX107" fmla="*/ 470850 w 748195"/>
              <a:gd name="csY107" fmla="*/ 516341 h 2076207"/>
              <a:gd name="csX108" fmla="*/ 492933 w 748195"/>
              <a:gd name="csY108" fmla="*/ 497969 h 2076207"/>
              <a:gd name="csX109" fmla="*/ 557617 w 748195"/>
              <a:gd name="csY109" fmla="*/ 280398 h 2076207"/>
              <a:gd name="csX110" fmla="*/ 588788 w 748195"/>
              <a:gd name="csY110" fmla="*/ 200385 h 2076207"/>
              <a:gd name="csX111" fmla="*/ 530958 w 748195"/>
              <a:gd name="csY111" fmla="*/ 232968 h 2076207"/>
              <a:gd name="csX112" fmla="*/ 483823 w 748195"/>
              <a:gd name="csY112" fmla="*/ 190364 h 2076207"/>
              <a:gd name="csX113" fmla="*/ 466649 w 748195"/>
              <a:gd name="csY113" fmla="*/ 209061 h 2076207"/>
              <a:gd name="csX114" fmla="*/ 399941 w 748195"/>
              <a:gd name="csY114" fmla="*/ 216988 h 2076207"/>
              <a:gd name="csX115" fmla="*/ 363018 w 748195"/>
              <a:gd name="csY115" fmla="*/ 179615 h 2076207"/>
              <a:gd name="csX116" fmla="*/ 308839 w 748195"/>
              <a:gd name="csY116" fmla="*/ 227846 h 2076207"/>
              <a:gd name="csX117" fmla="*/ 245077 w 748195"/>
              <a:gd name="csY117" fmla="*/ 192402 h 2076207"/>
              <a:gd name="csX118" fmla="*/ 242829 w 748195"/>
              <a:gd name="csY118" fmla="*/ 198815 h 2076207"/>
              <a:gd name="csX119" fmla="*/ 168452 w 748195"/>
              <a:gd name="csY119" fmla="*/ 219348 h 2076207"/>
              <a:gd name="csX120" fmla="*/ 140694 w 748195"/>
              <a:gd name="csY120" fmla="*/ 201837 h 2076207"/>
              <a:gd name="csX121" fmla="*/ 259999 w 748195"/>
              <a:gd name="csY121" fmla="*/ 966699 h 2076207"/>
              <a:gd name="csX122" fmla="*/ 257072 w 748195"/>
              <a:gd name="csY122" fmla="*/ 1070424 h 2076207"/>
              <a:gd name="csX123" fmla="*/ 251372 w 748195"/>
              <a:gd name="csY123" fmla="*/ 1157618 h 2076207"/>
              <a:gd name="csX124" fmla="*/ 232677 w 748195"/>
              <a:gd name="csY124" fmla="*/ 1320279 h 2076207"/>
              <a:gd name="csX125" fmla="*/ 209182 w 748195"/>
              <a:gd name="csY125" fmla="*/ 1468667 h 2076207"/>
              <a:gd name="csX126" fmla="*/ 175302 w 748195"/>
              <a:gd name="csY126" fmla="*/ 1616623 h 2076207"/>
              <a:gd name="csX127" fmla="*/ 182769 w 748195"/>
              <a:gd name="csY127" fmla="*/ 1629786 h 2076207"/>
              <a:gd name="csX128" fmla="*/ 212156 w 748195"/>
              <a:gd name="csY128" fmla="*/ 1632656 h 2076207"/>
              <a:gd name="csX129" fmla="*/ 351295 w 748195"/>
              <a:gd name="csY129" fmla="*/ 1632801 h 2076207"/>
              <a:gd name="csX130" fmla="*/ 376150 w 748195"/>
              <a:gd name="csY130" fmla="*/ 1608307 h 2076207"/>
              <a:gd name="csX131" fmla="*/ 373450 w 748195"/>
              <a:gd name="csY131" fmla="*/ 1457291 h 2076207"/>
              <a:gd name="csX132" fmla="*/ 370936 w 748195"/>
              <a:gd name="csY132" fmla="*/ 1342736 h 2076207"/>
              <a:gd name="csX133" fmla="*/ 368328 w 748195"/>
              <a:gd name="csY133" fmla="*/ 1203878 h 2076207"/>
              <a:gd name="csX134" fmla="*/ 367836 w 748195"/>
              <a:gd name="csY134" fmla="*/ 813478 h 2076207"/>
              <a:gd name="csX135" fmla="*/ 365240 w 748195"/>
              <a:gd name="csY135" fmla="*/ 773243 h 2076207"/>
              <a:gd name="csX136" fmla="*/ 353084 w 748195"/>
              <a:gd name="csY136" fmla="*/ 762083 h 2076207"/>
              <a:gd name="csX137" fmla="*/ 280966 w 748195"/>
              <a:gd name="csY137" fmla="*/ 759855 h 2076207"/>
              <a:gd name="csX138" fmla="*/ 259965 w 748195"/>
              <a:gd name="csY138" fmla="*/ 779553 h 2076207"/>
              <a:gd name="csX139" fmla="*/ 262341 w 748195"/>
              <a:gd name="csY139" fmla="*/ 856275 h 2076207"/>
              <a:gd name="csX140" fmla="*/ 259999 w 748195"/>
              <a:gd name="csY140" fmla="*/ 966699 h 2076207"/>
              <a:gd name="csX141" fmla="*/ 55556 w 748195"/>
              <a:gd name="csY141" fmla="*/ 1835827 h 2076207"/>
              <a:gd name="csX142" fmla="*/ 49393 w 748195"/>
              <a:gd name="csY142" fmla="*/ 1878155 h 2076207"/>
              <a:gd name="csX143" fmla="*/ 73949 w 748195"/>
              <a:gd name="csY143" fmla="*/ 1905781 h 2076207"/>
              <a:gd name="csX144" fmla="*/ 110073 w 748195"/>
              <a:gd name="csY144" fmla="*/ 1909068 h 2076207"/>
              <a:gd name="csX145" fmla="*/ 224745 w 748195"/>
              <a:gd name="csY145" fmla="*/ 1921652 h 2076207"/>
              <a:gd name="csX146" fmla="*/ 347327 w 748195"/>
              <a:gd name="csY146" fmla="*/ 1924778 h 2076207"/>
              <a:gd name="csX147" fmla="*/ 363345 w 748195"/>
              <a:gd name="csY147" fmla="*/ 1923293 h 2076207"/>
              <a:gd name="csX148" fmla="*/ 373787 w 748195"/>
              <a:gd name="csY148" fmla="*/ 1911200 h 2076207"/>
              <a:gd name="csX149" fmla="*/ 376623 w 748195"/>
              <a:gd name="csY149" fmla="*/ 1696741 h 2076207"/>
              <a:gd name="csX150" fmla="*/ 360437 w 748195"/>
              <a:gd name="csY150" fmla="*/ 1681289 h 2076207"/>
              <a:gd name="csX151" fmla="*/ 263503 w 748195"/>
              <a:gd name="csY151" fmla="*/ 1678179 h 2076207"/>
              <a:gd name="csX152" fmla="*/ 160381 w 748195"/>
              <a:gd name="csY152" fmla="*/ 1670405 h 2076207"/>
              <a:gd name="csX153" fmla="*/ 143321 w 748195"/>
              <a:gd name="csY153" fmla="*/ 1685538 h 2076207"/>
              <a:gd name="csX154" fmla="*/ 124769 w 748195"/>
              <a:gd name="csY154" fmla="*/ 1738195 h 2076207"/>
              <a:gd name="csX155" fmla="*/ 90593 w 748195"/>
              <a:gd name="csY155" fmla="*/ 1779570 h 2076207"/>
              <a:gd name="csX156" fmla="*/ 55556 w 748195"/>
              <a:gd name="csY156" fmla="*/ 1835827 h 2076207"/>
              <a:gd name="csX157" fmla="*/ 378900 w 748195"/>
              <a:gd name="csY157" fmla="*/ 2007280 h 2076207"/>
              <a:gd name="csX158" fmla="*/ 378887 w 748195"/>
              <a:gd name="csY158" fmla="*/ 1995127 h 2076207"/>
              <a:gd name="csX159" fmla="*/ 359084 w 748195"/>
              <a:gd name="csY159" fmla="*/ 1975964 h 2076207"/>
              <a:gd name="csX160" fmla="*/ 247288 w 748195"/>
              <a:gd name="csY160" fmla="*/ 1973305 h 2076207"/>
              <a:gd name="csX161" fmla="*/ 201692 w 748195"/>
              <a:gd name="csY161" fmla="*/ 1970275 h 2076207"/>
              <a:gd name="csX162" fmla="*/ 57962 w 748195"/>
              <a:gd name="csY162" fmla="*/ 1952648 h 2076207"/>
              <a:gd name="csX163" fmla="*/ 39194 w 748195"/>
              <a:gd name="csY163" fmla="*/ 1963552 h 2076207"/>
              <a:gd name="csX164" fmla="*/ 30066 w 748195"/>
              <a:gd name="csY164" fmla="*/ 2006631 h 2076207"/>
              <a:gd name="csX165" fmla="*/ 40232 w 748195"/>
              <a:gd name="csY165" fmla="*/ 2019486 h 2076207"/>
              <a:gd name="csX166" fmla="*/ 238186 w 748195"/>
              <a:gd name="csY166" fmla="*/ 2046096 h 2076207"/>
              <a:gd name="csX167" fmla="*/ 342155 w 748195"/>
              <a:gd name="csY167" fmla="*/ 2046441 h 2076207"/>
              <a:gd name="csX168" fmla="*/ 378900 w 748195"/>
              <a:gd name="csY168" fmla="*/ 2007280 h 2076207"/>
              <a:gd name="csX169" fmla="*/ 310220 w 748195"/>
              <a:gd name="csY169" fmla="*/ 554288 h 2076207"/>
              <a:gd name="csX170" fmla="*/ 259136 w 748195"/>
              <a:gd name="csY170" fmla="*/ 556881 h 2076207"/>
              <a:gd name="csX171" fmla="*/ 249085 w 748195"/>
              <a:gd name="csY171" fmla="*/ 567981 h 2076207"/>
              <a:gd name="csX172" fmla="*/ 249141 w 748195"/>
              <a:gd name="csY172" fmla="*/ 605644 h 2076207"/>
              <a:gd name="csX173" fmla="*/ 262628 w 748195"/>
              <a:gd name="csY173" fmla="*/ 605627 h 2076207"/>
              <a:gd name="csX174" fmla="*/ 369608 w 748195"/>
              <a:gd name="csY174" fmla="*/ 603027 h 2076207"/>
              <a:gd name="csX175" fmla="*/ 463931 w 748195"/>
              <a:gd name="csY175" fmla="*/ 605146 h 2076207"/>
              <a:gd name="csX176" fmla="*/ 478113 w 748195"/>
              <a:gd name="csY176" fmla="*/ 595843 h 2076207"/>
              <a:gd name="csX177" fmla="*/ 478796 w 748195"/>
              <a:gd name="csY177" fmla="*/ 556832 h 2076207"/>
              <a:gd name="csX178" fmla="*/ 310220 w 748195"/>
              <a:gd name="csY178" fmla="*/ 554288 h 2076207"/>
              <a:gd name="csX179" fmla="*/ 348836 w 748195"/>
              <a:gd name="csY179" fmla="*/ 684115 h 2076207"/>
              <a:gd name="csX180" fmla="*/ 281333 w 748195"/>
              <a:gd name="csY180" fmla="*/ 683313 h 2076207"/>
              <a:gd name="csX181" fmla="*/ 212728 w 748195"/>
              <a:gd name="csY181" fmla="*/ 681931 h 2076207"/>
              <a:gd name="csX182" fmla="*/ 187283 w 748195"/>
              <a:gd name="csY182" fmla="*/ 689555 h 2076207"/>
              <a:gd name="csX183" fmla="*/ 186163 w 748195"/>
              <a:gd name="csY183" fmla="*/ 718266 h 2076207"/>
              <a:gd name="csX184" fmla="*/ 209894 w 748195"/>
              <a:gd name="csY184" fmla="*/ 726798 h 2076207"/>
              <a:gd name="csX185" fmla="*/ 334814 w 748195"/>
              <a:gd name="csY185" fmla="*/ 732494 h 2076207"/>
              <a:gd name="csX186" fmla="*/ 364856 w 748195"/>
              <a:gd name="csY186" fmla="*/ 707963 h 2076207"/>
              <a:gd name="csX187" fmla="*/ 348836 w 748195"/>
              <a:gd name="csY187" fmla="*/ 684115 h 2076207"/>
              <a:gd name="csX188" fmla="*/ 298865 w 748195"/>
              <a:gd name="csY188" fmla="*/ 621954 h 2076207"/>
              <a:gd name="csX189" fmla="*/ 251619 w 748195"/>
              <a:gd name="csY189" fmla="*/ 622133 h 2076207"/>
              <a:gd name="csX190" fmla="*/ 214459 w 748195"/>
              <a:gd name="csY190" fmla="*/ 636230 h 2076207"/>
              <a:gd name="csX191" fmla="*/ 221436 w 748195"/>
              <a:gd name="csY191" fmla="*/ 654205 h 2076207"/>
              <a:gd name="csX192" fmla="*/ 272412 w 748195"/>
              <a:gd name="csY192" fmla="*/ 657250 h 2076207"/>
              <a:gd name="csX193" fmla="*/ 349094 w 748195"/>
              <a:gd name="csY193" fmla="*/ 659282 h 2076207"/>
              <a:gd name="csX194" fmla="*/ 362996 w 748195"/>
              <a:gd name="csY194" fmla="*/ 644234 h 2076207"/>
              <a:gd name="csX195" fmla="*/ 348472 w 748195"/>
              <a:gd name="csY195" fmla="*/ 624649 h 2076207"/>
              <a:gd name="csX196" fmla="*/ 298865 w 748195"/>
              <a:gd name="csY196" fmla="*/ 621954 h 2076207"/>
              <a:gd name="csX197" fmla="*/ 227796 w 748195"/>
              <a:gd name="csY197" fmla="*/ 528000 h 2076207"/>
              <a:gd name="csX198" fmla="*/ 241009 w 748195"/>
              <a:gd name="csY198" fmla="*/ 545897 h 2076207"/>
              <a:gd name="csX199" fmla="*/ 282607 w 748195"/>
              <a:gd name="csY199" fmla="*/ 543480 h 2076207"/>
              <a:gd name="csX200" fmla="*/ 354213 w 748195"/>
              <a:gd name="csY200" fmla="*/ 543384 h 2076207"/>
              <a:gd name="csX201" fmla="*/ 365334 w 748195"/>
              <a:gd name="csY201" fmla="*/ 533397 h 2076207"/>
              <a:gd name="csX202" fmla="*/ 354531 w 748195"/>
              <a:gd name="csY202" fmla="*/ 521620 h 2076207"/>
              <a:gd name="csX203" fmla="*/ 259169 w 748195"/>
              <a:gd name="csY203" fmla="*/ 521978 h 2076207"/>
              <a:gd name="csX204" fmla="*/ 227796 w 748195"/>
              <a:gd name="csY204" fmla="*/ 528000 h 2076207"/>
              <a:gd name="csX205" fmla="*/ 508068 w 748195"/>
              <a:gd name="csY205" fmla="*/ 190710 h 2076207"/>
              <a:gd name="csX206" fmla="*/ 521293 w 748195"/>
              <a:gd name="csY206" fmla="*/ 205907 h 2076207"/>
              <a:gd name="csX207" fmla="*/ 525175 w 748195"/>
              <a:gd name="csY207" fmla="*/ 202985 h 2076207"/>
              <a:gd name="csX208" fmla="*/ 500276 w 748195"/>
              <a:gd name="csY208" fmla="*/ 160640 h 2076207"/>
              <a:gd name="csX209" fmla="*/ 497122 w 748195"/>
              <a:gd name="csY209" fmla="*/ 162007 h 2076207"/>
              <a:gd name="csX210" fmla="*/ 508068 w 748195"/>
              <a:gd name="csY210" fmla="*/ 190710 h 2076207"/>
              <a:gd name="csX211" fmla="*/ 215522 w 748195"/>
              <a:gd name="csY211" fmla="*/ 197296 h 2076207"/>
              <a:gd name="csX212" fmla="*/ 234029 w 748195"/>
              <a:gd name="csY212" fmla="*/ 162725 h 2076207"/>
              <a:gd name="csX213" fmla="*/ 229000 w 748195"/>
              <a:gd name="csY213" fmla="*/ 159902 h 2076207"/>
              <a:gd name="csX214" fmla="*/ 204824 w 748195"/>
              <a:gd name="csY214" fmla="*/ 199677 h 2076207"/>
              <a:gd name="csX215" fmla="*/ 207990 w 748195"/>
              <a:gd name="csY215" fmla="*/ 202198 h 2076207"/>
              <a:gd name="csX216" fmla="*/ 215522 w 748195"/>
              <a:gd name="csY216" fmla="*/ 197296 h 2076207"/>
              <a:gd name="csX217" fmla="*/ 484400 w 748195"/>
              <a:gd name="csY217" fmla="*/ 896678 h 2076207"/>
              <a:gd name="csX218" fmla="*/ 486181 w 748195"/>
              <a:gd name="csY218" fmla="*/ 896585 h 2076207"/>
              <a:gd name="csX219" fmla="*/ 486181 w 748195"/>
              <a:gd name="csY219" fmla="*/ 795289 h 2076207"/>
              <a:gd name="csX220" fmla="*/ 720241 w 748195"/>
              <a:gd name="csY220" fmla="*/ 2030666 h 2076207"/>
              <a:gd name="csX221" fmla="*/ 721175 w 748195"/>
              <a:gd name="csY221" fmla="*/ 2029733 h 2076207"/>
              <a:gd name="csX222" fmla="*/ 720241 w 748195"/>
              <a:gd name="csY222" fmla="*/ 2030666 h 2076207"/>
              <a:gd name="csX223" fmla="*/ 715702 w 748195"/>
              <a:gd name="csY223" fmla="*/ 2037051 h 2076207"/>
              <a:gd name="csX224" fmla="*/ 715702 w 748195"/>
              <a:gd name="csY224" fmla="*/ 2037051 h 2076207"/>
              <a:gd name="csX0" fmla="*/ 96263 w 748195"/>
              <a:gd name="csY0" fmla="*/ 2076207 h 2076207"/>
              <a:gd name="csX1" fmla="*/ 63862 w 748195"/>
              <a:gd name="csY1" fmla="*/ 2065388 h 2076207"/>
              <a:gd name="csX2" fmla="*/ 16555 w 748195"/>
              <a:gd name="csY2" fmla="*/ 2050152 h 2076207"/>
              <a:gd name="csX3" fmla="*/ 15 w 748195"/>
              <a:gd name="csY3" fmla="*/ 2023802 h 2076207"/>
              <a:gd name="csX4" fmla="*/ 18368 w 748195"/>
              <a:gd name="csY4" fmla="*/ 1940709 h 2076207"/>
              <a:gd name="csX5" fmla="*/ 22139 w 748195"/>
              <a:gd name="csY5" fmla="*/ 1907268 h 2076207"/>
              <a:gd name="csX6" fmla="*/ 57941 w 748195"/>
              <a:gd name="csY6" fmla="*/ 1774163 h 2076207"/>
              <a:gd name="csX7" fmla="*/ 102478 w 748195"/>
              <a:gd name="csY7" fmla="*/ 1720275 h 2076207"/>
              <a:gd name="csX8" fmla="*/ 108579 w 748195"/>
              <a:gd name="csY8" fmla="*/ 1650967 h 2076207"/>
              <a:gd name="csX9" fmla="*/ 115628 w 748195"/>
              <a:gd name="csY9" fmla="*/ 1625405 h 2076207"/>
              <a:gd name="csX10" fmla="*/ 156323 w 748195"/>
              <a:gd name="csY10" fmla="*/ 1560181 h 2076207"/>
              <a:gd name="csX11" fmla="*/ 199424 w 748195"/>
              <a:gd name="csY11" fmla="*/ 1364729 h 2076207"/>
              <a:gd name="csX12" fmla="*/ 216779 w 748195"/>
              <a:gd name="csY12" fmla="*/ 1219490 h 2076207"/>
              <a:gd name="csX13" fmla="*/ 229755 w 748195"/>
              <a:gd name="csY13" fmla="*/ 1099357 h 2076207"/>
              <a:gd name="csX14" fmla="*/ 232707 w 748195"/>
              <a:gd name="csY14" fmla="*/ 1056423 h 2076207"/>
              <a:gd name="csX15" fmla="*/ 235622 w 748195"/>
              <a:gd name="csY15" fmla="*/ 952675 h 2076207"/>
              <a:gd name="csX16" fmla="*/ 235445 w 748195"/>
              <a:gd name="csY16" fmla="*/ 780278 h 2076207"/>
              <a:gd name="csX17" fmla="*/ 214544 w 748195"/>
              <a:gd name="csY17" fmla="*/ 756435 h 2076207"/>
              <a:gd name="csX18" fmla="*/ 172569 w 748195"/>
              <a:gd name="csY18" fmla="*/ 742582 h 2076207"/>
              <a:gd name="csX19" fmla="*/ 168784 w 748195"/>
              <a:gd name="csY19" fmla="*/ 669116 h 2076207"/>
              <a:gd name="csX20" fmla="*/ 191657 w 748195"/>
              <a:gd name="csY20" fmla="*/ 630765 h 2076207"/>
              <a:gd name="csX21" fmla="*/ 208150 w 748195"/>
              <a:gd name="csY21" fmla="*/ 609084 h 2076207"/>
              <a:gd name="csX22" fmla="*/ 216756 w 748195"/>
              <a:gd name="csY22" fmla="*/ 558673 h 2076207"/>
              <a:gd name="csX23" fmla="*/ 209092 w 748195"/>
              <a:gd name="csY23" fmla="*/ 521540 h 2076207"/>
              <a:gd name="csX24" fmla="*/ 204683 w 748195"/>
              <a:gd name="csY24" fmla="*/ 474024 h 2076207"/>
              <a:gd name="csX25" fmla="*/ 115483 w 748195"/>
              <a:gd name="csY25" fmla="*/ 213499 h 2076207"/>
              <a:gd name="csX26" fmla="*/ 102909 w 748195"/>
              <a:gd name="csY26" fmla="*/ 182297 h 2076207"/>
              <a:gd name="csX27" fmla="*/ 104315 w 748195"/>
              <a:gd name="csY27" fmla="*/ 163968 h 2076207"/>
              <a:gd name="csX28" fmla="*/ 122444 w 748195"/>
              <a:gd name="csY28" fmla="*/ 160805 h 2076207"/>
              <a:gd name="csX29" fmla="*/ 170283 w 748195"/>
              <a:gd name="csY29" fmla="*/ 187783 h 2076207"/>
              <a:gd name="csX30" fmla="*/ 180938 w 748195"/>
              <a:gd name="csY30" fmla="*/ 195322 h 2076207"/>
              <a:gd name="csX31" fmla="*/ 221419 w 748195"/>
              <a:gd name="csY31" fmla="*/ 138058 h 2076207"/>
              <a:gd name="csX32" fmla="*/ 294099 w 748195"/>
              <a:gd name="csY32" fmla="*/ 91372 h 2076207"/>
              <a:gd name="csX33" fmla="*/ 302307 w 748195"/>
              <a:gd name="csY33" fmla="*/ 76560 h 2076207"/>
              <a:gd name="csX34" fmla="*/ 320284 w 748195"/>
              <a:gd name="csY34" fmla="*/ 8414 h 2076207"/>
              <a:gd name="csX35" fmla="*/ 324784 w 748195"/>
              <a:gd name="csY35" fmla="*/ 946 h 2076207"/>
              <a:gd name="csX36" fmla="*/ 399212 w 748195"/>
              <a:gd name="csY36" fmla="*/ 0 h 2076207"/>
              <a:gd name="csX37" fmla="*/ 425980 w 748195"/>
              <a:gd name="csY37" fmla="*/ 78301 h 2076207"/>
              <a:gd name="csX38" fmla="*/ 431861 w 748195"/>
              <a:gd name="csY38" fmla="*/ 90312 h 2076207"/>
              <a:gd name="csX39" fmla="*/ 540349 w 748195"/>
              <a:gd name="csY39" fmla="*/ 187946 h 2076207"/>
              <a:gd name="csX40" fmla="*/ 545555 w 748195"/>
              <a:gd name="csY40" fmla="*/ 197828 h 2076207"/>
              <a:gd name="csX41" fmla="*/ 587318 w 748195"/>
              <a:gd name="csY41" fmla="*/ 171260 h 2076207"/>
              <a:gd name="csX42" fmla="*/ 601503 w 748195"/>
              <a:gd name="csY42" fmla="*/ 163707 h 2076207"/>
              <a:gd name="csX43" fmla="*/ 625254 w 748195"/>
              <a:gd name="csY43" fmla="*/ 163123 h 2076207"/>
              <a:gd name="csX44" fmla="*/ 625468 w 748195"/>
              <a:gd name="csY44" fmla="*/ 187579 h 2076207"/>
              <a:gd name="csX45" fmla="*/ 597543 w 748195"/>
              <a:gd name="csY45" fmla="*/ 251872 h 2076207"/>
              <a:gd name="csX46" fmla="*/ 531831 w 748195"/>
              <a:gd name="csY46" fmla="*/ 442689 h 2076207"/>
              <a:gd name="csX47" fmla="*/ 519888 w 748195"/>
              <a:gd name="csY47" fmla="*/ 501474 h 2076207"/>
              <a:gd name="csX48" fmla="*/ 522506 w 748195"/>
              <a:gd name="csY48" fmla="*/ 525086 h 2076207"/>
              <a:gd name="csX49" fmla="*/ 516235 w 748195"/>
              <a:gd name="csY49" fmla="*/ 555946 h 2076207"/>
              <a:gd name="csX50" fmla="*/ 521332 w 748195"/>
              <a:gd name="csY50" fmla="*/ 610676 h 2076207"/>
              <a:gd name="csX51" fmla="*/ 541382 w 748195"/>
              <a:gd name="csY51" fmla="*/ 642597 h 2076207"/>
              <a:gd name="csX52" fmla="*/ 557031 w 748195"/>
              <a:gd name="csY52" fmla="*/ 667949 h 2076207"/>
              <a:gd name="csX53" fmla="*/ 553994 w 748195"/>
              <a:gd name="csY53" fmla="*/ 744146 h 2076207"/>
              <a:gd name="csX54" fmla="*/ 508215 w 748195"/>
              <a:gd name="csY54" fmla="*/ 758841 h 2076207"/>
              <a:gd name="csX55" fmla="*/ 497442 w 748195"/>
              <a:gd name="csY55" fmla="*/ 771256 h 2076207"/>
              <a:gd name="csX56" fmla="*/ 493005 w 748195"/>
              <a:gd name="csY56" fmla="*/ 922055 h 2076207"/>
              <a:gd name="csX57" fmla="*/ 502900 w 748195"/>
              <a:gd name="csY57" fmla="*/ 1114191 h 2076207"/>
              <a:gd name="csX58" fmla="*/ 508800 w 748195"/>
              <a:gd name="csY58" fmla="*/ 1205474 h 2076207"/>
              <a:gd name="csX59" fmla="*/ 522952 w 748195"/>
              <a:gd name="csY59" fmla="*/ 1320065 h 2076207"/>
              <a:gd name="csX60" fmla="*/ 554682 w 748195"/>
              <a:gd name="csY60" fmla="*/ 1501203 h 2076207"/>
              <a:gd name="csX61" fmla="*/ 576958 w 748195"/>
              <a:gd name="csY61" fmla="*/ 1593963 h 2076207"/>
              <a:gd name="csX62" fmla="*/ 595349 w 748195"/>
              <a:gd name="csY62" fmla="*/ 1613498 h 2076207"/>
              <a:gd name="csX63" fmla="*/ 613936 w 748195"/>
              <a:gd name="csY63" fmla="*/ 1624058 h 2076207"/>
              <a:gd name="csX64" fmla="*/ 620938 w 748195"/>
              <a:gd name="csY64" fmla="*/ 1652071 h 2076207"/>
              <a:gd name="csX65" fmla="*/ 630805 w 748195"/>
              <a:gd name="csY65" fmla="*/ 1721702 h 2076207"/>
              <a:gd name="csX66" fmla="*/ 685830 w 748195"/>
              <a:gd name="csY66" fmla="*/ 1792915 h 2076207"/>
              <a:gd name="csX67" fmla="*/ 708904 w 748195"/>
              <a:gd name="csY67" fmla="*/ 1890290 h 2076207"/>
              <a:gd name="csX68" fmla="*/ 716580 w 748195"/>
              <a:gd name="csY68" fmla="*/ 1951136 h 2076207"/>
              <a:gd name="csX69" fmla="*/ 729397 w 748195"/>
              <a:gd name="csY69" fmla="*/ 2030261 h 2076207"/>
              <a:gd name="csX70" fmla="*/ 714212 w 748195"/>
              <a:gd name="csY70" fmla="*/ 2049544 h 2076207"/>
              <a:gd name="csX71" fmla="*/ 645428 w 748195"/>
              <a:gd name="csY71" fmla="*/ 2070825 h 2076207"/>
              <a:gd name="csX72" fmla="*/ 635822 w 748195"/>
              <a:gd name="csY72" fmla="*/ 2075145 h 2076207"/>
              <a:gd name="csX73" fmla="*/ 588428 w 748195"/>
              <a:gd name="csY73" fmla="*/ 2075144 h 2076207"/>
              <a:gd name="csX74" fmla="*/ 667788 w 748195"/>
              <a:gd name="csY74" fmla="*/ 2056852 h 2076207"/>
              <a:gd name="csX75" fmla="*/ 706629 w 748195"/>
              <a:gd name="csY75" fmla="*/ 2044290 h 2076207"/>
              <a:gd name="csX76" fmla="*/ 702674 w 748195"/>
              <a:gd name="csY76" fmla="*/ 2041581 h 2076207"/>
              <a:gd name="csX77" fmla="*/ 96263 w 748195"/>
              <a:gd name="csY77" fmla="*/ 2076207 h 2076207"/>
              <a:gd name="csX78" fmla="*/ 489970 w 748195"/>
              <a:gd name="csY78" fmla="*/ 152208 h 2076207"/>
              <a:gd name="csX79" fmla="*/ 490754 w 748195"/>
              <a:gd name="csY79" fmla="*/ 152592 h 2076207"/>
              <a:gd name="csX80" fmla="*/ 489489 w 748195"/>
              <a:gd name="csY80" fmla="*/ 149547 h 2076207"/>
              <a:gd name="csX81" fmla="*/ 393621 w 748195"/>
              <a:gd name="csY81" fmla="*/ 99259 h 2076207"/>
              <a:gd name="csX82" fmla="*/ 390419 w 748195"/>
              <a:gd name="csY82" fmla="*/ 18568 h 2076207"/>
              <a:gd name="csX83" fmla="*/ 334131 w 748195"/>
              <a:gd name="csY83" fmla="*/ 24327 h 2076207"/>
              <a:gd name="csX84" fmla="*/ 344678 w 748195"/>
              <a:gd name="csY84" fmla="*/ 101259 h 2076207"/>
              <a:gd name="csX85" fmla="*/ 298854 w 748195"/>
              <a:gd name="csY85" fmla="*/ 114003 h 2076207"/>
              <a:gd name="csX86" fmla="*/ 237456 w 748195"/>
              <a:gd name="csY86" fmla="*/ 154340 h 2076207"/>
              <a:gd name="csX87" fmla="*/ 240382 w 748195"/>
              <a:gd name="csY87" fmla="*/ 154035 h 2076207"/>
              <a:gd name="csX88" fmla="*/ 262731 w 748195"/>
              <a:gd name="csY88" fmla="*/ 170426 h 2076207"/>
              <a:gd name="csX89" fmla="*/ 279169 w 748195"/>
              <a:gd name="csY89" fmla="*/ 193173 h 2076207"/>
              <a:gd name="csX90" fmla="*/ 327717 w 748195"/>
              <a:gd name="csY90" fmla="*/ 188556 h 2076207"/>
              <a:gd name="csX91" fmla="*/ 348052 w 748195"/>
              <a:gd name="csY91" fmla="*/ 156919 h 2076207"/>
              <a:gd name="csX92" fmla="*/ 380330 w 748195"/>
              <a:gd name="csY92" fmla="*/ 156483 h 2076207"/>
              <a:gd name="csX93" fmla="*/ 408490 w 748195"/>
              <a:gd name="csY93" fmla="*/ 195400 h 2076207"/>
              <a:gd name="csX94" fmla="*/ 445346 w 748195"/>
              <a:gd name="csY94" fmla="*/ 197582 h 2076207"/>
              <a:gd name="csX95" fmla="*/ 464798 w 748195"/>
              <a:gd name="csY95" fmla="*/ 174107 h 2076207"/>
              <a:gd name="csX96" fmla="*/ 489970 w 748195"/>
              <a:gd name="csY96" fmla="*/ 152208 h 2076207"/>
              <a:gd name="csX97" fmla="*/ 140694 w 748195"/>
              <a:gd name="csY97" fmla="*/ 201837 h 2076207"/>
              <a:gd name="csX98" fmla="*/ 139834 w 748195"/>
              <a:gd name="csY98" fmla="*/ 201482 h 2076207"/>
              <a:gd name="csX99" fmla="*/ 140812 w 748195"/>
              <a:gd name="csY99" fmla="*/ 204941 h 2076207"/>
              <a:gd name="csX100" fmla="*/ 144631 w 748195"/>
              <a:gd name="csY100" fmla="*/ 217811 h 2076207"/>
              <a:gd name="csX101" fmla="*/ 201241 w 748195"/>
              <a:gd name="csY101" fmla="*/ 373387 h 2076207"/>
              <a:gd name="csX102" fmla="*/ 235971 w 748195"/>
              <a:gd name="csY102" fmla="*/ 504451 h 2076207"/>
              <a:gd name="csX103" fmla="*/ 247475 w 748195"/>
              <a:gd name="csY103" fmla="*/ 513241 h 2076207"/>
              <a:gd name="csX104" fmla="*/ 289066 w 748195"/>
              <a:gd name="csY104" fmla="*/ 511170 h 2076207"/>
              <a:gd name="csX105" fmla="*/ 378229 w 748195"/>
              <a:gd name="csY105" fmla="*/ 511084 h 2076207"/>
              <a:gd name="csX106" fmla="*/ 470850 w 748195"/>
              <a:gd name="csY106" fmla="*/ 516341 h 2076207"/>
              <a:gd name="csX107" fmla="*/ 492933 w 748195"/>
              <a:gd name="csY107" fmla="*/ 497969 h 2076207"/>
              <a:gd name="csX108" fmla="*/ 557617 w 748195"/>
              <a:gd name="csY108" fmla="*/ 280398 h 2076207"/>
              <a:gd name="csX109" fmla="*/ 588788 w 748195"/>
              <a:gd name="csY109" fmla="*/ 200385 h 2076207"/>
              <a:gd name="csX110" fmla="*/ 530958 w 748195"/>
              <a:gd name="csY110" fmla="*/ 232968 h 2076207"/>
              <a:gd name="csX111" fmla="*/ 483823 w 748195"/>
              <a:gd name="csY111" fmla="*/ 190364 h 2076207"/>
              <a:gd name="csX112" fmla="*/ 466649 w 748195"/>
              <a:gd name="csY112" fmla="*/ 209061 h 2076207"/>
              <a:gd name="csX113" fmla="*/ 399941 w 748195"/>
              <a:gd name="csY113" fmla="*/ 216988 h 2076207"/>
              <a:gd name="csX114" fmla="*/ 363018 w 748195"/>
              <a:gd name="csY114" fmla="*/ 179615 h 2076207"/>
              <a:gd name="csX115" fmla="*/ 308839 w 748195"/>
              <a:gd name="csY115" fmla="*/ 227846 h 2076207"/>
              <a:gd name="csX116" fmla="*/ 245077 w 748195"/>
              <a:gd name="csY116" fmla="*/ 192402 h 2076207"/>
              <a:gd name="csX117" fmla="*/ 242829 w 748195"/>
              <a:gd name="csY117" fmla="*/ 198815 h 2076207"/>
              <a:gd name="csX118" fmla="*/ 168452 w 748195"/>
              <a:gd name="csY118" fmla="*/ 219348 h 2076207"/>
              <a:gd name="csX119" fmla="*/ 140694 w 748195"/>
              <a:gd name="csY119" fmla="*/ 201837 h 2076207"/>
              <a:gd name="csX120" fmla="*/ 259999 w 748195"/>
              <a:gd name="csY120" fmla="*/ 966699 h 2076207"/>
              <a:gd name="csX121" fmla="*/ 257072 w 748195"/>
              <a:gd name="csY121" fmla="*/ 1070424 h 2076207"/>
              <a:gd name="csX122" fmla="*/ 251372 w 748195"/>
              <a:gd name="csY122" fmla="*/ 1157618 h 2076207"/>
              <a:gd name="csX123" fmla="*/ 232677 w 748195"/>
              <a:gd name="csY123" fmla="*/ 1320279 h 2076207"/>
              <a:gd name="csX124" fmla="*/ 209182 w 748195"/>
              <a:gd name="csY124" fmla="*/ 1468667 h 2076207"/>
              <a:gd name="csX125" fmla="*/ 175302 w 748195"/>
              <a:gd name="csY125" fmla="*/ 1616623 h 2076207"/>
              <a:gd name="csX126" fmla="*/ 182769 w 748195"/>
              <a:gd name="csY126" fmla="*/ 1629786 h 2076207"/>
              <a:gd name="csX127" fmla="*/ 212156 w 748195"/>
              <a:gd name="csY127" fmla="*/ 1632656 h 2076207"/>
              <a:gd name="csX128" fmla="*/ 351295 w 748195"/>
              <a:gd name="csY128" fmla="*/ 1632801 h 2076207"/>
              <a:gd name="csX129" fmla="*/ 376150 w 748195"/>
              <a:gd name="csY129" fmla="*/ 1608307 h 2076207"/>
              <a:gd name="csX130" fmla="*/ 373450 w 748195"/>
              <a:gd name="csY130" fmla="*/ 1457291 h 2076207"/>
              <a:gd name="csX131" fmla="*/ 370936 w 748195"/>
              <a:gd name="csY131" fmla="*/ 1342736 h 2076207"/>
              <a:gd name="csX132" fmla="*/ 368328 w 748195"/>
              <a:gd name="csY132" fmla="*/ 1203878 h 2076207"/>
              <a:gd name="csX133" fmla="*/ 367836 w 748195"/>
              <a:gd name="csY133" fmla="*/ 813478 h 2076207"/>
              <a:gd name="csX134" fmla="*/ 365240 w 748195"/>
              <a:gd name="csY134" fmla="*/ 773243 h 2076207"/>
              <a:gd name="csX135" fmla="*/ 353084 w 748195"/>
              <a:gd name="csY135" fmla="*/ 762083 h 2076207"/>
              <a:gd name="csX136" fmla="*/ 280966 w 748195"/>
              <a:gd name="csY136" fmla="*/ 759855 h 2076207"/>
              <a:gd name="csX137" fmla="*/ 259965 w 748195"/>
              <a:gd name="csY137" fmla="*/ 779553 h 2076207"/>
              <a:gd name="csX138" fmla="*/ 262341 w 748195"/>
              <a:gd name="csY138" fmla="*/ 856275 h 2076207"/>
              <a:gd name="csX139" fmla="*/ 259999 w 748195"/>
              <a:gd name="csY139" fmla="*/ 966699 h 2076207"/>
              <a:gd name="csX140" fmla="*/ 55556 w 748195"/>
              <a:gd name="csY140" fmla="*/ 1835827 h 2076207"/>
              <a:gd name="csX141" fmla="*/ 49393 w 748195"/>
              <a:gd name="csY141" fmla="*/ 1878155 h 2076207"/>
              <a:gd name="csX142" fmla="*/ 73949 w 748195"/>
              <a:gd name="csY142" fmla="*/ 1905781 h 2076207"/>
              <a:gd name="csX143" fmla="*/ 110073 w 748195"/>
              <a:gd name="csY143" fmla="*/ 1909068 h 2076207"/>
              <a:gd name="csX144" fmla="*/ 224745 w 748195"/>
              <a:gd name="csY144" fmla="*/ 1921652 h 2076207"/>
              <a:gd name="csX145" fmla="*/ 347327 w 748195"/>
              <a:gd name="csY145" fmla="*/ 1924778 h 2076207"/>
              <a:gd name="csX146" fmla="*/ 363345 w 748195"/>
              <a:gd name="csY146" fmla="*/ 1923293 h 2076207"/>
              <a:gd name="csX147" fmla="*/ 373787 w 748195"/>
              <a:gd name="csY147" fmla="*/ 1911200 h 2076207"/>
              <a:gd name="csX148" fmla="*/ 376623 w 748195"/>
              <a:gd name="csY148" fmla="*/ 1696741 h 2076207"/>
              <a:gd name="csX149" fmla="*/ 360437 w 748195"/>
              <a:gd name="csY149" fmla="*/ 1681289 h 2076207"/>
              <a:gd name="csX150" fmla="*/ 263503 w 748195"/>
              <a:gd name="csY150" fmla="*/ 1678179 h 2076207"/>
              <a:gd name="csX151" fmla="*/ 160381 w 748195"/>
              <a:gd name="csY151" fmla="*/ 1670405 h 2076207"/>
              <a:gd name="csX152" fmla="*/ 143321 w 748195"/>
              <a:gd name="csY152" fmla="*/ 1685538 h 2076207"/>
              <a:gd name="csX153" fmla="*/ 124769 w 748195"/>
              <a:gd name="csY153" fmla="*/ 1738195 h 2076207"/>
              <a:gd name="csX154" fmla="*/ 90593 w 748195"/>
              <a:gd name="csY154" fmla="*/ 1779570 h 2076207"/>
              <a:gd name="csX155" fmla="*/ 55556 w 748195"/>
              <a:gd name="csY155" fmla="*/ 1835827 h 2076207"/>
              <a:gd name="csX156" fmla="*/ 378900 w 748195"/>
              <a:gd name="csY156" fmla="*/ 2007280 h 2076207"/>
              <a:gd name="csX157" fmla="*/ 378887 w 748195"/>
              <a:gd name="csY157" fmla="*/ 1995127 h 2076207"/>
              <a:gd name="csX158" fmla="*/ 359084 w 748195"/>
              <a:gd name="csY158" fmla="*/ 1975964 h 2076207"/>
              <a:gd name="csX159" fmla="*/ 247288 w 748195"/>
              <a:gd name="csY159" fmla="*/ 1973305 h 2076207"/>
              <a:gd name="csX160" fmla="*/ 201692 w 748195"/>
              <a:gd name="csY160" fmla="*/ 1970275 h 2076207"/>
              <a:gd name="csX161" fmla="*/ 57962 w 748195"/>
              <a:gd name="csY161" fmla="*/ 1952648 h 2076207"/>
              <a:gd name="csX162" fmla="*/ 39194 w 748195"/>
              <a:gd name="csY162" fmla="*/ 1963552 h 2076207"/>
              <a:gd name="csX163" fmla="*/ 30066 w 748195"/>
              <a:gd name="csY163" fmla="*/ 2006631 h 2076207"/>
              <a:gd name="csX164" fmla="*/ 40232 w 748195"/>
              <a:gd name="csY164" fmla="*/ 2019486 h 2076207"/>
              <a:gd name="csX165" fmla="*/ 238186 w 748195"/>
              <a:gd name="csY165" fmla="*/ 2046096 h 2076207"/>
              <a:gd name="csX166" fmla="*/ 342155 w 748195"/>
              <a:gd name="csY166" fmla="*/ 2046441 h 2076207"/>
              <a:gd name="csX167" fmla="*/ 378900 w 748195"/>
              <a:gd name="csY167" fmla="*/ 2007280 h 2076207"/>
              <a:gd name="csX168" fmla="*/ 310220 w 748195"/>
              <a:gd name="csY168" fmla="*/ 554288 h 2076207"/>
              <a:gd name="csX169" fmla="*/ 259136 w 748195"/>
              <a:gd name="csY169" fmla="*/ 556881 h 2076207"/>
              <a:gd name="csX170" fmla="*/ 249085 w 748195"/>
              <a:gd name="csY170" fmla="*/ 567981 h 2076207"/>
              <a:gd name="csX171" fmla="*/ 249141 w 748195"/>
              <a:gd name="csY171" fmla="*/ 605644 h 2076207"/>
              <a:gd name="csX172" fmla="*/ 262628 w 748195"/>
              <a:gd name="csY172" fmla="*/ 605627 h 2076207"/>
              <a:gd name="csX173" fmla="*/ 369608 w 748195"/>
              <a:gd name="csY173" fmla="*/ 603027 h 2076207"/>
              <a:gd name="csX174" fmla="*/ 463931 w 748195"/>
              <a:gd name="csY174" fmla="*/ 605146 h 2076207"/>
              <a:gd name="csX175" fmla="*/ 478113 w 748195"/>
              <a:gd name="csY175" fmla="*/ 595843 h 2076207"/>
              <a:gd name="csX176" fmla="*/ 478796 w 748195"/>
              <a:gd name="csY176" fmla="*/ 556832 h 2076207"/>
              <a:gd name="csX177" fmla="*/ 310220 w 748195"/>
              <a:gd name="csY177" fmla="*/ 554288 h 2076207"/>
              <a:gd name="csX178" fmla="*/ 348836 w 748195"/>
              <a:gd name="csY178" fmla="*/ 684115 h 2076207"/>
              <a:gd name="csX179" fmla="*/ 281333 w 748195"/>
              <a:gd name="csY179" fmla="*/ 683313 h 2076207"/>
              <a:gd name="csX180" fmla="*/ 212728 w 748195"/>
              <a:gd name="csY180" fmla="*/ 681931 h 2076207"/>
              <a:gd name="csX181" fmla="*/ 187283 w 748195"/>
              <a:gd name="csY181" fmla="*/ 689555 h 2076207"/>
              <a:gd name="csX182" fmla="*/ 186163 w 748195"/>
              <a:gd name="csY182" fmla="*/ 718266 h 2076207"/>
              <a:gd name="csX183" fmla="*/ 209894 w 748195"/>
              <a:gd name="csY183" fmla="*/ 726798 h 2076207"/>
              <a:gd name="csX184" fmla="*/ 334814 w 748195"/>
              <a:gd name="csY184" fmla="*/ 732494 h 2076207"/>
              <a:gd name="csX185" fmla="*/ 364856 w 748195"/>
              <a:gd name="csY185" fmla="*/ 707963 h 2076207"/>
              <a:gd name="csX186" fmla="*/ 348836 w 748195"/>
              <a:gd name="csY186" fmla="*/ 684115 h 2076207"/>
              <a:gd name="csX187" fmla="*/ 298865 w 748195"/>
              <a:gd name="csY187" fmla="*/ 621954 h 2076207"/>
              <a:gd name="csX188" fmla="*/ 251619 w 748195"/>
              <a:gd name="csY188" fmla="*/ 622133 h 2076207"/>
              <a:gd name="csX189" fmla="*/ 214459 w 748195"/>
              <a:gd name="csY189" fmla="*/ 636230 h 2076207"/>
              <a:gd name="csX190" fmla="*/ 221436 w 748195"/>
              <a:gd name="csY190" fmla="*/ 654205 h 2076207"/>
              <a:gd name="csX191" fmla="*/ 272412 w 748195"/>
              <a:gd name="csY191" fmla="*/ 657250 h 2076207"/>
              <a:gd name="csX192" fmla="*/ 349094 w 748195"/>
              <a:gd name="csY192" fmla="*/ 659282 h 2076207"/>
              <a:gd name="csX193" fmla="*/ 362996 w 748195"/>
              <a:gd name="csY193" fmla="*/ 644234 h 2076207"/>
              <a:gd name="csX194" fmla="*/ 348472 w 748195"/>
              <a:gd name="csY194" fmla="*/ 624649 h 2076207"/>
              <a:gd name="csX195" fmla="*/ 298865 w 748195"/>
              <a:gd name="csY195" fmla="*/ 621954 h 2076207"/>
              <a:gd name="csX196" fmla="*/ 227796 w 748195"/>
              <a:gd name="csY196" fmla="*/ 528000 h 2076207"/>
              <a:gd name="csX197" fmla="*/ 241009 w 748195"/>
              <a:gd name="csY197" fmla="*/ 545897 h 2076207"/>
              <a:gd name="csX198" fmla="*/ 282607 w 748195"/>
              <a:gd name="csY198" fmla="*/ 543480 h 2076207"/>
              <a:gd name="csX199" fmla="*/ 354213 w 748195"/>
              <a:gd name="csY199" fmla="*/ 543384 h 2076207"/>
              <a:gd name="csX200" fmla="*/ 365334 w 748195"/>
              <a:gd name="csY200" fmla="*/ 533397 h 2076207"/>
              <a:gd name="csX201" fmla="*/ 354531 w 748195"/>
              <a:gd name="csY201" fmla="*/ 521620 h 2076207"/>
              <a:gd name="csX202" fmla="*/ 259169 w 748195"/>
              <a:gd name="csY202" fmla="*/ 521978 h 2076207"/>
              <a:gd name="csX203" fmla="*/ 227796 w 748195"/>
              <a:gd name="csY203" fmla="*/ 528000 h 2076207"/>
              <a:gd name="csX204" fmla="*/ 508068 w 748195"/>
              <a:gd name="csY204" fmla="*/ 190710 h 2076207"/>
              <a:gd name="csX205" fmla="*/ 521293 w 748195"/>
              <a:gd name="csY205" fmla="*/ 205907 h 2076207"/>
              <a:gd name="csX206" fmla="*/ 525175 w 748195"/>
              <a:gd name="csY206" fmla="*/ 202985 h 2076207"/>
              <a:gd name="csX207" fmla="*/ 500276 w 748195"/>
              <a:gd name="csY207" fmla="*/ 160640 h 2076207"/>
              <a:gd name="csX208" fmla="*/ 497122 w 748195"/>
              <a:gd name="csY208" fmla="*/ 162007 h 2076207"/>
              <a:gd name="csX209" fmla="*/ 508068 w 748195"/>
              <a:gd name="csY209" fmla="*/ 190710 h 2076207"/>
              <a:gd name="csX210" fmla="*/ 215522 w 748195"/>
              <a:gd name="csY210" fmla="*/ 197296 h 2076207"/>
              <a:gd name="csX211" fmla="*/ 234029 w 748195"/>
              <a:gd name="csY211" fmla="*/ 162725 h 2076207"/>
              <a:gd name="csX212" fmla="*/ 229000 w 748195"/>
              <a:gd name="csY212" fmla="*/ 159902 h 2076207"/>
              <a:gd name="csX213" fmla="*/ 204824 w 748195"/>
              <a:gd name="csY213" fmla="*/ 199677 h 2076207"/>
              <a:gd name="csX214" fmla="*/ 207990 w 748195"/>
              <a:gd name="csY214" fmla="*/ 202198 h 2076207"/>
              <a:gd name="csX215" fmla="*/ 215522 w 748195"/>
              <a:gd name="csY215" fmla="*/ 197296 h 2076207"/>
              <a:gd name="csX216" fmla="*/ 484400 w 748195"/>
              <a:gd name="csY216" fmla="*/ 896678 h 2076207"/>
              <a:gd name="csX217" fmla="*/ 486181 w 748195"/>
              <a:gd name="csY217" fmla="*/ 896585 h 2076207"/>
              <a:gd name="csX218" fmla="*/ 486181 w 748195"/>
              <a:gd name="csY218" fmla="*/ 795289 h 2076207"/>
              <a:gd name="csX219" fmla="*/ 720241 w 748195"/>
              <a:gd name="csY219" fmla="*/ 2030666 h 2076207"/>
              <a:gd name="csX220" fmla="*/ 721175 w 748195"/>
              <a:gd name="csY220" fmla="*/ 2029733 h 2076207"/>
              <a:gd name="csX221" fmla="*/ 720241 w 748195"/>
              <a:gd name="csY221" fmla="*/ 2030666 h 2076207"/>
              <a:gd name="csX222" fmla="*/ 715702 w 748195"/>
              <a:gd name="csY222" fmla="*/ 2037051 h 2076207"/>
              <a:gd name="csX223" fmla="*/ 715702 w 748195"/>
              <a:gd name="csY223" fmla="*/ 2037051 h 2076207"/>
              <a:gd name="csX0" fmla="*/ 96263 w 748195"/>
              <a:gd name="csY0" fmla="*/ 2076207 h 2076207"/>
              <a:gd name="csX1" fmla="*/ 63862 w 748195"/>
              <a:gd name="csY1" fmla="*/ 2065388 h 2076207"/>
              <a:gd name="csX2" fmla="*/ 16555 w 748195"/>
              <a:gd name="csY2" fmla="*/ 2050152 h 2076207"/>
              <a:gd name="csX3" fmla="*/ 15 w 748195"/>
              <a:gd name="csY3" fmla="*/ 2023802 h 2076207"/>
              <a:gd name="csX4" fmla="*/ 18368 w 748195"/>
              <a:gd name="csY4" fmla="*/ 1940709 h 2076207"/>
              <a:gd name="csX5" fmla="*/ 22139 w 748195"/>
              <a:gd name="csY5" fmla="*/ 1907268 h 2076207"/>
              <a:gd name="csX6" fmla="*/ 57941 w 748195"/>
              <a:gd name="csY6" fmla="*/ 1774163 h 2076207"/>
              <a:gd name="csX7" fmla="*/ 102478 w 748195"/>
              <a:gd name="csY7" fmla="*/ 1720275 h 2076207"/>
              <a:gd name="csX8" fmla="*/ 108579 w 748195"/>
              <a:gd name="csY8" fmla="*/ 1650967 h 2076207"/>
              <a:gd name="csX9" fmla="*/ 115628 w 748195"/>
              <a:gd name="csY9" fmla="*/ 1625405 h 2076207"/>
              <a:gd name="csX10" fmla="*/ 156323 w 748195"/>
              <a:gd name="csY10" fmla="*/ 1560181 h 2076207"/>
              <a:gd name="csX11" fmla="*/ 199424 w 748195"/>
              <a:gd name="csY11" fmla="*/ 1364729 h 2076207"/>
              <a:gd name="csX12" fmla="*/ 216779 w 748195"/>
              <a:gd name="csY12" fmla="*/ 1219490 h 2076207"/>
              <a:gd name="csX13" fmla="*/ 229755 w 748195"/>
              <a:gd name="csY13" fmla="*/ 1099357 h 2076207"/>
              <a:gd name="csX14" fmla="*/ 232707 w 748195"/>
              <a:gd name="csY14" fmla="*/ 1056423 h 2076207"/>
              <a:gd name="csX15" fmla="*/ 235622 w 748195"/>
              <a:gd name="csY15" fmla="*/ 952675 h 2076207"/>
              <a:gd name="csX16" fmla="*/ 235445 w 748195"/>
              <a:gd name="csY16" fmla="*/ 780278 h 2076207"/>
              <a:gd name="csX17" fmla="*/ 214544 w 748195"/>
              <a:gd name="csY17" fmla="*/ 756435 h 2076207"/>
              <a:gd name="csX18" fmla="*/ 172569 w 748195"/>
              <a:gd name="csY18" fmla="*/ 742582 h 2076207"/>
              <a:gd name="csX19" fmla="*/ 168784 w 748195"/>
              <a:gd name="csY19" fmla="*/ 669116 h 2076207"/>
              <a:gd name="csX20" fmla="*/ 191657 w 748195"/>
              <a:gd name="csY20" fmla="*/ 630765 h 2076207"/>
              <a:gd name="csX21" fmla="*/ 208150 w 748195"/>
              <a:gd name="csY21" fmla="*/ 609084 h 2076207"/>
              <a:gd name="csX22" fmla="*/ 216756 w 748195"/>
              <a:gd name="csY22" fmla="*/ 558673 h 2076207"/>
              <a:gd name="csX23" fmla="*/ 209092 w 748195"/>
              <a:gd name="csY23" fmla="*/ 521540 h 2076207"/>
              <a:gd name="csX24" fmla="*/ 204683 w 748195"/>
              <a:gd name="csY24" fmla="*/ 474024 h 2076207"/>
              <a:gd name="csX25" fmla="*/ 115483 w 748195"/>
              <a:gd name="csY25" fmla="*/ 213499 h 2076207"/>
              <a:gd name="csX26" fmla="*/ 102909 w 748195"/>
              <a:gd name="csY26" fmla="*/ 182297 h 2076207"/>
              <a:gd name="csX27" fmla="*/ 104315 w 748195"/>
              <a:gd name="csY27" fmla="*/ 163968 h 2076207"/>
              <a:gd name="csX28" fmla="*/ 122444 w 748195"/>
              <a:gd name="csY28" fmla="*/ 160805 h 2076207"/>
              <a:gd name="csX29" fmla="*/ 170283 w 748195"/>
              <a:gd name="csY29" fmla="*/ 187783 h 2076207"/>
              <a:gd name="csX30" fmla="*/ 180938 w 748195"/>
              <a:gd name="csY30" fmla="*/ 195322 h 2076207"/>
              <a:gd name="csX31" fmla="*/ 221419 w 748195"/>
              <a:gd name="csY31" fmla="*/ 138058 h 2076207"/>
              <a:gd name="csX32" fmla="*/ 294099 w 748195"/>
              <a:gd name="csY32" fmla="*/ 91372 h 2076207"/>
              <a:gd name="csX33" fmla="*/ 302307 w 748195"/>
              <a:gd name="csY33" fmla="*/ 76560 h 2076207"/>
              <a:gd name="csX34" fmla="*/ 320284 w 748195"/>
              <a:gd name="csY34" fmla="*/ 8414 h 2076207"/>
              <a:gd name="csX35" fmla="*/ 324784 w 748195"/>
              <a:gd name="csY35" fmla="*/ 946 h 2076207"/>
              <a:gd name="csX36" fmla="*/ 399212 w 748195"/>
              <a:gd name="csY36" fmla="*/ 0 h 2076207"/>
              <a:gd name="csX37" fmla="*/ 425980 w 748195"/>
              <a:gd name="csY37" fmla="*/ 78301 h 2076207"/>
              <a:gd name="csX38" fmla="*/ 431861 w 748195"/>
              <a:gd name="csY38" fmla="*/ 90312 h 2076207"/>
              <a:gd name="csX39" fmla="*/ 540349 w 748195"/>
              <a:gd name="csY39" fmla="*/ 187946 h 2076207"/>
              <a:gd name="csX40" fmla="*/ 545555 w 748195"/>
              <a:gd name="csY40" fmla="*/ 197828 h 2076207"/>
              <a:gd name="csX41" fmla="*/ 587318 w 748195"/>
              <a:gd name="csY41" fmla="*/ 171260 h 2076207"/>
              <a:gd name="csX42" fmla="*/ 601503 w 748195"/>
              <a:gd name="csY42" fmla="*/ 163707 h 2076207"/>
              <a:gd name="csX43" fmla="*/ 625254 w 748195"/>
              <a:gd name="csY43" fmla="*/ 163123 h 2076207"/>
              <a:gd name="csX44" fmla="*/ 625468 w 748195"/>
              <a:gd name="csY44" fmla="*/ 187579 h 2076207"/>
              <a:gd name="csX45" fmla="*/ 597543 w 748195"/>
              <a:gd name="csY45" fmla="*/ 251872 h 2076207"/>
              <a:gd name="csX46" fmla="*/ 531831 w 748195"/>
              <a:gd name="csY46" fmla="*/ 442689 h 2076207"/>
              <a:gd name="csX47" fmla="*/ 519888 w 748195"/>
              <a:gd name="csY47" fmla="*/ 501474 h 2076207"/>
              <a:gd name="csX48" fmla="*/ 522506 w 748195"/>
              <a:gd name="csY48" fmla="*/ 525086 h 2076207"/>
              <a:gd name="csX49" fmla="*/ 516235 w 748195"/>
              <a:gd name="csY49" fmla="*/ 555946 h 2076207"/>
              <a:gd name="csX50" fmla="*/ 521332 w 748195"/>
              <a:gd name="csY50" fmla="*/ 610676 h 2076207"/>
              <a:gd name="csX51" fmla="*/ 541382 w 748195"/>
              <a:gd name="csY51" fmla="*/ 642597 h 2076207"/>
              <a:gd name="csX52" fmla="*/ 557031 w 748195"/>
              <a:gd name="csY52" fmla="*/ 667949 h 2076207"/>
              <a:gd name="csX53" fmla="*/ 553994 w 748195"/>
              <a:gd name="csY53" fmla="*/ 744146 h 2076207"/>
              <a:gd name="csX54" fmla="*/ 508215 w 748195"/>
              <a:gd name="csY54" fmla="*/ 758841 h 2076207"/>
              <a:gd name="csX55" fmla="*/ 497442 w 748195"/>
              <a:gd name="csY55" fmla="*/ 771256 h 2076207"/>
              <a:gd name="csX56" fmla="*/ 493005 w 748195"/>
              <a:gd name="csY56" fmla="*/ 922055 h 2076207"/>
              <a:gd name="csX57" fmla="*/ 502900 w 748195"/>
              <a:gd name="csY57" fmla="*/ 1114191 h 2076207"/>
              <a:gd name="csX58" fmla="*/ 508800 w 748195"/>
              <a:gd name="csY58" fmla="*/ 1205474 h 2076207"/>
              <a:gd name="csX59" fmla="*/ 522952 w 748195"/>
              <a:gd name="csY59" fmla="*/ 1320065 h 2076207"/>
              <a:gd name="csX60" fmla="*/ 554682 w 748195"/>
              <a:gd name="csY60" fmla="*/ 1501203 h 2076207"/>
              <a:gd name="csX61" fmla="*/ 576958 w 748195"/>
              <a:gd name="csY61" fmla="*/ 1593963 h 2076207"/>
              <a:gd name="csX62" fmla="*/ 595349 w 748195"/>
              <a:gd name="csY62" fmla="*/ 1613498 h 2076207"/>
              <a:gd name="csX63" fmla="*/ 613936 w 748195"/>
              <a:gd name="csY63" fmla="*/ 1624058 h 2076207"/>
              <a:gd name="csX64" fmla="*/ 620938 w 748195"/>
              <a:gd name="csY64" fmla="*/ 1652071 h 2076207"/>
              <a:gd name="csX65" fmla="*/ 630805 w 748195"/>
              <a:gd name="csY65" fmla="*/ 1721702 h 2076207"/>
              <a:gd name="csX66" fmla="*/ 685830 w 748195"/>
              <a:gd name="csY66" fmla="*/ 1792915 h 2076207"/>
              <a:gd name="csX67" fmla="*/ 708904 w 748195"/>
              <a:gd name="csY67" fmla="*/ 1890290 h 2076207"/>
              <a:gd name="csX68" fmla="*/ 716580 w 748195"/>
              <a:gd name="csY68" fmla="*/ 1951136 h 2076207"/>
              <a:gd name="csX69" fmla="*/ 729397 w 748195"/>
              <a:gd name="csY69" fmla="*/ 2030261 h 2076207"/>
              <a:gd name="csX70" fmla="*/ 714212 w 748195"/>
              <a:gd name="csY70" fmla="*/ 2049544 h 2076207"/>
              <a:gd name="csX71" fmla="*/ 645428 w 748195"/>
              <a:gd name="csY71" fmla="*/ 2070825 h 2076207"/>
              <a:gd name="csX72" fmla="*/ 588428 w 748195"/>
              <a:gd name="csY72" fmla="*/ 2075144 h 2076207"/>
              <a:gd name="csX73" fmla="*/ 667788 w 748195"/>
              <a:gd name="csY73" fmla="*/ 2056852 h 2076207"/>
              <a:gd name="csX74" fmla="*/ 706629 w 748195"/>
              <a:gd name="csY74" fmla="*/ 2044290 h 2076207"/>
              <a:gd name="csX75" fmla="*/ 702674 w 748195"/>
              <a:gd name="csY75" fmla="*/ 2041581 h 2076207"/>
              <a:gd name="csX76" fmla="*/ 96263 w 748195"/>
              <a:gd name="csY76" fmla="*/ 2076207 h 2076207"/>
              <a:gd name="csX77" fmla="*/ 489970 w 748195"/>
              <a:gd name="csY77" fmla="*/ 152208 h 2076207"/>
              <a:gd name="csX78" fmla="*/ 490754 w 748195"/>
              <a:gd name="csY78" fmla="*/ 152592 h 2076207"/>
              <a:gd name="csX79" fmla="*/ 489489 w 748195"/>
              <a:gd name="csY79" fmla="*/ 149547 h 2076207"/>
              <a:gd name="csX80" fmla="*/ 393621 w 748195"/>
              <a:gd name="csY80" fmla="*/ 99259 h 2076207"/>
              <a:gd name="csX81" fmla="*/ 390419 w 748195"/>
              <a:gd name="csY81" fmla="*/ 18568 h 2076207"/>
              <a:gd name="csX82" fmla="*/ 334131 w 748195"/>
              <a:gd name="csY82" fmla="*/ 24327 h 2076207"/>
              <a:gd name="csX83" fmla="*/ 344678 w 748195"/>
              <a:gd name="csY83" fmla="*/ 101259 h 2076207"/>
              <a:gd name="csX84" fmla="*/ 298854 w 748195"/>
              <a:gd name="csY84" fmla="*/ 114003 h 2076207"/>
              <a:gd name="csX85" fmla="*/ 237456 w 748195"/>
              <a:gd name="csY85" fmla="*/ 154340 h 2076207"/>
              <a:gd name="csX86" fmla="*/ 240382 w 748195"/>
              <a:gd name="csY86" fmla="*/ 154035 h 2076207"/>
              <a:gd name="csX87" fmla="*/ 262731 w 748195"/>
              <a:gd name="csY87" fmla="*/ 170426 h 2076207"/>
              <a:gd name="csX88" fmla="*/ 279169 w 748195"/>
              <a:gd name="csY88" fmla="*/ 193173 h 2076207"/>
              <a:gd name="csX89" fmla="*/ 327717 w 748195"/>
              <a:gd name="csY89" fmla="*/ 188556 h 2076207"/>
              <a:gd name="csX90" fmla="*/ 348052 w 748195"/>
              <a:gd name="csY90" fmla="*/ 156919 h 2076207"/>
              <a:gd name="csX91" fmla="*/ 380330 w 748195"/>
              <a:gd name="csY91" fmla="*/ 156483 h 2076207"/>
              <a:gd name="csX92" fmla="*/ 408490 w 748195"/>
              <a:gd name="csY92" fmla="*/ 195400 h 2076207"/>
              <a:gd name="csX93" fmla="*/ 445346 w 748195"/>
              <a:gd name="csY93" fmla="*/ 197582 h 2076207"/>
              <a:gd name="csX94" fmla="*/ 464798 w 748195"/>
              <a:gd name="csY94" fmla="*/ 174107 h 2076207"/>
              <a:gd name="csX95" fmla="*/ 489970 w 748195"/>
              <a:gd name="csY95" fmla="*/ 152208 h 2076207"/>
              <a:gd name="csX96" fmla="*/ 140694 w 748195"/>
              <a:gd name="csY96" fmla="*/ 201837 h 2076207"/>
              <a:gd name="csX97" fmla="*/ 139834 w 748195"/>
              <a:gd name="csY97" fmla="*/ 201482 h 2076207"/>
              <a:gd name="csX98" fmla="*/ 140812 w 748195"/>
              <a:gd name="csY98" fmla="*/ 204941 h 2076207"/>
              <a:gd name="csX99" fmla="*/ 144631 w 748195"/>
              <a:gd name="csY99" fmla="*/ 217811 h 2076207"/>
              <a:gd name="csX100" fmla="*/ 201241 w 748195"/>
              <a:gd name="csY100" fmla="*/ 373387 h 2076207"/>
              <a:gd name="csX101" fmla="*/ 235971 w 748195"/>
              <a:gd name="csY101" fmla="*/ 504451 h 2076207"/>
              <a:gd name="csX102" fmla="*/ 247475 w 748195"/>
              <a:gd name="csY102" fmla="*/ 513241 h 2076207"/>
              <a:gd name="csX103" fmla="*/ 289066 w 748195"/>
              <a:gd name="csY103" fmla="*/ 511170 h 2076207"/>
              <a:gd name="csX104" fmla="*/ 378229 w 748195"/>
              <a:gd name="csY104" fmla="*/ 511084 h 2076207"/>
              <a:gd name="csX105" fmla="*/ 470850 w 748195"/>
              <a:gd name="csY105" fmla="*/ 516341 h 2076207"/>
              <a:gd name="csX106" fmla="*/ 492933 w 748195"/>
              <a:gd name="csY106" fmla="*/ 497969 h 2076207"/>
              <a:gd name="csX107" fmla="*/ 557617 w 748195"/>
              <a:gd name="csY107" fmla="*/ 280398 h 2076207"/>
              <a:gd name="csX108" fmla="*/ 588788 w 748195"/>
              <a:gd name="csY108" fmla="*/ 200385 h 2076207"/>
              <a:gd name="csX109" fmla="*/ 530958 w 748195"/>
              <a:gd name="csY109" fmla="*/ 232968 h 2076207"/>
              <a:gd name="csX110" fmla="*/ 483823 w 748195"/>
              <a:gd name="csY110" fmla="*/ 190364 h 2076207"/>
              <a:gd name="csX111" fmla="*/ 466649 w 748195"/>
              <a:gd name="csY111" fmla="*/ 209061 h 2076207"/>
              <a:gd name="csX112" fmla="*/ 399941 w 748195"/>
              <a:gd name="csY112" fmla="*/ 216988 h 2076207"/>
              <a:gd name="csX113" fmla="*/ 363018 w 748195"/>
              <a:gd name="csY113" fmla="*/ 179615 h 2076207"/>
              <a:gd name="csX114" fmla="*/ 308839 w 748195"/>
              <a:gd name="csY114" fmla="*/ 227846 h 2076207"/>
              <a:gd name="csX115" fmla="*/ 245077 w 748195"/>
              <a:gd name="csY115" fmla="*/ 192402 h 2076207"/>
              <a:gd name="csX116" fmla="*/ 242829 w 748195"/>
              <a:gd name="csY116" fmla="*/ 198815 h 2076207"/>
              <a:gd name="csX117" fmla="*/ 168452 w 748195"/>
              <a:gd name="csY117" fmla="*/ 219348 h 2076207"/>
              <a:gd name="csX118" fmla="*/ 140694 w 748195"/>
              <a:gd name="csY118" fmla="*/ 201837 h 2076207"/>
              <a:gd name="csX119" fmla="*/ 259999 w 748195"/>
              <a:gd name="csY119" fmla="*/ 966699 h 2076207"/>
              <a:gd name="csX120" fmla="*/ 257072 w 748195"/>
              <a:gd name="csY120" fmla="*/ 1070424 h 2076207"/>
              <a:gd name="csX121" fmla="*/ 251372 w 748195"/>
              <a:gd name="csY121" fmla="*/ 1157618 h 2076207"/>
              <a:gd name="csX122" fmla="*/ 232677 w 748195"/>
              <a:gd name="csY122" fmla="*/ 1320279 h 2076207"/>
              <a:gd name="csX123" fmla="*/ 209182 w 748195"/>
              <a:gd name="csY123" fmla="*/ 1468667 h 2076207"/>
              <a:gd name="csX124" fmla="*/ 175302 w 748195"/>
              <a:gd name="csY124" fmla="*/ 1616623 h 2076207"/>
              <a:gd name="csX125" fmla="*/ 182769 w 748195"/>
              <a:gd name="csY125" fmla="*/ 1629786 h 2076207"/>
              <a:gd name="csX126" fmla="*/ 212156 w 748195"/>
              <a:gd name="csY126" fmla="*/ 1632656 h 2076207"/>
              <a:gd name="csX127" fmla="*/ 351295 w 748195"/>
              <a:gd name="csY127" fmla="*/ 1632801 h 2076207"/>
              <a:gd name="csX128" fmla="*/ 376150 w 748195"/>
              <a:gd name="csY128" fmla="*/ 1608307 h 2076207"/>
              <a:gd name="csX129" fmla="*/ 373450 w 748195"/>
              <a:gd name="csY129" fmla="*/ 1457291 h 2076207"/>
              <a:gd name="csX130" fmla="*/ 370936 w 748195"/>
              <a:gd name="csY130" fmla="*/ 1342736 h 2076207"/>
              <a:gd name="csX131" fmla="*/ 368328 w 748195"/>
              <a:gd name="csY131" fmla="*/ 1203878 h 2076207"/>
              <a:gd name="csX132" fmla="*/ 367836 w 748195"/>
              <a:gd name="csY132" fmla="*/ 813478 h 2076207"/>
              <a:gd name="csX133" fmla="*/ 365240 w 748195"/>
              <a:gd name="csY133" fmla="*/ 773243 h 2076207"/>
              <a:gd name="csX134" fmla="*/ 353084 w 748195"/>
              <a:gd name="csY134" fmla="*/ 762083 h 2076207"/>
              <a:gd name="csX135" fmla="*/ 280966 w 748195"/>
              <a:gd name="csY135" fmla="*/ 759855 h 2076207"/>
              <a:gd name="csX136" fmla="*/ 259965 w 748195"/>
              <a:gd name="csY136" fmla="*/ 779553 h 2076207"/>
              <a:gd name="csX137" fmla="*/ 262341 w 748195"/>
              <a:gd name="csY137" fmla="*/ 856275 h 2076207"/>
              <a:gd name="csX138" fmla="*/ 259999 w 748195"/>
              <a:gd name="csY138" fmla="*/ 966699 h 2076207"/>
              <a:gd name="csX139" fmla="*/ 55556 w 748195"/>
              <a:gd name="csY139" fmla="*/ 1835827 h 2076207"/>
              <a:gd name="csX140" fmla="*/ 49393 w 748195"/>
              <a:gd name="csY140" fmla="*/ 1878155 h 2076207"/>
              <a:gd name="csX141" fmla="*/ 73949 w 748195"/>
              <a:gd name="csY141" fmla="*/ 1905781 h 2076207"/>
              <a:gd name="csX142" fmla="*/ 110073 w 748195"/>
              <a:gd name="csY142" fmla="*/ 1909068 h 2076207"/>
              <a:gd name="csX143" fmla="*/ 224745 w 748195"/>
              <a:gd name="csY143" fmla="*/ 1921652 h 2076207"/>
              <a:gd name="csX144" fmla="*/ 347327 w 748195"/>
              <a:gd name="csY144" fmla="*/ 1924778 h 2076207"/>
              <a:gd name="csX145" fmla="*/ 363345 w 748195"/>
              <a:gd name="csY145" fmla="*/ 1923293 h 2076207"/>
              <a:gd name="csX146" fmla="*/ 373787 w 748195"/>
              <a:gd name="csY146" fmla="*/ 1911200 h 2076207"/>
              <a:gd name="csX147" fmla="*/ 376623 w 748195"/>
              <a:gd name="csY147" fmla="*/ 1696741 h 2076207"/>
              <a:gd name="csX148" fmla="*/ 360437 w 748195"/>
              <a:gd name="csY148" fmla="*/ 1681289 h 2076207"/>
              <a:gd name="csX149" fmla="*/ 263503 w 748195"/>
              <a:gd name="csY149" fmla="*/ 1678179 h 2076207"/>
              <a:gd name="csX150" fmla="*/ 160381 w 748195"/>
              <a:gd name="csY150" fmla="*/ 1670405 h 2076207"/>
              <a:gd name="csX151" fmla="*/ 143321 w 748195"/>
              <a:gd name="csY151" fmla="*/ 1685538 h 2076207"/>
              <a:gd name="csX152" fmla="*/ 124769 w 748195"/>
              <a:gd name="csY152" fmla="*/ 1738195 h 2076207"/>
              <a:gd name="csX153" fmla="*/ 90593 w 748195"/>
              <a:gd name="csY153" fmla="*/ 1779570 h 2076207"/>
              <a:gd name="csX154" fmla="*/ 55556 w 748195"/>
              <a:gd name="csY154" fmla="*/ 1835827 h 2076207"/>
              <a:gd name="csX155" fmla="*/ 378900 w 748195"/>
              <a:gd name="csY155" fmla="*/ 2007280 h 2076207"/>
              <a:gd name="csX156" fmla="*/ 378887 w 748195"/>
              <a:gd name="csY156" fmla="*/ 1995127 h 2076207"/>
              <a:gd name="csX157" fmla="*/ 359084 w 748195"/>
              <a:gd name="csY157" fmla="*/ 1975964 h 2076207"/>
              <a:gd name="csX158" fmla="*/ 247288 w 748195"/>
              <a:gd name="csY158" fmla="*/ 1973305 h 2076207"/>
              <a:gd name="csX159" fmla="*/ 201692 w 748195"/>
              <a:gd name="csY159" fmla="*/ 1970275 h 2076207"/>
              <a:gd name="csX160" fmla="*/ 57962 w 748195"/>
              <a:gd name="csY160" fmla="*/ 1952648 h 2076207"/>
              <a:gd name="csX161" fmla="*/ 39194 w 748195"/>
              <a:gd name="csY161" fmla="*/ 1963552 h 2076207"/>
              <a:gd name="csX162" fmla="*/ 30066 w 748195"/>
              <a:gd name="csY162" fmla="*/ 2006631 h 2076207"/>
              <a:gd name="csX163" fmla="*/ 40232 w 748195"/>
              <a:gd name="csY163" fmla="*/ 2019486 h 2076207"/>
              <a:gd name="csX164" fmla="*/ 238186 w 748195"/>
              <a:gd name="csY164" fmla="*/ 2046096 h 2076207"/>
              <a:gd name="csX165" fmla="*/ 342155 w 748195"/>
              <a:gd name="csY165" fmla="*/ 2046441 h 2076207"/>
              <a:gd name="csX166" fmla="*/ 378900 w 748195"/>
              <a:gd name="csY166" fmla="*/ 2007280 h 2076207"/>
              <a:gd name="csX167" fmla="*/ 310220 w 748195"/>
              <a:gd name="csY167" fmla="*/ 554288 h 2076207"/>
              <a:gd name="csX168" fmla="*/ 259136 w 748195"/>
              <a:gd name="csY168" fmla="*/ 556881 h 2076207"/>
              <a:gd name="csX169" fmla="*/ 249085 w 748195"/>
              <a:gd name="csY169" fmla="*/ 567981 h 2076207"/>
              <a:gd name="csX170" fmla="*/ 249141 w 748195"/>
              <a:gd name="csY170" fmla="*/ 605644 h 2076207"/>
              <a:gd name="csX171" fmla="*/ 262628 w 748195"/>
              <a:gd name="csY171" fmla="*/ 605627 h 2076207"/>
              <a:gd name="csX172" fmla="*/ 369608 w 748195"/>
              <a:gd name="csY172" fmla="*/ 603027 h 2076207"/>
              <a:gd name="csX173" fmla="*/ 463931 w 748195"/>
              <a:gd name="csY173" fmla="*/ 605146 h 2076207"/>
              <a:gd name="csX174" fmla="*/ 478113 w 748195"/>
              <a:gd name="csY174" fmla="*/ 595843 h 2076207"/>
              <a:gd name="csX175" fmla="*/ 478796 w 748195"/>
              <a:gd name="csY175" fmla="*/ 556832 h 2076207"/>
              <a:gd name="csX176" fmla="*/ 310220 w 748195"/>
              <a:gd name="csY176" fmla="*/ 554288 h 2076207"/>
              <a:gd name="csX177" fmla="*/ 348836 w 748195"/>
              <a:gd name="csY177" fmla="*/ 684115 h 2076207"/>
              <a:gd name="csX178" fmla="*/ 281333 w 748195"/>
              <a:gd name="csY178" fmla="*/ 683313 h 2076207"/>
              <a:gd name="csX179" fmla="*/ 212728 w 748195"/>
              <a:gd name="csY179" fmla="*/ 681931 h 2076207"/>
              <a:gd name="csX180" fmla="*/ 187283 w 748195"/>
              <a:gd name="csY180" fmla="*/ 689555 h 2076207"/>
              <a:gd name="csX181" fmla="*/ 186163 w 748195"/>
              <a:gd name="csY181" fmla="*/ 718266 h 2076207"/>
              <a:gd name="csX182" fmla="*/ 209894 w 748195"/>
              <a:gd name="csY182" fmla="*/ 726798 h 2076207"/>
              <a:gd name="csX183" fmla="*/ 334814 w 748195"/>
              <a:gd name="csY183" fmla="*/ 732494 h 2076207"/>
              <a:gd name="csX184" fmla="*/ 364856 w 748195"/>
              <a:gd name="csY184" fmla="*/ 707963 h 2076207"/>
              <a:gd name="csX185" fmla="*/ 348836 w 748195"/>
              <a:gd name="csY185" fmla="*/ 684115 h 2076207"/>
              <a:gd name="csX186" fmla="*/ 298865 w 748195"/>
              <a:gd name="csY186" fmla="*/ 621954 h 2076207"/>
              <a:gd name="csX187" fmla="*/ 251619 w 748195"/>
              <a:gd name="csY187" fmla="*/ 622133 h 2076207"/>
              <a:gd name="csX188" fmla="*/ 214459 w 748195"/>
              <a:gd name="csY188" fmla="*/ 636230 h 2076207"/>
              <a:gd name="csX189" fmla="*/ 221436 w 748195"/>
              <a:gd name="csY189" fmla="*/ 654205 h 2076207"/>
              <a:gd name="csX190" fmla="*/ 272412 w 748195"/>
              <a:gd name="csY190" fmla="*/ 657250 h 2076207"/>
              <a:gd name="csX191" fmla="*/ 349094 w 748195"/>
              <a:gd name="csY191" fmla="*/ 659282 h 2076207"/>
              <a:gd name="csX192" fmla="*/ 362996 w 748195"/>
              <a:gd name="csY192" fmla="*/ 644234 h 2076207"/>
              <a:gd name="csX193" fmla="*/ 348472 w 748195"/>
              <a:gd name="csY193" fmla="*/ 624649 h 2076207"/>
              <a:gd name="csX194" fmla="*/ 298865 w 748195"/>
              <a:gd name="csY194" fmla="*/ 621954 h 2076207"/>
              <a:gd name="csX195" fmla="*/ 227796 w 748195"/>
              <a:gd name="csY195" fmla="*/ 528000 h 2076207"/>
              <a:gd name="csX196" fmla="*/ 241009 w 748195"/>
              <a:gd name="csY196" fmla="*/ 545897 h 2076207"/>
              <a:gd name="csX197" fmla="*/ 282607 w 748195"/>
              <a:gd name="csY197" fmla="*/ 543480 h 2076207"/>
              <a:gd name="csX198" fmla="*/ 354213 w 748195"/>
              <a:gd name="csY198" fmla="*/ 543384 h 2076207"/>
              <a:gd name="csX199" fmla="*/ 365334 w 748195"/>
              <a:gd name="csY199" fmla="*/ 533397 h 2076207"/>
              <a:gd name="csX200" fmla="*/ 354531 w 748195"/>
              <a:gd name="csY200" fmla="*/ 521620 h 2076207"/>
              <a:gd name="csX201" fmla="*/ 259169 w 748195"/>
              <a:gd name="csY201" fmla="*/ 521978 h 2076207"/>
              <a:gd name="csX202" fmla="*/ 227796 w 748195"/>
              <a:gd name="csY202" fmla="*/ 528000 h 2076207"/>
              <a:gd name="csX203" fmla="*/ 508068 w 748195"/>
              <a:gd name="csY203" fmla="*/ 190710 h 2076207"/>
              <a:gd name="csX204" fmla="*/ 521293 w 748195"/>
              <a:gd name="csY204" fmla="*/ 205907 h 2076207"/>
              <a:gd name="csX205" fmla="*/ 525175 w 748195"/>
              <a:gd name="csY205" fmla="*/ 202985 h 2076207"/>
              <a:gd name="csX206" fmla="*/ 500276 w 748195"/>
              <a:gd name="csY206" fmla="*/ 160640 h 2076207"/>
              <a:gd name="csX207" fmla="*/ 497122 w 748195"/>
              <a:gd name="csY207" fmla="*/ 162007 h 2076207"/>
              <a:gd name="csX208" fmla="*/ 508068 w 748195"/>
              <a:gd name="csY208" fmla="*/ 190710 h 2076207"/>
              <a:gd name="csX209" fmla="*/ 215522 w 748195"/>
              <a:gd name="csY209" fmla="*/ 197296 h 2076207"/>
              <a:gd name="csX210" fmla="*/ 234029 w 748195"/>
              <a:gd name="csY210" fmla="*/ 162725 h 2076207"/>
              <a:gd name="csX211" fmla="*/ 229000 w 748195"/>
              <a:gd name="csY211" fmla="*/ 159902 h 2076207"/>
              <a:gd name="csX212" fmla="*/ 204824 w 748195"/>
              <a:gd name="csY212" fmla="*/ 199677 h 2076207"/>
              <a:gd name="csX213" fmla="*/ 207990 w 748195"/>
              <a:gd name="csY213" fmla="*/ 202198 h 2076207"/>
              <a:gd name="csX214" fmla="*/ 215522 w 748195"/>
              <a:gd name="csY214" fmla="*/ 197296 h 2076207"/>
              <a:gd name="csX215" fmla="*/ 484400 w 748195"/>
              <a:gd name="csY215" fmla="*/ 896678 h 2076207"/>
              <a:gd name="csX216" fmla="*/ 486181 w 748195"/>
              <a:gd name="csY216" fmla="*/ 896585 h 2076207"/>
              <a:gd name="csX217" fmla="*/ 486181 w 748195"/>
              <a:gd name="csY217" fmla="*/ 795289 h 2076207"/>
              <a:gd name="csX218" fmla="*/ 720241 w 748195"/>
              <a:gd name="csY218" fmla="*/ 2030666 h 2076207"/>
              <a:gd name="csX219" fmla="*/ 721175 w 748195"/>
              <a:gd name="csY219" fmla="*/ 2029733 h 2076207"/>
              <a:gd name="csX220" fmla="*/ 720241 w 748195"/>
              <a:gd name="csY220" fmla="*/ 2030666 h 2076207"/>
              <a:gd name="csX221" fmla="*/ 715702 w 748195"/>
              <a:gd name="csY221" fmla="*/ 2037051 h 2076207"/>
              <a:gd name="csX222" fmla="*/ 715702 w 748195"/>
              <a:gd name="csY222" fmla="*/ 2037051 h 2076207"/>
              <a:gd name="csX0" fmla="*/ 96263 w 748195"/>
              <a:gd name="csY0" fmla="*/ 2076207 h 2076207"/>
              <a:gd name="csX1" fmla="*/ 63862 w 748195"/>
              <a:gd name="csY1" fmla="*/ 2065388 h 2076207"/>
              <a:gd name="csX2" fmla="*/ 16555 w 748195"/>
              <a:gd name="csY2" fmla="*/ 2050152 h 2076207"/>
              <a:gd name="csX3" fmla="*/ 15 w 748195"/>
              <a:gd name="csY3" fmla="*/ 2023802 h 2076207"/>
              <a:gd name="csX4" fmla="*/ 18368 w 748195"/>
              <a:gd name="csY4" fmla="*/ 1940709 h 2076207"/>
              <a:gd name="csX5" fmla="*/ 22139 w 748195"/>
              <a:gd name="csY5" fmla="*/ 1907268 h 2076207"/>
              <a:gd name="csX6" fmla="*/ 57941 w 748195"/>
              <a:gd name="csY6" fmla="*/ 1774163 h 2076207"/>
              <a:gd name="csX7" fmla="*/ 102478 w 748195"/>
              <a:gd name="csY7" fmla="*/ 1720275 h 2076207"/>
              <a:gd name="csX8" fmla="*/ 108579 w 748195"/>
              <a:gd name="csY8" fmla="*/ 1650967 h 2076207"/>
              <a:gd name="csX9" fmla="*/ 115628 w 748195"/>
              <a:gd name="csY9" fmla="*/ 1625405 h 2076207"/>
              <a:gd name="csX10" fmla="*/ 156323 w 748195"/>
              <a:gd name="csY10" fmla="*/ 1560181 h 2076207"/>
              <a:gd name="csX11" fmla="*/ 199424 w 748195"/>
              <a:gd name="csY11" fmla="*/ 1364729 h 2076207"/>
              <a:gd name="csX12" fmla="*/ 216779 w 748195"/>
              <a:gd name="csY12" fmla="*/ 1219490 h 2076207"/>
              <a:gd name="csX13" fmla="*/ 229755 w 748195"/>
              <a:gd name="csY13" fmla="*/ 1099357 h 2076207"/>
              <a:gd name="csX14" fmla="*/ 232707 w 748195"/>
              <a:gd name="csY14" fmla="*/ 1056423 h 2076207"/>
              <a:gd name="csX15" fmla="*/ 235622 w 748195"/>
              <a:gd name="csY15" fmla="*/ 952675 h 2076207"/>
              <a:gd name="csX16" fmla="*/ 235445 w 748195"/>
              <a:gd name="csY16" fmla="*/ 780278 h 2076207"/>
              <a:gd name="csX17" fmla="*/ 214544 w 748195"/>
              <a:gd name="csY17" fmla="*/ 756435 h 2076207"/>
              <a:gd name="csX18" fmla="*/ 172569 w 748195"/>
              <a:gd name="csY18" fmla="*/ 742582 h 2076207"/>
              <a:gd name="csX19" fmla="*/ 168784 w 748195"/>
              <a:gd name="csY19" fmla="*/ 669116 h 2076207"/>
              <a:gd name="csX20" fmla="*/ 191657 w 748195"/>
              <a:gd name="csY20" fmla="*/ 630765 h 2076207"/>
              <a:gd name="csX21" fmla="*/ 208150 w 748195"/>
              <a:gd name="csY21" fmla="*/ 609084 h 2076207"/>
              <a:gd name="csX22" fmla="*/ 216756 w 748195"/>
              <a:gd name="csY22" fmla="*/ 558673 h 2076207"/>
              <a:gd name="csX23" fmla="*/ 209092 w 748195"/>
              <a:gd name="csY23" fmla="*/ 521540 h 2076207"/>
              <a:gd name="csX24" fmla="*/ 204683 w 748195"/>
              <a:gd name="csY24" fmla="*/ 474024 h 2076207"/>
              <a:gd name="csX25" fmla="*/ 115483 w 748195"/>
              <a:gd name="csY25" fmla="*/ 213499 h 2076207"/>
              <a:gd name="csX26" fmla="*/ 102909 w 748195"/>
              <a:gd name="csY26" fmla="*/ 182297 h 2076207"/>
              <a:gd name="csX27" fmla="*/ 104315 w 748195"/>
              <a:gd name="csY27" fmla="*/ 163968 h 2076207"/>
              <a:gd name="csX28" fmla="*/ 122444 w 748195"/>
              <a:gd name="csY28" fmla="*/ 160805 h 2076207"/>
              <a:gd name="csX29" fmla="*/ 170283 w 748195"/>
              <a:gd name="csY29" fmla="*/ 187783 h 2076207"/>
              <a:gd name="csX30" fmla="*/ 180938 w 748195"/>
              <a:gd name="csY30" fmla="*/ 195322 h 2076207"/>
              <a:gd name="csX31" fmla="*/ 221419 w 748195"/>
              <a:gd name="csY31" fmla="*/ 138058 h 2076207"/>
              <a:gd name="csX32" fmla="*/ 294099 w 748195"/>
              <a:gd name="csY32" fmla="*/ 91372 h 2076207"/>
              <a:gd name="csX33" fmla="*/ 302307 w 748195"/>
              <a:gd name="csY33" fmla="*/ 76560 h 2076207"/>
              <a:gd name="csX34" fmla="*/ 320284 w 748195"/>
              <a:gd name="csY34" fmla="*/ 8414 h 2076207"/>
              <a:gd name="csX35" fmla="*/ 324784 w 748195"/>
              <a:gd name="csY35" fmla="*/ 946 h 2076207"/>
              <a:gd name="csX36" fmla="*/ 399212 w 748195"/>
              <a:gd name="csY36" fmla="*/ 0 h 2076207"/>
              <a:gd name="csX37" fmla="*/ 425980 w 748195"/>
              <a:gd name="csY37" fmla="*/ 78301 h 2076207"/>
              <a:gd name="csX38" fmla="*/ 431861 w 748195"/>
              <a:gd name="csY38" fmla="*/ 90312 h 2076207"/>
              <a:gd name="csX39" fmla="*/ 540349 w 748195"/>
              <a:gd name="csY39" fmla="*/ 187946 h 2076207"/>
              <a:gd name="csX40" fmla="*/ 545555 w 748195"/>
              <a:gd name="csY40" fmla="*/ 197828 h 2076207"/>
              <a:gd name="csX41" fmla="*/ 587318 w 748195"/>
              <a:gd name="csY41" fmla="*/ 171260 h 2076207"/>
              <a:gd name="csX42" fmla="*/ 601503 w 748195"/>
              <a:gd name="csY42" fmla="*/ 163707 h 2076207"/>
              <a:gd name="csX43" fmla="*/ 625254 w 748195"/>
              <a:gd name="csY43" fmla="*/ 163123 h 2076207"/>
              <a:gd name="csX44" fmla="*/ 625468 w 748195"/>
              <a:gd name="csY44" fmla="*/ 187579 h 2076207"/>
              <a:gd name="csX45" fmla="*/ 597543 w 748195"/>
              <a:gd name="csY45" fmla="*/ 251872 h 2076207"/>
              <a:gd name="csX46" fmla="*/ 531831 w 748195"/>
              <a:gd name="csY46" fmla="*/ 442689 h 2076207"/>
              <a:gd name="csX47" fmla="*/ 519888 w 748195"/>
              <a:gd name="csY47" fmla="*/ 501474 h 2076207"/>
              <a:gd name="csX48" fmla="*/ 522506 w 748195"/>
              <a:gd name="csY48" fmla="*/ 525086 h 2076207"/>
              <a:gd name="csX49" fmla="*/ 516235 w 748195"/>
              <a:gd name="csY49" fmla="*/ 555946 h 2076207"/>
              <a:gd name="csX50" fmla="*/ 521332 w 748195"/>
              <a:gd name="csY50" fmla="*/ 610676 h 2076207"/>
              <a:gd name="csX51" fmla="*/ 541382 w 748195"/>
              <a:gd name="csY51" fmla="*/ 642597 h 2076207"/>
              <a:gd name="csX52" fmla="*/ 557031 w 748195"/>
              <a:gd name="csY52" fmla="*/ 667949 h 2076207"/>
              <a:gd name="csX53" fmla="*/ 553994 w 748195"/>
              <a:gd name="csY53" fmla="*/ 744146 h 2076207"/>
              <a:gd name="csX54" fmla="*/ 508215 w 748195"/>
              <a:gd name="csY54" fmla="*/ 758841 h 2076207"/>
              <a:gd name="csX55" fmla="*/ 497442 w 748195"/>
              <a:gd name="csY55" fmla="*/ 771256 h 2076207"/>
              <a:gd name="csX56" fmla="*/ 493005 w 748195"/>
              <a:gd name="csY56" fmla="*/ 922055 h 2076207"/>
              <a:gd name="csX57" fmla="*/ 502900 w 748195"/>
              <a:gd name="csY57" fmla="*/ 1114191 h 2076207"/>
              <a:gd name="csX58" fmla="*/ 508800 w 748195"/>
              <a:gd name="csY58" fmla="*/ 1205474 h 2076207"/>
              <a:gd name="csX59" fmla="*/ 522952 w 748195"/>
              <a:gd name="csY59" fmla="*/ 1320065 h 2076207"/>
              <a:gd name="csX60" fmla="*/ 554682 w 748195"/>
              <a:gd name="csY60" fmla="*/ 1501203 h 2076207"/>
              <a:gd name="csX61" fmla="*/ 576958 w 748195"/>
              <a:gd name="csY61" fmla="*/ 1593963 h 2076207"/>
              <a:gd name="csX62" fmla="*/ 595349 w 748195"/>
              <a:gd name="csY62" fmla="*/ 1613498 h 2076207"/>
              <a:gd name="csX63" fmla="*/ 613936 w 748195"/>
              <a:gd name="csY63" fmla="*/ 1624058 h 2076207"/>
              <a:gd name="csX64" fmla="*/ 620938 w 748195"/>
              <a:gd name="csY64" fmla="*/ 1652071 h 2076207"/>
              <a:gd name="csX65" fmla="*/ 630805 w 748195"/>
              <a:gd name="csY65" fmla="*/ 1721702 h 2076207"/>
              <a:gd name="csX66" fmla="*/ 685830 w 748195"/>
              <a:gd name="csY66" fmla="*/ 1792915 h 2076207"/>
              <a:gd name="csX67" fmla="*/ 708904 w 748195"/>
              <a:gd name="csY67" fmla="*/ 1890290 h 2076207"/>
              <a:gd name="csX68" fmla="*/ 716580 w 748195"/>
              <a:gd name="csY68" fmla="*/ 1951136 h 2076207"/>
              <a:gd name="csX69" fmla="*/ 729397 w 748195"/>
              <a:gd name="csY69" fmla="*/ 2030261 h 2076207"/>
              <a:gd name="csX70" fmla="*/ 714212 w 748195"/>
              <a:gd name="csY70" fmla="*/ 2049544 h 2076207"/>
              <a:gd name="csX71" fmla="*/ 645428 w 748195"/>
              <a:gd name="csY71" fmla="*/ 2070825 h 2076207"/>
              <a:gd name="csX72" fmla="*/ 667788 w 748195"/>
              <a:gd name="csY72" fmla="*/ 2056852 h 2076207"/>
              <a:gd name="csX73" fmla="*/ 706629 w 748195"/>
              <a:gd name="csY73" fmla="*/ 2044290 h 2076207"/>
              <a:gd name="csX74" fmla="*/ 702674 w 748195"/>
              <a:gd name="csY74" fmla="*/ 2041581 h 2076207"/>
              <a:gd name="csX75" fmla="*/ 96263 w 748195"/>
              <a:gd name="csY75" fmla="*/ 2076207 h 2076207"/>
              <a:gd name="csX76" fmla="*/ 489970 w 748195"/>
              <a:gd name="csY76" fmla="*/ 152208 h 2076207"/>
              <a:gd name="csX77" fmla="*/ 490754 w 748195"/>
              <a:gd name="csY77" fmla="*/ 152592 h 2076207"/>
              <a:gd name="csX78" fmla="*/ 489489 w 748195"/>
              <a:gd name="csY78" fmla="*/ 149547 h 2076207"/>
              <a:gd name="csX79" fmla="*/ 393621 w 748195"/>
              <a:gd name="csY79" fmla="*/ 99259 h 2076207"/>
              <a:gd name="csX80" fmla="*/ 390419 w 748195"/>
              <a:gd name="csY80" fmla="*/ 18568 h 2076207"/>
              <a:gd name="csX81" fmla="*/ 334131 w 748195"/>
              <a:gd name="csY81" fmla="*/ 24327 h 2076207"/>
              <a:gd name="csX82" fmla="*/ 344678 w 748195"/>
              <a:gd name="csY82" fmla="*/ 101259 h 2076207"/>
              <a:gd name="csX83" fmla="*/ 298854 w 748195"/>
              <a:gd name="csY83" fmla="*/ 114003 h 2076207"/>
              <a:gd name="csX84" fmla="*/ 237456 w 748195"/>
              <a:gd name="csY84" fmla="*/ 154340 h 2076207"/>
              <a:gd name="csX85" fmla="*/ 240382 w 748195"/>
              <a:gd name="csY85" fmla="*/ 154035 h 2076207"/>
              <a:gd name="csX86" fmla="*/ 262731 w 748195"/>
              <a:gd name="csY86" fmla="*/ 170426 h 2076207"/>
              <a:gd name="csX87" fmla="*/ 279169 w 748195"/>
              <a:gd name="csY87" fmla="*/ 193173 h 2076207"/>
              <a:gd name="csX88" fmla="*/ 327717 w 748195"/>
              <a:gd name="csY88" fmla="*/ 188556 h 2076207"/>
              <a:gd name="csX89" fmla="*/ 348052 w 748195"/>
              <a:gd name="csY89" fmla="*/ 156919 h 2076207"/>
              <a:gd name="csX90" fmla="*/ 380330 w 748195"/>
              <a:gd name="csY90" fmla="*/ 156483 h 2076207"/>
              <a:gd name="csX91" fmla="*/ 408490 w 748195"/>
              <a:gd name="csY91" fmla="*/ 195400 h 2076207"/>
              <a:gd name="csX92" fmla="*/ 445346 w 748195"/>
              <a:gd name="csY92" fmla="*/ 197582 h 2076207"/>
              <a:gd name="csX93" fmla="*/ 464798 w 748195"/>
              <a:gd name="csY93" fmla="*/ 174107 h 2076207"/>
              <a:gd name="csX94" fmla="*/ 489970 w 748195"/>
              <a:gd name="csY94" fmla="*/ 152208 h 2076207"/>
              <a:gd name="csX95" fmla="*/ 140694 w 748195"/>
              <a:gd name="csY95" fmla="*/ 201837 h 2076207"/>
              <a:gd name="csX96" fmla="*/ 139834 w 748195"/>
              <a:gd name="csY96" fmla="*/ 201482 h 2076207"/>
              <a:gd name="csX97" fmla="*/ 140812 w 748195"/>
              <a:gd name="csY97" fmla="*/ 204941 h 2076207"/>
              <a:gd name="csX98" fmla="*/ 144631 w 748195"/>
              <a:gd name="csY98" fmla="*/ 217811 h 2076207"/>
              <a:gd name="csX99" fmla="*/ 201241 w 748195"/>
              <a:gd name="csY99" fmla="*/ 373387 h 2076207"/>
              <a:gd name="csX100" fmla="*/ 235971 w 748195"/>
              <a:gd name="csY100" fmla="*/ 504451 h 2076207"/>
              <a:gd name="csX101" fmla="*/ 247475 w 748195"/>
              <a:gd name="csY101" fmla="*/ 513241 h 2076207"/>
              <a:gd name="csX102" fmla="*/ 289066 w 748195"/>
              <a:gd name="csY102" fmla="*/ 511170 h 2076207"/>
              <a:gd name="csX103" fmla="*/ 378229 w 748195"/>
              <a:gd name="csY103" fmla="*/ 511084 h 2076207"/>
              <a:gd name="csX104" fmla="*/ 470850 w 748195"/>
              <a:gd name="csY104" fmla="*/ 516341 h 2076207"/>
              <a:gd name="csX105" fmla="*/ 492933 w 748195"/>
              <a:gd name="csY105" fmla="*/ 497969 h 2076207"/>
              <a:gd name="csX106" fmla="*/ 557617 w 748195"/>
              <a:gd name="csY106" fmla="*/ 280398 h 2076207"/>
              <a:gd name="csX107" fmla="*/ 588788 w 748195"/>
              <a:gd name="csY107" fmla="*/ 200385 h 2076207"/>
              <a:gd name="csX108" fmla="*/ 530958 w 748195"/>
              <a:gd name="csY108" fmla="*/ 232968 h 2076207"/>
              <a:gd name="csX109" fmla="*/ 483823 w 748195"/>
              <a:gd name="csY109" fmla="*/ 190364 h 2076207"/>
              <a:gd name="csX110" fmla="*/ 466649 w 748195"/>
              <a:gd name="csY110" fmla="*/ 209061 h 2076207"/>
              <a:gd name="csX111" fmla="*/ 399941 w 748195"/>
              <a:gd name="csY111" fmla="*/ 216988 h 2076207"/>
              <a:gd name="csX112" fmla="*/ 363018 w 748195"/>
              <a:gd name="csY112" fmla="*/ 179615 h 2076207"/>
              <a:gd name="csX113" fmla="*/ 308839 w 748195"/>
              <a:gd name="csY113" fmla="*/ 227846 h 2076207"/>
              <a:gd name="csX114" fmla="*/ 245077 w 748195"/>
              <a:gd name="csY114" fmla="*/ 192402 h 2076207"/>
              <a:gd name="csX115" fmla="*/ 242829 w 748195"/>
              <a:gd name="csY115" fmla="*/ 198815 h 2076207"/>
              <a:gd name="csX116" fmla="*/ 168452 w 748195"/>
              <a:gd name="csY116" fmla="*/ 219348 h 2076207"/>
              <a:gd name="csX117" fmla="*/ 140694 w 748195"/>
              <a:gd name="csY117" fmla="*/ 201837 h 2076207"/>
              <a:gd name="csX118" fmla="*/ 259999 w 748195"/>
              <a:gd name="csY118" fmla="*/ 966699 h 2076207"/>
              <a:gd name="csX119" fmla="*/ 257072 w 748195"/>
              <a:gd name="csY119" fmla="*/ 1070424 h 2076207"/>
              <a:gd name="csX120" fmla="*/ 251372 w 748195"/>
              <a:gd name="csY120" fmla="*/ 1157618 h 2076207"/>
              <a:gd name="csX121" fmla="*/ 232677 w 748195"/>
              <a:gd name="csY121" fmla="*/ 1320279 h 2076207"/>
              <a:gd name="csX122" fmla="*/ 209182 w 748195"/>
              <a:gd name="csY122" fmla="*/ 1468667 h 2076207"/>
              <a:gd name="csX123" fmla="*/ 175302 w 748195"/>
              <a:gd name="csY123" fmla="*/ 1616623 h 2076207"/>
              <a:gd name="csX124" fmla="*/ 182769 w 748195"/>
              <a:gd name="csY124" fmla="*/ 1629786 h 2076207"/>
              <a:gd name="csX125" fmla="*/ 212156 w 748195"/>
              <a:gd name="csY125" fmla="*/ 1632656 h 2076207"/>
              <a:gd name="csX126" fmla="*/ 351295 w 748195"/>
              <a:gd name="csY126" fmla="*/ 1632801 h 2076207"/>
              <a:gd name="csX127" fmla="*/ 376150 w 748195"/>
              <a:gd name="csY127" fmla="*/ 1608307 h 2076207"/>
              <a:gd name="csX128" fmla="*/ 373450 w 748195"/>
              <a:gd name="csY128" fmla="*/ 1457291 h 2076207"/>
              <a:gd name="csX129" fmla="*/ 370936 w 748195"/>
              <a:gd name="csY129" fmla="*/ 1342736 h 2076207"/>
              <a:gd name="csX130" fmla="*/ 368328 w 748195"/>
              <a:gd name="csY130" fmla="*/ 1203878 h 2076207"/>
              <a:gd name="csX131" fmla="*/ 367836 w 748195"/>
              <a:gd name="csY131" fmla="*/ 813478 h 2076207"/>
              <a:gd name="csX132" fmla="*/ 365240 w 748195"/>
              <a:gd name="csY132" fmla="*/ 773243 h 2076207"/>
              <a:gd name="csX133" fmla="*/ 353084 w 748195"/>
              <a:gd name="csY133" fmla="*/ 762083 h 2076207"/>
              <a:gd name="csX134" fmla="*/ 280966 w 748195"/>
              <a:gd name="csY134" fmla="*/ 759855 h 2076207"/>
              <a:gd name="csX135" fmla="*/ 259965 w 748195"/>
              <a:gd name="csY135" fmla="*/ 779553 h 2076207"/>
              <a:gd name="csX136" fmla="*/ 262341 w 748195"/>
              <a:gd name="csY136" fmla="*/ 856275 h 2076207"/>
              <a:gd name="csX137" fmla="*/ 259999 w 748195"/>
              <a:gd name="csY137" fmla="*/ 966699 h 2076207"/>
              <a:gd name="csX138" fmla="*/ 55556 w 748195"/>
              <a:gd name="csY138" fmla="*/ 1835827 h 2076207"/>
              <a:gd name="csX139" fmla="*/ 49393 w 748195"/>
              <a:gd name="csY139" fmla="*/ 1878155 h 2076207"/>
              <a:gd name="csX140" fmla="*/ 73949 w 748195"/>
              <a:gd name="csY140" fmla="*/ 1905781 h 2076207"/>
              <a:gd name="csX141" fmla="*/ 110073 w 748195"/>
              <a:gd name="csY141" fmla="*/ 1909068 h 2076207"/>
              <a:gd name="csX142" fmla="*/ 224745 w 748195"/>
              <a:gd name="csY142" fmla="*/ 1921652 h 2076207"/>
              <a:gd name="csX143" fmla="*/ 347327 w 748195"/>
              <a:gd name="csY143" fmla="*/ 1924778 h 2076207"/>
              <a:gd name="csX144" fmla="*/ 363345 w 748195"/>
              <a:gd name="csY144" fmla="*/ 1923293 h 2076207"/>
              <a:gd name="csX145" fmla="*/ 373787 w 748195"/>
              <a:gd name="csY145" fmla="*/ 1911200 h 2076207"/>
              <a:gd name="csX146" fmla="*/ 376623 w 748195"/>
              <a:gd name="csY146" fmla="*/ 1696741 h 2076207"/>
              <a:gd name="csX147" fmla="*/ 360437 w 748195"/>
              <a:gd name="csY147" fmla="*/ 1681289 h 2076207"/>
              <a:gd name="csX148" fmla="*/ 263503 w 748195"/>
              <a:gd name="csY148" fmla="*/ 1678179 h 2076207"/>
              <a:gd name="csX149" fmla="*/ 160381 w 748195"/>
              <a:gd name="csY149" fmla="*/ 1670405 h 2076207"/>
              <a:gd name="csX150" fmla="*/ 143321 w 748195"/>
              <a:gd name="csY150" fmla="*/ 1685538 h 2076207"/>
              <a:gd name="csX151" fmla="*/ 124769 w 748195"/>
              <a:gd name="csY151" fmla="*/ 1738195 h 2076207"/>
              <a:gd name="csX152" fmla="*/ 90593 w 748195"/>
              <a:gd name="csY152" fmla="*/ 1779570 h 2076207"/>
              <a:gd name="csX153" fmla="*/ 55556 w 748195"/>
              <a:gd name="csY153" fmla="*/ 1835827 h 2076207"/>
              <a:gd name="csX154" fmla="*/ 378900 w 748195"/>
              <a:gd name="csY154" fmla="*/ 2007280 h 2076207"/>
              <a:gd name="csX155" fmla="*/ 378887 w 748195"/>
              <a:gd name="csY155" fmla="*/ 1995127 h 2076207"/>
              <a:gd name="csX156" fmla="*/ 359084 w 748195"/>
              <a:gd name="csY156" fmla="*/ 1975964 h 2076207"/>
              <a:gd name="csX157" fmla="*/ 247288 w 748195"/>
              <a:gd name="csY157" fmla="*/ 1973305 h 2076207"/>
              <a:gd name="csX158" fmla="*/ 201692 w 748195"/>
              <a:gd name="csY158" fmla="*/ 1970275 h 2076207"/>
              <a:gd name="csX159" fmla="*/ 57962 w 748195"/>
              <a:gd name="csY159" fmla="*/ 1952648 h 2076207"/>
              <a:gd name="csX160" fmla="*/ 39194 w 748195"/>
              <a:gd name="csY160" fmla="*/ 1963552 h 2076207"/>
              <a:gd name="csX161" fmla="*/ 30066 w 748195"/>
              <a:gd name="csY161" fmla="*/ 2006631 h 2076207"/>
              <a:gd name="csX162" fmla="*/ 40232 w 748195"/>
              <a:gd name="csY162" fmla="*/ 2019486 h 2076207"/>
              <a:gd name="csX163" fmla="*/ 238186 w 748195"/>
              <a:gd name="csY163" fmla="*/ 2046096 h 2076207"/>
              <a:gd name="csX164" fmla="*/ 342155 w 748195"/>
              <a:gd name="csY164" fmla="*/ 2046441 h 2076207"/>
              <a:gd name="csX165" fmla="*/ 378900 w 748195"/>
              <a:gd name="csY165" fmla="*/ 2007280 h 2076207"/>
              <a:gd name="csX166" fmla="*/ 310220 w 748195"/>
              <a:gd name="csY166" fmla="*/ 554288 h 2076207"/>
              <a:gd name="csX167" fmla="*/ 259136 w 748195"/>
              <a:gd name="csY167" fmla="*/ 556881 h 2076207"/>
              <a:gd name="csX168" fmla="*/ 249085 w 748195"/>
              <a:gd name="csY168" fmla="*/ 567981 h 2076207"/>
              <a:gd name="csX169" fmla="*/ 249141 w 748195"/>
              <a:gd name="csY169" fmla="*/ 605644 h 2076207"/>
              <a:gd name="csX170" fmla="*/ 262628 w 748195"/>
              <a:gd name="csY170" fmla="*/ 605627 h 2076207"/>
              <a:gd name="csX171" fmla="*/ 369608 w 748195"/>
              <a:gd name="csY171" fmla="*/ 603027 h 2076207"/>
              <a:gd name="csX172" fmla="*/ 463931 w 748195"/>
              <a:gd name="csY172" fmla="*/ 605146 h 2076207"/>
              <a:gd name="csX173" fmla="*/ 478113 w 748195"/>
              <a:gd name="csY173" fmla="*/ 595843 h 2076207"/>
              <a:gd name="csX174" fmla="*/ 478796 w 748195"/>
              <a:gd name="csY174" fmla="*/ 556832 h 2076207"/>
              <a:gd name="csX175" fmla="*/ 310220 w 748195"/>
              <a:gd name="csY175" fmla="*/ 554288 h 2076207"/>
              <a:gd name="csX176" fmla="*/ 348836 w 748195"/>
              <a:gd name="csY176" fmla="*/ 684115 h 2076207"/>
              <a:gd name="csX177" fmla="*/ 281333 w 748195"/>
              <a:gd name="csY177" fmla="*/ 683313 h 2076207"/>
              <a:gd name="csX178" fmla="*/ 212728 w 748195"/>
              <a:gd name="csY178" fmla="*/ 681931 h 2076207"/>
              <a:gd name="csX179" fmla="*/ 187283 w 748195"/>
              <a:gd name="csY179" fmla="*/ 689555 h 2076207"/>
              <a:gd name="csX180" fmla="*/ 186163 w 748195"/>
              <a:gd name="csY180" fmla="*/ 718266 h 2076207"/>
              <a:gd name="csX181" fmla="*/ 209894 w 748195"/>
              <a:gd name="csY181" fmla="*/ 726798 h 2076207"/>
              <a:gd name="csX182" fmla="*/ 334814 w 748195"/>
              <a:gd name="csY182" fmla="*/ 732494 h 2076207"/>
              <a:gd name="csX183" fmla="*/ 364856 w 748195"/>
              <a:gd name="csY183" fmla="*/ 707963 h 2076207"/>
              <a:gd name="csX184" fmla="*/ 348836 w 748195"/>
              <a:gd name="csY184" fmla="*/ 684115 h 2076207"/>
              <a:gd name="csX185" fmla="*/ 298865 w 748195"/>
              <a:gd name="csY185" fmla="*/ 621954 h 2076207"/>
              <a:gd name="csX186" fmla="*/ 251619 w 748195"/>
              <a:gd name="csY186" fmla="*/ 622133 h 2076207"/>
              <a:gd name="csX187" fmla="*/ 214459 w 748195"/>
              <a:gd name="csY187" fmla="*/ 636230 h 2076207"/>
              <a:gd name="csX188" fmla="*/ 221436 w 748195"/>
              <a:gd name="csY188" fmla="*/ 654205 h 2076207"/>
              <a:gd name="csX189" fmla="*/ 272412 w 748195"/>
              <a:gd name="csY189" fmla="*/ 657250 h 2076207"/>
              <a:gd name="csX190" fmla="*/ 349094 w 748195"/>
              <a:gd name="csY190" fmla="*/ 659282 h 2076207"/>
              <a:gd name="csX191" fmla="*/ 362996 w 748195"/>
              <a:gd name="csY191" fmla="*/ 644234 h 2076207"/>
              <a:gd name="csX192" fmla="*/ 348472 w 748195"/>
              <a:gd name="csY192" fmla="*/ 624649 h 2076207"/>
              <a:gd name="csX193" fmla="*/ 298865 w 748195"/>
              <a:gd name="csY193" fmla="*/ 621954 h 2076207"/>
              <a:gd name="csX194" fmla="*/ 227796 w 748195"/>
              <a:gd name="csY194" fmla="*/ 528000 h 2076207"/>
              <a:gd name="csX195" fmla="*/ 241009 w 748195"/>
              <a:gd name="csY195" fmla="*/ 545897 h 2076207"/>
              <a:gd name="csX196" fmla="*/ 282607 w 748195"/>
              <a:gd name="csY196" fmla="*/ 543480 h 2076207"/>
              <a:gd name="csX197" fmla="*/ 354213 w 748195"/>
              <a:gd name="csY197" fmla="*/ 543384 h 2076207"/>
              <a:gd name="csX198" fmla="*/ 365334 w 748195"/>
              <a:gd name="csY198" fmla="*/ 533397 h 2076207"/>
              <a:gd name="csX199" fmla="*/ 354531 w 748195"/>
              <a:gd name="csY199" fmla="*/ 521620 h 2076207"/>
              <a:gd name="csX200" fmla="*/ 259169 w 748195"/>
              <a:gd name="csY200" fmla="*/ 521978 h 2076207"/>
              <a:gd name="csX201" fmla="*/ 227796 w 748195"/>
              <a:gd name="csY201" fmla="*/ 528000 h 2076207"/>
              <a:gd name="csX202" fmla="*/ 508068 w 748195"/>
              <a:gd name="csY202" fmla="*/ 190710 h 2076207"/>
              <a:gd name="csX203" fmla="*/ 521293 w 748195"/>
              <a:gd name="csY203" fmla="*/ 205907 h 2076207"/>
              <a:gd name="csX204" fmla="*/ 525175 w 748195"/>
              <a:gd name="csY204" fmla="*/ 202985 h 2076207"/>
              <a:gd name="csX205" fmla="*/ 500276 w 748195"/>
              <a:gd name="csY205" fmla="*/ 160640 h 2076207"/>
              <a:gd name="csX206" fmla="*/ 497122 w 748195"/>
              <a:gd name="csY206" fmla="*/ 162007 h 2076207"/>
              <a:gd name="csX207" fmla="*/ 508068 w 748195"/>
              <a:gd name="csY207" fmla="*/ 190710 h 2076207"/>
              <a:gd name="csX208" fmla="*/ 215522 w 748195"/>
              <a:gd name="csY208" fmla="*/ 197296 h 2076207"/>
              <a:gd name="csX209" fmla="*/ 234029 w 748195"/>
              <a:gd name="csY209" fmla="*/ 162725 h 2076207"/>
              <a:gd name="csX210" fmla="*/ 229000 w 748195"/>
              <a:gd name="csY210" fmla="*/ 159902 h 2076207"/>
              <a:gd name="csX211" fmla="*/ 204824 w 748195"/>
              <a:gd name="csY211" fmla="*/ 199677 h 2076207"/>
              <a:gd name="csX212" fmla="*/ 207990 w 748195"/>
              <a:gd name="csY212" fmla="*/ 202198 h 2076207"/>
              <a:gd name="csX213" fmla="*/ 215522 w 748195"/>
              <a:gd name="csY213" fmla="*/ 197296 h 2076207"/>
              <a:gd name="csX214" fmla="*/ 484400 w 748195"/>
              <a:gd name="csY214" fmla="*/ 896678 h 2076207"/>
              <a:gd name="csX215" fmla="*/ 486181 w 748195"/>
              <a:gd name="csY215" fmla="*/ 896585 h 2076207"/>
              <a:gd name="csX216" fmla="*/ 486181 w 748195"/>
              <a:gd name="csY216" fmla="*/ 795289 h 2076207"/>
              <a:gd name="csX217" fmla="*/ 720241 w 748195"/>
              <a:gd name="csY217" fmla="*/ 2030666 h 2076207"/>
              <a:gd name="csX218" fmla="*/ 721175 w 748195"/>
              <a:gd name="csY218" fmla="*/ 2029733 h 2076207"/>
              <a:gd name="csX219" fmla="*/ 720241 w 748195"/>
              <a:gd name="csY219" fmla="*/ 2030666 h 2076207"/>
              <a:gd name="csX220" fmla="*/ 715702 w 748195"/>
              <a:gd name="csY220" fmla="*/ 2037051 h 2076207"/>
              <a:gd name="csX221" fmla="*/ 715702 w 748195"/>
              <a:gd name="csY221" fmla="*/ 2037051 h 2076207"/>
              <a:gd name="csX0" fmla="*/ 96263 w 748195"/>
              <a:gd name="csY0" fmla="*/ 2076207 h 2076207"/>
              <a:gd name="csX1" fmla="*/ 63862 w 748195"/>
              <a:gd name="csY1" fmla="*/ 2065388 h 2076207"/>
              <a:gd name="csX2" fmla="*/ 16555 w 748195"/>
              <a:gd name="csY2" fmla="*/ 2050152 h 2076207"/>
              <a:gd name="csX3" fmla="*/ 15 w 748195"/>
              <a:gd name="csY3" fmla="*/ 2023802 h 2076207"/>
              <a:gd name="csX4" fmla="*/ 18368 w 748195"/>
              <a:gd name="csY4" fmla="*/ 1940709 h 2076207"/>
              <a:gd name="csX5" fmla="*/ 22139 w 748195"/>
              <a:gd name="csY5" fmla="*/ 1907268 h 2076207"/>
              <a:gd name="csX6" fmla="*/ 57941 w 748195"/>
              <a:gd name="csY6" fmla="*/ 1774163 h 2076207"/>
              <a:gd name="csX7" fmla="*/ 102478 w 748195"/>
              <a:gd name="csY7" fmla="*/ 1720275 h 2076207"/>
              <a:gd name="csX8" fmla="*/ 108579 w 748195"/>
              <a:gd name="csY8" fmla="*/ 1650967 h 2076207"/>
              <a:gd name="csX9" fmla="*/ 115628 w 748195"/>
              <a:gd name="csY9" fmla="*/ 1625405 h 2076207"/>
              <a:gd name="csX10" fmla="*/ 156323 w 748195"/>
              <a:gd name="csY10" fmla="*/ 1560181 h 2076207"/>
              <a:gd name="csX11" fmla="*/ 199424 w 748195"/>
              <a:gd name="csY11" fmla="*/ 1364729 h 2076207"/>
              <a:gd name="csX12" fmla="*/ 216779 w 748195"/>
              <a:gd name="csY12" fmla="*/ 1219490 h 2076207"/>
              <a:gd name="csX13" fmla="*/ 229755 w 748195"/>
              <a:gd name="csY13" fmla="*/ 1099357 h 2076207"/>
              <a:gd name="csX14" fmla="*/ 232707 w 748195"/>
              <a:gd name="csY14" fmla="*/ 1056423 h 2076207"/>
              <a:gd name="csX15" fmla="*/ 235622 w 748195"/>
              <a:gd name="csY15" fmla="*/ 952675 h 2076207"/>
              <a:gd name="csX16" fmla="*/ 235445 w 748195"/>
              <a:gd name="csY16" fmla="*/ 780278 h 2076207"/>
              <a:gd name="csX17" fmla="*/ 214544 w 748195"/>
              <a:gd name="csY17" fmla="*/ 756435 h 2076207"/>
              <a:gd name="csX18" fmla="*/ 172569 w 748195"/>
              <a:gd name="csY18" fmla="*/ 742582 h 2076207"/>
              <a:gd name="csX19" fmla="*/ 168784 w 748195"/>
              <a:gd name="csY19" fmla="*/ 669116 h 2076207"/>
              <a:gd name="csX20" fmla="*/ 191657 w 748195"/>
              <a:gd name="csY20" fmla="*/ 630765 h 2076207"/>
              <a:gd name="csX21" fmla="*/ 208150 w 748195"/>
              <a:gd name="csY21" fmla="*/ 609084 h 2076207"/>
              <a:gd name="csX22" fmla="*/ 216756 w 748195"/>
              <a:gd name="csY22" fmla="*/ 558673 h 2076207"/>
              <a:gd name="csX23" fmla="*/ 209092 w 748195"/>
              <a:gd name="csY23" fmla="*/ 521540 h 2076207"/>
              <a:gd name="csX24" fmla="*/ 204683 w 748195"/>
              <a:gd name="csY24" fmla="*/ 474024 h 2076207"/>
              <a:gd name="csX25" fmla="*/ 115483 w 748195"/>
              <a:gd name="csY25" fmla="*/ 213499 h 2076207"/>
              <a:gd name="csX26" fmla="*/ 102909 w 748195"/>
              <a:gd name="csY26" fmla="*/ 182297 h 2076207"/>
              <a:gd name="csX27" fmla="*/ 104315 w 748195"/>
              <a:gd name="csY27" fmla="*/ 163968 h 2076207"/>
              <a:gd name="csX28" fmla="*/ 122444 w 748195"/>
              <a:gd name="csY28" fmla="*/ 160805 h 2076207"/>
              <a:gd name="csX29" fmla="*/ 170283 w 748195"/>
              <a:gd name="csY29" fmla="*/ 187783 h 2076207"/>
              <a:gd name="csX30" fmla="*/ 180938 w 748195"/>
              <a:gd name="csY30" fmla="*/ 195322 h 2076207"/>
              <a:gd name="csX31" fmla="*/ 221419 w 748195"/>
              <a:gd name="csY31" fmla="*/ 138058 h 2076207"/>
              <a:gd name="csX32" fmla="*/ 294099 w 748195"/>
              <a:gd name="csY32" fmla="*/ 91372 h 2076207"/>
              <a:gd name="csX33" fmla="*/ 302307 w 748195"/>
              <a:gd name="csY33" fmla="*/ 76560 h 2076207"/>
              <a:gd name="csX34" fmla="*/ 320284 w 748195"/>
              <a:gd name="csY34" fmla="*/ 8414 h 2076207"/>
              <a:gd name="csX35" fmla="*/ 324784 w 748195"/>
              <a:gd name="csY35" fmla="*/ 946 h 2076207"/>
              <a:gd name="csX36" fmla="*/ 399212 w 748195"/>
              <a:gd name="csY36" fmla="*/ 0 h 2076207"/>
              <a:gd name="csX37" fmla="*/ 425980 w 748195"/>
              <a:gd name="csY37" fmla="*/ 78301 h 2076207"/>
              <a:gd name="csX38" fmla="*/ 431861 w 748195"/>
              <a:gd name="csY38" fmla="*/ 90312 h 2076207"/>
              <a:gd name="csX39" fmla="*/ 540349 w 748195"/>
              <a:gd name="csY39" fmla="*/ 187946 h 2076207"/>
              <a:gd name="csX40" fmla="*/ 545555 w 748195"/>
              <a:gd name="csY40" fmla="*/ 197828 h 2076207"/>
              <a:gd name="csX41" fmla="*/ 587318 w 748195"/>
              <a:gd name="csY41" fmla="*/ 171260 h 2076207"/>
              <a:gd name="csX42" fmla="*/ 601503 w 748195"/>
              <a:gd name="csY42" fmla="*/ 163707 h 2076207"/>
              <a:gd name="csX43" fmla="*/ 625254 w 748195"/>
              <a:gd name="csY43" fmla="*/ 163123 h 2076207"/>
              <a:gd name="csX44" fmla="*/ 625468 w 748195"/>
              <a:gd name="csY44" fmla="*/ 187579 h 2076207"/>
              <a:gd name="csX45" fmla="*/ 597543 w 748195"/>
              <a:gd name="csY45" fmla="*/ 251872 h 2076207"/>
              <a:gd name="csX46" fmla="*/ 531831 w 748195"/>
              <a:gd name="csY46" fmla="*/ 442689 h 2076207"/>
              <a:gd name="csX47" fmla="*/ 519888 w 748195"/>
              <a:gd name="csY47" fmla="*/ 501474 h 2076207"/>
              <a:gd name="csX48" fmla="*/ 522506 w 748195"/>
              <a:gd name="csY48" fmla="*/ 525086 h 2076207"/>
              <a:gd name="csX49" fmla="*/ 516235 w 748195"/>
              <a:gd name="csY49" fmla="*/ 555946 h 2076207"/>
              <a:gd name="csX50" fmla="*/ 521332 w 748195"/>
              <a:gd name="csY50" fmla="*/ 610676 h 2076207"/>
              <a:gd name="csX51" fmla="*/ 541382 w 748195"/>
              <a:gd name="csY51" fmla="*/ 642597 h 2076207"/>
              <a:gd name="csX52" fmla="*/ 557031 w 748195"/>
              <a:gd name="csY52" fmla="*/ 667949 h 2076207"/>
              <a:gd name="csX53" fmla="*/ 553994 w 748195"/>
              <a:gd name="csY53" fmla="*/ 744146 h 2076207"/>
              <a:gd name="csX54" fmla="*/ 508215 w 748195"/>
              <a:gd name="csY54" fmla="*/ 758841 h 2076207"/>
              <a:gd name="csX55" fmla="*/ 497442 w 748195"/>
              <a:gd name="csY55" fmla="*/ 771256 h 2076207"/>
              <a:gd name="csX56" fmla="*/ 493005 w 748195"/>
              <a:gd name="csY56" fmla="*/ 922055 h 2076207"/>
              <a:gd name="csX57" fmla="*/ 502900 w 748195"/>
              <a:gd name="csY57" fmla="*/ 1114191 h 2076207"/>
              <a:gd name="csX58" fmla="*/ 508800 w 748195"/>
              <a:gd name="csY58" fmla="*/ 1205474 h 2076207"/>
              <a:gd name="csX59" fmla="*/ 522952 w 748195"/>
              <a:gd name="csY59" fmla="*/ 1320065 h 2076207"/>
              <a:gd name="csX60" fmla="*/ 554682 w 748195"/>
              <a:gd name="csY60" fmla="*/ 1501203 h 2076207"/>
              <a:gd name="csX61" fmla="*/ 576958 w 748195"/>
              <a:gd name="csY61" fmla="*/ 1593963 h 2076207"/>
              <a:gd name="csX62" fmla="*/ 595349 w 748195"/>
              <a:gd name="csY62" fmla="*/ 1613498 h 2076207"/>
              <a:gd name="csX63" fmla="*/ 613936 w 748195"/>
              <a:gd name="csY63" fmla="*/ 1624058 h 2076207"/>
              <a:gd name="csX64" fmla="*/ 620938 w 748195"/>
              <a:gd name="csY64" fmla="*/ 1652071 h 2076207"/>
              <a:gd name="csX65" fmla="*/ 630805 w 748195"/>
              <a:gd name="csY65" fmla="*/ 1721702 h 2076207"/>
              <a:gd name="csX66" fmla="*/ 685830 w 748195"/>
              <a:gd name="csY66" fmla="*/ 1792915 h 2076207"/>
              <a:gd name="csX67" fmla="*/ 708904 w 748195"/>
              <a:gd name="csY67" fmla="*/ 1890290 h 2076207"/>
              <a:gd name="csX68" fmla="*/ 716580 w 748195"/>
              <a:gd name="csY68" fmla="*/ 1951136 h 2076207"/>
              <a:gd name="csX69" fmla="*/ 729397 w 748195"/>
              <a:gd name="csY69" fmla="*/ 2030261 h 2076207"/>
              <a:gd name="csX70" fmla="*/ 714212 w 748195"/>
              <a:gd name="csY70" fmla="*/ 2049544 h 2076207"/>
              <a:gd name="csX71" fmla="*/ 667788 w 748195"/>
              <a:gd name="csY71" fmla="*/ 2056852 h 2076207"/>
              <a:gd name="csX72" fmla="*/ 706629 w 748195"/>
              <a:gd name="csY72" fmla="*/ 2044290 h 2076207"/>
              <a:gd name="csX73" fmla="*/ 702674 w 748195"/>
              <a:gd name="csY73" fmla="*/ 2041581 h 2076207"/>
              <a:gd name="csX74" fmla="*/ 96263 w 748195"/>
              <a:gd name="csY74" fmla="*/ 2076207 h 2076207"/>
              <a:gd name="csX75" fmla="*/ 489970 w 748195"/>
              <a:gd name="csY75" fmla="*/ 152208 h 2076207"/>
              <a:gd name="csX76" fmla="*/ 490754 w 748195"/>
              <a:gd name="csY76" fmla="*/ 152592 h 2076207"/>
              <a:gd name="csX77" fmla="*/ 489489 w 748195"/>
              <a:gd name="csY77" fmla="*/ 149547 h 2076207"/>
              <a:gd name="csX78" fmla="*/ 393621 w 748195"/>
              <a:gd name="csY78" fmla="*/ 99259 h 2076207"/>
              <a:gd name="csX79" fmla="*/ 390419 w 748195"/>
              <a:gd name="csY79" fmla="*/ 18568 h 2076207"/>
              <a:gd name="csX80" fmla="*/ 334131 w 748195"/>
              <a:gd name="csY80" fmla="*/ 24327 h 2076207"/>
              <a:gd name="csX81" fmla="*/ 344678 w 748195"/>
              <a:gd name="csY81" fmla="*/ 101259 h 2076207"/>
              <a:gd name="csX82" fmla="*/ 298854 w 748195"/>
              <a:gd name="csY82" fmla="*/ 114003 h 2076207"/>
              <a:gd name="csX83" fmla="*/ 237456 w 748195"/>
              <a:gd name="csY83" fmla="*/ 154340 h 2076207"/>
              <a:gd name="csX84" fmla="*/ 240382 w 748195"/>
              <a:gd name="csY84" fmla="*/ 154035 h 2076207"/>
              <a:gd name="csX85" fmla="*/ 262731 w 748195"/>
              <a:gd name="csY85" fmla="*/ 170426 h 2076207"/>
              <a:gd name="csX86" fmla="*/ 279169 w 748195"/>
              <a:gd name="csY86" fmla="*/ 193173 h 2076207"/>
              <a:gd name="csX87" fmla="*/ 327717 w 748195"/>
              <a:gd name="csY87" fmla="*/ 188556 h 2076207"/>
              <a:gd name="csX88" fmla="*/ 348052 w 748195"/>
              <a:gd name="csY88" fmla="*/ 156919 h 2076207"/>
              <a:gd name="csX89" fmla="*/ 380330 w 748195"/>
              <a:gd name="csY89" fmla="*/ 156483 h 2076207"/>
              <a:gd name="csX90" fmla="*/ 408490 w 748195"/>
              <a:gd name="csY90" fmla="*/ 195400 h 2076207"/>
              <a:gd name="csX91" fmla="*/ 445346 w 748195"/>
              <a:gd name="csY91" fmla="*/ 197582 h 2076207"/>
              <a:gd name="csX92" fmla="*/ 464798 w 748195"/>
              <a:gd name="csY92" fmla="*/ 174107 h 2076207"/>
              <a:gd name="csX93" fmla="*/ 489970 w 748195"/>
              <a:gd name="csY93" fmla="*/ 152208 h 2076207"/>
              <a:gd name="csX94" fmla="*/ 140694 w 748195"/>
              <a:gd name="csY94" fmla="*/ 201837 h 2076207"/>
              <a:gd name="csX95" fmla="*/ 139834 w 748195"/>
              <a:gd name="csY95" fmla="*/ 201482 h 2076207"/>
              <a:gd name="csX96" fmla="*/ 140812 w 748195"/>
              <a:gd name="csY96" fmla="*/ 204941 h 2076207"/>
              <a:gd name="csX97" fmla="*/ 144631 w 748195"/>
              <a:gd name="csY97" fmla="*/ 217811 h 2076207"/>
              <a:gd name="csX98" fmla="*/ 201241 w 748195"/>
              <a:gd name="csY98" fmla="*/ 373387 h 2076207"/>
              <a:gd name="csX99" fmla="*/ 235971 w 748195"/>
              <a:gd name="csY99" fmla="*/ 504451 h 2076207"/>
              <a:gd name="csX100" fmla="*/ 247475 w 748195"/>
              <a:gd name="csY100" fmla="*/ 513241 h 2076207"/>
              <a:gd name="csX101" fmla="*/ 289066 w 748195"/>
              <a:gd name="csY101" fmla="*/ 511170 h 2076207"/>
              <a:gd name="csX102" fmla="*/ 378229 w 748195"/>
              <a:gd name="csY102" fmla="*/ 511084 h 2076207"/>
              <a:gd name="csX103" fmla="*/ 470850 w 748195"/>
              <a:gd name="csY103" fmla="*/ 516341 h 2076207"/>
              <a:gd name="csX104" fmla="*/ 492933 w 748195"/>
              <a:gd name="csY104" fmla="*/ 497969 h 2076207"/>
              <a:gd name="csX105" fmla="*/ 557617 w 748195"/>
              <a:gd name="csY105" fmla="*/ 280398 h 2076207"/>
              <a:gd name="csX106" fmla="*/ 588788 w 748195"/>
              <a:gd name="csY106" fmla="*/ 200385 h 2076207"/>
              <a:gd name="csX107" fmla="*/ 530958 w 748195"/>
              <a:gd name="csY107" fmla="*/ 232968 h 2076207"/>
              <a:gd name="csX108" fmla="*/ 483823 w 748195"/>
              <a:gd name="csY108" fmla="*/ 190364 h 2076207"/>
              <a:gd name="csX109" fmla="*/ 466649 w 748195"/>
              <a:gd name="csY109" fmla="*/ 209061 h 2076207"/>
              <a:gd name="csX110" fmla="*/ 399941 w 748195"/>
              <a:gd name="csY110" fmla="*/ 216988 h 2076207"/>
              <a:gd name="csX111" fmla="*/ 363018 w 748195"/>
              <a:gd name="csY111" fmla="*/ 179615 h 2076207"/>
              <a:gd name="csX112" fmla="*/ 308839 w 748195"/>
              <a:gd name="csY112" fmla="*/ 227846 h 2076207"/>
              <a:gd name="csX113" fmla="*/ 245077 w 748195"/>
              <a:gd name="csY113" fmla="*/ 192402 h 2076207"/>
              <a:gd name="csX114" fmla="*/ 242829 w 748195"/>
              <a:gd name="csY114" fmla="*/ 198815 h 2076207"/>
              <a:gd name="csX115" fmla="*/ 168452 w 748195"/>
              <a:gd name="csY115" fmla="*/ 219348 h 2076207"/>
              <a:gd name="csX116" fmla="*/ 140694 w 748195"/>
              <a:gd name="csY116" fmla="*/ 201837 h 2076207"/>
              <a:gd name="csX117" fmla="*/ 259999 w 748195"/>
              <a:gd name="csY117" fmla="*/ 966699 h 2076207"/>
              <a:gd name="csX118" fmla="*/ 257072 w 748195"/>
              <a:gd name="csY118" fmla="*/ 1070424 h 2076207"/>
              <a:gd name="csX119" fmla="*/ 251372 w 748195"/>
              <a:gd name="csY119" fmla="*/ 1157618 h 2076207"/>
              <a:gd name="csX120" fmla="*/ 232677 w 748195"/>
              <a:gd name="csY120" fmla="*/ 1320279 h 2076207"/>
              <a:gd name="csX121" fmla="*/ 209182 w 748195"/>
              <a:gd name="csY121" fmla="*/ 1468667 h 2076207"/>
              <a:gd name="csX122" fmla="*/ 175302 w 748195"/>
              <a:gd name="csY122" fmla="*/ 1616623 h 2076207"/>
              <a:gd name="csX123" fmla="*/ 182769 w 748195"/>
              <a:gd name="csY123" fmla="*/ 1629786 h 2076207"/>
              <a:gd name="csX124" fmla="*/ 212156 w 748195"/>
              <a:gd name="csY124" fmla="*/ 1632656 h 2076207"/>
              <a:gd name="csX125" fmla="*/ 351295 w 748195"/>
              <a:gd name="csY125" fmla="*/ 1632801 h 2076207"/>
              <a:gd name="csX126" fmla="*/ 376150 w 748195"/>
              <a:gd name="csY126" fmla="*/ 1608307 h 2076207"/>
              <a:gd name="csX127" fmla="*/ 373450 w 748195"/>
              <a:gd name="csY127" fmla="*/ 1457291 h 2076207"/>
              <a:gd name="csX128" fmla="*/ 370936 w 748195"/>
              <a:gd name="csY128" fmla="*/ 1342736 h 2076207"/>
              <a:gd name="csX129" fmla="*/ 368328 w 748195"/>
              <a:gd name="csY129" fmla="*/ 1203878 h 2076207"/>
              <a:gd name="csX130" fmla="*/ 367836 w 748195"/>
              <a:gd name="csY130" fmla="*/ 813478 h 2076207"/>
              <a:gd name="csX131" fmla="*/ 365240 w 748195"/>
              <a:gd name="csY131" fmla="*/ 773243 h 2076207"/>
              <a:gd name="csX132" fmla="*/ 353084 w 748195"/>
              <a:gd name="csY132" fmla="*/ 762083 h 2076207"/>
              <a:gd name="csX133" fmla="*/ 280966 w 748195"/>
              <a:gd name="csY133" fmla="*/ 759855 h 2076207"/>
              <a:gd name="csX134" fmla="*/ 259965 w 748195"/>
              <a:gd name="csY134" fmla="*/ 779553 h 2076207"/>
              <a:gd name="csX135" fmla="*/ 262341 w 748195"/>
              <a:gd name="csY135" fmla="*/ 856275 h 2076207"/>
              <a:gd name="csX136" fmla="*/ 259999 w 748195"/>
              <a:gd name="csY136" fmla="*/ 966699 h 2076207"/>
              <a:gd name="csX137" fmla="*/ 55556 w 748195"/>
              <a:gd name="csY137" fmla="*/ 1835827 h 2076207"/>
              <a:gd name="csX138" fmla="*/ 49393 w 748195"/>
              <a:gd name="csY138" fmla="*/ 1878155 h 2076207"/>
              <a:gd name="csX139" fmla="*/ 73949 w 748195"/>
              <a:gd name="csY139" fmla="*/ 1905781 h 2076207"/>
              <a:gd name="csX140" fmla="*/ 110073 w 748195"/>
              <a:gd name="csY140" fmla="*/ 1909068 h 2076207"/>
              <a:gd name="csX141" fmla="*/ 224745 w 748195"/>
              <a:gd name="csY141" fmla="*/ 1921652 h 2076207"/>
              <a:gd name="csX142" fmla="*/ 347327 w 748195"/>
              <a:gd name="csY142" fmla="*/ 1924778 h 2076207"/>
              <a:gd name="csX143" fmla="*/ 363345 w 748195"/>
              <a:gd name="csY143" fmla="*/ 1923293 h 2076207"/>
              <a:gd name="csX144" fmla="*/ 373787 w 748195"/>
              <a:gd name="csY144" fmla="*/ 1911200 h 2076207"/>
              <a:gd name="csX145" fmla="*/ 376623 w 748195"/>
              <a:gd name="csY145" fmla="*/ 1696741 h 2076207"/>
              <a:gd name="csX146" fmla="*/ 360437 w 748195"/>
              <a:gd name="csY146" fmla="*/ 1681289 h 2076207"/>
              <a:gd name="csX147" fmla="*/ 263503 w 748195"/>
              <a:gd name="csY147" fmla="*/ 1678179 h 2076207"/>
              <a:gd name="csX148" fmla="*/ 160381 w 748195"/>
              <a:gd name="csY148" fmla="*/ 1670405 h 2076207"/>
              <a:gd name="csX149" fmla="*/ 143321 w 748195"/>
              <a:gd name="csY149" fmla="*/ 1685538 h 2076207"/>
              <a:gd name="csX150" fmla="*/ 124769 w 748195"/>
              <a:gd name="csY150" fmla="*/ 1738195 h 2076207"/>
              <a:gd name="csX151" fmla="*/ 90593 w 748195"/>
              <a:gd name="csY151" fmla="*/ 1779570 h 2076207"/>
              <a:gd name="csX152" fmla="*/ 55556 w 748195"/>
              <a:gd name="csY152" fmla="*/ 1835827 h 2076207"/>
              <a:gd name="csX153" fmla="*/ 378900 w 748195"/>
              <a:gd name="csY153" fmla="*/ 2007280 h 2076207"/>
              <a:gd name="csX154" fmla="*/ 378887 w 748195"/>
              <a:gd name="csY154" fmla="*/ 1995127 h 2076207"/>
              <a:gd name="csX155" fmla="*/ 359084 w 748195"/>
              <a:gd name="csY155" fmla="*/ 1975964 h 2076207"/>
              <a:gd name="csX156" fmla="*/ 247288 w 748195"/>
              <a:gd name="csY156" fmla="*/ 1973305 h 2076207"/>
              <a:gd name="csX157" fmla="*/ 201692 w 748195"/>
              <a:gd name="csY157" fmla="*/ 1970275 h 2076207"/>
              <a:gd name="csX158" fmla="*/ 57962 w 748195"/>
              <a:gd name="csY158" fmla="*/ 1952648 h 2076207"/>
              <a:gd name="csX159" fmla="*/ 39194 w 748195"/>
              <a:gd name="csY159" fmla="*/ 1963552 h 2076207"/>
              <a:gd name="csX160" fmla="*/ 30066 w 748195"/>
              <a:gd name="csY160" fmla="*/ 2006631 h 2076207"/>
              <a:gd name="csX161" fmla="*/ 40232 w 748195"/>
              <a:gd name="csY161" fmla="*/ 2019486 h 2076207"/>
              <a:gd name="csX162" fmla="*/ 238186 w 748195"/>
              <a:gd name="csY162" fmla="*/ 2046096 h 2076207"/>
              <a:gd name="csX163" fmla="*/ 342155 w 748195"/>
              <a:gd name="csY163" fmla="*/ 2046441 h 2076207"/>
              <a:gd name="csX164" fmla="*/ 378900 w 748195"/>
              <a:gd name="csY164" fmla="*/ 2007280 h 2076207"/>
              <a:gd name="csX165" fmla="*/ 310220 w 748195"/>
              <a:gd name="csY165" fmla="*/ 554288 h 2076207"/>
              <a:gd name="csX166" fmla="*/ 259136 w 748195"/>
              <a:gd name="csY166" fmla="*/ 556881 h 2076207"/>
              <a:gd name="csX167" fmla="*/ 249085 w 748195"/>
              <a:gd name="csY167" fmla="*/ 567981 h 2076207"/>
              <a:gd name="csX168" fmla="*/ 249141 w 748195"/>
              <a:gd name="csY168" fmla="*/ 605644 h 2076207"/>
              <a:gd name="csX169" fmla="*/ 262628 w 748195"/>
              <a:gd name="csY169" fmla="*/ 605627 h 2076207"/>
              <a:gd name="csX170" fmla="*/ 369608 w 748195"/>
              <a:gd name="csY170" fmla="*/ 603027 h 2076207"/>
              <a:gd name="csX171" fmla="*/ 463931 w 748195"/>
              <a:gd name="csY171" fmla="*/ 605146 h 2076207"/>
              <a:gd name="csX172" fmla="*/ 478113 w 748195"/>
              <a:gd name="csY172" fmla="*/ 595843 h 2076207"/>
              <a:gd name="csX173" fmla="*/ 478796 w 748195"/>
              <a:gd name="csY173" fmla="*/ 556832 h 2076207"/>
              <a:gd name="csX174" fmla="*/ 310220 w 748195"/>
              <a:gd name="csY174" fmla="*/ 554288 h 2076207"/>
              <a:gd name="csX175" fmla="*/ 348836 w 748195"/>
              <a:gd name="csY175" fmla="*/ 684115 h 2076207"/>
              <a:gd name="csX176" fmla="*/ 281333 w 748195"/>
              <a:gd name="csY176" fmla="*/ 683313 h 2076207"/>
              <a:gd name="csX177" fmla="*/ 212728 w 748195"/>
              <a:gd name="csY177" fmla="*/ 681931 h 2076207"/>
              <a:gd name="csX178" fmla="*/ 187283 w 748195"/>
              <a:gd name="csY178" fmla="*/ 689555 h 2076207"/>
              <a:gd name="csX179" fmla="*/ 186163 w 748195"/>
              <a:gd name="csY179" fmla="*/ 718266 h 2076207"/>
              <a:gd name="csX180" fmla="*/ 209894 w 748195"/>
              <a:gd name="csY180" fmla="*/ 726798 h 2076207"/>
              <a:gd name="csX181" fmla="*/ 334814 w 748195"/>
              <a:gd name="csY181" fmla="*/ 732494 h 2076207"/>
              <a:gd name="csX182" fmla="*/ 364856 w 748195"/>
              <a:gd name="csY182" fmla="*/ 707963 h 2076207"/>
              <a:gd name="csX183" fmla="*/ 348836 w 748195"/>
              <a:gd name="csY183" fmla="*/ 684115 h 2076207"/>
              <a:gd name="csX184" fmla="*/ 298865 w 748195"/>
              <a:gd name="csY184" fmla="*/ 621954 h 2076207"/>
              <a:gd name="csX185" fmla="*/ 251619 w 748195"/>
              <a:gd name="csY185" fmla="*/ 622133 h 2076207"/>
              <a:gd name="csX186" fmla="*/ 214459 w 748195"/>
              <a:gd name="csY186" fmla="*/ 636230 h 2076207"/>
              <a:gd name="csX187" fmla="*/ 221436 w 748195"/>
              <a:gd name="csY187" fmla="*/ 654205 h 2076207"/>
              <a:gd name="csX188" fmla="*/ 272412 w 748195"/>
              <a:gd name="csY188" fmla="*/ 657250 h 2076207"/>
              <a:gd name="csX189" fmla="*/ 349094 w 748195"/>
              <a:gd name="csY189" fmla="*/ 659282 h 2076207"/>
              <a:gd name="csX190" fmla="*/ 362996 w 748195"/>
              <a:gd name="csY190" fmla="*/ 644234 h 2076207"/>
              <a:gd name="csX191" fmla="*/ 348472 w 748195"/>
              <a:gd name="csY191" fmla="*/ 624649 h 2076207"/>
              <a:gd name="csX192" fmla="*/ 298865 w 748195"/>
              <a:gd name="csY192" fmla="*/ 621954 h 2076207"/>
              <a:gd name="csX193" fmla="*/ 227796 w 748195"/>
              <a:gd name="csY193" fmla="*/ 528000 h 2076207"/>
              <a:gd name="csX194" fmla="*/ 241009 w 748195"/>
              <a:gd name="csY194" fmla="*/ 545897 h 2076207"/>
              <a:gd name="csX195" fmla="*/ 282607 w 748195"/>
              <a:gd name="csY195" fmla="*/ 543480 h 2076207"/>
              <a:gd name="csX196" fmla="*/ 354213 w 748195"/>
              <a:gd name="csY196" fmla="*/ 543384 h 2076207"/>
              <a:gd name="csX197" fmla="*/ 365334 w 748195"/>
              <a:gd name="csY197" fmla="*/ 533397 h 2076207"/>
              <a:gd name="csX198" fmla="*/ 354531 w 748195"/>
              <a:gd name="csY198" fmla="*/ 521620 h 2076207"/>
              <a:gd name="csX199" fmla="*/ 259169 w 748195"/>
              <a:gd name="csY199" fmla="*/ 521978 h 2076207"/>
              <a:gd name="csX200" fmla="*/ 227796 w 748195"/>
              <a:gd name="csY200" fmla="*/ 528000 h 2076207"/>
              <a:gd name="csX201" fmla="*/ 508068 w 748195"/>
              <a:gd name="csY201" fmla="*/ 190710 h 2076207"/>
              <a:gd name="csX202" fmla="*/ 521293 w 748195"/>
              <a:gd name="csY202" fmla="*/ 205907 h 2076207"/>
              <a:gd name="csX203" fmla="*/ 525175 w 748195"/>
              <a:gd name="csY203" fmla="*/ 202985 h 2076207"/>
              <a:gd name="csX204" fmla="*/ 500276 w 748195"/>
              <a:gd name="csY204" fmla="*/ 160640 h 2076207"/>
              <a:gd name="csX205" fmla="*/ 497122 w 748195"/>
              <a:gd name="csY205" fmla="*/ 162007 h 2076207"/>
              <a:gd name="csX206" fmla="*/ 508068 w 748195"/>
              <a:gd name="csY206" fmla="*/ 190710 h 2076207"/>
              <a:gd name="csX207" fmla="*/ 215522 w 748195"/>
              <a:gd name="csY207" fmla="*/ 197296 h 2076207"/>
              <a:gd name="csX208" fmla="*/ 234029 w 748195"/>
              <a:gd name="csY208" fmla="*/ 162725 h 2076207"/>
              <a:gd name="csX209" fmla="*/ 229000 w 748195"/>
              <a:gd name="csY209" fmla="*/ 159902 h 2076207"/>
              <a:gd name="csX210" fmla="*/ 204824 w 748195"/>
              <a:gd name="csY210" fmla="*/ 199677 h 2076207"/>
              <a:gd name="csX211" fmla="*/ 207990 w 748195"/>
              <a:gd name="csY211" fmla="*/ 202198 h 2076207"/>
              <a:gd name="csX212" fmla="*/ 215522 w 748195"/>
              <a:gd name="csY212" fmla="*/ 197296 h 2076207"/>
              <a:gd name="csX213" fmla="*/ 484400 w 748195"/>
              <a:gd name="csY213" fmla="*/ 896678 h 2076207"/>
              <a:gd name="csX214" fmla="*/ 486181 w 748195"/>
              <a:gd name="csY214" fmla="*/ 896585 h 2076207"/>
              <a:gd name="csX215" fmla="*/ 486181 w 748195"/>
              <a:gd name="csY215" fmla="*/ 795289 h 2076207"/>
              <a:gd name="csX216" fmla="*/ 720241 w 748195"/>
              <a:gd name="csY216" fmla="*/ 2030666 h 2076207"/>
              <a:gd name="csX217" fmla="*/ 721175 w 748195"/>
              <a:gd name="csY217" fmla="*/ 2029733 h 2076207"/>
              <a:gd name="csX218" fmla="*/ 720241 w 748195"/>
              <a:gd name="csY218" fmla="*/ 2030666 h 2076207"/>
              <a:gd name="csX219" fmla="*/ 715702 w 748195"/>
              <a:gd name="csY219" fmla="*/ 2037051 h 2076207"/>
              <a:gd name="csX220" fmla="*/ 715702 w 748195"/>
              <a:gd name="csY220" fmla="*/ 2037051 h 2076207"/>
              <a:gd name="csX0" fmla="*/ 96263 w 748195"/>
              <a:gd name="csY0" fmla="*/ 2076207 h 2076207"/>
              <a:gd name="csX1" fmla="*/ 63862 w 748195"/>
              <a:gd name="csY1" fmla="*/ 2065388 h 2076207"/>
              <a:gd name="csX2" fmla="*/ 16555 w 748195"/>
              <a:gd name="csY2" fmla="*/ 2050152 h 2076207"/>
              <a:gd name="csX3" fmla="*/ 15 w 748195"/>
              <a:gd name="csY3" fmla="*/ 2023802 h 2076207"/>
              <a:gd name="csX4" fmla="*/ 18368 w 748195"/>
              <a:gd name="csY4" fmla="*/ 1940709 h 2076207"/>
              <a:gd name="csX5" fmla="*/ 22139 w 748195"/>
              <a:gd name="csY5" fmla="*/ 1907268 h 2076207"/>
              <a:gd name="csX6" fmla="*/ 57941 w 748195"/>
              <a:gd name="csY6" fmla="*/ 1774163 h 2076207"/>
              <a:gd name="csX7" fmla="*/ 102478 w 748195"/>
              <a:gd name="csY7" fmla="*/ 1720275 h 2076207"/>
              <a:gd name="csX8" fmla="*/ 108579 w 748195"/>
              <a:gd name="csY8" fmla="*/ 1650967 h 2076207"/>
              <a:gd name="csX9" fmla="*/ 115628 w 748195"/>
              <a:gd name="csY9" fmla="*/ 1625405 h 2076207"/>
              <a:gd name="csX10" fmla="*/ 156323 w 748195"/>
              <a:gd name="csY10" fmla="*/ 1560181 h 2076207"/>
              <a:gd name="csX11" fmla="*/ 199424 w 748195"/>
              <a:gd name="csY11" fmla="*/ 1364729 h 2076207"/>
              <a:gd name="csX12" fmla="*/ 216779 w 748195"/>
              <a:gd name="csY12" fmla="*/ 1219490 h 2076207"/>
              <a:gd name="csX13" fmla="*/ 229755 w 748195"/>
              <a:gd name="csY13" fmla="*/ 1099357 h 2076207"/>
              <a:gd name="csX14" fmla="*/ 232707 w 748195"/>
              <a:gd name="csY14" fmla="*/ 1056423 h 2076207"/>
              <a:gd name="csX15" fmla="*/ 235622 w 748195"/>
              <a:gd name="csY15" fmla="*/ 952675 h 2076207"/>
              <a:gd name="csX16" fmla="*/ 235445 w 748195"/>
              <a:gd name="csY16" fmla="*/ 780278 h 2076207"/>
              <a:gd name="csX17" fmla="*/ 214544 w 748195"/>
              <a:gd name="csY17" fmla="*/ 756435 h 2076207"/>
              <a:gd name="csX18" fmla="*/ 172569 w 748195"/>
              <a:gd name="csY18" fmla="*/ 742582 h 2076207"/>
              <a:gd name="csX19" fmla="*/ 168784 w 748195"/>
              <a:gd name="csY19" fmla="*/ 669116 h 2076207"/>
              <a:gd name="csX20" fmla="*/ 191657 w 748195"/>
              <a:gd name="csY20" fmla="*/ 630765 h 2076207"/>
              <a:gd name="csX21" fmla="*/ 208150 w 748195"/>
              <a:gd name="csY21" fmla="*/ 609084 h 2076207"/>
              <a:gd name="csX22" fmla="*/ 216756 w 748195"/>
              <a:gd name="csY22" fmla="*/ 558673 h 2076207"/>
              <a:gd name="csX23" fmla="*/ 209092 w 748195"/>
              <a:gd name="csY23" fmla="*/ 521540 h 2076207"/>
              <a:gd name="csX24" fmla="*/ 204683 w 748195"/>
              <a:gd name="csY24" fmla="*/ 474024 h 2076207"/>
              <a:gd name="csX25" fmla="*/ 115483 w 748195"/>
              <a:gd name="csY25" fmla="*/ 213499 h 2076207"/>
              <a:gd name="csX26" fmla="*/ 102909 w 748195"/>
              <a:gd name="csY26" fmla="*/ 182297 h 2076207"/>
              <a:gd name="csX27" fmla="*/ 104315 w 748195"/>
              <a:gd name="csY27" fmla="*/ 163968 h 2076207"/>
              <a:gd name="csX28" fmla="*/ 122444 w 748195"/>
              <a:gd name="csY28" fmla="*/ 160805 h 2076207"/>
              <a:gd name="csX29" fmla="*/ 170283 w 748195"/>
              <a:gd name="csY29" fmla="*/ 187783 h 2076207"/>
              <a:gd name="csX30" fmla="*/ 180938 w 748195"/>
              <a:gd name="csY30" fmla="*/ 195322 h 2076207"/>
              <a:gd name="csX31" fmla="*/ 221419 w 748195"/>
              <a:gd name="csY31" fmla="*/ 138058 h 2076207"/>
              <a:gd name="csX32" fmla="*/ 294099 w 748195"/>
              <a:gd name="csY32" fmla="*/ 91372 h 2076207"/>
              <a:gd name="csX33" fmla="*/ 302307 w 748195"/>
              <a:gd name="csY33" fmla="*/ 76560 h 2076207"/>
              <a:gd name="csX34" fmla="*/ 320284 w 748195"/>
              <a:gd name="csY34" fmla="*/ 8414 h 2076207"/>
              <a:gd name="csX35" fmla="*/ 324784 w 748195"/>
              <a:gd name="csY35" fmla="*/ 946 h 2076207"/>
              <a:gd name="csX36" fmla="*/ 399212 w 748195"/>
              <a:gd name="csY36" fmla="*/ 0 h 2076207"/>
              <a:gd name="csX37" fmla="*/ 425980 w 748195"/>
              <a:gd name="csY37" fmla="*/ 78301 h 2076207"/>
              <a:gd name="csX38" fmla="*/ 431861 w 748195"/>
              <a:gd name="csY38" fmla="*/ 90312 h 2076207"/>
              <a:gd name="csX39" fmla="*/ 540349 w 748195"/>
              <a:gd name="csY39" fmla="*/ 187946 h 2076207"/>
              <a:gd name="csX40" fmla="*/ 545555 w 748195"/>
              <a:gd name="csY40" fmla="*/ 197828 h 2076207"/>
              <a:gd name="csX41" fmla="*/ 587318 w 748195"/>
              <a:gd name="csY41" fmla="*/ 171260 h 2076207"/>
              <a:gd name="csX42" fmla="*/ 601503 w 748195"/>
              <a:gd name="csY42" fmla="*/ 163707 h 2076207"/>
              <a:gd name="csX43" fmla="*/ 625254 w 748195"/>
              <a:gd name="csY43" fmla="*/ 163123 h 2076207"/>
              <a:gd name="csX44" fmla="*/ 625468 w 748195"/>
              <a:gd name="csY44" fmla="*/ 187579 h 2076207"/>
              <a:gd name="csX45" fmla="*/ 597543 w 748195"/>
              <a:gd name="csY45" fmla="*/ 251872 h 2076207"/>
              <a:gd name="csX46" fmla="*/ 531831 w 748195"/>
              <a:gd name="csY46" fmla="*/ 442689 h 2076207"/>
              <a:gd name="csX47" fmla="*/ 519888 w 748195"/>
              <a:gd name="csY47" fmla="*/ 501474 h 2076207"/>
              <a:gd name="csX48" fmla="*/ 522506 w 748195"/>
              <a:gd name="csY48" fmla="*/ 525086 h 2076207"/>
              <a:gd name="csX49" fmla="*/ 516235 w 748195"/>
              <a:gd name="csY49" fmla="*/ 555946 h 2076207"/>
              <a:gd name="csX50" fmla="*/ 521332 w 748195"/>
              <a:gd name="csY50" fmla="*/ 610676 h 2076207"/>
              <a:gd name="csX51" fmla="*/ 541382 w 748195"/>
              <a:gd name="csY51" fmla="*/ 642597 h 2076207"/>
              <a:gd name="csX52" fmla="*/ 557031 w 748195"/>
              <a:gd name="csY52" fmla="*/ 667949 h 2076207"/>
              <a:gd name="csX53" fmla="*/ 553994 w 748195"/>
              <a:gd name="csY53" fmla="*/ 744146 h 2076207"/>
              <a:gd name="csX54" fmla="*/ 508215 w 748195"/>
              <a:gd name="csY54" fmla="*/ 758841 h 2076207"/>
              <a:gd name="csX55" fmla="*/ 497442 w 748195"/>
              <a:gd name="csY55" fmla="*/ 771256 h 2076207"/>
              <a:gd name="csX56" fmla="*/ 493005 w 748195"/>
              <a:gd name="csY56" fmla="*/ 922055 h 2076207"/>
              <a:gd name="csX57" fmla="*/ 502900 w 748195"/>
              <a:gd name="csY57" fmla="*/ 1114191 h 2076207"/>
              <a:gd name="csX58" fmla="*/ 508800 w 748195"/>
              <a:gd name="csY58" fmla="*/ 1205474 h 2076207"/>
              <a:gd name="csX59" fmla="*/ 522952 w 748195"/>
              <a:gd name="csY59" fmla="*/ 1320065 h 2076207"/>
              <a:gd name="csX60" fmla="*/ 554682 w 748195"/>
              <a:gd name="csY60" fmla="*/ 1501203 h 2076207"/>
              <a:gd name="csX61" fmla="*/ 576958 w 748195"/>
              <a:gd name="csY61" fmla="*/ 1593963 h 2076207"/>
              <a:gd name="csX62" fmla="*/ 595349 w 748195"/>
              <a:gd name="csY62" fmla="*/ 1613498 h 2076207"/>
              <a:gd name="csX63" fmla="*/ 613936 w 748195"/>
              <a:gd name="csY63" fmla="*/ 1624058 h 2076207"/>
              <a:gd name="csX64" fmla="*/ 620938 w 748195"/>
              <a:gd name="csY64" fmla="*/ 1652071 h 2076207"/>
              <a:gd name="csX65" fmla="*/ 630805 w 748195"/>
              <a:gd name="csY65" fmla="*/ 1721702 h 2076207"/>
              <a:gd name="csX66" fmla="*/ 685830 w 748195"/>
              <a:gd name="csY66" fmla="*/ 1792915 h 2076207"/>
              <a:gd name="csX67" fmla="*/ 708904 w 748195"/>
              <a:gd name="csY67" fmla="*/ 1890290 h 2076207"/>
              <a:gd name="csX68" fmla="*/ 716580 w 748195"/>
              <a:gd name="csY68" fmla="*/ 1951136 h 2076207"/>
              <a:gd name="csX69" fmla="*/ 729397 w 748195"/>
              <a:gd name="csY69" fmla="*/ 2030261 h 2076207"/>
              <a:gd name="csX70" fmla="*/ 714212 w 748195"/>
              <a:gd name="csY70" fmla="*/ 2049544 h 2076207"/>
              <a:gd name="csX71" fmla="*/ 706629 w 748195"/>
              <a:gd name="csY71" fmla="*/ 2044290 h 2076207"/>
              <a:gd name="csX72" fmla="*/ 702674 w 748195"/>
              <a:gd name="csY72" fmla="*/ 2041581 h 2076207"/>
              <a:gd name="csX73" fmla="*/ 96263 w 748195"/>
              <a:gd name="csY73" fmla="*/ 2076207 h 2076207"/>
              <a:gd name="csX74" fmla="*/ 489970 w 748195"/>
              <a:gd name="csY74" fmla="*/ 152208 h 2076207"/>
              <a:gd name="csX75" fmla="*/ 490754 w 748195"/>
              <a:gd name="csY75" fmla="*/ 152592 h 2076207"/>
              <a:gd name="csX76" fmla="*/ 489489 w 748195"/>
              <a:gd name="csY76" fmla="*/ 149547 h 2076207"/>
              <a:gd name="csX77" fmla="*/ 393621 w 748195"/>
              <a:gd name="csY77" fmla="*/ 99259 h 2076207"/>
              <a:gd name="csX78" fmla="*/ 390419 w 748195"/>
              <a:gd name="csY78" fmla="*/ 18568 h 2076207"/>
              <a:gd name="csX79" fmla="*/ 334131 w 748195"/>
              <a:gd name="csY79" fmla="*/ 24327 h 2076207"/>
              <a:gd name="csX80" fmla="*/ 344678 w 748195"/>
              <a:gd name="csY80" fmla="*/ 101259 h 2076207"/>
              <a:gd name="csX81" fmla="*/ 298854 w 748195"/>
              <a:gd name="csY81" fmla="*/ 114003 h 2076207"/>
              <a:gd name="csX82" fmla="*/ 237456 w 748195"/>
              <a:gd name="csY82" fmla="*/ 154340 h 2076207"/>
              <a:gd name="csX83" fmla="*/ 240382 w 748195"/>
              <a:gd name="csY83" fmla="*/ 154035 h 2076207"/>
              <a:gd name="csX84" fmla="*/ 262731 w 748195"/>
              <a:gd name="csY84" fmla="*/ 170426 h 2076207"/>
              <a:gd name="csX85" fmla="*/ 279169 w 748195"/>
              <a:gd name="csY85" fmla="*/ 193173 h 2076207"/>
              <a:gd name="csX86" fmla="*/ 327717 w 748195"/>
              <a:gd name="csY86" fmla="*/ 188556 h 2076207"/>
              <a:gd name="csX87" fmla="*/ 348052 w 748195"/>
              <a:gd name="csY87" fmla="*/ 156919 h 2076207"/>
              <a:gd name="csX88" fmla="*/ 380330 w 748195"/>
              <a:gd name="csY88" fmla="*/ 156483 h 2076207"/>
              <a:gd name="csX89" fmla="*/ 408490 w 748195"/>
              <a:gd name="csY89" fmla="*/ 195400 h 2076207"/>
              <a:gd name="csX90" fmla="*/ 445346 w 748195"/>
              <a:gd name="csY90" fmla="*/ 197582 h 2076207"/>
              <a:gd name="csX91" fmla="*/ 464798 w 748195"/>
              <a:gd name="csY91" fmla="*/ 174107 h 2076207"/>
              <a:gd name="csX92" fmla="*/ 489970 w 748195"/>
              <a:gd name="csY92" fmla="*/ 152208 h 2076207"/>
              <a:gd name="csX93" fmla="*/ 140694 w 748195"/>
              <a:gd name="csY93" fmla="*/ 201837 h 2076207"/>
              <a:gd name="csX94" fmla="*/ 139834 w 748195"/>
              <a:gd name="csY94" fmla="*/ 201482 h 2076207"/>
              <a:gd name="csX95" fmla="*/ 140812 w 748195"/>
              <a:gd name="csY95" fmla="*/ 204941 h 2076207"/>
              <a:gd name="csX96" fmla="*/ 144631 w 748195"/>
              <a:gd name="csY96" fmla="*/ 217811 h 2076207"/>
              <a:gd name="csX97" fmla="*/ 201241 w 748195"/>
              <a:gd name="csY97" fmla="*/ 373387 h 2076207"/>
              <a:gd name="csX98" fmla="*/ 235971 w 748195"/>
              <a:gd name="csY98" fmla="*/ 504451 h 2076207"/>
              <a:gd name="csX99" fmla="*/ 247475 w 748195"/>
              <a:gd name="csY99" fmla="*/ 513241 h 2076207"/>
              <a:gd name="csX100" fmla="*/ 289066 w 748195"/>
              <a:gd name="csY100" fmla="*/ 511170 h 2076207"/>
              <a:gd name="csX101" fmla="*/ 378229 w 748195"/>
              <a:gd name="csY101" fmla="*/ 511084 h 2076207"/>
              <a:gd name="csX102" fmla="*/ 470850 w 748195"/>
              <a:gd name="csY102" fmla="*/ 516341 h 2076207"/>
              <a:gd name="csX103" fmla="*/ 492933 w 748195"/>
              <a:gd name="csY103" fmla="*/ 497969 h 2076207"/>
              <a:gd name="csX104" fmla="*/ 557617 w 748195"/>
              <a:gd name="csY104" fmla="*/ 280398 h 2076207"/>
              <a:gd name="csX105" fmla="*/ 588788 w 748195"/>
              <a:gd name="csY105" fmla="*/ 200385 h 2076207"/>
              <a:gd name="csX106" fmla="*/ 530958 w 748195"/>
              <a:gd name="csY106" fmla="*/ 232968 h 2076207"/>
              <a:gd name="csX107" fmla="*/ 483823 w 748195"/>
              <a:gd name="csY107" fmla="*/ 190364 h 2076207"/>
              <a:gd name="csX108" fmla="*/ 466649 w 748195"/>
              <a:gd name="csY108" fmla="*/ 209061 h 2076207"/>
              <a:gd name="csX109" fmla="*/ 399941 w 748195"/>
              <a:gd name="csY109" fmla="*/ 216988 h 2076207"/>
              <a:gd name="csX110" fmla="*/ 363018 w 748195"/>
              <a:gd name="csY110" fmla="*/ 179615 h 2076207"/>
              <a:gd name="csX111" fmla="*/ 308839 w 748195"/>
              <a:gd name="csY111" fmla="*/ 227846 h 2076207"/>
              <a:gd name="csX112" fmla="*/ 245077 w 748195"/>
              <a:gd name="csY112" fmla="*/ 192402 h 2076207"/>
              <a:gd name="csX113" fmla="*/ 242829 w 748195"/>
              <a:gd name="csY113" fmla="*/ 198815 h 2076207"/>
              <a:gd name="csX114" fmla="*/ 168452 w 748195"/>
              <a:gd name="csY114" fmla="*/ 219348 h 2076207"/>
              <a:gd name="csX115" fmla="*/ 140694 w 748195"/>
              <a:gd name="csY115" fmla="*/ 201837 h 2076207"/>
              <a:gd name="csX116" fmla="*/ 259999 w 748195"/>
              <a:gd name="csY116" fmla="*/ 966699 h 2076207"/>
              <a:gd name="csX117" fmla="*/ 257072 w 748195"/>
              <a:gd name="csY117" fmla="*/ 1070424 h 2076207"/>
              <a:gd name="csX118" fmla="*/ 251372 w 748195"/>
              <a:gd name="csY118" fmla="*/ 1157618 h 2076207"/>
              <a:gd name="csX119" fmla="*/ 232677 w 748195"/>
              <a:gd name="csY119" fmla="*/ 1320279 h 2076207"/>
              <a:gd name="csX120" fmla="*/ 209182 w 748195"/>
              <a:gd name="csY120" fmla="*/ 1468667 h 2076207"/>
              <a:gd name="csX121" fmla="*/ 175302 w 748195"/>
              <a:gd name="csY121" fmla="*/ 1616623 h 2076207"/>
              <a:gd name="csX122" fmla="*/ 182769 w 748195"/>
              <a:gd name="csY122" fmla="*/ 1629786 h 2076207"/>
              <a:gd name="csX123" fmla="*/ 212156 w 748195"/>
              <a:gd name="csY123" fmla="*/ 1632656 h 2076207"/>
              <a:gd name="csX124" fmla="*/ 351295 w 748195"/>
              <a:gd name="csY124" fmla="*/ 1632801 h 2076207"/>
              <a:gd name="csX125" fmla="*/ 376150 w 748195"/>
              <a:gd name="csY125" fmla="*/ 1608307 h 2076207"/>
              <a:gd name="csX126" fmla="*/ 373450 w 748195"/>
              <a:gd name="csY126" fmla="*/ 1457291 h 2076207"/>
              <a:gd name="csX127" fmla="*/ 370936 w 748195"/>
              <a:gd name="csY127" fmla="*/ 1342736 h 2076207"/>
              <a:gd name="csX128" fmla="*/ 368328 w 748195"/>
              <a:gd name="csY128" fmla="*/ 1203878 h 2076207"/>
              <a:gd name="csX129" fmla="*/ 367836 w 748195"/>
              <a:gd name="csY129" fmla="*/ 813478 h 2076207"/>
              <a:gd name="csX130" fmla="*/ 365240 w 748195"/>
              <a:gd name="csY130" fmla="*/ 773243 h 2076207"/>
              <a:gd name="csX131" fmla="*/ 353084 w 748195"/>
              <a:gd name="csY131" fmla="*/ 762083 h 2076207"/>
              <a:gd name="csX132" fmla="*/ 280966 w 748195"/>
              <a:gd name="csY132" fmla="*/ 759855 h 2076207"/>
              <a:gd name="csX133" fmla="*/ 259965 w 748195"/>
              <a:gd name="csY133" fmla="*/ 779553 h 2076207"/>
              <a:gd name="csX134" fmla="*/ 262341 w 748195"/>
              <a:gd name="csY134" fmla="*/ 856275 h 2076207"/>
              <a:gd name="csX135" fmla="*/ 259999 w 748195"/>
              <a:gd name="csY135" fmla="*/ 966699 h 2076207"/>
              <a:gd name="csX136" fmla="*/ 55556 w 748195"/>
              <a:gd name="csY136" fmla="*/ 1835827 h 2076207"/>
              <a:gd name="csX137" fmla="*/ 49393 w 748195"/>
              <a:gd name="csY137" fmla="*/ 1878155 h 2076207"/>
              <a:gd name="csX138" fmla="*/ 73949 w 748195"/>
              <a:gd name="csY138" fmla="*/ 1905781 h 2076207"/>
              <a:gd name="csX139" fmla="*/ 110073 w 748195"/>
              <a:gd name="csY139" fmla="*/ 1909068 h 2076207"/>
              <a:gd name="csX140" fmla="*/ 224745 w 748195"/>
              <a:gd name="csY140" fmla="*/ 1921652 h 2076207"/>
              <a:gd name="csX141" fmla="*/ 347327 w 748195"/>
              <a:gd name="csY141" fmla="*/ 1924778 h 2076207"/>
              <a:gd name="csX142" fmla="*/ 363345 w 748195"/>
              <a:gd name="csY142" fmla="*/ 1923293 h 2076207"/>
              <a:gd name="csX143" fmla="*/ 373787 w 748195"/>
              <a:gd name="csY143" fmla="*/ 1911200 h 2076207"/>
              <a:gd name="csX144" fmla="*/ 376623 w 748195"/>
              <a:gd name="csY144" fmla="*/ 1696741 h 2076207"/>
              <a:gd name="csX145" fmla="*/ 360437 w 748195"/>
              <a:gd name="csY145" fmla="*/ 1681289 h 2076207"/>
              <a:gd name="csX146" fmla="*/ 263503 w 748195"/>
              <a:gd name="csY146" fmla="*/ 1678179 h 2076207"/>
              <a:gd name="csX147" fmla="*/ 160381 w 748195"/>
              <a:gd name="csY147" fmla="*/ 1670405 h 2076207"/>
              <a:gd name="csX148" fmla="*/ 143321 w 748195"/>
              <a:gd name="csY148" fmla="*/ 1685538 h 2076207"/>
              <a:gd name="csX149" fmla="*/ 124769 w 748195"/>
              <a:gd name="csY149" fmla="*/ 1738195 h 2076207"/>
              <a:gd name="csX150" fmla="*/ 90593 w 748195"/>
              <a:gd name="csY150" fmla="*/ 1779570 h 2076207"/>
              <a:gd name="csX151" fmla="*/ 55556 w 748195"/>
              <a:gd name="csY151" fmla="*/ 1835827 h 2076207"/>
              <a:gd name="csX152" fmla="*/ 378900 w 748195"/>
              <a:gd name="csY152" fmla="*/ 2007280 h 2076207"/>
              <a:gd name="csX153" fmla="*/ 378887 w 748195"/>
              <a:gd name="csY153" fmla="*/ 1995127 h 2076207"/>
              <a:gd name="csX154" fmla="*/ 359084 w 748195"/>
              <a:gd name="csY154" fmla="*/ 1975964 h 2076207"/>
              <a:gd name="csX155" fmla="*/ 247288 w 748195"/>
              <a:gd name="csY155" fmla="*/ 1973305 h 2076207"/>
              <a:gd name="csX156" fmla="*/ 201692 w 748195"/>
              <a:gd name="csY156" fmla="*/ 1970275 h 2076207"/>
              <a:gd name="csX157" fmla="*/ 57962 w 748195"/>
              <a:gd name="csY157" fmla="*/ 1952648 h 2076207"/>
              <a:gd name="csX158" fmla="*/ 39194 w 748195"/>
              <a:gd name="csY158" fmla="*/ 1963552 h 2076207"/>
              <a:gd name="csX159" fmla="*/ 30066 w 748195"/>
              <a:gd name="csY159" fmla="*/ 2006631 h 2076207"/>
              <a:gd name="csX160" fmla="*/ 40232 w 748195"/>
              <a:gd name="csY160" fmla="*/ 2019486 h 2076207"/>
              <a:gd name="csX161" fmla="*/ 238186 w 748195"/>
              <a:gd name="csY161" fmla="*/ 2046096 h 2076207"/>
              <a:gd name="csX162" fmla="*/ 342155 w 748195"/>
              <a:gd name="csY162" fmla="*/ 2046441 h 2076207"/>
              <a:gd name="csX163" fmla="*/ 378900 w 748195"/>
              <a:gd name="csY163" fmla="*/ 2007280 h 2076207"/>
              <a:gd name="csX164" fmla="*/ 310220 w 748195"/>
              <a:gd name="csY164" fmla="*/ 554288 h 2076207"/>
              <a:gd name="csX165" fmla="*/ 259136 w 748195"/>
              <a:gd name="csY165" fmla="*/ 556881 h 2076207"/>
              <a:gd name="csX166" fmla="*/ 249085 w 748195"/>
              <a:gd name="csY166" fmla="*/ 567981 h 2076207"/>
              <a:gd name="csX167" fmla="*/ 249141 w 748195"/>
              <a:gd name="csY167" fmla="*/ 605644 h 2076207"/>
              <a:gd name="csX168" fmla="*/ 262628 w 748195"/>
              <a:gd name="csY168" fmla="*/ 605627 h 2076207"/>
              <a:gd name="csX169" fmla="*/ 369608 w 748195"/>
              <a:gd name="csY169" fmla="*/ 603027 h 2076207"/>
              <a:gd name="csX170" fmla="*/ 463931 w 748195"/>
              <a:gd name="csY170" fmla="*/ 605146 h 2076207"/>
              <a:gd name="csX171" fmla="*/ 478113 w 748195"/>
              <a:gd name="csY171" fmla="*/ 595843 h 2076207"/>
              <a:gd name="csX172" fmla="*/ 478796 w 748195"/>
              <a:gd name="csY172" fmla="*/ 556832 h 2076207"/>
              <a:gd name="csX173" fmla="*/ 310220 w 748195"/>
              <a:gd name="csY173" fmla="*/ 554288 h 2076207"/>
              <a:gd name="csX174" fmla="*/ 348836 w 748195"/>
              <a:gd name="csY174" fmla="*/ 684115 h 2076207"/>
              <a:gd name="csX175" fmla="*/ 281333 w 748195"/>
              <a:gd name="csY175" fmla="*/ 683313 h 2076207"/>
              <a:gd name="csX176" fmla="*/ 212728 w 748195"/>
              <a:gd name="csY176" fmla="*/ 681931 h 2076207"/>
              <a:gd name="csX177" fmla="*/ 187283 w 748195"/>
              <a:gd name="csY177" fmla="*/ 689555 h 2076207"/>
              <a:gd name="csX178" fmla="*/ 186163 w 748195"/>
              <a:gd name="csY178" fmla="*/ 718266 h 2076207"/>
              <a:gd name="csX179" fmla="*/ 209894 w 748195"/>
              <a:gd name="csY179" fmla="*/ 726798 h 2076207"/>
              <a:gd name="csX180" fmla="*/ 334814 w 748195"/>
              <a:gd name="csY180" fmla="*/ 732494 h 2076207"/>
              <a:gd name="csX181" fmla="*/ 364856 w 748195"/>
              <a:gd name="csY181" fmla="*/ 707963 h 2076207"/>
              <a:gd name="csX182" fmla="*/ 348836 w 748195"/>
              <a:gd name="csY182" fmla="*/ 684115 h 2076207"/>
              <a:gd name="csX183" fmla="*/ 298865 w 748195"/>
              <a:gd name="csY183" fmla="*/ 621954 h 2076207"/>
              <a:gd name="csX184" fmla="*/ 251619 w 748195"/>
              <a:gd name="csY184" fmla="*/ 622133 h 2076207"/>
              <a:gd name="csX185" fmla="*/ 214459 w 748195"/>
              <a:gd name="csY185" fmla="*/ 636230 h 2076207"/>
              <a:gd name="csX186" fmla="*/ 221436 w 748195"/>
              <a:gd name="csY186" fmla="*/ 654205 h 2076207"/>
              <a:gd name="csX187" fmla="*/ 272412 w 748195"/>
              <a:gd name="csY187" fmla="*/ 657250 h 2076207"/>
              <a:gd name="csX188" fmla="*/ 349094 w 748195"/>
              <a:gd name="csY188" fmla="*/ 659282 h 2076207"/>
              <a:gd name="csX189" fmla="*/ 362996 w 748195"/>
              <a:gd name="csY189" fmla="*/ 644234 h 2076207"/>
              <a:gd name="csX190" fmla="*/ 348472 w 748195"/>
              <a:gd name="csY190" fmla="*/ 624649 h 2076207"/>
              <a:gd name="csX191" fmla="*/ 298865 w 748195"/>
              <a:gd name="csY191" fmla="*/ 621954 h 2076207"/>
              <a:gd name="csX192" fmla="*/ 227796 w 748195"/>
              <a:gd name="csY192" fmla="*/ 528000 h 2076207"/>
              <a:gd name="csX193" fmla="*/ 241009 w 748195"/>
              <a:gd name="csY193" fmla="*/ 545897 h 2076207"/>
              <a:gd name="csX194" fmla="*/ 282607 w 748195"/>
              <a:gd name="csY194" fmla="*/ 543480 h 2076207"/>
              <a:gd name="csX195" fmla="*/ 354213 w 748195"/>
              <a:gd name="csY195" fmla="*/ 543384 h 2076207"/>
              <a:gd name="csX196" fmla="*/ 365334 w 748195"/>
              <a:gd name="csY196" fmla="*/ 533397 h 2076207"/>
              <a:gd name="csX197" fmla="*/ 354531 w 748195"/>
              <a:gd name="csY197" fmla="*/ 521620 h 2076207"/>
              <a:gd name="csX198" fmla="*/ 259169 w 748195"/>
              <a:gd name="csY198" fmla="*/ 521978 h 2076207"/>
              <a:gd name="csX199" fmla="*/ 227796 w 748195"/>
              <a:gd name="csY199" fmla="*/ 528000 h 2076207"/>
              <a:gd name="csX200" fmla="*/ 508068 w 748195"/>
              <a:gd name="csY200" fmla="*/ 190710 h 2076207"/>
              <a:gd name="csX201" fmla="*/ 521293 w 748195"/>
              <a:gd name="csY201" fmla="*/ 205907 h 2076207"/>
              <a:gd name="csX202" fmla="*/ 525175 w 748195"/>
              <a:gd name="csY202" fmla="*/ 202985 h 2076207"/>
              <a:gd name="csX203" fmla="*/ 500276 w 748195"/>
              <a:gd name="csY203" fmla="*/ 160640 h 2076207"/>
              <a:gd name="csX204" fmla="*/ 497122 w 748195"/>
              <a:gd name="csY204" fmla="*/ 162007 h 2076207"/>
              <a:gd name="csX205" fmla="*/ 508068 w 748195"/>
              <a:gd name="csY205" fmla="*/ 190710 h 2076207"/>
              <a:gd name="csX206" fmla="*/ 215522 w 748195"/>
              <a:gd name="csY206" fmla="*/ 197296 h 2076207"/>
              <a:gd name="csX207" fmla="*/ 234029 w 748195"/>
              <a:gd name="csY207" fmla="*/ 162725 h 2076207"/>
              <a:gd name="csX208" fmla="*/ 229000 w 748195"/>
              <a:gd name="csY208" fmla="*/ 159902 h 2076207"/>
              <a:gd name="csX209" fmla="*/ 204824 w 748195"/>
              <a:gd name="csY209" fmla="*/ 199677 h 2076207"/>
              <a:gd name="csX210" fmla="*/ 207990 w 748195"/>
              <a:gd name="csY210" fmla="*/ 202198 h 2076207"/>
              <a:gd name="csX211" fmla="*/ 215522 w 748195"/>
              <a:gd name="csY211" fmla="*/ 197296 h 2076207"/>
              <a:gd name="csX212" fmla="*/ 484400 w 748195"/>
              <a:gd name="csY212" fmla="*/ 896678 h 2076207"/>
              <a:gd name="csX213" fmla="*/ 486181 w 748195"/>
              <a:gd name="csY213" fmla="*/ 896585 h 2076207"/>
              <a:gd name="csX214" fmla="*/ 486181 w 748195"/>
              <a:gd name="csY214" fmla="*/ 795289 h 2076207"/>
              <a:gd name="csX215" fmla="*/ 720241 w 748195"/>
              <a:gd name="csY215" fmla="*/ 2030666 h 2076207"/>
              <a:gd name="csX216" fmla="*/ 721175 w 748195"/>
              <a:gd name="csY216" fmla="*/ 2029733 h 2076207"/>
              <a:gd name="csX217" fmla="*/ 720241 w 748195"/>
              <a:gd name="csY217" fmla="*/ 2030666 h 2076207"/>
              <a:gd name="csX218" fmla="*/ 715702 w 748195"/>
              <a:gd name="csY218" fmla="*/ 2037051 h 2076207"/>
              <a:gd name="csX219" fmla="*/ 715702 w 748195"/>
              <a:gd name="csY219" fmla="*/ 2037051 h 2076207"/>
              <a:gd name="csX0" fmla="*/ 96263 w 729414"/>
              <a:gd name="csY0" fmla="*/ 2076207 h 2076207"/>
              <a:gd name="csX1" fmla="*/ 63862 w 729414"/>
              <a:gd name="csY1" fmla="*/ 2065388 h 2076207"/>
              <a:gd name="csX2" fmla="*/ 16555 w 729414"/>
              <a:gd name="csY2" fmla="*/ 2050152 h 2076207"/>
              <a:gd name="csX3" fmla="*/ 15 w 729414"/>
              <a:gd name="csY3" fmla="*/ 2023802 h 2076207"/>
              <a:gd name="csX4" fmla="*/ 18368 w 729414"/>
              <a:gd name="csY4" fmla="*/ 1940709 h 2076207"/>
              <a:gd name="csX5" fmla="*/ 22139 w 729414"/>
              <a:gd name="csY5" fmla="*/ 1907268 h 2076207"/>
              <a:gd name="csX6" fmla="*/ 57941 w 729414"/>
              <a:gd name="csY6" fmla="*/ 1774163 h 2076207"/>
              <a:gd name="csX7" fmla="*/ 102478 w 729414"/>
              <a:gd name="csY7" fmla="*/ 1720275 h 2076207"/>
              <a:gd name="csX8" fmla="*/ 108579 w 729414"/>
              <a:gd name="csY8" fmla="*/ 1650967 h 2076207"/>
              <a:gd name="csX9" fmla="*/ 115628 w 729414"/>
              <a:gd name="csY9" fmla="*/ 1625405 h 2076207"/>
              <a:gd name="csX10" fmla="*/ 156323 w 729414"/>
              <a:gd name="csY10" fmla="*/ 1560181 h 2076207"/>
              <a:gd name="csX11" fmla="*/ 199424 w 729414"/>
              <a:gd name="csY11" fmla="*/ 1364729 h 2076207"/>
              <a:gd name="csX12" fmla="*/ 216779 w 729414"/>
              <a:gd name="csY12" fmla="*/ 1219490 h 2076207"/>
              <a:gd name="csX13" fmla="*/ 229755 w 729414"/>
              <a:gd name="csY13" fmla="*/ 1099357 h 2076207"/>
              <a:gd name="csX14" fmla="*/ 232707 w 729414"/>
              <a:gd name="csY14" fmla="*/ 1056423 h 2076207"/>
              <a:gd name="csX15" fmla="*/ 235622 w 729414"/>
              <a:gd name="csY15" fmla="*/ 952675 h 2076207"/>
              <a:gd name="csX16" fmla="*/ 235445 w 729414"/>
              <a:gd name="csY16" fmla="*/ 780278 h 2076207"/>
              <a:gd name="csX17" fmla="*/ 214544 w 729414"/>
              <a:gd name="csY17" fmla="*/ 756435 h 2076207"/>
              <a:gd name="csX18" fmla="*/ 172569 w 729414"/>
              <a:gd name="csY18" fmla="*/ 742582 h 2076207"/>
              <a:gd name="csX19" fmla="*/ 168784 w 729414"/>
              <a:gd name="csY19" fmla="*/ 669116 h 2076207"/>
              <a:gd name="csX20" fmla="*/ 191657 w 729414"/>
              <a:gd name="csY20" fmla="*/ 630765 h 2076207"/>
              <a:gd name="csX21" fmla="*/ 208150 w 729414"/>
              <a:gd name="csY21" fmla="*/ 609084 h 2076207"/>
              <a:gd name="csX22" fmla="*/ 216756 w 729414"/>
              <a:gd name="csY22" fmla="*/ 558673 h 2076207"/>
              <a:gd name="csX23" fmla="*/ 209092 w 729414"/>
              <a:gd name="csY23" fmla="*/ 521540 h 2076207"/>
              <a:gd name="csX24" fmla="*/ 204683 w 729414"/>
              <a:gd name="csY24" fmla="*/ 474024 h 2076207"/>
              <a:gd name="csX25" fmla="*/ 115483 w 729414"/>
              <a:gd name="csY25" fmla="*/ 213499 h 2076207"/>
              <a:gd name="csX26" fmla="*/ 102909 w 729414"/>
              <a:gd name="csY26" fmla="*/ 182297 h 2076207"/>
              <a:gd name="csX27" fmla="*/ 104315 w 729414"/>
              <a:gd name="csY27" fmla="*/ 163968 h 2076207"/>
              <a:gd name="csX28" fmla="*/ 122444 w 729414"/>
              <a:gd name="csY28" fmla="*/ 160805 h 2076207"/>
              <a:gd name="csX29" fmla="*/ 170283 w 729414"/>
              <a:gd name="csY29" fmla="*/ 187783 h 2076207"/>
              <a:gd name="csX30" fmla="*/ 180938 w 729414"/>
              <a:gd name="csY30" fmla="*/ 195322 h 2076207"/>
              <a:gd name="csX31" fmla="*/ 221419 w 729414"/>
              <a:gd name="csY31" fmla="*/ 138058 h 2076207"/>
              <a:gd name="csX32" fmla="*/ 294099 w 729414"/>
              <a:gd name="csY32" fmla="*/ 91372 h 2076207"/>
              <a:gd name="csX33" fmla="*/ 302307 w 729414"/>
              <a:gd name="csY33" fmla="*/ 76560 h 2076207"/>
              <a:gd name="csX34" fmla="*/ 320284 w 729414"/>
              <a:gd name="csY34" fmla="*/ 8414 h 2076207"/>
              <a:gd name="csX35" fmla="*/ 324784 w 729414"/>
              <a:gd name="csY35" fmla="*/ 946 h 2076207"/>
              <a:gd name="csX36" fmla="*/ 399212 w 729414"/>
              <a:gd name="csY36" fmla="*/ 0 h 2076207"/>
              <a:gd name="csX37" fmla="*/ 425980 w 729414"/>
              <a:gd name="csY37" fmla="*/ 78301 h 2076207"/>
              <a:gd name="csX38" fmla="*/ 431861 w 729414"/>
              <a:gd name="csY38" fmla="*/ 90312 h 2076207"/>
              <a:gd name="csX39" fmla="*/ 540349 w 729414"/>
              <a:gd name="csY39" fmla="*/ 187946 h 2076207"/>
              <a:gd name="csX40" fmla="*/ 545555 w 729414"/>
              <a:gd name="csY40" fmla="*/ 197828 h 2076207"/>
              <a:gd name="csX41" fmla="*/ 587318 w 729414"/>
              <a:gd name="csY41" fmla="*/ 171260 h 2076207"/>
              <a:gd name="csX42" fmla="*/ 601503 w 729414"/>
              <a:gd name="csY42" fmla="*/ 163707 h 2076207"/>
              <a:gd name="csX43" fmla="*/ 625254 w 729414"/>
              <a:gd name="csY43" fmla="*/ 163123 h 2076207"/>
              <a:gd name="csX44" fmla="*/ 625468 w 729414"/>
              <a:gd name="csY44" fmla="*/ 187579 h 2076207"/>
              <a:gd name="csX45" fmla="*/ 597543 w 729414"/>
              <a:gd name="csY45" fmla="*/ 251872 h 2076207"/>
              <a:gd name="csX46" fmla="*/ 531831 w 729414"/>
              <a:gd name="csY46" fmla="*/ 442689 h 2076207"/>
              <a:gd name="csX47" fmla="*/ 519888 w 729414"/>
              <a:gd name="csY47" fmla="*/ 501474 h 2076207"/>
              <a:gd name="csX48" fmla="*/ 522506 w 729414"/>
              <a:gd name="csY48" fmla="*/ 525086 h 2076207"/>
              <a:gd name="csX49" fmla="*/ 516235 w 729414"/>
              <a:gd name="csY49" fmla="*/ 555946 h 2076207"/>
              <a:gd name="csX50" fmla="*/ 521332 w 729414"/>
              <a:gd name="csY50" fmla="*/ 610676 h 2076207"/>
              <a:gd name="csX51" fmla="*/ 541382 w 729414"/>
              <a:gd name="csY51" fmla="*/ 642597 h 2076207"/>
              <a:gd name="csX52" fmla="*/ 557031 w 729414"/>
              <a:gd name="csY52" fmla="*/ 667949 h 2076207"/>
              <a:gd name="csX53" fmla="*/ 553994 w 729414"/>
              <a:gd name="csY53" fmla="*/ 744146 h 2076207"/>
              <a:gd name="csX54" fmla="*/ 508215 w 729414"/>
              <a:gd name="csY54" fmla="*/ 758841 h 2076207"/>
              <a:gd name="csX55" fmla="*/ 497442 w 729414"/>
              <a:gd name="csY55" fmla="*/ 771256 h 2076207"/>
              <a:gd name="csX56" fmla="*/ 493005 w 729414"/>
              <a:gd name="csY56" fmla="*/ 922055 h 2076207"/>
              <a:gd name="csX57" fmla="*/ 502900 w 729414"/>
              <a:gd name="csY57" fmla="*/ 1114191 h 2076207"/>
              <a:gd name="csX58" fmla="*/ 508800 w 729414"/>
              <a:gd name="csY58" fmla="*/ 1205474 h 2076207"/>
              <a:gd name="csX59" fmla="*/ 522952 w 729414"/>
              <a:gd name="csY59" fmla="*/ 1320065 h 2076207"/>
              <a:gd name="csX60" fmla="*/ 554682 w 729414"/>
              <a:gd name="csY60" fmla="*/ 1501203 h 2076207"/>
              <a:gd name="csX61" fmla="*/ 576958 w 729414"/>
              <a:gd name="csY61" fmla="*/ 1593963 h 2076207"/>
              <a:gd name="csX62" fmla="*/ 595349 w 729414"/>
              <a:gd name="csY62" fmla="*/ 1613498 h 2076207"/>
              <a:gd name="csX63" fmla="*/ 613936 w 729414"/>
              <a:gd name="csY63" fmla="*/ 1624058 h 2076207"/>
              <a:gd name="csX64" fmla="*/ 620938 w 729414"/>
              <a:gd name="csY64" fmla="*/ 1652071 h 2076207"/>
              <a:gd name="csX65" fmla="*/ 630805 w 729414"/>
              <a:gd name="csY65" fmla="*/ 1721702 h 2076207"/>
              <a:gd name="csX66" fmla="*/ 685830 w 729414"/>
              <a:gd name="csY66" fmla="*/ 1792915 h 2076207"/>
              <a:gd name="csX67" fmla="*/ 708904 w 729414"/>
              <a:gd name="csY67" fmla="*/ 1890290 h 2076207"/>
              <a:gd name="csX68" fmla="*/ 716580 w 729414"/>
              <a:gd name="csY68" fmla="*/ 1951136 h 2076207"/>
              <a:gd name="csX69" fmla="*/ 729397 w 729414"/>
              <a:gd name="csY69" fmla="*/ 2030261 h 2076207"/>
              <a:gd name="csX70" fmla="*/ 714212 w 729414"/>
              <a:gd name="csY70" fmla="*/ 2049544 h 2076207"/>
              <a:gd name="csX71" fmla="*/ 706629 w 729414"/>
              <a:gd name="csY71" fmla="*/ 2044290 h 2076207"/>
              <a:gd name="csX72" fmla="*/ 96263 w 729414"/>
              <a:gd name="csY72" fmla="*/ 2076207 h 2076207"/>
              <a:gd name="csX73" fmla="*/ 489970 w 729414"/>
              <a:gd name="csY73" fmla="*/ 152208 h 2076207"/>
              <a:gd name="csX74" fmla="*/ 490754 w 729414"/>
              <a:gd name="csY74" fmla="*/ 152592 h 2076207"/>
              <a:gd name="csX75" fmla="*/ 489489 w 729414"/>
              <a:gd name="csY75" fmla="*/ 149547 h 2076207"/>
              <a:gd name="csX76" fmla="*/ 393621 w 729414"/>
              <a:gd name="csY76" fmla="*/ 99259 h 2076207"/>
              <a:gd name="csX77" fmla="*/ 390419 w 729414"/>
              <a:gd name="csY77" fmla="*/ 18568 h 2076207"/>
              <a:gd name="csX78" fmla="*/ 334131 w 729414"/>
              <a:gd name="csY78" fmla="*/ 24327 h 2076207"/>
              <a:gd name="csX79" fmla="*/ 344678 w 729414"/>
              <a:gd name="csY79" fmla="*/ 101259 h 2076207"/>
              <a:gd name="csX80" fmla="*/ 298854 w 729414"/>
              <a:gd name="csY80" fmla="*/ 114003 h 2076207"/>
              <a:gd name="csX81" fmla="*/ 237456 w 729414"/>
              <a:gd name="csY81" fmla="*/ 154340 h 2076207"/>
              <a:gd name="csX82" fmla="*/ 240382 w 729414"/>
              <a:gd name="csY82" fmla="*/ 154035 h 2076207"/>
              <a:gd name="csX83" fmla="*/ 262731 w 729414"/>
              <a:gd name="csY83" fmla="*/ 170426 h 2076207"/>
              <a:gd name="csX84" fmla="*/ 279169 w 729414"/>
              <a:gd name="csY84" fmla="*/ 193173 h 2076207"/>
              <a:gd name="csX85" fmla="*/ 327717 w 729414"/>
              <a:gd name="csY85" fmla="*/ 188556 h 2076207"/>
              <a:gd name="csX86" fmla="*/ 348052 w 729414"/>
              <a:gd name="csY86" fmla="*/ 156919 h 2076207"/>
              <a:gd name="csX87" fmla="*/ 380330 w 729414"/>
              <a:gd name="csY87" fmla="*/ 156483 h 2076207"/>
              <a:gd name="csX88" fmla="*/ 408490 w 729414"/>
              <a:gd name="csY88" fmla="*/ 195400 h 2076207"/>
              <a:gd name="csX89" fmla="*/ 445346 w 729414"/>
              <a:gd name="csY89" fmla="*/ 197582 h 2076207"/>
              <a:gd name="csX90" fmla="*/ 464798 w 729414"/>
              <a:gd name="csY90" fmla="*/ 174107 h 2076207"/>
              <a:gd name="csX91" fmla="*/ 489970 w 729414"/>
              <a:gd name="csY91" fmla="*/ 152208 h 2076207"/>
              <a:gd name="csX92" fmla="*/ 140694 w 729414"/>
              <a:gd name="csY92" fmla="*/ 201837 h 2076207"/>
              <a:gd name="csX93" fmla="*/ 139834 w 729414"/>
              <a:gd name="csY93" fmla="*/ 201482 h 2076207"/>
              <a:gd name="csX94" fmla="*/ 140812 w 729414"/>
              <a:gd name="csY94" fmla="*/ 204941 h 2076207"/>
              <a:gd name="csX95" fmla="*/ 144631 w 729414"/>
              <a:gd name="csY95" fmla="*/ 217811 h 2076207"/>
              <a:gd name="csX96" fmla="*/ 201241 w 729414"/>
              <a:gd name="csY96" fmla="*/ 373387 h 2076207"/>
              <a:gd name="csX97" fmla="*/ 235971 w 729414"/>
              <a:gd name="csY97" fmla="*/ 504451 h 2076207"/>
              <a:gd name="csX98" fmla="*/ 247475 w 729414"/>
              <a:gd name="csY98" fmla="*/ 513241 h 2076207"/>
              <a:gd name="csX99" fmla="*/ 289066 w 729414"/>
              <a:gd name="csY99" fmla="*/ 511170 h 2076207"/>
              <a:gd name="csX100" fmla="*/ 378229 w 729414"/>
              <a:gd name="csY100" fmla="*/ 511084 h 2076207"/>
              <a:gd name="csX101" fmla="*/ 470850 w 729414"/>
              <a:gd name="csY101" fmla="*/ 516341 h 2076207"/>
              <a:gd name="csX102" fmla="*/ 492933 w 729414"/>
              <a:gd name="csY102" fmla="*/ 497969 h 2076207"/>
              <a:gd name="csX103" fmla="*/ 557617 w 729414"/>
              <a:gd name="csY103" fmla="*/ 280398 h 2076207"/>
              <a:gd name="csX104" fmla="*/ 588788 w 729414"/>
              <a:gd name="csY104" fmla="*/ 200385 h 2076207"/>
              <a:gd name="csX105" fmla="*/ 530958 w 729414"/>
              <a:gd name="csY105" fmla="*/ 232968 h 2076207"/>
              <a:gd name="csX106" fmla="*/ 483823 w 729414"/>
              <a:gd name="csY106" fmla="*/ 190364 h 2076207"/>
              <a:gd name="csX107" fmla="*/ 466649 w 729414"/>
              <a:gd name="csY107" fmla="*/ 209061 h 2076207"/>
              <a:gd name="csX108" fmla="*/ 399941 w 729414"/>
              <a:gd name="csY108" fmla="*/ 216988 h 2076207"/>
              <a:gd name="csX109" fmla="*/ 363018 w 729414"/>
              <a:gd name="csY109" fmla="*/ 179615 h 2076207"/>
              <a:gd name="csX110" fmla="*/ 308839 w 729414"/>
              <a:gd name="csY110" fmla="*/ 227846 h 2076207"/>
              <a:gd name="csX111" fmla="*/ 245077 w 729414"/>
              <a:gd name="csY111" fmla="*/ 192402 h 2076207"/>
              <a:gd name="csX112" fmla="*/ 242829 w 729414"/>
              <a:gd name="csY112" fmla="*/ 198815 h 2076207"/>
              <a:gd name="csX113" fmla="*/ 168452 w 729414"/>
              <a:gd name="csY113" fmla="*/ 219348 h 2076207"/>
              <a:gd name="csX114" fmla="*/ 140694 w 729414"/>
              <a:gd name="csY114" fmla="*/ 201837 h 2076207"/>
              <a:gd name="csX115" fmla="*/ 259999 w 729414"/>
              <a:gd name="csY115" fmla="*/ 966699 h 2076207"/>
              <a:gd name="csX116" fmla="*/ 257072 w 729414"/>
              <a:gd name="csY116" fmla="*/ 1070424 h 2076207"/>
              <a:gd name="csX117" fmla="*/ 251372 w 729414"/>
              <a:gd name="csY117" fmla="*/ 1157618 h 2076207"/>
              <a:gd name="csX118" fmla="*/ 232677 w 729414"/>
              <a:gd name="csY118" fmla="*/ 1320279 h 2076207"/>
              <a:gd name="csX119" fmla="*/ 209182 w 729414"/>
              <a:gd name="csY119" fmla="*/ 1468667 h 2076207"/>
              <a:gd name="csX120" fmla="*/ 175302 w 729414"/>
              <a:gd name="csY120" fmla="*/ 1616623 h 2076207"/>
              <a:gd name="csX121" fmla="*/ 182769 w 729414"/>
              <a:gd name="csY121" fmla="*/ 1629786 h 2076207"/>
              <a:gd name="csX122" fmla="*/ 212156 w 729414"/>
              <a:gd name="csY122" fmla="*/ 1632656 h 2076207"/>
              <a:gd name="csX123" fmla="*/ 351295 w 729414"/>
              <a:gd name="csY123" fmla="*/ 1632801 h 2076207"/>
              <a:gd name="csX124" fmla="*/ 376150 w 729414"/>
              <a:gd name="csY124" fmla="*/ 1608307 h 2076207"/>
              <a:gd name="csX125" fmla="*/ 373450 w 729414"/>
              <a:gd name="csY125" fmla="*/ 1457291 h 2076207"/>
              <a:gd name="csX126" fmla="*/ 370936 w 729414"/>
              <a:gd name="csY126" fmla="*/ 1342736 h 2076207"/>
              <a:gd name="csX127" fmla="*/ 368328 w 729414"/>
              <a:gd name="csY127" fmla="*/ 1203878 h 2076207"/>
              <a:gd name="csX128" fmla="*/ 367836 w 729414"/>
              <a:gd name="csY128" fmla="*/ 813478 h 2076207"/>
              <a:gd name="csX129" fmla="*/ 365240 w 729414"/>
              <a:gd name="csY129" fmla="*/ 773243 h 2076207"/>
              <a:gd name="csX130" fmla="*/ 353084 w 729414"/>
              <a:gd name="csY130" fmla="*/ 762083 h 2076207"/>
              <a:gd name="csX131" fmla="*/ 280966 w 729414"/>
              <a:gd name="csY131" fmla="*/ 759855 h 2076207"/>
              <a:gd name="csX132" fmla="*/ 259965 w 729414"/>
              <a:gd name="csY132" fmla="*/ 779553 h 2076207"/>
              <a:gd name="csX133" fmla="*/ 262341 w 729414"/>
              <a:gd name="csY133" fmla="*/ 856275 h 2076207"/>
              <a:gd name="csX134" fmla="*/ 259999 w 729414"/>
              <a:gd name="csY134" fmla="*/ 966699 h 2076207"/>
              <a:gd name="csX135" fmla="*/ 55556 w 729414"/>
              <a:gd name="csY135" fmla="*/ 1835827 h 2076207"/>
              <a:gd name="csX136" fmla="*/ 49393 w 729414"/>
              <a:gd name="csY136" fmla="*/ 1878155 h 2076207"/>
              <a:gd name="csX137" fmla="*/ 73949 w 729414"/>
              <a:gd name="csY137" fmla="*/ 1905781 h 2076207"/>
              <a:gd name="csX138" fmla="*/ 110073 w 729414"/>
              <a:gd name="csY138" fmla="*/ 1909068 h 2076207"/>
              <a:gd name="csX139" fmla="*/ 224745 w 729414"/>
              <a:gd name="csY139" fmla="*/ 1921652 h 2076207"/>
              <a:gd name="csX140" fmla="*/ 347327 w 729414"/>
              <a:gd name="csY140" fmla="*/ 1924778 h 2076207"/>
              <a:gd name="csX141" fmla="*/ 363345 w 729414"/>
              <a:gd name="csY141" fmla="*/ 1923293 h 2076207"/>
              <a:gd name="csX142" fmla="*/ 373787 w 729414"/>
              <a:gd name="csY142" fmla="*/ 1911200 h 2076207"/>
              <a:gd name="csX143" fmla="*/ 376623 w 729414"/>
              <a:gd name="csY143" fmla="*/ 1696741 h 2076207"/>
              <a:gd name="csX144" fmla="*/ 360437 w 729414"/>
              <a:gd name="csY144" fmla="*/ 1681289 h 2076207"/>
              <a:gd name="csX145" fmla="*/ 263503 w 729414"/>
              <a:gd name="csY145" fmla="*/ 1678179 h 2076207"/>
              <a:gd name="csX146" fmla="*/ 160381 w 729414"/>
              <a:gd name="csY146" fmla="*/ 1670405 h 2076207"/>
              <a:gd name="csX147" fmla="*/ 143321 w 729414"/>
              <a:gd name="csY147" fmla="*/ 1685538 h 2076207"/>
              <a:gd name="csX148" fmla="*/ 124769 w 729414"/>
              <a:gd name="csY148" fmla="*/ 1738195 h 2076207"/>
              <a:gd name="csX149" fmla="*/ 90593 w 729414"/>
              <a:gd name="csY149" fmla="*/ 1779570 h 2076207"/>
              <a:gd name="csX150" fmla="*/ 55556 w 729414"/>
              <a:gd name="csY150" fmla="*/ 1835827 h 2076207"/>
              <a:gd name="csX151" fmla="*/ 378900 w 729414"/>
              <a:gd name="csY151" fmla="*/ 2007280 h 2076207"/>
              <a:gd name="csX152" fmla="*/ 378887 w 729414"/>
              <a:gd name="csY152" fmla="*/ 1995127 h 2076207"/>
              <a:gd name="csX153" fmla="*/ 359084 w 729414"/>
              <a:gd name="csY153" fmla="*/ 1975964 h 2076207"/>
              <a:gd name="csX154" fmla="*/ 247288 w 729414"/>
              <a:gd name="csY154" fmla="*/ 1973305 h 2076207"/>
              <a:gd name="csX155" fmla="*/ 201692 w 729414"/>
              <a:gd name="csY155" fmla="*/ 1970275 h 2076207"/>
              <a:gd name="csX156" fmla="*/ 57962 w 729414"/>
              <a:gd name="csY156" fmla="*/ 1952648 h 2076207"/>
              <a:gd name="csX157" fmla="*/ 39194 w 729414"/>
              <a:gd name="csY157" fmla="*/ 1963552 h 2076207"/>
              <a:gd name="csX158" fmla="*/ 30066 w 729414"/>
              <a:gd name="csY158" fmla="*/ 2006631 h 2076207"/>
              <a:gd name="csX159" fmla="*/ 40232 w 729414"/>
              <a:gd name="csY159" fmla="*/ 2019486 h 2076207"/>
              <a:gd name="csX160" fmla="*/ 238186 w 729414"/>
              <a:gd name="csY160" fmla="*/ 2046096 h 2076207"/>
              <a:gd name="csX161" fmla="*/ 342155 w 729414"/>
              <a:gd name="csY161" fmla="*/ 2046441 h 2076207"/>
              <a:gd name="csX162" fmla="*/ 378900 w 729414"/>
              <a:gd name="csY162" fmla="*/ 2007280 h 2076207"/>
              <a:gd name="csX163" fmla="*/ 310220 w 729414"/>
              <a:gd name="csY163" fmla="*/ 554288 h 2076207"/>
              <a:gd name="csX164" fmla="*/ 259136 w 729414"/>
              <a:gd name="csY164" fmla="*/ 556881 h 2076207"/>
              <a:gd name="csX165" fmla="*/ 249085 w 729414"/>
              <a:gd name="csY165" fmla="*/ 567981 h 2076207"/>
              <a:gd name="csX166" fmla="*/ 249141 w 729414"/>
              <a:gd name="csY166" fmla="*/ 605644 h 2076207"/>
              <a:gd name="csX167" fmla="*/ 262628 w 729414"/>
              <a:gd name="csY167" fmla="*/ 605627 h 2076207"/>
              <a:gd name="csX168" fmla="*/ 369608 w 729414"/>
              <a:gd name="csY168" fmla="*/ 603027 h 2076207"/>
              <a:gd name="csX169" fmla="*/ 463931 w 729414"/>
              <a:gd name="csY169" fmla="*/ 605146 h 2076207"/>
              <a:gd name="csX170" fmla="*/ 478113 w 729414"/>
              <a:gd name="csY170" fmla="*/ 595843 h 2076207"/>
              <a:gd name="csX171" fmla="*/ 478796 w 729414"/>
              <a:gd name="csY171" fmla="*/ 556832 h 2076207"/>
              <a:gd name="csX172" fmla="*/ 310220 w 729414"/>
              <a:gd name="csY172" fmla="*/ 554288 h 2076207"/>
              <a:gd name="csX173" fmla="*/ 348836 w 729414"/>
              <a:gd name="csY173" fmla="*/ 684115 h 2076207"/>
              <a:gd name="csX174" fmla="*/ 281333 w 729414"/>
              <a:gd name="csY174" fmla="*/ 683313 h 2076207"/>
              <a:gd name="csX175" fmla="*/ 212728 w 729414"/>
              <a:gd name="csY175" fmla="*/ 681931 h 2076207"/>
              <a:gd name="csX176" fmla="*/ 187283 w 729414"/>
              <a:gd name="csY176" fmla="*/ 689555 h 2076207"/>
              <a:gd name="csX177" fmla="*/ 186163 w 729414"/>
              <a:gd name="csY177" fmla="*/ 718266 h 2076207"/>
              <a:gd name="csX178" fmla="*/ 209894 w 729414"/>
              <a:gd name="csY178" fmla="*/ 726798 h 2076207"/>
              <a:gd name="csX179" fmla="*/ 334814 w 729414"/>
              <a:gd name="csY179" fmla="*/ 732494 h 2076207"/>
              <a:gd name="csX180" fmla="*/ 364856 w 729414"/>
              <a:gd name="csY180" fmla="*/ 707963 h 2076207"/>
              <a:gd name="csX181" fmla="*/ 348836 w 729414"/>
              <a:gd name="csY181" fmla="*/ 684115 h 2076207"/>
              <a:gd name="csX182" fmla="*/ 298865 w 729414"/>
              <a:gd name="csY182" fmla="*/ 621954 h 2076207"/>
              <a:gd name="csX183" fmla="*/ 251619 w 729414"/>
              <a:gd name="csY183" fmla="*/ 622133 h 2076207"/>
              <a:gd name="csX184" fmla="*/ 214459 w 729414"/>
              <a:gd name="csY184" fmla="*/ 636230 h 2076207"/>
              <a:gd name="csX185" fmla="*/ 221436 w 729414"/>
              <a:gd name="csY185" fmla="*/ 654205 h 2076207"/>
              <a:gd name="csX186" fmla="*/ 272412 w 729414"/>
              <a:gd name="csY186" fmla="*/ 657250 h 2076207"/>
              <a:gd name="csX187" fmla="*/ 349094 w 729414"/>
              <a:gd name="csY187" fmla="*/ 659282 h 2076207"/>
              <a:gd name="csX188" fmla="*/ 362996 w 729414"/>
              <a:gd name="csY188" fmla="*/ 644234 h 2076207"/>
              <a:gd name="csX189" fmla="*/ 348472 w 729414"/>
              <a:gd name="csY189" fmla="*/ 624649 h 2076207"/>
              <a:gd name="csX190" fmla="*/ 298865 w 729414"/>
              <a:gd name="csY190" fmla="*/ 621954 h 2076207"/>
              <a:gd name="csX191" fmla="*/ 227796 w 729414"/>
              <a:gd name="csY191" fmla="*/ 528000 h 2076207"/>
              <a:gd name="csX192" fmla="*/ 241009 w 729414"/>
              <a:gd name="csY192" fmla="*/ 545897 h 2076207"/>
              <a:gd name="csX193" fmla="*/ 282607 w 729414"/>
              <a:gd name="csY193" fmla="*/ 543480 h 2076207"/>
              <a:gd name="csX194" fmla="*/ 354213 w 729414"/>
              <a:gd name="csY194" fmla="*/ 543384 h 2076207"/>
              <a:gd name="csX195" fmla="*/ 365334 w 729414"/>
              <a:gd name="csY195" fmla="*/ 533397 h 2076207"/>
              <a:gd name="csX196" fmla="*/ 354531 w 729414"/>
              <a:gd name="csY196" fmla="*/ 521620 h 2076207"/>
              <a:gd name="csX197" fmla="*/ 259169 w 729414"/>
              <a:gd name="csY197" fmla="*/ 521978 h 2076207"/>
              <a:gd name="csX198" fmla="*/ 227796 w 729414"/>
              <a:gd name="csY198" fmla="*/ 528000 h 2076207"/>
              <a:gd name="csX199" fmla="*/ 508068 w 729414"/>
              <a:gd name="csY199" fmla="*/ 190710 h 2076207"/>
              <a:gd name="csX200" fmla="*/ 521293 w 729414"/>
              <a:gd name="csY200" fmla="*/ 205907 h 2076207"/>
              <a:gd name="csX201" fmla="*/ 525175 w 729414"/>
              <a:gd name="csY201" fmla="*/ 202985 h 2076207"/>
              <a:gd name="csX202" fmla="*/ 500276 w 729414"/>
              <a:gd name="csY202" fmla="*/ 160640 h 2076207"/>
              <a:gd name="csX203" fmla="*/ 497122 w 729414"/>
              <a:gd name="csY203" fmla="*/ 162007 h 2076207"/>
              <a:gd name="csX204" fmla="*/ 508068 w 729414"/>
              <a:gd name="csY204" fmla="*/ 190710 h 2076207"/>
              <a:gd name="csX205" fmla="*/ 215522 w 729414"/>
              <a:gd name="csY205" fmla="*/ 197296 h 2076207"/>
              <a:gd name="csX206" fmla="*/ 234029 w 729414"/>
              <a:gd name="csY206" fmla="*/ 162725 h 2076207"/>
              <a:gd name="csX207" fmla="*/ 229000 w 729414"/>
              <a:gd name="csY207" fmla="*/ 159902 h 2076207"/>
              <a:gd name="csX208" fmla="*/ 204824 w 729414"/>
              <a:gd name="csY208" fmla="*/ 199677 h 2076207"/>
              <a:gd name="csX209" fmla="*/ 207990 w 729414"/>
              <a:gd name="csY209" fmla="*/ 202198 h 2076207"/>
              <a:gd name="csX210" fmla="*/ 215522 w 729414"/>
              <a:gd name="csY210" fmla="*/ 197296 h 2076207"/>
              <a:gd name="csX211" fmla="*/ 484400 w 729414"/>
              <a:gd name="csY211" fmla="*/ 896678 h 2076207"/>
              <a:gd name="csX212" fmla="*/ 486181 w 729414"/>
              <a:gd name="csY212" fmla="*/ 896585 h 2076207"/>
              <a:gd name="csX213" fmla="*/ 486181 w 729414"/>
              <a:gd name="csY213" fmla="*/ 795289 h 2076207"/>
              <a:gd name="csX214" fmla="*/ 720241 w 729414"/>
              <a:gd name="csY214" fmla="*/ 2030666 h 2076207"/>
              <a:gd name="csX215" fmla="*/ 721175 w 729414"/>
              <a:gd name="csY215" fmla="*/ 2029733 h 2076207"/>
              <a:gd name="csX216" fmla="*/ 720241 w 729414"/>
              <a:gd name="csY216" fmla="*/ 2030666 h 2076207"/>
              <a:gd name="csX217" fmla="*/ 715702 w 729414"/>
              <a:gd name="csY217" fmla="*/ 2037051 h 2076207"/>
              <a:gd name="csX218" fmla="*/ 715702 w 729414"/>
              <a:gd name="csY218" fmla="*/ 2037051 h 2076207"/>
              <a:gd name="csX0" fmla="*/ 96263 w 765535"/>
              <a:gd name="csY0" fmla="*/ 2076207 h 2076207"/>
              <a:gd name="csX1" fmla="*/ 63862 w 765535"/>
              <a:gd name="csY1" fmla="*/ 2065388 h 2076207"/>
              <a:gd name="csX2" fmla="*/ 16555 w 765535"/>
              <a:gd name="csY2" fmla="*/ 2050152 h 2076207"/>
              <a:gd name="csX3" fmla="*/ 15 w 765535"/>
              <a:gd name="csY3" fmla="*/ 2023802 h 2076207"/>
              <a:gd name="csX4" fmla="*/ 18368 w 765535"/>
              <a:gd name="csY4" fmla="*/ 1940709 h 2076207"/>
              <a:gd name="csX5" fmla="*/ 22139 w 765535"/>
              <a:gd name="csY5" fmla="*/ 1907268 h 2076207"/>
              <a:gd name="csX6" fmla="*/ 57941 w 765535"/>
              <a:gd name="csY6" fmla="*/ 1774163 h 2076207"/>
              <a:gd name="csX7" fmla="*/ 102478 w 765535"/>
              <a:gd name="csY7" fmla="*/ 1720275 h 2076207"/>
              <a:gd name="csX8" fmla="*/ 108579 w 765535"/>
              <a:gd name="csY8" fmla="*/ 1650967 h 2076207"/>
              <a:gd name="csX9" fmla="*/ 115628 w 765535"/>
              <a:gd name="csY9" fmla="*/ 1625405 h 2076207"/>
              <a:gd name="csX10" fmla="*/ 156323 w 765535"/>
              <a:gd name="csY10" fmla="*/ 1560181 h 2076207"/>
              <a:gd name="csX11" fmla="*/ 199424 w 765535"/>
              <a:gd name="csY11" fmla="*/ 1364729 h 2076207"/>
              <a:gd name="csX12" fmla="*/ 216779 w 765535"/>
              <a:gd name="csY12" fmla="*/ 1219490 h 2076207"/>
              <a:gd name="csX13" fmla="*/ 229755 w 765535"/>
              <a:gd name="csY13" fmla="*/ 1099357 h 2076207"/>
              <a:gd name="csX14" fmla="*/ 232707 w 765535"/>
              <a:gd name="csY14" fmla="*/ 1056423 h 2076207"/>
              <a:gd name="csX15" fmla="*/ 235622 w 765535"/>
              <a:gd name="csY15" fmla="*/ 952675 h 2076207"/>
              <a:gd name="csX16" fmla="*/ 235445 w 765535"/>
              <a:gd name="csY16" fmla="*/ 780278 h 2076207"/>
              <a:gd name="csX17" fmla="*/ 214544 w 765535"/>
              <a:gd name="csY17" fmla="*/ 756435 h 2076207"/>
              <a:gd name="csX18" fmla="*/ 172569 w 765535"/>
              <a:gd name="csY18" fmla="*/ 742582 h 2076207"/>
              <a:gd name="csX19" fmla="*/ 168784 w 765535"/>
              <a:gd name="csY19" fmla="*/ 669116 h 2076207"/>
              <a:gd name="csX20" fmla="*/ 191657 w 765535"/>
              <a:gd name="csY20" fmla="*/ 630765 h 2076207"/>
              <a:gd name="csX21" fmla="*/ 208150 w 765535"/>
              <a:gd name="csY21" fmla="*/ 609084 h 2076207"/>
              <a:gd name="csX22" fmla="*/ 216756 w 765535"/>
              <a:gd name="csY22" fmla="*/ 558673 h 2076207"/>
              <a:gd name="csX23" fmla="*/ 209092 w 765535"/>
              <a:gd name="csY23" fmla="*/ 521540 h 2076207"/>
              <a:gd name="csX24" fmla="*/ 204683 w 765535"/>
              <a:gd name="csY24" fmla="*/ 474024 h 2076207"/>
              <a:gd name="csX25" fmla="*/ 115483 w 765535"/>
              <a:gd name="csY25" fmla="*/ 213499 h 2076207"/>
              <a:gd name="csX26" fmla="*/ 102909 w 765535"/>
              <a:gd name="csY26" fmla="*/ 182297 h 2076207"/>
              <a:gd name="csX27" fmla="*/ 104315 w 765535"/>
              <a:gd name="csY27" fmla="*/ 163968 h 2076207"/>
              <a:gd name="csX28" fmla="*/ 122444 w 765535"/>
              <a:gd name="csY28" fmla="*/ 160805 h 2076207"/>
              <a:gd name="csX29" fmla="*/ 170283 w 765535"/>
              <a:gd name="csY29" fmla="*/ 187783 h 2076207"/>
              <a:gd name="csX30" fmla="*/ 180938 w 765535"/>
              <a:gd name="csY30" fmla="*/ 195322 h 2076207"/>
              <a:gd name="csX31" fmla="*/ 221419 w 765535"/>
              <a:gd name="csY31" fmla="*/ 138058 h 2076207"/>
              <a:gd name="csX32" fmla="*/ 294099 w 765535"/>
              <a:gd name="csY32" fmla="*/ 91372 h 2076207"/>
              <a:gd name="csX33" fmla="*/ 302307 w 765535"/>
              <a:gd name="csY33" fmla="*/ 76560 h 2076207"/>
              <a:gd name="csX34" fmla="*/ 320284 w 765535"/>
              <a:gd name="csY34" fmla="*/ 8414 h 2076207"/>
              <a:gd name="csX35" fmla="*/ 324784 w 765535"/>
              <a:gd name="csY35" fmla="*/ 946 h 2076207"/>
              <a:gd name="csX36" fmla="*/ 399212 w 765535"/>
              <a:gd name="csY36" fmla="*/ 0 h 2076207"/>
              <a:gd name="csX37" fmla="*/ 425980 w 765535"/>
              <a:gd name="csY37" fmla="*/ 78301 h 2076207"/>
              <a:gd name="csX38" fmla="*/ 431861 w 765535"/>
              <a:gd name="csY38" fmla="*/ 90312 h 2076207"/>
              <a:gd name="csX39" fmla="*/ 540349 w 765535"/>
              <a:gd name="csY39" fmla="*/ 187946 h 2076207"/>
              <a:gd name="csX40" fmla="*/ 545555 w 765535"/>
              <a:gd name="csY40" fmla="*/ 197828 h 2076207"/>
              <a:gd name="csX41" fmla="*/ 587318 w 765535"/>
              <a:gd name="csY41" fmla="*/ 171260 h 2076207"/>
              <a:gd name="csX42" fmla="*/ 601503 w 765535"/>
              <a:gd name="csY42" fmla="*/ 163707 h 2076207"/>
              <a:gd name="csX43" fmla="*/ 625254 w 765535"/>
              <a:gd name="csY43" fmla="*/ 163123 h 2076207"/>
              <a:gd name="csX44" fmla="*/ 625468 w 765535"/>
              <a:gd name="csY44" fmla="*/ 187579 h 2076207"/>
              <a:gd name="csX45" fmla="*/ 597543 w 765535"/>
              <a:gd name="csY45" fmla="*/ 251872 h 2076207"/>
              <a:gd name="csX46" fmla="*/ 531831 w 765535"/>
              <a:gd name="csY46" fmla="*/ 442689 h 2076207"/>
              <a:gd name="csX47" fmla="*/ 519888 w 765535"/>
              <a:gd name="csY47" fmla="*/ 501474 h 2076207"/>
              <a:gd name="csX48" fmla="*/ 522506 w 765535"/>
              <a:gd name="csY48" fmla="*/ 525086 h 2076207"/>
              <a:gd name="csX49" fmla="*/ 516235 w 765535"/>
              <a:gd name="csY49" fmla="*/ 555946 h 2076207"/>
              <a:gd name="csX50" fmla="*/ 521332 w 765535"/>
              <a:gd name="csY50" fmla="*/ 610676 h 2076207"/>
              <a:gd name="csX51" fmla="*/ 541382 w 765535"/>
              <a:gd name="csY51" fmla="*/ 642597 h 2076207"/>
              <a:gd name="csX52" fmla="*/ 557031 w 765535"/>
              <a:gd name="csY52" fmla="*/ 667949 h 2076207"/>
              <a:gd name="csX53" fmla="*/ 553994 w 765535"/>
              <a:gd name="csY53" fmla="*/ 744146 h 2076207"/>
              <a:gd name="csX54" fmla="*/ 508215 w 765535"/>
              <a:gd name="csY54" fmla="*/ 758841 h 2076207"/>
              <a:gd name="csX55" fmla="*/ 497442 w 765535"/>
              <a:gd name="csY55" fmla="*/ 771256 h 2076207"/>
              <a:gd name="csX56" fmla="*/ 493005 w 765535"/>
              <a:gd name="csY56" fmla="*/ 922055 h 2076207"/>
              <a:gd name="csX57" fmla="*/ 502900 w 765535"/>
              <a:gd name="csY57" fmla="*/ 1114191 h 2076207"/>
              <a:gd name="csX58" fmla="*/ 508800 w 765535"/>
              <a:gd name="csY58" fmla="*/ 1205474 h 2076207"/>
              <a:gd name="csX59" fmla="*/ 522952 w 765535"/>
              <a:gd name="csY59" fmla="*/ 1320065 h 2076207"/>
              <a:gd name="csX60" fmla="*/ 554682 w 765535"/>
              <a:gd name="csY60" fmla="*/ 1501203 h 2076207"/>
              <a:gd name="csX61" fmla="*/ 576958 w 765535"/>
              <a:gd name="csY61" fmla="*/ 1593963 h 2076207"/>
              <a:gd name="csX62" fmla="*/ 595349 w 765535"/>
              <a:gd name="csY62" fmla="*/ 1613498 h 2076207"/>
              <a:gd name="csX63" fmla="*/ 613936 w 765535"/>
              <a:gd name="csY63" fmla="*/ 1624058 h 2076207"/>
              <a:gd name="csX64" fmla="*/ 620938 w 765535"/>
              <a:gd name="csY64" fmla="*/ 1652071 h 2076207"/>
              <a:gd name="csX65" fmla="*/ 630805 w 765535"/>
              <a:gd name="csY65" fmla="*/ 1721702 h 2076207"/>
              <a:gd name="csX66" fmla="*/ 685830 w 765535"/>
              <a:gd name="csY66" fmla="*/ 1792915 h 2076207"/>
              <a:gd name="csX67" fmla="*/ 708904 w 765535"/>
              <a:gd name="csY67" fmla="*/ 1890290 h 2076207"/>
              <a:gd name="csX68" fmla="*/ 716580 w 765535"/>
              <a:gd name="csY68" fmla="*/ 1951136 h 2076207"/>
              <a:gd name="csX69" fmla="*/ 729397 w 765535"/>
              <a:gd name="csY69" fmla="*/ 2030261 h 2076207"/>
              <a:gd name="csX70" fmla="*/ 714212 w 765535"/>
              <a:gd name="csY70" fmla="*/ 2049544 h 2076207"/>
              <a:gd name="csX71" fmla="*/ 96263 w 765535"/>
              <a:gd name="csY71" fmla="*/ 2076207 h 2076207"/>
              <a:gd name="csX72" fmla="*/ 489970 w 765535"/>
              <a:gd name="csY72" fmla="*/ 152208 h 2076207"/>
              <a:gd name="csX73" fmla="*/ 490754 w 765535"/>
              <a:gd name="csY73" fmla="*/ 152592 h 2076207"/>
              <a:gd name="csX74" fmla="*/ 489489 w 765535"/>
              <a:gd name="csY74" fmla="*/ 149547 h 2076207"/>
              <a:gd name="csX75" fmla="*/ 393621 w 765535"/>
              <a:gd name="csY75" fmla="*/ 99259 h 2076207"/>
              <a:gd name="csX76" fmla="*/ 390419 w 765535"/>
              <a:gd name="csY76" fmla="*/ 18568 h 2076207"/>
              <a:gd name="csX77" fmla="*/ 334131 w 765535"/>
              <a:gd name="csY77" fmla="*/ 24327 h 2076207"/>
              <a:gd name="csX78" fmla="*/ 344678 w 765535"/>
              <a:gd name="csY78" fmla="*/ 101259 h 2076207"/>
              <a:gd name="csX79" fmla="*/ 298854 w 765535"/>
              <a:gd name="csY79" fmla="*/ 114003 h 2076207"/>
              <a:gd name="csX80" fmla="*/ 237456 w 765535"/>
              <a:gd name="csY80" fmla="*/ 154340 h 2076207"/>
              <a:gd name="csX81" fmla="*/ 240382 w 765535"/>
              <a:gd name="csY81" fmla="*/ 154035 h 2076207"/>
              <a:gd name="csX82" fmla="*/ 262731 w 765535"/>
              <a:gd name="csY82" fmla="*/ 170426 h 2076207"/>
              <a:gd name="csX83" fmla="*/ 279169 w 765535"/>
              <a:gd name="csY83" fmla="*/ 193173 h 2076207"/>
              <a:gd name="csX84" fmla="*/ 327717 w 765535"/>
              <a:gd name="csY84" fmla="*/ 188556 h 2076207"/>
              <a:gd name="csX85" fmla="*/ 348052 w 765535"/>
              <a:gd name="csY85" fmla="*/ 156919 h 2076207"/>
              <a:gd name="csX86" fmla="*/ 380330 w 765535"/>
              <a:gd name="csY86" fmla="*/ 156483 h 2076207"/>
              <a:gd name="csX87" fmla="*/ 408490 w 765535"/>
              <a:gd name="csY87" fmla="*/ 195400 h 2076207"/>
              <a:gd name="csX88" fmla="*/ 445346 w 765535"/>
              <a:gd name="csY88" fmla="*/ 197582 h 2076207"/>
              <a:gd name="csX89" fmla="*/ 464798 w 765535"/>
              <a:gd name="csY89" fmla="*/ 174107 h 2076207"/>
              <a:gd name="csX90" fmla="*/ 489970 w 765535"/>
              <a:gd name="csY90" fmla="*/ 152208 h 2076207"/>
              <a:gd name="csX91" fmla="*/ 140694 w 765535"/>
              <a:gd name="csY91" fmla="*/ 201837 h 2076207"/>
              <a:gd name="csX92" fmla="*/ 139834 w 765535"/>
              <a:gd name="csY92" fmla="*/ 201482 h 2076207"/>
              <a:gd name="csX93" fmla="*/ 140812 w 765535"/>
              <a:gd name="csY93" fmla="*/ 204941 h 2076207"/>
              <a:gd name="csX94" fmla="*/ 144631 w 765535"/>
              <a:gd name="csY94" fmla="*/ 217811 h 2076207"/>
              <a:gd name="csX95" fmla="*/ 201241 w 765535"/>
              <a:gd name="csY95" fmla="*/ 373387 h 2076207"/>
              <a:gd name="csX96" fmla="*/ 235971 w 765535"/>
              <a:gd name="csY96" fmla="*/ 504451 h 2076207"/>
              <a:gd name="csX97" fmla="*/ 247475 w 765535"/>
              <a:gd name="csY97" fmla="*/ 513241 h 2076207"/>
              <a:gd name="csX98" fmla="*/ 289066 w 765535"/>
              <a:gd name="csY98" fmla="*/ 511170 h 2076207"/>
              <a:gd name="csX99" fmla="*/ 378229 w 765535"/>
              <a:gd name="csY99" fmla="*/ 511084 h 2076207"/>
              <a:gd name="csX100" fmla="*/ 470850 w 765535"/>
              <a:gd name="csY100" fmla="*/ 516341 h 2076207"/>
              <a:gd name="csX101" fmla="*/ 492933 w 765535"/>
              <a:gd name="csY101" fmla="*/ 497969 h 2076207"/>
              <a:gd name="csX102" fmla="*/ 557617 w 765535"/>
              <a:gd name="csY102" fmla="*/ 280398 h 2076207"/>
              <a:gd name="csX103" fmla="*/ 588788 w 765535"/>
              <a:gd name="csY103" fmla="*/ 200385 h 2076207"/>
              <a:gd name="csX104" fmla="*/ 530958 w 765535"/>
              <a:gd name="csY104" fmla="*/ 232968 h 2076207"/>
              <a:gd name="csX105" fmla="*/ 483823 w 765535"/>
              <a:gd name="csY105" fmla="*/ 190364 h 2076207"/>
              <a:gd name="csX106" fmla="*/ 466649 w 765535"/>
              <a:gd name="csY106" fmla="*/ 209061 h 2076207"/>
              <a:gd name="csX107" fmla="*/ 399941 w 765535"/>
              <a:gd name="csY107" fmla="*/ 216988 h 2076207"/>
              <a:gd name="csX108" fmla="*/ 363018 w 765535"/>
              <a:gd name="csY108" fmla="*/ 179615 h 2076207"/>
              <a:gd name="csX109" fmla="*/ 308839 w 765535"/>
              <a:gd name="csY109" fmla="*/ 227846 h 2076207"/>
              <a:gd name="csX110" fmla="*/ 245077 w 765535"/>
              <a:gd name="csY110" fmla="*/ 192402 h 2076207"/>
              <a:gd name="csX111" fmla="*/ 242829 w 765535"/>
              <a:gd name="csY111" fmla="*/ 198815 h 2076207"/>
              <a:gd name="csX112" fmla="*/ 168452 w 765535"/>
              <a:gd name="csY112" fmla="*/ 219348 h 2076207"/>
              <a:gd name="csX113" fmla="*/ 140694 w 765535"/>
              <a:gd name="csY113" fmla="*/ 201837 h 2076207"/>
              <a:gd name="csX114" fmla="*/ 259999 w 765535"/>
              <a:gd name="csY114" fmla="*/ 966699 h 2076207"/>
              <a:gd name="csX115" fmla="*/ 257072 w 765535"/>
              <a:gd name="csY115" fmla="*/ 1070424 h 2076207"/>
              <a:gd name="csX116" fmla="*/ 251372 w 765535"/>
              <a:gd name="csY116" fmla="*/ 1157618 h 2076207"/>
              <a:gd name="csX117" fmla="*/ 232677 w 765535"/>
              <a:gd name="csY117" fmla="*/ 1320279 h 2076207"/>
              <a:gd name="csX118" fmla="*/ 209182 w 765535"/>
              <a:gd name="csY118" fmla="*/ 1468667 h 2076207"/>
              <a:gd name="csX119" fmla="*/ 175302 w 765535"/>
              <a:gd name="csY119" fmla="*/ 1616623 h 2076207"/>
              <a:gd name="csX120" fmla="*/ 182769 w 765535"/>
              <a:gd name="csY120" fmla="*/ 1629786 h 2076207"/>
              <a:gd name="csX121" fmla="*/ 212156 w 765535"/>
              <a:gd name="csY121" fmla="*/ 1632656 h 2076207"/>
              <a:gd name="csX122" fmla="*/ 351295 w 765535"/>
              <a:gd name="csY122" fmla="*/ 1632801 h 2076207"/>
              <a:gd name="csX123" fmla="*/ 376150 w 765535"/>
              <a:gd name="csY123" fmla="*/ 1608307 h 2076207"/>
              <a:gd name="csX124" fmla="*/ 373450 w 765535"/>
              <a:gd name="csY124" fmla="*/ 1457291 h 2076207"/>
              <a:gd name="csX125" fmla="*/ 370936 w 765535"/>
              <a:gd name="csY125" fmla="*/ 1342736 h 2076207"/>
              <a:gd name="csX126" fmla="*/ 368328 w 765535"/>
              <a:gd name="csY126" fmla="*/ 1203878 h 2076207"/>
              <a:gd name="csX127" fmla="*/ 367836 w 765535"/>
              <a:gd name="csY127" fmla="*/ 813478 h 2076207"/>
              <a:gd name="csX128" fmla="*/ 365240 w 765535"/>
              <a:gd name="csY128" fmla="*/ 773243 h 2076207"/>
              <a:gd name="csX129" fmla="*/ 353084 w 765535"/>
              <a:gd name="csY129" fmla="*/ 762083 h 2076207"/>
              <a:gd name="csX130" fmla="*/ 280966 w 765535"/>
              <a:gd name="csY130" fmla="*/ 759855 h 2076207"/>
              <a:gd name="csX131" fmla="*/ 259965 w 765535"/>
              <a:gd name="csY131" fmla="*/ 779553 h 2076207"/>
              <a:gd name="csX132" fmla="*/ 262341 w 765535"/>
              <a:gd name="csY132" fmla="*/ 856275 h 2076207"/>
              <a:gd name="csX133" fmla="*/ 259999 w 765535"/>
              <a:gd name="csY133" fmla="*/ 966699 h 2076207"/>
              <a:gd name="csX134" fmla="*/ 55556 w 765535"/>
              <a:gd name="csY134" fmla="*/ 1835827 h 2076207"/>
              <a:gd name="csX135" fmla="*/ 49393 w 765535"/>
              <a:gd name="csY135" fmla="*/ 1878155 h 2076207"/>
              <a:gd name="csX136" fmla="*/ 73949 w 765535"/>
              <a:gd name="csY136" fmla="*/ 1905781 h 2076207"/>
              <a:gd name="csX137" fmla="*/ 110073 w 765535"/>
              <a:gd name="csY137" fmla="*/ 1909068 h 2076207"/>
              <a:gd name="csX138" fmla="*/ 224745 w 765535"/>
              <a:gd name="csY138" fmla="*/ 1921652 h 2076207"/>
              <a:gd name="csX139" fmla="*/ 347327 w 765535"/>
              <a:gd name="csY139" fmla="*/ 1924778 h 2076207"/>
              <a:gd name="csX140" fmla="*/ 363345 w 765535"/>
              <a:gd name="csY140" fmla="*/ 1923293 h 2076207"/>
              <a:gd name="csX141" fmla="*/ 373787 w 765535"/>
              <a:gd name="csY141" fmla="*/ 1911200 h 2076207"/>
              <a:gd name="csX142" fmla="*/ 376623 w 765535"/>
              <a:gd name="csY142" fmla="*/ 1696741 h 2076207"/>
              <a:gd name="csX143" fmla="*/ 360437 w 765535"/>
              <a:gd name="csY143" fmla="*/ 1681289 h 2076207"/>
              <a:gd name="csX144" fmla="*/ 263503 w 765535"/>
              <a:gd name="csY144" fmla="*/ 1678179 h 2076207"/>
              <a:gd name="csX145" fmla="*/ 160381 w 765535"/>
              <a:gd name="csY145" fmla="*/ 1670405 h 2076207"/>
              <a:gd name="csX146" fmla="*/ 143321 w 765535"/>
              <a:gd name="csY146" fmla="*/ 1685538 h 2076207"/>
              <a:gd name="csX147" fmla="*/ 124769 w 765535"/>
              <a:gd name="csY147" fmla="*/ 1738195 h 2076207"/>
              <a:gd name="csX148" fmla="*/ 90593 w 765535"/>
              <a:gd name="csY148" fmla="*/ 1779570 h 2076207"/>
              <a:gd name="csX149" fmla="*/ 55556 w 765535"/>
              <a:gd name="csY149" fmla="*/ 1835827 h 2076207"/>
              <a:gd name="csX150" fmla="*/ 378900 w 765535"/>
              <a:gd name="csY150" fmla="*/ 2007280 h 2076207"/>
              <a:gd name="csX151" fmla="*/ 378887 w 765535"/>
              <a:gd name="csY151" fmla="*/ 1995127 h 2076207"/>
              <a:gd name="csX152" fmla="*/ 359084 w 765535"/>
              <a:gd name="csY152" fmla="*/ 1975964 h 2076207"/>
              <a:gd name="csX153" fmla="*/ 247288 w 765535"/>
              <a:gd name="csY153" fmla="*/ 1973305 h 2076207"/>
              <a:gd name="csX154" fmla="*/ 201692 w 765535"/>
              <a:gd name="csY154" fmla="*/ 1970275 h 2076207"/>
              <a:gd name="csX155" fmla="*/ 57962 w 765535"/>
              <a:gd name="csY155" fmla="*/ 1952648 h 2076207"/>
              <a:gd name="csX156" fmla="*/ 39194 w 765535"/>
              <a:gd name="csY156" fmla="*/ 1963552 h 2076207"/>
              <a:gd name="csX157" fmla="*/ 30066 w 765535"/>
              <a:gd name="csY157" fmla="*/ 2006631 h 2076207"/>
              <a:gd name="csX158" fmla="*/ 40232 w 765535"/>
              <a:gd name="csY158" fmla="*/ 2019486 h 2076207"/>
              <a:gd name="csX159" fmla="*/ 238186 w 765535"/>
              <a:gd name="csY159" fmla="*/ 2046096 h 2076207"/>
              <a:gd name="csX160" fmla="*/ 342155 w 765535"/>
              <a:gd name="csY160" fmla="*/ 2046441 h 2076207"/>
              <a:gd name="csX161" fmla="*/ 378900 w 765535"/>
              <a:gd name="csY161" fmla="*/ 2007280 h 2076207"/>
              <a:gd name="csX162" fmla="*/ 310220 w 765535"/>
              <a:gd name="csY162" fmla="*/ 554288 h 2076207"/>
              <a:gd name="csX163" fmla="*/ 259136 w 765535"/>
              <a:gd name="csY163" fmla="*/ 556881 h 2076207"/>
              <a:gd name="csX164" fmla="*/ 249085 w 765535"/>
              <a:gd name="csY164" fmla="*/ 567981 h 2076207"/>
              <a:gd name="csX165" fmla="*/ 249141 w 765535"/>
              <a:gd name="csY165" fmla="*/ 605644 h 2076207"/>
              <a:gd name="csX166" fmla="*/ 262628 w 765535"/>
              <a:gd name="csY166" fmla="*/ 605627 h 2076207"/>
              <a:gd name="csX167" fmla="*/ 369608 w 765535"/>
              <a:gd name="csY167" fmla="*/ 603027 h 2076207"/>
              <a:gd name="csX168" fmla="*/ 463931 w 765535"/>
              <a:gd name="csY168" fmla="*/ 605146 h 2076207"/>
              <a:gd name="csX169" fmla="*/ 478113 w 765535"/>
              <a:gd name="csY169" fmla="*/ 595843 h 2076207"/>
              <a:gd name="csX170" fmla="*/ 478796 w 765535"/>
              <a:gd name="csY170" fmla="*/ 556832 h 2076207"/>
              <a:gd name="csX171" fmla="*/ 310220 w 765535"/>
              <a:gd name="csY171" fmla="*/ 554288 h 2076207"/>
              <a:gd name="csX172" fmla="*/ 348836 w 765535"/>
              <a:gd name="csY172" fmla="*/ 684115 h 2076207"/>
              <a:gd name="csX173" fmla="*/ 281333 w 765535"/>
              <a:gd name="csY173" fmla="*/ 683313 h 2076207"/>
              <a:gd name="csX174" fmla="*/ 212728 w 765535"/>
              <a:gd name="csY174" fmla="*/ 681931 h 2076207"/>
              <a:gd name="csX175" fmla="*/ 187283 w 765535"/>
              <a:gd name="csY175" fmla="*/ 689555 h 2076207"/>
              <a:gd name="csX176" fmla="*/ 186163 w 765535"/>
              <a:gd name="csY176" fmla="*/ 718266 h 2076207"/>
              <a:gd name="csX177" fmla="*/ 209894 w 765535"/>
              <a:gd name="csY177" fmla="*/ 726798 h 2076207"/>
              <a:gd name="csX178" fmla="*/ 334814 w 765535"/>
              <a:gd name="csY178" fmla="*/ 732494 h 2076207"/>
              <a:gd name="csX179" fmla="*/ 364856 w 765535"/>
              <a:gd name="csY179" fmla="*/ 707963 h 2076207"/>
              <a:gd name="csX180" fmla="*/ 348836 w 765535"/>
              <a:gd name="csY180" fmla="*/ 684115 h 2076207"/>
              <a:gd name="csX181" fmla="*/ 298865 w 765535"/>
              <a:gd name="csY181" fmla="*/ 621954 h 2076207"/>
              <a:gd name="csX182" fmla="*/ 251619 w 765535"/>
              <a:gd name="csY182" fmla="*/ 622133 h 2076207"/>
              <a:gd name="csX183" fmla="*/ 214459 w 765535"/>
              <a:gd name="csY183" fmla="*/ 636230 h 2076207"/>
              <a:gd name="csX184" fmla="*/ 221436 w 765535"/>
              <a:gd name="csY184" fmla="*/ 654205 h 2076207"/>
              <a:gd name="csX185" fmla="*/ 272412 w 765535"/>
              <a:gd name="csY185" fmla="*/ 657250 h 2076207"/>
              <a:gd name="csX186" fmla="*/ 349094 w 765535"/>
              <a:gd name="csY186" fmla="*/ 659282 h 2076207"/>
              <a:gd name="csX187" fmla="*/ 362996 w 765535"/>
              <a:gd name="csY187" fmla="*/ 644234 h 2076207"/>
              <a:gd name="csX188" fmla="*/ 348472 w 765535"/>
              <a:gd name="csY188" fmla="*/ 624649 h 2076207"/>
              <a:gd name="csX189" fmla="*/ 298865 w 765535"/>
              <a:gd name="csY189" fmla="*/ 621954 h 2076207"/>
              <a:gd name="csX190" fmla="*/ 227796 w 765535"/>
              <a:gd name="csY190" fmla="*/ 528000 h 2076207"/>
              <a:gd name="csX191" fmla="*/ 241009 w 765535"/>
              <a:gd name="csY191" fmla="*/ 545897 h 2076207"/>
              <a:gd name="csX192" fmla="*/ 282607 w 765535"/>
              <a:gd name="csY192" fmla="*/ 543480 h 2076207"/>
              <a:gd name="csX193" fmla="*/ 354213 w 765535"/>
              <a:gd name="csY193" fmla="*/ 543384 h 2076207"/>
              <a:gd name="csX194" fmla="*/ 365334 w 765535"/>
              <a:gd name="csY194" fmla="*/ 533397 h 2076207"/>
              <a:gd name="csX195" fmla="*/ 354531 w 765535"/>
              <a:gd name="csY195" fmla="*/ 521620 h 2076207"/>
              <a:gd name="csX196" fmla="*/ 259169 w 765535"/>
              <a:gd name="csY196" fmla="*/ 521978 h 2076207"/>
              <a:gd name="csX197" fmla="*/ 227796 w 765535"/>
              <a:gd name="csY197" fmla="*/ 528000 h 2076207"/>
              <a:gd name="csX198" fmla="*/ 508068 w 765535"/>
              <a:gd name="csY198" fmla="*/ 190710 h 2076207"/>
              <a:gd name="csX199" fmla="*/ 521293 w 765535"/>
              <a:gd name="csY199" fmla="*/ 205907 h 2076207"/>
              <a:gd name="csX200" fmla="*/ 525175 w 765535"/>
              <a:gd name="csY200" fmla="*/ 202985 h 2076207"/>
              <a:gd name="csX201" fmla="*/ 500276 w 765535"/>
              <a:gd name="csY201" fmla="*/ 160640 h 2076207"/>
              <a:gd name="csX202" fmla="*/ 497122 w 765535"/>
              <a:gd name="csY202" fmla="*/ 162007 h 2076207"/>
              <a:gd name="csX203" fmla="*/ 508068 w 765535"/>
              <a:gd name="csY203" fmla="*/ 190710 h 2076207"/>
              <a:gd name="csX204" fmla="*/ 215522 w 765535"/>
              <a:gd name="csY204" fmla="*/ 197296 h 2076207"/>
              <a:gd name="csX205" fmla="*/ 234029 w 765535"/>
              <a:gd name="csY205" fmla="*/ 162725 h 2076207"/>
              <a:gd name="csX206" fmla="*/ 229000 w 765535"/>
              <a:gd name="csY206" fmla="*/ 159902 h 2076207"/>
              <a:gd name="csX207" fmla="*/ 204824 w 765535"/>
              <a:gd name="csY207" fmla="*/ 199677 h 2076207"/>
              <a:gd name="csX208" fmla="*/ 207990 w 765535"/>
              <a:gd name="csY208" fmla="*/ 202198 h 2076207"/>
              <a:gd name="csX209" fmla="*/ 215522 w 765535"/>
              <a:gd name="csY209" fmla="*/ 197296 h 2076207"/>
              <a:gd name="csX210" fmla="*/ 484400 w 765535"/>
              <a:gd name="csY210" fmla="*/ 896678 h 2076207"/>
              <a:gd name="csX211" fmla="*/ 486181 w 765535"/>
              <a:gd name="csY211" fmla="*/ 896585 h 2076207"/>
              <a:gd name="csX212" fmla="*/ 486181 w 765535"/>
              <a:gd name="csY212" fmla="*/ 795289 h 2076207"/>
              <a:gd name="csX213" fmla="*/ 720241 w 765535"/>
              <a:gd name="csY213" fmla="*/ 2030666 h 2076207"/>
              <a:gd name="csX214" fmla="*/ 721175 w 765535"/>
              <a:gd name="csY214" fmla="*/ 2029733 h 2076207"/>
              <a:gd name="csX215" fmla="*/ 720241 w 765535"/>
              <a:gd name="csY215" fmla="*/ 2030666 h 2076207"/>
              <a:gd name="csX216" fmla="*/ 715702 w 765535"/>
              <a:gd name="csY216" fmla="*/ 2037051 h 2076207"/>
              <a:gd name="csX217" fmla="*/ 715702 w 765535"/>
              <a:gd name="csY217" fmla="*/ 2037051 h 2076207"/>
              <a:gd name="csX0" fmla="*/ 96263 w 733006"/>
              <a:gd name="csY0" fmla="*/ 2076207 h 2076207"/>
              <a:gd name="csX1" fmla="*/ 63862 w 733006"/>
              <a:gd name="csY1" fmla="*/ 2065388 h 2076207"/>
              <a:gd name="csX2" fmla="*/ 16555 w 733006"/>
              <a:gd name="csY2" fmla="*/ 2050152 h 2076207"/>
              <a:gd name="csX3" fmla="*/ 15 w 733006"/>
              <a:gd name="csY3" fmla="*/ 2023802 h 2076207"/>
              <a:gd name="csX4" fmla="*/ 18368 w 733006"/>
              <a:gd name="csY4" fmla="*/ 1940709 h 2076207"/>
              <a:gd name="csX5" fmla="*/ 22139 w 733006"/>
              <a:gd name="csY5" fmla="*/ 1907268 h 2076207"/>
              <a:gd name="csX6" fmla="*/ 57941 w 733006"/>
              <a:gd name="csY6" fmla="*/ 1774163 h 2076207"/>
              <a:gd name="csX7" fmla="*/ 102478 w 733006"/>
              <a:gd name="csY7" fmla="*/ 1720275 h 2076207"/>
              <a:gd name="csX8" fmla="*/ 108579 w 733006"/>
              <a:gd name="csY8" fmla="*/ 1650967 h 2076207"/>
              <a:gd name="csX9" fmla="*/ 115628 w 733006"/>
              <a:gd name="csY9" fmla="*/ 1625405 h 2076207"/>
              <a:gd name="csX10" fmla="*/ 156323 w 733006"/>
              <a:gd name="csY10" fmla="*/ 1560181 h 2076207"/>
              <a:gd name="csX11" fmla="*/ 199424 w 733006"/>
              <a:gd name="csY11" fmla="*/ 1364729 h 2076207"/>
              <a:gd name="csX12" fmla="*/ 216779 w 733006"/>
              <a:gd name="csY12" fmla="*/ 1219490 h 2076207"/>
              <a:gd name="csX13" fmla="*/ 229755 w 733006"/>
              <a:gd name="csY13" fmla="*/ 1099357 h 2076207"/>
              <a:gd name="csX14" fmla="*/ 232707 w 733006"/>
              <a:gd name="csY14" fmla="*/ 1056423 h 2076207"/>
              <a:gd name="csX15" fmla="*/ 235622 w 733006"/>
              <a:gd name="csY15" fmla="*/ 952675 h 2076207"/>
              <a:gd name="csX16" fmla="*/ 235445 w 733006"/>
              <a:gd name="csY16" fmla="*/ 780278 h 2076207"/>
              <a:gd name="csX17" fmla="*/ 214544 w 733006"/>
              <a:gd name="csY17" fmla="*/ 756435 h 2076207"/>
              <a:gd name="csX18" fmla="*/ 172569 w 733006"/>
              <a:gd name="csY18" fmla="*/ 742582 h 2076207"/>
              <a:gd name="csX19" fmla="*/ 168784 w 733006"/>
              <a:gd name="csY19" fmla="*/ 669116 h 2076207"/>
              <a:gd name="csX20" fmla="*/ 191657 w 733006"/>
              <a:gd name="csY20" fmla="*/ 630765 h 2076207"/>
              <a:gd name="csX21" fmla="*/ 208150 w 733006"/>
              <a:gd name="csY21" fmla="*/ 609084 h 2076207"/>
              <a:gd name="csX22" fmla="*/ 216756 w 733006"/>
              <a:gd name="csY22" fmla="*/ 558673 h 2076207"/>
              <a:gd name="csX23" fmla="*/ 209092 w 733006"/>
              <a:gd name="csY23" fmla="*/ 521540 h 2076207"/>
              <a:gd name="csX24" fmla="*/ 204683 w 733006"/>
              <a:gd name="csY24" fmla="*/ 474024 h 2076207"/>
              <a:gd name="csX25" fmla="*/ 115483 w 733006"/>
              <a:gd name="csY25" fmla="*/ 213499 h 2076207"/>
              <a:gd name="csX26" fmla="*/ 102909 w 733006"/>
              <a:gd name="csY26" fmla="*/ 182297 h 2076207"/>
              <a:gd name="csX27" fmla="*/ 104315 w 733006"/>
              <a:gd name="csY27" fmla="*/ 163968 h 2076207"/>
              <a:gd name="csX28" fmla="*/ 122444 w 733006"/>
              <a:gd name="csY28" fmla="*/ 160805 h 2076207"/>
              <a:gd name="csX29" fmla="*/ 170283 w 733006"/>
              <a:gd name="csY29" fmla="*/ 187783 h 2076207"/>
              <a:gd name="csX30" fmla="*/ 180938 w 733006"/>
              <a:gd name="csY30" fmla="*/ 195322 h 2076207"/>
              <a:gd name="csX31" fmla="*/ 221419 w 733006"/>
              <a:gd name="csY31" fmla="*/ 138058 h 2076207"/>
              <a:gd name="csX32" fmla="*/ 294099 w 733006"/>
              <a:gd name="csY32" fmla="*/ 91372 h 2076207"/>
              <a:gd name="csX33" fmla="*/ 302307 w 733006"/>
              <a:gd name="csY33" fmla="*/ 76560 h 2076207"/>
              <a:gd name="csX34" fmla="*/ 320284 w 733006"/>
              <a:gd name="csY34" fmla="*/ 8414 h 2076207"/>
              <a:gd name="csX35" fmla="*/ 324784 w 733006"/>
              <a:gd name="csY35" fmla="*/ 946 h 2076207"/>
              <a:gd name="csX36" fmla="*/ 399212 w 733006"/>
              <a:gd name="csY36" fmla="*/ 0 h 2076207"/>
              <a:gd name="csX37" fmla="*/ 425980 w 733006"/>
              <a:gd name="csY37" fmla="*/ 78301 h 2076207"/>
              <a:gd name="csX38" fmla="*/ 431861 w 733006"/>
              <a:gd name="csY38" fmla="*/ 90312 h 2076207"/>
              <a:gd name="csX39" fmla="*/ 540349 w 733006"/>
              <a:gd name="csY39" fmla="*/ 187946 h 2076207"/>
              <a:gd name="csX40" fmla="*/ 545555 w 733006"/>
              <a:gd name="csY40" fmla="*/ 197828 h 2076207"/>
              <a:gd name="csX41" fmla="*/ 587318 w 733006"/>
              <a:gd name="csY41" fmla="*/ 171260 h 2076207"/>
              <a:gd name="csX42" fmla="*/ 601503 w 733006"/>
              <a:gd name="csY42" fmla="*/ 163707 h 2076207"/>
              <a:gd name="csX43" fmla="*/ 625254 w 733006"/>
              <a:gd name="csY43" fmla="*/ 163123 h 2076207"/>
              <a:gd name="csX44" fmla="*/ 625468 w 733006"/>
              <a:gd name="csY44" fmla="*/ 187579 h 2076207"/>
              <a:gd name="csX45" fmla="*/ 597543 w 733006"/>
              <a:gd name="csY45" fmla="*/ 251872 h 2076207"/>
              <a:gd name="csX46" fmla="*/ 531831 w 733006"/>
              <a:gd name="csY46" fmla="*/ 442689 h 2076207"/>
              <a:gd name="csX47" fmla="*/ 519888 w 733006"/>
              <a:gd name="csY47" fmla="*/ 501474 h 2076207"/>
              <a:gd name="csX48" fmla="*/ 522506 w 733006"/>
              <a:gd name="csY48" fmla="*/ 525086 h 2076207"/>
              <a:gd name="csX49" fmla="*/ 516235 w 733006"/>
              <a:gd name="csY49" fmla="*/ 555946 h 2076207"/>
              <a:gd name="csX50" fmla="*/ 521332 w 733006"/>
              <a:gd name="csY50" fmla="*/ 610676 h 2076207"/>
              <a:gd name="csX51" fmla="*/ 541382 w 733006"/>
              <a:gd name="csY51" fmla="*/ 642597 h 2076207"/>
              <a:gd name="csX52" fmla="*/ 557031 w 733006"/>
              <a:gd name="csY52" fmla="*/ 667949 h 2076207"/>
              <a:gd name="csX53" fmla="*/ 553994 w 733006"/>
              <a:gd name="csY53" fmla="*/ 744146 h 2076207"/>
              <a:gd name="csX54" fmla="*/ 508215 w 733006"/>
              <a:gd name="csY54" fmla="*/ 758841 h 2076207"/>
              <a:gd name="csX55" fmla="*/ 497442 w 733006"/>
              <a:gd name="csY55" fmla="*/ 771256 h 2076207"/>
              <a:gd name="csX56" fmla="*/ 493005 w 733006"/>
              <a:gd name="csY56" fmla="*/ 922055 h 2076207"/>
              <a:gd name="csX57" fmla="*/ 502900 w 733006"/>
              <a:gd name="csY57" fmla="*/ 1114191 h 2076207"/>
              <a:gd name="csX58" fmla="*/ 508800 w 733006"/>
              <a:gd name="csY58" fmla="*/ 1205474 h 2076207"/>
              <a:gd name="csX59" fmla="*/ 522952 w 733006"/>
              <a:gd name="csY59" fmla="*/ 1320065 h 2076207"/>
              <a:gd name="csX60" fmla="*/ 554682 w 733006"/>
              <a:gd name="csY60" fmla="*/ 1501203 h 2076207"/>
              <a:gd name="csX61" fmla="*/ 576958 w 733006"/>
              <a:gd name="csY61" fmla="*/ 1593963 h 2076207"/>
              <a:gd name="csX62" fmla="*/ 595349 w 733006"/>
              <a:gd name="csY62" fmla="*/ 1613498 h 2076207"/>
              <a:gd name="csX63" fmla="*/ 613936 w 733006"/>
              <a:gd name="csY63" fmla="*/ 1624058 h 2076207"/>
              <a:gd name="csX64" fmla="*/ 620938 w 733006"/>
              <a:gd name="csY64" fmla="*/ 1652071 h 2076207"/>
              <a:gd name="csX65" fmla="*/ 630805 w 733006"/>
              <a:gd name="csY65" fmla="*/ 1721702 h 2076207"/>
              <a:gd name="csX66" fmla="*/ 685830 w 733006"/>
              <a:gd name="csY66" fmla="*/ 1792915 h 2076207"/>
              <a:gd name="csX67" fmla="*/ 708904 w 733006"/>
              <a:gd name="csY67" fmla="*/ 1890290 h 2076207"/>
              <a:gd name="csX68" fmla="*/ 716580 w 733006"/>
              <a:gd name="csY68" fmla="*/ 1951136 h 2076207"/>
              <a:gd name="csX69" fmla="*/ 729397 w 733006"/>
              <a:gd name="csY69" fmla="*/ 2030261 h 2076207"/>
              <a:gd name="csX70" fmla="*/ 714212 w 733006"/>
              <a:gd name="csY70" fmla="*/ 2049544 h 2076207"/>
              <a:gd name="csX71" fmla="*/ 96263 w 733006"/>
              <a:gd name="csY71" fmla="*/ 2076207 h 2076207"/>
              <a:gd name="csX72" fmla="*/ 489970 w 733006"/>
              <a:gd name="csY72" fmla="*/ 152208 h 2076207"/>
              <a:gd name="csX73" fmla="*/ 490754 w 733006"/>
              <a:gd name="csY73" fmla="*/ 152592 h 2076207"/>
              <a:gd name="csX74" fmla="*/ 489489 w 733006"/>
              <a:gd name="csY74" fmla="*/ 149547 h 2076207"/>
              <a:gd name="csX75" fmla="*/ 393621 w 733006"/>
              <a:gd name="csY75" fmla="*/ 99259 h 2076207"/>
              <a:gd name="csX76" fmla="*/ 390419 w 733006"/>
              <a:gd name="csY76" fmla="*/ 18568 h 2076207"/>
              <a:gd name="csX77" fmla="*/ 334131 w 733006"/>
              <a:gd name="csY77" fmla="*/ 24327 h 2076207"/>
              <a:gd name="csX78" fmla="*/ 344678 w 733006"/>
              <a:gd name="csY78" fmla="*/ 101259 h 2076207"/>
              <a:gd name="csX79" fmla="*/ 298854 w 733006"/>
              <a:gd name="csY79" fmla="*/ 114003 h 2076207"/>
              <a:gd name="csX80" fmla="*/ 237456 w 733006"/>
              <a:gd name="csY80" fmla="*/ 154340 h 2076207"/>
              <a:gd name="csX81" fmla="*/ 240382 w 733006"/>
              <a:gd name="csY81" fmla="*/ 154035 h 2076207"/>
              <a:gd name="csX82" fmla="*/ 262731 w 733006"/>
              <a:gd name="csY82" fmla="*/ 170426 h 2076207"/>
              <a:gd name="csX83" fmla="*/ 279169 w 733006"/>
              <a:gd name="csY83" fmla="*/ 193173 h 2076207"/>
              <a:gd name="csX84" fmla="*/ 327717 w 733006"/>
              <a:gd name="csY84" fmla="*/ 188556 h 2076207"/>
              <a:gd name="csX85" fmla="*/ 348052 w 733006"/>
              <a:gd name="csY85" fmla="*/ 156919 h 2076207"/>
              <a:gd name="csX86" fmla="*/ 380330 w 733006"/>
              <a:gd name="csY86" fmla="*/ 156483 h 2076207"/>
              <a:gd name="csX87" fmla="*/ 408490 w 733006"/>
              <a:gd name="csY87" fmla="*/ 195400 h 2076207"/>
              <a:gd name="csX88" fmla="*/ 445346 w 733006"/>
              <a:gd name="csY88" fmla="*/ 197582 h 2076207"/>
              <a:gd name="csX89" fmla="*/ 464798 w 733006"/>
              <a:gd name="csY89" fmla="*/ 174107 h 2076207"/>
              <a:gd name="csX90" fmla="*/ 489970 w 733006"/>
              <a:gd name="csY90" fmla="*/ 152208 h 2076207"/>
              <a:gd name="csX91" fmla="*/ 140694 w 733006"/>
              <a:gd name="csY91" fmla="*/ 201837 h 2076207"/>
              <a:gd name="csX92" fmla="*/ 139834 w 733006"/>
              <a:gd name="csY92" fmla="*/ 201482 h 2076207"/>
              <a:gd name="csX93" fmla="*/ 140812 w 733006"/>
              <a:gd name="csY93" fmla="*/ 204941 h 2076207"/>
              <a:gd name="csX94" fmla="*/ 144631 w 733006"/>
              <a:gd name="csY94" fmla="*/ 217811 h 2076207"/>
              <a:gd name="csX95" fmla="*/ 201241 w 733006"/>
              <a:gd name="csY95" fmla="*/ 373387 h 2076207"/>
              <a:gd name="csX96" fmla="*/ 235971 w 733006"/>
              <a:gd name="csY96" fmla="*/ 504451 h 2076207"/>
              <a:gd name="csX97" fmla="*/ 247475 w 733006"/>
              <a:gd name="csY97" fmla="*/ 513241 h 2076207"/>
              <a:gd name="csX98" fmla="*/ 289066 w 733006"/>
              <a:gd name="csY98" fmla="*/ 511170 h 2076207"/>
              <a:gd name="csX99" fmla="*/ 378229 w 733006"/>
              <a:gd name="csY99" fmla="*/ 511084 h 2076207"/>
              <a:gd name="csX100" fmla="*/ 470850 w 733006"/>
              <a:gd name="csY100" fmla="*/ 516341 h 2076207"/>
              <a:gd name="csX101" fmla="*/ 492933 w 733006"/>
              <a:gd name="csY101" fmla="*/ 497969 h 2076207"/>
              <a:gd name="csX102" fmla="*/ 557617 w 733006"/>
              <a:gd name="csY102" fmla="*/ 280398 h 2076207"/>
              <a:gd name="csX103" fmla="*/ 588788 w 733006"/>
              <a:gd name="csY103" fmla="*/ 200385 h 2076207"/>
              <a:gd name="csX104" fmla="*/ 530958 w 733006"/>
              <a:gd name="csY104" fmla="*/ 232968 h 2076207"/>
              <a:gd name="csX105" fmla="*/ 483823 w 733006"/>
              <a:gd name="csY105" fmla="*/ 190364 h 2076207"/>
              <a:gd name="csX106" fmla="*/ 466649 w 733006"/>
              <a:gd name="csY106" fmla="*/ 209061 h 2076207"/>
              <a:gd name="csX107" fmla="*/ 399941 w 733006"/>
              <a:gd name="csY107" fmla="*/ 216988 h 2076207"/>
              <a:gd name="csX108" fmla="*/ 363018 w 733006"/>
              <a:gd name="csY108" fmla="*/ 179615 h 2076207"/>
              <a:gd name="csX109" fmla="*/ 308839 w 733006"/>
              <a:gd name="csY109" fmla="*/ 227846 h 2076207"/>
              <a:gd name="csX110" fmla="*/ 245077 w 733006"/>
              <a:gd name="csY110" fmla="*/ 192402 h 2076207"/>
              <a:gd name="csX111" fmla="*/ 242829 w 733006"/>
              <a:gd name="csY111" fmla="*/ 198815 h 2076207"/>
              <a:gd name="csX112" fmla="*/ 168452 w 733006"/>
              <a:gd name="csY112" fmla="*/ 219348 h 2076207"/>
              <a:gd name="csX113" fmla="*/ 140694 w 733006"/>
              <a:gd name="csY113" fmla="*/ 201837 h 2076207"/>
              <a:gd name="csX114" fmla="*/ 259999 w 733006"/>
              <a:gd name="csY114" fmla="*/ 966699 h 2076207"/>
              <a:gd name="csX115" fmla="*/ 257072 w 733006"/>
              <a:gd name="csY115" fmla="*/ 1070424 h 2076207"/>
              <a:gd name="csX116" fmla="*/ 251372 w 733006"/>
              <a:gd name="csY116" fmla="*/ 1157618 h 2076207"/>
              <a:gd name="csX117" fmla="*/ 232677 w 733006"/>
              <a:gd name="csY117" fmla="*/ 1320279 h 2076207"/>
              <a:gd name="csX118" fmla="*/ 209182 w 733006"/>
              <a:gd name="csY118" fmla="*/ 1468667 h 2076207"/>
              <a:gd name="csX119" fmla="*/ 175302 w 733006"/>
              <a:gd name="csY119" fmla="*/ 1616623 h 2076207"/>
              <a:gd name="csX120" fmla="*/ 182769 w 733006"/>
              <a:gd name="csY120" fmla="*/ 1629786 h 2076207"/>
              <a:gd name="csX121" fmla="*/ 212156 w 733006"/>
              <a:gd name="csY121" fmla="*/ 1632656 h 2076207"/>
              <a:gd name="csX122" fmla="*/ 351295 w 733006"/>
              <a:gd name="csY122" fmla="*/ 1632801 h 2076207"/>
              <a:gd name="csX123" fmla="*/ 376150 w 733006"/>
              <a:gd name="csY123" fmla="*/ 1608307 h 2076207"/>
              <a:gd name="csX124" fmla="*/ 373450 w 733006"/>
              <a:gd name="csY124" fmla="*/ 1457291 h 2076207"/>
              <a:gd name="csX125" fmla="*/ 370936 w 733006"/>
              <a:gd name="csY125" fmla="*/ 1342736 h 2076207"/>
              <a:gd name="csX126" fmla="*/ 368328 w 733006"/>
              <a:gd name="csY126" fmla="*/ 1203878 h 2076207"/>
              <a:gd name="csX127" fmla="*/ 367836 w 733006"/>
              <a:gd name="csY127" fmla="*/ 813478 h 2076207"/>
              <a:gd name="csX128" fmla="*/ 365240 w 733006"/>
              <a:gd name="csY128" fmla="*/ 773243 h 2076207"/>
              <a:gd name="csX129" fmla="*/ 353084 w 733006"/>
              <a:gd name="csY129" fmla="*/ 762083 h 2076207"/>
              <a:gd name="csX130" fmla="*/ 280966 w 733006"/>
              <a:gd name="csY130" fmla="*/ 759855 h 2076207"/>
              <a:gd name="csX131" fmla="*/ 259965 w 733006"/>
              <a:gd name="csY131" fmla="*/ 779553 h 2076207"/>
              <a:gd name="csX132" fmla="*/ 262341 w 733006"/>
              <a:gd name="csY132" fmla="*/ 856275 h 2076207"/>
              <a:gd name="csX133" fmla="*/ 259999 w 733006"/>
              <a:gd name="csY133" fmla="*/ 966699 h 2076207"/>
              <a:gd name="csX134" fmla="*/ 55556 w 733006"/>
              <a:gd name="csY134" fmla="*/ 1835827 h 2076207"/>
              <a:gd name="csX135" fmla="*/ 49393 w 733006"/>
              <a:gd name="csY135" fmla="*/ 1878155 h 2076207"/>
              <a:gd name="csX136" fmla="*/ 73949 w 733006"/>
              <a:gd name="csY136" fmla="*/ 1905781 h 2076207"/>
              <a:gd name="csX137" fmla="*/ 110073 w 733006"/>
              <a:gd name="csY137" fmla="*/ 1909068 h 2076207"/>
              <a:gd name="csX138" fmla="*/ 224745 w 733006"/>
              <a:gd name="csY138" fmla="*/ 1921652 h 2076207"/>
              <a:gd name="csX139" fmla="*/ 347327 w 733006"/>
              <a:gd name="csY139" fmla="*/ 1924778 h 2076207"/>
              <a:gd name="csX140" fmla="*/ 363345 w 733006"/>
              <a:gd name="csY140" fmla="*/ 1923293 h 2076207"/>
              <a:gd name="csX141" fmla="*/ 373787 w 733006"/>
              <a:gd name="csY141" fmla="*/ 1911200 h 2076207"/>
              <a:gd name="csX142" fmla="*/ 376623 w 733006"/>
              <a:gd name="csY142" fmla="*/ 1696741 h 2076207"/>
              <a:gd name="csX143" fmla="*/ 360437 w 733006"/>
              <a:gd name="csY143" fmla="*/ 1681289 h 2076207"/>
              <a:gd name="csX144" fmla="*/ 263503 w 733006"/>
              <a:gd name="csY144" fmla="*/ 1678179 h 2076207"/>
              <a:gd name="csX145" fmla="*/ 160381 w 733006"/>
              <a:gd name="csY145" fmla="*/ 1670405 h 2076207"/>
              <a:gd name="csX146" fmla="*/ 143321 w 733006"/>
              <a:gd name="csY146" fmla="*/ 1685538 h 2076207"/>
              <a:gd name="csX147" fmla="*/ 124769 w 733006"/>
              <a:gd name="csY147" fmla="*/ 1738195 h 2076207"/>
              <a:gd name="csX148" fmla="*/ 90593 w 733006"/>
              <a:gd name="csY148" fmla="*/ 1779570 h 2076207"/>
              <a:gd name="csX149" fmla="*/ 55556 w 733006"/>
              <a:gd name="csY149" fmla="*/ 1835827 h 2076207"/>
              <a:gd name="csX150" fmla="*/ 378900 w 733006"/>
              <a:gd name="csY150" fmla="*/ 2007280 h 2076207"/>
              <a:gd name="csX151" fmla="*/ 378887 w 733006"/>
              <a:gd name="csY151" fmla="*/ 1995127 h 2076207"/>
              <a:gd name="csX152" fmla="*/ 359084 w 733006"/>
              <a:gd name="csY152" fmla="*/ 1975964 h 2076207"/>
              <a:gd name="csX153" fmla="*/ 247288 w 733006"/>
              <a:gd name="csY153" fmla="*/ 1973305 h 2076207"/>
              <a:gd name="csX154" fmla="*/ 201692 w 733006"/>
              <a:gd name="csY154" fmla="*/ 1970275 h 2076207"/>
              <a:gd name="csX155" fmla="*/ 57962 w 733006"/>
              <a:gd name="csY155" fmla="*/ 1952648 h 2076207"/>
              <a:gd name="csX156" fmla="*/ 39194 w 733006"/>
              <a:gd name="csY156" fmla="*/ 1963552 h 2076207"/>
              <a:gd name="csX157" fmla="*/ 30066 w 733006"/>
              <a:gd name="csY157" fmla="*/ 2006631 h 2076207"/>
              <a:gd name="csX158" fmla="*/ 40232 w 733006"/>
              <a:gd name="csY158" fmla="*/ 2019486 h 2076207"/>
              <a:gd name="csX159" fmla="*/ 238186 w 733006"/>
              <a:gd name="csY159" fmla="*/ 2046096 h 2076207"/>
              <a:gd name="csX160" fmla="*/ 342155 w 733006"/>
              <a:gd name="csY160" fmla="*/ 2046441 h 2076207"/>
              <a:gd name="csX161" fmla="*/ 378900 w 733006"/>
              <a:gd name="csY161" fmla="*/ 2007280 h 2076207"/>
              <a:gd name="csX162" fmla="*/ 310220 w 733006"/>
              <a:gd name="csY162" fmla="*/ 554288 h 2076207"/>
              <a:gd name="csX163" fmla="*/ 259136 w 733006"/>
              <a:gd name="csY163" fmla="*/ 556881 h 2076207"/>
              <a:gd name="csX164" fmla="*/ 249085 w 733006"/>
              <a:gd name="csY164" fmla="*/ 567981 h 2076207"/>
              <a:gd name="csX165" fmla="*/ 249141 w 733006"/>
              <a:gd name="csY165" fmla="*/ 605644 h 2076207"/>
              <a:gd name="csX166" fmla="*/ 262628 w 733006"/>
              <a:gd name="csY166" fmla="*/ 605627 h 2076207"/>
              <a:gd name="csX167" fmla="*/ 369608 w 733006"/>
              <a:gd name="csY167" fmla="*/ 603027 h 2076207"/>
              <a:gd name="csX168" fmla="*/ 463931 w 733006"/>
              <a:gd name="csY168" fmla="*/ 605146 h 2076207"/>
              <a:gd name="csX169" fmla="*/ 478113 w 733006"/>
              <a:gd name="csY169" fmla="*/ 595843 h 2076207"/>
              <a:gd name="csX170" fmla="*/ 478796 w 733006"/>
              <a:gd name="csY170" fmla="*/ 556832 h 2076207"/>
              <a:gd name="csX171" fmla="*/ 310220 w 733006"/>
              <a:gd name="csY171" fmla="*/ 554288 h 2076207"/>
              <a:gd name="csX172" fmla="*/ 348836 w 733006"/>
              <a:gd name="csY172" fmla="*/ 684115 h 2076207"/>
              <a:gd name="csX173" fmla="*/ 281333 w 733006"/>
              <a:gd name="csY173" fmla="*/ 683313 h 2076207"/>
              <a:gd name="csX174" fmla="*/ 212728 w 733006"/>
              <a:gd name="csY174" fmla="*/ 681931 h 2076207"/>
              <a:gd name="csX175" fmla="*/ 187283 w 733006"/>
              <a:gd name="csY175" fmla="*/ 689555 h 2076207"/>
              <a:gd name="csX176" fmla="*/ 186163 w 733006"/>
              <a:gd name="csY176" fmla="*/ 718266 h 2076207"/>
              <a:gd name="csX177" fmla="*/ 209894 w 733006"/>
              <a:gd name="csY177" fmla="*/ 726798 h 2076207"/>
              <a:gd name="csX178" fmla="*/ 334814 w 733006"/>
              <a:gd name="csY178" fmla="*/ 732494 h 2076207"/>
              <a:gd name="csX179" fmla="*/ 364856 w 733006"/>
              <a:gd name="csY179" fmla="*/ 707963 h 2076207"/>
              <a:gd name="csX180" fmla="*/ 348836 w 733006"/>
              <a:gd name="csY180" fmla="*/ 684115 h 2076207"/>
              <a:gd name="csX181" fmla="*/ 298865 w 733006"/>
              <a:gd name="csY181" fmla="*/ 621954 h 2076207"/>
              <a:gd name="csX182" fmla="*/ 251619 w 733006"/>
              <a:gd name="csY182" fmla="*/ 622133 h 2076207"/>
              <a:gd name="csX183" fmla="*/ 214459 w 733006"/>
              <a:gd name="csY183" fmla="*/ 636230 h 2076207"/>
              <a:gd name="csX184" fmla="*/ 221436 w 733006"/>
              <a:gd name="csY184" fmla="*/ 654205 h 2076207"/>
              <a:gd name="csX185" fmla="*/ 272412 w 733006"/>
              <a:gd name="csY185" fmla="*/ 657250 h 2076207"/>
              <a:gd name="csX186" fmla="*/ 349094 w 733006"/>
              <a:gd name="csY186" fmla="*/ 659282 h 2076207"/>
              <a:gd name="csX187" fmla="*/ 362996 w 733006"/>
              <a:gd name="csY187" fmla="*/ 644234 h 2076207"/>
              <a:gd name="csX188" fmla="*/ 348472 w 733006"/>
              <a:gd name="csY188" fmla="*/ 624649 h 2076207"/>
              <a:gd name="csX189" fmla="*/ 298865 w 733006"/>
              <a:gd name="csY189" fmla="*/ 621954 h 2076207"/>
              <a:gd name="csX190" fmla="*/ 227796 w 733006"/>
              <a:gd name="csY190" fmla="*/ 528000 h 2076207"/>
              <a:gd name="csX191" fmla="*/ 241009 w 733006"/>
              <a:gd name="csY191" fmla="*/ 545897 h 2076207"/>
              <a:gd name="csX192" fmla="*/ 282607 w 733006"/>
              <a:gd name="csY192" fmla="*/ 543480 h 2076207"/>
              <a:gd name="csX193" fmla="*/ 354213 w 733006"/>
              <a:gd name="csY193" fmla="*/ 543384 h 2076207"/>
              <a:gd name="csX194" fmla="*/ 365334 w 733006"/>
              <a:gd name="csY194" fmla="*/ 533397 h 2076207"/>
              <a:gd name="csX195" fmla="*/ 354531 w 733006"/>
              <a:gd name="csY195" fmla="*/ 521620 h 2076207"/>
              <a:gd name="csX196" fmla="*/ 259169 w 733006"/>
              <a:gd name="csY196" fmla="*/ 521978 h 2076207"/>
              <a:gd name="csX197" fmla="*/ 227796 w 733006"/>
              <a:gd name="csY197" fmla="*/ 528000 h 2076207"/>
              <a:gd name="csX198" fmla="*/ 508068 w 733006"/>
              <a:gd name="csY198" fmla="*/ 190710 h 2076207"/>
              <a:gd name="csX199" fmla="*/ 521293 w 733006"/>
              <a:gd name="csY199" fmla="*/ 205907 h 2076207"/>
              <a:gd name="csX200" fmla="*/ 525175 w 733006"/>
              <a:gd name="csY200" fmla="*/ 202985 h 2076207"/>
              <a:gd name="csX201" fmla="*/ 500276 w 733006"/>
              <a:gd name="csY201" fmla="*/ 160640 h 2076207"/>
              <a:gd name="csX202" fmla="*/ 497122 w 733006"/>
              <a:gd name="csY202" fmla="*/ 162007 h 2076207"/>
              <a:gd name="csX203" fmla="*/ 508068 w 733006"/>
              <a:gd name="csY203" fmla="*/ 190710 h 2076207"/>
              <a:gd name="csX204" fmla="*/ 215522 w 733006"/>
              <a:gd name="csY204" fmla="*/ 197296 h 2076207"/>
              <a:gd name="csX205" fmla="*/ 234029 w 733006"/>
              <a:gd name="csY205" fmla="*/ 162725 h 2076207"/>
              <a:gd name="csX206" fmla="*/ 229000 w 733006"/>
              <a:gd name="csY206" fmla="*/ 159902 h 2076207"/>
              <a:gd name="csX207" fmla="*/ 204824 w 733006"/>
              <a:gd name="csY207" fmla="*/ 199677 h 2076207"/>
              <a:gd name="csX208" fmla="*/ 207990 w 733006"/>
              <a:gd name="csY208" fmla="*/ 202198 h 2076207"/>
              <a:gd name="csX209" fmla="*/ 215522 w 733006"/>
              <a:gd name="csY209" fmla="*/ 197296 h 2076207"/>
              <a:gd name="csX210" fmla="*/ 484400 w 733006"/>
              <a:gd name="csY210" fmla="*/ 896678 h 2076207"/>
              <a:gd name="csX211" fmla="*/ 486181 w 733006"/>
              <a:gd name="csY211" fmla="*/ 896585 h 2076207"/>
              <a:gd name="csX212" fmla="*/ 486181 w 733006"/>
              <a:gd name="csY212" fmla="*/ 795289 h 2076207"/>
              <a:gd name="csX213" fmla="*/ 720241 w 733006"/>
              <a:gd name="csY213" fmla="*/ 2030666 h 2076207"/>
              <a:gd name="csX214" fmla="*/ 721175 w 733006"/>
              <a:gd name="csY214" fmla="*/ 2029733 h 2076207"/>
              <a:gd name="csX215" fmla="*/ 720241 w 733006"/>
              <a:gd name="csY215" fmla="*/ 2030666 h 2076207"/>
              <a:gd name="csX216" fmla="*/ 715702 w 733006"/>
              <a:gd name="csY216" fmla="*/ 2037051 h 2076207"/>
              <a:gd name="csX217" fmla="*/ 715702 w 733006"/>
              <a:gd name="csY217" fmla="*/ 2037051 h 2076207"/>
              <a:gd name="csX0" fmla="*/ 96263 w 733006"/>
              <a:gd name="csY0" fmla="*/ 2076207 h 2084524"/>
              <a:gd name="csX1" fmla="*/ 63862 w 733006"/>
              <a:gd name="csY1" fmla="*/ 2065388 h 2084524"/>
              <a:gd name="csX2" fmla="*/ 16555 w 733006"/>
              <a:gd name="csY2" fmla="*/ 2050152 h 2084524"/>
              <a:gd name="csX3" fmla="*/ 15 w 733006"/>
              <a:gd name="csY3" fmla="*/ 2023802 h 2084524"/>
              <a:gd name="csX4" fmla="*/ 18368 w 733006"/>
              <a:gd name="csY4" fmla="*/ 1940709 h 2084524"/>
              <a:gd name="csX5" fmla="*/ 22139 w 733006"/>
              <a:gd name="csY5" fmla="*/ 1907268 h 2084524"/>
              <a:gd name="csX6" fmla="*/ 57941 w 733006"/>
              <a:gd name="csY6" fmla="*/ 1774163 h 2084524"/>
              <a:gd name="csX7" fmla="*/ 102478 w 733006"/>
              <a:gd name="csY7" fmla="*/ 1720275 h 2084524"/>
              <a:gd name="csX8" fmla="*/ 108579 w 733006"/>
              <a:gd name="csY8" fmla="*/ 1650967 h 2084524"/>
              <a:gd name="csX9" fmla="*/ 115628 w 733006"/>
              <a:gd name="csY9" fmla="*/ 1625405 h 2084524"/>
              <a:gd name="csX10" fmla="*/ 156323 w 733006"/>
              <a:gd name="csY10" fmla="*/ 1560181 h 2084524"/>
              <a:gd name="csX11" fmla="*/ 199424 w 733006"/>
              <a:gd name="csY11" fmla="*/ 1364729 h 2084524"/>
              <a:gd name="csX12" fmla="*/ 216779 w 733006"/>
              <a:gd name="csY12" fmla="*/ 1219490 h 2084524"/>
              <a:gd name="csX13" fmla="*/ 229755 w 733006"/>
              <a:gd name="csY13" fmla="*/ 1099357 h 2084524"/>
              <a:gd name="csX14" fmla="*/ 232707 w 733006"/>
              <a:gd name="csY14" fmla="*/ 1056423 h 2084524"/>
              <a:gd name="csX15" fmla="*/ 235622 w 733006"/>
              <a:gd name="csY15" fmla="*/ 952675 h 2084524"/>
              <a:gd name="csX16" fmla="*/ 235445 w 733006"/>
              <a:gd name="csY16" fmla="*/ 780278 h 2084524"/>
              <a:gd name="csX17" fmla="*/ 214544 w 733006"/>
              <a:gd name="csY17" fmla="*/ 756435 h 2084524"/>
              <a:gd name="csX18" fmla="*/ 172569 w 733006"/>
              <a:gd name="csY18" fmla="*/ 742582 h 2084524"/>
              <a:gd name="csX19" fmla="*/ 168784 w 733006"/>
              <a:gd name="csY19" fmla="*/ 669116 h 2084524"/>
              <a:gd name="csX20" fmla="*/ 191657 w 733006"/>
              <a:gd name="csY20" fmla="*/ 630765 h 2084524"/>
              <a:gd name="csX21" fmla="*/ 208150 w 733006"/>
              <a:gd name="csY21" fmla="*/ 609084 h 2084524"/>
              <a:gd name="csX22" fmla="*/ 216756 w 733006"/>
              <a:gd name="csY22" fmla="*/ 558673 h 2084524"/>
              <a:gd name="csX23" fmla="*/ 209092 w 733006"/>
              <a:gd name="csY23" fmla="*/ 521540 h 2084524"/>
              <a:gd name="csX24" fmla="*/ 204683 w 733006"/>
              <a:gd name="csY24" fmla="*/ 474024 h 2084524"/>
              <a:gd name="csX25" fmla="*/ 115483 w 733006"/>
              <a:gd name="csY25" fmla="*/ 213499 h 2084524"/>
              <a:gd name="csX26" fmla="*/ 102909 w 733006"/>
              <a:gd name="csY26" fmla="*/ 182297 h 2084524"/>
              <a:gd name="csX27" fmla="*/ 104315 w 733006"/>
              <a:gd name="csY27" fmla="*/ 163968 h 2084524"/>
              <a:gd name="csX28" fmla="*/ 122444 w 733006"/>
              <a:gd name="csY28" fmla="*/ 160805 h 2084524"/>
              <a:gd name="csX29" fmla="*/ 170283 w 733006"/>
              <a:gd name="csY29" fmla="*/ 187783 h 2084524"/>
              <a:gd name="csX30" fmla="*/ 180938 w 733006"/>
              <a:gd name="csY30" fmla="*/ 195322 h 2084524"/>
              <a:gd name="csX31" fmla="*/ 221419 w 733006"/>
              <a:gd name="csY31" fmla="*/ 138058 h 2084524"/>
              <a:gd name="csX32" fmla="*/ 294099 w 733006"/>
              <a:gd name="csY32" fmla="*/ 91372 h 2084524"/>
              <a:gd name="csX33" fmla="*/ 302307 w 733006"/>
              <a:gd name="csY33" fmla="*/ 76560 h 2084524"/>
              <a:gd name="csX34" fmla="*/ 320284 w 733006"/>
              <a:gd name="csY34" fmla="*/ 8414 h 2084524"/>
              <a:gd name="csX35" fmla="*/ 324784 w 733006"/>
              <a:gd name="csY35" fmla="*/ 946 h 2084524"/>
              <a:gd name="csX36" fmla="*/ 399212 w 733006"/>
              <a:gd name="csY36" fmla="*/ 0 h 2084524"/>
              <a:gd name="csX37" fmla="*/ 425980 w 733006"/>
              <a:gd name="csY37" fmla="*/ 78301 h 2084524"/>
              <a:gd name="csX38" fmla="*/ 431861 w 733006"/>
              <a:gd name="csY38" fmla="*/ 90312 h 2084524"/>
              <a:gd name="csX39" fmla="*/ 540349 w 733006"/>
              <a:gd name="csY39" fmla="*/ 187946 h 2084524"/>
              <a:gd name="csX40" fmla="*/ 545555 w 733006"/>
              <a:gd name="csY40" fmla="*/ 197828 h 2084524"/>
              <a:gd name="csX41" fmla="*/ 587318 w 733006"/>
              <a:gd name="csY41" fmla="*/ 171260 h 2084524"/>
              <a:gd name="csX42" fmla="*/ 601503 w 733006"/>
              <a:gd name="csY42" fmla="*/ 163707 h 2084524"/>
              <a:gd name="csX43" fmla="*/ 625254 w 733006"/>
              <a:gd name="csY43" fmla="*/ 163123 h 2084524"/>
              <a:gd name="csX44" fmla="*/ 625468 w 733006"/>
              <a:gd name="csY44" fmla="*/ 187579 h 2084524"/>
              <a:gd name="csX45" fmla="*/ 597543 w 733006"/>
              <a:gd name="csY45" fmla="*/ 251872 h 2084524"/>
              <a:gd name="csX46" fmla="*/ 531831 w 733006"/>
              <a:gd name="csY46" fmla="*/ 442689 h 2084524"/>
              <a:gd name="csX47" fmla="*/ 519888 w 733006"/>
              <a:gd name="csY47" fmla="*/ 501474 h 2084524"/>
              <a:gd name="csX48" fmla="*/ 522506 w 733006"/>
              <a:gd name="csY48" fmla="*/ 525086 h 2084524"/>
              <a:gd name="csX49" fmla="*/ 516235 w 733006"/>
              <a:gd name="csY49" fmla="*/ 555946 h 2084524"/>
              <a:gd name="csX50" fmla="*/ 521332 w 733006"/>
              <a:gd name="csY50" fmla="*/ 610676 h 2084524"/>
              <a:gd name="csX51" fmla="*/ 541382 w 733006"/>
              <a:gd name="csY51" fmla="*/ 642597 h 2084524"/>
              <a:gd name="csX52" fmla="*/ 557031 w 733006"/>
              <a:gd name="csY52" fmla="*/ 667949 h 2084524"/>
              <a:gd name="csX53" fmla="*/ 553994 w 733006"/>
              <a:gd name="csY53" fmla="*/ 744146 h 2084524"/>
              <a:gd name="csX54" fmla="*/ 508215 w 733006"/>
              <a:gd name="csY54" fmla="*/ 758841 h 2084524"/>
              <a:gd name="csX55" fmla="*/ 497442 w 733006"/>
              <a:gd name="csY55" fmla="*/ 771256 h 2084524"/>
              <a:gd name="csX56" fmla="*/ 493005 w 733006"/>
              <a:gd name="csY56" fmla="*/ 922055 h 2084524"/>
              <a:gd name="csX57" fmla="*/ 502900 w 733006"/>
              <a:gd name="csY57" fmla="*/ 1114191 h 2084524"/>
              <a:gd name="csX58" fmla="*/ 508800 w 733006"/>
              <a:gd name="csY58" fmla="*/ 1205474 h 2084524"/>
              <a:gd name="csX59" fmla="*/ 522952 w 733006"/>
              <a:gd name="csY59" fmla="*/ 1320065 h 2084524"/>
              <a:gd name="csX60" fmla="*/ 554682 w 733006"/>
              <a:gd name="csY60" fmla="*/ 1501203 h 2084524"/>
              <a:gd name="csX61" fmla="*/ 576958 w 733006"/>
              <a:gd name="csY61" fmla="*/ 1593963 h 2084524"/>
              <a:gd name="csX62" fmla="*/ 595349 w 733006"/>
              <a:gd name="csY62" fmla="*/ 1613498 h 2084524"/>
              <a:gd name="csX63" fmla="*/ 613936 w 733006"/>
              <a:gd name="csY63" fmla="*/ 1624058 h 2084524"/>
              <a:gd name="csX64" fmla="*/ 620938 w 733006"/>
              <a:gd name="csY64" fmla="*/ 1652071 h 2084524"/>
              <a:gd name="csX65" fmla="*/ 630805 w 733006"/>
              <a:gd name="csY65" fmla="*/ 1721702 h 2084524"/>
              <a:gd name="csX66" fmla="*/ 685830 w 733006"/>
              <a:gd name="csY66" fmla="*/ 1792915 h 2084524"/>
              <a:gd name="csX67" fmla="*/ 708904 w 733006"/>
              <a:gd name="csY67" fmla="*/ 1890290 h 2084524"/>
              <a:gd name="csX68" fmla="*/ 716580 w 733006"/>
              <a:gd name="csY68" fmla="*/ 1951136 h 2084524"/>
              <a:gd name="csX69" fmla="*/ 729397 w 733006"/>
              <a:gd name="csY69" fmla="*/ 2030261 h 2084524"/>
              <a:gd name="csX70" fmla="*/ 714212 w 733006"/>
              <a:gd name="csY70" fmla="*/ 2049544 h 2084524"/>
              <a:gd name="csX71" fmla="*/ 96263 w 733006"/>
              <a:gd name="csY71" fmla="*/ 2076207 h 2084524"/>
              <a:gd name="csX72" fmla="*/ 489970 w 733006"/>
              <a:gd name="csY72" fmla="*/ 152208 h 2084524"/>
              <a:gd name="csX73" fmla="*/ 490754 w 733006"/>
              <a:gd name="csY73" fmla="*/ 152592 h 2084524"/>
              <a:gd name="csX74" fmla="*/ 489489 w 733006"/>
              <a:gd name="csY74" fmla="*/ 149547 h 2084524"/>
              <a:gd name="csX75" fmla="*/ 393621 w 733006"/>
              <a:gd name="csY75" fmla="*/ 99259 h 2084524"/>
              <a:gd name="csX76" fmla="*/ 390419 w 733006"/>
              <a:gd name="csY76" fmla="*/ 18568 h 2084524"/>
              <a:gd name="csX77" fmla="*/ 334131 w 733006"/>
              <a:gd name="csY77" fmla="*/ 24327 h 2084524"/>
              <a:gd name="csX78" fmla="*/ 344678 w 733006"/>
              <a:gd name="csY78" fmla="*/ 101259 h 2084524"/>
              <a:gd name="csX79" fmla="*/ 298854 w 733006"/>
              <a:gd name="csY79" fmla="*/ 114003 h 2084524"/>
              <a:gd name="csX80" fmla="*/ 237456 w 733006"/>
              <a:gd name="csY80" fmla="*/ 154340 h 2084524"/>
              <a:gd name="csX81" fmla="*/ 240382 w 733006"/>
              <a:gd name="csY81" fmla="*/ 154035 h 2084524"/>
              <a:gd name="csX82" fmla="*/ 262731 w 733006"/>
              <a:gd name="csY82" fmla="*/ 170426 h 2084524"/>
              <a:gd name="csX83" fmla="*/ 279169 w 733006"/>
              <a:gd name="csY83" fmla="*/ 193173 h 2084524"/>
              <a:gd name="csX84" fmla="*/ 327717 w 733006"/>
              <a:gd name="csY84" fmla="*/ 188556 h 2084524"/>
              <a:gd name="csX85" fmla="*/ 348052 w 733006"/>
              <a:gd name="csY85" fmla="*/ 156919 h 2084524"/>
              <a:gd name="csX86" fmla="*/ 380330 w 733006"/>
              <a:gd name="csY86" fmla="*/ 156483 h 2084524"/>
              <a:gd name="csX87" fmla="*/ 408490 w 733006"/>
              <a:gd name="csY87" fmla="*/ 195400 h 2084524"/>
              <a:gd name="csX88" fmla="*/ 445346 w 733006"/>
              <a:gd name="csY88" fmla="*/ 197582 h 2084524"/>
              <a:gd name="csX89" fmla="*/ 464798 w 733006"/>
              <a:gd name="csY89" fmla="*/ 174107 h 2084524"/>
              <a:gd name="csX90" fmla="*/ 489970 w 733006"/>
              <a:gd name="csY90" fmla="*/ 152208 h 2084524"/>
              <a:gd name="csX91" fmla="*/ 140694 w 733006"/>
              <a:gd name="csY91" fmla="*/ 201837 h 2084524"/>
              <a:gd name="csX92" fmla="*/ 139834 w 733006"/>
              <a:gd name="csY92" fmla="*/ 201482 h 2084524"/>
              <a:gd name="csX93" fmla="*/ 140812 w 733006"/>
              <a:gd name="csY93" fmla="*/ 204941 h 2084524"/>
              <a:gd name="csX94" fmla="*/ 144631 w 733006"/>
              <a:gd name="csY94" fmla="*/ 217811 h 2084524"/>
              <a:gd name="csX95" fmla="*/ 201241 w 733006"/>
              <a:gd name="csY95" fmla="*/ 373387 h 2084524"/>
              <a:gd name="csX96" fmla="*/ 235971 w 733006"/>
              <a:gd name="csY96" fmla="*/ 504451 h 2084524"/>
              <a:gd name="csX97" fmla="*/ 247475 w 733006"/>
              <a:gd name="csY97" fmla="*/ 513241 h 2084524"/>
              <a:gd name="csX98" fmla="*/ 289066 w 733006"/>
              <a:gd name="csY98" fmla="*/ 511170 h 2084524"/>
              <a:gd name="csX99" fmla="*/ 378229 w 733006"/>
              <a:gd name="csY99" fmla="*/ 511084 h 2084524"/>
              <a:gd name="csX100" fmla="*/ 470850 w 733006"/>
              <a:gd name="csY100" fmla="*/ 516341 h 2084524"/>
              <a:gd name="csX101" fmla="*/ 492933 w 733006"/>
              <a:gd name="csY101" fmla="*/ 497969 h 2084524"/>
              <a:gd name="csX102" fmla="*/ 557617 w 733006"/>
              <a:gd name="csY102" fmla="*/ 280398 h 2084524"/>
              <a:gd name="csX103" fmla="*/ 588788 w 733006"/>
              <a:gd name="csY103" fmla="*/ 200385 h 2084524"/>
              <a:gd name="csX104" fmla="*/ 530958 w 733006"/>
              <a:gd name="csY104" fmla="*/ 232968 h 2084524"/>
              <a:gd name="csX105" fmla="*/ 483823 w 733006"/>
              <a:gd name="csY105" fmla="*/ 190364 h 2084524"/>
              <a:gd name="csX106" fmla="*/ 466649 w 733006"/>
              <a:gd name="csY106" fmla="*/ 209061 h 2084524"/>
              <a:gd name="csX107" fmla="*/ 399941 w 733006"/>
              <a:gd name="csY107" fmla="*/ 216988 h 2084524"/>
              <a:gd name="csX108" fmla="*/ 363018 w 733006"/>
              <a:gd name="csY108" fmla="*/ 179615 h 2084524"/>
              <a:gd name="csX109" fmla="*/ 308839 w 733006"/>
              <a:gd name="csY109" fmla="*/ 227846 h 2084524"/>
              <a:gd name="csX110" fmla="*/ 245077 w 733006"/>
              <a:gd name="csY110" fmla="*/ 192402 h 2084524"/>
              <a:gd name="csX111" fmla="*/ 242829 w 733006"/>
              <a:gd name="csY111" fmla="*/ 198815 h 2084524"/>
              <a:gd name="csX112" fmla="*/ 168452 w 733006"/>
              <a:gd name="csY112" fmla="*/ 219348 h 2084524"/>
              <a:gd name="csX113" fmla="*/ 140694 w 733006"/>
              <a:gd name="csY113" fmla="*/ 201837 h 2084524"/>
              <a:gd name="csX114" fmla="*/ 259999 w 733006"/>
              <a:gd name="csY114" fmla="*/ 966699 h 2084524"/>
              <a:gd name="csX115" fmla="*/ 257072 w 733006"/>
              <a:gd name="csY115" fmla="*/ 1070424 h 2084524"/>
              <a:gd name="csX116" fmla="*/ 251372 w 733006"/>
              <a:gd name="csY116" fmla="*/ 1157618 h 2084524"/>
              <a:gd name="csX117" fmla="*/ 232677 w 733006"/>
              <a:gd name="csY117" fmla="*/ 1320279 h 2084524"/>
              <a:gd name="csX118" fmla="*/ 209182 w 733006"/>
              <a:gd name="csY118" fmla="*/ 1468667 h 2084524"/>
              <a:gd name="csX119" fmla="*/ 175302 w 733006"/>
              <a:gd name="csY119" fmla="*/ 1616623 h 2084524"/>
              <a:gd name="csX120" fmla="*/ 182769 w 733006"/>
              <a:gd name="csY120" fmla="*/ 1629786 h 2084524"/>
              <a:gd name="csX121" fmla="*/ 212156 w 733006"/>
              <a:gd name="csY121" fmla="*/ 1632656 h 2084524"/>
              <a:gd name="csX122" fmla="*/ 351295 w 733006"/>
              <a:gd name="csY122" fmla="*/ 1632801 h 2084524"/>
              <a:gd name="csX123" fmla="*/ 376150 w 733006"/>
              <a:gd name="csY123" fmla="*/ 1608307 h 2084524"/>
              <a:gd name="csX124" fmla="*/ 373450 w 733006"/>
              <a:gd name="csY124" fmla="*/ 1457291 h 2084524"/>
              <a:gd name="csX125" fmla="*/ 370936 w 733006"/>
              <a:gd name="csY125" fmla="*/ 1342736 h 2084524"/>
              <a:gd name="csX126" fmla="*/ 368328 w 733006"/>
              <a:gd name="csY126" fmla="*/ 1203878 h 2084524"/>
              <a:gd name="csX127" fmla="*/ 367836 w 733006"/>
              <a:gd name="csY127" fmla="*/ 813478 h 2084524"/>
              <a:gd name="csX128" fmla="*/ 365240 w 733006"/>
              <a:gd name="csY128" fmla="*/ 773243 h 2084524"/>
              <a:gd name="csX129" fmla="*/ 353084 w 733006"/>
              <a:gd name="csY129" fmla="*/ 762083 h 2084524"/>
              <a:gd name="csX130" fmla="*/ 280966 w 733006"/>
              <a:gd name="csY130" fmla="*/ 759855 h 2084524"/>
              <a:gd name="csX131" fmla="*/ 259965 w 733006"/>
              <a:gd name="csY131" fmla="*/ 779553 h 2084524"/>
              <a:gd name="csX132" fmla="*/ 262341 w 733006"/>
              <a:gd name="csY132" fmla="*/ 856275 h 2084524"/>
              <a:gd name="csX133" fmla="*/ 259999 w 733006"/>
              <a:gd name="csY133" fmla="*/ 966699 h 2084524"/>
              <a:gd name="csX134" fmla="*/ 55556 w 733006"/>
              <a:gd name="csY134" fmla="*/ 1835827 h 2084524"/>
              <a:gd name="csX135" fmla="*/ 49393 w 733006"/>
              <a:gd name="csY135" fmla="*/ 1878155 h 2084524"/>
              <a:gd name="csX136" fmla="*/ 73949 w 733006"/>
              <a:gd name="csY136" fmla="*/ 1905781 h 2084524"/>
              <a:gd name="csX137" fmla="*/ 110073 w 733006"/>
              <a:gd name="csY137" fmla="*/ 1909068 h 2084524"/>
              <a:gd name="csX138" fmla="*/ 224745 w 733006"/>
              <a:gd name="csY138" fmla="*/ 1921652 h 2084524"/>
              <a:gd name="csX139" fmla="*/ 347327 w 733006"/>
              <a:gd name="csY139" fmla="*/ 1924778 h 2084524"/>
              <a:gd name="csX140" fmla="*/ 363345 w 733006"/>
              <a:gd name="csY140" fmla="*/ 1923293 h 2084524"/>
              <a:gd name="csX141" fmla="*/ 373787 w 733006"/>
              <a:gd name="csY141" fmla="*/ 1911200 h 2084524"/>
              <a:gd name="csX142" fmla="*/ 376623 w 733006"/>
              <a:gd name="csY142" fmla="*/ 1696741 h 2084524"/>
              <a:gd name="csX143" fmla="*/ 360437 w 733006"/>
              <a:gd name="csY143" fmla="*/ 1681289 h 2084524"/>
              <a:gd name="csX144" fmla="*/ 263503 w 733006"/>
              <a:gd name="csY144" fmla="*/ 1678179 h 2084524"/>
              <a:gd name="csX145" fmla="*/ 160381 w 733006"/>
              <a:gd name="csY145" fmla="*/ 1670405 h 2084524"/>
              <a:gd name="csX146" fmla="*/ 143321 w 733006"/>
              <a:gd name="csY146" fmla="*/ 1685538 h 2084524"/>
              <a:gd name="csX147" fmla="*/ 124769 w 733006"/>
              <a:gd name="csY147" fmla="*/ 1738195 h 2084524"/>
              <a:gd name="csX148" fmla="*/ 90593 w 733006"/>
              <a:gd name="csY148" fmla="*/ 1779570 h 2084524"/>
              <a:gd name="csX149" fmla="*/ 55556 w 733006"/>
              <a:gd name="csY149" fmla="*/ 1835827 h 2084524"/>
              <a:gd name="csX150" fmla="*/ 378900 w 733006"/>
              <a:gd name="csY150" fmla="*/ 2007280 h 2084524"/>
              <a:gd name="csX151" fmla="*/ 378887 w 733006"/>
              <a:gd name="csY151" fmla="*/ 1995127 h 2084524"/>
              <a:gd name="csX152" fmla="*/ 359084 w 733006"/>
              <a:gd name="csY152" fmla="*/ 1975964 h 2084524"/>
              <a:gd name="csX153" fmla="*/ 247288 w 733006"/>
              <a:gd name="csY153" fmla="*/ 1973305 h 2084524"/>
              <a:gd name="csX154" fmla="*/ 201692 w 733006"/>
              <a:gd name="csY154" fmla="*/ 1970275 h 2084524"/>
              <a:gd name="csX155" fmla="*/ 57962 w 733006"/>
              <a:gd name="csY155" fmla="*/ 1952648 h 2084524"/>
              <a:gd name="csX156" fmla="*/ 39194 w 733006"/>
              <a:gd name="csY156" fmla="*/ 1963552 h 2084524"/>
              <a:gd name="csX157" fmla="*/ 30066 w 733006"/>
              <a:gd name="csY157" fmla="*/ 2006631 h 2084524"/>
              <a:gd name="csX158" fmla="*/ 40232 w 733006"/>
              <a:gd name="csY158" fmla="*/ 2019486 h 2084524"/>
              <a:gd name="csX159" fmla="*/ 238186 w 733006"/>
              <a:gd name="csY159" fmla="*/ 2046096 h 2084524"/>
              <a:gd name="csX160" fmla="*/ 342155 w 733006"/>
              <a:gd name="csY160" fmla="*/ 2046441 h 2084524"/>
              <a:gd name="csX161" fmla="*/ 378900 w 733006"/>
              <a:gd name="csY161" fmla="*/ 2007280 h 2084524"/>
              <a:gd name="csX162" fmla="*/ 310220 w 733006"/>
              <a:gd name="csY162" fmla="*/ 554288 h 2084524"/>
              <a:gd name="csX163" fmla="*/ 259136 w 733006"/>
              <a:gd name="csY163" fmla="*/ 556881 h 2084524"/>
              <a:gd name="csX164" fmla="*/ 249085 w 733006"/>
              <a:gd name="csY164" fmla="*/ 567981 h 2084524"/>
              <a:gd name="csX165" fmla="*/ 249141 w 733006"/>
              <a:gd name="csY165" fmla="*/ 605644 h 2084524"/>
              <a:gd name="csX166" fmla="*/ 262628 w 733006"/>
              <a:gd name="csY166" fmla="*/ 605627 h 2084524"/>
              <a:gd name="csX167" fmla="*/ 369608 w 733006"/>
              <a:gd name="csY167" fmla="*/ 603027 h 2084524"/>
              <a:gd name="csX168" fmla="*/ 463931 w 733006"/>
              <a:gd name="csY168" fmla="*/ 605146 h 2084524"/>
              <a:gd name="csX169" fmla="*/ 478113 w 733006"/>
              <a:gd name="csY169" fmla="*/ 595843 h 2084524"/>
              <a:gd name="csX170" fmla="*/ 478796 w 733006"/>
              <a:gd name="csY170" fmla="*/ 556832 h 2084524"/>
              <a:gd name="csX171" fmla="*/ 310220 w 733006"/>
              <a:gd name="csY171" fmla="*/ 554288 h 2084524"/>
              <a:gd name="csX172" fmla="*/ 348836 w 733006"/>
              <a:gd name="csY172" fmla="*/ 684115 h 2084524"/>
              <a:gd name="csX173" fmla="*/ 281333 w 733006"/>
              <a:gd name="csY173" fmla="*/ 683313 h 2084524"/>
              <a:gd name="csX174" fmla="*/ 212728 w 733006"/>
              <a:gd name="csY174" fmla="*/ 681931 h 2084524"/>
              <a:gd name="csX175" fmla="*/ 187283 w 733006"/>
              <a:gd name="csY175" fmla="*/ 689555 h 2084524"/>
              <a:gd name="csX176" fmla="*/ 186163 w 733006"/>
              <a:gd name="csY176" fmla="*/ 718266 h 2084524"/>
              <a:gd name="csX177" fmla="*/ 209894 w 733006"/>
              <a:gd name="csY177" fmla="*/ 726798 h 2084524"/>
              <a:gd name="csX178" fmla="*/ 334814 w 733006"/>
              <a:gd name="csY178" fmla="*/ 732494 h 2084524"/>
              <a:gd name="csX179" fmla="*/ 364856 w 733006"/>
              <a:gd name="csY179" fmla="*/ 707963 h 2084524"/>
              <a:gd name="csX180" fmla="*/ 348836 w 733006"/>
              <a:gd name="csY180" fmla="*/ 684115 h 2084524"/>
              <a:gd name="csX181" fmla="*/ 298865 w 733006"/>
              <a:gd name="csY181" fmla="*/ 621954 h 2084524"/>
              <a:gd name="csX182" fmla="*/ 251619 w 733006"/>
              <a:gd name="csY182" fmla="*/ 622133 h 2084524"/>
              <a:gd name="csX183" fmla="*/ 214459 w 733006"/>
              <a:gd name="csY183" fmla="*/ 636230 h 2084524"/>
              <a:gd name="csX184" fmla="*/ 221436 w 733006"/>
              <a:gd name="csY184" fmla="*/ 654205 h 2084524"/>
              <a:gd name="csX185" fmla="*/ 272412 w 733006"/>
              <a:gd name="csY185" fmla="*/ 657250 h 2084524"/>
              <a:gd name="csX186" fmla="*/ 349094 w 733006"/>
              <a:gd name="csY186" fmla="*/ 659282 h 2084524"/>
              <a:gd name="csX187" fmla="*/ 362996 w 733006"/>
              <a:gd name="csY187" fmla="*/ 644234 h 2084524"/>
              <a:gd name="csX188" fmla="*/ 348472 w 733006"/>
              <a:gd name="csY188" fmla="*/ 624649 h 2084524"/>
              <a:gd name="csX189" fmla="*/ 298865 w 733006"/>
              <a:gd name="csY189" fmla="*/ 621954 h 2084524"/>
              <a:gd name="csX190" fmla="*/ 227796 w 733006"/>
              <a:gd name="csY190" fmla="*/ 528000 h 2084524"/>
              <a:gd name="csX191" fmla="*/ 241009 w 733006"/>
              <a:gd name="csY191" fmla="*/ 545897 h 2084524"/>
              <a:gd name="csX192" fmla="*/ 282607 w 733006"/>
              <a:gd name="csY192" fmla="*/ 543480 h 2084524"/>
              <a:gd name="csX193" fmla="*/ 354213 w 733006"/>
              <a:gd name="csY193" fmla="*/ 543384 h 2084524"/>
              <a:gd name="csX194" fmla="*/ 365334 w 733006"/>
              <a:gd name="csY194" fmla="*/ 533397 h 2084524"/>
              <a:gd name="csX195" fmla="*/ 354531 w 733006"/>
              <a:gd name="csY195" fmla="*/ 521620 h 2084524"/>
              <a:gd name="csX196" fmla="*/ 259169 w 733006"/>
              <a:gd name="csY196" fmla="*/ 521978 h 2084524"/>
              <a:gd name="csX197" fmla="*/ 227796 w 733006"/>
              <a:gd name="csY197" fmla="*/ 528000 h 2084524"/>
              <a:gd name="csX198" fmla="*/ 508068 w 733006"/>
              <a:gd name="csY198" fmla="*/ 190710 h 2084524"/>
              <a:gd name="csX199" fmla="*/ 521293 w 733006"/>
              <a:gd name="csY199" fmla="*/ 205907 h 2084524"/>
              <a:gd name="csX200" fmla="*/ 525175 w 733006"/>
              <a:gd name="csY200" fmla="*/ 202985 h 2084524"/>
              <a:gd name="csX201" fmla="*/ 500276 w 733006"/>
              <a:gd name="csY201" fmla="*/ 160640 h 2084524"/>
              <a:gd name="csX202" fmla="*/ 497122 w 733006"/>
              <a:gd name="csY202" fmla="*/ 162007 h 2084524"/>
              <a:gd name="csX203" fmla="*/ 508068 w 733006"/>
              <a:gd name="csY203" fmla="*/ 190710 h 2084524"/>
              <a:gd name="csX204" fmla="*/ 215522 w 733006"/>
              <a:gd name="csY204" fmla="*/ 197296 h 2084524"/>
              <a:gd name="csX205" fmla="*/ 234029 w 733006"/>
              <a:gd name="csY205" fmla="*/ 162725 h 2084524"/>
              <a:gd name="csX206" fmla="*/ 229000 w 733006"/>
              <a:gd name="csY206" fmla="*/ 159902 h 2084524"/>
              <a:gd name="csX207" fmla="*/ 204824 w 733006"/>
              <a:gd name="csY207" fmla="*/ 199677 h 2084524"/>
              <a:gd name="csX208" fmla="*/ 207990 w 733006"/>
              <a:gd name="csY208" fmla="*/ 202198 h 2084524"/>
              <a:gd name="csX209" fmla="*/ 215522 w 733006"/>
              <a:gd name="csY209" fmla="*/ 197296 h 2084524"/>
              <a:gd name="csX210" fmla="*/ 484400 w 733006"/>
              <a:gd name="csY210" fmla="*/ 896678 h 2084524"/>
              <a:gd name="csX211" fmla="*/ 486181 w 733006"/>
              <a:gd name="csY211" fmla="*/ 896585 h 2084524"/>
              <a:gd name="csX212" fmla="*/ 486181 w 733006"/>
              <a:gd name="csY212" fmla="*/ 795289 h 2084524"/>
              <a:gd name="csX213" fmla="*/ 720241 w 733006"/>
              <a:gd name="csY213" fmla="*/ 2030666 h 2084524"/>
              <a:gd name="csX214" fmla="*/ 721175 w 733006"/>
              <a:gd name="csY214" fmla="*/ 2029733 h 2084524"/>
              <a:gd name="csX215" fmla="*/ 720241 w 733006"/>
              <a:gd name="csY215" fmla="*/ 2030666 h 2084524"/>
              <a:gd name="csX216" fmla="*/ 715702 w 733006"/>
              <a:gd name="csY216" fmla="*/ 2037051 h 2084524"/>
              <a:gd name="csX217" fmla="*/ 715702 w 733006"/>
              <a:gd name="csY217" fmla="*/ 2037051 h 2084524"/>
              <a:gd name="csX0" fmla="*/ 96263 w 733006"/>
              <a:gd name="csY0" fmla="*/ 2076207 h 2095135"/>
              <a:gd name="csX1" fmla="*/ 63862 w 733006"/>
              <a:gd name="csY1" fmla="*/ 2065388 h 2095135"/>
              <a:gd name="csX2" fmla="*/ 16555 w 733006"/>
              <a:gd name="csY2" fmla="*/ 2050152 h 2095135"/>
              <a:gd name="csX3" fmla="*/ 15 w 733006"/>
              <a:gd name="csY3" fmla="*/ 2023802 h 2095135"/>
              <a:gd name="csX4" fmla="*/ 18368 w 733006"/>
              <a:gd name="csY4" fmla="*/ 1940709 h 2095135"/>
              <a:gd name="csX5" fmla="*/ 22139 w 733006"/>
              <a:gd name="csY5" fmla="*/ 1907268 h 2095135"/>
              <a:gd name="csX6" fmla="*/ 57941 w 733006"/>
              <a:gd name="csY6" fmla="*/ 1774163 h 2095135"/>
              <a:gd name="csX7" fmla="*/ 102478 w 733006"/>
              <a:gd name="csY7" fmla="*/ 1720275 h 2095135"/>
              <a:gd name="csX8" fmla="*/ 108579 w 733006"/>
              <a:gd name="csY8" fmla="*/ 1650967 h 2095135"/>
              <a:gd name="csX9" fmla="*/ 115628 w 733006"/>
              <a:gd name="csY9" fmla="*/ 1625405 h 2095135"/>
              <a:gd name="csX10" fmla="*/ 156323 w 733006"/>
              <a:gd name="csY10" fmla="*/ 1560181 h 2095135"/>
              <a:gd name="csX11" fmla="*/ 199424 w 733006"/>
              <a:gd name="csY11" fmla="*/ 1364729 h 2095135"/>
              <a:gd name="csX12" fmla="*/ 216779 w 733006"/>
              <a:gd name="csY12" fmla="*/ 1219490 h 2095135"/>
              <a:gd name="csX13" fmla="*/ 229755 w 733006"/>
              <a:gd name="csY13" fmla="*/ 1099357 h 2095135"/>
              <a:gd name="csX14" fmla="*/ 232707 w 733006"/>
              <a:gd name="csY14" fmla="*/ 1056423 h 2095135"/>
              <a:gd name="csX15" fmla="*/ 235622 w 733006"/>
              <a:gd name="csY15" fmla="*/ 952675 h 2095135"/>
              <a:gd name="csX16" fmla="*/ 235445 w 733006"/>
              <a:gd name="csY16" fmla="*/ 780278 h 2095135"/>
              <a:gd name="csX17" fmla="*/ 214544 w 733006"/>
              <a:gd name="csY17" fmla="*/ 756435 h 2095135"/>
              <a:gd name="csX18" fmla="*/ 172569 w 733006"/>
              <a:gd name="csY18" fmla="*/ 742582 h 2095135"/>
              <a:gd name="csX19" fmla="*/ 168784 w 733006"/>
              <a:gd name="csY19" fmla="*/ 669116 h 2095135"/>
              <a:gd name="csX20" fmla="*/ 191657 w 733006"/>
              <a:gd name="csY20" fmla="*/ 630765 h 2095135"/>
              <a:gd name="csX21" fmla="*/ 208150 w 733006"/>
              <a:gd name="csY21" fmla="*/ 609084 h 2095135"/>
              <a:gd name="csX22" fmla="*/ 216756 w 733006"/>
              <a:gd name="csY22" fmla="*/ 558673 h 2095135"/>
              <a:gd name="csX23" fmla="*/ 209092 w 733006"/>
              <a:gd name="csY23" fmla="*/ 521540 h 2095135"/>
              <a:gd name="csX24" fmla="*/ 204683 w 733006"/>
              <a:gd name="csY24" fmla="*/ 474024 h 2095135"/>
              <a:gd name="csX25" fmla="*/ 115483 w 733006"/>
              <a:gd name="csY25" fmla="*/ 213499 h 2095135"/>
              <a:gd name="csX26" fmla="*/ 102909 w 733006"/>
              <a:gd name="csY26" fmla="*/ 182297 h 2095135"/>
              <a:gd name="csX27" fmla="*/ 104315 w 733006"/>
              <a:gd name="csY27" fmla="*/ 163968 h 2095135"/>
              <a:gd name="csX28" fmla="*/ 122444 w 733006"/>
              <a:gd name="csY28" fmla="*/ 160805 h 2095135"/>
              <a:gd name="csX29" fmla="*/ 170283 w 733006"/>
              <a:gd name="csY29" fmla="*/ 187783 h 2095135"/>
              <a:gd name="csX30" fmla="*/ 180938 w 733006"/>
              <a:gd name="csY30" fmla="*/ 195322 h 2095135"/>
              <a:gd name="csX31" fmla="*/ 221419 w 733006"/>
              <a:gd name="csY31" fmla="*/ 138058 h 2095135"/>
              <a:gd name="csX32" fmla="*/ 294099 w 733006"/>
              <a:gd name="csY32" fmla="*/ 91372 h 2095135"/>
              <a:gd name="csX33" fmla="*/ 302307 w 733006"/>
              <a:gd name="csY33" fmla="*/ 76560 h 2095135"/>
              <a:gd name="csX34" fmla="*/ 320284 w 733006"/>
              <a:gd name="csY34" fmla="*/ 8414 h 2095135"/>
              <a:gd name="csX35" fmla="*/ 324784 w 733006"/>
              <a:gd name="csY35" fmla="*/ 946 h 2095135"/>
              <a:gd name="csX36" fmla="*/ 399212 w 733006"/>
              <a:gd name="csY36" fmla="*/ 0 h 2095135"/>
              <a:gd name="csX37" fmla="*/ 425980 w 733006"/>
              <a:gd name="csY37" fmla="*/ 78301 h 2095135"/>
              <a:gd name="csX38" fmla="*/ 431861 w 733006"/>
              <a:gd name="csY38" fmla="*/ 90312 h 2095135"/>
              <a:gd name="csX39" fmla="*/ 540349 w 733006"/>
              <a:gd name="csY39" fmla="*/ 187946 h 2095135"/>
              <a:gd name="csX40" fmla="*/ 545555 w 733006"/>
              <a:gd name="csY40" fmla="*/ 197828 h 2095135"/>
              <a:gd name="csX41" fmla="*/ 587318 w 733006"/>
              <a:gd name="csY41" fmla="*/ 171260 h 2095135"/>
              <a:gd name="csX42" fmla="*/ 601503 w 733006"/>
              <a:gd name="csY42" fmla="*/ 163707 h 2095135"/>
              <a:gd name="csX43" fmla="*/ 625254 w 733006"/>
              <a:gd name="csY43" fmla="*/ 163123 h 2095135"/>
              <a:gd name="csX44" fmla="*/ 625468 w 733006"/>
              <a:gd name="csY44" fmla="*/ 187579 h 2095135"/>
              <a:gd name="csX45" fmla="*/ 597543 w 733006"/>
              <a:gd name="csY45" fmla="*/ 251872 h 2095135"/>
              <a:gd name="csX46" fmla="*/ 531831 w 733006"/>
              <a:gd name="csY46" fmla="*/ 442689 h 2095135"/>
              <a:gd name="csX47" fmla="*/ 519888 w 733006"/>
              <a:gd name="csY47" fmla="*/ 501474 h 2095135"/>
              <a:gd name="csX48" fmla="*/ 522506 w 733006"/>
              <a:gd name="csY48" fmla="*/ 525086 h 2095135"/>
              <a:gd name="csX49" fmla="*/ 516235 w 733006"/>
              <a:gd name="csY49" fmla="*/ 555946 h 2095135"/>
              <a:gd name="csX50" fmla="*/ 521332 w 733006"/>
              <a:gd name="csY50" fmla="*/ 610676 h 2095135"/>
              <a:gd name="csX51" fmla="*/ 541382 w 733006"/>
              <a:gd name="csY51" fmla="*/ 642597 h 2095135"/>
              <a:gd name="csX52" fmla="*/ 557031 w 733006"/>
              <a:gd name="csY52" fmla="*/ 667949 h 2095135"/>
              <a:gd name="csX53" fmla="*/ 553994 w 733006"/>
              <a:gd name="csY53" fmla="*/ 744146 h 2095135"/>
              <a:gd name="csX54" fmla="*/ 508215 w 733006"/>
              <a:gd name="csY54" fmla="*/ 758841 h 2095135"/>
              <a:gd name="csX55" fmla="*/ 497442 w 733006"/>
              <a:gd name="csY55" fmla="*/ 771256 h 2095135"/>
              <a:gd name="csX56" fmla="*/ 493005 w 733006"/>
              <a:gd name="csY56" fmla="*/ 922055 h 2095135"/>
              <a:gd name="csX57" fmla="*/ 502900 w 733006"/>
              <a:gd name="csY57" fmla="*/ 1114191 h 2095135"/>
              <a:gd name="csX58" fmla="*/ 508800 w 733006"/>
              <a:gd name="csY58" fmla="*/ 1205474 h 2095135"/>
              <a:gd name="csX59" fmla="*/ 522952 w 733006"/>
              <a:gd name="csY59" fmla="*/ 1320065 h 2095135"/>
              <a:gd name="csX60" fmla="*/ 554682 w 733006"/>
              <a:gd name="csY60" fmla="*/ 1501203 h 2095135"/>
              <a:gd name="csX61" fmla="*/ 576958 w 733006"/>
              <a:gd name="csY61" fmla="*/ 1593963 h 2095135"/>
              <a:gd name="csX62" fmla="*/ 595349 w 733006"/>
              <a:gd name="csY62" fmla="*/ 1613498 h 2095135"/>
              <a:gd name="csX63" fmla="*/ 613936 w 733006"/>
              <a:gd name="csY63" fmla="*/ 1624058 h 2095135"/>
              <a:gd name="csX64" fmla="*/ 620938 w 733006"/>
              <a:gd name="csY64" fmla="*/ 1652071 h 2095135"/>
              <a:gd name="csX65" fmla="*/ 630805 w 733006"/>
              <a:gd name="csY65" fmla="*/ 1721702 h 2095135"/>
              <a:gd name="csX66" fmla="*/ 685830 w 733006"/>
              <a:gd name="csY66" fmla="*/ 1792915 h 2095135"/>
              <a:gd name="csX67" fmla="*/ 708904 w 733006"/>
              <a:gd name="csY67" fmla="*/ 1890290 h 2095135"/>
              <a:gd name="csX68" fmla="*/ 716580 w 733006"/>
              <a:gd name="csY68" fmla="*/ 1951136 h 2095135"/>
              <a:gd name="csX69" fmla="*/ 729397 w 733006"/>
              <a:gd name="csY69" fmla="*/ 2030261 h 2095135"/>
              <a:gd name="csX70" fmla="*/ 714212 w 733006"/>
              <a:gd name="csY70" fmla="*/ 2049544 h 2095135"/>
              <a:gd name="csX71" fmla="*/ 96263 w 733006"/>
              <a:gd name="csY71" fmla="*/ 2076207 h 2095135"/>
              <a:gd name="csX72" fmla="*/ 489970 w 733006"/>
              <a:gd name="csY72" fmla="*/ 152208 h 2095135"/>
              <a:gd name="csX73" fmla="*/ 490754 w 733006"/>
              <a:gd name="csY73" fmla="*/ 152592 h 2095135"/>
              <a:gd name="csX74" fmla="*/ 489489 w 733006"/>
              <a:gd name="csY74" fmla="*/ 149547 h 2095135"/>
              <a:gd name="csX75" fmla="*/ 393621 w 733006"/>
              <a:gd name="csY75" fmla="*/ 99259 h 2095135"/>
              <a:gd name="csX76" fmla="*/ 390419 w 733006"/>
              <a:gd name="csY76" fmla="*/ 18568 h 2095135"/>
              <a:gd name="csX77" fmla="*/ 334131 w 733006"/>
              <a:gd name="csY77" fmla="*/ 24327 h 2095135"/>
              <a:gd name="csX78" fmla="*/ 344678 w 733006"/>
              <a:gd name="csY78" fmla="*/ 101259 h 2095135"/>
              <a:gd name="csX79" fmla="*/ 298854 w 733006"/>
              <a:gd name="csY79" fmla="*/ 114003 h 2095135"/>
              <a:gd name="csX80" fmla="*/ 237456 w 733006"/>
              <a:gd name="csY80" fmla="*/ 154340 h 2095135"/>
              <a:gd name="csX81" fmla="*/ 240382 w 733006"/>
              <a:gd name="csY81" fmla="*/ 154035 h 2095135"/>
              <a:gd name="csX82" fmla="*/ 262731 w 733006"/>
              <a:gd name="csY82" fmla="*/ 170426 h 2095135"/>
              <a:gd name="csX83" fmla="*/ 279169 w 733006"/>
              <a:gd name="csY83" fmla="*/ 193173 h 2095135"/>
              <a:gd name="csX84" fmla="*/ 327717 w 733006"/>
              <a:gd name="csY84" fmla="*/ 188556 h 2095135"/>
              <a:gd name="csX85" fmla="*/ 348052 w 733006"/>
              <a:gd name="csY85" fmla="*/ 156919 h 2095135"/>
              <a:gd name="csX86" fmla="*/ 380330 w 733006"/>
              <a:gd name="csY86" fmla="*/ 156483 h 2095135"/>
              <a:gd name="csX87" fmla="*/ 408490 w 733006"/>
              <a:gd name="csY87" fmla="*/ 195400 h 2095135"/>
              <a:gd name="csX88" fmla="*/ 445346 w 733006"/>
              <a:gd name="csY88" fmla="*/ 197582 h 2095135"/>
              <a:gd name="csX89" fmla="*/ 464798 w 733006"/>
              <a:gd name="csY89" fmla="*/ 174107 h 2095135"/>
              <a:gd name="csX90" fmla="*/ 489970 w 733006"/>
              <a:gd name="csY90" fmla="*/ 152208 h 2095135"/>
              <a:gd name="csX91" fmla="*/ 140694 w 733006"/>
              <a:gd name="csY91" fmla="*/ 201837 h 2095135"/>
              <a:gd name="csX92" fmla="*/ 139834 w 733006"/>
              <a:gd name="csY92" fmla="*/ 201482 h 2095135"/>
              <a:gd name="csX93" fmla="*/ 140812 w 733006"/>
              <a:gd name="csY93" fmla="*/ 204941 h 2095135"/>
              <a:gd name="csX94" fmla="*/ 144631 w 733006"/>
              <a:gd name="csY94" fmla="*/ 217811 h 2095135"/>
              <a:gd name="csX95" fmla="*/ 201241 w 733006"/>
              <a:gd name="csY95" fmla="*/ 373387 h 2095135"/>
              <a:gd name="csX96" fmla="*/ 235971 w 733006"/>
              <a:gd name="csY96" fmla="*/ 504451 h 2095135"/>
              <a:gd name="csX97" fmla="*/ 247475 w 733006"/>
              <a:gd name="csY97" fmla="*/ 513241 h 2095135"/>
              <a:gd name="csX98" fmla="*/ 289066 w 733006"/>
              <a:gd name="csY98" fmla="*/ 511170 h 2095135"/>
              <a:gd name="csX99" fmla="*/ 378229 w 733006"/>
              <a:gd name="csY99" fmla="*/ 511084 h 2095135"/>
              <a:gd name="csX100" fmla="*/ 470850 w 733006"/>
              <a:gd name="csY100" fmla="*/ 516341 h 2095135"/>
              <a:gd name="csX101" fmla="*/ 492933 w 733006"/>
              <a:gd name="csY101" fmla="*/ 497969 h 2095135"/>
              <a:gd name="csX102" fmla="*/ 557617 w 733006"/>
              <a:gd name="csY102" fmla="*/ 280398 h 2095135"/>
              <a:gd name="csX103" fmla="*/ 588788 w 733006"/>
              <a:gd name="csY103" fmla="*/ 200385 h 2095135"/>
              <a:gd name="csX104" fmla="*/ 530958 w 733006"/>
              <a:gd name="csY104" fmla="*/ 232968 h 2095135"/>
              <a:gd name="csX105" fmla="*/ 483823 w 733006"/>
              <a:gd name="csY105" fmla="*/ 190364 h 2095135"/>
              <a:gd name="csX106" fmla="*/ 466649 w 733006"/>
              <a:gd name="csY106" fmla="*/ 209061 h 2095135"/>
              <a:gd name="csX107" fmla="*/ 399941 w 733006"/>
              <a:gd name="csY107" fmla="*/ 216988 h 2095135"/>
              <a:gd name="csX108" fmla="*/ 363018 w 733006"/>
              <a:gd name="csY108" fmla="*/ 179615 h 2095135"/>
              <a:gd name="csX109" fmla="*/ 308839 w 733006"/>
              <a:gd name="csY109" fmla="*/ 227846 h 2095135"/>
              <a:gd name="csX110" fmla="*/ 245077 w 733006"/>
              <a:gd name="csY110" fmla="*/ 192402 h 2095135"/>
              <a:gd name="csX111" fmla="*/ 242829 w 733006"/>
              <a:gd name="csY111" fmla="*/ 198815 h 2095135"/>
              <a:gd name="csX112" fmla="*/ 168452 w 733006"/>
              <a:gd name="csY112" fmla="*/ 219348 h 2095135"/>
              <a:gd name="csX113" fmla="*/ 140694 w 733006"/>
              <a:gd name="csY113" fmla="*/ 201837 h 2095135"/>
              <a:gd name="csX114" fmla="*/ 259999 w 733006"/>
              <a:gd name="csY114" fmla="*/ 966699 h 2095135"/>
              <a:gd name="csX115" fmla="*/ 257072 w 733006"/>
              <a:gd name="csY115" fmla="*/ 1070424 h 2095135"/>
              <a:gd name="csX116" fmla="*/ 251372 w 733006"/>
              <a:gd name="csY116" fmla="*/ 1157618 h 2095135"/>
              <a:gd name="csX117" fmla="*/ 232677 w 733006"/>
              <a:gd name="csY117" fmla="*/ 1320279 h 2095135"/>
              <a:gd name="csX118" fmla="*/ 209182 w 733006"/>
              <a:gd name="csY118" fmla="*/ 1468667 h 2095135"/>
              <a:gd name="csX119" fmla="*/ 175302 w 733006"/>
              <a:gd name="csY119" fmla="*/ 1616623 h 2095135"/>
              <a:gd name="csX120" fmla="*/ 182769 w 733006"/>
              <a:gd name="csY120" fmla="*/ 1629786 h 2095135"/>
              <a:gd name="csX121" fmla="*/ 212156 w 733006"/>
              <a:gd name="csY121" fmla="*/ 1632656 h 2095135"/>
              <a:gd name="csX122" fmla="*/ 351295 w 733006"/>
              <a:gd name="csY122" fmla="*/ 1632801 h 2095135"/>
              <a:gd name="csX123" fmla="*/ 376150 w 733006"/>
              <a:gd name="csY123" fmla="*/ 1608307 h 2095135"/>
              <a:gd name="csX124" fmla="*/ 373450 w 733006"/>
              <a:gd name="csY124" fmla="*/ 1457291 h 2095135"/>
              <a:gd name="csX125" fmla="*/ 370936 w 733006"/>
              <a:gd name="csY125" fmla="*/ 1342736 h 2095135"/>
              <a:gd name="csX126" fmla="*/ 368328 w 733006"/>
              <a:gd name="csY126" fmla="*/ 1203878 h 2095135"/>
              <a:gd name="csX127" fmla="*/ 367836 w 733006"/>
              <a:gd name="csY127" fmla="*/ 813478 h 2095135"/>
              <a:gd name="csX128" fmla="*/ 365240 w 733006"/>
              <a:gd name="csY128" fmla="*/ 773243 h 2095135"/>
              <a:gd name="csX129" fmla="*/ 353084 w 733006"/>
              <a:gd name="csY129" fmla="*/ 762083 h 2095135"/>
              <a:gd name="csX130" fmla="*/ 280966 w 733006"/>
              <a:gd name="csY130" fmla="*/ 759855 h 2095135"/>
              <a:gd name="csX131" fmla="*/ 259965 w 733006"/>
              <a:gd name="csY131" fmla="*/ 779553 h 2095135"/>
              <a:gd name="csX132" fmla="*/ 262341 w 733006"/>
              <a:gd name="csY132" fmla="*/ 856275 h 2095135"/>
              <a:gd name="csX133" fmla="*/ 259999 w 733006"/>
              <a:gd name="csY133" fmla="*/ 966699 h 2095135"/>
              <a:gd name="csX134" fmla="*/ 55556 w 733006"/>
              <a:gd name="csY134" fmla="*/ 1835827 h 2095135"/>
              <a:gd name="csX135" fmla="*/ 49393 w 733006"/>
              <a:gd name="csY135" fmla="*/ 1878155 h 2095135"/>
              <a:gd name="csX136" fmla="*/ 73949 w 733006"/>
              <a:gd name="csY136" fmla="*/ 1905781 h 2095135"/>
              <a:gd name="csX137" fmla="*/ 110073 w 733006"/>
              <a:gd name="csY137" fmla="*/ 1909068 h 2095135"/>
              <a:gd name="csX138" fmla="*/ 224745 w 733006"/>
              <a:gd name="csY138" fmla="*/ 1921652 h 2095135"/>
              <a:gd name="csX139" fmla="*/ 347327 w 733006"/>
              <a:gd name="csY139" fmla="*/ 1924778 h 2095135"/>
              <a:gd name="csX140" fmla="*/ 363345 w 733006"/>
              <a:gd name="csY140" fmla="*/ 1923293 h 2095135"/>
              <a:gd name="csX141" fmla="*/ 373787 w 733006"/>
              <a:gd name="csY141" fmla="*/ 1911200 h 2095135"/>
              <a:gd name="csX142" fmla="*/ 376623 w 733006"/>
              <a:gd name="csY142" fmla="*/ 1696741 h 2095135"/>
              <a:gd name="csX143" fmla="*/ 360437 w 733006"/>
              <a:gd name="csY143" fmla="*/ 1681289 h 2095135"/>
              <a:gd name="csX144" fmla="*/ 263503 w 733006"/>
              <a:gd name="csY144" fmla="*/ 1678179 h 2095135"/>
              <a:gd name="csX145" fmla="*/ 160381 w 733006"/>
              <a:gd name="csY145" fmla="*/ 1670405 h 2095135"/>
              <a:gd name="csX146" fmla="*/ 143321 w 733006"/>
              <a:gd name="csY146" fmla="*/ 1685538 h 2095135"/>
              <a:gd name="csX147" fmla="*/ 124769 w 733006"/>
              <a:gd name="csY147" fmla="*/ 1738195 h 2095135"/>
              <a:gd name="csX148" fmla="*/ 90593 w 733006"/>
              <a:gd name="csY148" fmla="*/ 1779570 h 2095135"/>
              <a:gd name="csX149" fmla="*/ 55556 w 733006"/>
              <a:gd name="csY149" fmla="*/ 1835827 h 2095135"/>
              <a:gd name="csX150" fmla="*/ 378900 w 733006"/>
              <a:gd name="csY150" fmla="*/ 2007280 h 2095135"/>
              <a:gd name="csX151" fmla="*/ 378887 w 733006"/>
              <a:gd name="csY151" fmla="*/ 1995127 h 2095135"/>
              <a:gd name="csX152" fmla="*/ 359084 w 733006"/>
              <a:gd name="csY152" fmla="*/ 1975964 h 2095135"/>
              <a:gd name="csX153" fmla="*/ 247288 w 733006"/>
              <a:gd name="csY153" fmla="*/ 1973305 h 2095135"/>
              <a:gd name="csX154" fmla="*/ 201692 w 733006"/>
              <a:gd name="csY154" fmla="*/ 1970275 h 2095135"/>
              <a:gd name="csX155" fmla="*/ 57962 w 733006"/>
              <a:gd name="csY155" fmla="*/ 1952648 h 2095135"/>
              <a:gd name="csX156" fmla="*/ 39194 w 733006"/>
              <a:gd name="csY156" fmla="*/ 1963552 h 2095135"/>
              <a:gd name="csX157" fmla="*/ 30066 w 733006"/>
              <a:gd name="csY157" fmla="*/ 2006631 h 2095135"/>
              <a:gd name="csX158" fmla="*/ 40232 w 733006"/>
              <a:gd name="csY158" fmla="*/ 2019486 h 2095135"/>
              <a:gd name="csX159" fmla="*/ 238186 w 733006"/>
              <a:gd name="csY159" fmla="*/ 2046096 h 2095135"/>
              <a:gd name="csX160" fmla="*/ 342155 w 733006"/>
              <a:gd name="csY160" fmla="*/ 2046441 h 2095135"/>
              <a:gd name="csX161" fmla="*/ 378900 w 733006"/>
              <a:gd name="csY161" fmla="*/ 2007280 h 2095135"/>
              <a:gd name="csX162" fmla="*/ 310220 w 733006"/>
              <a:gd name="csY162" fmla="*/ 554288 h 2095135"/>
              <a:gd name="csX163" fmla="*/ 259136 w 733006"/>
              <a:gd name="csY163" fmla="*/ 556881 h 2095135"/>
              <a:gd name="csX164" fmla="*/ 249085 w 733006"/>
              <a:gd name="csY164" fmla="*/ 567981 h 2095135"/>
              <a:gd name="csX165" fmla="*/ 249141 w 733006"/>
              <a:gd name="csY165" fmla="*/ 605644 h 2095135"/>
              <a:gd name="csX166" fmla="*/ 262628 w 733006"/>
              <a:gd name="csY166" fmla="*/ 605627 h 2095135"/>
              <a:gd name="csX167" fmla="*/ 369608 w 733006"/>
              <a:gd name="csY167" fmla="*/ 603027 h 2095135"/>
              <a:gd name="csX168" fmla="*/ 463931 w 733006"/>
              <a:gd name="csY168" fmla="*/ 605146 h 2095135"/>
              <a:gd name="csX169" fmla="*/ 478113 w 733006"/>
              <a:gd name="csY169" fmla="*/ 595843 h 2095135"/>
              <a:gd name="csX170" fmla="*/ 478796 w 733006"/>
              <a:gd name="csY170" fmla="*/ 556832 h 2095135"/>
              <a:gd name="csX171" fmla="*/ 310220 w 733006"/>
              <a:gd name="csY171" fmla="*/ 554288 h 2095135"/>
              <a:gd name="csX172" fmla="*/ 348836 w 733006"/>
              <a:gd name="csY172" fmla="*/ 684115 h 2095135"/>
              <a:gd name="csX173" fmla="*/ 281333 w 733006"/>
              <a:gd name="csY173" fmla="*/ 683313 h 2095135"/>
              <a:gd name="csX174" fmla="*/ 212728 w 733006"/>
              <a:gd name="csY174" fmla="*/ 681931 h 2095135"/>
              <a:gd name="csX175" fmla="*/ 187283 w 733006"/>
              <a:gd name="csY175" fmla="*/ 689555 h 2095135"/>
              <a:gd name="csX176" fmla="*/ 186163 w 733006"/>
              <a:gd name="csY176" fmla="*/ 718266 h 2095135"/>
              <a:gd name="csX177" fmla="*/ 209894 w 733006"/>
              <a:gd name="csY177" fmla="*/ 726798 h 2095135"/>
              <a:gd name="csX178" fmla="*/ 334814 w 733006"/>
              <a:gd name="csY178" fmla="*/ 732494 h 2095135"/>
              <a:gd name="csX179" fmla="*/ 364856 w 733006"/>
              <a:gd name="csY179" fmla="*/ 707963 h 2095135"/>
              <a:gd name="csX180" fmla="*/ 348836 w 733006"/>
              <a:gd name="csY180" fmla="*/ 684115 h 2095135"/>
              <a:gd name="csX181" fmla="*/ 298865 w 733006"/>
              <a:gd name="csY181" fmla="*/ 621954 h 2095135"/>
              <a:gd name="csX182" fmla="*/ 251619 w 733006"/>
              <a:gd name="csY182" fmla="*/ 622133 h 2095135"/>
              <a:gd name="csX183" fmla="*/ 214459 w 733006"/>
              <a:gd name="csY183" fmla="*/ 636230 h 2095135"/>
              <a:gd name="csX184" fmla="*/ 221436 w 733006"/>
              <a:gd name="csY184" fmla="*/ 654205 h 2095135"/>
              <a:gd name="csX185" fmla="*/ 272412 w 733006"/>
              <a:gd name="csY185" fmla="*/ 657250 h 2095135"/>
              <a:gd name="csX186" fmla="*/ 349094 w 733006"/>
              <a:gd name="csY186" fmla="*/ 659282 h 2095135"/>
              <a:gd name="csX187" fmla="*/ 362996 w 733006"/>
              <a:gd name="csY187" fmla="*/ 644234 h 2095135"/>
              <a:gd name="csX188" fmla="*/ 348472 w 733006"/>
              <a:gd name="csY188" fmla="*/ 624649 h 2095135"/>
              <a:gd name="csX189" fmla="*/ 298865 w 733006"/>
              <a:gd name="csY189" fmla="*/ 621954 h 2095135"/>
              <a:gd name="csX190" fmla="*/ 227796 w 733006"/>
              <a:gd name="csY190" fmla="*/ 528000 h 2095135"/>
              <a:gd name="csX191" fmla="*/ 241009 w 733006"/>
              <a:gd name="csY191" fmla="*/ 545897 h 2095135"/>
              <a:gd name="csX192" fmla="*/ 282607 w 733006"/>
              <a:gd name="csY192" fmla="*/ 543480 h 2095135"/>
              <a:gd name="csX193" fmla="*/ 354213 w 733006"/>
              <a:gd name="csY193" fmla="*/ 543384 h 2095135"/>
              <a:gd name="csX194" fmla="*/ 365334 w 733006"/>
              <a:gd name="csY194" fmla="*/ 533397 h 2095135"/>
              <a:gd name="csX195" fmla="*/ 354531 w 733006"/>
              <a:gd name="csY195" fmla="*/ 521620 h 2095135"/>
              <a:gd name="csX196" fmla="*/ 259169 w 733006"/>
              <a:gd name="csY196" fmla="*/ 521978 h 2095135"/>
              <a:gd name="csX197" fmla="*/ 227796 w 733006"/>
              <a:gd name="csY197" fmla="*/ 528000 h 2095135"/>
              <a:gd name="csX198" fmla="*/ 508068 w 733006"/>
              <a:gd name="csY198" fmla="*/ 190710 h 2095135"/>
              <a:gd name="csX199" fmla="*/ 521293 w 733006"/>
              <a:gd name="csY199" fmla="*/ 205907 h 2095135"/>
              <a:gd name="csX200" fmla="*/ 525175 w 733006"/>
              <a:gd name="csY200" fmla="*/ 202985 h 2095135"/>
              <a:gd name="csX201" fmla="*/ 500276 w 733006"/>
              <a:gd name="csY201" fmla="*/ 160640 h 2095135"/>
              <a:gd name="csX202" fmla="*/ 497122 w 733006"/>
              <a:gd name="csY202" fmla="*/ 162007 h 2095135"/>
              <a:gd name="csX203" fmla="*/ 508068 w 733006"/>
              <a:gd name="csY203" fmla="*/ 190710 h 2095135"/>
              <a:gd name="csX204" fmla="*/ 215522 w 733006"/>
              <a:gd name="csY204" fmla="*/ 197296 h 2095135"/>
              <a:gd name="csX205" fmla="*/ 234029 w 733006"/>
              <a:gd name="csY205" fmla="*/ 162725 h 2095135"/>
              <a:gd name="csX206" fmla="*/ 229000 w 733006"/>
              <a:gd name="csY206" fmla="*/ 159902 h 2095135"/>
              <a:gd name="csX207" fmla="*/ 204824 w 733006"/>
              <a:gd name="csY207" fmla="*/ 199677 h 2095135"/>
              <a:gd name="csX208" fmla="*/ 207990 w 733006"/>
              <a:gd name="csY208" fmla="*/ 202198 h 2095135"/>
              <a:gd name="csX209" fmla="*/ 215522 w 733006"/>
              <a:gd name="csY209" fmla="*/ 197296 h 2095135"/>
              <a:gd name="csX210" fmla="*/ 484400 w 733006"/>
              <a:gd name="csY210" fmla="*/ 896678 h 2095135"/>
              <a:gd name="csX211" fmla="*/ 486181 w 733006"/>
              <a:gd name="csY211" fmla="*/ 896585 h 2095135"/>
              <a:gd name="csX212" fmla="*/ 486181 w 733006"/>
              <a:gd name="csY212" fmla="*/ 795289 h 2095135"/>
              <a:gd name="csX213" fmla="*/ 720241 w 733006"/>
              <a:gd name="csY213" fmla="*/ 2030666 h 2095135"/>
              <a:gd name="csX214" fmla="*/ 721175 w 733006"/>
              <a:gd name="csY214" fmla="*/ 2029733 h 2095135"/>
              <a:gd name="csX215" fmla="*/ 720241 w 733006"/>
              <a:gd name="csY215" fmla="*/ 2030666 h 2095135"/>
              <a:gd name="csX216" fmla="*/ 715702 w 733006"/>
              <a:gd name="csY216" fmla="*/ 2037051 h 2095135"/>
              <a:gd name="csX217" fmla="*/ 715702 w 733006"/>
              <a:gd name="csY217" fmla="*/ 2037051 h 2095135"/>
              <a:gd name="csX0" fmla="*/ 96263 w 733006"/>
              <a:gd name="csY0" fmla="*/ 2076207 h 2095135"/>
              <a:gd name="csX1" fmla="*/ 63862 w 733006"/>
              <a:gd name="csY1" fmla="*/ 2065388 h 2095135"/>
              <a:gd name="csX2" fmla="*/ 16555 w 733006"/>
              <a:gd name="csY2" fmla="*/ 2050152 h 2095135"/>
              <a:gd name="csX3" fmla="*/ 15 w 733006"/>
              <a:gd name="csY3" fmla="*/ 2023802 h 2095135"/>
              <a:gd name="csX4" fmla="*/ 18368 w 733006"/>
              <a:gd name="csY4" fmla="*/ 1940709 h 2095135"/>
              <a:gd name="csX5" fmla="*/ 22139 w 733006"/>
              <a:gd name="csY5" fmla="*/ 1907268 h 2095135"/>
              <a:gd name="csX6" fmla="*/ 57941 w 733006"/>
              <a:gd name="csY6" fmla="*/ 1774163 h 2095135"/>
              <a:gd name="csX7" fmla="*/ 102478 w 733006"/>
              <a:gd name="csY7" fmla="*/ 1720275 h 2095135"/>
              <a:gd name="csX8" fmla="*/ 108579 w 733006"/>
              <a:gd name="csY8" fmla="*/ 1650967 h 2095135"/>
              <a:gd name="csX9" fmla="*/ 115628 w 733006"/>
              <a:gd name="csY9" fmla="*/ 1625405 h 2095135"/>
              <a:gd name="csX10" fmla="*/ 156323 w 733006"/>
              <a:gd name="csY10" fmla="*/ 1560181 h 2095135"/>
              <a:gd name="csX11" fmla="*/ 199424 w 733006"/>
              <a:gd name="csY11" fmla="*/ 1364729 h 2095135"/>
              <a:gd name="csX12" fmla="*/ 216779 w 733006"/>
              <a:gd name="csY12" fmla="*/ 1219490 h 2095135"/>
              <a:gd name="csX13" fmla="*/ 229755 w 733006"/>
              <a:gd name="csY13" fmla="*/ 1099357 h 2095135"/>
              <a:gd name="csX14" fmla="*/ 232707 w 733006"/>
              <a:gd name="csY14" fmla="*/ 1056423 h 2095135"/>
              <a:gd name="csX15" fmla="*/ 235622 w 733006"/>
              <a:gd name="csY15" fmla="*/ 952675 h 2095135"/>
              <a:gd name="csX16" fmla="*/ 235445 w 733006"/>
              <a:gd name="csY16" fmla="*/ 780278 h 2095135"/>
              <a:gd name="csX17" fmla="*/ 214544 w 733006"/>
              <a:gd name="csY17" fmla="*/ 756435 h 2095135"/>
              <a:gd name="csX18" fmla="*/ 172569 w 733006"/>
              <a:gd name="csY18" fmla="*/ 742582 h 2095135"/>
              <a:gd name="csX19" fmla="*/ 168784 w 733006"/>
              <a:gd name="csY19" fmla="*/ 669116 h 2095135"/>
              <a:gd name="csX20" fmla="*/ 191657 w 733006"/>
              <a:gd name="csY20" fmla="*/ 630765 h 2095135"/>
              <a:gd name="csX21" fmla="*/ 208150 w 733006"/>
              <a:gd name="csY21" fmla="*/ 609084 h 2095135"/>
              <a:gd name="csX22" fmla="*/ 216756 w 733006"/>
              <a:gd name="csY22" fmla="*/ 558673 h 2095135"/>
              <a:gd name="csX23" fmla="*/ 209092 w 733006"/>
              <a:gd name="csY23" fmla="*/ 521540 h 2095135"/>
              <a:gd name="csX24" fmla="*/ 204683 w 733006"/>
              <a:gd name="csY24" fmla="*/ 474024 h 2095135"/>
              <a:gd name="csX25" fmla="*/ 115483 w 733006"/>
              <a:gd name="csY25" fmla="*/ 213499 h 2095135"/>
              <a:gd name="csX26" fmla="*/ 102909 w 733006"/>
              <a:gd name="csY26" fmla="*/ 182297 h 2095135"/>
              <a:gd name="csX27" fmla="*/ 104315 w 733006"/>
              <a:gd name="csY27" fmla="*/ 163968 h 2095135"/>
              <a:gd name="csX28" fmla="*/ 122444 w 733006"/>
              <a:gd name="csY28" fmla="*/ 160805 h 2095135"/>
              <a:gd name="csX29" fmla="*/ 170283 w 733006"/>
              <a:gd name="csY29" fmla="*/ 187783 h 2095135"/>
              <a:gd name="csX30" fmla="*/ 180938 w 733006"/>
              <a:gd name="csY30" fmla="*/ 195322 h 2095135"/>
              <a:gd name="csX31" fmla="*/ 221419 w 733006"/>
              <a:gd name="csY31" fmla="*/ 138058 h 2095135"/>
              <a:gd name="csX32" fmla="*/ 294099 w 733006"/>
              <a:gd name="csY32" fmla="*/ 91372 h 2095135"/>
              <a:gd name="csX33" fmla="*/ 302307 w 733006"/>
              <a:gd name="csY33" fmla="*/ 76560 h 2095135"/>
              <a:gd name="csX34" fmla="*/ 320284 w 733006"/>
              <a:gd name="csY34" fmla="*/ 8414 h 2095135"/>
              <a:gd name="csX35" fmla="*/ 324784 w 733006"/>
              <a:gd name="csY35" fmla="*/ 946 h 2095135"/>
              <a:gd name="csX36" fmla="*/ 399212 w 733006"/>
              <a:gd name="csY36" fmla="*/ 0 h 2095135"/>
              <a:gd name="csX37" fmla="*/ 425980 w 733006"/>
              <a:gd name="csY37" fmla="*/ 78301 h 2095135"/>
              <a:gd name="csX38" fmla="*/ 431861 w 733006"/>
              <a:gd name="csY38" fmla="*/ 90312 h 2095135"/>
              <a:gd name="csX39" fmla="*/ 540349 w 733006"/>
              <a:gd name="csY39" fmla="*/ 187946 h 2095135"/>
              <a:gd name="csX40" fmla="*/ 545555 w 733006"/>
              <a:gd name="csY40" fmla="*/ 197828 h 2095135"/>
              <a:gd name="csX41" fmla="*/ 587318 w 733006"/>
              <a:gd name="csY41" fmla="*/ 171260 h 2095135"/>
              <a:gd name="csX42" fmla="*/ 601503 w 733006"/>
              <a:gd name="csY42" fmla="*/ 163707 h 2095135"/>
              <a:gd name="csX43" fmla="*/ 625254 w 733006"/>
              <a:gd name="csY43" fmla="*/ 163123 h 2095135"/>
              <a:gd name="csX44" fmla="*/ 625468 w 733006"/>
              <a:gd name="csY44" fmla="*/ 187579 h 2095135"/>
              <a:gd name="csX45" fmla="*/ 597543 w 733006"/>
              <a:gd name="csY45" fmla="*/ 251872 h 2095135"/>
              <a:gd name="csX46" fmla="*/ 531831 w 733006"/>
              <a:gd name="csY46" fmla="*/ 442689 h 2095135"/>
              <a:gd name="csX47" fmla="*/ 519888 w 733006"/>
              <a:gd name="csY47" fmla="*/ 501474 h 2095135"/>
              <a:gd name="csX48" fmla="*/ 522506 w 733006"/>
              <a:gd name="csY48" fmla="*/ 525086 h 2095135"/>
              <a:gd name="csX49" fmla="*/ 516235 w 733006"/>
              <a:gd name="csY49" fmla="*/ 555946 h 2095135"/>
              <a:gd name="csX50" fmla="*/ 521332 w 733006"/>
              <a:gd name="csY50" fmla="*/ 610676 h 2095135"/>
              <a:gd name="csX51" fmla="*/ 541382 w 733006"/>
              <a:gd name="csY51" fmla="*/ 642597 h 2095135"/>
              <a:gd name="csX52" fmla="*/ 557031 w 733006"/>
              <a:gd name="csY52" fmla="*/ 667949 h 2095135"/>
              <a:gd name="csX53" fmla="*/ 553994 w 733006"/>
              <a:gd name="csY53" fmla="*/ 744146 h 2095135"/>
              <a:gd name="csX54" fmla="*/ 508215 w 733006"/>
              <a:gd name="csY54" fmla="*/ 758841 h 2095135"/>
              <a:gd name="csX55" fmla="*/ 497442 w 733006"/>
              <a:gd name="csY55" fmla="*/ 771256 h 2095135"/>
              <a:gd name="csX56" fmla="*/ 493005 w 733006"/>
              <a:gd name="csY56" fmla="*/ 922055 h 2095135"/>
              <a:gd name="csX57" fmla="*/ 502900 w 733006"/>
              <a:gd name="csY57" fmla="*/ 1114191 h 2095135"/>
              <a:gd name="csX58" fmla="*/ 508800 w 733006"/>
              <a:gd name="csY58" fmla="*/ 1205474 h 2095135"/>
              <a:gd name="csX59" fmla="*/ 522952 w 733006"/>
              <a:gd name="csY59" fmla="*/ 1320065 h 2095135"/>
              <a:gd name="csX60" fmla="*/ 554682 w 733006"/>
              <a:gd name="csY60" fmla="*/ 1501203 h 2095135"/>
              <a:gd name="csX61" fmla="*/ 576958 w 733006"/>
              <a:gd name="csY61" fmla="*/ 1593963 h 2095135"/>
              <a:gd name="csX62" fmla="*/ 595349 w 733006"/>
              <a:gd name="csY62" fmla="*/ 1613498 h 2095135"/>
              <a:gd name="csX63" fmla="*/ 613936 w 733006"/>
              <a:gd name="csY63" fmla="*/ 1624058 h 2095135"/>
              <a:gd name="csX64" fmla="*/ 620938 w 733006"/>
              <a:gd name="csY64" fmla="*/ 1652071 h 2095135"/>
              <a:gd name="csX65" fmla="*/ 630805 w 733006"/>
              <a:gd name="csY65" fmla="*/ 1721702 h 2095135"/>
              <a:gd name="csX66" fmla="*/ 685830 w 733006"/>
              <a:gd name="csY66" fmla="*/ 1792915 h 2095135"/>
              <a:gd name="csX67" fmla="*/ 708904 w 733006"/>
              <a:gd name="csY67" fmla="*/ 1890290 h 2095135"/>
              <a:gd name="csX68" fmla="*/ 716580 w 733006"/>
              <a:gd name="csY68" fmla="*/ 1951136 h 2095135"/>
              <a:gd name="csX69" fmla="*/ 729397 w 733006"/>
              <a:gd name="csY69" fmla="*/ 2030261 h 2095135"/>
              <a:gd name="csX70" fmla="*/ 714212 w 733006"/>
              <a:gd name="csY70" fmla="*/ 2049544 h 2095135"/>
              <a:gd name="csX71" fmla="*/ 96263 w 733006"/>
              <a:gd name="csY71" fmla="*/ 2076207 h 2095135"/>
              <a:gd name="csX72" fmla="*/ 489970 w 733006"/>
              <a:gd name="csY72" fmla="*/ 152208 h 2095135"/>
              <a:gd name="csX73" fmla="*/ 490754 w 733006"/>
              <a:gd name="csY73" fmla="*/ 152592 h 2095135"/>
              <a:gd name="csX74" fmla="*/ 489489 w 733006"/>
              <a:gd name="csY74" fmla="*/ 149547 h 2095135"/>
              <a:gd name="csX75" fmla="*/ 393621 w 733006"/>
              <a:gd name="csY75" fmla="*/ 99259 h 2095135"/>
              <a:gd name="csX76" fmla="*/ 390419 w 733006"/>
              <a:gd name="csY76" fmla="*/ 18568 h 2095135"/>
              <a:gd name="csX77" fmla="*/ 334131 w 733006"/>
              <a:gd name="csY77" fmla="*/ 24327 h 2095135"/>
              <a:gd name="csX78" fmla="*/ 344678 w 733006"/>
              <a:gd name="csY78" fmla="*/ 101259 h 2095135"/>
              <a:gd name="csX79" fmla="*/ 298854 w 733006"/>
              <a:gd name="csY79" fmla="*/ 114003 h 2095135"/>
              <a:gd name="csX80" fmla="*/ 237456 w 733006"/>
              <a:gd name="csY80" fmla="*/ 154340 h 2095135"/>
              <a:gd name="csX81" fmla="*/ 240382 w 733006"/>
              <a:gd name="csY81" fmla="*/ 154035 h 2095135"/>
              <a:gd name="csX82" fmla="*/ 262731 w 733006"/>
              <a:gd name="csY82" fmla="*/ 170426 h 2095135"/>
              <a:gd name="csX83" fmla="*/ 279169 w 733006"/>
              <a:gd name="csY83" fmla="*/ 193173 h 2095135"/>
              <a:gd name="csX84" fmla="*/ 327717 w 733006"/>
              <a:gd name="csY84" fmla="*/ 188556 h 2095135"/>
              <a:gd name="csX85" fmla="*/ 348052 w 733006"/>
              <a:gd name="csY85" fmla="*/ 156919 h 2095135"/>
              <a:gd name="csX86" fmla="*/ 380330 w 733006"/>
              <a:gd name="csY86" fmla="*/ 156483 h 2095135"/>
              <a:gd name="csX87" fmla="*/ 408490 w 733006"/>
              <a:gd name="csY87" fmla="*/ 195400 h 2095135"/>
              <a:gd name="csX88" fmla="*/ 445346 w 733006"/>
              <a:gd name="csY88" fmla="*/ 197582 h 2095135"/>
              <a:gd name="csX89" fmla="*/ 464798 w 733006"/>
              <a:gd name="csY89" fmla="*/ 174107 h 2095135"/>
              <a:gd name="csX90" fmla="*/ 489970 w 733006"/>
              <a:gd name="csY90" fmla="*/ 152208 h 2095135"/>
              <a:gd name="csX91" fmla="*/ 140694 w 733006"/>
              <a:gd name="csY91" fmla="*/ 201837 h 2095135"/>
              <a:gd name="csX92" fmla="*/ 139834 w 733006"/>
              <a:gd name="csY92" fmla="*/ 201482 h 2095135"/>
              <a:gd name="csX93" fmla="*/ 140812 w 733006"/>
              <a:gd name="csY93" fmla="*/ 204941 h 2095135"/>
              <a:gd name="csX94" fmla="*/ 144631 w 733006"/>
              <a:gd name="csY94" fmla="*/ 217811 h 2095135"/>
              <a:gd name="csX95" fmla="*/ 201241 w 733006"/>
              <a:gd name="csY95" fmla="*/ 373387 h 2095135"/>
              <a:gd name="csX96" fmla="*/ 235971 w 733006"/>
              <a:gd name="csY96" fmla="*/ 504451 h 2095135"/>
              <a:gd name="csX97" fmla="*/ 247475 w 733006"/>
              <a:gd name="csY97" fmla="*/ 513241 h 2095135"/>
              <a:gd name="csX98" fmla="*/ 289066 w 733006"/>
              <a:gd name="csY98" fmla="*/ 511170 h 2095135"/>
              <a:gd name="csX99" fmla="*/ 378229 w 733006"/>
              <a:gd name="csY99" fmla="*/ 511084 h 2095135"/>
              <a:gd name="csX100" fmla="*/ 470850 w 733006"/>
              <a:gd name="csY100" fmla="*/ 516341 h 2095135"/>
              <a:gd name="csX101" fmla="*/ 492933 w 733006"/>
              <a:gd name="csY101" fmla="*/ 497969 h 2095135"/>
              <a:gd name="csX102" fmla="*/ 557617 w 733006"/>
              <a:gd name="csY102" fmla="*/ 280398 h 2095135"/>
              <a:gd name="csX103" fmla="*/ 588788 w 733006"/>
              <a:gd name="csY103" fmla="*/ 200385 h 2095135"/>
              <a:gd name="csX104" fmla="*/ 530958 w 733006"/>
              <a:gd name="csY104" fmla="*/ 232968 h 2095135"/>
              <a:gd name="csX105" fmla="*/ 483823 w 733006"/>
              <a:gd name="csY105" fmla="*/ 190364 h 2095135"/>
              <a:gd name="csX106" fmla="*/ 466649 w 733006"/>
              <a:gd name="csY106" fmla="*/ 209061 h 2095135"/>
              <a:gd name="csX107" fmla="*/ 399941 w 733006"/>
              <a:gd name="csY107" fmla="*/ 216988 h 2095135"/>
              <a:gd name="csX108" fmla="*/ 363018 w 733006"/>
              <a:gd name="csY108" fmla="*/ 179615 h 2095135"/>
              <a:gd name="csX109" fmla="*/ 308839 w 733006"/>
              <a:gd name="csY109" fmla="*/ 227846 h 2095135"/>
              <a:gd name="csX110" fmla="*/ 245077 w 733006"/>
              <a:gd name="csY110" fmla="*/ 192402 h 2095135"/>
              <a:gd name="csX111" fmla="*/ 242829 w 733006"/>
              <a:gd name="csY111" fmla="*/ 198815 h 2095135"/>
              <a:gd name="csX112" fmla="*/ 168452 w 733006"/>
              <a:gd name="csY112" fmla="*/ 219348 h 2095135"/>
              <a:gd name="csX113" fmla="*/ 140694 w 733006"/>
              <a:gd name="csY113" fmla="*/ 201837 h 2095135"/>
              <a:gd name="csX114" fmla="*/ 259999 w 733006"/>
              <a:gd name="csY114" fmla="*/ 966699 h 2095135"/>
              <a:gd name="csX115" fmla="*/ 257072 w 733006"/>
              <a:gd name="csY115" fmla="*/ 1070424 h 2095135"/>
              <a:gd name="csX116" fmla="*/ 251372 w 733006"/>
              <a:gd name="csY116" fmla="*/ 1157618 h 2095135"/>
              <a:gd name="csX117" fmla="*/ 232677 w 733006"/>
              <a:gd name="csY117" fmla="*/ 1320279 h 2095135"/>
              <a:gd name="csX118" fmla="*/ 209182 w 733006"/>
              <a:gd name="csY118" fmla="*/ 1468667 h 2095135"/>
              <a:gd name="csX119" fmla="*/ 175302 w 733006"/>
              <a:gd name="csY119" fmla="*/ 1616623 h 2095135"/>
              <a:gd name="csX120" fmla="*/ 182769 w 733006"/>
              <a:gd name="csY120" fmla="*/ 1629786 h 2095135"/>
              <a:gd name="csX121" fmla="*/ 212156 w 733006"/>
              <a:gd name="csY121" fmla="*/ 1632656 h 2095135"/>
              <a:gd name="csX122" fmla="*/ 351295 w 733006"/>
              <a:gd name="csY122" fmla="*/ 1632801 h 2095135"/>
              <a:gd name="csX123" fmla="*/ 376150 w 733006"/>
              <a:gd name="csY123" fmla="*/ 1608307 h 2095135"/>
              <a:gd name="csX124" fmla="*/ 373450 w 733006"/>
              <a:gd name="csY124" fmla="*/ 1457291 h 2095135"/>
              <a:gd name="csX125" fmla="*/ 370936 w 733006"/>
              <a:gd name="csY125" fmla="*/ 1342736 h 2095135"/>
              <a:gd name="csX126" fmla="*/ 368328 w 733006"/>
              <a:gd name="csY126" fmla="*/ 1203878 h 2095135"/>
              <a:gd name="csX127" fmla="*/ 367836 w 733006"/>
              <a:gd name="csY127" fmla="*/ 813478 h 2095135"/>
              <a:gd name="csX128" fmla="*/ 365240 w 733006"/>
              <a:gd name="csY128" fmla="*/ 773243 h 2095135"/>
              <a:gd name="csX129" fmla="*/ 353084 w 733006"/>
              <a:gd name="csY129" fmla="*/ 762083 h 2095135"/>
              <a:gd name="csX130" fmla="*/ 280966 w 733006"/>
              <a:gd name="csY130" fmla="*/ 759855 h 2095135"/>
              <a:gd name="csX131" fmla="*/ 259965 w 733006"/>
              <a:gd name="csY131" fmla="*/ 779553 h 2095135"/>
              <a:gd name="csX132" fmla="*/ 262341 w 733006"/>
              <a:gd name="csY132" fmla="*/ 856275 h 2095135"/>
              <a:gd name="csX133" fmla="*/ 259999 w 733006"/>
              <a:gd name="csY133" fmla="*/ 966699 h 2095135"/>
              <a:gd name="csX134" fmla="*/ 55556 w 733006"/>
              <a:gd name="csY134" fmla="*/ 1835827 h 2095135"/>
              <a:gd name="csX135" fmla="*/ 49393 w 733006"/>
              <a:gd name="csY135" fmla="*/ 1878155 h 2095135"/>
              <a:gd name="csX136" fmla="*/ 73949 w 733006"/>
              <a:gd name="csY136" fmla="*/ 1905781 h 2095135"/>
              <a:gd name="csX137" fmla="*/ 110073 w 733006"/>
              <a:gd name="csY137" fmla="*/ 1909068 h 2095135"/>
              <a:gd name="csX138" fmla="*/ 224745 w 733006"/>
              <a:gd name="csY138" fmla="*/ 1921652 h 2095135"/>
              <a:gd name="csX139" fmla="*/ 347327 w 733006"/>
              <a:gd name="csY139" fmla="*/ 1924778 h 2095135"/>
              <a:gd name="csX140" fmla="*/ 363345 w 733006"/>
              <a:gd name="csY140" fmla="*/ 1923293 h 2095135"/>
              <a:gd name="csX141" fmla="*/ 373787 w 733006"/>
              <a:gd name="csY141" fmla="*/ 1911200 h 2095135"/>
              <a:gd name="csX142" fmla="*/ 376623 w 733006"/>
              <a:gd name="csY142" fmla="*/ 1696741 h 2095135"/>
              <a:gd name="csX143" fmla="*/ 360437 w 733006"/>
              <a:gd name="csY143" fmla="*/ 1681289 h 2095135"/>
              <a:gd name="csX144" fmla="*/ 263503 w 733006"/>
              <a:gd name="csY144" fmla="*/ 1678179 h 2095135"/>
              <a:gd name="csX145" fmla="*/ 160381 w 733006"/>
              <a:gd name="csY145" fmla="*/ 1670405 h 2095135"/>
              <a:gd name="csX146" fmla="*/ 143321 w 733006"/>
              <a:gd name="csY146" fmla="*/ 1685538 h 2095135"/>
              <a:gd name="csX147" fmla="*/ 124769 w 733006"/>
              <a:gd name="csY147" fmla="*/ 1738195 h 2095135"/>
              <a:gd name="csX148" fmla="*/ 90593 w 733006"/>
              <a:gd name="csY148" fmla="*/ 1779570 h 2095135"/>
              <a:gd name="csX149" fmla="*/ 55556 w 733006"/>
              <a:gd name="csY149" fmla="*/ 1835827 h 2095135"/>
              <a:gd name="csX150" fmla="*/ 378900 w 733006"/>
              <a:gd name="csY150" fmla="*/ 2007280 h 2095135"/>
              <a:gd name="csX151" fmla="*/ 378887 w 733006"/>
              <a:gd name="csY151" fmla="*/ 1995127 h 2095135"/>
              <a:gd name="csX152" fmla="*/ 359084 w 733006"/>
              <a:gd name="csY152" fmla="*/ 1975964 h 2095135"/>
              <a:gd name="csX153" fmla="*/ 247288 w 733006"/>
              <a:gd name="csY153" fmla="*/ 1973305 h 2095135"/>
              <a:gd name="csX154" fmla="*/ 201692 w 733006"/>
              <a:gd name="csY154" fmla="*/ 1970275 h 2095135"/>
              <a:gd name="csX155" fmla="*/ 57962 w 733006"/>
              <a:gd name="csY155" fmla="*/ 1952648 h 2095135"/>
              <a:gd name="csX156" fmla="*/ 39194 w 733006"/>
              <a:gd name="csY156" fmla="*/ 1963552 h 2095135"/>
              <a:gd name="csX157" fmla="*/ 30066 w 733006"/>
              <a:gd name="csY157" fmla="*/ 2006631 h 2095135"/>
              <a:gd name="csX158" fmla="*/ 40232 w 733006"/>
              <a:gd name="csY158" fmla="*/ 2019486 h 2095135"/>
              <a:gd name="csX159" fmla="*/ 238186 w 733006"/>
              <a:gd name="csY159" fmla="*/ 2046096 h 2095135"/>
              <a:gd name="csX160" fmla="*/ 342155 w 733006"/>
              <a:gd name="csY160" fmla="*/ 2046441 h 2095135"/>
              <a:gd name="csX161" fmla="*/ 378900 w 733006"/>
              <a:gd name="csY161" fmla="*/ 2007280 h 2095135"/>
              <a:gd name="csX162" fmla="*/ 310220 w 733006"/>
              <a:gd name="csY162" fmla="*/ 554288 h 2095135"/>
              <a:gd name="csX163" fmla="*/ 259136 w 733006"/>
              <a:gd name="csY163" fmla="*/ 556881 h 2095135"/>
              <a:gd name="csX164" fmla="*/ 249085 w 733006"/>
              <a:gd name="csY164" fmla="*/ 567981 h 2095135"/>
              <a:gd name="csX165" fmla="*/ 249141 w 733006"/>
              <a:gd name="csY165" fmla="*/ 605644 h 2095135"/>
              <a:gd name="csX166" fmla="*/ 262628 w 733006"/>
              <a:gd name="csY166" fmla="*/ 605627 h 2095135"/>
              <a:gd name="csX167" fmla="*/ 369608 w 733006"/>
              <a:gd name="csY167" fmla="*/ 603027 h 2095135"/>
              <a:gd name="csX168" fmla="*/ 463931 w 733006"/>
              <a:gd name="csY168" fmla="*/ 605146 h 2095135"/>
              <a:gd name="csX169" fmla="*/ 478113 w 733006"/>
              <a:gd name="csY169" fmla="*/ 595843 h 2095135"/>
              <a:gd name="csX170" fmla="*/ 478796 w 733006"/>
              <a:gd name="csY170" fmla="*/ 556832 h 2095135"/>
              <a:gd name="csX171" fmla="*/ 310220 w 733006"/>
              <a:gd name="csY171" fmla="*/ 554288 h 2095135"/>
              <a:gd name="csX172" fmla="*/ 348836 w 733006"/>
              <a:gd name="csY172" fmla="*/ 684115 h 2095135"/>
              <a:gd name="csX173" fmla="*/ 281333 w 733006"/>
              <a:gd name="csY173" fmla="*/ 683313 h 2095135"/>
              <a:gd name="csX174" fmla="*/ 212728 w 733006"/>
              <a:gd name="csY174" fmla="*/ 681931 h 2095135"/>
              <a:gd name="csX175" fmla="*/ 187283 w 733006"/>
              <a:gd name="csY175" fmla="*/ 689555 h 2095135"/>
              <a:gd name="csX176" fmla="*/ 186163 w 733006"/>
              <a:gd name="csY176" fmla="*/ 718266 h 2095135"/>
              <a:gd name="csX177" fmla="*/ 209894 w 733006"/>
              <a:gd name="csY177" fmla="*/ 726798 h 2095135"/>
              <a:gd name="csX178" fmla="*/ 334814 w 733006"/>
              <a:gd name="csY178" fmla="*/ 732494 h 2095135"/>
              <a:gd name="csX179" fmla="*/ 364856 w 733006"/>
              <a:gd name="csY179" fmla="*/ 707963 h 2095135"/>
              <a:gd name="csX180" fmla="*/ 348836 w 733006"/>
              <a:gd name="csY180" fmla="*/ 684115 h 2095135"/>
              <a:gd name="csX181" fmla="*/ 298865 w 733006"/>
              <a:gd name="csY181" fmla="*/ 621954 h 2095135"/>
              <a:gd name="csX182" fmla="*/ 251619 w 733006"/>
              <a:gd name="csY182" fmla="*/ 622133 h 2095135"/>
              <a:gd name="csX183" fmla="*/ 214459 w 733006"/>
              <a:gd name="csY183" fmla="*/ 636230 h 2095135"/>
              <a:gd name="csX184" fmla="*/ 221436 w 733006"/>
              <a:gd name="csY184" fmla="*/ 654205 h 2095135"/>
              <a:gd name="csX185" fmla="*/ 272412 w 733006"/>
              <a:gd name="csY185" fmla="*/ 657250 h 2095135"/>
              <a:gd name="csX186" fmla="*/ 349094 w 733006"/>
              <a:gd name="csY186" fmla="*/ 659282 h 2095135"/>
              <a:gd name="csX187" fmla="*/ 362996 w 733006"/>
              <a:gd name="csY187" fmla="*/ 644234 h 2095135"/>
              <a:gd name="csX188" fmla="*/ 348472 w 733006"/>
              <a:gd name="csY188" fmla="*/ 624649 h 2095135"/>
              <a:gd name="csX189" fmla="*/ 298865 w 733006"/>
              <a:gd name="csY189" fmla="*/ 621954 h 2095135"/>
              <a:gd name="csX190" fmla="*/ 227796 w 733006"/>
              <a:gd name="csY190" fmla="*/ 528000 h 2095135"/>
              <a:gd name="csX191" fmla="*/ 241009 w 733006"/>
              <a:gd name="csY191" fmla="*/ 545897 h 2095135"/>
              <a:gd name="csX192" fmla="*/ 282607 w 733006"/>
              <a:gd name="csY192" fmla="*/ 543480 h 2095135"/>
              <a:gd name="csX193" fmla="*/ 354213 w 733006"/>
              <a:gd name="csY193" fmla="*/ 543384 h 2095135"/>
              <a:gd name="csX194" fmla="*/ 365334 w 733006"/>
              <a:gd name="csY194" fmla="*/ 533397 h 2095135"/>
              <a:gd name="csX195" fmla="*/ 354531 w 733006"/>
              <a:gd name="csY195" fmla="*/ 521620 h 2095135"/>
              <a:gd name="csX196" fmla="*/ 259169 w 733006"/>
              <a:gd name="csY196" fmla="*/ 521978 h 2095135"/>
              <a:gd name="csX197" fmla="*/ 227796 w 733006"/>
              <a:gd name="csY197" fmla="*/ 528000 h 2095135"/>
              <a:gd name="csX198" fmla="*/ 508068 w 733006"/>
              <a:gd name="csY198" fmla="*/ 190710 h 2095135"/>
              <a:gd name="csX199" fmla="*/ 521293 w 733006"/>
              <a:gd name="csY199" fmla="*/ 205907 h 2095135"/>
              <a:gd name="csX200" fmla="*/ 525175 w 733006"/>
              <a:gd name="csY200" fmla="*/ 202985 h 2095135"/>
              <a:gd name="csX201" fmla="*/ 500276 w 733006"/>
              <a:gd name="csY201" fmla="*/ 160640 h 2095135"/>
              <a:gd name="csX202" fmla="*/ 497122 w 733006"/>
              <a:gd name="csY202" fmla="*/ 162007 h 2095135"/>
              <a:gd name="csX203" fmla="*/ 508068 w 733006"/>
              <a:gd name="csY203" fmla="*/ 190710 h 2095135"/>
              <a:gd name="csX204" fmla="*/ 215522 w 733006"/>
              <a:gd name="csY204" fmla="*/ 197296 h 2095135"/>
              <a:gd name="csX205" fmla="*/ 234029 w 733006"/>
              <a:gd name="csY205" fmla="*/ 162725 h 2095135"/>
              <a:gd name="csX206" fmla="*/ 229000 w 733006"/>
              <a:gd name="csY206" fmla="*/ 159902 h 2095135"/>
              <a:gd name="csX207" fmla="*/ 204824 w 733006"/>
              <a:gd name="csY207" fmla="*/ 199677 h 2095135"/>
              <a:gd name="csX208" fmla="*/ 207990 w 733006"/>
              <a:gd name="csY208" fmla="*/ 202198 h 2095135"/>
              <a:gd name="csX209" fmla="*/ 215522 w 733006"/>
              <a:gd name="csY209" fmla="*/ 197296 h 2095135"/>
              <a:gd name="csX210" fmla="*/ 484400 w 733006"/>
              <a:gd name="csY210" fmla="*/ 896678 h 2095135"/>
              <a:gd name="csX211" fmla="*/ 486181 w 733006"/>
              <a:gd name="csY211" fmla="*/ 896585 h 2095135"/>
              <a:gd name="csX212" fmla="*/ 486181 w 733006"/>
              <a:gd name="csY212" fmla="*/ 795289 h 2095135"/>
              <a:gd name="csX213" fmla="*/ 720241 w 733006"/>
              <a:gd name="csY213" fmla="*/ 2030666 h 2095135"/>
              <a:gd name="csX214" fmla="*/ 721175 w 733006"/>
              <a:gd name="csY214" fmla="*/ 2029733 h 2095135"/>
              <a:gd name="csX215" fmla="*/ 720241 w 733006"/>
              <a:gd name="csY215" fmla="*/ 2030666 h 2095135"/>
              <a:gd name="csX216" fmla="*/ 715702 w 733006"/>
              <a:gd name="csY216" fmla="*/ 2037051 h 2095135"/>
              <a:gd name="csX217" fmla="*/ 715702 w 733006"/>
              <a:gd name="csY217" fmla="*/ 2037051 h 2095135"/>
              <a:gd name="csX0" fmla="*/ 96263 w 733006"/>
              <a:gd name="csY0" fmla="*/ 2076207 h 2095135"/>
              <a:gd name="csX1" fmla="*/ 63862 w 733006"/>
              <a:gd name="csY1" fmla="*/ 2065388 h 2095135"/>
              <a:gd name="csX2" fmla="*/ 16555 w 733006"/>
              <a:gd name="csY2" fmla="*/ 2050152 h 2095135"/>
              <a:gd name="csX3" fmla="*/ 15 w 733006"/>
              <a:gd name="csY3" fmla="*/ 2023802 h 2095135"/>
              <a:gd name="csX4" fmla="*/ 18368 w 733006"/>
              <a:gd name="csY4" fmla="*/ 1940709 h 2095135"/>
              <a:gd name="csX5" fmla="*/ 22139 w 733006"/>
              <a:gd name="csY5" fmla="*/ 1907268 h 2095135"/>
              <a:gd name="csX6" fmla="*/ 57941 w 733006"/>
              <a:gd name="csY6" fmla="*/ 1774163 h 2095135"/>
              <a:gd name="csX7" fmla="*/ 102478 w 733006"/>
              <a:gd name="csY7" fmla="*/ 1720275 h 2095135"/>
              <a:gd name="csX8" fmla="*/ 108579 w 733006"/>
              <a:gd name="csY8" fmla="*/ 1650967 h 2095135"/>
              <a:gd name="csX9" fmla="*/ 115628 w 733006"/>
              <a:gd name="csY9" fmla="*/ 1625405 h 2095135"/>
              <a:gd name="csX10" fmla="*/ 156323 w 733006"/>
              <a:gd name="csY10" fmla="*/ 1560181 h 2095135"/>
              <a:gd name="csX11" fmla="*/ 199424 w 733006"/>
              <a:gd name="csY11" fmla="*/ 1364729 h 2095135"/>
              <a:gd name="csX12" fmla="*/ 216779 w 733006"/>
              <a:gd name="csY12" fmla="*/ 1219490 h 2095135"/>
              <a:gd name="csX13" fmla="*/ 229755 w 733006"/>
              <a:gd name="csY13" fmla="*/ 1099357 h 2095135"/>
              <a:gd name="csX14" fmla="*/ 232707 w 733006"/>
              <a:gd name="csY14" fmla="*/ 1056423 h 2095135"/>
              <a:gd name="csX15" fmla="*/ 235622 w 733006"/>
              <a:gd name="csY15" fmla="*/ 952675 h 2095135"/>
              <a:gd name="csX16" fmla="*/ 235445 w 733006"/>
              <a:gd name="csY16" fmla="*/ 780278 h 2095135"/>
              <a:gd name="csX17" fmla="*/ 214544 w 733006"/>
              <a:gd name="csY17" fmla="*/ 756435 h 2095135"/>
              <a:gd name="csX18" fmla="*/ 172569 w 733006"/>
              <a:gd name="csY18" fmla="*/ 742582 h 2095135"/>
              <a:gd name="csX19" fmla="*/ 168784 w 733006"/>
              <a:gd name="csY19" fmla="*/ 669116 h 2095135"/>
              <a:gd name="csX20" fmla="*/ 191657 w 733006"/>
              <a:gd name="csY20" fmla="*/ 630765 h 2095135"/>
              <a:gd name="csX21" fmla="*/ 208150 w 733006"/>
              <a:gd name="csY21" fmla="*/ 609084 h 2095135"/>
              <a:gd name="csX22" fmla="*/ 216756 w 733006"/>
              <a:gd name="csY22" fmla="*/ 558673 h 2095135"/>
              <a:gd name="csX23" fmla="*/ 209092 w 733006"/>
              <a:gd name="csY23" fmla="*/ 521540 h 2095135"/>
              <a:gd name="csX24" fmla="*/ 204683 w 733006"/>
              <a:gd name="csY24" fmla="*/ 474024 h 2095135"/>
              <a:gd name="csX25" fmla="*/ 115483 w 733006"/>
              <a:gd name="csY25" fmla="*/ 213499 h 2095135"/>
              <a:gd name="csX26" fmla="*/ 102909 w 733006"/>
              <a:gd name="csY26" fmla="*/ 182297 h 2095135"/>
              <a:gd name="csX27" fmla="*/ 104315 w 733006"/>
              <a:gd name="csY27" fmla="*/ 163968 h 2095135"/>
              <a:gd name="csX28" fmla="*/ 122444 w 733006"/>
              <a:gd name="csY28" fmla="*/ 160805 h 2095135"/>
              <a:gd name="csX29" fmla="*/ 170283 w 733006"/>
              <a:gd name="csY29" fmla="*/ 187783 h 2095135"/>
              <a:gd name="csX30" fmla="*/ 180938 w 733006"/>
              <a:gd name="csY30" fmla="*/ 195322 h 2095135"/>
              <a:gd name="csX31" fmla="*/ 221419 w 733006"/>
              <a:gd name="csY31" fmla="*/ 138058 h 2095135"/>
              <a:gd name="csX32" fmla="*/ 294099 w 733006"/>
              <a:gd name="csY32" fmla="*/ 91372 h 2095135"/>
              <a:gd name="csX33" fmla="*/ 302307 w 733006"/>
              <a:gd name="csY33" fmla="*/ 76560 h 2095135"/>
              <a:gd name="csX34" fmla="*/ 320284 w 733006"/>
              <a:gd name="csY34" fmla="*/ 8414 h 2095135"/>
              <a:gd name="csX35" fmla="*/ 324784 w 733006"/>
              <a:gd name="csY35" fmla="*/ 946 h 2095135"/>
              <a:gd name="csX36" fmla="*/ 399212 w 733006"/>
              <a:gd name="csY36" fmla="*/ 0 h 2095135"/>
              <a:gd name="csX37" fmla="*/ 425980 w 733006"/>
              <a:gd name="csY37" fmla="*/ 78301 h 2095135"/>
              <a:gd name="csX38" fmla="*/ 431861 w 733006"/>
              <a:gd name="csY38" fmla="*/ 90312 h 2095135"/>
              <a:gd name="csX39" fmla="*/ 540349 w 733006"/>
              <a:gd name="csY39" fmla="*/ 187946 h 2095135"/>
              <a:gd name="csX40" fmla="*/ 545555 w 733006"/>
              <a:gd name="csY40" fmla="*/ 197828 h 2095135"/>
              <a:gd name="csX41" fmla="*/ 587318 w 733006"/>
              <a:gd name="csY41" fmla="*/ 171260 h 2095135"/>
              <a:gd name="csX42" fmla="*/ 601503 w 733006"/>
              <a:gd name="csY42" fmla="*/ 163707 h 2095135"/>
              <a:gd name="csX43" fmla="*/ 625254 w 733006"/>
              <a:gd name="csY43" fmla="*/ 163123 h 2095135"/>
              <a:gd name="csX44" fmla="*/ 625468 w 733006"/>
              <a:gd name="csY44" fmla="*/ 187579 h 2095135"/>
              <a:gd name="csX45" fmla="*/ 597543 w 733006"/>
              <a:gd name="csY45" fmla="*/ 251872 h 2095135"/>
              <a:gd name="csX46" fmla="*/ 531831 w 733006"/>
              <a:gd name="csY46" fmla="*/ 442689 h 2095135"/>
              <a:gd name="csX47" fmla="*/ 519888 w 733006"/>
              <a:gd name="csY47" fmla="*/ 501474 h 2095135"/>
              <a:gd name="csX48" fmla="*/ 522506 w 733006"/>
              <a:gd name="csY48" fmla="*/ 525086 h 2095135"/>
              <a:gd name="csX49" fmla="*/ 516235 w 733006"/>
              <a:gd name="csY49" fmla="*/ 555946 h 2095135"/>
              <a:gd name="csX50" fmla="*/ 521332 w 733006"/>
              <a:gd name="csY50" fmla="*/ 610676 h 2095135"/>
              <a:gd name="csX51" fmla="*/ 541382 w 733006"/>
              <a:gd name="csY51" fmla="*/ 642597 h 2095135"/>
              <a:gd name="csX52" fmla="*/ 557031 w 733006"/>
              <a:gd name="csY52" fmla="*/ 667949 h 2095135"/>
              <a:gd name="csX53" fmla="*/ 553994 w 733006"/>
              <a:gd name="csY53" fmla="*/ 744146 h 2095135"/>
              <a:gd name="csX54" fmla="*/ 508215 w 733006"/>
              <a:gd name="csY54" fmla="*/ 758841 h 2095135"/>
              <a:gd name="csX55" fmla="*/ 497442 w 733006"/>
              <a:gd name="csY55" fmla="*/ 771256 h 2095135"/>
              <a:gd name="csX56" fmla="*/ 493005 w 733006"/>
              <a:gd name="csY56" fmla="*/ 922055 h 2095135"/>
              <a:gd name="csX57" fmla="*/ 502900 w 733006"/>
              <a:gd name="csY57" fmla="*/ 1114191 h 2095135"/>
              <a:gd name="csX58" fmla="*/ 508800 w 733006"/>
              <a:gd name="csY58" fmla="*/ 1205474 h 2095135"/>
              <a:gd name="csX59" fmla="*/ 522952 w 733006"/>
              <a:gd name="csY59" fmla="*/ 1320065 h 2095135"/>
              <a:gd name="csX60" fmla="*/ 554682 w 733006"/>
              <a:gd name="csY60" fmla="*/ 1501203 h 2095135"/>
              <a:gd name="csX61" fmla="*/ 576958 w 733006"/>
              <a:gd name="csY61" fmla="*/ 1593963 h 2095135"/>
              <a:gd name="csX62" fmla="*/ 595349 w 733006"/>
              <a:gd name="csY62" fmla="*/ 1613498 h 2095135"/>
              <a:gd name="csX63" fmla="*/ 613936 w 733006"/>
              <a:gd name="csY63" fmla="*/ 1624058 h 2095135"/>
              <a:gd name="csX64" fmla="*/ 620938 w 733006"/>
              <a:gd name="csY64" fmla="*/ 1652071 h 2095135"/>
              <a:gd name="csX65" fmla="*/ 630805 w 733006"/>
              <a:gd name="csY65" fmla="*/ 1721702 h 2095135"/>
              <a:gd name="csX66" fmla="*/ 685830 w 733006"/>
              <a:gd name="csY66" fmla="*/ 1792915 h 2095135"/>
              <a:gd name="csX67" fmla="*/ 708904 w 733006"/>
              <a:gd name="csY67" fmla="*/ 1890290 h 2095135"/>
              <a:gd name="csX68" fmla="*/ 716580 w 733006"/>
              <a:gd name="csY68" fmla="*/ 1951136 h 2095135"/>
              <a:gd name="csX69" fmla="*/ 729397 w 733006"/>
              <a:gd name="csY69" fmla="*/ 2030261 h 2095135"/>
              <a:gd name="csX70" fmla="*/ 714212 w 733006"/>
              <a:gd name="csY70" fmla="*/ 2049544 h 2095135"/>
              <a:gd name="csX71" fmla="*/ 96263 w 733006"/>
              <a:gd name="csY71" fmla="*/ 2076207 h 2095135"/>
              <a:gd name="csX72" fmla="*/ 489970 w 733006"/>
              <a:gd name="csY72" fmla="*/ 152208 h 2095135"/>
              <a:gd name="csX73" fmla="*/ 490754 w 733006"/>
              <a:gd name="csY73" fmla="*/ 152592 h 2095135"/>
              <a:gd name="csX74" fmla="*/ 489489 w 733006"/>
              <a:gd name="csY74" fmla="*/ 149547 h 2095135"/>
              <a:gd name="csX75" fmla="*/ 393621 w 733006"/>
              <a:gd name="csY75" fmla="*/ 99259 h 2095135"/>
              <a:gd name="csX76" fmla="*/ 390419 w 733006"/>
              <a:gd name="csY76" fmla="*/ 18568 h 2095135"/>
              <a:gd name="csX77" fmla="*/ 334131 w 733006"/>
              <a:gd name="csY77" fmla="*/ 24327 h 2095135"/>
              <a:gd name="csX78" fmla="*/ 344678 w 733006"/>
              <a:gd name="csY78" fmla="*/ 101259 h 2095135"/>
              <a:gd name="csX79" fmla="*/ 298854 w 733006"/>
              <a:gd name="csY79" fmla="*/ 114003 h 2095135"/>
              <a:gd name="csX80" fmla="*/ 237456 w 733006"/>
              <a:gd name="csY80" fmla="*/ 154340 h 2095135"/>
              <a:gd name="csX81" fmla="*/ 240382 w 733006"/>
              <a:gd name="csY81" fmla="*/ 154035 h 2095135"/>
              <a:gd name="csX82" fmla="*/ 262731 w 733006"/>
              <a:gd name="csY82" fmla="*/ 170426 h 2095135"/>
              <a:gd name="csX83" fmla="*/ 279169 w 733006"/>
              <a:gd name="csY83" fmla="*/ 193173 h 2095135"/>
              <a:gd name="csX84" fmla="*/ 327717 w 733006"/>
              <a:gd name="csY84" fmla="*/ 188556 h 2095135"/>
              <a:gd name="csX85" fmla="*/ 348052 w 733006"/>
              <a:gd name="csY85" fmla="*/ 156919 h 2095135"/>
              <a:gd name="csX86" fmla="*/ 380330 w 733006"/>
              <a:gd name="csY86" fmla="*/ 156483 h 2095135"/>
              <a:gd name="csX87" fmla="*/ 408490 w 733006"/>
              <a:gd name="csY87" fmla="*/ 195400 h 2095135"/>
              <a:gd name="csX88" fmla="*/ 445346 w 733006"/>
              <a:gd name="csY88" fmla="*/ 197582 h 2095135"/>
              <a:gd name="csX89" fmla="*/ 464798 w 733006"/>
              <a:gd name="csY89" fmla="*/ 174107 h 2095135"/>
              <a:gd name="csX90" fmla="*/ 489970 w 733006"/>
              <a:gd name="csY90" fmla="*/ 152208 h 2095135"/>
              <a:gd name="csX91" fmla="*/ 140694 w 733006"/>
              <a:gd name="csY91" fmla="*/ 201837 h 2095135"/>
              <a:gd name="csX92" fmla="*/ 139834 w 733006"/>
              <a:gd name="csY92" fmla="*/ 201482 h 2095135"/>
              <a:gd name="csX93" fmla="*/ 140812 w 733006"/>
              <a:gd name="csY93" fmla="*/ 204941 h 2095135"/>
              <a:gd name="csX94" fmla="*/ 144631 w 733006"/>
              <a:gd name="csY94" fmla="*/ 217811 h 2095135"/>
              <a:gd name="csX95" fmla="*/ 201241 w 733006"/>
              <a:gd name="csY95" fmla="*/ 373387 h 2095135"/>
              <a:gd name="csX96" fmla="*/ 235971 w 733006"/>
              <a:gd name="csY96" fmla="*/ 504451 h 2095135"/>
              <a:gd name="csX97" fmla="*/ 247475 w 733006"/>
              <a:gd name="csY97" fmla="*/ 513241 h 2095135"/>
              <a:gd name="csX98" fmla="*/ 289066 w 733006"/>
              <a:gd name="csY98" fmla="*/ 511170 h 2095135"/>
              <a:gd name="csX99" fmla="*/ 378229 w 733006"/>
              <a:gd name="csY99" fmla="*/ 511084 h 2095135"/>
              <a:gd name="csX100" fmla="*/ 470850 w 733006"/>
              <a:gd name="csY100" fmla="*/ 516341 h 2095135"/>
              <a:gd name="csX101" fmla="*/ 492933 w 733006"/>
              <a:gd name="csY101" fmla="*/ 497969 h 2095135"/>
              <a:gd name="csX102" fmla="*/ 557617 w 733006"/>
              <a:gd name="csY102" fmla="*/ 280398 h 2095135"/>
              <a:gd name="csX103" fmla="*/ 588788 w 733006"/>
              <a:gd name="csY103" fmla="*/ 200385 h 2095135"/>
              <a:gd name="csX104" fmla="*/ 530958 w 733006"/>
              <a:gd name="csY104" fmla="*/ 232968 h 2095135"/>
              <a:gd name="csX105" fmla="*/ 483823 w 733006"/>
              <a:gd name="csY105" fmla="*/ 190364 h 2095135"/>
              <a:gd name="csX106" fmla="*/ 466649 w 733006"/>
              <a:gd name="csY106" fmla="*/ 209061 h 2095135"/>
              <a:gd name="csX107" fmla="*/ 399941 w 733006"/>
              <a:gd name="csY107" fmla="*/ 216988 h 2095135"/>
              <a:gd name="csX108" fmla="*/ 363018 w 733006"/>
              <a:gd name="csY108" fmla="*/ 179615 h 2095135"/>
              <a:gd name="csX109" fmla="*/ 308839 w 733006"/>
              <a:gd name="csY109" fmla="*/ 227846 h 2095135"/>
              <a:gd name="csX110" fmla="*/ 245077 w 733006"/>
              <a:gd name="csY110" fmla="*/ 192402 h 2095135"/>
              <a:gd name="csX111" fmla="*/ 242829 w 733006"/>
              <a:gd name="csY111" fmla="*/ 198815 h 2095135"/>
              <a:gd name="csX112" fmla="*/ 168452 w 733006"/>
              <a:gd name="csY112" fmla="*/ 219348 h 2095135"/>
              <a:gd name="csX113" fmla="*/ 140694 w 733006"/>
              <a:gd name="csY113" fmla="*/ 201837 h 2095135"/>
              <a:gd name="csX114" fmla="*/ 259999 w 733006"/>
              <a:gd name="csY114" fmla="*/ 966699 h 2095135"/>
              <a:gd name="csX115" fmla="*/ 257072 w 733006"/>
              <a:gd name="csY115" fmla="*/ 1070424 h 2095135"/>
              <a:gd name="csX116" fmla="*/ 251372 w 733006"/>
              <a:gd name="csY116" fmla="*/ 1157618 h 2095135"/>
              <a:gd name="csX117" fmla="*/ 232677 w 733006"/>
              <a:gd name="csY117" fmla="*/ 1320279 h 2095135"/>
              <a:gd name="csX118" fmla="*/ 209182 w 733006"/>
              <a:gd name="csY118" fmla="*/ 1468667 h 2095135"/>
              <a:gd name="csX119" fmla="*/ 175302 w 733006"/>
              <a:gd name="csY119" fmla="*/ 1616623 h 2095135"/>
              <a:gd name="csX120" fmla="*/ 182769 w 733006"/>
              <a:gd name="csY120" fmla="*/ 1629786 h 2095135"/>
              <a:gd name="csX121" fmla="*/ 212156 w 733006"/>
              <a:gd name="csY121" fmla="*/ 1632656 h 2095135"/>
              <a:gd name="csX122" fmla="*/ 351295 w 733006"/>
              <a:gd name="csY122" fmla="*/ 1632801 h 2095135"/>
              <a:gd name="csX123" fmla="*/ 376150 w 733006"/>
              <a:gd name="csY123" fmla="*/ 1608307 h 2095135"/>
              <a:gd name="csX124" fmla="*/ 373450 w 733006"/>
              <a:gd name="csY124" fmla="*/ 1457291 h 2095135"/>
              <a:gd name="csX125" fmla="*/ 370936 w 733006"/>
              <a:gd name="csY125" fmla="*/ 1342736 h 2095135"/>
              <a:gd name="csX126" fmla="*/ 368328 w 733006"/>
              <a:gd name="csY126" fmla="*/ 1203878 h 2095135"/>
              <a:gd name="csX127" fmla="*/ 367836 w 733006"/>
              <a:gd name="csY127" fmla="*/ 813478 h 2095135"/>
              <a:gd name="csX128" fmla="*/ 365240 w 733006"/>
              <a:gd name="csY128" fmla="*/ 773243 h 2095135"/>
              <a:gd name="csX129" fmla="*/ 353084 w 733006"/>
              <a:gd name="csY129" fmla="*/ 762083 h 2095135"/>
              <a:gd name="csX130" fmla="*/ 280966 w 733006"/>
              <a:gd name="csY130" fmla="*/ 759855 h 2095135"/>
              <a:gd name="csX131" fmla="*/ 259965 w 733006"/>
              <a:gd name="csY131" fmla="*/ 779553 h 2095135"/>
              <a:gd name="csX132" fmla="*/ 262341 w 733006"/>
              <a:gd name="csY132" fmla="*/ 856275 h 2095135"/>
              <a:gd name="csX133" fmla="*/ 259999 w 733006"/>
              <a:gd name="csY133" fmla="*/ 966699 h 2095135"/>
              <a:gd name="csX134" fmla="*/ 55556 w 733006"/>
              <a:gd name="csY134" fmla="*/ 1835827 h 2095135"/>
              <a:gd name="csX135" fmla="*/ 49393 w 733006"/>
              <a:gd name="csY135" fmla="*/ 1878155 h 2095135"/>
              <a:gd name="csX136" fmla="*/ 73949 w 733006"/>
              <a:gd name="csY136" fmla="*/ 1905781 h 2095135"/>
              <a:gd name="csX137" fmla="*/ 110073 w 733006"/>
              <a:gd name="csY137" fmla="*/ 1909068 h 2095135"/>
              <a:gd name="csX138" fmla="*/ 224745 w 733006"/>
              <a:gd name="csY138" fmla="*/ 1921652 h 2095135"/>
              <a:gd name="csX139" fmla="*/ 347327 w 733006"/>
              <a:gd name="csY139" fmla="*/ 1924778 h 2095135"/>
              <a:gd name="csX140" fmla="*/ 363345 w 733006"/>
              <a:gd name="csY140" fmla="*/ 1923293 h 2095135"/>
              <a:gd name="csX141" fmla="*/ 373787 w 733006"/>
              <a:gd name="csY141" fmla="*/ 1911200 h 2095135"/>
              <a:gd name="csX142" fmla="*/ 376623 w 733006"/>
              <a:gd name="csY142" fmla="*/ 1696741 h 2095135"/>
              <a:gd name="csX143" fmla="*/ 360437 w 733006"/>
              <a:gd name="csY143" fmla="*/ 1681289 h 2095135"/>
              <a:gd name="csX144" fmla="*/ 263503 w 733006"/>
              <a:gd name="csY144" fmla="*/ 1678179 h 2095135"/>
              <a:gd name="csX145" fmla="*/ 160381 w 733006"/>
              <a:gd name="csY145" fmla="*/ 1670405 h 2095135"/>
              <a:gd name="csX146" fmla="*/ 143321 w 733006"/>
              <a:gd name="csY146" fmla="*/ 1685538 h 2095135"/>
              <a:gd name="csX147" fmla="*/ 124769 w 733006"/>
              <a:gd name="csY147" fmla="*/ 1738195 h 2095135"/>
              <a:gd name="csX148" fmla="*/ 90593 w 733006"/>
              <a:gd name="csY148" fmla="*/ 1779570 h 2095135"/>
              <a:gd name="csX149" fmla="*/ 55556 w 733006"/>
              <a:gd name="csY149" fmla="*/ 1835827 h 2095135"/>
              <a:gd name="csX150" fmla="*/ 378900 w 733006"/>
              <a:gd name="csY150" fmla="*/ 2007280 h 2095135"/>
              <a:gd name="csX151" fmla="*/ 378887 w 733006"/>
              <a:gd name="csY151" fmla="*/ 1995127 h 2095135"/>
              <a:gd name="csX152" fmla="*/ 359084 w 733006"/>
              <a:gd name="csY152" fmla="*/ 1975964 h 2095135"/>
              <a:gd name="csX153" fmla="*/ 247288 w 733006"/>
              <a:gd name="csY153" fmla="*/ 1973305 h 2095135"/>
              <a:gd name="csX154" fmla="*/ 201692 w 733006"/>
              <a:gd name="csY154" fmla="*/ 1970275 h 2095135"/>
              <a:gd name="csX155" fmla="*/ 57962 w 733006"/>
              <a:gd name="csY155" fmla="*/ 1952648 h 2095135"/>
              <a:gd name="csX156" fmla="*/ 39194 w 733006"/>
              <a:gd name="csY156" fmla="*/ 1963552 h 2095135"/>
              <a:gd name="csX157" fmla="*/ 30066 w 733006"/>
              <a:gd name="csY157" fmla="*/ 2006631 h 2095135"/>
              <a:gd name="csX158" fmla="*/ 40232 w 733006"/>
              <a:gd name="csY158" fmla="*/ 2019486 h 2095135"/>
              <a:gd name="csX159" fmla="*/ 238186 w 733006"/>
              <a:gd name="csY159" fmla="*/ 2046096 h 2095135"/>
              <a:gd name="csX160" fmla="*/ 342155 w 733006"/>
              <a:gd name="csY160" fmla="*/ 2046441 h 2095135"/>
              <a:gd name="csX161" fmla="*/ 378900 w 733006"/>
              <a:gd name="csY161" fmla="*/ 2007280 h 2095135"/>
              <a:gd name="csX162" fmla="*/ 310220 w 733006"/>
              <a:gd name="csY162" fmla="*/ 554288 h 2095135"/>
              <a:gd name="csX163" fmla="*/ 259136 w 733006"/>
              <a:gd name="csY163" fmla="*/ 556881 h 2095135"/>
              <a:gd name="csX164" fmla="*/ 249085 w 733006"/>
              <a:gd name="csY164" fmla="*/ 567981 h 2095135"/>
              <a:gd name="csX165" fmla="*/ 249141 w 733006"/>
              <a:gd name="csY165" fmla="*/ 605644 h 2095135"/>
              <a:gd name="csX166" fmla="*/ 262628 w 733006"/>
              <a:gd name="csY166" fmla="*/ 605627 h 2095135"/>
              <a:gd name="csX167" fmla="*/ 369608 w 733006"/>
              <a:gd name="csY167" fmla="*/ 603027 h 2095135"/>
              <a:gd name="csX168" fmla="*/ 463931 w 733006"/>
              <a:gd name="csY168" fmla="*/ 605146 h 2095135"/>
              <a:gd name="csX169" fmla="*/ 478113 w 733006"/>
              <a:gd name="csY169" fmla="*/ 595843 h 2095135"/>
              <a:gd name="csX170" fmla="*/ 478796 w 733006"/>
              <a:gd name="csY170" fmla="*/ 556832 h 2095135"/>
              <a:gd name="csX171" fmla="*/ 310220 w 733006"/>
              <a:gd name="csY171" fmla="*/ 554288 h 2095135"/>
              <a:gd name="csX172" fmla="*/ 348836 w 733006"/>
              <a:gd name="csY172" fmla="*/ 684115 h 2095135"/>
              <a:gd name="csX173" fmla="*/ 281333 w 733006"/>
              <a:gd name="csY173" fmla="*/ 683313 h 2095135"/>
              <a:gd name="csX174" fmla="*/ 212728 w 733006"/>
              <a:gd name="csY174" fmla="*/ 681931 h 2095135"/>
              <a:gd name="csX175" fmla="*/ 187283 w 733006"/>
              <a:gd name="csY175" fmla="*/ 689555 h 2095135"/>
              <a:gd name="csX176" fmla="*/ 186163 w 733006"/>
              <a:gd name="csY176" fmla="*/ 718266 h 2095135"/>
              <a:gd name="csX177" fmla="*/ 209894 w 733006"/>
              <a:gd name="csY177" fmla="*/ 726798 h 2095135"/>
              <a:gd name="csX178" fmla="*/ 334814 w 733006"/>
              <a:gd name="csY178" fmla="*/ 732494 h 2095135"/>
              <a:gd name="csX179" fmla="*/ 364856 w 733006"/>
              <a:gd name="csY179" fmla="*/ 707963 h 2095135"/>
              <a:gd name="csX180" fmla="*/ 348836 w 733006"/>
              <a:gd name="csY180" fmla="*/ 684115 h 2095135"/>
              <a:gd name="csX181" fmla="*/ 298865 w 733006"/>
              <a:gd name="csY181" fmla="*/ 621954 h 2095135"/>
              <a:gd name="csX182" fmla="*/ 251619 w 733006"/>
              <a:gd name="csY182" fmla="*/ 622133 h 2095135"/>
              <a:gd name="csX183" fmla="*/ 214459 w 733006"/>
              <a:gd name="csY183" fmla="*/ 636230 h 2095135"/>
              <a:gd name="csX184" fmla="*/ 221436 w 733006"/>
              <a:gd name="csY184" fmla="*/ 654205 h 2095135"/>
              <a:gd name="csX185" fmla="*/ 272412 w 733006"/>
              <a:gd name="csY185" fmla="*/ 657250 h 2095135"/>
              <a:gd name="csX186" fmla="*/ 349094 w 733006"/>
              <a:gd name="csY186" fmla="*/ 659282 h 2095135"/>
              <a:gd name="csX187" fmla="*/ 362996 w 733006"/>
              <a:gd name="csY187" fmla="*/ 644234 h 2095135"/>
              <a:gd name="csX188" fmla="*/ 348472 w 733006"/>
              <a:gd name="csY188" fmla="*/ 624649 h 2095135"/>
              <a:gd name="csX189" fmla="*/ 298865 w 733006"/>
              <a:gd name="csY189" fmla="*/ 621954 h 2095135"/>
              <a:gd name="csX190" fmla="*/ 227796 w 733006"/>
              <a:gd name="csY190" fmla="*/ 528000 h 2095135"/>
              <a:gd name="csX191" fmla="*/ 241009 w 733006"/>
              <a:gd name="csY191" fmla="*/ 545897 h 2095135"/>
              <a:gd name="csX192" fmla="*/ 282607 w 733006"/>
              <a:gd name="csY192" fmla="*/ 543480 h 2095135"/>
              <a:gd name="csX193" fmla="*/ 354213 w 733006"/>
              <a:gd name="csY193" fmla="*/ 543384 h 2095135"/>
              <a:gd name="csX194" fmla="*/ 365334 w 733006"/>
              <a:gd name="csY194" fmla="*/ 533397 h 2095135"/>
              <a:gd name="csX195" fmla="*/ 354531 w 733006"/>
              <a:gd name="csY195" fmla="*/ 521620 h 2095135"/>
              <a:gd name="csX196" fmla="*/ 259169 w 733006"/>
              <a:gd name="csY196" fmla="*/ 521978 h 2095135"/>
              <a:gd name="csX197" fmla="*/ 227796 w 733006"/>
              <a:gd name="csY197" fmla="*/ 528000 h 2095135"/>
              <a:gd name="csX198" fmla="*/ 508068 w 733006"/>
              <a:gd name="csY198" fmla="*/ 190710 h 2095135"/>
              <a:gd name="csX199" fmla="*/ 521293 w 733006"/>
              <a:gd name="csY199" fmla="*/ 205907 h 2095135"/>
              <a:gd name="csX200" fmla="*/ 525175 w 733006"/>
              <a:gd name="csY200" fmla="*/ 202985 h 2095135"/>
              <a:gd name="csX201" fmla="*/ 500276 w 733006"/>
              <a:gd name="csY201" fmla="*/ 160640 h 2095135"/>
              <a:gd name="csX202" fmla="*/ 497122 w 733006"/>
              <a:gd name="csY202" fmla="*/ 162007 h 2095135"/>
              <a:gd name="csX203" fmla="*/ 508068 w 733006"/>
              <a:gd name="csY203" fmla="*/ 190710 h 2095135"/>
              <a:gd name="csX204" fmla="*/ 215522 w 733006"/>
              <a:gd name="csY204" fmla="*/ 197296 h 2095135"/>
              <a:gd name="csX205" fmla="*/ 234029 w 733006"/>
              <a:gd name="csY205" fmla="*/ 162725 h 2095135"/>
              <a:gd name="csX206" fmla="*/ 229000 w 733006"/>
              <a:gd name="csY206" fmla="*/ 159902 h 2095135"/>
              <a:gd name="csX207" fmla="*/ 204824 w 733006"/>
              <a:gd name="csY207" fmla="*/ 199677 h 2095135"/>
              <a:gd name="csX208" fmla="*/ 207990 w 733006"/>
              <a:gd name="csY208" fmla="*/ 202198 h 2095135"/>
              <a:gd name="csX209" fmla="*/ 215522 w 733006"/>
              <a:gd name="csY209" fmla="*/ 197296 h 2095135"/>
              <a:gd name="csX210" fmla="*/ 484400 w 733006"/>
              <a:gd name="csY210" fmla="*/ 896678 h 2095135"/>
              <a:gd name="csX211" fmla="*/ 486181 w 733006"/>
              <a:gd name="csY211" fmla="*/ 896585 h 2095135"/>
              <a:gd name="csX212" fmla="*/ 486181 w 733006"/>
              <a:gd name="csY212" fmla="*/ 795289 h 2095135"/>
              <a:gd name="csX213" fmla="*/ 720241 w 733006"/>
              <a:gd name="csY213" fmla="*/ 2030666 h 2095135"/>
              <a:gd name="csX214" fmla="*/ 721175 w 733006"/>
              <a:gd name="csY214" fmla="*/ 2029733 h 2095135"/>
              <a:gd name="csX215" fmla="*/ 720241 w 733006"/>
              <a:gd name="csY215" fmla="*/ 2030666 h 2095135"/>
              <a:gd name="csX0" fmla="*/ 96263 w 733006"/>
              <a:gd name="csY0" fmla="*/ 2076207 h 2095135"/>
              <a:gd name="csX1" fmla="*/ 63862 w 733006"/>
              <a:gd name="csY1" fmla="*/ 2065388 h 2095135"/>
              <a:gd name="csX2" fmla="*/ 16555 w 733006"/>
              <a:gd name="csY2" fmla="*/ 2050152 h 2095135"/>
              <a:gd name="csX3" fmla="*/ 15 w 733006"/>
              <a:gd name="csY3" fmla="*/ 2023802 h 2095135"/>
              <a:gd name="csX4" fmla="*/ 18368 w 733006"/>
              <a:gd name="csY4" fmla="*/ 1940709 h 2095135"/>
              <a:gd name="csX5" fmla="*/ 22139 w 733006"/>
              <a:gd name="csY5" fmla="*/ 1907268 h 2095135"/>
              <a:gd name="csX6" fmla="*/ 57941 w 733006"/>
              <a:gd name="csY6" fmla="*/ 1774163 h 2095135"/>
              <a:gd name="csX7" fmla="*/ 102478 w 733006"/>
              <a:gd name="csY7" fmla="*/ 1720275 h 2095135"/>
              <a:gd name="csX8" fmla="*/ 108579 w 733006"/>
              <a:gd name="csY8" fmla="*/ 1650967 h 2095135"/>
              <a:gd name="csX9" fmla="*/ 115628 w 733006"/>
              <a:gd name="csY9" fmla="*/ 1625405 h 2095135"/>
              <a:gd name="csX10" fmla="*/ 156323 w 733006"/>
              <a:gd name="csY10" fmla="*/ 1560181 h 2095135"/>
              <a:gd name="csX11" fmla="*/ 199424 w 733006"/>
              <a:gd name="csY11" fmla="*/ 1364729 h 2095135"/>
              <a:gd name="csX12" fmla="*/ 216779 w 733006"/>
              <a:gd name="csY12" fmla="*/ 1219490 h 2095135"/>
              <a:gd name="csX13" fmla="*/ 229755 w 733006"/>
              <a:gd name="csY13" fmla="*/ 1099357 h 2095135"/>
              <a:gd name="csX14" fmla="*/ 232707 w 733006"/>
              <a:gd name="csY14" fmla="*/ 1056423 h 2095135"/>
              <a:gd name="csX15" fmla="*/ 235622 w 733006"/>
              <a:gd name="csY15" fmla="*/ 952675 h 2095135"/>
              <a:gd name="csX16" fmla="*/ 235445 w 733006"/>
              <a:gd name="csY16" fmla="*/ 780278 h 2095135"/>
              <a:gd name="csX17" fmla="*/ 214544 w 733006"/>
              <a:gd name="csY17" fmla="*/ 756435 h 2095135"/>
              <a:gd name="csX18" fmla="*/ 172569 w 733006"/>
              <a:gd name="csY18" fmla="*/ 742582 h 2095135"/>
              <a:gd name="csX19" fmla="*/ 168784 w 733006"/>
              <a:gd name="csY19" fmla="*/ 669116 h 2095135"/>
              <a:gd name="csX20" fmla="*/ 191657 w 733006"/>
              <a:gd name="csY20" fmla="*/ 630765 h 2095135"/>
              <a:gd name="csX21" fmla="*/ 208150 w 733006"/>
              <a:gd name="csY21" fmla="*/ 609084 h 2095135"/>
              <a:gd name="csX22" fmla="*/ 216756 w 733006"/>
              <a:gd name="csY22" fmla="*/ 558673 h 2095135"/>
              <a:gd name="csX23" fmla="*/ 209092 w 733006"/>
              <a:gd name="csY23" fmla="*/ 521540 h 2095135"/>
              <a:gd name="csX24" fmla="*/ 204683 w 733006"/>
              <a:gd name="csY24" fmla="*/ 474024 h 2095135"/>
              <a:gd name="csX25" fmla="*/ 115483 w 733006"/>
              <a:gd name="csY25" fmla="*/ 213499 h 2095135"/>
              <a:gd name="csX26" fmla="*/ 102909 w 733006"/>
              <a:gd name="csY26" fmla="*/ 182297 h 2095135"/>
              <a:gd name="csX27" fmla="*/ 104315 w 733006"/>
              <a:gd name="csY27" fmla="*/ 163968 h 2095135"/>
              <a:gd name="csX28" fmla="*/ 122444 w 733006"/>
              <a:gd name="csY28" fmla="*/ 160805 h 2095135"/>
              <a:gd name="csX29" fmla="*/ 170283 w 733006"/>
              <a:gd name="csY29" fmla="*/ 187783 h 2095135"/>
              <a:gd name="csX30" fmla="*/ 180938 w 733006"/>
              <a:gd name="csY30" fmla="*/ 195322 h 2095135"/>
              <a:gd name="csX31" fmla="*/ 221419 w 733006"/>
              <a:gd name="csY31" fmla="*/ 138058 h 2095135"/>
              <a:gd name="csX32" fmla="*/ 294099 w 733006"/>
              <a:gd name="csY32" fmla="*/ 91372 h 2095135"/>
              <a:gd name="csX33" fmla="*/ 302307 w 733006"/>
              <a:gd name="csY33" fmla="*/ 76560 h 2095135"/>
              <a:gd name="csX34" fmla="*/ 320284 w 733006"/>
              <a:gd name="csY34" fmla="*/ 8414 h 2095135"/>
              <a:gd name="csX35" fmla="*/ 324784 w 733006"/>
              <a:gd name="csY35" fmla="*/ 946 h 2095135"/>
              <a:gd name="csX36" fmla="*/ 399212 w 733006"/>
              <a:gd name="csY36" fmla="*/ 0 h 2095135"/>
              <a:gd name="csX37" fmla="*/ 425980 w 733006"/>
              <a:gd name="csY37" fmla="*/ 78301 h 2095135"/>
              <a:gd name="csX38" fmla="*/ 431861 w 733006"/>
              <a:gd name="csY38" fmla="*/ 90312 h 2095135"/>
              <a:gd name="csX39" fmla="*/ 540349 w 733006"/>
              <a:gd name="csY39" fmla="*/ 187946 h 2095135"/>
              <a:gd name="csX40" fmla="*/ 545555 w 733006"/>
              <a:gd name="csY40" fmla="*/ 197828 h 2095135"/>
              <a:gd name="csX41" fmla="*/ 587318 w 733006"/>
              <a:gd name="csY41" fmla="*/ 171260 h 2095135"/>
              <a:gd name="csX42" fmla="*/ 601503 w 733006"/>
              <a:gd name="csY42" fmla="*/ 163707 h 2095135"/>
              <a:gd name="csX43" fmla="*/ 625254 w 733006"/>
              <a:gd name="csY43" fmla="*/ 163123 h 2095135"/>
              <a:gd name="csX44" fmla="*/ 625468 w 733006"/>
              <a:gd name="csY44" fmla="*/ 187579 h 2095135"/>
              <a:gd name="csX45" fmla="*/ 597543 w 733006"/>
              <a:gd name="csY45" fmla="*/ 251872 h 2095135"/>
              <a:gd name="csX46" fmla="*/ 531831 w 733006"/>
              <a:gd name="csY46" fmla="*/ 442689 h 2095135"/>
              <a:gd name="csX47" fmla="*/ 519888 w 733006"/>
              <a:gd name="csY47" fmla="*/ 501474 h 2095135"/>
              <a:gd name="csX48" fmla="*/ 522506 w 733006"/>
              <a:gd name="csY48" fmla="*/ 525086 h 2095135"/>
              <a:gd name="csX49" fmla="*/ 516235 w 733006"/>
              <a:gd name="csY49" fmla="*/ 555946 h 2095135"/>
              <a:gd name="csX50" fmla="*/ 521332 w 733006"/>
              <a:gd name="csY50" fmla="*/ 610676 h 2095135"/>
              <a:gd name="csX51" fmla="*/ 541382 w 733006"/>
              <a:gd name="csY51" fmla="*/ 642597 h 2095135"/>
              <a:gd name="csX52" fmla="*/ 557031 w 733006"/>
              <a:gd name="csY52" fmla="*/ 667949 h 2095135"/>
              <a:gd name="csX53" fmla="*/ 553994 w 733006"/>
              <a:gd name="csY53" fmla="*/ 744146 h 2095135"/>
              <a:gd name="csX54" fmla="*/ 508215 w 733006"/>
              <a:gd name="csY54" fmla="*/ 758841 h 2095135"/>
              <a:gd name="csX55" fmla="*/ 497442 w 733006"/>
              <a:gd name="csY55" fmla="*/ 771256 h 2095135"/>
              <a:gd name="csX56" fmla="*/ 493005 w 733006"/>
              <a:gd name="csY56" fmla="*/ 922055 h 2095135"/>
              <a:gd name="csX57" fmla="*/ 502900 w 733006"/>
              <a:gd name="csY57" fmla="*/ 1114191 h 2095135"/>
              <a:gd name="csX58" fmla="*/ 508800 w 733006"/>
              <a:gd name="csY58" fmla="*/ 1205474 h 2095135"/>
              <a:gd name="csX59" fmla="*/ 522952 w 733006"/>
              <a:gd name="csY59" fmla="*/ 1320065 h 2095135"/>
              <a:gd name="csX60" fmla="*/ 554682 w 733006"/>
              <a:gd name="csY60" fmla="*/ 1501203 h 2095135"/>
              <a:gd name="csX61" fmla="*/ 576958 w 733006"/>
              <a:gd name="csY61" fmla="*/ 1593963 h 2095135"/>
              <a:gd name="csX62" fmla="*/ 595349 w 733006"/>
              <a:gd name="csY62" fmla="*/ 1613498 h 2095135"/>
              <a:gd name="csX63" fmla="*/ 613936 w 733006"/>
              <a:gd name="csY63" fmla="*/ 1624058 h 2095135"/>
              <a:gd name="csX64" fmla="*/ 620938 w 733006"/>
              <a:gd name="csY64" fmla="*/ 1652071 h 2095135"/>
              <a:gd name="csX65" fmla="*/ 630805 w 733006"/>
              <a:gd name="csY65" fmla="*/ 1721702 h 2095135"/>
              <a:gd name="csX66" fmla="*/ 685830 w 733006"/>
              <a:gd name="csY66" fmla="*/ 1792915 h 2095135"/>
              <a:gd name="csX67" fmla="*/ 708904 w 733006"/>
              <a:gd name="csY67" fmla="*/ 1890290 h 2095135"/>
              <a:gd name="csX68" fmla="*/ 716580 w 733006"/>
              <a:gd name="csY68" fmla="*/ 1951136 h 2095135"/>
              <a:gd name="csX69" fmla="*/ 729397 w 733006"/>
              <a:gd name="csY69" fmla="*/ 2030261 h 2095135"/>
              <a:gd name="csX70" fmla="*/ 714212 w 733006"/>
              <a:gd name="csY70" fmla="*/ 2049544 h 2095135"/>
              <a:gd name="csX71" fmla="*/ 96263 w 733006"/>
              <a:gd name="csY71" fmla="*/ 2076207 h 2095135"/>
              <a:gd name="csX72" fmla="*/ 489970 w 733006"/>
              <a:gd name="csY72" fmla="*/ 152208 h 2095135"/>
              <a:gd name="csX73" fmla="*/ 490754 w 733006"/>
              <a:gd name="csY73" fmla="*/ 152592 h 2095135"/>
              <a:gd name="csX74" fmla="*/ 489489 w 733006"/>
              <a:gd name="csY74" fmla="*/ 149547 h 2095135"/>
              <a:gd name="csX75" fmla="*/ 393621 w 733006"/>
              <a:gd name="csY75" fmla="*/ 99259 h 2095135"/>
              <a:gd name="csX76" fmla="*/ 390419 w 733006"/>
              <a:gd name="csY76" fmla="*/ 18568 h 2095135"/>
              <a:gd name="csX77" fmla="*/ 334131 w 733006"/>
              <a:gd name="csY77" fmla="*/ 24327 h 2095135"/>
              <a:gd name="csX78" fmla="*/ 344678 w 733006"/>
              <a:gd name="csY78" fmla="*/ 101259 h 2095135"/>
              <a:gd name="csX79" fmla="*/ 298854 w 733006"/>
              <a:gd name="csY79" fmla="*/ 114003 h 2095135"/>
              <a:gd name="csX80" fmla="*/ 237456 w 733006"/>
              <a:gd name="csY80" fmla="*/ 154340 h 2095135"/>
              <a:gd name="csX81" fmla="*/ 240382 w 733006"/>
              <a:gd name="csY81" fmla="*/ 154035 h 2095135"/>
              <a:gd name="csX82" fmla="*/ 262731 w 733006"/>
              <a:gd name="csY82" fmla="*/ 170426 h 2095135"/>
              <a:gd name="csX83" fmla="*/ 279169 w 733006"/>
              <a:gd name="csY83" fmla="*/ 193173 h 2095135"/>
              <a:gd name="csX84" fmla="*/ 327717 w 733006"/>
              <a:gd name="csY84" fmla="*/ 188556 h 2095135"/>
              <a:gd name="csX85" fmla="*/ 348052 w 733006"/>
              <a:gd name="csY85" fmla="*/ 156919 h 2095135"/>
              <a:gd name="csX86" fmla="*/ 380330 w 733006"/>
              <a:gd name="csY86" fmla="*/ 156483 h 2095135"/>
              <a:gd name="csX87" fmla="*/ 408490 w 733006"/>
              <a:gd name="csY87" fmla="*/ 195400 h 2095135"/>
              <a:gd name="csX88" fmla="*/ 445346 w 733006"/>
              <a:gd name="csY88" fmla="*/ 197582 h 2095135"/>
              <a:gd name="csX89" fmla="*/ 464798 w 733006"/>
              <a:gd name="csY89" fmla="*/ 174107 h 2095135"/>
              <a:gd name="csX90" fmla="*/ 489970 w 733006"/>
              <a:gd name="csY90" fmla="*/ 152208 h 2095135"/>
              <a:gd name="csX91" fmla="*/ 140694 w 733006"/>
              <a:gd name="csY91" fmla="*/ 201837 h 2095135"/>
              <a:gd name="csX92" fmla="*/ 139834 w 733006"/>
              <a:gd name="csY92" fmla="*/ 201482 h 2095135"/>
              <a:gd name="csX93" fmla="*/ 140812 w 733006"/>
              <a:gd name="csY93" fmla="*/ 204941 h 2095135"/>
              <a:gd name="csX94" fmla="*/ 144631 w 733006"/>
              <a:gd name="csY94" fmla="*/ 217811 h 2095135"/>
              <a:gd name="csX95" fmla="*/ 201241 w 733006"/>
              <a:gd name="csY95" fmla="*/ 373387 h 2095135"/>
              <a:gd name="csX96" fmla="*/ 235971 w 733006"/>
              <a:gd name="csY96" fmla="*/ 504451 h 2095135"/>
              <a:gd name="csX97" fmla="*/ 247475 w 733006"/>
              <a:gd name="csY97" fmla="*/ 513241 h 2095135"/>
              <a:gd name="csX98" fmla="*/ 289066 w 733006"/>
              <a:gd name="csY98" fmla="*/ 511170 h 2095135"/>
              <a:gd name="csX99" fmla="*/ 378229 w 733006"/>
              <a:gd name="csY99" fmla="*/ 511084 h 2095135"/>
              <a:gd name="csX100" fmla="*/ 470850 w 733006"/>
              <a:gd name="csY100" fmla="*/ 516341 h 2095135"/>
              <a:gd name="csX101" fmla="*/ 492933 w 733006"/>
              <a:gd name="csY101" fmla="*/ 497969 h 2095135"/>
              <a:gd name="csX102" fmla="*/ 557617 w 733006"/>
              <a:gd name="csY102" fmla="*/ 280398 h 2095135"/>
              <a:gd name="csX103" fmla="*/ 588788 w 733006"/>
              <a:gd name="csY103" fmla="*/ 200385 h 2095135"/>
              <a:gd name="csX104" fmla="*/ 530958 w 733006"/>
              <a:gd name="csY104" fmla="*/ 232968 h 2095135"/>
              <a:gd name="csX105" fmla="*/ 483823 w 733006"/>
              <a:gd name="csY105" fmla="*/ 190364 h 2095135"/>
              <a:gd name="csX106" fmla="*/ 466649 w 733006"/>
              <a:gd name="csY106" fmla="*/ 209061 h 2095135"/>
              <a:gd name="csX107" fmla="*/ 399941 w 733006"/>
              <a:gd name="csY107" fmla="*/ 216988 h 2095135"/>
              <a:gd name="csX108" fmla="*/ 363018 w 733006"/>
              <a:gd name="csY108" fmla="*/ 179615 h 2095135"/>
              <a:gd name="csX109" fmla="*/ 308839 w 733006"/>
              <a:gd name="csY109" fmla="*/ 227846 h 2095135"/>
              <a:gd name="csX110" fmla="*/ 245077 w 733006"/>
              <a:gd name="csY110" fmla="*/ 192402 h 2095135"/>
              <a:gd name="csX111" fmla="*/ 242829 w 733006"/>
              <a:gd name="csY111" fmla="*/ 198815 h 2095135"/>
              <a:gd name="csX112" fmla="*/ 168452 w 733006"/>
              <a:gd name="csY112" fmla="*/ 219348 h 2095135"/>
              <a:gd name="csX113" fmla="*/ 140694 w 733006"/>
              <a:gd name="csY113" fmla="*/ 201837 h 2095135"/>
              <a:gd name="csX114" fmla="*/ 259999 w 733006"/>
              <a:gd name="csY114" fmla="*/ 966699 h 2095135"/>
              <a:gd name="csX115" fmla="*/ 257072 w 733006"/>
              <a:gd name="csY115" fmla="*/ 1070424 h 2095135"/>
              <a:gd name="csX116" fmla="*/ 251372 w 733006"/>
              <a:gd name="csY116" fmla="*/ 1157618 h 2095135"/>
              <a:gd name="csX117" fmla="*/ 232677 w 733006"/>
              <a:gd name="csY117" fmla="*/ 1320279 h 2095135"/>
              <a:gd name="csX118" fmla="*/ 209182 w 733006"/>
              <a:gd name="csY118" fmla="*/ 1468667 h 2095135"/>
              <a:gd name="csX119" fmla="*/ 175302 w 733006"/>
              <a:gd name="csY119" fmla="*/ 1616623 h 2095135"/>
              <a:gd name="csX120" fmla="*/ 182769 w 733006"/>
              <a:gd name="csY120" fmla="*/ 1629786 h 2095135"/>
              <a:gd name="csX121" fmla="*/ 212156 w 733006"/>
              <a:gd name="csY121" fmla="*/ 1632656 h 2095135"/>
              <a:gd name="csX122" fmla="*/ 351295 w 733006"/>
              <a:gd name="csY122" fmla="*/ 1632801 h 2095135"/>
              <a:gd name="csX123" fmla="*/ 376150 w 733006"/>
              <a:gd name="csY123" fmla="*/ 1608307 h 2095135"/>
              <a:gd name="csX124" fmla="*/ 373450 w 733006"/>
              <a:gd name="csY124" fmla="*/ 1457291 h 2095135"/>
              <a:gd name="csX125" fmla="*/ 370936 w 733006"/>
              <a:gd name="csY125" fmla="*/ 1342736 h 2095135"/>
              <a:gd name="csX126" fmla="*/ 368328 w 733006"/>
              <a:gd name="csY126" fmla="*/ 1203878 h 2095135"/>
              <a:gd name="csX127" fmla="*/ 367836 w 733006"/>
              <a:gd name="csY127" fmla="*/ 813478 h 2095135"/>
              <a:gd name="csX128" fmla="*/ 365240 w 733006"/>
              <a:gd name="csY128" fmla="*/ 773243 h 2095135"/>
              <a:gd name="csX129" fmla="*/ 353084 w 733006"/>
              <a:gd name="csY129" fmla="*/ 762083 h 2095135"/>
              <a:gd name="csX130" fmla="*/ 280966 w 733006"/>
              <a:gd name="csY130" fmla="*/ 759855 h 2095135"/>
              <a:gd name="csX131" fmla="*/ 259965 w 733006"/>
              <a:gd name="csY131" fmla="*/ 779553 h 2095135"/>
              <a:gd name="csX132" fmla="*/ 262341 w 733006"/>
              <a:gd name="csY132" fmla="*/ 856275 h 2095135"/>
              <a:gd name="csX133" fmla="*/ 259999 w 733006"/>
              <a:gd name="csY133" fmla="*/ 966699 h 2095135"/>
              <a:gd name="csX134" fmla="*/ 55556 w 733006"/>
              <a:gd name="csY134" fmla="*/ 1835827 h 2095135"/>
              <a:gd name="csX135" fmla="*/ 49393 w 733006"/>
              <a:gd name="csY135" fmla="*/ 1878155 h 2095135"/>
              <a:gd name="csX136" fmla="*/ 73949 w 733006"/>
              <a:gd name="csY136" fmla="*/ 1905781 h 2095135"/>
              <a:gd name="csX137" fmla="*/ 110073 w 733006"/>
              <a:gd name="csY137" fmla="*/ 1909068 h 2095135"/>
              <a:gd name="csX138" fmla="*/ 224745 w 733006"/>
              <a:gd name="csY138" fmla="*/ 1921652 h 2095135"/>
              <a:gd name="csX139" fmla="*/ 347327 w 733006"/>
              <a:gd name="csY139" fmla="*/ 1924778 h 2095135"/>
              <a:gd name="csX140" fmla="*/ 363345 w 733006"/>
              <a:gd name="csY140" fmla="*/ 1923293 h 2095135"/>
              <a:gd name="csX141" fmla="*/ 373787 w 733006"/>
              <a:gd name="csY141" fmla="*/ 1911200 h 2095135"/>
              <a:gd name="csX142" fmla="*/ 376623 w 733006"/>
              <a:gd name="csY142" fmla="*/ 1696741 h 2095135"/>
              <a:gd name="csX143" fmla="*/ 360437 w 733006"/>
              <a:gd name="csY143" fmla="*/ 1681289 h 2095135"/>
              <a:gd name="csX144" fmla="*/ 263503 w 733006"/>
              <a:gd name="csY144" fmla="*/ 1678179 h 2095135"/>
              <a:gd name="csX145" fmla="*/ 160381 w 733006"/>
              <a:gd name="csY145" fmla="*/ 1670405 h 2095135"/>
              <a:gd name="csX146" fmla="*/ 143321 w 733006"/>
              <a:gd name="csY146" fmla="*/ 1685538 h 2095135"/>
              <a:gd name="csX147" fmla="*/ 124769 w 733006"/>
              <a:gd name="csY147" fmla="*/ 1738195 h 2095135"/>
              <a:gd name="csX148" fmla="*/ 90593 w 733006"/>
              <a:gd name="csY148" fmla="*/ 1779570 h 2095135"/>
              <a:gd name="csX149" fmla="*/ 55556 w 733006"/>
              <a:gd name="csY149" fmla="*/ 1835827 h 2095135"/>
              <a:gd name="csX150" fmla="*/ 378900 w 733006"/>
              <a:gd name="csY150" fmla="*/ 2007280 h 2095135"/>
              <a:gd name="csX151" fmla="*/ 378887 w 733006"/>
              <a:gd name="csY151" fmla="*/ 1995127 h 2095135"/>
              <a:gd name="csX152" fmla="*/ 359084 w 733006"/>
              <a:gd name="csY152" fmla="*/ 1975964 h 2095135"/>
              <a:gd name="csX153" fmla="*/ 247288 w 733006"/>
              <a:gd name="csY153" fmla="*/ 1973305 h 2095135"/>
              <a:gd name="csX154" fmla="*/ 201692 w 733006"/>
              <a:gd name="csY154" fmla="*/ 1970275 h 2095135"/>
              <a:gd name="csX155" fmla="*/ 57962 w 733006"/>
              <a:gd name="csY155" fmla="*/ 1952648 h 2095135"/>
              <a:gd name="csX156" fmla="*/ 39194 w 733006"/>
              <a:gd name="csY156" fmla="*/ 1963552 h 2095135"/>
              <a:gd name="csX157" fmla="*/ 30066 w 733006"/>
              <a:gd name="csY157" fmla="*/ 2006631 h 2095135"/>
              <a:gd name="csX158" fmla="*/ 40232 w 733006"/>
              <a:gd name="csY158" fmla="*/ 2019486 h 2095135"/>
              <a:gd name="csX159" fmla="*/ 238186 w 733006"/>
              <a:gd name="csY159" fmla="*/ 2046096 h 2095135"/>
              <a:gd name="csX160" fmla="*/ 342155 w 733006"/>
              <a:gd name="csY160" fmla="*/ 2046441 h 2095135"/>
              <a:gd name="csX161" fmla="*/ 378900 w 733006"/>
              <a:gd name="csY161" fmla="*/ 2007280 h 2095135"/>
              <a:gd name="csX162" fmla="*/ 310220 w 733006"/>
              <a:gd name="csY162" fmla="*/ 554288 h 2095135"/>
              <a:gd name="csX163" fmla="*/ 259136 w 733006"/>
              <a:gd name="csY163" fmla="*/ 556881 h 2095135"/>
              <a:gd name="csX164" fmla="*/ 249085 w 733006"/>
              <a:gd name="csY164" fmla="*/ 567981 h 2095135"/>
              <a:gd name="csX165" fmla="*/ 249141 w 733006"/>
              <a:gd name="csY165" fmla="*/ 605644 h 2095135"/>
              <a:gd name="csX166" fmla="*/ 262628 w 733006"/>
              <a:gd name="csY166" fmla="*/ 605627 h 2095135"/>
              <a:gd name="csX167" fmla="*/ 369608 w 733006"/>
              <a:gd name="csY167" fmla="*/ 603027 h 2095135"/>
              <a:gd name="csX168" fmla="*/ 463931 w 733006"/>
              <a:gd name="csY168" fmla="*/ 605146 h 2095135"/>
              <a:gd name="csX169" fmla="*/ 478113 w 733006"/>
              <a:gd name="csY169" fmla="*/ 595843 h 2095135"/>
              <a:gd name="csX170" fmla="*/ 478796 w 733006"/>
              <a:gd name="csY170" fmla="*/ 556832 h 2095135"/>
              <a:gd name="csX171" fmla="*/ 310220 w 733006"/>
              <a:gd name="csY171" fmla="*/ 554288 h 2095135"/>
              <a:gd name="csX172" fmla="*/ 348836 w 733006"/>
              <a:gd name="csY172" fmla="*/ 684115 h 2095135"/>
              <a:gd name="csX173" fmla="*/ 281333 w 733006"/>
              <a:gd name="csY173" fmla="*/ 683313 h 2095135"/>
              <a:gd name="csX174" fmla="*/ 212728 w 733006"/>
              <a:gd name="csY174" fmla="*/ 681931 h 2095135"/>
              <a:gd name="csX175" fmla="*/ 187283 w 733006"/>
              <a:gd name="csY175" fmla="*/ 689555 h 2095135"/>
              <a:gd name="csX176" fmla="*/ 186163 w 733006"/>
              <a:gd name="csY176" fmla="*/ 718266 h 2095135"/>
              <a:gd name="csX177" fmla="*/ 209894 w 733006"/>
              <a:gd name="csY177" fmla="*/ 726798 h 2095135"/>
              <a:gd name="csX178" fmla="*/ 334814 w 733006"/>
              <a:gd name="csY178" fmla="*/ 732494 h 2095135"/>
              <a:gd name="csX179" fmla="*/ 364856 w 733006"/>
              <a:gd name="csY179" fmla="*/ 707963 h 2095135"/>
              <a:gd name="csX180" fmla="*/ 348836 w 733006"/>
              <a:gd name="csY180" fmla="*/ 684115 h 2095135"/>
              <a:gd name="csX181" fmla="*/ 298865 w 733006"/>
              <a:gd name="csY181" fmla="*/ 621954 h 2095135"/>
              <a:gd name="csX182" fmla="*/ 251619 w 733006"/>
              <a:gd name="csY182" fmla="*/ 622133 h 2095135"/>
              <a:gd name="csX183" fmla="*/ 214459 w 733006"/>
              <a:gd name="csY183" fmla="*/ 636230 h 2095135"/>
              <a:gd name="csX184" fmla="*/ 221436 w 733006"/>
              <a:gd name="csY184" fmla="*/ 654205 h 2095135"/>
              <a:gd name="csX185" fmla="*/ 272412 w 733006"/>
              <a:gd name="csY185" fmla="*/ 657250 h 2095135"/>
              <a:gd name="csX186" fmla="*/ 349094 w 733006"/>
              <a:gd name="csY186" fmla="*/ 659282 h 2095135"/>
              <a:gd name="csX187" fmla="*/ 362996 w 733006"/>
              <a:gd name="csY187" fmla="*/ 644234 h 2095135"/>
              <a:gd name="csX188" fmla="*/ 348472 w 733006"/>
              <a:gd name="csY188" fmla="*/ 624649 h 2095135"/>
              <a:gd name="csX189" fmla="*/ 298865 w 733006"/>
              <a:gd name="csY189" fmla="*/ 621954 h 2095135"/>
              <a:gd name="csX190" fmla="*/ 227796 w 733006"/>
              <a:gd name="csY190" fmla="*/ 528000 h 2095135"/>
              <a:gd name="csX191" fmla="*/ 241009 w 733006"/>
              <a:gd name="csY191" fmla="*/ 545897 h 2095135"/>
              <a:gd name="csX192" fmla="*/ 282607 w 733006"/>
              <a:gd name="csY192" fmla="*/ 543480 h 2095135"/>
              <a:gd name="csX193" fmla="*/ 354213 w 733006"/>
              <a:gd name="csY193" fmla="*/ 543384 h 2095135"/>
              <a:gd name="csX194" fmla="*/ 365334 w 733006"/>
              <a:gd name="csY194" fmla="*/ 533397 h 2095135"/>
              <a:gd name="csX195" fmla="*/ 354531 w 733006"/>
              <a:gd name="csY195" fmla="*/ 521620 h 2095135"/>
              <a:gd name="csX196" fmla="*/ 259169 w 733006"/>
              <a:gd name="csY196" fmla="*/ 521978 h 2095135"/>
              <a:gd name="csX197" fmla="*/ 227796 w 733006"/>
              <a:gd name="csY197" fmla="*/ 528000 h 2095135"/>
              <a:gd name="csX198" fmla="*/ 508068 w 733006"/>
              <a:gd name="csY198" fmla="*/ 190710 h 2095135"/>
              <a:gd name="csX199" fmla="*/ 521293 w 733006"/>
              <a:gd name="csY199" fmla="*/ 205907 h 2095135"/>
              <a:gd name="csX200" fmla="*/ 525175 w 733006"/>
              <a:gd name="csY200" fmla="*/ 202985 h 2095135"/>
              <a:gd name="csX201" fmla="*/ 500276 w 733006"/>
              <a:gd name="csY201" fmla="*/ 160640 h 2095135"/>
              <a:gd name="csX202" fmla="*/ 497122 w 733006"/>
              <a:gd name="csY202" fmla="*/ 162007 h 2095135"/>
              <a:gd name="csX203" fmla="*/ 508068 w 733006"/>
              <a:gd name="csY203" fmla="*/ 190710 h 2095135"/>
              <a:gd name="csX204" fmla="*/ 215522 w 733006"/>
              <a:gd name="csY204" fmla="*/ 197296 h 2095135"/>
              <a:gd name="csX205" fmla="*/ 234029 w 733006"/>
              <a:gd name="csY205" fmla="*/ 162725 h 2095135"/>
              <a:gd name="csX206" fmla="*/ 229000 w 733006"/>
              <a:gd name="csY206" fmla="*/ 159902 h 2095135"/>
              <a:gd name="csX207" fmla="*/ 204824 w 733006"/>
              <a:gd name="csY207" fmla="*/ 199677 h 2095135"/>
              <a:gd name="csX208" fmla="*/ 207990 w 733006"/>
              <a:gd name="csY208" fmla="*/ 202198 h 2095135"/>
              <a:gd name="csX209" fmla="*/ 215522 w 733006"/>
              <a:gd name="csY209" fmla="*/ 197296 h 2095135"/>
              <a:gd name="csX210" fmla="*/ 484400 w 733006"/>
              <a:gd name="csY210" fmla="*/ 896678 h 2095135"/>
              <a:gd name="csX211" fmla="*/ 486181 w 733006"/>
              <a:gd name="csY211" fmla="*/ 896585 h 2095135"/>
              <a:gd name="csX212" fmla="*/ 486181 w 733006"/>
              <a:gd name="csY212" fmla="*/ 795289 h 2095135"/>
              <a:gd name="csX213" fmla="*/ 720241 w 733006"/>
              <a:gd name="csY213" fmla="*/ 2030666 h 2095135"/>
              <a:gd name="csX214" fmla="*/ 721175 w 733006"/>
              <a:gd name="csY214" fmla="*/ 2029733 h 2095135"/>
              <a:gd name="csX0" fmla="*/ 96263 w 733006"/>
              <a:gd name="csY0" fmla="*/ 2076207 h 2095135"/>
              <a:gd name="csX1" fmla="*/ 63862 w 733006"/>
              <a:gd name="csY1" fmla="*/ 2065388 h 2095135"/>
              <a:gd name="csX2" fmla="*/ 16555 w 733006"/>
              <a:gd name="csY2" fmla="*/ 2050152 h 2095135"/>
              <a:gd name="csX3" fmla="*/ 15 w 733006"/>
              <a:gd name="csY3" fmla="*/ 2023802 h 2095135"/>
              <a:gd name="csX4" fmla="*/ 18368 w 733006"/>
              <a:gd name="csY4" fmla="*/ 1940709 h 2095135"/>
              <a:gd name="csX5" fmla="*/ 22139 w 733006"/>
              <a:gd name="csY5" fmla="*/ 1907268 h 2095135"/>
              <a:gd name="csX6" fmla="*/ 57941 w 733006"/>
              <a:gd name="csY6" fmla="*/ 1774163 h 2095135"/>
              <a:gd name="csX7" fmla="*/ 102478 w 733006"/>
              <a:gd name="csY7" fmla="*/ 1720275 h 2095135"/>
              <a:gd name="csX8" fmla="*/ 108579 w 733006"/>
              <a:gd name="csY8" fmla="*/ 1650967 h 2095135"/>
              <a:gd name="csX9" fmla="*/ 115628 w 733006"/>
              <a:gd name="csY9" fmla="*/ 1625405 h 2095135"/>
              <a:gd name="csX10" fmla="*/ 156323 w 733006"/>
              <a:gd name="csY10" fmla="*/ 1560181 h 2095135"/>
              <a:gd name="csX11" fmla="*/ 199424 w 733006"/>
              <a:gd name="csY11" fmla="*/ 1364729 h 2095135"/>
              <a:gd name="csX12" fmla="*/ 216779 w 733006"/>
              <a:gd name="csY12" fmla="*/ 1219490 h 2095135"/>
              <a:gd name="csX13" fmla="*/ 229755 w 733006"/>
              <a:gd name="csY13" fmla="*/ 1099357 h 2095135"/>
              <a:gd name="csX14" fmla="*/ 232707 w 733006"/>
              <a:gd name="csY14" fmla="*/ 1056423 h 2095135"/>
              <a:gd name="csX15" fmla="*/ 235622 w 733006"/>
              <a:gd name="csY15" fmla="*/ 952675 h 2095135"/>
              <a:gd name="csX16" fmla="*/ 235445 w 733006"/>
              <a:gd name="csY16" fmla="*/ 780278 h 2095135"/>
              <a:gd name="csX17" fmla="*/ 214544 w 733006"/>
              <a:gd name="csY17" fmla="*/ 756435 h 2095135"/>
              <a:gd name="csX18" fmla="*/ 172569 w 733006"/>
              <a:gd name="csY18" fmla="*/ 742582 h 2095135"/>
              <a:gd name="csX19" fmla="*/ 168784 w 733006"/>
              <a:gd name="csY19" fmla="*/ 669116 h 2095135"/>
              <a:gd name="csX20" fmla="*/ 191657 w 733006"/>
              <a:gd name="csY20" fmla="*/ 630765 h 2095135"/>
              <a:gd name="csX21" fmla="*/ 208150 w 733006"/>
              <a:gd name="csY21" fmla="*/ 609084 h 2095135"/>
              <a:gd name="csX22" fmla="*/ 216756 w 733006"/>
              <a:gd name="csY22" fmla="*/ 558673 h 2095135"/>
              <a:gd name="csX23" fmla="*/ 209092 w 733006"/>
              <a:gd name="csY23" fmla="*/ 521540 h 2095135"/>
              <a:gd name="csX24" fmla="*/ 204683 w 733006"/>
              <a:gd name="csY24" fmla="*/ 474024 h 2095135"/>
              <a:gd name="csX25" fmla="*/ 115483 w 733006"/>
              <a:gd name="csY25" fmla="*/ 213499 h 2095135"/>
              <a:gd name="csX26" fmla="*/ 102909 w 733006"/>
              <a:gd name="csY26" fmla="*/ 182297 h 2095135"/>
              <a:gd name="csX27" fmla="*/ 104315 w 733006"/>
              <a:gd name="csY27" fmla="*/ 163968 h 2095135"/>
              <a:gd name="csX28" fmla="*/ 122444 w 733006"/>
              <a:gd name="csY28" fmla="*/ 160805 h 2095135"/>
              <a:gd name="csX29" fmla="*/ 170283 w 733006"/>
              <a:gd name="csY29" fmla="*/ 187783 h 2095135"/>
              <a:gd name="csX30" fmla="*/ 180938 w 733006"/>
              <a:gd name="csY30" fmla="*/ 195322 h 2095135"/>
              <a:gd name="csX31" fmla="*/ 221419 w 733006"/>
              <a:gd name="csY31" fmla="*/ 138058 h 2095135"/>
              <a:gd name="csX32" fmla="*/ 294099 w 733006"/>
              <a:gd name="csY32" fmla="*/ 91372 h 2095135"/>
              <a:gd name="csX33" fmla="*/ 302307 w 733006"/>
              <a:gd name="csY33" fmla="*/ 76560 h 2095135"/>
              <a:gd name="csX34" fmla="*/ 320284 w 733006"/>
              <a:gd name="csY34" fmla="*/ 8414 h 2095135"/>
              <a:gd name="csX35" fmla="*/ 324784 w 733006"/>
              <a:gd name="csY35" fmla="*/ 946 h 2095135"/>
              <a:gd name="csX36" fmla="*/ 399212 w 733006"/>
              <a:gd name="csY36" fmla="*/ 0 h 2095135"/>
              <a:gd name="csX37" fmla="*/ 425980 w 733006"/>
              <a:gd name="csY37" fmla="*/ 78301 h 2095135"/>
              <a:gd name="csX38" fmla="*/ 431861 w 733006"/>
              <a:gd name="csY38" fmla="*/ 90312 h 2095135"/>
              <a:gd name="csX39" fmla="*/ 540349 w 733006"/>
              <a:gd name="csY39" fmla="*/ 187946 h 2095135"/>
              <a:gd name="csX40" fmla="*/ 545555 w 733006"/>
              <a:gd name="csY40" fmla="*/ 197828 h 2095135"/>
              <a:gd name="csX41" fmla="*/ 587318 w 733006"/>
              <a:gd name="csY41" fmla="*/ 171260 h 2095135"/>
              <a:gd name="csX42" fmla="*/ 601503 w 733006"/>
              <a:gd name="csY42" fmla="*/ 163707 h 2095135"/>
              <a:gd name="csX43" fmla="*/ 625254 w 733006"/>
              <a:gd name="csY43" fmla="*/ 163123 h 2095135"/>
              <a:gd name="csX44" fmla="*/ 625468 w 733006"/>
              <a:gd name="csY44" fmla="*/ 187579 h 2095135"/>
              <a:gd name="csX45" fmla="*/ 597543 w 733006"/>
              <a:gd name="csY45" fmla="*/ 251872 h 2095135"/>
              <a:gd name="csX46" fmla="*/ 531831 w 733006"/>
              <a:gd name="csY46" fmla="*/ 442689 h 2095135"/>
              <a:gd name="csX47" fmla="*/ 519888 w 733006"/>
              <a:gd name="csY47" fmla="*/ 501474 h 2095135"/>
              <a:gd name="csX48" fmla="*/ 522506 w 733006"/>
              <a:gd name="csY48" fmla="*/ 525086 h 2095135"/>
              <a:gd name="csX49" fmla="*/ 516235 w 733006"/>
              <a:gd name="csY49" fmla="*/ 555946 h 2095135"/>
              <a:gd name="csX50" fmla="*/ 521332 w 733006"/>
              <a:gd name="csY50" fmla="*/ 610676 h 2095135"/>
              <a:gd name="csX51" fmla="*/ 541382 w 733006"/>
              <a:gd name="csY51" fmla="*/ 642597 h 2095135"/>
              <a:gd name="csX52" fmla="*/ 557031 w 733006"/>
              <a:gd name="csY52" fmla="*/ 667949 h 2095135"/>
              <a:gd name="csX53" fmla="*/ 553994 w 733006"/>
              <a:gd name="csY53" fmla="*/ 744146 h 2095135"/>
              <a:gd name="csX54" fmla="*/ 508215 w 733006"/>
              <a:gd name="csY54" fmla="*/ 758841 h 2095135"/>
              <a:gd name="csX55" fmla="*/ 497442 w 733006"/>
              <a:gd name="csY55" fmla="*/ 771256 h 2095135"/>
              <a:gd name="csX56" fmla="*/ 493005 w 733006"/>
              <a:gd name="csY56" fmla="*/ 922055 h 2095135"/>
              <a:gd name="csX57" fmla="*/ 502900 w 733006"/>
              <a:gd name="csY57" fmla="*/ 1114191 h 2095135"/>
              <a:gd name="csX58" fmla="*/ 508800 w 733006"/>
              <a:gd name="csY58" fmla="*/ 1205474 h 2095135"/>
              <a:gd name="csX59" fmla="*/ 522952 w 733006"/>
              <a:gd name="csY59" fmla="*/ 1320065 h 2095135"/>
              <a:gd name="csX60" fmla="*/ 554682 w 733006"/>
              <a:gd name="csY60" fmla="*/ 1501203 h 2095135"/>
              <a:gd name="csX61" fmla="*/ 576958 w 733006"/>
              <a:gd name="csY61" fmla="*/ 1593963 h 2095135"/>
              <a:gd name="csX62" fmla="*/ 595349 w 733006"/>
              <a:gd name="csY62" fmla="*/ 1613498 h 2095135"/>
              <a:gd name="csX63" fmla="*/ 613936 w 733006"/>
              <a:gd name="csY63" fmla="*/ 1624058 h 2095135"/>
              <a:gd name="csX64" fmla="*/ 620938 w 733006"/>
              <a:gd name="csY64" fmla="*/ 1652071 h 2095135"/>
              <a:gd name="csX65" fmla="*/ 630805 w 733006"/>
              <a:gd name="csY65" fmla="*/ 1721702 h 2095135"/>
              <a:gd name="csX66" fmla="*/ 685830 w 733006"/>
              <a:gd name="csY66" fmla="*/ 1792915 h 2095135"/>
              <a:gd name="csX67" fmla="*/ 708904 w 733006"/>
              <a:gd name="csY67" fmla="*/ 1890290 h 2095135"/>
              <a:gd name="csX68" fmla="*/ 716580 w 733006"/>
              <a:gd name="csY68" fmla="*/ 1951136 h 2095135"/>
              <a:gd name="csX69" fmla="*/ 729397 w 733006"/>
              <a:gd name="csY69" fmla="*/ 2030261 h 2095135"/>
              <a:gd name="csX70" fmla="*/ 714212 w 733006"/>
              <a:gd name="csY70" fmla="*/ 2049544 h 2095135"/>
              <a:gd name="csX71" fmla="*/ 96263 w 733006"/>
              <a:gd name="csY71" fmla="*/ 2076207 h 2095135"/>
              <a:gd name="csX72" fmla="*/ 489970 w 733006"/>
              <a:gd name="csY72" fmla="*/ 152208 h 2095135"/>
              <a:gd name="csX73" fmla="*/ 490754 w 733006"/>
              <a:gd name="csY73" fmla="*/ 152592 h 2095135"/>
              <a:gd name="csX74" fmla="*/ 489489 w 733006"/>
              <a:gd name="csY74" fmla="*/ 149547 h 2095135"/>
              <a:gd name="csX75" fmla="*/ 393621 w 733006"/>
              <a:gd name="csY75" fmla="*/ 99259 h 2095135"/>
              <a:gd name="csX76" fmla="*/ 390419 w 733006"/>
              <a:gd name="csY76" fmla="*/ 18568 h 2095135"/>
              <a:gd name="csX77" fmla="*/ 334131 w 733006"/>
              <a:gd name="csY77" fmla="*/ 24327 h 2095135"/>
              <a:gd name="csX78" fmla="*/ 344678 w 733006"/>
              <a:gd name="csY78" fmla="*/ 101259 h 2095135"/>
              <a:gd name="csX79" fmla="*/ 298854 w 733006"/>
              <a:gd name="csY79" fmla="*/ 114003 h 2095135"/>
              <a:gd name="csX80" fmla="*/ 237456 w 733006"/>
              <a:gd name="csY80" fmla="*/ 154340 h 2095135"/>
              <a:gd name="csX81" fmla="*/ 240382 w 733006"/>
              <a:gd name="csY81" fmla="*/ 154035 h 2095135"/>
              <a:gd name="csX82" fmla="*/ 262731 w 733006"/>
              <a:gd name="csY82" fmla="*/ 170426 h 2095135"/>
              <a:gd name="csX83" fmla="*/ 279169 w 733006"/>
              <a:gd name="csY83" fmla="*/ 193173 h 2095135"/>
              <a:gd name="csX84" fmla="*/ 327717 w 733006"/>
              <a:gd name="csY84" fmla="*/ 188556 h 2095135"/>
              <a:gd name="csX85" fmla="*/ 348052 w 733006"/>
              <a:gd name="csY85" fmla="*/ 156919 h 2095135"/>
              <a:gd name="csX86" fmla="*/ 380330 w 733006"/>
              <a:gd name="csY86" fmla="*/ 156483 h 2095135"/>
              <a:gd name="csX87" fmla="*/ 408490 w 733006"/>
              <a:gd name="csY87" fmla="*/ 195400 h 2095135"/>
              <a:gd name="csX88" fmla="*/ 445346 w 733006"/>
              <a:gd name="csY88" fmla="*/ 197582 h 2095135"/>
              <a:gd name="csX89" fmla="*/ 464798 w 733006"/>
              <a:gd name="csY89" fmla="*/ 174107 h 2095135"/>
              <a:gd name="csX90" fmla="*/ 489970 w 733006"/>
              <a:gd name="csY90" fmla="*/ 152208 h 2095135"/>
              <a:gd name="csX91" fmla="*/ 140694 w 733006"/>
              <a:gd name="csY91" fmla="*/ 201837 h 2095135"/>
              <a:gd name="csX92" fmla="*/ 139834 w 733006"/>
              <a:gd name="csY92" fmla="*/ 201482 h 2095135"/>
              <a:gd name="csX93" fmla="*/ 140812 w 733006"/>
              <a:gd name="csY93" fmla="*/ 204941 h 2095135"/>
              <a:gd name="csX94" fmla="*/ 144631 w 733006"/>
              <a:gd name="csY94" fmla="*/ 217811 h 2095135"/>
              <a:gd name="csX95" fmla="*/ 201241 w 733006"/>
              <a:gd name="csY95" fmla="*/ 373387 h 2095135"/>
              <a:gd name="csX96" fmla="*/ 235971 w 733006"/>
              <a:gd name="csY96" fmla="*/ 504451 h 2095135"/>
              <a:gd name="csX97" fmla="*/ 247475 w 733006"/>
              <a:gd name="csY97" fmla="*/ 513241 h 2095135"/>
              <a:gd name="csX98" fmla="*/ 289066 w 733006"/>
              <a:gd name="csY98" fmla="*/ 511170 h 2095135"/>
              <a:gd name="csX99" fmla="*/ 378229 w 733006"/>
              <a:gd name="csY99" fmla="*/ 511084 h 2095135"/>
              <a:gd name="csX100" fmla="*/ 470850 w 733006"/>
              <a:gd name="csY100" fmla="*/ 516341 h 2095135"/>
              <a:gd name="csX101" fmla="*/ 492933 w 733006"/>
              <a:gd name="csY101" fmla="*/ 497969 h 2095135"/>
              <a:gd name="csX102" fmla="*/ 557617 w 733006"/>
              <a:gd name="csY102" fmla="*/ 280398 h 2095135"/>
              <a:gd name="csX103" fmla="*/ 588788 w 733006"/>
              <a:gd name="csY103" fmla="*/ 200385 h 2095135"/>
              <a:gd name="csX104" fmla="*/ 530958 w 733006"/>
              <a:gd name="csY104" fmla="*/ 232968 h 2095135"/>
              <a:gd name="csX105" fmla="*/ 483823 w 733006"/>
              <a:gd name="csY105" fmla="*/ 190364 h 2095135"/>
              <a:gd name="csX106" fmla="*/ 466649 w 733006"/>
              <a:gd name="csY106" fmla="*/ 209061 h 2095135"/>
              <a:gd name="csX107" fmla="*/ 399941 w 733006"/>
              <a:gd name="csY107" fmla="*/ 216988 h 2095135"/>
              <a:gd name="csX108" fmla="*/ 363018 w 733006"/>
              <a:gd name="csY108" fmla="*/ 179615 h 2095135"/>
              <a:gd name="csX109" fmla="*/ 308839 w 733006"/>
              <a:gd name="csY109" fmla="*/ 227846 h 2095135"/>
              <a:gd name="csX110" fmla="*/ 245077 w 733006"/>
              <a:gd name="csY110" fmla="*/ 192402 h 2095135"/>
              <a:gd name="csX111" fmla="*/ 242829 w 733006"/>
              <a:gd name="csY111" fmla="*/ 198815 h 2095135"/>
              <a:gd name="csX112" fmla="*/ 168452 w 733006"/>
              <a:gd name="csY112" fmla="*/ 219348 h 2095135"/>
              <a:gd name="csX113" fmla="*/ 140694 w 733006"/>
              <a:gd name="csY113" fmla="*/ 201837 h 2095135"/>
              <a:gd name="csX114" fmla="*/ 259999 w 733006"/>
              <a:gd name="csY114" fmla="*/ 966699 h 2095135"/>
              <a:gd name="csX115" fmla="*/ 257072 w 733006"/>
              <a:gd name="csY115" fmla="*/ 1070424 h 2095135"/>
              <a:gd name="csX116" fmla="*/ 251372 w 733006"/>
              <a:gd name="csY116" fmla="*/ 1157618 h 2095135"/>
              <a:gd name="csX117" fmla="*/ 232677 w 733006"/>
              <a:gd name="csY117" fmla="*/ 1320279 h 2095135"/>
              <a:gd name="csX118" fmla="*/ 209182 w 733006"/>
              <a:gd name="csY118" fmla="*/ 1468667 h 2095135"/>
              <a:gd name="csX119" fmla="*/ 175302 w 733006"/>
              <a:gd name="csY119" fmla="*/ 1616623 h 2095135"/>
              <a:gd name="csX120" fmla="*/ 182769 w 733006"/>
              <a:gd name="csY120" fmla="*/ 1629786 h 2095135"/>
              <a:gd name="csX121" fmla="*/ 212156 w 733006"/>
              <a:gd name="csY121" fmla="*/ 1632656 h 2095135"/>
              <a:gd name="csX122" fmla="*/ 351295 w 733006"/>
              <a:gd name="csY122" fmla="*/ 1632801 h 2095135"/>
              <a:gd name="csX123" fmla="*/ 376150 w 733006"/>
              <a:gd name="csY123" fmla="*/ 1608307 h 2095135"/>
              <a:gd name="csX124" fmla="*/ 373450 w 733006"/>
              <a:gd name="csY124" fmla="*/ 1457291 h 2095135"/>
              <a:gd name="csX125" fmla="*/ 370936 w 733006"/>
              <a:gd name="csY125" fmla="*/ 1342736 h 2095135"/>
              <a:gd name="csX126" fmla="*/ 368328 w 733006"/>
              <a:gd name="csY126" fmla="*/ 1203878 h 2095135"/>
              <a:gd name="csX127" fmla="*/ 367836 w 733006"/>
              <a:gd name="csY127" fmla="*/ 813478 h 2095135"/>
              <a:gd name="csX128" fmla="*/ 365240 w 733006"/>
              <a:gd name="csY128" fmla="*/ 773243 h 2095135"/>
              <a:gd name="csX129" fmla="*/ 353084 w 733006"/>
              <a:gd name="csY129" fmla="*/ 762083 h 2095135"/>
              <a:gd name="csX130" fmla="*/ 280966 w 733006"/>
              <a:gd name="csY130" fmla="*/ 759855 h 2095135"/>
              <a:gd name="csX131" fmla="*/ 259965 w 733006"/>
              <a:gd name="csY131" fmla="*/ 779553 h 2095135"/>
              <a:gd name="csX132" fmla="*/ 262341 w 733006"/>
              <a:gd name="csY132" fmla="*/ 856275 h 2095135"/>
              <a:gd name="csX133" fmla="*/ 259999 w 733006"/>
              <a:gd name="csY133" fmla="*/ 966699 h 2095135"/>
              <a:gd name="csX134" fmla="*/ 55556 w 733006"/>
              <a:gd name="csY134" fmla="*/ 1835827 h 2095135"/>
              <a:gd name="csX135" fmla="*/ 49393 w 733006"/>
              <a:gd name="csY135" fmla="*/ 1878155 h 2095135"/>
              <a:gd name="csX136" fmla="*/ 73949 w 733006"/>
              <a:gd name="csY136" fmla="*/ 1905781 h 2095135"/>
              <a:gd name="csX137" fmla="*/ 110073 w 733006"/>
              <a:gd name="csY137" fmla="*/ 1909068 h 2095135"/>
              <a:gd name="csX138" fmla="*/ 224745 w 733006"/>
              <a:gd name="csY138" fmla="*/ 1921652 h 2095135"/>
              <a:gd name="csX139" fmla="*/ 347327 w 733006"/>
              <a:gd name="csY139" fmla="*/ 1924778 h 2095135"/>
              <a:gd name="csX140" fmla="*/ 363345 w 733006"/>
              <a:gd name="csY140" fmla="*/ 1923293 h 2095135"/>
              <a:gd name="csX141" fmla="*/ 373787 w 733006"/>
              <a:gd name="csY141" fmla="*/ 1911200 h 2095135"/>
              <a:gd name="csX142" fmla="*/ 376623 w 733006"/>
              <a:gd name="csY142" fmla="*/ 1696741 h 2095135"/>
              <a:gd name="csX143" fmla="*/ 360437 w 733006"/>
              <a:gd name="csY143" fmla="*/ 1681289 h 2095135"/>
              <a:gd name="csX144" fmla="*/ 263503 w 733006"/>
              <a:gd name="csY144" fmla="*/ 1678179 h 2095135"/>
              <a:gd name="csX145" fmla="*/ 160381 w 733006"/>
              <a:gd name="csY145" fmla="*/ 1670405 h 2095135"/>
              <a:gd name="csX146" fmla="*/ 143321 w 733006"/>
              <a:gd name="csY146" fmla="*/ 1685538 h 2095135"/>
              <a:gd name="csX147" fmla="*/ 124769 w 733006"/>
              <a:gd name="csY147" fmla="*/ 1738195 h 2095135"/>
              <a:gd name="csX148" fmla="*/ 90593 w 733006"/>
              <a:gd name="csY148" fmla="*/ 1779570 h 2095135"/>
              <a:gd name="csX149" fmla="*/ 55556 w 733006"/>
              <a:gd name="csY149" fmla="*/ 1835827 h 2095135"/>
              <a:gd name="csX150" fmla="*/ 378900 w 733006"/>
              <a:gd name="csY150" fmla="*/ 2007280 h 2095135"/>
              <a:gd name="csX151" fmla="*/ 378887 w 733006"/>
              <a:gd name="csY151" fmla="*/ 1995127 h 2095135"/>
              <a:gd name="csX152" fmla="*/ 359084 w 733006"/>
              <a:gd name="csY152" fmla="*/ 1975964 h 2095135"/>
              <a:gd name="csX153" fmla="*/ 247288 w 733006"/>
              <a:gd name="csY153" fmla="*/ 1973305 h 2095135"/>
              <a:gd name="csX154" fmla="*/ 201692 w 733006"/>
              <a:gd name="csY154" fmla="*/ 1970275 h 2095135"/>
              <a:gd name="csX155" fmla="*/ 57962 w 733006"/>
              <a:gd name="csY155" fmla="*/ 1952648 h 2095135"/>
              <a:gd name="csX156" fmla="*/ 39194 w 733006"/>
              <a:gd name="csY156" fmla="*/ 1963552 h 2095135"/>
              <a:gd name="csX157" fmla="*/ 30066 w 733006"/>
              <a:gd name="csY157" fmla="*/ 2006631 h 2095135"/>
              <a:gd name="csX158" fmla="*/ 40232 w 733006"/>
              <a:gd name="csY158" fmla="*/ 2019486 h 2095135"/>
              <a:gd name="csX159" fmla="*/ 238186 w 733006"/>
              <a:gd name="csY159" fmla="*/ 2046096 h 2095135"/>
              <a:gd name="csX160" fmla="*/ 342155 w 733006"/>
              <a:gd name="csY160" fmla="*/ 2046441 h 2095135"/>
              <a:gd name="csX161" fmla="*/ 378900 w 733006"/>
              <a:gd name="csY161" fmla="*/ 2007280 h 2095135"/>
              <a:gd name="csX162" fmla="*/ 310220 w 733006"/>
              <a:gd name="csY162" fmla="*/ 554288 h 2095135"/>
              <a:gd name="csX163" fmla="*/ 259136 w 733006"/>
              <a:gd name="csY163" fmla="*/ 556881 h 2095135"/>
              <a:gd name="csX164" fmla="*/ 249085 w 733006"/>
              <a:gd name="csY164" fmla="*/ 567981 h 2095135"/>
              <a:gd name="csX165" fmla="*/ 249141 w 733006"/>
              <a:gd name="csY165" fmla="*/ 605644 h 2095135"/>
              <a:gd name="csX166" fmla="*/ 262628 w 733006"/>
              <a:gd name="csY166" fmla="*/ 605627 h 2095135"/>
              <a:gd name="csX167" fmla="*/ 369608 w 733006"/>
              <a:gd name="csY167" fmla="*/ 603027 h 2095135"/>
              <a:gd name="csX168" fmla="*/ 463931 w 733006"/>
              <a:gd name="csY168" fmla="*/ 605146 h 2095135"/>
              <a:gd name="csX169" fmla="*/ 478113 w 733006"/>
              <a:gd name="csY169" fmla="*/ 595843 h 2095135"/>
              <a:gd name="csX170" fmla="*/ 478796 w 733006"/>
              <a:gd name="csY170" fmla="*/ 556832 h 2095135"/>
              <a:gd name="csX171" fmla="*/ 310220 w 733006"/>
              <a:gd name="csY171" fmla="*/ 554288 h 2095135"/>
              <a:gd name="csX172" fmla="*/ 348836 w 733006"/>
              <a:gd name="csY172" fmla="*/ 684115 h 2095135"/>
              <a:gd name="csX173" fmla="*/ 281333 w 733006"/>
              <a:gd name="csY173" fmla="*/ 683313 h 2095135"/>
              <a:gd name="csX174" fmla="*/ 212728 w 733006"/>
              <a:gd name="csY174" fmla="*/ 681931 h 2095135"/>
              <a:gd name="csX175" fmla="*/ 187283 w 733006"/>
              <a:gd name="csY175" fmla="*/ 689555 h 2095135"/>
              <a:gd name="csX176" fmla="*/ 186163 w 733006"/>
              <a:gd name="csY176" fmla="*/ 718266 h 2095135"/>
              <a:gd name="csX177" fmla="*/ 209894 w 733006"/>
              <a:gd name="csY177" fmla="*/ 726798 h 2095135"/>
              <a:gd name="csX178" fmla="*/ 334814 w 733006"/>
              <a:gd name="csY178" fmla="*/ 732494 h 2095135"/>
              <a:gd name="csX179" fmla="*/ 364856 w 733006"/>
              <a:gd name="csY179" fmla="*/ 707963 h 2095135"/>
              <a:gd name="csX180" fmla="*/ 348836 w 733006"/>
              <a:gd name="csY180" fmla="*/ 684115 h 2095135"/>
              <a:gd name="csX181" fmla="*/ 298865 w 733006"/>
              <a:gd name="csY181" fmla="*/ 621954 h 2095135"/>
              <a:gd name="csX182" fmla="*/ 251619 w 733006"/>
              <a:gd name="csY182" fmla="*/ 622133 h 2095135"/>
              <a:gd name="csX183" fmla="*/ 214459 w 733006"/>
              <a:gd name="csY183" fmla="*/ 636230 h 2095135"/>
              <a:gd name="csX184" fmla="*/ 221436 w 733006"/>
              <a:gd name="csY184" fmla="*/ 654205 h 2095135"/>
              <a:gd name="csX185" fmla="*/ 272412 w 733006"/>
              <a:gd name="csY185" fmla="*/ 657250 h 2095135"/>
              <a:gd name="csX186" fmla="*/ 349094 w 733006"/>
              <a:gd name="csY186" fmla="*/ 659282 h 2095135"/>
              <a:gd name="csX187" fmla="*/ 362996 w 733006"/>
              <a:gd name="csY187" fmla="*/ 644234 h 2095135"/>
              <a:gd name="csX188" fmla="*/ 348472 w 733006"/>
              <a:gd name="csY188" fmla="*/ 624649 h 2095135"/>
              <a:gd name="csX189" fmla="*/ 298865 w 733006"/>
              <a:gd name="csY189" fmla="*/ 621954 h 2095135"/>
              <a:gd name="csX190" fmla="*/ 227796 w 733006"/>
              <a:gd name="csY190" fmla="*/ 528000 h 2095135"/>
              <a:gd name="csX191" fmla="*/ 241009 w 733006"/>
              <a:gd name="csY191" fmla="*/ 545897 h 2095135"/>
              <a:gd name="csX192" fmla="*/ 282607 w 733006"/>
              <a:gd name="csY192" fmla="*/ 543480 h 2095135"/>
              <a:gd name="csX193" fmla="*/ 354213 w 733006"/>
              <a:gd name="csY193" fmla="*/ 543384 h 2095135"/>
              <a:gd name="csX194" fmla="*/ 365334 w 733006"/>
              <a:gd name="csY194" fmla="*/ 533397 h 2095135"/>
              <a:gd name="csX195" fmla="*/ 354531 w 733006"/>
              <a:gd name="csY195" fmla="*/ 521620 h 2095135"/>
              <a:gd name="csX196" fmla="*/ 259169 w 733006"/>
              <a:gd name="csY196" fmla="*/ 521978 h 2095135"/>
              <a:gd name="csX197" fmla="*/ 227796 w 733006"/>
              <a:gd name="csY197" fmla="*/ 528000 h 2095135"/>
              <a:gd name="csX198" fmla="*/ 508068 w 733006"/>
              <a:gd name="csY198" fmla="*/ 190710 h 2095135"/>
              <a:gd name="csX199" fmla="*/ 521293 w 733006"/>
              <a:gd name="csY199" fmla="*/ 205907 h 2095135"/>
              <a:gd name="csX200" fmla="*/ 525175 w 733006"/>
              <a:gd name="csY200" fmla="*/ 202985 h 2095135"/>
              <a:gd name="csX201" fmla="*/ 500276 w 733006"/>
              <a:gd name="csY201" fmla="*/ 160640 h 2095135"/>
              <a:gd name="csX202" fmla="*/ 497122 w 733006"/>
              <a:gd name="csY202" fmla="*/ 162007 h 2095135"/>
              <a:gd name="csX203" fmla="*/ 508068 w 733006"/>
              <a:gd name="csY203" fmla="*/ 190710 h 2095135"/>
              <a:gd name="csX204" fmla="*/ 215522 w 733006"/>
              <a:gd name="csY204" fmla="*/ 197296 h 2095135"/>
              <a:gd name="csX205" fmla="*/ 234029 w 733006"/>
              <a:gd name="csY205" fmla="*/ 162725 h 2095135"/>
              <a:gd name="csX206" fmla="*/ 229000 w 733006"/>
              <a:gd name="csY206" fmla="*/ 159902 h 2095135"/>
              <a:gd name="csX207" fmla="*/ 204824 w 733006"/>
              <a:gd name="csY207" fmla="*/ 199677 h 2095135"/>
              <a:gd name="csX208" fmla="*/ 207990 w 733006"/>
              <a:gd name="csY208" fmla="*/ 202198 h 2095135"/>
              <a:gd name="csX209" fmla="*/ 215522 w 733006"/>
              <a:gd name="csY209" fmla="*/ 197296 h 2095135"/>
              <a:gd name="csX210" fmla="*/ 484400 w 733006"/>
              <a:gd name="csY210" fmla="*/ 896678 h 2095135"/>
              <a:gd name="csX211" fmla="*/ 486181 w 733006"/>
              <a:gd name="csY211" fmla="*/ 896585 h 2095135"/>
              <a:gd name="csX212" fmla="*/ 486181 w 733006"/>
              <a:gd name="csY212" fmla="*/ 795289 h 2095135"/>
              <a:gd name="csX0" fmla="*/ 96263 w 733006"/>
              <a:gd name="csY0" fmla="*/ 2076207 h 2099709"/>
              <a:gd name="csX1" fmla="*/ 63862 w 733006"/>
              <a:gd name="csY1" fmla="*/ 2065388 h 2099709"/>
              <a:gd name="csX2" fmla="*/ 16555 w 733006"/>
              <a:gd name="csY2" fmla="*/ 2050152 h 2099709"/>
              <a:gd name="csX3" fmla="*/ 15 w 733006"/>
              <a:gd name="csY3" fmla="*/ 2023802 h 2099709"/>
              <a:gd name="csX4" fmla="*/ 18368 w 733006"/>
              <a:gd name="csY4" fmla="*/ 1940709 h 2099709"/>
              <a:gd name="csX5" fmla="*/ 22139 w 733006"/>
              <a:gd name="csY5" fmla="*/ 1907268 h 2099709"/>
              <a:gd name="csX6" fmla="*/ 57941 w 733006"/>
              <a:gd name="csY6" fmla="*/ 1774163 h 2099709"/>
              <a:gd name="csX7" fmla="*/ 102478 w 733006"/>
              <a:gd name="csY7" fmla="*/ 1720275 h 2099709"/>
              <a:gd name="csX8" fmla="*/ 108579 w 733006"/>
              <a:gd name="csY8" fmla="*/ 1650967 h 2099709"/>
              <a:gd name="csX9" fmla="*/ 115628 w 733006"/>
              <a:gd name="csY9" fmla="*/ 1625405 h 2099709"/>
              <a:gd name="csX10" fmla="*/ 156323 w 733006"/>
              <a:gd name="csY10" fmla="*/ 1560181 h 2099709"/>
              <a:gd name="csX11" fmla="*/ 199424 w 733006"/>
              <a:gd name="csY11" fmla="*/ 1364729 h 2099709"/>
              <a:gd name="csX12" fmla="*/ 216779 w 733006"/>
              <a:gd name="csY12" fmla="*/ 1219490 h 2099709"/>
              <a:gd name="csX13" fmla="*/ 229755 w 733006"/>
              <a:gd name="csY13" fmla="*/ 1099357 h 2099709"/>
              <a:gd name="csX14" fmla="*/ 232707 w 733006"/>
              <a:gd name="csY14" fmla="*/ 1056423 h 2099709"/>
              <a:gd name="csX15" fmla="*/ 235622 w 733006"/>
              <a:gd name="csY15" fmla="*/ 952675 h 2099709"/>
              <a:gd name="csX16" fmla="*/ 235445 w 733006"/>
              <a:gd name="csY16" fmla="*/ 780278 h 2099709"/>
              <a:gd name="csX17" fmla="*/ 214544 w 733006"/>
              <a:gd name="csY17" fmla="*/ 756435 h 2099709"/>
              <a:gd name="csX18" fmla="*/ 172569 w 733006"/>
              <a:gd name="csY18" fmla="*/ 742582 h 2099709"/>
              <a:gd name="csX19" fmla="*/ 168784 w 733006"/>
              <a:gd name="csY19" fmla="*/ 669116 h 2099709"/>
              <a:gd name="csX20" fmla="*/ 191657 w 733006"/>
              <a:gd name="csY20" fmla="*/ 630765 h 2099709"/>
              <a:gd name="csX21" fmla="*/ 208150 w 733006"/>
              <a:gd name="csY21" fmla="*/ 609084 h 2099709"/>
              <a:gd name="csX22" fmla="*/ 216756 w 733006"/>
              <a:gd name="csY22" fmla="*/ 558673 h 2099709"/>
              <a:gd name="csX23" fmla="*/ 209092 w 733006"/>
              <a:gd name="csY23" fmla="*/ 521540 h 2099709"/>
              <a:gd name="csX24" fmla="*/ 204683 w 733006"/>
              <a:gd name="csY24" fmla="*/ 474024 h 2099709"/>
              <a:gd name="csX25" fmla="*/ 115483 w 733006"/>
              <a:gd name="csY25" fmla="*/ 213499 h 2099709"/>
              <a:gd name="csX26" fmla="*/ 102909 w 733006"/>
              <a:gd name="csY26" fmla="*/ 182297 h 2099709"/>
              <a:gd name="csX27" fmla="*/ 104315 w 733006"/>
              <a:gd name="csY27" fmla="*/ 163968 h 2099709"/>
              <a:gd name="csX28" fmla="*/ 122444 w 733006"/>
              <a:gd name="csY28" fmla="*/ 160805 h 2099709"/>
              <a:gd name="csX29" fmla="*/ 170283 w 733006"/>
              <a:gd name="csY29" fmla="*/ 187783 h 2099709"/>
              <a:gd name="csX30" fmla="*/ 180938 w 733006"/>
              <a:gd name="csY30" fmla="*/ 195322 h 2099709"/>
              <a:gd name="csX31" fmla="*/ 221419 w 733006"/>
              <a:gd name="csY31" fmla="*/ 138058 h 2099709"/>
              <a:gd name="csX32" fmla="*/ 294099 w 733006"/>
              <a:gd name="csY32" fmla="*/ 91372 h 2099709"/>
              <a:gd name="csX33" fmla="*/ 302307 w 733006"/>
              <a:gd name="csY33" fmla="*/ 76560 h 2099709"/>
              <a:gd name="csX34" fmla="*/ 320284 w 733006"/>
              <a:gd name="csY34" fmla="*/ 8414 h 2099709"/>
              <a:gd name="csX35" fmla="*/ 324784 w 733006"/>
              <a:gd name="csY35" fmla="*/ 946 h 2099709"/>
              <a:gd name="csX36" fmla="*/ 399212 w 733006"/>
              <a:gd name="csY36" fmla="*/ 0 h 2099709"/>
              <a:gd name="csX37" fmla="*/ 425980 w 733006"/>
              <a:gd name="csY37" fmla="*/ 78301 h 2099709"/>
              <a:gd name="csX38" fmla="*/ 431861 w 733006"/>
              <a:gd name="csY38" fmla="*/ 90312 h 2099709"/>
              <a:gd name="csX39" fmla="*/ 540349 w 733006"/>
              <a:gd name="csY39" fmla="*/ 187946 h 2099709"/>
              <a:gd name="csX40" fmla="*/ 545555 w 733006"/>
              <a:gd name="csY40" fmla="*/ 197828 h 2099709"/>
              <a:gd name="csX41" fmla="*/ 587318 w 733006"/>
              <a:gd name="csY41" fmla="*/ 171260 h 2099709"/>
              <a:gd name="csX42" fmla="*/ 601503 w 733006"/>
              <a:gd name="csY42" fmla="*/ 163707 h 2099709"/>
              <a:gd name="csX43" fmla="*/ 625254 w 733006"/>
              <a:gd name="csY43" fmla="*/ 163123 h 2099709"/>
              <a:gd name="csX44" fmla="*/ 625468 w 733006"/>
              <a:gd name="csY44" fmla="*/ 187579 h 2099709"/>
              <a:gd name="csX45" fmla="*/ 597543 w 733006"/>
              <a:gd name="csY45" fmla="*/ 251872 h 2099709"/>
              <a:gd name="csX46" fmla="*/ 531831 w 733006"/>
              <a:gd name="csY46" fmla="*/ 442689 h 2099709"/>
              <a:gd name="csX47" fmla="*/ 519888 w 733006"/>
              <a:gd name="csY47" fmla="*/ 501474 h 2099709"/>
              <a:gd name="csX48" fmla="*/ 522506 w 733006"/>
              <a:gd name="csY48" fmla="*/ 525086 h 2099709"/>
              <a:gd name="csX49" fmla="*/ 516235 w 733006"/>
              <a:gd name="csY49" fmla="*/ 555946 h 2099709"/>
              <a:gd name="csX50" fmla="*/ 521332 w 733006"/>
              <a:gd name="csY50" fmla="*/ 610676 h 2099709"/>
              <a:gd name="csX51" fmla="*/ 541382 w 733006"/>
              <a:gd name="csY51" fmla="*/ 642597 h 2099709"/>
              <a:gd name="csX52" fmla="*/ 557031 w 733006"/>
              <a:gd name="csY52" fmla="*/ 667949 h 2099709"/>
              <a:gd name="csX53" fmla="*/ 553994 w 733006"/>
              <a:gd name="csY53" fmla="*/ 744146 h 2099709"/>
              <a:gd name="csX54" fmla="*/ 508215 w 733006"/>
              <a:gd name="csY54" fmla="*/ 758841 h 2099709"/>
              <a:gd name="csX55" fmla="*/ 497442 w 733006"/>
              <a:gd name="csY55" fmla="*/ 771256 h 2099709"/>
              <a:gd name="csX56" fmla="*/ 493005 w 733006"/>
              <a:gd name="csY56" fmla="*/ 922055 h 2099709"/>
              <a:gd name="csX57" fmla="*/ 502900 w 733006"/>
              <a:gd name="csY57" fmla="*/ 1114191 h 2099709"/>
              <a:gd name="csX58" fmla="*/ 508800 w 733006"/>
              <a:gd name="csY58" fmla="*/ 1205474 h 2099709"/>
              <a:gd name="csX59" fmla="*/ 522952 w 733006"/>
              <a:gd name="csY59" fmla="*/ 1320065 h 2099709"/>
              <a:gd name="csX60" fmla="*/ 554682 w 733006"/>
              <a:gd name="csY60" fmla="*/ 1501203 h 2099709"/>
              <a:gd name="csX61" fmla="*/ 576958 w 733006"/>
              <a:gd name="csY61" fmla="*/ 1593963 h 2099709"/>
              <a:gd name="csX62" fmla="*/ 595349 w 733006"/>
              <a:gd name="csY62" fmla="*/ 1613498 h 2099709"/>
              <a:gd name="csX63" fmla="*/ 613936 w 733006"/>
              <a:gd name="csY63" fmla="*/ 1624058 h 2099709"/>
              <a:gd name="csX64" fmla="*/ 620938 w 733006"/>
              <a:gd name="csY64" fmla="*/ 1652071 h 2099709"/>
              <a:gd name="csX65" fmla="*/ 630805 w 733006"/>
              <a:gd name="csY65" fmla="*/ 1721702 h 2099709"/>
              <a:gd name="csX66" fmla="*/ 685830 w 733006"/>
              <a:gd name="csY66" fmla="*/ 1792915 h 2099709"/>
              <a:gd name="csX67" fmla="*/ 708904 w 733006"/>
              <a:gd name="csY67" fmla="*/ 1890290 h 2099709"/>
              <a:gd name="csX68" fmla="*/ 716580 w 733006"/>
              <a:gd name="csY68" fmla="*/ 1951136 h 2099709"/>
              <a:gd name="csX69" fmla="*/ 729397 w 733006"/>
              <a:gd name="csY69" fmla="*/ 2030261 h 2099709"/>
              <a:gd name="csX70" fmla="*/ 714212 w 733006"/>
              <a:gd name="csY70" fmla="*/ 2059069 h 2099709"/>
              <a:gd name="csX71" fmla="*/ 96263 w 733006"/>
              <a:gd name="csY71" fmla="*/ 2076207 h 2099709"/>
              <a:gd name="csX72" fmla="*/ 489970 w 733006"/>
              <a:gd name="csY72" fmla="*/ 152208 h 2099709"/>
              <a:gd name="csX73" fmla="*/ 490754 w 733006"/>
              <a:gd name="csY73" fmla="*/ 152592 h 2099709"/>
              <a:gd name="csX74" fmla="*/ 489489 w 733006"/>
              <a:gd name="csY74" fmla="*/ 149547 h 2099709"/>
              <a:gd name="csX75" fmla="*/ 393621 w 733006"/>
              <a:gd name="csY75" fmla="*/ 99259 h 2099709"/>
              <a:gd name="csX76" fmla="*/ 390419 w 733006"/>
              <a:gd name="csY76" fmla="*/ 18568 h 2099709"/>
              <a:gd name="csX77" fmla="*/ 334131 w 733006"/>
              <a:gd name="csY77" fmla="*/ 24327 h 2099709"/>
              <a:gd name="csX78" fmla="*/ 344678 w 733006"/>
              <a:gd name="csY78" fmla="*/ 101259 h 2099709"/>
              <a:gd name="csX79" fmla="*/ 298854 w 733006"/>
              <a:gd name="csY79" fmla="*/ 114003 h 2099709"/>
              <a:gd name="csX80" fmla="*/ 237456 w 733006"/>
              <a:gd name="csY80" fmla="*/ 154340 h 2099709"/>
              <a:gd name="csX81" fmla="*/ 240382 w 733006"/>
              <a:gd name="csY81" fmla="*/ 154035 h 2099709"/>
              <a:gd name="csX82" fmla="*/ 262731 w 733006"/>
              <a:gd name="csY82" fmla="*/ 170426 h 2099709"/>
              <a:gd name="csX83" fmla="*/ 279169 w 733006"/>
              <a:gd name="csY83" fmla="*/ 193173 h 2099709"/>
              <a:gd name="csX84" fmla="*/ 327717 w 733006"/>
              <a:gd name="csY84" fmla="*/ 188556 h 2099709"/>
              <a:gd name="csX85" fmla="*/ 348052 w 733006"/>
              <a:gd name="csY85" fmla="*/ 156919 h 2099709"/>
              <a:gd name="csX86" fmla="*/ 380330 w 733006"/>
              <a:gd name="csY86" fmla="*/ 156483 h 2099709"/>
              <a:gd name="csX87" fmla="*/ 408490 w 733006"/>
              <a:gd name="csY87" fmla="*/ 195400 h 2099709"/>
              <a:gd name="csX88" fmla="*/ 445346 w 733006"/>
              <a:gd name="csY88" fmla="*/ 197582 h 2099709"/>
              <a:gd name="csX89" fmla="*/ 464798 w 733006"/>
              <a:gd name="csY89" fmla="*/ 174107 h 2099709"/>
              <a:gd name="csX90" fmla="*/ 489970 w 733006"/>
              <a:gd name="csY90" fmla="*/ 152208 h 2099709"/>
              <a:gd name="csX91" fmla="*/ 140694 w 733006"/>
              <a:gd name="csY91" fmla="*/ 201837 h 2099709"/>
              <a:gd name="csX92" fmla="*/ 139834 w 733006"/>
              <a:gd name="csY92" fmla="*/ 201482 h 2099709"/>
              <a:gd name="csX93" fmla="*/ 140812 w 733006"/>
              <a:gd name="csY93" fmla="*/ 204941 h 2099709"/>
              <a:gd name="csX94" fmla="*/ 144631 w 733006"/>
              <a:gd name="csY94" fmla="*/ 217811 h 2099709"/>
              <a:gd name="csX95" fmla="*/ 201241 w 733006"/>
              <a:gd name="csY95" fmla="*/ 373387 h 2099709"/>
              <a:gd name="csX96" fmla="*/ 235971 w 733006"/>
              <a:gd name="csY96" fmla="*/ 504451 h 2099709"/>
              <a:gd name="csX97" fmla="*/ 247475 w 733006"/>
              <a:gd name="csY97" fmla="*/ 513241 h 2099709"/>
              <a:gd name="csX98" fmla="*/ 289066 w 733006"/>
              <a:gd name="csY98" fmla="*/ 511170 h 2099709"/>
              <a:gd name="csX99" fmla="*/ 378229 w 733006"/>
              <a:gd name="csY99" fmla="*/ 511084 h 2099709"/>
              <a:gd name="csX100" fmla="*/ 470850 w 733006"/>
              <a:gd name="csY100" fmla="*/ 516341 h 2099709"/>
              <a:gd name="csX101" fmla="*/ 492933 w 733006"/>
              <a:gd name="csY101" fmla="*/ 497969 h 2099709"/>
              <a:gd name="csX102" fmla="*/ 557617 w 733006"/>
              <a:gd name="csY102" fmla="*/ 280398 h 2099709"/>
              <a:gd name="csX103" fmla="*/ 588788 w 733006"/>
              <a:gd name="csY103" fmla="*/ 200385 h 2099709"/>
              <a:gd name="csX104" fmla="*/ 530958 w 733006"/>
              <a:gd name="csY104" fmla="*/ 232968 h 2099709"/>
              <a:gd name="csX105" fmla="*/ 483823 w 733006"/>
              <a:gd name="csY105" fmla="*/ 190364 h 2099709"/>
              <a:gd name="csX106" fmla="*/ 466649 w 733006"/>
              <a:gd name="csY106" fmla="*/ 209061 h 2099709"/>
              <a:gd name="csX107" fmla="*/ 399941 w 733006"/>
              <a:gd name="csY107" fmla="*/ 216988 h 2099709"/>
              <a:gd name="csX108" fmla="*/ 363018 w 733006"/>
              <a:gd name="csY108" fmla="*/ 179615 h 2099709"/>
              <a:gd name="csX109" fmla="*/ 308839 w 733006"/>
              <a:gd name="csY109" fmla="*/ 227846 h 2099709"/>
              <a:gd name="csX110" fmla="*/ 245077 w 733006"/>
              <a:gd name="csY110" fmla="*/ 192402 h 2099709"/>
              <a:gd name="csX111" fmla="*/ 242829 w 733006"/>
              <a:gd name="csY111" fmla="*/ 198815 h 2099709"/>
              <a:gd name="csX112" fmla="*/ 168452 w 733006"/>
              <a:gd name="csY112" fmla="*/ 219348 h 2099709"/>
              <a:gd name="csX113" fmla="*/ 140694 w 733006"/>
              <a:gd name="csY113" fmla="*/ 201837 h 2099709"/>
              <a:gd name="csX114" fmla="*/ 259999 w 733006"/>
              <a:gd name="csY114" fmla="*/ 966699 h 2099709"/>
              <a:gd name="csX115" fmla="*/ 257072 w 733006"/>
              <a:gd name="csY115" fmla="*/ 1070424 h 2099709"/>
              <a:gd name="csX116" fmla="*/ 251372 w 733006"/>
              <a:gd name="csY116" fmla="*/ 1157618 h 2099709"/>
              <a:gd name="csX117" fmla="*/ 232677 w 733006"/>
              <a:gd name="csY117" fmla="*/ 1320279 h 2099709"/>
              <a:gd name="csX118" fmla="*/ 209182 w 733006"/>
              <a:gd name="csY118" fmla="*/ 1468667 h 2099709"/>
              <a:gd name="csX119" fmla="*/ 175302 w 733006"/>
              <a:gd name="csY119" fmla="*/ 1616623 h 2099709"/>
              <a:gd name="csX120" fmla="*/ 182769 w 733006"/>
              <a:gd name="csY120" fmla="*/ 1629786 h 2099709"/>
              <a:gd name="csX121" fmla="*/ 212156 w 733006"/>
              <a:gd name="csY121" fmla="*/ 1632656 h 2099709"/>
              <a:gd name="csX122" fmla="*/ 351295 w 733006"/>
              <a:gd name="csY122" fmla="*/ 1632801 h 2099709"/>
              <a:gd name="csX123" fmla="*/ 376150 w 733006"/>
              <a:gd name="csY123" fmla="*/ 1608307 h 2099709"/>
              <a:gd name="csX124" fmla="*/ 373450 w 733006"/>
              <a:gd name="csY124" fmla="*/ 1457291 h 2099709"/>
              <a:gd name="csX125" fmla="*/ 370936 w 733006"/>
              <a:gd name="csY125" fmla="*/ 1342736 h 2099709"/>
              <a:gd name="csX126" fmla="*/ 368328 w 733006"/>
              <a:gd name="csY126" fmla="*/ 1203878 h 2099709"/>
              <a:gd name="csX127" fmla="*/ 367836 w 733006"/>
              <a:gd name="csY127" fmla="*/ 813478 h 2099709"/>
              <a:gd name="csX128" fmla="*/ 365240 w 733006"/>
              <a:gd name="csY128" fmla="*/ 773243 h 2099709"/>
              <a:gd name="csX129" fmla="*/ 353084 w 733006"/>
              <a:gd name="csY129" fmla="*/ 762083 h 2099709"/>
              <a:gd name="csX130" fmla="*/ 280966 w 733006"/>
              <a:gd name="csY130" fmla="*/ 759855 h 2099709"/>
              <a:gd name="csX131" fmla="*/ 259965 w 733006"/>
              <a:gd name="csY131" fmla="*/ 779553 h 2099709"/>
              <a:gd name="csX132" fmla="*/ 262341 w 733006"/>
              <a:gd name="csY132" fmla="*/ 856275 h 2099709"/>
              <a:gd name="csX133" fmla="*/ 259999 w 733006"/>
              <a:gd name="csY133" fmla="*/ 966699 h 2099709"/>
              <a:gd name="csX134" fmla="*/ 55556 w 733006"/>
              <a:gd name="csY134" fmla="*/ 1835827 h 2099709"/>
              <a:gd name="csX135" fmla="*/ 49393 w 733006"/>
              <a:gd name="csY135" fmla="*/ 1878155 h 2099709"/>
              <a:gd name="csX136" fmla="*/ 73949 w 733006"/>
              <a:gd name="csY136" fmla="*/ 1905781 h 2099709"/>
              <a:gd name="csX137" fmla="*/ 110073 w 733006"/>
              <a:gd name="csY137" fmla="*/ 1909068 h 2099709"/>
              <a:gd name="csX138" fmla="*/ 224745 w 733006"/>
              <a:gd name="csY138" fmla="*/ 1921652 h 2099709"/>
              <a:gd name="csX139" fmla="*/ 347327 w 733006"/>
              <a:gd name="csY139" fmla="*/ 1924778 h 2099709"/>
              <a:gd name="csX140" fmla="*/ 363345 w 733006"/>
              <a:gd name="csY140" fmla="*/ 1923293 h 2099709"/>
              <a:gd name="csX141" fmla="*/ 373787 w 733006"/>
              <a:gd name="csY141" fmla="*/ 1911200 h 2099709"/>
              <a:gd name="csX142" fmla="*/ 376623 w 733006"/>
              <a:gd name="csY142" fmla="*/ 1696741 h 2099709"/>
              <a:gd name="csX143" fmla="*/ 360437 w 733006"/>
              <a:gd name="csY143" fmla="*/ 1681289 h 2099709"/>
              <a:gd name="csX144" fmla="*/ 263503 w 733006"/>
              <a:gd name="csY144" fmla="*/ 1678179 h 2099709"/>
              <a:gd name="csX145" fmla="*/ 160381 w 733006"/>
              <a:gd name="csY145" fmla="*/ 1670405 h 2099709"/>
              <a:gd name="csX146" fmla="*/ 143321 w 733006"/>
              <a:gd name="csY146" fmla="*/ 1685538 h 2099709"/>
              <a:gd name="csX147" fmla="*/ 124769 w 733006"/>
              <a:gd name="csY147" fmla="*/ 1738195 h 2099709"/>
              <a:gd name="csX148" fmla="*/ 90593 w 733006"/>
              <a:gd name="csY148" fmla="*/ 1779570 h 2099709"/>
              <a:gd name="csX149" fmla="*/ 55556 w 733006"/>
              <a:gd name="csY149" fmla="*/ 1835827 h 2099709"/>
              <a:gd name="csX150" fmla="*/ 378900 w 733006"/>
              <a:gd name="csY150" fmla="*/ 2007280 h 2099709"/>
              <a:gd name="csX151" fmla="*/ 378887 w 733006"/>
              <a:gd name="csY151" fmla="*/ 1995127 h 2099709"/>
              <a:gd name="csX152" fmla="*/ 359084 w 733006"/>
              <a:gd name="csY152" fmla="*/ 1975964 h 2099709"/>
              <a:gd name="csX153" fmla="*/ 247288 w 733006"/>
              <a:gd name="csY153" fmla="*/ 1973305 h 2099709"/>
              <a:gd name="csX154" fmla="*/ 201692 w 733006"/>
              <a:gd name="csY154" fmla="*/ 1970275 h 2099709"/>
              <a:gd name="csX155" fmla="*/ 57962 w 733006"/>
              <a:gd name="csY155" fmla="*/ 1952648 h 2099709"/>
              <a:gd name="csX156" fmla="*/ 39194 w 733006"/>
              <a:gd name="csY156" fmla="*/ 1963552 h 2099709"/>
              <a:gd name="csX157" fmla="*/ 30066 w 733006"/>
              <a:gd name="csY157" fmla="*/ 2006631 h 2099709"/>
              <a:gd name="csX158" fmla="*/ 40232 w 733006"/>
              <a:gd name="csY158" fmla="*/ 2019486 h 2099709"/>
              <a:gd name="csX159" fmla="*/ 238186 w 733006"/>
              <a:gd name="csY159" fmla="*/ 2046096 h 2099709"/>
              <a:gd name="csX160" fmla="*/ 342155 w 733006"/>
              <a:gd name="csY160" fmla="*/ 2046441 h 2099709"/>
              <a:gd name="csX161" fmla="*/ 378900 w 733006"/>
              <a:gd name="csY161" fmla="*/ 2007280 h 2099709"/>
              <a:gd name="csX162" fmla="*/ 310220 w 733006"/>
              <a:gd name="csY162" fmla="*/ 554288 h 2099709"/>
              <a:gd name="csX163" fmla="*/ 259136 w 733006"/>
              <a:gd name="csY163" fmla="*/ 556881 h 2099709"/>
              <a:gd name="csX164" fmla="*/ 249085 w 733006"/>
              <a:gd name="csY164" fmla="*/ 567981 h 2099709"/>
              <a:gd name="csX165" fmla="*/ 249141 w 733006"/>
              <a:gd name="csY165" fmla="*/ 605644 h 2099709"/>
              <a:gd name="csX166" fmla="*/ 262628 w 733006"/>
              <a:gd name="csY166" fmla="*/ 605627 h 2099709"/>
              <a:gd name="csX167" fmla="*/ 369608 w 733006"/>
              <a:gd name="csY167" fmla="*/ 603027 h 2099709"/>
              <a:gd name="csX168" fmla="*/ 463931 w 733006"/>
              <a:gd name="csY168" fmla="*/ 605146 h 2099709"/>
              <a:gd name="csX169" fmla="*/ 478113 w 733006"/>
              <a:gd name="csY169" fmla="*/ 595843 h 2099709"/>
              <a:gd name="csX170" fmla="*/ 478796 w 733006"/>
              <a:gd name="csY170" fmla="*/ 556832 h 2099709"/>
              <a:gd name="csX171" fmla="*/ 310220 w 733006"/>
              <a:gd name="csY171" fmla="*/ 554288 h 2099709"/>
              <a:gd name="csX172" fmla="*/ 348836 w 733006"/>
              <a:gd name="csY172" fmla="*/ 684115 h 2099709"/>
              <a:gd name="csX173" fmla="*/ 281333 w 733006"/>
              <a:gd name="csY173" fmla="*/ 683313 h 2099709"/>
              <a:gd name="csX174" fmla="*/ 212728 w 733006"/>
              <a:gd name="csY174" fmla="*/ 681931 h 2099709"/>
              <a:gd name="csX175" fmla="*/ 187283 w 733006"/>
              <a:gd name="csY175" fmla="*/ 689555 h 2099709"/>
              <a:gd name="csX176" fmla="*/ 186163 w 733006"/>
              <a:gd name="csY176" fmla="*/ 718266 h 2099709"/>
              <a:gd name="csX177" fmla="*/ 209894 w 733006"/>
              <a:gd name="csY177" fmla="*/ 726798 h 2099709"/>
              <a:gd name="csX178" fmla="*/ 334814 w 733006"/>
              <a:gd name="csY178" fmla="*/ 732494 h 2099709"/>
              <a:gd name="csX179" fmla="*/ 364856 w 733006"/>
              <a:gd name="csY179" fmla="*/ 707963 h 2099709"/>
              <a:gd name="csX180" fmla="*/ 348836 w 733006"/>
              <a:gd name="csY180" fmla="*/ 684115 h 2099709"/>
              <a:gd name="csX181" fmla="*/ 298865 w 733006"/>
              <a:gd name="csY181" fmla="*/ 621954 h 2099709"/>
              <a:gd name="csX182" fmla="*/ 251619 w 733006"/>
              <a:gd name="csY182" fmla="*/ 622133 h 2099709"/>
              <a:gd name="csX183" fmla="*/ 214459 w 733006"/>
              <a:gd name="csY183" fmla="*/ 636230 h 2099709"/>
              <a:gd name="csX184" fmla="*/ 221436 w 733006"/>
              <a:gd name="csY184" fmla="*/ 654205 h 2099709"/>
              <a:gd name="csX185" fmla="*/ 272412 w 733006"/>
              <a:gd name="csY185" fmla="*/ 657250 h 2099709"/>
              <a:gd name="csX186" fmla="*/ 349094 w 733006"/>
              <a:gd name="csY186" fmla="*/ 659282 h 2099709"/>
              <a:gd name="csX187" fmla="*/ 362996 w 733006"/>
              <a:gd name="csY187" fmla="*/ 644234 h 2099709"/>
              <a:gd name="csX188" fmla="*/ 348472 w 733006"/>
              <a:gd name="csY188" fmla="*/ 624649 h 2099709"/>
              <a:gd name="csX189" fmla="*/ 298865 w 733006"/>
              <a:gd name="csY189" fmla="*/ 621954 h 2099709"/>
              <a:gd name="csX190" fmla="*/ 227796 w 733006"/>
              <a:gd name="csY190" fmla="*/ 528000 h 2099709"/>
              <a:gd name="csX191" fmla="*/ 241009 w 733006"/>
              <a:gd name="csY191" fmla="*/ 545897 h 2099709"/>
              <a:gd name="csX192" fmla="*/ 282607 w 733006"/>
              <a:gd name="csY192" fmla="*/ 543480 h 2099709"/>
              <a:gd name="csX193" fmla="*/ 354213 w 733006"/>
              <a:gd name="csY193" fmla="*/ 543384 h 2099709"/>
              <a:gd name="csX194" fmla="*/ 365334 w 733006"/>
              <a:gd name="csY194" fmla="*/ 533397 h 2099709"/>
              <a:gd name="csX195" fmla="*/ 354531 w 733006"/>
              <a:gd name="csY195" fmla="*/ 521620 h 2099709"/>
              <a:gd name="csX196" fmla="*/ 259169 w 733006"/>
              <a:gd name="csY196" fmla="*/ 521978 h 2099709"/>
              <a:gd name="csX197" fmla="*/ 227796 w 733006"/>
              <a:gd name="csY197" fmla="*/ 528000 h 2099709"/>
              <a:gd name="csX198" fmla="*/ 508068 w 733006"/>
              <a:gd name="csY198" fmla="*/ 190710 h 2099709"/>
              <a:gd name="csX199" fmla="*/ 521293 w 733006"/>
              <a:gd name="csY199" fmla="*/ 205907 h 2099709"/>
              <a:gd name="csX200" fmla="*/ 525175 w 733006"/>
              <a:gd name="csY200" fmla="*/ 202985 h 2099709"/>
              <a:gd name="csX201" fmla="*/ 500276 w 733006"/>
              <a:gd name="csY201" fmla="*/ 160640 h 2099709"/>
              <a:gd name="csX202" fmla="*/ 497122 w 733006"/>
              <a:gd name="csY202" fmla="*/ 162007 h 2099709"/>
              <a:gd name="csX203" fmla="*/ 508068 w 733006"/>
              <a:gd name="csY203" fmla="*/ 190710 h 2099709"/>
              <a:gd name="csX204" fmla="*/ 215522 w 733006"/>
              <a:gd name="csY204" fmla="*/ 197296 h 2099709"/>
              <a:gd name="csX205" fmla="*/ 234029 w 733006"/>
              <a:gd name="csY205" fmla="*/ 162725 h 2099709"/>
              <a:gd name="csX206" fmla="*/ 229000 w 733006"/>
              <a:gd name="csY206" fmla="*/ 159902 h 2099709"/>
              <a:gd name="csX207" fmla="*/ 204824 w 733006"/>
              <a:gd name="csY207" fmla="*/ 199677 h 2099709"/>
              <a:gd name="csX208" fmla="*/ 207990 w 733006"/>
              <a:gd name="csY208" fmla="*/ 202198 h 2099709"/>
              <a:gd name="csX209" fmla="*/ 215522 w 733006"/>
              <a:gd name="csY209" fmla="*/ 197296 h 2099709"/>
              <a:gd name="csX210" fmla="*/ 484400 w 733006"/>
              <a:gd name="csY210" fmla="*/ 896678 h 2099709"/>
              <a:gd name="csX211" fmla="*/ 486181 w 733006"/>
              <a:gd name="csY211" fmla="*/ 896585 h 2099709"/>
              <a:gd name="csX212" fmla="*/ 486181 w 733006"/>
              <a:gd name="csY212" fmla="*/ 795289 h 2099709"/>
              <a:gd name="csX0" fmla="*/ 96263 w 733006"/>
              <a:gd name="csY0" fmla="*/ 2076207 h 2091287"/>
              <a:gd name="csX1" fmla="*/ 63862 w 733006"/>
              <a:gd name="csY1" fmla="*/ 2065388 h 2091287"/>
              <a:gd name="csX2" fmla="*/ 16555 w 733006"/>
              <a:gd name="csY2" fmla="*/ 2050152 h 2091287"/>
              <a:gd name="csX3" fmla="*/ 15 w 733006"/>
              <a:gd name="csY3" fmla="*/ 2023802 h 2091287"/>
              <a:gd name="csX4" fmla="*/ 18368 w 733006"/>
              <a:gd name="csY4" fmla="*/ 1940709 h 2091287"/>
              <a:gd name="csX5" fmla="*/ 22139 w 733006"/>
              <a:gd name="csY5" fmla="*/ 1907268 h 2091287"/>
              <a:gd name="csX6" fmla="*/ 57941 w 733006"/>
              <a:gd name="csY6" fmla="*/ 1774163 h 2091287"/>
              <a:gd name="csX7" fmla="*/ 102478 w 733006"/>
              <a:gd name="csY7" fmla="*/ 1720275 h 2091287"/>
              <a:gd name="csX8" fmla="*/ 108579 w 733006"/>
              <a:gd name="csY8" fmla="*/ 1650967 h 2091287"/>
              <a:gd name="csX9" fmla="*/ 115628 w 733006"/>
              <a:gd name="csY9" fmla="*/ 1625405 h 2091287"/>
              <a:gd name="csX10" fmla="*/ 156323 w 733006"/>
              <a:gd name="csY10" fmla="*/ 1560181 h 2091287"/>
              <a:gd name="csX11" fmla="*/ 199424 w 733006"/>
              <a:gd name="csY11" fmla="*/ 1364729 h 2091287"/>
              <a:gd name="csX12" fmla="*/ 216779 w 733006"/>
              <a:gd name="csY12" fmla="*/ 1219490 h 2091287"/>
              <a:gd name="csX13" fmla="*/ 229755 w 733006"/>
              <a:gd name="csY13" fmla="*/ 1099357 h 2091287"/>
              <a:gd name="csX14" fmla="*/ 232707 w 733006"/>
              <a:gd name="csY14" fmla="*/ 1056423 h 2091287"/>
              <a:gd name="csX15" fmla="*/ 235622 w 733006"/>
              <a:gd name="csY15" fmla="*/ 952675 h 2091287"/>
              <a:gd name="csX16" fmla="*/ 235445 w 733006"/>
              <a:gd name="csY16" fmla="*/ 780278 h 2091287"/>
              <a:gd name="csX17" fmla="*/ 214544 w 733006"/>
              <a:gd name="csY17" fmla="*/ 756435 h 2091287"/>
              <a:gd name="csX18" fmla="*/ 172569 w 733006"/>
              <a:gd name="csY18" fmla="*/ 742582 h 2091287"/>
              <a:gd name="csX19" fmla="*/ 168784 w 733006"/>
              <a:gd name="csY19" fmla="*/ 669116 h 2091287"/>
              <a:gd name="csX20" fmla="*/ 191657 w 733006"/>
              <a:gd name="csY20" fmla="*/ 630765 h 2091287"/>
              <a:gd name="csX21" fmla="*/ 208150 w 733006"/>
              <a:gd name="csY21" fmla="*/ 609084 h 2091287"/>
              <a:gd name="csX22" fmla="*/ 216756 w 733006"/>
              <a:gd name="csY22" fmla="*/ 558673 h 2091287"/>
              <a:gd name="csX23" fmla="*/ 209092 w 733006"/>
              <a:gd name="csY23" fmla="*/ 521540 h 2091287"/>
              <a:gd name="csX24" fmla="*/ 204683 w 733006"/>
              <a:gd name="csY24" fmla="*/ 474024 h 2091287"/>
              <a:gd name="csX25" fmla="*/ 115483 w 733006"/>
              <a:gd name="csY25" fmla="*/ 213499 h 2091287"/>
              <a:gd name="csX26" fmla="*/ 102909 w 733006"/>
              <a:gd name="csY26" fmla="*/ 182297 h 2091287"/>
              <a:gd name="csX27" fmla="*/ 104315 w 733006"/>
              <a:gd name="csY27" fmla="*/ 163968 h 2091287"/>
              <a:gd name="csX28" fmla="*/ 122444 w 733006"/>
              <a:gd name="csY28" fmla="*/ 160805 h 2091287"/>
              <a:gd name="csX29" fmla="*/ 170283 w 733006"/>
              <a:gd name="csY29" fmla="*/ 187783 h 2091287"/>
              <a:gd name="csX30" fmla="*/ 180938 w 733006"/>
              <a:gd name="csY30" fmla="*/ 195322 h 2091287"/>
              <a:gd name="csX31" fmla="*/ 221419 w 733006"/>
              <a:gd name="csY31" fmla="*/ 138058 h 2091287"/>
              <a:gd name="csX32" fmla="*/ 294099 w 733006"/>
              <a:gd name="csY32" fmla="*/ 91372 h 2091287"/>
              <a:gd name="csX33" fmla="*/ 302307 w 733006"/>
              <a:gd name="csY33" fmla="*/ 76560 h 2091287"/>
              <a:gd name="csX34" fmla="*/ 320284 w 733006"/>
              <a:gd name="csY34" fmla="*/ 8414 h 2091287"/>
              <a:gd name="csX35" fmla="*/ 324784 w 733006"/>
              <a:gd name="csY35" fmla="*/ 946 h 2091287"/>
              <a:gd name="csX36" fmla="*/ 399212 w 733006"/>
              <a:gd name="csY36" fmla="*/ 0 h 2091287"/>
              <a:gd name="csX37" fmla="*/ 425980 w 733006"/>
              <a:gd name="csY37" fmla="*/ 78301 h 2091287"/>
              <a:gd name="csX38" fmla="*/ 431861 w 733006"/>
              <a:gd name="csY38" fmla="*/ 90312 h 2091287"/>
              <a:gd name="csX39" fmla="*/ 540349 w 733006"/>
              <a:gd name="csY39" fmla="*/ 187946 h 2091287"/>
              <a:gd name="csX40" fmla="*/ 545555 w 733006"/>
              <a:gd name="csY40" fmla="*/ 197828 h 2091287"/>
              <a:gd name="csX41" fmla="*/ 587318 w 733006"/>
              <a:gd name="csY41" fmla="*/ 171260 h 2091287"/>
              <a:gd name="csX42" fmla="*/ 601503 w 733006"/>
              <a:gd name="csY42" fmla="*/ 163707 h 2091287"/>
              <a:gd name="csX43" fmla="*/ 625254 w 733006"/>
              <a:gd name="csY43" fmla="*/ 163123 h 2091287"/>
              <a:gd name="csX44" fmla="*/ 625468 w 733006"/>
              <a:gd name="csY44" fmla="*/ 187579 h 2091287"/>
              <a:gd name="csX45" fmla="*/ 597543 w 733006"/>
              <a:gd name="csY45" fmla="*/ 251872 h 2091287"/>
              <a:gd name="csX46" fmla="*/ 531831 w 733006"/>
              <a:gd name="csY46" fmla="*/ 442689 h 2091287"/>
              <a:gd name="csX47" fmla="*/ 519888 w 733006"/>
              <a:gd name="csY47" fmla="*/ 501474 h 2091287"/>
              <a:gd name="csX48" fmla="*/ 522506 w 733006"/>
              <a:gd name="csY48" fmla="*/ 525086 h 2091287"/>
              <a:gd name="csX49" fmla="*/ 516235 w 733006"/>
              <a:gd name="csY49" fmla="*/ 555946 h 2091287"/>
              <a:gd name="csX50" fmla="*/ 521332 w 733006"/>
              <a:gd name="csY50" fmla="*/ 610676 h 2091287"/>
              <a:gd name="csX51" fmla="*/ 541382 w 733006"/>
              <a:gd name="csY51" fmla="*/ 642597 h 2091287"/>
              <a:gd name="csX52" fmla="*/ 557031 w 733006"/>
              <a:gd name="csY52" fmla="*/ 667949 h 2091287"/>
              <a:gd name="csX53" fmla="*/ 553994 w 733006"/>
              <a:gd name="csY53" fmla="*/ 744146 h 2091287"/>
              <a:gd name="csX54" fmla="*/ 508215 w 733006"/>
              <a:gd name="csY54" fmla="*/ 758841 h 2091287"/>
              <a:gd name="csX55" fmla="*/ 497442 w 733006"/>
              <a:gd name="csY55" fmla="*/ 771256 h 2091287"/>
              <a:gd name="csX56" fmla="*/ 493005 w 733006"/>
              <a:gd name="csY56" fmla="*/ 922055 h 2091287"/>
              <a:gd name="csX57" fmla="*/ 502900 w 733006"/>
              <a:gd name="csY57" fmla="*/ 1114191 h 2091287"/>
              <a:gd name="csX58" fmla="*/ 508800 w 733006"/>
              <a:gd name="csY58" fmla="*/ 1205474 h 2091287"/>
              <a:gd name="csX59" fmla="*/ 522952 w 733006"/>
              <a:gd name="csY59" fmla="*/ 1320065 h 2091287"/>
              <a:gd name="csX60" fmla="*/ 554682 w 733006"/>
              <a:gd name="csY60" fmla="*/ 1501203 h 2091287"/>
              <a:gd name="csX61" fmla="*/ 576958 w 733006"/>
              <a:gd name="csY61" fmla="*/ 1593963 h 2091287"/>
              <a:gd name="csX62" fmla="*/ 595349 w 733006"/>
              <a:gd name="csY62" fmla="*/ 1613498 h 2091287"/>
              <a:gd name="csX63" fmla="*/ 613936 w 733006"/>
              <a:gd name="csY63" fmla="*/ 1624058 h 2091287"/>
              <a:gd name="csX64" fmla="*/ 620938 w 733006"/>
              <a:gd name="csY64" fmla="*/ 1652071 h 2091287"/>
              <a:gd name="csX65" fmla="*/ 630805 w 733006"/>
              <a:gd name="csY65" fmla="*/ 1721702 h 2091287"/>
              <a:gd name="csX66" fmla="*/ 685830 w 733006"/>
              <a:gd name="csY66" fmla="*/ 1792915 h 2091287"/>
              <a:gd name="csX67" fmla="*/ 708904 w 733006"/>
              <a:gd name="csY67" fmla="*/ 1890290 h 2091287"/>
              <a:gd name="csX68" fmla="*/ 716580 w 733006"/>
              <a:gd name="csY68" fmla="*/ 1951136 h 2091287"/>
              <a:gd name="csX69" fmla="*/ 729397 w 733006"/>
              <a:gd name="csY69" fmla="*/ 2030261 h 2091287"/>
              <a:gd name="csX70" fmla="*/ 714212 w 733006"/>
              <a:gd name="csY70" fmla="*/ 2059069 h 2091287"/>
              <a:gd name="csX71" fmla="*/ 96263 w 733006"/>
              <a:gd name="csY71" fmla="*/ 2076207 h 2091287"/>
              <a:gd name="csX72" fmla="*/ 489970 w 733006"/>
              <a:gd name="csY72" fmla="*/ 152208 h 2091287"/>
              <a:gd name="csX73" fmla="*/ 490754 w 733006"/>
              <a:gd name="csY73" fmla="*/ 152592 h 2091287"/>
              <a:gd name="csX74" fmla="*/ 489489 w 733006"/>
              <a:gd name="csY74" fmla="*/ 149547 h 2091287"/>
              <a:gd name="csX75" fmla="*/ 393621 w 733006"/>
              <a:gd name="csY75" fmla="*/ 99259 h 2091287"/>
              <a:gd name="csX76" fmla="*/ 390419 w 733006"/>
              <a:gd name="csY76" fmla="*/ 18568 h 2091287"/>
              <a:gd name="csX77" fmla="*/ 334131 w 733006"/>
              <a:gd name="csY77" fmla="*/ 24327 h 2091287"/>
              <a:gd name="csX78" fmla="*/ 344678 w 733006"/>
              <a:gd name="csY78" fmla="*/ 101259 h 2091287"/>
              <a:gd name="csX79" fmla="*/ 298854 w 733006"/>
              <a:gd name="csY79" fmla="*/ 114003 h 2091287"/>
              <a:gd name="csX80" fmla="*/ 237456 w 733006"/>
              <a:gd name="csY80" fmla="*/ 154340 h 2091287"/>
              <a:gd name="csX81" fmla="*/ 240382 w 733006"/>
              <a:gd name="csY81" fmla="*/ 154035 h 2091287"/>
              <a:gd name="csX82" fmla="*/ 262731 w 733006"/>
              <a:gd name="csY82" fmla="*/ 170426 h 2091287"/>
              <a:gd name="csX83" fmla="*/ 279169 w 733006"/>
              <a:gd name="csY83" fmla="*/ 193173 h 2091287"/>
              <a:gd name="csX84" fmla="*/ 327717 w 733006"/>
              <a:gd name="csY84" fmla="*/ 188556 h 2091287"/>
              <a:gd name="csX85" fmla="*/ 348052 w 733006"/>
              <a:gd name="csY85" fmla="*/ 156919 h 2091287"/>
              <a:gd name="csX86" fmla="*/ 380330 w 733006"/>
              <a:gd name="csY86" fmla="*/ 156483 h 2091287"/>
              <a:gd name="csX87" fmla="*/ 408490 w 733006"/>
              <a:gd name="csY87" fmla="*/ 195400 h 2091287"/>
              <a:gd name="csX88" fmla="*/ 445346 w 733006"/>
              <a:gd name="csY88" fmla="*/ 197582 h 2091287"/>
              <a:gd name="csX89" fmla="*/ 464798 w 733006"/>
              <a:gd name="csY89" fmla="*/ 174107 h 2091287"/>
              <a:gd name="csX90" fmla="*/ 489970 w 733006"/>
              <a:gd name="csY90" fmla="*/ 152208 h 2091287"/>
              <a:gd name="csX91" fmla="*/ 140694 w 733006"/>
              <a:gd name="csY91" fmla="*/ 201837 h 2091287"/>
              <a:gd name="csX92" fmla="*/ 139834 w 733006"/>
              <a:gd name="csY92" fmla="*/ 201482 h 2091287"/>
              <a:gd name="csX93" fmla="*/ 140812 w 733006"/>
              <a:gd name="csY93" fmla="*/ 204941 h 2091287"/>
              <a:gd name="csX94" fmla="*/ 144631 w 733006"/>
              <a:gd name="csY94" fmla="*/ 217811 h 2091287"/>
              <a:gd name="csX95" fmla="*/ 201241 w 733006"/>
              <a:gd name="csY95" fmla="*/ 373387 h 2091287"/>
              <a:gd name="csX96" fmla="*/ 235971 w 733006"/>
              <a:gd name="csY96" fmla="*/ 504451 h 2091287"/>
              <a:gd name="csX97" fmla="*/ 247475 w 733006"/>
              <a:gd name="csY97" fmla="*/ 513241 h 2091287"/>
              <a:gd name="csX98" fmla="*/ 289066 w 733006"/>
              <a:gd name="csY98" fmla="*/ 511170 h 2091287"/>
              <a:gd name="csX99" fmla="*/ 378229 w 733006"/>
              <a:gd name="csY99" fmla="*/ 511084 h 2091287"/>
              <a:gd name="csX100" fmla="*/ 470850 w 733006"/>
              <a:gd name="csY100" fmla="*/ 516341 h 2091287"/>
              <a:gd name="csX101" fmla="*/ 492933 w 733006"/>
              <a:gd name="csY101" fmla="*/ 497969 h 2091287"/>
              <a:gd name="csX102" fmla="*/ 557617 w 733006"/>
              <a:gd name="csY102" fmla="*/ 280398 h 2091287"/>
              <a:gd name="csX103" fmla="*/ 588788 w 733006"/>
              <a:gd name="csY103" fmla="*/ 200385 h 2091287"/>
              <a:gd name="csX104" fmla="*/ 530958 w 733006"/>
              <a:gd name="csY104" fmla="*/ 232968 h 2091287"/>
              <a:gd name="csX105" fmla="*/ 483823 w 733006"/>
              <a:gd name="csY105" fmla="*/ 190364 h 2091287"/>
              <a:gd name="csX106" fmla="*/ 466649 w 733006"/>
              <a:gd name="csY106" fmla="*/ 209061 h 2091287"/>
              <a:gd name="csX107" fmla="*/ 399941 w 733006"/>
              <a:gd name="csY107" fmla="*/ 216988 h 2091287"/>
              <a:gd name="csX108" fmla="*/ 363018 w 733006"/>
              <a:gd name="csY108" fmla="*/ 179615 h 2091287"/>
              <a:gd name="csX109" fmla="*/ 308839 w 733006"/>
              <a:gd name="csY109" fmla="*/ 227846 h 2091287"/>
              <a:gd name="csX110" fmla="*/ 245077 w 733006"/>
              <a:gd name="csY110" fmla="*/ 192402 h 2091287"/>
              <a:gd name="csX111" fmla="*/ 242829 w 733006"/>
              <a:gd name="csY111" fmla="*/ 198815 h 2091287"/>
              <a:gd name="csX112" fmla="*/ 168452 w 733006"/>
              <a:gd name="csY112" fmla="*/ 219348 h 2091287"/>
              <a:gd name="csX113" fmla="*/ 140694 w 733006"/>
              <a:gd name="csY113" fmla="*/ 201837 h 2091287"/>
              <a:gd name="csX114" fmla="*/ 259999 w 733006"/>
              <a:gd name="csY114" fmla="*/ 966699 h 2091287"/>
              <a:gd name="csX115" fmla="*/ 257072 w 733006"/>
              <a:gd name="csY115" fmla="*/ 1070424 h 2091287"/>
              <a:gd name="csX116" fmla="*/ 251372 w 733006"/>
              <a:gd name="csY116" fmla="*/ 1157618 h 2091287"/>
              <a:gd name="csX117" fmla="*/ 232677 w 733006"/>
              <a:gd name="csY117" fmla="*/ 1320279 h 2091287"/>
              <a:gd name="csX118" fmla="*/ 209182 w 733006"/>
              <a:gd name="csY118" fmla="*/ 1468667 h 2091287"/>
              <a:gd name="csX119" fmla="*/ 175302 w 733006"/>
              <a:gd name="csY119" fmla="*/ 1616623 h 2091287"/>
              <a:gd name="csX120" fmla="*/ 182769 w 733006"/>
              <a:gd name="csY120" fmla="*/ 1629786 h 2091287"/>
              <a:gd name="csX121" fmla="*/ 212156 w 733006"/>
              <a:gd name="csY121" fmla="*/ 1632656 h 2091287"/>
              <a:gd name="csX122" fmla="*/ 351295 w 733006"/>
              <a:gd name="csY122" fmla="*/ 1632801 h 2091287"/>
              <a:gd name="csX123" fmla="*/ 376150 w 733006"/>
              <a:gd name="csY123" fmla="*/ 1608307 h 2091287"/>
              <a:gd name="csX124" fmla="*/ 373450 w 733006"/>
              <a:gd name="csY124" fmla="*/ 1457291 h 2091287"/>
              <a:gd name="csX125" fmla="*/ 370936 w 733006"/>
              <a:gd name="csY125" fmla="*/ 1342736 h 2091287"/>
              <a:gd name="csX126" fmla="*/ 368328 w 733006"/>
              <a:gd name="csY126" fmla="*/ 1203878 h 2091287"/>
              <a:gd name="csX127" fmla="*/ 367836 w 733006"/>
              <a:gd name="csY127" fmla="*/ 813478 h 2091287"/>
              <a:gd name="csX128" fmla="*/ 365240 w 733006"/>
              <a:gd name="csY128" fmla="*/ 773243 h 2091287"/>
              <a:gd name="csX129" fmla="*/ 353084 w 733006"/>
              <a:gd name="csY129" fmla="*/ 762083 h 2091287"/>
              <a:gd name="csX130" fmla="*/ 280966 w 733006"/>
              <a:gd name="csY130" fmla="*/ 759855 h 2091287"/>
              <a:gd name="csX131" fmla="*/ 259965 w 733006"/>
              <a:gd name="csY131" fmla="*/ 779553 h 2091287"/>
              <a:gd name="csX132" fmla="*/ 262341 w 733006"/>
              <a:gd name="csY132" fmla="*/ 856275 h 2091287"/>
              <a:gd name="csX133" fmla="*/ 259999 w 733006"/>
              <a:gd name="csY133" fmla="*/ 966699 h 2091287"/>
              <a:gd name="csX134" fmla="*/ 55556 w 733006"/>
              <a:gd name="csY134" fmla="*/ 1835827 h 2091287"/>
              <a:gd name="csX135" fmla="*/ 49393 w 733006"/>
              <a:gd name="csY135" fmla="*/ 1878155 h 2091287"/>
              <a:gd name="csX136" fmla="*/ 73949 w 733006"/>
              <a:gd name="csY136" fmla="*/ 1905781 h 2091287"/>
              <a:gd name="csX137" fmla="*/ 110073 w 733006"/>
              <a:gd name="csY137" fmla="*/ 1909068 h 2091287"/>
              <a:gd name="csX138" fmla="*/ 224745 w 733006"/>
              <a:gd name="csY138" fmla="*/ 1921652 h 2091287"/>
              <a:gd name="csX139" fmla="*/ 347327 w 733006"/>
              <a:gd name="csY139" fmla="*/ 1924778 h 2091287"/>
              <a:gd name="csX140" fmla="*/ 363345 w 733006"/>
              <a:gd name="csY140" fmla="*/ 1923293 h 2091287"/>
              <a:gd name="csX141" fmla="*/ 373787 w 733006"/>
              <a:gd name="csY141" fmla="*/ 1911200 h 2091287"/>
              <a:gd name="csX142" fmla="*/ 376623 w 733006"/>
              <a:gd name="csY142" fmla="*/ 1696741 h 2091287"/>
              <a:gd name="csX143" fmla="*/ 360437 w 733006"/>
              <a:gd name="csY143" fmla="*/ 1681289 h 2091287"/>
              <a:gd name="csX144" fmla="*/ 263503 w 733006"/>
              <a:gd name="csY144" fmla="*/ 1678179 h 2091287"/>
              <a:gd name="csX145" fmla="*/ 160381 w 733006"/>
              <a:gd name="csY145" fmla="*/ 1670405 h 2091287"/>
              <a:gd name="csX146" fmla="*/ 143321 w 733006"/>
              <a:gd name="csY146" fmla="*/ 1685538 h 2091287"/>
              <a:gd name="csX147" fmla="*/ 124769 w 733006"/>
              <a:gd name="csY147" fmla="*/ 1738195 h 2091287"/>
              <a:gd name="csX148" fmla="*/ 90593 w 733006"/>
              <a:gd name="csY148" fmla="*/ 1779570 h 2091287"/>
              <a:gd name="csX149" fmla="*/ 55556 w 733006"/>
              <a:gd name="csY149" fmla="*/ 1835827 h 2091287"/>
              <a:gd name="csX150" fmla="*/ 378900 w 733006"/>
              <a:gd name="csY150" fmla="*/ 2007280 h 2091287"/>
              <a:gd name="csX151" fmla="*/ 378887 w 733006"/>
              <a:gd name="csY151" fmla="*/ 1995127 h 2091287"/>
              <a:gd name="csX152" fmla="*/ 359084 w 733006"/>
              <a:gd name="csY152" fmla="*/ 1975964 h 2091287"/>
              <a:gd name="csX153" fmla="*/ 247288 w 733006"/>
              <a:gd name="csY153" fmla="*/ 1973305 h 2091287"/>
              <a:gd name="csX154" fmla="*/ 201692 w 733006"/>
              <a:gd name="csY154" fmla="*/ 1970275 h 2091287"/>
              <a:gd name="csX155" fmla="*/ 57962 w 733006"/>
              <a:gd name="csY155" fmla="*/ 1952648 h 2091287"/>
              <a:gd name="csX156" fmla="*/ 39194 w 733006"/>
              <a:gd name="csY156" fmla="*/ 1963552 h 2091287"/>
              <a:gd name="csX157" fmla="*/ 30066 w 733006"/>
              <a:gd name="csY157" fmla="*/ 2006631 h 2091287"/>
              <a:gd name="csX158" fmla="*/ 40232 w 733006"/>
              <a:gd name="csY158" fmla="*/ 2019486 h 2091287"/>
              <a:gd name="csX159" fmla="*/ 238186 w 733006"/>
              <a:gd name="csY159" fmla="*/ 2046096 h 2091287"/>
              <a:gd name="csX160" fmla="*/ 342155 w 733006"/>
              <a:gd name="csY160" fmla="*/ 2046441 h 2091287"/>
              <a:gd name="csX161" fmla="*/ 378900 w 733006"/>
              <a:gd name="csY161" fmla="*/ 2007280 h 2091287"/>
              <a:gd name="csX162" fmla="*/ 310220 w 733006"/>
              <a:gd name="csY162" fmla="*/ 554288 h 2091287"/>
              <a:gd name="csX163" fmla="*/ 259136 w 733006"/>
              <a:gd name="csY163" fmla="*/ 556881 h 2091287"/>
              <a:gd name="csX164" fmla="*/ 249085 w 733006"/>
              <a:gd name="csY164" fmla="*/ 567981 h 2091287"/>
              <a:gd name="csX165" fmla="*/ 249141 w 733006"/>
              <a:gd name="csY165" fmla="*/ 605644 h 2091287"/>
              <a:gd name="csX166" fmla="*/ 262628 w 733006"/>
              <a:gd name="csY166" fmla="*/ 605627 h 2091287"/>
              <a:gd name="csX167" fmla="*/ 369608 w 733006"/>
              <a:gd name="csY167" fmla="*/ 603027 h 2091287"/>
              <a:gd name="csX168" fmla="*/ 463931 w 733006"/>
              <a:gd name="csY168" fmla="*/ 605146 h 2091287"/>
              <a:gd name="csX169" fmla="*/ 478113 w 733006"/>
              <a:gd name="csY169" fmla="*/ 595843 h 2091287"/>
              <a:gd name="csX170" fmla="*/ 478796 w 733006"/>
              <a:gd name="csY170" fmla="*/ 556832 h 2091287"/>
              <a:gd name="csX171" fmla="*/ 310220 w 733006"/>
              <a:gd name="csY171" fmla="*/ 554288 h 2091287"/>
              <a:gd name="csX172" fmla="*/ 348836 w 733006"/>
              <a:gd name="csY172" fmla="*/ 684115 h 2091287"/>
              <a:gd name="csX173" fmla="*/ 281333 w 733006"/>
              <a:gd name="csY173" fmla="*/ 683313 h 2091287"/>
              <a:gd name="csX174" fmla="*/ 212728 w 733006"/>
              <a:gd name="csY174" fmla="*/ 681931 h 2091287"/>
              <a:gd name="csX175" fmla="*/ 187283 w 733006"/>
              <a:gd name="csY175" fmla="*/ 689555 h 2091287"/>
              <a:gd name="csX176" fmla="*/ 186163 w 733006"/>
              <a:gd name="csY176" fmla="*/ 718266 h 2091287"/>
              <a:gd name="csX177" fmla="*/ 209894 w 733006"/>
              <a:gd name="csY177" fmla="*/ 726798 h 2091287"/>
              <a:gd name="csX178" fmla="*/ 334814 w 733006"/>
              <a:gd name="csY178" fmla="*/ 732494 h 2091287"/>
              <a:gd name="csX179" fmla="*/ 364856 w 733006"/>
              <a:gd name="csY179" fmla="*/ 707963 h 2091287"/>
              <a:gd name="csX180" fmla="*/ 348836 w 733006"/>
              <a:gd name="csY180" fmla="*/ 684115 h 2091287"/>
              <a:gd name="csX181" fmla="*/ 298865 w 733006"/>
              <a:gd name="csY181" fmla="*/ 621954 h 2091287"/>
              <a:gd name="csX182" fmla="*/ 251619 w 733006"/>
              <a:gd name="csY182" fmla="*/ 622133 h 2091287"/>
              <a:gd name="csX183" fmla="*/ 214459 w 733006"/>
              <a:gd name="csY183" fmla="*/ 636230 h 2091287"/>
              <a:gd name="csX184" fmla="*/ 221436 w 733006"/>
              <a:gd name="csY184" fmla="*/ 654205 h 2091287"/>
              <a:gd name="csX185" fmla="*/ 272412 w 733006"/>
              <a:gd name="csY185" fmla="*/ 657250 h 2091287"/>
              <a:gd name="csX186" fmla="*/ 349094 w 733006"/>
              <a:gd name="csY186" fmla="*/ 659282 h 2091287"/>
              <a:gd name="csX187" fmla="*/ 362996 w 733006"/>
              <a:gd name="csY187" fmla="*/ 644234 h 2091287"/>
              <a:gd name="csX188" fmla="*/ 348472 w 733006"/>
              <a:gd name="csY188" fmla="*/ 624649 h 2091287"/>
              <a:gd name="csX189" fmla="*/ 298865 w 733006"/>
              <a:gd name="csY189" fmla="*/ 621954 h 2091287"/>
              <a:gd name="csX190" fmla="*/ 227796 w 733006"/>
              <a:gd name="csY190" fmla="*/ 528000 h 2091287"/>
              <a:gd name="csX191" fmla="*/ 241009 w 733006"/>
              <a:gd name="csY191" fmla="*/ 545897 h 2091287"/>
              <a:gd name="csX192" fmla="*/ 282607 w 733006"/>
              <a:gd name="csY192" fmla="*/ 543480 h 2091287"/>
              <a:gd name="csX193" fmla="*/ 354213 w 733006"/>
              <a:gd name="csY193" fmla="*/ 543384 h 2091287"/>
              <a:gd name="csX194" fmla="*/ 365334 w 733006"/>
              <a:gd name="csY194" fmla="*/ 533397 h 2091287"/>
              <a:gd name="csX195" fmla="*/ 354531 w 733006"/>
              <a:gd name="csY195" fmla="*/ 521620 h 2091287"/>
              <a:gd name="csX196" fmla="*/ 259169 w 733006"/>
              <a:gd name="csY196" fmla="*/ 521978 h 2091287"/>
              <a:gd name="csX197" fmla="*/ 227796 w 733006"/>
              <a:gd name="csY197" fmla="*/ 528000 h 2091287"/>
              <a:gd name="csX198" fmla="*/ 508068 w 733006"/>
              <a:gd name="csY198" fmla="*/ 190710 h 2091287"/>
              <a:gd name="csX199" fmla="*/ 521293 w 733006"/>
              <a:gd name="csY199" fmla="*/ 205907 h 2091287"/>
              <a:gd name="csX200" fmla="*/ 525175 w 733006"/>
              <a:gd name="csY200" fmla="*/ 202985 h 2091287"/>
              <a:gd name="csX201" fmla="*/ 500276 w 733006"/>
              <a:gd name="csY201" fmla="*/ 160640 h 2091287"/>
              <a:gd name="csX202" fmla="*/ 497122 w 733006"/>
              <a:gd name="csY202" fmla="*/ 162007 h 2091287"/>
              <a:gd name="csX203" fmla="*/ 508068 w 733006"/>
              <a:gd name="csY203" fmla="*/ 190710 h 2091287"/>
              <a:gd name="csX204" fmla="*/ 215522 w 733006"/>
              <a:gd name="csY204" fmla="*/ 197296 h 2091287"/>
              <a:gd name="csX205" fmla="*/ 234029 w 733006"/>
              <a:gd name="csY205" fmla="*/ 162725 h 2091287"/>
              <a:gd name="csX206" fmla="*/ 229000 w 733006"/>
              <a:gd name="csY206" fmla="*/ 159902 h 2091287"/>
              <a:gd name="csX207" fmla="*/ 204824 w 733006"/>
              <a:gd name="csY207" fmla="*/ 199677 h 2091287"/>
              <a:gd name="csX208" fmla="*/ 207990 w 733006"/>
              <a:gd name="csY208" fmla="*/ 202198 h 2091287"/>
              <a:gd name="csX209" fmla="*/ 215522 w 733006"/>
              <a:gd name="csY209" fmla="*/ 197296 h 2091287"/>
              <a:gd name="csX210" fmla="*/ 484400 w 733006"/>
              <a:gd name="csY210" fmla="*/ 896678 h 2091287"/>
              <a:gd name="csX211" fmla="*/ 486181 w 733006"/>
              <a:gd name="csY211" fmla="*/ 896585 h 2091287"/>
              <a:gd name="csX212" fmla="*/ 486181 w 733006"/>
              <a:gd name="csY212" fmla="*/ 795289 h 2091287"/>
              <a:gd name="csX0" fmla="*/ 96263 w 733006"/>
              <a:gd name="csY0" fmla="*/ 2076207 h 2092038"/>
              <a:gd name="csX1" fmla="*/ 63862 w 733006"/>
              <a:gd name="csY1" fmla="*/ 2065388 h 2092038"/>
              <a:gd name="csX2" fmla="*/ 16555 w 733006"/>
              <a:gd name="csY2" fmla="*/ 2050152 h 2092038"/>
              <a:gd name="csX3" fmla="*/ 15 w 733006"/>
              <a:gd name="csY3" fmla="*/ 2023802 h 2092038"/>
              <a:gd name="csX4" fmla="*/ 18368 w 733006"/>
              <a:gd name="csY4" fmla="*/ 1940709 h 2092038"/>
              <a:gd name="csX5" fmla="*/ 22139 w 733006"/>
              <a:gd name="csY5" fmla="*/ 1907268 h 2092038"/>
              <a:gd name="csX6" fmla="*/ 57941 w 733006"/>
              <a:gd name="csY6" fmla="*/ 1774163 h 2092038"/>
              <a:gd name="csX7" fmla="*/ 102478 w 733006"/>
              <a:gd name="csY7" fmla="*/ 1720275 h 2092038"/>
              <a:gd name="csX8" fmla="*/ 108579 w 733006"/>
              <a:gd name="csY8" fmla="*/ 1650967 h 2092038"/>
              <a:gd name="csX9" fmla="*/ 115628 w 733006"/>
              <a:gd name="csY9" fmla="*/ 1625405 h 2092038"/>
              <a:gd name="csX10" fmla="*/ 156323 w 733006"/>
              <a:gd name="csY10" fmla="*/ 1560181 h 2092038"/>
              <a:gd name="csX11" fmla="*/ 199424 w 733006"/>
              <a:gd name="csY11" fmla="*/ 1364729 h 2092038"/>
              <a:gd name="csX12" fmla="*/ 216779 w 733006"/>
              <a:gd name="csY12" fmla="*/ 1219490 h 2092038"/>
              <a:gd name="csX13" fmla="*/ 229755 w 733006"/>
              <a:gd name="csY13" fmla="*/ 1099357 h 2092038"/>
              <a:gd name="csX14" fmla="*/ 232707 w 733006"/>
              <a:gd name="csY14" fmla="*/ 1056423 h 2092038"/>
              <a:gd name="csX15" fmla="*/ 235622 w 733006"/>
              <a:gd name="csY15" fmla="*/ 952675 h 2092038"/>
              <a:gd name="csX16" fmla="*/ 235445 w 733006"/>
              <a:gd name="csY16" fmla="*/ 780278 h 2092038"/>
              <a:gd name="csX17" fmla="*/ 214544 w 733006"/>
              <a:gd name="csY17" fmla="*/ 756435 h 2092038"/>
              <a:gd name="csX18" fmla="*/ 172569 w 733006"/>
              <a:gd name="csY18" fmla="*/ 742582 h 2092038"/>
              <a:gd name="csX19" fmla="*/ 168784 w 733006"/>
              <a:gd name="csY19" fmla="*/ 669116 h 2092038"/>
              <a:gd name="csX20" fmla="*/ 191657 w 733006"/>
              <a:gd name="csY20" fmla="*/ 630765 h 2092038"/>
              <a:gd name="csX21" fmla="*/ 208150 w 733006"/>
              <a:gd name="csY21" fmla="*/ 609084 h 2092038"/>
              <a:gd name="csX22" fmla="*/ 216756 w 733006"/>
              <a:gd name="csY22" fmla="*/ 558673 h 2092038"/>
              <a:gd name="csX23" fmla="*/ 209092 w 733006"/>
              <a:gd name="csY23" fmla="*/ 521540 h 2092038"/>
              <a:gd name="csX24" fmla="*/ 204683 w 733006"/>
              <a:gd name="csY24" fmla="*/ 474024 h 2092038"/>
              <a:gd name="csX25" fmla="*/ 115483 w 733006"/>
              <a:gd name="csY25" fmla="*/ 213499 h 2092038"/>
              <a:gd name="csX26" fmla="*/ 102909 w 733006"/>
              <a:gd name="csY26" fmla="*/ 182297 h 2092038"/>
              <a:gd name="csX27" fmla="*/ 104315 w 733006"/>
              <a:gd name="csY27" fmla="*/ 163968 h 2092038"/>
              <a:gd name="csX28" fmla="*/ 122444 w 733006"/>
              <a:gd name="csY28" fmla="*/ 160805 h 2092038"/>
              <a:gd name="csX29" fmla="*/ 170283 w 733006"/>
              <a:gd name="csY29" fmla="*/ 187783 h 2092038"/>
              <a:gd name="csX30" fmla="*/ 180938 w 733006"/>
              <a:gd name="csY30" fmla="*/ 195322 h 2092038"/>
              <a:gd name="csX31" fmla="*/ 221419 w 733006"/>
              <a:gd name="csY31" fmla="*/ 138058 h 2092038"/>
              <a:gd name="csX32" fmla="*/ 294099 w 733006"/>
              <a:gd name="csY32" fmla="*/ 91372 h 2092038"/>
              <a:gd name="csX33" fmla="*/ 302307 w 733006"/>
              <a:gd name="csY33" fmla="*/ 76560 h 2092038"/>
              <a:gd name="csX34" fmla="*/ 320284 w 733006"/>
              <a:gd name="csY34" fmla="*/ 8414 h 2092038"/>
              <a:gd name="csX35" fmla="*/ 324784 w 733006"/>
              <a:gd name="csY35" fmla="*/ 946 h 2092038"/>
              <a:gd name="csX36" fmla="*/ 399212 w 733006"/>
              <a:gd name="csY36" fmla="*/ 0 h 2092038"/>
              <a:gd name="csX37" fmla="*/ 425980 w 733006"/>
              <a:gd name="csY37" fmla="*/ 78301 h 2092038"/>
              <a:gd name="csX38" fmla="*/ 431861 w 733006"/>
              <a:gd name="csY38" fmla="*/ 90312 h 2092038"/>
              <a:gd name="csX39" fmla="*/ 540349 w 733006"/>
              <a:gd name="csY39" fmla="*/ 187946 h 2092038"/>
              <a:gd name="csX40" fmla="*/ 545555 w 733006"/>
              <a:gd name="csY40" fmla="*/ 197828 h 2092038"/>
              <a:gd name="csX41" fmla="*/ 587318 w 733006"/>
              <a:gd name="csY41" fmla="*/ 171260 h 2092038"/>
              <a:gd name="csX42" fmla="*/ 601503 w 733006"/>
              <a:gd name="csY42" fmla="*/ 163707 h 2092038"/>
              <a:gd name="csX43" fmla="*/ 625254 w 733006"/>
              <a:gd name="csY43" fmla="*/ 163123 h 2092038"/>
              <a:gd name="csX44" fmla="*/ 625468 w 733006"/>
              <a:gd name="csY44" fmla="*/ 187579 h 2092038"/>
              <a:gd name="csX45" fmla="*/ 597543 w 733006"/>
              <a:gd name="csY45" fmla="*/ 251872 h 2092038"/>
              <a:gd name="csX46" fmla="*/ 531831 w 733006"/>
              <a:gd name="csY46" fmla="*/ 442689 h 2092038"/>
              <a:gd name="csX47" fmla="*/ 519888 w 733006"/>
              <a:gd name="csY47" fmla="*/ 501474 h 2092038"/>
              <a:gd name="csX48" fmla="*/ 522506 w 733006"/>
              <a:gd name="csY48" fmla="*/ 525086 h 2092038"/>
              <a:gd name="csX49" fmla="*/ 516235 w 733006"/>
              <a:gd name="csY49" fmla="*/ 555946 h 2092038"/>
              <a:gd name="csX50" fmla="*/ 521332 w 733006"/>
              <a:gd name="csY50" fmla="*/ 610676 h 2092038"/>
              <a:gd name="csX51" fmla="*/ 541382 w 733006"/>
              <a:gd name="csY51" fmla="*/ 642597 h 2092038"/>
              <a:gd name="csX52" fmla="*/ 557031 w 733006"/>
              <a:gd name="csY52" fmla="*/ 667949 h 2092038"/>
              <a:gd name="csX53" fmla="*/ 553994 w 733006"/>
              <a:gd name="csY53" fmla="*/ 744146 h 2092038"/>
              <a:gd name="csX54" fmla="*/ 508215 w 733006"/>
              <a:gd name="csY54" fmla="*/ 758841 h 2092038"/>
              <a:gd name="csX55" fmla="*/ 497442 w 733006"/>
              <a:gd name="csY55" fmla="*/ 771256 h 2092038"/>
              <a:gd name="csX56" fmla="*/ 493005 w 733006"/>
              <a:gd name="csY56" fmla="*/ 922055 h 2092038"/>
              <a:gd name="csX57" fmla="*/ 502900 w 733006"/>
              <a:gd name="csY57" fmla="*/ 1114191 h 2092038"/>
              <a:gd name="csX58" fmla="*/ 508800 w 733006"/>
              <a:gd name="csY58" fmla="*/ 1205474 h 2092038"/>
              <a:gd name="csX59" fmla="*/ 522952 w 733006"/>
              <a:gd name="csY59" fmla="*/ 1320065 h 2092038"/>
              <a:gd name="csX60" fmla="*/ 554682 w 733006"/>
              <a:gd name="csY60" fmla="*/ 1501203 h 2092038"/>
              <a:gd name="csX61" fmla="*/ 576958 w 733006"/>
              <a:gd name="csY61" fmla="*/ 1593963 h 2092038"/>
              <a:gd name="csX62" fmla="*/ 595349 w 733006"/>
              <a:gd name="csY62" fmla="*/ 1613498 h 2092038"/>
              <a:gd name="csX63" fmla="*/ 613936 w 733006"/>
              <a:gd name="csY63" fmla="*/ 1624058 h 2092038"/>
              <a:gd name="csX64" fmla="*/ 620938 w 733006"/>
              <a:gd name="csY64" fmla="*/ 1652071 h 2092038"/>
              <a:gd name="csX65" fmla="*/ 630805 w 733006"/>
              <a:gd name="csY65" fmla="*/ 1721702 h 2092038"/>
              <a:gd name="csX66" fmla="*/ 685830 w 733006"/>
              <a:gd name="csY66" fmla="*/ 1792915 h 2092038"/>
              <a:gd name="csX67" fmla="*/ 708904 w 733006"/>
              <a:gd name="csY67" fmla="*/ 1890290 h 2092038"/>
              <a:gd name="csX68" fmla="*/ 716580 w 733006"/>
              <a:gd name="csY68" fmla="*/ 1951136 h 2092038"/>
              <a:gd name="csX69" fmla="*/ 729397 w 733006"/>
              <a:gd name="csY69" fmla="*/ 2030261 h 2092038"/>
              <a:gd name="csX70" fmla="*/ 714212 w 733006"/>
              <a:gd name="csY70" fmla="*/ 2059069 h 2092038"/>
              <a:gd name="csX71" fmla="*/ 96263 w 733006"/>
              <a:gd name="csY71" fmla="*/ 2076207 h 2092038"/>
              <a:gd name="csX72" fmla="*/ 489970 w 733006"/>
              <a:gd name="csY72" fmla="*/ 152208 h 2092038"/>
              <a:gd name="csX73" fmla="*/ 490754 w 733006"/>
              <a:gd name="csY73" fmla="*/ 152592 h 2092038"/>
              <a:gd name="csX74" fmla="*/ 489489 w 733006"/>
              <a:gd name="csY74" fmla="*/ 149547 h 2092038"/>
              <a:gd name="csX75" fmla="*/ 393621 w 733006"/>
              <a:gd name="csY75" fmla="*/ 99259 h 2092038"/>
              <a:gd name="csX76" fmla="*/ 390419 w 733006"/>
              <a:gd name="csY76" fmla="*/ 18568 h 2092038"/>
              <a:gd name="csX77" fmla="*/ 334131 w 733006"/>
              <a:gd name="csY77" fmla="*/ 24327 h 2092038"/>
              <a:gd name="csX78" fmla="*/ 344678 w 733006"/>
              <a:gd name="csY78" fmla="*/ 101259 h 2092038"/>
              <a:gd name="csX79" fmla="*/ 298854 w 733006"/>
              <a:gd name="csY79" fmla="*/ 114003 h 2092038"/>
              <a:gd name="csX80" fmla="*/ 237456 w 733006"/>
              <a:gd name="csY80" fmla="*/ 154340 h 2092038"/>
              <a:gd name="csX81" fmla="*/ 240382 w 733006"/>
              <a:gd name="csY81" fmla="*/ 154035 h 2092038"/>
              <a:gd name="csX82" fmla="*/ 262731 w 733006"/>
              <a:gd name="csY82" fmla="*/ 170426 h 2092038"/>
              <a:gd name="csX83" fmla="*/ 279169 w 733006"/>
              <a:gd name="csY83" fmla="*/ 193173 h 2092038"/>
              <a:gd name="csX84" fmla="*/ 327717 w 733006"/>
              <a:gd name="csY84" fmla="*/ 188556 h 2092038"/>
              <a:gd name="csX85" fmla="*/ 348052 w 733006"/>
              <a:gd name="csY85" fmla="*/ 156919 h 2092038"/>
              <a:gd name="csX86" fmla="*/ 380330 w 733006"/>
              <a:gd name="csY86" fmla="*/ 156483 h 2092038"/>
              <a:gd name="csX87" fmla="*/ 408490 w 733006"/>
              <a:gd name="csY87" fmla="*/ 195400 h 2092038"/>
              <a:gd name="csX88" fmla="*/ 445346 w 733006"/>
              <a:gd name="csY88" fmla="*/ 197582 h 2092038"/>
              <a:gd name="csX89" fmla="*/ 464798 w 733006"/>
              <a:gd name="csY89" fmla="*/ 174107 h 2092038"/>
              <a:gd name="csX90" fmla="*/ 489970 w 733006"/>
              <a:gd name="csY90" fmla="*/ 152208 h 2092038"/>
              <a:gd name="csX91" fmla="*/ 140694 w 733006"/>
              <a:gd name="csY91" fmla="*/ 201837 h 2092038"/>
              <a:gd name="csX92" fmla="*/ 139834 w 733006"/>
              <a:gd name="csY92" fmla="*/ 201482 h 2092038"/>
              <a:gd name="csX93" fmla="*/ 140812 w 733006"/>
              <a:gd name="csY93" fmla="*/ 204941 h 2092038"/>
              <a:gd name="csX94" fmla="*/ 144631 w 733006"/>
              <a:gd name="csY94" fmla="*/ 217811 h 2092038"/>
              <a:gd name="csX95" fmla="*/ 201241 w 733006"/>
              <a:gd name="csY95" fmla="*/ 373387 h 2092038"/>
              <a:gd name="csX96" fmla="*/ 235971 w 733006"/>
              <a:gd name="csY96" fmla="*/ 504451 h 2092038"/>
              <a:gd name="csX97" fmla="*/ 247475 w 733006"/>
              <a:gd name="csY97" fmla="*/ 513241 h 2092038"/>
              <a:gd name="csX98" fmla="*/ 289066 w 733006"/>
              <a:gd name="csY98" fmla="*/ 511170 h 2092038"/>
              <a:gd name="csX99" fmla="*/ 378229 w 733006"/>
              <a:gd name="csY99" fmla="*/ 511084 h 2092038"/>
              <a:gd name="csX100" fmla="*/ 470850 w 733006"/>
              <a:gd name="csY100" fmla="*/ 516341 h 2092038"/>
              <a:gd name="csX101" fmla="*/ 492933 w 733006"/>
              <a:gd name="csY101" fmla="*/ 497969 h 2092038"/>
              <a:gd name="csX102" fmla="*/ 557617 w 733006"/>
              <a:gd name="csY102" fmla="*/ 280398 h 2092038"/>
              <a:gd name="csX103" fmla="*/ 588788 w 733006"/>
              <a:gd name="csY103" fmla="*/ 200385 h 2092038"/>
              <a:gd name="csX104" fmla="*/ 530958 w 733006"/>
              <a:gd name="csY104" fmla="*/ 232968 h 2092038"/>
              <a:gd name="csX105" fmla="*/ 483823 w 733006"/>
              <a:gd name="csY105" fmla="*/ 190364 h 2092038"/>
              <a:gd name="csX106" fmla="*/ 466649 w 733006"/>
              <a:gd name="csY106" fmla="*/ 209061 h 2092038"/>
              <a:gd name="csX107" fmla="*/ 399941 w 733006"/>
              <a:gd name="csY107" fmla="*/ 216988 h 2092038"/>
              <a:gd name="csX108" fmla="*/ 363018 w 733006"/>
              <a:gd name="csY108" fmla="*/ 179615 h 2092038"/>
              <a:gd name="csX109" fmla="*/ 308839 w 733006"/>
              <a:gd name="csY109" fmla="*/ 227846 h 2092038"/>
              <a:gd name="csX110" fmla="*/ 245077 w 733006"/>
              <a:gd name="csY110" fmla="*/ 192402 h 2092038"/>
              <a:gd name="csX111" fmla="*/ 242829 w 733006"/>
              <a:gd name="csY111" fmla="*/ 198815 h 2092038"/>
              <a:gd name="csX112" fmla="*/ 168452 w 733006"/>
              <a:gd name="csY112" fmla="*/ 219348 h 2092038"/>
              <a:gd name="csX113" fmla="*/ 140694 w 733006"/>
              <a:gd name="csY113" fmla="*/ 201837 h 2092038"/>
              <a:gd name="csX114" fmla="*/ 259999 w 733006"/>
              <a:gd name="csY114" fmla="*/ 966699 h 2092038"/>
              <a:gd name="csX115" fmla="*/ 257072 w 733006"/>
              <a:gd name="csY115" fmla="*/ 1070424 h 2092038"/>
              <a:gd name="csX116" fmla="*/ 251372 w 733006"/>
              <a:gd name="csY116" fmla="*/ 1157618 h 2092038"/>
              <a:gd name="csX117" fmla="*/ 232677 w 733006"/>
              <a:gd name="csY117" fmla="*/ 1320279 h 2092038"/>
              <a:gd name="csX118" fmla="*/ 209182 w 733006"/>
              <a:gd name="csY118" fmla="*/ 1468667 h 2092038"/>
              <a:gd name="csX119" fmla="*/ 175302 w 733006"/>
              <a:gd name="csY119" fmla="*/ 1616623 h 2092038"/>
              <a:gd name="csX120" fmla="*/ 182769 w 733006"/>
              <a:gd name="csY120" fmla="*/ 1629786 h 2092038"/>
              <a:gd name="csX121" fmla="*/ 212156 w 733006"/>
              <a:gd name="csY121" fmla="*/ 1632656 h 2092038"/>
              <a:gd name="csX122" fmla="*/ 351295 w 733006"/>
              <a:gd name="csY122" fmla="*/ 1632801 h 2092038"/>
              <a:gd name="csX123" fmla="*/ 376150 w 733006"/>
              <a:gd name="csY123" fmla="*/ 1608307 h 2092038"/>
              <a:gd name="csX124" fmla="*/ 373450 w 733006"/>
              <a:gd name="csY124" fmla="*/ 1457291 h 2092038"/>
              <a:gd name="csX125" fmla="*/ 370936 w 733006"/>
              <a:gd name="csY125" fmla="*/ 1342736 h 2092038"/>
              <a:gd name="csX126" fmla="*/ 368328 w 733006"/>
              <a:gd name="csY126" fmla="*/ 1203878 h 2092038"/>
              <a:gd name="csX127" fmla="*/ 367836 w 733006"/>
              <a:gd name="csY127" fmla="*/ 813478 h 2092038"/>
              <a:gd name="csX128" fmla="*/ 365240 w 733006"/>
              <a:gd name="csY128" fmla="*/ 773243 h 2092038"/>
              <a:gd name="csX129" fmla="*/ 353084 w 733006"/>
              <a:gd name="csY129" fmla="*/ 762083 h 2092038"/>
              <a:gd name="csX130" fmla="*/ 280966 w 733006"/>
              <a:gd name="csY130" fmla="*/ 759855 h 2092038"/>
              <a:gd name="csX131" fmla="*/ 259965 w 733006"/>
              <a:gd name="csY131" fmla="*/ 779553 h 2092038"/>
              <a:gd name="csX132" fmla="*/ 262341 w 733006"/>
              <a:gd name="csY132" fmla="*/ 856275 h 2092038"/>
              <a:gd name="csX133" fmla="*/ 259999 w 733006"/>
              <a:gd name="csY133" fmla="*/ 966699 h 2092038"/>
              <a:gd name="csX134" fmla="*/ 55556 w 733006"/>
              <a:gd name="csY134" fmla="*/ 1835827 h 2092038"/>
              <a:gd name="csX135" fmla="*/ 49393 w 733006"/>
              <a:gd name="csY135" fmla="*/ 1878155 h 2092038"/>
              <a:gd name="csX136" fmla="*/ 73949 w 733006"/>
              <a:gd name="csY136" fmla="*/ 1905781 h 2092038"/>
              <a:gd name="csX137" fmla="*/ 110073 w 733006"/>
              <a:gd name="csY137" fmla="*/ 1909068 h 2092038"/>
              <a:gd name="csX138" fmla="*/ 224745 w 733006"/>
              <a:gd name="csY138" fmla="*/ 1921652 h 2092038"/>
              <a:gd name="csX139" fmla="*/ 347327 w 733006"/>
              <a:gd name="csY139" fmla="*/ 1924778 h 2092038"/>
              <a:gd name="csX140" fmla="*/ 363345 w 733006"/>
              <a:gd name="csY140" fmla="*/ 1923293 h 2092038"/>
              <a:gd name="csX141" fmla="*/ 373787 w 733006"/>
              <a:gd name="csY141" fmla="*/ 1911200 h 2092038"/>
              <a:gd name="csX142" fmla="*/ 376623 w 733006"/>
              <a:gd name="csY142" fmla="*/ 1696741 h 2092038"/>
              <a:gd name="csX143" fmla="*/ 360437 w 733006"/>
              <a:gd name="csY143" fmla="*/ 1681289 h 2092038"/>
              <a:gd name="csX144" fmla="*/ 263503 w 733006"/>
              <a:gd name="csY144" fmla="*/ 1678179 h 2092038"/>
              <a:gd name="csX145" fmla="*/ 160381 w 733006"/>
              <a:gd name="csY145" fmla="*/ 1670405 h 2092038"/>
              <a:gd name="csX146" fmla="*/ 143321 w 733006"/>
              <a:gd name="csY146" fmla="*/ 1685538 h 2092038"/>
              <a:gd name="csX147" fmla="*/ 124769 w 733006"/>
              <a:gd name="csY147" fmla="*/ 1738195 h 2092038"/>
              <a:gd name="csX148" fmla="*/ 90593 w 733006"/>
              <a:gd name="csY148" fmla="*/ 1779570 h 2092038"/>
              <a:gd name="csX149" fmla="*/ 55556 w 733006"/>
              <a:gd name="csY149" fmla="*/ 1835827 h 2092038"/>
              <a:gd name="csX150" fmla="*/ 378900 w 733006"/>
              <a:gd name="csY150" fmla="*/ 2007280 h 2092038"/>
              <a:gd name="csX151" fmla="*/ 378887 w 733006"/>
              <a:gd name="csY151" fmla="*/ 1995127 h 2092038"/>
              <a:gd name="csX152" fmla="*/ 359084 w 733006"/>
              <a:gd name="csY152" fmla="*/ 1975964 h 2092038"/>
              <a:gd name="csX153" fmla="*/ 247288 w 733006"/>
              <a:gd name="csY153" fmla="*/ 1973305 h 2092038"/>
              <a:gd name="csX154" fmla="*/ 201692 w 733006"/>
              <a:gd name="csY154" fmla="*/ 1970275 h 2092038"/>
              <a:gd name="csX155" fmla="*/ 57962 w 733006"/>
              <a:gd name="csY155" fmla="*/ 1952648 h 2092038"/>
              <a:gd name="csX156" fmla="*/ 39194 w 733006"/>
              <a:gd name="csY156" fmla="*/ 1963552 h 2092038"/>
              <a:gd name="csX157" fmla="*/ 30066 w 733006"/>
              <a:gd name="csY157" fmla="*/ 2006631 h 2092038"/>
              <a:gd name="csX158" fmla="*/ 40232 w 733006"/>
              <a:gd name="csY158" fmla="*/ 2019486 h 2092038"/>
              <a:gd name="csX159" fmla="*/ 238186 w 733006"/>
              <a:gd name="csY159" fmla="*/ 2046096 h 2092038"/>
              <a:gd name="csX160" fmla="*/ 342155 w 733006"/>
              <a:gd name="csY160" fmla="*/ 2046441 h 2092038"/>
              <a:gd name="csX161" fmla="*/ 378900 w 733006"/>
              <a:gd name="csY161" fmla="*/ 2007280 h 2092038"/>
              <a:gd name="csX162" fmla="*/ 310220 w 733006"/>
              <a:gd name="csY162" fmla="*/ 554288 h 2092038"/>
              <a:gd name="csX163" fmla="*/ 259136 w 733006"/>
              <a:gd name="csY163" fmla="*/ 556881 h 2092038"/>
              <a:gd name="csX164" fmla="*/ 249085 w 733006"/>
              <a:gd name="csY164" fmla="*/ 567981 h 2092038"/>
              <a:gd name="csX165" fmla="*/ 249141 w 733006"/>
              <a:gd name="csY165" fmla="*/ 605644 h 2092038"/>
              <a:gd name="csX166" fmla="*/ 262628 w 733006"/>
              <a:gd name="csY166" fmla="*/ 605627 h 2092038"/>
              <a:gd name="csX167" fmla="*/ 369608 w 733006"/>
              <a:gd name="csY167" fmla="*/ 603027 h 2092038"/>
              <a:gd name="csX168" fmla="*/ 463931 w 733006"/>
              <a:gd name="csY168" fmla="*/ 605146 h 2092038"/>
              <a:gd name="csX169" fmla="*/ 478113 w 733006"/>
              <a:gd name="csY169" fmla="*/ 595843 h 2092038"/>
              <a:gd name="csX170" fmla="*/ 478796 w 733006"/>
              <a:gd name="csY170" fmla="*/ 556832 h 2092038"/>
              <a:gd name="csX171" fmla="*/ 310220 w 733006"/>
              <a:gd name="csY171" fmla="*/ 554288 h 2092038"/>
              <a:gd name="csX172" fmla="*/ 348836 w 733006"/>
              <a:gd name="csY172" fmla="*/ 684115 h 2092038"/>
              <a:gd name="csX173" fmla="*/ 281333 w 733006"/>
              <a:gd name="csY173" fmla="*/ 683313 h 2092038"/>
              <a:gd name="csX174" fmla="*/ 212728 w 733006"/>
              <a:gd name="csY174" fmla="*/ 681931 h 2092038"/>
              <a:gd name="csX175" fmla="*/ 187283 w 733006"/>
              <a:gd name="csY175" fmla="*/ 689555 h 2092038"/>
              <a:gd name="csX176" fmla="*/ 186163 w 733006"/>
              <a:gd name="csY176" fmla="*/ 718266 h 2092038"/>
              <a:gd name="csX177" fmla="*/ 209894 w 733006"/>
              <a:gd name="csY177" fmla="*/ 726798 h 2092038"/>
              <a:gd name="csX178" fmla="*/ 334814 w 733006"/>
              <a:gd name="csY178" fmla="*/ 732494 h 2092038"/>
              <a:gd name="csX179" fmla="*/ 364856 w 733006"/>
              <a:gd name="csY179" fmla="*/ 707963 h 2092038"/>
              <a:gd name="csX180" fmla="*/ 348836 w 733006"/>
              <a:gd name="csY180" fmla="*/ 684115 h 2092038"/>
              <a:gd name="csX181" fmla="*/ 298865 w 733006"/>
              <a:gd name="csY181" fmla="*/ 621954 h 2092038"/>
              <a:gd name="csX182" fmla="*/ 251619 w 733006"/>
              <a:gd name="csY182" fmla="*/ 622133 h 2092038"/>
              <a:gd name="csX183" fmla="*/ 214459 w 733006"/>
              <a:gd name="csY183" fmla="*/ 636230 h 2092038"/>
              <a:gd name="csX184" fmla="*/ 221436 w 733006"/>
              <a:gd name="csY184" fmla="*/ 654205 h 2092038"/>
              <a:gd name="csX185" fmla="*/ 272412 w 733006"/>
              <a:gd name="csY185" fmla="*/ 657250 h 2092038"/>
              <a:gd name="csX186" fmla="*/ 349094 w 733006"/>
              <a:gd name="csY186" fmla="*/ 659282 h 2092038"/>
              <a:gd name="csX187" fmla="*/ 362996 w 733006"/>
              <a:gd name="csY187" fmla="*/ 644234 h 2092038"/>
              <a:gd name="csX188" fmla="*/ 348472 w 733006"/>
              <a:gd name="csY188" fmla="*/ 624649 h 2092038"/>
              <a:gd name="csX189" fmla="*/ 298865 w 733006"/>
              <a:gd name="csY189" fmla="*/ 621954 h 2092038"/>
              <a:gd name="csX190" fmla="*/ 227796 w 733006"/>
              <a:gd name="csY190" fmla="*/ 528000 h 2092038"/>
              <a:gd name="csX191" fmla="*/ 241009 w 733006"/>
              <a:gd name="csY191" fmla="*/ 545897 h 2092038"/>
              <a:gd name="csX192" fmla="*/ 282607 w 733006"/>
              <a:gd name="csY192" fmla="*/ 543480 h 2092038"/>
              <a:gd name="csX193" fmla="*/ 354213 w 733006"/>
              <a:gd name="csY193" fmla="*/ 543384 h 2092038"/>
              <a:gd name="csX194" fmla="*/ 365334 w 733006"/>
              <a:gd name="csY194" fmla="*/ 533397 h 2092038"/>
              <a:gd name="csX195" fmla="*/ 354531 w 733006"/>
              <a:gd name="csY195" fmla="*/ 521620 h 2092038"/>
              <a:gd name="csX196" fmla="*/ 259169 w 733006"/>
              <a:gd name="csY196" fmla="*/ 521978 h 2092038"/>
              <a:gd name="csX197" fmla="*/ 227796 w 733006"/>
              <a:gd name="csY197" fmla="*/ 528000 h 2092038"/>
              <a:gd name="csX198" fmla="*/ 508068 w 733006"/>
              <a:gd name="csY198" fmla="*/ 190710 h 2092038"/>
              <a:gd name="csX199" fmla="*/ 521293 w 733006"/>
              <a:gd name="csY199" fmla="*/ 205907 h 2092038"/>
              <a:gd name="csX200" fmla="*/ 525175 w 733006"/>
              <a:gd name="csY200" fmla="*/ 202985 h 2092038"/>
              <a:gd name="csX201" fmla="*/ 500276 w 733006"/>
              <a:gd name="csY201" fmla="*/ 160640 h 2092038"/>
              <a:gd name="csX202" fmla="*/ 497122 w 733006"/>
              <a:gd name="csY202" fmla="*/ 162007 h 2092038"/>
              <a:gd name="csX203" fmla="*/ 508068 w 733006"/>
              <a:gd name="csY203" fmla="*/ 190710 h 2092038"/>
              <a:gd name="csX204" fmla="*/ 215522 w 733006"/>
              <a:gd name="csY204" fmla="*/ 197296 h 2092038"/>
              <a:gd name="csX205" fmla="*/ 234029 w 733006"/>
              <a:gd name="csY205" fmla="*/ 162725 h 2092038"/>
              <a:gd name="csX206" fmla="*/ 229000 w 733006"/>
              <a:gd name="csY206" fmla="*/ 159902 h 2092038"/>
              <a:gd name="csX207" fmla="*/ 204824 w 733006"/>
              <a:gd name="csY207" fmla="*/ 199677 h 2092038"/>
              <a:gd name="csX208" fmla="*/ 207990 w 733006"/>
              <a:gd name="csY208" fmla="*/ 202198 h 2092038"/>
              <a:gd name="csX209" fmla="*/ 215522 w 733006"/>
              <a:gd name="csY209" fmla="*/ 197296 h 2092038"/>
              <a:gd name="csX210" fmla="*/ 484400 w 733006"/>
              <a:gd name="csY210" fmla="*/ 896678 h 2092038"/>
              <a:gd name="csX211" fmla="*/ 486181 w 733006"/>
              <a:gd name="csY211" fmla="*/ 896585 h 2092038"/>
              <a:gd name="csX212" fmla="*/ 486181 w 733006"/>
              <a:gd name="csY212" fmla="*/ 795289 h 2092038"/>
              <a:gd name="csX0" fmla="*/ 96263 w 733006"/>
              <a:gd name="csY0" fmla="*/ 2076207 h 2092038"/>
              <a:gd name="csX1" fmla="*/ 63862 w 733006"/>
              <a:gd name="csY1" fmla="*/ 2065388 h 2092038"/>
              <a:gd name="csX2" fmla="*/ 16555 w 733006"/>
              <a:gd name="csY2" fmla="*/ 2050152 h 2092038"/>
              <a:gd name="csX3" fmla="*/ 15 w 733006"/>
              <a:gd name="csY3" fmla="*/ 2023802 h 2092038"/>
              <a:gd name="csX4" fmla="*/ 18368 w 733006"/>
              <a:gd name="csY4" fmla="*/ 1940709 h 2092038"/>
              <a:gd name="csX5" fmla="*/ 22139 w 733006"/>
              <a:gd name="csY5" fmla="*/ 1907268 h 2092038"/>
              <a:gd name="csX6" fmla="*/ 57941 w 733006"/>
              <a:gd name="csY6" fmla="*/ 1774163 h 2092038"/>
              <a:gd name="csX7" fmla="*/ 102478 w 733006"/>
              <a:gd name="csY7" fmla="*/ 1720275 h 2092038"/>
              <a:gd name="csX8" fmla="*/ 108579 w 733006"/>
              <a:gd name="csY8" fmla="*/ 1650967 h 2092038"/>
              <a:gd name="csX9" fmla="*/ 115628 w 733006"/>
              <a:gd name="csY9" fmla="*/ 1625405 h 2092038"/>
              <a:gd name="csX10" fmla="*/ 156323 w 733006"/>
              <a:gd name="csY10" fmla="*/ 1560181 h 2092038"/>
              <a:gd name="csX11" fmla="*/ 199424 w 733006"/>
              <a:gd name="csY11" fmla="*/ 1364729 h 2092038"/>
              <a:gd name="csX12" fmla="*/ 216779 w 733006"/>
              <a:gd name="csY12" fmla="*/ 1219490 h 2092038"/>
              <a:gd name="csX13" fmla="*/ 229755 w 733006"/>
              <a:gd name="csY13" fmla="*/ 1099357 h 2092038"/>
              <a:gd name="csX14" fmla="*/ 232707 w 733006"/>
              <a:gd name="csY14" fmla="*/ 1056423 h 2092038"/>
              <a:gd name="csX15" fmla="*/ 235622 w 733006"/>
              <a:gd name="csY15" fmla="*/ 952675 h 2092038"/>
              <a:gd name="csX16" fmla="*/ 235445 w 733006"/>
              <a:gd name="csY16" fmla="*/ 780278 h 2092038"/>
              <a:gd name="csX17" fmla="*/ 214544 w 733006"/>
              <a:gd name="csY17" fmla="*/ 756435 h 2092038"/>
              <a:gd name="csX18" fmla="*/ 172569 w 733006"/>
              <a:gd name="csY18" fmla="*/ 742582 h 2092038"/>
              <a:gd name="csX19" fmla="*/ 168784 w 733006"/>
              <a:gd name="csY19" fmla="*/ 669116 h 2092038"/>
              <a:gd name="csX20" fmla="*/ 191657 w 733006"/>
              <a:gd name="csY20" fmla="*/ 630765 h 2092038"/>
              <a:gd name="csX21" fmla="*/ 208150 w 733006"/>
              <a:gd name="csY21" fmla="*/ 609084 h 2092038"/>
              <a:gd name="csX22" fmla="*/ 216756 w 733006"/>
              <a:gd name="csY22" fmla="*/ 558673 h 2092038"/>
              <a:gd name="csX23" fmla="*/ 209092 w 733006"/>
              <a:gd name="csY23" fmla="*/ 521540 h 2092038"/>
              <a:gd name="csX24" fmla="*/ 204683 w 733006"/>
              <a:gd name="csY24" fmla="*/ 474024 h 2092038"/>
              <a:gd name="csX25" fmla="*/ 115483 w 733006"/>
              <a:gd name="csY25" fmla="*/ 213499 h 2092038"/>
              <a:gd name="csX26" fmla="*/ 102909 w 733006"/>
              <a:gd name="csY26" fmla="*/ 182297 h 2092038"/>
              <a:gd name="csX27" fmla="*/ 104315 w 733006"/>
              <a:gd name="csY27" fmla="*/ 163968 h 2092038"/>
              <a:gd name="csX28" fmla="*/ 122444 w 733006"/>
              <a:gd name="csY28" fmla="*/ 160805 h 2092038"/>
              <a:gd name="csX29" fmla="*/ 170283 w 733006"/>
              <a:gd name="csY29" fmla="*/ 187783 h 2092038"/>
              <a:gd name="csX30" fmla="*/ 180938 w 733006"/>
              <a:gd name="csY30" fmla="*/ 195322 h 2092038"/>
              <a:gd name="csX31" fmla="*/ 221419 w 733006"/>
              <a:gd name="csY31" fmla="*/ 138058 h 2092038"/>
              <a:gd name="csX32" fmla="*/ 294099 w 733006"/>
              <a:gd name="csY32" fmla="*/ 91372 h 2092038"/>
              <a:gd name="csX33" fmla="*/ 302307 w 733006"/>
              <a:gd name="csY33" fmla="*/ 76560 h 2092038"/>
              <a:gd name="csX34" fmla="*/ 320284 w 733006"/>
              <a:gd name="csY34" fmla="*/ 8414 h 2092038"/>
              <a:gd name="csX35" fmla="*/ 324784 w 733006"/>
              <a:gd name="csY35" fmla="*/ 946 h 2092038"/>
              <a:gd name="csX36" fmla="*/ 399212 w 733006"/>
              <a:gd name="csY36" fmla="*/ 0 h 2092038"/>
              <a:gd name="csX37" fmla="*/ 425980 w 733006"/>
              <a:gd name="csY37" fmla="*/ 78301 h 2092038"/>
              <a:gd name="csX38" fmla="*/ 431861 w 733006"/>
              <a:gd name="csY38" fmla="*/ 90312 h 2092038"/>
              <a:gd name="csX39" fmla="*/ 540349 w 733006"/>
              <a:gd name="csY39" fmla="*/ 187946 h 2092038"/>
              <a:gd name="csX40" fmla="*/ 545555 w 733006"/>
              <a:gd name="csY40" fmla="*/ 197828 h 2092038"/>
              <a:gd name="csX41" fmla="*/ 587318 w 733006"/>
              <a:gd name="csY41" fmla="*/ 171260 h 2092038"/>
              <a:gd name="csX42" fmla="*/ 601503 w 733006"/>
              <a:gd name="csY42" fmla="*/ 163707 h 2092038"/>
              <a:gd name="csX43" fmla="*/ 625254 w 733006"/>
              <a:gd name="csY43" fmla="*/ 163123 h 2092038"/>
              <a:gd name="csX44" fmla="*/ 625468 w 733006"/>
              <a:gd name="csY44" fmla="*/ 187579 h 2092038"/>
              <a:gd name="csX45" fmla="*/ 597543 w 733006"/>
              <a:gd name="csY45" fmla="*/ 251872 h 2092038"/>
              <a:gd name="csX46" fmla="*/ 531831 w 733006"/>
              <a:gd name="csY46" fmla="*/ 442689 h 2092038"/>
              <a:gd name="csX47" fmla="*/ 519888 w 733006"/>
              <a:gd name="csY47" fmla="*/ 501474 h 2092038"/>
              <a:gd name="csX48" fmla="*/ 522506 w 733006"/>
              <a:gd name="csY48" fmla="*/ 525086 h 2092038"/>
              <a:gd name="csX49" fmla="*/ 516235 w 733006"/>
              <a:gd name="csY49" fmla="*/ 555946 h 2092038"/>
              <a:gd name="csX50" fmla="*/ 521332 w 733006"/>
              <a:gd name="csY50" fmla="*/ 610676 h 2092038"/>
              <a:gd name="csX51" fmla="*/ 541382 w 733006"/>
              <a:gd name="csY51" fmla="*/ 642597 h 2092038"/>
              <a:gd name="csX52" fmla="*/ 557031 w 733006"/>
              <a:gd name="csY52" fmla="*/ 667949 h 2092038"/>
              <a:gd name="csX53" fmla="*/ 553994 w 733006"/>
              <a:gd name="csY53" fmla="*/ 744146 h 2092038"/>
              <a:gd name="csX54" fmla="*/ 508215 w 733006"/>
              <a:gd name="csY54" fmla="*/ 758841 h 2092038"/>
              <a:gd name="csX55" fmla="*/ 497442 w 733006"/>
              <a:gd name="csY55" fmla="*/ 771256 h 2092038"/>
              <a:gd name="csX56" fmla="*/ 493005 w 733006"/>
              <a:gd name="csY56" fmla="*/ 922055 h 2092038"/>
              <a:gd name="csX57" fmla="*/ 502900 w 733006"/>
              <a:gd name="csY57" fmla="*/ 1114191 h 2092038"/>
              <a:gd name="csX58" fmla="*/ 508800 w 733006"/>
              <a:gd name="csY58" fmla="*/ 1205474 h 2092038"/>
              <a:gd name="csX59" fmla="*/ 522952 w 733006"/>
              <a:gd name="csY59" fmla="*/ 1320065 h 2092038"/>
              <a:gd name="csX60" fmla="*/ 554682 w 733006"/>
              <a:gd name="csY60" fmla="*/ 1501203 h 2092038"/>
              <a:gd name="csX61" fmla="*/ 576958 w 733006"/>
              <a:gd name="csY61" fmla="*/ 1593963 h 2092038"/>
              <a:gd name="csX62" fmla="*/ 595349 w 733006"/>
              <a:gd name="csY62" fmla="*/ 1613498 h 2092038"/>
              <a:gd name="csX63" fmla="*/ 613936 w 733006"/>
              <a:gd name="csY63" fmla="*/ 1624058 h 2092038"/>
              <a:gd name="csX64" fmla="*/ 620938 w 733006"/>
              <a:gd name="csY64" fmla="*/ 1652071 h 2092038"/>
              <a:gd name="csX65" fmla="*/ 630805 w 733006"/>
              <a:gd name="csY65" fmla="*/ 1721702 h 2092038"/>
              <a:gd name="csX66" fmla="*/ 685830 w 733006"/>
              <a:gd name="csY66" fmla="*/ 1792915 h 2092038"/>
              <a:gd name="csX67" fmla="*/ 708904 w 733006"/>
              <a:gd name="csY67" fmla="*/ 1890290 h 2092038"/>
              <a:gd name="csX68" fmla="*/ 716580 w 733006"/>
              <a:gd name="csY68" fmla="*/ 1951136 h 2092038"/>
              <a:gd name="csX69" fmla="*/ 729397 w 733006"/>
              <a:gd name="csY69" fmla="*/ 2030261 h 2092038"/>
              <a:gd name="csX70" fmla="*/ 714212 w 733006"/>
              <a:gd name="csY70" fmla="*/ 2059069 h 2092038"/>
              <a:gd name="csX71" fmla="*/ 96263 w 733006"/>
              <a:gd name="csY71" fmla="*/ 2076207 h 2092038"/>
              <a:gd name="csX72" fmla="*/ 489970 w 733006"/>
              <a:gd name="csY72" fmla="*/ 152208 h 2092038"/>
              <a:gd name="csX73" fmla="*/ 490754 w 733006"/>
              <a:gd name="csY73" fmla="*/ 152592 h 2092038"/>
              <a:gd name="csX74" fmla="*/ 489489 w 733006"/>
              <a:gd name="csY74" fmla="*/ 149547 h 2092038"/>
              <a:gd name="csX75" fmla="*/ 393621 w 733006"/>
              <a:gd name="csY75" fmla="*/ 99259 h 2092038"/>
              <a:gd name="csX76" fmla="*/ 390419 w 733006"/>
              <a:gd name="csY76" fmla="*/ 18568 h 2092038"/>
              <a:gd name="csX77" fmla="*/ 334131 w 733006"/>
              <a:gd name="csY77" fmla="*/ 24327 h 2092038"/>
              <a:gd name="csX78" fmla="*/ 344678 w 733006"/>
              <a:gd name="csY78" fmla="*/ 101259 h 2092038"/>
              <a:gd name="csX79" fmla="*/ 298854 w 733006"/>
              <a:gd name="csY79" fmla="*/ 114003 h 2092038"/>
              <a:gd name="csX80" fmla="*/ 237456 w 733006"/>
              <a:gd name="csY80" fmla="*/ 154340 h 2092038"/>
              <a:gd name="csX81" fmla="*/ 240382 w 733006"/>
              <a:gd name="csY81" fmla="*/ 154035 h 2092038"/>
              <a:gd name="csX82" fmla="*/ 262731 w 733006"/>
              <a:gd name="csY82" fmla="*/ 170426 h 2092038"/>
              <a:gd name="csX83" fmla="*/ 279169 w 733006"/>
              <a:gd name="csY83" fmla="*/ 193173 h 2092038"/>
              <a:gd name="csX84" fmla="*/ 327717 w 733006"/>
              <a:gd name="csY84" fmla="*/ 188556 h 2092038"/>
              <a:gd name="csX85" fmla="*/ 348052 w 733006"/>
              <a:gd name="csY85" fmla="*/ 156919 h 2092038"/>
              <a:gd name="csX86" fmla="*/ 380330 w 733006"/>
              <a:gd name="csY86" fmla="*/ 156483 h 2092038"/>
              <a:gd name="csX87" fmla="*/ 408490 w 733006"/>
              <a:gd name="csY87" fmla="*/ 195400 h 2092038"/>
              <a:gd name="csX88" fmla="*/ 445346 w 733006"/>
              <a:gd name="csY88" fmla="*/ 197582 h 2092038"/>
              <a:gd name="csX89" fmla="*/ 464798 w 733006"/>
              <a:gd name="csY89" fmla="*/ 174107 h 2092038"/>
              <a:gd name="csX90" fmla="*/ 489970 w 733006"/>
              <a:gd name="csY90" fmla="*/ 152208 h 2092038"/>
              <a:gd name="csX91" fmla="*/ 140694 w 733006"/>
              <a:gd name="csY91" fmla="*/ 201837 h 2092038"/>
              <a:gd name="csX92" fmla="*/ 139834 w 733006"/>
              <a:gd name="csY92" fmla="*/ 201482 h 2092038"/>
              <a:gd name="csX93" fmla="*/ 140812 w 733006"/>
              <a:gd name="csY93" fmla="*/ 204941 h 2092038"/>
              <a:gd name="csX94" fmla="*/ 144631 w 733006"/>
              <a:gd name="csY94" fmla="*/ 217811 h 2092038"/>
              <a:gd name="csX95" fmla="*/ 201241 w 733006"/>
              <a:gd name="csY95" fmla="*/ 373387 h 2092038"/>
              <a:gd name="csX96" fmla="*/ 235971 w 733006"/>
              <a:gd name="csY96" fmla="*/ 504451 h 2092038"/>
              <a:gd name="csX97" fmla="*/ 247475 w 733006"/>
              <a:gd name="csY97" fmla="*/ 513241 h 2092038"/>
              <a:gd name="csX98" fmla="*/ 289066 w 733006"/>
              <a:gd name="csY98" fmla="*/ 511170 h 2092038"/>
              <a:gd name="csX99" fmla="*/ 378229 w 733006"/>
              <a:gd name="csY99" fmla="*/ 511084 h 2092038"/>
              <a:gd name="csX100" fmla="*/ 470850 w 733006"/>
              <a:gd name="csY100" fmla="*/ 516341 h 2092038"/>
              <a:gd name="csX101" fmla="*/ 492933 w 733006"/>
              <a:gd name="csY101" fmla="*/ 497969 h 2092038"/>
              <a:gd name="csX102" fmla="*/ 557617 w 733006"/>
              <a:gd name="csY102" fmla="*/ 280398 h 2092038"/>
              <a:gd name="csX103" fmla="*/ 588788 w 733006"/>
              <a:gd name="csY103" fmla="*/ 200385 h 2092038"/>
              <a:gd name="csX104" fmla="*/ 530958 w 733006"/>
              <a:gd name="csY104" fmla="*/ 232968 h 2092038"/>
              <a:gd name="csX105" fmla="*/ 483823 w 733006"/>
              <a:gd name="csY105" fmla="*/ 190364 h 2092038"/>
              <a:gd name="csX106" fmla="*/ 466649 w 733006"/>
              <a:gd name="csY106" fmla="*/ 209061 h 2092038"/>
              <a:gd name="csX107" fmla="*/ 399941 w 733006"/>
              <a:gd name="csY107" fmla="*/ 216988 h 2092038"/>
              <a:gd name="csX108" fmla="*/ 363018 w 733006"/>
              <a:gd name="csY108" fmla="*/ 179615 h 2092038"/>
              <a:gd name="csX109" fmla="*/ 308839 w 733006"/>
              <a:gd name="csY109" fmla="*/ 227846 h 2092038"/>
              <a:gd name="csX110" fmla="*/ 245077 w 733006"/>
              <a:gd name="csY110" fmla="*/ 192402 h 2092038"/>
              <a:gd name="csX111" fmla="*/ 242829 w 733006"/>
              <a:gd name="csY111" fmla="*/ 198815 h 2092038"/>
              <a:gd name="csX112" fmla="*/ 168452 w 733006"/>
              <a:gd name="csY112" fmla="*/ 219348 h 2092038"/>
              <a:gd name="csX113" fmla="*/ 140694 w 733006"/>
              <a:gd name="csY113" fmla="*/ 201837 h 2092038"/>
              <a:gd name="csX114" fmla="*/ 259999 w 733006"/>
              <a:gd name="csY114" fmla="*/ 966699 h 2092038"/>
              <a:gd name="csX115" fmla="*/ 257072 w 733006"/>
              <a:gd name="csY115" fmla="*/ 1070424 h 2092038"/>
              <a:gd name="csX116" fmla="*/ 251372 w 733006"/>
              <a:gd name="csY116" fmla="*/ 1157618 h 2092038"/>
              <a:gd name="csX117" fmla="*/ 232677 w 733006"/>
              <a:gd name="csY117" fmla="*/ 1320279 h 2092038"/>
              <a:gd name="csX118" fmla="*/ 209182 w 733006"/>
              <a:gd name="csY118" fmla="*/ 1468667 h 2092038"/>
              <a:gd name="csX119" fmla="*/ 175302 w 733006"/>
              <a:gd name="csY119" fmla="*/ 1616623 h 2092038"/>
              <a:gd name="csX120" fmla="*/ 182769 w 733006"/>
              <a:gd name="csY120" fmla="*/ 1629786 h 2092038"/>
              <a:gd name="csX121" fmla="*/ 212156 w 733006"/>
              <a:gd name="csY121" fmla="*/ 1632656 h 2092038"/>
              <a:gd name="csX122" fmla="*/ 351295 w 733006"/>
              <a:gd name="csY122" fmla="*/ 1632801 h 2092038"/>
              <a:gd name="csX123" fmla="*/ 376150 w 733006"/>
              <a:gd name="csY123" fmla="*/ 1608307 h 2092038"/>
              <a:gd name="csX124" fmla="*/ 373450 w 733006"/>
              <a:gd name="csY124" fmla="*/ 1457291 h 2092038"/>
              <a:gd name="csX125" fmla="*/ 370936 w 733006"/>
              <a:gd name="csY125" fmla="*/ 1342736 h 2092038"/>
              <a:gd name="csX126" fmla="*/ 368328 w 733006"/>
              <a:gd name="csY126" fmla="*/ 1203878 h 2092038"/>
              <a:gd name="csX127" fmla="*/ 367836 w 733006"/>
              <a:gd name="csY127" fmla="*/ 813478 h 2092038"/>
              <a:gd name="csX128" fmla="*/ 365240 w 733006"/>
              <a:gd name="csY128" fmla="*/ 773243 h 2092038"/>
              <a:gd name="csX129" fmla="*/ 353084 w 733006"/>
              <a:gd name="csY129" fmla="*/ 762083 h 2092038"/>
              <a:gd name="csX130" fmla="*/ 280966 w 733006"/>
              <a:gd name="csY130" fmla="*/ 759855 h 2092038"/>
              <a:gd name="csX131" fmla="*/ 259965 w 733006"/>
              <a:gd name="csY131" fmla="*/ 779553 h 2092038"/>
              <a:gd name="csX132" fmla="*/ 262341 w 733006"/>
              <a:gd name="csY132" fmla="*/ 856275 h 2092038"/>
              <a:gd name="csX133" fmla="*/ 259999 w 733006"/>
              <a:gd name="csY133" fmla="*/ 966699 h 2092038"/>
              <a:gd name="csX134" fmla="*/ 55556 w 733006"/>
              <a:gd name="csY134" fmla="*/ 1835827 h 2092038"/>
              <a:gd name="csX135" fmla="*/ 49393 w 733006"/>
              <a:gd name="csY135" fmla="*/ 1878155 h 2092038"/>
              <a:gd name="csX136" fmla="*/ 73949 w 733006"/>
              <a:gd name="csY136" fmla="*/ 1905781 h 2092038"/>
              <a:gd name="csX137" fmla="*/ 110073 w 733006"/>
              <a:gd name="csY137" fmla="*/ 1909068 h 2092038"/>
              <a:gd name="csX138" fmla="*/ 224745 w 733006"/>
              <a:gd name="csY138" fmla="*/ 1921652 h 2092038"/>
              <a:gd name="csX139" fmla="*/ 347327 w 733006"/>
              <a:gd name="csY139" fmla="*/ 1924778 h 2092038"/>
              <a:gd name="csX140" fmla="*/ 363345 w 733006"/>
              <a:gd name="csY140" fmla="*/ 1923293 h 2092038"/>
              <a:gd name="csX141" fmla="*/ 373787 w 733006"/>
              <a:gd name="csY141" fmla="*/ 1911200 h 2092038"/>
              <a:gd name="csX142" fmla="*/ 376623 w 733006"/>
              <a:gd name="csY142" fmla="*/ 1696741 h 2092038"/>
              <a:gd name="csX143" fmla="*/ 360437 w 733006"/>
              <a:gd name="csY143" fmla="*/ 1681289 h 2092038"/>
              <a:gd name="csX144" fmla="*/ 263503 w 733006"/>
              <a:gd name="csY144" fmla="*/ 1678179 h 2092038"/>
              <a:gd name="csX145" fmla="*/ 160381 w 733006"/>
              <a:gd name="csY145" fmla="*/ 1670405 h 2092038"/>
              <a:gd name="csX146" fmla="*/ 143321 w 733006"/>
              <a:gd name="csY146" fmla="*/ 1685538 h 2092038"/>
              <a:gd name="csX147" fmla="*/ 124769 w 733006"/>
              <a:gd name="csY147" fmla="*/ 1738195 h 2092038"/>
              <a:gd name="csX148" fmla="*/ 90593 w 733006"/>
              <a:gd name="csY148" fmla="*/ 1779570 h 2092038"/>
              <a:gd name="csX149" fmla="*/ 55556 w 733006"/>
              <a:gd name="csY149" fmla="*/ 1835827 h 2092038"/>
              <a:gd name="csX150" fmla="*/ 378900 w 733006"/>
              <a:gd name="csY150" fmla="*/ 2007280 h 2092038"/>
              <a:gd name="csX151" fmla="*/ 378887 w 733006"/>
              <a:gd name="csY151" fmla="*/ 1995127 h 2092038"/>
              <a:gd name="csX152" fmla="*/ 359084 w 733006"/>
              <a:gd name="csY152" fmla="*/ 1975964 h 2092038"/>
              <a:gd name="csX153" fmla="*/ 247288 w 733006"/>
              <a:gd name="csY153" fmla="*/ 1973305 h 2092038"/>
              <a:gd name="csX154" fmla="*/ 201692 w 733006"/>
              <a:gd name="csY154" fmla="*/ 1970275 h 2092038"/>
              <a:gd name="csX155" fmla="*/ 57962 w 733006"/>
              <a:gd name="csY155" fmla="*/ 1952648 h 2092038"/>
              <a:gd name="csX156" fmla="*/ 39194 w 733006"/>
              <a:gd name="csY156" fmla="*/ 1963552 h 2092038"/>
              <a:gd name="csX157" fmla="*/ 30066 w 733006"/>
              <a:gd name="csY157" fmla="*/ 2006631 h 2092038"/>
              <a:gd name="csX158" fmla="*/ 40232 w 733006"/>
              <a:gd name="csY158" fmla="*/ 2019486 h 2092038"/>
              <a:gd name="csX159" fmla="*/ 238186 w 733006"/>
              <a:gd name="csY159" fmla="*/ 2046096 h 2092038"/>
              <a:gd name="csX160" fmla="*/ 342155 w 733006"/>
              <a:gd name="csY160" fmla="*/ 2046441 h 2092038"/>
              <a:gd name="csX161" fmla="*/ 378900 w 733006"/>
              <a:gd name="csY161" fmla="*/ 2007280 h 2092038"/>
              <a:gd name="csX162" fmla="*/ 310220 w 733006"/>
              <a:gd name="csY162" fmla="*/ 554288 h 2092038"/>
              <a:gd name="csX163" fmla="*/ 259136 w 733006"/>
              <a:gd name="csY163" fmla="*/ 556881 h 2092038"/>
              <a:gd name="csX164" fmla="*/ 249085 w 733006"/>
              <a:gd name="csY164" fmla="*/ 567981 h 2092038"/>
              <a:gd name="csX165" fmla="*/ 249141 w 733006"/>
              <a:gd name="csY165" fmla="*/ 605644 h 2092038"/>
              <a:gd name="csX166" fmla="*/ 262628 w 733006"/>
              <a:gd name="csY166" fmla="*/ 605627 h 2092038"/>
              <a:gd name="csX167" fmla="*/ 369608 w 733006"/>
              <a:gd name="csY167" fmla="*/ 603027 h 2092038"/>
              <a:gd name="csX168" fmla="*/ 463931 w 733006"/>
              <a:gd name="csY168" fmla="*/ 605146 h 2092038"/>
              <a:gd name="csX169" fmla="*/ 478113 w 733006"/>
              <a:gd name="csY169" fmla="*/ 595843 h 2092038"/>
              <a:gd name="csX170" fmla="*/ 478796 w 733006"/>
              <a:gd name="csY170" fmla="*/ 556832 h 2092038"/>
              <a:gd name="csX171" fmla="*/ 310220 w 733006"/>
              <a:gd name="csY171" fmla="*/ 554288 h 2092038"/>
              <a:gd name="csX172" fmla="*/ 348836 w 733006"/>
              <a:gd name="csY172" fmla="*/ 684115 h 2092038"/>
              <a:gd name="csX173" fmla="*/ 281333 w 733006"/>
              <a:gd name="csY173" fmla="*/ 683313 h 2092038"/>
              <a:gd name="csX174" fmla="*/ 212728 w 733006"/>
              <a:gd name="csY174" fmla="*/ 681931 h 2092038"/>
              <a:gd name="csX175" fmla="*/ 187283 w 733006"/>
              <a:gd name="csY175" fmla="*/ 689555 h 2092038"/>
              <a:gd name="csX176" fmla="*/ 186163 w 733006"/>
              <a:gd name="csY176" fmla="*/ 718266 h 2092038"/>
              <a:gd name="csX177" fmla="*/ 209894 w 733006"/>
              <a:gd name="csY177" fmla="*/ 726798 h 2092038"/>
              <a:gd name="csX178" fmla="*/ 334814 w 733006"/>
              <a:gd name="csY178" fmla="*/ 732494 h 2092038"/>
              <a:gd name="csX179" fmla="*/ 364856 w 733006"/>
              <a:gd name="csY179" fmla="*/ 707963 h 2092038"/>
              <a:gd name="csX180" fmla="*/ 348836 w 733006"/>
              <a:gd name="csY180" fmla="*/ 684115 h 2092038"/>
              <a:gd name="csX181" fmla="*/ 298865 w 733006"/>
              <a:gd name="csY181" fmla="*/ 621954 h 2092038"/>
              <a:gd name="csX182" fmla="*/ 251619 w 733006"/>
              <a:gd name="csY182" fmla="*/ 622133 h 2092038"/>
              <a:gd name="csX183" fmla="*/ 214459 w 733006"/>
              <a:gd name="csY183" fmla="*/ 636230 h 2092038"/>
              <a:gd name="csX184" fmla="*/ 221436 w 733006"/>
              <a:gd name="csY184" fmla="*/ 654205 h 2092038"/>
              <a:gd name="csX185" fmla="*/ 272412 w 733006"/>
              <a:gd name="csY185" fmla="*/ 657250 h 2092038"/>
              <a:gd name="csX186" fmla="*/ 349094 w 733006"/>
              <a:gd name="csY186" fmla="*/ 659282 h 2092038"/>
              <a:gd name="csX187" fmla="*/ 362996 w 733006"/>
              <a:gd name="csY187" fmla="*/ 644234 h 2092038"/>
              <a:gd name="csX188" fmla="*/ 348472 w 733006"/>
              <a:gd name="csY188" fmla="*/ 624649 h 2092038"/>
              <a:gd name="csX189" fmla="*/ 298865 w 733006"/>
              <a:gd name="csY189" fmla="*/ 621954 h 2092038"/>
              <a:gd name="csX190" fmla="*/ 227796 w 733006"/>
              <a:gd name="csY190" fmla="*/ 528000 h 2092038"/>
              <a:gd name="csX191" fmla="*/ 241009 w 733006"/>
              <a:gd name="csY191" fmla="*/ 545897 h 2092038"/>
              <a:gd name="csX192" fmla="*/ 282607 w 733006"/>
              <a:gd name="csY192" fmla="*/ 543480 h 2092038"/>
              <a:gd name="csX193" fmla="*/ 354213 w 733006"/>
              <a:gd name="csY193" fmla="*/ 543384 h 2092038"/>
              <a:gd name="csX194" fmla="*/ 365334 w 733006"/>
              <a:gd name="csY194" fmla="*/ 533397 h 2092038"/>
              <a:gd name="csX195" fmla="*/ 354531 w 733006"/>
              <a:gd name="csY195" fmla="*/ 521620 h 2092038"/>
              <a:gd name="csX196" fmla="*/ 259169 w 733006"/>
              <a:gd name="csY196" fmla="*/ 521978 h 2092038"/>
              <a:gd name="csX197" fmla="*/ 227796 w 733006"/>
              <a:gd name="csY197" fmla="*/ 528000 h 2092038"/>
              <a:gd name="csX198" fmla="*/ 508068 w 733006"/>
              <a:gd name="csY198" fmla="*/ 190710 h 2092038"/>
              <a:gd name="csX199" fmla="*/ 521293 w 733006"/>
              <a:gd name="csY199" fmla="*/ 205907 h 2092038"/>
              <a:gd name="csX200" fmla="*/ 525175 w 733006"/>
              <a:gd name="csY200" fmla="*/ 202985 h 2092038"/>
              <a:gd name="csX201" fmla="*/ 500276 w 733006"/>
              <a:gd name="csY201" fmla="*/ 160640 h 2092038"/>
              <a:gd name="csX202" fmla="*/ 497122 w 733006"/>
              <a:gd name="csY202" fmla="*/ 162007 h 2092038"/>
              <a:gd name="csX203" fmla="*/ 508068 w 733006"/>
              <a:gd name="csY203" fmla="*/ 190710 h 2092038"/>
              <a:gd name="csX204" fmla="*/ 215522 w 733006"/>
              <a:gd name="csY204" fmla="*/ 197296 h 2092038"/>
              <a:gd name="csX205" fmla="*/ 234029 w 733006"/>
              <a:gd name="csY205" fmla="*/ 162725 h 2092038"/>
              <a:gd name="csX206" fmla="*/ 229000 w 733006"/>
              <a:gd name="csY206" fmla="*/ 159902 h 2092038"/>
              <a:gd name="csX207" fmla="*/ 204824 w 733006"/>
              <a:gd name="csY207" fmla="*/ 199677 h 2092038"/>
              <a:gd name="csX208" fmla="*/ 207990 w 733006"/>
              <a:gd name="csY208" fmla="*/ 202198 h 2092038"/>
              <a:gd name="csX209" fmla="*/ 215522 w 733006"/>
              <a:gd name="csY209" fmla="*/ 197296 h 2092038"/>
              <a:gd name="csX210" fmla="*/ 484400 w 733006"/>
              <a:gd name="csY210" fmla="*/ 896678 h 2092038"/>
              <a:gd name="csX211" fmla="*/ 486181 w 733006"/>
              <a:gd name="csY211" fmla="*/ 896585 h 209203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  <a:cxn ang="0">
                <a:pos x="csX170" y="csY170"/>
              </a:cxn>
              <a:cxn ang="0">
                <a:pos x="csX171" y="csY171"/>
              </a:cxn>
              <a:cxn ang="0">
                <a:pos x="csX172" y="csY172"/>
              </a:cxn>
              <a:cxn ang="0">
                <a:pos x="csX173" y="csY173"/>
              </a:cxn>
              <a:cxn ang="0">
                <a:pos x="csX174" y="csY174"/>
              </a:cxn>
              <a:cxn ang="0">
                <a:pos x="csX175" y="csY175"/>
              </a:cxn>
              <a:cxn ang="0">
                <a:pos x="csX176" y="csY176"/>
              </a:cxn>
              <a:cxn ang="0">
                <a:pos x="csX177" y="csY177"/>
              </a:cxn>
              <a:cxn ang="0">
                <a:pos x="csX178" y="csY178"/>
              </a:cxn>
              <a:cxn ang="0">
                <a:pos x="csX179" y="csY179"/>
              </a:cxn>
              <a:cxn ang="0">
                <a:pos x="csX180" y="csY180"/>
              </a:cxn>
              <a:cxn ang="0">
                <a:pos x="csX181" y="csY181"/>
              </a:cxn>
              <a:cxn ang="0">
                <a:pos x="csX182" y="csY182"/>
              </a:cxn>
              <a:cxn ang="0">
                <a:pos x="csX183" y="csY183"/>
              </a:cxn>
              <a:cxn ang="0">
                <a:pos x="csX184" y="csY184"/>
              </a:cxn>
              <a:cxn ang="0">
                <a:pos x="csX185" y="csY185"/>
              </a:cxn>
              <a:cxn ang="0">
                <a:pos x="csX186" y="csY186"/>
              </a:cxn>
              <a:cxn ang="0">
                <a:pos x="csX187" y="csY187"/>
              </a:cxn>
              <a:cxn ang="0">
                <a:pos x="csX188" y="csY188"/>
              </a:cxn>
              <a:cxn ang="0">
                <a:pos x="csX189" y="csY189"/>
              </a:cxn>
              <a:cxn ang="0">
                <a:pos x="csX190" y="csY190"/>
              </a:cxn>
              <a:cxn ang="0">
                <a:pos x="csX191" y="csY191"/>
              </a:cxn>
              <a:cxn ang="0">
                <a:pos x="csX192" y="csY192"/>
              </a:cxn>
              <a:cxn ang="0">
                <a:pos x="csX193" y="csY193"/>
              </a:cxn>
              <a:cxn ang="0">
                <a:pos x="csX194" y="csY194"/>
              </a:cxn>
              <a:cxn ang="0">
                <a:pos x="csX195" y="csY195"/>
              </a:cxn>
              <a:cxn ang="0">
                <a:pos x="csX196" y="csY196"/>
              </a:cxn>
              <a:cxn ang="0">
                <a:pos x="csX197" y="csY197"/>
              </a:cxn>
              <a:cxn ang="0">
                <a:pos x="csX198" y="csY198"/>
              </a:cxn>
              <a:cxn ang="0">
                <a:pos x="csX199" y="csY199"/>
              </a:cxn>
              <a:cxn ang="0">
                <a:pos x="csX200" y="csY200"/>
              </a:cxn>
              <a:cxn ang="0">
                <a:pos x="csX201" y="csY201"/>
              </a:cxn>
              <a:cxn ang="0">
                <a:pos x="csX202" y="csY202"/>
              </a:cxn>
              <a:cxn ang="0">
                <a:pos x="csX203" y="csY203"/>
              </a:cxn>
              <a:cxn ang="0">
                <a:pos x="csX204" y="csY204"/>
              </a:cxn>
              <a:cxn ang="0">
                <a:pos x="csX205" y="csY205"/>
              </a:cxn>
              <a:cxn ang="0">
                <a:pos x="csX206" y="csY206"/>
              </a:cxn>
              <a:cxn ang="0">
                <a:pos x="csX207" y="csY207"/>
              </a:cxn>
              <a:cxn ang="0">
                <a:pos x="csX208" y="csY208"/>
              </a:cxn>
              <a:cxn ang="0">
                <a:pos x="csX209" y="csY209"/>
              </a:cxn>
              <a:cxn ang="0">
                <a:pos x="csX210" y="csY210"/>
              </a:cxn>
              <a:cxn ang="0">
                <a:pos x="csX211" y="csY211"/>
              </a:cxn>
            </a:cxnLst>
            <a:rect l="l" t="t" r="r" b="b"/>
            <a:pathLst>
              <a:path w="733006" h="2092038">
                <a:moveTo>
                  <a:pt x="96263" y="2076207"/>
                </a:moveTo>
                <a:cubicBezTo>
                  <a:pt x="84622" y="2072588"/>
                  <a:pt x="74304" y="2068797"/>
                  <a:pt x="63862" y="2065388"/>
                </a:cubicBezTo>
                <a:cubicBezTo>
                  <a:pt x="48109" y="2060246"/>
                  <a:pt x="32006" y="2056058"/>
                  <a:pt x="16555" y="2050152"/>
                </a:cubicBezTo>
                <a:cubicBezTo>
                  <a:pt x="5209" y="2045814"/>
                  <a:pt x="-330" y="2037145"/>
                  <a:pt x="15" y="2023802"/>
                </a:cubicBezTo>
                <a:cubicBezTo>
                  <a:pt x="765" y="1994802"/>
                  <a:pt x="4044" y="1967023"/>
                  <a:pt x="18368" y="1940709"/>
                </a:cubicBezTo>
                <a:cubicBezTo>
                  <a:pt x="23362" y="1931533"/>
                  <a:pt x="23064" y="1918361"/>
                  <a:pt x="22139" y="1907268"/>
                </a:cubicBezTo>
                <a:cubicBezTo>
                  <a:pt x="18065" y="1858417"/>
                  <a:pt x="26015" y="1813128"/>
                  <a:pt x="57941" y="1774163"/>
                </a:cubicBezTo>
                <a:cubicBezTo>
                  <a:pt x="72712" y="1756135"/>
                  <a:pt x="88476" y="1738872"/>
                  <a:pt x="102478" y="1720275"/>
                </a:cubicBezTo>
                <a:cubicBezTo>
                  <a:pt x="118580" y="1698889"/>
                  <a:pt x="125626" y="1676081"/>
                  <a:pt x="108579" y="1650967"/>
                </a:cubicBezTo>
                <a:cubicBezTo>
                  <a:pt x="101716" y="1640856"/>
                  <a:pt x="106464" y="1629113"/>
                  <a:pt x="115628" y="1625405"/>
                </a:cubicBezTo>
                <a:cubicBezTo>
                  <a:pt x="145731" y="1613224"/>
                  <a:pt x="150205" y="1585698"/>
                  <a:pt x="156323" y="1560181"/>
                </a:cubicBezTo>
                <a:cubicBezTo>
                  <a:pt x="171878" y="1495304"/>
                  <a:pt x="187443" y="1430322"/>
                  <a:pt x="199424" y="1364729"/>
                </a:cubicBezTo>
                <a:cubicBezTo>
                  <a:pt x="208169" y="1316855"/>
                  <a:pt x="211328" y="1267955"/>
                  <a:pt x="216779" y="1219490"/>
                </a:cubicBezTo>
                <a:cubicBezTo>
                  <a:pt x="221281" y="1179465"/>
                  <a:pt x="225637" y="1139423"/>
                  <a:pt x="229755" y="1099357"/>
                </a:cubicBezTo>
                <a:cubicBezTo>
                  <a:pt x="231222" y="1085094"/>
                  <a:pt x="232195" y="1070753"/>
                  <a:pt x="232707" y="1056423"/>
                </a:cubicBezTo>
                <a:cubicBezTo>
                  <a:pt x="233940" y="1021849"/>
                  <a:pt x="235378" y="987264"/>
                  <a:pt x="235622" y="952675"/>
                </a:cubicBezTo>
                <a:cubicBezTo>
                  <a:pt x="236027" y="895212"/>
                  <a:pt x="235593" y="837744"/>
                  <a:pt x="235445" y="780278"/>
                </a:cubicBezTo>
                <a:cubicBezTo>
                  <a:pt x="235394" y="760454"/>
                  <a:pt x="234309" y="760517"/>
                  <a:pt x="214544" y="756435"/>
                </a:cubicBezTo>
                <a:cubicBezTo>
                  <a:pt x="200172" y="753466"/>
                  <a:pt x="185446" y="749377"/>
                  <a:pt x="172569" y="742582"/>
                </a:cubicBezTo>
                <a:cubicBezTo>
                  <a:pt x="144482" y="727762"/>
                  <a:pt x="142615" y="693725"/>
                  <a:pt x="168784" y="669116"/>
                </a:cubicBezTo>
                <a:cubicBezTo>
                  <a:pt x="180480" y="658118"/>
                  <a:pt x="190377" y="648461"/>
                  <a:pt x="191657" y="630765"/>
                </a:cubicBezTo>
                <a:cubicBezTo>
                  <a:pt x="192214" y="623073"/>
                  <a:pt x="200977" y="614427"/>
                  <a:pt x="208150" y="609084"/>
                </a:cubicBezTo>
                <a:cubicBezTo>
                  <a:pt x="222906" y="598094"/>
                  <a:pt x="228637" y="573234"/>
                  <a:pt x="216756" y="558673"/>
                </a:cubicBezTo>
                <a:cubicBezTo>
                  <a:pt x="207342" y="547135"/>
                  <a:pt x="206480" y="536349"/>
                  <a:pt x="209092" y="521540"/>
                </a:cubicBezTo>
                <a:cubicBezTo>
                  <a:pt x="211760" y="506404"/>
                  <a:pt x="207878" y="489633"/>
                  <a:pt x="204683" y="474024"/>
                </a:cubicBezTo>
                <a:cubicBezTo>
                  <a:pt x="186129" y="383394"/>
                  <a:pt x="153540" y="297499"/>
                  <a:pt x="115483" y="213499"/>
                </a:cubicBezTo>
                <a:cubicBezTo>
                  <a:pt x="110852" y="203278"/>
                  <a:pt x="105956" y="193025"/>
                  <a:pt x="102909" y="182297"/>
                </a:cubicBezTo>
                <a:cubicBezTo>
                  <a:pt x="101269" y="176526"/>
                  <a:pt x="100978" y="167554"/>
                  <a:pt x="104315" y="163968"/>
                </a:cubicBezTo>
                <a:cubicBezTo>
                  <a:pt x="107766" y="160259"/>
                  <a:pt x="117669" y="158539"/>
                  <a:pt x="122444" y="160805"/>
                </a:cubicBezTo>
                <a:cubicBezTo>
                  <a:pt x="138944" y="168636"/>
                  <a:pt x="154489" y="178499"/>
                  <a:pt x="170283" y="187783"/>
                </a:cubicBezTo>
                <a:cubicBezTo>
                  <a:pt x="174481" y="190250"/>
                  <a:pt x="178270" y="193414"/>
                  <a:pt x="180938" y="195322"/>
                </a:cubicBezTo>
                <a:cubicBezTo>
                  <a:pt x="194562" y="175763"/>
                  <a:pt x="206327" y="155469"/>
                  <a:pt x="221419" y="138058"/>
                </a:cubicBezTo>
                <a:cubicBezTo>
                  <a:pt x="240743" y="115763"/>
                  <a:pt x="265109" y="99467"/>
                  <a:pt x="294099" y="91372"/>
                </a:cubicBezTo>
                <a:cubicBezTo>
                  <a:pt x="302124" y="89131"/>
                  <a:pt x="305271" y="84852"/>
                  <a:pt x="302307" y="76560"/>
                </a:cubicBezTo>
                <a:cubicBezTo>
                  <a:pt x="292733" y="49783"/>
                  <a:pt x="299732" y="27331"/>
                  <a:pt x="320284" y="8414"/>
                </a:cubicBezTo>
                <a:cubicBezTo>
                  <a:pt x="322179" y="6669"/>
                  <a:pt x="323302" y="4085"/>
                  <a:pt x="324784" y="946"/>
                </a:cubicBezTo>
                <a:cubicBezTo>
                  <a:pt x="349171" y="0"/>
                  <a:pt x="373558" y="0"/>
                  <a:pt x="399212" y="0"/>
                </a:cubicBezTo>
                <a:cubicBezTo>
                  <a:pt x="426476" y="20404"/>
                  <a:pt x="437031" y="45903"/>
                  <a:pt x="425980" y="78301"/>
                </a:cubicBezTo>
                <a:cubicBezTo>
                  <a:pt x="423801" y="84690"/>
                  <a:pt x="424928" y="88239"/>
                  <a:pt x="431861" y="90312"/>
                </a:cubicBezTo>
                <a:cubicBezTo>
                  <a:pt x="483382" y="105720"/>
                  <a:pt x="518342" y="139660"/>
                  <a:pt x="540349" y="187946"/>
                </a:cubicBezTo>
                <a:cubicBezTo>
                  <a:pt x="541642" y="190784"/>
                  <a:pt x="543251" y="193478"/>
                  <a:pt x="545555" y="197828"/>
                </a:cubicBezTo>
                <a:lnTo>
                  <a:pt x="587318" y="171260"/>
                </a:lnTo>
                <a:cubicBezTo>
                  <a:pt x="591878" y="168403"/>
                  <a:pt x="596472" y="164665"/>
                  <a:pt x="601503" y="163707"/>
                </a:cubicBezTo>
                <a:cubicBezTo>
                  <a:pt x="609371" y="162208"/>
                  <a:pt x="619646" y="159555"/>
                  <a:pt x="625254" y="163123"/>
                </a:cubicBezTo>
                <a:cubicBezTo>
                  <a:pt x="634332" y="168899"/>
                  <a:pt x="629055" y="179274"/>
                  <a:pt x="625468" y="187579"/>
                </a:cubicBezTo>
                <a:cubicBezTo>
                  <a:pt x="616205" y="209030"/>
                  <a:pt x="606562" y="230320"/>
                  <a:pt x="597543" y="251872"/>
                </a:cubicBezTo>
                <a:cubicBezTo>
                  <a:pt x="571520" y="314052"/>
                  <a:pt x="547757" y="377046"/>
                  <a:pt x="531831" y="442689"/>
                </a:cubicBezTo>
                <a:cubicBezTo>
                  <a:pt x="527117" y="462116"/>
                  <a:pt x="522945" y="481733"/>
                  <a:pt x="519888" y="501474"/>
                </a:cubicBezTo>
                <a:cubicBezTo>
                  <a:pt x="518711" y="509073"/>
                  <a:pt x="520088" y="517665"/>
                  <a:pt x="522506" y="525086"/>
                </a:cubicBezTo>
                <a:cubicBezTo>
                  <a:pt x="526398" y="537038"/>
                  <a:pt x="525185" y="546687"/>
                  <a:pt x="516235" y="555946"/>
                </a:cubicBezTo>
                <a:cubicBezTo>
                  <a:pt x="498902" y="573877"/>
                  <a:pt x="501328" y="596490"/>
                  <a:pt x="521332" y="610676"/>
                </a:cubicBezTo>
                <a:cubicBezTo>
                  <a:pt x="532355" y="618492"/>
                  <a:pt x="539977" y="628449"/>
                  <a:pt x="541382" y="642597"/>
                </a:cubicBezTo>
                <a:cubicBezTo>
                  <a:pt x="542451" y="653366"/>
                  <a:pt x="548191" y="661148"/>
                  <a:pt x="557031" y="667949"/>
                </a:cubicBezTo>
                <a:cubicBezTo>
                  <a:pt x="583453" y="688277"/>
                  <a:pt x="588691" y="725427"/>
                  <a:pt x="553994" y="744146"/>
                </a:cubicBezTo>
                <a:cubicBezTo>
                  <a:pt x="540107" y="751637"/>
                  <a:pt x="523756" y="754889"/>
                  <a:pt x="508215" y="758841"/>
                </a:cubicBezTo>
                <a:cubicBezTo>
                  <a:pt x="500805" y="760726"/>
                  <a:pt x="497665" y="763405"/>
                  <a:pt x="497442" y="771256"/>
                </a:cubicBezTo>
                <a:cubicBezTo>
                  <a:pt x="496012" y="821532"/>
                  <a:pt x="492028" y="871838"/>
                  <a:pt x="493005" y="922055"/>
                </a:cubicBezTo>
                <a:cubicBezTo>
                  <a:pt x="494253" y="986140"/>
                  <a:pt x="499320" y="1050155"/>
                  <a:pt x="502900" y="1114191"/>
                </a:cubicBezTo>
                <a:cubicBezTo>
                  <a:pt x="504603" y="1144637"/>
                  <a:pt x="505797" y="1175148"/>
                  <a:pt x="508800" y="1205474"/>
                </a:cubicBezTo>
                <a:cubicBezTo>
                  <a:pt x="512592" y="1243768"/>
                  <a:pt x="516901" y="1282076"/>
                  <a:pt x="522952" y="1320065"/>
                </a:cubicBezTo>
                <a:cubicBezTo>
                  <a:pt x="532594" y="1380596"/>
                  <a:pt x="543267" y="1440980"/>
                  <a:pt x="554682" y="1501203"/>
                </a:cubicBezTo>
                <a:cubicBezTo>
                  <a:pt x="560600" y="1532428"/>
                  <a:pt x="568175" y="1563425"/>
                  <a:pt x="576958" y="1593963"/>
                </a:cubicBezTo>
                <a:cubicBezTo>
                  <a:pt x="579170" y="1601655"/>
                  <a:pt x="588378" y="1607829"/>
                  <a:pt x="595349" y="1613498"/>
                </a:cubicBezTo>
                <a:cubicBezTo>
                  <a:pt x="600799" y="1617931"/>
                  <a:pt x="608289" y="1619804"/>
                  <a:pt x="613936" y="1624058"/>
                </a:cubicBezTo>
                <a:cubicBezTo>
                  <a:pt x="623433" y="1631212"/>
                  <a:pt x="627187" y="1639642"/>
                  <a:pt x="620938" y="1652071"/>
                </a:cubicBezTo>
                <a:cubicBezTo>
                  <a:pt x="606287" y="1681209"/>
                  <a:pt x="609918" y="1697027"/>
                  <a:pt x="630805" y="1721702"/>
                </a:cubicBezTo>
                <a:cubicBezTo>
                  <a:pt x="650178" y="1744588"/>
                  <a:pt x="669167" y="1768040"/>
                  <a:pt x="685830" y="1792915"/>
                </a:cubicBezTo>
                <a:cubicBezTo>
                  <a:pt x="705320" y="1822011"/>
                  <a:pt x="711650" y="1855198"/>
                  <a:pt x="708904" y="1890290"/>
                </a:cubicBezTo>
                <a:cubicBezTo>
                  <a:pt x="707288" y="1910935"/>
                  <a:pt x="700766" y="1942639"/>
                  <a:pt x="716580" y="1951136"/>
                </a:cubicBezTo>
                <a:cubicBezTo>
                  <a:pt x="724392" y="1976483"/>
                  <a:pt x="727122" y="2003652"/>
                  <a:pt x="729397" y="2030261"/>
                </a:cubicBezTo>
                <a:cubicBezTo>
                  <a:pt x="729925" y="2036427"/>
                  <a:pt x="743534" y="2056174"/>
                  <a:pt x="714212" y="2059069"/>
                </a:cubicBezTo>
                <a:cubicBezTo>
                  <a:pt x="561064" y="2100066"/>
                  <a:pt x="334540" y="2099227"/>
                  <a:pt x="96263" y="2076207"/>
                </a:cubicBezTo>
                <a:moveTo>
                  <a:pt x="489970" y="152208"/>
                </a:moveTo>
                <a:lnTo>
                  <a:pt x="490754" y="152592"/>
                </a:lnTo>
                <a:cubicBezTo>
                  <a:pt x="490404" y="152187"/>
                  <a:pt x="490054" y="151782"/>
                  <a:pt x="489489" y="149547"/>
                </a:cubicBezTo>
                <a:cubicBezTo>
                  <a:pt x="463400" y="121956"/>
                  <a:pt x="429823" y="108227"/>
                  <a:pt x="393621" y="99259"/>
                </a:cubicBezTo>
                <a:cubicBezTo>
                  <a:pt x="416086" y="61028"/>
                  <a:pt x="414929" y="37233"/>
                  <a:pt x="390419" y="18568"/>
                </a:cubicBezTo>
                <a:cubicBezTo>
                  <a:pt x="373896" y="5985"/>
                  <a:pt x="349634" y="8467"/>
                  <a:pt x="334131" y="24327"/>
                </a:cubicBezTo>
                <a:cubicBezTo>
                  <a:pt x="312288" y="46673"/>
                  <a:pt x="314608" y="63885"/>
                  <a:pt x="344678" y="101259"/>
                </a:cubicBezTo>
                <a:cubicBezTo>
                  <a:pt x="329276" y="105420"/>
                  <a:pt x="313421" y="108117"/>
                  <a:pt x="298854" y="114003"/>
                </a:cubicBezTo>
                <a:cubicBezTo>
                  <a:pt x="276159" y="123172"/>
                  <a:pt x="253379" y="133071"/>
                  <a:pt x="237456" y="154340"/>
                </a:cubicBezTo>
                <a:cubicBezTo>
                  <a:pt x="237723" y="154250"/>
                  <a:pt x="237990" y="154159"/>
                  <a:pt x="240382" y="154035"/>
                </a:cubicBezTo>
                <a:cubicBezTo>
                  <a:pt x="252637" y="152964"/>
                  <a:pt x="257233" y="162164"/>
                  <a:pt x="262731" y="170426"/>
                </a:cubicBezTo>
                <a:cubicBezTo>
                  <a:pt x="267919" y="178225"/>
                  <a:pt x="272568" y="186734"/>
                  <a:pt x="279169" y="193173"/>
                </a:cubicBezTo>
                <a:cubicBezTo>
                  <a:pt x="294554" y="208182"/>
                  <a:pt x="315173" y="206011"/>
                  <a:pt x="327717" y="188556"/>
                </a:cubicBezTo>
                <a:cubicBezTo>
                  <a:pt x="335023" y="178390"/>
                  <a:pt x="341313" y="167493"/>
                  <a:pt x="348052" y="156919"/>
                </a:cubicBezTo>
                <a:cubicBezTo>
                  <a:pt x="360173" y="137899"/>
                  <a:pt x="367728" y="137921"/>
                  <a:pt x="380330" y="156483"/>
                </a:cubicBezTo>
                <a:cubicBezTo>
                  <a:pt x="389331" y="169741"/>
                  <a:pt x="397761" y="183648"/>
                  <a:pt x="408490" y="195400"/>
                </a:cubicBezTo>
                <a:cubicBezTo>
                  <a:pt x="419907" y="207908"/>
                  <a:pt x="432311" y="208318"/>
                  <a:pt x="445346" y="197582"/>
                </a:cubicBezTo>
                <a:cubicBezTo>
                  <a:pt x="453059" y="191228"/>
                  <a:pt x="458941" y="182413"/>
                  <a:pt x="464798" y="174107"/>
                </a:cubicBezTo>
                <a:cubicBezTo>
                  <a:pt x="471492" y="164615"/>
                  <a:pt x="476269" y="153399"/>
                  <a:pt x="489970" y="152208"/>
                </a:cubicBezTo>
                <a:moveTo>
                  <a:pt x="140694" y="201837"/>
                </a:moveTo>
                <a:lnTo>
                  <a:pt x="139834" y="201482"/>
                </a:lnTo>
                <a:cubicBezTo>
                  <a:pt x="140167" y="201940"/>
                  <a:pt x="140499" y="202398"/>
                  <a:pt x="140812" y="204941"/>
                </a:cubicBezTo>
                <a:cubicBezTo>
                  <a:pt x="142073" y="209235"/>
                  <a:pt x="143094" y="213618"/>
                  <a:pt x="144631" y="217811"/>
                </a:cubicBezTo>
                <a:cubicBezTo>
                  <a:pt x="163630" y="269630"/>
                  <a:pt x="184359" y="320889"/>
                  <a:pt x="201241" y="373387"/>
                </a:cubicBezTo>
                <a:cubicBezTo>
                  <a:pt x="215057" y="416348"/>
                  <a:pt x="224086" y="460838"/>
                  <a:pt x="235971" y="504451"/>
                </a:cubicBezTo>
                <a:cubicBezTo>
                  <a:pt x="237017" y="508291"/>
                  <a:pt x="243450" y="513153"/>
                  <a:pt x="247475" y="513241"/>
                </a:cubicBezTo>
                <a:cubicBezTo>
                  <a:pt x="261316" y="513543"/>
                  <a:pt x="275190" y="511373"/>
                  <a:pt x="289066" y="511170"/>
                </a:cubicBezTo>
                <a:cubicBezTo>
                  <a:pt x="318784" y="510736"/>
                  <a:pt x="348532" y="510226"/>
                  <a:pt x="378229" y="511084"/>
                </a:cubicBezTo>
                <a:cubicBezTo>
                  <a:pt x="409129" y="511977"/>
                  <a:pt x="440005" y="514145"/>
                  <a:pt x="470850" y="516341"/>
                </a:cubicBezTo>
                <a:cubicBezTo>
                  <a:pt x="488515" y="517598"/>
                  <a:pt x="488581" y="517383"/>
                  <a:pt x="492933" y="497969"/>
                </a:cubicBezTo>
                <a:cubicBezTo>
                  <a:pt x="509517" y="423981"/>
                  <a:pt x="529141" y="350878"/>
                  <a:pt x="557617" y="280398"/>
                </a:cubicBezTo>
                <a:cubicBezTo>
                  <a:pt x="568115" y="254415"/>
                  <a:pt x="577983" y="228177"/>
                  <a:pt x="588788" y="200385"/>
                </a:cubicBezTo>
                <a:cubicBezTo>
                  <a:pt x="568882" y="211746"/>
                  <a:pt x="556897" y="233442"/>
                  <a:pt x="530958" y="232968"/>
                </a:cubicBezTo>
                <a:cubicBezTo>
                  <a:pt x="501919" y="232437"/>
                  <a:pt x="492615" y="212474"/>
                  <a:pt x="483823" y="190364"/>
                </a:cubicBezTo>
                <a:cubicBezTo>
                  <a:pt x="477516" y="197154"/>
                  <a:pt x="471372" y="202589"/>
                  <a:pt x="466649" y="209061"/>
                </a:cubicBezTo>
                <a:cubicBezTo>
                  <a:pt x="449398" y="232702"/>
                  <a:pt x="420396" y="235708"/>
                  <a:pt x="399941" y="216988"/>
                </a:cubicBezTo>
                <a:cubicBezTo>
                  <a:pt x="387278" y="205398"/>
                  <a:pt x="375741" y="192577"/>
                  <a:pt x="363018" y="179615"/>
                </a:cubicBezTo>
                <a:cubicBezTo>
                  <a:pt x="350255" y="200356"/>
                  <a:pt x="336990" y="223707"/>
                  <a:pt x="308839" y="227846"/>
                </a:cubicBezTo>
                <a:cubicBezTo>
                  <a:pt x="280122" y="232067"/>
                  <a:pt x="262039" y="213088"/>
                  <a:pt x="245077" y="192402"/>
                </a:cubicBezTo>
                <a:cubicBezTo>
                  <a:pt x="244011" y="195470"/>
                  <a:pt x="243549" y="197200"/>
                  <a:pt x="242829" y="198815"/>
                </a:cubicBezTo>
                <a:cubicBezTo>
                  <a:pt x="227987" y="232132"/>
                  <a:pt x="198552" y="240117"/>
                  <a:pt x="168452" y="219348"/>
                </a:cubicBezTo>
                <a:cubicBezTo>
                  <a:pt x="159660" y="213282"/>
                  <a:pt x="150196" y="208189"/>
                  <a:pt x="140694" y="201837"/>
                </a:cubicBezTo>
                <a:moveTo>
                  <a:pt x="259999" y="966699"/>
                </a:moveTo>
                <a:cubicBezTo>
                  <a:pt x="259066" y="1001276"/>
                  <a:pt x="258555" y="1035871"/>
                  <a:pt x="257072" y="1070424"/>
                </a:cubicBezTo>
                <a:cubicBezTo>
                  <a:pt x="255822" y="1099520"/>
                  <a:pt x="254332" y="1128659"/>
                  <a:pt x="251372" y="1157618"/>
                </a:cubicBezTo>
                <a:cubicBezTo>
                  <a:pt x="245822" y="1211910"/>
                  <a:pt x="239941" y="1266195"/>
                  <a:pt x="232677" y="1320279"/>
                </a:cubicBezTo>
                <a:cubicBezTo>
                  <a:pt x="226012" y="1369906"/>
                  <a:pt x="218692" y="1419525"/>
                  <a:pt x="209182" y="1468667"/>
                </a:cubicBezTo>
                <a:cubicBezTo>
                  <a:pt x="199574" y="1518317"/>
                  <a:pt x="187234" y="1567453"/>
                  <a:pt x="175302" y="1616623"/>
                </a:cubicBezTo>
                <a:cubicBezTo>
                  <a:pt x="173247" y="1625091"/>
                  <a:pt x="175038" y="1628715"/>
                  <a:pt x="182769" y="1629786"/>
                </a:cubicBezTo>
                <a:cubicBezTo>
                  <a:pt x="192516" y="1631137"/>
                  <a:pt x="202351" y="1632591"/>
                  <a:pt x="212156" y="1632656"/>
                </a:cubicBezTo>
                <a:lnTo>
                  <a:pt x="351295" y="1632801"/>
                </a:lnTo>
                <a:cubicBezTo>
                  <a:pt x="371086" y="1632783"/>
                  <a:pt x="376419" y="1627831"/>
                  <a:pt x="376150" y="1608307"/>
                </a:cubicBezTo>
                <a:cubicBezTo>
                  <a:pt x="375456" y="1557965"/>
                  <a:pt x="374444" y="1507628"/>
                  <a:pt x="373450" y="1457291"/>
                </a:cubicBezTo>
                <a:cubicBezTo>
                  <a:pt x="372695" y="1419104"/>
                  <a:pt x="371725" y="1380922"/>
                  <a:pt x="370936" y="1342736"/>
                </a:cubicBezTo>
                <a:cubicBezTo>
                  <a:pt x="369980" y="1296451"/>
                  <a:pt x="368481" y="1250167"/>
                  <a:pt x="368328" y="1203878"/>
                </a:cubicBezTo>
                <a:cubicBezTo>
                  <a:pt x="367898" y="1073746"/>
                  <a:pt x="368114" y="943611"/>
                  <a:pt x="367836" y="813478"/>
                </a:cubicBezTo>
                <a:cubicBezTo>
                  <a:pt x="367808" y="800064"/>
                  <a:pt x="366292" y="786643"/>
                  <a:pt x="365240" y="773243"/>
                </a:cubicBezTo>
                <a:cubicBezTo>
                  <a:pt x="364669" y="765967"/>
                  <a:pt x="361177" y="762219"/>
                  <a:pt x="353084" y="762083"/>
                </a:cubicBezTo>
                <a:cubicBezTo>
                  <a:pt x="329039" y="761680"/>
                  <a:pt x="305010" y="760323"/>
                  <a:pt x="280966" y="759855"/>
                </a:cubicBezTo>
                <a:cubicBezTo>
                  <a:pt x="262974" y="759505"/>
                  <a:pt x="259584" y="762728"/>
                  <a:pt x="259965" y="779553"/>
                </a:cubicBezTo>
                <a:cubicBezTo>
                  <a:pt x="260545" y="805134"/>
                  <a:pt x="262417" y="830704"/>
                  <a:pt x="262341" y="856275"/>
                </a:cubicBezTo>
                <a:cubicBezTo>
                  <a:pt x="262235" y="892209"/>
                  <a:pt x="260847" y="928139"/>
                  <a:pt x="259999" y="966699"/>
                </a:cubicBezTo>
                <a:moveTo>
                  <a:pt x="55556" y="1835827"/>
                </a:moveTo>
                <a:cubicBezTo>
                  <a:pt x="53401" y="1849932"/>
                  <a:pt x="49990" y="1863984"/>
                  <a:pt x="49393" y="1878155"/>
                </a:cubicBezTo>
                <a:cubicBezTo>
                  <a:pt x="48549" y="1898208"/>
                  <a:pt x="54196" y="1903667"/>
                  <a:pt x="73949" y="1905781"/>
                </a:cubicBezTo>
                <a:cubicBezTo>
                  <a:pt x="85970" y="1907068"/>
                  <a:pt x="98058" y="1907739"/>
                  <a:pt x="110073" y="1909068"/>
                </a:cubicBezTo>
                <a:cubicBezTo>
                  <a:pt x="148299" y="1913297"/>
                  <a:pt x="186412" y="1919134"/>
                  <a:pt x="224745" y="1921652"/>
                </a:cubicBezTo>
                <a:cubicBezTo>
                  <a:pt x="265500" y="1924329"/>
                  <a:pt x="306455" y="1923995"/>
                  <a:pt x="347327" y="1924778"/>
                </a:cubicBezTo>
                <a:cubicBezTo>
                  <a:pt x="352654" y="1924880"/>
                  <a:pt x="357999" y="1923751"/>
                  <a:pt x="363345" y="1923293"/>
                </a:cubicBezTo>
                <a:cubicBezTo>
                  <a:pt x="370812" y="1922652"/>
                  <a:pt x="373724" y="1919361"/>
                  <a:pt x="373787" y="1911200"/>
                </a:cubicBezTo>
                <a:cubicBezTo>
                  <a:pt x="374339" y="1839709"/>
                  <a:pt x="375066" y="1768215"/>
                  <a:pt x="376623" y="1696741"/>
                </a:cubicBezTo>
                <a:cubicBezTo>
                  <a:pt x="376910" y="1683555"/>
                  <a:pt x="372147" y="1681381"/>
                  <a:pt x="360437" y="1681289"/>
                </a:cubicBezTo>
                <a:cubicBezTo>
                  <a:pt x="328117" y="1681033"/>
                  <a:pt x="295777" y="1679974"/>
                  <a:pt x="263503" y="1678179"/>
                </a:cubicBezTo>
                <a:cubicBezTo>
                  <a:pt x="229090" y="1676266"/>
                  <a:pt x="194719" y="1673423"/>
                  <a:pt x="160381" y="1670405"/>
                </a:cubicBezTo>
                <a:cubicBezTo>
                  <a:pt x="148387" y="1669350"/>
                  <a:pt x="145963" y="1675505"/>
                  <a:pt x="143321" y="1685538"/>
                </a:cubicBezTo>
                <a:cubicBezTo>
                  <a:pt x="138582" y="1703537"/>
                  <a:pt x="133802" y="1722215"/>
                  <a:pt x="124769" y="1738195"/>
                </a:cubicBezTo>
                <a:cubicBezTo>
                  <a:pt x="116109" y="1753517"/>
                  <a:pt x="101000" y="1765040"/>
                  <a:pt x="90593" y="1779570"/>
                </a:cubicBezTo>
                <a:cubicBezTo>
                  <a:pt x="78162" y="1796924"/>
                  <a:pt x="67717" y="1815700"/>
                  <a:pt x="55556" y="1835827"/>
                </a:cubicBezTo>
                <a:moveTo>
                  <a:pt x="378900" y="2007280"/>
                </a:moveTo>
                <a:cubicBezTo>
                  <a:pt x="378896" y="2003229"/>
                  <a:pt x="378901" y="1999178"/>
                  <a:pt x="378887" y="1995127"/>
                </a:cubicBezTo>
                <a:cubicBezTo>
                  <a:pt x="378824" y="1976033"/>
                  <a:pt x="378817" y="1976317"/>
                  <a:pt x="359084" y="1975964"/>
                </a:cubicBezTo>
                <a:lnTo>
                  <a:pt x="247288" y="1973305"/>
                </a:lnTo>
                <a:cubicBezTo>
                  <a:pt x="232069" y="1972838"/>
                  <a:pt x="216796" y="1972093"/>
                  <a:pt x="201692" y="1970275"/>
                </a:cubicBezTo>
                <a:lnTo>
                  <a:pt x="57962" y="1952648"/>
                </a:lnTo>
                <a:cubicBezTo>
                  <a:pt x="51898" y="1952011"/>
                  <a:pt x="41206" y="1958134"/>
                  <a:pt x="39194" y="1963552"/>
                </a:cubicBezTo>
                <a:cubicBezTo>
                  <a:pt x="34138" y="1977168"/>
                  <a:pt x="32687" y="1992148"/>
                  <a:pt x="30066" y="2006631"/>
                </a:cubicBezTo>
                <a:cubicBezTo>
                  <a:pt x="28649" y="2014460"/>
                  <a:pt x="32955" y="2017729"/>
                  <a:pt x="40232" y="2019486"/>
                </a:cubicBezTo>
                <a:cubicBezTo>
                  <a:pt x="105307" y="2035198"/>
                  <a:pt x="171489" y="2043035"/>
                  <a:pt x="238186" y="2046096"/>
                </a:cubicBezTo>
                <a:cubicBezTo>
                  <a:pt x="272775" y="2047683"/>
                  <a:pt x="307494" y="2046505"/>
                  <a:pt x="342155" y="2046441"/>
                </a:cubicBezTo>
                <a:cubicBezTo>
                  <a:pt x="378858" y="2046373"/>
                  <a:pt x="378858" y="2046303"/>
                  <a:pt x="378900" y="2007280"/>
                </a:cubicBezTo>
                <a:moveTo>
                  <a:pt x="310220" y="554288"/>
                </a:moveTo>
                <a:lnTo>
                  <a:pt x="259136" y="556881"/>
                </a:lnTo>
                <a:cubicBezTo>
                  <a:pt x="251446" y="557144"/>
                  <a:pt x="248963" y="560888"/>
                  <a:pt x="249085" y="567981"/>
                </a:cubicBezTo>
                <a:cubicBezTo>
                  <a:pt x="249291" y="580007"/>
                  <a:pt x="249141" y="592039"/>
                  <a:pt x="249141" y="605644"/>
                </a:cubicBezTo>
                <a:cubicBezTo>
                  <a:pt x="252942" y="605644"/>
                  <a:pt x="257788" y="605750"/>
                  <a:pt x="262628" y="605627"/>
                </a:cubicBezTo>
                <a:cubicBezTo>
                  <a:pt x="298288" y="604718"/>
                  <a:pt x="333947" y="603084"/>
                  <a:pt x="369608" y="603027"/>
                </a:cubicBezTo>
                <a:cubicBezTo>
                  <a:pt x="401047" y="602977"/>
                  <a:pt x="432489" y="605109"/>
                  <a:pt x="463931" y="605146"/>
                </a:cubicBezTo>
                <a:cubicBezTo>
                  <a:pt x="468882" y="605152"/>
                  <a:pt x="477522" y="599724"/>
                  <a:pt x="478113" y="595843"/>
                </a:cubicBezTo>
                <a:cubicBezTo>
                  <a:pt x="479968" y="583658"/>
                  <a:pt x="478796" y="571012"/>
                  <a:pt x="478796" y="556832"/>
                </a:cubicBezTo>
                <a:lnTo>
                  <a:pt x="310220" y="554288"/>
                </a:lnTo>
                <a:moveTo>
                  <a:pt x="348836" y="684115"/>
                </a:moveTo>
                <a:lnTo>
                  <a:pt x="281333" y="683313"/>
                </a:lnTo>
                <a:cubicBezTo>
                  <a:pt x="258459" y="682880"/>
                  <a:pt x="235573" y="681397"/>
                  <a:pt x="212728" y="681931"/>
                </a:cubicBezTo>
                <a:cubicBezTo>
                  <a:pt x="204151" y="682132"/>
                  <a:pt x="195144" y="685643"/>
                  <a:pt x="187283" y="689555"/>
                </a:cubicBezTo>
                <a:cubicBezTo>
                  <a:pt x="176092" y="695122"/>
                  <a:pt x="175412" y="711787"/>
                  <a:pt x="186163" y="718266"/>
                </a:cubicBezTo>
                <a:cubicBezTo>
                  <a:pt x="193268" y="722548"/>
                  <a:pt x="201790" y="726298"/>
                  <a:pt x="209894" y="726798"/>
                </a:cubicBezTo>
                <a:cubicBezTo>
                  <a:pt x="251494" y="729369"/>
                  <a:pt x="293151" y="731218"/>
                  <a:pt x="334814" y="732494"/>
                </a:cubicBezTo>
                <a:cubicBezTo>
                  <a:pt x="360875" y="733292"/>
                  <a:pt x="360845" y="732630"/>
                  <a:pt x="364856" y="707963"/>
                </a:cubicBezTo>
                <a:cubicBezTo>
                  <a:pt x="366759" y="696261"/>
                  <a:pt x="364119" y="687361"/>
                  <a:pt x="348836" y="684115"/>
                </a:cubicBezTo>
                <a:moveTo>
                  <a:pt x="298865" y="621954"/>
                </a:moveTo>
                <a:cubicBezTo>
                  <a:pt x="283113" y="621947"/>
                  <a:pt x="267325" y="621283"/>
                  <a:pt x="251619" y="622133"/>
                </a:cubicBezTo>
                <a:cubicBezTo>
                  <a:pt x="238016" y="622869"/>
                  <a:pt x="223730" y="622855"/>
                  <a:pt x="214459" y="636230"/>
                </a:cubicBezTo>
                <a:cubicBezTo>
                  <a:pt x="208245" y="645195"/>
                  <a:pt x="210589" y="653121"/>
                  <a:pt x="221436" y="654205"/>
                </a:cubicBezTo>
                <a:cubicBezTo>
                  <a:pt x="238362" y="655895"/>
                  <a:pt x="255402" y="656613"/>
                  <a:pt x="272412" y="657250"/>
                </a:cubicBezTo>
                <a:cubicBezTo>
                  <a:pt x="297964" y="658207"/>
                  <a:pt x="323529" y="659053"/>
                  <a:pt x="349094" y="659282"/>
                </a:cubicBezTo>
                <a:cubicBezTo>
                  <a:pt x="358195" y="659363"/>
                  <a:pt x="363477" y="655246"/>
                  <a:pt x="362996" y="644234"/>
                </a:cubicBezTo>
                <a:cubicBezTo>
                  <a:pt x="362527" y="633519"/>
                  <a:pt x="361239" y="625376"/>
                  <a:pt x="348472" y="624649"/>
                </a:cubicBezTo>
                <a:lnTo>
                  <a:pt x="298865" y="621954"/>
                </a:lnTo>
                <a:moveTo>
                  <a:pt x="227796" y="528000"/>
                </a:moveTo>
                <a:cubicBezTo>
                  <a:pt x="224777" y="540795"/>
                  <a:pt x="228095" y="545993"/>
                  <a:pt x="241009" y="545897"/>
                </a:cubicBezTo>
                <a:cubicBezTo>
                  <a:pt x="254880" y="545792"/>
                  <a:pt x="268730" y="543734"/>
                  <a:pt x="282607" y="543480"/>
                </a:cubicBezTo>
                <a:cubicBezTo>
                  <a:pt x="306469" y="543043"/>
                  <a:pt x="330344" y="543266"/>
                  <a:pt x="354213" y="543384"/>
                </a:cubicBezTo>
                <a:cubicBezTo>
                  <a:pt x="361191" y="543419"/>
                  <a:pt x="365298" y="541242"/>
                  <a:pt x="365334" y="533397"/>
                </a:cubicBezTo>
                <a:cubicBezTo>
                  <a:pt x="365369" y="525778"/>
                  <a:pt x="362988" y="521561"/>
                  <a:pt x="354531" y="521620"/>
                </a:cubicBezTo>
                <a:lnTo>
                  <a:pt x="259169" y="521978"/>
                </a:lnTo>
                <a:cubicBezTo>
                  <a:pt x="249027" y="522159"/>
                  <a:pt x="238927" y="524679"/>
                  <a:pt x="227796" y="528000"/>
                </a:cubicBezTo>
                <a:moveTo>
                  <a:pt x="508068" y="190710"/>
                </a:moveTo>
                <a:lnTo>
                  <a:pt x="521293" y="205907"/>
                </a:lnTo>
                <a:lnTo>
                  <a:pt x="525175" y="202985"/>
                </a:lnTo>
                <a:cubicBezTo>
                  <a:pt x="522014" y="185953"/>
                  <a:pt x="510916" y="173426"/>
                  <a:pt x="500276" y="160640"/>
                </a:cubicBezTo>
                <a:lnTo>
                  <a:pt x="497122" y="162007"/>
                </a:lnTo>
                <a:cubicBezTo>
                  <a:pt x="500457" y="170983"/>
                  <a:pt x="503791" y="179959"/>
                  <a:pt x="508068" y="190710"/>
                </a:cubicBezTo>
                <a:moveTo>
                  <a:pt x="215522" y="197296"/>
                </a:moveTo>
                <a:lnTo>
                  <a:pt x="234029" y="162725"/>
                </a:lnTo>
                <a:lnTo>
                  <a:pt x="229000" y="159902"/>
                </a:lnTo>
                <a:lnTo>
                  <a:pt x="204824" y="199677"/>
                </a:lnTo>
                <a:lnTo>
                  <a:pt x="207990" y="202198"/>
                </a:lnTo>
                <a:cubicBezTo>
                  <a:pt x="210047" y="201020"/>
                  <a:pt x="212104" y="199843"/>
                  <a:pt x="215522" y="197296"/>
                </a:cubicBezTo>
                <a:moveTo>
                  <a:pt x="484400" y="896678"/>
                </a:moveTo>
                <a:lnTo>
                  <a:pt x="486181" y="896585"/>
                </a:lnTo>
              </a:path>
            </a:pathLst>
          </a:custGeom>
          <a:solidFill>
            <a:srgbClr val="CCD6DA"/>
          </a:solidFill>
          <a:ln w="2699" cap="flat">
            <a:solidFill>
              <a:srgbClr val="CDD9DF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26" name="Free-form: Shape 425">
            <a:extLst>
              <a:ext uri="{FF2B5EF4-FFF2-40B4-BE49-F238E27FC236}">
                <a16:creationId xmlns:a16="http://schemas.microsoft.com/office/drawing/2014/main" id="{D40FF716-26D6-46AD-448A-3881F9B95A7A}"/>
              </a:ext>
            </a:extLst>
          </p:cNvPr>
          <p:cNvSpPr/>
          <p:nvPr/>
        </p:nvSpPr>
        <p:spPr>
          <a:xfrm flipH="1">
            <a:off x="6394923" y="4833619"/>
            <a:ext cx="153404" cy="625011"/>
          </a:xfrm>
          <a:custGeom>
            <a:avLst/>
            <a:gdLst>
              <a:gd name="csX0" fmla="*/ 85488 w 201644"/>
              <a:gd name="csY0" fmla="*/ 205555 h 873028"/>
              <a:gd name="csX1" fmla="*/ 87827 w 201644"/>
              <a:gd name="csY1" fmla="*/ 96444 h 873028"/>
              <a:gd name="csX2" fmla="*/ 85450 w 201644"/>
              <a:gd name="csY2" fmla="*/ 19723 h 873028"/>
              <a:gd name="csX3" fmla="*/ 106451 w 201644"/>
              <a:gd name="csY3" fmla="*/ 25 h 873028"/>
              <a:gd name="csX4" fmla="*/ 178569 w 201644"/>
              <a:gd name="csY4" fmla="*/ 2252 h 873028"/>
              <a:gd name="csX5" fmla="*/ 190725 w 201644"/>
              <a:gd name="csY5" fmla="*/ 13413 h 873028"/>
              <a:gd name="csX6" fmla="*/ 193322 w 201644"/>
              <a:gd name="csY6" fmla="*/ 53648 h 873028"/>
              <a:gd name="csX7" fmla="*/ 193813 w 201644"/>
              <a:gd name="csY7" fmla="*/ 444048 h 873028"/>
              <a:gd name="csX8" fmla="*/ 196421 w 201644"/>
              <a:gd name="csY8" fmla="*/ 582906 h 873028"/>
              <a:gd name="csX9" fmla="*/ 198935 w 201644"/>
              <a:gd name="csY9" fmla="*/ 697460 h 873028"/>
              <a:gd name="csX10" fmla="*/ 201635 w 201644"/>
              <a:gd name="csY10" fmla="*/ 848476 h 873028"/>
              <a:gd name="csX11" fmla="*/ 176780 w 201644"/>
              <a:gd name="csY11" fmla="*/ 872971 h 873028"/>
              <a:gd name="csX12" fmla="*/ 37642 w 201644"/>
              <a:gd name="csY12" fmla="*/ 872825 h 873028"/>
              <a:gd name="csX13" fmla="*/ 8254 w 201644"/>
              <a:gd name="csY13" fmla="*/ 869956 h 873028"/>
              <a:gd name="csX14" fmla="*/ 787 w 201644"/>
              <a:gd name="csY14" fmla="*/ 856792 h 873028"/>
              <a:gd name="csX15" fmla="*/ 34667 w 201644"/>
              <a:gd name="csY15" fmla="*/ 708837 h 873028"/>
              <a:gd name="csX16" fmla="*/ 58163 w 201644"/>
              <a:gd name="csY16" fmla="*/ 560448 h 873028"/>
              <a:gd name="csX17" fmla="*/ 76857 w 201644"/>
              <a:gd name="csY17" fmla="*/ 397787 h 873028"/>
              <a:gd name="csX18" fmla="*/ 82557 w 201644"/>
              <a:gd name="csY18" fmla="*/ 310594 h 873028"/>
              <a:gd name="csX19" fmla="*/ 85488 w 201644"/>
              <a:gd name="csY19" fmla="*/ 205555 h 87302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</a:cxnLst>
            <a:rect l="l" t="t" r="r" b="b"/>
            <a:pathLst>
              <a:path w="201644" h="873028">
                <a:moveTo>
                  <a:pt x="85488" y="205555"/>
                </a:moveTo>
                <a:cubicBezTo>
                  <a:pt x="86332" y="168309"/>
                  <a:pt x="87720" y="132378"/>
                  <a:pt x="87827" y="96444"/>
                </a:cubicBezTo>
                <a:cubicBezTo>
                  <a:pt x="87903" y="70874"/>
                  <a:pt x="86030" y="45303"/>
                  <a:pt x="85450" y="19723"/>
                </a:cubicBezTo>
                <a:cubicBezTo>
                  <a:pt x="85069" y="2897"/>
                  <a:pt x="88460" y="-326"/>
                  <a:pt x="106451" y="25"/>
                </a:cubicBezTo>
                <a:cubicBezTo>
                  <a:pt x="130496" y="493"/>
                  <a:pt x="154524" y="1849"/>
                  <a:pt x="178569" y="2252"/>
                </a:cubicBezTo>
                <a:cubicBezTo>
                  <a:pt x="186663" y="2388"/>
                  <a:pt x="190154" y="6137"/>
                  <a:pt x="190725" y="13413"/>
                </a:cubicBezTo>
                <a:cubicBezTo>
                  <a:pt x="191778" y="26813"/>
                  <a:pt x="193293" y="40233"/>
                  <a:pt x="193322" y="53648"/>
                </a:cubicBezTo>
                <a:cubicBezTo>
                  <a:pt x="193599" y="183781"/>
                  <a:pt x="193383" y="313915"/>
                  <a:pt x="193813" y="444048"/>
                </a:cubicBezTo>
                <a:cubicBezTo>
                  <a:pt x="193967" y="490336"/>
                  <a:pt x="195465" y="536621"/>
                  <a:pt x="196421" y="582906"/>
                </a:cubicBezTo>
                <a:cubicBezTo>
                  <a:pt x="197210" y="621092"/>
                  <a:pt x="198181" y="659274"/>
                  <a:pt x="198935" y="697460"/>
                </a:cubicBezTo>
                <a:cubicBezTo>
                  <a:pt x="199930" y="747797"/>
                  <a:pt x="200941" y="798134"/>
                  <a:pt x="201635" y="848476"/>
                </a:cubicBezTo>
                <a:cubicBezTo>
                  <a:pt x="201904" y="868001"/>
                  <a:pt x="196572" y="872953"/>
                  <a:pt x="176780" y="872971"/>
                </a:cubicBezTo>
                <a:cubicBezTo>
                  <a:pt x="130401" y="873012"/>
                  <a:pt x="84020" y="873131"/>
                  <a:pt x="37642" y="872825"/>
                </a:cubicBezTo>
                <a:cubicBezTo>
                  <a:pt x="27836" y="872761"/>
                  <a:pt x="18001" y="871306"/>
                  <a:pt x="8254" y="869956"/>
                </a:cubicBezTo>
                <a:cubicBezTo>
                  <a:pt x="524" y="868885"/>
                  <a:pt x="-1268" y="865260"/>
                  <a:pt x="787" y="856792"/>
                </a:cubicBezTo>
                <a:cubicBezTo>
                  <a:pt x="12720" y="807623"/>
                  <a:pt x="25059" y="758486"/>
                  <a:pt x="34667" y="708837"/>
                </a:cubicBezTo>
                <a:cubicBezTo>
                  <a:pt x="44177" y="659694"/>
                  <a:pt x="51498" y="610075"/>
                  <a:pt x="58163" y="560448"/>
                </a:cubicBezTo>
                <a:cubicBezTo>
                  <a:pt x="65426" y="506364"/>
                  <a:pt x="71307" y="452080"/>
                  <a:pt x="76857" y="397787"/>
                </a:cubicBezTo>
                <a:cubicBezTo>
                  <a:pt x="79817" y="368829"/>
                  <a:pt x="81308" y="339690"/>
                  <a:pt x="82557" y="310594"/>
                </a:cubicBezTo>
                <a:cubicBezTo>
                  <a:pt x="84040" y="276041"/>
                  <a:pt x="84552" y="241446"/>
                  <a:pt x="85488" y="205555"/>
                </a:cubicBezTo>
                <a:close/>
              </a:path>
            </a:pathLst>
          </a:custGeom>
          <a:solidFill>
            <a:schemeClr val="bg1"/>
          </a:solidFill>
          <a:ln w="2699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27" name="Free-form: Shape 426">
            <a:extLst>
              <a:ext uri="{FF2B5EF4-FFF2-40B4-BE49-F238E27FC236}">
                <a16:creationId xmlns:a16="http://schemas.microsoft.com/office/drawing/2014/main" id="{1ED197DA-4121-1483-CADB-002DCDE14B5A}"/>
              </a:ext>
            </a:extLst>
          </p:cNvPr>
          <p:cNvSpPr/>
          <p:nvPr/>
        </p:nvSpPr>
        <p:spPr>
          <a:xfrm flipH="1">
            <a:off x="6230387" y="4411024"/>
            <a:ext cx="172350" cy="248589"/>
          </a:xfrm>
          <a:custGeom>
            <a:avLst/>
            <a:gdLst>
              <a:gd name="csX0" fmla="*/ 778 w 226548"/>
              <a:gd name="csY0" fmla="*/ 0 h 337161"/>
              <a:gd name="csX1" fmla="*/ 37702 w 226548"/>
              <a:gd name="csY1" fmla="*/ 37373 h 337161"/>
              <a:gd name="csX2" fmla="*/ 104410 w 226548"/>
              <a:gd name="csY2" fmla="*/ 29446 h 337161"/>
              <a:gd name="csX3" fmla="*/ 121584 w 226548"/>
              <a:gd name="csY3" fmla="*/ 10749 h 337161"/>
              <a:gd name="csX4" fmla="*/ 168719 w 226548"/>
              <a:gd name="csY4" fmla="*/ 53353 h 337161"/>
              <a:gd name="csX5" fmla="*/ 226548 w 226548"/>
              <a:gd name="csY5" fmla="*/ 20770 h 337161"/>
              <a:gd name="csX6" fmla="*/ 195378 w 226548"/>
              <a:gd name="csY6" fmla="*/ 100783 h 337161"/>
              <a:gd name="csX7" fmla="*/ 130693 w 226548"/>
              <a:gd name="csY7" fmla="*/ 318354 h 337161"/>
              <a:gd name="csX8" fmla="*/ 108611 w 226548"/>
              <a:gd name="csY8" fmla="*/ 336726 h 337161"/>
              <a:gd name="csX9" fmla="*/ 15990 w 226548"/>
              <a:gd name="csY9" fmla="*/ 331469 h 337161"/>
              <a:gd name="csX10" fmla="*/ 0 w 226548"/>
              <a:gd name="csY10" fmla="*/ 331485 h 337161"/>
              <a:gd name="csX11" fmla="*/ 0 w 226548"/>
              <a:gd name="csY11" fmla="*/ 1107 h 33716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226548" h="337161">
                <a:moveTo>
                  <a:pt x="778" y="0"/>
                </a:moveTo>
                <a:cubicBezTo>
                  <a:pt x="13501" y="12962"/>
                  <a:pt x="25038" y="25783"/>
                  <a:pt x="37702" y="37373"/>
                </a:cubicBezTo>
                <a:cubicBezTo>
                  <a:pt x="58156" y="56093"/>
                  <a:pt x="87159" y="53087"/>
                  <a:pt x="104410" y="29446"/>
                </a:cubicBezTo>
                <a:cubicBezTo>
                  <a:pt x="109133" y="22974"/>
                  <a:pt x="115276" y="17539"/>
                  <a:pt x="121584" y="10749"/>
                </a:cubicBezTo>
                <a:cubicBezTo>
                  <a:pt x="130376" y="32859"/>
                  <a:pt x="139680" y="52822"/>
                  <a:pt x="168719" y="53353"/>
                </a:cubicBezTo>
                <a:cubicBezTo>
                  <a:pt x="194658" y="53827"/>
                  <a:pt x="206643" y="32131"/>
                  <a:pt x="226548" y="20770"/>
                </a:cubicBezTo>
                <a:cubicBezTo>
                  <a:pt x="215744" y="48562"/>
                  <a:pt x="205876" y="74800"/>
                  <a:pt x="195378" y="100783"/>
                </a:cubicBezTo>
                <a:cubicBezTo>
                  <a:pt x="166902" y="171263"/>
                  <a:pt x="147278" y="244366"/>
                  <a:pt x="130693" y="318354"/>
                </a:cubicBezTo>
                <a:cubicBezTo>
                  <a:pt x="126342" y="337768"/>
                  <a:pt x="126276" y="337983"/>
                  <a:pt x="108611" y="336726"/>
                </a:cubicBezTo>
                <a:cubicBezTo>
                  <a:pt x="77766" y="334530"/>
                  <a:pt x="46890" y="332362"/>
                  <a:pt x="15990" y="331469"/>
                </a:cubicBezTo>
                <a:lnTo>
                  <a:pt x="0" y="331485"/>
                </a:lnTo>
                <a:lnTo>
                  <a:pt x="0" y="1107"/>
                </a:lnTo>
                <a:close/>
              </a:path>
            </a:pathLst>
          </a:custGeom>
          <a:solidFill>
            <a:srgbClr val="CCD6DA"/>
          </a:solidFill>
          <a:ln w="2699" cap="flat">
            <a:noFill/>
            <a:prstDash val="solid"/>
            <a:miter/>
          </a:ln>
        </p:spPr>
        <p:txBody>
          <a:bodyPr wrap="squar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28" name="Free-form: Shape 427">
            <a:extLst>
              <a:ext uri="{FF2B5EF4-FFF2-40B4-BE49-F238E27FC236}">
                <a16:creationId xmlns:a16="http://schemas.microsoft.com/office/drawing/2014/main" id="{76512810-6C51-1A6E-4E1B-03589621D35D}"/>
              </a:ext>
            </a:extLst>
          </p:cNvPr>
          <p:cNvSpPr/>
          <p:nvPr/>
        </p:nvSpPr>
        <p:spPr>
          <a:xfrm flipH="1">
            <a:off x="6394560" y="5485426"/>
            <a:ext cx="249017" cy="182198"/>
          </a:xfrm>
          <a:custGeom>
            <a:avLst/>
            <a:gdLst>
              <a:gd name="csX0" fmla="*/ 6671 w 327322"/>
              <a:gd name="csY0" fmla="*/ 164556 h 254497"/>
              <a:gd name="csX1" fmla="*/ 41280 w 327322"/>
              <a:gd name="csY1" fmla="*/ 109282 h 254497"/>
              <a:gd name="csX2" fmla="*/ 75457 w 327322"/>
              <a:gd name="csY2" fmla="*/ 67908 h 254497"/>
              <a:gd name="csX3" fmla="*/ 94008 w 327322"/>
              <a:gd name="csY3" fmla="*/ 15251 h 254497"/>
              <a:gd name="csX4" fmla="*/ 111068 w 327322"/>
              <a:gd name="csY4" fmla="*/ 117 h 254497"/>
              <a:gd name="csX5" fmla="*/ 214190 w 327322"/>
              <a:gd name="csY5" fmla="*/ 7891 h 254497"/>
              <a:gd name="csX6" fmla="*/ 311124 w 327322"/>
              <a:gd name="csY6" fmla="*/ 11001 h 254497"/>
              <a:gd name="csX7" fmla="*/ 327310 w 327322"/>
              <a:gd name="csY7" fmla="*/ 26454 h 254497"/>
              <a:gd name="csX8" fmla="*/ 324474 w 327322"/>
              <a:gd name="csY8" fmla="*/ 240912 h 254497"/>
              <a:gd name="csX9" fmla="*/ 314032 w 327322"/>
              <a:gd name="csY9" fmla="*/ 253005 h 254497"/>
              <a:gd name="csX10" fmla="*/ 298014 w 327322"/>
              <a:gd name="csY10" fmla="*/ 254491 h 254497"/>
              <a:gd name="csX11" fmla="*/ 175432 w 327322"/>
              <a:gd name="csY11" fmla="*/ 251365 h 254497"/>
              <a:gd name="csX12" fmla="*/ 60761 w 327322"/>
              <a:gd name="csY12" fmla="*/ 238781 h 254497"/>
              <a:gd name="csX13" fmla="*/ 24636 w 327322"/>
              <a:gd name="csY13" fmla="*/ 235494 h 254497"/>
              <a:gd name="csX14" fmla="*/ 80 w 327322"/>
              <a:gd name="csY14" fmla="*/ 207868 h 254497"/>
              <a:gd name="csX15" fmla="*/ 6671 w 327322"/>
              <a:gd name="csY15" fmla="*/ 164556 h 25449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</a:cxnLst>
            <a:rect l="l" t="t" r="r" b="b"/>
            <a:pathLst>
              <a:path w="327322" h="254497">
                <a:moveTo>
                  <a:pt x="6671" y="164556"/>
                </a:moveTo>
                <a:cubicBezTo>
                  <a:pt x="18404" y="145412"/>
                  <a:pt x="28850" y="126637"/>
                  <a:pt x="41280" y="109282"/>
                </a:cubicBezTo>
                <a:cubicBezTo>
                  <a:pt x="51687" y="94752"/>
                  <a:pt x="66796" y="83230"/>
                  <a:pt x="75457" y="67908"/>
                </a:cubicBezTo>
                <a:cubicBezTo>
                  <a:pt x="84489" y="51927"/>
                  <a:pt x="89269" y="33249"/>
                  <a:pt x="94008" y="15251"/>
                </a:cubicBezTo>
                <a:cubicBezTo>
                  <a:pt x="96650" y="5217"/>
                  <a:pt x="99074" y="-938"/>
                  <a:pt x="111068" y="117"/>
                </a:cubicBezTo>
                <a:cubicBezTo>
                  <a:pt x="145406" y="3136"/>
                  <a:pt x="179777" y="5978"/>
                  <a:pt x="214190" y="7891"/>
                </a:cubicBezTo>
                <a:cubicBezTo>
                  <a:pt x="246464" y="9686"/>
                  <a:pt x="278804" y="10746"/>
                  <a:pt x="311124" y="11001"/>
                </a:cubicBezTo>
                <a:cubicBezTo>
                  <a:pt x="322834" y="11094"/>
                  <a:pt x="327597" y="13267"/>
                  <a:pt x="327310" y="26454"/>
                </a:cubicBezTo>
                <a:cubicBezTo>
                  <a:pt x="325754" y="97927"/>
                  <a:pt x="325026" y="169421"/>
                  <a:pt x="324474" y="240912"/>
                </a:cubicBezTo>
                <a:cubicBezTo>
                  <a:pt x="324411" y="249073"/>
                  <a:pt x="321499" y="252364"/>
                  <a:pt x="314032" y="253005"/>
                </a:cubicBezTo>
                <a:cubicBezTo>
                  <a:pt x="308686" y="253463"/>
                  <a:pt x="303341" y="254593"/>
                  <a:pt x="298014" y="254491"/>
                </a:cubicBezTo>
                <a:cubicBezTo>
                  <a:pt x="257142" y="253707"/>
                  <a:pt x="216187" y="254041"/>
                  <a:pt x="175432" y="251365"/>
                </a:cubicBezTo>
                <a:cubicBezTo>
                  <a:pt x="137099" y="248847"/>
                  <a:pt x="98986" y="243009"/>
                  <a:pt x="60761" y="238781"/>
                </a:cubicBezTo>
                <a:cubicBezTo>
                  <a:pt x="48745" y="237452"/>
                  <a:pt x="36657" y="236780"/>
                  <a:pt x="24636" y="235494"/>
                </a:cubicBezTo>
                <a:cubicBezTo>
                  <a:pt x="4883" y="233380"/>
                  <a:pt x="-764" y="227920"/>
                  <a:pt x="80" y="207868"/>
                </a:cubicBezTo>
                <a:cubicBezTo>
                  <a:pt x="677" y="193697"/>
                  <a:pt x="4088" y="179644"/>
                  <a:pt x="6671" y="164556"/>
                </a:cubicBezTo>
                <a:close/>
              </a:path>
            </a:pathLst>
          </a:custGeom>
          <a:solidFill>
            <a:schemeClr val="bg1"/>
          </a:solidFill>
          <a:ln w="2699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29" name="Free-form: Shape 428">
            <a:extLst>
              <a:ext uri="{FF2B5EF4-FFF2-40B4-BE49-F238E27FC236}">
                <a16:creationId xmlns:a16="http://schemas.microsoft.com/office/drawing/2014/main" id="{8D553A81-F84B-19B2-722A-15029BB8A1FF}"/>
              </a:ext>
            </a:extLst>
          </p:cNvPr>
          <p:cNvSpPr/>
          <p:nvPr/>
        </p:nvSpPr>
        <p:spPr>
          <a:xfrm flipH="1">
            <a:off x="6392837" y="5687539"/>
            <a:ext cx="265587" cy="67524"/>
          </a:xfrm>
          <a:custGeom>
            <a:avLst/>
            <a:gdLst>
              <a:gd name="csX0" fmla="*/ 349104 w 349103"/>
              <a:gd name="csY0" fmla="*/ 55996 h 94319"/>
              <a:gd name="csX1" fmla="*/ 312357 w 349103"/>
              <a:gd name="csY1" fmla="*/ 93839 h 94319"/>
              <a:gd name="csX2" fmla="*/ 208388 w 349103"/>
              <a:gd name="csY2" fmla="*/ 93494 h 94319"/>
              <a:gd name="csX3" fmla="*/ 10435 w 349103"/>
              <a:gd name="csY3" fmla="*/ 66884 h 94319"/>
              <a:gd name="csX4" fmla="*/ 269 w 349103"/>
              <a:gd name="csY4" fmla="*/ 54029 h 94319"/>
              <a:gd name="csX5" fmla="*/ 9397 w 349103"/>
              <a:gd name="csY5" fmla="*/ 10950 h 94319"/>
              <a:gd name="csX6" fmla="*/ 28165 w 349103"/>
              <a:gd name="csY6" fmla="*/ 46 h 94319"/>
              <a:gd name="csX7" fmla="*/ 171895 w 349103"/>
              <a:gd name="csY7" fmla="*/ 17673 h 94319"/>
              <a:gd name="csX8" fmla="*/ 217491 w 349103"/>
              <a:gd name="csY8" fmla="*/ 20703 h 94319"/>
              <a:gd name="csX9" fmla="*/ 329287 w 349103"/>
              <a:gd name="csY9" fmla="*/ 23362 h 94319"/>
              <a:gd name="csX10" fmla="*/ 349090 w 349103"/>
              <a:gd name="csY10" fmla="*/ 42524 h 94319"/>
              <a:gd name="csX11" fmla="*/ 349104 w 349103"/>
              <a:gd name="csY11" fmla="*/ 55996 h 9431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349103" h="94319">
                <a:moveTo>
                  <a:pt x="349104" y="55996"/>
                </a:moveTo>
                <a:cubicBezTo>
                  <a:pt x="349060" y="93701"/>
                  <a:pt x="349061" y="93771"/>
                  <a:pt x="312357" y="93839"/>
                </a:cubicBezTo>
                <a:cubicBezTo>
                  <a:pt x="277697" y="93903"/>
                  <a:pt x="242977" y="95081"/>
                  <a:pt x="208388" y="93494"/>
                </a:cubicBezTo>
                <a:cubicBezTo>
                  <a:pt x="141692" y="90433"/>
                  <a:pt x="75510" y="82596"/>
                  <a:pt x="10435" y="66884"/>
                </a:cubicBezTo>
                <a:cubicBezTo>
                  <a:pt x="3157" y="65127"/>
                  <a:pt x="-1148" y="61858"/>
                  <a:pt x="269" y="54029"/>
                </a:cubicBezTo>
                <a:cubicBezTo>
                  <a:pt x="2890" y="39546"/>
                  <a:pt x="4341" y="24565"/>
                  <a:pt x="9397" y="10950"/>
                </a:cubicBezTo>
                <a:cubicBezTo>
                  <a:pt x="11408" y="5532"/>
                  <a:pt x="22101" y="-591"/>
                  <a:pt x="28165" y="46"/>
                </a:cubicBezTo>
                <a:cubicBezTo>
                  <a:pt x="76162" y="5087"/>
                  <a:pt x="123969" y="11902"/>
                  <a:pt x="171895" y="17673"/>
                </a:cubicBezTo>
                <a:cubicBezTo>
                  <a:pt x="186999" y="19491"/>
                  <a:pt x="202271" y="20235"/>
                  <a:pt x="217491" y="20703"/>
                </a:cubicBezTo>
                <a:cubicBezTo>
                  <a:pt x="254748" y="21848"/>
                  <a:pt x="292017" y="22695"/>
                  <a:pt x="329287" y="23362"/>
                </a:cubicBezTo>
                <a:cubicBezTo>
                  <a:pt x="349020" y="23715"/>
                  <a:pt x="349026" y="23431"/>
                  <a:pt x="349090" y="42524"/>
                </a:cubicBezTo>
                <a:cubicBezTo>
                  <a:pt x="349103" y="46576"/>
                  <a:pt x="349099" y="50627"/>
                  <a:pt x="349104" y="55996"/>
                </a:cubicBezTo>
                <a:close/>
              </a:path>
            </a:pathLst>
          </a:custGeom>
          <a:solidFill>
            <a:schemeClr val="bg1"/>
          </a:solidFill>
          <a:ln w="2699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30" name="Free-form: Shape 429">
            <a:extLst>
              <a:ext uri="{FF2B5EF4-FFF2-40B4-BE49-F238E27FC236}">
                <a16:creationId xmlns:a16="http://schemas.microsoft.com/office/drawing/2014/main" id="{31FBF7F4-828D-EBA9-6E51-EEA9611FFF54}"/>
              </a:ext>
            </a:extLst>
          </p:cNvPr>
          <p:cNvSpPr/>
          <p:nvPr/>
        </p:nvSpPr>
        <p:spPr>
          <a:xfrm flipH="1">
            <a:off x="6308561" y="4297206"/>
            <a:ext cx="191239" cy="139371"/>
          </a:xfrm>
          <a:custGeom>
            <a:avLst/>
            <a:gdLst>
              <a:gd name="csX0" fmla="*/ 0 w 251376"/>
              <a:gd name="csY0" fmla="*/ 143557 h 194676"/>
              <a:gd name="csX1" fmla="*/ 60552 w 251376"/>
              <a:gd name="csY1" fmla="*/ 103445 h 194676"/>
              <a:gd name="csX2" fmla="*/ 106376 w 251376"/>
              <a:gd name="csY2" fmla="*/ 90701 h 194676"/>
              <a:gd name="csX3" fmla="*/ 95829 w 251376"/>
              <a:gd name="csY3" fmla="*/ 13769 h 194676"/>
              <a:gd name="csX4" fmla="*/ 152117 w 251376"/>
              <a:gd name="csY4" fmla="*/ 8010 h 194676"/>
              <a:gd name="csX5" fmla="*/ 155319 w 251376"/>
              <a:gd name="csY5" fmla="*/ 88701 h 194676"/>
              <a:gd name="csX6" fmla="*/ 251288 w 251376"/>
              <a:gd name="csY6" fmla="*/ 139911 h 194676"/>
              <a:gd name="csX7" fmla="*/ 251376 w 251376"/>
              <a:gd name="csY7" fmla="*/ 140847 h 194676"/>
              <a:gd name="csX8" fmla="*/ 226496 w 251376"/>
              <a:gd name="csY8" fmla="*/ 163548 h 194676"/>
              <a:gd name="csX9" fmla="*/ 207044 w 251376"/>
              <a:gd name="csY9" fmla="*/ 187024 h 194676"/>
              <a:gd name="csX10" fmla="*/ 170188 w 251376"/>
              <a:gd name="csY10" fmla="*/ 184842 h 194676"/>
              <a:gd name="csX11" fmla="*/ 142028 w 251376"/>
              <a:gd name="csY11" fmla="*/ 145925 h 194676"/>
              <a:gd name="csX12" fmla="*/ 109750 w 251376"/>
              <a:gd name="csY12" fmla="*/ 146361 h 194676"/>
              <a:gd name="csX13" fmla="*/ 89415 w 251376"/>
              <a:gd name="csY13" fmla="*/ 177998 h 194676"/>
              <a:gd name="csX14" fmla="*/ 40867 w 251376"/>
              <a:gd name="csY14" fmla="*/ 182615 h 194676"/>
              <a:gd name="csX15" fmla="*/ 24429 w 251376"/>
              <a:gd name="csY15" fmla="*/ 159868 h 194676"/>
              <a:gd name="csX16" fmla="*/ 1027 w 251376"/>
              <a:gd name="csY16" fmla="*/ 143506 h 194676"/>
              <a:gd name="csX17" fmla="*/ 0 w 251376"/>
              <a:gd name="csY17" fmla="*/ 143557 h 19467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</a:cxnLst>
            <a:rect l="l" t="t" r="r" b="b"/>
            <a:pathLst>
              <a:path w="251376" h="194676">
                <a:moveTo>
                  <a:pt x="0" y="143557"/>
                </a:moveTo>
                <a:cubicBezTo>
                  <a:pt x="15077" y="122513"/>
                  <a:pt x="37857" y="112614"/>
                  <a:pt x="60552" y="103445"/>
                </a:cubicBezTo>
                <a:cubicBezTo>
                  <a:pt x="75119" y="97559"/>
                  <a:pt x="90974" y="94861"/>
                  <a:pt x="106376" y="90701"/>
                </a:cubicBezTo>
                <a:cubicBezTo>
                  <a:pt x="76306" y="53327"/>
                  <a:pt x="73986" y="36115"/>
                  <a:pt x="95829" y="13769"/>
                </a:cubicBezTo>
                <a:cubicBezTo>
                  <a:pt x="111332" y="-2091"/>
                  <a:pt x="135594" y="-4573"/>
                  <a:pt x="152117" y="8010"/>
                </a:cubicBezTo>
                <a:cubicBezTo>
                  <a:pt x="176627" y="26675"/>
                  <a:pt x="177784" y="50470"/>
                  <a:pt x="155319" y="88701"/>
                </a:cubicBezTo>
                <a:cubicBezTo>
                  <a:pt x="191521" y="97669"/>
                  <a:pt x="225098" y="111398"/>
                  <a:pt x="251288" y="139911"/>
                </a:cubicBezTo>
                <a:cubicBezTo>
                  <a:pt x="251389" y="140832"/>
                  <a:pt x="251376" y="140847"/>
                  <a:pt x="251376" y="140847"/>
                </a:cubicBezTo>
                <a:cubicBezTo>
                  <a:pt x="237967" y="142841"/>
                  <a:pt x="233190" y="154057"/>
                  <a:pt x="226496" y="163548"/>
                </a:cubicBezTo>
                <a:cubicBezTo>
                  <a:pt x="220639" y="171855"/>
                  <a:pt x="214757" y="180670"/>
                  <a:pt x="207044" y="187024"/>
                </a:cubicBezTo>
                <a:cubicBezTo>
                  <a:pt x="194009" y="197760"/>
                  <a:pt x="181605" y="197350"/>
                  <a:pt x="170188" y="184842"/>
                </a:cubicBezTo>
                <a:cubicBezTo>
                  <a:pt x="159459" y="173090"/>
                  <a:pt x="151029" y="159183"/>
                  <a:pt x="142028" y="145925"/>
                </a:cubicBezTo>
                <a:cubicBezTo>
                  <a:pt x="129426" y="127363"/>
                  <a:pt x="121871" y="127341"/>
                  <a:pt x="109750" y="146361"/>
                </a:cubicBezTo>
                <a:cubicBezTo>
                  <a:pt x="103011" y="156935"/>
                  <a:pt x="96721" y="167832"/>
                  <a:pt x="89415" y="177998"/>
                </a:cubicBezTo>
                <a:cubicBezTo>
                  <a:pt x="76871" y="195453"/>
                  <a:pt x="56252" y="197624"/>
                  <a:pt x="40867" y="182615"/>
                </a:cubicBezTo>
                <a:cubicBezTo>
                  <a:pt x="34266" y="176176"/>
                  <a:pt x="29617" y="167667"/>
                  <a:pt x="24429" y="159868"/>
                </a:cubicBezTo>
                <a:cubicBezTo>
                  <a:pt x="18931" y="151605"/>
                  <a:pt x="14335" y="142406"/>
                  <a:pt x="1027" y="143506"/>
                </a:cubicBezTo>
                <a:cubicBezTo>
                  <a:pt x="-26" y="143536"/>
                  <a:pt x="0" y="143557"/>
                  <a:pt x="0" y="143557"/>
                </a:cubicBezTo>
                <a:close/>
              </a:path>
            </a:pathLst>
          </a:custGeom>
          <a:solidFill>
            <a:srgbClr val="FCFCFB"/>
          </a:solidFill>
          <a:ln w="2699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31" name="Free-form: Shape 430">
            <a:extLst>
              <a:ext uri="{FF2B5EF4-FFF2-40B4-BE49-F238E27FC236}">
                <a16:creationId xmlns:a16="http://schemas.microsoft.com/office/drawing/2014/main" id="{5E73CAB1-D96A-A190-789E-56DE0ADC387A}"/>
              </a:ext>
            </a:extLst>
          </p:cNvPr>
          <p:cNvSpPr/>
          <p:nvPr/>
        </p:nvSpPr>
        <p:spPr>
          <a:xfrm flipH="1">
            <a:off x="6404915" y="4686466"/>
            <a:ext cx="86686" cy="45131"/>
          </a:xfrm>
          <a:custGeom>
            <a:avLst/>
            <a:gdLst>
              <a:gd name="csX0" fmla="*/ 62457 w 230080"/>
              <a:gd name="csY0" fmla="*/ 0 h 51402"/>
              <a:gd name="csX1" fmla="*/ 229715 w 230080"/>
              <a:gd name="csY1" fmla="*/ 2548 h 51402"/>
              <a:gd name="csX2" fmla="*/ 229033 w 230080"/>
              <a:gd name="csY2" fmla="*/ 41559 h 51402"/>
              <a:gd name="csX3" fmla="*/ 214851 w 230080"/>
              <a:gd name="csY3" fmla="*/ 50862 h 51402"/>
              <a:gd name="csX4" fmla="*/ 120527 w 230080"/>
              <a:gd name="csY4" fmla="*/ 48743 h 51402"/>
              <a:gd name="csX5" fmla="*/ 13547 w 230080"/>
              <a:gd name="csY5" fmla="*/ 51342 h 51402"/>
              <a:gd name="csX6" fmla="*/ 61 w 230080"/>
              <a:gd name="csY6" fmla="*/ 51359 h 51402"/>
              <a:gd name="csX7" fmla="*/ 4 w 230080"/>
              <a:gd name="csY7" fmla="*/ 13697 h 51402"/>
              <a:gd name="csX8" fmla="*/ 10055 w 230080"/>
              <a:gd name="csY8" fmla="*/ 2596 h 51402"/>
              <a:gd name="csX9" fmla="*/ 62457 w 230080"/>
              <a:gd name="csY9" fmla="*/ 0 h 5140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230080" h="51402">
                <a:moveTo>
                  <a:pt x="62457" y="0"/>
                </a:moveTo>
                <a:cubicBezTo>
                  <a:pt x="118516" y="838"/>
                  <a:pt x="173258" y="1679"/>
                  <a:pt x="229715" y="2548"/>
                </a:cubicBezTo>
                <a:cubicBezTo>
                  <a:pt x="229715" y="16728"/>
                  <a:pt x="230888" y="29374"/>
                  <a:pt x="229033" y="41559"/>
                </a:cubicBezTo>
                <a:cubicBezTo>
                  <a:pt x="228442" y="45440"/>
                  <a:pt x="219802" y="50868"/>
                  <a:pt x="214851" y="50862"/>
                </a:cubicBezTo>
                <a:cubicBezTo>
                  <a:pt x="183409" y="50825"/>
                  <a:pt x="151967" y="48693"/>
                  <a:pt x="120527" y="48743"/>
                </a:cubicBezTo>
                <a:cubicBezTo>
                  <a:pt x="84866" y="48800"/>
                  <a:pt x="49208" y="50434"/>
                  <a:pt x="13547" y="51342"/>
                </a:cubicBezTo>
                <a:cubicBezTo>
                  <a:pt x="8707" y="51466"/>
                  <a:pt x="3861" y="51359"/>
                  <a:pt x="61" y="51359"/>
                </a:cubicBezTo>
                <a:cubicBezTo>
                  <a:pt x="61" y="37755"/>
                  <a:pt x="210" y="25723"/>
                  <a:pt x="4" y="13697"/>
                </a:cubicBezTo>
                <a:cubicBezTo>
                  <a:pt x="-117" y="6604"/>
                  <a:pt x="2365" y="2860"/>
                  <a:pt x="10055" y="2596"/>
                </a:cubicBezTo>
                <a:cubicBezTo>
                  <a:pt x="27093" y="2012"/>
                  <a:pt x="44112" y="901"/>
                  <a:pt x="62457" y="0"/>
                </a:cubicBezTo>
                <a:close/>
              </a:path>
            </a:pathLst>
          </a:custGeom>
          <a:solidFill>
            <a:srgbClr val="FCFCFB"/>
          </a:solidFill>
          <a:ln w="2699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32" name="Free-form: Shape 431">
            <a:extLst>
              <a:ext uri="{FF2B5EF4-FFF2-40B4-BE49-F238E27FC236}">
                <a16:creationId xmlns:a16="http://schemas.microsoft.com/office/drawing/2014/main" id="{3923E621-B65A-A2B1-FC9D-DE222F7A319D}"/>
              </a:ext>
            </a:extLst>
          </p:cNvPr>
          <p:cNvSpPr/>
          <p:nvPr/>
        </p:nvSpPr>
        <p:spPr>
          <a:xfrm flipH="1">
            <a:off x="6403106" y="4777768"/>
            <a:ext cx="142202" cy="36415"/>
          </a:xfrm>
          <a:custGeom>
            <a:avLst/>
            <a:gdLst>
              <a:gd name="csX0" fmla="*/ 171523 w 186920"/>
              <a:gd name="csY0" fmla="*/ 2414 h 50865"/>
              <a:gd name="csX1" fmla="*/ 186375 w 186920"/>
              <a:gd name="csY1" fmla="*/ 26146 h 50865"/>
              <a:gd name="csX2" fmla="*/ 156333 w 186920"/>
              <a:gd name="csY2" fmla="*/ 50678 h 50865"/>
              <a:gd name="csX3" fmla="*/ 31413 w 186920"/>
              <a:gd name="csY3" fmla="*/ 44982 h 50865"/>
              <a:gd name="csX4" fmla="*/ 7682 w 186920"/>
              <a:gd name="csY4" fmla="*/ 36449 h 50865"/>
              <a:gd name="csX5" fmla="*/ 8802 w 186920"/>
              <a:gd name="csY5" fmla="*/ 7738 h 50865"/>
              <a:gd name="csX6" fmla="*/ 34247 w 186920"/>
              <a:gd name="csY6" fmla="*/ 115 h 50865"/>
              <a:gd name="csX7" fmla="*/ 102852 w 186920"/>
              <a:gd name="csY7" fmla="*/ 1497 h 50865"/>
              <a:gd name="csX8" fmla="*/ 171523 w 186920"/>
              <a:gd name="csY8" fmla="*/ 2414 h 5086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</a:cxnLst>
            <a:rect l="l" t="t" r="r" b="b"/>
            <a:pathLst>
              <a:path w="186920" h="50865">
                <a:moveTo>
                  <a:pt x="171523" y="2414"/>
                </a:moveTo>
                <a:cubicBezTo>
                  <a:pt x="185638" y="5545"/>
                  <a:pt x="188278" y="14444"/>
                  <a:pt x="186375" y="26146"/>
                </a:cubicBezTo>
                <a:cubicBezTo>
                  <a:pt x="182364" y="50813"/>
                  <a:pt x="182394" y="51476"/>
                  <a:pt x="156333" y="50678"/>
                </a:cubicBezTo>
                <a:cubicBezTo>
                  <a:pt x="114670" y="49402"/>
                  <a:pt x="73013" y="47552"/>
                  <a:pt x="31413" y="44982"/>
                </a:cubicBezTo>
                <a:cubicBezTo>
                  <a:pt x="23309" y="44481"/>
                  <a:pt x="14787" y="40731"/>
                  <a:pt x="7682" y="36449"/>
                </a:cubicBezTo>
                <a:cubicBezTo>
                  <a:pt x="-3069" y="29971"/>
                  <a:pt x="-2389" y="13306"/>
                  <a:pt x="8802" y="7738"/>
                </a:cubicBezTo>
                <a:cubicBezTo>
                  <a:pt x="16663" y="3827"/>
                  <a:pt x="25670" y="315"/>
                  <a:pt x="34247" y="115"/>
                </a:cubicBezTo>
                <a:cubicBezTo>
                  <a:pt x="57092" y="-420"/>
                  <a:pt x="79978" y="1064"/>
                  <a:pt x="102852" y="1497"/>
                </a:cubicBezTo>
                <a:cubicBezTo>
                  <a:pt x="125350" y="1922"/>
                  <a:pt x="147854" y="2044"/>
                  <a:pt x="171523" y="2414"/>
                </a:cubicBezTo>
                <a:close/>
              </a:path>
            </a:pathLst>
          </a:custGeom>
          <a:solidFill>
            <a:srgbClr val="FCFCFB"/>
          </a:solidFill>
          <a:ln w="2699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33" name="Free-form: Shape 432">
            <a:extLst>
              <a:ext uri="{FF2B5EF4-FFF2-40B4-BE49-F238E27FC236}">
                <a16:creationId xmlns:a16="http://schemas.microsoft.com/office/drawing/2014/main" id="{9F479DCF-1F27-9597-E5E5-E729C2F2EE7D}"/>
              </a:ext>
            </a:extLst>
          </p:cNvPr>
          <p:cNvSpPr/>
          <p:nvPr/>
        </p:nvSpPr>
        <p:spPr>
          <a:xfrm flipH="1">
            <a:off x="6404915" y="4734731"/>
            <a:ext cx="115601" cy="26906"/>
          </a:xfrm>
          <a:custGeom>
            <a:avLst/>
            <a:gdLst>
              <a:gd name="csX0" fmla="*/ 89107 w 151953"/>
              <a:gd name="csY0" fmla="*/ 252 h 37582"/>
              <a:gd name="csX1" fmla="*/ 137399 w 151953"/>
              <a:gd name="csY1" fmla="*/ 2948 h 37582"/>
              <a:gd name="csX2" fmla="*/ 151923 w 151953"/>
              <a:gd name="csY2" fmla="*/ 22533 h 37582"/>
              <a:gd name="csX3" fmla="*/ 138022 w 151953"/>
              <a:gd name="csY3" fmla="*/ 37581 h 37582"/>
              <a:gd name="csX4" fmla="*/ 61340 w 151953"/>
              <a:gd name="csY4" fmla="*/ 35549 h 37582"/>
              <a:gd name="csX5" fmla="*/ 10364 w 151953"/>
              <a:gd name="csY5" fmla="*/ 32504 h 37582"/>
              <a:gd name="csX6" fmla="*/ 3387 w 151953"/>
              <a:gd name="csY6" fmla="*/ 14529 h 37582"/>
              <a:gd name="csX7" fmla="*/ 40547 w 151953"/>
              <a:gd name="csY7" fmla="*/ 433 h 37582"/>
              <a:gd name="csX8" fmla="*/ 89107 w 151953"/>
              <a:gd name="csY8" fmla="*/ 252 h 3758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</a:cxnLst>
            <a:rect l="l" t="t" r="r" b="b"/>
            <a:pathLst>
              <a:path w="151953" h="37582">
                <a:moveTo>
                  <a:pt x="89107" y="252"/>
                </a:moveTo>
                <a:cubicBezTo>
                  <a:pt x="106080" y="1151"/>
                  <a:pt x="121739" y="2057"/>
                  <a:pt x="137399" y="2948"/>
                </a:cubicBezTo>
                <a:cubicBezTo>
                  <a:pt x="150166" y="3675"/>
                  <a:pt x="151455" y="11818"/>
                  <a:pt x="151923" y="22533"/>
                </a:cubicBezTo>
                <a:cubicBezTo>
                  <a:pt x="152405" y="33546"/>
                  <a:pt x="147123" y="37663"/>
                  <a:pt x="138022" y="37581"/>
                </a:cubicBezTo>
                <a:cubicBezTo>
                  <a:pt x="112456" y="37353"/>
                  <a:pt x="86891" y="36506"/>
                  <a:pt x="61340" y="35549"/>
                </a:cubicBezTo>
                <a:cubicBezTo>
                  <a:pt x="44330" y="34912"/>
                  <a:pt x="27290" y="34194"/>
                  <a:pt x="10364" y="32504"/>
                </a:cubicBezTo>
                <a:cubicBezTo>
                  <a:pt x="-484" y="31420"/>
                  <a:pt x="-2827" y="23494"/>
                  <a:pt x="3387" y="14529"/>
                </a:cubicBezTo>
                <a:cubicBezTo>
                  <a:pt x="12657" y="1154"/>
                  <a:pt x="26943" y="1169"/>
                  <a:pt x="40547" y="433"/>
                </a:cubicBezTo>
                <a:cubicBezTo>
                  <a:pt x="56253" y="-417"/>
                  <a:pt x="72041" y="246"/>
                  <a:pt x="89107" y="252"/>
                </a:cubicBezTo>
                <a:close/>
              </a:path>
            </a:pathLst>
          </a:custGeom>
          <a:solidFill>
            <a:srgbClr val="FCFCFB"/>
          </a:solidFill>
          <a:ln w="2699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34" name="Free-form: Shape 433">
            <a:extLst>
              <a:ext uri="{FF2B5EF4-FFF2-40B4-BE49-F238E27FC236}">
                <a16:creationId xmlns:a16="http://schemas.microsoft.com/office/drawing/2014/main" id="{152153FE-59CC-A944-B8DE-C23B7BB1AF68}"/>
              </a:ext>
            </a:extLst>
          </p:cNvPr>
          <p:cNvSpPr/>
          <p:nvPr/>
        </p:nvSpPr>
        <p:spPr>
          <a:xfrm flipH="1">
            <a:off x="6403158" y="4663081"/>
            <a:ext cx="105252" cy="17381"/>
          </a:xfrm>
          <a:custGeom>
            <a:avLst/>
            <a:gdLst>
              <a:gd name="csX0" fmla="*/ 1318 w 138350"/>
              <a:gd name="csY0" fmla="*/ 5445 h 24278"/>
              <a:gd name="csX1" fmla="*/ 32185 w 138350"/>
              <a:gd name="csY1" fmla="*/ 359 h 24278"/>
              <a:gd name="csX2" fmla="*/ 127547 w 138350"/>
              <a:gd name="csY2" fmla="*/ 1 h 24278"/>
              <a:gd name="csX3" fmla="*/ 138350 w 138350"/>
              <a:gd name="csY3" fmla="*/ 11778 h 24278"/>
              <a:gd name="csX4" fmla="*/ 127229 w 138350"/>
              <a:gd name="csY4" fmla="*/ 21765 h 24278"/>
              <a:gd name="csX5" fmla="*/ 55623 w 138350"/>
              <a:gd name="csY5" fmla="*/ 21860 h 24278"/>
              <a:gd name="csX6" fmla="*/ 14025 w 138350"/>
              <a:gd name="csY6" fmla="*/ 24277 h 24278"/>
              <a:gd name="csX7" fmla="*/ 1318 w 138350"/>
              <a:gd name="csY7" fmla="*/ 5445 h 2427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</a:cxnLst>
            <a:rect l="l" t="t" r="r" b="b"/>
            <a:pathLst>
              <a:path w="138350" h="24278">
                <a:moveTo>
                  <a:pt x="1318" y="5445"/>
                </a:moveTo>
                <a:cubicBezTo>
                  <a:pt x="11943" y="3060"/>
                  <a:pt x="22043" y="540"/>
                  <a:pt x="32185" y="359"/>
                </a:cubicBezTo>
                <a:cubicBezTo>
                  <a:pt x="63964" y="-209"/>
                  <a:pt x="95760" y="221"/>
                  <a:pt x="127547" y="1"/>
                </a:cubicBezTo>
                <a:cubicBezTo>
                  <a:pt x="136004" y="-58"/>
                  <a:pt x="138385" y="4159"/>
                  <a:pt x="138350" y="11778"/>
                </a:cubicBezTo>
                <a:cubicBezTo>
                  <a:pt x="138314" y="19623"/>
                  <a:pt x="134207" y="21799"/>
                  <a:pt x="127229" y="21765"/>
                </a:cubicBezTo>
                <a:cubicBezTo>
                  <a:pt x="103360" y="21647"/>
                  <a:pt x="79485" y="21423"/>
                  <a:pt x="55623" y="21860"/>
                </a:cubicBezTo>
                <a:cubicBezTo>
                  <a:pt x="41746" y="22114"/>
                  <a:pt x="27896" y="24173"/>
                  <a:pt x="14025" y="24277"/>
                </a:cubicBezTo>
                <a:cubicBezTo>
                  <a:pt x="1111" y="24374"/>
                  <a:pt x="-2207" y="19176"/>
                  <a:pt x="1318" y="5445"/>
                </a:cubicBezTo>
                <a:close/>
              </a:path>
            </a:pathLst>
          </a:custGeom>
          <a:solidFill>
            <a:srgbClr val="FCFCFB"/>
          </a:solidFill>
          <a:ln w="2699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35" name="Free-form: Shape 434">
            <a:extLst>
              <a:ext uri="{FF2B5EF4-FFF2-40B4-BE49-F238E27FC236}">
                <a16:creationId xmlns:a16="http://schemas.microsoft.com/office/drawing/2014/main" id="{DF213B54-74F4-3936-DC80-D946608BB627}"/>
              </a:ext>
            </a:extLst>
          </p:cNvPr>
          <p:cNvSpPr/>
          <p:nvPr/>
        </p:nvSpPr>
        <p:spPr>
          <a:xfrm flipH="1">
            <a:off x="6281556" y="4404651"/>
            <a:ext cx="21342" cy="32407"/>
          </a:xfrm>
          <a:custGeom>
            <a:avLst/>
            <a:gdLst>
              <a:gd name="csX0" fmla="*/ 10475 w 28053"/>
              <a:gd name="csY0" fmla="*/ 29183 h 45267"/>
              <a:gd name="csX1" fmla="*/ 0 w 28053"/>
              <a:gd name="csY1" fmla="*/ 1367 h 45267"/>
              <a:gd name="csX2" fmla="*/ 3154 w 28053"/>
              <a:gd name="csY2" fmla="*/ 0 h 45267"/>
              <a:gd name="csX3" fmla="*/ 28053 w 28053"/>
              <a:gd name="csY3" fmla="*/ 42345 h 45267"/>
              <a:gd name="csX4" fmla="*/ 24171 w 28053"/>
              <a:gd name="csY4" fmla="*/ 45267 h 45267"/>
              <a:gd name="csX5" fmla="*/ 10475 w 28053"/>
              <a:gd name="csY5" fmla="*/ 29183 h 4526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</a:cxnLst>
            <a:rect l="l" t="t" r="r" b="b"/>
            <a:pathLst>
              <a:path w="28053" h="45267">
                <a:moveTo>
                  <a:pt x="10475" y="29183"/>
                </a:moveTo>
                <a:cubicBezTo>
                  <a:pt x="6669" y="19319"/>
                  <a:pt x="3335" y="10343"/>
                  <a:pt x="0" y="1367"/>
                </a:cubicBezTo>
                <a:cubicBezTo>
                  <a:pt x="1051" y="911"/>
                  <a:pt x="2102" y="456"/>
                  <a:pt x="3154" y="0"/>
                </a:cubicBezTo>
                <a:cubicBezTo>
                  <a:pt x="13794" y="12787"/>
                  <a:pt x="24893" y="25314"/>
                  <a:pt x="28053" y="42345"/>
                </a:cubicBezTo>
                <a:cubicBezTo>
                  <a:pt x="26759" y="43319"/>
                  <a:pt x="25465" y="44293"/>
                  <a:pt x="24171" y="45267"/>
                </a:cubicBezTo>
                <a:cubicBezTo>
                  <a:pt x="19762" y="40202"/>
                  <a:pt x="15354" y="35136"/>
                  <a:pt x="10475" y="29183"/>
                </a:cubicBezTo>
                <a:close/>
              </a:path>
            </a:pathLst>
          </a:custGeom>
          <a:solidFill>
            <a:srgbClr val="CCD6DA"/>
          </a:solidFill>
          <a:ln w="2699" cap="flat">
            <a:solidFill>
              <a:srgbClr val="CDD9DF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36" name="Free-form: Shape 435">
            <a:extLst>
              <a:ext uri="{FF2B5EF4-FFF2-40B4-BE49-F238E27FC236}">
                <a16:creationId xmlns:a16="http://schemas.microsoft.com/office/drawing/2014/main" id="{BBCFC9FE-255C-F5C3-CC39-836D1299A8D3}"/>
              </a:ext>
            </a:extLst>
          </p:cNvPr>
          <p:cNvSpPr/>
          <p:nvPr/>
        </p:nvSpPr>
        <p:spPr>
          <a:xfrm flipH="1">
            <a:off x="6503052" y="4404124"/>
            <a:ext cx="22217" cy="30279"/>
          </a:xfrm>
          <a:custGeom>
            <a:avLst/>
            <a:gdLst>
              <a:gd name="csX0" fmla="*/ 10018 w 29204"/>
              <a:gd name="csY0" fmla="*/ 38080 h 42295"/>
              <a:gd name="csX1" fmla="*/ 3166 w 29204"/>
              <a:gd name="csY1" fmla="*/ 42296 h 42295"/>
              <a:gd name="csX2" fmla="*/ 0 w 29204"/>
              <a:gd name="csY2" fmla="*/ 39775 h 42295"/>
              <a:gd name="csX3" fmla="*/ 24176 w 29204"/>
              <a:gd name="csY3" fmla="*/ 0 h 42295"/>
              <a:gd name="csX4" fmla="*/ 29205 w 29204"/>
              <a:gd name="csY4" fmla="*/ 2823 h 42295"/>
              <a:gd name="csX5" fmla="*/ 10018 w 29204"/>
              <a:gd name="csY5" fmla="*/ 38080 h 4229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</a:cxnLst>
            <a:rect l="l" t="t" r="r" b="b"/>
            <a:pathLst>
              <a:path w="29204" h="42295">
                <a:moveTo>
                  <a:pt x="10018" y="38080"/>
                </a:moveTo>
                <a:cubicBezTo>
                  <a:pt x="7280" y="39942"/>
                  <a:pt x="5223" y="41119"/>
                  <a:pt x="3166" y="42296"/>
                </a:cubicBezTo>
                <a:cubicBezTo>
                  <a:pt x="2111" y="41456"/>
                  <a:pt x="1056" y="40615"/>
                  <a:pt x="0" y="39775"/>
                </a:cubicBezTo>
                <a:cubicBezTo>
                  <a:pt x="8059" y="26517"/>
                  <a:pt x="16118" y="13258"/>
                  <a:pt x="24176" y="0"/>
                </a:cubicBezTo>
                <a:cubicBezTo>
                  <a:pt x="25853" y="941"/>
                  <a:pt x="27529" y="1882"/>
                  <a:pt x="29205" y="2823"/>
                </a:cubicBezTo>
                <a:cubicBezTo>
                  <a:pt x="23036" y="14347"/>
                  <a:pt x="16867" y="25871"/>
                  <a:pt x="10018" y="38080"/>
                </a:cubicBezTo>
                <a:close/>
              </a:path>
            </a:pathLst>
          </a:custGeom>
          <a:solidFill>
            <a:srgbClr val="FCFCFB"/>
          </a:solidFill>
          <a:ln w="2699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37" name="Free-form: Shape 436">
            <a:extLst>
              <a:ext uri="{FF2B5EF4-FFF2-40B4-BE49-F238E27FC236}">
                <a16:creationId xmlns:a16="http://schemas.microsoft.com/office/drawing/2014/main" id="{2AFB9606-BEB5-CA6C-700D-00BA1D123E33}"/>
              </a:ext>
            </a:extLst>
          </p:cNvPr>
          <p:cNvSpPr/>
          <p:nvPr/>
        </p:nvSpPr>
        <p:spPr>
          <a:xfrm flipH="1">
            <a:off x="6573851" y="4433891"/>
            <a:ext cx="860" cy="949"/>
          </a:xfrm>
          <a:custGeom>
            <a:avLst/>
            <a:gdLst>
              <a:gd name="csX0" fmla="*/ 1053 w 1130"/>
              <a:gd name="csY0" fmla="*/ 1326 h 1325"/>
              <a:gd name="csX1" fmla="*/ 0 w 1130"/>
              <a:gd name="csY1" fmla="*/ 0 h 1325"/>
              <a:gd name="csX2" fmla="*/ 1033 w 1130"/>
              <a:gd name="csY2" fmla="*/ 761 h 1325"/>
              <a:gd name="csX3" fmla="*/ 1053 w 1130"/>
              <a:gd name="csY3" fmla="*/ 1326 h 132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</a:cxnLst>
            <a:rect l="l" t="t" r="r" b="b"/>
            <a:pathLst>
              <a:path w="1130" h="1325">
                <a:moveTo>
                  <a:pt x="1053" y="1326"/>
                </a:moveTo>
                <a:cubicBezTo>
                  <a:pt x="665" y="916"/>
                  <a:pt x="333" y="458"/>
                  <a:pt x="0" y="0"/>
                </a:cubicBezTo>
                <a:cubicBezTo>
                  <a:pt x="287" y="118"/>
                  <a:pt x="574" y="236"/>
                  <a:pt x="1033" y="761"/>
                </a:cubicBezTo>
                <a:cubicBezTo>
                  <a:pt x="1206" y="1168"/>
                  <a:pt x="1108" y="1277"/>
                  <a:pt x="1053" y="1326"/>
                </a:cubicBezTo>
                <a:close/>
              </a:path>
            </a:pathLst>
          </a:custGeom>
          <a:solidFill>
            <a:srgbClr val="FCFCFB"/>
          </a:solidFill>
          <a:ln w="2699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38" name="Free-form: Shape 437">
            <a:extLst>
              <a:ext uri="{FF2B5EF4-FFF2-40B4-BE49-F238E27FC236}">
                <a16:creationId xmlns:a16="http://schemas.microsoft.com/office/drawing/2014/main" id="{99DA92B0-F112-048A-BF43-1C465A3D1724}"/>
              </a:ext>
            </a:extLst>
          </p:cNvPr>
          <p:cNvSpPr/>
          <p:nvPr/>
        </p:nvSpPr>
        <p:spPr>
          <a:xfrm flipH="1">
            <a:off x="6499825" y="4399957"/>
            <a:ext cx="332" cy="107"/>
          </a:xfrm>
          <a:custGeom>
            <a:avLst/>
            <a:gdLst>
              <a:gd name="csX0" fmla="*/ 434 w 437"/>
              <a:gd name="csY0" fmla="*/ 0 h 149"/>
              <a:gd name="csX1" fmla="*/ 46 w 437"/>
              <a:gd name="csY1" fmla="*/ 146 h 149"/>
              <a:gd name="csX2" fmla="*/ 434 w 437"/>
              <a:gd name="csY2" fmla="*/ 0 h 14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437" h="149">
                <a:moveTo>
                  <a:pt x="434" y="0"/>
                </a:moveTo>
                <a:cubicBezTo>
                  <a:pt x="157" y="78"/>
                  <a:pt x="-110" y="168"/>
                  <a:pt x="46" y="146"/>
                </a:cubicBezTo>
                <a:cubicBezTo>
                  <a:pt x="469" y="33"/>
                  <a:pt x="443" y="12"/>
                  <a:pt x="434" y="0"/>
                </a:cubicBezTo>
                <a:close/>
              </a:path>
            </a:pathLst>
          </a:custGeom>
          <a:solidFill>
            <a:srgbClr val="FCFCFB"/>
          </a:solidFill>
          <a:ln w="2699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39" name="Free-form: Shape 438">
            <a:extLst>
              <a:ext uri="{FF2B5EF4-FFF2-40B4-BE49-F238E27FC236}">
                <a16:creationId xmlns:a16="http://schemas.microsoft.com/office/drawing/2014/main" id="{3BBA269C-5CAE-E1A7-B677-97329AB0BCF2}"/>
              </a:ext>
            </a:extLst>
          </p:cNvPr>
          <p:cNvSpPr/>
          <p:nvPr/>
        </p:nvSpPr>
        <p:spPr>
          <a:xfrm flipH="1">
            <a:off x="6307743" y="4398025"/>
            <a:ext cx="806" cy="864"/>
          </a:xfrm>
          <a:custGeom>
            <a:avLst/>
            <a:gdLst>
              <a:gd name="csX0" fmla="*/ 4 w 1059"/>
              <a:gd name="csY0" fmla="*/ 0 h 1207"/>
              <a:gd name="csX1" fmla="*/ 1060 w 1059"/>
              <a:gd name="csY1" fmla="*/ 1208 h 1207"/>
              <a:gd name="csX2" fmla="*/ 130 w 1059"/>
              <a:gd name="csY2" fmla="*/ 422 h 1207"/>
              <a:gd name="csX3" fmla="*/ 4 w 1059"/>
              <a:gd name="csY3" fmla="*/ 0 h 120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</a:cxnLst>
            <a:rect l="l" t="t" r="r" b="b"/>
            <a:pathLst>
              <a:path w="1059" h="1207">
                <a:moveTo>
                  <a:pt x="4" y="0"/>
                </a:moveTo>
                <a:cubicBezTo>
                  <a:pt x="360" y="398"/>
                  <a:pt x="710" y="803"/>
                  <a:pt x="1060" y="1208"/>
                </a:cubicBezTo>
                <a:cubicBezTo>
                  <a:pt x="798" y="1080"/>
                  <a:pt x="537" y="952"/>
                  <a:pt x="130" y="422"/>
                </a:cubicBezTo>
                <a:cubicBezTo>
                  <a:pt x="-16" y="21"/>
                  <a:pt x="-3" y="6"/>
                  <a:pt x="4" y="0"/>
                </a:cubicBezTo>
                <a:close/>
              </a:path>
            </a:pathLst>
          </a:custGeom>
          <a:solidFill>
            <a:srgbClr val="CCD6DA"/>
          </a:solidFill>
          <a:ln w="2699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40" name="Free-form: Shape 439">
            <a:extLst>
              <a:ext uri="{FF2B5EF4-FFF2-40B4-BE49-F238E27FC236}">
                <a16:creationId xmlns:a16="http://schemas.microsoft.com/office/drawing/2014/main" id="{DE442AC2-89D9-75EA-92AE-25760A0F828B}"/>
              </a:ext>
            </a:extLst>
          </p:cNvPr>
          <p:cNvSpPr/>
          <p:nvPr/>
        </p:nvSpPr>
        <p:spPr>
          <a:xfrm flipH="1">
            <a:off x="6313128" y="4686466"/>
            <a:ext cx="86686" cy="45131"/>
          </a:xfrm>
          <a:custGeom>
            <a:avLst/>
            <a:gdLst>
              <a:gd name="csX0" fmla="*/ 62457 w 230080"/>
              <a:gd name="csY0" fmla="*/ 0 h 51402"/>
              <a:gd name="csX1" fmla="*/ 229715 w 230080"/>
              <a:gd name="csY1" fmla="*/ 2548 h 51402"/>
              <a:gd name="csX2" fmla="*/ 229033 w 230080"/>
              <a:gd name="csY2" fmla="*/ 41559 h 51402"/>
              <a:gd name="csX3" fmla="*/ 214851 w 230080"/>
              <a:gd name="csY3" fmla="*/ 50862 h 51402"/>
              <a:gd name="csX4" fmla="*/ 120527 w 230080"/>
              <a:gd name="csY4" fmla="*/ 48743 h 51402"/>
              <a:gd name="csX5" fmla="*/ 13547 w 230080"/>
              <a:gd name="csY5" fmla="*/ 51342 h 51402"/>
              <a:gd name="csX6" fmla="*/ 61 w 230080"/>
              <a:gd name="csY6" fmla="*/ 51359 h 51402"/>
              <a:gd name="csX7" fmla="*/ 4 w 230080"/>
              <a:gd name="csY7" fmla="*/ 13697 h 51402"/>
              <a:gd name="csX8" fmla="*/ 10055 w 230080"/>
              <a:gd name="csY8" fmla="*/ 2596 h 51402"/>
              <a:gd name="csX9" fmla="*/ 62457 w 230080"/>
              <a:gd name="csY9" fmla="*/ 0 h 5140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230080" h="51402">
                <a:moveTo>
                  <a:pt x="62457" y="0"/>
                </a:moveTo>
                <a:cubicBezTo>
                  <a:pt x="118516" y="838"/>
                  <a:pt x="173258" y="1679"/>
                  <a:pt x="229715" y="2548"/>
                </a:cubicBezTo>
                <a:cubicBezTo>
                  <a:pt x="229715" y="16728"/>
                  <a:pt x="230888" y="29374"/>
                  <a:pt x="229033" y="41559"/>
                </a:cubicBezTo>
                <a:cubicBezTo>
                  <a:pt x="228442" y="45440"/>
                  <a:pt x="219802" y="50868"/>
                  <a:pt x="214851" y="50862"/>
                </a:cubicBezTo>
                <a:cubicBezTo>
                  <a:pt x="183409" y="50825"/>
                  <a:pt x="151967" y="48693"/>
                  <a:pt x="120527" y="48743"/>
                </a:cubicBezTo>
                <a:cubicBezTo>
                  <a:pt x="84866" y="48800"/>
                  <a:pt x="49208" y="50434"/>
                  <a:pt x="13547" y="51342"/>
                </a:cubicBezTo>
                <a:cubicBezTo>
                  <a:pt x="8707" y="51466"/>
                  <a:pt x="3861" y="51359"/>
                  <a:pt x="61" y="51359"/>
                </a:cubicBezTo>
                <a:cubicBezTo>
                  <a:pt x="61" y="37755"/>
                  <a:pt x="210" y="25723"/>
                  <a:pt x="4" y="13697"/>
                </a:cubicBezTo>
                <a:cubicBezTo>
                  <a:pt x="-117" y="6604"/>
                  <a:pt x="2365" y="2860"/>
                  <a:pt x="10055" y="2596"/>
                </a:cubicBezTo>
                <a:cubicBezTo>
                  <a:pt x="27093" y="2012"/>
                  <a:pt x="44112" y="901"/>
                  <a:pt x="62457" y="0"/>
                </a:cubicBezTo>
                <a:close/>
              </a:path>
            </a:pathLst>
          </a:custGeom>
          <a:solidFill>
            <a:srgbClr val="CCD6DA"/>
          </a:solidFill>
          <a:ln w="2699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41" name="Free-form: Shape 440">
            <a:extLst>
              <a:ext uri="{FF2B5EF4-FFF2-40B4-BE49-F238E27FC236}">
                <a16:creationId xmlns:a16="http://schemas.microsoft.com/office/drawing/2014/main" id="{DD048323-FBA5-0FC8-9C67-46E78A383F31}"/>
              </a:ext>
            </a:extLst>
          </p:cNvPr>
          <p:cNvSpPr/>
          <p:nvPr/>
        </p:nvSpPr>
        <p:spPr>
          <a:xfrm>
            <a:off x="6399473" y="4411024"/>
            <a:ext cx="181158" cy="248589"/>
          </a:xfrm>
          <a:custGeom>
            <a:avLst/>
            <a:gdLst>
              <a:gd name="csX0" fmla="*/ 778 w 226548"/>
              <a:gd name="csY0" fmla="*/ 0 h 337161"/>
              <a:gd name="csX1" fmla="*/ 37702 w 226548"/>
              <a:gd name="csY1" fmla="*/ 37373 h 337161"/>
              <a:gd name="csX2" fmla="*/ 104410 w 226548"/>
              <a:gd name="csY2" fmla="*/ 29446 h 337161"/>
              <a:gd name="csX3" fmla="*/ 121584 w 226548"/>
              <a:gd name="csY3" fmla="*/ 10749 h 337161"/>
              <a:gd name="csX4" fmla="*/ 168719 w 226548"/>
              <a:gd name="csY4" fmla="*/ 53353 h 337161"/>
              <a:gd name="csX5" fmla="*/ 226548 w 226548"/>
              <a:gd name="csY5" fmla="*/ 20770 h 337161"/>
              <a:gd name="csX6" fmla="*/ 195378 w 226548"/>
              <a:gd name="csY6" fmla="*/ 100783 h 337161"/>
              <a:gd name="csX7" fmla="*/ 130693 w 226548"/>
              <a:gd name="csY7" fmla="*/ 318354 h 337161"/>
              <a:gd name="csX8" fmla="*/ 108611 w 226548"/>
              <a:gd name="csY8" fmla="*/ 336726 h 337161"/>
              <a:gd name="csX9" fmla="*/ 15990 w 226548"/>
              <a:gd name="csY9" fmla="*/ 331469 h 337161"/>
              <a:gd name="csX10" fmla="*/ 0 w 226548"/>
              <a:gd name="csY10" fmla="*/ 331485 h 337161"/>
              <a:gd name="csX11" fmla="*/ 0 w 226548"/>
              <a:gd name="csY11" fmla="*/ 1107 h 33716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226548" h="337161">
                <a:moveTo>
                  <a:pt x="778" y="0"/>
                </a:moveTo>
                <a:cubicBezTo>
                  <a:pt x="13501" y="12962"/>
                  <a:pt x="25038" y="25783"/>
                  <a:pt x="37702" y="37373"/>
                </a:cubicBezTo>
                <a:cubicBezTo>
                  <a:pt x="58156" y="56093"/>
                  <a:pt x="87159" y="53087"/>
                  <a:pt x="104410" y="29446"/>
                </a:cubicBezTo>
                <a:cubicBezTo>
                  <a:pt x="109133" y="22974"/>
                  <a:pt x="115276" y="17539"/>
                  <a:pt x="121584" y="10749"/>
                </a:cubicBezTo>
                <a:cubicBezTo>
                  <a:pt x="130376" y="32859"/>
                  <a:pt x="139680" y="52822"/>
                  <a:pt x="168719" y="53353"/>
                </a:cubicBezTo>
                <a:cubicBezTo>
                  <a:pt x="194658" y="53827"/>
                  <a:pt x="206643" y="32131"/>
                  <a:pt x="226548" y="20770"/>
                </a:cubicBezTo>
                <a:cubicBezTo>
                  <a:pt x="215744" y="48562"/>
                  <a:pt x="205876" y="74800"/>
                  <a:pt x="195378" y="100783"/>
                </a:cubicBezTo>
                <a:cubicBezTo>
                  <a:pt x="166902" y="171263"/>
                  <a:pt x="147278" y="244366"/>
                  <a:pt x="130693" y="318354"/>
                </a:cubicBezTo>
                <a:cubicBezTo>
                  <a:pt x="126342" y="337768"/>
                  <a:pt x="126276" y="337983"/>
                  <a:pt x="108611" y="336726"/>
                </a:cubicBezTo>
                <a:cubicBezTo>
                  <a:pt x="77766" y="334530"/>
                  <a:pt x="46890" y="332362"/>
                  <a:pt x="15990" y="331469"/>
                </a:cubicBezTo>
                <a:lnTo>
                  <a:pt x="0" y="331485"/>
                </a:lnTo>
                <a:lnTo>
                  <a:pt x="0" y="1107"/>
                </a:lnTo>
                <a:close/>
              </a:path>
            </a:pathLst>
          </a:custGeom>
          <a:solidFill>
            <a:schemeClr val="bg1"/>
          </a:solidFill>
          <a:ln w="2699" cap="flat">
            <a:noFill/>
            <a:prstDash val="solid"/>
            <a:miter/>
          </a:ln>
        </p:spPr>
        <p:txBody>
          <a:bodyPr wrap="squar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42" name="Free-form: Shape 441">
            <a:extLst>
              <a:ext uri="{FF2B5EF4-FFF2-40B4-BE49-F238E27FC236}">
                <a16:creationId xmlns:a16="http://schemas.microsoft.com/office/drawing/2014/main" id="{6E4DE8F0-9DA7-CBB8-A4FC-5DDDC896C646}"/>
              </a:ext>
            </a:extLst>
          </p:cNvPr>
          <p:cNvSpPr/>
          <p:nvPr/>
        </p:nvSpPr>
        <p:spPr>
          <a:xfrm flipH="1">
            <a:off x="6308146" y="4297589"/>
            <a:ext cx="96348" cy="138988"/>
          </a:xfrm>
          <a:custGeom>
            <a:avLst/>
            <a:gdLst>
              <a:gd name="csX0" fmla="*/ 0 w 126645"/>
              <a:gd name="csY0" fmla="*/ 0 h 194142"/>
              <a:gd name="csX1" fmla="*/ 27386 w 126645"/>
              <a:gd name="csY1" fmla="*/ 7476 h 194142"/>
              <a:gd name="csX2" fmla="*/ 30588 w 126645"/>
              <a:gd name="csY2" fmla="*/ 88167 h 194142"/>
              <a:gd name="csX3" fmla="*/ 126557 w 126645"/>
              <a:gd name="csY3" fmla="*/ 139377 h 194142"/>
              <a:gd name="csX4" fmla="*/ 126645 w 126645"/>
              <a:gd name="csY4" fmla="*/ 140313 h 194142"/>
              <a:gd name="csX5" fmla="*/ 101765 w 126645"/>
              <a:gd name="csY5" fmla="*/ 163014 h 194142"/>
              <a:gd name="csX6" fmla="*/ 82313 w 126645"/>
              <a:gd name="csY6" fmla="*/ 186490 h 194142"/>
              <a:gd name="csX7" fmla="*/ 45457 w 126645"/>
              <a:gd name="csY7" fmla="*/ 184308 h 194142"/>
              <a:gd name="csX8" fmla="*/ 17297 w 126645"/>
              <a:gd name="csY8" fmla="*/ 145391 h 194142"/>
              <a:gd name="csX9" fmla="*/ 978 w 126645"/>
              <a:gd name="csY9" fmla="*/ 131516 h 194142"/>
              <a:gd name="csX10" fmla="*/ 0 w 126645"/>
              <a:gd name="csY10" fmla="*/ 132393 h 194142"/>
              <a:gd name="csX11" fmla="*/ 0 w 126645"/>
              <a:gd name="csY11" fmla="*/ 0 h 19414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126645" h="194142">
                <a:moveTo>
                  <a:pt x="0" y="0"/>
                </a:moveTo>
                <a:lnTo>
                  <a:pt x="27386" y="7476"/>
                </a:lnTo>
                <a:cubicBezTo>
                  <a:pt x="51896" y="26141"/>
                  <a:pt x="53053" y="49936"/>
                  <a:pt x="30588" y="88167"/>
                </a:cubicBezTo>
                <a:cubicBezTo>
                  <a:pt x="66790" y="97135"/>
                  <a:pt x="100367" y="110864"/>
                  <a:pt x="126557" y="139377"/>
                </a:cubicBezTo>
                <a:cubicBezTo>
                  <a:pt x="126658" y="140298"/>
                  <a:pt x="126645" y="140313"/>
                  <a:pt x="126645" y="140313"/>
                </a:cubicBezTo>
                <a:cubicBezTo>
                  <a:pt x="113236" y="142307"/>
                  <a:pt x="108459" y="153523"/>
                  <a:pt x="101765" y="163014"/>
                </a:cubicBezTo>
                <a:cubicBezTo>
                  <a:pt x="95908" y="171321"/>
                  <a:pt x="90026" y="180136"/>
                  <a:pt x="82313" y="186490"/>
                </a:cubicBezTo>
                <a:cubicBezTo>
                  <a:pt x="69278" y="197226"/>
                  <a:pt x="56874" y="196816"/>
                  <a:pt x="45457" y="184308"/>
                </a:cubicBezTo>
                <a:cubicBezTo>
                  <a:pt x="34728" y="172556"/>
                  <a:pt x="26298" y="158649"/>
                  <a:pt x="17297" y="145391"/>
                </a:cubicBezTo>
                <a:cubicBezTo>
                  <a:pt x="10996" y="136110"/>
                  <a:pt x="5957" y="131464"/>
                  <a:pt x="978" y="131516"/>
                </a:cubicBezTo>
                <a:lnTo>
                  <a:pt x="0" y="132393"/>
                </a:lnTo>
                <a:lnTo>
                  <a:pt x="0" y="0"/>
                </a:lnTo>
                <a:close/>
              </a:path>
            </a:pathLst>
          </a:custGeom>
          <a:solidFill>
            <a:srgbClr val="CCD6DA"/>
          </a:solidFill>
          <a:ln w="2699" cap="flat">
            <a:solidFill>
              <a:srgbClr val="CDD9DF"/>
            </a:solidFill>
            <a:prstDash val="solid"/>
            <a:miter/>
          </a:ln>
        </p:spPr>
        <p:txBody>
          <a:bodyPr wrap="squar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43" name="Oval 442">
            <a:extLst>
              <a:ext uri="{FF2B5EF4-FFF2-40B4-BE49-F238E27FC236}">
                <a16:creationId xmlns:a16="http://schemas.microsoft.com/office/drawing/2014/main" id="{86AF8813-F773-9F41-FB4A-D4438E32563F}"/>
              </a:ext>
            </a:extLst>
          </p:cNvPr>
          <p:cNvSpPr/>
          <p:nvPr/>
        </p:nvSpPr>
        <p:spPr>
          <a:xfrm>
            <a:off x="7716407" y="3926769"/>
            <a:ext cx="656485" cy="147620"/>
          </a:xfrm>
          <a:prstGeom prst="ellipse">
            <a:avLst/>
          </a:prstGeom>
          <a:solidFill>
            <a:schemeClr val="tx1">
              <a:alpha val="5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44" name="Free-form: Shape 443">
            <a:extLst>
              <a:ext uri="{FF2B5EF4-FFF2-40B4-BE49-F238E27FC236}">
                <a16:creationId xmlns:a16="http://schemas.microsoft.com/office/drawing/2014/main" id="{0AE39D25-C3C5-A71B-9919-90C6F6BE50A3}"/>
              </a:ext>
            </a:extLst>
          </p:cNvPr>
          <p:cNvSpPr/>
          <p:nvPr/>
        </p:nvSpPr>
        <p:spPr>
          <a:xfrm>
            <a:off x="7630428" y="3179489"/>
            <a:ext cx="880396" cy="841622"/>
          </a:xfrm>
          <a:custGeom>
            <a:avLst/>
            <a:gdLst>
              <a:gd name="csX0" fmla="*/ 401579 w 1609516"/>
              <a:gd name="csY0" fmla="*/ 1495809 h 1538630"/>
              <a:gd name="csX1" fmla="*/ 400190 w 1609516"/>
              <a:gd name="csY1" fmla="*/ 1496004 h 1538630"/>
              <a:gd name="csX2" fmla="*/ 401224 w 1609516"/>
              <a:gd name="csY2" fmla="*/ 1496470 h 1538630"/>
              <a:gd name="csX3" fmla="*/ 401224 w 1609516"/>
              <a:gd name="csY3" fmla="*/ 1498590 h 1538630"/>
              <a:gd name="csX4" fmla="*/ 401579 w 1609516"/>
              <a:gd name="csY4" fmla="*/ 1498628 h 1538630"/>
              <a:gd name="csX5" fmla="*/ 401579 w 1609516"/>
              <a:gd name="csY5" fmla="*/ 1495809 h 1538630"/>
              <a:gd name="csX6" fmla="*/ 368755 w 1609516"/>
              <a:gd name="csY6" fmla="*/ 1486512 h 1538630"/>
              <a:gd name="csX7" fmla="*/ 364089 w 1609516"/>
              <a:gd name="csY7" fmla="*/ 1487354 h 1538630"/>
              <a:gd name="csX8" fmla="*/ 364089 w 1609516"/>
              <a:gd name="csY8" fmla="*/ 1487908 h 1538630"/>
              <a:gd name="csX9" fmla="*/ 1049801 w 1609516"/>
              <a:gd name="csY9" fmla="*/ 1484562 h 1538630"/>
              <a:gd name="csX10" fmla="*/ 1046735 w 1609516"/>
              <a:gd name="csY10" fmla="*/ 1485945 h 1538630"/>
              <a:gd name="csX11" fmla="*/ 1046955 w 1609516"/>
              <a:gd name="csY11" fmla="*/ 1486045 h 1538630"/>
              <a:gd name="csX12" fmla="*/ 1049801 w 1609516"/>
              <a:gd name="csY12" fmla="*/ 1485188 h 1538630"/>
              <a:gd name="csX13" fmla="*/ 351234 w 1609516"/>
              <a:gd name="csY13" fmla="*/ 1444508 h 1538630"/>
              <a:gd name="csX14" fmla="*/ 351234 w 1609516"/>
              <a:gd name="csY14" fmla="*/ 1444997 h 1538630"/>
              <a:gd name="csX15" fmla="*/ 351592 w 1609516"/>
              <a:gd name="csY15" fmla="*/ 1445078 h 1538630"/>
              <a:gd name="csX16" fmla="*/ 351908 w 1609516"/>
              <a:gd name="csY16" fmla="*/ 1431206 h 1538630"/>
              <a:gd name="csX17" fmla="*/ 351234 w 1609516"/>
              <a:gd name="csY17" fmla="*/ 1431611 h 1538630"/>
              <a:gd name="csX18" fmla="*/ 351234 w 1609516"/>
              <a:gd name="csY18" fmla="*/ 1432274 h 1538630"/>
              <a:gd name="csX19" fmla="*/ 358162 w 1609516"/>
              <a:gd name="csY19" fmla="*/ 1421494 h 1538630"/>
              <a:gd name="csX20" fmla="*/ 355921 w 1609516"/>
              <a:gd name="csY20" fmla="*/ 1423156 h 1538630"/>
              <a:gd name="csX21" fmla="*/ 355921 w 1609516"/>
              <a:gd name="csY21" fmla="*/ 1423548 h 1538630"/>
              <a:gd name="csX22" fmla="*/ 376098 w 1609516"/>
              <a:gd name="csY22" fmla="*/ 1408347 h 1538630"/>
              <a:gd name="csX23" fmla="*/ 370750 w 1609516"/>
              <a:gd name="csY23" fmla="*/ 1412245 h 1538630"/>
              <a:gd name="csX24" fmla="*/ 375023 w 1609516"/>
              <a:gd name="csY24" fmla="*/ 1411256 h 1538630"/>
              <a:gd name="csX25" fmla="*/ 421956 w 1609516"/>
              <a:gd name="csY25" fmla="*/ 1365623 h 1538630"/>
              <a:gd name="csX26" fmla="*/ 421765 w 1609516"/>
              <a:gd name="csY26" fmla="*/ 1366161 h 1538630"/>
              <a:gd name="csX27" fmla="*/ 421887 w 1609516"/>
              <a:gd name="csY27" fmla="*/ 1366161 h 1538630"/>
              <a:gd name="csX28" fmla="*/ 754553 w 1609516"/>
              <a:gd name="csY28" fmla="*/ 1360575 h 1538630"/>
              <a:gd name="csX29" fmla="*/ 754089 w 1609516"/>
              <a:gd name="csY29" fmla="*/ 1361433 h 1538630"/>
              <a:gd name="csX30" fmla="*/ 754431 w 1609516"/>
              <a:gd name="csY30" fmla="*/ 1361125 h 1538630"/>
              <a:gd name="csX31" fmla="*/ 1277973 w 1609516"/>
              <a:gd name="csY31" fmla="*/ 1332923 h 1538630"/>
              <a:gd name="csX32" fmla="*/ 1277944 w 1609516"/>
              <a:gd name="csY32" fmla="*/ 1332936 h 1538630"/>
              <a:gd name="csX33" fmla="*/ 1277949 w 1609516"/>
              <a:gd name="csY33" fmla="*/ 1333139 h 1538630"/>
              <a:gd name="csX34" fmla="*/ 1268556 w 1609516"/>
              <a:gd name="csY34" fmla="*/ 1321066 h 1538630"/>
              <a:gd name="csX35" fmla="*/ 1268556 w 1609516"/>
              <a:gd name="csY35" fmla="*/ 1325294 h 1538630"/>
              <a:gd name="csX36" fmla="*/ 1265432 w 1609516"/>
              <a:gd name="csY36" fmla="*/ 1325294 h 1538630"/>
              <a:gd name="csX37" fmla="*/ 1265432 w 1609516"/>
              <a:gd name="csY37" fmla="*/ 1340795 h 1538630"/>
              <a:gd name="csX38" fmla="*/ 1265476 w 1609516"/>
              <a:gd name="csY38" fmla="*/ 1340714 h 1538630"/>
              <a:gd name="csX39" fmla="*/ 1265476 w 1609516"/>
              <a:gd name="csY39" fmla="*/ 1325877 h 1538630"/>
              <a:gd name="csX40" fmla="*/ 1268600 w 1609516"/>
              <a:gd name="csY40" fmla="*/ 1325877 h 1538630"/>
              <a:gd name="csX41" fmla="*/ 1268600 w 1609516"/>
              <a:gd name="csY41" fmla="*/ 1321649 h 1538630"/>
              <a:gd name="csX42" fmla="*/ 1273286 w 1609516"/>
              <a:gd name="csY42" fmla="*/ 1321649 h 1538630"/>
              <a:gd name="csX43" fmla="*/ 1273227 w 1609516"/>
              <a:gd name="csY43" fmla="*/ 1321066 h 1538630"/>
              <a:gd name="csX44" fmla="*/ 827891 w 1609516"/>
              <a:gd name="csY44" fmla="*/ 1291474 h 1538630"/>
              <a:gd name="csX45" fmla="*/ 822601 w 1609516"/>
              <a:gd name="csY45" fmla="*/ 1291544 h 1538630"/>
              <a:gd name="csX46" fmla="*/ 818272 w 1609516"/>
              <a:gd name="csY46" fmla="*/ 1292220 h 1538630"/>
              <a:gd name="csX47" fmla="*/ 827891 w 1609516"/>
              <a:gd name="csY47" fmla="*/ 1292047 h 1538630"/>
              <a:gd name="csX48" fmla="*/ 856397 w 1609516"/>
              <a:gd name="csY48" fmla="*/ 1288691 h 1538630"/>
              <a:gd name="csX49" fmla="*/ 865903 w 1609516"/>
              <a:gd name="csY49" fmla="*/ 1290590 h 1538630"/>
              <a:gd name="csX50" fmla="*/ 859999 w 1609516"/>
              <a:gd name="csY50" fmla="*/ 1288752 h 1538630"/>
              <a:gd name="csX51" fmla="*/ 834694 w 1609516"/>
              <a:gd name="csY51" fmla="*/ 1288572 h 1538630"/>
              <a:gd name="csX52" fmla="*/ 828038 w 1609516"/>
              <a:gd name="csY52" fmla="*/ 1288654 h 1538630"/>
              <a:gd name="csX53" fmla="*/ 828038 w 1609516"/>
              <a:gd name="csY53" fmla="*/ 1289214 h 1538630"/>
              <a:gd name="csX54" fmla="*/ 229746 w 1609516"/>
              <a:gd name="csY54" fmla="*/ 1191418 h 1538630"/>
              <a:gd name="csX55" fmla="*/ 227402 w 1609516"/>
              <a:gd name="csY55" fmla="*/ 1191947 h 1538630"/>
              <a:gd name="csX56" fmla="*/ 229315 w 1609516"/>
              <a:gd name="csY56" fmla="*/ 1191947 h 1538630"/>
              <a:gd name="csX57" fmla="*/ 229315 w 1609516"/>
              <a:gd name="csY57" fmla="*/ 1194765 h 1538630"/>
              <a:gd name="csX58" fmla="*/ 231321 w 1609516"/>
              <a:gd name="csY58" fmla="*/ 1194765 h 1538630"/>
              <a:gd name="csX59" fmla="*/ 229746 w 1609516"/>
              <a:gd name="csY59" fmla="*/ 1194236 h 1538630"/>
              <a:gd name="csX60" fmla="*/ 229746 w 1609516"/>
              <a:gd name="csY60" fmla="*/ 1191418 h 1538630"/>
              <a:gd name="csX61" fmla="*/ 215687 w 1609516"/>
              <a:gd name="csY61" fmla="*/ 1187190 h 1538630"/>
              <a:gd name="csX62" fmla="*/ 215198 w 1609516"/>
              <a:gd name="csY62" fmla="*/ 1187720 h 1538630"/>
              <a:gd name="csX63" fmla="*/ 215256 w 1609516"/>
              <a:gd name="csY63" fmla="*/ 1187720 h 1538630"/>
              <a:gd name="csX64" fmla="*/ 215256 w 1609516"/>
              <a:gd name="csY64" fmla="*/ 1191947 h 1538630"/>
              <a:gd name="csX65" fmla="*/ 222721 w 1609516"/>
              <a:gd name="csY65" fmla="*/ 1191947 h 1538630"/>
              <a:gd name="csX66" fmla="*/ 215687 w 1609516"/>
              <a:gd name="csY66" fmla="*/ 1191418 h 1538630"/>
              <a:gd name="csX67" fmla="*/ 215687 w 1609516"/>
              <a:gd name="csY67" fmla="*/ 1187190 h 1538630"/>
              <a:gd name="csX68" fmla="*/ 1279678 w 1609516"/>
              <a:gd name="csY68" fmla="*/ 1082356 h 1538630"/>
              <a:gd name="csX69" fmla="*/ 1271680 w 1609516"/>
              <a:gd name="csY69" fmla="*/ 1084589 h 1538630"/>
              <a:gd name="csX70" fmla="*/ 1282181 w 1609516"/>
              <a:gd name="csY70" fmla="*/ 1082544 h 1538630"/>
              <a:gd name="csX71" fmla="*/ 117703 w 1609516"/>
              <a:gd name="csY71" fmla="*/ 941507 h 1538630"/>
              <a:gd name="csX72" fmla="*/ 112587 w 1609516"/>
              <a:gd name="csY72" fmla="*/ 941985 h 1538630"/>
              <a:gd name="csX73" fmla="*/ 112565 w 1609516"/>
              <a:gd name="csY73" fmla="*/ 942333 h 1538630"/>
              <a:gd name="csX74" fmla="*/ 115665 w 1609516"/>
              <a:gd name="csY74" fmla="*/ 941837 h 1538630"/>
              <a:gd name="csX75" fmla="*/ 144268 w 1609516"/>
              <a:gd name="csY75" fmla="*/ 939395 h 1538630"/>
              <a:gd name="csX76" fmla="*/ 143354 w 1609516"/>
              <a:gd name="csY76" fmla="*/ 939580 h 1538630"/>
              <a:gd name="csX77" fmla="*/ 144077 w 1609516"/>
              <a:gd name="csY77" fmla="*/ 939739 h 1538630"/>
              <a:gd name="csX78" fmla="*/ 162575 w 1609516"/>
              <a:gd name="csY78" fmla="*/ 933530 h 1538630"/>
              <a:gd name="csX79" fmla="*/ 161704 w 1609516"/>
              <a:gd name="csY79" fmla="*/ 935101 h 1538630"/>
              <a:gd name="csX80" fmla="*/ 170045 w 1609516"/>
              <a:gd name="csY80" fmla="*/ 933585 h 1538630"/>
              <a:gd name="csX81" fmla="*/ 1321645 w 1609516"/>
              <a:gd name="csY81" fmla="*/ 918415 h 1538630"/>
              <a:gd name="csX82" fmla="*/ 1321534 w 1609516"/>
              <a:gd name="csY82" fmla="*/ 920177 h 1538630"/>
              <a:gd name="csX83" fmla="*/ 1321740 w 1609516"/>
              <a:gd name="csY83" fmla="*/ 918415 h 1538630"/>
              <a:gd name="csX84" fmla="*/ 1319333 w 1609516"/>
              <a:gd name="csY84" fmla="*/ 915183 h 1538630"/>
              <a:gd name="csX85" fmla="*/ 1318544 w 1609516"/>
              <a:gd name="csY85" fmla="*/ 918029 h 1538630"/>
              <a:gd name="csX86" fmla="*/ 1318702 w 1609516"/>
              <a:gd name="csY86" fmla="*/ 918029 h 1538630"/>
              <a:gd name="csX87" fmla="*/ 1326355 w 1609516"/>
              <a:gd name="csY87" fmla="*/ 907109 h 1538630"/>
              <a:gd name="csX88" fmla="*/ 1326355 w 1609516"/>
              <a:gd name="csY88" fmla="*/ 910983 h 1538630"/>
              <a:gd name="csX89" fmla="*/ 1325831 w 1609516"/>
              <a:gd name="csY89" fmla="*/ 911101 h 1538630"/>
              <a:gd name="csX90" fmla="*/ 1326426 w 1609516"/>
              <a:gd name="csY90" fmla="*/ 911369 h 1538630"/>
              <a:gd name="csX91" fmla="*/ 1326426 w 1609516"/>
              <a:gd name="csY91" fmla="*/ 907141 h 1538630"/>
              <a:gd name="csX92" fmla="*/ 1328144 w 1609516"/>
              <a:gd name="csY92" fmla="*/ 892192 h 1538630"/>
              <a:gd name="csX93" fmla="*/ 1327667 w 1609516"/>
              <a:gd name="csY93" fmla="*/ 893446 h 1538630"/>
              <a:gd name="csX94" fmla="*/ 1327989 w 1609516"/>
              <a:gd name="csY94" fmla="*/ 893049 h 1538630"/>
              <a:gd name="csX95" fmla="*/ 49605 w 1609516"/>
              <a:gd name="csY95" fmla="*/ 887420 h 1538630"/>
              <a:gd name="csX96" fmla="*/ 48549 w 1609516"/>
              <a:gd name="csY96" fmla="*/ 891229 h 1538630"/>
              <a:gd name="csX97" fmla="*/ 49956 w 1609516"/>
              <a:gd name="csY97" fmla="*/ 887420 h 1538630"/>
              <a:gd name="csX98" fmla="*/ 1332266 w 1609516"/>
              <a:gd name="csY98" fmla="*/ 883369 h 1538630"/>
              <a:gd name="csX99" fmla="*/ 1329479 w 1609516"/>
              <a:gd name="csY99" fmla="*/ 884207 h 1538630"/>
              <a:gd name="csX100" fmla="*/ 1329509 w 1609516"/>
              <a:gd name="csY100" fmla="*/ 884816 h 1538630"/>
              <a:gd name="csX101" fmla="*/ 1329551 w 1609516"/>
              <a:gd name="csY101" fmla="*/ 884594 h 1538630"/>
              <a:gd name="csX102" fmla="*/ 1555987 w 1609516"/>
              <a:gd name="csY102" fmla="*/ 821766 h 1538630"/>
              <a:gd name="csX103" fmla="*/ 1555987 w 1609516"/>
              <a:gd name="csY103" fmla="*/ 822201 h 1538630"/>
              <a:gd name="csX104" fmla="*/ 1556081 w 1609516"/>
              <a:gd name="csY104" fmla="*/ 822189 h 1538630"/>
              <a:gd name="csX105" fmla="*/ 1565360 w 1609516"/>
              <a:gd name="csY105" fmla="*/ 810928 h 1538630"/>
              <a:gd name="csX106" fmla="*/ 1564871 w 1609516"/>
              <a:gd name="csY106" fmla="*/ 811809 h 1538630"/>
              <a:gd name="csX107" fmla="*/ 1567314 w 1609516"/>
              <a:gd name="csY107" fmla="*/ 810928 h 1538630"/>
              <a:gd name="csX108" fmla="*/ 1563797 w 1609516"/>
              <a:gd name="csY108" fmla="*/ 810928 h 1538630"/>
              <a:gd name="csX109" fmla="*/ 1556762 w 1609516"/>
              <a:gd name="csY109" fmla="*/ 814736 h 1538630"/>
              <a:gd name="csX110" fmla="*/ 1563797 w 1609516"/>
              <a:gd name="csY110" fmla="*/ 812197 h 1538630"/>
              <a:gd name="csX111" fmla="*/ 265833 w 1609516"/>
              <a:gd name="csY111" fmla="*/ 806020 h 1538630"/>
              <a:gd name="csX112" fmla="*/ 263704 w 1609516"/>
              <a:gd name="csY112" fmla="*/ 809861 h 1538630"/>
              <a:gd name="csX113" fmla="*/ 263704 w 1609516"/>
              <a:gd name="csY113" fmla="*/ 816750 h 1538630"/>
              <a:gd name="csX114" fmla="*/ 264113 w 1609516"/>
              <a:gd name="csY114" fmla="*/ 816565 h 1538630"/>
              <a:gd name="csX115" fmla="*/ 263918 w 1609516"/>
              <a:gd name="csY115" fmla="*/ 812777 h 1538630"/>
              <a:gd name="csX116" fmla="*/ 263774 w 1609516"/>
              <a:gd name="csY116" fmla="*/ 779374 h 1538630"/>
              <a:gd name="csX117" fmla="*/ 263704 w 1609516"/>
              <a:gd name="csY117" fmla="*/ 783086 h 1538630"/>
              <a:gd name="csX118" fmla="*/ 264484 w 1609516"/>
              <a:gd name="csY118" fmla="*/ 785816 h 1538630"/>
              <a:gd name="csX119" fmla="*/ 265265 w 1609516"/>
              <a:gd name="csY119" fmla="*/ 794448 h 1538630"/>
              <a:gd name="csX120" fmla="*/ 265217 w 1609516"/>
              <a:gd name="csY120" fmla="*/ 799730 h 1538630"/>
              <a:gd name="csX121" fmla="*/ 266556 w 1609516"/>
              <a:gd name="csY121" fmla="*/ 803466 h 1538630"/>
              <a:gd name="csX122" fmla="*/ 267237 w 1609516"/>
              <a:gd name="csY122" fmla="*/ 801063 h 1538630"/>
              <a:gd name="csX123" fmla="*/ 265675 w 1609516"/>
              <a:gd name="csY123" fmla="*/ 799654 h 1538630"/>
              <a:gd name="csX124" fmla="*/ 265675 w 1609516"/>
              <a:gd name="csY124" fmla="*/ 793841 h 1538630"/>
              <a:gd name="csX125" fmla="*/ 260988 w 1609516"/>
              <a:gd name="csY125" fmla="*/ 770061 h 1538630"/>
              <a:gd name="csX126" fmla="*/ 260988 w 1609516"/>
              <a:gd name="csY126" fmla="*/ 771364 h 1538630"/>
              <a:gd name="csX127" fmla="*/ 263497 w 1609516"/>
              <a:gd name="csY127" fmla="*/ 777263 h 1538630"/>
              <a:gd name="csX128" fmla="*/ 262551 w 1609516"/>
              <a:gd name="csY128" fmla="*/ 770061 h 1538630"/>
              <a:gd name="csX129" fmla="*/ 260988 w 1609516"/>
              <a:gd name="csY129" fmla="*/ 770061 h 1538630"/>
              <a:gd name="csX130" fmla="*/ 157888 w 1609516"/>
              <a:gd name="csY130" fmla="*/ 651686 h 1538630"/>
              <a:gd name="csX131" fmla="*/ 157415 w 1609516"/>
              <a:gd name="csY131" fmla="*/ 651764 h 1538630"/>
              <a:gd name="csX132" fmla="*/ 160373 w 1609516"/>
              <a:gd name="csY132" fmla="*/ 652274 h 1538630"/>
              <a:gd name="csX133" fmla="*/ 267237 w 1609516"/>
              <a:gd name="csY133" fmla="*/ 426537 h 1538630"/>
              <a:gd name="csX134" fmla="*/ 267237 w 1609516"/>
              <a:gd name="csY134" fmla="*/ 427619 h 1538630"/>
              <a:gd name="csX135" fmla="*/ 270380 w 1609516"/>
              <a:gd name="csY135" fmla="*/ 428137 h 1538630"/>
              <a:gd name="csX136" fmla="*/ 273548 w 1609516"/>
              <a:gd name="csY136" fmla="*/ 428680 h 1538630"/>
              <a:gd name="csX137" fmla="*/ 37605 w 1609516"/>
              <a:gd name="csY137" fmla="*/ 359270 h 1538630"/>
              <a:gd name="csX138" fmla="*/ 37103 w 1609516"/>
              <a:gd name="csY138" fmla="*/ 361533 h 1538630"/>
              <a:gd name="csX139" fmla="*/ 37605 w 1609516"/>
              <a:gd name="csY139" fmla="*/ 361382 h 1538630"/>
              <a:gd name="csX140" fmla="*/ 52477 w 1609516"/>
              <a:gd name="csY140" fmla="*/ 337570 h 1538630"/>
              <a:gd name="csX141" fmla="*/ 47288 w 1609516"/>
              <a:gd name="csY141" fmla="*/ 342340 h 1538630"/>
              <a:gd name="csX142" fmla="*/ 45805 w 1609516"/>
              <a:gd name="csY142" fmla="*/ 345093 h 1538630"/>
              <a:gd name="csX143" fmla="*/ 104291 w 1609516"/>
              <a:gd name="csY143" fmla="*/ 336166 h 1538630"/>
              <a:gd name="csX144" fmla="*/ 103776 w 1609516"/>
              <a:gd name="csY144" fmla="*/ 337559 h 1538630"/>
              <a:gd name="csX145" fmla="*/ 108925 w 1609516"/>
              <a:gd name="csY145" fmla="*/ 336166 h 1538630"/>
              <a:gd name="csX146" fmla="*/ 1309237 w 1609516"/>
              <a:gd name="csY146" fmla="*/ 322954 h 1538630"/>
              <a:gd name="csX147" fmla="*/ 1309180 w 1609516"/>
              <a:gd name="csY147" fmla="*/ 330559 h 1538630"/>
              <a:gd name="csX148" fmla="*/ 1309237 w 1609516"/>
              <a:gd name="csY148" fmla="*/ 330520 h 1538630"/>
              <a:gd name="csX149" fmla="*/ 1308964 w 1609516"/>
              <a:gd name="csY149" fmla="*/ 317715 h 1538630"/>
              <a:gd name="csX150" fmla="*/ 1309237 w 1609516"/>
              <a:gd name="csY150" fmla="*/ 318569 h 1538630"/>
              <a:gd name="csX151" fmla="*/ 1309237 w 1609516"/>
              <a:gd name="csY151" fmla="*/ 317838 h 1538630"/>
              <a:gd name="csX152" fmla="*/ 1310087 w 1609516"/>
              <a:gd name="csY152" fmla="*/ 313153 h 1538630"/>
              <a:gd name="csX153" fmla="*/ 1307609 w 1609516"/>
              <a:gd name="csY153" fmla="*/ 313473 h 1538630"/>
              <a:gd name="csX154" fmla="*/ 1308045 w 1609516"/>
              <a:gd name="csY154" fmla="*/ 314836 h 1538630"/>
              <a:gd name="csX155" fmla="*/ 1318544 w 1609516"/>
              <a:gd name="csY155" fmla="*/ 312064 h 1538630"/>
              <a:gd name="csX156" fmla="*/ 1316298 w 1609516"/>
              <a:gd name="csY156" fmla="*/ 312353 h 1538630"/>
              <a:gd name="csX157" fmla="*/ 1318544 w 1609516"/>
              <a:gd name="csY157" fmla="*/ 312205 h 1538630"/>
              <a:gd name="csX158" fmla="*/ 1084622 w 1609516"/>
              <a:gd name="csY158" fmla="*/ 267674 h 1538630"/>
              <a:gd name="csX159" fmla="*/ 1084227 w 1609516"/>
              <a:gd name="csY159" fmla="*/ 268378 h 1538630"/>
              <a:gd name="csX160" fmla="*/ 1079540 w 1609516"/>
              <a:gd name="csY160" fmla="*/ 268378 h 1538630"/>
              <a:gd name="csX161" fmla="*/ 1079603 w 1609516"/>
              <a:gd name="csY161" fmla="*/ 268477 h 1538630"/>
              <a:gd name="csX162" fmla="*/ 1084192 w 1609516"/>
              <a:gd name="csY162" fmla="*/ 268477 h 1538630"/>
              <a:gd name="csX163" fmla="*/ 956410 w 1609516"/>
              <a:gd name="csY163" fmla="*/ 266968 h 1538630"/>
              <a:gd name="csX164" fmla="*/ 957576 w 1609516"/>
              <a:gd name="csY164" fmla="*/ 267083 h 1538630"/>
              <a:gd name="csX165" fmla="*/ 957576 w 1609516"/>
              <a:gd name="csY165" fmla="*/ 269776 h 1538630"/>
              <a:gd name="csX166" fmla="*/ 957694 w 1609516"/>
              <a:gd name="csY166" fmla="*/ 269787 h 1538630"/>
              <a:gd name="csX167" fmla="*/ 957694 w 1609516"/>
              <a:gd name="csY167" fmla="*/ 266968 h 1538630"/>
              <a:gd name="csX168" fmla="*/ 1089372 w 1609516"/>
              <a:gd name="csY168" fmla="*/ 259220 h 1538630"/>
              <a:gd name="csX169" fmla="*/ 1085856 w 1609516"/>
              <a:gd name="csY169" fmla="*/ 265479 h 1538630"/>
              <a:gd name="csX170" fmla="*/ 1088878 w 1609516"/>
              <a:gd name="csY170" fmla="*/ 261431 h 1538630"/>
              <a:gd name="csX171" fmla="*/ 1018517 w 1609516"/>
              <a:gd name="csY171" fmla="*/ 223356 h 1538630"/>
              <a:gd name="csX172" fmla="*/ 1013866 w 1609516"/>
              <a:gd name="csY172" fmla="*/ 226190 h 1538630"/>
              <a:gd name="csX173" fmla="*/ 1013024 w 1609516"/>
              <a:gd name="csY173" fmla="*/ 227709 h 1538630"/>
              <a:gd name="csX174" fmla="*/ 1017055 w 1609516"/>
              <a:gd name="csY174" fmla="*/ 224692 h 1538630"/>
              <a:gd name="csX175" fmla="*/ 850645 w 1609516"/>
              <a:gd name="csY175" fmla="*/ 220099 h 1538630"/>
              <a:gd name="csX176" fmla="*/ 850897 w 1609516"/>
              <a:gd name="csY176" fmla="*/ 221488 h 1538630"/>
              <a:gd name="csX177" fmla="*/ 851470 w 1609516"/>
              <a:gd name="csY177" fmla="*/ 224692 h 1538630"/>
              <a:gd name="csX178" fmla="*/ 852860 w 1609516"/>
              <a:gd name="csY178" fmla="*/ 224692 h 1538630"/>
              <a:gd name="csX179" fmla="*/ 1155019 w 1609516"/>
              <a:gd name="csY179" fmla="*/ 35 h 1538630"/>
              <a:gd name="csX180" fmla="*/ 1174829 w 1609516"/>
              <a:gd name="csY180" fmla="*/ 4853 h 1538630"/>
              <a:gd name="csX181" fmla="*/ 1179418 w 1609516"/>
              <a:gd name="csY181" fmla="*/ 5998 h 1538630"/>
              <a:gd name="csX182" fmla="*/ 1201385 w 1609516"/>
              <a:gd name="csY182" fmla="*/ 22997 h 1538630"/>
              <a:gd name="csX183" fmla="*/ 1201678 w 1609516"/>
              <a:gd name="csY183" fmla="*/ 62191 h 1538630"/>
              <a:gd name="csX184" fmla="*/ 1198261 w 1609516"/>
              <a:gd name="csY184" fmla="*/ 68268 h 1538630"/>
              <a:gd name="csX185" fmla="*/ 1195723 w 1609516"/>
              <a:gd name="csY185" fmla="*/ 72672 h 1538630"/>
              <a:gd name="csX186" fmla="*/ 1193575 w 1609516"/>
              <a:gd name="csY186" fmla="*/ 75314 h 1538630"/>
              <a:gd name="csX187" fmla="*/ 1190450 w 1609516"/>
              <a:gd name="csY187" fmla="*/ 75314 h 1538630"/>
              <a:gd name="csX188" fmla="*/ 1189474 w 1609516"/>
              <a:gd name="csY188" fmla="*/ 79366 h 1538630"/>
              <a:gd name="csX189" fmla="*/ 1182445 w 1609516"/>
              <a:gd name="csY189" fmla="*/ 85707 h 1538630"/>
              <a:gd name="csX190" fmla="*/ 1177953 w 1609516"/>
              <a:gd name="csY190" fmla="*/ 86588 h 1538630"/>
              <a:gd name="csX191" fmla="*/ 1177953 w 1609516"/>
              <a:gd name="csY191" fmla="*/ 89406 h 1538630"/>
              <a:gd name="csX192" fmla="*/ 1170045 w 1609516"/>
              <a:gd name="csY192" fmla="*/ 94251 h 1538630"/>
              <a:gd name="csX193" fmla="*/ 1143806 w 1609516"/>
              <a:gd name="csY193" fmla="*/ 132828 h 1538630"/>
              <a:gd name="csX194" fmla="*/ 1137338 w 1609516"/>
              <a:gd name="csY194" fmla="*/ 141548 h 1538630"/>
              <a:gd name="csX195" fmla="*/ 1133970 w 1609516"/>
              <a:gd name="csY195" fmla="*/ 149403 h 1538630"/>
              <a:gd name="csX196" fmla="*/ 1127965 w 1609516"/>
              <a:gd name="csY196" fmla="*/ 164095 h 1538630"/>
              <a:gd name="csX197" fmla="*/ 1124762 w 1609516"/>
              <a:gd name="csY197" fmla="*/ 171802 h 1538630"/>
              <a:gd name="csX198" fmla="*/ 1119359 w 1609516"/>
              <a:gd name="csY198" fmla="*/ 184798 h 1538630"/>
              <a:gd name="csX199" fmla="*/ 1111014 w 1609516"/>
              <a:gd name="csY199" fmla="*/ 204941 h 1538630"/>
              <a:gd name="csX200" fmla="*/ 1109729 w 1609516"/>
              <a:gd name="csY200" fmla="*/ 208059 h 1538630"/>
              <a:gd name="csX201" fmla="*/ 1106395 w 1609516"/>
              <a:gd name="csY201" fmla="*/ 216170 h 1538630"/>
              <a:gd name="csX202" fmla="*/ 1102147 w 1609516"/>
              <a:gd name="csY202" fmla="*/ 224810 h 1538630"/>
              <a:gd name="csX203" fmla="*/ 1098261 w 1609516"/>
              <a:gd name="csY203" fmla="*/ 227262 h 1538630"/>
              <a:gd name="csX204" fmla="*/ 1098367 w 1609516"/>
              <a:gd name="csY204" fmla="*/ 238475 h 1538630"/>
              <a:gd name="csX205" fmla="*/ 1097331 w 1609516"/>
              <a:gd name="csY205" fmla="*/ 242358 h 1538630"/>
              <a:gd name="csX206" fmla="*/ 1096201 w 1609516"/>
              <a:gd name="csY206" fmla="*/ 246458 h 1538630"/>
              <a:gd name="csX207" fmla="*/ 1089440 w 1609516"/>
              <a:gd name="csY207" fmla="*/ 279206 h 1538630"/>
              <a:gd name="csX208" fmla="*/ 1087316 w 1609516"/>
              <a:gd name="csY208" fmla="*/ 283978 h 1538630"/>
              <a:gd name="csX209" fmla="*/ 1086822 w 1609516"/>
              <a:gd name="csY209" fmla="*/ 291822 h 1538630"/>
              <a:gd name="csX210" fmla="*/ 1086623 w 1609516"/>
              <a:gd name="csY210" fmla="*/ 296625 h 1538630"/>
              <a:gd name="csX211" fmla="*/ 1086437 w 1609516"/>
              <a:gd name="csY211" fmla="*/ 301681 h 1538630"/>
              <a:gd name="csX212" fmla="*/ 1086233 w 1609516"/>
              <a:gd name="csY212" fmla="*/ 306754 h 1538630"/>
              <a:gd name="csX213" fmla="*/ 1086007 w 1609516"/>
              <a:gd name="csY213" fmla="*/ 312619 h 1538630"/>
              <a:gd name="csX214" fmla="*/ 1087470 w 1609516"/>
              <a:gd name="csY214" fmla="*/ 320554 h 1538630"/>
              <a:gd name="csX215" fmla="*/ 1098285 w 1609516"/>
              <a:gd name="csY215" fmla="*/ 334611 h 1538630"/>
              <a:gd name="csX216" fmla="*/ 1102607 w 1609516"/>
              <a:gd name="csY216" fmla="*/ 337679 h 1538630"/>
              <a:gd name="csX217" fmla="*/ 1106095 w 1609516"/>
              <a:gd name="csY217" fmla="*/ 340248 h 1538630"/>
              <a:gd name="csX218" fmla="*/ 1106095 w 1609516"/>
              <a:gd name="csY218" fmla="*/ 343066 h 1538630"/>
              <a:gd name="csX219" fmla="*/ 1109220 w 1609516"/>
              <a:gd name="csY219" fmla="*/ 343419 h 1538630"/>
              <a:gd name="csX220" fmla="*/ 1126403 w 1609516"/>
              <a:gd name="csY220" fmla="*/ 350112 h 1538630"/>
              <a:gd name="csX221" fmla="*/ 1131871 w 1609516"/>
              <a:gd name="csY221" fmla="*/ 352579 h 1538630"/>
              <a:gd name="csX222" fmla="*/ 1135776 w 1609516"/>
              <a:gd name="csY222" fmla="*/ 354340 h 1538630"/>
              <a:gd name="csX223" fmla="*/ 1135776 w 1609516"/>
              <a:gd name="csY223" fmla="*/ 357158 h 1538630"/>
              <a:gd name="csX224" fmla="*/ 1170143 w 1609516"/>
              <a:gd name="csY224" fmla="*/ 354340 h 1538630"/>
              <a:gd name="csX225" fmla="*/ 1174634 w 1609516"/>
              <a:gd name="csY225" fmla="*/ 352579 h 1538630"/>
              <a:gd name="csX226" fmla="*/ 1190890 w 1609516"/>
              <a:gd name="csY226" fmla="*/ 342907 h 1538630"/>
              <a:gd name="csX227" fmla="*/ 1204021 w 1609516"/>
              <a:gd name="csY227" fmla="*/ 335404 h 1538630"/>
              <a:gd name="csX228" fmla="*/ 1223255 w 1609516"/>
              <a:gd name="csY228" fmla="*/ 319110 h 1538630"/>
              <a:gd name="csX229" fmla="*/ 1226868 w 1609516"/>
              <a:gd name="csY229" fmla="*/ 315587 h 1538630"/>
              <a:gd name="csX230" fmla="*/ 1231859 w 1609516"/>
              <a:gd name="csY230" fmla="*/ 303559 h 1538630"/>
              <a:gd name="csX231" fmla="*/ 1234178 w 1609516"/>
              <a:gd name="csY231" fmla="*/ 298059 h 1538630"/>
              <a:gd name="csX232" fmla="*/ 1237314 w 1609516"/>
              <a:gd name="csY232" fmla="*/ 288195 h 1538630"/>
              <a:gd name="csX233" fmla="*/ 1249811 w 1609516"/>
              <a:gd name="csY233" fmla="*/ 265559 h 1538630"/>
              <a:gd name="csX234" fmla="*/ 1252935 w 1609516"/>
              <a:gd name="csY234" fmla="*/ 265559 h 1538630"/>
              <a:gd name="csX235" fmla="*/ 1252935 w 1609516"/>
              <a:gd name="csY235" fmla="*/ 262741 h 1538630"/>
              <a:gd name="csX236" fmla="*/ 1296675 w 1609516"/>
              <a:gd name="csY236" fmla="*/ 252876 h 1538630"/>
              <a:gd name="csX237" fmla="*/ 1307609 w 1609516"/>
              <a:gd name="csY237" fmla="*/ 255695 h 1538630"/>
              <a:gd name="csX238" fmla="*/ 1307609 w 1609516"/>
              <a:gd name="csY238" fmla="*/ 258513 h 1538630"/>
              <a:gd name="csX239" fmla="*/ 1311887 w 1609516"/>
              <a:gd name="csY239" fmla="*/ 258832 h 1538630"/>
              <a:gd name="csX240" fmla="*/ 1326715 w 1609516"/>
              <a:gd name="csY240" fmla="*/ 269969 h 1538630"/>
              <a:gd name="csX241" fmla="*/ 1334165 w 1609516"/>
              <a:gd name="csY241" fmla="*/ 307836 h 1538630"/>
              <a:gd name="csX242" fmla="*/ 1329479 w 1609516"/>
              <a:gd name="csY242" fmla="*/ 314882 h 1538630"/>
              <a:gd name="csX243" fmla="*/ 1323231 w 1609516"/>
              <a:gd name="csY243" fmla="*/ 314882 h 1538630"/>
              <a:gd name="csX244" fmla="*/ 1323231 w 1609516"/>
              <a:gd name="csY244" fmla="*/ 317700 h 1538630"/>
              <a:gd name="csX245" fmla="*/ 1322774 w 1609516"/>
              <a:gd name="csY245" fmla="*/ 317838 h 1538630"/>
              <a:gd name="csX246" fmla="*/ 1323295 w 1609516"/>
              <a:gd name="csY246" fmla="*/ 317838 h 1538630"/>
              <a:gd name="csX247" fmla="*/ 1323295 w 1609516"/>
              <a:gd name="csY247" fmla="*/ 315019 h 1538630"/>
              <a:gd name="csX248" fmla="*/ 1327982 w 1609516"/>
              <a:gd name="csY248" fmla="*/ 315019 h 1538630"/>
              <a:gd name="csX249" fmla="*/ 1317047 w 1609516"/>
              <a:gd name="csY249" fmla="*/ 327702 h 1538630"/>
              <a:gd name="csX250" fmla="*/ 1315484 w 1609516"/>
              <a:gd name="csY250" fmla="*/ 331930 h 1538630"/>
              <a:gd name="csX251" fmla="*/ 1309139 w 1609516"/>
              <a:gd name="csY251" fmla="*/ 333603 h 1538630"/>
              <a:gd name="csX252" fmla="*/ 1305666 w 1609516"/>
              <a:gd name="csY252" fmla="*/ 334280 h 1538630"/>
              <a:gd name="csX253" fmla="*/ 1302988 w 1609516"/>
              <a:gd name="csY253" fmla="*/ 334748 h 1538630"/>
              <a:gd name="csX254" fmla="*/ 1305905 w 1609516"/>
              <a:gd name="csY254" fmla="*/ 332775 h 1538630"/>
              <a:gd name="csX255" fmla="*/ 1304485 w 1609516"/>
              <a:gd name="csY255" fmla="*/ 333202 h 1538630"/>
              <a:gd name="csX256" fmla="*/ 1301459 w 1609516"/>
              <a:gd name="csY256" fmla="*/ 336108 h 1538630"/>
              <a:gd name="csX257" fmla="*/ 1291989 w 1609516"/>
              <a:gd name="csY257" fmla="*/ 338839 h 1538630"/>
              <a:gd name="csX258" fmla="*/ 1290426 w 1609516"/>
              <a:gd name="csY258" fmla="*/ 343066 h 1538630"/>
              <a:gd name="csX259" fmla="*/ 1285740 w 1609516"/>
              <a:gd name="csY259" fmla="*/ 344123 h 1538630"/>
              <a:gd name="csX260" fmla="*/ 1237314 w 1609516"/>
              <a:gd name="csY260" fmla="*/ 382525 h 1538630"/>
              <a:gd name="csX261" fmla="*/ 1232628 w 1609516"/>
              <a:gd name="csY261" fmla="*/ 392389 h 1538630"/>
              <a:gd name="csX262" fmla="*/ 1228625 w 1609516"/>
              <a:gd name="csY262" fmla="*/ 398731 h 1538630"/>
              <a:gd name="csX263" fmla="*/ 1222822 w 1609516"/>
              <a:gd name="csY263" fmla="*/ 434798 h 1538630"/>
              <a:gd name="csX264" fmla="*/ 1260746 w 1609516"/>
              <a:gd name="csY264" fmla="*/ 485398 h 1538630"/>
              <a:gd name="csX265" fmla="*/ 1268556 w 1609516"/>
              <a:gd name="csY265" fmla="*/ 488216 h 1538630"/>
              <a:gd name="csX266" fmla="*/ 1268556 w 1609516"/>
              <a:gd name="csY266" fmla="*/ 491034 h 1538630"/>
              <a:gd name="csX267" fmla="*/ 1338852 w 1609516"/>
              <a:gd name="csY267" fmla="*/ 489625 h 1538630"/>
              <a:gd name="csX268" fmla="*/ 1347444 w 1609516"/>
              <a:gd name="csY268" fmla="*/ 488480 h 1538630"/>
              <a:gd name="csX269" fmla="*/ 1369362 w 1609516"/>
              <a:gd name="csY269" fmla="*/ 482513 h 1538630"/>
              <a:gd name="csX270" fmla="*/ 1388840 w 1609516"/>
              <a:gd name="csY270" fmla="*/ 478351 h 1538630"/>
              <a:gd name="csX271" fmla="*/ 1388840 w 1609516"/>
              <a:gd name="csY271" fmla="*/ 475533 h 1538630"/>
              <a:gd name="csX272" fmla="*/ 1395576 w 1609516"/>
              <a:gd name="csY272" fmla="*/ 473419 h 1538630"/>
              <a:gd name="csX273" fmla="*/ 1399365 w 1609516"/>
              <a:gd name="csY273" fmla="*/ 472230 h 1538630"/>
              <a:gd name="csX274" fmla="*/ 1407585 w 1609516"/>
              <a:gd name="csY274" fmla="*/ 471305 h 1538630"/>
              <a:gd name="csX275" fmla="*/ 1409147 w 1609516"/>
              <a:gd name="csY275" fmla="*/ 467078 h 1538630"/>
              <a:gd name="csX276" fmla="*/ 1416470 w 1609516"/>
              <a:gd name="csY276" fmla="*/ 464259 h 1538630"/>
              <a:gd name="csX277" fmla="*/ 1437949 w 1609516"/>
              <a:gd name="csY277" fmla="*/ 455011 h 1538630"/>
              <a:gd name="csX278" fmla="*/ 1452887 w 1609516"/>
              <a:gd name="csY278" fmla="*/ 450167 h 1538630"/>
              <a:gd name="csX279" fmla="*/ 1452887 w 1609516"/>
              <a:gd name="csY279" fmla="*/ 447349 h 1538630"/>
              <a:gd name="csX280" fmla="*/ 1455394 w 1609516"/>
              <a:gd name="csY280" fmla="*/ 446122 h 1538630"/>
              <a:gd name="csX281" fmla="*/ 1466653 w 1609516"/>
              <a:gd name="csY281" fmla="*/ 440567 h 1538630"/>
              <a:gd name="csX282" fmla="*/ 1470598 w 1609516"/>
              <a:gd name="csY282" fmla="*/ 438637 h 1538630"/>
              <a:gd name="csX283" fmla="*/ 1474397 w 1609516"/>
              <a:gd name="csY283" fmla="*/ 436752 h 1538630"/>
              <a:gd name="csX284" fmla="*/ 1477892 w 1609516"/>
              <a:gd name="csY284" fmla="*/ 435030 h 1538630"/>
              <a:gd name="csX285" fmla="*/ 1485691 w 1609516"/>
              <a:gd name="csY285" fmla="*/ 429029 h 1538630"/>
              <a:gd name="csX286" fmla="*/ 1488858 w 1609516"/>
              <a:gd name="csY286" fmla="*/ 427653 h 1538630"/>
              <a:gd name="csX287" fmla="*/ 1495943 w 1609516"/>
              <a:gd name="csY287" fmla="*/ 421454 h 1538630"/>
              <a:gd name="csX288" fmla="*/ 1538608 w 1609516"/>
              <a:gd name="csY288" fmla="*/ 388338 h 1538630"/>
              <a:gd name="csX289" fmla="*/ 1543490 w 1609516"/>
              <a:gd name="csY289" fmla="*/ 388161 h 1538630"/>
              <a:gd name="csX290" fmla="*/ 1547621 w 1609516"/>
              <a:gd name="csY290" fmla="*/ 387804 h 1538630"/>
              <a:gd name="csX291" fmla="*/ 1579418 w 1609516"/>
              <a:gd name="csY291" fmla="*/ 396617 h 1538630"/>
              <a:gd name="csX292" fmla="*/ 1583342 w 1609516"/>
              <a:gd name="csY292" fmla="*/ 398780 h 1538630"/>
              <a:gd name="csX293" fmla="*/ 1601288 w 1609516"/>
              <a:gd name="csY293" fmla="*/ 423392 h 1538630"/>
              <a:gd name="csX294" fmla="*/ 1594484 w 1609516"/>
              <a:gd name="csY294" fmla="*/ 460159 h 1538630"/>
              <a:gd name="csX295" fmla="*/ 1574732 w 1609516"/>
              <a:gd name="csY295" fmla="*/ 475533 h 1538630"/>
              <a:gd name="csX296" fmla="*/ 1572097 w 1609516"/>
              <a:gd name="csY296" fmla="*/ 477078 h 1538630"/>
              <a:gd name="csX297" fmla="*/ 1556066 w 1609516"/>
              <a:gd name="csY297" fmla="*/ 478737 h 1538630"/>
              <a:gd name="csX298" fmla="*/ 1548631 w 1609516"/>
              <a:gd name="csY298" fmla="*/ 478825 h 1538630"/>
              <a:gd name="csX299" fmla="*/ 1536991 w 1609516"/>
              <a:gd name="csY299" fmla="*/ 478889 h 1538630"/>
              <a:gd name="csX300" fmla="*/ 1498188 w 1609516"/>
              <a:gd name="csY300" fmla="*/ 485398 h 1538630"/>
              <a:gd name="csX301" fmla="*/ 1493892 w 1609516"/>
              <a:gd name="csY301" fmla="*/ 487600 h 1538630"/>
              <a:gd name="csX302" fmla="*/ 1490377 w 1609516"/>
              <a:gd name="csY302" fmla="*/ 489625 h 1538630"/>
              <a:gd name="csX303" fmla="*/ 1471650 w 1609516"/>
              <a:gd name="csY303" fmla="*/ 498185 h 1538630"/>
              <a:gd name="csX304" fmla="*/ 1459135 w 1609516"/>
              <a:gd name="csY304" fmla="*/ 505127 h 1538630"/>
              <a:gd name="csX305" fmla="*/ 1452594 w 1609516"/>
              <a:gd name="csY305" fmla="*/ 508033 h 1538630"/>
              <a:gd name="csX306" fmla="*/ 1427795 w 1609516"/>
              <a:gd name="csY306" fmla="*/ 520100 h 1538630"/>
              <a:gd name="csX307" fmla="*/ 1423733 w 1609516"/>
              <a:gd name="csY307" fmla="*/ 522148 h 1538630"/>
              <a:gd name="csX308" fmla="*/ 1419929 w 1609516"/>
              <a:gd name="csY308" fmla="*/ 524118 h 1538630"/>
              <a:gd name="csX309" fmla="*/ 1416487 w 1609516"/>
              <a:gd name="csY309" fmla="*/ 525883 h 1538630"/>
              <a:gd name="csX310" fmla="*/ 1412271 w 1609516"/>
              <a:gd name="csY310" fmla="*/ 531902 h 1538630"/>
              <a:gd name="csX311" fmla="*/ 1396650 w 1609516"/>
              <a:gd name="csY311" fmla="*/ 537539 h 1538630"/>
              <a:gd name="csX312" fmla="*/ 1396650 w 1609516"/>
              <a:gd name="csY312" fmla="*/ 540357 h 1538630"/>
              <a:gd name="csX313" fmla="*/ 1393495 w 1609516"/>
              <a:gd name="csY313" fmla="*/ 541502 h 1538630"/>
              <a:gd name="csX314" fmla="*/ 1362284 w 1609516"/>
              <a:gd name="csY314" fmla="*/ 558678 h 1538630"/>
              <a:gd name="csX315" fmla="*/ 1355937 w 1609516"/>
              <a:gd name="csY315" fmla="*/ 562905 h 1538630"/>
              <a:gd name="csX316" fmla="*/ 1334165 w 1609516"/>
              <a:gd name="csY316" fmla="*/ 578406 h 1538630"/>
              <a:gd name="csX317" fmla="*/ 1331200 w 1609516"/>
              <a:gd name="csY317" fmla="*/ 580559 h 1538630"/>
              <a:gd name="csX318" fmla="*/ 1322175 w 1609516"/>
              <a:gd name="csY318" fmla="*/ 596793 h 1538630"/>
              <a:gd name="csX319" fmla="*/ 1320106 w 1609516"/>
              <a:gd name="csY319" fmla="*/ 602363 h 1538630"/>
              <a:gd name="csX320" fmla="*/ 1328015 w 1609516"/>
              <a:gd name="csY320" fmla="*/ 647640 h 1538630"/>
              <a:gd name="csX321" fmla="*/ 1332604 w 1609516"/>
              <a:gd name="csY321" fmla="*/ 675643 h 1538630"/>
              <a:gd name="csX322" fmla="*/ 1335727 w 1609516"/>
              <a:gd name="csY322" fmla="*/ 675643 h 1538630"/>
              <a:gd name="csX323" fmla="*/ 1337741 w 1609516"/>
              <a:gd name="csY323" fmla="*/ 690059 h 1538630"/>
              <a:gd name="csX324" fmla="*/ 1338003 w 1609516"/>
              <a:gd name="csY324" fmla="*/ 696222 h 1538630"/>
              <a:gd name="csX325" fmla="*/ 1338340 w 1609516"/>
              <a:gd name="csY325" fmla="*/ 705887 h 1538630"/>
              <a:gd name="csX326" fmla="*/ 1345277 w 1609516"/>
              <a:gd name="csY326" fmla="*/ 733245 h 1538630"/>
              <a:gd name="csX327" fmla="*/ 1363162 w 1609516"/>
              <a:gd name="csY327" fmla="*/ 741612 h 1538630"/>
              <a:gd name="csX328" fmla="*/ 1384154 w 1609516"/>
              <a:gd name="csY328" fmla="*/ 748922 h 1538630"/>
              <a:gd name="csX329" fmla="*/ 1391476 w 1609516"/>
              <a:gd name="csY329" fmla="*/ 750419 h 1538630"/>
              <a:gd name="csX330" fmla="*/ 1395564 w 1609516"/>
              <a:gd name="csY330" fmla="*/ 751080 h 1538630"/>
              <a:gd name="csX331" fmla="*/ 1399775 w 1609516"/>
              <a:gd name="csY331" fmla="*/ 751740 h 1538630"/>
              <a:gd name="csX332" fmla="*/ 1403887 w 1609516"/>
              <a:gd name="csY332" fmla="*/ 752489 h 1538630"/>
              <a:gd name="csX333" fmla="*/ 1465383 w 1609516"/>
              <a:gd name="csY333" fmla="*/ 755969 h 1538630"/>
              <a:gd name="csX334" fmla="*/ 1470339 w 1609516"/>
              <a:gd name="csY334" fmla="*/ 755897 h 1538630"/>
              <a:gd name="csX335" fmla="*/ 1496809 w 1609516"/>
              <a:gd name="csY335" fmla="*/ 749313 h 1538630"/>
              <a:gd name="csX336" fmla="*/ 1515371 w 1609516"/>
              <a:gd name="csY336" fmla="*/ 743285 h 1538630"/>
              <a:gd name="csX337" fmla="*/ 1515371 w 1609516"/>
              <a:gd name="csY337" fmla="*/ 740467 h 1538630"/>
              <a:gd name="csX338" fmla="*/ 1537632 w 1609516"/>
              <a:gd name="csY338" fmla="*/ 737120 h 1538630"/>
              <a:gd name="csX339" fmla="*/ 1541657 w 1609516"/>
              <a:gd name="csY339" fmla="*/ 737127 h 1538630"/>
              <a:gd name="csX340" fmla="*/ 1574732 w 1609516"/>
              <a:gd name="csY340" fmla="*/ 748922 h 1538630"/>
              <a:gd name="csX341" fmla="*/ 1588791 w 1609516"/>
              <a:gd name="csY341" fmla="*/ 792608 h 1538630"/>
              <a:gd name="csX342" fmla="*/ 1584105 w 1609516"/>
              <a:gd name="csY342" fmla="*/ 805291 h 1538630"/>
              <a:gd name="csX343" fmla="*/ 1580981 w 1609516"/>
              <a:gd name="csY343" fmla="*/ 806700 h 1538630"/>
              <a:gd name="csX344" fmla="*/ 1578735 w 1609516"/>
              <a:gd name="csY344" fmla="*/ 810311 h 1538630"/>
              <a:gd name="csX345" fmla="*/ 1576295 w 1609516"/>
              <a:gd name="csY345" fmla="*/ 813746 h 1538630"/>
              <a:gd name="csX346" fmla="*/ 1571652 w 1609516"/>
              <a:gd name="csY346" fmla="*/ 813746 h 1538630"/>
              <a:gd name="csX347" fmla="*/ 1571785 w 1609516"/>
              <a:gd name="csY347" fmla="*/ 814106 h 1538630"/>
              <a:gd name="csX348" fmla="*/ 1574909 w 1609516"/>
              <a:gd name="csY348" fmla="*/ 815515 h 1538630"/>
              <a:gd name="csX349" fmla="*/ 1565463 w 1609516"/>
              <a:gd name="csY349" fmla="*/ 821839 h 1538630"/>
              <a:gd name="csX350" fmla="*/ 1562085 w 1609516"/>
              <a:gd name="csY350" fmla="*/ 822101 h 1538630"/>
              <a:gd name="csX351" fmla="*/ 1551301 w 1609516"/>
              <a:gd name="csY351" fmla="*/ 825020 h 1538630"/>
              <a:gd name="csX352" fmla="*/ 1551301 w 1609516"/>
              <a:gd name="csY352" fmla="*/ 827838 h 1538630"/>
              <a:gd name="csX353" fmla="*/ 1485380 w 1609516"/>
              <a:gd name="csY353" fmla="*/ 815007 h 1538630"/>
              <a:gd name="csX354" fmla="*/ 1431603 w 1609516"/>
              <a:gd name="csY354" fmla="*/ 808726 h 1538630"/>
              <a:gd name="csX355" fmla="*/ 1424140 w 1609516"/>
              <a:gd name="csY355" fmla="*/ 808542 h 1538630"/>
              <a:gd name="csX356" fmla="*/ 1406023 w 1609516"/>
              <a:gd name="csY356" fmla="*/ 808109 h 1538630"/>
              <a:gd name="csX357" fmla="*/ 1406023 w 1609516"/>
              <a:gd name="csY357" fmla="*/ 810928 h 1538630"/>
              <a:gd name="csX358" fmla="*/ 1403383 w 1609516"/>
              <a:gd name="csY358" fmla="*/ 811311 h 1538630"/>
              <a:gd name="csX359" fmla="*/ 1345442 w 1609516"/>
              <a:gd name="csY359" fmla="*/ 828907 h 1538630"/>
              <a:gd name="csX360" fmla="*/ 1337875 w 1609516"/>
              <a:gd name="csY360" fmla="*/ 856639 h 1538630"/>
              <a:gd name="csX361" fmla="*/ 1337692 w 1609516"/>
              <a:gd name="csY361" fmla="*/ 860171 h 1538630"/>
              <a:gd name="csX362" fmla="*/ 1337290 w 1609516"/>
              <a:gd name="csY362" fmla="*/ 868706 h 1538630"/>
              <a:gd name="csX363" fmla="*/ 1334165 w 1609516"/>
              <a:gd name="csY363" fmla="*/ 868706 h 1538630"/>
              <a:gd name="csX364" fmla="*/ 1334165 w 1609516"/>
              <a:gd name="csY364" fmla="*/ 870034 h 1538630"/>
              <a:gd name="csX365" fmla="*/ 1334237 w 1609516"/>
              <a:gd name="csY365" fmla="*/ 869093 h 1538630"/>
              <a:gd name="csX366" fmla="*/ 1335800 w 1609516"/>
              <a:gd name="csY366" fmla="*/ 869093 h 1538630"/>
              <a:gd name="csX367" fmla="*/ 1335995 w 1609516"/>
              <a:gd name="csY367" fmla="*/ 876491 h 1538630"/>
              <a:gd name="csX368" fmla="*/ 1336105 w 1609516"/>
              <a:gd name="csY368" fmla="*/ 880653 h 1538630"/>
              <a:gd name="csX369" fmla="*/ 1334294 w 1609516"/>
              <a:gd name="csY369" fmla="*/ 887271 h 1538630"/>
              <a:gd name="csX370" fmla="*/ 1331455 w 1609516"/>
              <a:gd name="csY370" fmla="*/ 896440 h 1538630"/>
              <a:gd name="csX371" fmla="*/ 1330887 w 1609516"/>
              <a:gd name="csY371" fmla="*/ 899969 h 1538630"/>
              <a:gd name="csX372" fmla="*/ 1330332 w 1609516"/>
              <a:gd name="csY372" fmla="*/ 903618 h 1538630"/>
              <a:gd name="csX373" fmla="*/ 1329209 w 1609516"/>
              <a:gd name="csY373" fmla="*/ 910797 h 1538630"/>
              <a:gd name="csX374" fmla="*/ 1328724 w 1609516"/>
              <a:gd name="csY374" fmla="*/ 913998 h 1538630"/>
              <a:gd name="csX375" fmla="*/ 1324865 w 1609516"/>
              <a:gd name="csY375" fmla="*/ 922643 h 1538630"/>
              <a:gd name="csX376" fmla="*/ 1322619 w 1609516"/>
              <a:gd name="csY376" fmla="*/ 937979 h 1538630"/>
              <a:gd name="csX377" fmla="*/ 1318744 w 1609516"/>
              <a:gd name="csY377" fmla="*/ 944961 h 1538630"/>
              <a:gd name="csX378" fmla="*/ 1318544 w 1609516"/>
              <a:gd name="csY378" fmla="*/ 946213 h 1538630"/>
              <a:gd name="csX379" fmla="*/ 1318251 w 1609516"/>
              <a:gd name="csY379" fmla="*/ 955285 h 1538630"/>
              <a:gd name="csX380" fmla="*/ 1318184 w 1609516"/>
              <a:gd name="csY380" fmla="*/ 960036 h 1538630"/>
              <a:gd name="csX381" fmla="*/ 1324024 w 1609516"/>
              <a:gd name="csY381" fmla="*/ 973660 h 1538630"/>
              <a:gd name="csX382" fmla="*/ 1329284 w 1609516"/>
              <a:gd name="csY382" fmla="*/ 983382 h 1538630"/>
              <a:gd name="csX383" fmla="*/ 1340414 w 1609516"/>
              <a:gd name="csY383" fmla="*/ 998354 h 1538630"/>
              <a:gd name="csX384" fmla="*/ 1346272 w 1609516"/>
              <a:gd name="csY384" fmla="*/ 1005048 h 1538630"/>
              <a:gd name="csX385" fmla="*/ 1394716 w 1609516"/>
              <a:gd name="csY385" fmla="*/ 1042740 h 1538630"/>
              <a:gd name="csX386" fmla="*/ 1401953 w 1609516"/>
              <a:gd name="csY386" fmla="*/ 1047374 h 1538630"/>
              <a:gd name="csX387" fmla="*/ 1427197 w 1609516"/>
              <a:gd name="csY387" fmla="*/ 1059061 h 1538630"/>
              <a:gd name="csX388" fmla="*/ 1437265 w 1609516"/>
              <a:gd name="csY388" fmla="*/ 1064588 h 1538630"/>
              <a:gd name="csX389" fmla="*/ 1437265 w 1609516"/>
              <a:gd name="csY389" fmla="*/ 1067406 h 1538630"/>
              <a:gd name="csX390" fmla="*/ 1440878 w 1609516"/>
              <a:gd name="csY390" fmla="*/ 1067847 h 1538630"/>
              <a:gd name="csX391" fmla="*/ 1447175 w 1609516"/>
              <a:gd name="csY391" fmla="*/ 1070753 h 1538630"/>
              <a:gd name="csX392" fmla="*/ 1457866 w 1609516"/>
              <a:gd name="csY392" fmla="*/ 1076830 h 1538630"/>
              <a:gd name="csX393" fmla="*/ 1462132 w 1609516"/>
              <a:gd name="csY393" fmla="*/ 1078696 h 1538630"/>
              <a:gd name="csX394" fmla="*/ 1465383 w 1609516"/>
              <a:gd name="csY394" fmla="*/ 1080089 h 1538630"/>
              <a:gd name="csX395" fmla="*/ 1465383 w 1609516"/>
              <a:gd name="csY395" fmla="*/ 1082908 h 1538630"/>
              <a:gd name="csX396" fmla="*/ 1468758 w 1609516"/>
              <a:gd name="csY396" fmla="*/ 1083975 h 1538630"/>
              <a:gd name="csX397" fmla="*/ 1481688 w 1609516"/>
              <a:gd name="csY397" fmla="*/ 1091187 h 1538630"/>
              <a:gd name="csX398" fmla="*/ 1486283 w 1609516"/>
              <a:gd name="csY398" fmla="*/ 1094236 h 1538630"/>
              <a:gd name="csX399" fmla="*/ 1494869 w 1609516"/>
              <a:gd name="csY399" fmla="*/ 1100171 h 1538630"/>
              <a:gd name="csX400" fmla="*/ 1544335 w 1609516"/>
              <a:gd name="csY400" fmla="*/ 1109518 h 1538630"/>
              <a:gd name="csX401" fmla="*/ 1593477 w 1609516"/>
              <a:gd name="csY401" fmla="*/ 1119900 h 1538630"/>
              <a:gd name="csX402" fmla="*/ 1605975 w 1609516"/>
              <a:gd name="csY402" fmla="*/ 1144913 h 1538630"/>
              <a:gd name="csX403" fmla="*/ 1609099 w 1609516"/>
              <a:gd name="csY403" fmla="*/ 1144913 h 1538630"/>
              <a:gd name="csX404" fmla="*/ 1609392 w 1609516"/>
              <a:gd name="csY404" fmla="*/ 1156892 h 1538630"/>
              <a:gd name="csX405" fmla="*/ 1609511 w 1609516"/>
              <a:gd name="csY405" fmla="*/ 1160272 h 1538630"/>
              <a:gd name="csX406" fmla="*/ 1604412 w 1609516"/>
              <a:gd name="csY406" fmla="*/ 1181553 h 1538630"/>
              <a:gd name="csX407" fmla="*/ 1601288 w 1609516"/>
              <a:gd name="csY407" fmla="*/ 1190009 h 1538630"/>
              <a:gd name="csX408" fmla="*/ 1598164 w 1609516"/>
              <a:gd name="csY408" fmla="*/ 1190009 h 1538630"/>
              <a:gd name="csX409" fmla="*/ 1597187 w 1609516"/>
              <a:gd name="csY409" fmla="*/ 1192739 h 1538630"/>
              <a:gd name="csX410" fmla="*/ 1595040 w 1609516"/>
              <a:gd name="csY410" fmla="*/ 1195645 h 1538630"/>
              <a:gd name="csX411" fmla="*/ 1585667 w 1609516"/>
              <a:gd name="csY411" fmla="*/ 1197055 h 1538630"/>
              <a:gd name="csX412" fmla="*/ 1582543 w 1609516"/>
              <a:gd name="csY412" fmla="*/ 1202691 h 1538630"/>
              <a:gd name="csX413" fmla="*/ 1562431 w 1609516"/>
              <a:gd name="csY413" fmla="*/ 1204365 h 1538630"/>
              <a:gd name="csX414" fmla="*/ 1558690 w 1609516"/>
              <a:gd name="csY414" fmla="*/ 1204417 h 1538630"/>
              <a:gd name="csX415" fmla="*/ 1521102 w 1609516"/>
              <a:gd name="csY415" fmla="*/ 1189585 h 1538630"/>
              <a:gd name="csX416" fmla="*/ 1505022 w 1609516"/>
              <a:gd name="csY416" fmla="*/ 1172041 h 1538630"/>
              <a:gd name="csX417" fmla="*/ 1457573 w 1609516"/>
              <a:gd name="csY417" fmla="*/ 1140686 h 1538630"/>
              <a:gd name="csX418" fmla="*/ 1457573 w 1609516"/>
              <a:gd name="csY418" fmla="*/ 1137867 h 1538630"/>
              <a:gd name="csX419" fmla="*/ 1452985 w 1609516"/>
              <a:gd name="csY419" fmla="*/ 1137339 h 1538630"/>
              <a:gd name="csX420" fmla="*/ 1448200 w 1609516"/>
              <a:gd name="csY420" fmla="*/ 1136458 h 1538630"/>
              <a:gd name="csX421" fmla="*/ 1446638 w 1609516"/>
              <a:gd name="csY421" fmla="*/ 1133640 h 1538630"/>
              <a:gd name="csX422" fmla="*/ 1438937 w 1609516"/>
              <a:gd name="csY422" fmla="*/ 1130601 h 1538630"/>
              <a:gd name="csX423" fmla="*/ 1429260 w 1609516"/>
              <a:gd name="csY423" fmla="*/ 1126770 h 1538630"/>
              <a:gd name="csX424" fmla="*/ 1411393 w 1609516"/>
              <a:gd name="csY424" fmla="*/ 1120340 h 1538630"/>
              <a:gd name="csX425" fmla="*/ 1391427 w 1609516"/>
              <a:gd name="csY425" fmla="*/ 1111191 h 1538630"/>
              <a:gd name="csX426" fmla="*/ 1381029 w 1609516"/>
              <a:gd name="csY426" fmla="*/ 1106865 h 1538630"/>
              <a:gd name="csX427" fmla="*/ 1381029 w 1609516"/>
              <a:gd name="csY427" fmla="*/ 1104046 h 1538630"/>
              <a:gd name="csX428" fmla="*/ 1377221 w 1609516"/>
              <a:gd name="csY428" fmla="*/ 1103605 h 1538630"/>
              <a:gd name="csX429" fmla="*/ 1357597 w 1609516"/>
              <a:gd name="csY429" fmla="*/ 1098409 h 1538630"/>
              <a:gd name="csX430" fmla="*/ 1352032 w 1609516"/>
              <a:gd name="csY430" fmla="*/ 1096736 h 1538630"/>
              <a:gd name="csX431" fmla="*/ 1348225 w 1609516"/>
              <a:gd name="csY431" fmla="*/ 1095590 h 1538630"/>
              <a:gd name="csX432" fmla="*/ 1348225 w 1609516"/>
              <a:gd name="csY432" fmla="*/ 1092772 h 1538630"/>
              <a:gd name="csX433" fmla="*/ 1337290 w 1609516"/>
              <a:gd name="csY433" fmla="*/ 1091363 h 1538630"/>
              <a:gd name="csX434" fmla="*/ 1337290 w 1609516"/>
              <a:gd name="csY434" fmla="*/ 1088544 h 1538630"/>
              <a:gd name="csX435" fmla="*/ 1331529 w 1609516"/>
              <a:gd name="csY435" fmla="*/ 1088104 h 1538630"/>
              <a:gd name="csX436" fmla="*/ 1323297 w 1609516"/>
              <a:gd name="csY436" fmla="*/ 1086611 h 1538630"/>
              <a:gd name="csX437" fmla="*/ 1323297 w 1609516"/>
              <a:gd name="csY437" fmla="*/ 1087618 h 1538630"/>
              <a:gd name="csX438" fmla="*/ 1319789 w 1609516"/>
              <a:gd name="csY438" fmla="*/ 1087310 h 1538630"/>
              <a:gd name="csX439" fmla="*/ 1262375 w 1609516"/>
              <a:gd name="csY439" fmla="*/ 1089028 h 1538630"/>
              <a:gd name="csX440" fmla="*/ 1258728 w 1609516"/>
              <a:gd name="csY440" fmla="*/ 1088205 h 1538630"/>
              <a:gd name="csX441" fmla="*/ 1246964 w 1609516"/>
              <a:gd name="csY441" fmla="*/ 1091489 h 1538630"/>
              <a:gd name="csX442" fmla="*/ 1223224 w 1609516"/>
              <a:gd name="csY442" fmla="*/ 1112865 h 1538630"/>
              <a:gd name="csX443" fmla="*/ 1213883 w 1609516"/>
              <a:gd name="csY443" fmla="*/ 1122366 h 1538630"/>
              <a:gd name="csX444" fmla="*/ 1212505 w 1609516"/>
              <a:gd name="csY444" fmla="*/ 1125708 h 1538630"/>
              <a:gd name="csX445" fmla="*/ 1204180 w 1609516"/>
              <a:gd name="csY445" fmla="*/ 1135561 h 1538630"/>
              <a:gd name="csX446" fmla="*/ 1200238 w 1609516"/>
              <a:gd name="csY446" fmla="*/ 1138999 h 1538630"/>
              <a:gd name="csX447" fmla="*/ 1192025 w 1609516"/>
              <a:gd name="csY447" fmla="*/ 1146022 h 1538630"/>
              <a:gd name="csX448" fmla="*/ 1173945 w 1609516"/>
              <a:gd name="csY448" fmla="*/ 1174749 h 1538630"/>
              <a:gd name="csX449" fmla="*/ 1173950 w 1609516"/>
              <a:gd name="csY449" fmla="*/ 1182610 h 1538630"/>
              <a:gd name="csX450" fmla="*/ 1173989 w 1609516"/>
              <a:gd name="csY450" fmla="*/ 1186765 h 1538630"/>
              <a:gd name="csX451" fmla="*/ 1182640 w 1609516"/>
              <a:gd name="csY451" fmla="*/ 1215374 h 1538630"/>
              <a:gd name="csX452" fmla="*/ 1185764 w 1609516"/>
              <a:gd name="csY452" fmla="*/ 1221804 h 1538630"/>
              <a:gd name="csX453" fmla="*/ 1187301 w 1609516"/>
              <a:gd name="csY453" fmla="*/ 1224859 h 1538630"/>
              <a:gd name="csX454" fmla="*/ 1190573 w 1609516"/>
              <a:gd name="csY454" fmla="*/ 1231740 h 1538630"/>
              <a:gd name="csX455" fmla="*/ 1205925 w 1609516"/>
              <a:gd name="csY455" fmla="*/ 1255163 h 1538630"/>
              <a:gd name="csX456" fmla="*/ 1212174 w 1609516"/>
              <a:gd name="csY456" fmla="*/ 1263134 h 1538630"/>
              <a:gd name="csX457" fmla="*/ 1235556 w 1609516"/>
              <a:gd name="csY457" fmla="*/ 1282538 h 1538630"/>
              <a:gd name="csX458" fmla="*/ 1238876 w 1609516"/>
              <a:gd name="csY458" fmla="*/ 1284426 h 1538630"/>
              <a:gd name="csX459" fmla="*/ 1238876 w 1609516"/>
              <a:gd name="csY459" fmla="*/ 1287245 h 1538630"/>
              <a:gd name="csX460" fmla="*/ 1242245 w 1609516"/>
              <a:gd name="csY460" fmla="*/ 1287663 h 1538630"/>
              <a:gd name="csX461" fmla="*/ 1271681 w 1609516"/>
              <a:gd name="csY461" fmla="*/ 1305565 h 1538630"/>
              <a:gd name="csX462" fmla="*/ 1271742 w 1609516"/>
              <a:gd name="csY462" fmla="*/ 1306172 h 1538630"/>
              <a:gd name="csX463" fmla="*/ 1278525 w 1609516"/>
              <a:gd name="csY463" fmla="*/ 1315767 h 1538630"/>
              <a:gd name="csX464" fmla="*/ 1281097 w 1609516"/>
              <a:gd name="csY464" fmla="*/ 1327286 h 1538630"/>
              <a:gd name="csX465" fmla="*/ 1277973 w 1609516"/>
              <a:gd name="csY465" fmla="*/ 1355470 h 1538630"/>
              <a:gd name="csX466" fmla="*/ 1277460 w 1609516"/>
              <a:gd name="csY466" fmla="*/ 1347025 h 1538630"/>
              <a:gd name="csX467" fmla="*/ 1273531 w 1609516"/>
              <a:gd name="csY467" fmla="*/ 1357991 h 1538630"/>
              <a:gd name="csX468" fmla="*/ 1263870 w 1609516"/>
              <a:gd name="csY468" fmla="*/ 1368980 h 1538630"/>
              <a:gd name="csX469" fmla="*/ 1246686 w 1609516"/>
              <a:gd name="csY469" fmla="*/ 1376026 h 1538630"/>
              <a:gd name="csX470" fmla="*/ 1246686 w 1609516"/>
              <a:gd name="csY470" fmla="*/ 1378844 h 1538630"/>
              <a:gd name="csX471" fmla="*/ 1231651 w 1609516"/>
              <a:gd name="csY471" fmla="*/ 1379196 h 1538630"/>
              <a:gd name="csX472" fmla="*/ 1227373 w 1609516"/>
              <a:gd name="csY472" fmla="*/ 1379340 h 1538630"/>
              <a:gd name="csX473" fmla="*/ 1206071 w 1609516"/>
              <a:gd name="csY473" fmla="*/ 1373207 h 1538630"/>
              <a:gd name="csX474" fmla="*/ 1202069 w 1609516"/>
              <a:gd name="csY474" fmla="*/ 1371798 h 1538630"/>
              <a:gd name="csX475" fmla="*/ 1184104 w 1609516"/>
              <a:gd name="csY475" fmla="*/ 1356176 h 1538630"/>
              <a:gd name="csX476" fmla="*/ 1177270 w 1609516"/>
              <a:gd name="csY476" fmla="*/ 1335247 h 1538630"/>
              <a:gd name="csX477" fmla="*/ 1169002 w 1609516"/>
              <a:gd name="csY477" fmla="*/ 1313464 h 1538630"/>
              <a:gd name="csX478" fmla="*/ 1163504 w 1609516"/>
              <a:gd name="csY478" fmla="*/ 1302130 h 1538630"/>
              <a:gd name="csX479" fmla="*/ 1162015 w 1609516"/>
              <a:gd name="csY479" fmla="*/ 1298788 h 1538630"/>
              <a:gd name="csX480" fmla="*/ 1160111 w 1609516"/>
              <a:gd name="csY480" fmla="*/ 1292656 h 1538630"/>
              <a:gd name="csX481" fmla="*/ 1154522 w 1609516"/>
              <a:gd name="csY481" fmla="*/ 1287245 h 1538630"/>
              <a:gd name="csX482" fmla="*/ 1151398 w 1609516"/>
              <a:gd name="csY482" fmla="*/ 1280199 h 1538630"/>
              <a:gd name="csX483" fmla="*/ 1144173 w 1609516"/>
              <a:gd name="csY483" fmla="*/ 1270774 h 1538630"/>
              <a:gd name="csX484" fmla="*/ 1142065 w 1609516"/>
              <a:gd name="csY484" fmla="*/ 1268160 h 1538630"/>
              <a:gd name="csX485" fmla="*/ 1135776 w 1609516"/>
              <a:gd name="csY485" fmla="*/ 1260470 h 1538630"/>
              <a:gd name="csX486" fmla="*/ 1132353 w 1609516"/>
              <a:gd name="csY486" fmla="*/ 1256247 h 1538630"/>
              <a:gd name="csX487" fmla="*/ 1112344 w 1609516"/>
              <a:gd name="csY487" fmla="*/ 1240741 h 1538630"/>
              <a:gd name="csX488" fmla="*/ 1106193 w 1609516"/>
              <a:gd name="csY488" fmla="*/ 1237570 h 1538630"/>
              <a:gd name="csX489" fmla="*/ 1101409 w 1609516"/>
              <a:gd name="csY489" fmla="*/ 1235104 h 1538630"/>
              <a:gd name="csX490" fmla="*/ 1101409 w 1609516"/>
              <a:gd name="csY490" fmla="*/ 1230876 h 1538630"/>
              <a:gd name="csX491" fmla="*/ 1065480 w 1609516"/>
              <a:gd name="csY491" fmla="*/ 1230876 h 1538630"/>
              <a:gd name="csX492" fmla="*/ 1063919 w 1609516"/>
              <a:gd name="csY492" fmla="*/ 1235104 h 1538630"/>
              <a:gd name="csX493" fmla="*/ 1059232 w 1609516"/>
              <a:gd name="csY493" fmla="*/ 1235104 h 1538630"/>
              <a:gd name="csX494" fmla="*/ 1059232 w 1609516"/>
              <a:gd name="csY494" fmla="*/ 1237922 h 1538630"/>
              <a:gd name="csX495" fmla="*/ 1040194 w 1609516"/>
              <a:gd name="csY495" fmla="*/ 1245761 h 1538630"/>
              <a:gd name="csX496" fmla="*/ 1030333 w 1609516"/>
              <a:gd name="csY496" fmla="*/ 1249901 h 1538630"/>
              <a:gd name="csX497" fmla="*/ 1013931 w 1609516"/>
              <a:gd name="csY497" fmla="*/ 1256242 h 1538630"/>
              <a:gd name="csX498" fmla="*/ 1005925 w 1609516"/>
              <a:gd name="csY498" fmla="*/ 1261615 h 1538630"/>
              <a:gd name="csX499" fmla="*/ 1004558 w 1609516"/>
              <a:gd name="csY499" fmla="*/ 1264697 h 1538630"/>
              <a:gd name="csX500" fmla="*/ 1002959 w 1609516"/>
              <a:gd name="csY500" fmla="*/ 1267961 h 1538630"/>
              <a:gd name="csX501" fmla="*/ 1000653 w 1609516"/>
              <a:gd name="csY501" fmla="*/ 1278965 h 1538630"/>
              <a:gd name="csX502" fmla="*/ 998297 w 1609516"/>
              <a:gd name="csY502" fmla="*/ 1294137 h 1538630"/>
              <a:gd name="csX503" fmla="*/ 996162 w 1609516"/>
              <a:gd name="csY503" fmla="*/ 1324765 h 1538630"/>
              <a:gd name="csX504" fmla="*/ 996164 w 1609516"/>
              <a:gd name="csY504" fmla="*/ 1327846 h 1538630"/>
              <a:gd name="csX505" fmla="*/ 1007780 w 1609516"/>
              <a:gd name="csY505" fmla="*/ 1403329 h 1538630"/>
              <a:gd name="csX506" fmla="*/ 1008940 w 1609516"/>
              <a:gd name="csY506" fmla="*/ 1407701 h 1538630"/>
              <a:gd name="csX507" fmla="*/ 1010080 w 1609516"/>
              <a:gd name="csY507" fmla="*/ 1411730 h 1538630"/>
              <a:gd name="csX508" fmla="*/ 1011075 w 1609516"/>
              <a:gd name="csY508" fmla="*/ 1415277 h 1538630"/>
              <a:gd name="csX509" fmla="*/ 1017055 w 1609516"/>
              <a:gd name="csY509" fmla="*/ 1422530 h 1538630"/>
              <a:gd name="csX510" fmla="*/ 1020277 w 1609516"/>
              <a:gd name="csY510" fmla="*/ 1427991 h 1538630"/>
              <a:gd name="csX511" fmla="*/ 1021796 w 1609516"/>
              <a:gd name="csY511" fmla="*/ 1430798 h 1538630"/>
              <a:gd name="csX512" fmla="*/ 1024579 w 1609516"/>
              <a:gd name="csY512" fmla="*/ 1437239 h 1538630"/>
              <a:gd name="csX513" fmla="*/ 1034043 w 1609516"/>
              <a:gd name="csY513" fmla="*/ 1448072 h 1538630"/>
              <a:gd name="csX514" fmla="*/ 1043782 w 1609516"/>
              <a:gd name="csY514" fmla="*/ 1464320 h 1538630"/>
              <a:gd name="csX515" fmla="*/ 1050458 w 1609516"/>
              <a:gd name="csY515" fmla="*/ 1472189 h 1538630"/>
              <a:gd name="csX516" fmla="*/ 1052926 w 1609516"/>
              <a:gd name="csY516" fmla="*/ 1482370 h 1538630"/>
              <a:gd name="csX517" fmla="*/ 1053316 w 1609516"/>
              <a:gd name="csY517" fmla="*/ 1496903 h 1538630"/>
              <a:gd name="csX518" fmla="*/ 1053352 w 1609516"/>
              <a:gd name="csY518" fmla="*/ 1500660 h 1538630"/>
              <a:gd name="csX519" fmla="*/ 1053341 w 1609516"/>
              <a:gd name="csY519" fmla="*/ 1504285 h 1538630"/>
              <a:gd name="csX520" fmla="*/ 1053329 w 1609516"/>
              <a:gd name="csY520" fmla="*/ 1507529 h 1538630"/>
              <a:gd name="csX521" fmla="*/ 1049801 w 1609516"/>
              <a:gd name="csY521" fmla="*/ 1516192 h 1538630"/>
              <a:gd name="csX522" fmla="*/ 1047312 w 1609516"/>
              <a:gd name="csY522" fmla="*/ 1516192 h 1538630"/>
              <a:gd name="csX523" fmla="*/ 1043611 w 1609516"/>
              <a:gd name="csY523" fmla="*/ 1522585 h 1538630"/>
              <a:gd name="csX524" fmla="*/ 1029552 w 1609516"/>
              <a:gd name="csY524" fmla="*/ 1529631 h 1538630"/>
              <a:gd name="csX525" fmla="*/ 1028771 w 1609516"/>
              <a:gd name="csY525" fmla="*/ 1532273 h 1538630"/>
              <a:gd name="csX526" fmla="*/ 1018013 w 1609516"/>
              <a:gd name="csY526" fmla="*/ 1537640 h 1538630"/>
              <a:gd name="csX527" fmla="*/ 981126 w 1609516"/>
              <a:gd name="csY527" fmla="*/ 1533859 h 1538630"/>
              <a:gd name="csX528" fmla="*/ 977227 w 1609516"/>
              <a:gd name="csY528" fmla="*/ 1531943 h 1538630"/>
              <a:gd name="csX529" fmla="*/ 955376 w 1609516"/>
              <a:gd name="csY529" fmla="*/ 1508751 h 1538630"/>
              <a:gd name="csX530" fmla="*/ 954571 w 1609516"/>
              <a:gd name="csY530" fmla="*/ 1500037 h 1538630"/>
              <a:gd name="csX531" fmla="*/ 951446 w 1609516"/>
              <a:gd name="csY531" fmla="*/ 1500037 h 1538630"/>
              <a:gd name="csX532" fmla="*/ 951251 w 1609516"/>
              <a:gd name="csY532" fmla="*/ 1487883 h 1538630"/>
              <a:gd name="csX533" fmla="*/ 951171 w 1609516"/>
              <a:gd name="csY533" fmla="*/ 1484431 h 1538630"/>
              <a:gd name="csX534" fmla="*/ 954571 w 1609516"/>
              <a:gd name="csY534" fmla="*/ 1466216 h 1538630"/>
              <a:gd name="csX535" fmla="*/ 954961 w 1609516"/>
              <a:gd name="csY535" fmla="*/ 1455118 h 1538630"/>
              <a:gd name="csX536" fmla="*/ 954932 w 1609516"/>
              <a:gd name="csY536" fmla="*/ 1451972 h 1538630"/>
              <a:gd name="csX537" fmla="*/ 945099 w 1609516"/>
              <a:gd name="csY537" fmla="*/ 1403594 h 1538630"/>
              <a:gd name="csX538" fmla="*/ 942366 w 1609516"/>
              <a:gd name="csY538" fmla="*/ 1393553 h 1538630"/>
              <a:gd name="csX539" fmla="*/ 934451 w 1609516"/>
              <a:gd name="csY539" fmla="*/ 1372734 h 1538630"/>
              <a:gd name="csX540" fmla="*/ 931974 w 1609516"/>
              <a:gd name="csY540" fmla="*/ 1365754 h 1538630"/>
              <a:gd name="csX541" fmla="*/ 931138 w 1609516"/>
              <a:gd name="csY541" fmla="*/ 1363343 h 1538630"/>
              <a:gd name="csX542" fmla="*/ 926452 w 1609516"/>
              <a:gd name="csY542" fmla="*/ 1361933 h 1538630"/>
              <a:gd name="csX543" fmla="*/ 918641 w 1609516"/>
              <a:gd name="csY543" fmla="*/ 1340795 h 1538630"/>
              <a:gd name="csX544" fmla="*/ 917079 w 1609516"/>
              <a:gd name="csY544" fmla="*/ 1335158 h 1538630"/>
              <a:gd name="csX545" fmla="*/ 913955 w 1609516"/>
              <a:gd name="csY545" fmla="*/ 1335158 h 1538630"/>
              <a:gd name="csX546" fmla="*/ 912057 w 1609516"/>
              <a:gd name="csY546" fmla="*/ 1330793 h 1538630"/>
              <a:gd name="csX547" fmla="*/ 902142 w 1609516"/>
              <a:gd name="csY547" fmla="*/ 1316222 h 1538630"/>
              <a:gd name="csX548" fmla="*/ 900091 w 1609516"/>
              <a:gd name="csY548" fmla="*/ 1313828 h 1538630"/>
              <a:gd name="csX549" fmla="*/ 878026 w 1609516"/>
              <a:gd name="csY549" fmla="*/ 1295700 h 1538630"/>
              <a:gd name="csX550" fmla="*/ 875134 w 1609516"/>
              <a:gd name="csY550" fmla="*/ 1293465 h 1538630"/>
              <a:gd name="csX551" fmla="*/ 869869 w 1609516"/>
              <a:gd name="csY551" fmla="*/ 1291826 h 1538630"/>
              <a:gd name="csX552" fmla="*/ 862384 w 1609516"/>
              <a:gd name="csY552" fmla="*/ 1291327 h 1538630"/>
              <a:gd name="csX553" fmla="*/ 844390 w 1609516"/>
              <a:gd name="csY553" fmla="*/ 1290461 h 1538630"/>
              <a:gd name="csX554" fmla="*/ 840476 w 1609516"/>
              <a:gd name="csY554" fmla="*/ 1290500 h 1538630"/>
              <a:gd name="csX555" fmla="*/ 831015 w 1609516"/>
              <a:gd name="csY555" fmla="*/ 1290637 h 1538630"/>
              <a:gd name="csX556" fmla="*/ 831015 w 1609516"/>
              <a:gd name="csY556" fmla="*/ 1293456 h 1538630"/>
              <a:gd name="csX557" fmla="*/ 818225 w 1609516"/>
              <a:gd name="csY557" fmla="*/ 1295570 h 1538630"/>
              <a:gd name="csX558" fmla="*/ 796774 w 1609516"/>
              <a:gd name="csY558" fmla="*/ 1297671 h 1538630"/>
              <a:gd name="csX559" fmla="*/ 783646 w 1609516"/>
              <a:gd name="csY559" fmla="*/ 1305736 h 1538630"/>
              <a:gd name="csX560" fmla="*/ 769263 w 1609516"/>
              <a:gd name="csY560" fmla="*/ 1327143 h 1538630"/>
              <a:gd name="csX561" fmla="*/ 764797 w 1609516"/>
              <a:gd name="csY561" fmla="*/ 1334360 h 1538630"/>
              <a:gd name="csX562" fmla="*/ 757875 w 1609516"/>
              <a:gd name="csY562" fmla="*/ 1353503 h 1538630"/>
              <a:gd name="csX563" fmla="*/ 755676 w 1609516"/>
              <a:gd name="csY563" fmla="*/ 1367455 h 1538630"/>
              <a:gd name="csX564" fmla="*/ 750558 w 1609516"/>
              <a:gd name="csY564" fmla="*/ 1399690 h 1538630"/>
              <a:gd name="csX565" fmla="*/ 753057 w 1609516"/>
              <a:gd name="csY565" fmla="*/ 1411256 h 1538630"/>
              <a:gd name="csX566" fmla="*/ 753057 w 1609516"/>
              <a:gd name="csY566" fmla="*/ 1416893 h 1538630"/>
              <a:gd name="csX567" fmla="*/ 756181 w 1609516"/>
              <a:gd name="csY567" fmla="*/ 1416893 h 1538630"/>
              <a:gd name="csX568" fmla="*/ 758133 w 1609516"/>
              <a:gd name="csY568" fmla="*/ 1436182 h 1538630"/>
              <a:gd name="csX569" fmla="*/ 758231 w 1609516"/>
              <a:gd name="csY569" fmla="*/ 1440781 h 1538630"/>
              <a:gd name="csX570" fmla="*/ 750713 w 1609516"/>
              <a:gd name="csY570" fmla="*/ 1465704 h 1538630"/>
              <a:gd name="csX571" fmla="*/ 748370 w 1609516"/>
              <a:gd name="csY571" fmla="*/ 1467185 h 1538630"/>
              <a:gd name="csX572" fmla="*/ 741633 w 1609516"/>
              <a:gd name="csY572" fmla="*/ 1473526 h 1538630"/>
              <a:gd name="csX573" fmla="*/ 728154 w 1609516"/>
              <a:gd name="csY573" fmla="*/ 1478343 h 1538630"/>
              <a:gd name="csX574" fmla="*/ 721814 w 1609516"/>
              <a:gd name="csY574" fmla="*/ 1480308 h 1538630"/>
              <a:gd name="csX575" fmla="*/ 708341 w 1609516"/>
              <a:gd name="csY575" fmla="*/ 1480661 h 1538630"/>
              <a:gd name="csX576" fmla="*/ 704637 w 1609516"/>
              <a:gd name="csY576" fmla="*/ 1480748 h 1538630"/>
              <a:gd name="csX577" fmla="*/ 668507 w 1609516"/>
              <a:gd name="csY577" fmla="*/ 1468418 h 1538630"/>
              <a:gd name="csX578" fmla="*/ 660178 w 1609516"/>
              <a:gd name="csY578" fmla="*/ 1450027 h 1538630"/>
              <a:gd name="csX579" fmla="*/ 657767 w 1609516"/>
              <a:gd name="csY579" fmla="*/ 1445078 h 1538630"/>
              <a:gd name="csX580" fmla="*/ 663369 w 1609516"/>
              <a:gd name="csY580" fmla="*/ 1409390 h 1538630"/>
              <a:gd name="csX581" fmla="*/ 671826 w 1609516"/>
              <a:gd name="csY581" fmla="*/ 1401392 h 1538630"/>
              <a:gd name="csX582" fmla="*/ 678075 w 1609516"/>
              <a:gd name="csY582" fmla="*/ 1390118 h 1538630"/>
              <a:gd name="csX583" fmla="*/ 684323 w 1609516"/>
              <a:gd name="csY583" fmla="*/ 1388709 h 1538630"/>
              <a:gd name="csX584" fmla="*/ 685293 w 1609516"/>
              <a:gd name="csY584" fmla="*/ 1384233 h 1538630"/>
              <a:gd name="csX585" fmla="*/ 686569 w 1609516"/>
              <a:gd name="csY585" fmla="*/ 1378404 h 1538630"/>
              <a:gd name="csX586" fmla="*/ 687207 w 1609516"/>
              <a:gd name="csY586" fmla="*/ 1375456 h 1538630"/>
              <a:gd name="csX587" fmla="*/ 690572 w 1609516"/>
              <a:gd name="csY587" fmla="*/ 1363343 h 1538630"/>
              <a:gd name="csX588" fmla="*/ 692495 w 1609516"/>
              <a:gd name="csY588" fmla="*/ 1323376 h 1538630"/>
              <a:gd name="csX589" fmla="*/ 692625 w 1609516"/>
              <a:gd name="csY589" fmla="*/ 1315006 h 1538630"/>
              <a:gd name="csX590" fmla="*/ 687447 w 1609516"/>
              <a:gd name="csY590" fmla="*/ 1287245 h 1538630"/>
              <a:gd name="csX591" fmla="*/ 682761 w 1609516"/>
              <a:gd name="csY591" fmla="*/ 1285835 h 1538630"/>
              <a:gd name="csX592" fmla="*/ 678954 w 1609516"/>
              <a:gd name="csY592" fmla="*/ 1281608 h 1538630"/>
              <a:gd name="csX593" fmla="*/ 668702 w 1609516"/>
              <a:gd name="csY593" fmla="*/ 1275971 h 1538630"/>
              <a:gd name="csX594" fmla="*/ 662454 w 1609516"/>
              <a:gd name="csY594" fmla="*/ 1270334 h 1538630"/>
              <a:gd name="csX595" fmla="*/ 654643 w 1609516"/>
              <a:gd name="csY595" fmla="*/ 1267516 h 1538630"/>
              <a:gd name="csX596" fmla="*/ 654643 w 1609516"/>
              <a:gd name="csY596" fmla="*/ 1264697 h 1538630"/>
              <a:gd name="csX597" fmla="*/ 650152 w 1609516"/>
              <a:gd name="csY597" fmla="*/ 1264345 h 1538630"/>
              <a:gd name="csX598" fmla="*/ 628087 w 1609516"/>
              <a:gd name="csY598" fmla="*/ 1257651 h 1538630"/>
              <a:gd name="csX599" fmla="*/ 628087 w 1609516"/>
              <a:gd name="csY599" fmla="*/ 1254833 h 1538630"/>
              <a:gd name="csX600" fmla="*/ 625121 w 1609516"/>
              <a:gd name="csY600" fmla="*/ 1254315 h 1538630"/>
              <a:gd name="csX601" fmla="*/ 621252 w 1609516"/>
              <a:gd name="csY601" fmla="*/ 1253600 h 1538630"/>
              <a:gd name="csX602" fmla="*/ 617409 w 1609516"/>
              <a:gd name="csY602" fmla="*/ 1252906 h 1538630"/>
              <a:gd name="csX603" fmla="*/ 610904 w 1609516"/>
              <a:gd name="csY603" fmla="*/ 1249196 h 1538630"/>
              <a:gd name="csX604" fmla="*/ 565739 w 1609516"/>
              <a:gd name="csY604" fmla="*/ 1271742 h 1538630"/>
              <a:gd name="csX605" fmla="*/ 546924 w 1609516"/>
              <a:gd name="csY605" fmla="*/ 1290829 h 1538630"/>
              <a:gd name="csX606" fmla="*/ 543635 w 1609516"/>
              <a:gd name="csY606" fmla="*/ 1294643 h 1538630"/>
              <a:gd name="csX607" fmla="*/ 540651 w 1609516"/>
              <a:gd name="csY607" fmla="*/ 1298188 h 1538630"/>
              <a:gd name="csX608" fmla="*/ 529673 w 1609516"/>
              <a:gd name="csY608" fmla="*/ 1305565 h 1538630"/>
              <a:gd name="csX609" fmla="*/ 526549 w 1609516"/>
              <a:gd name="csY609" fmla="*/ 1311202 h 1538630"/>
              <a:gd name="csX610" fmla="*/ 523425 w 1609516"/>
              <a:gd name="csY610" fmla="*/ 1311202 h 1538630"/>
              <a:gd name="csX611" fmla="*/ 523230 w 1609516"/>
              <a:gd name="csY611" fmla="*/ 1313580 h 1538630"/>
              <a:gd name="csX612" fmla="*/ 517732 w 1609516"/>
              <a:gd name="csY612" fmla="*/ 1319739 h 1538630"/>
              <a:gd name="csX613" fmla="*/ 502239 w 1609516"/>
              <a:gd name="csY613" fmla="*/ 1337096 h 1538630"/>
              <a:gd name="csX614" fmla="*/ 497058 w 1609516"/>
              <a:gd name="csY614" fmla="*/ 1344087 h 1538630"/>
              <a:gd name="csX615" fmla="*/ 494572 w 1609516"/>
              <a:gd name="csY615" fmla="*/ 1347465 h 1538630"/>
              <a:gd name="csX616" fmla="*/ 487776 w 1609516"/>
              <a:gd name="csY616" fmla="*/ 1356181 h 1538630"/>
              <a:gd name="csX617" fmla="*/ 481248 w 1609516"/>
              <a:gd name="csY617" fmla="*/ 1367571 h 1538630"/>
              <a:gd name="csX618" fmla="*/ 478123 w 1609516"/>
              <a:gd name="csY618" fmla="*/ 1367571 h 1538630"/>
              <a:gd name="csX619" fmla="*/ 477635 w 1609516"/>
              <a:gd name="csY619" fmla="*/ 1370565 h 1538630"/>
              <a:gd name="csX620" fmla="*/ 465626 w 1609516"/>
              <a:gd name="csY620" fmla="*/ 1388709 h 1538630"/>
              <a:gd name="csX621" fmla="*/ 461233 w 1609516"/>
              <a:gd name="csY621" fmla="*/ 1397340 h 1538630"/>
              <a:gd name="csX622" fmla="*/ 455765 w 1609516"/>
              <a:gd name="csY622" fmla="*/ 1408086 h 1538630"/>
              <a:gd name="csX623" fmla="*/ 439070 w 1609516"/>
              <a:gd name="csY623" fmla="*/ 1477490 h 1538630"/>
              <a:gd name="csX624" fmla="*/ 434384 w 1609516"/>
              <a:gd name="csY624" fmla="*/ 1478899 h 1538630"/>
              <a:gd name="csX625" fmla="*/ 432431 w 1609516"/>
              <a:gd name="csY625" fmla="*/ 1481982 h 1538630"/>
              <a:gd name="csX626" fmla="*/ 418763 w 1609516"/>
              <a:gd name="csY626" fmla="*/ 1494401 h 1538630"/>
              <a:gd name="csX627" fmla="*/ 415639 w 1609516"/>
              <a:gd name="csY627" fmla="*/ 1494401 h 1538630"/>
              <a:gd name="csX628" fmla="*/ 415639 w 1609516"/>
              <a:gd name="csY628" fmla="*/ 1497219 h 1538630"/>
              <a:gd name="csX629" fmla="*/ 406265 w 1609516"/>
              <a:gd name="csY629" fmla="*/ 1498628 h 1538630"/>
              <a:gd name="csX630" fmla="*/ 406265 w 1609516"/>
              <a:gd name="csY630" fmla="*/ 1501447 h 1538630"/>
              <a:gd name="csX631" fmla="*/ 375023 w 1609516"/>
              <a:gd name="csY631" fmla="*/ 1501447 h 1538630"/>
              <a:gd name="csX632" fmla="*/ 375023 w 1609516"/>
              <a:gd name="csY632" fmla="*/ 1499438 h 1538630"/>
              <a:gd name="csX633" fmla="*/ 374964 w 1609516"/>
              <a:gd name="csY633" fmla="*/ 1499436 h 1538630"/>
              <a:gd name="csX634" fmla="*/ 373179 w 1609516"/>
              <a:gd name="csY634" fmla="*/ 1498628 h 1538630"/>
              <a:gd name="csX635" fmla="*/ 365650 w 1609516"/>
              <a:gd name="csY635" fmla="*/ 1498628 h 1538630"/>
              <a:gd name="csX636" fmla="*/ 363134 w 1609516"/>
              <a:gd name="csY636" fmla="*/ 1494087 h 1538630"/>
              <a:gd name="csX637" fmla="*/ 362171 w 1609516"/>
              <a:gd name="csY637" fmla="*/ 1493651 h 1538630"/>
              <a:gd name="csX638" fmla="*/ 360609 w 1609516"/>
              <a:gd name="csY638" fmla="*/ 1490833 h 1538630"/>
              <a:gd name="csX639" fmla="*/ 363733 w 1609516"/>
              <a:gd name="csY639" fmla="*/ 1490833 h 1538630"/>
              <a:gd name="csX640" fmla="*/ 363733 w 1609516"/>
              <a:gd name="csY640" fmla="*/ 1489980 h 1538630"/>
              <a:gd name="csX641" fmla="*/ 348467 w 1609516"/>
              <a:gd name="csY641" fmla="*/ 1481717 h 1538630"/>
              <a:gd name="csX642" fmla="*/ 343872 w 1609516"/>
              <a:gd name="csY642" fmla="*/ 1461078 h 1538630"/>
              <a:gd name="csX643" fmla="*/ 343656 w 1609516"/>
              <a:gd name="csY643" fmla="*/ 1463649 h 1538630"/>
              <a:gd name="csX644" fmla="*/ 343424 w 1609516"/>
              <a:gd name="csY644" fmla="*/ 1466842 h 1538630"/>
              <a:gd name="csX645" fmla="*/ 341861 w 1609516"/>
              <a:gd name="csY645" fmla="*/ 1466842 h 1538630"/>
              <a:gd name="csX646" fmla="*/ 354143 w 1609516"/>
              <a:gd name="csY646" fmla="*/ 1420549 h 1538630"/>
              <a:gd name="csX647" fmla="*/ 376229 w 1609516"/>
              <a:gd name="csY647" fmla="*/ 1403427 h 1538630"/>
              <a:gd name="csX648" fmla="*/ 379491 w 1609516"/>
              <a:gd name="csY648" fmla="*/ 1404408 h 1538630"/>
              <a:gd name="csX649" fmla="*/ 379710 w 1609516"/>
              <a:gd name="csY649" fmla="*/ 1404210 h 1538630"/>
              <a:gd name="csX650" fmla="*/ 380882 w 1609516"/>
              <a:gd name="csY650" fmla="*/ 1401568 h 1538630"/>
              <a:gd name="csX651" fmla="*/ 392207 w 1609516"/>
              <a:gd name="csY651" fmla="*/ 1392936 h 1538630"/>
              <a:gd name="csX652" fmla="*/ 399542 w 1609516"/>
              <a:gd name="csY652" fmla="*/ 1386774 h 1538630"/>
              <a:gd name="csX653" fmla="*/ 405485 w 1609516"/>
              <a:gd name="csY653" fmla="*/ 1378917 h 1538630"/>
              <a:gd name="csX654" fmla="*/ 412008 w 1609516"/>
              <a:gd name="csY654" fmla="*/ 1369481 h 1538630"/>
              <a:gd name="csX655" fmla="*/ 421130 w 1609516"/>
              <a:gd name="csY655" fmla="*/ 1357057 h 1538630"/>
              <a:gd name="csX656" fmla="*/ 424676 w 1609516"/>
              <a:gd name="csY656" fmla="*/ 1348443 h 1538630"/>
              <a:gd name="csX657" fmla="*/ 427275 w 1609516"/>
              <a:gd name="csY657" fmla="*/ 1348443 h 1538630"/>
              <a:gd name="csX658" fmla="*/ 428135 w 1609516"/>
              <a:gd name="csY658" fmla="*/ 1345727 h 1538630"/>
              <a:gd name="csX659" fmla="*/ 432822 w 1609516"/>
              <a:gd name="csY659" fmla="*/ 1335158 h 1538630"/>
              <a:gd name="csX660" fmla="*/ 435946 w 1609516"/>
              <a:gd name="csY660" fmla="*/ 1335158 h 1538630"/>
              <a:gd name="csX661" fmla="*/ 437704 w 1609516"/>
              <a:gd name="csY661" fmla="*/ 1329786 h 1538630"/>
              <a:gd name="csX662" fmla="*/ 447394 w 1609516"/>
              <a:gd name="csY662" fmla="*/ 1311196 h 1538630"/>
              <a:gd name="csX663" fmla="*/ 469287 w 1609516"/>
              <a:gd name="csY663" fmla="*/ 1265964 h 1538630"/>
              <a:gd name="csX664" fmla="*/ 478178 w 1609516"/>
              <a:gd name="csY664" fmla="*/ 1246787 h 1538630"/>
              <a:gd name="csX665" fmla="*/ 480179 w 1609516"/>
              <a:gd name="csY665" fmla="*/ 1225768 h 1538630"/>
              <a:gd name="csX666" fmla="*/ 480250 w 1609516"/>
              <a:gd name="csY666" fmla="*/ 1217149 h 1538630"/>
              <a:gd name="csX667" fmla="*/ 462972 w 1609516"/>
              <a:gd name="csY667" fmla="*/ 1174827 h 1538630"/>
              <a:gd name="csX668" fmla="*/ 457468 w 1609516"/>
              <a:gd name="csY668" fmla="*/ 1169949 h 1538630"/>
              <a:gd name="csX669" fmla="*/ 440657 w 1609516"/>
              <a:gd name="csY669" fmla="*/ 1152570 h 1538630"/>
              <a:gd name="csX670" fmla="*/ 403142 w 1609516"/>
              <a:gd name="csY670" fmla="*/ 1122366 h 1538630"/>
              <a:gd name="csX671" fmla="*/ 401579 w 1609516"/>
              <a:gd name="csY671" fmla="*/ 1119547 h 1538630"/>
              <a:gd name="csX672" fmla="*/ 364564 w 1609516"/>
              <a:gd name="csY672" fmla="*/ 1118209 h 1538630"/>
              <a:gd name="csX673" fmla="*/ 357822 w 1609516"/>
              <a:gd name="csY673" fmla="*/ 1122041 h 1538630"/>
              <a:gd name="csX674" fmla="*/ 348077 w 1609516"/>
              <a:gd name="csY674" fmla="*/ 1125273 h 1538630"/>
              <a:gd name="csX675" fmla="*/ 334408 w 1609516"/>
              <a:gd name="csY675" fmla="*/ 1132230 h 1538630"/>
              <a:gd name="csX676" fmla="*/ 327964 w 1609516"/>
              <a:gd name="csY676" fmla="*/ 1134080 h 1538630"/>
              <a:gd name="csX677" fmla="*/ 279734 w 1609516"/>
              <a:gd name="csY677" fmla="*/ 1166051 h 1538630"/>
              <a:gd name="csX678" fmla="*/ 276609 w 1609516"/>
              <a:gd name="csY678" fmla="*/ 1173098 h 1538630"/>
              <a:gd name="csX679" fmla="*/ 260988 w 1609516"/>
              <a:gd name="csY679" fmla="*/ 1188599 h 1538630"/>
              <a:gd name="csX680" fmla="*/ 257956 w 1609516"/>
              <a:gd name="csY680" fmla="*/ 1191132 h 1538630"/>
              <a:gd name="csX681" fmla="*/ 243805 w 1609516"/>
              <a:gd name="csY681" fmla="*/ 1196629 h 1538630"/>
              <a:gd name="csX682" fmla="*/ 243805 w 1609516"/>
              <a:gd name="csY682" fmla="*/ 1194236 h 1538630"/>
              <a:gd name="csX683" fmla="*/ 240288 w 1609516"/>
              <a:gd name="csY683" fmla="*/ 1194765 h 1538630"/>
              <a:gd name="csX684" fmla="*/ 243374 w 1609516"/>
              <a:gd name="csY684" fmla="*/ 1194765 h 1538630"/>
              <a:gd name="csX685" fmla="*/ 243374 w 1609516"/>
              <a:gd name="csY685" fmla="*/ 1196797 h 1538630"/>
              <a:gd name="csX686" fmla="*/ 243805 w 1609516"/>
              <a:gd name="csY686" fmla="*/ 1196629 h 1538630"/>
              <a:gd name="csX687" fmla="*/ 243805 w 1609516"/>
              <a:gd name="csY687" fmla="*/ 1197055 h 1538630"/>
              <a:gd name="csX688" fmla="*/ 243374 w 1609516"/>
              <a:gd name="csY688" fmla="*/ 1197055 h 1538630"/>
              <a:gd name="csX689" fmla="*/ 243374 w 1609516"/>
              <a:gd name="csY689" fmla="*/ 1197584 h 1538630"/>
              <a:gd name="csX690" fmla="*/ 241319 w 1609516"/>
              <a:gd name="csY690" fmla="*/ 1197595 h 1538630"/>
              <a:gd name="csX691" fmla="*/ 238009 w 1609516"/>
              <a:gd name="csY691" fmla="*/ 1198881 h 1538630"/>
              <a:gd name="csX692" fmla="*/ 215687 w 1609516"/>
              <a:gd name="csY692" fmla="*/ 1198464 h 1538630"/>
              <a:gd name="csX693" fmla="*/ 215687 w 1609516"/>
              <a:gd name="csY693" fmla="*/ 1197734 h 1538630"/>
              <a:gd name="csX694" fmla="*/ 213936 w 1609516"/>
              <a:gd name="csY694" fmla="*/ 1197744 h 1538630"/>
              <a:gd name="csX695" fmla="*/ 207446 w 1609516"/>
              <a:gd name="csY695" fmla="*/ 1196175 h 1538630"/>
              <a:gd name="csX696" fmla="*/ 207822 w 1609516"/>
              <a:gd name="csY696" fmla="*/ 1195610 h 1538630"/>
              <a:gd name="csX697" fmla="*/ 184737 w 1609516"/>
              <a:gd name="csY697" fmla="*/ 1180936 h 1538630"/>
              <a:gd name="csX698" fmla="*/ 179270 w 1609516"/>
              <a:gd name="csY698" fmla="*/ 1154866 h 1538630"/>
              <a:gd name="csX699" fmla="*/ 179194 w 1609516"/>
              <a:gd name="csY699" fmla="*/ 1151621 h 1538630"/>
              <a:gd name="csX700" fmla="*/ 193195 w 1609516"/>
              <a:gd name="csY700" fmla="*/ 1120065 h 1538630"/>
              <a:gd name="csX701" fmla="*/ 229551 w 1609516"/>
              <a:gd name="csY701" fmla="*/ 1110299 h 1538630"/>
              <a:gd name="csX702" fmla="*/ 260988 w 1609516"/>
              <a:gd name="csY702" fmla="*/ 1108274 h 1538630"/>
              <a:gd name="csX703" fmla="*/ 260988 w 1609516"/>
              <a:gd name="csY703" fmla="*/ 1105455 h 1538630"/>
              <a:gd name="csX704" fmla="*/ 263911 w 1609516"/>
              <a:gd name="csY704" fmla="*/ 1104310 h 1538630"/>
              <a:gd name="csX705" fmla="*/ 286995 w 1609516"/>
              <a:gd name="csY705" fmla="*/ 1090185 h 1538630"/>
              <a:gd name="csX706" fmla="*/ 299358 w 1609516"/>
              <a:gd name="csY706" fmla="*/ 1080970 h 1538630"/>
              <a:gd name="csX707" fmla="*/ 317762 w 1609516"/>
              <a:gd name="csY707" fmla="*/ 1063272 h 1538630"/>
              <a:gd name="csX708" fmla="*/ 325035 w 1609516"/>
              <a:gd name="csY708" fmla="*/ 1057542 h 1538630"/>
              <a:gd name="csX709" fmla="*/ 325328 w 1609516"/>
              <a:gd name="csY709" fmla="*/ 1023104 h 1538630"/>
              <a:gd name="csX710" fmla="*/ 324544 w 1609516"/>
              <a:gd name="csY710" fmla="*/ 1019247 h 1538630"/>
              <a:gd name="csX711" fmla="*/ 317225 w 1609516"/>
              <a:gd name="csY711" fmla="*/ 996945 h 1538630"/>
              <a:gd name="csX712" fmla="*/ 315388 w 1609516"/>
              <a:gd name="csY712" fmla="*/ 992690 h 1538630"/>
              <a:gd name="csX713" fmla="*/ 276232 w 1609516"/>
              <a:gd name="csY713" fmla="*/ 950666 h 1538630"/>
              <a:gd name="csX714" fmla="*/ 271923 w 1609516"/>
              <a:gd name="csY714" fmla="*/ 949031 h 1538630"/>
              <a:gd name="csX715" fmla="*/ 268299 w 1609516"/>
              <a:gd name="csY715" fmla="*/ 947441 h 1538630"/>
              <a:gd name="csX716" fmla="*/ 199187 w 1609516"/>
              <a:gd name="csY716" fmla="*/ 938991 h 1538630"/>
              <a:gd name="csX717" fmla="*/ 193719 w 1609516"/>
              <a:gd name="csY717" fmla="*/ 938971 h 1538630"/>
              <a:gd name="csX718" fmla="*/ 188539 w 1609516"/>
              <a:gd name="csY718" fmla="*/ 938980 h 1538630"/>
              <a:gd name="csX719" fmla="*/ 183874 w 1609516"/>
              <a:gd name="csY719" fmla="*/ 938985 h 1538630"/>
              <a:gd name="csX720" fmla="*/ 173509 w 1609516"/>
              <a:gd name="csY720" fmla="*/ 940576 h 1538630"/>
              <a:gd name="csX721" fmla="*/ 161403 w 1609516"/>
              <a:gd name="csY721" fmla="*/ 940664 h 1538630"/>
              <a:gd name="csX722" fmla="*/ 158102 w 1609516"/>
              <a:gd name="csY722" fmla="*/ 940645 h 1538630"/>
              <a:gd name="csX723" fmla="*/ 150875 w 1609516"/>
              <a:gd name="csY723" fmla="*/ 940583 h 1538630"/>
              <a:gd name="csX724" fmla="*/ 148425 w 1609516"/>
              <a:gd name="csY724" fmla="*/ 940717 h 1538630"/>
              <a:gd name="csX725" fmla="*/ 149617 w 1609516"/>
              <a:gd name="csY725" fmla="*/ 940995 h 1538630"/>
              <a:gd name="csX726" fmla="*/ 149617 w 1609516"/>
              <a:gd name="csY726" fmla="*/ 942404 h 1538630"/>
              <a:gd name="csX727" fmla="*/ 146627 w 1609516"/>
              <a:gd name="csY727" fmla="*/ 942871 h 1538630"/>
              <a:gd name="csX728" fmla="*/ 110564 w 1609516"/>
              <a:gd name="csY728" fmla="*/ 949449 h 1538630"/>
              <a:gd name="csX729" fmla="*/ 111283 w 1609516"/>
              <a:gd name="csY729" fmla="*/ 946205 h 1538630"/>
              <a:gd name="csX730" fmla="*/ 101652 w 1609516"/>
              <a:gd name="csY730" fmla="*/ 956078 h 1538630"/>
              <a:gd name="csX731" fmla="*/ 98052 w 1609516"/>
              <a:gd name="csY731" fmla="*/ 958467 h 1538630"/>
              <a:gd name="csX732" fmla="*/ 67286 w 1609516"/>
              <a:gd name="csY732" fmla="*/ 972989 h 1538630"/>
              <a:gd name="csX733" fmla="*/ 67286 w 1609516"/>
              <a:gd name="csY733" fmla="*/ 975807 h 1538630"/>
              <a:gd name="csX734" fmla="*/ 31942 w 1609516"/>
              <a:gd name="csY734" fmla="*/ 976423 h 1538630"/>
              <a:gd name="csX735" fmla="*/ 5673 w 1609516"/>
              <a:gd name="csY735" fmla="*/ 953419 h 1538630"/>
              <a:gd name="csX736" fmla="*/ 4801 w 1609516"/>
              <a:gd name="csY736" fmla="*/ 944804 h 1538630"/>
              <a:gd name="csX737" fmla="*/ 1676 w 1609516"/>
              <a:gd name="csY737" fmla="*/ 944804 h 1538630"/>
              <a:gd name="csX738" fmla="*/ 17 w 1609516"/>
              <a:gd name="csY738" fmla="*/ 931857 h 1538630"/>
              <a:gd name="csX739" fmla="*/ 59 w 1609516"/>
              <a:gd name="csY739" fmla="*/ 927216 h 1538630"/>
              <a:gd name="csX740" fmla="*/ 115 w 1609516"/>
              <a:gd name="csY740" fmla="*/ 923666 h 1538630"/>
              <a:gd name="csX741" fmla="*/ 3238 w 1609516"/>
              <a:gd name="csY741" fmla="*/ 923666 h 1538630"/>
              <a:gd name="csX742" fmla="*/ 3238 w 1609516"/>
              <a:gd name="csY742" fmla="*/ 918029 h 1538630"/>
              <a:gd name="csX743" fmla="*/ 6363 w 1609516"/>
              <a:gd name="csY743" fmla="*/ 918029 h 1538630"/>
              <a:gd name="csX744" fmla="*/ 6656 w 1609516"/>
              <a:gd name="csY744" fmla="*/ 912832 h 1538630"/>
              <a:gd name="csX745" fmla="*/ 15736 w 1609516"/>
              <a:gd name="csY745" fmla="*/ 899709 h 1538630"/>
              <a:gd name="csX746" fmla="*/ 17243 w 1609516"/>
              <a:gd name="csY746" fmla="*/ 898894 h 1538630"/>
              <a:gd name="csX747" fmla="*/ 16800 w 1609516"/>
              <a:gd name="csY747" fmla="*/ 898694 h 1538630"/>
              <a:gd name="csX748" fmla="*/ 24988 w 1609516"/>
              <a:gd name="csY748" fmla="*/ 894101 h 1538630"/>
              <a:gd name="csX749" fmla="*/ 26768 w 1609516"/>
              <a:gd name="csY749" fmla="*/ 892399 h 1538630"/>
              <a:gd name="csX750" fmla="*/ 30198 w 1609516"/>
              <a:gd name="csY750" fmla="*/ 890164 h 1538630"/>
              <a:gd name="csX751" fmla="*/ 32204 w 1609516"/>
              <a:gd name="csY751" fmla="*/ 890054 h 1538630"/>
              <a:gd name="csX752" fmla="*/ 38914 w 1609516"/>
              <a:gd name="csY752" fmla="*/ 886291 h 1538630"/>
              <a:gd name="csX753" fmla="*/ 63664 w 1609516"/>
              <a:gd name="csY753" fmla="*/ 886011 h 1538630"/>
              <a:gd name="csX754" fmla="*/ 63664 w 1609516"/>
              <a:gd name="csY754" fmla="*/ 886531 h 1538630"/>
              <a:gd name="csX755" fmla="*/ 70784 w 1609516"/>
              <a:gd name="csY755" fmla="*/ 886647 h 1538630"/>
              <a:gd name="csX756" fmla="*/ 82126 w 1609516"/>
              <a:gd name="csY756" fmla="*/ 889845 h 1538630"/>
              <a:gd name="csX757" fmla="*/ 114149 w 1609516"/>
              <a:gd name="csY757" fmla="*/ 892663 h 1538630"/>
              <a:gd name="csX758" fmla="*/ 118836 w 1609516"/>
              <a:gd name="csY758" fmla="*/ 889845 h 1538630"/>
              <a:gd name="csX759" fmla="*/ 131626 w 1609516"/>
              <a:gd name="csY759" fmla="*/ 887114 h 1538630"/>
              <a:gd name="csX760" fmla="*/ 155116 w 1609516"/>
              <a:gd name="csY760" fmla="*/ 880913 h 1538630"/>
              <a:gd name="csX761" fmla="*/ 165406 w 1609516"/>
              <a:gd name="csY761" fmla="*/ 878483 h 1538630"/>
              <a:gd name="csX762" fmla="*/ 176634 w 1609516"/>
              <a:gd name="csY762" fmla="*/ 874343 h 1538630"/>
              <a:gd name="csX763" fmla="*/ 186397 w 1609516"/>
              <a:gd name="csY763" fmla="*/ 871524 h 1538630"/>
              <a:gd name="csX764" fmla="*/ 191871 w 1609516"/>
              <a:gd name="csY764" fmla="*/ 870033 h 1538630"/>
              <a:gd name="csX765" fmla="*/ 203483 w 1609516"/>
              <a:gd name="csY765" fmla="*/ 867208 h 1538630"/>
              <a:gd name="csX766" fmla="*/ 211001 w 1609516"/>
              <a:gd name="csY766" fmla="*/ 861660 h 1538630"/>
              <a:gd name="csX767" fmla="*/ 218031 w 1609516"/>
              <a:gd name="csY767" fmla="*/ 858577 h 1538630"/>
              <a:gd name="csX768" fmla="*/ 254740 w 1609516"/>
              <a:gd name="csY768" fmla="*/ 825020 h 1538630"/>
              <a:gd name="csX769" fmla="*/ 257864 w 1609516"/>
              <a:gd name="csY769" fmla="*/ 820792 h 1538630"/>
              <a:gd name="csX770" fmla="*/ 258318 w 1609516"/>
              <a:gd name="csY770" fmla="*/ 813810 h 1538630"/>
              <a:gd name="csX771" fmla="*/ 258378 w 1609516"/>
              <a:gd name="csY771" fmla="*/ 809502 h 1538630"/>
              <a:gd name="csX772" fmla="*/ 258389 w 1609516"/>
              <a:gd name="csY772" fmla="*/ 804845 h 1538630"/>
              <a:gd name="csX773" fmla="*/ 258420 w 1609516"/>
              <a:gd name="csY773" fmla="*/ 800036 h 1538630"/>
              <a:gd name="csX774" fmla="*/ 258443 w 1609516"/>
              <a:gd name="csY774" fmla="*/ 789939 h 1538630"/>
              <a:gd name="csX775" fmla="*/ 258566 w 1609516"/>
              <a:gd name="csY775" fmla="*/ 774594 h 1538630"/>
              <a:gd name="csX776" fmla="*/ 258584 w 1609516"/>
              <a:gd name="csY776" fmla="*/ 764771 h 1538630"/>
              <a:gd name="csX777" fmla="*/ 258652 w 1609516"/>
              <a:gd name="csY777" fmla="*/ 760174 h 1538630"/>
              <a:gd name="csX778" fmla="*/ 251616 w 1609516"/>
              <a:gd name="csY778" fmla="*/ 733421 h 1538630"/>
              <a:gd name="csX779" fmla="*/ 247613 w 1609516"/>
              <a:gd name="csY779" fmla="*/ 721883 h 1538630"/>
              <a:gd name="csX780" fmla="*/ 241291 w 1609516"/>
              <a:gd name="csY780" fmla="*/ 705644 h 1538630"/>
              <a:gd name="csX781" fmla="*/ 237557 w 1609516"/>
              <a:gd name="csY781" fmla="*/ 689735 h 1538630"/>
              <a:gd name="csX782" fmla="*/ 248492 w 1609516"/>
              <a:gd name="csY782" fmla="*/ 685507 h 1538630"/>
              <a:gd name="csX783" fmla="*/ 248492 w 1609516"/>
              <a:gd name="csY783" fmla="*/ 681279 h 1538630"/>
              <a:gd name="csX784" fmla="*/ 240681 w 1609516"/>
              <a:gd name="csY784" fmla="*/ 679870 h 1538630"/>
              <a:gd name="csX785" fmla="*/ 240681 w 1609516"/>
              <a:gd name="csY785" fmla="*/ 677052 h 1538630"/>
              <a:gd name="csX786" fmla="*/ 238094 w 1609516"/>
              <a:gd name="csY786" fmla="*/ 676645 h 1538630"/>
              <a:gd name="csX787" fmla="*/ 225841 w 1609516"/>
              <a:gd name="csY787" fmla="*/ 670886 h 1538630"/>
              <a:gd name="csX788" fmla="*/ 201531 w 1609516"/>
              <a:gd name="csY788" fmla="*/ 662508 h 1538630"/>
              <a:gd name="csX789" fmla="*/ 188252 w 1609516"/>
              <a:gd name="csY789" fmla="*/ 658644 h 1538630"/>
              <a:gd name="csX790" fmla="*/ 182431 w 1609516"/>
              <a:gd name="csY790" fmla="*/ 657327 h 1538630"/>
              <a:gd name="csX791" fmla="*/ 182431 w 1609516"/>
              <a:gd name="csY791" fmla="*/ 657613 h 1538630"/>
              <a:gd name="csX792" fmla="*/ 146503 w 1609516"/>
              <a:gd name="csY792" fmla="*/ 656204 h 1538630"/>
              <a:gd name="csX793" fmla="*/ 146503 w 1609516"/>
              <a:gd name="csY793" fmla="*/ 659022 h 1538630"/>
              <a:gd name="csX794" fmla="*/ 110378 w 1609516"/>
              <a:gd name="csY794" fmla="*/ 663778 h 1538630"/>
              <a:gd name="csX795" fmla="*/ 106453 w 1609516"/>
              <a:gd name="csY795" fmla="*/ 663836 h 1538630"/>
              <a:gd name="csX796" fmla="*/ 102751 w 1609516"/>
              <a:gd name="csY796" fmla="*/ 663811 h 1538630"/>
              <a:gd name="csX797" fmla="*/ 99449 w 1609516"/>
              <a:gd name="csY797" fmla="*/ 663797 h 1538630"/>
              <a:gd name="csX798" fmla="*/ 91828 w 1609516"/>
              <a:gd name="csY798" fmla="*/ 659022 h 1538630"/>
              <a:gd name="csX799" fmla="*/ 98077 w 1609516"/>
              <a:gd name="csY799" fmla="*/ 659022 h 1538630"/>
              <a:gd name="csX800" fmla="*/ 98077 w 1609516"/>
              <a:gd name="csY800" fmla="*/ 661841 h 1538630"/>
              <a:gd name="csX801" fmla="*/ 119023 w 1609516"/>
              <a:gd name="csY801" fmla="*/ 661357 h 1538630"/>
              <a:gd name="csX802" fmla="*/ 119536 w 1609516"/>
              <a:gd name="csY802" fmla="*/ 661197 h 1538630"/>
              <a:gd name="csX803" fmla="*/ 109853 w 1609516"/>
              <a:gd name="csY803" fmla="*/ 661639 h 1538630"/>
              <a:gd name="csX804" fmla="*/ 106552 w 1609516"/>
              <a:gd name="csY804" fmla="*/ 661619 h 1538630"/>
              <a:gd name="csX805" fmla="*/ 98528 w 1609516"/>
              <a:gd name="csY805" fmla="*/ 661550 h 1538630"/>
              <a:gd name="csX806" fmla="*/ 98528 w 1609516"/>
              <a:gd name="csY806" fmla="*/ 658732 h 1538630"/>
              <a:gd name="csX807" fmla="*/ 89155 w 1609516"/>
              <a:gd name="csY807" fmla="*/ 657323 h 1538630"/>
              <a:gd name="csX808" fmla="*/ 89155 w 1609516"/>
              <a:gd name="csY808" fmla="*/ 654504 h 1538630"/>
              <a:gd name="csX809" fmla="*/ 86397 w 1609516"/>
              <a:gd name="csY809" fmla="*/ 653442 h 1538630"/>
              <a:gd name="csX810" fmla="*/ 77049 w 1609516"/>
              <a:gd name="csY810" fmla="*/ 646137 h 1538630"/>
              <a:gd name="csX811" fmla="*/ 74145 w 1609516"/>
              <a:gd name="csY811" fmla="*/ 643192 h 1538630"/>
              <a:gd name="csX812" fmla="*/ 71972 w 1609516"/>
              <a:gd name="csY812" fmla="*/ 636185 h 1538630"/>
              <a:gd name="csX813" fmla="*/ 68848 w 1609516"/>
              <a:gd name="csY813" fmla="*/ 636185 h 1538630"/>
              <a:gd name="csX814" fmla="*/ 70410 w 1609516"/>
              <a:gd name="csY814" fmla="*/ 595317 h 1538630"/>
              <a:gd name="csX815" fmla="*/ 79782 w 1609516"/>
              <a:gd name="csY815" fmla="*/ 584043 h 1538630"/>
              <a:gd name="csX816" fmla="*/ 82656 w 1609516"/>
              <a:gd name="csY816" fmla="*/ 581115 h 1538630"/>
              <a:gd name="csX817" fmla="*/ 116694 w 1609516"/>
              <a:gd name="csY817" fmla="*/ 572323 h 1538630"/>
              <a:gd name="csX818" fmla="*/ 152031 w 1609516"/>
              <a:gd name="csY818" fmla="*/ 590385 h 1538630"/>
              <a:gd name="csX819" fmla="*/ 191474 w 1609516"/>
              <a:gd name="csY819" fmla="*/ 605886 h 1538630"/>
              <a:gd name="csX820" fmla="*/ 206314 w 1609516"/>
              <a:gd name="csY820" fmla="*/ 608000 h 1538630"/>
              <a:gd name="csX821" fmla="*/ 206314 w 1609516"/>
              <a:gd name="csY821" fmla="*/ 610818 h 1538630"/>
              <a:gd name="csX822" fmla="*/ 234433 w 1609516"/>
              <a:gd name="csY822" fmla="*/ 610818 h 1538630"/>
              <a:gd name="csX823" fmla="*/ 239522 w 1609516"/>
              <a:gd name="csY823" fmla="*/ 610802 h 1538630"/>
              <a:gd name="csX824" fmla="*/ 268799 w 1609516"/>
              <a:gd name="csY824" fmla="*/ 600954 h 1538630"/>
              <a:gd name="csX825" fmla="*/ 271740 w 1609516"/>
              <a:gd name="csY825" fmla="*/ 599325 h 1538630"/>
              <a:gd name="csX826" fmla="*/ 284420 w 1609516"/>
              <a:gd name="csY826" fmla="*/ 579816 h 1538630"/>
              <a:gd name="csX827" fmla="*/ 289399 w 1609516"/>
              <a:gd name="csY827" fmla="*/ 568630 h 1538630"/>
              <a:gd name="csX828" fmla="*/ 293958 w 1609516"/>
              <a:gd name="csY828" fmla="*/ 535838 h 1538630"/>
              <a:gd name="csX829" fmla="*/ 289107 w 1609516"/>
              <a:gd name="csY829" fmla="*/ 529084 h 1538630"/>
              <a:gd name="csX830" fmla="*/ 289107 w 1609516"/>
              <a:gd name="csY830" fmla="*/ 526265 h 1538630"/>
              <a:gd name="csX831" fmla="*/ 284420 w 1609516"/>
              <a:gd name="csY831" fmla="*/ 524856 h 1538630"/>
              <a:gd name="csX832" fmla="*/ 282858 w 1609516"/>
              <a:gd name="csY832" fmla="*/ 520628 h 1538630"/>
              <a:gd name="csX833" fmla="*/ 277977 w 1609516"/>
              <a:gd name="csY833" fmla="*/ 516577 h 1538630"/>
              <a:gd name="csX834" fmla="*/ 264925 w 1609516"/>
              <a:gd name="csY834" fmla="*/ 506443 h 1538630"/>
              <a:gd name="csX835" fmla="*/ 229746 w 1609516"/>
              <a:gd name="csY835" fmla="*/ 481170 h 1538630"/>
              <a:gd name="csX836" fmla="*/ 221057 w 1609516"/>
              <a:gd name="csY836" fmla="*/ 475445 h 1538630"/>
              <a:gd name="csX837" fmla="*/ 212563 w 1609516"/>
              <a:gd name="csY837" fmla="*/ 469896 h 1538630"/>
              <a:gd name="csX838" fmla="*/ 208889 w 1609516"/>
              <a:gd name="csY838" fmla="*/ 467491 h 1538630"/>
              <a:gd name="csX839" fmla="*/ 190406 w 1609516"/>
              <a:gd name="csY839" fmla="*/ 456382 h 1538630"/>
              <a:gd name="csX840" fmla="*/ 186942 w 1609516"/>
              <a:gd name="csY840" fmla="*/ 454460 h 1538630"/>
              <a:gd name="csX841" fmla="*/ 180041 w 1609516"/>
              <a:gd name="csY841" fmla="*/ 450696 h 1538630"/>
              <a:gd name="csX842" fmla="*/ 171948 w 1609516"/>
              <a:gd name="csY842" fmla="*/ 445940 h 1538630"/>
              <a:gd name="csX843" fmla="*/ 171948 w 1609516"/>
              <a:gd name="csY843" fmla="*/ 443121 h 1538630"/>
              <a:gd name="csX844" fmla="*/ 168482 w 1609516"/>
              <a:gd name="csY844" fmla="*/ 442708 h 1538630"/>
              <a:gd name="csX845" fmla="*/ 157107 w 1609516"/>
              <a:gd name="csY845" fmla="*/ 437044 h 1538630"/>
              <a:gd name="csX846" fmla="*/ 132559 w 1609516"/>
              <a:gd name="csY846" fmla="*/ 427510 h 1538630"/>
              <a:gd name="csX847" fmla="*/ 123522 w 1609516"/>
              <a:gd name="csY847" fmla="*/ 421983 h 1538630"/>
              <a:gd name="csX848" fmla="*/ 107986 w 1609516"/>
              <a:gd name="csY848" fmla="*/ 418730 h 1538630"/>
              <a:gd name="csX849" fmla="*/ 102494 w 1609516"/>
              <a:gd name="csY849" fmla="*/ 418622 h 1538630"/>
              <a:gd name="csX850" fmla="*/ 91157 w 1609516"/>
              <a:gd name="csY850" fmla="*/ 418490 h 1538630"/>
              <a:gd name="csX851" fmla="*/ 55277 w 1609516"/>
              <a:gd name="csY851" fmla="*/ 410445 h 1538630"/>
              <a:gd name="csX852" fmla="*/ 51665 w 1609516"/>
              <a:gd name="csY852" fmla="*/ 406481 h 1538630"/>
              <a:gd name="csX853" fmla="*/ 45904 w 1609516"/>
              <a:gd name="csY853" fmla="*/ 400492 h 1538630"/>
              <a:gd name="csX854" fmla="*/ 43152 w 1609516"/>
              <a:gd name="csY854" fmla="*/ 397564 h 1538630"/>
              <a:gd name="csX855" fmla="*/ 37605 w 1609516"/>
              <a:gd name="csY855" fmla="*/ 393798 h 1538630"/>
              <a:gd name="csX856" fmla="*/ 38995 w 1609516"/>
              <a:gd name="csY856" fmla="*/ 368712 h 1538630"/>
              <a:gd name="csX857" fmla="*/ 38666 w 1609516"/>
              <a:gd name="csY857" fmla="*/ 369724 h 1538630"/>
              <a:gd name="csX858" fmla="*/ 35542 w 1609516"/>
              <a:gd name="csY858" fmla="*/ 384081 h 1538630"/>
              <a:gd name="csX859" fmla="*/ 33326 w 1609516"/>
              <a:gd name="csY859" fmla="*/ 357791 h 1538630"/>
              <a:gd name="csX860" fmla="*/ 52725 w 1609516"/>
              <a:gd name="csY860" fmla="*/ 333349 h 1538630"/>
              <a:gd name="csX861" fmla="*/ 55222 w 1609516"/>
              <a:gd name="csY861" fmla="*/ 334475 h 1538630"/>
              <a:gd name="csX862" fmla="*/ 56222 w 1609516"/>
              <a:gd name="csY862" fmla="*/ 333347 h 1538630"/>
              <a:gd name="csX863" fmla="*/ 55871 w 1609516"/>
              <a:gd name="csY863" fmla="*/ 333347 h 1538630"/>
              <a:gd name="csX864" fmla="*/ 56346 w 1609516"/>
              <a:gd name="csY864" fmla="*/ 333207 h 1538630"/>
              <a:gd name="csX865" fmla="*/ 56351 w 1609516"/>
              <a:gd name="csY865" fmla="*/ 333202 h 1538630"/>
              <a:gd name="csX866" fmla="*/ 56365 w 1609516"/>
              <a:gd name="csY866" fmla="*/ 333202 h 1538630"/>
              <a:gd name="csX867" fmla="*/ 79571 w 1609516"/>
              <a:gd name="csY867" fmla="*/ 326360 h 1538630"/>
              <a:gd name="csX868" fmla="*/ 104297 w 1609516"/>
              <a:gd name="csY868" fmla="*/ 330529 h 1538630"/>
              <a:gd name="csX869" fmla="*/ 107170 w 1609516"/>
              <a:gd name="csY869" fmla="*/ 334417 h 1538630"/>
              <a:gd name="csX870" fmla="*/ 109366 w 1609516"/>
              <a:gd name="csY870" fmla="*/ 336046 h 1538630"/>
              <a:gd name="csX871" fmla="*/ 109463 w 1609516"/>
              <a:gd name="csY871" fmla="*/ 336020 h 1538630"/>
              <a:gd name="csX872" fmla="*/ 109463 w 1609516"/>
              <a:gd name="csY872" fmla="*/ 336118 h 1538630"/>
              <a:gd name="csX873" fmla="*/ 115226 w 1609516"/>
              <a:gd name="csY873" fmla="*/ 340394 h 1538630"/>
              <a:gd name="csX874" fmla="*/ 114010 w 1609516"/>
              <a:gd name="csY874" fmla="*/ 340120 h 1538630"/>
              <a:gd name="csX875" fmla="*/ 133285 w 1609516"/>
              <a:gd name="csY875" fmla="*/ 357423 h 1538630"/>
              <a:gd name="csX876" fmla="*/ 173509 w 1609516"/>
              <a:gd name="csY876" fmla="*/ 389571 h 1538630"/>
              <a:gd name="csX877" fmla="*/ 181711 w 1609516"/>
              <a:gd name="csY877" fmla="*/ 393270 h 1538630"/>
              <a:gd name="csX878" fmla="*/ 185507 w 1609516"/>
              <a:gd name="csY878" fmla="*/ 394976 h 1538630"/>
              <a:gd name="csX879" fmla="*/ 192658 w 1609516"/>
              <a:gd name="csY879" fmla="*/ 398257 h 1538630"/>
              <a:gd name="csX880" fmla="*/ 195966 w 1609516"/>
              <a:gd name="csY880" fmla="*/ 399788 h 1538630"/>
              <a:gd name="csX881" fmla="*/ 198833 w 1609516"/>
              <a:gd name="csY881" fmla="*/ 401131 h 1538630"/>
              <a:gd name="csX882" fmla="*/ 207877 w 1609516"/>
              <a:gd name="csY882" fmla="*/ 403663 h 1538630"/>
              <a:gd name="csX883" fmla="*/ 207877 w 1609516"/>
              <a:gd name="csY883" fmla="*/ 406481 h 1538630"/>
              <a:gd name="csX884" fmla="*/ 248492 w 1609516"/>
              <a:gd name="csY884" fmla="*/ 419428 h 1538630"/>
              <a:gd name="csX885" fmla="*/ 253965 w 1609516"/>
              <a:gd name="csY885" fmla="*/ 421000 h 1538630"/>
              <a:gd name="csX886" fmla="*/ 267237 w 1609516"/>
              <a:gd name="csY886" fmla="*/ 424801 h 1538630"/>
              <a:gd name="csX887" fmla="*/ 267237 w 1609516"/>
              <a:gd name="csY887" fmla="*/ 426451 h 1538630"/>
              <a:gd name="csX888" fmla="*/ 288701 w 1609516"/>
              <a:gd name="csY888" fmla="*/ 429217 h 1538630"/>
              <a:gd name="csX889" fmla="*/ 288701 w 1609516"/>
              <a:gd name="csY889" fmla="*/ 432036 h 1538630"/>
              <a:gd name="csX890" fmla="*/ 327010 w 1609516"/>
              <a:gd name="csY890" fmla="*/ 433628 h 1538630"/>
              <a:gd name="csX891" fmla="*/ 337486 w 1609516"/>
              <a:gd name="csY891" fmla="*/ 433637 h 1538630"/>
              <a:gd name="csX892" fmla="*/ 344229 w 1609516"/>
              <a:gd name="csY892" fmla="*/ 433632 h 1538630"/>
              <a:gd name="csX893" fmla="*/ 350323 w 1609516"/>
              <a:gd name="csY893" fmla="*/ 433627 h 1538630"/>
              <a:gd name="csX894" fmla="*/ 365245 w 1609516"/>
              <a:gd name="csY894" fmla="*/ 432036 h 1538630"/>
              <a:gd name="csX895" fmla="*/ 360797 w 1609516"/>
              <a:gd name="csY895" fmla="*/ 433759 h 1538630"/>
              <a:gd name="csX896" fmla="*/ 365650 w 1609516"/>
              <a:gd name="csY896" fmla="*/ 433257 h 1538630"/>
              <a:gd name="csX897" fmla="*/ 367213 w 1609516"/>
              <a:gd name="csY897" fmla="*/ 429029 h 1538630"/>
              <a:gd name="csX898" fmla="*/ 375188 w 1609516"/>
              <a:gd name="csY898" fmla="*/ 424906 h 1538630"/>
              <a:gd name="csX899" fmla="*/ 404704 w 1609516"/>
              <a:gd name="csY899" fmla="*/ 389571 h 1538630"/>
              <a:gd name="csX900" fmla="*/ 406265 w 1609516"/>
              <a:gd name="csY900" fmla="*/ 388161 h 1538630"/>
              <a:gd name="csX901" fmla="*/ 406559 w 1609516"/>
              <a:gd name="csY901" fmla="*/ 370106 h 1538630"/>
              <a:gd name="csX902" fmla="*/ 406617 w 1609516"/>
              <a:gd name="csY902" fmla="*/ 364973 h 1538630"/>
              <a:gd name="csX903" fmla="*/ 406626 w 1609516"/>
              <a:gd name="csY903" fmla="*/ 360038 h 1538630"/>
              <a:gd name="csX904" fmla="*/ 406645 w 1609516"/>
              <a:gd name="csY904" fmla="*/ 355503 h 1538630"/>
              <a:gd name="csX905" fmla="*/ 403142 w 1609516"/>
              <a:gd name="csY905" fmla="*/ 345885 h 1538630"/>
              <a:gd name="csX906" fmla="*/ 401579 w 1609516"/>
              <a:gd name="csY906" fmla="*/ 338663 h 1538630"/>
              <a:gd name="csX907" fmla="*/ 390938 w 1609516"/>
              <a:gd name="csY907" fmla="*/ 315939 h 1538630"/>
              <a:gd name="csX908" fmla="*/ 388976 w 1609516"/>
              <a:gd name="csY908" fmla="*/ 312762 h 1538630"/>
              <a:gd name="csX909" fmla="*/ 377934 w 1609516"/>
              <a:gd name="csY909" fmla="*/ 297817 h 1538630"/>
              <a:gd name="csX910" fmla="*/ 368775 w 1609516"/>
              <a:gd name="csY910" fmla="*/ 282470 h 1538630"/>
              <a:gd name="csX911" fmla="*/ 359890 w 1609516"/>
              <a:gd name="csY911" fmla="*/ 271284 h 1538630"/>
              <a:gd name="csX912" fmla="*/ 357374 w 1609516"/>
              <a:gd name="csY912" fmla="*/ 268288 h 1538630"/>
              <a:gd name="csX913" fmla="*/ 337533 w 1609516"/>
              <a:gd name="csY913" fmla="*/ 248649 h 1538630"/>
              <a:gd name="csX914" fmla="*/ 335214 w 1609516"/>
              <a:gd name="csY914" fmla="*/ 246369 h 1538630"/>
              <a:gd name="csX915" fmla="*/ 327085 w 1609516"/>
              <a:gd name="csY915" fmla="*/ 242571 h 1538630"/>
              <a:gd name="csX916" fmla="*/ 288785 w 1609516"/>
              <a:gd name="csY916" fmla="*/ 207968 h 1538630"/>
              <a:gd name="csX917" fmla="*/ 286373 w 1609516"/>
              <a:gd name="csY917" fmla="*/ 192544 h 1538630"/>
              <a:gd name="csX918" fmla="*/ 286385 w 1609516"/>
              <a:gd name="csY918" fmla="*/ 189190 h 1538630"/>
              <a:gd name="csX919" fmla="*/ 300042 w 1609516"/>
              <a:gd name="csY919" fmla="*/ 164095 h 1538630"/>
              <a:gd name="csX920" fmla="*/ 302757 w 1609516"/>
              <a:gd name="csY920" fmla="*/ 161381 h 1538630"/>
              <a:gd name="csX921" fmla="*/ 338411 w 1609516"/>
              <a:gd name="csY921" fmla="*/ 152293 h 1538630"/>
              <a:gd name="csX922" fmla="*/ 368482 w 1609516"/>
              <a:gd name="csY922" fmla="*/ 161893 h 1538630"/>
              <a:gd name="csX923" fmla="*/ 371899 w 1609516"/>
              <a:gd name="csY923" fmla="*/ 165505 h 1538630"/>
              <a:gd name="csX924" fmla="*/ 375121 w 1609516"/>
              <a:gd name="csY924" fmla="*/ 168587 h 1538630"/>
              <a:gd name="csX925" fmla="*/ 384982 w 1609516"/>
              <a:gd name="csY925" fmla="*/ 193777 h 1538630"/>
              <a:gd name="csX926" fmla="*/ 390352 w 1609516"/>
              <a:gd name="csY926" fmla="*/ 214563 h 1538630"/>
              <a:gd name="csX927" fmla="*/ 391529 w 1609516"/>
              <a:gd name="csY927" fmla="*/ 217626 h 1538630"/>
              <a:gd name="csX928" fmla="*/ 401579 w 1609516"/>
              <a:gd name="csY928" fmla="*/ 234556 h 1538630"/>
              <a:gd name="csX929" fmla="*/ 401579 w 1609516"/>
              <a:gd name="csY929" fmla="*/ 238784 h 1538630"/>
              <a:gd name="csX930" fmla="*/ 404215 w 1609516"/>
              <a:gd name="csY930" fmla="*/ 239753 h 1538630"/>
              <a:gd name="csX931" fmla="*/ 417811 w 1609516"/>
              <a:gd name="csY931" fmla="*/ 251996 h 1538630"/>
              <a:gd name="csX932" fmla="*/ 426866 w 1609516"/>
              <a:gd name="csY932" fmla="*/ 262300 h 1538630"/>
              <a:gd name="csX933" fmla="*/ 450097 w 1609516"/>
              <a:gd name="csY933" fmla="*/ 287628 h 1538630"/>
              <a:gd name="csX934" fmla="*/ 457425 w 1609516"/>
              <a:gd name="csY934" fmla="*/ 293920 h 1538630"/>
              <a:gd name="csX935" fmla="*/ 460940 w 1609516"/>
              <a:gd name="csY935" fmla="*/ 296562 h 1538630"/>
              <a:gd name="csX936" fmla="*/ 460940 w 1609516"/>
              <a:gd name="csY936" fmla="*/ 300790 h 1538630"/>
              <a:gd name="csX937" fmla="*/ 473437 w 1609516"/>
              <a:gd name="csY937" fmla="*/ 305018 h 1538630"/>
              <a:gd name="csX938" fmla="*/ 473437 w 1609516"/>
              <a:gd name="csY938" fmla="*/ 307836 h 1538630"/>
              <a:gd name="csX939" fmla="*/ 479881 w 1609516"/>
              <a:gd name="csY939" fmla="*/ 309862 h 1538630"/>
              <a:gd name="csX940" fmla="*/ 483505 w 1609516"/>
              <a:gd name="csY940" fmla="*/ 311001 h 1538630"/>
              <a:gd name="csX941" fmla="*/ 548419 w 1609516"/>
              <a:gd name="csY941" fmla="*/ 306427 h 1538630"/>
              <a:gd name="csX942" fmla="*/ 551842 w 1609516"/>
              <a:gd name="csY942" fmla="*/ 305127 h 1538630"/>
              <a:gd name="csX943" fmla="*/ 560232 w 1609516"/>
              <a:gd name="csY943" fmla="*/ 298148 h 1538630"/>
              <a:gd name="csX944" fmla="*/ 562972 w 1609516"/>
              <a:gd name="csY944" fmla="*/ 295252 h 1538630"/>
              <a:gd name="csX945" fmla="*/ 568086 w 1609516"/>
              <a:gd name="csY945" fmla="*/ 289152 h 1538630"/>
              <a:gd name="csX946" fmla="*/ 570289 w 1609516"/>
              <a:gd name="csY946" fmla="*/ 286697 h 1538630"/>
              <a:gd name="csX947" fmla="*/ 573413 w 1609516"/>
              <a:gd name="csY947" fmla="*/ 286697 h 1538630"/>
              <a:gd name="csX948" fmla="*/ 577220 w 1609516"/>
              <a:gd name="csY948" fmla="*/ 257016 h 1538630"/>
              <a:gd name="csX949" fmla="*/ 577235 w 1609516"/>
              <a:gd name="csY949" fmla="*/ 254206 h 1538630"/>
              <a:gd name="csX950" fmla="*/ 569443 w 1609516"/>
              <a:gd name="csY950" fmla="*/ 206049 h 1538630"/>
              <a:gd name="csX951" fmla="*/ 568726 w 1609516"/>
              <a:gd name="csY951" fmla="*/ 200735 h 1538630"/>
              <a:gd name="csX952" fmla="*/ 565602 w 1609516"/>
              <a:gd name="csY952" fmla="*/ 200735 h 1538630"/>
              <a:gd name="csX953" fmla="*/ 559549 w 1609516"/>
              <a:gd name="csY953" fmla="*/ 184441 h 1538630"/>
              <a:gd name="csX954" fmla="*/ 537484 w 1609516"/>
              <a:gd name="csY954" fmla="*/ 159867 h 1538630"/>
              <a:gd name="csX955" fmla="*/ 531235 w 1609516"/>
              <a:gd name="csY955" fmla="*/ 154230 h 1538630"/>
              <a:gd name="csX956" fmla="*/ 531235 w 1609516"/>
              <a:gd name="csY956" fmla="*/ 151412 h 1538630"/>
              <a:gd name="csX957" fmla="*/ 526549 w 1609516"/>
              <a:gd name="csY957" fmla="*/ 150003 h 1538630"/>
              <a:gd name="csX958" fmla="*/ 524304 w 1609516"/>
              <a:gd name="csY958" fmla="*/ 107198 h 1538630"/>
              <a:gd name="csX959" fmla="*/ 547052 w 1609516"/>
              <a:gd name="csY959" fmla="*/ 85972 h 1538630"/>
              <a:gd name="csX960" fmla="*/ 588460 w 1609516"/>
              <a:gd name="csY960" fmla="*/ 83538 h 1538630"/>
              <a:gd name="csX961" fmla="*/ 617152 w 1609516"/>
              <a:gd name="csY961" fmla="*/ 111954 h 1538630"/>
              <a:gd name="csX962" fmla="*/ 617884 w 1609516"/>
              <a:gd name="csY962" fmla="*/ 124175 h 1538630"/>
              <a:gd name="csX963" fmla="*/ 617917 w 1609516"/>
              <a:gd name="csY963" fmla="*/ 127607 h 1538630"/>
              <a:gd name="csX964" fmla="*/ 617919 w 1609516"/>
              <a:gd name="csY964" fmla="*/ 141969 h 1538630"/>
              <a:gd name="csX965" fmla="*/ 630625 w 1609516"/>
              <a:gd name="csY965" fmla="*/ 191311 h 1538630"/>
              <a:gd name="csX966" fmla="*/ 637850 w 1609516"/>
              <a:gd name="csY966" fmla="*/ 205139 h 1538630"/>
              <a:gd name="csX967" fmla="*/ 643708 w 1609516"/>
              <a:gd name="csY967" fmla="*/ 212009 h 1538630"/>
              <a:gd name="csX968" fmla="*/ 647027 w 1609516"/>
              <a:gd name="csY968" fmla="*/ 217645 h 1538630"/>
              <a:gd name="csX969" fmla="*/ 670264 w 1609516"/>
              <a:gd name="csY969" fmla="*/ 241603 h 1538630"/>
              <a:gd name="csX970" fmla="*/ 670264 w 1609516"/>
              <a:gd name="csY970" fmla="*/ 244421 h 1538630"/>
              <a:gd name="csX971" fmla="*/ 675634 w 1609516"/>
              <a:gd name="csY971" fmla="*/ 245742 h 1538630"/>
              <a:gd name="csX972" fmla="*/ 682761 w 1609516"/>
              <a:gd name="csY972" fmla="*/ 248649 h 1538630"/>
              <a:gd name="csX973" fmla="*/ 752092 w 1609516"/>
              <a:gd name="csY973" fmla="*/ 245076 h 1538630"/>
              <a:gd name="csX974" fmla="*/ 758433 w 1609516"/>
              <a:gd name="csY974" fmla="*/ 240485 h 1538630"/>
              <a:gd name="csX975" fmla="*/ 763991 w 1609516"/>
              <a:gd name="csY975" fmla="*/ 238784 h 1538630"/>
              <a:gd name="csX976" fmla="*/ 765315 w 1609516"/>
              <a:gd name="csY976" fmla="*/ 235778 h 1538630"/>
              <a:gd name="csX977" fmla="*/ 770923 w 1609516"/>
              <a:gd name="csY977" fmla="*/ 223459 h 1538630"/>
              <a:gd name="csX978" fmla="*/ 772998 w 1609516"/>
              <a:gd name="csY978" fmla="*/ 218934 h 1538630"/>
              <a:gd name="csX979" fmla="*/ 777562 w 1609516"/>
              <a:gd name="csY979" fmla="*/ 209895 h 1538630"/>
              <a:gd name="csX980" fmla="*/ 781175 w 1609516"/>
              <a:gd name="csY980" fmla="*/ 124637 h 1538630"/>
              <a:gd name="csX981" fmla="*/ 778051 w 1609516"/>
              <a:gd name="csY981" fmla="*/ 124637 h 1538630"/>
              <a:gd name="csX982" fmla="*/ 767116 w 1609516"/>
              <a:gd name="csY982" fmla="*/ 79542 h 1538630"/>
              <a:gd name="csX983" fmla="*/ 793379 w 1609516"/>
              <a:gd name="csY983" fmla="*/ 54000 h 1538630"/>
              <a:gd name="csX984" fmla="*/ 840688 w 1609516"/>
              <a:gd name="csY984" fmla="*/ 55503 h 1538630"/>
              <a:gd name="csX985" fmla="*/ 851470 w 1609516"/>
              <a:gd name="csY985" fmla="*/ 64040 h 1538630"/>
              <a:gd name="csX986" fmla="*/ 853997 w 1609516"/>
              <a:gd name="csY986" fmla="*/ 66529 h 1538630"/>
              <a:gd name="csX987" fmla="*/ 861488 w 1609516"/>
              <a:gd name="csY987" fmla="*/ 82057 h 1538630"/>
              <a:gd name="csX988" fmla="*/ 861937 w 1609516"/>
              <a:gd name="csY988" fmla="*/ 90492 h 1538630"/>
              <a:gd name="csX989" fmla="*/ 863826 w 1609516"/>
              <a:gd name="csY989" fmla="*/ 100715 h 1538630"/>
              <a:gd name="csX990" fmla="*/ 857577 w 1609516"/>
              <a:gd name="csY990" fmla="*/ 121853 h 1538630"/>
              <a:gd name="csX991" fmla="*/ 856015 w 1609516"/>
              <a:gd name="csY991" fmla="*/ 121853 h 1538630"/>
              <a:gd name="csX992" fmla="*/ 855442 w 1609516"/>
              <a:gd name="csY992" fmla="*/ 118919 h 1538630"/>
              <a:gd name="csX993" fmla="*/ 855417 w 1609516"/>
              <a:gd name="csY993" fmla="*/ 118798 h 1538630"/>
              <a:gd name="csX994" fmla="*/ 856157 w 1609516"/>
              <a:gd name="csY994" fmla="*/ 124637 h 1538630"/>
              <a:gd name="csX995" fmla="*/ 850623 w 1609516"/>
              <a:gd name="csY995" fmla="*/ 134701 h 1538630"/>
              <a:gd name="csX996" fmla="*/ 851325 w 1609516"/>
              <a:gd name="csY996" fmla="*/ 135968 h 1538630"/>
              <a:gd name="csX997" fmla="*/ 849886 w 1609516"/>
              <a:gd name="csY997" fmla="*/ 139843 h 1538630"/>
              <a:gd name="csX998" fmla="*/ 847786 w 1609516"/>
              <a:gd name="csY998" fmla="*/ 152889 h 1538630"/>
              <a:gd name="csX999" fmla="*/ 847767 w 1609516"/>
              <a:gd name="csY999" fmla="*/ 157768 h 1538630"/>
              <a:gd name="csX1000" fmla="*/ 847810 w 1609516"/>
              <a:gd name="csY1000" fmla="*/ 162919 h 1538630"/>
              <a:gd name="csX1001" fmla="*/ 847832 w 1609516"/>
              <a:gd name="csY1001" fmla="*/ 168227 h 1538630"/>
              <a:gd name="csX1002" fmla="*/ 850903 w 1609516"/>
              <a:gd name="csY1002" fmla="*/ 209013 h 1538630"/>
              <a:gd name="csX1003" fmla="*/ 852880 w 1609516"/>
              <a:gd name="csY1003" fmla="*/ 224692 h 1538630"/>
              <a:gd name="csX1004" fmla="*/ 854595 w 1609516"/>
              <a:gd name="csY1004" fmla="*/ 224692 h 1538630"/>
              <a:gd name="csX1005" fmla="*/ 856083 w 1609516"/>
              <a:gd name="csY1005" fmla="*/ 227268 h 1538630"/>
              <a:gd name="csX1006" fmla="*/ 879588 w 1609516"/>
              <a:gd name="csY1006" fmla="*/ 247239 h 1538630"/>
              <a:gd name="csX1007" fmla="*/ 885739 w 1609516"/>
              <a:gd name="csY1007" fmla="*/ 249618 h 1538630"/>
              <a:gd name="csX1008" fmla="*/ 890523 w 1609516"/>
              <a:gd name="csY1008" fmla="*/ 251467 h 1538630"/>
              <a:gd name="csX1009" fmla="*/ 890523 w 1609516"/>
              <a:gd name="csY1009" fmla="*/ 254285 h 1538630"/>
              <a:gd name="csX1010" fmla="*/ 920203 w 1609516"/>
              <a:gd name="csY1010" fmla="*/ 261332 h 1538630"/>
              <a:gd name="csX1011" fmla="*/ 920203 w 1609516"/>
              <a:gd name="csY1011" fmla="*/ 262741 h 1538630"/>
              <a:gd name="csX1012" fmla="*/ 910831 w 1609516"/>
              <a:gd name="csY1012" fmla="*/ 262741 h 1538630"/>
              <a:gd name="csX1013" fmla="*/ 910831 w 1609516"/>
              <a:gd name="csY1013" fmla="*/ 262864 h 1538630"/>
              <a:gd name="csX1014" fmla="*/ 927993 w 1609516"/>
              <a:gd name="csY1014" fmla="*/ 264177 h 1538630"/>
              <a:gd name="csX1015" fmla="*/ 939273 w 1609516"/>
              <a:gd name="csY1015" fmla="*/ 265285 h 1538630"/>
              <a:gd name="csX1016" fmla="*/ 940456 w 1609516"/>
              <a:gd name="csY1016" fmla="*/ 265191 h 1538630"/>
              <a:gd name="csX1017" fmla="*/ 991622 w 1609516"/>
              <a:gd name="csY1017" fmla="*/ 242329 h 1538630"/>
              <a:gd name="csX1018" fmla="*/ 1000803 w 1609516"/>
              <a:gd name="csY1018" fmla="*/ 236505 h 1538630"/>
              <a:gd name="csX1019" fmla="*/ 999806 w 1609516"/>
              <a:gd name="csY1019" fmla="*/ 236055 h 1538630"/>
              <a:gd name="csX1020" fmla="*/ 1003126 w 1609516"/>
              <a:gd name="csY1020" fmla="*/ 232851 h 1538630"/>
              <a:gd name="csX1021" fmla="*/ 1029487 w 1609516"/>
              <a:gd name="csY1021" fmla="*/ 205052 h 1538630"/>
              <a:gd name="csX1022" fmla="*/ 1029872 w 1609516"/>
              <a:gd name="csY1022" fmla="*/ 206442 h 1538630"/>
              <a:gd name="csX1023" fmla="*/ 1031614 w 1609516"/>
              <a:gd name="csY1023" fmla="*/ 203719 h 1538630"/>
              <a:gd name="csX1024" fmla="*/ 1038924 w 1609516"/>
              <a:gd name="csY1024" fmla="*/ 192280 h 1538630"/>
              <a:gd name="csX1025" fmla="*/ 1042049 w 1609516"/>
              <a:gd name="csY1025" fmla="*/ 190870 h 1538630"/>
              <a:gd name="csX1026" fmla="*/ 1044294 w 1609516"/>
              <a:gd name="csY1026" fmla="*/ 186026 h 1538630"/>
              <a:gd name="csX1027" fmla="*/ 1051422 w 1609516"/>
              <a:gd name="csY1027" fmla="*/ 178188 h 1538630"/>
              <a:gd name="csX1028" fmla="*/ 1052984 w 1609516"/>
              <a:gd name="csY1028" fmla="*/ 172551 h 1538630"/>
              <a:gd name="csX1029" fmla="*/ 1056108 w 1609516"/>
              <a:gd name="csY1029" fmla="*/ 172551 h 1538630"/>
              <a:gd name="csX1030" fmla="*/ 1059232 w 1609516"/>
              <a:gd name="csY1030" fmla="*/ 162686 h 1538630"/>
              <a:gd name="csX1031" fmla="*/ 1062357 w 1609516"/>
              <a:gd name="csY1031" fmla="*/ 162686 h 1538630"/>
              <a:gd name="csX1032" fmla="*/ 1063162 w 1609516"/>
              <a:gd name="csY1032" fmla="*/ 160258 h 1538630"/>
              <a:gd name="csX1033" fmla="*/ 1073292 w 1609516"/>
              <a:gd name="csY1033" fmla="*/ 140138 h 1538630"/>
              <a:gd name="csX1034" fmla="*/ 1076415 w 1609516"/>
              <a:gd name="csY1034" fmla="*/ 140138 h 1538630"/>
              <a:gd name="csX1035" fmla="*/ 1085294 w 1609516"/>
              <a:gd name="csY1035" fmla="*/ 117569 h 1538630"/>
              <a:gd name="csX1036" fmla="*/ 1087350 w 1609516"/>
              <a:gd name="csY1036" fmla="*/ 113363 h 1538630"/>
              <a:gd name="csX1037" fmla="*/ 1092037 w 1609516"/>
              <a:gd name="csY1037" fmla="*/ 111954 h 1538630"/>
              <a:gd name="csX1038" fmla="*/ 1092623 w 1609516"/>
              <a:gd name="csY1038" fmla="*/ 108695 h 1538630"/>
              <a:gd name="csX1039" fmla="*/ 1096723 w 1609516"/>
              <a:gd name="csY1039" fmla="*/ 100680 h 1538630"/>
              <a:gd name="csX1040" fmla="*/ 1098188 w 1609516"/>
              <a:gd name="csY1040" fmla="*/ 96013 h 1538630"/>
              <a:gd name="csX1041" fmla="*/ 1102288 w 1609516"/>
              <a:gd name="csY1041" fmla="*/ 87029 h 1538630"/>
              <a:gd name="csX1042" fmla="*/ 1104534 w 1609516"/>
              <a:gd name="csY1042" fmla="*/ 61222 h 1538630"/>
              <a:gd name="csX1043" fmla="*/ 1104381 w 1609516"/>
              <a:gd name="csY1043" fmla="*/ 55569 h 1538630"/>
              <a:gd name="csX1044" fmla="*/ 1104397 w 1609516"/>
              <a:gd name="csY1044" fmla="*/ 52335 h 1538630"/>
              <a:gd name="csX1045" fmla="*/ 1104436 w 1609516"/>
              <a:gd name="csY1045" fmla="*/ 48979 h 1538630"/>
              <a:gd name="csX1046" fmla="*/ 1104457 w 1609516"/>
              <a:gd name="csY1046" fmla="*/ 45575 h 1538630"/>
              <a:gd name="csX1047" fmla="*/ 1104534 w 1609516"/>
              <a:gd name="csY1047" fmla="*/ 37265 h 1538630"/>
              <a:gd name="csX1048" fmla="*/ 1107658 w 1609516"/>
              <a:gd name="csY1048" fmla="*/ 37265 h 1538630"/>
              <a:gd name="csX1049" fmla="*/ 1107463 w 1609516"/>
              <a:gd name="csY1049" fmla="*/ 31805 h 1538630"/>
              <a:gd name="csX1050" fmla="*/ 1107658 w 1609516"/>
              <a:gd name="csY1050" fmla="*/ 25991 h 1538630"/>
              <a:gd name="csX1051" fmla="*/ 1110782 w 1609516"/>
              <a:gd name="csY1051" fmla="*/ 23173 h 1538630"/>
              <a:gd name="csX1052" fmla="*/ 1111759 w 1609516"/>
              <a:gd name="csY1052" fmla="*/ 20091 h 1538630"/>
              <a:gd name="csX1053" fmla="*/ 1134507 w 1609516"/>
              <a:gd name="csY1053" fmla="*/ 2828 h 1538630"/>
              <a:gd name="csX1054" fmla="*/ 1155019 w 1609516"/>
              <a:gd name="csY1054" fmla="*/ 35 h 153863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  <a:cxn ang="0">
                <a:pos x="csX170" y="csY170"/>
              </a:cxn>
              <a:cxn ang="0">
                <a:pos x="csX171" y="csY171"/>
              </a:cxn>
              <a:cxn ang="0">
                <a:pos x="csX172" y="csY172"/>
              </a:cxn>
              <a:cxn ang="0">
                <a:pos x="csX173" y="csY173"/>
              </a:cxn>
              <a:cxn ang="0">
                <a:pos x="csX174" y="csY174"/>
              </a:cxn>
              <a:cxn ang="0">
                <a:pos x="csX175" y="csY175"/>
              </a:cxn>
              <a:cxn ang="0">
                <a:pos x="csX176" y="csY176"/>
              </a:cxn>
              <a:cxn ang="0">
                <a:pos x="csX177" y="csY177"/>
              </a:cxn>
              <a:cxn ang="0">
                <a:pos x="csX178" y="csY178"/>
              </a:cxn>
              <a:cxn ang="0">
                <a:pos x="csX179" y="csY179"/>
              </a:cxn>
              <a:cxn ang="0">
                <a:pos x="csX180" y="csY180"/>
              </a:cxn>
              <a:cxn ang="0">
                <a:pos x="csX181" y="csY181"/>
              </a:cxn>
              <a:cxn ang="0">
                <a:pos x="csX182" y="csY182"/>
              </a:cxn>
              <a:cxn ang="0">
                <a:pos x="csX183" y="csY183"/>
              </a:cxn>
              <a:cxn ang="0">
                <a:pos x="csX184" y="csY184"/>
              </a:cxn>
              <a:cxn ang="0">
                <a:pos x="csX185" y="csY185"/>
              </a:cxn>
              <a:cxn ang="0">
                <a:pos x="csX186" y="csY186"/>
              </a:cxn>
              <a:cxn ang="0">
                <a:pos x="csX187" y="csY187"/>
              </a:cxn>
              <a:cxn ang="0">
                <a:pos x="csX188" y="csY188"/>
              </a:cxn>
              <a:cxn ang="0">
                <a:pos x="csX189" y="csY189"/>
              </a:cxn>
              <a:cxn ang="0">
                <a:pos x="csX190" y="csY190"/>
              </a:cxn>
              <a:cxn ang="0">
                <a:pos x="csX191" y="csY191"/>
              </a:cxn>
              <a:cxn ang="0">
                <a:pos x="csX192" y="csY192"/>
              </a:cxn>
              <a:cxn ang="0">
                <a:pos x="csX193" y="csY193"/>
              </a:cxn>
              <a:cxn ang="0">
                <a:pos x="csX194" y="csY194"/>
              </a:cxn>
              <a:cxn ang="0">
                <a:pos x="csX195" y="csY195"/>
              </a:cxn>
              <a:cxn ang="0">
                <a:pos x="csX196" y="csY196"/>
              </a:cxn>
              <a:cxn ang="0">
                <a:pos x="csX197" y="csY197"/>
              </a:cxn>
              <a:cxn ang="0">
                <a:pos x="csX198" y="csY198"/>
              </a:cxn>
              <a:cxn ang="0">
                <a:pos x="csX199" y="csY199"/>
              </a:cxn>
              <a:cxn ang="0">
                <a:pos x="csX200" y="csY200"/>
              </a:cxn>
              <a:cxn ang="0">
                <a:pos x="csX201" y="csY201"/>
              </a:cxn>
              <a:cxn ang="0">
                <a:pos x="csX202" y="csY202"/>
              </a:cxn>
              <a:cxn ang="0">
                <a:pos x="csX203" y="csY203"/>
              </a:cxn>
              <a:cxn ang="0">
                <a:pos x="csX204" y="csY204"/>
              </a:cxn>
              <a:cxn ang="0">
                <a:pos x="csX205" y="csY205"/>
              </a:cxn>
              <a:cxn ang="0">
                <a:pos x="csX206" y="csY206"/>
              </a:cxn>
              <a:cxn ang="0">
                <a:pos x="csX207" y="csY207"/>
              </a:cxn>
              <a:cxn ang="0">
                <a:pos x="csX208" y="csY208"/>
              </a:cxn>
              <a:cxn ang="0">
                <a:pos x="csX209" y="csY209"/>
              </a:cxn>
              <a:cxn ang="0">
                <a:pos x="csX210" y="csY210"/>
              </a:cxn>
              <a:cxn ang="0">
                <a:pos x="csX211" y="csY211"/>
              </a:cxn>
              <a:cxn ang="0">
                <a:pos x="csX212" y="csY212"/>
              </a:cxn>
              <a:cxn ang="0">
                <a:pos x="csX213" y="csY213"/>
              </a:cxn>
              <a:cxn ang="0">
                <a:pos x="csX214" y="csY214"/>
              </a:cxn>
              <a:cxn ang="0">
                <a:pos x="csX215" y="csY215"/>
              </a:cxn>
              <a:cxn ang="0">
                <a:pos x="csX216" y="csY216"/>
              </a:cxn>
              <a:cxn ang="0">
                <a:pos x="csX217" y="csY217"/>
              </a:cxn>
              <a:cxn ang="0">
                <a:pos x="csX218" y="csY218"/>
              </a:cxn>
              <a:cxn ang="0">
                <a:pos x="csX219" y="csY219"/>
              </a:cxn>
              <a:cxn ang="0">
                <a:pos x="csX220" y="csY220"/>
              </a:cxn>
              <a:cxn ang="0">
                <a:pos x="csX221" y="csY221"/>
              </a:cxn>
              <a:cxn ang="0">
                <a:pos x="csX222" y="csY222"/>
              </a:cxn>
              <a:cxn ang="0">
                <a:pos x="csX223" y="csY223"/>
              </a:cxn>
              <a:cxn ang="0">
                <a:pos x="csX224" y="csY224"/>
              </a:cxn>
              <a:cxn ang="0">
                <a:pos x="csX225" y="csY225"/>
              </a:cxn>
              <a:cxn ang="0">
                <a:pos x="csX226" y="csY226"/>
              </a:cxn>
              <a:cxn ang="0">
                <a:pos x="csX227" y="csY227"/>
              </a:cxn>
              <a:cxn ang="0">
                <a:pos x="csX228" y="csY228"/>
              </a:cxn>
              <a:cxn ang="0">
                <a:pos x="csX229" y="csY229"/>
              </a:cxn>
              <a:cxn ang="0">
                <a:pos x="csX230" y="csY230"/>
              </a:cxn>
              <a:cxn ang="0">
                <a:pos x="csX231" y="csY231"/>
              </a:cxn>
              <a:cxn ang="0">
                <a:pos x="csX232" y="csY232"/>
              </a:cxn>
              <a:cxn ang="0">
                <a:pos x="csX233" y="csY233"/>
              </a:cxn>
              <a:cxn ang="0">
                <a:pos x="csX234" y="csY234"/>
              </a:cxn>
              <a:cxn ang="0">
                <a:pos x="csX235" y="csY235"/>
              </a:cxn>
              <a:cxn ang="0">
                <a:pos x="csX236" y="csY236"/>
              </a:cxn>
              <a:cxn ang="0">
                <a:pos x="csX237" y="csY237"/>
              </a:cxn>
              <a:cxn ang="0">
                <a:pos x="csX238" y="csY238"/>
              </a:cxn>
              <a:cxn ang="0">
                <a:pos x="csX239" y="csY239"/>
              </a:cxn>
              <a:cxn ang="0">
                <a:pos x="csX240" y="csY240"/>
              </a:cxn>
              <a:cxn ang="0">
                <a:pos x="csX241" y="csY241"/>
              </a:cxn>
              <a:cxn ang="0">
                <a:pos x="csX242" y="csY242"/>
              </a:cxn>
              <a:cxn ang="0">
                <a:pos x="csX243" y="csY243"/>
              </a:cxn>
              <a:cxn ang="0">
                <a:pos x="csX244" y="csY244"/>
              </a:cxn>
              <a:cxn ang="0">
                <a:pos x="csX245" y="csY245"/>
              </a:cxn>
              <a:cxn ang="0">
                <a:pos x="csX246" y="csY246"/>
              </a:cxn>
              <a:cxn ang="0">
                <a:pos x="csX247" y="csY247"/>
              </a:cxn>
              <a:cxn ang="0">
                <a:pos x="csX248" y="csY248"/>
              </a:cxn>
              <a:cxn ang="0">
                <a:pos x="csX249" y="csY249"/>
              </a:cxn>
              <a:cxn ang="0">
                <a:pos x="csX250" y="csY250"/>
              </a:cxn>
              <a:cxn ang="0">
                <a:pos x="csX251" y="csY251"/>
              </a:cxn>
              <a:cxn ang="0">
                <a:pos x="csX252" y="csY252"/>
              </a:cxn>
              <a:cxn ang="0">
                <a:pos x="csX253" y="csY253"/>
              </a:cxn>
              <a:cxn ang="0">
                <a:pos x="csX254" y="csY254"/>
              </a:cxn>
              <a:cxn ang="0">
                <a:pos x="csX255" y="csY255"/>
              </a:cxn>
              <a:cxn ang="0">
                <a:pos x="csX256" y="csY256"/>
              </a:cxn>
              <a:cxn ang="0">
                <a:pos x="csX257" y="csY257"/>
              </a:cxn>
              <a:cxn ang="0">
                <a:pos x="csX258" y="csY258"/>
              </a:cxn>
              <a:cxn ang="0">
                <a:pos x="csX259" y="csY259"/>
              </a:cxn>
              <a:cxn ang="0">
                <a:pos x="csX260" y="csY260"/>
              </a:cxn>
              <a:cxn ang="0">
                <a:pos x="csX261" y="csY261"/>
              </a:cxn>
              <a:cxn ang="0">
                <a:pos x="csX262" y="csY262"/>
              </a:cxn>
              <a:cxn ang="0">
                <a:pos x="csX263" y="csY263"/>
              </a:cxn>
              <a:cxn ang="0">
                <a:pos x="csX264" y="csY264"/>
              </a:cxn>
              <a:cxn ang="0">
                <a:pos x="csX265" y="csY265"/>
              </a:cxn>
              <a:cxn ang="0">
                <a:pos x="csX266" y="csY266"/>
              </a:cxn>
              <a:cxn ang="0">
                <a:pos x="csX267" y="csY267"/>
              </a:cxn>
              <a:cxn ang="0">
                <a:pos x="csX268" y="csY268"/>
              </a:cxn>
              <a:cxn ang="0">
                <a:pos x="csX269" y="csY269"/>
              </a:cxn>
              <a:cxn ang="0">
                <a:pos x="csX270" y="csY270"/>
              </a:cxn>
              <a:cxn ang="0">
                <a:pos x="csX271" y="csY271"/>
              </a:cxn>
              <a:cxn ang="0">
                <a:pos x="csX272" y="csY272"/>
              </a:cxn>
              <a:cxn ang="0">
                <a:pos x="csX273" y="csY273"/>
              </a:cxn>
              <a:cxn ang="0">
                <a:pos x="csX274" y="csY274"/>
              </a:cxn>
              <a:cxn ang="0">
                <a:pos x="csX275" y="csY275"/>
              </a:cxn>
              <a:cxn ang="0">
                <a:pos x="csX276" y="csY276"/>
              </a:cxn>
              <a:cxn ang="0">
                <a:pos x="csX277" y="csY277"/>
              </a:cxn>
              <a:cxn ang="0">
                <a:pos x="csX278" y="csY278"/>
              </a:cxn>
              <a:cxn ang="0">
                <a:pos x="csX279" y="csY279"/>
              </a:cxn>
              <a:cxn ang="0">
                <a:pos x="csX280" y="csY280"/>
              </a:cxn>
              <a:cxn ang="0">
                <a:pos x="csX281" y="csY281"/>
              </a:cxn>
              <a:cxn ang="0">
                <a:pos x="csX282" y="csY282"/>
              </a:cxn>
              <a:cxn ang="0">
                <a:pos x="csX283" y="csY283"/>
              </a:cxn>
              <a:cxn ang="0">
                <a:pos x="csX284" y="csY284"/>
              </a:cxn>
              <a:cxn ang="0">
                <a:pos x="csX285" y="csY285"/>
              </a:cxn>
              <a:cxn ang="0">
                <a:pos x="csX286" y="csY286"/>
              </a:cxn>
              <a:cxn ang="0">
                <a:pos x="csX287" y="csY287"/>
              </a:cxn>
              <a:cxn ang="0">
                <a:pos x="csX288" y="csY288"/>
              </a:cxn>
              <a:cxn ang="0">
                <a:pos x="csX289" y="csY289"/>
              </a:cxn>
              <a:cxn ang="0">
                <a:pos x="csX290" y="csY290"/>
              </a:cxn>
              <a:cxn ang="0">
                <a:pos x="csX291" y="csY291"/>
              </a:cxn>
              <a:cxn ang="0">
                <a:pos x="csX292" y="csY292"/>
              </a:cxn>
              <a:cxn ang="0">
                <a:pos x="csX293" y="csY293"/>
              </a:cxn>
              <a:cxn ang="0">
                <a:pos x="csX294" y="csY294"/>
              </a:cxn>
              <a:cxn ang="0">
                <a:pos x="csX295" y="csY295"/>
              </a:cxn>
              <a:cxn ang="0">
                <a:pos x="csX296" y="csY296"/>
              </a:cxn>
              <a:cxn ang="0">
                <a:pos x="csX297" y="csY297"/>
              </a:cxn>
              <a:cxn ang="0">
                <a:pos x="csX298" y="csY298"/>
              </a:cxn>
              <a:cxn ang="0">
                <a:pos x="csX299" y="csY299"/>
              </a:cxn>
              <a:cxn ang="0">
                <a:pos x="csX300" y="csY300"/>
              </a:cxn>
              <a:cxn ang="0">
                <a:pos x="csX301" y="csY301"/>
              </a:cxn>
              <a:cxn ang="0">
                <a:pos x="csX302" y="csY302"/>
              </a:cxn>
              <a:cxn ang="0">
                <a:pos x="csX303" y="csY303"/>
              </a:cxn>
              <a:cxn ang="0">
                <a:pos x="csX304" y="csY304"/>
              </a:cxn>
              <a:cxn ang="0">
                <a:pos x="csX305" y="csY305"/>
              </a:cxn>
              <a:cxn ang="0">
                <a:pos x="csX306" y="csY306"/>
              </a:cxn>
              <a:cxn ang="0">
                <a:pos x="csX307" y="csY307"/>
              </a:cxn>
              <a:cxn ang="0">
                <a:pos x="csX308" y="csY308"/>
              </a:cxn>
              <a:cxn ang="0">
                <a:pos x="csX309" y="csY309"/>
              </a:cxn>
              <a:cxn ang="0">
                <a:pos x="csX310" y="csY310"/>
              </a:cxn>
              <a:cxn ang="0">
                <a:pos x="csX311" y="csY311"/>
              </a:cxn>
              <a:cxn ang="0">
                <a:pos x="csX312" y="csY312"/>
              </a:cxn>
              <a:cxn ang="0">
                <a:pos x="csX313" y="csY313"/>
              </a:cxn>
              <a:cxn ang="0">
                <a:pos x="csX314" y="csY314"/>
              </a:cxn>
              <a:cxn ang="0">
                <a:pos x="csX315" y="csY315"/>
              </a:cxn>
              <a:cxn ang="0">
                <a:pos x="csX316" y="csY316"/>
              </a:cxn>
              <a:cxn ang="0">
                <a:pos x="csX317" y="csY317"/>
              </a:cxn>
              <a:cxn ang="0">
                <a:pos x="csX318" y="csY318"/>
              </a:cxn>
              <a:cxn ang="0">
                <a:pos x="csX319" y="csY319"/>
              </a:cxn>
              <a:cxn ang="0">
                <a:pos x="csX320" y="csY320"/>
              </a:cxn>
              <a:cxn ang="0">
                <a:pos x="csX321" y="csY321"/>
              </a:cxn>
              <a:cxn ang="0">
                <a:pos x="csX322" y="csY322"/>
              </a:cxn>
              <a:cxn ang="0">
                <a:pos x="csX323" y="csY323"/>
              </a:cxn>
              <a:cxn ang="0">
                <a:pos x="csX324" y="csY324"/>
              </a:cxn>
              <a:cxn ang="0">
                <a:pos x="csX325" y="csY325"/>
              </a:cxn>
              <a:cxn ang="0">
                <a:pos x="csX326" y="csY326"/>
              </a:cxn>
              <a:cxn ang="0">
                <a:pos x="csX327" y="csY327"/>
              </a:cxn>
              <a:cxn ang="0">
                <a:pos x="csX328" y="csY328"/>
              </a:cxn>
              <a:cxn ang="0">
                <a:pos x="csX329" y="csY329"/>
              </a:cxn>
              <a:cxn ang="0">
                <a:pos x="csX330" y="csY330"/>
              </a:cxn>
              <a:cxn ang="0">
                <a:pos x="csX331" y="csY331"/>
              </a:cxn>
              <a:cxn ang="0">
                <a:pos x="csX332" y="csY332"/>
              </a:cxn>
              <a:cxn ang="0">
                <a:pos x="csX333" y="csY333"/>
              </a:cxn>
              <a:cxn ang="0">
                <a:pos x="csX334" y="csY334"/>
              </a:cxn>
              <a:cxn ang="0">
                <a:pos x="csX335" y="csY335"/>
              </a:cxn>
              <a:cxn ang="0">
                <a:pos x="csX336" y="csY336"/>
              </a:cxn>
              <a:cxn ang="0">
                <a:pos x="csX337" y="csY337"/>
              </a:cxn>
              <a:cxn ang="0">
                <a:pos x="csX338" y="csY338"/>
              </a:cxn>
              <a:cxn ang="0">
                <a:pos x="csX339" y="csY339"/>
              </a:cxn>
              <a:cxn ang="0">
                <a:pos x="csX340" y="csY340"/>
              </a:cxn>
              <a:cxn ang="0">
                <a:pos x="csX341" y="csY341"/>
              </a:cxn>
              <a:cxn ang="0">
                <a:pos x="csX342" y="csY342"/>
              </a:cxn>
              <a:cxn ang="0">
                <a:pos x="csX343" y="csY343"/>
              </a:cxn>
              <a:cxn ang="0">
                <a:pos x="csX344" y="csY344"/>
              </a:cxn>
              <a:cxn ang="0">
                <a:pos x="csX345" y="csY345"/>
              </a:cxn>
              <a:cxn ang="0">
                <a:pos x="csX346" y="csY346"/>
              </a:cxn>
              <a:cxn ang="0">
                <a:pos x="csX347" y="csY347"/>
              </a:cxn>
              <a:cxn ang="0">
                <a:pos x="csX348" y="csY348"/>
              </a:cxn>
              <a:cxn ang="0">
                <a:pos x="csX349" y="csY349"/>
              </a:cxn>
              <a:cxn ang="0">
                <a:pos x="csX350" y="csY350"/>
              </a:cxn>
              <a:cxn ang="0">
                <a:pos x="csX351" y="csY351"/>
              </a:cxn>
              <a:cxn ang="0">
                <a:pos x="csX352" y="csY352"/>
              </a:cxn>
              <a:cxn ang="0">
                <a:pos x="csX353" y="csY353"/>
              </a:cxn>
              <a:cxn ang="0">
                <a:pos x="csX354" y="csY354"/>
              </a:cxn>
              <a:cxn ang="0">
                <a:pos x="csX355" y="csY355"/>
              </a:cxn>
              <a:cxn ang="0">
                <a:pos x="csX356" y="csY356"/>
              </a:cxn>
              <a:cxn ang="0">
                <a:pos x="csX357" y="csY357"/>
              </a:cxn>
              <a:cxn ang="0">
                <a:pos x="csX358" y="csY358"/>
              </a:cxn>
              <a:cxn ang="0">
                <a:pos x="csX359" y="csY359"/>
              </a:cxn>
              <a:cxn ang="0">
                <a:pos x="csX360" y="csY360"/>
              </a:cxn>
              <a:cxn ang="0">
                <a:pos x="csX361" y="csY361"/>
              </a:cxn>
              <a:cxn ang="0">
                <a:pos x="csX362" y="csY362"/>
              </a:cxn>
              <a:cxn ang="0">
                <a:pos x="csX363" y="csY363"/>
              </a:cxn>
              <a:cxn ang="0">
                <a:pos x="csX364" y="csY364"/>
              </a:cxn>
              <a:cxn ang="0">
                <a:pos x="csX365" y="csY365"/>
              </a:cxn>
              <a:cxn ang="0">
                <a:pos x="csX366" y="csY366"/>
              </a:cxn>
              <a:cxn ang="0">
                <a:pos x="csX367" y="csY367"/>
              </a:cxn>
              <a:cxn ang="0">
                <a:pos x="csX368" y="csY368"/>
              </a:cxn>
              <a:cxn ang="0">
                <a:pos x="csX369" y="csY369"/>
              </a:cxn>
              <a:cxn ang="0">
                <a:pos x="csX370" y="csY370"/>
              </a:cxn>
              <a:cxn ang="0">
                <a:pos x="csX371" y="csY371"/>
              </a:cxn>
              <a:cxn ang="0">
                <a:pos x="csX372" y="csY372"/>
              </a:cxn>
              <a:cxn ang="0">
                <a:pos x="csX373" y="csY373"/>
              </a:cxn>
              <a:cxn ang="0">
                <a:pos x="csX374" y="csY374"/>
              </a:cxn>
              <a:cxn ang="0">
                <a:pos x="csX375" y="csY375"/>
              </a:cxn>
              <a:cxn ang="0">
                <a:pos x="csX376" y="csY376"/>
              </a:cxn>
              <a:cxn ang="0">
                <a:pos x="csX377" y="csY377"/>
              </a:cxn>
              <a:cxn ang="0">
                <a:pos x="csX378" y="csY378"/>
              </a:cxn>
              <a:cxn ang="0">
                <a:pos x="csX379" y="csY379"/>
              </a:cxn>
              <a:cxn ang="0">
                <a:pos x="csX380" y="csY380"/>
              </a:cxn>
              <a:cxn ang="0">
                <a:pos x="csX381" y="csY381"/>
              </a:cxn>
              <a:cxn ang="0">
                <a:pos x="csX382" y="csY382"/>
              </a:cxn>
              <a:cxn ang="0">
                <a:pos x="csX383" y="csY383"/>
              </a:cxn>
              <a:cxn ang="0">
                <a:pos x="csX384" y="csY384"/>
              </a:cxn>
              <a:cxn ang="0">
                <a:pos x="csX385" y="csY385"/>
              </a:cxn>
              <a:cxn ang="0">
                <a:pos x="csX386" y="csY386"/>
              </a:cxn>
              <a:cxn ang="0">
                <a:pos x="csX387" y="csY387"/>
              </a:cxn>
              <a:cxn ang="0">
                <a:pos x="csX388" y="csY388"/>
              </a:cxn>
              <a:cxn ang="0">
                <a:pos x="csX389" y="csY389"/>
              </a:cxn>
              <a:cxn ang="0">
                <a:pos x="csX390" y="csY390"/>
              </a:cxn>
              <a:cxn ang="0">
                <a:pos x="csX391" y="csY391"/>
              </a:cxn>
              <a:cxn ang="0">
                <a:pos x="csX392" y="csY392"/>
              </a:cxn>
              <a:cxn ang="0">
                <a:pos x="csX393" y="csY393"/>
              </a:cxn>
              <a:cxn ang="0">
                <a:pos x="csX394" y="csY394"/>
              </a:cxn>
              <a:cxn ang="0">
                <a:pos x="csX395" y="csY395"/>
              </a:cxn>
              <a:cxn ang="0">
                <a:pos x="csX396" y="csY396"/>
              </a:cxn>
              <a:cxn ang="0">
                <a:pos x="csX397" y="csY397"/>
              </a:cxn>
              <a:cxn ang="0">
                <a:pos x="csX398" y="csY398"/>
              </a:cxn>
              <a:cxn ang="0">
                <a:pos x="csX399" y="csY399"/>
              </a:cxn>
              <a:cxn ang="0">
                <a:pos x="csX400" y="csY400"/>
              </a:cxn>
              <a:cxn ang="0">
                <a:pos x="csX401" y="csY401"/>
              </a:cxn>
              <a:cxn ang="0">
                <a:pos x="csX402" y="csY402"/>
              </a:cxn>
              <a:cxn ang="0">
                <a:pos x="csX403" y="csY403"/>
              </a:cxn>
              <a:cxn ang="0">
                <a:pos x="csX404" y="csY404"/>
              </a:cxn>
              <a:cxn ang="0">
                <a:pos x="csX405" y="csY405"/>
              </a:cxn>
              <a:cxn ang="0">
                <a:pos x="csX406" y="csY406"/>
              </a:cxn>
              <a:cxn ang="0">
                <a:pos x="csX407" y="csY407"/>
              </a:cxn>
              <a:cxn ang="0">
                <a:pos x="csX408" y="csY408"/>
              </a:cxn>
              <a:cxn ang="0">
                <a:pos x="csX409" y="csY409"/>
              </a:cxn>
              <a:cxn ang="0">
                <a:pos x="csX410" y="csY410"/>
              </a:cxn>
              <a:cxn ang="0">
                <a:pos x="csX411" y="csY411"/>
              </a:cxn>
              <a:cxn ang="0">
                <a:pos x="csX412" y="csY412"/>
              </a:cxn>
              <a:cxn ang="0">
                <a:pos x="csX413" y="csY413"/>
              </a:cxn>
              <a:cxn ang="0">
                <a:pos x="csX414" y="csY414"/>
              </a:cxn>
              <a:cxn ang="0">
                <a:pos x="csX415" y="csY415"/>
              </a:cxn>
              <a:cxn ang="0">
                <a:pos x="csX416" y="csY416"/>
              </a:cxn>
              <a:cxn ang="0">
                <a:pos x="csX417" y="csY417"/>
              </a:cxn>
              <a:cxn ang="0">
                <a:pos x="csX418" y="csY418"/>
              </a:cxn>
              <a:cxn ang="0">
                <a:pos x="csX419" y="csY419"/>
              </a:cxn>
              <a:cxn ang="0">
                <a:pos x="csX420" y="csY420"/>
              </a:cxn>
              <a:cxn ang="0">
                <a:pos x="csX421" y="csY421"/>
              </a:cxn>
              <a:cxn ang="0">
                <a:pos x="csX422" y="csY422"/>
              </a:cxn>
              <a:cxn ang="0">
                <a:pos x="csX423" y="csY423"/>
              </a:cxn>
              <a:cxn ang="0">
                <a:pos x="csX424" y="csY424"/>
              </a:cxn>
              <a:cxn ang="0">
                <a:pos x="csX425" y="csY425"/>
              </a:cxn>
              <a:cxn ang="0">
                <a:pos x="csX426" y="csY426"/>
              </a:cxn>
              <a:cxn ang="0">
                <a:pos x="csX427" y="csY427"/>
              </a:cxn>
              <a:cxn ang="0">
                <a:pos x="csX428" y="csY428"/>
              </a:cxn>
              <a:cxn ang="0">
                <a:pos x="csX429" y="csY429"/>
              </a:cxn>
              <a:cxn ang="0">
                <a:pos x="csX430" y="csY430"/>
              </a:cxn>
              <a:cxn ang="0">
                <a:pos x="csX431" y="csY431"/>
              </a:cxn>
              <a:cxn ang="0">
                <a:pos x="csX432" y="csY432"/>
              </a:cxn>
              <a:cxn ang="0">
                <a:pos x="csX433" y="csY433"/>
              </a:cxn>
              <a:cxn ang="0">
                <a:pos x="csX434" y="csY434"/>
              </a:cxn>
              <a:cxn ang="0">
                <a:pos x="csX435" y="csY435"/>
              </a:cxn>
              <a:cxn ang="0">
                <a:pos x="csX436" y="csY436"/>
              </a:cxn>
              <a:cxn ang="0">
                <a:pos x="csX437" y="csY437"/>
              </a:cxn>
              <a:cxn ang="0">
                <a:pos x="csX438" y="csY438"/>
              </a:cxn>
              <a:cxn ang="0">
                <a:pos x="csX439" y="csY439"/>
              </a:cxn>
              <a:cxn ang="0">
                <a:pos x="csX440" y="csY440"/>
              </a:cxn>
              <a:cxn ang="0">
                <a:pos x="csX441" y="csY441"/>
              </a:cxn>
              <a:cxn ang="0">
                <a:pos x="csX442" y="csY442"/>
              </a:cxn>
              <a:cxn ang="0">
                <a:pos x="csX443" y="csY443"/>
              </a:cxn>
              <a:cxn ang="0">
                <a:pos x="csX444" y="csY444"/>
              </a:cxn>
              <a:cxn ang="0">
                <a:pos x="csX445" y="csY445"/>
              </a:cxn>
              <a:cxn ang="0">
                <a:pos x="csX446" y="csY446"/>
              </a:cxn>
              <a:cxn ang="0">
                <a:pos x="csX447" y="csY447"/>
              </a:cxn>
              <a:cxn ang="0">
                <a:pos x="csX448" y="csY448"/>
              </a:cxn>
              <a:cxn ang="0">
                <a:pos x="csX449" y="csY449"/>
              </a:cxn>
              <a:cxn ang="0">
                <a:pos x="csX450" y="csY450"/>
              </a:cxn>
              <a:cxn ang="0">
                <a:pos x="csX451" y="csY451"/>
              </a:cxn>
              <a:cxn ang="0">
                <a:pos x="csX452" y="csY452"/>
              </a:cxn>
              <a:cxn ang="0">
                <a:pos x="csX453" y="csY453"/>
              </a:cxn>
              <a:cxn ang="0">
                <a:pos x="csX454" y="csY454"/>
              </a:cxn>
              <a:cxn ang="0">
                <a:pos x="csX455" y="csY455"/>
              </a:cxn>
              <a:cxn ang="0">
                <a:pos x="csX456" y="csY456"/>
              </a:cxn>
              <a:cxn ang="0">
                <a:pos x="csX457" y="csY457"/>
              </a:cxn>
              <a:cxn ang="0">
                <a:pos x="csX458" y="csY458"/>
              </a:cxn>
              <a:cxn ang="0">
                <a:pos x="csX459" y="csY459"/>
              </a:cxn>
              <a:cxn ang="0">
                <a:pos x="csX460" y="csY460"/>
              </a:cxn>
              <a:cxn ang="0">
                <a:pos x="csX461" y="csY461"/>
              </a:cxn>
              <a:cxn ang="0">
                <a:pos x="csX462" y="csY462"/>
              </a:cxn>
              <a:cxn ang="0">
                <a:pos x="csX463" y="csY463"/>
              </a:cxn>
              <a:cxn ang="0">
                <a:pos x="csX464" y="csY464"/>
              </a:cxn>
              <a:cxn ang="0">
                <a:pos x="csX465" y="csY465"/>
              </a:cxn>
              <a:cxn ang="0">
                <a:pos x="csX466" y="csY466"/>
              </a:cxn>
              <a:cxn ang="0">
                <a:pos x="csX467" y="csY467"/>
              </a:cxn>
              <a:cxn ang="0">
                <a:pos x="csX468" y="csY468"/>
              </a:cxn>
              <a:cxn ang="0">
                <a:pos x="csX469" y="csY469"/>
              </a:cxn>
              <a:cxn ang="0">
                <a:pos x="csX470" y="csY470"/>
              </a:cxn>
              <a:cxn ang="0">
                <a:pos x="csX471" y="csY471"/>
              </a:cxn>
              <a:cxn ang="0">
                <a:pos x="csX472" y="csY472"/>
              </a:cxn>
              <a:cxn ang="0">
                <a:pos x="csX473" y="csY473"/>
              </a:cxn>
              <a:cxn ang="0">
                <a:pos x="csX474" y="csY474"/>
              </a:cxn>
              <a:cxn ang="0">
                <a:pos x="csX475" y="csY475"/>
              </a:cxn>
              <a:cxn ang="0">
                <a:pos x="csX476" y="csY476"/>
              </a:cxn>
              <a:cxn ang="0">
                <a:pos x="csX477" y="csY477"/>
              </a:cxn>
              <a:cxn ang="0">
                <a:pos x="csX478" y="csY478"/>
              </a:cxn>
              <a:cxn ang="0">
                <a:pos x="csX479" y="csY479"/>
              </a:cxn>
              <a:cxn ang="0">
                <a:pos x="csX480" y="csY480"/>
              </a:cxn>
              <a:cxn ang="0">
                <a:pos x="csX481" y="csY481"/>
              </a:cxn>
              <a:cxn ang="0">
                <a:pos x="csX482" y="csY482"/>
              </a:cxn>
              <a:cxn ang="0">
                <a:pos x="csX483" y="csY483"/>
              </a:cxn>
              <a:cxn ang="0">
                <a:pos x="csX484" y="csY484"/>
              </a:cxn>
              <a:cxn ang="0">
                <a:pos x="csX485" y="csY485"/>
              </a:cxn>
              <a:cxn ang="0">
                <a:pos x="csX486" y="csY486"/>
              </a:cxn>
              <a:cxn ang="0">
                <a:pos x="csX487" y="csY487"/>
              </a:cxn>
              <a:cxn ang="0">
                <a:pos x="csX488" y="csY488"/>
              </a:cxn>
              <a:cxn ang="0">
                <a:pos x="csX489" y="csY489"/>
              </a:cxn>
              <a:cxn ang="0">
                <a:pos x="csX490" y="csY490"/>
              </a:cxn>
              <a:cxn ang="0">
                <a:pos x="csX491" y="csY491"/>
              </a:cxn>
              <a:cxn ang="0">
                <a:pos x="csX492" y="csY492"/>
              </a:cxn>
              <a:cxn ang="0">
                <a:pos x="csX493" y="csY493"/>
              </a:cxn>
              <a:cxn ang="0">
                <a:pos x="csX494" y="csY494"/>
              </a:cxn>
              <a:cxn ang="0">
                <a:pos x="csX495" y="csY495"/>
              </a:cxn>
              <a:cxn ang="0">
                <a:pos x="csX496" y="csY496"/>
              </a:cxn>
              <a:cxn ang="0">
                <a:pos x="csX497" y="csY497"/>
              </a:cxn>
              <a:cxn ang="0">
                <a:pos x="csX498" y="csY498"/>
              </a:cxn>
              <a:cxn ang="0">
                <a:pos x="csX499" y="csY499"/>
              </a:cxn>
              <a:cxn ang="0">
                <a:pos x="csX500" y="csY500"/>
              </a:cxn>
              <a:cxn ang="0">
                <a:pos x="csX501" y="csY501"/>
              </a:cxn>
              <a:cxn ang="0">
                <a:pos x="csX502" y="csY502"/>
              </a:cxn>
              <a:cxn ang="0">
                <a:pos x="csX503" y="csY503"/>
              </a:cxn>
              <a:cxn ang="0">
                <a:pos x="csX504" y="csY504"/>
              </a:cxn>
              <a:cxn ang="0">
                <a:pos x="csX505" y="csY505"/>
              </a:cxn>
              <a:cxn ang="0">
                <a:pos x="csX506" y="csY506"/>
              </a:cxn>
              <a:cxn ang="0">
                <a:pos x="csX507" y="csY507"/>
              </a:cxn>
              <a:cxn ang="0">
                <a:pos x="csX508" y="csY508"/>
              </a:cxn>
              <a:cxn ang="0">
                <a:pos x="csX509" y="csY509"/>
              </a:cxn>
              <a:cxn ang="0">
                <a:pos x="csX510" y="csY510"/>
              </a:cxn>
              <a:cxn ang="0">
                <a:pos x="csX511" y="csY511"/>
              </a:cxn>
              <a:cxn ang="0">
                <a:pos x="csX512" y="csY512"/>
              </a:cxn>
              <a:cxn ang="0">
                <a:pos x="csX513" y="csY513"/>
              </a:cxn>
              <a:cxn ang="0">
                <a:pos x="csX514" y="csY514"/>
              </a:cxn>
              <a:cxn ang="0">
                <a:pos x="csX515" y="csY515"/>
              </a:cxn>
              <a:cxn ang="0">
                <a:pos x="csX516" y="csY516"/>
              </a:cxn>
              <a:cxn ang="0">
                <a:pos x="csX517" y="csY517"/>
              </a:cxn>
              <a:cxn ang="0">
                <a:pos x="csX518" y="csY518"/>
              </a:cxn>
              <a:cxn ang="0">
                <a:pos x="csX519" y="csY519"/>
              </a:cxn>
              <a:cxn ang="0">
                <a:pos x="csX520" y="csY520"/>
              </a:cxn>
              <a:cxn ang="0">
                <a:pos x="csX521" y="csY521"/>
              </a:cxn>
              <a:cxn ang="0">
                <a:pos x="csX522" y="csY522"/>
              </a:cxn>
              <a:cxn ang="0">
                <a:pos x="csX523" y="csY523"/>
              </a:cxn>
              <a:cxn ang="0">
                <a:pos x="csX524" y="csY524"/>
              </a:cxn>
              <a:cxn ang="0">
                <a:pos x="csX525" y="csY525"/>
              </a:cxn>
              <a:cxn ang="0">
                <a:pos x="csX526" y="csY526"/>
              </a:cxn>
              <a:cxn ang="0">
                <a:pos x="csX527" y="csY527"/>
              </a:cxn>
              <a:cxn ang="0">
                <a:pos x="csX528" y="csY528"/>
              </a:cxn>
              <a:cxn ang="0">
                <a:pos x="csX529" y="csY529"/>
              </a:cxn>
              <a:cxn ang="0">
                <a:pos x="csX530" y="csY530"/>
              </a:cxn>
              <a:cxn ang="0">
                <a:pos x="csX531" y="csY531"/>
              </a:cxn>
              <a:cxn ang="0">
                <a:pos x="csX532" y="csY532"/>
              </a:cxn>
              <a:cxn ang="0">
                <a:pos x="csX533" y="csY533"/>
              </a:cxn>
              <a:cxn ang="0">
                <a:pos x="csX534" y="csY534"/>
              </a:cxn>
              <a:cxn ang="0">
                <a:pos x="csX535" y="csY535"/>
              </a:cxn>
              <a:cxn ang="0">
                <a:pos x="csX536" y="csY536"/>
              </a:cxn>
              <a:cxn ang="0">
                <a:pos x="csX537" y="csY537"/>
              </a:cxn>
              <a:cxn ang="0">
                <a:pos x="csX538" y="csY538"/>
              </a:cxn>
              <a:cxn ang="0">
                <a:pos x="csX539" y="csY539"/>
              </a:cxn>
              <a:cxn ang="0">
                <a:pos x="csX540" y="csY540"/>
              </a:cxn>
              <a:cxn ang="0">
                <a:pos x="csX541" y="csY541"/>
              </a:cxn>
              <a:cxn ang="0">
                <a:pos x="csX542" y="csY542"/>
              </a:cxn>
              <a:cxn ang="0">
                <a:pos x="csX543" y="csY543"/>
              </a:cxn>
              <a:cxn ang="0">
                <a:pos x="csX544" y="csY544"/>
              </a:cxn>
              <a:cxn ang="0">
                <a:pos x="csX545" y="csY545"/>
              </a:cxn>
              <a:cxn ang="0">
                <a:pos x="csX546" y="csY546"/>
              </a:cxn>
              <a:cxn ang="0">
                <a:pos x="csX547" y="csY547"/>
              </a:cxn>
              <a:cxn ang="0">
                <a:pos x="csX548" y="csY548"/>
              </a:cxn>
              <a:cxn ang="0">
                <a:pos x="csX549" y="csY549"/>
              </a:cxn>
              <a:cxn ang="0">
                <a:pos x="csX550" y="csY550"/>
              </a:cxn>
              <a:cxn ang="0">
                <a:pos x="csX551" y="csY551"/>
              </a:cxn>
              <a:cxn ang="0">
                <a:pos x="csX552" y="csY552"/>
              </a:cxn>
              <a:cxn ang="0">
                <a:pos x="csX553" y="csY553"/>
              </a:cxn>
              <a:cxn ang="0">
                <a:pos x="csX554" y="csY554"/>
              </a:cxn>
              <a:cxn ang="0">
                <a:pos x="csX555" y="csY555"/>
              </a:cxn>
              <a:cxn ang="0">
                <a:pos x="csX556" y="csY556"/>
              </a:cxn>
              <a:cxn ang="0">
                <a:pos x="csX557" y="csY557"/>
              </a:cxn>
              <a:cxn ang="0">
                <a:pos x="csX558" y="csY558"/>
              </a:cxn>
              <a:cxn ang="0">
                <a:pos x="csX559" y="csY559"/>
              </a:cxn>
              <a:cxn ang="0">
                <a:pos x="csX560" y="csY560"/>
              </a:cxn>
              <a:cxn ang="0">
                <a:pos x="csX561" y="csY561"/>
              </a:cxn>
              <a:cxn ang="0">
                <a:pos x="csX562" y="csY562"/>
              </a:cxn>
              <a:cxn ang="0">
                <a:pos x="csX563" y="csY563"/>
              </a:cxn>
              <a:cxn ang="0">
                <a:pos x="csX564" y="csY564"/>
              </a:cxn>
              <a:cxn ang="0">
                <a:pos x="csX565" y="csY565"/>
              </a:cxn>
              <a:cxn ang="0">
                <a:pos x="csX566" y="csY566"/>
              </a:cxn>
              <a:cxn ang="0">
                <a:pos x="csX567" y="csY567"/>
              </a:cxn>
              <a:cxn ang="0">
                <a:pos x="csX568" y="csY568"/>
              </a:cxn>
              <a:cxn ang="0">
                <a:pos x="csX569" y="csY569"/>
              </a:cxn>
              <a:cxn ang="0">
                <a:pos x="csX570" y="csY570"/>
              </a:cxn>
              <a:cxn ang="0">
                <a:pos x="csX571" y="csY571"/>
              </a:cxn>
              <a:cxn ang="0">
                <a:pos x="csX572" y="csY572"/>
              </a:cxn>
              <a:cxn ang="0">
                <a:pos x="csX573" y="csY573"/>
              </a:cxn>
              <a:cxn ang="0">
                <a:pos x="csX574" y="csY574"/>
              </a:cxn>
              <a:cxn ang="0">
                <a:pos x="csX575" y="csY575"/>
              </a:cxn>
              <a:cxn ang="0">
                <a:pos x="csX576" y="csY576"/>
              </a:cxn>
              <a:cxn ang="0">
                <a:pos x="csX577" y="csY577"/>
              </a:cxn>
              <a:cxn ang="0">
                <a:pos x="csX578" y="csY578"/>
              </a:cxn>
              <a:cxn ang="0">
                <a:pos x="csX579" y="csY579"/>
              </a:cxn>
              <a:cxn ang="0">
                <a:pos x="csX580" y="csY580"/>
              </a:cxn>
              <a:cxn ang="0">
                <a:pos x="csX581" y="csY581"/>
              </a:cxn>
              <a:cxn ang="0">
                <a:pos x="csX582" y="csY582"/>
              </a:cxn>
              <a:cxn ang="0">
                <a:pos x="csX583" y="csY583"/>
              </a:cxn>
              <a:cxn ang="0">
                <a:pos x="csX584" y="csY584"/>
              </a:cxn>
              <a:cxn ang="0">
                <a:pos x="csX585" y="csY585"/>
              </a:cxn>
              <a:cxn ang="0">
                <a:pos x="csX586" y="csY586"/>
              </a:cxn>
              <a:cxn ang="0">
                <a:pos x="csX587" y="csY587"/>
              </a:cxn>
              <a:cxn ang="0">
                <a:pos x="csX588" y="csY588"/>
              </a:cxn>
              <a:cxn ang="0">
                <a:pos x="csX589" y="csY589"/>
              </a:cxn>
              <a:cxn ang="0">
                <a:pos x="csX590" y="csY590"/>
              </a:cxn>
              <a:cxn ang="0">
                <a:pos x="csX591" y="csY591"/>
              </a:cxn>
              <a:cxn ang="0">
                <a:pos x="csX592" y="csY592"/>
              </a:cxn>
              <a:cxn ang="0">
                <a:pos x="csX593" y="csY593"/>
              </a:cxn>
              <a:cxn ang="0">
                <a:pos x="csX594" y="csY594"/>
              </a:cxn>
              <a:cxn ang="0">
                <a:pos x="csX595" y="csY595"/>
              </a:cxn>
              <a:cxn ang="0">
                <a:pos x="csX596" y="csY596"/>
              </a:cxn>
              <a:cxn ang="0">
                <a:pos x="csX597" y="csY597"/>
              </a:cxn>
              <a:cxn ang="0">
                <a:pos x="csX598" y="csY598"/>
              </a:cxn>
              <a:cxn ang="0">
                <a:pos x="csX599" y="csY599"/>
              </a:cxn>
              <a:cxn ang="0">
                <a:pos x="csX600" y="csY600"/>
              </a:cxn>
              <a:cxn ang="0">
                <a:pos x="csX601" y="csY601"/>
              </a:cxn>
              <a:cxn ang="0">
                <a:pos x="csX602" y="csY602"/>
              </a:cxn>
              <a:cxn ang="0">
                <a:pos x="csX603" y="csY603"/>
              </a:cxn>
              <a:cxn ang="0">
                <a:pos x="csX604" y="csY604"/>
              </a:cxn>
              <a:cxn ang="0">
                <a:pos x="csX605" y="csY605"/>
              </a:cxn>
              <a:cxn ang="0">
                <a:pos x="csX606" y="csY606"/>
              </a:cxn>
              <a:cxn ang="0">
                <a:pos x="csX607" y="csY607"/>
              </a:cxn>
              <a:cxn ang="0">
                <a:pos x="csX608" y="csY608"/>
              </a:cxn>
              <a:cxn ang="0">
                <a:pos x="csX609" y="csY609"/>
              </a:cxn>
              <a:cxn ang="0">
                <a:pos x="csX610" y="csY610"/>
              </a:cxn>
              <a:cxn ang="0">
                <a:pos x="csX611" y="csY611"/>
              </a:cxn>
              <a:cxn ang="0">
                <a:pos x="csX612" y="csY612"/>
              </a:cxn>
              <a:cxn ang="0">
                <a:pos x="csX613" y="csY613"/>
              </a:cxn>
              <a:cxn ang="0">
                <a:pos x="csX614" y="csY614"/>
              </a:cxn>
              <a:cxn ang="0">
                <a:pos x="csX615" y="csY615"/>
              </a:cxn>
              <a:cxn ang="0">
                <a:pos x="csX616" y="csY616"/>
              </a:cxn>
              <a:cxn ang="0">
                <a:pos x="csX617" y="csY617"/>
              </a:cxn>
              <a:cxn ang="0">
                <a:pos x="csX618" y="csY618"/>
              </a:cxn>
              <a:cxn ang="0">
                <a:pos x="csX619" y="csY619"/>
              </a:cxn>
              <a:cxn ang="0">
                <a:pos x="csX620" y="csY620"/>
              </a:cxn>
              <a:cxn ang="0">
                <a:pos x="csX621" y="csY621"/>
              </a:cxn>
              <a:cxn ang="0">
                <a:pos x="csX622" y="csY622"/>
              </a:cxn>
              <a:cxn ang="0">
                <a:pos x="csX623" y="csY623"/>
              </a:cxn>
              <a:cxn ang="0">
                <a:pos x="csX624" y="csY624"/>
              </a:cxn>
              <a:cxn ang="0">
                <a:pos x="csX625" y="csY625"/>
              </a:cxn>
              <a:cxn ang="0">
                <a:pos x="csX626" y="csY626"/>
              </a:cxn>
              <a:cxn ang="0">
                <a:pos x="csX627" y="csY627"/>
              </a:cxn>
              <a:cxn ang="0">
                <a:pos x="csX628" y="csY628"/>
              </a:cxn>
              <a:cxn ang="0">
                <a:pos x="csX629" y="csY629"/>
              </a:cxn>
              <a:cxn ang="0">
                <a:pos x="csX630" y="csY630"/>
              </a:cxn>
              <a:cxn ang="0">
                <a:pos x="csX631" y="csY631"/>
              </a:cxn>
              <a:cxn ang="0">
                <a:pos x="csX632" y="csY632"/>
              </a:cxn>
              <a:cxn ang="0">
                <a:pos x="csX633" y="csY633"/>
              </a:cxn>
              <a:cxn ang="0">
                <a:pos x="csX634" y="csY634"/>
              </a:cxn>
              <a:cxn ang="0">
                <a:pos x="csX635" y="csY635"/>
              </a:cxn>
              <a:cxn ang="0">
                <a:pos x="csX636" y="csY636"/>
              </a:cxn>
              <a:cxn ang="0">
                <a:pos x="csX637" y="csY637"/>
              </a:cxn>
              <a:cxn ang="0">
                <a:pos x="csX638" y="csY638"/>
              </a:cxn>
              <a:cxn ang="0">
                <a:pos x="csX639" y="csY639"/>
              </a:cxn>
              <a:cxn ang="0">
                <a:pos x="csX640" y="csY640"/>
              </a:cxn>
              <a:cxn ang="0">
                <a:pos x="csX641" y="csY641"/>
              </a:cxn>
              <a:cxn ang="0">
                <a:pos x="csX642" y="csY642"/>
              </a:cxn>
              <a:cxn ang="0">
                <a:pos x="csX643" y="csY643"/>
              </a:cxn>
              <a:cxn ang="0">
                <a:pos x="csX644" y="csY644"/>
              </a:cxn>
              <a:cxn ang="0">
                <a:pos x="csX645" y="csY645"/>
              </a:cxn>
              <a:cxn ang="0">
                <a:pos x="csX646" y="csY646"/>
              </a:cxn>
              <a:cxn ang="0">
                <a:pos x="csX647" y="csY647"/>
              </a:cxn>
              <a:cxn ang="0">
                <a:pos x="csX648" y="csY648"/>
              </a:cxn>
              <a:cxn ang="0">
                <a:pos x="csX649" y="csY649"/>
              </a:cxn>
              <a:cxn ang="0">
                <a:pos x="csX650" y="csY650"/>
              </a:cxn>
              <a:cxn ang="0">
                <a:pos x="csX651" y="csY651"/>
              </a:cxn>
              <a:cxn ang="0">
                <a:pos x="csX652" y="csY652"/>
              </a:cxn>
              <a:cxn ang="0">
                <a:pos x="csX653" y="csY653"/>
              </a:cxn>
              <a:cxn ang="0">
                <a:pos x="csX654" y="csY654"/>
              </a:cxn>
              <a:cxn ang="0">
                <a:pos x="csX655" y="csY655"/>
              </a:cxn>
              <a:cxn ang="0">
                <a:pos x="csX656" y="csY656"/>
              </a:cxn>
              <a:cxn ang="0">
                <a:pos x="csX657" y="csY657"/>
              </a:cxn>
              <a:cxn ang="0">
                <a:pos x="csX658" y="csY658"/>
              </a:cxn>
              <a:cxn ang="0">
                <a:pos x="csX659" y="csY659"/>
              </a:cxn>
              <a:cxn ang="0">
                <a:pos x="csX660" y="csY660"/>
              </a:cxn>
              <a:cxn ang="0">
                <a:pos x="csX661" y="csY661"/>
              </a:cxn>
              <a:cxn ang="0">
                <a:pos x="csX662" y="csY662"/>
              </a:cxn>
              <a:cxn ang="0">
                <a:pos x="csX663" y="csY663"/>
              </a:cxn>
              <a:cxn ang="0">
                <a:pos x="csX664" y="csY664"/>
              </a:cxn>
              <a:cxn ang="0">
                <a:pos x="csX665" y="csY665"/>
              </a:cxn>
              <a:cxn ang="0">
                <a:pos x="csX666" y="csY666"/>
              </a:cxn>
              <a:cxn ang="0">
                <a:pos x="csX667" y="csY667"/>
              </a:cxn>
              <a:cxn ang="0">
                <a:pos x="csX668" y="csY668"/>
              </a:cxn>
              <a:cxn ang="0">
                <a:pos x="csX669" y="csY669"/>
              </a:cxn>
              <a:cxn ang="0">
                <a:pos x="csX670" y="csY670"/>
              </a:cxn>
              <a:cxn ang="0">
                <a:pos x="csX671" y="csY671"/>
              </a:cxn>
              <a:cxn ang="0">
                <a:pos x="csX672" y="csY672"/>
              </a:cxn>
              <a:cxn ang="0">
                <a:pos x="csX673" y="csY673"/>
              </a:cxn>
              <a:cxn ang="0">
                <a:pos x="csX674" y="csY674"/>
              </a:cxn>
              <a:cxn ang="0">
                <a:pos x="csX675" y="csY675"/>
              </a:cxn>
              <a:cxn ang="0">
                <a:pos x="csX676" y="csY676"/>
              </a:cxn>
              <a:cxn ang="0">
                <a:pos x="csX677" y="csY677"/>
              </a:cxn>
              <a:cxn ang="0">
                <a:pos x="csX678" y="csY678"/>
              </a:cxn>
              <a:cxn ang="0">
                <a:pos x="csX679" y="csY679"/>
              </a:cxn>
              <a:cxn ang="0">
                <a:pos x="csX680" y="csY680"/>
              </a:cxn>
              <a:cxn ang="0">
                <a:pos x="csX681" y="csY681"/>
              </a:cxn>
              <a:cxn ang="0">
                <a:pos x="csX682" y="csY682"/>
              </a:cxn>
              <a:cxn ang="0">
                <a:pos x="csX683" y="csY683"/>
              </a:cxn>
              <a:cxn ang="0">
                <a:pos x="csX684" y="csY684"/>
              </a:cxn>
              <a:cxn ang="0">
                <a:pos x="csX685" y="csY685"/>
              </a:cxn>
              <a:cxn ang="0">
                <a:pos x="csX686" y="csY686"/>
              </a:cxn>
              <a:cxn ang="0">
                <a:pos x="csX687" y="csY687"/>
              </a:cxn>
              <a:cxn ang="0">
                <a:pos x="csX688" y="csY688"/>
              </a:cxn>
              <a:cxn ang="0">
                <a:pos x="csX689" y="csY689"/>
              </a:cxn>
              <a:cxn ang="0">
                <a:pos x="csX690" y="csY690"/>
              </a:cxn>
              <a:cxn ang="0">
                <a:pos x="csX691" y="csY691"/>
              </a:cxn>
              <a:cxn ang="0">
                <a:pos x="csX692" y="csY692"/>
              </a:cxn>
              <a:cxn ang="0">
                <a:pos x="csX693" y="csY693"/>
              </a:cxn>
              <a:cxn ang="0">
                <a:pos x="csX694" y="csY694"/>
              </a:cxn>
              <a:cxn ang="0">
                <a:pos x="csX695" y="csY695"/>
              </a:cxn>
              <a:cxn ang="0">
                <a:pos x="csX696" y="csY696"/>
              </a:cxn>
              <a:cxn ang="0">
                <a:pos x="csX697" y="csY697"/>
              </a:cxn>
              <a:cxn ang="0">
                <a:pos x="csX698" y="csY698"/>
              </a:cxn>
              <a:cxn ang="0">
                <a:pos x="csX699" y="csY699"/>
              </a:cxn>
              <a:cxn ang="0">
                <a:pos x="csX700" y="csY700"/>
              </a:cxn>
              <a:cxn ang="0">
                <a:pos x="csX701" y="csY701"/>
              </a:cxn>
              <a:cxn ang="0">
                <a:pos x="csX702" y="csY702"/>
              </a:cxn>
              <a:cxn ang="0">
                <a:pos x="csX703" y="csY703"/>
              </a:cxn>
              <a:cxn ang="0">
                <a:pos x="csX704" y="csY704"/>
              </a:cxn>
              <a:cxn ang="0">
                <a:pos x="csX705" y="csY705"/>
              </a:cxn>
              <a:cxn ang="0">
                <a:pos x="csX706" y="csY706"/>
              </a:cxn>
              <a:cxn ang="0">
                <a:pos x="csX707" y="csY707"/>
              </a:cxn>
              <a:cxn ang="0">
                <a:pos x="csX708" y="csY708"/>
              </a:cxn>
              <a:cxn ang="0">
                <a:pos x="csX709" y="csY709"/>
              </a:cxn>
              <a:cxn ang="0">
                <a:pos x="csX710" y="csY710"/>
              </a:cxn>
              <a:cxn ang="0">
                <a:pos x="csX711" y="csY711"/>
              </a:cxn>
              <a:cxn ang="0">
                <a:pos x="csX712" y="csY712"/>
              </a:cxn>
              <a:cxn ang="0">
                <a:pos x="csX713" y="csY713"/>
              </a:cxn>
              <a:cxn ang="0">
                <a:pos x="csX714" y="csY714"/>
              </a:cxn>
              <a:cxn ang="0">
                <a:pos x="csX715" y="csY715"/>
              </a:cxn>
              <a:cxn ang="0">
                <a:pos x="csX716" y="csY716"/>
              </a:cxn>
              <a:cxn ang="0">
                <a:pos x="csX717" y="csY717"/>
              </a:cxn>
              <a:cxn ang="0">
                <a:pos x="csX718" y="csY718"/>
              </a:cxn>
              <a:cxn ang="0">
                <a:pos x="csX719" y="csY719"/>
              </a:cxn>
              <a:cxn ang="0">
                <a:pos x="csX720" y="csY720"/>
              </a:cxn>
              <a:cxn ang="0">
                <a:pos x="csX721" y="csY721"/>
              </a:cxn>
              <a:cxn ang="0">
                <a:pos x="csX722" y="csY722"/>
              </a:cxn>
              <a:cxn ang="0">
                <a:pos x="csX723" y="csY723"/>
              </a:cxn>
              <a:cxn ang="0">
                <a:pos x="csX724" y="csY724"/>
              </a:cxn>
              <a:cxn ang="0">
                <a:pos x="csX725" y="csY725"/>
              </a:cxn>
              <a:cxn ang="0">
                <a:pos x="csX726" y="csY726"/>
              </a:cxn>
              <a:cxn ang="0">
                <a:pos x="csX727" y="csY727"/>
              </a:cxn>
              <a:cxn ang="0">
                <a:pos x="csX728" y="csY728"/>
              </a:cxn>
              <a:cxn ang="0">
                <a:pos x="csX729" y="csY729"/>
              </a:cxn>
              <a:cxn ang="0">
                <a:pos x="csX730" y="csY730"/>
              </a:cxn>
              <a:cxn ang="0">
                <a:pos x="csX731" y="csY731"/>
              </a:cxn>
              <a:cxn ang="0">
                <a:pos x="csX732" y="csY732"/>
              </a:cxn>
              <a:cxn ang="0">
                <a:pos x="csX733" y="csY733"/>
              </a:cxn>
              <a:cxn ang="0">
                <a:pos x="csX734" y="csY734"/>
              </a:cxn>
              <a:cxn ang="0">
                <a:pos x="csX735" y="csY735"/>
              </a:cxn>
              <a:cxn ang="0">
                <a:pos x="csX736" y="csY736"/>
              </a:cxn>
              <a:cxn ang="0">
                <a:pos x="csX737" y="csY737"/>
              </a:cxn>
              <a:cxn ang="0">
                <a:pos x="csX738" y="csY738"/>
              </a:cxn>
              <a:cxn ang="0">
                <a:pos x="csX739" y="csY739"/>
              </a:cxn>
              <a:cxn ang="0">
                <a:pos x="csX740" y="csY740"/>
              </a:cxn>
              <a:cxn ang="0">
                <a:pos x="csX741" y="csY741"/>
              </a:cxn>
              <a:cxn ang="0">
                <a:pos x="csX742" y="csY742"/>
              </a:cxn>
              <a:cxn ang="0">
                <a:pos x="csX743" y="csY743"/>
              </a:cxn>
              <a:cxn ang="0">
                <a:pos x="csX744" y="csY744"/>
              </a:cxn>
              <a:cxn ang="0">
                <a:pos x="csX745" y="csY745"/>
              </a:cxn>
              <a:cxn ang="0">
                <a:pos x="csX746" y="csY746"/>
              </a:cxn>
              <a:cxn ang="0">
                <a:pos x="csX747" y="csY747"/>
              </a:cxn>
              <a:cxn ang="0">
                <a:pos x="csX748" y="csY748"/>
              </a:cxn>
              <a:cxn ang="0">
                <a:pos x="csX749" y="csY749"/>
              </a:cxn>
              <a:cxn ang="0">
                <a:pos x="csX750" y="csY750"/>
              </a:cxn>
              <a:cxn ang="0">
                <a:pos x="csX751" y="csY751"/>
              </a:cxn>
              <a:cxn ang="0">
                <a:pos x="csX752" y="csY752"/>
              </a:cxn>
              <a:cxn ang="0">
                <a:pos x="csX753" y="csY753"/>
              </a:cxn>
              <a:cxn ang="0">
                <a:pos x="csX754" y="csY754"/>
              </a:cxn>
              <a:cxn ang="0">
                <a:pos x="csX755" y="csY755"/>
              </a:cxn>
              <a:cxn ang="0">
                <a:pos x="csX756" y="csY756"/>
              </a:cxn>
              <a:cxn ang="0">
                <a:pos x="csX757" y="csY757"/>
              </a:cxn>
              <a:cxn ang="0">
                <a:pos x="csX758" y="csY758"/>
              </a:cxn>
              <a:cxn ang="0">
                <a:pos x="csX759" y="csY759"/>
              </a:cxn>
              <a:cxn ang="0">
                <a:pos x="csX760" y="csY760"/>
              </a:cxn>
              <a:cxn ang="0">
                <a:pos x="csX761" y="csY761"/>
              </a:cxn>
              <a:cxn ang="0">
                <a:pos x="csX762" y="csY762"/>
              </a:cxn>
              <a:cxn ang="0">
                <a:pos x="csX763" y="csY763"/>
              </a:cxn>
              <a:cxn ang="0">
                <a:pos x="csX764" y="csY764"/>
              </a:cxn>
              <a:cxn ang="0">
                <a:pos x="csX765" y="csY765"/>
              </a:cxn>
              <a:cxn ang="0">
                <a:pos x="csX766" y="csY766"/>
              </a:cxn>
              <a:cxn ang="0">
                <a:pos x="csX767" y="csY767"/>
              </a:cxn>
              <a:cxn ang="0">
                <a:pos x="csX768" y="csY768"/>
              </a:cxn>
              <a:cxn ang="0">
                <a:pos x="csX769" y="csY769"/>
              </a:cxn>
              <a:cxn ang="0">
                <a:pos x="csX770" y="csY770"/>
              </a:cxn>
              <a:cxn ang="0">
                <a:pos x="csX771" y="csY771"/>
              </a:cxn>
              <a:cxn ang="0">
                <a:pos x="csX772" y="csY772"/>
              </a:cxn>
              <a:cxn ang="0">
                <a:pos x="csX773" y="csY773"/>
              </a:cxn>
              <a:cxn ang="0">
                <a:pos x="csX774" y="csY774"/>
              </a:cxn>
              <a:cxn ang="0">
                <a:pos x="csX775" y="csY775"/>
              </a:cxn>
              <a:cxn ang="0">
                <a:pos x="csX776" y="csY776"/>
              </a:cxn>
              <a:cxn ang="0">
                <a:pos x="csX777" y="csY777"/>
              </a:cxn>
              <a:cxn ang="0">
                <a:pos x="csX778" y="csY778"/>
              </a:cxn>
              <a:cxn ang="0">
                <a:pos x="csX779" y="csY779"/>
              </a:cxn>
              <a:cxn ang="0">
                <a:pos x="csX780" y="csY780"/>
              </a:cxn>
              <a:cxn ang="0">
                <a:pos x="csX781" y="csY781"/>
              </a:cxn>
              <a:cxn ang="0">
                <a:pos x="csX782" y="csY782"/>
              </a:cxn>
              <a:cxn ang="0">
                <a:pos x="csX783" y="csY783"/>
              </a:cxn>
              <a:cxn ang="0">
                <a:pos x="csX784" y="csY784"/>
              </a:cxn>
              <a:cxn ang="0">
                <a:pos x="csX785" y="csY785"/>
              </a:cxn>
              <a:cxn ang="0">
                <a:pos x="csX786" y="csY786"/>
              </a:cxn>
              <a:cxn ang="0">
                <a:pos x="csX787" y="csY787"/>
              </a:cxn>
              <a:cxn ang="0">
                <a:pos x="csX788" y="csY788"/>
              </a:cxn>
              <a:cxn ang="0">
                <a:pos x="csX789" y="csY789"/>
              </a:cxn>
              <a:cxn ang="0">
                <a:pos x="csX790" y="csY790"/>
              </a:cxn>
              <a:cxn ang="0">
                <a:pos x="csX791" y="csY791"/>
              </a:cxn>
              <a:cxn ang="0">
                <a:pos x="csX792" y="csY792"/>
              </a:cxn>
              <a:cxn ang="0">
                <a:pos x="csX793" y="csY793"/>
              </a:cxn>
              <a:cxn ang="0">
                <a:pos x="csX794" y="csY794"/>
              </a:cxn>
              <a:cxn ang="0">
                <a:pos x="csX795" y="csY795"/>
              </a:cxn>
              <a:cxn ang="0">
                <a:pos x="csX796" y="csY796"/>
              </a:cxn>
              <a:cxn ang="0">
                <a:pos x="csX797" y="csY797"/>
              </a:cxn>
              <a:cxn ang="0">
                <a:pos x="csX798" y="csY798"/>
              </a:cxn>
              <a:cxn ang="0">
                <a:pos x="csX799" y="csY799"/>
              </a:cxn>
              <a:cxn ang="0">
                <a:pos x="csX800" y="csY800"/>
              </a:cxn>
              <a:cxn ang="0">
                <a:pos x="csX801" y="csY801"/>
              </a:cxn>
              <a:cxn ang="0">
                <a:pos x="csX802" y="csY802"/>
              </a:cxn>
              <a:cxn ang="0">
                <a:pos x="csX803" y="csY803"/>
              </a:cxn>
              <a:cxn ang="0">
                <a:pos x="csX804" y="csY804"/>
              </a:cxn>
              <a:cxn ang="0">
                <a:pos x="csX805" y="csY805"/>
              </a:cxn>
              <a:cxn ang="0">
                <a:pos x="csX806" y="csY806"/>
              </a:cxn>
              <a:cxn ang="0">
                <a:pos x="csX807" y="csY807"/>
              </a:cxn>
              <a:cxn ang="0">
                <a:pos x="csX808" y="csY808"/>
              </a:cxn>
              <a:cxn ang="0">
                <a:pos x="csX809" y="csY809"/>
              </a:cxn>
              <a:cxn ang="0">
                <a:pos x="csX810" y="csY810"/>
              </a:cxn>
              <a:cxn ang="0">
                <a:pos x="csX811" y="csY811"/>
              </a:cxn>
              <a:cxn ang="0">
                <a:pos x="csX812" y="csY812"/>
              </a:cxn>
              <a:cxn ang="0">
                <a:pos x="csX813" y="csY813"/>
              </a:cxn>
              <a:cxn ang="0">
                <a:pos x="csX814" y="csY814"/>
              </a:cxn>
              <a:cxn ang="0">
                <a:pos x="csX815" y="csY815"/>
              </a:cxn>
              <a:cxn ang="0">
                <a:pos x="csX816" y="csY816"/>
              </a:cxn>
              <a:cxn ang="0">
                <a:pos x="csX817" y="csY817"/>
              </a:cxn>
              <a:cxn ang="0">
                <a:pos x="csX818" y="csY818"/>
              </a:cxn>
              <a:cxn ang="0">
                <a:pos x="csX819" y="csY819"/>
              </a:cxn>
              <a:cxn ang="0">
                <a:pos x="csX820" y="csY820"/>
              </a:cxn>
              <a:cxn ang="0">
                <a:pos x="csX821" y="csY821"/>
              </a:cxn>
              <a:cxn ang="0">
                <a:pos x="csX822" y="csY822"/>
              </a:cxn>
              <a:cxn ang="0">
                <a:pos x="csX823" y="csY823"/>
              </a:cxn>
              <a:cxn ang="0">
                <a:pos x="csX824" y="csY824"/>
              </a:cxn>
              <a:cxn ang="0">
                <a:pos x="csX825" y="csY825"/>
              </a:cxn>
              <a:cxn ang="0">
                <a:pos x="csX826" y="csY826"/>
              </a:cxn>
              <a:cxn ang="0">
                <a:pos x="csX827" y="csY827"/>
              </a:cxn>
              <a:cxn ang="0">
                <a:pos x="csX828" y="csY828"/>
              </a:cxn>
              <a:cxn ang="0">
                <a:pos x="csX829" y="csY829"/>
              </a:cxn>
              <a:cxn ang="0">
                <a:pos x="csX830" y="csY830"/>
              </a:cxn>
              <a:cxn ang="0">
                <a:pos x="csX831" y="csY831"/>
              </a:cxn>
              <a:cxn ang="0">
                <a:pos x="csX832" y="csY832"/>
              </a:cxn>
              <a:cxn ang="0">
                <a:pos x="csX833" y="csY833"/>
              </a:cxn>
              <a:cxn ang="0">
                <a:pos x="csX834" y="csY834"/>
              </a:cxn>
              <a:cxn ang="0">
                <a:pos x="csX835" y="csY835"/>
              </a:cxn>
              <a:cxn ang="0">
                <a:pos x="csX836" y="csY836"/>
              </a:cxn>
              <a:cxn ang="0">
                <a:pos x="csX837" y="csY837"/>
              </a:cxn>
              <a:cxn ang="0">
                <a:pos x="csX838" y="csY838"/>
              </a:cxn>
              <a:cxn ang="0">
                <a:pos x="csX839" y="csY839"/>
              </a:cxn>
              <a:cxn ang="0">
                <a:pos x="csX840" y="csY840"/>
              </a:cxn>
              <a:cxn ang="0">
                <a:pos x="csX841" y="csY841"/>
              </a:cxn>
              <a:cxn ang="0">
                <a:pos x="csX842" y="csY842"/>
              </a:cxn>
              <a:cxn ang="0">
                <a:pos x="csX843" y="csY843"/>
              </a:cxn>
              <a:cxn ang="0">
                <a:pos x="csX844" y="csY844"/>
              </a:cxn>
              <a:cxn ang="0">
                <a:pos x="csX845" y="csY845"/>
              </a:cxn>
              <a:cxn ang="0">
                <a:pos x="csX846" y="csY846"/>
              </a:cxn>
              <a:cxn ang="0">
                <a:pos x="csX847" y="csY847"/>
              </a:cxn>
              <a:cxn ang="0">
                <a:pos x="csX848" y="csY848"/>
              </a:cxn>
              <a:cxn ang="0">
                <a:pos x="csX849" y="csY849"/>
              </a:cxn>
              <a:cxn ang="0">
                <a:pos x="csX850" y="csY850"/>
              </a:cxn>
              <a:cxn ang="0">
                <a:pos x="csX851" y="csY851"/>
              </a:cxn>
              <a:cxn ang="0">
                <a:pos x="csX852" y="csY852"/>
              </a:cxn>
              <a:cxn ang="0">
                <a:pos x="csX853" y="csY853"/>
              </a:cxn>
              <a:cxn ang="0">
                <a:pos x="csX854" y="csY854"/>
              </a:cxn>
              <a:cxn ang="0">
                <a:pos x="csX855" y="csY855"/>
              </a:cxn>
              <a:cxn ang="0">
                <a:pos x="csX856" y="csY856"/>
              </a:cxn>
              <a:cxn ang="0">
                <a:pos x="csX857" y="csY857"/>
              </a:cxn>
              <a:cxn ang="0">
                <a:pos x="csX858" y="csY858"/>
              </a:cxn>
              <a:cxn ang="0">
                <a:pos x="csX859" y="csY859"/>
              </a:cxn>
              <a:cxn ang="0">
                <a:pos x="csX860" y="csY860"/>
              </a:cxn>
              <a:cxn ang="0">
                <a:pos x="csX861" y="csY861"/>
              </a:cxn>
              <a:cxn ang="0">
                <a:pos x="csX862" y="csY862"/>
              </a:cxn>
              <a:cxn ang="0">
                <a:pos x="csX863" y="csY863"/>
              </a:cxn>
              <a:cxn ang="0">
                <a:pos x="csX864" y="csY864"/>
              </a:cxn>
              <a:cxn ang="0">
                <a:pos x="csX865" y="csY865"/>
              </a:cxn>
              <a:cxn ang="0">
                <a:pos x="csX866" y="csY866"/>
              </a:cxn>
              <a:cxn ang="0">
                <a:pos x="csX867" y="csY867"/>
              </a:cxn>
              <a:cxn ang="0">
                <a:pos x="csX868" y="csY868"/>
              </a:cxn>
              <a:cxn ang="0">
                <a:pos x="csX869" y="csY869"/>
              </a:cxn>
              <a:cxn ang="0">
                <a:pos x="csX870" y="csY870"/>
              </a:cxn>
              <a:cxn ang="0">
                <a:pos x="csX871" y="csY871"/>
              </a:cxn>
              <a:cxn ang="0">
                <a:pos x="csX872" y="csY872"/>
              </a:cxn>
              <a:cxn ang="0">
                <a:pos x="csX873" y="csY873"/>
              </a:cxn>
              <a:cxn ang="0">
                <a:pos x="csX874" y="csY874"/>
              </a:cxn>
              <a:cxn ang="0">
                <a:pos x="csX875" y="csY875"/>
              </a:cxn>
              <a:cxn ang="0">
                <a:pos x="csX876" y="csY876"/>
              </a:cxn>
              <a:cxn ang="0">
                <a:pos x="csX877" y="csY877"/>
              </a:cxn>
              <a:cxn ang="0">
                <a:pos x="csX878" y="csY878"/>
              </a:cxn>
              <a:cxn ang="0">
                <a:pos x="csX879" y="csY879"/>
              </a:cxn>
              <a:cxn ang="0">
                <a:pos x="csX880" y="csY880"/>
              </a:cxn>
              <a:cxn ang="0">
                <a:pos x="csX881" y="csY881"/>
              </a:cxn>
              <a:cxn ang="0">
                <a:pos x="csX882" y="csY882"/>
              </a:cxn>
              <a:cxn ang="0">
                <a:pos x="csX883" y="csY883"/>
              </a:cxn>
              <a:cxn ang="0">
                <a:pos x="csX884" y="csY884"/>
              </a:cxn>
              <a:cxn ang="0">
                <a:pos x="csX885" y="csY885"/>
              </a:cxn>
              <a:cxn ang="0">
                <a:pos x="csX886" y="csY886"/>
              </a:cxn>
              <a:cxn ang="0">
                <a:pos x="csX887" y="csY887"/>
              </a:cxn>
              <a:cxn ang="0">
                <a:pos x="csX888" y="csY888"/>
              </a:cxn>
              <a:cxn ang="0">
                <a:pos x="csX889" y="csY889"/>
              </a:cxn>
              <a:cxn ang="0">
                <a:pos x="csX890" y="csY890"/>
              </a:cxn>
              <a:cxn ang="0">
                <a:pos x="csX891" y="csY891"/>
              </a:cxn>
              <a:cxn ang="0">
                <a:pos x="csX892" y="csY892"/>
              </a:cxn>
              <a:cxn ang="0">
                <a:pos x="csX893" y="csY893"/>
              </a:cxn>
              <a:cxn ang="0">
                <a:pos x="csX894" y="csY894"/>
              </a:cxn>
              <a:cxn ang="0">
                <a:pos x="csX895" y="csY895"/>
              </a:cxn>
              <a:cxn ang="0">
                <a:pos x="csX896" y="csY896"/>
              </a:cxn>
              <a:cxn ang="0">
                <a:pos x="csX897" y="csY897"/>
              </a:cxn>
              <a:cxn ang="0">
                <a:pos x="csX898" y="csY898"/>
              </a:cxn>
              <a:cxn ang="0">
                <a:pos x="csX899" y="csY899"/>
              </a:cxn>
              <a:cxn ang="0">
                <a:pos x="csX900" y="csY900"/>
              </a:cxn>
              <a:cxn ang="0">
                <a:pos x="csX901" y="csY901"/>
              </a:cxn>
              <a:cxn ang="0">
                <a:pos x="csX902" y="csY902"/>
              </a:cxn>
              <a:cxn ang="0">
                <a:pos x="csX903" y="csY903"/>
              </a:cxn>
              <a:cxn ang="0">
                <a:pos x="csX904" y="csY904"/>
              </a:cxn>
              <a:cxn ang="0">
                <a:pos x="csX905" y="csY905"/>
              </a:cxn>
              <a:cxn ang="0">
                <a:pos x="csX906" y="csY906"/>
              </a:cxn>
              <a:cxn ang="0">
                <a:pos x="csX907" y="csY907"/>
              </a:cxn>
              <a:cxn ang="0">
                <a:pos x="csX908" y="csY908"/>
              </a:cxn>
              <a:cxn ang="0">
                <a:pos x="csX909" y="csY909"/>
              </a:cxn>
              <a:cxn ang="0">
                <a:pos x="csX910" y="csY910"/>
              </a:cxn>
              <a:cxn ang="0">
                <a:pos x="csX911" y="csY911"/>
              </a:cxn>
              <a:cxn ang="0">
                <a:pos x="csX912" y="csY912"/>
              </a:cxn>
              <a:cxn ang="0">
                <a:pos x="csX913" y="csY913"/>
              </a:cxn>
              <a:cxn ang="0">
                <a:pos x="csX914" y="csY914"/>
              </a:cxn>
              <a:cxn ang="0">
                <a:pos x="csX915" y="csY915"/>
              </a:cxn>
              <a:cxn ang="0">
                <a:pos x="csX916" y="csY916"/>
              </a:cxn>
              <a:cxn ang="0">
                <a:pos x="csX917" y="csY917"/>
              </a:cxn>
              <a:cxn ang="0">
                <a:pos x="csX918" y="csY918"/>
              </a:cxn>
              <a:cxn ang="0">
                <a:pos x="csX919" y="csY919"/>
              </a:cxn>
              <a:cxn ang="0">
                <a:pos x="csX920" y="csY920"/>
              </a:cxn>
              <a:cxn ang="0">
                <a:pos x="csX921" y="csY921"/>
              </a:cxn>
              <a:cxn ang="0">
                <a:pos x="csX922" y="csY922"/>
              </a:cxn>
              <a:cxn ang="0">
                <a:pos x="csX923" y="csY923"/>
              </a:cxn>
              <a:cxn ang="0">
                <a:pos x="csX924" y="csY924"/>
              </a:cxn>
              <a:cxn ang="0">
                <a:pos x="csX925" y="csY925"/>
              </a:cxn>
              <a:cxn ang="0">
                <a:pos x="csX926" y="csY926"/>
              </a:cxn>
              <a:cxn ang="0">
                <a:pos x="csX927" y="csY927"/>
              </a:cxn>
              <a:cxn ang="0">
                <a:pos x="csX928" y="csY928"/>
              </a:cxn>
              <a:cxn ang="0">
                <a:pos x="csX929" y="csY929"/>
              </a:cxn>
              <a:cxn ang="0">
                <a:pos x="csX930" y="csY930"/>
              </a:cxn>
              <a:cxn ang="0">
                <a:pos x="csX931" y="csY931"/>
              </a:cxn>
              <a:cxn ang="0">
                <a:pos x="csX932" y="csY932"/>
              </a:cxn>
              <a:cxn ang="0">
                <a:pos x="csX933" y="csY933"/>
              </a:cxn>
              <a:cxn ang="0">
                <a:pos x="csX934" y="csY934"/>
              </a:cxn>
              <a:cxn ang="0">
                <a:pos x="csX935" y="csY935"/>
              </a:cxn>
              <a:cxn ang="0">
                <a:pos x="csX936" y="csY936"/>
              </a:cxn>
              <a:cxn ang="0">
                <a:pos x="csX937" y="csY937"/>
              </a:cxn>
              <a:cxn ang="0">
                <a:pos x="csX938" y="csY938"/>
              </a:cxn>
              <a:cxn ang="0">
                <a:pos x="csX939" y="csY939"/>
              </a:cxn>
              <a:cxn ang="0">
                <a:pos x="csX940" y="csY940"/>
              </a:cxn>
              <a:cxn ang="0">
                <a:pos x="csX941" y="csY941"/>
              </a:cxn>
              <a:cxn ang="0">
                <a:pos x="csX942" y="csY942"/>
              </a:cxn>
              <a:cxn ang="0">
                <a:pos x="csX943" y="csY943"/>
              </a:cxn>
              <a:cxn ang="0">
                <a:pos x="csX944" y="csY944"/>
              </a:cxn>
              <a:cxn ang="0">
                <a:pos x="csX945" y="csY945"/>
              </a:cxn>
              <a:cxn ang="0">
                <a:pos x="csX946" y="csY946"/>
              </a:cxn>
              <a:cxn ang="0">
                <a:pos x="csX947" y="csY947"/>
              </a:cxn>
              <a:cxn ang="0">
                <a:pos x="csX948" y="csY948"/>
              </a:cxn>
              <a:cxn ang="0">
                <a:pos x="csX949" y="csY949"/>
              </a:cxn>
              <a:cxn ang="0">
                <a:pos x="csX950" y="csY950"/>
              </a:cxn>
              <a:cxn ang="0">
                <a:pos x="csX951" y="csY951"/>
              </a:cxn>
              <a:cxn ang="0">
                <a:pos x="csX952" y="csY952"/>
              </a:cxn>
              <a:cxn ang="0">
                <a:pos x="csX953" y="csY953"/>
              </a:cxn>
              <a:cxn ang="0">
                <a:pos x="csX954" y="csY954"/>
              </a:cxn>
              <a:cxn ang="0">
                <a:pos x="csX955" y="csY955"/>
              </a:cxn>
              <a:cxn ang="0">
                <a:pos x="csX956" y="csY956"/>
              </a:cxn>
              <a:cxn ang="0">
                <a:pos x="csX957" y="csY957"/>
              </a:cxn>
              <a:cxn ang="0">
                <a:pos x="csX958" y="csY958"/>
              </a:cxn>
              <a:cxn ang="0">
                <a:pos x="csX959" y="csY959"/>
              </a:cxn>
              <a:cxn ang="0">
                <a:pos x="csX960" y="csY960"/>
              </a:cxn>
              <a:cxn ang="0">
                <a:pos x="csX961" y="csY961"/>
              </a:cxn>
              <a:cxn ang="0">
                <a:pos x="csX962" y="csY962"/>
              </a:cxn>
              <a:cxn ang="0">
                <a:pos x="csX963" y="csY963"/>
              </a:cxn>
              <a:cxn ang="0">
                <a:pos x="csX964" y="csY964"/>
              </a:cxn>
              <a:cxn ang="0">
                <a:pos x="csX965" y="csY965"/>
              </a:cxn>
              <a:cxn ang="0">
                <a:pos x="csX966" y="csY966"/>
              </a:cxn>
              <a:cxn ang="0">
                <a:pos x="csX967" y="csY967"/>
              </a:cxn>
              <a:cxn ang="0">
                <a:pos x="csX968" y="csY968"/>
              </a:cxn>
              <a:cxn ang="0">
                <a:pos x="csX969" y="csY969"/>
              </a:cxn>
              <a:cxn ang="0">
                <a:pos x="csX970" y="csY970"/>
              </a:cxn>
              <a:cxn ang="0">
                <a:pos x="csX971" y="csY971"/>
              </a:cxn>
              <a:cxn ang="0">
                <a:pos x="csX972" y="csY972"/>
              </a:cxn>
              <a:cxn ang="0">
                <a:pos x="csX973" y="csY973"/>
              </a:cxn>
              <a:cxn ang="0">
                <a:pos x="csX974" y="csY974"/>
              </a:cxn>
              <a:cxn ang="0">
                <a:pos x="csX975" y="csY975"/>
              </a:cxn>
              <a:cxn ang="0">
                <a:pos x="csX976" y="csY976"/>
              </a:cxn>
              <a:cxn ang="0">
                <a:pos x="csX977" y="csY977"/>
              </a:cxn>
              <a:cxn ang="0">
                <a:pos x="csX978" y="csY978"/>
              </a:cxn>
              <a:cxn ang="0">
                <a:pos x="csX979" y="csY979"/>
              </a:cxn>
              <a:cxn ang="0">
                <a:pos x="csX980" y="csY980"/>
              </a:cxn>
              <a:cxn ang="0">
                <a:pos x="csX981" y="csY981"/>
              </a:cxn>
              <a:cxn ang="0">
                <a:pos x="csX982" y="csY982"/>
              </a:cxn>
              <a:cxn ang="0">
                <a:pos x="csX983" y="csY983"/>
              </a:cxn>
              <a:cxn ang="0">
                <a:pos x="csX984" y="csY984"/>
              </a:cxn>
              <a:cxn ang="0">
                <a:pos x="csX985" y="csY985"/>
              </a:cxn>
              <a:cxn ang="0">
                <a:pos x="csX986" y="csY986"/>
              </a:cxn>
              <a:cxn ang="0">
                <a:pos x="csX987" y="csY987"/>
              </a:cxn>
              <a:cxn ang="0">
                <a:pos x="csX988" y="csY988"/>
              </a:cxn>
              <a:cxn ang="0">
                <a:pos x="csX989" y="csY989"/>
              </a:cxn>
              <a:cxn ang="0">
                <a:pos x="csX990" y="csY990"/>
              </a:cxn>
              <a:cxn ang="0">
                <a:pos x="csX991" y="csY991"/>
              </a:cxn>
              <a:cxn ang="0">
                <a:pos x="csX992" y="csY992"/>
              </a:cxn>
              <a:cxn ang="0">
                <a:pos x="csX993" y="csY993"/>
              </a:cxn>
              <a:cxn ang="0">
                <a:pos x="csX994" y="csY994"/>
              </a:cxn>
              <a:cxn ang="0">
                <a:pos x="csX995" y="csY995"/>
              </a:cxn>
              <a:cxn ang="0">
                <a:pos x="csX996" y="csY996"/>
              </a:cxn>
              <a:cxn ang="0">
                <a:pos x="csX997" y="csY997"/>
              </a:cxn>
              <a:cxn ang="0">
                <a:pos x="csX998" y="csY998"/>
              </a:cxn>
              <a:cxn ang="0">
                <a:pos x="csX999" y="csY999"/>
              </a:cxn>
              <a:cxn ang="0">
                <a:pos x="csX1000" y="csY1000"/>
              </a:cxn>
              <a:cxn ang="0">
                <a:pos x="csX1001" y="csY1001"/>
              </a:cxn>
              <a:cxn ang="0">
                <a:pos x="csX1002" y="csY1002"/>
              </a:cxn>
              <a:cxn ang="0">
                <a:pos x="csX1003" y="csY1003"/>
              </a:cxn>
              <a:cxn ang="0">
                <a:pos x="csX1004" y="csY1004"/>
              </a:cxn>
              <a:cxn ang="0">
                <a:pos x="csX1005" y="csY1005"/>
              </a:cxn>
              <a:cxn ang="0">
                <a:pos x="csX1006" y="csY1006"/>
              </a:cxn>
              <a:cxn ang="0">
                <a:pos x="csX1007" y="csY1007"/>
              </a:cxn>
              <a:cxn ang="0">
                <a:pos x="csX1008" y="csY1008"/>
              </a:cxn>
              <a:cxn ang="0">
                <a:pos x="csX1009" y="csY1009"/>
              </a:cxn>
              <a:cxn ang="0">
                <a:pos x="csX1010" y="csY1010"/>
              </a:cxn>
              <a:cxn ang="0">
                <a:pos x="csX1011" y="csY1011"/>
              </a:cxn>
              <a:cxn ang="0">
                <a:pos x="csX1012" y="csY1012"/>
              </a:cxn>
              <a:cxn ang="0">
                <a:pos x="csX1013" y="csY1013"/>
              </a:cxn>
              <a:cxn ang="0">
                <a:pos x="csX1014" y="csY1014"/>
              </a:cxn>
              <a:cxn ang="0">
                <a:pos x="csX1015" y="csY1015"/>
              </a:cxn>
              <a:cxn ang="0">
                <a:pos x="csX1016" y="csY1016"/>
              </a:cxn>
              <a:cxn ang="0">
                <a:pos x="csX1017" y="csY1017"/>
              </a:cxn>
              <a:cxn ang="0">
                <a:pos x="csX1018" y="csY1018"/>
              </a:cxn>
              <a:cxn ang="0">
                <a:pos x="csX1019" y="csY1019"/>
              </a:cxn>
              <a:cxn ang="0">
                <a:pos x="csX1020" y="csY1020"/>
              </a:cxn>
              <a:cxn ang="0">
                <a:pos x="csX1021" y="csY1021"/>
              </a:cxn>
              <a:cxn ang="0">
                <a:pos x="csX1022" y="csY1022"/>
              </a:cxn>
              <a:cxn ang="0">
                <a:pos x="csX1023" y="csY1023"/>
              </a:cxn>
              <a:cxn ang="0">
                <a:pos x="csX1024" y="csY1024"/>
              </a:cxn>
              <a:cxn ang="0">
                <a:pos x="csX1025" y="csY1025"/>
              </a:cxn>
              <a:cxn ang="0">
                <a:pos x="csX1026" y="csY1026"/>
              </a:cxn>
              <a:cxn ang="0">
                <a:pos x="csX1027" y="csY1027"/>
              </a:cxn>
              <a:cxn ang="0">
                <a:pos x="csX1028" y="csY1028"/>
              </a:cxn>
              <a:cxn ang="0">
                <a:pos x="csX1029" y="csY1029"/>
              </a:cxn>
              <a:cxn ang="0">
                <a:pos x="csX1030" y="csY1030"/>
              </a:cxn>
              <a:cxn ang="0">
                <a:pos x="csX1031" y="csY1031"/>
              </a:cxn>
              <a:cxn ang="0">
                <a:pos x="csX1032" y="csY1032"/>
              </a:cxn>
              <a:cxn ang="0">
                <a:pos x="csX1033" y="csY1033"/>
              </a:cxn>
              <a:cxn ang="0">
                <a:pos x="csX1034" y="csY1034"/>
              </a:cxn>
              <a:cxn ang="0">
                <a:pos x="csX1035" y="csY1035"/>
              </a:cxn>
              <a:cxn ang="0">
                <a:pos x="csX1036" y="csY1036"/>
              </a:cxn>
              <a:cxn ang="0">
                <a:pos x="csX1037" y="csY1037"/>
              </a:cxn>
              <a:cxn ang="0">
                <a:pos x="csX1038" y="csY1038"/>
              </a:cxn>
              <a:cxn ang="0">
                <a:pos x="csX1039" y="csY1039"/>
              </a:cxn>
              <a:cxn ang="0">
                <a:pos x="csX1040" y="csY1040"/>
              </a:cxn>
              <a:cxn ang="0">
                <a:pos x="csX1041" y="csY1041"/>
              </a:cxn>
              <a:cxn ang="0">
                <a:pos x="csX1042" y="csY1042"/>
              </a:cxn>
              <a:cxn ang="0">
                <a:pos x="csX1043" y="csY1043"/>
              </a:cxn>
              <a:cxn ang="0">
                <a:pos x="csX1044" y="csY1044"/>
              </a:cxn>
              <a:cxn ang="0">
                <a:pos x="csX1045" y="csY1045"/>
              </a:cxn>
              <a:cxn ang="0">
                <a:pos x="csX1046" y="csY1046"/>
              </a:cxn>
              <a:cxn ang="0">
                <a:pos x="csX1047" y="csY1047"/>
              </a:cxn>
              <a:cxn ang="0">
                <a:pos x="csX1048" y="csY1048"/>
              </a:cxn>
              <a:cxn ang="0">
                <a:pos x="csX1049" y="csY1049"/>
              </a:cxn>
              <a:cxn ang="0">
                <a:pos x="csX1050" y="csY1050"/>
              </a:cxn>
              <a:cxn ang="0">
                <a:pos x="csX1051" y="csY1051"/>
              </a:cxn>
              <a:cxn ang="0">
                <a:pos x="csX1052" y="csY1052"/>
              </a:cxn>
              <a:cxn ang="0">
                <a:pos x="csX1053" y="csY1053"/>
              </a:cxn>
              <a:cxn ang="0">
                <a:pos x="csX1054" y="csY1054"/>
              </a:cxn>
            </a:cxnLst>
            <a:rect l="l" t="t" r="r" b="b"/>
            <a:pathLst>
              <a:path w="1609516" h="1538630">
                <a:moveTo>
                  <a:pt x="401579" y="1495809"/>
                </a:moveTo>
                <a:lnTo>
                  <a:pt x="400190" y="1496004"/>
                </a:lnTo>
                <a:lnTo>
                  <a:pt x="401224" y="1496470"/>
                </a:lnTo>
                <a:lnTo>
                  <a:pt x="401224" y="1498590"/>
                </a:lnTo>
                <a:lnTo>
                  <a:pt x="401579" y="1498628"/>
                </a:lnTo>
                <a:cubicBezTo>
                  <a:pt x="401579" y="1497698"/>
                  <a:pt x="401579" y="1496768"/>
                  <a:pt x="401579" y="1495809"/>
                </a:cubicBezTo>
                <a:close/>
                <a:moveTo>
                  <a:pt x="368755" y="1486512"/>
                </a:moveTo>
                <a:lnTo>
                  <a:pt x="364089" y="1487354"/>
                </a:lnTo>
                <a:lnTo>
                  <a:pt x="364089" y="1487908"/>
                </a:lnTo>
                <a:close/>
                <a:moveTo>
                  <a:pt x="1049801" y="1484562"/>
                </a:moveTo>
                <a:lnTo>
                  <a:pt x="1046735" y="1485945"/>
                </a:lnTo>
                <a:lnTo>
                  <a:pt x="1046955" y="1486045"/>
                </a:lnTo>
                <a:lnTo>
                  <a:pt x="1049801" y="1485188"/>
                </a:lnTo>
                <a:close/>
                <a:moveTo>
                  <a:pt x="351234" y="1444508"/>
                </a:moveTo>
                <a:lnTo>
                  <a:pt x="351234" y="1444997"/>
                </a:lnTo>
                <a:lnTo>
                  <a:pt x="351592" y="1445078"/>
                </a:lnTo>
                <a:close/>
                <a:moveTo>
                  <a:pt x="351908" y="1431206"/>
                </a:moveTo>
                <a:lnTo>
                  <a:pt x="351234" y="1431611"/>
                </a:lnTo>
                <a:lnTo>
                  <a:pt x="351234" y="1432274"/>
                </a:lnTo>
                <a:close/>
                <a:moveTo>
                  <a:pt x="358162" y="1421494"/>
                </a:moveTo>
                <a:lnTo>
                  <a:pt x="355921" y="1423156"/>
                </a:lnTo>
                <a:lnTo>
                  <a:pt x="355921" y="1423548"/>
                </a:lnTo>
                <a:close/>
                <a:moveTo>
                  <a:pt x="376098" y="1408347"/>
                </a:moveTo>
                <a:lnTo>
                  <a:pt x="370750" y="1412245"/>
                </a:lnTo>
                <a:lnTo>
                  <a:pt x="375023" y="1411256"/>
                </a:lnTo>
                <a:close/>
                <a:moveTo>
                  <a:pt x="421956" y="1365623"/>
                </a:moveTo>
                <a:lnTo>
                  <a:pt x="421765" y="1366161"/>
                </a:lnTo>
                <a:lnTo>
                  <a:pt x="421887" y="1366161"/>
                </a:lnTo>
                <a:close/>
                <a:moveTo>
                  <a:pt x="754553" y="1360575"/>
                </a:moveTo>
                <a:lnTo>
                  <a:pt x="754089" y="1361433"/>
                </a:lnTo>
                <a:lnTo>
                  <a:pt x="754431" y="1361125"/>
                </a:lnTo>
                <a:close/>
                <a:moveTo>
                  <a:pt x="1277973" y="1332923"/>
                </a:moveTo>
                <a:lnTo>
                  <a:pt x="1277944" y="1332936"/>
                </a:lnTo>
                <a:lnTo>
                  <a:pt x="1277949" y="1333139"/>
                </a:lnTo>
                <a:close/>
                <a:moveTo>
                  <a:pt x="1268556" y="1321066"/>
                </a:moveTo>
                <a:cubicBezTo>
                  <a:pt x="1268556" y="1322461"/>
                  <a:pt x="1268556" y="1323856"/>
                  <a:pt x="1268556" y="1325294"/>
                </a:cubicBezTo>
                <a:cubicBezTo>
                  <a:pt x="1267525" y="1325294"/>
                  <a:pt x="1266495" y="1325294"/>
                  <a:pt x="1265432" y="1325294"/>
                </a:cubicBezTo>
                <a:cubicBezTo>
                  <a:pt x="1265432" y="1330409"/>
                  <a:pt x="1265432" y="1335525"/>
                  <a:pt x="1265432" y="1340795"/>
                </a:cubicBezTo>
                <a:lnTo>
                  <a:pt x="1265476" y="1340714"/>
                </a:lnTo>
                <a:lnTo>
                  <a:pt x="1265476" y="1325877"/>
                </a:lnTo>
                <a:cubicBezTo>
                  <a:pt x="1266507" y="1325877"/>
                  <a:pt x="1267538" y="1325877"/>
                  <a:pt x="1268600" y="1325877"/>
                </a:cubicBezTo>
                <a:cubicBezTo>
                  <a:pt x="1268600" y="1324482"/>
                  <a:pt x="1268600" y="1323086"/>
                  <a:pt x="1268600" y="1321649"/>
                </a:cubicBezTo>
                <a:cubicBezTo>
                  <a:pt x="1270147" y="1321649"/>
                  <a:pt x="1271693" y="1321649"/>
                  <a:pt x="1273286" y="1321649"/>
                </a:cubicBezTo>
                <a:lnTo>
                  <a:pt x="1273227" y="1321066"/>
                </a:lnTo>
                <a:close/>
                <a:moveTo>
                  <a:pt x="827891" y="1291474"/>
                </a:moveTo>
                <a:lnTo>
                  <a:pt x="822601" y="1291544"/>
                </a:lnTo>
                <a:lnTo>
                  <a:pt x="818272" y="1292220"/>
                </a:lnTo>
                <a:lnTo>
                  <a:pt x="827891" y="1292047"/>
                </a:lnTo>
                <a:close/>
                <a:moveTo>
                  <a:pt x="856397" y="1288691"/>
                </a:moveTo>
                <a:lnTo>
                  <a:pt x="865903" y="1290590"/>
                </a:lnTo>
                <a:lnTo>
                  <a:pt x="859999" y="1288752"/>
                </a:lnTo>
                <a:close/>
                <a:moveTo>
                  <a:pt x="834694" y="1288572"/>
                </a:moveTo>
                <a:lnTo>
                  <a:pt x="828038" y="1288654"/>
                </a:lnTo>
                <a:lnTo>
                  <a:pt x="828038" y="1289214"/>
                </a:lnTo>
                <a:close/>
                <a:moveTo>
                  <a:pt x="229746" y="1191418"/>
                </a:moveTo>
                <a:lnTo>
                  <a:pt x="227402" y="1191947"/>
                </a:lnTo>
                <a:lnTo>
                  <a:pt x="229315" y="1191947"/>
                </a:lnTo>
                <a:cubicBezTo>
                  <a:pt x="229315" y="1192877"/>
                  <a:pt x="229315" y="1193807"/>
                  <a:pt x="229315" y="1194765"/>
                </a:cubicBezTo>
                <a:lnTo>
                  <a:pt x="231321" y="1194765"/>
                </a:lnTo>
                <a:lnTo>
                  <a:pt x="229746" y="1194236"/>
                </a:lnTo>
                <a:cubicBezTo>
                  <a:pt x="229746" y="1193306"/>
                  <a:pt x="229746" y="1192376"/>
                  <a:pt x="229746" y="1191418"/>
                </a:cubicBezTo>
                <a:close/>
                <a:moveTo>
                  <a:pt x="215687" y="1187190"/>
                </a:moveTo>
                <a:lnTo>
                  <a:pt x="215198" y="1187720"/>
                </a:lnTo>
                <a:lnTo>
                  <a:pt x="215256" y="1187720"/>
                </a:lnTo>
                <a:cubicBezTo>
                  <a:pt x="215256" y="1189115"/>
                  <a:pt x="215256" y="1190510"/>
                  <a:pt x="215256" y="1191947"/>
                </a:cubicBezTo>
                <a:lnTo>
                  <a:pt x="222721" y="1191947"/>
                </a:lnTo>
                <a:lnTo>
                  <a:pt x="215687" y="1191418"/>
                </a:lnTo>
                <a:cubicBezTo>
                  <a:pt x="215687" y="1190023"/>
                  <a:pt x="215687" y="1188628"/>
                  <a:pt x="215687" y="1187190"/>
                </a:cubicBezTo>
                <a:close/>
                <a:moveTo>
                  <a:pt x="1279678" y="1082356"/>
                </a:moveTo>
                <a:lnTo>
                  <a:pt x="1271680" y="1084589"/>
                </a:lnTo>
                <a:lnTo>
                  <a:pt x="1282181" y="1082544"/>
                </a:lnTo>
                <a:close/>
                <a:moveTo>
                  <a:pt x="117703" y="941507"/>
                </a:moveTo>
                <a:lnTo>
                  <a:pt x="112587" y="941985"/>
                </a:lnTo>
                <a:lnTo>
                  <a:pt x="112565" y="942333"/>
                </a:lnTo>
                <a:lnTo>
                  <a:pt x="115665" y="941837"/>
                </a:lnTo>
                <a:close/>
                <a:moveTo>
                  <a:pt x="144268" y="939395"/>
                </a:moveTo>
                <a:lnTo>
                  <a:pt x="143354" y="939580"/>
                </a:lnTo>
                <a:lnTo>
                  <a:pt x="144077" y="939739"/>
                </a:lnTo>
                <a:close/>
                <a:moveTo>
                  <a:pt x="162575" y="933530"/>
                </a:moveTo>
                <a:lnTo>
                  <a:pt x="161704" y="935101"/>
                </a:lnTo>
                <a:lnTo>
                  <a:pt x="170045" y="933585"/>
                </a:lnTo>
                <a:close/>
                <a:moveTo>
                  <a:pt x="1321645" y="918415"/>
                </a:moveTo>
                <a:lnTo>
                  <a:pt x="1321534" y="920177"/>
                </a:lnTo>
                <a:lnTo>
                  <a:pt x="1321740" y="918415"/>
                </a:lnTo>
                <a:close/>
                <a:moveTo>
                  <a:pt x="1319333" y="915183"/>
                </a:moveTo>
                <a:lnTo>
                  <a:pt x="1318544" y="918029"/>
                </a:lnTo>
                <a:lnTo>
                  <a:pt x="1318702" y="918029"/>
                </a:lnTo>
                <a:close/>
                <a:moveTo>
                  <a:pt x="1326355" y="907109"/>
                </a:moveTo>
                <a:lnTo>
                  <a:pt x="1326355" y="910983"/>
                </a:lnTo>
                <a:lnTo>
                  <a:pt x="1325831" y="911101"/>
                </a:lnTo>
                <a:lnTo>
                  <a:pt x="1326426" y="911369"/>
                </a:lnTo>
                <a:cubicBezTo>
                  <a:pt x="1326426" y="909974"/>
                  <a:pt x="1326426" y="908579"/>
                  <a:pt x="1326426" y="907141"/>
                </a:cubicBezTo>
                <a:close/>
                <a:moveTo>
                  <a:pt x="1328144" y="892192"/>
                </a:moveTo>
                <a:lnTo>
                  <a:pt x="1327667" y="893446"/>
                </a:lnTo>
                <a:lnTo>
                  <a:pt x="1327989" y="893049"/>
                </a:lnTo>
                <a:close/>
                <a:moveTo>
                  <a:pt x="49605" y="887420"/>
                </a:moveTo>
                <a:lnTo>
                  <a:pt x="48549" y="891229"/>
                </a:lnTo>
                <a:lnTo>
                  <a:pt x="49956" y="887420"/>
                </a:lnTo>
                <a:close/>
                <a:moveTo>
                  <a:pt x="1332266" y="883369"/>
                </a:moveTo>
                <a:lnTo>
                  <a:pt x="1329479" y="884207"/>
                </a:lnTo>
                <a:lnTo>
                  <a:pt x="1329509" y="884816"/>
                </a:lnTo>
                <a:lnTo>
                  <a:pt x="1329551" y="884594"/>
                </a:lnTo>
                <a:close/>
                <a:moveTo>
                  <a:pt x="1555987" y="821766"/>
                </a:moveTo>
                <a:lnTo>
                  <a:pt x="1555987" y="822201"/>
                </a:lnTo>
                <a:lnTo>
                  <a:pt x="1556081" y="822189"/>
                </a:lnTo>
                <a:close/>
                <a:moveTo>
                  <a:pt x="1565360" y="810928"/>
                </a:moveTo>
                <a:lnTo>
                  <a:pt x="1564871" y="811809"/>
                </a:lnTo>
                <a:lnTo>
                  <a:pt x="1567314" y="810928"/>
                </a:lnTo>
                <a:close/>
                <a:moveTo>
                  <a:pt x="1563797" y="810928"/>
                </a:moveTo>
                <a:lnTo>
                  <a:pt x="1556762" y="814736"/>
                </a:lnTo>
                <a:lnTo>
                  <a:pt x="1563797" y="812197"/>
                </a:lnTo>
                <a:close/>
                <a:moveTo>
                  <a:pt x="265833" y="806020"/>
                </a:moveTo>
                <a:lnTo>
                  <a:pt x="263704" y="809861"/>
                </a:lnTo>
                <a:lnTo>
                  <a:pt x="263704" y="816750"/>
                </a:lnTo>
                <a:lnTo>
                  <a:pt x="264113" y="816565"/>
                </a:lnTo>
                <a:cubicBezTo>
                  <a:pt x="264048" y="815315"/>
                  <a:pt x="263984" y="814065"/>
                  <a:pt x="263918" y="812777"/>
                </a:cubicBezTo>
                <a:close/>
                <a:moveTo>
                  <a:pt x="263774" y="779374"/>
                </a:moveTo>
                <a:lnTo>
                  <a:pt x="263704" y="783086"/>
                </a:lnTo>
                <a:cubicBezTo>
                  <a:pt x="263961" y="783987"/>
                  <a:pt x="264219" y="784888"/>
                  <a:pt x="264484" y="785816"/>
                </a:cubicBezTo>
                <a:cubicBezTo>
                  <a:pt x="265299" y="788846"/>
                  <a:pt x="265316" y="791337"/>
                  <a:pt x="265265" y="794448"/>
                </a:cubicBezTo>
                <a:cubicBezTo>
                  <a:pt x="265103" y="797155"/>
                  <a:pt x="265022" y="798508"/>
                  <a:pt x="265217" y="799730"/>
                </a:cubicBezTo>
                <a:lnTo>
                  <a:pt x="266556" y="803466"/>
                </a:lnTo>
                <a:lnTo>
                  <a:pt x="267237" y="801063"/>
                </a:lnTo>
                <a:cubicBezTo>
                  <a:pt x="266721" y="800598"/>
                  <a:pt x="266206" y="800133"/>
                  <a:pt x="265675" y="799654"/>
                </a:cubicBezTo>
                <a:cubicBezTo>
                  <a:pt x="265601" y="797718"/>
                  <a:pt x="265617" y="795778"/>
                  <a:pt x="265675" y="793841"/>
                </a:cubicBezTo>
                <a:close/>
                <a:moveTo>
                  <a:pt x="260988" y="770061"/>
                </a:moveTo>
                <a:lnTo>
                  <a:pt x="260988" y="771364"/>
                </a:lnTo>
                <a:lnTo>
                  <a:pt x="263497" y="777263"/>
                </a:lnTo>
                <a:lnTo>
                  <a:pt x="262551" y="770061"/>
                </a:lnTo>
                <a:cubicBezTo>
                  <a:pt x="262035" y="770061"/>
                  <a:pt x="261520" y="770061"/>
                  <a:pt x="260988" y="770061"/>
                </a:cubicBezTo>
                <a:close/>
                <a:moveTo>
                  <a:pt x="157888" y="651686"/>
                </a:moveTo>
                <a:lnTo>
                  <a:pt x="157415" y="651764"/>
                </a:lnTo>
                <a:lnTo>
                  <a:pt x="160373" y="652274"/>
                </a:lnTo>
                <a:close/>
                <a:moveTo>
                  <a:pt x="267237" y="426537"/>
                </a:moveTo>
                <a:lnTo>
                  <a:pt x="267237" y="427619"/>
                </a:lnTo>
                <a:cubicBezTo>
                  <a:pt x="268274" y="427791"/>
                  <a:pt x="269311" y="427961"/>
                  <a:pt x="270380" y="428137"/>
                </a:cubicBezTo>
                <a:lnTo>
                  <a:pt x="273548" y="428680"/>
                </a:lnTo>
                <a:close/>
                <a:moveTo>
                  <a:pt x="37605" y="359270"/>
                </a:moveTo>
                <a:lnTo>
                  <a:pt x="37103" y="361533"/>
                </a:lnTo>
                <a:lnTo>
                  <a:pt x="37605" y="361382"/>
                </a:lnTo>
                <a:close/>
                <a:moveTo>
                  <a:pt x="52477" y="337570"/>
                </a:moveTo>
                <a:lnTo>
                  <a:pt x="47288" y="342340"/>
                </a:lnTo>
                <a:lnTo>
                  <a:pt x="45805" y="345093"/>
                </a:lnTo>
                <a:close/>
                <a:moveTo>
                  <a:pt x="104291" y="336166"/>
                </a:moveTo>
                <a:lnTo>
                  <a:pt x="103776" y="337559"/>
                </a:lnTo>
                <a:lnTo>
                  <a:pt x="108925" y="336166"/>
                </a:lnTo>
                <a:close/>
                <a:moveTo>
                  <a:pt x="1309237" y="322954"/>
                </a:moveTo>
                <a:lnTo>
                  <a:pt x="1309180" y="330559"/>
                </a:lnTo>
                <a:lnTo>
                  <a:pt x="1309237" y="330520"/>
                </a:lnTo>
                <a:close/>
                <a:moveTo>
                  <a:pt x="1308964" y="317715"/>
                </a:moveTo>
                <a:lnTo>
                  <a:pt x="1309237" y="318569"/>
                </a:lnTo>
                <a:lnTo>
                  <a:pt x="1309237" y="317838"/>
                </a:lnTo>
                <a:close/>
                <a:moveTo>
                  <a:pt x="1310087" y="313153"/>
                </a:moveTo>
                <a:lnTo>
                  <a:pt x="1307609" y="313473"/>
                </a:lnTo>
                <a:lnTo>
                  <a:pt x="1308045" y="314836"/>
                </a:lnTo>
                <a:close/>
                <a:moveTo>
                  <a:pt x="1318544" y="312064"/>
                </a:moveTo>
                <a:lnTo>
                  <a:pt x="1316298" y="312353"/>
                </a:lnTo>
                <a:lnTo>
                  <a:pt x="1318544" y="312205"/>
                </a:lnTo>
                <a:close/>
                <a:moveTo>
                  <a:pt x="1084622" y="267674"/>
                </a:moveTo>
                <a:lnTo>
                  <a:pt x="1084227" y="268378"/>
                </a:lnTo>
                <a:cubicBezTo>
                  <a:pt x="1082679" y="268378"/>
                  <a:pt x="1081133" y="268378"/>
                  <a:pt x="1079540" y="268378"/>
                </a:cubicBezTo>
                <a:lnTo>
                  <a:pt x="1079603" y="268477"/>
                </a:lnTo>
                <a:lnTo>
                  <a:pt x="1084192" y="268477"/>
                </a:lnTo>
                <a:close/>
                <a:moveTo>
                  <a:pt x="956410" y="266968"/>
                </a:moveTo>
                <a:lnTo>
                  <a:pt x="957576" y="267083"/>
                </a:lnTo>
                <a:lnTo>
                  <a:pt x="957576" y="269776"/>
                </a:lnTo>
                <a:lnTo>
                  <a:pt x="957694" y="269787"/>
                </a:lnTo>
                <a:cubicBezTo>
                  <a:pt x="957694" y="268857"/>
                  <a:pt x="957694" y="267927"/>
                  <a:pt x="957694" y="266968"/>
                </a:cubicBezTo>
                <a:close/>
                <a:moveTo>
                  <a:pt x="1089372" y="259220"/>
                </a:moveTo>
                <a:lnTo>
                  <a:pt x="1085856" y="265479"/>
                </a:lnTo>
                <a:lnTo>
                  <a:pt x="1088878" y="261431"/>
                </a:lnTo>
                <a:close/>
                <a:moveTo>
                  <a:pt x="1018517" y="223356"/>
                </a:moveTo>
                <a:lnTo>
                  <a:pt x="1013866" y="226190"/>
                </a:lnTo>
                <a:lnTo>
                  <a:pt x="1013024" y="227709"/>
                </a:lnTo>
                <a:lnTo>
                  <a:pt x="1017055" y="224692"/>
                </a:lnTo>
                <a:close/>
                <a:moveTo>
                  <a:pt x="850645" y="220099"/>
                </a:moveTo>
                <a:lnTo>
                  <a:pt x="850897" y="221488"/>
                </a:lnTo>
                <a:cubicBezTo>
                  <a:pt x="851086" y="222545"/>
                  <a:pt x="851275" y="223602"/>
                  <a:pt x="851470" y="224692"/>
                </a:cubicBezTo>
                <a:lnTo>
                  <a:pt x="852860" y="224692"/>
                </a:lnTo>
                <a:close/>
                <a:moveTo>
                  <a:pt x="1155019" y="35"/>
                </a:moveTo>
                <a:cubicBezTo>
                  <a:pt x="1161775" y="275"/>
                  <a:pt x="1168415" y="1783"/>
                  <a:pt x="1174829" y="4853"/>
                </a:cubicBezTo>
                <a:cubicBezTo>
                  <a:pt x="1176343" y="5231"/>
                  <a:pt x="1177858" y="5609"/>
                  <a:pt x="1179418" y="5998"/>
                </a:cubicBezTo>
                <a:cubicBezTo>
                  <a:pt x="1189392" y="9487"/>
                  <a:pt x="1196322" y="14392"/>
                  <a:pt x="1201385" y="22997"/>
                </a:cubicBezTo>
                <a:cubicBezTo>
                  <a:pt x="1206849" y="35244"/>
                  <a:pt x="1206940" y="49865"/>
                  <a:pt x="1201678" y="62191"/>
                </a:cubicBezTo>
                <a:cubicBezTo>
                  <a:pt x="1200594" y="64241"/>
                  <a:pt x="1199461" y="66271"/>
                  <a:pt x="1198261" y="68268"/>
                </a:cubicBezTo>
                <a:cubicBezTo>
                  <a:pt x="1197423" y="69721"/>
                  <a:pt x="1196586" y="71175"/>
                  <a:pt x="1195723" y="72672"/>
                </a:cubicBezTo>
                <a:cubicBezTo>
                  <a:pt x="1194659" y="73980"/>
                  <a:pt x="1194659" y="73980"/>
                  <a:pt x="1193575" y="75314"/>
                </a:cubicBezTo>
                <a:cubicBezTo>
                  <a:pt x="1192544" y="75314"/>
                  <a:pt x="1191512" y="75314"/>
                  <a:pt x="1190450" y="75314"/>
                </a:cubicBezTo>
                <a:cubicBezTo>
                  <a:pt x="1190128" y="76651"/>
                  <a:pt x="1189806" y="77988"/>
                  <a:pt x="1189474" y="79366"/>
                </a:cubicBezTo>
                <a:cubicBezTo>
                  <a:pt x="1187326" y="83769"/>
                  <a:pt x="1187326" y="83769"/>
                  <a:pt x="1182445" y="85707"/>
                </a:cubicBezTo>
                <a:cubicBezTo>
                  <a:pt x="1180962" y="85998"/>
                  <a:pt x="1179480" y="86289"/>
                  <a:pt x="1177953" y="86588"/>
                </a:cubicBezTo>
                <a:cubicBezTo>
                  <a:pt x="1177953" y="87518"/>
                  <a:pt x="1177953" y="88448"/>
                  <a:pt x="1177953" y="89406"/>
                </a:cubicBezTo>
                <a:cubicBezTo>
                  <a:pt x="1175369" y="91088"/>
                  <a:pt x="1172720" y="92688"/>
                  <a:pt x="1170045" y="94251"/>
                </a:cubicBezTo>
                <a:cubicBezTo>
                  <a:pt x="1154651" y="104199"/>
                  <a:pt x="1148918" y="116979"/>
                  <a:pt x="1143806" y="132828"/>
                </a:cubicBezTo>
                <a:cubicBezTo>
                  <a:pt x="1142095" y="137144"/>
                  <a:pt x="1140989" y="138617"/>
                  <a:pt x="1137338" y="141548"/>
                </a:cubicBezTo>
                <a:cubicBezTo>
                  <a:pt x="1136166" y="144148"/>
                  <a:pt x="1134992" y="146751"/>
                  <a:pt x="1133970" y="149403"/>
                </a:cubicBezTo>
                <a:cubicBezTo>
                  <a:pt x="1132069" y="154334"/>
                  <a:pt x="1130006" y="159210"/>
                  <a:pt x="1127965" y="164095"/>
                </a:cubicBezTo>
                <a:cubicBezTo>
                  <a:pt x="1126897" y="166664"/>
                  <a:pt x="1125830" y="169233"/>
                  <a:pt x="1124762" y="171802"/>
                </a:cubicBezTo>
                <a:cubicBezTo>
                  <a:pt x="1122961" y="176134"/>
                  <a:pt x="1121160" y="180466"/>
                  <a:pt x="1119359" y="184798"/>
                </a:cubicBezTo>
                <a:cubicBezTo>
                  <a:pt x="1116567" y="191508"/>
                  <a:pt x="1113778" y="198220"/>
                  <a:pt x="1111014" y="204941"/>
                </a:cubicBezTo>
                <a:cubicBezTo>
                  <a:pt x="1110590" y="205970"/>
                  <a:pt x="1110165" y="206999"/>
                  <a:pt x="1109729" y="208059"/>
                </a:cubicBezTo>
                <a:cubicBezTo>
                  <a:pt x="1108615" y="210762"/>
                  <a:pt x="1107505" y="213466"/>
                  <a:pt x="1106395" y="216170"/>
                </a:cubicBezTo>
                <a:cubicBezTo>
                  <a:pt x="1104320" y="220956"/>
                  <a:pt x="1103283" y="223349"/>
                  <a:pt x="1102147" y="224810"/>
                </a:cubicBezTo>
                <a:lnTo>
                  <a:pt x="1098261" y="227262"/>
                </a:lnTo>
                <a:lnTo>
                  <a:pt x="1098367" y="238475"/>
                </a:lnTo>
                <a:cubicBezTo>
                  <a:pt x="1098025" y="239757"/>
                  <a:pt x="1097684" y="241038"/>
                  <a:pt x="1097331" y="242358"/>
                </a:cubicBezTo>
                <a:cubicBezTo>
                  <a:pt x="1096958" y="243711"/>
                  <a:pt x="1096585" y="245064"/>
                  <a:pt x="1096201" y="246458"/>
                </a:cubicBezTo>
                <a:cubicBezTo>
                  <a:pt x="1093302" y="257363"/>
                  <a:pt x="1090901" y="268062"/>
                  <a:pt x="1089440" y="279206"/>
                </a:cubicBezTo>
                <a:cubicBezTo>
                  <a:pt x="1088878" y="282569"/>
                  <a:pt x="1088878" y="282569"/>
                  <a:pt x="1087316" y="283978"/>
                </a:cubicBezTo>
                <a:cubicBezTo>
                  <a:pt x="1087070" y="286587"/>
                  <a:pt x="1086924" y="289205"/>
                  <a:pt x="1086822" y="291822"/>
                </a:cubicBezTo>
                <a:cubicBezTo>
                  <a:pt x="1086756" y="293408"/>
                  <a:pt x="1086691" y="294993"/>
                  <a:pt x="1086623" y="296625"/>
                </a:cubicBezTo>
                <a:cubicBezTo>
                  <a:pt x="1086562" y="298294"/>
                  <a:pt x="1086501" y="299962"/>
                  <a:pt x="1086437" y="301681"/>
                </a:cubicBezTo>
                <a:cubicBezTo>
                  <a:pt x="1086336" y="304192"/>
                  <a:pt x="1086336" y="304192"/>
                  <a:pt x="1086233" y="306754"/>
                </a:cubicBezTo>
                <a:lnTo>
                  <a:pt x="1086007" y="312619"/>
                </a:lnTo>
                <a:lnTo>
                  <a:pt x="1087470" y="320554"/>
                </a:lnTo>
                <a:cubicBezTo>
                  <a:pt x="1089648" y="325409"/>
                  <a:pt x="1093111" y="329799"/>
                  <a:pt x="1098285" y="334611"/>
                </a:cubicBezTo>
                <a:cubicBezTo>
                  <a:pt x="1100424" y="336130"/>
                  <a:pt x="1100424" y="336130"/>
                  <a:pt x="1102607" y="337679"/>
                </a:cubicBezTo>
                <a:cubicBezTo>
                  <a:pt x="1104334" y="338951"/>
                  <a:pt x="1104334" y="338951"/>
                  <a:pt x="1106095" y="340248"/>
                </a:cubicBezTo>
                <a:cubicBezTo>
                  <a:pt x="1106095" y="341178"/>
                  <a:pt x="1106095" y="342108"/>
                  <a:pt x="1106095" y="343066"/>
                </a:cubicBezTo>
                <a:cubicBezTo>
                  <a:pt x="1107127" y="343183"/>
                  <a:pt x="1108158" y="343299"/>
                  <a:pt x="1109220" y="343419"/>
                </a:cubicBezTo>
                <a:cubicBezTo>
                  <a:pt x="1115473" y="344829"/>
                  <a:pt x="1120724" y="347416"/>
                  <a:pt x="1126403" y="350112"/>
                </a:cubicBezTo>
                <a:cubicBezTo>
                  <a:pt x="1128207" y="350926"/>
                  <a:pt x="1130012" y="351740"/>
                  <a:pt x="1131871" y="352579"/>
                </a:cubicBezTo>
                <a:cubicBezTo>
                  <a:pt x="1133159" y="353160"/>
                  <a:pt x="1134448" y="353741"/>
                  <a:pt x="1135776" y="354340"/>
                </a:cubicBezTo>
                <a:cubicBezTo>
                  <a:pt x="1135776" y="355270"/>
                  <a:pt x="1135776" y="356200"/>
                  <a:pt x="1135776" y="357158"/>
                </a:cubicBezTo>
                <a:cubicBezTo>
                  <a:pt x="1148107" y="360029"/>
                  <a:pt x="1158679" y="359101"/>
                  <a:pt x="1170143" y="354340"/>
                </a:cubicBezTo>
                <a:cubicBezTo>
                  <a:pt x="1172366" y="353468"/>
                  <a:pt x="1172366" y="353468"/>
                  <a:pt x="1174634" y="352579"/>
                </a:cubicBezTo>
                <a:cubicBezTo>
                  <a:pt x="1180354" y="349689"/>
                  <a:pt x="1185568" y="346355"/>
                  <a:pt x="1190890" y="342907"/>
                </a:cubicBezTo>
                <a:cubicBezTo>
                  <a:pt x="1195169" y="340228"/>
                  <a:pt x="1199557" y="337821"/>
                  <a:pt x="1204021" y="335404"/>
                </a:cubicBezTo>
                <a:cubicBezTo>
                  <a:pt x="1211989" y="330886"/>
                  <a:pt x="1217509" y="325766"/>
                  <a:pt x="1223255" y="319110"/>
                </a:cubicBezTo>
                <a:cubicBezTo>
                  <a:pt x="1224447" y="317947"/>
                  <a:pt x="1225639" y="316784"/>
                  <a:pt x="1226868" y="315587"/>
                </a:cubicBezTo>
                <a:cubicBezTo>
                  <a:pt x="1229855" y="311593"/>
                  <a:pt x="1230852" y="308240"/>
                  <a:pt x="1231859" y="303559"/>
                </a:cubicBezTo>
                <a:cubicBezTo>
                  <a:pt x="1232628" y="300790"/>
                  <a:pt x="1232628" y="300790"/>
                  <a:pt x="1234178" y="298059"/>
                </a:cubicBezTo>
                <a:cubicBezTo>
                  <a:pt x="1235964" y="294761"/>
                  <a:pt x="1236623" y="291807"/>
                  <a:pt x="1237314" y="288195"/>
                </a:cubicBezTo>
                <a:cubicBezTo>
                  <a:pt x="1239360" y="278571"/>
                  <a:pt x="1242414" y="272733"/>
                  <a:pt x="1249811" y="265559"/>
                </a:cubicBezTo>
                <a:cubicBezTo>
                  <a:pt x="1250842" y="265559"/>
                  <a:pt x="1251873" y="265559"/>
                  <a:pt x="1252935" y="265559"/>
                </a:cubicBezTo>
                <a:cubicBezTo>
                  <a:pt x="1252935" y="264629"/>
                  <a:pt x="1252935" y="263699"/>
                  <a:pt x="1252935" y="262741"/>
                </a:cubicBezTo>
                <a:cubicBezTo>
                  <a:pt x="1265591" y="253427"/>
                  <a:pt x="1280762" y="251648"/>
                  <a:pt x="1296675" y="252876"/>
                </a:cubicBezTo>
                <a:cubicBezTo>
                  <a:pt x="1300535" y="253563"/>
                  <a:pt x="1303901" y="254478"/>
                  <a:pt x="1307609" y="255695"/>
                </a:cubicBezTo>
                <a:cubicBezTo>
                  <a:pt x="1307609" y="256625"/>
                  <a:pt x="1307609" y="257555"/>
                  <a:pt x="1307609" y="258513"/>
                </a:cubicBezTo>
                <a:cubicBezTo>
                  <a:pt x="1309021" y="258619"/>
                  <a:pt x="1310432" y="258723"/>
                  <a:pt x="1311887" y="258832"/>
                </a:cubicBezTo>
                <a:cubicBezTo>
                  <a:pt x="1319573" y="260476"/>
                  <a:pt x="1322149" y="264416"/>
                  <a:pt x="1326715" y="269969"/>
                </a:cubicBezTo>
                <a:cubicBezTo>
                  <a:pt x="1334402" y="281220"/>
                  <a:pt x="1336114" y="294839"/>
                  <a:pt x="1334165" y="307836"/>
                </a:cubicBezTo>
                <a:cubicBezTo>
                  <a:pt x="1332176" y="311898"/>
                  <a:pt x="1332176" y="311898"/>
                  <a:pt x="1329479" y="314882"/>
                </a:cubicBezTo>
                <a:cubicBezTo>
                  <a:pt x="1327417" y="314882"/>
                  <a:pt x="1325355" y="314882"/>
                  <a:pt x="1323231" y="314882"/>
                </a:cubicBezTo>
                <a:cubicBezTo>
                  <a:pt x="1323231" y="315812"/>
                  <a:pt x="1323231" y="316742"/>
                  <a:pt x="1323231" y="317700"/>
                </a:cubicBezTo>
                <a:lnTo>
                  <a:pt x="1322774" y="317838"/>
                </a:lnTo>
                <a:lnTo>
                  <a:pt x="1323295" y="317838"/>
                </a:lnTo>
                <a:cubicBezTo>
                  <a:pt x="1323295" y="316907"/>
                  <a:pt x="1323295" y="315977"/>
                  <a:pt x="1323295" y="315019"/>
                </a:cubicBezTo>
                <a:cubicBezTo>
                  <a:pt x="1324842" y="315019"/>
                  <a:pt x="1326388" y="315019"/>
                  <a:pt x="1327982" y="315019"/>
                </a:cubicBezTo>
                <a:cubicBezTo>
                  <a:pt x="1325845" y="321328"/>
                  <a:pt x="1322753" y="323742"/>
                  <a:pt x="1317047" y="327702"/>
                </a:cubicBezTo>
                <a:cubicBezTo>
                  <a:pt x="1316531" y="329097"/>
                  <a:pt x="1316016" y="330492"/>
                  <a:pt x="1315484" y="331930"/>
                </a:cubicBezTo>
                <a:cubicBezTo>
                  <a:pt x="1312599" y="332959"/>
                  <a:pt x="1312599" y="332959"/>
                  <a:pt x="1309139" y="333603"/>
                </a:cubicBezTo>
                <a:cubicBezTo>
                  <a:pt x="1307993" y="333827"/>
                  <a:pt x="1306847" y="334050"/>
                  <a:pt x="1305666" y="334280"/>
                </a:cubicBezTo>
                <a:cubicBezTo>
                  <a:pt x="1304783" y="334434"/>
                  <a:pt x="1303899" y="334589"/>
                  <a:pt x="1302988" y="334748"/>
                </a:cubicBezTo>
                <a:lnTo>
                  <a:pt x="1305905" y="332775"/>
                </a:lnTo>
                <a:lnTo>
                  <a:pt x="1304485" y="333202"/>
                </a:lnTo>
                <a:cubicBezTo>
                  <a:pt x="1302987" y="334640"/>
                  <a:pt x="1302987" y="334640"/>
                  <a:pt x="1301459" y="336108"/>
                </a:cubicBezTo>
                <a:cubicBezTo>
                  <a:pt x="1298237" y="338839"/>
                  <a:pt x="1298237" y="338839"/>
                  <a:pt x="1291989" y="338839"/>
                </a:cubicBezTo>
                <a:cubicBezTo>
                  <a:pt x="1291473" y="340234"/>
                  <a:pt x="1290957" y="341629"/>
                  <a:pt x="1290426" y="343066"/>
                </a:cubicBezTo>
                <a:cubicBezTo>
                  <a:pt x="1288879" y="343415"/>
                  <a:pt x="1287333" y="343764"/>
                  <a:pt x="1285740" y="344123"/>
                </a:cubicBezTo>
                <a:cubicBezTo>
                  <a:pt x="1266905" y="348491"/>
                  <a:pt x="1249005" y="369098"/>
                  <a:pt x="1237314" y="382525"/>
                </a:cubicBezTo>
                <a:cubicBezTo>
                  <a:pt x="1235678" y="385783"/>
                  <a:pt x="1234122" y="389075"/>
                  <a:pt x="1232628" y="392389"/>
                </a:cubicBezTo>
                <a:cubicBezTo>
                  <a:pt x="1231317" y="394515"/>
                  <a:pt x="1229981" y="396629"/>
                  <a:pt x="1228625" y="398731"/>
                </a:cubicBezTo>
                <a:cubicBezTo>
                  <a:pt x="1221457" y="410300"/>
                  <a:pt x="1219465" y="421836"/>
                  <a:pt x="1222822" y="434798"/>
                </a:cubicBezTo>
                <a:cubicBezTo>
                  <a:pt x="1229360" y="453710"/>
                  <a:pt x="1244088" y="472467"/>
                  <a:pt x="1260746" y="485398"/>
                </a:cubicBezTo>
                <a:cubicBezTo>
                  <a:pt x="1264961" y="487349"/>
                  <a:pt x="1264961" y="487349"/>
                  <a:pt x="1268556" y="488216"/>
                </a:cubicBezTo>
                <a:cubicBezTo>
                  <a:pt x="1268556" y="489146"/>
                  <a:pt x="1268556" y="490076"/>
                  <a:pt x="1268556" y="491034"/>
                </a:cubicBezTo>
                <a:cubicBezTo>
                  <a:pt x="1288790" y="497071"/>
                  <a:pt x="1319055" y="498555"/>
                  <a:pt x="1338852" y="489625"/>
                </a:cubicBezTo>
                <a:cubicBezTo>
                  <a:pt x="1341711" y="489213"/>
                  <a:pt x="1344575" y="488837"/>
                  <a:pt x="1347444" y="488480"/>
                </a:cubicBezTo>
                <a:cubicBezTo>
                  <a:pt x="1355372" y="487345"/>
                  <a:pt x="1362033" y="485390"/>
                  <a:pt x="1369362" y="482513"/>
                </a:cubicBezTo>
                <a:cubicBezTo>
                  <a:pt x="1375665" y="480318"/>
                  <a:pt x="1382189" y="479322"/>
                  <a:pt x="1388840" y="478351"/>
                </a:cubicBezTo>
                <a:cubicBezTo>
                  <a:pt x="1388840" y="477421"/>
                  <a:pt x="1388840" y="476492"/>
                  <a:pt x="1388840" y="475533"/>
                </a:cubicBezTo>
                <a:cubicBezTo>
                  <a:pt x="1391083" y="474821"/>
                  <a:pt x="1393329" y="474118"/>
                  <a:pt x="1395576" y="473419"/>
                </a:cubicBezTo>
                <a:cubicBezTo>
                  <a:pt x="1396827" y="473027"/>
                  <a:pt x="1398077" y="472635"/>
                  <a:pt x="1399365" y="472230"/>
                </a:cubicBezTo>
                <a:cubicBezTo>
                  <a:pt x="1402899" y="471305"/>
                  <a:pt x="1402899" y="471305"/>
                  <a:pt x="1407585" y="471305"/>
                </a:cubicBezTo>
                <a:cubicBezTo>
                  <a:pt x="1408101" y="469910"/>
                  <a:pt x="1408616" y="468515"/>
                  <a:pt x="1409147" y="467078"/>
                </a:cubicBezTo>
                <a:cubicBezTo>
                  <a:pt x="1412388" y="465580"/>
                  <a:pt x="1412388" y="465580"/>
                  <a:pt x="1416470" y="464259"/>
                </a:cubicBezTo>
                <a:cubicBezTo>
                  <a:pt x="1424029" y="461705"/>
                  <a:pt x="1431130" y="458955"/>
                  <a:pt x="1437949" y="455011"/>
                </a:cubicBezTo>
                <a:cubicBezTo>
                  <a:pt x="1442765" y="452574"/>
                  <a:pt x="1447553" y="451394"/>
                  <a:pt x="1452887" y="450167"/>
                </a:cubicBezTo>
                <a:cubicBezTo>
                  <a:pt x="1452887" y="449237"/>
                  <a:pt x="1452887" y="448307"/>
                  <a:pt x="1452887" y="447349"/>
                </a:cubicBezTo>
                <a:cubicBezTo>
                  <a:pt x="1453714" y="446944"/>
                  <a:pt x="1454541" y="446539"/>
                  <a:pt x="1455394" y="446122"/>
                </a:cubicBezTo>
                <a:cubicBezTo>
                  <a:pt x="1459151" y="444278"/>
                  <a:pt x="1462902" y="442422"/>
                  <a:pt x="1466653" y="440567"/>
                </a:cubicBezTo>
                <a:cubicBezTo>
                  <a:pt x="1467955" y="439930"/>
                  <a:pt x="1469256" y="439293"/>
                  <a:pt x="1470598" y="438637"/>
                </a:cubicBezTo>
                <a:cubicBezTo>
                  <a:pt x="1471852" y="438016"/>
                  <a:pt x="1473105" y="437393"/>
                  <a:pt x="1474397" y="436752"/>
                </a:cubicBezTo>
                <a:cubicBezTo>
                  <a:pt x="1475550" y="436184"/>
                  <a:pt x="1476703" y="435616"/>
                  <a:pt x="1477892" y="435030"/>
                </a:cubicBezTo>
                <a:cubicBezTo>
                  <a:pt x="1480966" y="433279"/>
                  <a:pt x="1483173" y="431373"/>
                  <a:pt x="1485691" y="429029"/>
                </a:cubicBezTo>
                <a:cubicBezTo>
                  <a:pt x="1486737" y="428575"/>
                  <a:pt x="1487781" y="428121"/>
                  <a:pt x="1488858" y="427653"/>
                </a:cubicBezTo>
                <a:cubicBezTo>
                  <a:pt x="1492438" y="425977"/>
                  <a:pt x="1493705" y="424453"/>
                  <a:pt x="1495943" y="421454"/>
                </a:cubicBezTo>
                <a:cubicBezTo>
                  <a:pt x="1507114" y="407544"/>
                  <a:pt x="1519758" y="393513"/>
                  <a:pt x="1538608" y="388338"/>
                </a:cubicBezTo>
                <a:cubicBezTo>
                  <a:pt x="1541025" y="388250"/>
                  <a:pt x="1541025" y="388250"/>
                  <a:pt x="1543490" y="388161"/>
                </a:cubicBezTo>
                <a:cubicBezTo>
                  <a:pt x="1545535" y="387984"/>
                  <a:pt x="1545535" y="387984"/>
                  <a:pt x="1547621" y="387804"/>
                </a:cubicBezTo>
                <a:cubicBezTo>
                  <a:pt x="1560659" y="387094"/>
                  <a:pt x="1568716" y="390117"/>
                  <a:pt x="1579418" y="396617"/>
                </a:cubicBezTo>
                <a:cubicBezTo>
                  <a:pt x="1581361" y="397687"/>
                  <a:pt x="1581361" y="397687"/>
                  <a:pt x="1583342" y="398780"/>
                </a:cubicBezTo>
                <a:cubicBezTo>
                  <a:pt x="1593703" y="405068"/>
                  <a:pt x="1598513" y="412459"/>
                  <a:pt x="1601288" y="423392"/>
                </a:cubicBezTo>
                <a:cubicBezTo>
                  <a:pt x="1603295" y="436596"/>
                  <a:pt x="1603517" y="449033"/>
                  <a:pt x="1594484" y="460159"/>
                </a:cubicBezTo>
                <a:cubicBezTo>
                  <a:pt x="1588468" y="466462"/>
                  <a:pt x="1582607" y="471150"/>
                  <a:pt x="1574732" y="475533"/>
                </a:cubicBezTo>
                <a:cubicBezTo>
                  <a:pt x="1573862" y="476043"/>
                  <a:pt x="1572993" y="476553"/>
                  <a:pt x="1572097" y="477078"/>
                </a:cubicBezTo>
                <a:cubicBezTo>
                  <a:pt x="1566828" y="478935"/>
                  <a:pt x="1561641" y="478744"/>
                  <a:pt x="1556066" y="478737"/>
                </a:cubicBezTo>
                <a:cubicBezTo>
                  <a:pt x="1553587" y="478765"/>
                  <a:pt x="1551109" y="478795"/>
                  <a:pt x="1548631" y="478825"/>
                </a:cubicBezTo>
                <a:cubicBezTo>
                  <a:pt x="1544751" y="478857"/>
                  <a:pt x="1540871" y="478880"/>
                  <a:pt x="1536991" y="478889"/>
                </a:cubicBezTo>
                <a:cubicBezTo>
                  <a:pt x="1516714" y="478693"/>
                  <a:pt x="1516714" y="478693"/>
                  <a:pt x="1498188" y="485398"/>
                </a:cubicBezTo>
                <a:cubicBezTo>
                  <a:pt x="1496062" y="486488"/>
                  <a:pt x="1496062" y="486488"/>
                  <a:pt x="1493892" y="487600"/>
                </a:cubicBezTo>
                <a:cubicBezTo>
                  <a:pt x="1492733" y="488268"/>
                  <a:pt x="1491573" y="488937"/>
                  <a:pt x="1490377" y="489625"/>
                </a:cubicBezTo>
                <a:cubicBezTo>
                  <a:pt x="1484304" y="493012"/>
                  <a:pt x="1478212" y="495675"/>
                  <a:pt x="1471650" y="498185"/>
                </a:cubicBezTo>
                <a:cubicBezTo>
                  <a:pt x="1467148" y="500054"/>
                  <a:pt x="1463242" y="502632"/>
                  <a:pt x="1459135" y="505127"/>
                </a:cubicBezTo>
                <a:cubicBezTo>
                  <a:pt x="1456968" y="506120"/>
                  <a:pt x="1454786" y="507086"/>
                  <a:pt x="1452594" y="508033"/>
                </a:cubicBezTo>
                <a:cubicBezTo>
                  <a:pt x="1444148" y="511772"/>
                  <a:pt x="1435969" y="515903"/>
                  <a:pt x="1427795" y="520100"/>
                </a:cubicBezTo>
                <a:cubicBezTo>
                  <a:pt x="1425784" y="521114"/>
                  <a:pt x="1425784" y="521114"/>
                  <a:pt x="1423733" y="522148"/>
                </a:cubicBezTo>
                <a:cubicBezTo>
                  <a:pt x="1422478" y="522798"/>
                  <a:pt x="1421223" y="523449"/>
                  <a:pt x="1419929" y="524118"/>
                </a:cubicBezTo>
                <a:cubicBezTo>
                  <a:pt x="1418794" y="524701"/>
                  <a:pt x="1417658" y="525283"/>
                  <a:pt x="1416487" y="525883"/>
                </a:cubicBezTo>
                <a:cubicBezTo>
                  <a:pt x="1413349" y="527646"/>
                  <a:pt x="1413349" y="527646"/>
                  <a:pt x="1412271" y="531902"/>
                </a:cubicBezTo>
                <a:cubicBezTo>
                  <a:pt x="1407205" y="535203"/>
                  <a:pt x="1402819" y="536744"/>
                  <a:pt x="1396650" y="537539"/>
                </a:cubicBezTo>
                <a:cubicBezTo>
                  <a:pt x="1396650" y="538469"/>
                  <a:pt x="1396650" y="539399"/>
                  <a:pt x="1396650" y="540357"/>
                </a:cubicBezTo>
                <a:cubicBezTo>
                  <a:pt x="1395609" y="540735"/>
                  <a:pt x="1394568" y="541113"/>
                  <a:pt x="1393495" y="541502"/>
                </a:cubicBezTo>
                <a:cubicBezTo>
                  <a:pt x="1381840" y="545973"/>
                  <a:pt x="1372279" y="551715"/>
                  <a:pt x="1362284" y="558678"/>
                </a:cubicBezTo>
                <a:cubicBezTo>
                  <a:pt x="1360170" y="560088"/>
                  <a:pt x="1358055" y="561497"/>
                  <a:pt x="1355937" y="562905"/>
                </a:cubicBezTo>
                <a:cubicBezTo>
                  <a:pt x="1348556" y="567937"/>
                  <a:pt x="1341292" y="573085"/>
                  <a:pt x="1334165" y="578406"/>
                </a:cubicBezTo>
                <a:cubicBezTo>
                  <a:pt x="1332697" y="579472"/>
                  <a:pt x="1332697" y="579472"/>
                  <a:pt x="1331200" y="580559"/>
                </a:cubicBezTo>
                <a:cubicBezTo>
                  <a:pt x="1325067" y="585430"/>
                  <a:pt x="1323406" y="589771"/>
                  <a:pt x="1322175" y="596793"/>
                </a:cubicBezTo>
                <a:cubicBezTo>
                  <a:pt x="1321669" y="599545"/>
                  <a:pt x="1321669" y="599545"/>
                  <a:pt x="1320106" y="602363"/>
                </a:cubicBezTo>
                <a:cubicBezTo>
                  <a:pt x="1318419" y="618189"/>
                  <a:pt x="1322416" y="632767"/>
                  <a:pt x="1328015" y="647640"/>
                </a:cubicBezTo>
                <a:cubicBezTo>
                  <a:pt x="1331267" y="656625"/>
                  <a:pt x="1333170" y="666179"/>
                  <a:pt x="1332604" y="675643"/>
                </a:cubicBezTo>
                <a:cubicBezTo>
                  <a:pt x="1333634" y="675643"/>
                  <a:pt x="1334665" y="675643"/>
                  <a:pt x="1335727" y="675643"/>
                </a:cubicBezTo>
                <a:cubicBezTo>
                  <a:pt x="1337571" y="680632"/>
                  <a:pt x="1337591" y="684795"/>
                  <a:pt x="1337741" y="690059"/>
                </a:cubicBezTo>
                <a:cubicBezTo>
                  <a:pt x="1337826" y="692114"/>
                  <a:pt x="1337913" y="694168"/>
                  <a:pt x="1338003" y="696222"/>
                </a:cubicBezTo>
                <a:cubicBezTo>
                  <a:pt x="1338142" y="699444"/>
                  <a:pt x="1338266" y="702664"/>
                  <a:pt x="1338340" y="705887"/>
                </a:cubicBezTo>
                <a:cubicBezTo>
                  <a:pt x="1338372" y="720474"/>
                  <a:pt x="1338372" y="720474"/>
                  <a:pt x="1345277" y="733245"/>
                </a:cubicBezTo>
                <a:cubicBezTo>
                  <a:pt x="1350822" y="737861"/>
                  <a:pt x="1355921" y="739823"/>
                  <a:pt x="1363162" y="741612"/>
                </a:cubicBezTo>
                <a:cubicBezTo>
                  <a:pt x="1370672" y="743533"/>
                  <a:pt x="1377197" y="745750"/>
                  <a:pt x="1384154" y="748922"/>
                </a:cubicBezTo>
                <a:cubicBezTo>
                  <a:pt x="1387833" y="749898"/>
                  <a:pt x="1387833" y="749898"/>
                  <a:pt x="1391476" y="750419"/>
                </a:cubicBezTo>
                <a:cubicBezTo>
                  <a:pt x="1393499" y="750747"/>
                  <a:pt x="1393499" y="750747"/>
                  <a:pt x="1395564" y="751080"/>
                </a:cubicBezTo>
                <a:cubicBezTo>
                  <a:pt x="1397648" y="751407"/>
                  <a:pt x="1397648" y="751407"/>
                  <a:pt x="1399775" y="751740"/>
                </a:cubicBezTo>
                <a:cubicBezTo>
                  <a:pt x="1401810" y="752111"/>
                  <a:pt x="1401810" y="752111"/>
                  <a:pt x="1403887" y="752489"/>
                </a:cubicBezTo>
                <a:cubicBezTo>
                  <a:pt x="1424247" y="756131"/>
                  <a:pt x="1444708" y="756350"/>
                  <a:pt x="1465383" y="755969"/>
                </a:cubicBezTo>
                <a:cubicBezTo>
                  <a:pt x="1467019" y="755945"/>
                  <a:pt x="1468654" y="755921"/>
                  <a:pt x="1470339" y="755897"/>
                </a:cubicBezTo>
                <a:cubicBezTo>
                  <a:pt x="1480128" y="755450"/>
                  <a:pt x="1487899" y="752933"/>
                  <a:pt x="1496809" y="749313"/>
                </a:cubicBezTo>
                <a:cubicBezTo>
                  <a:pt x="1502876" y="746888"/>
                  <a:pt x="1509049" y="745091"/>
                  <a:pt x="1515371" y="743285"/>
                </a:cubicBezTo>
                <a:cubicBezTo>
                  <a:pt x="1515371" y="742356"/>
                  <a:pt x="1515371" y="741425"/>
                  <a:pt x="1515371" y="740467"/>
                </a:cubicBezTo>
                <a:cubicBezTo>
                  <a:pt x="1522710" y="737103"/>
                  <a:pt x="1529583" y="737106"/>
                  <a:pt x="1537632" y="737120"/>
                </a:cubicBezTo>
                <a:cubicBezTo>
                  <a:pt x="1538960" y="737122"/>
                  <a:pt x="1540289" y="737124"/>
                  <a:pt x="1541657" y="737127"/>
                </a:cubicBezTo>
                <a:cubicBezTo>
                  <a:pt x="1555502" y="737372"/>
                  <a:pt x="1564314" y="740697"/>
                  <a:pt x="1574732" y="748922"/>
                </a:cubicBezTo>
                <a:cubicBezTo>
                  <a:pt x="1586507" y="762822"/>
                  <a:pt x="1590347" y="775219"/>
                  <a:pt x="1588791" y="792608"/>
                </a:cubicBezTo>
                <a:cubicBezTo>
                  <a:pt x="1587728" y="797050"/>
                  <a:pt x="1586468" y="801261"/>
                  <a:pt x="1584105" y="805291"/>
                </a:cubicBezTo>
                <a:cubicBezTo>
                  <a:pt x="1583074" y="805756"/>
                  <a:pt x="1582043" y="806221"/>
                  <a:pt x="1580981" y="806700"/>
                </a:cubicBezTo>
                <a:cubicBezTo>
                  <a:pt x="1580240" y="807892"/>
                  <a:pt x="1579499" y="809083"/>
                  <a:pt x="1578735" y="810311"/>
                </a:cubicBezTo>
                <a:cubicBezTo>
                  <a:pt x="1577930" y="811445"/>
                  <a:pt x="1577124" y="812579"/>
                  <a:pt x="1576295" y="813746"/>
                </a:cubicBezTo>
                <a:lnTo>
                  <a:pt x="1571652" y="813746"/>
                </a:lnTo>
                <a:lnTo>
                  <a:pt x="1571785" y="814106"/>
                </a:lnTo>
                <a:cubicBezTo>
                  <a:pt x="1572816" y="814571"/>
                  <a:pt x="1573846" y="815036"/>
                  <a:pt x="1574909" y="815515"/>
                </a:cubicBezTo>
                <a:cubicBezTo>
                  <a:pt x="1572126" y="818758"/>
                  <a:pt x="1569968" y="820871"/>
                  <a:pt x="1565463" y="821839"/>
                </a:cubicBezTo>
                <a:lnTo>
                  <a:pt x="1562085" y="822101"/>
                </a:lnTo>
                <a:lnTo>
                  <a:pt x="1551301" y="825020"/>
                </a:lnTo>
                <a:cubicBezTo>
                  <a:pt x="1551301" y="825950"/>
                  <a:pt x="1551301" y="826880"/>
                  <a:pt x="1551301" y="827838"/>
                </a:cubicBezTo>
                <a:cubicBezTo>
                  <a:pt x="1526697" y="828735"/>
                  <a:pt x="1507496" y="825036"/>
                  <a:pt x="1485380" y="815007"/>
                </a:cubicBezTo>
                <a:cubicBezTo>
                  <a:pt x="1468723" y="807743"/>
                  <a:pt x="1449749" y="809144"/>
                  <a:pt x="1431603" y="808726"/>
                </a:cubicBezTo>
                <a:cubicBezTo>
                  <a:pt x="1429115" y="808665"/>
                  <a:pt x="1426627" y="808604"/>
                  <a:pt x="1424140" y="808542"/>
                </a:cubicBezTo>
                <a:cubicBezTo>
                  <a:pt x="1418101" y="808392"/>
                  <a:pt x="1412062" y="808249"/>
                  <a:pt x="1406023" y="808109"/>
                </a:cubicBezTo>
                <a:cubicBezTo>
                  <a:pt x="1406023" y="809040"/>
                  <a:pt x="1406023" y="809970"/>
                  <a:pt x="1406023" y="810928"/>
                </a:cubicBezTo>
                <a:cubicBezTo>
                  <a:pt x="1404716" y="811118"/>
                  <a:pt x="1404716" y="811118"/>
                  <a:pt x="1403383" y="811311"/>
                </a:cubicBezTo>
                <a:cubicBezTo>
                  <a:pt x="1372054" y="815110"/>
                  <a:pt x="1372054" y="815110"/>
                  <a:pt x="1345442" y="828907"/>
                </a:cubicBezTo>
                <a:cubicBezTo>
                  <a:pt x="1338843" y="837605"/>
                  <a:pt x="1338313" y="846434"/>
                  <a:pt x="1337875" y="856639"/>
                </a:cubicBezTo>
                <a:cubicBezTo>
                  <a:pt x="1337815" y="857805"/>
                  <a:pt x="1337754" y="858970"/>
                  <a:pt x="1337692" y="860171"/>
                </a:cubicBezTo>
                <a:cubicBezTo>
                  <a:pt x="1337547" y="863016"/>
                  <a:pt x="1337417" y="865861"/>
                  <a:pt x="1337290" y="868706"/>
                </a:cubicBezTo>
                <a:cubicBezTo>
                  <a:pt x="1336258" y="868706"/>
                  <a:pt x="1335228" y="868706"/>
                  <a:pt x="1334165" y="868706"/>
                </a:cubicBezTo>
                <a:lnTo>
                  <a:pt x="1334165" y="870034"/>
                </a:lnTo>
                <a:lnTo>
                  <a:pt x="1334237" y="869093"/>
                </a:lnTo>
                <a:cubicBezTo>
                  <a:pt x="1334753" y="869093"/>
                  <a:pt x="1335268" y="869093"/>
                  <a:pt x="1335800" y="869093"/>
                </a:cubicBezTo>
                <a:cubicBezTo>
                  <a:pt x="1335884" y="871559"/>
                  <a:pt x="1335944" y="874025"/>
                  <a:pt x="1335995" y="876491"/>
                </a:cubicBezTo>
                <a:cubicBezTo>
                  <a:pt x="1336030" y="877865"/>
                  <a:pt x="1336067" y="879238"/>
                  <a:pt x="1336105" y="880653"/>
                </a:cubicBezTo>
                <a:cubicBezTo>
                  <a:pt x="1335800" y="884594"/>
                  <a:pt x="1335800" y="884594"/>
                  <a:pt x="1334294" y="887271"/>
                </a:cubicBezTo>
                <a:cubicBezTo>
                  <a:pt x="1332567" y="890428"/>
                  <a:pt x="1331982" y="892964"/>
                  <a:pt x="1331455" y="896440"/>
                </a:cubicBezTo>
                <a:cubicBezTo>
                  <a:pt x="1331267" y="897605"/>
                  <a:pt x="1331080" y="898769"/>
                  <a:pt x="1330887" y="899969"/>
                </a:cubicBezTo>
                <a:cubicBezTo>
                  <a:pt x="1330704" y="901174"/>
                  <a:pt x="1330521" y="902378"/>
                  <a:pt x="1330332" y="903618"/>
                </a:cubicBezTo>
                <a:cubicBezTo>
                  <a:pt x="1329968" y="906013"/>
                  <a:pt x="1329594" y="908405"/>
                  <a:pt x="1329209" y="910797"/>
                </a:cubicBezTo>
                <a:cubicBezTo>
                  <a:pt x="1329049" y="911853"/>
                  <a:pt x="1328889" y="912910"/>
                  <a:pt x="1328724" y="913998"/>
                </a:cubicBezTo>
                <a:cubicBezTo>
                  <a:pt x="1327933" y="917233"/>
                  <a:pt x="1326525" y="919703"/>
                  <a:pt x="1324865" y="922643"/>
                </a:cubicBezTo>
                <a:cubicBezTo>
                  <a:pt x="1323924" y="927743"/>
                  <a:pt x="1323282" y="932845"/>
                  <a:pt x="1322619" y="937979"/>
                </a:cubicBezTo>
                <a:lnTo>
                  <a:pt x="1318744" y="944961"/>
                </a:lnTo>
                <a:lnTo>
                  <a:pt x="1318544" y="946213"/>
                </a:lnTo>
                <a:cubicBezTo>
                  <a:pt x="1318360" y="949234"/>
                  <a:pt x="1318271" y="952260"/>
                  <a:pt x="1318251" y="955285"/>
                </a:cubicBezTo>
                <a:cubicBezTo>
                  <a:pt x="1318218" y="957637"/>
                  <a:pt x="1318218" y="957637"/>
                  <a:pt x="1318184" y="960036"/>
                </a:cubicBezTo>
                <a:cubicBezTo>
                  <a:pt x="1318624" y="965530"/>
                  <a:pt x="1319569" y="969724"/>
                  <a:pt x="1324024" y="973660"/>
                </a:cubicBezTo>
                <a:cubicBezTo>
                  <a:pt x="1327197" y="976583"/>
                  <a:pt x="1327950" y="979494"/>
                  <a:pt x="1329284" y="983382"/>
                </a:cubicBezTo>
                <a:cubicBezTo>
                  <a:pt x="1331875" y="990106"/>
                  <a:pt x="1334445" y="993582"/>
                  <a:pt x="1340414" y="998354"/>
                </a:cubicBezTo>
                <a:cubicBezTo>
                  <a:pt x="1342397" y="1000564"/>
                  <a:pt x="1344347" y="1002798"/>
                  <a:pt x="1346272" y="1005048"/>
                </a:cubicBezTo>
                <a:cubicBezTo>
                  <a:pt x="1360055" y="1020713"/>
                  <a:pt x="1376247" y="1031879"/>
                  <a:pt x="1394716" y="1042740"/>
                </a:cubicBezTo>
                <a:cubicBezTo>
                  <a:pt x="1397172" y="1044228"/>
                  <a:pt x="1399581" y="1045779"/>
                  <a:pt x="1401953" y="1047374"/>
                </a:cubicBezTo>
                <a:cubicBezTo>
                  <a:pt x="1410065" y="1052802"/>
                  <a:pt x="1417529" y="1056366"/>
                  <a:pt x="1427197" y="1059061"/>
                </a:cubicBezTo>
                <a:cubicBezTo>
                  <a:pt x="1431243" y="1060437"/>
                  <a:pt x="1434061" y="1061979"/>
                  <a:pt x="1437265" y="1064588"/>
                </a:cubicBezTo>
                <a:cubicBezTo>
                  <a:pt x="1437265" y="1065518"/>
                  <a:pt x="1437265" y="1066448"/>
                  <a:pt x="1437265" y="1067406"/>
                </a:cubicBezTo>
                <a:cubicBezTo>
                  <a:pt x="1439053" y="1067624"/>
                  <a:pt x="1439053" y="1067624"/>
                  <a:pt x="1440878" y="1067847"/>
                </a:cubicBezTo>
                <a:cubicBezTo>
                  <a:pt x="1445076" y="1068815"/>
                  <a:pt x="1445076" y="1068815"/>
                  <a:pt x="1447175" y="1070753"/>
                </a:cubicBezTo>
                <a:cubicBezTo>
                  <a:pt x="1450417" y="1073622"/>
                  <a:pt x="1453781" y="1075060"/>
                  <a:pt x="1457866" y="1076830"/>
                </a:cubicBezTo>
                <a:cubicBezTo>
                  <a:pt x="1459274" y="1077446"/>
                  <a:pt x="1460681" y="1078062"/>
                  <a:pt x="1462132" y="1078696"/>
                </a:cubicBezTo>
                <a:cubicBezTo>
                  <a:pt x="1463204" y="1079156"/>
                  <a:pt x="1464278" y="1079616"/>
                  <a:pt x="1465383" y="1080089"/>
                </a:cubicBezTo>
                <a:cubicBezTo>
                  <a:pt x="1465383" y="1081019"/>
                  <a:pt x="1465383" y="1081949"/>
                  <a:pt x="1465383" y="1082908"/>
                </a:cubicBezTo>
                <a:cubicBezTo>
                  <a:pt x="1466497" y="1083260"/>
                  <a:pt x="1467611" y="1083612"/>
                  <a:pt x="1468758" y="1083975"/>
                </a:cubicBezTo>
                <a:cubicBezTo>
                  <a:pt x="1473648" y="1085905"/>
                  <a:pt x="1477426" y="1088296"/>
                  <a:pt x="1481688" y="1091187"/>
                </a:cubicBezTo>
                <a:cubicBezTo>
                  <a:pt x="1483204" y="1092193"/>
                  <a:pt x="1484721" y="1093200"/>
                  <a:pt x="1486283" y="1094236"/>
                </a:cubicBezTo>
                <a:cubicBezTo>
                  <a:pt x="1489170" y="1096185"/>
                  <a:pt x="1492029" y="1098166"/>
                  <a:pt x="1494869" y="1100171"/>
                </a:cubicBezTo>
                <a:cubicBezTo>
                  <a:pt x="1510181" y="1107906"/>
                  <a:pt x="1527080" y="1109898"/>
                  <a:pt x="1544335" y="1109518"/>
                </a:cubicBezTo>
                <a:cubicBezTo>
                  <a:pt x="1579932" y="1108798"/>
                  <a:pt x="1579932" y="1108798"/>
                  <a:pt x="1593477" y="1119900"/>
                </a:cubicBezTo>
                <a:cubicBezTo>
                  <a:pt x="1600636" y="1127255"/>
                  <a:pt x="1604889" y="1135120"/>
                  <a:pt x="1605975" y="1144913"/>
                </a:cubicBezTo>
                <a:cubicBezTo>
                  <a:pt x="1607006" y="1144913"/>
                  <a:pt x="1608036" y="1144913"/>
                  <a:pt x="1609099" y="1144913"/>
                </a:cubicBezTo>
                <a:cubicBezTo>
                  <a:pt x="1609227" y="1148907"/>
                  <a:pt x="1609319" y="1152897"/>
                  <a:pt x="1609392" y="1156892"/>
                </a:cubicBezTo>
                <a:cubicBezTo>
                  <a:pt x="1609451" y="1158565"/>
                  <a:pt x="1609451" y="1158565"/>
                  <a:pt x="1609511" y="1160272"/>
                </a:cubicBezTo>
                <a:cubicBezTo>
                  <a:pt x="1609621" y="1168378"/>
                  <a:pt x="1607970" y="1174108"/>
                  <a:pt x="1604412" y="1181553"/>
                </a:cubicBezTo>
                <a:cubicBezTo>
                  <a:pt x="1603354" y="1184367"/>
                  <a:pt x="1602306" y="1187183"/>
                  <a:pt x="1601288" y="1190009"/>
                </a:cubicBezTo>
                <a:cubicBezTo>
                  <a:pt x="1600257" y="1190009"/>
                  <a:pt x="1599226" y="1190009"/>
                  <a:pt x="1598164" y="1190009"/>
                </a:cubicBezTo>
                <a:cubicBezTo>
                  <a:pt x="1597842" y="1190910"/>
                  <a:pt x="1597520" y="1191810"/>
                  <a:pt x="1597187" y="1192739"/>
                </a:cubicBezTo>
                <a:cubicBezTo>
                  <a:pt x="1596479" y="1193698"/>
                  <a:pt x="1595770" y="1194657"/>
                  <a:pt x="1595040" y="1195645"/>
                </a:cubicBezTo>
                <a:cubicBezTo>
                  <a:pt x="1591916" y="1196115"/>
                  <a:pt x="1588791" y="1196585"/>
                  <a:pt x="1585667" y="1197055"/>
                </a:cubicBezTo>
                <a:cubicBezTo>
                  <a:pt x="1583871" y="1199826"/>
                  <a:pt x="1583871" y="1199826"/>
                  <a:pt x="1582543" y="1202691"/>
                </a:cubicBezTo>
                <a:cubicBezTo>
                  <a:pt x="1575997" y="1204710"/>
                  <a:pt x="1569266" y="1204360"/>
                  <a:pt x="1562431" y="1204365"/>
                </a:cubicBezTo>
                <a:cubicBezTo>
                  <a:pt x="1561196" y="1204382"/>
                  <a:pt x="1559962" y="1204399"/>
                  <a:pt x="1558690" y="1204417"/>
                </a:cubicBezTo>
                <a:cubicBezTo>
                  <a:pt x="1543339" y="1204452"/>
                  <a:pt x="1531981" y="1199267"/>
                  <a:pt x="1521102" y="1189585"/>
                </a:cubicBezTo>
                <a:cubicBezTo>
                  <a:pt x="1515403" y="1183953"/>
                  <a:pt x="1510116" y="1178123"/>
                  <a:pt x="1505022" y="1172041"/>
                </a:cubicBezTo>
                <a:cubicBezTo>
                  <a:pt x="1493200" y="1158177"/>
                  <a:pt x="1475492" y="1147115"/>
                  <a:pt x="1457573" y="1140686"/>
                </a:cubicBezTo>
                <a:cubicBezTo>
                  <a:pt x="1457573" y="1139755"/>
                  <a:pt x="1457573" y="1138826"/>
                  <a:pt x="1457573" y="1137867"/>
                </a:cubicBezTo>
                <a:cubicBezTo>
                  <a:pt x="1456059" y="1137693"/>
                  <a:pt x="1454544" y="1137518"/>
                  <a:pt x="1452985" y="1137339"/>
                </a:cubicBezTo>
                <a:cubicBezTo>
                  <a:pt x="1451406" y="1137048"/>
                  <a:pt x="1449827" y="1136758"/>
                  <a:pt x="1448200" y="1136458"/>
                </a:cubicBezTo>
                <a:cubicBezTo>
                  <a:pt x="1447685" y="1135528"/>
                  <a:pt x="1447169" y="1134598"/>
                  <a:pt x="1446638" y="1133640"/>
                </a:cubicBezTo>
                <a:cubicBezTo>
                  <a:pt x="1444091" y="1132586"/>
                  <a:pt x="1441535" y="1131550"/>
                  <a:pt x="1438937" y="1130601"/>
                </a:cubicBezTo>
                <a:cubicBezTo>
                  <a:pt x="1435668" y="1129399"/>
                  <a:pt x="1432469" y="1128095"/>
                  <a:pt x="1429260" y="1126770"/>
                </a:cubicBezTo>
                <a:cubicBezTo>
                  <a:pt x="1423389" y="1124389"/>
                  <a:pt x="1417431" y="1122349"/>
                  <a:pt x="1411393" y="1120340"/>
                </a:cubicBezTo>
                <a:cubicBezTo>
                  <a:pt x="1404143" y="1117867"/>
                  <a:pt x="1397842" y="1115090"/>
                  <a:pt x="1391427" y="1111191"/>
                </a:cubicBezTo>
                <a:cubicBezTo>
                  <a:pt x="1388139" y="1109274"/>
                  <a:pt x="1384723" y="1108010"/>
                  <a:pt x="1381029" y="1106865"/>
                </a:cubicBezTo>
                <a:cubicBezTo>
                  <a:pt x="1381029" y="1105934"/>
                  <a:pt x="1381029" y="1105004"/>
                  <a:pt x="1381029" y="1104046"/>
                </a:cubicBezTo>
                <a:cubicBezTo>
                  <a:pt x="1379773" y="1103901"/>
                  <a:pt x="1378516" y="1103755"/>
                  <a:pt x="1377221" y="1103605"/>
                </a:cubicBezTo>
                <a:cubicBezTo>
                  <a:pt x="1370425" y="1102422"/>
                  <a:pt x="1364120" y="1100465"/>
                  <a:pt x="1357597" y="1098409"/>
                </a:cubicBezTo>
                <a:cubicBezTo>
                  <a:pt x="1355761" y="1097857"/>
                  <a:pt x="1353924" y="1097304"/>
                  <a:pt x="1352032" y="1096736"/>
                </a:cubicBezTo>
                <a:cubicBezTo>
                  <a:pt x="1350776" y="1096358"/>
                  <a:pt x="1349519" y="1095980"/>
                  <a:pt x="1348225" y="1095590"/>
                </a:cubicBezTo>
                <a:cubicBezTo>
                  <a:pt x="1348225" y="1094661"/>
                  <a:pt x="1348225" y="1093730"/>
                  <a:pt x="1348225" y="1092772"/>
                </a:cubicBezTo>
                <a:cubicBezTo>
                  <a:pt x="1344616" y="1092307"/>
                  <a:pt x="1341007" y="1091842"/>
                  <a:pt x="1337290" y="1091363"/>
                </a:cubicBezTo>
                <a:cubicBezTo>
                  <a:pt x="1337290" y="1090433"/>
                  <a:pt x="1337290" y="1089503"/>
                  <a:pt x="1337290" y="1088544"/>
                </a:cubicBezTo>
                <a:cubicBezTo>
                  <a:pt x="1334438" y="1088327"/>
                  <a:pt x="1334438" y="1088327"/>
                  <a:pt x="1331529" y="1088104"/>
                </a:cubicBezTo>
                <a:lnTo>
                  <a:pt x="1323297" y="1086611"/>
                </a:lnTo>
                <a:lnTo>
                  <a:pt x="1323297" y="1087618"/>
                </a:lnTo>
                <a:cubicBezTo>
                  <a:pt x="1322139" y="1087517"/>
                  <a:pt x="1320982" y="1087415"/>
                  <a:pt x="1319789" y="1087310"/>
                </a:cubicBezTo>
                <a:cubicBezTo>
                  <a:pt x="1300429" y="1085771"/>
                  <a:pt x="1281330" y="1084680"/>
                  <a:pt x="1262375" y="1089028"/>
                </a:cubicBezTo>
                <a:lnTo>
                  <a:pt x="1258728" y="1088205"/>
                </a:lnTo>
                <a:lnTo>
                  <a:pt x="1246964" y="1091489"/>
                </a:lnTo>
                <a:cubicBezTo>
                  <a:pt x="1237239" y="1097222"/>
                  <a:pt x="1228703" y="1103434"/>
                  <a:pt x="1223224" y="1112865"/>
                </a:cubicBezTo>
                <a:cubicBezTo>
                  <a:pt x="1220867" y="1116643"/>
                  <a:pt x="1217262" y="1119317"/>
                  <a:pt x="1213883" y="1122366"/>
                </a:cubicBezTo>
                <a:cubicBezTo>
                  <a:pt x="1213428" y="1123469"/>
                  <a:pt x="1212973" y="1124572"/>
                  <a:pt x="1212505" y="1125708"/>
                </a:cubicBezTo>
                <a:cubicBezTo>
                  <a:pt x="1210449" y="1130067"/>
                  <a:pt x="1207984" y="1132315"/>
                  <a:pt x="1204180" y="1135561"/>
                </a:cubicBezTo>
                <a:cubicBezTo>
                  <a:pt x="1202879" y="1136695"/>
                  <a:pt x="1201578" y="1137829"/>
                  <a:pt x="1200238" y="1138999"/>
                </a:cubicBezTo>
                <a:cubicBezTo>
                  <a:pt x="1197504" y="1141343"/>
                  <a:pt x="1194765" y="1143684"/>
                  <a:pt x="1192025" y="1146022"/>
                </a:cubicBezTo>
                <a:cubicBezTo>
                  <a:pt x="1181899" y="1154869"/>
                  <a:pt x="1174983" y="1161763"/>
                  <a:pt x="1173945" y="1174749"/>
                </a:cubicBezTo>
                <a:cubicBezTo>
                  <a:pt x="1173902" y="1177369"/>
                  <a:pt x="1173905" y="1179990"/>
                  <a:pt x="1173950" y="1182610"/>
                </a:cubicBezTo>
                <a:cubicBezTo>
                  <a:pt x="1173963" y="1183981"/>
                  <a:pt x="1173975" y="1185352"/>
                  <a:pt x="1173989" y="1186765"/>
                </a:cubicBezTo>
                <a:cubicBezTo>
                  <a:pt x="1174321" y="1197573"/>
                  <a:pt x="1176809" y="1205883"/>
                  <a:pt x="1182640" y="1215374"/>
                </a:cubicBezTo>
                <a:cubicBezTo>
                  <a:pt x="1183703" y="1217509"/>
                  <a:pt x="1184746" y="1219652"/>
                  <a:pt x="1185764" y="1221804"/>
                </a:cubicBezTo>
                <a:cubicBezTo>
                  <a:pt x="1186271" y="1222812"/>
                  <a:pt x="1186779" y="1223821"/>
                  <a:pt x="1187301" y="1224859"/>
                </a:cubicBezTo>
                <a:cubicBezTo>
                  <a:pt x="1188431" y="1227137"/>
                  <a:pt x="1189517" y="1229433"/>
                  <a:pt x="1190573" y="1231740"/>
                </a:cubicBezTo>
                <a:cubicBezTo>
                  <a:pt x="1194650" y="1240409"/>
                  <a:pt x="1199581" y="1247688"/>
                  <a:pt x="1205925" y="1255163"/>
                </a:cubicBezTo>
                <a:cubicBezTo>
                  <a:pt x="1208103" y="1257757"/>
                  <a:pt x="1210188" y="1260417"/>
                  <a:pt x="1212174" y="1263134"/>
                </a:cubicBezTo>
                <a:cubicBezTo>
                  <a:pt x="1218757" y="1272043"/>
                  <a:pt x="1225157" y="1277324"/>
                  <a:pt x="1235556" y="1282538"/>
                </a:cubicBezTo>
                <a:cubicBezTo>
                  <a:pt x="1236652" y="1283161"/>
                  <a:pt x="1237747" y="1283784"/>
                  <a:pt x="1238876" y="1284426"/>
                </a:cubicBezTo>
                <a:cubicBezTo>
                  <a:pt x="1238876" y="1285356"/>
                  <a:pt x="1238876" y="1286287"/>
                  <a:pt x="1238876" y="1287245"/>
                </a:cubicBezTo>
                <a:cubicBezTo>
                  <a:pt x="1239988" y="1287383"/>
                  <a:pt x="1241099" y="1287521"/>
                  <a:pt x="1242245" y="1287663"/>
                </a:cubicBezTo>
                <a:cubicBezTo>
                  <a:pt x="1253043" y="1290072"/>
                  <a:pt x="1264916" y="1297690"/>
                  <a:pt x="1271681" y="1305565"/>
                </a:cubicBezTo>
                <a:lnTo>
                  <a:pt x="1271742" y="1306172"/>
                </a:lnTo>
                <a:lnTo>
                  <a:pt x="1278525" y="1315767"/>
                </a:lnTo>
                <a:cubicBezTo>
                  <a:pt x="1279797" y="1319398"/>
                  <a:pt x="1280365" y="1323346"/>
                  <a:pt x="1281097" y="1327286"/>
                </a:cubicBezTo>
                <a:cubicBezTo>
                  <a:pt x="1281916" y="1337121"/>
                  <a:pt x="1281807" y="1346176"/>
                  <a:pt x="1277973" y="1355470"/>
                </a:cubicBezTo>
                <a:lnTo>
                  <a:pt x="1277460" y="1347025"/>
                </a:lnTo>
                <a:lnTo>
                  <a:pt x="1273531" y="1357991"/>
                </a:lnTo>
                <a:cubicBezTo>
                  <a:pt x="1270940" y="1361892"/>
                  <a:pt x="1267521" y="1365435"/>
                  <a:pt x="1263870" y="1368980"/>
                </a:cubicBezTo>
                <a:cubicBezTo>
                  <a:pt x="1258351" y="1372929"/>
                  <a:pt x="1253850" y="1376026"/>
                  <a:pt x="1246686" y="1376026"/>
                </a:cubicBezTo>
                <a:cubicBezTo>
                  <a:pt x="1246686" y="1376956"/>
                  <a:pt x="1246686" y="1377886"/>
                  <a:pt x="1246686" y="1378844"/>
                </a:cubicBezTo>
                <a:cubicBezTo>
                  <a:pt x="1241676" y="1379009"/>
                  <a:pt x="1236665" y="1379109"/>
                  <a:pt x="1231651" y="1379196"/>
                </a:cubicBezTo>
                <a:cubicBezTo>
                  <a:pt x="1230240" y="1379244"/>
                  <a:pt x="1228828" y="1379291"/>
                  <a:pt x="1227373" y="1379340"/>
                </a:cubicBezTo>
                <a:cubicBezTo>
                  <a:pt x="1218287" y="1379460"/>
                  <a:pt x="1213363" y="1378568"/>
                  <a:pt x="1206071" y="1373207"/>
                </a:cubicBezTo>
                <a:cubicBezTo>
                  <a:pt x="1204751" y="1372742"/>
                  <a:pt x="1203430" y="1372277"/>
                  <a:pt x="1202069" y="1371798"/>
                </a:cubicBezTo>
                <a:cubicBezTo>
                  <a:pt x="1193777" y="1368730"/>
                  <a:pt x="1188124" y="1363294"/>
                  <a:pt x="1184104" y="1356176"/>
                </a:cubicBezTo>
                <a:cubicBezTo>
                  <a:pt x="1180965" y="1349259"/>
                  <a:pt x="1178852" y="1342590"/>
                  <a:pt x="1177270" y="1335247"/>
                </a:cubicBezTo>
                <a:cubicBezTo>
                  <a:pt x="1175525" y="1327352"/>
                  <a:pt x="1172911" y="1320677"/>
                  <a:pt x="1169002" y="1313464"/>
                </a:cubicBezTo>
                <a:cubicBezTo>
                  <a:pt x="1166989" y="1309737"/>
                  <a:pt x="1165215" y="1305976"/>
                  <a:pt x="1163504" y="1302130"/>
                </a:cubicBezTo>
                <a:cubicBezTo>
                  <a:pt x="1163013" y="1301027"/>
                  <a:pt x="1162521" y="1299924"/>
                  <a:pt x="1162015" y="1298788"/>
                </a:cubicBezTo>
                <a:cubicBezTo>
                  <a:pt x="1160770" y="1295700"/>
                  <a:pt x="1160770" y="1295700"/>
                  <a:pt x="1160111" y="1292656"/>
                </a:cubicBezTo>
                <a:cubicBezTo>
                  <a:pt x="1159345" y="1289507"/>
                  <a:pt x="1159345" y="1289507"/>
                  <a:pt x="1154522" y="1287245"/>
                </a:cubicBezTo>
                <a:cubicBezTo>
                  <a:pt x="1153465" y="1284902"/>
                  <a:pt x="1152426" y="1282552"/>
                  <a:pt x="1151398" y="1280199"/>
                </a:cubicBezTo>
                <a:cubicBezTo>
                  <a:pt x="1149056" y="1276983"/>
                  <a:pt x="1146686" y="1273874"/>
                  <a:pt x="1144173" y="1270774"/>
                </a:cubicBezTo>
                <a:cubicBezTo>
                  <a:pt x="1143477" y="1269912"/>
                  <a:pt x="1142782" y="1269049"/>
                  <a:pt x="1142065" y="1268160"/>
                </a:cubicBezTo>
                <a:cubicBezTo>
                  <a:pt x="1139981" y="1265589"/>
                  <a:pt x="1137880" y="1263029"/>
                  <a:pt x="1135776" y="1260470"/>
                </a:cubicBezTo>
                <a:cubicBezTo>
                  <a:pt x="1134647" y="1259076"/>
                  <a:pt x="1133517" y="1257683"/>
                  <a:pt x="1132353" y="1256247"/>
                </a:cubicBezTo>
                <a:cubicBezTo>
                  <a:pt x="1126291" y="1249045"/>
                  <a:pt x="1121408" y="1244606"/>
                  <a:pt x="1112344" y="1240741"/>
                </a:cubicBezTo>
                <a:cubicBezTo>
                  <a:pt x="1110285" y="1239698"/>
                  <a:pt x="1108234" y="1238642"/>
                  <a:pt x="1106193" y="1237570"/>
                </a:cubicBezTo>
                <a:cubicBezTo>
                  <a:pt x="1104615" y="1236756"/>
                  <a:pt x="1103036" y="1235942"/>
                  <a:pt x="1101409" y="1235104"/>
                </a:cubicBezTo>
                <a:cubicBezTo>
                  <a:pt x="1101409" y="1233708"/>
                  <a:pt x="1101409" y="1232313"/>
                  <a:pt x="1101409" y="1230876"/>
                </a:cubicBezTo>
                <a:cubicBezTo>
                  <a:pt x="1089553" y="1230876"/>
                  <a:pt x="1077697" y="1230876"/>
                  <a:pt x="1065480" y="1230876"/>
                </a:cubicBezTo>
                <a:cubicBezTo>
                  <a:pt x="1064965" y="1232271"/>
                  <a:pt x="1064450" y="1233666"/>
                  <a:pt x="1063919" y="1235104"/>
                </a:cubicBezTo>
                <a:cubicBezTo>
                  <a:pt x="1062372" y="1235104"/>
                  <a:pt x="1060826" y="1235104"/>
                  <a:pt x="1059232" y="1235104"/>
                </a:cubicBezTo>
                <a:cubicBezTo>
                  <a:pt x="1059232" y="1236033"/>
                  <a:pt x="1059232" y="1236964"/>
                  <a:pt x="1059232" y="1237922"/>
                </a:cubicBezTo>
                <a:cubicBezTo>
                  <a:pt x="1052964" y="1240850"/>
                  <a:pt x="1046842" y="1243613"/>
                  <a:pt x="1040194" y="1245761"/>
                </a:cubicBezTo>
                <a:cubicBezTo>
                  <a:pt x="1036552" y="1246941"/>
                  <a:pt x="1033682" y="1248088"/>
                  <a:pt x="1030333" y="1249901"/>
                </a:cubicBezTo>
                <a:cubicBezTo>
                  <a:pt x="1025129" y="1252717"/>
                  <a:pt x="1019615" y="1254371"/>
                  <a:pt x="1013931" y="1256242"/>
                </a:cubicBezTo>
                <a:cubicBezTo>
                  <a:pt x="1009870" y="1257688"/>
                  <a:pt x="1008221" y="1258277"/>
                  <a:pt x="1005925" y="1261615"/>
                </a:cubicBezTo>
                <a:cubicBezTo>
                  <a:pt x="1005474" y="1262632"/>
                  <a:pt x="1005023" y="1263649"/>
                  <a:pt x="1004558" y="1264697"/>
                </a:cubicBezTo>
                <a:cubicBezTo>
                  <a:pt x="1004030" y="1265774"/>
                  <a:pt x="1003503" y="1266852"/>
                  <a:pt x="1002959" y="1267961"/>
                </a:cubicBezTo>
                <a:cubicBezTo>
                  <a:pt x="1001408" y="1271808"/>
                  <a:pt x="1000922" y="1274896"/>
                  <a:pt x="1000653" y="1278965"/>
                </a:cubicBezTo>
                <a:cubicBezTo>
                  <a:pt x="1000303" y="1284158"/>
                  <a:pt x="999467" y="1289055"/>
                  <a:pt x="998297" y="1294137"/>
                </a:cubicBezTo>
                <a:cubicBezTo>
                  <a:pt x="996204" y="1304306"/>
                  <a:pt x="996129" y="1314460"/>
                  <a:pt x="996162" y="1324765"/>
                </a:cubicBezTo>
                <a:cubicBezTo>
                  <a:pt x="996163" y="1325782"/>
                  <a:pt x="996163" y="1326799"/>
                  <a:pt x="996164" y="1327846"/>
                </a:cubicBezTo>
                <a:cubicBezTo>
                  <a:pt x="996263" y="1353742"/>
                  <a:pt x="1001081" y="1378188"/>
                  <a:pt x="1007780" y="1403329"/>
                </a:cubicBezTo>
                <a:cubicBezTo>
                  <a:pt x="1008163" y="1404772"/>
                  <a:pt x="1008546" y="1406215"/>
                  <a:pt x="1008940" y="1407701"/>
                </a:cubicBezTo>
                <a:cubicBezTo>
                  <a:pt x="1009316" y="1409030"/>
                  <a:pt x="1009693" y="1410360"/>
                  <a:pt x="1010080" y="1411730"/>
                </a:cubicBezTo>
                <a:cubicBezTo>
                  <a:pt x="1010409" y="1412900"/>
                  <a:pt x="1010737" y="1414071"/>
                  <a:pt x="1011075" y="1415277"/>
                </a:cubicBezTo>
                <a:cubicBezTo>
                  <a:pt x="1012501" y="1418612"/>
                  <a:pt x="1014136" y="1420168"/>
                  <a:pt x="1017055" y="1422530"/>
                </a:cubicBezTo>
                <a:cubicBezTo>
                  <a:pt x="1018770" y="1425162"/>
                  <a:pt x="1018770" y="1425162"/>
                  <a:pt x="1020277" y="1427991"/>
                </a:cubicBezTo>
                <a:cubicBezTo>
                  <a:pt x="1020778" y="1428917"/>
                  <a:pt x="1021280" y="1429844"/>
                  <a:pt x="1021796" y="1430798"/>
                </a:cubicBezTo>
                <a:cubicBezTo>
                  <a:pt x="1023303" y="1433804"/>
                  <a:pt x="1023303" y="1433804"/>
                  <a:pt x="1024579" y="1437239"/>
                </a:cubicBezTo>
                <a:cubicBezTo>
                  <a:pt x="1026915" y="1441803"/>
                  <a:pt x="1030098" y="1444534"/>
                  <a:pt x="1034043" y="1448072"/>
                </a:cubicBezTo>
                <a:lnTo>
                  <a:pt x="1043782" y="1464320"/>
                </a:lnTo>
                <a:lnTo>
                  <a:pt x="1050458" y="1472189"/>
                </a:lnTo>
                <a:cubicBezTo>
                  <a:pt x="1051737" y="1475181"/>
                  <a:pt x="1052277" y="1478513"/>
                  <a:pt x="1052926" y="1482370"/>
                </a:cubicBezTo>
                <a:cubicBezTo>
                  <a:pt x="1053325" y="1487224"/>
                  <a:pt x="1053364" y="1492038"/>
                  <a:pt x="1053316" y="1496903"/>
                </a:cubicBezTo>
                <a:cubicBezTo>
                  <a:pt x="1053328" y="1498142"/>
                  <a:pt x="1053340" y="1499382"/>
                  <a:pt x="1053352" y="1500660"/>
                </a:cubicBezTo>
                <a:cubicBezTo>
                  <a:pt x="1053348" y="1501856"/>
                  <a:pt x="1053344" y="1503052"/>
                  <a:pt x="1053341" y="1504285"/>
                </a:cubicBezTo>
                <a:cubicBezTo>
                  <a:pt x="1053336" y="1505355"/>
                  <a:pt x="1053333" y="1506426"/>
                  <a:pt x="1053329" y="1507529"/>
                </a:cubicBezTo>
                <a:cubicBezTo>
                  <a:pt x="1052876" y="1510927"/>
                  <a:pt x="1051672" y="1513237"/>
                  <a:pt x="1049801" y="1516192"/>
                </a:cubicBezTo>
                <a:lnTo>
                  <a:pt x="1047312" y="1516192"/>
                </a:lnTo>
                <a:lnTo>
                  <a:pt x="1043611" y="1522585"/>
                </a:lnTo>
                <a:cubicBezTo>
                  <a:pt x="1035301" y="1529631"/>
                  <a:pt x="1035301" y="1529631"/>
                  <a:pt x="1029552" y="1529631"/>
                </a:cubicBezTo>
                <a:cubicBezTo>
                  <a:pt x="1029294" y="1530503"/>
                  <a:pt x="1029036" y="1531375"/>
                  <a:pt x="1028771" y="1532273"/>
                </a:cubicBezTo>
                <a:cubicBezTo>
                  <a:pt x="1025795" y="1536076"/>
                  <a:pt x="1022970" y="1536733"/>
                  <a:pt x="1018013" y="1537640"/>
                </a:cubicBezTo>
                <a:cubicBezTo>
                  <a:pt x="1005216" y="1539038"/>
                  <a:pt x="992573" y="1539816"/>
                  <a:pt x="981126" y="1533859"/>
                </a:cubicBezTo>
                <a:cubicBezTo>
                  <a:pt x="979840" y="1533226"/>
                  <a:pt x="978553" y="1532594"/>
                  <a:pt x="977227" y="1531943"/>
                </a:cubicBezTo>
                <a:cubicBezTo>
                  <a:pt x="965286" y="1525877"/>
                  <a:pt x="959626" y="1520520"/>
                  <a:pt x="955376" y="1508751"/>
                </a:cubicBezTo>
                <a:cubicBezTo>
                  <a:pt x="954571" y="1505674"/>
                  <a:pt x="954571" y="1505674"/>
                  <a:pt x="954571" y="1500037"/>
                </a:cubicBezTo>
                <a:cubicBezTo>
                  <a:pt x="953539" y="1500037"/>
                  <a:pt x="952508" y="1500037"/>
                  <a:pt x="951446" y="1500037"/>
                </a:cubicBezTo>
                <a:cubicBezTo>
                  <a:pt x="951361" y="1495986"/>
                  <a:pt x="951299" y="1491935"/>
                  <a:pt x="951251" y="1487883"/>
                </a:cubicBezTo>
                <a:cubicBezTo>
                  <a:pt x="951224" y="1486744"/>
                  <a:pt x="951198" y="1485605"/>
                  <a:pt x="951171" y="1484431"/>
                </a:cubicBezTo>
                <a:cubicBezTo>
                  <a:pt x="951110" y="1477657"/>
                  <a:pt x="952093" y="1472660"/>
                  <a:pt x="954571" y="1466216"/>
                </a:cubicBezTo>
                <a:cubicBezTo>
                  <a:pt x="954867" y="1462451"/>
                  <a:pt x="955016" y="1458876"/>
                  <a:pt x="954961" y="1455118"/>
                </a:cubicBezTo>
                <a:cubicBezTo>
                  <a:pt x="954951" y="1454080"/>
                  <a:pt x="954942" y="1453042"/>
                  <a:pt x="954932" y="1451972"/>
                </a:cubicBezTo>
                <a:cubicBezTo>
                  <a:pt x="954606" y="1435235"/>
                  <a:pt x="952568" y="1419050"/>
                  <a:pt x="945099" y="1403594"/>
                </a:cubicBezTo>
                <a:cubicBezTo>
                  <a:pt x="943714" y="1400177"/>
                  <a:pt x="943046" y="1397128"/>
                  <a:pt x="942366" y="1393553"/>
                </a:cubicBezTo>
                <a:cubicBezTo>
                  <a:pt x="940837" y="1386134"/>
                  <a:pt x="937840" y="1379609"/>
                  <a:pt x="934451" y="1372734"/>
                </a:cubicBezTo>
                <a:cubicBezTo>
                  <a:pt x="932701" y="1368980"/>
                  <a:pt x="932701" y="1368980"/>
                  <a:pt x="931974" y="1365754"/>
                </a:cubicBezTo>
                <a:cubicBezTo>
                  <a:pt x="931699" y="1364958"/>
                  <a:pt x="931422" y="1364162"/>
                  <a:pt x="931138" y="1363343"/>
                </a:cubicBezTo>
                <a:cubicBezTo>
                  <a:pt x="929592" y="1362878"/>
                  <a:pt x="928045" y="1362413"/>
                  <a:pt x="926452" y="1361933"/>
                </a:cubicBezTo>
                <a:cubicBezTo>
                  <a:pt x="921830" y="1355261"/>
                  <a:pt x="920323" y="1348382"/>
                  <a:pt x="918641" y="1340795"/>
                </a:cubicBezTo>
                <a:cubicBezTo>
                  <a:pt x="918133" y="1338914"/>
                  <a:pt x="917616" y="1337034"/>
                  <a:pt x="917079" y="1335158"/>
                </a:cubicBezTo>
                <a:cubicBezTo>
                  <a:pt x="916048" y="1335158"/>
                  <a:pt x="915018" y="1335158"/>
                  <a:pt x="913955" y="1335158"/>
                </a:cubicBezTo>
                <a:cubicBezTo>
                  <a:pt x="913329" y="1333718"/>
                  <a:pt x="912703" y="1332277"/>
                  <a:pt x="912057" y="1330793"/>
                </a:cubicBezTo>
                <a:cubicBezTo>
                  <a:pt x="909497" y="1325424"/>
                  <a:pt x="906114" y="1320822"/>
                  <a:pt x="902142" y="1316222"/>
                </a:cubicBezTo>
                <a:cubicBezTo>
                  <a:pt x="901465" y="1315432"/>
                  <a:pt x="900788" y="1314642"/>
                  <a:pt x="900091" y="1313828"/>
                </a:cubicBezTo>
                <a:cubicBezTo>
                  <a:pt x="893705" y="1306618"/>
                  <a:pt x="886350" y="1301049"/>
                  <a:pt x="878026" y="1295700"/>
                </a:cubicBezTo>
                <a:cubicBezTo>
                  <a:pt x="876595" y="1294594"/>
                  <a:pt x="876595" y="1294594"/>
                  <a:pt x="875134" y="1293465"/>
                </a:cubicBezTo>
                <a:lnTo>
                  <a:pt x="869869" y="1291826"/>
                </a:lnTo>
                <a:lnTo>
                  <a:pt x="862384" y="1291327"/>
                </a:lnTo>
                <a:cubicBezTo>
                  <a:pt x="856441" y="1290067"/>
                  <a:pt x="850461" y="1290346"/>
                  <a:pt x="844390" y="1290461"/>
                </a:cubicBezTo>
                <a:cubicBezTo>
                  <a:pt x="842453" y="1290480"/>
                  <a:pt x="842453" y="1290480"/>
                  <a:pt x="840476" y="1290500"/>
                </a:cubicBezTo>
                <a:cubicBezTo>
                  <a:pt x="837322" y="1290532"/>
                  <a:pt x="834169" y="1290583"/>
                  <a:pt x="831015" y="1290637"/>
                </a:cubicBezTo>
                <a:cubicBezTo>
                  <a:pt x="831015" y="1291568"/>
                  <a:pt x="831015" y="1292498"/>
                  <a:pt x="831015" y="1293456"/>
                </a:cubicBezTo>
                <a:cubicBezTo>
                  <a:pt x="826519" y="1294808"/>
                  <a:pt x="822922" y="1295235"/>
                  <a:pt x="818225" y="1295570"/>
                </a:cubicBezTo>
                <a:lnTo>
                  <a:pt x="796774" y="1297671"/>
                </a:lnTo>
                <a:lnTo>
                  <a:pt x="783646" y="1305736"/>
                </a:lnTo>
                <a:cubicBezTo>
                  <a:pt x="776915" y="1312506"/>
                  <a:pt x="772692" y="1318638"/>
                  <a:pt x="769263" y="1327143"/>
                </a:cubicBezTo>
                <a:cubicBezTo>
                  <a:pt x="767116" y="1332340"/>
                  <a:pt x="767116" y="1332340"/>
                  <a:pt x="764797" y="1334360"/>
                </a:cubicBezTo>
                <a:lnTo>
                  <a:pt x="757875" y="1353503"/>
                </a:lnTo>
                <a:lnTo>
                  <a:pt x="755676" y="1367455"/>
                </a:lnTo>
                <a:lnTo>
                  <a:pt x="750558" y="1399690"/>
                </a:lnTo>
                <a:lnTo>
                  <a:pt x="753057" y="1411256"/>
                </a:lnTo>
                <a:cubicBezTo>
                  <a:pt x="753057" y="1413117"/>
                  <a:pt x="753057" y="1414976"/>
                  <a:pt x="753057" y="1416893"/>
                </a:cubicBezTo>
                <a:cubicBezTo>
                  <a:pt x="754087" y="1416893"/>
                  <a:pt x="755119" y="1416893"/>
                  <a:pt x="756181" y="1416893"/>
                </a:cubicBezTo>
                <a:cubicBezTo>
                  <a:pt x="759348" y="1422607"/>
                  <a:pt x="758101" y="1429902"/>
                  <a:pt x="758133" y="1436182"/>
                </a:cubicBezTo>
                <a:cubicBezTo>
                  <a:pt x="758182" y="1438458"/>
                  <a:pt x="758182" y="1438458"/>
                  <a:pt x="758231" y="1440781"/>
                </a:cubicBezTo>
                <a:cubicBezTo>
                  <a:pt x="758283" y="1450271"/>
                  <a:pt x="758174" y="1458360"/>
                  <a:pt x="750713" y="1465704"/>
                </a:cubicBezTo>
                <a:cubicBezTo>
                  <a:pt x="749940" y="1466193"/>
                  <a:pt x="749167" y="1466681"/>
                  <a:pt x="748370" y="1467185"/>
                </a:cubicBezTo>
                <a:cubicBezTo>
                  <a:pt x="743665" y="1470047"/>
                  <a:pt x="743665" y="1470047"/>
                  <a:pt x="741633" y="1473526"/>
                </a:cubicBezTo>
                <a:cubicBezTo>
                  <a:pt x="737793" y="1477248"/>
                  <a:pt x="733582" y="1477483"/>
                  <a:pt x="728154" y="1478343"/>
                </a:cubicBezTo>
                <a:cubicBezTo>
                  <a:pt x="724855" y="1478778"/>
                  <a:pt x="724855" y="1478778"/>
                  <a:pt x="721814" y="1480308"/>
                </a:cubicBezTo>
                <a:cubicBezTo>
                  <a:pt x="717303" y="1480523"/>
                  <a:pt x="712854" y="1480634"/>
                  <a:pt x="708341" y="1480661"/>
                </a:cubicBezTo>
                <a:cubicBezTo>
                  <a:pt x="707118" y="1480690"/>
                  <a:pt x="705896" y="1480719"/>
                  <a:pt x="704637" y="1480748"/>
                </a:cubicBezTo>
                <a:cubicBezTo>
                  <a:pt x="690446" y="1480834"/>
                  <a:pt x="679632" y="1476246"/>
                  <a:pt x="668507" y="1468418"/>
                </a:cubicBezTo>
                <a:cubicBezTo>
                  <a:pt x="662823" y="1463224"/>
                  <a:pt x="661745" y="1456995"/>
                  <a:pt x="660178" y="1450027"/>
                </a:cubicBezTo>
                <a:cubicBezTo>
                  <a:pt x="659725" y="1446589"/>
                  <a:pt x="659725" y="1446589"/>
                  <a:pt x="657767" y="1445078"/>
                </a:cubicBezTo>
                <a:cubicBezTo>
                  <a:pt x="656859" y="1433686"/>
                  <a:pt x="655965" y="1419178"/>
                  <a:pt x="663369" y="1409390"/>
                </a:cubicBezTo>
                <a:cubicBezTo>
                  <a:pt x="666078" y="1406601"/>
                  <a:pt x="668921" y="1404013"/>
                  <a:pt x="671826" y="1401392"/>
                </a:cubicBezTo>
                <a:cubicBezTo>
                  <a:pt x="675197" y="1397623"/>
                  <a:pt x="677125" y="1394916"/>
                  <a:pt x="678075" y="1390118"/>
                </a:cubicBezTo>
                <a:cubicBezTo>
                  <a:pt x="680137" y="1389653"/>
                  <a:pt x="682199" y="1389188"/>
                  <a:pt x="684323" y="1388709"/>
                </a:cubicBezTo>
                <a:cubicBezTo>
                  <a:pt x="684643" y="1387232"/>
                  <a:pt x="684964" y="1385755"/>
                  <a:pt x="685293" y="1384233"/>
                </a:cubicBezTo>
                <a:cubicBezTo>
                  <a:pt x="685718" y="1382290"/>
                  <a:pt x="686144" y="1380347"/>
                  <a:pt x="686569" y="1378404"/>
                </a:cubicBezTo>
                <a:cubicBezTo>
                  <a:pt x="686885" y="1376945"/>
                  <a:pt x="686885" y="1376945"/>
                  <a:pt x="687207" y="1375456"/>
                </a:cubicBezTo>
                <a:cubicBezTo>
                  <a:pt x="688115" y="1371315"/>
                  <a:pt x="689090" y="1367353"/>
                  <a:pt x="690572" y="1363343"/>
                </a:cubicBezTo>
                <a:cubicBezTo>
                  <a:pt x="692411" y="1350128"/>
                  <a:pt x="692374" y="1336672"/>
                  <a:pt x="692495" y="1323376"/>
                </a:cubicBezTo>
                <a:cubicBezTo>
                  <a:pt x="692524" y="1320586"/>
                  <a:pt x="692574" y="1317796"/>
                  <a:pt x="692625" y="1315006"/>
                </a:cubicBezTo>
                <a:cubicBezTo>
                  <a:pt x="692853" y="1300589"/>
                  <a:pt x="692853" y="1300589"/>
                  <a:pt x="687447" y="1287245"/>
                </a:cubicBezTo>
                <a:cubicBezTo>
                  <a:pt x="685901" y="1286780"/>
                  <a:pt x="684354" y="1286315"/>
                  <a:pt x="682761" y="1285835"/>
                </a:cubicBezTo>
                <a:cubicBezTo>
                  <a:pt x="680876" y="1283743"/>
                  <a:pt x="680876" y="1283743"/>
                  <a:pt x="678954" y="1281608"/>
                </a:cubicBezTo>
                <a:cubicBezTo>
                  <a:pt x="674854" y="1277278"/>
                  <a:pt x="674356" y="1276958"/>
                  <a:pt x="668702" y="1275971"/>
                </a:cubicBezTo>
                <a:cubicBezTo>
                  <a:pt x="666619" y="1274092"/>
                  <a:pt x="664536" y="1272213"/>
                  <a:pt x="662454" y="1270334"/>
                </a:cubicBezTo>
                <a:cubicBezTo>
                  <a:pt x="658341" y="1268566"/>
                  <a:pt x="658341" y="1268566"/>
                  <a:pt x="654643" y="1267516"/>
                </a:cubicBezTo>
                <a:cubicBezTo>
                  <a:pt x="654643" y="1266585"/>
                  <a:pt x="654643" y="1265656"/>
                  <a:pt x="654643" y="1264697"/>
                </a:cubicBezTo>
                <a:cubicBezTo>
                  <a:pt x="653161" y="1264581"/>
                  <a:pt x="651679" y="1264465"/>
                  <a:pt x="650152" y="1264345"/>
                </a:cubicBezTo>
                <a:cubicBezTo>
                  <a:pt x="642318" y="1263373"/>
                  <a:pt x="635297" y="1260465"/>
                  <a:pt x="628087" y="1257651"/>
                </a:cubicBezTo>
                <a:cubicBezTo>
                  <a:pt x="628087" y="1256721"/>
                  <a:pt x="628087" y="1255791"/>
                  <a:pt x="628087" y="1254833"/>
                </a:cubicBezTo>
                <a:cubicBezTo>
                  <a:pt x="627108" y="1254662"/>
                  <a:pt x="626129" y="1254491"/>
                  <a:pt x="625121" y="1254315"/>
                </a:cubicBezTo>
                <a:cubicBezTo>
                  <a:pt x="623845" y="1254079"/>
                  <a:pt x="622568" y="1253843"/>
                  <a:pt x="621252" y="1253600"/>
                </a:cubicBezTo>
                <a:cubicBezTo>
                  <a:pt x="619984" y="1253371"/>
                  <a:pt x="618716" y="1253142"/>
                  <a:pt x="617409" y="1252906"/>
                </a:cubicBezTo>
                <a:cubicBezTo>
                  <a:pt x="614027" y="1252014"/>
                  <a:pt x="614027" y="1252014"/>
                  <a:pt x="610904" y="1249196"/>
                </a:cubicBezTo>
                <a:cubicBezTo>
                  <a:pt x="592259" y="1248653"/>
                  <a:pt x="578635" y="1260869"/>
                  <a:pt x="565739" y="1271742"/>
                </a:cubicBezTo>
                <a:cubicBezTo>
                  <a:pt x="558808" y="1277725"/>
                  <a:pt x="552763" y="1283983"/>
                  <a:pt x="546924" y="1290829"/>
                </a:cubicBezTo>
                <a:cubicBezTo>
                  <a:pt x="545838" y="1292087"/>
                  <a:pt x="544753" y="1293346"/>
                  <a:pt x="543635" y="1294643"/>
                </a:cubicBezTo>
                <a:cubicBezTo>
                  <a:pt x="542650" y="1295813"/>
                  <a:pt x="541666" y="1296983"/>
                  <a:pt x="540651" y="1298188"/>
                </a:cubicBezTo>
                <a:cubicBezTo>
                  <a:pt x="537294" y="1301526"/>
                  <a:pt x="533978" y="1303337"/>
                  <a:pt x="529673" y="1305565"/>
                </a:cubicBezTo>
                <a:cubicBezTo>
                  <a:pt x="527599" y="1308478"/>
                  <a:pt x="527599" y="1308478"/>
                  <a:pt x="526549" y="1311202"/>
                </a:cubicBezTo>
                <a:cubicBezTo>
                  <a:pt x="525518" y="1311202"/>
                  <a:pt x="524487" y="1311202"/>
                  <a:pt x="523425" y="1311202"/>
                </a:cubicBezTo>
                <a:cubicBezTo>
                  <a:pt x="523360" y="1311986"/>
                  <a:pt x="523296" y="1312771"/>
                  <a:pt x="523230" y="1313580"/>
                </a:cubicBezTo>
                <a:cubicBezTo>
                  <a:pt x="521863" y="1316839"/>
                  <a:pt x="521863" y="1316839"/>
                  <a:pt x="517732" y="1319739"/>
                </a:cubicBezTo>
                <a:cubicBezTo>
                  <a:pt x="511111" y="1324565"/>
                  <a:pt x="506875" y="1330731"/>
                  <a:pt x="502239" y="1337096"/>
                </a:cubicBezTo>
                <a:cubicBezTo>
                  <a:pt x="500512" y="1339427"/>
                  <a:pt x="498785" y="1341757"/>
                  <a:pt x="497058" y="1344087"/>
                </a:cubicBezTo>
                <a:cubicBezTo>
                  <a:pt x="495827" y="1345760"/>
                  <a:pt x="495827" y="1345760"/>
                  <a:pt x="494572" y="1347465"/>
                </a:cubicBezTo>
                <a:cubicBezTo>
                  <a:pt x="492366" y="1350414"/>
                  <a:pt x="490094" y="1353304"/>
                  <a:pt x="487776" y="1356181"/>
                </a:cubicBezTo>
                <a:cubicBezTo>
                  <a:pt x="484805" y="1359972"/>
                  <a:pt x="482865" y="1363193"/>
                  <a:pt x="481248" y="1367571"/>
                </a:cubicBezTo>
                <a:cubicBezTo>
                  <a:pt x="480216" y="1367571"/>
                  <a:pt x="479186" y="1367571"/>
                  <a:pt x="478123" y="1367571"/>
                </a:cubicBezTo>
                <a:cubicBezTo>
                  <a:pt x="477963" y="1368558"/>
                  <a:pt x="477801" y="1369547"/>
                  <a:pt x="477635" y="1370565"/>
                </a:cubicBezTo>
                <a:cubicBezTo>
                  <a:pt x="475602" y="1378236"/>
                  <a:pt x="471952" y="1383371"/>
                  <a:pt x="465626" y="1388709"/>
                </a:cubicBezTo>
                <a:cubicBezTo>
                  <a:pt x="462272" y="1392748"/>
                  <a:pt x="462272" y="1392748"/>
                  <a:pt x="461233" y="1397340"/>
                </a:cubicBezTo>
                <a:cubicBezTo>
                  <a:pt x="460030" y="1401461"/>
                  <a:pt x="458298" y="1404501"/>
                  <a:pt x="455765" y="1408086"/>
                </a:cubicBezTo>
                <a:cubicBezTo>
                  <a:pt x="442829" y="1428603"/>
                  <a:pt x="441572" y="1454548"/>
                  <a:pt x="439070" y="1477490"/>
                </a:cubicBezTo>
                <a:cubicBezTo>
                  <a:pt x="437524" y="1477955"/>
                  <a:pt x="435977" y="1478420"/>
                  <a:pt x="434384" y="1478899"/>
                </a:cubicBezTo>
                <a:cubicBezTo>
                  <a:pt x="433739" y="1479916"/>
                  <a:pt x="433095" y="1480933"/>
                  <a:pt x="432431" y="1481982"/>
                </a:cubicBezTo>
                <a:cubicBezTo>
                  <a:pt x="428860" y="1487159"/>
                  <a:pt x="424291" y="1490903"/>
                  <a:pt x="418763" y="1494401"/>
                </a:cubicBezTo>
                <a:cubicBezTo>
                  <a:pt x="417731" y="1494401"/>
                  <a:pt x="416701" y="1494401"/>
                  <a:pt x="415639" y="1494401"/>
                </a:cubicBezTo>
                <a:cubicBezTo>
                  <a:pt x="415639" y="1495330"/>
                  <a:pt x="415639" y="1496260"/>
                  <a:pt x="415639" y="1497219"/>
                </a:cubicBezTo>
                <a:cubicBezTo>
                  <a:pt x="412546" y="1497684"/>
                  <a:pt x="409453" y="1498149"/>
                  <a:pt x="406265" y="1498628"/>
                </a:cubicBezTo>
                <a:cubicBezTo>
                  <a:pt x="406265" y="1499559"/>
                  <a:pt x="406265" y="1500488"/>
                  <a:pt x="406265" y="1501447"/>
                </a:cubicBezTo>
                <a:cubicBezTo>
                  <a:pt x="395955" y="1501447"/>
                  <a:pt x="385645" y="1501447"/>
                  <a:pt x="375023" y="1501447"/>
                </a:cubicBezTo>
                <a:lnTo>
                  <a:pt x="375023" y="1499438"/>
                </a:lnTo>
                <a:lnTo>
                  <a:pt x="374964" y="1499436"/>
                </a:lnTo>
                <a:lnTo>
                  <a:pt x="373179" y="1498628"/>
                </a:lnTo>
                <a:lnTo>
                  <a:pt x="365650" y="1498628"/>
                </a:lnTo>
                <a:lnTo>
                  <a:pt x="363134" y="1494087"/>
                </a:lnTo>
                <a:lnTo>
                  <a:pt x="362171" y="1493651"/>
                </a:lnTo>
                <a:cubicBezTo>
                  <a:pt x="361656" y="1492722"/>
                  <a:pt x="361140" y="1491791"/>
                  <a:pt x="360609" y="1490833"/>
                </a:cubicBezTo>
                <a:cubicBezTo>
                  <a:pt x="361640" y="1490833"/>
                  <a:pt x="362671" y="1490833"/>
                  <a:pt x="363733" y="1490833"/>
                </a:cubicBezTo>
                <a:lnTo>
                  <a:pt x="363733" y="1489980"/>
                </a:lnTo>
                <a:lnTo>
                  <a:pt x="348467" y="1481717"/>
                </a:lnTo>
                <a:lnTo>
                  <a:pt x="343872" y="1461078"/>
                </a:lnTo>
                <a:lnTo>
                  <a:pt x="343656" y="1463649"/>
                </a:lnTo>
                <a:cubicBezTo>
                  <a:pt x="343541" y="1465230"/>
                  <a:pt x="343541" y="1465230"/>
                  <a:pt x="343424" y="1466842"/>
                </a:cubicBezTo>
                <a:cubicBezTo>
                  <a:pt x="342908" y="1466842"/>
                  <a:pt x="342393" y="1466842"/>
                  <a:pt x="341861" y="1466842"/>
                </a:cubicBezTo>
                <a:cubicBezTo>
                  <a:pt x="340987" y="1449564"/>
                  <a:pt x="340999" y="1434331"/>
                  <a:pt x="354143" y="1420549"/>
                </a:cubicBezTo>
                <a:cubicBezTo>
                  <a:pt x="360765" y="1414011"/>
                  <a:pt x="367631" y="1407790"/>
                  <a:pt x="376229" y="1403427"/>
                </a:cubicBezTo>
                <a:lnTo>
                  <a:pt x="379491" y="1404408"/>
                </a:lnTo>
                <a:lnTo>
                  <a:pt x="379710" y="1404210"/>
                </a:lnTo>
                <a:cubicBezTo>
                  <a:pt x="380290" y="1402902"/>
                  <a:pt x="380290" y="1402902"/>
                  <a:pt x="380882" y="1401568"/>
                </a:cubicBezTo>
                <a:cubicBezTo>
                  <a:pt x="383675" y="1397284"/>
                  <a:pt x="387587" y="1395610"/>
                  <a:pt x="392207" y="1392936"/>
                </a:cubicBezTo>
                <a:lnTo>
                  <a:pt x="399542" y="1386774"/>
                </a:lnTo>
                <a:lnTo>
                  <a:pt x="405485" y="1378917"/>
                </a:lnTo>
                <a:cubicBezTo>
                  <a:pt x="408065" y="1375974"/>
                  <a:pt x="410029" y="1372774"/>
                  <a:pt x="412008" y="1369481"/>
                </a:cubicBezTo>
                <a:cubicBezTo>
                  <a:pt x="414759" y="1365166"/>
                  <a:pt x="417963" y="1361131"/>
                  <a:pt x="421130" y="1357057"/>
                </a:cubicBezTo>
                <a:cubicBezTo>
                  <a:pt x="423073" y="1354140"/>
                  <a:pt x="423985" y="1351767"/>
                  <a:pt x="424676" y="1348443"/>
                </a:cubicBezTo>
                <a:lnTo>
                  <a:pt x="427275" y="1348443"/>
                </a:lnTo>
                <a:lnTo>
                  <a:pt x="428135" y="1345727"/>
                </a:lnTo>
                <a:cubicBezTo>
                  <a:pt x="429370" y="1341828"/>
                  <a:pt x="430645" y="1338666"/>
                  <a:pt x="432822" y="1335158"/>
                </a:cubicBezTo>
                <a:cubicBezTo>
                  <a:pt x="433853" y="1335158"/>
                  <a:pt x="434884" y="1335158"/>
                  <a:pt x="435946" y="1335158"/>
                </a:cubicBezTo>
                <a:cubicBezTo>
                  <a:pt x="436526" y="1333385"/>
                  <a:pt x="437106" y="1331613"/>
                  <a:pt x="437704" y="1329786"/>
                </a:cubicBezTo>
                <a:cubicBezTo>
                  <a:pt x="440162" y="1323132"/>
                  <a:pt x="443602" y="1317301"/>
                  <a:pt x="447394" y="1311196"/>
                </a:cubicBezTo>
                <a:cubicBezTo>
                  <a:pt x="456493" y="1296485"/>
                  <a:pt x="463325" y="1281864"/>
                  <a:pt x="469287" y="1265964"/>
                </a:cubicBezTo>
                <a:cubicBezTo>
                  <a:pt x="474589" y="1252134"/>
                  <a:pt x="474589" y="1252134"/>
                  <a:pt x="478178" y="1246787"/>
                </a:cubicBezTo>
                <a:cubicBezTo>
                  <a:pt x="481232" y="1240246"/>
                  <a:pt x="480204" y="1232766"/>
                  <a:pt x="480179" y="1225768"/>
                </a:cubicBezTo>
                <a:cubicBezTo>
                  <a:pt x="480174" y="1222894"/>
                  <a:pt x="480210" y="1220023"/>
                  <a:pt x="480250" y="1217149"/>
                </a:cubicBezTo>
                <a:cubicBezTo>
                  <a:pt x="480260" y="1199291"/>
                  <a:pt x="476718" y="1187768"/>
                  <a:pt x="462972" y="1174827"/>
                </a:cubicBezTo>
                <a:cubicBezTo>
                  <a:pt x="461148" y="1173192"/>
                  <a:pt x="459312" y="1171566"/>
                  <a:pt x="457468" y="1169949"/>
                </a:cubicBezTo>
                <a:cubicBezTo>
                  <a:pt x="451412" y="1164522"/>
                  <a:pt x="445876" y="1158660"/>
                  <a:pt x="440657" y="1152570"/>
                </a:cubicBezTo>
                <a:cubicBezTo>
                  <a:pt x="430474" y="1140786"/>
                  <a:pt x="418230" y="1128998"/>
                  <a:pt x="403142" y="1122366"/>
                </a:cubicBezTo>
                <a:cubicBezTo>
                  <a:pt x="402626" y="1121436"/>
                  <a:pt x="402110" y="1120506"/>
                  <a:pt x="401579" y="1119547"/>
                </a:cubicBezTo>
                <a:cubicBezTo>
                  <a:pt x="390472" y="1115326"/>
                  <a:pt x="375918" y="1114217"/>
                  <a:pt x="364564" y="1118209"/>
                </a:cubicBezTo>
                <a:cubicBezTo>
                  <a:pt x="362278" y="1119428"/>
                  <a:pt x="360026" y="1120704"/>
                  <a:pt x="357822" y="1122041"/>
                </a:cubicBezTo>
                <a:cubicBezTo>
                  <a:pt x="354521" y="1123884"/>
                  <a:pt x="351862" y="1124582"/>
                  <a:pt x="348077" y="1125273"/>
                </a:cubicBezTo>
                <a:cubicBezTo>
                  <a:pt x="341765" y="1126696"/>
                  <a:pt x="339382" y="1128619"/>
                  <a:pt x="334408" y="1132230"/>
                </a:cubicBezTo>
                <a:cubicBezTo>
                  <a:pt x="332284" y="1132909"/>
                  <a:pt x="330131" y="1133519"/>
                  <a:pt x="327964" y="1134080"/>
                </a:cubicBezTo>
                <a:cubicBezTo>
                  <a:pt x="309975" y="1139067"/>
                  <a:pt x="290592" y="1152117"/>
                  <a:pt x="279734" y="1166051"/>
                </a:cubicBezTo>
                <a:cubicBezTo>
                  <a:pt x="277929" y="1169534"/>
                  <a:pt x="277929" y="1169534"/>
                  <a:pt x="276609" y="1173098"/>
                </a:cubicBezTo>
                <a:cubicBezTo>
                  <a:pt x="272413" y="1180804"/>
                  <a:pt x="269322" y="1184144"/>
                  <a:pt x="260988" y="1188599"/>
                </a:cubicBezTo>
                <a:cubicBezTo>
                  <a:pt x="259988" y="1189435"/>
                  <a:pt x="258987" y="1190271"/>
                  <a:pt x="257956" y="1191132"/>
                </a:cubicBezTo>
                <a:lnTo>
                  <a:pt x="243805" y="1196629"/>
                </a:lnTo>
                <a:lnTo>
                  <a:pt x="243805" y="1194236"/>
                </a:lnTo>
                <a:lnTo>
                  <a:pt x="240288" y="1194765"/>
                </a:lnTo>
                <a:lnTo>
                  <a:pt x="243374" y="1194765"/>
                </a:lnTo>
                <a:lnTo>
                  <a:pt x="243374" y="1196797"/>
                </a:lnTo>
                <a:lnTo>
                  <a:pt x="243805" y="1196629"/>
                </a:lnTo>
                <a:lnTo>
                  <a:pt x="243805" y="1197055"/>
                </a:lnTo>
                <a:lnTo>
                  <a:pt x="243374" y="1197055"/>
                </a:lnTo>
                <a:lnTo>
                  <a:pt x="243374" y="1197584"/>
                </a:lnTo>
                <a:lnTo>
                  <a:pt x="241319" y="1197595"/>
                </a:lnTo>
                <a:lnTo>
                  <a:pt x="238009" y="1198881"/>
                </a:lnTo>
                <a:cubicBezTo>
                  <a:pt x="231012" y="1199584"/>
                  <a:pt x="223620" y="1198927"/>
                  <a:pt x="215687" y="1198464"/>
                </a:cubicBezTo>
                <a:lnTo>
                  <a:pt x="215687" y="1197734"/>
                </a:lnTo>
                <a:lnTo>
                  <a:pt x="213936" y="1197744"/>
                </a:lnTo>
                <a:cubicBezTo>
                  <a:pt x="210570" y="1197584"/>
                  <a:pt x="210570" y="1197584"/>
                  <a:pt x="207446" y="1196175"/>
                </a:cubicBezTo>
                <a:lnTo>
                  <a:pt x="207822" y="1195610"/>
                </a:lnTo>
                <a:lnTo>
                  <a:pt x="184737" y="1180936"/>
                </a:lnTo>
                <a:cubicBezTo>
                  <a:pt x="180258" y="1172216"/>
                  <a:pt x="179226" y="1164355"/>
                  <a:pt x="179270" y="1154866"/>
                </a:cubicBezTo>
                <a:cubicBezTo>
                  <a:pt x="179233" y="1153260"/>
                  <a:pt x="179233" y="1153260"/>
                  <a:pt x="179194" y="1151621"/>
                </a:cubicBezTo>
                <a:cubicBezTo>
                  <a:pt x="179182" y="1139523"/>
                  <a:pt x="183658" y="1128837"/>
                  <a:pt x="193195" y="1120065"/>
                </a:cubicBezTo>
                <a:cubicBezTo>
                  <a:pt x="204265" y="1110959"/>
                  <a:pt x="215062" y="1110626"/>
                  <a:pt x="229551" y="1110299"/>
                </a:cubicBezTo>
                <a:cubicBezTo>
                  <a:pt x="240132" y="1110024"/>
                  <a:pt x="250506" y="1109652"/>
                  <a:pt x="260988" y="1108274"/>
                </a:cubicBezTo>
                <a:cubicBezTo>
                  <a:pt x="260988" y="1107344"/>
                  <a:pt x="260988" y="1106413"/>
                  <a:pt x="260988" y="1105455"/>
                </a:cubicBezTo>
                <a:cubicBezTo>
                  <a:pt x="261953" y="1105078"/>
                  <a:pt x="262918" y="1104699"/>
                  <a:pt x="263911" y="1104310"/>
                </a:cubicBezTo>
                <a:cubicBezTo>
                  <a:pt x="272903" y="1100557"/>
                  <a:pt x="279802" y="1096307"/>
                  <a:pt x="286995" y="1090185"/>
                </a:cubicBezTo>
                <a:cubicBezTo>
                  <a:pt x="290956" y="1086897"/>
                  <a:pt x="295114" y="1083955"/>
                  <a:pt x="299358" y="1080970"/>
                </a:cubicBezTo>
                <a:cubicBezTo>
                  <a:pt x="306613" y="1075692"/>
                  <a:pt x="312234" y="1070023"/>
                  <a:pt x="317762" y="1063272"/>
                </a:cubicBezTo>
                <a:cubicBezTo>
                  <a:pt x="320349" y="1060360"/>
                  <a:pt x="320349" y="1060360"/>
                  <a:pt x="325035" y="1057542"/>
                </a:cubicBezTo>
                <a:cubicBezTo>
                  <a:pt x="329912" y="1045734"/>
                  <a:pt x="327928" y="1035103"/>
                  <a:pt x="325328" y="1023104"/>
                </a:cubicBezTo>
                <a:cubicBezTo>
                  <a:pt x="325069" y="1021831"/>
                  <a:pt x="324811" y="1020559"/>
                  <a:pt x="324544" y="1019247"/>
                </a:cubicBezTo>
                <a:cubicBezTo>
                  <a:pt x="322876" y="1011407"/>
                  <a:pt x="320562" y="1004340"/>
                  <a:pt x="317225" y="996945"/>
                </a:cubicBezTo>
                <a:cubicBezTo>
                  <a:pt x="316619" y="995541"/>
                  <a:pt x="316013" y="994137"/>
                  <a:pt x="315388" y="992690"/>
                </a:cubicBezTo>
                <a:cubicBezTo>
                  <a:pt x="306307" y="972561"/>
                  <a:pt x="298931" y="959343"/>
                  <a:pt x="276232" y="950666"/>
                </a:cubicBezTo>
                <a:cubicBezTo>
                  <a:pt x="274810" y="950127"/>
                  <a:pt x="273388" y="949587"/>
                  <a:pt x="271923" y="949031"/>
                </a:cubicBezTo>
                <a:cubicBezTo>
                  <a:pt x="270129" y="948244"/>
                  <a:pt x="270129" y="948244"/>
                  <a:pt x="268299" y="947441"/>
                </a:cubicBezTo>
                <a:cubicBezTo>
                  <a:pt x="247071" y="938140"/>
                  <a:pt x="222259" y="939051"/>
                  <a:pt x="199187" y="938991"/>
                </a:cubicBezTo>
                <a:cubicBezTo>
                  <a:pt x="197383" y="938984"/>
                  <a:pt x="195579" y="938978"/>
                  <a:pt x="193719" y="938971"/>
                </a:cubicBezTo>
                <a:cubicBezTo>
                  <a:pt x="192010" y="938974"/>
                  <a:pt x="190300" y="938977"/>
                  <a:pt x="188539" y="938980"/>
                </a:cubicBezTo>
                <a:cubicBezTo>
                  <a:pt x="187000" y="938981"/>
                  <a:pt x="185460" y="938983"/>
                  <a:pt x="183874" y="938985"/>
                </a:cubicBezTo>
                <a:cubicBezTo>
                  <a:pt x="180148" y="939150"/>
                  <a:pt x="177092" y="939720"/>
                  <a:pt x="173509" y="940576"/>
                </a:cubicBezTo>
                <a:cubicBezTo>
                  <a:pt x="169458" y="940674"/>
                  <a:pt x="165452" y="940710"/>
                  <a:pt x="161403" y="940664"/>
                </a:cubicBezTo>
                <a:cubicBezTo>
                  <a:pt x="160314" y="940658"/>
                  <a:pt x="159224" y="940651"/>
                  <a:pt x="158102" y="940645"/>
                </a:cubicBezTo>
                <a:lnTo>
                  <a:pt x="150875" y="940583"/>
                </a:lnTo>
                <a:lnTo>
                  <a:pt x="148425" y="940717"/>
                </a:lnTo>
                <a:lnTo>
                  <a:pt x="149617" y="940995"/>
                </a:lnTo>
                <a:cubicBezTo>
                  <a:pt x="149617" y="941459"/>
                  <a:pt x="149617" y="941924"/>
                  <a:pt x="149617" y="942404"/>
                </a:cubicBezTo>
                <a:cubicBezTo>
                  <a:pt x="148630" y="942558"/>
                  <a:pt x="147643" y="942712"/>
                  <a:pt x="146627" y="942871"/>
                </a:cubicBezTo>
                <a:cubicBezTo>
                  <a:pt x="134541" y="944804"/>
                  <a:pt x="122553" y="947081"/>
                  <a:pt x="110564" y="949449"/>
                </a:cubicBezTo>
                <a:lnTo>
                  <a:pt x="111283" y="946205"/>
                </a:lnTo>
                <a:lnTo>
                  <a:pt x="101652" y="956078"/>
                </a:lnTo>
                <a:cubicBezTo>
                  <a:pt x="99870" y="957260"/>
                  <a:pt x="99870" y="957260"/>
                  <a:pt x="98052" y="958467"/>
                </a:cubicBezTo>
                <a:cubicBezTo>
                  <a:pt x="75683" y="972989"/>
                  <a:pt x="75683" y="972989"/>
                  <a:pt x="67286" y="972989"/>
                </a:cubicBezTo>
                <a:cubicBezTo>
                  <a:pt x="67286" y="973918"/>
                  <a:pt x="67286" y="974848"/>
                  <a:pt x="67286" y="975807"/>
                </a:cubicBezTo>
                <a:cubicBezTo>
                  <a:pt x="55713" y="979519"/>
                  <a:pt x="43549" y="980689"/>
                  <a:pt x="31942" y="976423"/>
                </a:cubicBezTo>
                <a:cubicBezTo>
                  <a:pt x="19953" y="970870"/>
                  <a:pt x="10774" y="964932"/>
                  <a:pt x="5673" y="953419"/>
                </a:cubicBezTo>
                <a:cubicBezTo>
                  <a:pt x="4801" y="950441"/>
                  <a:pt x="4801" y="950441"/>
                  <a:pt x="4801" y="944804"/>
                </a:cubicBezTo>
                <a:cubicBezTo>
                  <a:pt x="3770" y="944804"/>
                  <a:pt x="2739" y="944804"/>
                  <a:pt x="1676" y="944804"/>
                </a:cubicBezTo>
                <a:cubicBezTo>
                  <a:pt x="-34" y="940174"/>
                  <a:pt x="-41" y="936720"/>
                  <a:pt x="17" y="931857"/>
                </a:cubicBezTo>
                <a:cubicBezTo>
                  <a:pt x="31" y="930325"/>
                  <a:pt x="45" y="928794"/>
                  <a:pt x="59" y="927216"/>
                </a:cubicBezTo>
                <a:cubicBezTo>
                  <a:pt x="78" y="926044"/>
                  <a:pt x="96" y="924873"/>
                  <a:pt x="115" y="923666"/>
                </a:cubicBezTo>
                <a:cubicBezTo>
                  <a:pt x="1145" y="923666"/>
                  <a:pt x="2176" y="923666"/>
                  <a:pt x="3238" y="923666"/>
                </a:cubicBezTo>
                <a:cubicBezTo>
                  <a:pt x="3238" y="921805"/>
                  <a:pt x="3238" y="919945"/>
                  <a:pt x="3238" y="918029"/>
                </a:cubicBezTo>
                <a:cubicBezTo>
                  <a:pt x="4270" y="918029"/>
                  <a:pt x="5300" y="918029"/>
                  <a:pt x="6363" y="918029"/>
                </a:cubicBezTo>
                <a:cubicBezTo>
                  <a:pt x="6459" y="916314"/>
                  <a:pt x="6556" y="914599"/>
                  <a:pt x="6656" y="912832"/>
                </a:cubicBezTo>
                <a:cubicBezTo>
                  <a:pt x="7542" y="906455"/>
                  <a:pt x="10104" y="903750"/>
                  <a:pt x="15736" y="899709"/>
                </a:cubicBezTo>
                <a:lnTo>
                  <a:pt x="17243" y="898894"/>
                </a:lnTo>
                <a:lnTo>
                  <a:pt x="16800" y="898694"/>
                </a:lnTo>
                <a:lnTo>
                  <a:pt x="24988" y="894101"/>
                </a:lnTo>
                <a:lnTo>
                  <a:pt x="26768" y="892399"/>
                </a:lnTo>
                <a:cubicBezTo>
                  <a:pt x="28282" y="891122"/>
                  <a:pt x="29038" y="890483"/>
                  <a:pt x="30198" y="890164"/>
                </a:cubicBezTo>
                <a:lnTo>
                  <a:pt x="32204" y="890054"/>
                </a:lnTo>
                <a:lnTo>
                  <a:pt x="38914" y="886291"/>
                </a:lnTo>
                <a:cubicBezTo>
                  <a:pt x="47169" y="885770"/>
                  <a:pt x="55396" y="885800"/>
                  <a:pt x="63664" y="886011"/>
                </a:cubicBezTo>
                <a:lnTo>
                  <a:pt x="63664" y="886531"/>
                </a:lnTo>
                <a:lnTo>
                  <a:pt x="70784" y="886647"/>
                </a:lnTo>
                <a:cubicBezTo>
                  <a:pt x="74787" y="887000"/>
                  <a:pt x="77233" y="887948"/>
                  <a:pt x="82126" y="889845"/>
                </a:cubicBezTo>
                <a:cubicBezTo>
                  <a:pt x="92427" y="893791"/>
                  <a:pt x="103139" y="893710"/>
                  <a:pt x="114149" y="892663"/>
                </a:cubicBezTo>
                <a:cubicBezTo>
                  <a:pt x="115696" y="891733"/>
                  <a:pt x="117242" y="890803"/>
                  <a:pt x="118836" y="889845"/>
                </a:cubicBezTo>
                <a:cubicBezTo>
                  <a:pt x="123097" y="888850"/>
                  <a:pt x="127325" y="887944"/>
                  <a:pt x="131626" y="887114"/>
                </a:cubicBezTo>
                <a:cubicBezTo>
                  <a:pt x="139750" y="885542"/>
                  <a:pt x="147376" y="883653"/>
                  <a:pt x="155116" y="880913"/>
                </a:cubicBezTo>
                <a:cubicBezTo>
                  <a:pt x="158498" y="879775"/>
                  <a:pt x="161861" y="879076"/>
                  <a:pt x="165406" y="878483"/>
                </a:cubicBezTo>
                <a:cubicBezTo>
                  <a:pt x="170342" y="877655"/>
                  <a:pt x="172265" y="876971"/>
                  <a:pt x="176634" y="874343"/>
                </a:cubicBezTo>
                <a:cubicBezTo>
                  <a:pt x="179863" y="873335"/>
                  <a:pt x="183123" y="872404"/>
                  <a:pt x="186397" y="871524"/>
                </a:cubicBezTo>
                <a:cubicBezTo>
                  <a:pt x="189107" y="870786"/>
                  <a:pt x="189107" y="870786"/>
                  <a:pt x="191871" y="870033"/>
                </a:cubicBezTo>
                <a:cubicBezTo>
                  <a:pt x="195731" y="869023"/>
                  <a:pt x="199587" y="868093"/>
                  <a:pt x="203483" y="867208"/>
                </a:cubicBezTo>
                <a:cubicBezTo>
                  <a:pt x="208339" y="866199"/>
                  <a:pt x="208339" y="866199"/>
                  <a:pt x="211001" y="861660"/>
                </a:cubicBezTo>
                <a:cubicBezTo>
                  <a:pt x="214174" y="860102"/>
                  <a:pt x="214174" y="860102"/>
                  <a:pt x="218031" y="858577"/>
                </a:cubicBezTo>
                <a:cubicBezTo>
                  <a:pt x="236068" y="850629"/>
                  <a:pt x="245199" y="840442"/>
                  <a:pt x="254740" y="825020"/>
                </a:cubicBezTo>
                <a:cubicBezTo>
                  <a:pt x="255771" y="823625"/>
                  <a:pt x="256802" y="822230"/>
                  <a:pt x="257864" y="820792"/>
                </a:cubicBezTo>
                <a:cubicBezTo>
                  <a:pt x="258359" y="817506"/>
                  <a:pt x="258359" y="817506"/>
                  <a:pt x="258318" y="813810"/>
                </a:cubicBezTo>
                <a:cubicBezTo>
                  <a:pt x="258338" y="812388"/>
                  <a:pt x="258358" y="810967"/>
                  <a:pt x="258378" y="809502"/>
                </a:cubicBezTo>
                <a:cubicBezTo>
                  <a:pt x="258382" y="807965"/>
                  <a:pt x="258385" y="806429"/>
                  <a:pt x="258389" y="804845"/>
                </a:cubicBezTo>
                <a:cubicBezTo>
                  <a:pt x="258399" y="803258"/>
                  <a:pt x="258410" y="801671"/>
                  <a:pt x="258420" y="800036"/>
                </a:cubicBezTo>
                <a:cubicBezTo>
                  <a:pt x="258436" y="796670"/>
                  <a:pt x="258443" y="793305"/>
                  <a:pt x="258443" y="789939"/>
                </a:cubicBezTo>
                <a:cubicBezTo>
                  <a:pt x="258450" y="784823"/>
                  <a:pt x="258506" y="779709"/>
                  <a:pt x="258566" y="774594"/>
                </a:cubicBezTo>
                <a:cubicBezTo>
                  <a:pt x="258575" y="771319"/>
                  <a:pt x="258581" y="768045"/>
                  <a:pt x="258584" y="764771"/>
                </a:cubicBezTo>
                <a:cubicBezTo>
                  <a:pt x="258618" y="762495"/>
                  <a:pt x="258618" y="762495"/>
                  <a:pt x="258652" y="760174"/>
                </a:cubicBezTo>
                <a:cubicBezTo>
                  <a:pt x="258586" y="750030"/>
                  <a:pt x="256266" y="742584"/>
                  <a:pt x="251616" y="733421"/>
                </a:cubicBezTo>
                <a:cubicBezTo>
                  <a:pt x="250163" y="729605"/>
                  <a:pt x="248880" y="725752"/>
                  <a:pt x="247613" y="721883"/>
                </a:cubicBezTo>
                <a:cubicBezTo>
                  <a:pt x="245789" y="716328"/>
                  <a:pt x="243913" y="710939"/>
                  <a:pt x="241291" y="705644"/>
                </a:cubicBezTo>
                <a:cubicBezTo>
                  <a:pt x="238691" y="700096"/>
                  <a:pt x="238136" y="695685"/>
                  <a:pt x="237557" y="689735"/>
                </a:cubicBezTo>
                <a:cubicBezTo>
                  <a:pt x="244977" y="685507"/>
                  <a:pt x="244977" y="685507"/>
                  <a:pt x="248492" y="685507"/>
                </a:cubicBezTo>
                <a:cubicBezTo>
                  <a:pt x="248492" y="684112"/>
                  <a:pt x="248492" y="682717"/>
                  <a:pt x="248492" y="681279"/>
                </a:cubicBezTo>
                <a:cubicBezTo>
                  <a:pt x="245914" y="680815"/>
                  <a:pt x="243337" y="680350"/>
                  <a:pt x="240681" y="679870"/>
                </a:cubicBezTo>
                <a:cubicBezTo>
                  <a:pt x="240681" y="678940"/>
                  <a:pt x="240681" y="678010"/>
                  <a:pt x="240681" y="677052"/>
                </a:cubicBezTo>
                <a:cubicBezTo>
                  <a:pt x="239827" y="676917"/>
                  <a:pt x="238973" y="676783"/>
                  <a:pt x="238094" y="676645"/>
                </a:cubicBezTo>
                <a:cubicBezTo>
                  <a:pt x="233442" y="675371"/>
                  <a:pt x="229939" y="673242"/>
                  <a:pt x="225841" y="670886"/>
                </a:cubicBezTo>
                <a:cubicBezTo>
                  <a:pt x="217808" y="666564"/>
                  <a:pt x="210635" y="664241"/>
                  <a:pt x="201531" y="662508"/>
                </a:cubicBezTo>
                <a:cubicBezTo>
                  <a:pt x="196896" y="661541"/>
                  <a:pt x="192682" y="660199"/>
                  <a:pt x="188252" y="658644"/>
                </a:cubicBezTo>
                <a:lnTo>
                  <a:pt x="182431" y="657327"/>
                </a:lnTo>
                <a:lnTo>
                  <a:pt x="182431" y="657613"/>
                </a:lnTo>
                <a:cubicBezTo>
                  <a:pt x="170575" y="657148"/>
                  <a:pt x="158718" y="656683"/>
                  <a:pt x="146503" y="656204"/>
                </a:cubicBezTo>
                <a:cubicBezTo>
                  <a:pt x="146503" y="657133"/>
                  <a:pt x="146503" y="658064"/>
                  <a:pt x="146503" y="659022"/>
                </a:cubicBezTo>
                <a:cubicBezTo>
                  <a:pt x="134359" y="662326"/>
                  <a:pt x="123013" y="663700"/>
                  <a:pt x="110378" y="663778"/>
                </a:cubicBezTo>
                <a:cubicBezTo>
                  <a:pt x="108435" y="663806"/>
                  <a:pt x="108435" y="663806"/>
                  <a:pt x="106453" y="663836"/>
                </a:cubicBezTo>
                <a:cubicBezTo>
                  <a:pt x="105231" y="663828"/>
                  <a:pt x="104009" y="663820"/>
                  <a:pt x="102751" y="663811"/>
                </a:cubicBezTo>
                <a:cubicBezTo>
                  <a:pt x="101117" y="663804"/>
                  <a:pt x="101117" y="663804"/>
                  <a:pt x="99449" y="663797"/>
                </a:cubicBezTo>
                <a:cubicBezTo>
                  <a:pt x="95696" y="663097"/>
                  <a:pt x="94265" y="661615"/>
                  <a:pt x="91828" y="659022"/>
                </a:cubicBezTo>
                <a:cubicBezTo>
                  <a:pt x="93890" y="659022"/>
                  <a:pt x="95953" y="659022"/>
                  <a:pt x="98077" y="659022"/>
                </a:cubicBezTo>
                <a:cubicBezTo>
                  <a:pt x="98077" y="659952"/>
                  <a:pt x="98077" y="660882"/>
                  <a:pt x="98077" y="661841"/>
                </a:cubicBezTo>
                <a:cubicBezTo>
                  <a:pt x="108735" y="662045"/>
                  <a:pt x="114063" y="662148"/>
                  <a:pt x="119023" y="661357"/>
                </a:cubicBezTo>
                <a:lnTo>
                  <a:pt x="119536" y="661197"/>
                </a:lnTo>
                <a:lnTo>
                  <a:pt x="109853" y="661639"/>
                </a:lnTo>
                <a:cubicBezTo>
                  <a:pt x="108764" y="661632"/>
                  <a:pt x="107675" y="661626"/>
                  <a:pt x="106552" y="661619"/>
                </a:cubicBezTo>
                <a:cubicBezTo>
                  <a:pt x="103877" y="661603"/>
                  <a:pt x="101203" y="661577"/>
                  <a:pt x="98528" y="661550"/>
                </a:cubicBezTo>
                <a:cubicBezTo>
                  <a:pt x="98528" y="660620"/>
                  <a:pt x="98528" y="659691"/>
                  <a:pt x="98528" y="658732"/>
                </a:cubicBezTo>
                <a:cubicBezTo>
                  <a:pt x="95435" y="658267"/>
                  <a:pt x="92342" y="657802"/>
                  <a:pt x="89155" y="657323"/>
                </a:cubicBezTo>
                <a:cubicBezTo>
                  <a:pt x="89155" y="656393"/>
                  <a:pt x="89155" y="655462"/>
                  <a:pt x="89155" y="654504"/>
                </a:cubicBezTo>
                <a:cubicBezTo>
                  <a:pt x="87790" y="653978"/>
                  <a:pt x="87790" y="653978"/>
                  <a:pt x="86397" y="653442"/>
                </a:cubicBezTo>
                <a:cubicBezTo>
                  <a:pt x="82415" y="651438"/>
                  <a:pt x="80039" y="649232"/>
                  <a:pt x="77049" y="646137"/>
                </a:cubicBezTo>
                <a:cubicBezTo>
                  <a:pt x="75611" y="644679"/>
                  <a:pt x="75611" y="644679"/>
                  <a:pt x="74145" y="643192"/>
                </a:cubicBezTo>
                <a:cubicBezTo>
                  <a:pt x="71972" y="640412"/>
                  <a:pt x="71972" y="640412"/>
                  <a:pt x="71972" y="636185"/>
                </a:cubicBezTo>
                <a:cubicBezTo>
                  <a:pt x="70941" y="636185"/>
                  <a:pt x="69910" y="636185"/>
                  <a:pt x="68848" y="636185"/>
                </a:cubicBezTo>
                <a:cubicBezTo>
                  <a:pt x="64250" y="621928"/>
                  <a:pt x="64695" y="609404"/>
                  <a:pt x="70410" y="595317"/>
                </a:cubicBezTo>
                <a:cubicBezTo>
                  <a:pt x="73096" y="591142"/>
                  <a:pt x="76144" y="587574"/>
                  <a:pt x="79782" y="584043"/>
                </a:cubicBezTo>
                <a:cubicBezTo>
                  <a:pt x="81205" y="582594"/>
                  <a:pt x="81205" y="582594"/>
                  <a:pt x="82656" y="581115"/>
                </a:cubicBezTo>
                <a:cubicBezTo>
                  <a:pt x="91488" y="574027"/>
                  <a:pt x="105133" y="571806"/>
                  <a:pt x="116694" y="572323"/>
                </a:cubicBezTo>
                <a:cubicBezTo>
                  <a:pt x="131556" y="574113"/>
                  <a:pt x="142046" y="580551"/>
                  <a:pt x="152031" y="590385"/>
                </a:cubicBezTo>
                <a:cubicBezTo>
                  <a:pt x="162272" y="600009"/>
                  <a:pt x="176992" y="605062"/>
                  <a:pt x="191474" y="605886"/>
                </a:cubicBezTo>
                <a:cubicBezTo>
                  <a:pt x="196845" y="606192"/>
                  <a:pt x="201203" y="606463"/>
                  <a:pt x="206314" y="608000"/>
                </a:cubicBezTo>
                <a:cubicBezTo>
                  <a:pt x="206314" y="608930"/>
                  <a:pt x="206314" y="609860"/>
                  <a:pt x="206314" y="610818"/>
                </a:cubicBezTo>
                <a:cubicBezTo>
                  <a:pt x="215689" y="610902"/>
                  <a:pt x="225058" y="610898"/>
                  <a:pt x="234433" y="610818"/>
                </a:cubicBezTo>
                <a:cubicBezTo>
                  <a:pt x="236112" y="610813"/>
                  <a:pt x="237791" y="610808"/>
                  <a:pt x="239522" y="610802"/>
                </a:cubicBezTo>
                <a:cubicBezTo>
                  <a:pt x="251005" y="610364"/>
                  <a:pt x="259257" y="606564"/>
                  <a:pt x="268799" y="600954"/>
                </a:cubicBezTo>
                <a:cubicBezTo>
                  <a:pt x="269770" y="600416"/>
                  <a:pt x="270740" y="599879"/>
                  <a:pt x="271740" y="599325"/>
                </a:cubicBezTo>
                <a:cubicBezTo>
                  <a:pt x="279452" y="594430"/>
                  <a:pt x="281420" y="587464"/>
                  <a:pt x="284420" y="579816"/>
                </a:cubicBezTo>
                <a:cubicBezTo>
                  <a:pt x="286047" y="576075"/>
                  <a:pt x="287725" y="572353"/>
                  <a:pt x="289399" y="568630"/>
                </a:cubicBezTo>
                <a:cubicBezTo>
                  <a:pt x="294095" y="558121"/>
                  <a:pt x="299004" y="547070"/>
                  <a:pt x="293958" y="535838"/>
                </a:cubicBezTo>
                <a:cubicBezTo>
                  <a:pt x="292436" y="533533"/>
                  <a:pt x="290781" y="531301"/>
                  <a:pt x="289107" y="529084"/>
                </a:cubicBezTo>
                <a:cubicBezTo>
                  <a:pt x="289107" y="528153"/>
                  <a:pt x="289107" y="527223"/>
                  <a:pt x="289107" y="526265"/>
                </a:cubicBezTo>
                <a:cubicBezTo>
                  <a:pt x="287560" y="525800"/>
                  <a:pt x="286014" y="525335"/>
                  <a:pt x="284420" y="524856"/>
                </a:cubicBezTo>
                <a:cubicBezTo>
                  <a:pt x="283905" y="523461"/>
                  <a:pt x="283389" y="522066"/>
                  <a:pt x="282858" y="520628"/>
                </a:cubicBezTo>
                <a:cubicBezTo>
                  <a:pt x="280750" y="518590"/>
                  <a:pt x="280750" y="518590"/>
                  <a:pt x="277977" y="516577"/>
                </a:cubicBezTo>
                <a:cubicBezTo>
                  <a:pt x="273591" y="513232"/>
                  <a:pt x="269227" y="509874"/>
                  <a:pt x="264925" y="506443"/>
                </a:cubicBezTo>
                <a:cubicBezTo>
                  <a:pt x="253596" y="497433"/>
                  <a:pt x="242132" y="488987"/>
                  <a:pt x="229746" y="481170"/>
                </a:cubicBezTo>
                <a:cubicBezTo>
                  <a:pt x="226846" y="479266"/>
                  <a:pt x="223950" y="477358"/>
                  <a:pt x="221057" y="475445"/>
                </a:cubicBezTo>
                <a:cubicBezTo>
                  <a:pt x="218227" y="473594"/>
                  <a:pt x="215396" y="471744"/>
                  <a:pt x="212563" y="469896"/>
                </a:cubicBezTo>
                <a:cubicBezTo>
                  <a:pt x="211351" y="469102"/>
                  <a:pt x="210138" y="468309"/>
                  <a:pt x="208889" y="467491"/>
                </a:cubicBezTo>
                <a:cubicBezTo>
                  <a:pt x="202848" y="463599"/>
                  <a:pt x="196732" y="459888"/>
                  <a:pt x="190406" y="456382"/>
                </a:cubicBezTo>
                <a:cubicBezTo>
                  <a:pt x="189263" y="455748"/>
                  <a:pt x="188119" y="455114"/>
                  <a:pt x="186942" y="454460"/>
                </a:cubicBezTo>
                <a:cubicBezTo>
                  <a:pt x="184648" y="453196"/>
                  <a:pt x="182348" y="451941"/>
                  <a:pt x="180041" y="450696"/>
                </a:cubicBezTo>
                <a:cubicBezTo>
                  <a:pt x="177292" y="449185"/>
                  <a:pt x="174612" y="447571"/>
                  <a:pt x="171948" y="445940"/>
                </a:cubicBezTo>
                <a:cubicBezTo>
                  <a:pt x="171948" y="445009"/>
                  <a:pt x="171948" y="444079"/>
                  <a:pt x="171948" y="443121"/>
                </a:cubicBezTo>
                <a:cubicBezTo>
                  <a:pt x="170804" y="442985"/>
                  <a:pt x="169660" y="442848"/>
                  <a:pt x="168482" y="442708"/>
                </a:cubicBezTo>
                <a:cubicBezTo>
                  <a:pt x="163547" y="441576"/>
                  <a:pt x="161063" y="439897"/>
                  <a:pt x="157107" y="437044"/>
                </a:cubicBezTo>
                <a:cubicBezTo>
                  <a:pt x="149345" y="431895"/>
                  <a:pt x="141843" y="429626"/>
                  <a:pt x="132559" y="427510"/>
                </a:cubicBezTo>
                <a:cubicBezTo>
                  <a:pt x="128067" y="426168"/>
                  <a:pt x="126607" y="425060"/>
                  <a:pt x="123522" y="421983"/>
                </a:cubicBezTo>
                <a:cubicBezTo>
                  <a:pt x="118310" y="419033"/>
                  <a:pt x="114076" y="418794"/>
                  <a:pt x="107986" y="418730"/>
                </a:cubicBezTo>
                <a:cubicBezTo>
                  <a:pt x="106174" y="418694"/>
                  <a:pt x="104362" y="418659"/>
                  <a:pt x="102494" y="418622"/>
                </a:cubicBezTo>
                <a:cubicBezTo>
                  <a:pt x="98715" y="418573"/>
                  <a:pt x="94936" y="418529"/>
                  <a:pt x="91157" y="418490"/>
                </a:cubicBezTo>
                <a:cubicBezTo>
                  <a:pt x="78470" y="418231"/>
                  <a:pt x="65485" y="417940"/>
                  <a:pt x="55277" y="410445"/>
                </a:cubicBezTo>
                <a:cubicBezTo>
                  <a:pt x="54084" y="409137"/>
                  <a:pt x="52893" y="407829"/>
                  <a:pt x="51665" y="406481"/>
                </a:cubicBezTo>
                <a:cubicBezTo>
                  <a:pt x="49752" y="404480"/>
                  <a:pt x="47831" y="402483"/>
                  <a:pt x="45904" y="400492"/>
                </a:cubicBezTo>
                <a:cubicBezTo>
                  <a:pt x="44996" y="399526"/>
                  <a:pt x="44088" y="398559"/>
                  <a:pt x="43152" y="397564"/>
                </a:cubicBezTo>
                <a:cubicBezTo>
                  <a:pt x="40865" y="395062"/>
                  <a:pt x="40865" y="395062"/>
                  <a:pt x="37605" y="393798"/>
                </a:cubicBezTo>
                <a:lnTo>
                  <a:pt x="38995" y="368712"/>
                </a:lnTo>
                <a:lnTo>
                  <a:pt x="38666" y="369724"/>
                </a:lnTo>
                <a:cubicBezTo>
                  <a:pt x="37003" y="374506"/>
                  <a:pt x="36202" y="379113"/>
                  <a:pt x="35542" y="384081"/>
                </a:cubicBezTo>
                <a:cubicBezTo>
                  <a:pt x="30313" y="376119"/>
                  <a:pt x="31188" y="366593"/>
                  <a:pt x="33326" y="357791"/>
                </a:cubicBezTo>
                <a:cubicBezTo>
                  <a:pt x="37176" y="347767"/>
                  <a:pt x="44536" y="340769"/>
                  <a:pt x="52725" y="333349"/>
                </a:cubicBezTo>
                <a:lnTo>
                  <a:pt x="55222" y="334475"/>
                </a:lnTo>
                <a:lnTo>
                  <a:pt x="56222" y="333347"/>
                </a:lnTo>
                <a:lnTo>
                  <a:pt x="55871" y="333347"/>
                </a:lnTo>
                <a:lnTo>
                  <a:pt x="56346" y="333207"/>
                </a:lnTo>
                <a:lnTo>
                  <a:pt x="56351" y="333202"/>
                </a:lnTo>
                <a:lnTo>
                  <a:pt x="56365" y="333202"/>
                </a:lnTo>
                <a:lnTo>
                  <a:pt x="79571" y="326360"/>
                </a:lnTo>
                <a:cubicBezTo>
                  <a:pt x="87782" y="326037"/>
                  <a:pt x="96164" y="327572"/>
                  <a:pt x="104297" y="330529"/>
                </a:cubicBezTo>
                <a:lnTo>
                  <a:pt x="107170" y="334417"/>
                </a:lnTo>
                <a:lnTo>
                  <a:pt x="109366" y="336046"/>
                </a:lnTo>
                <a:lnTo>
                  <a:pt x="109463" y="336020"/>
                </a:lnTo>
                <a:lnTo>
                  <a:pt x="109463" y="336118"/>
                </a:lnTo>
                <a:lnTo>
                  <a:pt x="115226" y="340394"/>
                </a:lnTo>
                <a:lnTo>
                  <a:pt x="114010" y="340120"/>
                </a:lnTo>
                <a:lnTo>
                  <a:pt x="133285" y="357423"/>
                </a:lnTo>
                <a:cubicBezTo>
                  <a:pt x="142471" y="373187"/>
                  <a:pt x="155564" y="382744"/>
                  <a:pt x="173509" y="389571"/>
                </a:cubicBezTo>
                <a:cubicBezTo>
                  <a:pt x="176254" y="390785"/>
                  <a:pt x="178988" y="392017"/>
                  <a:pt x="181711" y="393270"/>
                </a:cubicBezTo>
                <a:cubicBezTo>
                  <a:pt x="182964" y="393833"/>
                  <a:pt x="184216" y="394396"/>
                  <a:pt x="185507" y="394976"/>
                </a:cubicBezTo>
                <a:cubicBezTo>
                  <a:pt x="187897" y="396058"/>
                  <a:pt x="190281" y="397151"/>
                  <a:pt x="192658" y="398257"/>
                </a:cubicBezTo>
                <a:cubicBezTo>
                  <a:pt x="193749" y="398762"/>
                  <a:pt x="194841" y="399267"/>
                  <a:pt x="195966" y="399788"/>
                </a:cubicBezTo>
                <a:cubicBezTo>
                  <a:pt x="196912" y="400231"/>
                  <a:pt x="197858" y="400674"/>
                  <a:pt x="198833" y="401131"/>
                </a:cubicBezTo>
                <a:cubicBezTo>
                  <a:pt x="201808" y="402326"/>
                  <a:pt x="204701" y="403032"/>
                  <a:pt x="207877" y="403663"/>
                </a:cubicBezTo>
                <a:cubicBezTo>
                  <a:pt x="207877" y="404593"/>
                  <a:pt x="207877" y="405523"/>
                  <a:pt x="207877" y="406481"/>
                </a:cubicBezTo>
                <a:cubicBezTo>
                  <a:pt x="221233" y="411377"/>
                  <a:pt x="234752" y="415503"/>
                  <a:pt x="248492" y="419428"/>
                </a:cubicBezTo>
                <a:cubicBezTo>
                  <a:pt x="250298" y="419947"/>
                  <a:pt x="252104" y="420466"/>
                  <a:pt x="253965" y="421000"/>
                </a:cubicBezTo>
                <a:cubicBezTo>
                  <a:pt x="258388" y="422270"/>
                  <a:pt x="262812" y="423537"/>
                  <a:pt x="267237" y="424801"/>
                </a:cubicBezTo>
                <a:lnTo>
                  <a:pt x="267237" y="426451"/>
                </a:lnTo>
                <a:lnTo>
                  <a:pt x="288701" y="429217"/>
                </a:lnTo>
                <a:cubicBezTo>
                  <a:pt x="288701" y="430147"/>
                  <a:pt x="288701" y="431078"/>
                  <a:pt x="288701" y="432036"/>
                </a:cubicBezTo>
                <a:cubicBezTo>
                  <a:pt x="301487" y="433472"/>
                  <a:pt x="314148" y="433662"/>
                  <a:pt x="327010" y="433628"/>
                </a:cubicBezTo>
                <a:cubicBezTo>
                  <a:pt x="330502" y="433621"/>
                  <a:pt x="333994" y="433628"/>
                  <a:pt x="337486" y="433637"/>
                </a:cubicBezTo>
                <a:cubicBezTo>
                  <a:pt x="339734" y="433637"/>
                  <a:pt x="341982" y="433635"/>
                  <a:pt x="344229" y="433632"/>
                </a:cubicBezTo>
                <a:cubicBezTo>
                  <a:pt x="347246" y="433630"/>
                  <a:pt x="347246" y="433630"/>
                  <a:pt x="350323" y="433627"/>
                </a:cubicBezTo>
                <a:cubicBezTo>
                  <a:pt x="355445" y="433459"/>
                  <a:pt x="360220" y="432915"/>
                  <a:pt x="365245" y="432036"/>
                </a:cubicBezTo>
                <a:lnTo>
                  <a:pt x="360797" y="433759"/>
                </a:lnTo>
                <a:lnTo>
                  <a:pt x="365650" y="433257"/>
                </a:lnTo>
                <a:cubicBezTo>
                  <a:pt x="366166" y="431861"/>
                  <a:pt x="366682" y="430466"/>
                  <a:pt x="367213" y="429029"/>
                </a:cubicBezTo>
                <a:cubicBezTo>
                  <a:pt x="369854" y="427628"/>
                  <a:pt x="372501" y="426234"/>
                  <a:pt x="375188" y="424906"/>
                </a:cubicBezTo>
                <a:cubicBezTo>
                  <a:pt x="390245" y="417204"/>
                  <a:pt x="397438" y="403183"/>
                  <a:pt x="404704" y="389571"/>
                </a:cubicBezTo>
                <a:cubicBezTo>
                  <a:pt x="405219" y="389105"/>
                  <a:pt x="405734" y="388641"/>
                  <a:pt x="406265" y="388161"/>
                </a:cubicBezTo>
                <a:cubicBezTo>
                  <a:pt x="406663" y="382152"/>
                  <a:pt x="406555" y="376125"/>
                  <a:pt x="406559" y="370106"/>
                </a:cubicBezTo>
                <a:cubicBezTo>
                  <a:pt x="406578" y="368412"/>
                  <a:pt x="406597" y="366718"/>
                  <a:pt x="406617" y="364973"/>
                </a:cubicBezTo>
                <a:cubicBezTo>
                  <a:pt x="406620" y="363344"/>
                  <a:pt x="406622" y="361715"/>
                  <a:pt x="406626" y="360038"/>
                </a:cubicBezTo>
                <a:cubicBezTo>
                  <a:pt x="406632" y="358541"/>
                  <a:pt x="406638" y="357045"/>
                  <a:pt x="406645" y="355503"/>
                </a:cubicBezTo>
                <a:cubicBezTo>
                  <a:pt x="406264" y="351503"/>
                  <a:pt x="405326" y="349318"/>
                  <a:pt x="403142" y="345885"/>
                </a:cubicBezTo>
                <a:cubicBezTo>
                  <a:pt x="402583" y="343484"/>
                  <a:pt x="402067" y="341075"/>
                  <a:pt x="401579" y="338663"/>
                </a:cubicBezTo>
                <a:cubicBezTo>
                  <a:pt x="399365" y="330323"/>
                  <a:pt x="395538" y="323370"/>
                  <a:pt x="390938" y="315939"/>
                </a:cubicBezTo>
                <a:cubicBezTo>
                  <a:pt x="390290" y="314890"/>
                  <a:pt x="389642" y="313842"/>
                  <a:pt x="388976" y="312762"/>
                </a:cubicBezTo>
                <a:cubicBezTo>
                  <a:pt x="385623" y="307500"/>
                  <a:pt x="382070" y="302607"/>
                  <a:pt x="377934" y="297817"/>
                </a:cubicBezTo>
                <a:cubicBezTo>
                  <a:pt x="373788" y="292978"/>
                  <a:pt x="371423" y="288111"/>
                  <a:pt x="368775" y="282470"/>
                </a:cubicBezTo>
                <a:cubicBezTo>
                  <a:pt x="366035" y="278585"/>
                  <a:pt x="362994" y="274937"/>
                  <a:pt x="359890" y="271284"/>
                </a:cubicBezTo>
                <a:cubicBezTo>
                  <a:pt x="359059" y="270296"/>
                  <a:pt x="358230" y="269307"/>
                  <a:pt x="357374" y="268288"/>
                </a:cubicBezTo>
                <a:cubicBezTo>
                  <a:pt x="351312" y="261177"/>
                  <a:pt x="344882" y="254704"/>
                  <a:pt x="337533" y="248649"/>
                </a:cubicBezTo>
                <a:cubicBezTo>
                  <a:pt x="336767" y="247896"/>
                  <a:pt x="336002" y="247144"/>
                  <a:pt x="335214" y="246369"/>
                </a:cubicBezTo>
                <a:cubicBezTo>
                  <a:pt x="332597" y="243963"/>
                  <a:pt x="332597" y="243963"/>
                  <a:pt x="327085" y="242571"/>
                </a:cubicBezTo>
                <a:cubicBezTo>
                  <a:pt x="309670" y="236923"/>
                  <a:pt x="296614" y="222751"/>
                  <a:pt x="288785" y="207968"/>
                </a:cubicBezTo>
                <a:cubicBezTo>
                  <a:pt x="286673" y="202851"/>
                  <a:pt x="286348" y="197968"/>
                  <a:pt x="286373" y="192544"/>
                </a:cubicBezTo>
                <a:cubicBezTo>
                  <a:pt x="286377" y="191437"/>
                  <a:pt x="286381" y="190330"/>
                  <a:pt x="286385" y="189190"/>
                </a:cubicBezTo>
                <a:cubicBezTo>
                  <a:pt x="286881" y="178340"/>
                  <a:pt x="291581" y="171728"/>
                  <a:pt x="300042" y="164095"/>
                </a:cubicBezTo>
                <a:cubicBezTo>
                  <a:pt x="301386" y="162752"/>
                  <a:pt x="301386" y="162752"/>
                  <a:pt x="302757" y="161381"/>
                </a:cubicBezTo>
                <a:cubicBezTo>
                  <a:pt x="312597" y="152504"/>
                  <a:pt x="325185" y="152675"/>
                  <a:pt x="338411" y="152293"/>
                </a:cubicBezTo>
                <a:cubicBezTo>
                  <a:pt x="350839" y="152463"/>
                  <a:pt x="359094" y="154554"/>
                  <a:pt x="368482" y="161893"/>
                </a:cubicBezTo>
                <a:cubicBezTo>
                  <a:pt x="369609" y="163085"/>
                  <a:pt x="370737" y="164277"/>
                  <a:pt x="371899" y="165505"/>
                </a:cubicBezTo>
                <a:cubicBezTo>
                  <a:pt x="372962" y="166522"/>
                  <a:pt x="374026" y="167539"/>
                  <a:pt x="375121" y="168587"/>
                </a:cubicBezTo>
                <a:cubicBezTo>
                  <a:pt x="381050" y="176351"/>
                  <a:pt x="384520" y="184328"/>
                  <a:pt x="384982" y="193777"/>
                </a:cubicBezTo>
                <a:cubicBezTo>
                  <a:pt x="385464" y="201192"/>
                  <a:pt x="387638" y="207607"/>
                  <a:pt x="390352" y="214563"/>
                </a:cubicBezTo>
                <a:cubicBezTo>
                  <a:pt x="390934" y="216079"/>
                  <a:pt x="390934" y="216079"/>
                  <a:pt x="391529" y="217626"/>
                </a:cubicBezTo>
                <a:cubicBezTo>
                  <a:pt x="394082" y="223926"/>
                  <a:pt x="397412" y="228969"/>
                  <a:pt x="401579" y="234556"/>
                </a:cubicBezTo>
                <a:cubicBezTo>
                  <a:pt x="401579" y="235952"/>
                  <a:pt x="401579" y="237347"/>
                  <a:pt x="401579" y="238784"/>
                </a:cubicBezTo>
                <a:cubicBezTo>
                  <a:pt x="402884" y="239263"/>
                  <a:pt x="402884" y="239263"/>
                  <a:pt x="404215" y="239753"/>
                </a:cubicBezTo>
                <a:cubicBezTo>
                  <a:pt x="410099" y="242765"/>
                  <a:pt x="414395" y="246733"/>
                  <a:pt x="417811" y="251996"/>
                </a:cubicBezTo>
                <a:cubicBezTo>
                  <a:pt x="420462" y="255897"/>
                  <a:pt x="423407" y="258959"/>
                  <a:pt x="426866" y="262300"/>
                </a:cubicBezTo>
                <a:cubicBezTo>
                  <a:pt x="435101" y="270407"/>
                  <a:pt x="442641" y="278936"/>
                  <a:pt x="450097" y="287628"/>
                </a:cubicBezTo>
                <a:cubicBezTo>
                  <a:pt x="453081" y="291117"/>
                  <a:pt x="453081" y="291117"/>
                  <a:pt x="457425" y="293920"/>
                </a:cubicBezTo>
                <a:cubicBezTo>
                  <a:pt x="458585" y="294792"/>
                  <a:pt x="459745" y="295664"/>
                  <a:pt x="460940" y="296562"/>
                </a:cubicBezTo>
                <a:cubicBezTo>
                  <a:pt x="460940" y="297957"/>
                  <a:pt x="460940" y="299352"/>
                  <a:pt x="460940" y="300790"/>
                </a:cubicBezTo>
                <a:cubicBezTo>
                  <a:pt x="465063" y="302782"/>
                  <a:pt x="468862" y="304133"/>
                  <a:pt x="473437" y="305018"/>
                </a:cubicBezTo>
                <a:cubicBezTo>
                  <a:pt x="473437" y="305947"/>
                  <a:pt x="473437" y="306877"/>
                  <a:pt x="473437" y="307836"/>
                </a:cubicBezTo>
                <a:cubicBezTo>
                  <a:pt x="475581" y="308519"/>
                  <a:pt x="477730" y="309193"/>
                  <a:pt x="479881" y="309862"/>
                </a:cubicBezTo>
                <a:cubicBezTo>
                  <a:pt x="481077" y="310237"/>
                  <a:pt x="482273" y="310614"/>
                  <a:pt x="483505" y="311001"/>
                </a:cubicBezTo>
                <a:cubicBezTo>
                  <a:pt x="505448" y="316843"/>
                  <a:pt x="527690" y="314359"/>
                  <a:pt x="548419" y="306427"/>
                </a:cubicBezTo>
                <a:cubicBezTo>
                  <a:pt x="549548" y="305998"/>
                  <a:pt x="550678" y="305569"/>
                  <a:pt x="551842" y="305127"/>
                </a:cubicBezTo>
                <a:cubicBezTo>
                  <a:pt x="555376" y="303227"/>
                  <a:pt x="557584" y="300980"/>
                  <a:pt x="560232" y="298148"/>
                </a:cubicBezTo>
                <a:cubicBezTo>
                  <a:pt x="561137" y="297192"/>
                  <a:pt x="562041" y="296236"/>
                  <a:pt x="562972" y="295252"/>
                </a:cubicBezTo>
                <a:cubicBezTo>
                  <a:pt x="564755" y="293274"/>
                  <a:pt x="566459" y="291237"/>
                  <a:pt x="568086" y="289152"/>
                </a:cubicBezTo>
                <a:cubicBezTo>
                  <a:pt x="568813" y="288342"/>
                  <a:pt x="569539" y="287532"/>
                  <a:pt x="570289" y="286697"/>
                </a:cubicBezTo>
                <a:cubicBezTo>
                  <a:pt x="571319" y="286697"/>
                  <a:pt x="572350" y="286697"/>
                  <a:pt x="573413" y="286697"/>
                </a:cubicBezTo>
                <a:cubicBezTo>
                  <a:pt x="577408" y="276984"/>
                  <a:pt x="577197" y="267284"/>
                  <a:pt x="577220" y="257016"/>
                </a:cubicBezTo>
                <a:cubicBezTo>
                  <a:pt x="577227" y="255625"/>
                  <a:pt x="577227" y="255625"/>
                  <a:pt x="577235" y="254206"/>
                </a:cubicBezTo>
                <a:cubicBezTo>
                  <a:pt x="577257" y="237553"/>
                  <a:pt x="574604" y="222055"/>
                  <a:pt x="569443" y="206049"/>
                </a:cubicBezTo>
                <a:cubicBezTo>
                  <a:pt x="568726" y="203553"/>
                  <a:pt x="568726" y="203553"/>
                  <a:pt x="568726" y="200735"/>
                </a:cubicBezTo>
                <a:cubicBezTo>
                  <a:pt x="567695" y="200735"/>
                  <a:pt x="566664" y="200735"/>
                  <a:pt x="565602" y="200735"/>
                </a:cubicBezTo>
                <a:cubicBezTo>
                  <a:pt x="563274" y="195295"/>
                  <a:pt x="561092" y="190108"/>
                  <a:pt x="559549" y="184441"/>
                </a:cubicBezTo>
                <a:cubicBezTo>
                  <a:pt x="555572" y="173477"/>
                  <a:pt x="547043" y="167105"/>
                  <a:pt x="537484" y="159867"/>
                </a:cubicBezTo>
                <a:cubicBezTo>
                  <a:pt x="533579" y="156609"/>
                  <a:pt x="533579" y="156609"/>
                  <a:pt x="531235" y="154230"/>
                </a:cubicBezTo>
                <a:cubicBezTo>
                  <a:pt x="531235" y="153301"/>
                  <a:pt x="531235" y="152371"/>
                  <a:pt x="531235" y="151412"/>
                </a:cubicBezTo>
                <a:cubicBezTo>
                  <a:pt x="529689" y="150947"/>
                  <a:pt x="528143" y="150482"/>
                  <a:pt x="526549" y="150003"/>
                </a:cubicBezTo>
                <a:cubicBezTo>
                  <a:pt x="519904" y="137298"/>
                  <a:pt x="519105" y="120357"/>
                  <a:pt x="524304" y="107198"/>
                </a:cubicBezTo>
                <a:cubicBezTo>
                  <a:pt x="529443" y="97376"/>
                  <a:pt x="535781" y="90193"/>
                  <a:pt x="547052" y="85972"/>
                </a:cubicBezTo>
                <a:cubicBezTo>
                  <a:pt x="559924" y="81835"/>
                  <a:pt x="575221" y="79746"/>
                  <a:pt x="588460" y="83538"/>
                </a:cubicBezTo>
                <a:cubicBezTo>
                  <a:pt x="601643" y="89713"/>
                  <a:pt x="611835" y="99450"/>
                  <a:pt x="617152" y="111954"/>
                </a:cubicBezTo>
                <a:cubicBezTo>
                  <a:pt x="617935" y="116052"/>
                  <a:pt x="617954" y="120024"/>
                  <a:pt x="617884" y="124175"/>
                </a:cubicBezTo>
                <a:cubicBezTo>
                  <a:pt x="617896" y="125307"/>
                  <a:pt x="617906" y="126440"/>
                  <a:pt x="617917" y="127607"/>
                </a:cubicBezTo>
                <a:cubicBezTo>
                  <a:pt x="617963" y="132394"/>
                  <a:pt x="617938" y="137181"/>
                  <a:pt x="617919" y="141969"/>
                </a:cubicBezTo>
                <a:cubicBezTo>
                  <a:pt x="617899" y="160184"/>
                  <a:pt x="619422" y="175572"/>
                  <a:pt x="630625" y="191311"/>
                </a:cubicBezTo>
                <a:cubicBezTo>
                  <a:pt x="633753" y="195891"/>
                  <a:pt x="636431" y="199900"/>
                  <a:pt x="637850" y="205139"/>
                </a:cubicBezTo>
                <a:cubicBezTo>
                  <a:pt x="638615" y="209623"/>
                  <a:pt x="638615" y="209623"/>
                  <a:pt x="643708" y="212009"/>
                </a:cubicBezTo>
                <a:cubicBezTo>
                  <a:pt x="645380" y="214563"/>
                  <a:pt x="645380" y="214563"/>
                  <a:pt x="647027" y="217645"/>
                </a:cubicBezTo>
                <a:cubicBezTo>
                  <a:pt x="652549" y="227016"/>
                  <a:pt x="660443" y="235696"/>
                  <a:pt x="670264" y="241603"/>
                </a:cubicBezTo>
                <a:cubicBezTo>
                  <a:pt x="670264" y="242532"/>
                  <a:pt x="670264" y="243462"/>
                  <a:pt x="670264" y="244421"/>
                </a:cubicBezTo>
                <a:cubicBezTo>
                  <a:pt x="672036" y="244857"/>
                  <a:pt x="673808" y="245293"/>
                  <a:pt x="675634" y="245742"/>
                </a:cubicBezTo>
                <a:cubicBezTo>
                  <a:pt x="681199" y="247239"/>
                  <a:pt x="681199" y="247239"/>
                  <a:pt x="682761" y="248649"/>
                </a:cubicBezTo>
                <a:cubicBezTo>
                  <a:pt x="704487" y="252065"/>
                  <a:pt x="732606" y="256402"/>
                  <a:pt x="752092" y="245076"/>
                </a:cubicBezTo>
                <a:cubicBezTo>
                  <a:pt x="754252" y="243599"/>
                  <a:pt x="756372" y="242073"/>
                  <a:pt x="758433" y="240485"/>
                </a:cubicBezTo>
                <a:cubicBezTo>
                  <a:pt x="760867" y="238784"/>
                  <a:pt x="760867" y="238784"/>
                  <a:pt x="763991" y="238784"/>
                </a:cubicBezTo>
                <a:cubicBezTo>
                  <a:pt x="764647" y="237296"/>
                  <a:pt x="764647" y="237296"/>
                  <a:pt x="765315" y="235778"/>
                </a:cubicBezTo>
                <a:cubicBezTo>
                  <a:pt x="767151" y="231659"/>
                  <a:pt x="769030" y="227557"/>
                  <a:pt x="770923" y="223459"/>
                </a:cubicBezTo>
                <a:cubicBezTo>
                  <a:pt x="771608" y="221966"/>
                  <a:pt x="772292" y="220472"/>
                  <a:pt x="772998" y="218934"/>
                </a:cubicBezTo>
                <a:cubicBezTo>
                  <a:pt x="774429" y="215885"/>
                  <a:pt x="775968" y="212878"/>
                  <a:pt x="777562" y="209895"/>
                </a:cubicBezTo>
                <a:cubicBezTo>
                  <a:pt x="787607" y="185732"/>
                  <a:pt x="788559" y="149501"/>
                  <a:pt x="781175" y="124637"/>
                </a:cubicBezTo>
                <a:cubicBezTo>
                  <a:pt x="780144" y="124637"/>
                  <a:pt x="779113" y="124637"/>
                  <a:pt x="778051" y="124637"/>
                </a:cubicBezTo>
                <a:cubicBezTo>
                  <a:pt x="768501" y="110080"/>
                  <a:pt x="762898" y="96653"/>
                  <a:pt x="767116" y="79542"/>
                </a:cubicBezTo>
                <a:cubicBezTo>
                  <a:pt x="772286" y="69057"/>
                  <a:pt x="781456" y="58252"/>
                  <a:pt x="793379" y="54000"/>
                </a:cubicBezTo>
                <a:cubicBezTo>
                  <a:pt x="808369" y="49250"/>
                  <a:pt x="826058" y="49579"/>
                  <a:pt x="840688" y="55503"/>
                </a:cubicBezTo>
                <a:cubicBezTo>
                  <a:pt x="845183" y="57759"/>
                  <a:pt x="848037" y="60575"/>
                  <a:pt x="851470" y="64040"/>
                </a:cubicBezTo>
                <a:cubicBezTo>
                  <a:pt x="852721" y="65272"/>
                  <a:pt x="852721" y="65272"/>
                  <a:pt x="853997" y="66529"/>
                </a:cubicBezTo>
                <a:cubicBezTo>
                  <a:pt x="858396" y="71505"/>
                  <a:pt x="860490" y="76640"/>
                  <a:pt x="861488" y="82057"/>
                </a:cubicBezTo>
                <a:lnTo>
                  <a:pt x="861937" y="90492"/>
                </a:lnTo>
                <a:lnTo>
                  <a:pt x="863826" y="100715"/>
                </a:lnTo>
                <a:cubicBezTo>
                  <a:pt x="862141" y="107853"/>
                  <a:pt x="859866" y="114857"/>
                  <a:pt x="857577" y="121853"/>
                </a:cubicBezTo>
                <a:cubicBezTo>
                  <a:pt x="857062" y="121853"/>
                  <a:pt x="856547" y="121853"/>
                  <a:pt x="856015" y="121853"/>
                </a:cubicBezTo>
                <a:cubicBezTo>
                  <a:pt x="855731" y="120401"/>
                  <a:pt x="855731" y="120401"/>
                  <a:pt x="855442" y="118919"/>
                </a:cubicBezTo>
                <a:lnTo>
                  <a:pt x="855417" y="118798"/>
                </a:lnTo>
                <a:lnTo>
                  <a:pt x="856157" y="124637"/>
                </a:lnTo>
                <a:lnTo>
                  <a:pt x="850623" y="134701"/>
                </a:lnTo>
                <a:lnTo>
                  <a:pt x="851325" y="135968"/>
                </a:lnTo>
                <a:cubicBezTo>
                  <a:pt x="850851" y="137246"/>
                  <a:pt x="850376" y="138525"/>
                  <a:pt x="849886" y="139843"/>
                </a:cubicBezTo>
                <a:cubicBezTo>
                  <a:pt x="848171" y="144505"/>
                  <a:pt x="847798" y="148002"/>
                  <a:pt x="847786" y="152889"/>
                </a:cubicBezTo>
                <a:cubicBezTo>
                  <a:pt x="847779" y="154500"/>
                  <a:pt x="847773" y="156109"/>
                  <a:pt x="847767" y="157768"/>
                </a:cubicBezTo>
                <a:cubicBezTo>
                  <a:pt x="847782" y="159468"/>
                  <a:pt x="847796" y="161167"/>
                  <a:pt x="847810" y="162919"/>
                </a:cubicBezTo>
                <a:cubicBezTo>
                  <a:pt x="847821" y="165546"/>
                  <a:pt x="847821" y="165546"/>
                  <a:pt x="847832" y="168227"/>
                </a:cubicBezTo>
                <a:cubicBezTo>
                  <a:pt x="847980" y="181934"/>
                  <a:pt x="849003" y="195419"/>
                  <a:pt x="850903" y="209013"/>
                </a:cubicBezTo>
                <a:lnTo>
                  <a:pt x="852880" y="224692"/>
                </a:lnTo>
                <a:lnTo>
                  <a:pt x="854595" y="224692"/>
                </a:lnTo>
                <a:cubicBezTo>
                  <a:pt x="855086" y="225542"/>
                  <a:pt x="855577" y="226392"/>
                  <a:pt x="856083" y="227268"/>
                </a:cubicBezTo>
                <a:cubicBezTo>
                  <a:pt x="862358" y="237839"/>
                  <a:pt x="866924" y="242785"/>
                  <a:pt x="879588" y="247239"/>
                </a:cubicBezTo>
                <a:cubicBezTo>
                  <a:pt x="881642" y="248025"/>
                  <a:pt x="883692" y="248817"/>
                  <a:pt x="885739" y="249618"/>
                </a:cubicBezTo>
                <a:cubicBezTo>
                  <a:pt x="887318" y="250227"/>
                  <a:pt x="888897" y="250838"/>
                  <a:pt x="890523" y="251467"/>
                </a:cubicBezTo>
                <a:cubicBezTo>
                  <a:pt x="890523" y="252397"/>
                  <a:pt x="890523" y="253327"/>
                  <a:pt x="890523" y="254285"/>
                </a:cubicBezTo>
                <a:cubicBezTo>
                  <a:pt x="900347" y="257061"/>
                  <a:pt x="910127" y="259425"/>
                  <a:pt x="920203" y="261332"/>
                </a:cubicBezTo>
                <a:cubicBezTo>
                  <a:pt x="920203" y="261796"/>
                  <a:pt x="920203" y="262262"/>
                  <a:pt x="920203" y="262741"/>
                </a:cubicBezTo>
                <a:cubicBezTo>
                  <a:pt x="917111" y="262741"/>
                  <a:pt x="914018" y="262741"/>
                  <a:pt x="910831" y="262741"/>
                </a:cubicBezTo>
                <a:lnTo>
                  <a:pt x="910831" y="262864"/>
                </a:lnTo>
                <a:lnTo>
                  <a:pt x="927993" y="264177"/>
                </a:lnTo>
                <a:lnTo>
                  <a:pt x="939273" y="265285"/>
                </a:lnTo>
                <a:lnTo>
                  <a:pt x="940456" y="265191"/>
                </a:lnTo>
                <a:cubicBezTo>
                  <a:pt x="962552" y="263054"/>
                  <a:pt x="974979" y="255295"/>
                  <a:pt x="991622" y="242329"/>
                </a:cubicBezTo>
                <a:lnTo>
                  <a:pt x="1000803" y="236505"/>
                </a:lnTo>
                <a:lnTo>
                  <a:pt x="999806" y="236055"/>
                </a:lnTo>
                <a:cubicBezTo>
                  <a:pt x="1000902" y="234997"/>
                  <a:pt x="1001997" y="233941"/>
                  <a:pt x="1003126" y="232851"/>
                </a:cubicBezTo>
                <a:cubicBezTo>
                  <a:pt x="1012364" y="223880"/>
                  <a:pt x="1021184" y="214752"/>
                  <a:pt x="1029487" y="205052"/>
                </a:cubicBezTo>
                <a:lnTo>
                  <a:pt x="1029872" y="206442"/>
                </a:lnTo>
                <a:lnTo>
                  <a:pt x="1031614" y="203719"/>
                </a:lnTo>
                <a:cubicBezTo>
                  <a:pt x="1033221" y="199204"/>
                  <a:pt x="1035713" y="196017"/>
                  <a:pt x="1038924" y="192280"/>
                </a:cubicBezTo>
                <a:cubicBezTo>
                  <a:pt x="1039956" y="191815"/>
                  <a:pt x="1040987" y="191349"/>
                  <a:pt x="1042049" y="190870"/>
                </a:cubicBezTo>
                <a:cubicBezTo>
                  <a:pt x="1043161" y="188473"/>
                  <a:pt x="1043161" y="188473"/>
                  <a:pt x="1044294" y="186026"/>
                </a:cubicBezTo>
                <a:cubicBezTo>
                  <a:pt x="1046735" y="181006"/>
                  <a:pt x="1046735" y="181006"/>
                  <a:pt x="1051422" y="178188"/>
                </a:cubicBezTo>
                <a:cubicBezTo>
                  <a:pt x="1052553" y="175286"/>
                  <a:pt x="1052553" y="175286"/>
                  <a:pt x="1052984" y="172551"/>
                </a:cubicBezTo>
                <a:cubicBezTo>
                  <a:pt x="1054014" y="172551"/>
                  <a:pt x="1055046" y="172551"/>
                  <a:pt x="1056108" y="172551"/>
                </a:cubicBezTo>
                <a:cubicBezTo>
                  <a:pt x="1057139" y="169295"/>
                  <a:pt x="1058170" y="166040"/>
                  <a:pt x="1059232" y="162686"/>
                </a:cubicBezTo>
                <a:cubicBezTo>
                  <a:pt x="1060263" y="162686"/>
                  <a:pt x="1061295" y="162686"/>
                  <a:pt x="1062357" y="162686"/>
                </a:cubicBezTo>
                <a:cubicBezTo>
                  <a:pt x="1062755" y="161484"/>
                  <a:pt x="1062755" y="161484"/>
                  <a:pt x="1063162" y="160258"/>
                </a:cubicBezTo>
                <a:cubicBezTo>
                  <a:pt x="1065716" y="152917"/>
                  <a:pt x="1068813" y="146686"/>
                  <a:pt x="1073292" y="140138"/>
                </a:cubicBezTo>
                <a:cubicBezTo>
                  <a:pt x="1074322" y="140138"/>
                  <a:pt x="1075353" y="140138"/>
                  <a:pt x="1076415" y="140138"/>
                </a:cubicBezTo>
                <a:cubicBezTo>
                  <a:pt x="1079808" y="132748"/>
                  <a:pt x="1082509" y="125160"/>
                  <a:pt x="1085294" y="117569"/>
                </a:cubicBezTo>
                <a:cubicBezTo>
                  <a:pt x="1085972" y="116181"/>
                  <a:pt x="1086651" y="114793"/>
                  <a:pt x="1087350" y="113363"/>
                </a:cubicBezTo>
                <a:cubicBezTo>
                  <a:pt x="1089671" y="112666"/>
                  <a:pt x="1089671" y="112666"/>
                  <a:pt x="1092037" y="111954"/>
                </a:cubicBezTo>
                <a:cubicBezTo>
                  <a:pt x="1092230" y="110879"/>
                  <a:pt x="1092423" y="109803"/>
                  <a:pt x="1092623" y="108695"/>
                </a:cubicBezTo>
                <a:cubicBezTo>
                  <a:pt x="1093599" y="104908"/>
                  <a:pt x="1093599" y="104908"/>
                  <a:pt x="1096723" y="100680"/>
                </a:cubicBezTo>
                <a:cubicBezTo>
                  <a:pt x="1097207" y="99140"/>
                  <a:pt x="1097689" y="97599"/>
                  <a:pt x="1098188" y="96013"/>
                </a:cubicBezTo>
                <a:cubicBezTo>
                  <a:pt x="1099847" y="90815"/>
                  <a:pt x="1099847" y="90815"/>
                  <a:pt x="1102288" y="87029"/>
                </a:cubicBezTo>
                <a:cubicBezTo>
                  <a:pt x="1106061" y="79186"/>
                  <a:pt x="1107564" y="69424"/>
                  <a:pt x="1104534" y="61222"/>
                </a:cubicBezTo>
                <a:cubicBezTo>
                  <a:pt x="1104409" y="59341"/>
                  <a:pt x="1104366" y="57454"/>
                  <a:pt x="1104381" y="55569"/>
                </a:cubicBezTo>
                <a:cubicBezTo>
                  <a:pt x="1104386" y="54501"/>
                  <a:pt x="1104391" y="53434"/>
                  <a:pt x="1104397" y="52335"/>
                </a:cubicBezTo>
                <a:cubicBezTo>
                  <a:pt x="1104410" y="51228"/>
                  <a:pt x="1104423" y="50120"/>
                  <a:pt x="1104436" y="48979"/>
                </a:cubicBezTo>
                <a:cubicBezTo>
                  <a:pt x="1104443" y="47856"/>
                  <a:pt x="1104451" y="46733"/>
                  <a:pt x="1104457" y="45575"/>
                </a:cubicBezTo>
                <a:cubicBezTo>
                  <a:pt x="1104476" y="42805"/>
                  <a:pt x="1104504" y="40035"/>
                  <a:pt x="1104534" y="37265"/>
                </a:cubicBezTo>
                <a:cubicBezTo>
                  <a:pt x="1105565" y="37265"/>
                  <a:pt x="1106596" y="37265"/>
                  <a:pt x="1107658" y="37265"/>
                </a:cubicBezTo>
                <a:cubicBezTo>
                  <a:pt x="1107561" y="34562"/>
                  <a:pt x="1107561" y="34562"/>
                  <a:pt x="1107463" y="31805"/>
                </a:cubicBezTo>
                <a:cubicBezTo>
                  <a:pt x="1107353" y="28733"/>
                  <a:pt x="1107353" y="28733"/>
                  <a:pt x="1107658" y="25991"/>
                </a:cubicBezTo>
                <a:cubicBezTo>
                  <a:pt x="1108689" y="25062"/>
                  <a:pt x="1109720" y="24131"/>
                  <a:pt x="1110782" y="23173"/>
                </a:cubicBezTo>
                <a:cubicBezTo>
                  <a:pt x="1111104" y="22156"/>
                  <a:pt x="1111427" y="21138"/>
                  <a:pt x="1111759" y="20091"/>
                </a:cubicBezTo>
                <a:cubicBezTo>
                  <a:pt x="1116393" y="11539"/>
                  <a:pt x="1124927" y="6390"/>
                  <a:pt x="1134507" y="2828"/>
                </a:cubicBezTo>
                <a:cubicBezTo>
                  <a:pt x="1141389" y="825"/>
                  <a:pt x="1148262" y="-204"/>
                  <a:pt x="1155019" y="35"/>
                </a:cubicBezTo>
                <a:close/>
              </a:path>
            </a:pathLst>
          </a:custGeom>
          <a:solidFill>
            <a:schemeClr val="accent3"/>
          </a:solidFill>
          <a:ln w="2232" cap="flat">
            <a:noFill/>
            <a:prstDash val="solid"/>
            <a:miter/>
          </a:ln>
          <a:effectLst>
            <a:innerShdw blurRad="63500" dist="190500" dir="8100000">
              <a:schemeClr val="accent3">
                <a:lumMod val="75000"/>
                <a:alpha val="50000"/>
              </a:schemeClr>
            </a:innerShdw>
          </a:effectLst>
        </p:spPr>
        <p:txBody>
          <a:bodyPr wrap="squar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45" name="Oval 444">
            <a:extLst>
              <a:ext uri="{FF2B5EF4-FFF2-40B4-BE49-F238E27FC236}">
                <a16:creationId xmlns:a16="http://schemas.microsoft.com/office/drawing/2014/main" id="{B50ED41F-E66F-6010-F652-321AC7B0B977}"/>
              </a:ext>
            </a:extLst>
          </p:cNvPr>
          <p:cNvSpPr/>
          <p:nvPr/>
        </p:nvSpPr>
        <p:spPr>
          <a:xfrm>
            <a:off x="9067296" y="3910621"/>
            <a:ext cx="722134" cy="162382"/>
          </a:xfrm>
          <a:prstGeom prst="ellipse">
            <a:avLst/>
          </a:prstGeom>
          <a:solidFill>
            <a:schemeClr val="tx1">
              <a:alpha val="5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46" name="Free-form: Shape 445">
            <a:extLst>
              <a:ext uri="{FF2B5EF4-FFF2-40B4-BE49-F238E27FC236}">
                <a16:creationId xmlns:a16="http://schemas.microsoft.com/office/drawing/2014/main" id="{4C92DFB7-D27A-6872-5D03-A28BD8B912E8}"/>
              </a:ext>
            </a:extLst>
          </p:cNvPr>
          <p:cNvSpPr/>
          <p:nvPr/>
        </p:nvSpPr>
        <p:spPr>
          <a:xfrm>
            <a:off x="8972719" y="3088613"/>
            <a:ext cx="968436" cy="925784"/>
          </a:xfrm>
          <a:custGeom>
            <a:avLst/>
            <a:gdLst>
              <a:gd name="csX0" fmla="*/ 401579 w 1609516"/>
              <a:gd name="csY0" fmla="*/ 1495809 h 1538630"/>
              <a:gd name="csX1" fmla="*/ 400190 w 1609516"/>
              <a:gd name="csY1" fmla="*/ 1496004 h 1538630"/>
              <a:gd name="csX2" fmla="*/ 401224 w 1609516"/>
              <a:gd name="csY2" fmla="*/ 1496470 h 1538630"/>
              <a:gd name="csX3" fmla="*/ 401224 w 1609516"/>
              <a:gd name="csY3" fmla="*/ 1498590 h 1538630"/>
              <a:gd name="csX4" fmla="*/ 401579 w 1609516"/>
              <a:gd name="csY4" fmla="*/ 1498628 h 1538630"/>
              <a:gd name="csX5" fmla="*/ 401579 w 1609516"/>
              <a:gd name="csY5" fmla="*/ 1495809 h 1538630"/>
              <a:gd name="csX6" fmla="*/ 368755 w 1609516"/>
              <a:gd name="csY6" fmla="*/ 1486512 h 1538630"/>
              <a:gd name="csX7" fmla="*/ 364089 w 1609516"/>
              <a:gd name="csY7" fmla="*/ 1487354 h 1538630"/>
              <a:gd name="csX8" fmla="*/ 364089 w 1609516"/>
              <a:gd name="csY8" fmla="*/ 1487908 h 1538630"/>
              <a:gd name="csX9" fmla="*/ 1049801 w 1609516"/>
              <a:gd name="csY9" fmla="*/ 1484562 h 1538630"/>
              <a:gd name="csX10" fmla="*/ 1046735 w 1609516"/>
              <a:gd name="csY10" fmla="*/ 1485945 h 1538630"/>
              <a:gd name="csX11" fmla="*/ 1046955 w 1609516"/>
              <a:gd name="csY11" fmla="*/ 1486045 h 1538630"/>
              <a:gd name="csX12" fmla="*/ 1049801 w 1609516"/>
              <a:gd name="csY12" fmla="*/ 1485188 h 1538630"/>
              <a:gd name="csX13" fmla="*/ 351234 w 1609516"/>
              <a:gd name="csY13" fmla="*/ 1444508 h 1538630"/>
              <a:gd name="csX14" fmla="*/ 351234 w 1609516"/>
              <a:gd name="csY14" fmla="*/ 1444997 h 1538630"/>
              <a:gd name="csX15" fmla="*/ 351592 w 1609516"/>
              <a:gd name="csY15" fmla="*/ 1445078 h 1538630"/>
              <a:gd name="csX16" fmla="*/ 351908 w 1609516"/>
              <a:gd name="csY16" fmla="*/ 1431206 h 1538630"/>
              <a:gd name="csX17" fmla="*/ 351234 w 1609516"/>
              <a:gd name="csY17" fmla="*/ 1431611 h 1538630"/>
              <a:gd name="csX18" fmla="*/ 351234 w 1609516"/>
              <a:gd name="csY18" fmla="*/ 1432274 h 1538630"/>
              <a:gd name="csX19" fmla="*/ 358162 w 1609516"/>
              <a:gd name="csY19" fmla="*/ 1421494 h 1538630"/>
              <a:gd name="csX20" fmla="*/ 355921 w 1609516"/>
              <a:gd name="csY20" fmla="*/ 1423156 h 1538630"/>
              <a:gd name="csX21" fmla="*/ 355921 w 1609516"/>
              <a:gd name="csY21" fmla="*/ 1423548 h 1538630"/>
              <a:gd name="csX22" fmla="*/ 376098 w 1609516"/>
              <a:gd name="csY22" fmla="*/ 1408347 h 1538630"/>
              <a:gd name="csX23" fmla="*/ 370750 w 1609516"/>
              <a:gd name="csY23" fmla="*/ 1412245 h 1538630"/>
              <a:gd name="csX24" fmla="*/ 375023 w 1609516"/>
              <a:gd name="csY24" fmla="*/ 1411256 h 1538630"/>
              <a:gd name="csX25" fmla="*/ 421956 w 1609516"/>
              <a:gd name="csY25" fmla="*/ 1365623 h 1538630"/>
              <a:gd name="csX26" fmla="*/ 421765 w 1609516"/>
              <a:gd name="csY26" fmla="*/ 1366161 h 1538630"/>
              <a:gd name="csX27" fmla="*/ 421887 w 1609516"/>
              <a:gd name="csY27" fmla="*/ 1366161 h 1538630"/>
              <a:gd name="csX28" fmla="*/ 754553 w 1609516"/>
              <a:gd name="csY28" fmla="*/ 1360575 h 1538630"/>
              <a:gd name="csX29" fmla="*/ 754089 w 1609516"/>
              <a:gd name="csY29" fmla="*/ 1361433 h 1538630"/>
              <a:gd name="csX30" fmla="*/ 754431 w 1609516"/>
              <a:gd name="csY30" fmla="*/ 1361125 h 1538630"/>
              <a:gd name="csX31" fmla="*/ 1277973 w 1609516"/>
              <a:gd name="csY31" fmla="*/ 1332923 h 1538630"/>
              <a:gd name="csX32" fmla="*/ 1277944 w 1609516"/>
              <a:gd name="csY32" fmla="*/ 1332936 h 1538630"/>
              <a:gd name="csX33" fmla="*/ 1277949 w 1609516"/>
              <a:gd name="csY33" fmla="*/ 1333139 h 1538630"/>
              <a:gd name="csX34" fmla="*/ 1268556 w 1609516"/>
              <a:gd name="csY34" fmla="*/ 1321066 h 1538630"/>
              <a:gd name="csX35" fmla="*/ 1268556 w 1609516"/>
              <a:gd name="csY35" fmla="*/ 1325294 h 1538630"/>
              <a:gd name="csX36" fmla="*/ 1265432 w 1609516"/>
              <a:gd name="csY36" fmla="*/ 1325294 h 1538630"/>
              <a:gd name="csX37" fmla="*/ 1265432 w 1609516"/>
              <a:gd name="csY37" fmla="*/ 1340795 h 1538630"/>
              <a:gd name="csX38" fmla="*/ 1265476 w 1609516"/>
              <a:gd name="csY38" fmla="*/ 1340714 h 1538630"/>
              <a:gd name="csX39" fmla="*/ 1265476 w 1609516"/>
              <a:gd name="csY39" fmla="*/ 1325877 h 1538630"/>
              <a:gd name="csX40" fmla="*/ 1268600 w 1609516"/>
              <a:gd name="csY40" fmla="*/ 1325877 h 1538630"/>
              <a:gd name="csX41" fmla="*/ 1268600 w 1609516"/>
              <a:gd name="csY41" fmla="*/ 1321649 h 1538630"/>
              <a:gd name="csX42" fmla="*/ 1273286 w 1609516"/>
              <a:gd name="csY42" fmla="*/ 1321649 h 1538630"/>
              <a:gd name="csX43" fmla="*/ 1273227 w 1609516"/>
              <a:gd name="csY43" fmla="*/ 1321066 h 1538630"/>
              <a:gd name="csX44" fmla="*/ 827891 w 1609516"/>
              <a:gd name="csY44" fmla="*/ 1291474 h 1538630"/>
              <a:gd name="csX45" fmla="*/ 822601 w 1609516"/>
              <a:gd name="csY45" fmla="*/ 1291544 h 1538630"/>
              <a:gd name="csX46" fmla="*/ 818272 w 1609516"/>
              <a:gd name="csY46" fmla="*/ 1292220 h 1538630"/>
              <a:gd name="csX47" fmla="*/ 827891 w 1609516"/>
              <a:gd name="csY47" fmla="*/ 1292047 h 1538630"/>
              <a:gd name="csX48" fmla="*/ 856397 w 1609516"/>
              <a:gd name="csY48" fmla="*/ 1288691 h 1538630"/>
              <a:gd name="csX49" fmla="*/ 865903 w 1609516"/>
              <a:gd name="csY49" fmla="*/ 1290590 h 1538630"/>
              <a:gd name="csX50" fmla="*/ 859999 w 1609516"/>
              <a:gd name="csY50" fmla="*/ 1288752 h 1538630"/>
              <a:gd name="csX51" fmla="*/ 834694 w 1609516"/>
              <a:gd name="csY51" fmla="*/ 1288572 h 1538630"/>
              <a:gd name="csX52" fmla="*/ 828038 w 1609516"/>
              <a:gd name="csY52" fmla="*/ 1288654 h 1538630"/>
              <a:gd name="csX53" fmla="*/ 828038 w 1609516"/>
              <a:gd name="csY53" fmla="*/ 1289214 h 1538630"/>
              <a:gd name="csX54" fmla="*/ 229746 w 1609516"/>
              <a:gd name="csY54" fmla="*/ 1191418 h 1538630"/>
              <a:gd name="csX55" fmla="*/ 227402 w 1609516"/>
              <a:gd name="csY55" fmla="*/ 1191947 h 1538630"/>
              <a:gd name="csX56" fmla="*/ 229315 w 1609516"/>
              <a:gd name="csY56" fmla="*/ 1191947 h 1538630"/>
              <a:gd name="csX57" fmla="*/ 229315 w 1609516"/>
              <a:gd name="csY57" fmla="*/ 1194765 h 1538630"/>
              <a:gd name="csX58" fmla="*/ 231321 w 1609516"/>
              <a:gd name="csY58" fmla="*/ 1194765 h 1538630"/>
              <a:gd name="csX59" fmla="*/ 229746 w 1609516"/>
              <a:gd name="csY59" fmla="*/ 1194236 h 1538630"/>
              <a:gd name="csX60" fmla="*/ 229746 w 1609516"/>
              <a:gd name="csY60" fmla="*/ 1191418 h 1538630"/>
              <a:gd name="csX61" fmla="*/ 215687 w 1609516"/>
              <a:gd name="csY61" fmla="*/ 1187190 h 1538630"/>
              <a:gd name="csX62" fmla="*/ 215198 w 1609516"/>
              <a:gd name="csY62" fmla="*/ 1187720 h 1538630"/>
              <a:gd name="csX63" fmla="*/ 215256 w 1609516"/>
              <a:gd name="csY63" fmla="*/ 1187720 h 1538630"/>
              <a:gd name="csX64" fmla="*/ 215256 w 1609516"/>
              <a:gd name="csY64" fmla="*/ 1191947 h 1538630"/>
              <a:gd name="csX65" fmla="*/ 222721 w 1609516"/>
              <a:gd name="csY65" fmla="*/ 1191947 h 1538630"/>
              <a:gd name="csX66" fmla="*/ 215687 w 1609516"/>
              <a:gd name="csY66" fmla="*/ 1191418 h 1538630"/>
              <a:gd name="csX67" fmla="*/ 215687 w 1609516"/>
              <a:gd name="csY67" fmla="*/ 1187190 h 1538630"/>
              <a:gd name="csX68" fmla="*/ 1279678 w 1609516"/>
              <a:gd name="csY68" fmla="*/ 1082356 h 1538630"/>
              <a:gd name="csX69" fmla="*/ 1271680 w 1609516"/>
              <a:gd name="csY69" fmla="*/ 1084589 h 1538630"/>
              <a:gd name="csX70" fmla="*/ 1282181 w 1609516"/>
              <a:gd name="csY70" fmla="*/ 1082544 h 1538630"/>
              <a:gd name="csX71" fmla="*/ 117703 w 1609516"/>
              <a:gd name="csY71" fmla="*/ 941507 h 1538630"/>
              <a:gd name="csX72" fmla="*/ 112587 w 1609516"/>
              <a:gd name="csY72" fmla="*/ 941985 h 1538630"/>
              <a:gd name="csX73" fmla="*/ 112565 w 1609516"/>
              <a:gd name="csY73" fmla="*/ 942333 h 1538630"/>
              <a:gd name="csX74" fmla="*/ 115665 w 1609516"/>
              <a:gd name="csY74" fmla="*/ 941837 h 1538630"/>
              <a:gd name="csX75" fmla="*/ 144268 w 1609516"/>
              <a:gd name="csY75" fmla="*/ 939395 h 1538630"/>
              <a:gd name="csX76" fmla="*/ 143354 w 1609516"/>
              <a:gd name="csY76" fmla="*/ 939580 h 1538630"/>
              <a:gd name="csX77" fmla="*/ 144077 w 1609516"/>
              <a:gd name="csY77" fmla="*/ 939739 h 1538630"/>
              <a:gd name="csX78" fmla="*/ 162575 w 1609516"/>
              <a:gd name="csY78" fmla="*/ 933530 h 1538630"/>
              <a:gd name="csX79" fmla="*/ 161704 w 1609516"/>
              <a:gd name="csY79" fmla="*/ 935101 h 1538630"/>
              <a:gd name="csX80" fmla="*/ 170045 w 1609516"/>
              <a:gd name="csY80" fmla="*/ 933585 h 1538630"/>
              <a:gd name="csX81" fmla="*/ 1321645 w 1609516"/>
              <a:gd name="csY81" fmla="*/ 918415 h 1538630"/>
              <a:gd name="csX82" fmla="*/ 1321534 w 1609516"/>
              <a:gd name="csY82" fmla="*/ 920177 h 1538630"/>
              <a:gd name="csX83" fmla="*/ 1321740 w 1609516"/>
              <a:gd name="csY83" fmla="*/ 918415 h 1538630"/>
              <a:gd name="csX84" fmla="*/ 1319333 w 1609516"/>
              <a:gd name="csY84" fmla="*/ 915183 h 1538630"/>
              <a:gd name="csX85" fmla="*/ 1318544 w 1609516"/>
              <a:gd name="csY85" fmla="*/ 918029 h 1538630"/>
              <a:gd name="csX86" fmla="*/ 1318702 w 1609516"/>
              <a:gd name="csY86" fmla="*/ 918029 h 1538630"/>
              <a:gd name="csX87" fmla="*/ 1326355 w 1609516"/>
              <a:gd name="csY87" fmla="*/ 907109 h 1538630"/>
              <a:gd name="csX88" fmla="*/ 1326355 w 1609516"/>
              <a:gd name="csY88" fmla="*/ 910983 h 1538630"/>
              <a:gd name="csX89" fmla="*/ 1325831 w 1609516"/>
              <a:gd name="csY89" fmla="*/ 911101 h 1538630"/>
              <a:gd name="csX90" fmla="*/ 1326426 w 1609516"/>
              <a:gd name="csY90" fmla="*/ 911369 h 1538630"/>
              <a:gd name="csX91" fmla="*/ 1326426 w 1609516"/>
              <a:gd name="csY91" fmla="*/ 907141 h 1538630"/>
              <a:gd name="csX92" fmla="*/ 1328144 w 1609516"/>
              <a:gd name="csY92" fmla="*/ 892192 h 1538630"/>
              <a:gd name="csX93" fmla="*/ 1327667 w 1609516"/>
              <a:gd name="csY93" fmla="*/ 893446 h 1538630"/>
              <a:gd name="csX94" fmla="*/ 1327989 w 1609516"/>
              <a:gd name="csY94" fmla="*/ 893049 h 1538630"/>
              <a:gd name="csX95" fmla="*/ 49605 w 1609516"/>
              <a:gd name="csY95" fmla="*/ 887420 h 1538630"/>
              <a:gd name="csX96" fmla="*/ 48549 w 1609516"/>
              <a:gd name="csY96" fmla="*/ 891229 h 1538630"/>
              <a:gd name="csX97" fmla="*/ 49956 w 1609516"/>
              <a:gd name="csY97" fmla="*/ 887420 h 1538630"/>
              <a:gd name="csX98" fmla="*/ 1332266 w 1609516"/>
              <a:gd name="csY98" fmla="*/ 883369 h 1538630"/>
              <a:gd name="csX99" fmla="*/ 1329479 w 1609516"/>
              <a:gd name="csY99" fmla="*/ 884207 h 1538630"/>
              <a:gd name="csX100" fmla="*/ 1329509 w 1609516"/>
              <a:gd name="csY100" fmla="*/ 884816 h 1538630"/>
              <a:gd name="csX101" fmla="*/ 1329551 w 1609516"/>
              <a:gd name="csY101" fmla="*/ 884594 h 1538630"/>
              <a:gd name="csX102" fmla="*/ 1555987 w 1609516"/>
              <a:gd name="csY102" fmla="*/ 821766 h 1538630"/>
              <a:gd name="csX103" fmla="*/ 1555987 w 1609516"/>
              <a:gd name="csY103" fmla="*/ 822201 h 1538630"/>
              <a:gd name="csX104" fmla="*/ 1556081 w 1609516"/>
              <a:gd name="csY104" fmla="*/ 822189 h 1538630"/>
              <a:gd name="csX105" fmla="*/ 1565360 w 1609516"/>
              <a:gd name="csY105" fmla="*/ 810928 h 1538630"/>
              <a:gd name="csX106" fmla="*/ 1564871 w 1609516"/>
              <a:gd name="csY106" fmla="*/ 811809 h 1538630"/>
              <a:gd name="csX107" fmla="*/ 1567314 w 1609516"/>
              <a:gd name="csY107" fmla="*/ 810928 h 1538630"/>
              <a:gd name="csX108" fmla="*/ 1563797 w 1609516"/>
              <a:gd name="csY108" fmla="*/ 810928 h 1538630"/>
              <a:gd name="csX109" fmla="*/ 1556762 w 1609516"/>
              <a:gd name="csY109" fmla="*/ 814736 h 1538630"/>
              <a:gd name="csX110" fmla="*/ 1563797 w 1609516"/>
              <a:gd name="csY110" fmla="*/ 812197 h 1538630"/>
              <a:gd name="csX111" fmla="*/ 265833 w 1609516"/>
              <a:gd name="csY111" fmla="*/ 806020 h 1538630"/>
              <a:gd name="csX112" fmla="*/ 263704 w 1609516"/>
              <a:gd name="csY112" fmla="*/ 809861 h 1538630"/>
              <a:gd name="csX113" fmla="*/ 263704 w 1609516"/>
              <a:gd name="csY113" fmla="*/ 816750 h 1538630"/>
              <a:gd name="csX114" fmla="*/ 264113 w 1609516"/>
              <a:gd name="csY114" fmla="*/ 816565 h 1538630"/>
              <a:gd name="csX115" fmla="*/ 263918 w 1609516"/>
              <a:gd name="csY115" fmla="*/ 812777 h 1538630"/>
              <a:gd name="csX116" fmla="*/ 263774 w 1609516"/>
              <a:gd name="csY116" fmla="*/ 779374 h 1538630"/>
              <a:gd name="csX117" fmla="*/ 263704 w 1609516"/>
              <a:gd name="csY117" fmla="*/ 783086 h 1538630"/>
              <a:gd name="csX118" fmla="*/ 264484 w 1609516"/>
              <a:gd name="csY118" fmla="*/ 785816 h 1538630"/>
              <a:gd name="csX119" fmla="*/ 265265 w 1609516"/>
              <a:gd name="csY119" fmla="*/ 794448 h 1538630"/>
              <a:gd name="csX120" fmla="*/ 265217 w 1609516"/>
              <a:gd name="csY120" fmla="*/ 799730 h 1538630"/>
              <a:gd name="csX121" fmla="*/ 266556 w 1609516"/>
              <a:gd name="csY121" fmla="*/ 803466 h 1538630"/>
              <a:gd name="csX122" fmla="*/ 267237 w 1609516"/>
              <a:gd name="csY122" fmla="*/ 801063 h 1538630"/>
              <a:gd name="csX123" fmla="*/ 265675 w 1609516"/>
              <a:gd name="csY123" fmla="*/ 799654 h 1538630"/>
              <a:gd name="csX124" fmla="*/ 265675 w 1609516"/>
              <a:gd name="csY124" fmla="*/ 793841 h 1538630"/>
              <a:gd name="csX125" fmla="*/ 260988 w 1609516"/>
              <a:gd name="csY125" fmla="*/ 770061 h 1538630"/>
              <a:gd name="csX126" fmla="*/ 260988 w 1609516"/>
              <a:gd name="csY126" fmla="*/ 771364 h 1538630"/>
              <a:gd name="csX127" fmla="*/ 263497 w 1609516"/>
              <a:gd name="csY127" fmla="*/ 777263 h 1538630"/>
              <a:gd name="csX128" fmla="*/ 262551 w 1609516"/>
              <a:gd name="csY128" fmla="*/ 770061 h 1538630"/>
              <a:gd name="csX129" fmla="*/ 260988 w 1609516"/>
              <a:gd name="csY129" fmla="*/ 770061 h 1538630"/>
              <a:gd name="csX130" fmla="*/ 157888 w 1609516"/>
              <a:gd name="csY130" fmla="*/ 651686 h 1538630"/>
              <a:gd name="csX131" fmla="*/ 157415 w 1609516"/>
              <a:gd name="csY131" fmla="*/ 651764 h 1538630"/>
              <a:gd name="csX132" fmla="*/ 160373 w 1609516"/>
              <a:gd name="csY132" fmla="*/ 652274 h 1538630"/>
              <a:gd name="csX133" fmla="*/ 267237 w 1609516"/>
              <a:gd name="csY133" fmla="*/ 426537 h 1538630"/>
              <a:gd name="csX134" fmla="*/ 267237 w 1609516"/>
              <a:gd name="csY134" fmla="*/ 427619 h 1538630"/>
              <a:gd name="csX135" fmla="*/ 270380 w 1609516"/>
              <a:gd name="csY135" fmla="*/ 428137 h 1538630"/>
              <a:gd name="csX136" fmla="*/ 273548 w 1609516"/>
              <a:gd name="csY136" fmla="*/ 428680 h 1538630"/>
              <a:gd name="csX137" fmla="*/ 37605 w 1609516"/>
              <a:gd name="csY137" fmla="*/ 359270 h 1538630"/>
              <a:gd name="csX138" fmla="*/ 37103 w 1609516"/>
              <a:gd name="csY138" fmla="*/ 361533 h 1538630"/>
              <a:gd name="csX139" fmla="*/ 37605 w 1609516"/>
              <a:gd name="csY139" fmla="*/ 361382 h 1538630"/>
              <a:gd name="csX140" fmla="*/ 52477 w 1609516"/>
              <a:gd name="csY140" fmla="*/ 337570 h 1538630"/>
              <a:gd name="csX141" fmla="*/ 47288 w 1609516"/>
              <a:gd name="csY141" fmla="*/ 342340 h 1538630"/>
              <a:gd name="csX142" fmla="*/ 45805 w 1609516"/>
              <a:gd name="csY142" fmla="*/ 345093 h 1538630"/>
              <a:gd name="csX143" fmla="*/ 104291 w 1609516"/>
              <a:gd name="csY143" fmla="*/ 336166 h 1538630"/>
              <a:gd name="csX144" fmla="*/ 103776 w 1609516"/>
              <a:gd name="csY144" fmla="*/ 337559 h 1538630"/>
              <a:gd name="csX145" fmla="*/ 108925 w 1609516"/>
              <a:gd name="csY145" fmla="*/ 336166 h 1538630"/>
              <a:gd name="csX146" fmla="*/ 1309237 w 1609516"/>
              <a:gd name="csY146" fmla="*/ 322954 h 1538630"/>
              <a:gd name="csX147" fmla="*/ 1309180 w 1609516"/>
              <a:gd name="csY147" fmla="*/ 330559 h 1538630"/>
              <a:gd name="csX148" fmla="*/ 1309237 w 1609516"/>
              <a:gd name="csY148" fmla="*/ 330520 h 1538630"/>
              <a:gd name="csX149" fmla="*/ 1308964 w 1609516"/>
              <a:gd name="csY149" fmla="*/ 317715 h 1538630"/>
              <a:gd name="csX150" fmla="*/ 1309237 w 1609516"/>
              <a:gd name="csY150" fmla="*/ 318569 h 1538630"/>
              <a:gd name="csX151" fmla="*/ 1309237 w 1609516"/>
              <a:gd name="csY151" fmla="*/ 317838 h 1538630"/>
              <a:gd name="csX152" fmla="*/ 1310087 w 1609516"/>
              <a:gd name="csY152" fmla="*/ 313153 h 1538630"/>
              <a:gd name="csX153" fmla="*/ 1307609 w 1609516"/>
              <a:gd name="csY153" fmla="*/ 313473 h 1538630"/>
              <a:gd name="csX154" fmla="*/ 1308045 w 1609516"/>
              <a:gd name="csY154" fmla="*/ 314836 h 1538630"/>
              <a:gd name="csX155" fmla="*/ 1318544 w 1609516"/>
              <a:gd name="csY155" fmla="*/ 312064 h 1538630"/>
              <a:gd name="csX156" fmla="*/ 1316298 w 1609516"/>
              <a:gd name="csY156" fmla="*/ 312353 h 1538630"/>
              <a:gd name="csX157" fmla="*/ 1318544 w 1609516"/>
              <a:gd name="csY157" fmla="*/ 312205 h 1538630"/>
              <a:gd name="csX158" fmla="*/ 1084622 w 1609516"/>
              <a:gd name="csY158" fmla="*/ 267674 h 1538630"/>
              <a:gd name="csX159" fmla="*/ 1084227 w 1609516"/>
              <a:gd name="csY159" fmla="*/ 268378 h 1538630"/>
              <a:gd name="csX160" fmla="*/ 1079540 w 1609516"/>
              <a:gd name="csY160" fmla="*/ 268378 h 1538630"/>
              <a:gd name="csX161" fmla="*/ 1079603 w 1609516"/>
              <a:gd name="csY161" fmla="*/ 268477 h 1538630"/>
              <a:gd name="csX162" fmla="*/ 1084192 w 1609516"/>
              <a:gd name="csY162" fmla="*/ 268477 h 1538630"/>
              <a:gd name="csX163" fmla="*/ 956410 w 1609516"/>
              <a:gd name="csY163" fmla="*/ 266968 h 1538630"/>
              <a:gd name="csX164" fmla="*/ 957576 w 1609516"/>
              <a:gd name="csY164" fmla="*/ 267083 h 1538630"/>
              <a:gd name="csX165" fmla="*/ 957576 w 1609516"/>
              <a:gd name="csY165" fmla="*/ 269776 h 1538630"/>
              <a:gd name="csX166" fmla="*/ 957694 w 1609516"/>
              <a:gd name="csY166" fmla="*/ 269787 h 1538630"/>
              <a:gd name="csX167" fmla="*/ 957694 w 1609516"/>
              <a:gd name="csY167" fmla="*/ 266968 h 1538630"/>
              <a:gd name="csX168" fmla="*/ 1089372 w 1609516"/>
              <a:gd name="csY168" fmla="*/ 259220 h 1538630"/>
              <a:gd name="csX169" fmla="*/ 1085856 w 1609516"/>
              <a:gd name="csY169" fmla="*/ 265479 h 1538630"/>
              <a:gd name="csX170" fmla="*/ 1088878 w 1609516"/>
              <a:gd name="csY170" fmla="*/ 261431 h 1538630"/>
              <a:gd name="csX171" fmla="*/ 1018517 w 1609516"/>
              <a:gd name="csY171" fmla="*/ 223356 h 1538630"/>
              <a:gd name="csX172" fmla="*/ 1013866 w 1609516"/>
              <a:gd name="csY172" fmla="*/ 226190 h 1538630"/>
              <a:gd name="csX173" fmla="*/ 1013024 w 1609516"/>
              <a:gd name="csY173" fmla="*/ 227709 h 1538630"/>
              <a:gd name="csX174" fmla="*/ 1017055 w 1609516"/>
              <a:gd name="csY174" fmla="*/ 224692 h 1538630"/>
              <a:gd name="csX175" fmla="*/ 850645 w 1609516"/>
              <a:gd name="csY175" fmla="*/ 220099 h 1538630"/>
              <a:gd name="csX176" fmla="*/ 850897 w 1609516"/>
              <a:gd name="csY176" fmla="*/ 221488 h 1538630"/>
              <a:gd name="csX177" fmla="*/ 851470 w 1609516"/>
              <a:gd name="csY177" fmla="*/ 224692 h 1538630"/>
              <a:gd name="csX178" fmla="*/ 852860 w 1609516"/>
              <a:gd name="csY178" fmla="*/ 224692 h 1538630"/>
              <a:gd name="csX179" fmla="*/ 1155019 w 1609516"/>
              <a:gd name="csY179" fmla="*/ 35 h 1538630"/>
              <a:gd name="csX180" fmla="*/ 1174829 w 1609516"/>
              <a:gd name="csY180" fmla="*/ 4853 h 1538630"/>
              <a:gd name="csX181" fmla="*/ 1179418 w 1609516"/>
              <a:gd name="csY181" fmla="*/ 5998 h 1538630"/>
              <a:gd name="csX182" fmla="*/ 1201385 w 1609516"/>
              <a:gd name="csY182" fmla="*/ 22997 h 1538630"/>
              <a:gd name="csX183" fmla="*/ 1201678 w 1609516"/>
              <a:gd name="csY183" fmla="*/ 62191 h 1538630"/>
              <a:gd name="csX184" fmla="*/ 1198261 w 1609516"/>
              <a:gd name="csY184" fmla="*/ 68268 h 1538630"/>
              <a:gd name="csX185" fmla="*/ 1195723 w 1609516"/>
              <a:gd name="csY185" fmla="*/ 72672 h 1538630"/>
              <a:gd name="csX186" fmla="*/ 1193575 w 1609516"/>
              <a:gd name="csY186" fmla="*/ 75314 h 1538630"/>
              <a:gd name="csX187" fmla="*/ 1190450 w 1609516"/>
              <a:gd name="csY187" fmla="*/ 75314 h 1538630"/>
              <a:gd name="csX188" fmla="*/ 1189474 w 1609516"/>
              <a:gd name="csY188" fmla="*/ 79366 h 1538630"/>
              <a:gd name="csX189" fmla="*/ 1182445 w 1609516"/>
              <a:gd name="csY189" fmla="*/ 85707 h 1538630"/>
              <a:gd name="csX190" fmla="*/ 1177953 w 1609516"/>
              <a:gd name="csY190" fmla="*/ 86588 h 1538630"/>
              <a:gd name="csX191" fmla="*/ 1177953 w 1609516"/>
              <a:gd name="csY191" fmla="*/ 89406 h 1538630"/>
              <a:gd name="csX192" fmla="*/ 1170045 w 1609516"/>
              <a:gd name="csY192" fmla="*/ 94251 h 1538630"/>
              <a:gd name="csX193" fmla="*/ 1143806 w 1609516"/>
              <a:gd name="csY193" fmla="*/ 132828 h 1538630"/>
              <a:gd name="csX194" fmla="*/ 1137338 w 1609516"/>
              <a:gd name="csY194" fmla="*/ 141548 h 1538630"/>
              <a:gd name="csX195" fmla="*/ 1133970 w 1609516"/>
              <a:gd name="csY195" fmla="*/ 149403 h 1538630"/>
              <a:gd name="csX196" fmla="*/ 1127965 w 1609516"/>
              <a:gd name="csY196" fmla="*/ 164095 h 1538630"/>
              <a:gd name="csX197" fmla="*/ 1124762 w 1609516"/>
              <a:gd name="csY197" fmla="*/ 171802 h 1538630"/>
              <a:gd name="csX198" fmla="*/ 1119359 w 1609516"/>
              <a:gd name="csY198" fmla="*/ 184798 h 1538630"/>
              <a:gd name="csX199" fmla="*/ 1111014 w 1609516"/>
              <a:gd name="csY199" fmla="*/ 204941 h 1538630"/>
              <a:gd name="csX200" fmla="*/ 1109729 w 1609516"/>
              <a:gd name="csY200" fmla="*/ 208059 h 1538630"/>
              <a:gd name="csX201" fmla="*/ 1106395 w 1609516"/>
              <a:gd name="csY201" fmla="*/ 216170 h 1538630"/>
              <a:gd name="csX202" fmla="*/ 1102147 w 1609516"/>
              <a:gd name="csY202" fmla="*/ 224810 h 1538630"/>
              <a:gd name="csX203" fmla="*/ 1098261 w 1609516"/>
              <a:gd name="csY203" fmla="*/ 227262 h 1538630"/>
              <a:gd name="csX204" fmla="*/ 1098367 w 1609516"/>
              <a:gd name="csY204" fmla="*/ 238475 h 1538630"/>
              <a:gd name="csX205" fmla="*/ 1097331 w 1609516"/>
              <a:gd name="csY205" fmla="*/ 242358 h 1538630"/>
              <a:gd name="csX206" fmla="*/ 1096201 w 1609516"/>
              <a:gd name="csY206" fmla="*/ 246458 h 1538630"/>
              <a:gd name="csX207" fmla="*/ 1089440 w 1609516"/>
              <a:gd name="csY207" fmla="*/ 279206 h 1538630"/>
              <a:gd name="csX208" fmla="*/ 1087316 w 1609516"/>
              <a:gd name="csY208" fmla="*/ 283978 h 1538630"/>
              <a:gd name="csX209" fmla="*/ 1086822 w 1609516"/>
              <a:gd name="csY209" fmla="*/ 291822 h 1538630"/>
              <a:gd name="csX210" fmla="*/ 1086623 w 1609516"/>
              <a:gd name="csY210" fmla="*/ 296625 h 1538630"/>
              <a:gd name="csX211" fmla="*/ 1086437 w 1609516"/>
              <a:gd name="csY211" fmla="*/ 301681 h 1538630"/>
              <a:gd name="csX212" fmla="*/ 1086233 w 1609516"/>
              <a:gd name="csY212" fmla="*/ 306754 h 1538630"/>
              <a:gd name="csX213" fmla="*/ 1086007 w 1609516"/>
              <a:gd name="csY213" fmla="*/ 312619 h 1538630"/>
              <a:gd name="csX214" fmla="*/ 1087470 w 1609516"/>
              <a:gd name="csY214" fmla="*/ 320554 h 1538630"/>
              <a:gd name="csX215" fmla="*/ 1098285 w 1609516"/>
              <a:gd name="csY215" fmla="*/ 334611 h 1538630"/>
              <a:gd name="csX216" fmla="*/ 1102607 w 1609516"/>
              <a:gd name="csY216" fmla="*/ 337679 h 1538630"/>
              <a:gd name="csX217" fmla="*/ 1106095 w 1609516"/>
              <a:gd name="csY217" fmla="*/ 340248 h 1538630"/>
              <a:gd name="csX218" fmla="*/ 1106095 w 1609516"/>
              <a:gd name="csY218" fmla="*/ 343066 h 1538630"/>
              <a:gd name="csX219" fmla="*/ 1109220 w 1609516"/>
              <a:gd name="csY219" fmla="*/ 343419 h 1538630"/>
              <a:gd name="csX220" fmla="*/ 1126403 w 1609516"/>
              <a:gd name="csY220" fmla="*/ 350112 h 1538630"/>
              <a:gd name="csX221" fmla="*/ 1131871 w 1609516"/>
              <a:gd name="csY221" fmla="*/ 352579 h 1538630"/>
              <a:gd name="csX222" fmla="*/ 1135776 w 1609516"/>
              <a:gd name="csY222" fmla="*/ 354340 h 1538630"/>
              <a:gd name="csX223" fmla="*/ 1135776 w 1609516"/>
              <a:gd name="csY223" fmla="*/ 357158 h 1538630"/>
              <a:gd name="csX224" fmla="*/ 1170143 w 1609516"/>
              <a:gd name="csY224" fmla="*/ 354340 h 1538630"/>
              <a:gd name="csX225" fmla="*/ 1174634 w 1609516"/>
              <a:gd name="csY225" fmla="*/ 352579 h 1538630"/>
              <a:gd name="csX226" fmla="*/ 1190890 w 1609516"/>
              <a:gd name="csY226" fmla="*/ 342907 h 1538630"/>
              <a:gd name="csX227" fmla="*/ 1204021 w 1609516"/>
              <a:gd name="csY227" fmla="*/ 335404 h 1538630"/>
              <a:gd name="csX228" fmla="*/ 1223255 w 1609516"/>
              <a:gd name="csY228" fmla="*/ 319110 h 1538630"/>
              <a:gd name="csX229" fmla="*/ 1226868 w 1609516"/>
              <a:gd name="csY229" fmla="*/ 315587 h 1538630"/>
              <a:gd name="csX230" fmla="*/ 1231859 w 1609516"/>
              <a:gd name="csY230" fmla="*/ 303559 h 1538630"/>
              <a:gd name="csX231" fmla="*/ 1234178 w 1609516"/>
              <a:gd name="csY231" fmla="*/ 298059 h 1538630"/>
              <a:gd name="csX232" fmla="*/ 1237314 w 1609516"/>
              <a:gd name="csY232" fmla="*/ 288195 h 1538630"/>
              <a:gd name="csX233" fmla="*/ 1249811 w 1609516"/>
              <a:gd name="csY233" fmla="*/ 265559 h 1538630"/>
              <a:gd name="csX234" fmla="*/ 1252935 w 1609516"/>
              <a:gd name="csY234" fmla="*/ 265559 h 1538630"/>
              <a:gd name="csX235" fmla="*/ 1252935 w 1609516"/>
              <a:gd name="csY235" fmla="*/ 262741 h 1538630"/>
              <a:gd name="csX236" fmla="*/ 1296675 w 1609516"/>
              <a:gd name="csY236" fmla="*/ 252876 h 1538630"/>
              <a:gd name="csX237" fmla="*/ 1307609 w 1609516"/>
              <a:gd name="csY237" fmla="*/ 255695 h 1538630"/>
              <a:gd name="csX238" fmla="*/ 1307609 w 1609516"/>
              <a:gd name="csY238" fmla="*/ 258513 h 1538630"/>
              <a:gd name="csX239" fmla="*/ 1311887 w 1609516"/>
              <a:gd name="csY239" fmla="*/ 258832 h 1538630"/>
              <a:gd name="csX240" fmla="*/ 1326715 w 1609516"/>
              <a:gd name="csY240" fmla="*/ 269969 h 1538630"/>
              <a:gd name="csX241" fmla="*/ 1334165 w 1609516"/>
              <a:gd name="csY241" fmla="*/ 307836 h 1538630"/>
              <a:gd name="csX242" fmla="*/ 1329479 w 1609516"/>
              <a:gd name="csY242" fmla="*/ 314882 h 1538630"/>
              <a:gd name="csX243" fmla="*/ 1323231 w 1609516"/>
              <a:gd name="csY243" fmla="*/ 314882 h 1538630"/>
              <a:gd name="csX244" fmla="*/ 1323231 w 1609516"/>
              <a:gd name="csY244" fmla="*/ 317700 h 1538630"/>
              <a:gd name="csX245" fmla="*/ 1322774 w 1609516"/>
              <a:gd name="csY245" fmla="*/ 317838 h 1538630"/>
              <a:gd name="csX246" fmla="*/ 1323295 w 1609516"/>
              <a:gd name="csY246" fmla="*/ 317838 h 1538630"/>
              <a:gd name="csX247" fmla="*/ 1323295 w 1609516"/>
              <a:gd name="csY247" fmla="*/ 315019 h 1538630"/>
              <a:gd name="csX248" fmla="*/ 1327982 w 1609516"/>
              <a:gd name="csY248" fmla="*/ 315019 h 1538630"/>
              <a:gd name="csX249" fmla="*/ 1317047 w 1609516"/>
              <a:gd name="csY249" fmla="*/ 327702 h 1538630"/>
              <a:gd name="csX250" fmla="*/ 1315484 w 1609516"/>
              <a:gd name="csY250" fmla="*/ 331930 h 1538630"/>
              <a:gd name="csX251" fmla="*/ 1309139 w 1609516"/>
              <a:gd name="csY251" fmla="*/ 333603 h 1538630"/>
              <a:gd name="csX252" fmla="*/ 1305666 w 1609516"/>
              <a:gd name="csY252" fmla="*/ 334280 h 1538630"/>
              <a:gd name="csX253" fmla="*/ 1302988 w 1609516"/>
              <a:gd name="csY253" fmla="*/ 334748 h 1538630"/>
              <a:gd name="csX254" fmla="*/ 1305905 w 1609516"/>
              <a:gd name="csY254" fmla="*/ 332775 h 1538630"/>
              <a:gd name="csX255" fmla="*/ 1304485 w 1609516"/>
              <a:gd name="csY255" fmla="*/ 333202 h 1538630"/>
              <a:gd name="csX256" fmla="*/ 1301459 w 1609516"/>
              <a:gd name="csY256" fmla="*/ 336108 h 1538630"/>
              <a:gd name="csX257" fmla="*/ 1291989 w 1609516"/>
              <a:gd name="csY257" fmla="*/ 338839 h 1538630"/>
              <a:gd name="csX258" fmla="*/ 1290426 w 1609516"/>
              <a:gd name="csY258" fmla="*/ 343066 h 1538630"/>
              <a:gd name="csX259" fmla="*/ 1285740 w 1609516"/>
              <a:gd name="csY259" fmla="*/ 344123 h 1538630"/>
              <a:gd name="csX260" fmla="*/ 1237314 w 1609516"/>
              <a:gd name="csY260" fmla="*/ 382525 h 1538630"/>
              <a:gd name="csX261" fmla="*/ 1232628 w 1609516"/>
              <a:gd name="csY261" fmla="*/ 392389 h 1538630"/>
              <a:gd name="csX262" fmla="*/ 1228625 w 1609516"/>
              <a:gd name="csY262" fmla="*/ 398731 h 1538630"/>
              <a:gd name="csX263" fmla="*/ 1222822 w 1609516"/>
              <a:gd name="csY263" fmla="*/ 434798 h 1538630"/>
              <a:gd name="csX264" fmla="*/ 1260746 w 1609516"/>
              <a:gd name="csY264" fmla="*/ 485398 h 1538630"/>
              <a:gd name="csX265" fmla="*/ 1268556 w 1609516"/>
              <a:gd name="csY265" fmla="*/ 488216 h 1538630"/>
              <a:gd name="csX266" fmla="*/ 1268556 w 1609516"/>
              <a:gd name="csY266" fmla="*/ 491034 h 1538630"/>
              <a:gd name="csX267" fmla="*/ 1338852 w 1609516"/>
              <a:gd name="csY267" fmla="*/ 489625 h 1538630"/>
              <a:gd name="csX268" fmla="*/ 1347444 w 1609516"/>
              <a:gd name="csY268" fmla="*/ 488480 h 1538630"/>
              <a:gd name="csX269" fmla="*/ 1369362 w 1609516"/>
              <a:gd name="csY269" fmla="*/ 482513 h 1538630"/>
              <a:gd name="csX270" fmla="*/ 1388840 w 1609516"/>
              <a:gd name="csY270" fmla="*/ 478351 h 1538630"/>
              <a:gd name="csX271" fmla="*/ 1388840 w 1609516"/>
              <a:gd name="csY271" fmla="*/ 475533 h 1538630"/>
              <a:gd name="csX272" fmla="*/ 1395576 w 1609516"/>
              <a:gd name="csY272" fmla="*/ 473419 h 1538630"/>
              <a:gd name="csX273" fmla="*/ 1399365 w 1609516"/>
              <a:gd name="csY273" fmla="*/ 472230 h 1538630"/>
              <a:gd name="csX274" fmla="*/ 1407585 w 1609516"/>
              <a:gd name="csY274" fmla="*/ 471305 h 1538630"/>
              <a:gd name="csX275" fmla="*/ 1409147 w 1609516"/>
              <a:gd name="csY275" fmla="*/ 467078 h 1538630"/>
              <a:gd name="csX276" fmla="*/ 1416470 w 1609516"/>
              <a:gd name="csY276" fmla="*/ 464259 h 1538630"/>
              <a:gd name="csX277" fmla="*/ 1437949 w 1609516"/>
              <a:gd name="csY277" fmla="*/ 455011 h 1538630"/>
              <a:gd name="csX278" fmla="*/ 1452887 w 1609516"/>
              <a:gd name="csY278" fmla="*/ 450167 h 1538630"/>
              <a:gd name="csX279" fmla="*/ 1452887 w 1609516"/>
              <a:gd name="csY279" fmla="*/ 447349 h 1538630"/>
              <a:gd name="csX280" fmla="*/ 1455394 w 1609516"/>
              <a:gd name="csY280" fmla="*/ 446122 h 1538630"/>
              <a:gd name="csX281" fmla="*/ 1466653 w 1609516"/>
              <a:gd name="csY281" fmla="*/ 440567 h 1538630"/>
              <a:gd name="csX282" fmla="*/ 1470598 w 1609516"/>
              <a:gd name="csY282" fmla="*/ 438637 h 1538630"/>
              <a:gd name="csX283" fmla="*/ 1474397 w 1609516"/>
              <a:gd name="csY283" fmla="*/ 436752 h 1538630"/>
              <a:gd name="csX284" fmla="*/ 1477892 w 1609516"/>
              <a:gd name="csY284" fmla="*/ 435030 h 1538630"/>
              <a:gd name="csX285" fmla="*/ 1485691 w 1609516"/>
              <a:gd name="csY285" fmla="*/ 429029 h 1538630"/>
              <a:gd name="csX286" fmla="*/ 1488858 w 1609516"/>
              <a:gd name="csY286" fmla="*/ 427653 h 1538630"/>
              <a:gd name="csX287" fmla="*/ 1495943 w 1609516"/>
              <a:gd name="csY287" fmla="*/ 421454 h 1538630"/>
              <a:gd name="csX288" fmla="*/ 1538608 w 1609516"/>
              <a:gd name="csY288" fmla="*/ 388338 h 1538630"/>
              <a:gd name="csX289" fmla="*/ 1543490 w 1609516"/>
              <a:gd name="csY289" fmla="*/ 388161 h 1538630"/>
              <a:gd name="csX290" fmla="*/ 1547621 w 1609516"/>
              <a:gd name="csY290" fmla="*/ 387804 h 1538630"/>
              <a:gd name="csX291" fmla="*/ 1579418 w 1609516"/>
              <a:gd name="csY291" fmla="*/ 396617 h 1538630"/>
              <a:gd name="csX292" fmla="*/ 1583342 w 1609516"/>
              <a:gd name="csY292" fmla="*/ 398780 h 1538630"/>
              <a:gd name="csX293" fmla="*/ 1601288 w 1609516"/>
              <a:gd name="csY293" fmla="*/ 423392 h 1538630"/>
              <a:gd name="csX294" fmla="*/ 1594484 w 1609516"/>
              <a:gd name="csY294" fmla="*/ 460159 h 1538630"/>
              <a:gd name="csX295" fmla="*/ 1574732 w 1609516"/>
              <a:gd name="csY295" fmla="*/ 475533 h 1538630"/>
              <a:gd name="csX296" fmla="*/ 1572097 w 1609516"/>
              <a:gd name="csY296" fmla="*/ 477078 h 1538630"/>
              <a:gd name="csX297" fmla="*/ 1556066 w 1609516"/>
              <a:gd name="csY297" fmla="*/ 478737 h 1538630"/>
              <a:gd name="csX298" fmla="*/ 1548631 w 1609516"/>
              <a:gd name="csY298" fmla="*/ 478825 h 1538630"/>
              <a:gd name="csX299" fmla="*/ 1536991 w 1609516"/>
              <a:gd name="csY299" fmla="*/ 478889 h 1538630"/>
              <a:gd name="csX300" fmla="*/ 1498188 w 1609516"/>
              <a:gd name="csY300" fmla="*/ 485398 h 1538630"/>
              <a:gd name="csX301" fmla="*/ 1493892 w 1609516"/>
              <a:gd name="csY301" fmla="*/ 487600 h 1538630"/>
              <a:gd name="csX302" fmla="*/ 1490377 w 1609516"/>
              <a:gd name="csY302" fmla="*/ 489625 h 1538630"/>
              <a:gd name="csX303" fmla="*/ 1471650 w 1609516"/>
              <a:gd name="csY303" fmla="*/ 498185 h 1538630"/>
              <a:gd name="csX304" fmla="*/ 1459135 w 1609516"/>
              <a:gd name="csY304" fmla="*/ 505127 h 1538630"/>
              <a:gd name="csX305" fmla="*/ 1452594 w 1609516"/>
              <a:gd name="csY305" fmla="*/ 508033 h 1538630"/>
              <a:gd name="csX306" fmla="*/ 1427795 w 1609516"/>
              <a:gd name="csY306" fmla="*/ 520100 h 1538630"/>
              <a:gd name="csX307" fmla="*/ 1423733 w 1609516"/>
              <a:gd name="csY307" fmla="*/ 522148 h 1538630"/>
              <a:gd name="csX308" fmla="*/ 1419929 w 1609516"/>
              <a:gd name="csY308" fmla="*/ 524118 h 1538630"/>
              <a:gd name="csX309" fmla="*/ 1416487 w 1609516"/>
              <a:gd name="csY309" fmla="*/ 525883 h 1538630"/>
              <a:gd name="csX310" fmla="*/ 1412271 w 1609516"/>
              <a:gd name="csY310" fmla="*/ 531902 h 1538630"/>
              <a:gd name="csX311" fmla="*/ 1396650 w 1609516"/>
              <a:gd name="csY311" fmla="*/ 537539 h 1538630"/>
              <a:gd name="csX312" fmla="*/ 1396650 w 1609516"/>
              <a:gd name="csY312" fmla="*/ 540357 h 1538630"/>
              <a:gd name="csX313" fmla="*/ 1393495 w 1609516"/>
              <a:gd name="csY313" fmla="*/ 541502 h 1538630"/>
              <a:gd name="csX314" fmla="*/ 1362284 w 1609516"/>
              <a:gd name="csY314" fmla="*/ 558678 h 1538630"/>
              <a:gd name="csX315" fmla="*/ 1355937 w 1609516"/>
              <a:gd name="csY315" fmla="*/ 562905 h 1538630"/>
              <a:gd name="csX316" fmla="*/ 1334165 w 1609516"/>
              <a:gd name="csY316" fmla="*/ 578406 h 1538630"/>
              <a:gd name="csX317" fmla="*/ 1331200 w 1609516"/>
              <a:gd name="csY317" fmla="*/ 580559 h 1538630"/>
              <a:gd name="csX318" fmla="*/ 1322175 w 1609516"/>
              <a:gd name="csY318" fmla="*/ 596793 h 1538630"/>
              <a:gd name="csX319" fmla="*/ 1320106 w 1609516"/>
              <a:gd name="csY319" fmla="*/ 602363 h 1538630"/>
              <a:gd name="csX320" fmla="*/ 1328015 w 1609516"/>
              <a:gd name="csY320" fmla="*/ 647640 h 1538630"/>
              <a:gd name="csX321" fmla="*/ 1332604 w 1609516"/>
              <a:gd name="csY321" fmla="*/ 675643 h 1538630"/>
              <a:gd name="csX322" fmla="*/ 1335727 w 1609516"/>
              <a:gd name="csY322" fmla="*/ 675643 h 1538630"/>
              <a:gd name="csX323" fmla="*/ 1337741 w 1609516"/>
              <a:gd name="csY323" fmla="*/ 690059 h 1538630"/>
              <a:gd name="csX324" fmla="*/ 1338003 w 1609516"/>
              <a:gd name="csY324" fmla="*/ 696222 h 1538630"/>
              <a:gd name="csX325" fmla="*/ 1338340 w 1609516"/>
              <a:gd name="csY325" fmla="*/ 705887 h 1538630"/>
              <a:gd name="csX326" fmla="*/ 1345277 w 1609516"/>
              <a:gd name="csY326" fmla="*/ 733245 h 1538630"/>
              <a:gd name="csX327" fmla="*/ 1363162 w 1609516"/>
              <a:gd name="csY327" fmla="*/ 741612 h 1538630"/>
              <a:gd name="csX328" fmla="*/ 1384154 w 1609516"/>
              <a:gd name="csY328" fmla="*/ 748922 h 1538630"/>
              <a:gd name="csX329" fmla="*/ 1391476 w 1609516"/>
              <a:gd name="csY329" fmla="*/ 750419 h 1538630"/>
              <a:gd name="csX330" fmla="*/ 1395564 w 1609516"/>
              <a:gd name="csY330" fmla="*/ 751080 h 1538630"/>
              <a:gd name="csX331" fmla="*/ 1399775 w 1609516"/>
              <a:gd name="csY331" fmla="*/ 751740 h 1538630"/>
              <a:gd name="csX332" fmla="*/ 1403887 w 1609516"/>
              <a:gd name="csY332" fmla="*/ 752489 h 1538630"/>
              <a:gd name="csX333" fmla="*/ 1465383 w 1609516"/>
              <a:gd name="csY333" fmla="*/ 755969 h 1538630"/>
              <a:gd name="csX334" fmla="*/ 1470339 w 1609516"/>
              <a:gd name="csY334" fmla="*/ 755897 h 1538630"/>
              <a:gd name="csX335" fmla="*/ 1496809 w 1609516"/>
              <a:gd name="csY335" fmla="*/ 749313 h 1538630"/>
              <a:gd name="csX336" fmla="*/ 1515371 w 1609516"/>
              <a:gd name="csY336" fmla="*/ 743285 h 1538630"/>
              <a:gd name="csX337" fmla="*/ 1515371 w 1609516"/>
              <a:gd name="csY337" fmla="*/ 740467 h 1538630"/>
              <a:gd name="csX338" fmla="*/ 1537632 w 1609516"/>
              <a:gd name="csY338" fmla="*/ 737120 h 1538630"/>
              <a:gd name="csX339" fmla="*/ 1541657 w 1609516"/>
              <a:gd name="csY339" fmla="*/ 737127 h 1538630"/>
              <a:gd name="csX340" fmla="*/ 1574732 w 1609516"/>
              <a:gd name="csY340" fmla="*/ 748922 h 1538630"/>
              <a:gd name="csX341" fmla="*/ 1588791 w 1609516"/>
              <a:gd name="csY341" fmla="*/ 792608 h 1538630"/>
              <a:gd name="csX342" fmla="*/ 1584105 w 1609516"/>
              <a:gd name="csY342" fmla="*/ 805291 h 1538630"/>
              <a:gd name="csX343" fmla="*/ 1580981 w 1609516"/>
              <a:gd name="csY343" fmla="*/ 806700 h 1538630"/>
              <a:gd name="csX344" fmla="*/ 1578735 w 1609516"/>
              <a:gd name="csY344" fmla="*/ 810311 h 1538630"/>
              <a:gd name="csX345" fmla="*/ 1576295 w 1609516"/>
              <a:gd name="csY345" fmla="*/ 813746 h 1538630"/>
              <a:gd name="csX346" fmla="*/ 1571652 w 1609516"/>
              <a:gd name="csY346" fmla="*/ 813746 h 1538630"/>
              <a:gd name="csX347" fmla="*/ 1571785 w 1609516"/>
              <a:gd name="csY347" fmla="*/ 814106 h 1538630"/>
              <a:gd name="csX348" fmla="*/ 1574909 w 1609516"/>
              <a:gd name="csY348" fmla="*/ 815515 h 1538630"/>
              <a:gd name="csX349" fmla="*/ 1565463 w 1609516"/>
              <a:gd name="csY349" fmla="*/ 821839 h 1538630"/>
              <a:gd name="csX350" fmla="*/ 1562085 w 1609516"/>
              <a:gd name="csY350" fmla="*/ 822101 h 1538630"/>
              <a:gd name="csX351" fmla="*/ 1551301 w 1609516"/>
              <a:gd name="csY351" fmla="*/ 825020 h 1538630"/>
              <a:gd name="csX352" fmla="*/ 1551301 w 1609516"/>
              <a:gd name="csY352" fmla="*/ 827838 h 1538630"/>
              <a:gd name="csX353" fmla="*/ 1485380 w 1609516"/>
              <a:gd name="csY353" fmla="*/ 815007 h 1538630"/>
              <a:gd name="csX354" fmla="*/ 1431603 w 1609516"/>
              <a:gd name="csY354" fmla="*/ 808726 h 1538630"/>
              <a:gd name="csX355" fmla="*/ 1424140 w 1609516"/>
              <a:gd name="csY355" fmla="*/ 808542 h 1538630"/>
              <a:gd name="csX356" fmla="*/ 1406023 w 1609516"/>
              <a:gd name="csY356" fmla="*/ 808109 h 1538630"/>
              <a:gd name="csX357" fmla="*/ 1406023 w 1609516"/>
              <a:gd name="csY357" fmla="*/ 810928 h 1538630"/>
              <a:gd name="csX358" fmla="*/ 1403383 w 1609516"/>
              <a:gd name="csY358" fmla="*/ 811311 h 1538630"/>
              <a:gd name="csX359" fmla="*/ 1345442 w 1609516"/>
              <a:gd name="csY359" fmla="*/ 828907 h 1538630"/>
              <a:gd name="csX360" fmla="*/ 1337875 w 1609516"/>
              <a:gd name="csY360" fmla="*/ 856639 h 1538630"/>
              <a:gd name="csX361" fmla="*/ 1337692 w 1609516"/>
              <a:gd name="csY361" fmla="*/ 860171 h 1538630"/>
              <a:gd name="csX362" fmla="*/ 1337290 w 1609516"/>
              <a:gd name="csY362" fmla="*/ 868706 h 1538630"/>
              <a:gd name="csX363" fmla="*/ 1334165 w 1609516"/>
              <a:gd name="csY363" fmla="*/ 868706 h 1538630"/>
              <a:gd name="csX364" fmla="*/ 1334165 w 1609516"/>
              <a:gd name="csY364" fmla="*/ 870034 h 1538630"/>
              <a:gd name="csX365" fmla="*/ 1334237 w 1609516"/>
              <a:gd name="csY365" fmla="*/ 869093 h 1538630"/>
              <a:gd name="csX366" fmla="*/ 1335800 w 1609516"/>
              <a:gd name="csY366" fmla="*/ 869093 h 1538630"/>
              <a:gd name="csX367" fmla="*/ 1335995 w 1609516"/>
              <a:gd name="csY367" fmla="*/ 876491 h 1538630"/>
              <a:gd name="csX368" fmla="*/ 1336105 w 1609516"/>
              <a:gd name="csY368" fmla="*/ 880653 h 1538630"/>
              <a:gd name="csX369" fmla="*/ 1334294 w 1609516"/>
              <a:gd name="csY369" fmla="*/ 887271 h 1538630"/>
              <a:gd name="csX370" fmla="*/ 1331455 w 1609516"/>
              <a:gd name="csY370" fmla="*/ 896440 h 1538630"/>
              <a:gd name="csX371" fmla="*/ 1330887 w 1609516"/>
              <a:gd name="csY371" fmla="*/ 899969 h 1538630"/>
              <a:gd name="csX372" fmla="*/ 1330332 w 1609516"/>
              <a:gd name="csY372" fmla="*/ 903618 h 1538630"/>
              <a:gd name="csX373" fmla="*/ 1329209 w 1609516"/>
              <a:gd name="csY373" fmla="*/ 910797 h 1538630"/>
              <a:gd name="csX374" fmla="*/ 1328724 w 1609516"/>
              <a:gd name="csY374" fmla="*/ 913998 h 1538630"/>
              <a:gd name="csX375" fmla="*/ 1324865 w 1609516"/>
              <a:gd name="csY375" fmla="*/ 922643 h 1538630"/>
              <a:gd name="csX376" fmla="*/ 1322619 w 1609516"/>
              <a:gd name="csY376" fmla="*/ 937979 h 1538630"/>
              <a:gd name="csX377" fmla="*/ 1318744 w 1609516"/>
              <a:gd name="csY377" fmla="*/ 944961 h 1538630"/>
              <a:gd name="csX378" fmla="*/ 1318544 w 1609516"/>
              <a:gd name="csY378" fmla="*/ 946213 h 1538630"/>
              <a:gd name="csX379" fmla="*/ 1318251 w 1609516"/>
              <a:gd name="csY379" fmla="*/ 955285 h 1538630"/>
              <a:gd name="csX380" fmla="*/ 1318184 w 1609516"/>
              <a:gd name="csY380" fmla="*/ 960036 h 1538630"/>
              <a:gd name="csX381" fmla="*/ 1324024 w 1609516"/>
              <a:gd name="csY381" fmla="*/ 973660 h 1538630"/>
              <a:gd name="csX382" fmla="*/ 1329284 w 1609516"/>
              <a:gd name="csY382" fmla="*/ 983382 h 1538630"/>
              <a:gd name="csX383" fmla="*/ 1340414 w 1609516"/>
              <a:gd name="csY383" fmla="*/ 998354 h 1538630"/>
              <a:gd name="csX384" fmla="*/ 1346272 w 1609516"/>
              <a:gd name="csY384" fmla="*/ 1005048 h 1538630"/>
              <a:gd name="csX385" fmla="*/ 1394716 w 1609516"/>
              <a:gd name="csY385" fmla="*/ 1042740 h 1538630"/>
              <a:gd name="csX386" fmla="*/ 1401953 w 1609516"/>
              <a:gd name="csY386" fmla="*/ 1047374 h 1538630"/>
              <a:gd name="csX387" fmla="*/ 1427197 w 1609516"/>
              <a:gd name="csY387" fmla="*/ 1059061 h 1538630"/>
              <a:gd name="csX388" fmla="*/ 1437265 w 1609516"/>
              <a:gd name="csY388" fmla="*/ 1064588 h 1538630"/>
              <a:gd name="csX389" fmla="*/ 1437265 w 1609516"/>
              <a:gd name="csY389" fmla="*/ 1067406 h 1538630"/>
              <a:gd name="csX390" fmla="*/ 1440878 w 1609516"/>
              <a:gd name="csY390" fmla="*/ 1067847 h 1538630"/>
              <a:gd name="csX391" fmla="*/ 1447175 w 1609516"/>
              <a:gd name="csY391" fmla="*/ 1070753 h 1538630"/>
              <a:gd name="csX392" fmla="*/ 1457866 w 1609516"/>
              <a:gd name="csY392" fmla="*/ 1076830 h 1538630"/>
              <a:gd name="csX393" fmla="*/ 1462132 w 1609516"/>
              <a:gd name="csY393" fmla="*/ 1078696 h 1538630"/>
              <a:gd name="csX394" fmla="*/ 1465383 w 1609516"/>
              <a:gd name="csY394" fmla="*/ 1080089 h 1538630"/>
              <a:gd name="csX395" fmla="*/ 1465383 w 1609516"/>
              <a:gd name="csY395" fmla="*/ 1082908 h 1538630"/>
              <a:gd name="csX396" fmla="*/ 1468758 w 1609516"/>
              <a:gd name="csY396" fmla="*/ 1083975 h 1538630"/>
              <a:gd name="csX397" fmla="*/ 1481688 w 1609516"/>
              <a:gd name="csY397" fmla="*/ 1091187 h 1538630"/>
              <a:gd name="csX398" fmla="*/ 1486283 w 1609516"/>
              <a:gd name="csY398" fmla="*/ 1094236 h 1538630"/>
              <a:gd name="csX399" fmla="*/ 1494869 w 1609516"/>
              <a:gd name="csY399" fmla="*/ 1100171 h 1538630"/>
              <a:gd name="csX400" fmla="*/ 1544335 w 1609516"/>
              <a:gd name="csY400" fmla="*/ 1109518 h 1538630"/>
              <a:gd name="csX401" fmla="*/ 1593477 w 1609516"/>
              <a:gd name="csY401" fmla="*/ 1119900 h 1538630"/>
              <a:gd name="csX402" fmla="*/ 1605975 w 1609516"/>
              <a:gd name="csY402" fmla="*/ 1144913 h 1538630"/>
              <a:gd name="csX403" fmla="*/ 1609099 w 1609516"/>
              <a:gd name="csY403" fmla="*/ 1144913 h 1538630"/>
              <a:gd name="csX404" fmla="*/ 1609392 w 1609516"/>
              <a:gd name="csY404" fmla="*/ 1156892 h 1538630"/>
              <a:gd name="csX405" fmla="*/ 1609511 w 1609516"/>
              <a:gd name="csY405" fmla="*/ 1160272 h 1538630"/>
              <a:gd name="csX406" fmla="*/ 1604412 w 1609516"/>
              <a:gd name="csY406" fmla="*/ 1181553 h 1538630"/>
              <a:gd name="csX407" fmla="*/ 1601288 w 1609516"/>
              <a:gd name="csY407" fmla="*/ 1190009 h 1538630"/>
              <a:gd name="csX408" fmla="*/ 1598164 w 1609516"/>
              <a:gd name="csY408" fmla="*/ 1190009 h 1538630"/>
              <a:gd name="csX409" fmla="*/ 1597187 w 1609516"/>
              <a:gd name="csY409" fmla="*/ 1192739 h 1538630"/>
              <a:gd name="csX410" fmla="*/ 1595040 w 1609516"/>
              <a:gd name="csY410" fmla="*/ 1195645 h 1538630"/>
              <a:gd name="csX411" fmla="*/ 1585667 w 1609516"/>
              <a:gd name="csY411" fmla="*/ 1197055 h 1538630"/>
              <a:gd name="csX412" fmla="*/ 1582543 w 1609516"/>
              <a:gd name="csY412" fmla="*/ 1202691 h 1538630"/>
              <a:gd name="csX413" fmla="*/ 1562431 w 1609516"/>
              <a:gd name="csY413" fmla="*/ 1204365 h 1538630"/>
              <a:gd name="csX414" fmla="*/ 1558690 w 1609516"/>
              <a:gd name="csY414" fmla="*/ 1204417 h 1538630"/>
              <a:gd name="csX415" fmla="*/ 1521102 w 1609516"/>
              <a:gd name="csY415" fmla="*/ 1189585 h 1538630"/>
              <a:gd name="csX416" fmla="*/ 1505022 w 1609516"/>
              <a:gd name="csY416" fmla="*/ 1172041 h 1538630"/>
              <a:gd name="csX417" fmla="*/ 1457573 w 1609516"/>
              <a:gd name="csY417" fmla="*/ 1140686 h 1538630"/>
              <a:gd name="csX418" fmla="*/ 1457573 w 1609516"/>
              <a:gd name="csY418" fmla="*/ 1137867 h 1538630"/>
              <a:gd name="csX419" fmla="*/ 1452985 w 1609516"/>
              <a:gd name="csY419" fmla="*/ 1137339 h 1538630"/>
              <a:gd name="csX420" fmla="*/ 1448200 w 1609516"/>
              <a:gd name="csY420" fmla="*/ 1136458 h 1538630"/>
              <a:gd name="csX421" fmla="*/ 1446638 w 1609516"/>
              <a:gd name="csY421" fmla="*/ 1133640 h 1538630"/>
              <a:gd name="csX422" fmla="*/ 1438937 w 1609516"/>
              <a:gd name="csY422" fmla="*/ 1130601 h 1538630"/>
              <a:gd name="csX423" fmla="*/ 1429260 w 1609516"/>
              <a:gd name="csY423" fmla="*/ 1126770 h 1538630"/>
              <a:gd name="csX424" fmla="*/ 1411393 w 1609516"/>
              <a:gd name="csY424" fmla="*/ 1120340 h 1538630"/>
              <a:gd name="csX425" fmla="*/ 1391427 w 1609516"/>
              <a:gd name="csY425" fmla="*/ 1111191 h 1538630"/>
              <a:gd name="csX426" fmla="*/ 1381029 w 1609516"/>
              <a:gd name="csY426" fmla="*/ 1106865 h 1538630"/>
              <a:gd name="csX427" fmla="*/ 1381029 w 1609516"/>
              <a:gd name="csY427" fmla="*/ 1104046 h 1538630"/>
              <a:gd name="csX428" fmla="*/ 1377221 w 1609516"/>
              <a:gd name="csY428" fmla="*/ 1103605 h 1538630"/>
              <a:gd name="csX429" fmla="*/ 1357597 w 1609516"/>
              <a:gd name="csY429" fmla="*/ 1098409 h 1538630"/>
              <a:gd name="csX430" fmla="*/ 1352032 w 1609516"/>
              <a:gd name="csY430" fmla="*/ 1096736 h 1538630"/>
              <a:gd name="csX431" fmla="*/ 1348225 w 1609516"/>
              <a:gd name="csY431" fmla="*/ 1095590 h 1538630"/>
              <a:gd name="csX432" fmla="*/ 1348225 w 1609516"/>
              <a:gd name="csY432" fmla="*/ 1092772 h 1538630"/>
              <a:gd name="csX433" fmla="*/ 1337290 w 1609516"/>
              <a:gd name="csY433" fmla="*/ 1091363 h 1538630"/>
              <a:gd name="csX434" fmla="*/ 1337290 w 1609516"/>
              <a:gd name="csY434" fmla="*/ 1088544 h 1538630"/>
              <a:gd name="csX435" fmla="*/ 1331529 w 1609516"/>
              <a:gd name="csY435" fmla="*/ 1088104 h 1538630"/>
              <a:gd name="csX436" fmla="*/ 1323297 w 1609516"/>
              <a:gd name="csY436" fmla="*/ 1086611 h 1538630"/>
              <a:gd name="csX437" fmla="*/ 1323297 w 1609516"/>
              <a:gd name="csY437" fmla="*/ 1087618 h 1538630"/>
              <a:gd name="csX438" fmla="*/ 1319789 w 1609516"/>
              <a:gd name="csY438" fmla="*/ 1087310 h 1538630"/>
              <a:gd name="csX439" fmla="*/ 1262375 w 1609516"/>
              <a:gd name="csY439" fmla="*/ 1089028 h 1538630"/>
              <a:gd name="csX440" fmla="*/ 1258728 w 1609516"/>
              <a:gd name="csY440" fmla="*/ 1088205 h 1538630"/>
              <a:gd name="csX441" fmla="*/ 1246964 w 1609516"/>
              <a:gd name="csY441" fmla="*/ 1091489 h 1538630"/>
              <a:gd name="csX442" fmla="*/ 1223224 w 1609516"/>
              <a:gd name="csY442" fmla="*/ 1112865 h 1538630"/>
              <a:gd name="csX443" fmla="*/ 1213883 w 1609516"/>
              <a:gd name="csY443" fmla="*/ 1122366 h 1538630"/>
              <a:gd name="csX444" fmla="*/ 1212505 w 1609516"/>
              <a:gd name="csY444" fmla="*/ 1125708 h 1538630"/>
              <a:gd name="csX445" fmla="*/ 1204180 w 1609516"/>
              <a:gd name="csY445" fmla="*/ 1135561 h 1538630"/>
              <a:gd name="csX446" fmla="*/ 1200238 w 1609516"/>
              <a:gd name="csY446" fmla="*/ 1138999 h 1538630"/>
              <a:gd name="csX447" fmla="*/ 1192025 w 1609516"/>
              <a:gd name="csY447" fmla="*/ 1146022 h 1538630"/>
              <a:gd name="csX448" fmla="*/ 1173945 w 1609516"/>
              <a:gd name="csY448" fmla="*/ 1174749 h 1538630"/>
              <a:gd name="csX449" fmla="*/ 1173950 w 1609516"/>
              <a:gd name="csY449" fmla="*/ 1182610 h 1538630"/>
              <a:gd name="csX450" fmla="*/ 1173989 w 1609516"/>
              <a:gd name="csY450" fmla="*/ 1186765 h 1538630"/>
              <a:gd name="csX451" fmla="*/ 1182640 w 1609516"/>
              <a:gd name="csY451" fmla="*/ 1215374 h 1538630"/>
              <a:gd name="csX452" fmla="*/ 1185764 w 1609516"/>
              <a:gd name="csY452" fmla="*/ 1221804 h 1538630"/>
              <a:gd name="csX453" fmla="*/ 1187301 w 1609516"/>
              <a:gd name="csY453" fmla="*/ 1224859 h 1538630"/>
              <a:gd name="csX454" fmla="*/ 1190573 w 1609516"/>
              <a:gd name="csY454" fmla="*/ 1231740 h 1538630"/>
              <a:gd name="csX455" fmla="*/ 1205925 w 1609516"/>
              <a:gd name="csY455" fmla="*/ 1255163 h 1538630"/>
              <a:gd name="csX456" fmla="*/ 1212174 w 1609516"/>
              <a:gd name="csY456" fmla="*/ 1263134 h 1538630"/>
              <a:gd name="csX457" fmla="*/ 1235556 w 1609516"/>
              <a:gd name="csY457" fmla="*/ 1282538 h 1538630"/>
              <a:gd name="csX458" fmla="*/ 1238876 w 1609516"/>
              <a:gd name="csY458" fmla="*/ 1284426 h 1538630"/>
              <a:gd name="csX459" fmla="*/ 1238876 w 1609516"/>
              <a:gd name="csY459" fmla="*/ 1287245 h 1538630"/>
              <a:gd name="csX460" fmla="*/ 1242245 w 1609516"/>
              <a:gd name="csY460" fmla="*/ 1287663 h 1538630"/>
              <a:gd name="csX461" fmla="*/ 1271681 w 1609516"/>
              <a:gd name="csY461" fmla="*/ 1305565 h 1538630"/>
              <a:gd name="csX462" fmla="*/ 1271742 w 1609516"/>
              <a:gd name="csY462" fmla="*/ 1306172 h 1538630"/>
              <a:gd name="csX463" fmla="*/ 1278525 w 1609516"/>
              <a:gd name="csY463" fmla="*/ 1315767 h 1538630"/>
              <a:gd name="csX464" fmla="*/ 1281097 w 1609516"/>
              <a:gd name="csY464" fmla="*/ 1327286 h 1538630"/>
              <a:gd name="csX465" fmla="*/ 1277973 w 1609516"/>
              <a:gd name="csY465" fmla="*/ 1355470 h 1538630"/>
              <a:gd name="csX466" fmla="*/ 1277460 w 1609516"/>
              <a:gd name="csY466" fmla="*/ 1347025 h 1538630"/>
              <a:gd name="csX467" fmla="*/ 1273531 w 1609516"/>
              <a:gd name="csY467" fmla="*/ 1357991 h 1538630"/>
              <a:gd name="csX468" fmla="*/ 1263870 w 1609516"/>
              <a:gd name="csY468" fmla="*/ 1368980 h 1538630"/>
              <a:gd name="csX469" fmla="*/ 1246686 w 1609516"/>
              <a:gd name="csY469" fmla="*/ 1376026 h 1538630"/>
              <a:gd name="csX470" fmla="*/ 1246686 w 1609516"/>
              <a:gd name="csY470" fmla="*/ 1378844 h 1538630"/>
              <a:gd name="csX471" fmla="*/ 1231651 w 1609516"/>
              <a:gd name="csY471" fmla="*/ 1379196 h 1538630"/>
              <a:gd name="csX472" fmla="*/ 1227373 w 1609516"/>
              <a:gd name="csY472" fmla="*/ 1379340 h 1538630"/>
              <a:gd name="csX473" fmla="*/ 1206071 w 1609516"/>
              <a:gd name="csY473" fmla="*/ 1373207 h 1538630"/>
              <a:gd name="csX474" fmla="*/ 1202069 w 1609516"/>
              <a:gd name="csY474" fmla="*/ 1371798 h 1538630"/>
              <a:gd name="csX475" fmla="*/ 1184104 w 1609516"/>
              <a:gd name="csY475" fmla="*/ 1356176 h 1538630"/>
              <a:gd name="csX476" fmla="*/ 1177270 w 1609516"/>
              <a:gd name="csY476" fmla="*/ 1335247 h 1538630"/>
              <a:gd name="csX477" fmla="*/ 1169002 w 1609516"/>
              <a:gd name="csY477" fmla="*/ 1313464 h 1538630"/>
              <a:gd name="csX478" fmla="*/ 1163504 w 1609516"/>
              <a:gd name="csY478" fmla="*/ 1302130 h 1538630"/>
              <a:gd name="csX479" fmla="*/ 1162015 w 1609516"/>
              <a:gd name="csY479" fmla="*/ 1298788 h 1538630"/>
              <a:gd name="csX480" fmla="*/ 1160111 w 1609516"/>
              <a:gd name="csY480" fmla="*/ 1292656 h 1538630"/>
              <a:gd name="csX481" fmla="*/ 1154522 w 1609516"/>
              <a:gd name="csY481" fmla="*/ 1287245 h 1538630"/>
              <a:gd name="csX482" fmla="*/ 1151398 w 1609516"/>
              <a:gd name="csY482" fmla="*/ 1280199 h 1538630"/>
              <a:gd name="csX483" fmla="*/ 1144173 w 1609516"/>
              <a:gd name="csY483" fmla="*/ 1270774 h 1538630"/>
              <a:gd name="csX484" fmla="*/ 1142065 w 1609516"/>
              <a:gd name="csY484" fmla="*/ 1268160 h 1538630"/>
              <a:gd name="csX485" fmla="*/ 1135776 w 1609516"/>
              <a:gd name="csY485" fmla="*/ 1260470 h 1538630"/>
              <a:gd name="csX486" fmla="*/ 1132353 w 1609516"/>
              <a:gd name="csY486" fmla="*/ 1256247 h 1538630"/>
              <a:gd name="csX487" fmla="*/ 1112344 w 1609516"/>
              <a:gd name="csY487" fmla="*/ 1240741 h 1538630"/>
              <a:gd name="csX488" fmla="*/ 1106193 w 1609516"/>
              <a:gd name="csY488" fmla="*/ 1237570 h 1538630"/>
              <a:gd name="csX489" fmla="*/ 1101409 w 1609516"/>
              <a:gd name="csY489" fmla="*/ 1235104 h 1538630"/>
              <a:gd name="csX490" fmla="*/ 1101409 w 1609516"/>
              <a:gd name="csY490" fmla="*/ 1230876 h 1538630"/>
              <a:gd name="csX491" fmla="*/ 1065480 w 1609516"/>
              <a:gd name="csY491" fmla="*/ 1230876 h 1538630"/>
              <a:gd name="csX492" fmla="*/ 1063919 w 1609516"/>
              <a:gd name="csY492" fmla="*/ 1235104 h 1538630"/>
              <a:gd name="csX493" fmla="*/ 1059232 w 1609516"/>
              <a:gd name="csY493" fmla="*/ 1235104 h 1538630"/>
              <a:gd name="csX494" fmla="*/ 1059232 w 1609516"/>
              <a:gd name="csY494" fmla="*/ 1237922 h 1538630"/>
              <a:gd name="csX495" fmla="*/ 1040194 w 1609516"/>
              <a:gd name="csY495" fmla="*/ 1245761 h 1538630"/>
              <a:gd name="csX496" fmla="*/ 1030333 w 1609516"/>
              <a:gd name="csY496" fmla="*/ 1249901 h 1538630"/>
              <a:gd name="csX497" fmla="*/ 1013931 w 1609516"/>
              <a:gd name="csY497" fmla="*/ 1256242 h 1538630"/>
              <a:gd name="csX498" fmla="*/ 1005925 w 1609516"/>
              <a:gd name="csY498" fmla="*/ 1261615 h 1538630"/>
              <a:gd name="csX499" fmla="*/ 1004558 w 1609516"/>
              <a:gd name="csY499" fmla="*/ 1264697 h 1538630"/>
              <a:gd name="csX500" fmla="*/ 1002959 w 1609516"/>
              <a:gd name="csY500" fmla="*/ 1267961 h 1538630"/>
              <a:gd name="csX501" fmla="*/ 1000653 w 1609516"/>
              <a:gd name="csY501" fmla="*/ 1278965 h 1538630"/>
              <a:gd name="csX502" fmla="*/ 998297 w 1609516"/>
              <a:gd name="csY502" fmla="*/ 1294137 h 1538630"/>
              <a:gd name="csX503" fmla="*/ 996162 w 1609516"/>
              <a:gd name="csY503" fmla="*/ 1324765 h 1538630"/>
              <a:gd name="csX504" fmla="*/ 996164 w 1609516"/>
              <a:gd name="csY504" fmla="*/ 1327846 h 1538630"/>
              <a:gd name="csX505" fmla="*/ 1007780 w 1609516"/>
              <a:gd name="csY505" fmla="*/ 1403329 h 1538630"/>
              <a:gd name="csX506" fmla="*/ 1008940 w 1609516"/>
              <a:gd name="csY506" fmla="*/ 1407701 h 1538630"/>
              <a:gd name="csX507" fmla="*/ 1010080 w 1609516"/>
              <a:gd name="csY507" fmla="*/ 1411730 h 1538630"/>
              <a:gd name="csX508" fmla="*/ 1011075 w 1609516"/>
              <a:gd name="csY508" fmla="*/ 1415277 h 1538630"/>
              <a:gd name="csX509" fmla="*/ 1017055 w 1609516"/>
              <a:gd name="csY509" fmla="*/ 1422530 h 1538630"/>
              <a:gd name="csX510" fmla="*/ 1020277 w 1609516"/>
              <a:gd name="csY510" fmla="*/ 1427991 h 1538630"/>
              <a:gd name="csX511" fmla="*/ 1021796 w 1609516"/>
              <a:gd name="csY511" fmla="*/ 1430798 h 1538630"/>
              <a:gd name="csX512" fmla="*/ 1024579 w 1609516"/>
              <a:gd name="csY512" fmla="*/ 1437239 h 1538630"/>
              <a:gd name="csX513" fmla="*/ 1034043 w 1609516"/>
              <a:gd name="csY513" fmla="*/ 1448072 h 1538630"/>
              <a:gd name="csX514" fmla="*/ 1043782 w 1609516"/>
              <a:gd name="csY514" fmla="*/ 1464320 h 1538630"/>
              <a:gd name="csX515" fmla="*/ 1050458 w 1609516"/>
              <a:gd name="csY515" fmla="*/ 1472189 h 1538630"/>
              <a:gd name="csX516" fmla="*/ 1052926 w 1609516"/>
              <a:gd name="csY516" fmla="*/ 1482370 h 1538630"/>
              <a:gd name="csX517" fmla="*/ 1053316 w 1609516"/>
              <a:gd name="csY517" fmla="*/ 1496903 h 1538630"/>
              <a:gd name="csX518" fmla="*/ 1053352 w 1609516"/>
              <a:gd name="csY518" fmla="*/ 1500660 h 1538630"/>
              <a:gd name="csX519" fmla="*/ 1053341 w 1609516"/>
              <a:gd name="csY519" fmla="*/ 1504285 h 1538630"/>
              <a:gd name="csX520" fmla="*/ 1053329 w 1609516"/>
              <a:gd name="csY520" fmla="*/ 1507529 h 1538630"/>
              <a:gd name="csX521" fmla="*/ 1049801 w 1609516"/>
              <a:gd name="csY521" fmla="*/ 1516192 h 1538630"/>
              <a:gd name="csX522" fmla="*/ 1047312 w 1609516"/>
              <a:gd name="csY522" fmla="*/ 1516192 h 1538630"/>
              <a:gd name="csX523" fmla="*/ 1043611 w 1609516"/>
              <a:gd name="csY523" fmla="*/ 1522585 h 1538630"/>
              <a:gd name="csX524" fmla="*/ 1029552 w 1609516"/>
              <a:gd name="csY524" fmla="*/ 1529631 h 1538630"/>
              <a:gd name="csX525" fmla="*/ 1028771 w 1609516"/>
              <a:gd name="csY525" fmla="*/ 1532273 h 1538630"/>
              <a:gd name="csX526" fmla="*/ 1018013 w 1609516"/>
              <a:gd name="csY526" fmla="*/ 1537640 h 1538630"/>
              <a:gd name="csX527" fmla="*/ 981126 w 1609516"/>
              <a:gd name="csY527" fmla="*/ 1533859 h 1538630"/>
              <a:gd name="csX528" fmla="*/ 977227 w 1609516"/>
              <a:gd name="csY528" fmla="*/ 1531943 h 1538630"/>
              <a:gd name="csX529" fmla="*/ 955376 w 1609516"/>
              <a:gd name="csY529" fmla="*/ 1508751 h 1538630"/>
              <a:gd name="csX530" fmla="*/ 954571 w 1609516"/>
              <a:gd name="csY530" fmla="*/ 1500037 h 1538630"/>
              <a:gd name="csX531" fmla="*/ 951446 w 1609516"/>
              <a:gd name="csY531" fmla="*/ 1500037 h 1538630"/>
              <a:gd name="csX532" fmla="*/ 951251 w 1609516"/>
              <a:gd name="csY532" fmla="*/ 1487883 h 1538630"/>
              <a:gd name="csX533" fmla="*/ 951171 w 1609516"/>
              <a:gd name="csY533" fmla="*/ 1484431 h 1538630"/>
              <a:gd name="csX534" fmla="*/ 954571 w 1609516"/>
              <a:gd name="csY534" fmla="*/ 1466216 h 1538630"/>
              <a:gd name="csX535" fmla="*/ 954961 w 1609516"/>
              <a:gd name="csY535" fmla="*/ 1455118 h 1538630"/>
              <a:gd name="csX536" fmla="*/ 954932 w 1609516"/>
              <a:gd name="csY536" fmla="*/ 1451972 h 1538630"/>
              <a:gd name="csX537" fmla="*/ 945099 w 1609516"/>
              <a:gd name="csY537" fmla="*/ 1403594 h 1538630"/>
              <a:gd name="csX538" fmla="*/ 942366 w 1609516"/>
              <a:gd name="csY538" fmla="*/ 1393553 h 1538630"/>
              <a:gd name="csX539" fmla="*/ 934451 w 1609516"/>
              <a:gd name="csY539" fmla="*/ 1372734 h 1538630"/>
              <a:gd name="csX540" fmla="*/ 931974 w 1609516"/>
              <a:gd name="csY540" fmla="*/ 1365754 h 1538630"/>
              <a:gd name="csX541" fmla="*/ 931138 w 1609516"/>
              <a:gd name="csY541" fmla="*/ 1363343 h 1538630"/>
              <a:gd name="csX542" fmla="*/ 926452 w 1609516"/>
              <a:gd name="csY542" fmla="*/ 1361933 h 1538630"/>
              <a:gd name="csX543" fmla="*/ 918641 w 1609516"/>
              <a:gd name="csY543" fmla="*/ 1340795 h 1538630"/>
              <a:gd name="csX544" fmla="*/ 917079 w 1609516"/>
              <a:gd name="csY544" fmla="*/ 1335158 h 1538630"/>
              <a:gd name="csX545" fmla="*/ 913955 w 1609516"/>
              <a:gd name="csY545" fmla="*/ 1335158 h 1538630"/>
              <a:gd name="csX546" fmla="*/ 912057 w 1609516"/>
              <a:gd name="csY546" fmla="*/ 1330793 h 1538630"/>
              <a:gd name="csX547" fmla="*/ 902142 w 1609516"/>
              <a:gd name="csY547" fmla="*/ 1316222 h 1538630"/>
              <a:gd name="csX548" fmla="*/ 900091 w 1609516"/>
              <a:gd name="csY548" fmla="*/ 1313828 h 1538630"/>
              <a:gd name="csX549" fmla="*/ 878026 w 1609516"/>
              <a:gd name="csY549" fmla="*/ 1295700 h 1538630"/>
              <a:gd name="csX550" fmla="*/ 875134 w 1609516"/>
              <a:gd name="csY550" fmla="*/ 1293465 h 1538630"/>
              <a:gd name="csX551" fmla="*/ 869869 w 1609516"/>
              <a:gd name="csY551" fmla="*/ 1291826 h 1538630"/>
              <a:gd name="csX552" fmla="*/ 862384 w 1609516"/>
              <a:gd name="csY552" fmla="*/ 1291327 h 1538630"/>
              <a:gd name="csX553" fmla="*/ 844390 w 1609516"/>
              <a:gd name="csY553" fmla="*/ 1290461 h 1538630"/>
              <a:gd name="csX554" fmla="*/ 840476 w 1609516"/>
              <a:gd name="csY554" fmla="*/ 1290500 h 1538630"/>
              <a:gd name="csX555" fmla="*/ 831015 w 1609516"/>
              <a:gd name="csY555" fmla="*/ 1290637 h 1538630"/>
              <a:gd name="csX556" fmla="*/ 831015 w 1609516"/>
              <a:gd name="csY556" fmla="*/ 1293456 h 1538630"/>
              <a:gd name="csX557" fmla="*/ 818225 w 1609516"/>
              <a:gd name="csY557" fmla="*/ 1295570 h 1538630"/>
              <a:gd name="csX558" fmla="*/ 796774 w 1609516"/>
              <a:gd name="csY558" fmla="*/ 1297671 h 1538630"/>
              <a:gd name="csX559" fmla="*/ 783646 w 1609516"/>
              <a:gd name="csY559" fmla="*/ 1305736 h 1538630"/>
              <a:gd name="csX560" fmla="*/ 769263 w 1609516"/>
              <a:gd name="csY560" fmla="*/ 1327143 h 1538630"/>
              <a:gd name="csX561" fmla="*/ 764797 w 1609516"/>
              <a:gd name="csY561" fmla="*/ 1334360 h 1538630"/>
              <a:gd name="csX562" fmla="*/ 757875 w 1609516"/>
              <a:gd name="csY562" fmla="*/ 1353503 h 1538630"/>
              <a:gd name="csX563" fmla="*/ 755676 w 1609516"/>
              <a:gd name="csY563" fmla="*/ 1367455 h 1538630"/>
              <a:gd name="csX564" fmla="*/ 750558 w 1609516"/>
              <a:gd name="csY564" fmla="*/ 1399690 h 1538630"/>
              <a:gd name="csX565" fmla="*/ 753057 w 1609516"/>
              <a:gd name="csY565" fmla="*/ 1411256 h 1538630"/>
              <a:gd name="csX566" fmla="*/ 753057 w 1609516"/>
              <a:gd name="csY566" fmla="*/ 1416893 h 1538630"/>
              <a:gd name="csX567" fmla="*/ 756181 w 1609516"/>
              <a:gd name="csY567" fmla="*/ 1416893 h 1538630"/>
              <a:gd name="csX568" fmla="*/ 758133 w 1609516"/>
              <a:gd name="csY568" fmla="*/ 1436182 h 1538630"/>
              <a:gd name="csX569" fmla="*/ 758231 w 1609516"/>
              <a:gd name="csY569" fmla="*/ 1440781 h 1538630"/>
              <a:gd name="csX570" fmla="*/ 750713 w 1609516"/>
              <a:gd name="csY570" fmla="*/ 1465704 h 1538630"/>
              <a:gd name="csX571" fmla="*/ 748370 w 1609516"/>
              <a:gd name="csY571" fmla="*/ 1467185 h 1538630"/>
              <a:gd name="csX572" fmla="*/ 741633 w 1609516"/>
              <a:gd name="csY572" fmla="*/ 1473526 h 1538630"/>
              <a:gd name="csX573" fmla="*/ 728154 w 1609516"/>
              <a:gd name="csY573" fmla="*/ 1478343 h 1538630"/>
              <a:gd name="csX574" fmla="*/ 721814 w 1609516"/>
              <a:gd name="csY574" fmla="*/ 1480308 h 1538630"/>
              <a:gd name="csX575" fmla="*/ 708341 w 1609516"/>
              <a:gd name="csY575" fmla="*/ 1480661 h 1538630"/>
              <a:gd name="csX576" fmla="*/ 704637 w 1609516"/>
              <a:gd name="csY576" fmla="*/ 1480748 h 1538630"/>
              <a:gd name="csX577" fmla="*/ 668507 w 1609516"/>
              <a:gd name="csY577" fmla="*/ 1468418 h 1538630"/>
              <a:gd name="csX578" fmla="*/ 660178 w 1609516"/>
              <a:gd name="csY578" fmla="*/ 1450027 h 1538630"/>
              <a:gd name="csX579" fmla="*/ 657767 w 1609516"/>
              <a:gd name="csY579" fmla="*/ 1445078 h 1538630"/>
              <a:gd name="csX580" fmla="*/ 663369 w 1609516"/>
              <a:gd name="csY580" fmla="*/ 1409390 h 1538630"/>
              <a:gd name="csX581" fmla="*/ 671826 w 1609516"/>
              <a:gd name="csY581" fmla="*/ 1401392 h 1538630"/>
              <a:gd name="csX582" fmla="*/ 678075 w 1609516"/>
              <a:gd name="csY582" fmla="*/ 1390118 h 1538630"/>
              <a:gd name="csX583" fmla="*/ 684323 w 1609516"/>
              <a:gd name="csY583" fmla="*/ 1388709 h 1538630"/>
              <a:gd name="csX584" fmla="*/ 685293 w 1609516"/>
              <a:gd name="csY584" fmla="*/ 1384233 h 1538630"/>
              <a:gd name="csX585" fmla="*/ 686569 w 1609516"/>
              <a:gd name="csY585" fmla="*/ 1378404 h 1538630"/>
              <a:gd name="csX586" fmla="*/ 687207 w 1609516"/>
              <a:gd name="csY586" fmla="*/ 1375456 h 1538630"/>
              <a:gd name="csX587" fmla="*/ 690572 w 1609516"/>
              <a:gd name="csY587" fmla="*/ 1363343 h 1538630"/>
              <a:gd name="csX588" fmla="*/ 692495 w 1609516"/>
              <a:gd name="csY588" fmla="*/ 1323376 h 1538630"/>
              <a:gd name="csX589" fmla="*/ 692625 w 1609516"/>
              <a:gd name="csY589" fmla="*/ 1315006 h 1538630"/>
              <a:gd name="csX590" fmla="*/ 687447 w 1609516"/>
              <a:gd name="csY590" fmla="*/ 1287245 h 1538630"/>
              <a:gd name="csX591" fmla="*/ 682761 w 1609516"/>
              <a:gd name="csY591" fmla="*/ 1285835 h 1538630"/>
              <a:gd name="csX592" fmla="*/ 678954 w 1609516"/>
              <a:gd name="csY592" fmla="*/ 1281608 h 1538630"/>
              <a:gd name="csX593" fmla="*/ 668702 w 1609516"/>
              <a:gd name="csY593" fmla="*/ 1275971 h 1538630"/>
              <a:gd name="csX594" fmla="*/ 662454 w 1609516"/>
              <a:gd name="csY594" fmla="*/ 1270334 h 1538630"/>
              <a:gd name="csX595" fmla="*/ 654643 w 1609516"/>
              <a:gd name="csY595" fmla="*/ 1267516 h 1538630"/>
              <a:gd name="csX596" fmla="*/ 654643 w 1609516"/>
              <a:gd name="csY596" fmla="*/ 1264697 h 1538630"/>
              <a:gd name="csX597" fmla="*/ 650152 w 1609516"/>
              <a:gd name="csY597" fmla="*/ 1264345 h 1538630"/>
              <a:gd name="csX598" fmla="*/ 628087 w 1609516"/>
              <a:gd name="csY598" fmla="*/ 1257651 h 1538630"/>
              <a:gd name="csX599" fmla="*/ 628087 w 1609516"/>
              <a:gd name="csY599" fmla="*/ 1254833 h 1538630"/>
              <a:gd name="csX600" fmla="*/ 625121 w 1609516"/>
              <a:gd name="csY600" fmla="*/ 1254315 h 1538630"/>
              <a:gd name="csX601" fmla="*/ 621252 w 1609516"/>
              <a:gd name="csY601" fmla="*/ 1253600 h 1538630"/>
              <a:gd name="csX602" fmla="*/ 617409 w 1609516"/>
              <a:gd name="csY602" fmla="*/ 1252906 h 1538630"/>
              <a:gd name="csX603" fmla="*/ 610904 w 1609516"/>
              <a:gd name="csY603" fmla="*/ 1249196 h 1538630"/>
              <a:gd name="csX604" fmla="*/ 565739 w 1609516"/>
              <a:gd name="csY604" fmla="*/ 1271742 h 1538630"/>
              <a:gd name="csX605" fmla="*/ 546924 w 1609516"/>
              <a:gd name="csY605" fmla="*/ 1290829 h 1538630"/>
              <a:gd name="csX606" fmla="*/ 543635 w 1609516"/>
              <a:gd name="csY606" fmla="*/ 1294643 h 1538630"/>
              <a:gd name="csX607" fmla="*/ 540651 w 1609516"/>
              <a:gd name="csY607" fmla="*/ 1298188 h 1538630"/>
              <a:gd name="csX608" fmla="*/ 529673 w 1609516"/>
              <a:gd name="csY608" fmla="*/ 1305565 h 1538630"/>
              <a:gd name="csX609" fmla="*/ 526549 w 1609516"/>
              <a:gd name="csY609" fmla="*/ 1311202 h 1538630"/>
              <a:gd name="csX610" fmla="*/ 523425 w 1609516"/>
              <a:gd name="csY610" fmla="*/ 1311202 h 1538630"/>
              <a:gd name="csX611" fmla="*/ 523230 w 1609516"/>
              <a:gd name="csY611" fmla="*/ 1313580 h 1538630"/>
              <a:gd name="csX612" fmla="*/ 517732 w 1609516"/>
              <a:gd name="csY612" fmla="*/ 1319739 h 1538630"/>
              <a:gd name="csX613" fmla="*/ 502239 w 1609516"/>
              <a:gd name="csY613" fmla="*/ 1337096 h 1538630"/>
              <a:gd name="csX614" fmla="*/ 497058 w 1609516"/>
              <a:gd name="csY614" fmla="*/ 1344087 h 1538630"/>
              <a:gd name="csX615" fmla="*/ 494572 w 1609516"/>
              <a:gd name="csY615" fmla="*/ 1347465 h 1538630"/>
              <a:gd name="csX616" fmla="*/ 487776 w 1609516"/>
              <a:gd name="csY616" fmla="*/ 1356181 h 1538630"/>
              <a:gd name="csX617" fmla="*/ 481248 w 1609516"/>
              <a:gd name="csY617" fmla="*/ 1367571 h 1538630"/>
              <a:gd name="csX618" fmla="*/ 478123 w 1609516"/>
              <a:gd name="csY618" fmla="*/ 1367571 h 1538630"/>
              <a:gd name="csX619" fmla="*/ 477635 w 1609516"/>
              <a:gd name="csY619" fmla="*/ 1370565 h 1538630"/>
              <a:gd name="csX620" fmla="*/ 465626 w 1609516"/>
              <a:gd name="csY620" fmla="*/ 1388709 h 1538630"/>
              <a:gd name="csX621" fmla="*/ 461233 w 1609516"/>
              <a:gd name="csY621" fmla="*/ 1397340 h 1538630"/>
              <a:gd name="csX622" fmla="*/ 455765 w 1609516"/>
              <a:gd name="csY622" fmla="*/ 1408086 h 1538630"/>
              <a:gd name="csX623" fmla="*/ 439070 w 1609516"/>
              <a:gd name="csY623" fmla="*/ 1477490 h 1538630"/>
              <a:gd name="csX624" fmla="*/ 434384 w 1609516"/>
              <a:gd name="csY624" fmla="*/ 1478899 h 1538630"/>
              <a:gd name="csX625" fmla="*/ 432431 w 1609516"/>
              <a:gd name="csY625" fmla="*/ 1481982 h 1538630"/>
              <a:gd name="csX626" fmla="*/ 418763 w 1609516"/>
              <a:gd name="csY626" fmla="*/ 1494401 h 1538630"/>
              <a:gd name="csX627" fmla="*/ 415639 w 1609516"/>
              <a:gd name="csY627" fmla="*/ 1494401 h 1538630"/>
              <a:gd name="csX628" fmla="*/ 415639 w 1609516"/>
              <a:gd name="csY628" fmla="*/ 1497219 h 1538630"/>
              <a:gd name="csX629" fmla="*/ 406265 w 1609516"/>
              <a:gd name="csY629" fmla="*/ 1498628 h 1538630"/>
              <a:gd name="csX630" fmla="*/ 406265 w 1609516"/>
              <a:gd name="csY630" fmla="*/ 1501447 h 1538630"/>
              <a:gd name="csX631" fmla="*/ 375023 w 1609516"/>
              <a:gd name="csY631" fmla="*/ 1501447 h 1538630"/>
              <a:gd name="csX632" fmla="*/ 375023 w 1609516"/>
              <a:gd name="csY632" fmla="*/ 1499438 h 1538630"/>
              <a:gd name="csX633" fmla="*/ 374964 w 1609516"/>
              <a:gd name="csY633" fmla="*/ 1499436 h 1538630"/>
              <a:gd name="csX634" fmla="*/ 373179 w 1609516"/>
              <a:gd name="csY634" fmla="*/ 1498628 h 1538630"/>
              <a:gd name="csX635" fmla="*/ 365650 w 1609516"/>
              <a:gd name="csY635" fmla="*/ 1498628 h 1538630"/>
              <a:gd name="csX636" fmla="*/ 363134 w 1609516"/>
              <a:gd name="csY636" fmla="*/ 1494087 h 1538630"/>
              <a:gd name="csX637" fmla="*/ 362171 w 1609516"/>
              <a:gd name="csY637" fmla="*/ 1493651 h 1538630"/>
              <a:gd name="csX638" fmla="*/ 360609 w 1609516"/>
              <a:gd name="csY638" fmla="*/ 1490833 h 1538630"/>
              <a:gd name="csX639" fmla="*/ 363733 w 1609516"/>
              <a:gd name="csY639" fmla="*/ 1490833 h 1538630"/>
              <a:gd name="csX640" fmla="*/ 363733 w 1609516"/>
              <a:gd name="csY640" fmla="*/ 1489980 h 1538630"/>
              <a:gd name="csX641" fmla="*/ 348467 w 1609516"/>
              <a:gd name="csY641" fmla="*/ 1481717 h 1538630"/>
              <a:gd name="csX642" fmla="*/ 343872 w 1609516"/>
              <a:gd name="csY642" fmla="*/ 1461078 h 1538630"/>
              <a:gd name="csX643" fmla="*/ 343656 w 1609516"/>
              <a:gd name="csY643" fmla="*/ 1463649 h 1538630"/>
              <a:gd name="csX644" fmla="*/ 343424 w 1609516"/>
              <a:gd name="csY644" fmla="*/ 1466842 h 1538630"/>
              <a:gd name="csX645" fmla="*/ 341861 w 1609516"/>
              <a:gd name="csY645" fmla="*/ 1466842 h 1538630"/>
              <a:gd name="csX646" fmla="*/ 354143 w 1609516"/>
              <a:gd name="csY646" fmla="*/ 1420549 h 1538630"/>
              <a:gd name="csX647" fmla="*/ 376229 w 1609516"/>
              <a:gd name="csY647" fmla="*/ 1403427 h 1538630"/>
              <a:gd name="csX648" fmla="*/ 379491 w 1609516"/>
              <a:gd name="csY648" fmla="*/ 1404408 h 1538630"/>
              <a:gd name="csX649" fmla="*/ 379710 w 1609516"/>
              <a:gd name="csY649" fmla="*/ 1404210 h 1538630"/>
              <a:gd name="csX650" fmla="*/ 380882 w 1609516"/>
              <a:gd name="csY650" fmla="*/ 1401568 h 1538630"/>
              <a:gd name="csX651" fmla="*/ 392207 w 1609516"/>
              <a:gd name="csY651" fmla="*/ 1392936 h 1538630"/>
              <a:gd name="csX652" fmla="*/ 399542 w 1609516"/>
              <a:gd name="csY652" fmla="*/ 1386774 h 1538630"/>
              <a:gd name="csX653" fmla="*/ 405485 w 1609516"/>
              <a:gd name="csY653" fmla="*/ 1378917 h 1538630"/>
              <a:gd name="csX654" fmla="*/ 412008 w 1609516"/>
              <a:gd name="csY654" fmla="*/ 1369481 h 1538630"/>
              <a:gd name="csX655" fmla="*/ 421130 w 1609516"/>
              <a:gd name="csY655" fmla="*/ 1357057 h 1538630"/>
              <a:gd name="csX656" fmla="*/ 424676 w 1609516"/>
              <a:gd name="csY656" fmla="*/ 1348443 h 1538630"/>
              <a:gd name="csX657" fmla="*/ 427275 w 1609516"/>
              <a:gd name="csY657" fmla="*/ 1348443 h 1538630"/>
              <a:gd name="csX658" fmla="*/ 428135 w 1609516"/>
              <a:gd name="csY658" fmla="*/ 1345727 h 1538630"/>
              <a:gd name="csX659" fmla="*/ 432822 w 1609516"/>
              <a:gd name="csY659" fmla="*/ 1335158 h 1538630"/>
              <a:gd name="csX660" fmla="*/ 435946 w 1609516"/>
              <a:gd name="csY660" fmla="*/ 1335158 h 1538630"/>
              <a:gd name="csX661" fmla="*/ 437704 w 1609516"/>
              <a:gd name="csY661" fmla="*/ 1329786 h 1538630"/>
              <a:gd name="csX662" fmla="*/ 447394 w 1609516"/>
              <a:gd name="csY662" fmla="*/ 1311196 h 1538630"/>
              <a:gd name="csX663" fmla="*/ 469287 w 1609516"/>
              <a:gd name="csY663" fmla="*/ 1265964 h 1538630"/>
              <a:gd name="csX664" fmla="*/ 478178 w 1609516"/>
              <a:gd name="csY664" fmla="*/ 1246787 h 1538630"/>
              <a:gd name="csX665" fmla="*/ 480179 w 1609516"/>
              <a:gd name="csY665" fmla="*/ 1225768 h 1538630"/>
              <a:gd name="csX666" fmla="*/ 480250 w 1609516"/>
              <a:gd name="csY666" fmla="*/ 1217149 h 1538630"/>
              <a:gd name="csX667" fmla="*/ 462972 w 1609516"/>
              <a:gd name="csY667" fmla="*/ 1174827 h 1538630"/>
              <a:gd name="csX668" fmla="*/ 457468 w 1609516"/>
              <a:gd name="csY668" fmla="*/ 1169949 h 1538630"/>
              <a:gd name="csX669" fmla="*/ 440657 w 1609516"/>
              <a:gd name="csY669" fmla="*/ 1152570 h 1538630"/>
              <a:gd name="csX670" fmla="*/ 403142 w 1609516"/>
              <a:gd name="csY670" fmla="*/ 1122366 h 1538630"/>
              <a:gd name="csX671" fmla="*/ 401579 w 1609516"/>
              <a:gd name="csY671" fmla="*/ 1119547 h 1538630"/>
              <a:gd name="csX672" fmla="*/ 364564 w 1609516"/>
              <a:gd name="csY672" fmla="*/ 1118209 h 1538630"/>
              <a:gd name="csX673" fmla="*/ 357822 w 1609516"/>
              <a:gd name="csY673" fmla="*/ 1122041 h 1538630"/>
              <a:gd name="csX674" fmla="*/ 348077 w 1609516"/>
              <a:gd name="csY674" fmla="*/ 1125273 h 1538630"/>
              <a:gd name="csX675" fmla="*/ 334408 w 1609516"/>
              <a:gd name="csY675" fmla="*/ 1132230 h 1538630"/>
              <a:gd name="csX676" fmla="*/ 327964 w 1609516"/>
              <a:gd name="csY676" fmla="*/ 1134080 h 1538630"/>
              <a:gd name="csX677" fmla="*/ 279734 w 1609516"/>
              <a:gd name="csY677" fmla="*/ 1166051 h 1538630"/>
              <a:gd name="csX678" fmla="*/ 276609 w 1609516"/>
              <a:gd name="csY678" fmla="*/ 1173098 h 1538630"/>
              <a:gd name="csX679" fmla="*/ 260988 w 1609516"/>
              <a:gd name="csY679" fmla="*/ 1188599 h 1538630"/>
              <a:gd name="csX680" fmla="*/ 257956 w 1609516"/>
              <a:gd name="csY680" fmla="*/ 1191132 h 1538630"/>
              <a:gd name="csX681" fmla="*/ 243805 w 1609516"/>
              <a:gd name="csY681" fmla="*/ 1196629 h 1538630"/>
              <a:gd name="csX682" fmla="*/ 243805 w 1609516"/>
              <a:gd name="csY682" fmla="*/ 1194236 h 1538630"/>
              <a:gd name="csX683" fmla="*/ 240288 w 1609516"/>
              <a:gd name="csY683" fmla="*/ 1194765 h 1538630"/>
              <a:gd name="csX684" fmla="*/ 243374 w 1609516"/>
              <a:gd name="csY684" fmla="*/ 1194765 h 1538630"/>
              <a:gd name="csX685" fmla="*/ 243374 w 1609516"/>
              <a:gd name="csY685" fmla="*/ 1196797 h 1538630"/>
              <a:gd name="csX686" fmla="*/ 243805 w 1609516"/>
              <a:gd name="csY686" fmla="*/ 1196629 h 1538630"/>
              <a:gd name="csX687" fmla="*/ 243805 w 1609516"/>
              <a:gd name="csY687" fmla="*/ 1197055 h 1538630"/>
              <a:gd name="csX688" fmla="*/ 243374 w 1609516"/>
              <a:gd name="csY688" fmla="*/ 1197055 h 1538630"/>
              <a:gd name="csX689" fmla="*/ 243374 w 1609516"/>
              <a:gd name="csY689" fmla="*/ 1197584 h 1538630"/>
              <a:gd name="csX690" fmla="*/ 241319 w 1609516"/>
              <a:gd name="csY690" fmla="*/ 1197595 h 1538630"/>
              <a:gd name="csX691" fmla="*/ 238009 w 1609516"/>
              <a:gd name="csY691" fmla="*/ 1198881 h 1538630"/>
              <a:gd name="csX692" fmla="*/ 215687 w 1609516"/>
              <a:gd name="csY692" fmla="*/ 1198464 h 1538630"/>
              <a:gd name="csX693" fmla="*/ 215687 w 1609516"/>
              <a:gd name="csY693" fmla="*/ 1197734 h 1538630"/>
              <a:gd name="csX694" fmla="*/ 213936 w 1609516"/>
              <a:gd name="csY694" fmla="*/ 1197744 h 1538630"/>
              <a:gd name="csX695" fmla="*/ 207446 w 1609516"/>
              <a:gd name="csY695" fmla="*/ 1196175 h 1538630"/>
              <a:gd name="csX696" fmla="*/ 207822 w 1609516"/>
              <a:gd name="csY696" fmla="*/ 1195610 h 1538630"/>
              <a:gd name="csX697" fmla="*/ 184737 w 1609516"/>
              <a:gd name="csY697" fmla="*/ 1180936 h 1538630"/>
              <a:gd name="csX698" fmla="*/ 179270 w 1609516"/>
              <a:gd name="csY698" fmla="*/ 1154866 h 1538630"/>
              <a:gd name="csX699" fmla="*/ 179194 w 1609516"/>
              <a:gd name="csY699" fmla="*/ 1151621 h 1538630"/>
              <a:gd name="csX700" fmla="*/ 193195 w 1609516"/>
              <a:gd name="csY700" fmla="*/ 1120065 h 1538630"/>
              <a:gd name="csX701" fmla="*/ 229551 w 1609516"/>
              <a:gd name="csY701" fmla="*/ 1110299 h 1538630"/>
              <a:gd name="csX702" fmla="*/ 260988 w 1609516"/>
              <a:gd name="csY702" fmla="*/ 1108274 h 1538630"/>
              <a:gd name="csX703" fmla="*/ 260988 w 1609516"/>
              <a:gd name="csY703" fmla="*/ 1105455 h 1538630"/>
              <a:gd name="csX704" fmla="*/ 263911 w 1609516"/>
              <a:gd name="csY704" fmla="*/ 1104310 h 1538630"/>
              <a:gd name="csX705" fmla="*/ 286995 w 1609516"/>
              <a:gd name="csY705" fmla="*/ 1090185 h 1538630"/>
              <a:gd name="csX706" fmla="*/ 299358 w 1609516"/>
              <a:gd name="csY706" fmla="*/ 1080970 h 1538630"/>
              <a:gd name="csX707" fmla="*/ 317762 w 1609516"/>
              <a:gd name="csY707" fmla="*/ 1063272 h 1538630"/>
              <a:gd name="csX708" fmla="*/ 325035 w 1609516"/>
              <a:gd name="csY708" fmla="*/ 1057542 h 1538630"/>
              <a:gd name="csX709" fmla="*/ 325328 w 1609516"/>
              <a:gd name="csY709" fmla="*/ 1023104 h 1538630"/>
              <a:gd name="csX710" fmla="*/ 324544 w 1609516"/>
              <a:gd name="csY710" fmla="*/ 1019247 h 1538630"/>
              <a:gd name="csX711" fmla="*/ 317225 w 1609516"/>
              <a:gd name="csY711" fmla="*/ 996945 h 1538630"/>
              <a:gd name="csX712" fmla="*/ 315388 w 1609516"/>
              <a:gd name="csY712" fmla="*/ 992690 h 1538630"/>
              <a:gd name="csX713" fmla="*/ 276232 w 1609516"/>
              <a:gd name="csY713" fmla="*/ 950666 h 1538630"/>
              <a:gd name="csX714" fmla="*/ 271923 w 1609516"/>
              <a:gd name="csY714" fmla="*/ 949031 h 1538630"/>
              <a:gd name="csX715" fmla="*/ 268299 w 1609516"/>
              <a:gd name="csY715" fmla="*/ 947441 h 1538630"/>
              <a:gd name="csX716" fmla="*/ 199187 w 1609516"/>
              <a:gd name="csY716" fmla="*/ 938991 h 1538630"/>
              <a:gd name="csX717" fmla="*/ 193719 w 1609516"/>
              <a:gd name="csY717" fmla="*/ 938971 h 1538630"/>
              <a:gd name="csX718" fmla="*/ 188539 w 1609516"/>
              <a:gd name="csY718" fmla="*/ 938980 h 1538630"/>
              <a:gd name="csX719" fmla="*/ 183874 w 1609516"/>
              <a:gd name="csY719" fmla="*/ 938985 h 1538630"/>
              <a:gd name="csX720" fmla="*/ 173509 w 1609516"/>
              <a:gd name="csY720" fmla="*/ 940576 h 1538630"/>
              <a:gd name="csX721" fmla="*/ 161403 w 1609516"/>
              <a:gd name="csY721" fmla="*/ 940664 h 1538630"/>
              <a:gd name="csX722" fmla="*/ 158102 w 1609516"/>
              <a:gd name="csY722" fmla="*/ 940645 h 1538630"/>
              <a:gd name="csX723" fmla="*/ 150875 w 1609516"/>
              <a:gd name="csY723" fmla="*/ 940583 h 1538630"/>
              <a:gd name="csX724" fmla="*/ 148425 w 1609516"/>
              <a:gd name="csY724" fmla="*/ 940717 h 1538630"/>
              <a:gd name="csX725" fmla="*/ 149617 w 1609516"/>
              <a:gd name="csY725" fmla="*/ 940995 h 1538630"/>
              <a:gd name="csX726" fmla="*/ 149617 w 1609516"/>
              <a:gd name="csY726" fmla="*/ 942404 h 1538630"/>
              <a:gd name="csX727" fmla="*/ 146627 w 1609516"/>
              <a:gd name="csY727" fmla="*/ 942871 h 1538630"/>
              <a:gd name="csX728" fmla="*/ 110564 w 1609516"/>
              <a:gd name="csY728" fmla="*/ 949449 h 1538630"/>
              <a:gd name="csX729" fmla="*/ 111283 w 1609516"/>
              <a:gd name="csY729" fmla="*/ 946205 h 1538630"/>
              <a:gd name="csX730" fmla="*/ 101652 w 1609516"/>
              <a:gd name="csY730" fmla="*/ 956078 h 1538630"/>
              <a:gd name="csX731" fmla="*/ 98052 w 1609516"/>
              <a:gd name="csY731" fmla="*/ 958467 h 1538630"/>
              <a:gd name="csX732" fmla="*/ 67286 w 1609516"/>
              <a:gd name="csY732" fmla="*/ 972989 h 1538630"/>
              <a:gd name="csX733" fmla="*/ 67286 w 1609516"/>
              <a:gd name="csY733" fmla="*/ 975807 h 1538630"/>
              <a:gd name="csX734" fmla="*/ 31942 w 1609516"/>
              <a:gd name="csY734" fmla="*/ 976423 h 1538630"/>
              <a:gd name="csX735" fmla="*/ 5673 w 1609516"/>
              <a:gd name="csY735" fmla="*/ 953419 h 1538630"/>
              <a:gd name="csX736" fmla="*/ 4801 w 1609516"/>
              <a:gd name="csY736" fmla="*/ 944804 h 1538630"/>
              <a:gd name="csX737" fmla="*/ 1676 w 1609516"/>
              <a:gd name="csY737" fmla="*/ 944804 h 1538630"/>
              <a:gd name="csX738" fmla="*/ 17 w 1609516"/>
              <a:gd name="csY738" fmla="*/ 931857 h 1538630"/>
              <a:gd name="csX739" fmla="*/ 59 w 1609516"/>
              <a:gd name="csY739" fmla="*/ 927216 h 1538630"/>
              <a:gd name="csX740" fmla="*/ 115 w 1609516"/>
              <a:gd name="csY740" fmla="*/ 923666 h 1538630"/>
              <a:gd name="csX741" fmla="*/ 3238 w 1609516"/>
              <a:gd name="csY741" fmla="*/ 923666 h 1538630"/>
              <a:gd name="csX742" fmla="*/ 3238 w 1609516"/>
              <a:gd name="csY742" fmla="*/ 918029 h 1538630"/>
              <a:gd name="csX743" fmla="*/ 6363 w 1609516"/>
              <a:gd name="csY743" fmla="*/ 918029 h 1538630"/>
              <a:gd name="csX744" fmla="*/ 6656 w 1609516"/>
              <a:gd name="csY744" fmla="*/ 912832 h 1538630"/>
              <a:gd name="csX745" fmla="*/ 15736 w 1609516"/>
              <a:gd name="csY745" fmla="*/ 899709 h 1538630"/>
              <a:gd name="csX746" fmla="*/ 17243 w 1609516"/>
              <a:gd name="csY746" fmla="*/ 898894 h 1538630"/>
              <a:gd name="csX747" fmla="*/ 16800 w 1609516"/>
              <a:gd name="csY747" fmla="*/ 898694 h 1538630"/>
              <a:gd name="csX748" fmla="*/ 24988 w 1609516"/>
              <a:gd name="csY748" fmla="*/ 894101 h 1538630"/>
              <a:gd name="csX749" fmla="*/ 26768 w 1609516"/>
              <a:gd name="csY749" fmla="*/ 892399 h 1538630"/>
              <a:gd name="csX750" fmla="*/ 30198 w 1609516"/>
              <a:gd name="csY750" fmla="*/ 890164 h 1538630"/>
              <a:gd name="csX751" fmla="*/ 32204 w 1609516"/>
              <a:gd name="csY751" fmla="*/ 890054 h 1538630"/>
              <a:gd name="csX752" fmla="*/ 38914 w 1609516"/>
              <a:gd name="csY752" fmla="*/ 886291 h 1538630"/>
              <a:gd name="csX753" fmla="*/ 63664 w 1609516"/>
              <a:gd name="csY753" fmla="*/ 886011 h 1538630"/>
              <a:gd name="csX754" fmla="*/ 63664 w 1609516"/>
              <a:gd name="csY754" fmla="*/ 886531 h 1538630"/>
              <a:gd name="csX755" fmla="*/ 70784 w 1609516"/>
              <a:gd name="csY755" fmla="*/ 886647 h 1538630"/>
              <a:gd name="csX756" fmla="*/ 82126 w 1609516"/>
              <a:gd name="csY756" fmla="*/ 889845 h 1538630"/>
              <a:gd name="csX757" fmla="*/ 114149 w 1609516"/>
              <a:gd name="csY757" fmla="*/ 892663 h 1538630"/>
              <a:gd name="csX758" fmla="*/ 118836 w 1609516"/>
              <a:gd name="csY758" fmla="*/ 889845 h 1538630"/>
              <a:gd name="csX759" fmla="*/ 131626 w 1609516"/>
              <a:gd name="csY759" fmla="*/ 887114 h 1538630"/>
              <a:gd name="csX760" fmla="*/ 155116 w 1609516"/>
              <a:gd name="csY760" fmla="*/ 880913 h 1538630"/>
              <a:gd name="csX761" fmla="*/ 165406 w 1609516"/>
              <a:gd name="csY761" fmla="*/ 878483 h 1538630"/>
              <a:gd name="csX762" fmla="*/ 176634 w 1609516"/>
              <a:gd name="csY762" fmla="*/ 874343 h 1538630"/>
              <a:gd name="csX763" fmla="*/ 186397 w 1609516"/>
              <a:gd name="csY763" fmla="*/ 871524 h 1538630"/>
              <a:gd name="csX764" fmla="*/ 191871 w 1609516"/>
              <a:gd name="csY764" fmla="*/ 870033 h 1538630"/>
              <a:gd name="csX765" fmla="*/ 203483 w 1609516"/>
              <a:gd name="csY765" fmla="*/ 867208 h 1538630"/>
              <a:gd name="csX766" fmla="*/ 211001 w 1609516"/>
              <a:gd name="csY766" fmla="*/ 861660 h 1538630"/>
              <a:gd name="csX767" fmla="*/ 218031 w 1609516"/>
              <a:gd name="csY767" fmla="*/ 858577 h 1538630"/>
              <a:gd name="csX768" fmla="*/ 254740 w 1609516"/>
              <a:gd name="csY768" fmla="*/ 825020 h 1538630"/>
              <a:gd name="csX769" fmla="*/ 257864 w 1609516"/>
              <a:gd name="csY769" fmla="*/ 820792 h 1538630"/>
              <a:gd name="csX770" fmla="*/ 258318 w 1609516"/>
              <a:gd name="csY770" fmla="*/ 813810 h 1538630"/>
              <a:gd name="csX771" fmla="*/ 258378 w 1609516"/>
              <a:gd name="csY771" fmla="*/ 809502 h 1538630"/>
              <a:gd name="csX772" fmla="*/ 258389 w 1609516"/>
              <a:gd name="csY772" fmla="*/ 804845 h 1538630"/>
              <a:gd name="csX773" fmla="*/ 258420 w 1609516"/>
              <a:gd name="csY773" fmla="*/ 800036 h 1538630"/>
              <a:gd name="csX774" fmla="*/ 258443 w 1609516"/>
              <a:gd name="csY774" fmla="*/ 789939 h 1538630"/>
              <a:gd name="csX775" fmla="*/ 258566 w 1609516"/>
              <a:gd name="csY775" fmla="*/ 774594 h 1538630"/>
              <a:gd name="csX776" fmla="*/ 258584 w 1609516"/>
              <a:gd name="csY776" fmla="*/ 764771 h 1538630"/>
              <a:gd name="csX777" fmla="*/ 258652 w 1609516"/>
              <a:gd name="csY777" fmla="*/ 760174 h 1538630"/>
              <a:gd name="csX778" fmla="*/ 251616 w 1609516"/>
              <a:gd name="csY778" fmla="*/ 733421 h 1538630"/>
              <a:gd name="csX779" fmla="*/ 247613 w 1609516"/>
              <a:gd name="csY779" fmla="*/ 721883 h 1538630"/>
              <a:gd name="csX780" fmla="*/ 241291 w 1609516"/>
              <a:gd name="csY780" fmla="*/ 705644 h 1538630"/>
              <a:gd name="csX781" fmla="*/ 237557 w 1609516"/>
              <a:gd name="csY781" fmla="*/ 689735 h 1538630"/>
              <a:gd name="csX782" fmla="*/ 248492 w 1609516"/>
              <a:gd name="csY782" fmla="*/ 685507 h 1538630"/>
              <a:gd name="csX783" fmla="*/ 248492 w 1609516"/>
              <a:gd name="csY783" fmla="*/ 681279 h 1538630"/>
              <a:gd name="csX784" fmla="*/ 240681 w 1609516"/>
              <a:gd name="csY784" fmla="*/ 679870 h 1538630"/>
              <a:gd name="csX785" fmla="*/ 240681 w 1609516"/>
              <a:gd name="csY785" fmla="*/ 677052 h 1538630"/>
              <a:gd name="csX786" fmla="*/ 238094 w 1609516"/>
              <a:gd name="csY786" fmla="*/ 676645 h 1538630"/>
              <a:gd name="csX787" fmla="*/ 225841 w 1609516"/>
              <a:gd name="csY787" fmla="*/ 670886 h 1538630"/>
              <a:gd name="csX788" fmla="*/ 201531 w 1609516"/>
              <a:gd name="csY788" fmla="*/ 662508 h 1538630"/>
              <a:gd name="csX789" fmla="*/ 188252 w 1609516"/>
              <a:gd name="csY789" fmla="*/ 658644 h 1538630"/>
              <a:gd name="csX790" fmla="*/ 182431 w 1609516"/>
              <a:gd name="csY790" fmla="*/ 657327 h 1538630"/>
              <a:gd name="csX791" fmla="*/ 182431 w 1609516"/>
              <a:gd name="csY791" fmla="*/ 657613 h 1538630"/>
              <a:gd name="csX792" fmla="*/ 146503 w 1609516"/>
              <a:gd name="csY792" fmla="*/ 656204 h 1538630"/>
              <a:gd name="csX793" fmla="*/ 146503 w 1609516"/>
              <a:gd name="csY793" fmla="*/ 659022 h 1538630"/>
              <a:gd name="csX794" fmla="*/ 110378 w 1609516"/>
              <a:gd name="csY794" fmla="*/ 663778 h 1538630"/>
              <a:gd name="csX795" fmla="*/ 106453 w 1609516"/>
              <a:gd name="csY795" fmla="*/ 663836 h 1538630"/>
              <a:gd name="csX796" fmla="*/ 102751 w 1609516"/>
              <a:gd name="csY796" fmla="*/ 663811 h 1538630"/>
              <a:gd name="csX797" fmla="*/ 99449 w 1609516"/>
              <a:gd name="csY797" fmla="*/ 663797 h 1538630"/>
              <a:gd name="csX798" fmla="*/ 91828 w 1609516"/>
              <a:gd name="csY798" fmla="*/ 659022 h 1538630"/>
              <a:gd name="csX799" fmla="*/ 98077 w 1609516"/>
              <a:gd name="csY799" fmla="*/ 659022 h 1538630"/>
              <a:gd name="csX800" fmla="*/ 98077 w 1609516"/>
              <a:gd name="csY800" fmla="*/ 661841 h 1538630"/>
              <a:gd name="csX801" fmla="*/ 119023 w 1609516"/>
              <a:gd name="csY801" fmla="*/ 661357 h 1538630"/>
              <a:gd name="csX802" fmla="*/ 119536 w 1609516"/>
              <a:gd name="csY802" fmla="*/ 661197 h 1538630"/>
              <a:gd name="csX803" fmla="*/ 109853 w 1609516"/>
              <a:gd name="csY803" fmla="*/ 661639 h 1538630"/>
              <a:gd name="csX804" fmla="*/ 106552 w 1609516"/>
              <a:gd name="csY804" fmla="*/ 661619 h 1538630"/>
              <a:gd name="csX805" fmla="*/ 98528 w 1609516"/>
              <a:gd name="csY805" fmla="*/ 661550 h 1538630"/>
              <a:gd name="csX806" fmla="*/ 98528 w 1609516"/>
              <a:gd name="csY806" fmla="*/ 658732 h 1538630"/>
              <a:gd name="csX807" fmla="*/ 89155 w 1609516"/>
              <a:gd name="csY807" fmla="*/ 657323 h 1538630"/>
              <a:gd name="csX808" fmla="*/ 89155 w 1609516"/>
              <a:gd name="csY808" fmla="*/ 654504 h 1538630"/>
              <a:gd name="csX809" fmla="*/ 86397 w 1609516"/>
              <a:gd name="csY809" fmla="*/ 653442 h 1538630"/>
              <a:gd name="csX810" fmla="*/ 77049 w 1609516"/>
              <a:gd name="csY810" fmla="*/ 646137 h 1538630"/>
              <a:gd name="csX811" fmla="*/ 74145 w 1609516"/>
              <a:gd name="csY811" fmla="*/ 643192 h 1538630"/>
              <a:gd name="csX812" fmla="*/ 71972 w 1609516"/>
              <a:gd name="csY812" fmla="*/ 636185 h 1538630"/>
              <a:gd name="csX813" fmla="*/ 68848 w 1609516"/>
              <a:gd name="csY813" fmla="*/ 636185 h 1538630"/>
              <a:gd name="csX814" fmla="*/ 70410 w 1609516"/>
              <a:gd name="csY814" fmla="*/ 595317 h 1538630"/>
              <a:gd name="csX815" fmla="*/ 79782 w 1609516"/>
              <a:gd name="csY815" fmla="*/ 584043 h 1538630"/>
              <a:gd name="csX816" fmla="*/ 82656 w 1609516"/>
              <a:gd name="csY816" fmla="*/ 581115 h 1538630"/>
              <a:gd name="csX817" fmla="*/ 116694 w 1609516"/>
              <a:gd name="csY817" fmla="*/ 572323 h 1538630"/>
              <a:gd name="csX818" fmla="*/ 152031 w 1609516"/>
              <a:gd name="csY818" fmla="*/ 590385 h 1538630"/>
              <a:gd name="csX819" fmla="*/ 191474 w 1609516"/>
              <a:gd name="csY819" fmla="*/ 605886 h 1538630"/>
              <a:gd name="csX820" fmla="*/ 206314 w 1609516"/>
              <a:gd name="csY820" fmla="*/ 608000 h 1538630"/>
              <a:gd name="csX821" fmla="*/ 206314 w 1609516"/>
              <a:gd name="csY821" fmla="*/ 610818 h 1538630"/>
              <a:gd name="csX822" fmla="*/ 234433 w 1609516"/>
              <a:gd name="csY822" fmla="*/ 610818 h 1538630"/>
              <a:gd name="csX823" fmla="*/ 239522 w 1609516"/>
              <a:gd name="csY823" fmla="*/ 610802 h 1538630"/>
              <a:gd name="csX824" fmla="*/ 268799 w 1609516"/>
              <a:gd name="csY824" fmla="*/ 600954 h 1538630"/>
              <a:gd name="csX825" fmla="*/ 271740 w 1609516"/>
              <a:gd name="csY825" fmla="*/ 599325 h 1538630"/>
              <a:gd name="csX826" fmla="*/ 284420 w 1609516"/>
              <a:gd name="csY826" fmla="*/ 579816 h 1538630"/>
              <a:gd name="csX827" fmla="*/ 289399 w 1609516"/>
              <a:gd name="csY827" fmla="*/ 568630 h 1538630"/>
              <a:gd name="csX828" fmla="*/ 293958 w 1609516"/>
              <a:gd name="csY828" fmla="*/ 535838 h 1538630"/>
              <a:gd name="csX829" fmla="*/ 289107 w 1609516"/>
              <a:gd name="csY829" fmla="*/ 529084 h 1538630"/>
              <a:gd name="csX830" fmla="*/ 289107 w 1609516"/>
              <a:gd name="csY830" fmla="*/ 526265 h 1538630"/>
              <a:gd name="csX831" fmla="*/ 284420 w 1609516"/>
              <a:gd name="csY831" fmla="*/ 524856 h 1538630"/>
              <a:gd name="csX832" fmla="*/ 282858 w 1609516"/>
              <a:gd name="csY832" fmla="*/ 520628 h 1538630"/>
              <a:gd name="csX833" fmla="*/ 277977 w 1609516"/>
              <a:gd name="csY833" fmla="*/ 516577 h 1538630"/>
              <a:gd name="csX834" fmla="*/ 264925 w 1609516"/>
              <a:gd name="csY834" fmla="*/ 506443 h 1538630"/>
              <a:gd name="csX835" fmla="*/ 229746 w 1609516"/>
              <a:gd name="csY835" fmla="*/ 481170 h 1538630"/>
              <a:gd name="csX836" fmla="*/ 221057 w 1609516"/>
              <a:gd name="csY836" fmla="*/ 475445 h 1538630"/>
              <a:gd name="csX837" fmla="*/ 212563 w 1609516"/>
              <a:gd name="csY837" fmla="*/ 469896 h 1538630"/>
              <a:gd name="csX838" fmla="*/ 208889 w 1609516"/>
              <a:gd name="csY838" fmla="*/ 467491 h 1538630"/>
              <a:gd name="csX839" fmla="*/ 190406 w 1609516"/>
              <a:gd name="csY839" fmla="*/ 456382 h 1538630"/>
              <a:gd name="csX840" fmla="*/ 186942 w 1609516"/>
              <a:gd name="csY840" fmla="*/ 454460 h 1538630"/>
              <a:gd name="csX841" fmla="*/ 180041 w 1609516"/>
              <a:gd name="csY841" fmla="*/ 450696 h 1538630"/>
              <a:gd name="csX842" fmla="*/ 171948 w 1609516"/>
              <a:gd name="csY842" fmla="*/ 445940 h 1538630"/>
              <a:gd name="csX843" fmla="*/ 171948 w 1609516"/>
              <a:gd name="csY843" fmla="*/ 443121 h 1538630"/>
              <a:gd name="csX844" fmla="*/ 168482 w 1609516"/>
              <a:gd name="csY844" fmla="*/ 442708 h 1538630"/>
              <a:gd name="csX845" fmla="*/ 157107 w 1609516"/>
              <a:gd name="csY845" fmla="*/ 437044 h 1538630"/>
              <a:gd name="csX846" fmla="*/ 132559 w 1609516"/>
              <a:gd name="csY846" fmla="*/ 427510 h 1538630"/>
              <a:gd name="csX847" fmla="*/ 123522 w 1609516"/>
              <a:gd name="csY847" fmla="*/ 421983 h 1538630"/>
              <a:gd name="csX848" fmla="*/ 107986 w 1609516"/>
              <a:gd name="csY848" fmla="*/ 418730 h 1538630"/>
              <a:gd name="csX849" fmla="*/ 102494 w 1609516"/>
              <a:gd name="csY849" fmla="*/ 418622 h 1538630"/>
              <a:gd name="csX850" fmla="*/ 91157 w 1609516"/>
              <a:gd name="csY850" fmla="*/ 418490 h 1538630"/>
              <a:gd name="csX851" fmla="*/ 55277 w 1609516"/>
              <a:gd name="csY851" fmla="*/ 410445 h 1538630"/>
              <a:gd name="csX852" fmla="*/ 51665 w 1609516"/>
              <a:gd name="csY852" fmla="*/ 406481 h 1538630"/>
              <a:gd name="csX853" fmla="*/ 45904 w 1609516"/>
              <a:gd name="csY853" fmla="*/ 400492 h 1538630"/>
              <a:gd name="csX854" fmla="*/ 43152 w 1609516"/>
              <a:gd name="csY854" fmla="*/ 397564 h 1538630"/>
              <a:gd name="csX855" fmla="*/ 37605 w 1609516"/>
              <a:gd name="csY855" fmla="*/ 393798 h 1538630"/>
              <a:gd name="csX856" fmla="*/ 38995 w 1609516"/>
              <a:gd name="csY856" fmla="*/ 368712 h 1538630"/>
              <a:gd name="csX857" fmla="*/ 38666 w 1609516"/>
              <a:gd name="csY857" fmla="*/ 369724 h 1538630"/>
              <a:gd name="csX858" fmla="*/ 35542 w 1609516"/>
              <a:gd name="csY858" fmla="*/ 384081 h 1538630"/>
              <a:gd name="csX859" fmla="*/ 33326 w 1609516"/>
              <a:gd name="csY859" fmla="*/ 357791 h 1538630"/>
              <a:gd name="csX860" fmla="*/ 52725 w 1609516"/>
              <a:gd name="csY860" fmla="*/ 333349 h 1538630"/>
              <a:gd name="csX861" fmla="*/ 55222 w 1609516"/>
              <a:gd name="csY861" fmla="*/ 334475 h 1538630"/>
              <a:gd name="csX862" fmla="*/ 56222 w 1609516"/>
              <a:gd name="csY862" fmla="*/ 333347 h 1538630"/>
              <a:gd name="csX863" fmla="*/ 55871 w 1609516"/>
              <a:gd name="csY863" fmla="*/ 333347 h 1538630"/>
              <a:gd name="csX864" fmla="*/ 56346 w 1609516"/>
              <a:gd name="csY864" fmla="*/ 333207 h 1538630"/>
              <a:gd name="csX865" fmla="*/ 56351 w 1609516"/>
              <a:gd name="csY865" fmla="*/ 333202 h 1538630"/>
              <a:gd name="csX866" fmla="*/ 56365 w 1609516"/>
              <a:gd name="csY866" fmla="*/ 333202 h 1538630"/>
              <a:gd name="csX867" fmla="*/ 79571 w 1609516"/>
              <a:gd name="csY867" fmla="*/ 326360 h 1538630"/>
              <a:gd name="csX868" fmla="*/ 104297 w 1609516"/>
              <a:gd name="csY868" fmla="*/ 330529 h 1538630"/>
              <a:gd name="csX869" fmla="*/ 107170 w 1609516"/>
              <a:gd name="csY869" fmla="*/ 334417 h 1538630"/>
              <a:gd name="csX870" fmla="*/ 109366 w 1609516"/>
              <a:gd name="csY870" fmla="*/ 336046 h 1538630"/>
              <a:gd name="csX871" fmla="*/ 109463 w 1609516"/>
              <a:gd name="csY871" fmla="*/ 336020 h 1538630"/>
              <a:gd name="csX872" fmla="*/ 109463 w 1609516"/>
              <a:gd name="csY872" fmla="*/ 336118 h 1538630"/>
              <a:gd name="csX873" fmla="*/ 115226 w 1609516"/>
              <a:gd name="csY873" fmla="*/ 340394 h 1538630"/>
              <a:gd name="csX874" fmla="*/ 114010 w 1609516"/>
              <a:gd name="csY874" fmla="*/ 340120 h 1538630"/>
              <a:gd name="csX875" fmla="*/ 133285 w 1609516"/>
              <a:gd name="csY875" fmla="*/ 357423 h 1538630"/>
              <a:gd name="csX876" fmla="*/ 173509 w 1609516"/>
              <a:gd name="csY876" fmla="*/ 389571 h 1538630"/>
              <a:gd name="csX877" fmla="*/ 181711 w 1609516"/>
              <a:gd name="csY877" fmla="*/ 393270 h 1538630"/>
              <a:gd name="csX878" fmla="*/ 185507 w 1609516"/>
              <a:gd name="csY878" fmla="*/ 394976 h 1538630"/>
              <a:gd name="csX879" fmla="*/ 192658 w 1609516"/>
              <a:gd name="csY879" fmla="*/ 398257 h 1538630"/>
              <a:gd name="csX880" fmla="*/ 195966 w 1609516"/>
              <a:gd name="csY880" fmla="*/ 399788 h 1538630"/>
              <a:gd name="csX881" fmla="*/ 198833 w 1609516"/>
              <a:gd name="csY881" fmla="*/ 401131 h 1538630"/>
              <a:gd name="csX882" fmla="*/ 207877 w 1609516"/>
              <a:gd name="csY882" fmla="*/ 403663 h 1538630"/>
              <a:gd name="csX883" fmla="*/ 207877 w 1609516"/>
              <a:gd name="csY883" fmla="*/ 406481 h 1538630"/>
              <a:gd name="csX884" fmla="*/ 248492 w 1609516"/>
              <a:gd name="csY884" fmla="*/ 419428 h 1538630"/>
              <a:gd name="csX885" fmla="*/ 253965 w 1609516"/>
              <a:gd name="csY885" fmla="*/ 421000 h 1538630"/>
              <a:gd name="csX886" fmla="*/ 267237 w 1609516"/>
              <a:gd name="csY886" fmla="*/ 424801 h 1538630"/>
              <a:gd name="csX887" fmla="*/ 267237 w 1609516"/>
              <a:gd name="csY887" fmla="*/ 426451 h 1538630"/>
              <a:gd name="csX888" fmla="*/ 288701 w 1609516"/>
              <a:gd name="csY888" fmla="*/ 429217 h 1538630"/>
              <a:gd name="csX889" fmla="*/ 288701 w 1609516"/>
              <a:gd name="csY889" fmla="*/ 432036 h 1538630"/>
              <a:gd name="csX890" fmla="*/ 327010 w 1609516"/>
              <a:gd name="csY890" fmla="*/ 433628 h 1538630"/>
              <a:gd name="csX891" fmla="*/ 337486 w 1609516"/>
              <a:gd name="csY891" fmla="*/ 433637 h 1538630"/>
              <a:gd name="csX892" fmla="*/ 344229 w 1609516"/>
              <a:gd name="csY892" fmla="*/ 433632 h 1538630"/>
              <a:gd name="csX893" fmla="*/ 350323 w 1609516"/>
              <a:gd name="csY893" fmla="*/ 433627 h 1538630"/>
              <a:gd name="csX894" fmla="*/ 365245 w 1609516"/>
              <a:gd name="csY894" fmla="*/ 432036 h 1538630"/>
              <a:gd name="csX895" fmla="*/ 360797 w 1609516"/>
              <a:gd name="csY895" fmla="*/ 433759 h 1538630"/>
              <a:gd name="csX896" fmla="*/ 365650 w 1609516"/>
              <a:gd name="csY896" fmla="*/ 433257 h 1538630"/>
              <a:gd name="csX897" fmla="*/ 367213 w 1609516"/>
              <a:gd name="csY897" fmla="*/ 429029 h 1538630"/>
              <a:gd name="csX898" fmla="*/ 375188 w 1609516"/>
              <a:gd name="csY898" fmla="*/ 424906 h 1538630"/>
              <a:gd name="csX899" fmla="*/ 404704 w 1609516"/>
              <a:gd name="csY899" fmla="*/ 389571 h 1538630"/>
              <a:gd name="csX900" fmla="*/ 406265 w 1609516"/>
              <a:gd name="csY900" fmla="*/ 388161 h 1538630"/>
              <a:gd name="csX901" fmla="*/ 406559 w 1609516"/>
              <a:gd name="csY901" fmla="*/ 370106 h 1538630"/>
              <a:gd name="csX902" fmla="*/ 406617 w 1609516"/>
              <a:gd name="csY902" fmla="*/ 364973 h 1538630"/>
              <a:gd name="csX903" fmla="*/ 406626 w 1609516"/>
              <a:gd name="csY903" fmla="*/ 360038 h 1538630"/>
              <a:gd name="csX904" fmla="*/ 406645 w 1609516"/>
              <a:gd name="csY904" fmla="*/ 355503 h 1538630"/>
              <a:gd name="csX905" fmla="*/ 403142 w 1609516"/>
              <a:gd name="csY905" fmla="*/ 345885 h 1538630"/>
              <a:gd name="csX906" fmla="*/ 401579 w 1609516"/>
              <a:gd name="csY906" fmla="*/ 338663 h 1538630"/>
              <a:gd name="csX907" fmla="*/ 390938 w 1609516"/>
              <a:gd name="csY907" fmla="*/ 315939 h 1538630"/>
              <a:gd name="csX908" fmla="*/ 388976 w 1609516"/>
              <a:gd name="csY908" fmla="*/ 312762 h 1538630"/>
              <a:gd name="csX909" fmla="*/ 377934 w 1609516"/>
              <a:gd name="csY909" fmla="*/ 297817 h 1538630"/>
              <a:gd name="csX910" fmla="*/ 368775 w 1609516"/>
              <a:gd name="csY910" fmla="*/ 282470 h 1538630"/>
              <a:gd name="csX911" fmla="*/ 359890 w 1609516"/>
              <a:gd name="csY911" fmla="*/ 271284 h 1538630"/>
              <a:gd name="csX912" fmla="*/ 357374 w 1609516"/>
              <a:gd name="csY912" fmla="*/ 268288 h 1538630"/>
              <a:gd name="csX913" fmla="*/ 337533 w 1609516"/>
              <a:gd name="csY913" fmla="*/ 248649 h 1538630"/>
              <a:gd name="csX914" fmla="*/ 335214 w 1609516"/>
              <a:gd name="csY914" fmla="*/ 246369 h 1538630"/>
              <a:gd name="csX915" fmla="*/ 327085 w 1609516"/>
              <a:gd name="csY915" fmla="*/ 242571 h 1538630"/>
              <a:gd name="csX916" fmla="*/ 288785 w 1609516"/>
              <a:gd name="csY916" fmla="*/ 207968 h 1538630"/>
              <a:gd name="csX917" fmla="*/ 286373 w 1609516"/>
              <a:gd name="csY917" fmla="*/ 192544 h 1538630"/>
              <a:gd name="csX918" fmla="*/ 286385 w 1609516"/>
              <a:gd name="csY918" fmla="*/ 189190 h 1538630"/>
              <a:gd name="csX919" fmla="*/ 300042 w 1609516"/>
              <a:gd name="csY919" fmla="*/ 164095 h 1538630"/>
              <a:gd name="csX920" fmla="*/ 302757 w 1609516"/>
              <a:gd name="csY920" fmla="*/ 161381 h 1538630"/>
              <a:gd name="csX921" fmla="*/ 338411 w 1609516"/>
              <a:gd name="csY921" fmla="*/ 152293 h 1538630"/>
              <a:gd name="csX922" fmla="*/ 368482 w 1609516"/>
              <a:gd name="csY922" fmla="*/ 161893 h 1538630"/>
              <a:gd name="csX923" fmla="*/ 371899 w 1609516"/>
              <a:gd name="csY923" fmla="*/ 165505 h 1538630"/>
              <a:gd name="csX924" fmla="*/ 375121 w 1609516"/>
              <a:gd name="csY924" fmla="*/ 168587 h 1538630"/>
              <a:gd name="csX925" fmla="*/ 384982 w 1609516"/>
              <a:gd name="csY925" fmla="*/ 193777 h 1538630"/>
              <a:gd name="csX926" fmla="*/ 390352 w 1609516"/>
              <a:gd name="csY926" fmla="*/ 214563 h 1538630"/>
              <a:gd name="csX927" fmla="*/ 391529 w 1609516"/>
              <a:gd name="csY927" fmla="*/ 217626 h 1538630"/>
              <a:gd name="csX928" fmla="*/ 401579 w 1609516"/>
              <a:gd name="csY928" fmla="*/ 234556 h 1538630"/>
              <a:gd name="csX929" fmla="*/ 401579 w 1609516"/>
              <a:gd name="csY929" fmla="*/ 238784 h 1538630"/>
              <a:gd name="csX930" fmla="*/ 404215 w 1609516"/>
              <a:gd name="csY930" fmla="*/ 239753 h 1538630"/>
              <a:gd name="csX931" fmla="*/ 417811 w 1609516"/>
              <a:gd name="csY931" fmla="*/ 251996 h 1538630"/>
              <a:gd name="csX932" fmla="*/ 426866 w 1609516"/>
              <a:gd name="csY932" fmla="*/ 262300 h 1538630"/>
              <a:gd name="csX933" fmla="*/ 450097 w 1609516"/>
              <a:gd name="csY933" fmla="*/ 287628 h 1538630"/>
              <a:gd name="csX934" fmla="*/ 457425 w 1609516"/>
              <a:gd name="csY934" fmla="*/ 293920 h 1538630"/>
              <a:gd name="csX935" fmla="*/ 460940 w 1609516"/>
              <a:gd name="csY935" fmla="*/ 296562 h 1538630"/>
              <a:gd name="csX936" fmla="*/ 460940 w 1609516"/>
              <a:gd name="csY936" fmla="*/ 300790 h 1538630"/>
              <a:gd name="csX937" fmla="*/ 473437 w 1609516"/>
              <a:gd name="csY937" fmla="*/ 305018 h 1538630"/>
              <a:gd name="csX938" fmla="*/ 473437 w 1609516"/>
              <a:gd name="csY938" fmla="*/ 307836 h 1538630"/>
              <a:gd name="csX939" fmla="*/ 479881 w 1609516"/>
              <a:gd name="csY939" fmla="*/ 309862 h 1538630"/>
              <a:gd name="csX940" fmla="*/ 483505 w 1609516"/>
              <a:gd name="csY940" fmla="*/ 311001 h 1538630"/>
              <a:gd name="csX941" fmla="*/ 548419 w 1609516"/>
              <a:gd name="csY941" fmla="*/ 306427 h 1538630"/>
              <a:gd name="csX942" fmla="*/ 551842 w 1609516"/>
              <a:gd name="csY942" fmla="*/ 305127 h 1538630"/>
              <a:gd name="csX943" fmla="*/ 560232 w 1609516"/>
              <a:gd name="csY943" fmla="*/ 298148 h 1538630"/>
              <a:gd name="csX944" fmla="*/ 562972 w 1609516"/>
              <a:gd name="csY944" fmla="*/ 295252 h 1538630"/>
              <a:gd name="csX945" fmla="*/ 568086 w 1609516"/>
              <a:gd name="csY945" fmla="*/ 289152 h 1538630"/>
              <a:gd name="csX946" fmla="*/ 570289 w 1609516"/>
              <a:gd name="csY946" fmla="*/ 286697 h 1538630"/>
              <a:gd name="csX947" fmla="*/ 573413 w 1609516"/>
              <a:gd name="csY947" fmla="*/ 286697 h 1538630"/>
              <a:gd name="csX948" fmla="*/ 577220 w 1609516"/>
              <a:gd name="csY948" fmla="*/ 257016 h 1538630"/>
              <a:gd name="csX949" fmla="*/ 577235 w 1609516"/>
              <a:gd name="csY949" fmla="*/ 254206 h 1538630"/>
              <a:gd name="csX950" fmla="*/ 569443 w 1609516"/>
              <a:gd name="csY950" fmla="*/ 206049 h 1538630"/>
              <a:gd name="csX951" fmla="*/ 568726 w 1609516"/>
              <a:gd name="csY951" fmla="*/ 200735 h 1538630"/>
              <a:gd name="csX952" fmla="*/ 565602 w 1609516"/>
              <a:gd name="csY952" fmla="*/ 200735 h 1538630"/>
              <a:gd name="csX953" fmla="*/ 559549 w 1609516"/>
              <a:gd name="csY953" fmla="*/ 184441 h 1538630"/>
              <a:gd name="csX954" fmla="*/ 537484 w 1609516"/>
              <a:gd name="csY954" fmla="*/ 159867 h 1538630"/>
              <a:gd name="csX955" fmla="*/ 531235 w 1609516"/>
              <a:gd name="csY955" fmla="*/ 154230 h 1538630"/>
              <a:gd name="csX956" fmla="*/ 531235 w 1609516"/>
              <a:gd name="csY956" fmla="*/ 151412 h 1538630"/>
              <a:gd name="csX957" fmla="*/ 526549 w 1609516"/>
              <a:gd name="csY957" fmla="*/ 150003 h 1538630"/>
              <a:gd name="csX958" fmla="*/ 524304 w 1609516"/>
              <a:gd name="csY958" fmla="*/ 107198 h 1538630"/>
              <a:gd name="csX959" fmla="*/ 547052 w 1609516"/>
              <a:gd name="csY959" fmla="*/ 85972 h 1538630"/>
              <a:gd name="csX960" fmla="*/ 588460 w 1609516"/>
              <a:gd name="csY960" fmla="*/ 83538 h 1538630"/>
              <a:gd name="csX961" fmla="*/ 617152 w 1609516"/>
              <a:gd name="csY961" fmla="*/ 111954 h 1538630"/>
              <a:gd name="csX962" fmla="*/ 617884 w 1609516"/>
              <a:gd name="csY962" fmla="*/ 124175 h 1538630"/>
              <a:gd name="csX963" fmla="*/ 617917 w 1609516"/>
              <a:gd name="csY963" fmla="*/ 127607 h 1538630"/>
              <a:gd name="csX964" fmla="*/ 617919 w 1609516"/>
              <a:gd name="csY964" fmla="*/ 141969 h 1538630"/>
              <a:gd name="csX965" fmla="*/ 630625 w 1609516"/>
              <a:gd name="csY965" fmla="*/ 191311 h 1538630"/>
              <a:gd name="csX966" fmla="*/ 637850 w 1609516"/>
              <a:gd name="csY966" fmla="*/ 205139 h 1538630"/>
              <a:gd name="csX967" fmla="*/ 643708 w 1609516"/>
              <a:gd name="csY967" fmla="*/ 212009 h 1538630"/>
              <a:gd name="csX968" fmla="*/ 647027 w 1609516"/>
              <a:gd name="csY968" fmla="*/ 217645 h 1538630"/>
              <a:gd name="csX969" fmla="*/ 670264 w 1609516"/>
              <a:gd name="csY969" fmla="*/ 241603 h 1538630"/>
              <a:gd name="csX970" fmla="*/ 670264 w 1609516"/>
              <a:gd name="csY970" fmla="*/ 244421 h 1538630"/>
              <a:gd name="csX971" fmla="*/ 675634 w 1609516"/>
              <a:gd name="csY971" fmla="*/ 245742 h 1538630"/>
              <a:gd name="csX972" fmla="*/ 682761 w 1609516"/>
              <a:gd name="csY972" fmla="*/ 248649 h 1538630"/>
              <a:gd name="csX973" fmla="*/ 752092 w 1609516"/>
              <a:gd name="csY973" fmla="*/ 245076 h 1538630"/>
              <a:gd name="csX974" fmla="*/ 758433 w 1609516"/>
              <a:gd name="csY974" fmla="*/ 240485 h 1538630"/>
              <a:gd name="csX975" fmla="*/ 763991 w 1609516"/>
              <a:gd name="csY975" fmla="*/ 238784 h 1538630"/>
              <a:gd name="csX976" fmla="*/ 765315 w 1609516"/>
              <a:gd name="csY976" fmla="*/ 235778 h 1538630"/>
              <a:gd name="csX977" fmla="*/ 770923 w 1609516"/>
              <a:gd name="csY977" fmla="*/ 223459 h 1538630"/>
              <a:gd name="csX978" fmla="*/ 772998 w 1609516"/>
              <a:gd name="csY978" fmla="*/ 218934 h 1538630"/>
              <a:gd name="csX979" fmla="*/ 777562 w 1609516"/>
              <a:gd name="csY979" fmla="*/ 209895 h 1538630"/>
              <a:gd name="csX980" fmla="*/ 781175 w 1609516"/>
              <a:gd name="csY980" fmla="*/ 124637 h 1538630"/>
              <a:gd name="csX981" fmla="*/ 778051 w 1609516"/>
              <a:gd name="csY981" fmla="*/ 124637 h 1538630"/>
              <a:gd name="csX982" fmla="*/ 767116 w 1609516"/>
              <a:gd name="csY982" fmla="*/ 79542 h 1538630"/>
              <a:gd name="csX983" fmla="*/ 793379 w 1609516"/>
              <a:gd name="csY983" fmla="*/ 54000 h 1538630"/>
              <a:gd name="csX984" fmla="*/ 840688 w 1609516"/>
              <a:gd name="csY984" fmla="*/ 55503 h 1538630"/>
              <a:gd name="csX985" fmla="*/ 851470 w 1609516"/>
              <a:gd name="csY985" fmla="*/ 64040 h 1538630"/>
              <a:gd name="csX986" fmla="*/ 853997 w 1609516"/>
              <a:gd name="csY986" fmla="*/ 66529 h 1538630"/>
              <a:gd name="csX987" fmla="*/ 861488 w 1609516"/>
              <a:gd name="csY987" fmla="*/ 82057 h 1538630"/>
              <a:gd name="csX988" fmla="*/ 861937 w 1609516"/>
              <a:gd name="csY988" fmla="*/ 90492 h 1538630"/>
              <a:gd name="csX989" fmla="*/ 863826 w 1609516"/>
              <a:gd name="csY989" fmla="*/ 100715 h 1538630"/>
              <a:gd name="csX990" fmla="*/ 857577 w 1609516"/>
              <a:gd name="csY990" fmla="*/ 121853 h 1538630"/>
              <a:gd name="csX991" fmla="*/ 856015 w 1609516"/>
              <a:gd name="csY991" fmla="*/ 121853 h 1538630"/>
              <a:gd name="csX992" fmla="*/ 855442 w 1609516"/>
              <a:gd name="csY992" fmla="*/ 118919 h 1538630"/>
              <a:gd name="csX993" fmla="*/ 855417 w 1609516"/>
              <a:gd name="csY993" fmla="*/ 118798 h 1538630"/>
              <a:gd name="csX994" fmla="*/ 856157 w 1609516"/>
              <a:gd name="csY994" fmla="*/ 124637 h 1538630"/>
              <a:gd name="csX995" fmla="*/ 850623 w 1609516"/>
              <a:gd name="csY995" fmla="*/ 134701 h 1538630"/>
              <a:gd name="csX996" fmla="*/ 851325 w 1609516"/>
              <a:gd name="csY996" fmla="*/ 135968 h 1538630"/>
              <a:gd name="csX997" fmla="*/ 849886 w 1609516"/>
              <a:gd name="csY997" fmla="*/ 139843 h 1538630"/>
              <a:gd name="csX998" fmla="*/ 847786 w 1609516"/>
              <a:gd name="csY998" fmla="*/ 152889 h 1538630"/>
              <a:gd name="csX999" fmla="*/ 847767 w 1609516"/>
              <a:gd name="csY999" fmla="*/ 157768 h 1538630"/>
              <a:gd name="csX1000" fmla="*/ 847810 w 1609516"/>
              <a:gd name="csY1000" fmla="*/ 162919 h 1538630"/>
              <a:gd name="csX1001" fmla="*/ 847832 w 1609516"/>
              <a:gd name="csY1001" fmla="*/ 168227 h 1538630"/>
              <a:gd name="csX1002" fmla="*/ 850903 w 1609516"/>
              <a:gd name="csY1002" fmla="*/ 209013 h 1538630"/>
              <a:gd name="csX1003" fmla="*/ 852880 w 1609516"/>
              <a:gd name="csY1003" fmla="*/ 224692 h 1538630"/>
              <a:gd name="csX1004" fmla="*/ 854595 w 1609516"/>
              <a:gd name="csY1004" fmla="*/ 224692 h 1538630"/>
              <a:gd name="csX1005" fmla="*/ 856083 w 1609516"/>
              <a:gd name="csY1005" fmla="*/ 227268 h 1538630"/>
              <a:gd name="csX1006" fmla="*/ 879588 w 1609516"/>
              <a:gd name="csY1006" fmla="*/ 247239 h 1538630"/>
              <a:gd name="csX1007" fmla="*/ 885739 w 1609516"/>
              <a:gd name="csY1007" fmla="*/ 249618 h 1538630"/>
              <a:gd name="csX1008" fmla="*/ 890523 w 1609516"/>
              <a:gd name="csY1008" fmla="*/ 251467 h 1538630"/>
              <a:gd name="csX1009" fmla="*/ 890523 w 1609516"/>
              <a:gd name="csY1009" fmla="*/ 254285 h 1538630"/>
              <a:gd name="csX1010" fmla="*/ 920203 w 1609516"/>
              <a:gd name="csY1010" fmla="*/ 261332 h 1538630"/>
              <a:gd name="csX1011" fmla="*/ 920203 w 1609516"/>
              <a:gd name="csY1011" fmla="*/ 262741 h 1538630"/>
              <a:gd name="csX1012" fmla="*/ 910831 w 1609516"/>
              <a:gd name="csY1012" fmla="*/ 262741 h 1538630"/>
              <a:gd name="csX1013" fmla="*/ 910831 w 1609516"/>
              <a:gd name="csY1013" fmla="*/ 262864 h 1538630"/>
              <a:gd name="csX1014" fmla="*/ 927993 w 1609516"/>
              <a:gd name="csY1014" fmla="*/ 264177 h 1538630"/>
              <a:gd name="csX1015" fmla="*/ 939273 w 1609516"/>
              <a:gd name="csY1015" fmla="*/ 265285 h 1538630"/>
              <a:gd name="csX1016" fmla="*/ 940456 w 1609516"/>
              <a:gd name="csY1016" fmla="*/ 265191 h 1538630"/>
              <a:gd name="csX1017" fmla="*/ 991622 w 1609516"/>
              <a:gd name="csY1017" fmla="*/ 242329 h 1538630"/>
              <a:gd name="csX1018" fmla="*/ 1000803 w 1609516"/>
              <a:gd name="csY1018" fmla="*/ 236505 h 1538630"/>
              <a:gd name="csX1019" fmla="*/ 999806 w 1609516"/>
              <a:gd name="csY1019" fmla="*/ 236055 h 1538630"/>
              <a:gd name="csX1020" fmla="*/ 1003126 w 1609516"/>
              <a:gd name="csY1020" fmla="*/ 232851 h 1538630"/>
              <a:gd name="csX1021" fmla="*/ 1029487 w 1609516"/>
              <a:gd name="csY1021" fmla="*/ 205052 h 1538630"/>
              <a:gd name="csX1022" fmla="*/ 1029872 w 1609516"/>
              <a:gd name="csY1022" fmla="*/ 206442 h 1538630"/>
              <a:gd name="csX1023" fmla="*/ 1031614 w 1609516"/>
              <a:gd name="csY1023" fmla="*/ 203719 h 1538630"/>
              <a:gd name="csX1024" fmla="*/ 1038924 w 1609516"/>
              <a:gd name="csY1024" fmla="*/ 192280 h 1538630"/>
              <a:gd name="csX1025" fmla="*/ 1042049 w 1609516"/>
              <a:gd name="csY1025" fmla="*/ 190870 h 1538630"/>
              <a:gd name="csX1026" fmla="*/ 1044294 w 1609516"/>
              <a:gd name="csY1026" fmla="*/ 186026 h 1538630"/>
              <a:gd name="csX1027" fmla="*/ 1051422 w 1609516"/>
              <a:gd name="csY1027" fmla="*/ 178188 h 1538630"/>
              <a:gd name="csX1028" fmla="*/ 1052984 w 1609516"/>
              <a:gd name="csY1028" fmla="*/ 172551 h 1538630"/>
              <a:gd name="csX1029" fmla="*/ 1056108 w 1609516"/>
              <a:gd name="csY1029" fmla="*/ 172551 h 1538630"/>
              <a:gd name="csX1030" fmla="*/ 1059232 w 1609516"/>
              <a:gd name="csY1030" fmla="*/ 162686 h 1538630"/>
              <a:gd name="csX1031" fmla="*/ 1062357 w 1609516"/>
              <a:gd name="csY1031" fmla="*/ 162686 h 1538630"/>
              <a:gd name="csX1032" fmla="*/ 1063162 w 1609516"/>
              <a:gd name="csY1032" fmla="*/ 160258 h 1538630"/>
              <a:gd name="csX1033" fmla="*/ 1073292 w 1609516"/>
              <a:gd name="csY1033" fmla="*/ 140138 h 1538630"/>
              <a:gd name="csX1034" fmla="*/ 1076415 w 1609516"/>
              <a:gd name="csY1034" fmla="*/ 140138 h 1538630"/>
              <a:gd name="csX1035" fmla="*/ 1085294 w 1609516"/>
              <a:gd name="csY1035" fmla="*/ 117569 h 1538630"/>
              <a:gd name="csX1036" fmla="*/ 1087350 w 1609516"/>
              <a:gd name="csY1036" fmla="*/ 113363 h 1538630"/>
              <a:gd name="csX1037" fmla="*/ 1092037 w 1609516"/>
              <a:gd name="csY1037" fmla="*/ 111954 h 1538630"/>
              <a:gd name="csX1038" fmla="*/ 1092623 w 1609516"/>
              <a:gd name="csY1038" fmla="*/ 108695 h 1538630"/>
              <a:gd name="csX1039" fmla="*/ 1096723 w 1609516"/>
              <a:gd name="csY1039" fmla="*/ 100680 h 1538630"/>
              <a:gd name="csX1040" fmla="*/ 1098188 w 1609516"/>
              <a:gd name="csY1040" fmla="*/ 96013 h 1538630"/>
              <a:gd name="csX1041" fmla="*/ 1102288 w 1609516"/>
              <a:gd name="csY1041" fmla="*/ 87029 h 1538630"/>
              <a:gd name="csX1042" fmla="*/ 1104534 w 1609516"/>
              <a:gd name="csY1042" fmla="*/ 61222 h 1538630"/>
              <a:gd name="csX1043" fmla="*/ 1104381 w 1609516"/>
              <a:gd name="csY1043" fmla="*/ 55569 h 1538630"/>
              <a:gd name="csX1044" fmla="*/ 1104397 w 1609516"/>
              <a:gd name="csY1044" fmla="*/ 52335 h 1538630"/>
              <a:gd name="csX1045" fmla="*/ 1104436 w 1609516"/>
              <a:gd name="csY1045" fmla="*/ 48979 h 1538630"/>
              <a:gd name="csX1046" fmla="*/ 1104457 w 1609516"/>
              <a:gd name="csY1046" fmla="*/ 45575 h 1538630"/>
              <a:gd name="csX1047" fmla="*/ 1104534 w 1609516"/>
              <a:gd name="csY1047" fmla="*/ 37265 h 1538630"/>
              <a:gd name="csX1048" fmla="*/ 1107658 w 1609516"/>
              <a:gd name="csY1048" fmla="*/ 37265 h 1538630"/>
              <a:gd name="csX1049" fmla="*/ 1107463 w 1609516"/>
              <a:gd name="csY1049" fmla="*/ 31805 h 1538630"/>
              <a:gd name="csX1050" fmla="*/ 1107658 w 1609516"/>
              <a:gd name="csY1050" fmla="*/ 25991 h 1538630"/>
              <a:gd name="csX1051" fmla="*/ 1110782 w 1609516"/>
              <a:gd name="csY1051" fmla="*/ 23173 h 1538630"/>
              <a:gd name="csX1052" fmla="*/ 1111759 w 1609516"/>
              <a:gd name="csY1052" fmla="*/ 20091 h 1538630"/>
              <a:gd name="csX1053" fmla="*/ 1134507 w 1609516"/>
              <a:gd name="csY1053" fmla="*/ 2828 h 1538630"/>
              <a:gd name="csX1054" fmla="*/ 1155019 w 1609516"/>
              <a:gd name="csY1054" fmla="*/ 35 h 153863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  <a:cxn ang="0">
                <a:pos x="csX170" y="csY170"/>
              </a:cxn>
              <a:cxn ang="0">
                <a:pos x="csX171" y="csY171"/>
              </a:cxn>
              <a:cxn ang="0">
                <a:pos x="csX172" y="csY172"/>
              </a:cxn>
              <a:cxn ang="0">
                <a:pos x="csX173" y="csY173"/>
              </a:cxn>
              <a:cxn ang="0">
                <a:pos x="csX174" y="csY174"/>
              </a:cxn>
              <a:cxn ang="0">
                <a:pos x="csX175" y="csY175"/>
              </a:cxn>
              <a:cxn ang="0">
                <a:pos x="csX176" y="csY176"/>
              </a:cxn>
              <a:cxn ang="0">
                <a:pos x="csX177" y="csY177"/>
              </a:cxn>
              <a:cxn ang="0">
                <a:pos x="csX178" y="csY178"/>
              </a:cxn>
              <a:cxn ang="0">
                <a:pos x="csX179" y="csY179"/>
              </a:cxn>
              <a:cxn ang="0">
                <a:pos x="csX180" y="csY180"/>
              </a:cxn>
              <a:cxn ang="0">
                <a:pos x="csX181" y="csY181"/>
              </a:cxn>
              <a:cxn ang="0">
                <a:pos x="csX182" y="csY182"/>
              </a:cxn>
              <a:cxn ang="0">
                <a:pos x="csX183" y="csY183"/>
              </a:cxn>
              <a:cxn ang="0">
                <a:pos x="csX184" y="csY184"/>
              </a:cxn>
              <a:cxn ang="0">
                <a:pos x="csX185" y="csY185"/>
              </a:cxn>
              <a:cxn ang="0">
                <a:pos x="csX186" y="csY186"/>
              </a:cxn>
              <a:cxn ang="0">
                <a:pos x="csX187" y="csY187"/>
              </a:cxn>
              <a:cxn ang="0">
                <a:pos x="csX188" y="csY188"/>
              </a:cxn>
              <a:cxn ang="0">
                <a:pos x="csX189" y="csY189"/>
              </a:cxn>
              <a:cxn ang="0">
                <a:pos x="csX190" y="csY190"/>
              </a:cxn>
              <a:cxn ang="0">
                <a:pos x="csX191" y="csY191"/>
              </a:cxn>
              <a:cxn ang="0">
                <a:pos x="csX192" y="csY192"/>
              </a:cxn>
              <a:cxn ang="0">
                <a:pos x="csX193" y="csY193"/>
              </a:cxn>
              <a:cxn ang="0">
                <a:pos x="csX194" y="csY194"/>
              </a:cxn>
              <a:cxn ang="0">
                <a:pos x="csX195" y="csY195"/>
              </a:cxn>
              <a:cxn ang="0">
                <a:pos x="csX196" y="csY196"/>
              </a:cxn>
              <a:cxn ang="0">
                <a:pos x="csX197" y="csY197"/>
              </a:cxn>
              <a:cxn ang="0">
                <a:pos x="csX198" y="csY198"/>
              </a:cxn>
              <a:cxn ang="0">
                <a:pos x="csX199" y="csY199"/>
              </a:cxn>
              <a:cxn ang="0">
                <a:pos x="csX200" y="csY200"/>
              </a:cxn>
              <a:cxn ang="0">
                <a:pos x="csX201" y="csY201"/>
              </a:cxn>
              <a:cxn ang="0">
                <a:pos x="csX202" y="csY202"/>
              </a:cxn>
              <a:cxn ang="0">
                <a:pos x="csX203" y="csY203"/>
              </a:cxn>
              <a:cxn ang="0">
                <a:pos x="csX204" y="csY204"/>
              </a:cxn>
              <a:cxn ang="0">
                <a:pos x="csX205" y="csY205"/>
              </a:cxn>
              <a:cxn ang="0">
                <a:pos x="csX206" y="csY206"/>
              </a:cxn>
              <a:cxn ang="0">
                <a:pos x="csX207" y="csY207"/>
              </a:cxn>
              <a:cxn ang="0">
                <a:pos x="csX208" y="csY208"/>
              </a:cxn>
              <a:cxn ang="0">
                <a:pos x="csX209" y="csY209"/>
              </a:cxn>
              <a:cxn ang="0">
                <a:pos x="csX210" y="csY210"/>
              </a:cxn>
              <a:cxn ang="0">
                <a:pos x="csX211" y="csY211"/>
              </a:cxn>
              <a:cxn ang="0">
                <a:pos x="csX212" y="csY212"/>
              </a:cxn>
              <a:cxn ang="0">
                <a:pos x="csX213" y="csY213"/>
              </a:cxn>
              <a:cxn ang="0">
                <a:pos x="csX214" y="csY214"/>
              </a:cxn>
              <a:cxn ang="0">
                <a:pos x="csX215" y="csY215"/>
              </a:cxn>
              <a:cxn ang="0">
                <a:pos x="csX216" y="csY216"/>
              </a:cxn>
              <a:cxn ang="0">
                <a:pos x="csX217" y="csY217"/>
              </a:cxn>
              <a:cxn ang="0">
                <a:pos x="csX218" y="csY218"/>
              </a:cxn>
              <a:cxn ang="0">
                <a:pos x="csX219" y="csY219"/>
              </a:cxn>
              <a:cxn ang="0">
                <a:pos x="csX220" y="csY220"/>
              </a:cxn>
              <a:cxn ang="0">
                <a:pos x="csX221" y="csY221"/>
              </a:cxn>
              <a:cxn ang="0">
                <a:pos x="csX222" y="csY222"/>
              </a:cxn>
              <a:cxn ang="0">
                <a:pos x="csX223" y="csY223"/>
              </a:cxn>
              <a:cxn ang="0">
                <a:pos x="csX224" y="csY224"/>
              </a:cxn>
              <a:cxn ang="0">
                <a:pos x="csX225" y="csY225"/>
              </a:cxn>
              <a:cxn ang="0">
                <a:pos x="csX226" y="csY226"/>
              </a:cxn>
              <a:cxn ang="0">
                <a:pos x="csX227" y="csY227"/>
              </a:cxn>
              <a:cxn ang="0">
                <a:pos x="csX228" y="csY228"/>
              </a:cxn>
              <a:cxn ang="0">
                <a:pos x="csX229" y="csY229"/>
              </a:cxn>
              <a:cxn ang="0">
                <a:pos x="csX230" y="csY230"/>
              </a:cxn>
              <a:cxn ang="0">
                <a:pos x="csX231" y="csY231"/>
              </a:cxn>
              <a:cxn ang="0">
                <a:pos x="csX232" y="csY232"/>
              </a:cxn>
              <a:cxn ang="0">
                <a:pos x="csX233" y="csY233"/>
              </a:cxn>
              <a:cxn ang="0">
                <a:pos x="csX234" y="csY234"/>
              </a:cxn>
              <a:cxn ang="0">
                <a:pos x="csX235" y="csY235"/>
              </a:cxn>
              <a:cxn ang="0">
                <a:pos x="csX236" y="csY236"/>
              </a:cxn>
              <a:cxn ang="0">
                <a:pos x="csX237" y="csY237"/>
              </a:cxn>
              <a:cxn ang="0">
                <a:pos x="csX238" y="csY238"/>
              </a:cxn>
              <a:cxn ang="0">
                <a:pos x="csX239" y="csY239"/>
              </a:cxn>
              <a:cxn ang="0">
                <a:pos x="csX240" y="csY240"/>
              </a:cxn>
              <a:cxn ang="0">
                <a:pos x="csX241" y="csY241"/>
              </a:cxn>
              <a:cxn ang="0">
                <a:pos x="csX242" y="csY242"/>
              </a:cxn>
              <a:cxn ang="0">
                <a:pos x="csX243" y="csY243"/>
              </a:cxn>
              <a:cxn ang="0">
                <a:pos x="csX244" y="csY244"/>
              </a:cxn>
              <a:cxn ang="0">
                <a:pos x="csX245" y="csY245"/>
              </a:cxn>
              <a:cxn ang="0">
                <a:pos x="csX246" y="csY246"/>
              </a:cxn>
              <a:cxn ang="0">
                <a:pos x="csX247" y="csY247"/>
              </a:cxn>
              <a:cxn ang="0">
                <a:pos x="csX248" y="csY248"/>
              </a:cxn>
              <a:cxn ang="0">
                <a:pos x="csX249" y="csY249"/>
              </a:cxn>
              <a:cxn ang="0">
                <a:pos x="csX250" y="csY250"/>
              </a:cxn>
              <a:cxn ang="0">
                <a:pos x="csX251" y="csY251"/>
              </a:cxn>
              <a:cxn ang="0">
                <a:pos x="csX252" y="csY252"/>
              </a:cxn>
              <a:cxn ang="0">
                <a:pos x="csX253" y="csY253"/>
              </a:cxn>
              <a:cxn ang="0">
                <a:pos x="csX254" y="csY254"/>
              </a:cxn>
              <a:cxn ang="0">
                <a:pos x="csX255" y="csY255"/>
              </a:cxn>
              <a:cxn ang="0">
                <a:pos x="csX256" y="csY256"/>
              </a:cxn>
              <a:cxn ang="0">
                <a:pos x="csX257" y="csY257"/>
              </a:cxn>
              <a:cxn ang="0">
                <a:pos x="csX258" y="csY258"/>
              </a:cxn>
              <a:cxn ang="0">
                <a:pos x="csX259" y="csY259"/>
              </a:cxn>
              <a:cxn ang="0">
                <a:pos x="csX260" y="csY260"/>
              </a:cxn>
              <a:cxn ang="0">
                <a:pos x="csX261" y="csY261"/>
              </a:cxn>
              <a:cxn ang="0">
                <a:pos x="csX262" y="csY262"/>
              </a:cxn>
              <a:cxn ang="0">
                <a:pos x="csX263" y="csY263"/>
              </a:cxn>
              <a:cxn ang="0">
                <a:pos x="csX264" y="csY264"/>
              </a:cxn>
              <a:cxn ang="0">
                <a:pos x="csX265" y="csY265"/>
              </a:cxn>
              <a:cxn ang="0">
                <a:pos x="csX266" y="csY266"/>
              </a:cxn>
              <a:cxn ang="0">
                <a:pos x="csX267" y="csY267"/>
              </a:cxn>
              <a:cxn ang="0">
                <a:pos x="csX268" y="csY268"/>
              </a:cxn>
              <a:cxn ang="0">
                <a:pos x="csX269" y="csY269"/>
              </a:cxn>
              <a:cxn ang="0">
                <a:pos x="csX270" y="csY270"/>
              </a:cxn>
              <a:cxn ang="0">
                <a:pos x="csX271" y="csY271"/>
              </a:cxn>
              <a:cxn ang="0">
                <a:pos x="csX272" y="csY272"/>
              </a:cxn>
              <a:cxn ang="0">
                <a:pos x="csX273" y="csY273"/>
              </a:cxn>
              <a:cxn ang="0">
                <a:pos x="csX274" y="csY274"/>
              </a:cxn>
              <a:cxn ang="0">
                <a:pos x="csX275" y="csY275"/>
              </a:cxn>
              <a:cxn ang="0">
                <a:pos x="csX276" y="csY276"/>
              </a:cxn>
              <a:cxn ang="0">
                <a:pos x="csX277" y="csY277"/>
              </a:cxn>
              <a:cxn ang="0">
                <a:pos x="csX278" y="csY278"/>
              </a:cxn>
              <a:cxn ang="0">
                <a:pos x="csX279" y="csY279"/>
              </a:cxn>
              <a:cxn ang="0">
                <a:pos x="csX280" y="csY280"/>
              </a:cxn>
              <a:cxn ang="0">
                <a:pos x="csX281" y="csY281"/>
              </a:cxn>
              <a:cxn ang="0">
                <a:pos x="csX282" y="csY282"/>
              </a:cxn>
              <a:cxn ang="0">
                <a:pos x="csX283" y="csY283"/>
              </a:cxn>
              <a:cxn ang="0">
                <a:pos x="csX284" y="csY284"/>
              </a:cxn>
              <a:cxn ang="0">
                <a:pos x="csX285" y="csY285"/>
              </a:cxn>
              <a:cxn ang="0">
                <a:pos x="csX286" y="csY286"/>
              </a:cxn>
              <a:cxn ang="0">
                <a:pos x="csX287" y="csY287"/>
              </a:cxn>
              <a:cxn ang="0">
                <a:pos x="csX288" y="csY288"/>
              </a:cxn>
              <a:cxn ang="0">
                <a:pos x="csX289" y="csY289"/>
              </a:cxn>
              <a:cxn ang="0">
                <a:pos x="csX290" y="csY290"/>
              </a:cxn>
              <a:cxn ang="0">
                <a:pos x="csX291" y="csY291"/>
              </a:cxn>
              <a:cxn ang="0">
                <a:pos x="csX292" y="csY292"/>
              </a:cxn>
              <a:cxn ang="0">
                <a:pos x="csX293" y="csY293"/>
              </a:cxn>
              <a:cxn ang="0">
                <a:pos x="csX294" y="csY294"/>
              </a:cxn>
              <a:cxn ang="0">
                <a:pos x="csX295" y="csY295"/>
              </a:cxn>
              <a:cxn ang="0">
                <a:pos x="csX296" y="csY296"/>
              </a:cxn>
              <a:cxn ang="0">
                <a:pos x="csX297" y="csY297"/>
              </a:cxn>
              <a:cxn ang="0">
                <a:pos x="csX298" y="csY298"/>
              </a:cxn>
              <a:cxn ang="0">
                <a:pos x="csX299" y="csY299"/>
              </a:cxn>
              <a:cxn ang="0">
                <a:pos x="csX300" y="csY300"/>
              </a:cxn>
              <a:cxn ang="0">
                <a:pos x="csX301" y="csY301"/>
              </a:cxn>
              <a:cxn ang="0">
                <a:pos x="csX302" y="csY302"/>
              </a:cxn>
              <a:cxn ang="0">
                <a:pos x="csX303" y="csY303"/>
              </a:cxn>
              <a:cxn ang="0">
                <a:pos x="csX304" y="csY304"/>
              </a:cxn>
              <a:cxn ang="0">
                <a:pos x="csX305" y="csY305"/>
              </a:cxn>
              <a:cxn ang="0">
                <a:pos x="csX306" y="csY306"/>
              </a:cxn>
              <a:cxn ang="0">
                <a:pos x="csX307" y="csY307"/>
              </a:cxn>
              <a:cxn ang="0">
                <a:pos x="csX308" y="csY308"/>
              </a:cxn>
              <a:cxn ang="0">
                <a:pos x="csX309" y="csY309"/>
              </a:cxn>
              <a:cxn ang="0">
                <a:pos x="csX310" y="csY310"/>
              </a:cxn>
              <a:cxn ang="0">
                <a:pos x="csX311" y="csY311"/>
              </a:cxn>
              <a:cxn ang="0">
                <a:pos x="csX312" y="csY312"/>
              </a:cxn>
              <a:cxn ang="0">
                <a:pos x="csX313" y="csY313"/>
              </a:cxn>
              <a:cxn ang="0">
                <a:pos x="csX314" y="csY314"/>
              </a:cxn>
              <a:cxn ang="0">
                <a:pos x="csX315" y="csY315"/>
              </a:cxn>
              <a:cxn ang="0">
                <a:pos x="csX316" y="csY316"/>
              </a:cxn>
              <a:cxn ang="0">
                <a:pos x="csX317" y="csY317"/>
              </a:cxn>
              <a:cxn ang="0">
                <a:pos x="csX318" y="csY318"/>
              </a:cxn>
              <a:cxn ang="0">
                <a:pos x="csX319" y="csY319"/>
              </a:cxn>
              <a:cxn ang="0">
                <a:pos x="csX320" y="csY320"/>
              </a:cxn>
              <a:cxn ang="0">
                <a:pos x="csX321" y="csY321"/>
              </a:cxn>
              <a:cxn ang="0">
                <a:pos x="csX322" y="csY322"/>
              </a:cxn>
              <a:cxn ang="0">
                <a:pos x="csX323" y="csY323"/>
              </a:cxn>
              <a:cxn ang="0">
                <a:pos x="csX324" y="csY324"/>
              </a:cxn>
              <a:cxn ang="0">
                <a:pos x="csX325" y="csY325"/>
              </a:cxn>
              <a:cxn ang="0">
                <a:pos x="csX326" y="csY326"/>
              </a:cxn>
              <a:cxn ang="0">
                <a:pos x="csX327" y="csY327"/>
              </a:cxn>
              <a:cxn ang="0">
                <a:pos x="csX328" y="csY328"/>
              </a:cxn>
              <a:cxn ang="0">
                <a:pos x="csX329" y="csY329"/>
              </a:cxn>
              <a:cxn ang="0">
                <a:pos x="csX330" y="csY330"/>
              </a:cxn>
              <a:cxn ang="0">
                <a:pos x="csX331" y="csY331"/>
              </a:cxn>
              <a:cxn ang="0">
                <a:pos x="csX332" y="csY332"/>
              </a:cxn>
              <a:cxn ang="0">
                <a:pos x="csX333" y="csY333"/>
              </a:cxn>
              <a:cxn ang="0">
                <a:pos x="csX334" y="csY334"/>
              </a:cxn>
              <a:cxn ang="0">
                <a:pos x="csX335" y="csY335"/>
              </a:cxn>
              <a:cxn ang="0">
                <a:pos x="csX336" y="csY336"/>
              </a:cxn>
              <a:cxn ang="0">
                <a:pos x="csX337" y="csY337"/>
              </a:cxn>
              <a:cxn ang="0">
                <a:pos x="csX338" y="csY338"/>
              </a:cxn>
              <a:cxn ang="0">
                <a:pos x="csX339" y="csY339"/>
              </a:cxn>
              <a:cxn ang="0">
                <a:pos x="csX340" y="csY340"/>
              </a:cxn>
              <a:cxn ang="0">
                <a:pos x="csX341" y="csY341"/>
              </a:cxn>
              <a:cxn ang="0">
                <a:pos x="csX342" y="csY342"/>
              </a:cxn>
              <a:cxn ang="0">
                <a:pos x="csX343" y="csY343"/>
              </a:cxn>
              <a:cxn ang="0">
                <a:pos x="csX344" y="csY344"/>
              </a:cxn>
              <a:cxn ang="0">
                <a:pos x="csX345" y="csY345"/>
              </a:cxn>
              <a:cxn ang="0">
                <a:pos x="csX346" y="csY346"/>
              </a:cxn>
              <a:cxn ang="0">
                <a:pos x="csX347" y="csY347"/>
              </a:cxn>
              <a:cxn ang="0">
                <a:pos x="csX348" y="csY348"/>
              </a:cxn>
              <a:cxn ang="0">
                <a:pos x="csX349" y="csY349"/>
              </a:cxn>
              <a:cxn ang="0">
                <a:pos x="csX350" y="csY350"/>
              </a:cxn>
              <a:cxn ang="0">
                <a:pos x="csX351" y="csY351"/>
              </a:cxn>
              <a:cxn ang="0">
                <a:pos x="csX352" y="csY352"/>
              </a:cxn>
              <a:cxn ang="0">
                <a:pos x="csX353" y="csY353"/>
              </a:cxn>
              <a:cxn ang="0">
                <a:pos x="csX354" y="csY354"/>
              </a:cxn>
              <a:cxn ang="0">
                <a:pos x="csX355" y="csY355"/>
              </a:cxn>
              <a:cxn ang="0">
                <a:pos x="csX356" y="csY356"/>
              </a:cxn>
              <a:cxn ang="0">
                <a:pos x="csX357" y="csY357"/>
              </a:cxn>
              <a:cxn ang="0">
                <a:pos x="csX358" y="csY358"/>
              </a:cxn>
              <a:cxn ang="0">
                <a:pos x="csX359" y="csY359"/>
              </a:cxn>
              <a:cxn ang="0">
                <a:pos x="csX360" y="csY360"/>
              </a:cxn>
              <a:cxn ang="0">
                <a:pos x="csX361" y="csY361"/>
              </a:cxn>
              <a:cxn ang="0">
                <a:pos x="csX362" y="csY362"/>
              </a:cxn>
              <a:cxn ang="0">
                <a:pos x="csX363" y="csY363"/>
              </a:cxn>
              <a:cxn ang="0">
                <a:pos x="csX364" y="csY364"/>
              </a:cxn>
              <a:cxn ang="0">
                <a:pos x="csX365" y="csY365"/>
              </a:cxn>
              <a:cxn ang="0">
                <a:pos x="csX366" y="csY366"/>
              </a:cxn>
              <a:cxn ang="0">
                <a:pos x="csX367" y="csY367"/>
              </a:cxn>
              <a:cxn ang="0">
                <a:pos x="csX368" y="csY368"/>
              </a:cxn>
              <a:cxn ang="0">
                <a:pos x="csX369" y="csY369"/>
              </a:cxn>
              <a:cxn ang="0">
                <a:pos x="csX370" y="csY370"/>
              </a:cxn>
              <a:cxn ang="0">
                <a:pos x="csX371" y="csY371"/>
              </a:cxn>
              <a:cxn ang="0">
                <a:pos x="csX372" y="csY372"/>
              </a:cxn>
              <a:cxn ang="0">
                <a:pos x="csX373" y="csY373"/>
              </a:cxn>
              <a:cxn ang="0">
                <a:pos x="csX374" y="csY374"/>
              </a:cxn>
              <a:cxn ang="0">
                <a:pos x="csX375" y="csY375"/>
              </a:cxn>
              <a:cxn ang="0">
                <a:pos x="csX376" y="csY376"/>
              </a:cxn>
              <a:cxn ang="0">
                <a:pos x="csX377" y="csY377"/>
              </a:cxn>
              <a:cxn ang="0">
                <a:pos x="csX378" y="csY378"/>
              </a:cxn>
              <a:cxn ang="0">
                <a:pos x="csX379" y="csY379"/>
              </a:cxn>
              <a:cxn ang="0">
                <a:pos x="csX380" y="csY380"/>
              </a:cxn>
              <a:cxn ang="0">
                <a:pos x="csX381" y="csY381"/>
              </a:cxn>
              <a:cxn ang="0">
                <a:pos x="csX382" y="csY382"/>
              </a:cxn>
              <a:cxn ang="0">
                <a:pos x="csX383" y="csY383"/>
              </a:cxn>
              <a:cxn ang="0">
                <a:pos x="csX384" y="csY384"/>
              </a:cxn>
              <a:cxn ang="0">
                <a:pos x="csX385" y="csY385"/>
              </a:cxn>
              <a:cxn ang="0">
                <a:pos x="csX386" y="csY386"/>
              </a:cxn>
              <a:cxn ang="0">
                <a:pos x="csX387" y="csY387"/>
              </a:cxn>
              <a:cxn ang="0">
                <a:pos x="csX388" y="csY388"/>
              </a:cxn>
              <a:cxn ang="0">
                <a:pos x="csX389" y="csY389"/>
              </a:cxn>
              <a:cxn ang="0">
                <a:pos x="csX390" y="csY390"/>
              </a:cxn>
              <a:cxn ang="0">
                <a:pos x="csX391" y="csY391"/>
              </a:cxn>
              <a:cxn ang="0">
                <a:pos x="csX392" y="csY392"/>
              </a:cxn>
              <a:cxn ang="0">
                <a:pos x="csX393" y="csY393"/>
              </a:cxn>
              <a:cxn ang="0">
                <a:pos x="csX394" y="csY394"/>
              </a:cxn>
              <a:cxn ang="0">
                <a:pos x="csX395" y="csY395"/>
              </a:cxn>
              <a:cxn ang="0">
                <a:pos x="csX396" y="csY396"/>
              </a:cxn>
              <a:cxn ang="0">
                <a:pos x="csX397" y="csY397"/>
              </a:cxn>
              <a:cxn ang="0">
                <a:pos x="csX398" y="csY398"/>
              </a:cxn>
              <a:cxn ang="0">
                <a:pos x="csX399" y="csY399"/>
              </a:cxn>
              <a:cxn ang="0">
                <a:pos x="csX400" y="csY400"/>
              </a:cxn>
              <a:cxn ang="0">
                <a:pos x="csX401" y="csY401"/>
              </a:cxn>
              <a:cxn ang="0">
                <a:pos x="csX402" y="csY402"/>
              </a:cxn>
              <a:cxn ang="0">
                <a:pos x="csX403" y="csY403"/>
              </a:cxn>
              <a:cxn ang="0">
                <a:pos x="csX404" y="csY404"/>
              </a:cxn>
              <a:cxn ang="0">
                <a:pos x="csX405" y="csY405"/>
              </a:cxn>
              <a:cxn ang="0">
                <a:pos x="csX406" y="csY406"/>
              </a:cxn>
              <a:cxn ang="0">
                <a:pos x="csX407" y="csY407"/>
              </a:cxn>
              <a:cxn ang="0">
                <a:pos x="csX408" y="csY408"/>
              </a:cxn>
              <a:cxn ang="0">
                <a:pos x="csX409" y="csY409"/>
              </a:cxn>
              <a:cxn ang="0">
                <a:pos x="csX410" y="csY410"/>
              </a:cxn>
              <a:cxn ang="0">
                <a:pos x="csX411" y="csY411"/>
              </a:cxn>
              <a:cxn ang="0">
                <a:pos x="csX412" y="csY412"/>
              </a:cxn>
              <a:cxn ang="0">
                <a:pos x="csX413" y="csY413"/>
              </a:cxn>
              <a:cxn ang="0">
                <a:pos x="csX414" y="csY414"/>
              </a:cxn>
              <a:cxn ang="0">
                <a:pos x="csX415" y="csY415"/>
              </a:cxn>
              <a:cxn ang="0">
                <a:pos x="csX416" y="csY416"/>
              </a:cxn>
              <a:cxn ang="0">
                <a:pos x="csX417" y="csY417"/>
              </a:cxn>
              <a:cxn ang="0">
                <a:pos x="csX418" y="csY418"/>
              </a:cxn>
              <a:cxn ang="0">
                <a:pos x="csX419" y="csY419"/>
              </a:cxn>
              <a:cxn ang="0">
                <a:pos x="csX420" y="csY420"/>
              </a:cxn>
              <a:cxn ang="0">
                <a:pos x="csX421" y="csY421"/>
              </a:cxn>
              <a:cxn ang="0">
                <a:pos x="csX422" y="csY422"/>
              </a:cxn>
              <a:cxn ang="0">
                <a:pos x="csX423" y="csY423"/>
              </a:cxn>
              <a:cxn ang="0">
                <a:pos x="csX424" y="csY424"/>
              </a:cxn>
              <a:cxn ang="0">
                <a:pos x="csX425" y="csY425"/>
              </a:cxn>
              <a:cxn ang="0">
                <a:pos x="csX426" y="csY426"/>
              </a:cxn>
              <a:cxn ang="0">
                <a:pos x="csX427" y="csY427"/>
              </a:cxn>
              <a:cxn ang="0">
                <a:pos x="csX428" y="csY428"/>
              </a:cxn>
              <a:cxn ang="0">
                <a:pos x="csX429" y="csY429"/>
              </a:cxn>
              <a:cxn ang="0">
                <a:pos x="csX430" y="csY430"/>
              </a:cxn>
              <a:cxn ang="0">
                <a:pos x="csX431" y="csY431"/>
              </a:cxn>
              <a:cxn ang="0">
                <a:pos x="csX432" y="csY432"/>
              </a:cxn>
              <a:cxn ang="0">
                <a:pos x="csX433" y="csY433"/>
              </a:cxn>
              <a:cxn ang="0">
                <a:pos x="csX434" y="csY434"/>
              </a:cxn>
              <a:cxn ang="0">
                <a:pos x="csX435" y="csY435"/>
              </a:cxn>
              <a:cxn ang="0">
                <a:pos x="csX436" y="csY436"/>
              </a:cxn>
              <a:cxn ang="0">
                <a:pos x="csX437" y="csY437"/>
              </a:cxn>
              <a:cxn ang="0">
                <a:pos x="csX438" y="csY438"/>
              </a:cxn>
              <a:cxn ang="0">
                <a:pos x="csX439" y="csY439"/>
              </a:cxn>
              <a:cxn ang="0">
                <a:pos x="csX440" y="csY440"/>
              </a:cxn>
              <a:cxn ang="0">
                <a:pos x="csX441" y="csY441"/>
              </a:cxn>
              <a:cxn ang="0">
                <a:pos x="csX442" y="csY442"/>
              </a:cxn>
              <a:cxn ang="0">
                <a:pos x="csX443" y="csY443"/>
              </a:cxn>
              <a:cxn ang="0">
                <a:pos x="csX444" y="csY444"/>
              </a:cxn>
              <a:cxn ang="0">
                <a:pos x="csX445" y="csY445"/>
              </a:cxn>
              <a:cxn ang="0">
                <a:pos x="csX446" y="csY446"/>
              </a:cxn>
              <a:cxn ang="0">
                <a:pos x="csX447" y="csY447"/>
              </a:cxn>
              <a:cxn ang="0">
                <a:pos x="csX448" y="csY448"/>
              </a:cxn>
              <a:cxn ang="0">
                <a:pos x="csX449" y="csY449"/>
              </a:cxn>
              <a:cxn ang="0">
                <a:pos x="csX450" y="csY450"/>
              </a:cxn>
              <a:cxn ang="0">
                <a:pos x="csX451" y="csY451"/>
              </a:cxn>
              <a:cxn ang="0">
                <a:pos x="csX452" y="csY452"/>
              </a:cxn>
              <a:cxn ang="0">
                <a:pos x="csX453" y="csY453"/>
              </a:cxn>
              <a:cxn ang="0">
                <a:pos x="csX454" y="csY454"/>
              </a:cxn>
              <a:cxn ang="0">
                <a:pos x="csX455" y="csY455"/>
              </a:cxn>
              <a:cxn ang="0">
                <a:pos x="csX456" y="csY456"/>
              </a:cxn>
              <a:cxn ang="0">
                <a:pos x="csX457" y="csY457"/>
              </a:cxn>
              <a:cxn ang="0">
                <a:pos x="csX458" y="csY458"/>
              </a:cxn>
              <a:cxn ang="0">
                <a:pos x="csX459" y="csY459"/>
              </a:cxn>
              <a:cxn ang="0">
                <a:pos x="csX460" y="csY460"/>
              </a:cxn>
              <a:cxn ang="0">
                <a:pos x="csX461" y="csY461"/>
              </a:cxn>
              <a:cxn ang="0">
                <a:pos x="csX462" y="csY462"/>
              </a:cxn>
              <a:cxn ang="0">
                <a:pos x="csX463" y="csY463"/>
              </a:cxn>
              <a:cxn ang="0">
                <a:pos x="csX464" y="csY464"/>
              </a:cxn>
              <a:cxn ang="0">
                <a:pos x="csX465" y="csY465"/>
              </a:cxn>
              <a:cxn ang="0">
                <a:pos x="csX466" y="csY466"/>
              </a:cxn>
              <a:cxn ang="0">
                <a:pos x="csX467" y="csY467"/>
              </a:cxn>
              <a:cxn ang="0">
                <a:pos x="csX468" y="csY468"/>
              </a:cxn>
              <a:cxn ang="0">
                <a:pos x="csX469" y="csY469"/>
              </a:cxn>
              <a:cxn ang="0">
                <a:pos x="csX470" y="csY470"/>
              </a:cxn>
              <a:cxn ang="0">
                <a:pos x="csX471" y="csY471"/>
              </a:cxn>
              <a:cxn ang="0">
                <a:pos x="csX472" y="csY472"/>
              </a:cxn>
              <a:cxn ang="0">
                <a:pos x="csX473" y="csY473"/>
              </a:cxn>
              <a:cxn ang="0">
                <a:pos x="csX474" y="csY474"/>
              </a:cxn>
              <a:cxn ang="0">
                <a:pos x="csX475" y="csY475"/>
              </a:cxn>
              <a:cxn ang="0">
                <a:pos x="csX476" y="csY476"/>
              </a:cxn>
              <a:cxn ang="0">
                <a:pos x="csX477" y="csY477"/>
              </a:cxn>
              <a:cxn ang="0">
                <a:pos x="csX478" y="csY478"/>
              </a:cxn>
              <a:cxn ang="0">
                <a:pos x="csX479" y="csY479"/>
              </a:cxn>
              <a:cxn ang="0">
                <a:pos x="csX480" y="csY480"/>
              </a:cxn>
              <a:cxn ang="0">
                <a:pos x="csX481" y="csY481"/>
              </a:cxn>
              <a:cxn ang="0">
                <a:pos x="csX482" y="csY482"/>
              </a:cxn>
              <a:cxn ang="0">
                <a:pos x="csX483" y="csY483"/>
              </a:cxn>
              <a:cxn ang="0">
                <a:pos x="csX484" y="csY484"/>
              </a:cxn>
              <a:cxn ang="0">
                <a:pos x="csX485" y="csY485"/>
              </a:cxn>
              <a:cxn ang="0">
                <a:pos x="csX486" y="csY486"/>
              </a:cxn>
              <a:cxn ang="0">
                <a:pos x="csX487" y="csY487"/>
              </a:cxn>
              <a:cxn ang="0">
                <a:pos x="csX488" y="csY488"/>
              </a:cxn>
              <a:cxn ang="0">
                <a:pos x="csX489" y="csY489"/>
              </a:cxn>
              <a:cxn ang="0">
                <a:pos x="csX490" y="csY490"/>
              </a:cxn>
              <a:cxn ang="0">
                <a:pos x="csX491" y="csY491"/>
              </a:cxn>
              <a:cxn ang="0">
                <a:pos x="csX492" y="csY492"/>
              </a:cxn>
              <a:cxn ang="0">
                <a:pos x="csX493" y="csY493"/>
              </a:cxn>
              <a:cxn ang="0">
                <a:pos x="csX494" y="csY494"/>
              </a:cxn>
              <a:cxn ang="0">
                <a:pos x="csX495" y="csY495"/>
              </a:cxn>
              <a:cxn ang="0">
                <a:pos x="csX496" y="csY496"/>
              </a:cxn>
              <a:cxn ang="0">
                <a:pos x="csX497" y="csY497"/>
              </a:cxn>
              <a:cxn ang="0">
                <a:pos x="csX498" y="csY498"/>
              </a:cxn>
              <a:cxn ang="0">
                <a:pos x="csX499" y="csY499"/>
              </a:cxn>
              <a:cxn ang="0">
                <a:pos x="csX500" y="csY500"/>
              </a:cxn>
              <a:cxn ang="0">
                <a:pos x="csX501" y="csY501"/>
              </a:cxn>
              <a:cxn ang="0">
                <a:pos x="csX502" y="csY502"/>
              </a:cxn>
              <a:cxn ang="0">
                <a:pos x="csX503" y="csY503"/>
              </a:cxn>
              <a:cxn ang="0">
                <a:pos x="csX504" y="csY504"/>
              </a:cxn>
              <a:cxn ang="0">
                <a:pos x="csX505" y="csY505"/>
              </a:cxn>
              <a:cxn ang="0">
                <a:pos x="csX506" y="csY506"/>
              </a:cxn>
              <a:cxn ang="0">
                <a:pos x="csX507" y="csY507"/>
              </a:cxn>
              <a:cxn ang="0">
                <a:pos x="csX508" y="csY508"/>
              </a:cxn>
              <a:cxn ang="0">
                <a:pos x="csX509" y="csY509"/>
              </a:cxn>
              <a:cxn ang="0">
                <a:pos x="csX510" y="csY510"/>
              </a:cxn>
              <a:cxn ang="0">
                <a:pos x="csX511" y="csY511"/>
              </a:cxn>
              <a:cxn ang="0">
                <a:pos x="csX512" y="csY512"/>
              </a:cxn>
              <a:cxn ang="0">
                <a:pos x="csX513" y="csY513"/>
              </a:cxn>
              <a:cxn ang="0">
                <a:pos x="csX514" y="csY514"/>
              </a:cxn>
              <a:cxn ang="0">
                <a:pos x="csX515" y="csY515"/>
              </a:cxn>
              <a:cxn ang="0">
                <a:pos x="csX516" y="csY516"/>
              </a:cxn>
              <a:cxn ang="0">
                <a:pos x="csX517" y="csY517"/>
              </a:cxn>
              <a:cxn ang="0">
                <a:pos x="csX518" y="csY518"/>
              </a:cxn>
              <a:cxn ang="0">
                <a:pos x="csX519" y="csY519"/>
              </a:cxn>
              <a:cxn ang="0">
                <a:pos x="csX520" y="csY520"/>
              </a:cxn>
              <a:cxn ang="0">
                <a:pos x="csX521" y="csY521"/>
              </a:cxn>
              <a:cxn ang="0">
                <a:pos x="csX522" y="csY522"/>
              </a:cxn>
              <a:cxn ang="0">
                <a:pos x="csX523" y="csY523"/>
              </a:cxn>
              <a:cxn ang="0">
                <a:pos x="csX524" y="csY524"/>
              </a:cxn>
              <a:cxn ang="0">
                <a:pos x="csX525" y="csY525"/>
              </a:cxn>
              <a:cxn ang="0">
                <a:pos x="csX526" y="csY526"/>
              </a:cxn>
              <a:cxn ang="0">
                <a:pos x="csX527" y="csY527"/>
              </a:cxn>
              <a:cxn ang="0">
                <a:pos x="csX528" y="csY528"/>
              </a:cxn>
              <a:cxn ang="0">
                <a:pos x="csX529" y="csY529"/>
              </a:cxn>
              <a:cxn ang="0">
                <a:pos x="csX530" y="csY530"/>
              </a:cxn>
              <a:cxn ang="0">
                <a:pos x="csX531" y="csY531"/>
              </a:cxn>
              <a:cxn ang="0">
                <a:pos x="csX532" y="csY532"/>
              </a:cxn>
              <a:cxn ang="0">
                <a:pos x="csX533" y="csY533"/>
              </a:cxn>
              <a:cxn ang="0">
                <a:pos x="csX534" y="csY534"/>
              </a:cxn>
              <a:cxn ang="0">
                <a:pos x="csX535" y="csY535"/>
              </a:cxn>
              <a:cxn ang="0">
                <a:pos x="csX536" y="csY536"/>
              </a:cxn>
              <a:cxn ang="0">
                <a:pos x="csX537" y="csY537"/>
              </a:cxn>
              <a:cxn ang="0">
                <a:pos x="csX538" y="csY538"/>
              </a:cxn>
              <a:cxn ang="0">
                <a:pos x="csX539" y="csY539"/>
              </a:cxn>
              <a:cxn ang="0">
                <a:pos x="csX540" y="csY540"/>
              </a:cxn>
              <a:cxn ang="0">
                <a:pos x="csX541" y="csY541"/>
              </a:cxn>
              <a:cxn ang="0">
                <a:pos x="csX542" y="csY542"/>
              </a:cxn>
              <a:cxn ang="0">
                <a:pos x="csX543" y="csY543"/>
              </a:cxn>
              <a:cxn ang="0">
                <a:pos x="csX544" y="csY544"/>
              </a:cxn>
              <a:cxn ang="0">
                <a:pos x="csX545" y="csY545"/>
              </a:cxn>
              <a:cxn ang="0">
                <a:pos x="csX546" y="csY546"/>
              </a:cxn>
              <a:cxn ang="0">
                <a:pos x="csX547" y="csY547"/>
              </a:cxn>
              <a:cxn ang="0">
                <a:pos x="csX548" y="csY548"/>
              </a:cxn>
              <a:cxn ang="0">
                <a:pos x="csX549" y="csY549"/>
              </a:cxn>
              <a:cxn ang="0">
                <a:pos x="csX550" y="csY550"/>
              </a:cxn>
              <a:cxn ang="0">
                <a:pos x="csX551" y="csY551"/>
              </a:cxn>
              <a:cxn ang="0">
                <a:pos x="csX552" y="csY552"/>
              </a:cxn>
              <a:cxn ang="0">
                <a:pos x="csX553" y="csY553"/>
              </a:cxn>
              <a:cxn ang="0">
                <a:pos x="csX554" y="csY554"/>
              </a:cxn>
              <a:cxn ang="0">
                <a:pos x="csX555" y="csY555"/>
              </a:cxn>
              <a:cxn ang="0">
                <a:pos x="csX556" y="csY556"/>
              </a:cxn>
              <a:cxn ang="0">
                <a:pos x="csX557" y="csY557"/>
              </a:cxn>
              <a:cxn ang="0">
                <a:pos x="csX558" y="csY558"/>
              </a:cxn>
              <a:cxn ang="0">
                <a:pos x="csX559" y="csY559"/>
              </a:cxn>
              <a:cxn ang="0">
                <a:pos x="csX560" y="csY560"/>
              </a:cxn>
              <a:cxn ang="0">
                <a:pos x="csX561" y="csY561"/>
              </a:cxn>
              <a:cxn ang="0">
                <a:pos x="csX562" y="csY562"/>
              </a:cxn>
              <a:cxn ang="0">
                <a:pos x="csX563" y="csY563"/>
              </a:cxn>
              <a:cxn ang="0">
                <a:pos x="csX564" y="csY564"/>
              </a:cxn>
              <a:cxn ang="0">
                <a:pos x="csX565" y="csY565"/>
              </a:cxn>
              <a:cxn ang="0">
                <a:pos x="csX566" y="csY566"/>
              </a:cxn>
              <a:cxn ang="0">
                <a:pos x="csX567" y="csY567"/>
              </a:cxn>
              <a:cxn ang="0">
                <a:pos x="csX568" y="csY568"/>
              </a:cxn>
              <a:cxn ang="0">
                <a:pos x="csX569" y="csY569"/>
              </a:cxn>
              <a:cxn ang="0">
                <a:pos x="csX570" y="csY570"/>
              </a:cxn>
              <a:cxn ang="0">
                <a:pos x="csX571" y="csY571"/>
              </a:cxn>
              <a:cxn ang="0">
                <a:pos x="csX572" y="csY572"/>
              </a:cxn>
              <a:cxn ang="0">
                <a:pos x="csX573" y="csY573"/>
              </a:cxn>
              <a:cxn ang="0">
                <a:pos x="csX574" y="csY574"/>
              </a:cxn>
              <a:cxn ang="0">
                <a:pos x="csX575" y="csY575"/>
              </a:cxn>
              <a:cxn ang="0">
                <a:pos x="csX576" y="csY576"/>
              </a:cxn>
              <a:cxn ang="0">
                <a:pos x="csX577" y="csY577"/>
              </a:cxn>
              <a:cxn ang="0">
                <a:pos x="csX578" y="csY578"/>
              </a:cxn>
              <a:cxn ang="0">
                <a:pos x="csX579" y="csY579"/>
              </a:cxn>
              <a:cxn ang="0">
                <a:pos x="csX580" y="csY580"/>
              </a:cxn>
              <a:cxn ang="0">
                <a:pos x="csX581" y="csY581"/>
              </a:cxn>
              <a:cxn ang="0">
                <a:pos x="csX582" y="csY582"/>
              </a:cxn>
              <a:cxn ang="0">
                <a:pos x="csX583" y="csY583"/>
              </a:cxn>
              <a:cxn ang="0">
                <a:pos x="csX584" y="csY584"/>
              </a:cxn>
              <a:cxn ang="0">
                <a:pos x="csX585" y="csY585"/>
              </a:cxn>
              <a:cxn ang="0">
                <a:pos x="csX586" y="csY586"/>
              </a:cxn>
              <a:cxn ang="0">
                <a:pos x="csX587" y="csY587"/>
              </a:cxn>
              <a:cxn ang="0">
                <a:pos x="csX588" y="csY588"/>
              </a:cxn>
              <a:cxn ang="0">
                <a:pos x="csX589" y="csY589"/>
              </a:cxn>
              <a:cxn ang="0">
                <a:pos x="csX590" y="csY590"/>
              </a:cxn>
              <a:cxn ang="0">
                <a:pos x="csX591" y="csY591"/>
              </a:cxn>
              <a:cxn ang="0">
                <a:pos x="csX592" y="csY592"/>
              </a:cxn>
              <a:cxn ang="0">
                <a:pos x="csX593" y="csY593"/>
              </a:cxn>
              <a:cxn ang="0">
                <a:pos x="csX594" y="csY594"/>
              </a:cxn>
              <a:cxn ang="0">
                <a:pos x="csX595" y="csY595"/>
              </a:cxn>
              <a:cxn ang="0">
                <a:pos x="csX596" y="csY596"/>
              </a:cxn>
              <a:cxn ang="0">
                <a:pos x="csX597" y="csY597"/>
              </a:cxn>
              <a:cxn ang="0">
                <a:pos x="csX598" y="csY598"/>
              </a:cxn>
              <a:cxn ang="0">
                <a:pos x="csX599" y="csY599"/>
              </a:cxn>
              <a:cxn ang="0">
                <a:pos x="csX600" y="csY600"/>
              </a:cxn>
              <a:cxn ang="0">
                <a:pos x="csX601" y="csY601"/>
              </a:cxn>
              <a:cxn ang="0">
                <a:pos x="csX602" y="csY602"/>
              </a:cxn>
              <a:cxn ang="0">
                <a:pos x="csX603" y="csY603"/>
              </a:cxn>
              <a:cxn ang="0">
                <a:pos x="csX604" y="csY604"/>
              </a:cxn>
              <a:cxn ang="0">
                <a:pos x="csX605" y="csY605"/>
              </a:cxn>
              <a:cxn ang="0">
                <a:pos x="csX606" y="csY606"/>
              </a:cxn>
              <a:cxn ang="0">
                <a:pos x="csX607" y="csY607"/>
              </a:cxn>
              <a:cxn ang="0">
                <a:pos x="csX608" y="csY608"/>
              </a:cxn>
              <a:cxn ang="0">
                <a:pos x="csX609" y="csY609"/>
              </a:cxn>
              <a:cxn ang="0">
                <a:pos x="csX610" y="csY610"/>
              </a:cxn>
              <a:cxn ang="0">
                <a:pos x="csX611" y="csY611"/>
              </a:cxn>
              <a:cxn ang="0">
                <a:pos x="csX612" y="csY612"/>
              </a:cxn>
              <a:cxn ang="0">
                <a:pos x="csX613" y="csY613"/>
              </a:cxn>
              <a:cxn ang="0">
                <a:pos x="csX614" y="csY614"/>
              </a:cxn>
              <a:cxn ang="0">
                <a:pos x="csX615" y="csY615"/>
              </a:cxn>
              <a:cxn ang="0">
                <a:pos x="csX616" y="csY616"/>
              </a:cxn>
              <a:cxn ang="0">
                <a:pos x="csX617" y="csY617"/>
              </a:cxn>
              <a:cxn ang="0">
                <a:pos x="csX618" y="csY618"/>
              </a:cxn>
              <a:cxn ang="0">
                <a:pos x="csX619" y="csY619"/>
              </a:cxn>
              <a:cxn ang="0">
                <a:pos x="csX620" y="csY620"/>
              </a:cxn>
              <a:cxn ang="0">
                <a:pos x="csX621" y="csY621"/>
              </a:cxn>
              <a:cxn ang="0">
                <a:pos x="csX622" y="csY622"/>
              </a:cxn>
              <a:cxn ang="0">
                <a:pos x="csX623" y="csY623"/>
              </a:cxn>
              <a:cxn ang="0">
                <a:pos x="csX624" y="csY624"/>
              </a:cxn>
              <a:cxn ang="0">
                <a:pos x="csX625" y="csY625"/>
              </a:cxn>
              <a:cxn ang="0">
                <a:pos x="csX626" y="csY626"/>
              </a:cxn>
              <a:cxn ang="0">
                <a:pos x="csX627" y="csY627"/>
              </a:cxn>
              <a:cxn ang="0">
                <a:pos x="csX628" y="csY628"/>
              </a:cxn>
              <a:cxn ang="0">
                <a:pos x="csX629" y="csY629"/>
              </a:cxn>
              <a:cxn ang="0">
                <a:pos x="csX630" y="csY630"/>
              </a:cxn>
              <a:cxn ang="0">
                <a:pos x="csX631" y="csY631"/>
              </a:cxn>
              <a:cxn ang="0">
                <a:pos x="csX632" y="csY632"/>
              </a:cxn>
              <a:cxn ang="0">
                <a:pos x="csX633" y="csY633"/>
              </a:cxn>
              <a:cxn ang="0">
                <a:pos x="csX634" y="csY634"/>
              </a:cxn>
              <a:cxn ang="0">
                <a:pos x="csX635" y="csY635"/>
              </a:cxn>
              <a:cxn ang="0">
                <a:pos x="csX636" y="csY636"/>
              </a:cxn>
              <a:cxn ang="0">
                <a:pos x="csX637" y="csY637"/>
              </a:cxn>
              <a:cxn ang="0">
                <a:pos x="csX638" y="csY638"/>
              </a:cxn>
              <a:cxn ang="0">
                <a:pos x="csX639" y="csY639"/>
              </a:cxn>
              <a:cxn ang="0">
                <a:pos x="csX640" y="csY640"/>
              </a:cxn>
              <a:cxn ang="0">
                <a:pos x="csX641" y="csY641"/>
              </a:cxn>
              <a:cxn ang="0">
                <a:pos x="csX642" y="csY642"/>
              </a:cxn>
              <a:cxn ang="0">
                <a:pos x="csX643" y="csY643"/>
              </a:cxn>
              <a:cxn ang="0">
                <a:pos x="csX644" y="csY644"/>
              </a:cxn>
              <a:cxn ang="0">
                <a:pos x="csX645" y="csY645"/>
              </a:cxn>
              <a:cxn ang="0">
                <a:pos x="csX646" y="csY646"/>
              </a:cxn>
              <a:cxn ang="0">
                <a:pos x="csX647" y="csY647"/>
              </a:cxn>
              <a:cxn ang="0">
                <a:pos x="csX648" y="csY648"/>
              </a:cxn>
              <a:cxn ang="0">
                <a:pos x="csX649" y="csY649"/>
              </a:cxn>
              <a:cxn ang="0">
                <a:pos x="csX650" y="csY650"/>
              </a:cxn>
              <a:cxn ang="0">
                <a:pos x="csX651" y="csY651"/>
              </a:cxn>
              <a:cxn ang="0">
                <a:pos x="csX652" y="csY652"/>
              </a:cxn>
              <a:cxn ang="0">
                <a:pos x="csX653" y="csY653"/>
              </a:cxn>
              <a:cxn ang="0">
                <a:pos x="csX654" y="csY654"/>
              </a:cxn>
              <a:cxn ang="0">
                <a:pos x="csX655" y="csY655"/>
              </a:cxn>
              <a:cxn ang="0">
                <a:pos x="csX656" y="csY656"/>
              </a:cxn>
              <a:cxn ang="0">
                <a:pos x="csX657" y="csY657"/>
              </a:cxn>
              <a:cxn ang="0">
                <a:pos x="csX658" y="csY658"/>
              </a:cxn>
              <a:cxn ang="0">
                <a:pos x="csX659" y="csY659"/>
              </a:cxn>
              <a:cxn ang="0">
                <a:pos x="csX660" y="csY660"/>
              </a:cxn>
              <a:cxn ang="0">
                <a:pos x="csX661" y="csY661"/>
              </a:cxn>
              <a:cxn ang="0">
                <a:pos x="csX662" y="csY662"/>
              </a:cxn>
              <a:cxn ang="0">
                <a:pos x="csX663" y="csY663"/>
              </a:cxn>
              <a:cxn ang="0">
                <a:pos x="csX664" y="csY664"/>
              </a:cxn>
              <a:cxn ang="0">
                <a:pos x="csX665" y="csY665"/>
              </a:cxn>
              <a:cxn ang="0">
                <a:pos x="csX666" y="csY666"/>
              </a:cxn>
              <a:cxn ang="0">
                <a:pos x="csX667" y="csY667"/>
              </a:cxn>
              <a:cxn ang="0">
                <a:pos x="csX668" y="csY668"/>
              </a:cxn>
              <a:cxn ang="0">
                <a:pos x="csX669" y="csY669"/>
              </a:cxn>
              <a:cxn ang="0">
                <a:pos x="csX670" y="csY670"/>
              </a:cxn>
              <a:cxn ang="0">
                <a:pos x="csX671" y="csY671"/>
              </a:cxn>
              <a:cxn ang="0">
                <a:pos x="csX672" y="csY672"/>
              </a:cxn>
              <a:cxn ang="0">
                <a:pos x="csX673" y="csY673"/>
              </a:cxn>
              <a:cxn ang="0">
                <a:pos x="csX674" y="csY674"/>
              </a:cxn>
              <a:cxn ang="0">
                <a:pos x="csX675" y="csY675"/>
              </a:cxn>
              <a:cxn ang="0">
                <a:pos x="csX676" y="csY676"/>
              </a:cxn>
              <a:cxn ang="0">
                <a:pos x="csX677" y="csY677"/>
              </a:cxn>
              <a:cxn ang="0">
                <a:pos x="csX678" y="csY678"/>
              </a:cxn>
              <a:cxn ang="0">
                <a:pos x="csX679" y="csY679"/>
              </a:cxn>
              <a:cxn ang="0">
                <a:pos x="csX680" y="csY680"/>
              </a:cxn>
              <a:cxn ang="0">
                <a:pos x="csX681" y="csY681"/>
              </a:cxn>
              <a:cxn ang="0">
                <a:pos x="csX682" y="csY682"/>
              </a:cxn>
              <a:cxn ang="0">
                <a:pos x="csX683" y="csY683"/>
              </a:cxn>
              <a:cxn ang="0">
                <a:pos x="csX684" y="csY684"/>
              </a:cxn>
              <a:cxn ang="0">
                <a:pos x="csX685" y="csY685"/>
              </a:cxn>
              <a:cxn ang="0">
                <a:pos x="csX686" y="csY686"/>
              </a:cxn>
              <a:cxn ang="0">
                <a:pos x="csX687" y="csY687"/>
              </a:cxn>
              <a:cxn ang="0">
                <a:pos x="csX688" y="csY688"/>
              </a:cxn>
              <a:cxn ang="0">
                <a:pos x="csX689" y="csY689"/>
              </a:cxn>
              <a:cxn ang="0">
                <a:pos x="csX690" y="csY690"/>
              </a:cxn>
              <a:cxn ang="0">
                <a:pos x="csX691" y="csY691"/>
              </a:cxn>
              <a:cxn ang="0">
                <a:pos x="csX692" y="csY692"/>
              </a:cxn>
              <a:cxn ang="0">
                <a:pos x="csX693" y="csY693"/>
              </a:cxn>
              <a:cxn ang="0">
                <a:pos x="csX694" y="csY694"/>
              </a:cxn>
              <a:cxn ang="0">
                <a:pos x="csX695" y="csY695"/>
              </a:cxn>
              <a:cxn ang="0">
                <a:pos x="csX696" y="csY696"/>
              </a:cxn>
              <a:cxn ang="0">
                <a:pos x="csX697" y="csY697"/>
              </a:cxn>
              <a:cxn ang="0">
                <a:pos x="csX698" y="csY698"/>
              </a:cxn>
              <a:cxn ang="0">
                <a:pos x="csX699" y="csY699"/>
              </a:cxn>
              <a:cxn ang="0">
                <a:pos x="csX700" y="csY700"/>
              </a:cxn>
              <a:cxn ang="0">
                <a:pos x="csX701" y="csY701"/>
              </a:cxn>
              <a:cxn ang="0">
                <a:pos x="csX702" y="csY702"/>
              </a:cxn>
              <a:cxn ang="0">
                <a:pos x="csX703" y="csY703"/>
              </a:cxn>
              <a:cxn ang="0">
                <a:pos x="csX704" y="csY704"/>
              </a:cxn>
              <a:cxn ang="0">
                <a:pos x="csX705" y="csY705"/>
              </a:cxn>
              <a:cxn ang="0">
                <a:pos x="csX706" y="csY706"/>
              </a:cxn>
              <a:cxn ang="0">
                <a:pos x="csX707" y="csY707"/>
              </a:cxn>
              <a:cxn ang="0">
                <a:pos x="csX708" y="csY708"/>
              </a:cxn>
              <a:cxn ang="0">
                <a:pos x="csX709" y="csY709"/>
              </a:cxn>
              <a:cxn ang="0">
                <a:pos x="csX710" y="csY710"/>
              </a:cxn>
              <a:cxn ang="0">
                <a:pos x="csX711" y="csY711"/>
              </a:cxn>
              <a:cxn ang="0">
                <a:pos x="csX712" y="csY712"/>
              </a:cxn>
              <a:cxn ang="0">
                <a:pos x="csX713" y="csY713"/>
              </a:cxn>
              <a:cxn ang="0">
                <a:pos x="csX714" y="csY714"/>
              </a:cxn>
              <a:cxn ang="0">
                <a:pos x="csX715" y="csY715"/>
              </a:cxn>
              <a:cxn ang="0">
                <a:pos x="csX716" y="csY716"/>
              </a:cxn>
              <a:cxn ang="0">
                <a:pos x="csX717" y="csY717"/>
              </a:cxn>
              <a:cxn ang="0">
                <a:pos x="csX718" y="csY718"/>
              </a:cxn>
              <a:cxn ang="0">
                <a:pos x="csX719" y="csY719"/>
              </a:cxn>
              <a:cxn ang="0">
                <a:pos x="csX720" y="csY720"/>
              </a:cxn>
              <a:cxn ang="0">
                <a:pos x="csX721" y="csY721"/>
              </a:cxn>
              <a:cxn ang="0">
                <a:pos x="csX722" y="csY722"/>
              </a:cxn>
              <a:cxn ang="0">
                <a:pos x="csX723" y="csY723"/>
              </a:cxn>
              <a:cxn ang="0">
                <a:pos x="csX724" y="csY724"/>
              </a:cxn>
              <a:cxn ang="0">
                <a:pos x="csX725" y="csY725"/>
              </a:cxn>
              <a:cxn ang="0">
                <a:pos x="csX726" y="csY726"/>
              </a:cxn>
              <a:cxn ang="0">
                <a:pos x="csX727" y="csY727"/>
              </a:cxn>
              <a:cxn ang="0">
                <a:pos x="csX728" y="csY728"/>
              </a:cxn>
              <a:cxn ang="0">
                <a:pos x="csX729" y="csY729"/>
              </a:cxn>
              <a:cxn ang="0">
                <a:pos x="csX730" y="csY730"/>
              </a:cxn>
              <a:cxn ang="0">
                <a:pos x="csX731" y="csY731"/>
              </a:cxn>
              <a:cxn ang="0">
                <a:pos x="csX732" y="csY732"/>
              </a:cxn>
              <a:cxn ang="0">
                <a:pos x="csX733" y="csY733"/>
              </a:cxn>
              <a:cxn ang="0">
                <a:pos x="csX734" y="csY734"/>
              </a:cxn>
              <a:cxn ang="0">
                <a:pos x="csX735" y="csY735"/>
              </a:cxn>
              <a:cxn ang="0">
                <a:pos x="csX736" y="csY736"/>
              </a:cxn>
              <a:cxn ang="0">
                <a:pos x="csX737" y="csY737"/>
              </a:cxn>
              <a:cxn ang="0">
                <a:pos x="csX738" y="csY738"/>
              </a:cxn>
              <a:cxn ang="0">
                <a:pos x="csX739" y="csY739"/>
              </a:cxn>
              <a:cxn ang="0">
                <a:pos x="csX740" y="csY740"/>
              </a:cxn>
              <a:cxn ang="0">
                <a:pos x="csX741" y="csY741"/>
              </a:cxn>
              <a:cxn ang="0">
                <a:pos x="csX742" y="csY742"/>
              </a:cxn>
              <a:cxn ang="0">
                <a:pos x="csX743" y="csY743"/>
              </a:cxn>
              <a:cxn ang="0">
                <a:pos x="csX744" y="csY744"/>
              </a:cxn>
              <a:cxn ang="0">
                <a:pos x="csX745" y="csY745"/>
              </a:cxn>
              <a:cxn ang="0">
                <a:pos x="csX746" y="csY746"/>
              </a:cxn>
              <a:cxn ang="0">
                <a:pos x="csX747" y="csY747"/>
              </a:cxn>
              <a:cxn ang="0">
                <a:pos x="csX748" y="csY748"/>
              </a:cxn>
              <a:cxn ang="0">
                <a:pos x="csX749" y="csY749"/>
              </a:cxn>
              <a:cxn ang="0">
                <a:pos x="csX750" y="csY750"/>
              </a:cxn>
              <a:cxn ang="0">
                <a:pos x="csX751" y="csY751"/>
              </a:cxn>
              <a:cxn ang="0">
                <a:pos x="csX752" y="csY752"/>
              </a:cxn>
              <a:cxn ang="0">
                <a:pos x="csX753" y="csY753"/>
              </a:cxn>
              <a:cxn ang="0">
                <a:pos x="csX754" y="csY754"/>
              </a:cxn>
              <a:cxn ang="0">
                <a:pos x="csX755" y="csY755"/>
              </a:cxn>
              <a:cxn ang="0">
                <a:pos x="csX756" y="csY756"/>
              </a:cxn>
              <a:cxn ang="0">
                <a:pos x="csX757" y="csY757"/>
              </a:cxn>
              <a:cxn ang="0">
                <a:pos x="csX758" y="csY758"/>
              </a:cxn>
              <a:cxn ang="0">
                <a:pos x="csX759" y="csY759"/>
              </a:cxn>
              <a:cxn ang="0">
                <a:pos x="csX760" y="csY760"/>
              </a:cxn>
              <a:cxn ang="0">
                <a:pos x="csX761" y="csY761"/>
              </a:cxn>
              <a:cxn ang="0">
                <a:pos x="csX762" y="csY762"/>
              </a:cxn>
              <a:cxn ang="0">
                <a:pos x="csX763" y="csY763"/>
              </a:cxn>
              <a:cxn ang="0">
                <a:pos x="csX764" y="csY764"/>
              </a:cxn>
              <a:cxn ang="0">
                <a:pos x="csX765" y="csY765"/>
              </a:cxn>
              <a:cxn ang="0">
                <a:pos x="csX766" y="csY766"/>
              </a:cxn>
              <a:cxn ang="0">
                <a:pos x="csX767" y="csY767"/>
              </a:cxn>
              <a:cxn ang="0">
                <a:pos x="csX768" y="csY768"/>
              </a:cxn>
              <a:cxn ang="0">
                <a:pos x="csX769" y="csY769"/>
              </a:cxn>
              <a:cxn ang="0">
                <a:pos x="csX770" y="csY770"/>
              </a:cxn>
              <a:cxn ang="0">
                <a:pos x="csX771" y="csY771"/>
              </a:cxn>
              <a:cxn ang="0">
                <a:pos x="csX772" y="csY772"/>
              </a:cxn>
              <a:cxn ang="0">
                <a:pos x="csX773" y="csY773"/>
              </a:cxn>
              <a:cxn ang="0">
                <a:pos x="csX774" y="csY774"/>
              </a:cxn>
              <a:cxn ang="0">
                <a:pos x="csX775" y="csY775"/>
              </a:cxn>
              <a:cxn ang="0">
                <a:pos x="csX776" y="csY776"/>
              </a:cxn>
              <a:cxn ang="0">
                <a:pos x="csX777" y="csY777"/>
              </a:cxn>
              <a:cxn ang="0">
                <a:pos x="csX778" y="csY778"/>
              </a:cxn>
              <a:cxn ang="0">
                <a:pos x="csX779" y="csY779"/>
              </a:cxn>
              <a:cxn ang="0">
                <a:pos x="csX780" y="csY780"/>
              </a:cxn>
              <a:cxn ang="0">
                <a:pos x="csX781" y="csY781"/>
              </a:cxn>
              <a:cxn ang="0">
                <a:pos x="csX782" y="csY782"/>
              </a:cxn>
              <a:cxn ang="0">
                <a:pos x="csX783" y="csY783"/>
              </a:cxn>
              <a:cxn ang="0">
                <a:pos x="csX784" y="csY784"/>
              </a:cxn>
              <a:cxn ang="0">
                <a:pos x="csX785" y="csY785"/>
              </a:cxn>
              <a:cxn ang="0">
                <a:pos x="csX786" y="csY786"/>
              </a:cxn>
              <a:cxn ang="0">
                <a:pos x="csX787" y="csY787"/>
              </a:cxn>
              <a:cxn ang="0">
                <a:pos x="csX788" y="csY788"/>
              </a:cxn>
              <a:cxn ang="0">
                <a:pos x="csX789" y="csY789"/>
              </a:cxn>
              <a:cxn ang="0">
                <a:pos x="csX790" y="csY790"/>
              </a:cxn>
              <a:cxn ang="0">
                <a:pos x="csX791" y="csY791"/>
              </a:cxn>
              <a:cxn ang="0">
                <a:pos x="csX792" y="csY792"/>
              </a:cxn>
              <a:cxn ang="0">
                <a:pos x="csX793" y="csY793"/>
              </a:cxn>
              <a:cxn ang="0">
                <a:pos x="csX794" y="csY794"/>
              </a:cxn>
              <a:cxn ang="0">
                <a:pos x="csX795" y="csY795"/>
              </a:cxn>
              <a:cxn ang="0">
                <a:pos x="csX796" y="csY796"/>
              </a:cxn>
              <a:cxn ang="0">
                <a:pos x="csX797" y="csY797"/>
              </a:cxn>
              <a:cxn ang="0">
                <a:pos x="csX798" y="csY798"/>
              </a:cxn>
              <a:cxn ang="0">
                <a:pos x="csX799" y="csY799"/>
              </a:cxn>
              <a:cxn ang="0">
                <a:pos x="csX800" y="csY800"/>
              </a:cxn>
              <a:cxn ang="0">
                <a:pos x="csX801" y="csY801"/>
              </a:cxn>
              <a:cxn ang="0">
                <a:pos x="csX802" y="csY802"/>
              </a:cxn>
              <a:cxn ang="0">
                <a:pos x="csX803" y="csY803"/>
              </a:cxn>
              <a:cxn ang="0">
                <a:pos x="csX804" y="csY804"/>
              </a:cxn>
              <a:cxn ang="0">
                <a:pos x="csX805" y="csY805"/>
              </a:cxn>
              <a:cxn ang="0">
                <a:pos x="csX806" y="csY806"/>
              </a:cxn>
              <a:cxn ang="0">
                <a:pos x="csX807" y="csY807"/>
              </a:cxn>
              <a:cxn ang="0">
                <a:pos x="csX808" y="csY808"/>
              </a:cxn>
              <a:cxn ang="0">
                <a:pos x="csX809" y="csY809"/>
              </a:cxn>
              <a:cxn ang="0">
                <a:pos x="csX810" y="csY810"/>
              </a:cxn>
              <a:cxn ang="0">
                <a:pos x="csX811" y="csY811"/>
              </a:cxn>
              <a:cxn ang="0">
                <a:pos x="csX812" y="csY812"/>
              </a:cxn>
              <a:cxn ang="0">
                <a:pos x="csX813" y="csY813"/>
              </a:cxn>
              <a:cxn ang="0">
                <a:pos x="csX814" y="csY814"/>
              </a:cxn>
              <a:cxn ang="0">
                <a:pos x="csX815" y="csY815"/>
              </a:cxn>
              <a:cxn ang="0">
                <a:pos x="csX816" y="csY816"/>
              </a:cxn>
              <a:cxn ang="0">
                <a:pos x="csX817" y="csY817"/>
              </a:cxn>
              <a:cxn ang="0">
                <a:pos x="csX818" y="csY818"/>
              </a:cxn>
              <a:cxn ang="0">
                <a:pos x="csX819" y="csY819"/>
              </a:cxn>
              <a:cxn ang="0">
                <a:pos x="csX820" y="csY820"/>
              </a:cxn>
              <a:cxn ang="0">
                <a:pos x="csX821" y="csY821"/>
              </a:cxn>
              <a:cxn ang="0">
                <a:pos x="csX822" y="csY822"/>
              </a:cxn>
              <a:cxn ang="0">
                <a:pos x="csX823" y="csY823"/>
              </a:cxn>
              <a:cxn ang="0">
                <a:pos x="csX824" y="csY824"/>
              </a:cxn>
              <a:cxn ang="0">
                <a:pos x="csX825" y="csY825"/>
              </a:cxn>
              <a:cxn ang="0">
                <a:pos x="csX826" y="csY826"/>
              </a:cxn>
              <a:cxn ang="0">
                <a:pos x="csX827" y="csY827"/>
              </a:cxn>
              <a:cxn ang="0">
                <a:pos x="csX828" y="csY828"/>
              </a:cxn>
              <a:cxn ang="0">
                <a:pos x="csX829" y="csY829"/>
              </a:cxn>
              <a:cxn ang="0">
                <a:pos x="csX830" y="csY830"/>
              </a:cxn>
              <a:cxn ang="0">
                <a:pos x="csX831" y="csY831"/>
              </a:cxn>
              <a:cxn ang="0">
                <a:pos x="csX832" y="csY832"/>
              </a:cxn>
              <a:cxn ang="0">
                <a:pos x="csX833" y="csY833"/>
              </a:cxn>
              <a:cxn ang="0">
                <a:pos x="csX834" y="csY834"/>
              </a:cxn>
              <a:cxn ang="0">
                <a:pos x="csX835" y="csY835"/>
              </a:cxn>
              <a:cxn ang="0">
                <a:pos x="csX836" y="csY836"/>
              </a:cxn>
              <a:cxn ang="0">
                <a:pos x="csX837" y="csY837"/>
              </a:cxn>
              <a:cxn ang="0">
                <a:pos x="csX838" y="csY838"/>
              </a:cxn>
              <a:cxn ang="0">
                <a:pos x="csX839" y="csY839"/>
              </a:cxn>
              <a:cxn ang="0">
                <a:pos x="csX840" y="csY840"/>
              </a:cxn>
              <a:cxn ang="0">
                <a:pos x="csX841" y="csY841"/>
              </a:cxn>
              <a:cxn ang="0">
                <a:pos x="csX842" y="csY842"/>
              </a:cxn>
              <a:cxn ang="0">
                <a:pos x="csX843" y="csY843"/>
              </a:cxn>
              <a:cxn ang="0">
                <a:pos x="csX844" y="csY844"/>
              </a:cxn>
              <a:cxn ang="0">
                <a:pos x="csX845" y="csY845"/>
              </a:cxn>
              <a:cxn ang="0">
                <a:pos x="csX846" y="csY846"/>
              </a:cxn>
              <a:cxn ang="0">
                <a:pos x="csX847" y="csY847"/>
              </a:cxn>
              <a:cxn ang="0">
                <a:pos x="csX848" y="csY848"/>
              </a:cxn>
              <a:cxn ang="0">
                <a:pos x="csX849" y="csY849"/>
              </a:cxn>
              <a:cxn ang="0">
                <a:pos x="csX850" y="csY850"/>
              </a:cxn>
              <a:cxn ang="0">
                <a:pos x="csX851" y="csY851"/>
              </a:cxn>
              <a:cxn ang="0">
                <a:pos x="csX852" y="csY852"/>
              </a:cxn>
              <a:cxn ang="0">
                <a:pos x="csX853" y="csY853"/>
              </a:cxn>
              <a:cxn ang="0">
                <a:pos x="csX854" y="csY854"/>
              </a:cxn>
              <a:cxn ang="0">
                <a:pos x="csX855" y="csY855"/>
              </a:cxn>
              <a:cxn ang="0">
                <a:pos x="csX856" y="csY856"/>
              </a:cxn>
              <a:cxn ang="0">
                <a:pos x="csX857" y="csY857"/>
              </a:cxn>
              <a:cxn ang="0">
                <a:pos x="csX858" y="csY858"/>
              </a:cxn>
              <a:cxn ang="0">
                <a:pos x="csX859" y="csY859"/>
              </a:cxn>
              <a:cxn ang="0">
                <a:pos x="csX860" y="csY860"/>
              </a:cxn>
              <a:cxn ang="0">
                <a:pos x="csX861" y="csY861"/>
              </a:cxn>
              <a:cxn ang="0">
                <a:pos x="csX862" y="csY862"/>
              </a:cxn>
              <a:cxn ang="0">
                <a:pos x="csX863" y="csY863"/>
              </a:cxn>
              <a:cxn ang="0">
                <a:pos x="csX864" y="csY864"/>
              </a:cxn>
              <a:cxn ang="0">
                <a:pos x="csX865" y="csY865"/>
              </a:cxn>
              <a:cxn ang="0">
                <a:pos x="csX866" y="csY866"/>
              </a:cxn>
              <a:cxn ang="0">
                <a:pos x="csX867" y="csY867"/>
              </a:cxn>
              <a:cxn ang="0">
                <a:pos x="csX868" y="csY868"/>
              </a:cxn>
              <a:cxn ang="0">
                <a:pos x="csX869" y="csY869"/>
              </a:cxn>
              <a:cxn ang="0">
                <a:pos x="csX870" y="csY870"/>
              </a:cxn>
              <a:cxn ang="0">
                <a:pos x="csX871" y="csY871"/>
              </a:cxn>
              <a:cxn ang="0">
                <a:pos x="csX872" y="csY872"/>
              </a:cxn>
              <a:cxn ang="0">
                <a:pos x="csX873" y="csY873"/>
              </a:cxn>
              <a:cxn ang="0">
                <a:pos x="csX874" y="csY874"/>
              </a:cxn>
              <a:cxn ang="0">
                <a:pos x="csX875" y="csY875"/>
              </a:cxn>
              <a:cxn ang="0">
                <a:pos x="csX876" y="csY876"/>
              </a:cxn>
              <a:cxn ang="0">
                <a:pos x="csX877" y="csY877"/>
              </a:cxn>
              <a:cxn ang="0">
                <a:pos x="csX878" y="csY878"/>
              </a:cxn>
              <a:cxn ang="0">
                <a:pos x="csX879" y="csY879"/>
              </a:cxn>
              <a:cxn ang="0">
                <a:pos x="csX880" y="csY880"/>
              </a:cxn>
              <a:cxn ang="0">
                <a:pos x="csX881" y="csY881"/>
              </a:cxn>
              <a:cxn ang="0">
                <a:pos x="csX882" y="csY882"/>
              </a:cxn>
              <a:cxn ang="0">
                <a:pos x="csX883" y="csY883"/>
              </a:cxn>
              <a:cxn ang="0">
                <a:pos x="csX884" y="csY884"/>
              </a:cxn>
              <a:cxn ang="0">
                <a:pos x="csX885" y="csY885"/>
              </a:cxn>
              <a:cxn ang="0">
                <a:pos x="csX886" y="csY886"/>
              </a:cxn>
              <a:cxn ang="0">
                <a:pos x="csX887" y="csY887"/>
              </a:cxn>
              <a:cxn ang="0">
                <a:pos x="csX888" y="csY888"/>
              </a:cxn>
              <a:cxn ang="0">
                <a:pos x="csX889" y="csY889"/>
              </a:cxn>
              <a:cxn ang="0">
                <a:pos x="csX890" y="csY890"/>
              </a:cxn>
              <a:cxn ang="0">
                <a:pos x="csX891" y="csY891"/>
              </a:cxn>
              <a:cxn ang="0">
                <a:pos x="csX892" y="csY892"/>
              </a:cxn>
              <a:cxn ang="0">
                <a:pos x="csX893" y="csY893"/>
              </a:cxn>
              <a:cxn ang="0">
                <a:pos x="csX894" y="csY894"/>
              </a:cxn>
              <a:cxn ang="0">
                <a:pos x="csX895" y="csY895"/>
              </a:cxn>
              <a:cxn ang="0">
                <a:pos x="csX896" y="csY896"/>
              </a:cxn>
              <a:cxn ang="0">
                <a:pos x="csX897" y="csY897"/>
              </a:cxn>
              <a:cxn ang="0">
                <a:pos x="csX898" y="csY898"/>
              </a:cxn>
              <a:cxn ang="0">
                <a:pos x="csX899" y="csY899"/>
              </a:cxn>
              <a:cxn ang="0">
                <a:pos x="csX900" y="csY900"/>
              </a:cxn>
              <a:cxn ang="0">
                <a:pos x="csX901" y="csY901"/>
              </a:cxn>
              <a:cxn ang="0">
                <a:pos x="csX902" y="csY902"/>
              </a:cxn>
              <a:cxn ang="0">
                <a:pos x="csX903" y="csY903"/>
              </a:cxn>
              <a:cxn ang="0">
                <a:pos x="csX904" y="csY904"/>
              </a:cxn>
              <a:cxn ang="0">
                <a:pos x="csX905" y="csY905"/>
              </a:cxn>
              <a:cxn ang="0">
                <a:pos x="csX906" y="csY906"/>
              </a:cxn>
              <a:cxn ang="0">
                <a:pos x="csX907" y="csY907"/>
              </a:cxn>
              <a:cxn ang="0">
                <a:pos x="csX908" y="csY908"/>
              </a:cxn>
              <a:cxn ang="0">
                <a:pos x="csX909" y="csY909"/>
              </a:cxn>
              <a:cxn ang="0">
                <a:pos x="csX910" y="csY910"/>
              </a:cxn>
              <a:cxn ang="0">
                <a:pos x="csX911" y="csY911"/>
              </a:cxn>
              <a:cxn ang="0">
                <a:pos x="csX912" y="csY912"/>
              </a:cxn>
              <a:cxn ang="0">
                <a:pos x="csX913" y="csY913"/>
              </a:cxn>
              <a:cxn ang="0">
                <a:pos x="csX914" y="csY914"/>
              </a:cxn>
              <a:cxn ang="0">
                <a:pos x="csX915" y="csY915"/>
              </a:cxn>
              <a:cxn ang="0">
                <a:pos x="csX916" y="csY916"/>
              </a:cxn>
              <a:cxn ang="0">
                <a:pos x="csX917" y="csY917"/>
              </a:cxn>
              <a:cxn ang="0">
                <a:pos x="csX918" y="csY918"/>
              </a:cxn>
              <a:cxn ang="0">
                <a:pos x="csX919" y="csY919"/>
              </a:cxn>
              <a:cxn ang="0">
                <a:pos x="csX920" y="csY920"/>
              </a:cxn>
              <a:cxn ang="0">
                <a:pos x="csX921" y="csY921"/>
              </a:cxn>
              <a:cxn ang="0">
                <a:pos x="csX922" y="csY922"/>
              </a:cxn>
              <a:cxn ang="0">
                <a:pos x="csX923" y="csY923"/>
              </a:cxn>
              <a:cxn ang="0">
                <a:pos x="csX924" y="csY924"/>
              </a:cxn>
              <a:cxn ang="0">
                <a:pos x="csX925" y="csY925"/>
              </a:cxn>
              <a:cxn ang="0">
                <a:pos x="csX926" y="csY926"/>
              </a:cxn>
              <a:cxn ang="0">
                <a:pos x="csX927" y="csY927"/>
              </a:cxn>
              <a:cxn ang="0">
                <a:pos x="csX928" y="csY928"/>
              </a:cxn>
              <a:cxn ang="0">
                <a:pos x="csX929" y="csY929"/>
              </a:cxn>
              <a:cxn ang="0">
                <a:pos x="csX930" y="csY930"/>
              </a:cxn>
              <a:cxn ang="0">
                <a:pos x="csX931" y="csY931"/>
              </a:cxn>
              <a:cxn ang="0">
                <a:pos x="csX932" y="csY932"/>
              </a:cxn>
              <a:cxn ang="0">
                <a:pos x="csX933" y="csY933"/>
              </a:cxn>
              <a:cxn ang="0">
                <a:pos x="csX934" y="csY934"/>
              </a:cxn>
              <a:cxn ang="0">
                <a:pos x="csX935" y="csY935"/>
              </a:cxn>
              <a:cxn ang="0">
                <a:pos x="csX936" y="csY936"/>
              </a:cxn>
              <a:cxn ang="0">
                <a:pos x="csX937" y="csY937"/>
              </a:cxn>
              <a:cxn ang="0">
                <a:pos x="csX938" y="csY938"/>
              </a:cxn>
              <a:cxn ang="0">
                <a:pos x="csX939" y="csY939"/>
              </a:cxn>
              <a:cxn ang="0">
                <a:pos x="csX940" y="csY940"/>
              </a:cxn>
              <a:cxn ang="0">
                <a:pos x="csX941" y="csY941"/>
              </a:cxn>
              <a:cxn ang="0">
                <a:pos x="csX942" y="csY942"/>
              </a:cxn>
              <a:cxn ang="0">
                <a:pos x="csX943" y="csY943"/>
              </a:cxn>
              <a:cxn ang="0">
                <a:pos x="csX944" y="csY944"/>
              </a:cxn>
              <a:cxn ang="0">
                <a:pos x="csX945" y="csY945"/>
              </a:cxn>
              <a:cxn ang="0">
                <a:pos x="csX946" y="csY946"/>
              </a:cxn>
              <a:cxn ang="0">
                <a:pos x="csX947" y="csY947"/>
              </a:cxn>
              <a:cxn ang="0">
                <a:pos x="csX948" y="csY948"/>
              </a:cxn>
              <a:cxn ang="0">
                <a:pos x="csX949" y="csY949"/>
              </a:cxn>
              <a:cxn ang="0">
                <a:pos x="csX950" y="csY950"/>
              </a:cxn>
              <a:cxn ang="0">
                <a:pos x="csX951" y="csY951"/>
              </a:cxn>
              <a:cxn ang="0">
                <a:pos x="csX952" y="csY952"/>
              </a:cxn>
              <a:cxn ang="0">
                <a:pos x="csX953" y="csY953"/>
              </a:cxn>
              <a:cxn ang="0">
                <a:pos x="csX954" y="csY954"/>
              </a:cxn>
              <a:cxn ang="0">
                <a:pos x="csX955" y="csY955"/>
              </a:cxn>
              <a:cxn ang="0">
                <a:pos x="csX956" y="csY956"/>
              </a:cxn>
              <a:cxn ang="0">
                <a:pos x="csX957" y="csY957"/>
              </a:cxn>
              <a:cxn ang="0">
                <a:pos x="csX958" y="csY958"/>
              </a:cxn>
              <a:cxn ang="0">
                <a:pos x="csX959" y="csY959"/>
              </a:cxn>
              <a:cxn ang="0">
                <a:pos x="csX960" y="csY960"/>
              </a:cxn>
              <a:cxn ang="0">
                <a:pos x="csX961" y="csY961"/>
              </a:cxn>
              <a:cxn ang="0">
                <a:pos x="csX962" y="csY962"/>
              </a:cxn>
              <a:cxn ang="0">
                <a:pos x="csX963" y="csY963"/>
              </a:cxn>
              <a:cxn ang="0">
                <a:pos x="csX964" y="csY964"/>
              </a:cxn>
              <a:cxn ang="0">
                <a:pos x="csX965" y="csY965"/>
              </a:cxn>
              <a:cxn ang="0">
                <a:pos x="csX966" y="csY966"/>
              </a:cxn>
              <a:cxn ang="0">
                <a:pos x="csX967" y="csY967"/>
              </a:cxn>
              <a:cxn ang="0">
                <a:pos x="csX968" y="csY968"/>
              </a:cxn>
              <a:cxn ang="0">
                <a:pos x="csX969" y="csY969"/>
              </a:cxn>
              <a:cxn ang="0">
                <a:pos x="csX970" y="csY970"/>
              </a:cxn>
              <a:cxn ang="0">
                <a:pos x="csX971" y="csY971"/>
              </a:cxn>
              <a:cxn ang="0">
                <a:pos x="csX972" y="csY972"/>
              </a:cxn>
              <a:cxn ang="0">
                <a:pos x="csX973" y="csY973"/>
              </a:cxn>
              <a:cxn ang="0">
                <a:pos x="csX974" y="csY974"/>
              </a:cxn>
              <a:cxn ang="0">
                <a:pos x="csX975" y="csY975"/>
              </a:cxn>
              <a:cxn ang="0">
                <a:pos x="csX976" y="csY976"/>
              </a:cxn>
              <a:cxn ang="0">
                <a:pos x="csX977" y="csY977"/>
              </a:cxn>
              <a:cxn ang="0">
                <a:pos x="csX978" y="csY978"/>
              </a:cxn>
              <a:cxn ang="0">
                <a:pos x="csX979" y="csY979"/>
              </a:cxn>
              <a:cxn ang="0">
                <a:pos x="csX980" y="csY980"/>
              </a:cxn>
              <a:cxn ang="0">
                <a:pos x="csX981" y="csY981"/>
              </a:cxn>
              <a:cxn ang="0">
                <a:pos x="csX982" y="csY982"/>
              </a:cxn>
              <a:cxn ang="0">
                <a:pos x="csX983" y="csY983"/>
              </a:cxn>
              <a:cxn ang="0">
                <a:pos x="csX984" y="csY984"/>
              </a:cxn>
              <a:cxn ang="0">
                <a:pos x="csX985" y="csY985"/>
              </a:cxn>
              <a:cxn ang="0">
                <a:pos x="csX986" y="csY986"/>
              </a:cxn>
              <a:cxn ang="0">
                <a:pos x="csX987" y="csY987"/>
              </a:cxn>
              <a:cxn ang="0">
                <a:pos x="csX988" y="csY988"/>
              </a:cxn>
              <a:cxn ang="0">
                <a:pos x="csX989" y="csY989"/>
              </a:cxn>
              <a:cxn ang="0">
                <a:pos x="csX990" y="csY990"/>
              </a:cxn>
              <a:cxn ang="0">
                <a:pos x="csX991" y="csY991"/>
              </a:cxn>
              <a:cxn ang="0">
                <a:pos x="csX992" y="csY992"/>
              </a:cxn>
              <a:cxn ang="0">
                <a:pos x="csX993" y="csY993"/>
              </a:cxn>
              <a:cxn ang="0">
                <a:pos x="csX994" y="csY994"/>
              </a:cxn>
              <a:cxn ang="0">
                <a:pos x="csX995" y="csY995"/>
              </a:cxn>
              <a:cxn ang="0">
                <a:pos x="csX996" y="csY996"/>
              </a:cxn>
              <a:cxn ang="0">
                <a:pos x="csX997" y="csY997"/>
              </a:cxn>
              <a:cxn ang="0">
                <a:pos x="csX998" y="csY998"/>
              </a:cxn>
              <a:cxn ang="0">
                <a:pos x="csX999" y="csY999"/>
              </a:cxn>
              <a:cxn ang="0">
                <a:pos x="csX1000" y="csY1000"/>
              </a:cxn>
              <a:cxn ang="0">
                <a:pos x="csX1001" y="csY1001"/>
              </a:cxn>
              <a:cxn ang="0">
                <a:pos x="csX1002" y="csY1002"/>
              </a:cxn>
              <a:cxn ang="0">
                <a:pos x="csX1003" y="csY1003"/>
              </a:cxn>
              <a:cxn ang="0">
                <a:pos x="csX1004" y="csY1004"/>
              </a:cxn>
              <a:cxn ang="0">
                <a:pos x="csX1005" y="csY1005"/>
              </a:cxn>
              <a:cxn ang="0">
                <a:pos x="csX1006" y="csY1006"/>
              </a:cxn>
              <a:cxn ang="0">
                <a:pos x="csX1007" y="csY1007"/>
              </a:cxn>
              <a:cxn ang="0">
                <a:pos x="csX1008" y="csY1008"/>
              </a:cxn>
              <a:cxn ang="0">
                <a:pos x="csX1009" y="csY1009"/>
              </a:cxn>
              <a:cxn ang="0">
                <a:pos x="csX1010" y="csY1010"/>
              </a:cxn>
              <a:cxn ang="0">
                <a:pos x="csX1011" y="csY1011"/>
              </a:cxn>
              <a:cxn ang="0">
                <a:pos x="csX1012" y="csY1012"/>
              </a:cxn>
              <a:cxn ang="0">
                <a:pos x="csX1013" y="csY1013"/>
              </a:cxn>
              <a:cxn ang="0">
                <a:pos x="csX1014" y="csY1014"/>
              </a:cxn>
              <a:cxn ang="0">
                <a:pos x="csX1015" y="csY1015"/>
              </a:cxn>
              <a:cxn ang="0">
                <a:pos x="csX1016" y="csY1016"/>
              </a:cxn>
              <a:cxn ang="0">
                <a:pos x="csX1017" y="csY1017"/>
              </a:cxn>
              <a:cxn ang="0">
                <a:pos x="csX1018" y="csY1018"/>
              </a:cxn>
              <a:cxn ang="0">
                <a:pos x="csX1019" y="csY1019"/>
              </a:cxn>
              <a:cxn ang="0">
                <a:pos x="csX1020" y="csY1020"/>
              </a:cxn>
              <a:cxn ang="0">
                <a:pos x="csX1021" y="csY1021"/>
              </a:cxn>
              <a:cxn ang="0">
                <a:pos x="csX1022" y="csY1022"/>
              </a:cxn>
              <a:cxn ang="0">
                <a:pos x="csX1023" y="csY1023"/>
              </a:cxn>
              <a:cxn ang="0">
                <a:pos x="csX1024" y="csY1024"/>
              </a:cxn>
              <a:cxn ang="0">
                <a:pos x="csX1025" y="csY1025"/>
              </a:cxn>
              <a:cxn ang="0">
                <a:pos x="csX1026" y="csY1026"/>
              </a:cxn>
              <a:cxn ang="0">
                <a:pos x="csX1027" y="csY1027"/>
              </a:cxn>
              <a:cxn ang="0">
                <a:pos x="csX1028" y="csY1028"/>
              </a:cxn>
              <a:cxn ang="0">
                <a:pos x="csX1029" y="csY1029"/>
              </a:cxn>
              <a:cxn ang="0">
                <a:pos x="csX1030" y="csY1030"/>
              </a:cxn>
              <a:cxn ang="0">
                <a:pos x="csX1031" y="csY1031"/>
              </a:cxn>
              <a:cxn ang="0">
                <a:pos x="csX1032" y="csY1032"/>
              </a:cxn>
              <a:cxn ang="0">
                <a:pos x="csX1033" y="csY1033"/>
              </a:cxn>
              <a:cxn ang="0">
                <a:pos x="csX1034" y="csY1034"/>
              </a:cxn>
              <a:cxn ang="0">
                <a:pos x="csX1035" y="csY1035"/>
              </a:cxn>
              <a:cxn ang="0">
                <a:pos x="csX1036" y="csY1036"/>
              </a:cxn>
              <a:cxn ang="0">
                <a:pos x="csX1037" y="csY1037"/>
              </a:cxn>
              <a:cxn ang="0">
                <a:pos x="csX1038" y="csY1038"/>
              </a:cxn>
              <a:cxn ang="0">
                <a:pos x="csX1039" y="csY1039"/>
              </a:cxn>
              <a:cxn ang="0">
                <a:pos x="csX1040" y="csY1040"/>
              </a:cxn>
              <a:cxn ang="0">
                <a:pos x="csX1041" y="csY1041"/>
              </a:cxn>
              <a:cxn ang="0">
                <a:pos x="csX1042" y="csY1042"/>
              </a:cxn>
              <a:cxn ang="0">
                <a:pos x="csX1043" y="csY1043"/>
              </a:cxn>
              <a:cxn ang="0">
                <a:pos x="csX1044" y="csY1044"/>
              </a:cxn>
              <a:cxn ang="0">
                <a:pos x="csX1045" y="csY1045"/>
              </a:cxn>
              <a:cxn ang="0">
                <a:pos x="csX1046" y="csY1046"/>
              </a:cxn>
              <a:cxn ang="0">
                <a:pos x="csX1047" y="csY1047"/>
              </a:cxn>
              <a:cxn ang="0">
                <a:pos x="csX1048" y="csY1048"/>
              </a:cxn>
              <a:cxn ang="0">
                <a:pos x="csX1049" y="csY1049"/>
              </a:cxn>
              <a:cxn ang="0">
                <a:pos x="csX1050" y="csY1050"/>
              </a:cxn>
              <a:cxn ang="0">
                <a:pos x="csX1051" y="csY1051"/>
              </a:cxn>
              <a:cxn ang="0">
                <a:pos x="csX1052" y="csY1052"/>
              </a:cxn>
              <a:cxn ang="0">
                <a:pos x="csX1053" y="csY1053"/>
              </a:cxn>
              <a:cxn ang="0">
                <a:pos x="csX1054" y="csY1054"/>
              </a:cxn>
            </a:cxnLst>
            <a:rect l="l" t="t" r="r" b="b"/>
            <a:pathLst>
              <a:path w="1609516" h="1538630">
                <a:moveTo>
                  <a:pt x="401579" y="1495809"/>
                </a:moveTo>
                <a:lnTo>
                  <a:pt x="400190" y="1496004"/>
                </a:lnTo>
                <a:lnTo>
                  <a:pt x="401224" y="1496470"/>
                </a:lnTo>
                <a:lnTo>
                  <a:pt x="401224" y="1498590"/>
                </a:lnTo>
                <a:lnTo>
                  <a:pt x="401579" y="1498628"/>
                </a:lnTo>
                <a:cubicBezTo>
                  <a:pt x="401579" y="1497698"/>
                  <a:pt x="401579" y="1496768"/>
                  <a:pt x="401579" y="1495809"/>
                </a:cubicBezTo>
                <a:close/>
                <a:moveTo>
                  <a:pt x="368755" y="1486512"/>
                </a:moveTo>
                <a:lnTo>
                  <a:pt x="364089" y="1487354"/>
                </a:lnTo>
                <a:lnTo>
                  <a:pt x="364089" y="1487908"/>
                </a:lnTo>
                <a:close/>
                <a:moveTo>
                  <a:pt x="1049801" y="1484562"/>
                </a:moveTo>
                <a:lnTo>
                  <a:pt x="1046735" y="1485945"/>
                </a:lnTo>
                <a:lnTo>
                  <a:pt x="1046955" y="1486045"/>
                </a:lnTo>
                <a:lnTo>
                  <a:pt x="1049801" y="1485188"/>
                </a:lnTo>
                <a:close/>
                <a:moveTo>
                  <a:pt x="351234" y="1444508"/>
                </a:moveTo>
                <a:lnTo>
                  <a:pt x="351234" y="1444997"/>
                </a:lnTo>
                <a:lnTo>
                  <a:pt x="351592" y="1445078"/>
                </a:lnTo>
                <a:close/>
                <a:moveTo>
                  <a:pt x="351908" y="1431206"/>
                </a:moveTo>
                <a:lnTo>
                  <a:pt x="351234" y="1431611"/>
                </a:lnTo>
                <a:lnTo>
                  <a:pt x="351234" y="1432274"/>
                </a:lnTo>
                <a:close/>
                <a:moveTo>
                  <a:pt x="358162" y="1421494"/>
                </a:moveTo>
                <a:lnTo>
                  <a:pt x="355921" y="1423156"/>
                </a:lnTo>
                <a:lnTo>
                  <a:pt x="355921" y="1423548"/>
                </a:lnTo>
                <a:close/>
                <a:moveTo>
                  <a:pt x="376098" y="1408347"/>
                </a:moveTo>
                <a:lnTo>
                  <a:pt x="370750" y="1412245"/>
                </a:lnTo>
                <a:lnTo>
                  <a:pt x="375023" y="1411256"/>
                </a:lnTo>
                <a:close/>
                <a:moveTo>
                  <a:pt x="421956" y="1365623"/>
                </a:moveTo>
                <a:lnTo>
                  <a:pt x="421765" y="1366161"/>
                </a:lnTo>
                <a:lnTo>
                  <a:pt x="421887" y="1366161"/>
                </a:lnTo>
                <a:close/>
                <a:moveTo>
                  <a:pt x="754553" y="1360575"/>
                </a:moveTo>
                <a:lnTo>
                  <a:pt x="754089" y="1361433"/>
                </a:lnTo>
                <a:lnTo>
                  <a:pt x="754431" y="1361125"/>
                </a:lnTo>
                <a:close/>
                <a:moveTo>
                  <a:pt x="1277973" y="1332923"/>
                </a:moveTo>
                <a:lnTo>
                  <a:pt x="1277944" y="1332936"/>
                </a:lnTo>
                <a:lnTo>
                  <a:pt x="1277949" y="1333139"/>
                </a:lnTo>
                <a:close/>
                <a:moveTo>
                  <a:pt x="1268556" y="1321066"/>
                </a:moveTo>
                <a:cubicBezTo>
                  <a:pt x="1268556" y="1322461"/>
                  <a:pt x="1268556" y="1323856"/>
                  <a:pt x="1268556" y="1325294"/>
                </a:cubicBezTo>
                <a:cubicBezTo>
                  <a:pt x="1267525" y="1325294"/>
                  <a:pt x="1266495" y="1325294"/>
                  <a:pt x="1265432" y="1325294"/>
                </a:cubicBezTo>
                <a:cubicBezTo>
                  <a:pt x="1265432" y="1330409"/>
                  <a:pt x="1265432" y="1335525"/>
                  <a:pt x="1265432" y="1340795"/>
                </a:cubicBezTo>
                <a:lnTo>
                  <a:pt x="1265476" y="1340714"/>
                </a:lnTo>
                <a:lnTo>
                  <a:pt x="1265476" y="1325877"/>
                </a:lnTo>
                <a:cubicBezTo>
                  <a:pt x="1266507" y="1325877"/>
                  <a:pt x="1267538" y="1325877"/>
                  <a:pt x="1268600" y="1325877"/>
                </a:cubicBezTo>
                <a:cubicBezTo>
                  <a:pt x="1268600" y="1324482"/>
                  <a:pt x="1268600" y="1323086"/>
                  <a:pt x="1268600" y="1321649"/>
                </a:cubicBezTo>
                <a:cubicBezTo>
                  <a:pt x="1270147" y="1321649"/>
                  <a:pt x="1271693" y="1321649"/>
                  <a:pt x="1273286" y="1321649"/>
                </a:cubicBezTo>
                <a:lnTo>
                  <a:pt x="1273227" y="1321066"/>
                </a:lnTo>
                <a:close/>
                <a:moveTo>
                  <a:pt x="827891" y="1291474"/>
                </a:moveTo>
                <a:lnTo>
                  <a:pt x="822601" y="1291544"/>
                </a:lnTo>
                <a:lnTo>
                  <a:pt x="818272" y="1292220"/>
                </a:lnTo>
                <a:lnTo>
                  <a:pt x="827891" y="1292047"/>
                </a:lnTo>
                <a:close/>
                <a:moveTo>
                  <a:pt x="856397" y="1288691"/>
                </a:moveTo>
                <a:lnTo>
                  <a:pt x="865903" y="1290590"/>
                </a:lnTo>
                <a:lnTo>
                  <a:pt x="859999" y="1288752"/>
                </a:lnTo>
                <a:close/>
                <a:moveTo>
                  <a:pt x="834694" y="1288572"/>
                </a:moveTo>
                <a:lnTo>
                  <a:pt x="828038" y="1288654"/>
                </a:lnTo>
                <a:lnTo>
                  <a:pt x="828038" y="1289214"/>
                </a:lnTo>
                <a:close/>
                <a:moveTo>
                  <a:pt x="229746" y="1191418"/>
                </a:moveTo>
                <a:lnTo>
                  <a:pt x="227402" y="1191947"/>
                </a:lnTo>
                <a:lnTo>
                  <a:pt x="229315" y="1191947"/>
                </a:lnTo>
                <a:cubicBezTo>
                  <a:pt x="229315" y="1192877"/>
                  <a:pt x="229315" y="1193807"/>
                  <a:pt x="229315" y="1194765"/>
                </a:cubicBezTo>
                <a:lnTo>
                  <a:pt x="231321" y="1194765"/>
                </a:lnTo>
                <a:lnTo>
                  <a:pt x="229746" y="1194236"/>
                </a:lnTo>
                <a:cubicBezTo>
                  <a:pt x="229746" y="1193306"/>
                  <a:pt x="229746" y="1192376"/>
                  <a:pt x="229746" y="1191418"/>
                </a:cubicBezTo>
                <a:close/>
                <a:moveTo>
                  <a:pt x="215687" y="1187190"/>
                </a:moveTo>
                <a:lnTo>
                  <a:pt x="215198" y="1187720"/>
                </a:lnTo>
                <a:lnTo>
                  <a:pt x="215256" y="1187720"/>
                </a:lnTo>
                <a:cubicBezTo>
                  <a:pt x="215256" y="1189115"/>
                  <a:pt x="215256" y="1190510"/>
                  <a:pt x="215256" y="1191947"/>
                </a:cubicBezTo>
                <a:lnTo>
                  <a:pt x="222721" y="1191947"/>
                </a:lnTo>
                <a:lnTo>
                  <a:pt x="215687" y="1191418"/>
                </a:lnTo>
                <a:cubicBezTo>
                  <a:pt x="215687" y="1190023"/>
                  <a:pt x="215687" y="1188628"/>
                  <a:pt x="215687" y="1187190"/>
                </a:cubicBezTo>
                <a:close/>
                <a:moveTo>
                  <a:pt x="1279678" y="1082356"/>
                </a:moveTo>
                <a:lnTo>
                  <a:pt x="1271680" y="1084589"/>
                </a:lnTo>
                <a:lnTo>
                  <a:pt x="1282181" y="1082544"/>
                </a:lnTo>
                <a:close/>
                <a:moveTo>
                  <a:pt x="117703" y="941507"/>
                </a:moveTo>
                <a:lnTo>
                  <a:pt x="112587" y="941985"/>
                </a:lnTo>
                <a:lnTo>
                  <a:pt x="112565" y="942333"/>
                </a:lnTo>
                <a:lnTo>
                  <a:pt x="115665" y="941837"/>
                </a:lnTo>
                <a:close/>
                <a:moveTo>
                  <a:pt x="144268" y="939395"/>
                </a:moveTo>
                <a:lnTo>
                  <a:pt x="143354" y="939580"/>
                </a:lnTo>
                <a:lnTo>
                  <a:pt x="144077" y="939739"/>
                </a:lnTo>
                <a:close/>
                <a:moveTo>
                  <a:pt x="162575" y="933530"/>
                </a:moveTo>
                <a:lnTo>
                  <a:pt x="161704" y="935101"/>
                </a:lnTo>
                <a:lnTo>
                  <a:pt x="170045" y="933585"/>
                </a:lnTo>
                <a:close/>
                <a:moveTo>
                  <a:pt x="1321645" y="918415"/>
                </a:moveTo>
                <a:lnTo>
                  <a:pt x="1321534" y="920177"/>
                </a:lnTo>
                <a:lnTo>
                  <a:pt x="1321740" y="918415"/>
                </a:lnTo>
                <a:close/>
                <a:moveTo>
                  <a:pt x="1319333" y="915183"/>
                </a:moveTo>
                <a:lnTo>
                  <a:pt x="1318544" y="918029"/>
                </a:lnTo>
                <a:lnTo>
                  <a:pt x="1318702" y="918029"/>
                </a:lnTo>
                <a:close/>
                <a:moveTo>
                  <a:pt x="1326355" y="907109"/>
                </a:moveTo>
                <a:lnTo>
                  <a:pt x="1326355" y="910983"/>
                </a:lnTo>
                <a:lnTo>
                  <a:pt x="1325831" y="911101"/>
                </a:lnTo>
                <a:lnTo>
                  <a:pt x="1326426" y="911369"/>
                </a:lnTo>
                <a:cubicBezTo>
                  <a:pt x="1326426" y="909974"/>
                  <a:pt x="1326426" y="908579"/>
                  <a:pt x="1326426" y="907141"/>
                </a:cubicBezTo>
                <a:close/>
                <a:moveTo>
                  <a:pt x="1328144" y="892192"/>
                </a:moveTo>
                <a:lnTo>
                  <a:pt x="1327667" y="893446"/>
                </a:lnTo>
                <a:lnTo>
                  <a:pt x="1327989" y="893049"/>
                </a:lnTo>
                <a:close/>
                <a:moveTo>
                  <a:pt x="49605" y="887420"/>
                </a:moveTo>
                <a:lnTo>
                  <a:pt x="48549" y="891229"/>
                </a:lnTo>
                <a:lnTo>
                  <a:pt x="49956" y="887420"/>
                </a:lnTo>
                <a:close/>
                <a:moveTo>
                  <a:pt x="1332266" y="883369"/>
                </a:moveTo>
                <a:lnTo>
                  <a:pt x="1329479" y="884207"/>
                </a:lnTo>
                <a:lnTo>
                  <a:pt x="1329509" y="884816"/>
                </a:lnTo>
                <a:lnTo>
                  <a:pt x="1329551" y="884594"/>
                </a:lnTo>
                <a:close/>
                <a:moveTo>
                  <a:pt x="1555987" y="821766"/>
                </a:moveTo>
                <a:lnTo>
                  <a:pt x="1555987" y="822201"/>
                </a:lnTo>
                <a:lnTo>
                  <a:pt x="1556081" y="822189"/>
                </a:lnTo>
                <a:close/>
                <a:moveTo>
                  <a:pt x="1565360" y="810928"/>
                </a:moveTo>
                <a:lnTo>
                  <a:pt x="1564871" y="811809"/>
                </a:lnTo>
                <a:lnTo>
                  <a:pt x="1567314" y="810928"/>
                </a:lnTo>
                <a:close/>
                <a:moveTo>
                  <a:pt x="1563797" y="810928"/>
                </a:moveTo>
                <a:lnTo>
                  <a:pt x="1556762" y="814736"/>
                </a:lnTo>
                <a:lnTo>
                  <a:pt x="1563797" y="812197"/>
                </a:lnTo>
                <a:close/>
                <a:moveTo>
                  <a:pt x="265833" y="806020"/>
                </a:moveTo>
                <a:lnTo>
                  <a:pt x="263704" y="809861"/>
                </a:lnTo>
                <a:lnTo>
                  <a:pt x="263704" y="816750"/>
                </a:lnTo>
                <a:lnTo>
                  <a:pt x="264113" y="816565"/>
                </a:lnTo>
                <a:cubicBezTo>
                  <a:pt x="264048" y="815315"/>
                  <a:pt x="263984" y="814065"/>
                  <a:pt x="263918" y="812777"/>
                </a:cubicBezTo>
                <a:close/>
                <a:moveTo>
                  <a:pt x="263774" y="779374"/>
                </a:moveTo>
                <a:lnTo>
                  <a:pt x="263704" y="783086"/>
                </a:lnTo>
                <a:cubicBezTo>
                  <a:pt x="263961" y="783987"/>
                  <a:pt x="264219" y="784888"/>
                  <a:pt x="264484" y="785816"/>
                </a:cubicBezTo>
                <a:cubicBezTo>
                  <a:pt x="265299" y="788846"/>
                  <a:pt x="265316" y="791337"/>
                  <a:pt x="265265" y="794448"/>
                </a:cubicBezTo>
                <a:cubicBezTo>
                  <a:pt x="265103" y="797155"/>
                  <a:pt x="265022" y="798508"/>
                  <a:pt x="265217" y="799730"/>
                </a:cubicBezTo>
                <a:lnTo>
                  <a:pt x="266556" y="803466"/>
                </a:lnTo>
                <a:lnTo>
                  <a:pt x="267237" y="801063"/>
                </a:lnTo>
                <a:cubicBezTo>
                  <a:pt x="266721" y="800598"/>
                  <a:pt x="266206" y="800133"/>
                  <a:pt x="265675" y="799654"/>
                </a:cubicBezTo>
                <a:cubicBezTo>
                  <a:pt x="265601" y="797718"/>
                  <a:pt x="265617" y="795778"/>
                  <a:pt x="265675" y="793841"/>
                </a:cubicBezTo>
                <a:close/>
                <a:moveTo>
                  <a:pt x="260988" y="770061"/>
                </a:moveTo>
                <a:lnTo>
                  <a:pt x="260988" y="771364"/>
                </a:lnTo>
                <a:lnTo>
                  <a:pt x="263497" y="777263"/>
                </a:lnTo>
                <a:lnTo>
                  <a:pt x="262551" y="770061"/>
                </a:lnTo>
                <a:cubicBezTo>
                  <a:pt x="262035" y="770061"/>
                  <a:pt x="261520" y="770061"/>
                  <a:pt x="260988" y="770061"/>
                </a:cubicBezTo>
                <a:close/>
                <a:moveTo>
                  <a:pt x="157888" y="651686"/>
                </a:moveTo>
                <a:lnTo>
                  <a:pt x="157415" y="651764"/>
                </a:lnTo>
                <a:lnTo>
                  <a:pt x="160373" y="652274"/>
                </a:lnTo>
                <a:close/>
                <a:moveTo>
                  <a:pt x="267237" y="426537"/>
                </a:moveTo>
                <a:lnTo>
                  <a:pt x="267237" y="427619"/>
                </a:lnTo>
                <a:cubicBezTo>
                  <a:pt x="268274" y="427791"/>
                  <a:pt x="269311" y="427961"/>
                  <a:pt x="270380" y="428137"/>
                </a:cubicBezTo>
                <a:lnTo>
                  <a:pt x="273548" y="428680"/>
                </a:lnTo>
                <a:close/>
                <a:moveTo>
                  <a:pt x="37605" y="359270"/>
                </a:moveTo>
                <a:lnTo>
                  <a:pt x="37103" y="361533"/>
                </a:lnTo>
                <a:lnTo>
                  <a:pt x="37605" y="361382"/>
                </a:lnTo>
                <a:close/>
                <a:moveTo>
                  <a:pt x="52477" y="337570"/>
                </a:moveTo>
                <a:lnTo>
                  <a:pt x="47288" y="342340"/>
                </a:lnTo>
                <a:lnTo>
                  <a:pt x="45805" y="345093"/>
                </a:lnTo>
                <a:close/>
                <a:moveTo>
                  <a:pt x="104291" y="336166"/>
                </a:moveTo>
                <a:lnTo>
                  <a:pt x="103776" y="337559"/>
                </a:lnTo>
                <a:lnTo>
                  <a:pt x="108925" y="336166"/>
                </a:lnTo>
                <a:close/>
                <a:moveTo>
                  <a:pt x="1309237" y="322954"/>
                </a:moveTo>
                <a:lnTo>
                  <a:pt x="1309180" y="330559"/>
                </a:lnTo>
                <a:lnTo>
                  <a:pt x="1309237" y="330520"/>
                </a:lnTo>
                <a:close/>
                <a:moveTo>
                  <a:pt x="1308964" y="317715"/>
                </a:moveTo>
                <a:lnTo>
                  <a:pt x="1309237" y="318569"/>
                </a:lnTo>
                <a:lnTo>
                  <a:pt x="1309237" y="317838"/>
                </a:lnTo>
                <a:close/>
                <a:moveTo>
                  <a:pt x="1310087" y="313153"/>
                </a:moveTo>
                <a:lnTo>
                  <a:pt x="1307609" y="313473"/>
                </a:lnTo>
                <a:lnTo>
                  <a:pt x="1308045" y="314836"/>
                </a:lnTo>
                <a:close/>
                <a:moveTo>
                  <a:pt x="1318544" y="312064"/>
                </a:moveTo>
                <a:lnTo>
                  <a:pt x="1316298" y="312353"/>
                </a:lnTo>
                <a:lnTo>
                  <a:pt x="1318544" y="312205"/>
                </a:lnTo>
                <a:close/>
                <a:moveTo>
                  <a:pt x="1084622" y="267674"/>
                </a:moveTo>
                <a:lnTo>
                  <a:pt x="1084227" y="268378"/>
                </a:lnTo>
                <a:cubicBezTo>
                  <a:pt x="1082679" y="268378"/>
                  <a:pt x="1081133" y="268378"/>
                  <a:pt x="1079540" y="268378"/>
                </a:cubicBezTo>
                <a:lnTo>
                  <a:pt x="1079603" y="268477"/>
                </a:lnTo>
                <a:lnTo>
                  <a:pt x="1084192" y="268477"/>
                </a:lnTo>
                <a:close/>
                <a:moveTo>
                  <a:pt x="956410" y="266968"/>
                </a:moveTo>
                <a:lnTo>
                  <a:pt x="957576" y="267083"/>
                </a:lnTo>
                <a:lnTo>
                  <a:pt x="957576" y="269776"/>
                </a:lnTo>
                <a:lnTo>
                  <a:pt x="957694" y="269787"/>
                </a:lnTo>
                <a:cubicBezTo>
                  <a:pt x="957694" y="268857"/>
                  <a:pt x="957694" y="267927"/>
                  <a:pt x="957694" y="266968"/>
                </a:cubicBezTo>
                <a:close/>
                <a:moveTo>
                  <a:pt x="1089372" y="259220"/>
                </a:moveTo>
                <a:lnTo>
                  <a:pt x="1085856" y="265479"/>
                </a:lnTo>
                <a:lnTo>
                  <a:pt x="1088878" y="261431"/>
                </a:lnTo>
                <a:close/>
                <a:moveTo>
                  <a:pt x="1018517" y="223356"/>
                </a:moveTo>
                <a:lnTo>
                  <a:pt x="1013866" y="226190"/>
                </a:lnTo>
                <a:lnTo>
                  <a:pt x="1013024" y="227709"/>
                </a:lnTo>
                <a:lnTo>
                  <a:pt x="1017055" y="224692"/>
                </a:lnTo>
                <a:close/>
                <a:moveTo>
                  <a:pt x="850645" y="220099"/>
                </a:moveTo>
                <a:lnTo>
                  <a:pt x="850897" y="221488"/>
                </a:lnTo>
                <a:cubicBezTo>
                  <a:pt x="851086" y="222545"/>
                  <a:pt x="851275" y="223602"/>
                  <a:pt x="851470" y="224692"/>
                </a:cubicBezTo>
                <a:lnTo>
                  <a:pt x="852860" y="224692"/>
                </a:lnTo>
                <a:close/>
                <a:moveTo>
                  <a:pt x="1155019" y="35"/>
                </a:moveTo>
                <a:cubicBezTo>
                  <a:pt x="1161775" y="275"/>
                  <a:pt x="1168415" y="1783"/>
                  <a:pt x="1174829" y="4853"/>
                </a:cubicBezTo>
                <a:cubicBezTo>
                  <a:pt x="1176343" y="5231"/>
                  <a:pt x="1177858" y="5609"/>
                  <a:pt x="1179418" y="5998"/>
                </a:cubicBezTo>
                <a:cubicBezTo>
                  <a:pt x="1189392" y="9487"/>
                  <a:pt x="1196322" y="14392"/>
                  <a:pt x="1201385" y="22997"/>
                </a:cubicBezTo>
                <a:cubicBezTo>
                  <a:pt x="1206849" y="35244"/>
                  <a:pt x="1206940" y="49865"/>
                  <a:pt x="1201678" y="62191"/>
                </a:cubicBezTo>
                <a:cubicBezTo>
                  <a:pt x="1200594" y="64241"/>
                  <a:pt x="1199461" y="66271"/>
                  <a:pt x="1198261" y="68268"/>
                </a:cubicBezTo>
                <a:cubicBezTo>
                  <a:pt x="1197423" y="69721"/>
                  <a:pt x="1196586" y="71175"/>
                  <a:pt x="1195723" y="72672"/>
                </a:cubicBezTo>
                <a:cubicBezTo>
                  <a:pt x="1194659" y="73980"/>
                  <a:pt x="1194659" y="73980"/>
                  <a:pt x="1193575" y="75314"/>
                </a:cubicBezTo>
                <a:cubicBezTo>
                  <a:pt x="1192544" y="75314"/>
                  <a:pt x="1191512" y="75314"/>
                  <a:pt x="1190450" y="75314"/>
                </a:cubicBezTo>
                <a:cubicBezTo>
                  <a:pt x="1190128" y="76651"/>
                  <a:pt x="1189806" y="77988"/>
                  <a:pt x="1189474" y="79366"/>
                </a:cubicBezTo>
                <a:cubicBezTo>
                  <a:pt x="1187326" y="83769"/>
                  <a:pt x="1187326" y="83769"/>
                  <a:pt x="1182445" y="85707"/>
                </a:cubicBezTo>
                <a:cubicBezTo>
                  <a:pt x="1180962" y="85998"/>
                  <a:pt x="1179480" y="86289"/>
                  <a:pt x="1177953" y="86588"/>
                </a:cubicBezTo>
                <a:cubicBezTo>
                  <a:pt x="1177953" y="87518"/>
                  <a:pt x="1177953" y="88448"/>
                  <a:pt x="1177953" y="89406"/>
                </a:cubicBezTo>
                <a:cubicBezTo>
                  <a:pt x="1175369" y="91088"/>
                  <a:pt x="1172720" y="92688"/>
                  <a:pt x="1170045" y="94251"/>
                </a:cubicBezTo>
                <a:cubicBezTo>
                  <a:pt x="1154651" y="104199"/>
                  <a:pt x="1148918" y="116979"/>
                  <a:pt x="1143806" y="132828"/>
                </a:cubicBezTo>
                <a:cubicBezTo>
                  <a:pt x="1142095" y="137144"/>
                  <a:pt x="1140989" y="138617"/>
                  <a:pt x="1137338" y="141548"/>
                </a:cubicBezTo>
                <a:cubicBezTo>
                  <a:pt x="1136166" y="144148"/>
                  <a:pt x="1134992" y="146751"/>
                  <a:pt x="1133970" y="149403"/>
                </a:cubicBezTo>
                <a:cubicBezTo>
                  <a:pt x="1132069" y="154334"/>
                  <a:pt x="1130006" y="159210"/>
                  <a:pt x="1127965" y="164095"/>
                </a:cubicBezTo>
                <a:cubicBezTo>
                  <a:pt x="1126897" y="166664"/>
                  <a:pt x="1125830" y="169233"/>
                  <a:pt x="1124762" y="171802"/>
                </a:cubicBezTo>
                <a:cubicBezTo>
                  <a:pt x="1122961" y="176134"/>
                  <a:pt x="1121160" y="180466"/>
                  <a:pt x="1119359" y="184798"/>
                </a:cubicBezTo>
                <a:cubicBezTo>
                  <a:pt x="1116567" y="191508"/>
                  <a:pt x="1113778" y="198220"/>
                  <a:pt x="1111014" y="204941"/>
                </a:cubicBezTo>
                <a:cubicBezTo>
                  <a:pt x="1110590" y="205970"/>
                  <a:pt x="1110165" y="206999"/>
                  <a:pt x="1109729" y="208059"/>
                </a:cubicBezTo>
                <a:cubicBezTo>
                  <a:pt x="1108615" y="210762"/>
                  <a:pt x="1107505" y="213466"/>
                  <a:pt x="1106395" y="216170"/>
                </a:cubicBezTo>
                <a:cubicBezTo>
                  <a:pt x="1104320" y="220956"/>
                  <a:pt x="1103283" y="223349"/>
                  <a:pt x="1102147" y="224810"/>
                </a:cubicBezTo>
                <a:lnTo>
                  <a:pt x="1098261" y="227262"/>
                </a:lnTo>
                <a:lnTo>
                  <a:pt x="1098367" y="238475"/>
                </a:lnTo>
                <a:cubicBezTo>
                  <a:pt x="1098025" y="239757"/>
                  <a:pt x="1097684" y="241038"/>
                  <a:pt x="1097331" y="242358"/>
                </a:cubicBezTo>
                <a:cubicBezTo>
                  <a:pt x="1096958" y="243711"/>
                  <a:pt x="1096585" y="245064"/>
                  <a:pt x="1096201" y="246458"/>
                </a:cubicBezTo>
                <a:cubicBezTo>
                  <a:pt x="1093302" y="257363"/>
                  <a:pt x="1090901" y="268062"/>
                  <a:pt x="1089440" y="279206"/>
                </a:cubicBezTo>
                <a:cubicBezTo>
                  <a:pt x="1088878" y="282569"/>
                  <a:pt x="1088878" y="282569"/>
                  <a:pt x="1087316" y="283978"/>
                </a:cubicBezTo>
                <a:cubicBezTo>
                  <a:pt x="1087070" y="286587"/>
                  <a:pt x="1086924" y="289205"/>
                  <a:pt x="1086822" y="291822"/>
                </a:cubicBezTo>
                <a:cubicBezTo>
                  <a:pt x="1086756" y="293408"/>
                  <a:pt x="1086691" y="294993"/>
                  <a:pt x="1086623" y="296625"/>
                </a:cubicBezTo>
                <a:cubicBezTo>
                  <a:pt x="1086562" y="298294"/>
                  <a:pt x="1086501" y="299962"/>
                  <a:pt x="1086437" y="301681"/>
                </a:cubicBezTo>
                <a:cubicBezTo>
                  <a:pt x="1086336" y="304192"/>
                  <a:pt x="1086336" y="304192"/>
                  <a:pt x="1086233" y="306754"/>
                </a:cubicBezTo>
                <a:lnTo>
                  <a:pt x="1086007" y="312619"/>
                </a:lnTo>
                <a:lnTo>
                  <a:pt x="1087470" y="320554"/>
                </a:lnTo>
                <a:cubicBezTo>
                  <a:pt x="1089648" y="325409"/>
                  <a:pt x="1093111" y="329799"/>
                  <a:pt x="1098285" y="334611"/>
                </a:cubicBezTo>
                <a:cubicBezTo>
                  <a:pt x="1100424" y="336130"/>
                  <a:pt x="1100424" y="336130"/>
                  <a:pt x="1102607" y="337679"/>
                </a:cubicBezTo>
                <a:cubicBezTo>
                  <a:pt x="1104334" y="338951"/>
                  <a:pt x="1104334" y="338951"/>
                  <a:pt x="1106095" y="340248"/>
                </a:cubicBezTo>
                <a:cubicBezTo>
                  <a:pt x="1106095" y="341178"/>
                  <a:pt x="1106095" y="342108"/>
                  <a:pt x="1106095" y="343066"/>
                </a:cubicBezTo>
                <a:cubicBezTo>
                  <a:pt x="1107127" y="343183"/>
                  <a:pt x="1108158" y="343299"/>
                  <a:pt x="1109220" y="343419"/>
                </a:cubicBezTo>
                <a:cubicBezTo>
                  <a:pt x="1115473" y="344829"/>
                  <a:pt x="1120724" y="347416"/>
                  <a:pt x="1126403" y="350112"/>
                </a:cubicBezTo>
                <a:cubicBezTo>
                  <a:pt x="1128207" y="350926"/>
                  <a:pt x="1130012" y="351740"/>
                  <a:pt x="1131871" y="352579"/>
                </a:cubicBezTo>
                <a:cubicBezTo>
                  <a:pt x="1133159" y="353160"/>
                  <a:pt x="1134448" y="353741"/>
                  <a:pt x="1135776" y="354340"/>
                </a:cubicBezTo>
                <a:cubicBezTo>
                  <a:pt x="1135776" y="355270"/>
                  <a:pt x="1135776" y="356200"/>
                  <a:pt x="1135776" y="357158"/>
                </a:cubicBezTo>
                <a:cubicBezTo>
                  <a:pt x="1148107" y="360029"/>
                  <a:pt x="1158679" y="359101"/>
                  <a:pt x="1170143" y="354340"/>
                </a:cubicBezTo>
                <a:cubicBezTo>
                  <a:pt x="1172366" y="353468"/>
                  <a:pt x="1172366" y="353468"/>
                  <a:pt x="1174634" y="352579"/>
                </a:cubicBezTo>
                <a:cubicBezTo>
                  <a:pt x="1180354" y="349689"/>
                  <a:pt x="1185568" y="346355"/>
                  <a:pt x="1190890" y="342907"/>
                </a:cubicBezTo>
                <a:cubicBezTo>
                  <a:pt x="1195169" y="340228"/>
                  <a:pt x="1199557" y="337821"/>
                  <a:pt x="1204021" y="335404"/>
                </a:cubicBezTo>
                <a:cubicBezTo>
                  <a:pt x="1211989" y="330886"/>
                  <a:pt x="1217509" y="325766"/>
                  <a:pt x="1223255" y="319110"/>
                </a:cubicBezTo>
                <a:cubicBezTo>
                  <a:pt x="1224447" y="317947"/>
                  <a:pt x="1225639" y="316784"/>
                  <a:pt x="1226868" y="315587"/>
                </a:cubicBezTo>
                <a:cubicBezTo>
                  <a:pt x="1229855" y="311593"/>
                  <a:pt x="1230852" y="308240"/>
                  <a:pt x="1231859" y="303559"/>
                </a:cubicBezTo>
                <a:cubicBezTo>
                  <a:pt x="1232628" y="300790"/>
                  <a:pt x="1232628" y="300790"/>
                  <a:pt x="1234178" y="298059"/>
                </a:cubicBezTo>
                <a:cubicBezTo>
                  <a:pt x="1235964" y="294761"/>
                  <a:pt x="1236623" y="291807"/>
                  <a:pt x="1237314" y="288195"/>
                </a:cubicBezTo>
                <a:cubicBezTo>
                  <a:pt x="1239360" y="278571"/>
                  <a:pt x="1242414" y="272733"/>
                  <a:pt x="1249811" y="265559"/>
                </a:cubicBezTo>
                <a:cubicBezTo>
                  <a:pt x="1250842" y="265559"/>
                  <a:pt x="1251873" y="265559"/>
                  <a:pt x="1252935" y="265559"/>
                </a:cubicBezTo>
                <a:cubicBezTo>
                  <a:pt x="1252935" y="264629"/>
                  <a:pt x="1252935" y="263699"/>
                  <a:pt x="1252935" y="262741"/>
                </a:cubicBezTo>
                <a:cubicBezTo>
                  <a:pt x="1265591" y="253427"/>
                  <a:pt x="1280762" y="251648"/>
                  <a:pt x="1296675" y="252876"/>
                </a:cubicBezTo>
                <a:cubicBezTo>
                  <a:pt x="1300535" y="253563"/>
                  <a:pt x="1303901" y="254478"/>
                  <a:pt x="1307609" y="255695"/>
                </a:cubicBezTo>
                <a:cubicBezTo>
                  <a:pt x="1307609" y="256625"/>
                  <a:pt x="1307609" y="257555"/>
                  <a:pt x="1307609" y="258513"/>
                </a:cubicBezTo>
                <a:cubicBezTo>
                  <a:pt x="1309021" y="258619"/>
                  <a:pt x="1310432" y="258723"/>
                  <a:pt x="1311887" y="258832"/>
                </a:cubicBezTo>
                <a:cubicBezTo>
                  <a:pt x="1319573" y="260476"/>
                  <a:pt x="1322149" y="264416"/>
                  <a:pt x="1326715" y="269969"/>
                </a:cubicBezTo>
                <a:cubicBezTo>
                  <a:pt x="1334402" y="281220"/>
                  <a:pt x="1336114" y="294839"/>
                  <a:pt x="1334165" y="307836"/>
                </a:cubicBezTo>
                <a:cubicBezTo>
                  <a:pt x="1332176" y="311898"/>
                  <a:pt x="1332176" y="311898"/>
                  <a:pt x="1329479" y="314882"/>
                </a:cubicBezTo>
                <a:cubicBezTo>
                  <a:pt x="1327417" y="314882"/>
                  <a:pt x="1325355" y="314882"/>
                  <a:pt x="1323231" y="314882"/>
                </a:cubicBezTo>
                <a:cubicBezTo>
                  <a:pt x="1323231" y="315812"/>
                  <a:pt x="1323231" y="316742"/>
                  <a:pt x="1323231" y="317700"/>
                </a:cubicBezTo>
                <a:lnTo>
                  <a:pt x="1322774" y="317838"/>
                </a:lnTo>
                <a:lnTo>
                  <a:pt x="1323295" y="317838"/>
                </a:lnTo>
                <a:cubicBezTo>
                  <a:pt x="1323295" y="316907"/>
                  <a:pt x="1323295" y="315977"/>
                  <a:pt x="1323295" y="315019"/>
                </a:cubicBezTo>
                <a:cubicBezTo>
                  <a:pt x="1324842" y="315019"/>
                  <a:pt x="1326388" y="315019"/>
                  <a:pt x="1327982" y="315019"/>
                </a:cubicBezTo>
                <a:cubicBezTo>
                  <a:pt x="1325845" y="321328"/>
                  <a:pt x="1322753" y="323742"/>
                  <a:pt x="1317047" y="327702"/>
                </a:cubicBezTo>
                <a:cubicBezTo>
                  <a:pt x="1316531" y="329097"/>
                  <a:pt x="1316016" y="330492"/>
                  <a:pt x="1315484" y="331930"/>
                </a:cubicBezTo>
                <a:cubicBezTo>
                  <a:pt x="1312599" y="332959"/>
                  <a:pt x="1312599" y="332959"/>
                  <a:pt x="1309139" y="333603"/>
                </a:cubicBezTo>
                <a:cubicBezTo>
                  <a:pt x="1307993" y="333827"/>
                  <a:pt x="1306847" y="334050"/>
                  <a:pt x="1305666" y="334280"/>
                </a:cubicBezTo>
                <a:cubicBezTo>
                  <a:pt x="1304783" y="334434"/>
                  <a:pt x="1303899" y="334589"/>
                  <a:pt x="1302988" y="334748"/>
                </a:cubicBezTo>
                <a:lnTo>
                  <a:pt x="1305905" y="332775"/>
                </a:lnTo>
                <a:lnTo>
                  <a:pt x="1304485" y="333202"/>
                </a:lnTo>
                <a:cubicBezTo>
                  <a:pt x="1302987" y="334640"/>
                  <a:pt x="1302987" y="334640"/>
                  <a:pt x="1301459" y="336108"/>
                </a:cubicBezTo>
                <a:cubicBezTo>
                  <a:pt x="1298237" y="338839"/>
                  <a:pt x="1298237" y="338839"/>
                  <a:pt x="1291989" y="338839"/>
                </a:cubicBezTo>
                <a:cubicBezTo>
                  <a:pt x="1291473" y="340234"/>
                  <a:pt x="1290957" y="341629"/>
                  <a:pt x="1290426" y="343066"/>
                </a:cubicBezTo>
                <a:cubicBezTo>
                  <a:pt x="1288879" y="343415"/>
                  <a:pt x="1287333" y="343764"/>
                  <a:pt x="1285740" y="344123"/>
                </a:cubicBezTo>
                <a:cubicBezTo>
                  <a:pt x="1266905" y="348491"/>
                  <a:pt x="1249005" y="369098"/>
                  <a:pt x="1237314" y="382525"/>
                </a:cubicBezTo>
                <a:cubicBezTo>
                  <a:pt x="1235678" y="385783"/>
                  <a:pt x="1234122" y="389075"/>
                  <a:pt x="1232628" y="392389"/>
                </a:cubicBezTo>
                <a:cubicBezTo>
                  <a:pt x="1231317" y="394515"/>
                  <a:pt x="1229981" y="396629"/>
                  <a:pt x="1228625" y="398731"/>
                </a:cubicBezTo>
                <a:cubicBezTo>
                  <a:pt x="1221457" y="410300"/>
                  <a:pt x="1219465" y="421836"/>
                  <a:pt x="1222822" y="434798"/>
                </a:cubicBezTo>
                <a:cubicBezTo>
                  <a:pt x="1229360" y="453710"/>
                  <a:pt x="1244088" y="472467"/>
                  <a:pt x="1260746" y="485398"/>
                </a:cubicBezTo>
                <a:cubicBezTo>
                  <a:pt x="1264961" y="487349"/>
                  <a:pt x="1264961" y="487349"/>
                  <a:pt x="1268556" y="488216"/>
                </a:cubicBezTo>
                <a:cubicBezTo>
                  <a:pt x="1268556" y="489146"/>
                  <a:pt x="1268556" y="490076"/>
                  <a:pt x="1268556" y="491034"/>
                </a:cubicBezTo>
                <a:cubicBezTo>
                  <a:pt x="1288790" y="497071"/>
                  <a:pt x="1319055" y="498555"/>
                  <a:pt x="1338852" y="489625"/>
                </a:cubicBezTo>
                <a:cubicBezTo>
                  <a:pt x="1341711" y="489213"/>
                  <a:pt x="1344575" y="488837"/>
                  <a:pt x="1347444" y="488480"/>
                </a:cubicBezTo>
                <a:cubicBezTo>
                  <a:pt x="1355372" y="487345"/>
                  <a:pt x="1362033" y="485390"/>
                  <a:pt x="1369362" y="482513"/>
                </a:cubicBezTo>
                <a:cubicBezTo>
                  <a:pt x="1375665" y="480318"/>
                  <a:pt x="1382189" y="479322"/>
                  <a:pt x="1388840" y="478351"/>
                </a:cubicBezTo>
                <a:cubicBezTo>
                  <a:pt x="1388840" y="477421"/>
                  <a:pt x="1388840" y="476492"/>
                  <a:pt x="1388840" y="475533"/>
                </a:cubicBezTo>
                <a:cubicBezTo>
                  <a:pt x="1391083" y="474821"/>
                  <a:pt x="1393329" y="474118"/>
                  <a:pt x="1395576" y="473419"/>
                </a:cubicBezTo>
                <a:cubicBezTo>
                  <a:pt x="1396827" y="473027"/>
                  <a:pt x="1398077" y="472635"/>
                  <a:pt x="1399365" y="472230"/>
                </a:cubicBezTo>
                <a:cubicBezTo>
                  <a:pt x="1402899" y="471305"/>
                  <a:pt x="1402899" y="471305"/>
                  <a:pt x="1407585" y="471305"/>
                </a:cubicBezTo>
                <a:cubicBezTo>
                  <a:pt x="1408101" y="469910"/>
                  <a:pt x="1408616" y="468515"/>
                  <a:pt x="1409147" y="467078"/>
                </a:cubicBezTo>
                <a:cubicBezTo>
                  <a:pt x="1412388" y="465580"/>
                  <a:pt x="1412388" y="465580"/>
                  <a:pt x="1416470" y="464259"/>
                </a:cubicBezTo>
                <a:cubicBezTo>
                  <a:pt x="1424029" y="461705"/>
                  <a:pt x="1431130" y="458955"/>
                  <a:pt x="1437949" y="455011"/>
                </a:cubicBezTo>
                <a:cubicBezTo>
                  <a:pt x="1442765" y="452574"/>
                  <a:pt x="1447553" y="451394"/>
                  <a:pt x="1452887" y="450167"/>
                </a:cubicBezTo>
                <a:cubicBezTo>
                  <a:pt x="1452887" y="449237"/>
                  <a:pt x="1452887" y="448307"/>
                  <a:pt x="1452887" y="447349"/>
                </a:cubicBezTo>
                <a:cubicBezTo>
                  <a:pt x="1453714" y="446944"/>
                  <a:pt x="1454541" y="446539"/>
                  <a:pt x="1455394" y="446122"/>
                </a:cubicBezTo>
                <a:cubicBezTo>
                  <a:pt x="1459151" y="444278"/>
                  <a:pt x="1462902" y="442422"/>
                  <a:pt x="1466653" y="440567"/>
                </a:cubicBezTo>
                <a:cubicBezTo>
                  <a:pt x="1467955" y="439930"/>
                  <a:pt x="1469256" y="439293"/>
                  <a:pt x="1470598" y="438637"/>
                </a:cubicBezTo>
                <a:cubicBezTo>
                  <a:pt x="1471852" y="438016"/>
                  <a:pt x="1473105" y="437393"/>
                  <a:pt x="1474397" y="436752"/>
                </a:cubicBezTo>
                <a:cubicBezTo>
                  <a:pt x="1475550" y="436184"/>
                  <a:pt x="1476703" y="435616"/>
                  <a:pt x="1477892" y="435030"/>
                </a:cubicBezTo>
                <a:cubicBezTo>
                  <a:pt x="1480966" y="433279"/>
                  <a:pt x="1483173" y="431373"/>
                  <a:pt x="1485691" y="429029"/>
                </a:cubicBezTo>
                <a:cubicBezTo>
                  <a:pt x="1486737" y="428575"/>
                  <a:pt x="1487781" y="428121"/>
                  <a:pt x="1488858" y="427653"/>
                </a:cubicBezTo>
                <a:cubicBezTo>
                  <a:pt x="1492438" y="425977"/>
                  <a:pt x="1493705" y="424453"/>
                  <a:pt x="1495943" y="421454"/>
                </a:cubicBezTo>
                <a:cubicBezTo>
                  <a:pt x="1507114" y="407544"/>
                  <a:pt x="1519758" y="393513"/>
                  <a:pt x="1538608" y="388338"/>
                </a:cubicBezTo>
                <a:cubicBezTo>
                  <a:pt x="1541025" y="388250"/>
                  <a:pt x="1541025" y="388250"/>
                  <a:pt x="1543490" y="388161"/>
                </a:cubicBezTo>
                <a:cubicBezTo>
                  <a:pt x="1545535" y="387984"/>
                  <a:pt x="1545535" y="387984"/>
                  <a:pt x="1547621" y="387804"/>
                </a:cubicBezTo>
                <a:cubicBezTo>
                  <a:pt x="1560659" y="387094"/>
                  <a:pt x="1568716" y="390117"/>
                  <a:pt x="1579418" y="396617"/>
                </a:cubicBezTo>
                <a:cubicBezTo>
                  <a:pt x="1581361" y="397687"/>
                  <a:pt x="1581361" y="397687"/>
                  <a:pt x="1583342" y="398780"/>
                </a:cubicBezTo>
                <a:cubicBezTo>
                  <a:pt x="1593703" y="405068"/>
                  <a:pt x="1598513" y="412459"/>
                  <a:pt x="1601288" y="423392"/>
                </a:cubicBezTo>
                <a:cubicBezTo>
                  <a:pt x="1603295" y="436596"/>
                  <a:pt x="1603517" y="449033"/>
                  <a:pt x="1594484" y="460159"/>
                </a:cubicBezTo>
                <a:cubicBezTo>
                  <a:pt x="1588468" y="466462"/>
                  <a:pt x="1582607" y="471150"/>
                  <a:pt x="1574732" y="475533"/>
                </a:cubicBezTo>
                <a:cubicBezTo>
                  <a:pt x="1573862" y="476043"/>
                  <a:pt x="1572993" y="476553"/>
                  <a:pt x="1572097" y="477078"/>
                </a:cubicBezTo>
                <a:cubicBezTo>
                  <a:pt x="1566828" y="478935"/>
                  <a:pt x="1561641" y="478744"/>
                  <a:pt x="1556066" y="478737"/>
                </a:cubicBezTo>
                <a:cubicBezTo>
                  <a:pt x="1553587" y="478765"/>
                  <a:pt x="1551109" y="478795"/>
                  <a:pt x="1548631" y="478825"/>
                </a:cubicBezTo>
                <a:cubicBezTo>
                  <a:pt x="1544751" y="478857"/>
                  <a:pt x="1540871" y="478880"/>
                  <a:pt x="1536991" y="478889"/>
                </a:cubicBezTo>
                <a:cubicBezTo>
                  <a:pt x="1516714" y="478693"/>
                  <a:pt x="1516714" y="478693"/>
                  <a:pt x="1498188" y="485398"/>
                </a:cubicBezTo>
                <a:cubicBezTo>
                  <a:pt x="1496062" y="486488"/>
                  <a:pt x="1496062" y="486488"/>
                  <a:pt x="1493892" y="487600"/>
                </a:cubicBezTo>
                <a:cubicBezTo>
                  <a:pt x="1492733" y="488268"/>
                  <a:pt x="1491573" y="488937"/>
                  <a:pt x="1490377" y="489625"/>
                </a:cubicBezTo>
                <a:cubicBezTo>
                  <a:pt x="1484304" y="493012"/>
                  <a:pt x="1478212" y="495675"/>
                  <a:pt x="1471650" y="498185"/>
                </a:cubicBezTo>
                <a:cubicBezTo>
                  <a:pt x="1467148" y="500054"/>
                  <a:pt x="1463242" y="502632"/>
                  <a:pt x="1459135" y="505127"/>
                </a:cubicBezTo>
                <a:cubicBezTo>
                  <a:pt x="1456968" y="506120"/>
                  <a:pt x="1454786" y="507086"/>
                  <a:pt x="1452594" y="508033"/>
                </a:cubicBezTo>
                <a:cubicBezTo>
                  <a:pt x="1444148" y="511772"/>
                  <a:pt x="1435969" y="515903"/>
                  <a:pt x="1427795" y="520100"/>
                </a:cubicBezTo>
                <a:cubicBezTo>
                  <a:pt x="1425784" y="521114"/>
                  <a:pt x="1425784" y="521114"/>
                  <a:pt x="1423733" y="522148"/>
                </a:cubicBezTo>
                <a:cubicBezTo>
                  <a:pt x="1422478" y="522798"/>
                  <a:pt x="1421223" y="523449"/>
                  <a:pt x="1419929" y="524118"/>
                </a:cubicBezTo>
                <a:cubicBezTo>
                  <a:pt x="1418794" y="524701"/>
                  <a:pt x="1417658" y="525283"/>
                  <a:pt x="1416487" y="525883"/>
                </a:cubicBezTo>
                <a:cubicBezTo>
                  <a:pt x="1413349" y="527646"/>
                  <a:pt x="1413349" y="527646"/>
                  <a:pt x="1412271" y="531902"/>
                </a:cubicBezTo>
                <a:cubicBezTo>
                  <a:pt x="1407205" y="535203"/>
                  <a:pt x="1402819" y="536744"/>
                  <a:pt x="1396650" y="537539"/>
                </a:cubicBezTo>
                <a:cubicBezTo>
                  <a:pt x="1396650" y="538469"/>
                  <a:pt x="1396650" y="539399"/>
                  <a:pt x="1396650" y="540357"/>
                </a:cubicBezTo>
                <a:cubicBezTo>
                  <a:pt x="1395609" y="540735"/>
                  <a:pt x="1394568" y="541113"/>
                  <a:pt x="1393495" y="541502"/>
                </a:cubicBezTo>
                <a:cubicBezTo>
                  <a:pt x="1381840" y="545973"/>
                  <a:pt x="1372279" y="551715"/>
                  <a:pt x="1362284" y="558678"/>
                </a:cubicBezTo>
                <a:cubicBezTo>
                  <a:pt x="1360170" y="560088"/>
                  <a:pt x="1358055" y="561497"/>
                  <a:pt x="1355937" y="562905"/>
                </a:cubicBezTo>
                <a:cubicBezTo>
                  <a:pt x="1348556" y="567937"/>
                  <a:pt x="1341292" y="573085"/>
                  <a:pt x="1334165" y="578406"/>
                </a:cubicBezTo>
                <a:cubicBezTo>
                  <a:pt x="1332697" y="579472"/>
                  <a:pt x="1332697" y="579472"/>
                  <a:pt x="1331200" y="580559"/>
                </a:cubicBezTo>
                <a:cubicBezTo>
                  <a:pt x="1325067" y="585430"/>
                  <a:pt x="1323406" y="589771"/>
                  <a:pt x="1322175" y="596793"/>
                </a:cubicBezTo>
                <a:cubicBezTo>
                  <a:pt x="1321669" y="599545"/>
                  <a:pt x="1321669" y="599545"/>
                  <a:pt x="1320106" y="602363"/>
                </a:cubicBezTo>
                <a:cubicBezTo>
                  <a:pt x="1318419" y="618189"/>
                  <a:pt x="1322416" y="632767"/>
                  <a:pt x="1328015" y="647640"/>
                </a:cubicBezTo>
                <a:cubicBezTo>
                  <a:pt x="1331267" y="656625"/>
                  <a:pt x="1333170" y="666179"/>
                  <a:pt x="1332604" y="675643"/>
                </a:cubicBezTo>
                <a:cubicBezTo>
                  <a:pt x="1333634" y="675643"/>
                  <a:pt x="1334665" y="675643"/>
                  <a:pt x="1335727" y="675643"/>
                </a:cubicBezTo>
                <a:cubicBezTo>
                  <a:pt x="1337571" y="680632"/>
                  <a:pt x="1337591" y="684795"/>
                  <a:pt x="1337741" y="690059"/>
                </a:cubicBezTo>
                <a:cubicBezTo>
                  <a:pt x="1337826" y="692114"/>
                  <a:pt x="1337913" y="694168"/>
                  <a:pt x="1338003" y="696222"/>
                </a:cubicBezTo>
                <a:cubicBezTo>
                  <a:pt x="1338142" y="699444"/>
                  <a:pt x="1338266" y="702664"/>
                  <a:pt x="1338340" y="705887"/>
                </a:cubicBezTo>
                <a:cubicBezTo>
                  <a:pt x="1338372" y="720474"/>
                  <a:pt x="1338372" y="720474"/>
                  <a:pt x="1345277" y="733245"/>
                </a:cubicBezTo>
                <a:cubicBezTo>
                  <a:pt x="1350822" y="737861"/>
                  <a:pt x="1355921" y="739823"/>
                  <a:pt x="1363162" y="741612"/>
                </a:cubicBezTo>
                <a:cubicBezTo>
                  <a:pt x="1370672" y="743533"/>
                  <a:pt x="1377197" y="745750"/>
                  <a:pt x="1384154" y="748922"/>
                </a:cubicBezTo>
                <a:cubicBezTo>
                  <a:pt x="1387833" y="749898"/>
                  <a:pt x="1387833" y="749898"/>
                  <a:pt x="1391476" y="750419"/>
                </a:cubicBezTo>
                <a:cubicBezTo>
                  <a:pt x="1393499" y="750747"/>
                  <a:pt x="1393499" y="750747"/>
                  <a:pt x="1395564" y="751080"/>
                </a:cubicBezTo>
                <a:cubicBezTo>
                  <a:pt x="1397648" y="751407"/>
                  <a:pt x="1397648" y="751407"/>
                  <a:pt x="1399775" y="751740"/>
                </a:cubicBezTo>
                <a:cubicBezTo>
                  <a:pt x="1401810" y="752111"/>
                  <a:pt x="1401810" y="752111"/>
                  <a:pt x="1403887" y="752489"/>
                </a:cubicBezTo>
                <a:cubicBezTo>
                  <a:pt x="1424247" y="756131"/>
                  <a:pt x="1444708" y="756350"/>
                  <a:pt x="1465383" y="755969"/>
                </a:cubicBezTo>
                <a:cubicBezTo>
                  <a:pt x="1467019" y="755945"/>
                  <a:pt x="1468654" y="755921"/>
                  <a:pt x="1470339" y="755897"/>
                </a:cubicBezTo>
                <a:cubicBezTo>
                  <a:pt x="1480128" y="755450"/>
                  <a:pt x="1487899" y="752933"/>
                  <a:pt x="1496809" y="749313"/>
                </a:cubicBezTo>
                <a:cubicBezTo>
                  <a:pt x="1502876" y="746888"/>
                  <a:pt x="1509049" y="745091"/>
                  <a:pt x="1515371" y="743285"/>
                </a:cubicBezTo>
                <a:cubicBezTo>
                  <a:pt x="1515371" y="742356"/>
                  <a:pt x="1515371" y="741425"/>
                  <a:pt x="1515371" y="740467"/>
                </a:cubicBezTo>
                <a:cubicBezTo>
                  <a:pt x="1522710" y="737103"/>
                  <a:pt x="1529583" y="737106"/>
                  <a:pt x="1537632" y="737120"/>
                </a:cubicBezTo>
                <a:cubicBezTo>
                  <a:pt x="1538960" y="737122"/>
                  <a:pt x="1540289" y="737124"/>
                  <a:pt x="1541657" y="737127"/>
                </a:cubicBezTo>
                <a:cubicBezTo>
                  <a:pt x="1555502" y="737372"/>
                  <a:pt x="1564314" y="740697"/>
                  <a:pt x="1574732" y="748922"/>
                </a:cubicBezTo>
                <a:cubicBezTo>
                  <a:pt x="1586507" y="762822"/>
                  <a:pt x="1590347" y="775219"/>
                  <a:pt x="1588791" y="792608"/>
                </a:cubicBezTo>
                <a:cubicBezTo>
                  <a:pt x="1587728" y="797050"/>
                  <a:pt x="1586468" y="801261"/>
                  <a:pt x="1584105" y="805291"/>
                </a:cubicBezTo>
                <a:cubicBezTo>
                  <a:pt x="1583074" y="805756"/>
                  <a:pt x="1582043" y="806221"/>
                  <a:pt x="1580981" y="806700"/>
                </a:cubicBezTo>
                <a:cubicBezTo>
                  <a:pt x="1580240" y="807892"/>
                  <a:pt x="1579499" y="809083"/>
                  <a:pt x="1578735" y="810311"/>
                </a:cubicBezTo>
                <a:cubicBezTo>
                  <a:pt x="1577930" y="811445"/>
                  <a:pt x="1577124" y="812579"/>
                  <a:pt x="1576295" y="813746"/>
                </a:cubicBezTo>
                <a:lnTo>
                  <a:pt x="1571652" y="813746"/>
                </a:lnTo>
                <a:lnTo>
                  <a:pt x="1571785" y="814106"/>
                </a:lnTo>
                <a:cubicBezTo>
                  <a:pt x="1572816" y="814571"/>
                  <a:pt x="1573846" y="815036"/>
                  <a:pt x="1574909" y="815515"/>
                </a:cubicBezTo>
                <a:cubicBezTo>
                  <a:pt x="1572126" y="818758"/>
                  <a:pt x="1569968" y="820871"/>
                  <a:pt x="1565463" y="821839"/>
                </a:cubicBezTo>
                <a:lnTo>
                  <a:pt x="1562085" y="822101"/>
                </a:lnTo>
                <a:lnTo>
                  <a:pt x="1551301" y="825020"/>
                </a:lnTo>
                <a:cubicBezTo>
                  <a:pt x="1551301" y="825950"/>
                  <a:pt x="1551301" y="826880"/>
                  <a:pt x="1551301" y="827838"/>
                </a:cubicBezTo>
                <a:cubicBezTo>
                  <a:pt x="1526697" y="828735"/>
                  <a:pt x="1507496" y="825036"/>
                  <a:pt x="1485380" y="815007"/>
                </a:cubicBezTo>
                <a:cubicBezTo>
                  <a:pt x="1468723" y="807743"/>
                  <a:pt x="1449749" y="809144"/>
                  <a:pt x="1431603" y="808726"/>
                </a:cubicBezTo>
                <a:cubicBezTo>
                  <a:pt x="1429115" y="808665"/>
                  <a:pt x="1426627" y="808604"/>
                  <a:pt x="1424140" y="808542"/>
                </a:cubicBezTo>
                <a:cubicBezTo>
                  <a:pt x="1418101" y="808392"/>
                  <a:pt x="1412062" y="808249"/>
                  <a:pt x="1406023" y="808109"/>
                </a:cubicBezTo>
                <a:cubicBezTo>
                  <a:pt x="1406023" y="809040"/>
                  <a:pt x="1406023" y="809970"/>
                  <a:pt x="1406023" y="810928"/>
                </a:cubicBezTo>
                <a:cubicBezTo>
                  <a:pt x="1404716" y="811118"/>
                  <a:pt x="1404716" y="811118"/>
                  <a:pt x="1403383" y="811311"/>
                </a:cubicBezTo>
                <a:cubicBezTo>
                  <a:pt x="1372054" y="815110"/>
                  <a:pt x="1372054" y="815110"/>
                  <a:pt x="1345442" y="828907"/>
                </a:cubicBezTo>
                <a:cubicBezTo>
                  <a:pt x="1338843" y="837605"/>
                  <a:pt x="1338313" y="846434"/>
                  <a:pt x="1337875" y="856639"/>
                </a:cubicBezTo>
                <a:cubicBezTo>
                  <a:pt x="1337815" y="857805"/>
                  <a:pt x="1337754" y="858970"/>
                  <a:pt x="1337692" y="860171"/>
                </a:cubicBezTo>
                <a:cubicBezTo>
                  <a:pt x="1337547" y="863016"/>
                  <a:pt x="1337417" y="865861"/>
                  <a:pt x="1337290" y="868706"/>
                </a:cubicBezTo>
                <a:cubicBezTo>
                  <a:pt x="1336258" y="868706"/>
                  <a:pt x="1335228" y="868706"/>
                  <a:pt x="1334165" y="868706"/>
                </a:cubicBezTo>
                <a:lnTo>
                  <a:pt x="1334165" y="870034"/>
                </a:lnTo>
                <a:lnTo>
                  <a:pt x="1334237" y="869093"/>
                </a:lnTo>
                <a:cubicBezTo>
                  <a:pt x="1334753" y="869093"/>
                  <a:pt x="1335268" y="869093"/>
                  <a:pt x="1335800" y="869093"/>
                </a:cubicBezTo>
                <a:cubicBezTo>
                  <a:pt x="1335884" y="871559"/>
                  <a:pt x="1335944" y="874025"/>
                  <a:pt x="1335995" y="876491"/>
                </a:cubicBezTo>
                <a:cubicBezTo>
                  <a:pt x="1336030" y="877865"/>
                  <a:pt x="1336067" y="879238"/>
                  <a:pt x="1336105" y="880653"/>
                </a:cubicBezTo>
                <a:cubicBezTo>
                  <a:pt x="1335800" y="884594"/>
                  <a:pt x="1335800" y="884594"/>
                  <a:pt x="1334294" y="887271"/>
                </a:cubicBezTo>
                <a:cubicBezTo>
                  <a:pt x="1332567" y="890428"/>
                  <a:pt x="1331982" y="892964"/>
                  <a:pt x="1331455" y="896440"/>
                </a:cubicBezTo>
                <a:cubicBezTo>
                  <a:pt x="1331267" y="897605"/>
                  <a:pt x="1331080" y="898769"/>
                  <a:pt x="1330887" y="899969"/>
                </a:cubicBezTo>
                <a:cubicBezTo>
                  <a:pt x="1330704" y="901174"/>
                  <a:pt x="1330521" y="902378"/>
                  <a:pt x="1330332" y="903618"/>
                </a:cubicBezTo>
                <a:cubicBezTo>
                  <a:pt x="1329968" y="906013"/>
                  <a:pt x="1329594" y="908405"/>
                  <a:pt x="1329209" y="910797"/>
                </a:cubicBezTo>
                <a:cubicBezTo>
                  <a:pt x="1329049" y="911853"/>
                  <a:pt x="1328889" y="912910"/>
                  <a:pt x="1328724" y="913998"/>
                </a:cubicBezTo>
                <a:cubicBezTo>
                  <a:pt x="1327933" y="917233"/>
                  <a:pt x="1326525" y="919703"/>
                  <a:pt x="1324865" y="922643"/>
                </a:cubicBezTo>
                <a:cubicBezTo>
                  <a:pt x="1323924" y="927743"/>
                  <a:pt x="1323282" y="932845"/>
                  <a:pt x="1322619" y="937979"/>
                </a:cubicBezTo>
                <a:lnTo>
                  <a:pt x="1318744" y="944961"/>
                </a:lnTo>
                <a:lnTo>
                  <a:pt x="1318544" y="946213"/>
                </a:lnTo>
                <a:cubicBezTo>
                  <a:pt x="1318360" y="949234"/>
                  <a:pt x="1318271" y="952260"/>
                  <a:pt x="1318251" y="955285"/>
                </a:cubicBezTo>
                <a:cubicBezTo>
                  <a:pt x="1318218" y="957637"/>
                  <a:pt x="1318218" y="957637"/>
                  <a:pt x="1318184" y="960036"/>
                </a:cubicBezTo>
                <a:cubicBezTo>
                  <a:pt x="1318624" y="965530"/>
                  <a:pt x="1319569" y="969724"/>
                  <a:pt x="1324024" y="973660"/>
                </a:cubicBezTo>
                <a:cubicBezTo>
                  <a:pt x="1327197" y="976583"/>
                  <a:pt x="1327950" y="979494"/>
                  <a:pt x="1329284" y="983382"/>
                </a:cubicBezTo>
                <a:cubicBezTo>
                  <a:pt x="1331875" y="990106"/>
                  <a:pt x="1334445" y="993582"/>
                  <a:pt x="1340414" y="998354"/>
                </a:cubicBezTo>
                <a:cubicBezTo>
                  <a:pt x="1342397" y="1000564"/>
                  <a:pt x="1344347" y="1002798"/>
                  <a:pt x="1346272" y="1005048"/>
                </a:cubicBezTo>
                <a:cubicBezTo>
                  <a:pt x="1360055" y="1020713"/>
                  <a:pt x="1376247" y="1031879"/>
                  <a:pt x="1394716" y="1042740"/>
                </a:cubicBezTo>
                <a:cubicBezTo>
                  <a:pt x="1397172" y="1044228"/>
                  <a:pt x="1399581" y="1045779"/>
                  <a:pt x="1401953" y="1047374"/>
                </a:cubicBezTo>
                <a:cubicBezTo>
                  <a:pt x="1410065" y="1052802"/>
                  <a:pt x="1417529" y="1056366"/>
                  <a:pt x="1427197" y="1059061"/>
                </a:cubicBezTo>
                <a:cubicBezTo>
                  <a:pt x="1431243" y="1060437"/>
                  <a:pt x="1434061" y="1061979"/>
                  <a:pt x="1437265" y="1064588"/>
                </a:cubicBezTo>
                <a:cubicBezTo>
                  <a:pt x="1437265" y="1065518"/>
                  <a:pt x="1437265" y="1066448"/>
                  <a:pt x="1437265" y="1067406"/>
                </a:cubicBezTo>
                <a:cubicBezTo>
                  <a:pt x="1439053" y="1067624"/>
                  <a:pt x="1439053" y="1067624"/>
                  <a:pt x="1440878" y="1067847"/>
                </a:cubicBezTo>
                <a:cubicBezTo>
                  <a:pt x="1445076" y="1068815"/>
                  <a:pt x="1445076" y="1068815"/>
                  <a:pt x="1447175" y="1070753"/>
                </a:cubicBezTo>
                <a:cubicBezTo>
                  <a:pt x="1450417" y="1073622"/>
                  <a:pt x="1453781" y="1075060"/>
                  <a:pt x="1457866" y="1076830"/>
                </a:cubicBezTo>
                <a:cubicBezTo>
                  <a:pt x="1459274" y="1077446"/>
                  <a:pt x="1460681" y="1078062"/>
                  <a:pt x="1462132" y="1078696"/>
                </a:cubicBezTo>
                <a:cubicBezTo>
                  <a:pt x="1463204" y="1079156"/>
                  <a:pt x="1464278" y="1079616"/>
                  <a:pt x="1465383" y="1080089"/>
                </a:cubicBezTo>
                <a:cubicBezTo>
                  <a:pt x="1465383" y="1081019"/>
                  <a:pt x="1465383" y="1081949"/>
                  <a:pt x="1465383" y="1082908"/>
                </a:cubicBezTo>
                <a:cubicBezTo>
                  <a:pt x="1466497" y="1083260"/>
                  <a:pt x="1467611" y="1083612"/>
                  <a:pt x="1468758" y="1083975"/>
                </a:cubicBezTo>
                <a:cubicBezTo>
                  <a:pt x="1473648" y="1085905"/>
                  <a:pt x="1477426" y="1088296"/>
                  <a:pt x="1481688" y="1091187"/>
                </a:cubicBezTo>
                <a:cubicBezTo>
                  <a:pt x="1483204" y="1092193"/>
                  <a:pt x="1484721" y="1093200"/>
                  <a:pt x="1486283" y="1094236"/>
                </a:cubicBezTo>
                <a:cubicBezTo>
                  <a:pt x="1489170" y="1096185"/>
                  <a:pt x="1492029" y="1098166"/>
                  <a:pt x="1494869" y="1100171"/>
                </a:cubicBezTo>
                <a:cubicBezTo>
                  <a:pt x="1510181" y="1107906"/>
                  <a:pt x="1527080" y="1109898"/>
                  <a:pt x="1544335" y="1109518"/>
                </a:cubicBezTo>
                <a:cubicBezTo>
                  <a:pt x="1579932" y="1108798"/>
                  <a:pt x="1579932" y="1108798"/>
                  <a:pt x="1593477" y="1119900"/>
                </a:cubicBezTo>
                <a:cubicBezTo>
                  <a:pt x="1600636" y="1127255"/>
                  <a:pt x="1604889" y="1135120"/>
                  <a:pt x="1605975" y="1144913"/>
                </a:cubicBezTo>
                <a:cubicBezTo>
                  <a:pt x="1607006" y="1144913"/>
                  <a:pt x="1608036" y="1144913"/>
                  <a:pt x="1609099" y="1144913"/>
                </a:cubicBezTo>
                <a:cubicBezTo>
                  <a:pt x="1609227" y="1148907"/>
                  <a:pt x="1609319" y="1152897"/>
                  <a:pt x="1609392" y="1156892"/>
                </a:cubicBezTo>
                <a:cubicBezTo>
                  <a:pt x="1609451" y="1158565"/>
                  <a:pt x="1609451" y="1158565"/>
                  <a:pt x="1609511" y="1160272"/>
                </a:cubicBezTo>
                <a:cubicBezTo>
                  <a:pt x="1609621" y="1168378"/>
                  <a:pt x="1607970" y="1174108"/>
                  <a:pt x="1604412" y="1181553"/>
                </a:cubicBezTo>
                <a:cubicBezTo>
                  <a:pt x="1603354" y="1184367"/>
                  <a:pt x="1602306" y="1187183"/>
                  <a:pt x="1601288" y="1190009"/>
                </a:cubicBezTo>
                <a:cubicBezTo>
                  <a:pt x="1600257" y="1190009"/>
                  <a:pt x="1599226" y="1190009"/>
                  <a:pt x="1598164" y="1190009"/>
                </a:cubicBezTo>
                <a:cubicBezTo>
                  <a:pt x="1597842" y="1190910"/>
                  <a:pt x="1597520" y="1191810"/>
                  <a:pt x="1597187" y="1192739"/>
                </a:cubicBezTo>
                <a:cubicBezTo>
                  <a:pt x="1596479" y="1193698"/>
                  <a:pt x="1595770" y="1194657"/>
                  <a:pt x="1595040" y="1195645"/>
                </a:cubicBezTo>
                <a:cubicBezTo>
                  <a:pt x="1591916" y="1196115"/>
                  <a:pt x="1588791" y="1196585"/>
                  <a:pt x="1585667" y="1197055"/>
                </a:cubicBezTo>
                <a:cubicBezTo>
                  <a:pt x="1583871" y="1199826"/>
                  <a:pt x="1583871" y="1199826"/>
                  <a:pt x="1582543" y="1202691"/>
                </a:cubicBezTo>
                <a:cubicBezTo>
                  <a:pt x="1575997" y="1204710"/>
                  <a:pt x="1569266" y="1204360"/>
                  <a:pt x="1562431" y="1204365"/>
                </a:cubicBezTo>
                <a:cubicBezTo>
                  <a:pt x="1561196" y="1204382"/>
                  <a:pt x="1559962" y="1204399"/>
                  <a:pt x="1558690" y="1204417"/>
                </a:cubicBezTo>
                <a:cubicBezTo>
                  <a:pt x="1543339" y="1204452"/>
                  <a:pt x="1531981" y="1199267"/>
                  <a:pt x="1521102" y="1189585"/>
                </a:cubicBezTo>
                <a:cubicBezTo>
                  <a:pt x="1515403" y="1183953"/>
                  <a:pt x="1510116" y="1178123"/>
                  <a:pt x="1505022" y="1172041"/>
                </a:cubicBezTo>
                <a:cubicBezTo>
                  <a:pt x="1493200" y="1158177"/>
                  <a:pt x="1475492" y="1147115"/>
                  <a:pt x="1457573" y="1140686"/>
                </a:cubicBezTo>
                <a:cubicBezTo>
                  <a:pt x="1457573" y="1139755"/>
                  <a:pt x="1457573" y="1138826"/>
                  <a:pt x="1457573" y="1137867"/>
                </a:cubicBezTo>
                <a:cubicBezTo>
                  <a:pt x="1456059" y="1137693"/>
                  <a:pt x="1454544" y="1137518"/>
                  <a:pt x="1452985" y="1137339"/>
                </a:cubicBezTo>
                <a:cubicBezTo>
                  <a:pt x="1451406" y="1137048"/>
                  <a:pt x="1449827" y="1136758"/>
                  <a:pt x="1448200" y="1136458"/>
                </a:cubicBezTo>
                <a:cubicBezTo>
                  <a:pt x="1447685" y="1135528"/>
                  <a:pt x="1447169" y="1134598"/>
                  <a:pt x="1446638" y="1133640"/>
                </a:cubicBezTo>
                <a:cubicBezTo>
                  <a:pt x="1444091" y="1132586"/>
                  <a:pt x="1441535" y="1131550"/>
                  <a:pt x="1438937" y="1130601"/>
                </a:cubicBezTo>
                <a:cubicBezTo>
                  <a:pt x="1435668" y="1129399"/>
                  <a:pt x="1432469" y="1128095"/>
                  <a:pt x="1429260" y="1126770"/>
                </a:cubicBezTo>
                <a:cubicBezTo>
                  <a:pt x="1423389" y="1124389"/>
                  <a:pt x="1417431" y="1122349"/>
                  <a:pt x="1411393" y="1120340"/>
                </a:cubicBezTo>
                <a:cubicBezTo>
                  <a:pt x="1404143" y="1117867"/>
                  <a:pt x="1397842" y="1115090"/>
                  <a:pt x="1391427" y="1111191"/>
                </a:cubicBezTo>
                <a:cubicBezTo>
                  <a:pt x="1388139" y="1109274"/>
                  <a:pt x="1384723" y="1108010"/>
                  <a:pt x="1381029" y="1106865"/>
                </a:cubicBezTo>
                <a:cubicBezTo>
                  <a:pt x="1381029" y="1105934"/>
                  <a:pt x="1381029" y="1105004"/>
                  <a:pt x="1381029" y="1104046"/>
                </a:cubicBezTo>
                <a:cubicBezTo>
                  <a:pt x="1379773" y="1103901"/>
                  <a:pt x="1378516" y="1103755"/>
                  <a:pt x="1377221" y="1103605"/>
                </a:cubicBezTo>
                <a:cubicBezTo>
                  <a:pt x="1370425" y="1102422"/>
                  <a:pt x="1364120" y="1100465"/>
                  <a:pt x="1357597" y="1098409"/>
                </a:cubicBezTo>
                <a:cubicBezTo>
                  <a:pt x="1355761" y="1097857"/>
                  <a:pt x="1353924" y="1097304"/>
                  <a:pt x="1352032" y="1096736"/>
                </a:cubicBezTo>
                <a:cubicBezTo>
                  <a:pt x="1350776" y="1096358"/>
                  <a:pt x="1349519" y="1095980"/>
                  <a:pt x="1348225" y="1095590"/>
                </a:cubicBezTo>
                <a:cubicBezTo>
                  <a:pt x="1348225" y="1094661"/>
                  <a:pt x="1348225" y="1093730"/>
                  <a:pt x="1348225" y="1092772"/>
                </a:cubicBezTo>
                <a:cubicBezTo>
                  <a:pt x="1344616" y="1092307"/>
                  <a:pt x="1341007" y="1091842"/>
                  <a:pt x="1337290" y="1091363"/>
                </a:cubicBezTo>
                <a:cubicBezTo>
                  <a:pt x="1337290" y="1090433"/>
                  <a:pt x="1337290" y="1089503"/>
                  <a:pt x="1337290" y="1088544"/>
                </a:cubicBezTo>
                <a:cubicBezTo>
                  <a:pt x="1334438" y="1088327"/>
                  <a:pt x="1334438" y="1088327"/>
                  <a:pt x="1331529" y="1088104"/>
                </a:cubicBezTo>
                <a:lnTo>
                  <a:pt x="1323297" y="1086611"/>
                </a:lnTo>
                <a:lnTo>
                  <a:pt x="1323297" y="1087618"/>
                </a:lnTo>
                <a:cubicBezTo>
                  <a:pt x="1322139" y="1087517"/>
                  <a:pt x="1320982" y="1087415"/>
                  <a:pt x="1319789" y="1087310"/>
                </a:cubicBezTo>
                <a:cubicBezTo>
                  <a:pt x="1300429" y="1085771"/>
                  <a:pt x="1281330" y="1084680"/>
                  <a:pt x="1262375" y="1089028"/>
                </a:cubicBezTo>
                <a:lnTo>
                  <a:pt x="1258728" y="1088205"/>
                </a:lnTo>
                <a:lnTo>
                  <a:pt x="1246964" y="1091489"/>
                </a:lnTo>
                <a:cubicBezTo>
                  <a:pt x="1237239" y="1097222"/>
                  <a:pt x="1228703" y="1103434"/>
                  <a:pt x="1223224" y="1112865"/>
                </a:cubicBezTo>
                <a:cubicBezTo>
                  <a:pt x="1220867" y="1116643"/>
                  <a:pt x="1217262" y="1119317"/>
                  <a:pt x="1213883" y="1122366"/>
                </a:cubicBezTo>
                <a:cubicBezTo>
                  <a:pt x="1213428" y="1123469"/>
                  <a:pt x="1212973" y="1124572"/>
                  <a:pt x="1212505" y="1125708"/>
                </a:cubicBezTo>
                <a:cubicBezTo>
                  <a:pt x="1210449" y="1130067"/>
                  <a:pt x="1207984" y="1132315"/>
                  <a:pt x="1204180" y="1135561"/>
                </a:cubicBezTo>
                <a:cubicBezTo>
                  <a:pt x="1202879" y="1136695"/>
                  <a:pt x="1201578" y="1137829"/>
                  <a:pt x="1200238" y="1138999"/>
                </a:cubicBezTo>
                <a:cubicBezTo>
                  <a:pt x="1197504" y="1141343"/>
                  <a:pt x="1194765" y="1143684"/>
                  <a:pt x="1192025" y="1146022"/>
                </a:cubicBezTo>
                <a:cubicBezTo>
                  <a:pt x="1181899" y="1154869"/>
                  <a:pt x="1174983" y="1161763"/>
                  <a:pt x="1173945" y="1174749"/>
                </a:cubicBezTo>
                <a:cubicBezTo>
                  <a:pt x="1173902" y="1177369"/>
                  <a:pt x="1173905" y="1179990"/>
                  <a:pt x="1173950" y="1182610"/>
                </a:cubicBezTo>
                <a:cubicBezTo>
                  <a:pt x="1173963" y="1183981"/>
                  <a:pt x="1173975" y="1185352"/>
                  <a:pt x="1173989" y="1186765"/>
                </a:cubicBezTo>
                <a:cubicBezTo>
                  <a:pt x="1174321" y="1197573"/>
                  <a:pt x="1176809" y="1205883"/>
                  <a:pt x="1182640" y="1215374"/>
                </a:cubicBezTo>
                <a:cubicBezTo>
                  <a:pt x="1183703" y="1217509"/>
                  <a:pt x="1184746" y="1219652"/>
                  <a:pt x="1185764" y="1221804"/>
                </a:cubicBezTo>
                <a:cubicBezTo>
                  <a:pt x="1186271" y="1222812"/>
                  <a:pt x="1186779" y="1223821"/>
                  <a:pt x="1187301" y="1224859"/>
                </a:cubicBezTo>
                <a:cubicBezTo>
                  <a:pt x="1188431" y="1227137"/>
                  <a:pt x="1189517" y="1229433"/>
                  <a:pt x="1190573" y="1231740"/>
                </a:cubicBezTo>
                <a:cubicBezTo>
                  <a:pt x="1194650" y="1240409"/>
                  <a:pt x="1199581" y="1247688"/>
                  <a:pt x="1205925" y="1255163"/>
                </a:cubicBezTo>
                <a:cubicBezTo>
                  <a:pt x="1208103" y="1257757"/>
                  <a:pt x="1210188" y="1260417"/>
                  <a:pt x="1212174" y="1263134"/>
                </a:cubicBezTo>
                <a:cubicBezTo>
                  <a:pt x="1218757" y="1272043"/>
                  <a:pt x="1225157" y="1277324"/>
                  <a:pt x="1235556" y="1282538"/>
                </a:cubicBezTo>
                <a:cubicBezTo>
                  <a:pt x="1236652" y="1283161"/>
                  <a:pt x="1237747" y="1283784"/>
                  <a:pt x="1238876" y="1284426"/>
                </a:cubicBezTo>
                <a:cubicBezTo>
                  <a:pt x="1238876" y="1285356"/>
                  <a:pt x="1238876" y="1286287"/>
                  <a:pt x="1238876" y="1287245"/>
                </a:cubicBezTo>
                <a:cubicBezTo>
                  <a:pt x="1239988" y="1287383"/>
                  <a:pt x="1241099" y="1287521"/>
                  <a:pt x="1242245" y="1287663"/>
                </a:cubicBezTo>
                <a:cubicBezTo>
                  <a:pt x="1253043" y="1290072"/>
                  <a:pt x="1264916" y="1297690"/>
                  <a:pt x="1271681" y="1305565"/>
                </a:cubicBezTo>
                <a:lnTo>
                  <a:pt x="1271742" y="1306172"/>
                </a:lnTo>
                <a:lnTo>
                  <a:pt x="1278525" y="1315767"/>
                </a:lnTo>
                <a:cubicBezTo>
                  <a:pt x="1279797" y="1319398"/>
                  <a:pt x="1280365" y="1323346"/>
                  <a:pt x="1281097" y="1327286"/>
                </a:cubicBezTo>
                <a:cubicBezTo>
                  <a:pt x="1281916" y="1337121"/>
                  <a:pt x="1281807" y="1346176"/>
                  <a:pt x="1277973" y="1355470"/>
                </a:cubicBezTo>
                <a:lnTo>
                  <a:pt x="1277460" y="1347025"/>
                </a:lnTo>
                <a:lnTo>
                  <a:pt x="1273531" y="1357991"/>
                </a:lnTo>
                <a:cubicBezTo>
                  <a:pt x="1270940" y="1361892"/>
                  <a:pt x="1267521" y="1365435"/>
                  <a:pt x="1263870" y="1368980"/>
                </a:cubicBezTo>
                <a:cubicBezTo>
                  <a:pt x="1258351" y="1372929"/>
                  <a:pt x="1253850" y="1376026"/>
                  <a:pt x="1246686" y="1376026"/>
                </a:cubicBezTo>
                <a:cubicBezTo>
                  <a:pt x="1246686" y="1376956"/>
                  <a:pt x="1246686" y="1377886"/>
                  <a:pt x="1246686" y="1378844"/>
                </a:cubicBezTo>
                <a:cubicBezTo>
                  <a:pt x="1241676" y="1379009"/>
                  <a:pt x="1236665" y="1379109"/>
                  <a:pt x="1231651" y="1379196"/>
                </a:cubicBezTo>
                <a:cubicBezTo>
                  <a:pt x="1230240" y="1379244"/>
                  <a:pt x="1228828" y="1379291"/>
                  <a:pt x="1227373" y="1379340"/>
                </a:cubicBezTo>
                <a:cubicBezTo>
                  <a:pt x="1218287" y="1379460"/>
                  <a:pt x="1213363" y="1378568"/>
                  <a:pt x="1206071" y="1373207"/>
                </a:cubicBezTo>
                <a:cubicBezTo>
                  <a:pt x="1204751" y="1372742"/>
                  <a:pt x="1203430" y="1372277"/>
                  <a:pt x="1202069" y="1371798"/>
                </a:cubicBezTo>
                <a:cubicBezTo>
                  <a:pt x="1193777" y="1368730"/>
                  <a:pt x="1188124" y="1363294"/>
                  <a:pt x="1184104" y="1356176"/>
                </a:cubicBezTo>
                <a:cubicBezTo>
                  <a:pt x="1180965" y="1349259"/>
                  <a:pt x="1178852" y="1342590"/>
                  <a:pt x="1177270" y="1335247"/>
                </a:cubicBezTo>
                <a:cubicBezTo>
                  <a:pt x="1175525" y="1327352"/>
                  <a:pt x="1172911" y="1320677"/>
                  <a:pt x="1169002" y="1313464"/>
                </a:cubicBezTo>
                <a:cubicBezTo>
                  <a:pt x="1166989" y="1309737"/>
                  <a:pt x="1165215" y="1305976"/>
                  <a:pt x="1163504" y="1302130"/>
                </a:cubicBezTo>
                <a:cubicBezTo>
                  <a:pt x="1163013" y="1301027"/>
                  <a:pt x="1162521" y="1299924"/>
                  <a:pt x="1162015" y="1298788"/>
                </a:cubicBezTo>
                <a:cubicBezTo>
                  <a:pt x="1160770" y="1295700"/>
                  <a:pt x="1160770" y="1295700"/>
                  <a:pt x="1160111" y="1292656"/>
                </a:cubicBezTo>
                <a:cubicBezTo>
                  <a:pt x="1159345" y="1289507"/>
                  <a:pt x="1159345" y="1289507"/>
                  <a:pt x="1154522" y="1287245"/>
                </a:cubicBezTo>
                <a:cubicBezTo>
                  <a:pt x="1153465" y="1284902"/>
                  <a:pt x="1152426" y="1282552"/>
                  <a:pt x="1151398" y="1280199"/>
                </a:cubicBezTo>
                <a:cubicBezTo>
                  <a:pt x="1149056" y="1276983"/>
                  <a:pt x="1146686" y="1273874"/>
                  <a:pt x="1144173" y="1270774"/>
                </a:cubicBezTo>
                <a:cubicBezTo>
                  <a:pt x="1143477" y="1269912"/>
                  <a:pt x="1142782" y="1269049"/>
                  <a:pt x="1142065" y="1268160"/>
                </a:cubicBezTo>
                <a:cubicBezTo>
                  <a:pt x="1139981" y="1265589"/>
                  <a:pt x="1137880" y="1263029"/>
                  <a:pt x="1135776" y="1260470"/>
                </a:cubicBezTo>
                <a:cubicBezTo>
                  <a:pt x="1134647" y="1259076"/>
                  <a:pt x="1133517" y="1257683"/>
                  <a:pt x="1132353" y="1256247"/>
                </a:cubicBezTo>
                <a:cubicBezTo>
                  <a:pt x="1126291" y="1249045"/>
                  <a:pt x="1121408" y="1244606"/>
                  <a:pt x="1112344" y="1240741"/>
                </a:cubicBezTo>
                <a:cubicBezTo>
                  <a:pt x="1110285" y="1239698"/>
                  <a:pt x="1108234" y="1238642"/>
                  <a:pt x="1106193" y="1237570"/>
                </a:cubicBezTo>
                <a:cubicBezTo>
                  <a:pt x="1104615" y="1236756"/>
                  <a:pt x="1103036" y="1235942"/>
                  <a:pt x="1101409" y="1235104"/>
                </a:cubicBezTo>
                <a:cubicBezTo>
                  <a:pt x="1101409" y="1233708"/>
                  <a:pt x="1101409" y="1232313"/>
                  <a:pt x="1101409" y="1230876"/>
                </a:cubicBezTo>
                <a:cubicBezTo>
                  <a:pt x="1089553" y="1230876"/>
                  <a:pt x="1077697" y="1230876"/>
                  <a:pt x="1065480" y="1230876"/>
                </a:cubicBezTo>
                <a:cubicBezTo>
                  <a:pt x="1064965" y="1232271"/>
                  <a:pt x="1064450" y="1233666"/>
                  <a:pt x="1063919" y="1235104"/>
                </a:cubicBezTo>
                <a:cubicBezTo>
                  <a:pt x="1062372" y="1235104"/>
                  <a:pt x="1060826" y="1235104"/>
                  <a:pt x="1059232" y="1235104"/>
                </a:cubicBezTo>
                <a:cubicBezTo>
                  <a:pt x="1059232" y="1236033"/>
                  <a:pt x="1059232" y="1236964"/>
                  <a:pt x="1059232" y="1237922"/>
                </a:cubicBezTo>
                <a:cubicBezTo>
                  <a:pt x="1052964" y="1240850"/>
                  <a:pt x="1046842" y="1243613"/>
                  <a:pt x="1040194" y="1245761"/>
                </a:cubicBezTo>
                <a:cubicBezTo>
                  <a:pt x="1036552" y="1246941"/>
                  <a:pt x="1033682" y="1248088"/>
                  <a:pt x="1030333" y="1249901"/>
                </a:cubicBezTo>
                <a:cubicBezTo>
                  <a:pt x="1025129" y="1252717"/>
                  <a:pt x="1019615" y="1254371"/>
                  <a:pt x="1013931" y="1256242"/>
                </a:cubicBezTo>
                <a:cubicBezTo>
                  <a:pt x="1009870" y="1257688"/>
                  <a:pt x="1008221" y="1258277"/>
                  <a:pt x="1005925" y="1261615"/>
                </a:cubicBezTo>
                <a:cubicBezTo>
                  <a:pt x="1005474" y="1262632"/>
                  <a:pt x="1005023" y="1263649"/>
                  <a:pt x="1004558" y="1264697"/>
                </a:cubicBezTo>
                <a:cubicBezTo>
                  <a:pt x="1004030" y="1265774"/>
                  <a:pt x="1003503" y="1266852"/>
                  <a:pt x="1002959" y="1267961"/>
                </a:cubicBezTo>
                <a:cubicBezTo>
                  <a:pt x="1001408" y="1271808"/>
                  <a:pt x="1000922" y="1274896"/>
                  <a:pt x="1000653" y="1278965"/>
                </a:cubicBezTo>
                <a:cubicBezTo>
                  <a:pt x="1000303" y="1284158"/>
                  <a:pt x="999467" y="1289055"/>
                  <a:pt x="998297" y="1294137"/>
                </a:cubicBezTo>
                <a:cubicBezTo>
                  <a:pt x="996204" y="1304306"/>
                  <a:pt x="996129" y="1314460"/>
                  <a:pt x="996162" y="1324765"/>
                </a:cubicBezTo>
                <a:cubicBezTo>
                  <a:pt x="996163" y="1325782"/>
                  <a:pt x="996163" y="1326799"/>
                  <a:pt x="996164" y="1327846"/>
                </a:cubicBezTo>
                <a:cubicBezTo>
                  <a:pt x="996263" y="1353742"/>
                  <a:pt x="1001081" y="1378188"/>
                  <a:pt x="1007780" y="1403329"/>
                </a:cubicBezTo>
                <a:cubicBezTo>
                  <a:pt x="1008163" y="1404772"/>
                  <a:pt x="1008546" y="1406215"/>
                  <a:pt x="1008940" y="1407701"/>
                </a:cubicBezTo>
                <a:cubicBezTo>
                  <a:pt x="1009316" y="1409030"/>
                  <a:pt x="1009693" y="1410360"/>
                  <a:pt x="1010080" y="1411730"/>
                </a:cubicBezTo>
                <a:cubicBezTo>
                  <a:pt x="1010409" y="1412900"/>
                  <a:pt x="1010737" y="1414071"/>
                  <a:pt x="1011075" y="1415277"/>
                </a:cubicBezTo>
                <a:cubicBezTo>
                  <a:pt x="1012501" y="1418612"/>
                  <a:pt x="1014136" y="1420168"/>
                  <a:pt x="1017055" y="1422530"/>
                </a:cubicBezTo>
                <a:cubicBezTo>
                  <a:pt x="1018770" y="1425162"/>
                  <a:pt x="1018770" y="1425162"/>
                  <a:pt x="1020277" y="1427991"/>
                </a:cubicBezTo>
                <a:cubicBezTo>
                  <a:pt x="1020778" y="1428917"/>
                  <a:pt x="1021280" y="1429844"/>
                  <a:pt x="1021796" y="1430798"/>
                </a:cubicBezTo>
                <a:cubicBezTo>
                  <a:pt x="1023303" y="1433804"/>
                  <a:pt x="1023303" y="1433804"/>
                  <a:pt x="1024579" y="1437239"/>
                </a:cubicBezTo>
                <a:cubicBezTo>
                  <a:pt x="1026915" y="1441803"/>
                  <a:pt x="1030098" y="1444534"/>
                  <a:pt x="1034043" y="1448072"/>
                </a:cubicBezTo>
                <a:lnTo>
                  <a:pt x="1043782" y="1464320"/>
                </a:lnTo>
                <a:lnTo>
                  <a:pt x="1050458" y="1472189"/>
                </a:lnTo>
                <a:cubicBezTo>
                  <a:pt x="1051737" y="1475181"/>
                  <a:pt x="1052277" y="1478513"/>
                  <a:pt x="1052926" y="1482370"/>
                </a:cubicBezTo>
                <a:cubicBezTo>
                  <a:pt x="1053325" y="1487224"/>
                  <a:pt x="1053364" y="1492038"/>
                  <a:pt x="1053316" y="1496903"/>
                </a:cubicBezTo>
                <a:cubicBezTo>
                  <a:pt x="1053328" y="1498142"/>
                  <a:pt x="1053340" y="1499382"/>
                  <a:pt x="1053352" y="1500660"/>
                </a:cubicBezTo>
                <a:cubicBezTo>
                  <a:pt x="1053348" y="1501856"/>
                  <a:pt x="1053344" y="1503052"/>
                  <a:pt x="1053341" y="1504285"/>
                </a:cubicBezTo>
                <a:cubicBezTo>
                  <a:pt x="1053336" y="1505355"/>
                  <a:pt x="1053333" y="1506426"/>
                  <a:pt x="1053329" y="1507529"/>
                </a:cubicBezTo>
                <a:cubicBezTo>
                  <a:pt x="1052876" y="1510927"/>
                  <a:pt x="1051672" y="1513237"/>
                  <a:pt x="1049801" y="1516192"/>
                </a:cubicBezTo>
                <a:lnTo>
                  <a:pt x="1047312" y="1516192"/>
                </a:lnTo>
                <a:lnTo>
                  <a:pt x="1043611" y="1522585"/>
                </a:lnTo>
                <a:cubicBezTo>
                  <a:pt x="1035301" y="1529631"/>
                  <a:pt x="1035301" y="1529631"/>
                  <a:pt x="1029552" y="1529631"/>
                </a:cubicBezTo>
                <a:cubicBezTo>
                  <a:pt x="1029294" y="1530503"/>
                  <a:pt x="1029036" y="1531375"/>
                  <a:pt x="1028771" y="1532273"/>
                </a:cubicBezTo>
                <a:cubicBezTo>
                  <a:pt x="1025795" y="1536076"/>
                  <a:pt x="1022970" y="1536733"/>
                  <a:pt x="1018013" y="1537640"/>
                </a:cubicBezTo>
                <a:cubicBezTo>
                  <a:pt x="1005216" y="1539038"/>
                  <a:pt x="992573" y="1539816"/>
                  <a:pt x="981126" y="1533859"/>
                </a:cubicBezTo>
                <a:cubicBezTo>
                  <a:pt x="979840" y="1533226"/>
                  <a:pt x="978553" y="1532594"/>
                  <a:pt x="977227" y="1531943"/>
                </a:cubicBezTo>
                <a:cubicBezTo>
                  <a:pt x="965286" y="1525877"/>
                  <a:pt x="959626" y="1520520"/>
                  <a:pt x="955376" y="1508751"/>
                </a:cubicBezTo>
                <a:cubicBezTo>
                  <a:pt x="954571" y="1505674"/>
                  <a:pt x="954571" y="1505674"/>
                  <a:pt x="954571" y="1500037"/>
                </a:cubicBezTo>
                <a:cubicBezTo>
                  <a:pt x="953539" y="1500037"/>
                  <a:pt x="952508" y="1500037"/>
                  <a:pt x="951446" y="1500037"/>
                </a:cubicBezTo>
                <a:cubicBezTo>
                  <a:pt x="951361" y="1495986"/>
                  <a:pt x="951299" y="1491935"/>
                  <a:pt x="951251" y="1487883"/>
                </a:cubicBezTo>
                <a:cubicBezTo>
                  <a:pt x="951224" y="1486744"/>
                  <a:pt x="951198" y="1485605"/>
                  <a:pt x="951171" y="1484431"/>
                </a:cubicBezTo>
                <a:cubicBezTo>
                  <a:pt x="951110" y="1477657"/>
                  <a:pt x="952093" y="1472660"/>
                  <a:pt x="954571" y="1466216"/>
                </a:cubicBezTo>
                <a:cubicBezTo>
                  <a:pt x="954867" y="1462451"/>
                  <a:pt x="955016" y="1458876"/>
                  <a:pt x="954961" y="1455118"/>
                </a:cubicBezTo>
                <a:cubicBezTo>
                  <a:pt x="954951" y="1454080"/>
                  <a:pt x="954942" y="1453042"/>
                  <a:pt x="954932" y="1451972"/>
                </a:cubicBezTo>
                <a:cubicBezTo>
                  <a:pt x="954606" y="1435235"/>
                  <a:pt x="952568" y="1419050"/>
                  <a:pt x="945099" y="1403594"/>
                </a:cubicBezTo>
                <a:cubicBezTo>
                  <a:pt x="943714" y="1400177"/>
                  <a:pt x="943046" y="1397128"/>
                  <a:pt x="942366" y="1393553"/>
                </a:cubicBezTo>
                <a:cubicBezTo>
                  <a:pt x="940837" y="1386134"/>
                  <a:pt x="937840" y="1379609"/>
                  <a:pt x="934451" y="1372734"/>
                </a:cubicBezTo>
                <a:cubicBezTo>
                  <a:pt x="932701" y="1368980"/>
                  <a:pt x="932701" y="1368980"/>
                  <a:pt x="931974" y="1365754"/>
                </a:cubicBezTo>
                <a:cubicBezTo>
                  <a:pt x="931699" y="1364958"/>
                  <a:pt x="931422" y="1364162"/>
                  <a:pt x="931138" y="1363343"/>
                </a:cubicBezTo>
                <a:cubicBezTo>
                  <a:pt x="929592" y="1362878"/>
                  <a:pt x="928045" y="1362413"/>
                  <a:pt x="926452" y="1361933"/>
                </a:cubicBezTo>
                <a:cubicBezTo>
                  <a:pt x="921830" y="1355261"/>
                  <a:pt x="920323" y="1348382"/>
                  <a:pt x="918641" y="1340795"/>
                </a:cubicBezTo>
                <a:cubicBezTo>
                  <a:pt x="918133" y="1338914"/>
                  <a:pt x="917616" y="1337034"/>
                  <a:pt x="917079" y="1335158"/>
                </a:cubicBezTo>
                <a:cubicBezTo>
                  <a:pt x="916048" y="1335158"/>
                  <a:pt x="915018" y="1335158"/>
                  <a:pt x="913955" y="1335158"/>
                </a:cubicBezTo>
                <a:cubicBezTo>
                  <a:pt x="913329" y="1333718"/>
                  <a:pt x="912703" y="1332277"/>
                  <a:pt x="912057" y="1330793"/>
                </a:cubicBezTo>
                <a:cubicBezTo>
                  <a:pt x="909497" y="1325424"/>
                  <a:pt x="906114" y="1320822"/>
                  <a:pt x="902142" y="1316222"/>
                </a:cubicBezTo>
                <a:cubicBezTo>
                  <a:pt x="901465" y="1315432"/>
                  <a:pt x="900788" y="1314642"/>
                  <a:pt x="900091" y="1313828"/>
                </a:cubicBezTo>
                <a:cubicBezTo>
                  <a:pt x="893705" y="1306618"/>
                  <a:pt x="886350" y="1301049"/>
                  <a:pt x="878026" y="1295700"/>
                </a:cubicBezTo>
                <a:cubicBezTo>
                  <a:pt x="876595" y="1294594"/>
                  <a:pt x="876595" y="1294594"/>
                  <a:pt x="875134" y="1293465"/>
                </a:cubicBezTo>
                <a:lnTo>
                  <a:pt x="869869" y="1291826"/>
                </a:lnTo>
                <a:lnTo>
                  <a:pt x="862384" y="1291327"/>
                </a:lnTo>
                <a:cubicBezTo>
                  <a:pt x="856441" y="1290067"/>
                  <a:pt x="850461" y="1290346"/>
                  <a:pt x="844390" y="1290461"/>
                </a:cubicBezTo>
                <a:cubicBezTo>
                  <a:pt x="842453" y="1290480"/>
                  <a:pt x="842453" y="1290480"/>
                  <a:pt x="840476" y="1290500"/>
                </a:cubicBezTo>
                <a:cubicBezTo>
                  <a:pt x="837322" y="1290532"/>
                  <a:pt x="834169" y="1290583"/>
                  <a:pt x="831015" y="1290637"/>
                </a:cubicBezTo>
                <a:cubicBezTo>
                  <a:pt x="831015" y="1291568"/>
                  <a:pt x="831015" y="1292498"/>
                  <a:pt x="831015" y="1293456"/>
                </a:cubicBezTo>
                <a:cubicBezTo>
                  <a:pt x="826519" y="1294808"/>
                  <a:pt x="822922" y="1295235"/>
                  <a:pt x="818225" y="1295570"/>
                </a:cubicBezTo>
                <a:lnTo>
                  <a:pt x="796774" y="1297671"/>
                </a:lnTo>
                <a:lnTo>
                  <a:pt x="783646" y="1305736"/>
                </a:lnTo>
                <a:cubicBezTo>
                  <a:pt x="776915" y="1312506"/>
                  <a:pt x="772692" y="1318638"/>
                  <a:pt x="769263" y="1327143"/>
                </a:cubicBezTo>
                <a:cubicBezTo>
                  <a:pt x="767116" y="1332340"/>
                  <a:pt x="767116" y="1332340"/>
                  <a:pt x="764797" y="1334360"/>
                </a:cubicBezTo>
                <a:lnTo>
                  <a:pt x="757875" y="1353503"/>
                </a:lnTo>
                <a:lnTo>
                  <a:pt x="755676" y="1367455"/>
                </a:lnTo>
                <a:lnTo>
                  <a:pt x="750558" y="1399690"/>
                </a:lnTo>
                <a:lnTo>
                  <a:pt x="753057" y="1411256"/>
                </a:lnTo>
                <a:cubicBezTo>
                  <a:pt x="753057" y="1413117"/>
                  <a:pt x="753057" y="1414976"/>
                  <a:pt x="753057" y="1416893"/>
                </a:cubicBezTo>
                <a:cubicBezTo>
                  <a:pt x="754087" y="1416893"/>
                  <a:pt x="755119" y="1416893"/>
                  <a:pt x="756181" y="1416893"/>
                </a:cubicBezTo>
                <a:cubicBezTo>
                  <a:pt x="759348" y="1422607"/>
                  <a:pt x="758101" y="1429902"/>
                  <a:pt x="758133" y="1436182"/>
                </a:cubicBezTo>
                <a:cubicBezTo>
                  <a:pt x="758182" y="1438458"/>
                  <a:pt x="758182" y="1438458"/>
                  <a:pt x="758231" y="1440781"/>
                </a:cubicBezTo>
                <a:cubicBezTo>
                  <a:pt x="758283" y="1450271"/>
                  <a:pt x="758174" y="1458360"/>
                  <a:pt x="750713" y="1465704"/>
                </a:cubicBezTo>
                <a:cubicBezTo>
                  <a:pt x="749940" y="1466193"/>
                  <a:pt x="749167" y="1466681"/>
                  <a:pt x="748370" y="1467185"/>
                </a:cubicBezTo>
                <a:cubicBezTo>
                  <a:pt x="743665" y="1470047"/>
                  <a:pt x="743665" y="1470047"/>
                  <a:pt x="741633" y="1473526"/>
                </a:cubicBezTo>
                <a:cubicBezTo>
                  <a:pt x="737793" y="1477248"/>
                  <a:pt x="733582" y="1477483"/>
                  <a:pt x="728154" y="1478343"/>
                </a:cubicBezTo>
                <a:cubicBezTo>
                  <a:pt x="724855" y="1478778"/>
                  <a:pt x="724855" y="1478778"/>
                  <a:pt x="721814" y="1480308"/>
                </a:cubicBezTo>
                <a:cubicBezTo>
                  <a:pt x="717303" y="1480523"/>
                  <a:pt x="712854" y="1480634"/>
                  <a:pt x="708341" y="1480661"/>
                </a:cubicBezTo>
                <a:cubicBezTo>
                  <a:pt x="707118" y="1480690"/>
                  <a:pt x="705896" y="1480719"/>
                  <a:pt x="704637" y="1480748"/>
                </a:cubicBezTo>
                <a:cubicBezTo>
                  <a:pt x="690446" y="1480834"/>
                  <a:pt x="679632" y="1476246"/>
                  <a:pt x="668507" y="1468418"/>
                </a:cubicBezTo>
                <a:cubicBezTo>
                  <a:pt x="662823" y="1463224"/>
                  <a:pt x="661745" y="1456995"/>
                  <a:pt x="660178" y="1450027"/>
                </a:cubicBezTo>
                <a:cubicBezTo>
                  <a:pt x="659725" y="1446589"/>
                  <a:pt x="659725" y="1446589"/>
                  <a:pt x="657767" y="1445078"/>
                </a:cubicBezTo>
                <a:cubicBezTo>
                  <a:pt x="656859" y="1433686"/>
                  <a:pt x="655965" y="1419178"/>
                  <a:pt x="663369" y="1409390"/>
                </a:cubicBezTo>
                <a:cubicBezTo>
                  <a:pt x="666078" y="1406601"/>
                  <a:pt x="668921" y="1404013"/>
                  <a:pt x="671826" y="1401392"/>
                </a:cubicBezTo>
                <a:cubicBezTo>
                  <a:pt x="675197" y="1397623"/>
                  <a:pt x="677125" y="1394916"/>
                  <a:pt x="678075" y="1390118"/>
                </a:cubicBezTo>
                <a:cubicBezTo>
                  <a:pt x="680137" y="1389653"/>
                  <a:pt x="682199" y="1389188"/>
                  <a:pt x="684323" y="1388709"/>
                </a:cubicBezTo>
                <a:cubicBezTo>
                  <a:pt x="684643" y="1387232"/>
                  <a:pt x="684964" y="1385755"/>
                  <a:pt x="685293" y="1384233"/>
                </a:cubicBezTo>
                <a:cubicBezTo>
                  <a:pt x="685718" y="1382290"/>
                  <a:pt x="686144" y="1380347"/>
                  <a:pt x="686569" y="1378404"/>
                </a:cubicBezTo>
                <a:cubicBezTo>
                  <a:pt x="686885" y="1376945"/>
                  <a:pt x="686885" y="1376945"/>
                  <a:pt x="687207" y="1375456"/>
                </a:cubicBezTo>
                <a:cubicBezTo>
                  <a:pt x="688115" y="1371315"/>
                  <a:pt x="689090" y="1367353"/>
                  <a:pt x="690572" y="1363343"/>
                </a:cubicBezTo>
                <a:cubicBezTo>
                  <a:pt x="692411" y="1350128"/>
                  <a:pt x="692374" y="1336672"/>
                  <a:pt x="692495" y="1323376"/>
                </a:cubicBezTo>
                <a:cubicBezTo>
                  <a:pt x="692524" y="1320586"/>
                  <a:pt x="692574" y="1317796"/>
                  <a:pt x="692625" y="1315006"/>
                </a:cubicBezTo>
                <a:cubicBezTo>
                  <a:pt x="692853" y="1300589"/>
                  <a:pt x="692853" y="1300589"/>
                  <a:pt x="687447" y="1287245"/>
                </a:cubicBezTo>
                <a:cubicBezTo>
                  <a:pt x="685901" y="1286780"/>
                  <a:pt x="684354" y="1286315"/>
                  <a:pt x="682761" y="1285835"/>
                </a:cubicBezTo>
                <a:cubicBezTo>
                  <a:pt x="680876" y="1283743"/>
                  <a:pt x="680876" y="1283743"/>
                  <a:pt x="678954" y="1281608"/>
                </a:cubicBezTo>
                <a:cubicBezTo>
                  <a:pt x="674854" y="1277278"/>
                  <a:pt x="674356" y="1276958"/>
                  <a:pt x="668702" y="1275971"/>
                </a:cubicBezTo>
                <a:cubicBezTo>
                  <a:pt x="666619" y="1274092"/>
                  <a:pt x="664536" y="1272213"/>
                  <a:pt x="662454" y="1270334"/>
                </a:cubicBezTo>
                <a:cubicBezTo>
                  <a:pt x="658341" y="1268566"/>
                  <a:pt x="658341" y="1268566"/>
                  <a:pt x="654643" y="1267516"/>
                </a:cubicBezTo>
                <a:cubicBezTo>
                  <a:pt x="654643" y="1266585"/>
                  <a:pt x="654643" y="1265656"/>
                  <a:pt x="654643" y="1264697"/>
                </a:cubicBezTo>
                <a:cubicBezTo>
                  <a:pt x="653161" y="1264581"/>
                  <a:pt x="651679" y="1264465"/>
                  <a:pt x="650152" y="1264345"/>
                </a:cubicBezTo>
                <a:cubicBezTo>
                  <a:pt x="642318" y="1263373"/>
                  <a:pt x="635297" y="1260465"/>
                  <a:pt x="628087" y="1257651"/>
                </a:cubicBezTo>
                <a:cubicBezTo>
                  <a:pt x="628087" y="1256721"/>
                  <a:pt x="628087" y="1255791"/>
                  <a:pt x="628087" y="1254833"/>
                </a:cubicBezTo>
                <a:cubicBezTo>
                  <a:pt x="627108" y="1254662"/>
                  <a:pt x="626129" y="1254491"/>
                  <a:pt x="625121" y="1254315"/>
                </a:cubicBezTo>
                <a:cubicBezTo>
                  <a:pt x="623845" y="1254079"/>
                  <a:pt x="622568" y="1253843"/>
                  <a:pt x="621252" y="1253600"/>
                </a:cubicBezTo>
                <a:cubicBezTo>
                  <a:pt x="619984" y="1253371"/>
                  <a:pt x="618716" y="1253142"/>
                  <a:pt x="617409" y="1252906"/>
                </a:cubicBezTo>
                <a:cubicBezTo>
                  <a:pt x="614027" y="1252014"/>
                  <a:pt x="614027" y="1252014"/>
                  <a:pt x="610904" y="1249196"/>
                </a:cubicBezTo>
                <a:cubicBezTo>
                  <a:pt x="592259" y="1248653"/>
                  <a:pt x="578635" y="1260869"/>
                  <a:pt x="565739" y="1271742"/>
                </a:cubicBezTo>
                <a:cubicBezTo>
                  <a:pt x="558808" y="1277725"/>
                  <a:pt x="552763" y="1283983"/>
                  <a:pt x="546924" y="1290829"/>
                </a:cubicBezTo>
                <a:cubicBezTo>
                  <a:pt x="545838" y="1292087"/>
                  <a:pt x="544753" y="1293346"/>
                  <a:pt x="543635" y="1294643"/>
                </a:cubicBezTo>
                <a:cubicBezTo>
                  <a:pt x="542650" y="1295813"/>
                  <a:pt x="541666" y="1296983"/>
                  <a:pt x="540651" y="1298188"/>
                </a:cubicBezTo>
                <a:cubicBezTo>
                  <a:pt x="537294" y="1301526"/>
                  <a:pt x="533978" y="1303337"/>
                  <a:pt x="529673" y="1305565"/>
                </a:cubicBezTo>
                <a:cubicBezTo>
                  <a:pt x="527599" y="1308478"/>
                  <a:pt x="527599" y="1308478"/>
                  <a:pt x="526549" y="1311202"/>
                </a:cubicBezTo>
                <a:cubicBezTo>
                  <a:pt x="525518" y="1311202"/>
                  <a:pt x="524487" y="1311202"/>
                  <a:pt x="523425" y="1311202"/>
                </a:cubicBezTo>
                <a:cubicBezTo>
                  <a:pt x="523360" y="1311986"/>
                  <a:pt x="523296" y="1312771"/>
                  <a:pt x="523230" y="1313580"/>
                </a:cubicBezTo>
                <a:cubicBezTo>
                  <a:pt x="521863" y="1316839"/>
                  <a:pt x="521863" y="1316839"/>
                  <a:pt x="517732" y="1319739"/>
                </a:cubicBezTo>
                <a:cubicBezTo>
                  <a:pt x="511111" y="1324565"/>
                  <a:pt x="506875" y="1330731"/>
                  <a:pt x="502239" y="1337096"/>
                </a:cubicBezTo>
                <a:cubicBezTo>
                  <a:pt x="500512" y="1339427"/>
                  <a:pt x="498785" y="1341757"/>
                  <a:pt x="497058" y="1344087"/>
                </a:cubicBezTo>
                <a:cubicBezTo>
                  <a:pt x="495827" y="1345760"/>
                  <a:pt x="495827" y="1345760"/>
                  <a:pt x="494572" y="1347465"/>
                </a:cubicBezTo>
                <a:cubicBezTo>
                  <a:pt x="492366" y="1350414"/>
                  <a:pt x="490094" y="1353304"/>
                  <a:pt x="487776" y="1356181"/>
                </a:cubicBezTo>
                <a:cubicBezTo>
                  <a:pt x="484805" y="1359972"/>
                  <a:pt x="482865" y="1363193"/>
                  <a:pt x="481248" y="1367571"/>
                </a:cubicBezTo>
                <a:cubicBezTo>
                  <a:pt x="480216" y="1367571"/>
                  <a:pt x="479186" y="1367571"/>
                  <a:pt x="478123" y="1367571"/>
                </a:cubicBezTo>
                <a:cubicBezTo>
                  <a:pt x="477963" y="1368558"/>
                  <a:pt x="477801" y="1369547"/>
                  <a:pt x="477635" y="1370565"/>
                </a:cubicBezTo>
                <a:cubicBezTo>
                  <a:pt x="475602" y="1378236"/>
                  <a:pt x="471952" y="1383371"/>
                  <a:pt x="465626" y="1388709"/>
                </a:cubicBezTo>
                <a:cubicBezTo>
                  <a:pt x="462272" y="1392748"/>
                  <a:pt x="462272" y="1392748"/>
                  <a:pt x="461233" y="1397340"/>
                </a:cubicBezTo>
                <a:cubicBezTo>
                  <a:pt x="460030" y="1401461"/>
                  <a:pt x="458298" y="1404501"/>
                  <a:pt x="455765" y="1408086"/>
                </a:cubicBezTo>
                <a:cubicBezTo>
                  <a:pt x="442829" y="1428603"/>
                  <a:pt x="441572" y="1454548"/>
                  <a:pt x="439070" y="1477490"/>
                </a:cubicBezTo>
                <a:cubicBezTo>
                  <a:pt x="437524" y="1477955"/>
                  <a:pt x="435977" y="1478420"/>
                  <a:pt x="434384" y="1478899"/>
                </a:cubicBezTo>
                <a:cubicBezTo>
                  <a:pt x="433739" y="1479916"/>
                  <a:pt x="433095" y="1480933"/>
                  <a:pt x="432431" y="1481982"/>
                </a:cubicBezTo>
                <a:cubicBezTo>
                  <a:pt x="428860" y="1487159"/>
                  <a:pt x="424291" y="1490903"/>
                  <a:pt x="418763" y="1494401"/>
                </a:cubicBezTo>
                <a:cubicBezTo>
                  <a:pt x="417731" y="1494401"/>
                  <a:pt x="416701" y="1494401"/>
                  <a:pt x="415639" y="1494401"/>
                </a:cubicBezTo>
                <a:cubicBezTo>
                  <a:pt x="415639" y="1495330"/>
                  <a:pt x="415639" y="1496260"/>
                  <a:pt x="415639" y="1497219"/>
                </a:cubicBezTo>
                <a:cubicBezTo>
                  <a:pt x="412546" y="1497684"/>
                  <a:pt x="409453" y="1498149"/>
                  <a:pt x="406265" y="1498628"/>
                </a:cubicBezTo>
                <a:cubicBezTo>
                  <a:pt x="406265" y="1499559"/>
                  <a:pt x="406265" y="1500488"/>
                  <a:pt x="406265" y="1501447"/>
                </a:cubicBezTo>
                <a:cubicBezTo>
                  <a:pt x="395955" y="1501447"/>
                  <a:pt x="385645" y="1501447"/>
                  <a:pt x="375023" y="1501447"/>
                </a:cubicBezTo>
                <a:lnTo>
                  <a:pt x="375023" y="1499438"/>
                </a:lnTo>
                <a:lnTo>
                  <a:pt x="374964" y="1499436"/>
                </a:lnTo>
                <a:lnTo>
                  <a:pt x="373179" y="1498628"/>
                </a:lnTo>
                <a:lnTo>
                  <a:pt x="365650" y="1498628"/>
                </a:lnTo>
                <a:lnTo>
                  <a:pt x="363134" y="1494087"/>
                </a:lnTo>
                <a:lnTo>
                  <a:pt x="362171" y="1493651"/>
                </a:lnTo>
                <a:cubicBezTo>
                  <a:pt x="361656" y="1492722"/>
                  <a:pt x="361140" y="1491791"/>
                  <a:pt x="360609" y="1490833"/>
                </a:cubicBezTo>
                <a:cubicBezTo>
                  <a:pt x="361640" y="1490833"/>
                  <a:pt x="362671" y="1490833"/>
                  <a:pt x="363733" y="1490833"/>
                </a:cubicBezTo>
                <a:lnTo>
                  <a:pt x="363733" y="1489980"/>
                </a:lnTo>
                <a:lnTo>
                  <a:pt x="348467" y="1481717"/>
                </a:lnTo>
                <a:lnTo>
                  <a:pt x="343872" y="1461078"/>
                </a:lnTo>
                <a:lnTo>
                  <a:pt x="343656" y="1463649"/>
                </a:lnTo>
                <a:cubicBezTo>
                  <a:pt x="343541" y="1465230"/>
                  <a:pt x="343541" y="1465230"/>
                  <a:pt x="343424" y="1466842"/>
                </a:cubicBezTo>
                <a:cubicBezTo>
                  <a:pt x="342908" y="1466842"/>
                  <a:pt x="342393" y="1466842"/>
                  <a:pt x="341861" y="1466842"/>
                </a:cubicBezTo>
                <a:cubicBezTo>
                  <a:pt x="340987" y="1449564"/>
                  <a:pt x="340999" y="1434331"/>
                  <a:pt x="354143" y="1420549"/>
                </a:cubicBezTo>
                <a:cubicBezTo>
                  <a:pt x="360765" y="1414011"/>
                  <a:pt x="367631" y="1407790"/>
                  <a:pt x="376229" y="1403427"/>
                </a:cubicBezTo>
                <a:lnTo>
                  <a:pt x="379491" y="1404408"/>
                </a:lnTo>
                <a:lnTo>
                  <a:pt x="379710" y="1404210"/>
                </a:lnTo>
                <a:cubicBezTo>
                  <a:pt x="380290" y="1402902"/>
                  <a:pt x="380290" y="1402902"/>
                  <a:pt x="380882" y="1401568"/>
                </a:cubicBezTo>
                <a:cubicBezTo>
                  <a:pt x="383675" y="1397284"/>
                  <a:pt x="387587" y="1395610"/>
                  <a:pt x="392207" y="1392936"/>
                </a:cubicBezTo>
                <a:lnTo>
                  <a:pt x="399542" y="1386774"/>
                </a:lnTo>
                <a:lnTo>
                  <a:pt x="405485" y="1378917"/>
                </a:lnTo>
                <a:cubicBezTo>
                  <a:pt x="408065" y="1375974"/>
                  <a:pt x="410029" y="1372774"/>
                  <a:pt x="412008" y="1369481"/>
                </a:cubicBezTo>
                <a:cubicBezTo>
                  <a:pt x="414759" y="1365166"/>
                  <a:pt x="417963" y="1361131"/>
                  <a:pt x="421130" y="1357057"/>
                </a:cubicBezTo>
                <a:cubicBezTo>
                  <a:pt x="423073" y="1354140"/>
                  <a:pt x="423985" y="1351767"/>
                  <a:pt x="424676" y="1348443"/>
                </a:cubicBezTo>
                <a:lnTo>
                  <a:pt x="427275" y="1348443"/>
                </a:lnTo>
                <a:lnTo>
                  <a:pt x="428135" y="1345727"/>
                </a:lnTo>
                <a:cubicBezTo>
                  <a:pt x="429370" y="1341828"/>
                  <a:pt x="430645" y="1338666"/>
                  <a:pt x="432822" y="1335158"/>
                </a:cubicBezTo>
                <a:cubicBezTo>
                  <a:pt x="433853" y="1335158"/>
                  <a:pt x="434884" y="1335158"/>
                  <a:pt x="435946" y="1335158"/>
                </a:cubicBezTo>
                <a:cubicBezTo>
                  <a:pt x="436526" y="1333385"/>
                  <a:pt x="437106" y="1331613"/>
                  <a:pt x="437704" y="1329786"/>
                </a:cubicBezTo>
                <a:cubicBezTo>
                  <a:pt x="440162" y="1323132"/>
                  <a:pt x="443602" y="1317301"/>
                  <a:pt x="447394" y="1311196"/>
                </a:cubicBezTo>
                <a:cubicBezTo>
                  <a:pt x="456493" y="1296485"/>
                  <a:pt x="463325" y="1281864"/>
                  <a:pt x="469287" y="1265964"/>
                </a:cubicBezTo>
                <a:cubicBezTo>
                  <a:pt x="474589" y="1252134"/>
                  <a:pt x="474589" y="1252134"/>
                  <a:pt x="478178" y="1246787"/>
                </a:cubicBezTo>
                <a:cubicBezTo>
                  <a:pt x="481232" y="1240246"/>
                  <a:pt x="480204" y="1232766"/>
                  <a:pt x="480179" y="1225768"/>
                </a:cubicBezTo>
                <a:cubicBezTo>
                  <a:pt x="480174" y="1222894"/>
                  <a:pt x="480210" y="1220023"/>
                  <a:pt x="480250" y="1217149"/>
                </a:cubicBezTo>
                <a:cubicBezTo>
                  <a:pt x="480260" y="1199291"/>
                  <a:pt x="476718" y="1187768"/>
                  <a:pt x="462972" y="1174827"/>
                </a:cubicBezTo>
                <a:cubicBezTo>
                  <a:pt x="461148" y="1173192"/>
                  <a:pt x="459312" y="1171566"/>
                  <a:pt x="457468" y="1169949"/>
                </a:cubicBezTo>
                <a:cubicBezTo>
                  <a:pt x="451412" y="1164522"/>
                  <a:pt x="445876" y="1158660"/>
                  <a:pt x="440657" y="1152570"/>
                </a:cubicBezTo>
                <a:cubicBezTo>
                  <a:pt x="430474" y="1140786"/>
                  <a:pt x="418230" y="1128998"/>
                  <a:pt x="403142" y="1122366"/>
                </a:cubicBezTo>
                <a:cubicBezTo>
                  <a:pt x="402626" y="1121436"/>
                  <a:pt x="402110" y="1120506"/>
                  <a:pt x="401579" y="1119547"/>
                </a:cubicBezTo>
                <a:cubicBezTo>
                  <a:pt x="390472" y="1115326"/>
                  <a:pt x="375918" y="1114217"/>
                  <a:pt x="364564" y="1118209"/>
                </a:cubicBezTo>
                <a:cubicBezTo>
                  <a:pt x="362278" y="1119428"/>
                  <a:pt x="360026" y="1120704"/>
                  <a:pt x="357822" y="1122041"/>
                </a:cubicBezTo>
                <a:cubicBezTo>
                  <a:pt x="354521" y="1123884"/>
                  <a:pt x="351862" y="1124582"/>
                  <a:pt x="348077" y="1125273"/>
                </a:cubicBezTo>
                <a:cubicBezTo>
                  <a:pt x="341765" y="1126696"/>
                  <a:pt x="339382" y="1128619"/>
                  <a:pt x="334408" y="1132230"/>
                </a:cubicBezTo>
                <a:cubicBezTo>
                  <a:pt x="332284" y="1132909"/>
                  <a:pt x="330131" y="1133519"/>
                  <a:pt x="327964" y="1134080"/>
                </a:cubicBezTo>
                <a:cubicBezTo>
                  <a:pt x="309975" y="1139067"/>
                  <a:pt x="290592" y="1152117"/>
                  <a:pt x="279734" y="1166051"/>
                </a:cubicBezTo>
                <a:cubicBezTo>
                  <a:pt x="277929" y="1169534"/>
                  <a:pt x="277929" y="1169534"/>
                  <a:pt x="276609" y="1173098"/>
                </a:cubicBezTo>
                <a:cubicBezTo>
                  <a:pt x="272413" y="1180804"/>
                  <a:pt x="269322" y="1184144"/>
                  <a:pt x="260988" y="1188599"/>
                </a:cubicBezTo>
                <a:cubicBezTo>
                  <a:pt x="259988" y="1189435"/>
                  <a:pt x="258987" y="1190271"/>
                  <a:pt x="257956" y="1191132"/>
                </a:cubicBezTo>
                <a:lnTo>
                  <a:pt x="243805" y="1196629"/>
                </a:lnTo>
                <a:lnTo>
                  <a:pt x="243805" y="1194236"/>
                </a:lnTo>
                <a:lnTo>
                  <a:pt x="240288" y="1194765"/>
                </a:lnTo>
                <a:lnTo>
                  <a:pt x="243374" y="1194765"/>
                </a:lnTo>
                <a:lnTo>
                  <a:pt x="243374" y="1196797"/>
                </a:lnTo>
                <a:lnTo>
                  <a:pt x="243805" y="1196629"/>
                </a:lnTo>
                <a:lnTo>
                  <a:pt x="243805" y="1197055"/>
                </a:lnTo>
                <a:lnTo>
                  <a:pt x="243374" y="1197055"/>
                </a:lnTo>
                <a:lnTo>
                  <a:pt x="243374" y="1197584"/>
                </a:lnTo>
                <a:lnTo>
                  <a:pt x="241319" y="1197595"/>
                </a:lnTo>
                <a:lnTo>
                  <a:pt x="238009" y="1198881"/>
                </a:lnTo>
                <a:cubicBezTo>
                  <a:pt x="231012" y="1199584"/>
                  <a:pt x="223620" y="1198927"/>
                  <a:pt x="215687" y="1198464"/>
                </a:cubicBezTo>
                <a:lnTo>
                  <a:pt x="215687" y="1197734"/>
                </a:lnTo>
                <a:lnTo>
                  <a:pt x="213936" y="1197744"/>
                </a:lnTo>
                <a:cubicBezTo>
                  <a:pt x="210570" y="1197584"/>
                  <a:pt x="210570" y="1197584"/>
                  <a:pt x="207446" y="1196175"/>
                </a:cubicBezTo>
                <a:lnTo>
                  <a:pt x="207822" y="1195610"/>
                </a:lnTo>
                <a:lnTo>
                  <a:pt x="184737" y="1180936"/>
                </a:lnTo>
                <a:cubicBezTo>
                  <a:pt x="180258" y="1172216"/>
                  <a:pt x="179226" y="1164355"/>
                  <a:pt x="179270" y="1154866"/>
                </a:cubicBezTo>
                <a:cubicBezTo>
                  <a:pt x="179233" y="1153260"/>
                  <a:pt x="179233" y="1153260"/>
                  <a:pt x="179194" y="1151621"/>
                </a:cubicBezTo>
                <a:cubicBezTo>
                  <a:pt x="179182" y="1139523"/>
                  <a:pt x="183658" y="1128837"/>
                  <a:pt x="193195" y="1120065"/>
                </a:cubicBezTo>
                <a:cubicBezTo>
                  <a:pt x="204265" y="1110959"/>
                  <a:pt x="215062" y="1110626"/>
                  <a:pt x="229551" y="1110299"/>
                </a:cubicBezTo>
                <a:cubicBezTo>
                  <a:pt x="240132" y="1110024"/>
                  <a:pt x="250506" y="1109652"/>
                  <a:pt x="260988" y="1108274"/>
                </a:cubicBezTo>
                <a:cubicBezTo>
                  <a:pt x="260988" y="1107344"/>
                  <a:pt x="260988" y="1106413"/>
                  <a:pt x="260988" y="1105455"/>
                </a:cubicBezTo>
                <a:cubicBezTo>
                  <a:pt x="261953" y="1105078"/>
                  <a:pt x="262918" y="1104699"/>
                  <a:pt x="263911" y="1104310"/>
                </a:cubicBezTo>
                <a:cubicBezTo>
                  <a:pt x="272903" y="1100557"/>
                  <a:pt x="279802" y="1096307"/>
                  <a:pt x="286995" y="1090185"/>
                </a:cubicBezTo>
                <a:cubicBezTo>
                  <a:pt x="290956" y="1086897"/>
                  <a:pt x="295114" y="1083955"/>
                  <a:pt x="299358" y="1080970"/>
                </a:cubicBezTo>
                <a:cubicBezTo>
                  <a:pt x="306613" y="1075692"/>
                  <a:pt x="312234" y="1070023"/>
                  <a:pt x="317762" y="1063272"/>
                </a:cubicBezTo>
                <a:cubicBezTo>
                  <a:pt x="320349" y="1060360"/>
                  <a:pt x="320349" y="1060360"/>
                  <a:pt x="325035" y="1057542"/>
                </a:cubicBezTo>
                <a:cubicBezTo>
                  <a:pt x="329912" y="1045734"/>
                  <a:pt x="327928" y="1035103"/>
                  <a:pt x="325328" y="1023104"/>
                </a:cubicBezTo>
                <a:cubicBezTo>
                  <a:pt x="325069" y="1021831"/>
                  <a:pt x="324811" y="1020559"/>
                  <a:pt x="324544" y="1019247"/>
                </a:cubicBezTo>
                <a:cubicBezTo>
                  <a:pt x="322876" y="1011407"/>
                  <a:pt x="320562" y="1004340"/>
                  <a:pt x="317225" y="996945"/>
                </a:cubicBezTo>
                <a:cubicBezTo>
                  <a:pt x="316619" y="995541"/>
                  <a:pt x="316013" y="994137"/>
                  <a:pt x="315388" y="992690"/>
                </a:cubicBezTo>
                <a:cubicBezTo>
                  <a:pt x="306307" y="972561"/>
                  <a:pt x="298931" y="959343"/>
                  <a:pt x="276232" y="950666"/>
                </a:cubicBezTo>
                <a:cubicBezTo>
                  <a:pt x="274810" y="950127"/>
                  <a:pt x="273388" y="949587"/>
                  <a:pt x="271923" y="949031"/>
                </a:cubicBezTo>
                <a:cubicBezTo>
                  <a:pt x="270129" y="948244"/>
                  <a:pt x="270129" y="948244"/>
                  <a:pt x="268299" y="947441"/>
                </a:cubicBezTo>
                <a:cubicBezTo>
                  <a:pt x="247071" y="938140"/>
                  <a:pt x="222259" y="939051"/>
                  <a:pt x="199187" y="938991"/>
                </a:cubicBezTo>
                <a:cubicBezTo>
                  <a:pt x="197383" y="938984"/>
                  <a:pt x="195579" y="938978"/>
                  <a:pt x="193719" y="938971"/>
                </a:cubicBezTo>
                <a:cubicBezTo>
                  <a:pt x="192010" y="938974"/>
                  <a:pt x="190300" y="938977"/>
                  <a:pt x="188539" y="938980"/>
                </a:cubicBezTo>
                <a:cubicBezTo>
                  <a:pt x="187000" y="938981"/>
                  <a:pt x="185460" y="938983"/>
                  <a:pt x="183874" y="938985"/>
                </a:cubicBezTo>
                <a:cubicBezTo>
                  <a:pt x="180148" y="939150"/>
                  <a:pt x="177092" y="939720"/>
                  <a:pt x="173509" y="940576"/>
                </a:cubicBezTo>
                <a:cubicBezTo>
                  <a:pt x="169458" y="940674"/>
                  <a:pt x="165452" y="940710"/>
                  <a:pt x="161403" y="940664"/>
                </a:cubicBezTo>
                <a:cubicBezTo>
                  <a:pt x="160314" y="940658"/>
                  <a:pt x="159224" y="940651"/>
                  <a:pt x="158102" y="940645"/>
                </a:cubicBezTo>
                <a:lnTo>
                  <a:pt x="150875" y="940583"/>
                </a:lnTo>
                <a:lnTo>
                  <a:pt x="148425" y="940717"/>
                </a:lnTo>
                <a:lnTo>
                  <a:pt x="149617" y="940995"/>
                </a:lnTo>
                <a:cubicBezTo>
                  <a:pt x="149617" y="941459"/>
                  <a:pt x="149617" y="941924"/>
                  <a:pt x="149617" y="942404"/>
                </a:cubicBezTo>
                <a:cubicBezTo>
                  <a:pt x="148630" y="942558"/>
                  <a:pt x="147643" y="942712"/>
                  <a:pt x="146627" y="942871"/>
                </a:cubicBezTo>
                <a:cubicBezTo>
                  <a:pt x="134541" y="944804"/>
                  <a:pt x="122553" y="947081"/>
                  <a:pt x="110564" y="949449"/>
                </a:cubicBezTo>
                <a:lnTo>
                  <a:pt x="111283" y="946205"/>
                </a:lnTo>
                <a:lnTo>
                  <a:pt x="101652" y="956078"/>
                </a:lnTo>
                <a:cubicBezTo>
                  <a:pt x="99870" y="957260"/>
                  <a:pt x="99870" y="957260"/>
                  <a:pt x="98052" y="958467"/>
                </a:cubicBezTo>
                <a:cubicBezTo>
                  <a:pt x="75683" y="972989"/>
                  <a:pt x="75683" y="972989"/>
                  <a:pt x="67286" y="972989"/>
                </a:cubicBezTo>
                <a:cubicBezTo>
                  <a:pt x="67286" y="973918"/>
                  <a:pt x="67286" y="974848"/>
                  <a:pt x="67286" y="975807"/>
                </a:cubicBezTo>
                <a:cubicBezTo>
                  <a:pt x="55713" y="979519"/>
                  <a:pt x="43549" y="980689"/>
                  <a:pt x="31942" y="976423"/>
                </a:cubicBezTo>
                <a:cubicBezTo>
                  <a:pt x="19953" y="970870"/>
                  <a:pt x="10774" y="964932"/>
                  <a:pt x="5673" y="953419"/>
                </a:cubicBezTo>
                <a:cubicBezTo>
                  <a:pt x="4801" y="950441"/>
                  <a:pt x="4801" y="950441"/>
                  <a:pt x="4801" y="944804"/>
                </a:cubicBezTo>
                <a:cubicBezTo>
                  <a:pt x="3770" y="944804"/>
                  <a:pt x="2739" y="944804"/>
                  <a:pt x="1676" y="944804"/>
                </a:cubicBezTo>
                <a:cubicBezTo>
                  <a:pt x="-34" y="940174"/>
                  <a:pt x="-41" y="936720"/>
                  <a:pt x="17" y="931857"/>
                </a:cubicBezTo>
                <a:cubicBezTo>
                  <a:pt x="31" y="930325"/>
                  <a:pt x="45" y="928794"/>
                  <a:pt x="59" y="927216"/>
                </a:cubicBezTo>
                <a:cubicBezTo>
                  <a:pt x="78" y="926044"/>
                  <a:pt x="96" y="924873"/>
                  <a:pt x="115" y="923666"/>
                </a:cubicBezTo>
                <a:cubicBezTo>
                  <a:pt x="1145" y="923666"/>
                  <a:pt x="2176" y="923666"/>
                  <a:pt x="3238" y="923666"/>
                </a:cubicBezTo>
                <a:cubicBezTo>
                  <a:pt x="3238" y="921805"/>
                  <a:pt x="3238" y="919945"/>
                  <a:pt x="3238" y="918029"/>
                </a:cubicBezTo>
                <a:cubicBezTo>
                  <a:pt x="4270" y="918029"/>
                  <a:pt x="5300" y="918029"/>
                  <a:pt x="6363" y="918029"/>
                </a:cubicBezTo>
                <a:cubicBezTo>
                  <a:pt x="6459" y="916314"/>
                  <a:pt x="6556" y="914599"/>
                  <a:pt x="6656" y="912832"/>
                </a:cubicBezTo>
                <a:cubicBezTo>
                  <a:pt x="7542" y="906455"/>
                  <a:pt x="10104" y="903750"/>
                  <a:pt x="15736" y="899709"/>
                </a:cubicBezTo>
                <a:lnTo>
                  <a:pt x="17243" y="898894"/>
                </a:lnTo>
                <a:lnTo>
                  <a:pt x="16800" y="898694"/>
                </a:lnTo>
                <a:lnTo>
                  <a:pt x="24988" y="894101"/>
                </a:lnTo>
                <a:lnTo>
                  <a:pt x="26768" y="892399"/>
                </a:lnTo>
                <a:cubicBezTo>
                  <a:pt x="28282" y="891122"/>
                  <a:pt x="29038" y="890483"/>
                  <a:pt x="30198" y="890164"/>
                </a:cubicBezTo>
                <a:lnTo>
                  <a:pt x="32204" y="890054"/>
                </a:lnTo>
                <a:lnTo>
                  <a:pt x="38914" y="886291"/>
                </a:lnTo>
                <a:cubicBezTo>
                  <a:pt x="47169" y="885770"/>
                  <a:pt x="55396" y="885800"/>
                  <a:pt x="63664" y="886011"/>
                </a:cubicBezTo>
                <a:lnTo>
                  <a:pt x="63664" y="886531"/>
                </a:lnTo>
                <a:lnTo>
                  <a:pt x="70784" y="886647"/>
                </a:lnTo>
                <a:cubicBezTo>
                  <a:pt x="74787" y="887000"/>
                  <a:pt x="77233" y="887948"/>
                  <a:pt x="82126" y="889845"/>
                </a:cubicBezTo>
                <a:cubicBezTo>
                  <a:pt x="92427" y="893791"/>
                  <a:pt x="103139" y="893710"/>
                  <a:pt x="114149" y="892663"/>
                </a:cubicBezTo>
                <a:cubicBezTo>
                  <a:pt x="115696" y="891733"/>
                  <a:pt x="117242" y="890803"/>
                  <a:pt x="118836" y="889845"/>
                </a:cubicBezTo>
                <a:cubicBezTo>
                  <a:pt x="123097" y="888850"/>
                  <a:pt x="127325" y="887944"/>
                  <a:pt x="131626" y="887114"/>
                </a:cubicBezTo>
                <a:cubicBezTo>
                  <a:pt x="139750" y="885542"/>
                  <a:pt x="147376" y="883653"/>
                  <a:pt x="155116" y="880913"/>
                </a:cubicBezTo>
                <a:cubicBezTo>
                  <a:pt x="158498" y="879775"/>
                  <a:pt x="161861" y="879076"/>
                  <a:pt x="165406" y="878483"/>
                </a:cubicBezTo>
                <a:cubicBezTo>
                  <a:pt x="170342" y="877655"/>
                  <a:pt x="172265" y="876971"/>
                  <a:pt x="176634" y="874343"/>
                </a:cubicBezTo>
                <a:cubicBezTo>
                  <a:pt x="179863" y="873335"/>
                  <a:pt x="183123" y="872404"/>
                  <a:pt x="186397" y="871524"/>
                </a:cubicBezTo>
                <a:cubicBezTo>
                  <a:pt x="189107" y="870786"/>
                  <a:pt x="189107" y="870786"/>
                  <a:pt x="191871" y="870033"/>
                </a:cubicBezTo>
                <a:cubicBezTo>
                  <a:pt x="195731" y="869023"/>
                  <a:pt x="199587" y="868093"/>
                  <a:pt x="203483" y="867208"/>
                </a:cubicBezTo>
                <a:cubicBezTo>
                  <a:pt x="208339" y="866199"/>
                  <a:pt x="208339" y="866199"/>
                  <a:pt x="211001" y="861660"/>
                </a:cubicBezTo>
                <a:cubicBezTo>
                  <a:pt x="214174" y="860102"/>
                  <a:pt x="214174" y="860102"/>
                  <a:pt x="218031" y="858577"/>
                </a:cubicBezTo>
                <a:cubicBezTo>
                  <a:pt x="236068" y="850629"/>
                  <a:pt x="245199" y="840442"/>
                  <a:pt x="254740" y="825020"/>
                </a:cubicBezTo>
                <a:cubicBezTo>
                  <a:pt x="255771" y="823625"/>
                  <a:pt x="256802" y="822230"/>
                  <a:pt x="257864" y="820792"/>
                </a:cubicBezTo>
                <a:cubicBezTo>
                  <a:pt x="258359" y="817506"/>
                  <a:pt x="258359" y="817506"/>
                  <a:pt x="258318" y="813810"/>
                </a:cubicBezTo>
                <a:cubicBezTo>
                  <a:pt x="258338" y="812388"/>
                  <a:pt x="258358" y="810967"/>
                  <a:pt x="258378" y="809502"/>
                </a:cubicBezTo>
                <a:cubicBezTo>
                  <a:pt x="258382" y="807965"/>
                  <a:pt x="258385" y="806429"/>
                  <a:pt x="258389" y="804845"/>
                </a:cubicBezTo>
                <a:cubicBezTo>
                  <a:pt x="258399" y="803258"/>
                  <a:pt x="258410" y="801671"/>
                  <a:pt x="258420" y="800036"/>
                </a:cubicBezTo>
                <a:cubicBezTo>
                  <a:pt x="258436" y="796670"/>
                  <a:pt x="258443" y="793305"/>
                  <a:pt x="258443" y="789939"/>
                </a:cubicBezTo>
                <a:cubicBezTo>
                  <a:pt x="258450" y="784823"/>
                  <a:pt x="258506" y="779709"/>
                  <a:pt x="258566" y="774594"/>
                </a:cubicBezTo>
                <a:cubicBezTo>
                  <a:pt x="258575" y="771319"/>
                  <a:pt x="258581" y="768045"/>
                  <a:pt x="258584" y="764771"/>
                </a:cubicBezTo>
                <a:cubicBezTo>
                  <a:pt x="258618" y="762495"/>
                  <a:pt x="258618" y="762495"/>
                  <a:pt x="258652" y="760174"/>
                </a:cubicBezTo>
                <a:cubicBezTo>
                  <a:pt x="258586" y="750030"/>
                  <a:pt x="256266" y="742584"/>
                  <a:pt x="251616" y="733421"/>
                </a:cubicBezTo>
                <a:cubicBezTo>
                  <a:pt x="250163" y="729605"/>
                  <a:pt x="248880" y="725752"/>
                  <a:pt x="247613" y="721883"/>
                </a:cubicBezTo>
                <a:cubicBezTo>
                  <a:pt x="245789" y="716328"/>
                  <a:pt x="243913" y="710939"/>
                  <a:pt x="241291" y="705644"/>
                </a:cubicBezTo>
                <a:cubicBezTo>
                  <a:pt x="238691" y="700096"/>
                  <a:pt x="238136" y="695685"/>
                  <a:pt x="237557" y="689735"/>
                </a:cubicBezTo>
                <a:cubicBezTo>
                  <a:pt x="244977" y="685507"/>
                  <a:pt x="244977" y="685507"/>
                  <a:pt x="248492" y="685507"/>
                </a:cubicBezTo>
                <a:cubicBezTo>
                  <a:pt x="248492" y="684112"/>
                  <a:pt x="248492" y="682717"/>
                  <a:pt x="248492" y="681279"/>
                </a:cubicBezTo>
                <a:cubicBezTo>
                  <a:pt x="245914" y="680815"/>
                  <a:pt x="243337" y="680350"/>
                  <a:pt x="240681" y="679870"/>
                </a:cubicBezTo>
                <a:cubicBezTo>
                  <a:pt x="240681" y="678940"/>
                  <a:pt x="240681" y="678010"/>
                  <a:pt x="240681" y="677052"/>
                </a:cubicBezTo>
                <a:cubicBezTo>
                  <a:pt x="239827" y="676917"/>
                  <a:pt x="238973" y="676783"/>
                  <a:pt x="238094" y="676645"/>
                </a:cubicBezTo>
                <a:cubicBezTo>
                  <a:pt x="233442" y="675371"/>
                  <a:pt x="229939" y="673242"/>
                  <a:pt x="225841" y="670886"/>
                </a:cubicBezTo>
                <a:cubicBezTo>
                  <a:pt x="217808" y="666564"/>
                  <a:pt x="210635" y="664241"/>
                  <a:pt x="201531" y="662508"/>
                </a:cubicBezTo>
                <a:cubicBezTo>
                  <a:pt x="196896" y="661541"/>
                  <a:pt x="192682" y="660199"/>
                  <a:pt x="188252" y="658644"/>
                </a:cubicBezTo>
                <a:lnTo>
                  <a:pt x="182431" y="657327"/>
                </a:lnTo>
                <a:lnTo>
                  <a:pt x="182431" y="657613"/>
                </a:lnTo>
                <a:cubicBezTo>
                  <a:pt x="170575" y="657148"/>
                  <a:pt x="158718" y="656683"/>
                  <a:pt x="146503" y="656204"/>
                </a:cubicBezTo>
                <a:cubicBezTo>
                  <a:pt x="146503" y="657133"/>
                  <a:pt x="146503" y="658064"/>
                  <a:pt x="146503" y="659022"/>
                </a:cubicBezTo>
                <a:cubicBezTo>
                  <a:pt x="134359" y="662326"/>
                  <a:pt x="123013" y="663700"/>
                  <a:pt x="110378" y="663778"/>
                </a:cubicBezTo>
                <a:cubicBezTo>
                  <a:pt x="108435" y="663806"/>
                  <a:pt x="108435" y="663806"/>
                  <a:pt x="106453" y="663836"/>
                </a:cubicBezTo>
                <a:cubicBezTo>
                  <a:pt x="105231" y="663828"/>
                  <a:pt x="104009" y="663820"/>
                  <a:pt x="102751" y="663811"/>
                </a:cubicBezTo>
                <a:cubicBezTo>
                  <a:pt x="101117" y="663804"/>
                  <a:pt x="101117" y="663804"/>
                  <a:pt x="99449" y="663797"/>
                </a:cubicBezTo>
                <a:cubicBezTo>
                  <a:pt x="95696" y="663097"/>
                  <a:pt x="94265" y="661615"/>
                  <a:pt x="91828" y="659022"/>
                </a:cubicBezTo>
                <a:cubicBezTo>
                  <a:pt x="93890" y="659022"/>
                  <a:pt x="95953" y="659022"/>
                  <a:pt x="98077" y="659022"/>
                </a:cubicBezTo>
                <a:cubicBezTo>
                  <a:pt x="98077" y="659952"/>
                  <a:pt x="98077" y="660882"/>
                  <a:pt x="98077" y="661841"/>
                </a:cubicBezTo>
                <a:cubicBezTo>
                  <a:pt x="108735" y="662045"/>
                  <a:pt x="114063" y="662148"/>
                  <a:pt x="119023" y="661357"/>
                </a:cubicBezTo>
                <a:lnTo>
                  <a:pt x="119536" y="661197"/>
                </a:lnTo>
                <a:lnTo>
                  <a:pt x="109853" y="661639"/>
                </a:lnTo>
                <a:cubicBezTo>
                  <a:pt x="108764" y="661632"/>
                  <a:pt x="107675" y="661626"/>
                  <a:pt x="106552" y="661619"/>
                </a:cubicBezTo>
                <a:cubicBezTo>
                  <a:pt x="103877" y="661603"/>
                  <a:pt x="101203" y="661577"/>
                  <a:pt x="98528" y="661550"/>
                </a:cubicBezTo>
                <a:cubicBezTo>
                  <a:pt x="98528" y="660620"/>
                  <a:pt x="98528" y="659691"/>
                  <a:pt x="98528" y="658732"/>
                </a:cubicBezTo>
                <a:cubicBezTo>
                  <a:pt x="95435" y="658267"/>
                  <a:pt x="92342" y="657802"/>
                  <a:pt x="89155" y="657323"/>
                </a:cubicBezTo>
                <a:cubicBezTo>
                  <a:pt x="89155" y="656393"/>
                  <a:pt x="89155" y="655462"/>
                  <a:pt x="89155" y="654504"/>
                </a:cubicBezTo>
                <a:cubicBezTo>
                  <a:pt x="87790" y="653978"/>
                  <a:pt x="87790" y="653978"/>
                  <a:pt x="86397" y="653442"/>
                </a:cubicBezTo>
                <a:cubicBezTo>
                  <a:pt x="82415" y="651438"/>
                  <a:pt x="80039" y="649232"/>
                  <a:pt x="77049" y="646137"/>
                </a:cubicBezTo>
                <a:cubicBezTo>
                  <a:pt x="75611" y="644679"/>
                  <a:pt x="75611" y="644679"/>
                  <a:pt x="74145" y="643192"/>
                </a:cubicBezTo>
                <a:cubicBezTo>
                  <a:pt x="71972" y="640412"/>
                  <a:pt x="71972" y="640412"/>
                  <a:pt x="71972" y="636185"/>
                </a:cubicBezTo>
                <a:cubicBezTo>
                  <a:pt x="70941" y="636185"/>
                  <a:pt x="69910" y="636185"/>
                  <a:pt x="68848" y="636185"/>
                </a:cubicBezTo>
                <a:cubicBezTo>
                  <a:pt x="64250" y="621928"/>
                  <a:pt x="64695" y="609404"/>
                  <a:pt x="70410" y="595317"/>
                </a:cubicBezTo>
                <a:cubicBezTo>
                  <a:pt x="73096" y="591142"/>
                  <a:pt x="76144" y="587574"/>
                  <a:pt x="79782" y="584043"/>
                </a:cubicBezTo>
                <a:cubicBezTo>
                  <a:pt x="81205" y="582594"/>
                  <a:pt x="81205" y="582594"/>
                  <a:pt x="82656" y="581115"/>
                </a:cubicBezTo>
                <a:cubicBezTo>
                  <a:pt x="91488" y="574027"/>
                  <a:pt x="105133" y="571806"/>
                  <a:pt x="116694" y="572323"/>
                </a:cubicBezTo>
                <a:cubicBezTo>
                  <a:pt x="131556" y="574113"/>
                  <a:pt x="142046" y="580551"/>
                  <a:pt x="152031" y="590385"/>
                </a:cubicBezTo>
                <a:cubicBezTo>
                  <a:pt x="162272" y="600009"/>
                  <a:pt x="176992" y="605062"/>
                  <a:pt x="191474" y="605886"/>
                </a:cubicBezTo>
                <a:cubicBezTo>
                  <a:pt x="196845" y="606192"/>
                  <a:pt x="201203" y="606463"/>
                  <a:pt x="206314" y="608000"/>
                </a:cubicBezTo>
                <a:cubicBezTo>
                  <a:pt x="206314" y="608930"/>
                  <a:pt x="206314" y="609860"/>
                  <a:pt x="206314" y="610818"/>
                </a:cubicBezTo>
                <a:cubicBezTo>
                  <a:pt x="215689" y="610902"/>
                  <a:pt x="225058" y="610898"/>
                  <a:pt x="234433" y="610818"/>
                </a:cubicBezTo>
                <a:cubicBezTo>
                  <a:pt x="236112" y="610813"/>
                  <a:pt x="237791" y="610808"/>
                  <a:pt x="239522" y="610802"/>
                </a:cubicBezTo>
                <a:cubicBezTo>
                  <a:pt x="251005" y="610364"/>
                  <a:pt x="259257" y="606564"/>
                  <a:pt x="268799" y="600954"/>
                </a:cubicBezTo>
                <a:cubicBezTo>
                  <a:pt x="269770" y="600416"/>
                  <a:pt x="270740" y="599879"/>
                  <a:pt x="271740" y="599325"/>
                </a:cubicBezTo>
                <a:cubicBezTo>
                  <a:pt x="279452" y="594430"/>
                  <a:pt x="281420" y="587464"/>
                  <a:pt x="284420" y="579816"/>
                </a:cubicBezTo>
                <a:cubicBezTo>
                  <a:pt x="286047" y="576075"/>
                  <a:pt x="287725" y="572353"/>
                  <a:pt x="289399" y="568630"/>
                </a:cubicBezTo>
                <a:cubicBezTo>
                  <a:pt x="294095" y="558121"/>
                  <a:pt x="299004" y="547070"/>
                  <a:pt x="293958" y="535838"/>
                </a:cubicBezTo>
                <a:cubicBezTo>
                  <a:pt x="292436" y="533533"/>
                  <a:pt x="290781" y="531301"/>
                  <a:pt x="289107" y="529084"/>
                </a:cubicBezTo>
                <a:cubicBezTo>
                  <a:pt x="289107" y="528153"/>
                  <a:pt x="289107" y="527223"/>
                  <a:pt x="289107" y="526265"/>
                </a:cubicBezTo>
                <a:cubicBezTo>
                  <a:pt x="287560" y="525800"/>
                  <a:pt x="286014" y="525335"/>
                  <a:pt x="284420" y="524856"/>
                </a:cubicBezTo>
                <a:cubicBezTo>
                  <a:pt x="283905" y="523461"/>
                  <a:pt x="283389" y="522066"/>
                  <a:pt x="282858" y="520628"/>
                </a:cubicBezTo>
                <a:cubicBezTo>
                  <a:pt x="280750" y="518590"/>
                  <a:pt x="280750" y="518590"/>
                  <a:pt x="277977" y="516577"/>
                </a:cubicBezTo>
                <a:cubicBezTo>
                  <a:pt x="273591" y="513232"/>
                  <a:pt x="269227" y="509874"/>
                  <a:pt x="264925" y="506443"/>
                </a:cubicBezTo>
                <a:cubicBezTo>
                  <a:pt x="253596" y="497433"/>
                  <a:pt x="242132" y="488987"/>
                  <a:pt x="229746" y="481170"/>
                </a:cubicBezTo>
                <a:cubicBezTo>
                  <a:pt x="226846" y="479266"/>
                  <a:pt x="223950" y="477358"/>
                  <a:pt x="221057" y="475445"/>
                </a:cubicBezTo>
                <a:cubicBezTo>
                  <a:pt x="218227" y="473594"/>
                  <a:pt x="215396" y="471744"/>
                  <a:pt x="212563" y="469896"/>
                </a:cubicBezTo>
                <a:cubicBezTo>
                  <a:pt x="211351" y="469102"/>
                  <a:pt x="210138" y="468309"/>
                  <a:pt x="208889" y="467491"/>
                </a:cubicBezTo>
                <a:cubicBezTo>
                  <a:pt x="202848" y="463599"/>
                  <a:pt x="196732" y="459888"/>
                  <a:pt x="190406" y="456382"/>
                </a:cubicBezTo>
                <a:cubicBezTo>
                  <a:pt x="189263" y="455748"/>
                  <a:pt x="188119" y="455114"/>
                  <a:pt x="186942" y="454460"/>
                </a:cubicBezTo>
                <a:cubicBezTo>
                  <a:pt x="184648" y="453196"/>
                  <a:pt x="182348" y="451941"/>
                  <a:pt x="180041" y="450696"/>
                </a:cubicBezTo>
                <a:cubicBezTo>
                  <a:pt x="177292" y="449185"/>
                  <a:pt x="174612" y="447571"/>
                  <a:pt x="171948" y="445940"/>
                </a:cubicBezTo>
                <a:cubicBezTo>
                  <a:pt x="171948" y="445009"/>
                  <a:pt x="171948" y="444079"/>
                  <a:pt x="171948" y="443121"/>
                </a:cubicBezTo>
                <a:cubicBezTo>
                  <a:pt x="170804" y="442985"/>
                  <a:pt x="169660" y="442848"/>
                  <a:pt x="168482" y="442708"/>
                </a:cubicBezTo>
                <a:cubicBezTo>
                  <a:pt x="163547" y="441576"/>
                  <a:pt x="161063" y="439897"/>
                  <a:pt x="157107" y="437044"/>
                </a:cubicBezTo>
                <a:cubicBezTo>
                  <a:pt x="149345" y="431895"/>
                  <a:pt x="141843" y="429626"/>
                  <a:pt x="132559" y="427510"/>
                </a:cubicBezTo>
                <a:cubicBezTo>
                  <a:pt x="128067" y="426168"/>
                  <a:pt x="126607" y="425060"/>
                  <a:pt x="123522" y="421983"/>
                </a:cubicBezTo>
                <a:cubicBezTo>
                  <a:pt x="118310" y="419033"/>
                  <a:pt x="114076" y="418794"/>
                  <a:pt x="107986" y="418730"/>
                </a:cubicBezTo>
                <a:cubicBezTo>
                  <a:pt x="106174" y="418694"/>
                  <a:pt x="104362" y="418659"/>
                  <a:pt x="102494" y="418622"/>
                </a:cubicBezTo>
                <a:cubicBezTo>
                  <a:pt x="98715" y="418573"/>
                  <a:pt x="94936" y="418529"/>
                  <a:pt x="91157" y="418490"/>
                </a:cubicBezTo>
                <a:cubicBezTo>
                  <a:pt x="78470" y="418231"/>
                  <a:pt x="65485" y="417940"/>
                  <a:pt x="55277" y="410445"/>
                </a:cubicBezTo>
                <a:cubicBezTo>
                  <a:pt x="54084" y="409137"/>
                  <a:pt x="52893" y="407829"/>
                  <a:pt x="51665" y="406481"/>
                </a:cubicBezTo>
                <a:cubicBezTo>
                  <a:pt x="49752" y="404480"/>
                  <a:pt x="47831" y="402483"/>
                  <a:pt x="45904" y="400492"/>
                </a:cubicBezTo>
                <a:cubicBezTo>
                  <a:pt x="44996" y="399526"/>
                  <a:pt x="44088" y="398559"/>
                  <a:pt x="43152" y="397564"/>
                </a:cubicBezTo>
                <a:cubicBezTo>
                  <a:pt x="40865" y="395062"/>
                  <a:pt x="40865" y="395062"/>
                  <a:pt x="37605" y="393798"/>
                </a:cubicBezTo>
                <a:lnTo>
                  <a:pt x="38995" y="368712"/>
                </a:lnTo>
                <a:lnTo>
                  <a:pt x="38666" y="369724"/>
                </a:lnTo>
                <a:cubicBezTo>
                  <a:pt x="37003" y="374506"/>
                  <a:pt x="36202" y="379113"/>
                  <a:pt x="35542" y="384081"/>
                </a:cubicBezTo>
                <a:cubicBezTo>
                  <a:pt x="30313" y="376119"/>
                  <a:pt x="31188" y="366593"/>
                  <a:pt x="33326" y="357791"/>
                </a:cubicBezTo>
                <a:cubicBezTo>
                  <a:pt x="37176" y="347767"/>
                  <a:pt x="44536" y="340769"/>
                  <a:pt x="52725" y="333349"/>
                </a:cubicBezTo>
                <a:lnTo>
                  <a:pt x="55222" y="334475"/>
                </a:lnTo>
                <a:lnTo>
                  <a:pt x="56222" y="333347"/>
                </a:lnTo>
                <a:lnTo>
                  <a:pt x="55871" y="333347"/>
                </a:lnTo>
                <a:lnTo>
                  <a:pt x="56346" y="333207"/>
                </a:lnTo>
                <a:lnTo>
                  <a:pt x="56351" y="333202"/>
                </a:lnTo>
                <a:lnTo>
                  <a:pt x="56365" y="333202"/>
                </a:lnTo>
                <a:lnTo>
                  <a:pt x="79571" y="326360"/>
                </a:lnTo>
                <a:cubicBezTo>
                  <a:pt x="87782" y="326037"/>
                  <a:pt x="96164" y="327572"/>
                  <a:pt x="104297" y="330529"/>
                </a:cubicBezTo>
                <a:lnTo>
                  <a:pt x="107170" y="334417"/>
                </a:lnTo>
                <a:lnTo>
                  <a:pt x="109366" y="336046"/>
                </a:lnTo>
                <a:lnTo>
                  <a:pt x="109463" y="336020"/>
                </a:lnTo>
                <a:lnTo>
                  <a:pt x="109463" y="336118"/>
                </a:lnTo>
                <a:lnTo>
                  <a:pt x="115226" y="340394"/>
                </a:lnTo>
                <a:lnTo>
                  <a:pt x="114010" y="340120"/>
                </a:lnTo>
                <a:lnTo>
                  <a:pt x="133285" y="357423"/>
                </a:lnTo>
                <a:cubicBezTo>
                  <a:pt x="142471" y="373187"/>
                  <a:pt x="155564" y="382744"/>
                  <a:pt x="173509" y="389571"/>
                </a:cubicBezTo>
                <a:cubicBezTo>
                  <a:pt x="176254" y="390785"/>
                  <a:pt x="178988" y="392017"/>
                  <a:pt x="181711" y="393270"/>
                </a:cubicBezTo>
                <a:cubicBezTo>
                  <a:pt x="182964" y="393833"/>
                  <a:pt x="184216" y="394396"/>
                  <a:pt x="185507" y="394976"/>
                </a:cubicBezTo>
                <a:cubicBezTo>
                  <a:pt x="187897" y="396058"/>
                  <a:pt x="190281" y="397151"/>
                  <a:pt x="192658" y="398257"/>
                </a:cubicBezTo>
                <a:cubicBezTo>
                  <a:pt x="193749" y="398762"/>
                  <a:pt x="194841" y="399267"/>
                  <a:pt x="195966" y="399788"/>
                </a:cubicBezTo>
                <a:cubicBezTo>
                  <a:pt x="196912" y="400231"/>
                  <a:pt x="197858" y="400674"/>
                  <a:pt x="198833" y="401131"/>
                </a:cubicBezTo>
                <a:cubicBezTo>
                  <a:pt x="201808" y="402326"/>
                  <a:pt x="204701" y="403032"/>
                  <a:pt x="207877" y="403663"/>
                </a:cubicBezTo>
                <a:cubicBezTo>
                  <a:pt x="207877" y="404593"/>
                  <a:pt x="207877" y="405523"/>
                  <a:pt x="207877" y="406481"/>
                </a:cubicBezTo>
                <a:cubicBezTo>
                  <a:pt x="221233" y="411377"/>
                  <a:pt x="234752" y="415503"/>
                  <a:pt x="248492" y="419428"/>
                </a:cubicBezTo>
                <a:cubicBezTo>
                  <a:pt x="250298" y="419947"/>
                  <a:pt x="252104" y="420466"/>
                  <a:pt x="253965" y="421000"/>
                </a:cubicBezTo>
                <a:cubicBezTo>
                  <a:pt x="258388" y="422270"/>
                  <a:pt x="262812" y="423537"/>
                  <a:pt x="267237" y="424801"/>
                </a:cubicBezTo>
                <a:lnTo>
                  <a:pt x="267237" y="426451"/>
                </a:lnTo>
                <a:lnTo>
                  <a:pt x="288701" y="429217"/>
                </a:lnTo>
                <a:cubicBezTo>
                  <a:pt x="288701" y="430147"/>
                  <a:pt x="288701" y="431078"/>
                  <a:pt x="288701" y="432036"/>
                </a:cubicBezTo>
                <a:cubicBezTo>
                  <a:pt x="301487" y="433472"/>
                  <a:pt x="314148" y="433662"/>
                  <a:pt x="327010" y="433628"/>
                </a:cubicBezTo>
                <a:cubicBezTo>
                  <a:pt x="330502" y="433621"/>
                  <a:pt x="333994" y="433628"/>
                  <a:pt x="337486" y="433637"/>
                </a:cubicBezTo>
                <a:cubicBezTo>
                  <a:pt x="339734" y="433637"/>
                  <a:pt x="341982" y="433635"/>
                  <a:pt x="344229" y="433632"/>
                </a:cubicBezTo>
                <a:cubicBezTo>
                  <a:pt x="347246" y="433630"/>
                  <a:pt x="347246" y="433630"/>
                  <a:pt x="350323" y="433627"/>
                </a:cubicBezTo>
                <a:cubicBezTo>
                  <a:pt x="355445" y="433459"/>
                  <a:pt x="360220" y="432915"/>
                  <a:pt x="365245" y="432036"/>
                </a:cubicBezTo>
                <a:lnTo>
                  <a:pt x="360797" y="433759"/>
                </a:lnTo>
                <a:lnTo>
                  <a:pt x="365650" y="433257"/>
                </a:lnTo>
                <a:cubicBezTo>
                  <a:pt x="366166" y="431861"/>
                  <a:pt x="366682" y="430466"/>
                  <a:pt x="367213" y="429029"/>
                </a:cubicBezTo>
                <a:cubicBezTo>
                  <a:pt x="369854" y="427628"/>
                  <a:pt x="372501" y="426234"/>
                  <a:pt x="375188" y="424906"/>
                </a:cubicBezTo>
                <a:cubicBezTo>
                  <a:pt x="390245" y="417204"/>
                  <a:pt x="397438" y="403183"/>
                  <a:pt x="404704" y="389571"/>
                </a:cubicBezTo>
                <a:cubicBezTo>
                  <a:pt x="405219" y="389105"/>
                  <a:pt x="405734" y="388641"/>
                  <a:pt x="406265" y="388161"/>
                </a:cubicBezTo>
                <a:cubicBezTo>
                  <a:pt x="406663" y="382152"/>
                  <a:pt x="406555" y="376125"/>
                  <a:pt x="406559" y="370106"/>
                </a:cubicBezTo>
                <a:cubicBezTo>
                  <a:pt x="406578" y="368412"/>
                  <a:pt x="406597" y="366718"/>
                  <a:pt x="406617" y="364973"/>
                </a:cubicBezTo>
                <a:cubicBezTo>
                  <a:pt x="406620" y="363344"/>
                  <a:pt x="406622" y="361715"/>
                  <a:pt x="406626" y="360038"/>
                </a:cubicBezTo>
                <a:cubicBezTo>
                  <a:pt x="406632" y="358541"/>
                  <a:pt x="406638" y="357045"/>
                  <a:pt x="406645" y="355503"/>
                </a:cubicBezTo>
                <a:cubicBezTo>
                  <a:pt x="406264" y="351503"/>
                  <a:pt x="405326" y="349318"/>
                  <a:pt x="403142" y="345885"/>
                </a:cubicBezTo>
                <a:cubicBezTo>
                  <a:pt x="402583" y="343484"/>
                  <a:pt x="402067" y="341075"/>
                  <a:pt x="401579" y="338663"/>
                </a:cubicBezTo>
                <a:cubicBezTo>
                  <a:pt x="399365" y="330323"/>
                  <a:pt x="395538" y="323370"/>
                  <a:pt x="390938" y="315939"/>
                </a:cubicBezTo>
                <a:cubicBezTo>
                  <a:pt x="390290" y="314890"/>
                  <a:pt x="389642" y="313842"/>
                  <a:pt x="388976" y="312762"/>
                </a:cubicBezTo>
                <a:cubicBezTo>
                  <a:pt x="385623" y="307500"/>
                  <a:pt x="382070" y="302607"/>
                  <a:pt x="377934" y="297817"/>
                </a:cubicBezTo>
                <a:cubicBezTo>
                  <a:pt x="373788" y="292978"/>
                  <a:pt x="371423" y="288111"/>
                  <a:pt x="368775" y="282470"/>
                </a:cubicBezTo>
                <a:cubicBezTo>
                  <a:pt x="366035" y="278585"/>
                  <a:pt x="362994" y="274937"/>
                  <a:pt x="359890" y="271284"/>
                </a:cubicBezTo>
                <a:cubicBezTo>
                  <a:pt x="359059" y="270296"/>
                  <a:pt x="358230" y="269307"/>
                  <a:pt x="357374" y="268288"/>
                </a:cubicBezTo>
                <a:cubicBezTo>
                  <a:pt x="351312" y="261177"/>
                  <a:pt x="344882" y="254704"/>
                  <a:pt x="337533" y="248649"/>
                </a:cubicBezTo>
                <a:cubicBezTo>
                  <a:pt x="336767" y="247896"/>
                  <a:pt x="336002" y="247144"/>
                  <a:pt x="335214" y="246369"/>
                </a:cubicBezTo>
                <a:cubicBezTo>
                  <a:pt x="332597" y="243963"/>
                  <a:pt x="332597" y="243963"/>
                  <a:pt x="327085" y="242571"/>
                </a:cubicBezTo>
                <a:cubicBezTo>
                  <a:pt x="309670" y="236923"/>
                  <a:pt x="296614" y="222751"/>
                  <a:pt x="288785" y="207968"/>
                </a:cubicBezTo>
                <a:cubicBezTo>
                  <a:pt x="286673" y="202851"/>
                  <a:pt x="286348" y="197968"/>
                  <a:pt x="286373" y="192544"/>
                </a:cubicBezTo>
                <a:cubicBezTo>
                  <a:pt x="286377" y="191437"/>
                  <a:pt x="286381" y="190330"/>
                  <a:pt x="286385" y="189190"/>
                </a:cubicBezTo>
                <a:cubicBezTo>
                  <a:pt x="286881" y="178340"/>
                  <a:pt x="291581" y="171728"/>
                  <a:pt x="300042" y="164095"/>
                </a:cubicBezTo>
                <a:cubicBezTo>
                  <a:pt x="301386" y="162752"/>
                  <a:pt x="301386" y="162752"/>
                  <a:pt x="302757" y="161381"/>
                </a:cubicBezTo>
                <a:cubicBezTo>
                  <a:pt x="312597" y="152504"/>
                  <a:pt x="325185" y="152675"/>
                  <a:pt x="338411" y="152293"/>
                </a:cubicBezTo>
                <a:cubicBezTo>
                  <a:pt x="350839" y="152463"/>
                  <a:pt x="359094" y="154554"/>
                  <a:pt x="368482" y="161893"/>
                </a:cubicBezTo>
                <a:cubicBezTo>
                  <a:pt x="369609" y="163085"/>
                  <a:pt x="370737" y="164277"/>
                  <a:pt x="371899" y="165505"/>
                </a:cubicBezTo>
                <a:cubicBezTo>
                  <a:pt x="372962" y="166522"/>
                  <a:pt x="374026" y="167539"/>
                  <a:pt x="375121" y="168587"/>
                </a:cubicBezTo>
                <a:cubicBezTo>
                  <a:pt x="381050" y="176351"/>
                  <a:pt x="384520" y="184328"/>
                  <a:pt x="384982" y="193777"/>
                </a:cubicBezTo>
                <a:cubicBezTo>
                  <a:pt x="385464" y="201192"/>
                  <a:pt x="387638" y="207607"/>
                  <a:pt x="390352" y="214563"/>
                </a:cubicBezTo>
                <a:cubicBezTo>
                  <a:pt x="390934" y="216079"/>
                  <a:pt x="390934" y="216079"/>
                  <a:pt x="391529" y="217626"/>
                </a:cubicBezTo>
                <a:cubicBezTo>
                  <a:pt x="394082" y="223926"/>
                  <a:pt x="397412" y="228969"/>
                  <a:pt x="401579" y="234556"/>
                </a:cubicBezTo>
                <a:cubicBezTo>
                  <a:pt x="401579" y="235952"/>
                  <a:pt x="401579" y="237347"/>
                  <a:pt x="401579" y="238784"/>
                </a:cubicBezTo>
                <a:cubicBezTo>
                  <a:pt x="402884" y="239263"/>
                  <a:pt x="402884" y="239263"/>
                  <a:pt x="404215" y="239753"/>
                </a:cubicBezTo>
                <a:cubicBezTo>
                  <a:pt x="410099" y="242765"/>
                  <a:pt x="414395" y="246733"/>
                  <a:pt x="417811" y="251996"/>
                </a:cubicBezTo>
                <a:cubicBezTo>
                  <a:pt x="420462" y="255897"/>
                  <a:pt x="423407" y="258959"/>
                  <a:pt x="426866" y="262300"/>
                </a:cubicBezTo>
                <a:cubicBezTo>
                  <a:pt x="435101" y="270407"/>
                  <a:pt x="442641" y="278936"/>
                  <a:pt x="450097" y="287628"/>
                </a:cubicBezTo>
                <a:cubicBezTo>
                  <a:pt x="453081" y="291117"/>
                  <a:pt x="453081" y="291117"/>
                  <a:pt x="457425" y="293920"/>
                </a:cubicBezTo>
                <a:cubicBezTo>
                  <a:pt x="458585" y="294792"/>
                  <a:pt x="459745" y="295664"/>
                  <a:pt x="460940" y="296562"/>
                </a:cubicBezTo>
                <a:cubicBezTo>
                  <a:pt x="460940" y="297957"/>
                  <a:pt x="460940" y="299352"/>
                  <a:pt x="460940" y="300790"/>
                </a:cubicBezTo>
                <a:cubicBezTo>
                  <a:pt x="465063" y="302782"/>
                  <a:pt x="468862" y="304133"/>
                  <a:pt x="473437" y="305018"/>
                </a:cubicBezTo>
                <a:cubicBezTo>
                  <a:pt x="473437" y="305947"/>
                  <a:pt x="473437" y="306877"/>
                  <a:pt x="473437" y="307836"/>
                </a:cubicBezTo>
                <a:cubicBezTo>
                  <a:pt x="475581" y="308519"/>
                  <a:pt x="477730" y="309193"/>
                  <a:pt x="479881" y="309862"/>
                </a:cubicBezTo>
                <a:cubicBezTo>
                  <a:pt x="481077" y="310237"/>
                  <a:pt x="482273" y="310614"/>
                  <a:pt x="483505" y="311001"/>
                </a:cubicBezTo>
                <a:cubicBezTo>
                  <a:pt x="505448" y="316843"/>
                  <a:pt x="527690" y="314359"/>
                  <a:pt x="548419" y="306427"/>
                </a:cubicBezTo>
                <a:cubicBezTo>
                  <a:pt x="549548" y="305998"/>
                  <a:pt x="550678" y="305569"/>
                  <a:pt x="551842" y="305127"/>
                </a:cubicBezTo>
                <a:cubicBezTo>
                  <a:pt x="555376" y="303227"/>
                  <a:pt x="557584" y="300980"/>
                  <a:pt x="560232" y="298148"/>
                </a:cubicBezTo>
                <a:cubicBezTo>
                  <a:pt x="561137" y="297192"/>
                  <a:pt x="562041" y="296236"/>
                  <a:pt x="562972" y="295252"/>
                </a:cubicBezTo>
                <a:cubicBezTo>
                  <a:pt x="564755" y="293274"/>
                  <a:pt x="566459" y="291237"/>
                  <a:pt x="568086" y="289152"/>
                </a:cubicBezTo>
                <a:cubicBezTo>
                  <a:pt x="568813" y="288342"/>
                  <a:pt x="569539" y="287532"/>
                  <a:pt x="570289" y="286697"/>
                </a:cubicBezTo>
                <a:cubicBezTo>
                  <a:pt x="571319" y="286697"/>
                  <a:pt x="572350" y="286697"/>
                  <a:pt x="573413" y="286697"/>
                </a:cubicBezTo>
                <a:cubicBezTo>
                  <a:pt x="577408" y="276984"/>
                  <a:pt x="577197" y="267284"/>
                  <a:pt x="577220" y="257016"/>
                </a:cubicBezTo>
                <a:cubicBezTo>
                  <a:pt x="577227" y="255625"/>
                  <a:pt x="577227" y="255625"/>
                  <a:pt x="577235" y="254206"/>
                </a:cubicBezTo>
                <a:cubicBezTo>
                  <a:pt x="577257" y="237553"/>
                  <a:pt x="574604" y="222055"/>
                  <a:pt x="569443" y="206049"/>
                </a:cubicBezTo>
                <a:cubicBezTo>
                  <a:pt x="568726" y="203553"/>
                  <a:pt x="568726" y="203553"/>
                  <a:pt x="568726" y="200735"/>
                </a:cubicBezTo>
                <a:cubicBezTo>
                  <a:pt x="567695" y="200735"/>
                  <a:pt x="566664" y="200735"/>
                  <a:pt x="565602" y="200735"/>
                </a:cubicBezTo>
                <a:cubicBezTo>
                  <a:pt x="563274" y="195295"/>
                  <a:pt x="561092" y="190108"/>
                  <a:pt x="559549" y="184441"/>
                </a:cubicBezTo>
                <a:cubicBezTo>
                  <a:pt x="555572" y="173477"/>
                  <a:pt x="547043" y="167105"/>
                  <a:pt x="537484" y="159867"/>
                </a:cubicBezTo>
                <a:cubicBezTo>
                  <a:pt x="533579" y="156609"/>
                  <a:pt x="533579" y="156609"/>
                  <a:pt x="531235" y="154230"/>
                </a:cubicBezTo>
                <a:cubicBezTo>
                  <a:pt x="531235" y="153301"/>
                  <a:pt x="531235" y="152371"/>
                  <a:pt x="531235" y="151412"/>
                </a:cubicBezTo>
                <a:cubicBezTo>
                  <a:pt x="529689" y="150947"/>
                  <a:pt x="528143" y="150482"/>
                  <a:pt x="526549" y="150003"/>
                </a:cubicBezTo>
                <a:cubicBezTo>
                  <a:pt x="519904" y="137298"/>
                  <a:pt x="519105" y="120357"/>
                  <a:pt x="524304" y="107198"/>
                </a:cubicBezTo>
                <a:cubicBezTo>
                  <a:pt x="529443" y="97376"/>
                  <a:pt x="535781" y="90193"/>
                  <a:pt x="547052" y="85972"/>
                </a:cubicBezTo>
                <a:cubicBezTo>
                  <a:pt x="559924" y="81835"/>
                  <a:pt x="575221" y="79746"/>
                  <a:pt x="588460" y="83538"/>
                </a:cubicBezTo>
                <a:cubicBezTo>
                  <a:pt x="601643" y="89713"/>
                  <a:pt x="611835" y="99450"/>
                  <a:pt x="617152" y="111954"/>
                </a:cubicBezTo>
                <a:cubicBezTo>
                  <a:pt x="617935" y="116052"/>
                  <a:pt x="617954" y="120024"/>
                  <a:pt x="617884" y="124175"/>
                </a:cubicBezTo>
                <a:cubicBezTo>
                  <a:pt x="617896" y="125307"/>
                  <a:pt x="617906" y="126440"/>
                  <a:pt x="617917" y="127607"/>
                </a:cubicBezTo>
                <a:cubicBezTo>
                  <a:pt x="617963" y="132394"/>
                  <a:pt x="617938" y="137181"/>
                  <a:pt x="617919" y="141969"/>
                </a:cubicBezTo>
                <a:cubicBezTo>
                  <a:pt x="617899" y="160184"/>
                  <a:pt x="619422" y="175572"/>
                  <a:pt x="630625" y="191311"/>
                </a:cubicBezTo>
                <a:cubicBezTo>
                  <a:pt x="633753" y="195891"/>
                  <a:pt x="636431" y="199900"/>
                  <a:pt x="637850" y="205139"/>
                </a:cubicBezTo>
                <a:cubicBezTo>
                  <a:pt x="638615" y="209623"/>
                  <a:pt x="638615" y="209623"/>
                  <a:pt x="643708" y="212009"/>
                </a:cubicBezTo>
                <a:cubicBezTo>
                  <a:pt x="645380" y="214563"/>
                  <a:pt x="645380" y="214563"/>
                  <a:pt x="647027" y="217645"/>
                </a:cubicBezTo>
                <a:cubicBezTo>
                  <a:pt x="652549" y="227016"/>
                  <a:pt x="660443" y="235696"/>
                  <a:pt x="670264" y="241603"/>
                </a:cubicBezTo>
                <a:cubicBezTo>
                  <a:pt x="670264" y="242532"/>
                  <a:pt x="670264" y="243462"/>
                  <a:pt x="670264" y="244421"/>
                </a:cubicBezTo>
                <a:cubicBezTo>
                  <a:pt x="672036" y="244857"/>
                  <a:pt x="673808" y="245293"/>
                  <a:pt x="675634" y="245742"/>
                </a:cubicBezTo>
                <a:cubicBezTo>
                  <a:pt x="681199" y="247239"/>
                  <a:pt x="681199" y="247239"/>
                  <a:pt x="682761" y="248649"/>
                </a:cubicBezTo>
                <a:cubicBezTo>
                  <a:pt x="704487" y="252065"/>
                  <a:pt x="732606" y="256402"/>
                  <a:pt x="752092" y="245076"/>
                </a:cubicBezTo>
                <a:cubicBezTo>
                  <a:pt x="754252" y="243599"/>
                  <a:pt x="756372" y="242073"/>
                  <a:pt x="758433" y="240485"/>
                </a:cubicBezTo>
                <a:cubicBezTo>
                  <a:pt x="760867" y="238784"/>
                  <a:pt x="760867" y="238784"/>
                  <a:pt x="763991" y="238784"/>
                </a:cubicBezTo>
                <a:cubicBezTo>
                  <a:pt x="764647" y="237296"/>
                  <a:pt x="764647" y="237296"/>
                  <a:pt x="765315" y="235778"/>
                </a:cubicBezTo>
                <a:cubicBezTo>
                  <a:pt x="767151" y="231659"/>
                  <a:pt x="769030" y="227557"/>
                  <a:pt x="770923" y="223459"/>
                </a:cubicBezTo>
                <a:cubicBezTo>
                  <a:pt x="771608" y="221966"/>
                  <a:pt x="772292" y="220472"/>
                  <a:pt x="772998" y="218934"/>
                </a:cubicBezTo>
                <a:cubicBezTo>
                  <a:pt x="774429" y="215885"/>
                  <a:pt x="775968" y="212878"/>
                  <a:pt x="777562" y="209895"/>
                </a:cubicBezTo>
                <a:cubicBezTo>
                  <a:pt x="787607" y="185732"/>
                  <a:pt x="788559" y="149501"/>
                  <a:pt x="781175" y="124637"/>
                </a:cubicBezTo>
                <a:cubicBezTo>
                  <a:pt x="780144" y="124637"/>
                  <a:pt x="779113" y="124637"/>
                  <a:pt x="778051" y="124637"/>
                </a:cubicBezTo>
                <a:cubicBezTo>
                  <a:pt x="768501" y="110080"/>
                  <a:pt x="762898" y="96653"/>
                  <a:pt x="767116" y="79542"/>
                </a:cubicBezTo>
                <a:cubicBezTo>
                  <a:pt x="772286" y="69057"/>
                  <a:pt x="781456" y="58252"/>
                  <a:pt x="793379" y="54000"/>
                </a:cubicBezTo>
                <a:cubicBezTo>
                  <a:pt x="808369" y="49250"/>
                  <a:pt x="826058" y="49579"/>
                  <a:pt x="840688" y="55503"/>
                </a:cubicBezTo>
                <a:cubicBezTo>
                  <a:pt x="845183" y="57759"/>
                  <a:pt x="848037" y="60575"/>
                  <a:pt x="851470" y="64040"/>
                </a:cubicBezTo>
                <a:cubicBezTo>
                  <a:pt x="852721" y="65272"/>
                  <a:pt x="852721" y="65272"/>
                  <a:pt x="853997" y="66529"/>
                </a:cubicBezTo>
                <a:cubicBezTo>
                  <a:pt x="858396" y="71505"/>
                  <a:pt x="860490" y="76640"/>
                  <a:pt x="861488" y="82057"/>
                </a:cubicBezTo>
                <a:lnTo>
                  <a:pt x="861937" y="90492"/>
                </a:lnTo>
                <a:lnTo>
                  <a:pt x="863826" y="100715"/>
                </a:lnTo>
                <a:cubicBezTo>
                  <a:pt x="862141" y="107853"/>
                  <a:pt x="859866" y="114857"/>
                  <a:pt x="857577" y="121853"/>
                </a:cubicBezTo>
                <a:cubicBezTo>
                  <a:pt x="857062" y="121853"/>
                  <a:pt x="856547" y="121853"/>
                  <a:pt x="856015" y="121853"/>
                </a:cubicBezTo>
                <a:cubicBezTo>
                  <a:pt x="855731" y="120401"/>
                  <a:pt x="855731" y="120401"/>
                  <a:pt x="855442" y="118919"/>
                </a:cubicBezTo>
                <a:lnTo>
                  <a:pt x="855417" y="118798"/>
                </a:lnTo>
                <a:lnTo>
                  <a:pt x="856157" y="124637"/>
                </a:lnTo>
                <a:lnTo>
                  <a:pt x="850623" y="134701"/>
                </a:lnTo>
                <a:lnTo>
                  <a:pt x="851325" y="135968"/>
                </a:lnTo>
                <a:cubicBezTo>
                  <a:pt x="850851" y="137246"/>
                  <a:pt x="850376" y="138525"/>
                  <a:pt x="849886" y="139843"/>
                </a:cubicBezTo>
                <a:cubicBezTo>
                  <a:pt x="848171" y="144505"/>
                  <a:pt x="847798" y="148002"/>
                  <a:pt x="847786" y="152889"/>
                </a:cubicBezTo>
                <a:cubicBezTo>
                  <a:pt x="847779" y="154500"/>
                  <a:pt x="847773" y="156109"/>
                  <a:pt x="847767" y="157768"/>
                </a:cubicBezTo>
                <a:cubicBezTo>
                  <a:pt x="847782" y="159468"/>
                  <a:pt x="847796" y="161167"/>
                  <a:pt x="847810" y="162919"/>
                </a:cubicBezTo>
                <a:cubicBezTo>
                  <a:pt x="847821" y="165546"/>
                  <a:pt x="847821" y="165546"/>
                  <a:pt x="847832" y="168227"/>
                </a:cubicBezTo>
                <a:cubicBezTo>
                  <a:pt x="847980" y="181934"/>
                  <a:pt x="849003" y="195419"/>
                  <a:pt x="850903" y="209013"/>
                </a:cubicBezTo>
                <a:lnTo>
                  <a:pt x="852880" y="224692"/>
                </a:lnTo>
                <a:lnTo>
                  <a:pt x="854595" y="224692"/>
                </a:lnTo>
                <a:cubicBezTo>
                  <a:pt x="855086" y="225542"/>
                  <a:pt x="855577" y="226392"/>
                  <a:pt x="856083" y="227268"/>
                </a:cubicBezTo>
                <a:cubicBezTo>
                  <a:pt x="862358" y="237839"/>
                  <a:pt x="866924" y="242785"/>
                  <a:pt x="879588" y="247239"/>
                </a:cubicBezTo>
                <a:cubicBezTo>
                  <a:pt x="881642" y="248025"/>
                  <a:pt x="883692" y="248817"/>
                  <a:pt x="885739" y="249618"/>
                </a:cubicBezTo>
                <a:cubicBezTo>
                  <a:pt x="887318" y="250227"/>
                  <a:pt x="888897" y="250838"/>
                  <a:pt x="890523" y="251467"/>
                </a:cubicBezTo>
                <a:cubicBezTo>
                  <a:pt x="890523" y="252397"/>
                  <a:pt x="890523" y="253327"/>
                  <a:pt x="890523" y="254285"/>
                </a:cubicBezTo>
                <a:cubicBezTo>
                  <a:pt x="900347" y="257061"/>
                  <a:pt x="910127" y="259425"/>
                  <a:pt x="920203" y="261332"/>
                </a:cubicBezTo>
                <a:cubicBezTo>
                  <a:pt x="920203" y="261796"/>
                  <a:pt x="920203" y="262262"/>
                  <a:pt x="920203" y="262741"/>
                </a:cubicBezTo>
                <a:cubicBezTo>
                  <a:pt x="917111" y="262741"/>
                  <a:pt x="914018" y="262741"/>
                  <a:pt x="910831" y="262741"/>
                </a:cubicBezTo>
                <a:lnTo>
                  <a:pt x="910831" y="262864"/>
                </a:lnTo>
                <a:lnTo>
                  <a:pt x="927993" y="264177"/>
                </a:lnTo>
                <a:lnTo>
                  <a:pt x="939273" y="265285"/>
                </a:lnTo>
                <a:lnTo>
                  <a:pt x="940456" y="265191"/>
                </a:lnTo>
                <a:cubicBezTo>
                  <a:pt x="962552" y="263054"/>
                  <a:pt x="974979" y="255295"/>
                  <a:pt x="991622" y="242329"/>
                </a:cubicBezTo>
                <a:lnTo>
                  <a:pt x="1000803" y="236505"/>
                </a:lnTo>
                <a:lnTo>
                  <a:pt x="999806" y="236055"/>
                </a:lnTo>
                <a:cubicBezTo>
                  <a:pt x="1000902" y="234997"/>
                  <a:pt x="1001997" y="233941"/>
                  <a:pt x="1003126" y="232851"/>
                </a:cubicBezTo>
                <a:cubicBezTo>
                  <a:pt x="1012364" y="223880"/>
                  <a:pt x="1021184" y="214752"/>
                  <a:pt x="1029487" y="205052"/>
                </a:cubicBezTo>
                <a:lnTo>
                  <a:pt x="1029872" y="206442"/>
                </a:lnTo>
                <a:lnTo>
                  <a:pt x="1031614" y="203719"/>
                </a:lnTo>
                <a:cubicBezTo>
                  <a:pt x="1033221" y="199204"/>
                  <a:pt x="1035713" y="196017"/>
                  <a:pt x="1038924" y="192280"/>
                </a:cubicBezTo>
                <a:cubicBezTo>
                  <a:pt x="1039956" y="191815"/>
                  <a:pt x="1040987" y="191349"/>
                  <a:pt x="1042049" y="190870"/>
                </a:cubicBezTo>
                <a:cubicBezTo>
                  <a:pt x="1043161" y="188473"/>
                  <a:pt x="1043161" y="188473"/>
                  <a:pt x="1044294" y="186026"/>
                </a:cubicBezTo>
                <a:cubicBezTo>
                  <a:pt x="1046735" y="181006"/>
                  <a:pt x="1046735" y="181006"/>
                  <a:pt x="1051422" y="178188"/>
                </a:cubicBezTo>
                <a:cubicBezTo>
                  <a:pt x="1052553" y="175286"/>
                  <a:pt x="1052553" y="175286"/>
                  <a:pt x="1052984" y="172551"/>
                </a:cubicBezTo>
                <a:cubicBezTo>
                  <a:pt x="1054014" y="172551"/>
                  <a:pt x="1055046" y="172551"/>
                  <a:pt x="1056108" y="172551"/>
                </a:cubicBezTo>
                <a:cubicBezTo>
                  <a:pt x="1057139" y="169295"/>
                  <a:pt x="1058170" y="166040"/>
                  <a:pt x="1059232" y="162686"/>
                </a:cubicBezTo>
                <a:cubicBezTo>
                  <a:pt x="1060263" y="162686"/>
                  <a:pt x="1061295" y="162686"/>
                  <a:pt x="1062357" y="162686"/>
                </a:cubicBezTo>
                <a:cubicBezTo>
                  <a:pt x="1062755" y="161484"/>
                  <a:pt x="1062755" y="161484"/>
                  <a:pt x="1063162" y="160258"/>
                </a:cubicBezTo>
                <a:cubicBezTo>
                  <a:pt x="1065716" y="152917"/>
                  <a:pt x="1068813" y="146686"/>
                  <a:pt x="1073292" y="140138"/>
                </a:cubicBezTo>
                <a:cubicBezTo>
                  <a:pt x="1074322" y="140138"/>
                  <a:pt x="1075353" y="140138"/>
                  <a:pt x="1076415" y="140138"/>
                </a:cubicBezTo>
                <a:cubicBezTo>
                  <a:pt x="1079808" y="132748"/>
                  <a:pt x="1082509" y="125160"/>
                  <a:pt x="1085294" y="117569"/>
                </a:cubicBezTo>
                <a:cubicBezTo>
                  <a:pt x="1085972" y="116181"/>
                  <a:pt x="1086651" y="114793"/>
                  <a:pt x="1087350" y="113363"/>
                </a:cubicBezTo>
                <a:cubicBezTo>
                  <a:pt x="1089671" y="112666"/>
                  <a:pt x="1089671" y="112666"/>
                  <a:pt x="1092037" y="111954"/>
                </a:cubicBezTo>
                <a:cubicBezTo>
                  <a:pt x="1092230" y="110879"/>
                  <a:pt x="1092423" y="109803"/>
                  <a:pt x="1092623" y="108695"/>
                </a:cubicBezTo>
                <a:cubicBezTo>
                  <a:pt x="1093599" y="104908"/>
                  <a:pt x="1093599" y="104908"/>
                  <a:pt x="1096723" y="100680"/>
                </a:cubicBezTo>
                <a:cubicBezTo>
                  <a:pt x="1097207" y="99140"/>
                  <a:pt x="1097689" y="97599"/>
                  <a:pt x="1098188" y="96013"/>
                </a:cubicBezTo>
                <a:cubicBezTo>
                  <a:pt x="1099847" y="90815"/>
                  <a:pt x="1099847" y="90815"/>
                  <a:pt x="1102288" y="87029"/>
                </a:cubicBezTo>
                <a:cubicBezTo>
                  <a:pt x="1106061" y="79186"/>
                  <a:pt x="1107564" y="69424"/>
                  <a:pt x="1104534" y="61222"/>
                </a:cubicBezTo>
                <a:cubicBezTo>
                  <a:pt x="1104409" y="59341"/>
                  <a:pt x="1104366" y="57454"/>
                  <a:pt x="1104381" y="55569"/>
                </a:cubicBezTo>
                <a:cubicBezTo>
                  <a:pt x="1104386" y="54501"/>
                  <a:pt x="1104391" y="53434"/>
                  <a:pt x="1104397" y="52335"/>
                </a:cubicBezTo>
                <a:cubicBezTo>
                  <a:pt x="1104410" y="51228"/>
                  <a:pt x="1104423" y="50120"/>
                  <a:pt x="1104436" y="48979"/>
                </a:cubicBezTo>
                <a:cubicBezTo>
                  <a:pt x="1104443" y="47856"/>
                  <a:pt x="1104451" y="46733"/>
                  <a:pt x="1104457" y="45575"/>
                </a:cubicBezTo>
                <a:cubicBezTo>
                  <a:pt x="1104476" y="42805"/>
                  <a:pt x="1104504" y="40035"/>
                  <a:pt x="1104534" y="37265"/>
                </a:cubicBezTo>
                <a:cubicBezTo>
                  <a:pt x="1105565" y="37265"/>
                  <a:pt x="1106596" y="37265"/>
                  <a:pt x="1107658" y="37265"/>
                </a:cubicBezTo>
                <a:cubicBezTo>
                  <a:pt x="1107561" y="34562"/>
                  <a:pt x="1107561" y="34562"/>
                  <a:pt x="1107463" y="31805"/>
                </a:cubicBezTo>
                <a:cubicBezTo>
                  <a:pt x="1107353" y="28733"/>
                  <a:pt x="1107353" y="28733"/>
                  <a:pt x="1107658" y="25991"/>
                </a:cubicBezTo>
                <a:cubicBezTo>
                  <a:pt x="1108689" y="25062"/>
                  <a:pt x="1109720" y="24131"/>
                  <a:pt x="1110782" y="23173"/>
                </a:cubicBezTo>
                <a:cubicBezTo>
                  <a:pt x="1111104" y="22156"/>
                  <a:pt x="1111427" y="21138"/>
                  <a:pt x="1111759" y="20091"/>
                </a:cubicBezTo>
                <a:cubicBezTo>
                  <a:pt x="1116393" y="11539"/>
                  <a:pt x="1124927" y="6390"/>
                  <a:pt x="1134507" y="2828"/>
                </a:cubicBezTo>
                <a:cubicBezTo>
                  <a:pt x="1141389" y="825"/>
                  <a:pt x="1148262" y="-204"/>
                  <a:pt x="1155019" y="35"/>
                </a:cubicBezTo>
                <a:close/>
              </a:path>
            </a:pathLst>
          </a:custGeom>
          <a:solidFill>
            <a:schemeClr val="accent3"/>
          </a:solidFill>
          <a:ln w="2232" cap="flat">
            <a:noFill/>
            <a:prstDash val="solid"/>
            <a:miter/>
          </a:ln>
          <a:effectLst>
            <a:innerShdw blurRad="63500" dist="190500" dir="8100000">
              <a:schemeClr val="accent3">
                <a:lumMod val="75000"/>
                <a:alpha val="50000"/>
              </a:schemeClr>
            </a:innerShdw>
          </a:effectLst>
        </p:spPr>
        <p:txBody>
          <a:bodyPr wrap="squar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47" name="Oval 446">
            <a:extLst>
              <a:ext uri="{FF2B5EF4-FFF2-40B4-BE49-F238E27FC236}">
                <a16:creationId xmlns:a16="http://schemas.microsoft.com/office/drawing/2014/main" id="{B1F39EA0-88F6-FA60-E56E-3A2DC58DE6F1}"/>
              </a:ext>
            </a:extLst>
          </p:cNvPr>
          <p:cNvSpPr/>
          <p:nvPr/>
        </p:nvSpPr>
        <p:spPr>
          <a:xfrm>
            <a:off x="9323892" y="3345000"/>
            <a:ext cx="106472" cy="106472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48" name="Oval 447">
            <a:extLst>
              <a:ext uri="{FF2B5EF4-FFF2-40B4-BE49-F238E27FC236}">
                <a16:creationId xmlns:a16="http://schemas.microsoft.com/office/drawing/2014/main" id="{CF71296E-F516-3468-3ED4-726A5C4A1047}"/>
              </a:ext>
            </a:extLst>
          </p:cNvPr>
          <p:cNvSpPr/>
          <p:nvPr/>
        </p:nvSpPr>
        <p:spPr>
          <a:xfrm>
            <a:off x="9466025" y="3438227"/>
            <a:ext cx="106472" cy="106472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49" name="Oval 448">
            <a:extLst>
              <a:ext uri="{FF2B5EF4-FFF2-40B4-BE49-F238E27FC236}">
                <a16:creationId xmlns:a16="http://schemas.microsoft.com/office/drawing/2014/main" id="{EA37307E-A6AF-7659-E1DD-7B11B78E55F4}"/>
              </a:ext>
            </a:extLst>
          </p:cNvPr>
          <p:cNvSpPr/>
          <p:nvPr/>
        </p:nvSpPr>
        <p:spPr>
          <a:xfrm>
            <a:off x="9362864" y="3611688"/>
            <a:ext cx="83346" cy="83346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50" name="Oval 449">
            <a:extLst>
              <a:ext uri="{FF2B5EF4-FFF2-40B4-BE49-F238E27FC236}">
                <a16:creationId xmlns:a16="http://schemas.microsoft.com/office/drawing/2014/main" id="{4EB4CCD3-5A63-C6A7-12D3-076404FF0CF8}"/>
              </a:ext>
            </a:extLst>
          </p:cNvPr>
          <p:cNvSpPr/>
          <p:nvPr/>
        </p:nvSpPr>
        <p:spPr>
          <a:xfrm>
            <a:off x="9585232" y="3592585"/>
            <a:ext cx="106472" cy="106472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51" name="Oval 450">
            <a:extLst>
              <a:ext uri="{FF2B5EF4-FFF2-40B4-BE49-F238E27FC236}">
                <a16:creationId xmlns:a16="http://schemas.microsoft.com/office/drawing/2014/main" id="{AACCD7DD-737D-6612-49C3-35385934CFEC}"/>
              </a:ext>
            </a:extLst>
          </p:cNvPr>
          <p:cNvSpPr/>
          <p:nvPr/>
        </p:nvSpPr>
        <p:spPr>
          <a:xfrm>
            <a:off x="9619618" y="3370981"/>
            <a:ext cx="72085" cy="72085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52" name="Oval 451">
            <a:extLst>
              <a:ext uri="{FF2B5EF4-FFF2-40B4-BE49-F238E27FC236}">
                <a16:creationId xmlns:a16="http://schemas.microsoft.com/office/drawing/2014/main" id="{DC34BC9C-BB50-4662-DED5-E12E5A100859}"/>
              </a:ext>
            </a:extLst>
          </p:cNvPr>
          <p:cNvSpPr/>
          <p:nvPr/>
        </p:nvSpPr>
        <p:spPr>
          <a:xfrm>
            <a:off x="7020214" y="4297972"/>
            <a:ext cx="722134" cy="162382"/>
          </a:xfrm>
          <a:prstGeom prst="ellipse">
            <a:avLst/>
          </a:prstGeom>
          <a:solidFill>
            <a:schemeClr val="tx1">
              <a:alpha val="5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53" name="Free-form: Shape 452">
            <a:extLst>
              <a:ext uri="{FF2B5EF4-FFF2-40B4-BE49-F238E27FC236}">
                <a16:creationId xmlns:a16="http://schemas.microsoft.com/office/drawing/2014/main" id="{04D89798-D6B6-C806-62C1-2768C6D20C7C}"/>
              </a:ext>
            </a:extLst>
          </p:cNvPr>
          <p:cNvSpPr/>
          <p:nvPr/>
        </p:nvSpPr>
        <p:spPr>
          <a:xfrm>
            <a:off x="6925637" y="3475964"/>
            <a:ext cx="968436" cy="925784"/>
          </a:xfrm>
          <a:custGeom>
            <a:avLst/>
            <a:gdLst>
              <a:gd name="csX0" fmla="*/ 401579 w 1609516"/>
              <a:gd name="csY0" fmla="*/ 1495809 h 1538630"/>
              <a:gd name="csX1" fmla="*/ 400190 w 1609516"/>
              <a:gd name="csY1" fmla="*/ 1496004 h 1538630"/>
              <a:gd name="csX2" fmla="*/ 401224 w 1609516"/>
              <a:gd name="csY2" fmla="*/ 1496470 h 1538630"/>
              <a:gd name="csX3" fmla="*/ 401224 w 1609516"/>
              <a:gd name="csY3" fmla="*/ 1498590 h 1538630"/>
              <a:gd name="csX4" fmla="*/ 401579 w 1609516"/>
              <a:gd name="csY4" fmla="*/ 1498628 h 1538630"/>
              <a:gd name="csX5" fmla="*/ 401579 w 1609516"/>
              <a:gd name="csY5" fmla="*/ 1495809 h 1538630"/>
              <a:gd name="csX6" fmla="*/ 368755 w 1609516"/>
              <a:gd name="csY6" fmla="*/ 1486512 h 1538630"/>
              <a:gd name="csX7" fmla="*/ 364089 w 1609516"/>
              <a:gd name="csY7" fmla="*/ 1487354 h 1538630"/>
              <a:gd name="csX8" fmla="*/ 364089 w 1609516"/>
              <a:gd name="csY8" fmla="*/ 1487908 h 1538630"/>
              <a:gd name="csX9" fmla="*/ 1049801 w 1609516"/>
              <a:gd name="csY9" fmla="*/ 1484562 h 1538630"/>
              <a:gd name="csX10" fmla="*/ 1046735 w 1609516"/>
              <a:gd name="csY10" fmla="*/ 1485945 h 1538630"/>
              <a:gd name="csX11" fmla="*/ 1046955 w 1609516"/>
              <a:gd name="csY11" fmla="*/ 1486045 h 1538630"/>
              <a:gd name="csX12" fmla="*/ 1049801 w 1609516"/>
              <a:gd name="csY12" fmla="*/ 1485188 h 1538630"/>
              <a:gd name="csX13" fmla="*/ 351234 w 1609516"/>
              <a:gd name="csY13" fmla="*/ 1444508 h 1538630"/>
              <a:gd name="csX14" fmla="*/ 351234 w 1609516"/>
              <a:gd name="csY14" fmla="*/ 1444997 h 1538630"/>
              <a:gd name="csX15" fmla="*/ 351592 w 1609516"/>
              <a:gd name="csY15" fmla="*/ 1445078 h 1538630"/>
              <a:gd name="csX16" fmla="*/ 351908 w 1609516"/>
              <a:gd name="csY16" fmla="*/ 1431206 h 1538630"/>
              <a:gd name="csX17" fmla="*/ 351234 w 1609516"/>
              <a:gd name="csY17" fmla="*/ 1431611 h 1538630"/>
              <a:gd name="csX18" fmla="*/ 351234 w 1609516"/>
              <a:gd name="csY18" fmla="*/ 1432274 h 1538630"/>
              <a:gd name="csX19" fmla="*/ 358162 w 1609516"/>
              <a:gd name="csY19" fmla="*/ 1421494 h 1538630"/>
              <a:gd name="csX20" fmla="*/ 355921 w 1609516"/>
              <a:gd name="csY20" fmla="*/ 1423156 h 1538630"/>
              <a:gd name="csX21" fmla="*/ 355921 w 1609516"/>
              <a:gd name="csY21" fmla="*/ 1423548 h 1538630"/>
              <a:gd name="csX22" fmla="*/ 376098 w 1609516"/>
              <a:gd name="csY22" fmla="*/ 1408347 h 1538630"/>
              <a:gd name="csX23" fmla="*/ 370750 w 1609516"/>
              <a:gd name="csY23" fmla="*/ 1412245 h 1538630"/>
              <a:gd name="csX24" fmla="*/ 375023 w 1609516"/>
              <a:gd name="csY24" fmla="*/ 1411256 h 1538630"/>
              <a:gd name="csX25" fmla="*/ 421956 w 1609516"/>
              <a:gd name="csY25" fmla="*/ 1365623 h 1538630"/>
              <a:gd name="csX26" fmla="*/ 421765 w 1609516"/>
              <a:gd name="csY26" fmla="*/ 1366161 h 1538630"/>
              <a:gd name="csX27" fmla="*/ 421887 w 1609516"/>
              <a:gd name="csY27" fmla="*/ 1366161 h 1538630"/>
              <a:gd name="csX28" fmla="*/ 754553 w 1609516"/>
              <a:gd name="csY28" fmla="*/ 1360575 h 1538630"/>
              <a:gd name="csX29" fmla="*/ 754089 w 1609516"/>
              <a:gd name="csY29" fmla="*/ 1361433 h 1538630"/>
              <a:gd name="csX30" fmla="*/ 754431 w 1609516"/>
              <a:gd name="csY30" fmla="*/ 1361125 h 1538630"/>
              <a:gd name="csX31" fmla="*/ 1277973 w 1609516"/>
              <a:gd name="csY31" fmla="*/ 1332923 h 1538630"/>
              <a:gd name="csX32" fmla="*/ 1277944 w 1609516"/>
              <a:gd name="csY32" fmla="*/ 1332936 h 1538630"/>
              <a:gd name="csX33" fmla="*/ 1277949 w 1609516"/>
              <a:gd name="csY33" fmla="*/ 1333139 h 1538630"/>
              <a:gd name="csX34" fmla="*/ 1268556 w 1609516"/>
              <a:gd name="csY34" fmla="*/ 1321066 h 1538630"/>
              <a:gd name="csX35" fmla="*/ 1268556 w 1609516"/>
              <a:gd name="csY35" fmla="*/ 1325294 h 1538630"/>
              <a:gd name="csX36" fmla="*/ 1265432 w 1609516"/>
              <a:gd name="csY36" fmla="*/ 1325294 h 1538630"/>
              <a:gd name="csX37" fmla="*/ 1265432 w 1609516"/>
              <a:gd name="csY37" fmla="*/ 1340795 h 1538630"/>
              <a:gd name="csX38" fmla="*/ 1265476 w 1609516"/>
              <a:gd name="csY38" fmla="*/ 1340714 h 1538630"/>
              <a:gd name="csX39" fmla="*/ 1265476 w 1609516"/>
              <a:gd name="csY39" fmla="*/ 1325877 h 1538630"/>
              <a:gd name="csX40" fmla="*/ 1268600 w 1609516"/>
              <a:gd name="csY40" fmla="*/ 1325877 h 1538630"/>
              <a:gd name="csX41" fmla="*/ 1268600 w 1609516"/>
              <a:gd name="csY41" fmla="*/ 1321649 h 1538630"/>
              <a:gd name="csX42" fmla="*/ 1273286 w 1609516"/>
              <a:gd name="csY42" fmla="*/ 1321649 h 1538630"/>
              <a:gd name="csX43" fmla="*/ 1273227 w 1609516"/>
              <a:gd name="csY43" fmla="*/ 1321066 h 1538630"/>
              <a:gd name="csX44" fmla="*/ 827891 w 1609516"/>
              <a:gd name="csY44" fmla="*/ 1291474 h 1538630"/>
              <a:gd name="csX45" fmla="*/ 822601 w 1609516"/>
              <a:gd name="csY45" fmla="*/ 1291544 h 1538630"/>
              <a:gd name="csX46" fmla="*/ 818272 w 1609516"/>
              <a:gd name="csY46" fmla="*/ 1292220 h 1538630"/>
              <a:gd name="csX47" fmla="*/ 827891 w 1609516"/>
              <a:gd name="csY47" fmla="*/ 1292047 h 1538630"/>
              <a:gd name="csX48" fmla="*/ 856397 w 1609516"/>
              <a:gd name="csY48" fmla="*/ 1288691 h 1538630"/>
              <a:gd name="csX49" fmla="*/ 865903 w 1609516"/>
              <a:gd name="csY49" fmla="*/ 1290590 h 1538630"/>
              <a:gd name="csX50" fmla="*/ 859999 w 1609516"/>
              <a:gd name="csY50" fmla="*/ 1288752 h 1538630"/>
              <a:gd name="csX51" fmla="*/ 834694 w 1609516"/>
              <a:gd name="csY51" fmla="*/ 1288572 h 1538630"/>
              <a:gd name="csX52" fmla="*/ 828038 w 1609516"/>
              <a:gd name="csY52" fmla="*/ 1288654 h 1538630"/>
              <a:gd name="csX53" fmla="*/ 828038 w 1609516"/>
              <a:gd name="csY53" fmla="*/ 1289214 h 1538630"/>
              <a:gd name="csX54" fmla="*/ 229746 w 1609516"/>
              <a:gd name="csY54" fmla="*/ 1191418 h 1538630"/>
              <a:gd name="csX55" fmla="*/ 227402 w 1609516"/>
              <a:gd name="csY55" fmla="*/ 1191947 h 1538630"/>
              <a:gd name="csX56" fmla="*/ 229315 w 1609516"/>
              <a:gd name="csY56" fmla="*/ 1191947 h 1538630"/>
              <a:gd name="csX57" fmla="*/ 229315 w 1609516"/>
              <a:gd name="csY57" fmla="*/ 1194765 h 1538630"/>
              <a:gd name="csX58" fmla="*/ 231321 w 1609516"/>
              <a:gd name="csY58" fmla="*/ 1194765 h 1538630"/>
              <a:gd name="csX59" fmla="*/ 229746 w 1609516"/>
              <a:gd name="csY59" fmla="*/ 1194236 h 1538630"/>
              <a:gd name="csX60" fmla="*/ 229746 w 1609516"/>
              <a:gd name="csY60" fmla="*/ 1191418 h 1538630"/>
              <a:gd name="csX61" fmla="*/ 215687 w 1609516"/>
              <a:gd name="csY61" fmla="*/ 1187190 h 1538630"/>
              <a:gd name="csX62" fmla="*/ 215198 w 1609516"/>
              <a:gd name="csY62" fmla="*/ 1187720 h 1538630"/>
              <a:gd name="csX63" fmla="*/ 215256 w 1609516"/>
              <a:gd name="csY63" fmla="*/ 1187720 h 1538630"/>
              <a:gd name="csX64" fmla="*/ 215256 w 1609516"/>
              <a:gd name="csY64" fmla="*/ 1191947 h 1538630"/>
              <a:gd name="csX65" fmla="*/ 222721 w 1609516"/>
              <a:gd name="csY65" fmla="*/ 1191947 h 1538630"/>
              <a:gd name="csX66" fmla="*/ 215687 w 1609516"/>
              <a:gd name="csY66" fmla="*/ 1191418 h 1538630"/>
              <a:gd name="csX67" fmla="*/ 215687 w 1609516"/>
              <a:gd name="csY67" fmla="*/ 1187190 h 1538630"/>
              <a:gd name="csX68" fmla="*/ 1279678 w 1609516"/>
              <a:gd name="csY68" fmla="*/ 1082356 h 1538630"/>
              <a:gd name="csX69" fmla="*/ 1271680 w 1609516"/>
              <a:gd name="csY69" fmla="*/ 1084589 h 1538630"/>
              <a:gd name="csX70" fmla="*/ 1282181 w 1609516"/>
              <a:gd name="csY70" fmla="*/ 1082544 h 1538630"/>
              <a:gd name="csX71" fmla="*/ 117703 w 1609516"/>
              <a:gd name="csY71" fmla="*/ 941507 h 1538630"/>
              <a:gd name="csX72" fmla="*/ 112587 w 1609516"/>
              <a:gd name="csY72" fmla="*/ 941985 h 1538630"/>
              <a:gd name="csX73" fmla="*/ 112565 w 1609516"/>
              <a:gd name="csY73" fmla="*/ 942333 h 1538630"/>
              <a:gd name="csX74" fmla="*/ 115665 w 1609516"/>
              <a:gd name="csY74" fmla="*/ 941837 h 1538630"/>
              <a:gd name="csX75" fmla="*/ 144268 w 1609516"/>
              <a:gd name="csY75" fmla="*/ 939395 h 1538630"/>
              <a:gd name="csX76" fmla="*/ 143354 w 1609516"/>
              <a:gd name="csY76" fmla="*/ 939580 h 1538630"/>
              <a:gd name="csX77" fmla="*/ 144077 w 1609516"/>
              <a:gd name="csY77" fmla="*/ 939739 h 1538630"/>
              <a:gd name="csX78" fmla="*/ 162575 w 1609516"/>
              <a:gd name="csY78" fmla="*/ 933530 h 1538630"/>
              <a:gd name="csX79" fmla="*/ 161704 w 1609516"/>
              <a:gd name="csY79" fmla="*/ 935101 h 1538630"/>
              <a:gd name="csX80" fmla="*/ 170045 w 1609516"/>
              <a:gd name="csY80" fmla="*/ 933585 h 1538630"/>
              <a:gd name="csX81" fmla="*/ 1321645 w 1609516"/>
              <a:gd name="csY81" fmla="*/ 918415 h 1538630"/>
              <a:gd name="csX82" fmla="*/ 1321534 w 1609516"/>
              <a:gd name="csY82" fmla="*/ 920177 h 1538630"/>
              <a:gd name="csX83" fmla="*/ 1321740 w 1609516"/>
              <a:gd name="csY83" fmla="*/ 918415 h 1538630"/>
              <a:gd name="csX84" fmla="*/ 1319333 w 1609516"/>
              <a:gd name="csY84" fmla="*/ 915183 h 1538630"/>
              <a:gd name="csX85" fmla="*/ 1318544 w 1609516"/>
              <a:gd name="csY85" fmla="*/ 918029 h 1538630"/>
              <a:gd name="csX86" fmla="*/ 1318702 w 1609516"/>
              <a:gd name="csY86" fmla="*/ 918029 h 1538630"/>
              <a:gd name="csX87" fmla="*/ 1326355 w 1609516"/>
              <a:gd name="csY87" fmla="*/ 907109 h 1538630"/>
              <a:gd name="csX88" fmla="*/ 1326355 w 1609516"/>
              <a:gd name="csY88" fmla="*/ 910983 h 1538630"/>
              <a:gd name="csX89" fmla="*/ 1325831 w 1609516"/>
              <a:gd name="csY89" fmla="*/ 911101 h 1538630"/>
              <a:gd name="csX90" fmla="*/ 1326426 w 1609516"/>
              <a:gd name="csY90" fmla="*/ 911369 h 1538630"/>
              <a:gd name="csX91" fmla="*/ 1326426 w 1609516"/>
              <a:gd name="csY91" fmla="*/ 907141 h 1538630"/>
              <a:gd name="csX92" fmla="*/ 1328144 w 1609516"/>
              <a:gd name="csY92" fmla="*/ 892192 h 1538630"/>
              <a:gd name="csX93" fmla="*/ 1327667 w 1609516"/>
              <a:gd name="csY93" fmla="*/ 893446 h 1538630"/>
              <a:gd name="csX94" fmla="*/ 1327989 w 1609516"/>
              <a:gd name="csY94" fmla="*/ 893049 h 1538630"/>
              <a:gd name="csX95" fmla="*/ 49605 w 1609516"/>
              <a:gd name="csY95" fmla="*/ 887420 h 1538630"/>
              <a:gd name="csX96" fmla="*/ 48549 w 1609516"/>
              <a:gd name="csY96" fmla="*/ 891229 h 1538630"/>
              <a:gd name="csX97" fmla="*/ 49956 w 1609516"/>
              <a:gd name="csY97" fmla="*/ 887420 h 1538630"/>
              <a:gd name="csX98" fmla="*/ 1332266 w 1609516"/>
              <a:gd name="csY98" fmla="*/ 883369 h 1538630"/>
              <a:gd name="csX99" fmla="*/ 1329479 w 1609516"/>
              <a:gd name="csY99" fmla="*/ 884207 h 1538630"/>
              <a:gd name="csX100" fmla="*/ 1329509 w 1609516"/>
              <a:gd name="csY100" fmla="*/ 884816 h 1538630"/>
              <a:gd name="csX101" fmla="*/ 1329551 w 1609516"/>
              <a:gd name="csY101" fmla="*/ 884594 h 1538630"/>
              <a:gd name="csX102" fmla="*/ 1555987 w 1609516"/>
              <a:gd name="csY102" fmla="*/ 821766 h 1538630"/>
              <a:gd name="csX103" fmla="*/ 1555987 w 1609516"/>
              <a:gd name="csY103" fmla="*/ 822201 h 1538630"/>
              <a:gd name="csX104" fmla="*/ 1556081 w 1609516"/>
              <a:gd name="csY104" fmla="*/ 822189 h 1538630"/>
              <a:gd name="csX105" fmla="*/ 1565360 w 1609516"/>
              <a:gd name="csY105" fmla="*/ 810928 h 1538630"/>
              <a:gd name="csX106" fmla="*/ 1564871 w 1609516"/>
              <a:gd name="csY106" fmla="*/ 811809 h 1538630"/>
              <a:gd name="csX107" fmla="*/ 1567314 w 1609516"/>
              <a:gd name="csY107" fmla="*/ 810928 h 1538630"/>
              <a:gd name="csX108" fmla="*/ 1563797 w 1609516"/>
              <a:gd name="csY108" fmla="*/ 810928 h 1538630"/>
              <a:gd name="csX109" fmla="*/ 1556762 w 1609516"/>
              <a:gd name="csY109" fmla="*/ 814736 h 1538630"/>
              <a:gd name="csX110" fmla="*/ 1563797 w 1609516"/>
              <a:gd name="csY110" fmla="*/ 812197 h 1538630"/>
              <a:gd name="csX111" fmla="*/ 265833 w 1609516"/>
              <a:gd name="csY111" fmla="*/ 806020 h 1538630"/>
              <a:gd name="csX112" fmla="*/ 263704 w 1609516"/>
              <a:gd name="csY112" fmla="*/ 809861 h 1538630"/>
              <a:gd name="csX113" fmla="*/ 263704 w 1609516"/>
              <a:gd name="csY113" fmla="*/ 816750 h 1538630"/>
              <a:gd name="csX114" fmla="*/ 264113 w 1609516"/>
              <a:gd name="csY114" fmla="*/ 816565 h 1538630"/>
              <a:gd name="csX115" fmla="*/ 263918 w 1609516"/>
              <a:gd name="csY115" fmla="*/ 812777 h 1538630"/>
              <a:gd name="csX116" fmla="*/ 263774 w 1609516"/>
              <a:gd name="csY116" fmla="*/ 779374 h 1538630"/>
              <a:gd name="csX117" fmla="*/ 263704 w 1609516"/>
              <a:gd name="csY117" fmla="*/ 783086 h 1538630"/>
              <a:gd name="csX118" fmla="*/ 264484 w 1609516"/>
              <a:gd name="csY118" fmla="*/ 785816 h 1538630"/>
              <a:gd name="csX119" fmla="*/ 265265 w 1609516"/>
              <a:gd name="csY119" fmla="*/ 794448 h 1538630"/>
              <a:gd name="csX120" fmla="*/ 265217 w 1609516"/>
              <a:gd name="csY120" fmla="*/ 799730 h 1538630"/>
              <a:gd name="csX121" fmla="*/ 266556 w 1609516"/>
              <a:gd name="csY121" fmla="*/ 803466 h 1538630"/>
              <a:gd name="csX122" fmla="*/ 267237 w 1609516"/>
              <a:gd name="csY122" fmla="*/ 801063 h 1538630"/>
              <a:gd name="csX123" fmla="*/ 265675 w 1609516"/>
              <a:gd name="csY123" fmla="*/ 799654 h 1538630"/>
              <a:gd name="csX124" fmla="*/ 265675 w 1609516"/>
              <a:gd name="csY124" fmla="*/ 793841 h 1538630"/>
              <a:gd name="csX125" fmla="*/ 260988 w 1609516"/>
              <a:gd name="csY125" fmla="*/ 770061 h 1538630"/>
              <a:gd name="csX126" fmla="*/ 260988 w 1609516"/>
              <a:gd name="csY126" fmla="*/ 771364 h 1538630"/>
              <a:gd name="csX127" fmla="*/ 263497 w 1609516"/>
              <a:gd name="csY127" fmla="*/ 777263 h 1538630"/>
              <a:gd name="csX128" fmla="*/ 262551 w 1609516"/>
              <a:gd name="csY128" fmla="*/ 770061 h 1538630"/>
              <a:gd name="csX129" fmla="*/ 260988 w 1609516"/>
              <a:gd name="csY129" fmla="*/ 770061 h 1538630"/>
              <a:gd name="csX130" fmla="*/ 157888 w 1609516"/>
              <a:gd name="csY130" fmla="*/ 651686 h 1538630"/>
              <a:gd name="csX131" fmla="*/ 157415 w 1609516"/>
              <a:gd name="csY131" fmla="*/ 651764 h 1538630"/>
              <a:gd name="csX132" fmla="*/ 160373 w 1609516"/>
              <a:gd name="csY132" fmla="*/ 652274 h 1538630"/>
              <a:gd name="csX133" fmla="*/ 267237 w 1609516"/>
              <a:gd name="csY133" fmla="*/ 426537 h 1538630"/>
              <a:gd name="csX134" fmla="*/ 267237 w 1609516"/>
              <a:gd name="csY134" fmla="*/ 427619 h 1538630"/>
              <a:gd name="csX135" fmla="*/ 270380 w 1609516"/>
              <a:gd name="csY135" fmla="*/ 428137 h 1538630"/>
              <a:gd name="csX136" fmla="*/ 273548 w 1609516"/>
              <a:gd name="csY136" fmla="*/ 428680 h 1538630"/>
              <a:gd name="csX137" fmla="*/ 37605 w 1609516"/>
              <a:gd name="csY137" fmla="*/ 359270 h 1538630"/>
              <a:gd name="csX138" fmla="*/ 37103 w 1609516"/>
              <a:gd name="csY138" fmla="*/ 361533 h 1538630"/>
              <a:gd name="csX139" fmla="*/ 37605 w 1609516"/>
              <a:gd name="csY139" fmla="*/ 361382 h 1538630"/>
              <a:gd name="csX140" fmla="*/ 52477 w 1609516"/>
              <a:gd name="csY140" fmla="*/ 337570 h 1538630"/>
              <a:gd name="csX141" fmla="*/ 47288 w 1609516"/>
              <a:gd name="csY141" fmla="*/ 342340 h 1538630"/>
              <a:gd name="csX142" fmla="*/ 45805 w 1609516"/>
              <a:gd name="csY142" fmla="*/ 345093 h 1538630"/>
              <a:gd name="csX143" fmla="*/ 104291 w 1609516"/>
              <a:gd name="csY143" fmla="*/ 336166 h 1538630"/>
              <a:gd name="csX144" fmla="*/ 103776 w 1609516"/>
              <a:gd name="csY144" fmla="*/ 337559 h 1538630"/>
              <a:gd name="csX145" fmla="*/ 108925 w 1609516"/>
              <a:gd name="csY145" fmla="*/ 336166 h 1538630"/>
              <a:gd name="csX146" fmla="*/ 1309237 w 1609516"/>
              <a:gd name="csY146" fmla="*/ 322954 h 1538630"/>
              <a:gd name="csX147" fmla="*/ 1309180 w 1609516"/>
              <a:gd name="csY147" fmla="*/ 330559 h 1538630"/>
              <a:gd name="csX148" fmla="*/ 1309237 w 1609516"/>
              <a:gd name="csY148" fmla="*/ 330520 h 1538630"/>
              <a:gd name="csX149" fmla="*/ 1308964 w 1609516"/>
              <a:gd name="csY149" fmla="*/ 317715 h 1538630"/>
              <a:gd name="csX150" fmla="*/ 1309237 w 1609516"/>
              <a:gd name="csY150" fmla="*/ 318569 h 1538630"/>
              <a:gd name="csX151" fmla="*/ 1309237 w 1609516"/>
              <a:gd name="csY151" fmla="*/ 317838 h 1538630"/>
              <a:gd name="csX152" fmla="*/ 1310087 w 1609516"/>
              <a:gd name="csY152" fmla="*/ 313153 h 1538630"/>
              <a:gd name="csX153" fmla="*/ 1307609 w 1609516"/>
              <a:gd name="csY153" fmla="*/ 313473 h 1538630"/>
              <a:gd name="csX154" fmla="*/ 1308045 w 1609516"/>
              <a:gd name="csY154" fmla="*/ 314836 h 1538630"/>
              <a:gd name="csX155" fmla="*/ 1318544 w 1609516"/>
              <a:gd name="csY155" fmla="*/ 312064 h 1538630"/>
              <a:gd name="csX156" fmla="*/ 1316298 w 1609516"/>
              <a:gd name="csY156" fmla="*/ 312353 h 1538630"/>
              <a:gd name="csX157" fmla="*/ 1318544 w 1609516"/>
              <a:gd name="csY157" fmla="*/ 312205 h 1538630"/>
              <a:gd name="csX158" fmla="*/ 1084622 w 1609516"/>
              <a:gd name="csY158" fmla="*/ 267674 h 1538630"/>
              <a:gd name="csX159" fmla="*/ 1084227 w 1609516"/>
              <a:gd name="csY159" fmla="*/ 268378 h 1538630"/>
              <a:gd name="csX160" fmla="*/ 1079540 w 1609516"/>
              <a:gd name="csY160" fmla="*/ 268378 h 1538630"/>
              <a:gd name="csX161" fmla="*/ 1079603 w 1609516"/>
              <a:gd name="csY161" fmla="*/ 268477 h 1538630"/>
              <a:gd name="csX162" fmla="*/ 1084192 w 1609516"/>
              <a:gd name="csY162" fmla="*/ 268477 h 1538630"/>
              <a:gd name="csX163" fmla="*/ 956410 w 1609516"/>
              <a:gd name="csY163" fmla="*/ 266968 h 1538630"/>
              <a:gd name="csX164" fmla="*/ 957576 w 1609516"/>
              <a:gd name="csY164" fmla="*/ 267083 h 1538630"/>
              <a:gd name="csX165" fmla="*/ 957576 w 1609516"/>
              <a:gd name="csY165" fmla="*/ 269776 h 1538630"/>
              <a:gd name="csX166" fmla="*/ 957694 w 1609516"/>
              <a:gd name="csY166" fmla="*/ 269787 h 1538630"/>
              <a:gd name="csX167" fmla="*/ 957694 w 1609516"/>
              <a:gd name="csY167" fmla="*/ 266968 h 1538630"/>
              <a:gd name="csX168" fmla="*/ 1089372 w 1609516"/>
              <a:gd name="csY168" fmla="*/ 259220 h 1538630"/>
              <a:gd name="csX169" fmla="*/ 1085856 w 1609516"/>
              <a:gd name="csY169" fmla="*/ 265479 h 1538630"/>
              <a:gd name="csX170" fmla="*/ 1088878 w 1609516"/>
              <a:gd name="csY170" fmla="*/ 261431 h 1538630"/>
              <a:gd name="csX171" fmla="*/ 1018517 w 1609516"/>
              <a:gd name="csY171" fmla="*/ 223356 h 1538630"/>
              <a:gd name="csX172" fmla="*/ 1013866 w 1609516"/>
              <a:gd name="csY172" fmla="*/ 226190 h 1538630"/>
              <a:gd name="csX173" fmla="*/ 1013024 w 1609516"/>
              <a:gd name="csY173" fmla="*/ 227709 h 1538630"/>
              <a:gd name="csX174" fmla="*/ 1017055 w 1609516"/>
              <a:gd name="csY174" fmla="*/ 224692 h 1538630"/>
              <a:gd name="csX175" fmla="*/ 850645 w 1609516"/>
              <a:gd name="csY175" fmla="*/ 220099 h 1538630"/>
              <a:gd name="csX176" fmla="*/ 850897 w 1609516"/>
              <a:gd name="csY176" fmla="*/ 221488 h 1538630"/>
              <a:gd name="csX177" fmla="*/ 851470 w 1609516"/>
              <a:gd name="csY177" fmla="*/ 224692 h 1538630"/>
              <a:gd name="csX178" fmla="*/ 852860 w 1609516"/>
              <a:gd name="csY178" fmla="*/ 224692 h 1538630"/>
              <a:gd name="csX179" fmla="*/ 1155019 w 1609516"/>
              <a:gd name="csY179" fmla="*/ 35 h 1538630"/>
              <a:gd name="csX180" fmla="*/ 1174829 w 1609516"/>
              <a:gd name="csY180" fmla="*/ 4853 h 1538630"/>
              <a:gd name="csX181" fmla="*/ 1179418 w 1609516"/>
              <a:gd name="csY181" fmla="*/ 5998 h 1538630"/>
              <a:gd name="csX182" fmla="*/ 1201385 w 1609516"/>
              <a:gd name="csY182" fmla="*/ 22997 h 1538630"/>
              <a:gd name="csX183" fmla="*/ 1201678 w 1609516"/>
              <a:gd name="csY183" fmla="*/ 62191 h 1538630"/>
              <a:gd name="csX184" fmla="*/ 1198261 w 1609516"/>
              <a:gd name="csY184" fmla="*/ 68268 h 1538630"/>
              <a:gd name="csX185" fmla="*/ 1195723 w 1609516"/>
              <a:gd name="csY185" fmla="*/ 72672 h 1538630"/>
              <a:gd name="csX186" fmla="*/ 1193575 w 1609516"/>
              <a:gd name="csY186" fmla="*/ 75314 h 1538630"/>
              <a:gd name="csX187" fmla="*/ 1190450 w 1609516"/>
              <a:gd name="csY187" fmla="*/ 75314 h 1538630"/>
              <a:gd name="csX188" fmla="*/ 1189474 w 1609516"/>
              <a:gd name="csY188" fmla="*/ 79366 h 1538630"/>
              <a:gd name="csX189" fmla="*/ 1182445 w 1609516"/>
              <a:gd name="csY189" fmla="*/ 85707 h 1538630"/>
              <a:gd name="csX190" fmla="*/ 1177953 w 1609516"/>
              <a:gd name="csY190" fmla="*/ 86588 h 1538630"/>
              <a:gd name="csX191" fmla="*/ 1177953 w 1609516"/>
              <a:gd name="csY191" fmla="*/ 89406 h 1538630"/>
              <a:gd name="csX192" fmla="*/ 1170045 w 1609516"/>
              <a:gd name="csY192" fmla="*/ 94251 h 1538630"/>
              <a:gd name="csX193" fmla="*/ 1143806 w 1609516"/>
              <a:gd name="csY193" fmla="*/ 132828 h 1538630"/>
              <a:gd name="csX194" fmla="*/ 1137338 w 1609516"/>
              <a:gd name="csY194" fmla="*/ 141548 h 1538630"/>
              <a:gd name="csX195" fmla="*/ 1133970 w 1609516"/>
              <a:gd name="csY195" fmla="*/ 149403 h 1538630"/>
              <a:gd name="csX196" fmla="*/ 1127965 w 1609516"/>
              <a:gd name="csY196" fmla="*/ 164095 h 1538630"/>
              <a:gd name="csX197" fmla="*/ 1124762 w 1609516"/>
              <a:gd name="csY197" fmla="*/ 171802 h 1538630"/>
              <a:gd name="csX198" fmla="*/ 1119359 w 1609516"/>
              <a:gd name="csY198" fmla="*/ 184798 h 1538630"/>
              <a:gd name="csX199" fmla="*/ 1111014 w 1609516"/>
              <a:gd name="csY199" fmla="*/ 204941 h 1538630"/>
              <a:gd name="csX200" fmla="*/ 1109729 w 1609516"/>
              <a:gd name="csY200" fmla="*/ 208059 h 1538630"/>
              <a:gd name="csX201" fmla="*/ 1106395 w 1609516"/>
              <a:gd name="csY201" fmla="*/ 216170 h 1538630"/>
              <a:gd name="csX202" fmla="*/ 1102147 w 1609516"/>
              <a:gd name="csY202" fmla="*/ 224810 h 1538630"/>
              <a:gd name="csX203" fmla="*/ 1098261 w 1609516"/>
              <a:gd name="csY203" fmla="*/ 227262 h 1538630"/>
              <a:gd name="csX204" fmla="*/ 1098367 w 1609516"/>
              <a:gd name="csY204" fmla="*/ 238475 h 1538630"/>
              <a:gd name="csX205" fmla="*/ 1097331 w 1609516"/>
              <a:gd name="csY205" fmla="*/ 242358 h 1538630"/>
              <a:gd name="csX206" fmla="*/ 1096201 w 1609516"/>
              <a:gd name="csY206" fmla="*/ 246458 h 1538630"/>
              <a:gd name="csX207" fmla="*/ 1089440 w 1609516"/>
              <a:gd name="csY207" fmla="*/ 279206 h 1538630"/>
              <a:gd name="csX208" fmla="*/ 1087316 w 1609516"/>
              <a:gd name="csY208" fmla="*/ 283978 h 1538630"/>
              <a:gd name="csX209" fmla="*/ 1086822 w 1609516"/>
              <a:gd name="csY209" fmla="*/ 291822 h 1538630"/>
              <a:gd name="csX210" fmla="*/ 1086623 w 1609516"/>
              <a:gd name="csY210" fmla="*/ 296625 h 1538630"/>
              <a:gd name="csX211" fmla="*/ 1086437 w 1609516"/>
              <a:gd name="csY211" fmla="*/ 301681 h 1538630"/>
              <a:gd name="csX212" fmla="*/ 1086233 w 1609516"/>
              <a:gd name="csY212" fmla="*/ 306754 h 1538630"/>
              <a:gd name="csX213" fmla="*/ 1086007 w 1609516"/>
              <a:gd name="csY213" fmla="*/ 312619 h 1538630"/>
              <a:gd name="csX214" fmla="*/ 1087470 w 1609516"/>
              <a:gd name="csY214" fmla="*/ 320554 h 1538630"/>
              <a:gd name="csX215" fmla="*/ 1098285 w 1609516"/>
              <a:gd name="csY215" fmla="*/ 334611 h 1538630"/>
              <a:gd name="csX216" fmla="*/ 1102607 w 1609516"/>
              <a:gd name="csY216" fmla="*/ 337679 h 1538630"/>
              <a:gd name="csX217" fmla="*/ 1106095 w 1609516"/>
              <a:gd name="csY217" fmla="*/ 340248 h 1538630"/>
              <a:gd name="csX218" fmla="*/ 1106095 w 1609516"/>
              <a:gd name="csY218" fmla="*/ 343066 h 1538630"/>
              <a:gd name="csX219" fmla="*/ 1109220 w 1609516"/>
              <a:gd name="csY219" fmla="*/ 343419 h 1538630"/>
              <a:gd name="csX220" fmla="*/ 1126403 w 1609516"/>
              <a:gd name="csY220" fmla="*/ 350112 h 1538630"/>
              <a:gd name="csX221" fmla="*/ 1131871 w 1609516"/>
              <a:gd name="csY221" fmla="*/ 352579 h 1538630"/>
              <a:gd name="csX222" fmla="*/ 1135776 w 1609516"/>
              <a:gd name="csY222" fmla="*/ 354340 h 1538630"/>
              <a:gd name="csX223" fmla="*/ 1135776 w 1609516"/>
              <a:gd name="csY223" fmla="*/ 357158 h 1538630"/>
              <a:gd name="csX224" fmla="*/ 1170143 w 1609516"/>
              <a:gd name="csY224" fmla="*/ 354340 h 1538630"/>
              <a:gd name="csX225" fmla="*/ 1174634 w 1609516"/>
              <a:gd name="csY225" fmla="*/ 352579 h 1538630"/>
              <a:gd name="csX226" fmla="*/ 1190890 w 1609516"/>
              <a:gd name="csY226" fmla="*/ 342907 h 1538630"/>
              <a:gd name="csX227" fmla="*/ 1204021 w 1609516"/>
              <a:gd name="csY227" fmla="*/ 335404 h 1538630"/>
              <a:gd name="csX228" fmla="*/ 1223255 w 1609516"/>
              <a:gd name="csY228" fmla="*/ 319110 h 1538630"/>
              <a:gd name="csX229" fmla="*/ 1226868 w 1609516"/>
              <a:gd name="csY229" fmla="*/ 315587 h 1538630"/>
              <a:gd name="csX230" fmla="*/ 1231859 w 1609516"/>
              <a:gd name="csY230" fmla="*/ 303559 h 1538630"/>
              <a:gd name="csX231" fmla="*/ 1234178 w 1609516"/>
              <a:gd name="csY231" fmla="*/ 298059 h 1538630"/>
              <a:gd name="csX232" fmla="*/ 1237314 w 1609516"/>
              <a:gd name="csY232" fmla="*/ 288195 h 1538630"/>
              <a:gd name="csX233" fmla="*/ 1249811 w 1609516"/>
              <a:gd name="csY233" fmla="*/ 265559 h 1538630"/>
              <a:gd name="csX234" fmla="*/ 1252935 w 1609516"/>
              <a:gd name="csY234" fmla="*/ 265559 h 1538630"/>
              <a:gd name="csX235" fmla="*/ 1252935 w 1609516"/>
              <a:gd name="csY235" fmla="*/ 262741 h 1538630"/>
              <a:gd name="csX236" fmla="*/ 1296675 w 1609516"/>
              <a:gd name="csY236" fmla="*/ 252876 h 1538630"/>
              <a:gd name="csX237" fmla="*/ 1307609 w 1609516"/>
              <a:gd name="csY237" fmla="*/ 255695 h 1538630"/>
              <a:gd name="csX238" fmla="*/ 1307609 w 1609516"/>
              <a:gd name="csY238" fmla="*/ 258513 h 1538630"/>
              <a:gd name="csX239" fmla="*/ 1311887 w 1609516"/>
              <a:gd name="csY239" fmla="*/ 258832 h 1538630"/>
              <a:gd name="csX240" fmla="*/ 1326715 w 1609516"/>
              <a:gd name="csY240" fmla="*/ 269969 h 1538630"/>
              <a:gd name="csX241" fmla="*/ 1334165 w 1609516"/>
              <a:gd name="csY241" fmla="*/ 307836 h 1538630"/>
              <a:gd name="csX242" fmla="*/ 1329479 w 1609516"/>
              <a:gd name="csY242" fmla="*/ 314882 h 1538630"/>
              <a:gd name="csX243" fmla="*/ 1323231 w 1609516"/>
              <a:gd name="csY243" fmla="*/ 314882 h 1538630"/>
              <a:gd name="csX244" fmla="*/ 1323231 w 1609516"/>
              <a:gd name="csY244" fmla="*/ 317700 h 1538630"/>
              <a:gd name="csX245" fmla="*/ 1322774 w 1609516"/>
              <a:gd name="csY245" fmla="*/ 317838 h 1538630"/>
              <a:gd name="csX246" fmla="*/ 1323295 w 1609516"/>
              <a:gd name="csY246" fmla="*/ 317838 h 1538630"/>
              <a:gd name="csX247" fmla="*/ 1323295 w 1609516"/>
              <a:gd name="csY247" fmla="*/ 315019 h 1538630"/>
              <a:gd name="csX248" fmla="*/ 1327982 w 1609516"/>
              <a:gd name="csY248" fmla="*/ 315019 h 1538630"/>
              <a:gd name="csX249" fmla="*/ 1317047 w 1609516"/>
              <a:gd name="csY249" fmla="*/ 327702 h 1538630"/>
              <a:gd name="csX250" fmla="*/ 1315484 w 1609516"/>
              <a:gd name="csY250" fmla="*/ 331930 h 1538630"/>
              <a:gd name="csX251" fmla="*/ 1309139 w 1609516"/>
              <a:gd name="csY251" fmla="*/ 333603 h 1538630"/>
              <a:gd name="csX252" fmla="*/ 1305666 w 1609516"/>
              <a:gd name="csY252" fmla="*/ 334280 h 1538630"/>
              <a:gd name="csX253" fmla="*/ 1302988 w 1609516"/>
              <a:gd name="csY253" fmla="*/ 334748 h 1538630"/>
              <a:gd name="csX254" fmla="*/ 1305905 w 1609516"/>
              <a:gd name="csY254" fmla="*/ 332775 h 1538630"/>
              <a:gd name="csX255" fmla="*/ 1304485 w 1609516"/>
              <a:gd name="csY255" fmla="*/ 333202 h 1538630"/>
              <a:gd name="csX256" fmla="*/ 1301459 w 1609516"/>
              <a:gd name="csY256" fmla="*/ 336108 h 1538630"/>
              <a:gd name="csX257" fmla="*/ 1291989 w 1609516"/>
              <a:gd name="csY257" fmla="*/ 338839 h 1538630"/>
              <a:gd name="csX258" fmla="*/ 1290426 w 1609516"/>
              <a:gd name="csY258" fmla="*/ 343066 h 1538630"/>
              <a:gd name="csX259" fmla="*/ 1285740 w 1609516"/>
              <a:gd name="csY259" fmla="*/ 344123 h 1538630"/>
              <a:gd name="csX260" fmla="*/ 1237314 w 1609516"/>
              <a:gd name="csY260" fmla="*/ 382525 h 1538630"/>
              <a:gd name="csX261" fmla="*/ 1232628 w 1609516"/>
              <a:gd name="csY261" fmla="*/ 392389 h 1538630"/>
              <a:gd name="csX262" fmla="*/ 1228625 w 1609516"/>
              <a:gd name="csY262" fmla="*/ 398731 h 1538630"/>
              <a:gd name="csX263" fmla="*/ 1222822 w 1609516"/>
              <a:gd name="csY263" fmla="*/ 434798 h 1538630"/>
              <a:gd name="csX264" fmla="*/ 1260746 w 1609516"/>
              <a:gd name="csY264" fmla="*/ 485398 h 1538630"/>
              <a:gd name="csX265" fmla="*/ 1268556 w 1609516"/>
              <a:gd name="csY265" fmla="*/ 488216 h 1538630"/>
              <a:gd name="csX266" fmla="*/ 1268556 w 1609516"/>
              <a:gd name="csY266" fmla="*/ 491034 h 1538630"/>
              <a:gd name="csX267" fmla="*/ 1338852 w 1609516"/>
              <a:gd name="csY267" fmla="*/ 489625 h 1538630"/>
              <a:gd name="csX268" fmla="*/ 1347444 w 1609516"/>
              <a:gd name="csY268" fmla="*/ 488480 h 1538630"/>
              <a:gd name="csX269" fmla="*/ 1369362 w 1609516"/>
              <a:gd name="csY269" fmla="*/ 482513 h 1538630"/>
              <a:gd name="csX270" fmla="*/ 1388840 w 1609516"/>
              <a:gd name="csY270" fmla="*/ 478351 h 1538630"/>
              <a:gd name="csX271" fmla="*/ 1388840 w 1609516"/>
              <a:gd name="csY271" fmla="*/ 475533 h 1538630"/>
              <a:gd name="csX272" fmla="*/ 1395576 w 1609516"/>
              <a:gd name="csY272" fmla="*/ 473419 h 1538630"/>
              <a:gd name="csX273" fmla="*/ 1399365 w 1609516"/>
              <a:gd name="csY273" fmla="*/ 472230 h 1538630"/>
              <a:gd name="csX274" fmla="*/ 1407585 w 1609516"/>
              <a:gd name="csY274" fmla="*/ 471305 h 1538630"/>
              <a:gd name="csX275" fmla="*/ 1409147 w 1609516"/>
              <a:gd name="csY275" fmla="*/ 467078 h 1538630"/>
              <a:gd name="csX276" fmla="*/ 1416470 w 1609516"/>
              <a:gd name="csY276" fmla="*/ 464259 h 1538630"/>
              <a:gd name="csX277" fmla="*/ 1437949 w 1609516"/>
              <a:gd name="csY277" fmla="*/ 455011 h 1538630"/>
              <a:gd name="csX278" fmla="*/ 1452887 w 1609516"/>
              <a:gd name="csY278" fmla="*/ 450167 h 1538630"/>
              <a:gd name="csX279" fmla="*/ 1452887 w 1609516"/>
              <a:gd name="csY279" fmla="*/ 447349 h 1538630"/>
              <a:gd name="csX280" fmla="*/ 1455394 w 1609516"/>
              <a:gd name="csY280" fmla="*/ 446122 h 1538630"/>
              <a:gd name="csX281" fmla="*/ 1466653 w 1609516"/>
              <a:gd name="csY281" fmla="*/ 440567 h 1538630"/>
              <a:gd name="csX282" fmla="*/ 1470598 w 1609516"/>
              <a:gd name="csY282" fmla="*/ 438637 h 1538630"/>
              <a:gd name="csX283" fmla="*/ 1474397 w 1609516"/>
              <a:gd name="csY283" fmla="*/ 436752 h 1538630"/>
              <a:gd name="csX284" fmla="*/ 1477892 w 1609516"/>
              <a:gd name="csY284" fmla="*/ 435030 h 1538630"/>
              <a:gd name="csX285" fmla="*/ 1485691 w 1609516"/>
              <a:gd name="csY285" fmla="*/ 429029 h 1538630"/>
              <a:gd name="csX286" fmla="*/ 1488858 w 1609516"/>
              <a:gd name="csY286" fmla="*/ 427653 h 1538630"/>
              <a:gd name="csX287" fmla="*/ 1495943 w 1609516"/>
              <a:gd name="csY287" fmla="*/ 421454 h 1538630"/>
              <a:gd name="csX288" fmla="*/ 1538608 w 1609516"/>
              <a:gd name="csY288" fmla="*/ 388338 h 1538630"/>
              <a:gd name="csX289" fmla="*/ 1543490 w 1609516"/>
              <a:gd name="csY289" fmla="*/ 388161 h 1538630"/>
              <a:gd name="csX290" fmla="*/ 1547621 w 1609516"/>
              <a:gd name="csY290" fmla="*/ 387804 h 1538630"/>
              <a:gd name="csX291" fmla="*/ 1579418 w 1609516"/>
              <a:gd name="csY291" fmla="*/ 396617 h 1538630"/>
              <a:gd name="csX292" fmla="*/ 1583342 w 1609516"/>
              <a:gd name="csY292" fmla="*/ 398780 h 1538630"/>
              <a:gd name="csX293" fmla="*/ 1601288 w 1609516"/>
              <a:gd name="csY293" fmla="*/ 423392 h 1538630"/>
              <a:gd name="csX294" fmla="*/ 1594484 w 1609516"/>
              <a:gd name="csY294" fmla="*/ 460159 h 1538630"/>
              <a:gd name="csX295" fmla="*/ 1574732 w 1609516"/>
              <a:gd name="csY295" fmla="*/ 475533 h 1538630"/>
              <a:gd name="csX296" fmla="*/ 1572097 w 1609516"/>
              <a:gd name="csY296" fmla="*/ 477078 h 1538630"/>
              <a:gd name="csX297" fmla="*/ 1556066 w 1609516"/>
              <a:gd name="csY297" fmla="*/ 478737 h 1538630"/>
              <a:gd name="csX298" fmla="*/ 1548631 w 1609516"/>
              <a:gd name="csY298" fmla="*/ 478825 h 1538630"/>
              <a:gd name="csX299" fmla="*/ 1536991 w 1609516"/>
              <a:gd name="csY299" fmla="*/ 478889 h 1538630"/>
              <a:gd name="csX300" fmla="*/ 1498188 w 1609516"/>
              <a:gd name="csY300" fmla="*/ 485398 h 1538630"/>
              <a:gd name="csX301" fmla="*/ 1493892 w 1609516"/>
              <a:gd name="csY301" fmla="*/ 487600 h 1538630"/>
              <a:gd name="csX302" fmla="*/ 1490377 w 1609516"/>
              <a:gd name="csY302" fmla="*/ 489625 h 1538630"/>
              <a:gd name="csX303" fmla="*/ 1471650 w 1609516"/>
              <a:gd name="csY303" fmla="*/ 498185 h 1538630"/>
              <a:gd name="csX304" fmla="*/ 1459135 w 1609516"/>
              <a:gd name="csY304" fmla="*/ 505127 h 1538630"/>
              <a:gd name="csX305" fmla="*/ 1452594 w 1609516"/>
              <a:gd name="csY305" fmla="*/ 508033 h 1538630"/>
              <a:gd name="csX306" fmla="*/ 1427795 w 1609516"/>
              <a:gd name="csY306" fmla="*/ 520100 h 1538630"/>
              <a:gd name="csX307" fmla="*/ 1423733 w 1609516"/>
              <a:gd name="csY307" fmla="*/ 522148 h 1538630"/>
              <a:gd name="csX308" fmla="*/ 1419929 w 1609516"/>
              <a:gd name="csY308" fmla="*/ 524118 h 1538630"/>
              <a:gd name="csX309" fmla="*/ 1416487 w 1609516"/>
              <a:gd name="csY309" fmla="*/ 525883 h 1538630"/>
              <a:gd name="csX310" fmla="*/ 1412271 w 1609516"/>
              <a:gd name="csY310" fmla="*/ 531902 h 1538630"/>
              <a:gd name="csX311" fmla="*/ 1396650 w 1609516"/>
              <a:gd name="csY311" fmla="*/ 537539 h 1538630"/>
              <a:gd name="csX312" fmla="*/ 1396650 w 1609516"/>
              <a:gd name="csY312" fmla="*/ 540357 h 1538630"/>
              <a:gd name="csX313" fmla="*/ 1393495 w 1609516"/>
              <a:gd name="csY313" fmla="*/ 541502 h 1538630"/>
              <a:gd name="csX314" fmla="*/ 1362284 w 1609516"/>
              <a:gd name="csY314" fmla="*/ 558678 h 1538630"/>
              <a:gd name="csX315" fmla="*/ 1355937 w 1609516"/>
              <a:gd name="csY315" fmla="*/ 562905 h 1538630"/>
              <a:gd name="csX316" fmla="*/ 1334165 w 1609516"/>
              <a:gd name="csY316" fmla="*/ 578406 h 1538630"/>
              <a:gd name="csX317" fmla="*/ 1331200 w 1609516"/>
              <a:gd name="csY317" fmla="*/ 580559 h 1538630"/>
              <a:gd name="csX318" fmla="*/ 1322175 w 1609516"/>
              <a:gd name="csY318" fmla="*/ 596793 h 1538630"/>
              <a:gd name="csX319" fmla="*/ 1320106 w 1609516"/>
              <a:gd name="csY319" fmla="*/ 602363 h 1538630"/>
              <a:gd name="csX320" fmla="*/ 1328015 w 1609516"/>
              <a:gd name="csY320" fmla="*/ 647640 h 1538630"/>
              <a:gd name="csX321" fmla="*/ 1332604 w 1609516"/>
              <a:gd name="csY321" fmla="*/ 675643 h 1538630"/>
              <a:gd name="csX322" fmla="*/ 1335727 w 1609516"/>
              <a:gd name="csY322" fmla="*/ 675643 h 1538630"/>
              <a:gd name="csX323" fmla="*/ 1337741 w 1609516"/>
              <a:gd name="csY323" fmla="*/ 690059 h 1538630"/>
              <a:gd name="csX324" fmla="*/ 1338003 w 1609516"/>
              <a:gd name="csY324" fmla="*/ 696222 h 1538630"/>
              <a:gd name="csX325" fmla="*/ 1338340 w 1609516"/>
              <a:gd name="csY325" fmla="*/ 705887 h 1538630"/>
              <a:gd name="csX326" fmla="*/ 1345277 w 1609516"/>
              <a:gd name="csY326" fmla="*/ 733245 h 1538630"/>
              <a:gd name="csX327" fmla="*/ 1363162 w 1609516"/>
              <a:gd name="csY327" fmla="*/ 741612 h 1538630"/>
              <a:gd name="csX328" fmla="*/ 1384154 w 1609516"/>
              <a:gd name="csY328" fmla="*/ 748922 h 1538630"/>
              <a:gd name="csX329" fmla="*/ 1391476 w 1609516"/>
              <a:gd name="csY329" fmla="*/ 750419 h 1538630"/>
              <a:gd name="csX330" fmla="*/ 1395564 w 1609516"/>
              <a:gd name="csY330" fmla="*/ 751080 h 1538630"/>
              <a:gd name="csX331" fmla="*/ 1399775 w 1609516"/>
              <a:gd name="csY331" fmla="*/ 751740 h 1538630"/>
              <a:gd name="csX332" fmla="*/ 1403887 w 1609516"/>
              <a:gd name="csY332" fmla="*/ 752489 h 1538630"/>
              <a:gd name="csX333" fmla="*/ 1465383 w 1609516"/>
              <a:gd name="csY333" fmla="*/ 755969 h 1538630"/>
              <a:gd name="csX334" fmla="*/ 1470339 w 1609516"/>
              <a:gd name="csY334" fmla="*/ 755897 h 1538630"/>
              <a:gd name="csX335" fmla="*/ 1496809 w 1609516"/>
              <a:gd name="csY335" fmla="*/ 749313 h 1538630"/>
              <a:gd name="csX336" fmla="*/ 1515371 w 1609516"/>
              <a:gd name="csY336" fmla="*/ 743285 h 1538630"/>
              <a:gd name="csX337" fmla="*/ 1515371 w 1609516"/>
              <a:gd name="csY337" fmla="*/ 740467 h 1538630"/>
              <a:gd name="csX338" fmla="*/ 1537632 w 1609516"/>
              <a:gd name="csY338" fmla="*/ 737120 h 1538630"/>
              <a:gd name="csX339" fmla="*/ 1541657 w 1609516"/>
              <a:gd name="csY339" fmla="*/ 737127 h 1538630"/>
              <a:gd name="csX340" fmla="*/ 1574732 w 1609516"/>
              <a:gd name="csY340" fmla="*/ 748922 h 1538630"/>
              <a:gd name="csX341" fmla="*/ 1588791 w 1609516"/>
              <a:gd name="csY341" fmla="*/ 792608 h 1538630"/>
              <a:gd name="csX342" fmla="*/ 1584105 w 1609516"/>
              <a:gd name="csY342" fmla="*/ 805291 h 1538630"/>
              <a:gd name="csX343" fmla="*/ 1580981 w 1609516"/>
              <a:gd name="csY343" fmla="*/ 806700 h 1538630"/>
              <a:gd name="csX344" fmla="*/ 1578735 w 1609516"/>
              <a:gd name="csY344" fmla="*/ 810311 h 1538630"/>
              <a:gd name="csX345" fmla="*/ 1576295 w 1609516"/>
              <a:gd name="csY345" fmla="*/ 813746 h 1538630"/>
              <a:gd name="csX346" fmla="*/ 1571652 w 1609516"/>
              <a:gd name="csY346" fmla="*/ 813746 h 1538630"/>
              <a:gd name="csX347" fmla="*/ 1571785 w 1609516"/>
              <a:gd name="csY347" fmla="*/ 814106 h 1538630"/>
              <a:gd name="csX348" fmla="*/ 1574909 w 1609516"/>
              <a:gd name="csY348" fmla="*/ 815515 h 1538630"/>
              <a:gd name="csX349" fmla="*/ 1565463 w 1609516"/>
              <a:gd name="csY349" fmla="*/ 821839 h 1538630"/>
              <a:gd name="csX350" fmla="*/ 1562085 w 1609516"/>
              <a:gd name="csY350" fmla="*/ 822101 h 1538630"/>
              <a:gd name="csX351" fmla="*/ 1551301 w 1609516"/>
              <a:gd name="csY351" fmla="*/ 825020 h 1538630"/>
              <a:gd name="csX352" fmla="*/ 1551301 w 1609516"/>
              <a:gd name="csY352" fmla="*/ 827838 h 1538630"/>
              <a:gd name="csX353" fmla="*/ 1485380 w 1609516"/>
              <a:gd name="csY353" fmla="*/ 815007 h 1538630"/>
              <a:gd name="csX354" fmla="*/ 1431603 w 1609516"/>
              <a:gd name="csY354" fmla="*/ 808726 h 1538630"/>
              <a:gd name="csX355" fmla="*/ 1424140 w 1609516"/>
              <a:gd name="csY355" fmla="*/ 808542 h 1538630"/>
              <a:gd name="csX356" fmla="*/ 1406023 w 1609516"/>
              <a:gd name="csY356" fmla="*/ 808109 h 1538630"/>
              <a:gd name="csX357" fmla="*/ 1406023 w 1609516"/>
              <a:gd name="csY357" fmla="*/ 810928 h 1538630"/>
              <a:gd name="csX358" fmla="*/ 1403383 w 1609516"/>
              <a:gd name="csY358" fmla="*/ 811311 h 1538630"/>
              <a:gd name="csX359" fmla="*/ 1345442 w 1609516"/>
              <a:gd name="csY359" fmla="*/ 828907 h 1538630"/>
              <a:gd name="csX360" fmla="*/ 1337875 w 1609516"/>
              <a:gd name="csY360" fmla="*/ 856639 h 1538630"/>
              <a:gd name="csX361" fmla="*/ 1337692 w 1609516"/>
              <a:gd name="csY361" fmla="*/ 860171 h 1538630"/>
              <a:gd name="csX362" fmla="*/ 1337290 w 1609516"/>
              <a:gd name="csY362" fmla="*/ 868706 h 1538630"/>
              <a:gd name="csX363" fmla="*/ 1334165 w 1609516"/>
              <a:gd name="csY363" fmla="*/ 868706 h 1538630"/>
              <a:gd name="csX364" fmla="*/ 1334165 w 1609516"/>
              <a:gd name="csY364" fmla="*/ 870034 h 1538630"/>
              <a:gd name="csX365" fmla="*/ 1334237 w 1609516"/>
              <a:gd name="csY365" fmla="*/ 869093 h 1538630"/>
              <a:gd name="csX366" fmla="*/ 1335800 w 1609516"/>
              <a:gd name="csY366" fmla="*/ 869093 h 1538630"/>
              <a:gd name="csX367" fmla="*/ 1335995 w 1609516"/>
              <a:gd name="csY367" fmla="*/ 876491 h 1538630"/>
              <a:gd name="csX368" fmla="*/ 1336105 w 1609516"/>
              <a:gd name="csY368" fmla="*/ 880653 h 1538630"/>
              <a:gd name="csX369" fmla="*/ 1334294 w 1609516"/>
              <a:gd name="csY369" fmla="*/ 887271 h 1538630"/>
              <a:gd name="csX370" fmla="*/ 1331455 w 1609516"/>
              <a:gd name="csY370" fmla="*/ 896440 h 1538630"/>
              <a:gd name="csX371" fmla="*/ 1330887 w 1609516"/>
              <a:gd name="csY371" fmla="*/ 899969 h 1538630"/>
              <a:gd name="csX372" fmla="*/ 1330332 w 1609516"/>
              <a:gd name="csY372" fmla="*/ 903618 h 1538630"/>
              <a:gd name="csX373" fmla="*/ 1329209 w 1609516"/>
              <a:gd name="csY373" fmla="*/ 910797 h 1538630"/>
              <a:gd name="csX374" fmla="*/ 1328724 w 1609516"/>
              <a:gd name="csY374" fmla="*/ 913998 h 1538630"/>
              <a:gd name="csX375" fmla="*/ 1324865 w 1609516"/>
              <a:gd name="csY375" fmla="*/ 922643 h 1538630"/>
              <a:gd name="csX376" fmla="*/ 1322619 w 1609516"/>
              <a:gd name="csY376" fmla="*/ 937979 h 1538630"/>
              <a:gd name="csX377" fmla="*/ 1318744 w 1609516"/>
              <a:gd name="csY377" fmla="*/ 944961 h 1538630"/>
              <a:gd name="csX378" fmla="*/ 1318544 w 1609516"/>
              <a:gd name="csY378" fmla="*/ 946213 h 1538630"/>
              <a:gd name="csX379" fmla="*/ 1318251 w 1609516"/>
              <a:gd name="csY379" fmla="*/ 955285 h 1538630"/>
              <a:gd name="csX380" fmla="*/ 1318184 w 1609516"/>
              <a:gd name="csY380" fmla="*/ 960036 h 1538630"/>
              <a:gd name="csX381" fmla="*/ 1324024 w 1609516"/>
              <a:gd name="csY381" fmla="*/ 973660 h 1538630"/>
              <a:gd name="csX382" fmla="*/ 1329284 w 1609516"/>
              <a:gd name="csY382" fmla="*/ 983382 h 1538630"/>
              <a:gd name="csX383" fmla="*/ 1340414 w 1609516"/>
              <a:gd name="csY383" fmla="*/ 998354 h 1538630"/>
              <a:gd name="csX384" fmla="*/ 1346272 w 1609516"/>
              <a:gd name="csY384" fmla="*/ 1005048 h 1538630"/>
              <a:gd name="csX385" fmla="*/ 1394716 w 1609516"/>
              <a:gd name="csY385" fmla="*/ 1042740 h 1538630"/>
              <a:gd name="csX386" fmla="*/ 1401953 w 1609516"/>
              <a:gd name="csY386" fmla="*/ 1047374 h 1538630"/>
              <a:gd name="csX387" fmla="*/ 1427197 w 1609516"/>
              <a:gd name="csY387" fmla="*/ 1059061 h 1538630"/>
              <a:gd name="csX388" fmla="*/ 1437265 w 1609516"/>
              <a:gd name="csY388" fmla="*/ 1064588 h 1538630"/>
              <a:gd name="csX389" fmla="*/ 1437265 w 1609516"/>
              <a:gd name="csY389" fmla="*/ 1067406 h 1538630"/>
              <a:gd name="csX390" fmla="*/ 1440878 w 1609516"/>
              <a:gd name="csY390" fmla="*/ 1067847 h 1538630"/>
              <a:gd name="csX391" fmla="*/ 1447175 w 1609516"/>
              <a:gd name="csY391" fmla="*/ 1070753 h 1538630"/>
              <a:gd name="csX392" fmla="*/ 1457866 w 1609516"/>
              <a:gd name="csY392" fmla="*/ 1076830 h 1538630"/>
              <a:gd name="csX393" fmla="*/ 1462132 w 1609516"/>
              <a:gd name="csY393" fmla="*/ 1078696 h 1538630"/>
              <a:gd name="csX394" fmla="*/ 1465383 w 1609516"/>
              <a:gd name="csY394" fmla="*/ 1080089 h 1538630"/>
              <a:gd name="csX395" fmla="*/ 1465383 w 1609516"/>
              <a:gd name="csY395" fmla="*/ 1082908 h 1538630"/>
              <a:gd name="csX396" fmla="*/ 1468758 w 1609516"/>
              <a:gd name="csY396" fmla="*/ 1083975 h 1538630"/>
              <a:gd name="csX397" fmla="*/ 1481688 w 1609516"/>
              <a:gd name="csY397" fmla="*/ 1091187 h 1538630"/>
              <a:gd name="csX398" fmla="*/ 1486283 w 1609516"/>
              <a:gd name="csY398" fmla="*/ 1094236 h 1538630"/>
              <a:gd name="csX399" fmla="*/ 1494869 w 1609516"/>
              <a:gd name="csY399" fmla="*/ 1100171 h 1538630"/>
              <a:gd name="csX400" fmla="*/ 1544335 w 1609516"/>
              <a:gd name="csY400" fmla="*/ 1109518 h 1538630"/>
              <a:gd name="csX401" fmla="*/ 1593477 w 1609516"/>
              <a:gd name="csY401" fmla="*/ 1119900 h 1538630"/>
              <a:gd name="csX402" fmla="*/ 1605975 w 1609516"/>
              <a:gd name="csY402" fmla="*/ 1144913 h 1538630"/>
              <a:gd name="csX403" fmla="*/ 1609099 w 1609516"/>
              <a:gd name="csY403" fmla="*/ 1144913 h 1538630"/>
              <a:gd name="csX404" fmla="*/ 1609392 w 1609516"/>
              <a:gd name="csY404" fmla="*/ 1156892 h 1538630"/>
              <a:gd name="csX405" fmla="*/ 1609511 w 1609516"/>
              <a:gd name="csY405" fmla="*/ 1160272 h 1538630"/>
              <a:gd name="csX406" fmla="*/ 1604412 w 1609516"/>
              <a:gd name="csY406" fmla="*/ 1181553 h 1538630"/>
              <a:gd name="csX407" fmla="*/ 1601288 w 1609516"/>
              <a:gd name="csY407" fmla="*/ 1190009 h 1538630"/>
              <a:gd name="csX408" fmla="*/ 1598164 w 1609516"/>
              <a:gd name="csY408" fmla="*/ 1190009 h 1538630"/>
              <a:gd name="csX409" fmla="*/ 1597187 w 1609516"/>
              <a:gd name="csY409" fmla="*/ 1192739 h 1538630"/>
              <a:gd name="csX410" fmla="*/ 1595040 w 1609516"/>
              <a:gd name="csY410" fmla="*/ 1195645 h 1538630"/>
              <a:gd name="csX411" fmla="*/ 1585667 w 1609516"/>
              <a:gd name="csY411" fmla="*/ 1197055 h 1538630"/>
              <a:gd name="csX412" fmla="*/ 1582543 w 1609516"/>
              <a:gd name="csY412" fmla="*/ 1202691 h 1538630"/>
              <a:gd name="csX413" fmla="*/ 1562431 w 1609516"/>
              <a:gd name="csY413" fmla="*/ 1204365 h 1538630"/>
              <a:gd name="csX414" fmla="*/ 1558690 w 1609516"/>
              <a:gd name="csY414" fmla="*/ 1204417 h 1538630"/>
              <a:gd name="csX415" fmla="*/ 1521102 w 1609516"/>
              <a:gd name="csY415" fmla="*/ 1189585 h 1538630"/>
              <a:gd name="csX416" fmla="*/ 1505022 w 1609516"/>
              <a:gd name="csY416" fmla="*/ 1172041 h 1538630"/>
              <a:gd name="csX417" fmla="*/ 1457573 w 1609516"/>
              <a:gd name="csY417" fmla="*/ 1140686 h 1538630"/>
              <a:gd name="csX418" fmla="*/ 1457573 w 1609516"/>
              <a:gd name="csY418" fmla="*/ 1137867 h 1538630"/>
              <a:gd name="csX419" fmla="*/ 1452985 w 1609516"/>
              <a:gd name="csY419" fmla="*/ 1137339 h 1538630"/>
              <a:gd name="csX420" fmla="*/ 1448200 w 1609516"/>
              <a:gd name="csY420" fmla="*/ 1136458 h 1538630"/>
              <a:gd name="csX421" fmla="*/ 1446638 w 1609516"/>
              <a:gd name="csY421" fmla="*/ 1133640 h 1538630"/>
              <a:gd name="csX422" fmla="*/ 1438937 w 1609516"/>
              <a:gd name="csY422" fmla="*/ 1130601 h 1538630"/>
              <a:gd name="csX423" fmla="*/ 1429260 w 1609516"/>
              <a:gd name="csY423" fmla="*/ 1126770 h 1538630"/>
              <a:gd name="csX424" fmla="*/ 1411393 w 1609516"/>
              <a:gd name="csY424" fmla="*/ 1120340 h 1538630"/>
              <a:gd name="csX425" fmla="*/ 1391427 w 1609516"/>
              <a:gd name="csY425" fmla="*/ 1111191 h 1538630"/>
              <a:gd name="csX426" fmla="*/ 1381029 w 1609516"/>
              <a:gd name="csY426" fmla="*/ 1106865 h 1538630"/>
              <a:gd name="csX427" fmla="*/ 1381029 w 1609516"/>
              <a:gd name="csY427" fmla="*/ 1104046 h 1538630"/>
              <a:gd name="csX428" fmla="*/ 1377221 w 1609516"/>
              <a:gd name="csY428" fmla="*/ 1103605 h 1538630"/>
              <a:gd name="csX429" fmla="*/ 1357597 w 1609516"/>
              <a:gd name="csY429" fmla="*/ 1098409 h 1538630"/>
              <a:gd name="csX430" fmla="*/ 1352032 w 1609516"/>
              <a:gd name="csY430" fmla="*/ 1096736 h 1538630"/>
              <a:gd name="csX431" fmla="*/ 1348225 w 1609516"/>
              <a:gd name="csY431" fmla="*/ 1095590 h 1538630"/>
              <a:gd name="csX432" fmla="*/ 1348225 w 1609516"/>
              <a:gd name="csY432" fmla="*/ 1092772 h 1538630"/>
              <a:gd name="csX433" fmla="*/ 1337290 w 1609516"/>
              <a:gd name="csY433" fmla="*/ 1091363 h 1538630"/>
              <a:gd name="csX434" fmla="*/ 1337290 w 1609516"/>
              <a:gd name="csY434" fmla="*/ 1088544 h 1538630"/>
              <a:gd name="csX435" fmla="*/ 1331529 w 1609516"/>
              <a:gd name="csY435" fmla="*/ 1088104 h 1538630"/>
              <a:gd name="csX436" fmla="*/ 1323297 w 1609516"/>
              <a:gd name="csY436" fmla="*/ 1086611 h 1538630"/>
              <a:gd name="csX437" fmla="*/ 1323297 w 1609516"/>
              <a:gd name="csY437" fmla="*/ 1087618 h 1538630"/>
              <a:gd name="csX438" fmla="*/ 1319789 w 1609516"/>
              <a:gd name="csY438" fmla="*/ 1087310 h 1538630"/>
              <a:gd name="csX439" fmla="*/ 1262375 w 1609516"/>
              <a:gd name="csY439" fmla="*/ 1089028 h 1538630"/>
              <a:gd name="csX440" fmla="*/ 1258728 w 1609516"/>
              <a:gd name="csY440" fmla="*/ 1088205 h 1538630"/>
              <a:gd name="csX441" fmla="*/ 1246964 w 1609516"/>
              <a:gd name="csY441" fmla="*/ 1091489 h 1538630"/>
              <a:gd name="csX442" fmla="*/ 1223224 w 1609516"/>
              <a:gd name="csY442" fmla="*/ 1112865 h 1538630"/>
              <a:gd name="csX443" fmla="*/ 1213883 w 1609516"/>
              <a:gd name="csY443" fmla="*/ 1122366 h 1538630"/>
              <a:gd name="csX444" fmla="*/ 1212505 w 1609516"/>
              <a:gd name="csY444" fmla="*/ 1125708 h 1538630"/>
              <a:gd name="csX445" fmla="*/ 1204180 w 1609516"/>
              <a:gd name="csY445" fmla="*/ 1135561 h 1538630"/>
              <a:gd name="csX446" fmla="*/ 1200238 w 1609516"/>
              <a:gd name="csY446" fmla="*/ 1138999 h 1538630"/>
              <a:gd name="csX447" fmla="*/ 1192025 w 1609516"/>
              <a:gd name="csY447" fmla="*/ 1146022 h 1538630"/>
              <a:gd name="csX448" fmla="*/ 1173945 w 1609516"/>
              <a:gd name="csY448" fmla="*/ 1174749 h 1538630"/>
              <a:gd name="csX449" fmla="*/ 1173950 w 1609516"/>
              <a:gd name="csY449" fmla="*/ 1182610 h 1538630"/>
              <a:gd name="csX450" fmla="*/ 1173989 w 1609516"/>
              <a:gd name="csY450" fmla="*/ 1186765 h 1538630"/>
              <a:gd name="csX451" fmla="*/ 1182640 w 1609516"/>
              <a:gd name="csY451" fmla="*/ 1215374 h 1538630"/>
              <a:gd name="csX452" fmla="*/ 1185764 w 1609516"/>
              <a:gd name="csY452" fmla="*/ 1221804 h 1538630"/>
              <a:gd name="csX453" fmla="*/ 1187301 w 1609516"/>
              <a:gd name="csY453" fmla="*/ 1224859 h 1538630"/>
              <a:gd name="csX454" fmla="*/ 1190573 w 1609516"/>
              <a:gd name="csY454" fmla="*/ 1231740 h 1538630"/>
              <a:gd name="csX455" fmla="*/ 1205925 w 1609516"/>
              <a:gd name="csY455" fmla="*/ 1255163 h 1538630"/>
              <a:gd name="csX456" fmla="*/ 1212174 w 1609516"/>
              <a:gd name="csY456" fmla="*/ 1263134 h 1538630"/>
              <a:gd name="csX457" fmla="*/ 1235556 w 1609516"/>
              <a:gd name="csY457" fmla="*/ 1282538 h 1538630"/>
              <a:gd name="csX458" fmla="*/ 1238876 w 1609516"/>
              <a:gd name="csY458" fmla="*/ 1284426 h 1538630"/>
              <a:gd name="csX459" fmla="*/ 1238876 w 1609516"/>
              <a:gd name="csY459" fmla="*/ 1287245 h 1538630"/>
              <a:gd name="csX460" fmla="*/ 1242245 w 1609516"/>
              <a:gd name="csY460" fmla="*/ 1287663 h 1538630"/>
              <a:gd name="csX461" fmla="*/ 1271681 w 1609516"/>
              <a:gd name="csY461" fmla="*/ 1305565 h 1538630"/>
              <a:gd name="csX462" fmla="*/ 1271742 w 1609516"/>
              <a:gd name="csY462" fmla="*/ 1306172 h 1538630"/>
              <a:gd name="csX463" fmla="*/ 1278525 w 1609516"/>
              <a:gd name="csY463" fmla="*/ 1315767 h 1538630"/>
              <a:gd name="csX464" fmla="*/ 1281097 w 1609516"/>
              <a:gd name="csY464" fmla="*/ 1327286 h 1538630"/>
              <a:gd name="csX465" fmla="*/ 1277973 w 1609516"/>
              <a:gd name="csY465" fmla="*/ 1355470 h 1538630"/>
              <a:gd name="csX466" fmla="*/ 1277460 w 1609516"/>
              <a:gd name="csY466" fmla="*/ 1347025 h 1538630"/>
              <a:gd name="csX467" fmla="*/ 1273531 w 1609516"/>
              <a:gd name="csY467" fmla="*/ 1357991 h 1538630"/>
              <a:gd name="csX468" fmla="*/ 1263870 w 1609516"/>
              <a:gd name="csY468" fmla="*/ 1368980 h 1538630"/>
              <a:gd name="csX469" fmla="*/ 1246686 w 1609516"/>
              <a:gd name="csY469" fmla="*/ 1376026 h 1538630"/>
              <a:gd name="csX470" fmla="*/ 1246686 w 1609516"/>
              <a:gd name="csY470" fmla="*/ 1378844 h 1538630"/>
              <a:gd name="csX471" fmla="*/ 1231651 w 1609516"/>
              <a:gd name="csY471" fmla="*/ 1379196 h 1538630"/>
              <a:gd name="csX472" fmla="*/ 1227373 w 1609516"/>
              <a:gd name="csY472" fmla="*/ 1379340 h 1538630"/>
              <a:gd name="csX473" fmla="*/ 1206071 w 1609516"/>
              <a:gd name="csY473" fmla="*/ 1373207 h 1538630"/>
              <a:gd name="csX474" fmla="*/ 1202069 w 1609516"/>
              <a:gd name="csY474" fmla="*/ 1371798 h 1538630"/>
              <a:gd name="csX475" fmla="*/ 1184104 w 1609516"/>
              <a:gd name="csY475" fmla="*/ 1356176 h 1538630"/>
              <a:gd name="csX476" fmla="*/ 1177270 w 1609516"/>
              <a:gd name="csY476" fmla="*/ 1335247 h 1538630"/>
              <a:gd name="csX477" fmla="*/ 1169002 w 1609516"/>
              <a:gd name="csY477" fmla="*/ 1313464 h 1538630"/>
              <a:gd name="csX478" fmla="*/ 1163504 w 1609516"/>
              <a:gd name="csY478" fmla="*/ 1302130 h 1538630"/>
              <a:gd name="csX479" fmla="*/ 1162015 w 1609516"/>
              <a:gd name="csY479" fmla="*/ 1298788 h 1538630"/>
              <a:gd name="csX480" fmla="*/ 1160111 w 1609516"/>
              <a:gd name="csY480" fmla="*/ 1292656 h 1538630"/>
              <a:gd name="csX481" fmla="*/ 1154522 w 1609516"/>
              <a:gd name="csY481" fmla="*/ 1287245 h 1538630"/>
              <a:gd name="csX482" fmla="*/ 1151398 w 1609516"/>
              <a:gd name="csY482" fmla="*/ 1280199 h 1538630"/>
              <a:gd name="csX483" fmla="*/ 1144173 w 1609516"/>
              <a:gd name="csY483" fmla="*/ 1270774 h 1538630"/>
              <a:gd name="csX484" fmla="*/ 1142065 w 1609516"/>
              <a:gd name="csY484" fmla="*/ 1268160 h 1538630"/>
              <a:gd name="csX485" fmla="*/ 1135776 w 1609516"/>
              <a:gd name="csY485" fmla="*/ 1260470 h 1538630"/>
              <a:gd name="csX486" fmla="*/ 1132353 w 1609516"/>
              <a:gd name="csY486" fmla="*/ 1256247 h 1538630"/>
              <a:gd name="csX487" fmla="*/ 1112344 w 1609516"/>
              <a:gd name="csY487" fmla="*/ 1240741 h 1538630"/>
              <a:gd name="csX488" fmla="*/ 1106193 w 1609516"/>
              <a:gd name="csY488" fmla="*/ 1237570 h 1538630"/>
              <a:gd name="csX489" fmla="*/ 1101409 w 1609516"/>
              <a:gd name="csY489" fmla="*/ 1235104 h 1538630"/>
              <a:gd name="csX490" fmla="*/ 1101409 w 1609516"/>
              <a:gd name="csY490" fmla="*/ 1230876 h 1538630"/>
              <a:gd name="csX491" fmla="*/ 1065480 w 1609516"/>
              <a:gd name="csY491" fmla="*/ 1230876 h 1538630"/>
              <a:gd name="csX492" fmla="*/ 1063919 w 1609516"/>
              <a:gd name="csY492" fmla="*/ 1235104 h 1538630"/>
              <a:gd name="csX493" fmla="*/ 1059232 w 1609516"/>
              <a:gd name="csY493" fmla="*/ 1235104 h 1538630"/>
              <a:gd name="csX494" fmla="*/ 1059232 w 1609516"/>
              <a:gd name="csY494" fmla="*/ 1237922 h 1538630"/>
              <a:gd name="csX495" fmla="*/ 1040194 w 1609516"/>
              <a:gd name="csY495" fmla="*/ 1245761 h 1538630"/>
              <a:gd name="csX496" fmla="*/ 1030333 w 1609516"/>
              <a:gd name="csY496" fmla="*/ 1249901 h 1538630"/>
              <a:gd name="csX497" fmla="*/ 1013931 w 1609516"/>
              <a:gd name="csY497" fmla="*/ 1256242 h 1538630"/>
              <a:gd name="csX498" fmla="*/ 1005925 w 1609516"/>
              <a:gd name="csY498" fmla="*/ 1261615 h 1538630"/>
              <a:gd name="csX499" fmla="*/ 1004558 w 1609516"/>
              <a:gd name="csY499" fmla="*/ 1264697 h 1538630"/>
              <a:gd name="csX500" fmla="*/ 1002959 w 1609516"/>
              <a:gd name="csY500" fmla="*/ 1267961 h 1538630"/>
              <a:gd name="csX501" fmla="*/ 1000653 w 1609516"/>
              <a:gd name="csY501" fmla="*/ 1278965 h 1538630"/>
              <a:gd name="csX502" fmla="*/ 998297 w 1609516"/>
              <a:gd name="csY502" fmla="*/ 1294137 h 1538630"/>
              <a:gd name="csX503" fmla="*/ 996162 w 1609516"/>
              <a:gd name="csY503" fmla="*/ 1324765 h 1538630"/>
              <a:gd name="csX504" fmla="*/ 996164 w 1609516"/>
              <a:gd name="csY504" fmla="*/ 1327846 h 1538630"/>
              <a:gd name="csX505" fmla="*/ 1007780 w 1609516"/>
              <a:gd name="csY505" fmla="*/ 1403329 h 1538630"/>
              <a:gd name="csX506" fmla="*/ 1008940 w 1609516"/>
              <a:gd name="csY506" fmla="*/ 1407701 h 1538630"/>
              <a:gd name="csX507" fmla="*/ 1010080 w 1609516"/>
              <a:gd name="csY507" fmla="*/ 1411730 h 1538630"/>
              <a:gd name="csX508" fmla="*/ 1011075 w 1609516"/>
              <a:gd name="csY508" fmla="*/ 1415277 h 1538630"/>
              <a:gd name="csX509" fmla="*/ 1017055 w 1609516"/>
              <a:gd name="csY509" fmla="*/ 1422530 h 1538630"/>
              <a:gd name="csX510" fmla="*/ 1020277 w 1609516"/>
              <a:gd name="csY510" fmla="*/ 1427991 h 1538630"/>
              <a:gd name="csX511" fmla="*/ 1021796 w 1609516"/>
              <a:gd name="csY511" fmla="*/ 1430798 h 1538630"/>
              <a:gd name="csX512" fmla="*/ 1024579 w 1609516"/>
              <a:gd name="csY512" fmla="*/ 1437239 h 1538630"/>
              <a:gd name="csX513" fmla="*/ 1034043 w 1609516"/>
              <a:gd name="csY513" fmla="*/ 1448072 h 1538630"/>
              <a:gd name="csX514" fmla="*/ 1043782 w 1609516"/>
              <a:gd name="csY514" fmla="*/ 1464320 h 1538630"/>
              <a:gd name="csX515" fmla="*/ 1050458 w 1609516"/>
              <a:gd name="csY515" fmla="*/ 1472189 h 1538630"/>
              <a:gd name="csX516" fmla="*/ 1052926 w 1609516"/>
              <a:gd name="csY516" fmla="*/ 1482370 h 1538630"/>
              <a:gd name="csX517" fmla="*/ 1053316 w 1609516"/>
              <a:gd name="csY517" fmla="*/ 1496903 h 1538630"/>
              <a:gd name="csX518" fmla="*/ 1053352 w 1609516"/>
              <a:gd name="csY518" fmla="*/ 1500660 h 1538630"/>
              <a:gd name="csX519" fmla="*/ 1053341 w 1609516"/>
              <a:gd name="csY519" fmla="*/ 1504285 h 1538630"/>
              <a:gd name="csX520" fmla="*/ 1053329 w 1609516"/>
              <a:gd name="csY520" fmla="*/ 1507529 h 1538630"/>
              <a:gd name="csX521" fmla="*/ 1049801 w 1609516"/>
              <a:gd name="csY521" fmla="*/ 1516192 h 1538630"/>
              <a:gd name="csX522" fmla="*/ 1047312 w 1609516"/>
              <a:gd name="csY522" fmla="*/ 1516192 h 1538630"/>
              <a:gd name="csX523" fmla="*/ 1043611 w 1609516"/>
              <a:gd name="csY523" fmla="*/ 1522585 h 1538630"/>
              <a:gd name="csX524" fmla="*/ 1029552 w 1609516"/>
              <a:gd name="csY524" fmla="*/ 1529631 h 1538630"/>
              <a:gd name="csX525" fmla="*/ 1028771 w 1609516"/>
              <a:gd name="csY525" fmla="*/ 1532273 h 1538630"/>
              <a:gd name="csX526" fmla="*/ 1018013 w 1609516"/>
              <a:gd name="csY526" fmla="*/ 1537640 h 1538630"/>
              <a:gd name="csX527" fmla="*/ 981126 w 1609516"/>
              <a:gd name="csY527" fmla="*/ 1533859 h 1538630"/>
              <a:gd name="csX528" fmla="*/ 977227 w 1609516"/>
              <a:gd name="csY528" fmla="*/ 1531943 h 1538630"/>
              <a:gd name="csX529" fmla="*/ 955376 w 1609516"/>
              <a:gd name="csY529" fmla="*/ 1508751 h 1538630"/>
              <a:gd name="csX530" fmla="*/ 954571 w 1609516"/>
              <a:gd name="csY530" fmla="*/ 1500037 h 1538630"/>
              <a:gd name="csX531" fmla="*/ 951446 w 1609516"/>
              <a:gd name="csY531" fmla="*/ 1500037 h 1538630"/>
              <a:gd name="csX532" fmla="*/ 951251 w 1609516"/>
              <a:gd name="csY532" fmla="*/ 1487883 h 1538630"/>
              <a:gd name="csX533" fmla="*/ 951171 w 1609516"/>
              <a:gd name="csY533" fmla="*/ 1484431 h 1538630"/>
              <a:gd name="csX534" fmla="*/ 954571 w 1609516"/>
              <a:gd name="csY534" fmla="*/ 1466216 h 1538630"/>
              <a:gd name="csX535" fmla="*/ 954961 w 1609516"/>
              <a:gd name="csY535" fmla="*/ 1455118 h 1538630"/>
              <a:gd name="csX536" fmla="*/ 954932 w 1609516"/>
              <a:gd name="csY536" fmla="*/ 1451972 h 1538630"/>
              <a:gd name="csX537" fmla="*/ 945099 w 1609516"/>
              <a:gd name="csY537" fmla="*/ 1403594 h 1538630"/>
              <a:gd name="csX538" fmla="*/ 942366 w 1609516"/>
              <a:gd name="csY538" fmla="*/ 1393553 h 1538630"/>
              <a:gd name="csX539" fmla="*/ 934451 w 1609516"/>
              <a:gd name="csY539" fmla="*/ 1372734 h 1538630"/>
              <a:gd name="csX540" fmla="*/ 931974 w 1609516"/>
              <a:gd name="csY540" fmla="*/ 1365754 h 1538630"/>
              <a:gd name="csX541" fmla="*/ 931138 w 1609516"/>
              <a:gd name="csY541" fmla="*/ 1363343 h 1538630"/>
              <a:gd name="csX542" fmla="*/ 926452 w 1609516"/>
              <a:gd name="csY542" fmla="*/ 1361933 h 1538630"/>
              <a:gd name="csX543" fmla="*/ 918641 w 1609516"/>
              <a:gd name="csY543" fmla="*/ 1340795 h 1538630"/>
              <a:gd name="csX544" fmla="*/ 917079 w 1609516"/>
              <a:gd name="csY544" fmla="*/ 1335158 h 1538630"/>
              <a:gd name="csX545" fmla="*/ 913955 w 1609516"/>
              <a:gd name="csY545" fmla="*/ 1335158 h 1538630"/>
              <a:gd name="csX546" fmla="*/ 912057 w 1609516"/>
              <a:gd name="csY546" fmla="*/ 1330793 h 1538630"/>
              <a:gd name="csX547" fmla="*/ 902142 w 1609516"/>
              <a:gd name="csY547" fmla="*/ 1316222 h 1538630"/>
              <a:gd name="csX548" fmla="*/ 900091 w 1609516"/>
              <a:gd name="csY548" fmla="*/ 1313828 h 1538630"/>
              <a:gd name="csX549" fmla="*/ 878026 w 1609516"/>
              <a:gd name="csY549" fmla="*/ 1295700 h 1538630"/>
              <a:gd name="csX550" fmla="*/ 875134 w 1609516"/>
              <a:gd name="csY550" fmla="*/ 1293465 h 1538630"/>
              <a:gd name="csX551" fmla="*/ 869869 w 1609516"/>
              <a:gd name="csY551" fmla="*/ 1291826 h 1538630"/>
              <a:gd name="csX552" fmla="*/ 862384 w 1609516"/>
              <a:gd name="csY552" fmla="*/ 1291327 h 1538630"/>
              <a:gd name="csX553" fmla="*/ 844390 w 1609516"/>
              <a:gd name="csY553" fmla="*/ 1290461 h 1538630"/>
              <a:gd name="csX554" fmla="*/ 840476 w 1609516"/>
              <a:gd name="csY554" fmla="*/ 1290500 h 1538630"/>
              <a:gd name="csX555" fmla="*/ 831015 w 1609516"/>
              <a:gd name="csY555" fmla="*/ 1290637 h 1538630"/>
              <a:gd name="csX556" fmla="*/ 831015 w 1609516"/>
              <a:gd name="csY556" fmla="*/ 1293456 h 1538630"/>
              <a:gd name="csX557" fmla="*/ 818225 w 1609516"/>
              <a:gd name="csY557" fmla="*/ 1295570 h 1538630"/>
              <a:gd name="csX558" fmla="*/ 796774 w 1609516"/>
              <a:gd name="csY558" fmla="*/ 1297671 h 1538630"/>
              <a:gd name="csX559" fmla="*/ 783646 w 1609516"/>
              <a:gd name="csY559" fmla="*/ 1305736 h 1538630"/>
              <a:gd name="csX560" fmla="*/ 769263 w 1609516"/>
              <a:gd name="csY560" fmla="*/ 1327143 h 1538630"/>
              <a:gd name="csX561" fmla="*/ 764797 w 1609516"/>
              <a:gd name="csY561" fmla="*/ 1334360 h 1538630"/>
              <a:gd name="csX562" fmla="*/ 757875 w 1609516"/>
              <a:gd name="csY562" fmla="*/ 1353503 h 1538630"/>
              <a:gd name="csX563" fmla="*/ 755676 w 1609516"/>
              <a:gd name="csY563" fmla="*/ 1367455 h 1538630"/>
              <a:gd name="csX564" fmla="*/ 750558 w 1609516"/>
              <a:gd name="csY564" fmla="*/ 1399690 h 1538630"/>
              <a:gd name="csX565" fmla="*/ 753057 w 1609516"/>
              <a:gd name="csY565" fmla="*/ 1411256 h 1538630"/>
              <a:gd name="csX566" fmla="*/ 753057 w 1609516"/>
              <a:gd name="csY566" fmla="*/ 1416893 h 1538630"/>
              <a:gd name="csX567" fmla="*/ 756181 w 1609516"/>
              <a:gd name="csY567" fmla="*/ 1416893 h 1538630"/>
              <a:gd name="csX568" fmla="*/ 758133 w 1609516"/>
              <a:gd name="csY568" fmla="*/ 1436182 h 1538630"/>
              <a:gd name="csX569" fmla="*/ 758231 w 1609516"/>
              <a:gd name="csY569" fmla="*/ 1440781 h 1538630"/>
              <a:gd name="csX570" fmla="*/ 750713 w 1609516"/>
              <a:gd name="csY570" fmla="*/ 1465704 h 1538630"/>
              <a:gd name="csX571" fmla="*/ 748370 w 1609516"/>
              <a:gd name="csY571" fmla="*/ 1467185 h 1538630"/>
              <a:gd name="csX572" fmla="*/ 741633 w 1609516"/>
              <a:gd name="csY572" fmla="*/ 1473526 h 1538630"/>
              <a:gd name="csX573" fmla="*/ 728154 w 1609516"/>
              <a:gd name="csY573" fmla="*/ 1478343 h 1538630"/>
              <a:gd name="csX574" fmla="*/ 721814 w 1609516"/>
              <a:gd name="csY574" fmla="*/ 1480308 h 1538630"/>
              <a:gd name="csX575" fmla="*/ 708341 w 1609516"/>
              <a:gd name="csY575" fmla="*/ 1480661 h 1538630"/>
              <a:gd name="csX576" fmla="*/ 704637 w 1609516"/>
              <a:gd name="csY576" fmla="*/ 1480748 h 1538630"/>
              <a:gd name="csX577" fmla="*/ 668507 w 1609516"/>
              <a:gd name="csY577" fmla="*/ 1468418 h 1538630"/>
              <a:gd name="csX578" fmla="*/ 660178 w 1609516"/>
              <a:gd name="csY578" fmla="*/ 1450027 h 1538630"/>
              <a:gd name="csX579" fmla="*/ 657767 w 1609516"/>
              <a:gd name="csY579" fmla="*/ 1445078 h 1538630"/>
              <a:gd name="csX580" fmla="*/ 663369 w 1609516"/>
              <a:gd name="csY580" fmla="*/ 1409390 h 1538630"/>
              <a:gd name="csX581" fmla="*/ 671826 w 1609516"/>
              <a:gd name="csY581" fmla="*/ 1401392 h 1538630"/>
              <a:gd name="csX582" fmla="*/ 678075 w 1609516"/>
              <a:gd name="csY582" fmla="*/ 1390118 h 1538630"/>
              <a:gd name="csX583" fmla="*/ 684323 w 1609516"/>
              <a:gd name="csY583" fmla="*/ 1388709 h 1538630"/>
              <a:gd name="csX584" fmla="*/ 685293 w 1609516"/>
              <a:gd name="csY584" fmla="*/ 1384233 h 1538630"/>
              <a:gd name="csX585" fmla="*/ 686569 w 1609516"/>
              <a:gd name="csY585" fmla="*/ 1378404 h 1538630"/>
              <a:gd name="csX586" fmla="*/ 687207 w 1609516"/>
              <a:gd name="csY586" fmla="*/ 1375456 h 1538630"/>
              <a:gd name="csX587" fmla="*/ 690572 w 1609516"/>
              <a:gd name="csY587" fmla="*/ 1363343 h 1538630"/>
              <a:gd name="csX588" fmla="*/ 692495 w 1609516"/>
              <a:gd name="csY588" fmla="*/ 1323376 h 1538630"/>
              <a:gd name="csX589" fmla="*/ 692625 w 1609516"/>
              <a:gd name="csY589" fmla="*/ 1315006 h 1538630"/>
              <a:gd name="csX590" fmla="*/ 687447 w 1609516"/>
              <a:gd name="csY590" fmla="*/ 1287245 h 1538630"/>
              <a:gd name="csX591" fmla="*/ 682761 w 1609516"/>
              <a:gd name="csY591" fmla="*/ 1285835 h 1538630"/>
              <a:gd name="csX592" fmla="*/ 678954 w 1609516"/>
              <a:gd name="csY592" fmla="*/ 1281608 h 1538630"/>
              <a:gd name="csX593" fmla="*/ 668702 w 1609516"/>
              <a:gd name="csY593" fmla="*/ 1275971 h 1538630"/>
              <a:gd name="csX594" fmla="*/ 662454 w 1609516"/>
              <a:gd name="csY594" fmla="*/ 1270334 h 1538630"/>
              <a:gd name="csX595" fmla="*/ 654643 w 1609516"/>
              <a:gd name="csY595" fmla="*/ 1267516 h 1538630"/>
              <a:gd name="csX596" fmla="*/ 654643 w 1609516"/>
              <a:gd name="csY596" fmla="*/ 1264697 h 1538630"/>
              <a:gd name="csX597" fmla="*/ 650152 w 1609516"/>
              <a:gd name="csY597" fmla="*/ 1264345 h 1538630"/>
              <a:gd name="csX598" fmla="*/ 628087 w 1609516"/>
              <a:gd name="csY598" fmla="*/ 1257651 h 1538630"/>
              <a:gd name="csX599" fmla="*/ 628087 w 1609516"/>
              <a:gd name="csY599" fmla="*/ 1254833 h 1538630"/>
              <a:gd name="csX600" fmla="*/ 625121 w 1609516"/>
              <a:gd name="csY600" fmla="*/ 1254315 h 1538630"/>
              <a:gd name="csX601" fmla="*/ 621252 w 1609516"/>
              <a:gd name="csY601" fmla="*/ 1253600 h 1538630"/>
              <a:gd name="csX602" fmla="*/ 617409 w 1609516"/>
              <a:gd name="csY602" fmla="*/ 1252906 h 1538630"/>
              <a:gd name="csX603" fmla="*/ 610904 w 1609516"/>
              <a:gd name="csY603" fmla="*/ 1249196 h 1538630"/>
              <a:gd name="csX604" fmla="*/ 565739 w 1609516"/>
              <a:gd name="csY604" fmla="*/ 1271742 h 1538630"/>
              <a:gd name="csX605" fmla="*/ 546924 w 1609516"/>
              <a:gd name="csY605" fmla="*/ 1290829 h 1538630"/>
              <a:gd name="csX606" fmla="*/ 543635 w 1609516"/>
              <a:gd name="csY606" fmla="*/ 1294643 h 1538630"/>
              <a:gd name="csX607" fmla="*/ 540651 w 1609516"/>
              <a:gd name="csY607" fmla="*/ 1298188 h 1538630"/>
              <a:gd name="csX608" fmla="*/ 529673 w 1609516"/>
              <a:gd name="csY608" fmla="*/ 1305565 h 1538630"/>
              <a:gd name="csX609" fmla="*/ 526549 w 1609516"/>
              <a:gd name="csY609" fmla="*/ 1311202 h 1538630"/>
              <a:gd name="csX610" fmla="*/ 523425 w 1609516"/>
              <a:gd name="csY610" fmla="*/ 1311202 h 1538630"/>
              <a:gd name="csX611" fmla="*/ 523230 w 1609516"/>
              <a:gd name="csY611" fmla="*/ 1313580 h 1538630"/>
              <a:gd name="csX612" fmla="*/ 517732 w 1609516"/>
              <a:gd name="csY612" fmla="*/ 1319739 h 1538630"/>
              <a:gd name="csX613" fmla="*/ 502239 w 1609516"/>
              <a:gd name="csY613" fmla="*/ 1337096 h 1538630"/>
              <a:gd name="csX614" fmla="*/ 497058 w 1609516"/>
              <a:gd name="csY614" fmla="*/ 1344087 h 1538630"/>
              <a:gd name="csX615" fmla="*/ 494572 w 1609516"/>
              <a:gd name="csY615" fmla="*/ 1347465 h 1538630"/>
              <a:gd name="csX616" fmla="*/ 487776 w 1609516"/>
              <a:gd name="csY616" fmla="*/ 1356181 h 1538630"/>
              <a:gd name="csX617" fmla="*/ 481248 w 1609516"/>
              <a:gd name="csY617" fmla="*/ 1367571 h 1538630"/>
              <a:gd name="csX618" fmla="*/ 478123 w 1609516"/>
              <a:gd name="csY618" fmla="*/ 1367571 h 1538630"/>
              <a:gd name="csX619" fmla="*/ 477635 w 1609516"/>
              <a:gd name="csY619" fmla="*/ 1370565 h 1538630"/>
              <a:gd name="csX620" fmla="*/ 465626 w 1609516"/>
              <a:gd name="csY620" fmla="*/ 1388709 h 1538630"/>
              <a:gd name="csX621" fmla="*/ 461233 w 1609516"/>
              <a:gd name="csY621" fmla="*/ 1397340 h 1538630"/>
              <a:gd name="csX622" fmla="*/ 455765 w 1609516"/>
              <a:gd name="csY622" fmla="*/ 1408086 h 1538630"/>
              <a:gd name="csX623" fmla="*/ 439070 w 1609516"/>
              <a:gd name="csY623" fmla="*/ 1477490 h 1538630"/>
              <a:gd name="csX624" fmla="*/ 434384 w 1609516"/>
              <a:gd name="csY624" fmla="*/ 1478899 h 1538630"/>
              <a:gd name="csX625" fmla="*/ 432431 w 1609516"/>
              <a:gd name="csY625" fmla="*/ 1481982 h 1538630"/>
              <a:gd name="csX626" fmla="*/ 418763 w 1609516"/>
              <a:gd name="csY626" fmla="*/ 1494401 h 1538630"/>
              <a:gd name="csX627" fmla="*/ 415639 w 1609516"/>
              <a:gd name="csY627" fmla="*/ 1494401 h 1538630"/>
              <a:gd name="csX628" fmla="*/ 415639 w 1609516"/>
              <a:gd name="csY628" fmla="*/ 1497219 h 1538630"/>
              <a:gd name="csX629" fmla="*/ 406265 w 1609516"/>
              <a:gd name="csY629" fmla="*/ 1498628 h 1538630"/>
              <a:gd name="csX630" fmla="*/ 406265 w 1609516"/>
              <a:gd name="csY630" fmla="*/ 1501447 h 1538630"/>
              <a:gd name="csX631" fmla="*/ 375023 w 1609516"/>
              <a:gd name="csY631" fmla="*/ 1501447 h 1538630"/>
              <a:gd name="csX632" fmla="*/ 375023 w 1609516"/>
              <a:gd name="csY632" fmla="*/ 1499438 h 1538630"/>
              <a:gd name="csX633" fmla="*/ 374964 w 1609516"/>
              <a:gd name="csY633" fmla="*/ 1499436 h 1538630"/>
              <a:gd name="csX634" fmla="*/ 373179 w 1609516"/>
              <a:gd name="csY634" fmla="*/ 1498628 h 1538630"/>
              <a:gd name="csX635" fmla="*/ 365650 w 1609516"/>
              <a:gd name="csY635" fmla="*/ 1498628 h 1538630"/>
              <a:gd name="csX636" fmla="*/ 363134 w 1609516"/>
              <a:gd name="csY636" fmla="*/ 1494087 h 1538630"/>
              <a:gd name="csX637" fmla="*/ 362171 w 1609516"/>
              <a:gd name="csY637" fmla="*/ 1493651 h 1538630"/>
              <a:gd name="csX638" fmla="*/ 360609 w 1609516"/>
              <a:gd name="csY638" fmla="*/ 1490833 h 1538630"/>
              <a:gd name="csX639" fmla="*/ 363733 w 1609516"/>
              <a:gd name="csY639" fmla="*/ 1490833 h 1538630"/>
              <a:gd name="csX640" fmla="*/ 363733 w 1609516"/>
              <a:gd name="csY640" fmla="*/ 1489980 h 1538630"/>
              <a:gd name="csX641" fmla="*/ 348467 w 1609516"/>
              <a:gd name="csY641" fmla="*/ 1481717 h 1538630"/>
              <a:gd name="csX642" fmla="*/ 343872 w 1609516"/>
              <a:gd name="csY642" fmla="*/ 1461078 h 1538630"/>
              <a:gd name="csX643" fmla="*/ 343656 w 1609516"/>
              <a:gd name="csY643" fmla="*/ 1463649 h 1538630"/>
              <a:gd name="csX644" fmla="*/ 343424 w 1609516"/>
              <a:gd name="csY644" fmla="*/ 1466842 h 1538630"/>
              <a:gd name="csX645" fmla="*/ 341861 w 1609516"/>
              <a:gd name="csY645" fmla="*/ 1466842 h 1538630"/>
              <a:gd name="csX646" fmla="*/ 354143 w 1609516"/>
              <a:gd name="csY646" fmla="*/ 1420549 h 1538630"/>
              <a:gd name="csX647" fmla="*/ 376229 w 1609516"/>
              <a:gd name="csY647" fmla="*/ 1403427 h 1538630"/>
              <a:gd name="csX648" fmla="*/ 379491 w 1609516"/>
              <a:gd name="csY648" fmla="*/ 1404408 h 1538630"/>
              <a:gd name="csX649" fmla="*/ 379710 w 1609516"/>
              <a:gd name="csY649" fmla="*/ 1404210 h 1538630"/>
              <a:gd name="csX650" fmla="*/ 380882 w 1609516"/>
              <a:gd name="csY650" fmla="*/ 1401568 h 1538630"/>
              <a:gd name="csX651" fmla="*/ 392207 w 1609516"/>
              <a:gd name="csY651" fmla="*/ 1392936 h 1538630"/>
              <a:gd name="csX652" fmla="*/ 399542 w 1609516"/>
              <a:gd name="csY652" fmla="*/ 1386774 h 1538630"/>
              <a:gd name="csX653" fmla="*/ 405485 w 1609516"/>
              <a:gd name="csY653" fmla="*/ 1378917 h 1538630"/>
              <a:gd name="csX654" fmla="*/ 412008 w 1609516"/>
              <a:gd name="csY654" fmla="*/ 1369481 h 1538630"/>
              <a:gd name="csX655" fmla="*/ 421130 w 1609516"/>
              <a:gd name="csY655" fmla="*/ 1357057 h 1538630"/>
              <a:gd name="csX656" fmla="*/ 424676 w 1609516"/>
              <a:gd name="csY656" fmla="*/ 1348443 h 1538630"/>
              <a:gd name="csX657" fmla="*/ 427275 w 1609516"/>
              <a:gd name="csY657" fmla="*/ 1348443 h 1538630"/>
              <a:gd name="csX658" fmla="*/ 428135 w 1609516"/>
              <a:gd name="csY658" fmla="*/ 1345727 h 1538630"/>
              <a:gd name="csX659" fmla="*/ 432822 w 1609516"/>
              <a:gd name="csY659" fmla="*/ 1335158 h 1538630"/>
              <a:gd name="csX660" fmla="*/ 435946 w 1609516"/>
              <a:gd name="csY660" fmla="*/ 1335158 h 1538630"/>
              <a:gd name="csX661" fmla="*/ 437704 w 1609516"/>
              <a:gd name="csY661" fmla="*/ 1329786 h 1538630"/>
              <a:gd name="csX662" fmla="*/ 447394 w 1609516"/>
              <a:gd name="csY662" fmla="*/ 1311196 h 1538630"/>
              <a:gd name="csX663" fmla="*/ 469287 w 1609516"/>
              <a:gd name="csY663" fmla="*/ 1265964 h 1538630"/>
              <a:gd name="csX664" fmla="*/ 478178 w 1609516"/>
              <a:gd name="csY664" fmla="*/ 1246787 h 1538630"/>
              <a:gd name="csX665" fmla="*/ 480179 w 1609516"/>
              <a:gd name="csY665" fmla="*/ 1225768 h 1538630"/>
              <a:gd name="csX666" fmla="*/ 480250 w 1609516"/>
              <a:gd name="csY666" fmla="*/ 1217149 h 1538630"/>
              <a:gd name="csX667" fmla="*/ 462972 w 1609516"/>
              <a:gd name="csY667" fmla="*/ 1174827 h 1538630"/>
              <a:gd name="csX668" fmla="*/ 457468 w 1609516"/>
              <a:gd name="csY668" fmla="*/ 1169949 h 1538630"/>
              <a:gd name="csX669" fmla="*/ 440657 w 1609516"/>
              <a:gd name="csY669" fmla="*/ 1152570 h 1538630"/>
              <a:gd name="csX670" fmla="*/ 403142 w 1609516"/>
              <a:gd name="csY670" fmla="*/ 1122366 h 1538630"/>
              <a:gd name="csX671" fmla="*/ 401579 w 1609516"/>
              <a:gd name="csY671" fmla="*/ 1119547 h 1538630"/>
              <a:gd name="csX672" fmla="*/ 364564 w 1609516"/>
              <a:gd name="csY672" fmla="*/ 1118209 h 1538630"/>
              <a:gd name="csX673" fmla="*/ 357822 w 1609516"/>
              <a:gd name="csY673" fmla="*/ 1122041 h 1538630"/>
              <a:gd name="csX674" fmla="*/ 348077 w 1609516"/>
              <a:gd name="csY674" fmla="*/ 1125273 h 1538630"/>
              <a:gd name="csX675" fmla="*/ 334408 w 1609516"/>
              <a:gd name="csY675" fmla="*/ 1132230 h 1538630"/>
              <a:gd name="csX676" fmla="*/ 327964 w 1609516"/>
              <a:gd name="csY676" fmla="*/ 1134080 h 1538630"/>
              <a:gd name="csX677" fmla="*/ 279734 w 1609516"/>
              <a:gd name="csY677" fmla="*/ 1166051 h 1538630"/>
              <a:gd name="csX678" fmla="*/ 276609 w 1609516"/>
              <a:gd name="csY678" fmla="*/ 1173098 h 1538630"/>
              <a:gd name="csX679" fmla="*/ 260988 w 1609516"/>
              <a:gd name="csY679" fmla="*/ 1188599 h 1538630"/>
              <a:gd name="csX680" fmla="*/ 257956 w 1609516"/>
              <a:gd name="csY680" fmla="*/ 1191132 h 1538630"/>
              <a:gd name="csX681" fmla="*/ 243805 w 1609516"/>
              <a:gd name="csY681" fmla="*/ 1196629 h 1538630"/>
              <a:gd name="csX682" fmla="*/ 243805 w 1609516"/>
              <a:gd name="csY682" fmla="*/ 1194236 h 1538630"/>
              <a:gd name="csX683" fmla="*/ 240288 w 1609516"/>
              <a:gd name="csY683" fmla="*/ 1194765 h 1538630"/>
              <a:gd name="csX684" fmla="*/ 243374 w 1609516"/>
              <a:gd name="csY684" fmla="*/ 1194765 h 1538630"/>
              <a:gd name="csX685" fmla="*/ 243374 w 1609516"/>
              <a:gd name="csY685" fmla="*/ 1196797 h 1538630"/>
              <a:gd name="csX686" fmla="*/ 243805 w 1609516"/>
              <a:gd name="csY686" fmla="*/ 1196629 h 1538630"/>
              <a:gd name="csX687" fmla="*/ 243805 w 1609516"/>
              <a:gd name="csY687" fmla="*/ 1197055 h 1538630"/>
              <a:gd name="csX688" fmla="*/ 243374 w 1609516"/>
              <a:gd name="csY688" fmla="*/ 1197055 h 1538630"/>
              <a:gd name="csX689" fmla="*/ 243374 w 1609516"/>
              <a:gd name="csY689" fmla="*/ 1197584 h 1538630"/>
              <a:gd name="csX690" fmla="*/ 241319 w 1609516"/>
              <a:gd name="csY690" fmla="*/ 1197595 h 1538630"/>
              <a:gd name="csX691" fmla="*/ 238009 w 1609516"/>
              <a:gd name="csY691" fmla="*/ 1198881 h 1538630"/>
              <a:gd name="csX692" fmla="*/ 215687 w 1609516"/>
              <a:gd name="csY692" fmla="*/ 1198464 h 1538630"/>
              <a:gd name="csX693" fmla="*/ 215687 w 1609516"/>
              <a:gd name="csY693" fmla="*/ 1197734 h 1538630"/>
              <a:gd name="csX694" fmla="*/ 213936 w 1609516"/>
              <a:gd name="csY694" fmla="*/ 1197744 h 1538630"/>
              <a:gd name="csX695" fmla="*/ 207446 w 1609516"/>
              <a:gd name="csY695" fmla="*/ 1196175 h 1538630"/>
              <a:gd name="csX696" fmla="*/ 207822 w 1609516"/>
              <a:gd name="csY696" fmla="*/ 1195610 h 1538630"/>
              <a:gd name="csX697" fmla="*/ 184737 w 1609516"/>
              <a:gd name="csY697" fmla="*/ 1180936 h 1538630"/>
              <a:gd name="csX698" fmla="*/ 179270 w 1609516"/>
              <a:gd name="csY698" fmla="*/ 1154866 h 1538630"/>
              <a:gd name="csX699" fmla="*/ 179194 w 1609516"/>
              <a:gd name="csY699" fmla="*/ 1151621 h 1538630"/>
              <a:gd name="csX700" fmla="*/ 193195 w 1609516"/>
              <a:gd name="csY700" fmla="*/ 1120065 h 1538630"/>
              <a:gd name="csX701" fmla="*/ 229551 w 1609516"/>
              <a:gd name="csY701" fmla="*/ 1110299 h 1538630"/>
              <a:gd name="csX702" fmla="*/ 260988 w 1609516"/>
              <a:gd name="csY702" fmla="*/ 1108274 h 1538630"/>
              <a:gd name="csX703" fmla="*/ 260988 w 1609516"/>
              <a:gd name="csY703" fmla="*/ 1105455 h 1538630"/>
              <a:gd name="csX704" fmla="*/ 263911 w 1609516"/>
              <a:gd name="csY704" fmla="*/ 1104310 h 1538630"/>
              <a:gd name="csX705" fmla="*/ 286995 w 1609516"/>
              <a:gd name="csY705" fmla="*/ 1090185 h 1538630"/>
              <a:gd name="csX706" fmla="*/ 299358 w 1609516"/>
              <a:gd name="csY706" fmla="*/ 1080970 h 1538630"/>
              <a:gd name="csX707" fmla="*/ 317762 w 1609516"/>
              <a:gd name="csY707" fmla="*/ 1063272 h 1538630"/>
              <a:gd name="csX708" fmla="*/ 325035 w 1609516"/>
              <a:gd name="csY708" fmla="*/ 1057542 h 1538630"/>
              <a:gd name="csX709" fmla="*/ 325328 w 1609516"/>
              <a:gd name="csY709" fmla="*/ 1023104 h 1538630"/>
              <a:gd name="csX710" fmla="*/ 324544 w 1609516"/>
              <a:gd name="csY710" fmla="*/ 1019247 h 1538630"/>
              <a:gd name="csX711" fmla="*/ 317225 w 1609516"/>
              <a:gd name="csY711" fmla="*/ 996945 h 1538630"/>
              <a:gd name="csX712" fmla="*/ 315388 w 1609516"/>
              <a:gd name="csY712" fmla="*/ 992690 h 1538630"/>
              <a:gd name="csX713" fmla="*/ 276232 w 1609516"/>
              <a:gd name="csY713" fmla="*/ 950666 h 1538630"/>
              <a:gd name="csX714" fmla="*/ 271923 w 1609516"/>
              <a:gd name="csY714" fmla="*/ 949031 h 1538630"/>
              <a:gd name="csX715" fmla="*/ 268299 w 1609516"/>
              <a:gd name="csY715" fmla="*/ 947441 h 1538630"/>
              <a:gd name="csX716" fmla="*/ 199187 w 1609516"/>
              <a:gd name="csY716" fmla="*/ 938991 h 1538630"/>
              <a:gd name="csX717" fmla="*/ 193719 w 1609516"/>
              <a:gd name="csY717" fmla="*/ 938971 h 1538630"/>
              <a:gd name="csX718" fmla="*/ 188539 w 1609516"/>
              <a:gd name="csY718" fmla="*/ 938980 h 1538630"/>
              <a:gd name="csX719" fmla="*/ 183874 w 1609516"/>
              <a:gd name="csY719" fmla="*/ 938985 h 1538630"/>
              <a:gd name="csX720" fmla="*/ 173509 w 1609516"/>
              <a:gd name="csY720" fmla="*/ 940576 h 1538630"/>
              <a:gd name="csX721" fmla="*/ 161403 w 1609516"/>
              <a:gd name="csY721" fmla="*/ 940664 h 1538630"/>
              <a:gd name="csX722" fmla="*/ 158102 w 1609516"/>
              <a:gd name="csY722" fmla="*/ 940645 h 1538630"/>
              <a:gd name="csX723" fmla="*/ 150875 w 1609516"/>
              <a:gd name="csY723" fmla="*/ 940583 h 1538630"/>
              <a:gd name="csX724" fmla="*/ 148425 w 1609516"/>
              <a:gd name="csY724" fmla="*/ 940717 h 1538630"/>
              <a:gd name="csX725" fmla="*/ 149617 w 1609516"/>
              <a:gd name="csY725" fmla="*/ 940995 h 1538630"/>
              <a:gd name="csX726" fmla="*/ 149617 w 1609516"/>
              <a:gd name="csY726" fmla="*/ 942404 h 1538630"/>
              <a:gd name="csX727" fmla="*/ 146627 w 1609516"/>
              <a:gd name="csY727" fmla="*/ 942871 h 1538630"/>
              <a:gd name="csX728" fmla="*/ 110564 w 1609516"/>
              <a:gd name="csY728" fmla="*/ 949449 h 1538630"/>
              <a:gd name="csX729" fmla="*/ 111283 w 1609516"/>
              <a:gd name="csY729" fmla="*/ 946205 h 1538630"/>
              <a:gd name="csX730" fmla="*/ 101652 w 1609516"/>
              <a:gd name="csY730" fmla="*/ 956078 h 1538630"/>
              <a:gd name="csX731" fmla="*/ 98052 w 1609516"/>
              <a:gd name="csY731" fmla="*/ 958467 h 1538630"/>
              <a:gd name="csX732" fmla="*/ 67286 w 1609516"/>
              <a:gd name="csY732" fmla="*/ 972989 h 1538630"/>
              <a:gd name="csX733" fmla="*/ 67286 w 1609516"/>
              <a:gd name="csY733" fmla="*/ 975807 h 1538630"/>
              <a:gd name="csX734" fmla="*/ 31942 w 1609516"/>
              <a:gd name="csY734" fmla="*/ 976423 h 1538630"/>
              <a:gd name="csX735" fmla="*/ 5673 w 1609516"/>
              <a:gd name="csY735" fmla="*/ 953419 h 1538630"/>
              <a:gd name="csX736" fmla="*/ 4801 w 1609516"/>
              <a:gd name="csY736" fmla="*/ 944804 h 1538630"/>
              <a:gd name="csX737" fmla="*/ 1676 w 1609516"/>
              <a:gd name="csY737" fmla="*/ 944804 h 1538630"/>
              <a:gd name="csX738" fmla="*/ 17 w 1609516"/>
              <a:gd name="csY738" fmla="*/ 931857 h 1538630"/>
              <a:gd name="csX739" fmla="*/ 59 w 1609516"/>
              <a:gd name="csY739" fmla="*/ 927216 h 1538630"/>
              <a:gd name="csX740" fmla="*/ 115 w 1609516"/>
              <a:gd name="csY740" fmla="*/ 923666 h 1538630"/>
              <a:gd name="csX741" fmla="*/ 3238 w 1609516"/>
              <a:gd name="csY741" fmla="*/ 923666 h 1538630"/>
              <a:gd name="csX742" fmla="*/ 3238 w 1609516"/>
              <a:gd name="csY742" fmla="*/ 918029 h 1538630"/>
              <a:gd name="csX743" fmla="*/ 6363 w 1609516"/>
              <a:gd name="csY743" fmla="*/ 918029 h 1538630"/>
              <a:gd name="csX744" fmla="*/ 6656 w 1609516"/>
              <a:gd name="csY744" fmla="*/ 912832 h 1538630"/>
              <a:gd name="csX745" fmla="*/ 15736 w 1609516"/>
              <a:gd name="csY745" fmla="*/ 899709 h 1538630"/>
              <a:gd name="csX746" fmla="*/ 17243 w 1609516"/>
              <a:gd name="csY746" fmla="*/ 898894 h 1538630"/>
              <a:gd name="csX747" fmla="*/ 16800 w 1609516"/>
              <a:gd name="csY747" fmla="*/ 898694 h 1538630"/>
              <a:gd name="csX748" fmla="*/ 24988 w 1609516"/>
              <a:gd name="csY748" fmla="*/ 894101 h 1538630"/>
              <a:gd name="csX749" fmla="*/ 26768 w 1609516"/>
              <a:gd name="csY749" fmla="*/ 892399 h 1538630"/>
              <a:gd name="csX750" fmla="*/ 30198 w 1609516"/>
              <a:gd name="csY750" fmla="*/ 890164 h 1538630"/>
              <a:gd name="csX751" fmla="*/ 32204 w 1609516"/>
              <a:gd name="csY751" fmla="*/ 890054 h 1538630"/>
              <a:gd name="csX752" fmla="*/ 38914 w 1609516"/>
              <a:gd name="csY752" fmla="*/ 886291 h 1538630"/>
              <a:gd name="csX753" fmla="*/ 63664 w 1609516"/>
              <a:gd name="csY753" fmla="*/ 886011 h 1538630"/>
              <a:gd name="csX754" fmla="*/ 63664 w 1609516"/>
              <a:gd name="csY754" fmla="*/ 886531 h 1538630"/>
              <a:gd name="csX755" fmla="*/ 70784 w 1609516"/>
              <a:gd name="csY755" fmla="*/ 886647 h 1538630"/>
              <a:gd name="csX756" fmla="*/ 82126 w 1609516"/>
              <a:gd name="csY756" fmla="*/ 889845 h 1538630"/>
              <a:gd name="csX757" fmla="*/ 114149 w 1609516"/>
              <a:gd name="csY757" fmla="*/ 892663 h 1538630"/>
              <a:gd name="csX758" fmla="*/ 118836 w 1609516"/>
              <a:gd name="csY758" fmla="*/ 889845 h 1538630"/>
              <a:gd name="csX759" fmla="*/ 131626 w 1609516"/>
              <a:gd name="csY759" fmla="*/ 887114 h 1538630"/>
              <a:gd name="csX760" fmla="*/ 155116 w 1609516"/>
              <a:gd name="csY760" fmla="*/ 880913 h 1538630"/>
              <a:gd name="csX761" fmla="*/ 165406 w 1609516"/>
              <a:gd name="csY761" fmla="*/ 878483 h 1538630"/>
              <a:gd name="csX762" fmla="*/ 176634 w 1609516"/>
              <a:gd name="csY762" fmla="*/ 874343 h 1538630"/>
              <a:gd name="csX763" fmla="*/ 186397 w 1609516"/>
              <a:gd name="csY763" fmla="*/ 871524 h 1538630"/>
              <a:gd name="csX764" fmla="*/ 191871 w 1609516"/>
              <a:gd name="csY764" fmla="*/ 870033 h 1538630"/>
              <a:gd name="csX765" fmla="*/ 203483 w 1609516"/>
              <a:gd name="csY765" fmla="*/ 867208 h 1538630"/>
              <a:gd name="csX766" fmla="*/ 211001 w 1609516"/>
              <a:gd name="csY766" fmla="*/ 861660 h 1538630"/>
              <a:gd name="csX767" fmla="*/ 218031 w 1609516"/>
              <a:gd name="csY767" fmla="*/ 858577 h 1538630"/>
              <a:gd name="csX768" fmla="*/ 254740 w 1609516"/>
              <a:gd name="csY768" fmla="*/ 825020 h 1538630"/>
              <a:gd name="csX769" fmla="*/ 257864 w 1609516"/>
              <a:gd name="csY769" fmla="*/ 820792 h 1538630"/>
              <a:gd name="csX770" fmla="*/ 258318 w 1609516"/>
              <a:gd name="csY770" fmla="*/ 813810 h 1538630"/>
              <a:gd name="csX771" fmla="*/ 258378 w 1609516"/>
              <a:gd name="csY771" fmla="*/ 809502 h 1538630"/>
              <a:gd name="csX772" fmla="*/ 258389 w 1609516"/>
              <a:gd name="csY772" fmla="*/ 804845 h 1538630"/>
              <a:gd name="csX773" fmla="*/ 258420 w 1609516"/>
              <a:gd name="csY773" fmla="*/ 800036 h 1538630"/>
              <a:gd name="csX774" fmla="*/ 258443 w 1609516"/>
              <a:gd name="csY774" fmla="*/ 789939 h 1538630"/>
              <a:gd name="csX775" fmla="*/ 258566 w 1609516"/>
              <a:gd name="csY775" fmla="*/ 774594 h 1538630"/>
              <a:gd name="csX776" fmla="*/ 258584 w 1609516"/>
              <a:gd name="csY776" fmla="*/ 764771 h 1538630"/>
              <a:gd name="csX777" fmla="*/ 258652 w 1609516"/>
              <a:gd name="csY777" fmla="*/ 760174 h 1538630"/>
              <a:gd name="csX778" fmla="*/ 251616 w 1609516"/>
              <a:gd name="csY778" fmla="*/ 733421 h 1538630"/>
              <a:gd name="csX779" fmla="*/ 247613 w 1609516"/>
              <a:gd name="csY779" fmla="*/ 721883 h 1538630"/>
              <a:gd name="csX780" fmla="*/ 241291 w 1609516"/>
              <a:gd name="csY780" fmla="*/ 705644 h 1538630"/>
              <a:gd name="csX781" fmla="*/ 237557 w 1609516"/>
              <a:gd name="csY781" fmla="*/ 689735 h 1538630"/>
              <a:gd name="csX782" fmla="*/ 248492 w 1609516"/>
              <a:gd name="csY782" fmla="*/ 685507 h 1538630"/>
              <a:gd name="csX783" fmla="*/ 248492 w 1609516"/>
              <a:gd name="csY783" fmla="*/ 681279 h 1538630"/>
              <a:gd name="csX784" fmla="*/ 240681 w 1609516"/>
              <a:gd name="csY784" fmla="*/ 679870 h 1538630"/>
              <a:gd name="csX785" fmla="*/ 240681 w 1609516"/>
              <a:gd name="csY785" fmla="*/ 677052 h 1538630"/>
              <a:gd name="csX786" fmla="*/ 238094 w 1609516"/>
              <a:gd name="csY786" fmla="*/ 676645 h 1538630"/>
              <a:gd name="csX787" fmla="*/ 225841 w 1609516"/>
              <a:gd name="csY787" fmla="*/ 670886 h 1538630"/>
              <a:gd name="csX788" fmla="*/ 201531 w 1609516"/>
              <a:gd name="csY788" fmla="*/ 662508 h 1538630"/>
              <a:gd name="csX789" fmla="*/ 188252 w 1609516"/>
              <a:gd name="csY789" fmla="*/ 658644 h 1538630"/>
              <a:gd name="csX790" fmla="*/ 182431 w 1609516"/>
              <a:gd name="csY790" fmla="*/ 657327 h 1538630"/>
              <a:gd name="csX791" fmla="*/ 182431 w 1609516"/>
              <a:gd name="csY791" fmla="*/ 657613 h 1538630"/>
              <a:gd name="csX792" fmla="*/ 146503 w 1609516"/>
              <a:gd name="csY792" fmla="*/ 656204 h 1538630"/>
              <a:gd name="csX793" fmla="*/ 146503 w 1609516"/>
              <a:gd name="csY793" fmla="*/ 659022 h 1538630"/>
              <a:gd name="csX794" fmla="*/ 110378 w 1609516"/>
              <a:gd name="csY794" fmla="*/ 663778 h 1538630"/>
              <a:gd name="csX795" fmla="*/ 106453 w 1609516"/>
              <a:gd name="csY795" fmla="*/ 663836 h 1538630"/>
              <a:gd name="csX796" fmla="*/ 102751 w 1609516"/>
              <a:gd name="csY796" fmla="*/ 663811 h 1538630"/>
              <a:gd name="csX797" fmla="*/ 99449 w 1609516"/>
              <a:gd name="csY797" fmla="*/ 663797 h 1538630"/>
              <a:gd name="csX798" fmla="*/ 91828 w 1609516"/>
              <a:gd name="csY798" fmla="*/ 659022 h 1538630"/>
              <a:gd name="csX799" fmla="*/ 98077 w 1609516"/>
              <a:gd name="csY799" fmla="*/ 659022 h 1538630"/>
              <a:gd name="csX800" fmla="*/ 98077 w 1609516"/>
              <a:gd name="csY800" fmla="*/ 661841 h 1538630"/>
              <a:gd name="csX801" fmla="*/ 119023 w 1609516"/>
              <a:gd name="csY801" fmla="*/ 661357 h 1538630"/>
              <a:gd name="csX802" fmla="*/ 119536 w 1609516"/>
              <a:gd name="csY802" fmla="*/ 661197 h 1538630"/>
              <a:gd name="csX803" fmla="*/ 109853 w 1609516"/>
              <a:gd name="csY803" fmla="*/ 661639 h 1538630"/>
              <a:gd name="csX804" fmla="*/ 106552 w 1609516"/>
              <a:gd name="csY804" fmla="*/ 661619 h 1538630"/>
              <a:gd name="csX805" fmla="*/ 98528 w 1609516"/>
              <a:gd name="csY805" fmla="*/ 661550 h 1538630"/>
              <a:gd name="csX806" fmla="*/ 98528 w 1609516"/>
              <a:gd name="csY806" fmla="*/ 658732 h 1538630"/>
              <a:gd name="csX807" fmla="*/ 89155 w 1609516"/>
              <a:gd name="csY807" fmla="*/ 657323 h 1538630"/>
              <a:gd name="csX808" fmla="*/ 89155 w 1609516"/>
              <a:gd name="csY808" fmla="*/ 654504 h 1538630"/>
              <a:gd name="csX809" fmla="*/ 86397 w 1609516"/>
              <a:gd name="csY809" fmla="*/ 653442 h 1538630"/>
              <a:gd name="csX810" fmla="*/ 77049 w 1609516"/>
              <a:gd name="csY810" fmla="*/ 646137 h 1538630"/>
              <a:gd name="csX811" fmla="*/ 74145 w 1609516"/>
              <a:gd name="csY811" fmla="*/ 643192 h 1538630"/>
              <a:gd name="csX812" fmla="*/ 71972 w 1609516"/>
              <a:gd name="csY812" fmla="*/ 636185 h 1538630"/>
              <a:gd name="csX813" fmla="*/ 68848 w 1609516"/>
              <a:gd name="csY813" fmla="*/ 636185 h 1538630"/>
              <a:gd name="csX814" fmla="*/ 70410 w 1609516"/>
              <a:gd name="csY814" fmla="*/ 595317 h 1538630"/>
              <a:gd name="csX815" fmla="*/ 79782 w 1609516"/>
              <a:gd name="csY815" fmla="*/ 584043 h 1538630"/>
              <a:gd name="csX816" fmla="*/ 82656 w 1609516"/>
              <a:gd name="csY816" fmla="*/ 581115 h 1538630"/>
              <a:gd name="csX817" fmla="*/ 116694 w 1609516"/>
              <a:gd name="csY817" fmla="*/ 572323 h 1538630"/>
              <a:gd name="csX818" fmla="*/ 152031 w 1609516"/>
              <a:gd name="csY818" fmla="*/ 590385 h 1538630"/>
              <a:gd name="csX819" fmla="*/ 191474 w 1609516"/>
              <a:gd name="csY819" fmla="*/ 605886 h 1538630"/>
              <a:gd name="csX820" fmla="*/ 206314 w 1609516"/>
              <a:gd name="csY820" fmla="*/ 608000 h 1538630"/>
              <a:gd name="csX821" fmla="*/ 206314 w 1609516"/>
              <a:gd name="csY821" fmla="*/ 610818 h 1538630"/>
              <a:gd name="csX822" fmla="*/ 234433 w 1609516"/>
              <a:gd name="csY822" fmla="*/ 610818 h 1538630"/>
              <a:gd name="csX823" fmla="*/ 239522 w 1609516"/>
              <a:gd name="csY823" fmla="*/ 610802 h 1538630"/>
              <a:gd name="csX824" fmla="*/ 268799 w 1609516"/>
              <a:gd name="csY824" fmla="*/ 600954 h 1538630"/>
              <a:gd name="csX825" fmla="*/ 271740 w 1609516"/>
              <a:gd name="csY825" fmla="*/ 599325 h 1538630"/>
              <a:gd name="csX826" fmla="*/ 284420 w 1609516"/>
              <a:gd name="csY826" fmla="*/ 579816 h 1538630"/>
              <a:gd name="csX827" fmla="*/ 289399 w 1609516"/>
              <a:gd name="csY827" fmla="*/ 568630 h 1538630"/>
              <a:gd name="csX828" fmla="*/ 293958 w 1609516"/>
              <a:gd name="csY828" fmla="*/ 535838 h 1538630"/>
              <a:gd name="csX829" fmla="*/ 289107 w 1609516"/>
              <a:gd name="csY829" fmla="*/ 529084 h 1538630"/>
              <a:gd name="csX830" fmla="*/ 289107 w 1609516"/>
              <a:gd name="csY830" fmla="*/ 526265 h 1538630"/>
              <a:gd name="csX831" fmla="*/ 284420 w 1609516"/>
              <a:gd name="csY831" fmla="*/ 524856 h 1538630"/>
              <a:gd name="csX832" fmla="*/ 282858 w 1609516"/>
              <a:gd name="csY832" fmla="*/ 520628 h 1538630"/>
              <a:gd name="csX833" fmla="*/ 277977 w 1609516"/>
              <a:gd name="csY833" fmla="*/ 516577 h 1538630"/>
              <a:gd name="csX834" fmla="*/ 264925 w 1609516"/>
              <a:gd name="csY834" fmla="*/ 506443 h 1538630"/>
              <a:gd name="csX835" fmla="*/ 229746 w 1609516"/>
              <a:gd name="csY835" fmla="*/ 481170 h 1538630"/>
              <a:gd name="csX836" fmla="*/ 221057 w 1609516"/>
              <a:gd name="csY836" fmla="*/ 475445 h 1538630"/>
              <a:gd name="csX837" fmla="*/ 212563 w 1609516"/>
              <a:gd name="csY837" fmla="*/ 469896 h 1538630"/>
              <a:gd name="csX838" fmla="*/ 208889 w 1609516"/>
              <a:gd name="csY838" fmla="*/ 467491 h 1538630"/>
              <a:gd name="csX839" fmla="*/ 190406 w 1609516"/>
              <a:gd name="csY839" fmla="*/ 456382 h 1538630"/>
              <a:gd name="csX840" fmla="*/ 186942 w 1609516"/>
              <a:gd name="csY840" fmla="*/ 454460 h 1538630"/>
              <a:gd name="csX841" fmla="*/ 180041 w 1609516"/>
              <a:gd name="csY841" fmla="*/ 450696 h 1538630"/>
              <a:gd name="csX842" fmla="*/ 171948 w 1609516"/>
              <a:gd name="csY842" fmla="*/ 445940 h 1538630"/>
              <a:gd name="csX843" fmla="*/ 171948 w 1609516"/>
              <a:gd name="csY843" fmla="*/ 443121 h 1538630"/>
              <a:gd name="csX844" fmla="*/ 168482 w 1609516"/>
              <a:gd name="csY844" fmla="*/ 442708 h 1538630"/>
              <a:gd name="csX845" fmla="*/ 157107 w 1609516"/>
              <a:gd name="csY845" fmla="*/ 437044 h 1538630"/>
              <a:gd name="csX846" fmla="*/ 132559 w 1609516"/>
              <a:gd name="csY846" fmla="*/ 427510 h 1538630"/>
              <a:gd name="csX847" fmla="*/ 123522 w 1609516"/>
              <a:gd name="csY847" fmla="*/ 421983 h 1538630"/>
              <a:gd name="csX848" fmla="*/ 107986 w 1609516"/>
              <a:gd name="csY848" fmla="*/ 418730 h 1538630"/>
              <a:gd name="csX849" fmla="*/ 102494 w 1609516"/>
              <a:gd name="csY849" fmla="*/ 418622 h 1538630"/>
              <a:gd name="csX850" fmla="*/ 91157 w 1609516"/>
              <a:gd name="csY850" fmla="*/ 418490 h 1538630"/>
              <a:gd name="csX851" fmla="*/ 55277 w 1609516"/>
              <a:gd name="csY851" fmla="*/ 410445 h 1538630"/>
              <a:gd name="csX852" fmla="*/ 51665 w 1609516"/>
              <a:gd name="csY852" fmla="*/ 406481 h 1538630"/>
              <a:gd name="csX853" fmla="*/ 45904 w 1609516"/>
              <a:gd name="csY853" fmla="*/ 400492 h 1538630"/>
              <a:gd name="csX854" fmla="*/ 43152 w 1609516"/>
              <a:gd name="csY854" fmla="*/ 397564 h 1538630"/>
              <a:gd name="csX855" fmla="*/ 37605 w 1609516"/>
              <a:gd name="csY855" fmla="*/ 393798 h 1538630"/>
              <a:gd name="csX856" fmla="*/ 38995 w 1609516"/>
              <a:gd name="csY856" fmla="*/ 368712 h 1538630"/>
              <a:gd name="csX857" fmla="*/ 38666 w 1609516"/>
              <a:gd name="csY857" fmla="*/ 369724 h 1538630"/>
              <a:gd name="csX858" fmla="*/ 35542 w 1609516"/>
              <a:gd name="csY858" fmla="*/ 384081 h 1538630"/>
              <a:gd name="csX859" fmla="*/ 33326 w 1609516"/>
              <a:gd name="csY859" fmla="*/ 357791 h 1538630"/>
              <a:gd name="csX860" fmla="*/ 52725 w 1609516"/>
              <a:gd name="csY860" fmla="*/ 333349 h 1538630"/>
              <a:gd name="csX861" fmla="*/ 55222 w 1609516"/>
              <a:gd name="csY861" fmla="*/ 334475 h 1538630"/>
              <a:gd name="csX862" fmla="*/ 56222 w 1609516"/>
              <a:gd name="csY862" fmla="*/ 333347 h 1538630"/>
              <a:gd name="csX863" fmla="*/ 55871 w 1609516"/>
              <a:gd name="csY863" fmla="*/ 333347 h 1538630"/>
              <a:gd name="csX864" fmla="*/ 56346 w 1609516"/>
              <a:gd name="csY864" fmla="*/ 333207 h 1538630"/>
              <a:gd name="csX865" fmla="*/ 56351 w 1609516"/>
              <a:gd name="csY865" fmla="*/ 333202 h 1538630"/>
              <a:gd name="csX866" fmla="*/ 56365 w 1609516"/>
              <a:gd name="csY866" fmla="*/ 333202 h 1538630"/>
              <a:gd name="csX867" fmla="*/ 79571 w 1609516"/>
              <a:gd name="csY867" fmla="*/ 326360 h 1538630"/>
              <a:gd name="csX868" fmla="*/ 104297 w 1609516"/>
              <a:gd name="csY868" fmla="*/ 330529 h 1538630"/>
              <a:gd name="csX869" fmla="*/ 107170 w 1609516"/>
              <a:gd name="csY869" fmla="*/ 334417 h 1538630"/>
              <a:gd name="csX870" fmla="*/ 109366 w 1609516"/>
              <a:gd name="csY870" fmla="*/ 336046 h 1538630"/>
              <a:gd name="csX871" fmla="*/ 109463 w 1609516"/>
              <a:gd name="csY871" fmla="*/ 336020 h 1538630"/>
              <a:gd name="csX872" fmla="*/ 109463 w 1609516"/>
              <a:gd name="csY872" fmla="*/ 336118 h 1538630"/>
              <a:gd name="csX873" fmla="*/ 115226 w 1609516"/>
              <a:gd name="csY873" fmla="*/ 340394 h 1538630"/>
              <a:gd name="csX874" fmla="*/ 114010 w 1609516"/>
              <a:gd name="csY874" fmla="*/ 340120 h 1538630"/>
              <a:gd name="csX875" fmla="*/ 133285 w 1609516"/>
              <a:gd name="csY875" fmla="*/ 357423 h 1538630"/>
              <a:gd name="csX876" fmla="*/ 173509 w 1609516"/>
              <a:gd name="csY876" fmla="*/ 389571 h 1538630"/>
              <a:gd name="csX877" fmla="*/ 181711 w 1609516"/>
              <a:gd name="csY877" fmla="*/ 393270 h 1538630"/>
              <a:gd name="csX878" fmla="*/ 185507 w 1609516"/>
              <a:gd name="csY878" fmla="*/ 394976 h 1538630"/>
              <a:gd name="csX879" fmla="*/ 192658 w 1609516"/>
              <a:gd name="csY879" fmla="*/ 398257 h 1538630"/>
              <a:gd name="csX880" fmla="*/ 195966 w 1609516"/>
              <a:gd name="csY880" fmla="*/ 399788 h 1538630"/>
              <a:gd name="csX881" fmla="*/ 198833 w 1609516"/>
              <a:gd name="csY881" fmla="*/ 401131 h 1538630"/>
              <a:gd name="csX882" fmla="*/ 207877 w 1609516"/>
              <a:gd name="csY882" fmla="*/ 403663 h 1538630"/>
              <a:gd name="csX883" fmla="*/ 207877 w 1609516"/>
              <a:gd name="csY883" fmla="*/ 406481 h 1538630"/>
              <a:gd name="csX884" fmla="*/ 248492 w 1609516"/>
              <a:gd name="csY884" fmla="*/ 419428 h 1538630"/>
              <a:gd name="csX885" fmla="*/ 253965 w 1609516"/>
              <a:gd name="csY885" fmla="*/ 421000 h 1538630"/>
              <a:gd name="csX886" fmla="*/ 267237 w 1609516"/>
              <a:gd name="csY886" fmla="*/ 424801 h 1538630"/>
              <a:gd name="csX887" fmla="*/ 267237 w 1609516"/>
              <a:gd name="csY887" fmla="*/ 426451 h 1538630"/>
              <a:gd name="csX888" fmla="*/ 288701 w 1609516"/>
              <a:gd name="csY888" fmla="*/ 429217 h 1538630"/>
              <a:gd name="csX889" fmla="*/ 288701 w 1609516"/>
              <a:gd name="csY889" fmla="*/ 432036 h 1538630"/>
              <a:gd name="csX890" fmla="*/ 327010 w 1609516"/>
              <a:gd name="csY890" fmla="*/ 433628 h 1538630"/>
              <a:gd name="csX891" fmla="*/ 337486 w 1609516"/>
              <a:gd name="csY891" fmla="*/ 433637 h 1538630"/>
              <a:gd name="csX892" fmla="*/ 344229 w 1609516"/>
              <a:gd name="csY892" fmla="*/ 433632 h 1538630"/>
              <a:gd name="csX893" fmla="*/ 350323 w 1609516"/>
              <a:gd name="csY893" fmla="*/ 433627 h 1538630"/>
              <a:gd name="csX894" fmla="*/ 365245 w 1609516"/>
              <a:gd name="csY894" fmla="*/ 432036 h 1538630"/>
              <a:gd name="csX895" fmla="*/ 360797 w 1609516"/>
              <a:gd name="csY895" fmla="*/ 433759 h 1538630"/>
              <a:gd name="csX896" fmla="*/ 365650 w 1609516"/>
              <a:gd name="csY896" fmla="*/ 433257 h 1538630"/>
              <a:gd name="csX897" fmla="*/ 367213 w 1609516"/>
              <a:gd name="csY897" fmla="*/ 429029 h 1538630"/>
              <a:gd name="csX898" fmla="*/ 375188 w 1609516"/>
              <a:gd name="csY898" fmla="*/ 424906 h 1538630"/>
              <a:gd name="csX899" fmla="*/ 404704 w 1609516"/>
              <a:gd name="csY899" fmla="*/ 389571 h 1538630"/>
              <a:gd name="csX900" fmla="*/ 406265 w 1609516"/>
              <a:gd name="csY900" fmla="*/ 388161 h 1538630"/>
              <a:gd name="csX901" fmla="*/ 406559 w 1609516"/>
              <a:gd name="csY901" fmla="*/ 370106 h 1538630"/>
              <a:gd name="csX902" fmla="*/ 406617 w 1609516"/>
              <a:gd name="csY902" fmla="*/ 364973 h 1538630"/>
              <a:gd name="csX903" fmla="*/ 406626 w 1609516"/>
              <a:gd name="csY903" fmla="*/ 360038 h 1538630"/>
              <a:gd name="csX904" fmla="*/ 406645 w 1609516"/>
              <a:gd name="csY904" fmla="*/ 355503 h 1538630"/>
              <a:gd name="csX905" fmla="*/ 403142 w 1609516"/>
              <a:gd name="csY905" fmla="*/ 345885 h 1538630"/>
              <a:gd name="csX906" fmla="*/ 401579 w 1609516"/>
              <a:gd name="csY906" fmla="*/ 338663 h 1538630"/>
              <a:gd name="csX907" fmla="*/ 390938 w 1609516"/>
              <a:gd name="csY907" fmla="*/ 315939 h 1538630"/>
              <a:gd name="csX908" fmla="*/ 388976 w 1609516"/>
              <a:gd name="csY908" fmla="*/ 312762 h 1538630"/>
              <a:gd name="csX909" fmla="*/ 377934 w 1609516"/>
              <a:gd name="csY909" fmla="*/ 297817 h 1538630"/>
              <a:gd name="csX910" fmla="*/ 368775 w 1609516"/>
              <a:gd name="csY910" fmla="*/ 282470 h 1538630"/>
              <a:gd name="csX911" fmla="*/ 359890 w 1609516"/>
              <a:gd name="csY911" fmla="*/ 271284 h 1538630"/>
              <a:gd name="csX912" fmla="*/ 357374 w 1609516"/>
              <a:gd name="csY912" fmla="*/ 268288 h 1538630"/>
              <a:gd name="csX913" fmla="*/ 337533 w 1609516"/>
              <a:gd name="csY913" fmla="*/ 248649 h 1538630"/>
              <a:gd name="csX914" fmla="*/ 335214 w 1609516"/>
              <a:gd name="csY914" fmla="*/ 246369 h 1538630"/>
              <a:gd name="csX915" fmla="*/ 327085 w 1609516"/>
              <a:gd name="csY915" fmla="*/ 242571 h 1538630"/>
              <a:gd name="csX916" fmla="*/ 288785 w 1609516"/>
              <a:gd name="csY916" fmla="*/ 207968 h 1538630"/>
              <a:gd name="csX917" fmla="*/ 286373 w 1609516"/>
              <a:gd name="csY917" fmla="*/ 192544 h 1538630"/>
              <a:gd name="csX918" fmla="*/ 286385 w 1609516"/>
              <a:gd name="csY918" fmla="*/ 189190 h 1538630"/>
              <a:gd name="csX919" fmla="*/ 300042 w 1609516"/>
              <a:gd name="csY919" fmla="*/ 164095 h 1538630"/>
              <a:gd name="csX920" fmla="*/ 302757 w 1609516"/>
              <a:gd name="csY920" fmla="*/ 161381 h 1538630"/>
              <a:gd name="csX921" fmla="*/ 338411 w 1609516"/>
              <a:gd name="csY921" fmla="*/ 152293 h 1538630"/>
              <a:gd name="csX922" fmla="*/ 368482 w 1609516"/>
              <a:gd name="csY922" fmla="*/ 161893 h 1538630"/>
              <a:gd name="csX923" fmla="*/ 371899 w 1609516"/>
              <a:gd name="csY923" fmla="*/ 165505 h 1538630"/>
              <a:gd name="csX924" fmla="*/ 375121 w 1609516"/>
              <a:gd name="csY924" fmla="*/ 168587 h 1538630"/>
              <a:gd name="csX925" fmla="*/ 384982 w 1609516"/>
              <a:gd name="csY925" fmla="*/ 193777 h 1538630"/>
              <a:gd name="csX926" fmla="*/ 390352 w 1609516"/>
              <a:gd name="csY926" fmla="*/ 214563 h 1538630"/>
              <a:gd name="csX927" fmla="*/ 391529 w 1609516"/>
              <a:gd name="csY927" fmla="*/ 217626 h 1538630"/>
              <a:gd name="csX928" fmla="*/ 401579 w 1609516"/>
              <a:gd name="csY928" fmla="*/ 234556 h 1538630"/>
              <a:gd name="csX929" fmla="*/ 401579 w 1609516"/>
              <a:gd name="csY929" fmla="*/ 238784 h 1538630"/>
              <a:gd name="csX930" fmla="*/ 404215 w 1609516"/>
              <a:gd name="csY930" fmla="*/ 239753 h 1538630"/>
              <a:gd name="csX931" fmla="*/ 417811 w 1609516"/>
              <a:gd name="csY931" fmla="*/ 251996 h 1538630"/>
              <a:gd name="csX932" fmla="*/ 426866 w 1609516"/>
              <a:gd name="csY932" fmla="*/ 262300 h 1538630"/>
              <a:gd name="csX933" fmla="*/ 450097 w 1609516"/>
              <a:gd name="csY933" fmla="*/ 287628 h 1538630"/>
              <a:gd name="csX934" fmla="*/ 457425 w 1609516"/>
              <a:gd name="csY934" fmla="*/ 293920 h 1538630"/>
              <a:gd name="csX935" fmla="*/ 460940 w 1609516"/>
              <a:gd name="csY935" fmla="*/ 296562 h 1538630"/>
              <a:gd name="csX936" fmla="*/ 460940 w 1609516"/>
              <a:gd name="csY936" fmla="*/ 300790 h 1538630"/>
              <a:gd name="csX937" fmla="*/ 473437 w 1609516"/>
              <a:gd name="csY937" fmla="*/ 305018 h 1538630"/>
              <a:gd name="csX938" fmla="*/ 473437 w 1609516"/>
              <a:gd name="csY938" fmla="*/ 307836 h 1538630"/>
              <a:gd name="csX939" fmla="*/ 479881 w 1609516"/>
              <a:gd name="csY939" fmla="*/ 309862 h 1538630"/>
              <a:gd name="csX940" fmla="*/ 483505 w 1609516"/>
              <a:gd name="csY940" fmla="*/ 311001 h 1538630"/>
              <a:gd name="csX941" fmla="*/ 548419 w 1609516"/>
              <a:gd name="csY941" fmla="*/ 306427 h 1538630"/>
              <a:gd name="csX942" fmla="*/ 551842 w 1609516"/>
              <a:gd name="csY942" fmla="*/ 305127 h 1538630"/>
              <a:gd name="csX943" fmla="*/ 560232 w 1609516"/>
              <a:gd name="csY943" fmla="*/ 298148 h 1538630"/>
              <a:gd name="csX944" fmla="*/ 562972 w 1609516"/>
              <a:gd name="csY944" fmla="*/ 295252 h 1538630"/>
              <a:gd name="csX945" fmla="*/ 568086 w 1609516"/>
              <a:gd name="csY945" fmla="*/ 289152 h 1538630"/>
              <a:gd name="csX946" fmla="*/ 570289 w 1609516"/>
              <a:gd name="csY946" fmla="*/ 286697 h 1538630"/>
              <a:gd name="csX947" fmla="*/ 573413 w 1609516"/>
              <a:gd name="csY947" fmla="*/ 286697 h 1538630"/>
              <a:gd name="csX948" fmla="*/ 577220 w 1609516"/>
              <a:gd name="csY948" fmla="*/ 257016 h 1538630"/>
              <a:gd name="csX949" fmla="*/ 577235 w 1609516"/>
              <a:gd name="csY949" fmla="*/ 254206 h 1538630"/>
              <a:gd name="csX950" fmla="*/ 569443 w 1609516"/>
              <a:gd name="csY950" fmla="*/ 206049 h 1538630"/>
              <a:gd name="csX951" fmla="*/ 568726 w 1609516"/>
              <a:gd name="csY951" fmla="*/ 200735 h 1538630"/>
              <a:gd name="csX952" fmla="*/ 565602 w 1609516"/>
              <a:gd name="csY952" fmla="*/ 200735 h 1538630"/>
              <a:gd name="csX953" fmla="*/ 559549 w 1609516"/>
              <a:gd name="csY953" fmla="*/ 184441 h 1538630"/>
              <a:gd name="csX954" fmla="*/ 537484 w 1609516"/>
              <a:gd name="csY954" fmla="*/ 159867 h 1538630"/>
              <a:gd name="csX955" fmla="*/ 531235 w 1609516"/>
              <a:gd name="csY955" fmla="*/ 154230 h 1538630"/>
              <a:gd name="csX956" fmla="*/ 531235 w 1609516"/>
              <a:gd name="csY956" fmla="*/ 151412 h 1538630"/>
              <a:gd name="csX957" fmla="*/ 526549 w 1609516"/>
              <a:gd name="csY957" fmla="*/ 150003 h 1538630"/>
              <a:gd name="csX958" fmla="*/ 524304 w 1609516"/>
              <a:gd name="csY958" fmla="*/ 107198 h 1538630"/>
              <a:gd name="csX959" fmla="*/ 547052 w 1609516"/>
              <a:gd name="csY959" fmla="*/ 85972 h 1538630"/>
              <a:gd name="csX960" fmla="*/ 588460 w 1609516"/>
              <a:gd name="csY960" fmla="*/ 83538 h 1538630"/>
              <a:gd name="csX961" fmla="*/ 617152 w 1609516"/>
              <a:gd name="csY961" fmla="*/ 111954 h 1538630"/>
              <a:gd name="csX962" fmla="*/ 617884 w 1609516"/>
              <a:gd name="csY962" fmla="*/ 124175 h 1538630"/>
              <a:gd name="csX963" fmla="*/ 617917 w 1609516"/>
              <a:gd name="csY963" fmla="*/ 127607 h 1538630"/>
              <a:gd name="csX964" fmla="*/ 617919 w 1609516"/>
              <a:gd name="csY964" fmla="*/ 141969 h 1538630"/>
              <a:gd name="csX965" fmla="*/ 630625 w 1609516"/>
              <a:gd name="csY965" fmla="*/ 191311 h 1538630"/>
              <a:gd name="csX966" fmla="*/ 637850 w 1609516"/>
              <a:gd name="csY966" fmla="*/ 205139 h 1538630"/>
              <a:gd name="csX967" fmla="*/ 643708 w 1609516"/>
              <a:gd name="csY967" fmla="*/ 212009 h 1538630"/>
              <a:gd name="csX968" fmla="*/ 647027 w 1609516"/>
              <a:gd name="csY968" fmla="*/ 217645 h 1538630"/>
              <a:gd name="csX969" fmla="*/ 670264 w 1609516"/>
              <a:gd name="csY969" fmla="*/ 241603 h 1538630"/>
              <a:gd name="csX970" fmla="*/ 670264 w 1609516"/>
              <a:gd name="csY970" fmla="*/ 244421 h 1538630"/>
              <a:gd name="csX971" fmla="*/ 675634 w 1609516"/>
              <a:gd name="csY971" fmla="*/ 245742 h 1538630"/>
              <a:gd name="csX972" fmla="*/ 682761 w 1609516"/>
              <a:gd name="csY972" fmla="*/ 248649 h 1538630"/>
              <a:gd name="csX973" fmla="*/ 752092 w 1609516"/>
              <a:gd name="csY973" fmla="*/ 245076 h 1538630"/>
              <a:gd name="csX974" fmla="*/ 758433 w 1609516"/>
              <a:gd name="csY974" fmla="*/ 240485 h 1538630"/>
              <a:gd name="csX975" fmla="*/ 763991 w 1609516"/>
              <a:gd name="csY975" fmla="*/ 238784 h 1538630"/>
              <a:gd name="csX976" fmla="*/ 765315 w 1609516"/>
              <a:gd name="csY976" fmla="*/ 235778 h 1538630"/>
              <a:gd name="csX977" fmla="*/ 770923 w 1609516"/>
              <a:gd name="csY977" fmla="*/ 223459 h 1538630"/>
              <a:gd name="csX978" fmla="*/ 772998 w 1609516"/>
              <a:gd name="csY978" fmla="*/ 218934 h 1538630"/>
              <a:gd name="csX979" fmla="*/ 777562 w 1609516"/>
              <a:gd name="csY979" fmla="*/ 209895 h 1538630"/>
              <a:gd name="csX980" fmla="*/ 781175 w 1609516"/>
              <a:gd name="csY980" fmla="*/ 124637 h 1538630"/>
              <a:gd name="csX981" fmla="*/ 778051 w 1609516"/>
              <a:gd name="csY981" fmla="*/ 124637 h 1538630"/>
              <a:gd name="csX982" fmla="*/ 767116 w 1609516"/>
              <a:gd name="csY982" fmla="*/ 79542 h 1538630"/>
              <a:gd name="csX983" fmla="*/ 793379 w 1609516"/>
              <a:gd name="csY983" fmla="*/ 54000 h 1538630"/>
              <a:gd name="csX984" fmla="*/ 840688 w 1609516"/>
              <a:gd name="csY984" fmla="*/ 55503 h 1538630"/>
              <a:gd name="csX985" fmla="*/ 851470 w 1609516"/>
              <a:gd name="csY985" fmla="*/ 64040 h 1538630"/>
              <a:gd name="csX986" fmla="*/ 853997 w 1609516"/>
              <a:gd name="csY986" fmla="*/ 66529 h 1538630"/>
              <a:gd name="csX987" fmla="*/ 861488 w 1609516"/>
              <a:gd name="csY987" fmla="*/ 82057 h 1538630"/>
              <a:gd name="csX988" fmla="*/ 861937 w 1609516"/>
              <a:gd name="csY988" fmla="*/ 90492 h 1538630"/>
              <a:gd name="csX989" fmla="*/ 863826 w 1609516"/>
              <a:gd name="csY989" fmla="*/ 100715 h 1538630"/>
              <a:gd name="csX990" fmla="*/ 857577 w 1609516"/>
              <a:gd name="csY990" fmla="*/ 121853 h 1538630"/>
              <a:gd name="csX991" fmla="*/ 856015 w 1609516"/>
              <a:gd name="csY991" fmla="*/ 121853 h 1538630"/>
              <a:gd name="csX992" fmla="*/ 855442 w 1609516"/>
              <a:gd name="csY992" fmla="*/ 118919 h 1538630"/>
              <a:gd name="csX993" fmla="*/ 855417 w 1609516"/>
              <a:gd name="csY993" fmla="*/ 118798 h 1538630"/>
              <a:gd name="csX994" fmla="*/ 856157 w 1609516"/>
              <a:gd name="csY994" fmla="*/ 124637 h 1538630"/>
              <a:gd name="csX995" fmla="*/ 850623 w 1609516"/>
              <a:gd name="csY995" fmla="*/ 134701 h 1538630"/>
              <a:gd name="csX996" fmla="*/ 851325 w 1609516"/>
              <a:gd name="csY996" fmla="*/ 135968 h 1538630"/>
              <a:gd name="csX997" fmla="*/ 849886 w 1609516"/>
              <a:gd name="csY997" fmla="*/ 139843 h 1538630"/>
              <a:gd name="csX998" fmla="*/ 847786 w 1609516"/>
              <a:gd name="csY998" fmla="*/ 152889 h 1538630"/>
              <a:gd name="csX999" fmla="*/ 847767 w 1609516"/>
              <a:gd name="csY999" fmla="*/ 157768 h 1538630"/>
              <a:gd name="csX1000" fmla="*/ 847810 w 1609516"/>
              <a:gd name="csY1000" fmla="*/ 162919 h 1538630"/>
              <a:gd name="csX1001" fmla="*/ 847832 w 1609516"/>
              <a:gd name="csY1001" fmla="*/ 168227 h 1538630"/>
              <a:gd name="csX1002" fmla="*/ 850903 w 1609516"/>
              <a:gd name="csY1002" fmla="*/ 209013 h 1538630"/>
              <a:gd name="csX1003" fmla="*/ 852880 w 1609516"/>
              <a:gd name="csY1003" fmla="*/ 224692 h 1538630"/>
              <a:gd name="csX1004" fmla="*/ 854595 w 1609516"/>
              <a:gd name="csY1004" fmla="*/ 224692 h 1538630"/>
              <a:gd name="csX1005" fmla="*/ 856083 w 1609516"/>
              <a:gd name="csY1005" fmla="*/ 227268 h 1538630"/>
              <a:gd name="csX1006" fmla="*/ 879588 w 1609516"/>
              <a:gd name="csY1006" fmla="*/ 247239 h 1538630"/>
              <a:gd name="csX1007" fmla="*/ 885739 w 1609516"/>
              <a:gd name="csY1007" fmla="*/ 249618 h 1538630"/>
              <a:gd name="csX1008" fmla="*/ 890523 w 1609516"/>
              <a:gd name="csY1008" fmla="*/ 251467 h 1538630"/>
              <a:gd name="csX1009" fmla="*/ 890523 w 1609516"/>
              <a:gd name="csY1009" fmla="*/ 254285 h 1538630"/>
              <a:gd name="csX1010" fmla="*/ 920203 w 1609516"/>
              <a:gd name="csY1010" fmla="*/ 261332 h 1538630"/>
              <a:gd name="csX1011" fmla="*/ 920203 w 1609516"/>
              <a:gd name="csY1011" fmla="*/ 262741 h 1538630"/>
              <a:gd name="csX1012" fmla="*/ 910831 w 1609516"/>
              <a:gd name="csY1012" fmla="*/ 262741 h 1538630"/>
              <a:gd name="csX1013" fmla="*/ 910831 w 1609516"/>
              <a:gd name="csY1013" fmla="*/ 262864 h 1538630"/>
              <a:gd name="csX1014" fmla="*/ 927993 w 1609516"/>
              <a:gd name="csY1014" fmla="*/ 264177 h 1538630"/>
              <a:gd name="csX1015" fmla="*/ 939273 w 1609516"/>
              <a:gd name="csY1015" fmla="*/ 265285 h 1538630"/>
              <a:gd name="csX1016" fmla="*/ 940456 w 1609516"/>
              <a:gd name="csY1016" fmla="*/ 265191 h 1538630"/>
              <a:gd name="csX1017" fmla="*/ 991622 w 1609516"/>
              <a:gd name="csY1017" fmla="*/ 242329 h 1538630"/>
              <a:gd name="csX1018" fmla="*/ 1000803 w 1609516"/>
              <a:gd name="csY1018" fmla="*/ 236505 h 1538630"/>
              <a:gd name="csX1019" fmla="*/ 999806 w 1609516"/>
              <a:gd name="csY1019" fmla="*/ 236055 h 1538630"/>
              <a:gd name="csX1020" fmla="*/ 1003126 w 1609516"/>
              <a:gd name="csY1020" fmla="*/ 232851 h 1538630"/>
              <a:gd name="csX1021" fmla="*/ 1029487 w 1609516"/>
              <a:gd name="csY1021" fmla="*/ 205052 h 1538630"/>
              <a:gd name="csX1022" fmla="*/ 1029872 w 1609516"/>
              <a:gd name="csY1022" fmla="*/ 206442 h 1538630"/>
              <a:gd name="csX1023" fmla="*/ 1031614 w 1609516"/>
              <a:gd name="csY1023" fmla="*/ 203719 h 1538630"/>
              <a:gd name="csX1024" fmla="*/ 1038924 w 1609516"/>
              <a:gd name="csY1024" fmla="*/ 192280 h 1538630"/>
              <a:gd name="csX1025" fmla="*/ 1042049 w 1609516"/>
              <a:gd name="csY1025" fmla="*/ 190870 h 1538630"/>
              <a:gd name="csX1026" fmla="*/ 1044294 w 1609516"/>
              <a:gd name="csY1026" fmla="*/ 186026 h 1538630"/>
              <a:gd name="csX1027" fmla="*/ 1051422 w 1609516"/>
              <a:gd name="csY1027" fmla="*/ 178188 h 1538630"/>
              <a:gd name="csX1028" fmla="*/ 1052984 w 1609516"/>
              <a:gd name="csY1028" fmla="*/ 172551 h 1538630"/>
              <a:gd name="csX1029" fmla="*/ 1056108 w 1609516"/>
              <a:gd name="csY1029" fmla="*/ 172551 h 1538630"/>
              <a:gd name="csX1030" fmla="*/ 1059232 w 1609516"/>
              <a:gd name="csY1030" fmla="*/ 162686 h 1538630"/>
              <a:gd name="csX1031" fmla="*/ 1062357 w 1609516"/>
              <a:gd name="csY1031" fmla="*/ 162686 h 1538630"/>
              <a:gd name="csX1032" fmla="*/ 1063162 w 1609516"/>
              <a:gd name="csY1032" fmla="*/ 160258 h 1538630"/>
              <a:gd name="csX1033" fmla="*/ 1073292 w 1609516"/>
              <a:gd name="csY1033" fmla="*/ 140138 h 1538630"/>
              <a:gd name="csX1034" fmla="*/ 1076415 w 1609516"/>
              <a:gd name="csY1034" fmla="*/ 140138 h 1538630"/>
              <a:gd name="csX1035" fmla="*/ 1085294 w 1609516"/>
              <a:gd name="csY1035" fmla="*/ 117569 h 1538630"/>
              <a:gd name="csX1036" fmla="*/ 1087350 w 1609516"/>
              <a:gd name="csY1036" fmla="*/ 113363 h 1538630"/>
              <a:gd name="csX1037" fmla="*/ 1092037 w 1609516"/>
              <a:gd name="csY1037" fmla="*/ 111954 h 1538630"/>
              <a:gd name="csX1038" fmla="*/ 1092623 w 1609516"/>
              <a:gd name="csY1038" fmla="*/ 108695 h 1538630"/>
              <a:gd name="csX1039" fmla="*/ 1096723 w 1609516"/>
              <a:gd name="csY1039" fmla="*/ 100680 h 1538630"/>
              <a:gd name="csX1040" fmla="*/ 1098188 w 1609516"/>
              <a:gd name="csY1040" fmla="*/ 96013 h 1538630"/>
              <a:gd name="csX1041" fmla="*/ 1102288 w 1609516"/>
              <a:gd name="csY1041" fmla="*/ 87029 h 1538630"/>
              <a:gd name="csX1042" fmla="*/ 1104534 w 1609516"/>
              <a:gd name="csY1042" fmla="*/ 61222 h 1538630"/>
              <a:gd name="csX1043" fmla="*/ 1104381 w 1609516"/>
              <a:gd name="csY1043" fmla="*/ 55569 h 1538630"/>
              <a:gd name="csX1044" fmla="*/ 1104397 w 1609516"/>
              <a:gd name="csY1044" fmla="*/ 52335 h 1538630"/>
              <a:gd name="csX1045" fmla="*/ 1104436 w 1609516"/>
              <a:gd name="csY1045" fmla="*/ 48979 h 1538630"/>
              <a:gd name="csX1046" fmla="*/ 1104457 w 1609516"/>
              <a:gd name="csY1046" fmla="*/ 45575 h 1538630"/>
              <a:gd name="csX1047" fmla="*/ 1104534 w 1609516"/>
              <a:gd name="csY1047" fmla="*/ 37265 h 1538630"/>
              <a:gd name="csX1048" fmla="*/ 1107658 w 1609516"/>
              <a:gd name="csY1048" fmla="*/ 37265 h 1538630"/>
              <a:gd name="csX1049" fmla="*/ 1107463 w 1609516"/>
              <a:gd name="csY1049" fmla="*/ 31805 h 1538630"/>
              <a:gd name="csX1050" fmla="*/ 1107658 w 1609516"/>
              <a:gd name="csY1050" fmla="*/ 25991 h 1538630"/>
              <a:gd name="csX1051" fmla="*/ 1110782 w 1609516"/>
              <a:gd name="csY1051" fmla="*/ 23173 h 1538630"/>
              <a:gd name="csX1052" fmla="*/ 1111759 w 1609516"/>
              <a:gd name="csY1052" fmla="*/ 20091 h 1538630"/>
              <a:gd name="csX1053" fmla="*/ 1134507 w 1609516"/>
              <a:gd name="csY1053" fmla="*/ 2828 h 1538630"/>
              <a:gd name="csX1054" fmla="*/ 1155019 w 1609516"/>
              <a:gd name="csY1054" fmla="*/ 35 h 153863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  <a:cxn ang="0">
                <a:pos x="csX170" y="csY170"/>
              </a:cxn>
              <a:cxn ang="0">
                <a:pos x="csX171" y="csY171"/>
              </a:cxn>
              <a:cxn ang="0">
                <a:pos x="csX172" y="csY172"/>
              </a:cxn>
              <a:cxn ang="0">
                <a:pos x="csX173" y="csY173"/>
              </a:cxn>
              <a:cxn ang="0">
                <a:pos x="csX174" y="csY174"/>
              </a:cxn>
              <a:cxn ang="0">
                <a:pos x="csX175" y="csY175"/>
              </a:cxn>
              <a:cxn ang="0">
                <a:pos x="csX176" y="csY176"/>
              </a:cxn>
              <a:cxn ang="0">
                <a:pos x="csX177" y="csY177"/>
              </a:cxn>
              <a:cxn ang="0">
                <a:pos x="csX178" y="csY178"/>
              </a:cxn>
              <a:cxn ang="0">
                <a:pos x="csX179" y="csY179"/>
              </a:cxn>
              <a:cxn ang="0">
                <a:pos x="csX180" y="csY180"/>
              </a:cxn>
              <a:cxn ang="0">
                <a:pos x="csX181" y="csY181"/>
              </a:cxn>
              <a:cxn ang="0">
                <a:pos x="csX182" y="csY182"/>
              </a:cxn>
              <a:cxn ang="0">
                <a:pos x="csX183" y="csY183"/>
              </a:cxn>
              <a:cxn ang="0">
                <a:pos x="csX184" y="csY184"/>
              </a:cxn>
              <a:cxn ang="0">
                <a:pos x="csX185" y="csY185"/>
              </a:cxn>
              <a:cxn ang="0">
                <a:pos x="csX186" y="csY186"/>
              </a:cxn>
              <a:cxn ang="0">
                <a:pos x="csX187" y="csY187"/>
              </a:cxn>
              <a:cxn ang="0">
                <a:pos x="csX188" y="csY188"/>
              </a:cxn>
              <a:cxn ang="0">
                <a:pos x="csX189" y="csY189"/>
              </a:cxn>
              <a:cxn ang="0">
                <a:pos x="csX190" y="csY190"/>
              </a:cxn>
              <a:cxn ang="0">
                <a:pos x="csX191" y="csY191"/>
              </a:cxn>
              <a:cxn ang="0">
                <a:pos x="csX192" y="csY192"/>
              </a:cxn>
              <a:cxn ang="0">
                <a:pos x="csX193" y="csY193"/>
              </a:cxn>
              <a:cxn ang="0">
                <a:pos x="csX194" y="csY194"/>
              </a:cxn>
              <a:cxn ang="0">
                <a:pos x="csX195" y="csY195"/>
              </a:cxn>
              <a:cxn ang="0">
                <a:pos x="csX196" y="csY196"/>
              </a:cxn>
              <a:cxn ang="0">
                <a:pos x="csX197" y="csY197"/>
              </a:cxn>
              <a:cxn ang="0">
                <a:pos x="csX198" y="csY198"/>
              </a:cxn>
              <a:cxn ang="0">
                <a:pos x="csX199" y="csY199"/>
              </a:cxn>
              <a:cxn ang="0">
                <a:pos x="csX200" y="csY200"/>
              </a:cxn>
              <a:cxn ang="0">
                <a:pos x="csX201" y="csY201"/>
              </a:cxn>
              <a:cxn ang="0">
                <a:pos x="csX202" y="csY202"/>
              </a:cxn>
              <a:cxn ang="0">
                <a:pos x="csX203" y="csY203"/>
              </a:cxn>
              <a:cxn ang="0">
                <a:pos x="csX204" y="csY204"/>
              </a:cxn>
              <a:cxn ang="0">
                <a:pos x="csX205" y="csY205"/>
              </a:cxn>
              <a:cxn ang="0">
                <a:pos x="csX206" y="csY206"/>
              </a:cxn>
              <a:cxn ang="0">
                <a:pos x="csX207" y="csY207"/>
              </a:cxn>
              <a:cxn ang="0">
                <a:pos x="csX208" y="csY208"/>
              </a:cxn>
              <a:cxn ang="0">
                <a:pos x="csX209" y="csY209"/>
              </a:cxn>
              <a:cxn ang="0">
                <a:pos x="csX210" y="csY210"/>
              </a:cxn>
              <a:cxn ang="0">
                <a:pos x="csX211" y="csY211"/>
              </a:cxn>
              <a:cxn ang="0">
                <a:pos x="csX212" y="csY212"/>
              </a:cxn>
              <a:cxn ang="0">
                <a:pos x="csX213" y="csY213"/>
              </a:cxn>
              <a:cxn ang="0">
                <a:pos x="csX214" y="csY214"/>
              </a:cxn>
              <a:cxn ang="0">
                <a:pos x="csX215" y="csY215"/>
              </a:cxn>
              <a:cxn ang="0">
                <a:pos x="csX216" y="csY216"/>
              </a:cxn>
              <a:cxn ang="0">
                <a:pos x="csX217" y="csY217"/>
              </a:cxn>
              <a:cxn ang="0">
                <a:pos x="csX218" y="csY218"/>
              </a:cxn>
              <a:cxn ang="0">
                <a:pos x="csX219" y="csY219"/>
              </a:cxn>
              <a:cxn ang="0">
                <a:pos x="csX220" y="csY220"/>
              </a:cxn>
              <a:cxn ang="0">
                <a:pos x="csX221" y="csY221"/>
              </a:cxn>
              <a:cxn ang="0">
                <a:pos x="csX222" y="csY222"/>
              </a:cxn>
              <a:cxn ang="0">
                <a:pos x="csX223" y="csY223"/>
              </a:cxn>
              <a:cxn ang="0">
                <a:pos x="csX224" y="csY224"/>
              </a:cxn>
              <a:cxn ang="0">
                <a:pos x="csX225" y="csY225"/>
              </a:cxn>
              <a:cxn ang="0">
                <a:pos x="csX226" y="csY226"/>
              </a:cxn>
              <a:cxn ang="0">
                <a:pos x="csX227" y="csY227"/>
              </a:cxn>
              <a:cxn ang="0">
                <a:pos x="csX228" y="csY228"/>
              </a:cxn>
              <a:cxn ang="0">
                <a:pos x="csX229" y="csY229"/>
              </a:cxn>
              <a:cxn ang="0">
                <a:pos x="csX230" y="csY230"/>
              </a:cxn>
              <a:cxn ang="0">
                <a:pos x="csX231" y="csY231"/>
              </a:cxn>
              <a:cxn ang="0">
                <a:pos x="csX232" y="csY232"/>
              </a:cxn>
              <a:cxn ang="0">
                <a:pos x="csX233" y="csY233"/>
              </a:cxn>
              <a:cxn ang="0">
                <a:pos x="csX234" y="csY234"/>
              </a:cxn>
              <a:cxn ang="0">
                <a:pos x="csX235" y="csY235"/>
              </a:cxn>
              <a:cxn ang="0">
                <a:pos x="csX236" y="csY236"/>
              </a:cxn>
              <a:cxn ang="0">
                <a:pos x="csX237" y="csY237"/>
              </a:cxn>
              <a:cxn ang="0">
                <a:pos x="csX238" y="csY238"/>
              </a:cxn>
              <a:cxn ang="0">
                <a:pos x="csX239" y="csY239"/>
              </a:cxn>
              <a:cxn ang="0">
                <a:pos x="csX240" y="csY240"/>
              </a:cxn>
              <a:cxn ang="0">
                <a:pos x="csX241" y="csY241"/>
              </a:cxn>
              <a:cxn ang="0">
                <a:pos x="csX242" y="csY242"/>
              </a:cxn>
              <a:cxn ang="0">
                <a:pos x="csX243" y="csY243"/>
              </a:cxn>
              <a:cxn ang="0">
                <a:pos x="csX244" y="csY244"/>
              </a:cxn>
              <a:cxn ang="0">
                <a:pos x="csX245" y="csY245"/>
              </a:cxn>
              <a:cxn ang="0">
                <a:pos x="csX246" y="csY246"/>
              </a:cxn>
              <a:cxn ang="0">
                <a:pos x="csX247" y="csY247"/>
              </a:cxn>
              <a:cxn ang="0">
                <a:pos x="csX248" y="csY248"/>
              </a:cxn>
              <a:cxn ang="0">
                <a:pos x="csX249" y="csY249"/>
              </a:cxn>
              <a:cxn ang="0">
                <a:pos x="csX250" y="csY250"/>
              </a:cxn>
              <a:cxn ang="0">
                <a:pos x="csX251" y="csY251"/>
              </a:cxn>
              <a:cxn ang="0">
                <a:pos x="csX252" y="csY252"/>
              </a:cxn>
              <a:cxn ang="0">
                <a:pos x="csX253" y="csY253"/>
              </a:cxn>
              <a:cxn ang="0">
                <a:pos x="csX254" y="csY254"/>
              </a:cxn>
              <a:cxn ang="0">
                <a:pos x="csX255" y="csY255"/>
              </a:cxn>
              <a:cxn ang="0">
                <a:pos x="csX256" y="csY256"/>
              </a:cxn>
              <a:cxn ang="0">
                <a:pos x="csX257" y="csY257"/>
              </a:cxn>
              <a:cxn ang="0">
                <a:pos x="csX258" y="csY258"/>
              </a:cxn>
              <a:cxn ang="0">
                <a:pos x="csX259" y="csY259"/>
              </a:cxn>
              <a:cxn ang="0">
                <a:pos x="csX260" y="csY260"/>
              </a:cxn>
              <a:cxn ang="0">
                <a:pos x="csX261" y="csY261"/>
              </a:cxn>
              <a:cxn ang="0">
                <a:pos x="csX262" y="csY262"/>
              </a:cxn>
              <a:cxn ang="0">
                <a:pos x="csX263" y="csY263"/>
              </a:cxn>
              <a:cxn ang="0">
                <a:pos x="csX264" y="csY264"/>
              </a:cxn>
              <a:cxn ang="0">
                <a:pos x="csX265" y="csY265"/>
              </a:cxn>
              <a:cxn ang="0">
                <a:pos x="csX266" y="csY266"/>
              </a:cxn>
              <a:cxn ang="0">
                <a:pos x="csX267" y="csY267"/>
              </a:cxn>
              <a:cxn ang="0">
                <a:pos x="csX268" y="csY268"/>
              </a:cxn>
              <a:cxn ang="0">
                <a:pos x="csX269" y="csY269"/>
              </a:cxn>
              <a:cxn ang="0">
                <a:pos x="csX270" y="csY270"/>
              </a:cxn>
              <a:cxn ang="0">
                <a:pos x="csX271" y="csY271"/>
              </a:cxn>
              <a:cxn ang="0">
                <a:pos x="csX272" y="csY272"/>
              </a:cxn>
              <a:cxn ang="0">
                <a:pos x="csX273" y="csY273"/>
              </a:cxn>
              <a:cxn ang="0">
                <a:pos x="csX274" y="csY274"/>
              </a:cxn>
              <a:cxn ang="0">
                <a:pos x="csX275" y="csY275"/>
              </a:cxn>
              <a:cxn ang="0">
                <a:pos x="csX276" y="csY276"/>
              </a:cxn>
              <a:cxn ang="0">
                <a:pos x="csX277" y="csY277"/>
              </a:cxn>
              <a:cxn ang="0">
                <a:pos x="csX278" y="csY278"/>
              </a:cxn>
              <a:cxn ang="0">
                <a:pos x="csX279" y="csY279"/>
              </a:cxn>
              <a:cxn ang="0">
                <a:pos x="csX280" y="csY280"/>
              </a:cxn>
              <a:cxn ang="0">
                <a:pos x="csX281" y="csY281"/>
              </a:cxn>
              <a:cxn ang="0">
                <a:pos x="csX282" y="csY282"/>
              </a:cxn>
              <a:cxn ang="0">
                <a:pos x="csX283" y="csY283"/>
              </a:cxn>
              <a:cxn ang="0">
                <a:pos x="csX284" y="csY284"/>
              </a:cxn>
              <a:cxn ang="0">
                <a:pos x="csX285" y="csY285"/>
              </a:cxn>
              <a:cxn ang="0">
                <a:pos x="csX286" y="csY286"/>
              </a:cxn>
              <a:cxn ang="0">
                <a:pos x="csX287" y="csY287"/>
              </a:cxn>
              <a:cxn ang="0">
                <a:pos x="csX288" y="csY288"/>
              </a:cxn>
              <a:cxn ang="0">
                <a:pos x="csX289" y="csY289"/>
              </a:cxn>
              <a:cxn ang="0">
                <a:pos x="csX290" y="csY290"/>
              </a:cxn>
              <a:cxn ang="0">
                <a:pos x="csX291" y="csY291"/>
              </a:cxn>
              <a:cxn ang="0">
                <a:pos x="csX292" y="csY292"/>
              </a:cxn>
              <a:cxn ang="0">
                <a:pos x="csX293" y="csY293"/>
              </a:cxn>
              <a:cxn ang="0">
                <a:pos x="csX294" y="csY294"/>
              </a:cxn>
              <a:cxn ang="0">
                <a:pos x="csX295" y="csY295"/>
              </a:cxn>
              <a:cxn ang="0">
                <a:pos x="csX296" y="csY296"/>
              </a:cxn>
              <a:cxn ang="0">
                <a:pos x="csX297" y="csY297"/>
              </a:cxn>
              <a:cxn ang="0">
                <a:pos x="csX298" y="csY298"/>
              </a:cxn>
              <a:cxn ang="0">
                <a:pos x="csX299" y="csY299"/>
              </a:cxn>
              <a:cxn ang="0">
                <a:pos x="csX300" y="csY300"/>
              </a:cxn>
              <a:cxn ang="0">
                <a:pos x="csX301" y="csY301"/>
              </a:cxn>
              <a:cxn ang="0">
                <a:pos x="csX302" y="csY302"/>
              </a:cxn>
              <a:cxn ang="0">
                <a:pos x="csX303" y="csY303"/>
              </a:cxn>
              <a:cxn ang="0">
                <a:pos x="csX304" y="csY304"/>
              </a:cxn>
              <a:cxn ang="0">
                <a:pos x="csX305" y="csY305"/>
              </a:cxn>
              <a:cxn ang="0">
                <a:pos x="csX306" y="csY306"/>
              </a:cxn>
              <a:cxn ang="0">
                <a:pos x="csX307" y="csY307"/>
              </a:cxn>
              <a:cxn ang="0">
                <a:pos x="csX308" y="csY308"/>
              </a:cxn>
              <a:cxn ang="0">
                <a:pos x="csX309" y="csY309"/>
              </a:cxn>
              <a:cxn ang="0">
                <a:pos x="csX310" y="csY310"/>
              </a:cxn>
              <a:cxn ang="0">
                <a:pos x="csX311" y="csY311"/>
              </a:cxn>
              <a:cxn ang="0">
                <a:pos x="csX312" y="csY312"/>
              </a:cxn>
              <a:cxn ang="0">
                <a:pos x="csX313" y="csY313"/>
              </a:cxn>
              <a:cxn ang="0">
                <a:pos x="csX314" y="csY314"/>
              </a:cxn>
              <a:cxn ang="0">
                <a:pos x="csX315" y="csY315"/>
              </a:cxn>
              <a:cxn ang="0">
                <a:pos x="csX316" y="csY316"/>
              </a:cxn>
              <a:cxn ang="0">
                <a:pos x="csX317" y="csY317"/>
              </a:cxn>
              <a:cxn ang="0">
                <a:pos x="csX318" y="csY318"/>
              </a:cxn>
              <a:cxn ang="0">
                <a:pos x="csX319" y="csY319"/>
              </a:cxn>
              <a:cxn ang="0">
                <a:pos x="csX320" y="csY320"/>
              </a:cxn>
              <a:cxn ang="0">
                <a:pos x="csX321" y="csY321"/>
              </a:cxn>
              <a:cxn ang="0">
                <a:pos x="csX322" y="csY322"/>
              </a:cxn>
              <a:cxn ang="0">
                <a:pos x="csX323" y="csY323"/>
              </a:cxn>
              <a:cxn ang="0">
                <a:pos x="csX324" y="csY324"/>
              </a:cxn>
              <a:cxn ang="0">
                <a:pos x="csX325" y="csY325"/>
              </a:cxn>
              <a:cxn ang="0">
                <a:pos x="csX326" y="csY326"/>
              </a:cxn>
              <a:cxn ang="0">
                <a:pos x="csX327" y="csY327"/>
              </a:cxn>
              <a:cxn ang="0">
                <a:pos x="csX328" y="csY328"/>
              </a:cxn>
              <a:cxn ang="0">
                <a:pos x="csX329" y="csY329"/>
              </a:cxn>
              <a:cxn ang="0">
                <a:pos x="csX330" y="csY330"/>
              </a:cxn>
              <a:cxn ang="0">
                <a:pos x="csX331" y="csY331"/>
              </a:cxn>
              <a:cxn ang="0">
                <a:pos x="csX332" y="csY332"/>
              </a:cxn>
              <a:cxn ang="0">
                <a:pos x="csX333" y="csY333"/>
              </a:cxn>
              <a:cxn ang="0">
                <a:pos x="csX334" y="csY334"/>
              </a:cxn>
              <a:cxn ang="0">
                <a:pos x="csX335" y="csY335"/>
              </a:cxn>
              <a:cxn ang="0">
                <a:pos x="csX336" y="csY336"/>
              </a:cxn>
              <a:cxn ang="0">
                <a:pos x="csX337" y="csY337"/>
              </a:cxn>
              <a:cxn ang="0">
                <a:pos x="csX338" y="csY338"/>
              </a:cxn>
              <a:cxn ang="0">
                <a:pos x="csX339" y="csY339"/>
              </a:cxn>
              <a:cxn ang="0">
                <a:pos x="csX340" y="csY340"/>
              </a:cxn>
              <a:cxn ang="0">
                <a:pos x="csX341" y="csY341"/>
              </a:cxn>
              <a:cxn ang="0">
                <a:pos x="csX342" y="csY342"/>
              </a:cxn>
              <a:cxn ang="0">
                <a:pos x="csX343" y="csY343"/>
              </a:cxn>
              <a:cxn ang="0">
                <a:pos x="csX344" y="csY344"/>
              </a:cxn>
              <a:cxn ang="0">
                <a:pos x="csX345" y="csY345"/>
              </a:cxn>
              <a:cxn ang="0">
                <a:pos x="csX346" y="csY346"/>
              </a:cxn>
              <a:cxn ang="0">
                <a:pos x="csX347" y="csY347"/>
              </a:cxn>
              <a:cxn ang="0">
                <a:pos x="csX348" y="csY348"/>
              </a:cxn>
              <a:cxn ang="0">
                <a:pos x="csX349" y="csY349"/>
              </a:cxn>
              <a:cxn ang="0">
                <a:pos x="csX350" y="csY350"/>
              </a:cxn>
              <a:cxn ang="0">
                <a:pos x="csX351" y="csY351"/>
              </a:cxn>
              <a:cxn ang="0">
                <a:pos x="csX352" y="csY352"/>
              </a:cxn>
              <a:cxn ang="0">
                <a:pos x="csX353" y="csY353"/>
              </a:cxn>
              <a:cxn ang="0">
                <a:pos x="csX354" y="csY354"/>
              </a:cxn>
              <a:cxn ang="0">
                <a:pos x="csX355" y="csY355"/>
              </a:cxn>
              <a:cxn ang="0">
                <a:pos x="csX356" y="csY356"/>
              </a:cxn>
              <a:cxn ang="0">
                <a:pos x="csX357" y="csY357"/>
              </a:cxn>
              <a:cxn ang="0">
                <a:pos x="csX358" y="csY358"/>
              </a:cxn>
              <a:cxn ang="0">
                <a:pos x="csX359" y="csY359"/>
              </a:cxn>
              <a:cxn ang="0">
                <a:pos x="csX360" y="csY360"/>
              </a:cxn>
              <a:cxn ang="0">
                <a:pos x="csX361" y="csY361"/>
              </a:cxn>
              <a:cxn ang="0">
                <a:pos x="csX362" y="csY362"/>
              </a:cxn>
              <a:cxn ang="0">
                <a:pos x="csX363" y="csY363"/>
              </a:cxn>
              <a:cxn ang="0">
                <a:pos x="csX364" y="csY364"/>
              </a:cxn>
              <a:cxn ang="0">
                <a:pos x="csX365" y="csY365"/>
              </a:cxn>
              <a:cxn ang="0">
                <a:pos x="csX366" y="csY366"/>
              </a:cxn>
              <a:cxn ang="0">
                <a:pos x="csX367" y="csY367"/>
              </a:cxn>
              <a:cxn ang="0">
                <a:pos x="csX368" y="csY368"/>
              </a:cxn>
              <a:cxn ang="0">
                <a:pos x="csX369" y="csY369"/>
              </a:cxn>
              <a:cxn ang="0">
                <a:pos x="csX370" y="csY370"/>
              </a:cxn>
              <a:cxn ang="0">
                <a:pos x="csX371" y="csY371"/>
              </a:cxn>
              <a:cxn ang="0">
                <a:pos x="csX372" y="csY372"/>
              </a:cxn>
              <a:cxn ang="0">
                <a:pos x="csX373" y="csY373"/>
              </a:cxn>
              <a:cxn ang="0">
                <a:pos x="csX374" y="csY374"/>
              </a:cxn>
              <a:cxn ang="0">
                <a:pos x="csX375" y="csY375"/>
              </a:cxn>
              <a:cxn ang="0">
                <a:pos x="csX376" y="csY376"/>
              </a:cxn>
              <a:cxn ang="0">
                <a:pos x="csX377" y="csY377"/>
              </a:cxn>
              <a:cxn ang="0">
                <a:pos x="csX378" y="csY378"/>
              </a:cxn>
              <a:cxn ang="0">
                <a:pos x="csX379" y="csY379"/>
              </a:cxn>
              <a:cxn ang="0">
                <a:pos x="csX380" y="csY380"/>
              </a:cxn>
              <a:cxn ang="0">
                <a:pos x="csX381" y="csY381"/>
              </a:cxn>
              <a:cxn ang="0">
                <a:pos x="csX382" y="csY382"/>
              </a:cxn>
              <a:cxn ang="0">
                <a:pos x="csX383" y="csY383"/>
              </a:cxn>
              <a:cxn ang="0">
                <a:pos x="csX384" y="csY384"/>
              </a:cxn>
              <a:cxn ang="0">
                <a:pos x="csX385" y="csY385"/>
              </a:cxn>
              <a:cxn ang="0">
                <a:pos x="csX386" y="csY386"/>
              </a:cxn>
              <a:cxn ang="0">
                <a:pos x="csX387" y="csY387"/>
              </a:cxn>
              <a:cxn ang="0">
                <a:pos x="csX388" y="csY388"/>
              </a:cxn>
              <a:cxn ang="0">
                <a:pos x="csX389" y="csY389"/>
              </a:cxn>
              <a:cxn ang="0">
                <a:pos x="csX390" y="csY390"/>
              </a:cxn>
              <a:cxn ang="0">
                <a:pos x="csX391" y="csY391"/>
              </a:cxn>
              <a:cxn ang="0">
                <a:pos x="csX392" y="csY392"/>
              </a:cxn>
              <a:cxn ang="0">
                <a:pos x="csX393" y="csY393"/>
              </a:cxn>
              <a:cxn ang="0">
                <a:pos x="csX394" y="csY394"/>
              </a:cxn>
              <a:cxn ang="0">
                <a:pos x="csX395" y="csY395"/>
              </a:cxn>
              <a:cxn ang="0">
                <a:pos x="csX396" y="csY396"/>
              </a:cxn>
              <a:cxn ang="0">
                <a:pos x="csX397" y="csY397"/>
              </a:cxn>
              <a:cxn ang="0">
                <a:pos x="csX398" y="csY398"/>
              </a:cxn>
              <a:cxn ang="0">
                <a:pos x="csX399" y="csY399"/>
              </a:cxn>
              <a:cxn ang="0">
                <a:pos x="csX400" y="csY400"/>
              </a:cxn>
              <a:cxn ang="0">
                <a:pos x="csX401" y="csY401"/>
              </a:cxn>
              <a:cxn ang="0">
                <a:pos x="csX402" y="csY402"/>
              </a:cxn>
              <a:cxn ang="0">
                <a:pos x="csX403" y="csY403"/>
              </a:cxn>
              <a:cxn ang="0">
                <a:pos x="csX404" y="csY404"/>
              </a:cxn>
              <a:cxn ang="0">
                <a:pos x="csX405" y="csY405"/>
              </a:cxn>
              <a:cxn ang="0">
                <a:pos x="csX406" y="csY406"/>
              </a:cxn>
              <a:cxn ang="0">
                <a:pos x="csX407" y="csY407"/>
              </a:cxn>
              <a:cxn ang="0">
                <a:pos x="csX408" y="csY408"/>
              </a:cxn>
              <a:cxn ang="0">
                <a:pos x="csX409" y="csY409"/>
              </a:cxn>
              <a:cxn ang="0">
                <a:pos x="csX410" y="csY410"/>
              </a:cxn>
              <a:cxn ang="0">
                <a:pos x="csX411" y="csY411"/>
              </a:cxn>
              <a:cxn ang="0">
                <a:pos x="csX412" y="csY412"/>
              </a:cxn>
              <a:cxn ang="0">
                <a:pos x="csX413" y="csY413"/>
              </a:cxn>
              <a:cxn ang="0">
                <a:pos x="csX414" y="csY414"/>
              </a:cxn>
              <a:cxn ang="0">
                <a:pos x="csX415" y="csY415"/>
              </a:cxn>
              <a:cxn ang="0">
                <a:pos x="csX416" y="csY416"/>
              </a:cxn>
              <a:cxn ang="0">
                <a:pos x="csX417" y="csY417"/>
              </a:cxn>
              <a:cxn ang="0">
                <a:pos x="csX418" y="csY418"/>
              </a:cxn>
              <a:cxn ang="0">
                <a:pos x="csX419" y="csY419"/>
              </a:cxn>
              <a:cxn ang="0">
                <a:pos x="csX420" y="csY420"/>
              </a:cxn>
              <a:cxn ang="0">
                <a:pos x="csX421" y="csY421"/>
              </a:cxn>
              <a:cxn ang="0">
                <a:pos x="csX422" y="csY422"/>
              </a:cxn>
              <a:cxn ang="0">
                <a:pos x="csX423" y="csY423"/>
              </a:cxn>
              <a:cxn ang="0">
                <a:pos x="csX424" y="csY424"/>
              </a:cxn>
              <a:cxn ang="0">
                <a:pos x="csX425" y="csY425"/>
              </a:cxn>
              <a:cxn ang="0">
                <a:pos x="csX426" y="csY426"/>
              </a:cxn>
              <a:cxn ang="0">
                <a:pos x="csX427" y="csY427"/>
              </a:cxn>
              <a:cxn ang="0">
                <a:pos x="csX428" y="csY428"/>
              </a:cxn>
              <a:cxn ang="0">
                <a:pos x="csX429" y="csY429"/>
              </a:cxn>
              <a:cxn ang="0">
                <a:pos x="csX430" y="csY430"/>
              </a:cxn>
              <a:cxn ang="0">
                <a:pos x="csX431" y="csY431"/>
              </a:cxn>
              <a:cxn ang="0">
                <a:pos x="csX432" y="csY432"/>
              </a:cxn>
              <a:cxn ang="0">
                <a:pos x="csX433" y="csY433"/>
              </a:cxn>
              <a:cxn ang="0">
                <a:pos x="csX434" y="csY434"/>
              </a:cxn>
              <a:cxn ang="0">
                <a:pos x="csX435" y="csY435"/>
              </a:cxn>
              <a:cxn ang="0">
                <a:pos x="csX436" y="csY436"/>
              </a:cxn>
              <a:cxn ang="0">
                <a:pos x="csX437" y="csY437"/>
              </a:cxn>
              <a:cxn ang="0">
                <a:pos x="csX438" y="csY438"/>
              </a:cxn>
              <a:cxn ang="0">
                <a:pos x="csX439" y="csY439"/>
              </a:cxn>
              <a:cxn ang="0">
                <a:pos x="csX440" y="csY440"/>
              </a:cxn>
              <a:cxn ang="0">
                <a:pos x="csX441" y="csY441"/>
              </a:cxn>
              <a:cxn ang="0">
                <a:pos x="csX442" y="csY442"/>
              </a:cxn>
              <a:cxn ang="0">
                <a:pos x="csX443" y="csY443"/>
              </a:cxn>
              <a:cxn ang="0">
                <a:pos x="csX444" y="csY444"/>
              </a:cxn>
              <a:cxn ang="0">
                <a:pos x="csX445" y="csY445"/>
              </a:cxn>
              <a:cxn ang="0">
                <a:pos x="csX446" y="csY446"/>
              </a:cxn>
              <a:cxn ang="0">
                <a:pos x="csX447" y="csY447"/>
              </a:cxn>
              <a:cxn ang="0">
                <a:pos x="csX448" y="csY448"/>
              </a:cxn>
              <a:cxn ang="0">
                <a:pos x="csX449" y="csY449"/>
              </a:cxn>
              <a:cxn ang="0">
                <a:pos x="csX450" y="csY450"/>
              </a:cxn>
              <a:cxn ang="0">
                <a:pos x="csX451" y="csY451"/>
              </a:cxn>
              <a:cxn ang="0">
                <a:pos x="csX452" y="csY452"/>
              </a:cxn>
              <a:cxn ang="0">
                <a:pos x="csX453" y="csY453"/>
              </a:cxn>
              <a:cxn ang="0">
                <a:pos x="csX454" y="csY454"/>
              </a:cxn>
              <a:cxn ang="0">
                <a:pos x="csX455" y="csY455"/>
              </a:cxn>
              <a:cxn ang="0">
                <a:pos x="csX456" y="csY456"/>
              </a:cxn>
              <a:cxn ang="0">
                <a:pos x="csX457" y="csY457"/>
              </a:cxn>
              <a:cxn ang="0">
                <a:pos x="csX458" y="csY458"/>
              </a:cxn>
              <a:cxn ang="0">
                <a:pos x="csX459" y="csY459"/>
              </a:cxn>
              <a:cxn ang="0">
                <a:pos x="csX460" y="csY460"/>
              </a:cxn>
              <a:cxn ang="0">
                <a:pos x="csX461" y="csY461"/>
              </a:cxn>
              <a:cxn ang="0">
                <a:pos x="csX462" y="csY462"/>
              </a:cxn>
              <a:cxn ang="0">
                <a:pos x="csX463" y="csY463"/>
              </a:cxn>
              <a:cxn ang="0">
                <a:pos x="csX464" y="csY464"/>
              </a:cxn>
              <a:cxn ang="0">
                <a:pos x="csX465" y="csY465"/>
              </a:cxn>
              <a:cxn ang="0">
                <a:pos x="csX466" y="csY466"/>
              </a:cxn>
              <a:cxn ang="0">
                <a:pos x="csX467" y="csY467"/>
              </a:cxn>
              <a:cxn ang="0">
                <a:pos x="csX468" y="csY468"/>
              </a:cxn>
              <a:cxn ang="0">
                <a:pos x="csX469" y="csY469"/>
              </a:cxn>
              <a:cxn ang="0">
                <a:pos x="csX470" y="csY470"/>
              </a:cxn>
              <a:cxn ang="0">
                <a:pos x="csX471" y="csY471"/>
              </a:cxn>
              <a:cxn ang="0">
                <a:pos x="csX472" y="csY472"/>
              </a:cxn>
              <a:cxn ang="0">
                <a:pos x="csX473" y="csY473"/>
              </a:cxn>
              <a:cxn ang="0">
                <a:pos x="csX474" y="csY474"/>
              </a:cxn>
              <a:cxn ang="0">
                <a:pos x="csX475" y="csY475"/>
              </a:cxn>
              <a:cxn ang="0">
                <a:pos x="csX476" y="csY476"/>
              </a:cxn>
              <a:cxn ang="0">
                <a:pos x="csX477" y="csY477"/>
              </a:cxn>
              <a:cxn ang="0">
                <a:pos x="csX478" y="csY478"/>
              </a:cxn>
              <a:cxn ang="0">
                <a:pos x="csX479" y="csY479"/>
              </a:cxn>
              <a:cxn ang="0">
                <a:pos x="csX480" y="csY480"/>
              </a:cxn>
              <a:cxn ang="0">
                <a:pos x="csX481" y="csY481"/>
              </a:cxn>
              <a:cxn ang="0">
                <a:pos x="csX482" y="csY482"/>
              </a:cxn>
              <a:cxn ang="0">
                <a:pos x="csX483" y="csY483"/>
              </a:cxn>
              <a:cxn ang="0">
                <a:pos x="csX484" y="csY484"/>
              </a:cxn>
              <a:cxn ang="0">
                <a:pos x="csX485" y="csY485"/>
              </a:cxn>
              <a:cxn ang="0">
                <a:pos x="csX486" y="csY486"/>
              </a:cxn>
              <a:cxn ang="0">
                <a:pos x="csX487" y="csY487"/>
              </a:cxn>
              <a:cxn ang="0">
                <a:pos x="csX488" y="csY488"/>
              </a:cxn>
              <a:cxn ang="0">
                <a:pos x="csX489" y="csY489"/>
              </a:cxn>
              <a:cxn ang="0">
                <a:pos x="csX490" y="csY490"/>
              </a:cxn>
              <a:cxn ang="0">
                <a:pos x="csX491" y="csY491"/>
              </a:cxn>
              <a:cxn ang="0">
                <a:pos x="csX492" y="csY492"/>
              </a:cxn>
              <a:cxn ang="0">
                <a:pos x="csX493" y="csY493"/>
              </a:cxn>
              <a:cxn ang="0">
                <a:pos x="csX494" y="csY494"/>
              </a:cxn>
              <a:cxn ang="0">
                <a:pos x="csX495" y="csY495"/>
              </a:cxn>
              <a:cxn ang="0">
                <a:pos x="csX496" y="csY496"/>
              </a:cxn>
              <a:cxn ang="0">
                <a:pos x="csX497" y="csY497"/>
              </a:cxn>
              <a:cxn ang="0">
                <a:pos x="csX498" y="csY498"/>
              </a:cxn>
              <a:cxn ang="0">
                <a:pos x="csX499" y="csY499"/>
              </a:cxn>
              <a:cxn ang="0">
                <a:pos x="csX500" y="csY500"/>
              </a:cxn>
              <a:cxn ang="0">
                <a:pos x="csX501" y="csY501"/>
              </a:cxn>
              <a:cxn ang="0">
                <a:pos x="csX502" y="csY502"/>
              </a:cxn>
              <a:cxn ang="0">
                <a:pos x="csX503" y="csY503"/>
              </a:cxn>
              <a:cxn ang="0">
                <a:pos x="csX504" y="csY504"/>
              </a:cxn>
              <a:cxn ang="0">
                <a:pos x="csX505" y="csY505"/>
              </a:cxn>
              <a:cxn ang="0">
                <a:pos x="csX506" y="csY506"/>
              </a:cxn>
              <a:cxn ang="0">
                <a:pos x="csX507" y="csY507"/>
              </a:cxn>
              <a:cxn ang="0">
                <a:pos x="csX508" y="csY508"/>
              </a:cxn>
              <a:cxn ang="0">
                <a:pos x="csX509" y="csY509"/>
              </a:cxn>
              <a:cxn ang="0">
                <a:pos x="csX510" y="csY510"/>
              </a:cxn>
              <a:cxn ang="0">
                <a:pos x="csX511" y="csY511"/>
              </a:cxn>
              <a:cxn ang="0">
                <a:pos x="csX512" y="csY512"/>
              </a:cxn>
              <a:cxn ang="0">
                <a:pos x="csX513" y="csY513"/>
              </a:cxn>
              <a:cxn ang="0">
                <a:pos x="csX514" y="csY514"/>
              </a:cxn>
              <a:cxn ang="0">
                <a:pos x="csX515" y="csY515"/>
              </a:cxn>
              <a:cxn ang="0">
                <a:pos x="csX516" y="csY516"/>
              </a:cxn>
              <a:cxn ang="0">
                <a:pos x="csX517" y="csY517"/>
              </a:cxn>
              <a:cxn ang="0">
                <a:pos x="csX518" y="csY518"/>
              </a:cxn>
              <a:cxn ang="0">
                <a:pos x="csX519" y="csY519"/>
              </a:cxn>
              <a:cxn ang="0">
                <a:pos x="csX520" y="csY520"/>
              </a:cxn>
              <a:cxn ang="0">
                <a:pos x="csX521" y="csY521"/>
              </a:cxn>
              <a:cxn ang="0">
                <a:pos x="csX522" y="csY522"/>
              </a:cxn>
              <a:cxn ang="0">
                <a:pos x="csX523" y="csY523"/>
              </a:cxn>
              <a:cxn ang="0">
                <a:pos x="csX524" y="csY524"/>
              </a:cxn>
              <a:cxn ang="0">
                <a:pos x="csX525" y="csY525"/>
              </a:cxn>
              <a:cxn ang="0">
                <a:pos x="csX526" y="csY526"/>
              </a:cxn>
              <a:cxn ang="0">
                <a:pos x="csX527" y="csY527"/>
              </a:cxn>
              <a:cxn ang="0">
                <a:pos x="csX528" y="csY528"/>
              </a:cxn>
              <a:cxn ang="0">
                <a:pos x="csX529" y="csY529"/>
              </a:cxn>
              <a:cxn ang="0">
                <a:pos x="csX530" y="csY530"/>
              </a:cxn>
              <a:cxn ang="0">
                <a:pos x="csX531" y="csY531"/>
              </a:cxn>
              <a:cxn ang="0">
                <a:pos x="csX532" y="csY532"/>
              </a:cxn>
              <a:cxn ang="0">
                <a:pos x="csX533" y="csY533"/>
              </a:cxn>
              <a:cxn ang="0">
                <a:pos x="csX534" y="csY534"/>
              </a:cxn>
              <a:cxn ang="0">
                <a:pos x="csX535" y="csY535"/>
              </a:cxn>
              <a:cxn ang="0">
                <a:pos x="csX536" y="csY536"/>
              </a:cxn>
              <a:cxn ang="0">
                <a:pos x="csX537" y="csY537"/>
              </a:cxn>
              <a:cxn ang="0">
                <a:pos x="csX538" y="csY538"/>
              </a:cxn>
              <a:cxn ang="0">
                <a:pos x="csX539" y="csY539"/>
              </a:cxn>
              <a:cxn ang="0">
                <a:pos x="csX540" y="csY540"/>
              </a:cxn>
              <a:cxn ang="0">
                <a:pos x="csX541" y="csY541"/>
              </a:cxn>
              <a:cxn ang="0">
                <a:pos x="csX542" y="csY542"/>
              </a:cxn>
              <a:cxn ang="0">
                <a:pos x="csX543" y="csY543"/>
              </a:cxn>
              <a:cxn ang="0">
                <a:pos x="csX544" y="csY544"/>
              </a:cxn>
              <a:cxn ang="0">
                <a:pos x="csX545" y="csY545"/>
              </a:cxn>
              <a:cxn ang="0">
                <a:pos x="csX546" y="csY546"/>
              </a:cxn>
              <a:cxn ang="0">
                <a:pos x="csX547" y="csY547"/>
              </a:cxn>
              <a:cxn ang="0">
                <a:pos x="csX548" y="csY548"/>
              </a:cxn>
              <a:cxn ang="0">
                <a:pos x="csX549" y="csY549"/>
              </a:cxn>
              <a:cxn ang="0">
                <a:pos x="csX550" y="csY550"/>
              </a:cxn>
              <a:cxn ang="0">
                <a:pos x="csX551" y="csY551"/>
              </a:cxn>
              <a:cxn ang="0">
                <a:pos x="csX552" y="csY552"/>
              </a:cxn>
              <a:cxn ang="0">
                <a:pos x="csX553" y="csY553"/>
              </a:cxn>
              <a:cxn ang="0">
                <a:pos x="csX554" y="csY554"/>
              </a:cxn>
              <a:cxn ang="0">
                <a:pos x="csX555" y="csY555"/>
              </a:cxn>
              <a:cxn ang="0">
                <a:pos x="csX556" y="csY556"/>
              </a:cxn>
              <a:cxn ang="0">
                <a:pos x="csX557" y="csY557"/>
              </a:cxn>
              <a:cxn ang="0">
                <a:pos x="csX558" y="csY558"/>
              </a:cxn>
              <a:cxn ang="0">
                <a:pos x="csX559" y="csY559"/>
              </a:cxn>
              <a:cxn ang="0">
                <a:pos x="csX560" y="csY560"/>
              </a:cxn>
              <a:cxn ang="0">
                <a:pos x="csX561" y="csY561"/>
              </a:cxn>
              <a:cxn ang="0">
                <a:pos x="csX562" y="csY562"/>
              </a:cxn>
              <a:cxn ang="0">
                <a:pos x="csX563" y="csY563"/>
              </a:cxn>
              <a:cxn ang="0">
                <a:pos x="csX564" y="csY564"/>
              </a:cxn>
              <a:cxn ang="0">
                <a:pos x="csX565" y="csY565"/>
              </a:cxn>
              <a:cxn ang="0">
                <a:pos x="csX566" y="csY566"/>
              </a:cxn>
              <a:cxn ang="0">
                <a:pos x="csX567" y="csY567"/>
              </a:cxn>
              <a:cxn ang="0">
                <a:pos x="csX568" y="csY568"/>
              </a:cxn>
              <a:cxn ang="0">
                <a:pos x="csX569" y="csY569"/>
              </a:cxn>
              <a:cxn ang="0">
                <a:pos x="csX570" y="csY570"/>
              </a:cxn>
              <a:cxn ang="0">
                <a:pos x="csX571" y="csY571"/>
              </a:cxn>
              <a:cxn ang="0">
                <a:pos x="csX572" y="csY572"/>
              </a:cxn>
              <a:cxn ang="0">
                <a:pos x="csX573" y="csY573"/>
              </a:cxn>
              <a:cxn ang="0">
                <a:pos x="csX574" y="csY574"/>
              </a:cxn>
              <a:cxn ang="0">
                <a:pos x="csX575" y="csY575"/>
              </a:cxn>
              <a:cxn ang="0">
                <a:pos x="csX576" y="csY576"/>
              </a:cxn>
              <a:cxn ang="0">
                <a:pos x="csX577" y="csY577"/>
              </a:cxn>
              <a:cxn ang="0">
                <a:pos x="csX578" y="csY578"/>
              </a:cxn>
              <a:cxn ang="0">
                <a:pos x="csX579" y="csY579"/>
              </a:cxn>
              <a:cxn ang="0">
                <a:pos x="csX580" y="csY580"/>
              </a:cxn>
              <a:cxn ang="0">
                <a:pos x="csX581" y="csY581"/>
              </a:cxn>
              <a:cxn ang="0">
                <a:pos x="csX582" y="csY582"/>
              </a:cxn>
              <a:cxn ang="0">
                <a:pos x="csX583" y="csY583"/>
              </a:cxn>
              <a:cxn ang="0">
                <a:pos x="csX584" y="csY584"/>
              </a:cxn>
              <a:cxn ang="0">
                <a:pos x="csX585" y="csY585"/>
              </a:cxn>
              <a:cxn ang="0">
                <a:pos x="csX586" y="csY586"/>
              </a:cxn>
              <a:cxn ang="0">
                <a:pos x="csX587" y="csY587"/>
              </a:cxn>
              <a:cxn ang="0">
                <a:pos x="csX588" y="csY588"/>
              </a:cxn>
              <a:cxn ang="0">
                <a:pos x="csX589" y="csY589"/>
              </a:cxn>
              <a:cxn ang="0">
                <a:pos x="csX590" y="csY590"/>
              </a:cxn>
              <a:cxn ang="0">
                <a:pos x="csX591" y="csY591"/>
              </a:cxn>
              <a:cxn ang="0">
                <a:pos x="csX592" y="csY592"/>
              </a:cxn>
              <a:cxn ang="0">
                <a:pos x="csX593" y="csY593"/>
              </a:cxn>
              <a:cxn ang="0">
                <a:pos x="csX594" y="csY594"/>
              </a:cxn>
              <a:cxn ang="0">
                <a:pos x="csX595" y="csY595"/>
              </a:cxn>
              <a:cxn ang="0">
                <a:pos x="csX596" y="csY596"/>
              </a:cxn>
              <a:cxn ang="0">
                <a:pos x="csX597" y="csY597"/>
              </a:cxn>
              <a:cxn ang="0">
                <a:pos x="csX598" y="csY598"/>
              </a:cxn>
              <a:cxn ang="0">
                <a:pos x="csX599" y="csY599"/>
              </a:cxn>
              <a:cxn ang="0">
                <a:pos x="csX600" y="csY600"/>
              </a:cxn>
              <a:cxn ang="0">
                <a:pos x="csX601" y="csY601"/>
              </a:cxn>
              <a:cxn ang="0">
                <a:pos x="csX602" y="csY602"/>
              </a:cxn>
              <a:cxn ang="0">
                <a:pos x="csX603" y="csY603"/>
              </a:cxn>
              <a:cxn ang="0">
                <a:pos x="csX604" y="csY604"/>
              </a:cxn>
              <a:cxn ang="0">
                <a:pos x="csX605" y="csY605"/>
              </a:cxn>
              <a:cxn ang="0">
                <a:pos x="csX606" y="csY606"/>
              </a:cxn>
              <a:cxn ang="0">
                <a:pos x="csX607" y="csY607"/>
              </a:cxn>
              <a:cxn ang="0">
                <a:pos x="csX608" y="csY608"/>
              </a:cxn>
              <a:cxn ang="0">
                <a:pos x="csX609" y="csY609"/>
              </a:cxn>
              <a:cxn ang="0">
                <a:pos x="csX610" y="csY610"/>
              </a:cxn>
              <a:cxn ang="0">
                <a:pos x="csX611" y="csY611"/>
              </a:cxn>
              <a:cxn ang="0">
                <a:pos x="csX612" y="csY612"/>
              </a:cxn>
              <a:cxn ang="0">
                <a:pos x="csX613" y="csY613"/>
              </a:cxn>
              <a:cxn ang="0">
                <a:pos x="csX614" y="csY614"/>
              </a:cxn>
              <a:cxn ang="0">
                <a:pos x="csX615" y="csY615"/>
              </a:cxn>
              <a:cxn ang="0">
                <a:pos x="csX616" y="csY616"/>
              </a:cxn>
              <a:cxn ang="0">
                <a:pos x="csX617" y="csY617"/>
              </a:cxn>
              <a:cxn ang="0">
                <a:pos x="csX618" y="csY618"/>
              </a:cxn>
              <a:cxn ang="0">
                <a:pos x="csX619" y="csY619"/>
              </a:cxn>
              <a:cxn ang="0">
                <a:pos x="csX620" y="csY620"/>
              </a:cxn>
              <a:cxn ang="0">
                <a:pos x="csX621" y="csY621"/>
              </a:cxn>
              <a:cxn ang="0">
                <a:pos x="csX622" y="csY622"/>
              </a:cxn>
              <a:cxn ang="0">
                <a:pos x="csX623" y="csY623"/>
              </a:cxn>
              <a:cxn ang="0">
                <a:pos x="csX624" y="csY624"/>
              </a:cxn>
              <a:cxn ang="0">
                <a:pos x="csX625" y="csY625"/>
              </a:cxn>
              <a:cxn ang="0">
                <a:pos x="csX626" y="csY626"/>
              </a:cxn>
              <a:cxn ang="0">
                <a:pos x="csX627" y="csY627"/>
              </a:cxn>
              <a:cxn ang="0">
                <a:pos x="csX628" y="csY628"/>
              </a:cxn>
              <a:cxn ang="0">
                <a:pos x="csX629" y="csY629"/>
              </a:cxn>
              <a:cxn ang="0">
                <a:pos x="csX630" y="csY630"/>
              </a:cxn>
              <a:cxn ang="0">
                <a:pos x="csX631" y="csY631"/>
              </a:cxn>
              <a:cxn ang="0">
                <a:pos x="csX632" y="csY632"/>
              </a:cxn>
              <a:cxn ang="0">
                <a:pos x="csX633" y="csY633"/>
              </a:cxn>
              <a:cxn ang="0">
                <a:pos x="csX634" y="csY634"/>
              </a:cxn>
              <a:cxn ang="0">
                <a:pos x="csX635" y="csY635"/>
              </a:cxn>
              <a:cxn ang="0">
                <a:pos x="csX636" y="csY636"/>
              </a:cxn>
              <a:cxn ang="0">
                <a:pos x="csX637" y="csY637"/>
              </a:cxn>
              <a:cxn ang="0">
                <a:pos x="csX638" y="csY638"/>
              </a:cxn>
              <a:cxn ang="0">
                <a:pos x="csX639" y="csY639"/>
              </a:cxn>
              <a:cxn ang="0">
                <a:pos x="csX640" y="csY640"/>
              </a:cxn>
              <a:cxn ang="0">
                <a:pos x="csX641" y="csY641"/>
              </a:cxn>
              <a:cxn ang="0">
                <a:pos x="csX642" y="csY642"/>
              </a:cxn>
              <a:cxn ang="0">
                <a:pos x="csX643" y="csY643"/>
              </a:cxn>
              <a:cxn ang="0">
                <a:pos x="csX644" y="csY644"/>
              </a:cxn>
              <a:cxn ang="0">
                <a:pos x="csX645" y="csY645"/>
              </a:cxn>
              <a:cxn ang="0">
                <a:pos x="csX646" y="csY646"/>
              </a:cxn>
              <a:cxn ang="0">
                <a:pos x="csX647" y="csY647"/>
              </a:cxn>
              <a:cxn ang="0">
                <a:pos x="csX648" y="csY648"/>
              </a:cxn>
              <a:cxn ang="0">
                <a:pos x="csX649" y="csY649"/>
              </a:cxn>
              <a:cxn ang="0">
                <a:pos x="csX650" y="csY650"/>
              </a:cxn>
              <a:cxn ang="0">
                <a:pos x="csX651" y="csY651"/>
              </a:cxn>
              <a:cxn ang="0">
                <a:pos x="csX652" y="csY652"/>
              </a:cxn>
              <a:cxn ang="0">
                <a:pos x="csX653" y="csY653"/>
              </a:cxn>
              <a:cxn ang="0">
                <a:pos x="csX654" y="csY654"/>
              </a:cxn>
              <a:cxn ang="0">
                <a:pos x="csX655" y="csY655"/>
              </a:cxn>
              <a:cxn ang="0">
                <a:pos x="csX656" y="csY656"/>
              </a:cxn>
              <a:cxn ang="0">
                <a:pos x="csX657" y="csY657"/>
              </a:cxn>
              <a:cxn ang="0">
                <a:pos x="csX658" y="csY658"/>
              </a:cxn>
              <a:cxn ang="0">
                <a:pos x="csX659" y="csY659"/>
              </a:cxn>
              <a:cxn ang="0">
                <a:pos x="csX660" y="csY660"/>
              </a:cxn>
              <a:cxn ang="0">
                <a:pos x="csX661" y="csY661"/>
              </a:cxn>
              <a:cxn ang="0">
                <a:pos x="csX662" y="csY662"/>
              </a:cxn>
              <a:cxn ang="0">
                <a:pos x="csX663" y="csY663"/>
              </a:cxn>
              <a:cxn ang="0">
                <a:pos x="csX664" y="csY664"/>
              </a:cxn>
              <a:cxn ang="0">
                <a:pos x="csX665" y="csY665"/>
              </a:cxn>
              <a:cxn ang="0">
                <a:pos x="csX666" y="csY666"/>
              </a:cxn>
              <a:cxn ang="0">
                <a:pos x="csX667" y="csY667"/>
              </a:cxn>
              <a:cxn ang="0">
                <a:pos x="csX668" y="csY668"/>
              </a:cxn>
              <a:cxn ang="0">
                <a:pos x="csX669" y="csY669"/>
              </a:cxn>
              <a:cxn ang="0">
                <a:pos x="csX670" y="csY670"/>
              </a:cxn>
              <a:cxn ang="0">
                <a:pos x="csX671" y="csY671"/>
              </a:cxn>
              <a:cxn ang="0">
                <a:pos x="csX672" y="csY672"/>
              </a:cxn>
              <a:cxn ang="0">
                <a:pos x="csX673" y="csY673"/>
              </a:cxn>
              <a:cxn ang="0">
                <a:pos x="csX674" y="csY674"/>
              </a:cxn>
              <a:cxn ang="0">
                <a:pos x="csX675" y="csY675"/>
              </a:cxn>
              <a:cxn ang="0">
                <a:pos x="csX676" y="csY676"/>
              </a:cxn>
              <a:cxn ang="0">
                <a:pos x="csX677" y="csY677"/>
              </a:cxn>
              <a:cxn ang="0">
                <a:pos x="csX678" y="csY678"/>
              </a:cxn>
              <a:cxn ang="0">
                <a:pos x="csX679" y="csY679"/>
              </a:cxn>
              <a:cxn ang="0">
                <a:pos x="csX680" y="csY680"/>
              </a:cxn>
              <a:cxn ang="0">
                <a:pos x="csX681" y="csY681"/>
              </a:cxn>
              <a:cxn ang="0">
                <a:pos x="csX682" y="csY682"/>
              </a:cxn>
              <a:cxn ang="0">
                <a:pos x="csX683" y="csY683"/>
              </a:cxn>
              <a:cxn ang="0">
                <a:pos x="csX684" y="csY684"/>
              </a:cxn>
              <a:cxn ang="0">
                <a:pos x="csX685" y="csY685"/>
              </a:cxn>
              <a:cxn ang="0">
                <a:pos x="csX686" y="csY686"/>
              </a:cxn>
              <a:cxn ang="0">
                <a:pos x="csX687" y="csY687"/>
              </a:cxn>
              <a:cxn ang="0">
                <a:pos x="csX688" y="csY688"/>
              </a:cxn>
              <a:cxn ang="0">
                <a:pos x="csX689" y="csY689"/>
              </a:cxn>
              <a:cxn ang="0">
                <a:pos x="csX690" y="csY690"/>
              </a:cxn>
              <a:cxn ang="0">
                <a:pos x="csX691" y="csY691"/>
              </a:cxn>
              <a:cxn ang="0">
                <a:pos x="csX692" y="csY692"/>
              </a:cxn>
              <a:cxn ang="0">
                <a:pos x="csX693" y="csY693"/>
              </a:cxn>
              <a:cxn ang="0">
                <a:pos x="csX694" y="csY694"/>
              </a:cxn>
              <a:cxn ang="0">
                <a:pos x="csX695" y="csY695"/>
              </a:cxn>
              <a:cxn ang="0">
                <a:pos x="csX696" y="csY696"/>
              </a:cxn>
              <a:cxn ang="0">
                <a:pos x="csX697" y="csY697"/>
              </a:cxn>
              <a:cxn ang="0">
                <a:pos x="csX698" y="csY698"/>
              </a:cxn>
              <a:cxn ang="0">
                <a:pos x="csX699" y="csY699"/>
              </a:cxn>
              <a:cxn ang="0">
                <a:pos x="csX700" y="csY700"/>
              </a:cxn>
              <a:cxn ang="0">
                <a:pos x="csX701" y="csY701"/>
              </a:cxn>
              <a:cxn ang="0">
                <a:pos x="csX702" y="csY702"/>
              </a:cxn>
              <a:cxn ang="0">
                <a:pos x="csX703" y="csY703"/>
              </a:cxn>
              <a:cxn ang="0">
                <a:pos x="csX704" y="csY704"/>
              </a:cxn>
              <a:cxn ang="0">
                <a:pos x="csX705" y="csY705"/>
              </a:cxn>
              <a:cxn ang="0">
                <a:pos x="csX706" y="csY706"/>
              </a:cxn>
              <a:cxn ang="0">
                <a:pos x="csX707" y="csY707"/>
              </a:cxn>
              <a:cxn ang="0">
                <a:pos x="csX708" y="csY708"/>
              </a:cxn>
              <a:cxn ang="0">
                <a:pos x="csX709" y="csY709"/>
              </a:cxn>
              <a:cxn ang="0">
                <a:pos x="csX710" y="csY710"/>
              </a:cxn>
              <a:cxn ang="0">
                <a:pos x="csX711" y="csY711"/>
              </a:cxn>
              <a:cxn ang="0">
                <a:pos x="csX712" y="csY712"/>
              </a:cxn>
              <a:cxn ang="0">
                <a:pos x="csX713" y="csY713"/>
              </a:cxn>
              <a:cxn ang="0">
                <a:pos x="csX714" y="csY714"/>
              </a:cxn>
              <a:cxn ang="0">
                <a:pos x="csX715" y="csY715"/>
              </a:cxn>
              <a:cxn ang="0">
                <a:pos x="csX716" y="csY716"/>
              </a:cxn>
              <a:cxn ang="0">
                <a:pos x="csX717" y="csY717"/>
              </a:cxn>
              <a:cxn ang="0">
                <a:pos x="csX718" y="csY718"/>
              </a:cxn>
              <a:cxn ang="0">
                <a:pos x="csX719" y="csY719"/>
              </a:cxn>
              <a:cxn ang="0">
                <a:pos x="csX720" y="csY720"/>
              </a:cxn>
              <a:cxn ang="0">
                <a:pos x="csX721" y="csY721"/>
              </a:cxn>
              <a:cxn ang="0">
                <a:pos x="csX722" y="csY722"/>
              </a:cxn>
              <a:cxn ang="0">
                <a:pos x="csX723" y="csY723"/>
              </a:cxn>
              <a:cxn ang="0">
                <a:pos x="csX724" y="csY724"/>
              </a:cxn>
              <a:cxn ang="0">
                <a:pos x="csX725" y="csY725"/>
              </a:cxn>
              <a:cxn ang="0">
                <a:pos x="csX726" y="csY726"/>
              </a:cxn>
              <a:cxn ang="0">
                <a:pos x="csX727" y="csY727"/>
              </a:cxn>
              <a:cxn ang="0">
                <a:pos x="csX728" y="csY728"/>
              </a:cxn>
              <a:cxn ang="0">
                <a:pos x="csX729" y="csY729"/>
              </a:cxn>
              <a:cxn ang="0">
                <a:pos x="csX730" y="csY730"/>
              </a:cxn>
              <a:cxn ang="0">
                <a:pos x="csX731" y="csY731"/>
              </a:cxn>
              <a:cxn ang="0">
                <a:pos x="csX732" y="csY732"/>
              </a:cxn>
              <a:cxn ang="0">
                <a:pos x="csX733" y="csY733"/>
              </a:cxn>
              <a:cxn ang="0">
                <a:pos x="csX734" y="csY734"/>
              </a:cxn>
              <a:cxn ang="0">
                <a:pos x="csX735" y="csY735"/>
              </a:cxn>
              <a:cxn ang="0">
                <a:pos x="csX736" y="csY736"/>
              </a:cxn>
              <a:cxn ang="0">
                <a:pos x="csX737" y="csY737"/>
              </a:cxn>
              <a:cxn ang="0">
                <a:pos x="csX738" y="csY738"/>
              </a:cxn>
              <a:cxn ang="0">
                <a:pos x="csX739" y="csY739"/>
              </a:cxn>
              <a:cxn ang="0">
                <a:pos x="csX740" y="csY740"/>
              </a:cxn>
              <a:cxn ang="0">
                <a:pos x="csX741" y="csY741"/>
              </a:cxn>
              <a:cxn ang="0">
                <a:pos x="csX742" y="csY742"/>
              </a:cxn>
              <a:cxn ang="0">
                <a:pos x="csX743" y="csY743"/>
              </a:cxn>
              <a:cxn ang="0">
                <a:pos x="csX744" y="csY744"/>
              </a:cxn>
              <a:cxn ang="0">
                <a:pos x="csX745" y="csY745"/>
              </a:cxn>
              <a:cxn ang="0">
                <a:pos x="csX746" y="csY746"/>
              </a:cxn>
              <a:cxn ang="0">
                <a:pos x="csX747" y="csY747"/>
              </a:cxn>
              <a:cxn ang="0">
                <a:pos x="csX748" y="csY748"/>
              </a:cxn>
              <a:cxn ang="0">
                <a:pos x="csX749" y="csY749"/>
              </a:cxn>
              <a:cxn ang="0">
                <a:pos x="csX750" y="csY750"/>
              </a:cxn>
              <a:cxn ang="0">
                <a:pos x="csX751" y="csY751"/>
              </a:cxn>
              <a:cxn ang="0">
                <a:pos x="csX752" y="csY752"/>
              </a:cxn>
              <a:cxn ang="0">
                <a:pos x="csX753" y="csY753"/>
              </a:cxn>
              <a:cxn ang="0">
                <a:pos x="csX754" y="csY754"/>
              </a:cxn>
              <a:cxn ang="0">
                <a:pos x="csX755" y="csY755"/>
              </a:cxn>
              <a:cxn ang="0">
                <a:pos x="csX756" y="csY756"/>
              </a:cxn>
              <a:cxn ang="0">
                <a:pos x="csX757" y="csY757"/>
              </a:cxn>
              <a:cxn ang="0">
                <a:pos x="csX758" y="csY758"/>
              </a:cxn>
              <a:cxn ang="0">
                <a:pos x="csX759" y="csY759"/>
              </a:cxn>
              <a:cxn ang="0">
                <a:pos x="csX760" y="csY760"/>
              </a:cxn>
              <a:cxn ang="0">
                <a:pos x="csX761" y="csY761"/>
              </a:cxn>
              <a:cxn ang="0">
                <a:pos x="csX762" y="csY762"/>
              </a:cxn>
              <a:cxn ang="0">
                <a:pos x="csX763" y="csY763"/>
              </a:cxn>
              <a:cxn ang="0">
                <a:pos x="csX764" y="csY764"/>
              </a:cxn>
              <a:cxn ang="0">
                <a:pos x="csX765" y="csY765"/>
              </a:cxn>
              <a:cxn ang="0">
                <a:pos x="csX766" y="csY766"/>
              </a:cxn>
              <a:cxn ang="0">
                <a:pos x="csX767" y="csY767"/>
              </a:cxn>
              <a:cxn ang="0">
                <a:pos x="csX768" y="csY768"/>
              </a:cxn>
              <a:cxn ang="0">
                <a:pos x="csX769" y="csY769"/>
              </a:cxn>
              <a:cxn ang="0">
                <a:pos x="csX770" y="csY770"/>
              </a:cxn>
              <a:cxn ang="0">
                <a:pos x="csX771" y="csY771"/>
              </a:cxn>
              <a:cxn ang="0">
                <a:pos x="csX772" y="csY772"/>
              </a:cxn>
              <a:cxn ang="0">
                <a:pos x="csX773" y="csY773"/>
              </a:cxn>
              <a:cxn ang="0">
                <a:pos x="csX774" y="csY774"/>
              </a:cxn>
              <a:cxn ang="0">
                <a:pos x="csX775" y="csY775"/>
              </a:cxn>
              <a:cxn ang="0">
                <a:pos x="csX776" y="csY776"/>
              </a:cxn>
              <a:cxn ang="0">
                <a:pos x="csX777" y="csY777"/>
              </a:cxn>
              <a:cxn ang="0">
                <a:pos x="csX778" y="csY778"/>
              </a:cxn>
              <a:cxn ang="0">
                <a:pos x="csX779" y="csY779"/>
              </a:cxn>
              <a:cxn ang="0">
                <a:pos x="csX780" y="csY780"/>
              </a:cxn>
              <a:cxn ang="0">
                <a:pos x="csX781" y="csY781"/>
              </a:cxn>
              <a:cxn ang="0">
                <a:pos x="csX782" y="csY782"/>
              </a:cxn>
              <a:cxn ang="0">
                <a:pos x="csX783" y="csY783"/>
              </a:cxn>
              <a:cxn ang="0">
                <a:pos x="csX784" y="csY784"/>
              </a:cxn>
              <a:cxn ang="0">
                <a:pos x="csX785" y="csY785"/>
              </a:cxn>
              <a:cxn ang="0">
                <a:pos x="csX786" y="csY786"/>
              </a:cxn>
              <a:cxn ang="0">
                <a:pos x="csX787" y="csY787"/>
              </a:cxn>
              <a:cxn ang="0">
                <a:pos x="csX788" y="csY788"/>
              </a:cxn>
              <a:cxn ang="0">
                <a:pos x="csX789" y="csY789"/>
              </a:cxn>
              <a:cxn ang="0">
                <a:pos x="csX790" y="csY790"/>
              </a:cxn>
              <a:cxn ang="0">
                <a:pos x="csX791" y="csY791"/>
              </a:cxn>
              <a:cxn ang="0">
                <a:pos x="csX792" y="csY792"/>
              </a:cxn>
              <a:cxn ang="0">
                <a:pos x="csX793" y="csY793"/>
              </a:cxn>
              <a:cxn ang="0">
                <a:pos x="csX794" y="csY794"/>
              </a:cxn>
              <a:cxn ang="0">
                <a:pos x="csX795" y="csY795"/>
              </a:cxn>
              <a:cxn ang="0">
                <a:pos x="csX796" y="csY796"/>
              </a:cxn>
              <a:cxn ang="0">
                <a:pos x="csX797" y="csY797"/>
              </a:cxn>
              <a:cxn ang="0">
                <a:pos x="csX798" y="csY798"/>
              </a:cxn>
              <a:cxn ang="0">
                <a:pos x="csX799" y="csY799"/>
              </a:cxn>
              <a:cxn ang="0">
                <a:pos x="csX800" y="csY800"/>
              </a:cxn>
              <a:cxn ang="0">
                <a:pos x="csX801" y="csY801"/>
              </a:cxn>
              <a:cxn ang="0">
                <a:pos x="csX802" y="csY802"/>
              </a:cxn>
              <a:cxn ang="0">
                <a:pos x="csX803" y="csY803"/>
              </a:cxn>
              <a:cxn ang="0">
                <a:pos x="csX804" y="csY804"/>
              </a:cxn>
              <a:cxn ang="0">
                <a:pos x="csX805" y="csY805"/>
              </a:cxn>
              <a:cxn ang="0">
                <a:pos x="csX806" y="csY806"/>
              </a:cxn>
              <a:cxn ang="0">
                <a:pos x="csX807" y="csY807"/>
              </a:cxn>
              <a:cxn ang="0">
                <a:pos x="csX808" y="csY808"/>
              </a:cxn>
              <a:cxn ang="0">
                <a:pos x="csX809" y="csY809"/>
              </a:cxn>
              <a:cxn ang="0">
                <a:pos x="csX810" y="csY810"/>
              </a:cxn>
              <a:cxn ang="0">
                <a:pos x="csX811" y="csY811"/>
              </a:cxn>
              <a:cxn ang="0">
                <a:pos x="csX812" y="csY812"/>
              </a:cxn>
              <a:cxn ang="0">
                <a:pos x="csX813" y="csY813"/>
              </a:cxn>
              <a:cxn ang="0">
                <a:pos x="csX814" y="csY814"/>
              </a:cxn>
              <a:cxn ang="0">
                <a:pos x="csX815" y="csY815"/>
              </a:cxn>
              <a:cxn ang="0">
                <a:pos x="csX816" y="csY816"/>
              </a:cxn>
              <a:cxn ang="0">
                <a:pos x="csX817" y="csY817"/>
              </a:cxn>
              <a:cxn ang="0">
                <a:pos x="csX818" y="csY818"/>
              </a:cxn>
              <a:cxn ang="0">
                <a:pos x="csX819" y="csY819"/>
              </a:cxn>
              <a:cxn ang="0">
                <a:pos x="csX820" y="csY820"/>
              </a:cxn>
              <a:cxn ang="0">
                <a:pos x="csX821" y="csY821"/>
              </a:cxn>
              <a:cxn ang="0">
                <a:pos x="csX822" y="csY822"/>
              </a:cxn>
              <a:cxn ang="0">
                <a:pos x="csX823" y="csY823"/>
              </a:cxn>
              <a:cxn ang="0">
                <a:pos x="csX824" y="csY824"/>
              </a:cxn>
              <a:cxn ang="0">
                <a:pos x="csX825" y="csY825"/>
              </a:cxn>
              <a:cxn ang="0">
                <a:pos x="csX826" y="csY826"/>
              </a:cxn>
              <a:cxn ang="0">
                <a:pos x="csX827" y="csY827"/>
              </a:cxn>
              <a:cxn ang="0">
                <a:pos x="csX828" y="csY828"/>
              </a:cxn>
              <a:cxn ang="0">
                <a:pos x="csX829" y="csY829"/>
              </a:cxn>
              <a:cxn ang="0">
                <a:pos x="csX830" y="csY830"/>
              </a:cxn>
              <a:cxn ang="0">
                <a:pos x="csX831" y="csY831"/>
              </a:cxn>
              <a:cxn ang="0">
                <a:pos x="csX832" y="csY832"/>
              </a:cxn>
              <a:cxn ang="0">
                <a:pos x="csX833" y="csY833"/>
              </a:cxn>
              <a:cxn ang="0">
                <a:pos x="csX834" y="csY834"/>
              </a:cxn>
              <a:cxn ang="0">
                <a:pos x="csX835" y="csY835"/>
              </a:cxn>
              <a:cxn ang="0">
                <a:pos x="csX836" y="csY836"/>
              </a:cxn>
              <a:cxn ang="0">
                <a:pos x="csX837" y="csY837"/>
              </a:cxn>
              <a:cxn ang="0">
                <a:pos x="csX838" y="csY838"/>
              </a:cxn>
              <a:cxn ang="0">
                <a:pos x="csX839" y="csY839"/>
              </a:cxn>
              <a:cxn ang="0">
                <a:pos x="csX840" y="csY840"/>
              </a:cxn>
              <a:cxn ang="0">
                <a:pos x="csX841" y="csY841"/>
              </a:cxn>
              <a:cxn ang="0">
                <a:pos x="csX842" y="csY842"/>
              </a:cxn>
              <a:cxn ang="0">
                <a:pos x="csX843" y="csY843"/>
              </a:cxn>
              <a:cxn ang="0">
                <a:pos x="csX844" y="csY844"/>
              </a:cxn>
              <a:cxn ang="0">
                <a:pos x="csX845" y="csY845"/>
              </a:cxn>
              <a:cxn ang="0">
                <a:pos x="csX846" y="csY846"/>
              </a:cxn>
              <a:cxn ang="0">
                <a:pos x="csX847" y="csY847"/>
              </a:cxn>
              <a:cxn ang="0">
                <a:pos x="csX848" y="csY848"/>
              </a:cxn>
              <a:cxn ang="0">
                <a:pos x="csX849" y="csY849"/>
              </a:cxn>
              <a:cxn ang="0">
                <a:pos x="csX850" y="csY850"/>
              </a:cxn>
              <a:cxn ang="0">
                <a:pos x="csX851" y="csY851"/>
              </a:cxn>
              <a:cxn ang="0">
                <a:pos x="csX852" y="csY852"/>
              </a:cxn>
              <a:cxn ang="0">
                <a:pos x="csX853" y="csY853"/>
              </a:cxn>
              <a:cxn ang="0">
                <a:pos x="csX854" y="csY854"/>
              </a:cxn>
              <a:cxn ang="0">
                <a:pos x="csX855" y="csY855"/>
              </a:cxn>
              <a:cxn ang="0">
                <a:pos x="csX856" y="csY856"/>
              </a:cxn>
              <a:cxn ang="0">
                <a:pos x="csX857" y="csY857"/>
              </a:cxn>
              <a:cxn ang="0">
                <a:pos x="csX858" y="csY858"/>
              </a:cxn>
              <a:cxn ang="0">
                <a:pos x="csX859" y="csY859"/>
              </a:cxn>
              <a:cxn ang="0">
                <a:pos x="csX860" y="csY860"/>
              </a:cxn>
              <a:cxn ang="0">
                <a:pos x="csX861" y="csY861"/>
              </a:cxn>
              <a:cxn ang="0">
                <a:pos x="csX862" y="csY862"/>
              </a:cxn>
              <a:cxn ang="0">
                <a:pos x="csX863" y="csY863"/>
              </a:cxn>
              <a:cxn ang="0">
                <a:pos x="csX864" y="csY864"/>
              </a:cxn>
              <a:cxn ang="0">
                <a:pos x="csX865" y="csY865"/>
              </a:cxn>
              <a:cxn ang="0">
                <a:pos x="csX866" y="csY866"/>
              </a:cxn>
              <a:cxn ang="0">
                <a:pos x="csX867" y="csY867"/>
              </a:cxn>
              <a:cxn ang="0">
                <a:pos x="csX868" y="csY868"/>
              </a:cxn>
              <a:cxn ang="0">
                <a:pos x="csX869" y="csY869"/>
              </a:cxn>
              <a:cxn ang="0">
                <a:pos x="csX870" y="csY870"/>
              </a:cxn>
              <a:cxn ang="0">
                <a:pos x="csX871" y="csY871"/>
              </a:cxn>
              <a:cxn ang="0">
                <a:pos x="csX872" y="csY872"/>
              </a:cxn>
              <a:cxn ang="0">
                <a:pos x="csX873" y="csY873"/>
              </a:cxn>
              <a:cxn ang="0">
                <a:pos x="csX874" y="csY874"/>
              </a:cxn>
              <a:cxn ang="0">
                <a:pos x="csX875" y="csY875"/>
              </a:cxn>
              <a:cxn ang="0">
                <a:pos x="csX876" y="csY876"/>
              </a:cxn>
              <a:cxn ang="0">
                <a:pos x="csX877" y="csY877"/>
              </a:cxn>
              <a:cxn ang="0">
                <a:pos x="csX878" y="csY878"/>
              </a:cxn>
              <a:cxn ang="0">
                <a:pos x="csX879" y="csY879"/>
              </a:cxn>
              <a:cxn ang="0">
                <a:pos x="csX880" y="csY880"/>
              </a:cxn>
              <a:cxn ang="0">
                <a:pos x="csX881" y="csY881"/>
              </a:cxn>
              <a:cxn ang="0">
                <a:pos x="csX882" y="csY882"/>
              </a:cxn>
              <a:cxn ang="0">
                <a:pos x="csX883" y="csY883"/>
              </a:cxn>
              <a:cxn ang="0">
                <a:pos x="csX884" y="csY884"/>
              </a:cxn>
              <a:cxn ang="0">
                <a:pos x="csX885" y="csY885"/>
              </a:cxn>
              <a:cxn ang="0">
                <a:pos x="csX886" y="csY886"/>
              </a:cxn>
              <a:cxn ang="0">
                <a:pos x="csX887" y="csY887"/>
              </a:cxn>
              <a:cxn ang="0">
                <a:pos x="csX888" y="csY888"/>
              </a:cxn>
              <a:cxn ang="0">
                <a:pos x="csX889" y="csY889"/>
              </a:cxn>
              <a:cxn ang="0">
                <a:pos x="csX890" y="csY890"/>
              </a:cxn>
              <a:cxn ang="0">
                <a:pos x="csX891" y="csY891"/>
              </a:cxn>
              <a:cxn ang="0">
                <a:pos x="csX892" y="csY892"/>
              </a:cxn>
              <a:cxn ang="0">
                <a:pos x="csX893" y="csY893"/>
              </a:cxn>
              <a:cxn ang="0">
                <a:pos x="csX894" y="csY894"/>
              </a:cxn>
              <a:cxn ang="0">
                <a:pos x="csX895" y="csY895"/>
              </a:cxn>
              <a:cxn ang="0">
                <a:pos x="csX896" y="csY896"/>
              </a:cxn>
              <a:cxn ang="0">
                <a:pos x="csX897" y="csY897"/>
              </a:cxn>
              <a:cxn ang="0">
                <a:pos x="csX898" y="csY898"/>
              </a:cxn>
              <a:cxn ang="0">
                <a:pos x="csX899" y="csY899"/>
              </a:cxn>
              <a:cxn ang="0">
                <a:pos x="csX900" y="csY900"/>
              </a:cxn>
              <a:cxn ang="0">
                <a:pos x="csX901" y="csY901"/>
              </a:cxn>
              <a:cxn ang="0">
                <a:pos x="csX902" y="csY902"/>
              </a:cxn>
              <a:cxn ang="0">
                <a:pos x="csX903" y="csY903"/>
              </a:cxn>
              <a:cxn ang="0">
                <a:pos x="csX904" y="csY904"/>
              </a:cxn>
              <a:cxn ang="0">
                <a:pos x="csX905" y="csY905"/>
              </a:cxn>
              <a:cxn ang="0">
                <a:pos x="csX906" y="csY906"/>
              </a:cxn>
              <a:cxn ang="0">
                <a:pos x="csX907" y="csY907"/>
              </a:cxn>
              <a:cxn ang="0">
                <a:pos x="csX908" y="csY908"/>
              </a:cxn>
              <a:cxn ang="0">
                <a:pos x="csX909" y="csY909"/>
              </a:cxn>
              <a:cxn ang="0">
                <a:pos x="csX910" y="csY910"/>
              </a:cxn>
              <a:cxn ang="0">
                <a:pos x="csX911" y="csY911"/>
              </a:cxn>
              <a:cxn ang="0">
                <a:pos x="csX912" y="csY912"/>
              </a:cxn>
              <a:cxn ang="0">
                <a:pos x="csX913" y="csY913"/>
              </a:cxn>
              <a:cxn ang="0">
                <a:pos x="csX914" y="csY914"/>
              </a:cxn>
              <a:cxn ang="0">
                <a:pos x="csX915" y="csY915"/>
              </a:cxn>
              <a:cxn ang="0">
                <a:pos x="csX916" y="csY916"/>
              </a:cxn>
              <a:cxn ang="0">
                <a:pos x="csX917" y="csY917"/>
              </a:cxn>
              <a:cxn ang="0">
                <a:pos x="csX918" y="csY918"/>
              </a:cxn>
              <a:cxn ang="0">
                <a:pos x="csX919" y="csY919"/>
              </a:cxn>
              <a:cxn ang="0">
                <a:pos x="csX920" y="csY920"/>
              </a:cxn>
              <a:cxn ang="0">
                <a:pos x="csX921" y="csY921"/>
              </a:cxn>
              <a:cxn ang="0">
                <a:pos x="csX922" y="csY922"/>
              </a:cxn>
              <a:cxn ang="0">
                <a:pos x="csX923" y="csY923"/>
              </a:cxn>
              <a:cxn ang="0">
                <a:pos x="csX924" y="csY924"/>
              </a:cxn>
              <a:cxn ang="0">
                <a:pos x="csX925" y="csY925"/>
              </a:cxn>
              <a:cxn ang="0">
                <a:pos x="csX926" y="csY926"/>
              </a:cxn>
              <a:cxn ang="0">
                <a:pos x="csX927" y="csY927"/>
              </a:cxn>
              <a:cxn ang="0">
                <a:pos x="csX928" y="csY928"/>
              </a:cxn>
              <a:cxn ang="0">
                <a:pos x="csX929" y="csY929"/>
              </a:cxn>
              <a:cxn ang="0">
                <a:pos x="csX930" y="csY930"/>
              </a:cxn>
              <a:cxn ang="0">
                <a:pos x="csX931" y="csY931"/>
              </a:cxn>
              <a:cxn ang="0">
                <a:pos x="csX932" y="csY932"/>
              </a:cxn>
              <a:cxn ang="0">
                <a:pos x="csX933" y="csY933"/>
              </a:cxn>
              <a:cxn ang="0">
                <a:pos x="csX934" y="csY934"/>
              </a:cxn>
              <a:cxn ang="0">
                <a:pos x="csX935" y="csY935"/>
              </a:cxn>
              <a:cxn ang="0">
                <a:pos x="csX936" y="csY936"/>
              </a:cxn>
              <a:cxn ang="0">
                <a:pos x="csX937" y="csY937"/>
              </a:cxn>
              <a:cxn ang="0">
                <a:pos x="csX938" y="csY938"/>
              </a:cxn>
              <a:cxn ang="0">
                <a:pos x="csX939" y="csY939"/>
              </a:cxn>
              <a:cxn ang="0">
                <a:pos x="csX940" y="csY940"/>
              </a:cxn>
              <a:cxn ang="0">
                <a:pos x="csX941" y="csY941"/>
              </a:cxn>
              <a:cxn ang="0">
                <a:pos x="csX942" y="csY942"/>
              </a:cxn>
              <a:cxn ang="0">
                <a:pos x="csX943" y="csY943"/>
              </a:cxn>
              <a:cxn ang="0">
                <a:pos x="csX944" y="csY944"/>
              </a:cxn>
              <a:cxn ang="0">
                <a:pos x="csX945" y="csY945"/>
              </a:cxn>
              <a:cxn ang="0">
                <a:pos x="csX946" y="csY946"/>
              </a:cxn>
              <a:cxn ang="0">
                <a:pos x="csX947" y="csY947"/>
              </a:cxn>
              <a:cxn ang="0">
                <a:pos x="csX948" y="csY948"/>
              </a:cxn>
              <a:cxn ang="0">
                <a:pos x="csX949" y="csY949"/>
              </a:cxn>
              <a:cxn ang="0">
                <a:pos x="csX950" y="csY950"/>
              </a:cxn>
              <a:cxn ang="0">
                <a:pos x="csX951" y="csY951"/>
              </a:cxn>
              <a:cxn ang="0">
                <a:pos x="csX952" y="csY952"/>
              </a:cxn>
              <a:cxn ang="0">
                <a:pos x="csX953" y="csY953"/>
              </a:cxn>
              <a:cxn ang="0">
                <a:pos x="csX954" y="csY954"/>
              </a:cxn>
              <a:cxn ang="0">
                <a:pos x="csX955" y="csY955"/>
              </a:cxn>
              <a:cxn ang="0">
                <a:pos x="csX956" y="csY956"/>
              </a:cxn>
              <a:cxn ang="0">
                <a:pos x="csX957" y="csY957"/>
              </a:cxn>
              <a:cxn ang="0">
                <a:pos x="csX958" y="csY958"/>
              </a:cxn>
              <a:cxn ang="0">
                <a:pos x="csX959" y="csY959"/>
              </a:cxn>
              <a:cxn ang="0">
                <a:pos x="csX960" y="csY960"/>
              </a:cxn>
              <a:cxn ang="0">
                <a:pos x="csX961" y="csY961"/>
              </a:cxn>
              <a:cxn ang="0">
                <a:pos x="csX962" y="csY962"/>
              </a:cxn>
              <a:cxn ang="0">
                <a:pos x="csX963" y="csY963"/>
              </a:cxn>
              <a:cxn ang="0">
                <a:pos x="csX964" y="csY964"/>
              </a:cxn>
              <a:cxn ang="0">
                <a:pos x="csX965" y="csY965"/>
              </a:cxn>
              <a:cxn ang="0">
                <a:pos x="csX966" y="csY966"/>
              </a:cxn>
              <a:cxn ang="0">
                <a:pos x="csX967" y="csY967"/>
              </a:cxn>
              <a:cxn ang="0">
                <a:pos x="csX968" y="csY968"/>
              </a:cxn>
              <a:cxn ang="0">
                <a:pos x="csX969" y="csY969"/>
              </a:cxn>
              <a:cxn ang="0">
                <a:pos x="csX970" y="csY970"/>
              </a:cxn>
              <a:cxn ang="0">
                <a:pos x="csX971" y="csY971"/>
              </a:cxn>
              <a:cxn ang="0">
                <a:pos x="csX972" y="csY972"/>
              </a:cxn>
              <a:cxn ang="0">
                <a:pos x="csX973" y="csY973"/>
              </a:cxn>
              <a:cxn ang="0">
                <a:pos x="csX974" y="csY974"/>
              </a:cxn>
              <a:cxn ang="0">
                <a:pos x="csX975" y="csY975"/>
              </a:cxn>
              <a:cxn ang="0">
                <a:pos x="csX976" y="csY976"/>
              </a:cxn>
              <a:cxn ang="0">
                <a:pos x="csX977" y="csY977"/>
              </a:cxn>
              <a:cxn ang="0">
                <a:pos x="csX978" y="csY978"/>
              </a:cxn>
              <a:cxn ang="0">
                <a:pos x="csX979" y="csY979"/>
              </a:cxn>
              <a:cxn ang="0">
                <a:pos x="csX980" y="csY980"/>
              </a:cxn>
              <a:cxn ang="0">
                <a:pos x="csX981" y="csY981"/>
              </a:cxn>
              <a:cxn ang="0">
                <a:pos x="csX982" y="csY982"/>
              </a:cxn>
              <a:cxn ang="0">
                <a:pos x="csX983" y="csY983"/>
              </a:cxn>
              <a:cxn ang="0">
                <a:pos x="csX984" y="csY984"/>
              </a:cxn>
              <a:cxn ang="0">
                <a:pos x="csX985" y="csY985"/>
              </a:cxn>
              <a:cxn ang="0">
                <a:pos x="csX986" y="csY986"/>
              </a:cxn>
              <a:cxn ang="0">
                <a:pos x="csX987" y="csY987"/>
              </a:cxn>
              <a:cxn ang="0">
                <a:pos x="csX988" y="csY988"/>
              </a:cxn>
              <a:cxn ang="0">
                <a:pos x="csX989" y="csY989"/>
              </a:cxn>
              <a:cxn ang="0">
                <a:pos x="csX990" y="csY990"/>
              </a:cxn>
              <a:cxn ang="0">
                <a:pos x="csX991" y="csY991"/>
              </a:cxn>
              <a:cxn ang="0">
                <a:pos x="csX992" y="csY992"/>
              </a:cxn>
              <a:cxn ang="0">
                <a:pos x="csX993" y="csY993"/>
              </a:cxn>
              <a:cxn ang="0">
                <a:pos x="csX994" y="csY994"/>
              </a:cxn>
              <a:cxn ang="0">
                <a:pos x="csX995" y="csY995"/>
              </a:cxn>
              <a:cxn ang="0">
                <a:pos x="csX996" y="csY996"/>
              </a:cxn>
              <a:cxn ang="0">
                <a:pos x="csX997" y="csY997"/>
              </a:cxn>
              <a:cxn ang="0">
                <a:pos x="csX998" y="csY998"/>
              </a:cxn>
              <a:cxn ang="0">
                <a:pos x="csX999" y="csY999"/>
              </a:cxn>
              <a:cxn ang="0">
                <a:pos x="csX1000" y="csY1000"/>
              </a:cxn>
              <a:cxn ang="0">
                <a:pos x="csX1001" y="csY1001"/>
              </a:cxn>
              <a:cxn ang="0">
                <a:pos x="csX1002" y="csY1002"/>
              </a:cxn>
              <a:cxn ang="0">
                <a:pos x="csX1003" y="csY1003"/>
              </a:cxn>
              <a:cxn ang="0">
                <a:pos x="csX1004" y="csY1004"/>
              </a:cxn>
              <a:cxn ang="0">
                <a:pos x="csX1005" y="csY1005"/>
              </a:cxn>
              <a:cxn ang="0">
                <a:pos x="csX1006" y="csY1006"/>
              </a:cxn>
              <a:cxn ang="0">
                <a:pos x="csX1007" y="csY1007"/>
              </a:cxn>
              <a:cxn ang="0">
                <a:pos x="csX1008" y="csY1008"/>
              </a:cxn>
              <a:cxn ang="0">
                <a:pos x="csX1009" y="csY1009"/>
              </a:cxn>
              <a:cxn ang="0">
                <a:pos x="csX1010" y="csY1010"/>
              </a:cxn>
              <a:cxn ang="0">
                <a:pos x="csX1011" y="csY1011"/>
              </a:cxn>
              <a:cxn ang="0">
                <a:pos x="csX1012" y="csY1012"/>
              </a:cxn>
              <a:cxn ang="0">
                <a:pos x="csX1013" y="csY1013"/>
              </a:cxn>
              <a:cxn ang="0">
                <a:pos x="csX1014" y="csY1014"/>
              </a:cxn>
              <a:cxn ang="0">
                <a:pos x="csX1015" y="csY1015"/>
              </a:cxn>
              <a:cxn ang="0">
                <a:pos x="csX1016" y="csY1016"/>
              </a:cxn>
              <a:cxn ang="0">
                <a:pos x="csX1017" y="csY1017"/>
              </a:cxn>
              <a:cxn ang="0">
                <a:pos x="csX1018" y="csY1018"/>
              </a:cxn>
              <a:cxn ang="0">
                <a:pos x="csX1019" y="csY1019"/>
              </a:cxn>
              <a:cxn ang="0">
                <a:pos x="csX1020" y="csY1020"/>
              </a:cxn>
              <a:cxn ang="0">
                <a:pos x="csX1021" y="csY1021"/>
              </a:cxn>
              <a:cxn ang="0">
                <a:pos x="csX1022" y="csY1022"/>
              </a:cxn>
              <a:cxn ang="0">
                <a:pos x="csX1023" y="csY1023"/>
              </a:cxn>
              <a:cxn ang="0">
                <a:pos x="csX1024" y="csY1024"/>
              </a:cxn>
              <a:cxn ang="0">
                <a:pos x="csX1025" y="csY1025"/>
              </a:cxn>
              <a:cxn ang="0">
                <a:pos x="csX1026" y="csY1026"/>
              </a:cxn>
              <a:cxn ang="0">
                <a:pos x="csX1027" y="csY1027"/>
              </a:cxn>
              <a:cxn ang="0">
                <a:pos x="csX1028" y="csY1028"/>
              </a:cxn>
              <a:cxn ang="0">
                <a:pos x="csX1029" y="csY1029"/>
              </a:cxn>
              <a:cxn ang="0">
                <a:pos x="csX1030" y="csY1030"/>
              </a:cxn>
              <a:cxn ang="0">
                <a:pos x="csX1031" y="csY1031"/>
              </a:cxn>
              <a:cxn ang="0">
                <a:pos x="csX1032" y="csY1032"/>
              </a:cxn>
              <a:cxn ang="0">
                <a:pos x="csX1033" y="csY1033"/>
              </a:cxn>
              <a:cxn ang="0">
                <a:pos x="csX1034" y="csY1034"/>
              </a:cxn>
              <a:cxn ang="0">
                <a:pos x="csX1035" y="csY1035"/>
              </a:cxn>
              <a:cxn ang="0">
                <a:pos x="csX1036" y="csY1036"/>
              </a:cxn>
              <a:cxn ang="0">
                <a:pos x="csX1037" y="csY1037"/>
              </a:cxn>
              <a:cxn ang="0">
                <a:pos x="csX1038" y="csY1038"/>
              </a:cxn>
              <a:cxn ang="0">
                <a:pos x="csX1039" y="csY1039"/>
              </a:cxn>
              <a:cxn ang="0">
                <a:pos x="csX1040" y="csY1040"/>
              </a:cxn>
              <a:cxn ang="0">
                <a:pos x="csX1041" y="csY1041"/>
              </a:cxn>
              <a:cxn ang="0">
                <a:pos x="csX1042" y="csY1042"/>
              </a:cxn>
              <a:cxn ang="0">
                <a:pos x="csX1043" y="csY1043"/>
              </a:cxn>
              <a:cxn ang="0">
                <a:pos x="csX1044" y="csY1044"/>
              </a:cxn>
              <a:cxn ang="0">
                <a:pos x="csX1045" y="csY1045"/>
              </a:cxn>
              <a:cxn ang="0">
                <a:pos x="csX1046" y="csY1046"/>
              </a:cxn>
              <a:cxn ang="0">
                <a:pos x="csX1047" y="csY1047"/>
              </a:cxn>
              <a:cxn ang="0">
                <a:pos x="csX1048" y="csY1048"/>
              </a:cxn>
              <a:cxn ang="0">
                <a:pos x="csX1049" y="csY1049"/>
              </a:cxn>
              <a:cxn ang="0">
                <a:pos x="csX1050" y="csY1050"/>
              </a:cxn>
              <a:cxn ang="0">
                <a:pos x="csX1051" y="csY1051"/>
              </a:cxn>
              <a:cxn ang="0">
                <a:pos x="csX1052" y="csY1052"/>
              </a:cxn>
              <a:cxn ang="0">
                <a:pos x="csX1053" y="csY1053"/>
              </a:cxn>
              <a:cxn ang="0">
                <a:pos x="csX1054" y="csY1054"/>
              </a:cxn>
            </a:cxnLst>
            <a:rect l="l" t="t" r="r" b="b"/>
            <a:pathLst>
              <a:path w="1609516" h="1538630">
                <a:moveTo>
                  <a:pt x="401579" y="1495809"/>
                </a:moveTo>
                <a:lnTo>
                  <a:pt x="400190" y="1496004"/>
                </a:lnTo>
                <a:lnTo>
                  <a:pt x="401224" y="1496470"/>
                </a:lnTo>
                <a:lnTo>
                  <a:pt x="401224" y="1498590"/>
                </a:lnTo>
                <a:lnTo>
                  <a:pt x="401579" y="1498628"/>
                </a:lnTo>
                <a:cubicBezTo>
                  <a:pt x="401579" y="1497698"/>
                  <a:pt x="401579" y="1496768"/>
                  <a:pt x="401579" y="1495809"/>
                </a:cubicBezTo>
                <a:close/>
                <a:moveTo>
                  <a:pt x="368755" y="1486512"/>
                </a:moveTo>
                <a:lnTo>
                  <a:pt x="364089" y="1487354"/>
                </a:lnTo>
                <a:lnTo>
                  <a:pt x="364089" y="1487908"/>
                </a:lnTo>
                <a:close/>
                <a:moveTo>
                  <a:pt x="1049801" y="1484562"/>
                </a:moveTo>
                <a:lnTo>
                  <a:pt x="1046735" y="1485945"/>
                </a:lnTo>
                <a:lnTo>
                  <a:pt x="1046955" y="1486045"/>
                </a:lnTo>
                <a:lnTo>
                  <a:pt x="1049801" y="1485188"/>
                </a:lnTo>
                <a:close/>
                <a:moveTo>
                  <a:pt x="351234" y="1444508"/>
                </a:moveTo>
                <a:lnTo>
                  <a:pt x="351234" y="1444997"/>
                </a:lnTo>
                <a:lnTo>
                  <a:pt x="351592" y="1445078"/>
                </a:lnTo>
                <a:close/>
                <a:moveTo>
                  <a:pt x="351908" y="1431206"/>
                </a:moveTo>
                <a:lnTo>
                  <a:pt x="351234" y="1431611"/>
                </a:lnTo>
                <a:lnTo>
                  <a:pt x="351234" y="1432274"/>
                </a:lnTo>
                <a:close/>
                <a:moveTo>
                  <a:pt x="358162" y="1421494"/>
                </a:moveTo>
                <a:lnTo>
                  <a:pt x="355921" y="1423156"/>
                </a:lnTo>
                <a:lnTo>
                  <a:pt x="355921" y="1423548"/>
                </a:lnTo>
                <a:close/>
                <a:moveTo>
                  <a:pt x="376098" y="1408347"/>
                </a:moveTo>
                <a:lnTo>
                  <a:pt x="370750" y="1412245"/>
                </a:lnTo>
                <a:lnTo>
                  <a:pt x="375023" y="1411256"/>
                </a:lnTo>
                <a:close/>
                <a:moveTo>
                  <a:pt x="421956" y="1365623"/>
                </a:moveTo>
                <a:lnTo>
                  <a:pt x="421765" y="1366161"/>
                </a:lnTo>
                <a:lnTo>
                  <a:pt x="421887" y="1366161"/>
                </a:lnTo>
                <a:close/>
                <a:moveTo>
                  <a:pt x="754553" y="1360575"/>
                </a:moveTo>
                <a:lnTo>
                  <a:pt x="754089" y="1361433"/>
                </a:lnTo>
                <a:lnTo>
                  <a:pt x="754431" y="1361125"/>
                </a:lnTo>
                <a:close/>
                <a:moveTo>
                  <a:pt x="1277973" y="1332923"/>
                </a:moveTo>
                <a:lnTo>
                  <a:pt x="1277944" y="1332936"/>
                </a:lnTo>
                <a:lnTo>
                  <a:pt x="1277949" y="1333139"/>
                </a:lnTo>
                <a:close/>
                <a:moveTo>
                  <a:pt x="1268556" y="1321066"/>
                </a:moveTo>
                <a:cubicBezTo>
                  <a:pt x="1268556" y="1322461"/>
                  <a:pt x="1268556" y="1323856"/>
                  <a:pt x="1268556" y="1325294"/>
                </a:cubicBezTo>
                <a:cubicBezTo>
                  <a:pt x="1267525" y="1325294"/>
                  <a:pt x="1266495" y="1325294"/>
                  <a:pt x="1265432" y="1325294"/>
                </a:cubicBezTo>
                <a:cubicBezTo>
                  <a:pt x="1265432" y="1330409"/>
                  <a:pt x="1265432" y="1335525"/>
                  <a:pt x="1265432" y="1340795"/>
                </a:cubicBezTo>
                <a:lnTo>
                  <a:pt x="1265476" y="1340714"/>
                </a:lnTo>
                <a:lnTo>
                  <a:pt x="1265476" y="1325877"/>
                </a:lnTo>
                <a:cubicBezTo>
                  <a:pt x="1266507" y="1325877"/>
                  <a:pt x="1267538" y="1325877"/>
                  <a:pt x="1268600" y="1325877"/>
                </a:cubicBezTo>
                <a:cubicBezTo>
                  <a:pt x="1268600" y="1324482"/>
                  <a:pt x="1268600" y="1323086"/>
                  <a:pt x="1268600" y="1321649"/>
                </a:cubicBezTo>
                <a:cubicBezTo>
                  <a:pt x="1270147" y="1321649"/>
                  <a:pt x="1271693" y="1321649"/>
                  <a:pt x="1273286" y="1321649"/>
                </a:cubicBezTo>
                <a:lnTo>
                  <a:pt x="1273227" y="1321066"/>
                </a:lnTo>
                <a:close/>
                <a:moveTo>
                  <a:pt x="827891" y="1291474"/>
                </a:moveTo>
                <a:lnTo>
                  <a:pt x="822601" y="1291544"/>
                </a:lnTo>
                <a:lnTo>
                  <a:pt x="818272" y="1292220"/>
                </a:lnTo>
                <a:lnTo>
                  <a:pt x="827891" y="1292047"/>
                </a:lnTo>
                <a:close/>
                <a:moveTo>
                  <a:pt x="856397" y="1288691"/>
                </a:moveTo>
                <a:lnTo>
                  <a:pt x="865903" y="1290590"/>
                </a:lnTo>
                <a:lnTo>
                  <a:pt x="859999" y="1288752"/>
                </a:lnTo>
                <a:close/>
                <a:moveTo>
                  <a:pt x="834694" y="1288572"/>
                </a:moveTo>
                <a:lnTo>
                  <a:pt x="828038" y="1288654"/>
                </a:lnTo>
                <a:lnTo>
                  <a:pt x="828038" y="1289214"/>
                </a:lnTo>
                <a:close/>
                <a:moveTo>
                  <a:pt x="229746" y="1191418"/>
                </a:moveTo>
                <a:lnTo>
                  <a:pt x="227402" y="1191947"/>
                </a:lnTo>
                <a:lnTo>
                  <a:pt x="229315" y="1191947"/>
                </a:lnTo>
                <a:cubicBezTo>
                  <a:pt x="229315" y="1192877"/>
                  <a:pt x="229315" y="1193807"/>
                  <a:pt x="229315" y="1194765"/>
                </a:cubicBezTo>
                <a:lnTo>
                  <a:pt x="231321" y="1194765"/>
                </a:lnTo>
                <a:lnTo>
                  <a:pt x="229746" y="1194236"/>
                </a:lnTo>
                <a:cubicBezTo>
                  <a:pt x="229746" y="1193306"/>
                  <a:pt x="229746" y="1192376"/>
                  <a:pt x="229746" y="1191418"/>
                </a:cubicBezTo>
                <a:close/>
                <a:moveTo>
                  <a:pt x="215687" y="1187190"/>
                </a:moveTo>
                <a:lnTo>
                  <a:pt x="215198" y="1187720"/>
                </a:lnTo>
                <a:lnTo>
                  <a:pt x="215256" y="1187720"/>
                </a:lnTo>
                <a:cubicBezTo>
                  <a:pt x="215256" y="1189115"/>
                  <a:pt x="215256" y="1190510"/>
                  <a:pt x="215256" y="1191947"/>
                </a:cubicBezTo>
                <a:lnTo>
                  <a:pt x="222721" y="1191947"/>
                </a:lnTo>
                <a:lnTo>
                  <a:pt x="215687" y="1191418"/>
                </a:lnTo>
                <a:cubicBezTo>
                  <a:pt x="215687" y="1190023"/>
                  <a:pt x="215687" y="1188628"/>
                  <a:pt x="215687" y="1187190"/>
                </a:cubicBezTo>
                <a:close/>
                <a:moveTo>
                  <a:pt x="1279678" y="1082356"/>
                </a:moveTo>
                <a:lnTo>
                  <a:pt x="1271680" y="1084589"/>
                </a:lnTo>
                <a:lnTo>
                  <a:pt x="1282181" y="1082544"/>
                </a:lnTo>
                <a:close/>
                <a:moveTo>
                  <a:pt x="117703" y="941507"/>
                </a:moveTo>
                <a:lnTo>
                  <a:pt x="112587" y="941985"/>
                </a:lnTo>
                <a:lnTo>
                  <a:pt x="112565" y="942333"/>
                </a:lnTo>
                <a:lnTo>
                  <a:pt x="115665" y="941837"/>
                </a:lnTo>
                <a:close/>
                <a:moveTo>
                  <a:pt x="144268" y="939395"/>
                </a:moveTo>
                <a:lnTo>
                  <a:pt x="143354" y="939580"/>
                </a:lnTo>
                <a:lnTo>
                  <a:pt x="144077" y="939739"/>
                </a:lnTo>
                <a:close/>
                <a:moveTo>
                  <a:pt x="162575" y="933530"/>
                </a:moveTo>
                <a:lnTo>
                  <a:pt x="161704" y="935101"/>
                </a:lnTo>
                <a:lnTo>
                  <a:pt x="170045" y="933585"/>
                </a:lnTo>
                <a:close/>
                <a:moveTo>
                  <a:pt x="1321645" y="918415"/>
                </a:moveTo>
                <a:lnTo>
                  <a:pt x="1321534" y="920177"/>
                </a:lnTo>
                <a:lnTo>
                  <a:pt x="1321740" y="918415"/>
                </a:lnTo>
                <a:close/>
                <a:moveTo>
                  <a:pt x="1319333" y="915183"/>
                </a:moveTo>
                <a:lnTo>
                  <a:pt x="1318544" y="918029"/>
                </a:lnTo>
                <a:lnTo>
                  <a:pt x="1318702" y="918029"/>
                </a:lnTo>
                <a:close/>
                <a:moveTo>
                  <a:pt x="1326355" y="907109"/>
                </a:moveTo>
                <a:lnTo>
                  <a:pt x="1326355" y="910983"/>
                </a:lnTo>
                <a:lnTo>
                  <a:pt x="1325831" y="911101"/>
                </a:lnTo>
                <a:lnTo>
                  <a:pt x="1326426" y="911369"/>
                </a:lnTo>
                <a:cubicBezTo>
                  <a:pt x="1326426" y="909974"/>
                  <a:pt x="1326426" y="908579"/>
                  <a:pt x="1326426" y="907141"/>
                </a:cubicBezTo>
                <a:close/>
                <a:moveTo>
                  <a:pt x="1328144" y="892192"/>
                </a:moveTo>
                <a:lnTo>
                  <a:pt x="1327667" y="893446"/>
                </a:lnTo>
                <a:lnTo>
                  <a:pt x="1327989" y="893049"/>
                </a:lnTo>
                <a:close/>
                <a:moveTo>
                  <a:pt x="49605" y="887420"/>
                </a:moveTo>
                <a:lnTo>
                  <a:pt x="48549" y="891229"/>
                </a:lnTo>
                <a:lnTo>
                  <a:pt x="49956" y="887420"/>
                </a:lnTo>
                <a:close/>
                <a:moveTo>
                  <a:pt x="1332266" y="883369"/>
                </a:moveTo>
                <a:lnTo>
                  <a:pt x="1329479" y="884207"/>
                </a:lnTo>
                <a:lnTo>
                  <a:pt x="1329509" y="884816"/>
                </a:lnTo>
                <a:lnTo>
                  <a:pt x="1329551" y="884594"/>
                </a:lnTo>
                <a:close/>
                <a:moveTo>
                  <a:pt x="1555987" y="821766"/>
                </a:moveTo>
                <a:lnTo>
                  <a:pt x="1555987" y="822201"/>
                </a:lnTo>
                <a:lnTo>
                  <a:pt x="1556081" y="822189"/>
                </a:lnTo>
                <a:close/>
                <a:moveTo>
                  <a:pt x="1565360" y="810928"/>
                </a:moveTo>
                <a:lnTo>
                  <a:pt x="1564871" y="811809"/>
                </a:lnTo>
                <a:lnTo>
                  <a:pt x="1567314" y="810928"/>
                </a:lnTo>
                <a:close/>
                <a:moveTo>
                  <a:pt x="1563797" y="810928"/>
                </a:moveTo>
                <a:lnTo>
                  <a:pt x="1556762" y="814736"/>
                </a:lnTo>
                <a:lnTo>
                  <a:pt x="1563797" y="812197"/>
                </a:lnTo>
                <a:close/>
                <a:moveTo>
                  <a:pt x="265833" y="806020"/>
                </a:moveTo>
                <a:lnTo>
                  <a:pt x="263704" y="809861"/>
                </a:lnTo>
                <a:lnTo>
                  <a:pt x="263704" y="816750"/>
                </a:lnTo>
                <a:lnTo>
                  <a:pt x="264113" y="816565"/>
                </a:lnTo>
                <a:cubicBezTo>
                  <a:pt x="264048" y="815315"/>
                  <a:pt x="263984" y="814065"/>
                  <a:pt x="263918" y="812777"/>
                </a:cubicBezTo>
                <a:close/>
                <a:moveTo>
                  <a:pt x="263774" y="779374"/>
                </a:moveTo>
                <a:lnTo>
                  <a:pt x="263704" y="783086"/>
                </a:lnTo>
                <a:cubicBezTo>
                  <a:pt x="263961" y="783987"/>
                  <a:pt x="264219" y="784888"/>
                  <a:pt x="264484" y="785816"/>
                </a:cubicBezTo>
                <a:cubicBezTo>
                  <a:pt x="265299" y="788846"/>
                  <a:pt x="265316" y="791337"/>
                  <a:pt x="265265" y="794448"/>
                </a:cubicBezTo>
                <a:cubicBezTo>
                  <a:pt x="265103" y="797155"/>
                  <a:pt x="265022" y="798508"/>
                  <a:pt x="265217" y="799730"/>
                </a:cubicBezTo>
                <a:lnTo>
                  <a:pt x="266556" y="803466"/>
                </a:lnTo>
                <a:lnTo>
                  <a:pt x="267237" y="801063"/>
                </a:lnTo>
                <a:cubicBezTo>
                  <a:pt x="266721" y="800598"/>
                  <a:pt x="266206" y="800133"/>
                  <a:pt x="265675" y="799654"/>
                </a:cubicBezTo>
                <a:cubicBezTo>
                  <a:pt x="265601" y="797718"/>
                  <a:pt x="265617" y="795778"/>
                  <a:pt x="265675" y="793841"/>
                </a:cubicBezTo>
                <a:close/>
                <a:moveTo>
                  <a:pt x="260988" y="770061"/>
                </a:moveTo>
                <a:lnTo>
                  <a:pt x="260988" y="771364"/>
                </a:lnTo>
                <a:lnTo>
                  <a:pt x="263497" y="777263"/>
                </a:lnTo>
                <a:lnTo>
                  <a:pt x="262551" y="770061"/>
                </a:lnTo>
                <a:cubicBezTo>
                  <a:pt x="262035" y="770061"/>
                  <a:pt x="261520" y="770061"/>
                  <a:pt x="260988" y="770061"/>
                </a:cubicBezTo>
                <a:close/>
                <a:moveTo>
                  <a:pt x="157888" y="651686"/>
                </a:moveTo>
                <a:lnTo>
                  <a:pt x="157415" y="651764"/>
                </a:lnTo>
                <a:lnTo>
                  <a:pt x="160373" y="652274"/>
                </a:lnTo>
                <a:close/>
                <a:moveTo>
                  <a:pt x="267237" y="426537"/>
                </a:moveTo>
                <a:lnTo>
                  <a:pt x="267237" y="427619"/>
                </a:lnTo>
                <a:cubicBezTo>
                  <a:pt x="268274" y="427791"/>
                  <a:pt x="269311" y="427961"/>
                  <a:pt x="270380" y="428137"/>
                </a:cubicBezTo>
                <a:lnTo>
                  <a:pt x="273548" y="428680"/>
                </a:lnTo>
                <a:close/>
                <a:moveTo>
                  <a:pt x="37605" y="359270"/>
                </a:moveTo>
                <a:lnTo>
                  <a:pt x="37103" y="361533"/>
                </a:lnTo>
                <a:lnTo>
                  <a:pt x="37605" y="361382"/>
                </a:lnTo>
                <a:close/>
                <a:moveTo>
                  <a:pt x="52477" y="337570"/>
                </a:moveTo>
                <a:lnTo>
                  <a:pt x="47288" y="342340"/>
                </a:lnTo>
                <a:lnTo>
                  <a:pt x="45805" y="345093"/>
                </a:lnTo>
                <a:close/>
                <a:moveTo>
                  <a:pt x="104291" y="336166"/>
                </a:moveTo>
                <a:lnTo>
                  <a:pt x="103776" y="337559"/>
                </a:lnTo>
                <a:lnTo>
                  <a:pt x="108925" y="336166"/>
                </a:lnTo>
                <a:close/>
                <a:moveTo>
                  <a:pt x="1309237" y="322954"/>
                </a:moveTo>
                <a:lnTo>
                  <a:pt x="1309180" y="330559"/>
                </a:lnTo>
                <a:lnTo>
                  <a:pt x="1309237" y="330520"/>
                </a:lnTo>
                <a:close/>
                <a:moveTo>
                  <a:pt x="1308964" y="317715"/>
                </a:moveTo>
                <a:lnTo>
                  <a:pt x="1309237" y="318569"/>
                </a:lnTo>
                <a:lnTo>
                  <a:pt x="1309237" y="317838"/>
                </a:lnTo>
                <a:close/>
                <a:moveTo>
                  <a:pt x="1310087" y="313153"/>
                </a:moveTo>
                <a:lnTo>
                  <a:pt x="1307609" y="313473"/>
                </a:lnTo>
                <a:lnTo>
                  <a:pt x="1308045" y="314836"/>
                </a:lnTo>
                <a:close/>
                <a:moveTo>
                  <a:pt x="1318544" y="312064"/>
                </a:moveTo>
                <a:lnTo>
                  <a:pt x="1316298" y="312353"/>
                </a:lnTo>
                <a:lnTo>
                  <a:pt x="1318544" y="312205"/>
                </a:lnTo>
                <a:close/>
                <a:moveTo>
                  <a:pt x="1084622" y="267674"/>
                </a:moveTo>
                <a:lnTo>
                  <a:pt x="1084227" y="268378"/>
                </a:lnTo>
                <a:cubicBezTo>
                  <a:pt x="1082679" y="268378"/>
                  <a:pt x="1081133" y="268378"/>
                  <a:pt x="1079540" y="268378"/>
                </a:cubicBezTo>
                <a:lnTo>
                  <a:pt x="1079603" y="268477"/>
                </a:lnTo>
                <a:lnTo>
                  <a:pt x="1084192" y="268477"/>
                </a:lnTo>
                <a:close/>
                <a:moveTo>
                  <a:pt x="956410" y="266968"/>
                </a:moveTo>
                <a:lnTo>
                  <a:pt x="957576" y="267083"/>
                </a:lnTo>
                <a:lnTo>
                  <a:pt x="957576" y="269776"/>
                </a:lnTo>
                <a:lnTo>
                  <a:pt x="957694" y="269787"/>
                </a:lnTo>
                <a:cubicBezTo>
                  <a:pt x="957694" y="268857"/>
                  <a:pt x="957694" y="267927"/>
                  <a:pt x="957694" y="266968"/>
                </a:cubicBezTo>
                <a:close/>
                <a:moveTo>
                  <a:pt x="1089372" y="259220"/>
                </a:moveTo>
                <a:lnTo>
                  <a:pt x="1085856" y="265479"/>
                </a:lnTo>
                <a:lnTo>
                  <a:pt x="1088878" y="261431"/>
                </a:lnTo>
                <a:close/>
                <a:moveTo>
                  <a:pt x="1018517" y="223356"/>
                </a:moveTo>
                <a:lnTo>
                  <a:pt x="1013866" y="226190"/>
                </a:lnTo>
                <a:lnTo>
                  <a:pt x="1013024" y="227709"/>
                </a:lnTo>
                <a:lnTo>
                  <a:pt x="1017055" y="224692"/>
                </a:lnTo>
                <a:close/>
                <a:moveTo>
                  <a:pt x="850645" y="220099"/>
                </a:moveTo>
                <a:lnTo>
                  <a:pt x="850897" y="221488"/>
                </a:lnTo>
                <a:cubicBezTo>
                  <a:pt x="851086" y="222545"/>
                  <a:pt x="851275" y="223602"/>
                  <a:pt x="851470" y="224692"/>
                </a:cubicBezTo>
                <a:lnTo>
                  <a:pt x="852860" y="224692"/>
                </a:lnTo>
                <a:close/>
                <a:moveTo>
                  <a:pt x="1155019" y="35"/>
                </a:moveTo>
                <a:cubicBezTo>
                  <a:pt x="1161775" y="275"/>
                  <a:pt x="1168415" y="1783"/>
                  <a:pt x="1174829" y="4853"/>
                </a:cubicBezTo>
                <a:cubicBezTo>
                  <a:pt x="1176343" y="5231"/>
                  <a:pt x="1177858" y="5609"/>
                  <a:pt x="1179418" y="5998"/>
                </a:cubicBezTo>
                <a:cubicBezTo>
                  <a:pt x="1189392" y="9487"/>
                  <a:pt x="1196322" y="14392"/>
                  <a:pt x="1201385" y="22997"/>
                </a:cubicBezTo>
                <a:cubicBezTo>
                  <a:pt x="1206849" y="35244"/>
                  <a:pt x="1206940" y="49865"/>
                  <a:pt x="1201678" y="62191"/>
                </a:cubicBezTo>
                <a:cubicBezTo>
                  <a:pt x="1200594" y="64241"/>
                  <a:pt x="1199461" y="66271"/>
                  <a:pt x="1198261" y="68268"/>
                </a:cubicBezTo>
                <a:cubicBezTo>
                  <a:pt x="1197423" y="69721"/>
                  <a:pt x="1196586" y="71175"/>
                  <a:pt x="1195723" y="72672"/>
                </a:cubicBezTo>
                <a:cubicBezTo>
                  <a:pt x="1194659" y="73980"/>
                  <a:pt x="1194659" y="73980"/>
                  <a:pt x="1193575" y="75314"/>
                </a:cubicBezTo>
                <a:cubicBezTo>
                  <a:pt x="1192544" y="75314"/>
                  <a:pt x="1191512" y="75314"/>
                  <a:pt x="1190450" y="75314"/>
                </a:cubicBezTo>
                <a:cubicBezTo>
                  <a:pt x="1190128" y="76651"/>
                  <a:pt x="1189806" y="77988"/>
                  <a:pt x="1189474" y="79366"/>
                </a:cubicBezTo>
                <a:cubicBezTo>
                  <a:pt x="1187326" y="83769"/>
                  <a:pt x="1187326" y="83769"/>
                  <a:pt x="1182445" y="85707"/>
                </a:cubicBezTo>
                <a:cubicBezTo>
                  <a:pt x="1180962" y="85998"/>
                  <a:pt x="1179480" y="86289"/>
                  <a:pt x="1177953" y="86588"/>
                </a:cubicBezTo>
                <a:cubicBezTo>
                  <a:pt x="1177953" y="87518"/>
                  <a:pt x="1177953" y="88448"/>
                  <a:pt x="1177953" y="89406"/>
                </a:cubicBezTo>
                <a:cubicBezTo>
                  <a:pt x="1175369" y="91088"/>
                  <a:pt x="1172720" y="92688"/>
                  <a:pt x="1170045" y="94251"/>
                </a:cubicBezTo>
                <a:cubicBezTo>
                  <a:pt x="1154651" y="104199"/>
                  <a:pt x="1148918" y="116979"/>
                  <a:pt x="1143806" y="132828"/>
                </a:cubicBezTo>
                <a:cubicBezTo>
                  <a:pt x="1142095" y="137144"/>
                  <a:pt x="1140989" y="138617"/>
                  <a:pt x="1137338" y="141548"/>
                </a:cubicBezTo>
                <a:cubicBezTo>
                  <a:pt x="1136166" y="144148"/>
                  <a:pt x="1134992" y="146751"/>
                  <a:pt x="1133970" y="149403"/>
                </a:cubicBezTo>
                <a:cubicBezTo>
                  <a:pt x="1132069" y="154334"/>
                  <a:pt x="1130006" y="159210"/>
                  <a:pt x="1127965" y="164095"/>
                </a:cubicBezTo>
                <a:cubicBezTo>
                  <a:pt x="1126897" y="166664"/>
                  <a:pt x="1125830" y="169233"/>
                  <a:pt x="1124762" y="171802"/>
                </a:cubicBezTo>
                <a:cubicBezTo>
                  <a:pt x="1122961" y="176134"/>
                  <a:pt x="1121160" y="180466"/>
                  <a:pt x="1119359" y="184798"/>
                </a:cubicBezTo>
                <a:cubicBezTo>
                  <a:pt x="1116567" y="191508"/>
                  <a:pt x="1113778" y="198220"/>
                  <a:pt x="1111014" y="204941"/>
                </a:cubicBezTo>
                <a:cubicBezTo>
                  <a:pt x="1110590" y="205970"/>
                  <a:pt x="1110165" y="206999"/>
                  <a:pt x="1109729" y="208059"/>
                </a:cubicBezTo>
                <a:cubicBezTo>
                  <a:pt x="1108615" y="210762"/>
                  <a:pt x="1107505" y="213466"/>
                  <a:pt x="1106395" y="216170"/>
                </a:cubicBezTo>
                <a:cubicBezTo>
                  <a:pt x="1104320" y="220956"/>
                  <a:pt x="1103283" y="223349"/>
                  <a:pt x="1102147" y="224810"/>
                </a:cubicBezTo>
                <a:lnTo>
                  <a:pt x="1098261" y="227262"/>
                </a:lnTo>
                <a:lnTo>
                  <a:pt x="1098367" y="238475"/>
                </a:lnTo>
                <a:cubicBezTo>
                  <a:pt x="1098025" y="239757"/>
                  <a:pt x="1097684" y="241038"/>
                  <a:pt x="1097331" y="242358"/>
                </a:cubicBezTo>
                <a:cubicBezTo>
                  <a:pt x="1096958" y="243711"/>
                  <a:pt x="1096585" y="245064"/>
                  <a:pt x="1096201" y="246458"/>
                </a:cubicBezTo>
                <a:cubicBezTo>
                  <a:pt x="1093302" y="257363"/>
                  <a:pt x="1090901" y="268062"/>
                  <a:pt x="1089440" y="279206"/>
                </a:cubicBezTo>
                <a:cubicBezTo>
                  <a:pt x="1088878" y="282569"/>
                  <a:pt x="1088878" y="282569"/>
                  <a:pt x="1087316" y="283978"/>
                </a:cubicBezTo>
                <a:cubicBezTo>
                  <a:pt x="1087070" y="286587"/>
                  <a:pt x="1086924" y="289205"/>
                  <a:pt x="1086822" y="291822"/>
                </a:cubicBezTo>
                <a:cubicBezTo>
                  <a:pt x="1086756" y="293408"/>
                  <a:pt x="1086691" y="294993"/>
                  <a:pt x="1086623" y="296625"/>
                </a:cubicBezTo>
                <a:cubicBezTo>
                  <a:pt x="1086562" y="298294"/>
                  <a:pt x="1086501" y="299962"/>
                  <a:pt x="1086437" y="301681"/>
                </a:cubicBezTo>
                <a:cubicBezTo>
                  <a:pt x="1086336" y="304192"/>
                  <a:pt x="1086336" y="304192"/>
                  <a:pt x="1086233" y="306754"/>
                </a:cubicBezTo>
                <a:lnTo>
                  <a:pt x="1086007" y="312619"/>
                </a:lnTo>
                <a:lnTo>
                  <a:pt x="1087470" y="320554"/>
                </a:lnTo>
                <a:cubicBezTo>
                  <a:pt x="1089648" y="325409"/>
                  <a:pt x="1093111" y="329799"/>
                  <a:pt x="1098285" y="334611"/>
                </a:cubicBezTo>
                <a:cubicBezTo>
                  <a:pt x="1100424" y="336130"/>
                  <a:pt x="1100424" y="336130"/>
                  <a:pt x="1102607" y="337679"/>
                </a:cubicBezTo>
                <a:cubicBezTo>
                  <a:pt x="1104334" y="338951"/>
                  <a:pt x="1104334" y="338951"/>
                  <a:pt x="1106095" y="340248"/>
                </a:cubicBezTo>
                <a:cubicBezTo>
                  <a:pt x="1106095" y="341178"/>
                  <a:pt x="1106095" y="342108"/>
                  <a:pt x="1106095" y="343066"/>
                </a:cubicBezTo>
                <a:cubicBezTo>
                  <a:pt x="1107127" y="343183"/>
                  <a:pt x="1108158" y="343299"/>
                  <a:pt x="1109220" y="343419"/>
                </a:cubicBezTo>
                <a:cubicBezTo>
                  <a:pt x="1115473" y="344829"/>
                  <a:pt x="1120724" y="347416"/>
                  <a:pt x="1126403" y="350112"/>
                </a:cubicBezTo>
                <a:cubicBezTo>
                  <a:pt x="1128207" y="350926"/>
                  <a:pt x="1130012" y="351740"/>
                  <a:pt x="1131871" y="352579"/>
                </a:cubicBezTo>
                <a:cubicBezTo>
                  <a:pt x="1133159" y="353160"/>
                  <a:pt x="1134448" y="353741"/>
                  <a:pt x="1135776" y="354340"/>
                </a:cubicBezTo>
                <a:cubicBezTo>
                  <a:pt x="1135776" y="355270"/>
                  <a:pt x="1135776" y="356200"/>
                  <a:pt x="1135776" y="357158"/>
                </a:cubicBezTo>
                <a:cubicBezTo>
                  <a:pt x="1148107" y="360029"/>
                  <a:pt x="1158679" y="359101"/>
                  <a:pt x="1170143" y="354340"/>
                </a:cubicBezTo>
                <a:cubicBezTo>
                  <a:pt x="1172366" y="353468"/>
                  <a:pt x="1172366" y="353468"/>
                  <a:pt x="1174634" y="352579"/>
                </a:cubicBezTo>
                <a:cubicBezTo>
                  <a:pt x="1180354" y="349689"/>
                  <a:pt x="1185568" y="346355"/>
                  <a:pt x="1190890" y="342907"/>
                </a:cubicBezTo>
                <a:cubicBezTo>
                  <a:pt x="1195169" y="340228"/>
                  <a:pt x="1199557" y="337821"/>
                  <a:pt x="1204021" y="335404"/>
                </a:cubicBezTo>
                <a:cubicBezTo>
                  <a:pt x="1211989" y="330886"/>
                  <a:pt x="1217509" y="325766"/>
                  <a:pt x="1223255" y="319110"/>
                </a:cubicBezTo>
                <a:cubicBezTo>
                  <a:pt x="1224447" y="317947"/>
                  <a:pt x="1225639" y="316784"/>
                  <a:pt x="1226868" y="315587"/>
                </a:cubicBezTo>
                <a:cubicBezTo>
                  <a:pt x="1229855" y="311593"/>
                  <a:pt x="1230852" y="308240"/>
                  <a:pt x="1231859" y="303559"/>
                </a:cubicBezTo>
                <a:cubicBezTo>
                  <a:pt x="1232628" y="300790"/>
                  <a:pt x="1232628" y="300790"/>
                  <a:pt x="1234178" y="298059"/>
                </a:cubicBezTo>
                <a:cubicBezTo>
                  <a:pt x="1235964" y="294761"/>
                  <a:pt x="1236623" y="291807"/>
                  <a:pt x="1237314" y="288195"/>
                </a:cubicBezTo>
                <a:cubicBezTo>
                  <a:pt x="1239360" y="278571"/>
                  <a:pt x="1242414" y="272733"/>
                  <a:pt x="1249811" y="265559"/>
                </a:cubicBezTo>
                <a:cubicBezTo>
                  <a:pt x="1250842" y="265559"/>
                  <a:pt x="1251873" y="265559"/>
                  <a:pt x="1252935" y="265559"/>
                </a:cubicBezTo>
                <a:cubicBezTo>
                  <a:pt x="1252935" y="264629"/>
                  <a:pt x="1252935" y="263699"/>
                  <a:pt x="1252935" y="262741"/>
                </a:cubicBezTo>
                <a:cubicBezTo>
                  <a:pt x="1265591" y="253427"/>
                  <a:pt x="1280762" y="251648"/>
                  <a:pt x="1296675" y="252876"/>
                </a:cubicBezTo>
                <a:cubicBezTo>
                  <a:pt x="1300535" y="253563"/>
                  <a:pt x="1303901" y="254478"/>
                  <a:pt x="1307609" y="255695"/>
                </a:cubicBezTo>
                <a:cubicBezTo>
                  <a:pt x="1307609" y="256625"/>
                  <a:pt x="1307609" y="257555"/>
                  <a:pt x="1307609" y="258513"/>
                </a:cubicBezTo>
                <a:cubicBezTo>
                  <a:pt x="1309021" y="258619"/>
                  <a:pt x="1310432" y="258723"/>
                  <a:pt x="1311887" y="258832"/>
                </a:cubicBezTo>
                <a:cubicBezTo>
                  <a:pt x="1319573" y="260476"/>
                  <a:pt x="1322149" y="264416"/>
                  <a:pt x="1326715" y="269969"/>
                </a:cubicBezTo>
                <a:cubicBezTo>
                  <a:pt x="1334402" y="281220"/>
                  <a:pt x="1336114" y="294839"/>
                  <a:pt x="1334165" y="307836"/>
                </a:cubicBezTo>
                <a:cubicBezTo>
                  <a:pt x="1332176" y="311898"/>
                  <a:pt x="1332176" y="311898"/>
                  <a:pt x="1329479" y="314882"/>
                </a:cubicBezTo>
                <a:cubicBezTo>
                  <a:pt x="1327417" y="314882"/>
                  <a:pt x="1325355" y="314882"/>
                  <a:pt x="1323231" y="314882"/>
                </a:cubicBezTo>
                <a:cubicBezTo>
                  <a:pt x="1323231" y="315812"/>
                  <a:pt x="1323231" y="316742"/>
                  <a:pt x="1323231" y="317700"/>
                </a:cubicBezTo>
                <a:lnTo>
                  <a:pt x="1322774" y="317838"/>
                </a:lnTo>
                <a:lnTo>
                  <a:pt x="1323295" y="317838"/>
                </a:lnTo>
                <a:cubicBezTo>
                  <a:pt x="1323295" y="316907"/>
                  <a:pt x="1323295" y="315977"/>
                  <a:pt x="1323295" y="315019"/>
                </a:cubicBezTo>
                <a:cubicBezTo>
                  <a:pt x="1324842" y="315019"/>
                  <a:pt x="1326388" y="315019"/>
                  <a:pt x="1327982" y="315019"/>
                </a:cubicBezTo>
                <a:cubicBezTo>
                  <a:pt x="1325845" y="321328"/>
                  <a:pt x="1322753" y="323742"/>
                  <a:pt x="1317047" y="327702"/>
                </a:cubicBezTo>
                <a:cubicBezTo>
                  <a:pt x="1316531" y="329097"/>
                  <a:pt x="1316016" y="330492"/>
                  <a:pt x="1315484" y="331930"/>
                </a:cubicBezTo>
                <a:cubicBezTo>
                  <a:pt x="1312599" y="332959"/>
                  <a:pt x="1312599" y="332959"/>
                  <a:pt x="1309139" y="333603"/>
                </a:cubicBezTo>
                <a:cubicBezTo>
                  <a:pt x="1307993" y="333827"/>
                  <a:pt x="1306847" y="334050"/>
                  <a:pt x="1305666" y="334280"/>
                </a:cubicBezTo>
                <a:cubicBezTo>
                  <a:pt x="1304783" y="334434"/>
                  <a:pt x="1303899" y="334589"/>
                  <a:pt x="1302988" y="334748"/>
                </a:cubicBezTo>
                <a:lnTo>
                  <a:pt x="1305905" y="332775"/>
                </a:lnTo>
                <a:lnTo>
                  <a:pt x="1304485" y="333202"/>
                </a:lnTo>
                <a:cubicBezTo>
                  <a:pt x="1302987" y="334640"/>
                  <a:pt x="1302987" y="334640"/>
                  <a:pt x="1301459" y="336108"/>
                </a:cubicBezTo>
                <a:cubicBezTo>
                  <a:pt x="1298237" y="338839"/>
                  <a:pt x="1298237" y="338839"/>
                  <a:pt x="1291989" y="338839"/>
                </a:cubicBezTo>
                <a:cubicBezTo>
                  <a:pt x="1291473" y="340234"/>
                  <a:pt x="1290957" y="341629"/>
                  <a:pt x="1290426" y="343066"/>
                </a:cubicBezTo>
                <a:cubicBezTo>
                  <a:pt x="1288879" y="343415"/>
                  <a:pt x="1287333" y="343764"/>
                  <a:pt x="1285740" y="344123"/>
                </a:cubicBezTo>
                <a:cubicBezTo>
                  <a:pt x="1266905" y="348491"/>
                  <a:pt x="1249005" y="369098"/>
                  <a:pt x="1237314" y="382525"/>
                </a:cubicBezTo>
                <a:cubicBezTo>
                  <a:pt x="1235678" y="385783"/>
                  <a:pt x="1234122" y="389075"/>
                  <a:pt x="1232628" y="392389"/>
                </a:cubicBezTo>
                <a:cubicBezTo>
                  <a:pt x="1231317" y="394515"/>
                  <a:pt x="1229981" y="396629"/>
                  <a:pt x="1228625" y="398731"/>
                </a:cubicBezTo>
                <a:cubicBezTo>
                  <a:pt x="1221457" y="410300"/>
                  <a:pt x="1219465" y="421836"/>
                  <a:pt x="1222822" y="434798"/>
                </a:cubicBezTo>
                <a:cubicBezTo>
                  <a:pt x="1229360" y="453710"/>
                  <a:pt x="1244088" y="472467"/>
                  <a:pt x="1260746" y="485398"/>
                </a:cubicBezTo>
                <a:cubicBezTo>
                  <a:pt x="1264961" y="487349"/>
                  <a:pt x="1264961" y="487349"/>
                  <a:pt x="1268556" y="488216"/>
                </a:cubicBezTo>
                <a:cubicBezTo>
                  <a:pt x="1268556" y="489146"/>
                  <a:pt x="1268556" y="490076"/>
                  <a:pt x="1268556" y="491034"/>
                </a:cubicBezTo>
                <a:cubicBezTo>
                  <a:pt x="1288790" y="497071"/>
                  <a:pt x="1319055" y="498555"/>
                  <a:pt x="1338852" y="489625"/>
                </a:cubicBezTo>
                <a:cubicBezTo>
                  <a:pt x="1341711" y="489213"/>
                  <a:pt x="1344575" y="488837"/>
                  <a:pt x="1347444" y="488480"/>
                </a:cubicBezTo>
                <a:cubicBezTo>
                  <a:pt x="1355372" y="487345"/>
                  <a:pt x="1362033" y="485390"/>
                  <a:pt x="1369362" y="482513"/>
                </a:cubicBezTo>
                <a:cubicBezTo>
                  <a:pt x="1375665" y="480318"/>
                  <a:pt x="1382189" y="479322"/>
                  <a:pt x="1388840" y="478351"/>
                </a:cubicBezTo>
                <a:cubicBezTo>
                  <a:pt x="1388840" y="477421"/>
                  <a:pt x="1388840" y="476492"/>
                  <a:pt x="1388840" y="475533"/>
                </a:cubicBezTo>
                <a:cubicBezTo>
                  <a:pt x="1391083" y="474821"/>
                  <a:pt x="1393329" y="474118"/>
                  <a:pt x="1395576" y="473419"/>
                </a:cubicBezTo>
                <a:cubicBezTo>
                  <a:pt x="1396827" y="473027"/>
                  <a:pt x="1398077" y="472635"/>
                  <a:pt x="1399365" y="472230"/>
                </a:cubicBezTo>
                <a:cubicBezTo>
                  <a:pt x="1402899" y="471305"/>
                  <a:pt x="1402899" y="471305"/>
                  <a:pt x="1407585" y="471305"/>
                </a:cubicBezTo>
                <a:cubicBezTo>
                  <a:pt x="1408101" y="469910"/>
                  <a:pt x="1408616" y="468515"/>
                  <a:pt x="1409147" y="467078"/>
                </a:cubicBezTo>
                <a:cubicBezTo>
                  <a:pt x="1412388" y="465580"/>
                  <a:pt x="1412388" y="465580"/>
                  <a:pt x="1416470" y="464259"/>
                </a:cubicBezTo>
                <a:cubicBezTo>
                  <a:pt x="1424029" y="461705"/>
                  <a:pt x="1431130" y="458955"/>
                  <a:pt x="1437949" y="455011"/>
                </a:cubicBezTo>
                <a:cubicBezTo>
                  <a:pt x="1442765" y="452574"/>
                  <a:pt x="1447553" y="451394"/>
                  <a:pt x="1452887" y="450167"/>
                </a:cubicBezTo>
                <a:cubicBezTo>
                  <a:pt x="1452887" y="449237"/>
                  <a:pt x="1452887" y="448307"/>
                  <a:pt x="1452887" y="447349"/>
                </a:cubicBezTo>
                <a:cubicBezTo>
                  <a:pt x="1453714" y="446944"/>
                  <a:pt x="1454541" y="446539"/>
                  <a:pt x="1455394" y="446122"/>
                </a:cubicBezTo>
                <a:cubicBezTo>
                  <a:pt x="1459151" y="444278"/>
                  <a:pt x="1462902" y="442422"/>
                  <a:pt x="1466653" y="440567"/>
                </a:cubicBezTo>
                <a:cubicBezTo>
                  <a:pt x="1467955" y="439930"/>
                  <a:pt x="1469256" y="439293"/>
                  <a:pt x="1470598" y="438637"/>
                </a:cubicBezTo>
                <a:cubicBezTo>
                  <a:pt x="1471852" y="438016"/>
                  <a:pt x="1473105" y="437393"/>
                  <a:pt x="1474397" y="436752"/>
                </a:cubicBezTo>
                <a:cubicBezTo>
                  <a:pt x="1475550" y="436184"/>
                  <a:pt x="1476703" y="435616"/>
                  <a:pt x="1477892" y="435030"/>
                </a:cubicBezTo>
                <a:cubicBezTo>
                  <a:pt x="1480966" y="433279"/>
                  <a:pt x="1483173" y="431373"/>
                  <a:pt x="1485691" y="429029"/>
                </a:cubicBezTo>
                <a:cubicBezTo>
                  <a:pt x="1486737" y="428575"/>
                  <a:pt x="1487781" y="428121"/>
                  <a:pt x="1488858" y="427653"/>
                </a:cubicBezTo>
                <a:cubicBezTo>
                  <a:pt x="1492438" y="425977"/>
                  <a:pt x="1493705" y="424453"/>
                  <a:pt x="1495943" y="421454"/>
                </a:cubicBezTo>
                <a:cubicBezTo>
                  <a:pt x="1507114" y="407544"/>
                  <a:pt x="1519758" y="393513"/>
                  <a:pt x="1538608" y="388338"/>
                </a:cubicBezTo>
                <a:cubicBezTo>
                  <a:pt x="1541025" y="388250"/>
                  <a:pt x="1541025" y="388250"/>
                  <a:pt x="1543490" y="388161"/>
                </a:cubicBezTo>
                <a:cubicBezTo>
                  <a:pt x="1545535" y="387984"/>
                  <a:pt x="1545535" y="387984"/>
                  <a:pt x="1547621" y="387804"/>
                </a:cubicBezTo>
                <a:cubicBezTo>
                  <a:pt x="1560659" y="387094"/>
                  <a:pt x="1568716" y="390117"/>
                  <a:pt x="1579418" y="396617"/>
                </a:cubicBezTo>
                <a:cubicBezTo>
                  <a:pt x="1581361" y="397687"/>
                  <a:pt x="1581361" y="397687"/>
                  <a:pt x="1583342" y="398780"/>
                </a:cubicBezTo>
                <a:cubicBezTo>
                  <a:pt x="1593703" y="405068"/>
                  <a:pt x="1598513" y="412459"/>
                  <a:pt x="1601288" y="423392"/>
                </a:cubicBezTo>
                <a:cubicBezTo>
                  <a:pt x="1603295" y="436596"/>
                  <a:pt x="1603517" y="449033"/>
                  <a:pt x="1594484" y="460159"/>
                </a:cubicBezTo>
                <a:cubicBezTo>
                  <a:pt x="1588468" y="466462"/>
                  <a:pt x="1582607" y="471150"/>
                  <a:pt x="1574732" y="475533"/>
                </a:cubicBezTo>
                <a:cubicBezTo>
                  <a:pt x="1573862" y="476043"/>
                  <a:pt x="1572993" y="476553"/>
                  <a:pt x="1572097" y="477078"/>
                </a:cubicBezTo>
                <a:cubicBezTo>
                  <a:pt x="1566828" y="478935"/>
                  <a:pt x="1561641" y="478744"/>
                  <a:pt x="1556066" y="478737"/>
                </a:cubicBezTo>
                <a:cubicBezTo>
                  <a:pt x="1553587" y="478765"/>
                  <a:pt x="1551109" y="478795"/>
                  <a:pt x="1548631" y="478825"/>
                </a:cubicBezTo>
                <a:cubicBezTo>
                  <a:pt x="1544751" y="478857"/>
                  <a:pt x="1540871" y="478880"/>
                  <a:pt x="1536991" y="478889"/>
                </a:cubicBezTo>
                <a:cubicBezTo>
                  <a:pt x="1516714" y="478693"/>
                  <a:pt x="1516714" y="478693"/>
                  <a:pt x="1498188" y="485398"/>
                </a:cubicBezTo>
                <a:cubicBezTo>
                  <a:pt x="1496062" y="486488"/>
                  <a:pt x="1496062" y="486488"/>
                  <a:pt x="1493892" y="487600"/>
                </a:cubicBezTo>
                <a:cubicBezTo>
                  <a:pt x="1492733" y="488268"/>
                  <a:pt x="1491573" y="488937"/>
                  <a:pt x="1490377" y="489625"/>
                </a:cubicBezTo>
                <a:cubicBezTo>
                  <a:pt x="1484304" y="493012"/>
                  <a:pt x="1478212" y="495675"/>
                  <a:pt x="1471650" y="498185"/>
                </a:cubicBezTo>
                <a:cubicBezTo>
                  <a:pt x="1467148" y="500054"/>
                  <a:pt x="1463242" y="502632"/>
                  <a:pt x="1459135" y="505127"/>
                </a:cubicBezTo>
                <a:cubicBezTo>
                  <a:pt x="1456968" y="506120"/>
                  <a:pt x="1454786" y="507086"/>
                  <a:pt x="1452594" y="508033"/>
                </a:cubicBezTo>
                <a:cubicBezTo>
                  <a:pt x="1444148" y="511772"/>
                  <a:pt x="1435969" y="515903"/>
                  <a:pt x="1427795" y="520100"/>
                </a:cubicBezTo>
                <a:cubicBezTo>
                  <a:pt x="1425784" y="521114"/>
                  <a:pt x="1425784" y="521114"/>
                  <a:pt x="1423733" y="522148"/>
                </a:cubicBezTo>
                <a:cubicBezTo>
                  <a:pt x="1422478" y="522798"/>
                  <a:pt x="1421223" y="523449"/>
                  <a:pt x="1419929" y="524118"/>
                </a:cubicBezTo>
                <a:cubicBezTo>
                  <a:pt x="1418794" y="524701"/>
                  <a:pt x="1417658" y="525283"/>
                  <a:pt x="1416487" y="525883"/>
                </a:cubicBezTo>
                <a:cubicBezTo>
                  <a:pt x="1413349" y="527646"/>
                  <a:pt x="1413349" y="527646"/>
                  <a:pt x="1412271" y="531902"/>
                </a:cubicBezTo>
                <a:cubicBezTo>
                  <a:pt x="1407205" y="535203"/>
                  <a:pt x="1402819" y="536744"/>
                  <a:pt x="1396650" y="537539"/>
                </a:cubicBezTo>
                <a:cubicBezTo>
                  <a:pt x="1396650" y="538469"/>
                  <a:pt x="1396650" y="539399"/>
                  <a:pt x="1396650" y="540357"/>
                </a:cubicBezTo>
                <a:cubicBezTo>
                  <a:pt x="1395609" y="540735"/>
                  <a:pt x="1394568" y="541113"/>
                  <a:pt x="1393495" y="541502"/>
                </a:cubicBezTo>
                <a:cubicBezTo>
                  <a:pt x="1381840" y="545973"/>
                  <a:pt x="1372279" y="551715"/>
                  <a:pt x="1362284" y="558678"/>
                </a:cubicBezTo>
                <a:cubicBezTo>
                  <a:pt x="1360170" y="560088"/>
                  <a:pt x="1358055" y="561497"/>
                  <a:pt x="1355937" y="562905"/>
                </a:cubicBezTo>
                <a:cubicBezTo>
                  <a:pt x="1348556" y="567937"/>
                  <a:pt x="1341292" y="573085"/>
                  <a:pt x="1334165" y="578406"/>
                </a:cubicBezTo>
                <a:cubicBezTo>
                  <a:pt x="1332697" y="579472"/>
                  <a:pt x="1332697" y="579472"/>
                  <a:pt x="1331200" y="580559"/>
                </a:cubicBezTo>
                <a:cubicBezTo>
                  <a:pt x="1325067" y="585430"/>
                  <a:pt x="1323406" y="589771"/>
                  <a:pt x="1322175" y="596793"/>
                </a:cubicBezTo>
                <a:cubicBezTo>
                  <a:pt x="1321669" y="599545"/>
                  <a:pt x="1321669" y="599545"/>
                  <a:pt x="1320106" y="602363"/>
                </a:cubicBezTo>
                <a:cubicBezTo>
                  <a:pt x="1318419" y="618189"/>
                  <a:pt x="1322416" y="632767"/>
                  <a:pt x="1328015" y="647640"/>
                </a:cubicBezTo>
                <a:cubicBezTo>
                  <a:pt x="1331267" y="656625"/>
                  <a:pt x="1333170" y="666179"/>
                  <a:pt x="1332604" y="675643"/>
                </a:cubicBezTo>
                <a:cubicBezTo>
                  <a:pt x="1333634" y="675643"/>
                  <a:pt x="1334665" y="675643"/>
                  <a:pt x="1335727" y="675643"/>
                </a:cubicBezTo>
                <a:cubicBezTo>
                  <a:pt x="1337571" y="680632"/>
                  <a:pt x="1337591" y="684795"/>
                  <a:pt x="1337741" y="690059"/>
                </a:cubicBezTo>
                <a:cubicBezTo>
                  <a:pt x="1337826" y="692114"/>
                  <a:pt x="1337913" y="694168"/>
                  <a:pt x="1338003" y="696222"/>
                </a:cubicBezTo>
                <a:cubicBezTo>
                  <a:pt x="1338142" y="699444"/>
                  <a:pt x="1338266" y="702664"/>
                  <a:pt x="1338340" y="705887"/>
                </a:cubicBezTo>
                <a:cubicBezTo>
                  <a:pt x="1338372" y="720474"/>
                  <a:pt x="1338372" y="720474"/>
                  <a:pt x="1345277" y="733245"/>
                </a:cubicBezTo>
                <a:cubicBezTo>
                  <a:pt x="1350822" y="737861"/>
                  <a:pt x="1355921" y="739823"/>
                  <a:pt x="1363162" y="741612"/>
                </a:cubicBezTo>
                <a:cubicBezTo>
                  <a:pt x="1370672" y="743533"/>
                  <a:pt x="1377197" y="745750"/>
                  <a:pt x="1384154" y="748922"/>
                </a:cubicBezTo>
                <a:cubicBezTo>
                  <a:pt x="1387833" y="749898"/>
                  <a:pt x="1387833" y="749898"/>
                  <a:pt x="1391476" y="750419"/>
                </a:cubicBezTo>
                <a:cubicBezTo>
                  <a:pt x="1393499" y="750747"/>
                  <a:pt x="1393499" y="750747"/>
                  <a:pt x="1395564" y="751080"/>
                </a:cubicBezTo>
                <a:cubicBezTo>
                  <a:pt x="1397648" y="751407"/>
                  <a:pt x="1397648" y="751407"/>
                  <a:pt x="1399775" y="751740"/>
                </a:cubicBezTo>
                <a:cubicBezTo>
                  <a:pt x="1401810" y="752111"/>
                  <a:pt x="1401810" y="752111"/>
                  <a:pt x="1403887" y="752489"/>
                </a:cubicBezTo>
                <a:cubicBezTo>
                  <a:pt x="1424247" y="756131"/>
                  <a:pt x="1444708" y="756350"/>
                  <a:pt x="1465383" y="755969"/>
                </a:cubicBezTo>
                <a:cubicBezTo>
                  <a:pt x="1467019" y="755945"/>
                  <a:pt x="1468654" y="755921"/>
                  <a:pt x="1470339" y="755897"/>
                </a:cubicBezTo>
                <a:cubicBezTo>
                  <a:pt x="1480128" y="755450"/>
                  <a:pt x="1487899" y="752933"/>
                  <a:pt x="1496809" y="749313"/>
                </a:cubicBezTo>
                <a:cubicBezTo>
                  <a:pt x="1502876" y="746888"/>
                  <a:pt x="1509049" y="745091"/>
                  <a:pt x="1515371" y="743285"/>
                </a:cubicBezTo>
                <a:cubicBezTo>
                  <a:pt x="1515371" y="742356"/>
                  <a:pt x="1515371" y="741425"/>
                  <a:pt x="1515371" y="740467"/>
                </a:cubicBezTo>
                <a:cubicBezTo>
                  <a:pt x="1522710" y="737103"/>
                  <a:pt x="1529583" y="737106"/>
                  <a:pt x="1537632" y="737120"/>
                </a:cubicBezTo>
                <a:cubicBezTo>
                  <a:pt x="1538960" y="737122"/>
                  <a:pt x="1540289" y="737124"/>
                  <a:pt x="1541657" y="737127"/>
                </a:cubicBezTo>
                <a:cubicBezTo>
                  <a:pt x="1555502" y="737372"/>
                  <a:pt x="1564314" y="740697"/>
                  <a:pt x="1574732" y="748922"/>
                </a:cubicBezTo>
                <a:cubicBezTo>
                  <a:pt x="1586507" y="762822"/>
                  <a:pt x="1590347" y="775219"/>
                  <a:pt x="1588791" y="792608"/>
                </a:cubicBezTo>
                <a:cubicBezTo>
                  <a:pt x="1587728" y="797050"/>
                  <a:pt x="1586468" y="801261"/>
                  <a:pt x="1584105" y="805291"/>
                </a:cubicBezTo>
                <a:cubicBezTo>
                  <a:pt x="1583074" y="805756"/>
                  <a:pt x="1582043" y="806221"/>
                  <a:pt x="1580981" y="806700"/>
                </a:cubicBezTo>
                <a:cubicBezTo>
                  <a:pt x="1580240" y="807892"/>
                  <a:pt x="1579499" y="809083"/>
                  <a:pt x="1578735" y="810311"/>
                </a:cubicBezTo>
                <a:cubicBezTo>
                  <a:pt x="1577930" y="811445"/>
                  <a:pt x="1577124" y="812579"/>
                  <a:pt x="1576295" y="813746"/>
                </a:cubicBezTo>
                <a:lnTo>
                  <a:pt x="1571652" y="813746"/>
                </a:lnTo>
                <a:lnTo>
                  <a:pt x="1571785" y="814106"/>
                </a:lnTo>
                <a:cubicBezTo>
                  <a:pt x="1572816" y="814571"/>
                  <a:pt x="1573846" y="815036"/>
                  <a:pt x="1574909" y="815515"/>
                </a:cubicBezTo>
                <a:cubicBezTo>
                  <a:pt x="1572126" y="818758"/>
                  <a:pt x="1569968" y="820871"/>
                  <a:pt x="1565463" y="821839"/>
                </a:cubicBezTo>
                <a:lnTo>
                  <a:pt x="1562085" y="822101"/>
                </a:lnTo>
                <a:lnTo>
                  <a:pt x="1551301" y="825020"/>
                </a:lnTo>
                <a:cubicBezTo>
                  <a:pt x="1551301" y="825950"/>
                  <a:pt x="1551301" y="826880"/>
                  <a:pt x="1551301" y="827838"/>
                </a:cubicBezTo>
                <a:cubicBezTo>
                  <a:pt x="1526697" y="828735"/>
                  <a:pt x="1507496" y="825036"/>
                  <a:pt x="1485380" y="815007"/>
                </a:cubicBezTo>
                <a:cubicBezTo>
                  <a:pt x="1468723" y="807743"/>
                  <a:pt x="1449749" y="809144"/>
                  <a:pt x="1431603" y="808726"/>
                </a:cubicBezTo>
                <a:cubicBezTo>
                  <a:pt x="1429115" y="808665"/>
                  <a:pt x="1426627" y="808604"/>
                  <a:pt x="1424140" y="808542"/>
                </a:cubicBezTo>
                <a:cubicBezTo>
                  <a:pt x="1418101" y="808392"/>
                  <a:pt x="1412062" y="808249"/>
                  <a:pt x="1406023" y="808109"/>
                </a:cubicBezTo>
                <a:cubicBezTo>
                  <a:pt x="1406023" y="809040"/>
                  <a:pt x="1406023" y="809970"/>
                  <a:pt x="1406023" y="810928"/>
                </a:cubicBezTo>
                <a:cubicBezTo>
                  <a:pt x="1404716" y="811118"/>
                  <a:pt x="1404716" y="811118"/>
                  <a:pt x="1403383" y="811311"/>
                </a:cubicBezTo>
                <a:cubicBezTo>
                  <a:pt x="1372054" y="815110"/>
                  <a:pt x="1372054" y="815110"/>
                  <a:pt x="1345442" y="828907"/>
                </a:cubicBezTo>
                <a:cubicBezTo>
                  <a:pt x="1338843" y="837605"/>
                  <a:pt x="1338313" y="846434"/>
                  <a:pt x="1337875" y="856639"/>
                </a:cubicBezTo>
                <a:cubicBezTo>
                  <a:pt x="1337815" y="857805"/>
                  <a:pt x="1337754" y="858970"/>
                  <a:pt x="1337692" y="860171"/>
                </a:cubicBezTo>
                <a:cubicBezTo>
                  <a:pt x="1337547" y="863016"/>
                  <a:pt x="1337417" y="865861"/>
                  <a:pt x="1337290" y="868706"/>
                </a:cubicBezTo>
                <a:cubicBezTo>
                  <a:pt x="1336258" y="868706"/>
                  <a:pt x="1335228" y="868706"/>
                  <a:pt x="1334165" y="868706"/>
                </a:cubicBezTo>
                <a:lnTo>
                  <a:pt x="1334165" y="870034"/>
                </a:lnTo>
                <a:lnTo>
                  <a:pt x="1334237" y="869093"/>
                </a:lnTo>
                <a:cubicBezTo>
                  <a:pt x="1334753" y="869093"/>
                  <a:pt x="1335268" y="869093"/>
                  <a:pt x="1335800" y="869093"/>
                </a:cubicBezTo>
                <a:cubicBezTo>
                  <a:pt x="1335884" y="871559"/>
                  <a:pt x="1335944" y="874025"/>
                  <a:pt x="1335995" y="876491"/>
                </a:cubicBezTo>
                <a:cubicBezTo>
                  <a:pt x="1336030" y="877865"/>
                  <a:pt x="1336067" y="879238"/>
                  <a:pt x="1336105" y="880653"/>
                </a:cubicBezTo>
                <a:cubicBezTo>
                  <a:pt x="1335800" y="884594"/>
                  <a:pt x="1335800" y="884594"/>
                  <a:pt x="1334294" y="887271"/>
                </a:cubicBezTo>
                <a:cubicBezTo>
                  <a:pt x="1332567" y="890428"/>
                  <a:pt x="1331982" y="892964"/>
                  <a:pt x="1331455" y="896440"/>
                </a:cubicBezTo>
                <a:cubicBezTo>
                  <a:pt x="1331267" y="897605"/>
                  <a:pt x="1331080" y="898769"/>
                  <a:pt x="1330887" y="899969"/>
                </a:cubicBezTo>
                <a:cubicBezTo>
                  <a:pt x="1330704" y="901174"/>
                  <a:pt x="1330521" y="902378"/>
                  <a:pt x="1330332" y="903618"/>
                </a:cubicBezTo>
                <a:cubicBezTo>
                  <a:pt x="1329968" y="906013"/>
                  <a:pt x="1329594" y="908405"/>
                  <a:pt x="1329209" y="910797"/>
                </a:cubicBezTo>
                <a:cubicBezTo>
                  <a:pt x="1329049" y="911853"/>
                  <a:pt x="1328889" y="912910"/>
                  <a:pt x="1328724" y="913998"/>
                </a:cubicBezTo>
                <a:cubicBezTo>
                  <a:pt x="1327933" y="917233"/>
                  <a:pt x="1326525" y="919703"/>
                  <a:pt x="1324865" y="922643"/>
                </a:cubicBezTo>
                <a:cubicBezTo>
                  <a:pt x="1323924" y="927743"/>
                  <a:pt x="1323282" y="932845"/>
                  <a:pt x="1322619" y="937979"/>
                </a:cubicBezTo>
                <a:lnTo>
                  <a:pt x="1318744" y="944961"/>
                </a:lnTo>
                <a:lnTo>
                  <a:pt x="1318544" y="946213"/>
                </a:lnTo>
                <a:cubicBezTo>
                  <a:pt x="1318360" y="949234"/>
                  <a:pt x="1318271" y="952260"/>
                  <a:pt x="1318251" y="955285"/>
                </a:cubicBezTo>
                <a:cubicBezTo>
                  <a:pt x="1318218" y="957637"/>
                  <a:pt x="1318218" y="957637"/>
                  <a:pt x="1318184" y="960036"/>
                </a:cubicBezTo>
                <a:cubicBezTo>
                  <a:pt x="1318624" y="965530"/>
                  <a:pt x="1319569" y="969724"/>
                  <a:pt x="1324024" y="973660"/>
                </a:cubicBezTo>
                <a:cubicBezTo>
                  <a:pt x="1327197" y="976583"/>
                  <a:pt x="1327950" y="979494"/>
                  <a:pt x="1329284" y="983382"/>
                </a:cubicBezTo>
                <a:cubicBezTo>
                  <a:pt x="1331875" y="990106"/>
                  <a:pt x="1334445" y="993582"/>
                  <a:pt x="1340414" y="998354"/>
                </a:cubicBezTo>
                <a:cubicBezTo>
                  <a:pt x="1342397" y="1000564"/>
                  <a:pt x="1344347" y="1002798"/>
                  <a:pt x="1346272" y="1005048"/>
                </a:cubicBezTo>
                <a:cubicBezTo>
                  <a:pt x="1360055" y="1020713"/>
                  <a:pt x="1376247" y="1031879"/>
                  <a:pt x="1394716" y="1042740"/>
                </a:cubicBezTo>
                <a:cubicBezTo>
                  <a:pt x="1397172" y="1044228"/>
                  <a:pt x="1399581" y="1045779"/>
                  <a:pt x="1401953" y="1047374"/>
                </a:cubicBezTo>
                <a:cubicBezTo>
                  <a:pt x="1410065" y="1052802"/>
                  <a:pt x="1417529" y="1056366"/>
                  <a:pt x="1427197" y="1059061"/>
                </a:cubicBezTo>
                <a:cubicBezTo>
                  <a:pt x="1431243" y="1060437"/>
                  <a:pt x="1434061" y="1061979"/>
                  <a:pt x="1437265" y="1064588"/>
                </a:cubicBezTo>
                <a:cubicBezTo>
                  <a:pt x="1437265" y="1065518"/>
                  <a:pt x="1437265" y="1066448"/>
                  <a:pt x="1437265" y="1067406"/>
                </a:cubicBezTo>
                <a:cubicBezTo>
                  <a:pt x="1439053" y="1067624"/>
                  <a:pt x="1439053" y="1067624"/>
                  <a:pt x="1440878" y="1067847"/>
                </a:cubicBezTo>
                <a:cubicBezTo>
                  <a:pt x="1445076" y="1068815"/>
                  <a:pt x="1445076" y="1068815"/>
                  <a:pt x="1447175" y="1070753"/>
                </a:cubicBezTo>
                <a:cubicBezTo>
                  <a:pt x="1450417" y="1073622"/>
                  <a:pt x="1453781" y="1075060"/>
                  <a:pt x="1457866" y="1076830"/>
                </a:cubicBezTo>
                <a:cubicBezTo>
                  <a:pt x="1459274" y="1077446"/>
                  <a:pt x="1460681" y="1078062"/>
                  <a:pt x="1462132" y="1078696"/>
                </a:cubicBezTo>
                <a:cubicBezTo>
                  <a:pt x="1463204" y="1079156"/>
                  <a:pt x="1464278" y="1079616"/>
                  <a:pt x="1465383" y="1080089"/>
                </a:cubicBezTo>
                <a:cubicBezTo>
                  <a:pt x="1465383" y="1081019"/>
                  <a:pt x="1465383" y="1081949"/>
                  <a:pt x="1465383" y="1082908"/>
                </a:cubicBezTo>
                <a:cubicBezTo>
                  <a:pt x="1466497" y="1083260"/>
                  <a:pt x="1467611" y="1083612"/>
                  <a:pt x="1468758" y="1083975"/>
                </a:cubicBezTo>
                <a:cubicBezTo>
                  <a:pt x="1473648" y="1085905"/>
                  <a:pt x="1477426" y="1088296"/>
                  <a:pt x="1481688" y="1091187"/>
                </a:cubicBezTo>
                <a:cubicBezTo>
                  <a:pt x="1483204" y="1092193"/>
                  <a:pt x="1484721" y="1093200"/>
                  <a:pt x="1486283" y="1094236"/>
                </a:cubicBezTo>
                <a:cubicBezTo>
                  <a:pt x="1489170" y="1096185"/>
                  <a:pt x="1492029" y="1098166"/>
                  <a:pt x="1494869" y="1100171"/>
                </a:cubicBezTo>
                <a:cubicBezTo>
                  <a:pt x="1510181" y="1107906"/>
                  <a:pt x="1527080" y="1109898"/>
                  <a:pt x="1544335" y="1109518"/>
                </a:cubicBezTo>
                <a:cubicBezTo>
                  <a:pt x="1579932" y="1108798"/>
                  <a:pt x="1579932" y="1108798"/>
                  <a:pt x="1593477" y="1119900"/>
                </a:cubicBezTo>
                <a:cubicBezTo>
                  <a:pt x="1600636" y="1127255"/>
                  <a:pt x="1604889" y="1135120"/>
                  <a:pt x="1605975" y="1144913"/>
                </a:cubicBezTo>
                <a:cubicBezTo>
                  <a:pt x="1607006" y="1144913"/>
                  <a:pt x="1608036" y="1144913"/>
                  <a:pt x="1609099" y="1144913"/>
                </a:cubicBezTo>
                <a:cubicBezTo>
                  <a:pt x="1609227" y="1148907"/>
                  <a:pt x="1609319" y="1152897"/>
                  <a:pt x="1609392" y="1156892"/>
                </a:cubicBezTo>
                <a:cubicBezTo>
                  <a:pt x="1609451" y="1158565"/>
                  <a:pt x="1609451" y="1158565"/>
                  <a:pt x="1609511" y="1160272"/>
                </a:cubicBezTo>
                <a:cubicBezTo>
                  <a:pt x="1609621" y="1168378"/>
                  <a:pt x="1607970" y="1174108"/>
                  <a:pt x="1604412" y="1181553"/>
                </a:cubicBezTo>
                <a:cubicBezTo>
                  <a:pt x="1603354" y="1184367"/>
                  <a:pt x="1602306" y="1187183"/>
                  <a:pt x="1601288" y="1190009"/>
                </a:cubicBezTo>
                <a:cubicBezTo>
                  <a:pt x="1600257" y="1190009"/>
                  <a:pt x="1599226" y="1190009"/>
                  <a:pt x="1598164" y="1190009"/>
                </a:cubicBezTo>
                <a:cubicBezTo>
                  <a:pt x="1597842" y="1190910"/>
                  <a:pt x="1597520" y="1191810"/>
                  <a:pt x="1597187" y="1192739"/>
                </a:cubicBezTo>
                <a:cubicBezTo>
                  <a:pt x="1596479" y="1193698"/>
                  <a:pt x="1595770" y="1194657"/>
                  <a:pt x="1595040" y="1195645"/>
                </a:cubicBezTo>
                <a:cubicBezTo>
                  <a:pt x="1591916" y="1196115"/>
                  <a:pt x="1588791" y="1196585"/>
                  <a:pt x="1585667" y="1197055"/>
                </a:cubicBezTo>
                <a:cubicBezTo>
                  <a:pt x="1583871" y="1199826"/>
                  <a:pt x="1583871" y="1199826"/>
                  <a:pt x="1582543" y="1202691"/>
                </a:cubicBezTo>
                <a:cubicBezTo>
                  <a:pt x="1575997" y="1204710"/>
                  <a:pt x="1569266" y="1204360"/>
                  <a:pt x="1562431" y="1204365"/>
                </a:cubicBezTo>
                <a:cubicBezTo>
                  <a:pt x="1561196" y="1204382"/>
                  <a:pt x="1559962" y="1204399"/>
                  <a:pt x="1558690" y="1204417"/>
                </a:cubicBezTo>
                <a:cubicBezTo>
                  <a:pt x="1543339" y="1204452"/>
                  <a:pt x="1531981" y="1199267"/>
                  <a:pt x="1521102" y="1189585"/>
                </a:cubicBezTo>
                <a:cubicBezTo>
                  <a:pt x="1515403" y="1183953"/>
                  <a:pt x="1510116" y="1178123"/>
                  <a:pt x="1505022" y="1172041"/>
                </a:cubicBezTo>
                <a:cubicBezTo>
                  <a:pt x="1493200" y="1158177"/>
                  <a:pt x="1475492" y="1147115"/>
                  <a:pt x="1457573" y="1140686"/>
                </a:cubicBezTo>
                <a:cubicBezTo>
                  <a:pt x="1457573" y="1139755"/>
                  <a:pt x="1457573" y="1138826"/>
                  <a:pt x="1457573" y="1137867"/>
                </a:cubicBezTo>
                <a:cubicBezTo>
                  <a:pt x="1456059" y="1137693"/>
                  <a:pt x="1454544" y="1137518"/>
                  <a:pt x="1452985" y="1137339"/>
                </a:cubicBezTo>
                <a:cubicBezTo>
                  <a:pt x="1451406" y="1137048"/>
                  <a:pt x="1449827" y="1136758"/>
                  <a:pt x="1448200" y="1136458"/>
                </a:cubicBezTo>
                <a:cubicBezTo>
                  <a:pt x="1447685" y="1135528"/>
                  <a:pt x="1447169" y="1134598"/>
                  <a:pt x="1446638" y="1133640"/>
                </a:cubicBezTo>
                <a:cubicBezTo>
                  <a:pt x="1444091" y="1132586"/>
                  <a:pt x="1441535" y="1131550"/>
                  <a:pt x="1438937" y="1130601"/>
                </a:cubicBezTo>
                <a:cubicBezTo>
                  <a:pt x="1435668" y="1129399"/>
                  <a:pt x="1432469" y="1128095"/>
                  <a:pt x="1429260" y="1126770"/>
                </a:cubicBezTo>
                <a:cubicBezTo>
                  <a:pt x="1423389" y="1124389"/>
                  <a:pt x="1417431" y="1122349"/>
                  <a:pt x="1411393" y="1120340"/>
                </a:cubicBezTo>
                <a:cubicBezTo>
                  <a:pt x="1404143" y="1117867"/>
                  <a:pt x="1397842" y="1115090"/>
                  <a:pt x="1391427" y="1111191"/>
                </a:cubicBezTo>
                <a:cubicBezTo>
                  <a:pt x="1388139" y="1109274"/>
                  <a:pt x="1384723" y="1108010"/>
                  <a:pt x="1381029" y="1106865"/>
                </a:cubicBezTo>
                <a:cubicBezTo>
                  <a:pt x="1381029" y="1105934"/>
                  <a:pt x="1381029" y="1105004"/>
                  <a:pt x="1381029" y="1104046"/>
                </a:cubicBezTo>
                <a:cubicBezTo>
                  <a:pt x="1379773" y="1103901"/>
                  <a:pt x="1378516" y="1103755"/>
                  <a:pt x="1377221" y="1103605"/>
                </a:cubicBezTo>
                <a:cubicBezTo>
                  <a:pt x="1370425" y="1102422"/>
                  <a:pt x="1364120" y="1100465"/>
                  <a:pt x="1357597" y="1098409"/>
                </a:cubicBezTo>
                <a:cubicBezTo>
                  <a:pt x="1355761" y="1097857"/>
                  <a:pt x="1353924" y="1097304"/>
                  <a:pt x="1352032" y="1096736"/>
                </a:cubicBezTo>
                <a:cubicBezTo>
                  <a:pt x="1350776" y="1096358"/>
                  <a:pt x="1349519" y="1095980"/>
                  <a:pt x="1348225" y="1095590"/>
                </a:cubicBezTo>
                <a:cubicBezTo>
                  <a:pt x="1348225" y="1094661"/>
                  <a:pt x="1348225" y="1093730"/>
                  <a:pt x="1348225" y="1092772"/>
                </a:cubicBezTo>
                <a:cubicBezTo>
                  <a:pt x="1344616" y="1092307"/>
                  <a:pt x="1341007" y="1091842"/>
                  <a:pt x="1337290" y="1091363"/>
                </a:cubicBezTo>
                <a:cubicBezTo>
                  <a:pt x="1337290" y="1090433"/>
                  <a:pt x="1337290" y="1089503"/>
                  <a:pt x="1337290" y="1088544"/>
                </a:cubicBezTo>
                <a:cubicBezTo>
                  <a:pt x="1334438" y="1088327"/>
                  <a:pt x="1334438" y="1088327"/>
                  <a:pt x="1331529" y="1088104"/>
                </a:cubicBezTo>
                <a:lnTo>
                  <a:pt x="1323297" y="1086611"/>
                </a:lnTo>
                <a:lnTo>
                  <a:pt x="1323297" y="1087618"/>
                </a:lnTo>
                <a:cubicBezTo>
                  <a:pt x="1322139" y="1087517"/>
                  <a:pt x="1320982" y="1087415"/>
                  <a:pt x="1319789" y="1087310"/>
                </a:cubicBezTo>
                <a:cubicBezTo>
                  <a:pt x="1300429" y="1085771"/>
                  <a:pt x="1281330" y="1084680"/>
                  <a:pt x="1262375" y="1089028"/>
                </a:cubicBezTo>
                <a:lnTo>
                  <a:pt x="1258728" y="1088205"/>
                </a:lnTo>
                <a:lnTo>
                  <a:pt x="1246964" y="1091489"/>
                </a:lnTo>
                <a:cubicBezTo>
                  <a:pt x="1237239" y="1097222"/>
                  <a:pt x="1228703" y="1103434"/>
                  <a:pt x="1223224" y="1112865"/>
                </a:cubicBezTo>
                <a:cubicBezTo>
                  <a:pt x="1220867" y="1116643"/>
                  <a:pt x="1217262" y="1119317"/>
                  <a:pt x="1213883" y="1122366"/>
                </a:cubicBezTo>
                <a:cubicBezTo>
                  <a:pt x="1213428" y="1123469"/>
                  <a:pt x="1212973" y="1124572"/>
                  <a:pt x="1212505" y="1125708"/>
                </a:cubicBezTo>
                <a:cubicBezTo>
                  <a:pt x="1210449" y="1130067"/>
                  <a:pt x="1207984" y="1132315"/>
                  <a:pt x="1204180" y="1135561"/>
                </a:cubicBezTo>
                <a:cubicBezTo>
                  <a:pt x="1202879" y="1136695"/>
                  <a:pt x="1201578" y="1137829"/>
                  <a:pt x="1200238" y="1138999"/>
                </a:cubicBezTo>
                <a:cubicBezTo>
                  <a:pt x="1197504" y="1141343"/>
                  <a:pt x="1194765" y="1143684"/>
                  <a:pt x="1192025" y="1146022"/>
                </a:cubicBezTo>
                <a:cubicBezTo>
                  <a:pt x="1181899" y="1154869"/>
                  <a:pt x="1174983" y="1161763"/>
                  <a:pt x="1173945" y="1174749"/>
                </a:cubicBezTo>
                <a:cubicBezTo>
                  <a:pt x="1173902" y="1177369"/>
                  <a:pt x="1173905" y="1179990"/>
                  <a:pt x="1173950" y="1182610"/>
                </a:cubicBezTo>
                <a:cubicBezTo>
                  <a:pt x="1173963" y="1183981"/>
                  <a:pt x="1173975" y="1185352"/>
                  <a:pt x="1173989" y="1186765"/>
                </a:cubicBezTo>
                <a:cubicBezTo>
                  <a:pt x="1174321" y="1197573"/>
                  <a:pt x="1176809" y="1205883"/>
                  <a:pt x="1182640" y="1215374"/>
                </a:cubicBezTo>
                <a:cubicBezTo>
                  <a:pt x="1183703" y="1217509"/>
                  <a:pt x="1184746" y="1219652"/>
                  <a:pt x="1185764" y="1221804"/>
                </a:cubicBezTo>
                <a:cubicBezTo>
                  <a:pt x="1186271" y="1222812"/>
                  <a:pt x="1186779" y="1223821"/>
                  <a:pt x="1187301" y="1224859"/>
                </a:cubicBezTo>
                <a:cubicBezTo>
                  <a:pt x="1188431" y="1227137"/>
                  <a:pt x="1189517" y="1229433"/>
                  <a:pt x="1190573" y="1231740"/>
                </a:cubicBezTo>
                <a:cubicBezTo>
                  <a:pt x="1194650" y="1240409"/>
                  <a:pt x="1199581" y="1247688"/>
                  <a:pt x="1205925" y="1255163"/>
                </a:cubicBezTo>
                <a:cubicBezTo>
                  <a:pt x="1208103" y="1257757"/>
                  <a:pt x="1210188" y="1260417"/>
                  <a:pt x="1212174" y="1263134"/>
                </a:cubicBezTo>
                <a:cubicBezTo>
                  <a:pt x="1218757" y="1272043"/>
                  <a:pt x="1225157" y="1277324"/>
                  <a:pt x="1235556" y="1282538"/>
                </a:cubicBezTo>
                <a:cubicBezTo>
                  <a:pt x="1236652" y="1283161"/>
                  <a:pt x="1237747" y="1283784"/>
                  <a:pt x="1238876" y="1284426"/>
                </a:cubicBezTo>
                <a:cubicBezTo>
                  <a:pt x="1238876" y="1285356"/>
                  <a:pt x="1238876" y="1286287"/>
                  <a:pt x="1238876" y="1287245"/>
                </a:cubicBezTo>
                <a:cubicBezTo>
                  <a:pt x="1239988" y="1287383"/>
                  <a:pt x="1241099" y="1287521"/>
                  <a:pt x="1242245" y="1287663"/>
                </a:cubicBezTo>
                <a:cubicBezTo>
                  <a:pt x="1253043" y="1290072"/>
                  <a:pt x="1264916" y="1297690"/>
                  <a:pt x="1271681" y="1305565"/>
                </a:cubicBezTo>
                <a:lnTo>
                  <a:pt x="1271742" y="1306172"/>
                </a:lnTo>
                <a:lnTo>
                  <a:pt x="1278525" y="1315767"/>
                </a:lnTo>
                <a:cubicBezTo>
                  <a:pt x="1279797" y="1319398"/>
                  <a:pt x="1280365" y="1323346"/>
                  <a:pt x="1281097" y="1327286"/>
                </a:cubicBezTo>
                <a:cubicBezTo>
                  <a:pt x="1281916" y="1337121"/>
                  <a:pt x="1281807" y="1346176"/>
                  <a:pt x="1277973" y="1355470"/>
                </a:cubicBezTo>
                <a:lnTo>
                  <a:pt x="1277460" y="1347025"/>
                </a:lnTo>
                <a:lnTo>
                  <a:pt x="1273531" y="1357991"/>
                </a:lnTo>
                <a:cubicBezTo>
                  <a:pt x="1270940" y="1361892"/>
                  <a:pt x="1267521" y="1365435"/>
                  <a:pt x="1263870" y="1368980"/>
                </a:cubicBezTo>
                <a:cubicBezTo>
                  <a:pt x="1258351" y="1372929"/>
                  <a:pt x="1253850" y="1376026"/>
                  <a:pt x="1246686" y="1376026"/>
                </a:cubicBezTo>
                <a:cubicBezTo>
                  <a:pt x="1246686" y="1376956"/>
                  <a:pt x="1246686" y="1377886"/>
                  <a:pt x="1246686" y="1378844"/>
                </a:cubicBezTo>
                <a:cubicBezTo>
                  <a:pt x="1241676" y="1379009"/>
                  <a:pt x="1236665" y="1379109"/>
                  <a:pt x="1231651" y="1379196"/>
                </a:cubicBezTo>
                <a:cubicBezTo>
                  <a:pt x="1230240" y="1379244"/>
                  <a:pt x="1228828" y="1379291"/>
                  <a:pt x="1227373" y="1379340"/>
                </a:cubicBezTo>
                <a:cubicBezTo>
                  <a:pt x="1218287" y="1379460"/>
                  <a:pt x="1213363" y="1378568"/>
                  <a:pt x="1206071" y="1373207"/>
                </a:cubicBezTo>
                <a:cubicBezTo>
                  <a:pt x="1204751" y="1372742"/>
                  <a:pt x="1203430" y="1372277"/>
                  <a:pt x="1202069" y="1371798"/>
                </a:cubicBezTo>
                <a:cubicBezTo>
                  <a:pt x="1193777" y="1368730"/>
                  <a:pt x="1188124" y="1363294"/>
                  <a:pt x="1184104" y="1356176"/>
                </a:cubicBezTo>
                <a:cubicBezTo>
                  <a:pt x="1180965" y="1349259"/>
                  <a:pt x="1178852" y="1342590"/>
                  <a:pt x="1177270" y="1335247"/>
                </a:cubicBezTo>
                <a:cubicBezTo>
                  <a:pt x="1175525" y="1327352"/>
                  <a:pt x="1172911" y="1320677"/>
                  <a:pt x="1169002" y="1313464"/>
                </a:cubicBezTo>
                <a:cubicBezTo>
                  <a:pt x="1166989" y="1309737"/>
                  <a:pt x="1165215" y="1305976"/>
                  <a:pt x="1163504" y="1302130"/>
                </a:cubicBezTo>
                <a:cubicBezTo>
                  <a:pt x="1163013" y="1301027"/>
                  <a:pt x="1162521" y="1299924"/>
                  <a:pt x="1162015" y="1298788"/>
                </a:cubicBezTo>
                <a:cubicBezTo>
                  <a:pt x="1160770" y="1295700"/>
                  <a:pt x="1160770" y="1295700"/>
                  <a:pt x="1160111" y="1292656"/>
                </a:cubicBezTo>
                <a:cubicBezTo>
                  <a:pt x="1159345" y="1289507"/>
                  <a:pt x="1159345" y="1289507"/>
                  <a:pt x="1154522" y="1287245"/>
                </a:cubicBezTo>
                <a:cubicBezTo>
                  <a:pt x="1153465" y="1284902"/>
                  <a:pt x="1152426" y="1282552"/>
                  <a:pt x="1151398" y="1280199"/>
                </a:cubicBezTo>
                <a:cubicBezTo>
                  <a:pt x="1149056" y="1276983"/>
                  <a:pt x="1146686" y="1273874"/>
                  <a:pt x="1144173" y="1270774"/>
                </a:cubicBezTo>
                <a:cubicBezTo>
                  <a:pt x="1143477" y="1269912"/>
                  <a:pt x="1142782" y="1269049"/>
                  <a:pt x="1142065" y="1268160"/>
                </a:cubicBezTo>
                <a:cubicBezTo>
                  <a:pt x="1139981" y="1265589"/>
                  <a:pt x="1137880" y="1263029"/>
                  <a:pt x="1135776" y="1260470"/>
                </a:cubicBezTo>
                <a:cubicBezTo>
                  <a:pt x="1134647" y="1259076"/>
                  <a:pt x="1133517" y="1257683"/>
                  <a:pt x="1132353" y="1256247"/>
                </a:cubicBezTo>
                <a:cubicBezTo>
                  <a:pt x="1126291" y="1249045"/>
                  <a:pt x="1121408" y="1244606"/>
                  <a:pt x="1112344" y="1240741"/>
                </a:cubicBezTo>
                <a:cubicBezTo>
                  <a:pt x="1110285" y="1239698"/>
                  <a:pt x="1108234" y="1238642"/>
                  <a:pt x="1106193" y="1237570"/>
                </a:cubicBezTo>
                <a:cubicBezTo>
                  <a:pt x="1104615" y="1236756"/>
                  <a:pt x="1103036" y="1235942"/>
                  <a:pt x="1101409" y="1235104"/>
                </a:cubicBezTo>
                <a:cubicBezTo>
                  <a:pt x="1101409" y="1233708"/>
                  <a:pt x="1101409" y="1232313"/>
                  <a:pt x="1101409" y="1230876"/>
                </a:cubicBezTo>
                <a:cubicBezTo>
                  <a:pt x="1089553" y="1230876"/>
                  <a:pt x="1077697" y="1230876"/>
                  <a:pt x="1065480" y="1230876"/>
                </a:cubicBezTo>
                <a:cubicBezTo>
                  <a:pt x="1064965" y="1232271"/>
                  <a:pt x="1064450" y="1233666"/>
                  <a:pt x="1063919" y="1235104"/>
                </a:cubicBezTo>
                <a:cubicBezTo>
                  <a:pt x="1062372" y="1235104"/>
                  <a:pt x="1060826" y="1235104"/>
                  <a:pt x="1059232" y="1235104"/>
                </a:cubicBezTo>
                <a:cubicBezTo>
                  <a:pt x="1059232" y="1236033"/>
                  <a:pt x="1059232" y="1236964"/>
                  <a:pt x="1059232" y="1237922"/>
                </a:cubicBezTo>
                <a:cubicBezTo>
                  <a:pt x="1052964" y="1240850"/>
                  <a:pt x="1046842" y="1243613"/>
                  <a:pt x="1040194" y="1245761"/>
                </a:cubicBezTo>
                <a:cubicBezTo>
                  <a:pt x="1036552" y="1246941"/>
                  <a:pt x="1033682" y="1248088"/>
                  <a:pt x="1030333" y="1249901"/>
                </a:cubicBezTo>
                <a:cubicBezTo>
                  <a:pt x="1025129" y="1252717"/>
                  <a:pt x="1019615" y="1254371"/>
                  <a:pt x="1013931" y="1256242"/>
                </a:cubicBezTo>
                <a:cubicBezTo>
                  <a:pt x="1009870" y="1257688"/>
                  <a:pt x="1008221" y="1258277"/>
                  <a:pt x="1005925" y="1261615"/>
                </a:cubicBezTo>
                <a:cubicBezTo>
                  <a:pt x="1005474" y="1262632"/>
                  <a:pt x="1005023" y="1263649"/>
                  <a:pt x="1004558" y="1264697"/>
                </a:cubicBezTo>
                <a:cubicBezTo>
                  <a:pt x="1004030" y="1265774"/>
                  <a:pt x="1003503" y="1266852"/>
                  <a:pt x="1002959" y="1267961"/>
                </a:cubicBezTo>
                <a:cubicBezTo>
                  <a:pt x="1001408" y="1271808"/>
                  <a:pt x="1000922" y="1274896"/>
                  <a:pt x="1000653" y="1278965"/>
                </a:cubicBezTo>
                <a:cubicBezTo>
                  <a:pt x="1000303" y="1284158"/>
                  <a:pt x="999467" y="1289055"/>
                  <a:pt x="998297" y="1294137"/>
                </a:cubicBezTo>
                <a:cubicBezTo>
                  <a:pt x="996204" y="1304306"/>
                  <a:pt x="996129" y="1314460"/>
                  <a:pt x="996162" y="1324765"/>
                </a:cubicBezTo>
                <a:cubicBezTo>
                  <a:pt x="996163" y="1325782"/>
                  <a:pt x="996163" y="1326799"/>
                  <a:pt x="996164" y="1327846"/>
                </a:cubicBezTo>
                <a:cubicBezTo>
                  <a:pt x="996263" y="1353742"/>
                  <a:pt x="1001081" y="1378188"/>
                  <a:pt x="1007780" y="1403329"/>
                </a:cubicBezTo>
                <a:cubicBezTo>
                  <a:pt x="1008163" y="1404772"/>
                  <a:pt x="1008546" y="1406215"/>
                  <a:pt x="1008940" y="1407701"/>
                </a:cubicBezTo>
                <a:cubicBezTo>
                  <a:pt x="1009316" y="1409030"/>
                  <a:pt x="1009693" y="1410360"/>
                  <a:pt x="1010080" y="1411730"/>
                </a:cubicBezTo>
                <a:cubicBezTo>
                  <a:pt x="1010409" y="1412900"/>
                  <a:pt x="1010737" y="1414071"/>
                  <a:pt x="1011075" y="1415277"/>
                </a:cubicBezTo>
                <a:cubicBezTo>
                  <a:pt x="1012501" y="1418612"/>
                  <a:pt x="1014136" y="1420168"/>
                  <a:pt x="1017055" y="1422530"/>
                </a:cubicBezTo>
                <a:cubicBezTo>
                  <a:pt x="1018770" y="1425162"/>
                  <a:pt x="1018770" y="1425162"/>
                  <a:pt x="1020277" y="1427991"/>
                </a:cubicBezTo>
                <a:cubicBezTo>
                  <a:pt x="1020778" y="1428917"/>
                  <a:pt x="1021280" y="1429844"/>
                  <a:pt x="1021796" y="1430798"/>
                </a:cubicBezTo>
                <a:cubicBezTo>
                  <a:pt x="1023303" y="1433804"/>
                  <a:pt x="1023303" y="1433804"/>
                  <a:pt x="1024579" y="1437239"/>
                </a:cubicBezTo>
                <a:cubicBezTo>
                  <a:pt x="1026915" y="1441803"/>
                  <a:pt x="1030098" y="1444534"/>
                  <a:pt x="1034043" y="1448072"/>
                </a:cubicBezTo>
                <a:lnTo>
                  <a:pt x="1043782" y="1464320"/>
                </a:lnTo>
                <a:lnTo>
                  <a:pt x="1050458" y="1472189"/>
                </a:lnTo>
                <a:cubicBezTo>
                  <a:pt x="1051737" y="1475181"/>
                  <a:pt x="1052277" y="1478513"/>
                  <a:pt x="1052926" y="1482370"/>
                </a:cubicBezTo>
                <a:cubicBezTo>
                  <a:pt x="1053325" y="1487224"/>
                  <a:pt x="1053364" y="1492038"/>
                  <a:pt x="1053316" y="1496903"/>
                </a:cubicBezTo>
                <a:cubicBezTo>
                  <a:pt x="1053328" y="1498142"/>
                  <a:pt x="1053340" y="1499382"/>
                  <a:pt x="1053352" y="1500660"/>
                </a:cubicBezTo>
                <a:cubicBezTo>
                  <a:pt x="1053348" y="1501856"/>
                  <a:pt x="1053344" y="1503052"/>
                  <a:pt x="1053341" y="1504285"/>
                </a:cubicBezTo>
                <a:cubicBezTo>
                  <a:pt x="1053336" y="1505355"/>
                  <a:pt x="1053333" y="1506426"/>
                  <a:pt x="1053329" y="1507529"/>
                </a:cubicBezTo>
                <a:cubicBezTo>
                  <a:pt x="1052876" y="1510927"/>
                  <a:pt x="1051672" y="1513237"/>
                  <a:pt x="1049801" y="1516192"/>
                </a:cubicBezTo>
                <a:lnTo>
                  <a:pt x="1047312" y="1516192"/>
                </a:lnTo>
                <a:lnTo>
                  <a:pt x="1043611" y="1522585"/>
                </a:lnTo>
                <a:cubicBezTo>
                  <a:pt x="1035301" y="1529631"/>
                  <a:pt x="1035301" y="1529631"/>
                  <a:pt x="1029552" y="1529631"/>
                </a:cubicBezTo>
                <a:cubicBezTo>
                  <a:pt x="1029294" y="1530503"/>
                  <a:pt x="1029036" y="1531375"/>
                  <a:pt x="1028771" y="1532273"/>
                </a:cubicBezTo>
                <a:cubicBezTo>
                  <a:pt x="1025795" y="1536076"/>
                  <a:pt x="1022970" y="1536733"/>
                  <a:pt x="1018013" y="1537640"/>
                </a:cubicBezTo>
                <a:cubicBezTo>
                  <a:pt x="1005216" y="1539038"/>
                  <a:pt x="992573" y="1539816"/>
                  <a:pt x="981126" y="1533859"/>
                </a:cubicBezTo>
                <a:cubicBezTo>
                  <a:pt x="979840" y="1533226"/>
                  <a:pt x="978553" y="1532594"/>
                  <a:pt x="977227" y="1531943"/>
                </a:cubicBezTo>
                <a:cubicBezTo>
                  <a:pt x="965286" y="1525877"/>
                  <a:pt x="959626" y="1520520"/>
                  <a:pt x="955376" y="1508751"/>
                </a:cubicBezTo>
                <a:cubicBezTo>
                  <a:pt x="954571" y="1505674"/>
                  <a:pt x="954571" y="1505674"/>
                  <a:pt x="954571" y="1500037"/>
                </a:cubicBezTo>
                <a:cubicBezTo>
                  <a:pt x="953539" y="1500037"/>
                  <a:pt x="952508" y="1500037"/>
                  <a:pt x="951446" y="1500037"/>
                </a:cubicBezTo>
                <a:cubicBezTo>
                  <a:pt x="951361" y="1495986"/>
                  <a:pt x="951299" y="1491935"/>
                  <a:pt x="951251" y="1487883"/>
                </a:cubicBezTo>
                <a:cubicBezTo>
                  <a:pt x="951224" y="1486744"/>
                  <a:pt x="951198" y="1485605"/>
                  <a:pt x="951171" y="1484431"/>
                </a:cubicBezTo>
                <a:cubicBezTo>
                  <a:pt x="951110" y="1477657"/>
                  <a:pt x="952093" y="1472660"/>
                  <a:pt x="954571" y="1466216"/>
                </a:cubicBezTo>
                <a:cubicBezTo>
                  <a:pt x="954867" y="1462451"/>
                  <a:pt x="955016" y="1458876"/>
                  <a:pt x="954961" y="1455118"/>
                </a:cubicBezTo>
                <a:cubicBezTo>
                  <a:pt x="954951" y="1454080"/>
                  <a:pt x="954942" y="1453042"/>
                  <a:pt x="954932" y="1451972"/>
                </a:cubicBezTo>
                <a:cubicBezTo>
                  <a:pt x="954606" y="1435235"/>
                  <a:pt x="952568" y="1419050"/>
                  <a:pt x="945099" y="1403594"/>
                </a:cubicBezTo>
                <a:cubicBezTo>
                  <a:pt x="943714" y="1400177"/>
                  <a:pt x="943046" y="1397128"/>
                  <a:pt x="942366" y="1393553"/>
                </a:cubicBezTo>
                <a:cubicBezTo>
                  <a:pt x="940837" y="1386134"/>
                  <a:pt x="937840" y="1379609"/>
                  <a:pt x="934451" y="1372734"/>
                </a:cubicBezTo>
                <a:cubicBezTo>
                  <a:pt x="932701" y="1368980"/>
                  <a:pt x="932701" y="1368980"/>
                  <a:pt x="931974" y="1365754"/>
                </a:cubicBezTo>
                <a:cubicBezTo>
                  <a:pt x="931699" y="1364958"/>
                  <a:pt x="931422" y="1364162"/>
                  <a:pt x="931138" y="1363343"/>
                </a:cubicBezTo>
                <a:cubicBezTo>
                  <a:pt x="929592" y="1362878"/>
                  <a:pt x="928045" y="1362413"/>
                  <a:pt x="926452" y="1361933"/>
                </a:cubicBezTo>
                <a:cubicBezTo>
                  <a:pt x="921830" y="1355261"/>
                  <a:pt x="920323" y="1348382"/>
                  <a:pt x="918641" y="1340795"/>
                </a:cubicBezTo>
                <a:cubicBezTo>
                  <a:pt x="918133" y="1338914"/>
                  <a:pt x="917616" y="1337034"/>
                  <a:pt x="917079" y="1335158"/>
                </a:cubicBezTo>
                <a:cubicBezTo>
                  <a:pt x="916048" y="1335158"/>
                  <a:pt x="915018" y="1335158"/>
                  <a:pt x="913955" y="1335158"/>
                </a:cubicBezTo>
                <a:cubicBezTo>
                  <a:pt x="913329" y="1333718"/>
                  <a:pt x="912703" y="1332277"/>
                  <a:pt x="912057" y="1330793"/>
                </a:cubicBezTo>
                <a:cubicBezTo>
                  <a:pt x="909497" y="1325424"/>
                  <a:pt x="906114" y="1320822"/>
                  <a:pt x="902142" y="1316222"/>
                </a:cubicBezTo>
                <a:cubicBezTo>
                  <a:pt x="901465" y="1315432"/>
                  <a:pt x="900788" y="1314642"/>
                  <a:pt x="900091" y="1313828"/>
                </a:cubicBezTo>
                <a:cubicBezTo>
                  <a:pt x="893705" y="1306618"/>
                  <a:pt x="886350" y="1301049"/>
                  <a:pt x="878026" y="1295700"/>
                </a:cubicBezTo>
                <a:cubicBezTo>
                  <a:pt x="876595" y="1294594"/>
                  <a:pt x="876595" y="1294594"/>
                  <a:pt x="875134" y="1293465"/>
                </a:cubicBezTo>
                <a:lnTo>
                  <a:pt x="869869" y="1291826"/>
                </a:lnTo>
                <a:lnTo>
                  <a:pt x="862384" y="1291327"/>
                </a:lnTo>
                <a:cubicBezTo>
                  <a:pt x="856441" y="1290067"/>
                  <a:pt x="850461" y="1290346"/>
                  <a:pt x="844390" y="1290461"/>
                </a:cubicBezTo>
                <a:cubicBezTo>
                  <a:pt x="842453" y="1290480"/>
                  <a:pt x="842453" y="1290480"/>
                  <a:pt x="840476" y="1290500"/>
                </a:cubicBezTo>
                <a:cubicBezTo>
                  <a:pt x="837322" y="1290532"/>
                  <a:pt x="834169" y="1290583"/>
                  <a:pt x="831015" y="1290637"/>
                </a:cubicBezTo>
                <a:cubicBezTo>
                  <a:pt x="831015" y="1291568"/>
                  <a:pt x="831015" y="1292498"/>
                  <a:pt x="831015" y="1293456"/>
                </a:cubicBezTo>
                <a:cubicBezTo>
                  <a:pt x="826519" y="1294808"/>
                  <a:pt x="822922" y="1295235"/>
                  <a:pt x="818225" y="1295570"/>
                </a:cubicBezTo>
                <a:lnTo>
                  <a:pt x="796774" y="1297671"/>
                </a:lnTo>
                <a:lnTo>
                  <a:pt x="783646" y="1305736"/>
                </a:lnTo>
                <a:cubicBezTo>
                  <a:pt x="776915" y="1312506"/>
                  <a:pt x="772692" y="1318638"/>
                  <a:pt x="769263" y="1327143"/>
                </a:cubicBezTo>
                <a:cubicBezTo>
                  <a:pt x="767116" y="1332340"/>
                  <a:pt x="767116" y="1332340"/>
                  <a:pt x="764797" y="1334360"/>
                </a:cubicBezTo>
                <a:lnTo>
                  <a:pt x="757875" y="1353503"/>
                </a:lnTo>
                <a:lnTo>
                  <a:pt x="755676" y="1367455"/>
                </a:lnTo>
                <a:lnTo>
                  <a:pt x="750558" y="1399690"/>
                </a:lnTo>
                <a:lnTo>
                  <a:pt x="753057" y="1411256"/>
                </a:lnTo>
                <a:cubicBezTo>
                  <a:pt x="753057" y="1413117"/>
                  <a:pt x="753057" y="1414976"/>
                  <a:pt x="753057" y="1416893"/>
                </a:cubicBezTo>
                <a:cubicBezTo>
                  <a:pt x="754087" y="1416893"/>
                  <a:pt x="755119" y="1416893"/>
                  <a:pt x="756181" y="1416893"/>
                </a:cubicBezTo>
                <a:cubicBezTo>
                  <a:pt x="759348" y="1422607"/>
                  <a:pt x="758101" y="1429902"/>
                  <a:pt x="758133" y="1436182"/>
                </a:cubicBezTo>
                <a:cubicBezTo>
                  <a:pt x="758182" y="1438458"/>
                  <a:pt x="758182" y="1438458"/>
                  <a:pt x="758231" y="1440781"/>
                </a:cubicBezTo>
                <a:cubicBezTo>
                  <a:pt x="758283" y="1450271"/>
                  <a:pt x="758174" y="1458360"/>
                  <a:pt x="750713" y="1465704"/>
                </a:cubicBezTo>
                <a:cubicBezTo>
                  <a:pt x="749940" y="1466193"/>
                  <a:pt x="749167" y="1466681"/>
                  <a:pt x="748370" y="1467185"/>
                </a:cubicBezTo>
                <a:cubicBezTo>
                  <a:pt x="743665" y="1470047"/>
                  <a:pt x="743665" y="1470047"/>
                  <a:pt x="741633" y="1473526"/>
                </a:cubicBezTo>
                <a:cubicBezTo>
                  <a:pt x="737793" y="1477248"/>
                  <a:pt x="733582" y="1477483"/>
                  <a:pt x="728154" y="1478343"/>
                </a:cubicBezTo>
                <a:cubicBezTo>
                  <a:pt x="724855" y="1478778"/>
                  <a:pt x="724855" y="1478778"/>
                  <a:pt x="721814" y="1480308"/>
                </a:cubicBezTo>
                <a:cubicBezTo>
                  <a:pt x="717303" y="1480523"/>
                  <a:pt x="712854" y="1480634"/>
                  <a:pt x="708341" y="1480661"/>
                </a:cubicBezTo>
                <a:cubicBezTo>
                  <a:pt x="707118" y="1480690"/>
                  <a:pt x="705896" y="1480719"/>
                  <a:pt x="704637" y="1480748"/>
                </a:cubicBezTo>
                <a:cubicBezTo>
                  <a:pt x="690446" y="1480834"/>
                  <a:pt x="679632" y="1476246"/>
                  <a:pt x="668507" y="1468418"/>
                </a:cubicBezTo>
                <a:cubicBezTo>
                  <a:pt x="662823" y="1463224"/>
                  <a:pt x="661745" y="1456995"/>
                  <a:pt x="660178" y="1450027"/>
                </a:cubicBezTo>
                <a:cubicBezTo>
                  <a:pt x="659725" y="1446589"/>
                  <a:pt x="659725" y="1446589"/>
                  <a:pt x="657767" y="1445078"/>
                </a:cubicBezTo>
                <a:cubicBezTo>
                  <a:pt x="656859" y="1433686"/>
                  <a:pt x="655965" y="1419178"/>
                  <a:pt x="663369" y="1409390"/>
                </a:cubicBezTo>
                <a:cubicBezTo>
                  <a:pt x="666078" y="1406601"/>
                  <a:pt x="668921" y="1404013"/>
                  <a:pt x="671826" y="1401392"/>
                </a:cubicBezTo>
                <a:cubicBezTo>
                  <a:pt x="675197" y="1397623"/>
                  <a:pt x="677125" y="1394916"/>
                  <a:pt x="678075" y="1390118"/>
                </a:cubicBezTo>
                <a:cubicBezTo>
                  <a:pt x="680137" y="1389653"/>
                  <a:pt x="682199" y="1389188"/>
                  <a:pt x="684323" y="1388709"/>
                </a:cubicBezTo>
                <a:cubicBezTo>
                  <a:pt x="684643" y="1387232"/>
                  <a:pt x="684964" y="1385755"/>
                  <a:pt x="685293" y="1384233"/>
                </a:cubicBezTo>
                <a:cubicBezTo>
                  <a:pt x="685718" y="1382290"/>
                  <a:pt x="686144" y="1380347"/>
                  <a:pt x="686569" y="1378404"/>
                </a:cubicBezTo>
                <a:cubicBezTo>
                  <a:pt x="686885" y="1376945"/>
                  <a:pt x="686885" y="1376945"/>
                  <a:pt x="687207" y="1375456"/>
                </a:cubicBezTo>
                <a:cubicBezTo>
                  <a:pt x="688115" y="1371315"/>
                  <a:pt x="689090" y="1367353"/>
                  <a:pt x="690572" y="1363343"/>
                </a:cubicBezTo>
                <a:cubicBezTo>
                  <a:pt x="692411" y="1350128"/>
                  <a:pt x="692374" y="1336672"/>
                  <a:pt x="692495" y="1323376"/>
                </a:cubicBezTo>
                <a:cubicBezTo>
                  <a:pt x="692524" y="1320586"/>
                  <a:pt x="692574" y="1317796"/>
                  <a:pt x="692625" y="1315006"/>
                </a:cubicBezTo>
                <a:cubicBezTo>
                  <a:pt x="692853" y="1300589"/>
                  <a:pt x="692853" y="1300589"/>
                  <a:pt x="687447" y="1287245"/>
                </a:cubicBezTo>
                <a:cubicBezTo>
                  <a:pt x="685901" y="1286780"/>
                  <a:pt x="684354" y="1286315"/>
                  <a:pt x="682761" y="1285835"/>
                </a:cubicBezTo>
                <a:cubicBezTo>
                  <a:pt x="680876" y="1283743"/>
                  <a:pt x="680876" y="1283743"/>
                  <a:pt x="678954" y="1281608"/>
                </a:cubicBezTo>
                <a:cubicBezTo>
                  <a:pt x="674854" y="1277278"/>
                  <a:pt x="674356" y="1276958"/>
                  <a:pt x="668702" y="1275971"/>
                </a:cubicBezTo>
                <a:cubicBezTo>
                  <a:pt x="666619" y="1274092"/>
                  <a:pt x="664536" y="1272213"/>
                  <a:pt x="662454" y="1270334"/>
                </a:cubicBezTo>
                <a:cubicBezTo>
                  <a:pt x="658341" y="1268566"/>
                  <a:pt x="658341" y="1268566"/>
                  <a:pt x="654643" y="1267516"/>
                </a:cubicBezTo>
                <a:cubicBezTo>
                  <a:pt x="654643" y="1266585"/>
                  <a:pt x="654643" y="1265656"/>
                  <a:pt x="654643" y="1264697"/>
                </a:cubicBezTo>
                <a:cubicBezTo>
                  <a:pt x="653161" y="1264581"/>
                  <a:pt x="651679" y="1264465"/>
                  <a:pt x="650152" y="1264345"/>
                </a:cubicBezTo>
                <a:cubicBezTo>
                  <a:pt x="642318" y="1263373"/>
                  <a:pt x="635297" y="1260465"/>
                  <a:pt x="628087" y="1257651"/>
                </a:cubicBezTo>
                <a:cubicBezTo>
                  <a:pt x="628087" y="1256721"/>
                  <a:pt x="628087" y="1255791"/>
                  <a:pt x="628087" y="1254833"/>
                </a:cubicBezTo>
                <a:cubicBezTo>
                  <a:pt x="627108" y="1254662"/>
                  <a:pt x="626129" y="1254491"/>
                  <a:pt x="625121" y="1254315"/>
                </a:cubicBezTo>
                <a:cubicBezTo>
                  <a:pt x="623845" y="1254079"/>
                  <a:pt x="622568" y="1253843"/>
                  <a:pt x="621252" y="1253600"/>
                </a:cubicBezTo>
                <a:cubicBezTo>
                  <a:pt x="619984" y="1253371"/>
                  <a:pt x="618716" y="1253142"/>
                  <a:pt x="617409" y="1252906"/>
                </a:cubicBezTo>
                <a:cubicBezTo>
                  <a:pt x="614027" y="1252014"/>
                  <a:pt x="614027" y="1252014"/>
                  <a:pt x="610904" y="1249196"/>
                </a:cubicBezTo>
                <a:cubicBezTo>
                  <a:pt x="592259" y="1248653"/>
                  <a:pt x="578635" y="1260869"/>
                  <a:pt x="565739" y="1271742"/>
                </a:cubicBezTo>
                <a:cubicBezTo>
                  <a:pt x="558808" y="1277725"/>
                  <a:pt x="552763" y="1283983"/>
                  <a:pt x="546924" y="1290829"/>
                </a:cubicBezTo>
                <a:cubicBezTo>
                  <a:pt x="545838" y="1292087"/>
                  <a:pt x="544753" y="1293346"/>
                  <a:pt x="543635" y="1294643"/>
                </a:cubicBezTo>
                <a:cubicBezTo>
                  <a:pt x="542650" y="1295813"/>
                  <a:pt x="541666" y="1296983"/>
                  <a:pt x="540651" y="1298188"/>
                </a:cubicBezTo>
                <a:cubicBezTo>
                  <a:pt x="537294" y="1301526"/>
                  <a:pt x="533978" y="1303337"/>
                  <a:pt x="529673" y="1305565"/>
                </a:cubicBezTo>
                <a:cubicBezTo>
                  <a:pt x="527599" y="1308478"/>
                  <a:pt x="527599" y="1308478"/>
                  <a:pt x="526549" y="1311202"/>
                </a:cubicBezTo>
                <a:cubicBezTo>
                  <a:pt x="525518" y="1311202"/>
                  <a:pt x="524487" y="1311202"/>
                  <a:pt x="523425" y="1311202"/>
                </a:cubicBezTo>
                <a:cubicBezTo>
                  <a:pt x="523360" y="1311986"/>
                  <a:pt x="523296" y="1312771"/>
                  <a:pt x="523230" y="1313580"/>
                </a:cubicBezTo>
                <a:cubicBezTo>
                  <a:pt x="521863" y="1316839"/>
                  <a:pt x="521863" y="1316839"/>
                  <a:pt x="517732" y="1319739"/>
                </a:cubicBezTo>
                <a:cubicBezTo>
                  <a:pt x="511111" y="1324565"/>
                  <a:pt x="506875" y="1330731"/>
                  <a:pt x="502239" y="1337096"/>
                </a:cubicBezTo>
                <a:cubicBezTo>
                  <a:pt x="500512" y="1339427"/>
                  <a:pt x="498785" y="1341757"/>
                  <a:pt x="497058" y="1344087"/>
                </a:cubicBezTo>
                <a:cubicBezTo>
                  <a:pt x="495827" y="1345760"/>
                  <a:pt x="495827" y="1345760"/>
                  <a:pt x="494572" y="1347465"/>
                </a:cubicBezTo>
                <a:cubicBezTo>
                  <a:pt x="492366" y="1350414"/>
                  <a:pt x="490094" y="1353304"/>
                  <a:pt x="487776" y="1356181"/>
                </a:cubicBezTo>
                <a:cubicBezTo>
                  <a:pt x="484805" y="1359972"/>
                  <a:pt x="482865" y="1363193"/>
                  <a:pt x="481248" y="1367571"/>
                </a:cubicBezTo>
                <a:cubicBezTo>
                  <a:pt x="480216" y="1367571"/>
                  <a:pt x="479186" y="1367571"/>
                  <a:pt x="478123" y="1367571"/>
                </a:cubicBezTo>
                <a:cubicBezTo>
                  <a:pt x="477963" y="1368558"/>
                  <a:pt x="477801" y="1369547"/>
                  <a:pt x="477635" y="1370565"/>
                </a:cubicBezTo>
                <a:cubicBezTo>
                  <a:pt x="475602" y="1378236"/>
                  <a:pt x="471952" y="1383371"/>
                  <a:pt x="465626" y="1388709"/>
                </a:cubicBezTo>
                <a:cubicBezTo>
                  <a:pt x="462272" y="1392748"/>
                  <a:pt x="462272" y="1392748"/>
                  <a:pt x="461233" y="1397340"/>
                </a:cubicBezTo>
                <a:cubicBezTo>
                  <a:pt x="460030" y="1401461"/>
                  <a:pt x="458298" y="1404501"/>
                  <a:pt x="455765" y="1408086"/>
                </a:cubicBezTo>
                <a:cubicBezTo>
                  <a:pt x="442829" y="1428603"/>
                  <a:pt x="441572" y="1454548"/>
                  <a:pt x="439070" y="1477490"/>
                </a:cubicBezTo>
                <a:cubicBezTo>
                  <a:pt x="437524" y="1477955"/>
                  <a:pt x="435977" y="1478420"/>
                  <a:pt x="434384" y="1478899"/>
                </a:cubicBezTo>
                <a:cubicBezTo>
                  <a:pt x="433739" y="1479916"/>
                  <a:pt x="433095" y="1480933"/>
                  <a:pt x="432431" y="1481982"/>
                </a:cubicBezTo>
                <a:cubicBezTo>
                  <a:pt x="428860" y="1487159"/>
                  <a:pt x="424291" y="1490903"/>
                  <a:pt x="418763" y="1494401"/>
                </a:cubicBezTo>
                <a:cubicBezTo>
                  <a:pt x="417731" y="1494401"/>
                  <a:pt x="416701" y="1494401"/>
                  <a:pt x="415639" y="1494401"/>
                </a:cubicBezTo>
                <a:cubicBezTo>
                  <a:pt x="415639" y="1495330"/>
                  <a:pt x="415639" y="1496260"/>
                  <a:pt x="415639" y="1497219"/>
                </a:cubicBezTo>
                <a:cubicBezTo>
                  <a:pt x="412546" y="1497684"/>
                  <a:pt x="409453" y="1498149"/>
                  <a:pt x="406265" y="1498628"/>
                </a:cubicBezTo>
                <a:cubicBezTo>
                  <a:pt x="406265" y="1499559"/>
                  <a:pt x="406265" y="1500488"/>
                  <a:pt x="406265" y="1501447"/>
                </a:cubicBezTo>
                <a:cubicBezTo>
                  <a:pt x="395955" y="1501447"/>
                  <a:pt x="385645" y="1501447"/>
                  <a:pt x="375023" y="1501447"/>
                </a:cubicBezTo>
                <a:lnTo>
                  <a:pt x="375023" y="1499438"/>
                </a:lnTo>
                <a:lnTo>
                  <a:pt x="374964" y="1499436"/>
                </a:lnTo>
                <a:lnTo>
                  <a:pt x="373179" y="1498628"/>
                </a:lnTo>
                <a:lnTo>
                  <a:pt x="365650" y="1498628"/>
                </a:lnTo>
                <a:lnTo>
                  <a:pt x="363134" y="1494087"/>
                </a:lnTo>
                <a:lnTo>
                  <a:pt x="362171" y="1493651"/>
                </a:lnTo>
                <a:cubicBezTo>
                  <a:pt x="361656" y="1492722"/>
                  <a:pt x="361140" y="1491791"/>
                  <a:pt x="360609" y="1490833"/>
                </a:cubicBezTo>
                <a:cubicBezTo>
                  <a:pt x="361640" y="1490833"/>
                  <a:pt x="362671" y="1490833"/>
                  <a:pt x="363733" y="1490833"/>
                </a:cubicBezTo>
                <a:lnTo>
                  <a:pt x="363733" y="1489980"/>
                </a:lnTo>
                <a:lnTo>
                  <a:pt x="348467" y="1481717"/>
                </a:lnTo>
                <a:lnTo>
                  <a:pt x="343872" y="1461078"/>
                </a:lnTo>
                <a:lnTo>
                  <a:pt x="343656" y="1463649"/>
                </a:lnTo>
                <a:cubicBezTo>
                  <a:pt x="343541" y="1465230"/>
                  <a:pt x="343541" y="1465230"/>
                  <a:pt x="343424" y="1466842"/>
                </a:cubicBezTo>
                <a:cubicBezTo>
                  <a:pt x="342908" y="1466842"/>
                  <a:pt x="342393" y="1466842"/>
                  <a:pt x="341861" y="1466842"/>
                </a:cubicBezTo>
                <a:cubicBezTo>
                  <a:pt x="340987" y="1449564"/>
                  <a:pt x="340999" y="1434331"/>
                  <a:pt x="354143" y="1420549"/>
                </a:cubicBezTo>
                <a:cubicBezTo>
                  <a:pt x="360765" y="1414011"/>
                  <a:pt x="367631" y="1407790"/>
                  <a:pt x="376229" y="1403427"/>
                </a:cubicBezTo>
                <a:lnTo>
                  <a:pt x="379491" y="1404408"/>
                </a:lnTo>
                <a:lnTo>
                  <a:pt x="379710" y="1404210"/>
                </a:lnTo>
                <a:cubicBezTo>
                  <a:pt x="380290" y="1402902"/>
                  <a:pt x="380290" y="1402902"/>
                  <a:pt x="380882" y="1401568"/>
                </a:cubicBezTo>
                <a:cubicBezTo>
                  <a:pt x="383675" y="1397284"/>
                  <a:pt x="387587" y="1395610"/>
                  <a:pt x="392207" y="1392936"/>
                </a:cubicBezTo>
                <a:lnTo>
                  <a:pt x="399542" y="1386774"/>
                </a:lnTo>
                <a:lnTo>
                  <a:pt x="405485" y="1378917"/>
                </a:lnTo>
                <a:cubicBezTo>
                  <a:pt x="408065" y="1375974"/>
                  <a:pt x="410029" y="1372774"/>
                  <a:pt x="412008" y="1369481"/>
                </a:cubicBezTo>
                <a:cubicBezTo>
                  <a:pt x="414759" y="1365166"/>
                  <a:pt x="417963" y="1361131"/>
                  <a:pt x="421130" y="1357057"/>
                </a:cubicBezTo>
                <a:cubicBezTo>
                  <a:pt x="423073" y="1354140"/>
                  <a:pt x="423985" y="1351767"/>
                  <a:pt x="424676" y="1348443"/>
                </a:cubicBezTo>
                <a:lnTo>
                  <a:pt x="427275" y="1348443"/>
                </a:lnTo>
                <a:lnTo>
                  <a:pt x="428135" y="1345727"/>
                </a:lnTo>
                <a:cubicBezTo>
                  <a:pt x="429370" y="1341828"/>
                  <a:pt x="430645" y="1338666"/>
                  <a:pt x="432822" y="1335158"/>
                </a:cubicBezTo>
                <a:cubicBezTo>
                  <a:pt x="433853" y="1335158"/>
                  <a:pt x="434884" y="1335158"/>
                  <a:pt x="435946" y="1335158"/>
                </a:cubicBezTo>
                <a:cubicBezTo>
                  <a:pt x="436526" y="1333385"/>
                  <a:pt x="437106" y="1331613"/>
                  <a:pt x="437704" y="1329786"/>
                </a:cubicBezTo>
                <a:cubicBezTo>
                  <a:pt x="440162" y="1323132"/>
                  <a:pt x="443602" y="1317301"/>
                  <a:pt x="447394" y="1311196"/>
                </a:cubicBezTo>
                <a:cubicBezTo>
                  <a:pt x="456493" y="1296485"/>
                  <a:pt x="463325" y="1281864"/>
                  <a:pt x="469287" y="1265964"/>
                </a:cubicBezTo>
                <a:cubicBezTo>
                  <a:pt x="474589" y="1252134"/>
                  <a:pt x="474589" y="1252134"/>
                  <a:pt x="478178" y="1246787"/>
                </a:cubicBezTo>
                <a:cubicBezTo>
                  <a:pt x="481232" y="1240246"/>
                  <a:pt x="480204" y="1232766"/>
                  <a:pt x="480179" y="1225768"/>
                </a:cubicBezTo>
                <a:cubicBezTo>
                  <a:pt x="480174" y="1222894"/>
                  <a:pt x="480210" y="1220023"/>
                  <a:pt x="480250" y="1217149"/>
                </a:cubicBezTo>
                <a:cubicBezTo>
                  <a:pt x="480260" y="1199291"/>
                  <a:pt x="476718" y="1187768"/>
                  <a:pt x="462972" y="1174827"/>
                </a:cubicBezTo>
                <a:cubicBezTo>
                  <a:pt x="461148" y="1173192"/>
                  <a:pt x="459312" y="1171566"/>
                  <a:pt x="457468" y="1169949"/>
                </a:cubicBezTo>
                <a:cubicBezTo>
                  <a:pt x="451412" y="1164522"/>
                  <a:pt x="445876" y="1158660"/>
                  <a:pt x="440657" y="1152570"/>
                </a:cubicBezTo>
                <a:cubicBezTo>
                  <a:pt x="430474" y="1140786"/>
                  <a:pt x="418230" y="1128998"/>
                  <a:pt x="403142" y="1122366"/>
                </a:cubicBezTo>
                <a:cubicBezTo>
                  <a:pt x="402626" y="1121436"/>
                  <a:pt x="402110" y="1120506"/>
                  <a:pt x="401579" y="1119547"/>
                </a:cubicBezTo>
                <a:cubicBezTo>
                  <a:pt x="390472" y="1115326"/>
                  <a:pt x="375918" y="1114217"/>
                  <a:pt x="364564" y="1118209"/>
                </a:cubicBezTo>
                <a:cubicBezTo>
                  <a:pt x="362278" y="1119428"/>
                  <a:pt x="360026" y="1120704"/>
                  <a:pt x="357822" y="1122041"/>
                </a:cubicBezTo>
                <a:cubicBezTo>
                  <a:pt x="354521" y="1123884"/>
                  <a:pt x="351862" y="1124582"/>
                  <a:pt x="348077" y="1125273"/>
                </a:cubicBezTo>
                <a:cubicBezTo>
                  <a:pt x="341765" y="1126696"/>
                  <a:pt x="339382" y="1128619"/>
                  <a:pt x="334408" y="1132230"/>
                </a:cubicBezTo>
                <a:cubicBezTo>
                  <a:pt x="332284" y="1132909"/>
                  <a:pt x="330131" y="1133519"/>
                  <a:pt x="327964" y="1134080"/>
                </a:cubicBezTo>
                <a:cubicBezTo>
                  <a:pt x="309975" y="1139067"/>
                  <a:pt x="290592" y="1152117"/>
                  <a:pt x="279734" y="1166051"/>
                </a:cubicBezTo>
                <a:cubicBezTo>
                  <a:pt x="277929" y="1169534"/>
                  <a:pt x="277929" y="1169534"/>
                  <a:pt x="276609" y="1173098"/>
                </a:cubicBezTo>
                <a:cubicBezTo>
                  <a:pt x="272413" y="1180804"/>
                  <a:pt x="269322" y="1184144"/>
                  <a:pt x="260988" y="1188599"/>
                </a:cubicBezTo>
                <a:cubicBezTo>
                  <a:pt x="259988" y="1189435"/>
                  <a:pt x="258987" y="1190271"/>
                  <a:pt x="257956" y="1191132"/>
                </a:cubicBezTo>
                <a:lnTo>
                  <a:pt x="243805" y="1196629"/>
                </a:lnTo>
                <a:lnTo>
                  <a:pt x="243805" y="1194236"/>
                </a:lnTo>
                <a:lnTo>
                  <a:pt x="240288" y="1194765"/>
                </a:lnTo>
                <a:lnTo>
                  <a:pt x="243374" y="1194765"/>
                </a:lnTo>
                <a:lnTo>
                  <a:pt x="243374" y="1196797"/>
                </a:lnTo>
                <a:lnTo>
                  <a:pt x="243805" y="1196629"/>
                </a:lnTo>
                <a:lnTo>
                  <a:pt x="243805" y="1197055"/>
                </a:lnTo>
                <a:lnTo>
                  <a:pt x="243374" y="1197055"/>
                </a:lnTo>
                <a:lnTo>
                  <a:pt x="243374" y="1197584"/>
                </a:lnTo>
                <a:lnTo>
                  <a:pt x="241319" y="1197595"/>
                </a:lnTo>
                <a:lnTo>
                  <a:pt x="238009" y="1198881"/>
                </a:lnTo>
                <a:cubicBezTo>
                  <a:pt x="231012" y="1199584"/>
                  <a:pt x="223620" y="1198927"/>
                  <a:pt x="215687" y="1198464"/>
                </a:cubicBezTo>
                <a:lnTo>
                  <a:pt x="215687" y="1197734"/>
                </a:lnTo>
                <a:lnTo>
                  <a:pt x="213936" y="1197744"/>
                </a:lnTo>
                <a:cubicBezTo>
                  <a:pt x="210570" y="1197584"/>
                  <a:pt x="210570" y="1197584"/>
                  <a:pt x="207446" y="1196175"/>
                </a:cubicBezTo>
                <a:lnTo>
                  <a:pt x="207822" y="1195610"/>
                </a:lnTo>
                <a:lnTo>
                  <a:pt x="184737" y="1180936"/>
                </a:lnTo>
                <a:cubicBezTo>
                  <a:pt x="180258" y="1172216"/>
                  <a:pt x="179226" y="1164355"/>
                  <a:pt x="179270" y="1154866"/>
                </a:cubicBezTo>
                <a:cubicBezTo>
                  <a:pt x="179233" y="1153260"/>
                  <a:pt x="179233" y="1153260"/>
                  <a:pt x="179194" y="1151621"/>
                </a:cubicBezTo>
                <a:cubicBezTo>
                  <a:pt x="179182" y="1139523"/>
                  <a:pt x="183658" y="1128837"/>
                  <a:pt x="193195" y="1120065"/>
                </a:cubicBezTo>
                <a:cubicBezTo>
                  <a:pt x="204265" y="1110959"/>
                  <a:pt x="215062" y="1110626"/>
                  <a:pt x="229551" y="1110299"/>
                </a:cubicBezTo>
                <a:cubicBezTo>
                  <a:pt x="240132" y="1110024"/>
                  <a:pt x="250506" y="1109652"/>
                  <a:pt x="260988" y="1108274"/>
                </a:cubicBezTo>
                <a:cubicBezTo>
                  <a:pt x="260988" y="1107344"/>
                  <a:pt x="260988" y="1106413"/>
                  <a:pt x="260988" y="1105455"/>
                </a:cubicBezTo>
                <a:cubicBezTo>
                  <a:pt x="261953" y="1105078"/>
                  <a:pt x="262918" y="1104699"/>
                  <a:pt x="263911" y="1104310"/>
                </a:cubicBezTo>
                <a:cubicBezTo>
                  <a:pt x="272903" y="1100557"/>
                  <a:pt x="279802" y="1096307"/>
                  <a:pt x="286995" y="1090185"/>
                </a:cubicBezTo>
                <a:cubicBezTo>
                  <a:pt x="290956" y="1086897"/>
                  <a:pt x="295114" y="1083955"/>
                  <a:pt x="299358" y="1080970"/>
                </a:cubicBezTo>
                <a:cubicBezTo>
                  <a:pt x="306613" y="1075692"/>
                  <a:pt x="312234" y="1070023"/>
                  <a:pt x="317762" y="1063272"/>
                </a:cubicBezTo>
                <a:cubicBezTo>
                  <a:pt x="320349" y="1060360"/>
                  <a:pt x="320349" y="1060360"/>
                  <a:pt x="325035" y="1057542"/>
                </a:cubicBezTo>
                <a:cubicBezTo>
                  <a:pt x="329912" y="1045734"/>
                  <a:pt x="327928" y="1035103"/>
                  <a:pt x="325328" y="1023104"/>
                </a:cubicBezTo>
                <a:cubicBezTo>
                  <a:pt x="325069" y="1021831"/>
                  <a:pt x="324811" y="1020559"/>
                  <a:pt x="324544" y="1019247"/>
                </a:cubicBezTo>
                <a:cubicBezTo>
                  <a:pt x="322876" y="1011407"/>
                  <a:pt x="320562" y="1004340"/>
                  <a:pt x="317225" y="996945"/>
                </a:cubicBezTo>
                <a:cubicBezTo>
                  <a:pt x="316619" y="995541"/>
                  <a:pt x="316013" y="994137"/>
                  <a:pt x="315388" y="992690"/>
                </a:cubicBezTo>
                <a:cubicBezTo>
                  <a:pt x="306307" y="972561"/>
                  <a:pt x="298931" y="959343"/>
                  <a:pt x="276232" y="950666"/>
                </a:cubicBezTo>
                <a:cubicBezTo>
                  <a:pt x="274810" y="950127"/>
                  <a:pt x="273388" y="949587"/>
                  <a:pt x="271923" y="949031"/>
                </a:cubicBezTo>
                <a:cubicBezTo>
                  <a:pt x="270129" y="948244"/>
                  <a:pt x="270129" y="948244"/>
                  <a:pt x="268299" y="947441"/>
                </a:cubicBezTo>
                <a:cubicBezTo>
                  <a:pt x="247071" y="938140"/>
                  <a:pt x="222259" y="939051"/>
                  <a:pt x="199187" y="938991"/>
                </a:cubicBezTo>
                <a:cubicBezTo>
                  <a:pt x="197383" y="938984"/>
                  <a:pt x="195579" y="938978"/>
                  <a:pt x="193719" y="938971"/>
                </a:cubicBezTo>
                <a:cubicBezTo>
                  <a:pt x="192010" y="938974"/>
                  <a:pt x="190300" y="938977"/>
                  <a:pt x="188539" y="938980"/>
                </a:cubicBezTo>
                <a:cubicBezTo>
                  <a:pt x="187000" y="938981"/>
                  <a:pt x="185460" y="938983"/>
                  <a:pt x="183874" y="938985"/>
                </a:cubicBezTo>
                <a:cubicBezTo>
                  <a:pt x="180148" y="939150"/>
                  <a:pt x="177092" y="939720"/>
                  <a:pt x="173509" y="940576"/>
                </a:cubicBezTo>
                <a:cubicBezTo>
                  <a:pt x="169458" y="940674"/>
                  <a:pt x="165452" y="940710"/>
                  <a:pt x="161403" y="940664"/>
                </a:cubicBezTo>
                <a:cubicBezTo>
                  <a:pt x="160314" y="940658"/>
                  <a:pt x="159224" y="940651"/>
                  <a:pt x="158102" y="940645"/>
                </a:cubicBezTo>
                <a:lnTo>
                  <a:pt x="150875" y="940583"/>
                </a:lnTo>
                <a:lnTo>
                  <a:pt x="148425" y="940717"/>
                </a:lnTo>
                <a:lnTo>
                  <a:pt x="149617" y="940995"/>
                </a:lnTo>
                <a:cubicBezTo>
                  <a:pt x="149617" y="941459"/>
                  <a:pt x="149617" y="941924"/>
                  <a:pt x="149617" y="942404"/>
                </a:cubicBezTo>
                <a:cubicBezTo>
                  <a:pt x="148630" y="942558"/>
                  <a:pt x="147643" y="942712"/>
                  <a:pt x="146627" y="942871"/>
                </a:cubicBezTo>
                <a:cubicBezTo>
                  <a:pt x="134541" y="944804"/>
                  <a:pt x="122553" y="947081"/>
                  <a:pt x="110564" y="949449"/>
                </a:cubicBezTo>
                <a:lnTo>
                  <a:pt x="111283" y="946205"/>
                </a:lnTo>
                <a:lnTo>
                  <a:pt x="101652" y="956078"/>
                </a:lnTo>
                <a:cubicBezTo>
                  <a:pt x="99870" y="957260"/>
                  <a:pt x="99870" y="957260"/>
                  <a:pt x="98052" y="958467"/>
                </a:cubicBezTo>
                <a:cubicBezTo>
                  <a:pt x="75683" y="972989"/>
                  <a:pt x="75683" y="972989"/>
                  <a:pt x="67286" y="972989"/>
                </a:cubicBezTo>
                <a:cubicBezTo>
                  <a:pt x="67286" y="973918"/>
                  <a:pt x="67286" y="974848"/>
                  <a:pt x="67286" y="975807"/>
                </a:cubicBezTo>
                <a:cubicBezTo>
                  <a:pt x="55713" y="979519"/>
                  <a:pt x="43549" y="980689"/>
                  <a:pt x="31942" y="976423"/>
                </a:cubicBezTo>
                <a:cubicBezTo>
                  <a:pt x="19953" y="970870"/>
                  <a:pt x="10774" y="964932"/>
                  <a:pt x="5673" y="953419"/>
                </a:cubicBezTo>
                <a:cubicBezTo>
                  <a:pt x="4801" y="950441"/>
                  <a:pt x="4801" y="950441"/>
                  <a:pt x="4801" y="944804"/>
                </a:cubicBezTo>
                <a:cubicBezTo>
                  <a:pt x="3770" y="944804"/>
                  <a:pt x="2739" y="944804"/>
                  <a:pt x="1676" y="944804"/>
                </a:cubicBezTo>
                <a:cubicBezTo>
                  <a:pt x="-34" y="940174"/>
                  <a:pt x="-41" y="936720"/>
                  <a:pt x="17" y="931857"/>
                </a:cubicBezTo>
                <a:cubicBezTo>
                  <a:pt x="31" y="930325"/>
                  <a:pt x="45" y="928794"/>
                  <a:pt x="59" y="927216"/>
                </a:cubicBezTo>
                <a:cubicBezTo>
                  <a:pt x="78" y="926044"/>
                  <a:pt x="96" y="924873"/>
                  <a:pt x="115" y="923666"/>
                </a:cubicBezTo>
                <a:cubicBezTo>
                  <a:pt x="1145" y="923666"/>
                  <a:pt x="2176" y="923666"/>
                  <a:pt x="3238" y="923666"/>
                </a:cubicBezTo>
                <a:cubicBezTo>
                  <a:pt x="3238" y="921805"/>
                  <a:pt x="3238" y="919945"/>
                  <a:pt x="3238" y="918029"/>
                </a:cubicBezTo>
                <a:cubicBezTo>
                  <a:pt x="4270" y="918029"/>
                  <a:pt x="5300" y="918029"/>
                  <a:pt x="6363" y="918029"/>
                </a:cubicBezTo>
                <a:cubicBezTo>
                  <a:pt x="6459" y="916314"/>
                  <a:pt x="6556" y="914599"/>
                  <a:pt x="6656" y="912832"/>
                </a:cubicBezTo>
                <a:cubicBezTo>
                  <a:pt x="7542" y="906455"/>
                  <a:pt x="10104" y="903750"/>
                  <a:pt x="15736" y="899709"/>
                </a:cubicBezTo>
                <a:lnTo>
                  <a:pt x="17243" y="898894"/>
                </a:lnTo>
                <a:lnTo>
                  <a:pt x="16800" y="898694"/>
                </a:lnTo>
                <a:lnTo>
                  <a:pt x="24988" y="894101"/>
                </a:lnTo>
                <a:lnTo>
                  <a:pt x="26768" y="892399"/>
                </a:lnTo>
                <a:cubicBezTo>
                  <a:pt x="28282" y="891122"/>
                  <a:pt x="29038" y="890483"/>
                  <a:pt x="30198" y="890164"/>
                </a:cubicBezTo>
                <a:lnTo>
                  <a:pt x="32204" y="890054"/>
                </a:lnTo>
                <a:lnTo>
                  <a:pt x="38914" y="886291"/>
                </a:lnTo>
                <a:cubicBezTo>
                  <a:pt x="47169" y="885770"/>
                  <a:pt x="55396" y="885800"/>
                  <a:pt x="63664" y="886011"/>
                </a:cubicBezTo>
                <a:lnTo>
                  <a:pt x="63664" y="886531"/>
                </a:lnTo>
                <a:lnTo>
                  <a:pt x="70784" y="886647"/>
                </a:lnTo>
                <a:cubicBezTo>
                  <a:pt x="74787" y="887000"/>
                  <a:pt x="77233" y="887948"/>
                  <a:pt x="82126" y="889845"/>
                </a:cubicBezTo>
                <a:cubicBezTo>
                  <a:pt x="92427" y="893791"/>
                  <a:pt x="103139" y="893710"/>
                  <a:pt x="114149" y="892663"/>
                </a:cubicBezTo>
                <a:cubicBezTo>
                  <a:pt x="115696" y="891733"/>
                  <a:pt x="117242" y="890803"/>
                  <a:pt x="118836" y="889845"/>
                </a:cubicBezTo>
                <a:cubicBezTo>
                  <a:pt x="123097" y="888850"/>
                  <a:pt x="127325" y="887944"/>
                  <a:pt x="131626" y="887114"/>
                </a:cubicBezTo>
                <a:cubicBezTo>
                  <a:pt x="139750" y="885542"/>
                  <a:pt x="147376" y="883653"/>
                  <a:pt x="155116" y="880913"/>
                </a:cubicBezTo>
                <a:cubicBezTo>
                  <a:pt x="158498" y="879775"/>
                  <a:pt x="161861" y="879076"/>
                  <a:pt x="165406" y="878483"/>
                </a:cubicBezTo>
                <a:cubicBezTo>
                  <a:pt x="170342" y="877655"/>
                  <a:pt x="172265" y="876971"/>
                  <a:pt x="176634" y="874343"/>
                </a:cubicBezTo>
                <a:cubicBezTo>
                  <a:pt x="179863" y="873335"/>
                  <a:pt x="183123" y="872404"/>
                  <a:pt x="186397" y="871524"/>
                </a:cubicBezTo>
                <a:cubicBezTo>
                  <a:pt x="189107" y="870786"/>
                  <a:pt x="189107" y="870786"/>
                  <a:pt x="191871" y="870033"/>
                </a:cubicBezTo>
                <a:cubicBezTo>
                  <a:pt x="195731" y="869023"/>
                  <a:pt x="199587" y="868093"/>
                  <a:pt x="203483" y="867208"/>
                </a:cubicBezTo>
                <a:cubicBezTo>
                  <a:pt x="208339" y="866199"/>
                  <a:pt x="208339" y="866199"/>
                  <a:pt x="211001" y="861660"/>
                </a:cubicBezTo>
                <a:cubicBezTo>
                  <a:pt x="214174" y="860102"/>
                  <a:pt x="214174" y="860102"/>
                  <a:pt x="218031" y="858577"/>
                </a:cubicBezTo>
                <a:cubicBezTo>
                  <a:pt x="236068" y="850629"/>
                  <a:pt x="245199" y="840442"/>
                  <a:pt x="254740" y="825020"/>
                </a:cubicBezTo>
                <a:cubicBezTo>
                  <a:pt x="255771" y="823625"/>
                  <a:pt x="256802" y="822230"/>
                  <a:pt x="257864" y="820792"/>
                </a:cubicBezTo>
                <a:cubicBezTo>
                  <a:pt x="258359" y="817506"/>
                  <a:pt x="258359" y="817506"/>
                  <a:pt x="258318" y="813810"/>
                </a:cubicBezTo>
                <a:cubicBezTo>
                  <a:pt x="258338" y="812388"/>
                  <a:pt x="258358" y="810967"/>
                  <a:pt x="258378" y="809502"/>
                </a:cubicBezTo>
                <a:cubicBezTo>
                  <a:pt x="258382" y="807965"/>
                  <a:pt x="258385" y="806429"/>
                  <a:pt x="258389" y="804845"/>
                </a:cubicBezTo>
                <a:cubicBezTo>
                  <a:pt x="258399" y="803258"/>
                  <a:pt x="258410" y="801671"/>
                  <a:pt x="258420" y="800036"/>
                </a:cubicBezTo>
                <a:cubicBezTo>
                  <a:pt x="258436" y="796670"/>
                  <a:pt x="258443" y="793305"/>
                  <a:pt x="258443" y="789939"/>
                </a:cubicBezTo>
                <a:cubicBezTo>
                  <a:pt x="258450" y="784823"/>
                  <a:pt x="258506" y="779709"/>
                  <a:pt x="258566" y="774594"/>
                </a:cubicBezTo>
                <a:cubicBezTo>
                  <a:pt x="258575" y="771319"/>
                  <a:pt x="258581" y="768045"/>
                  <a:pt x="258584" y="764771"/>
                </a:cubicBezTo>
                <a:cubicBezTo>
                  <a:pt x="258618" y="762495"/>
                  <a:pt x="258618" y="762495"/>
                  <a:pt x="258652" y="760174"/>
                </a:cubicBezTo>
                <a:cubicBezTo>
                  <a:pt x="258586" y="750030"/>
                  <a:pt x="256266" y="742584"/>
                  <a:pt x="251616" y="733421"/>
                </a:cubicBezTo>
                <a:cubicBezTo>
                  <a:pt x="250163" y="729605"/>
                  <a:pt x="248880" y="725752"/>
                  <a:pt x="247613" y="721883"/>
                </a:cubicBezTo>
                <a:cubicBezTo>
                  <a:pt x="245789" y="716328"/>
                  <a:pt x="243913" y="710939"/>
                  <a:pt x="241291" y="705644"/>
                </a:cubicBezTo>
                <a:cubicBezTo>
                  <a:pt x="238691" y="700096"/>
                  <a:pt x="238136" y="695685"/>
                  <a:pt x="237557" y="689735"/>
                </a:cubicBezTo>
                <a:cubicBezTo>
                  <a:pt x="244977" y="685507"/>
                  <a:pt x="244977" y="685507"/>
                  <a:pt x="248492" y="685507"/>
                </a:cubicBezTo>
                <a:cubicBezTo>
                  <a:pt x="248492" y="684112"/>
                  <a:pt x="248492" y="682717"/>
                  <a:pt x="248492" y="681279"/>
                </a:cubicBezTo>
                <a:cubicBezTo>
                  <a:pt x="245914" y="680815"/>
                  <a:pt x="243337" y="680350"/>
                  <a:pt x="240681" y="679870"/>
                </a:cubicBezTo>
                <a:cubicBezTo>
                  <a:pt x="240681" y="678940"/>
                  <a:pt x="240681" y="678010"/>
                  <a:pt x="240681" y="677052"/>
                </a:cubicBezTo>
                <a:cubicBezTo>
                  <a:pt x="239827" y="676917"/>
                  <a:pt x="238973" y="676783"/>
                  <a:pt x="238094" y="676645"/>
                </a:cubicBezTo>
                <a:cubicBezTo>
                  <a:pt x="233442" y="675371"/>
                  <a:pt x="229939" y="673242"/>
                  <a:pt x="225841" y="670886"/>
                </a:cubicBezTo>
                <a:cubicBezTo>
                  <a:pt x="217808" y="666564"/>
                  <a:pt x="210635" y="664241"/>
                  <a:pt x="201531" y="662508"/>
                </a:cubicBezTo>
                <a:cubicBezTo>
                  <a:pt x="196896" y="661541"/>
                  <a:pt x="192682" y="660199"/>
                  <a:pt x="188252" y="658644"/>
                </a:cubicBezTo>
                <a:lnTo>
                  <a:pt x="182431" y="657327"/>
                </a:lnTo>
                <a:lnTo>
                  <a:pt x="182431" y="657613"/>
                </a:lnTo>
                <a:cubicBezTo>
                  <a:pt x="170575" y="657148"/>
                  <a:pt x="158718" y="656683"/>
                  <a:pt x="146503" y="656204"/>
                </a:cubicBezTo>
                <a:cubicBezTo>
                  <a:pt x="146503" y="657133"/>
                  <a:pt x="146503" y="658064"/>
                  <a:pt x="146503" y="659022"/>
                </a:cubicBezTo>
                <a:cubicBezTo>
                  <a:pt x="134359" y="662326"/>
                  <a:pt x="123013" y="663700"/>
                  <a:pt x="110378" y="663778"/>
                </a:cubicBezTo>
                <a:cubicBezTo>
                  <a:pt x="108435" y="663806"/>
                  <a:pt x="108435" y="663806"/>
                  <a:pt x="106453" y="663836"/>
                </a:cubicBezTo>
                <a:cubicBezTo>
                  <a:pt x="105231" y="663828"/>
                  <a:pt x="104009" y="663820"/>
                  <a:pt x="102751" y="663811"/>
                </a:cubicBezTo>
                <a:cubicBezTo>
                  <a:pt x="101117" y="663804"/>
                  <a:pt x="101117" y="663804"/>
                  <a:pt x="99449" y="663797"/>
                </a:cubicBezTo>
                <a:cubicBezTo>
                  <a:pt x="95696" y="663097"/>
                  <a:pt x="94265" y="661615"/>
                  <a:pt x="91828" y="659022"/>
                </a:cubicBezTo>
                <a:cubicBezTo>
                  <a:pt x="93890" y="659022"/>
                  <a:pt x="95953" y="659022"/>
                  <a:pt x="98077" y="659022"/>
                </a:cubicBezTo>
                <a:cubicBezTo>
                  <a:pt x="98077" y="659952"/>
                  <a:pt x="98077" y="660882"/>
                  <a:pt x="98077" y="661841"/>
                </a:cubicBezTo>
                <a:cubicBezTo>
                  <a:pt x="108735" y="662045"/>
                  <a:pt x="114063" y="662148"/>
                  <a:pt x="119023" y="661357"/>
                </a:cubicBezTo>
                <a:lnTo>
                  <a:pt x="119536" y="661197"/>
                </a:lnTo>
                <a:lnTo>
                  <a:pt x="109853" y="661639"/>
                </a:lnTo>
                <a:cubicBezTo>
                  <a:pt x="108764" y="661632"/>
                  <a:pt x="107675" y="661626"/>
                  <a:pt x="106552" y="661619"/>
                </a:cubicBezTo>
                <a:cubicBezTo>
                  <a:pt x="103877" y="661603"/>
                  <a:pt x="101203" y="661577"/>
                  <a:pt x="98528" y="661550"/>
                </a:cubicBezTo>
                <a:cubicBezTo>
                  <a:pt x="98528" y="660620"/>
                  <a:pt x="98528" y="659691"/>
                  <a:pt x="98528" y="658732"/>
                </a:cubicBezTo>
                <a:cubicBezTo>
                  <a:pt x="95435" y="658267"/>
                  <a:pt x="92342" y="657802"/>
                  <a:pt x="89155" y="657323"/>
                </a:cubicBezTo>
                <a:cubicBezTo>
                  <a:pt x="89155" y="656393"/>
                  <a:pt x="89155" y="655462"/>
                  <a:pt x="89155" y="654504"/>
                </a:cubicBezTo>
                <a:cubicBezTo>
                  <a:pt x="87790" y="653978"/>
                  <a:pt x="87790" y="653978"/>
                  <a:pt x="86397" y="653442"/>
                </a:cubicBezTo>
                <a:cubicBezTo>
                  <a:pt x="82415" y="651438"/>
                  <a:pt x="80039" y="649232"/>
                  <a:pt x="77049" y="646137"/>
                </a:cubicBezTo>
                <a:cubicBezTo>
                  <a:pt x="75611" y="644679"/>
                  <a:pt x="75611" y="644679"/>
                  <a:pt x="74145" y="643192"/>
                </a:cubicBezTo>
                <a:cubicBezTo>
                  <a:pt x="71972" y="640412"/>
                  <a:pt x="71972" y="640412"/>
                  <a:pt x="71972" y="636185"/>
                </a:cubicBezTo>
                <a:cubicBezTo>
                  <a:pt x="70941" y="636185"/>
                  <a:pt x="69910" y="636185"/>
                  <a:pt x="68848" y="636185"/>
                </a:cubicBezTo>
                <a:cubicBezTo>
                  <a:pt x="64250" y="621928"/>
                  <a:pt x="64695" y="609404"/>
                  <a:pt x="70410" y="595317"/>
                </a:cubicBezTo>
                <a:cubicBezTo>
                  <a:pt x="73096" y="591142"/>
                  <a:pt x="76144" y="587574"/>
                  <a:pt x="79782" y="584043"/>
                </a:cubicBezTo>
                <a:cubicBezTo>
                  <a:pt x="81205" y="582594"/>
                  <a:pt x="81205" y="582594"/>
                  <a:pt x="82656" y="581115"/>
                </a:cubicBezTo>
                <a:cubicBezTo>
                  <a:pt x="91488" y="574027"/>
                  <a:pt x="105133" y="571806"/>
                  <a:pt x="116694" y="572323"/>
                </a:cubicBezTo>
                <a:cubicBezTo>
                  <a:pt x="131556" y="574113"/>
                  <a:pt x="142046" y="580551"/>
                  <a:pt x="152031" y="590385"/>
                </a:cubicBezTo>
                <a:cubicBezTo>
                  <a:pt x="162272" y="600009"/>
                  <a:pt x="176992" y="605062"/>
                  <a:pt x="191474" y="605886"/>
                </a:cubicBezTo>
                <a:cubicBezTo>
                  <a:pt x="196845" y="606192"/>
                  <a:pt x="201203" y="606463"/>
                  <a:pt x="206314" y="608000"/>
                </a:cubicBezTo>
                <a:cubicBezTo>
                  <a:pt x="206314" y="608930"/>
                  <a:pt x="206314" y="609860"/>
                  <a:pt x="206314" y="610818"/>
                </a:cubicBezTo>
                <a:cubicBezTo>
                  <a:pt x="215689" y="610902"/>
                  <a:pt x="225058" y="610898"/>
                  <a:pt x="234433" y="610818"/>
                </a:cubicBezTo>
                <a:cubicBezTo>
                  <a:pt x="236112" y="610813"/>
                  <a:pt x="237791" y="610808"/>
                  <a:pt x="239522" y="610802"/>
                </a:cubicBezTo>
                <a:cubicBezTo>
                  <a:pt x="251005" y="610364"/>
                  <a:pt x="259257" y="606564"/>
                  <a:pt x="268799" y="600954"/>
                </a:cubicBezTo>
                <a:cubicBezTo>
                  <a:pt x="269770" y="600416"/>
                  <a:pt x="270740" y="599879"/>
                  <a:pt x="271740" y="599325"/>
                </a:cubicBezTo>
                <a:cubicBezTo>
                  <a:pt x="279452" y="594430"/>
                  <a:pt x="281420" y="587464"/>
                  <a:pt x="284420" y="579816"/>
                </a:cubicBezTo>
                <a:cubicBezTo>
                  <a:pt x="286047" y="576075"/>
                  <a:pt x="287725" y="572353"/>
                  <a:pt x="289399" y="568630"/>
                </a:cubicBezTo>
                <a:cubicBezTo>
                  <a:pt x="294095" y="558121"/>
                  <a:pt x="299004" y="547070"/>
                  <a:pt x="293958" y="535838"/>
                </a:cubicBezTo>
                <a:cubicBezTo>
                  <a:pt x="292436" y="533533"/>
                  <a:pt x="290781" y="531301"/>
                  <a:pt x="289107" y="529084"/>
                </a:cubicBezTo>
                <a:cubicBezTo>
                  <a:pt x="289107" y="528153"/>
                  <a:pt x="289107" y="527223"/>
                  <a:pt x="289107" y="526265"/>
                </a:cubicBezTo>
                <a:cubicBezTo>
                  <a:pt x="287560" y="525800"/>
                  <a:pt x="286014" y="525335"/>
                  <a:pt x="284420" y="524856"/>
                </a:cubicBezTo>
                <a:cubicBezTo>
                  <a:pt x="283905" y="523461"/>
                  <a:pt x="283389" y="522066"/>
                  <a:pt x="282858" y="520628"/>
                </a:cubicBezTo>
                <a:cubicBezTo>
                  <a:pt x="280750" y="518590"/>
                  <a:pt x="280750" y="518590"/>
                  <a:pt x="277977" y="516577"/>
                </a:cubicBezTo>
                <a:cubicBezTo>
                  <a:pt x="273591" y="513232"/>
                  <a:pt x="269227" y="509874"/>
                  <a:pt x="264925" y="506443"/>
                </a:cubicBezTo>
                <a:cubicBezTo>
                  <a:pt x="253596" y="497433"/>
                  <a:pt x="242132" y="488987"/>
                  <a:pt x="229746" y="481170"/>
                </a:cubicBezTo>
                <a:cubicBezTo>
                  <a:pt x="226846" y="479266"/>
                  <a:pt x="223950" y="477358"/>
                  <a:pt x="221057" y="475445"/>
                </a:cubicBezTo>
                <a:cubicBezTo>
                  <a:pt x="218227" y="473594"/>
                  <a:pt x="215396" y="471744"/>
                  <a:pt x="212563" y="469896"/>
                </a:cubicBezTo>
                <a:cubicBezTo>
                  <a:pt x="211351" y="469102"/>
                  <a:pt x="210138" y="468309"/>
                  <a:pt x="208889" y="467491"/>
                </a:cubicBezTo>
                <a:cubicBezTo>
                  <a:pt x="202848" y="463599"/>
                  <a:pt x="196732" y="459888"/>
                  <a:pt x="190406" y="456382"/>
                </a:cubicBezTo>
                <a:cubicBezTo>
                  <a:pt x="189263" y="455748"/>
                  <a:pt x="188119" y="455114"/>
                  <a:pt x="186942" y="454460"/>
                </a:cubicBezTo>
                <a:cubicBezTo>
                  <a:pt x="184648" y="453196"/>
                  <a:pt x="182348" y="451941"/>
                  <a:pt x="180041" y="450696"/>
                </a:cubicBezTo>
                <a:cubicBezTo>
                  <a:pt x="177292" y="449185"/>
                  <a:pt x="174612" y="447571"/>
                  <a:pt x="171948" y="445940"/>
                </a:cubicBezTo>
                <a:cubicBezTo>
                  <a:pt x="171948" y="445009"/>
                  <a:pt x="171948" y="444079"/>
                  <a:pt x="171948" y="443121"/>
                </a:cubicBezTo>
                <a:cubicBezTo>
                  <a:pt x="170804" y="442985"/>
                  <a:pt x="169660" y="442848"/>
                  <a:pt x="168482" y="442708"/>
                </a:cubicBezTo>
                <a:cubicBezTo>
                  <a:pt x="163547" y="441576"/>
                  <a:pt x="161063" y="439897"/>
                  <a:pt x="157107" y="437044"/>
                </a:cubicBezTo>
                <a:cubicBezTo>
                  <a:pt x="149345" y="431895"/>
                  <a:pt x="141843" y="429626"/>
                  <a:pt x="132559" y="427510"/>
                </a:cubicBezTo>
                <a:cubicBezTo>
                  <a:pt x="128067" y="426168"/>
                  <a:pt x="126607" y="425060"/>
                  <a:pt x="123522" y="421983"/>
                </a:cubicBezTo>
                <a:cubicBezTo>
                  <a:pt x="118310" y="419033"/>
                  <a:pt x="114076" y="418794"/>
                  <a:pt x="107986" y="418730"/>
                </a:cubicBezTo>
                <a:cubicBezTo>
                  <a:pt x="106174" y="418694"/>
                  <a:pt x="104362" y="418659"/>
                  <a:pt x="102494" y="418622"/>
                </a:cubicBezTo>
                <a:cubicBezTo>
                  <a:pt x="98715" y="418573"/>
                  <a:pt x="94936" y="418529"/>
                  <a:pt x="91157" y="418490"/>
                </a:cubicBezTo>
                <a:cubicBezTo>
                  <a:pt x="78470" y="418231"/>
                  <a:pt x="65485" y="417940"/>
                  <a:pt x="55277" y="410445"/>
                </a:cubicBezTo>
                <a:cubicBezTo>
                  <a:pt x="54084" y="409137"/>
                  <a:pt x="52893" y="407829"/>
                  <a:pt x="51665" y="406481"/>
                </a:cubicBezTo>
                <a:cubicBezTo>
                  <a:pt x="49752" y="404480"/>
                  <a:pt x="47831" y="402483"/>
                  <a:pt x="45904" y="400492"/>
                </a:cubicBezTo>
                <a:cubicBezTo>
                  <a:pt x="44996" y="399526"/>
                  <a:pt x="44088" y="398559"/>
                  <a:pt x="43152" y="397564"/>
                </a:cubicBezTo>
                <a:cubicBezTo>
                  <a:pt x="40865" y="395062"/>
                  <a:pt x="40865" y="395062"/>
                  <a:pt x="37605" y="393798"/>
                </a:cubicBezTo>
                <a:lnTo>
                  <a:pt x="38995" y="368712"/>
                </a:lnTo>
                <a:lnTo>
                  <a:pt x="38666" y="369724"/>
                </a:lnTo>
                <a:cubicBezTo>
                  <a:pt x="37003" y="374506"/>
                  <a:pt x="36202" y="379113"/>
                  <a:pt x="35542" y="384081"/>
                </a:cubicBezTo>
                <a:cubicBezTo>
                  <a:pt x="30313" y="376119"/>
                  <a:pt x="31188" y="366593"/>
                  <a:pt x="33326" y="357791"/>
                </a:cubicBezTo>
                <a:cubicBezTo>
                  <a:pt x="37176" y="347767"/>
                  <a:pt x="44536" y="340769"/>
                  <a:pt x="52725" y="333349"/>
                </a:cubicBezTo>
                <a:lnTo>
                  <a:pt x="55222" y="334475"/>
                </a:lnTo>
                <a:lnTo>
                  <a:pt x="56222" y="333347"/>
                </a:lnTo>
                <a:lnTo>
                  <a:pt x="55871" y="333347"/>
                </a:lnTo>
                <a:lnTo>
                  <a:pt x="56346" y="333207"/>
                </a:lnTo>
                <a:lnTo>
                  <a:pt x="56351" y="333202"/>
                </a:lnTo>
                <a:lnTo>
                  <a:pt x="56365" y="333202"/>
                </a:lnTo>
                <a:lnTo>
                  <a:pt x="79571" y="326360"/>
                </a:lnTo>
                <a:cubicBezTo>
                  <a:pt x="87782" y="326037"/>
                  <a:pt x="96164" y="327572"/>
                  <a:pt x="104297" y="330529"/>
                </a:cubicBezTo>
                <a:lnTo>
                  <a:pt x="107170" y="334417"/>
                </a:lnTo>
                <a:lnTo>
                  <a:pt x="109366" y="336046"/>
                </a:lnTo>
                <a:lnTo>
                  <a:pt x="109463" y="336020"/>
                </a:lnTo>
                <a:lnTo>
                  <a:pt x="109463" y="336118"/>
                </a:lnTo>
                <a:lnTo>
                  <a:pt x="115226" y="340394"/>
                </a:lnTo>
                <a:lnTo>
                  <a:pt x="114010" y="340120"/>
                </a:lnTo>
                <a:lnTo>
                  <a:pt x="133285" y="357423"/>
                </a:lnTo>
                <a:cubicBezTo>
                  <a:pt x="142471" y="373187"/>
                  <a:pt x="155564" y="382744"/>
                  <a:pt x="173509" y="389571"/>
                </a:cubicBezTo>
                <a:cubicBezTo>
                  <a:pt x="176254" y="390785"/>
                  <a:pt x="178988" y="392017"/>
                  <a:pt x="181711" y="393270"/>
                </a:cubicBezTo>
                <a:cubicBezTo>
                  <a:pt x="182964" y="393833"/>
                  <a:pt x="184216" y="394396"/>
                  <a:pt x="185507" y="394976"/>
                </a:cubicBezTo>
                <a:cubicBezTo>
                  <a:pt x="187897" y="396058"/>
                  <a:pt x="190281" y="397151"/>
                  <a:pt x="192658" y="398257"/>
                </a:cubicBezTo>
                <a:cubicBezTo>
                  <a:pt x="193749" y="398762"/>
                  <a:pt x="194841" y="399267"/>
                  <a:pt x="195966" y="399788"/>
                </a:cubicBezTo>
                <a:cubicBezTo>
                  <a:pt x="196912" y="400231"/>
                  <a:pt x="197858" y="400674"/>
                  <a:pt x="198833" y="401131"/>
                </a:cubicBezTo>
                <a:cubicBezTo>
                  <a:pt x="201808" y="402326"/>
                  <a:pt x="204701" y="403032"/>
                  <a:pt x="207877" y="403663"/>
                </a:cubicBezTo>
                <a:cubicBezTo>
                  <a:pt x="207877" y="404593"/>
                  <a:pt x="207877" y="405523"/>
                  <a:pt x="207877" y="406481"/>
                </a:cubicBezTo>
                <a:cubicBezTo>
                  <a:pt x="221233" y="411377"/>
                  <a:pt x="234752" y="415503"/>
                  <a:pt x="248492" y="419428"/>
                </a:cubicBezTo>
                <a:cubicBezTo>
                  <a:pt x="250298" y="419947"/>
                  <a:pt x="252104" y="420466"/>
                  <a:pt x="253965" y="421000"/>
                </a:cubicBezTo>
                <a:cubicBezTo>
                  <a:pt x="258388" y="422270"/>
                  <a:pt x="262812" y="423537"/>
                  <a:pt x="267237" y="424801"/>
                </a:cubicBezTo>
                <a:lnTo>
                  <a:pt x="267237" y="426451"/>
                </a:lnTo>
                <a:lnTo>
                  <a:pt x="288701" y="429217"/>
                </a:lnTo>
                <a:cubicBezTo>
                  <a:pt x="288701" y="430147"/>
                  <a:pt x="288701" y="431078"/>
                  <a:pt x="288701" y="432036"/>
                </a:cubicBezTo>
                <a:cubicBezTo>
                  <a:pt x="301487" y="433472"/>
                  <a:pt x="314148" y="433662"/>
                  <a:pt x="327010" y="433628"/>
                </a:cubicBezTo>
                <a:cubicBezTo>
                  <a:pt x="330502" y="433621"/>
                  <a:pt x="333994" y="433628"/>
                  <a:pt x="337486" y="433637"/>
                </a:cubicBezTo>
                <a:cubicBezTo>
                  <a:pt x="339734" y="433637"/>
                  <a:pt x="341982" y="433635"/>
                  <a:pt x="344229" y="433632"/>
                </a:cubicBezTo>
                <a:cubicBezTo>
                  <a:pt x="347246" y="433630"/>
                  <a:pt x="347246" y="433630"/>
                  <a:pt x="350323" y="433627"/>
                </a:cubicBezTo>
                <a:cubicBezTo>
                  <a:pt x="355445" y="433459"/>
                  <a:pt x="360220" y="432915"/>
                  <a:pt x="365245" y="432036"/>
                </a:cubicBezTo>
                <a:lnTo>
                  <a:pt x="360797" y="433759"/>
                </a:lnTo>
                <a:lnTo>
                  <a:pt x="365650" y="433257"/>
                </a:lnTo>
                <a:cubicBezTo>
                  <a:pt x="366166" y="431861"/>
                  <a:pt x="366682" y="430466"/>
                  <a:pt x="367213" y="429029"/>
                </a:cubicBezTo>
                <a:cubicBezTo>
                  <a:pt x="369854" y="427628"/>
                  <a:pt x="372501" y="426234"/>
                  <a:pt x="375188" y="424906"/>
                </a:cubicBezTo>
                <a:cubicBezTo>
                  <a:pt x="390245" y="417204"/>
                  <a:pt x="397438" y="403183"/>
                  <a:pt x="404704" y="389571"/>
                </a:cubicBezTo>
                <a:cubicBezTo>
                  <a:pt x="405219" y="389105"/>
                  <a:pt x="405734" y="388641"/>
                  <a:pt x="406265" y="388161"/>
                </a:cubicBezTo>
                <a:cubicBezTo>
                  <a:pt x="406663" y="382152"/>
                  <a:pt x="406555" y="376125"/>
                  <a:pt x="406559" y="370106"/>
                </a:cubicBezTo>
                <a:cubicBezTo>
                  <a:pt x="406578" y="368412"/>
                  <a:pt x="406597" y="366718"/>
                  <a:pt x="406617" y="364973"/>
                </a:cubicBezTo>
                <a:cubicBezTo>
                  <a:pt x="406620" y="363344"/>
                  <a:pt x="406622" y="361715"/>
                  <a:pt x="406626" y="360038"/>
                </a:cubicBezTo>
                <a:cubicBezTo>
                  <a:pt x="406632" y="358541"/>
                  <a:pt x="406638" y="357045"/>
                  <a:pt x="406645" y="355503"/>
                </a:cubicBezTo>
                <a:cubicBezTo>
                  <a:pt x="406264" y="351503"/>
                  <a:pt x="405326" y="349318"/>
                  <a:pt x="403142" y="345885"/>
                </a:cubicBezTo>
                <a:cubicBezTo>
                  <a:pt x="402583" y="343484"/>
                  <a:pt x="402067" y="341075"/>
                  <a:pt x="401579" y="338663"/>
                </a:cubicBezTo>
                <a:cubicBezTo>
                  <a:pt x="399365" y="330323"/>
                  <a:pt x="395538" y="323370"/>
                  <a:pt x="390938" y="315939"/>
                </a:cubicBezTo>
                <a:cubicBezTo>
                  <a:pt x="390290" y="314890"/>
                  <a:pt x="389642" y="313842"/>
                  <a:pt x="388976" y="312762"/>
                </a:cubicBezTo>
                <a:cubicBezTo>
                  <a:pt x="385623" y="307500"/>
                  <a:pt x="382070" y="302607"/>
                  <a:pt x="377934" y="297817"/>
                </a:cubicBezTo>
                <a:cubicBezTo>
                  <a:pt x="373788" y="292978"/>
                  <a:pt x="371423" y="288111"/>
                  <a:pt x="368775" y="282470"/>
                </a:cubicBezTo>
                <a:cubicBezTo>
                  <a:pt x="366035" y="278585"/>
                  <a:pt x="362994" y="274937"/>
                  <a:pt x="359890" y="271284"/>
                </a:cubicBezTo>
                <a:cubicBezTo>
                  <a:pt x="359059" y="270296"/>
                  <a:pt x="358230" y="269307"/>
                  <a:pt x="357374" y="268288"/>
                </a:cubicBezTo>
                <a:cubicBezTo>
                  <a:pt x="351312" y="261177"/>
                  <a:pt x="344882" y="254704"/>
                  <a:pt x="337533" y="248649"/>
                </a:cubicBezTo>
                <a:cubicBezTo>
                  <a:pt x="336767" y="247896"/>
                  <a:pt x="336002" y="247144"/>
                  <a:pt x="335214" y="246369"/>
                </a:cubicBezTo>
                <a:cubicBezTo>
                  <a:pt x="332597" y="243963"/>
                  <a:pt x="332597" y="243963"/>
                  <a:pt x="327085" y="242571"/>
                </a:cubicBezTo>
                <a:cubicBezTo>
                  <a:pt x="309670" y="236923"/>
                  <a:pt x="296614" y="222751"/>
                  <a:pt x="288785" y="207968"/>
                </a:cubicBezTo>
                <a:cubicBezTo>
                  <a:pt x="286673" y="202851"/>
                  <a:pt x="286348" y="197968"/>
                  <a:pt x="286373" y="192544"/>
                </a:cubicBezTo>
                <a:cubicBezTo>
                  <a:pt x="286377" y="191437"/>
                  <a:pt x="286381" y="190330"/>
                  <a:pt x="286385" y="189190"/>
                </a:cubicBezTo>
                <a:cubicBezTo>
                  <a:pt x="286881" y="178340"/>
                  <a:pt x="291581" y="171728"/>
                  <a:pt x="300042" y="164095"/>
                </a:cubicBezTo>
                <a:cubicBezTo>
                  <a:pt x="301386" y="162752"/>
                  <a:pt x="301386" y="162752"/>
                  <a:pt x="302757" y="161381"/>
                </a:cubicBezTo>
                <a:cubicBezTo>
                  <a:pt x="312597" y="152504"/>
                  <a:pt x="325185" y="152675"/>
                  <a:pt x="338411" y="152293"/>
                </a:cubicBezTo>
                <a:cubicBezTo>
                  <a:pt x="350839" y="152463"/>
                  <a:pt x="359094" y="154554"/>
                  <a:pt x="368482" y="161893"/>
                </a:cubicBezTo>
                <a:cubicBezTo>
                  <a:pt x="369609" y="163085"/>
                  <a:pt x="370737" y="164277"/>
                  <a:pt x="371899" y="165505"/>
                </a:cubicBezTo>
                <a:cubicBezTo>
                  <a:pt x="372962" y="166522"/>
                  <a:pt x="374026" y="167539"/>
                  <a:pt x="375121" y="168587"/>
                </a:cubicBezTo>
                <a:cubicBezTo>
                  <a:pt x="381050" y="176351"/>
                  <a:pt x="384520" y="184328"/>
                  <a:pt x="384982" y="193777"/>
                </a:cubicBezTo>
                <a:cubicBezTo>
                  <a:pt x="385464" y="201192"/>
                  <a:pt x="387638" y="207607"/>
                  <a:pt x="390352" y="214563"/>
                </a:cubicBezTo>
                <a:cubicBezTo>
                  <a:pt x="390934" y="216079"/>
                  <a:pt x="390934" y="216079"/>
                  <a:pt x="391529" y="217626"/>
                </a:cubicBezTo>
                <a:cubicBezTo>
                  <a:pt x="394082" y="223926"/>
                  <a:pt x="397412" y="228969"/>
                  <a:pt x="401579" y="234556"/>
                </a:cubicBezTo>
                <a:cubicBezTo>
                  <a:pt x="401579" y="235952"/>
                  <a:pt x="401579" y="237347"/>
                  <a:pt x="401579" y="238784"/>
                </a:cubicBezTo>
                <a:cubicBezTo>
                  <a:pt x="402884" y="239263"/>
                  <a:pt x="402884" y="239263"/>
                  <a:pt x="404215" y="239753"/>
                </a:cubicBezTo>
                <a:cubicBezTo>
                  <a:pt x="410099" y="242765"/>
                  <a:pt x="414395" y="246733"/>
                  <a:pt x="417811" y="251996"/>
                </a:cubicBezTo>
                <a:cubicBezTo>
                  <a:pt x="420462" y="255897"/>
                  <a:pt x="423407" y="258959"/>
                  <a:pt x="426866" y="262300"/>
                </a:cubicBezTo>
                <a:cubicBezTo>
                  <a:pt x="435101" y="270407"/>
                  <a:pt x="442641" y="278936"/>
                  <a:pt x="450097" y="287628"/>
                </a:cubicBezTo>
                <a:cubicBezTo>
                  <a:pt x="453081" y="291117"/>
                  <a:pt x="453081" y="291117"/>
                  <a:pt x="457425" y="293920"/>
                </a:cubicBezTo>
                <a:cubicBezTo>
                  <a:pt x="458585" y="294792"/>
                  <a:pt x="459745" y="295664"/>
                  <a:pt x="460940" y="296562"/>
                </a:cubicBezTo>
                <a:cubicBezTo>
                  <a:pt x="460940" y="297957"/>
                  <a:pt x="460940" y="299352"/>
                  <a:pt x="460940" y="300790"/>
                </a:cubicBezTo>
                <a:cubicBezTo>
                  <a:pt x="465063" y="302782"/>
                  <a:pt x="468862" y="304133"/>
                  <a:pt x="473437" y="305018"/>
                </a:cubicBezTo>
                <a:cubicBezTo>
                  <a:pt x="473437" y="305947"/>
                  <a:pt x="473437" y="306877"/>
                  <a:pt x="473437" y="307836"/>
                </a:cubicBezTo>
                <a:cubicBezTo>
                  <a:pt x="475581" y="308519"/>
                  <a:pt x="477730" y="309193"/>
                  <a:pt x="479881" y="309862"/>
                </a:cubicBezTo>
                <a:cubicBezTo>
                  <a:pt x="481077" y="310237"/>
                  <a:pt x="482273" y="310614"/>
                  <a:pt x="483505" y="311001"/>
                </a:cubicBezTo>
                <a:cubicBezTo>
                  <a:pt x="505448" y="316843"/>
                  <a:pt x="527690" y="314359"/>
                  <a:pt x="548419" y="306427"/>
                </a:cubicBezTo>
                <a:cubicBezTo>
                  <a:pt x="549548" y="305998"/>
                  <a:pt x="550678" y="305569"/>
                  <a:pt x="551842" y="305127"/>
                </a:cubicBezTo>
                <a:cubicBezTo>
                  <a:pt x="555376" y="303227"/>
                  <a:pt x="557584" y="300980"/>
                  <a:pt x="560232" y="298148"/>
                </a:cubicBezTo>
                <a:cubicBezTo>
                  <a:pt x="561137" y="297192"/>
                  <a:pt x="562041" y="296236"/>
                  <a:pt x="562972" y="295252"/>
                </a:cubicBezTo>
                <a:cubicBezTo>
                  <a:pt x="564755" y="293274"/>
                  <a:pt x="566459" y="291237"/>
                  <a:pt x="568086" y="289152"/>
                </a:cubicBezTo>
                <a:cubicBezTo>
                  <a:pt x="568813" y="288342"/>
                  <a:pt x="569539" y="287532"/>
                  <a:pt x="570289" y="286697"/>
                </a:cubicBezTo>
                <a:cubicBezTo>
                  <a:pt x="571319" y="286697"/>
                  <a:pt x="572350" y="286697"/>
                  <a:pt x="573413" y="286697"/>
                </a:cubicBezTo>
                <a:cubicBezTo>
                  <a:pt x="577408" y="276984"/>
                  <a:pt x="577197" y="267284"/>
                  <a:pt x="577220" y="257016"/>
                </a:cubicBezTo>
                <a:cubicBezTo>
                  <a:pt x="577227" y="255625"/>
                  <a:pt x="577227" y="255625"/>
                  <a:pt x="577235" y="254206"/>
                </a:cubicBezTo>
                <a:cubicBezTo>
                  <a:pt x="577257" y="237553"/>
                  <a:pt x="574604" y="222055"/>
                  <a:pt x="569443" y="206049"/>
                </a:cubicBezTo>
                <a:cubicBezTo>
                  <a:pt x="568726" y="203553"/>
                  <a:pt x="568726" y="203553"/>
                  <a:pt x="568726" y="200735"/>
                </a:cubicBezTo>
                <a:cubicBezTo>
                  <a:pt x="567695" y="200735"/>
                  <a:pt x="566664" y="200735"/>
                  <a:pt x="565602" y="200735"/>
                </a:cubicBezTo>
                <a:cubicBezTo>
                  <a:pt x="563274" y="195295"/>
                  <a:pt x="561092" y="190108"/>
                  <a:pt x="559549" y="184441"/>
                </a:cubicBezTo>
                <a:cubicBezTo>
                  <a:pt x="555572" y="173477"/>
                  <a:pt x="547043" y="167105"/>
                  <a:pt x="537484" y="159867"/>
                </a:cubicBezTo>
                <a:cubicBezTo>
                  <a:pt x="533579" y="156609"/>
                  <a:pt x="533579" y="156609"/>
                  <a:pt x="531235" y="154230"/>
                </a:cubicBezTo>
                <a:cubicBezTo>
                  <a:pt x="531235" y="153301"/>
                  <a:pt x="531235" y="152371"/>
                  <a:pt x="531235" y="151412"/>
                </a:cubicBezTo>
                <a:cubicBezTo>
                  <a:pt x="529689" y="150947"/>
                  <a:pt x="528143" y="150482"/>
                  <a:pt x="526549" y="150003"/>
                </a:cubicBezTo>
                <a:cubicBezTo>
                  <a:pt x="519904" y="137298"/>
                  <a:pt x="519105" y="120357"/>
                  <a:pt x="524304" y="107198"/>
                </a:cubicBezTo>
                <a:cubicBezTo>
                  <a:pt x="529443" y="97376"/>
                  <a:pt x="535781" y="90193"/>
                  <a:pt x="547052" y="85972"/>
                </a:cubicBezTo>
                <a:cubicBezTo>
                  <a:pt x="559924" y="81835"/>
                  <a:pt x="575221" y="79746"/>
                  <a:pt x="588460" y="83538"/>
                </a:cubicBezTo>
                <a:cubicBezTo>
                  <a:pt x="601643" y="89713"/>
                  <a:pt x="611835" y="99450"/>
                  <a:pt x="617152" y="111954"/>
                </a:cubicBezTo>
                <a:cubicBezTo>
                  <a:pt x="617935" y="116052"/>
                  <a:pt x="617954" y="120024"/>
                  <a:pt x="617884" y="124175"/>
                </a:cubicBezTo>
                <a:cubicBezTo>
                  <a:pt x="617896" y="125307"/>
                  <a:pt x="617906" y="126440"/>
                  <a:pt x="617917" y="127607"/>
                </a:cubicBezTo>
                <a:cubicBezTo>
                  <a:pt x="617963" y="132394"/>
                  <a:pt x="617938" y="137181"/>
                  <a:pt x="617919" y="141969"/>
                </a:cubicBezTo>
                <a:cubicBezTo>
                  <a:pt x="617899" y="160184"/>
                  <a:pt x="619422" y="175572"/>
                  <a:pt x="630625" y="191311"/>
                </a:cubicBezTo>
                <a:cubicBezTo>
                  <a:pt x="633753" y="195891"/>
                  <a:pt x="636431" y="199900"/>
                  <a:pt x="637850" y="205139"/>
                </a:cubicBezTo>
                <a:cubicBezTo>
                  <a:pt x="638615" y="209623"/>
                  <a:pt x="638615" y="209623"/>
                  <a:pt x="643708" y="212009"/>
                </a:cubicBezTo>
                <a:cubicBezTo>
                  <a:pt x="645380" y="214563"/>
                  <a:pt x="645380" y="214563"/>
                  <a:pt x="647027" y="217645"/>
                </a:cubicBezTo>
                <a:cubicBezTo>
                  <a:pt x="652549" y="227016"/>
                  <a:pt x="660443" y="235696"/>
                  <a:pt x="670264" y="241603"/>
                </a:cubicBezTo>
                <a:cubicBezTo>
                  <a:pt x="670264" y="242532"/>
                  <a:pt x="670264" y="243462"/>
                  <a:pt x="670264" y="244421"/>
                </a:cubicBezTo>
                <a:cubicBezTo>
                  <a:pt x="672036" y="244857"/>
                  <a:pt x="673808" y="245293"/>
                  <a:pt x="675634" y="245742"/>
                </a:cubicBezTo>
                <a:cubicBezTo>
                  <a:pt x="681199" y="247239"/>
                  <a:pt x="681199" y="247239"/>
                  <a:pt x="682761" y="248649"/>
                </a:cubicBezTo>
                <a:cubicBezTo>
                  <a:pt x="704487" y="252065"/>
                  <a:pt x="732606" y="256402"/>
                  <a:pt x="752092" y="245076"/>
                </a:cubicBezTo>
                <a:cubicBezTo>
                  <a:pt x="754252" y="243599"/>
                  <a:pt x="756372" y="242073"/>
                  <a:pt x="758433" y="240485"/>
                </a:cubicBezTo>
                <a:cubicBezTo>
                  <a:pt x="760867" y="238784"/>
                  <a:pt x="760867" y="238784"/>
                  <a:pt x="763991" y="238784"/>
                </a:cubicBezTo>
                <a:cubicBezTo>
                  <a:pt x="764647" y="237296"/>
                  <a:pt x="764647" y="237296"/>
                  <a:pt x="765315" y="235778"/>
                </a:cubicBezTo>
                <a:cubicBezTo>
                  <a:pt x="767151" y="231659"/>
                  <a:pt x="769030" y="227557"/>
                  <a:pt x="770923" y="223459"/>
                </a:cubicBezTo>
                <a:cubicBezTo>
                  <a:pt x="771608" y="221966"/>
                  <a:pt x="772292" y="220472"/>
                  <a:pt x="772998" y="218934"/>
                </a:cubicBezTo>
                <a:cubicBezTo>
                  <a:pt x="774429" y="215885"/>
                  <a:pt x="775968" y="212878"/>
                  <a:pt x="777562" y="209895"/>
                </a:cubicBezTo>
                <a:cubicBezTo>
                  <a:pt x="787607" y="185732"/>
                  <a:pt x="788559" y="149501"/>
                  <a:pt x="781175" y="124637"/>
                </a:cubicBezTo>
                <a:cubicBezTo>
                  <a:pt x="780144" y="124637"/>
                  <a:pt x="779113" y="124637"/>
                  <a:pt x="778051" y="124637"/>
                </a:cubicBezTo>
                <a:cubicBezTo>
                  <a:pt x="768501" y="110080"/>
                  <a:pt x="762898" y="96653"/>
                  <a:pt x="767116" y="79542"/>
                </a:cubicBezTo>
                <a:cubicBezTo>
                  <a:pt x="772286" y="69057"/>
                  <a:pt x="781456" y="58252"/>
                  <a:pt x="793379" y="54000"/>
                </a:cubicBezTo>
                <a:cubicBezTo>
                  <a:pt x="808369" y="49250"/>
                  <a:pt x="826058" y="49579"/>
                  <a:pt x="840688" y="55503"/>
                </a:cubicBezTo>
                <a:cubicBezTo>
                  <a:pt x="845183" y="57759"/>
                  <a:pt x="848037" y="60575"/>
                  <a:pt x="851470" y="64040"/>
                </a:cubicBezTo>
                <a:cubicBezTo>
                  <a:pt x="852721" y="65272"/>
                  <a:pt x="852721" y="65272"/>
                  <a:pt x="853997" y="66529"/>
                </a:cubicBezTo>
                <a:cubicBezTo>
                  <a:pt x="858396" y="71505"/>
                  <a:pt x="860490" y="76640"/>
                  <a:pt x="861488" y="82057"/>
                </a:cubicBezTo>
                <a:lnTo>
                  <a:pt x="861937" y="90492"/>
                </a:lnTo>
                <a:lnTo>
                  <a:pt x="863826" y="100715"/>
                </a:lnTo>
                <a:cubicBezTo>
                  <a:pt x="862141" y="107853"/>
                  <a:pt x="859866" y="114857"/>
                  <a:pt x="857577" y="121853"/>
                </a:cubicBezTo>
                <a:cubicBezTo>
                  <a:pt x="857062" y="121853"/>
                  <a:pt x="856547" y="121853"/>
                  <a:pt x="856015" y="121853"/>
                </a:cubicBezTo>
                <a:cubicBezTo>
                  <a:pt x="855731" y="120401"/>
                  <a:pt x="855731" y="120401"/>
                  <a:pt x="855442" y="118919"/>
                </a:cubicBezTo>
                <a:lnTo>
                  <a:pt x="855417" y="118798"/>
                </a:lnTo>
                <a:lnTo>
                  <a:pt x="856157" y="124637"/>
                </a:lnTo>
                <a:lnTo>
                  <a:pt x="850623" y="134701"/>
                </a:lnTo>
                <a:lnTo>
                  <a:pt x="851325" y="135968"/>
                </a:lnTo>
                <a:cubicBezTo>
                  <a:pt x="850851" y="137246"/>
                  <a:pt x="850376" y="138525"/>
                  <a:pt x="849886" y="139843"/>
                </a:cubicBezTo>
                <a:cubicBezTo>
                  <a:pt x="848171" y="144505"/>
                  <a:pt x="847798" y="148002"/>
                  <a:pt x="847786" y="152889"/>
                </a:cubicBezTo>
                <a:cubicBezTo>
                  <a:pt x="847779" y="154500"/>
                  <a:pt x="847773" y="156109"/>
                  <a:pt x="847767" y="157768"/>
                </a:cubicBezTo>
                <a:cubicBezTo>
                  <a:pt x="847782" y="159468"/>
                  <a:pt x="847796" y="161167"/>
                  <a:pt x="847810" y="162919"/>
                </a:cubicBezTo>
                <a:cubicBezTo>
                  <a:pt x="847821" y="165546"/>
                  <a:pt x="847821" y="165546"/>
                  <a:pt x="847832" y="168227"/>
                </a:cubicBezTo>
                <a:cubicBezTo>
                  <a:pt x="847980" y="181934"/>
                  <a:pt x="849003" y="195419"/>
                  <a:pt x="850903" y="209013"/>
                </a:cubicBezTo>
                <a:lnTo>
                  <a:pt x="852880" y="224692"/>
                </a:lnTo>
                <a:lnTo>
                  <a:pt x="854595" y="224692"/>
                </a:lnTo>
                <a:cubicBezTo>
                  <a:pt x="855086" y="225542"/>
                  <a:pt x="855577" y="226392"/>
                  <a:pt x="856083" y="227268"/>
                </a:cubicBezTo>
                <a:cubicBezTo>
                  <a:pt x="862358" y="237839"/>
                  <a:pt x="866924" y="242785"/>
                  <a:pt x="879588" y="247239"/>
                </a:cubicBezTo>
                <a:cubicBezTo>
                  <a:pt x="881642" y="248025"/>
                  <a:pt x="883692" y="248817"/>
                  <a:pt x="885739" y="249618"/>
                </a:cubicBezTo>
                <a:cubicBezTo>
                  <a:pt x="887318" y="250227"/>
                  <a:pt x="888897" y="250838"/>
                  <a:pt x="890523" y="251467"/>
                </a:cubicBezTo>
                <a:cubicBezTo>
                  <a:pt x="890523" y="252397"/>
                  <a:pt x="890523" y="253327"/>
                  <a:pt x="890523" y="254285"/>
                </a:cubicBezTo>
                <a:cubicBezTo>
                  <a:pt x="900347" y="257061"/>
                  <a:pt x="910127" y="259425"/>
                  <a:pt x="920203" y="261332"/>
                </a:cubicBezTo>
                <a:cubicBezTo>
                  <a:pt x="920203" y="261796"/>
                  <a:pt x="920203" y="262262"/>
                  <a:pt x="920203" y="262741"/>
                </a:cubicBezTo>
                <a:cubicBezTo>
                  <a:pt x="917111" y="262741"/>
                  <a:pt x="914018" y="262741"/>
                  <a:pt x="910831" y="262741"/>
                </a:cubicBezTo>
                <a:lnTo>
                  <a:pt x="910831" y="262864"/>
                </a:lnTo>
                <a:lnTo>
                  <a:pt x="927993" y="264177"/>
                </a:lnTo>
                <a:lnTo>
                  <a:pt x="939273" y="265285"/>
                </a:lnTo>
                <a:lnTo>
                  <a:pt x="940456" y="265191"/>
                </a:lnTo>
                <a:cubicBezTo>
                  <a:pt x="962552" y="263054"/>
                  <a:pt x="974979" y="255295"/>
                  <a:pt x="991622" y="242329"/>
                </a:cubicBezTo>
                <a:lnTo>
                  <a:pt x="1000803" y="236505"/>
                </a:lnTo>
                <a:lnTo>
                  <a:pt x="999806" y="236055"/>
                </a:lnTo>
                <a:cubicBezTo>
                  <a:pt x="1000902" y="234997"/>
                  <a:pt x="1001997" y="233941"/>
                  <a:pt x="1003126" y="232851"/>
                </a:cubicBezTo>
                <a:cubicBezTo>
                  <a:pt x="1012364" y="223880"/>
                  <a:pt x="1021184" y="214752"/>
                  <a:pt x="1029487" y="205052"/>
                </a:cubicBezTo>
                <a:lnTo>
                  <a:pt x="1029872" y="206442"/>
                </a:lnTo>
                <a:lnTo>
                  <a:pt x="1031614" y="203719"/>
                </a:lnTo>
                <a:cubicBezTo>
                  <a:pt x="1033221" y="199204"/>
                  <a:pt x="1035713" y="196017"/>
                  <a:pt x="1038924" y="192280"/>
                </a:cubicBezTo>
                <a:cubicBezTo>
                  <a:pt x="1039956" y="191815"/>
                  <a:pt x="1040987" y="191349"/>
                  <a:pt x="1042049" y="190870"/>
                </a:cubicBezTo>
                <a:cubicBezTo>
                  <a:pt x="1043161" y="188473"/>
                  <a:pt x="1043161" y="188473"/>
                  <a:pt x="1044294" y="186026"/>
                </a:cubicBezTo>
                <a:cubicBezTo>
                  <a:pt x="1046735" y="181006"/>
                  <a:pt x="1046735" y="181006"/>
                  <a:pt x="1051422" y="178188"/>
                </a:cubicBezTo>
                <a:cubicBezTo>
                  <a:pt x="1052553" y="175286"/>
                  <a:pt x="1052553" y="175286"/>
                  <a:pt x="1052984" y="172551"/>
                </a:cubicBezTo>
                <a:cubicBezTo>
                  <a:pt x="1054014" y="172551"/>
                  <a:pt x="1055046" y="172551"/>
                  <a:pt x="1056108" y="172551"/>
                </a:cubicBezTo>
                <a:cubicBezTo>
                  <a:pt x="1057139" y="169295"/>
                  <a:pt x="1058170" y="166040"/>
                  <a:pt x="1059232" y="162686"/>
                </a:cubicBezTo>
                <a:cubicBezTo>
                  <a:pt x="1060263" y="162686"/>
                  <a:pt x="1061295" y="162686"/>
                  <a:pt x="1062357" y="162686"/>
                </a:cubicBezTo>
                <a:cubicBezTo>
                  <a:pt x="1062755" y="161484"/>
                  <a:pt x="1062755" y="161484"/>
                  <a:pt x="1063162" y="160258"/>
                </a:cubicBezTo>
                <a:cubicBezTo>
                  <a:pt x="1065716" y="152917"/>
                  <a:pt x="1068813" y="146686"/>
                  <a:pt x="1073292" y="140138"/>
                </a:cubicBezTo>
                <a:cubicBezTo>
                  <a:pt x="1074322" y="140138"/>
                  <a:pt x="1075353" y="140138"/>
                  <a:pt x="1076415" y="140138"/>
                </a:cubicBezTo>
                <a:cubicBezTo>
                  <a:pt x="1079808" y="132748"/>
                  <a:pt x="1082509" y="125160"/>
                  <a:pt x="1085294" y="117569"/>
                </a:cubicBezTo>
                <a:cubicBezTo>
                  <a:pt x="1085972" y="116181"/>
                  <a:pt x="1086651" y="114793"/>
                  <a:pt x="1087350" y="113363"/>
                </a:cubicBezTo>
                <a:cubicBezTo>
                  <a:pt x="1089671" y="112666"/>
                  <a:pt x="1089671" y="112666"/>
                  <a:pt x="1092037" y="111954"/>
                </a:cubicBezTo>
                <a:cubicBezTo>
                  <a:pt x="1092230" y="110879"/>
                  <a:pt x="1092423" y="109803"/>
                  <a:pt x="1092623" y="108695"/>
                </a:cubicBezTo>
                <a:cubicBezTo>
                  <a:pt x="1093599" y="104908"/>
                  <a:pt x="1093599" y="104908"/>
                  <a:pt x="1096723" y="100680"/>
                </a:cubicBezTo>
                <a:cubicBezTo>
                  <a:pt x="1097207" y="99140"/>
                  <a:pt x="1097689" y="97599"/>
                  <a:pt x="1098188" y="96013"/>
                </a:cubicBezTo>
                <a:cubicBezTo>
                  <a:pt x="1099847" y="90815"/>
                  <a:pt x="1099847" y="90815"/>
                  <a:pt x="1102288" y="87029"/>
                </a:cubicBezTo>
                <a:cubicBezTo>
                  <a:pt x="1106061" y="79186"/>
                  <a:pt x="1107564" y="69424"/>
                  <a:pt x="1104534" y="61222"/>
                </a:cubicBezTo>
                <a:cubicBezTo>
                  <a:pt x="1104409" y="59341"/>
                  <a:pt x="1104366" y="57454"/>
                  <a:pt x="1104381" y="55569"/>
                </a:cubicBezTo>
                <a:cubicBezTo>
                  <a:pt x="1104386" y="54501"/>
                  <a:pt x="1104391" y="53434"/>
                  <a:pt x="1104397" y="52335"/>
                </a:cubicBezTo>
                <a:cubicBezTo>
                  <a:pt x="1104410" y="51228"/>
                  <a:pt x="1104423" y="50120"/>
                  <a:pt x="1104436" y="48979"/>
                </a:cubicBezTo>
                <a:cubicBezTo>
                  <a:pt x="1104443" y="47856"/>
                  <a:pt x="1104451" y="46733"/>
                  <a:pt x="1104457" y="45575"/>
                </a:cubicBezTo>
                <a:cubicBezTo>
                  <a:pt x="1104476" y="42805"/>
                  <a:pt x="1104504" y="40035"/>
                  <a:pt x="1104534" y="37265"/>
                </a:cubicBezTo>
                <a:cubicBezTo>
                  <a:pt x="1105565" y="37265"/>
                  <a:pt x="1106596" y="37265"/>
                  <a:pt x="1107658" y="37265"/>
                </a:cubicBezTo>
                <a:cubicBezTo>
                  <a:pt x="1107561" y="34562"/>
                  <a:pt x="1107561" y="34562"/>
                  <a:pt x="1107463" y="31805"/>
                </a:cubicBezTo>
                <a:cubicBezTo>
                  <a:pt x="1107353" y="28733"/>
                  <a:pt x="1107353" y="28733"/>
                  <a:pt x="1107658" y="25991"/>
                </a:cubicBezTo>
                <a:cubicBezTo>
                  <a:pt x="1108689" y="25062"/>
                  <a:pt x="1109720" y="24131"/>
                  <a:pt x="1110782" y="23173"/>
                </a:cubicBezTo>
                <a:cubicBezTo>
                  <a:pt x="1111104" y="22156"/>
                  <a:pt x="1111427" y="21138"/>
                  <a:pt x="1111759" y="20091"/>
                </a:cubicBezTo>
                <a:cubicBezTo>
                  <a:pt x="1116393" y="11539"/>
                  <a:pt x="1124927" y="6390"/>
                  <a:pt x="1134507" y="2828"/>
                </a:cubicBezTo>
                <a:cubicBezTo>
                  <a:pt x="1141389" y="825"/>
                  <a:pt x="1148262" y="-204"/>
                  <a:pt x="1155019" y="35"/>
                </a:cubicBezTo>
                <a:close/>
              </a:path>
            </a:pathLst>
          </a:custGeom>
          <a:solidFill>
            <a:schemeClr val="accent3"/>
          </a:solidFill>
          <a:ln w="2232" cap="flat">
            <a:noFill/>
            <a:prstDash val="solid"/>
            <a:miter/>
          </a:ln>
          <a:effectLst>
            <a:innerShdw blurRad="63500" dist="190500" dir="8100000">
              <a:schemeClr val="accent3">
                <a:lumMod val="75000"/>
                <a:alpha val="50000"/>
              </a:schemeClr>
            </a:innerShdw>
          </a:effectLst>
        </p:spPr>
        <p:txBody>
          <a:bodyPr wrap="squar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54" name="Oval 453">
            <a:extLst>
              <a:ext uri="{FF2B5EF4-FFF2-40B4-BE49-F238E27FC236}">
                <a16:creationId xmlns:a16="http://schemas.microsoft.com/office/drawing/2014/main" id="{19DE7F07-E5B2-A956-7FC1-20CB52FC7A6A}"/>
              </a:ext>
            </a:extLst>
          </p:cNvPr>
          <p:cNvSpPr/>
          <p:nvPr/>
        </p:nvSpPr>
        <p:spPr>
          <a:xfrm>
            <a:off x="7276810" y="3732351"/>
            <a:ext cx="106472" cy="106472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55" name="Oval 454">
            <a:extLst>
              <a:ext uri="{FF2B5EF4-FFF2-40B4-BE49-F238E27FC236}">
                <a16:creationId xmlns:a16="http://schemas.microsoft.com/office/drawing/2014/main" id="{57B6BBC7-9167-4462-F5DC-804978E95C8D}"/>
              </a:ext>
            </a:extLst>
          </p:cNvPr>
          <p:cNvSpPr/>
          <p:nvPr/>
        </p:nvSpPr>
        <p:spPr>
          <a:xfrm>
            <a:off x="7418943" y="3825578"/>
            <a:ext cx="106472" cy="106472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56" name="Oval 455">
            <a:extLst>
              <a:ext uri="{FF2B5EF4-FFF2-40B4-BE49-F238E27FC236}">
                <a16:creationId xmlns:a16="http://schemas.microsoft.com/office/drawing/2014/main" id="{1904ED17-E552-BE3C-B81F-3E86F53A2448}"/>
              </a:ext>
            </a:extLst>
          </p:cNvPr>
          <p:cNvSpPr/>
          <p:nvPr/>
        </p:nvSpPr>
        <p:spPr>
          <a:xfrm>
            <a:off x="7315782" y="3999039"/>
            <a:ext cx="83346" cy="83346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57" name="Oval 456">
            <a:extLst>
              <a:ext uri="{FF2B5EF4-FFF2-40B4-BE49-F238E27FC236}">
                <a16:creationId xmlns:a16="http://schemas.microsoft.com/office/drawing/2014/main" id="{A4945E30-9439-D488-E40C-F7B85C5689FD}"/>
              </a:ext>
            </a:extLst>
          </p:cNvPr>
          <p:cNvSpPr/>
          <p:nvPr/>
        </p:nvSpPr>
        <p:spPr>
          <a:xfrm>
            <a:off x="7538150" y="3979936"/>
            <a:ext cx="106472" cy="106472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58" name="Oval 457">
            <a:extLst>
              <a:ext uri="{FF2B5EF4-FFF2-40B4-BE49-F238E27FC236}">
                <a16:creationId xmlns:a16="http://schemas.microsoft.com/office/drawing/2014/main" id="{14398A36-D003-2954-BC41-92A23B81E5AB}"/>
              </a:ext>
            </a:extLst>
          </p:cNvPr>
          <p:cNvSpPr/>
          <p:nvPr/>
        </p:nvSpPr>
        <p:spPr>
          <a:xfrm>
            <a:off x="7572536" y="3758332"/>
            <a:ext cx="72085" cy="72085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59" name="TextBox 458">
            <a:extLst>
              <a:ext uri="{FF2B5EF4-FFF2-40B4-BE49-F238E27FC236}">
                <a16:creationId xmlns:a16="http://schemas.microsoft.com/office/drawing/2014/main" id="{20A9FB77-86C2-DD8D-3301-08CD4DFFB8CC}"/>
              </a:ext>
            </a:extLst>
          </p:cNvPr>
          <p:cNvSpPr txBox="1"/>
          <p:nvPr/>
        </p:nvSpPr>
        <p:spPr>
          <a:xfrm>
            <a:off x="3089070" y="1348515"/>
            <a:ext cx="7617437" cy="363601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rtlCol="0" anchor="ctr" anchorCtr="0">
            <a:noAutofit/>
          </a:bodyPr>
          <a:lstStyle>
            <a:defPPr>
              <a:defRPr lang="en-GB"/>
            </a:defPPr>
            <a:lvl1pPr algn="ctr">
              <a:defRPr sz="1600" b="1">
                <a:solidFill>
                  <a:schemeClr val="tx2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What treatment options are available for this patient? </a:t>
            </a:r>
          </a:p>
        </p:txBody>
      </p:sp>
      <p:cxnSp>
        <p:nvCxnSpPr>
          <p:cNvPr id="460" name="Straight Arrow Connector 459">
            <a:extLst>
              <a:ext uri="{FF2B5EF4-FFF2-40B4-BE49-F238E27FC236}">
                <a16:creationId xmlns:a16="http://schemas.microsoft.com/office/drawing/2014/main" id="{596A47DF-451B-3691-5C6D-71D9AE1EDA9C}"/>
              </a:ext>
            </a:extLst>
          </p:cNvPr>
          <p:cNvCxnSpPr>
            <a:cxnSpLocks/>
          </p:cNvCxnSpPr>
          <p:nvPr/>
        </p:nvCxnSpPr>
        <p:spPr>
          <a:xfrm flipV="1">
            <a:off x="11093451" y="2465188"/>
            <a:ext cx="7246" cy="2262387"/>
          </a:xfrm>
          <a:prstGeom prst="straightConnector1">
            <a:avLst/>
          </a:prstGeom>
          <a:ln>
            <a:solidFill>
              <a:schemeClr val="tx1">
                <a:lumMod val="85000"/>
                <a:lumOff val="15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61" name="TextBox 460">
            <a:extLst>
              <a:ext uri="{FF2B5EF4-FFF2-40B4-BE49-F238E27FC236}">
                <a16:creationId xmlns:a16="http://schemas.microsoft.com/office/drawing/2014/main" id="{6D75D25C-D477-253F-3AD8-705617C6474D}"/>
              </a:ext>
            </a:extLst>
          </p:cNvPr>
          <p:cNvSpPr txBox="1"/>
          <p:nvPr/>
        </p:nvSpPr>
        <p:spPr>
          <a:xfrm>
            <a:off x="2709069" y="2100243"/>
            <a:ext cx="2517375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What clinical decisions are needed?</a:t>
            </a:r>
          </a:p>
        </p:txBody>
      </p:sp>
      <p:cxnSp>
        <p:nvCxnSpPr>
          <p:cNvPr id="462" name="Straight Arrow Connector 461">
            <a:extLst>
              <a:ext uri="{FF2B5EF4-FFF2-40B4-BE49-F238E27FC236}">
                <a16:creationId xmlns:a16="http://schemas.microsoft.com/office/drawing/2014/main" id="{0F17350F-16AF-8ECD-4E9E-0973DA88E83B}"/>
              </a:ext>
            </a:extLst>
          </p:cNvPr>
          <p:cNvCxnSpPr>
            <a:cxnSpLocks/>
          </p:cNvCxnSpPr>
          <p:nvPr/>
        </p:nvCxnSpPr>
        <p:spPr>
          <a:xfrm>
            <a:off x="8765382" y="4244450"/>
            <a:ext cx="2328862" cy="0"/>
          </a:xfrm>
          <a:prstGeom prst="straightConnector1">
            <a:avLst/>
          </a:prstGeom>
          <a:ln>
            <a:solidFill>
              <a:schemeClr val="tx1">
                <a:lumMod val="85000"/>
                <a:lumOff val="15000"/>
              </a:schemeClr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63" name="TextBox 462">
            <a:extLst>
              <a:ext uri="{FF2B5EF4-FFF2-40B4-BE49-F238E27FC236}">
                <a16:creationId xmlns:a16="http://schemas.microsoft.com/office/drawing/2014/main" id="{563A6AD6-44CC-C2A4-0F7D-73479F19F790}"/>
              </a:ext>
            </a:extLst>
          </p:cNvPr>
          <p:cNvSpPr txBox="1"/>
          <p:nvPr/>
        </p:nvSpPr>
        <p:spPr>
          <a:xfrm>
            <a:off x="10090999" y="1870001"/>
            <a:ext cx="1890657" cy="3927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ext </a:t>
            </a:r>
            <a:b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line of therapy?</a:t>
            </a:r>
          </a:p>
        </p:txBody>
      </p:sp>
      <p:cxnSp>
        <p:nvCxnSpPr>
          <p:cNvPr id="464" name="Straight Arrow Connector 463">
            <a:extLst>
              <a:ext uri="{FF2B5EF4-FFF2-40B4-BE49-F238E27FC236}">
                <a16:creationId xmlns:a16="http://schemas.microsoft.com/office/drawing/2014/main" id="{B3B4280A-32C9-E50E-DC47-6DFB9B86861D}"/>
              </a:ext>
            </a:extLst>
          </p:cNvPr>
          <p:cNvCxnSpPr>
            <a:cxnSpLocks/>
          </p:cNvCxnSpPr>
          <p:nvPr/>
        </p:nvCxnSpPr>
        <p:spPr>
          <a:xfrm>
            <a:off x="3629026" y="4206350"/>
            <a:ext cx="1271587" cy="0"/>
          </a:xfrm>
          <a:prstGeom prst="straightConnector1">
            <a:avLst/>
          </a:prstGeom>
          <a:ln>
            <a:solidFill>
              <a:schemeClr val="tx1">
                <a:lumMod val="85000"/>
                <a:lumOff val="15000"/>
              </a:schemeClr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65" name="Straight Arrow Connector 464">
            <a:extLst>
              <a:ext uri="{FF2B5EF4-FFF2-40B4-BE49-F238E27FC236}">
                <a16:creationId xmlns:a16="http://schemas.microsoft.com/office/drawing/2014/main" id="{E966348D-B9A1-2ACE-B26D-216C89A1D32E}"/>
              </a:ext>
            </a:extLst>
          </p:cNvPr>
          <p:cNvCxnSpPr>
            <a:cxnSpLocks/>
          </p:cNvCxnSpPr>
          <p:nvPr/>
        </p:nvCxnSpPr>
        <p:spPr>
          <a:xfrm flipV="1">
            <a:off x="4896178" y="4213225"/>
            <a:ext cx="0" cy="425450"/>
          </a:xfrm>
          <a:prstGeom prst="straightConnector1">
            <a:avLst/>
          </a:prstGeom>
          <a:ln>
            <a:solidFill>
              <a:schemeClr val="tx1">
                <a:lumMod val="85000"/>
                <a:lumOff val="15000"/>
              </a:schemeClr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66" name="Straight Arrow Connector 465">
            <a:extLst>
              <a:ext uri="{FF2B5EF4-FFF2-40B4-BE49-F238E27FC236}">
                <a16:creationId xmlns:a16="http://schemas.microsoft.com/office/drawing/2014/main" id="{AEE220B9-53CD-09F8-43E9-C4E127A6D9FD}"/>
              </a:ext>
            </a:extLst>
          </p:cNvPr>
          <p:cNvCxnSpPr>
            <a:cxnSpLocks/>
          </p:cNvCxnSpPr>
          <p:nvPr/>
        </p:nvCxnSpPr>
        <p:spPr>
          <a:xfrm flipV="1">
            <a:off x="8769677" y="4240213"/>
            <a:ext cx="0" cy="563562"/>
          </a:xfrm>
          <a:prstGeom prst="straightConnector1">
            <a:avLst/>
          </a:prstGeom>
          <a:ln>
            <a:solidFill>
              <a:schemeClr val="tx1">
                <a:lumMod val="85000"/>
                <a:lumOff val="15000"/>
              </a:schemeClr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67" name="Free-form: Shape 466">
            <a:extLst>
              <a:ext uri="{FF2B5EF4-FFF2-40B4-BE49-F238E27FC236}">
                <a16:creationId xmlns:a16="http://schemas.microsoft.com/office/drawing/2014/main" id="{0D938953-6794-0870-225B-D85512DCC5C0}"/>
              </a:ext>
            </a:extLst>
          </p:cNvPr>
          <p:cNvSpPr/>
          <p:nvPr/>
        </p:nvSpPr>
        <p:spPr>
          <a:xfrm>
            <a:off x="5327055" y="3529440"/>
            <a:ext cx="880396" cy="841622"/>
          </a:xfrm>
          <a:custGeom>
            <a:avLst/>
            <a:gdLst>
              <a:gd name="csX0" fmla="*/ 401579 w 1609516"/>
              <a:gd name="csY0" fmla="*/ 1495809 h 1538630"/>
              <a:gd name="csX1" fmla="*/ 400190 w 1609516"/>
              <a:gd name="csY1" fmla="*/ 1496004 h 1538630"/>
              <a:gd name="csX2" fmla="*/ 401224 w 1609516"/>
              <a:gd name="csY2" fmla="*/ 1496470 h 1538630"/>
              <a:gd name="csX3" fmla="*/ 401224 w 1609516"/>
              <a:gd name="csY3" fmla="*/ 1498590 h 1538630"/>
              <a:gd name="csX4" fmla="*/ 401579 w 1609516"/>
              <a:gd name="csY4" fmla="*/ 1498628 h 1538630"/>
              <a:gd name="csX5" fmla="*/ 401579 w 1609516"/>
              <a:gd name="csY5" fmla="*/ 1495809 h 1538630"/>
              <a:gd name="csX6" fmla="*/ 368755 w 1609516"/>
              <a:gd name="csY6" fmla="*/ 1486512 h 1538630"/>
              <a:gd name="csX7" fmla="*/ 364089 w 1609516"/>
              <a:gd name="csY7" fmla="*/ 1487354 h 1538630"/>
              <a:gd name="csX8" fmla="*/ 364089 w 1609516"/>
              <a:gd name="csY8" fmla="*/ 1487908 h 1538630"/>
              <a:gd name="csX9" fmla="*/ 1049801 w 1609516"/>
              <a:gd name="csY9" fmla="*/ 1484562 h 1538630"/>
              <a:gd name="csX10" fmla="*/ 1046735 w 1609516"/>
              <a:gd name="csY10" fmla="*/ 1485945 h 1538630"/>
              <a:gd name="csX11" fmla="*/ 1046955 w 1609516"/>
              <a:gd name="csY11" fmla="*/ 1486045 h 1538630"/>
              <a:gd name="csX12" fmla="*/ 1049801 w 1609516"/>
              <a:gd name="csY12" fmla="*/ 1485188 h 1538630"/>
              <a:gd name="csX13" fmla="*/ 351234 w 1609516"/>
              <a:gd name="csY13" fmla="*/ 1444508 h 1538630"/>
              <a:gd name="csX14" fmla="*/ 351234 w 1609516"/>
              <a:gd name="csY14" fmla="*/ 1444997 h 1538630"/>
              <a:gd name="csX15" fmla="*/ 351592 w 1609516"/>
              <a:gd name="csY15" fmla="*/ 1445078 h 1538630"/>
              <a:gd name="csX16" fmla="*/ 351908 w 1609516"/>
              <a:gd name="csY16" fmla="*/ 1431206 h 1538630"/>
              <a:gd name="csX17" fmla="*/ 351234 w 1609516"/>
              <a:gd name="csY17" fmla="*/ 1431611 h 1538630"/>
              <a:gd name="csX18" fmla="*/ 351234 w 1609516"/>
              <a:gd name="csY18" fmla="*/ 1432274 h 1538630"/>
              <a:gd name="csX19" fmla="*/ 358162 w 1609516"/>
              <a:gd name="csY19" fmla="*/ 1421494 h 1538630"/>
              <a:gd name="csX20" fmla="*/ 355921 w 1609516"/>
              <a:gd name="csY20" fmla="*/ 1423156 h 1538630"/>
              <a:gd name="csX21" fmla="*/ 355921 w 1609516"/>
              <a:gd name="csY21" fmla="*/ 1423548 h 1538630"/>
              <a:gd name="csX22" fmla="*/ 376098 w 1609516"/>
              <a:gd name="csY22" fmla="*/ 1408347 h 1538630"/>
              <a:gd name="csX23" fmla="*/ 370750 w 1609516"/>
              <a:gd name="csY23" fmla="*/ 1412245 h 1538630"/>
              <a:gd name="csX24" fmla="*/ 375023 w 1609516"/>
              <a:gd name="csY24" fmla="*/ 1411256 h 1538630"/>
              <a:gd name="csX25" fmla="*/ 421956 w 1609516"/>
              <a:gd name="csY25" fmla="*/ 1365623 h 1538630"/>
              <a:gd name="csX26" fmla="*/ 421765 w 1609516"/>
              <a:gd name="csY26" fmla="*/ 1366161 h 1538630"/>
              <a:gd name="csX27" fmla="*/ 421887 w 1609516"/>
              <a:gd name="csY27" fmla="*/ 1366161 h 1538630"/>
              <a:gd name="csX28" fmla="*/ 754553 w 1609516"/>
              <a:gd name="csY28" fmla="*/ 1360575 h 1538630"/>
              <a:gd name="csX29" fmla="*/ 754089 w 1609516"/>
              <a:gd name="csY29" fmla="*/ 1361433 h 1538630"/>
              <a:gd name="csX30" fmla="*/ 754431 w 1609516"/>
              <a:gd name="csY30" fmla="*/ 1361125 h 1538630"/>
              <a:gd name="csX31" fmla="*/ 1277973 w 1609516"/>
              <a:gd name="csY31" fmla="*/ 1332923 h 1538630"/>
              <a:gd name="csX32" fmla="*/ 1277944 w 1609516"/>
              <a:gd name="csY32" fmla="*/ 1332936 h 1538630"/>
              <a:gd name="csX33" fmla="*/ 1277949 w 1609516"/>
              <a:gd name="csY33" fmla="*/ 1333139 h 1538630"/>
              <a:gd name="csX34" fmla="*/ 1268556 w 1609516"/>
              <a:gd name="csY34" fmla="*/ 1321066 h 1538630"/>
              <a:gd name="csX35" fmla="*/ 1268556 w 1609516"/>
              <a:gd name="csY35" fmla="*/ 1325294 h 1538630"/>
              <a:gd name="csX36" fmla="*/ 1265432 w 1609516"/>
              <a:gd name="csY36" fmla="*/ 1325294 h 1538630"/>
              <a:gd name="csX37" fmla="*/ 1265432 w 1609516"/>
              <a:gd name="csY37" fmla="*/ 1340795 h 1538630"/>
              <a:gd name="csX38" fmla="*/ 1265476 w 1609516"/>
              <a:gd name="csY38" fmla="*/ 1340714 h 1538630"/>
              <a:gd name="csX39" fmla="*/ 1265476 w 1609516"/>
              <a:gd name="csY39" fmla="*/ 1325877 h 1538630"/>
              <a:gd name="csX40" fmla="*/ 1268600 w 1609516"/>
              <a:gd name="csY40" fmla="*/ 1325877 h 1538630"/>
              <a:gd name="csX41" fmla="*/ 1268600 w 1609516"/>
              <a:gd name="csY41" fmla="*/ 1321649 h 1538630"/>
              <a:gd name="csX42" fmla="*/ 1273286 w 1609516"/>
              <a:gd name="csY42" fmla="*/ 1321649 h 1538630"/>
              <a:gd name="csX43" fmla="*/ 1273227 w 1609516"/>
              <a:gd name="csY43" fmla="*/ 1321066 h 1538630"/>
              <a:gd name="csX44" fmla="*/ 827891 w 1609516"/>
              <a:gd name="csY44" fmla="*/ 1291474 h 1538630"/>
              <a:gd name="csX45" fmla="*/ 822601 w 1609516"/>
              <a:gd name="csY45" fmla="*/ 1291544 h 1538630"/>
              <a:gd name="csX46" fmla="*/ 818272 w 1609516"/>
              <a:gd name="csY46" fmla="*/ 1292220 h 1538630"/>
              <a:gd name="csX47" fmla="*/ 827891 w 1609516"/>
              <a:gd name="csY47" fmla="*/ 1292047 h 1538630"/>
              <a:gd name="csX48" fmla="*/ 856397 w 1609516"/>
              <a:gd name="csY48" fmla="*/ 1288691 h 1538630"/>
              <a:gd name="csX49" fmla="*/ 865903 w 1609516"/>
              <a:gd name="csY49" fmla="*/ 1290590 h 1538630"/>
              <a:gd name="csX50" fmla="*/ 859999 w 1609516"/>
              <a:gd name="csY50" fmla="*/ 1288752 h 1538630"/>
              <a:gd name="csX51" fmla="*/ 834694 w 1609516"/>
              <a:gd name="csY51" fmla="*/ 1288572 h 1538630"/>
              <a:gd name="csX52" fmla="*/ 828038 w 1609516"/>
              <a:gd name="csY52" fmla="*/ 1288654 h 1538630"/>
              <a:gd name="csX53" fmla="*/ 828038 w 1609516"/>
              <a:gd name="csY53" fmla="*/ 1289214 h 1538630"/>
              <a:gd name="csX54" fmla="*/ 229746 w 1609516"/>
              <a:gd name="csY54" fmla="*/ 1191418 h 1538630"/>
              <a:gd name="csX55" fmla="*/ 227402 w 1609516"/>
              <a:gd name="csY55" fmla="*/ 1191947 h 1538630"/>
              <a:gd name="csX56" fmla="*/ 229315 w 1609516"/>
              <a:gd name="csY56" fmla="*/ 1191947 h 1538630"/>
              <a:gd name="csX57" fmla="*/ 229315 w 1609516"/>
              <a:gd name="csY57" fmla="*/ 1194765 h 1538630"/>
              <a:gd name="csX58" fmla="*/ 231321 w 1609516"/>
              <a:gd name="csY58" fmla="*/ 1194765 h 1538630"/>
              <a:gd name="csX59" fmla="*/ 229746 w 1609516"/>
              <a:gd name="csY59" fmla="*/ 1194236 h 1538630"/>
              <a:gd name="csX60" fmla="*/ 229746 w 1609516"/>
              <a:gd name="csY60" fmla="*/ 1191418 h 1538630"/>
              <a:gd name="csX61" fmla="*/ 215687 w 1609516"/>
              <a:gd name="csY61" fmla="*/ 1187190 h 1538630"/>
              <a:gd name="csX62" fmla="*/ 215198 w 1609516"/>
              <a:gd name="csY62" fmla="*/ 1187720 h 1538630"/>
              <a:gd name="csX63" fmla="*/ 215256 w 1609516"/>
              <a:gd name="csY63" fmla="*/ 1187720 h 1538630"/>
              <a:gd name="csX64" fmla="*/ 215256 w 1609516"/>
              <a:gd name="csY64" fmla="*/ 1191947 h 1538630"/>
              <a:gd name="csX65" fmla="*/ 222721 w 1609516"/>
              <a:gd name="csY65" fmla="*/ 1191947 h 1538630"/>
              <a:gd name="csX66" fmla="*/ 215687 w 1609516"/>
              <a:gd name="csY66" fmla="*/ 1191418 h 1538630"/>
              <a:gd name="csX67" fmla="*/ 215687 w 1609516"/>
              <a:gd name="csY67" fmla="*/ 1187190 h 1538630"/>
              <a:gd name="csX68" fmla="*/ 1279678 w 1609516"/>
              <a:gd name="csY68" fmla="*/ 1082356 h 1538630"/>
              <a:gd name="csX69" fmla="*/ 1271680 w 1609516"/>
              <a:gd name="csY69" fmla="*/ 1084589 h 1538630"/>
              <a:gd name="csX70" fmla="*/ 1282181 w 1609516"/>
              <a:gd name="csY70" fmla="*/ 1082544 h 1538630"/>
              <a:gd name="csX71" fmla="*/ 117703 w 1609516"/>
              <a:gd name="csY71" fmla="*/ 941507 h 1538630"/>
              <a:gd name="csX72" fmla="*/ 112587 w 1609516"/>
              <a:gd name="csY72" fmla="*/ 941985 h 1538630"/>
              <a:gd name="csX73" fmla="*/ 112565 w 1609516"/>
              <a:gd name="csY73" fmla="*/ 942333 h 1538630"/>
              <a:gd name="csX74" fmla="*/ 115665 w 1609516"/>
              <a:gd name="csY74" fmla="*/ 941837 h 1538630"/>
              <a:gd name="csX75" fmla="*/ 144268 w 1609516"/>
              <a:gd name="csY75" fmla="*/ 939395 h 1538630"/>
              <a:gd name="csX76" fmla="*/ 143354 w 1609516"/>
              <a:gd name="csY76" fmla="*/ 939580 h 1538630"/>
              <a:gd name="csX77" fmla="*/ 144077 w 1609516"/>
              <a:gd name="csY77" fmla="*/ 939739 h 1538630"/>
              <a:gd name="csX78" fmla="*/ 162575 w 1609516"/>
              <a:gd name="csY78" fmla="*/ 933530 h 1538630"/>
              <a:gd name="csX79" fmla="*/ 161704 w 1609516"/>
              <a:gd name="csY79" fmla="*/ 935101 h 1538630"/>
              <a:gd name="csX80" fmla="*/ 170045 w 1609516"/>
              <a:gd name="csY80" fmla="*/ 933585 h 1538630"/>
              <a:gd name="csX81" fmla="*/ 1321645 w 1609516"/>
              <a:gd name="csY81" fmla="*/ 918415 h 1538630"/>
              <a:gd name="csX82" fmla="*/ 1321534 w 1609516"/>
              <a:gd name="csY82" fmla="*/ 920177 h 1538630"/>
              <a:gd name="csX83" fmla="*/ 1321740 w 1609516"/>
              <a:gd name="csY83" fmla="*/ 918415 h 1538630"/>
              <a:gd name="csX84" fmla="*/ 1319333 w 1609516"/>
              <a:gd name="csY84" fmla="*/ 915183 h 1538630"/>
              <a:gd name="csX85" fmla="*/ 1318544 w 1609516"/>
              <a:gd name="csY85" fmla="*/ 918029 h 1538630"/>
              <a:gd name="csX86" fmla="*/ 1318702 w 1609516"/>
              <a:gd name="csY86" fmla="*/ 918029 h 1538630"/>
              <a:gd name="csX87" fmla="*/ 1326355 w 1609516"/>
              <a:gd name="csY87" fmla="*/ 907109 h 1538630"/>
              <a:gd name="csX88" fmla="*/ 1326355 w 1609516"/>
              <a:gd name="csY88" fmla="*/ 910983 h 1538630"/>
              <a:gd name="csX89" fmla="*/ 1325831 w 1609516"/>
              <a:gd name="csY89" fmla="*/ 911101 h 1538630"/>
              <a:gd name="csX90" fmla="*/ 1326426 w 1609516"/>
              <a:gd name="csY90" fmla="*/ 911369 h 1538630"/>
              <a:gd name="csX91" fmla="*/ 1326426 w 1609516"/>
              <a:gd name="csY91" fmla="*/ 907141 h 1538630"/>
              <a:gd name="csX92" fmla="*/ 1328144 w 1609516"/>
              <a:gd name="csY92" fmla="*/ 892192 h 1538630"/>
              <a:gd name="csX93" fmla="*/ 1327667 w 1609516"/>
              <a:gd name="csY93" fmla="*/ 893446 h 1538630"/>
              <a:gd name="csX94" fmla="*/ 1327989 w 1609516"/>
              <a:gd name="csY94" fmla="*/ 893049 h 1538630"/>
              <a:gd name="csX95" fmla="*/ 49605 w 1609516"/>
              <a:gd name="csY95" fmla="*/ 887420 h 1538630"/>
              <a:gd name="csX96" fmla="*/ 48549 w 1609516"/>
              <a:gd name="csY96" fmla="*/ 891229 h 1538630"/>
              <a:gd name="csX97" fmla="*/ 49956 w 1609516"/>
              <a:gd name="csY97" fmla="*/ 887420 h 1538630"/>
              <a:gd name="csX98" fmla="*/ 1332266 w 1609516"/>
              <a:gd name="csY98" fmla="*/ 883369 h 1538630"/>
              <a:gd name="csX99" fmla="*/ 1329479 w 1609516"/>
              <a:gd name="csY99" fmla="*/ 884207 h 1538630"/>
              <a:gd name="csX100" fmla="*/ 1329509 w 1609516"/>
              <a:gd name="csY100" fmla="*/ 884816 h 1538630"/>
              <a:gd name="csX101" fmla="*/ 1329551 w 1609516"/>
              <a:gd name="csY101" fmla="*/ 884594 h 1538630"/>
              <a:gd name="csX102" fmla="*/ 1555987 w 1609516"/>
              <a:gd name="csY102" fmla="*/ 821766 h 1538630"/>
              <a:gd name="csX103" fmla="*/ 1555987 w 1609516"/>
              <a:gd name="csY103" fmla="*/ 822201 h 1538630"/>
              <a:gd name="csX104" fmla="*/ 1556081 w 1609516"/>
              <a:gd name="csY104" fmla="*/ 822189 h 1538630"/>
              <a:gd name="csX105" fmla="*/ 1565360 w 1609516"/>
              <a:gd name="csY105" fmla="*/ 810928 h 1538630"/>
              <a:gd name="csX106" fmla="*/ 1564871 w 1609516"/>
              <a:gd name="csY106" fmla="*/ 811809 h 1538630"/>
              <a:gd name="csX107" fmla="*/ 1567314 w 1609516"/>
              <a:gd name="csY107" fmla="*/ 810928 h 1538630"/>
              <a:gd name="csX108" fmla="*/ 1563797 w 1609516"/>
              <a:gd name="csY108" fmla="*/ 810928 h 1538630"/>
              <a:gd name="csX109" fmla="*/ 1556762 w 1609516"/>
              <a:gd name="csY109" fmla="*/ 814736 h 1538630"/>
              <a:gd name="csX110" fmla="*/ 1563797 w 1609516"/>
              <a:gd name="csY110" fmla="*/ 812197 h 1538630"/>
              <a:gd name="csX111" fmla="*/ 265833 w 1609516"/>
              <a:gd name="csY111" fmla="*/ 806020 h 1538630"/>
              <a:gd name="csX112" fmla="*/ 263704 w 1609516"/>
              <a:gd name="csY112" fmla="*/ 809861 h 1538630"/>
              <a:gd name="csX113" fmla="*/ 263704 w 1609516"/>
              <a:gd name="csY113" fmla="*/ 816750 h 1538630"/>
              <a:gd name="csX114" fmla="*/ 264113 w 1609516"/>
              <a:gd name="csY114" fmla="*/ 816565 h 1538630"/>
              <a:gd name="csX115" fmla="*/ 263918 w 1609516"/>
              <a:gd name="csY115" fmla="*/ 812777 h 1538630"/>
              <a:gd name="csX116" fmla="*/ 263774 w 1609516"/>
              <a:gd name="csY116" fmla="*/ 779374 h 1538630"/>
              <a:gd name="csX117" fmla="*/ 263704 w 1609516"/>
              <a:gd name="csY117" fmla="*/ 783086 h 1538630"/>
              <a:gd name="csX118" fmla="*/ 264484 w 1609516"/>
              <a:gd name="csY118" fmla="*/ 785816 h 1538630"/>
              <a:gd name="csX119" fmla="*/ 265265 w 1609516"/>
              <a:gd name="csY119" fmla="*/ 794448 h 1538630"/>
              <a:gd name="csX120" fmla="*/ 265217 w 1609516"/>
              <a:gd name="csY120" fmla="*/ 799730 h 1538630"/>
              <a:gd name="csX121" fmla="*/ 266556 w 1609516"/>
              <a:gd name="csY121" fmla="*/ 803466 h 1538630"/>
              <a:gd name="csX122" fmla="*/ 267237 w 1609516"/>
              <a:gd name="csY122" fmla="*/ 801063 h 1538630"/>
              <a:gd name="csX123" fmla="*/ 265675 w 1609516"/>
              <a:gd name="csY123" fmla="*/ 799654 h 1538630"/>
              <a:gd name="csX124" fmla="*/ 265675 w 1609516"/>
              <a:gd name="csY124" fmla="*/ 793841 h 1538630"/>
              <a:gd name="csX125" fmla="*/ 260988 w 1609516"/>
              <a:gd name="csY125" fmla="*/ 770061 h 1538630"/>
              <a:gd name="csX126" fmla="*/ 260988 w 1609516"/>
              <a:gd name="csY126" fmla="*/ 771364 h 1538630"/>
              <a:gd name="csX127" fmla="*/ 263497 w 1609516"/>
              <a:gd name="csY127" fmla="*/ 777263 h 1538630"/>
              <a:gd name="csX128" fmla="*/ 262551 w 1609516"/>
              <a:gd name="csY128" fmla="*/ 770061 h 1538630"/>
              <a:gd name="csX129" fmla="*/ 260988 w 1609516"/>
              <a:gd name="csY129" fmla="*/ 770061 h 1538630"/>
              <a:gd name="csX130" fmla="*/ 157888 w 1609516"/>
              <a:gd name="csY130" fmla="*/ 651686 h 1538630"/>
              <a:gd name="csX131" fmla="*/ 157415 w 1609516"/>
              <a:gd name="csY131" fmla="*/ 651764 h 1538630"/>
              <a:gd name="csX132" fmla="*/ 160373 w 1609516"/>
              <a:gd name="csY132" fmla="*/ 652274 h 1538630"/>
              <a:gd name="csX133" fmla="*/ 267237 w 1609516"/>
              <a:gd name="csY133" fmla="*/ 426537 h 1538630"/>
              <a:gd name="csX134" fmla="*/ 267237 w 1609516"/>
              <a:gd name="csY134" fmla="*/ 427619 h 1538630"/>
              <a:gd name="csX135" fmla="*/ 270380 w 1609516"/>
              <a:gd name="csY135" fmla="*/ 428137 h 1538630"/>
              <a:gd name="csX136" fmla="*/ 273548 w 1609516"/>
              <a:gd name="csY136" fmla="*/ 428680 h 1538630"/>
              <a:gd name="csX137" fmla="*/ 37605 w 1609516"/>
              <a:gd name="csY137" fmla="*/ 359270 h 1538630"/>
              <a:gd name="csX138" fmla="*/ 37103 w 1609516"/>
              <a:gd name="csY138" fmla="*/ 361533 h 1538630"/>
              <a:gd name="csX139" fmla="*/ 37605 w 1609516"/>
              <a:gd name="csY139" fmla="*/ 361382 h 1538630"/>
              <a:gd name="csX140" fmla="*/ 52477 w 1609516"/>
              <a:gd name="csY140" fmla="*/ 337570 h 1538630"/>
              <a:gd name="csX141" fmla="*/ 47288 w 1609516"/>
              <a:gd name="csY141" fmla="*/ 342340 h 1538630"/>
              <a:gd name="csX142" fmla="*/ 45805 w 1609516"/>
              <a:gd name="csY142" fmla="*/ 345093 h 1538630"/>
              <a:gd name="csX143" fmla="*/ 104291 w 1609516"/>
              <a:gd name="csY143" fmla="*/ 336166 h 1538630"/>
              <a:gd name="csX144" fmla="*/ 103776 w 1609516"/>
              <a:gd name="csY144" fmla="*/ 337559 h 1538630"/>
              <a:gd name="csX145" fmla="*/ 108925 w 1609516"/>
              <a:gd name="csY145" fmla="*/ 336166 h 1538630"/>
              <a:gd name="csX146" fmla="*/ 1309237 w 1609516"/>
              <a:gd name="csY146" fmla="*/ 322954 h 1538630"/>
              <a:gd name="csX147" fmla="*/ 1309180 w 1609516"/>
              <a:gd name="csY147" fmla="*/ 330559 h 1538630"/>
              <a:gd name="csX148" fmla="*/ 1309237 w 1609516"/>
              <a:gd name="csY148" fmla="*/ 330520 h 1538630"/>
              <a:gd name="csX149" fmla="*/ 1308964 w 1609516"/>
              <a:gd name="csY149" fmla="*/ 317715 h 1538630"/>
              <a:gd name="csX150" fmla="*/ 1309237 w 1609516"/>
              <a:gd name="csY150" fmla="*/ 318569 h 1538630"/>
              <a:gd name="csX151" fmla="*/ 1309237 w 1609516"/>
              <a:gd name="csY151" fmla="*/ 317838 h 1538630"/>
              <a:gd name="csX152" fmla="*/ 1310087 w 1609516"/>
              <a:gd name="csY152" fmla="*/ 313153 h 1538630"/>
              <a:gd name="csX153" fmla="*/ 1307609 w 1609516"/>
              <a:gd name="csY153" fmla="*/ 313473 h 1538630"/>
              <a:gd name="csX154" fmla="*/ 1308045 w 1609516"/>
              <a:gd name="csY154" fmla="*/ 314836 h 1538630"/>
              <a:gd name="csX155" fmla="*/ 1318544 w 1609516"/>
              <a:gd name="csY155" fmla="*/ 312064 h 1538630"/>
              <a:gd name="csX156" fmla="*/ 1316298 w 1609516"/>
              <a:gd name="csY156" fmla="*/ 312353 h 1538630"/>
              <a:gd name="csX157" fmla="*/ 1318544 w 1609516"/>
              <a:gd name="csY157" fmla="*/ 312205 h 1538630"/>
              <a:gd name="csX158" fmla="*/ 1084622 w 1609516"/>
              <a:gd name="csY158" fmla="*/ 267674 h 1538630"/>
              <a:gd name="csX159" fmla="*/ 1084227 w 1609516"/>
              <a:gd name="csY159" fmla="*/ 268378 h 1538630"/>
              <a:gd name="csX160" fmla="*/ 1079540 w 1609516"/>
              <a:gd name="csY160" fmla="*/ 268378 h 1538630"/>
              <a:gd name="csX161" fmla="*/ 1079603 w 1609516"/>
              <a:gd name="csY161" fmla="*/ 268477 h 1538630"/>
              <a:gd name="csX162" fmla="*/ 1084192 w 1609516"/>
              <a:gd name="csY162" fmla="*/ 268477 h 1538630"/>
              <a:gd name="csX163" fmla="*/ 956410 w 1609516"/>
              <a:gd name="csY163" fmla="*/ 266968 h 1538630"/>
              <a:gd name="csX164" fmla="*/ 957576 w 1609516"/>
              <a:gd name="csY164" fmla="*/ 267083 h 1538630"/>
              <a:gd name="csX165" fmla="*/ 957576 w 1609516"/>
              <a:gd name="csY165" fmla="*/ 269776 h 1538630"/>
              <a:gd name="csX166" fmla="*/ 957694 w 1609516"/>
              <a:gd name="csY166" fmla="*/ 269787 h 1538630"/>
              <a:gd name="csX167" fmla="*/ 957694 w 1609516"/>
              <a:gd name="csY167" fmla="*/ 266968 h 1538630"/>
              <a:gd name="csX168" fmla="*/ 1089372 w 1609516"/>
              <a:gd name="csY168" fmla="*/ 259220 h 1538630"/>
              <a:gd name="csX169" fmla="*/ 1085856 w 1609516"/>
              <a:gd name="csY169" fmla="*/ 265479 h 1538630"/>
              <a:gd name="csX170" fmla="*/ 1088878 w 1609516"/>
              <a:gd name="csY170" fmla="*/ 261431 h 1538630"/>
              <a:gd name="csX171" fmla="*/ 1018517 w 1609516"/>
              <a:gd name="csY171" fmla="*/ 223356 h 1538630"/>
              <a:gd name="csX172" fmla="*/ 1013866 w 1609516"/>
              <a:gd name="csY172" fmla="*/ 226190 h 1538630"/>
              <a:gd name="csX173" fmla="*/ 1013024 w 1609516"/>
              <a:gd name="csY173" fmla="*/ 227709 h 1538630"/>
              <a:gd name="csX174" fmla="*/ 1017055 w 1609516"/>
              <a:gd name="csY174" fmla="*/ 224692 h 1538630"/>
              <a:gd name="csX175" fmla="*/ 850645 w 1609516"/>
              <a:gd name="csY175" fmla="*/ 220099 h 1538630"/>
              <a:gd name="csX176" fmla="*/ 850897 w 1609516"/>
              <a:gd name="csY176" fmla="*/ 221488 h 1538630"/>
              <a:gd name="csX177" fmla="*/ 851470 w 1609516"/>
              <a:gd name="csY177" fmla="*/ 224692 h 1538630"/>
              <a:gd name="csX178" fmla="*/ 852860 w 1609516"/>
              <a:gd name="csY178" fmla="*/ 224692 h 1538630"/>
              <a:gd name="csX179" fmla="*/ 1155019 w 1609516"/>
              <a:gd name="csY179" fmla="*/ 35 h 1538630"/>
              <a:gd name="csX180" fmla="*/ 1174829 w 1609516"/>
              <a:gd name="csY180" fmla="*/ 4853 h 1538630"/>
              <a:gd name="csX181" fmla="*/ 1179418 w 1609516"/>
              <a:gd name="csY181" fmla="*/ 5998 h 1538630"/>
              <a:gd name="csX182" fmla="*/ 1201385 w 1609516"/>
              <a:gd name="csY182" fmla="*/ 22997 h 1538630"/>
              <a:gd name="csX183" fmla="*/ 1201678 w 1609516"/>
              <a:gd name="csY183" fmla="*/ 62191 h 1538630"/>
              <a:gd name="csX184" fmla="*/ 1198261 w 1609516"/>
              <a:gd name="csY184" fmla="*/ 68268 h 1538630"/>
              <a:gd name="csX185" fmla="*/ 1195723 w 1609516"/>
              <a:gd name="csY185" fmla="*/ 72672 h 1538630"/>
              <a:gd name="csX186" fmla="*/ 1193575 w 1609516"/>
              <a:gd name="csY186" fmla="*/ 75314 h 1538630"/>
              <a:gd name="csX187" fmla="*/ 1190450 w 1609516"/>
              <a:gd name="csY187" fmla="*/ 75314 h 1538630"/>
              <a:gd name="csX188" fmla="*/ 1189474 w 1609516"/>
              <a:gd name="csY188" fmla="*/ 79366 h 1538630"/>
              <a:gd name="csX189" fmla="*/ 1182445 w 1609516"/>
              <a:gd name="csY189" fmla="*/ 85707 h 1538630"/>
              <a:gd name="csX190" fmla="*/ 1177953 w 1609516"/>
              <a:gd name="csY190" fmla="*/ 86588 h 1538630"/>
              <a:gd name="csX191" fmla="*/ 1177953 w 1609516"/>
              <a:gd name="csY191" fmla="*/ 89406 h 1538630"/>
              <a:gd name="csX192" fmla="*/ 1170045 w 1609516"/>
              <a:gd name="csY192" fmla="*/ 94251 h 1538630"/>
              <a:gd name="csX193" fmla="*/ 1143806 w 1609516"/>
              <a:gd name="csY193" fmla="*/ 132828 h 1538630"/>
              <a:gd name="csX194" fmla="*/ 1137338 w 1609516"/>
              <a:gd name="csY194" fmla="*/ 141548 h 1538630"/>
              <a:gd name="csX195" fmla="*/ 1133970 w 1609516"/>
              <a:gd name="csY195" fmla="*/ 149403 h 1538630"/>
              <a:gd name="csX196" fmla="*/ 1127965 w 1609516"/>
              <a:gd name="csY196" fmla="*/ 164095 h 1538630"/>
              <a:gd name="csX197" fmla="*/ 1124762 w 1609516"/>
              <a:gd name="csY197" fmla="*/ 171802 h 1538630"/>
              <a:gd name="csX198" fmla="*/ 1119359 w 1609516"/>
              <a:gd name="csY198" fmla="*/ 184798 h 1538630"/>
              <a:gd name="csX199" fmla="*/ 1111014 w 1609516"/>
              <a:gd name="csY199" fmla="*/ 204941 h 1538630"/>
              <a:gd name="csX200" fmla="*/ 1109729 w 1609516"/>
              <a:gd name="csY200" fmla="*/ 208059 h 1538630"/>
              <a:gd name="csX201" fmla="*/ 1106395 w 1609516"/>
              <a:gd name="csY201" fmla="*/ 216170 h 1538630"/>
              <a:gd name="csX202" fmla="*/ 1102147 w 1609516"/>
              <a:gd name="csY202" fmla="*/ 224810 h 1538630"/>
              <a:gd name="csX203" fmla="*/ 1098261 w 1609516"/>
              <a:gd name="csY203" fmla="*/ 227262 h 1538630"/>
              <a:gd name="csX204" fmla="*/ 1098367 w 1609516"/>
              <a:gd name="csY204" fmla="*/ 238475 h 1538630"/>
              <a:gd name="csX205" fmla="*/ 1097331 w 1609516"/>
              <a:gd name="csY205" fmla="*/ 242358 h 1538630"/>
              <a:gd name="csX206" fmla="*/ 1096201 w 1609516"/>
              <a:gd name="csY206" fmla="*/ 246458 h 1538630"/>
              <a:gd name="csX207" fmla="*/ 1089440 w 1609516"/>
              <a:gd name="csY207" fmla="*/ 279206 h 1538630"/>
              <a:gd name="csX208" fmla="*/ 1087316 w 1609516"/>
              <a:gd name="csY208" fmla="*/ 283978 h 1538630"/>
              <a:gd name="csX209" fmla="*/ 1086822 w 1609516"/>
              <a:gd name="csY209" fmla="*/ 291822 h 1538630"/>
              <a:gd name="csX210" fmla="*/ 1086623 w 1609516"/>
              <a:gd name="csY210" fmla="*/ 296625 h 1538630"/>
              <a:gd name="csX211" fmla="*/ 1086437 w 1609516"/>
              <a:gd name="csY211" fmla="*/ 301681 h 1538630"/>
              <a:gd name="csX212" fmla="*/ 1086233 w 1609516"/>
              <a:gd name="csY212" fmla="*/ 306754 h 1538630"/>
              <a:gd name="csX213" fmla="*/ 1086007 w 1609516"/>
              <a:gd name="csY213" fmla="*/ 312619 h 1538630"/>
              <a:gd name="csX214" fmla="*/ 1087470 w 1609516"/>
              <a:gd name="csY214" fmla="*/ 320554 h 1538630"/>
              <a:gd name="csX215" fmla="*/ 1098285 w 1609516"/>
              <a:gd name="csY215" fmla="*/ 334611 h 1538630"/>
              <a:gd name="csX216" fmla="*/ 1102607 w 1609516"/>
              <a:gd name="csY216" fmla="*/ 337679 h 1538630"/>
              <a:gd name="csX217" fmla="*/ 1106095 w 1609516"/>
              <a:gd name="csY217" fmla="*/ 340248 h 1538630"/>
              <a:gd name="csX218" fmla="*/ 1106095 w 1609516"/>
              <a:gd name="csY218" fmla="*/ 343066 h 1538630"/>
              <a:gd name="csX219" fmla="*/ 1109220 w 1609516"/>
              <a:gd name="csY219" fmla="*/ 343419 h 1538630"/>
              <a:gd name="csX220" fmla="*/ 1126403 w 1609516"/>
              <a:gd name="csY220" fmla="*/ 350112 h 1538630"/>
              <a:gd name="csX221" fmla="*/ 1131871 w 1609516"/>
              <a:gd name="csY221" fmla="*/ 352579 h 1538630"/>
              <a:gd name="csX222" fmla="*/ 1135776 w 1609516"/>
              <a:gd name="csY222" fmla="*/ 354340 h 1538630"/>
              <a:gd name="csX223" fmla="*/ 1135776 w 1609516"/>
              <a:gd name="csY223" fmla="*/ 357158 h 1538630"/>
              <a:gd name="csX224" fmla="*/ 1170143 w 1609516"/>
              <a:gd name="csY224" fmla="*/ 354340 h 1538630"/>
              <a:gd name="csX225" fmla="*/ 1174634 w 1609516"/>
              <a:gd name="csY225" fmla="*/ 352579 h 1538630"/>
              <a:gd name="csX226" fmla="*/ 1190890 w 1609516"/>
              <a:gd name="csY226" fmla="*/ 342907 h 1538630"/>
              <a:gd name="csX227" fmla="*/ 1204021 w 1609516"/>
              <a:gd name="csY227" fmla="*/ 335404 h 1538630"/>
              <a:gd name="csX228" fmla="*/ 1223255 w 1609516"/>
              <a:gd name="csY228" fmla="*/ 319110 h 1538630"/>
              <a:gd name="csX229" fmla="*/ 1226868 w 1609516"/>
              <a:gd name="csY229" fmla="*/ 315587 h 1538630"/>
              <a:gd name="csX230" fmla="*/ 1231859 w 1609516"/>
              <a:gd name="csY230" fmla="*/ 303559 h 1538630"/>
              <a:gd name="csX231" fmla="*/ 1234178 w 1609516"/>
              <a:gd name="csY231" fmla="*/ 298059 h 1538630"/>
              <a:gd name="csX232" fmla="*/ 1237314 w 1609516"/>
              <a:gd name="csY232" fmla="*/ 288195 h 1538630"/>
              <a:gd name="csX233" fmla="*/ 1249811 w 1609516"/>
              <a:gd name="csY233" fmla="*/ 265559 h 1538630"/>
              <a:gd name="csX234" fmla="*/ 1252935 w 1609516"/>
              <a:gd name="csY234" fmla="*/ 265559 h 1538630"/>
              <a:gd name="csX235" fmla="*/ 1252935 w 1609516"/>
              <a:gd name="csY235" fmla="*/ 262741 h 1538630"/>
              <a:gd name="csX236" fmla="*/ 1296675 w 1609516"/>
              <a:gd name="csY236" fmla="*/ 252876 h 1538630"/>
              <a:gd name="csX237" fmla="*/ 1307609 w 1609516"/>
              <a:gd name="csY237" fmla="*/ 255695 h 1538630"/>
              <a:gd name="csX238" fmla="*/ 1307609 w 1609516"/>
              <a:gd name="csY238" fmla="*/ 258513 h 1538630"/>
              <a:gd name="csX239" fmla="*/ 1311887 w 1609516"/>
              <a:gd name="csY239" fmla="*/ 258832 h 1538630"/>
              <a:gd name="csX240" fmla="*/ 1326715 w 1609516"/>
              <a:gd name="csY240" fmla="*/ 269969 h 1538630"/>
              <a:gd name="csX241" fmla="*/ 1334165 w 1609516"/>
              <a:gd name="csY241" fmla="*/ 307836 h 1538630"/>
              <a:gd name="csX242" fmla="*/ 1329479 w 1609516"/>
              <a:gd name="csY242" fmla="*/ 314882 h 1538630"/>
              <a:gd name="csX243" fmla="*/ 1323231 w 1609516"/>
              <a:gd name="csY243" fmla="*/ 314882 h 1538630"/>
              <a:gd name="csX244" fmla="*/ 1323231 w 1609516"/>
              <a:gd name="csY244" fmla="*/ 317700 h 1538630"/>
              <a:gd name="csX245" fmla="*/ 1322774 w 1609516"/>
              <a:gd name="csY245" fmla="*/ 317838 h 1538630"/>
              <a:gd name="csX246" fmla="*/ 1323295 w 1609516"/>
              <a:gd name="csY246" fmla="*/ 317838 h 1538630"/>
              <a:gd name="csX247" fmla="*/ 1323295 w 1609516"/>
              <a:gd name="csY247" fmla="*/ 315019 h 1538630"/>
              <a:gd name="csX248" fmla="*/ 1327982 w 1609516"/>
              <a:gd name="csY248" fmla="*/ 315019 h 1538630"/>
              <a:gd name="csX249" fmla="*/ 1317047 w 1609516"/>
              <a:gd name="csY249" fmla="*/ 327702 h 1538630"/>
              <a:gd name="csX250" fmla="*/ 1315484 w 1609516"/>
              <a:gd name="csY250" fmla="*/ 331930 h 1538630"/>
              <a:gd name="csX251" fmla="*/ 1309139 w 1609516"/>
              <a:gd name="csY251" fmla="*/ 333603 h 1538630"/>
              <a:gd name="csX252" fmla="*/ 1305666 w 1609516"/>
              <a:gd name="csY252" fmla="*/ 334280 h 1538630"/>
              <a:gd name="csX253" fmla="*/ 1302988 w 1609516"/>
              <a:gd name="csY253" fmla="*/ 334748 h 1538630"/>
              <a:gd name="csX254" fmla="*/ 1305905 w 1609516"/>
              <a:gd name="csY254" fmla="*/ 332775 h 1538630"/>
              <a:gd name="csX255" fmla="*/ 1304485 w 1609516"/>
              <a:gd name="csY255" fmla="*/ 333202 h 1538630"/>
              <a:gd name="csX256" fmla="*/ 1301459 w 1609516"/>
              <a:gd name="csY256" fmla="*/ 336108 h 1538630"/>
              <a:gd name="csX257" fmla="*/ 1291989 w 1609516"/>
              <a:gd name="csY257" fmla="*/ 338839 h 1538630"/>
              <a:gd name="csX258" fmla="*/ 1290426 w 1609516"/>
              <a:gd name="csY258" fmla="*/ 343066 h 1538630"/>
              <a:gd name="csX259" fmla="*/ 1285740 w 1609516"/>
              <a:gd name="csY259" fmla="*/ 344123 h 1538630"/>
              <a:gd name="csX260" fmla="*/ 1237314 w 1609516"/>
              <a:gd name="csY260" fmla="*/ 382525 h 1538630"/>
              <a:gd name="csX261" fmla="*/ 1232628 w 1609516"/>
              <a:gd name="csY261" fmla="*/ 392389 h 1538630"/>
              <a:gd name="csX262" fmla="*/ 1228625 w 1609516"/>
              <a:gd name="csY262" fmla="*/ 398731 h 1538630"/>
              <a:gd name="csX263" fmla="*/ 1222822 w 1609516"/>
              <a:gd name="csY263" fmla="*/ 434798 h 1538630"/>
              <a:gd name="csX264" fmla="*/ 1260746 w 1609516"/>
              <a:gd name="csY264" fmla="*/ 485398 h 1538630"/>
              <a:gd name="csX265" fmla="*/ 1268556 w 1609516"/>
              <a:gd name="csY265" fmla="*/ 488216 h 1538630"/>
              <a:gd name="csX266" fmla="*/ 1268556 w 1609516"/>
              <a:gd name="csY266" fmla="*/ 491034 h 1538630"/>
              <a:gd name="csX267" fmla="*/ 1338852 w 1609516"/>
              <a:gd name="csY267" fmla="*/ 489625 h 1538630"/>
              <a:gd name="csX268" fmla="*/ 1347444 w 1609516"/>
              <a:gd name="csY268" fmla="*/ 488480 h 1538630"/>
              <a:gd name="csX269" fmla="*/ 1369362 w 1609516"/>
              <a:gd name="csY269" fmla="*/ 482513 h 1538630"/>
              <a:gd name="csX270" fmla="*/ 1388840 w 1609516"/>
              <a:gd name="csY270" fmla="*/ 478351 h 1538630"/>
              <a:gd name="csX271" fmla="*/ 1388840 w 1609516"/>
              <a:gd name="csY271" fmla="*/ 475533 h 1538630"/>
              <a:gd name="csX272" fmla="*/ 1395576 w 1609516"/>
              <a:gd name="csY272" fmla="*/ 473419 h 1538630"/>
              <a:gd name="csX273" fmla="*/ 1399365 w 1609516"/>
              <a:gd name="csY273" fmla="*/ 472230 h 1538630"/>
              <a:gd name="csX274" fmla="*/ 1407585 w 1609516"/>
              <a:gd name="csY274" fmla="*/ 471305 h 1538630"/>
              <a:gd name="csX275" fmla="*/ 1409147 w 1609516"/>
              <a:gd name="csY275" fmla="*/ 467078 h 1538630"/>
              <a:gd name="csX276" fmla="*/ 1416470 w 1609516"/>
              <a:gd name="csY276" fmla="*/ 464259 h 1538630"/>
              <a:gd name="csX277" fmla="*/ 1437949 w 1609516"/>
              <a:gd name="csY277" fmla="*/ 455011 h 1538630"/>
              <a:gd name="csX278" fmla="*/ 1452887 w 1609516"/>
              <a:gd name="csY278" fmla="*/ 450167 h 1538630"/>
              <a:gd name="csX279" fmla="*/ 1452887 w 1609516"/>
              <a:gd name="csY279" fmla="*/ 447349 h 1538630"/>
              <a:gd name="csX280" fmla="*/ 1455394 w 1609516"/>
              <a:gd name="csY280" fmla="*/ 446122 h 1538630"/>
              <a:gd name="csX281" fmla="*/ 1466653 w 1609516"/>
              <a:gd name="csY281" fmla="*/ 440567 h 1538630"/>
              <a:gd name="csX282" fmla="*/ 1470598 w 1609516"/>
              <a:gd name="csY282" fmla="*/ 438637 h 1538630"/>
              <a:gd name="csX283" fmla="*/ 1474397 w 1609516"/>
              <a:gd name="csY283" fmla="*/ 436752 h 1538630"/>
              <a:gd name="csX284" fmla="*/ 1477892 w 1609516"/>
              <a:gd name="csY284" fmla="*/ 435030 h 1538630"/>
              <a:gd name="csX285" fmla="*/ 1485691 w 1609516"/>
              <a:gd name="csY285" fmla="*/ 429029 h 1538630"/>
              <a:gd name="csX286" fmla="*/ 1488858 w 1609516"/>
              <a:gd name="csY286" fmla="*/ 427653 h 1538630"/>
              <a:gd name="csX287" fmla="*/ 1495943 w 1609516"/>
              <a:gd name="csY287" fmla="*/ 421454 h 1538630"/>
              <a:gd name="csX288" fmla="*/ 1538608 w 1609516"/>
              <a:gd name="csY288" fmla="*/ 388338 h 1538630"/>
              <a:gd name="csX289" fmla="*/ 1543490 w 1609516"/>
              <a:gd name="csY289" fmla="*/ 388161 h 1538630"/>
              <a:gd name="csX290" fmla="*/ 1547621 w 1609516"/>
              <a:gd name="csY290" fmla="*/ 387804 h 1538630"/>
              <a:gd name="csX291" fmla="*/ 1579418 w 1609516"/>
              <a:gd name="csY291" fmla="*/ 396617 h 1538630"/>
              <a:gd name="csX292" fmla="*/ 1583342 w 1609516"/>
              <a:gd name="csY292" fmla="*/ 398780 h 1538630"/>
              <a:gd name="csX293" fmla="*/ 1601288 w 1609516"/>
              <a:gd name="csY293" fmla="*/ 423392 h 1538630"/>
              <a:gd name="csX294" fmla="*/ 1594484 w 1609516"/>
              <a:gd name="csY294" fmla="*/ 460159 h 1538630"/>
              <a:gd name="csX295" fmla="*/ 1574732 w 1609516"/>
              <a:gd name="csY295" fmla="*/ 475533 h 1538630"/>
              <a:gd name="csX296" fmla="*/ 1572097 w 1609516"/>
              <a:gd name="csY296" fmla="*/ 477078 h 1538630"/>
              <a:gd name="csX297" fmla="*/ 1556066 w 1609516"/>
              <a:gd name="csY297" fmla="*/ 478737 h 1538630"/>
              <a:gd name="csX298" fmla="*/ 1548631 w 1609516"/>
              <a:gd name="csY298" fmla="*/ 478825 h 1538630"/>
              <a:gd name="csX299" fmla="*/ 1536991 w 1609516"/>
              <a:gd name="csY299" fmla="*/ 478889 h 1538630"/>
              <a:gd name="csX300" fmla="*/ 1498188 w 1609516"/>
              <a:gd name="csY300" fmla="*/ 485398 h 1538630"/>
              <a:gd name="csX301" fmla="*/ 1493892 w 1609516"/>
              <a:gd name="csY301" fmla="*/ 487600 h 1538630"/>
              <a:gd name="csX302" fmla="*/ 1490377 w 1609516"/>
              <a:gd name="csY302" fmla="*/ 489625 h 1538630"/>
              <a:gd name="csX303" fmla="*/ 1471650 w 1609516"/>
              <a:gd name="csY303" fmla="*/ 498185 h 1538630"/>
              <a:gd name="csX304" fmla="*/ 1459135 w 1609516"/>
              <a:gd name="csY304" fmla="*/ 505127 h 1538630"/>
              <a:gd name="csX305" fmla="*/ 1452594 w 1609516"/>
              <a:gd name="csY305" fmla="*/ 508033 h 1538630"/>
              <a:gd name="csX306" fmla="*/ 1427795 w 1609516"/>
              <a:gd name="csY306" fmla="*/ 520100 h 1538630"/>
              <a:gd name="csX307" fmla="*/ 1423733 w 1609516"/>
              <a:gd name="csY307" fmla="*/ 522148 h 1538630"/>
              <a:gd name="csX308" fmla="*/ 1419929 w 1609516"/>
              <a:gd name="csY308" fmla="*/ 524118 h 1538630"/>
              <a:gd name="csX309" fmla="*/ 1416487 w 1609516"/>
              <a:gd name="csY309" fmla="*/ 525883 h 1538630"/>
              <a:gd name="csX310" fmla="*/ 1412271 w 1609516"/>
              <a:gd name="csY310" fmla="*/ 531902 h 1538630"/>
              <a:gd name="csX311" fmla="*/ 1396650 w 1609516"/>
              <a:gd name="csY311" fmla="*/ 537539 h 1538630"/>
              <a:gd name="csX312" fmla="*/ 1396650 w 1609516"/>
              <a:gd name="csY312" fmla="*/ 540357 h 1538630"/>
              <a:gd name="csX313" fmla="*/ 1393495 w 1609516"/>
              <a:gd name="csY313" fmla="*/ 541502 h 1538630"/>
              <a:gd name="csX314" fmla="*/ 1362284 w 1609516"/>
              <a:gd name="csY314" fmla="*/ 558678 h 1538630"/>
              <a:gd name="csX315" fmla="*/ 1355937 w 1609516"/>
              <a:gd name="csY315" fmla="*/ 562905 h 1538630"/>
              <a:gd name="csX316" fmla="*/ 1334165 w 1609516"/>
              <a:gd name="csY316" fmla="*/ 578406 h 1538630"/>
              <a:gd name="csX317" fmla="*/ 1331200 w 1609516"/>
              <a:gd name="csY317" fmla="*/ 580559 h 1538630"/>
              <a:gd name="csX318" fmla="*/ 1322175 w 1609516"/>
              <a:gd name="csY318" fmla="*/ 596793 h 1538630"/>
              <a:gd name="csX319" fmla="*/ 1320106 w 1609516"/>
              <a:gd name="csY319" fmla="*/ 602363 h 1538630"/>
              <a:gd name="csX320" fmla="*/ 1328015 w 1609516"/>
              <a:gd name="csY320" fmla="*/ 647640 h 1538630"/>
              <a:gd name="csX321" fmla="*/ 1332604 w 1609516"/>
              <a:gd name="csY321" fmla="*/ 675643 h 1538630"/>
              <a:gd name="csX322" fmla="*/ 1335727 w 1609516"/>
              <a:gd name="csY322" fmla="*/ 675643 h 1538630"/>
              <a:gd name="csX323" fmla="*/ 1337741 w 1609516"/>
              <a:gd name="csY323" fmla="*/ 690059 h 1538630"/>
              <a:gd name="csX324" fmla="*/ 1338003 w 1609516"/>
              <a:gd name="csY324" fmla="*/ 696222 h 1538630"/>
              <a:gd name="csX325" fmla="*/ 1338340 w 1609516"/>
              <a:gd name="csY325" fmla="*/ 705887 h 1538630"/>
              <a:gd name="csX326" fmla="*/ 1345277 w 1609516"/>
              <a:gd name="csY326" fmla="*/ 733245 h 1538630"/>
              <a:gd name="csX327" fmla="*/ 1363162 w 1609516"/>
              <a:gd name="csY327" fmla="*/ 741612 h 1538630"/>
              <a:gd name="csX328" fmla="*/ 1384154 w 1609516"/>
              <a:gd name="csY328" fmla="*/ 748922 h 1538630"/>
              <a:gd name="csX329" fmla="*/ 1391476 w 1609516"/>
              <a:gd name="csY329" fmla="*/ 750419 h 1538630"/>
              <a:gd name="csX330" fmla="*/ 1395564 w 1609516"/>
              <a:gd name="csY330" fmla="*/ 751080 h 1538630"/>
              <a:gd name="csX331" fmla="*/ 1399775 w 1609516"/>
              <a:gd name="csY331" fmla="*/ 751740 h 1538630"/>
              <a:gd name="csX332" fmla="*/ 1403887 w 1609516"/>
              <a:gd name="csY332" fmla="*/ 752489 h 1538630"/>
              <a:gd name="csX333" fmla="*/ 1465383 w 1609516"/>
              <a:gd name="csY333" fmla="*/ 755969 h 1538630"/>
              <a:gd name="csX334" fmla="*/ 1470339 w 1609516"/>
              <a:gd name="csY334" fmla="*/ 755897 h 1538630"/>
              <a:gd name="csX335" fmla="*/ 1496809 w 1609516"/>
              <a:gd name="csY335" fmla="*/ 749313 h 1538630"/>
              <a:gd name="csX336" fmla="*/ 1515371 w 1609516"/>
              <a:gd name="csY336" fmla="*/ 743285 h 1538630"/>
              <a:gd name="csX337" fmla="*/ 1515371 w 1609516"/>
              <a:gd name="csY337" fmla="*/ 740467 h 1538630"/>
              <a:gd name="csX338" fmla="*/ 1537632 w 1609516"/>
              <a:gd name="csY338" fmla="*/ 737120 h 1538630"/>
              <a:gd name="csX339" fmla="*/ 1541657 w 1609516"/>
              <a:gd name="csY339" fmla="*/ 737127 h 1538630"/>
              <a:gd name="csX340" fmla="*/ 1574732 w 1609516"/>
              <a:gd name="csY340" fmla="*/ 748922 h 1538630"/>
              <a:gd name="csX341" fmla="*/ 1588791 w 1609516"/>
              <a:gd name="csY341" fmla="*/ 792608 h 1538630"/>
              <a:gd name="csX342" fmla="*/ 1584105 w 1609516"/>
              <a:gd name="csY342" fmla="*/ 805291 h 1538630"/>
              <a:gd name="csX343" fmla="*/ 1580981 w 1609516"/>
              <a:gd name="csY343" fmla="*/ 806700 h 1538630"/>
              <a:gd name="csX344" fmla="*/ 1578735 w 1609516"/>
              <a:gd name="csY344" fmla="*/ 810311 h 1538630"/>
              <a:gd name="csX345" fmla="*/ 1576295 w 1609516"/>
              <a:gd name="csY345" fmla="*/ 813746 h 1538630"/>
              <a:gd name="csX346" fmla="*/ 1571652 w 1609516"/>
              <a:gd name="csY346" fmla="*/ 813746 h 1538630"/>
              <a:gd name="csX347" fmla="*/ 1571785 w 1609516"/>
              <a:gd name="csY347" fmla="*/ 814106 h 1538630"/>
              <a:gd name="csX348" fmla="*/ 1574909 w 1609516"/>
              <a:gd name="csY348" fmla="*/ 815515 h 1538630"/>
              <a:gd name="csX349" fmla="*/ 1565463 w 1609516"/>
              <a:gd name="csY349" fmla="*/ 821839 h 1538630"/>
              <a:gd name="csX350" fmla="*/ 1562085 w 1609516"/>
              <a:gd name="csY350" fmla="*/ 822101 h 1538630"/>
              <a:gd name="csX351" fmla="*/ 1551301 w 1609516"/>
              <a:gd name="csY351" fmla="*/ 825020 h 1538630"/>
              <a:gd name="csX352" fmla="*/ 1551301 w 1609516"/>
              <a:gd name="csY352" fmla="*/ 827838 h 1538630"/>
              <a:gd name="csX353" fmla="*/ 1485380 w 1609516"/>
              <a:gd name="csY353" fmla="*/ 815007 h 1538630"/>
              <a:gd name="csX354" fmla="*/ 1431603 w 1609516"/>
              <a:gd name="csY354" fmla="*/ 808726 h 1538630"/>
              <a:gd name="csX355" fmla="*/ 1424140 w 1609516"/>
              <a:gd name="csY355" fmla="*/ 808542 h 1538630"/>
              <a:gd name="csX356" fmla="*/ 1406023 w 1609516"/>
              <a:gd name="csY356" fmla="*/ 808109 h 1538630"/>
              <a:gd name="csX357" fmla="*/ 1406023 w 1609516"/>
              <a:gd name="csY357" fmla="*/ 810928 h 1538630"/>
              <a:gd name="csX358" fmla="*/ 1403383 w 1609516"/>
              <a:gd name="csY358" fmla="*/ 811311 h 1538630"/>
              <a:gd name="csX359" fmla="*/ 1345442 w 1609516"/>
              <a:gd name="csY359" fmla="*/ 828907 h 1538630"/>
              <a:gd name="csX360" fmla="*/ 1337875 w 1609516"/>
              <a:gd name="csY360" fmla="*/ 856639 h 1538630"/>
              <a:gd name="csX361" fmla="*/ 1337692 w 1609516"/>
              <a:gd name="csY361" fmla="*/ 860171 h 1538630"/>
              <a:gd name="csX362" fmla="*/ 1337290 w 1609516"/>
              <a:gd name="csY362" fmla="*/ 868706 h 1538630"/>
              <a:gd name="csX363" fmla="*/ 1334165 w 1609516"/>
              <a:gd name="csY363" fmla="*/ 868706 h 1538630"/>
              <a:gd name="csX364" fmla="*/ 1334165 w 1609516"/>
              <a:gd name="csY364" fmla="*/ 870034 h 1538630"/>
              <a:gd name="csX365" fmla="*/ 1334237 w 1609516"/>
              <a:gd name="csY365" fmla="*/ 869093 h 1538630"/>
              <a:gd name="csX366" fmla="*/ 1335800 w 1609516"/>
              <a:gd name="csY366" fmla="*/ 869093 h 1538630"/>
              <a:gd name="csX367" fmla="*/ 1335995 w 1609516"/>
              <a:gd name="csY367" fmla="*/ 876491 h 1538630"/>
              <a:gd name="csX368" fmla="*/ 1336105 w 1609516"/>
              <a:gd name="csY368" fmla="*/ 880653 h 1538630"/>
              <a:gd name="csX369" fmla="*/ 1334294 w 1609516"/>
              <a:gd name="csY369" fmla="*/ 887271 h 1538630"/>
              <a:gd name="csX370" fmla="*/ 1331455 w 1609516"/>
              <a:gd name="csY370" fmla="*/ 896440 h 1538630"/>
              <a:gd name="csX371" fmla="*/ 1330887 w 1609516"/>
              <a:gd name="csY371" fmla="*/ 899969 h 1538630"/>
              <a:gd name="csX372" fmla="*/ 1330332 w 1609516"/>
              <a:gd name="csY372" fmla="*/ 903618 h 1538630"/>
              <a:gd name="csX373" fmla="*/ 1329209 w 1609516"/>
              <a:gd name="csY373" fmla="*/ 910797 h 1538630"/>
              <a:gd name="csX374" fmla="*/ 1328724 w 1609516"/>
              <a:gd name="csY374" fmla="*/ 913998 h 1538630"/>
              <a:gd name="csX375" fmla="*/ 1324865 w 1609516"/>
              <a:gd name="csY375" fmla="*/ 922643 h 1538630"/>
              <a:gd name="csX376" fmla="*/ 1322619 w 1609516"/>
              <a:gd name="csY376" fmla="*/ 937979 h 1538630"/>
              <a:gd name="csX377" fmla="*/ 1318744 w 1609516"/>
              <a:gd name="csY377" fmla="*/ 944961 h 1538630"/>
              <a:gd name="csX378" fmla="*/ 1318544 w 1609516"/>
              <a:gd name="csY378" fmla="*/ 946213 h 1538630"/>
              <a:gd name="csX379" fmla="*/ 1318251 w 1609516"/>
              <a:gd name="csY379" fmla="*/ 955285 h 1538630"/>
              <a:gd name="csX380" fmla="*/ 1318184 w 1609516"/>
              <a:gd name="csY380" fmla="*/ 960036 h 1538630"/>
              <a:gd name="csX381" fmla="*/ 1324024 w 1609516"/>
              <a:gd name="csY381" fmla="*/ 973660 h 1538630"/>
              <a:gd name="csX382" fmla="*/ 1329284 w 1609516"/>
              <a:gd name="csY382" fmla="*/ 983382 h 1538630"/>
              <a:gd name="csX383" fmla="*/ 1340414 w 1609516"/>
              <a:gd name="csY383" fmla="*/ 998354 h 1538630"/>
              <a:gd name="csX384" fmla="*/ 1346272 w 1609516"/>
              <a:gd name="csY384" fmla="*/ 1005048 h 1538630"/>
              <a:gd name="csX385" fmla="*/ 1394716 w 1609516"/>
              <a:gd name="csY385" fmla="*/ 1042740 h 1538630"/>
              <a:gd name="csX386" fmla="*/ 1401953 w 1609516"/>
              <a:gd name="csY386" fmla="*/ 1047374 h 1538630"/>
              <a:gd name="csX387" fmla="*/ 1427197 w 1609516"/>
              <a:gd name="csY387" fmla="*/ 1059061 h 1538630"/>
              <a:gd name="csX388" fmla="*/ 1437265 w 1609516"/>
              <a:gd name="csY388" fmla="*/ 1064588 h 1538630"/>
              <a:gd name="csX389" fmla="*/ 1437265 w 1609516"/>
              <a:gd name="csY389" fmla="*/ 1067406 h 1538630"/>
              <a:gd name="csX390" fmla="*/ 1440878 w 1609516"/>
              <a:gd name="csY390" fmla="*/ 1067847 h 1538630"/>
              <a:gd name="csX391" fmla="*/ 1447175 w 1609516"/>
              <a:gd name="csY391" fmla="*/ 1070753 h 1538630"/>
              <a:gd name="csX392" fmla="*/ 1457866 w 1609516"/>
              <a:gd name="csY392" fmla="*/ 1076830 h 1538630"/>
              <a:gd name="csX393" fmla="*/ 1462132 w 1609516"/>
              <a:gd name="csY393" fmla="*/ 1078696 h 1538630"/>
              <a:gd name="csX394" fmla="*/ 1465383 w 1609516"/>
              <a:gd name="csY394" fmla="*/ 1080089 h 1538630"/>
              <a:gd name="csX395" fmla="*/ 1465383 w 1609516"/>
              <a:gd name="csY395" fmla="*/ 1082908 h 1538630"/>
              <a:gd name="csX396" fmla="*/ 1468758 w 1609516"/>
              <a:gd name="csY396" fmla="*/ 1083975 h 1538630"/>
              <a:gd name="csX397" fmla="*/ 1481688 w 1609516"/>
              <a:gd name="csY397" fmla="*/ 1091187 h 1538630"/>
              <a:gd name="csX398" fmla="*/ 1486283 w 1609516"/>
              <a:gd name="csY398" fmla="*/ 1094236 h 1538630"/>
              <a:gd name="csX399" fmla="*/ 1494869 w 1609516"/>
              <a:gd name="csY399" fmla="*/ 1100171 h 1538630"/>
              <a:gd name="csX400" fmla="*/ 1544335 w 1609516"/>
              <a:gd name="csY400" fmla="*/ 1109518 h 1538630"/>
              <a:gd name="csX401" fmla="*/ 1593477 w 1609516"/>
              <a:gd name="csY401" fmla="*/ 1119900 h 1538630"/>
              <a:gd name="csX402" fmla="*/ 1605975 w 1609516"/>
              <a:gd name="csY402" fmla="*/ 1144913 h 1538630"/>
              <a:gd name="csX403" fmla="*/ 1609099 w 1609516"/>
              <a:gd name="csY403" fmla="*/ 1144913 h 1538630"/>
              <a:gd name="csX404" fmla="*/ 1609392 w 1609516"/>
              <a:gd name="csY404" fmla="*/ 1156892 h 1538630"/>
              <a:gd name="csX405" fmla="*/ 1609511 w 1609516"/>
              <a:gd name="csY405" fmla="*/ 1160272 h 1538630"/>
              <a:gd name="csX406" fmla="*/ 1604412 w 1609516"/>
              <a:gd name="csY406" fmla="*/ 1181553 h 1538630"/>
              <a:gd name="csX407" fmla="*/ 1601288 w 1609516"/>
              <a:gd name="csY407" fmla="*/ 1190009 h 1538630"/>
              <a:gd name="csX408" fmla="*/ 1598164 w 1609516"/>
              <a:gd name="csY408" fmla="*/ 1190009 h 1538630"/>
              <a:gd name="csX409" fmla="*/ 1597187 w 1609516"/>
              <a:gd name="csY409" fmla="*/ 1192739 h 1538630"/>
              <a:gd name="csX410" fmla="*/ 1595040 w 1609516"/>
              <a:gd name="csY410" fmla="*/ 1195645 h 1538630"/>
              <a:gd name="csX411" fmla="*/ 1585667 w 1609516"/>
              <a:gd name="csY411" fmla="*/ 1197055 h 1538630"/>
              <a:gd name="csX412" fmla="*/ 1582543 w 1609516"/>
              <a:gd name="csY412" fmla="*/ 1202691 h 1538630"/>
              <a:gd name="csX413" fmla="*/ 1562431 w 1609516"/>
              <a:gd name="csY413" fmla="*/ 1204365 h 1538630"/>
              <a:gd name="csX414" fmla="*/ 1558690 w 1609516"/>
              <a:gd name="csY414" fmla="*/ 1204417 h 1538630"/>
              <a:gd name="csX415" fmla="*/ 1521102 w 1609516"/>
              <a:gd name="csY415" fmla="*/ 1189585 h 1538630"/>
              <a:gd name="csX416" fmla="*/ 1505022 w 1609516"/>
              <a:gd name="csY416" fmla="*/ 1172041 h 1538630"/>
              <a:gd name="csX417" fmla="*/ 1457573 w 1609516"/>
              <a:gd name="csY417" fmla="*/ 1140686 h 1538630"/>
              <a:gd name="csX418" fmla="*/ 1457573 w 1609516"/>
              <a:gd name="csY418" fmla="*/ 1137867 h 1538630"/>
              <a:gd name="csX419" fmla="*/ 1452985 w 1609516"/>
              <a:gd name="csY419" fmla="*/ 1137339 h 1538630"/>
              <a:gd name="csX420" fmla="*/ 1448200 w 1609516"/>
              <a:gd name="csY420" fmla="*/ 1136458 h 1538630"/>
              <a:gd name="csX421" fmla="*/ 1446638 w 1609516"/>
              <a:gd name="csY421" fmla="*/ 1133640 h 1538630"/>
              <a:gd name="csX422" fmla="*/ 1438937 w 1609516"/>
              <a:gd name="csY422" fmla="*/ 1130601 h 1538630"/>
              <a:gd name="csX423" fmla="*/ 1429260 w 1609516"/>
              <a:gd name="csY423" fmla="*/ 1126770 h 1538630"/>
              <a:gd name="csX424" fmla="*/ 1411393 w 1609516"/>
              <a:gd name="csY424" fmla="*/ 1120340 h 1538630"/>
              <a:gd name="csX425" fmla="*/ 1391427 w 1609516"/>
              <a:gd name="csY425" fmla="*/ 1111191 h 1538630"/>
              <a:gd name="csX426" fmla="*/ 1381029 w 1609516"/>
              <a:gd name="csY426" fmla="*/ 1106865 h 1538630"/>
              <a:gd name="csX427" fmla="*/ 1381029 w 1609516"/>
              <a:gd name="csY427" fmla="*/ 1104046 h 1538630"/>
              <a:gd name="csX428" fmla="*/ 1377221 w 1609516"/>
              <a:gd name="csY428" fmla="*/ 1103605 h 1538630"/>
              <a:gd name="csX429" fmla="*/ 1357597 w 1609516"/>
              <a:gd name="csY429" fmla="*/ 1098409 h 1538630"/>
              <a:gd name="csX430" fmla="*/ 1352032 w 1609516"/>
              <a:gd name="csY430" fmla="*/ 1096736 h 1538630"/>
              <a:gd name="csX431" fmla="*/ 1348225 w 1609516"/>
              <a:gd name="csY431" fmla="*/ 1095590 h 1538630"/>
              <a:gd name="csX432" fmla="*/ 1348225 w 1609516"/>
              <a:gd name="csY432" fmla="*/ 1092772 h 1538630"/>
              <a:gd name="csX433" fmla="*/ 1337290 w 1609516"/>
              <a:gd name="csY433" fmla="*/ 1091363 h 1538630"/>
              <a:gd name="csX434" fmla="*/ 1337290 w 1609516"/>
              <a:gd name="csY434" fmla="*/ 1088544 h 1538630"/>
              <a:gd name="csX435" fmla="*/ 1331529 w 1609516"/>
              <a:gd name="csY435" fmla="*/ 1088104 h 1538630"/>
              <a:gd name="csX436" fmla="*/ 1323297 w 1609516"/>
              <a:gd name="csY436" fmla="*/ 1086611 h 1538630"/>
              <a:gd name="csX437" fmla="*/ 1323297 w 1609516"/>
              <a:gd name="csY437" fmla="*/ 1087618 h 1538630"/>
              <a:gd name="csX438" fmla="*/ 1319789 w 1609516"/>
              <a:gd name="csY438" fmla="*/ 1087310 h 1538630"/>
              <a:gd name="csX439" fmla="*/ 1262375 w 1609516"/>
              <a:gd name="csY439" fmla="*/ 1089028 h 1538630"/>
              <a:gd name="csX440" fmla="*/ 1258728 w 1609516"/>
              <a:gd name="csY440" fmla="*/ 1088205 h 1538630"/>
              <a:gd name="csX441" fmla="*/ 1246964 w 1609516"/>
              <a:gd name="csY441" fmla="*/ 1091489 h 1538630"/>
              <a:gd name="csX442" fmla="*/ 1223224 w 1609516"/>
              <a:gd name="csY442" fmla="*/ 1112865 h 1538630"/>
              <a:gd name="csX443" fmla="*/ 1213883 w 1609516"/>
              <a:gd name="csY443" fmla="*/ 1122366 h 1538630"/>
              <a:gd name="csX444" fmla="*/ 1212505 w 1609516"/>
              <a:gd name="csY444" fmla="*/ 1125708 h 1538630"/>
              <a:gd name="csX445" fmla="*/ 1204180 w 1609516"/>
              <a:gd name="csY445" fmla="*/ 1135561 h 1538630"/>
              <a:gd name="csX446" fmla="*/ 1200238 w 1609516"/>
              <a:gd name="csY446" fmla="*/ 1138999 h 1538630"/>
              <a:gd name="csX447" fmla="*/ 1192025 w 1609516"/>
              <a:gd name="csY447" fmla="*/ 1146022 h 1538630"/>
              <a:gd name="csX448" fmla="*/ 1173945 w 1609516"/>
              <a:gd name="csY448" fmla="*/ 1174749 h 1538630"/>
              <a:gd name="csX449" fmla="*/ 1173950 w 1609516"/>
              <a:gd name="csY449" fmla="*/ 1182610 h 1538630"/>
              <a:gd name="csX450" fmla="*/ 1173989 w 1609516"/>
              <a:gd name="csY450" fmla="*/ 1186765 h 1538630"/>
              <a:gd name="csX451" fmla="*/ 1182640 w 1609516"/>
              <a:gd name="csY451" fmla="*/ 1215374 h 1538630"/>
              <a:gd name="csX452" fmla="*/ 1185764 w 1609516"/>
              <a:gd name="csY452" fmla="*/ 1221804 h 1538630"/>
              <a:gd name="csX453" fmla="*/ 1187301 w 1609516"/>
              <a:gd name="csY453" fmla="*/ 1224859 h 1538630"/>
              <a:gd name="csX454" fmla="*/ 1190573 w 1609516"/>
              <a:gd name="csY454" fmla="*/ 1231740 h 1538630"/>
              <a:gd name="csX455" fmla="*/ 1205925 w 1609516"/>
              <a:gd name="csY455" fmla="*/ 1255163 h 1538630"/>
              <a:gd name="csX456" fmla="*/ 1212174 w 1609516"/>
              <a:gd name="csY456" fmla="*/ 1263134 h 1538630"/>
              <a:gd name="csX457" fmla="*/ 1235556 w 1609516"/>
              <a:gd name="csY457" fmla="*/ 1282538 h 1538630"/>
              <a:gd name="csX458" fmla="*/ 1238876 w 1609516"/>
              <a:gd name="csY458" fmla="*/ 1284426 h 1538630"/>
              <a:gd name="csX459" fmla="*/ 1238876 w 1609516"/>
              <a:gd name="csY459" fmla="*/ 1287245 h 1538630"/>
              <a:gd name="csX460" fmla="*/ 1242245 w 1609516"/>
              <a:gd name="csY460" fmla="*/ 1287663 h 1538630"/>
              <a:gd name="csX461" fmla="*/ 1271681 w 1609516"/>
              <a:gd name="csY461" fmla="*/ 1305565 h 1538630"/>
              <a:gd name="csX462" fmla="*/ 1271742 w 1609516"/>
              <a:gd name="csY462" fmla="*/ 1306172 h 1538630"/>
              <a:gd name="csX463" fmla="*/ 1278525 w 1609516"/>
              <a:gd name="csY463" fmla="*/ 1315767 h 1538630"/>
              <a:gd name="csX464" fmla="*/ 1281097 w 1609516"/>
              <a:gd name="csY464" fmla="*/ 1327286 h 1538630"/>
              <a:gd name="csX465" fmla="*/ 1277973 w 1609516"/>
              <a:gd name="csY465" fmla="*/ 1355470 h 1538630"/>
              <a:gd name="csX466" fmla="*/ 1277460 w 1609516"/>
              <a:gd name="csY466" fmla="*/ 1347025 h 1538630"/>
              <a:gd name="csX467" fmla="*/ 1273531 w 1609516"/>
              <a:gd name="csY467" fmla="*/ 1357991 h 1538630"/>
              <a:gd name="csX468" fmla="*/ 1263870 w 1609516"/>
              <a:gd name="csY468" fmla="*/ 1368980 h 1538630"/>
              <a:gd name="csX469" fmla="*/ 1246686 w 1609516"/>
              <a:gd name="csY469" fmla="*/ 1376026 h 1538630"/>
              <a:gd name="csX470" fmla="*/ 1246686 w 1609516"/>
              <a:gd name="csY470" fmla="*/ 1378844 h 1538630"/>
              <a:gd name="csX471" fmla="*/ 1231651 w 1609516"/>
              <a:gd name="csY471" fmla="*/ 1379196 h 1538630"/>
              <a:gd name="csX472" fmla="*/ 1227373 w 1609516"/>
              <a:gd name="csY472" fmla="*/ 1379340 h 1538630"/>
              <a:gd name="csX473" fmla="*/ 1206071 w 1609516"/>
              <a:gd name="csY473" fmla="*/ 1373207 h 1538630"/>
              <a:gd name="csX474" fmla="*/ 1202069 w 1609516"/>
              <a:gd name="csY474" fmla="*/ 1371798 h 1538630"/>
              <a:gd name="csX475" fmla="*/ 1184104 w 1609516"/>
              <a:gd name="csY475" fmla="*/ 1356176 h 1538630"/>
              <a:gd name="csX476" fmla="*/ 1177270 w 1609516"/>
              <a:gd name="csY476" fmla="*/ 1335247 h 1538630"/>
              <a:gd name="csX477" fmla="*/ 1169002 w 1609516"/>
              <a:gd name="csY477" fmla="*/ 1313464 h 1538630"/>
              <a:gd name="csX478" fmla="*/ 1163504 w 1609516"/>
              <a:gd name="csY478" fmla="*/ 1302130 h 1538630"/>
              <a:gd name="csX479" fmla="*/ 1162015 w 1609516"/>
              <a:gd name="csY479" fmla="*/ 1298788 h 1538630"/>
              <a:gd name="csX480" fmla="*/ 1160111 w 1609516"/>
              <a:gd name="csY480" fmla="*/ 1292656 h 1538630"/>
              <a:gd name="csX481" fmla="*/ 1154522 w 1609516"/>
              <a:gd name="csY481" fmla="*/ 1287245 h 1538630"/>
              <a:gd name="csX482" fmla="*/ 1151398 w 1609516"/>
              <a:gd name="csY482" fmla="*/ 1280199 h 1538630"/>
              <a:gd name="csX483" fmla="*/ 1144173 w 1609516"/>
              <a:gd name="csY483" fmla="*/ 1270774 h 1538630"/>
              <a:gd name="csX484" fmla="*/ 1142065 w 1609516"/>
              <a:gd name="csY484" fmla="*/ 1268160 h 1538630"/>
              <a:gd name="csX485" fmla="*/ 1135776 w 1609516"/>
              <a:gd name="csY485" fmla="*/ 1260470 h 1538630"/>
              <a:gd name="csX486" fmla="*/ 1132353 w 1609516"/>
              <a:gd name="csY486" fmla="*/ 1256247 h 1538630"/>
              <a:gd name="csX487" fmla="*/ 1112344 w 1609516"/>
              <a:gd name="csY487" fmla="*/ 1240741 h 1538630"/>
              <a:gd name="csX488" fmla="*/ 1106193 w 1609516"/>
              <a:gd name="csY488" fmla="*/ 1237570 h 1538630"/>
              <a:gd name="csX489" fmla="*/ 1101409 w 1609516"/>
              <a:gd name="csY489" fmla="*/ 1235104 h 1538630"/>
              <a:gd name="csX490" fmla="*/ 1101409 w 1609516"/>
              <a:gd name="csY490" fmla="*/ 1230876 h 1538630"/>
              <a:gd name="csX491" fmla="*/ 1065480 w 1609516"/>
              <a:gd name="csY491" fmla="*/ 1230876 h 1538630"/>
              <a:gd name="csX492" fmla="*/ 1063919 w 1609516"/>
              <a:gd name="csY492" fmla="*/ 1235104 h 1538630"/>
              <a:gd name="csX493" fmla="*/ 1059232 w 1609516"/>
              <a:gd name="csY493" fmla="*/ 1235104 h 1538630"/>
              <a:gd name="csX494" fmla="*/ 1059232 w 1609516"/>
              <a:gd name="csY494" fmla="*/ 1237922 h 1538630"/>
              <a:gd name="csX495" fmla="*/ 1040194 w 1609516"/>
              <a:gd name="csY495" fmla="*/ 1245761 h 1538630"/>
              <a:gd name="csX496" fmla="*/ 1030333 w 1609516"/>
              <a:gd name="csY496" fmla="*/ 1249901 h 1538630"/>
              <a:gd name="csX497" fmla="*/ 1013931 w 1609516"/>
              <a:gd name="csY497" fmla="*/ 1256242 h 1538630"/>
              <a:gd name="csX498" fmla="*/ 1005925 w 1609516"/>
              <a:gd name="csY498" fmla="*/ 1261615 h 1538630"/>
              <a:gd name="csX499" fmla="*/ 1004558 w 1609516"/>
              <a:gd name="csY499" fmla="*/ 1264697 h 1538630"/>
              <a:gd name="csX500" fmla="*/ 1002959 w 1609516"/>
              <a:gd name="csY500" fmla="*/ 1267961 h 1538630"/>
              <a:gd name="csX501" fmla="*/ 1000653 w 1609516"/>
              <a:gd name="csY501" fmla="*/ 1278965 h 1538630"/>
              <a:gd name="csX502" fmla="*/ 998297 w 1609516"/>
              <a:gd name="csY502" fmla="*/ 1294137 h 1538630"/>
              <a:gd name="csX503" fmla="*/ 996162 w 1609516"/>
              <a:gd name="csY503" fmla="*/ 1324765 h 1538630"/>
              <a:gd name="csX504" fmla="*/ 996164 w 1609516"/>
              <a:gd name="csY504" fmla="*/ 1327846 h 1538630"/>
              <a:gd name="csX505" fmla="*/ 1007780 w 1609516"/>
              <a:gd name="csY505" fmla="*/ 1403329 h 1538630"/>
              <a:gd name="csX506" fmla="*/ 1008940 w 1609516"/>
              <a:gd name="csY506" fmla="*/ 1407701 h 1538630"/>
              <a:gd name="csX507" fmla="*/ 1010080 w 1609516"/>
              <a:gd name="csY507" fmla="*/ 1411730 h 1538630"/>
              <a:gd name="csX508" fmla="*/ 1011075 w 1609516"/>
              <a:gd name="csY508" fmla="*/ 1415277 h 1538630"/>
              <a:gd name="csX509" fmla="*/ 1017055 w 1609516"/>
              <a:gd name="csY509" fmla="*/ 1422530 h 1538630"/>
              <a:gd name="csX510" fmla="*/ 1020277 w 1609516"/>
              <a:gd name="csY510" fmla="*/ 1427991 h 1538630"/>
              <a:gd name="csX511" fmla="*/ 1021796 w 1609516"/>
              <a:gd name="csY511" fmla="*/ 1430798 h 1538630"/>
              <a:gd name="csX512" fmla="*/ 1024579 w 1609516"/>
              <a:gd name="csY512" fmla="*/ 1437239 h 1538630"/>
              <a:gd name="csX513" fmla="*/ 1034043 w 1609516"/>
              <a:gd name="csY513" fmla="*/ 1448072 h 1538630"/>
              <a:gd name="csX514" fmla="*/ 1043782 w 1609516"/>
              <a:gd name="csY514" fmla="*/ 1464320 h 1538630"/>
              <a:gd name="csX515" fmla="*/ 1050458 w 1609516"/>
              <a:gd name="csY515" fmla="*/ 1472189 h 1538630"/>
              <a:gd name="csX516" fmla="*/ 1052926 w 1609516"/>
              <a:gd name="csY516" fmla="*/ 1482370 h 1538630"/>
              <a:gd name="csX517" fmla="*/ 1053316 w 1609516"/>
              <a:gd name="csY517" fmla="*/ 1496903 h 1538630"/>
              <a:gd name="csX518" fmla="*/ 1053352 w 1609516"/>
              <a:gd name="csY518" fmla="*/ 1500660 h 1538630"/>
              <a:gd name="csX519" fmla="*/ 1053341 w 1609516"/>
              <a:gd name="csY519" fmla="*/ 1504285 h 1538630"/>
              <a:gd name="csX520" fmla="*/ 1053329 w 1609516"/>
              <a:gd name="csY520" fmla="*/ 1507529 h 1538630"/>
              <a:gd name="csX521" fmla="*/ 1049801 w 1609516"/>
              <a:gd name="csY521" fmla="*/ 1516192 h 1538630"/>
              <a:gd name="csX522" fmla="*/ 1047312 w 1609516"/>
              <a:gd name="csY522" fmla="*/ 1516192 h 1538630"/>
              <a:gd name="csX523" fmla="*/ 1043611 w 1609516"/>
              <a:gd name="csY523" fmla="*/ 1522585 h 1538630"/>
              <a:gd name="csX524" fmla="*/ 1029552 w 1609516"/>
              <a:gd name="csY524" fmla="*/ 1529631 h 1538630"/>
              <a:gd name="csX525" fmla="*/ 1028771 w 1609516"/>
              <a:gd name="csY525" fmla="*/ 1532273 h 1538630"/>
              <a:gd name="csX526" fmla="*/ 1018013 w 1609516"/>
              <a:gd name="csY526" fmla="*/ 1537640 h 1538630"/>
              <a:gd name="csX527" fmla="*/ 981126 w 1609516"/>
              <a:gd name="csY527" fmla="*/ 1533859 h 1538630"/>
              <a:gd name="csX528" fmla="*/ 977227 w 1609516"/>
              <a:gd name="csY528" fmla="*/ 1531943 h 1538630"/>
              <a:gd name="csX529" fmla="*/ 955376 w 1609516"/>
              <a:gd name="csY529" fmla="*/ 1508751 h 1538630"/>
              <a:gd name="csX530" fmla="*/ 954571 w 1609516"/>
              <a:gd name="csY530" fmla="*/ 1500037 h 1538630"/>
              <a:gd name="csX531" fmla="*/ 951446 w 1609516"/>
              <a:gd name="csY531" fmla="*/ 1500037 h 1538630"/>
              <a:gd name="csX532" fmla="*/ 951251 w 1609516"/>
              <a:gd name="csY532" fmla="*/ 1487883 h 1538630"/>
              <a:gd name="csX533" fmla="*/ 951171 w 1609516"/>
              <a:gd name="csY533" fmla="*/ 1484431 h 1538630"/>
              <a:gd name="csX534" fmla="*/ 954571 w 1609516"/>
              <a:gd name="csY534" fmla="*/ 1466216 h 1538630"/>
              <a:gd name="csX535" fmla="*/ 954961 w 1609516"/>
              <a:gd name="csY535" fmla="*/ 1455118 h 1538630"/>
              <a:gd name="csX536" fmla="*/ 954932 w 1609516"/>
              <a:gd name="csY536" fmla="*/ 1451972 h 1538630"/>
              <a:gd name="csX537" fmla="*/ 945099 w 1609516"/>
              <a:gd name="csY537" fmla="*/ 1403594 h 1538630"/>
              <a:gd name="csX538" fmla="*/ 942366 w 1609516"/>
              <a:gd name="csY538" fmla="*/ 1393553 h 1538630"/>
              <a:gd name="csX539" fmla="*/ 934451 w 1609516"/>
              <a:gd name="csY539" fmla="*/ 1372734 h 1538630"/>
              <a:gd name="csX540" fmla="*/ 931974 w 1609516"/>
              <a:gd name="csY540" fmla="*/ 1365754 h 1538630"/>
              <a:gd name="csX541" fmla="*/ 931138 w 1609516"/>
              <a:gd name="csY541" fmla="*/ 1363343 h 1538630"/>
              <a:gd name="csX542" fmla="*/ 926452 w 1609516"/>
              <a:gd name="csY542" fmla="*/ 1361933 h 1538630"/>
              <a:gd name="csX543" fmla="*/ 918641 w 1609516"/>
              <a:gd name="csY543" fmla="*/ 1340795 h 1538630"/>
              <a:gd name="csX544" fmla="*/ 917079 w 1609516"/>
              <a:gd name="csY544" fmla="*/ 1335158 h 1538630"/>
              <a:gd name="csX545" fmla="*/ 913955 w 1609516"/>
              <a:gd name="csY545" fmla="*/ 1335158 h 1538630"/>
              <a:gd name="csX546" fmla="*/ 912057 w 1609516"/>
              <a:gd name="csY546" fmla="*/ 1330793 h 1538630"/>
              <a:gd name="csX547" fmla="*/ 902142 w 1609516"/>
              <a:gd name="csY547" fmla="*/ 1316222 h 1538630"/>
              <a:gd name="csX548" fmla="*/ 900091 w 1609516"/>
              <a:gd name="csY548" fmla="*/ 1313828 h 1538630"/>
              <a:gd name="csX549" fmla="*/ 878026 w 1609516"/>
              <a:gd name="csY549" fmla="*/ 1295700 h 1538630"/>
              <a:gd name="csX550" fmla="*/ 875134 w 1609516"/>
              <a:gd name="csY550" fmla="*/ 1293465 h 1538630"/>
              <a:gd name="csX551" fmla="*/ 869869 w 1609516"/>
              <a:gd name="csY551" fmla="*/ 1291826 h 1538630"/>
              <a:gd name="csX552" fmla="*/ 862384 w 1609516"/>
              <a:gd name="csY552" fmla="*/ 1291327 h 1538630"/>
              <a:gd name="csX553" fmla="*/ 844390 w 1609516"/>
              <a:gd name="csY553" fmla="*/ 1290461 h 1538630"/>
              <a:gd name="csX554" fmla="*/ 840476 w 1609516"/>
              <a:gd name="csY554" fmla="*/ 1290500 h 1538630"/>
              <a:gd name="csX555" fmla="*/ 831015 w 1609516"/>
              <a:gd name="csY555" fmla="*/ 1290637 h 1538630"/>
              <a:gd name="csX556" fmla="*/ 831015 w 1609516"/>
              <a:gd name="csY556" fmla="*/ 1293456 h 1538630"/>
              <a:gd name="csX557" fmla="*/ 818225 w 1609516"/>
              <a:gd name="csY557" fmla="*/ 1295570 h 1538630"/>
              <a:gd name="csX558" fmla="*/ 796774 w 1609516"/>
              <a:gd name="csY558" fmla="*/ 1297671 h 1538630"/>
              <a:gd name="csX559" fmla="*/ 783646 w 1609516"/>
              <a:gd name="csY559" fmla="*/ 1305736 h 1538630"/>
              <a:gd name="csX560" fmla="*/ 769263 w 1609516"/>
              <a:gd name="csY560" fmla="*/ 1327143 h 1538630"/>
              <a:gd name="csX561" fmla="*/ 764797 w 1609516"/>
              <a:gd name="csY561" fmla="*/ 1334360 h 1538630"/>
              <a:gd name="csX562" fmla="*/ 757875 w 1609516"/>
              <a:gd name="csY562" fmla="*/ 1353503 h 1538630"/>
              <a:gd name="csX563" fmla="*/ 755676 w 1609516"/>
              <a:gd name="csY563" fmla="*/ 1367455 h 1538630"/>
              <a:gd name="csX564" fmla="*/ 750558 w 1609516"/>
              <a:gd name="csY564" fmla="*/ 1399690 h 1538630"/>
              <a:gd name="csX565" fmla="*/ 753057 w 1609516"/>
              <a:gd name="csY565" fmla="*/ 1411256 h 1538630"/>
              <a:gd name="csX566" fmla="*/ 753057 w 1609516"/>
              <a:gd name="csY566" fmla="*/ 1416893 h 1538630"/>
              <a:gd name="csX567" fmla="*/ 756181 w 1609516"/>
              <a:gd name="csY567" fmla="*/ 1416893 h 1538630"/>
              <a:gd name="csX568" fmla="*/ 758133 w 1609516"/>
              <a:gd name="csY568" fmla="*/ 1436182 h 1538630"/>
              <a:gd name="csX569" fmla="*/ 758231 w 1609516"/>
              <a:gd name="csY569" fmla="*/ 1440781 h 1538630"/>
              <a:gd name="csX570" fmla="*/ 750713 w 1609516"/>
              <a:gd name="csY570" fmla="*/ 1465704 h 1538630"/>
              <a:gd name="csX571" fmla="*/ 748370 w 1609516"/>
              <a:gd name="csY571" fmla="*/ 1467185 h 1538630"/>
              <a:gd name="csX572" fmla="*/ 741633 w 1609516"/>
              <a:gd name="csY572" fmla="*/ 1473526 h 1538630"/>
              <a:gd name="csX573" fmla="*/ 728154 w 1609516"/>
              <a:gd name="csY573" fmla="*/ 1478343 h 1538630"/>
              <a:gd name="csX574" fmla="*/ 721814 w 1609516"/>
              <a:gd name="csY574" fmla="*/ 1480308 h 1538630"/>
              <a:gd name="csX575" fmla="*/ 708341 w 1609516"/>
              <a:gd name="csY575" fmla="*/ 1480661 h 1538630"/>
              <a:gd name="csX576" fmla="*/ 704637 w 1609516"/>
              <a:gd name="csY576" fmla="*/ 1480748 h 1538630"/>
              <a:gd name="csX577" fmla="*/ 668507 w 1609516"/>
              <a:gd name="csY577" fmla="*/ 1468418 h 1538630"/>
              <a:gd name="csX578" fmla="*/ 660178 w 1609516"/>
              <a:gd name="csY578" fmla="*/ 1450027 h 1538630"/>
              <a:gd name="csX579" fmla="*/ 657767 w 1609516"/>
              <a:gd name="csY579" fmla="*/ 1445078 h 1538630"/>
              <a:gd name="csX580" fmla="*/ 663369 w 1609516"/>
              <a:gd name="csY580" fmla="*/ 1409390 h 1538630"/>
              <a:gd name="csX581" fmla="*/ 671826 w 1609516"/>
              <a:gd name="csY581" fmla="*/ 1401392 h 1538630"/>
              <a:gd name="csX582" fmla="*/ 678075 w 1609516"/>
              <a:gd name="csY582" fmla="*/ 1390118 h 1538630"/>
              <a:gd name="csX583" fmla="*/ 684323 w 1609516"/>
              <a:gd name="csY583" fmla="*/ 1388709 h 1538630"/>
              <a:gd name="csX584" fmla="*/ 685293 w 1609516"/>
              <a:gd name="csY584" fmla="*/ 1384233 h 1538630"/>
              <a:gd name="csX585" fmla="*/ 686569 w 1609516"/>
              <a:gd name="csY585" fmla="*/ 1378404 h 1538630"/>
              <a:gd name="csX586" fmla="*/ 687207 w 1609516"/>
              <a:gd name="csY586" fmla="*/ 1375456 h 1538630"/>
              <a:gd name="csX587" fmla="*/ 690572 w 1609516"/>
              <a:gd name="csY587" fmla="*/ 1363343 h 1538630"/>
              <a:gd name="csX588" fmla="*/ 692495 w 1609516"/>
              <a:gd name="csY588" fmla="*/ 1323376 h 1538630"/>
              <a:gd name="csX589" fmla="*/ 692625 w 1609516"/>
              <a:gd name="csY589" fmla="*/ 1315006 h 1538630"/>
              <a:gd name="csX590" fmla="*/ 687447 w 1609516"/>
              <a:gd name="csY590" fmla="*/ 1287245 h 1538630"/>
              <a:gd name="csX591" fmla="*/ 682761 w 1609516"/>
              <a:gd name="csY591" fmla="*/ 1285835 h 1538630"/>
              <a:gd name="csX592" fmla="*/ 678954 w 1609516"/>
              <a:gd name="csY592" fmla="*/ 1281608 h 1538630"/>
              <a:gd name="csX593" fmla="*/ 668702 w 1609516"/>
              <a:gd name="csY593" fmla="*/ 1275971 h 1538630"/>
              <a:gd name="csX594" fmla="*/ 662454 w 1609516"/>
              <a:gd name="csY594" fmla="*/ 1270334 h 1538630"/>
              <a:gd name="csX595" fmla="*/ 654643 w 1609516"/>
              <a:gd name="csY595" fmla="*/ 1267516 h 1538630"/>
              <a:gd name="csX596" fmla="*/ 654643 w 1609516"/>
              <a:gd name="csY596" fmla="*/ 1264697 h 1538630"/>
              <a:gd name="csX597" fmla="*/ 650152 w 1609516"/>
              <a:gd name="csY597" fmla="*/ 1264345 h 1538630"/>
              <a:gd name="csX598" fmla="*/ 628087 w 1609516"/>
              <a:gd name="csY598" fmla="*/ 1257651 h 1538630"/>
              <a:gd name="csX599" fmla="*/ 628087 w 1609516"/>
              <a:gd name="csY599" fmla="*/ 1254833 h 1538630"/>
              <a:gd name="csX600" fmla="*/ 625121 w 1609516"/>
              <a:gd name="csY600" fmla="*/ 1254315 h 1538630"/>
              <a:gd name="csX601" fmla="*/ 621252 w 1609516"/>
              <a:gd name="csY601" fmla="*/ 1253600 h 1538630"/>
              <a:gd name="csX602" fmla="*/ 617409 w 1609516"/>
              <a:gd name="csY602" fmla="*/ 1252906 h 1538630"/>
              <a:gd name="csX603" fmla="*/ 610904 w 1609516"/>
              <a:gd name="csY603" fmla="*/ 1249196 h 1538630"/>
              <a:gd name="csX604" fmla="*/ 565739 w 1609516"/>
              <a:gd name="csY604" fmla="*/ 1271742 h 1538630"/>
              <a:gd name="csX605" fmla="*/ 546924 w 1609516"/>
              <a:gd name="csY605" fmla="*/ 1290829 h 1538630"/>
              <a:gd name="csX606" fmla="*/ 543635 w 1609516"/>
              <a:gd name="csY606" fmla="*/ 1294643 h 1538630"/>
              <a:gd name="csX607" fmla="*/ 540651 w 1609516"/>
              <a:gd name="csY607" fmla="*/ 1298188 h 1538630"/>
              <a:gd name="csX608" fmla="*/ 529673 w 1609516"/>
              <a:gd name="csY608" fmla="*/ 1305565 h 1538630"/>
              <a:gd name="csX609" fmla="*/ 526549 w 1609516"/>
              <a:gd name="csY609" fmla="*/ 1311202 h 1538630"/>
              <a:gd name="csX610" fmla="*/ 523425 w 1609516"/>
              <a:gd name="csY610" fmla="*/ 1311202 h 1538630"/>
              <a:gd name="csX611" fmla="*/ 523230 w 1609516"/>
              <a:gd name="csY611" fmla="*/ 1313580 h 1538630"/>
              <a:gd name="csX612" fmla="*/ 517732 w 1609516"/>
              <a:gd name="csY612" fmla="*/ 1319739 h 1538630"/>
              <a:gd name="csX613" fmla="*/ 502239 w 1609516"/>
              <a:gd name="csY613" fmla="*/ 1337096 h 1538630"/>
              <a:gd name="csX614" fmla="*/ 497058 w 1609516"/>
              <a:gd name="csY614" fmla="*/ 1344087 h 1538630"/>
              <a:gd name="csX615" fmla="*/ 494572 w 1609516"/>
              <a:gd name="csY615" fmla="*/ 1347465 h 1538630"/>
              <a:gd name="csX616" fmla="*/ 487776 w 1609516"/>
              <a:gd name="csY616" fmla="*/ 1356181 h 1538630"/>
              <a:gd name="csX617" fmla="*/ 481248 w 1609516"/>
              <a:gd name="csY617" fmla="*/ 1367571 h 1538630"/>
              <a:gd name="csX618" fmla="*/ 478123 w 1609516"/>
              <a:gd name="csY618" fmla="*/ 1367571 h 1538630"/>
              <a:gd name="csX619" fmla="*/ 477635 w 1609516"/>
              <a:gd name="csY619" fmla="*/ 1370565 h 1538630"/>
              <a:gd name="csX620" fmla="*/ 465626 w 1609516"/>
              <a:gd name="csY620" fmla="*/ 1388709 h 1538630"/>
              <a:gd name="csX621" fmla="*/ 461233 w 1609516"/>
              <a:gd name="csY621" fmla="*/ 1397340 h 1538630"/>
              <a:gd name="csX622" fmla="*/ 455765 w 1609516"/>
              <a:gd name="csY622" fmla="*/ 1408086 h 1538630"/>
              <a:gd name="csX623" fmla="*/ 439070 w 1609516"/>
              <a:gd name="csY623" fmla="*/ 1477490 h 1538630"/>
              <a:gd name="csX624" fmla="*/ 434384 w 1609516"/>
              <a:gd name="csY624" fmla="*/ 1478899 h 1538630"/>
              <a:gd name="csX625" fmla="*/ 432431 w 1609516"/>
              <a:gd name="csY625" fmla="*/ 1481982 h 1538630"/>
              <a:gd name="csX626" fmla="*/ 418763 w 1609516"/>
              <a:gd name="csY626" fmla="*/ 1494401 h 1538630"/>
              <a:gd name="csX627" fmla="*/ 415639 w 1609516"/>
              <a:gd name="csY627" fmla="*/ 1494401 h 1538630"/>
              <a:gd name="csX628" fmla="*/ 415639 w 1609516"/>
              <a:gd name="csY628" fmla="*/ 1497219 h 1538630"/>
              <a:gd name="csX629" fmla="*/ 406265 w 1609516"/>
              <a:gd name="csY629" fmla="*/ 1498628 h 1538630"/>
              <a:gd name="csX630" fmla="*/ 406265 w 1609516"/>
              <a:gd name="csY630" fmla="*/ 1501447 h 1538630"/>
              <a:gd name="csX631" fmla="*/ 375023 w 1609516"/>
              <a:gd name="csY631" fmla="*/ 1501447 h 1538630"/>
              <a:gd name="csX632" fmla="*/ 375023 w 1609516"/>
              <a:gd name="csY632" fmla="*/ 1499438 h 1538630"/>
              <a:gd name="csX633" fmla="*/ 374964 w 1609516"/>
              <a:gd name="csY633" fmla="*/ 1499436 h 1538630"/>
              <a:gd name="csX634" fmla="*/ 373179 w 1609516"/>
              <a:gd name="csY634" fmla="*/ 1498628 h 1538630"/>
              <a:gd name="csX635" fmla="*/ 365650 w 1609516"/>
              <a:gd name="csY635" fmla="*/ 1498628 h 1538630"/>
              <a:gd name="csX636" fmla="*/ 363134 w 1609516"/>
              <a:gd name="csY636" fmla="*/ 1494087 h 1538630"/>
              <a:gd name="csX637" fmla="*/ 362171 w 1609516"/>
              <a:gd name="csY637" fmla="*/ 1493651 h 1538630"/>
              <a:gd name="csX638" fmla="*/ 360609 w 1609516"/>
              <a:gd name="csY638" fmla="*/ 1490833 h 1538630"/>
              <a:gd name="csX639" fmla="*/ 363733 w 1609516"/>
              <a:gd name="csY639" fmla="*/ 1490833 h 1538630"/>
              <a:gd name="csX640" fmla="*/ 363733 w 1609516"/>
              <a:gd name="csY640" fmla="*/ 1489980 h 1538630"/>
              <a:gd name="csX641" fmla="*/ 348467 w 1609516"/>
              <a:gd name="csY641" fmla="*/ 1481717 h 1538630"/>
              <a:gd name="csX642" fmla="*/ 343872 w 1609516"/>
              <a:gd name="csY642" fmla="*/ 1461078 h 1538630"/>
              <a:gd name="csX643" fmla="*/ 343656 w 1609516"/>
              <a:gd name="csY643" fmla="*/ 1463649 h 1538630"/>
              <a:gd name="csX644" fmla="*/ 343424 w 1609516"/>
              <a:gd name="csY644" fmla="*/ 1466842 h 1538630"/>
              <a:gd name="csX645" fmla="*/ 341861 w 1609516"/>
              <a:gd name="csY645" fmla="*/ 1466842 h 1538630"/>
              <a:gd name="csX646" fmla="*/ 354143 w 1609516"/>
              <a:gd name="csY646" fmla="*/ 1420549 h 1538630"/>
              <a:gd name="csX647" fmla="*/ 376229 w 1609516"/>
              <a:gd name="csY647" fmla="*/ 1403427 h 1538630"/>
              <a:gd name="csX648" fmla="*/ 379491 w 1609516"/>
              <a:gd name="csY648" fmla="*/ 1404408 h 1538630"/>
              <a:gd name="csX649" fmla="*/ 379710 w 1609516"/>
              <a:gd name="csY649" fmla="*/ 1404210 h 1538630"/>
              <a:gd name="csX650" fmla="*/ 380882 w 1609516"/>
              <a:gd name="csY650" fmla="*/ 1401568 h 1538630"/>
              <a:gd name="csX651" fmla="*/ 392207 w 1609516"/>
              <a:gd name="csY651" fmla="*/ 1392936 h 1538630"/>
              <a:gd name="csX652" fmla="*/ 399542 w 1609516"/>
              <a:gd name="csY652" fmla="*/ 1386774 h 1538630"/>
              <a:gd name="csX653" fmla="*/ 405485 w 1609516"/>
              <a:gd name="csY653" fmla="*/ 1378917 h 1538630"/>
              <a:gd name="csX654" fmla="*/ 412008 w 1609516"/>
              <a:gd name="csY654" fmla="*/ 1369481 h 1538630"/>
              <a:gd name="csX655" fmla="*/ 421130 w 1609516"/>
              <a:gd name="csY655" fmla="*/ 1357057 h 1538630"/>
              <a:gd name="csX656" fmla="*/ 424676 w 1609516"/>
              <a:gd name="csY656" fmla="*/ 1348443 h 1538630"/>
              <a:gd name="csX657" fmla="*/ 427275 w 1609516"/>
              <a:gd name="csY657" fmla="*/ 1348443 h 1538630"/>
              <a:gd name="csX658" fmla="*/ 428135 w 1609516"/>
              <a:gd name="csY658" fmla="*/ 1345727 h 1538630"/>
              <a:gd name="csX659" fmla="*/ 432822 w 1609516"/>
              <a:gd name="csY659" fmla="*/ 1335158 h 1538630"/>
              <a:gd name="csX660" fmla="*/ 435946 w 1609516"/>
              <a:gd name="csY660" fmla="*/ 1335158 h 1538630"/>
              <a:gd name="csX661" fmla="*/ 437704 w 1609516"/>
              <a:gd name="csY661" fmla="*/ 1329786 h 1538630"/>
              <a:gd name="csX662" fmla="*/ 447394 w 1609516"/>
              <a:gd name="csY662" fmla="*/ 1311196 h 1538630"/>
              <a:gd name="csX663" fmla="*/ 469287 w 1609516"/>
              <a:gd name="csY663" fmla="*/ 1265964 h 1538630"/>
              <a:gd name="csX664" fmla="*/ 478178 w 1609516"/>
              <a:gd name="csY664" fmla="*/ 1246787 h 1538630"/>
              <a:gd name="csX665" fmla="*/ 480179 w 1609516"/>
              <a:gd name="csY665" fmla="*/ 1225768 h 1538630"/>
              <a:gd name="csX666" fmla="*/ 480250 w 1609516"/>
              <a:gd name="csY666" fmla="*/ 1217149 h 1538630"/>
              <a:gd name="csX667" fmla="*/ 462972 w 1609516"/>
              <a:gd name="csY667" fmla="*/ 1174827 h 1538630"/>
              <a:gd name="csX668" fmla="*/ 457468 w 1609516"/>
              <a:gd name="csY668" fmla="*/ 1169949 h 1538630"/>
              <a:gd name="csX669" fmla="*/ 440657 w 1609516"/>
              <a:gd name="csY669" fmla="*/ 1152570 h 1538630"/>
              <a:gd name="csX670" fmla="*/ 403142 w 1609516"/>
              <a:gd name="csY670" fmla="*/ 1122366 h 1538630"/>
              <a:gd name="csX671" fmla="*/ 401579 w 1609516"/>
              <a:gd name="csY671" fmla="*/ 1119547 h 1538630"/>
              <a:gd name="csX672" fmla="*/ 364564 w 1609516"/>
              <a:gd name="csY672" fmla="*/ 1118209 h 1538630"/>
              <a:gd name="csX673" fmla="*/ 357822 w 1609516"/>
              <a:gd name="csY673" fmla="*/ 1122041 h 1538630"/>
              <a:gd name="csX674" fmla="*/ 348077 w 1609516"/>
              <a:gd name="csY674" fmla="*/ 1125273 h 1538630"/>
              <a:gd name="csX675" fmla="*/ 334408 w 1609516"/>
              <a:gd name="csY675" fmla="*/ 1132230 h 1538630"/>
              <a:gd name="csX676" fmla="*/ 327964 w 1609516"/>
              <a:gd name="csY676" fmla="*/ 1134080 h 1538630"/>
              <a:gd name="csX677" fmla="*/ 279734 w 1609516"/>
              <a:gd name="csY677" fmla="*/ 1166051 h 1538630"/>
              <a:gd name="csX678" fmla="*/ 276609 w 1609516"/>
              <a:gd name="csY678" fmla="*/ 1173098 h 1538630"/>
              <a:gd name="csX679" fmla="*/ 260988 w 1609516"/>
              <a:gd name="csY679" fmla="*/ 1188599 h 1538630"/>
              <a:gd name="csX680" fmla="*/ 257956 w 1609516"/>
              <a:gd name="csY680" fmla="*/ 1191132 h 1538630"/>
              <a:gd name="csX681" fmla="*/ 243805 w 1609516"/>
              <a:gd name="csY681" fmla="*/ 1196629 h 1538630"/>
              <a:gd name="csX682" fmla="*/ 243805 w 1609516"/>
              <a:gd name="csY682" fmla="*/ 1194236 h 1538630"/>
              <a:gd name="csX683" fmla="*/ 240288 w 1609516"/>
              <a:gd name="csY683" fmla="*/ 1194765 h 1538630"/>
              <a:gd name="csX684" fmla="*/ 243374 w 1609516"/>
              <a:gd name="csY684" fmla="*/ 1194765 h 1538630"/>
              <a:gd name="csX685" fmla="*/ 243374 w 1609516"/>
              <a:gd name="csY685" fmla="*/ 1196797 h 1538630"/>
              <a:gd name="csX686" fmla="*/ 243805 w 1609516"/>
              <a:gd name="csY686" fmla="*/ 1196629 h 1538630"/>
              <a:gd name="csX687" fmla="*/ 243805 w 1609516"/>
              <a:gd name="csY687" fmla="*/ 1197055 h 1538630"/>
              <a:gd name="csX688" fmla="*/ 243374 w 1609516"/>
              <a:gd name="csY688" fmla="*/ 1197055 h 1538630"/>
              <a:gd name="csX689" fmla="*/ 243374 w 1609516"/>
              <a:gd name="csY689" fmla="*/ 1197584 h 1538630"/>
              <a:gd name="csX690" fmla="*/ 241319 w 1609516"/>
              <a:gd name="csY690" fmla="*/ 1197595 h 1538630"/>
              <a:gd name="csX691" fmla="*/ 238009 w 1609516"/>
              <a:gd name="csY691" fmla="*/ 1198881 h 1538630"/>
              <a:gd name="csX692" fmla="*/ 215687 w 1609516"/>
              <a:gd name="csY692" fmla="*/ 1198464 h 1538630"/>
              <a:gd name="csX693" fmla="*/ 215687 w 1609516"/>
              <a:gd name="csY693" fmla="*/ 1197734 h 1538630"/>
              <a:gd name="csX694" fmla="*/ 213936 w 1609516"/>
              <a:gd name="csY694" fmla="*/ 1197744 h 1538630"/>
              <a:gd name="csX695" fmla="*/ 207446 w 1609516"/>
              <a:gd name="csY695" fmla="*/ 1196175 h 1538630"/>
              <a:gd name="csX696" fmla="*/ 207822 w 1609516"/>
              <a:gd name="csY696" fmla="*/ 1195610 h 1538630"/>
              <a:gd name="csX697" fmla="*/ 184737 w 1609516"/>
              <a:gd name="csY697" fmla="*/ 1180936 h 1538630"/>
              <a:gd name="csX698" fmla="*/ 179270 w 1609516"/>
              <a:gd name="csY698" fmla="*/ 1154866 h 1538630"/>
              <a:gd name="csX699" fmla="*/ 179194 w 1609516"/>
              <a:gd name="csY699" fmla="*/ 1151621 h 1538630"/>
              <a:gd name="csX700" fmla="*/ 193195 w 1609516"/>
              <a:gd name="csY700" fmla="*/ 1120065 h 1538630"/>
              <a:gd name="csX701" fmla="*/ 229551 w 1609516"/>
              <a:gd name="csY701" fmla="*/ 1110299 h 1538630"/>
              <a:gd name="csX702" fmla="*/ 260988 w 1609516"/>
              <a:gd name="csY702" fmla="*/ 1108274 h 1538630"/>
              <a:gd name="csX703" fmla="*/ 260988 w 1609516"/>
              <a:gd name="csY703" fmla="*/ 1105455 h 1538630"/>
              <a:gd name="csX704" fmla="*/ 263911 w 1609516"/>
              <a:gd name="csY704" fmla="*/ 1104310 h 1538630"/>
              <a:gd name="csX705" fmla="*/ 286995 w 1609516"/>
              <a:gd name="csY705" fmla="*/ 1090185 h 1538630"/>
              <a:gd name="csX706" fmla="*/ 299358 w 1609516"/>
              <a:gd name="csY706" fmla="*/ 1080970 h 1538630"/>
              <a:gd name="csX707" fmla="*/ 317762 w 1609516"/>
              <a:gd name="csY707" fmla="*/ 1063272 h 1538630"/>
              <a:gd name="csX708" fmla="*/ 325035 w 1609516"/>
              <a:gd name="csY708" fmla="*/ 1057542 h 1538630"/>
              <a:gd name="csX709" fmla="*/ 325328 w 1609516"/>
              <a:gd name="csY709" fmla="*/ 1023104 h 1538630"/>
              <a:gd name="csX710" fmla="*/ 324544 w 1609516"/>
              <a:gd name="csY710" fmla="*/ 1019247 h 1538630"/>
              <a:gd name="csX711" fmla="*/ 317225 w 1609516"/>
              <a:gd name="csY711" fmla="*/ 996945 h 1538630"/>
              <a:gd name="csX712" fmla="*/ 315388 w 1609516"/>
              <a:gd name="csY712" fmla="*/ 992690 h 1538630"/>
              <a:gd name="csX713" fmla="*/ 276232 w 1609516"/>
              <a:gd name="csY713" fmla="*/ 950666 h 1538630"/>
              <a:gd name="csX714" fmla="*/ 271923 w 1609516"/>
              <a:gd name="csY714" fmla="*/ 949031 h 1538630"/>
              <a:gd name="csX715" fmla="*/ 268299 w 1609516"/>
              <a:gd name="csY715" fmla="*/ 947441 h 1538630"/>
              <a:gd name="csX716" fmla="*/ 199187 w 1609516"/>
              <a:gd name="csY716" fmla="*/ 938991 h 1538630"/>
              <a:gd name="csX717" fmla="*/ 193719 w 1609516"/>
              <a:gd name="csY717" fmla="*/ 938971 h 1538630"/>
              <a:gd name="csX718" fmla="*/ 188539 w 1609516"/>
              <a:gd name="csY718" fmla="*/ 938980 h 1538630"/>
              <a:gd name="csX719" fmla="*/ 183874 w 1609516"/>
              <a:gd name="csY719" fmla="*/ 938985 h 1538630"/>
              <a:gd name="csX720" fmla="*/ 173509 w 1609516"/>
              <a:gd name="csY720" fmla="*/ 940576 h 1538630"/>
              <a:gd name="csX721" fmla="*/ 161403 w 1609516"/>
              <a:gd name="csY721" fmla="*/ 940664 h 1538630"/>
              <a:gd name="csX722" fmla="*/ 158102 w 1609516"/>
              <a:gd name="csY722" fmla="*/ 940645 h 1538630"/>
              <a:gd name="csX723" fmla="*/ 150875 w 1609516"/>
              <a:gd name="csY723" fmla="*/ 940583 h 1538630"/>
              <a:gd name="csX724" fmla="*/ 148425 w 1609516"/>
              <a:gd name="csY724" fmla="*/ 940717 h 1538630"/>
              <a:gd name="csX725" fmla="*/ 149617 w 1609516"/>
              <a:gd name="csY725" fmla="*/ 940995 h 1538630"/>
              <a:gd name="csX726" fmla="*/ 149617 w 1609516"/>
              <a:gd name="csY726" fmla="*/ 942404 h 1538630"/>
              <a:gd name="csX727" fmla="*/ 146627 w 1609516"/>
              <a:gd name="csY727" fmla="*/ 942871 h 1538630"/>
              <a:gd name="csX728" fmla="*/ 110564 w 1609516"/>
              <a:gd name="csY728" fmla="*/ 949449 h 1538630"/>
              <a:gd name="csX729" fmla="*/ 111283 w 1609516"/>
              <a:gd name="csY729" fmla="*/ 946205 h 1538630"/>
              <a:gd name="csX730" fmla="*/ 101652 w 1609516"/>
              <a:gd name="csY730" fmla="*/ 956078 h 1538630"/>
              <a:gd name="csX731" fmla="*/ 98052 w 1609516"/>
              <a:gd name="csY731" fmla="*/ 958467 h 1538630"/>
              <a:gd name="csX732" fmla="*/ 67286 w 1609516"/>
              <a:gd name="csY732" fmla="*/ 972989 h 1538630"/>
              <a:gd name="csX733" fmla="*/ 67286 w 1609516"/>
              <a:gd name="csY733" fmla="*/ 975807 h 1538630"/>
              <a:gd name="csX734" fmla="*/ 31942 w 1609516"/>
              <a:gd name="csY734" fmla="*/ 976423 h 1538630"/>
              <a:gd name="csX735" fmla="*/ 5673 w 1609516"/>
              <a:gd name="csY735" fmla="*/ 953419 h 1538630"/>
              <a:gd name="csX736" fmla="*/ 4801 w 1609516"/>
              <a:gd name="csY736" fmla="*/ 944804 h 1538630"/>
              <a:gd name="csX737" fmla="*/ 1676 w 1609516"/>
              <a:gd name="csY737" fmla="*/ 944804 h 1538630"/>
              <a:gd name="csX738" fmla="*/ 17 w 1609516"/>
              <a:gd name="csY738" fmla="*/ 931857 h 1538630"/>
              <a:gd name="csX739" fmla="*/ 59 w 1609516"/>
              <a:gd name="csY739" fmla="*/ 927216 h 1538630"/>
              <a:gd name="csX740" fmla="*/ 115 w 1609516"/>
              <a:gd name="csY740" fmla="*/ 923666 h 1538630"/>
              <a:gd name="csX741" fmla="*/ 3238 w 1609516"/>
              <a:gd name="csY741" fmla="*/ 923666 h 1538630"/>
              <a:gd name="csX742" fmla="*/ 3238 w 1609516"/>
              <a:gd name="csY742" fmla="*/ 918029 h 1538630"/>
              <a:gd name="csX743" fmla="*/ 6363 w 1609516"/>
              <a:gd name="csY743" fmla="*/ 918029 h 1538630"/>
              <a:gd name="csX744" fmla="*/ 6656 w 1609516"/>
              <a:gd name="csY744" fmla="*/ 912832 h 1538630"/>
              <a:gd name="csX745" fmla="*/ 15736 w 1609516"/>
              <a:gd name="csY745" fmla="*/ 899709 h 1538630"/>
              <a:gd name="csX746" fmla="*/ 17243 w 1609516"/>
              <a:gd name="csY746" fmla="*/ 898894 h 1538630"/>
              <a:gd name="csX747" fmla="*/ 16800 w 1609516"/>
              <a:gd name="csY747" fmla="*/ 898694 h 1538630"/>
              <a:gd name="csX748" fmla="*/ 24988 w 1609516"/>
              <a:gd name="csY748" fmla="*/ 894101 h 1538630"/>
              <a:gd name="csX749" fmla="*/ 26768 w 1609516"/>
              <a:gd name="csY749" fmla="*/ 892399 h 1538630"/>
              <a:gd name="csX750" fmla="*/ 30198 w 1609516"/>
              <a:gd name="csY750" fmla="*/ 890164 h 1538630"/>
              <a:gd name="csX751" fmla="*/ 32204 w 1609516"/>
              <a:gd name="csY751" fmla="*/ 890054 h 1538630"/>
              <a:gd name="csX752" fmla="*/ 38914 w 1609516"/>
              <a:gd name="csY752" fmla="*/ 886291 h 1538630"/>
              <a:gd name="csX753" fmla="*/ 63664 w 1609516"/>
              <a:gd name="csY753" fmla="*/ 886011 h 1538630"/>
              <a:gd name="csX754" fmla="*/ 63664 w 1609516"/>
              <a:gd name="csY754" fmla="*/ 886531 h 1538630"/>
              <a:gd name="csX755" fmla="*/ 70784 w 1609516"/>
              <a:gd name="csY755" fmla="*/ 886647 h 1538630"/>
              <a:gd name="csX756" fmla="*/ 82126 w 1609516"/>
              <a:gd name="csY756" fmla="*/ 889845 h 1538630"/>
              <a:gd name="csX757" fmla="*/ 114149 w 1609516"/>
              <a:gd name="csY757" fmla="*/ 892663 h 1538630"/>
              <a:gd name="csX758" fmla="*/ 118836 w 1609516"/>
              <a:gd name="csY758" fmla="*/ 889845 h 1538630"/>
              <a:gd name="csX759" fmla="*/ 131626 w 1609516"/>
              <a:gd name="csY759" fmla="*/ 887114 h 1538630"/>
              <a:gd name="csX760" fmla="*/ 155116 w 1609516"/>
              <a:gd name="csY760" fmla="*/ 880913 h 1538630"/>
              <a:gd name="csX761" fmla="*/ 165406 w 1609516"/>
              <a:gd name="csY761" fmla="*/ 878483 h 1538630"/>
              <a:gd name="csX762" fmla="*/ 176634 w 1609516"/>
              <a:gd name="csY762" fmla="*/ 874343 h 1538630"/>
              <a:gd name="csX763" fmla="*/ 186397 w 1609516"/>
              <a:gd name="csY763" fmla="*/ 871524 h 1538630"/>
              <a:gd name="csX764" fmla="*/ 191871 w 1609516"/>
              <a:gd name="csY764" fmla="*/ 870033 h 1538630"/>
              <a:gd name="csX765" fmla="*/ 203483 w 1609516"/>
              <a:gd name="csY765" fmla="*/ 867208 h 1538630"/>
              <a:gd name="csX766" fmla="*/ 211001 w 1609516"/>
              <a:gd name="csY766" fmla="*/ 861660 h 1538630"/>
              <a:gd name="csX767" fmla="*/ 218031 w 1609516"/>
              <a:gd name="csY767" fmla="*/ 858577 h 1538630"/>
              <a:gd name="csX768" fmla="*/ 254740 w 1609516"/>
              <a:gd name="csY768" fmla="*/ 825020 h 1538630"/>
              <a:gd name="csX769" fmla="*/ 257864 w 1609516"/>
              <a:gd name="csY769" fmla="*/ 820792 h 1538630"/>
              <a:gd name="csX770" fmla="*/ 258318 w 1609516"/>
              <a:gd name="csY770" fmla="*/ 813810 h 1538630"/>
              <a:gd name="csX771" fmla="*/ 258378 w 1609516"/>
              <a:gd name="csY771" fmla="*/ 809502 h 1538630"/>
              <a:gd name="csX772" fmla="*/ 258389 w 1609516"/>
              <a:gd name="csY772" fmla="*/ 804845 h 1538630"/>
              <a:gd name="csX773" fmla="*/ 258420 w 1609516"/>
              <a:gd name="csY773" fmla="*/ 800036 h 1538630"/>
              <a:gd name="csX774" fmla="*/ 258443 w 1609516"/>
              <a:gd name="csY774" fmla="*/ 789939 h 1538630"/>
              <a:gd name="csX775" fmla="*/ 258566 w 1609516"/>
              <a:gd name="csY775" fmla="*/ 774594 h 1538630"/>
              <a:gd name="csX776" fmla="*/ 258584 w 1609516"/>
              <a:gd name="csY776" fmla="*/ 764771 h 1538630"/>
              <a:gd name="csX777" fmla="*/ 258652 w 1609516"/>
              <a:gd name="csY777" fmla="*/ 760174 h 1538630"/>
              <a:gd name="csX778" fmla="*/ 251616 w 1609516"/>
              <a:gd name="csY778" fmla="*/ 733421 h 1538630"/>
              <a:gd name="csX779" fmla="*/ 247613 w 1609516"/>
              <a:gd name="csY779" fmla="*/ 721883 h 1538630"/>
              <a:gd name="csX780" fmla="*/ 241291 w 1609516"/>
              <a:gd name="csY780" fmla="*/ 705644 h 1538630"/>
              <a:gd name="csX781" fmla="*/ 237557 w 1609516"/>
              <a:gd name="csY781" fmla="*/ 689735 h 1538630"/>
              <a:gd name="csX782" fmla="*/ 248492 w 1609516"/>
              <a:gd name="csY782" fmla="*/ 685507 h 1538630"/>
              <a:gd name="csX783" fmla="*/ 248492 w 1609516"/>
              <a:gd name="csY783" fmla="*/ 681279 h 1538630"/>
              <a:gd name="csX784" fmla="*/ 240681 w 1609516"/>
              <a:gd name="csY784" fmla="*/ 679870 h 1538630"/>
              <a:gd name="csX785" fmla="*/ 240681 w 1609516"/>
              <a:gd name="csY785" fmla="*/ 677052 h 1538630"/>
              <a:gd name="csX786" fmla="*/ 238094 w 1609516"/>
              <a:gd name="csY786" fmla="*/ 676645 h 1538630"/>
              <a:gd name="csX787" fmla="*/ 225841 w 1609516"/>
              <a:gd name="csY787" fmla="*/ 670886 h 1538630"/>
              <a:gd name="csX788" fmla="*/ 201531 w 1609516"/>
              <a:gd name="csY788" fmla="*/ 662508 h 1538630"/>
              <a:gd name="csX789" fmla="*/ 188252 w 1609516"/>
              <a:gd name="csY789" fmla="*/ 658644 h 1538630"/>
              <a:gd name="csX790" fmla="*/ 182431 w 1609516"/>
              <a:gd name="csY790" fmla="*/ 657327 h 1538630"/>
              <a:gd name="csX791" fmla="*/ 182431 w 1609516"/>
              <a:gd name="csY791" fmla="*/ 657613 h 1538630"/>
              <a:gd name="csX792" fmla="*/ 146503 w 1609516"/>
              <a:gd name="csY792" fmla="*/ 656204 h 1538630"/>
              <a:gd name="csX793" fmla="*/ 146503 w 1609516"/>
              <a:gd name="csY793" fmla="*/ 659022 h 1538630"/>
              <a:gd name="csX794" fmla="*/ 110378 w 1609516"/>
              <a:gd name="csY794" fmla="*/ 663778 h 1538630"/>
              <a:gd name="csX795" fmla="*/ 106453 w 1609516"/>
              <a:gd name="csY795" fmla="*/ 663836 h 1538630"/>
              <a:gd name="csX796" fmla="*/ 102751 w 1609516"/>
              <a:gd name="csY796" fmla="*/ 663811 h 1538630"/>
              <a:gd name="csX797" fmla="*/ 99449 w 1609516"/>
              <a:gd name="csY797" fmla="*/ 663797 h 1538630"/>
              <a:gd name="csX798" fmla="*/ 91828 w 1609516"/>
              <a:gd name="csY798" fmla="*/ 659022 h 1538630"/>
              <a:gd name="csX799" fmla="*/ 98077 w 1609516"/>
              <a:gd name="csY799" fmla="*/ 659022 h 1538630"/>
              <a:gd name="csX800" fmla="*/ 98077 w 1609516"/>
              <a:gd name="csY800" fmla="*/ 661841 h 1538630"/>
              <a:gd name="csX801" fmla="*/ 119023 w 1609516"/>
              <a:gd name="csY801" fmla="*/ 661357 h 1538630"/>
              <a:gd name="csX802" fmla="*/ 119536 w 1609516"/>
              <a:gd name="csY802" fmla="*/ 661197 h 1538630"/>
              <a:gd name="csX803" fmla="*/ 109853 w 1609516"/>
              <a:gd name="csY803" fmla="*/ 661639 h 1538630"/>
              <a:gd name="csX804" fmla="*/ 106552 w 1609516"/>
              <a:gd name="csY804" fmla="*/ 661619 h 1538630"/>
              <a:gd name="csX805" fmla="*/ 98528 w 1609516"/>
              <a:gd name="csY805" fmla="*/ 661550 h 1538630"/>
              <a:gd name="csX806" fmla="*/ 98528 w 1609516"/>
              <a:gd name="csY806" fmla="*/ 658732 h 1538630"/>
              <a:gd name="csX807" fmla="*/ 89155 w 1609516"/>
              <a:gd name="csY807" fmla="*/ 657323 h 1538630"/>
              <a:gd name="csX808" fmla="*/ 89155 w 1609516"/>
              <a:gd name="csY808" fmla="*/ 654504 h 1538630"/>
              <a:gd name="csX809" fmla="*/ 86397 w 1609516"/>
              <a:gd name="csY809" fmla="*/ 653442 h 1538630"/>
              <a:gd name="csX810" fmla="*/ 77049 w 1609516"/>
              <a:gd name="csY810" fmla="*/ 646137 h 1538630"/>
              <a:gd name="csX811" fmla="*/ 74145 w 1609516"/>
              <a:gd name="csY811" fmla="*/ 643192 h 1538630"/>
              <a:gd name="csX812" fmla="*/ 71972 w 1609516"/>
              <a:gd name="csY812" fmla="*/ 636185 h 1538630"/>
              <a:gd name="csX813" fmla="*/ 68848 w 1609516"/>
              <a:gd name="csY813" fmla="*/ 636185 h 1538630"/>
              <a:gd name="csX814" fmla="*/ 70410 w 1609516"/>
              <a:gd name="csY814" fmla="*/ 595317 h 1538630"/>
              <a:gd name="csX815" fmla="*/ 79782 w 1609516"/>
              <a:gd name="csY815" fmla="*/ 584043 h 1538630"/>
              <a:gd name="csX816" fmla="*/ 82656 w 1609516"/>
              <a:gd name="csY816" fmla="*/ 581115 h 1538630"/>
              <a:gd name="csX817" fmla="*/ 116694 w 1609516"/>
              <a:gd name="csY817" fmla="*/ 572323 h 1538630"/>
              <a:gd name="csX818" fmla="*/ 152031 w 1609516"/>
              <a:gd name="csY818" fmla="*/ 590385 h 1538630"/>
              <a:gd name="csX819" fmla="*/ 191474 w 1609516"/>
              <a:gd name="csY819" fmla="*/ 605886 h 1538630"/>
              <a:gd name="csX820" fmla="*/ 206314 w 1609516"/>
              <a:gd name="csY820" fmla="*/ 608000 h 1538630"/>
              <a:gd name="csX821" fmla="*/ 206314 w 1609516"/>
              <a:gd name="csY821" fmla="*/ 610818 h 1538630"/>
              <a:gd name="csX822" fmla="*/ 234433 w 1609516"/>
              <a:gd name="csY822" fmla="*/ 610818 h 1538630"/>
              <a:gd name="csX823" fmla="*/ 239522 w 1609516"/>
              <a:gd name="csY823" fmla="*/ 610802 h 1538630"/>
              <a:gd name="csX824" fmla="*/ 268799 w 1609516"/>
              <a:gd name="csY824" fmla="*/ 600954 h 1538630"/>
              <a:gd name="csX825" fmla="*/ 271740 w 1609516"/>
              <a:gd name="csY825" fmla="*/ 599325 h 1538630"/>
              <a:gd name="csX826" fmla="*/ 284420 w 1609516"/>
              <a:gd name="csY826" fmla="*/ 579816 h 1538630"/>
              <a:gd name="csX827" fmla="*/ 289399 w 1609516"/>
              <a:gd name="csY827" fmla="*/ 568630 h 1538630"/>
              <a:gd name="csX828" fmla="*/ 293958 w 1609516"/>
              <a:gd name="csY828" fmla="*/ 535838 h 1538630"/>
              <a:gd name="csX829" fmla="*/ 289107 w 1609516"/>
              <a:gd name="csY829" fmla="*/ 529084 h 1538630"/>
              <a:gd name="csX830" fmla="*/ 289107 w 1609516"/>
              <a:gd name="csY830" fmla="*/ 526265 h 1538630"/>
              <a:gd name="csX831" fmla="*/ 284420 w 1609516"/>
              <a:gd name="csY831" fmla="*/ 524856 h 1538630"/>
              <a:gd name="csX832" fmla="*/ 282858 w 1609516"/>
              <a:gd name="csY832" fmla="*/ 520628 h 1538630"/>
              <a:gd name="csX833" fmla="*/ 277977 w 1609516"/>
              <a:gd name="csY833" fmla="*/ 516577 h 1538630"/>
              <a:gd name="csX834" fmla="*/ 264925 w 1609516"/>
              <a:gd name="csY834" fmla="*/ 506443 h 1538630"/>
              <a:gd name="csX835" fmla="*/ 229746 w 1609516"/>
              <a:gd name="csY835" fmla="*/ 481170 h 1538630"/>
              <a:gd name="csX836" fmla="*/ 221057 w 1609516"/>
              <a:gd name="csY836" fmla="*/ 475445 h 1538630"/>
              <a:gd name="csX837" fmla="*/ 212563 w 1609516"/>
              <a:gd name="csY837" fmla="*/ 469896 h 1538630"/>
              <a:gd name="csX838" fmla="*/ 208889 w 1609516"/>
              <a:gd name="csY838" fmla="*/ 467491 h 1538630"/>
              <a:gd name="csX839" fmla="*/ 190406 w 1609516"/>
              <a:gd name="csY839" fmla="*/ 456382 h 1538630"/>
              <a:gd name="csX840" fmla="*/ 186942 w 1609516"/>
              <a:gd name="csY840" fmla="*/ 454460 h 1538630"/>
              <a:gd name="csX841" fmla="*/ 180041 w 1609516"/>
              <a:gd name="csY841" fmla="*/ 450696 h 1538630"/>
              <a:gd name="csX842" fmla="*/ 171948 w 1609516"/>
              <a:gd name="csY842" fmla="*/ 445940 h 1538630"/>
              <a:gd name="csX843" fmla="*/ 171948 w 1609516"/>
              <a:gd name="csY843" fmla="*/ 443121 h 1538630"/>
              <a:gd name="csX844" fmla="*/ 168482 w 1609516"/>
              <a:gd name="csY844" fmla="*/ 442708 h 1538630"/>
              <a:gd name="csX845" fmla="*/ 157107 w 1609516"/>
              <a:gd name="csY845" fmla="*/ 437044 h 1538630"/>
              <a:gd name="csX846" fmla="*/ 132559 w 1609516"/>
              <a:gd name="csY846" fmla="*/ 427510 h 1538630"/>
              <a:gd name="csX847" fmla="*/ 123522 w 1609516"/>
              <a:gd name="csY847" fmla="*/ 421983 h 1538630"/>
              <a:gd name="csX848" fmla="*/ 107986 w 1609516"/>
              <a:gd name="csY848" fmla="*/ 418730 h 1538630"/>
              <a:gd name="csX849" fmla="*/ 102494 w 1609516"/>
              <a:gd name="csY849" fmla="*/ 418622 h 1538630"/>
              <a:gd name="csX850" fmla="*/ 91157 w 1609516"/>
              <a:gd name="csY850" fmla="*/ 418490 h 1538630"/>
              <a:gd name="csX851" fmla="*/ 55277 w 1609516"/>
              <a:gd name="csY851" fmla="*/ 410445 h 1538630"/>
              <a:gd name="csX852" fmla="*/ 51665 w 1609516"/>
              <a:gd name="csY852" fmla="*/ 406481 h 1538630"/>
              <a:gd name="csX853" fmla="*/ 45904 w 1609516"/>
              <a:gd name="csY853" fmla="*/ 400492 h 1538630"/>
              <a:gd name="csX854" fmla="*/ 43152 w 1609516"/>
              <a:gd name="csY854" fmla="*/ 397564 h 1538630"/>
              <a:gd name="csX855" fmla="*/ 37605 w 1609516"/>
              <a:gd name="csY855" fmla="*/ 393798 h 1538630"/>
              <a:gd name="csX856" fmla="*/ 38995 w 1609516"/>
              <a:gd name="csY856" fmla="*/ 368712 h 1538630"/>
              <a:gd name="csX857" fmla="*/ 38666 w 1609516"/>
              <a:gd name="csY857" fmla="*/ 369724 h 1538630"/>
              <a:gd name="csX858" fmla="*/ 35542 w 1609516"/>
              <a:gd name="csY858" fmla="*/ 384081 h 1538630"/>
              <a:gd name="csX859" fmla="*/ 33326 w 1609516"/>
              <a:gd name="csY859" fmla="*/ 357791 h 1538630"/>
              <a:gd name="csX860" fmla="*/ 52725 w 1609516"/>
              <a:gd name="csY860" fmla="*/ 333349 h 1538630"/>
              <a:gd name="csX861" fmla="*/ 55222 w 1609516"/>
              <a:gd name="csY861" fmla="*/ 334475 h 1538630"/>
              <a:gd name="csX862" fmla="*/ 56222 w 1609516"/>
              <a:gd name="csY862" fmla="*/ 333347 h 1538630"/>
              <a:gd name="csX863" fmla="*/ 55871 w 1609516"/>
              <a:gd name="csY863" fmla="*/ 333347 h 1538630"/>
              <a:gd name="csX864" fmla="*/ 56346 w 1609516"/>
              <a:gd name="csY864" fmla="*/ 333207 h 1538630"/>
              <a:gd name="csX865" fmla="*/ 56351 w 1609516"/>
              <a:gd name="csY865" fmla="*/ 333202 h 1538630"/>
              <a:gd name="csX866" fmla="*/ 56365 w 1609516"/>
              <a:gd name="csY866" fmla="*/ 333202 h 1538630"/>
              <a:gd name="csX867" fmla="*/ 79571 w 1609516"/>
              <a:gd name="csY867" fmla="*/ 326360 h 1538630"/>
              <a:gd name="csX868" fmla="*/ 104297 w 1609516"/>
              <a:gd name="csY868" fmla="*/ 330529 h 1538630"/>
              <a:gd name="csX869" fmla="*/ 107170 w 1609516"/>
              <a:gd name="csY869" fmla="*/ 334417 h 1538630"/>
              <a:gd name="csX870" fmla="*/ 109366 w 1609516"/>
              <a:gd name="csY870" fmla="*/ 336046 h 1538630"/>
              <a:gd name="csX871" fmla="*/ 109463 w 1609516"/>
              <a:gd name="csY871" fmla="*/ 336020 h 1538630"/>
              <a:gd name="csX872" fmla="*/ 109463 w 1609516"/>
              <a:gd name="csY872" fmla="*/ 336118 h 1538630"/>
              <a:gd name="csX873" fmla="*/ 115226 w 1609516"/>
              <a:gd name="csY873" fmla="*/ 340394 h 1538630"/>
              <a:gd name="csX874" fmla="*/ 114010 w 1609516"/>
              <a:gd name="csY874" fmla="*/ 340120 h 1538630"/>
              <a:gd name="csX875" fmla="*/ 133285 w 1609516"/>
              <a:gd name="csY875" fmla="*/ 357423 h 1538630"/>
              <a:gd name="csX876" fmla="*/ 173509 w 1609516"/>
              <a:gd name="csY876" fmla="*/ 389571 h 1538630"/>
              <a:gd name="csX877" fmla="*/ 181711 w 1609516"/>
              <a:gd name="csY877" fmla="*/ 393270 h 1538630"/>
              <a:gd name="csX878" fmla="*/ 185507 w 1609516"/>
              <a:gd name="csY878" fmla="*/ 394976 h 1538630"/>
              <a:gd name="csX879" fmla="*/ 192658 w 1609516"/>
              <a:gd name="csY879" fmla="*/ 398257 h 1538630"/>
              <a:gd name="csX880" fmla="*/ 195966 w 1609516"/>
              <a:gd name="csY880" fmla="*/ 399788 h 1538630"/>
              <a:gd name="csX881" fmla="*/ 198833 w 1609516"/>
              <a:gd name="csY881" fmla="*/ 401131 h 1538630"/>
              <a:gd name="csX882" fmla="*/ 207877 w 1609516"/>
              <a:gd name="csY882" fmla="*/ 403663 h 1538630"/>
              <a:gd name="csX883" fmla="*/ 207877 w 1609516"/>
              <a:gd name="csY883" fmla="*/ 406481 h 1538630"/>
              <a:gd name="csX884" fmla="*/ 248492 w 1609516"/>
              <a:gd name="csY884" fmla="*/ 419428 h 1538630"/>
              <a:gd name="csX885" fmla="*/ 253965 w 1609516"/>
              <a:gd name="csY885" fmla="*/ 421000 h 1538630"/>
              <a:gd name="csX886" fmla="*/ 267237 w 1609516"/>
              <a:gd name="csY886" fmla="*/ 424801 h 1538630"/>
              <a:gd name="csX887" fmla="*/ 267237 w 1609516"/>
              <a:gd name="csY887" fmla="*/ 426451 h 1538630"/>
              <a:gd name="csX888" fmla="*/ 288701 w 1609516"/>
              <a:gd name="csY888" fmla="*/ 429217 h 1538630"/>
              <a:gd name="csX889" fmla="*/ 288701 w 1609516"/>
              <a:gd name="csY889" fmla="*/ 432036 h 1538630"/>
              <a:gd name="csX890" fmla="*/ 327010 w 1609516"/>
              <a:gd name="csY890" fmla="*/ 433628 h 1538630"/>
              <a:gd name="csX891" fmla="*/ 337486 w 1609516"/>
              <a:gd name="csY891" fmla="*/ 433637 h 1538630"/>
              <a:gd name="csX892" fmla="*/ 344229 w 1609516"/>
              <a:gd name="csY892" fmla="*/ 433632 h 1538630"/>
              <a:gd name="csX893" fmla="*/ 350323 w 1609516"/>
              <a:gd name="csY893" fmla="*/ 433627 h 1538630"/>
              <a:gd name="csX894" fmla="*/ 365245 w 1609516"/>
              <a:gd name="csY894" fmla="*/ 432036 h 1538630"/>
              <a:gd name="csX895" fmla="*/ 360797 w 1609516"/>
              <a:gd name="csY895" fmla="*/ 433759 h 1538630"/>
              <a:gd name="csX896" fmla="*/ 365650 w 1609516"/>
              <a:gd name="csY896" fmla="*/ 433257 h 1538630"/>
              <a:gd name="csX897" fmla="*/ 367213 w 1609516"/>
              <a:gd name="csY897" fmla="*/ 429029 h 1538630"/>
              <a:gd name="csX898" fmla="*/ 375188 w 1609516"/>
              <a:gd name="csY898" fmla="*/ 424906 h 1538630"/>
              <a:gd name="csX899" fmla="*/ 404704 w 1609516"/>
              <a:gd name="csY899" fmla="*/ 389571 h 1538630"/>
              <a:gd name="csX900" fmla="*/ 406265 w 1609516"/>
              <a:gd name="csY900" fmla="*/ 388161 h 1538630"/>
              <a:gd name="csX901" fmla="*/ 406559 w 1609516"/>
              <a:gd name="csY901" fmla="*/ 370106 h 1538630"/>
              <a:gd name="csX902" fmla="*/ 406617 w 1609516"/>
              <a:gd name="csY902" fmla="*/ 364973 h 1538630"/>
              <a:gd name="csX903" fmla="*/ 406626 w 1609516"/>
              <a:gd name="csY903" fmla="*/ 360038 h 1538630"/>
              <a:gd name="csX904" fmla="*/ 406645 w 1609516"/>
              <a:gd name="csY904" fmla="*/ 355503 h 1538630"/>
              <a:gd name="csX905" fmla="*/ 403142 w 1609516"/>
              <a:gd name="csY905" fmla="*/ 345885 h 1538630"/>
              <a:gd name="csX906" fmla="*/ 401579 w 1609516"/>
              <a:gd name="csY906" fmla="*/ 338663 h 1538630"/>
              <a:gd name="csX907" fmla="*/ 390938 w 1609516"/>
              <a:gd name="csY907" fmla="*/ 315939 h 1538630"/>
              <a:gd name="csX908" fmla="*/ 388976 w 1609516"/>
              <a:gd name="csY908" fmla="*/ 312762 h 1538630"/>
              <a:gd name="csX909" fmla="*/ 377934 w 1609516"/>
              <a:gd name="csY909" fmla="*/ 297817 h 1538630"/>
              <a:gd name="csX910" fmla="*/ 368775 w 1609516"/>
              <a:gd name="csY910" fmla="*/ 282470 h 1538630"/>
              <a:gd name="csX911" fmla="*/ 359890 w 1609516"/>
              <a:gd name="csY911" fmla="*/ 271284 h 1538630"/>
              <a:gd name="csX912" fmla="*/ 357374 w 1609516"/>
              <a:gd name="csY912" fmla="*/ 268288 h 1538630"/>
              <a:gd name="csX913" fmla="*/ 337533 w 1609516"/>
              <a:gd name="csY913" fmla="*/ 248649 h 1538630"/>
              <a:gd name="csX914" fmla="*/ 335214 w 1609516"/>
              <a:gd name="csY914" fmla="*/ 246369 h 1538630"/>
              <a:gd name="csX915" fmla="*/ 327085 w 1609516"/>
              <a:gd name="csY915" fmla="*/ 242571 h 1538630"/>
              <a:gd name="csX916" fmla="*/ 288785 w 1609516"/>
              <a:gd name="csY916" fmla="*/ 207968 h 1538630"/>
              <a:gd name="csX917" fmla="*/ 286373 w 1609516"/>
              <a:gd name="csY917" fmla="*/ 192544 h 1538630"/>
              <a:gd name="csX918" fmla="*/ 286385 w 1609516"/>
              <a:gd name="csY918" fmla="*/ 189190 h 1538630"/>
              <a:gd name="csX919" fmla="*/ 300042 w 1609516"/>
              <a:gd name="csY919" fmla="*/ 164095 h 1538630"/>
              <a:gd name="csX920" fmla="*/ 302757 w 1609516"/>
              <a:gd name="csY920" fmla="*/ 161381 h 1538630"/>
              <a:gd name="csX921" fmla="*/ 338411 w 1609516"/>
              <a:gd name="csY921" fmla="*/ 152293 h 1538630"/>
              <a:gd name="csX922" fmla="*/ 368482 w 1609516"/>
              <a:gd name="csY922" fmla="*/ 161893 h 1538630"/>
              <a:gd name="csX923" fmla="*/ 371899 w 1609516"/>
              <a:gd name="csY923" fmla="*/ 165505 h 1538630"/>
              <a:gd name="csX924" fmla="*/ 375121 w 1609516"/>
              <a:gd name="csY924" fmla="*/ 168587 h 1538630"/>
              <a:gd name="csX925" fmla="*/ 384982 w 1609516"/>
              <a:gd name="csY925" fmla="*/ 193777 h 1538630"/>
              <a:gd name="csX926" fmla="*/ 390352 w 1609516"/>
              <a:gd name="csY926" fmla="*/ 214563 h 1538630"/>
              <a:gd name="csX927" fmla="*/ 391529 w 1609516"/>
              <a:gd name="csY927" fmla="*/ 217626 h 1538630"/>
              <a:gd name="csX928" fmla="*/ 401579 w 1609516"/>
              <a:gd name="csY928" fmla="*/ 234556 h 1538630"/>
              <a:gd name="csX929" fmla="*/ 401579 w 1609516"/>
              <a:gd name="csY929" fmla="*/ 238784 h 1538630"/>
              <a:gd name="csX930" fmla="*/ 404215 w 1609516"/>
              <a:gd name="csY930" fmla="*/ 239753 h 1538630"/>
              <a:gd name="csX931" fmla="*/ 417811 w 1609516"/>
              <a:gd name="csY931" fmla="*/ 251996 h 1538630"/>
              <a:gd name="csX932" fmla="*/ 426866 w 1609516"/>
              <a:gd name="csY932" fmla="*/ 262300 h 1538630"/>
              <a:gd name="csX933" fmla="*/ 450097 w 1609516"/>
              <a:gd name="csY933" fmla="*/ 287628 h 1538630"/>
              <a:gd name="csX934" fmla="*/ 457425 w 1609516"/>
              <a:gd name="csY934" fmla="*/ 293920 h 1538630"/>
              <a:gd name="csX935" fmla="*/ 460940 w 1609516"/>
              <a:gd name="csY935" fmla="*/ 296562 h 1538630"/>
              <a:gd name="csX936" fmla="*/ 460940 w 1609516"/>
              <a:gd name="csY936" fmla="*/ 300790 h 1538630"/>
              <a:gd name="csX937" fmla="*/ 473437 w 1609516"/>
              <a:gd name="csY937" fmla="*/ 305018 h 1538630"/>
              <a:gd name="csX938" fmla="*/ 473437 w 1609516"/>
              <a:gd name="csY938" fmla="*/ 307836 h 1538630"/>
              <a:gd name="csX939" fmla="*/ 479881 w 1609516"/>
              <a:gd name="csY939" fmla="*/ 309862 h 1538630"/>
              <a:gd name="csX940" fmla="*/ 483505 w 1609516"/>
              <a:gd name="csY940" fmla="*/ 311001 h 1538630"/>
              <a:gd name="csX941" fmla="*/ 548419 w 1609516"/>
              <a:gd name="csY941" fmla="*/ 306427 h 1538630"/>
              <a:gd name="csX942" fmla="*/ 551842 w 1609516"/>
              <a:gd name="csY942" fmla="*/ 305127 h 1538630"/>
              <a:gd name="csX943" fmla="*/ 560232 w 1609516"/>
              <a:gd name="csY943" fmla="*/ 298148 h 1538630"/>
              <a:gd name="csX944" fmla="*/ 562972 w 1609516"/>
              <a:gd name="csY944" fmla="*/ 295252 h 1538630"/>
              <a:gd name="csX945" fmla="*/ 568086 w 1609516"/>
              <a:gd name="csY945" fmla="*/ 289152 h 1538630"/>
              <a:gd name="csX946" fmla="*/ 570289 w 1609516"/>
              <a:gd name="csY946" fmla="*/ 286697 h 1538630"/>
              <a:gd name="csX947" fmla="*/ 573413 w 1609516"/>
              <a:gd name="csY947" fmla="*/ 286697 h 1538630"/>
              <a:gd name="csX948" fmla="*/ 577220 w 1609516"/>
              <a:gd name="csY948" fmla="*/ 257016 h 1538630"/>
              <a:gd name="csX949" fmla="*/ 577235 w 1609516"/>
              <a:gd name="csY949" fmla="*/ 254206 h 1538630"/>
              <a:gd name="csX950" fmla="*/ 569443 w 1609516"/>
              <a:gd name="csY950" fmla="*/ 206049 h 1538630"/>
              <a:gd name="csX951" fmla="*/ 568726 w 1609516"/>
              <a:gd name="csY951" fmla="*/ 200735 h 1538630"/>
              <a:gd name="csX952" fmla="*/ 565602 w 1609516"/>
              <a:gd name="csY952" fmla="*/ 200735 h 1538630"/>
              <a:gd name="csX953" fmla="*/ 559549 w 1609516"/>
              <a:gd name="csY953" fmla="*/ 184441 h 1538630"/>
              <a:gd name="csX954" fmla="*/ 537484 w 1609516"/>
              <a:gd name="csY954" fmla="*/ 159867 h 1538630"/>
              <a:gd name="csX955" fmla="*/ 531235 w 1609516"/>
              <a:gd name="csY955" fmla="*/ 154230 h 1538630"/>
              <a:gd name="csX956" fmla="*/ 531235 w 1609516"/>
              <a:gd name="csY956" fmla="*/ 151412 h 1538630"/>
              <a:gd name="csX957" fmla="*/ 526549 w 1609516"/>
              <a:gd name="csY957" fmla="*/ 150003 h 1538630"/>
              <a:gd name="csX958" fmla="*/ 524304 w 1609516"/>
              <a:gd name="csY958" fmla="*/ 107198 h 1538630"/>
              <a:gd name="csX959" fmla="*/ 547052 w 1609516"/>
              <a:gd name="csY959" fmla="*/ 85972 h 1538630"/>
              <a:gd name="csX960" fmla="*/ 588460 w 1609516"/>
              <a:gd name="csY960" fmla="*/ 83538 h 1538630"/>
              <a:gd name="csX961" fmla="*/ 617152 w 1609516"/>
              <a:gd name="csY961" fmla="*/ 111954 h 1538630"/>
              <a:gd name="csX962" fmla="*/ 617884 w 1609516"/>
              <a:gd name="csY962" fmla="*/ 124175 h 1538630"/>
              <a:gd name="csX963" fmla="*/ 617917 w 1609516"/>
              <a:gd name="csY963" fmla="*/ 127607 h 1538630"/>
              <a:gd name="csX964" fmla="*/ 617919 w 1609516"/>
              <a:gd name="csY964" fmla="*/ 141969 h 1538630"/>
              <a:gd name="csX965" fmla="*/ 630625 w 1609516"/>
              <a:gd name="csY965" fmla="*/ 191311 h 1538630"/>
              <a:gd name="csX966" fmla="*/ 637850 w 1609516"/>
              <a:gd name="csY966" fmla="*/ 205139 h 1538630"/>
              <a:gd name="csX967" fmla="*/ 643708 w 1609516"/>
              <a:gd name="csY967" fmla="*/ 212009 h 1538630"/>
              <a:gd name="csX968" fmla="*/ 647027 w 1609516"/>
              <a:gd name="csY968" fmla="*/ 217645 h 1538630"/>
              <a:gd name="csX969" fmla="*/ 670264 w 1609516"/>
              <a:gd name="csY969" fmla="*/ 241603 h 1538630"/>
              <a:gd name="csX970" fmla="*/ 670264 w 1609516"/>
              <a:gd name="csY970" fmla="*/ 244421 h 1538630"/>
              <a:gd name="csX971" fmla="*/ 675634 w 1609516"/>
              <a:gd name="csY971" fmla="*/ 245742 h 1538630"/>
              <a:gd name="csX972" fmla="*/ 682761 w 1609516"/>
              <a:gd name="csY972" fmla="*/ 248649 h 1538630"/>
              <a:gd name="csX973" fmla="*/ 752092 w 1609516"/>
              <a:gd name="csY973" fmla="*/ 245076 h 1538630"/>
              <a:gd name="csX974" fmla="*/ 758433 w 1609516"/>
              <a:gd name="csY974" fmla="*/ 240485 h 1538630"/>
              <a:gd name="csX975" fmla="*/ 763991 w 1609516"/>
              <a:gd name="csY975" fmla="*/ 238784 h 1538630"/>
              <a:gd name="csX976" fmla="*/ 765315 w 1609516"/>
              <a:gd name="csY976" fmla="*/ 235778 h 1538630"/>
              <a:gd name="csX977" fmla="*/ 770923 w 1609516"/>
              <a:gd name="csY977" fmla="*/ 223459 h 1538630"/>
              <a:gd name="csX978" fmla="*/ 772998 w 1609516"/>
              <a:gd name="csY978" fmla="*/ 218934 h 1538630"/>
              <a:gd name="csX979" fmla="*/ 777562 w 1609516"/>
              <a:gd name="csY979" fmla="*/ 209895 h 1538630"/>
              <a:gd name="csX980" fmla="*/ 781175 w 1609516"/>
              <a:gd name="csY980" fmla="*/ 124637 h 1538630"/>
              <a:gd name="csX981" fmla="*/ 778051 w 1609516"/>
              <a:gd name="csY981" fmla="*/ 124637 h 1538630"/>
              <a:gd name="csX982" fmla="*/ 767116 w 1609516"/>
              <a:gd name="csY982" fmla="*/ 79542 h 1538630"/>
              <a:gd name="csX983" fmla="*/ 793379 w 1609516"/>
              <a:gd name="csY983" fmla="*/ 54000 h 1538630"/>
              <a:gd name="csX984" fmla="*/ 840688 w 1609516"/>
              <a:gd name="csY984" fmla="*/ 55503 h 1538630"/>
              <a:gd name="csX985" fmla="*/ 851470 w 1609516"/>
              <a:gd name="csY985" fmla="*/ 64040 h 1538630"/>
              <a:gd name="csX986" fmla="*/ 853997 w 1609516"/>
              <a:gd name="csY986" fmla="*/ 66529 h 1538630"/>
              <a:gd name="csX987" fmla="*/ 861488 w 1609516"/>
              <a:gd name="csY987" fmla="*/ 82057 h 1538630"/>
              <a:gd name="csX988" fmla="*/ 861937 w 1609516"/>
              <a:gd name="csY988" fmla="*/ 90492 h 1538630"/>
              <a:gd name="csX989" fmla="*/ 863826 w 1609516"/>
              <a:gd name="csY989" fmla="*/ 100715 h 1538630"/>
              <a:gd name="csX990" fmla="*/ 857577 w 1609516"/>
              <a:gd name="csY990" fmla="*/ 121853 h 1538630"/>
              <a:gd name="csX991" fmla="*/ 856015 w 1609516"/>
              <a:gd name="csY991" fmla="*/ 121853 h 1538630"/>
              <a:gd name="csX992" fmla="*/ 855442 w 1609516"/>
              <a:gd name="csY992" fmla="*/ 118919 h 1538630"/>
              <a:gd name="csX993" fmla="*/ 855417 w 1609516"/>
              <a:gd name="csY993" fmla="*/ 118798 h 1538630"/>
              <a:gd name="csX994" fmla="*/ 856157 w 1609516"/>
              <a:gd name="csY994" fmla="*/ 124637 h 1538630"/>
              <a:gd name="csX995" fmla="*/ 850623 w 1609516"/>
              <a:gd name="csY995" fmla="*/ 134701 h 1538630"/>
              <a:gd name="csX996" fmla="*/ 851325 w 1609516"/>
              <a:gd name="csY996" fmla="*/ 135968 h 1538630"/>
              <a:gd name="csX997" fmla="*/ 849886 w 1609516"/>
              <a:gd name="csY997" fmla="*/ 139843 h 1538630"/>
              <a:gd name="csX998" fmla="*/ 847786 w 1609516"/>
              <a:gd name="csY998" fmla="*/ 152889 h 1538630"/>
              <a:gd name="csX999" fmla="*/ 847767 w 1609516"/>
              <a:gd name="csY999" fmla="*/ 157768 h 1538630"/>
              <a:gd name="csX1000" fmla="*/ 847810 w 1609516"/>
              <a:gd name="csY1000" fmla="*/ 162919 h 1538630"/>
              <a:gd name="csX1001" fmla="*/ 847832 w 1609516"/>
              <a:gd name="csY1001" fmla="*/ 168227 h 1538630"/>
              <a:gd name="csX1002" fmla="*/ 850903 w 1609516"/>
              <a:gd name="csY1002" fmla="*/ 209013 h 1538630"/>
              <a:gd name="csX1003" fmla="*/ 852880 w 1609516"/>
              <a:gd name="csY1003" fmla="*/ 224692 h 1538630"/>
              <a:gd name="csX1004" fmla="*/ 854595 w 1609516"/>
              <a:gd name="csY1004" fmla="*/ 224692 h 1538630"/>
              <a:gd name="csX1005" fmla="*/ 856083 w 1609516"/>
              <a:gd name="csY1005" fmla="*/ 227268 h 1538630"/>
              <a:gd name="csX1006" fmla="*/ 879588 w 1609516"/>
              <a:gd name="csY1006" fmla="*/ 247239 h 1538630"/>
              <a:gd name="csX1007" fmla="*/ 885739 w 1609516"/>
              <a:gd name="csY1007" fmla="*/ 249618 h 1538630"/>
              <a:gd name="csX1008" fmla="*/ 890523 w 1609516"/>
              <a:gd name="csY1008" fmla="*/ 251467 h 1538630"/>
              <a:gd name="csX1009" fmla="*/ 890523 w 1609516"/>
              <a:gd name="csY1009" fmla="*/ 254285 h 1538630"/>
              <a:gd name="csX1010" fmla="*/ 920203 w 1609516"/>
              <a:gd name="csY1010" fmla="*/ 261332 h 1538630"/>
              <a:gd name="csX1011" fmla="*/ 920203 w 1609516"/>
              <a:gd name="csY1011" fmla="*/ 262741 h 1538630"/>
              <a:gd name="csX1012" fmla="*/ 910831 w 1609516"/>
              <a:gd name="csY1012" fmla="*/ 262741 h 1538630"/>
              <a:gd name="csX1013" fmla="*/ 910831 w 1609516"/>
              <a:gd name="csY1013" fmla="*/ 262864 h 1538630"/>
              <a:gd name="csX1014" fmla="*/ 927993 w 1609516"/>
              <a:gd name="csY1014" fmla="*/ 264177 h 1538630"/>
              <a:gd name="csX1015" fmla="*/ 939273 w 1609516"/>
              <a:gd name="csY1015" fmla="*/ 265285 h 1538630"/>
              <a:gd name="csX1016" fmla="*/ 940456 w 1609516"/>
              <a:gd name="csY1016" fmla="*/ 265191 h 1538630"/>
              <a:gd name="csX1017" fmla="*/ 991622 w 1609516"/>
              <a:gd name="csY1017" fmla="*/ 242329 h 1538630"/>
              <a:gd name="csX1018" fmla="*/ 1000803 w 1609516"/>
              <a:gd name="csY1018" fmla="*/ 236505 h 1538630"/>
              <a:gd name="csX1019" fmla="*/ 999806 w 1609516"/>
              <a:gd name="csY1019" fmla="*/ 236055 h 1538630"/>
              <a:gd name="csX1020" fmla="*/ 1003126 w 1609516"/>
              <a:gd name="csY1020" fmla="*/ 232851 h 1538630"/>
              <a:gd name="csX1021" fmla="*/ 1029487 w 1609516"/>
              <a:gd name="csY1021" fmla="*/ 205052 h 1538630"/>
              <a:gd name="csX1022" fmla="*/ 1029872 w 1609516"/>
              <a:gd name="csY1022" fmla="*/ 206442 h 1538630"/>
              <a:gd name="csX1023" fmla="*/ 1031614 w 1609516"/>
              <a:gd name="csY1023" fmla="*/ 203719 h 1538630"/>
              <a:gd name="csX1024" fmla="*/ 1038924 w 1609516"/>
              <a:gd name="csY1024" fmla="*/ 192280 h 1538630"/>
              <a:gd name="csX1025" fmla="*/ 1042049 w 1609516"/>
              <a:gd name="csY1025" fmla="*/ 190870 h 1538630"/>
              <a:gd name="csX1026" fmla="*/ 1044294 w 1609516"/>
              <a:gd name="csY1026" fmla="*/ 186026 h 1538630"/>
              <a:gd name="csX1027" fmla="*/ 1051422 w 1609516"/>
              <a:gd name="csY1027" fmla="*/ 178188 h 1538630"/>
              <a:gd name="csX1028" fmla="*/ 1052984 w 1609516"/>
              <a:gd name="csY1028" fmla="*/ 172551 h 1538630"/>
              <a:gd name="csX1029" fmla="*/ 1056108 w 1609516"/>
              <a:gd name="csY1029" fmla="*/ 172551 h 1538630"/>
              <a:gd name="csX1030" fmla="*/ 1059232 w 1609516"/>
              <a:gd name="csY1030" fmla="*/ 162686 h 1538630"/>
              <a:gd name="csX1031" fmla="*/ 1062357 w 1609516"/>
              <a:gd name="csY1031" fmla="*/ 162686 h 1538630"/>
              <a:gd name="csX1032" fmla="*/ 1063162 w 1609516"/>
              <a:gd name="csY1032" fmla="*/ 160258 h 1538630"/>
              <a:gd name="csX1033" fmla="*/ 1073292 w 1609516"/>
              <a:gd name="csY1033" fmla="*/ 140138 h 1538630"/>
              <a:gd name="csX1034" fmla="*/ 1076415 w 1609516"/>
              <a:gd name="csY1034" fmla="*/ 140138 h 1538630"/>
              <a:gd name="csX1035" fmla="*/ 1085294 w 1609516"/>
              <a:gd name="csY1035" fmla="*/ 117569 h 1538630"/>
              <a:gd name="csX1036" fmla="*/ 1087350 w 1609516"/>
              <a:gd name="csY1036" fmla="*/ 113363 h 1538630"/>
              <a:gd name="csX1037" fmla="*/ 1092037 w 1609516"/>
              <a:gd name="csY1037" fmla="*/ 111954 h 1538630"/>
              <a:gd name="csX1038" fmla="*/ 1092623 w 1609516"/>
              <a:gd name="csY1038" fmla="*/ 108695 h 1538630"/>
              <a:gd name="csX1039" fmla="*/ 1096723 w 1609516"/>
              <a:gd name="csY1039" fmla="*/ 100680 h 1538630"/>
              <a:gd name="csX1040" fmla="*/ 1098188 w 1609516"/>
              <a:gd name="csY1040" fmla="*/ 96013 h 1538630"/>
              <a:gd name="csX1041" fmla="*/ 1102288 w 1609516"/>
              <a:gd name="csY1041" fmla="*/ 87029 h 1538630"/>
              <a:gd name="csX1042" fmla="*/ 1104534 w 1609516"/>
              <a:gd name="csY1042" fmla="*/ 61222 h 1538630"/>
              <a:gd name="csX1043" fmla="*/ 1104381 w 1609516"/>
              <a:gd name="csY1043" fmla="*/ 55569 h 1538630"/>
              <a:gd name="csX1044" fmla="*/ 1104397 w 1609516"/>
              <a:gd name="csY1044" fmla="*/ 52335 h 1538630"/>
              <a:gd name="csX1045" fmla="*/ 1104436 w 1609516"/>
              <a:gd name="csY1045" fmla="*/ 48979 h 1538630"/>
              <a:gd name="csX1046" fmla="*/ 1104457 w 1609516"/>
              <a:gd name="csY1046" fmla="*/ 45575 h 1538630"/>
              <a:gd name="csX1047" fmla="*/ 1104534 w 1609516"/>
              <a:gd name="csY1047" fmla="*/ 37265 h 1538630"/>
              <a:gd name="csX1048" fmla="*/ 1107658 w 1609516"/>
              <a:gd name="csY1048" fmla="*/ 37265 h 1538630"/>
              <a:gd name="csX1049" fmla="*/ 1107463 w 1609516"/>
              <a:gd name="csY1049" fmla="*/ 31805 h 1538630"/>
              <a:gd name="csX1050" fmla="*/ 1107658 w 1609516"/>
              <a:gd name="csY1050" fmla="*/ 25991 h 1538630"/>
              <a:gd name="csX1051" fmla="*/ 1110782 w 1609516"/>
              <a:gd name="csY1051" fmla="*/ 23173 h 1538630"/>
              <a:gd name="csX1052" fmla="*/ 1111759 w 1609516"/>
              <a:gd name="csY1052" fmla="*/ 20091 h 1538630"/>
              <a:gd name="csX1053" fmla="*/ 1134507 w 1609516"/>
              <a:gd name="csY1053" fmla="*/ 2828 h 1538630"/>
              <a:gd name="csX1054" fmla="*/ 1155019 w 1609516"/>
              <a:gd name="csY1054" fmla="*/ 35 h 153863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  <a:cxn ang="0">
                <a:pos x="csX170" y="csY170"/>
              </a:cxn>
              <a:cxn ang="0">
                <a:pos x="csX171" y="csY171"/>
              </a:cxn>
              <a:cxn ang="0">
                <a:pos x="csX172" y="csY172"/>
              </a:cxn>
              <a:cxn ang="0">
                <a:pos x="csX173" y="csY173"/>
              </a:cxn>
              <a:cxn ang="0">
                <a:pos x="csX174" y="csY174"/>
              </a:cxn>
              <a:cxn ang="0">
                <a:pos x="csX175" y="csY175"/>
              </a:cxn>
              <a:cxn ang="0">
                <a:pos x="csX176" y="csY176"/>
              </a:cxn>
              <a:cxn ang="0">
                <a:pos x="csX177" y="csY177"/>
              </a:cxn>
              <a:cxn ang="0">
                <a:pos x="csX178" y="csY178"/>
              </a:cxn>
              <a:cxn ang="0">
                <a:pos x="csX179" y="csY179"/>
              </a:cxn>
              <a:cxn ang="0">
                <a:pos x="csX180" y="csY180"/>
              </a:cxn>
              <a:cxn ang="0">
                <a:pos x="csX181" y="csY181"/>
              </a:cxn>
              <a:cxn ang="0">
                <a:pos x="csX182" y="csY182"/>
              </a:cxn>
              <a:cxn ang="0">
                <a:pos x="csX183" y="csY183"/>
              </a:cxn>
              <a:cxn ang="0">
                <a:pos x="csX184" y="csY184"/>
              </a:cxn>
              <a:cxn ang="0">
                <a:pos x="csX185" y="csY185"/>
              </a:cxn>
              <a:cxn ang="0">
                <a:pos x="csX186" y="csY186"/>
              </a:cxn>
              <a:cxn ang="0">
                <a:pos x="csX187" y="csY187"/>
              </a:cxn>
              <a:cxn ang="0">
                <a:pos x="csX188" y="csY188"/>
              </a:cxn>
              <a:cxn ang="0">
                <a:pos x="csX189" y="csY189"/>
              </a:cxn>
              <a:cxn ang="0">
                <a:pos x="csX190" y="csY190"/>
              </a:cxn>
              <a:cxn ang="0">
                <a:pos x="csX191" y="csY191"/>
              </a:cxn>
              <a:cxn ang="0">
                <a:pos x="csX192" y="csY192"/>
              </a:cxn>
              <a:cxn ang="0">
                <a:pos x="csX193" y="csY193"/>
              </a:cxn>
              <a:cxn ang="0">
                <a:pos x="csX194" y="csY194"/>
              </a:cxn>
              <a:cxn ang="0">
                <a:pos x="csX195" y="csY195"/>
              </a:cxn>
              <a:cxn ang="0">
                <a:pos x="csX196" y="csY196"/>
              </a:cxn>
              <a:cxn ang="0">
                <a:pos x="csX197" y="csY197"/>
              </a:cxn>
              <a:cxn ang="0">
                <a:pos x="csX198" y="csY198"/>
              </a:cxn>
              <a:cxn ang="0">
                <a:pos x="csX199" y="csY199"/>
              </a:cxn>
              <a:cxn ang="0">
                <a:pos x="csX200" y="csY200"/>
              </a:cxn>
              <a:cxn ang="0">
                <a:pos x="csX201" y="csY201"/>
              </a:cxn>
              <a:cxn ang="0">
                <a:pos x="csX202" y="csY202"/>
              </a:cxn>
              <a:cxn ang="0">
                <a:pos x="csX203" y="csY203"/>
              </a:cxn>
              <a:cxn ang="0">
                <a:pos x="csX204" y="csY204"/>
              </a:cxn>
              <a:cxn ang="0">
                <a:pos x="csX205" y="csY205"/>
              </a:cxn>
              <a:cxn ang="0">
                <a:pos x="csX206" y="csY206"/>
              </a:cxn>
              <a:cxn ang="0">
                <a:pos x="csX207" y="csY207"/>
              </a:cxn>
              <a:cxn ang="0">
                <a:pos x="csX208" y="csY208"/>
              </a:cxn>
              <a:cxn ang="0">
                <a:pos x="csX209" y="csY209"/>
              </a:cxn>
              <a:cxn ang="0">
                <a:pos x="csX210" y="csY210"/>
              </a:cxn>
              <a:cxn ang="0">
                <a:pos x="csX211" y="csY211"/>
              </a:cxn>
              <a:cxn ang="0">
                <a:pos x="csX212" y="csY212"/>
              </a:cxn>
              <a:cxn ang="0">
                <a:pos x="csX213" y="csY213"/>
              </a:cxn>
              <a:cxn ang="0">
                <a:pos x="csX214" y="csY214"/>
              </a:cxn>
              <a:cxn ang="0">
                <a:pos x="csX215" y="csY215"/>
              </a:cxn>
              <a:cxn ang="0">
                <a:pos x="csX216" y="csY216"/>
              </a:cxn>
              <a:cxn ang="0">
                <a:pos x="csX217" y="csY217"/>
              </a:cxn>
              <a:cxn ang="0">
                <a:pos x="csX218" y="csY218"/>
              </a:cxn>
              <a:cxn ang="0">
                <a:pos x="csX219" y="csY219"/>
              </a:cxn>
              <a:cxn ang="0">
                <a:pos x="csX220" y="csY220"/>
              </a:cxn>
              <a:cxn ang="0">
                <a:pos x="csX221" y="csY221"/>
              </a:cxn>
              <a:cxn ang="0">
                <a:pos x="csX222" y="csY222"/>
              </a:cxn>
              <a:cxn ang="0">
                <a:pos x="csX223" y="csY223"/>
              </a:cxn>
              <a:cxn ang="0">
                <a:pos x="csX224" y="csY224"/>
              </a:cxn>
              <a:cxn ang="0">
                <a:pos x="csX225" y="csY225"/>
              </a:cxn>
              <a:cxn ang="0">
                <a:pos x="csX226" y="csY226"/>
              </a:cxn>
              <a:cxn ang="0">
                <a:pos x="csX227" y="csY227"/>
              </a:cxn>
              <a:cxn ang="0">
                <a:pos x="csX228" y="csY228"/>
              </a:cxn>
              <a:cxn ang="0">
                <a:pos x="csX229" y="csY229"/>
              </a:cxn>
              <a:cxn ang="0">
                <a:pos x="csX230" y="csY230"/>
              </a:cxn>
              <a:cxn ang="0">
                <a:pos x="csX231" y="csY231"/>
              </a:cxn>
              <a:cxn ang="0">
                <a:pos x="csX232" y="csY232"/>
              </a:cxn>
              <a:cxn ang="0">
                <a:pos x="csX233" y="csY233"/>
              </a:cxn>
              <a:cxn ang="0">
                <a:pos x="csX234" y="csY234"/>
              </a:cxn>
              <a:cxn ang="0">
                <a:pos x="csX235" y="csY235"/>
              </a:cxn>
              <a:cxn ang="0">
                <a:pos x="csX236" y="csY236"/>
              </a:cxn>
              <a:cxn ang="0">
                <a:pos x="csX237" y="csY237"/>
              </a:cxn>
              <a:cxn ang="0">
                <a:pos x="csX238" y="csY238"/>
              </a:cxn>
              <a:cxn ang="0">
                <a:pos x="csX239" y="csY239"/>
              </a:cxn>
              <a:cxn ang="0">
                <a:pos x="csX240" y="csY240"/>
              </a:cxn>
              <a:cxn ang="0">
                <a:pos x="csX241" y="csY241"/>
              </a:cxn>
              <a:cxn ang="0">
                <a:pos x="csX242" y="csY242"/>
              </a:cxn>
              <a:cxn ang="0">
                <a:pos x="csX243" y="csY243"/>
              </a:cxn>
              <a:cxn ang="0">
                <a:pos x="csX244" y="csY244"/>
              </a:cxn>
              <a:cxn ang="0">
                <a:pos x="csX245" y="csY245"/>
              </a:cxn>
              <a:cxn ang="0">
                <a:pos x="csX246" y="csY246"/>
              </a:cxn>
              <a:cxn ang="0">
                <a:pos x="csX247" y="csY247"/>
              </a:cxn>
              <a:cxn ang="0">
                <a:pos x="csX248" y="csY248"/>
              </a:cxn>
              <a:cxn ang="0">
                <a:pos x="csX249" y="csY249"/>
              </a:cxn>
              <a:cxn ang="0">
                <a:pos x="csX250" y="csY250"/>
              </a:cxn>
              <a:cxn ang="0">
                <a:pos x="csX251" y="csY251"/>
              </a:cxn>
              <a:cxn ang="0">
                <a:pos x="csX252" y="csY252"/>
              </a:cxn>
              <a:cxn ang="0">
                <a:pos x="csX253" y="csY253"/>
              </a:cxn>
              <a:cxn ang="0">
                <a:pos x="csX254" y="csY254"/>
              </a:cxn>
              <a:cxn ang="0">
                <a:pos x="csX255" y="csY255"/>
              </a:cxn>
              <a:cxn ang="0">
                <a:pos x="csX256" y="csY256"/>
              </a:cxn>
              <a:cxn ang="0">
                <a:pos x="csX257" y="csY257"/>
              </a:cxn>
              <a:cxn ang="0">
                <a:pos x="csX258" y="csY258"/>
              </a:cxn>
              <a:cxn ang="0">
                <a:pos x="csX259" y="csY259"/>
              </a:cxn>
              <a:cxn ang="0">
                <a:pos x="csX260" y="csY260"/>
              </a:cxn>
              <a:cxn ang="0">
                <a:pos x="csX261" y="csY261"/>
              </a:cxn>
              <a:cxn ang="0">
                <a:pos x="csX262" y="csY262"/>
              </a:cxn>
              <a:cxn ang="0">
                <a:pos x="csX263" y="csY263"/>
              </a:cxn>
              <a:cxn ang="0">
                <a:pos x="csX264" y="csY264"/>
              </a:cxn>
              <a:cxn ang="0">
                <a:pos x="csX265" y="csY265"/>
              </a:cxn>
              <a:cxn ang="0">
                <a:pos x="csX266" y="csY266"/>
              </a:cxn>
              <a:cxn ang="0">
                <a:pos x="csX267" y="csY267"/>
              </a:cxn>
              <a:cxn ang="0">
                <a:pos x="csX268" y="csY268"/>
              </a:cxn>
              <a:cxn ang="0">
                <a:pos x="csX269" y="csY269"/>
              </a:cxn>
              <a:cxn ang="0">
                <a:pos x="csX270" y="csY270"/>
              </a:cxn>
              <a:cxn ang="0">
                <a:pos x="csX271" y="csY271"/>
              </a:cxn>
              <a:cxn ang="0">
                <a:pos x="csX272" y="csY272"/>
              </a:cxn>
              <a:cxn ang="0">
                <a:pos x="csX273" y="csY273"/>
              </a:cxn>
              <a:cxn ang="0">
                <a:pos x="csX274" y="csY274"/>
              </a:cxn>
              <a:cxn ang="0">
                <a:pos x="csX275" y="csY275"/>
              </a:cxn>
              <a:cxn ang="0">
                <a:pos x="csX276" y="csY276"/>
              </a:cxn>
              <a:cxn ang="0">
                <a:pos x="csX277" y="csY277"/>
              </a:cxn>
              <a:cxn ang="0">
                <a:pos x="csX278" y="csY278"/>
              </a:cxn>
              <a:cxn ang="0">
                <a:pos x="csX279" y="csY279"/>
              </a:cxn>
              <a:cxn ang="0">
                <a:pos x="csX280" y="csY280"/>
              </a:cxn>
              <a:cxn ang="0">
                <a:pos x="csX281" y="csY281"/>
              </a:cxn>
              <a:cxn ang="0">
                <a:pos x="csX282" y="csY282"/>
              </a:cxn>
              <a:cxn ang="0">
                <a:pos x="csX283" y="csY283"/>
              </a:cxn>
              <a:cxn ang="0">
                <a:pos x="csX284" y="csY284"/>
              </a:cxn>
              <a:cxn ang="0">
                <a:pos x="csX285" y="csY285"/>
              </a:cxn>
              <a:cxn ang="0">
                <a:pos x="csX286" y="csY286"/>
              </a:cxn>
              <a:cxn ang="0">
                <a:pos x="csX287" y="csY287"/>
              </a:cxn>
              <a:cxn ang="0">
                <a:pos x="csX288" y="csY288"/>
              </a:cxn>
              <a:cxn ang="0">
                <a:pos x="csX289" y="csY289"/>
              </a:cxn>
              <a:cxn ang="0">
                <a:pos x="csX290" y="csY290"/>
              </a:cxn>
              <a:cxn ang="0">
                <a:pos x="csX291" y="csY291"/>
              </a:cxn>
              <a:cxn ang="0">
                <a:pos x="csX292" y="csY292"/>
              </a:cxn>
              <a:cxn ang="0">
                <a:pos x="csX293" y="csY293"/>
              </a:cxn>
              <a:cxn ang="0">
                <a:pos x="csX294" y="csY294"/>
              </a:cxn>
              <a:cxn ang="0">
                <a:pos x="csX295" y="csY295"/>
              </a:cxn>
              <a:cxn ang="0">
                <a:pos x="csX296" y="csY296"/>
              </a:cxn>
              <a:cxn ang="0">
                <a:pos x="csX297" y="csY297"/>
              </a:cxn>
              <a:cxn ang="0">
                <a:pos x="csX298" y="csY298"/>
              </a:cxn>
              <a:cxn ang="0">
                <a:pos x="csX299" y="csY299"/>
              </a:cxn>
              <a:cxn ang="0">
                <a:pos x="csX300" y="csY300"/>
              </a:cxn>
              <a:cxn ang="0">
                <a:pos x="csX301" y="csY301"/>
              </a:cxn>
              <a:cxn ang="0">
                <a:pos x="csX302" y="csY302"/>
              </a:cxn>
              <a:cxn ang="0">
                <a:pos x="csX303" y="csY303"/>
              </a:cxn>
              <a:cxn ang="0">
                <a:pos x="csX304" y="csY304"/>
              </a:cxn>
              <a:cxn ang="0">
                <a:pos x="csX305" y="csY305"/>
              </a:cxn>
              <a:cxn ang="0">
                <a:pos x="csX306" y="csY306"/>
              </a:cxn>
              <a:cxn ang="0">
                <a:pos x="csX307" y="csY307"/>
              </a:cxn>
              <a:cxn ang="0">
                <a:pos x="csX308" y="csY308"/>
              </a:cxn>
              <a:cxn ang="0">
                <a:pos x="csX309" y="csY309"/>
              </a:cxn>
              <a:cxn ang="0">
                <a:pos x="csX310" y="csY310"/>
              </a:cxn>
              <a:cxn ang="0">
                <a:pos x="csX311" y="csY311"/>
              </a:cxn>
              <a:cxn ang="0">
                <a:pos x="csX312" y="csY312"/>
              </a:cxn>
              <a:cxn ang="0">
                <a:pos x="csX313" y="csY313"/>
              </a:cxn>
              <a:cxn ang="0">
                <a:pos x="csX314" y="csY314"/>
              </a:cxn>
              <a:cxn ang="0">
                <a:pos x="csX315" y="csY315"/>
              </a:cxn>
              <a:cxn ang="0">
                <a:pos x="csX316" y="csY316"/>
              </a:cxn>
              <a:cxn ang="0">
                <a:pos x="csX317" y="csY317"/>
              </a:cxn>
              <a:cxn ang="0">
                <a:pos x="csX318" y="csY318"/>
              </a:cxn>
              <a:cxn ang="0">
                <a:pos x="csX319" y="csY319"/>
              </a:cxn>
              <a:cxn ang="0">
                <a:pos x="csX320" y="csY320"/>
              </a:cxn>
              <a:cxn ang="0">
                <a:pos x="csX321" y="csY321"/>
              </a:cxn>
              <a:cxn ang="0">
                <a:pos x="csX322" y="csY322"/>
              </a:cxn>
              <a:cxn ang="0">
                <a:pos x="csX323" y="csY323"/>
              </a:cxn>
              <a:cxn ang="0">
                <a:pos x="csX324" y="csY324"/>
              </a:cxn>
              <a:cxn ang="0">
                <a:pos x="csX325" y="csY325"/>
              </a:cxn>
              <a:cxn ang="0">
                <a:pos x="csX326" y="csY326"/>
              </a:cxn>
              <a:cxn ang="0">
                <a:pos x="csX327" y="csY327"/>
              </a:cxn>
              <a:cxn ang="0">
                <a:pos x="csX328" y="csY328"/>
              </a:cxn>
              <a:cxn ang="0">
                <a:pos x="csX329" y="csY329"/>
              </a:cxn>
              <a:cxn ang="0">
                <a:pos x="csX330" y="csY330"/>
              </a:cxn>
              <a:cxn ang="0">
                <a:pos x="csX331" y="csY331"/>
              </a:cxn>
              <a:cxn ang="0">
                <a:pos x="csX332" y="csY332"/>
              </a:cxn>
              <a:cxn ang="0">
                <a:pos x="csX333" y="csY333"/>
              </a:cxn>
              <a:cxn ang="0">
                <a:pos x="csX334" y="csY334"/>
              </a:cxn>
              <a:cxn ang="0">
                <a:pos x="csX335" y="csY335"/>
              </a:cxn>
              <a:cxn ang="0">
                <a:pos x="csX336" y="csY336"/>
              </a:cxn>
              <a:cxn ang="0">
                <a:pos x="csX337" y="csY337"/>
              </a:cxn>
              <a:cxn ang="0">
                <a:pos x="csX338" y="csY338"/>
              </a:cxn>
              <a:cxn ang="0">
                <a:pos x="csX339" y="csY339"/>
              </a:cxn>
              <a:cxn ang="0">
                <a:pos x="csX340" y="csY340"/>
              </a:cxn>
              <a:cxn ang="0">
                <a:pos x="csX341" y="csY341"/>
              </a:cxn>
              <a:cxn ang="0">
                <a:pos x="csX342" y="csY342"/>
              </a:cxn>
              <a:cxn ang="0">
                <a:pos x="csX343" y="csY343"/>
              </a:cxn>
              <a:cxn ang="0">
                <a:pos x="csX344" y="csY344"/>
              </a:cxn>
              <a:cxn ang="0">
                <a:pos x="csX345" y="csY345"/>
              </a:cxn>
              <a:cxn ang="0">
                <a:pos x="csX346" y="csY346"/>
              </a:cxn>
              <a:cxn ang="0">
                <a:pos x="csX347" y="csY347"/>
              </a:cxn>
              <a:cxn ang="0">
                <a:pos x="csX348" y="csY348"/>
              </a:cxn>
              <a:cxn ang="0">
                <a:pos x="csX349" y="csY349"/>
              </a:cxn>
              <a:cxn ang="0">
                <a:pos x="csX350" y="csY350"/>
              </a:cxn>
              <a:cxn ang="0">
                <a:pos x="csX351" y="csY351"/>
              </a:cxn>
              <a:cxn ang="0">
                <a:pos x="csX352" y="csY352"/>
              </a:cxn>
              <a:cxn ang="0">
                <a:pos x="csX353" y="csY353"/>
              </a:cxn>
              <a:cxn ang="0">
                <a:pos x="csX354" y="csY354"/>
              </a:cxn>
              <a:cxn ang="0">
                <a:pos x="csX355" y="csY355"/>
              </a:cxn>
              <a:cxn ang="0">
                <a:pos x="csX356" y="csY356"/>
              </a:cxn>
              <a:cxn ang="0">
                <a:pos x="csX357" y="csY357"/>
              </a:cxn>
              <a:cxn ang="0">
                <a:pos x="csX358" y="csY358"/>
              </a:cxn>
              <a:cxn ang="0">
                <a:pos x="csX359" y="csY359"/>
              </a:cxn>
              <a:cxn ang="0">
                <a:pos x="csX360" y="csY360"/>
              </a:cxn>
              <a:cxn ang="0">
                <a:pos x="csX361" y="csY361"/>
              </a:cxn>
              <a:cxn ang="0">
                <a:pos x="csX362" y="csY362"/>
              </a:cxn>
              <a:cxn ang="0">
                <a:pos x="csX363" y="csY363"/>
              </a:cxn>
              <a:cxn ang="0">
                <a:pos x="csX364" y="csY364"/>
              </a:cxn>
              <a:cxn ang="0">
                <a:pos x="csX365" y="csY365"/>
              </a:cxn>
              <a:cxn ang="0">
                <a:pos x="csX366" y="csY366"/>
              </a:cxn>
              <a:cxn ang="0">
                <a:pos x="csX367" y="csY367"/>
              </a:cxn>
              <a:cxn ang="0">
                <a:pos x="csX368" y="csY368"/>
              </a:cxn>
              <a:cxn ang="0">
                <a:pos x="csX369" y="csY369"/>
              </a:cxn>
              <a:cxn ang="0">
                <a:pos x="csX370" y="csY370"/>
              </a:cxn>
              <a:cxn ang="0">
                <a:pos x="csX371" y="csY371"/>
              </a:cxn>
              <a:cxn ang="0">
                <a:pos x="csX372" y="csY372"/>
              </a:cxn>
              <a:cxn ang="0">
                <a:pos x="csX373" y="csY373"/>
              </a:cxn>
              <a:cxn ang="0">
                <a:pos x="csX374" y="csY374"/>
              </a:cxn>
              <a:cxn ang="0">
                <a:pos x="csX375" y="csY375"/>
              </a:cxn>
              <a:cxn ang="0">
                <a:pos x="csX376" y="csY376"/>
              </a:cxn>
              <a:cxn ang="0">
                <a:pos x="csX377" y="csY377"/>
              </a:cxn>
              <a:cxn ang="0">
                <a:pos x="csX378" y="csY378"/>
              </a:cxn>
              <a:cxn ang="0">
                <a:pos x="csX379" y="csY379"/>
              </a:cxn>
              <a:cxn ang="0">
                <a:pos x="csX380" y="csY380"/>
              </a:cxn>
              <a:cxn ang="0">
                <a:pos x="csX381" y="csY381"/>
              </a:cxn>
              <a:cxn ang="0">
                <a:pos x="csX382" y="csY382"/>
              </a:cxn>
              <a:cxn ang="0">
                <a:pos x="csX383" y="csY383"/>
              </a:cxn>
              <a:cxn ang="0">
                <a:pos x="csX384" y="csY384"/>
              </a:cxn>
              <a:cxn ang="0">
                <a:pos x="csX385" y="csY385"/>
              </a:cxn>
              <a:cxn ang="0">
                <a:pos x="csX386" y="csY386"/>
              </a:cxn>
              <a:cxn ang="0">
                <a:pos x="csX387" y="csY387"/>
              </a:cxn>
              <a:cxn ang="0">
                <a:pos x="csX388" y="csY388"/>
              </a:cxn>
              <a:cxn ang="0">
                <a:pos x="csX389" y="csY389"/>
              </a:cxn>
              <a:cxn ang="0">
                <a:pos x="csX390" y="csY390"/>
              </a:cxn>
              <a:cxn ang="0">
                <a:pos x="csX391" y="csY391"/>
              </a:cxn>
              <a:cxn ang="0">
                <a:pos x="csX392" y="csY392"/>
              </a:cxn>
              <a:cxn ang="0">
                <a:pos x="csX393" y="csY393"/>
              </a:cxn>
              <a:cxn ang="0">
                <a:pos x="csX394" y="csY394"/>
              </a:cxn>
              <a:cxn ang="0">
                <a:pos x="csX395" y="csY395"/>
              </a:cxn>
              <a:cxn ang="0">
                <a:pos x="csX396" y="csY396"/>
              </a:cxn>
              <a:cxn ang="0">
                <a:pos x="csX397" y="csY397"/>
              </a:cxn>
              <a:cxn ang="0">
                <a:pos x="csX398" y="csY398"/>
              </a:cxn>
              <a:cxn ang="0">
                <a:pos x="csX399" y="csY399"/>
              </a:cxn>
              <a:cxn ang="0">
                <a:pos x="csX400" y="csY400"/>
              </a:cxn>
              <a:cxn ang="0">
                <a:pos x="csX401" y="csY401"/>
              </a:cxn>
              <a:cxn ang="0">
                <a:pos x="csX402" y="csY402"/>
              </a:cxn>
              <a:cxn ang="0">
                <a:pos x="csX403" y="csY403"/>
              </a:cxn>
              <a:cxn ang="0">
                <a:pos x="csX404" y="csY404"/>
              </a:cxn>
              <a:cxn ang="0">
                <a:pos x="csX405" y="csY405"/>
              </a:cxn>
              <a:cxn ang="0">
                <a:pos x="csX406" y="csY406"/>
              </a:cxn>
              <a:cxn ang="0">
                <a:pos x="csX407" y="csY407"/>
              </a:cxn>
              <a:cxn ang="0">
                <a:pos x="csX408" y="csY408"/>
              </a:cxn>
              <a:cxn ang="0">
                <a:pos x="csX409" y="csY409"/>
              </a:cxn>
              <a:cxn ang="0">
                <a:pos x="csX410" y="csY410"/>
              </a:cxn>
              <a:cxn ang="0">
                <a:pos x="csX411" y="csY411"/>
              </a:cxn>
              <a:cxn ang="0">
                <a:pos x="csX412" y="csY412"/>
              </a:cxn>
              <a:cxn ang="0">
                <a:pos x="csX413" y="csY413"/>
              </a:cxn>
              <a:cxn ang="0">
                <a:pos x="csX414" y="csY414"/>
              </a:cxn>
              <a:cxn ang="0">
                <a:pos x="csX415" y="csY415"/>
              </a:cxn>
              <a:cxn ang="0">
                <a:pos x="csX416" y="csY416"/>
              </a:cxn>
              <a:cxn ang="0">
                <a:pos x="csX417" y="csY417"/>
              </a:cxn>
              <a:cxn ang="0">
                <a:pos x="csX418" y="csY418"/>
              </a:cxn>
              <a:cxn ang="0">
                <a:pos x="csX419" y="csY419"/>
              </a:cxn>
              <a:cxn ang="0">
                <a:pos x="csX420" y="csY420"/>
              </a:cxn>
              <a:cxn ang="0">
                <a:pos x="csX421" y="csY421"/>
              </a:cxn>
              <a:cxn ang="0">
                <a:pos x="csX422" y="csY422"/>
              </a:cxn>
              <a:cxn ang="0">
                <a:pos x="csX423" y="csY423"/>
              </a:cxn>
              <a:cxn ang="0">
                <a:pos x="csX424" y="csY424"/>
              </a:cxn>
              <a:cxn ang="0">
                <a:pos x="csX425" y="csY425"/>
              </a:cxn>
              <a:cxn ang="0">
                <a:pos x="csX426" y="csY426"/>
              </a:cxn>
              <a:cxn ang="0">
                <a:pos x="csX427" y="csY427"/>
              </a:cxn>
              <a:cxn ang="0">
                <a:pos x="csX428" y="csY428"/>
              </a:cxn>
              <a:cxn ang="0">
                <a:pos x="csX429" y="csY429"/>
              </a:cxn>
              <a:cxn ang="0">
                <a:pos x="csX430" y="csY430"/>
              </a:cxn>
              <a:cxn ang="0">
                <a:pos x="csX431" y="csY431"/>
              </a:cxn>
              <a:cxn ang="0">
                <a:pos x="csX432" y="csY432"/>
              </a:cxn>
              <a:cxn ang="0">
                <a:pos x="csX433" y="csY433"/>
              </a:cxn>
              <a:cxn ang="0">
                <a:pos x="csX434" y="csY434"/>
              </a:cxn>
              <a:cxn ang="0">
                <a:pos x="csX435" y="csY435"/>
              </a:cxn>
              <a:cxn ang="0">
                <a:pos x="csX436" y="csY436"/>
              </a:cxn>
              <a:cxn ang="0">
                <a:pos x="csX437" y="csY437"/>
              </a:cxn>
              <a:cxn ang="0">
                <a:pos x="csX438" y="csY438"/>
              </a:cxn>
              <a:cxn ang="0">
                <a:pos x="csX439" y="csY439"/>
              </a:cxn>
              <a:cxn ang="0">
                <a:pos x="csX440" y="csY440"/>
              </a:cxn>
              <a:cxn ang="0">
                <a:pos x="csX441" y="csY441"/>
              </a:cxn>
              <a:cxn ang="0">
                <a:pos x="csX442" y="csY442"/>
              </a:cxn>
              <a:cxn ang="0">
                <a:pos x="csX443" y="csY443"/>
              </a:cxn>
              <a:cxn ang="0">
                <a:pos x="csX444" y="csY444"/>
              </a:cxn>
              <a:cxn ang="0">
                <a:pos x="csX445" y="csY445"/>
              </a:cxn>
              <a:cxn ang="0">
                <a:pos x="csX446" y="csY446"/>
              </a:cxn>
              <a:cxn ang="0">
                <a:pos x="csX447" y="csY447"/>
              </a:cxn>
              <a:cxn ang="0">
                <a:pos x="csX448" y="csY448"/>
              </a:cxn>
              <a:cxn ang="0">
                <a:pos x="csX449" y="csY449"/>
              </a:cxn>
              <a:cxn ang="0">
                <a:pos x="csX450" y="csY450"/>
              </a:cxn>
              <a:cxn ang="0">
                <a:pos x="csX451" y="csY451"/>
              </a:cxn>
              <a:cxn ang="0">
                <a:pos x="csX452" y="csY452"/>
              </a:cxn>
              <a:cxn ang="0">
                <a:pos x="csX453" y="csY453"/>
              </a:cxn>
              <a:cxn ang="0">
                <a:pos x="csX454" y="csY454"/>
              </a:cxn>
              <a:cxn ang="0">
                <a:pos x="csX455" y="csY455"/>
              </a:cxn>
              <a:cxn ang="0">
                <a:pos x="csX456" y="csY456"/>
              </a:cxn>
              <a:cxn ang="0">
                <a:pos x="csX457" y="csY457"/>
              </a:cxn>
              <a:cxn ang="0">
                <a:pos x="csX458" y="csY458"/>
              </a:cxn>
              <a:cxn ang="0">
                <a:pos x="csX459" y="csY459"/>
              </a:cxn>
              <a:cxn ang="0">
                <a:pos x="csX460" y="csY460"/>
              </a:cxn>
              <a:cxn ang="0">
                <a:pos x="csX461" y="csY461"/>
              </a:cxn>
              <a:cxn ang="0">
                <a:pos x="csX462" y="csY462"/>
              </a:cxn>
              <a:cxn ang="0">
                <a:pos x="csX463" y="csY463"/>
              </a:cxn>
              <a:cxn ang="0">
                <a:pos x="csX464" y="csY464"/>
              </a:cxn>
              <a:cxn ang="0">
                <a:pos x="csX465" y="csY465"/>
              </a:cxn>
              <a:cxn ang="0">
                <a:pos x="csX466" y="csY466"/>
              </a:cxn>
              <a:cxn ang="0">
                <a:pos x="csX467" y="csY467"/>
              </a:cxn>
              <a:cxn ang="0">
                <a:pos x="csX468" y="csY468"/>
              </a:cxn>
              <a:cxn ang="0">
                <a:pos x="csX469" y="csY469"/>
              </a:cxn>
              <a:cxn ang="0">
                <a:pos x="csX470" y="csY470"/>
              </a:cxn>
              <a:cxn ang="0">
                <a:pos x="csX471" y="csY471"/>
              </a:cxn>
              <a:cxn ang="0">
                <a:pos x="csX472" y="csY472"/>
              </a:cxn>
              <a:cxn ang="0">
                <a:pos x="csX473" y="csY473"/>
              </a:cxn>
              <a:cxn ang="0">
                <a:pos x="csX474" y="csY474"/>
              </a:cxn>
              <a:cxn ang="0">
                <a:pos x="csX475" y="csY475"/>
              </a:cxn>
              <a:cxn ang="0">
                <a:pos x="csX476" y="csY476"/>
              </a:cxn>
              <a:cxn ang="0">
                <a:pos x="csX477" y="csY477"/>
              </a:cxn>
              <a:cxn ang="0">
                <a:pos x="csX478" y="csY478"/>
              </a:cxn>
              <a:cxn ang="0">
                <a:pos x="csX479" y="csY479"/>
              </a:cxn>
              <a:cxn ang="0">
                <a:pos x="csX480" y="csY480"/>
              </a:cxn>
              <a:cxn ang="0">
                <a:pos x="csX481" y="csY481"/>
              </a:cxn>
              <a:cxn ang="0">
                <a:pos x="csX482" y="csY482"/>
              </a:cxn>
              <a:cxn ang="0">
                <a:pos x="csX483" y="csY483"/>
              </a:cxn>
              <a:cxn ang="0">
                <a:pos x="csX484" y="csY484"/>
              </a:cxn>
              <a:cxn ang="0">
                <a:pos x="csX485" y="csY485"/>
              </a:cxn>
              <a:cxn ang="0">
                <a:pos x="csX486" y="csY486"/>
              </a:cxn>
              <a:cxn ang="0">
                <a:pos x="csX487" y="csY487"/>
              </a:cxn>
              <a:cxn ang="0">
                <a:pos x="csX488" y="csY488"/>
              </a:cxn>
              <a:cxn ang="0">
                <a:pos x="csX489" y="csY489"/>
              </a:cxn>
              <a:cxn ang="0">
                <a:pos x="csX490" y="csY490"/>
              </a:cxn>
              <a:cxn ang="0">
                <a:pos x="csX491" y="csY491"/>
              </a:cxn>
              <a:cxn ang="0">
                <a:pos x="csX492" y="csY492"/>
              </a:cxn>
              <a:cxn ang="0">
                <a:pos x="csX493" y="csY493"/>
              </a:cxn>
              <a:cxn ang="0">
                <a:pos x="csX494" y="csY494"/>
              </a:cxn>
              <a:cxn ang="0">
                <a:pos x="csX495" y="csY495"/>
              </a:cxn>
              <a:cxn ang="0">
                <a:pos x="csX496" y="csY496"/>
              </a:cxn>
              <a:cxn ang="0">
                <a:pos x="csX497" y="csY497"/>
              </a:cxn>
              <a:cxn ang="0">
                <a:pos x="csX498" y="csY498"/>
              </a:cxn>
              <a:cxn ang="0">
                <a:pos x="csX499" y="csY499"/>
              </a:cxn>
              <a:cxn ang="0">
                <a:pos x="csX500" y="csY500"/>
              </a:cxn>
              <a:cxn ang="0">
                <a:pos x="csX501" y="csY501"/>
              </a:cxn>
              <a:cxn ang="0">
                <a:pos x="csX502" y="csY502"/>
              </a:cxn>
              <a:cxn ang="0">
                <a:pos x="csX503" y="csY503"/>
              </a:cxn>
              <a:cxn ang="0">
                <a:pos x="csX504" y="csY504"/>
              </a:cxn>
              <a:cxn ang="0">
                <a:pos x="csX505" y="csY505"/>
              </a:cxn>
              <a:cxn ang="0">
                <a:pos x="csX506" y="csY506"/>
              </a:cxn>
              <a:cxn ang="0">
                <a:pos x="csX507" y="csY507"/>
              </a:cxn>
              <a:cxn ang="0">
                <a:pos x="csX508" y="csY508"/>
              </a:cxn>
              <a:cxn ang="0">
                <a:pos x="csX509" y="csY509"/>
              </a:cxn>
              <a:cxn ang="0">
                <a:pos x="csX510" y="csY510"/>
              </a:cxn>
              <a:cxn ang="0">
                <a:pos x="csX511" y="csY511"/>
              </a:cxn>
              <a:cxn ang="0">
                <a:pos x="csX512" y="csY512"/>
              </a:cxn>
              <a:cxn ang="0">
                <a:pos x="csX513" y="csY513"/>
              </a:cxn>
              <a:cxn ang="0">
                <a:pos x="csX514" y="csY514"/>
              </a:cxn>
              <a:cxn ang="0">
                <a:pos x="csX515" y="csY515"/>
              </a:cxn>
              <a:cxn ang="0">
                <a:pos x="csX516" y="csY516"/>
              </a:cxn>
              <a:cxn ang="0">
                <a:pos x="csX517" y="csY517"/>
              </a:cxn>
              <a:cxn ang="0">
                <a:pos x="csX518" y="csY518"/>
              </a:cxn>
              <a:cxn ang="0">
                <a:pos x="csX519" y="csY519"/>
              </a:cxn>
              <a:cxn ang="0">
                <a:pos x="csX520" y="csY520"/>
              </a:cxn>
              <a:cxn ang="0">
                <a:pos x="csX521" y="csY521"/>
              </a:cxn>
              <a:cxn ang="0">
                <a:pos x="csX522" y="csY522"/>
              </a:cxn>
              <a:cxn ang="0">
                <a:pos x="csX523" y="csY523"/>
              </a:cxn>
              <a:cxn ang="0">
                <a:pos x="csX524" y="csY524"/>
              </a:cxn>
              <a:cxn ang="0">
                <a:pos x="csX525" y="csY525"/>
              </a:cxn>
              <a:cxn ang="0">
                <a:pos x="csX526" y="csY526"/>
              </a:cxn>
              <a:cxn ang="0">
                <a:pos x="csX527" y="csY527"/>
              </a:cxn>
              <a:cxn ang="0">
                <a:pos x="csX528" y="csY528"/>
              </a:cxn>
              <a:cxn ang="0">
                <a:pos x="csX529" y="csY529"/>
              </a:cxn>
              <a:cxn ang="0">
                <a:pos x="csX530" y="csY530"/>
              </a:cxn>
              <a:cxn ang="0">
                <a:pos x="csX531" y="csY531"/>
              </a:cxn>
              <a:cxn ang="0">
                <a:pos x="csX532" y="csY532"/>
              </a:cxn>
              <a:cxn ang="0">
                <a:pos x="csX533" y="csY533"/>
              </a:cxn>
              <a:cxn ang="0">
                <a:pos x="csX534" y="csY534"/>
              </a:cxn>
              <a:cxn ang="0">
                <a:pos x="csX535" y="csY535"/>
              </a:cxn>
              <a:cxn ang="0">
                <a:pos x="csX536" y="csY536"/>
              </a:cxn>
              <a:cxn ang="0">
                <a:pos x="csX537" y="csY537"/>
              </a:cxn>
              <a:cxn ang="0">
                <a:pos x="csX538" y="csY538"/>
              </a:cxn>
              <a:cxn ang="0">
                <a:pos x="csX539" y="csY539"/>
              </a:cxn>
              <a:cxn ang="0">
                <a:pos x="csX540" y="csY540"/>
              </a:cxn>
              <a:cxn ang="0">
                <a:pos x="csX541" y="csY541"/>
              </a:cxn>
              <a:cxn ang="0">
                <a:pos x="csX542" y="csY542"/>
              </a:cxn>
              <a:cxn ang="0">
                <a:pos x="csX543" y="csY543"/>
              </a:cxn>
              <a:cxn ang="0">
                <a:pos x="csX544" y="csY544"/>
              </a:cxn>
              <a:cxn ang="0">
                <a:pos x="csX545" y="csY545"/>
              </a:cxn>
              <a:cxn ang="0">
                <a:pos x="csX546" y="csY546"/>
              </a:cxn>
              <a:cxn ang="0">
                <a:pos x="csX547" y="csY547"/>
              </a:cxn>
              <a:cxn ang="0">
                <a:pos x="csX548" y="csY548"/>
              </a:cxn>
              <a:cxn ang="0">
                <a:pos x="csX549" y="csY549"/>
              </a:cxn>
              <a:cxn ang="0">
                <a:pos x="csX550" y="csY550"/>
              </a:cxn>
              <a:cxn ang="0">
                <a:pos x="csX551" y="csY551"/>
              </a:cxn>
              <a:cxn ang="0">
                <a:pos x="csX552" y="csY552"/>
              </a:cxn>
              <a:cxn ang="0">
                <a:pos x="csX553" y="csY553"/>
              </a:cxn>
              <a:cxn ang="0">
                <a:pos x="csX554" y="csY554"/>
              </a:cxn>
              <a:cxn ang="0">
                <a:pos x="csX555" y="csY555"/>
              </a:cxn>
              <a:cxn ang="0">
                <a:pos x="csX556" y="csY556"/>
              </a:cxn>
              <a:cxn ang="0">
                <a:pos x="csX557" y="csY557"/>
              </a:cxn>
              <a:cxn ang="0">
                <a:pos x="csX558" y="csY558"/>
              </a:cxn>
              <a:cxn ang="0">
                <a:pos x="csX559" y="csY559"/>
              </a:cxn>
              <a:cxn ang="0">
                <a:pos x="csX560" y="csY560"/>
              </a:cxn>
              <a:cxn ang="0">
                <a:pos x="csX561" y="csY561"/>
              </a:cxn>
              <a:cxn ang="0">
                <a:pos x="csX562" y="csY562"/>
              </a:cxn>
              <a:cxn ang="0">
                <a:pos x="csX563" y="csY563"/>
              </a:cxn>
              <a:cxn ang="0">
                <a:pos x="csX564" y="csY564"/>
              </a:cxn>
              <a:cxn ang="0">
                <a:pos x="csX565" y="csY565"/>
              </a:cxn>
              <a:cxn ang="0">
                <a:pos x="csX566" y="csY566"/>
              </a:cxn>
              <a:cxn ang="0">
                <a:pos x="csX567" y="csY567"/>
              </a:cxn>
              <a:cxn ang="0">
                <a:pos x="csX568" y="csY568"/>
              </a:cxn>
              <a:cxn ang="0">
                <a:pos x="csX569" y="csY569"/>
              </a:cxn>
              <a:cxn ang="0">
                <a:pos x="csX570" y="csY570"/>
              </a:cxn>
              <a:cxn ang="0">
                <a:pos x="csX571" y="csY571"/>
              </a:cxn>
              <a:cxn ang="0">
                <a:pos x="csX572" y="csY572"/>
              </a:cxn>
              <a:cxn ang="0">
                <a:pos x="csX573" y="csY573"/>
              </a:cxn>
              <a:cxn ang="0">
                <a:pos x="csX574" y="csY574"/>
              </a:cxn>
              <a:cxn ang="0">
                <a:pos x="csX575" y="csY575"/>
              </a:cxn>
              <a:cxn ang="0">
                <a:pos x="csX576" y="csY576"/>
              </a:cxn>
              <a:cxn ang="0">
                <a:pos x="csX577" y="csY577"/>
              </a:cxn>
              <a:cxn ang="0">
                <a:pos x="csX578" y="csY578"/>
              </a:cxn>
              <a:cxn ang="0">
                <a:pos x="csX579" y="csY579"/>
              </a:cxn>
              <a:cxn ang="0">
                <a:pos x="csX580" y="csY580"/>
              </a:cxn>
              <a:cxn ang="0">
                <a:pos x="csX581" y="csY581"/>
              </a:cxn>
              <a:cxn ang="0">
                <a:pos x="csX582" y="csY582"/>
              </a:cxn>
              <a:cxn ang="0">
                <a:pos x="csX583" y="csY583"/>
              </a:cxn>
              <a:cxn ang="0">
                <a:pos x="csX584" y="csY584"/>
              </a:cxn>
              <a:cxn ang="0">
                <a:pos x="csX585" y="csY585"/>
              </a:cxn>
              <a:cxn ang="0">
                <a:pos x="csX586" y="csY586"/>
              </a:cxn>
              <a:cxn ang="0">
                <a:pos x="csX587" y="csY587"/>
              </a:cxn>
              <a:cxn ang="0">
                <a:pos x="csX588" y="csY588"/>
              </a:cxn>
              <a:cxn ang="0">
                <a:pos x="csX589" y="csY589"/>
              </a:cxn>
              <a:cxn ang="0">
                <a:pos x="csX590" y="csY590"/>
              </a:cxn>
              <a:cxn ang="0">
                <a:pos x="csX591" y="csY591"/>
              </a:cxn>
              <a:cxn ang="0">
                <a:pos x="csX592" y="csY592"/>
              </a:cxn>
              <a:cxn ang="0">
                <a:pos x="csX593" y="csY593"/>
              </a:cxn>
              <a:cxn ang="0">
                <a:pos x="csX594" y="csY594"/>
              </a:cxn>
              <a:cxn ang="0">
                <a:pos x="csX595" y="csY595"/>
              </a:cxn>
              <a:cxn ang="0">
                <a:pos x="csX596" y="csY596"/>
              </a:cxn>
              <a:cxn ang="0">
                <a:pos x="csX597" y="csY597"/>
              </a:cxn>
              <a:cxn ang="0">
                <a:pos x="csX598" y="csY598"/>
              </a:cxn>
              <a:cxn ang="0">
                <a:pos x="csX599" y="csY599"/>
              </a:cxn>
              <a:cxn ang="0">
                <a:pos x="csX600" y="csY600"/>
              </a:cxn>
              <a:cxn ang="0">
                <a:pos x="csX601" y="csY601"/>
              </a:cxn>
              <a:cxn ang="0">
                <a:pos x="csX602" y="csY602"/>
              </a:cxn>
              <a:cxn ang="0">
                <a:pos x="csX603" y="csY603"/>
              </a:cxn>
              <a:cxn ang="0">
                <a:pos x="csX604" y="csY604"/>
              </a:cxn>
              <a:cxn ang="0">
                <a:pos x="csX605" y="csY605"/>
              </a:cxn>
              <a:cxn ang="0">
                <a:pos x="csX606" y="csY606"/>
              </a:cxn>
              <a:cxn ang="0">
                <a:pos x="csX607" y="csY607"/>
              </a:cxn>
              <a:cxn ang="0">
                <a:pos x="csX608" y="csY608"/>
              </a:cxn>
              <a:cxn ang="0">
                <a:pos x="csX609" y="csY609"/>
              </a:cxn>
              <a:cxn ang="0">
                <a:pos x="csX610" y="csY610"/>
              </a:cxn>
              <a:cxn ang="0">
                <a:pos x="csX611" y="csY611"/>
              </a:cxn>
              <a:cxn ang="0">
                <a:pos x="csX612" y="csY612"/>
              </a:cxn>
              <a:cxn ang="0">
                <a:pos x="csX613" y="csY613"/>
              </a:cxn>
              <a:cxn ang="0">
                <a:pos x="csX614" y="csY614"/>
              </a:cxn>
              <a:cxn ang="0">
                <a:pos x="csX615" y="csY615"/>
              </a:cxn>
              <a:cxn ang="0">
                <a:pos x="csX616" y="csY616"/>
              </a:cxn>
              <a:cxn ang="0">
                <a:pos x="csX617" y="csY617"/>
              </a:cxn>
              <a:cxn ang="0">
                <a:pos x="csX618" y="csY618"/>
              </a:cxn>
              <a:cxn ang="0">
                <a:pos x="csX619" y="csY619"/>
              </a:cxn>
              <a:cxn ang="0">
                <a:pos x="csX620" y="csY620"/>
              </a:cxn>
              <a:cxn ang="0">
                <a:pos x="csX621" y="csY621"/>
              </a:cxn>
              <a:cxn ang="0">
                <a:pos x="csX622" y="csY622"/>
              </a:cxn>
              <a:cxn ang="0">
                <a:pos x="csX623" y="csY623"/>
              </a:cxn>
              <a:cxn ang="0">
                <a:pos x="csX624" y="csY624"/>
              </a:cxn>
              <a:cxn ang="0">
                <a:pos x="csX625" y="csY625"/>
              </a:cxn>
              <a:cxn ang="0">
                <a:pos x="csX626" y="csY626"/>
              </a:cxn>
              <a:cxn ang="0">
                <a:pos x="csX627" y="csY627"/>
              </a:cxn>
              <a:cxn ang="0">
                <a:pos x="csX628" y="csY628"/>
              </a:cxn>
              <a:cxn ang="0">
                <a:pos x="csX629" y="csY629"/>
              </a:cxn>
              <a:cxn ang="0">
                <a:pos x="csX630" y="csY630"/>
              </a:cxn>
              <a:cxn ang="0">
                <a:pos x="csX631" y="csY631"/>
              </a:cxn>
              <a:cxn ang="0">
                <a:pos x="csX632" y="csY632"/>
              </a:cxn>
              <a:cxn ang="0">
                <a:pos x="csX633" y="csY633"/>
              </a:cxn>
              <a:cxn ang="0">
                <a:pos x="csX634" y="csY634"/>
              </a:cxn>
              <a:cxn ang="0">
                <a:pos x="csX635" y="csY635"/>
              </a:cxn>
              <a:cxn ang="0">
                <a:pos x="csX636" y="csY636"/>
              </a:cxn>
              <a:cxn ang="0">
                <a:pos x="csX637" y="csY637"/>
              </a:cxn>
              <a:cxn ang="0">
                <a:pos x="csX638" y="csY638"/>
              </a:cxn>
              <a:cxn ang="0">
                <a:pos x="csX639" y="csY639"/>
              </a:cxn>
              <a:cxn ang="0">
                <a:pos x="csX640" y="csY640"/>
              </a:cxn>
              <a:cxn ang="0">
                <a:pos x="csX641" y="csY641"/>
              </a:cxn>
              <a:cxn ang="0">
                <a:pos x="csX642" y="csY642"/>
              </a:cxn>
              <a:cxn ang="0">
                <a:pos x="csX643" y="csY643"/>
              </a:cxn>
              <a:cxn ang="0">
                <a:pos x="csX644" y="csY644"/>
              </a:cxn>
              <a:cxn ang="0">
                <a:pos x="csX645" y="csY645"/>
              </a:cxn>
              <a:cxn ang="0">
                <a:pos x="csX646" y="csY646"/>
              </a:cxn>
              <a:cxn ang="0">
                <a:pos x="csX647" y="csY647"/>
              </a:cxn>
              <a:cxn ang="0">
                <a:pos x="csX648" y="csY648"/>
              </a:cxn>
              <a:cxn ang="0">
                <a:pos x="csX649" y="csY649"/>
              </a:cxn>
              <a:cxn ang="0">
                <a:pos x="csX650" y="csY650"/>
              </a:cxn>
              <a:cxn ang="0">
                <a:pos x="csX651" y="csY651"/>
              </a:cxn>
              <a:cxn ang="0">
                <a:pos x="csX652" y="csY652"/>
              </a:cxn>
              <a:cxn ang="0">
                <a:pos x="csX653" y="csY653"/>
              </a:cxn>
              <a:cxn ang="0">
                <a:pos x="csX654" y="csY654"/>
              </a:cxn>
              <a:cxn ang="0">
                <a:pos x="csX655" y="csY655"/>
              </a:cxn>
              <a:cxn ang="0">
                <a:pos x="csX656" y="csY656"/>
              </a:cxn>
              <a:cxn ang="0">
                <a:pos x="csX657" y="csY657"/>
              </a:cxn>
              <a:cxn ang="0">
                <a:pos x="csX658" y="csY658"/>
              </a:cxn>
              <a:cxn ang="0">
                <a:pos x="csX659" y="csY659"/>
              </a:cxn>
              <a:cxn ang="0">
                <a:pos x="csX660" y="csY660"/>
              </a:cxn>
              <a:cxn ang="0">
                <a:pos x="csX661" y="csY661"/>
              </a:cxn>
              <a:cxn ang="0">
                <a:pos x="csX662" y="csY662"/>
              </a:cxn>
              <a:cxn ang="0">
                <a:pos x="csX663" y="csY663"/>
              </a:cxn>
              <a:cxn ang="0">
                <a:pos x="csX664" y="csY664"/>
              </a:cxn>
              <a:cxn ang="0">
                <a:pos x="csX665" y="csY665"/>
              </a:cxn>
              <a:cxn ang="0">
                <a:pos x="csX666" y="csY666"/>
              </a:cxn>
              <a:cxn ang="0">
                <a:pos x="csX667" y="csY667"/>
              </a:cxn>
              <a:cxn ang="0">
                <a:pos x="csX668" y="csY668"/>
              </a:cxn>
              <a:cxn ang="0">
                <a:pos x="csX669" y="csY669"/>
              </a:cxn>
              <a:cxn ang="0">
                <a:pos x="csX670" y="csY670"/>
              </a:cxn>
              <a:cxn ang="0">
                <a:pos x="csX671" y="csY671"/>
              </a:cxn>
              <a:cxn ang="0">
                <a:pos x="csX672" y="csY672"/>
              </a:cxn>
              <a:cxn ang="0">
                <a:pos x="csX673" y="csY673"/>
              </a:cxn>
              <a:cxn ang="0">
                <a:pos x="csX674" y="csY674"/>
              </a:cxn>
              <a:cxn ang="0">
                <a:pos x="csX675" y="csY675"/>
              </a:cxn>
              <a:cxn ang="0">
                <a:pos x="csX676" y="csY676"/>
              </a:cxn>
              <a:cxn ang="0">
                <a:pos x="csX677" y="csY677"/>
              </a:cxn>
              <a:cxn ang="0">
                <a:pos x="csX678" y="csY678"/>
              </a:cxn>
              <a:cxn ang="0">
                <a:pos x="csX679" y="csY679"/>
              </a:cxn>
              <a:cxn ang="0">
                <a:pos x="csX680" y="csY680"/>
              </a:cxn>
              <a:cxn ang="0">
                <a:pos x="csX681" y="csY681"/>
              </a:cxn>
              <a:cxn ang="0">
                <a:pos x="csX682" y="csY682"/>
              </a:cxn>
              <a:cxn ang="0">
                <a:pos x="csX683" y="csY683"/>
              </a:cxn>
              <a:cxn ang="0">
                <a:pos x="csX684" y="csY684"/>
              </a:cxn>
              <a:cxn ang="0">
                <a:pos x="csX685" y="csY685"/>
              </a:cxn>
              <a:cxn ang="0">
                <a:pos x="csX686" y="csY686"/>
              </a:cxn>
              <a:cxn ang="0">
                <a:pos x="csX687" y="csY687"/>
              </a:cxn>
              <a:cxn ang="0">
                <a:pos x="csX688" y="csY688"/>
              </a:cxn>
              <a:cxn ang="0">
                <a:pos x="csX689" y="csY689"/>
              </a:cxn>
              <a:cxn ang="0">
                <a:pos x="csX690" y="csY690"/>
              </a:cxn>
              <a:cxn ang="0">
                <a:pos x="csX691" y="csY691"/>
              </a:cxn>
              <a:cxn ang="0">
                <a:pos x="csX692" y="csY692"/>
              </a:cxn>
              <a:cxn ang="0">
                <a:pos x="csX693" y="csY693"/>
              </a:cxn>
              <a:cxn ang="0">
                <a:pos x="csX694" y="csY694"/>
              </a:cxn>
              <a:cxn ang="0">
                <a:pos x="csX695" y="csY695"/>
              </a:cxn>
              <a:cxn ang="0">
                <a:pos x="csX696" y="csY696"/>
              </a:cxn>
              <a:cxn ang="0">
                <a:pos x="csX697" y="csY697"/>
              </a:cxn>
              <a:cxn ang="0">
                <a:pos x="csX698" y="csY698"/>
              </a:cxn>
              <a:cxn ang="0">
                <a:pos x="csX699" y="csY699"/>
              </a:cxn>
              <a:cxn ang="0">
                <a:pos x="csX700" y="csY700"/>
              </a:cxn>
              <a:cxn ang="0">
                <a:pos x="csX701" y="csY701"/>
              </a:cxn>
              <a:cxn ang="0">
                <a:pos x="csX702" y="csY702"/>
              </a:cxn>
              <a:cxn ang="0">
                <a:pos x="csX703" y="csY703"/>
              </a:cxn>
              <a:cxn ang="0">
                <a:pos x="csX704" y="csY704"/>
              </a:cxn>
              <a:cxn ang="0">
                <a:pos x="csX705" y="csY705"/>
              </a:cxn>
              <a:cxn ang="0">
                <a:pos x="csX706" y="csY706"/>
              </a:cxn>
              <a:cxn ang="0">
                <a:pos x="csX707" y="csY707"/>
              </a:cxn>
              <a:cxn ang="0">
                <a:pos x="csX708" y="csY708"/>
              </a:cxn>
              <a:cxn ang="0">
                <a:pos x="csX709" y="csY709"/>
              </a:cxn>
              <a:cxn ang="0">
                <a:pos x="csX710" y="csY710"/>
              </a:cxn>
              <a:cxn ang="0">
                <a:pos x="csX711" y="csY711"/>
              </a:cxn>
              <a:cxn ang="0">
                <a:pos x="csX712" y="csY712"/>
              </a:cxn>
              <a:cxn ang="0">
                <a:pos x="csX713" y="csY713"/>
              </a:cxn>
              <a:cxn ang="0">
                <a:pos x="csX714" y="csY714"/>
              </a:cxn>
              <a:cxn ang="0">
                <a:pos x="csX715" y="csY715"/>
              </a:cxn>
              <a:cxn ang="0">
                <a:pos x="csX716" y="csY716"/>
              </a:cxn>
              <a:cxn ang="0">
                <a:pos x="csX717" y="csY717"/>
              </a:cxn>
              <a:cxn ang="0">
                <a:pos x="csX718" y="csY718"/>
              </a:cxn>
              <a:cxn ang="0">
                <a:pos x="csX719" y="csY719"/>
              </a:cxn>
              <a:cxn ang="0">
                <a:pos x="csX720" y="csY720"/>
              </a:cxn>
              <a:cxn ang="0">
                <a:pos x="csX721" y="csY721"/>
              </a:cxn>
              <a:cxn ang="0">
                <a:pos x="csX722" y="csY722"/>
              </a:cxn>
              <a:cxn ang="0">
                <a:pos x="csX723" y="csY723"/>
              </a:cxn>
              <a:cxn ang="0">
                <a:pos x="csX724" y="csY724"/>
              </a:cxn>
              <a:cxn ang="0">
                <a:pos x="csX725" y="csY725"/>
              </a:cxn>
              <a:cxn ang="0">
                <a:pos x="csX726" y="csY726"/>
              </a:cxn>
              <a:cxn ang="0">
                <a:pos x="csX727" y="csY727"/>
              </a:cxn>
              <a:cxn ang="0">
                <a:pos x="csX728" y="csY728"/>
              </a:cxn>
              <a:cxn ang="0">
                <a:pos x="csX729" y="csY729"/>
              </a:cxn>
              <a:cxn ang="0">
                <a:pos x="csX730" y="csY730"/>
              </a:cxn>
              <a:cxn ang="0">
                <a:pos x="csX731" y="csY731"/>
              </a:cxn>
              <a:cxn ang="0">
                <a:pos x="csX732" y="csY732"/>
              </a:cxn>
              <a:cxn ang="0">
                <a:pos x="csX733" y="csY733"/>
              </a:cxn>
              <a:cxn ang="0">
                <a:pos x="csX734" y="csY734"/>
              </a:cxn>
              <a:cxn ang="0">
                <a:pos x="csX735" y="csY735"/>
              </a:cxn>
              <a:cxn ang="0">
                <a:pos x="csX736" y="csY736"/>
              </a:cxn>
              <a:cxn ang="0">
                <a:pos x="csX737" y="csY737"/>
              </a:cxn>
              <a:cxn ang="0">
                <a:pos x="csX738" y="csY738"/>
              </a:cxn>
              <a:cxn ang="0">
                <a:pos x="csX739" y="csY739"/>
              </a:cxn>
              <a:cxn ang="0">
                <a:pos x="csX740" y="csY740"/>
              </a:cxn>
              <a:cxn ang="0">
                <a:pos x="csX741" y="csY741"/>
              </a:cxn>
              <a:cxn ang="0">
                <a:pos x="csX742" y="csY742"/>
              </a:cxn>
              <a:cxn ang="0">
                <a:pos x="csX743" y="csY743"/>
              </a:cxn>
              <a:cxn ang="0">
                <a:pos x="csX744" y="csY744"/>
              </a:cxn>
              <a:cxn ang="0">
                <a:pos x="csX745" y="csY745"/>
              </a:cxn>
              <a:cxn ang="0">
                <a:pos x="csX746" y="csY746"/>
              </a:cxn>
              <a:cxn ang="0">
                <a:pos x="csX747" y="csY747"/>
              </a:cxn>
              <a:cxn ang="0">
                <a:pos x="csX748" y="csY748"/>
              </a:cxn>
              <a:cxn ang="0">
                <a:pos x="csX749" y="csY749"/>
              </a:cxn>
              <a:cxn ang="0">
                <a:pos x="csX750" y="csY750"/>
              </a:cxn>
              <a:cxn ang="0">
                <a:pos x="csX751" y="csY751"/>
              </a:cxn>
              <a:cxn ang="0">
                <a:pos x="csX752" y="csY752"/>
              </a:cxn>
              <a:cxn ang="0">
                <a:pos x="csX753" y="csY753"/>
              </a:cxn>
              <a:cxn ang="0">
                <a:pos x="csX754" y="csY754"/>
              </a:cxn>
              <a:cxn ang="0">
                <a:pos x="csX755" y="csY755"/>
              </a:cxn>
              <a:cxn ang="0">
                <a:pos x="csX756" y="csY756"/>
              </a:cxn>
              <a:cxn ang="0">
                <a:pos x="csX757" y="csY757"/>
              </a:cxn>
              <a:cxn ang="0">
                <a:pos x="csX758" y="csY758"/>
              </a:cxn>
              <a:cxn ang="0">
                <a:pos x="csX759" y="csY759"/>
              </a:cxn>
              <a:cxn ang="0">
                <a:pos x="csX760" y="csY760"/>
              </a:cxn>
              <a:cxn ang="0">
                <a:pos x="csX761" y="csY761"/>
              </a:cxn>
              <a:cxn ang="0">
                <a:pos x="csX762" y="csY762"/>
              </a:cxn>
              <a:cxn ang="0">
                <a:pos x="csX763" y="csY763"/>
              </a:cxn>
              <a:cxn ang="0">
                <a:pos x="csX764" y="csY764"/>
              </a:cxn>
              <a:cxn ang="0">
                <a:pos x="csX765" y="csY765"/>
              </a:cxn>
              <a:cxn ang="0">
                <a:pos x="csX766" y="csY766"/>
              </a:cxn>
              <a:cxn ang="0">
                <a:pos x="csX767" y="csY767"/>
              </a:cxn>
              <a:cxn ang="0">
                <a:pos x="csX768" y="csY768"/>
              </a:cxn>
              <a:cxn ang="0">
                <a:pos x="csX769" y="csY769"/>
              </a:cxn>
              <a:cxn ang="0">
                <a:pos x="csX770" y="csY770"/>
              </a:cxn>
              <a:cxn ang="0">
                <a:pos x="csX771" y="csY771"/>
              </a:cxn>
              <a:cxn ang="0">
                <a:pos x="csX772" y="csY772"/>
              </a:cxn>
              <a:cxn ang="0">
                <a:pos x="csX773" y="csY773"/>
              </a:cxn>
              <a:cxn ang="0">
                <a:pos x="csX774" y="csY774"/>
              </a:cxn>
              <a:cxn ang="0">
                <a:pos x="csX775" y="csY775"/>
              </a:cxn>
              <a:cxn ang="0">
                <a:pos x="csX776" y="csY776"/>
              </a:cxn>
              <a:cxn ang="0">
                <a:pos x="csX777" y="csY777"/>
              </a:cxn>
              <a:cxn ang="0">
                <a:pos x="csX778" y="csY778"/>
              </a:cxn>
              <a:cxn ang="0">
                <a:pos x="csX779" y="csY779"/>
              </a:cxn>
              <a:cxn ang="0">
                <a:pos x="csX780" y="csY780"/>
              </a:cxn>
              <a:cxn ang="0">
                <a:pos x="csX781" y="csY781"/>
              </a:cxn>
              <a:cxn ang="0">
                <a:pos x="csX782" y="csY782"/>
              </a:cxn>
              <a:cxn ang="0">
                <a:pos x="csX783" y="csY783"/>
              </a:cxn>
              <a:cxn ang="0">
                <a:pos x="csX784" y="csY784"/>
              </a:cxn>
              <a:cxn ang="0">
                <a:pos x="csX785" y="csY785"/>
              </a:cxn>
              <a:cxn ang="0">
                <a:pos x="csX786" y="csY786"/>
              </a:cxn>
              <a:cxn ang="0">
                <a:pos x="csX787" y="csY787"/>
              </a:cxn>
              <a:cxn ang="0">
                <a:pos x="csX788" y="csY788"/>
              </a:cxn>
              <a:cxn ang="0">
                <a:pos x="csX789" y="csY789"/>
              </a:cxn>
              <a:cxn ang="0">
                <a:pos x="csX790" y="csY790"/>
              </a:cxn>
              <a:cxn ang="0">
                <a:pos x="csX791" y="csY791"/>
              </a:cxn>
              <a:cxn ang="0">
                <a:pos x="csX792" y="csY792"/>
              </a:cxn>
              <a:cxn ang="0">
                <a:pos x="csX793" y="csY793"/>
              </a:cxn>
              <a:cxn ang="0">
                <a:pos x="csX794" y="csY794"/>
              </a:cxn>
              <a:cxn ang="0">
                <a:pos x="csX795" y="csY795"/>
              </a:cxn>
              <a:cxn ang="0">
                <a:pos x="csX796" y="csY796"/>
              </a:cxn>
              <a:cxn ang="0">
                <a:pos x="csX797" y="csY797"/>
              </a:cxn>
              <a:cxn ang="0">
                <a:pos x="csX798" y="csY798"/>
              </a:cxn>
              <a:cxn ang="0">
                <a:pos x="csX799" y="csY799"/>
              </a:cxn>
              <a:cxn ang="0">
                <a:pos x="csX800" y="csY800"/>
              </a:cxn>
              <a:cxn ang="0">
                <a:pos x="csX801" y="csY801"/>
              </a:cxn>
              <a:cxn ang="0">
                <a:pos x="csX802" y="csY802"/>
              </a:cxn>
              <a:cxn ang="0">
                <a:pos x="csX803" y="csY803"/>
              </a:cxn>
              <a:cxn ang="0">
                <a:pos x="csX804" y="csY804"/>
              </a:cxn>
              <a:cxn ang="0">
                <a:pos x="csX805" y="csY805"/>
              </a:cxn>
              <a:cxn ang="0">
                <a:pos x="csX806" y="csY806"/>
              </a:cxn>
              <a:cxn ang="0">
                <a:pos x="csX807" y="csY807"/>
              </a:cxn>
              <a:cxn ang="0">
                <a:pos x="csX808" y="csY808"/>
              </a:cxn>
              <a:cxn ang="0">
                <a:pos x="csX809" y="csY809"/>
              </a:cxn>
              <a:cxn ang="0">
                <a:pos x="csX810" y="csY810"/>
              </a:cxn>
              <a:cxn ang="0">
                <a:pos x="csX811" y="csY811"/>
              </a:cxn>
              <a:cxn ang="0">
                <a:pos x="csX812" y="csY812"/>
              </a:cxn>
              <a:cxn ang="0">
                <a:pos x="csX813" y="csY813"/>
              </a:cxn>
              <a:cxn ang="0">
                <a:pos x="csX814" y="csY814"/>
              </a:cxn>
              <a:cxn ang="0">
                <a:pos x="csX815" y="csY815"/>
              </a:cxn>
              <a:cxn ang="0">
                <a:pos x="csX816" y="csY816"/>
              </a:cxn>
              <a:cxn ang="0">
                <a:pos x="csX817" y="csY817"/>
              </a:cxn>
              <a:cxn ang="0">
                <a:pos x="csX818" y="csY818"/>
              </a:cxn>
              <a:cxn ang="0">
                <a:pos x="csX819" y="csY819"/>
              </a:cxn>
              <a:cxn ang="0">
                <a:pos x="csX820" y="csY820"/>
              </a:cxn>
              <a:cxn ang="0">
                <a:pos x="csX821" y="csY821"/>
              </a:cxn>
              <a:cxn ang="0">
                <a:pos x="csX822" y="csY822"/>
              </a:cxn>
              <a:cxn ang="0">
                <a:pos x="csX823" y="csY823"/>
              </a:cxn>
              <a:cxn ang="0">
                <a:pos x="csX824" y="csY824"/>
              </a:cxn>
              <a:cxn ang="0">
                <a:pos x="csX825" y="csY825"/>
              </a:cxn>
              <a:cxn ang="0">
                <a:pos x="csX826" y="csY826"/>
              </a:cxn>
              <a:cxn ang="0">
                <a:pos x="csX827" y="csY827"/>
              </a:cxn>
              <a:cxn ang="0">
                <a:pos x="csX828" y="csY828"/>
              </a:cxn>
              <a:cxn ang="0">
                <a:pos x="csX829" y="csY829"/>
              </a:cxn>
              <a:cxn ang="0">
                <a:pos x="csX830" y="csY830"/>
              </a:cxn>
              <a:cxn ang="0">
                <a:pos x="csX831" y="csY831"/>
              </a:cxn>
              <a:cxn ang="0">
                <a:pos x="csX832" y="csY832"/>
              </a:cxn>
              <a:cxn ang="0">
                <a:pos x="csX833" y="csY833"/>
              </a:cxn>
              <a:cxn ang="0">
                <a:pos x="csX834" y="csY834"/>
              </a:cxn>
              <a:cxn ang="0">
                <a:pos x="csX835" y="csY835"/>
              </a:cxn>
              <a:cxn ang="0">
                <a:pos x="csX836" y="csY836"/>
              </a:cxn>
              <a:cxn ang="0">
                <a:pos x="csX837" y="csY837"/>
              </a:cxn>
              <a:cxn ang="0">
                <a:pos x="csX838" y="csY838"/>
              </a:cxn>
              <a:cxn ang="0">
                <a:pos x="csX839" y="csY839"/>
              </a:cxn>
              <a:cxn ang="0">
                <a:pos x="csX840" y="csY840"/>
              </a:cxn>
              <a:cxn ang="0">
                <a:pos x="csX841" y="csY841"/>
              </a:cxn>
              <a:cxn ang="0">
                <a:pos x="csX842" y="csY842"/>
              </a:cxn>
              <a:cxn ang="0">
                <a:pos x="csX843" y="csY843"/>
              </a:cxn>
              <a:cxn ang="0">
                <a:pos x="csX844" y="csY844"/>
              </a:cxn>
              <a:cxn ang="0">
                <a:pos x="csX845" y="csY845"/>
              </a:cxn>
              <a:cxn ang="0">
                <a:pos x="csX846" y="csY846"/>
              </a:cxn>
              <a:cxn ang="0">
                <a:pos x="csX847" y="csY847"/>
              </a:cxn>
              <a:cxn ang="0">
                <a:pos x="csX848" y="csY848"/>
              </a:cxn>
              <a:cxn ang="0">
                <a:pos x="csX849" y="csY849"/>
              </a:cxn>
              <a:cxn ang="0">
                <a:pos x="csX850" y="csY850"/>
              </a:cxn>
              <a:cxn ang="0">
                <a:pos x="csX851" y="csY851"/>
              </a:cxn>
              <a:cxn ang="0">
                <a:pos x="csX852" y="csY852"/>
              </a:cxn>
              <a:cxn ang="0">
                <a:pos x="csX853" y="csY853"/>
              </a:cxn>
              <a:cxn ang="0">
                <a:pos x="csX854" y="csY854"/>
              </a:cxn>
              <a:cxn ang="0">
                <a:pos x="csX855" y="csY855"/>
              </a:cxn>
              <a:cxn ang="0">
                <a:pos x="csX856" y="csY856"/>
              </a:cxn>
              <a:cxn ang="0">
                <a:pos x="csX857" y="csY857"/>
              </a:cxn>
              <a:cxn ang="0">
                <a:pos x="csX858" y="csY858"/>
              </a:cxn>
              <a:cxn ang="0">
                <a:pos x="csX859" y="csY859"/>
              </a:cxn>
              <a:cxn ang="0">
                <a:pos x="csX860" y="csY860"/>
              </a:cxn>
              <a:cxn ang="0">
                <a:pos x="csX861" y="csY861"/>
              </a:cxn>
              <a:cxn ang="0">
                <a:pos x="csX862" y="csY862"/>
              </a:cxn>
              <a:cxn ang="0">
                <a:pos x="csX863" y="csY863"/>
              </a:cxn>
              <a:cxn ang="0">
                <a:pos x="csX864" y="csY864"/>
              </a:cxn>
              <a:cxn ang="0">
                <a:pos x="csX865" y="csY865"/>
              </a:cxn>
              <a:cxn ang="0">
                <a:pos x="csX866" y="csY866"/>
              </a:cxn>
              <a:cxn ang="0">
                <a:pos x="csX867" y="csY867"/>
              </a:cxn>
              <a:cxn ang="0">
                <a:pos x="csX868" y="csY868"/>
              </a:cxn>
              <a:cxn ang="0">
                <a:pos x="csX869" y="csY869"/>
              </a:cxn>
              <a:cxn ang="0">
                <a:pos x="csX870" y="csY870"/>
              </a:cxn>
              <a:cxn ang="0">
                <a:pos x="csX871" y="csY871"/>
              </a:cxn>
              <a:cxn ang="0">
                <a:pos x="csX872" y="csY872"/>
              </a:cxn>
              <a:cxn ang="0">
                <a:pos x="csX873" y="csY873"/>
              </a:cxn>
              <a:cxn ang="0">
                <a:pos x="csX874" y="csY874"/>
              </a:cxn>
              <a:cxn ang="0">
                <a:pos x="csX875" y="csY875"/>
              </a:cxn>
              <a:cxn ang="0">
                <a:pos x="csX876" y="csY876"/>
              </a:cxn>
              <a:cxn ang="0">
                <a:pos x="csX877" y="csY877"/>
              </a:cxn>
              <a:cxn ang="0">
                <a:pos x="csX878" y="csY878"/>
              </a:cxn>
              <a:cxn ang="0">
                <a:pos x="csX879" y="csY879"/>
              </a:cxn>
              <a:cxn ang="0">
                <a:pos x="csX880" y="csY880"/>
              </a:cxn>
              <a:cxn ang="0">
                <a:pos x="csX881" y="csY881"/>
              </a:cxn>
              <a:cxn ang="0">
                <a:pos x="csX882" y="csY882"/>
              </a:cxn>
              <a:cxn ang="0">
                <a:pos x="csX883" y="csY883"/>
              </a:cxn>
              <a:cxn ang="0">
                <a:pos x="csX884" y="csY884"/>
              </a:cxn>
              <a:cxn ang="0">
                <a:pos x="csX885" y="csY885"/>
              </a:cxn>
              <a:cxn ang="0">
                <a:pos x="csX886" y="csY886"/>
              </a:cxn>
              <a:cxn ang="0">
                <a:pos x="csX887" y="csY887"/>
              </a:cxn>
              <a:cxn ang="0">
                <a:pos x="csX888" y="csY888"/>
              </a:cxn>
              <a:cxn ang="0">
                <a:pos x="csX889" y="csY889"/>
              </a:cxn>
              <a:cxn ang="0">
                <a:pos x="csX890" y="csY890"/>
              </a:cxn>
              <a:cxn ang="0">
                <a:pos x="csX891" y="csY891"/>
              </a:cxn>
              <a:cxn ang="0">
                <a:pos x="csX892" y="csY892"/>
              </a:cxn>
              <a:cxn ang="0">
                <a:pos x="csX893" y="csY893"/>
              </a:cxn>
              <a:cxn ang="0">
                <a:pos x="csX894" y="csY894"/>
              </a:cxn>
              <a:cxn ang="0">
                <a:pos x="csX895" y="csY895"/>
              </a:cxn>
              <a:cxn ang="0">
                <a:pos x="csX896" y="csY896"/>
              </a:cxn>
              <a:cxn ang="0">
                <a:pos x="csX897" y="csY897"/>
              </a:cxn>
              <a:cxn ang="0">
                <a:pos x="csX898" y="csY898"/>
              </a:cxn>
              <a:cxn ang="0">
                <a:pos x="csX899" y="csY899"/>
              </a:cxn>
              <a:cxn ang="0">
                <a:pos x="csX900" y="csY900"/>
              </a:cxn>
              <a:cxn ang="0">
                <a:pos x="csX901" y="csY901"/>
              </a:cxn>
              <a:cxn ang="0">
                <a:pos x="csX902" y="csY902"/>
              </a:cxn>
              <a:cxn ang="0">
                <a:pos x="csX903" y="csY903"/>
              </a:cxn>
              <a:cxn ang="0">
                <a:pos x="csX904" y="csY904"/>
              </a:cxn>
              <a:cxn ang="0">
                <a:pos x="csX905" y="csY905"/>
              </a:cxn>
              <a:cxn ang="0">
                <a:pos x="csX906" y="csY906"/>
              </a:cxn>
              <a:cxn ang="0">
                <a:pos x="csX907" y="csY907"/>
              </a:cxn>
              <a:cxn ang="0">
                <a:pos x="csX908" y="csY908"/>
              </a:cxn>
              <a:cxn ang="0">
                <a:pos x="csX909" y="csY909"/>
              </a:cxn>
              <a:cxn ang="0">
                <a:pos x="csX910" y="csY910"/>
              </a:cxn>
              <a:cxn ang="0">
                <a:pos x="csX911" y="csY911"/>
              </a:cxn>
              <a:cxn ang="0">
                <a:pos x="csX912" y="csY912"/>
              </a:cxn>
              <a:cxn ang="0">
                <a:pos x="csX913" y="csY913"/>
              </a:cxn>
              <a:cxn ang="0">
                <a:pos x="csX914" y="csY914"/>
              </a:cxn>
              <a:cxn ang="0">
                <a:pos x="csX915" y="csY915"/>
              </a:cxn>
              <a:cxn ang="0">
                <a:pos x="csX916" y="csY916"/>
              </a:cxn>
              <a:cxn ang="0">
                <a:pos x="csX917" y="csY917"/>
              </a:cxn>
              <a:cxn ang="0">
                <a:pos x="csX918" y="csY918"/>
              </a:cxn>
              <a:cxn ang="0">
                <a:pos x="csX919" y="csY919"/>
              </a:cxn>
              <a:cxn ang="0">
                <a:pos x="csX920" y="csY920"/>
              </a:cxn>
              <a:cxn ang="0">
                <a:pos x="csX921" y="csY921"/>
              </a:cxn>
              <a:cxn ang="0">
                <a:pos x="csX922" y="csY922"/>
              </a:cxn>
              <a:cxn ang="0">
                <a:pos x="csX923" y="csY923"/>
              </a:cxn>
              <a:cxn ang="0">
                <a:pos x="csX924" y="csY924"/>
              </a:cxn>
              <a:cxn ang="0">
                <a:pos x="csX925" y="csY925"/>
              </a:cxn>
              <a:cxn ang="0">
                <a:pos x="csX926" y="csY926"/>
              </a:cxn>
              <a:cxn ang="0">
                <a:pos x="csX927" y="csY927"/>
              </a:cxn>
              <a:cxn ang="0">
                <a:pos x="csX928" y="csY928"/>
              </a:cxn>
              <a:cxn ang="0">
                <a:pos x="csX929" y="csY929"/>
              </a:cxn>
              <a:cxn ang="0">
                <a:pos x="csX930" y="csY930"/>
              </a:cxn>
              <a:cxn ang="0">
                <a:pos x="csX931" y="csY931"/>
              </a:cxn>
              <a:cxn ang="0">
                <a:pos x="csX932" y="csY932"/>
              </a:cxn>
              <a:cxn ang="0">
                <a:pos x="csX933" y="csY933"/>
              </a:cxn>
              <a:cxn ang="0">
                <a:pos x="csX934" y="csY934"/>
              </a:cxn>
              <a:cxn ang="0">
                <a:pos x="csX935" y="csY935"/>
              </a:cxn>
              <a:cxn ang="0">
                <a:pos x="csX936" y="csY936"/>
              </a:cxn>
              <a:cxn ang="0">
                <a:pos x="csX937" y="csY937"/>
              </a:cxn>
              <a:cxn ang="0">
                <a:pos x="csX938" y="csY938"/>
              </a:cxn>
              <a:cxn ang="0">
                <a:pos x="csX939" y="csY939"/>
              </a:cxn>
              <a:cxn ang="0">
                <a:pos x="csX940" y="csY940"/>
              </a:cxn>
              <a:cxn ang="0">
                <a:pos x="csX941" y="csY941"/>
              </a:cxn>
              <a:cxn ang="0">
                <a:pos x="csX942" y="csY942"/>
              </a:cxn>
              <a:cxn ang="0">
                <a:pos x="csX943" y="csY943"/>
              </a:cxn>
              <a:cxn ang="0">
                <a:pos x="csX944" y="csY944"/>
              </a:cxn>
              <a:cxn ang="0">
                <a:pos x="csX945" y="csY945"/>
              </a:cxn>
              <a:cxn ang="0">
                <a:pos x="csX946" y="csY946"/>
              </a:cxn>
              <a:cxn ang="0">
                <a:pos x="csX947" y="csY947"/>
              </a:cxn>
              <a:cxn ang="0">
                <a:pos x="csX948" y="csY948"/>
              </a:cxn>
              <a:cxn ang="0">
                <a:pos x="csX949" y="csY949"/>
              </a:cxn>
              <a:cxn ang="0">
                <a:pos x="csX950" y="csY950"/>
              </a:cxn>
              <a:cxn ang="0">
                <a:pos x="csX951" y="csY951"/>
              </a:cxn>
              <a:cxn ang="0">
                <a:pos x="csX952" y="csY952"/>
              </a:cxn>
              <a:cxn ang="0">
                <a:pos x="csX953" y="csY953"/>
              </a:cxn>
              <a:cxn ang="0">
                <a:pos x="csX954" y="csY954"/>
              </a:cxn>
              <a:cxn ang="0">
                <a:pos x="csX955" y="csY955"/>
              </a:cxn>
              <a:cxn ang="0">
                <a:pos x="csX956" y="csY956"/>
              </a:cxn>
              <a:cxn ang="0">
                <a:pos x="csX957" y="csY957"/>
              </a:cxn>
              <a:cxn ang="0">
                <a:pos x="csX958" y="csY958"/>
              </a:cxn>
              <a:cxn ang="0">
                <a:pos x="csX959" y="csY959"/>
              </a:cxn>
              <a:cxn ang="0">
                <a:pos x="csX960" y="csY960"/>
              </a:cxn>
              <a:cxn ang="0">
                <a:pos x="csX961" y="csY961"/>
              </a:cxn>
              <a:cxn ang="0">
                <a:pos x="csX962" y="csY962"/>
              </a:cxn>
              <a:cxn ang="0">
                <a:pos x="csX963" y="csY963"/>
              </a:cxn>
              <a:cxn ang="0">
                <a:pos x="csX964" y="csY964"/>
              </a:cxn>
              <a:cxn ang="0">
                <a:pos x="csX965" y="csY965"/>
              </a:cxn>
              <a:cxn ang="0">
                <a:pos x="csX966" y="csY966"/>
              </a:cxn>
              <a:cxn ang="0">
                <a:pos x="csX967" y="csY967"/>
              </a:cxn>
              <a:cxn ang="0">
                <a:pos x="csX968" y="csY968"/>
              </a:cxn>
              <a:cxn ang="0">
                <a:pos x="csX969" y="csY969"/>
              </a:cxn>
              <a:cxn ang="0">
                <a:pos x="csX970" y="csY970"/>
              </a:cxn>
              <a:cxn ang="0">
                <a:pos x="csX971" y="csY971"/>
              </a:cxn>
              <a:cxn ang="0">
                <a:pos x="csX972" y="csY972"/>
              </a:cxn>
              <a:cxn ang="0">
                <a:pos x="csX973" y="csY973"/>
              </a:cxn>
              <a:cxn ang="0">
                <a:pos x="csX974" y="csY974"/>
              </a:cxn>
              <a:cxn ang="0">
                <a:pos x="csX975" y="csY975"/>
              </a:cxn>
              <a:cxn ang="0">
                <a:pos x="csX976" y="csY976"/>
              </a:cxn>
              <a:cxn ang="0">
                <a:pos x="csX977" y="csY977"/>
              </a:cxn>
              <a:cxn ang="0">
                <a:pos x="csX978" y="csY978"/>
              </a:cxn>
              <a:cxn ang="0">
                <a:pos x="csX979" y="csY979"/>
              </a:cxn>
              <a:cxn ang="0">
                <a:pos x="csX980" y="csY980"/>
              </a:cxn>
              <a:cxn ang="0">
                <a:pos x="csX981" y="csY981"/>
              </a:cxn>
              <a:cxn ang="0">
                <a:pos x="csX982" y="csY982"/>
              </a:cxn>
              <a:cxn ang="0">
                <a:pos x="csX983" y="csY983"/>
              </a:cxn>
              <a:cxn ang="0">
                <a:pos x="csX984" y="csY984"/>
              </a:cxn>
              <a:cxn ang="0">
                <a:pos x="csX985" y="csY985"/>
              </a:cxn>
              <a:cxn ang="0">
                <a:pos x="csX986" y="csY986"/>
              </a:cxn>
              <a:cxn ang="0">
                <a:pos x="csX987" y="csY987"/>
              </a:cxn>
              <a:cxn ang="0">
                <a:pos x="csX988" y="csY988"/>
              </a:cxn>
              <a:cxn ang="0">
                <a:pos x="csX989" y="csY989"/>
              </a:cxn>
              <a:cxn ang="0">
                <a:pos x="csX990" y="csY990"/>
              </a:cxn>
              <a:cxn ang="0">
                <a:pos x="csX991" y="csY991"/>
              </a:cxn>
              <a:cxn ang="0">
                <a:pos x="csX992" y="csY992"/>
              </a:cxn>
              <a:cxn ang="0">
                <a:pos x="csX993" y="csY993"/>
              </a:cxn>
              <a:cxn ang="0">
                <a:pos x="csX994" y="csY994"/>
              </a:cxn>
              <a:cxn ang="0">
                <a:pos x="csX995" y="csY995"/>
              </a:cxn>
              <a:cxn ang="0">
                <a:pos x="csX996" y="csY996"/>
              </a:cxn>
              <a:cxn ang="0">
                <a:pos x="csX997" y="csY997"/>
              </a:cxn>
              <a:cxn ang="0">
                <a:pos x="csX998" y="csY998"/>
              </a:cxn>
              <a:cxn ang="0">
                <a:pos x="csX999" y="csY999"/>
              </a:cxn>
              <a:cxn ang="0">
                <a:pos x="csX1000" y="csY1000"/>
              </a:cxn>
              <a:cxn ang="0">
                <a:pos x="csX1001" y="csY1001"/>
              </a:cxn>
              <a:cxn ang="0">
                <a:pos x="csX1002" y="csY1002"/>
              </a:cxn>
              <a:cxn ang="0">
                <a:pos x="csX1003" y="csY1003"/>
              </a:cxn>
              <a:cxn ang="0">
                <a:pos x="csX1004" y="csY1004"/>
              </a:cxn>
              <a:cxn ang="0">
                <a:pos x="csX1005" y="csY1005"/>
              </a:cxn>
              <a:cxn ang="0">
                <a:pos x="csX1006" y="csY1006"/>
              </a:cxn>
              <a:cxn ang="0">
                <a:pos x="csX1007" y="csY1007"/>
              </a:cxn>
              <a:cxn ang="0">
                <a:pos x="csX1008" y="csY1008"/>
              </a:cxn>
              <a:cxn ang="0">
                <a:pos x="csX1009" y="csY1009"/>
              </a:cxn>
              <a:cxn ang="0">
                <a:pos x="csX1010" y="csY1010"/>
              </a:cxn>
              <a:cxn ang="0">
                <a:pos x="csX1011" y="csY1011"/>
              </a:cxn>
              <a:cxn ang="0">
                <a:pos x="csX1012" y="csY1012"/>
              </a:cxn>
              <a:cxn ang="0">
                <a:pos x="csX1013" y="csY1013"/>
              </a:cxn>
              <a:cxn ang="0">
                <a:pos x="csX1014" y="csY1014"/>
              </a:cxn>
              <a:cxn ang="0">
                <a:pos x="csX1015" y="csY1015"/>
              </a:cxn>
              <a:cxn ang="0">
                <a:pos x="csX1016" y="csY1016"/>
              </a:cxn>
              <a:cxn ang="0">
                <a:pos x="csX1017" y="csY1017"/>
              </a:cxn>
              <a:cxn ang="0">
                <a:pos x="csX1018" y="csY1018"/>
              </a:cxn>
              <a:cxn ang="0">
                <a:pos x="csX1019" y="csY1019"/>
              </a:cxn>
              <a:cxn ang="0">
                <a:pos x="csX1020" y="csY1020"/>
              </a:cxn>
              <a:cxn ang="0">
                <a:pos x="csX1021" y="csY1021"/>
              </a:cxn>
              <a:cxn ang="0">
                <a:pos x="csX1022" y="csY1022"/>
              </a:cxn>
              <a:cxn ang="0">
                <a:pos x="csX1023" y="csY1023"/>
              </a:cxn>
              <a:cxn ang="0">
                <a:pos x="csX1024" y="csY1024"/>
              </a:cxn>
              <a:cxn ang="0">
                <a:pos x="csX1025" y="csY1025"/>
              </a:cxn>
              <a:cxn ang="0">
                <a:pos x="csX1026" y="csY1026"/>
              </a:cxn>
              <a:cxn ang="0">
                <a:pos x="csX1027" y="csY1027"/>
              </a:cxn>
              <a:cxn ang="0">
                <a:pos x="csX1028" y="csY1028"/>
              </a:cxn>
              <a:cxn ang="0">
                <a:pos x="csX1029" y="csY1029"/>
              </a:cxn>
              <a:cxn ang="0">
                <a:pos x="csX1030" y="csY1030"/>
              </a:cxn>
              <a:cxn ang="0">
                <a:pos x="csX1031" y="csY1031"/>
              </a:cxn>
              <a:cxn ang="0">
                <a:pos x="csX1032" y="csY1032"/>
              </a:cxn>
              <a:cxn ang="0">
                <a:pos x="csX1033" y="csY1033"/>
              </a:cxn>
              <a:cxn ang="0">
                <a:pos x="csX1034" y="csY1034"/>
              </a:cxn>
              <a:cxn ang="0">
                <a:pos x="csX1035" y="csY1035"/>
              </a:cxn>
              <a:cxn ang="0">
                <a:pos x="csX1036" y="csY1036"/>
              </a:cxn>
              <a:cxn ang="0">
                <a:pos x="csX1037" y="csY1037"/>
              </a:cxn>
              <a:cxn ang="0">
                <a:pos x="csX1038" y="csY1038"/>
              </a:cxn>
              <a:cxn ang="0">
                <a:pos x="csX1039" y="csY1039"/>
              </a:cxn>
              <a:cxn ang="0">
                <a:pos x="csX1040" y="csY1040"/>
              </a:cxn>
              <a:cxn ang="0">
                <a:pos x="csX1041" y="csY1041"/>
              </a:cxn>
              <a:cxn ang="0">
                <a:pos x="csX1042" y="csY1042"/>
              </a:cxn>
              <a:cxn ang="0">
                <a:pos x="csX1043" y="csY1043"/>
              </a:cxn>
              <a:cxn ang="0">
                <a:pos x="csX1044" y="csY1044"/>
              </a:cxn>
              <a:cxn ang="0">
                <a:pos x="csX1045" y="csY1045"/>
              </a:cxn>
              <a:cxn ang="0">
                <a:pos x="csX1046" y="csY1046"/>
              </a:cxn>
              <a:cxn ang="0">
                <a:pos x="csX1047" y="csY1047"/>
              </a:cxn>
              <a:cxn ang="0">
                <a:pos x="csX1048" y="csY1048"/>
              </a:cxn>
              <a:cxn ang="0">
                <a:pos x="csX1049" y="csY1049"/>
              </a:cxn>
              <a:cxn ang="0">
                <a:pos x="csX1050" y="csY1050"/>
              </a:cxn>
              <a:cxn ang="0">
                <a:pos x="csX1051" y="csY1051"/>
              </a:cxn>
              <a:cxn ang="0">
                <a:pos x="csX1052" y="csY1052"/>
              </a:cxn>
              <a:cxn ang="0">
                <a:pos x="csX1053" y="csY1053"/>
              </a:cxn>
              <a:cxn ang="0">
                <a:pos x="csX1054" y="csY1054"/>
              </a:cxn>
            </a:cxnLst>
            <a:rect l="l" t="t" r="r" b="b"/>
            <a:pathLst>
              <a:path w="1609516" h="1538630">
                <a:moveTo>
                  <a:pt x="401579" y="1495809"/>
                </a:moveTo>
                <a:lnTo>
                  <a:pt x="400190" y="1496004"/>
                </a:lnTo>
                <a:lnTo>
                  <a:pt x="401224" y="1496470"/>
                </a:lnTo>
                <a:lnTo>
                  <a:pt x="401224" y="1498590"/>
                </a:lnTo>
                <a:lnTo>
                  <a:pt x="401579" y="1498628"/>
                </a:lnTo>
                <a:cubicBezTo>
                  <a:pt x="401579" y="1497698"/>
                  <a:pt x="401579" y="1496768"/>
                  <a:pt x="401579" y="1495809"/>
                </a:cubicBezTo>
                <a:close/>
                <a:moveTo>
                  <a:pt x="368755" y="1486512"/>
                </a:moveTo>
                <a:lnTo>
                  <a:pt x="364089" y="1487354"/>
                </a:lnTo>
                <a:lnTo>
                  <a:pt x="364089" y="1487908"/>
                </a:lnTo>
                <a:close/>
                <a:moveTo>
                  <a:pt x="1049801" y="1484562"/>
                </a:moveTo>
                <a:lnTo>
                  <a:pt x="1046735" y="1485945"/>
                </a:lnTo>
                <a:lnTo>
                  <a:pt x="1046955" y="1486045"/>
                </a:lnTo>
                <a:lnTo>
                  <a:pt x="1049801" y="1485188"/>
                </a:lnTo>
                <a:close/>
                <a:moveTo>
                  <a:pt x="351234" y="1444508"/>
                </a:moveTo>
                <a:lnTo>
                  <a:pt x="351234" y="1444997"/>
                </a:lnTo>
                <a:lnTo>
                  <a:pt x="351592" y="1445078"/>
                </a:lnTo>
                <a:close/>
                <a:moveTo>
                  <a:pt x="351908" y="1431206"/>
                </a:moveTo>
                <a:lnTo>
                  <a:pt x="351234" y="1431611"/>
                </a:lnTo>
                <a:lnTo>
                  <a:pt x="351234" y="1432274"/>
                </a:lnTo>
                <a:close/>
                <a:moveTo>
                  <a:pt x="358162" y="1421494"/>
                </a:moveTo>
                <a:lnTo>
                  <a:pt x="355921" y="1423156"/>
                </a:lnTo>
                <a:lnTo>
                  <a:pt x="355921" y="1423548"/>
                </a:lnTo>
                <a:close/>
                <a:moveTo>
                  <a:pt x="376098" y="1408347"/>
                </a:moveTo>
                <a:lnTo>
                  <a:pt x="370750" y="1412245"/>
                </a:lnTo>
                <a:lnTo>
                  <a:pt x="375023" y="1411256"/>
                </a:lnTo>
                <a:close/>
                <a:moveTo>
                  <a:pt x="421956" y="1365623"/>
                </a:moveTo>
                <a:lnTo>
                  <a:pt x="421765" y="1366161"/>
                </a:lnTo>
                <a:lnTo>
                  <a:pt x="421887" y="1366161"/>
                </a:lnTo>
                <a:close/>
                <a:moveTo>
                  <a:pt x="754553" y="1360575"/>
                </a:moveTo>
                <a:lnTo>
                  <a:pt x="754089" y="1361433"/>
                </a:lnTo>
                <a:lnTo>
                  <a:pt x="754431" y="1361125"/>
                </a:lnTo>
                <a:close/>
                <a:moveTo>
                  <a:pt x="1277973" y="1332923"/>
                </a:moveTo>
                <a:lnTo>
                  <a:pt x="1277944" y="1332936"/>
                </a:lnTo>
                <a:lnTo>
                  <a:pt x="1277949" y="1333139"/>
                </a:lnTo>
                <a:close/>
                <a:moveTo>
                  <a:pt x="1268556" y="1321066"/>
                </a:moveTo>
                <a:cubicBezTo>
                  <a:pt x="1268556" y="1322461"/>
                  <a:pt x="1268556" y="1323856"/>
                  <a:pt x="1268556" y="1325294"/>
                </a:cubicBezTo>
                <a:cubicBezTo>
                  <a:pt x="1267525" y="1325294"/>
                  <a:pt x="1266495" y="1325294"/>
                  <a:pt x="1265432" y="1325294"/>
                </a:cubicBezTo>
                <a:cubicBezTo>
                  <a:pt x="1265432" y="1330409"/>
                  <a:pt x="1265432" y="1335525"/>
                  <a:pt x="1265432" y="1340795"/>
                </a:cubicBezTo>
                <a:lnTo>
                  <a:pt x="1265476" y="1340714"/>
                </a:lnTo>
                <a:lnTo>
                  <a:pt x="1265476" y="1325877"/>
                </a:lnTo>
                <a:cubicBezTo>
                  <a:pt x="1266507" y="1325877"/>
                  <a:pt x="1267538" y="1325877"/>
                  <a:pt x="1268600" y="1325877"/>
                </a:cubicBezTo>
                <a:cubicBezTo>
                  <a:pt x="1268600" y="1324482"/>
                  <a:pt x="1268600" y="1323086"/>
                  <a:pt x="1268600" y="1321649"/>
                </a:cubicBezTo>
                <a:cubicBezTo>
                  <a:pt x="1270147" y="1321649"/>
                  <a:pt x="1271693" y="1321649"/>
                  <a:pt x="1273286" y="1321649"/>
                </a:cubicBezTo>
                <a:lnTo>
                  <a:pt x="1273227" y="1321066"/>
                </a:lnTo>
                <a:close/>
                <a:moveTo>
                  <a:pt x="827891" y="1291474"/>
                </a:moveTo>
                <a:lnTo>
                  <a:pt x="822601" y="1291544"/>
                </a:lnTo>
                <a:lnTo>
                  <a:pt x="818272" y="1292220"/>
                </a:lnTo>
                <a:lnTo>
                  <a:pt x="827891" y="1292047"/>
                </a:lnTo>
                <a:close/>
                <a:moveTo>
                  <a:pt x="856397" y="1288691"/>
                </a:moveTo>
                <a:lnTo>
                  <a:pt x="865903" y="1290590"/>
                </a:lnTo>
                <a:lnTo>
                  <a:pt x="859999" y="1288752"/>
                </a:lnTo>
                <a:close/>
                <a:moveTo>
                  <a:pt x="834694" y="1288572"/>
                </a:moveTo>
                <a:lnTo>
                  <a:pt x="828038" y="1288654"/>
                </a:lnTo>
                <a:lnTo>
                  <a:pt x="828038" y="1289214"/>
                </a:lnTo>
                <a:close/>
                <a:moveTo>
                  <a:pt x="229746" y="1191418"/>
                </a:moveTo>
                <a:lnTo>
                  <a:pt x="227402" y="1191947"/>
                </a:lnTo>
                <a:lnTo>
                  <a:pt x="229315" y="1191947"/>
                </a:lnTo>
                <a:cubicBezTo>
                  <a:pt x="229315" y="1192877"/>
                  <a:pt x="229315" y="1193807"/>
                  <a:pt x="229315" y="1194765"/>
                </a:cubicBezTo>
                <a:lnTo>
                  <a:pt x="231321" y="1194765"/>
                </a:lnTo>
                <a:lnTo>
                  <a:pt x="229746" y="1194236"/>
                </a:lnTo>
                <a:cubicBezTo>
                  <a:pt x="229746" y="1193306"/>
                  <a:pt x="229746" y="1192376"/>
                  <a:pt x="229746" y="1191418"/>
                </a:cubicBezTo>
                <a:close/>
                <a:moveTo>
                  <a:pt x="215687" y="1187190"/>
                </a:moveTo>
                <a:lnTo>
                  <a:pt x="215198" y="1187720"/>
                </a:lnTo>
                <a:lnTo>
                  <a:pt x="215256" y="1187720"/>
                </a:lnTo>
                <a:cubicBezTo>
                  <a:pt x="215256" y="1189115"/>
                  <a:pt x="215256" y="1190510"/>
                  <a:pt x="215256" y="1191947"/>
                </a:cubicBezTo>
                <a:lnTo>
                  <a:pt x="222721" y="1191947"/>
                </a:lnTo>
                <a:lnTo>
                  <a:pt x="215687" y="1191418"/>
                </a:lnTo>
                <a:cubicBezTo>
                  <a:pt x="215687" y="1190023"/>
                  <a:pt x="215687" y="1188628"/>
                  <a:pt x="215687" y="1187190"/>
                </a:cubicBezTo>
                <a:close/>
                <a:moveTo>
                  <a:pt x="1279678" y="1082356"/>
                </a:moveTo>
                <a:lnTo>
                  <a:pt x="1271680" y="1084589"/>
                </a:lnTo>
                <a:lnTo>
                  <a:pt x="1282181" y="1082544"/>
                </a:lnTo>
                <a:close/>
                <a:moveTo>
                  <a:pt x="117703" y="941507"/>
                </a:moveTo>
                <a:lnTo>
                  <a:pt x="112587" y="941985"/>
                </a:lnTo>
                <a:lnTo>
                  <a:pt x="112565" y="942333"/>
                </a:lnTo>
                <a:lnTo>
                  <a:pt x="115665" y="941837"/>
                </a:lnTo>
                <a:close/>
                <a:moveTo>
                  <a:pt x="144268" y="939395"/>
                </a:moveTo>
                <a:lnTo>
                  <a:pt x="143354" y="939580"/>
                </a:lnTo>
                <a:lnTo>
                  <a:pt x="144077" y="939739"/>
                </a:lnTo>
                <a:close/>
                <a:moveTo>
                  <a:pt x="162575" y="933530"/>
                </a:moveTo>
                <a:lnTo>
                  <a:pt x="161704" y="935101"/>
                </a:lnTo>
                <a:lnTo>
                  <a:pt x="170045" y="933585"/>
                </a:lnTo>
                <a:close/>
                <a:moveTo>
                  <a:pt x="1321645" y="918415"/>
                </a:moveTo>
                <a:lnTo>
                  <a:pt x="1321534" y="920177"/>
                </a:lnTo>
                <a:lnTo>
                  <a:pt x="1321740" y="918415"/>
                </a:lnTo>
                <a:close/>
                <a:moveTo>
                  <a:pt x="1319333" y="915183"/>
                </a:moveTo>
                <a:lnTo>
                  <a:pt x="1318544" y="918029"/>
                </a:lnTo>
                <a:lnTo>
                  <a:pt x="1318702" y="918029"/>
                </a:lnTo>
                <a:close/>
                <a:moveTo>
                  <a:pt x="1326355" y="907109"/>
                </a:moveTo>
                <a:lnTo>
                  <a:pt x="1326355" y="910983"/>
                </a:lnTo>
                <a:lnTo>
                  <a:pt x="1325831" y="911101"/>
                </a:lnTo>
                <a:lnTo>
                  <a:pt x="1326426" y="911369"/>
                </a:lnTo>
                <a:cubicBezTo>
                  <a:pt x="1326426" y="909974"/>
                  <a:pt x="1326426" y="908579"/>
                  <a:pt x="1326426" y="907141"/>
                </a:cubicBezTo>
                <a:close/>
                <a:moveTo>
                  <a:pt x="1328144" y="892192"/>
                </a:moveTo>
                <a:lnTo>
                  <a:pt x="1327667" y="893446"/>
                </a:lnTo>
                <a:lnTo>
                  <a:pt x="1327989" y="893049"/>
                </a:lnTo>
                <a:close/>
                <a:moveTo>
                  <a:pt x="49605" y="887420"/>
                </a:moveTo>
                <a:lnTo>
                  <a:pt x="48549" y="891229"/>
                </a:lnTo>
                <a:lnTo>
                  <a:pt x="49956" y="887420"/>
                </a:lnTo>
                <a:close/>
                <a:moveTo>
                  <a:pt x="1332266" y="883369"/>
                </a:moveTo>
                <a:lnTo>
                  <a:pt x="1329479" y="884207"/>
                </a:lnTo>
                <a:lnTo>
                  <a:pt x="1329509" y="884816"/>
                </a:lnTo>
                <a:lnTo>
                  <a:pt x="1329551" y="884594"/>
                </a:lnTo>
                <a:close/>
                <a:moveTo>
                  <a:pt x="1555987" y="821766"/>
                </a:moveTo>
                <a:lnTo>
                  <a:pt x="1555987" y="822201"/>
                </a:lnTo>
                <a:lnTo>
                  <a:pt x="1556081" y="822189"/>
                </a:lnTo>
                <a:close/>
                <a:moveTo>
                  <a:pt x="1565360" y="810928"/>
                </a:moveTo>
                <a:lnTo>
                  <a:pt x="1564871" y="811809"/>
                </a:lnTo>
                <a:lnTo>
                  <a:pt x="1567314" y="810928"/>
                </a:lnTo>
                <a:close/>
                <a:moveTo>
                  <a:pt x="1563797" y="810928"/>
                </a:moveTo>
                <a:lnTo>
                  <a:pt x="1556762" y="814736"/>
                </a:lnTo>
                <a:lnTo>
                  <a:pt x="1563797" y="812197"/>
                </a:lnTo>
                <a:close/>
                <a:moveTo>
                  <a:pt x="265833" y="806020"/>
                </a:moveTo>
                <a:lnTo>
                  <a:pt x="263704" y="809861"/>
                </a:lnTo>
                <a:lnTo>
                  <a:pt x="263704" y="816750"/>
                </a:lnTo>
                <a:lnTo>
                  <a:pt x="264113" y="816565"/>
                </a:lnTo>
                <a:cubicBezTo>
                  <a:pt x="264048" y="815315"/>
                  <a:pt x="263984" y="814065"/>
                  <a:pt x="263918" y="812777"/>
                </a:cubicBezTo>
                <a:close/>
                <a:moveTo>
                  <a:pt x="263774" y="779374"/>
                </a:moveTo>
                <a:lnTo>
                  <a:pt x="263704" y="783086"/>
                </a:lnTo>
                <a:cubicBezTo>
                  <a:pt x="263961" y="783987"/>
                  <a:pt x="264219" y="784888"/>
                  <a:pt x="264484" y="785816"/>
                </a:cubicBezTo>
                <a:cubicBezTo>
                  <a:pt x="265299" y="788846"/>
                  <a:pt x="265316" y="791337"/>
                  <a:pt x="265265" y="794448"/>
                </a:cubicBezTo>
                <a:cubicBezTo>
                  <a:pt x="265103" y="797155"/>
                  <a:pt x="265022" y="798508"/>
                  <a:pt x="265217" y="799730"/>
                </a:cubicBezTo>
                <a:lnTo>
                  <a:pt x="266556" y="803466"/>
                </a:lnTo>
                <a:lnTo>
                  <a:pt x="267237" y="801063"/>
                </a:lnTo>
                <a:cubicBezTo>
                  <a:pt x="266721" y="800598"/>
                  <a:pt x="266206" y="800133"/>
                  <a:pt x="265675" y="799654"/>
                </a:cubicBezTo>
                <a:cubicBezTo>
                  <a:pt x="265601" y="797718"/>
                  <a:pt x="265617" y="795778"/>
                  <a:pt x="265675" y="793841"/>
                </a:cubicBezTo>
                <a:close/>
                <a:moveTo>
                  <a:pt x="260988" y="770061"/>
                </a:moveTo>
                <a:lnTo>
                  <a:pt x="260988" y="771364"/>
                </a:lnTo>
                <a:lnTo>
                  <a:pt x="263497" y="777263"/>
                </a:lnTo>
                <a:lnTo>
                  <a:pt x="262551" y="770061"/>
                </a:lnTo>
                <a:cubicBezTo>
                  <a:pt x="262035" y="770061"/>
                  <a:pt x="261520" y="770061"/>
                  <a:pt x="260988" y="770061"/>
                </a:cubicBezTo>
                <a:close/>
                <a:moveTo>
                  <a:pt x="157888" y="651686"/>
                </a:moveTo>
                <a:lnTo>
                  <a:pt x="157415" y="651764"/>
                </a:lnTo>
                <a:lnTo>
                  <a:pt x="160373" y="652274"/>
                </a:lnTo>
                <a:close/>
                <a:moveTo>
                  <a:pt x="267237" y="426537"/>
                </a:moveTo>
                <a:lnTo>
                  <a:pt x="267237" y="427619"/>
                </a:lnTo>
                <a:cubicBezTo>
                  <a:pt x="268274" y="427791"/>
                  <a:pt x="269311" y="427961"/>
                  <a:pt x="270380" y="428137"/>
                </a:cubicBezTo>
                <a:lnTo>
                  <a:pt x="273548" y="428680"/>
                </a:lnTo>
                <a:close/>
                <a:moveTo>
                  <a:pt x="37605" y="359270"/>
                </a:moveTo>
                <a:lnTo>
                  <a:pt x="37103" y="361533"/>
                </a:lnTo>
                <a:lnTo>
                  <a:pt x="37605" y="361382"/>
                </a:lnTo>
                <a:close/>
                <a:moveTo>
                  <a:pt x="52477" y="337570"/>
                </a:moveTo>
                <a:lnTo>
                  <a:pt x="47288" y="342340"/>
                </a:lnTo>
                <a:lnTo>
                  <a:pt x="45805" y="345093"/>
                </a:lnTo>
                <a:close/>
                <a:moveTo>
                  <a:pt x="104291" y="336166"/>
                </a:moveTo>
                <a:lnTo>
                  <a:pt x="103776" y="337559"/>
                </a:lnTo>
                <a:lnTo>
                  <a:pt x="108925" y="336166"/>
                </a:lnTo>
                <a:close/>
                <a:moveTo>
                  <a:pt x="1309237" y="322954"/>
                </a:moveTo>
                <a:lnTo>
                  <a:pt x="1309180" y="330559"/>
                </a:lnTo>
                <a:lnTo>
                  <a:pt x="1309237" y="330520"/>
                </a:lnTo>
                <a:close/>
                <a:moveTo>
                  <a:pt x="1308964" y="317715"/>
                </a:moveTo>
                <a:lnTo>
                  <a:pt x="1309237" y="318569"/>
                </a:lnTo>
                <a:lnTo>
                  <a:pt x="1309237" y="317838"/>
                </a:lnTo>
                <a:close/>
                <a:moveTo>
                  <a:pt x="1310087" y="313153"/>
                </a:moveTo>
                <a:lnTo>
                  <a:pt x="1307609" y="313473"/>
                </a:lnTo>
                <a:lnTo>
                  <a:pt x="1308045" y="314836"/>
                </a:lnTo>
                <a:close/>
                <a:moveTo>
                  <a:pt x="1318544" y="312064"/>
                </a:moveTo>
                <a:lnTo>
                  <a:pt x="1316298" y="312353"/>
                </a:lnTo>
                <a:lnTo>
                  <a:pt x="1318544" y="312205"/>
                </a:lnTo>
                <a:close/>
                <a:moveTo>
                  <a:pt x="1084622" y="267674"/>
                </a:moveTo>
                <a:lnTo>
                  <a:pt x="1084227" y="268378"/>
                </a:lnTo>
                <a:cubicBezTo>
                  <a:pt x="1082679" y="268378"/>
                  <a:pt x="1081133" y="268378"/>
                  <a:pt x="1079540" y="268378"/>
                </a:cubicBezTo>
                <a:lnTo>
                  <a:pt x="1079603" y="268477"/>
                </a:lnTo>
                <a:lnTo>
                  <a:pt x="1084192" y="268477"/>
                </a:lnTo>
                <a:close/>
                <a:moveTo>
                  <a:pt x="956410" y="266968"/>
                </a:moveTo>
                <a:lnTo>
                  <a:pt x="957576" y="267083"/>
                </a:lnTo>
                <a:lnTo>
                  <a:pt x="957576" y="269776"/>
                </a:lnTo>
                <a:lnTo>
                  <a:pt x="957694" y="269787"/>
                </a:lnTo>
                <a:cubicBezTo>
                  <a:pt x="957694" y="268857"/>
                  <a:pt x="957694" y="267927"/>
                  <a:pt x="957694" y="266968"/>
                </a:cubicBezTo>
                <a:close/>
                <a:moveTo>
                  <a:pt x="1089372" y="259220"/>
                </a:moveTo>
                <a:lnTo>
                  <a:pt x="1085856" y="265479"/>
                </a:lnTo>
                <a:lnTo>
                  <a:pt x="1088878" y="261431"/>
                </a:lnTo>
                <a:close/>
                <a:moveTo>
                  <a:pt x="1018517" y="223356"/>
                </a:moveTo>
                <a:lnTo>
                  <a:pt x="1013866" y="226190"/>
                </a:lnTo>
                <a:lnTo>
                  <a:pt x="1013024" y="227709"/>
                </a:lnTo>
                <a:lnTo>
                  <a:pt x="1017055" y="224692"/>
                </a:lnTo>
                <a:close/>
                <a:moveTo>
                  <a:pt x="850645" y="220099"/>
                </a:moveTo>
                <a:lnTo>
                  <a:pt x="850897" y="221488"/>
                </a:lnTo>
                <a:cubicBezTo>
                  <a:pt x="851086" y="222545"/>
                  <a:pt x="851275" y="223602"/>
                  <a:pt x="851470" y="224692"/>
                </a:cubicBezTo>
                <a:lnTo>
                  <a:pt x="852860" y="224692"/>
                </a:lnTo>
                <a:close/>
                <a:moveTo>
                  <a:pt x="1155019" y="35"/>
                </a:moveTo>
                <a:cubicBezTo>
                  <a:pt x="1161775" y="275"/>
                  <a:pt x="1168415" y="1783"/>
                  <a:pt x="1174829" y="4853"/>
                </a:cubicBezTo>
                <a:cubicBezTo>
                  <a:pt x="1176343" y="5231"/>
                  <a:pt x="1177858" y="5609"/>
                  <a:pt x="1179418" y="5998"/>
                </a:cubicBezTo>
                <a:cubicBezTo>
                  <a:pt x="1189392" y="9487"/>
                  <a:pt x="1196322" y="14392"/>
                  <a:pt x="1201385" y="22997"/>
                </a:cubicBezTo>
                <a:cubicBezTo>
                  <a:pt x="1206849" y="35244"/>
                  <a:pt x="1206940" y="49865"/>
                  <a:pt x="1201678" y="62191"/>
                </a:cubicBezTo>
                <a:cubicBezTo>
                  <a:pt x="1200594" y="64241"/>
                  <a:pt x="1199461" y="66271"/>
                  <a:pt x="1198261" y="68268"/>
                </a:cubicBezTo>
                <a:cubicBezTo>
                  <a:pt x="1197423" y="69721"/>
                  <a:pt x="1196586" y="71175"/>
                  <a:pt x="1195723" y="72672"/>
                </a:cubicBezTo>
                <a:cubicBezTo>
                  <a:pt x="1194659" y="73980"/>
                  <a:pt x="1194659" y="73980"/>
                  <a:pt x="1193575" y="75314"/>
                </a:cubicBezTo>
                <a:cubicBezTo>
                  <a:pt x="1192544" y="75314"/>
                  <a:pt x="1191512" y="75314"/>
                  <a:pt x="1190450" y="75314"/>
                </a:cubicBezTo>
                <a:cubicBezTo>
                  <a:pt x="1190128" y="76651"/>
                  <a:pt x="1189806" y="77988"/>
                  <a:pt x="1189474" y="79366"/>
                </a:cubicBezTo>
                <a:cubicBezTo>
                  <a:pt x="1187326" y="83769"/>
                  <a:pt x="1187326" y="83769"/>
                  <a:pt x="1182445" y="85707"/>
                </a:cubicBezTo>
                <a:cubicBezTo>
                  <a:pt x="1180962" y="85998"/>
                  <a:pt x="1179480" y="86289"/>
                  <a:pt x="1177953" y="86588"/>
                </a:cubicBezTo>
                <a:cubicBezTo>
                  <a:pt x="1177953" y="87518"/>
                  <a:pt x="1177953" y="88448"/>
                  <a:pt x="1177953" y="89406"/>
                </a:cubicBezTo>
                <a:cubicBezTo>
                  <a:pt x="1175369" y="91088"/>
                  <a:pt x="1172720" y="92688"/>
                  <a:pt x="1170045" y="94251"/>
                </a:cubicBezTo>
                <a:cubicBezTo>
                  <a:pt x="1154651" y="104199"/>
                  <a:pt x="1148918" y="116979"/>
                  <a:pt x="1143806" y="132828"/>
                </a:cubicBezTo>
                <a:cubicBezTo>
                  <a:pt x="1142095" y="137144"/>
                  <a:pt x="1140989" y="138617"/>
                  <a:pt x="1137338" y="141548"/>
                </a:cubicBezTo>
                <a:cubicBezTo>
                  <a:pt x="1136166" y="144148"/>
                  <a:pt x="1134992" y="146751"/>
                  <a:pt x="1133970" y="149403"/>
                </a:cubicBezTo>
                <a:cubicBezTo>
                  <a:pt x="1132069" y="154334"/>
                  <a:pt x="1130006" y="159210"/>
                  <a:pt x="1127965" y="164095"/>
                </a:cubicBezTo>
                <a:cubicBezTo>
                  <a:pt x="1126897" y="166664"/>
                  <a:pt x="1125830" y="169233"/>
                  <a:pt x="1124762" y="171802"/>
                </a:cubicBezTo>
                <a:cubicBezTo>
                  <a:pt x="1122961" y="176134"/>
                  <a:pt x="1121160" y="180466"/>
                  <a:pt x="1119359" y="184798"/>
                </a:cubicBezTo>
                <a:cubicBezTo>
                  <a:pt x="1116567" y="191508"/>
                  <a:pt x="1113778" y="198220"/>
                  <a:pt x="1111014" y="204941"/>
                </a:cubicBezTo>
                <a:cubicBezTo>
                  <a:pt x="1110590" y="205970"/>
                  <a:pt x="1110165" y="206999"/>
                  <a:pt x="1109729" y="208059"/>
                </a:cubicBezTo>
                <a:cubicBezTo>
                  <a:pt x="1108615" y="210762"/>
                  <a:pt x="1107505" y="213466"/>
                  <a:pt x="1106395" y="216170"/>
                </a:cubicBezTo>
                <a:cubicBezTo>
                  <a:pt x="1104320" y="220956"/>
                  <a:pt x="1103283" y="223349"/>
                  <a:pt x="1102147" y="224810"/>
                </a:cubicBezTo>
                <a:lnTo>
                  <a:pt x="1098261" y="227262"/>
                </a:lnTo>
                <a:lnTo>
                  <a:pt x="1098367" y="238475"/>
                </a:lnTo>
                <a:cubicBezTo>
                  <a:pt x="1098025" y="239757"/>
                  <a:pt x="1097684" y="241038"/>
                  <a:pt x="1097331" y="242358"/>
                </a:cubicBezTo>
                <a:cubicBezTo>
                  <a:pt x="1096958" y="243711"/>
                  <a:pt x="1096585" y="245064"/>
                  <a:pt x="1096201" y="246458"/>
                </a:cubicBezTo>
                <a:cubicBezTo>
                  <a:pt x="1093302" y="257363"/>
                  <a:pt x="1090901" y="268062"/>
                  <a:pt x="1089440" y="279206"/>
                </a:cubicBezTo>
                <a:cubicBezTo>
                  <a:pt x="1088878" y="282569"/>
                  <a:pt x="1088878" y="282569"/>
                  <a:pt x="1087316" y="283978"/>
                </a:cubicBezTo>
                <a:cubicBezTo>
                  <a:pt x="1087070" y="286587"/>
                  <a:pt x="1086924" y="289205"/>
                  <a:pt x="1086822" y="291822"/>
                </a:cubicBezTo>
                <a:cubicBezTo>
                  <a:pt x="1086756" y="293408"/>
                  <a:pt x="1086691" y="294993"/>
                  <a:pt x="1086623" y="296625"/>
                </a:cubicBezTo>
                <a:cubicBezTo>
                  <a:pt x="1086562" y="298294"/>
                  <a:pt x="1086501" y="299962"/>
                  <a:pt x="1086437" y="301681"/>
                </a:cubicBezTo>
                <a:cubicBezTo>
                  <a:pt x="1086336" y="304192"/>
                  <a:pt x="1086336" y="304192"/>
                  <a:pt x="1086233" y="306754"/>
                </a:cubicBezTo>
                <a:lnTo>
                  <a:pt x="1086007" y="312619"/>
                </a:lnTo>
                <a:lnTo>
                  <a:pt x="1087470" y="320554"/>
                </a:lnTo>
                <a:cubicBezTo>
                  <a:pt x="1089648" y="325409"/>
                  <a:pt x="1093111" y="329799"/>
                  <a:pt x="1098285" y="334611"/>
                </a:cubicBezTo>
                <a:cubicBezTo>
                  <a:pt x="1100424" y="336130"/>
                  <a:pt x="1100424" y="336130"/>
                  <a:pt x="1102607" y="337679"/>
                </a:cubicBezTo>
                <a:cubicBezTo>
                  <a:pt x="1104334" y="338951"/>
                  <a:pt x="1104334" y="338951"/>
                  <a:pt x="1106095" y="340248"/>
                </a:cubicBezTo>
                <a:cubicBezTo>
                  <a:pt x="1106095" y="341178"/>
                  <a:pt x="1106095" y="342108"/>
                  <a:pt x="1106095" y="343066"/>
                </a:cubicBezTo>
                <a:cubicBezTo>
                  <a:pt x="1107127" y="343183"/>
                  <a:pt x="1108158" y="343299"/>
                  <a:pt x="1109220" y="343419"/>
                </a:cubicBezTo>
                <a:cubicBezTo>
                  <a:pt x="1115473" y="344829"/>
                  <a:pt x="1120724" y="347416"/>
                  <a:pt x="1126403" y="350112"/>
                </a:cubicBezTo>
                <a:cubicBezTo>
                  <a:pt x="1128207" y="350926"/>
                  <a:pt x="1130012" y="351740"/>
                  <a:pt x="1131871" y="352579"/>
                </a:cubicBezTo>
                <a:cubicBezTo>
                  <a:pt x="1133159" y="353160"/>
                  <a:pt x="1134448" y="353741"/>
                  <a:pt x="1135776" y="354340"/>
                </a:cubicBezTo>
                <a:cubicBezTo>
                  <a:pt x="1135776" y="355270"/>
                  <a:pt x="1135776" y="356200"/>
                  <a:pt x="1135776" y="357158"/>
                </a:cubicBezTo>
                <a:cubicBezTo>
                  <a:pt x="1148107" y="360029"/>
                  <a:pt x="1158679" y="359101"/>
                  <a:pt x="1170143" y="354340"/>
                </a:cubicBezTo>
                <a:cubicBezTo>
                  <a:pt x="1172366" y="353468"/>
                  <a:pt x="1172366" y="353468"/>
                  <a:pt x="1174634" y="352579"/>
                </a:cubicBezTo>
                <a:cubicBezTo>
                  <a:pt x="1180354" y="349689"/>
                  <a:pt x="1185568" y="346355"/>
                  <a:pt x="1190890" y="342907"/>
                </a:cubicBezTo>
                <a:cubicBezTo>
                  <a:pt x="1195169" y="340228"/>
                  <a:pt x="1199557" y="337821"/>
                  <a:pt x="1204021" y="335404"/>
                </a:cubicBezTo>
                <a:cubicBezTo>
                  <a:pt x="1211989" y="330886"/>
                  <a:pt x="1217509" y="325766"/>
                  <a:pt x="1223255" y="319110"/>
                </a:cubicBezTo>
                <a:cubicBezTo>
                  <a:pt x="1224447" y="317947"/>
                  <a:pt x="1225639" y="316784"/>
                  <a:pt x="1226868" y="315587"/>
                </a:cubicBezTo>
                <a:cubicBezTo>
                  <a:pt x="1229855" y="311593"/>
                  <a:pt x="1230852" y="308240"/>
                  <a:pt x="1231859" y="303559"/>
                </a:cubicBezTo>
                <a:cubicBezTo>
                  <a:pt x="1232628" y="300790"/>
                  <a:pt x="1232628" y="300790"/>
                  <a:pt x="1234178" y="298059"/>
                </a:cubicBezTo>
                <a:cubicBezTo>
                  <a:pt x="1235964" y="294761"/>
                  <a:pt x="1236623" y="291807"/>
                  <a:pt x="1237314" y="288195"/>
                </a:cubicBezTo>
                <a:cubicBezTo>
                  <a:pt x="1239360" y="278571"/>
                  <a:pt x="1242414" y="272733"/>
                  <a:pt x="1249811" y="265559"/>
                </a:cubicBezTo>
                <a:cubicBezTo>
                  <a:pt x="1250842" y="265559"/>
                  <a:pt x="1251873" y="265559"/>
                  <a:pt x="1252935" y="265559"/>
                </a:cubicBezTo>
                <a:cubicBezTo>
                  <a:pt x="1252935" y="264629"/>
                  <a:pt x="1252935" y="263699"/>
                  <a:pt x="1252935" y="262741"/>
                </a:cubicBezTo>
                <a:cubicBezTo>
                  <a:pt x="1265591" y="253427"/>
                  <a:pt x="1280762" y="251648"/>
                  <a:pt x="1296675" y="252876"/>
                </a:cubicBezTo>
                <a:cubicBezTo>
                  <a:pt x="1300535" y="253563"/>
                  <a:pt x="1303901" y="254478"/>
                  <a:pt x="1307609" y="255695"/>
                </a:cubicBezTo>
                <a:cubicBezTo>
                  <a:pt x="1307609" y="256625"/>
                  <a:pt x="1307609" y="257555"/>
                  <a:pt x="1307609" y="258513"/>
                </a:cubicBezTo>
                <a:cubicBezTo>
                  <a:pt x="1309021" y="258619"/>
                  <a:pt x="1310432" y="258723"/>
                  <a:pt x="1311887" y="258832"/>
                </a:cubicBezTo>
                <a:cubicBezTo>
                  <a:pt x="1319573" y="260476"/>
                  <a:pt x="1322149" y="264416"/>
                  <a:pt x="1326715" y="269969"/>
                </a:cubicBezTo>
                <a:cubicBezTo>
                  <a:pt x="1334402" y="281220"/>
                  <a:pt x="1336114" y="294839"/>
                  <a:pt x="1334165" y="307836"/>
                </a:cubicBezTo>
                <a:cubicBezTo>
                  <a:pt x="1332176" y="311898"/>
                  <a:pt x="1332176" y="311898"/>
                  <a:pt x="1329479" y="314882"/>
                </a:cubicBezTo>
                <a:cubicBezTo>
                  <a:pt x="1327417" y="314882"/>
                  <a:pt x="1325355" y="314882"/>
                  <a:pt x="1323231" y="314882"/>
                </a:cubicBezTo>
                <a:cubicBezTo>
                  <a:pt x="1323231" y="315812"/>
                  <a:pt x="1323231" y="316742"/>
                  <a:pt x="1323231" y="317700"/>
                </a:cubicBezTo>
                <a:lnTo>
                  <a:pt x="1322774" y="317838"/>
                </a:lnTo>
                <a:lnTo>
                  <a:pt x="1323295" y="317838"/>
                </a:lnTo>
                <a:cubicBezTo>
                  <a:pt x="1323295" y="316907"/>
                  <a:pt x="1323295" y="315977"/>
                  <a:pt x="1323295" y="315019"/>
                </a:cubicBezTo>
                <a:cubicBezTo>
                  <a:pt x="1324842" y="315019"/>
                  <a:pt x="1326388" y="315019"/>
                  <a:pt x="1327982" y="315019"/>
                </a:cubicBezTo>
                <a:cubicBezTo>
                  <a:pt x="1325845" y="321328"/>
                  <a:pt x="1322753" y="323742"/>
                  <a:pt x="1317047" y="327702"/>
                </a:cubicBezTo>
                <a:cubicBezTo>
                  <a:pt x="1316531" y="329097"/>
                  <a:pt x="1316016" y="330492"/>
                  <a:pt x="1315484" y="331930"/>
                </a:cubicBezTo>
                <a:cubicBezTo>
                  <a:pt x="1312599" y="332959"/>
                  <a:pt x="1312599" y="332959"/>
                  <a:pt x="1309139" y="333603"/>
                </a:cubicBezTo>
                <a:cubicBezTo>
                  <a:pt x="1307993" y="333827"/>
                  <a:pt x="1306847" y="334050"/>
                  <a:pt x="1305666" y="334280"/>
                </a:cubicBezTo>
                <a:cubicBezTo>
                  <a:pt x="1304783" y="334434"/>
                  <a:pt x="1303899" y="334589"/>
                  <a:pt x="1302988" y="334748"/>
                </a:cubicBezTo>
                <a:lnTo>
                  <a:pt x="1305905" y="332775"/>
                </a:lnTo>
                <a:lnTo>
                  <a:pt x="1304485" y="333202"/>
                </a:lnTo>
                <a:cubicBezTo>
                  <a:pt x="1302987" y="334640"/>
                  <a:pt x="1302987" y="334640"/>
                  <a:pt x="1301459" y="336108"/>
                </a:cubicBezTo>
                <a:cubicBezTo>
                  <a:pt x="1298237" y="338839"/>
                  <a:pt x="1298237" y="338839"/>
                  <a:pt x="1291989" y="338839"/>
                </a:cubicBezTo>
                <a:cubicBezTo>
                  <a:pt x="1291473" y="340234"/>
                  <a:pt x="1290957" y="341629"/>
                  <a:pt x="1290426" y="343066"/>
                </a:cubicBezTo>
                <a:cubicBezTo>
                  <a:pt x="1288879" y="343415"/>
                  <a:pt x="1287333" y="343764"/>
                  <a:pt x="1285740" y="344123"/>
                </a:cubicBezTo>
                <a:cubicBezTo>
                  <a:pt x="1266905" y="348491"/>
                  <a:pt x="1249005" y="369098"/>
                  <a:pt x="1237314" y="382525"/>
                </a:cubicBezTo>
                <a:cubicBezTo>
                  <a:pt x="1235678" y="385783"/>
                  <a:pt x="1234122" y="389075"/>
                  <a:pt x="1232628" y="392389"/>
                </a:cubicBezTo>
                <a:cubicBezTo>
                  <a:pt x="1231317" y="394515"/>
                  <a:pt x="1229981" y="396629"/>
                  <a:pt x="1228625" y="398731"/>
                </a:cubicBezTo>
                <a:cubicBezTo>
                  <a:pt x="1221457" y="410300"/>
                  <a:pt x="1219465" y="421836"/>
                  <a:pt x="1222822" y="434798"/>
                </a:cubicBezTo>
                <a:cubicBezTo>
                  <a:pt x="1229360" y="453710"/>
                  <a:pt x="1244088" y="472467"/>
                  <a:pt x="1260746" y="485398"/>
                </a:cubicBezTo>
                <a:cubicBezTo>
                  <a:pt x="1264961" y="487349"/>
                  <a:pt x="1264961" y="487349"/>
                  <a:pt x="1268556" y="488216"/>
                </a:cubicBezTo>
                <a:cubicBezTo>
                  <a:pt x="1268556" y="489146"/>
                  <a:pt x="1268556" y="490076"/>
                  <a:pt x="1268556" y="491034"/>
                </a:cubicBezTo>
                <a:cubicBezTo>
                  <a:pt x="1288790" y="497071"/>
                  <a:pt x="1319055" y="498555"/>
                  <a:pt x="1338852" y="489625"/>
                </a:cubicBezTo>
                <a:cubicBezTo>
                  <a:pt x="1341711" y="489213"/>
                  <a:pt x="1344575" y="488837"/>
                  <a:pt x="1347444" y="488480"/>
                </a:cubicBezTo>
                <a:cubicBezTo>
                  <a:pt x="1355372" y="487345"/>
                  <a:pt x="1362033" y="485390"/>
                  <a:pt x="1369362" y="482513"/>
                </a:cubicBezTo>
                <a:cubicBezTo>
                  <a:pt x="1375665" y="480318"/>
                  <a:pt x="1382189" y="479322"/>
                  <a:pt x="1388840" y="478351"/>
                </a:cubicBezTo>
                <a:cubicBezTo>
                  <a:pt x="1388840" y="477421"/>
                  <a:pt x="1388840" y="476492"/>
                  <a:pt x="1388840" y="475533"/>
                </a:cubicBezTo>
                <a:cubicBezTo>
                  <a:pt x="1391083" y="474821"/>
                  <a:pt x="1393329" y="474118"/>
                  <a:pt x="1395576" y="473419"/>
                </a:cubicBezTo>
                <a:cubicBezTo>
                  <a:pt x="1396827" y="473027"/>
                  <a:pt x="1398077" y="472635"/>
                  <a:pt x="1399365" y="472230"/>
                </a:cubicBezTo>
                <a:cubicBezTo>
                  <a:pt x="1402899" y="471305"/>
                  <a:pt x="1402899" y="471305"/>
                  <a:pt x="1407585" y="471305"/>
                </a:cubicBezTo>
                <a:cubicBezTo>
                  <a:pt x="1408101" y="469910"/>
                  <a:pt x="1408616" y="468515"/>
                  <a:pt x="1409147" y="467078"/>
                </a:cubicBezTo>
                <a:cubicBezTo>
                  <a:pt x="1412388" y="465580"/>
                  <a:pt x="1412388" y="465580"/>
                  <a:pt x="1416470" y="464259"/>
                </a:cubicBezTo>
                <a:cubicBezTo>
                  <a:pt x="1424029" y="461705"/>
                  <a:pt x="1431130" y="458955"/>
                  <a:pt x="1437949" y="455011"/>
                </a:cubicBezTo>
                <a:cubicBezTo>
                  <a:pt x="1442765" y="452574"/>
                  <a:pt x="1447553" y="451394"/>
                  <a:pt x="1452887" y="450167"/>
                </a:cubicBezTo>
                <a:cubicBezTo>
                  <a:pt x="1452887" y="449237"/>
                  <a:pt x="1452887" y="448307"/>
                  <a:pt x="1452887" y="447349"/>
                </a:cubicBezTo>
                <a:cubicBezTo>
                  <a:pt x="1453714" y="446944"/>
                  <a:pt x="1454541" y="446539"/>
                  <a:pt x="1455394" y="446122"/>
                </a:cubicBezTo>
                <a:cubicBezTo>
                  <a:pt x="1459151" y="444278"/>
                  <a:pt x="1462902" y="442422"/>
                  <a:pt x="1466653" y="440567"/>
                </a:cubicBezTo>
                <a:cubicBezTo>
                  <a:pt x="1467955" y="439930"/>
                  <a:pt x="1469256" y="439293"/>
                  <a:pt x="1470598" y="438637"/>
                </a:cubicBezTo>
                <a:cubicBezTo>
                  <a:pt x="1471852" y="438016"/>
                  <a:pt x="1473105" y="437393"/>
                  <a:pt x="1474397" y="436752"/>
                </a:cubicBezTo>
                <a:cubicBezTo>
                  <a:pt x="1475550" y="436184"/>
                  <a:pt x="1476703" y="435616"/>
                  <a:pt x="1477892" y="435030"/>
                </a:cubicBezTo>
                <a:cubicBezTo>
                  <a:pt x="1480966" y="433279"/>
                  <a:pt x="1483173" y="431373"/>
                  <a:pt x="1485691" y="429029"/>
                </a:cubicBezTo>
                <a:cubicBezTo>
                  <a:pt x="1486737" y="428575"/>
                  <a:pt x="1487781" y="428121"/>
                  <a:pt x="1488858" y="427653"/>
                </a:cubicBezTo>
                <a:cubicBezTo>
                  <a:pt x="1492438" y="425977"/>
                  <a:pt x="1493705" y="424453"/>
                  <a:pt x="1495943" y="421454"/>
                </a:cubicBezTo>
                <a:cubicBezTo>
                  <a:pt x="1507114" y="407544"/>
                  <a:pt x="1519758" y="393513"/>
                  <a:pt x="1538608" y="388338"/>
                </a:cubicBezTo>
                <a:cubicBezTo>
                  <a:pt x="1541025" y="388250"/>
                  <a:pt x="1541025" y="388250"/>
                  <a:pt x="1543490" y="388161"/>
                </a:cubicBezTo>
                <a:cubicBezTo>
                  <a:pt x="1545535" y="387984"/>
                  <a:pt x="1545535" y="387984"/>
                  <a:pt x="1547621" y="387804"/>
                </a:cubicBezTo>
                <a:cubicBezTo>
                  <a:pt x="1560659" y="387094"/>
                  <a:pt x="1568716" y="390117"/>
                  <a:pt x="1579418" y="396617"/>
                </a:cubicBezTo>
                <a:cubicBezTo>
                  <a:pt x="1581361" y="397687"/>
                  <a:pt x="1581361" y="397687"/>
                  <a:pt x="1583342" y="398780"/>
                </a:cubicBezTo>
                <a:cubicBezTo>
                  <a:pt x="1593703" y="405068"/>
                  <a:pt x="1598513" y="412459"/>
                  <a:pt x="1601288" y="423392"/>
                </a:cubicBezTo>
                <a:cubicBezTo>
                  <a:pt x="1603295" y="436596"/>
                  <a:pt x="1603517" y="449033"/>
                  <a:pt x="1594484" y="460159"/>
                </a:cubicBezTo>
                <a:cubicBezTo>
                  <a:pt x="1588468" y="466462"/>
                  <a:pt x="1582607" y="471150"/>
                  <a:pt x="1574732" y="475533"/>
                </a:cubicBezTo>
                <a:cubicBezTo>
                  <a:pt x="1573862" y="476043"/>
                  <a:pt x="1572993" y="476553"/>
                  <a:pt x="1572097" y="477078"/>
                </a:cubicBezTo>
                <a:cubicBezTo>
                  <a:pt x="1566828" y="478935"/>
                  <a:pt x="1561641" y="478744"/>
                  <a:pt x="1556066" y="478737"/>
                </a:cubicBezTo>
                <a:cubicBezTo>
                  <a:pt x="1553587" y="478765"/>
                  <a:pt x="1551109" y="478795"/>
                  <a:pt x="1548631" y="478825"/>
                </a:cubicBezTo>
                <a:cubicBezTo>
                  <a:pt x="1544751" y="478857"/>
                  <a:pt x="1540871" y="478880"/>
                  <a:pt x="1536991" y="478889"/>
                </a:cubicBezTo>
                <a:cubicBezTo>
                  <a:pt x="1516714" y="478693"/>
                  <a:pt x="1516714" y="478693"/>
                  <a:pt x="1498188" y="485398"/>
                </a:cubicBezTo>
                <a:cubicBezTo>
                  <a:pt x="1496062" y="486488"/>
                  <a:pt x="1496062" y="486488"/>
                  <a:pt x="1493892" y="487600"/>
                </a:cubicBezTo>
                <a:cubicBezTo>
                  <a:pt x="1492733" y="488268"/>
                  <a:pt x="1491573" y="488937"/>
                  <a:pt x="1490377" y="489625"/>
                </a:cubicBezTo>
                <a:cubicBezTo>
                  <a:pt x="1484304" y="493012"/>
                  <a:pt x="1478212" y="495675"/>
                  <a:pt x="1471650" y="498185"/>
                </a:cubicBezTo>
                <a:cubicBezTo>
                  <a:pt x="1467148" y="500054"/>
                  <a:pt x="1463242" y="502632"/>
                  <a:pt x="1459135" y="505127"/>
                </a:cubicBezTo>
                <a:cubicBezTo>
                  <a:pt x="1456968" y="506120"/>
                  <a:pt x="1454786" y="507086"/>
                  <a:pt x="1452594" y="508033"/>
                </a:cubicBezTo>
                <a:cubicBezTo>
                  <a:pt x="1444148" y="511772"/>
                  <a:pt x="1435969" y="515903"/>
                  <a:pt x="1427795" y="520100"/>
                </a:cubicBezTo>
                <a:cubicBezTo>
                  <a:pt x="1425784" y="521114"/>
                  <a:pt x="1425784" y="521114"/>
                  <a:pt x="1423733" y="522148"/>
                </a:cubicBezTo>
                <a:cubicBezTo>
                  <a:pt x="1422478" y="522798"/>
                  <a:pt x="1421223" y="523449"/>
                  <a:pt x="1419929" y="524118"/>
                </a:cubicBezTo>
                <a:cubicBezTo>
                  <a:pt x="1418794" y="524701"/>
                  <a:pt x="1417658" y="525283"/>
                  <a:pt x="1416487" y="525883"/>
                </a:cubicBezTo>
                <a:cubicBezTo>
                  <a:pt x="1413349" y="527646"/>
                  <a:pt x="1413349" y="527646"/>
                  <a:pt x="1412271" y="531902"/>
                </a:cubicBezTo>
                <a:cubicBezTo>
                  <a:pt x="1407205" y="535203"/>
                  <a:pt x="1402819" y="536744"/>
                  <a:pt x="1396650" y="537539"/>
                </a:cubicBezTo>
                <a:cubicBezTo>
                  <a:pt x="1396650" y="538469"/>
                  <a:pt x="1396650" y="539399"/>
                  <a:pt x="1396650" y="540357"/>
                </a:cubicBezTo>
                <a:cubicBezTo>
                  <a:pt x="1395609" y="540735"/>
                  <a:pt x="1394568" y="541113"/>
                  <a:pt x="1393495" y="541502"/>
                </a:cubicBezTo>
                <a:cubicBezTo>
                  <a:pt x="1381840" y="545973"/>
                  <a:pt x="1372279" y="551715"/>
                  <a:pt x="1362284" y="558678"/>
                </a:cubicBezTo>
                <a:cubicBezTo>
                  <a:pt x="1360170" y="560088"/>
                  <a:pt x="1358055" y="561497"/>
                  <a:pt x="1355937" y="562905"/>
                </a:cubicBezTo>
                <a:cubicBezTo>
                  <a:pt x="1348556" y="567937"/>
                  <a:pt x="1341292" y="573085"/>
                  <a:pt x="1334165" y="578406"/>
                </a:cubicBezTo>
                <a:cubicBezTo>
                  <a:pt x="1332697" y="579472"/>
                  <a:pt x="1332697" y="579472"/>
                  <a:pt x="1331200" y="580559"/>
                </a:cubicBezTo>
                <a:cubicBezTo>
                  <a:pt x="1325067" y="585430"/>
                  <a:pt x="1323406" y="589771"/>
                  <a:pt x="1322175" y="596793"/>
                </a:cubicBezTo>
                <a:cubicBezTo>
                  <a:pt x="1321669" y="599545"/>
                  <a:pt x="1321669" y="599545"/>
                  <a:pt x="1320106" y="602363"/>
                </a:cubicBezTo>
                <a:cubicBezTo>
                  <a:pt x="1318419" y="618189"/>
                  <a:pt x="1322416" y="632767"/>
                  <a:pt x="1328015" y="647640"/>
                </a:cubicBezTo>
                <a:cubicBezTo>
                  <a:pt x="1331267" y="656625"/>
                  <a:pt x="1333170" y="666179"/>
                  <a:pt x="1332604" y="675643"/>
                </a:cubicBezTo>
                <a:cubicBezTo>
                  <a:pt x="1333634" y="675643"/>
                  <a:pt x="1334665" y="675643"/>
                  <a:pt x="1335727" y="675643"/>
                </a:cubicBezTo>
                <a:cubicBezTo>
                  <a:pt x="1337571" y="680632"/>
                  <a:pt x="1337591" y="684795"/>
                  <a:pt x="1337741" y="690059"/>
                </a:cubicBezTo>
                <a:cubicBezTo>
                  <a:pt x="1337826" y="692114"/>
                  <a:pt x="1337913" y="694168"/>
                  <a:pt x="1338003" y="696222"/>
                </a:cubicBezTo>
                <a:cubicBezTo>
                  <a:pt x="1338142" y="699444"/>
                  <a:pt x="1338266" y="702664"/>
                  <a:pt x="1338340" y="705887"/>
                </a:cubicBezTo>
                <a:cubicBezTo>
                  <a:pt x="1338372" y="720474"/>
                  <a:pt x="1338372" y="720474"/>
                  <a:pt x="1345277" y="733245"/>
                </a:cubicBezTo>
                <a:cubicBezTo>
                  <a:pt x="1350822" y="737861"/>
                  <a:pt x="1355921" y="739823"/>
                  <a:pt x="1363162" y="741612"/>
                </a:cubicBezTo>
                <a:cubicBezTo>
                  <a:pt x="1370672" y="743533"/>
                  <a:pt x="1377197" y="745750"/>
                  <a:pt x="1384154" y="748922"/>
                </a:cubicBezTo>
                <a:cubicBezTo>
                  <a:pt x="1387833" y="749898"/>
                  <a:pt x="1387833" y="749898"/>
                  <a:pt x="1391476" y="750419"/>
                </a:cubicBezTo>
                <a:cubicBezTo>
                  <a:pt x="1393499" y="750747"/>
                  <a:pt x="1393499" y="750747"/>
                  <a:pt x="1395564" y="751080"/>
                </a:cubicBezTo>
                <a:cubicBezTo>
                  <a:pt x="1397648" y="751407"/>
                  <a:pt x="1397648" y="751407"/>
                  <a:pt x="1399775" y="751740"/>
                </a:cubicBezTo>
                <a:cubicBezTo>
                  <a:pt x="1401810" y="752111"/>
                  <a:pt x="1401810" y="752111"/>
                  <a:pt x="1403887" y="752489"/>
                </a:cubicBezTo>
                <a:cubicBezTo>
                  <a:pt x="1424247" y="756131"/>
                  <a:pt x="1444708" y="756350"/>
                  <a:pt x="1465383" y="755969"/>
                </a:cubicBezTo>
                <a:cubicBezTo>
                  <a:pt x="1467019" y="755945"/>
                  <a:pt x="1468654" y="755921"/>
                  <a:pt x="1470339" y="755897"/>
                </a:cubicBezTo>
                <a:cubicBezTo>
                  <a:pt x="1480128" y="755450"/>
                  <a:pt x="1487899" y="752933"/>
                  <a:pt x="1496809" y="749313"/>
                </a:cubicBezTo>
                <a:cubicBezTo>
                  <a:pt x="1502876" y="746888"/>
                  <a:pt x="1509049" y="745091"/>
                  <a:pt x="1515371" y="743285"/>
                </a:cubicBezTo>
                <a:cubicBezTo>
                  <a:pt x="1515371" y="742356"/>
                  <a:pt x="1515371" y="741425"/>
                  <a:pt x="1515371" y="740467"/>
                </a:cubicBezTo>
                <a:cubicBezTo>
                  <a:pt x="1522710" y="737103"/>
                  <a:pt x="1529583" y="737106"/>
                  <a:pt x="1537632" y="737120"/>
                </a:cubicBezTo>
                <a:cubicBezTo>
                  <a:pt x="1538960" y="737122"/>
                  <a:pt x="1540289" y="737124"/>
                  <a:pt x="1541657" y="737127"/>
                </a:cubicBezTo>
                <a:cubicBezTo>
                  <a:pt x="1555502" y="737372"/>
                  <a:pt x="1564314" y="740697"/>
                  <a:pt x="1574732" y="748922"/>
                </a:cubicBezTo>
                <a:cubicBezTo>
                  <a:pt x="1586507" y="762822"/>
                  <a:pt x="1590347" y="775219"/>
                  <a:pt x="1588791" y="792608"/>
                </a:cubicBezTo>
                <a:cubicBezTo>
                  <a:pt x="1587728" y="797050"/>
                  <a:pt x="1586468" y="801261"/>
                  <a:pt x="1584105" y="805291"/>
                </a:cubicBezTo>
                <a:cubicBezTo>
                  <a:pt x="1583074" y="805756"/>
                  <a:pt x="1582043" y="806221"/>
                  <a:pt x="1580981" y="806700"/>
                </a:cubicBezTo>
                <a:cubicBezTo>
                  <a:pt x="1580240" y="807892"/>
                  <a:pt x="1579499" y="809083"/>
                  <a:pt x="1578735" y="810311"/>
                </a:cubicBezTo>
                <a:cubicBezTo>
                  <a:pt x="1577930" y="811445"/>
                  <a:pt x="1577124" y="812579"/>
                  <a:pt x="1576295" y="813746"/>
                </a:cubicBezTo>
                <a:lnTo>
                  <a:pt x="1571652" y="813746"/>
                </a:lnTo>
                <a:lnTo>
                  <a:pt x="1571785" y="814106"/>
                </a:lnTo>
                <a:cubicBezTo>
                  <a:pt x="1572816" y="814571"/>
                  <a:pt x="1573846" y="815036"/>
                  <a:pt x="1574909" y="815515"/>
                </a:cubicBezTo>
                <a:cubicBezTo>
                  <a:pt x="1572126" y="818758"/>
                  <a:pt x="1569968" y="820871"/>
                  <a:pt x="1565463" y="821839"/>
                </a:cubicBezTo>
                <a:lnTo>
                  <a:pt x="1562085" y="822101"/>
                </a:lnTo>
                <a:lnTo>
                  <a:pt x="1551301" y="825020"/>
                </a:lnTo>
                <a:cubicBezTo>
                  <a:pt x="1551301" y="825950"/>
                  <a:pt x="1551301" y="826880"/>
                  <a:pt x="1551301" y="827838"/>
                </a:cubicBezTo>
                <a:cubicBezTo>
                  <a:pt x="1526697" y="828735"/>
                  <a:pt x="1507496" y="825036"/>
                  <a:pt x="1485380" y="815007"/>
                </a:cubicBezTo>
                <a:cubicBezTo>
                  <a:pt x="1468723" y="807743"/>
                  <a:pt x="1449749" y="809144"/>
                  <a:pt x="1431603" y="808726"/>
                </a:cubicBezTo>
                <a:cubicBezTo>
                  <a:pt x="1429115" y="808665"/>
                  <a:pt x="1426627" y="808604"/>
                  <a:pt x="1424140" y="808542"/>
                </a:cubicBezTo>
                <a:cubicBezTo>
                  <a:pt x="1418101" y="808392"/>
                  <a:pt x="1412062" y="808249"/>
                  <a:pt x="1406023" y="808109"/>
                </a:cubicBezTo>
                <a:cubicBezTo>
                  <a:pt x="1406023" y="809040"/>
                  <a:pt x="1406023" y="809970"/>
                  <a:pt x="1406023" y="810928"/>
                </a:cubicBezTo>
                <a:cubicBezTo>
                  <a:pt x="1404716" y="811118"/>
                  <a:pt x="1404716" y="811118"/>
                  <a:pt x="1403383" y="811311"/>
                </a:cubicBezTo>
                <a:cubicBezTo>
                  <a:pt x="1372054" y="815110"/>
                  <a:pt x="1372054" y="815110"/>
                  <a:pt x="1345442" y="828907"/>
                </a:cubicBezTo>
                <a:cubicBezTo>
                  <a:pt x="1338843" y="837605"/>
                  <a:pt x="1338313" y="846434"/>
                  <a:pt x="1337875" y="856639"/>
                </a:cubicBezTo>
                <a:cubicBezTo>
                  <a:pt x="1337815" y="857805"/>
                  <a:pt x="1337754" y="858970"/>
                  <a:pt x="1337692" y="860171"/>
                </a:cubicBezTo>
                <a:cubicBezTo>
                  <a:pt x="1337547" y="863016"/>
                  <a:pt x="1337417" y="865861"/>
                  <a:pt x="1337290" y="868706"/>
                </a:cubicBezTo>
                <a:cubicBezTo>
                  <a:pt x="1336258" y="868706"/>
                  <a:pt x="1335228" y="868706"/>
                  <a:pt x="1334165" y="868706"/>
                </a:cubicBezTo>
                <a:lnTo>
                  <a:pt x="1334165" y="870034"/>
                </a:lnTo>
                <a:lnTo>
                  <a:pt x="1334237" y="869093"/>
                </a:lnTo>
                <a:cubicBezTo>
                  <a:pt x="1334753" y="869093"/>
                  <a:pt x="1335268" y="869093"/>
                  <a:pt x="1335800" y="869093"/>
                </a:cubicBezTo>
                <a:cubicBezTo>
                  <a:pt x="1335884" y="871559"/>
                  <a:pt x="1335944" y="874025"/>
                  <a:pt x="1335995" y="876491"/>
                </a:cubicBezTo>
                <a:cubicBezTo>
                  <a:pt x="1336030" y="877865"/>
                  <a:pt x="1336067" y="879238"/>
                  <a:pt x="1336105" y="880653"/>
                </a:cubicBezTo>
                <a:cubicBezTo>
                  <a:pt x="1335800" y="884594"/>
                  <a:pt x="1335800" y="884594"/>
                  <a:pt x="1334294" y="887271"/>
                </a:cubicBezTo>
                <a:cubicBezTo>
                  <a:pt x="1332567" y="890428"/>
                  <a:pt x="1331982" y="892964"/>
                  <a:pt x="1331455" y="896440"/>
                </a:cubicBezTo>
                <a:cubicBezTo>
                  <a:pt x="1331267" y="897605"/>
                  <a:pt x="1331080" y="898769"/>
                  <a:pt x="1330887" y="899969"/>
                </a:cubicBezTo>
                <a:cubicBezTo>
                  <a:pt x="1330704" y="901174"/>
                  <a:pt x="1330521" y="902378"/>
                  <a:pt x="1330332" y="903618"/>
                </a:cubicBezTo>
                <a:cubicBezTo>
                  <a:pt x="1329968" y="906013"/>
                  <a:pt x="1329594" y="908405"/>
                  <a:pt x="1329209" y="910797"/>
                </a:cubicBezTo>
                <a:cubicBezTo>
                  <a:pt x="1329049" y="911853"/>
                  <a:pt x="1328889" y="912910"/>
                  <a:pt x="1328724" y="913998"/>
                </a:cubicBezTo>
                <a:cubicBezTo>
                  <a:pt x="1327933" y="917233"/>
                  <a:pt x="1326525" y="919703"/>
                  <a:pt x="1324865" y="922643"/>
                </a:cubicBezTo>
                <a:cubicBezTo>
                  <a:pt x="1323924" y="927743"/>
                  <a:pt x="1323282" y="932845"/>
                  <a:pt x="1322619" y="937979"/>
                </a:cubicBezTo>
                <a:lnTo>
                  <a:pt x="1318744" y="944961"/>
                </a:lnTo>
                <a:lnTo>
                  <a:pt x="1318544" y="946213"/>
                </a:lnTo>
                <a:cubicBezTo>
                  <a:pt x="1318360" y="949234"/>
                  <a:pt x="1318271" y="952260"/>
                  <a:pt x="1318251" y="955285"/>
                </a:cubicBezTo>
                <a:cubicBezTo>
                  <a:pt x="1318218" y="957637"/>
                  <a:pt x="1318218" y="957637"/>
                  <a:pt x="1318184" y="960036"/>
                </a:cubicBezTo>
                <a:cubicBezTo>
                  <a:pt x="1318624" y="965530"/>
                  <a:pt x="1319569" y="969724"/>
                  <a:pt x="1324024" y="973660"/>
                </a:cubicBezTo>
                <a:cubicBezTo>
                  <a:pt x="1327197" y="976583"/>
                  <a:pt x="1327950" y="979494"/>
                  <a:pt x="1329284" y="983382"/>
                </a:cubicBezTo>
                <a:cubicBezTo>
                  <a:pt x="1331875" y="990106"/>
                  <a:pt x="1334445" y="993582"/>
                  <a:pt x="1340414" y="998354"/>
                </a:cubicBezTo>
                <a:cubicBezTo>
                  <a:pt x="1342397" y="1000564"/>
                  <a:pt x="1344347" y="1002798"/>
                  <a:pt x="1346272" y="1005048"/>
                </a:cubicBezTo>
                <a:cubicBezTo>
                  <a:pt x="1360055" y="1020713"/>
                  <a:pt x="1376247" y="1031879"/>
                  <a:pt x="1394716" y="1042740"/>
                </a:cubicBezTo>
                <a:cubicBezTo>
                  <a:pt x="1397172" y="1044228"/>
                  <a:pt x="1399581" y="1045779"/>
                  <a:pt x="1401953" y="1047374"/>
                </a:cubicBezTo>
                <a:cubicBezTo>
                  <a:pt x="1410065" y="1052802"/>
                  <a:pt x="1417529" y="1056366"/>
                  <a:pt x="1427197" y="1059061"/>
                </a:cubicBezTo>
                <a:cubicBezTo>
                  <a:pt x="1431243" y="1060437"/>
                  <a:pt x="1434061" y="1061979"/>
                  <a:pt x="1437265" y="1064588"/>
                </a:cubicBezTo>
                <a:cubicBezTo>
                  <a:pt x="1437265" y="1065518"/>
                  <a:pt x="1437265" y="1066448"/>
                  <a:pt x="1437265" y="1067406"/>
                </a:cubicBezTo>
                <a:cubicBezTo>
                  <a:pt x="1439053" y="1067624"/>
                  <a:pt x="1439053" y="1067624"/>
                  <a:pt x="1440878" y="1067847"/>
                </a:cubicBezTo>
                <a:cubicBezTo>
                  <a:pt x="1445076" y="1068815"/>
                  <a:pt x="1445076" y="1068815"/>
                  <a:pt x="1447175" y="1070753"/>
                </a:cubicBezTo>
                <a:cubicBezTo>
                  <a:pt x="1450417" y="1073622"/>
                  <a:pt x="1453781" y="1075060"/>
                  <a:pt x="1457866" y="1076830"/>
                </a:cubicBezTo>
                <a:cubicBezTo>
                  <a:pt x="1459274" y="1077446"/>
                  <a:pt x="1460681" y="1078062"/>
                  <a:pt x="1462132" y="1078696"/>
                </a:cubicBezTo>
                <a:cubicBezTo>
                  <a:pt x="1463204" y="1079156"/>
                  <a:pt x="1464278" y="1079616"/>
                  <a:pt x="1465383" y="1080089"/>
                </a:cubicBezTo>
                <a:cubicBezTo>
                  <a:pt x="1465383" y="1081019"/>
                  <a:pt x="1465383" y="1081949"/>
                  <a:pt x="1465383" y="1082908"/>
                </a:cubicBezTo>
                <a:cubicBezTo>
                  <a:pt x="1466497" y="1083260"/>
                  <a:pt x="1467611" y="1083612"/>
                  <a:pt x="1468758" y="1083975"/>
                </a:cubicBezTo>
                <a:cubicBezTo>
                  <a:pt x="1473648" y="1085905"/>
                  <a:pt x="1477426" y="1088296"/>
                  <a:pt x="1481688" y="1091187"/>
                </a:cubicBezTo>
                <a:cubicBezTo>
                  <a:pt x="1483204" y="1092193"/>
                  <a:pt x="1484721" y="1093200"/>
                  <a:pt x="1486283" y="1094236"/>
                </a:cubicBezTo>
                <a:cubicBezTo>
                  <a:pt x="1489170" y="1096185"/>
                  <a:pt x="1492029" y="1098166"/>
                  <a:pt x="1494869" y="1100171"/>
                </a:cubicBezTo>
                <a:cubicBezTo>
                  <a:pt x="1510181" y="1107906"/>
                  <a:pt x="1527080" y="1109898"/>
                  <a:pt x="1544335" y="1109518"/>
                </a:cubicBezTo>
                <a:cubicBezTo>
                  <a:pt x="1579932" y="1108798"/>
                  <a:pt x="1579932" y="1108798"/>
                  <a:pt x="1593477" y="1119900"/>
                </a:cubicBezTo>
                <a:cubicBezTo>
                  <a:pt x="1600636" y="1127255"/>
                  <a:pt x="1604889" y="1135120"/>
                  <a:pt x="1605975" y="1144913"/>
                </a:cubicBezTo>
                <a:cubicBezTo>
                  <a:pt x="1607006" y="1144913"/>
                  <a:pt x="1608036" y="1144913"/>
                  <a:pt x="1609099" y="1144913"/>
                </a:cubicBezTo>
                <a:cubicBezTo>
                  <a:pt x="1609227" y="1148907"/>
                  <a:pt x="1609319" y="1152897"/>
                  <a:pt x="1609392" y="1156892"/>
                </a:cubicBezTo>
                <a:cubicBezTo>
                  <a:pt x="1609451" y="1158565"/>
                  <a:pt x="1609451" y="1158565"/>
                  <a:pt x="1609511" y="1160272"/>
                </a:cubicBezTo>
                <a:cubicBezTo>
                  <a:pt x="1609621" y="1168378"/>
                  <a:pt x="1607970" y="1174108"/>
                  <a:pt x="1604412" y="1181553"/>
                </a:cubicBezTo>
                <a:cubicBezTo>
                  <a:pt x="1603354" y="1184367"/>
                  <a:pt x="1602306" y="1187183"/>
                  <a:pt x="1601288" y="1190009"/>
                </a:cubicBezTo>
                <a:cubicBezTo>
                  <a:pt x="1600257" y="1190009"/>
                  <a:pt x="1599226" y="1190009"/>
                  <a:pt x="1598164" y="1190009"/>
                </a:cubicBezTo>
                <a:cubicBezTo>
                  <a:pt x="1597842" y="1190910"/>
                  <a:pt x="1597520" y="1191810"/>
                  <a:pt x="1597187" y="1192739"/>
                </a:cubicBezTo>
                <a:cubicBezTo>
                  <a:pt x="1596479" y="1193698"/>
                  <a:pt x="1595770" y="1194657"/>
                  <a:pt x="1595040" y="1195645"/>
                </a:cubicBezTo>
                <a:cubicBezTo>
                  <a:pt x="1591916" y="1196115"/>
                  <a:pt x="1588791" y="1196585"/>
                  <a:pt x="1585667" y="1197055"/>
                </a:cubicBezTo>
                <a:cubicBezTo>
                  <a:pt x="1583871" y="1199826"/>
                  <a:pt x="1583871" y="1199826"/>
                  <a:pt x="1582543" y="1202691"/>
                </a:cubicBezTo>
                <a:cubicBezTo>
                  <a:pt x="1575997" y="1204710"/>
                  <a:pt x="1569266" y="1204360"/>
                  <a:pt x="1562431" y="1204365"/>
                </a:cubicBezTo>
                <a:cubicBezTo>
                  <a:pt x="1561196" y="1204382"/>
                  <a:pt x="1559962" y="1204399"/>
                  <a:pt x="1558690" y="1204417"/>
                </a:cubicBezTo>
                <a:cubicBezTo>
                  <a:pt x="1543339" y="1204452"/>
                  <a:pt x="1531981" y="1199267"/>
                  <a:pt x="1521102" y="1189585"/>
                </a:cubicBezTo>
                <a:cubicBezTo>
                  <a:pt x="1515403" y="1183953"/>
                  <a:pt x="1510116" y="1178123"/>
                  <a:pt x="1505022" y="1172041"/>
                </a:cubicBezTo>
                <a:cubicBezTo>
                  <a:pt x="1493200" y="1158177"/>
                  <a:pt x="1475492" y="1147115"/>
                  <a:pt x="1457573" y="1140686"/>
                </a:cubicBezTo>
                <a:cubicBezTo>
                  <a:pt x="1457573" y="1139755"/>
                  <a:pt x="1457573" y="1138826"/>
                  <a:pt x="1457573" y="1137867"/>
                </a:cubicBezTo>
                <a:cubicBezTo>
                  <a:pt x="1456059" y="1137693"/>
                  <a:pt x="1454544" y="1137518"/>
                  <a:pt x="1452985" y="1137339"/>
                </a:cubicBezTo>
                <a:cubicBezTo>
                  <a:pt x="1451406" y="1137048"/>
                  <a:pt x="1449827" y="1136758"/>
                  <a:pt x="1448200" y="1136458"/>
                </a:cubicBezTo>
                <a:cubicBezTo>
                  <a:pt x="1447685" y="1135528"/>
                  <a:pt x="1447169" y="1134598"/>
                  <a:pt x="1446638" y="1133640"/>
                </a:cubicBezTo>
                <a:cubicBezTo>
                  <a:pt x="1444091" y="1132586"/>
                  <a:pt x="1441535" y="1131550"/>
                  <a:pt x="1438937" y="1130601"/>
                </a:cubicBezTo>
                <a:cubicBezTo>
                  <a:pt x="1435668" y="1129399"/>
                  <a:pt x="1432469" y="1128095"/>
                  <a:pt x="1429260" y="1126770"/>
                </a:cubicBezTo>
                <a:cubicBezTo>
                  <a:pt x="1423389" y="1124389"/>
                  <a:pt x="1417431" y="1122349"/>
                  <a:pt x="1411393" y="1120340"/>
                </a:cubicBezTo>
                <a:cubicBezTo>
                  <a:pt x="1404143" y="1117867"/>
                  <a:pt x="1397842" y="1115090"/>
                  <a:pt x="1391427" y="1111191"/>
                </a:cubicBezTo>
                <a:cubicBezTo>
                  <a:pt x="1388139" y="1109274"/>
                  <a:pt x="1384723" y="1108010"/>
                  <a:pt x="1381029" y="1106865"/>
                </a:cubicBezTo>
                <a:cubicBezTo>
                  <a:pt x="1381029" y="1105934"/>
                  <a:pt x="1381029" y="1105004"/>
                  <a:pt x="1381029" y="1104046"/>
                </a:cubicBezTo>
                <a:cubicBezTo>
                  <a:pt x="1379773" y="1103901"/>
                  <a:pt x="1378516" y="1103755"/>
                  <a:pt x="1377221" y="1103605"/>
                </a:cubicBezTo>
                <a:cubicBezTo>
                  <a:pt x="1370425" y="1102422"/>
                  <a:pt x="1364120" y="1100465"/>
                  <a:pt x="1357597" y="1098409"/>
                </a:cubicBezTo>
                <a:cubicBezTo>
                  <a:pt x="1355761" y="1097857"/>
                  <a:pt x="1353924" y="1097304"/>
                  <a:pt x="1352032" y="1096736"/>
                </a:cubicBezTo>
                <a:cubicBezTo>
                  <a:pt x="1350776" y="1096358"/>
                  <a:pt x="1349519" y="1095980"/>
                  <a:pt x="1348225" y="1095590"/>
                </a:cubicBezTo>
                <a:cubicBezTo>
                  <a:pt x="1348225" y="1094661"/>
                  <a:pt x="1348225" y="1093730"/>
                  <a:pt x="1348225" y="1092772"/>
                </a:cubicBezTo>
                <a:cubicBezTo>
                  <a:pt x="1344616" y="1092307"/>
                  <a:pt x="1341007" y="1091842"/>
                  <a:pt x="1337290" y="1091363"/>
                </a:cubicBezTo>
                <a:cubicBezTo>
                  <a:pt x="1337290" y="1090433"/>
                  <a:pt x="1337290" y="1089503"/>
                  <a:pt x="1337290" y="1088544"/>
                </a:cubicBezTo>
                <a:cubicBezTo>
                  <a:pt x="1334438" y="1088327"/>
                  <a:pt x="1334438" y="1088327"/>
                  <a:pt x="1331529" y="1088104"/>
                </a:cubicBezTo>
                <a:lnTo>
                  <a:pt x="1323297" y="1086611"/>
                </a:lnTo>
                <a:lnTo>
                  <a:pt x="1323297" y="1087618"/>
                </a:lnTo>
                <a:cubicBezTo>
                  <a:pt x="1322139" y="1087517"/>
                  <a:pt x="1320982" y="1087415"/>
                  <a:pt x="1319789" y="1087310"/>
                </a:cubicBezTo>
                <a:cubicBezTo>
                  <a:pt x="1300429" y="1085771"/>
                  <a:pt x="1281330" y="1084680"/>
                  <a:pt x="1262375" y="1089028"/>
                </a:cubicBezTo>
                <a:lnTo>
                  <a:pt x="1258728" y="1088205"/>
                </a:lnTo>
                <a:lnTo>
                  <a:pt x="1246964" y="1091489"/>
                </a:lnTo>
                <a:cubicBezTo>
                  <a:pt x="1237239" y="1097222"/>
                  <a:pt x="1228703" y="1103434"/>
                  <a:pt x="1223224" y="1112865"/>
                </a:cubicBezTo>
                <a:cubicBezTo>
                  <a:pt x="1220867" y="1116643"/>
                  <a:pt x="1217262" y="1119317"/>
                  <a:pt x="1213883" y="1122366"/>
                </a:cubicBezTo>
                <a:cubicBezTo>
                  <a:pt x="1213428" y="1123469"/>
                  <a:pt x="1212973" y="1124572"/>
                  <a:pt x="1212505" y="1125708"/>
                </a:cubicBezTo>
                <a:cubicBezTo>
                  <a:pt x="1210449" y="1130067"/>
                  <a:pt x="1207984" y="1132315"/>
                  <a:pt x="1204180" y="1135561"/>
                </a:cubicBezTo>
                <a:cubicBezTo>
                  <a:pt x="1202879" y="1136695"/>
                  <a:pt x="1201578" y="1137829"/>
                  <a:pt x="1200238" y="1138999"/>
                </a:cubicBezTo>
                <a:cubicBezTo>
                  <a:pt x="1197504" y="1141343"/>
                  <a:pt x="1194765" y="1143684"/>
                  <a:pt x="1192025" y="1146022"/>
                </a:cubicBezTo>
                <a:cubicBezTo>
                  <a:pt x="1181899" y="1154869"/>
                  <a:pt x="1174983" y="1161763"/>
                  <a:pt x="1173945" y="1174749"/>
                </a:cubicBezTo>
                <a:cubicBezTo>
                  <a:pt x="1173902" y="1177369"/>
                  <a:pt x="1173905" y="1179990"/>
                  <a:pt x="1173950" y="1182610"/>
                </a:cubicBezTo>
                <a:cubicBezTo>
                  <a:pt x="1173963" y="1183981"/>
                  <a:pt x="1173975" y="1185352"/>
                  <a:pt x="1173989" y="1186765"/>
                </a:cubicBezTo>
                <a:cubicBezTo>
                  <a:pt x="1174321" y="1197573"/>
                  <a:pt x="1176809" y="1205883"/>
                  <a:pt x="1182640" y="1215374"/>
                </a:cubicBezTo>
                <a:cubicBezTo>
                  <a:pt x="1183703" y="1217509"/>
                  <a:pt x="1184746" y="1219652"/>
                  <a:pt x="1185764" y="1221804"/>
                </a:cubicBezTo>
                <a:cubicBezTo>
                  <a:pt x="1186271" y="1222812"/>
                  <a:pt x="1186779" y="1223821"/>
                  <a:pt x="1187301" y="1224859"/>
                </a:cubicBezTo>
                <a:cubicBezTo>
                  <a:pt x="1188431" y="1227137"/>
                  <a:pt x="1189517" y="1229433"/>
                  <a:pt x="1190573" y="1231740"/>
                </a:cubicBezTo>
                <a:cubicBezTo>
                  <a:pt x="1194650" y="1240409"/>
                  <a:pt x="1199581" y="1247688"/>
                  <a:pt x="1205925" y="1255163"/>
                </a:cubicBezTo>
                <a:cubicBezTo>
                  <a:pt x="1208103" y="1257757"/>
                  <a:pt x="1210188" y="1260417"/>
                  <a:pt x="1212174" y="1263134"/>
                </a:cubicBezTo>
                <a:cubicBezTo>
                  <a:pt x="1218757" y="1272043"/>
                  <a:pt x="1225157" y="1277324"/>
                  <a:pt x="1235556" y="1282538"/>
                </a:cubicBezTo>
                <a:cubicBezTo>
                  <a:pt x="1236652" y="1283161"/>
                  <a:pt x="1237747" y="1283784"/>
                  <a:pt x="1238876" y="1284426"/>
                </a:cubicBezTo>
                <a:cubicBezTo>
                  <a:pt x="1238876" y="1285356"/>
                  <a:pt x="1238876" y="1286287"/>
                  <a:pt x="1238876" y="1287245"/>
                </a:cubicBezTo>
                <a:cubicBezTo>
                  <a:pt x="1239988" y="1287383"/>
                  <a:pt x="1241099" y="1287521"/>
                  <a:pt x="1242245" y="1287663"/>
                </a:cubicBezTo>
                <a:cubicBezTo>
                  <a:pt x="1253043" y="1290072"/>
                  <a:pt x="1264916" y="1297690"/>
                  <a:pt x="1271681" y="1305565"/>
                </a:cubicBezTo>
                <a:lnTo>
                  <a:pt x="1271742" y="1306172"/>
                </a:lnTo>
                <a:lnTo>
                  <a:pt x="1278525" y="1315767"/>
                </a:lnTo>
                <a:cubicBezTo>
                  <a:pt x="1279797" y="1319398"/>
                  <a:pt x="1280365" y="1323346"/>
                  <a:pt x="1281097" y="1327286"/>
                </a:cubicBezTo>
                <a:cubicBezTo>
                  <a:pt x="1281916" y="1337121"/>
                  <a:pt x="1281807" y="1346176"/>
                  <a:pt x="1277973" y="1355470"/>
                </a:cubicBezTo>
                <a:lnTo>
                  <a:pt x="1277460" y="1347025"/>
                </a:lnTo>
                <a:lnTo>
                  <a:pt x="1273531" y="1357991"/>
                </a:lnTo>
                <a:cubicBezTo>
                  <a:pt x="1270940" y="1361892"/>
                  <a:pt x="1267521" y="1365435"/>
                  <a:pt x="1263870" y="1368980"/>
                </a:cubicBezTo>
                <a:cubicBezTo>
                  <a:pt x="1258351" y="1372929"/>
                  <a:pt x="1253850" y="1376026"/>
                  <a:pt x="1246686" y="1376026"/>
                </a:cubicBezTo>
                <a:cubicBezTo>
                  <a:pt x="1246686" y="1376956"/>
                  <a:pt x="1246686" y="1377886"/>
                  <a:pt x="1246686" y="1378844"/>
                </a:cubicBezTo>
                <a:cubicBezTo>
                  <a:pt x="1241676" y="1379009"/>
                  <a:pt x="1236665" y="1379109"/>
                  <a:pt x="1231651" y="1379196"/>
                </a:cubicBezTo>
                <a:cubicBezTo>
                  <a:pt x="1230240" y="1379244"/>
                  <a:pt x="1228828" y="1379291"/>
                  <a:pt x="1227373" y="1379340"/>
                </a:cubicBezTo>
                <a:cubicBezTo>
                  <a:pt x="1218287" y="1379460"/>
                  <a:pt x="1213363" y="1378568"/>
                  <a:pt x="1206071" y="1373207"/>
                </a:cubicBezTo>
                <a:cubicBezTo>
                  <a:pt x="1204751" y="1372742"/>
                  <a:pt x="1203430" y="1372277"/>
                  <a:pt x="1202069" y="1371798"/>
                </a:cubicBezTo>
                <a:cubicBezTo>
                  <a:pt x="1193777" y="1368730"/>
                  <a:pt x="1188124" y="1363294"/>
                  <a:pt x="1184104" y="1356176"/>
                </a:cubicBezTo>
                <a:cubicBezTo>
                  <a:pt x="1180965" y="1349259"/>
                  <a:pt x="1178852" y="1342590"/>
                  <a:pt x="1177270" y="1335247"/>
                </a:cubicBezTo>
                <a:cubicBezTo>
                  <a:pt x="1175525" y="1327352"/>
                  <a:pt x="1172911" y="1320677"/>
                  <a:pt x="1169002" y="1313464"/>
                </a:cubicBezTo>
                <a:cubicBezTo>
                  <a:pt x="1166989" y="1309737"/>
                  <a:pt x="1165215" y="1305976"/>
                  <a:pt x="1163504" y="1302130"/>
                </a:cubicBezTo>
                <a:cubicBezTo>
                  <a:pt x="1163013" y="1301027"/>
                  <a:pt x="1162521" y="1299924"/>
                  <a:pt x="1162015" y="1298788"/>
                </a:cubicBezTo>
                <a:cubicBezTo>
                  <a:pt x="1160770" y="1295700"/>
                  <a:pt x="1160770" y="1295700"/>
                  <a:pt x="1160111" y="1292656"/>
                </a:cubicBezTo>
                <a:cubicBezTo>
                  <a:pt x="1159345" y="1289507"/>
                  <a:pt x="1159345" y="1289507"/>
                  <a:pt x="1154522" y="1287245"/>
                </a:cubicBezTo>
                <a:cubicBezTo>
                  <a:pt x="1153465" y="1284902"/>
                  <a:pt x="1152426" y="1282552"/>
                  <a:pt x="1151398" y="1280199"/>
                </a:cubicBezTo>
                <a:cubicBezTo>
                  <a:pt x="1149056" y="1276983"/>
                  <a:pt x="1146686" y="1273874"/>
                  <a:pt x="1144173" y="1270774"/>
                </a:cubicBezTo>
                <a:cubicBezTo>
                  <a:pt x="1143477" y="1269912"/>
                  <a:pt x="1142782" y="1269049"/>
                  <a:pt x="1142065" y="1268160"/>
                </a:cubicBezTo>
                <a:cubicBezTo>
                  <a:pt x="1139981" y="1265589"/>
                  <a:pt x="1137880" y="1263029"/>
                  <a:pt x="1135776" y="1260470"/>
                </a:cubicBezTo>
                <a:cubicBezTo>
                  <a:pt x="1134647" y="1259076"/>
                  <a:pt x="1133517" y="1257683"/>
                  <a:pt x="1132353" y="1256247"/>
                </a:cubicBezTo>
                <a:cubicBezTo>
                  <a:pt x="1126291" y="1249045"/>
                  <a:pt x="1121408" y="1244606"/>
                  <a:pt x="1112344" y="1240741"/>
                </a:cubicBezTo>
                <a:cubicBezTo>
                  <a:pt x="1110285" y="1239698"/>
                  <a:pt x="1108234" y="1238642"/>
                  <a:pt x="1106193" y="1237570"/>
                </a:cubicBezTo>
                <a:cubicBezTo>
                  <a:pt x="1104615" y="1236756"/>
                  <a:pt x="1103036" y="1235942"/>
                  <a:pt x="1101409" y="1235104"/>
                </a:cubicBezTo>
                <a:cubicBezTo>
                  <a:pt x="1101409" y="1233708"/>
                  <a:pt x="1101409" y="1232313"/>
                  <a:pt x="1101409" y="1230876"/>
                </a:cubicBezTo>
                <a:cubicBezTo>
                  <a:pt x="1089553" y="1230876"/>
                  <a:pt x="1077697" y="1230876"/>
                  <a:pt x="1065480" y="1230876"/>
                </a:cubicBezTo>
                <a:cubicBezTo>
                  <a:pt x="1064965" y="1232271"/>
                  <a:pt x="1064450" y="1233666"/>
                  <a:pt x="1063919" y="1235104"/>
                </a:cubicBezTo>
                <a:cubicBezTo>
                  <a:pt x="1062372" y="1235104"/>
                  <a:pt x="1060826" y="1235104"/>
                  <a:pt x="1059232" y="1235104"/>
                </a:cubicBezTo>
                <a:cubicBezTo>
                  <a:pt x="1059232" y="1236033"/>
                  <a:pt x="1059232" y="1236964"/>
                  <a:pt x="1059232" y="1237922"/>
                </a:cubicBezTo>
                <a:cubicBezTo>
                  <a:pt x="1052964" y="1240850"/>
                  <a:pt x="1046842" y="1243613"/>
                  <a:pt x="1040194" y="1245761"/>
                </a:cubicBezTo>
                <a:cubicBezTo>
                  <a:pt x="1036552" y="1246941"/>
                  <a:pt x="1033682" y="1248088"/>
                  <a:pt x="1030333" y="1249901"/>
                </a:cubicBezTo>
                <a:cubicBezTo>
                  <a:pt x="1025129" y="1252717"/>
                  <a:pt x="1019615" y="1254371"/>
                  <a:pt x="1013931" y="1256242"/>
                </a:cubicBezTo>
                <a:cubicBezTo>
                  <a:pt x="1009870" y="1257688"/>
                  <a:pt x="1008221" y="1258277"/>
                  <a:pt x="1005925" y="1261615"/>
                </a:cubicBezTo>
                <a:cubicBezTo>
                  <a:pt x="1005474" y="1262632"/>
                  <a:pt x="1005023" y="1263649"/>
                  <a:pt x="1004558" y="1264697"/>
                </a:cubicBezTo>
                <a:cubicBezTo>
                  <a:pt x="1004030" y="1265774"/>
                  <a:pt x="1003503" y="1266852"/>
                  <a:pt x="1002959" y="1267961"/>
                </a:cubicBezTo>
                <a:cubicBezTo>
                  <a:pt x="1001408" y="1271808"/>
                  <a:pt x="1000922" y="1274896"/>
                  <a:pt x="1000653" y="1278965"/>
                </a:cubicBezTo>
                <a:cubicBezTo>
                  <a:pt x="1000303" y="1284158"/>
                  <a:pt x="999467" y="1289055"/>
                  <a:pt x="998297" y="1294137"/>
                </a:cubicBezTo>
                <a:cubicBezTo>
                  <a:pt x="996204" y="1304306"/>
                  <a:pt x="996129" y="1314460"/>
                  <a:pt x="996162" y="1324765"/>
                </a:cubicBezTo>
                <a:cubicBezTo>
                  <a:pt x="996163" y="1325782"/>
                  <a:pt x="996163" y="1326799"/>
                  <a:pt x="996164" y="1327846"/>
                </a:cubicBezTo>
                <a:cubicBezTo>
                  <a:pt x="996263" y="1353742"/>
                  <a:pt x="1001081" y="1378188"/>
                  <a:pt x="1007780" y="1403329"/>
                </a:cubicBezTo>
                <a:cubicBezTo>
                  <a:pt x="1008163" y="1404772"/>
                  <a:pt x="1008546" y="1406215"/>
                  <a:pt x="1008940" y="1407701"/>
                </a:cubicBezTo>
                <a:cubicBezTo>
                  <a:pt x="1009316" y="1409030"/>
                  <a:pt x="1009693" y="1410360"/>
                  <a:pt x="1010080" y="1411730"/>
                </a:cubicBezTo>
                <a:cubicBezTo>
                  <a:pt x="1010409" y="1412900"/>
                  <a:pt x="1010737" y="1414071"/>
                  <a:pt x="1011075" y="1415277"/>
                </a:cubicBezTo>
                <a:cubicBezTo>
                  <a:pt x="1012501" y="1418612"/>
                  <a:pt x="1014136" y="1420168"/>
                  <a:pt x="1017055" y="1422530"/>
                </a:cubicBezTo>
                <a:cubicBezTo>
                  <a:pt x="1018770" y="1425162"/>
                  <a:pt x="1018770" y="1425162"/>
                  <a:pt x="1020277" y="1427991"/>
                </a:cubicBezTo>
                <a:cubicBezTo>
                  <a:pt x="1020778" y="1428917"/>
                  <a:pt x="1021280" y="1429844"/>
                  <a:pt x="1021796" y="1430798"/>
                </a:cubicBezTo>
                <a:cubicBezTo>
                  <a:pt x="1023303" y="1433804"/>
                  <a:pt x="1023303" y="1433804"/>
                  <a:pt x="1024579" y="1437239"/>
                </a:cubicBezTo>
                <a:cubicBezTo>
                  <a:pt x="1026915" y="1441803"/>
                  <a:pt x="1030098" y="1444534"/>
                  <a:pt x="1034043" y="1448072"/>
                </a:cubicBezTo>
                <a:lnTo>
                  <a:pt x="1043782" y="1464320"/>
                </a:lnTo>
                <a:lnTo>
                  <a:pt x="1050458" y="1472189"/>
                </a:lnTo>
                <a:cubicBezTo>
                  <a:pt x="1051737" y="1475181"/>
                  <a:pt x="1052277" y="1478513"/>
                  <a:pt x="1052926" y="1482370"/>
                </a:cubicBezTo>
                <a:cubicBezTo>
                  <a:pt x="1053325" y="1487224"/>
                  <a:pt x="1053364" y="1492038"/>
                  <a:pt x="1053316" y="1496903"/>
                </a:cubicBezTo>
                <a:cubicBezTo>
                  <a:pt x="1053328" y="1498142"/>
                  <a:pt x="1053340" y="1499382"/>
                  <a:pt x="1053352" y="1500660"/>
                </a:cubicBezTo>
                <a:cubicBezTo>
                  <a:pt x="1053348" y="1501856"/>
                  <a:pt x="1053344" y="1503052"/>
                  <a:pt x="1053341" y="1504285"/>
                </a:cubicBezTo>
                <a:cubicBezTo>
                  <a:pt x="1053336" y="1505355"/>
                  <a:pt x="1053333" y="1506426"/>
                  <a:pt x="1053329" y="1507529"/>
                </a:cubicBezTo>
                <a:cubicBezTo>
                  <a:pt x="1052876" y="1510927"/>
                  <a:pt x="1051672" y="1513237"/>
                  <a:pt x="1049801" y="1516192"/>
                </a:cubicBezTo>
                <a:lnTo>
                  <a:pt x="1047312" y="1516192"/>
                </a:lnTo>
                <a:lnTo>
                  <a:pt x="1043611" y="1522585"/>
                </a:lnTo>
                <a:cubicBezTo>
                  <a:pt x="1035301" y="1529631"/>
                  <a:pt x="1035301" y="1529631"/>
                  <a:pt x="1029552" y="1529631"/>
                </a:cubicBezTo>
                <a:cubicBezTo>
                  <a:pt x="1029294" y="1530503"/>
                  <a:pt x="1029036" y="1531375"/>
                  <a:pt x="1028771" y="1532273"/>
                </a:cubicBezTo>
                <a:cubicBezTo>
                  <a:pt x="1025795" y="1536076"/>
                  <a:pt x="1022970" y="1536733"/>
                  <a:pt x="1018013" y="1537640"/>
                </a:cubicBezTo>
                <a:cubicBezTo>
                  <a:pt x="1005216" y="1539038"/>
                  <a:pt x="992573" y="1539816"/>
                  <a:pt x="981126" y="1533859"/>
                </a:cubicBezTo>
                <a:cubicBezTo>
                  <a:pt x="979840" y="1533226"/>
                  <a:pt x="978553" y="1532594"/>
                  <a:pt x="977227" y="1531943"/>
                </a:cubicBezTo>
                <a:cubicBezTo>
                  <a:pt x="965286" y="1525877"/>
                  <a:pt x="959626" y="1520520"/>
                  <a:pt x="955376" y="1508751"/>
                </a:cubicBezTo>
                <a:cubicBezTo>
                  <a:pt x="954571" y="1505674"/>
                  <a:pt x="954571" y="1505674"/>
                  <a:pt x="954571" y="1500037"/>
                </a:cubicBezTo>
                <a:cubicBezTo>
                  <a:pt x="953539" y="1500037"/>
                  <a:pt x="952508" y="1500037"/>
                  <a:pt x="951446" y="1500037"/>
                </a:cubicBezTo>
                <a:cubicBezTo>
                  <a:pt x="951361" y="1495986"/>
                  <a:pt x="951299" y="1491935"/>
                  <a:pt x="951251" y="1487883"/>
                </a:cubicBezTo>
                <a:cubicBezTo>
                  <a:pt x="951224" y="1486744"/>
                  <a:pt x="951198" y="1485605"/>
                  <a:pt x="951171" y="1484431"/>
                </a:cubicBezTo>
                <a:cubicBezTo>
                  <a:pt x="951110" y="1477657"/>
                  <a:pt x="952093" y="1472660"/>
                  <a:pt x="954571" y="1466216"/>
                </a:cubicBezTo>
                <a:cubicBezTo>
                  <a:pt x="954867" y="1462451"/>
                  <a:pt x="955016" y="1458876"/>
                  <a:pt x="954961" y="1455118"/>
                </a:cubicBezTo>
                <a:cubicBezTo>
                  <a:pt x="954951" y="1454080"/>
                  <a:pt x="954942" y="1453042"/>
                  <a:pt x="954932" y="1451972"/>
                </a:cubicBezTo>
                <a:cubicBezTo>
                  <a:pt x="954606" y="1435235"/>
                  <a:pt x="952568" y="1419050"/>
                  <a:pt x="945099" y="1403594"/>
                </a:cubicBezTo>
                <a:cubicBezTo>
                  <a:pt x="943714" y="1400177"/>
                  <a:pt x="943046" y="1397128"/>
                  <a:pt x="942366" y="1393553"/>
                </a:cubicBezTo>
                <a:cubicBezTo>
                  <a:pt x="940837" y="1386134"/>
                  <a:pt x="937840" y="1379609"/>
                  <a:pt x="934451" y="1372734"/>
                </a:cubicBezTo>
                <a:cubicBezTo>
                  <a:pt x="932701" y="1368980"/>
                  <a:pt x="932701" y="1368980"/>
                  <a:pt x="931974" y="1365754"/>
                </a:cubicBezTo>
                <a:cubicBezTo>
                  <a:pt x="931699" y="1364958"/>
                  <a:pt x="931422" y="1364162"/>
                  <a:pt x="931138" y="1363343"/>
                </a:cubicBezTo>
                <a:cubicBezTo>
                  <a:pt x="929592" y="1362878"/>
                  <a:pt x="928045" y="1362413"/>
                  <a:pt x="926452" y="1361933"/>
                </a:cubicBezTo>
                <a:cubicBezTo>
                  <a:pt x="921830" y="1355261"/>
                  <a:pt x="920323" y="1348382"/>
                  <a:pt x="918641" y="1340795"/>
                </a:cubicBezTo>
                <a:cubicBezTo>
                  <a:pt x="918133" y="1338914"/>
                  <a:pt x="917616" y="1337034"/>
                  <a:pt x="917079" y="1335158"/>
                </a:cubicBezTo>
                <a:cubicBezTo>
                  <a:pt x="916048" y="1335158"/>
                  <a:pt x="915018" y="1335158"/>
                  <a:pt x="913955" y="1335158"/>
                </a:cubicBezTo>
                <a:cubicBezTo>
                  <a:pt x="913329" y="1333718"/>
                  <a:pt x="912703" y="1332277"/>
                  <a:pt x="912057" y="1330793"/>
                </a:cubicBezTo>
                <a:cubicBezTo>
                  <a:pt x="909497" y="1325424"/>
                  <a:pt x="906114" y="1320822"/>
                  <a:pt x="902142" y="1316222"/>
                </a:cubicBezTo>
                <a:cubicBezTo>
                  <a:pt x="901465" y="1315432"/>
                  <a:pt x="900788" y="1314642"/>
                  <a:pt x="900091" y="1313828"/>
                </a:cubicBezTo>
                <a:cubicBezTo>
                  <a:pt x="893705" y="1306618"/>
                  <a:pt x="886350" y="1301049"/>
                  <a:pt x="878026" y="1295700"/>
                </a:cubicBezTo>
                <a:cubicBezTo>
                  <a:pt x="876595" y="1294594"/>
                  <a:pt x="876595" y="1294594"/>
                  <a:pt x="875134" y="1293465"/>
                </a:cubicBezTo>
                <a:lnTo>
                  <a:pt x="869869" y="1291826"/>
                </a:lnTo>
                <a:lnTo>
                  <a:pt x="862384" y="1291327"/>
                </a:lnTo>
                <a:cubicBezTo>
                  <a:pt x="856441" y="1290067"/>
                  <a:pt x="850461" y="1290346"/>
                  <a:pt x="844390" y="1290461"/>
                </a:cubicBezTo>
                <a:cubicBezTo>
                  <a:pt x="842453" y="1290480"/>
                  <a:pt x="842453" y="1290480"/>
                  <a:pt x="840476" y="1290500"/>
                </a:cubicBezTo>
                <a:cubicBezTo>
                  <a:pt x="837322" y="1290532"/>
                  <a:pt x="834169" y="1290583"/>
                  <a:pt x="831015" y="1290637"/>
                </a:cubicBezTo>
                <a:cubicBezTo>
                  <a:pt x="831015" y="1291568"/>
                  <a:pt x="831015" y="1292498"/>
                  <a:pt x="831015" y="1293456"/>
                </a:cubicBezTo>
                <a:cubicBezTo>
                  <a:pt x="826519" y="1294808"/>
                  <a:pt x="822922" y="1295235"/>
                  <a:pt x="818225" y="1295570"/>
                </a:cubicBezTo>
                <a:lnTo>
                  <a:pt x="796774" y="1297671"/>
                </a:lnTo>
                <a:lnTo>
                  <a:pt x="783646" y="1305736"/>
                </a:lnTo>
                <a:cubicBezTo>
                  <a:pt x="776915" y="1312506"/>
                  <a:pt x="772692" y="1318638"/>
                  <a:pt x="769263" y="1327143"/>
                </a:cubicBezTo>
                <a:cubicBezTo>
                  <a:pt x="767116" y="1332340"/>
                  <a:pt x="767116" y="1332340"/>
                  <a:pt x="764797" y="1334360"/>
                </a:cubicBezTo>
                <a:lnTo>
                  <a:pt x="757875" y="1353503"/>
                </a:lnTo>
                <a:lnTo>
                  <a:pt x="755676" y="1367455"/>
                </a:lnTo>
                <a:lnTo>
                  <a:pt x="750558" y="1399690"/>
                </a:lnTo>
                <a:lnTo>
                  <a:pt x="753057" y="1411256"/>
                </a:lnTo>
                <a:cubicBezTo>
                  <a:pt x="753057" y="1413117"/>
                  <a:pt x="753057" y="1414976"/>
                  <a:pt x="753057" y="1416893"/>
                </a:cubicBezTo>
                <a:cubicBezTo>
                  <a:pt x="754087" y="1416893"/>
                  <a:pt x="755119" y="1416893"/>
                  <a:pt x="756181" y="1416893"/>
                </a:cubicBezTo>
                <a:cubicBezTo>
                  <a:pt x="759348" y="1422607"/>
                  <a:pt x="758101" y="1429902"/>
                  <a:pt x="758133" y="1436182"/>
                </a:cubicBezTo>
                <a:cubicBezTo>
                  <a:pt x="758182" y="1438458"/>
                  <a:pt x="758182" y="1438458"/>
                  <a:pt x="758231" y="1440781"/>
                </a:cubicBezTo>
                <a:cubicBezTo>
                  <a:pt x="758283" y="1450271"/>
                  <a:pt x="758174" y="1458360"/>
                  <a:pt x="750713" y="1465704"/>
                </a:cubicBezTo>
                <a:cubicBezTo>
                  <a:pt x="749940" y="1466193"/>
                  <a:pt x="749167" y="1466681"/>
                  <a:pt x="748370" y="1467185"/>
                </a:cubicBezTo>
                <a:cubicBezTo>
                  <a:pt x="743665" y="1470047"/>
                  <a:pt x="743665" y="1470047"/>
                  <a:pt x="741633" y="1473526"/>
                </a:cubicBezTo>
                <a:cubicBezTo>
                  <a:pt x="737793" y="1477248"/>
                  <a:pt x="733582" y="1477483"/>
                  <a:pt x="728154" y="1478343"/>
                </a:cubicBezTo>
                <a:cubicBezTo>
                  <a:pt x="724855" y="1478778"/>
                  <a:pt x="724855" y="1478778"/>
                  <a:pt x="721814" y="1480308"/>
                </a:cubicBezTo>
                <a:cubicBezTo>
                  <a:pt x="717303" y="1480523"/>
                  <a:pt x="712854" y="1480634"/>
                  <a:pt x="708341" y="1480661"/>
                </a:cubicBezTo>
                <a:cubicBezTo>
                  <a:pt x="707118" y="1480690"/>
                  <a:pt x="705896" y="1480719"/>
                  <a:pt x="704637" y="1480748"/>
                </a:cubicBezTo>
                <a:cubicBezTo>
                  <a:pt x="690446" y="1480834"/>
                  <a:pt x="679632" y="1476246"/>
                  <a:pt x="668507" y="1468418"/>
                </a:cubicBezTo>
                <a:cubicBezTo>
                  <a:pt x="662823" y="1463224"/>
                  <a:pt x="661745" y="1456995"/>
                  <a:pt x="660178" y="1450027"/>
                </a:cubicBezTo>
                <a:cubicBezTo>
                  <a:pt x="659725" y="1446589"/>
                  <a:pt x="659725" y="1446589"/>
                  <a:pt x="657767" y="1445078"/>
                </a:cubicBezTo>
                <a:cubicBezTo>
                  <a:pt x="656859" y="1433686"/>
                  <a:pt x="655965" y="1419178"/>
                  <a:pt x="663369" y="1409390"/>
                </a:cubicBezTo>
                <a:cubicBezTo>
                  <a:pt x="666078" y="1406601"/>
                  <a:pt x="668921" y="1404013"/>
                  <a:pt x="671826" y="1401392"/>
                </a:cubicBezTo>
                <a:cubicBezTo>
                  <a:pt x="675197" y="1397623"/>
                  <a:pt x="677125" y="1394916"/>
                  <a:pt x="678075" y="1390118"/>
                </a:cubicBezTo>
                <a:cubicBezTo>
                  <a:pt x="680137" y="1389653"/>
                  <a:pt x="682199" y="1389188"/>
                  <a:pt x="684323" y="1388709"/>
                </a:cubicBezTo>
                <a:cubicBezTo>
                  <a:pt x="684643" y="1387232"/>
                  <a:pt x="684964" y="1385755"/>
                  <a:pt x="685293" y="1384233"/>
                </a:cubicBezTo>
                <a:cubicBezTo>
                  <a:pt x="685718" y="1382290"/>
                  <a:pt x="686144" y="1380347"/>
                  <a:pt x="686569" y="1378404"/>
                </a:cubicBezTo>
                <a:cubicBezTo>
                  <a:pt x="686885" y="1376945"/>
                  <a:pt x="686885" y="1376945"/>
                  <a:pt x="687207" y="1375456"/>
                </a:cubicBezTo>
                <a:cubicBezTo>
                  <a:pt x="688115" y="1371315"/>
                  <a:pt x="689090" y="1367353"/>
                  <a:pt x="690572" y="1363343"/>
                </a:cubicBezTo>
                <a:cubicBezTo>
                  <a:pt x="692411" y="1350128"/>
                  <a:pt x="692374" y="1336672"/>
                  <a:pt x="692495" y="1323376"/>
                </a:cubicBezTo>
                <a:cubicBezTo>
                  <a:pt x="692524" y="1320586"/>
                  <a:pt x="692574" y="1317796"/>
                  <a:pt x="692625" y="1315006"/>
                </a:cubicBezTo>
                <a:cubicBezTo>
                  <a:pt x="692853" y="1300589"/>
                  <a:pt x="692853" y="1300589"/>
                  <a:pt x="687447" y="1287245"/>
                </a:cubicBezTo>
                <a:cubicBezTo>
                  <a:pt x="685901" y="1286780"/>
                  <a:pt x="684354" y="1286315"/>
                  <a:pt x="682761" y="1285835"/>
                </a:cubicBezTo>
                <a:cubicBezTo>
                  <a:pt x="680876" y="1283743"/>
                  <a:pt x="680876" y="1283743"/>
                  <a:pt x="678954" y="1281608"/>
                </a:cubicBezTo>
                <a:cubicBezTo>
                  <a:pt x="674854" y="1277278"/>
                  <a:pt x="674356" y="1276958"/>
                  <a:pt x="668702" y="1275971"/>
                </a:cubicBezTo>
                <a:cubicBezTo>
                  <a:pt x="666619" y="1274092"/>
                  <a:pt x="664536" y="1272213"/>
                  <a:pt x="662454" y="1270334"/>
                </a:cubicBezTo>
                <a:cubicBezTo>
                  <a:pt x="658341" y="1268566"/>
                  <a:pt x="658341" y="1268566"/>
                  <a:pt x="654643" y="1267516"/>
                </a:cubicBezTo>
                <a:cubicBezTo>
                  <a:pt x="654643" y="1266585"/>
                  <a:pt x="654643" y="1265656"/>
                  <a:pt x="654643" y="1264697"/>
                </a:cubicBezTo>
                <a:cubicBezTo>
                  <a:pt x="653161" y="1264581"/>
                  <a:pt x="651679" y="1264465"/>
                  <a:pt x="650152" y="1264345"/>
                </a:cubicBezTo>
                <a:cubicBezTo>
                  <a:pt x="642318" y="1263373"/>
                  <a:pt x="635297" y="1260465"/>
                  <a:pt x="628087" y="1257651"/>
                </a:cubicBezTo>
                <a:cubicBezTo>
                  <a:pt x="628087" y="1256721"/>
                  <a:pt x="628087" y="1255791"/>
                  <a:pt x="628087" y="1254833"/>
                </a:cubicBezTo>
                <a:cubicBezTo>
                  <a:pt x="627108" y="1254662"/>
                  <a:pt x="626129" y="1254491"/>
                  <a:pt x="625121" y="1254315"/>
                </a:cubicBezTo>
                <a:cubicBezTo>
                  <a:pt x="623845" y="1254079"/>
                  <a:pt x="622568" y="1253843"/>
                  <a:pt x="621252" y="1253600"/>
                </a:cubicBezTo>
                <a:cubicBezTo>
                  <a:pt x="619984" y="1253371"/>
                  <a:pt x="618716" y="1253142"/>
                  <a:pt x="617409" y="1252906"/>
                </a:cubicBezTo>
                <a:cubicBezTo>
                  <a:pt x="614027" y="1252014"/>
                  <a:pt x="614027" y="1252014"/>
                  <a:pt x="610904" y="1249196"/>
                </a:cubicBezTo>
                <a:cubicBezTo>
                  <a:pt x="592259" y="1248653"/>
                  <a:pt x="578635" y="1260869"/>
                  <a:pt x="565739" y="1271742"/>
                </a:cubicBezTo>
                <a:cubicBezTo>
                  <a:pt x="558808" y="1277725"/>
                  <a:pt x="552763" y="1283983"/>
                  <a:pt x="546924" y="1290829"/>
                </a:cubicBezTo>
                <a:cubicBezTo>
                  <a:pt x="545838" y="1292087"/>
                  <a:pt x="544753" y="1293346"/>
                  <a:pt x="543635" y="1294643"/>
                </a:cubicBezTo>
                <a:cubicBezTo>
                  <a:pt x="542650" y="1295813"/>
                  <a:pt x="541666" y="1296983"/>
                  <a:pt x="540651" y="1298188"/>
                </a:cubicBezTo>
                <a:cubicBezTo>
                  <a:pt x="537294" y="1301526"/>
                  <a:pt x="533978" y="1303337"/>
                  <a:pt x="529673" y="1305565"/>
                </a:cubicBezTo>
                <a:cubicBezTo>
                  <a:pt x="527599" y="1308478"/>
                  <a:pt x="527599" y="1308478"/>
                  <a:pt x="526549" y="1311202"/>
                </a:cubicBezTo>
                <a:cubicBezTo>
                  <a:pt x="525518" y="1311202"/>
                  <a:pt x="524487" y="1311202"/>
                  <a:pt x="523425" y="1311202"/>
                </a:cubicBezTo>
                <a:cubicBezTo>
                  <a:pt x="523360" y="1311986"/>
                  <a:pt x="523296" y="1312771"/>
                  <a:pt x="523230" y="1313580"/>
                </a:cubicBezTo>
                <a:cubicBezTo>
                  <a:pt x="521863" y="1316839"/>
                  <a:pt x="521863" y="1316839"/>
                  <a:pt x="517732" y="1319739"/>
                </a:cubicBezTo>
                <a:cubicBezTo>
                  <a:pt x="511111" y="1324565"/>
                  <a:pt x="506875" y="1330731"/>
                  <a:pt x="502239" y="1337096"/>
                </a:cubicBezTo>
                <a:cubicBezTo>
                  <a:pt x="500512" y="1339427"/>
                  <a:pt x="498785" y="1341757"/>
                  <a:pt x="497058" y="1344087"/>
                </a:cubicBezTo>
                <a:cubicBezTo>
                  <a:pt x="495827" y="1345760"/>
                  <a:pt x="495827" y="1345760"/>
                  <a:pt x="494572" y="1347465"/>
                </a:cubicBezTo>
                <a:cubicBezTo>
                  <a:pt x="492366" y="1350414"/>
                  <a:pt x="490094" y="1353304"/>
                  <a:pt x="487776" y="1356181"/>
                </a:cubicBezTo>
                <a:cubicBezTo>
                  <a:pt x="484805" y="1359972"/>
                  <a:pt x="482865" y="1363193"/>
                  <a:pt x="481248" y="1367571"/>
                </a:cubicBezTo>
                <a:cubicBezTo>
                  <a:pt x="480216" y="1367571"/>
                  <a:pt x="479186" y="1367571"/>
                  <a:pt x="478123" y="1367571"/>
                </a:cubicBezTo>
                <a:cubicBezTo>
                  <a:pt x="477963" y="1368558"/>
                  <a:pt x="477801" y="1369547"/>
                  <a:pt x="477635" y="1370565"/>
                </a:cubicBezTo>
                <a:cubicBezTo>
                  <a:pt x="475602" y="1378236"/>
                  <a:pt x="471952" y="1383371"/>
                  <a:pt x="465626" y="1388709"/>
                </a:cubicBezTo>
                <a:cubicBezTo>
                  <a:pt x="462272" y="1392748"/>
                  <a:pt x="462272" y="1392748"/>
                  <a:pt x="461233" y="1397340"/>
                </a:cubicBezTo>
                <a:cubicBezTo>
                  <a:pt x="460030" y="1401461"/>
                  <a:pt x="458298" y="1404501"/>
                  <a:pt x="455765" y="1408086"/>
                </a:cubicBezTo>
                <a:cubicBezTo>
                  <a:pt x="442829" y="1428603"/>
                  <a:pt x="441572" y="1454548"/>
                  <a:pt x="439070" y="1477490"/>
                </a:cubicBezTo>
                <a:cubicBezTo>
                  <a:pt x="437524" y="1477955"/>
                  <a:pt x="435977" y="1478420"/>
                  <a:pt x="434384" y="1478899"/>
                </a:cubicBezTo>
                <a:cubicBezTo>
                  <a:pt x="433739" y="1479916"/>
                  <a:pt x="433095" y="1480933"/>
                  <a:pt x="432431" y="1481982"/>
                </a:cubicBezTo>
                <a:cubicBezTo>
                  <a:pt x="428860" y="1487159"/>
                  <a:pt x="424291" y="1490903"/>
                  <a:pt x="418763" y="1494401"/>
                </a:cubicBezTo>
                <a:cubicBezTo>
                  <a:pt x="417731" y="1494401"/>
                  <a:pt x="416701" y="1494401"/>
                  <a:pt x="415639" y="1494401"/>
                </a:cubicBezTo>
                <a:cubicBezTo>
                  <a:pt x="415639" y="1495330"/>
                  <a:pt x="415639" y="1496260"/>
                  <a:pt x="415639" y="1497219"/>
                </a:cubicBezTo>
                <a:cubicBezTo>
                  <a:pt x="412546" y="1497684"/>
                  <a:pt x="409453" y="1498149"/>
                  <a:pt x="406265" y="1498628"/>
                </a:cubicBezTo>
                <a:cubicBezTo>
                  <a:pt x="406265" y="1499559"/>
                  <a:pt x="406265" y="1500488"/>
                  <a:pt x="406265" y="1501447"/>
                </a:cubicBezTo>
                <a:cubicBezTo>
                  <a:pt x="395955" y="1501447"/>
                  <a:pt x="385645" y="1501447"/>
                  <a:pt x="375023" y="1501447"/>
                </a:cubicBezTo>
                <a:lnTo>
                  <a:pt x="375023" y="1499438"/>
                </a:lnTo>
                <a:lnTo>
                  <a:pt x="374964" y="1499436"/>
                </a:lnTo>
                <a:lnTo>
                  <a:pt x="373179" y="1498628"/>
                </a:lnTo>
                <a:lnTo>
                  <a:pt x="365650" y="1498628"/>
                </a:lnTo>
                <a:lnTo>
                  <a:pt x="363134" y="1494087"/>
                </a:lnTo>
                <a:lnTo>
                  <a:pt x="362171" y="1493651"/>
                </a:lnTo>
                <a:cubicBezTo>
                  <a:pt x="361656" y="1492722"/>
                  <a:pt x="361140" y="1491791"/>
                  <a:pt x="360609" y="1490833"/>
                </a:cubicBezTo>
                <a:cubicBezTo>
                  <a:pt x="361640" y="1490833"/>
                  <a:pt x="362671" y="1490833"/>
                  <a:pt x="363733" y="1490833"/>
                </a:cubicBezTo>
                <a:lnTo>
                  <a:pt x="363733" y="1489980"/>
                </a:lnTo>
                <a:lnTo>
                  <a:pt x="348467" y="1481717"/>
                </a:lnTo>
                <a:lnTo>
                  <a:pt x="343872" y="1461078"/>
                </a:lnTo>
                <a:lnTo>
                  <a:pt x="343656" y="1463649"/>
                </a:lnTo>
                <a:cubicBezTo>
                  <a:pt x="343541" y="1465230"/>
                  <a:pt x="343541" y="1465230"/>
                  <a:pt x="343424" y="1466842"/>
                </a:cubicBezTo>
                <a:cubicBezTo>
                  <a:pt x="342908" y="1466842"/>
                  <a:pt x="342393" y="1466842"/>
                  <a:pt x="341861" y="1466842"/>
                </a:cubicBezTo>
                <a:cubicBezTo>
                  <a:pt x="340987" y="1449564"/>
                  <a:pt x="340999" y="1434331"/>
                  <a:pt x="354143" y="1420549"/>
                </a:cubicBezTo>
                <a:cubicBezTo>
                  <a:pt x="360765" y="1414011"/>
                  <a:pt x="367631" y="1407790"/>
                  <a:pt x="376229" y="1403427"/>
                </a:cubicBezTo>
                <a:lnTo>
                  <a:pt x="379491" y="1404408"/>
                </a:lnTo>
                <a:lnTo>
                  <a:pt x="379710" y="1404210"/>
                </a:lnTo>
                <a:cubicBezTo>
                  <a:pt x="380290" y="1402902"/>
                  <a:pt x="380290" y="1402902"/>
                  <a:pt x="380882" y="1401568"/>
                </a:cubicBezTo>
                <a:cubicBezTo>
                  <a:pt x="383675" y="1397284"/>
                  <a:pt x="387587" y="1395610"/>
                  <a:pt x="392207" y="1392936"/>
                </a:cubicBezTo>
                <a:lnTo>
                  <a:pt x="399542" y="1386774"/>
                </a:lnTo>
                <a:lnTo>
                  <a:pt x="405485" y="1378917"/>
                </a:lnTo>
                <a:cubicBezTo>
                  <a:pt x="408065" y="1375974"/>
                  <a:pt x="410029" y="1372774"/>
                  <a:pt x="412008" y="1369481"/>
                </a:cubicBezTo>
                <a:cubicBezTo>
                  <a:pt x="414759" y="1365166"/>
                  <a:pt x="417963" y="1361131"/>
                  <a:pt x="421130" y="1357057"/>
                </a:cubicBezTo>
                <a:cubicBezTo>
                  <a:pt x="423073" y="1354140"/>
                  <a:pt x="423985" y="1351767"/>
                  <a:pt x="424676" y="1348443"/>
                </a:cubicBezTo>
                <a:lnTo>
                  <a:pt x="427275" y="1348443"/>
                </a:lnTo>
                <a:lnTo>
                  <a:pt x="428135" y="1345727"/>
                </a:lnTo>
                <a:cubicBezTo>
                  <a:pt x="429370" y="1341828"/>
                  <a:pt x="430645" y="1338666"/>
                  <a:pt x="432822" y="1335158"/>
                </a:cubicBezTo>
                <a:cubicBezTo>
                  <a:pt x="433853" y="1335158"/>
                  <a:pt x="434884" y="1335158"/>
                  <a:pt x="435946" y="1335158"/>
                </a:cubicBezTo>
                <a:cubicBezTo>
                  <a:pt x="436526" y="1333385"/>
                  <a:pt x="437106" y="1331613"/>
                  <a:pt x="437704" y="1329786"/>
                </a:cubicBezTo>
                <a:cubicBezTo>
                  <a:pt x="440162" y="1323132"/>
                  <a:pt x="443602" y="1317301"/>
                  <a:pt x="447394" y="1311196"/>
                </a:cubicBezTo>
                <a:cubicBezTo>
                  <a:pt x="456493" y="1296485"/>
                  <a:pt x="463325" y="1281864"/>
                  <a:pt x="469287" y="1265964"/>
                </a:cubicBezTo>
                <a:cubicBezTo>
                  <a:pt x="474589" y="1252134"/>
                  <a:pt x="474589" y="1252134"/>
                  <a:pt x="478178" y="1246787"/>
                </a:cubicBezTo>
                <a:cubicBezTo>
                  <a:pt x="481232" y="1240246"/>
                  <a:pt x="480204" y="1232766"/>
                  <a:pt x="480179" y="1225768"/>
                </a:cubicBezTo>
                <a:cubicBezTo>
                  <a:pt x="480174" y="1222894"/>
                  <a:pt x="480210" y="1220023"/>
                  <a:pt x="480250" y="1217149"/>
                </a:cubicBezTo>
                <a:cubicBezTo>
                  <a:pt x="480260" y="1199291"/>
                  <a:pt x="476718" y="1187768"/>
                  <a:pt x="462972" y="1174827"/>
                </a:cubicBezTo>
                <a:cubicBezTo>
                  <a:pt x="461148" y="1173192"/>
                  <a:pt x="459312" y="1171566"/>
                  <a:pt x="457468" y="1169949"/>
                </a:cubicBezTo>
                <a:cubicBezTo>
                  <a:pt x="451412" y="1164522"/>
                  <a:pt x="445876" y="1158660"/>
                  <a:pt x="440657" y="1152570"/>
                </a:cubicBezTo>
                <a:cubicBezTo>
                  <a:pt x="430474" y="1140786"/>
                  <a:pt x="418230" y="1128998"/>
                  <a:pt x="403142" y="1122366"/>
                </a:cubicBezTo>
                <a:cubicBezTo>
                  <a:pt x="402626" y="1121436"/>
                  <a:pt x="402110" y="1120506"/>
                  <a:pt x="401579" y="1119547"/>
                </a:cubicBezTo>
                <a:cubicBezTo>
                  <a:pt x="390472" y="1115326"/>
                  <a:pt x="375918" y="1114217"/>
                  <a:pt x="364564" y="1118209"/>
                </a:cubicBezTo>
                <a:cubicBezTo>
                  <a:pt x="362278" y="1119428"/>
                  <a:pt x="360026" y="1120704"/>
                  <a:pt x="357822" y="1122041"/>
                </a:cubicBezTo>
                <a:cubicBezTo>
                  <a:pt x="354521" y="1123884"/>
                  <a:pt x="351862" y="1124582"/>
                  <a:pt x="348077" y="1125273"/>
                </a:cubicBezTo>
                <a:cubicBezTo>
                  <a:pt x="341765" y="1126696"/>
                  <a:pt x="339382" y="1128619"/>
                  <a:pt x="334408" y="1132230"/>
                </a:cubicBezTo>
                <a:cubicBezTo>
                  <a:pt x="332284" y="1132909"/>
                  <a:pt x="330131" y="1133519"/>
                  <a:pt x="327964" y="1134080"/>
                </a:cubicBezTo>
                <a:cubicBezTo>
                  <a:pt x="309975" y="1139067"/>
                  <a:pt x="290592" y="1152117"/>
                  <a:pt x="279734" y="1166051"/>
                </a:cubicBezTo>
                <a:cubicBezTo>
                  <a:pt x="277929" y="1169534"/>
                  <a:pt x="277929" y="1169534"/>
                  <a:pt x="276609" y="1173098"/>
                </a:cubicBezTo>
                <a:cubicBezTo>
                  <a:pt x="272413" y="1180804"/>
                  <a:pt x="269322" y="1184144"/>
                  <a:pt x="260988" y="1188599"/>
                </a:cubicBezTo>
                <a:cubicBezTo>
                  <a:pt x="259988" y="1189435"/>
                  <a:pt x="258987" y="1190271"/>
                  <a:pt x="257956" y="1191132"/>
                </a:cubicBezTo>
                <a:lnTo>
                  <a:pt x="243805" y="1196629"/>
                </a:lnTo>
                <a:lnTo>
                  <a:pt x="243805" y="1194236"/>
                </a:lnTo>
                <a:lnTo>
                  <a:pt x="240288" y="1194765"/>
                </a:lnTo>
                <a:lnTo>
                  <a:pt x="243374" y="1194765"/>
                </a:lnTo>
                <a:lnTo>
                  <a:pt x="243374" y="1196797"/>
                </a:lnTo>
                <a:lnTo>
                  <a:pt x="243805" y="1196629"/>
                </a:lnTo>
                <a:lnTo>
                  <a:pt x="243805" y="1197055"/>
                </a:lnTo>
                <a:lnTo>
                  <a:pt x="243374" y="1197055"/>
                </a:lnTo>
                <a:lnTo>
                  <a:pt x="243374" y="1197584"/>
                </a:lnTo>
                <a:lnTo>
                  <a:pt x="241319" y="1197595"/>
                </a:lnTo>
                <a:lnTo>
                  <a:pt x="238009" y="1198881"/>
                </a:lnTo>
                <a:cubicBezTo>
                  <a:pt x="231012" y="1199584"/>
                  <a:pt x="223620" y="1198927"/>
                  <a:pt x="215687" y="1198464"/>
                </a:cubicBezTo>
                <a:lnTo>
                  <a:pt x="215687" y="1197734"/>
                </a:lnTo>
                <a:lnTo>
                  <a:pt x="213936" y="1197744"/>
                </a:lnTo>
                <a:cubicBezTo>
                  <a:pt x="210570" y="1197584"/>
                  <a:pt x="210570" y="1197584"/>
                  <a:pt x="207446" y="1196175"/>
                </a:cubicBezTo>
                <a:lnTo>
                  <a:pt x="207822" y="1195610"/>
                </a:lnTo>
                <a:lnTo>
                  <a:pt x="184737" y="1180936"/>
                </a:lnTo>
                <a:cubicBezTo>
                  <a:pt x="180258" y="1172216"/>
                  <a:pt x="179226" y="1164355"/>
                  <a:pt x="179270" y="1154866"/>
                </a:cubicBezTo>
                <a:cubicBezTo>
                  <a:pt x="179233" y="1153260"/>
                  <a:pt x="179233" y="1153260"/>
                  <a:pt x="179194" y="1151621"/>
                </a:cubicBezTo>
                <a:cubicBezTo>
                  <a:pt x="179182" y="1139523"/>
                  <a:pt x="183658" y="1128837"/>
                  <a:pt x="193195" y="1120065"/>
                </a:cubicBezTo>
                <a:cubicBezTo>
                  <a:pt x="204265" y="1110959"/>
                  <a:pt x="215062" y="1110626"/>
                  <a:pt x="229551" y="1110299"/>
                </a:cubicBezTo>
                <a:cubicBezTo>
                  <a:pt x="240132" y="1110024"/>
                  <a:pt x="250506" y="1109652"/>
                  <a:pt x="260988" y="1108274"/>
                </a:cubicBezTo>
                <a:cubicBezTo>
                  <a:pt x="260988" y="1107344"/>
                  <a:pt x="260988" y="1106413"/>
                  <a:pt x="260988" y="1105455"/>
                </a:cubicBezTo>
                <a:cubicBezTo>
                  <a:pt x="261953" y="1105078"/>
                  <a:pt x="262918" y="1104699"/>
                  <a:pt x="263911" y="1104310"/>
                </a:cubicBezTo>
                <a:cubicBezTo>
                  <a:pt x="272903" y="1100557"/>
                  <a:pt x="279802" y="1096307"/>
                  <a:pt x="286995" y="1090185"/>
                </a:cubicBezTo>
                <a:cubicBezTo>
                  <a:pt x="290956" y="1086897"/>
                  <a:pt x="295114" y="1083955"/>
                  <a:pt x="299358" y="1080970"/>
                </a:cubicBezTo>
                <a:cubicBezTo>
                  <a:pt x="306613" y="1075692"/>
                  <a:pt x="312234" y="1070023"/>
                  <a:pt x="317762" y="1063272"/>
                </a:cubicBezTo>
                <a:cubicBezTo>
                  <a:pt x="320349" y="1060360"/>
                  <a:pt x="320349" y="1060360"/>
                  <a:pt x="325035" y="1057542"/>
                </a:cubicBezTo>
                <a:cubicBezTo>
                  <a:pt x="329912" y="1045734"/>
                  <a:pt x="327928" y="1035103"/>
                  <a:pt x="325328" y="1023104"/>
                </a:cubicBezTo>
                <a:cubicBezTo>
                  <a:pt x="325069" y="1021831"/>
                  <a:pt x="324811" y="1020559"/>
                  <a:pt x="324544" y="1019247"/>
                </a:cubicBezTo>
                <a:cubicBezTo>
                  <a:pt x="322876" y="1011407"/>
                  <a:pt x="320562" y="1004340"/>
                  <a:pt x="317225" y="996945"/>
                </a:cubicBezTo>
                <a:cubicBezTo>
                  <a:pt x="316619" y="995541"/>
                  <a:pt x="316013" y="994137"/>
                  <a:pt x="315388" y="992690"/>
                </a:cubicBezTo>
                <a:cubicBezTo>
                  <a:pt x="306307" y="972561"/>
                  <a:pt x="298931" y="959343"/>
                  <a:pt x="276232" y="950666"/>
                </a:cubicBezTo>
                <a:cubicBezTo>
                  <a:pt x="274810" y="950127"/>
                  <a:pt x="273388" y="949587"/>
                  <a:pt x="271923" y="949031"/>
                </a:cubicBezTo>
                <a:cubicBezTo>
                  <a:pt x="270129" y="948244"/>
                  <a:pt x="270129" y="948244"/>
                  <a:pt x="268299" y="947441"/>
                </a:cubicBezTo>
                <a:cubicBezTo>
                  <a:pt x="247071" y="938140"/>
                  <a:pt x="222259" y="939051"/>
                  <a:pt x="199187" y="938991"/>
                </a:cubicBezTo>
                <a:cubicBezTo>
                  <a:pt x="197383" y="938984"/>
                  <a:pt x="195579" y="938978"/>
                  <a:pt x="193719" y="938971"/>
                </a:cubicBezTo>
                <a:cubicBezTo>
                  <a:pt x="192010" y="938974"/>
                  <a:pt x="190300" y="938977"/>
                  <a:pt x="188539" y="938980"/>
                </a:cubicBezTo>
                <a:cubicBezTo>
                  <a:pt x="187000" y="938981"/>
                  <a:pt x="185460" y="938983"/>
                  <a:pt x="183874" y="938985"/>
                </a:cubicBezTo>
                <a:cubicBezTo>
                  <a:pt x="180148" y="939150"/>
                  <a:pt x="177092" y="939720"/>
                  <a:pt x="173509" y="940576"/>
                </a:cubicBezTo>
                <a:cubicBezTo>
                  <a:pt x="169458" y="940674"/>
                  <a:pt x="165452" y="940710"/>
                  <a:pt x="161403" y="940664"/>
                </a:cubicBezTo>
                <a:cubicBezTo>
                  <a:pt x="160314" y="940658"/>
                  <a:pt x="159224" y="940651"/>
                  <a:pt x="158102" y="940645"/>
                </a:cubicBezTo>
                <a:lnTo>
                  <a:pt x="150875" y="940583"/>
                </a:lnTo>
                <a:lnTo>
                  <a:pt x="148425" y="940717"/>
                </a:lnTo>
                <a:lnTo>
                  <a:pt x="149617" y="940995"/>
                </a:lnTo>
                <a:cubicBezTo>
                  <a:pt x="149617" y="941459"/>
                  <a:pt x="149617" y="941924"/>
                  <a:pt x="149617" y="942404"/>
                </a:cubicBezTo>
                <a:cubicBezTo>
                  <a:pt x="148630" y="942558"/>
                  <a:pt x="147643" y="942712"/>
                  <a:pt x="146627" y="942871"/>
                </a:cubicBezTo>
                <a:cubicBezTo>
                  <a:pt x="134541" y="944804"/>
                  <a:pt x="122553" y="947081"/>
                  <a:pt x="110564" y="949449"/>
                </a:cubicBezTo>
                <a:lnTo>
                  <a:pt x="111283" y="946205"/>
                </a:lnTo>
                <a:lnTo>
                  <a:pt x="101652" y="956078"/>
                </a:lnTo>
                <a:cubicBezTo>
                  <a:pt x="99870" y="957260"/>
                  <a:pt x="99870" y="957260"/>
                  <a:pt x="98052" y="958467"/>
                </a:cubicBezTo>
                <a:cubicBezTo>
                  <a:pt x="75683" y="972989"/>
                  <a:pt x="75683" y="972989"/>
                  <a:pt x="67286" y="972989"/>
                </a:cubicBezTo>
                <a:cubicBezTo>
                  <a:pt x="67286" y="973918"/>
                  <a:pt x="67286" y="974848"/>
                  <a:pt x="67286" y="975807"/>
                </a:cubicBezTo>
                <a:cubicBezTo>
                  <a:pt x="55713" y="979519"/>
                  <a:pt x="43549" y="980689"/>
                  <a:pt x="31942" y="976423"/>
                </a:cubicBezTo>
                <a:cubicBezTo>
                  <a:pt x="19953" y="970870"/>
                  <a:pt x="10774" y="964932"/>
                  <a:pt x="5673" y="953419"/>
                </a:cubicBezTo>
                <a:cubicBezTo>
                  <a:pt x="4801" y="950441"/>
                  <a:pt x="4801" y="950441"/>
                  <a:pt x="4801" y="944804"/>
                </a:cubicBezTo>
                <a:cubicBezTo>
                  <a:pt x="3770" y="944804"/>
                  <a:pt x="2739" y="944804"/>
                  <a:pt x="1676" y="944804"/>
                </a:cubicBezTo>
                <a:cubicBezTo>
                  <a:pt x="-34" y="940174"/>
                  <a:pt x="-41" y="936720"/>
                  <a:pt x="17" y="931857"/>
                </a:cubicBezTo>
                <a:cubicBezTo>
                  <a:pt x="31" y="930325"/>
                  <a:pt x="45" y="928794"/>
                  <a:pt x="59" y="927216"/>
                </a:cubicBezTo>
                <a:cubicBezTo>
                  <a:pt x="78" y="926044"/>
                  <a:pt x="96" y="924873"/>
                  <a:pt x="115" y="923666"/>
                </a:cubicBezTo>
                <a:cubicBezTo>
                  <a:pt x="1145" y="923666"/>
                  <a:pt x="2176" y="923666"/>
                  <a:pt x="3238" y="923666"/>
                </a:cubicBezTo>
                <a:cubicBezTo>
                  <a:pt x="3238" y="921805"/>
                  <a:pt x="3238" y="919945"/>
                  <a:pt x="3238" y="918029"/>
                </a:cubicBezTo>
                <a:cubicBezTo>
                  <a:pt x="4270" y="918029"/>
                  <a:pt x="5300" y="918029"/>
                  <a:pt x="6363" y="918029"/>
                </a:cubicBezTo>
                <a:cubicBezTo>
                  <a:pt x="6459" y="916314"/>
                  <a:pt x="6556" y="914599"/>
                  <a:pt x="6656" y="912832"/>
                </a:cubicBezTo>
                <a:cubicBezTo>
                  <a:pt x="7542" y="906455"/>
                  <a:pt x="10104" y="903750"/>
                  <a:pt x="15736" y="899709"/>
                </a:cubicBezTo>
                <a:lnTo>
                  <a:pt x="17243" y="898894"/>
                </a:lnTo>
                <a:lnTo>
                  <a:pt x="16800" y="898694"/>
                </a:lnTo>
                <a:lnTo>
                  <a:pt x="24988" y="894101"/>
                </a:lnTo>
                <a:lnTo>
                  <a:pt x="26768" y="892399"/>
                </a:lnTo>
                <a:cubicBezTo>
                  <a:pt x="28282" y="891122"/>
                  <a:pt x="29038" y="890483"/>
                  <a:pt x="30198" y="890164"/>
                </a:cubicBezTo>
                <a:lnTo>
                  <a:pt x="32204" y="890054"/>
                </a:lnTo>
                <a:lnTo>
                  <a:pt x="38914" y="886291"/>
                </a:lnTo>
                <a:cubicBezTo>
                  <a:pt x="47169" y="885770"/>
                  <a:pt x="55396" y="885800"/>
                  <a:pt x="63664" y="886011"/>
                </a:cubicBezTo>
                <a:lnTo>
                  <a:pt x="63664" y="886531"/>
                </a:lnTo>
                <a:lnTo>
                  <a:pt x="70784" y="886647"/>
                </a:lnTo>
                <a:cubicBezTo>
                  <a:pt x="74787" y="887000"/>
                  <a:pt x="77233" y="887948"/>
                  <a:pt x="82126" y="889845"/>
                </a:cubicBezTo>
                <a:cubicBezTo>
                  <a:pt x="92427" y="893791"/>
                  <a:pt x="103139" y="893710"/>
                  <a:pt x="114149" y="892663"/>
                </a:cubicBezTo>
                <a:cubicBezTo>
                  <a:pt x="115696" y="891733"/>
                  <a:pt x="117242" y="890803"/>
                  <a:pt x="118836" y="889845"/>
                </a:cubicBezTo>
                <a:cubicBezTo>
                  <a:pt x="123097" y="888850"/>
                  <a:pt x="127325" y="887944"/>
                  <a:pt x="131626" y="887114"/>
                </a:cubicBezTo>
                <a:cubicBezTo>
                  <a:pt x="139750" y="885542"/>
                  <a:pt x="147376" y="883653"/>
                  <a:pt x="155116" y="880913"/>
                </a:cubicBezTo>
                <a:cubicBezTo>
                  <a:pt x="158498" y="879775"/>
                  <a:pt x="161861" y="879076"/>
                  <a:pt x="165406" y="878483"/>
                </a:cubicBezTo>
                <a:cubicBezTo>
                  <a:pt x="170342" y="877655"/>
                  <a:pt x="172265" y="876971"/>
                  <a:pt x="176634" y="874343"/>
                </a:cubicBezTo>
                <a:cubicBezTo>
                  <a:pt x="179863" y="873335"/>
                  <a:pt x="183123" y="872404"/>
                  <a:pt x="186397" y="871524"/>
                </a:cubicBezTo>
                <a:cubicBezTo>
                  <a:pt x="189107" y="870786"/>
                  <a:pt x="189107" y="870786"/>
                  <a:pt x="191871" y="870033"/>
                </a:cubicBezTo>
                <a:cubicBezTo>
                  <a:pt x="195731" y="869023"/>
                  <a:pt x="199587" y="868093"/>
                  <a:pt x="203483" y="867208"/>
                </a:cubicBezTo>
                <a:cubicBezTo>
                  <a:pt x="208339" y="866199"/>
                  <a:pt x="208339" y="866199"/>
                  <a:pt x="211001" y="861660"/>
                </a:cubicBezTo>
                <a:cubicBezTo>
                  <a:pt x="214174" y="860102"/>
                  <a:pt x="214174" y="860102"/>
                  <a:pt x="218031" y="858577"/>
                </a:cubicBezTo>
                <a:cubicBezTo>
                  <a:pt x="236068" y="850629"/>
                  <a:pt x="245199" y="840442"/>
                  <a:pt x="254740" y="825020"/>
                </a:cubicBezTo>
                <a:cubicBezTo>
                  <a:pt x="255771" y="823625"/>
                  <a:pt x="256802" y="822230"/>
                  <a:pt x="257864" y="820792"/>
                </a:cubicBezTo>
                <a:cubicBezTo>
                  <a:pt x="258359" y="817506"/>
                  <a:pt x="258359" y="817506"/>
                  <a:pt x="258318" y="813810"/>
                </a:cubicBezTo>
                <a:cubicBezTo>
                  <a:pt x="258338" y="812388"/>
                  <a:pt x="258358" y="810967"/>
                  <a:pt x="258378" y="809502"/>
                </a:cubicBezTo>
                <a:cubicBezTo>
                  <a:pt x="258382" y="807965"/>
                  <a:pt x="258385" y="806429"/>
                  <a:pt x="258389" y="804845"/>
                </a:cubicBezTo>
                <a:cubicBezTo>
                  <a:pt x="258399" y="803258"/>
                  <a:pt x="258410" y="801671"/>
                  <a:pt x="258420" y="800036"/>
                </a:cubicBezTo>
                <a:cubicBezTo>
                  <a:pt x="258436" y="796670"/>
                  <a:pt x="258443" y="793305"/>
                  <a:pt x="258443" y="789939"/>
                </a:cubicBezTo>
                <a:cubicBezTo>
                  <a:pt x="258450" y="784823"/>
                  <a:pt x="258506" y="779709"/>
                  <a:pt x="258566" y="774594"/>
                </a:cubicBezTo>
                <a:cubicBezTo>
                  <a:pt x="258575" y="771319"/>
                  <a:pt x="258581" y="768045"/>
                  <a:pt x="258584" y="764771"/>
                </a:cubicBezTo>
                <a:cubicBezTo>
                  <a:pt x="258618" y="762495"/>
                  <a:pt x="258618" y="762495"/>
                  <a:pt x="258652" y="760174"/>
                </a:cubicBezTo>
                <a:cubicBezTo>
                  <a:pt x="258586" y="750030"/>
                  <a:pt x="256266" y="742584"/>
                  <a:pt x="251616" y="733421"/>
                </a:cubicBezTo>
                <a:cubicBezTo>
                  <a:pt x="250163" y="729605"/>
                  <a:pt x="248880" y="725752"/>
                  <a:pt x="247613" y="721883"/>
                </a:cubicBezTo>
                <a:cubicBezTo>
                  <a:pt x="245789" y="716328"/>
                  <a:pt x="243913" y="710939"/>
                  <a:pt x="241291" y="705644"/>
                </a:cubicBezTo>
                <a:cubicBezTo>
                  <a:pt x="238691" y="700096"/>
                  <a:pt x="238136" y="695685"/>
                  <a:pt x="237557" y="689735"/>
                </a:cubicBezTo>
                <a:cubicBezTo>
                  <a:pt x="244977" y="685507"/>
                  <a:pt x="244977" y="685507"/>
                  <a:pt x="248492" y="685507"/>
                </a:cubicBezTo>
                <a:cubicBezTo>
                  <a:pt x="248492" y="684112"/>
                  <a:pt x="248492" y="682717"/>
                  <a:pt x="248492" y="681279"/>
                </a:cubicBezTo>
                <a:cubicBezTo>
                  <a:pt x="245914" y="680815"/>
                  <a:pt x="243337" y="680350"/>
                  <a:pt x="240681" y="679870"/>
                </a:cubicBezTo>
                <a:cubicBezTo>
                  <a:pt x="240681" y="678940"/>
                  <a:pt x="240681" y="678010"/>
                  <a:pt x="240681" y="677052"/>
                </a:cubicBezTo>
                <a:cubicBezTo>
                  <a:pt x="239827" y="676917"/>
                  <a:pt x="238973" y="676783"/>
                  <a:pt x="238094" y="676645"/>
                </a:cubicBezTo>
                <a:cubicBezTo>
                  <a:pt x="233442" y="675371"/>
                  <a:pt x="229939" y="673242"/>
                  <a:pt x="225841" y="670886"/>
                </a:cubicBezTo>
                <a:cubicBezTo>
                  <a:pt x="217808" y="666564"/>
                  <a:pt x="210635" y="664241"/>
                  <a:pt x="201531" y="662508"/>
                </a:cubicBezTo>
                <a:cubicBezTo>
                  <a:pt x="196896" y="661541"/>
                  <a:pt x="192682" y="660199"/>
                  <a:pt x="188252" y="658644"/>
                </a:cubicBezTo>
                <a:lnTo>
                  <a:pt x="182431" y="657327"/>
                </a:lnTo>
                <a:lnTo>
                  <a:pt x="182431" y="657613"/>
                </a:lnTo>
                <a:cubicBezTo>
                  <a:pt x="170575" y="657148"/>
                  <a:pt x="158718" y="656683"/>
                  <a:pt x="146503" y="656204"/>
                </a:cubicBezTo>
                <a:cubicBezTo>
                  <a:pt x="146503" y="657133"/>
                  <a:pt x="146503" y="658064"/>
                  <a:pt x="146503" y="659022"/>
                </a:cubicBezTo>
                <a:cubicBezTo>
                  <a:pt x="134359" y="662326"/>
                  <a:pt x="123013" y="663700"/>
                  <a:pt x="110378" y="663778"/>
                </a:cubicBezTo>
                <a:cubicBezTo>
                  <a:pt x="108435" y="663806"/>
                  <a:pt x="108435" y="663806"/>
                  <a:pt x="106453" y="663836"/>
                </a:cubicBezTo>
                <a:cubicBezTo>
                  <a:pt x="105231" y="663828"/>
                  <a:pt x="104009" y="663820"/>
                  <a:pt x="102751" y="663811"/>
                </a:cubicBezTo>
                <a:cubicBezTo>
                  <a:pt x="101117" y="663804"/>
                  <a:pt x="101117" y="663804"/>
                  <a:pt x="99449" y="663797"/>
                </a:cubicBezTo>
                <a:cubicBezTo>
                  <a:pt x="95696" y="663097"/>
                  <a:pt x="94265" y="661615"/>
                  <a:pt x="91828" y="659022"/>
                </a:cubicBezTo>
                <a:cubicBezTo>
                  <a:pt x="93890" y="659022"/>
                  <a:pt x="95953" y="659022"/>
                  <a:pt x="98077" y="659022"/>
                </a:cubicBezTo>
                <a:cubicBezTo>
                  <a:pt x="98077" y="659952"/>
                  <a:pt x="98077" y="660882"/>
                  <a:pt x="98077" y="661841"/>
                </a:cubicBezTo>
                <a:cubicBezTo>
                  <a:pt x="108735" y="662045"/>
                  <a:pt x="114063" y="662148"/>
                  <a:pt x="119023" y="661357"/>
                </a:cubicBezTo>
                <a:lnTo>
                  <a:pt x="119536" y="661197"/>
                </a:lnTo>
                <a:lnTo>
                  <a:pt x="109853" y="661639"/>
                </a:lnTo>
                <a:cubicBezTo>
                  <a:pt x="108764" y="661632"/>
                  <a:pt x="107675" y="661626"/>
                  <a:pt x="106552" y="661619"/>
                </a:cubicBezTo>
                <a:cubicBezTo>
                  <a:pt x="103877" y="661603"/>
                  <a:pt x="101203" y="661577"/>
                  <a:pt x="98528" y="661550"/>
                </a:cubicBezTo>
                <a:cubicBezTo>
                  <a:pt x="98528" y="660620"/>
                  <a:pt x="98528" y="659691"/>
                  <a:pt x="98528" y="658732"/>
                </a:cubicBezTo>
                <a:cubicBezTo>
                  <a:pt x="95435" y="658267"/>
                  <a:pt x="92342" y="657802"/>
                  <a:pt x="89155" y="657323"/>
                </a:cubicBezTo>
                <a:cubicBezTo>
                  <a:pt x="89155" y="656393"/>
                  <a:pt x="89155" y="655462"/>
                  <a:pt x="89155" y="654504"/>
                </a:cubicBezTo>
                <a:cubicBezTo>
                  <a:pt x="87790" y="653978"/>
                  <a:pt x="87790" y="653978"/>
                  <a:pt x="86397" y="653442"/>
                </a:cubicBezTo>
                <a:cubicBezTo>
                  <a:pt x="82415" y="651438"/>
                  <a:pt x="80039" y="649232"/>
                  <a:pt x="77049" y="646137"/>
                </a:cubicBezTo>
                <a:cubicBezTo>
                  <a:pt x="75611" y="644679"/>
                  <a:pt x="75611" y="644679"/>
                  <a:pt x="74145" y="643192"/>
                </a:cubicBezTo>
                <a:cubicBezTo>
                  <a:pt x="71972" y="640412"/>
                  <a:pt x="71972" y="640412"/>
                  <a:pt x="71972" y="636185"/>
                </a:cubicBezTo>
                <a:cubicBezTo>
                  <a:pt x="70941" y="636185"/>
                  <a:pt x="69910" y="636185"/>
                  <a:pt x="68848" y="636185"/>
                </a:cubicBezTo>
                <a:cubicBezTo>
                  <a:pt x="64250" y="621928"/>
                  <a:pt x="64695" y="609404"/>
                  <a:pt x="70410" y="595317"/>
                </a:cubicBezTo>
                <a:cubicBezTo>
                  <a:pt x="73096" y="591142"/>
                  <a:pt x="76144" y="587574"/>
                  <a:pt x="79782" y="584043"/>
                </a:cubicBezTo>
                <a:cubicBezTo>
                  <a:pt x="81205" y="582594"/>
                  <a:pt x="81205" y="582594"/>
                  <a:pt x="82656" y="581115"/>
                </a:cubicBezTo>
                <a:cubicBezTo>
                  <a:pt x="91488" y="574027"/>
                  <a:pt x="105133" y="571806"/>
                  <a:pt x="116694" y="572323"/>
                </a:cubicBezTo>
                <a:cubicBezTo>
                  <a:pt x="131556" y="574113"/>
                  <a:pt x="142046" y="580551"/>
                  <a:pt x="152031" y="590385"/>
                </a:cubicBezTo>
                <a:cubicBezTo>
                  <a:pt x="162272" y="600009"/>
                  <a:pt x="176992" y="605062"/>
                  <a:pt x="191474" y="605886"/>
                </a:cubicBezTo>
                <a:cubicBezTo>
                  <a:pt x="196845" y="606192"/>
                  <a:pt x="201203" y="606463"/>
                  <a:pt x="206314" y="608000"/>
                </a:cubicBezTo>
                <a:cubicBezTo>
                  <a:pt x="206314" y="608930"/>
                  <a:pt x="206314" y="609860"/>
                  <a:pt x="206314" y="610818"/>
                </a:cubicBezTo>
                <a:cubicBezTo>
                  <a:pt x="215689" y="610902"/>
                  <a:pt x="225058" y="610898"/>
                  <a:pt x="234433" y="610818"/>
                </a:cubicBezTo>
                <a:cubicBezTo>
                  <a:pt x="236112" y="610813"/>
                  <a:pt x="237791" y="610808"/>
                  <a:pt x="239522" y="610802"/>
                </a:cubicBezTo>
                <a:cubicBezTo>
                  <a:pt x="251005" y="610364"/>
                  <a:pt x="259257" y="606564"/>
                  <a:pt x="268799" y="600954"/>
                </a:cubicBezTo>
                <a:cubicBezTo>
                  <a:pt x="269770" y="600416"/>
                  <a:pt x="270740" y="599879"/>
                  <a:pt x="271740" y="599325"/>
                </a:cubicBezTo>
                <a:cubicBezTo>
                  <a:pt x="279452" y="594430"/>
                  <a:pt x="281420" y="587464"/>
                  <a:pt x="284420" y="579816"/>
                </a:cubicBezTo>
                <a:cubicBezTo>
                  <a:pt x="286047" y="576075"/>
                  <a:pt x="287725" y="572353"/>
                  <a:pt x="289399" y="568630"/>
                </a:cubicBezTo>
                <a:cubicBezTo>
                  <a:pt x="294095" y="558121"/>
                  <a:pt x="299004" y="547070"/>
                  <a:pt x="293958" y="535838"/>
                </a:cubicBezTo>
                <a:cubicBezTo>
                  <a:pt x="292436" y="533533"/>
                  <a:pt x="290781" y="531301"/>
                  <a:pt x="289107" y="529084"/>
                </a:cubicBezTo>
                <a:cubicBezTo>
                  <a:pt x="289107" y="528153"/>
                  <a:pt x="289107" y="527223"/>
                  <a:pt x="289107" y="526265"/>
                </a:cubicBezTo>
                <a:cubicBezTo>
                  <a:pt x="287560" y="525800"/>
                  <a:pt x="286014" y="525335"/>
                  <a:pt x="284420" y="524856"/>
                </a:cubicBezTo>
                <a:cubicBezTo>
                  <a:pt x="283905" y="523461"/>
                  <a:pt x="283389" y="522066"/>
                  <a:pt x="282858" y="520628"/>
                </a:cubicBezTo>
                <a:cubicBezTo>
                  <a:pt x="280750" y="518590"/>
                  <a:pt x="280750" y="518590"/>
                  <a:pt x="277977" y="516577"/>
                </a:cubicBezTo>
                <a:cubicBezTo>
                  <a:pt x="273591" y="513232"/>
                  <a:pt x="269227" y="509874"/>
                  <a:pt x="264925" y="506443"/>
                </a:cubicBezTo>
                <a:cubicBezTo>
                  <a:pt x="253596" y="497433"/>
                  <a:pt x="242132" y="488987"/>
                  <a:pt x="229746" y="481170"/>
                </a:cubicBezTo>
                <a:cubicBezTo>
                  <a:pt x="226846" y="479266"/>
                  <a:pt x="223950" y="477358"/>
                  <a:pt x="221057" y="475445"/>
                </a:cubicBezTo>
                <a:cubicBezTo>
                  <a:pt x="218227" y="473594"/>
                  <a:pt x="215396" y="471744"/>
                  <a:pt x="212563" y="469896"/>
                </a:cubicBezTo>
                <a:cubicBezTo>
                  <a:pt x="211351" y="469102"/>
                  <a:pt x="210138" y="468309"/>
                  <a:pt x="208889" y="467491"/>
                </a:cubicBezTo>
                <a:cubicBezTo>
                  <a:pt x="202848" y="463599"/>
                  <a:pt x="196732" y="459888"/>
                  <a:pt x="190406" y="456382"/>
                </a:cubicBezTo>
                <a:cubicBezTo>
                  <a:pt x="189263" y="455748"/>
                  <a:pt x="188119" y="455114"/>
                  <a:pt x="186942" y="454460"/>
                </a:cubicBezTo>
                <a:cubicBezTo>
                  <a:pt x="184648" y="453196"/>
                  <a:pt x="182348" y="451941"/>
                  <a:pt x="180041" y="450696"/>
                </a:cubicBezTo>
                <a:cubicBezTo>
                  <a:pt x="177292" y="449185"/>
                  <a:pt x="174612" y="447571"/>
                  <a:pt x="171948" y="445940"/>
                </a:cubicBezTo>
                <a:cubicBezTo>
                  <a:pt x="171948" y="445009"/>
                  <a:pt x="171948" y="444079"/>
                  <a:pt x="171948" y="443121"/>
                </a:cubicBezTo>
                <a:cubicBezTo>
                  <a:pt x="170804" y="442985"/>
                  <a:pt x="169660" y="442848"/>
                  <a:pt x="168482" y="442708"/>
                </a:cubicBezTo>
                <a:cubicBezTo>
                  <a:pt x="163547" y="441576"/>
                  <a:pt x="161063" y="439897"/>
                  <a:pt x="157107" y="437044"/>
                </a:cubicBezTo>
                <a:cubicBezTo>
                  <a:pt x="149345" y="431895"/>
                  <a:pt x="141843" y="429626"/>
                  <a:pt x="132559" y="427510"/>
                </a:cubicBezTo>
                <a:cubicBezTo>
                  <a:pt x="128067" y="426168"/>
                  <a:pt x="126607" y="425060"/>
                  <a:pt x="123522" y="421983"/>
                </a:cubicBezTo>
                <a:cubicBezTo>
                  <a:pt x="118310" y="419033"/>
                  <a:pt x="114076" y="418794"/>
                  <a:pt x="107986" y="418730"/>
                </a:cubicBezTo>
                <a:cubicBezTo>
                  <a:pt x="106174" y="418694"/>
                  <a:pt x="104362" y="418659"/>
                  <a:pt x="102494" y="418622"/>
                </a:cubicBezTo>
                <a:cubicBezTo>
                  <a:pt x="98715" y="418573"/>
                  <a:pt x="94936" y="418529"/>
                  <a:pt x="91157" y="418490"/>
                </a:cubicBezTo>
                <a:cubicBezTo>
                  <a:pt x="78470" y="418231"/>
                  <a:pt x="65485" y="417940"/>
                  <a:pt x="55277" y="410445"/>
                </a:cubicBezTo>
                <a:cubicBezTo>
                  <a:pt x="54084" y="409137"/>
                  <a:pt x="52893" y="407829"/>
                  <a:pt x="51665" y="406481"/>
                </a:cubicBezTo>
                <a:cubicBezTo>
                  <a:pt x="49752" y="404480"/>
                  <a:pt x="47831" y="402483"/>
                  <a:pt x="45904" y="400492"/>
                </a:cubicBezTo>
                <a:cubicBezTo>
                  <a:pt x="44996" y="399526"/>
                  <a:pt x="44088" y="398559"/>
                  <a:pt x="43152" y="397564"/>
                </a:cubicBezTo>
                <a:cubicBezTo>
                  <a:pt x="40865" y="395062"/>
                  <a:pt x="40865" y="395062"/>
                  <a:pt x="37605" y="393798"/>
                </a:cubicBezTo>
                <a:lnTo>
                  <a:pt x="38995" y="368712"/>
                </a:lnTo>
                <a:lnTo>
                  <a:pt x="38666" y="369724"/>
                </a:lnTo>
                <a:cubicBezTo>
                  <a:pt x="37003" y="374506"/>
                  <a:pt x="36202" y="379113"/>
                  <a:pt x="35542" y="384081"/>
                </a:cubicBezTo>
                <a:cubicBezTo>
                  <a:pt x="30313" y="376119"/>
                  <a:pt x="31188" y="366593"/>
                  <a:pt x="33326" y="357791"/>
                </a:cubicBezTo>
                <a:cubicBezTo>
                  <a:pt x="37176" y="347767"/>
                  <a:pt x="44536" y="340769"/>
                  <a:pt x="52725" y="333349"/>
                </a:cubicBezTo>
                <a:lnTo>
                  <a:pt x="55222" y="334475"/>
                </a:lnTo>
                <a:lnTo>
                  <a:pt x="56222" y="333347"/>
                </a:lnTo>
                <a:lnTo>
                  <a:pt x="55871" y="333347"/>
                </a:lnTo>
                <a:lnTo>
                  <a:pt x="56346" y="333207"/>
                </a:lnTo>
                <a:lnTo>
                  <a:pt x="56351" y="333202"/>
                </a:lnTo>
                <a:lnTo>
                  <a:pt x="56365" y="333202"/>
                </a:lnTo>
                <a:lnTo>
                  <a:pt x="79571" y="326360"/>
                </a:lnTo>
                <a:cubicBezTo>
                  <a:pt x="87782" y="326037"/>
                  <a:pt x="96164" y="327572"/>
                  <a:pt x="104297" y="330529"/>
                </a:cubicBezTo>
                <a:lnTo>
                  <a:pt x="107170" y="334417"/>
                </a:lnTo>
                <a:lnTo>
                  <a:pt x="109366" y="336046"/>
                </a:lnTo>
                <a:lnTo>
                  <a:pt x="109463" y="336020"/>
                </a:lnTo>
                <a:lnTo>
                  <a:pt x="109463" y="336118"/>
                </a:lnTo>
                <a:lnTo>
                  <a:pt x="115226" y="340394"/>
                </a:lnTo>
                <a:lnTo>
                  <a:pt x="114010" y="340120"/>
                </a:lnTo>
                <a:lnTo>
                  <a:pt x="133285" y="357423"/>
                </a:lnTo>
                <a:cubicBezTo>
                  <a:pt x="142471" y="373187"/>
                  <a:pt x="155564" y="382744"/>
                  <a:pt x="173509" y="389571"/>
                </a:cubicBezTo>
                <a:cubicBezTo>
                  <a:pt x="176254" y="390785"/>
                  <a:pt x="178988" y="392017"/>
                  <a:pt x="181711" y="393270"/>
                </a:cubicBezTo>
                <a:cubicBezTo>
                  <a:pt x="182964" y="393833"/>
                  <a:pt x="184216" y="394396"/>
                  <a:pt x="185507" y="394976"/>
                </a:cubicBezTo>
                <a:cubicBezTo>
                  <a:pt x="187897" y="396058"/>
                  <a:pt x="190281" y="397151"/>
                  <a:pt x="192658" y="398257"/>
                </a:cubicBezTo>
                <a:cubicBezTo>
                  <a:pt x="193749" y="398762"/>
                  <a:pt x="194841" y="399267"/>
                  <a:pt x="195966" y="399788"/>
                </a:cubicBezTo>
                <a:cubicBezTo>
                  <a:pt x="196912" y="400231"/>
                  <a:pt x="197858" y="400674"/>
                  <a:pt x="198833" y="401131"/>
                </a:cubicBezTo>
                <a:cubicBezTo>
                  <a:pt x="201808" y="402326"/>
                  <a:pt x="204701" y="403032"/>
                  <a:pt x="207877" y="403663"/>
                </a:cubicBezTo>
                <a:cubicBezTo>
                  <a:pt x="207877" y="404593"/>
                  <a:pt x="207877" y="405523"/>
                  <a:pt x="207877" y="406481"/>
                </a:cubicBezTo>
                <a:cubicBezTo>
                  <a:pt x="221233" y="411377"/>
                  <a:pt x="234752" y="415503"/>
                  <a:pt x="248492" y="419428"/>
                </a:cubicBezTo>
                <a:cubicBezTo>
                  <a:pt x="250298" y="419947"/>
                  <a:pt x="252104" y="420466"/>
                  <a:pt x="253965" y="421000"/>
                </a:cubicBezTo>
                <a:cubicBezTo>
                  <a:pt x="258388" y="422270"/>
                  <a:pt x="262812" y="423537"/>
                  <a:pt x="267237" y="424801"/>
                </a:cubicBezTo>
                <a:lnTo>
                  <a:pt x="267237" y="426451"/>
                </a:lnTo>
                <a:lnTo>
                  <a:pt x="288701" y="429217"/>
                </a:lnTo>
                <a:cubicBezTo>
                  <a:pt x="288701" y="430147"/>
                  <a:pt x="288701" y="431078"/>
                  <a:pt x="288701" y="432036"/>
                </a:cubicBezTo>
                <a:cubicBezTo>
                  <a:pt x="301487" y="433472"/>
                  <a:pt x="314148" y="433662"/>
                  <a:pt x="327010" y="433628"/>
                </a:cubicBezTo>
                <a:cubicBezTo>
                  <a:pt x="330502" y="433621"/>
                  <a:pt x="333994" y="433628"/>
                  <a:pt x="337486" y="433637"/>
                </a:cubicBezTo>
                <a:cubicBezTo>
                  <a:pt x="339734" y="433637"/>
                  <a:pt x="341982" y="433635"/>
                  <a:pt x="344229" y="433632"/>
                </a:cubicBezTo>
                <a:cubicBezTo>
                  <a:pt x="347246" y="433630"/>
                  <a:pt x="347246" y="433630"/>
                  <a:pt x="350323" y="433627"/>
                </a:cubicBezTo>
                <a:cubicBezTo>
                  <a:pt x="355445" y="433459"/>
                  <a:pt x="360220" y="432915"/>
                  <a:pt x="365245" y="432036"/>
                </a:cubicBezTo>
                <a:lnTo>
                  <a:pt x="360797" y="433759"/>
                </a:lnTo>
                <a:lnTo>
                  <a:pt x="365650" y="433257"/>
                </a:lnTo>
                <a:cubicBezTo>
                  <a:pt x="366166" y="431861"/>
                  <a:pt x="366682" y="430466"/>
                  <a:pt x="367213" y="429029"/>
                </a:cubicBezTo>
                <a:cubicBezTo>
                  <a:pt x="369854" y="427628"/>
                  <a:pt x="372501" y="426234"/>
                  <a:pt x="375188" y="424906"/>
                </a:cubicBezTo>
                <a:cubicBezTo>
                  <a:pt x="390245" y="417204"/>
                  <a:pt x="397438" y="403183"/>
                  <a:pt x="404704" y="389571"/>
                </a:cubicBezTo>
                <a:cubicBezTo>
                  <a:pt x="405219" y="389105"/>
                  <a:pt x="405734" y="388641"/>
                  <a:pt x="406265" y="388161"/>
                </a:cubicBezTo>
                <a:cubicBezTo>
                  <a:pt x="406663" y="382152"/>
                  <a:pt x="406555" y="376125"/>
                  <a:pt x="406559" y="370106"/>
                </a:cubicBezTo>
                <a:cubicBezTo>
                  <a:pt x="406578" y="368412"/>
                  <a:pt x="406597" y="366718"/>
                  <a:pt x="406617" y="364973"/>
                </a:cubicBezTo>
                <a:cubicBezTo>
                  <a:pt x="406620" y="363344"/>
                  <a:pt x="406622" y="361715"/>
                  <a:pt x="406626" y="360038"/>
                </a:cubicBezTo>
                <a:cubicBezTo>
                  <a:pt x="406632" y="358541"/>
                  <a:pt x="406638" y="357045"/>
                  <a:pt x="406645" y="355503"/>
                </a:cubicBezTo>
                <a:cubicBezTo>
                  <a:pt x="406264" y="351503"/>
                  <a:pt x="405326" y="349318"/>
                  <a:pt x="403142" y="345885"/>
                </a:cubicBezTo>
                <a:cubicBezTo>
                  <a:pt x="402583" y="343484"/>
                  <a:pt x="402067" y="341075"/>
                  <a:pt x="401579" y="338663"/>
                </a:cubicBezTo>
                <a:cubicBezTo>
                  <a:pt x="399365" y="330323"/>
                  <a:pt x="395538" y="323370"/>
                  <a:pt x="390938" y="315939"/>
                </a:cubicBezTo>
                <a:cubicBezTo>
                  <a:pt x="390290" y="314890"/>
                  <a:pt x="389642" y="313842"/>
                  <a:pt x="388976" y="312762"/>
                </a:cubicBezTo>
                <a:cubicBezTo>
                  <a:pt x="385623" y="307500"/>
                  <a:pt x="382070" y="302607"/>
                  <a:pt x="377934" y="297817"/>
                </a:cubicBezTo>
                <a:cubicBezTo>
                  <a:pt x="373788" y="292978"/>
                  <a:pt x="371423" y="288111"/>
                  <a:pt x="368775" y="282470"/>
                </a:cubicBezTo>
                <a:cubicBezTo>
                  <a:pt x="366035" y="278585"/>
                  <a:pt x="362994" y="274937"/>
                  <a:pt x="359890" y="271284"/>
                </a:cubicBezTo>
                <a:cubicBezTo>
                  <a:pt x="359059" y="270296"/>
                  <a:pt x="358230" y="269307"/>
                  <a:pt x="357374" y="268288"/>
                </a:cubicBezTo>
                <a:cubicBezTo>
                  <a:pt x="351312" y="261177"/>
                  <a:pt x="344882" y="254704"/>
                  <a:pt x="337533" y="248649"/>
                </a:cubicBezTo>
                <a:cubicBezTo>
                  <a:pt x="336767" y="247896"/>
                  <a:pt x="336002" y="247144"/>
                  <a:pt x="335214" y="246369"/>
                </a:cubicBezTo>
                <a:cubicBezTo>
                  <a:pt x="332597" y="243963"/>
                  <a:pt x="332597" y="243963"/>
                  <a:pt x="327085" y="242571"/>
                </a:cubicBezTo>
                <a:cubicBezTo>
                  <a:pt x="309670" y="236923"/>
                  <a:pt x="296614" y="222751"/>
                  <a:pt x="288785" y="207968"/>
                </a:cubicBezTo>
                <a:cubicBezTo>
                  <a:pt x="286673" y="202851"/>
                  <a:pt x="286348" y="197968"/>
                  <a:pt x="286373" y="192544"/>
                </a:cubicBezTo>
                <a:cubicBezTo>
                  <a:pt x="286377" y="191437"/>
                  <a:pt x="286381" y="190330"/>
                  <a:pt x="286385" y="189190"/>
                </a:cubicBezTo>
                <a:cubicBezTo>
                  <a:pt x="286881" y="178340"/>
                  <a:pt x="291581" y="171728"/>
                  <a:pt x="300042" y="164095"/>
                </a:cubicBezTo>
                <a:cubicBezTo>
                  <a:pt x="301386" y="162752"/>
                  <a:pt x="301386" y="162752"/>
                  <a:pt x="302757" y="161381"/>
                </a:cubicBezTo>
                <a:cubicBezTo>
                  <a:pt x="312597" y="152504"/>
                  <a:pt x="325185" y="152675"/>
                  <a:pt x="338411" y="152293"/>
                </a:cubicBezTo>
                <a:cubicBezTo>
                  <a:pt x="350839" y="152463"/>
                  <a:pt x="359094" y="154554"/>
                  <a:pt x="368482" y="161893"/>
                </a:cubicBezTo>
                <a:cubicBezTo>
                  <a:pt x="369609" y="163085"/>
                  <a:pt x="370737" y="164277"/>
                  <a:pt x="371899" y="165505"/>
                </a:cubicBezTo>
                <a:cubicBezTo>
                  <a:pt x="372962" y="166522"/>
                  <a:pt x="374026" y="167539"/>
                  <a:pt x="375121" y="168587"/>
                </a:cubicBezTo>
                <a:cubicBezTo>
                  <a:pt x="381050" y="176351"/>
                  <a:pt x="384520" y="184328"/>
                  <a:pt x="384982" y="193777"/>
                </a:cubicBezTo>
                <a:cubicBezTo>
                  <a:pt x="385464" y="201192"/>
                  <a:pt x="387638" y="207607"/>
                  <a:pt x="390352" y="214563"/>
                </a:cubicBezTo>
                <a:cubicBezTo>
                  <a:pt x="390934" y="216079"/>
                  <a:pt x="390934" y="216079"/>
                  <a:pt x="391529" y="217626"/>
                </a:cubicBezTo>
                <a:cubicBezTo>
                  <a:pt x="394082" y="223926"/>
                  <a:pt x="397412" y="228969"/>
                  <a:pt x="401579" y="234556"/>
                </a:cubicBezTo>
                <a:cubicBezTo>
                  <a:pt x="401579" y="235952"/>
                  <a:pt x="401579" y="237347"/>
                  <a:pt x="401579" y="238784"/>
                </a:cubicBezTo>
                <a:cubicBezTo>
                  <a:pt x="402884" y="239263"/>
                  <a:pt x="402884" y="239263"/>
                  <a:pt x="404215" y="239753"/>
                </a:cubicBezTo>
                <a:cubicBezTo>
                  <a:pt x="410099" y="242765"/>
                  <a:pt x="414395" y="246733"/>
                  <a:pt x="417811" y="251996"/>
                </a:cubicBezTo>
                <a:cubicBezTo>
                  <a:pt x="420462" y="255897"/>
                  <a:pt x="423407" y="258959"/>
                  <a:pt x="426866" y="262300"/>
                </a:cubicBezTo>
                <a:cubicBezTo>
                  <a:pt x="435101" y="270407"/>
                  <a:pt x="442641" y="278936"/>
                  <a:pt x="450097" y="287628"/>
                </a:cubicBezTo>
                <a:cubicBezTo>
                  <a:pt x="453081" y="291117"/>
                  <a:pt x="453081" y="291117"/>
                  <a:pt x="457425" y="293920"/>
                </a:cubicBezTo>
                <a:cubicBezTo>
                  <a:pt x="458585" y="294792"/>
                  <a:pt x="459745" y="295664"/>
                  <a:pt x="460940" y="296562"/>
                </a:cubicBezTo>
                <a:cubicBezTo>
                  <a:pt x="460940" y="297957"/>
                  <a:pt x="460940" y="299352"/>
                  <a:pt x="460940" y="300790"/>
                </a:cubicBezTo>
                <a:cubicBezTo>
                  <a:pt x="465063" y="302782"/>
                  <a:pt x="468862" y="304133"/>
                  <a:pt x="473437" y="305018"/>
                </a:cubicBezTo>
                <a:cubicBezTo>
                  <a:pt x="473437" y="305947"/>
                  <a:pt x="473437" y="306877"/>
                  <a:pt x="473437" y="307836"/>
                </a:cubicBezTo>
                <a:cubicBezTo>
                  <a:pt x="475581" y="308519"/>
                  <a:pt x="477730" y="309193"/>
                  <a:pt x="479881" y="309862"/>
                </a:cubicBezTo>
                <a:cubicBezTo>
                  <a:pt x="481077" y="310237"/>
                  <a:pt x="482273" y="310614"/>
                  <a:pt x="483505" y="311001"/>
                </a:cubicBezTo>
                <a:cubicBezTo>
                  <a:pt x="505448" y="316843"/>
                  <a:pt x="527690" y="314359"/>
                  <a:pt x="548419" y="306427"/>
                </a:cubicBezTo>
                <a:cubicBezTo>
                  <a:pt x="549548" y="305998"/>
                  <a:pt x="550678" y="305569"/>
                  <a:pt x="551842" y="305127"/>
                </a:cubicBezTo>
                <a:cubicBezTo>
                  <a:pt x="555376" y="303227"/>
                  <a:pt x="557584" y="300980"/>
                  <a:pt x="560232" y="298148"/>
                </a:cubicBezTo>
                <a:cubicBezTo>
                  <a:pt x="561137" y="297192"/>
                  <a:pt x="562041" y="296236"/>
                  <a:pt x="562972" y="295252"/>
                </a:cubicBezTo>
                <a:cubicBezTo>
                  <a:pt x="564755" y="293274"/>
                  <a:pt x="566459" y="291237"/>
                  <a:pt x="568086" y="289152"/>
                </a:cubicBezTo>
                <a:cubicBezTo>
                  <a:pt x="568813" y="288342"/>
                  <a:pt x="569539" y="287532"/>
                  <a:pt x="570289" y="286697"/>
                </a:cubicBezTo>
                <a:cubicBezTo>
                  <a:pt x="571319" y="286697"/>
                  <a:pt x="572350" y="286697"/>
                  <a:pt x="573413" y="286697"/>
                </a:cubicBezTo>
                <a:cubicBezTo>
                  <a:pt x="577408" y="276984"/>
                  <a:pt x="577197" y="267284"/>
                  <a:pt x="577220" y="257016"/>
                </a:cubicBezTo>
                <a:cubicBezTo>
                  <a:pt x="577227" y="255625"/>
                  <a:pt x="577227" y="255625"/>
                  <a:pt x="577235" y="254206"/>
                </a:cubicBezTo>
                <a:cubicBezTo>
                  <a:pt x="577257" y="237553"/>
                  <a:pt x="574604" y="222055"/>
                  <a:pt x="569443" y="206049"/>
                </a:cubicBezTo>
                <a:cubicBezTo>
                  <a:pt x="568726" y="203553"/>
                  <a:pt x="568726" y="203553"/>
                  <a:pt x="568726" y="200735"/>
                </a:cubicBezTo>
                <a:cubicBezTo>
                  <a:pt x="567695" y="200735"/>
                  <a:pt x="566664" y="200735"/>
                  <a:pt x="565602" y="200735"/>
                </a:cubicBezTo>
                <a:cubicBezTo>
                  <a:pt x="563274" y="195295"/>
                  <a:pt x="561092" y="190108"/>
                  <a:pt x="559549" y="184441"/>
                </a:cubicBezTo>
                <a:cubicBezTo>
                  <a:pt x="555572" y="173477"/>
                  <a:pt x="547043" y="167105"/>
                  <a:pt x="537484" y="159867"/>
                </a:cubicBezTo>
                <a:cubicBezTo>
                  <a:pt x="533579" y="156609"/>
                  <a:pt x="533579" y="156609"/>
                  <a:pt x="531235" y="154230"/>
                </a:cubicBezTo>
                <a:cubicBezTo>
                  <a:pt x="531235" y="153301"/>
                  <a:pt x="531235" y="152371"/>
                  <a:pt x="531235" y="151412"/>
                </a:cubicBezTo>
                <a:cubicBezTo>
                  <a:pt x="529689" y="150947"/>
                  <a:pt x="528143" y="150482"/>
                  <a:pt x="526549" y="150003"/>
                </a:cubicBezTo>
                <a:cubicBezTo>
                  <a:pt x="519904" y="137298"/>
                  <a:pt x="519105" y="120357"/>
                  <a:pt x="524304" y="107198"/>
                </a:cubicBezTo>
                <a:cubicBezTo>
                  <a:pt x="529443" y="97376"/>
                  <a:pt x="535781" y="90193"/>
                  <a:pt x="547052" y="85972"/>
                </a:cubicBezTo>
                <a:cubicBezTo>
                  <a:pt x="559924" y="81835"/>
                  <a:pt x="575221" y="79746"/>
                  <a:pt x="588460" y="83538"/>
                </a:cubicBezTo>
                <a:cubicBezTo>
                  <a:pt x="601643" y="89713"/>
                  <a:pt x="611835" y="99450"/>
                  <a:pt x="617152" y="111954"/>
                </a:cubicBezTo>
                <a:cubicBezTo>
                  <a:pt x="617935" y="116052"/>
                  <a:pt x="617954" y="120024"/>
                  <a:pt x="617884" y="124175"/>
                </a:cubicBezTo>
                <a:cubicBezTo>
                  <a:pt x="617896" y="125307"/>
                  <a:pt x="617906" y="126440"/>
                  <a:pt x="617917" y="127607"/>
                </a:cubicBezTo>
                <a:cubicBezTo>
                  <a:pt x="617963" y="132394"/>
                  <a:pt x="617938" y="137181"/>
                  <a:pt x="617919" y="141969"/>
                </a:cubicBezTo>
                <a:cubicBezTo>
                  <a:pt x="617899" y="160184"/>
                  <a:pt x="619422" y="175572"/>
                  <a:pt x="630625" y="191311"/>
                </a:cubicBezTo>
                <a:cubicBezTo>
                  <a:pt x="633753" y="195891"/>
                  <a:pt x="636431" y="199900"/>
                  <a:pt x="637850" y="205139"/>
                </a:cubicBezTo>
                <a:cubicBezTo>
                  <a:pt x="638615" y="209623"/>
                  <a:pt x="638615" y="209623"/>
                  <a:pt x="643708" y="212009"/>
                </a:cubicBezTo>
                <a:cubicBezTo>
                  <a:pt x="645380" y="214563"/>
                  <a:pt x="645380" y="214563"/>
                  <a:pt x="647027" y="217645"/>
                </a:cubicBezTo>
                <a:cubicBezTo>
                  <a:pt x="652549" y="227016"/>
                  <a:pt x="660443" y="235696"/>
                  <a:pt x="670264" y="241603"/>
                </a:cubicBezTo>
                <a:cubicBezTo>
                  <a:pt x="670264" y="242532"/>
                  <a:pt x="670264" y="243462"/>
                  <a:pt x="670264" y="244421"/>
                </a:cubicBezTo>
                <a:cubicBezTo>
                  <a:pt x="672036" y="244857"/>
                  <a:pt x="673808" y="245293"/>
                  <a:pt x="675634" y="245742"/>
                </a:cubicBezTo>
                <a:cubicBezTo>
                  <a:pt x="681199" y="247239"/>
                  <a:pt x="681199" y="247239"/>
                  <a:pt x="682761" y="248649"/>
                </a:cubicBezTo>
                <a:cubicBezTo>
                  <a:pt x="704487" y="252065"/>
                  <a:pt x="732606" y="256402"/>
                  <a:pt x="752092" y="245076"/>
                </a:cubicBezTo>
                <a:cubicBezTo>
                  <a:pt x="754252" y="243599"/>
                  <a:pt x="756372" y="242073"/>
                  <a:pt x="758433" y="240485"/>
                </a:cubicBezTo>
                <a:cubicBezTo>
                  <a:pt x="760867" y="238784"/>
                  <a:pt x="760867" y="238784"/>
                  <a:pt x="763991" y="238784"/>
                </a:cubicBezTo>
                <a:cubicBezTo>
                  <a:pt x="764647" y="237296"/>
                  <a:pt x="764647" y="237296"/>
                  <a:pt x="765315" y="235778"/>
                </a:cubicBezTo>
                <a:cubicBezTo>
                  <a:pt x="767151" y="231659"/>
                  <a:pt x="769030" y="227557"/>
                  <a:pt x="770923" y="223459"/>
                </a:cubicBezTo>
                <a:cubicBezTo>
                  <a:pt x="771608" y="221966"/>
                  <a:pt x="772292" y="220472"/>
                  <a:pt x="772998" y="218934"/>
                </a:cubicBezTo>
                <a:cubicBezTo>
                  <a:pt x="774429" y="215885"/>
                  <a:pt x="775968" y="212878"/>
                  <a:pt x="777562" y="209895"/>
                </a:cubicBezTo>
                <a:cubicBezTo>
                  <a:pt x="787607" y="185732"/>
                  <a:pt x="788559" y="149501"/>
                  <a:pt x="781175" y="124637"/>
                </a:cubicBezTo>
                <a:cubicBezTo>
                  <a:pt x="780144" y="124637"/>
                  <a:pt x="779113" y="124637"/>
                  <a:pt x="778051" y="124637"/>
                </a:cubicBezTo>
                <a:cubicBezTo>
                  <a:pt x="768501" y="110080"/>
                  <a:pt x="762898" y="96653"/>
                  <a:pt x="767116" y="79542"/>
                </a:cubicBezTo>
                <a:cubicBezTo>
                  <a:pt x="772286" y="69057"/>
                  <a:pt x="781456" y="58252"/>
                  <a:pt x="793379" y="54000"/>
                </a:cubicBezTo>
                <a:cubicBezTo>
                  <a:pt x="808369" y="49250"/>
                  <a:pt x="826058" y="49579"/>
                  <a:pt x="840688" y="55503"/>
                </a:cubicBezTo>
                <a:cubicBezTo>
                  <a:pt x="845183" y="57759"/>
                  <a:pt x="848037" y="60575"/>
                  <a:pt x="851470" y="64040"/>
                </a:cubicBezTo>
                <a:cubicBezTo>
                  <a:pt x="852721" y="65272"/>
                  <a:pt x="852721" y="65272"/>
                  <a:pt x="853997" y="66529"/>
                </a:cubicBezTo>
                <a:cubicBezTo>
                  <a:pt x="858396" y="71505"/>
                  <a:pt x="860490" y="76640"/>
                  <a:pt x="861488" y="82057"/>
                </a:cubicBezTo>
                <a:lnTo>
                  <a:pt x="861937" y="90492"/>
                </a:lnTo>
                <a:lnTo>
                  <a:pt x="863826" y="100715"/>
                </a:lnTo>
                <a:cubicBezTo>
                  <a:pt x="862141" y="107853"/>
                  <a:pt x="859866" y="114857"/>
                  <a:pt x="857577" y="121853"/>
                </a:cubicBezTo>
                <a:cubicBezTo>
                  <a:pt x="857062" y="121853"/>
                  <a:pt x="856547" y="121853"/>
                  <a:pt x="856015" y="121853"/>
                </a:cubicBezTo>
                <a:cubicBezTo>
                  <a:pt x="855731" y="120401"/>
                  <a:pt x="855731" y="120401"/>
                  <a:pt x="855442" y="118919"/>
                </a:cubicBezTo>
                <a:lnTo>
                  <a:pt x="855417" y="118798"/>
                </a:lnTo>
                <a:lnTo>
                  <a:pt x="856157" y="124637"/>
                </a:lnTo>
                <a:lnTo>
                  <a:pt x="850623" y="134701"/>
                </a:lnTo>
                <a:lnTo>
                  <a:pt x="851325" y="135968"/>
                </a:lnTo>
                <a:cubicBezTo>
                  <a:pt x="850851" y="137246"/>
                  <a:pt x="850376" y="138525"/>
                  <a:pt x="849886" y="139843"/>
                </a:cubicBezTo>
                <a:cubicBezTo>
                  <a:pt x="848171" y="144505"/>
                  <a:pt x="847798" y="148002"/>
                  <a:pt x="847786" y="152889"/>
                </a:cubicBezTo>
                <a:cubicBezTo>
                  <a:pt x="847779" y="154500"/>
                  <a:pt x="847773" y="156109"/>
                  <a:pt x="847767" y="157768"/>
                </a:cubicBezTo>
                <a:cubicBezTo>
                  <a:pt x="847782" y="159468"/>
                  <a:pt x="847796" y="161167"/>
                  <a:pt x="847810" y="162919"/>
                </a:cubicBezTo>
                <a:cubicBezTo>
                  <a:pt x="847821" y="165546"/>
                  <a:pt x="847821" y="165546"/>
                  <a:pt x="847832" y="168227"/>
                </a:cubicBezTo>
                <a:cubicBezTo>
                  <a:pt x="847980" y="181934"/>
                  <a:pt x="849003" y="195419"/>
                  <a:pt x="850903" y="209013"/>
                </a:cubicBezTo>
                <a:lnTo>
                  <a:pt x="852880" y="224692"/>
                </a:lnTo>
                <a:lnTo>
                  <a:pt x="854595" y="224692"/>
                </a:lnTo>
                <a:cubicBezTo>
                  <a:pt x="855086" y="225542"/>
                  <a:pt x="855577" y="226392"/>
                  <a:pt x="856083" y="227268"/>
                </a:cubicBezTo>
                <a:cubicBezTo>
                  <a:pt x="862358" y="237839"/>
                  <a:pt x="866924" y="242785"/>
                  <a:pt x="879588" y="247239"/>
                </a:cubicBezTo>
                <a:cubicBezTo>
                  <a:pt x="881642" y="248025"/>
                  <a:pt x="883692" y="248817"/>
                  <a:pt x="885739" y="249618"/>
                </a:cubicBezTo>
                <a:cubicBezTo>
                  <a:pt x="887318" y="250227"/>
                  <a:pt x="888897" y="250838"/>
                  <a:pt x="890523" y="251467"/>
                </a:cubicBezTo>
                <a:cubicBezTo>
                  <a:pt x="890523" y="252397"/>
                  <a:pt x="890523" y="253327"/>
                  <a:pt x="890523" y="254285"/>
                </a:cubicBezTo>
                <a:cubicBezTo>
                  <a:pt x="900347" y="257061"/>
                  <a:pt x="910127" y="259425"/>
                  <a:pt x="920203" y="261332"/>
                </a:cubicBezTo>
                <a:cubicBezTo>
                  <a:pt x="920203" y="261796"/>
                  <a:pt x="920203" y="262262"/>
                  <a:pt x="920203" y="262741"/>
                </a:cubicBezTo>
                <a:cubicBezTo>
                  <a:pt x="917111" y="262741"/>
                  <a:pt x="914018" y="262741"/>
                  <a:pt x="910831" y="262741"/>
                </a:cubicBezTo>
                <a:lnTo>
                  <a:pt x="910831" y="262864"/>
                </a:lnTo>
                <a:lnTo>
                  <a:pt x="927993" y="264177"/>
                </a:lnTo>
                <a:lnTo>
                  <a:pt x="939273" y="265285"/>
                </a:lnTo>
                <a:lnTo>
                  <a:pt x="940456" y="265191"/>
                </a:lnTo>
                <a:cubicBezTo>
                  <a:pt x="962552" y="263054"/>
                  <a:pt x="974979" y="255295"/>
                  <a:pt x="991622" y="242329"/>
                </a:cubicBezTo>
                <a:lnTo>
                  <a:pt x="1000803" y="236505"/>
                </a:lnTo>
                <a:lnTo>
                  <a:pt x="999806" y="236055"/>
                </a:lnTo>
                <a:cubicBezTo>
                  <a:pt x="1000902" y="234997"/>
                  <a:pt x="1001997" y="233941"/>
                  <a:pt x="1003126" y="232851"/>
                </a:cubicBezTo>
                <a:cubicBezTo>
                  <a:pt x="1012364" y="223880"/>
                  <a:pt x="1021184" y="214752"/>
                  <a:pt x="1029487" y="205052"/>
                </a:cubicBezTo>
                <a:lnTo>
                  <a:pt x="1029872" y="206442"/>
                </a:lnTo>
                <a:lnTo>
                  <a:pt x="1031614" y="203719"/>
                </a:lnTo>
                <a:cubicBezTo>
                  <a:pt x="1033221" y="199204"/>
                  <a:pt x="1035713" y="196017"/>
                  <a:pt x="1038924" y="192280"/>
                </a:cubicBezTo>
                <a:cubicBezTo>
                  <a:pt x="1039956" y="191815"/>
                  <a:pt x="1040987" y="191349"/>
                  <a:pt x="1042049" y="190870"/>
                </a:cubicBezTo>
                <a:cubicBezTo>
                  <a:pt x="1043161" y="188473"/>
                  <a:pt x="1043161" y="188473"/>
                  <a:pt x="1044294" y="186026"/>
                </a:cubicBezTo>
                <a:cubicBezTo>
                  <a:pt x="1046735" y="181006"/>
                  <a:pt x="1046735" y="181006"/>
                  <a:pt x="1051422" y="178188"/>
                </a:cubicBezTo>
                <a:cubicBezTo>
                  <a:pt x="1052553" y="175286"/>
                  <a:pt x="1052553" y="175286"/>
                  <a:pt x="1052984" y="172551"/>
                </a:cubicBezTo>
                <a:cubicBezTo>
                  <a:pt x="1054014" y="172551"/>
                  <a:pt x="1055046" y="172551"/>
                  <a:pt x="1056108" y="172551"/>
                </a:cubicBezTo>
                <a:cubicBezTo>
                  <a:pt x="1057139" y="169295"/>
                  <a:pt x="1058170" y="166040"/>
                  <a:pt x="1059232" y="162686"/>
                </a:cubicBezTo>
                <a:cubicBezTo>
                  <a:pt x="1060263" y="162686"/>
                  <a:pt x="1061295" y="162686"/>
                  <a:pt x="1062357" y="162686"/>
                </a:cubicBezTo>
                <a:cubicBezTo>
                  <a:pt x="1062755" y="161484"/>
                  <a:pt x="1062755" y="161484"/>
                  <a:pt x="1063162" y="160258"/>
                </a:cubicBezTo>
                <a:cubicBezTo>
                  <a:pt x="1065716" y="152917"/>
                  <a:pt x="1068813" y="146686"/>
                  <a:pt x="1073292" y="140138"/>
                </a:cubicBezTo>
                <a:cubicBezTo>
                  <a:pt x="1074322" y="140138"/>
                  <a:pt x="1075353" y="140138"/>
                  <a:pt x="1076415" y="140138"/>
                </a:cubicBezTo>
                <a:cubicBezTo>
                  <a:pt x="1079808" y="132748"/>
                  <a:pt x="1082509" y="125160"/>
                  <a:pt x="1085294" y="117569"/>
                </a:cubicBezTo>
                <a:cubicBezTo>
                  <a:pt x="1085972" y="116181"/>
                  <a:pt x="1086651" y="114793"/>
                  <a:pt x="1087350" y="113363"/>
                </a:cubicBezTo>
                <a:cubicBezTo>
                  <a:pt x="1089671" y="112666"/>
                  <a:pt x="1089671" y="112666"/>
                  <a:pt x="1092037" y="111954"/>
                </a:cubicBezTo>
                <a:cubicBezTo>
                  <a:pt x="1092230" y="110879"/>
                  <a:pt x="1092423" y="109803"/>
                  <a:pt x="1092623" y="108695"/>
                </a:cubicBezTo>
                <a:cubicBezTo>
                  <a:pt x="1093599" y="104908"/>
                  <a:pt x="1093599" y="104908"/>
                  <a:pt x="1096723" y="100680"/>
                </a:cubicBezTo>
                <a:cubicBezTo>
                  <a:pt x="1097207" y="99140"/>
                  <a:pt x="1097689" y="97599"/>
                  <a:pt x="1098188" y="96013"/>
                </a:cubicBezTo>
                <a:cubicBezTo>
                  <a:pt x="1099847" y="90815"/>
                  <a:pt x="1099847" y="90815"/>
                  <a:pt x="1102288" y="87029"/>
                </a:cubicBezTo>
                <a:cubicBezTo>
                  <a:pt x="1106061" y="79186"/>
                  <a:pt x="1107564" y="69424"/>
                  <a:pt x="1104534" y="61222"/>
                </a:cubicBezTo>
                <a:cubicBezTo>
                  <a:pt x="1104409" y="59341"/>
                  <a:pt x="1104366" y="57454"/>
                  <a:pt x="1104381" y="55569"/>
                </a:cubicBezTo>
                <a:cubicBezTo>
                  <a:pt x="1104386" y="54501"/>
                  <a:pt x="1104391" y="53434"/>
                  <a:pt x="1104397" y="52335"/>
                </a:cubicBezTo>
                <a:cubicBezTo>
                  <a:pt x="1104410" y="51228"/>
                  <a:pt x="1104423" y="50120"/>
                  <a:pt x="1104436" y="48979"/>
                </a:cubicBezTo>
                <a:cubicBezTo>
                  <a:pt x="1104443" y="47856"/>
                  <a:pt x="1104451" y="46733"/>
                  <a:pt x="1104457" y="45575"/>
                </a:cubicBezTo>
                <a:cubicBezTo>
                  <a:pt x="1104476" y="42805"/>
                  <a:pt x="1104504" y="40035"/>
                  <a:pt x="1104534" y="37265"/>
                </a:cubicBezTo>
                <a:cubicBezTo>
                  <a:pt x="1105565" y="37265"/>
                  <a:pt x="1106596" y="37265"/>
                  <a:pt x="1107658" y="37265"/>
                </a:cubicBezTo>
                <a:cubicBezTo>
                  <a:pt x="1107561" y="34562"/>
                  <a:pt x="1107561" y="34562"/>
                  <a:pt x="1107463" y="31805"/>
                </a:cubicBezTo>
                <a:cubicBezTo>
                  <a:pt x="1107353" y="28733"/>
                  <a:pt x="1107353" y="28733"/>
                  <a:pt x="1107658" y="25991"/>
                </a:cubicBezTo>
                <a:cubicBezTo>
                  <a:pt x="1108689" y="25062"/>
                  <a:pt x="1109720" y="24131"/>
                  <a:pt x="1110782" y="23173"/>
                </a:cubicBezTo>
                <a:cubicBezTo>
                  <a:pt x="1111104" y="22156"/>
                  <a:pt x="1111427" y="21138"/>
                  <a:pt x="1111759" y="20091"/>
                </a:cubicBezTo>
                <a:cubicBezTo>
                  <a:pt x="1116393" y="11539"/>
                  <a:pt x="1124927" y="6390"/>
                  <a:pt x="1134507" y="2828"/>
                </a:cubicBezTo>
                <a:cubicBezTo>
                  <a:pt x="1141389" y="825"/>
                  <a:pt x="1148262" y="-204"/>
                  <a:pt x="1155019" y="35"/>
                </a:cubicBezTo>
                <a:close/>
              </a:path>
            </a:pathLst>
          </a:custGeom>
          <a:solidFill>
            <a:schemeClr val="accent3"/>
          </a:solidFill>
          <a:ln w="2232" cap="flat">
            <a:noFill/>
            <a:prstDash val="solid"/>
            <a:miter/>
          </a:ln>
          <a:effectLst>
            <a:innerShdw blurRad="63500" dist="190500" dir="8100000">
              <a:schemeClr val="accent3">
                <a:lumMod val="75000"/>
                <a:alpha val="50000"/>
              </a:schemeClr>
            </a:innerShdw>
          </a:effectLst>
        </p:spPr>
        <p:txBody>
          <a:bodyPr wrap="squar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68" name="Oval 467">
            <a:extLst>
              <a:ext uri="{FF2B5EF4-FFF2-40B4-BE49-F238E27FC236}">
                <a16:creationId xmlns:a16="http://schemas.microsoft.com/office/drawing/2014/main" id="{D3252392-1D47-F1D3-B22A-278AE00A43D1}"/>
              </a:ext>
            </a:extLst>
          </p:cNvPr>
          <p:cNvSpPr/>
          <p:nvPr/>
        </p:nvSpPr>
        <p:spPr>
          <a:xfrm>
            <a:off x="5646302" y="3762519"/>
            <a:ext cx="96793" cy="96793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69" name="Oval 468">
            <a:extLst>
              <a:ext uri="{FF2B5EF4-FFF2-40B4-BE49-F238E27FC236}">
                <a16:creationId xmlns:a16="http://schemas.microsoft.com/office/drawing/2014/main" id="{6962F8DF-501B-24E9-6A8C-3377187F3A0B}"/>
              </a:ext>
            </a:extLst>
          </p:cNvPr>
          <p:cNvSpPr/>
          <p:nvPr/>
        </p:nvSpPr>
        <p:spPr>
          <a:xfrm>
            <a:off x="5775514" y="3847271"/>
            <a:ext cx="96793" cy="96793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70" name="Oval 469">
            <a:extLst>
              <a:ext uri="{FF2B5EF4-FFF2-40B4-BE49-F238E27FC236}">
                <a16:creationId xmlns:a16="http://schemas.microsoft.com/office/drawing/2014/main" id="{60311333-B299-E546-8232-BA9E99719B1E}"/>
              </a:ext>
            </a:extLst>
          </p:cNvPr>
          <p:cNvSpPr/>
          <p:nvPr/>
        </p:nvSpPr>
        <p:spPr>
          <a:xfrm>
            <a:off x="5681731" y="4004963"/>
            <a:ext cx="75769" cy="75769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71" name="Oval 470">
            <a:extLst>
              <a:ext uri="{FF2B5EF4-FFF2-40B4-BE49-F238E27FC236}">
                <a16:creationId xmlns:a16="http://schemas.microsoft.com/office/drawing/2014/main" id="{7FDE41ED-20AD-AF47-5F22-AA57A95BB5E8}"/>
              </a:ext>
            </a:extLst>
          </p:cNvPr>
          <p:cNvSpPr/>
          <p:nvPr/>
        </p:nvSpPr>
        <p:spPr>
          <a:xfrm>
            <a:off x="5883884" y="3987596"/>
            <a:ext cx="96793" cy="96793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72" name="Oval 471">
            <a:extLst>
              <a:ext uri="{FF2B5EF4-FFF2-40B4-BE49-F238E27FC236}">
                <a16:creationId xmlns:a16="http://schemas.microsoft.com/office/drawing/2014/main" id="{9303E745-7286-7006-F644-E41BEF1F955B}"/>
              </a:ext>
            </a:extLst>
          </p:cNvPr>
          <p:cNvSpPr/>
          <p:nvPr/>
        </p:nvSpPr>
        <p:spPr>
          <a:xfrm>
            <a:off x="5915145" y="3786138"/>
            <a:ext cx="65532" cy="65532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73" name="Oval 472">
            <a:extLst>
              <a:ext uri="{FF2B5EF4-FFF2-40B4-BE49-F238E27FC236}">
                <a16:creationId xmlns:a16="http://schemas.microsoft.com/office/drawing/2014/main" id="{FDD12796-6789-256E-D6DD-1D8823C23790}"/>
              </a:ext>
            </a:extLst>
          </p:cNvPr>
          <p:cNvSpPr/>
          <p:nvPr/>
        </p:nvSpPr>
        <p:spPr>
          <a:xfrm>
            <a:off x="5413033" y="4276720"/>
            <a:ext cx="656485" cy="147620"/>
          </a:xfrm>
          <a:prstGeom prst="ellipse">
            <a:avLst/>
          </a:prstGeom>
          <a:solidFill>
            <a:schemeClr val="tx1">
              <a:alpha val="5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74" name="Free-form: Shape 473">
            <a:extLst>
              <a:ext uri="{FF2B5EF4-FFF2-40B4-BE49-F238E27FC236}">
                <a16:creationId xmlns:a16="http://schemas.microsoft.com/office/drawing/2014/main" id="{B13A0DD3-0601-2C4A-3A1D-157062FA3A31}"/>
              </a:ext>
            </a:extLst>
          </p:cNvPr>
          <p:cNvSpPr/>
          <p:nvPr/>
        </p:nvSpPr>
        <p:spPr>
          <a:xfrm>
            <a:off x="7280349" y="4289649"/>
            <a:ext cx="557648" cy="1497715"/>
          </a:xfrm>
          <a:custGeom>
            <a:avLst/>
            <a:gdLst>
              <a:gd name="csX0" fmla="*/ 898754 w 1315852"/>
              <a:gd name="csY0" fmla="*/ 1637125 h 3212801"/>
              <a:gd name="csX1" fmla="*/ 900426 w 1315852"/>
              <a:gd name="csY1" fmla="*/ 1643802 h 3212801"/>
              <a:gd name="csX2" fmla="*/ 903549 w 1315852"/>
              <a:gd name="csY2" fmla="*/ 1709345 h 3212801"/>
              <a:gd name="csX3" fmla="*/ 908512 w 1315852"/>
              <a:gd name="csY3" fmla="*/ 1750739 h 3212801"/>
              <a:gd name="csX4" fmla="*/ 911839 w 1315852"/>
              <a:gd name="csY4" fmla="*/ 1783999 h 3212801"/>
              <a:gd name="csX5" fmla="*/ 919775 w 1315852"/>
              <a:gd name="csY5" fmla="*/ 1846044 h 3212801"/>
              <a:gd name="csX6" fmla="*/ 928724 w 1315852"/>
              <a:gd name="csY6" fmla="*/ 1912212 h 3212801"/>
              <a:gd name="csX7" fmla="*/ 943556 w 1315852"/>
              <a:gd name="csY7" fmla="*/ 1998602 h 3212801"/>
              <a:gd name="csX8" fmla="*/ 967918 w 1315852"/>
              <a:gd name="csY8" fmla="*/ 2121455 h 3212801"/>
              <a:gd name="csX9" fmla="*/ 988236 w 1315852"/>
              <a:gd name="csY9" fmla="*/ 2216813 h 3212801"/>
              <a:gd name="csX10" fmla="*/ 1028961 w 1315852"/>
              <a:gd name="csY10" fmla="*/ 2386212 h 3212801"/>
              <a:gd name="csX11" fmla="*/ 1055369 w 1315852"/>
              <a:gd name="csY11" fmla="*/ 2485963 h 3212801"/>
              <a:gd name="csX12" fmla="*/ 1069125 w 1315852"/>
              <a:gd name="csY12" fmla="*/ 2501571 h 3212801"/>
              <a:gd name="csX13" fmla="*/ 1104775 w 1315852"/>
              <a:gd name="csY13" fmla="*/ 2517672 h 3212801"/>
              <a:gd name="csX14" fmla="*/ 1117910 w 1315852"/>
              <a:gd name="csY14" fmla="*/ 2527831 h 3212801"/>
              <a:gd name="csX15" fmla="*/ 1122737 w 1315852"/>
              <a:gd name="csY15" fmla="*/ 2552282 h 3212801"/>
              <a:gd name="csX16" fmla="*/ 1114779 w 1315852"/>
              <a:gd name="csY16" fmla="*/ 2570125 h 3212801"/>
              <a:gd name="csX17" fmla="*/ 1114207 w 1315852"/>
              <a:gd name="csY17" fmla="*/ 2618225 h 3212801"/>
              <a:gd name="csX18" fmla="*/ 1148150 w 1315852"/>
              <a:gd name="csY18" fmla="*/ 2663984 h 3212801"/>
              <a:gd name="csX19" fmla="*/ 1206600 w 1315852"/>
              <a:gd name="csY19" fmla="*/ 2720256 h 3212801"/>
              <a:gd name="csX20" fmla="*/ 1275524 w 1315852"/>
              <a:gd name="csY20" fmla="*/ 2850317 h 3212801"/>
              <a:gd name="csX21" fmla="*/ 1277353 w 1315852"/>
              <a:gd name="csY21" fmla="*/ 2897326 h 3212801"/>
              <a:gd name="csX22" fmla="*/ 1271355 w 1315852"/>
              <a:gd name="csY22" fmla="*/ 2935725 h 3212801"/>
              <a:gd name="csX23" fmla="*/ 1274691 w 1315852"/>
              <a:gd name="csY23" fmla="*/ 2954335 h 3212801"/>
              <a:gd name="csX24" fmla="*/ 1301797 w 1315852"/>
              <a:gd name="csY24" fmla="*/ 3028744 h 3212801"/>
              <a:gd name="csX25" fmla="*/ 1311943 w 1315852"/>
              <a:gd name="csY25" fmla="*/ 3082025 h 3212801"/>
              <a:gd name="csX26" fmla="*/ 1315801 w 1315852"/>
              <a:gd name="csY26" fmla="*/ 3133440 h 3212801"/>
              <a:gd name="csX27" fmla="*/ 1307182 w 1315852"/>
              <a:gd name="csY27" fmla="*/ 3146201 h 3212801"/>
              <a:gd name="csX28" fmla="*/ 1280933 w 1315852"/>
              <a:gd name="csY28" fmla="*/ 3155733 h 3212801"/>
              <a:gd name="csX29" fmla="*/ 1169576 w 1315852"/>
              <a:gd name="csY29" fmla="*/ 3181105 h 3212801"/>
              <a:gd name="csX30" fmla="*/ 1098129 w 1315852"/>
              <a:gd name="csY30" fmla="*/ 3192005 h 3212801"/>
              <a:gd name="csX31" fmla="*/ 1025959 w 1315852"/>
              <a:gd name="csY31" fmla="*/ 3198069 h 3212801"/>
              <a:gd name="csX32" fmla="*/ 969161 w 1315852"/>
              <a:gd name="csY32" fmla="*/ 3203391 h 3212801"/>
              <a:gd name="csX33" fmla="*/ 966367 w 1315852"/>
              <a:gd name="csY33" fmla="*/ 3203587 h 3212801"/>
              <a:gd name="csX34" fmla="*/ 890991 w 1315852"/>
              <a:gd name="csY34" fmla="*/ 3206415 h 3212801"/>
              <a:gd name="csX35" fmla="*/ 786197 w 1315852"/>
              <a:gd name="csY35" fmla="*/ 3209641 h 3212801"/>
              <a:gd name="csX36" fmla="*/ 618254 w 1315852"/>
              <a:gd name="csY36" fmla="*/ 3211234 h 3212801"/>
              <a:gd name="csX37" fmla="*/ 506392 w 1315852"/>
              <a:gd name="csY37" fmla="*/ 3209195 h 3212801"/>
              <a:gd name="csX38" fmla="*/ 443638 w 1315852"/>
              <a:gd name="csY38" fmla="*/ 3206415 h 3212801"/>
              <a:gd name="csX39" fmla="*/ 389301 w 1315852"/>
              <a:gd name="csY39" fmla="*/ 3203597 h 3212801"/>
              <a:gd name="csX40" fmla="*/ 305884 w 1315852"/>
              <a:gd name="csY40" fmla="*/ 3197747 h 3212801"/>
              <a:gd name="csX41" fmla="*/ 216151 w 1315852"/>
              <a:gd name="csY41" fmla="*/ 3186940 h 3212801"/>
              <a:gd name="csX42" fmla="*/ 141593 w 1315852"/>
              <a:gd name="csY42" fmla="*/ 3177824 h 3212801"/>
              <a:gd name="csX43" fmla="*/ 44929 w 1315852"/>
              <a:gd name="csY43" fmla="*/ 3157176 h 3212801"/>
              <a:gd name="csX44" fmla="*/ 10154 w 1315852"/>
              <a:gd name="csY44" fmla="*/ 3146750 h 3212801"/>
              <a:gd name="csX45" fmla="*/ 112 w 1315852"/>
              <a:gd name="csY45" fmla="*/ 3132149 h 3212801"/>
              <a:gd name="csX46" fmla="*/ 5263 w 1315852"/>
              <a:gd name="csY46" fmla="*/ 3080960 h 3212801"/>
              <a:gd name="csX47" fmla="*/ 13758 w 1315852"/>
              <a:gd name="csY47" fmla="*/ 3031612 h 3212801"/>
              <a:gd name="csX48" fmla="*/ 40996 w 1315852"/>
              <a:gd name="csY48" fmla="*/ 2960204 h 3212801"/>
              <a:gd name="csX49" fmla="*/ 43510 w 1315852"/>
              <a:gd name="csY49" fmla="*/ 2944616 h 3212801"/>
              <a:gd name="csX50" fmla="*/ 36916 w 1315852"/>
              <a:gd name="csY50" fmla="*/ 2875457 h 3212801"/>
              <a:gd name="csX51" fmla="*/ 46646 w 1315852"/>
              <a:gd name="csY51" fmla="*/ 2827778 h 3212801"/>
              <a:gd name="csX52" fmla="*/ 108895 w 1315852"/>
              <a:gd name="csY52" fmla="*/ 2723307 h 3212801"/>
              <a:gd name="csX53" fmla="*/ 188375 w 1315852"/>
              <a:gd name="csY53" fmla="*/ 2646399 h 3212801"/>
              <a:gd name="csX54" fmla="*/ 211535 w 1315852"/>
              <a:gd name="csY54" fmla="*/ 2605867 h 3212801"/>
              <a:gd name="csX55" fmla="*/ 205182 w 1315852"/>
              <a:gd name="csY55" fmla="*/ 2571418 h 3212801"/>
              <a:gd name="csX56" fmla="*/ 196651 w 1315852"/>
              <a:gd name="csY56" fmla="*/ 2557085 h 3212801"/>
              <a:gd name="csX57" fmla="*/ 209021 w 1315852"/>
              <a:gd name="csY57" fmla="*/ 2521560 h 3212801"/>
              <a:gd name="csX58" fmla="*/ 245764 w 1315852"/>
              <a:gd name="csY58" fmla="*/ 2504395 h 3212801"/>
              <a:gd name="csX59" fmla="*/ 263769 w 1315852"/>
              <a:gd name="csY59" fmla="*/ 2485128 h 3212801"/>
              <a:gd name="csX60" fmla="*/ 300045 w 1315852"/>
              <a:gd name="csY60" fmla="*/ 2354726 h 3212801"/>
              <a:gd name="csX61" fmla="*/ 326003 w 1315852"/>
              <a:gd name="csY61" fmla="*/ 2249117 h 3212801"/>
              <a:gd name="csX62" fmla="*/ 359250 w 1315852"/>
              <a:gd name="csY62" fmla="*/ 2092493 h 3212801"/>
              <a:gd name="csX63" fmla="*/ 378011 w 1315852"/>
              <a:gd name="csY63" fmla="*/ 1995496 h 3212801"/>
              <a:gd name="csX64" fmla="*/ 390230 w 1315852"/>
              <a:gd name="csY64" fmla="*/ 1915745 h 3212801"/>
              <a:gd name="csX65" fmla="*/ 400702 w 1315852"/>
              <a:gd name="csY65" fmla="*/ 1851249 h 3212801"/>
              <a:gd name="csX66" fmla="*/ 406954 w 1315852"/>
              <a:gd name="csY66" fmla="*/ 1788916 h 3212801"/>
              <a:gd name="csX67" fmla="*/ 412016 w 1315852"/>
              <a:gd name="csY67" fmla="*/ 1747526 h 3212801"/>
              <a:gd name="csX68" fmla="*/ 415185 w 1315852"/>
              <a:gd name="csY68" fmla="*/ 1712850 h 3212801"/>
              <a:gd name="csX69" fmla="*/ 418197 w 1315852"/>
              <a:gd name="csY69" fmla="*/ 1651507 h 3212801"/>
              <a:gd name="csX70" fmla="*/ 423324 w 1315852"/>
              <a:gd name="csY70" fmla="*/ 1583479 h 3212801"/>
              <a:gd name="csX71" fmla="*/ 426059 w 1315852"/>
              <a:gd name="csY71" fmla="*/ 1477299 h 3212801"/>
              <a:gd name="csX72" fmla="*/ 424204 w 1315852"/>
              <a:gd name="csY72" fmla="*/ 1473415 h 3212801"/>
              <a:gd name="csX73" fmla="*/ 390769 w 1315852"/>
              <a:gd name="csY73" fmla="*/ 1470003 h 3212801"/>
              <a:gd name="csX74" fmla="*/ 327487 w 1315852"/>
              <a:gd name="csY74" fmla="*/ 1460760 h 3212801"/>
              <a:gd name="csX75" fmla="*/ 289037 w 1315852"/>
              <a:gd name="csY75" fmla="*/ 1410705 h 3212801"/>
              <a:gd name="csX76" fmla="*/ 292610 w 1315852"/>
              <a:gd name="csY76" fmla="*/ 1374826 h 3212801"/>
              <a:gd name="csX77" fmla="*/ 335365 w 1315852"/>
              <a:gd name="csY77" fmla="*/ 1319956 h 3212801"/>
              <a:gd name="csX78" fmla="*/ 358966 w 1315852"/>
              <a:gd name="csY78" fmla="*/ 1286091 h 3212801"/>
              <a:gd name="csX79" fmla="*/ 390267 w 1315852"/>
              <a:gd name="csY79" fmla="*/ 1239202 h 3212801"/>
              <a:gd name="csX80" fmla="*/ 435898 w 1315852"/>
              <a:gd name="csY80" fmla="*/ 1202610 h 3212801"/>
              <a:gd name="csX81" fmla="*/ 443089 w 1315852"/>
              <a:gd name="csY81" fmla="*/ 1186662 h 3212801"/>
              <a:gd name="csX82" fmla="*/ 443336 w 1315852"/>
              <a:gd name="csY82" fmla="*/ 1174100 h 3212801"/>
              <a:gd name="csX83" fmla="*/ 432713 w 1315852"/>
              <a:gd name="csY83" fmla="*/ 1161284 h 3212801"/>
              <a:gd name="csX84" fmla="*/ 406712 w 1315852"/>
              <a:gd name="csY84" fmla="*/ 1151413 h 3212801"/>
              <a:gd name="csX85" fmla="*/ 399212 w 1315852"/>
              <a:gd name="csY85" fmla="*/ 1135845 h 3212801"/>
              <a:gd name="csX86" fmla="*/ 409719 w 1315852"/>
              <a:gd name="csY86" fmla="*/ 1113213 h 3212801"/>
              <a:gd name="csX87" fmla="*/ 414650 w 1315852"/>
              <a:gd name="csY87" fmla="*/ 1091062 h 3212801"/>
              <a:gd name="csX88" fmla="*/ 402048 w 1315852"/>
              <a:gd name="csY88" fmla="*/ 1042520 h 3212801"/>
              <a:gd name="csX89" fmla="*/ 366526 w 1315852"/>
              <a:gd name="csY89" fmla="*/ 932054 h 3212801"/>
              <a:gd name="csX90" fmla="*/ 304855 w 1315852"/>
              <a:gd name="csY90" fmla="*/ 733506 h 3212801"/>
              <a:gd name="csX91" fmla="*/ 273722 w 1315852"/>
              <a:gd name="csY91" fmla="*/ 639312 h 3212801"/>
              <a:gd name="csX92" fmla="*/ 242525 w 1315852"/>
              <a:gd name="csY92" fmla="*/ 527843 h 3212801"/>
              <a:gd name="csX93" fmla="*/ 245838 w 1315852"/>
              <a:gd name="csY93" fmla="*/ 485521 h 3212801"/>
              <a:gd name="csX94" fmla="*/ 258319 w 1315852"/>
              <a:gd name="csY94" fmla="*/ 473233 h 3212801"/>
              <a:gd name="csX95" fmla="*/ 291527 w 1315852"/>
              <a:gd name="csY95" fmla="*/ 463336 h 3212801"/>
              <a:gd name="csX96" fmla="*/ 373160 w 1315852"/>
              <a:gd name="csY96" fmla="*/ 454842 h 3212801"/>
              <a:gd name="csX97" fmla="*/ 427480 w 1315852"/>
              <a:gd name="csY97" fmla="*/ 451758 h 3212801"/>
              <a:gd name="csX98" fmla="*/ 477998 w 1315852"/>
              <a:gd name="csY98" fmla="*/ 447870 h 3212801"/>
              <a:gd name="csX99" fmla="*/ 479585 w 1315852"/>
              <a:gd name="csY99" fmla="*/ 442932 h 3212801"/>
              <a:gd name="csX100" fmla="*/ 488907 w 1315852"/>
              <a:gd name="csY100" fmla="*/ 421401 h 3212801"/>
              <a:gd name="csX101" fmla="*/ 492315 w 1315852"/>
              <a:gd name="csY101" fmla="*/ 409196 h 3212801"/>
              <a:gd name="csX102" fmla="*/ 498582 w 1315852"/>
              <a:gd name="csY102" fmla="*/ 396231 h 3212801"/>
              <a:gd name="csX103" fmla="*/ 531424 w 1315852"/>
              <a:gd name="csY103" fmla="*/ 365066 h 3212801"/>
              <a:gd name="csX104" fmla="*/ 567201 w 1315852"/>
              <a:gd name="csY104" fmla="*/ 305069 h 3212801"/>
              <a:gd name="csX105" fmla="*/ 580157 w 1315852"/>
              <a:gd name="csY105" fmla="*/ 281885 h 3212801"/>
              <a:gd name="csX106" fmla="*/ 575177 w 1315852"/>
              <a:gd name="csY106" fmla="*/ 258759 h 3212801"/>
              <a:gd name="csX107" fmla="*/ 472048 w 1315852"/>
              <a:gd name="csY107" fmla="*/ 283266 h 3212801"/>
              <a:gd name="csX108" fmla="*/ 473659 w 1315852"/>
              <a:gd name="csY108" fmla="*/ 112243 h 3212801"/>
              <a:gd name="csX109" fmla="*/ 487139 w 1315852"/>
              <a:gd name="csY109" fmla="*/ 114763 h 3212801"/>
              <a:gd name="csX110" fmla="*/ 569608 w 1315852"/>
              <a:gd name="csY110" fmla="*/ 140735 h 3212801"/>
              <a:gd name="csX111" fmla="*/ 585180 w 1315852"/>
              <a:gd name="csY111" fmla="*/ 124742 h 3212801"/>
              <a:gd name="csX112" fmla="*/ 563868 w 1315852"/>
              <a:gd name="csY112" fmla="*/ 70080 h 3212801"/>
              <a:gd name="csX113" fmla="*/ 546041 w 1315852"/>
              <a:gd name="csY113" fmla="*/ 26021 h 3212801"/>
              <a:gd name="csX114" fmla="*/ 568462 w 1315852"/>
              <a:gd name="csY114" fmla="*/ 18986 h 3212801"/>
              <a:gd name="csX115" fmla="*/ 637623 w 1315852"/>
              <a:gd name="csY115" fmla="*/ 2731 h 3212801"/>
              <a:gd name="csX116" fmla="*/ 692817 w 1315852"/>
              <a:gd name="csY116" fmla="*/ 4346 h 3212801"/>
              <a:gd name="csX117" fmla="*/ 759126 w 1315852"/>
              <a:gd name="csY117" fmla="*/ 20739 h 3212801"/>
              <a:gd name="csX118" fmla="*/ 774460 w 1315852"/>
              <a:gd name="csY118" fmla="*/ 24289 h 3212801"/>
              <a:gd name="csX119" fmla="*/ 751608 w 1315852"/>
              <a:gd name="csY119" fmla="*/ 81205 h 3212801"/>
              <a:gd name="csX120" fmla="*/ 731002 w 1315852"/>
              <a:gd name="csY120" fmla="*/ 141135 h 3212801"/>
              <a:gd name="csX121" fmla="*/ 749917 w 1315852"/>
              <a:gd name="csY121" fmla="*/ 137732 h 3212801"/>
              <a:gd name="csX122" fmla="*/ 836197 w 1315852"/>
              <a:gd name="csY122" fmla="*/ 114792 h 3212801"/>
              <a:gd name="csX123" fmla="*/ 843209 w 1315852"/>
              <a:gd name="csY123" fmla="*/ 113433 h 3212801"/>
              <a:gd name="csX124" fmla="*/ 844400 w 1315852"/>
              <a:gd name="csY124" fmla="*/ 119435 h 3212801"/>
              <a:gd name="csX125" fmla="*/ 847390 w 1315852"/>
              <a:gd name="csY125" fmla="*/ 232672 h 3212801"/>
              <a:gd name="csX126" fmla="*/ 850015 w 1315852"/>
              <a:gd name="csY126" fmla="*/ 261773 h 3212801"/>
              <a:gd name="csX127" fmla="*/ 850085 w 1315852"/>
              <a:gd name="csY127" fmla="*/ 280220 h 3212801"/>
              <a:gd name="csX128" fmla="*/ 815285 w 1315852"/>
              <a:gd name="csY128" fmla="*/ 272127 h 3212801"/>
              <a:gd name="csX129" fmla="*/ 757181 w 1315852"/>
              <a:gd name="csY129" fmla="*/ 257455 h 3212801"/>
              <a:gd name="csX130" fmla="*/ 732939 w 1315852"/>
              <a:gd name="csY130" fmla="*/ 263859 h 3212801"/>
              <a:gd name="csX131" fmla="*/ 739871 w 1315852"/>
              <a:gd name="csY131" fmla="*/ 279988 h 3212801"/>
              <a:gd name="csX132" fmla="*/ 725900 w 1315852"/>
              <a:gd name="csY132" fmla="*/ 292074 h 3212801"/>
              <a:gd name="csX133" fmla="*/ 747132 w 1315852"/>
              <a:gd name="csY133" fmla="*/ 298017 h 3212801"/>
              <a:gd name="csX134" fmla="*/ 768268 w 1315852"/>
              <a:gd name="csY134" fmla="*/ 327815 h 3212801"/>
              <a:gd name="csX135" fmla="*/ 785901 w 1315852"/>
              <a:gd name="csY135" fmla="*/ 362862 h 3212801"/>
              <a:gd name="csX136" fmla="*/ 798627 w 1315852"/>
              <a:gd name="csY136" fmla="*/ 374591 h 3212801"/>
              <a:gd name="csX137" fmla="*/ 815580 w 1315852"/>
              <a:gd name="csY137" fmla="*/ 387899 h 3212801"/>
              <a:gd name="csX138" fmla="*/ 813282 w 1315852"/>
              <a:gd name="csY138" fmla="*/ 390947 h 3212801"/>
              <a:gd name="csX139" fmla="*/ 776501 w 1315852"/>
              <a:gd name="csY139" fmla="*/ 393213 h 3212801"/>
              <a:gd name="csX140" fmla="*/ 702336 w 1315852"/>
              <a:gd name="csY140" fmla="*/ 381496 h 3212801"/>
              <a:gd name="csX141" fmla="*/ 662021 w 1315852"/>
              <a:gd name="csY141" fmla="*/ 378921 h 3212801"/>
              <a:gd name="csX142" fmla="*/ 651111 w 1315852"/>
              <a:gd name="csY142" fmla="*/ 386942 h 3212801"/>
              <a:gd name="csX143" fmla="*/ 648295 w 1315852"/>
              <a:gd name="csY143" fmla="*/ 437069 h 3212801"/>
              <a:gd name="csX144" fmla="*/ 659561 w 1315852"/>
              <a:gd name="csY144" fmla="*/ 448907 h 3212801"/>
              <a:gd name="csX145" fmla="*/ 799805 w 1315852"/>
              <a:gd name="csY145" fmla="*/ 449022 h 3212801"/>
              <a:gd name="csX146" fmla="*/ 811083 w 1315852"/>
              <a:gd name="csY146" fmla="*/ 439581 h 3212801"/>
              <a:gd name="csX147" fmla="*/ 817945 w 1315852"/>
              <a:gd name="csY147" fmla="*/ 425008 h 3212801"/>
              <a:gd name="csX148" fmla="*/ 828609 w 1315852"/>
              <a:gd name="csY148" fmla="*/ 403122 h 3212801"/>
              <a:gd name="csX149" fmla="*/ 838374 w 1315852"/>
              <a:gd name="csY149" fmla="*/ 406435 h 3212801"/>
              <a:gd name="csX150" fmla="*/ 844275 w 1315852"/>
              <a:gd name="csY150" fmla="*/ 430561 h 3212801"/>
              <a:gd name="csX151" fmla="*/ 865761 w 1315852"/>
              <a:gd name="csY151" fmla="*/ 447068 h 3212801"/>
              <a:gd name="csX152" fmla="*/ 885673 w 1315852"/>
              <a:gd name="csY152" fmla="*/ 449965 h 3212801"/>
              <a:gd name="csX153" fmla="*/ 904428 w 1315852"/>
              <a:gd name="csY153" fmla="*/ 454230 h 3212801"/>
              <a:gd name="csX154" fmla="*/ 930689 w 1315852"/>
              <a:gd name="csY154" fmla="*/ 457318 h 3212801"/>
              <a:gd name="csX155" fmla="*/ 1036296 w 1315852"/>
              <a:gd name="csY155" fmla="*/ 485877 h 3212801"/>
              <a:gd name="csX156" fmla="*/ 1076027 w 1315852"/>
              <a:gd name="csY156" fmla="*/ 535212 h 3212801"/>
              <a:gd name="csX157" fmla="*/ 1075403 w 1315852"/>
              <a:gd name="csY157" fmla="*/ 578208 h 3212801"/>
              <a:gd name="csX158" fmla="*/ 1028317 w 1315852"/>
              <a:gd name="csY158" fmla="*/ 728867 h 3212801"/>
              <a:gd name="csX159" fmla="*/ 983498 w 1315852"/>
              <a:gd name="csY159" fmla="*/ 858331 h 3212801"/>
              <a:gd name="csX160" fmla="*/ 948940 w 1315852"/>
              <a:gd name="csY160" fmla="*/ 961698 h 3212801"/>
              <a:gd name="csX161" fmla="*/ 911066 w 1315852"/>
              <a:gd name="csY161" fmla="*/ 1087385 h 3212801"/>
              <a:gd name="csX162" fmla="*/ 910828 w 1315852"/>
              <a:gd name="csY162" fmla="*/ 1098086 h 3212801"/>
              <a:gd name="csX163" fmla="*/ 911498 w 1315852"/>
              <a:gd name="csY163" fmla="*/ 1130209 h 3212801"/>
              <a:gd name="csX164" fmla="*/ 905716 w 1315852"/>
              <a:gd name="csY164" fmla="*/ 1140786 h 3212801"/>
              <a:gd name="csX165" fmla="*/ 904041 w 1315852"/>
              <a:gd name="csY165" fmla="*/ 1171694 h 3212801"/>
              <a:gd name="csX166" fmla="*/ 929797 w 1315852"/>
              <a:gd name="csY166" fmla="*/ 1202854 h 3212801"/>
              <a:gd name="csX167" fmla="*/ 956714 w 1315852"/>
              <a:gd name="csY167" fmla="*/ 1270749 h 3212801"/>
              <a:gd name="csX168" fmla="*/ 960074 w 1315852"/>
              <a:gd name="csY168" fmla="*/ 1289888 h 3212801"/>
              <a:gd name="csX169" fmla="*/ 975795 w 1315852"/>
              <a:gd name="csY169" fmla="*/ 1308746 h 3212801"/>
              <a:gd name="csX170" fmla="*/ 1002397 w 1315852"/>
              <a:gd name="csY170" fmla="*/ 1326635 h 3212801"/>
              <a:gd name="csX171" fmla="*/ 1018686 w 1315852"/>
              <a:gd name="csY171" fmla="*/ 1435905 h 3212801"/>
              <a:gd name="csX172" fmla="*/ 996257 w 1315852"/>
              <a:gd name="csY172" fmla="*/ 1454107 h 3212801"/>
              <a:gd name="csX173" fmla="*/ 970849 w 1315852"/>
              <a:gd name="csY173" fmla="*/ 1461303 h 3212801"/>
              <a:gd name="csX174" fmla="*/ 917943 w 1315852"/>
              <a:gd name="csY174" fmla="*/ 1464461 h 3212801"/>
              <a:gd name="csX175" fmla="*/ 905433 w 1315852"/>
              <a:gd name="csY175" fmla="*/ 1465358 h 3212801"/>
              <a:gd name="csX176" fmla="*/ 897863 w 1315852"/>
              <a:gd name="csY176" fmla="*/ 1474014 h 3212801"/>
              <a:gd name="csX177" fmla="*/ 897812 w 1315852"/>
              <a:gd name="csY177" fmla="*/ 1475415 h 3212801"/>
              <a:gd name="csX178" fmla="*/ 895549 w 1315852"/>
              <a:gd name="csY178" fmla="*/ 1519988 h 3212801"/>
              <a:gd name="csX179" fmla="*/ 895093 w 1315852"/>
              <a:gd name="csY179" fmla="*/ 1566174 h 3212801"/>
              <a:gd name="csX180" fmla="*/ 898754 w 1315852"/>
              <a:gd name="csY180" fmla="*/ 1637125 h 3212801"/>
              <a:gd name="csX181" fmla="*/ 654604 w 1315852"/>
              <a:gd name="csY181" fmla="*/ 2329281 h 3212801"/>
              <a:gd name="csX182" fmla="*/ 650429 w 1315852"/>
              <a:gd name="csY182" fmla="*/ 2271391 h 3212801"/>
              <a:gd name="csX183" fmla="*/ 648148 w 1315852"/>
              <a:gd name="csY183" fmla="*/ 2289942 h 3212801"/>
              <a:gd name="csX184" fmla="*/ 648156 w 1315852"/>
              <a:gd name="csY184" fmla="*/ 2367948 h 3212801"/>
              <a:gd name="csX185" fmla="*/ 655577 w 1315852"/>
              <a:gd name="csY185" fmla="*/ 2381454 h 3212801"/>
              <a:gd name="csX186" fmla="*/ 655485 w 1315852"/>
              <a:gd name="csY186" fmla="*/ 2404945 h 3212801"/>
              <a:gd name="csX187" fmla="*/ 651805 w 1315852"/>
              <a:gd name="csY187" fmla="*/ 2455510 h 3212801"/>
              <a:gd name="csX188" fmla="*/ 650902 w 1315852"/>
              <a:gd name="csY188" fmla="*/ 2395333 h 3212801"/>
              <a:gd name="csX189" fmla="*/ 649248 w 1315852"/>
              <a:gd name="csY189" fmla="*/ 2386025 h 3212801"/>
              <a:gd name="csX190" fmla="*/ 645333 w 1315852"/>
              <a:gd name="csY190" fmla="*/ 2386512 h 3212801"/>
              <a:gd name="csX191" fmla="*/ 645333 w 1315852"/>
              <a:gd name="csY191" fmla="*/ 2399858 h 3212801"/>
              <a:gd name="csX192" fmla="*/ 645232 w 1315852"/>
              <a:gd name="csY192" fmla="*/ 2471367 h 3212801"/>
              <a:gd name="csX193" fmla="*/ 643489 w 1315852"/>
              <a:gd name="csY193" fmla="*/ 2486535 h 3212801"/>
              <a:gd name="csX194" fmla="*/ 662548 w 1315852"/>
              <a:gd name="csY194" fmla="*/ 2510760 h 3212801"/>
              <a:gd name="csX195" fmla="*/ 942625 w 1315852"/>
              <a:gd name="csY195" fmla="*/ 2507990 h 3212801"/>
              <a:gd name="csX196" fmla="*/ 997309 w 1315852"/>
              <a:gd name="csY196" fmla="*/ 2507928 h 3212801"/>
              <a:gd name="csX197" fmla="*/ 1012693 w 1315852"/>
              <a:gd name="csY197" fmla="*/ 2507237 h 3212801"/>
              <a:gd name="csX198" fmla="*/ 1010948 w 1315852"/>
              <a:gd name="csY198" fmla="*/ 2493054 h 3212801"/>
              <a:gd name="csX199" fmla="*/ 982017 w 1315852"/>
              <a:gd name="csY199" fmla="*/ 2386719 h 3212801"/>
              <a:gd name="csX200" fmla="*/ 955543 w 1315852"/>
              <a:gd name="csY200" fmla="*/ 2275604 h 3212801"/>
              <a:gd name="csX201" fmla="*/ 922638 w 1315852"/>
              <a:gd name="csY201" fmla="*/ 2125997 h 3212801"/>
              <a:gd name="csX202" fmla="*/ 897474 w 1315852"/>
              <a:gd name="csY202" fmla="*/ 1994858 h 3212801"/>
              <a:gd name="csX203" fmla="*/ 878061 w 1315852"/>
              <a:gd name="csY203" fmla="*/ 1878280 h 3212801"/>
              <a:gd name="csX204" fmla="*/ 866965 w 1315852"/>
              <a:gd name="csY204" fmla="*/ 1791411 h 3212801"/>
              <a:gd name="csX205" fmla="*/ 863902 w 1315852"/>
              <a:gd name="csY205" fmla="*/ 1755335 h 3212801"/>
              <a:gd name="csX206" fmla="*/ 855983 w 1315852"/>
              <a:gd name="csY206" fmla="*/ 1677866 h 3212801"/>
              <a:gd name="csX207" fmla="*/ 852873 w 1315852"/>
              <a:gd name="csY207" fmla="*/ 1578685 h 3212801"/>
              <a:gd name="csX208" fmla="*/ 851635 w 1315852"/>
              <a:gd name="csY208" fmla="*/ 1535546 h 3212801"/>
              <a:gd name="csX209" fmla="*/ 850039 w 1315852"/>
              <a:gd name="csY209" fmla="*/ 1484182 h 3212801"/>
              <a:gd name="csX210" fmla="*/ 848486 w 1315852"/>
              <a:gd name="csY210" fmla="*/ 1472876 h 3212801"/>
              <a:gd name="csX211" fmla="*/ 832070 w 1315852"/>
              <a:gd name="csY211" fmla="*/ 1472888 h 3212801"/>
              <a:gd name="csX212" fmla="*/ 676784 w 1315852"/>
              <a:gd name="csY212" fmla="*/ 1475691 h 3212801"/>
              <a:gd name="csX213" fmla="*/ 662172 w 1315852"/>
              <a:gd name="csY213" fmla="*/ 1490031 h 3212801"/>
              <a:gd name="csX214" fmla="*/ 662153 w 1315852"/>
              <a:gd name="csY214" fmla="*/ 1497041 h 3212801"/>
              <a:gd name="csX215" fmla="*/ 659832 w 1315852"/>
              <a:gd name="csY215" fmla="*/ 1642548 h 3212801"/>
              <a:gd name="csX216" fmla="*/ 656544 w 1315852"/>
              <a:gd name="csY216" fmla="*/ 1761338 h 3212801"/>
              <a:gd name="csX217" fmla="*/ 654344 w 1315852"/>
              <a:gd name="csY217" fmla="*/ 1943296 h 3212801"/>
              <a:gd name="csX218" fmla="*/ 651002 w 1315852"/>
              <a:gd name="csY218" fmla="*/ 2137811 h 3212801"/>
              <a:gd name="csX219" fmla="*/ 650933 w 1315852"/>
              <a:gd name="csY219" fmla="*/ 2240168 h 3212801"/>
              <a:gd name="csX220" fmla="*/ 651273 w 1315852"/>
              <a:gd name="csY220" fmla="*/ 2249880 h 3212801"/>
              <a:gd name="csX221" fmla="*/ 658332 w 1315852"/>
              <a:gd name="csY221" fmla="*/ 2258024 h 3212801"/>
              <a:gd name="csX222" fmla="*/ 654604 w 1315852"/>
              <a:gd name="csY222" fmla="*/ 2329281 h 3212801"/>
              <a:gd name="csX223" fmla="*/ 999154 w 1315852"/>
              <a:gd name="csY223" fmla="*/ 2930680 h 3212801"/>
              <a:gd name="csX224" fmla="*/ 1224400 w 1315852"/>
              <a:gd name="csY224" fmla="*/ 2904672 h 3212801"/>
              <a:gd name="csX225" fmla="*/ 1225778 w 1315852"/>
              <a:gd name="csY225" fmla="*/ 2893948 h 3212801"/>
              <a:gd name="csX226" fmla="*/ 1197990 w 1315852"/>
              <a:gd name="csY226" fmla="*/ 2788499 h 3212801"/>
              <a:gd name="csX227" fmla="*/ 1156721 w 1315852"/>
              <a:gd name="csY227" fmla="*/ 2737429 h 3212801"/>
              <a:gd name="csX228" fmla="*/ 1096512 w 1315852"/>
              <a:gd name="csY228" fmla="*/ 2674794 h 3212801"/>
              <a:gd name="csX229" fmla="*/ 1056842 w 1315852"/>
              <a:gd name="csY229" fmla="*/ 2584575 h 3212801"/>
              <a:gd name="csX230" fmla="*/ 1055233 w 1315852"/>
              <a:gd name="csY230" fmla="*/ 2579758 h 3212801"/>
              <a:gd name="csX231" fmla="*/ 1017950 w 1315852"/>
              <a:gd name="csY231" fmla="*/ 2581956 h 3212801"/>
              <a:gd name="csX232" fmla="*/ 785764 w 1315852"/>
              <a:gd name="csY232" fmla="*/ 2595473 h 3212801"/>
              <a:gd name="csX233" fmla="*/ 665238 w 1315852"/>
              <a:gd name="csY233" fmla="*/ 2597498 h 3212801"/>
              <a:gd name="csX234" fmla="*/ 654332 w 1315852"/>
              <a:gd name="csY234" fmla="*/ 2598673 h 3212801"/>
              <a:gd name="csX235" fmla="*/ 653026 w 1315852"/>
              <a:gd name="csY235" fmla="*/ 2935427 h 3212801"/>
              <a:gd name="csX236" fmla="*/ 999154 w 1315852"/>
              <a:gd name="csY236" fmla="*/ 2930680 h 3212801"/>
              <a:gd name="csX237" fmla="*/ 947894 w 1315852"/>
              <a:gd name="csY237" fmla="*/ 3022480 h 3212801"/>
              <a:gd name="csX238" fmla="*/ 854096 w 1315852"/>
              <a:gd name="csY238" fmla="*/ 3026952 h 3212801"/>
              <a:gd name="csX239" fmla="*/ 676076 w 1315852"/>
              <a:gd name="csY239" fmla="*/ 3027217 h 3212801"/>
              <a:gd name="csX240" fmla="*/ 657155 w 1315852"/>
              <a:gd name="csY240" fmla="*/ 3027217 h 3212801"/>
              <a:gd name="csX241" fmla="*/ 650929 w 1315852"/>
              <a:gd name="csY241" fmla="*/ 3130009 h 3212801"/>
              <a:gd name="csX242" fmla="*/ 662475 w 1315852"/>
              <a:gd name="csY242" fmla="*/ 3131016 h 3212801"/>
              <a:gd name="csX243" fmla="*/ 775955 w 1315852"/>
              <a:gd name="csY243" fmla="*/ 3134982 h 3212801"/>
              <a:gd name="csX244" fmla="*/ 1061598 w 1315852"/>
              <a:gd name="csY244" fmla="*/ 3125377 h 3212801"/>
              <a:gd name="csX245" fmla="*/ 1249397 w 1315852"/>
              <a:gd name="csY245" fmla="*/ 3093967 h 3212801"/>
              <a:gd name="csX246" fmla="*/ 1262842 w 1315852"/>
              <a:gd name="csY246" fmla="*/ 3089764 h 3212801"/>
              <a:gd name="csX247" fmla="*/ 1244253 w 1315852"/>
              <a:gd name="csY247" fmla="*/ 3014005 h 3212801"/>
              <a:gd name="csX248" fmla="*/ 1237768 w 1315852"/>
              <a:gd name="csY248" fmla="*/ 3003206 h 3212801"/>
              <a:gd name="csX249" fmla="*/ 1217957 w 1315852"/>
              <a:gd name="csY249" fmla="*/ 2993424 h 3212801"/>
              <a:gd name="csX250" fmla="*/ 1163725 w 1315852"/>
              <a:gd name="csY250" fmla="*/ 3000119 h 3212801"/>
              <a:gd name="csX251" fmla="*/ 947894 w 1315852"/>
              <a:gd name="csY251" fmla="*/ 3022480 h 3212801"/>
              <a:gd name="csX252" fmla="*/ 784197 w 1315852"/>
              <a:gd name="csY252" fmla="*/ 1352777 h 3212801"/>
              <a:gd name="csX253" fmla="*/ 730991 w 1315852"/>
              <a:gd name="csY253" fmla="*/ 1354793 h 3212801"/>
              <a:gd name="csX254" fmla="*/ 676320 w 1315852"/>
              <a:gd name="csY254" fmla="*/ 1356902 h 3212801"/>
              <a:gd name="csX255" fmla="*/ 671906 w 1315852"/>
              <a:gd name="csY255" fmla="*/ 1418933 h 3212801"/>
              <a:gd name="csX256" fmla="*/ 685797 w 1315852"/>
              <a:gd name="csY256" fmla="*/ 1418917 h 3212801"/>
              <a:gd name="csX257" fmla="*/ 953300 w 1315852"/>
              <a:gd name="csY257" fmla="*/ 1410383 h 3212801"/>
              <a:gd name="csX258" fmla="*/ 968586 w 1315852"/>
              <a:gd name="csY258" fmla="*/ 1408564 h 3212801"/>
              <a:gd name="csX259" fmla="*/ 980375 w 1315852"/>
              <a:gd name="csY259" fmla="*/ 1394590 h 3212801"/>
              <a:gd name="csX260" fmla="*/ 965591 w 1315852"/>
              <a:gd name="csY260" fmla="*/ 1364447 h 3212801"/>
              <a:gd name="csX261" fmla="*/ 910211 w 1315852"/>
              <a:gd name="csY261" fmla="*/ 1348103 h 3212801"/>
              <a:gd name="csX262" fmla="*/ 784197 w 1315852"/>
              <a:gd name="csY262" fmla="*/ 1352777 h 3212801"/>
              <a:gd name="csX263" fmla="*/ 648129 w 1315852"/>
              <a:gd name="csY263" fmla="*/ 615881 h 3212801"/>
              <a:gd name="csX264" fmla="*/ 650869 w 1315852"/>
              <a:gd name="csY264" fmla="*/ 664591 h 3212801"/>
              <a:gd name="csX265" fmla="*/ 653223 w 1315852"/>
              <a:gd name="csY265" fmla="*/ 746994 h 3212801"/>
              <a:gd name="csX266" fmla="*/ 656163 w 1315852"/>
              <a:gd name="csY266" fmla="*/ 830737 h 3212801"/>
              <a:gd name="csX267" fmla="*/ 658740 w 1315852"/>
              <a:gd name="csY267" fmla="*/ 903281 h 3212801"/>
              <a:gd name="csX268" fmla="*/ 662209 w 1315852"/>
              <a:gd name="csY268" fmla="*/ 1019226 h 3212801"/>
              <a:gd name="csX269" fmla="*/ 665088 w 1315852"/>
              <a:gd name="csY269" fmla="*/ 1081942 h 3212801"/>
              <a:gd name="csX270" fmla="*/ 674628 w 1315852"/>
              <a:gd name="csY270" fmla="*/ 1090643 h 3212801"/>
              <a:gd name="csX271" fmla="*/ 762289 w 1315852"/>
              <a:gd name="csY271" fmla="*/ 1085865 h 3212801"/>
              <a:gd name="csX272" fmla="*/ 853046 w 1315852"/>
              <a:gd name="csY272" fmla="*/ 1082948 h 3212801"/>
              <a:gd name="csX273" fmla="*/ 854448 w 1315852"/>
              <a:gd name="csY273" fmla="*/ 1082924 h 3212801"/>
              <a:gd name="csX274" fmla="*/ 866364 w 1315852"/>
              <a:gd name="csY274" fmla="*/ 1074839 h 3212801"/>
              <a:gd name="csX275" fmla="*/ 891726 w 1315852"/>
              <a:gd name="csY275" fmla="*/ 1006797 h 3212801"/>
              <a:gd name="csX276" fmla="*/ 913720 w 1315852"/>
              <a:gd name="csY276" fmla="*/ 939278 h 3212801"/>
              <a:gd name="csX277" fmla="*/ 953952 w 1315852"/>
              <a:gd name="csY277" fmla="*/ 826060 h 3212801"/>
              <a:gd name="csX278" fmla="*/ 988796 w 1315852"/>
              <a:gd name="csY278" fmla="*/ 727233 h 3212801"/>
              <a:gd name="csX279" fmla="*/ 1036110 w 1315852"/>
              <a:gd name="csY279" fmla="*/ 592920 h 3212801"/>
              <a:gd name="csX280" fmla="*/ 1043677 w 1315852"/>
              <a:gd name="csY280" fmla="*/ 542152 h 3212801"/>
              <a:gd name="csX281" fmla="*/ 1030884 w 1315852"/>
              <a:gd name="csY281" fmla="*/ 517222 h 3212801"/>
              <a:gd name="csX282" fmla="*/ 1009162 w 1315852"/>
              <a:gd name="csY282" fmla="*/ 507963 h 3212801"/>
              <a:gd name="csX283" fmla="*/ 931266 w 1315852"/>
              <a:gd name="csY283" fmla="*/ 493552 h 3212801"/>
              <a:gd name="csX284" fmla="*/ 880100 w 1315852"/>
              <a:gd name="csY284" fmla="*/ 488348 h 3212801"/>
              <a:gd name="csX285" fmla="*/ 835610 w 1315852"/>
              <a:gd name="csY285" fmla="*/ 485330 h 3212801"/>
              <a:gd name="csX286" fmla="*/ 755014 w 1315852"/>
              <a:gd name="csY286" fmla="*/ 480162 h 3212801"/>
              <a:gd name="csX287" fmla="*/ 657249 w 1315852"/>
              <a:gd name="csY287" fmla="*/ 482686 h 3212801"/>
              <a:gd name="csX288" fmla="*/ 643184 w 1315852"/>
              <a:gd name="csY288" fmla="*/ 500211 h 3212801"/>
              <a:gd name="csX289" fmla="*/ 645220 w 1315852"/>
              <a:gd name="csY289" fmla="*/ 511112 h 3212801"/>
              <a:gd name="csX290" fmla="*/ 648129 w 1315852"/>
              <a:gd name="csY290" fmla="*/ 615881 h 3212801"/>
              <a:gd name="csX291" fmla="*/ 886495 w 1315852"/>
              <a:gd name="csY291" fmla="*/ 1207714 h 3212801"/>
              <a:gd name="csX292" fmla="*/ 881380 w 1315852"/>
              <a:gd name="csY292" fmla="*/ 1202980 h 3212801"/>
              <a:gd name="csX293" fmla="*/ 866913 w 1315852"/>
              <a:gd name="csY293" fmla="*/ 1175042 h 3212801"/>
              <a:gd name="csX294" fmla="*/ 866482 w 1315852"/>
              <a:gd name="csY294" fmla="*/ 1156869 h 3212801"/>
              <a:gd name="csX295" fmla="*/ 856429 w 1315852"/>
              <a:gd name="csY295" fmla="*/ 1147458 h 3212801"/>
              <a:gd name="csX296" fmla="*/ 790615 w 1315852"/>
              <a:gd name="csY296" fmla="*/ 1147813 h 3212801"/>
              <a:gd name="csX297" fmla="*/ 718484 w 1315852"/>
              <a:gd name="csY297" fmla="*/ 1153058 h 3212801"/>
              <a:gd name="csX298" fmla="*/ 671232 w 1315852"/>
              <a:gd name="csY298" fmla="*/ 1156034 h 3212801"/>
              <a:gd name="csX299" fmla="*/ 664146 w 1315852"/>
              <a:gd name="csY299" fmla="*/ 1168443 h 3212801"/>
              <a:gd name="csX300" fmla="*/ 667611 w 1315852"/>
              <a:gd name="csY300" fmla="*/ 1187354 h 3212801"/>
              <a:gd name="csX301" fmla="*/ 667803 w 1315852"/>
              <a:gd name="csY301" fmla="*/ 1283992 h 3212801"/>
              <a:gd name="csX302" fmla="*/ 683140 w 1315852"/>
              <a:gd name="csY302" fmla="*/ 1298850 h 3212801"/>
              <a:gd name="csX303" fmla="*/ 736011 w 1315852"/>
              <a:gd name="csY303" fmla="*/ 1296220 h 3212801"/>
              <a:gd name="csX304" fmla="*/ 830893 w 1315852"/>
              <a:gd name="csY304" fmla="*/ 1293324 h 3212801"/>
              <a:gd name="csX305" fmla="*/ 833691 w 1315852"/>
              <a:gd name="csY305" fmla="*/ 1293213 h 3212801"/>
              <a:gd name="csX306" fmla="*/ 903014 w 1315852"/>
              <a:gd name="csY306" fmla="*/ 1287831 h 3212801"/>
              <a:gd name="csX307" fmla="*/ 917225 w 1315852"/>
              <a:gd name="csY307" fmla="*/ 1271856 h 3212801"/>
              <a:gd name="csX308" fmla="*/ 886495 w 1315852"/>
              <a:gd name="csY308" fmla="*/ 1207714 h 321280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  <a:cxn ang="0">
                <a:pos x="csX170" y="csY170"/>
              </a:cxn>
              <a:cxn ang="0">
                <a:pos x="csX171" y="csY171"/>
              </a:cxn>
              <a:cxn ang="0">
                <a:pos x="csX172" y="csY172"/>
              </a:cxn>
              <a:cxn ang="0">
                <a:pos x="csX173" y="csY173"/>
              </a:cxn>
              <a:cxn ang="0">
                <a:pos x="csX174" y="csY174"/>
              </a:cxn>
              <a:cxn ang="0">
                <a:pos x="csX175" y="csY175"/>
              </a:cxn>
              <a:cxn ang="0">
                <a:pos x="csX176" y="csY176"/>
              </a:cxn>
              <a:cxn ang="0">
                <a:pos x="csX177" y="csY177"/>
              </a:cxn>
              <a:cxn ang="0">
                <a:pos x="csX178" y="csY178"/>
              </a:cxn>
              <a:cxn ang="0">
                <a:pos x="csX179" y="csY179"/>
              </a:cxn>
              <a:cxn ang="0">
                <a:pos x="csX180" y="csY180"/>
              </a:cxn>
              <a:cxn ang="0">
                <a:pos x="csX181" y="csY181"/>
              </a:cxn>
              <a:cxn ang="0">
                <a:pos x="csX182" y="csY182"/>
              </a:cxn>
              <a:cxn ang="0">
                <a:pos x="csX183" y="csY183"/>
              </a:cxn>
              <a:cxn ang="0">
                <a:pos x="csX184" y="csY184"/>
              </a:cxn>
              <a:cxn ang="0">
                <a:pos x="csX185" y="csY185"/>
              </a:cxn>
              <a:cxn ang="0">
                <a:pos x="csX186" y="csY186"/>
              </a:cxn>
              <a:cxn ang="0">
                <a:pos x="csX187" y="csY187"/>
              </a:cxn>
              <a:cxn ang="0">
                <a:pos x="csX188" y="csY188"/>
              </a:cxn>
              <a:cxn ang="0">
                <a:pos x="csX189" y="csY189"/>
              </a:cxn>
              <a:cxn ang="0">
                <a:pos x="csX190" y="csY190"/>
              </a:cxn>
              <a:cxn ang="0">
                <a:pos x="csX191" y="csY191"/>
              </a:cxn>
              <a:cxn ang="0">
                <a:pos x="csX192" y="csY192"/>
              </a:cxn>
              <a:cxn ang="0">
                <a:pos x="csX193" y="csY193"/>
              </a:cxn>
              <a:cxn ang="0">
                <a:pos x="csX194" y="csY194"/>
              </a:cxn>
              <a:cxn ang="0">
                <a:pos x="csX195" y="csY195"/>
              </a:cxn>
              <a:cxn ang="0">
                <a:pos x="csX196" y="csY196"/>
              </a:cxn>
              <a:cxn ang="0">
                <a:pos x="csX197" y="csY197"/>
              </a:cxn>
              <a:cxn ang="0">
                <a:pos x="csX198" y="csY198"/>
              </a:cxn>
              <a:cxn ang="0">
                <a:pos x="csX199" y="csY199"/>
              </a:cxn>
              <a:cxn ang="0">
                <a:pos x="csX200" y="csY200"/>
              </a:cxn>
              <a:cxn ang="0">
                <a:pos x="csX201" y="csY201"/>
              </a:cxn>
              <a:cxn ang="0">
                <a:pos x="csX202" y="csY202"/>
              </a:cxn>
              <a:cxn ang="0">
                <a:pos x="csX203" y="csY203"/>
              </a:cxn>
              <a:cxn ang="0">
                <a:pos x="csX204" y="csY204"/>
              </a:cxn>
              <a:cxn ang="0">
                <a:pos x="csX205" y="csY205"/>
              </a:cxn>
              <a:cxn ang="0">
                <a:pos x="csX206" y="csY206"/>
              </a:cxn>
              <a:cxn ang="0">
                <a:pos x="csX207" y="csY207"/>
              </a:cxn>
              <a:cxn ang="0">
                <a:pos x="csX208" y="csY208"/>
              </a:cxn>
              <a:cxn ang="0">
                <a:pos x="csX209" y="csY209"/>
              </a:cxn>
              <a:cxn ang="0">
                <a:pos x="csX210" y="csY210"/>
              </a:cxn>
              <a:cxn ang="0">
                <a:pos x="csX211" y="csY211"/>
              </a:cxn>
              <a:cxn ang="0">
                <a:pos x="csX212" y="csY212"/>
              </a:cxn>
              <a:cxn ang="0">
                <a:pos x="csX213" y="csY213"/>
              </a:cxn>
              <a:cxn ang="0">
                <a:pos x="csX214" y="csY214"/>
              </a:cxn>
              <a:cxn ang="0">
                <a:pos x="csX215" y="csY215"/>
              </a:cxn>
              <a:cxn ang="0">
                <a:pos x="csX216" y="csY216"/>
              </a:cxn>
              <a:cxn ang="0">
                <a:pos x="csX217" y="csY217"/>
              </a:cxn>
              <a:cxn ang="0">
                <a:pos x="csX218" y="csY218"/>
              </a:cxn>
              <a:cxn ang="0">
                <a:pos x="csX219" y="csY219"/>
              </a:cxn>
              <a:cxn ang="0">
                <a:pos x="csX220" y="csY220"/>
              </a:cxn>
              <a:cxn ang="0">
                <a:pos x="csX221" y="csY221"/>
              </a:cxn>
              <a:cxn ang="0">
                <a:pos x="csX222" y="csY222"/>
              </a:cxn>
              <a:cxn ang="0">
                <a:pos x="csX223" y="csY223"/>
              </a:cxn>
              <a:cxn ang="0">
                <a:pos x="csX224" y="csY224"/>
              </a:cxn>
              <a:cxn ang="0">
                <a:pos x="csX225" y="csY225"/>
              </a:cxn>
              <a:cxn ang="0">
                <a:pos x="csX226" y="csY226"/>
              </a:cxn>
              <a:cxn ang="0">
                <a:pos x="csX227" y="csY227"/>
              </a:cxn>
              <a:cxn ang="0">
                <a:pos x="csX228" y="csY228"/>
              </a:cxn>
              <a:cxn ang="0">
                <a:pos x="csX229" y="csY229"/>
              </a:cxn>
              <a:cxn ang="0">
                <a:pos x="csX230" y="csY230"/>
              </a:cxn>
              <a:cxn ang="0">
                <a:pos x="csX231" y="csY231"/>
              </a:cxn>
              <a:cxn ang="0">
                <a:pos x="csX232" y="csY232"/>
              </a:cxn>
              <a:cxn ang="0">
                <a:pos x="csX233" y="csY233"/>
              </a:cxn>
              <a:cxn ang="0">
                <a:pos x="csX234" y="csY234"/>
              </a:cxn>
              <a:cxn ang="0">
                <a:pos x="csX235" y="csY235"/>
              </a:cxn>
              <a:cxn ang="0">
                <a:pos x="csX236" y="csY236"/>
              </a:cxn>
              <a:cxn ang="0">
                <a:pos x="csX237" y="csY237"/>
              </a:cxn>
              <a:cxn ang="0">
                <a:pos x="csX238" y="csY238"/>
              </a:cxn>
              <a:cxn ang="0">
                <a:pos x="csX239" y="csY239"/>
              </a:cxn>
              <a:cxn ang="0">
                <a:pos x="csX240" y="csY240"/>
              </a:cxn>
              <a:cxn ang="0">
                <a:pos x="csX241" y="csY241"/>
              </a:cxn>
              <a:cxn ang="0">
                <a:pos x="csX242" y="csY242"/>
              </a:cxn>
              <a:cxn ang="0">
                <a:pos x="csX243" y="csY243"/>
              </a:cxn>
              <a:cxn ang="0">
                <a:pos x="csX244" y="csY244"/>
              </a:cxn>
              <a:cxn ang="0">
                <a:pos x="csX245" y="csY245"/>
              </a:cxn>
              <a:cxn ang="0">
                <a:pos x="csX246" y="csY246"/>
              </a:cxn>
              <a:cxn ang="0">
                <a:pos x="csX247" y="csY247"/>
              </a:cxn>
              <a:cxn ang="0">
                <a:pos x="csX248" y="csY248"/>
              </a:cxn>
              <a:cxn ang="0">
                <a:pos x="csX249" y="csY249"/>
              </a:cxn>
              <a:cxn ang="0">
                <a:pos x="csX250" y="csY250"/>
              </a:cxn>
              <a:cxn ang="0">
                <a:pos x="csX251" y="csY251"/>
              </a:cxn>
              <a:cxn ang="0">
                <a:pos x="csX252" y="csY252"/>
              </a:cxn>
              <a:cxn ang="0">
                <a:pos x="csX253" y="csY253"/>
              </a:cxn>
              <a:cxn ang="0">
                <a:pos x="csX254" y="csY254"/>
              </a:cxn>
              <a:cxn ang="0">
                <a:pos x="csX255" y="csY255"/>
              </a:cxn>
              <a:cxn ang="0">
                <a:pos x="csX256" y="csY256"/>
              </a:cxn>
              <a:cxn ang="0">
                <a:pos x="csX257" y="csY257"/>
              </a:cxn>
              <a:cxn ang="0">
                <a:pos x="csX258" y="csY258"/>
              </a:cxn>
              <a:cxn ang="0">
                <a:pos x="csX259" y="csY259"/>
              </a:cxn>
              <a:cxn ang="0">
                <a:pos x="csX260" y="csY260"/>
              </a:cxn>
              <a:cxn ang="0">
                <a:pos x="csX261" y="csY261"/>
              </a:cxn>
              <a:cxn ang="0">
                <a:pos x="csX262" y="csY262"/>
              </a:cxn>
              <a:cxn ang="0">
                <a:pos x="csX263" y="csY263"/>
              </a:cxn>
              <a:cxn ang="0">
                <a:pos x="csX264" y="csY264"/>
              </a:cxn>
              <a:cxn ang="0">
                <a:pos x="csX265" y="csY265"/>
              </a:cxn>
              <a:cxn ang="0">
                <a:pos x="csX266" y="csY266"/>
              </a:cxn>
              <a:cxn ang="0">
                <a:pos x="csX267" y="csY267"/>
              </a:cxn>
              <a:cxn ang="0">
                <a:pos x="csX268" y="csY268"/>
              </a:cxn>
              <a:cxn ang="0">
                <a:pos x="csX269" y="csY269"/>
              </a:cxn>
              <a:cxn ang="0">
                <a:pos x="csX270" y="csY270"/>
              </a:cxn>
              <a:cxn ang="0">
                <a:pos x="csX271" y="csY271"/>
              </a:cxn>
              <a:cxn ang="0">
                <a:pos x="csX272" y="csY272"/>
              </a:cxn>
              <a:cxn ang="0">
                <a:pos x="csX273" y="csY273"/>
              </a:cxn>
              <a:cxn ang="0">
                <a:pos x="csX274" y="csY274"/>
              </a:cxn>
              <a:cxn ang="0">
                <a:pos x="csX275" y="csY275"/>
              </a:cxn>
              <a:cxn ang="0">
                <a:pos x="csX276" y="csY276"/>
              </a:cxn>
              <a:cxn ang="0">
                <a:pos x="csX277" y="csY277"/>
              </a:cxn>
              <a:cxn ang="0">
                <a:pos x="csX278" y="csY278"/>
              </a:cxn>
              <a:cxn ang="0">
                <a:pos x="csX279" y="csY279"/>
              </a:cxn>
              <a:cxn ang="0">
                <a:pos x="csX280" y="csY280"/>
              </a:cxn>
              <a:cxn ang="0">
                <a:pos x="csX281" y="csY281"/>
              </a:cxn>
              <a:cxn ang="0">
                <a:pos x="csX282" y="csY282"/>
              </a:cxn>
              <a:cxn ang="0">
                <a:pos x="csX283" y="csY283"/>
              </a:cxn>
              <a:cxn ang="0">
                <a:pos x="csX284" y="csY284"/>
              </a:cxn>
              <a:cxn ang="0">
                <a:pos x="csX285" y="csY285"/>
              </a:cxn>
              <a:cxn ang="0">
                <a:pos x="csX286" y="csY286"/>
              </a:cxn>
              <a:cxn ang="0">
                <a:pos x="csX287" y="csY287"/>
              </a:cxn>
              <a:cxn ang="0">
                <a:pos x="csX288" y="csY288"/>
              </a:cxn>
              <a:cxn ang="0">
                <a:pos x="csX289" y="csY289"/>
              </a:cxn>
              <a:cxn ang="0">
                <a:pos x="csX290" y="csY290"/>
              </a:cxn>
              <a:cxn ang="0">
                <a:pos x="csX291" y="csY291"/>
              </a:cxn>
              <a:cxn ang="0">
                <a:pos x="csX292" y="csY292"/>
              </a:cxn>
              <a:cxn ang="0">
                <a:pos x="csX293" y="csY293"/>
              </a:cxn>
              <a:cxn ang="0">
                <a:pos x="csX294" y="csY294"/>
              </a:cxn>
              <a:cxn ang="0">
                <a:pos x="csX295" y="csY295"/>
              </a:cxn>
              <a:cxn ang="0">
                <a:pos x="csX296" y="csY296"/>
              </a:cxn>
              <a:cxn ang="0">
                <a:pos x="csX297" y="csY297"/>
              </a:cxn>
              <a:cxn ang="0">
                <a:pos x="csX298" y="csY298"/>
              </a:cxn>
              <a:cxn ang="0">
                <a:pos x="csX299" y="csY299"/>
              </a:cxn>
              <a:cxn ang="0">
                <a:pos x="csX300" y="csY300"/>
              </a:cxn>
              <a:cxn ang="0">
                <a:pos x="csX301" y="csY301"/>
              </a:cxn>
              <a:cxn ang="0">
                <a:pos x="csX302" y="csY302"/>
              </a:cxn>
              <a:cxn ang="0">
                <a:pos x="csX303" y="csY303"/>
              </a:cxn>
              <a:cxn ang="0">
                <a:pos x="csX304" y="csY304"/>
              </a:cxn>
              <a:cxn ang="0">
                <a:pos x="csX305" y="csY305"/>
              </a:cxn>
              <a:cxn ang="0">
                <a:pos x="csX306" y="csY306"/>
              </a:cxn>
              <a:cxn ang="0">
                <a:pos x="csX307" y="csY307"/>
              </a:cxn>
              <a:cxn ang="0">
                <a:pos x="csX308" y="csY308"/>
              </a:cxn>
            </a:cxnLst>
            <a:rect l="l" t="t" r="r" b="b"/>
            <a:pathLst>
              <a:path w="1315852" h="3212801">
                <a:moveTo>
                  <a:pt x="898754" y="1637125"/>
                </a:moveTo>
                <a:cubicBezTo>
                  <a:pt x="899614" y="1640179"/>
                  <a:pt x="900338" y="1641975"/>
                  <a:pt x="900426" y="1643802"/>
                </a:cubicBezTo>
                <a:cubicBezTo>
                  <a:pt x="901475" y="1665651"/>
                  <a:pt x="902040" y="1687530"/>
                  <a:pt x="903549" y="1709345"/>
                </a:cubicBezTo>
                <a:cubicBezTo>
                  <a:pt x="904508" y="1723191"/>
                  <a:pt x="906945" y="1736929"/>
                  <a:pt x="908512" y="1750739"/>
                </a:cubicBezTo>
                <a:cubicBezTo>
                  <a:pt x="909768" y="1761809"/>
                  <a:pt x="910504" y="1772940"/>
                  <a:pt x="911839" y="1783999"/>
                </a:cubicBezTo>
                <a:cubicBezTo>
                  <a:pt x="914339" y="1804698"/>
                  <a:pt x="917061" y="1825371"/>
                  <a:pt x="919775" y="1846044"/>
                </a:cubicBezTo>
                <a:cubicBezTo>
                  <a:pt x="922673" y="1868112"/>
                  <a:pt x="925267" y="1890230"/>
                  <a:pt x="928724" y="1912212"/>
                </a:cubicBezTo>
                <a:cubicBezTo>
                  <a:pt x="933262" y="1941073"/>
                  <a:pt x="938122" y="1969897"/>
                  <a:pt x="943556" y="1998602"/>
                </a:cubicBezTo>
                <a:cubicBezTo>
                  <a:pt x="951321" y="2039621"/>
                  <a:pt x="959572" y="2080549"/>
                  <a:pt x="967918" y="2121455"/>
                </a:cubicBezTo>
                <a:cubicBezTo>
                  <a:pt x="974414" y="2153298"/>
                  <a:pt x="980861" y="2185166"/>
                  <a:pt x="988236" y="2216813"/>
                </a:cubicBezTo>
                <a:cubicBezTo>
                  <a:pt x="1001417" y="2273372"/>
                  <a:pt x="1015007" y="2329839"/>
                  <a:pt x="1028961" y="2386212"/>
                </a:cubicBezTo>
                <a:cubicBezTo>
                  <a:pt x="1037223" y="2419597"/>
                  <a:pt x="1046464" y="2452740"/>
                  <a:pt x="1055369" y="2485963"/>
                </a:cubicBezTo>
                <a:cubicBezTo>
                  <a:pt x="1057341" y="2493320"/>
                  <a:pt x="1060485" y="2498788"/>
                  <a:pt x="1069125" y="2501571"/>
                </a:cubicBezTo>
                <a:cubicBezTo>
                  <a:pt x="1081467" y="2505544"/>
                  <a:pt x="1093147" y="2511758"/>
                  <a:pt x="1104775" y="2517672"/>
                </a:cubicBezTo>
                <a:cubicBezTo>
                  <a:pt x="1109642" y="2520148"/>
                  <a:pt x="1114279" y="2523752"/>
                  <a:pt x="1117910" y="2527831"/>
                </a:cubicBezTo>
                <a:cubicBezTo>
                  <a:pt x="1124099" y="2534784"/>
                  <a:pt x="1126976" y="2542950"/>
                  <a:pt x="1122737" y="2552282"/>
                </a:cubicBezTo>
                <a:cubicBezTo>
                  <a:pt x="1120041" y="2558217"/>
                  <a:pt x="1118208" y="2564666"/>
                  <a:pt x="1114779" y="2570125"/>
                </a:cubicBezTo>
                <a:cubicBezTo>
                  <a:pt x="1104671" y="2586210"/>
                  <a:pt x="1107442" y="2602158"/>
                  <a:pt x="1114207" y="2618225"/>
                </a:cubicBezTo>
                <a:cubicBezTo>
                  <a:pt x="1121782" y="2636214"/>
                  <a:pt x="1134908" y="2650364"/>
                  <a:pt x="1148150" y="2663984"/>
                </a:cubicBezTo>
                <a:cubicBezTo>
                  <a:pt x="1166992" y="2683364"/>
                  <a:pt x="1187718" y="2700911"/>
                  <a:pt x="1206600" y="2720256"/>
                </a:cubicBezTo>
                <a:cubicBezTo>
                  <a:pt x="1242228" y="2756756"/>
                  <a:pt x="1266941" y="2799706"/>
                  <a:pt x="1275524" y="2850317"/>
                </a:cubicBezTo>
                <a:cubicBezTo>
                  <a:pt x="1278084" y="2865409"/>
                  <a:pt x="1281110" y="2880935"/>
                  <a:pt x="1277353" y="2897326"/>
                </a:cubicBezTo>
                <a:cubicBezTo>
                  <a:pt x="1274514" y="2909711"/>
                  <a:pt x="1274674" y="2923014"/>
                  <a:pt x="1271355" y="2935725"/>
                </a:cubicBezTo>
                <a:cubicBezTo>
                  <a:pt x="1269750" y="2941870"/>
                  <a:pt x="1270927" y="2948063"/>
                  <a:pt x="1274691" y="2954335"/>
                </a:cubicBezTo>
                <a:cubicBezTo>
                  <a:pt x="1288477" y="2977303"/>
                  <a:pt x="1297024" y="3002358"/>
                  <a:pt x="1301797" y="3028744"/>
                </a:cubicBezTo>
                <a:cubicBezTo>
                  <a:pt x="1305016" y="3046537"/>
                  <a:pt x="1309526" y="3064135"/>
                  <a:pt x="1311943" y="3082025"/>
                </a:cubicBezTo>
                <a:cubicBezTo>
                  <a:pt x="1314240" y="3099026"/>
                  <a:pt x="1314491" y="3116299"/>
                  <a:pt x="1315801" y="3133440"/>
                </a:cubicBezTo>
                <a:cubicBezTo>
                  <a:pt x="1316312" y="3140137"/>
                  <a:pt x="1313007" y="3144001"/>
                  <a:pt x="1307182" y="3146201"/>
                </a:cubicBezTo>
                <a:cubicBezTo>
                  <a:pt x="1298468" y="3149492"/>
                  <a:pt x="1289929" y="3153581"/>
                  <a:pt x="1280933" y="3155733"/>
                </a:cubicBezTo>
                <a:cubicBezTo>
                  <a:pt x="1243908" y="3164594"/>
                  <a:pt x="1206866" y="3173472"/>
                  <a:pt x="1169576" y="3181105"/>
                </a:cubicBezTo>
                <a:cubicBezTo>
                  <a:pt x="1145999" y="3185932"/>
                  <a:pt x="1122051" y="3189224"/>
                  <a:pt x="1098129" y="3192005"/>
                </a:cubicBezTo>
                <a:cubicBezTo>
                  <a:pt x="1074162" y="3194791"/>
                  <a:pt x="1050013" y="3195993"/>
                  <a:pt x="1025959" y="3198069"/>
                </a:cubicBezTo>
                <a:cubicBezTo>
                  <a:pt x="1007015" y="3199703"/>
                  <a:pt x="988093" y="3201610"/>
                  <a:pt x="969161" y="3203391"/>
                </a:cubicBezTo>
                <a:cubicBezTo>
                  <a:pt x="968232" y="3203478"/>
                  <a:pt x="967299" y="3203552"/>
                  <a:pt x="966367" y="3203587"/>
                </a:cubicBezTo>
                <a:cubicBezTo>
                  <a:pt x="941242" y="3204545"/>
                  <a:pt x="916121" y="3205640"/>
                  <a:pt x="890991" y="3206415"/>
                </a:cubicBezTo>
                <a:cubicBezTo>
                  <a:pt x="856053" y="3207494"/>
                  <a:pt x="820973" y="3206720"/>
                  <a:pt x="786197" y="3209641"/>
                </a:cubicBezTo>
                <a:cubicBezTo>
                  <a:pt x="730188" y="3214346"/>
                  <a:pt x="674133" y="3212833"/>
                  <a:pt x="618254" y="3211234"/>
                </a:cubicBezTo>
                <a:cubicBezTo>
                  <a:pt x="580962" y="3210166"/>
                  <a:pt x="543663" y="3210429"/>
                  <a:pt x="506392" y="3209195"/>
                </a:cubicBezTo>
                <a:cubicBezTo>
                  <a:pt x="485466" y="3208502"/>
                  <a:pt x="464553" y="3207412"/>
                  <a:pt x="443638" y="3206415"/>
                </a:cubicBezTo>
                <a:cubicBezTo>
                  <a:pt x="425522" y="3205552"/>
                  <a:pt x="407401" y="3204739"/>
                  <a:pt x="389301" y="3203597"/>
                </a:cubicBezTo>
                <a:cubicBezTo>
                  <a:pt x="361481" y="3201842"/>
                  <a:pt x="333617" y="3200446"/>
                  <a:pt x="305884" y="3197747"/>
                </a:cubicBezTo>
                <a:cubicBezTo>
                  <a:pt x="275907" y="3194830"/>
                  <a:pt x="246063" y="3190549"/>
                  <a:pt x="216151" y="3186940"/>
                </a:cubicBezTo>
                <a:cubicBezTo>
                  <a:pt x="191288" y="3183939"/>
                  <a:pt x="166206" y="3182205"/>
                  <a:pt x="141593" y="3177824"/>
                </a:cubicBezTo>
                <a:cubicBezTo>
                  <a:pt x="109171" y="3172054"/>
                  <a:pt x="77055" y="3164497"/>
                  <a:pt x="44929" y="3157176"/>
                </a:cubicBezTo>
                <a:cubicBezTo>
                  <a:pt x="33156" y="3154493"/>
                  <a:pt x="21711" y="3150349"/>
                  <a:pt x="10154" y="3146750"/>
                </a:cubicBezTo>
                <a:cubicBezTo>
                  <a:pt x="3067" y="3144544"/>
                  <a:pt x="-715" y="3140051"/>
                  <a:pt x="112" y="3132149"/>
                </a:cubicBezTo>
                <a:cubicBezTo>
                  <a:pt x="1898" y="3115092"/>
                  <a:pt x="2952" y="3097941"/>
                  <a:pt x="5263" y="3080960"/>
                </a:cubicBezTo>
                <a:cubicBezTo>
                  <a:pt x="7512" y="3064431"/>
                  <a:pt x="11458" y="3048135"/>
                  <a:pt x="13758" y="3031612"/>
                </a:cubicBezTo>
                <a:cubicBezTo>
                  <a:pt x="17373" y="3005647"/>
                  <a:pt x="28643" y="2982695"/>
                  <a:pt x="40996" y="2960204"/>
                </a:cubicBezTo>
                <a:cubicBezTo>
                  <a:pt x="43921" y="2954879"/>
                  <a:pt x="44978" y="2950688"/>
                  <a:pt x="43510" y="2944616"/>
                </a:cubicBezTo>
                <a:cubicBezTo>
                  <a:pt x="38022" y="2921926"/>
                  <a:pt x="34351" y="2898766"/>
                  <a:pt x="36916" y="2875457"/>
                </a:cubicBezTo>
                <a:cubicBezTo>
                  <a:pt x="38685" y="2859391"/>
                  <a:pt x="42237" y="2843358"/>
                  <a:pt x="46646" y="2827778"/>
                </a:cubicBezTo>
                <a:cubicBezTo>
                  <a:pt x="58040" y="2787514"/>
                  <a:pt x="79014" y="2752619"/>
                  <a:pt x="108895" y="2723307"/>
                </a:cubicBezTo>
                <a:cubicBezTo>
                  <a:pt x="135212" y="2697491"/>
                  <a:pt x="162086" y="2672243"/>
                  <a:pt x="188375" y="2646399"/>
                </a:cubicBezTo>
                <a:cubicBezTo>
                  <a:pt x="199778" y="2635188"/>
                  <a:pt x="207849" y="2622209"/>
                  <a:pt x="211535" y="2605867"/>
                </a:cubicBezTo>
                <a:cubicBezTo>
                  <a:pt x="214510" y="2592678"/>
                  <a:pt x="211592" y="2582100"/>
                  <a:pt x="205182" y="2571418"/>
                </a:cubicBezTo>
                <a:cubicBezTo>
                  <a:pt x="202318" y="2566645"/>
                  <a:pt x="198777" y="2562163"/>
                  <a:pt x="196651" y="2557085"/>
                </a:cubicBezTo>
                <a:cubicBezTo>
                  <a:pt x="190347" y="2542031"/>
                  <a:pt x="194717" y="2529077"/>
                  <a:pt x="209021" y="2521560"/>
                </a:cubicBezTo>
                <a:cubicBezTo>
                  <a:pt x="220978" y="2515277"/>
                  <a:pt x="233317" y="2509655"/>
                  <a:pt x="245764" y="2504395"/>
                </a:cubicBezTo>
                <a:cubicBezTo>
                  <a:pt x="254856" y="2500554"/>
                  <a:pt x="261020" y="2495272"/>
                  <a:pt x="263769" y="2485128"/>
                </a:cubicBezTo>
                <a:cubicBezTo>
                  <a:pt x="275569" y="2441581"/>
                  <a:pt x="288425" y="2398319"/>
                  <a:pt x="300045" y="2354726"/>
                </a:cubicBezTo>
                <a:cubicBezTo>
                  <a:pt x="309381" y="2319703"/>
                  <a:pt x="318110" y="2284492"/>
                  <a:pt x="326003" y="2249117"/>
                </a:cubicBezTo>
                <a:cubicBezTo>
                  <a:pt x="337625" y="2197029"/>
                  <a:pt x="348457" y="2144762"/>
                  <a:pt x="359250" y="2092493"/>
                </a:cubicBezTo>
                <a:cubicBezTo>
                  <a:pt x="365909" y="2060243"/>
                  <a:pt x="372293" y="2027924"/>
                  <a:pt x="378011" y="1995496"/>
                </a:cubicBezTo>
                <a:cubicBezTo>
                  <a:pt x="382679" y="1969018"/>
                  <a:pt x="386061" y="1942315"/>
                  <a:pt x="390230" y="1915745"/>
                </a:cubicBezTo>
                <a:cubicBezTo>
                  <a:pt x="393606" y="1894227"/>
                  <a:pt x="397846" y="1872831"/>
                  <a:pt x="400702" y="1851249"/>
                </a:cubicBezTo>
                <a:cubicBezTo>
                  <a:pt x="403440" y="1830558"/>
                  <a:pt x="404754" y="1809683"/>
                  <a:pt x="406954" y="1788916"/>
                </a:cubicBezTo>
                <a:cubicBezTo>
                  <a:pt x="408419" y="1775096"/>
                  <a:pt x="410485" y="1761340"/>
                  <a:pt x="412016" y="1747526"/>
                </a:cubicBezTo>
                <a:cubicBezTo>
                  <a:pt x="413295" y="1735991"/>
                  <a:pt x="414503" y="1724431"/>
                  <a:pt x="415185" y="1712850"/>
                </a:cubicBezTo>
                <a:cubicBezTo>
                  <a:pt x="416387" y="1692414"/>
                  <a:pt x="416884" y="1671935"/>
                  <a:pt x="418197" y="1651507"/>
                </a:cubicBezTo>
                <a:cubicBezTo>
                  <a:pt x="419655" y="1628814"/>
                  <a:pt x="422378" y="1606186"/>
                  <a:pt x="423324" y="1583479"/>
                </a:cubicBezTo>
                <a:cubicBezTo>
                  <a:pt x="424797" y="1548109"/>
                  <a:pt x="425243" y="1512695"/>
                  <a:pt x="426059" y="1477299"/>
                </a:cubicBezTo>
                <a:cubicBezTo>
                  <a:pt x="426077" y="1476493"/>
                  <a:pt x="425310" y="1475668"/>
                  <a:pt x="424204" y="1473415"/>
                </a:cubicBezTo>
                <a:cubicBezTo>
                  <a:pt x="413635" y="1472358"/>
                  <a:pt x="402157" y="1471516"/>
                  <a:pt x="390769" y="1470003"/>
                </a:cubicBezTo>
                <a:cubicBezTo>
                  <a:pt x="369635" y="1467195"/>
                  <a:pt x="348419" y="1464707"/>
                  <a:pt x="327487" y="1460760"/>
                </a:cubicBezTo>
                <a:cubicBezTo>
                  <a:pt x="305605" y="1456634"/>
                  <a:pt x="286603" y="1433026"/>
                  <a:pt x="289037" y="1410705"/>
                </a:cubicBezTo>
                <a:cubicBezTo>
                  <a:pt x="290343" y="1398733"/>
                  <a:pt x="289247" y="1386137"/>
                  <a:pt x="292610" y="1374826"/>
                </a:cubicBezTo>
                <a:cubicBezTo>
                  <a:pt x="299584" y="1351367"/>
                  <a:pt x="313866" y="1331810"/>
                  <a:pt x="335365" y="1319956"/>
                </a:cubicBezTo>
                <a:cubicBezTo>
                  <a:pt x="349736" y="1312032"/>
                  <a:pt x="355513" y="1300196"/>
                  <a:pt x="358966" y="1286091"/>
                </a:cubicBezTo>
                <a:cubicBezTo>
                  <a:pt x="363751" y="1266546"/>
                  <a:pt x="376163" y="1252003"/>
                  <a:pt x="390267" y="1239202"/>
                </a:cubicBezTo>
                <a:cubicBezTo>
                  <a:pt x="404675" y="1226125"/>
                  <a:pt x="421167" y="1215364"/>
                  <a:pt x="435898" y="1202610"/>
                </a:cubicBezTo>
                <a:cubicBezTo>
                  <a:pt x="439929" y="1199120"/>
                  <a:pt x="441515" y="1192282"/>
                  <a:pt x="443089" y="1186662"/>
                </a:cubicBezTo>
                <a:cubicBezTo>
                  <a:pt x="444184" y="1182756"/>
                  <a:pt x="443471" y="1178302"/>
                  <a:pt x="443336" y="1174100"/>
                </a:cubicBezTo>
                <a:cubicBezTo>
                  <a:pt x="443002" y="1163708"/>
                  <a:pt x="442564" y="1164032"/>
                  <a:pt x="432713" y="1161284"/>
                </a:cubicBezTo>
                <a:cubicBezTo>
                  <a:pt x="423812" y="1158801"/>
                  <a:pt x="415102" y="1155322"/>
                  <a:pt x="406712" y="1151413"/>
                </a:cubicBezTo>
                <a:cubicBezTo>
                  <a:pt x="398571" y="1147621"/>
                  <a:pt x="396617" y="1143812"/>
                  <a:pt x="399212" y="1135845"/>
                </a:cubicBezTo>
                <a:cubicBezTo>
                  <a:pt x="401786" y="1127943"/>
                  <a:pt x="404616" y="1119485"/>
                  <a:pt x="409719" y="1113213"/>
                </a:cubicBezTo>
                <a:cubicBezTo>
                  <a:pt x="415540" y="1106060"/>
                  <a:pt x="416443" y="1098866"/>
                  <a:pt x="414650" y="1091062"/>
                </a:cubicBezTo>
                <a:cubicBezTo>
                  <a:pt x="410906" y="1074773"/>
                  <a:pt x="407015" y="1058465"/>
                  <a:pt x="402048" y="1042520"/>
                </a:cubicBezTo>
                <a:cubicBezTo>
                  <a:pt x="390546" y="1005592"/>
                  <a:pt x="378091" y="968962"/>
                  <a:pt x="366526" y="932054"/>
                </a:cubicBezTo>
                <a:cubicBezTo>
                  <a:pt x="345804" y="865923"/>
                  <a:pt x="325665" y="799609"/>
                  <a:pt x="304855" y="733506"/>
                </a:cubicBezTo>
                <a:cubicBezTo>
                  <a:pt x="294926" y="701966"/>
                  <a:pt x="283362" y="670934"/>
                  <a:pt x="273722" y="639312"/>
                </a:cubicBezTo>
                <a:cubicBezTo>
                  <a:pt x="262471" y="602404"/>
                  <a:pt x="251509" y="565342"/>
                  <a:pt x="242525" y="527843"/>
                </a:cubicBezTo>
                <a:cubicBezTo>
                  <a:pt x="239293" y="514353"/>
                  <a:pt x="237774" y="498828"/>
                  <a:pt x="245838" y="485521"/>
                </a:cubicBezTo>
                <a:cubicBezTo>
                  <a:pt x="248810" y="480617"/>
                  <a:pt x="253278" y="475342"/>
                  <a:pt x="258319" y="473233"/>
                </a:cubicBezTo>
                <a:cubicBezTo>
                  <a:pt x="268936" y="468788"/>
                  <a:pt x="280185" y="464871"/>
                  <a:pt x="291527" y="463336"/>
                </a:cubicBezTo>
                <a:cubicBezTo>
                  <a:pt x="318626" y="459667"/>
                  <a:pt x="345903" y="457192"/>
                  <a:pt x="373160" y="454842"/>
                </a:cubicBezTo>
                <a:cubicBezTo>
                  <a:pt x="391221" y="453285"/>
                  <a:pt x="409382" y="452934"/>
                  <a:pt x="427480" y="451758"/>
                </a:cubicBezTo>
                <a:cubicBezTo>
                  <a:pt x="444131" y="450676"/>
                  <a:pt x="460757" y="449212"/>
                  <a:pt x="477998" y="447870"/>
                </a:cubicBezTo>
                <a:cubicBezTo>
                  <a:pt x="478532" y="446298"/>
                  <a:pt x="479654" y="444590"/>
                  <a:pt x="479585" y="442932"/>
                </a:cubicBezTo>
                <a:cubicBezTo>
                  <a:pt x="479223" y="434201"/>
                  <a:pt x="480208" y="426475"/>
                  <a:pt x="488907" y="421401"/>
                </a:cubicBezTo>
                <a:cubicBezTo>
                  <a:pt x="493200" y="418897"/>
                  <a:pt x="494755" y="414446"/>
                  <a:pt x="492315" y="409196"/>
                </a:cubicBezTo>
                <a:cubicBezTo>
                  <a:pt x="489226" y="402552"/>
                  <a:pt x="492501" y="398939"/>
                  <a:pt x="498582" y="396231"/>
                </a:cubicBezTo>
                <a:cubicBezTo>
                  <a:pt x="513139" y="389749"/>
                  <a:pt x="523218" y="378073"/>
                  <a:pt x="531424" y="365066"/>
                </a:cubicBezTo>
                <a:cubicBezTo>
                  <a:pt x="543844" y="345378"/>
                  <a:pt x="555388" y="325136"/>
                  <a:pt x="567201" y="305069"/>
                </a:cubicBezTo>
                <a:cubicBezTo>
                  <a:pt x="571692" y="297440"/>
                  <a:pt x="576215" y="289801"/>
                  <a:pt x="580157" y="281885"/>
                </a:cubicBezTo>
                <a:cubicBezTo>
                  <a:pt x="585924" y="270307"/>
                  <a:pt x="585466" y="269028"/>
                  <a:pt x="575177" y="258759"/>
                </a:cubicBezTo>
                <a:cubicBezTo>
                  <a:pt x="540669" y="263385"/>
                  <a:pt x="508449" y="279582"/>
                  <a:pt x="472048" y="283266"/>
                </a:cubicBezTo>
                <a:cubicBezTo>
                  <a:pt x="468926" y="225961"/>
                  <a:pt x="477230" y="170326"/>
                  <a:pt x="473659" y="112243"/>
                </a:cubicBezTo>
                <a:cubicBezTo>
                  <a:pt x="479647" y="113333"/>
                  <a:pt x="483524" y="113631"/>
                  <a:pt x="487139" y="114763"/>
                </a:cubicBezTo>
                <a:cubicBezTo>
                  <a:pt x="514644" y="123375"/>
                  <a:pt x="541992" y="132503"/>
                  <a:pt x="569608" y="140735"/>
                </a:cubicBezTo>
                <a:cubicBezTo>
                  <a:pt x="584612" y="145208"/>
                  <a:pt x="590199" y="139652"/>
                  <a:pt x="585180" y="124742"/>
                </a:cubicBezTo>
                <a:cubicBezTo>
                  <a:pt x="578949" y="106227"/>
                  <a:pt x="571109" y="88251"/>
                  <a:pt x="563868" y="70080"/>
                </a:cubicBezTo>
                <a:cubicBezTo>
                  <a:pt x="558214" y="55891"/>
                  <a:pt x="552416" y="41758"/>
                  <a:pt x="546041" y="26021"/>
                </a:cubicBezTo>
                <a:cubicBezTo>
                  <a:pt x="554662" y="23284"/>
                  <a:pt x="561452" y="20680"/>
                  <a:pt x="568462" y="18986"/>
                </a:cubicBezTo>
                <a:cubicBezTo>
                  <a:pt x="591481" y="13422"/>
                  <a:pt x="614656" y="8495"/>
                  <a:pt x="637623" y="2731"/>
                </a:cubicBezTo>
                <a:cubicBezTo>
                  <a:pt x="656287" y="-1953"/>
                  <a:pt x="674559" y="-81"/>
                  <a:pt x="692817" y="4346"/>
                </a:cubicBezTo>
                <a:cubicBezTo>
                  <a:pt x="714944" y="9710"/>
                  <a:pt x="737021" y="15284"/>
                  <a:pt x="759126" y="20739"/>
                </a:cubicBezTo>
                <a:cubicBezTo>
                  <a:pt x="763594" y="21842"/>
                  <a:pt x="768092" y="22819"/>
                  <a:pt x="774460" y="24289"/>
                </a:cubicBezTo>
                <a:cubicBezTo>
                  <a:pt x="766727" y="43585"/>
                  <a:pt x="759317" y="62457"/>
                  <a:pt x="751608" y="81205"/>
                </a:cubicBezTo>
                <a:cubicBezTo>
                  <a:pt x="743947" y="99838"/>
                  <a:pt x="734803" y="117984"/>
                  <a:pt x="731002" y="141135"/>
                </a:cubicBezTo>
                <a:cubicBezTo>
                  <a:pt x="739490" y="139636"/>
                  <a:pt x="744805" y="139073"/>
                  <a:pt x="749917" y="137732"/>
                </a:cubicBezTo>
                <a:cubicBezTo>
                  <a:pt x="778702" y="130182"/>
                  <a:pt x="807436" y="122435"/>
                  <a:pt x="836197" y="114792"/>
                </a:cubicBezTo>
                <a:cubicBezTo>
                  <a:pt x="838352" y="114219"/>
                  <a:pt x="840584" y="113934"/>
                  <a:pt x="843209" y="113433"/>
                </a:cubicBezTo>
                <a:cubicBezTo>
                  <a:pt x="843710" y="115876"/>
                  <a:pt x="844352" y="117648"/>
                  <a:pt x="844400" y="119435"/>
                </a:cubicBezTo>
                <a:cubicBezTo>
                  <a:pt x="845405" y="157181"/>
                  <a:pt x="846208" y="194932"/>
                  <a:pt x="847390" y="232672"/>
                </a:cubicBezTo>
                <a:cubicBezTo>
                  <a:pt x="847695" y="242389"/>
                  <a:pt x="849334" y="252058"/>
                  <a:pt x="850015" y="261773"/>
                </a:cubicBezTo>
                <a:cubicBezTo>
                  <a:pt x="850401" y="267273"/>
                  <a:pt x="850085" y="272822"/>
                  <a:pt x="850085" y="280220"/>
                </a:cubicBezTo>
                <a:cubicBezTo>
                  <a:pt x="837463" y="277293"/>
                  <a:pt x="826347" y="274822"/>
                  <a:pt x="815285" y="272127"/>
                </a:cubicBezTo>
                <a:cubicBezTo>
                  <a:pt x="795873" y="267398"/>
                  <a:pt x="776299" y="263181"/>
                  <a:pt x="757181" y="257455"/>
                </a:cubicBezTo>
                <a:cubicBezTo>
                  <a:pt x="747363" y="254515"/>
                  <a:pt x="739983" y="255620"/>
                  <a:pt x="732939" y="263859"/>
                </a:cubicBezTo>
                <a:cubicBezTo>
                  <a:pt x="735150" y="269003"/>
                  <a:pt x="737509" y="274491"/>
                  <a:pt x="739871" y="279988"/>
                </a:cubicBezTo>
                <a:cubicBezTo>
                  <a:pt x="735196" y="284033"/>
                  <a:pt x="730592" y="288016"/>
                  <a:pt x="725900" y="292074"/>
                </a:cubicBezTo>
                <a:cubicBezTo>
                  <a:pt x="731987" y="302329"/>
                  <a:pt x="739718" y="300546"/>
                  <a:pt x="747132" y="298017"/>
                </a:cubicBezTo>
                <a:cubicBezTo>
                  <a:pt x="758463" y="305429"/>
                  <a:pt x="762190" y="317570"/>
                  <a:pt x="768268" y="327815"/>
                </a:cubicBezTo>
                <a:cubicBezTo>
                  <a:pt x="774924" y="339037"/>
                  <a:pt x="780217" y="351080"/>
                  <a:pt x="785901" y="362862"/>
                </a:cubicBezTo>
                <a:cubicBezTo>
                  <a:pt x="788639" y="368539"/>
                  <a:pt x="792017" y="372441"/>
                  <a:pt x="798627" y="374591"/>
                </a:cubicBezTo>
                <a:cubicBezTo>
                  <a:pt x="809488" y="378123"/>
                  <a:pt x="810054" y="379498"/>
                  <a:pt x="815580" y="387899"/>
                </a:cubicBezTo>
                <a:cubicBezTo>
                  <a:pt x="814864" y="388896"/>
                  <a:pt x="814194" y="390825"/>
                  <a:pt x="813282" y="390947"/>
                </a:cubicBezTo>
                <a:cubicBezTo>
                  <a:pt x="801085" y="392587"/>
                  <a:pt x="788983" y="395969"/>
                  <a:pt x="776501" y="393213"/>
                </a:cubicBezTo>
                <a:cubicBezTo>
                  <a:pt x="752021" y="387807"/>
                  <a:pt x="727631" y="382034"/>
                  <a:pt x="702336" y="381496"/>
                </a:cubicBezTo>
                <a:cubicBezTo>
                  <a:pt x="688886" y="381209"/>
                  <a:pt x="675464" y="379722"/>
                  <a:pt x="662021" y="378921"/>
                </a:cubicBezTo>
                <a:cubicBezTo>
                  <a:pt x="656307" y="378581"/>
                  <a:pt x="651557" y="380270"/>
                  <a:pt x="651111" y="386942"/>
                </a:cubicBezTo>
                <a:cubicBezTo>
                  <a:pt x="649994" y="403641"/>
                  <a:pt x="648739" y="420346"/>
                  <a:pt x="648295" y="437069"/>
                </a:cubicBezTo>
                <a:cubicBezTo>
                  <a:pt x="648034" y="446937"/>
                  <a:pt x="650047" y="448870"/>
                  <a:pt x="659561" y="448907"/>
                </a:cubicBezTo>
                <a:cubicBezTo>
                  <a:pt x="706308" y="449089"/>
                  <a:pt x="753056" y="448964"/>
                  <a:pt x="799805" y="449022"/>
                </a:cubicBezTo>
                <a:cubicBezTo>
                  <a:pt x="806377" y="449030"/>
                  <a:pt x="809905" y="446744"/>
                  <a:pt x="811083" y="439581"/>
                </a:cubicBezTo>
                <a:cubicBezTo>
                  <a:pt x="811941" y="434369"/>
                  <a:pt x="814063" y="427618"/>
                  <a:pt x="817945" y="425008"/>
                </a:cubicBezTo>
                <a:cubicBezTo>
                  <a:pt x="826399" y="419324"/>
                  <a:pt x="828426" y="411596"/>
                  <a:pt x="828609" y="403122"/>
                </a:cubicBezTo>
                <a:cubicBezTo>
                  <a:pt x="833858" y="400461"/>
                  <a:pt x="837181" y="402725"/>
                  <a:pt x="838374" y="406435"/>
                </a:cubicBezTo>
                <a:cubicBezTo>
                  <a:pt x="840905" y="414312"/>
                  <a:pt x="843515" y="422394"/>
                  <a:pt x="844275" y="430561"/>
                </a:cubicBezTo>
                <a:cubicBezTo>
                  <a:pt x="845704" y="445903"/>
                  <a:pt x="850511" y="450005"/>
                  <a:pt x="865761" y="447068"/>
                </a:cubicBezTo>
                <a:cubicBezTo>
                  <a:pt x="872626" y="445746"/>
                  <a:pt x="878915" y="445539"/>
                  <a:pt x="885673" y="449965"/>
                </a:cubicBezTo>
                <a:cubicBezTo>
                  <a:pt x="890708" y="453263"/>
                  <a:pt x="898041" y="453271"/>
                  <a:pt x="904428" y="454230"/>
                </a:cubicBezTo>
                <a:cubicBezTo>
                  <a:pt x="913142" y="455538"/>
                  <a:pt x="921904" y="456741"/>
                  <a:pt x="930689" y="457318"/>
                </a:cubicBezTo>
                <a:cubicBezTo>
                  <a:pt x="967829" y="459759"/>
                  <a:pt x="1003019" y="469066"/>
                  <a:pt x="1036296" y="485877"/>
                </a:cubicBezTo>
                <a:cubicBezTo>
                  <a:pt x="1057129" y="496401"/>
                  <a:pt x="1071673" y="512633"/>
                  <a:pt x="1076027" y="535212"/>
                </a:cubicBezTo>
                <a:cubicBezTo>
                  <a:pt x="1078694" y="549043"/>
                  <a:pt x="1078298" y="564366"/>
                  <a:pt x="1075403" y="578208"/>
                </a:cubicBezTo>
                <a:cubicBezTo>
                  <a:pt x="1064597" y="629873"/>
                  <a:pt x="1044688" y="678854"/>
                  <a:pt x="1028317" y="728867"/>
                </a:cubicBezTo>
                <a:cubicBezTo>
                  <a:pt x="1014112" y="772262"/>
                  <a:pt x="998310" y="815132"/>
                  <a:pt x="983498" y="858331"/>
                </a:cubicBezTo>
                <a:cubicBezTo>
                  <a:pt x="971714" y="892697"/>
                  <a:pt x="959865" y="927055"/>
                  <a:pt x="948940" y="961698"/>
                </a:cubicBezTo>
                <a:cubicBezTo>
                  <a:pt x="935780" y="1003426"/>
                  <a:pt x="923502" y="1045433"/>
                  <a:pt x="911066" y="1087385"/>
                </a:cubicBezTo>
                <a:cubicBezTo>
                  <a:pt x="910087" y="1090688"/>
                  <a:pt x="910738" y="1094511"/>
                  <a:pt x="910828" y="1098086"/>
                </a:cubicBezTo>
                <a:cubicBezTo>
                  <a:pt x="911096" y="1108800"/>
                  <a:pt x="911984" y="1119535"/>
                  <a:pt x="911498" y="1130209"/>
                </a:cubicBezTo>
                <a:cubicBezTo>
                  <a:pt x="911333" y="1133841"/>
                  <a:pt x="908325" y="1137771"/>
                  <a:pt x="905716" y="1140786"/>
                </a:cubicBezTo>
                <a:cubicBezTo>
                  <a:pt x="896689" y="1151217"/>
                  <a:pt x="895625" y="1160669"/>
                  <a:pt x="904041" y="1171694"/>
                </a:cubicBezTo>
                <a:cubicBezTo>
                  <a:pt x="912211" y="1182398"/>
                  <a:pt x="921368" y="1192341"/>
                  <a:pt x="929797" y="1202854"/>
                </a:cubicBezTo>
                <a:cubicBezTo>
                  <a:pt x="945705" y="1222696"/>
                  <a:pt x="952969" y="1246039"/>
                  <a:pt x="956714" y="1270749"/>
                </a:cubicBezTo>
                <a:cubicBezTo>
                  <a:pt x="957687" y="1277170"/>
                  <a:pt x="957779" y="1283963"/>
                  <a:pt x="960074" y="1289888"/>
                </a:cubicBezTo>
                <a:cubicBezTo>
                  <a:pt x="963075" y="1297631"/>
                  <a:pt x="967750" y="1304358"/>
                  <a:pt x="975795" y="1308746"/>
                </a:cubicBezTo>
                <a:cubicBezTo>
                  <a:pt x="985143" y="1313846"/>
                  <a:pt x="994116" y="1319926"/>
                  <a:pt x="1002397" y="1326635"/>
                </a:cubicBezTo>
                <a:cubicBezTo>
                  <a:pt x="1030424" y="1349343"/>
                  <a:pt x="1038408" y="1401530"/>
                  <a:pt x="1018686" y="1435905"/>
                </a:cubicBezTo>
                <a:cubicBezTo>
                  <a:pt x="1013500" y="1444943"/>
                  <a:pt x="1005098" y="1450152"/>
                  <a:pt x="996257" y="1454107"/>
                </a:cubicBezTo>
                <a:cubicBezTo>
                  <a:pt x="988281" y="1457674"/>
                  <a:pt x="979503" y="1460398"/>
                  <a:pt x="970849" y="1461303"/>
                </a:cubicBezTo>
                <a:cubicBezTo>
                  <a:pt x="953296" y="1463139"/>
                  <a:pt x="935587" y="1463487"/>
                  <a:pt x="917943" y="1464461"/>
                </a:cubicBezTo>
                <a:cubicBezTo>
                  <a:pt x="913762" y="1464691"/>
                  <a:pt x="909478" y="1464482"/>
                  <a:pt x="905433" y="1465358"/>
                </a:cubicBezTo>
                <a:cubicBezTo>
                  <a:pt x="901150" y="1466287"/>
                  <a:pt x="897709" y="1468792"/>
                  <a:pt x="897863" y="1474014"/>
                </a:cubicBezTo>
                <a:cubicBezTo>
                  <a:pt x="897877" y="1474480"/>
                  <a:pt x="897822" y="1474948"/>
                  <a:pt x="897812" y="1475415"/>
                </a:cubicBezTo>
                <a:cubicBezTo>
                  <a:pt x="897511" y="1490282"/>
                  <a:pt x="898056" y="1504999"/>
                  <a:pt x="895549" y="1519988"/>
                </a:cubicBezTo>
                <a:cubicBezTo>
                  <a:pt x="893039" y="1534995"/>
                  <a:pt x="894597" y="1550763"/>
                  <a:pt x="895093" y="1566174"/>
                </a:cubicBezTo>
                <a:cubicBezTo>
                  <a:pt x="895841" y="1589420"/>
                  <a:pt x="897215" y="1612646"/>
                  <a:pt x="898754" y="1637125"/>
                </a:cubicBezTo>
                <a:moveTo>
                  <a:pt x="654604" y="2329281"/>
                </a:moveTo>
                <a:cubicBezTo>
                  <a:pt x="652015" y="2310116"/>
                  <a:pt x="655822" y="2290495"/>
                  <a:pt x="650429" y="2271391"/>
                </a:cubicBezTo>
                <a:cubicBezTo>
                  <a:pt x="648307" y="2277580"/>
                  <a:pt x="648156" y="2283761"/>
                  <a:pt x="648148" y="2289942"/>
                </a:cubicBezTo>
                <a:cubicBezTo>
                  <a:pt x="648117" y="2315944"/>
                  <a:pt x="648093" y="2341946"/>
                  <a:pt x="648156" y="2367948"/>
                </a:cubicBezTo>
                <a:cubicBezTo>
                  <a:pt x="648168" y="2372820"/>
                  <a:pt x="646633" y="2378876"/>
                  <a:pt x="655577" y="2381454"/>
                </a:cubicBezTo>
                <a:cubicBezTo>
                  <a:pt x="655560" y="2389285"/>
                  <a:pt x="655756" y="2397123"/>
                  <a:pt x="655485" y="2404945"/>
                </a:cubicBezTo>
                <a:cubicBezTo>
                  <a:pt x="654880" y="2422378"/>
                  <a:pt x="654042" y="2439804"/>
                  <a:pt x="651805" y="2455510"/>
                </a:cubicBezTo>
                <a:cubicBezTo>
                  <a:pt x="651527" y="2435450"/>
                  <a:pt x="651319" y="2415390"/>
                  <a:pt x="650902" y="2395333"/>
                </a:cubicBezTo>
                <a:cubicBezTo>
                  <a:pt x="650837" y="2392220"/>
                  <a:pt x="649823" y="2389127"/>
                  <a:pt x="649248" y="2386025"/>
                </a:cubicBezTo>
                <a:cubicBezTo>
                  <a:pt x="647943" y="2386187"/>
                  <a:pt x="646638" y="2386350"/>
                  <a:pt x="645333" y="2386512"/>
                </a:cubicBezTo>
                <a:cubicBezTo>
                  <a:pt x="645333" y="2390961"/>
                  <a:pt x="645334" y="2395409"/>
                  <a:pt x="645333" y="2399858"/>
                </a:cubicBezTo>
                <a:cubicBezTo>
                  <a:pt x="645326" y="2423694"/>
                  <a:pt x="645418" y="2447532"/>
                  <a:pt x="645232" y="2471367"/>
                </a:cubicBezTo>
                <a:cubicBezTo>
                  <a:pt x="645193" y="2476432"/>
                  <a:pt x="644504" y="2481563"/>
                  <a:pt x="643489" y="2486535"/>
                </a:cubicBezTo>
                <a:cubicBezTo>
                  <a:pt x="639304" y="2507036"/>
                  <a:pt x="642157" y="2510950"/>
                  <a:pt x="662548" y="2510760"/>
                </a:cubicBezTo>
                <a:cubicBezTo>
                  <a:pt x="755908" y="2509888"/>
                  <a:pt x="849266" y="2508878"/>
                  <a:pt x="942625" y="2507990"/>
                </a:cubicBezTo>
                <a:cubicBezTo>
                  <a:pt x="960852" y="2507816"/>
                  <a:pt x="979082" y="2508002"/>
                  <a:pt x="997309" y="2507928"/>
                </a:cubicBezTo>
                <a:cubicBezTo>
                  <a:pt x="1001871" y="2507910"/>
                  <a:pt x="1006430" y="2507531"/>
                  <a:pt x="1012693" y="2507237"/>
                </a:cubicBezTo>
                <a:cubicBezTo>
                  <a:pt x="1012056" y="2501789"/>
                  <a:pt x="1012084" y="2497264"/>
                  <a:pt x="1010948" y="2493054"/>
                </a:cubicBezTo>
                <a:cubicBezTo>
                  <a:pt x="1001379" y="2457588"/>
                  <a:pt x="991103" y="2422306"/>
                  <a:pt x="982017" y="2386719"/>
                </a:cubicBezTo>
                <a:cubicBezTo>
                  <a:pt x="972598" y="2349832"/>
                  <a:pt x="963965" y="2312735"/>
                  <a:pt x="955543" y="2275604"/>
                </a:cubicBezTo>
                <a:cubicBezTo>
                  <a:pt x="944249" y="2225808"/>
                  <a:pt x="933022" y="2175988"/>
                  <a:pt x="922638" y="2125997"/>
                </a:cubicBezTo>
                <a:cubicBezTo>
                  <a:pt x="913587" y="2082421"/>
                  <a:pt x="905382" y="2038659"/>
                  <a:pt x="897474" y="1994858"/>
                </a:cubicBezTo>
                <a:cubicBezTo>
                  <a:pt x="890476" y="1956093"/>
                  <a:pt x="883980" y="1917224"/>
                  <a:pt x="878061" y="1878280"/>
                </a:cubicBezTo>
                <a:cubicBezTo>
                  <a:pt x="873675" y="1849428"/>
                  <a:pt x="870415" y="1820399"/>
                  <a:pt x="866965" y="1791411"/>
                </a:cubicBezTo>
                <a:cubicBezTo>
                  <a:pt x="865539" y="1779434"/>
                  <a:pt x="865114" y="1767342"/>
                  <a:pt x="863902" y="1755335"/>
                </a:cubicBezTo>
                <a:cubicBezTo>
                  <a:pt x="861296" y="1729506"/>
                  <a:pt x="857509" y="1703754"/>
                  <a:pt x="855983" y="1677866"/>
                </a:cubicBezTo>
                <a:cubicBezTo>
                  <a:pt x="854037" y="1644859"/>
                  <a:pt x="853904" y="1611748"/>
                  <a:pt x="852873" y="1578685"/>
                </a:cubicBezTo>
                <a:cubicBezTo>
                  <a:pt x="852423" y="1564271"/>
                  <a:pt x="849465" y="1549523"/>
                  <a:pt x="851635" y="1535546"/>
                </a:cubicBezTo>
                <a:cubicBezTo>
                  <a:pt x="854359" y="1517991"/>
                  <a:pt x="850206" y="1501278"/>
                  <a:pt x="850039" y="1484182"/>
                </a:cubicBezTo>
                <a:cubicBezTo>
                  <a:pt x="850005" y="1480667"/>
                  <a:pt x="849101" y="1477161"/>
                  <a:pt x="848486" y="1472876"/>
                </a:cubicBezTo>
                <a:cubicBezTo>
                  <a:pt x="842279" y="1472876"/>
                  <a:pt x="837173" y="1472798"/>
                  <a:pt x="832070" y="1472888"/>
                </a:cubicBezTo>
                <a:cubicBezTo>
                  <a:pt x="780308" y="1473806"/>
                  <a:pt x="728546" y="1474749"/>
                  <a:pt x="676784" y="1475691"/>
                </a:cubicBezTo>
                <a:cubicBezTo>
                  <a:pt x="663422" y="1475935"/>
                  <a:pt x="662442" y="1476899"/>
                  <a:pt x="662172" y="1490031"/>
                </a:cubicBezTo>
                <a:cubicBezTo>
                  <a:pt x="662124" y="1492367"/>
                  <a:pt x="662222" y="1494706"/>
                  <a:pt x="662153" y="1497041"/>
                </a:cubicBezTo>
                <a:cubicBezTo>
                  <a:pt x="660720" y="1545521"/>
                  <a:pt x="663794" y="1593996"/>
                  <a:pt x="659832" y="1642548"/>
                </a:cubicBezTo>
                <a:cubicBezTo>
                  <a:pt x="656616" y="1681972"/>
                  <a:pt x="657530" y="1721730"/>
                  <a:pt x="656544" y="1761338"/>
                </a:cubicBezTo>
                <a:cubicBezTo>
                  <a:pt x="655035" y="1821971"/>
                  <a:pt x="657667" y="1882583"/>
                  <a:pt x="654344" y="1943296"/>
                </a:cubicBezTo>
                <a:cubicBezTo>
                  <a:pt x="650802" y="2008002"/>
                  <a:pt x="651715" y="2072959"/>
                  <a:pt x="651002" y="2137811"/>
                </a:cubicBezTo>
                <a:cubicBezTo>
                  <a:pt x="650627" y="2171926"/>
                  <a:pt x="650929" y="2206049"/>
                  <a:pt x="650933" y="2240168"/>
                </a:cubicBezTo>
                <a:cubicBezTo>
                  <a:pt x="650933" y="2243439"/>
                  <a:pt x="650161" y="2247032"/>
                  <a:pt x="651273" y="2249880"/>
                </a:cubicBezTo>
                <a:cubicBezTo>
                  <a:pt x="652187" y="2252220"/>
                  <a:pt x="655368" y="2253675"/>
                  <a:pt x="658332" y="2258024"/>
                </a:cubicBezTo>
                <a:cubicBezTo>
                  <a:pt x="657587" y="2282352"/>
                  <a:pt x="656842" y="2306679"/>
                  <a:pt x="654604" y="2329281"/>
                </a:cubicBezTo>
                <a:moveTo>
                  <a:pt x="999154" y="2930680"/>
                </a:moveTo>
                <a:cubicBezTo>
                  <a:pt x="1074430" y="2924379"/>
                  <a:pt x="1149252" y="2914341"/>
                  <a:pt x="1224400" y="2904672"/>
                </a:cubicBezTo>
                <a:cubicBezTo>
                  <a:pt x="1224983" y="2900287"/>
                  <a:pt x="1225723" y="2897124"/>
                  <a:pt x="1225778" y="2893948"/>
                </a:cubicBezTo>
                <a:cubicBezTo>
                  <a:pt x="1226437" y="2856188"/>
                  <a:pt x="1218943" y="2820187"/>
                  <a:pt x="1197990" y="2788499"/>
                </a:cubicBezTo>
                <a:cubicBezTo>
                  <a:pt x="1185967" y="2770315"/>
                  <a:pt x="1171427" y="2753616"/>
                  <a:pt x="1156721" y="2737429"/>
                </a:cubicBezTo>
                <a:cubicBezTo>
                  <a:pt x="1137254" y="2716002"/>
                  <a:pt x="1115793" y="2696376"/>
                  <a:pt x="1096512" y="2674794"/>
                </a:cubicBezTo>
                <a:cubicBezTo>
                  <a:pt x="1073694" y="2649251"/>
                  <a:pt x="1056484" y="2620624"/>
                  <a:pt x="1056842" y="2584575"/>
                </a:cubicBezTo>
                <a:cubicBezTo>
                  <a:pt x="1056854" y="2583302"/>
                  <a:pt x="1056015" y="2582020"/>
                  <a:pt x="1055233" y="2579758"/>
                </a:cubicBezTo>
                <a:cubicBezTo>
                  <a:pt x="1042855" y="2580471"/>
                  <a:pt x="1030372" y="2580868"/>
                  <a:pt x="1017950" y="2581956"/>
                </a:cubicBezTo>
                <a:cubicBezTo>
                  <a:pt x="940684" y="2588728"/>
                  <a:pt x="863326" y="2593894"/>
                  <a:pt x="785764" y="2595473"/>
                </a:cubicBezTo>
                <a:cubicBezTo>
                  <a:pt x="745592" y="2596290"/>
                  <a:pt x="705413" y="2596778"/>
                  <a:pt x="665238" y="2597498"/>
                </a:cubicBezTo>
                <a:cubicBezTo>
                  <a:pt x="661698" y="2597562"/>
                  <a:pt x="658168" y="2598244"/>
                  <a:pt x="654332" y="2598673"/>
                </a:cubicBezTo>
                <a:cubicBezTo>
                  <a:pt x="664449" y="2711162"/>
                  <a:pt x="659668" y="2822547"/>
                  <a:pt x="653026" y="2935427"/>
                </a:cubicBezTo>
                <a:cubicBezTo>
                  <a:pt x="768837" y="2937973"/>
                  <a:pt x="882730" y="2939028"/>
                  <a:pt x="999154" y="2930680"/>
                </a:cubicBezTo>
                <a:moveTo>
                  <a:pt x="947894" y="3022480"/>
                </a:moveTo>
                <a:cubicBezTo>
                  <a:pt x="916629" y="3024040"/>
                  <a:pt x="885376" y="3026565"/>
                  <a:pt x="854096" y="3026952"/>
                </a:cubicBezTo>
                <a:cubicBezTo>
                  <a:pt x="794764" y="3027687"/>
                  <a:pt x="735417" y="3027198"/>
                  <a:pt x="676076" y="3027217"/>
                </a:cubicBezTo>
                <a:cubicBezTo>
                  <a:pt x="670121" y="3027219"/>
                  <a:pt x="664166" y="3027217"/>
                  <a:pt x="657155" y="3027217"/>
                </a:cubicBezTo>
                <a:cubicBezTo>
                  <a:pt x="655529" y="3062293"/>
                  <a:pt x="651846" y="3095886"/>
                  <a:pt x="650929" y="3130009"/>
                </a:cubicBezTo>
                <a:cubicBezTo>
                  <a:pt x="656057" y="3130467"/>
                  <a:pt x="659260" y="3130899"/>
                  <a:pt x="662475" y="3131016"/>
                </a:cubicBezTo>
                <a:cubicBezTo>
                  <a:pt x="700300" y="3132391"/>
                  <a:pt x="738118" y="3134111"/>
                  <a:pt x="775955" y="3134982"/>
                </a:cubicBezTo>
                <a:cubicBezTo>
                  <a:pt x="871340" y="3137178"/>
                  <a:pt x="966589" y="3135038"/>
                  <a:pt x="1061598" y="3125377"/>
                </a:cubicBezTo>
                <a:cubicBezTo>
                  <a:pt x="1124889" y="3118941"/>
                  <a:pt x="1187609" y="3109276"/>
                  <a:pt x="1249397" y="3093967"/>
                </a:cubicBezTo>
                <a:cubicBezTo>
                  <a:pt x="1253752" y="3092888"/>
                  <a:pt x="1257981" y="3091298"/>
                  <a:pt x="1262842" y="3089764"/>
                </a:cubicBezTo>
                <a:cubicBezTo>
                  <a:pt x="1259040" y="3062969"/>
                  <a:pt x="1254881" y="3037707"/>
                  <a:pt x="1244253" y="3014005"/>
                </a:cubicBezTo>
                <a:cubicBezTo>
                  <a:pt x="1242547" y="3010201"/>
                  <a:pt x="1239948" y="3006798"/>
                  <a:pt x="1237768" y="3003206"/>
                </a:cubicBezTo>
                <a:cubicBezTo>
                  <a:pt x="1233239" y="2995743"/>
                  <a:pt x="1227131" y="2992138"/>
                  <a:pt x="1217957" y="2993424"/>
                </a:cubicBezTo>
                <a:cubicBezTo>
                  <a:pt x="1199921" y="2995951"/>
                  <a:pt x="1181756" y="2997558"/>
                  <a:pt x="1163725" y="3000119"/>
                </a:cubicBezTo>
                <a:cubicBezTo>
                  <a:pt x="1092925" y="3010176"/>
                  <a:pt x="1021883" y="3017834"/>
                  <a:pt x="947894" y="3022480"/>
                </a:cubicBezTo>
                <a:moveTo>
                  <a:pt x="784197" y="1352777"/>
                </a:moveTo>
                <a:cubicBezTo>
                  <a:pt x="766462" y="1353462"/>
                  <a:pt x="748731" y="1354287"/>
                  <a:pt x="730991" y="1354793"/>
                </a:cubicBezTo>
                <a:cubicBezTo>
                  <a:pt x="712981" y="1355307"/>
                  <a:pt x="694940" y="1355183"/>
                  <a:pt x="676320" y="1356902"/>
                </a:cubicBezTo>
                <a:cubicBezTo>
                  <a:pt x="674799" y="1378289"/>
                  <a:pt x="673393" y="1398039"/>
                  <a:pt x="671906" y="1418933"/>
                </a:cubicBezTo>
                <a:cubicBezTo>
                  <a:pt x="677552" y="1418933"/>
                  <a:pt x="681678" y="1419046"/>
                  <a:pt x="685797" y="1418917"/>
                </a:cubicBezTo>
                <a:cubicBezTo>
                  <a:pt x="774966" y="1416107"/>
                  <a:pt x="864134" y="1413293"/>
                  <a:pt x="953300" y="1410383"/>
                </a:cubicBezTo>
                <a:cubicBezTo>
                  <a:pt x="958412" y="1410216"/>
                  <a:pt x="963542" y="1409471"/>
                  <a:pt x="968586" y="1408564"/>
                </a:cubicBezTo>
                <a:cubicBezTo>
                  <a:pt x="978218" y="1406833"/>
                  <a:pt x="980261" y="1404383"/>
                  <a:pt x="980375" y="1394590"/>
                </a:cubicBezTo>
                <a:cubicBezTo>
                  <a:pt x="980521" y="1382101"/>
                  <a:pt x="976026" y="1371666"/>
                  <a:pt x="965591" y="1364447"/>
                </a:cubicBezTo>
                <a:cubicBezTo>
                  <a:pt x="948967" y="1352947"/>
                  <a:pt x="930599" y="1347277"/>
                  <a:pt x="910211" y="1348103"/>
                </a:cubicBezTo>
                <a:cubicBezTo>
                  <a:pt x="869142" y="1349769"/>
                  <a:pt x="828062" y="1351175"/>
                  <a:pt x="784197" y="1352777"/>
                </a:cubicBezTo>
                <a:moveTo>
                  <a:pt x="648129" y="615881"/>
                </a:moveTo>
                <a:cubicBezTo>
                  <a:pt x="649058" y="632117"/>
                  <a:pt x="650192" y="648345"/>
                  <a:pt x="650869" y="664591"/>
                </a:cubicBezTo>
                <a:cubicBezTo>
                  <a:pt x="652013" y="692034"/>
                  <a:pt x="650274" y="719448"/>
                  <a:pt x="653223" y="746994"/>
                </a:cubicBezTo>
                <a:cubicBezTo>
                  <a:pt x="656187" y="774679"/>
                  <a:pt x="652958" y="802766"/>
                  <a:pt x="656163" y="830737"/>
                </a:cubicBezTo>
                <a:cubicBezTo>
                  <a:pt x="658910" y="854709"/>
                  <a:pt x="656763" y="879007"/>
                  <a:pt x="658740" y="903281"/>
                </a:cubicBezTo>
                <a:cubicBezTo>
                  <a:pt x="661875" y="941767"/>
                  <a:pt x="661060" y="980568"/>
                  <a:pt x="662209" y="1019226"/>
                </a:cubicBezTo>
                <a:cubicBezTo>
                  <a:pt x="662831" y="1040143"/>
                  <a:pt x="663923" y="1061048"/>
                  <a:pt x="665088" y="1081942"/>
                </a:cubicBezTo>
                <a:cubicBezTo>
                  <a:pt x="665498" y="1089302"/>
                  <a:pt x="668166" y="1091025"/>
                  <a:pt x="674628" y="1090643"/>
                </a:cubicBezTo>
                <a:cubicBezTo>
                  <a:pt x="703841" y="1088916"/>
                  <a:pt x="733054" y="1087111"/>
                  <a:pt x="762289" y="1085865"/>
                </a:cubicBezTo>
                <a:cubicBezTo>
                  <a:pt x="792528" y="1084574"/>
                  <a:pt x="822793" y="1083894"/>
                  <a:pt x="853046" y="1082948"/>
                </a:cubicBezTo>
                <a:cubicBezTo>
                  <a:pt x="853513" y="1082934"/>
                  <a:pt x="853981" y="1082919"/>
                  <a:pt x="854448" y="1082924"/>
                </a:cubicBezTo>
                <a:cubicBezTo>
                  <a:pt x="860299" y="1082998"/>
                  <a:pt x="864379" y="1080055"/>
                  <a:pt x="866364" y="1074839"/>
                </a:cubicBezTo>
                <a:cubicBezTo>
                  <a:pt x="874977" y="1052218"/>
                  <a:pt x="883766" y="1029650"/>
                  <a:pt x="891726" y="1006797"/>
                </a:cubicBezTo>
                <a:cubicBezTo>
                  <a:pt x="899510" y="984448"/>
                  <a:pt x="905967" y="961638"/>
                  <a:pt x="913720" y="939278"/>
                </a:cubicBezTo>
                <a:cubicBezTo>
                  <a:pt x="926840" y="901438"/>
                  <a:pt x="940566" y="863808"/>
                  <a:pt x="953952" y="826060"/>
                </a:cubicBezTo>
                <a:cubicBezTo>
                  <a:pt x="965626" y="793139"/>
                  <a:pt x="977165" y="760170"/>
                  <a:pt x="988796" y="727233"/>
                </a:cubicBezTo>
                <a:cubicBezTo>
                  <a:pt x="1004602" y="682474"/>
                  <a:pt x="1020729" y="637825"/>
                  <a:pt x="1036110" y="592920"/>
                </a:cubicBezTo>
                <a:cubicBezTo>
                  <a:pt x="1041693" y="576621"/>
                  <a:pt x="1044731" y="559627"/>
                  <a:pt x="1043677" y="542152"/>
                </a:cubicBezTo>
                <a:cubicBezTo>
                  <a:pt x="1043059" y="531887"/>
                  <a:pt x="1040345" y="522522"/>
                  <a:pt x="1030884" y="517222"/>
                </a:cubicBezTo>
                <a:cubicBezTo>
                  <a:pt x="1024045" y="513391"/>
                  <a:pt x="1016699" y="510004"/>
                  <a:pt x="1009162" y="507963"/>
                </a:cubicBezTo>
                <a:cubicBezTo>
                  <a:pt x="983620" y="501048"/>
                  <a:pt x="957981" y="494740"/>
                  <a:pt x="931266" y="493552"/>
                </a:cubicBezTo>
                <a:cubicBezTo>
                  <a:pt x="914169" y="492791"/>
                  <a:pt x="897177" y="489870"/>
                  <a:pt x="880100" y="488348"/>
                </a:cubicBezTo>
                <a:cubicBezTo>
                  <a:pt x="865298" y="487029"/>
                  <a:pt x="850441" y="486332"/>
                  <a:pt x="835610" y="485330"/>
                </a:cubicBezTo>
                <a:cubicBezTo>
                  <a:pt x="808745" y="483516"/>
                  <a:pt x="781896" y="480471"/>
                  <a:pt x="755014" y="480162"/>
                </a:cubicBezTo>
                <a:cubicBezTo>
                  <a:pt x="722439" y="479789"/>
                  <a:pt x="689836" y="481665"/>
                  <a:pt x="657249" y="482686"/>
                </a:cubicBezTo>
                <a:cubicBezTo>
                  <a:pt x="646583" y="483021"/>
                  <a:pt x="641424" y="489596"/>
                  <a:pt x="643184" y="500211"/>
                </a:cubicBezTo>
                <a:cubicBezTo>
                  <a:pt x="643789" y="503860"/>
                  <a:pt x="645104" y="507461"/>
                  <a:pt x="645220" y="511112"/>
                </a:cubicBezTo>
                <a:cubicBezTo>
                  <a:pt x="646298" y="545100"/>
                  <a:pt x="647185" y="579094"/>
                  <a:pt x="648129" y="615881"/>
                </a:cubicBezTo>
                <a:moveTo>
                  <a:pt x="886495" y="1207714"/>
                </a:moveTo>
                <a:cubicBezTo>
                  <a:pt x="884805" y="1206106"/>
                  <a:pt x="883380" y="1203949"/>
                  <a:pt x="881380" y="1202980"/>
                </a:cubicBezTo>
                <a:cubicBezTo>
                  <a:pt x="869508" y="1197225"/>
                  <a:pt x="866866" y="1186901"/>
                  <a:pt x="866913" y="1175042"/>
                </a:cubicBezTo>
                <a:cubicBezTo>
                  <a:pt x="866937" y="1168979"/>
                  <a:pt x="867225" y="1162853"/>
                  <a:pt x="866482" y="1156869"/>
                </a:cubicBezTo>
                <a:cubicBezTo>
                  <a:pt x="865810" y="1151447"/>
                  <a:pt x="863028" y="1147406"/>
                  <a:pt x="856429" y="1147458"/>
                </a:cubicBezTo>
                <a:cubicBezTo>
                  <a:pt x="834490" y="1147630"/>
                  <a:pt x="812519" y="1146897"/>
                  <a:pt x="790615" y="1147813"/>
                </a:cubicBezTo>
                <a:cubicBezTo>
                  <a:pt x="766540" y="1148819"/>
                  <a:pt x="742532" y="1151353"/>
                  <a:pt x="718484" y="1153058"/>
                </a:cubicBezTo>
                <a:cubicBezTo>
                  <a:pt x="702742" y="1154174"/>
                  <a:pt x="686965" y="1154817"/>
                  <a:pt x="671232" y="1156034"/>
                </a:cubicBezTo>
                <a:cubicBezTo>
                  <a:pt x="662945" y="1156675"/>
                  <a:pt x="661657" y="1159923"/>
                  <a:pt x="664146" y="1168443"/>
                </a:cubicBezTo>
                <a:cubicBezTo>
                  <a:pt x="665938" y="1174575"/>
                  <a:pt x="667544" y="1181027"/>
                  <a:pt x="667611" y="1187354"/>
                </a:cubicBezTo>
                <a:cubicBezTo>
                  <a:pt x="667956" y="1219564"/>
                  <a:pt x="667704" y="1251779"/>
                  <a:pt x="667803" y="1283992"/>
                </a:cubicBezTo>
                <a:cubicBezTo>
                  <a:pt x="667847" y="1297938"/>
                  <a:pt x="668871" y="1299219"/>
                  <a:pt x="683140" y="1298850"/>
                </a:cubicBezTo>
                <a:cubicBezTo>
                  <a:pt x="700774" y="1298393"/>
                  <a:pt x="718378" y="1296854"/>
                  <a:pt x="736011" y="1296220"/>
                </a:cubicBezTo>
                <a:cubicBezTo>
                  <a:pt x="767632" y="1295083"/>
                  <a:pt x="799265" y="1294272"/>
                  <a:pt x="830893" y="1293324"/>
                </a:cubicBezTo>
                <a:cubicBezTo>
                  <a:pt x="831826" y="1293296"/>
                  <a:pt x="832761" y="1293286"/>
                  <a:pt x="833691" y="1293213"/>
                </a:cubicBezTo>
                <a:cubicBezTo>
                  <a:pt x="856797" y="1291390"/>
                  <a:pt x="879886" y="1289299"/>
                  <a:pt x="903014" y="1287831"/>
                </a:cubicBezTo>
                <a:cubicBezTo>
                  <a:pt x="916073" y="1287002"/>
                  <a:pt x="919042" y="1284797"/>
                  <a:pt x="917225" y="1271856"/>
                </a:cubicBezTo>
                <a:cubicBezTo>
                  <a:pt x="913886" y="1248076"/>
                  <a:pt x="908472" y="1225007"/>
                  <a:pt x="886495" y="1207714"/>
                </a:cubicBezTo>
                <a:close/>
              </a:path>
            </a:pathLst>
          </a:custGeom>
          <a:solidFill>
            <a:srgbClr val="CDD9DF"/>
          </a:solidFill>
          <a:ln w="1401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475" name="Straight Arrow Connector 474">
            <a:extLst>
              <a:ext uri="{FF2B5EF4-FFF2-40B4-BE49-F238E27FC236}">
                <a16:creationId xmlns:a16="http://schemas.microsoft.com/office/drawing/2014/main" id="{9EDEBECE-082E-4745-5A51-8E057914E535}"/>
              </a:ext>
            </a:extLst>
          </p:cNvPr>
          <p:cNvCxnSpPr>
            <a:cxnSpLocks/>
          </p:cNvCxnSpPr>
          <p:nvPr/>
        </p:nvCxnSpPr>
        <p:spPr>
          <a:xfrm flipV="1">
            <a:off x="3628308" y="2873375"/>
            <a:ext cx="16134" cy="2001623"/>
          </a:xfrm>
          <a:prstGeom prst="straightConnector1">
            <a:avLst/>
          </a:prstGeom>
          <a:ln>
            <a:solidFill>
              <a:schemeClr val="tx1">
                <a:lumMod val="85000"/>
                <a:lumOff val="15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94720875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Oval 176">
            <a:extLst>
              <a:ext uri="{FF2B5EF4-FFF2-40B4-BE49-F238E27FC236}">
                <a16:creationId xmlns:a16="http://schemas.microsoft.com/office/drawing/2014/main" id="{2C7EEA6F-D078-4E6D-218E-2CFE6784BA42}"/>
              </a:ext>
            </a:extLst>
          </p:cNvPr>
          <p:cNvSpPr/>
          <p:nvPr/>
        </p:nvSpPr>
        <p:spPr>
          <a:xfrm>
            <a:off x="571974" y="1329588"/>
            <a:ext cx="1089478" cy="99043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Rectangle: Single Corner Rounded 8">
            <a:extLst>
              <a:ext uri="{FF2B5EF4-FFF2-40B4-BE49-F238E27FC236}">
                <a16:creationId xmlns:a16="http://schemas.microsoft.com/office/drawing/2014/main" id="{2882ADA9-E8B9-7006-6A46-48E11A83FE99}"/>
              </a:ext>
            </a:extLst>
          </p:cNvPr>
          <p:cNvSpPr/>
          <p:nvPr/>
        </p:nvSpPr>
        <p:spPr>
          <a:xfrm>
            <a:off x="559995" y="1785182"/>
            <a:ext cx="7441005" cy="4163811"/>
          </a:xfrm>
          <a:prstGeom prst="round1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6" name="Oval 75">
            <a:extLst>
              <a:ext uri="{FF2B5EF4-FFF2-40B4-BE49-F238E27FC236}">
                <a16:creationId xmlns:a16="http://schemas.microsoft.com/office/drawing/2014/main" id="{0DCC2364-1D41-5886-D66F-47E48965B023}"/>
              </a:ext>
            </a:extLst>
          </p:cNvPr>
          <p:cNvSpPr/>
          <p:nvPr/>
        </p:nvSpPr>
        <p:spPr>
          <a:xfrm>
            <a:off x="1598611" y="5114551"/>
            <a:ext cx="593138" cy="104135"/>
          </a:xfrm>
          <a:prstGeom prst="ellipse">
            <a:avLst/>
          </a:prstGeom>
          <a:solidFill>
            <a:schemeClr val="tx1">
              <a:alpha val="6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7" name="Free-form: Shape 76">
            <a:extLst>
              <a:ext uri="{FF2B5EF4-FFF2-40B4-BE49-F238E27FC236}">
                <a16:creationId xmlns:a16="http://schemas.microsoft.com/office/drawing/2014/main" id="{33441FC4-5795-33E3-8C08-5412FD432F01}"/>
              </a:ext>
            </a:extLst>
          </p:cNvPr>
          <p:cNvSpPr/>
          <p:nvPr/>
        </p:nvSpPr>
        <p:spPr>
          <a:xfrm>
            <a:off x="1697277" y="4433900"/>
            <a:ext cx="433137" cy="770022"/>
          </a:xfrm>
          <a:custGeom>
            <a:avLst/>
            <a:gdLst>
              <a:gd name="csX0" fmla="*/ 581793 w 697572"/>
              <a:gd name="csY0" fmla="*/ 1234401 h 1240128"/>
              <a:gd name="csX1" fmla="*/ 577427 w 697572"/>
              <a:gd name="csY1" fmla="*/ 1234156 h 1240128"/>
              <a:gd name="csX2" fmla="*/ 559133 w 697572"/>
              <a:gd name="csY2" fmla="*/ 1230909 h 1240128"/>
              <a:gd name="csX3" fmla="*/ 516706 w 697572"/>
              <a:gd name="csY3" fmla="*/ 1235117 h 1240128"/>
              <a:gd name="csX4" fmla="*/ 475244 w 697572"/>
              <a:gd name="csY4" fmla="*/ 1237506 h 1240128"/>
              <a:gd name="csX5" fmla="*/ 371154 w 697572"/>
              <a:gd name="csY5" fmla="*/ 1239428 h 1240128"/>
              <a:gd name="csX6" fmla="*/ 276813 w 697572"/>
              <a:gd name="csY6" fmla="*/ 1237654 h 1240128"/>
              <a:gd name="csX7" fmla="*/ 268212 w 697572"/>
              <a:gd name="csY7" fmla="*/ 1237635 h 1240128"/>
              <a:gd name="csX8" fmla="*/ 262072 w 697572"/>
              <a:gd name="csY8" fmla="*/ 1237523 h 1240128"/>
              <a:gd name="csX9" fmla="*/ 195111 w 697572"/>
              <a:gd name="csY9" fmla="*/ 1232775 h 1240128"/>
              <a:gd name="csX10" fmla="*/ 145060 w 697572"/>
              <a:gd name="csY10" fmla="*/ 1230076 h 1240128"/>
              <a:gd name="csX11" fmla="*/ 114933 w 697572"/>
              <a:gd name="csY11" fmla="*/ 1225832 h 1240128"/>
              <a:gd name="csX12" fmla="*/ 72642 w 697572"/>
              <a:gd name="csY12" fmla="*/ 1220237 h 1240128"/>
              <a:gd name="csX13" fmla="*/ 10894 w 697572"/>
              <a:gd name="csY13" fmla="*/ 1205737 h 1240128"/>
              <a:gd name="csX14" fmla="*/ 5856 w 697572"/>
              <a:gd name="csY14" fmla="*/ 1202799 h 1240128"/>
              <a:gd name="csX15" fmla="*/ 40 w 697572"/>
              <a:gd name="csY15" fmla="*/ 1174450 h 1240128"/>
              <a:gd name="csX16" fmla="*/ 19831 w 697572"/>
              <a:gd name="csY16" fmla="*/ 1118410 h 1240128"/>
              <a:gd name="csX17" fmla="*/ 22004 w 697572"/>
              <a:gd name="csY17" fmla="*/ 1107240 h 1240128"/>
              <a:gd name="csX18" fmla="*/ 25947 w 697572"/>
              <a:gd name="csY18" fmla="*/ 1038650 h 1240128"/>
              <a:gd name="csX19" fmla="*/ 58234 w 697572"/>
              <a:gd name="csY19" fmla="*/ 988567 h 1240128"/>
              <a:gd name="csX20" fmla="*/ 118645 w 697572"/>
              <a:gd name="csY20" fmla="*/ 928298 h 1240128"/>
              <a:gd name="csX21" fmla="*/ 126320 w 697572"/>
              <a:gd name="csY21" fmla="*/ 892015 h 1240128"/>
              <a:gd name="csX22" fmla="*/ 120345 w 697572"/>
              <a:gd name="csY22" fmla="*/ 872258 h 1240128"/>
              <a:gd name="csX23" fmla="*/ 125668 w 697572"/>
              <a:gd name="csY23" fmla="*/ 861640 h 1240128"/>
              <a:gd name="csX24" fmla="*/ 154237 w 697572"/>
              <a:gd name="csY24" fmla="*/ 850716 h 1240128"/>
              <a:gd name="csX25" fmla="*/ 170248 w 697572"/>
              <a:gd name="csY25" fmla="*/ 836767 h 1240128"/>
              <a:gd name="csX26" fmla="*/ 187840 w 697572"/>
              <a:gd name="csY26" fmla="*/ 796341 h 1240128"/>
              <a:gd name="csX27" fmla="*/ 209346 w 697572"/>
              <a:gd name="csY27" fmla="*/ 743126 h 1240128"/>
              <a:gd name="csX28" fmla="*/ 210630 w 697572"/>
              <a:gd name="csY28" fmla="*/ 737219 h 1240128"/>
              <a:gd name="csX29" fmla="*/ 213836 w 697572"/>
              <a:gd name="csY29" fmla="*/ 720505 h 1240128"/>
              <a:gd name="csX30" fmla="*/ 227791 w 697572"/>
              <a:gd name="csY30" fmla="*/ 667353 h 1240128"/>
              <a:gd name="csX31" fmla="*/ 241013 w 697572"/>
              <a:gd name="csY31" fmla="*/ 599151 h 1240128"/>
              <a:gd name="csX32" fmla="*/ 247322 w 697572"/>
              <a:gd name="csY32" fmla="*/ 542242 h 1240128"/>
              <a:gd name="csX33" fmla="*/ 247948 w 697572"/>
              <a:gd name="csY33" fmla="*/ 499296 h 1240128"/>
              <a:gd name="csX34" fmla="*/ 247577 w 697572"/>
              <a:gd name="csY34" fmla="*/ 470384 h 1240128"/>
              <a:gd name="csX35" fmla="*/ 238877 w 697572"/>
              <a:gd name="csY35" fmla="*/ 460987 h 1240128"/>
              <a:gd name="csX36" fmla="*/ 222040 w 697572"/>
              <a:gd name="csY36" fmla="*/ 458353 h 1240128"/>
              <a:gd name="csX37" fmla="*/ 172193 w 697572"/>
              <a:gd name="csY37" fmla="*/ 433714 h 1240128"/>
              <a:gd name="csX38" fmla="*/ 168410 w 697572"/>
              <a:gd name="csY38" fmla="*/ 396591 h 1240128"/>
              <a:gd name="csX39" fmla="*/ 209826 w 697572"/>
              <a:gd name="csY39" fmla="*/ 367773 h 1240128"/>
              <a:gd name="csX40" fmla="*/ 250732 w 697572"/>
              <a:gd name="csY40" fmla="*/ 355208 h 1240128"/>
              <a:gd name="csX41" fmla="*/ 258289 w 697572"/>
              <a:gd name="csY41" fmla="*/ 350426 h 1240128"/>
              <a:gd name="csX42" fmla="*/ 233274 w 697572"/>
              <a:gd name="csY42" fmla="*/ 333513 h 1240128"/>
              <a:gd name="csX43" fmla="*/ 229677 w 697572"/>
              <a:gd name="csY43" fmla="*/ 333922 h 1240128"/>
              <a:gd name="csX44" fmla="*/ 230149 w 697572"/>
              <a:gd name="csY44" fmla="*/ 332979 h 1240128"/>
              <a:gd name="csX45" fmla="*/ 227053 w 697572"/>
              <a:gd name="csY45" fmla="*/ 327076 h 1240128"/>
              <a:gd name="csX46" fmla="*/ 196769 w 697572"/>
              <a:gd name="csY46" fmla="*/ 291380 h 1240128"/>
              <a:gd name="csX47" fmla="*/ 184389 w 697572"/>
              <a:gd name="csY47" fmla="*/ 264042 h 1240128"/>
              <a:gd name="csX48" fmla="*/ 180630 w 697572"/>
              <a:gd name="csY48" fmla="*/ 257839 h 1240128"/>
              <a:gd name="csX49" fmla="*/ 176231 w 697572"/>
              <a:gd name="csY49" fmla="*/ 250643 h 1240128"/>
              <a:gd name="csX50" fmla="*/ 170073 w 697572"/>
              <a:gd name="csY50" fmla="*/ 146723 h 1240128"/>
              <a:gd name="csX51" fmla="*/ 180929 w 697572"/>
              <a:gd name="csY51" fmla="*/ 114280 h 1240128"/>
              <a:gd name="csX52" fmla="*/ 180839 w 697572"/>
              <a:gd name="csY52" fmla="*/ 101501 h 1240128"/>
              <a:gd name="csX53" fmla="*/ 233536 w 697572"/>
              <a:gd name="csY53" fmla="*/ 39653 h 1240128"/>
              <a:gd name="csX54" fmla="*/ 347618 w 697572"/>
              <a:gd name="csY54" fmla="*/ 35 h 1240128"/>
              <a:gd name="csX55" fmla="*/ 437139 w 697572"/>
              <a:gd name="csY55" fmla="*/ 22396 h 1240128"/>
              <a:gd name="csX56" fmla="*/ 529052 w 697572"/>
              <a:gd name="csY56" fmla="*/ 131093 h 1240128"/>
              <a:gd name="csX57" fmla="*/ 518497 w 697572"/>
              <a:gd name="csY57" fmla="*/ 271517 h 1240128"/>
              <a:gd name="csX58" fmla="*/ 500808 w 697572"/>
              <a:gd name="csY58" fmla="*/ 287385 h 1240128"/>
              <a:gd name="csX59" fmla="*/ 472948 w 697572"/>
              <a:gd name="csY59" fmla="*/ 323290 h 1240128"/>
              <a:gd name="csX60" fmla="*/ 469385 w 697572"/>
              <a:gd name="csY60" fmla="*/ 331565 h 1240128"/>
              <a:gd name="csX61" fmla="*/ 468293 w 697572"/>
              <a:gd name="csY61" fmla="*/ 331320 h 1240128"/>
              <a:gd name="csX62" fmla="*/ 459542 w 697572"/>
              <a:gd name="csY62" fmla="*/ 338942 h 1240128"/>
              <a:gd name="csX63" fmla="*/ 458492 w 697572"/>
              <a:gd name="csY63" fmla="*/ 338671 h 1240128"/>
              <a:gd name="csX64" fmla="*/ 436978 w 697572"/>
              <a:gd name="csY64" fmla="*/ 352226 h 1240128"/>
              <a:gd name="csX65" fmla="*/ 472329 w 697572"/>
              <a:gd name="csY65" fmla="*/ 362890 h 1240128"/>
              <a:gd name="csX66" fmla="*/ 523779 w 697572"/>
              <a:gd name="csY66" fmla="*/ 391962 h 1240128"/>
              <a:gd name="csX67" fmla="*/ 527344 w 697572"/>
              <a:gd name="csY67" fmla="*/ 430096 h 1240128"/>
              <a:gd name="csX68" fmla="*/ 504112 w 697572"/>
              <a:gd name="csY68" fmla="*/ 449628 h 1240128"/>
              <a:gd name="csX69" fmla="*/ 459430 w 697572"/>
              <a:gd name="csY69" fmla="*/ 461116 h 1240128"/>
              <a:gd name="csX70" fmla="*/ 446666 w 697572"/>
              <a:gd name="csY70" fmla="*/ 474229 h 1240128"/>
              <a:gd name="csX71" fmla="*/ 449133 w 697572"/>
              <a:gd name="csY71" fmla="*/ 531639 h 1240128"/>
              <a:gd name="csX72" fmla="*/ 454546 w 697572"/>
              <a:gd name="csY72" fmla="*/ 588688 h 1240128"/>
              <a:gd name="csX73" fmla="*/ 466126 w 697572"/>
              <a:gd name="csY73" fmla="*/ 649736 h 1240128"/>
              <a:gd name="csX74" fmla="*/ 512154 w 697572"/>
              <a:gd name="csY74" fmla="*/ 794006 h 1240128"/>
              <a:gd name="csX75" fmla="*/ 525763 w 697572"/>
              <a:gd name="csY75" fmla="*/ 834323 h 1240128"/>
              <a:gd name="csX76" fmla="*/ 530555 w 697572"/>
              <a:gd name="csY76" fmla="*/ 845114 h 1240128"/>
              <a:gd name="csX77" fmla="*/ 554424 w 697572"/>
              <a:gd name="csY77" fmla="*/ 856618 h 1240128"/>
              <a:gd name="csX78" fmla="*/ 572880 w 697572"/>
              <a:gd name="csY78" fmla="*/ 862546 h 1240128"/>
              <a:gd name="csX79" fmla="*/ 578643 w 697572"/>
              <a:gd name="csY79" fmla="*/ 880396 h 1240128"/>
              <a:gd name="csX80" fmla="*/ 572188 w 697572"/>
              <a:gd name="csY80" fmla="*/ 899820 h 1240128"/>
              <a:gd name="csX81" fmla="*/ 582698 w 697572"/>
              <a:gd name="csY81" fmla="*/ 930382 h 1240128"/>
              <a:gd name="csX82" fmla="*/ 604747 w 697572"/>
              <a:gd name="csY82" fmla="*/ 960852 h 1240128"/>
              <a:gd name="csX83" fmla="*/ 613863 w 697572"/>
              <a:gd name="csY83" fmla="*/ 968311 h 1240128"/>
              <a:gd name="csX84" fmla="*/ 629435 w 697572"/>
              <a:gd name="csY84" fmla="*/ 981186 h 1240128"/>
              <a:gd name="csX85" fmla="*/ 633611 w 697572"/>
              <a:gd name="csY85" fmla="*/ 985609 h 1240128"/>
              <a:gd name="csX86" fmla="*/ 673790 w 697572"/>
              <a:gd name="csY86" fmla="*/ 1049348 h 1240128"/>
              <a:gd name="csX87" fmla="*/ 675873 w 697572"/>
              <a:gd name="csY87" fmla="*/ 1092839 h 1240128"/>
              <a:gd name="csX88" fmla="*/ 681668 w 697572"/>
              <a:gd name="csY88" fmla="*/ 1129292 h 1240128"/>
              <a:gd name="csX89" fmla="*/ 697338 w 697572"/>
              <a:gd name="csY89" fmla="*/ 1196079 h 1240128"/>
              <a:gd name="csX90" fmla="*/ 690637 w 697572"/>
              <a:gd name="csY90" fmla="*/ 1205035 h 1240128"/>
              <a:gd name="csX91" fmla="*/ 639777 w 697572"/>
              <a:gd name="csY91" fmla="*/ 1217994 h 1240128"/>
              <a:gd name="csX92" fmla="*/ 587072 w 697572"/>
              <a:gd name="csY92" fmla="*/ 1227761 h 1240128"/>
              <a:gd name="csX93" fmla="*/ 581793 w 697572"/>
              <a:gd name="csY93" fmla="*/ 1234401 h 1240128"/>
              <a:gd name="csX94" fmla="*/ 357446 w 697572"/>
              <a:gd name="csY94" fmla="*/ 903795 h 1240128"/>
              <a:gd name="csX95" fmla="*/ 344445 w 697572"/>
              <a:gd name="csY95" fmla="*/ 903795 h 1240128"/>
              <a:gd name="csX96" fmla="*/ 349212 w 697572"/>
              <a:gd name="csY96" fmla="*/ 950515 h 1240128"/>
              <a:gd name="csX97" fmla="*/ 349538 w 697572"/>
              <a:gd name="csY97" fmla="*/ 1069392 h 1240128"/>
              <a:gd name="csX98" fmla="*/ 349415 w 697572"/>
              <a:gd name="csY98" fmla="*/ 1108925 h 1240128"/>
              <a:gd name="csX99" fmla="*/ 647726 w 697572"/>
              <a:gd name="csY99" fmla="*/ 1089872 h 1240128"/>
              <a:gd name="csX100" fmla="*/ 647654 w 697572"/>
              <a:gd name="csY100" fmla="*/ 1076267 h 1240128"/>
              <a:gd name="csX101" fmla="*/ 610267 w 697572"/>
              <a:gd name="csY101" fmla="*/ 994126 h 1240128"/>
              <a:gd name="csX102" fmla="*/ 571459 w 697572"/>
              <a:gd name="csY102" fmla="*/ 956568 h 1240128"/>
              <a:gd name="csX103" fmla="*/ 541653 w 697572"/>
              <a:gd name="csY103" fmla="*/ 901544 h 1240128"/>
              <a:gd name="csX104" fmla="*/ 539477 w 697572"/>
              <a:gd name="csY104" fmla="*/ 895908 h 1240128"/>
              <a:gd name="csX105" fmla="*/ 357446 w 697572"/>
              <a:gd name="csY105" fmla="*/ 903795 h 1240128"/>
              <a:gd name="csX106" fmla="*/ 300108 w 697572"/>
              <a:gd name="csY106" fmla="*/ 85260 h 1240128"/>
              <a:gd name="csX107" fmla="*/ 290213 w 697572"/>
              <a:gd name="csY107" fmla="*/ 127888 h 1240128"/>
              <a:gd name="csX108" fmla="*/ 331056 w 697572"/>
              <a:gd name="csY108" fmla="*/ 214168 h 1240128"/>
              <a:gd name="csX109" fmla="*/ 424717 w 697572"/>
              <a:gd name="csY109" fmla="*/ 245160 h 1240128"/>
              <a:gd name="csX110" fmla="*/ 496752 w 697572"/>
              <a:gd name="csY110" fmla="*/ 141256 h 1240128"/>
              <a:gd name="csX111" fmla="*/ 390320 w 697572"/>
              <a:gd name="csY111" fmla="*/ 43995 h 1240128"/>
              <a:gd name="csX112" fmla="*/ 300108 w 697572"/>
              <a:gd name="csY112" fmla="*/ 85260 h 1240128"/>
              <a:gd name="csX113" fmla="*/ 343360 w 697572"/>
              <a:gd name="csY113" fmla="*/ 634332 h 1240128"/>
              <a:gd name="csX114" fmla="*/ 340877 w 697572"/>
              <a:gd name="csY114" fmla="*/ 732259 h 1240128"/>
              <a:gd name="csX115" fmla="*/ 338360 w 697572"/>
              <a:gd name="csY115" fmla="*/ 810538 h 1240128"/>
              <a:gd name="csX116" fmla="*/ 337115 w 697572"/>
              <a:gd name="csY116" fmla="*/ 817736 h 1240128"/>
              <a:gd name="csX117" fmla="*/ 336516 w 697572"/>
              <a:gd name="csY117" fmla="*/ 863022 h 1240128"/>
              <a:gd name="csX118" fmla="*/ 343436 w 697572"/>
              <a:gd name="csY118" fmla="*/ 864027 h 1240128"/>
              <a:gd name="csX119" fmla="*/ 406718 w 697572"/>
              <a:gd name="csY119" fmla="*/ 862982 h 1240128"/>
              <a:gd name="csX120" fmla="*/ 456888 w 697572"/>
              <a:gd name="csY120" fmla="*/ 861794 h 1240128"/>
              <a:gd name="csX121" fmla="*/ 495873 w 697572"/>
              <a:gd name="csY121" fmla="*/ 863963 h 1240128"/>
              <a:gd name="csX122" fmla="*/ 509286 w 697572"/>
              <a:gd name="csY122" fmla="*/ 863595 h 1240128"/>
              <a:gd name="csX123" fmla="*/ 516956 w 697572"/>
              <a:gd name="csY123" fmla="*/ 856791 h 1240128"/>
              <a:gd name="csX124" fmla="*/ 513920 w 697572"/>
              <a:gd name="csY124" fmla="*/ 848709 h 1240128"/>
              <a:gd name="csX125" fmla="*/ 506683 w 697572"/>
              <a:gd name="csY125" fmla="*/ 839054 h 1240128"/>
              <a:gd name="csX126" fmla="*/ 488629 w 697572"/>
              <a:gd name="csY126" fmla="*/ 799037 h 1240128"/>
              <a:gd name="csX127" fmla="*/ 456922 w 697572"/>
              <a:gd name="csY127" fmla="*/ 696297 h 1240128"/>
              <a:gd name="csX128" fmla="*/ 441346 w 697572"/>
              <a:gd name="csY128" fmla="*/ 619885 h 1240128"/>
              <a:gd name="csX129" fmla="*/ 435963 w 697572"/>
              <a:gd name="csY129" fmla="*/ 582529 h 1240128"/>
              <a:gd name="csX130" fmla="*/ 429497 w 697572"/>
              <a:gd name="csY130" fmla="*/ 521990 h 1240128"/>
              <a:gd name="csX131" fmla="*/ 426887 w 697572"/>
              <a:gd name="csY131" fmla="*/ 471989 h 1240128"/>
              <a:gd name="csX132" fmla="*/ 413744 w 697572"/>
              <a:gd name="csY132" fmla="*/ 461077 h 1240128"/>
              <a:gd name="csX133" fmla="*/ 353573 w 697572"/>
              <a:gd name="csY133" fmla="*/ 461120 h 1240128"/>
              <a:gd name="csX134" fmla="*/ 344160 w 697572"/>
              <a:gd name="csY134" fmla="*/ 462286 h 1240128"/>
              <a:gd name="csX135" fmla="*/ 343404 w 697572"/>
              <a:gd name="csY135" fmla="*/ 469192 h 1240128"/>
              <a:gd name="csX136" fmla="*/ 343469 w 697572"/>
              <a:gd name="csY136" fmla="*/ 574797 h 1240128"/>
              <a:gd name="csX137" fmla="*/ 345522 w 697572"/>
              <a:gd name="csY137" fmla="*/ 591669 h 1240128"/>
              <a:gd name="csX138" fmla="*/ 343360 w 697572"/>
              <a:gd name="csY138" fmla="*/ 634332 h 1240128"/>
              <a:gd name="csX139" fmla="*/ 416946 w 697572"/>
              <a:gd name="csY139" fmla="*/ 385943 h 1240128"/>
              <a:gd name="csX140" fmla="*/ 401091 w 697572"/>
              <a:gd name="csY140" fmla="*/ 387162 h 1240128"/>
              <a:gd name="csX141" fmla="*/ 369218 w 697572"/>
              <a:gd name="csY141" fmla="*/ 387708 h 1240128"/>
              <a:gd name="csX142" fmla="*/ 351833 w 697572"/>
              <a:gd name="csY142" fmla="*/ 398991 h 1240128"/>
              <a:gd name="csX143" fmla="*/ 349778 w 697572"/>
              <a:gd name="csY143" fmla="*/ 426021 h 1240128"/>
              <a:gd name="csX144" fmla="*/ 361839 w 697572"/>
              <a:gd name="csY144" fmla="*/ 426538 h 1240128"/>
              <a:gd name="csX145" fmla="*/ 455022 w 697572"/>
              <a:gd name="csY145" fmla="*/ 426922 h 1240128"/>
              <a:gd name="csX146" fmla="*/ 481958 w 697572"/>
              <a:gd name="csY146" fmla="*/ 426527 h 1240128"/>
              <a:gd name="csX147" fmla="*/ 499817 w 697572"/>
              <a:gd name="csY147" fmla="*/ 419888 h 1240128"/>
              <a:gd name="csX148" fmla="*/ 499439 w 697572"/>
              <a:gd name="csY148" fmla="*/ 400719 h 1240128"/>
              <a:gd name="csX149" fmla="*/ 468062 w 697572"/>
              <a:gd name="csY149" fmla="*/ 387775 h 1240128"/>
              <a:gd name="csX150" fmla="*/ 416946 w 697572"/>
              <a:gd name="csY150" fmla="*/ 385943 h 1240128"/>
              <a:gd name="csX151" fmla="*/ 636802 w 697572"/>
              <a:gd name="csY151" fmla="*/ 1190940 h 1240128"/>
              <a:gd name="csX152" fmla="*/ 666492 w 697572"/>
              <a:gd name="csY152" fmla="*/ 1184186 h 1240128"/>
              <a:gd name="csX153" fmla="*/ 674465 w 697572"/>
              <a:gd name="csY153" fmla="*/ 1170880 h 1240128"/>
              <a:gd name="csX154" fmla="*/ 662462 w 697572"/>
              <a:gd name="csY154" fmla="*/ 1141464 h 1240128"/>
              <a:gd name="csX155" fmla="*/ 645564 w 697572"/>
              <a:gd name="csY155" fmla="*/ 1131937 h 1240128"/>
              <a:gd name="csX156" fmla="*/ 627387 w 697572"/>
              <a:gd name="csY156" fmla="*/ 1133618 h 1240128"/>
              <a:gd name="csX157" fmla="*/ 583917 w 697572"/>
              <a:gd name="csY157" fmla="*/ 1139222 h 1240128"/>
              <a:gd name="csX158" fmla="*/ 543741 w 697572"/>
              <a:gd name="csY158" fmla="*/ 1141869 h 1240128"/>
              <a:gd name="csX159" fmla="*/ 512146 w 697572"/>
              <a:gd name="csY159" fmla="*/ 1144418 h 1240128"/>
              <a:gd name="csX160" fmla="*/ 447711 w 697572"/>
              <a:gd name="csY160" fmla="*/ 1148973 h 1240128"/>
              <a:gd name="csX161" fmla="*/ 351979 w 697572"/>
              <a:gd name="csY161" fmla="*/ 1149200 h 1240128"/>
              <a:gd name="csX162" fmla="*/ 338443 w 697572"/>
              <a:gd name="csY162" fmla="*/ 1150040 h 1240128"/>
              <a:gd name="csX163" fmla="*/ 338451 w 697572"/>
              <a:gd name="csY163" fmla="*/ 1190780 h 1240128"/>
              <a:gd name="csX164" fmla="*/ 351082 w 697572"/>
              <a:gd name="csY164" fmla="*/ 1207015 h 1240128"/>
              <a:gd name="csX165" fmla="*/ 358298 w 697572"/>
              <a:gd name="csY165" fmla="*/ 1208094 h 1240128"/>
              <a:gd name="csX166" fmla="*/ 521229 w 697572"/>
              <a:gd name="csY166" fmla="*/ 1205646 h 1240128"/>
              <a:gd name="csX167" fmla="*/ 523675 w 697572"/>
              <a:gd name="csY167" fmla="*/ 1205490 h 1240128"/>
              <a:gd name="csX168" fmla="*/ 580423 w 697572"/>
              <a:gd name="csY168" fmla="*/ 1198350 h 1240128"/>
              <a:gd name="csX169" fmla="*/ 636802 w 697572"/>
              <a:gd name="csY169" fmla="*/ 1190940 h 124012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</a:cxnLst>
            <a:rect l="l" t="t" r="r" b="b"/>
            <a:pathLst>
              <a:path w="697572" h="1240128">
                <a:moveTo>
                  <a:pt x="581793" y="1234401"/>
                </a:moveTo>
                <a:cubicBezTo>
                  <a:pt x="580693" y="1234661"/>
                  <a:pt x="579594" y="1234922"/>
                  <a:pt x="577427" y="1234156"/>
                </a:cubicBezTo>
                <a:cubicBezTo>
                  <a:pt x="571216" y="1227899"/>
                  <a:pt x="564912" y="1230441"/>
                  <a:pt x="559133" y="1230909"/>
                </a:cubicBezTo>
                <a:cubicBezTo>
                  <a:pt x="544971" y="1232056"/>
                  <a:pt x="530869" y="1233971"/>
                  <a:pt x="516706" y="1235117"/>
                </a:cubicBezTo>
                <a:cubicBezTo>
                  <a:pt x="502910" y="1236232"/>
                  <a:pt x="489077" y="1237097"/>
                  <a:pt x="475244" y="1237506"/>
                </a:cubicBezTo>
                <a:cubicBezTo>
                  <a:pt x="440539" y="1238535"/>
                  <a:pt x="405696" y="1241458"/>
                  <a:pt x="371154" y="1239428"/>
                </a:cubicBezTo>
                <a:cubicBezTo>
                  <a:pt x="339645" y="1237575"/>
                  <a:pt x="308239" y="1238753"/>
                  <a:pt x="276813" y="1237654"/>
                </a:cubicBezTo>
                <a:cubicBezTo>
                  <a:pt x="273949" y="1237553"/>
                  <a:pt x="271079" y="1237652"/>
                  <a:pt x="268212" y="1237635"/>
                </a:cubicBezTo>
                <a:cubicBezTo>
                  <a:pt x="266165" y="1237623"/>
                  <a:pt x="264111" y="1237668"/>
                  <a:pt x="262072" y="1237523"/>
                </a:cubicBezTo>
                <a:cubicBezTo>
                  <a:pt x="239751" y="1235944"/>
                  <a:pt x="217441" y="1234201"/>
                  <a:pt x="195111" y="1232775"/>
                </a:cubicBezTo>
                <a:cubicBezTo>
                  <a:pt x="178437" y="1231710"/>
                  <a:pt x="161712" y="1231378"/>
                  <a:pt x="145060" y="1230076"/>
                </a:cubicBezTo>
                <a:cubicBezTo>
                  <a:pt x="134969" y="1229287"/>
                  <a:pt x="124987" y="1227177"/>
                  <a:pt x="114933" y="1225832"/>
                </a:cubicBezTo>
                <a:cubicBezTo>
                  <a:pt x="100834" y="1223946"/>
                  <a:pt x="86554" y="1223022"/>
                  <a:pt x="72642" y="1220237"/>
                </a:cubicBezTo>
                <a:cubicBezTo>
                  <a:pt x="51920" y="1216091"/>
                  <a:pt x="31443" y="1210723"/>
                  <a:pt x="10894" y="1205737"/>
                </a:cubicBezTo>
                <a:cubicBezTo>
                  <a:pt x="9027" y="1205284"/>
                  <a:pt x="6196" y="1204140"/>
                  <a:pt x="5856" y="1202799"/>
                </a:cubicBezTo>
                <a:cubicBezTo>
                  <a:pt x="3474" y="1193418"/>
                  <a:pt x="-438" y="1183796"/>
                  <a:pt x="40" y="1174450"/>
                </a:cubicBezTo>
                <a:cubicBezTo>
                  <a:pt x="1079" y="1154149"/>
                  <a:pt x="9757" y="1135843"/>
                  <a:pt x="19831" y="1118410"/>
                </a:cubicBezTo>
                <a:cubicBezTo>
                  <a:pt x="21968" y="1114713"/>
                  <a:pt x="22970" y="1111858"/>
                  <a:pt x="22004" y="1107240"/>
                </a:cubicBezTo>
                <a:cubicBezTo>
                  <a:pt x="17168" y="1084118"/>
                  <a:pt x="17717" y="1061168"/>
                  <a:pt x="25947" y="1038650"/>
                </a:cubicBezTo>
                <a:cubicBezTo>
                  <a:pt x="32954" y="1019481"/>
                  <a:pt x="44478" y="1003118"/>
                  <a:pt x="58234" y="988567"/>
                </a:cubicBezTo>
                <a:cubicBezTo>
                  <a:pt x="77769" y="967902"/>
                  <a:pt x="97978" y="947832"/>
                  <a:pt x="118645" y="928298"/>
                </a:cubicBezTo>
                <a:cubicBezTo>
                  <a:pt x="130104" y="917467"/>
                  <a:pt x="131835" y="905961"/>
                  <a:pt x="126320" y="892015"/>
                </a:cubicBezTo>
                <a:cubicBezTo>
                  <a:pt x="123798" y="885637"/>
                  <a:pt x="122123" y="878904"/>
                  <a:pt x="120345" y="872258"/>
                </a:cubicBezTo>
                <a:cubicBezTo>
                  <a:pt x="119029" y="867341"/>
                  <a:pt x="120162" y="863613"/>
                  <a:pt x="125668" y="861640"/>
                </a:cubicBezTo>
                <a:cubicBezTo>
                  <a:pt x="135266" y="858201"/>
                  <a:pt x="144535" y="853788"/>
                  <a:pt x="154237" y="850716"/>
                </a:cubicBezTo>
                <a:cubicBezTo>
                  <a:pt x="161882" y="848296"/>
                  <a:pt x="167110" y="843897"/>
                  <a:pt x="170248" y="836767"/>
                </a:cubicBezTo>
                <a:cubicBezTo>
                  <a:pt x="176168" y="823316"/>
                  <a:pt x="182193" y="809907"/>
                  <a:pt x="187840" y="796341"/>
                </a:cubicBezTo>
                <a:cubicBezTo>
                  <a:pt x="195194" y="778679"/>
                  <a:pt x="202250" y="760894"/>
                  <a:pt x="209346" y="743126"/>
                </a:cubicBezTo>
                <a:cubicBezTo>
                  <a:pt x="210083" y="741280"/>
                  <a:pt x="210252" y="739200"/>
                  <a:pt x="210630" y="737219"/>
                </a:cubicBezTo>
                <a:cubicBezTo>
                  <a:pt x="211694" y="731645"/>
                  <a:pt x="212425" y="725987"/>
                  <a:pt x="213836" y="720505"/>
                </a:cubicBezTo>
                <a:cubicBezTo>
                  <a:pt x="218406" y="702764"/>
                  <a:pt x="223811" y="685219"/>
                  <a:pt x="227791" y="667353"/>
                </a:cubicBezTo>
                <a:cubicBezTo>
                  <a:pt x="232826" y="644755"/>
                  <a:pt x="237367" y="622009"/>
                  <a:pt x="241013" y="599151"/>
                </a:cubicBezTo>
                <a:cubicBezTo>
                  <a:pt x="244018" y="580319"/>
                  <a:pt x="246001" y="561272"/>
                  <a:pt x="247322" y="542242"/>
                </a:cubicBezTo>
                <a:cubicBezTo>
                  <a:pt x="248312" y="527975"/>
                  <a:pt x="246344" y="513451"/>
                  <a:pt x="247948" y="499296"/>
                </a:cubicBezTo>
                <a:cubicBezTo>
                  <a:pt x="249066" y="489432"/>
                  <a:pt x="247923" y="480014"/>
                  <a:pt x="247577" y="470384"/>
                </a:cubicBezTo>
                <a:cubicBezTo>
                  <a:pt x="247364" y="464453"/>
                  <a:pt x="245121" y="461397"/>
                  <a:pt x="238877" y="460987"/>
                </a:cubicBezTo>
                <a:cubicBezTo>
                  <a:pt x="233224" y="460615"/>
                  <a:pt x="227461" y="459920"/>
                  <a:pt x="222040" y="458353"/>
                </a:cubicBezTo>
                <a:cubicBezTo>
                  <a:pt x="203991" y="453134"/>
                  <a:pt x="185737" y="448229"/>
                  <a:pt x="172193" y="433714"/>
                </a:cubicBezTo>
                <a:cubicBezTo>
                  <a:pt x="162702" y="423544"/>
                  <a:pt x="160887" y="408134"/>
                  <a:pt x="168410" y="396591"/>
                </a:cubicBezTo>
                <a:cubicBezTo>
                  <a:pt x="178294" y="381428"/>
                  <a:pt x="193736" y="373793"/>
                  <a:pt x="209826" y="367773"/>
                </a:cubicBezTo>
                <a:cubicBezTo>
                  <a:pt x="223159" y="362784"/>
                  <a:pt x="237124" y="359493"/>
                  <a:pt x="250732" y="355208"/>
                </a:cubicBezTo>
                <a:cubicBezTo>
                  <a:pt x="253085" y="354467"/>
                  <a:pt x="255058" y="352518"/>
                  <a:pt x="258289" y="350426"/>
                </a:cubicBezTo>
                <a:cubicBezTo>
                  <a:pt x="250173" y="342610"/>
                  <a:pt x="241833" y="337880"/>
                  <a:pt x="233274" y="333513"/>
                </a:cubicBezTo>
                <a:cubicBezTo>
                  <a:pt x="232377" y="333055"/>
                  <a:pt x="230890" y="333758"/>
                  <a:pt x="229677" y="333922"/>
                </a:cubicBezTo>
                <a:cubicBezTo>
                  <a:pt x="229677" y="333922"/>
                  <a:pt x="230323" y="333834"/>
                  <a:pt x="230149" y="332979"/>
                </a:cubicBezTo>
                <a:cubicBezTo>
                  <a:pt x="229023" y="330409"/>
                  <a:pt x="228502" y="328059"/>
                  <a:pt x="227053" y="327076"/>
                </a:cubicBezTo>
                <a:cubicBezTo>
                  <a:pt x="213615" y="317962"/>
                  <a:pt x="204643" y="305332"/>
                  <a:pt x="196769" y="291380"/>
                </a:cubicBezTo>
                <a:cubicBezTo>
                  <a:pt x="191792" y="282564"/>
                  <a:pt x="185421" y="274665"/>
                  <a:pt x="184389" y="264042"/>
                </a:cubicBezTo>
                <a:cubicBezTo>
                  <a:pt x="184179" y="261874"/>
                  <a:pt x="181925" y="259908"/>
                  <a:pt x="180630" y="257839"/>
                </a:cubicBezTo>
                <a:cubicBezTo>
                  <a:pt x="179137" y="255454"/>
                  <a:pt x="177317" y="253204"/>
                  <a:pt x="176231" y="250643"/>
                </a:cubicBezTo>
                <a:cubicBezTo>
                  <a:pt x="161865" y="216749"/>
                  <a:pt x="159606" y="182060"/>
                  <a:pt x="170073" y="146723"/>
                </a:cubicBezTo>
                <a:cubicBezTo>
                  <a:pt x="173311" y="135795"/>
                  <a:pt x="177248" y="125074"/>
                  <a:pt x="180929" y="114280"/>
                </a:cubicBezTo>
                <a:cubicBezTo>
                  <a:pt x="182396" y="109981"/>
                  <a:pt x="183922" y="105742"/>
                  <a:pt x="180839" y="101501"/>
                </a:cubicBezTo>
                <a:cubicBezTo>
                  <a:pt x="192473" y="75833"/>
                  <a:pt x="211344" y="56271"/>
                  <a:pt x="233536" y="39653"/>
                </a:cubicBezTo>
                <a:cubicBezTo>
                  <a:pt x="267321" y="14353"/>
                  <a:pt x="305621" y="873"/>
                  <a:pt x="347618" y="35"/>
                </a:cubicBezTo>
                <a:cubicBezTo>
                  <a:pt x="379125" y="-593"/>
                  <a:pt x="409214" y="7172"/>
                  <a:pt x="437139" y="22396"/>
                </a:cubicBezTo>
                <a:cubicBezTo>
                  <a:pt x="481844" y="46766"/>
                  <a:pt x="514077" y="82116"/>
                  <a:pt x="529052" y="131093"/>
                </a:cubicBezTo>
                <a:cubicBezTo>
                  <a:pt x="543544" y="178495"/>
                  <a:pt x="541630" y="225548"/>
                  <a:pt x="518497" y="271517"/>
                </a:cubicBezTo>
                <a:cubicBezTo>
                  <a:pt x="511428" y="277096"/>
                  <a:pt x="503848" y="281136"/>
                  <a:pt x="500808" y="287385"/>
                </a:cubicBezTo>
                <a:cubicBezTo>
                  <a:pt x="493932" y="301522"/>
                  <a:pt x="483805" y="312513"/>
                  <a:pt x="472948" y="323290"/>
                </a:cubicBezTo>
                <a:cubicBezTo>
                  <a:pt x="470972" y="325253"/>
                  <a:pt x="470533" y="328767"/>
                  <a:pt x="469385" y="331565"/>
                </a:cubicBezTo>
                <a:cubicBezTo>
                  <a:pt x="469385" y="331565"/>
                  <a:pt x="469172" y="331584"/>
                  <a:pt x="468293" y="331320"/>
                </a:cubicBezTo>
                <a:cubicBezTo>
                  <a:pt x="461937" y="330836"/>
                  <a:pt x="458618" y="332772"/>
                  <a:pt x="459542" y="338942"/>
                </a:cubicBezTo>
                <a:cubicBezTo>
                  <a:pt x="459542" y="338942"/>
                  <a:pt x="459473" y="338913"/>
                  <a:pt x="458492" y="338671"/>
                </a:cubicBezTo>
                <a:cubicBezTo>
                  <a:pt x="450936" y="342653"/>
                  <a:pt x="440712" y="341355"/>
                  <a:pt x="436978" y="352226"/>
                </a:cubicBezTo>
                <a:cubicBezTo>
                  <a:pt x="449178" y="355911"/>
                  <a:pt x="460733" y="359469"/>
                  <a:pt x="472329" y="362890"/>
                </a:cubicBezTo>
                <a:cubicBezTo>
                  <a:pt x="491728" y="368613"/>
                  <a:pt x="510182" y="375784"/>
                  <a:pt x="523779" y="391962"/>
                </a:cubicBezTo>
                <a:cubicBezTo>
                  <a:pt x="535849" y="406326"/>
                  <a:pt x="534845" y="420076"/>
                  <a:pt x="527344" y="430096"/>
                </a:cubicBezTo>
                <a:cubicBezTo>
                  <a:pt x="521323" y="438139"/>
                  <a:pt x="513928" y="445333"/>
                  <a:pt x="504112" y="449628"/>
                </a:cubicBezTo>
                <a:cubicBezTo>
                  <a:pt x="489776" y="455901"/>
                  <a:pt x="475173" y="460486"/>
                  <a:pt x="459430" y="461116"/>
                </a:cubicBezTo>
                <a:cubicBezTo>
                  <a:pt x="448415" y="461557"/>
                  <a:pt x="446384" y="463369"/>
                  <a:pt x="446666" y="474229"/>
                </a:cubicBezTo>
                <a:cubicBezTo>
                  <a:pt x="447164" y="493376"/>
                  <a:pt x="447839" y="512533"/>
                  <a:pt x="449133" y="531639"/>
                </a:cubicBezTo>
                <a:cubicBezTo>
                  <a:pt x="450424" y="550696"/>
                  <a:pt x="451783" y="569809"/>
                  <a:pt x="454546" y="588688"/>
                </a:cubicBezTo>
                <a:cubicBezTo>
                  <a:pt x="457543" y="609164"/>
                  <a:pt x="462165" y="629403"/>
                  <a:pt x="466126" y="649736"/>
                </a:cubicBezTo>
                <a:cubicBezTo>
                  <a:pt x="475845" y="699621"/>
                  <a:pt x="493414" y="746980"/>
                  <a:pt x="512154" y="794006"/>
                </a:cubicBezTo>
                <a:cubicBezTo>
                  <a:pt x="517387" y="807138"/>
                  <a:pt x="525145" y="819463"/>
                  <a:pt x="525763" y="834323"/>
                </a:cubicBezTo>
                <a:cubicBezTo>
                  <a:pt x="525919" y="838081"/>
                  <a:pt x="527739" y="843335"/>
                  <a:pt x="530555" y="845114"/>
                </a:cubicBezTo>
                <a:cubicBezTo>
                  <a:pt x="537981" y="849801"/>
                  <a:pt x="546243" y="853278"/>
                  <a:pt x="554424" y="856618"/>
                </a:cubicBezTo>
                <a:cubicBezTo>
                  <a:pt x="560391" y="859054"/>
                  <a:pt x="567041" y="859887"/>
                  <a:pt x="572880" y="862546"/>
                </a:cubicBezTo>
                <a:cubicBezTo>
                  <a:pt x="581470" y="866458"/>
                  <a:pt x="582467" y="871415"/>
                  <a:pt x="578643" y="880396"/>
                </a:cubicBezTo>
                <a:cubicBezTo>
                  <a:pt x="575969" y="886677"/>
                  <a:pt x="572900" y="893182"/>
                  <a:pt x="572188" y="899820"/>
                </a:cubicBezTo>
                <a:cubicBezTo>
                  <a:pt x="570960" y="911271"/>
                  <a:pt x="576506" y="920944"/>
                  <a:pt x="582698" y="930382"/>
                </a:cubicBezTo>
                <a:cubicBezTo>
                  <a:pt x="589569" y="940856"/>
                  <a:pt x="600933" y="947930"/>
                  <a:pt x="604747" y="960852"/>
                </a:cubicBezTo>
                <a:cubicBezTo>
                  <a:pt x="605684" y="964030"/>
                  <a:pt x="610294" y="967128"/>
                  <a:pt x="613863" y="968311"/>
                </a:cubicBezTo>
                <a:cubicBezTo>
                  <a:pt x="620963" y="970665"/>
                  <a:pt x="625924" y="974774"/>
                  <a:pt x="629435" y="981186"/>
                </a:cubicBezTo>
                <a:cubicBezTo>
                  <a:pt x="630381" y="982913"/>
                  <a:pt x="631977" y="984459"/>
                  <a:pt x="633611" y="985609"/>
                </a:cubicBezTo>
                <a:cubicBezTo>
                  <a:pt x="655878" y="1001272"/>
                  <a:pt x="668032" y="1023762"/>
                  <a:pt x="673790" y="1049348"/>
                </a:cubicBezTo>
                <a:cubicBezTo>
                  <a:pt x="676936" y="1063327"/>
                  <a:pt x="679769" y="1077802"/>
                  <a:pt x="675873" y="1092839"/>
                </a:cubicBezTo>
                <a:cubicBezTo>
                  <a:pt x="672677" y="1105174"/>
                  <a:pt x="673042" y="1116963"/>
                  <a:pt x="681668" y="1129292"/>
                </a:cubicBezTo>
                <a:cubicBezTo>
                  <a:pt x="695321" y="1148802"/>
                  <a:pt x="698550" y="1172235"/>
                  <a:pt x="697338" y="1196079"/>
                </a:cubicBezTo>
                <a:cubicBezTo>
                  <a:pt x="697087" y="1201014"/>
                  <a:pt x="694979" y="1203886"/>
                  <a:pt x="690637" y="1205035"/>
                </a:cubicBezTo>
                <a:cubicBezTo>
                  <a:pt x="673723" y="1209511"/>
                  <a:pt x="656856" y="1214241"/>
                  <a:pt x="639777" y="1217994"/>
                </a:cubicBezTo>
                <a:cubicBezTo>
                  <a:pt x="622334" y="1221827"/>
                  <a:pt x="604691" y="1224790"/>
                  <a:pt x="587072" y="1227761"/>
                </a:cubicBezTo>
                <a:cubicBezTo>
                  <a:pt x="582708" y="1228497"/>
                  <a:pt x="581724" y="1230736"/>
                  <a:pt x="581793" y="1234401"/>
                </a:cubicBezTo>
                <a:moveTo>
                  <a:pt x="357446" y="903795"/>
                </a:moveTo>
                <a:cubicBezTo>
                  <a:pt x="353141" y="903795"/>
                  <a:pt x="348835" y="903795"/>
                  <a:pt x="344445" y="903795"/>
                </a:cubicBezTo>
                <a:cubicBezTo>
                  <a:pt x="346169" y="920562"/>
                  <a:pt x="347908" y="935520"/>
                  <a:pt x="349212" y="950515"/>
                </a:cubicBezTo>
                <a:cubicBezTo>
                  <a:pt x="352656" y="990125"/>
                  <a:pt x="351941" y="1029743"/>
                  <a:pt x="349538" y="1069392"/>
                </a:cubicBezTo>
                <a:cubicBezTo>
                  <a:pt x="348759" y="1082241"/>
                  <a:pt x="349415" y="1095176"/>
                  <a:pt x="349415" y="1108925"/>
                </a:cubicBezTo>
                <a:cubicBezTo>
                  <a:pt x="449467" y="1111953"/>
                  <a:pt x="548509" y="1104712"/>
                  <a:pt x="647726" y="1089872"/>
                </a:cubicBezTo>
                <a:cubicBezTo>
                  <a:pt x="647726" y="1084313"/>
                  <a:pt x="648180" y="1080225"/>
                  <a:pt x="647654" y="1076267"/>
                </a:cubicBezTo>
                <a:cubicBezTo>
                  <a:pt x="643515" y="1045124"/>
                  <a:pt x="633172" y="1016714"/>
                  <a:pt x="610267" y="994126"/>
                </a:cubicBezTo>
                <a:cubicBezTo>
                  <a:pt x="597451" y="981485"/>
                  <a:pt x="584392" y="969090"/>
                  <a:pt x="571459" y="956568"/>
                </a:cubicBezTo>
                <a:cubicBezTo>
                  <a:pt x="555751" y="941359"/>
                  <a:pt x="544836" y="923558"/>
                  <a:pt x="541653" y="901544"/>
                </a:cubicBezTo>
                <a:cubicBezTo>
                  <a:pt x="541430" y="900007"/>
                  <a:pt x="540528" y="898570"/>
                  <a:pt x="539477" y="895908"/>
                </a:cubicBezTo>
                <a:cubicBezTo>
                  <a:pt x="479736" y="901652"/>
                  <a:pt x="419815" y="904536"/>
                  <a:pt x="357446" y="903795"/>
                </a:cubicBezTo>
                <a:moveTo>
                  <a:pt x="300108" y="85260"/>
                </a:moveTo>
                <a:cubicBezTo>
                  <a:pt x="293656" y="98745"/>
                  <a:pt x="289202" y="113094"/>
                  <a:pt x="290213" y="127888"/>
                </a:cubicBezTo>
                <a:cubicBezTo>
                  <a:pt x="292527" y="161736"/>
                  <a:pt x="304185" y="191723"/>
                  <a:pt x="331056" y="214168"/>
                </a:cubicBezTo>
                <a:cubicBezTo>
                  <a:pt x="358172" y="236816"/>
                  <a:pt x="388435" y="249934"/>
                  <a:pt x="424717" y="245160"/>
                </a:cubicBezTo>
                <a:cubicBezTo>
                  <a:pt x="468593" y="239387"/>
                  <a:pt x="509574" y="203365"/>
                  <a:pt x="496752" y="141256"/>
                </a:cubicBezTo>
                <a:cubicBezTo>
                  <a:pt x="487021" y="94124"/>
                  <a:pt x="447261" y="51874"/>
                  <a:pt x="390320" y="43995"/>
                </a:cubicBezTo>
                <a:cubicBezTo>
                  <a:pt x="353241" y="38865"/>
                  <a:pt x="321136" y="48750"/>
                  <a:pt x="300108" y="85260"/>
                </a:cubicBezTo>
                <a:moveTo>
                  <a:pt x="343360" y="634332"/>
                </a:moveTo>
                <a:cubicBezTo>
                  <a:pt x="342539" y="666975"/>
                  <a:pt x="341785" y="699619"/>
                  <a:pt x="340877" y="732259"/>
                </a:cubicBezTo>
                <a:cubicBezTo>
                  <a:pt x="340151" y="758355"/>
                  <a:pt x="339265" y="784447"/>
                  <a:pt x="338360" y="810538"/>
                </a:cubicBezTo>
                <a:cubicBezTo>
                  <a:pt x="338277" y="812948"/>
                  <a:pt x="337465" y="815325"/>
                  <a:pt x="337115" y="817736"/>
                </a:cubicBezTo>
                <a:cubicBezTo>
                  <a:pt x="334935" y="832710"/>
                  <a:pt x="336026" y="847647"/>
                  <a:pt x="336516" y="863022"/>
                </a:cubicBezTo>
                <a:cubicBezTo>
                  <a:pt x="339537" y="863479"/>
                  <a:pt x="341490" y="864053"/>
                  <a:pt x="343436" y="864027"/>
                </a:cubicBezTo>
                <a:cubicBezTo>
                  <a:pt x="364531" y="863739"/>
                  <a:pt x="385626" y="863422"/>
                  <a:pt x="406718" y="862982"/>
                </a:cubicBezTo>
                <a:cubicBezTo>
                  <a:pt x="423444" y="862634"/>
                  <a:pt x="440168" y="861675"/>
                  <a:pt x="456888" y="861794"/>
                </a:cubicBezTo>
                <a:cubicBezTo>
                  <a:pt x="469887" y="861886"/>
                  <a:pt x="482872" y="863302"/>
                  <a:pt x="495873" y="863963"/>
                </a:cubicBezTo>
                <a:cubicBezTo>
                  <a:pt x="500358" y="864191"/>
                  <a:pt x="505108" y="864773"/>
                  <a:pt x="509286" y="863595"/>
                </a:cubicBezTo>
                <a:cubicBezTo>
                  <a:pt x="512346" y="862732"/>
                  <a:pt x="515714" y="859703"/>
                  <a:pt x="516956" y="856791"/>
                </a:cubicBezTo>
                <a:cubicBezTo>
                  <a:pt x="517783" y="854851"/>
                  <a:pt x="515475" y="851192"/>
                  <a:pt x="513920" y="848709"/>
                </a:cubicBezTo>
                <a:cubicBezTo>
                  <a:pt x="511791" y="845308"/>
                  <a:pt x="508393" y="842606"/>
                  <a:pt x="506683" y="839054"/>
                </a:cubicBezTo>
                <a:cubicBezTo>
                  <a:pt x="500331" y="825864"/>
                  <a:pt x="493224" y="812855"/>
                  <a:pt x="488629" y="799037"/>
                </a:cubicBezTo>
                <a:cubicBezTo>
                  <a:pt x="477322" y="765031"/>
                  <a:pt x="466537" y="730814"/>
                  <a:pt x="456922" y="696297"/>
                </a:cubicBezTo>
                <a:cubicBezTo>
                  <a:pt x="449953" y="671276"/>
                  <a:pt x="443477" y="646020"/>
                  <a:pt x="441346" y="619885"/>
                </a:cubicBezTo>
                <a:cubicBezTo>
                  <a:pt x="440327" y="607371"/>
                  <a:pt x="437466" y="595018"/>
                  <a:pt x="435963" y="582529"/>
                </a:cubicBezTo>
                <a:cubicBezTo>
                  <a:pt x="433539" y="562380"/>
                  <a:pt x="431154" y="542212"/>
                  <a:pt x="429497" y="521990"/>
                </a:cubicBezTo>
                <a:cubicBezTo>
                  <a:pt x="428135" y="505363"/>
                  <a:pt x="428437" y="488593"/>
                  <a:pt x="426887" y="471989"/>
                </a:cubicBezTo>
                <a:cubicBezTo>
                  <a:pt x="425874" y="461140"/>
                  <a:pt x="424983" y="461120"/>
                  <a:pt x="413744" y="461077"/>
                </a:cubicBezTo>
                <a:cubicBezTo>
                  <a:pt x="393687" y="461000"/>
                  <a:pt x="373630" y="461011"/>
                  <a:pt x="353573" y="461120"/>
                </a:cubicBezTo>
                <a:cubicBezTo>
                  <a:pt x="350472" y="461137"/>
                  <a:pt x="347374" y="461869"/>
                  <a:pt x="344160" y="462286"/>
                </a:cubicBezTo>
                <a:cubicBezTo>
                  <a:pt x="343828" y="465198"/>
                  <a:pt x="343406" y="467195"/>
                  <a:pt x="343404" y="469192"/>
                </a:cubicBezTo>
                <a:cubicBezTo>
                  <a:pt x="343360" y="504394"/>
                  <a:pt x="343267" y="539596"/>
                  <a:pt x="343469" y="574797"/>
                </a:cubicBezTo>
                <a:cubicBezTo>
                  <a:pt x="343501" y="580426"/>
                  <a:pt x="345652" y="586065"/>
                  <a:pt x="345522" y="591669"/>
                </a:cubicBezTo>
                <a:cubicBezTo>
                  <a:pt x="345214" y="605082"/>
                  <a:pt x="344131" y="618478"/>
                  <a:pt x="343360" y="634332"/>
                </a:cubicBezTo>
                <a:moveTo>
                  <a:pt x="416946" y="385943"/>
                </a:moveTo>
                <a:cubicBezTo>
                  <a:pt x="411661" y="386365"/>
                  <a:pt x="406384" y="387006"/>
                  <a:pt x="401091" y="387162"/>
                </a:cubicBezTo>
                <a:cubicBezTo>
                  <a:pt x="390470" y="387477"/>
                  <a:pt x="379841" y="387447"/>
                  <a:pt x="369218" y="387708"/>
                </a:cubicBezTo>
                <a:cubicBezTo>
                  <a:pt x="361167" y="387906"/>
                  <a:pt x="354429" y="391368"/>
                  <a:pt x="351833" y="398991"/>
                </a:cubicBezTo>
                <a:cubicBezTo>
                  <a:pt x="348989" y="407342"/>
                  <a:pt x="347050" y="416214"/>
                  <a:pt x="349778" y="426021"/>
                </a:cubicBezTo>
                <a:cubicBezTo>
                  <a:pt x="353876" y="426204"/>
                  <a:pt x="357857" y="426517"/>
                  <a:pt x="361839" y="426538"/>
                </a:cubicBezTo>
                <a:cubicBezTo>
                  <a:pt x="392900" y="426701"/>
                  <a:pt x="423961" y="426826"/>
                  <a:pt x="455022" y="426922"/>
                </a:cubicBezTo>
                <a:cubicBezTo>
                  <a:pt x="464013" y="426950"/>
                  <a:pt x="473106" y="427654"/>
                  <a:pt x="481958" y="426527"/>
                </a:cubicBezTo>
                <a:cubicBezTo>
                  <a:pt x="488144" y="425740"/>
                  <a:pt x="494821" y="423501"/>
                  <a:pt x="499817" y="419888"/>
                </a:cubicBezTo>
                <a:cubicBezTo>
                  <a:pt x="507869" y="414066"/>
                  <a:pt x="507286" y="406755"/>
                  <a:pt x="499439" y="400719"/>
                </a:cubicBezTo>
                <a:cubicBezTo>
                  <a:pt x="490179" y="393597"/>
                  <a:pt x="479486" y="388885"/>
                  <a:pt x="468062" y="387775"/>
                </a:cubicBezTo>
                <a:cubicBezTo>
                  <a:pt x="451873" y="386202"/>
                  <a:pt x="435520" y="386321"/>
                  <a:pt x="416946" y="385943"/>
                </a:cubicBezTo>
                <a:moveTo>
                  <a:pt x="636802" y="1190940"/>
                </a:moveTo>
                <a:cubicBezTo>
                  <a:pt x="646709" y="1188723"/>
                  <a:pt x="656705" y="1186841"/>
                  <a:pt x="666492" y="1184186"/>
                </a:cubicBezTo>
                <a:cubicBezTo>
                  <a:pt x="674710" y="1181958"/>
                  <a:pt x="676989" y="1178509"/>
                  <a:pt x="674465" y="1170880"/>
                </a:cubicBezTo>
                <a:cubicBezTo>
                  <a:pt x="671144" y="1160843"/>
                  <a:pt x="667026" y="1151009"/>
                  <a:pt x="662462" y="1141464"/>
                </a:cubicBezTo>
                <a:cubicBezTo>
                  <a:pt x="659273" y="1134795"/>
                  <a:pt x="653671" y="1130908"/>
                  <a:pt x="645564" y="1131937"/>
                </a:cubicBezTo>
                <a:cubicBezTo>
                  <a:pt x="639532" y="1132703"/>
                  <a:pt x="633423" y="1132867"/>
                  <a:pt x="627387" y="1133618"/>
                </a:cubicBezTo>
                <a:cubicBezTo>
                  <a:pt x="612888" y="1135421"/>
                  <a:pt x="598449" y="1137770"/>
                  <a:pt x="583917" y="1139222"/>
                </a:cubicBezTo>
                <a:cubicBezTo>
                  <a:pt x="570571" y="1140557"/>
                  <a:pt x="557130" y="1140930"/>
                  <a:pt x="543741" y="1141869"/>
                </a:cubicBezTo>
                <a:cubicBezTo>
                  <a:pt x="533202" y="1142610"/>
                  <a:pt x="522682" y="1143623"/>
                  <a:pt x="512146" y="1144418"/>
                </a:cubicBezTo>
                <a:cubicBezTo>
                  <a:pt x="490671" y="1146038"/>
                  <a:pt x="469214" y="1148450"/>
                  <a:pt x="447711" y="1148973"/>
                </a:cubicBezTo>
                <a:cubicBezTo>
                  <a:pt x="415817" y="1149749"/>
                  <a:pt x="383891" y="1149136"/>
                  <a:pt x="351979" y="1149200"/>
                </a:cubicBezTo>
                <a:cubicBezTo>
                  <a:pt x="347698" y="1149209"/>
                  <a:pt x="343419" y="1149717"/>
                  <a:pt x="338443" y="1150040"/>
                </a:cubicBezTo>
                <a:cubicBezTo>
                  <a:pt x="338443" y="1164651"/>
                  <a:pt x="338413" y="1177715"/>
                  <a:pt x="338451" y="1190780"/>
                </a:cubicBezTo>
                <a:cubicBezTo>
                  <a:pt x="338490" y="1204031"/>
                  <a:pt x="338512" y="1204062"/>
                  <a:pt x="351082" y="1207015"/>
                </a:cubicBezTo>
                <a:cubicBezTo>
                  <a:pt x="353445" y="1207570"/>
                  <a:pt x="355895" y="1208128"/>
                  <a:pt x="358298" y="1208094"/>
                </a:cubicBezTo>
                <a:cubicBezTo>
                  <a:pt x="412608" y="1207329"/>
                  <a:pt x="466919" y="1206484"/>
                  <a:pt x="521229" y="1205646"/>
                </a:cubicBezTo>
                <a:cubicBezTo>
                  <a:pt x="522045" y="1205634"/>
                  <a:pt x="522865" y="1205591"/>
                  <a:pt x="523675" y="1205490"/>
                </a:cubicBezTo>
                <a:cubicBezTo>
                  <a:pt x="542593" y="1203123"/>
                  <a:pt x="561519" y="1200820"/>
                  <a:pt x="580423" y="1198350"/>
                </a:cubicBezTo>
                <a:cubicBezTo>
                  <a:pt x="598523" y="1195985"/>
                  <a:pt x="616599" y="1193446"/>
                  <a:pt x="636802" y="1190940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8" name="Free-form: Shape 77">
            <a:extLst>
              <a:ext uri="{FF2B5EF4-FFF2-40B4-BE49-F238E27FC236}">
                <a16:creationId xmlns:a16="http://schemas.microsoft.com/office/drawing/2014/main" id="{7CD93E9B-5BBD-67F2-0F3C-153C8FF65E95}"/>
              </a:ext>
            </a:extLst>
          </p:cNvPr>
          <p:cNvSpPr/>
          <p:nvPr/>
        </p:nvSpPr>
        <p:spPr>
          <a:xfrm>
            <a:off x="1949185" y="5205338"/>
            <a:ext cx="17183" cy="1817"/>
          </a:xfrm>
          <a:custGeom>
            <a:avLst/>
            <a:gdLst>
              <a:gd name="csX0" fmla="*/ 0 w 27674"/>
              <a:gd name="csY0" fmla="*/ 2915 h 2925"/>
              <a:gd name="csX1" fmla="*/ 27675 w 27674"/>
              <a:gd name="csY1" fmla="*/ 1550 h 2925"/>
              <a:gd name="csX2" fmla="*/ 0 w 27674"/>
              <a:gd name="csY2" fmla="*/ 2915 h 292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27674" h="2925">
                <a:moveTo>
                  <a:pt x="0" y="2915"/>
                </a:moveTo>
                <a:cubicBezTo>
                  <a:pt x="8211" y="-1939"/>
                  <a:pt x="17625" y="498"/>
                  <a:pt x="27675" y="1550"/>
                </a:cubicBezTo>
                <a:cubicBezTo>
                  <a:pt x="19225" y="2593"/>
                  <a:pt x="10029" y="2999"/>
                  <a:pt x="0" y="2915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9" name="Free-form: Shape 78">
            <a:extLst>
              <a:ext uri="{FF2B5EF4-FFF2-40B4-BE49-F238E27FC236}">
                <a16:creationId xmlns:a16="http://schemas.microsoft.com/office/drawing/2014/main" id="{33FBCC23-27DE-5B8C-3DA0-DBB4221DB4C1}"/>
              </a:ext>
            </a:extLst>
          </p:cNvPr>
          <p:cNvSpPr/>
          <p:nvPr/>
        </p:nvSpPr>
        <p:spPr>
          <a:xfrm>
            <a:off x="1901881" y="5206362"/>
            <a:ext cx="11179" cy="700"/>
          </a:xfrm>
          <a:custGeom>
            <a:avLst/>
            <a:gdLst>
              <a:gd name="csX0" fmla="*/ 0 w 18003"/>
              <a:gd name="csY0" fmla="*/ 1050 h 1128"/>
              <a:gd name="csX1" fmla="*/ 18004 w 18003"/>
              <a:gd name="csY1" fmla="*/ 93 h 1128"/>
              <a:gd name="csX2" fmla="*/ 0 w 18003"/>
              <a:gd name="csY2" fmla="*/ 1050 h 112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8003" h="1128">
                <a:moveTo>
                  <a:pt x="0" y="1050"/>
                </a:moveTo>
                <a:cubicBezTo>
                  <a:pt x="5276" y="182"/>
                  <a:pt x="11306" y="-189"/>
                  <a:pt x="18004" y="93"/>
                </a:cubicBezTo>
                <a:cubicBezTo>
                  <a:pt x="12699" y="1013"/>
                  <a:pt x="6726" y="1280"/>
                  <a:pt x="0" y="1050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0" name="Free-form: Shape 79">
            <a:extLst>
              <a:ext uri="{FF2B5EF4-FFF2-40B4-BE49-F238E27FC236}">
                <a16:creationId xmlns:a16="http://schemas.microsoft.com/office/drawing/2014/main" id="{3003F433-044F-CE8F-EA83-C057DAD8EE33}"/>
              </a:ext>
            </a:extLst>
          </p:cNvPr>
          <p:cNvSpPr/>
          <p:nvPr/>
        </p:nvSpPr>
        <p:spPr>
          <a:xfrm>
            <a:off x="1982848" y="4639562"/>
            <a:ext cx="5257" cy="4867"/>
          </a:xfrm>
          <a:custGeom>
            <a:avLst/>
            <a:gdLst>
              <a:gd name="csX0" fmla="*/ 473 w 8466"/>
              <a:gd name="csY0" fmla="*/ 7839 h 7838"/>
              <a:gd name="csX1" fmla="*/ 8466 w 8466"/>
              <a:gd name="csY1" fmla="*/ 61 h 7838"/>
              <a:gd name="csX2" fmla="*/ 473 w 8466"/>
              <a:gd name="csY2" fmla="*/ 7839 h 783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66" h="7838">
                <a:moveTo>
                  <a:pt x="473" y="7839"/>
                </a:moveTo>
                <a:cubicBezTo>
                  <a:pt x="-1298" y="1550"/>
                  <a:pt x="2020" y="-386"/>
                  <a:pt x="8466" y="61"/>
                </a:cubicBezTo>
                <a:cubicBezTo>
                  <a:pt x="6730" y="2845"/>
                  <a:pt x="4026" y="5401"/>
                  <a:pt x="473" y="7839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1" name="Free-form: Shape 80">
            <a:extLst>
              <a:ext uri="{FF2B5EF4-FFF2-40B4-BE49-F238E27FC236}">
                <a16:creationId xmlns:a16="http://schemas.microsoft.com/office/drawing/2014/main" id="{51BA9F89-3613-359A-560B-75118A37D076}"/>
              </a:ext>
            </a:extLst>
          </p:cNvPr>
          <p:cNvSpPr/>
          <p:nvPr/>
        </p:nvSpPr>
        <p:spPr>
          <a:xfrm>
            <a:off x="1846852" y="5204848"/>
            <a:ext cx="5265" cy="618"/>
          </a:xfrm>
          <a:custGeom>
            <a:avLst/>
            <a:gdLst>
              <a:gd name="csX0" fmla="*/ 0 w 8480"/>
              <a:gd name="csY0" fmla="*/ 896 h 996"/>
              <a:gd name="csX1" fmla="*/ 8480 w 8480"/>
              <a:gd name="csY1" fmla="*/ 110 h 996"/>
              <a:gd name="csX2" fmla="*/ 0 w 8480"/>
              <a:gd name="csY2" fmla="*/ 896 h 99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80" h="996">
                <a:moveTo>
                  <a:pt x="0" y="896"/>
                </a:moveTo>
                <a:cubicBezTo>
                  <a:pt x="2285" y="115"/>
                  <a:pt x="5130" y="-182"/>
                  <a:pt x="8480" y="110"/>
                </a:cubicBezTo>
                <a:cubicBezTo>
                  <a:pt x="6177" y="927"/>
                  <a:pt x="3368" y="1153"/>
                  <a:pt x="0" y="896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2" name="Free-form: Shape 81">
            <a:extLst>
              <a:ext uri="{FF2B5EF4-FFF2-40B4-BE49-F238E27FC236}">
                <a16:creationId xmlns:a16="http://schemas.microsoft.com/office/drawing/2014/main" id="{8301569A-7F9F-FA33-F23E-73129BBB9EFE}"/>
              </a:ext>
            </a:extLst>
          </p:cNvPr>
          <p:cNvSpPr/>
          <p:nvPr/>
        </p:nvSpPr>
        <p:spPr>
          <a:xfrm>
            <a:off x="2133613" y="5178319"/>
            <a:ext cx="763" cy="4134"/>
          </a:xfrm>
          <a:custGeom>
            <a:avLst/>
            <a:gdLst>
              <a:gd name="csX0" fmla="*/ 132 w 1229"/>
              <a:gd name="csY0" fmla="*/ 6659 h 6658"/>
              <a:gd name="csX1" fmla="*/ 1107 w 1229"/>
              <a:gd name="csY1" fmla="*/ 0 h 6658"/>
              <a:gd name="csX2" fmla="*/ 132 w 1229"/>
              <a:gd name="csY2" fmla="*/ 6659 h 665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229" h="6658">
                <a:moveTo>
                  <a:pt x="132" y="6659"/>
                </a:moveTo>
                <a:cubicBezTo>
                  <a:pt x="-219" y="4616"/>
                  <a:pt x="139" y="2560"/>
                  <a:pt x="1107" y="0"/>
                </a:cubicBezTo>
                <a:cubicBezTo>
                  <a:pt x="1425" y="1879"/>
                  <a:pt x="1133" y="4263"/>
                  <a:pt x="132" y="6659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3" name="Free-form: Shape 82">
            <a:extLst>
              <a:ext uri="{FF2B5EF4-FFF2-40B4-BE49-F238E27FC236}">
                <a16:creationId xmlns:a16="http://schemas.microsoft.com/office/drawing/2014/main" id="{30372967-CFD8-70DB-A7D0-8CA27CB684D6}"/>
              </a:ext>
            </a:extLst>
          </p:cNvPr>
          <p:cNvSpPr/>
          <p:nvPr/>
        </p:nvSpPr>
        <p:spPr>
          <a:xfrm>
            <a:off x="2066417" y="5198596"/>
            <a:ext cx="2352" cy="847"/>
          </a:xfrm>
          <a:custGeom>
            <a:avLst/>
            <a:gdLst>
              <a:gd name="csX0" fmla="*/ 0 w 3788"/>
              <a:gd name="csY0" fmla="*/ 1364 h 1364"/>
              <a:gd name="csX1" fmla="*/ 3788 w 3788"/>
              <a:gd name="csY1" fmla="*/ 0 h 1364"/>
              <a:gd name="csX2" fmla="*/ 0 w 3788"/>
              <a:gd name="csY2" fmla="*/ 1364 h 136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788" h="1364">
                <a:moveTo>
                  <a:pt x="0" y="1364"/>
                </a:moveTo>
                <a:cubicBezTo>
                  <a:pt x="856" y="517"/>
                  <a:pt x="2126" y="39"/>
                  <a:pt x="3788" y="0"/>
                </a:cubicBezTo>
                <a:cubicBezTo>
                  <a:pt x="2925" y="870"/>
                  <a:pt x="1670" y="1303"/>
                  <a:pt x="0" y="1364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4" name="Free-form: Shape 83">
            <a:extLst>
              <a:ext uri="{FF2B5EF4-FFF2-40B4-BE49-F238E27FC236}">
                <a16:creationId xmlns:a16="http://schemas.microsoft.com/office/drawing/2014/main" id="{5A30AAB1-6781-A6D5-E7BF-AE79356C7105}"/>
              </a:ext>
            </a:extLst>
          </p:cNvPr>
          <p:cNvSpPr/>
          <p:nvPr/>
        </p:nvSpPr>
        <p:spPr>
          <a:xfrm>
            <a:off x="1794834" y="5201870"/>
            <a:ext cx="2478" cy="515"/>
          </a:xfrm>
          <a:custGeom>
            <a:avLst/>
            <a:gdLst>
              <a:gd name="csX0" fmla="*/ 0 w 3990"/>
              <a:gd name="csY0" fmla="*/ 719 h 829"/>
              <a:gd name="csX1" fmla="*/ 3990 w 3990"/>
              <a:gd name="csY1" fmla="*/ 119 h 829"/>
              <a:gd name="csX2" fmla="*/ 0 w 3990"/>
              <a:gd name="csY2" fmla="*/ 719 h 82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990" h="829">
                <a:moveTo>
                  <a:pt x="0" y="719"/>
                </a:moveTo>
                <a:cubicBezTo>
                  <a:pt x="982" y="66"/>
                  <a:pt x="2323" y="-163"/>
                  <a:pt x="3990" y="119"/>
                </a:cubicBezTo>
                <a:cubicBezTo>
                  <a:pt x="2998" y="800"/>
                  <a:pt x="1678" y="972"/>
                  <a:pt x="0" y="719"/>
                </a:cubicBezTo>
                <a:close/>
              </a:path>
            </a:pathLst>
          </a:custGeom>
          <a:solidFill>
            <a:srgbClr val="959DA0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5" name="Free-form: Shape 84">
            <a:extLst>
              <a:ext uri="{FF2B5EF4-FFF2-40B4-BE49-F238E27FC236}">
                <a16:creationId xmlns:a16="http://schemas.microsoft.com/office/drawing/2014/main" id="{0D80E8AA-7FD8-C6DC-F981-64CDAB9432E0}"/>
              </a:ext>
            </a:extLst>
          </p:cNvPr>
          <p:cNvSpPr/>
          <p:nvPr/>
        </p:nvSpPr>
        <p:spPr>
          <a:xfrm>
            <a:off x="2005382" y="5204826"/>
            <a:ext cx="2417" cy="705"/>
          </a:xfrm>
          <a:custGeom>
            <a:avLst/>
            <a:gdLst>
              <a:gd name="csX0" fmla="*/ 0 w 3893"/>
              <a:gd name="csY0" fmla="*/ 1133 h 1135"/>
              <a:gd name="csX1" fmla="*/ 3893 w 3893"/>
              <a:gd name="csY1" fmla="*/ 7 h 1135"/>
              <a:gd name="csX2" fmla="*/ 0 w 3893"/>
              <a:gd name="csY2" fmla="*/ 1133 h 113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893" h="1135">
                <a:moveTo>
                  <a:pt x="0" y="1133"/>
                </a:moveTo>
                <a:cubicBezTo>
                  <a:pt x="902" y="349"/>
                  <a:pt x="2213" y="-60"/>
                  <a:pt x="3893" y="7"/>
                </a:cubicBezTo>
                <a:cubicBezTo>
                  <a:pt x="2978" y="825"/>
                  <a:pt x="1693" y="1167"/>
                  <a:pt x="0" y="1133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6" name="Free-form: Shape 85">
            <a:extLst>
              <a:ext uri="{FF2B5EF4-FFF2-40B4-BE49-F238E27FC236}">
                <a16:creationId xmlns:a16="http://schemas.microsoft.com/office/drawing/2014/main" id="{072A32BC-79CA-F13D-045E-DA85A819363E}"/>
              </a:ext>
            </a:extLst>
          </p:cNvPr>
          <p:cNvSpPr/>
          <p:nvPr/>
        </p:nvSpPr>
        <p:spPr>
          <a:xfrm>
            <a:off x="1905786" y="4720162"/>
            <a:ext cx="112588" cy="250407"/>
          </a:xfrm>
          <a:custGeom>
            <a:avLst/>
            <a:gdLst>
              <a:gd name="csX0" fmla="*/ 7554 w 181323"/>
              <a:gd name="csY0" fmla="*/ 172079 h 403282"/>
              <a:gd name="csX1" fmla="*/ 9716 w 181323"/>
              <a:gd name="csY1" fmla="*/ 130641 h 403282"/>
              <a:gd name="csX2" fmla="*/ 7663 w 181323"/>
              <a:gd name="csY2" fmla="*/ 113770 h 403282"/>
              <a:gd name="csX3" fmla="*/ 7598 w 181323"/>
              <a:gd name="csY3" fmla="*/ 8165 h 403282"/>
              <a:gd name="csX4" fmla="*/ 8353 w 181323"/>
              <a:gd name="csY4" fmla="*/ 1259 h 403282"/>
              <a:gd name="csX5" fmla="*/ 17767 w 181323"/>
              <a:gd name="csY5" fmla="*/ 93 h 403282"/>
              <a:gd name="csX6" fmla="*/ 77938 w 181323"/>
              <a:gd name="csY6" fmla="*/ 50 h 403282"/>
              <a:gd name="csX7" fmla="*/ 91081 w 181323"/>
              <a:gd name="csY7" fmla="*/ 10962 h 403282"/>
              <a:gd name="csX8" fmla="*/ 93691 w 181323"/>
              <a:gd name="csY8" fmla="*/ 60963 h 403282"/>
              <a:gd name="csX9" fmla="*/ 100157 w 181323"/>
              <a:gd name="csY9" fmla="*/ 121501 h 403282"/>
              <a:gd name="csX10" fmla="*/ 105540 w 181323"/>
              <a:gd name="csY10" fmla="*/ 158857 h 403282"/>
              <a:gd name="csX11" fmla="*/ 121116 w 181323"/>
              <a:gd name="csY11" fmla="*/ 235269 h 403282"/>
              <a:gd name="csX12" fmla="*/ 152823 w 181323"/>
              <a:gd name="csY12" fmla="*/ 338010 h 403282"/>
              <a:gd name="csX13" fmla="*/ 170877 w 181323"/>
              <a:gd name="csY13" fmla="*/ 378027 h 403282"/>
              <a:gd name="csX14" fmla="*/ 178114 w 181323"/>
              <a:gd name="csY14" fmla="*/ 387682 h 403282"/>
              <a:gd name="csX15" fmla="*/ 181150 w 181323"/>
              <a:gd name="csY15" fmla="*/ 395764 h 403282"/>
              <a:gd name="csX16" fmla="*/ 173480 w 181323"/>
              <a:gd name="csY16" fmla="*/ 402568 h 403282"/>
              <a:gd name="csX17" fmla="*/ 160067 w 181323"/>
              <a:gd name="csY17" fmla="*/ 402936 h 403282"/>
              <a:gd name="csX18" fmla="*/ 121081 w 181323"/>
              <a:gd name="csY18" fmla="*/ 400766 h 403282"/>
              <a:gd name="csX19" fmla="*/ 70912 w 181323"/>
              <a:gd name="csY19" fmla="*/ 401955 h 403282"/>
              <a:gd name="csX20" fmla="*/ 7630 w 181323"/>
              <a:gd name="csY20" fmla="*/ 402999 h 403282"/>
              <a:gd name="csX21" fmla="*/ 710 w 181323"/>
              <a:gd name="csY21" fmla="*/ 401995 h 403282"/>
              <a:gd name="csX22" fmla="*/ 1308 w 181323"/>
              <a:gd name="csY22" fmla="*/ 356708 h 403282"/>
              <a:gd name="csX23" fmla="*/ 2554 w 181323"/>
              <a:gd name="csY23" fmla="*/ 349510 h 403282"/>
              <a:gd name="csX24" fmla="*/ 5071 w 181323"/>
              <a:gd name="csY24" fmla="*/ 271231 h 403282"/>
              <a:gd name="csX25" fmla="*/ 7554 w 181323"/>
              <a:gd name="csY25" fmla="*/ 172079 h 403282"/>
              <a:gd name="csX26" fmla="*/ 98286 w 181323"/>
              <a:gd name="csY26" fmla="*/ 163566 h 403282"/>
              <a:gd name="csX27" fmla="*/ 83497 w 181323"/>
              <a:gd name="csY27" fmla="*/ 8289 h 403282"/>
              <a:gd name="csX28" fmla="*/ 15161 w 181323"/>
              <a:gd name="csY28" fmla="*/ 9148 h 403282"/>
              <a:gd name="csX29" fmla="*/ 15058 w 181323"/>
              <a:gd name="csY29" fmla="*/ 137939 h 403282"/>
              <a:gd name="csX30" fmla="*/ 12252 w 181323"/>
              <a:gd name="csY30" fmla="*/ 266862 h 403282"/>
              <a:gd name="csX31" fmla="*/ 7068 w 181323"/>
              <a:gd name="csY31" fmla="*/ 395996 h 403282"/>
              <a:gd name="csX32" fmla="*/ 171647 w 181323"/>
              <a:gd name="csY32" fmla="*/ 395996 h 403282"/>
              <a:gd name="csX33" fmla="*/ 119950 w 181323"/>
              <a:gd name="csY33" fmla="*/ 259496 h 403282"/>
              <a:gd name="csX34" fmla="*/ 98286 w 181323"/>
              <a:gd name="csY34" fmla="*/ 163566 h 40328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</a:cxnLst>
            <a:rect l="l" t="t" r="r" b="b"/>
            <a:pathLst>
              <a:path w="181323" h="403282">
                <a:moveTo>
                  <a:pt x="7554" y="172079"/>
                </a:moveTo>
                <a:cubicBezTo>
                  <a:pt x="8325" y="157451"/>
                  <a:pt x="9408" y="144055"/>
                  <a:pt x="9716" y="130641"/>
                </a:cubicBezTo>
                <a:cubicBezTo>
                  <a:pt x="9846" y="125037"/>
                  <a:pt x="7695" y="119399"/>
                  <a:pt x="7663" y="113770"/>
                </a:cubicBezTo>
                <a:cubicBezTo>
                  <a:pt x="7461" y="78569"/>
                  <a:pt x="7554" y="43367"/>
                  <a:pt x="7598" y="8165"/>
                </a:cubicBezTo>
                <a:cubicBezTo>
                  <a:pt x="7600" y="6167"/>
                  <a:pt x="8022" y="4170"/>
                  <a:pt x="8353" y="1259"/>
                </a:cubicBezTo>
                <a:cubicBezTo>
                  <a:pt x="11568" y="842"/>
                  <a:pt x="14666" y="109"/>
                  <a:pt x="17767" y="93"/>
                </a:cubicBezTo>
                <a:cubicBezTo>
                  <a:pt x="37824" y="-17"/>
                  <a:pt x="57881" y="-27"/>
                  <a:pt x="77938" y="50"/>
                </a:cubicBezTo>
                <a:cubicBezTo>
                  <a:pt x="89177" y="93"/>
                  <a:pt x="90068" y="113"/>
                  <a:pt x="91081" y="10962"/>
                </a:cubicBezTo>
                <a:cubicBezTo>
                  <a:pt x="92631" y="27565"/>
                  <a:pt x="92329" y="44335"/>
                  <a:pt x="93691" y="60963"/>
                </a:cubicBezTo>
                <a:cubicBezTo>
                  <a:pt x="95348" y="81184"/>
                  <a:pt x="97732" y="101353"/>
                  <a:pt x="100157" y="121501"/>
                </a:cubicBezTo>
                <a:cubicBezTo>
                  <a:pt x="101660" y="133990"/>
                  <a:pt x="104521" y="146343"/>
                  <a:pt x="105540" y="158857"/>
                </a:cubicBezTo>
                <a:cubicBezTo>
                  <a:pt x="107671" y="184993"/>
                  <a:pt x="114147" y="210249"/>
                  <a:pt x="121116" y="235269"/>
                </a:cubicBezTo>
                <a:cubicBezTo>
                  <a:pt x="130731" y="269786"/>
                  <a:pt x="141516" y="304004"/>
                  <a:pt x="152823" y="338010"/>
                </a:cubicBezTo>
                <a:cubicBezTo>
                  <a:pt x="157418" y="351828"/>
                  <a:pt x="164524" y="364837"/>
                  <a:pt x="170877" y="378027"/>
                </a:cubicBezTo>
                <a:cubicBezTo>
                  <a:pt x="172587" y="381579"/>
                  <a:pt x="175985" y="384280"/>
                  <a:pt x="178114" y="387682"/>
                </a:cubicBezTo>
                <a:cubicBezTo>
                  <a:pt x="179669" y="390165"/>
                  <a:pt x="181977" y="393824"/>
                  <a:pt x="181150" y="395764"/>
                </a:cubicBezTo>
                <a:cubicBezTo>
                  <a:pt x="179907" y="398676"/>
                  <a:pt x="176540" y="401705"/>
                  <a:pt x="173480" y="402568"/>
                </a:cubicBezTo>
                <a:cubicBezTo>
                  <a:pt x="169302" y="403746"/>
                  <a:pt x="164551" y="403164"/>
                  <a:pt x="160067" y="402936"/>
                </a:cubicBezTo>
                <a:cubicBezTo>
                  <a:pt x="147066" y="402274"/>
                  <a:pt x="134081" y="400859"/>
                  <a:pt x="121081" y="400766"/>
                </a:cubicBezTo>
                <a:cubicBezTo>
                  <a:pt x="104362" y="400647"/>
                  <a:pt x="87638" y="401607"/>
                  <a:pt x="70912" y="401955"/>
                </a:cubicBezTo>
                <a:cubicBezTo>
                  <a:pt x="49820" y="402394"/>
                  <a:pt x="28725" y="402712"/>
                  <a:pt x="7630" y="402999"/>
                </a:cubicBezTo>
                <a:cubicBezTo>
                  <a:pt x="5684" y="403026"/>
                  <a:pt x="3731" y="402452"/>
                  <a:pt x="710" y="401995"/>
                </a:cubicBezTo>
                <a:cubicBezTo>
                  <a:pt x="219" y="386620"/>
                  <a:pt x="-871" y="371682"/>
                  <a:pt x="1308" y="356708"/>
                </a:cubicBezTo>
                <a:cubicBezTo>
                  <a:pt x="1659" y="354298"/>
                  <a:pt x="2471" y="351920"/>
                  <a:pt x="2554" y="349510"/>
                </a:cubicBezTo>
                <a:cubicBezTo>
                  <a:pt x="3459" y="323419"/>
                  <a:pt x="4345" y="297328"/>
                  <a:pt x="5071" y="271231"/>
                </a:cubicBezTo>
                <a:cubicBezTo>
                  <a:pt x="5979" y="238591"/>
                  <a:pt x="6733" y="205947"/>
                  <a:pt x="7554" y="172079"/>
                </a:cubicBezTo>
                <a:moveTo>
                  <a:pt x="98286" y="163566"/>
                </a:moveTo>
                <a:cubicBezTo>
                  <a:pt x="89288" y="112116"/>
                  <a:pt x="86355" y="60033"/>
                  <a:pt x="83497" y="8289"/>
                </a:cubicBezTo>
                <a:cubicBezTo>
                  <a:pt x="65606" y="5845"/>
                  <a:pt x="24110" y="6470"/>
                  <a:pt x="15161" y="9148"/>
                </a:cubicBezTo>
                <a:cubicBezTo>
                  <a:pt x="15161" y="52045"/>
                  <a:pt x="15527" y="94996"/>
                  <a:pt x="15058" y="137939"/>
                </a:cubicBezTo>
                <a:cubicBezTo>
                  <a:pt x="14587" y="180919"/>
                  <a:pt x="13597" y="223900"/>
                  <a:pt x="12252" y="266862"/>
                </a:cubicBezTo>
                <a:cubicBezTo>
                  <a:pt x="10912" y="309638"/>
                  <a:pt x="8849" y="352391"/>
                  <a:pt x="7068" y="395996"/>
                </a:cubicBezTo>
                <a:cubicBezTo>
                  <a:pt x="62774" y="395996"/>
                  <a:pt x="116821" y="395996"/>
                  <a:pt x="171647" y="395996"/>
                </a:cubicBezTo>
                <a:cubicBezTo>
                  <a:pt x="148550" y="352016"/>
                  <a:pt x="132566" y="306307"/>
                  <a:pt x="119950" y="259496"/>
                </a:cubicBezTo>
                <a:cubicBezTo>
                  <a:pt x="111608" y="228543"/>
                  <a:pt x="105493" y="196989"/>
                  <a:pt x="98286" y="163566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7" name="Free-form: Shape 86">
            <a:extLst>
              <a:ext uri="{FF2B5EF4-FFF2-40B4-BE49-F238E27FC236}">
                <a16:creationId xmlns:a16="http://schemas.microsoft.com/office/drawing/2014/main" id="{5CF92DF8-C15C-64DA-D1C8-F3FACA874410}"/>
              </a:ext>
            </a:extLst>
          </p:cNvPr>
          <p:cNvSpPr/>
          <p:nvPr/>
        </p:nvSpPr>
        <p:spPr>
          <a:xfrm>
            <a:off x="1907417" y="5136643"/>
            <a:ext cx="209255" cy="47389"/>
          </a:xfrm>
          <a:custGeom>
            <a:avLst/>
            <a:gdLst>
              <a:gd name="csX0" fmla="*/ 297312 w 337008"/>
              <a:gd name="csY0" fmla="*/ 59188 h 76321"/>
              <a:gd name="csX1" fmla="*/ 241991 w 337008"/>
              <a:gd name="csY1" fmla="*/ 66577 h 76321"/>
              <a:gd name="csX2" fmla="*/ 185243 w 337008"/>
              <a:gd name="csY2" fmla="*/ 73717 h 76321"/>
              <a:gd name="csX3" fmla="*/ 182797 w 337008"/>
              <a:gd name="csY3" fmla="*/ 73873 h 76321"/>
              <a:gd name="csX4" fmla="*/ 19866 w 337008"/>
              <a:gd name="csY4" fmla="*/ 76320 h 76321"/>
              <a:gd name="csX5" fmla="*/ 12650 w 337008"/>
              <a:gd name="csY5" fmla="*/ 75242 h 76321"/>
              <a:gd name="csX6" fmla="*/ 19 w 337008"/>
              <a:gd name="csY6" fmla="*/ 59006 h 76321"/>
              <a:gd name="csX7" fmla="*/ 11 w 337008"/>
              <a:gd name="csY7" fmla="*/ 18266 h 76321"/>
              <a:gd name="csX8" fmla="*/ 13547 w 337008"/>
              <a:gd name="csY8" fmla="*/ 17427 h 76321"/>
              <a:gd name="csX9" fmla="*/ 109279 w 337008"/>
              <a:gd name="csY9" fmla="*/ 17200 h 76321"/>
              <a:gd name="csX10" fmla="*/ 173714 w 337008"/>
              <a:gd name="csY10" fmla="*/ 12645 h 76321"/>
              <a:gd name="csX11" fmla="*/ 205309 w 337008"/>
              <a:gd name="csY11" fmla="*/ 10096 h 76321"/>
              <a:gd name="csX12" fmla="*/ 245485 w 337008"/>
              <a:gd name="csY12" fmla="*/ 7449 h 76321"/>
              <a:gd name="csX13" fmla="*/ 288955 w 337008"/>
              <a:gd name="csY13" fmla="*/ 1844 h 76321"/>
              <a:gd name="csX14" fmla="*/ 307132 w 337008"/>
              <a:gd name="csY14" fmla="*/ 164 h 76321"/>
              <a:gd name="csX15" fmla="*/ 324030 w 337008"/>
              <a:gd name="csY15" fmla="*/ 9691 h 76321"/>
              <a:gd name="csX16" fmla="*/ 336033 w 337008"/>
              <a:gd name="csY16" fmla="*/ 39107 h 76321"/>
              <a:gd name="csX17" fmla="*/ 328060 w 337008"/>
              <a:gd name="csY17" fmla="*/ 52413 h 76321"/>
              <a:gd name="csX18" fmla="*/ 297312 w 337008"/>
              <a:gd name="csY18" fmla="*/ 59188 h 76321"/>
              <a:gd name="csX19" fmla="*/ 207688 w 337008"/>
              <a:gd name="csY19" fmla="*/ 64284 h 76321"/>
              <a:gd name="csX20" fmla="*/ 330050 w 337008"/>
              <a:gd name="csY20" fmla="*/ 45606 h 76321"/>
              <a:gd name="csX21" fmla="*/ 317356 w 337008"/>
              <a:gd name="csY21" fmla="*/ 11297 h 76321"/>
              <a:gd name="csX22" fmla="*/ 304170 w 337008"/>
              <a:gd name="csY22" fmla="*/ 5545 h 76321"/>
              <a:gd name="csX23" fmla="*/ 273851 w 337008"/>
              <a:gd name="csY23" fmla="*/ 10014 h 76321"/>
              <a:gd name="csX24" fmla="*/ 163935 w 337008"/>
              <a:gd name="csY24" fmla="*/ 20274 h 76321"/>
              <a:gd name="csX25" fmla="*/ 17973 w 337008"/>
              <a:gd name="csY25" fmla="*/ 22950 h 76321"/>
              <a:gd name="csX26" fmla="*/ 7372 w 337008"/>
              <a:gd name="csY26" fmla="*/ 23601 h 76321"/>
              <a:gd name="csX27" fmla="*/ 7372 w 337008"/>
              <a:gd name="csY27" fmla="*/ 67898 h 76321"/>
              <a:gd name="csX28" fmla="*/ 207688 w 337008"/>
              <a:gd name="csY28" fmla="*/ 64284 h 7632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</a:cxnLst>
            <a:rect l="l" t="t" r="r" b="b"/>
            <a:pathLst>
              <a:path w="337008" h="76321">
                <a:moveTo>
                  <a:pt x="297312" y="59188"/>
                </a:moveTo>
                <a:cubicBezTo>
                  <a:pt x="278167" y="61672"/>
                  <a:pt x="260091" y="64212"/>
                  <a:pt x="241991" y="66577"/>
                </a:cubicBezTo>
                <a:cubicBezTo>
                  <a:pt x="223087" y="69047"/>
                  <a:pt x="204161" y="71350"/>
                  <a:pt x="185243" y="73717"/>
                </a:cubicBezTo>
                <a:cubicBezTo>
                  <a:pt x="184433" y="73818"/>
                  <a:pt x="183613" y="73861"/>
                  <a:pt x="182797" y="73873"/>
                </a:cubicBezTo>
                <a:cubicBezTo>
                  <a:pt x="128487" y="74710"/>
                  <a:pt x="74176" y="75556"/>
                  <a:pt x="19866" y="76320"/>
                </a:cubicBezTo>
                <a:cubicBezTo>
                  <a:pt x="17463" y="76354"/>
                  <a:pt x="15013" y="75797"/>
                  <a:pt x="12650" y="75242"/>
                </a:cubicBezTo>
                <a:cubicBezTo>
                  <a:pt x="80" y="72288"/>
                  <a:pt x="58" y="72258"/>
                  <a:pt x="19" y="59006"/>
                </a:cubicBezTo>
                <a:cubicBezTo>
                  <a:pt x="-19" y="45942"/>
                  <a:pt x="11" y="32877"/>
                  <a:pt x="11" y="18266"/>
                </a:cubicBezTo>
                <a:cubicBezTo>
                  <a:pt x="4987" y="17944"/>
                  <a:pt x="9266" y="17435"/>
                  <a:pt x="13547" y="17427"/>
                </a:cubicBezTo>
                <a:cubicBezTo>
                  <a:pt x="45459" y="17362"/>
                  <a:pt x="77385" y="17975"/>
                  <a:pt x="109279" y="17200"/>
                </a:cubicBezTo>
                <a:cubicBezTo>
                  <a:pt x="130782" y="16677"/>
                  <a:pt x="152239" y="14265"/>
                  <a:pt x="173714" y="12645"/>
                </a:cubicBezTo>
                <a:cubicBezTo>
                  <a:pt x="184250" y="11850"/>
                  <a:pt x="194770" y="10836"/>
                  <a:pt x="205309" y="10096"/>
                </a:cubicBezTo>
                <a:cubicBezTo>
                  <a:pt x="218698" y="9156"/>
                  <a:pt x="232139" y="8783"/>
                  <a:pt x="245485" y="7449"/>
                </a:cubicBezTo>
                <a:cubicBezTo>
                  <a:pt x="260017" y="5997"/>
                  <a:pt x="274456" y="3648"/>
                  <a:pt x="288955" y="1844"/>
                </a:cubicBezTo>
                <a:cubicBezTo>
                  <a:pt x="294991" y="1094"/>
                  <a:pt x="301100" y="930"/>
                  <a:pt x="307132" y="164"/>
                </a:cubicBezTo>
                <a:cubicBezTo>
                  <a:pt x="315239" y="-865"/>
                  <a:pt x="320841" y="3022"/>
                  <a:pt x="324030" y="9691"/>
                </a:cubicBezTo>
                <a:cubicBezTo>
                  <a:pt x="328594" y="19236"/>
                  <a:pt x="332712" y="29070"/>
                  <a:pt x="336033" y="39107"/>
                </a:cubicBezTo>
                <a:cubicBezTo>
                  <a:pt x="338557" y="46735"/>
                  <a:pt x="336278" y="50185"/>
                  <a:pt x="328060" y="52413"/>
                </a:cubicBezTo>
                <a:cubicBezTo>
                  <a:pt x="318273" y="55068"/>
                  <a:pt x="308277" y="56950"/>
                  <a:pt x="297312" y="59188"/>
                </a:cubicBezTo>
                <a:moveTo>
                  <a:pt x="207688" y="64284"/>
                </a:moveTo>
                <a:cubicBezTo>
                  <a:pt x="248681" y="60632"/>
                  <a:pt x="289317" y="54812"/>
                  <a:pt x="330050" y="45606"/>
                </a:cubicBezTo>
                <a:cubicBezTo>
                  <a:pt x="327603" y="32443"/>
                  <a:pt x="323777" y="21532"/>
                  <a:pt x="317356" y="11297"/>
                </a:cubicBezTo>
                <a:cubicBezTo>
                  <a:pt x="313908" y="5803"/>
                  <a:pt x="310145" y="4465"/>
                  <a:pt x="304170" y="5545"/>
                </a:cubicBezTo>
                <a:cubicBezTo>
                  <a:pt x="294121" y="7361"/>
                  <a:pt x="284007" y="9006"/>
                  <a:pt x="273851" y="10014"/>
                </a:cubicBezTo>
                <a:cubicBezTo>
                  <a:pt x="237233" y="13650"/>
                  <a:pt x="200632" y="17661"/>
                  <a:pt x="163935" y="20274"/>
                </a:cubicBezTo>
                <a:cubicBezTo>
                  <a:pt x="115360" y="23734"/>
                  <a:pt x="66701" y="25937"/>
                  <a:pt x="17973" y="22950"/>
                </a:cubicBezTo>
                <a:cubicBezTo>
                  <a:pt x="14492" y="22737"/>
                  <a:pt x="10959" y="23361"/>
                  <a:pt x="7372" y="23601"/>
                </a:cubicBezTo>
                <a:cubicBezTo>
                  <a:pt x="7372" y="38609"/>
                  <a:pt x="7372" y="52361"/>
                  <a:pt x="7372" y="67898"/>
                </a:cubicBezTo>
                <a:cubicBezTo>
                  <a:pt x="74001" y="69806"/>
                  <a:pt x="139746" y="71025"/>
                  <a:pt x="207688" y="64284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8" name="Free-form: Shape 87">
            <a:extLst>
              <a:ext uri="{FF2B5EF4-FFF2-40B4-BE49-F238E27FC236}">
                <a16:creationId xmlns:a16="http://schemas.microsoft.com/office/drawing/2014/main" id="{03433C81-2A41-5308-9173-247D1782F807}"/>
              </a:ext>
            </a:extLst>
          </p:cNvPr>
          <p:cNvSpPr/>
          <p:nvPr/>
        </p:nvSpPr>
        <p:spPr>
          <a:xfrm>
            <a:off x="1911150" y="4990189"/>
            <a:ext cx="188426" cy="132688"/>
          </a:xfrm>
          <a:custGeom>
            <a:avLst/>
            <a:gdLst>
              <a:gd name="csX0" fmla="*/ 14160 w 303463"/>
              <a:gd name="csY0" fmla="*/ 7889 h 213695"/>
              <a:gd name="csX1" fmla="*/ 195033 w 303463"/>
              <a:gd name="csY1" fmla="*/ 0 h 213695"/>
              <a:gd name="csX2" fmla="*/ 197208 w 303463"/>
              <a:gd name="csY2" fmla="*/ 5635 h 213695"/>
              <a:gd name="csX3" fmla="*/ 227014 w 303463"/>
              <a:gd name="csY3" fmla="*/ 60660 h 213695"/>
              <a:gd name="csX4" fmla="*/ 265823 w 303463"/>
              <a:gd name="csY4" fmla="*/ 98217 h 213695"/>
              <a:gd name="csX5" fmla="*/ 303210 w 303463"/>
              <a:gd name="csY5" fmla="*/ 180358 h 213695"/>
              <a:gd name="csX6" fmla="*/ 303282 w 303463"/>
              <a:gd name="csY6" fmla="*/ 193964 h 213695"/>
              <a:gd name="csX7" fmla="*/ 4971 w 303463"/>
              <a:gd name="csY7" fmla="*/ 213017 h 213695"/>
              <a:gd name="csX8" fmla="*/ 5093 w 303463"/>
              <a:gd name="csY8" fmla="*/ 173484 h 213695"/>
              <a:gd name="csX9" fmla="*/ 4767 w 303463"/>
              <a:gd name="csY9" fmla="*/ 54607 h 213695"/>
              <a:gd name="csX10" fmla="*/ 0 w 303463"/>
              <a:gd name="csY10" fmla="*/ 7887 h 213695"/>
              <a:gd name="csX11" fmla="*/ 14160 w 303463"/>
              <a:gd name="csY11" fmla="*/ 7889 h 21369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303463" h="213695">
                <a:moveTo>
                  <a:pt x="14160" y="7889"/>
                </a:moveTo>
                <a:cubicBezTo>
                  <a:pt x="75371" y="8627"/>
                  <a:pt x="135292" y="5744"/>
                  <a:pt x="195033" y="0"/>
                </a:cubicBezTo>
                <a:cubicBezTo>
                  <a:pt x="196084" y="2662"/>
                  <a:pt x="196986" y="4099"/>
                  <a:pt x="197208" y="5635"/>
                </a:cubicBezTo>
                <a:cubicBezTo>
                  <a:pt x="200391" y="27650"/>
                  <a:pt x="211307" y="45450"/>
                  <a:pt x="227014" y="60660"/>
                </a:cubicBezTo>
                <a:cubicBezTo>
                  <a:pt x="239947" y="73182"/>
                  <a:pt x="253006" y="85577"/>
                  <a:pt x="265823" y="98217"/>
                </a:cubicBezTo>
                <a:cubicBezTo>
                  <a:pt x="288727" y="120806"/>
                  <a:pt x="299071" y="149215"/>
                  <a:pt x="303210" y="180358"/>
                </a:cubicBezTo>
                <a:cubicBezTo>
                  <a:pt x="303735" y="184317"/>
                  <a:pt x="303282" y="188405"/>
                  <a:pt x="303282" y="193964"/>
                </a:cubicBezTo>
                <a:cubicBezTo>
                  <a:pt x="204065" y="208804"/>
                  <a:pt x="105022" y="216044"/>
                  <a:pt x="4971" y="213017"/>
                </a:cubicBezTo>
                <a:cubicBezTo>
                  <a:pt x="4971" y="199268"/>
                  <a:pt x="4314" y="186332"/>
                  <a:pt x="5093" y="173484"/>
                </a:cubicBezTo>
                <a:cubicBezTo>
                  <a:pt x="7497" y="133835"/>
                  <a:pt x="8211" y="94216"/>
                  <a:pt x="4767" y="54607"/>
                </a:cubicBezTo>
                <a:cubicBezTo>
                  <a:pt x="3464" y="39611"/>
                  <a:pt x="1725" y="24653"/>
                  <a:pt x="0" y="7887"/>
                </a:cubicBezTo>
                <a:cubicBezTo>
                  <a:pt x="4390" y="7887"/>
                  <a:pt x="8696" y="7887"/>
                  <a:pt x="14160" y="7889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9" name="Free-form: Shape 88">
            <a:extLst>
              <a:ext uri="{FF2B5EF4-FFF2-40B4-BE49-F238E27FC236}">
                <a16:creationId xmlns:a16="http://schemas.microsoft.com/office/drawing/2014/main" id="{7C98F7AA-22DD-E43B-3473-73A3FE8ED9B6}"/>
              </a:ext>
            </a:extLst>
          </p:cNvPr>
          <p:cNvSpPr/>
          <p:nvPr/>
        </p:nvSpPr>
        <p:spPr>
          <a:xfrm>
            <a:off x="1877388" y="4460433"/>
            <a:ext cx="129814" cy="126299"/>
          </a:xfrm>
          <a:custGeom>
            <a:avLst/>
            <a:gdLst>
              <a:gd name="csX0" fmla="*/ 10475 w 209067"/>
              <a:gd name="csY0" fmla="*/ 41718 h 203406"/>
              <a:gd name="csX1" fmla="*/ 100250 w 209067"/>
              <a:gd name="csY1" fmla="*/ 1265 h 203406"/>
              <a:gd name="csX2" fmla="*/ 206681 w 209067"/>
              <a:gd name="csY2" fmla="*/ 98526 h 203406"/>
              <a:gd name="csX3" fmla="*/ 134647 w 209067"/>
              <a:gd name="csY3" fmla="*/ 202431 h 203406"/>
              <a:gd name="csX4" fmla="*/ 40986 w 209067"/>
              <a:gd name="csY4" fmla="*/ 171438 h 203406"/>
              <a:gd name="csX5" fmla="*/ 143 w 209067"/>
              <a:gd name="csY5" fmla="*/ 85158 h 203406"/>
              <a:gd name="csX6" fmla="*/ 10475 w 209067"/>
              <a:gd name="csY6" fmla="*/ 41718 h 20340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</a:cxnLst>
            <a:rect l="l" t="t" r="r" b="b"/>
            <a:pathLst>
              <a:path w="209067" h="203406">
                <a:moveTo>
                  <a:pt x="10475" y="41718"/>
                </a:moveTo>
                <a:cubicBezTo>
                  <a:pt x="31065" y="6021"/>
                  <a:pt x="63171" y="-3865"/>
                  <a:pt x="100250" y="1265"/>
                </a:cubicBezTo>
                <a:cubicBezTo>
                  <a:pt x="157191" y="9144"/>
                  <a:pt x="196951" y="51394"/>
                  <a:pt x="206681" y="98526"/>
                </a:cubicBezTo>
                <a:cubicBezTo>
                  <a:pt x="219504" y="160635"/>
                  <a:pt x="178523" y="196657"/>
                  <a:pt x="134647" y="202431"/>
                </a:cubicBezTo>
                <a:cubicBezTo>
                  <a:pt x="98365" y="207204"/>
                  <a:pt x="68101" y="194086"/>
                  <a:pt x="40986" y="171438"/>
                </a:cubicBezTo>
                <a:cubicBezTo>
                  <a:pt x="14115" y="148994"/>
                  <a:pt x="2457" y="119007"/>
                  <a:pt x="143" y="85158"/>
                </a:cubicBezTo>
                <a:cubicBezTo>
                  <a:pt x="-869" y="70364"/>
                  <a:pt x="3586" y="56015"/>
                  <a:pt x="10475" y="41718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0" name="Free-form: Shape 89">
            <a:extLst>
              <a:ext uri="{FF2B5EF4-FFF2-40B4-BE49-F238E27FC236}">
                <a16:creationId xmlns:a16="http://schemas.microsoft.com/office/drawing/2014/main" id="{84A513EB-215A-1C1C-A22B-DD8673BA2D12}"/>
              </a:ext>
            </a:extLst>
          </p:cNvPr>
          <p:cNvSpPr/>
          <p:nvPr/>
        </p:nvSpPr>
        <p:spPr>
          <a:xfrm>
            <a:off x="1913647" y="4673471"/>
            <a:ext cx="97564" cy="25665"/>
          </a:xfrm>
          <a:custGeom>
            <a:avLst/>
            <a:gdLst>
              <a:gd name="csX0" fmla="*/ 69625 w 157129"/>
              <a:gd name="csY0" fmla="*/ 0 h 41334"/>
              <a:gd name="csX1" fmla="*/ 119596 w 157129"/>
              <a:gd name="csY1" fmla="*/ 1945 h 41334"/>
              <a:gd name="csX2" fmla="*/ 150973 w 157129"/>
              <a:gd name="csY2" fmla="*/ 14889 h 41334"/>
              <a:gd name="csX3" fmla="*/ 151351 w 157129"/>
              <a:gd name="csY3" fmla="*/ 34058 h 41334"/>
              <a:gd name="csX4" fmla="*/ 133492 w 157129"/>
              <a:gd name="csY4" fmla="*/ 40697 h 41334"/>
              <a:gd name="csX5" fmla="*/ 106556 w 157129"/>
              <a:gd name="csY5" fmla="*/ 41092 h 41334"/>
              <a:gd name="csX6" fmla="*/ 13373 w 157129"/>
              <a:gd name="csY6" fmla="*/ 40708 h 41334"/>
              <a:gd name="csX7" fmla="*/ 1312 w 157129"/>
              <a:gd name="csY7" fmla="*/ 40191 h 41334"/>
              <a:gd name="csX8" fmla="*/ 3367 w 157129"/>
              <a:gd name="csY8" fmla="*/ 13162 h 41334"/>
              <a:gd name="csX9" fmla="*/ 20752 w 157129"/>
              <a:gd name="csY9" fmla="*/ 1879 h 41334"/>
              <a:gd name="csX10" fmla="*/ 52625 w 157129"/>
              <a:gd name="csY10" fmla="*/ 1332 h 41334"/>
              <a:gd name="csX11" fmla="*/ 69625 w 157129"/>
              <a:gd name="csY11" fmla="*/ 0 h 4133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157129" h="41334">
                <a:moveTo>
                  <a:pt x="69625" y="0"/>
                </a:moveTo>
                <a:cubicBezTo>
                  <a:pt x="87054" y="491"/>
                  <a:pt x="103407" y="373"/>
                  <a:pt x="119596" y="1945"/>
                </a:cubicBezTo>
                <a:cubicBezTo>
                  <a:pt x="131020" y="3055"/>
                  <a:pt x="141713" y="7767"/>
                  <a:pt x="150973" y="14889"/>
                </a:cubicBezTo>
                <a:cubicBezTo>
                  <a:pt x="158820" y="20925"/>
                  <a:pt x="159403" y="28236"/>
                  <a:pt x="151351" y="34058"/>
                </a:cubicBezTo>
                <a:cubicBezTo>
                  <a:pt x="146355" y="37671"/>
                  <a:pt x="139678" y="39910"/>
                  <a:pt x="133492" y="40697"/>
                </a:cubicBezTo>
                <a:cubicBezTo>
                  <a:pt x="124640" y="41824"/>
                  <a:pt x="115547" y="41120"/>
                  <a:pt x="106556" y="41092"/>
                </a:cubicBezTo>
                <a:cubicBezTo>
                  <a:pt x="75495" y="40996"/>
                  <a:pt x="44434" y="40872"/>
                  <a:pt x="13373" y="40708"/>
                </a:cubicBezTo>
                <a:cubicBezTo>
                  <a:pt x="9391" y="40687"/>
                  <a:pt x="5410" y="40374"/>
                  <a:pt x="1312" y="40191"/>
                </a:cubicBezTo>
                <a:cubicBezTo>
                  <a:pt x="-1416" y="30384"/>
                  <a:pt x="523" y="21512"/>
                  <a:pt x="3367" y="13162"/>
                </a:cubicBezTo>
                <a:cubicBezTo>
                  <a:pt x="5963" y="5538"/>
                  <a:pt x="12701" y="2077"/>
                  <a:pt x="20752" y="1879"/>
                </a:cubicBezTo>
                <a:cubicBezTo>
                  <a:pt x="31375" y="1617"/>
                  <a:pt x="42004" y="1647"/>
                  <a:pt x="52625" y="1332"/>
                </a:cubicBezTo>
                <a:cubicBezTo>
                  <a:pt x="57918" y="1176"/>
                  <a:pt x="63195" y="535"/>
                  <a:pt x="69625" y="0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1" name="Free-form: Shape 90">
            <a:extLst>
              <a:ext uri="{FF2B5EF4-FFF2-40B4-BE49-F238E27FC236}">
                <a16:creationId xmlns:a16="http://schemas.microsoft.com/office/drawing/2014/main" id="{62498F0E-825C-B3B5-18DC-5186968ADB1A}"/>
              </a:ext>
            </a:extLst>
          </p:cNvPr>
          <p:cNvSpPr/>
          <p:nvPr/>
        </p:nvSpPr>
        <p:spPr>
          <a:xfrm>
            <a:off x="1910174" y="4724358"/>
            <a:ext cx="102191" cy="241686"/>
          </a:xfrm>
          <a:custGeom>
            <a:avLst/>
            <a:gdLst>
              <a:gd name="csX0" fmla="*/ 91265 w 164579"/>
              <a:gd name="csY0" fmla="*/ 157878 h 389238"/>
              <a:gd name="csX1" fmla="*/ 112882 w 164579"/>
              <a:gd name="csY1" fmla="*/ 252738 h 389238"/>
              <a:gd name="csX2" fmla="*/ 164579 w 164579"/>
              <a:gd name="csY2" fmla="*/ 389238 h 389238"/>
              <a:gd name="csX3" fmla="*/ 0 w 164579"/>
              <a:gd name="csY3" fmla="*/ 389238 h 389238"/>
              <a:gd name="csX4" fmla="*/ 5184 w 164579"/>
              <a:gd name="csY4" fmla="*/ 260105 h 389238"/>
              <a:gd name="csX5" fmla="*/ 7989 w 164579"/>
              <a:gd name="csY5" fmla="*/ 131182 h 389238"/>
              <a:gd name="csX6" fmla="*/ 8093 w 164579"/>
              <a:gd name="csY6" fmla="*/ 2390 h 389238"/>
              <a:gd name="csX7" fmla="*/ 76429 w 164579"/>
              <a:gd name="csY7" fmla="*/ 1531 h 389238"/>
              <a:gd name="csX8" fmla="*/ 91265 w 164579"/>
              <a:gd name="csY8" fmla="*/ 157878 h 38923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</a:cxnLst>
            <a:rect l="l" t="t" r="r" b="b"/>
            <a:pathLst>
              <a:path w="164579" h="389238">
                <a:moveTo>
                  <a:pt x="91265" y="157878"/>
                </a:moveTo>
                <a:cubicBezTo>
                  <a:pt x="98425" y="190232"/>
                  <a:pt x="104539" y="221785"/>
                  <a:pt x="112882" y="252738"/>
                </a:cubicBezTo>
                <a:cubicBezTo>
                  <a:pt x="125498" y="299549"/>
                  <a:pt x="141482" y="345258"/>
                  <a:pt x="164579" y="389238"/>
                </a:cubicBezTo>
                <a:cubicBezTo>
                  <a:pt x="109753" y="389238"/>
                  <a:pt x="55706" y="389238"/>
                  <a:pt x="0" y="389238"/>
                </a:cubicBezTo>
                <a:cubicBezTo>
                  <a:pt x="1781" y="345633"/>
                  <a:pt x="3844" y="302880"/>
                  <a:pt x="5184" y="260105"/>
                </a:cubicBezTo>
                <a:cubicBezTo>
                  <a:pt x="6529" y="217143"/>
                  <a:pt x="7519" y="174162"/>
                  <a:pt x="7989" y="131182"/>
                </a:cubicBezTo>
                <a:cubicBezTo>
                  <a:pt x="8459" y="88239"/>
                  <a:pt x="8093" y="45287"/>
                  <a:pt x="8093" y="2390"/>
                </a:cubicBezTo>
                <a:cubicBezTo>
                  <a:pt x="17041" y="-288"/>
                  <a:pt x="58537" y="-913"/>
                  <a:pt x="76429" y="1531"/>
                </a:cubicBezTo>
                <a:cubicBezTo>
                  <a:pt x="79287" y="53276"/>
                  <a:pt x="82219" y="105359"/>
                  <a:pt x="91265" y="157878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2" name="Free-form: Shape 91">
            <a:extLst>
              <a:ext uri="{FF2B5EF4-FFF2-40B4-BE49-F238E27FC236}">
                <a16:creationId xmlns:a16="http://schemas.microsoft.com/office/drawing/2014/main" id="{4DCE40E9-762B-D095-B59C-6A188C6111C3}"/>
              </a:ext>
            </a:extLst>
          </p:cNvPr>
          <p:cNvSpPr/>
          <p:nvPr/>
        </p:nvSpPr>
        <p:spPr>
          <a:xfrm>
            <a:off x="1911993" y="5139871"/>
            <a:ext cx="200357" cy="39865"/>
          </a:xfrm>
          <a:custGeom>
            <a:avLst/>
            <a:gdLst>
              <a:gd name="csX0" fmla="*/ 199184 w 322677"/>
              <a:gd name="csY0" fmla="*/ 59136 h 64202"/>
              <a:gd name="csX1" fmla="*/ 0 w 322677"/>
              <a:gd name="csY1" fmla="*/ 62697 h 64202"/>
              <a:gd name="csX2" fmla="*/ 0 w 322677"/>
              <a:gd name="csY2" fmla="*/ 18400 h 64202"/>
              <a:gd name="csX3" fmla="*/ 10601 w 322677"/>
              <a:gd name="csY3" fmla="*/ 17750 h 64202"/>
              <a:gd name="csX4" fmla="*/ 156563 w 322677"/>
              <a:gd name="csY4" fmla="*/ 15074 h 64202"/>
              <a:gd name="csX5" fmla="*/ 266479 w 322677"/>
              <a:gd name="csY5" fmla="*/ 4814 h 64202"/>
              <a:gd name="csX6" fmla="*/ 296798 w 322677"/>
              <a:gd name="csY6" fmla="*/ 344 h 64202"/>
              <a:gd name="csX7" fmla="*/ 309983 w 322677"/>
              <a:gd name="csY7" fmla="*/ 6097 h 64202"/>
              <a:gd name="csX8" fmla="*/ 322678 w 322677"/>
              <a:gd name="csY8" fmla="*/ 40406 h 64202"/>
              <a:gd name="csX9" fmla="*/ 199184 w 322677"/>
              <a:gd name="csY9" fmla="*/ 59136 h 6420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322677" h="64202">
                <a:moveTo>
                  <a:pt x="199184" y="59136"/>
                </a:moveTo>
                <a:cubicBezTo>
                  <a:pt x="132374" y="65824"/>
                  <a:pt x="66629" y="64605"/>
                  <a:pt x="0" y="62697"/>
                </a:cubicBezTo>
                <a:cubicBezTo>
                  <a:pt x="0" y="47160"/>
                  <a:pt x="0" y="33409"/>
                  <a:pt x="0" y="18400"/>
                </a:cubicBezTo>
                <a:cubicBezTo>
                  <a:pt x="3587" y="18160"/>
                  <a:pt x="7120" y="17536"/>
                  <a:pt x="10601" y="17750"/>
                </a:cubicBezTo>
                <a:cubicBezTo>
                  <a:pt x="59329" y="20736"/>
                  <a:pt x="107987" y="18533"/>
                  <a:pt x="156563" y="15074"/>
                </a:cubicBezTo>
                <a:cubicBezTo>
                  <a:pt x="193260" y="12461"/>
                  <a:pt x="229860" y="8449"/>
                  <a:pt x="266479" y="4814"/>
                </a:cubicBezTo>
                <a:cubicBezTo>
                  <a:pt x="276635" y="3806"/>
                  <a:pt x="286748" y="2160"/>
                  <a:pt x="296798" y="344"/>
                </a:cubicBezTo>
                <a:cubicBezTo>
                  <a:pt x="302773" y="-735"/>
                  <a:pt x="306536" y="602"/>
                  <a:pt x="309983" y="6097"/>
                </a:cubicBezTo>
                <a:cubicBezTo>
                  <a:pt x="316405" y="16331"/>
                  <a:pt x="320231" y="27243"/>
                  <a:pt x="322678" y="40406"/>
                </a:cubicBezTo>
                <a:cubicBezTo>
                  <a:pt x="281944" y="49611"/>
                  <a:pt x="241309" y="55431"/>
                  <a:pt x="199184" y="59136"/>
                </a:cubicBezTo>
                <a:close/>
              </a:path>
            </a:pathLst>
          </a:custGeom>
          <a:solidFill>
            <a:schemeClr val="bg1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3B8F8F0B-8280-3B42-BCB9-DFA8EBC62F84}"/>
              </a:ext>
            </a:extLst>
          </p:cNvPr>
          <p:cNvSpPr txBox="1"/>
          <p:nvPr/>
        </p:nvSpPr>
        <p:spPr>
          <a:xfrm>
            <a:off x="1460093" y="5354988"/>
            <a:ext cx="863983" cy="3927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(Tafa-Len)</a:t>
            </a:r>
          </a:p>
        </p:txBody>
      </p:sp>
      <p:sp>
        <p:nvSpPr>
          <p:cNvPr id="176" name="Title 1">
            <a:extLst>
              <a:ext uri="{FF2B5EF4-FFF2-40B4-BE49-F238E27FC236}">
                <a16:creationId xmlns:a16="http://schemas.microsoft.com/office/drawing/2014/main" id="{E01250EE-5071-7151-8A24-6702A5602D0C}"/>
              </a:ext>
            </a:extLst>
          </p:cNvPr>
          <p:cNvSpPr txBox="1">
            <a:spLocks/>
          </p:cNvSpPr>
          <p:nvPr/>
        </p:nvSpPr>
        <p:spPr>
          <a:xfrm>
            <a:off x="469900" y="311150"/>
            <a:ext cx="10317269" cy="930910"/>
          </a:xfrm>
          <a:prstGeom prst="rect">
            <a:avLst/>
          </a:prstGeom>
        </p:spPr>
        <p:txBody>
          <a:bodyPr vert="horz" lIns="90000" tIns="46800" rIns="90000" bIns="4680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400" b="0" i="0" kern="1200">
                <a:solidFill>
                  <a:schemeClr val="tx2"/>
                </a:solidFill>
                <a:latin typeface="Aptos" panose="020B000402020202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0B0004020202020204" pitchFamily="34" charset="0"/>
                <a:ea typeface="+mj-ea"/>
                <a:cs typeface="+mj-cs"/>
              </a:rPr>
              <a:t>Treatment options in 3L+ DLBCL</a:t>
            </a:r>
            <a:endParaRPr kumimoji="0" lang="en-GB" sz="34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j-ea"/>
              <a:cs typeface="+mj-cs"/>
            </a:endParaRPr>
          </a:p>
        </p:txBody>
      </p:sp>
      <p:sp>
        <p:nvSpPr>
          <p:cNvPr id="198" name="TextBox 197">
            <a:extLst>
              <a:ext uri="{FF2B5EF4-FFF2-40B4-BE49-F238E27FC236}">
                <a16:creationId xmlns:a16="http://schemas.microsoft.com/office/drawing/2014/main" id="{BFC13026-A685-10AE-9B03-1C253EDC221A}"/>
              </a:ext>
            </a:extLst>
          </p:cNvPr>
          <p:cNvSpPr txBox="1"/>
          <p:nvPr/>
        </p:nvSpPr>
        <p:spPr>
          <a:xfrm>
            <a:off x="1179883" y="3627836"/>
            <a:ext cx="1434479" cy="3927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AR-T with </a:t>
            </a:r>
            <a:b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bridging therapy</a:t>
            </a:r>
          </a:p>
        </p:txBody>
      </p:sp>
      <p:sp>
        <p:nvSpPr>
          <p:cNvPr id="199" name="Oval 198">
            <a:extLst>
              <a:ext uri="{FF2B5EF4-FFF2-40B4-BE49-F238E27FC236}">
                <a16:creationId xmlns:a16="http://schemas.microsoft.com/office/drawing/2014/main" id="{220DA609-8702-B203-2094-F17E81F62E1D}"/>
              </a:ext>
            </a:extLst>
          </p:cNvPr>
          <p:cNvSpPr/>
          <p:nvPr/>
        </p:nvSpPr>
        <p:spPr>
          <a:xfrm>
            <a:off x="1533233" y="3314992"/>
            <a:ext cx="739960" cy="152189"/>
          </a:xfrm>
          <a:prstGeom prst="ellipse">
            <a:avLst/>
          </a:prstGeom>
          <a:solidFill>
            <a:schemeClr val="tx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0" name="Free-form: Shape 199">
            <a:extLst>
              <a:ext uri="{FF2B5EF4-FFF2-40B4-BE49-F238E27FC236}">
                <a16:creationId xmlns:a16="http://schemas.microsoft.com/office/drawing/2014/main" id="{5B36F70A-7E9B-4509-F63C-9FE9392D9576}"/>
              </a:ext>
            </a:extLst>
          </p:cNvPr>
          <p:cNvSpPr/>
          <p:nvPr/>
        </p:nvSpPr>
        <p:spPr>
          <a:xfrm>
            <a:off x="1613197" y="2013415"/>
            <a:ext cx="650203" cy="1414846"/>
          </a:xfrm>
          <a:custGeom>
            <a:avLst/>
            <a:gdLst>
              <a:gd name="csX0" fmla="*/ 466852 w 715223"/>
              <a:gd name="csY0" fmla="*/ 229083 h 1556330"/>
              <a:gd name="csX1" fmla="*/ 462328 w 715223"/>
              <a:gd name="csY1" fmla="*/ 242604 h 1556330"/>
              <a:gd name="csX2" fmla="*/ 496944 w 715223"/>
              <a:gd name="csY2" fmla="*/ 204739 h 1556330"/>
              <a:gd name="csX3" fmla="*/ 534359 w 715223"/>
              <a:gd name="csY3" fmla="*/ 270960 h 1556330"/>
              <a:gd name="csX4" fmla="*/ 540589 w 715223"/>
              <a:gd name="csY4" fmla="*/ 445986 h 1556330"/>
              <a:gd name="csX5" fmla="*/ 509727 w 715223"/>
              <a:gd name="csY5" fmla="*/ 496924 h 1556330"/>
              <a:gd name="csX6" fmla="*/ 505366 w 715223"/>
              <a:gd name="csY6" fmla="*/ 511893 h 1556330"/>
              <a:gd name="csX7" fmla="*/ 501982 w 715223"/>
              <a:gd name="csY7" fmla="*/ 530377 h 1556330"/>
              <a:gd name="csX8" fmla="*/ 505678 w 715223"/>
              <a:gd name="csY8" fmla="*/ 556455 h 1556330"/>
              <a:gd name="csX9" fmla="*/ 526115 w 715223"/>
              <a:gd name="csY9" fmla="*/ 591784 h 1556330"/>
              <a:gd name="csX10" fmla="*/ 541579 w 715223"/>
              <a:gd name="csY10" fmla="*/ 612264 h 1556330"/>
              <a:gd name="csX11" fmla="*/ 569572 w 715223"/>
              <a:gd name="csY11" fmla="*/ 643441 h 1556330"/>
              <a:gd name="csX12" fmla="*/ 555234 w 715223"/>
              <a:gd name="csY12" fmla="*/ 688473 h 1556330"/>
              <a:gd name="csX13" fmla="*/ 513278 w 715223"/>
              <a:gd name="csY13" fmla="*/ 700556 h 1556330"/>
              <a:gd name="csX14" fmla="*/ 488559 w 715223"/>
              <a:gd name="csY14" fmla="*/ 702821 h 1556330"/>
              <a:gd name="csX15" fmla="*/ 488544 w 715223"/>
              <a:gd name="csY15" fmla="*/ 718085 h 1556330"/>
              <a:gd name="csX16" fmla="*/ 526561 w 715223"/>
              <a:gd name="csY16" fmla="*/ 1010212 h 1556330"/>
              <a:gd name="csX17" fmla="*/ 569986 w 715223"/>
              <a:gd name="csY17" fmla="*/ 1153317 h 1556330"/>
              <a:gd name="csX18" fmla="*/ 587389 w 715223"/>
              <a:gd name="csY18" fmla="*/ 1172173 h 1556330"/>
              <a:gd name="csX19" fmla="*/ 606286 w 715223"/>
              <a:gd name="csY19" fmla="*/ 1180891 h 1556330"/>
              <a:gd name="csX20" fmla="*/ 613400 w 715223"/>
              <a:gd name="csY20" fmla="*/ 1204260 h 1556330"/>
              <a:gd name="csX21" fmla="*/ 605350 w 715223"/>
              <a:gd name="csY21" fmla="*/ 1216760 h 1556330"/>
              <a:gd name="csX22" fmla="*/ 600268 w 715223"/>
              <a:gd name="csY22" fmla="*/ 1220273 h 1556330"/>
              <a:gd name="csX23" fmla="*/ 610574 w 715223"/>
              <a:gd name="csY23" fmla="*/ 1258750 h 1556330"/>
              <a:gd name="csX24" fmla="*/ 672371 w 715223"/>
              <a:gd name="csY24" fmla="*/ 1319810 h 1556330"/>
              <a:gd name="csX25" fmla="*/ 675494 w 715223"/>
              <a:gd name="csY25" fmla="*/ 1323366 h 1556330"/>
              <a:gd name="csX26" fmla="*/ 692949 w 715223"/>
              <a:gd name="csY26" fmla="*/ 1396068 h 1556330"/>
              <a:gd name="csX27" fmla="*/ 690628 w 715223"/>
              <a:gd name="csY27" fmla="*/ 1414117 h 1556330"/>
              <a:gd name="csX28" fmla="*/ 695588 w 715223"/>
              <a:gd name="csY28" fmla="*/ 1421035 h 1556330"/>
              <a:gd name="csX29" fmla="*/ 694353 w 715223"/>
              <a:gd name="csY29" fmla="*/ 1425190 h 1556330"/>
              <a:gd name="csX30" fmla="*/ 689106 w 715223"/>
              <a:gd name="csY30" fmla="*/ 1428714 h 1556330"/>
              <a:gd name="csX31" fmla="*/ 695093 w 715223"/>
              <a:gd name="csY31" fmla="*/ 1428433 h 1556330"/>
              <a:gd name="csX32" fmla="*/ 697643 w 715223"/>
              <a:gd name="csY32" fmla="*/ 1432864 h 1556330"/>
              <a:gd name="csX33" fmla="*/ 698207 w 715223"/>
              <a:gd name="csY33" fmla="*/ 1441988 h 1556330"/>
              <a:gd name="csX34" fmla="*/ 715183 w 715223"/>
              <a:gd name="csY34" fmla="*/ 1508752 h 1556330"/>
              <a:gd name="csX35" fmla="*/ 701540 w 715223"/>
              <a:gd name="csY35" fmla="*/ 1526524 h 1556330"/>
              <a:gd name="csX36" fmla="*/ 581715 w 715223"/>
              <a:gd name="csY36" fmla="*/ 1548559 h 1556330"/>
              <a:gd name="csX37" fmla="*/ 522168 w 715223"/>
              <a:gd name="csY37" fmla="*/ 1553543 h 1556330"/>
              <a:gd name="csX38" fmla="*/ 450008 w 715223"/>
              <a:gd name="csY38" fmla="*/ 1556019 h 1556330"/>
              <a:gd name="csX39" fmla="*/ 245169 w 715223"/>
              <a:gd name="csY39" fmla="*/ 1553749 h 1556330"/>
              <a:gd name="csX40" fmla="*/ 221854 w 715223"/>
              <a:gd name="csY40" fmla="*/ 1553306 h 1556330"/>
              <a:gd name="csX41" fmla="*/ 168405 w 715223"/>
              <a:gd name="csY41" fmla="*/ 1548828 h 1556330"/>
              <a:gd name="csX42" fmla="*/ 126970 w 715223"/>
              <a:gd name="csY42" fmla="*/ 1546091 h 1556330"/>
              <a:gd name="csX43" fmla="*/ 104053 w 715223"/>
              <a:gd name="csY43" fmla="*/ 1542912 h 1556330"/>
              <a:gd name="csX44" fmla="*/ 65625 w 715223"/>
              <a:gd name="csY44" fmla="*/ 1536401 h 1556330"/>
              <a:gd name="csX45" fmla="*/ 10909 w 715223"/>
              <a:gd name="csY45" fmla="*/ 1524010 h 1556330"/>
              <a:gd name="csX46" fmla="*/ 8 w 715223"/>
              <a:gd name="csY46" fmla="*/ 1509263 h 1556330"/>
              <a:gd name="csX47" fmla="*/ 21158 w 715223"/>
              <a:gd name="csY47" fmla="*/ 1433611 h 1556330"/>
              <a:gd name="csX48" fmla="*/ 23462 w 715223"/>
              <a:gd name="csY48" fmla="*/ 1418658 h 1556330"/>
              <a:gd name="csX49" fmla="*/ 19643 w 715223"/>
              <a:gd name="csY49" fmla="*/ 1382324 h 1556330"/>
              <a:gd name="csX50" fmla="*/ 49060 w 715223"/>
              <a:gd name="csY50" fmla="*/ 1311832 h 1556330"/>
              <a:gd name="csX51" fmla="*/ 109176 w 715223"/>
              <a:gd name="csY51" fmla="*/ 1254078 h 1556330"/>
              <a:gd name="csX52" fmla="*/ 118319 w 715223"/>
              <a:gd name="csY52" fmla="*/ 1214801 h 1556330"/>
              <a:gd name="csX53" fmla="*/ 113082 w 715223"/>
              <a:gd name="csY53" fmla="*/ 1201084 h 1556330"/>
              <a:gd name="csX54" fmla="*/ 120417 w 715223"/>
              <a:gd name="csY54" fmla="*/ 1183950 h 1556330"/>
              <a:gd name="csX55" fmla="*/ 135209 w 715223"/>
              <a:gd name="csY55" fmla="*/ 1178138 h 1556330"/>
              <a:gd name="csX56" fmla="*/ 156535 w 715223"/>
              <a:gd name="csY56" fmla="*/ 1156396 h 1556330"/>
              <a:gd name="csX57" fmla="*/ 185647 w 715223"/>
              <a:gd name="csY57" fmla="*/ 1061682 h 1556330"/>
              <a:gd name="csX58" fmla="*/ 201074 w 715223"/>
              <a:gd name="csY58" fmla="*/ 1005093 h 1556330"/>
              <a:gd name="csX59" fmla="*/ 213864 w 715223"/>
              <a:gd name="csY59" fmla="*/ 943040 h 1556330"/>
              <a:gd name="csX60" fmla="*/ 223580 w 715223"/>
              <a:gd name="csY60" fmla="*/ 884167 h 1556330"/>
              <a:gd name="csX61" fmla="*/ 228827 w 715223"/>
              <a:gd name="csY61" fmla="*/ 839382 h 1556330"/>
              <a:gd name="csX62" fmla="*/ 233251 w 715223"/>
              <a:gd name="csY62" fmla="*/ 794539 h 1556330"/>
              <a:gd name="csX63" fmla="*/ 233413 w 715223"/>
              <a:gd name="csY63" fmla="*/ 708554 h 1556330"/>
              <a:gd name="csX64" fmla="*/ 232253 w 715223"/>
              <a:gd name="csY64" fmla="*/ 699181 h 1556330"/>
              <a:gd name="csX65" fmla="*/ 192775 w 715223"/>
              <a:gd name="csY65" fmla="*/ 693131 h 1556330"/>
              <a:gd name="csX66" fmla="*/ 166222 w 715223"/>
              <a:gd name="csY66" fmla="*/ 684229 h 1556330"/>
              <a:gd name="csX67" fmla="*/ 153485 w 715223"/>
              <a:gd name="csY67" fmla="*/ 649704 h 1556330"/>
              <a:gd name="csX68" fmla="*/ 179302 w 715223"/>
              <a:gd name="csY68" fmla="*/ 621006 h 1556330"/>
              <a:gd name="csX69" fmla="*/ 192182 w 715223"/>
              <a:gd name="csY69" fmla="*/ 601675 h 1556330"/>
              <a:gd name="csX70" fmla="*/ 204894 w 715223"/>
              <a:gd name="csY70" fmla="*/ 583417 h 1556330"/>
              <a:gd name="csX71" fmla="*/ 233213 w 715223"/>
              <a:gd name="csY71" fmla="*/ 564393 h 1556330"/>
              <a:gd name="csX72" fmla="*/ 229725 w 715223"/>
              <a:gd name="csY72" fmla="*/ 538177 h 1556330"/>
              <a:gd name="csX73" fmla="*/ 218771 w 715223"/>
              <a:gd name="csY73" fmla="*/ 532633 h 1556330"/>
              <a:gd name="csX74" fmla="*/ 215183 w 715223"/>
              <a:gd name="csY74" fmla="*/ 521568 h 1556330"/>
              <a:gd name="csX75" fmla="*/ 223368 w 715223"/>
              <a:gd name="csY75" fmla="*/ 508901 h 1556330"/>
              <a:gd name="csX76" fmla="*/ 218372 w 715223"/>
              <a:gd name="csY76" fmla="*/ 498135 h 1556330"/>
              <a:gd name="csX77" fmla="*/ 181440 w 715223"/>
              <a:gd name="csY77" fmla="*/ 432308 h 1556330"/>
              <a:gd name="csX78" fmla="*/ 167535 w 715223"/>
              <a:gd name="csY78" fmla="*/ 349841 h 1556330"/>
              <a:gd name="csX79" fmla="*/ 193488 w 715223"/>
              <a:gd name="csY79" fmla="*/ 262518 h 1556330"/>
              <a:gd name="csX80" fmla="*/ 237748 w 715223"/>
              <a:gd name="csY80" fmla="*/ 190690 h 1556330"/>
              <a:gd name="csX81" fmla="*/ 309459 w 715223"/>
              <a:gd name="csY81" fmla="*/ 102623 h 1556330"/>
              <a:gd name="csX82" fmla="*/ 310459 w 715223"/>
              <a:gd name="csY82" fmla="*/ 78521 h 1556330"/>
              <a:gd name="csX83" fmla="*/ 300267 w 715223"/>
              <a:gd name="csY83" fmla="*/ 57856 h 1556330"/>
              <a:gd name="csX84" fmla="*/ 332242 w 715223"/>
              <a:gd name="csY84" fmla="*/ 4422 h 1556330"/>
              <a:gd name="csX85" fmla="*/ 384904 w 715223"/>
              <a:gd name="csY85" fmla="*/ 5551 h 1556330"/>
              <a:gd name="csX86" fmla="*/ 409773 w 715223"/>
              <a:gd name="csY86" fmla="*/ 26778 h 1556330"/>
              <a:gd name="csX87" fmla="*/ 407026 w 715223"/>
              <a:gd name="csY87" fmla="*/ 46052 h 1556330"/>
              <a:gd name="csX88" fmla="*/ 402771 w 715223"/>
              <a:gd name="csY88" fmla="*/ 30951 h 1556330"/>
              <a:gd name="csX89" fmla="*/ 397038 w 715223"/>
              <a:gd name="csY89" fmla="*/ 30361 h 1556330"/>
              <a:gd name="csX90" fmla="*/ 360694 w 715223"/>
              <a:gd name="csY90" fmla="*/ 22760 h 1556330"/>
              <a:gd name="csX91" fmla="*/ 351669 w 715223"/>
              <a:gd name="csY91" fmla="*/ 31736 h 1556330"/>
              <a:gd name="csX92" fmla="*/ 351426 w 715223"/>
              <a:gd name="csY92" fmla="*/ 43987 h 1556330"/>
              <a:gd name="csX93" fmla="*/ 390968 w 715223"/>
              <a:gd name="csY93" fmla="*/ 68762 h 1556330"/>
              <a:gd name="csX94" fmla="*/ 401770 w 715223"/>
              <a:gd name="csY94" fmla="*/ 59025 h 1556330"/>
              <a:gd name="csX95" fmla="*/ 409619 w 715223"/>
              <a:gd name="csY95" fmla="*/ 55786 h 1556330"/>
              <a:gd name="csX96" fmla="*/ 410427 w 715223"/>
              <a:gd name="csY96" fmla="*/ 64256 h 1556330"/>
              <a:gd name="csX97" fmla="*/ 399453 w 715223"/>
              <a:gd name="csY97" fmla="*/ 81811 h 1556330"/>
              <a:gd name="csX98" fmla="*/ 399346 w 715223"/>
              <a:gd name="csY98" fmla="*/ 98083 h 1556330"/>
              <a:gd name="csX99" fmla="*/ 471592 w 715223"/>
              <a:gd name="csY99" fmla="*/ 180524 h 1556330"/>
              <a:gd name="csX100" fmla="*/ 473550 w 715223"/>
              <a:gd name="csY100" fmla="*/ 200923 h 1556330"/>
              <a:gd name="csX101" fmla="*/ 463677 w 715223"/>
              <a:gd name="csY101" fmla="*/ 223311 h 1556330"/>
              <a:gd name="csX102" fmla="*/ 466852 w 715223"/>
              <a:gd name="csY102" fmla="*/ 229083 h 1556330"/>
              <a:gd name="csX103" fmla="*/ 474186 w 715223"/>
              <a:gd name="csY103" fmla="*/ 928382 h 1556330"/>
              <a:gd name="csX104" fmla="*/ 459927 w 715223"/>
              <a:gd name="csY104" fmla="*/ 817790 h 1556330"/>
              <a:gd name="csX105" fmla="*/ 456025 w 715223"/>
              <a:gd name="csY105" fmla="*/ 706469 h 1556330"/>
              <a:gd name="csX106" fmla="*/ 366863 w 715223"/>
              <a:gd name="csY106" fmla="*/ 710754 h 1556330"/>
              <a:gd name="csX107" fmla="*/ 366159 w 715223"/>
              <a:gd name="csY107" fmla="*/ 719219 h 1556330"/>
              <a:gd name="csX108" fmla="*/ 364159 w 715223"/>
              <a:gd name="csY108" fmla="*/ 834581 h 1556330"/>
              <a:gd name="csX109" fmla="*/ 361633 w 715223"/>
              <a:gd name="csY109" fmla="*/ 940117 h 1556330"/>
              <a:gd name="csX110" fmla="*/ 358313 w 715223"/>
              <a:gd name="csY110" fmla="*/ 1053005 h 1556330"/>
              <a:gd name="csX111" fmla="*/ 358081 w 715223"/>
              <a:gd name="csY111" fmla="*/ 1057912 h 1556330"/>
              <a:gd name="csX112" fmla="*/ 353706 w 715223"/>
              <a:gd name="csY112" fmla="*/ 1164570 h 1556330"/>
              <a:gd name="csX113" fmla="*/ 354951 w 715223"/>
              <a:gd name="csY113" fmla="*/ 1172547 h 1556330"/>
              <a:gd name="csX114" fmla="*/ 540959 w 715223"/>
              <a:gd name="csY114" fmla="*/ 1175972 h 1556330"/>
              <a:gd name="csX115" fmla="*/ 474186 w 715223"/>
              <a:gd name="csY115" fmla="*/ 928382 h 1556330"/>
              <a:gd name="csX116" fmla="*/ 513768 w 715223"/>
              <a:gd name="csY116" fmla="*/ 1417676 h 1556330"/>
              <a:gd name="csX117" fmla="*/ 519822 w 715223"/>
              <a:gd name="csY117" fmla="*/ 1416700 h 1556330"/>
              <a:gd name="csX118" fmla="*/ 632041 w 715223"/>
              <a:gd name="csY118" fmla="*/ 1406122 h 1556330"/>
              <a:gd name="csX119" fmla="*/ 665040 w 715223"/>
              <a:gd name="csY119" fmla="*/ 1400634 h 1556330"/>
              <a:gd name="csX120" fmla="*/ 665677 w 715223"/>
              <a:gd name="csY120" fmla="*/ 1396126 h 1556330"/>
              <a:gd name="csX121" fmla="*/ 665529 w 715223"/>
              <a:gd name="csY121" fmla="*/ 1389994 h 1556330"/>
              <a:gd name="csX122" fmla="*/ 623046 w 715223"/>
              <a:gd name="csY122" fmla="*/ 1306238 h 1556330"/>
              <a:gd name="csX123" fmla="*/ 596015 w 715223"/>
              <a:gd name="csY123" fmla="*/ 1281285 h 1556330"/>
              <a:gd name="csX124" fmla="*/ 567683 w 715223"/>
              <a:gd name="csY124" fmla="*/ 1220059 h 1556330"/>
              <a:gd name="csX125" fmla="*/ 540273 w 715223"/>
              <a:gd name="csY125" fmla="*/ 1220129 h 1556330"/>
              <a:gd name="csX126" fmla="*/ 424010 w 715223"/>
              <a:gd name="csY126" fmla="*/ 1226781 h 1556330"/>
              <a:gd name="csX127" fmla="*/ 357832 w 715223"/>
              <a:gd name="csY127" fmla="*/ 1229178 h 1556330"/>
              <a:gd name="csX128" fmla="*/ 352386 w 715223"/>
              <a:gd name="csY128" fmla="*/ 1230616 h 1556330"/>
              <a:gd name="csX129" fmla="*/ 355852 w 715223"/>
              <a:gd name="csY129" fmla="*/ 1324222 h 1556330"/>
              <a:gd name="csX130" fmla="*/ 352930 w 715223"/>
              <a:gd name="csY130" fmla="*/ 1417867 h 1556330"/>
              <a:gd name="csX131" fmla="*/ 513768 w 715223"/>
              <a:gd name="csY131" fmla="*/ 1417676 h 1556330"/>
              <a:gd name="csX132" fmla="*/ 387930 w 715223"/>
              <a:gd name="csY132" fmla="*/ 499741 h 1556330"/>
              <a:gd name="csX133" fmla="*/ 456529 w 715223"/>
              <a:gd name="csY133" fmla="*/ 496826 h 1556330"/>
              <a:gd name="csX134" fmla="*/ 482355 w 715223"/>
              <a:gd name="csY134" fmla="*/ 485095 h 1556330"/>
              <a:gd name="csX135" fmla="*/ 528016 w 715223"/>
              <a:gd name="csY135" fmla="*/ 374829 h 1556330"/>
              <a:gd name="csX136" fmla="*/ 501375 w 715223"/>
              <a:gd name="csY136" fmla="*/ 261643 h 1556330"/>
              <a:gd name="csX137" fmla="*/ 493534 w 715223"/>
              <a:gd name="csY137" fmla="*/ 249818 h 1556330"/>
              <a:gd name="csX138" fmla="*/ 485920 w 715223"/>
              <a:gd name="csY138" fmla="*/ 260010 h 1556330"/>
              <a:gd name="csX139" fmla="*/ 453305 w 715223"/>
              <a:gd name="csY139" fmla="*/ 310523 h 1556330"/>
              <a:gd name="csX140" fmla="*/ 433678 w 715223"/>
              <a:gd name="csY140" fmla="*/ 338672 h 1556330"/>
              <a:gd name="csX141" fmla="*/ 403713 w 715223"/>
              <a:gd name="csY141" fmla="*/ 343710 h 1556330"/>
              <a:gd name="csX142" fmla="*/ 396427 w 715223"/>
              <a:gd name="csY142" fmla="*/ 315612 h 1556330"/>
              <a:gd name="csX143" fmla="*/ 399663 w 715223"/>
              <a:gd name="csY143" fmla="*/ 309000 h 1556330"/>
              <a:gd name="csX144" fmla="*/ 452097 w 715223"/>
              <a:gd name="csY144" fmla="*/ 200770 h 1556330"/>
              <a:gd name="csX145" fmla="*/ 450118 w 715223"/>
              <a:gd name="csY145" fmla="*/ 180596 h 1556330"/>
              <a:gd name="csX146" fmla="*/ 376545 w 715223"/>
              <a:gd name="csY146" fmla="*/ 105525 h 1556330"/>
              <a:gd name="csX147" fmla="*/ 368791 w 715223"/>
              <a:gd name="csY147" fmla="*/ 101653 h 1556330"/>
              <a:gd name="csX148" fmla="*/ 366449 w 715223"/>
              <a:gd name="csY148" fmla="*/ 144676 h 1556330"/>
              <a:gd name="csX149" fmla="*/ 365447 w 715223"/>
              <a:gd name="csY149" fmla="*/ 183946 h 1556330"/>
              <a:gd name="csX150" fmla="*/ 364738 w 715223"/>
              <a:gd name="csY150" fmla="*/ 298022 h 1556330"/>
              <a:gd name="csX151" fmla="*/ 373865 w 715223"/>
              <a:gd name="csY151" fmla="*/ 430096 h 1556330"/>
              <a:gd name="csX152" fmla="*/ 381088 w 715223"/>
              <a:gd name="csY152" fmla="*/ 492169 h 1556330"/>
              <a:gd name="csX153" fmla="*/ 387930 w 715223"/>
              <a:gd name="csY153" fmla="*/ 499741 h 1556330"/>
              <a:gd name="csX154" fmla="*/ 455850 w 715223"/>
              <a:gd name="csY154" fmla="*/ 1521476 h 1556330"/>
              <a:gd name="csX155" fmla="*/ 685121 w 715223"/>
              <a:gd name="csY155" fmla="*/ 1496509 h 1556330"/>
              <a:gd name="csX156" fmla="*/ 672999 w 715223"/>
              <a:gd name="csY156" fmla="*/ 1456665 h 1556330"/>
              <a:gd name="csX157" fmla="*/ 660009 w 715223"/>
              <a:gd name="csY157" fmla="*/ 1450249 h 1556330"/>
              <a:gd name="csX158" fmla="*/ 633248 w 715223"/>
              <a:gd name="csY158" fmla="*/ 1453589 h 1556330"/>
              <a:gd name="csX159" fmla="*/ 451131 w 715223"/>
              <a:gd name="csY159" fmla="*/ 1467458 h 1556330"/>
              <a:gd name="csX160" fmla="*/ 362719 w 715223"/>
              <a:gd name="csY160" fmla="*/ 1467934 h 1556330"/>
              <a:gd name="csX161" fmla="*/ 349983 w 715223"/>
              <a:gd name="csY161" fmla="*/ 1467936 h 1556330"/>
              <a:gd name="csX162" fmla="*/ 352220 w 715223"/>
              <a:gd name="csY162" fmla="*/ 1519140 h 1556330"/>
              <a:gd name="csX163" fmla="*/ 455850 w 715223"/>
              <a:gd name="csY163" fmla="*/ 1521476 h 1556330"/>
              <a:gd name="csX164" fmla="*/ 368682 w 715223"/>
              <a:gd name="csY164" fmla="*/ 544846 h 1556330"/>
              <a:gd name="csX165" fmla="*/ 363600 w 715223"/>
              <a:gd name="csY165" fmla="*/ 605633 h 1556330"/>
              <a:gd name="csX166" fmla="*/ 496351 w 715223"/>
              <a:gd name="csY166" fmla="*/ 601466 h 1556330"/>
              <a:gd name="csX167" fmla="*/ 485068 w 715223"/>
              <a:gd name="csY167" fmla="*/ 579288 h 1556330"/>
              <a:gd name="csX168" fmla="*/ 466524 w 715223"/>
              <a:gd name="csY168" fmla="*/ 541026 h 1556330"/>
              <a:gd name="csX169" fmla="*/ 465000 w 715223"/>
              <a:gd name="csY169" fmla="*/ 536289 h 1556330"/>
              <a:gd name="csX170" fmla="*/ 451328 w 715223"/>
              <a:gd name="csY170" fmla="*/ 536316 h 1556330"/>
              <a:gd name="csX171" fmla="*/ 390140 w 715223"/>
              <a:gd name="csY171" fmla="*/ 538979 h 1556330"/>
              <a:gd name="csX172" fmla="*/ 374215 w 715223"/>
              <a:gd name="csY172" fmla="*/ 539303 h 1556330"/>
              <a:gd name="csX173" fmla="*/ 368682 w 715223"/>
              <a:gd name="csY173" fmla="*/ 544846 h 1556330"/>
              <a:gd name="csX174" fmla="*/ 453915 w 715223"/>
              <a:gd name="csY174" fmla="*/ 635267 h 1556330"/>
              <a:gd name="csX175" fmla="*/ 374200 w 715223"/>
              <a:gd name="csY175" fmla="*/ 639402 h 1556330"/>
              <a:gd name="csX176" fmla="*/ 374200 w 715223"/>
              <a:gd name="csY176" fmla="*/ 673206 h 1556330"/>
              <a:gd name="csX177" fmla="*/ 386639 w 715223"/>
              <a:gd name="csY177" fmla="*/ 673718 h 1556330"/>
              <a:gd name="csX178" fmla="*/ 521198 w 715223"/>
              <a:gd name="csY178" fmla="*/ 668541 h 1556330"/>
              <a:gd name="csX179" fmla="*/ 534198 w 715223"/>
              <a:gd name="csY179" fmla="*/ 665521 h 1556330"/>
              <a:gd name="csX180" fmla="*/ 538413 w 715223"/>
              <a:gd name="csY180" fmla="*/ 652526 h 1556330"/>
              <a:gd name="csX181" fmla="*/ 529377 w 715223"/>
              <a:gd name="csY181" fmla="*/ 642895 h 1556330"/>
              <a:gd name="csX182" fmla="*/ 502829 w 715223"/>
              <a:gd name="csY182" fmla="*/ 634808 h 1556330"/>
              <a:gd name="csX183" fmla="*/ 453915 w 715223"/>
              <a:gd name="csY183" fmla="*/ 635267 h 155633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  <a:cxn ang="0">
                <a:pos x="csX170" y="csY170"/>
              </a:cxn>
              <a:cxn ang="0">
                <a:pos x="csX171" y="csY171"/>
              </a:cxn>
              <a:cxn ang="0">
                <a:pos x="csX172" y="csY172"/>
              </a:cxn>
              <a:cxn ang="0">
                <a:pos x="csX173" y="csY173"/>
              </a:cxn>
              <a:cxn ang="0">
                <a:pos x="csX174" y="csY174"/>
              </a:cxn>
              <a:cxn ang="0">
                <a:pos x="csX175" y="csY175"/>
              </a:cxn>
              <a:cxn ang="0">
                <a:pos x="csX176" y="csY176"/>
              </a:cxn>
              <a:cxn ang="0">
                <a:pos x="csX177" y="csY177"/>
              </a:cxn>
              <a:cxn ang="0">
                <a:pos x="csX178" y="csY178"/>
              </a:cxn>
              <a:cxn ang="0">
                <a:pos x="csX179" y="csY179"/>
              </a:cxn>
              <a:cxn ang="0">
                <a:pos x="csX180" y="csY180"/>
              </a:cxn>
              <a:cxn ang="0">
                <a:pos x="csX181" y="csY181"/>
              </a:cxn>
              <a:cxn ang="0">
                <a:pos x="csX182" y="csY182"/>
              </a:cxn>
              <a:cxn ang="0">
                <a:pos x="csX183" y="csY183"/>
              </a:cxn>
            </a:cxnLst>
            <a:rect l="l" t="t" r="r" b="b"/>
            <a:pathLst>
              <a:path w="715223" h="1556330">
                <a:moveTo>
                  <a:pt x="466852" y="229083"/>
                </a:moveTo>
                <a:cubicBezTo>
                  <a:pt x="465344" y="233590"/>
                  <a:pt x="463836" y="238097"/>
                  <a:pt x="462328" y="242604"/>
                </a:cubicBezTo>
                <a:cubicBezTo>
                  <a:pt x="476604" y="232528"/>
                  <a:pt x="484219" y="216936"/>
                  <a:pt x="496944" y="204739"/>
                </a:cubicBezTo>
                <a:cubicBezTo>
                  <a:pt x="511903" y="225901"/>
                  <a:pt x="524807" y="247414"/>
                  <a:pt x="534359" y="270960"/>
                </a:cubicBezTo>
                <a:cubicBezTo>
                  <a:pt x="557740" y="328591"/>
                  <a:pt x="560223" y="386926"/>
                  <a:pt x="540589" y="445986"/>
                </a:cubicBezTo>
                <a:cubicBezTo>
                  <a:pt x="534197" y="465215"/>
                  <a:pt x="524450" y="482672"/>
                  <a:pt x="509727" y="496924"/>
                </a:cubicBezTo>
                <a:cubicBezTo>
                  <a:pt x="505277" y="501232"/>
                  <a:pt x="502734" y="505157"/>
                  <a:pt x="505366" y="511893"/>
                </a:cubicBezTo>
                <a:cubicBezTo>
                  <a:pt x="507828" y="518196"/>
                  <a:pt x="505953" y="524402"/>
                  <a:pt x="501982" y="530377"/>
                </a:cubicBezTo>
                <a:cubicBezTo>
                  <a:pt x="495613" y="539961"/>
                  <a:pt x="496865" y="548901"/>
                  <a:pt x="505678" y="556455"/>
                </a:cubicBezTo>
                <a:cubicBezTo>
                  <a:pt x="516748" y="565943"/>
                  <a:pt x="523694" y="577557"/>
                  <a:pt x="526115" y="591784"/>
                </a:cubicBezTo>
                <a:cubicBezTo>
                  <a:pt x="527758" y="601445"/>
                  <a:pt x="532593" y="608029"/>
                  <a:pt x="541579" y="612264"/>
                </a:cubicBezTo>
                <a:cubicBezTo>
                  <a:pt x="555150" y="618662"/>
                  <a:pt x="564081" y="629523"/>
                  <a:pt x="569572" y="643441"/>
                </a:cubicBezTo>
                <a:cubicBezTo>
                  <a:pt x="576413" y="660776"/>
                  <a:pt x="570996" y="678245"/>
                  <a:pt x="555234" y="688473"/>
                </a:cubicBezTo>
                <a:cubicBezTo>
                  <a:pt x="542486" y="696746"/>
                  <a:pt x="528127" y="699474"/>
                  <a:pt x="513278" y="700556"/>
                </a:cubicBezTo>
                <a:cubicBezTo>
                  <a:pt x="505590" y="701115"/>
                  <a:pt x="497922" y="701952"/>
                  <a:pt x="488559" y="702821"/>
                </a:cubicBezTo>
                <a:cubicBezTo>
                  <a:pt x="488559" y="708552"/>
                  <a:pt x="488653" y="713320"/>
                  <a:pt x="488544" y="718085"/>
                </a:cubicBezTo>
                <a:cubicBezTo>
                  <a:pt x="486284" y="817406"/>
                  <a:pt x="502313" y="914319"/>
                  <a:pt x="526561" y="1010212"/>
                </a:cubicBezTo>
                <a:cubicBezTo>
                  <a:pt x="538799" y="1058612"/>
                  <a:pt x="553050" y="1106345"/>
                  <a:pt x="569986" y="1153317"/>
                </a:cubicBezTo>
                <a:cubicBezTo>
                  <a:pt x="573328" y="1162590"/>
                  <a:pt x="578279" y="1168740"/>
                  <a:pt x="587389" y="1172173"/>
                </a:cubicBezTo>
                <a:cubicBezTo>
                  <a:pt x="593869" y="1174616"/>
                  <a:pt x="600289" y="1177449"/>
                  <a:pt x="606286" y="1180891"/>
                </a:cubicBezTo>
                <a:cubicBezTo>
                  <a:pt x="617185" y="1187146"/>
                  <a:pt x="618776" y="1192931"/>
                  <a:pt x="613400" y="1204260"/>
                </a:cubicBezTo>
                <a:cubicBezTo>
                  <a:pt x="611475" y="1208315"/>
                  <a:pt x="609140" y="1212177"/>
                  <a:pt x="605350" y="1216760"/>
                </a:cubicBezTo>
                <a:cubicBezTo>
                  <a:pt x="602514" y="1218347"/>
                  <a:pt x="600399" y="1219189"/>
                  <a:pt x="600268" y="1220273"/>
                </a:cubicBezTo>
                <a:cubicBezTo>
                  <a:pt x="598551" y="1234430"/>
                  <a:pt x="599473" y="1247881"/>
                  <a:pt x="610574" y="1258750"/>
                </a:cubicBezTo>
                <a:cubicBezTo>
                  <a:pt x="631265" y="1279009"/>
                  <a:pt x="651790" y="1299438"/>
                  <a:pt x="672371" y="1319810"/>
                </a:cubicBezTo>
                <a:cubicBezTo>
                  <a:pt x="673495" y="1320922"/>
                  <a:pt x="674892" y="1321987"/>
                  <a:pt x="675494" y="1323366"/>
                </a:cubicBezTo>
                <a:cubicBezTo>
                  <a:pt x="685626" y="1346558"/>
                  <a:pt x="694775" y="1370031"/>
                  <a:pt x="692949" y="1396068"/>
                </a:cubicBezTo>
                <a:cubicBezTo>
                  <a:pt x="692525" y="1402108"/>
                  <a:pt x="691276" y="1408087"/>
                  <a:pt x="690628" y="1414117"/>
                </a:cubicBezTo>
                <a:cubicBezTo>
                  <a:pt x="690241" y="1417713"/>
                  <a:pt x="691290" y="1420628"/>
                  <a:pt x="695588" y="1421035"/>
                </a:cubicBezTo>
                <a:cubicBezTo>
                  <a:pt x="695527" y="1422155"/>
                  <a:pt x="695467" y="1423274"/>
                  <a:pt x="694353" y="1425190"/>
                </a:cubicBezTo>
                <a:cubicBezTo>
                  <a:pt x="691901" y="1426894"/>
                  <a:pt x="690503" y="1427804"/>
                  <a:pt x="689106" y="1428714"/>
                </a:cubicBezTo>
                <a:cubicBezTo>
                  <a:pt x="691101" y="1428620"/>
                  <a:pt x="693098" y="1428527"/>
                  <a:pt x="695093" y="1428433"/>
                </a:cubicBezTo>
                <a:cubicBezTo>
                  <a:pt x="695976" y="1429430"/>
                  <a:pt x="696859" y="1430427"/>
                  <a:pt x="697643" y="1432864"/>
                </a:cubicBezTo>
                <a:cubicBezTo>
                  <a:pt x="697724" y="1436887"/>
                  <a:pt x="697087" y="1439912"/>
                  <a:pt x="698207" y="1441988"/>
                </a:cubicBezTo>
                <a:cubicBezTo>
                  <a:pt x="709464" y="1462853"/>
                  <a:pt x="715798" y="1484864"/>
                  <a:pt x="715183" y="1508752"/>
                </a:cubicBezTo>
                <a:cubicBezTo>
                  <a:pt x="714863" y="1521166"/>
                  <a:pt x="713458" y="1523372"/>
                  <a:pt x="701540" y="1526524"/>
                </a:cubicBezTo>
                <a:cubicBezTo>
                  <a:pt x="662165" y="1536936"/>
                  <a:pt x="622006" y="1543243"/>
                  <a:pt x="581715" y="1548559"/>
                </a:cubicBezTo>
                <a:cubicBezTo>
                  <a:pt x="561988" y="1551162"/>
                  <a:pt x="542052" y="1552457"/>
                  <a:pt x="522168" y="1553543"/>
                </a:cubicBezTo>
                <a:cubicBezTo>
                  <a:pt x="498138" y="1554856"/>
                  <a:pt x="474063" y="1556013"/>
                  <a:pt x="450008" y="1556019"/>
                </a:cubicBezTo>
                <a:cubicBezTo>
                  <a:pt x="381724" y="1556035"/>
                  <a:pt x="313415" y="1557550"/>
                  <a:pt x="245169" y="1553749"/>
                </a:cubicBezTo>
                <a:cubicBezTo>
                  <a:pt x="237413" y="1553317"/>
                  <a:pt x="229596" y="1553867"/>
                  <a:pt x="221854" y="1553306"/>
                </a:cubicBezTo>
                <a:cubicBezTo>
                  <a:pt x="204023" y="1552015"/>
                  <a:pt x="186231" y="1550202"/>
                  <a:pt x="168405" y="1548828"/>
                </a:cubicBezTo>
                <a:cubicBezTo>
                  <a:pt x="154605" y="1547764"/>
                  <a:pt x="140762" y="1547242"/>
                  <a:pt x="126970" y="1546091"/>
                </a:cubicBezTo>
                <a:cubicBezTo>
                  <a:pt x="119295" y="1545451"/>
                  <a:pt x="111668" y="1544132"/>
                  <a:pt x="104053" y="1542912"/>
                </a:cubicBezTo>
                <a:cubicBezTo>
                  <a:pt x="91223" y="1540858"/>
                  <a:pt x="78344" y="1539011"/>
                  <a:pt x="65625" y="1536401"/>
                </a:cubicBezTo>
                <a:cubicBezTo>
                  <a:pt x="47307" y="1532642"/>
                  <a:pt x="29006" y="1528694"/>
                  <a:pt x="10909" y="1524010"/>
                </a:cubicBezTo>
                <a:cubicBezTo>
                  <a:pt x="744" y="1521379"/>
                  <a:pt x="119" y="1519620"/>
                  <a:pt x="8" y="1509263"/>
                </a:cubicBezTo>
                <a:cubicBezTo>
                  <a:pt x="-283" y="1482004"/>
                  <a:pt x="7525" y="1456906"/>
                  <a:pt x="21158" y="1433611"/>
                </a:cubicBezTo>
                <a:cubicBezTo>
                  <a:pt x="24128" y="1428537"/>
                  <a:pt x="25100" y="1424162"/>
                  <a:pt x="23462" y="1418658"/>
                </a:cubicBezTo>
                <a:cubicBezTo>
                  <a:pt x="19938" y="1406814"/>
                  <a:pt x="19145" y="1394638"/>
                  <a:pt x="19643" y="1382324"/>
                </a:cubicBezTo>
                <a:cubicBezTo>
                  <a:pt x="20741" y="1355171"/>
                  <a:pt x="29461" y="1331114"/>
                  <a:pt x="49060" y="1311832"/>
                </a:cubicBezTo>
                <a:cubicBezTo>
                  <a:pt x="68866" y="1292344"/>
                  <a:pt x="89102" y="1273294"/>
                  <a:pt x="109176" y="1254078"/>
                </a:cubicBezTo>
                <a:cubicBezTo>
                  <a:pt x="120788" y="1242961"/>
                  <a:pt x="123122" y="1229673"/>
                  <a:pt x="118319" y="1214801"/>
                </a:cubicBezTo>
                <a:cubicBezTo>
                  <a:pt x="116817" y="1210150"/>
                  <a:pt x="114697" y="1205702"/>
                  <a:pt x="113082" y="1201084"/>
                </a:cubicBezTo>
                <a:cubicBezTo>
                  <a:pt x="109606" y="1191147"/>
                  <a:pt x="110855" y="1188189"/>
                  <a:pt x="120417" y="1183950"/>
                </a:cubicBezTo>
                <a:cubicBezTo>
                  <a:pt x="125262" y="1181801"/>
                  <a:pt x="130109" y="1179394"/>
                  <a:pt x="135209" y="1178138"/>
                </a:cubicBezTo>
                <a:cubicBezTo>
                  <a:pt x="146972" y="1175241"/>
                  <a:pt x="153194" y="1166910"/>
                  <a:pt x="156535" y="1156396"/>
                </a:cubicBezTo>
                <a:cubicBezTo>
                  <a:pt x="166535" y="1124919"/>
                  <a:pt x="176229" y="1093339"/>
                  <a:pt x="185647" y="1061682"/>
                </a:cubicBezTo>
                <a:cubicBezTo>
                  <a:pt x="191222" y="1042945"/>
                  <a:pt x="196570" y="1024108"/>
                  <a:pt x="201074" y="1005093"/>
                </a:cubicBezTo>
                <a:cubicBezTo>
                  <a:pt x="205941" y="984550"/>
                  <a:pt x="210000" y="963801"/>
                  <a:pt x="213864" y="943040"/>
                </a:cubicBezTo>
                <a:cubicBezTo>
                  <a:pt x="217503" y="923489"/>
                  <a:pt x="220701" y="903846"/>
                  <a:pt x="223580" y="884167"/>
                </a:cubicBezTo>
                <a:cubicBezTo>
                  <a:pt x="225754" y="869301"/>
                  <a:pt x="227195" y="854324"/>
                  <a:pt x="228827" y="839382"/>
                </a:cubicBezTo>
                <a:cubicBezTo>
                  <a:pt x="230459" y="824446"/>
                  <a:pt x="232880" y="809515"/>
                  <a:pt x="233251" y="794539"/>
                </a:cubicBezTo>
                <a:cubicBezTo>
                  <a:pt x="233961" y="765893"/>
                  <a:pt x="233499" y="737217"/>
                  <a:pt x="233413" y="708554"/>
                </a:cubicBezTo>
                <a:cubicBezTo>
                  <a:pt x="233404" y="705465"/>
                  <a:pt x="232667" y="702378"/>
                  <a:pt x="232253" y="699181"/>
                </a:cubicBezTo>
                <a:cubicBezTo>
                  <a:pt x="218443" y="697138"/>
                  <a:pt x="205461" y="695831"/>
                  <a:pt x="192775" y="693131"/>
                </a:cubicBezTo>
                <a:cubicBezTo>
                  <a:pt x="183686" y="691197"/>
                  <a:pt x="174549" y="688305"/>
                  <a:pt x="166222" y="684229"/>
                </a:cubicBezTo>
                <a:cubicBezTo>
                  <a:pt x="151266" y="676909"/>
                  <a:pt x="147247" y="664789"/>
                  <a:pt x="153485" y="649704"/>
                </a:cubicBezTo>
                <a:cubicBezTo>
                  <a:pt x="158693" y="637111"/>
                  <a:pt x="168160" y="628190"/>
                  <a:pt x="179302" y="621006"/>
                </a:cubicBezTo>
                <a:cubicBezTo>
                  <a:pt x="186548" y="616334"/>
                  <a:pt x="191317" y="611105"/>
                  <a:pt x="192182" y="601675"/>
                </a:cubicBezTo>
                <a:cubicBezTo>
                  <a:pt x="192878" y="594094"/>
                  <a:pt x="197099" y="587626"/>
                  <a:pt x="204894" y="583417"/>
                </a:cubicBezTo>
                <a:cubicBezTo>
                  <a:pt x="214873" y="578030"/>
                  <a:pt x="224643" y="571774"/>
                  <a:pt x="233213" y="564393"/>
                </a:cubicBezTo>
                <a:cubicBezTo>
                  <a:pt x="242623" y="556289"/>
                  <a:pt x="240441" y="544193"/>
                  <a:pt x="229725" y="538177"/>
                </a:cubicBezTo>
                <a:cubicBezTo>
                  <a:pt x="226159" y="536176"/>
                  <a:pt x="222483" y="534351"/>
                  <a:pt x="218771" y="532633"/>
                </a:cubicBezTo>
                <a:cubicBezTo>
                  <a:pt x="213503" y="530196"/>
                  <a:pt x="212651" y="526226"/>
                  <a:pt x="215183" y="521568"/>
                </a:cubicBezTo>
                <a:cubicBezTo>
                  <a:pt x="217485" y="517332"/>
                  <a:pt x="220405" y="513432"/>
                  <a:pt x="223368" y="508901"/>
                </a:cubicBezTo>
                <a:cubicBezTo>
                  <a:pt x="221781" y="505376"/>
                  <a:pt x="220809" y="501165"/>
                  <a:pt x="218372" y="498135"/>
                </a:cubicBezTo>
                <a:cubicBezTo>
                  <a:pt x="202366" y="478231"/>
                  <a:pt x="190774" y="455961"/>
                  <a:pt x="181440" y="432308"/>
                </a:cubicBezTo>
                <a:cubicBezTo>
                  <a:pt x="170959" y="405748"/>
                  <a:pt x="164933" y="378186"/>
                  <a:pt x="167535" y="349841"/>
                </a:cubicBezTo>
                <a:cubicBezTo>
                  <a:pt x="170341" y="319265"/>
                  <a:pt x="179208" y="289917"/>
                  <a:pt x="193488" y="262518"/>
                </a:cubicBezTo>
                <a:cubicBezTo>
                  <a:pt x="206512" y="237529"/>
                  <a:pt x="220831" y="213359"/>
                  <a:pt x="237748" y="190690"/>
                </a:cubicBezTo>
                <a:cubicBezTo>
                  <a:pt x="260421" y="160310"/>
                  <a:pt x="282602" y="129592"/>
                  <a:pt x="309459" y="102623"/>
                </a:cubicBezTo>
                <a:cubicBezTo>
                  <a:pt x="316627" y="95424"/>
                  <a:pt x="316261" y="87541"/>
                  <a:pt x="310459" y="78521"/>
                </a:cubicBezTo>
                <a:cubicBezTo>
                  <a:pt x="306309" y="72071"/>
                  <a:pt x="301695" y="65150"/>
                  <a:pt x="300267" y="57856"/>
                </a:cubicBezTo>
                <a:cubicBezTo>
                  <a:pt x="295286" y="32423"/>
                  <a:pt x="314502" y="10133"/>
                  <a:pt x="332242" y="4422"/>
                </a:cubicBezTo>
                <a:cubicBezTo>
                  <a:pt x="349540" y="-1148"/>
                  <a:pt x="367530" y="-2176"/>
                  <a:pt x="384904" y="5551"/>
                </a:cubicBezTo>
                <a:cubicBezTo>
                  <a:pt x="395271" y="10161"/>
                  <a:pt x="403310" y="17760"/>
                  <a:pt x="409773" y="26778"/>
                </a:cubicBezTo>
                <a:cubicBezTo>
                  <a:pt x="415168" y="34307"/>
                  <a:pt x="413749" y="41584"/>
                  <a:pt x="407026" y="46052"/>
                </a:cubicBezTo>
                <a:cubicBezTo>
                  <a:pt x="405624" y="40964"/>
                  <a:pt x="404503" y="35849"/>
                  <a:pt x="402771" y="30951"/>
                </a:cubicBezTo>
                <a:cubicBezTo>
                  <a:pt x="401450" y="27216"/>
                  <a:pt x="399383" y="28477"/>
                  <a:pt x="397038" y="30361"/>
                </a:cubicBezTo>
                <a:cubicBezTo>
                  <a:pt x="384440" y="15986"/>
                  <a:pt x="377037" y="14494"/>
                  <a:pt x="360694" y="22760"/>
                </a:cubicBezTo>
                <a:cubicBezTo>
                  <a:pt x="353707" y="22767"/>
                  <a:pt x="352275" y="27176"/>
                  <a:pt x="351669" y="31736"/>
                </a:cubicBezTo>
                <a:cubicBezTo>
                  <a:pt x="351136" y="35760"/>
                  <a:pt x="351383" y="39899"/>
                  <a:pt x="351426" y="43987"/>
                </a:cubicBezTo>
                <a:cubicBezTo>
                  <a:pt x="351648" y="64919"/>
                  <a:pt x="372389" y="78115"/>
                  <a:pt x="390968" y="68762"/>
                </a:cubicBezTo>
                <a:cubicBezTo>
                  <a:pt x="395158" y="66653"/>
                  <a:pt x="398534" y="62629"/>
                  <a:pt x="401770" y="59025"/>
                </a:cubicBezTo>
                <a:cubicBezTo>
                  <a:pt x="404045" y="56491"/>
                  <a:pt x="405661" y="53409"/>
                  <a:pt x="409619" y="55786"/>
                </a:cubicBezTo>
                <a:cubicBezTo>
                  <a:pt x="413544" y="58145"/>
                  <a:pt x="412176" y="61347"/>
                  <a:pt x="410427" y="64256"/>
                </a:cubicBezTo>
                <a:cubicBezTo>
                  <a:pt x="406872" y="70170"/>
                  <a:pt x="403244" y="76046"/>
                  <a:pt x="399453" y="81811"/>
                </a:cubicBezTo>
                <a:cubicBezTo>
                  <a:pt x="394663" y="89097"/>
                  <a:pt x="394382" y="94032"/>
                  <a:pt x="399346" y="98083"/>
                </a:cubicBezTo>
                <a:cubicBezTo>
                  <a:pt x="428062" y="121519"/>
                  <a:pt x="450822" y="150083"/>
                  <a:pt x="471592" y="180524"/>
                </a:cubicBezTo>
                <a:cubicBezTo>
                  <a:pt x="476398" y="187569"/>
                  <a:pt x="476844" y="193688"/>
                  <a:pt x="473550" y="200923"/>
                </a:cubicBezTo>
                <a:cubicBezTo>
                  <a:pt x="470171" y="208346"/>
                  <a:pt x="467091" y="215905"/>
                  <a:pt x="463677" y="223311"/>
                </a:cubicBezTo>
                <a:cubicBezTo>
                  <a:pt x="461993" y="226965"/>
                  <a:pt x="462995" y="228697"/>
                  <a:pt x="466852" y="229083"/>
                </a:cubicBezTo>
                <a:moveTo>
                  <a:pt x="474186" y="928382"/>
                </a:moveTo>
                <a:cubicBezTo>
                  <a:pt x="469297" y="891529"/>
                  <a:pt x="462961" y="854794"/>
                  <a:pt x="459927" y="817790"/>
                </a:cubicBezTo>
                <a:cubicBezTo>
                  <a:pt x="456905" y="780939"/>
                  <a:pt x="457197" y="743817"/>
                  <a:pt x="456025" y="706469"/>
                </a:cubicBezTo>
                <a:cubicBezTo>
                  <a:pt x="425780" y="707923"/>
                  <a:pt x="396554" y="709327"/>
                  <a:pt x="366863" y="710754"/>
                </a:cubicBezTo>
                <a:cubicBezTo>
                  <a:pt x="366546" y="714450"/>
                  <a:pt x="366201" y="716832"/>
                  <a:pt x="366159" y="719219"/>
                </a:cubicBezTo>
                <a:cubicBezTo>
                  <a:pt x="365479" y="757672"/>
                  <a:pt x="364935" y="796129"/>
                  <a:pt x="364159" y="834581"/>
                </a:cubicBezTo>
                <a:cubicBezTo>
                  <a:pt x="363450" y="869762"/>
                  <a:pt x="362581" y="904941"/>
                  <a:pt x="361633" y="940117"/>
                </a:cubicBezTo>
                <a:cubicBezTo>
                  <a:pt x="360619" y="977749"/>
                  <a:pt x="359431" y="1015376"/>
                  <a:pt x="358313" y="1053005"/>
                </a:cubicBezTo>
                <a:cubicBezTo>
                  <a:pt x="358265" y="1054641"/>
                  <a:pt x="358149" y="1056276"/>
                  <a:pt x="358081" y="1057912"/>
                </a:cubicBezTo>
                <a:cubicBezTo>
                  <a:pt x="356598" y="1093463"/>
                  <a:pt x="355081" y="1129014"/>
                  <a:pt x="353706" y="1164570"/>
                </a:cubicBezTo>
                <a:cubicBezTo>
                  <a:pt x="353604" y="1167221"/>
                  <a:pt x="354516" y="1169911"/>
                  <a:pt x="354951" y="1172547"/>
                </a:cubicBezTo>
                <a:cubicBezTo>
                  <a:pt x="416984" y="1173689"/>
                  <a:pt x="478158" y="1174816"/>
                  <a:pt x="540959" y="1175972"/>
                </a:cubicBezTo>
                <a:cubicBezTo>
                  <a:pt x="513162" y="1094194"/>
                  <a:pt x="489081" y="1013598"/>
                  <a:pt x="474186" y="928382"/>
                </a:cubicBezTo>
                <a:moveTo>
                  <a:pt x="513768" y="1417676"/>
                </a:moveTo>
                <a:cubicBezTo>
                  <a:pt x="515785" y="1417344"/>
                  <a:pt x="517792" y="1416889"/>
                  <a:pt x="519822" y="1416700"/>
                </a:cubicBezTo>
                <a:cubicBezTo>
                  <a:pt x="557234" y="1413220"/>
                  <a:pt x="594682" y="1410089"/>
                  <a:pt x="632041" y="1406122"/>
                </a:cubicBezTo>
                <a:cubicBezTo>
                  <a:pt x="643122" y="1404945"/>
                  <a:pt x="654730" y="1405292"/>
                  <a:pt x="665040" y="1400634"/>
                </a:cubicBezTo>
                <a:cubicBezTo>
                  <a:pt x="665352" y="1398517"/>
                  <a:pt x="665651" y="1397324"/>
                  <a:pt x="665677" y="1396126"/>
                </a:cubicBezTo>
                <a:cubicBezTo>
                  <a:pt x="665722" y="1394084"/>
                  <a:pt x="665674" y="1392032"/>
                  <a:pt x="665529" y="1389994"/>
                </a:cubicBezTo>
                <a:cubicBezTo>
                  <a:pt x="663118" y="1356121"/>
                  <a:pt x="650063" y="1327787"/>
                  <a:pt x="623046" y="1306238"/>
                </a:cubicBezTo>
                <a:cubicBezTo>
                  <a:pt x="613485" y="1298611"/>
                  <a:pt x="605001" y="1289635"/>
                  <a:pt x="596015" y="1281285"/>
                </a:cubicBezTo>
                <a:cubicBezTo>
                  <a:pt x="578506" y="1265018"/>
                  <a:pt x="567837" y="1245446"/>
                  <a:pt x="567683" y="1220059"/>
                </a:cubicBezTo>
                <a:cubicBezTo>
                  <a:pt x="558046" y="1220059"/>
                  <a:pt x="549136" y="1219649"/>
                  <a:pt x="540273" y="1220129"/>
                </a:cubicBezTo>
                <a:cubicBezTo>
                  <a:pt x="501512" y="1222229"/>
                  <a:pt x="462775" y="1224768"/>
                  <a:pt x="424010" y="1226781"/>
                </a:cubicBezTo>
                <a:cubicBezTo>
                  <a:pt x="401969" y="1227926"/>
                  <a:pt x="379889" y="1228330"/>
                  <a:pt x="357832" y="1229178"/>
                </a:cubicBezTo>
                <a:cubicBezTo>
                  <a:pt x="355938" y="1229251"/>
                  <a:pt x="354076" y="1230151"/>
                  <a:pt x="352386" y="1230616"/>
                </a:cubicBezTo>
                <a:cubicBezTo>
                  <a:pt x="353642" y="1262222"/>
                  <a:pt x="355769" y="1293219"/>
                  <a:pt x="355852" y="1324222"/>
                </a:cubicBezTo>
                <a:cubicBezTo>
                  <a:pt x="355936" y="1355438"/>
                  <a:pt x="353988" y="1386659"/>
                  <a:pt x="352930" y="1417867"/>
                </a:cubicBezTo>
                <a:cubicBezTo>
                  <a:pt x="406069" y="1417867"/>
                  <a:pt x="458771" y="1417867"/>
                  <a:pt x="513768" y="1417676"/>
                </a:cubicBezTo>
                <a:moveTo>
                  <a:pt x="387930" y="499741"/>
                </a:moveTo>
                <a:cubicBezTo>
                  <a:pt x="410797" y="498777"/>
                  <a:pt x="433665" y="497860"/>
                  <a:pt x="456529" y="496826"/>
                </a:cubicBezTo>
                <a:cubicBezTo>
                  <a:pt x="466656" y="496369"/>
                  <a:pt x="475418" y="493371"/>
                  <a:pt x="482355" y="485095"/>
                </a:cubicBezTo>
                <a:cubicBezTo>
                  <a:pt x="509188" y="453083"/>
                  <a:pt x="525387" y="416636"/>
                  <a:pt x="528016" y="374829"/>
                </a:cubicBezTo>
                <a:cubicBezTo>
                  <a:pt x="530547" y="334558"/>
                  <a:pt x="520095" y="297041"/>
                  <a:pt x="501375" y="261643"/>
                </a:cubicBezTo>
                <a:cubicBezTo>
                  <a:pt x="499379" y="257869"/>
                  <a:pt x="496654" y="254482"/>
                  <a:pt x="493534" y="249818"/>
                </a:cubicBezTo>
                <a:cubicBezTo>
                  <a:pt x="490233" y="254212"/>
                  <a:pt x="487883" y="256986"/>
                  <a:pt x="485920" y="260010"/>
                </a:cubicBezTo>
                <a:cubicBezTo>
                  <a:pt x="475010" y="276824"/>
                  <a:pt x="464300" y="293767"/>
                  <a:pt x="453305" y="310523"/>
                </a:cubicBezTo>
                <a:cubicBezTo>
                  <a:pt x="447028" y="320089"/>
                  <a:pt x="440916" y="329858"/>
                  <a:pt x="433678" y="338672"/>
                </a:cubicBezTo>
                <a:cubicBezTo>
                  <a:pt x="425909" y="348131"/>
                  <a:pt x="413084" y="349691"/>
                  <a:pt x="403713" y="343710"/>
                </a:cubicBezTo>
                <a:cubicBezTo>
                  <a:pt x="394358" y="337739"/>
                  <a:pt x="391675" y="327526"/>
                  <a:pt x="396427" y="315612"/>
                </a:cubicBezTo>
                <a:cubicBezTo>
                  <a:pt x="397334" y="313339"/>
                  <a:pt x="398595" y="311210"/>
                  <a:pt x="399663" y="309000"/>
                </a:cubicBezTo>
                <a:cubicBezTo>
                  <a:pt x="417094" y="272900"/>
                  <a:pt x="434331" y="236704"/>
                  <a:pt x="452097" y="200770"/>
                </a:cubicBezTo>
                <a:cubicBezTo>
                  <a:pt x="455910" y="193060"/>
                  <a:pt x="455310" y="187173"/>
                  <a:pt x="450118" y="180596"/>
                </a:cubicBezTo>
                <a:cubicBezTo>
                  <a:pt x="428273" y="152922"/>
                  <a:pt x="405805" y="125901"/>
                  <a:pt x="376545" y="105525"/>
                </a:cubicBezTo>
                <a:cubicBezTo>
                  <a:pt x="374483" y="104089"/>
                  <a:pt x="372013" y="103239"/>
                  <a:pt x="368791" y="101653"/>
                </a:cubicBezTo>
                <a:cubicBezTo>
                  <a:pt x="367942" y="116965"/>
                  <a:pt x="367019" y="130814"/>
                  <a:pt x="366449" y="144676"/>
                </a:cubicBezTo>
                <a:cubicBezTo>
                  <a:pt x="365912" y="157758"/>
                  <a:pt x="365593" y="170854"/>
                  <a:pt x="365447" y="183946"/>
                </a:cubicBezTo>
                <a:cubicBezTo>
                  <a:pt x="365020" y="221975"/>
                  <a:pt x="363367" y="260055"/>
                  <a:pt x="364738" y="298022"/>
                </a:cubicBezTo>
                <a:cubicBezTo>
                  <a:pt x="366329" y="342101"/>
                  <a:pt x="370336" y="386106"/>
                  <a:pt x="373865" y="430096"/>
                </a:cubicBezTo>
                <a:cubicBezTo>
                  <a:pt x="375530" y="450849"/>
                  <a:pt x="378387" y="471514"/>
                  <a:pt x="381088" y="492169"/>
                </a:cubicBezTo>
                <a:cubicBezTo>
                  <a:pt x="381433" y="494807"/>
                  <a:pt x="384102" y="497143"/>
                  <a:pt x="387930" y="499741"/>
                </a:cubicBezTo>
                <a:moveTo>
                  <a:pt x="455850" y="1521476"/>
                </a:moveTo>
                <a:cubicBezTo>
                  <a:pt x="533043" y="1519612"/>
                  <a:pt x="609810" y="1514084"/>
                  <a:pt x="685121" y="1496509"/>
                </a:cubicBezTo>
                <a:cubicBezTo>
                  <a:pt x="683922" y="1481705"/>
                  <a:pt x="679199" y="1467708"/>
                  <a:pt x="672999" y="1456665"/>
                </a:cubicBezTo>
                <a:cubicBezTo>
                  <a:pt x="669933" y="1451203"/>
                  <a:pt x="666057" y="1449329"/>
                  <a:pt x="660009" y="1450249"/>
                </a:cubicBezTo>
                <a:cubicBezTo>
                  <a:pt x="651125" y="1451601"/>
                  <a:pt x="642144" y="1452308"/>
                  <a:pt x="633248" y="1453589"/>
                </a:cubicBezTo>
                <a:cubicBezTo>
                  <a:pt x="572852" y="1462289"/>
                  <a:pt x="511993" y="1465134"/>
                  <a:pt x="451131" y="1467458"/>
                </a:cubicBezTo>
                <a:cubicBezTo>
                  <a:pt x="421697" y="1468582"/>
                  <a:pt x="392192" y="1467837"/>
                  <a:pt x="362719" y="1467934"/>
                </a:cubicBezTo>
                <a:cubicBezTo>
                  <a:pt x="358386" y="1467948"/>
                  <a:pt x="354052" y="1467936"/>
                  <a:pt x="349983" y="1467936"/>
                </a:cubicBezTo>
                <a:cubicBezTo>
                  <a:pt x="347592" y="1485362"/>
                  <a:pt x="348606" y="1509458"/>
                  <a:pt x="352220" y="1519140"/>
                </a:cubicBezTo>
                <a:cubicBezTo>
                  <a:pt x="385617" y="1519916"/>
                  <a:pt x="419507" y="1520703"/>
                  <a:pt x="455850" y="1521476"/>
                </a:cubicBezTo>
                <a:moveTo>
                  <a:pt x="368682" y="544846"/>
                </a:moveTo>
                <a:cubicBezTo>
                  <a:pt x="374258" y="564891"/>
                  <a:pt x="370074" y="584394"/>
                  <a:pt x="363600" y="605633"/>
                </a:cubicBezTo>
                <a:cubicBezTo>
                  <a:pt x="408859" y="604212"/>
                  <a:pt x="452263" y="602850"/>
                  <a:pt x="496351" y="601466"/>
                </a:cubicBezTo>
                <a:cubicBezTo>
                  <a:pt x="496109" y="591095"/>
                  <a:pt x="491408" y="584247"/>
                  <a:pt x="485068" y="579288"/>
                </a:cubicBezTo>
                <a:cubicBezTo>
                  <a:pt x="472414" y="569391"/>
                  <a:pt x="466934" y="556602"/>
                  <a:pt x="466524" y="541026"/>
                </a:cubicBezTo>
                <a:cubicBezTo>
                  <a:pt x="466485" y="539528"/>
                  <a:pt x="465591" y="538053"/>
                  <a:pt x="465000" y="536289"/>
                </a:cubicBezTo>
                <a:cubicBezTo>
                  <a:pt x="460209" y="536289"/>
                  <a:pt x="455761" y="536132"/>
                  <a:pt x="451328" y="536316"/>
                </a:cubicBezTo>
                <a:cubicBezTo>
                  <a:pt x="430930" y="537159"/>
                  <a:pt x="410538" y="538137"/>
                  <a:pt x="390140" y="538979"/>
                </a:cubicBezTo>
                <a:cubicBezTo>
                  <a:pt x="384834" y="539198"/>
                  <a:pt x="379484" y="538790"/>
                  <a:pt x="374215" y="539303"/>
                </a:cubicBezTo>
                <a:cubicBezTo>
                  <a:pt x="372259" y="539494"/>
                  <a:pt x="370480" y="541498"/>
                  <a:pt x="368682" y="544846"/>
                </a:cubicBezTo>
                <a:moveTo>
                  <a:pt x="453915" y="635267"/>
                </a:moveTo>
                <a:cubicBezTo>
                  <a:pt x="427589" y="636632"/>
                  <a:pt x="401262" y="637998"/>
                  <a:pt x="374200" y="639402"/>
                </a:cubicBezTo>
                <a:cubicBezTo>
                  <a:pt x="374200" y="651578"/>
                  <a:pt x="374200" y="661970"/>
                  <a:pt x="374200" y="673206"/>
                </a:cubicBezTo>
                <a:cubicBezTo>
                  <a:pt x="378672" y="673406"/>
                  <a:pt x="382666" y="673863"/>
                  <a:pt x="386639" y="673718"/>
                </a:cubicBezTo>
                <a:cubicBezTo>
                  <a:pt x="431495" y="672082"/>
                  <a:pt x="476352" y="670422"/>
                  <a:pt x="521198" y="668541"/>
                </a:cubicBezTo>
                <a:cubicBezTo>
                  <a:pt x="525584" y="668357"/>
                  <a:pt x="530162" y="667254"/>
                  <a:pt x="534198" y="665521"/>
                </a:cubicBezTo>
                <a:cubicBezTo>
                  <a:pt x="540213" y="662938"/>
                  <a:pt x="541802" y="658194"/>
                  <a:pt x="538413" y="652526"/>
                </a:cubicBezTo>
                <a:cubicBezTo>
                  <a:pt x="536192" y="648813"/>
                  <a:pt x="532979" y="645251"/>
                  <a:pt x="529377" y="642895"/>
                </a:cubicBezTo>
                <a:cubicBezTo>
                  <a:pt x="521426" y="637695"/>
                  <a:pt x="512576" y="634669"/>
                  <a:pt x="502829" y="634808"/>
                </a:cubicBezTo>
                <a:cubicBezTo>
                  <a:pt x="487311" y="635030"/>
                  <a:pt x="471791" y="635092"/>
                  <a:pt x="453915" y="635267"/>
                </a:cubicBezTo>
                <a:close/>
              </a:path>
            </a:pathLst>
          </a:custGeom>
          <a:solidFill>
            <a:srgbClr val="CDD9DF"/>
          </a:solidFill>
          <a:ln w="12700" cap="flat">
            <a:solidFill>
              <a:srgbClr val="CDD9DF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1" name="Free-form: Shape 200">
            <a:extLst>
              <a:ext uri="{FF2B5EF4-FFF2-40B4-BE49-F238E27FC236}">
                <a16:creationId xmlns:a16="http://schemas.microsoft.com/office/drawing/2014/main" id="{85809ABF-39B0-3E7F-A7AB-122B26111BAD}"/>
              </a:ext>
            </a:extLst>
          </p:cNvPr>
          <p:cNvSpPr/>
          <p:nvPr/>
        </p:nvSpPr>
        <p:spPr>
          <a:xfrm>
            <a:off x="1604859" y="2006695"/>
            <a:ext cx="665488" cy="1428730"/>
          </a:xfrm>
          <a:custGeom>
            <a:avLst/>
            <a:gdLst>
              <a:gd name="csX0" fmla="*/ 406842 w 732037"/>
              <a:gd name="csY0" fmla="*/ 38347 h 1571603"/>
              <a:gd name="csX1" fmla="*/ 411944 w 732037"/>
              <a:gd name="csY1" fmla="*/ 38343 h 1571603"/>
              <a:gd name="csX2" fmla="*/ 416198 w 732037"/>
              <a:gd name="csY2" fmla="*/ 53444 h 1571603"/>
              <a:gd name="csX3" fmla="*/ 418945 w 732037"/>
              <a:gd name="csY3" fmla="*/ 34170 h 1571603"/>
              <a:gd name="csX4" fmla="*/ 394077 w 732037"/>
              <a:gd name="csY4" fmla="*/ 12943 h 1571603"/>
              <a:gd name="csX5" fmla="*/ 341415 w 732037"/>
              <a:gd name="csY5" fmla="*/ 11814 h 1571603"/>
              <a:gd name="csX6" fmla="*/ 309440 w 732037"/>
              <a:gd name="csY6" fmla="*/ 65249 h 1571603"/>
              <a:gd name="csX7" fmla="*/ 319632 w 732037"/>
              <a:gd name="csY7" fmla="*/ 85914 h 1571603"/>
              <a:gd name="csX8" fmla="*/ 318632 w 732037"/>
              <a:gd name="csY8" fmla="*/ 110015 h 1571603"/>
              <a:gd name="csX9" fmla="*/ 246921 w 732037"/>
              <a:gd name="csY9" fmla="*/ 198083 h 1571603"/>
              <a:gd name="csX10" fmla="*/ 202660 w 732037"/>
              <a:gd name="csY10" fmla="*/ 269911 h 1571603"/>
              <a:gd name="csX11" fmla="*/ 176707 w 732037"/>
              <a:gd name="csY11" fmla="*/ 357233 h 1571603"/>
              <a:gd name="csX12" fmla="*/ 190612 w 732037"/>
              <a:gd name="csY12" fmla="*/ 439700 h 1571603"/>
              <a:gd name="csX13" fmla="*/ 227544 w 732037"/>
              <a:gd name="csY13" fmla="*/ 505527 h 1571603"/>
              <a:gd name="csX14" fmla="*/ 232541 w 732037"/>
              <a:gd name="csY14" fmla="*/ 516294 h 1571603"/>
              <a:gd name="csX15" fmla="*/ 224356 w 732037"/>
              <a:gd name="csY15" fmla="*/ 528960 h 1571603"/>
              <a:gd name="csX16" fmla="*/ 227944 w 732037"/>
              <a:gd name="csY16" fmla="*/ 540026 h 1571603"/>
              <a:gd name="csX17" fmla="*/ 238897 w 732037"/>
              <a:gd name="csY17" fmla="*/ 545570 h 1571603"/>
              <a:gd name="csX18" fmla="*/ 242386 w 732037"/>
              <a:gd name="csY18" fmla="*/ 571785 h 1571603"/>
              <a:gd name="csX19" fmla="*/ 214067 w 732037"/>
              <a:gd name="csY19" fmla="*/ 590809 h 1571603"/>
              <a:gd name="csX20" fmla="*/ 201355 w 732037"/>
              <a:gd name="csY20" fmla="*/ 609067 h 1571603"/>
              <a:gd name="csX21" fmla="*/ 188474 w 732037"/>
              <a:gd name="csY21" fmla="*/ 628398 h 1571603"/>
              <a:gd name="csX22" fmla="*/ 162658 w 732037"/>
              <a:gd name="csY22" fmla="*/ 657096 h 1571603"/>
              <a:gd name="csX23" fmla="*/ 175395 w 732037"/>
              <a:gd name="csY23" fmla="*/ 691621 h 1571603"/>
              <a:gd name="csX24" fmla="*/ 201948 w 732037"/>
              <a:gd name="csY24" fmla="*/ 700523 h 1571603"/>
              <a:gd name="csX25" fmla="*/ 241426 w 732037"/>
              <a:gd name="csY25" fmla="*/ 706574 h 1571603"/>
              <a:gd name="csX26" fmla="*/ 242586 w 732037"/>
              <a:gd name="csY26" fmla="*/ 715946 h 1571603"/>
              <a:gd name="csX27" fmla="*/ 242424 w 732037"/>
              <a:gd name="csY27" fmla="*/ 801932 h 1571603"/>
              <a:gd name="csX28" fmla="*/ 238000 w 732037"/>
              <a:gd name="csY28" fmla="*/ 846774 h 1571603"/>
              <a:gd name="csX29" fmla="*/ 232752 w 732037"/>
              <a:gd name="csY29" fmla="*/ 891559 h 1571603"/>
              <a:gd name="csX30" fmla="*/ 223037 w 732037"/>
              <a:gd name="csY30" fmla="*/ 950433 h 1571603"/>
              <a:gd name="csX31" fmla="*/ 210247 w 732037"/>
              <a:gd name="csY31" fmla="*/ 1012485 h 1571603"/>
              <a:gd name="csX32" fmla="*/ 194820 w 732037"/>
              <a:gd name="csY32" fmla="*/ 1069074 h 1571603"/>
              <a:gd name="csX33" fmla="*/ 165707 w 732037"/>
              <a:gd name="csY33" fmla="*/ 1163788 h 1571603"/>
              <a:gd name="csX34" fmla="*/ 144382 w 732037"/>
              <a:gd name="csY34" fmla="*/ 1185530 h 1571603"/>
              <a:gd name="csX35" fmla="*/ 129590 w 732037"/>
              <a:gd name="csY35" fmla="*/ 1191342 h 1571603"/>
              <a:gd name="csX36" fmla="*/ 122255 w 732037"/>
              <a:gd name="csY36" fmla="*/ 1208476 h 1571603"/>
              <a:gd name="csX37" fmla="*/ 127491 w 732037"/>
              <a:gd name="csY37" fmla="*/ 1222193 h 1571603"/>
              <a:gd name="csX38" fmla="*/ 118348 w 732037"/>
              <a:gd name="csY38" fmla="*/ 1261470 h 1571603"/>
              <a:gd name="csX39" fmla="*/ 58232 w 732037"/>
              <a:gd name="csY39" fmla="*/ 1319224 h 1571603"/>
              <a:gd name="csX40" fmla="*/ 28815 w 732037"/>
              <a:gd name="csY40" fmla="*/ 1389717 h 1571603"/>
              <a:gd name="csX41" fmla="*/ 32634 w 732037"/>
              <a:gd name="csY41" fmla="*/ 1426050 h 1571603"/>
              <a:gd name="csX42" fmla="*/ 30331 w 732037"/>
              <a:gd name="csY42" fmla="*/ 1441003 h 1571603"/>
              <a:gd name="csX43" fmla="*/ 9180 w 732037"/>
              <a:gd name="csY43" fmla="*/ 1516655 h 1571603"/>
              <a:gd name="csX44" fmla="*/ 20082 w 732037"/>
              <a:gd name="csY44" fmla="*/ 1531402 h 1571603"/>
              <a:gd name="csX45" fmla="*/ 74798 w 732037"/>
              <a:gd name="csY45" fmla="*/ 1543794 h 1571603"/>
              <a:gd name="csX46" fmla="*/ 113225 w 732037"/>
              <a:gd name="csY46" fmla="*/ 1550305 h 1571603"/>
              <a:gd name="csX47" fmla="*/ 136142 w 732037"/>
              <a:gd name="csY47" fmla="*/ 1553484 h 1571603"/>
              <a:gd name="csX48" fmla="*/ 177578 w 732037"/>
              <a:gd name="csY48" fmla="*/ 1556220 h 1571603"/>
              <a:gd name="csX49" fmla="*/ 231027 w 732037"/>
              <a:gd name="csY49" fmla="*/ 1560698 h 1571603"/>
              <a:gd name="csX50" fmla="*/ 254342 w 732037"/>
              <a:gd name="csY50" fmla="*/ 1561142 h 1571603"/>
              <a:gd name="csX51" fmla="*/ 459180 w 732037"/>
              <a:gd name="csY51" fmla="*/ 1563411 h 1571603"/>
              <a:gd name="csX52" fmla="*/ 531340 w 732037"/>
              <a:gd name="csY52" fmla="*/ 1560936 h 1571603"/>
              <a:gd name="csX53" fmla="*/ 590888 w 732037"/>
              <a:gd name="csY53" fmla="*/ 1555951 h 1571603"/>
              <a:gd name="csX54" fmla="*/ 710712 w 732037"/>
              <a:gd name="csY54" fmla="*/ 1533916 h 1571603"/>
              <a:gd name="csX55" fmla="*/ 724356 w 732037"/>
              <a:gd name="csY55" fmla="*/ 1516144 h 1571603"/>
              <a:gd name="csX56" fmla="*/ 707380 w 732037"/>
              <a:gd name="csY56" fmla="*/ 1449380 h 1571603"/>
              <a:gd name="csX57" fmla="*/ 707050 w 732037"/>
              <a:gd name="csY57" fmla="*/ 1440881 h 1571603"/>
              <a:gd name="csX58" fmla="*/ 731479 w 732037"/>
              <a:gd name="csY58" fmla="*/ 1500017 h 1571603"/>
              <a:gd name="csX59" fmla="*/ 731163 w 732037"/>
              <a:gd name="csY59" fmla="*/ 1513759 h 1571603"/>
              <a:gd name="csX60" fmla="*/ 731650 w 732037"/>
              <a:gd name="csY60" fmla="*/ 1521766 h 1571603"/>
              <a:gd name="csX61" fmla="*/ 721896 w 732037"/>
              <a:gd name="csY61" fmla="*/ 1537319 h 1571603"/>
              <a:gd name="csX62" fmla="*/ 657740 w 732037"/>
              <a:gd name="csY62" fmla="*/ 1553265 h 1571603"/>
              <a:gd name="csX63" fmla="*/ 507791 w 732037"/>
              <a:gd name="csY63" fmla="*/ 1568943 h 1571603"/>
              <a:gd name="csX64" fmla="*/ 264676 w 732037"/>
              <a:gd name="csY64" fmla="*/ 1569724 h 1571603"/>
              <a:gd name="csX65" fmla="*/ 82743 w 732037"/>
              <a:gd name="csY65" fmla="*/ 1553254 h 1571603"/>
              <a:gd name="csX66" fmla="*/ 17072 w 732037"/>
              <a:gd name="csY66" fmla="*/ 1538153 h 1571603"/>
              <a:gd name="csX67" fmla="*/ 275 w 732037"/>
              <a:gd name="csY67" fmla="*/ 1513030 h 1571603"/>
              <a:gd name="csX68" fmla="*/ 20923 w 732037"/>
              <a:gd name="csY68" fmla="*/ 1441861 h 1571603"/>
              <a:gd name="csX69" fmla="*/ 23045 w 732037"/>
              <a:gd name="csY69" fmla="*/ 1423105 h 1571603"/>
              <a:gd name="csX70" fmla="*/ 30564 w 732037"/>
              <a:gd name="csY70" fmla="*/ 1346289 h 1571603"/>
              <a:gd name="csX71" fmla="*/ 71350 w 732037"/>
              <a:gd name="csY71" fmla="*/ 1295039 h 1571603"/>
              <a:gd name="csX72" fmla="*/ 112257 w 732037"/>
              <a:gd name="csY72" fmla="*/ 1255093 h 1571603"/>
              <a:gd name="csX73" fmla="*/ 115864 w 732037"/>
              <a:gd name="csY73" fmla="*/ 1217271 h 1571603"/>
              <a:gd name="csX74" fmla="*/ 112256 w 732037"/>
              <a:gd name="csY74" fmla="*/ 1210870 h 1571603"/>
              <a:gd name="csX75" fmla="*/ 121141 w 732037"/>
              <a:gd name="csY75" fmla="*/ 1186548 h 1571603"/>
              <a:gd name="csX76" fmla="*/ 136571 w 732037"/>
              <a:gd name="csY76" fmla="*/ 1179850 h 1571603"/>
              <a:gd name="csX77" fmla="*/ 158281 w 732037"/>
              <a:gd name="csY77" fmla="*/ 1157879 h 1571603"/>
              <a:gd name="csX78" fmla="*/ 187986 w 732037"/>
              <a:gd name="csY78" fmla="*/ 1059736 h 1571603"/>
              <a:gd name="csX79" fmla="*/ 217119 w 732037"/>
              <a:gd name="csY79" fmla="*/ 938896 h 1571603"/>
              <a:gd name="csX80" fmla="*/ 225792 w 732037"/>
              <a:gd name="csY80" fmla="*/ 893236 h 1571603"/>
              <a:gd name="csX81" fmla="*/ 226150 w 732037"/>
              <a:gd name="csY81" fmla="*/ 887970 h 1571603"/>
              <a:gd name="csX82" fmla="*/ 230782 w 732037"/>
              <a:gd name="csY82" fmla="*/ 853969 h 1571603"/>
              <a:gd name="csX83" fmla="*/ 230786 w 732037"/>
              <a:gd name="csY83" fmla="*/ 848558 h 1571603"/>
              <a:gd name="csX84" fmla="*/ 233315 w 732037"/>
              <a:gd name="csY84" fmla="*/ 824438 h 1571603"/>
              <a:gd name="csX85" fmla="*/ 233199 w 732037"/>
              <a:gd name="csY85" fmla="*/ 819050 h 1571603"/>
              <a:gd name="csX86" fmla="*/ 235848 w 732037"/>
              <a:gd name="csY86" fmla="*/ 782380 h 1571603"/>
              <a:gd name="csX87" fmla="*/ 237465 w 732037"/>
              <a:gd name="csY87" fmla="*/ 719113 h 1571603"/>
              <a:gd name="csX88" fmla="*/ 233057 w 732037"/>
              <a:gd name="csY88" fmla="*/ 713160 h 1571603"/>
              <a:gd name="csX89" fmla="*/ 203056 w 732037"/>
              <a:gd name="csY89" fmla="*/ 708405 h 1571603"/>
              <a:gd name="csX90" fmla="*/ 169628 w 732037"/>
              <a:gd name="csY90" fmla="*/ 698106 h 1571603"/>
              <a:gd name="csX91" fmla="*/ 153237 w 732037"/>
              <a:gd name="csY91" fmla="*/ 659111 h 1571603"/>
              <a:gd name="csX92" fmla="*/ 178365 w 732037"/>
              <a:gd name="csY92" fmla="*/ 626008 h 1571603"/>
              <a:gd name="csX93" fmla="*/ 191885 w 732037"/>
              <a:gd name="csY93" fmla="*/ 617513 h 1571603"/>
              <a:gd name="csX94" fmla="*/ 193681 w 732037"/>
              <a:gd name="csY94" fmla="*/ 610098 h 1571603"/>
              <a:gd name="csX95" fmla="*/ 213301 w 732037"/>
              <a:gd name="csY95" fmla="*/ 579885 h 1571603"/>
              <a:gd name="csX96" fmla="*/ 229635 w 732037"/>
              <a:gd name="csY96" fmla="*/ 571429 h 1571603"/>
              <a:gd name="csX97" fmla="*/ 237351 w 732037"/>
              <a:gd name="csY97" fmla="*/ 565882 h 1571603"/>
              <a:gd name="csX98" fmla="*/ 233673 w 732037"/>
              <a:gd name="csY98" fmla="*/ 550926 h 1571603"/>
              <a:gd name="csX99" fmla="*/ 226799 w 732037"/>
              <a:gd name="csY99" fmla="*/ 548359 h 1571603"/>
              <a:gd name="csX100" fmla="*/ 218639 w 732037"/>
              <a:gd name="csY100" fmla="*/ 522664 h 1571603"/>
              <a:gd name="csX101" fmla="*/ 218264 w 732037"/>
              <a:gd name="csY101" fmla="*/ 505463 h 1571603"/>
              <a:gd name="csX102" fmla="*/ 181762 w 732037"/>
              <a:gd name="csY102" fmla="*/ 437574 h 1571603"/>
              <a:gd name="csX103" fmla="*/ 185971 w 732037"/>
              <a:gd name="csY103" fmla="*/ 289069 h 1571603"/>
              <a:gd name="csX104" fmla="*/ 253787 w 732037"/>
              <a:gd name="csY104" fmla="*/ 175580 h 1571603"/>
              <a:gd name="csX105" fmla="*/ 309639 w 732037"/>
              <a:gd name="csY105" fmla="*/ 108695 h 1571603"/>
              <a:gd name="csX106" fmla="*/ 318061 w 732037"/>
              <a:gd name="csY106" fmla="*/ 98855 h 1571603"/>
              <a:gd name="csX107" fmla="*/ 304967 w 732037"/>
              <a:gd name="csY107" fmla="*/ 70056 h 1571603"/>
              <a:gd name="csX108" fmla="*/ 317012 w 732037"/>
              <a:gd name="csY108" fmla="*/ 19436 h 1571603"/>
              <a:gd name="csX109" fmla="*/ 415542 w 732037"/>
              <a:gd name="csY109" fmla="*/ 18221 h 1571603"/>
              <a:gd name="csX110" fmla="*/ 423203 w 732037"/>
              <a:gd name="csY110" fmla="*/ 82660 h 1571603"/>
              <a:gd name="csX111" fmla="*/ 413361 w 732037"/>
              <a:gd name="csY111" fmla="*/ 97975 h 1571603"/>
              <a:gd name="csX112" fmla="*/ 421654 w 732037"/>
              <a:gd name="csY112" fmla="*/ 106676 h 1571603"/>
              <a:gd name="csX113" fmla="*/ 487032 w 732037"/>
              <a:gd name="csY113" fmla="*/ 184632 h 1571603"/>
              <a:gd name="csX114" fmla="*/ 489213 w 732037"/>
              <a:gd name="csY114" fmla="*/ 208238 h 1571603"/>
              <a:gd name="csX115" fmla="*/ 476520 w 732037"/>
              <a:gd name="csY115" fmla="*/ 235738 h 1571603"/>
              <a:gd name="csX116" fmla="*/ 472850 w 732037"/>
              <a:gd name="csY116" fmla="*/ 230703 h 1571603"/>
              <a:gd name="csX117" fmla="*/ 482723 w 732037"/>
              <a:gd name="csY117" fmla="*/ 208315 h 1571603"/>
              <a:gd name="csX118" fmla="*/ 480764 w 732037"/>
              <a:gd name="csY118" fmla="*/ 187916 h 1571603"/>
              <a:gd name="csX119" fmla="*/ 408519 w 732037"/>
              <a:gd name="csY119" fmla="*/ 105475 h 1571603"/>
              <a:gd name="csX120" fmla="*/ 408625 w 732037"/>
              <a:gd name="csY120" fmla="*/ 89203 h 1571603"/>
              <a:gd name="csX121" fmla="*/ 419600 w 732037"/>
              <a:gd name="csY121" fmla="*/ 71648 h 1571603"/>
              <a:gd name="csX122" fmla="*/ 418792 w 732037"/>
              <a:gd name="csY122" fmla="*/ 63179 h 1571603"/>
              <a:gd name="csX123" fmla="*/ 410943 w 732037"/>
              <a:gd name="csY123" fmla="*/ 66417 h 1571603"/>
              <a:gd name="csX124" fmla="*/ 400140 w 732037"/>
              <a:gd name="csY124" fmla="*/ 76155 h 1571603"/>
              <a:gd name="csX125" fmla="*/ 360599 w 732037"/>
              <a:gd name="csY125" fmla="*/ 51379 h 1571603"/>
              <a:gd name="csX126" fmla="*/ 360842 w 732037"/>
              <a:gd name="csY126" fmla="*/ 39128 h 1571603"/>
              <a:gd name="csX127" fmla="*/ 369470 w 732037"/>
              <a:gd name="csY127" fmla="*/ 30960 h 1571603"/>
              <a:gd name="csX128" fmla="*/ 365613 w 732037"/>
              <a:gd name="csY128" fmla="*/ 49108 h 1571603"/>
              <a:gd name="csX129" fmla="*/ 389468 w 732037"/>
              <a:gd name="csY129" fmla="*/ 71608 h 1571603"/>
              <a:gd name="csX130" fmla="*/ 408822 w 732037"/>
              <a:gd name="csY130" fmla="*/ 46613 h 1571603"/>
              <a:gd name="csX131" fmla="*/ 406842 w 732037"/>
              <a:gd name="csY131" fmla="*/ 38347 h 157160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</a:cxnLst>
            <a:rect l="l" t="t" r="r" b="b"/>
            <a:pathLst>
              <a:path w="732037" h="1571603">
                <a:moveTo>
                  <a:pt x="406842" y="38347"/>
                </a:moveTo>
                <a:cubicBezTo>
                  <a:pt x="408555" y="35869"/>
                  <a:pt x="410622" y="34608"/>
                  <a:pt x="411944" y="38343"/>
                </a:cubicBezTo>
                <a:cubicBezTo>
                  <a:pt x="413676" y="43242"/>
                  <a:pt x="414797" y="48356"/>
                  <a:pt x="416198" y="53444"/>
                </a:cubicBezTo>
                <a:cubicBezTo>
                  <a:pt x="422922" y="48977"/>
                  <a:pt x="424340" y="41699"/>
                  <a:pt x="418945" y="34170"/>
                </a:cubicBezTo>
                <a:cubicBezTo>
                  <a:pt x="412483" y="25152"/>
                  <a:pt x="404444" y="17554"/>
                  <a:pt x="394077" y="12943"/>
                </a:cubicBezTo>
                <a:cubicBezTo>
                  <a:pt x="376702" y="5216"/>
                  <a:pt x="358713" y="6244"/>
                  <a:pt x="341415" y="11814"/>
                </a:cubicBezTo>
                <a:cubicBezTo>
                  <a:pt x="323675" y="17525"/>
                  <a:pt x="304459" y="39816"/>
                  <a:pt x="309440" y="65249"/>
                </a:cubicBezTo>
                <a:cubicBezTo>
                  <a:pt x="310868" y="72543"/>
                  <a:pt x="315482" y="79463"/>
                  <a:pt x="319632" y="85914"/>
                </a:cubicBezTo>
                <a:cubicBezTo>
                  <a:pt x="325434" y="94933"/>
                  <a:pt x="325800" y="102817"/>
                  <a:pt x="318632" y="110015"/>
                </a:cubicBezTo>
                <a:cubicBezTo>
                  <a:pt x="291775" y="136984"/>
                  <a:pt x="269594" y="167702"/>
                  <a:pt x="246921" y="198083"/>
                </a:cubicBezTo>
                <a:cubicBezTo>
                  <a:pt x="230003" y="220751"/>
                  <a:pt x="215685" y="244921"/>
                  <a:pt x="202660" y="269911"/>
                </a:cubicBezTo>
                <a:cubicBezTo>
                  <a:pt x="188381" y="297309"/>
                  <a:pt x="179513" y="326657"/>
                  <a:pt x="176707" y="357233"/>
                </a:cubicBezTo>
                <a:cubicBezTo>
                  <a:pt x="174106" y="385578"/>
                  <a:pt x="180131" y="413140"/>
                  <a:pt x="190612" y="439700"/>
                </a:cubicBezTo>
                <a:cubicBezTo>
                  <a:pt x="199946" y="463353"/>
                  <a:pt x="211538" y="485623"/>
                  <a:pt x="227544" y="505527"/>
                </a:cubicBezTo>
                <a:cubicBezTo>
                  <a:pt x="229982" y="508558"/>
                  <a:pt x="230954" y="512768"/>
                  <a:pt x="232541" y="516294"/>
                </a:cubicBezTo>
                <a:cubicBezTo>
                  <a:pt x="229578" y="520824"/>
                  <a:pt x="226658" y="524724"/>
                  <a:pt x="224356" y="528960"/>
                </a:cubicBezTo>
                <a:cubicBezTo>
                  <a:pt x="221823" y="533618"/>
                  <a:pt x="222675" y="537588"/>
                  <a:pt x="227944" y="540026"/>
                </a:cubicBezTo>
                <a:cubicBezTo>
                  <a:pt x="231656" y="541743"/>
                  <a:pt x="235331" y="543568"/>
                  <a:pt x="238897" y="545570"/>
                </a:cubicBezTo>
                <a:cubicBezTo>
                  <a:pt x="249613" y="551585"/>
                  <a:pt x="251795" y="563681"/>
                  <a:pt x="242386" y="571785"/>
                </a:cubicBezTo>
                <a:cubicBezTo>
                  <a:pt x="233816" y="579166"/>
                  <a:pt x="224045" y="585423"/>
                  <a:pt x="214067" y="590809"/>
                </a:cubicBezTo>
                <a:cubicBezTo>
                  <a:pt x="206271" y="595018"/>
                  <a:pt x="202051" y="601487"/>
                  <a:pt x="201355" y="609067"/>
                </a:cubicBezTo>
                <a:cubicBezTo>
                  <a:pt x="200489" y="618497"/>
                  <a:pt x="195720" y="623726"/>
                  <a:pt x="188474" y="628398"/>
                </a:cubicBezTo>
                <a:cubicBezTo>
                  <a:pt x="177332" y="635582"/>
                  <a:pt x="167866" y="644503"/>
                  <a:pt x="162658" y="657096"/>
                </a:cubicBezTo>
                <a:cubicBezTo>
                  <a:pt x="156420" y="672181"/>
                  <a:pt x="160439" y="684301"/>
                  <a:pt x="175395" y="691621"/>
                </a:cubicBezTo>
                <a:cubicBezTo>
                  <a:pt x="183722" y="695697"/>
                  <a:pt x="192859" y="698589"/>
                  <a:pt x="201948" y="700523"/>
                </a:cubicBezTo>
                <a:cubicBezTo>
                  <a:pt x="214634" y="703224"/>
                  <a:pt x="227616" y="704530"/>
                  <a:pt x="241426" y="706574"/>
                </a:cubicBezTo>
                <a:cubicBezTo>
                  <a:pt x="241839" y="709770"/>
                  <a:pt x="242576" y="712857"/>
                  <a:pt x="242586" y="715946"/>
                </a:cubicBezTo>
                <a:cubicBezTo>
                  <a:pt x="242672" y="744610"/>
                  <a:pt x="243133" y="773285"/>
                  <a:pt x="242424" y="801932"/>
                </a:cubicBezTo>
                <a:cubicBezTo>
                  <a:pt x="242053" y="816907"/>
                  <a:pt x="239631" y="831838"/>
                  <a:pt x="238000" y="846774"/>
                </a:cubicBezTo>
                <a:cubicBezTo>
                  <a:pt x="236368" y="861717"/>
                  <a:pt x="234927" y="876693"/>
                  <a:pt x="232752" y="891559"/>
                </a:cubicBezTo>
                <a:cubicBezTo>
                  <a:pt x="229873" y="911238"/>
                  <a:pt x="226675" y="930882"/>
                  <a:pt x="223037" y="950433"/>
                </a:cubicBezTo>
                <a:cubicBezTo>
                  <a:pt x="219173" y="971193"/>
                  <a:pt x="215113" y="991942"/>
                  <a:pt x="210247" y="1012485"/>
                </a:cubicBezTo>
                <a:cubicBezTo>
                  <a:pt x="205743" y="1031500"/>
                  <a:pt x="200395" y="1050337"/>
                  <a:pt x="194820" y="1069074"/>
                </a:cubicBezTo>
                <a:cubicBezTo>
                  <a:pt x="185401" y="1100731"/>
                  <a:pt x="175708" y="1132311"/>
                  <a:pt x="165707" y="1163788"/>
                </a:cubicBezTo>
                <a:cubicBezTo>
                  <a:pt x="162367" y="1174302"/>
                  <a:pt x="156145" y="1182634"/>
                  <a:pt x="144382" y="1185530"/>
                </a:cubicBezTo>
                <a:cubicBezTo>
                  <a:pt x="139281" y="1186787"/>
                  <a:pt x="134434" y="1189193"/>
                  <a:pt x="129590" y="1191342"/>
                </a:cubicBezTo>
                <a:cubicBezTo>
                  <a:pt x="120028" y="1195581"/>
                  <a:pt x="118779" y="1198539"/>
                  <a:pt x="122255" y="1208476"/>
                </a:cubicBezTo>
                <a:cubicBezTo>
                  <a:pt x="123870" y="1213094"/>
                  <a:pt x="125990" y="1217542"/>
                  <a:pt x="127491" y="1222193"/>
                </a:cubicBezTo>
                <a:cubicBezTo>
                  <a:pt x="132294" y="1237066"/>
                  <a:pt x="129961" y="1250353"/>
                  <a:pt x="118348" y="1261470"/>
                </a:cubicBezTo>
                <a:cubicBezTo>
                  <a:pt x="98275" y="1280686"/>
                  <a:pt x="78038" y="1299737"/>
                  <a:pt x="58232" y="1319224"/>
                </a:cubicBezTo>
                <a:cubicBezTo>
                  <a:pt x="38634" y="1338507"/>
                  <a:pt x="29913" y="1362564"/>
                  <a:pt x="28815" y="1389717"/>
                </a:cubicBezTo>
                <a:cubicBezTo>
                  <a:pt x="28318" y="1402031"/>
                  <a:pt x="29110" y="1414206"/>
                  <a:pt x="32634" y="1426050"/>
                </a:cubicBezTo>
                <a:cubicBezTo>
                  <a:pt x="34273" y="1431554"/>
                  <a:pt x="33300" y="1435929"/>
                  <a:pt x="30331" y="1441003"/>
                </a:cubicBezTo>
                <a:cubicBezTo>
                  <a:pt x="16698" y="1464298"/>
                  <a:pt x="8890" y="1489397"/>
                  <a:pt x="9180" y="1516655"/>
                </a:cubicBezTo>
                <a:cubicBezTo>
                  <a:pt x="9291" y="1527012"/>
                  <a:pt x="9917" y="1528771"/>
                  <a:pt x="20082" y="1531402"/>
                </a:cubicBezTo>
                <a:cubicBezTo>
                  <a:pt x="38179" y="1536086"/>
                  <a:pt x="56480" y="1540035"/>
                  <a:pt x="74798" y="1543794"/>
                </a:cubicBezTo>
                <a:cubicBezTo>
                  <a:pt x="87517" y="1546403"/>
                  <a:pt x="100396" y="1548250"/>
                  <a:pt x="113225" y="1550305"/>
                </a:cubicBezTo>
                <a:cubicBezTo>
                  <a:pt x="120841" y="1551524"/>
                  <a:pt x="128467" y="1552843"/>
                  <a:pt x="136142" y="1553484"/>
                </a:cubicBezTo>
                <a:cubicBezTo>
                  <a:pt x="149934" y="1554635"/>
                  <a:pt x="163778" y="1555156"/>
                  <a:pt x="177578" y="1556220"/>
                </a:cubicBezTo>
                <a:cubicBezTo>
                  <a:pt x="195403" y="1557595"/>
                  <a:pt x="213196" y="1559407"/>
                  <a:pt x="231027" y="1560698"/>
                </a:cubicBezTo>
                <a:cubicBezTo>
                  <a:pt x="238768" y="1561259"/>
                  <a:pt x="246585" y="1560709"/>
                  <a:pt x="254342" y="1561142"/>
                </a:cubicBezTo>
                <a:cubicBezTo>
                  <a:pt x="322588" y="1564942"/>
                  <a:pt x="390896" y="1563427"/>
                  <a:pt x="459180" y="1563411"/>
                </a:cubicBezTo>
                <a:cubicBezTo>
                  <a:pt x="483236" y="1563406"/>
                  <a:pt x="507311" y="1562248"/>
                  <a:pt x="531340" y="1560936"/>
                </a:cubicBezTo>
                <a:cubicBezTo>
                  <a:pt x="551225" y="1559849"/>
                  <a:pt x="571160" y="1558554"/>
                  <a:pt x="590888" y="1555951"/>
                </a:cubicBezTo>
                <a:cubicBezTo>
                  <a:pt x="631179" y="1550635"/>
                  <a:pt x="671338" y="1544328"/>
                  <a:pt x="710712" y="1533916"/>
                </a:cubicBezTo>
                <a:cubicBezTo>
                  <a:pt x="722630" y="1530764"/>
                  <a:pt x="724036" y="1528558"/>
                  <a:pt x="724356" y="1516144"/>
                </a:cubicBezTo>
                <a:cubicBezTo>
                  <a:pt x="724970" y="1492256"/>
                  <a:pt x="718637" y="1470245"/>
                  <a:pt x="707380" y="1449380"/>
                </a:cubicBezTo>
                <a:cubicBezTo>
                  <a:pt x="706259" y="1447304"/>
                  <a:pt x="706896" y="1444279"/>
                  <a:pt x="707050" y="1440881"/>
                </a:cubicBezTo>
                <a:cubicBezTo>
                  <a:pt x="722747" y="1457101"/>
                  <a:pt x="728653" y="1477963"/>
                  <a:pt x="731479" y="1500017"/>
                </a:cubicBezTo>
                <a:cubicBezTo>
                  <a:pt x="731992" y="1504029"/>
                  <a:pt x="731781" y="1508135"/>
                  <a:pt x="731163" y="1513759"/>
                </a:cubicBezTo>
                <a:cubicBezTo>
                  <a:pt x="730831" y="1517468"/>
                  <a:pt x="731241" y="1519618"/>
                  <a:pt x="731650" y="1521766"/>
                </a:cubicBezTo>
                <a:cubicBezTo>
                  <a:pt x="733191" y="1529956"/>
                  <a:pt x="730165" y="1535242"/>
                  <a:pt x="721896" y="1537319"/>
                </a:cubicBezTo>
                <a:cubicBezTo>
                  <a:pt x="700520" y="1542690"/>
                  <a:pt x="679367" y="1549248"/>
                  <a:pt x="657740" y="1553265"/>
                </a:cubicBezTo>
                <a:cubicBezTo>
                  <a:pt x="608220" y="1562464"/>
                  <a:pt x="558146" y="1566701"/>
                  <a:pt x="507791" y="1568943"/>
                </a:cubicBezTo>
                <a:cubicBezTo>
                  <a:pt x="426738" y="1572552"/>
                  <a:pt x="345677" y="1572161"/>
                  <a:pt x="264676" y="1569724"/>
                </a:cubicBezTo>
                <a:cubicBezTo>
                  <a:pt x="203800" y="1567891"/>
                  <a:pt x="142882" y="1563907"/>
                  <a:pt x="82743" y="1553254"/>
                </a:cubicBezTo>
                <a:cubicBezTo>
                  <a:pt x="60647" y="1549341"/>
                  <a:pt x="38739" y="1544032"/>
                  <a:pt x="17072" y="1538153"/>
                </a:cubicBezTo>
                <a:cubicBezTo>
                  <a:pt x="1381" y="1533894"/>
                  <a:pt x="-938" y="1529341"/>
                  <a:pt x="275" y="1513030"/>
                </a:cubicBezTo>
                <a:cubicBezTo>
                  <a:pt x="2146" y="1487871"/>
                  <a:pt x="7321" y="1463566"/>
                  <a:pt x="20923" y="1441861"/>
                </a:cubicBezTo>
                <a:cubicBezTo>
                  <a:pt x="24812" y="1435656"/>
                  <a:pt x="24566" y="1429699"/>
                  <a:pt x="23045" y="1423105"/>
                </a:cubicBezTo>
                <a:cubicBezTo>
                  <a:pt x="16952" y="1396684"/>
                  <a:pt x="19689" y="1370924"/>
                  <a:pt x="30564" y="1346289"/>
                </a:cubicBezTo>
                <a:cubicBezTo>
                  <a:pt x="39621" y="1325774"/>
                  <a:pt x="54481" y="1309709"/>
                  <a:pt x="71350" y="1295039"/>
                </a:cubicBezTo>
                <a:cubicBezTo>
                  <a:pt x="85712" y="1282550"/>
                  <a:pt x="99164" y="1268932"/>
                  <a:pt x="112257" y="1255093"/>
                </a:cubicBezTo>
                <a:cubicBezTo>
                  <a:pt x="122891" y="1243852"/>
                  <a:pt x="124955" y="1230879"/>
                  <a:pt x="115864" y="1217271"/>
                </a:cubicBezTo>
                <a:cubicBezTo>
                  <a:pt x="114506" y="1215239"/>
                  <a:pt x="113304" y="1213078"/>
                  <a:pt x="112256" y="1210870"/>
                </a:cubicBezTo>
                <a:cubicBezTo>
                  <a:pt x="106526" y="1198808"/>
                  <a:pt x="109052" y="1191969"/>
                  <a:pt x="121141" y="1186548"/>
                </a:cubicBezTo>
                <a:cubicBezTo>
                  <a:pt x="126274" y="1184246"/>
                  <a:pt x="131201" y="1180803"/>
                  <a:pt x="136571" y="1179850"/>
                </a:cubicBezTo>
                <a:cubicBezTo>
                  <a:pt x="149372" y="1177579"/>
                  <a:pt x="154892" y="1168948"/>
                  <a:pt x="158281" y="1157879"/>
                </a:cubicBezTo>
                <a:cubicBezTo>
                  <a:pt x="168288" y="1125194"/>
                  <a:pt x="179178" y="1092742"/>
                  <a:pt x="187986" y="1059736"/>
                </a:cubicBezTo>
                <a:cubicBezTo>
                  <a:pt x="198666" y="1019713"/>
                  <a:pt x="207813" y="979272"/>
                  <a:pt x="217119" y="938896"/>
                </a:cubicBezTo>
                <a:cubicBezTo>
                  <a:pt x="220491" y="924267"/>
                  <a:pt x="222410" y="909302"/>
                  <a:pt x="225792" y="893236"/>
                </a:cubicBezTo>
                <a:cubicBezTo>
                  <a:pt x="226444" y="890644"/>
                  <a:pt x="226297" y="889307"/>
                  <a:pt x="226150" y="887970"/>
                </a:cubicBezTo>
                <a:cubicBezTo>
                  <a:pt x="227450" y="877085"/>
                  <a:pt x="228750" y="866198"/>
                  <a:pt x="230782" y="853969"/>
                </a:cubicBezTo>
                <a:cubicBezTo>
                  <a:pt x="231271" y="851270"/>
                  <a:pt x="231029" y="849914"/>
                  <a:pt x="230786" y="848558"/>
                </a:cubicBezTo>
                <a:cubicBezTo>
                  <a:pt x="231390" y="840967"/>
                  <a:pt x="231993" y="833375"/>
                  <a:pt x="233315" y="824438"/>
                </a:cubicBezTo>
                <a:cubicBezTo>
                  <a:pt x="233755" y="821744"/>
                  <a:pt x="233477" y="820397"/>
                  <a:pt x="233199" y="819050"/>
                </a:cubicBezTo>
                <a:cubicBezTo>
                  <a:pt x="233786" y="807422"/>
                  <a:pt x="234374" y="795794"/>
                  <a:pt x="235848" y="782380"/>
                </a:cubicBezTo>
                <a:cubicBezTo>
                  <a:pt x="237047" y="760099"/>
                  <a:pt x="237488" y="739606"/>
                  <a:pt x="237465" y="719113"/>
                </a:cubicBezTo>
                <a:cubicBezTo>
                  <a:pt x="237463" y="717127"/>
                  <a:pt x="234595" y="715144"/>
                  <a:pt x="233057" y="713160"/>
                </a:cubicBezTo>
                <a:cubicBezTo>
                  <a:pt x="223043" y="711630"/>
                  <a:pt x="212881" y="710731"/>
                  <a:pt x="203056" y="708405"/>
                </a:cubicBezTo>
                <a:cubicBezTo>
                  <a:pt x="191716" y="705720"/>
                  <a:pt x="180144" y="702931"/>
                  <a:pt x="169628" y="698106"/>
                </a:cubicBezTo>
                <a:cubicBezTo>
                  <a:pt x="154505" y="691164"/>
                  <a:pt x="148867" y="675179"/>
                  <a:pt x="153237" y="659111"/>
                </a:cubicBezTo>
                <a:cubicBezTo>
                  <a:pt x="157196" y="644561"/>
                  <a:pt x="166649" y="634454"/>
                  <a:pt x="178365" y="626008"/>
                </a:cubicBezTo>
                <a:cubicBezTo>
                  <a:pt x="182258" y="623202"/>
                  <a:pt x="186579" y="620992"/>
                  <a:pt x="191885" y="617513"/>
                </a:cubicBezTo>
                <a:cubicBezTo>
                  <a:pt x="194882" y="614532"/>
                  <a:pt x="197062" y="612583"/>
                  <a:pt x="193681" y="610098"/>
                </a:cubicBezTo>
                <a:cubicBezTo>
                  <a:pt x="193381" y="595591"/>
                  <a:pt x="202034" y="586776"/>
                  <a:pt x="213301" y="579885"/>
                </a:cubicBezTo>
                <a:cubicBezTo>
                  <a:pt x="218517" y="576695"/>
                  <a:pt x="224270" y="574393"/>
                  <a:pt x="229635" y="571429"/>
                </a:cubicBezTo>
                <a:cubicBezTo>
                  <a:pt x="232401" y="569901"/>
                  <a:pt x="235344" y="568225"/>
                  <a:pt x="237351" y="565882"/>
                </a:cubicBezTo>
                <a:cubicBezTo>
                  <a:pt x="243193" y="559063"/>
                  <a:pt x="242021" y="554779"/>
                  <a:pt x="233673" y="550926"/>
                </a:cubicBezTo>
                <a:cubicBezTo>
                  <a:pt x="231458" y="549904"/>
                  <a:pt x="229049" y="549314"/>
                  <a:pt x="226799" y="548359"/>
                </a:cubicBezTo>
                <a:cubicBezTo>
                  <a:pt x="215108" y="543398"/>
                  <a:pt x="211118" y="532802"/>
                  <a:pt x="218639" y="522664"/>
                </a:cubicBezTo>
                <a:cubicBezTo>
                  <a:pt x="223647" y="515913"/>
                  <a:pt x="222661" y="511633"/>
                  <a:pt x="218264" y="505463"/>
                </a:cubicBezTo>
                <a:cubicBezTo>
                  <a:pt x="203255" y="484407"/>
                  <a:pt x="190650" y="461993"/>
                  <a:pt x="181762" y="437574"/>
                </a:cubicBezTo>
                <a:cubicBezTo>
                  <a:pt x="163530" y="387483"/>
                  <a:pt x="165826" y="338057"/>
                  <a:pt x="185971" y="289069"/>
                </a:cubicBezTo>
                <a:cubicBezTo>
                  <a:pt x="202921" y="247851"/>
                  <a:pt x="226229" y="210377"/>
                  <a:pt x="253787" y="175580"/>
                </a:cubicBezTo>
                <a:cubicBezTo>
                  <a:pt x="271814" y="152817"/>
                  <a:pt x="290973" y="130951"/>
                  <a:pt x="309639" y="108695"/>
                </a:cubicBezTo>
                <a:cubicBezTo>
                  <a:pt x="312744" y="104993"/>
                  <a:pt x="315922" y="101352"/>
                  <a:pt x="318061" y="98855"/>
                </a:cubicBezTo>
                <a:cubicBezTo>
                  <a:pt x="313257" y="88362"/>
                  <a:pt x="308695" y="79376"/>
                  <a:pt x="304967" y="70056"/>
                </a:cubicBezTo>
                <a:cubicBezTo>
                  <a:pt x="297146" y="50504"/>
                  <a:pt x="303366" y="33481"/>
                  <a:pt x="317012" y="19436"/>
                </a:cubicBezTo>
                <a:cubicBezTo>
                  <a:pt x="344741" y="-9105"/>
                  <a:pt x="393463" y="-3345"/>
                  <a:pt x="415542" y="18221"/>
                </a:cubicBezTo>
                <a:cubicBezTo>
                  <a:pt x="429559" y="31914"/>
                  <a:pt x="438373" y="56968"/>
                  <a:pt x="423203" y="82660"/>
                </a:cubicBezTo>
                <a:cubicBezTo>
                  <a:pt x="420306" y="87568"/>
                  <a:pt x="417047" y="92262"/>
                  <a:pt x="413361" y="97975"/>
                </a:cubicBezTo>
                <a:cubicBezTo>
                  <a:pt x="416167" y="100932"/>
                  <a:pt x="418781" y="103940"/>
                  <a:pt x="421654" y="106676"/>
                </a:cubicBezTo>
                <a:cubicBezTo>
                  <a:pt x="446372" y="130213"/>
                  <a:pt x="467902" y="156374"/>
                  <a:pt x="487032" y="184632"/>
                </a:cubicBezTo>
                <a:cubicBezTo>
                  <a:pt x="492374" y="192525"/>
                  <a:pt x="493990" y="199495"/>
                  <a:pt x="489213" y="208238"/>
                </a:cubicBezTo>
                <a:cubicBezTo>
                  <a:pt x="484525" y="216819"/>
                  <a:pt x="481033" y="226053"/>
                  <a:pt x="476520" y="235738"/>
                </a:cubicBezTo>
                <a:cubicBezTo>
                  <a:pt x="472168" y="236089"/>
                  <a:pt x="471165" y="234358"/>
                  <a:pt x="472850" y="230703"/>
                </a:cubicBezTo>
                <a:cubicBezTo>
                  <a:pt x="476263" y="223297"/>
                  <a:pt x="479344" y="215738"/>
                  <a:pt x="482723" y="208315"/>
                </a:cubicBezTo>
                <a:cubicBezTo>
                  <a:pt x="486016" y="201080"/>
                  <a:pt x="485571" y="194961"/>
                  <a:pt x="480764" y="187916"/>
                </a:cubicBezTo>
                <a:cubicBezTo>
                  <a:pt x="459995" y="157475"/>
                  <a:pt x="437234" y="128912"/>
                  <a:pt x="408519" y="105475"/>
                </a:cubicBezTo>
                <a:cubicBezTo>
                  <a:pt x="403555" y="101425"/>
                  <a:pt x="403835" y="96489"/>
                  <a:pt x="408625" y="89203"/>
                </a:cubicBezTo>
                <a:cubicBezTo>
                  <a:pt x="412416" y="83438"/>
                  <a:pt x="416045" y="77562"/>
                  <a:pt x="419600" y="71648"/>
                </a:cubicBezTo>
                <a:cubicBezTo>
                  <a:pt x="421349" y="68739"/>
                  <a:pt x="422717" y="65537"/>
                  <a:pt x="418792" y="63179"/>
                </a:cubicBezTo>
                <a:cubicBezTo>
                  <a:pt x="414834" y="60801"/>
                  <a:pt x="413218" y="63883"/>
                  <a:pt x="410943" y="66417"/>
                </a:cubicBezTo>
                <a:cubicBezTo>
                  <a:pt x="407706" y="70022"/>
                  <a:pt x="404330" y="74045"/>
                  <a:pt x="400140" y="76155"/>
                </a:cubicBezTo>
                <a:cubicBezTo>
                  <a:pt x="381561" y="85507"/>
                  <a:pt x="360821" y="72312"/>
                  <a:pt x="360599" y="51379"/>
                </a:cubicBezTo>
                <a:cubicBezTo>
                  <a:pt x="360556" y="47292"/>
                  <a:pt x="360308" y="43152"/>
                  <a:pt x="360842" y="39128"/>
                </a:cubicBezTo>
                <a:cubicBezTo>
                  <a:pt x="361447" y="34568"/>
                  <a:pt x="362880" y="30159"/>
                  <a:pt x="369470" y="30960"/>
                </a:cubicBezTo>
                <a:cubicBezTo>
                  <a:pt x="368501" y="37551"/>
                  <a:pt x="365745" y="43300"/>
                  <a:pt x="365613" y="49108"/>
                </a:cubicBezTo>
                <a:cubicBezTo>
                  <a:pt x="365328" y="61659"/>
                  <a:pt x="377498" y="72522"/>
                  <a:pt x="389468" y="71608"/>
                </a:cubicBezTo>
                <a:cubicBezTo>
                  <a:pt x="401478" y="70690"/>
                  <a:pt x="410127" y="59637"/>
                  <a:pt x="408822" y="46613"/>
                </a:cubicBezTo>
                <a:cubicBezTo>
                  <a:pt x="408542" y="43819"/>
                  <a:pt x="407521" y="41100"/>
                  <a:pt x="406842" y="38347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2" name="Free-form: Shape 201">
            <a:extLst>
              <a:ext uri="{FF2B5EF4-FFF2-40B4-BE49-F238E27FC236}">
                <a16:creationId xmlns:a16="http://schemas.microsoft.com/office/drawing/2014/main" id="{C03542EF-F1A5-1E9E-0EEF-6202E6D0F30E}"/>
              </a:ext>
            </a:extLst>
          </p:cNvPr>
          <p:cNvSpPr/>
          <p:nvPr/>
        </p:nvSpPr>
        <p:spPr>
          <a:xfrm>
            <a:off x="2158281" y="3120086"/>
            <a:ext cx="91545" cy="184495"/>
          </a:xfrm>
          <a:custGeom>
            <a:avLst/>
            <a:gdLst>
              <a:gd name="csX0" fmla="*/ 96534 w 100699"/>
              <a:gd name="csY0" fmla="*/ 202912 h 202945"/>
              <a:gd name="csX1" fmla="*/ 91036 w 100699"/>
              <a:gd name="csY1" fmla="*/ 196780 h 202945"/>
              <a:gd name="csX2" fmla="*/ 93357 w 100699"/>
              <a:gd name="csY2" fmla="*/ 178731 h 202945"/>
              <a:gd name="csX3" fmla="*/ 75903 w 100699"/>
              <a:gd name="csY3" fmla="*/ 106029 h 202945"/>
              <a:gd name="csX4" fmla="*/ 72780 w 100699"/>
              <a:gd name="csY4" fmla="*/ 102473 h 202945"/>
              <a:gd name="csX5" fmla="*/ 10982 w 100699"/>
              <a:gd name="csY5" fmla="*/ 41414 h 202945"/>
              <a:gd name="csX6" fmla="*/ 676 w 100699"/>
              <a:gd name="csY6" fmla="*/ 2936 h 202945"/>
              <a:gd name="csX7" fmla="*/ 5198 w 100699"/>
              <a:gd name="csY7" fmla="*/ 0 h 202945"/>
              <a:gd name="csX8" fmla="*/ 15435 w 100699"/>
              <a:gd name="csY8" fmla="*/ 35855 h 202945"/>
              <a:gd name="csX9" fmla="*/ 44498 w 100699"/>
              <a:gd name="csY9" fmla="*/ 63833 h 202945"/>
              <a:gd name="csX10" fmla="*/ 81385 w 100699"/>
              <a:gd name="csY10" fmla="*/ 106005 h 202945"/>
              <a:gd name="csX11" fmla="*/ 98950 w 100699"/>
              <a:gd name="csY11" fmla="*/ 190063 h 202945"/>
              <a:gd name="csX12" fmla="*/ 96534 w 100699"/>
              <a:gd name="csY12" fmla="*/ 202912 h 20294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</a:cxnLst>
            <a:rect l="l" t="t" r="r" b="b"/>
            <a:pathLst>
              <a:path w="100699" h="202945">
                <a:moveTo>
                  <a:pt x="96534" y="202912"/>
                </a:moveTo>
                <a:cubicBezTo>
                  <a:pt x="91699" y="203291"/>
                  <a:pt x="90650" y="200377"/>
                  <a:pt x="91036" y="196780"/>
                </a:cubicBezTo>
                <a:cubicBezTo>
                  <a:pt x="91685" y="190750"/>
                  <a:pt x="92933" y="184771"/>
                  <a:pt x="93357" y="178731"/>
                </a:cubicBezTo>
                <a:cubicBezTo>
                  <a:pt x="95183" y="152694"/>
                  <a:pt x="86034" y="129222"/>
                  <a:pt x="75903" y="106029"/>
                </a:cubicBezTo>
                <a:cubicBezTo>
                  <a:pt x="75300" y="104650"/>
                  <a:pt x="73904" y="103585"/>
                  <a:pt x="72780" y="102473"/>
                </a:cubicBezTo>
                <a:cubicBezTo>
                  <a:pt x="52199" y="82101"/>
                  <a:pt x="31673" y="61673"/>
                  <a:pt x="10982" y="41414"/>
                </a:cubicBezTo>
                <a:cubicBezTo>
                  <a:pt x="-119" y="30544"/>
                  <a:pt x="-1041" y="17093"/>
                  <a:pt x="676" y="2936"/>
                </a:cubicBezTo>
                <a:cubicBezTo>
                  <a:pt x="808" y="1852"/>
                  <a:pt x="2922" y="1010"/>
                  <a:pt x="5198" y="0"/>
                </a:cubicBezTo>
                <a:cubicBezTo>
                  <a:pt x="2043" y="13772"/>
                  <a:pt x="5665" y="25821"/>
                  <a:pt x="15435" y="35855"/>
                </a:cubicBezTo>
                <a:cubicBezTo>
                  <a:pt x="24811" y="45486"/>
                  <a:pt x="35301" y="54047"/>
                  <a:pt x="44498" y="63833"/>
                </a:cubicBezTo>
                <a:cubicBezTo>
                  <a:pt x="57293" y="77447"/>
                  <a:pt x="70760" y="90773"/>
                  <a:pt x="81385" y="106005"/>
                </a:cubicBezTo>
                <a:cubicBezTo>
                  <a:pt x="98896" y="131109"/>
                  <a:pt x="103759" y="159808"/>
                  <a:pt x="98950" y="190063"/>
                </a:cubicBezTo>
                <a:cubicBezTo>
                  <a:pt x="98311" y="194082"/>
                  <a:pt x="97697" y="198105"/>
                  <a:pt x="96534" y="202912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3" name="Free-form: Shape 202">
            <a:extLst>
              <a:ext uri="{FF2B5EF4-FFF2-40B4-BE49-F238E27FC236}">
                <a16:creationId xmlns:a16="http://schemas.microsoft.com/office/drawing/2014/main" id="{57E26B91-E451-EA5C-BACA-FA628E373847}"/>
              </a:ext>
            </a:extLst>
          </p:cNvPr>
          <p:cNvSpPr/>
          <p:nvPr/>
        </p:nvSpPr>
        <p:spPr>
          <a:xfrm>
            <a:off x="1816997" y="2656050"/>
            <a:ext cx="3739" cy="60936"/>
          </a:xfrm>
          <a:custGeom>
            <a:avLst/>
            <a:gdLst>
              <a:gd name="csX0" fmla="*/ 0 w 4113"/>
              <a:gd name="csY0" fmla="*/ 0 h 67029"/>
              <a:gd name="csX1" fmla="*/ 4113 w 4113"/>
              <a:gd name="csY1" fmla="*/ 4824 h 67029"/>
              <a:gd name="csX2" fmla="*/ 2662 w 4113"/>
              <a:gd name="csY2" fmla="*/ 67030 h 67029"/>
              <a:gd name="csX3" fmla="*/ 631 w 4113"/>
              <a:gd name="csY3" fmla="*/ 55883 h 67029"/>
              <a:gd name="csX4" fmla="*/ 0 w 4113"/>
              <a:gd name="csY4" fmla="*/ 0 h 6702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4113" h="67029">
                <a:moveTo>
                  <a:pt x="0" y="0"/>
                </a:moveTo>
                <a:cubicBezTo>
                  <a:pt x="1242" y="855"/>
                  <a:pt x="4111" y="2838"/>
                  <a:pt x="4113" y="4824"/>
                </a:cubicBezTo>
                <a:cubicBezTo>
                  <a:pt x="4135" y="25317"/>
                  <a:pt x="3695" y="45810"/>
                  <a:pt x="2662" y="67030"/>
                </a:cubicBezTo>
                <a:cubicBezTo>
                  <a:pt x="1483" y="63799"/>
                  <a:pt x="680" y="59846"/>
                  <a:pt x="631" y="55883"/>
                </a:cubicBezTo>
                <a:cubicBezTo>
                  <a:pt x="404" y="37633"/>
                  <a:pt x="388" y="19381"/>
                  <a:pt x="0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4" name="Free-form: Shape 203">
            <a:extLst>
              <a:ext uri="{FF2B5EF4-FFF2-40B4-BE49-F238E27FC236}">
                <a16:creationId xmlns:a16="http://schemas.microsoft.com/office/drawing/2014/main" id="{707E02BE-4D41-D56F-8EC7-76EEECC8A57F}"/>
              </a:ext>
            </a:extLst>
          </p:cNvPr>
          <p:cNvSpPr/>
          <p:nvPr/>
        </p:nvSpPr>
        <p:spPr>
          <a:xfrm>
            <a:off x="2269386" y="3383850"/>
            <a:ext cx="1060" cy="5803"/>
          </a:xfrm>
          <a:custGeom>
            <a:avLst/>
            <a:gdLst>
              <a:gd name="csX0" fmla="*/ 1130 w 1165"/>
              <a:gd name="csY0" fmla="*/ 6385 h 6384"/>
              <a:gd name="csX1" fmla="*/ 49 w 1165"/>
              <a:gd name="csY1" fmla="*/ 0 h 6384"/>
              <a:gd name="csX2" fmla="*/ 1130 w 1165"/>
              <a:gd name="csY2" fmla="*/ 6385 h 638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165" h="6384">
                <a:moveTo>
                  <a:pt x="1130" y="6385"/>
                </a:moveTo>
                <a:cubicBezTo>
                  <a:pt x="260" y="4748"/>
                  <a:pt x="-149" y="2599"/>
                  <a:pt x="49" y="0"/>
                </a:cubicBezTo>
                <a:cubicBezTo>
                  <a:pt x="969" y="1658"/>
                  <a:pt x="1279" y="3765"/>
                  <a:pt x="1130" y="6385"/>
                </a:cubicBezTo>
                <a:close/>
              </a:path>
            </a:pathLst>
          </a:custGeom>
          <a:solidFill>
            <a:srgbClr val="939B9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5" name="Free-form: Shape 204">
            <a:extLst>
              <a:ext uri="{FF2B5EF4-FFF2-40B4-BE49-F238E27FC236}">
                <a16:creationId xmlns:a16="http://schemas.microsoft.com/office/drawing/2014/main" id="{C8D0767F-6136-F631-056C-996C7832FC5E}"/>
              </a:ext>
            </a:extLst>
          </p:cNvPr>
          <p:cNvSpPr/>
          <p:nvPr/>
        </p:nvSpPr>
        <p:spPr>
          <a:xfrm>
            <a:off x="2239657" y="3309755"/>
            <a:ext cx="5440" cy="2491"/>
          </a:xfrm>
          <a:custGeom>
            <a:avLst/>
            <a:gdLst>
              <a:gd name="csX0" fmla="*/ 5985 w 5984"/>
              <a:gd name="csY0" fmla="*/ 1832 h 2740"/>
              <a:gd name="csX1" fmla="*/ 0 w 5984"/>
              <a:gd name="csY1" fmla="*/ 2740 h 2740"/>
              <a:gd name="csX2" fmla="*/ 4930 w 5984"/>
              <a:gd name="csY2" fmla="*/ 0 h 2740"/>
              <a:gd name="csX3" fmla="*/ 5985 w 5984"/>
              <a:gd name="csY3" fmla="*/ 1832 h 274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</a:cxnLst>
            <a:rect l="l" t="t" r="r" b="b"/>
            <a:pathLst>
              <a:path w="5984" h="2740">
                <a:moveTo>
                  <a:pt x="5985" y="1832"/>
                </a:moveTo>
                <a:cubicBezTo>
                  <a:pt x="3992" y="2553"/>
                  <a:pt x="1996" y="2646"/>
                  <a:pt x="0" y="2740"/>
                </a:cubicBezTo>
                <a:cubicBezTo>
                  <a:pt x="1398" y="1830"/>
                  <a:pt x="2796" y="920"/>
                  <a:pt x="4930" y="0"/>
                </a:cubicBezTo>
                <a:cubicBezTo>
                  <a:pt x="5772" y="394"/>
                  <a:pt x="5877" y="799"/>
                  <a:pt x="5985" y="1832"/>
                </a:cubicBezTo>
                <a:close/>
              </a:path>
            </a:pathLst>
          </a:custGeom>
          <a:solidFill>
            <a:srgbClr val="8E9395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6" name="Free-form: Shape 205">
            <a:extLst>
              <a:ext uri="{FF2B5EF4-FFF2-40B4-BE49-F238E27FC236}">
                <a16:creationId xmlns:a16="http://schemas.microsoft.com/office/drawing/2014/main" id="{B8F02BF4-440B-BB80-D175-C8245A808100}"/>
              </a:ext>
            </a:extLst>
          </p:cNvPr>
          <p:cNvSpPr/>
          <p:nvPr/>
        </p:nvSpPr>
        <p:spPr>
          <a:xfrm>
            <a:off x="1779770" y="2561870"/>
            <a:ext cx="2645" cy="5625"/>
          </a:xfrm>
          <a:custGeom>
            <a:avLst/>
            <a:gdLst>
              <a:gd name="csX0" fmla="*/ 815 w 2910"/>
              <a:gd name="csY0" fmla="*/ 0 h 6187"/>
              <a:gd name="csX1" fmla="*/ 113 w 2910"/>
              <a:gd name="csY1" fmla="*/ 6187 h 6187"/>
              <a:gd name="csX2" fmla="*/ 815 w 2910"/>
              <a:gd name="csY2" fmla="*/ 0 h 618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2910" h="6187">
                <a:moveTo>
                  <a:pt x="815" y="0"/>
                </a:moveTo>
                <a:cubicBezTo>
                  <a:pt x="4660" y="1891"/>
                  <a:pt x="2480" y="3840"/>
                  <a:pt x="113" y="6187"/>
                </a:cubicBezTo>
                <a:cubicBezTo>
                  <a:pt x="-172" y="4565"/>
                  <a:pt x="89" y="2579"/>
                  <a:pt x="815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7" name="Free-form: Shape 206">
            <a:extLst>
              <a:ext uri="{FF2B5EF4-FFF2-40B4-BE49-F238E27FC236}">
                <a16:creationId xmlns:a16="http://schemas.microsoft.com/office/drawing/2014/main" id="{5A67DA39-1538-C9DA-36AF-C4F172F147BD}"/>
              </a:ext>
            </a:extLst>
          </p:cNvPr>
          <p:cNvSpPr/>
          <p:nvPr/>
        </p:nvSpPr>
        <p:spPr>
          <a:xfrm>
            <a:off x="1814185" y="2778444"/>
            <a:ext cx="770" cy="3664"/>
          </a:xfrm>
          <a:custGeom>
            <a:avLst/>
            <a:gdLst>
              <a:gd name="csX0" fmla="*/ 106 w 847"/>
              <a:gd name="csY0" fmla="*/ 0 h 4030"/>
              <a:gd name="csX1" fmla="*/ 732 w 847"/>
              <a:gd name="csY1" fmla="*/ 4031 h 4030"/>
              <a:gd name="csX2" fmla="*/ 106 w 847"/>
              <a:gd name="csY2" fmla="*/ 0 h 403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7" h="4030">
                <a:moveTo>
                  <a:pt x="106" y="0"/>
                </a:moveTo>
                <a:cubicBezTo>
                  <a:pt x="770" y="990"/>
                  <a:pt x="1013" y="2346"/>
                  <a:pt x="732" y="4031"/>
                </a:cubicBezTo>
                <a:cubicBezTo>
                  <a:pt x="34" y="3029"/>
                  <a:pt x="-141" y="1697"/>
                  <a:pt x="106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8" name="Free-form: Shape 207">
            <a:extLst>
              <a:ext uri="{FF2B5EF4-FFF2-40B4-BE49-F238E27FC236}">
                <a16:creationId xmlns:a16="http://schemas.microsoft.com/office/drawing/2014/main" id="{A6C5F65B-D2D0-9171-D568-D833F58B2B59}"/>
              </a:ext>
            </a:extLst>
          </p:cNvPr>
          <p:cNvSpPr/>
          <p:nvPr/>
        </p:nvSpPr>
        <p:spPr>
          <a:xfrm>
            <a:off x="1809861" y="2814238"/>
            <a:ext cx="703" cy="3631"/>
          </a:xfrm>
          <a:custGeom>
            <a:avLst/>
            <a:gdLst>
              <a:gd name="csX0" fmla="*/ 195 w 774"/>
              <a:gd name="csY0" fmla="*/ 0 h 3994"/>
              <a:gd name="csX1" fmla="*/ 575 w 774"/>
              <a:gd name="csY1" fmla="*/ 3994 h 3994"/>
              <a:gd name="csX2" fmla="*/ 195 w 774"/>
              <a:gd name="csY2" fmla="*/ 0 h 399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774" h="3994">
                <a:moveTo>
                  <a:pt x="195" y="0"/>
                </a:moveTo>
                <a:cubicBezTo>
                  <a:pt x="794" y="1011"/>
                  <a:pt x="941" y="2348"/>
                  <a:pt x="575" y="3994"/>
                </a:cubicBezTo>
                <a:cubicBezTo>
                  <a:pt x="-44" y="2978"/>
                  <a:pt x="-151" y="1652"/>
                  <a:pt x="195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9" name="Free-form: Shape 208">
            <a:extLst>
              <a:ext uri="{FF2B5EF4-FFF2-40B4-BE49-F238E27FC236}">
                <a16:creationId xmlns:a16="http://schemas.microsoft.com/office/drawing/2014/main" id="{91690168-C14B-D255-C749-D20B0D47A7F4}"/>
              </a:ext>
            </a:extLst>
          </p:cNvPr>
          <p:cNvSpPr/>
          <p:nvPr/>
        </p:nvSpPr>
        <p:spPr>
          <a:xfrm>
            <a:off x="1816438" y="2751634"/>
            <a:ext cx="787" cy="3631"/>
          </a:xfrm>
          <a:custGeom>
            <a:avLst/>
            <a:gdLst>
              <a:gd name="csX0" fmla="*/ 71 w 865"/>
              <a:gd name="csY0" fmla="*/ 0 h 3995"/>
              <a:gd name="csX1" fmla="*/ 783 w 865"/>
              <a:gd name="csY1" fmla="*/ 3996 h 3995"/>
              <a:gd name="csX2" fmla="*/ 71 w 865"/>
              <a:gd name="csY2" fmla="*/ 0 h 399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65" h="3995">
                <a:moveTo>
                  <a:pt x="71" y="0"/>
                </a:moveTo>
                <a:cubicBezTo>
                  <a:pt x="740" y="963"/>
                  <a:pt x="1018" y="2311"/>
                  <a:pt x="783" y="3996"/>
                </a:cubicBezTo>
                <a:cubicBezTo>
                  <a:pt x="73" y="3017"/>
                  <a:pt x="-124" y="1701"/>
                  <a:pt x="71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0" name="Free-form: Shape 209">
            <a:extLst>
              <a:ext uri="{FF2B5EF4-FFF2-40B4-BE49-F238E27FC236}">
                <a16:creationId xmlns:a16="http://schemas.microsoft.com/office/drawing/2014/main" id="{146C3402-0D3C-DF81-AB97-997BB1BA612F}"/>
              </a:ext>
            </a:extLst>
          </p:cNvPr>
          <p:cNvSpPr/>
          <p:nvPr/>
        </p:nvSpPr>
        <p:spPr>
          <a:xfrm>
            <a:off x="1934742" y="2655660"/>
            <a:ext cx="170236" cy="426821"/>
          </a:xfrm>
          <a:custGeom>
            <a:avLst/>
            <a:gdLst>
              <a:gd name="csX0" fmla="*/ 120604 w 187260"/>
              <a:gd name="csY0" fmla="*/ 222968 h 469503"/>
              <a:gd name="csX1" fmla="*/ 187261 w 187260"/>
              <a:gd name="csY1" fmla="*/ 469503 h 469503"/>
              <a:gd name="csX2" fmla="*/ 1253 w 187260"/>
              <a:gd name="csY2" fmla="*/ 466078 h 469503"/>
              <a:gd name="csX3" fmla="*/ 8 w 187260"/>
              <a:gd name="csY3" fmla="*/ 458101 h 469503"/>
              <a:gd name="csX4" fmla="*/ 4383 w 187260"/>
              <a:gd name="csY4" fmla="*/ 351443 h 469503"/>
              <a:gd name="csX5" fmla="*/ 4615 w 187260"/>
              <a:gd name="csY5" fmla="*/ 346536 h 469503"/>
              <a:gd name="csX6" fmla="*/ 7935 w 187260"/>
              <a:gd name="csY6" fmla="*/ 233648 h 469503"/>
              <a:gd name="csX7" fmla="*/ 10461 w 187260"/>
              <a:gd name="csY7" fmla="*/ 128112 h 469503"/>
              <a:gd name="csX8" fmla="*/ 12461 w 187260"/>
              <a:gd name="csY8" fmla="*/ 12750 h 469503"/>
              <a:gd name="csX9" fmla="*/ 13165 w 187260"/>
              <a:gd name="csY9" fmla="*/ 4285 h 469503"/>
              <a:gd name="csX10" fmla="*/ 102327 w 187260"/>
              <a:gd name="csY10" fmla="*/ 0 h 469503"/>
              <a:gd name="csX11" fmla="*/ 106229 w 187260"/>
              <a:gd name="csY11" fmla="*/ 111321 h 469503"/>
              <a:gd name="csX12" fmla="*/ 120604 w 187260"/>
              <a:gd name="csY12" fmla="*/ 222968 h 46950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</a:cxnLst>
            <a:rect l="l" t="t" r="r" b="b"/>
            <a:pathLst>
              <a:path w="187260" h="469503">
                <a:moveTo>
                  <a:pt x="120604" y="222968"/>
                </a:moveTo>
                <a:cubicBezTo>
                  <a:pt x="135383" y="307129"/>
                  <a:pt x="159464" y="387725"/>
                  <a:pt x="187261" y="469503"/>
                </a:cubicBezTo>
                <a:cubicBezTo>
                  <a:pt x="124460" y="468347"/>
                  <a:pt x="63286" y="467220"/>
                  <a:pt x="1253" y="466078"/>
                </a:cubicBezTo>
                <a:cubicBezTo>
                  <a:pt x="818" y="463442"/>
                  <a:pt x="-95" y="460752"/>
                  <a:pt x="8" y="458101"/>
                </a:cubicBezTo>
                <a:cubicBezTo>
                  <a:pt x="1383" y="422545"/>
                  <a:pt x="2900" y="386994"/>
                  <a:pt x="4383" y="351443"/>
                </a:cubicBezTo>
                <a:cubicBezTo>
                  <a:pt x="4451" y="349807"/>
                  <a:pt x="4566" y="348172"/>
                  <a:pt x="4615" y="346536"/>
                </a:cubicBezTo>
                <a:cubicBezTo>
                  <a:pt x="5732" y="308907"/>
                  <a:pt x="6921" y="271280"/>
                  <a:pt x="7935" y="233648"/>
                </a:cubicBezTo>
                <a:cubicBezTo>
                  <a:pt x="8883" y="198472"/>
                  <a:pt x="9752" y="163293"/>
                  <a:pt x="10461" y="128112"/>
                </a:cubicBezTo>
                <a:cubicBezTo>
                  <a:pt x="11237" y="89660"/>
                  <a:pt x="11781" y="51204"/>
                  <a:pt x="12461" y="12750"/>
                </a:cubicBezTo>
                <a:cubicBezTo>
                  <a:pt x="12503" y="10363"/>
                  <a:pt x="12848" y="7981"/>
                  <a:pt x="13165" y="4285"/>
                </a:cubicBezTo>
                <a:cubicBezTo>
                  <a:pt x="42856" y="2858"/>
                  <a:pt x="72082" y="1454"/>
                  <a:pt x="102327" y="0"/>
                </a:cubicBezTo>
                <a:cubicBezTo>
                  <a:pt x="103499" y="37348"/>
                  <a:pt x="103207" y="74470"/>
                  <a:pt x="106229" y="111321"/>
                </a:cubicBezTo>
                <a:cubicBezTo>
                  <a:pt x="109263" y="148326"/>
                  <a:pt x="115599" y="185060"/>
                  <a:pt x="120604" y="222968"/>
                </a:cubicBezTo>
                <a:close/>
              </a:path>
            </a:pathLst>
          </a:custGeom>
          <a:solidFill>
            <a:srgbClr val="FDFDFD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1" name="Free-form: Shape 210">
            <a:extLst>
              <a:ext uri="{FF2B5EF4-FFF2-40B4-BE49-F238E27FC236}">
                <a16:creationId xmlns:a16="http://schemas.microsoft.com/office/drawing/2014/main" id="{B4BA7DFE-3A6E-F669-D880-34AE6D04592E}"/>
              </a:ext>
            </a:extLst>
          </p:cNvPr>
          <p:cNvSpPr/>
          <p:nvPr/>
        </p:nvSpPr>
        <p:spPr>
          <a:xfrm>
            <a:off x="1933549" y="3122412"/>
            <a:ext cx="284824" cy="179974"/>
          </a:xfrm>
          <a:custGeom>
            <a:avLst/>
            <a:gdLst>
              <a:gd name="csX0" fmla="*/ 160234 w 313306"/>
              <a:gd name="csY0" fmla="*/ 197876 h 197971"/>
              <a:gd name="csX1" fmla="*/ 544 w 313306"/>
              <a:gd name="csY1" fmla="*/ 197972 h 197971"/>
              <a:gd name="csX2" fmla="*/ 3466 w 313306"/>
              <a:gd name="csY2" fmla="*/ 104326 h 197971"/>
              <a:gd name="csX3" fmla="*/ 0 w 313306"/>
              <a:gd name="csY3" fmla="*/ 10720 h 197971"/>
              <a:gd name="csX4" fmla="*/ 5445 w 313306"/>
              <a:gd name="csY4" fmla="*/ 9282 h 197971"/>
              <a:gd name="csX5" fmla="*/ 71623 w 313306"/>
              <a:gd name="csY5" fmla="*/ 6885 h 197971"/>
              <a:gd name="csX6" fmla="*/ 187887 w 313306"/>
              <a:gd name="csY6" fmla="*/ 233 h 197971"/>
              <a:gd name="csX7" fmla="*/ 215297 w 313306"/>
              <a:gd name="csY7" fmla="*/ 163 h 197971"/>
              <a:gd name="csX8" fmla="*/ 243629 w 313306"/>
              <a:gd name="csY8" fmla="*/ 61389 h 197971"/>
              <a:gd name="csX9" fmla="*/ 270660 w 313306"/>
              <a:gd name="csY9" fmla="*/ 86342 h 197971"/>
              <a:gd name="csX10" fmla="*/ 313142 w 313306"/>
              <a:gd name="csY10" fmla="*/ 170098 h 197971"/>
              <a:gd name="csX11" fmla="*/ 313291 w 313306"/>
              <a:gd name="csY11" fmla="*/ 176231 h 197971"/>
              <a:gd name="csX12" fmla="*/ 312654 w 313306"/>
              <a:gd name="csY12" fmla="*/ 180738 h 197971"/>
              <a:gd name="csX13" fmla="*/ 279655 w 313306"/>
              <a:gd name="csY13" fmla="*/ 186226 h 197971"/>
              <a:gd name="csX14" fmla="*/ 167436 w 313306"/>
              <a:gd name="csY14" fmla="*/ 196805 h 197971"/>
              <a:gd name="csX15" fmla="*/ 160234 w 313306"/>
              <a:gd name="csY15" fmla="*/ 197876 h 19797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</a:cxnLst>
            <a:rect l="l" t="t" r="r" b="b"/>
            <a:pathLst>
              <a:path w="313306" h="197971">
                <a:moveTo>
                  <a:pt x="160234" y="197876"/>
                </a:moveTo>
                <a:cubicBezTo>
                  <a:pt x="106384" y="197972"/>
                  <a:pt x="53682" y="197972"/>
                  <a:pt x="544" y="197972"/>
                </a:cubicBezTo>
                <a:cubicBezTo>
                  <a:pt x="1602" y="166763"/>
                  <a:pt x="3550" y="135542"/>
                  <a:pt x="3466" y="104326"/>
                </a:cubicBezTo>
                <a:cubicBezTo>
                  <a:pt x="3383" y="73323"/>
                  <a:pt x="1255" y="42326"/>
                  <a:pt x="0" y="10720"/>
                </a:cubicBezTo>
                <a:cubicBezTo>
                  <a:pt x="1689" y="10255"/>
                  <a:pt x="3551" y="9355"/>
                  <a:pt x="5445" y="9282"/>
                </a:cubicBezTo>
                <a:cubicBezTo>
                  <a:pt x="27503" y="8435"/>
                  <a:pt x="49582" y="8030"/>
                  <a:pt x="71623" y="6885"/>
                </a:cubicBezTo>
                <a:cubicBezTo>
                  <a:pt x="110388" y="4872"/>
                  <a:pt x="149126" y="2333"/>
                  <a:pt x="187887" y="233"/>
                </a:cubicBezTo>
                <a:cubicBezTo>
                  <a:pt x="196749" y="-247"/>
                  <a:pt x="205660" y="163"/>
                  <a:pt x="215297" y="163"/>
                </a:cubicBezTo>
                <a:cubicBezTo>
                  <a:pt x="215450" y="25550"/>
                  <a:pt x="226120" y="45122"/>
                  <a:pt x="243629" y="61389"/>
                </a:cubicBezTo>
                <a:cubicBezTo>
                  <a:pt x="252615" y="69739"/>
                  <a:pt x="261099" y="78715"/>
                  <a:pt x="270660" y="86342"/>
                </a:cubicBezTo>
                <a:cubicBezTo>
                  <a:pt x="297676" y="107892"/>
                  <a:pt x="310731" y="136225"/>
                  <a:pt x="313142" y="170098"/>
                </a:cubicBezTo>
                <a:cubicBezTo>
                  <a:pt x="313287" y="172136"/>
                  <a:pt x="313335" y="174188"/>
                  <a:pt x="313291" y="176231"/>
                </a:cubicBezTo>
                <a:cubicBezTo>
                  <a:pt x="313265" y="177429"/>
                  <a:pt x="312966" y="178621"/>
                  <a:pt x="312654" y="180738"/>
                </a:cubicBezTo>
                <a:cubicBezTo>
                  <a:pt x="302343" y="185396"/>
                  <a:pt x="290736" y="185049"/>
                  <a:pt x="279655" y="186226"/>
                </a:cubicBezTo>
                <a:cubicBezTo>
                  <a:pt x="242295" y="190193"/>
                  <a:pt x="204847" y="193324"/>
                  <a:pt x="167436" y="196805"/>
                </a:cubicBezTo>
                <a:cubicBezTo>
                  <a:pt x="165405" y="196994"/>
                  <a:pt x="163399" y="197449"/>
                  <a:pt x="160234" y="197876"/>
                </a:cubicBezTo>
                <a:close/>
              </a:path>
            </a:pathLst>
          </a:custGeom>
          <a:solidFill>
            <a:srgbClr val="FDFEFE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2" name="Free-form: Shape 211">
            <a:extLst>
              <a:ext uri="{FF2B5EF4-FFF2-40B4-BE49-F238E27FC236}">
                <a16:creationId xmlns:a16="http://schemas.microsoft.com/office/drawing/2014/main" id="{CF76A664-8B23-A0A1-DD68-21C989A608D2}"/>
              </a:ext>
            </a:extLst>
          </p:cNvPr>
          <p:cNvSpPr/>
          <p:nvPr/>
        </p:nvSpPr>
        <p:spPr>
          <a:xfrm>
            <a:off x="1944292" y="2105828"/>
            <a:ext cx="149260" cy="361842"/>
          </a:xfrm>
          <a:custGeom>
            <a:avLst/>
            <a:gdLst>
              <a:gd name="csX0" fmla="*/ 22609 w 164186"/>
              <a:gd name="csY0" fmla="*/ 398026 h 398026"/>
              <a:gd name="csX1" fmla="*/ 16884 w 164186"/>
              <a:gd name="csY1" fmla="*/ 390515 h 398026"/>
              <a:gd name="csX2" fmla="*/ 9661 w 164186"/>
              <a:gd name="csY2" fmla="*/ 328443 h 398026"/>
              <a:gd name="csX3" fmla="*/ 534 w 164186"/>
              <a:gd name="csY3" fmla="*/ 196369 h 398026"/>
              <a:gd name="csX4" fmla="*/ 1243 w 164186"/>
              <a:gd name="csY4" fmla="*/ 82293 h 398026"/>
              <a:gd name="csX5" fmla="*/ 2245 w 164186"/>
              <a:gd name="csY5" fmla="*/ 43023 h 398026"/>
              <a:gd name="csX6" fmla="*/ 4587 w 164186"/>
              <a:gd name="csY6" fmla="*/ 0 h 398026"/>
              <a:gd name="csX7" fmla="*/ 12341 w 164186"/>
              <a:gd name="csY7" fmla="*/ 3872 h 398026"/>
              <a:gd name="csX8" fmla="*/ 85914 w 164186"/>
              <a:gd name="csY8" fmla="*/ 78943 h 398026"/>
              <a:gd name="csX9" fmla="*/ 87893 w 164186"/>
              <a:gd name="csY9" fmla="*/ 99117 h 398026"/>
              <a:gd name="csX10" fmla="*/ 35459 w 164186"/>
              <a:gd name="csY10" fmla="*/ 207346 h 398026"/>
              <a:gd name="csX11" fmla="*/ 32223 w 164186"/>
              <a:gd name="csY11" fmla="*/ 213959 h 398026"/>
              <a:gd name="csX12" fmla="*/ 39509 w 164186"/>
              <a:gd name="csY12" fmla="*/ 242056 h 398026"/>
              <a:gd name="csX13" fmla="*/ 69474 w 164186"/>
              <a:gd name="csY13" fmla="*/ 237019 h 398026"/>
              <a:gd name="csX14" fmla="*/ 89101 w 164186"/>
              <a:gd name="csY14" fmla="*/ 208870 h 398026"/>
              <a:gd name="csX15" fmla="*/ 121716 w 164186"/>
              <a:gd name="csY15" fmla="*/ 158357 h 398026"/>
              <a:gd name="csX16" fmla="*/ 129330 w 164186"/>
              <a:gd name="csY16" fmla="*/ 148165 h 398026"/>
              <a:gd name="csX17" fmla="*/ 137171 w 164186"/>
              <a:gd name="csY17" fmla="*/ 159989 h 398026"/>
              <a:gd name="csX18" fmla="*/ 163812 w 164186"/>
              <a:gd name="csY18" fmla="*/ 273175 h 398026"/>
              <a:gd name="csX19" fmla="*/ 118151 w 164186"/>
              <a:gd name="csY19" fmla="*/ 383442 h 398026"/>
              <a:gd name="csX20" fmla="*/ 92325 w 164186"/>
              <a:gd name="csY20" fmla="*/ 395173 h 398026"/>
              <a:gd name="csX21" fmla="*/ 22609 w 164186"/>
              <a:gd name="csY21" fmla="*/ 398026 h 39802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</a:cxnLst>
            <a:rect l="l" t="t" r="r" b="b"/>
            <a:pathLst>
              <a:path w="164186" h="398026">
                <a:moveTo>
                  <a:pt x="22609" y="398026"/>
                </a:moveTo>
                <a:cubicBezTo>
                  <a:pt x="19898" y="395489"/>
                  <a:pt x="17229" y="393154"/>
                  <a:pt x="16884" y="390515"/>
                </a:cubicBezTo>
                <a:cubicBezTo>
                  <a:pt x="14183" y="369861"/>
                  <a:pt x="11326" y="349196"/>
                  <a:pt x="9661" y="328443"/>
                </a:cubicBezTo>
                <a:cubicBezTo>
                  <a:pt x="6132" y="284452"/>
                  <a:pt x="2125" y="240448"/>
                  <a:pt x="534" y="196369"/>
                </a:cubicBezTo>
                <a:cubicBezTo>
                  <a:pt x="-837" y="158401"/>
                  <a:pt x="816" y="120322"/>
                  <a:pt x="1243" y="82293"/>
                </a:cubicBezTo>
                <a:cubicBezTo>
                  <a:pt x="1389" y="69201"/>
                  <a:pt x="1708" y="56105"/>
                  <a:pt x="2245" y="43023"/>
                </a:cubicBezTo>
                <a:cubicBezTo>
                  <a:pt x="2815" y="29160"/>
                  <a:pt x="3738" y="15312"/>
                  <a:pt x="4587" y="0"/>
                </a:cubicBezTo>
                <a:cubicBezTo>
                  <a:pt x="7809" y="1586"/>
                  <a:pt x="10279" y="2436"/>
                  <a:pt x="12341" y="3872"/>
                </a:cubicBezTo>
                <a:cubicBezTo>
                  <a:pt x="41601" y="24248"/>
                  <a:pt x="64069" y="51269"/>
                  <a:pt x="85914" y="78943"/>
                </a:cubicBezTo>
                <a:cubicBezTo>
                  <a:pt x="91106" y="85520"/>
                  <a:pt x="91706" y="91406"/>
                  <a:pt x="87893" y="99117"/>
                </a:cubicBezTo>
                <a:cubicBezTo>
                  <a:pt x="70127" y="135051"/>
                  <a:pt x="52890" y="171246"/>
                  <a:pt x="35459" y="207346"/>
                </a:cubicBezTo>
                <a:cubicBezTo>
                  <a:pt x="34391" y="209557"/>
                  <a:pt x="33130" y="211686"/>
                  <a:pt x="32223" y="213959"/>
                </a:cubicBezTo>
                <a:cubicBezTo>
                  <a:pt x="27471" y="225873"/>
                  <a:pt x="30154" y="236086"/>
                  <a:pt x="39509" y="242056"/>
                </a:cubicBezTo>
                <a:cubicBezTo>
                  <a:pt x="48880" y="248038"/>
                  <a:pt x="61705" y="246477"/>
                  <a:pt x="69474" y="237019"/>
                </a:cubicBezTo>
                <a:cubicBezTo>
                  <a:pt x="76712" y="228205"/>
                  <a:pt x="82824" y="218436"/>
                  <a:pt x="89101" y="208870"/>
                </a:cubicBezTo>
                <a:cubicBezTo>
                  <a:pt x="100096" y="192114"/>
                  <a:pt x="110806" y="175170"/>
                  <a:pt x="121716" y="158357"/>
                </a:cubicBezTo>
                <a:cubicBezTo>
                  <a:pt x="123679" y="155333"/>
                  <a:pt x="126029" y="152559"/>
                  <a:pt x="129330" y="148165"/>
                </a:cubicBezTo>
                <a:cubicBezTo>
                  <a:pt x="132450" y="152828"/>
                  <a:pt x="135175" y="156216"/>
                  <a:pt x="137171" y="159989"/>
                </a:cubicBezTo>
                <a:cubicBezTo>
                  <a:pt x="155891" y="195388"/>
                  <a:pt x="166343" y="232905"/>
                  <a:pt x="163812" y="273175"/>
                </a:cubicBezTo>
                <a:cubicBezTo>
                  <a:pt x="161183" y="314982"/>
                  <a:pt x="144984" y="351430"/>
                  <a:pt x="118151" y="383442"/>
                </a:cubicBezTo>
                <a:cubicBezTo>
                  <a:pt x="111214" y="391718"/>
                  <a:pt x="102452" y="394716"/>
                  <a:pt x="92325" y="395173"/>
                </a:cubicBezTo>
                <a:cubicBezTo>
                  <a:pt x="69461" y="396207"/>
                  <a:pt x="46593" y="397123"/>
                  <a:pt x="22609" y="398026"/>
                </a:cubicBezTo>
                <a:close/>
              </a:path>
            </a:pathLst>
          </a:custGeom>
          <a:solidFill>
            <a:srgbClr val="FCFDFD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3" name="Free-form: Shape 212">
            <a:extLst>
              <a:ext uri="{FF2B5EF4-FFF2-40B4-BE49-F238E27FC236}">
                <a16:creationId xmlns:a16="http://schemas.microsoft.com/office/drawing/2014/main" id="{301BA1E5-ADEB-65D1-6D67-EBE865C5B06B}"/>
              </a:ext>
            </a:extLst>
          </p:cNvPr>
          <p:cNvSpPr/>
          <p:nvPr/>
        </p:nvSpPr>
        <p:spPr>
          <a:xfrm>
            <a:off x="1930185" y="3331619"/>
            <a:ext cx="305850" cy="64961"/>
          </a:xfrm>
          <a:custGeom>
            <a:avLst/>
            <a:gdLst>
              <a:gd name="csX0" fmla="*/ 105937 w 336434"/>
              <a:gd name="csY0" fmla="*/ 71458 h 71457"/>
              <a:gd name="csX1" fmla="*/ 3534 w 336434"/>
              <a:gd name="csY1" fmla="*/ 69115 h 71457"/>
              <a:gd name="csX2" fmla="*/ 1296 w 336434"/>
              <a:gd name="csY2" fmla="*/ 17910 h 71457"/>
              <a:gd name="csX3" fmla="*/ 14032 w 336434"/>
              <a:gd name="csY3" fmla="*/ 17908 h 71457"/>
              <a:gd name="csX4" fmla="*/ 102444 w 336434"/>
              <a:gd name="csY4" fmla="*/ 17433 h 71457"/>
              <a:gd name="csX5" fmla="*/ 284561 w 336434"/>
              <a:gd name="csY5" fmla="*/ 3564 h 71457"/>
              <a:gd name="csX6" fmla="*/ 311323 w 336434"/>
              <a:gd name="csY6" fmla="*/ 224 h 71457"/>
              <a:gd name="csX7" fmla="*/ 324313 w 336434"/>
              <a:gd name="csY7" fmla="*/ 6639 h 71457"/>
              <a:gd name="csX8" fmla="*/ 336434 w 336434"/>
              <a:gd name="csY8" fmla="*/ 46484 h 71457"/>
              <a:gd name="csX9" fmla="*/ 105937 w 336434"/>
              <a:gd name="csY9" fmla="*/ 71458 h 7145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336434" h="71457">
                <a:moveTo>
                  <a:pt x="105937" y="71458"/>
                </a:moveTo>
                <a:cubicBezTo>
                  <a:pt x="70820" y="70678"/>
                  <a:pt x="36930" y="69891"/>
                  <a:pt x="3534" y="69115"/>
                </a:cubicBezTo>
                <a:cubicBezTo>
                  <a:pt x="-81" y="59433"/>
                  <a:pt x="-1094" y="35337"/>
                  <a:pt x="1296" y="17910"/>
                </a:cubicBezTo>
                <a:cubicBezTo>
                  <a:pt x="5366" y="17910"/>
                  <a:pt x="9699" y="17923"/>
                  <a:pt x="14032" y="17908"/>
                </a:cubicBezTo>
                <a:cubicBezTo>
                  <a:pt x="43505" y="17812"/>
                  <a:pt x="73011" y="18557"/>
                  <a:pt x="102444" y="17433"/>
                </a:cubicBezTo>
                <a:cubicBezTo>
                  <a:pt x="163306" y="15109"/>
                  <a:pt x="224166" y="12264"/>
                  <a:pt x="284561" y="3564"/>
                </a:cubicBezTo>
                <a:cubicBezTo>
                  <a:pt x="293458" y="2283"/>
                  <a:pt x="302438" y="1575"/>
                  <a:pt x="311323" y="224"/>
                </a:cubicBezTo>
                <a:cubicBezTo>
                  <a:pt x="317371" y="-696"/>
                  <a:pt x="321247" y="1177"/>
                  <a:pt x="324313" y="6639"/>
                </a:cubicBezTo>
                <a:cubicBezTo>
                  <a:pt x="330512" y="17683"/>
                  <a:pt x="335236" y="31679"/>
                  <a:pt x="336434" y="46484"/>
                </a:cubicBezTo>
                <a:cubicBezTo>
                  <a:pt x="261124" y="64059"/>
                  <a:pt x="184356" y="69587"/>
                  <a:pt x="105937" y="71458"/>
                </a:cubicBezTo>
                <a:close/>
              </a:path>
            </a:pathLst>
          </a:custGeom>
          <a:solidFill>
            <a:srgbClr val="FCFCFC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4" name="Free-form: Shape 213">
            <a:extLst>
              <a:ext uri="{FF2B5EF4-FFF2-40B4-BE49-F238E27FC236}">
                <a16:creationId xmlns:a16="http://schemas.microsoft.com/office/drawing/2014/main" id="{58DACC7B-28AB-D90B-4461-06CAC40D0C25}"/>
              </a:ext>
            </a:extLst>
          </p:cNvPr>
          <p:cNvSpPr/>
          <p:nvPr/>
        </p:nvSpPr>
        <p:spPr>
          <a:xfrm>
            <a:off x="1943742" y="2500895"/>
            <a:ext cx="120683" cy="63097"/>
          </a:xfrm>
          <a:custGeom>
            <a:avLst/>
            <a:gdLst>
              <a:gd name="csX0" fmla="*/ 5051 w 132751"/>
              <a:gd name="csY0" fmla="*/ 7534 h 69406"/>
              <a:gd name="csX1" fmla="*/ 10615 w 132751"/>
              <a:gd name="csY1" fmla="*/ 3077 h 69406"/>
              <a:gd name="csX2" fmla="*/ 26541 w 132751"/>
              <a:gd name="csY2" fmla="*/ 2752 h 69406"/>
              <a:gd name="csX3" fmla="*/ 87728 w 132751"/>
              <a:gd name="csY3" fmla="*/ 89 h 69406"/>
              <a:gd name="csX4" fmla="*/ 101400 w 132751"/>
              <a:gd name="csY4" fmla="*/ 62 h 69406"/>
              <a:gd name="csX5" fmla="*/ 102924 w 132751"/>
              <a:gd name="csY5" fmla="*/ 4800 h 69406"/>
              <a:gd name="csX6" fmla="*/ 121469 w 132751"/>
              <a:gd name="csY6" fmla="*/ 43062 h 69406"/>
              <a:gd name="csX7" fmla="*/ 132751 w 132751"/>
              <a:gd name="csY7" fmla="*/ 65240 h 69406"/>
              <a:gd name="csX8" fmla="*/ 0 w 132751"/>
              <a:gd name="csY8" fmla="*/ 69406 h 69406"/>
              <a:gd name="csX9" fmla="*/ 5051 w 132751"/>
              <a:gd name="csY9" fmla="*/ 7534 h 6940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132751" h="69406">
                <a:moveTo>
                  <a:pt x="5051" y="7534"/>
                </a:moveTo>
                <a:cubicBezTo>
                  <a:pt x="6880" y="5272"/>
                  <a:pt x="8659" y="3268"/>
                  <a:pt x="10615" y="3077"/>
                </a:cubicBezTo>
                <a:cubicBezTo>
                  <a:pt x="15884" y="2564"/>
                  <a:pt x="21234" y="2972"/>
                  <a:pt x="26541" y="2752"/>
                </a:cubicBezTo>
                <a:cubicBezTo>
                  <a:pt x="46938" y="1911"/>
                  <a:pt x="67330" y="933"/>
                  <a:pt x="87728" y="89"/>
                </a:cubicBezTo>
                <a:cubicBezTo>
                  <a:pt x="92161" y="-94"/>
                  <a:pt x="96609" y="62"/>
                  <a:pt x="101400" y="62"/>
                </a:cubicBezTo>
                <a:cubicBezTo>
                  <a:pt x="101991" y="1827"/>
                  <a:pt x="102885" y="3302"/>
                  <a:pt x="102924" y="4800"/>
                </a:cubicBezTo>
                <a:cubicBezTo>
                  <a:pt x="103334" y="20376"/>
                  <a:pt x="108815" y="33165"/>
                  <a:pt x="121469" y="43062"/>
                </a:cubicBezTo>
                <a:cubicBezTo>
                  <a:pt x="127809" y="48021"/>
                  <a:pt x="132509" y="54869"/>
                  <a:pt x="132751" y="65240"/>
                </a:cubicBezTo>
                <a:cubicBezTo>
                  <a:pt x="88663" y="66624"/>
                  <a:pt x="45259" y="67986"/>
                  <a:pt x="0" y="69406"/>
                </a:cubicBezTo>
                <a:cubicBezTo>
                  <a:pt x="6474" y="48167"/>
                  <a:pt x="10658" y="28665"/>
                  <a:pt x="5051" y="7534"/>
                </a:cubicBezTo>
                <a:close/>
              </a:path>
            </a:pathLst>
          </a:custGeom>
          <a:solidFill>
            <a:srgbClr val="FBFCFB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5" name="Free-form: Shape 214">
            <a:extLst>
              <a:ext uri="{FF2B5EF4-FFF2-40B4-BE49-F238E27FC236}">
                <a16:creationId xmlns:a16="http://schemas.microsoft.com/office/drawing/2014/main" id="{F39BEE92-3A04-6E76-825F-2DDE28729948}"/>
              </a:ext>
            </a:extLst>
          </p:cNvPr>
          <p:cNvSpPr/>
          <p:nvPr/>
        </p:nvSpPr>
        <p:spPr>
          <a:xfrm>
            <a:off x="1953379" y="2590509"/>
            <a:ext cx="150878" cy="35402"/>
          </a:xfrm>
          <a:custGeom>
            <a:avLst/>
            <a:gdLst>
              <a:gd name="csX0" fmla="*/ 80894 w 165965"/>
              <a:gd name="csY0" fmla="*/ 440 h 38942"/>
              <a:gd name="csX1" fmla="*/ 128629 w 165965"/>
              <a:gd name="csY1" fmla="*/ 5 h 38942"/>
              <a:gd name="csX2" fmla="*/ 155177 w 165965"/>
              <a:gd name="csY2" fmla="*/ 8091 h 38942"/>
              <a:gd name="csX3" fmla="*/ 164213 w 165965"/>
              <a:gd name="csY3" fmla="*/ 17723 h 38942"/>
              <a:gd name="csX4" fmla="*/ 159998 w 165965"/>
              <a:gd name="csY4" fmla="*/ 30717 h 38942"/>
              <a:gd name="csX5" fmla="*/ 146998 w 165965"/>
              <a:gd name="csY5" fmla="*/ 33737 h 38942"/>
              <a:gd name="csX6" fmla="*/ 12439 w 165965"/>
              <a:gd name="csY6" fmla="*/ 38914 h 38942"/>
              <a:gd name="csX7" fmla="*/ 0 w 165965"/>
              <a:gd name="csY7" fmla="*/ 38402 h 38942"/>
              <a:gd name="csX8" fmla="*/ 0 w 165965"/>
              <a:gd name="csY8" fmla="*/ 4598 h 38942"/>
              <a:gd name="csX9" fmla="*/ 80894 w 165965"/>
              <a:gd name="csY9" fmla="*/ 440 h 3894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165965" h="38942">
                <a:moveTo>
                  <a:pt x="80894" y="440"/>
                </a:moveTo>
                <a:cubicBezTo>
                  <a:pt x="97591" y="288"/>
                  <a:pt x="113111" y="227"/>
                  <a:pt x="128629" y="5"/>
                </a:cubicBezTo>
                <a:cubicBezTo>
                  <a:pt x="138376" y="-135"/>
                  <a:pt x="147226" y="2891"/>
                  <a:pt x="155177" y="8091"/>
                </a:cubicBezTo>
                <a:cubicBezTo>
                  <a:pt x="158779" y="10447"/>
                  <a:pt x="161992" y="14009"/>
                  <a:pt x="164213" y="17723"/>
                </a:cubicBezTo>
                <a:cubicBezTo>
                  <a:pt x="167602" y="23390"/>
                  <a:pt x="166013" y="28134"/>
                  <a:pt x="159998" y="30717"/>
                </a:cubicBezTo>
                <a:cubicBezTo>
                  <a:pt x="155963" y="32450"/>
                  <a:pt x="151384" y="33554"/>
                  <a:pt x="146998" y="33737"/>
                </a:cubicBezTo>
                <a:cubicBezTo>
                  <a:pt x="102152" y="35619"/>
                  <a:pt x="57295" y="37279"/>
                  <a:pt x="12439" y="38914"/>
                </a:cubicBezTo>
                <a:cubicBezTo>
                  <a:pt x="8467" y="39059"/>
                  <a:pt x="4472" y="38602"/>
                  <a:pt x="0" y="38402"/>
                </a:cubicBezTo>
                <a:cubicBezTo>
                  <a:pt x="0" y="27166"/>
                  <a:pt x="0" y="16774"/>
                  <a:pt x="0" y="4598"/>
                </a:cubicBezTo>
                <a:cubicBezTo>
                  <a:pt x="27063" y="3194"/>
                  <a:pt x="53389" y="1829"/>
                  <a:pt x="80894" y="440"/>
                </a:cubicBezTo>
                <a:close/>
              </a:path>
            </a:pathLst>
          </a:custGeom>
          <a:solidFill>
            <a:srgbClr val="FBFCFB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72" name="Text Placeholder 3">
            <a:extLst>
              <a:ext uri="{FF2B5EF4-FFF2-40B4-BE49-F238E27FC236}">
                <a16:creationId xmlns:a16="http://schemas.microsoft.com/office/drawing/2014/main" id="{700E71DB-0828-361A-70E8-454B75BC48F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70645" y="6291951"/>
            <a:ext cx="10440000" cy="428000"/>
          </a:xfrm>
        </p:spPr>
        <p:txBody>
          <a:bodyPr/>
          <a:lstStyle/>
          <a:p>
            <a:r>
              <a:rPr lang="en-GB"/>
              <a:t>3L, third line; BR, bendamustine, rituximab; BsAbs, bispecific antibodies; CAR-T, chimeric antigen receptor T-cell therapy; DLBCL, diffuse large B-cell lymphoma; Len, lenalidomide; Pola, polatuzumab vedotin; Tafa, tafasitamab.</a:t>
            </a:r>
          </a:p>
          <a:p>
            <a:r>
              <a:rPr lang="en-GB"/>
              <a:t>Patient case provided by Prof. Enrico </a:t>
            </a:r>
            <a:r>
              <a:rPr lang="en-GB" err="1"/>
              <a:t>Derenzini</a:t>
            </a:r>
            <a:r>
              <a:rPr lang="en-GB"/>
              <a:t>.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C8645EDF-E1D3-1D5B-9D5A-B480C3B11F97}"/>
              </a:ext>
            </a:extLst>
          </p:cNvPr>
          <p:cNvSpPr/>
          <p:nvPr/>
        </p:nvSpPr>
        <p:spPr>
          <a:xfrm>
            <a:off x="6165035" y="3379288"/>
            <a:ext cx="717698" cy="104135"/>
          </a:xfrm>
          <a:prstGeom prst="ellipse">
            <a:avLst/>
          </a:prstGeom>
          <a:solidFill>
            <a:schemeClr val="tx1">
              <a:alpha val="6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" name="Free-form: Shape 6">
            <a:extLst>
              <a:ext uri="{FF2B5EF4-FFF2-40B4-BE49-F238E27FC236}">
                <a16:creationId xmlns:a16="http://schemas.microsoft.com/office/drawing/2014/main" id="{4BAAC21E-1BAD-D46B-8074-1F6FB633DB2F}"/>
              </a:ext>
            </a:extLst>
          </p:cNvPr>
          <p:cNvSpPr/>
          <p:nvPr/>
        </p:nvSpPr>
        <p:spPr>
          <a:xfrm>
            <a:off x="6260079" y="2185404"/>
            <a:ext cx="634942" cy="1266262"/>
          </a:xfrm>
          <a:custGeom>
            <a:avLst/>
            <a:gdLst>
              <a:gd name="csX0" fmla="*/ 703087 w 763849"/>
              <a:gd name="csY0" fmla="*/ 1241174 h 1523340"/>
              <a:gd name="csX1" fmla="*/ 732932 w 763849"/>
              <a:gd name="csY1" fmla="*/ 1359634 h 1523340"/>
              <a:gd name="csX2" fmla="*/ 735544 w 763849"/>
              <a:gd name="csY2" fmla="*/ 1377287 h 1523340"/>
              <a:gd name="csX3" fmla="*/ 756764 w 763849"/>
              <a:gd name="csY3" fmla="*/ 1458577 h 1523340"/>
              <a:gd name="csX4" fmla="*/ 757108 w 763849"/>
              <a:gd name="csY4" fmla="*/ 1465940 h 1523340"/>
              <a:gd name="csX5" fmla="*/ 744215 w 763849"/>
              <a:gd name="csY5" fmla="*/ 1488332 h 1523340"/>
              <a:gd name="csX6" fmla="*/ 712781 w 763849"/>
              <a:gd name="csY6" fmla="*/ 1498472 h 1523340"/>
              <a:gd name="csX7" fmla="*/ 625540 w 763849"/>
              <a:gd name="csY7" fmla="*/ 1511981 h 1523340"/>
              <a:gd name="csX8" fmla="*/ 488540 w 763849"/>
              <a:gd name="csY8" fmla="*/ 1522029 h 1523340"/>
              <a:gd name="csX9" fmla="*/ 306789 w 763849"/>
              <a:gd name="csY9" fmla="*/ 1523231 h 1523340"/>
              <a:gd name="csX10" fmla="*/ 200103 w 763849"/>
              <a:gd name="csY10" fmla="*/ 1518579 h 1523340"/>
              <a:gd name="csX11" fmla="*/ 31607 w 763849"/>
              <a:gd name="csY11" fmla="*/ 1493880 h 1523340"/>
              <a:gd name="csX12" fmla="*/ 5860 w 763849"/>
              <a:gd name="csY12" fmla="*/ 1482933 h 1523340"/>
              <a:gd name="csX13" fmla="*/ 32 w 763849"/>
              <a:gd name="csY13" fmla="*/ 1471774 h 1523340"/>
              <a:gd name="csX14" fmla="*/ 21295 w 763849"/>
              <a:gd name="csY14" fmla="*/ 1378237 h 1523340"/>
              <a:gd name="csX15" fmla="*/ 23169 w 763849"/>
              <a:gd name="csY15" fmla="*/ 1364271 h 1523340"/>
              <a:gd name="csX16" fmla="*/ 23871 w 763849"/>
              <a:gd name="csY16" fmla="*/ 1303132 h 1523340"/>
              <a:gd name="csX17" fmla="*/ 59740 w 763849"/>
              <a:gd name="csY17" fmla="*/ 1234649 h 1523340"/>
              <a:gd name="csX18" fmla="*/ 98899 w 763849"/>
              <a:gd name="csY18" fmla="*/ 1195619 h 1523340"/>
              <a:gd name="csX19" fmla="*/ 131493 w 763849"/>
              <a:gd name="csY19" fmla="*/ 1127593 h 1523340"/>
              <a:gd name="csX20" fmla="*/ 108213 w 763849"/>
              <a:gd name="csY20" fmla="*/ 1058723 h 1523340"/>
              <a:gd name="csX21" fmla="*/ 74370 w 763849"/>
              <a:gd name="csY21" fmla="*/ 1024929 h 1523340"/>
              <a:gd name="csX22" fmla="*/ 68137 w 763849"/>
              <a:gd name="csY22" fmla="*/ 987550 h 1523340"/>
              <a:gd name="csX23" fmla="*/ 86420 w 763849"/>
              <a:gd name="csY23" fmla="*/ 941991 h 1523340"/>
              <a:gd name="csX24" fmla="*/ 97082 w 763849"/>
              <a:gd name="csY24" fmla="*/ 828037 h 1523340"/>
              <a:gd name="csX25" fmla="*/ 61782 w 763849"/>
              <a:gd name="csY25" fmla="*/ 696973 h 1523340"/>
              <a:gd name="csX26" fmla="*/ 26901 w 763849"/>
              <a:gd name="csY26" fmla="*/ 547868 h 1523340"/>
              <a:gd name="csX27" fmla="*/ 20221 w 763849"/>
              <a:gd name="csY27" fmla="*/ 479529 h 1523340"/>
              <a:gd name="csX28" fmla="*/ 40808 w 763849"/>
              <a:gd name="csY28" fmla="*/ 334388 h 1523340"/>
              <a:gd name="csX29" fmla="*/ 65171 w 763849"/>
              <a:gd name="csY29" fmla="*/ 263707 h 1523340"/>
              <a:gd name="csX30" fmla="*/ 142827 w 763849"/>
              <a:gd name="csY30" fmla="*/ 171003 h 1523340"/>
              <a:gd name="csX31" fmla="*/ 172290 w 763849"/>
              <a:gd name="csY31" fmla="*/ 155872 h 1523340"/>
              <a:gd name="csX32" fmla="*/ 189008 w 763849"/>
              <a:gd name="csY32" fmla="*/ 148158 h 1523340"/>
              <a:gd name="csX33" fmla="*/ 212828 w 763849"/>
              <a:gd name="csY33" fmla="*/ 126123 h 1523340"/>
              <a:gd name="csX34" fmla="*/ 217217 w 763849"/>
              <a:gd name="csY34" fmla="*/ 118740 h 1523340"/>
              <a:gd name="csX35" fmla="*/ 253000 w 763849"/>
              <a:gd name="csY35" fmla="*/ 88998 h 1523340"/>
              <a:gd name="csX36" fmla="*/ 322085 w 763849"/>
              <a:gd name="csY36" fmla="*/ 72193 h 1523340"/>
              <a:gd name="csX37" fmla="*/ 330478 w 763849"/>
              <a:gd name="csY37" fmla="*/ 70387 h 1523340"/>
              <a:gd name="csX38" fmla="*/ 388016 w 763849"/>
              <a:gd name="csY38" fmla="*/ 35457 h 1523340"/>
              <a:gd name="csX39" fmla="*/ 421527 w 763849"/>
              <a:gd name="csY39" fmla="*/ 0 h 1523340"/>
              <a:gd name="csX40" fmla="*/ 424538 w 763849"/>
              <a:gd name="csY40" fmla="*/ 10833 h 1523340"/>
              <a:gd name="csX41" fmla="*/ 436339 w 763849"/>
              <a:gd name="csY41" fmla="*/ 121836 h 1523340"/>
              <a:gd name="csX42" fmla="*/ 449983 w 763849"/>
              <a:gd name="csY42" fmla="*/ 141450 h 1523340"/>
              <a:gd name="csX43" fmla="*/ 503299 w 763849"/>
              <a:gd name="csY43" fmla="*/ 169290 h 1523340"/>
              <a:gd name="csX44" fmla="*/ 551461 w 763849"/>
              <a:gd name="csY44" fmla="*/ 203111 h 1523340"/>
              <a:gd name="csX45" fmla="*/ 588803 w 763849"/>
              <a:gd name="csY45" fmla="*/ 252797 h 1523340"/>
              <a:gd name="csX46" fmla="*/ 634209 w 763849"/>
              <a:gd name="csY46" fmla="*/ 327081 h 1523340"/>
              <a:gd name="csX47" fmla="*/ 697923 w 763849"/>
              <a:gd name="csY47" fmla="*/ 384157 h 1523340"/>
              <a:gd name="csX48" fmla="*/ 729658 w 763849"/>
              <a:gd name="csY48" fmla="*/ 407288 h 1523340"/>
              <a:gd name="csX49" fmla="*/ 763354 w 763849"/>
              <a:gd name="csY49" fmla="*/ 471325 h 1523340"/>
              <a:gd name="csX50" fmla="*/ 757092 w 763849"/>
              <a:gd name="csY50" fmla="*/ 527116 h 1523340"/>
              <a:gd name="csX51" fmla="*/ 720673 w 763849"/>
              <a:gd name="csY51" fmla="*/ 570023 h 1523340"/>
              <a:gd name="csX52" fmla="*/ 704918 w 763849"/>
              <a:gd name="csY52" fmla="*/ 581294 h 1523340"/>
              <a:gd name="csX53" fmla="*/ 671960 w 763849"/>
              <a:gd name="csY53" fmla="*/ 595325 h 1523340"/>
              <a:gd name="csX54" fmla="*/ 633021 w 763849"/>
              <a:gd name="csY54" fmla="*/ 591397 h 1523340"/>
              <a:gd name="csX55" fmla="*/ 580696 w 763849"/>
              <a:gd name="csY55" fmla="*/ 556742 h 1523340"/>
              <a:gd name="csX56" fmla="*/ 545415 w 763849"/>
              <a:gd name="csY56" fmla="*/ 524617 h 1523340"/>
              <a:gd name="csX57" fmla="*/ 518889 w 763849"/>
              <a:gd name="csY57" fmla="*/ 516179 h 1523340"/>
              <a:gd name="csX58" fmla="*/ 472309 w 763849"/>
              <a:gd name="csY58" fmla="*/ 517812 h 1523340"/>
              <a:gd name="csX59" fmla="*/ 415953 w 763849"/>
              <a:gd name="csY59" fmla="*/ 517245 h 1523340"/>
              <a:gd name="csX60" fmla="*/ 403392 w 763849"/>
              <a:gd name="csY60" fmla="*/ 516539 h 1523340"/>
              <a:gd name="csX61" fmla="*/ 407957 w 763849"/>
              <a:gd name="csY61" fmla="*/ 542045 h 1523340"/>
              <a:gd name="csX62" fmla="*/ 434134 w 763849"/>
              <a:gd name="csY62" fmla="*/ 583349 h 1523340"/>
              <a:gd name="csX63" fmla="*/ 524267 w 763849"/>
              <a:gd name="csY63" fmla="*/ 683922 h 1523340"/>
              <a:gd name="csX64" fmla="*/ 614317 w 763849"/>
              <a:gd name="csY64" fmla="*/ 786085 h 1523340"/>
              <a:gd name="csX65" fmla="*/ 669590 w 763849"/>
              <a:gd name="csY65" fmla="*/ 921089 h 1523340"/>
              <a:gd name="csX66" fmla="*/ 647360 w 763849"/>
              <a:gd name="csY66" fmla="*/ 1057245 h 1523340"/>
              <a:gd name="csX67" fmla="*/ 627872 w 763849"/>
              <a:gd name="csY67" fmla="*/ 1102111 h 1523340"/>
              <a:gd name="csX68" fmla="*/ 642300 w 763849"/>
              <a:gd name="csY68" fmla="*/ 1175941 h 1523340"/>
              <a:gd name="csX69" fmla="*/ 668829 w 763849"/>
              <a:gd name="csY69" fmla="*/ 1206449 h 1523340"/>
              <a:gd name="csX70" fmla="*/ 703087 w 763849"/>
              <a:gd name="csY70" fmla="*/ 1241174 h 1523340"/>
              <a:gd name="csX71" fmla="*/ 648750 w 763849"/>
              <a:gd name="csY71" fmla="*/ 562343 h 1523340"/>
              <a:gd name="csX72" fmla="*/ 674049 w 763849"/>
              <a:gd name="csY72" fmla="*/ 562834 h 1523340"/>
              <a:gd name="csX73" fmla="*/ 660781 w 763849"/>
              <a:gd name="csY73" fmla="*/ 550178 h 1523340"/>
              <a:gd name="csX74" fmla="*/ 650911 w 763849"/>
              <a:gd name="csY74" fmla="*/ 534051 h 1523340"/>
              <a:gd name="csX75" fmla="*/ 660724 w 763849"/>
              <a:gd name="csY75" fmla="*/ 537605 h 1523340"/>
              <a:gd name="csX76" fmla="*/ 688133 w 763849"/>
              <a:gd name="csY76" fmla="*/ 543363 h 1523340"/>
              <a:gd name="csX77" fmla="*/ 731514 w 763849"/>
              <a:gd name="csY77" fmla="*/ 510767 h 1523340"/>
              <a:gd name="csX78" fmla="*/ 733611 w 763849"/>
              <a:gd name="csY78" fmla="*/ 466905 h 1523340"/>
              <a:gd name="csX79" fmla="*/ 708076 w 763849"/>
              <a:gd name="csY79" fmla="*/ 425975 h 1523340"/>
              <a:gd name="csX80" fmla="*/ 667538 w 763849"/>
              <a:gd name="csY80" fmla="*/ 398254 h 1523340"/>
              <a:gd name="csX81" fmla="*/ 601016 w 763849"/>
              <a:gd name="csY81" fmla="*/ 332127 h 1523340"/>
              <a:gd name="csX82" fmla="*/ 565354 w 763849"/>
              <a:gd name="csY82" fmla="*/ 270526 h 1523340"/>
              <a:gd name="csX83" fmla="*/ 490657 w 763849"/>
              <a:gd name="csY83" fmla="*/ 195121 h 1523340"/>
              <a:gd name="csX84" fmla="*/ 432834 w 763849"/>
              <a:gd name="csY84" fmla="*/ 165243 h 1523340"/>
              <a:gd name="csX85" fmla="*/ 407594 w 763849"/>
              <a:gd name="csY85" fmla="*/ 127852 h 1523340"/>
              <a:gd name="csX86" fmla="*/ 405020 w 763849"/>
              <a:gd name="csY86" fmla="*/ 69029 h 1523340"/>
              <a:gd name="csX87" fmla="*/ 403638 w 763849"/>
              <a:gd name="csY87" fmla="*/ 58130 h 1523340"/>
              <a:gd name="csX88" fmla="*/ 349776 w 763849"/>
              <a:gd name="csY88" fmla="*/ 133259 h 1523340"/>
              <a:gd name="csX89" fmla="*/ 326975 w 763849"/>
              <a:gd name="csY89" fmla="*/ 159669 h 1523340"/>
              <a:gd name="csX90" fmla="*/ 240374 w 763849"/>
              <a:gd name="csY90" fmla="*/ 221714 h 1523340"/>
              <a:gd name="csX91" fmla="*/ 171637 w 763849"/>
              <a:gd name="csY91" fmla="*/ 309087 h 1523340"/>
              <a:gd name="csX92" fmla="*/ 138048 w 763849"/>
              <a:gd name="csY92" fmla="*/ 516954 h 1523340"/>
              <a:gd name="csX93" fmla="*/ 163889 w 763849"/>
              <a:gd name="csY93" fmla="*/ 641780 h 1523340"/>
              <a:gd name="csX94" fmla="*/ 204800 w 763849"/>
              <a:gd name="csY94" fmla="*/ 787055 h 1523340"/>
              <a:gd name="csX95" fmla="*/ 218549 w 763849"/>
              <a:gd name="csY95" fmla="*/ 949545 h 1523340"/>
              <a:gd name="csX96" fmla="*/ 191487 w 763849"/>
              <a:gd name="csY96" fmla="*/ 1033064 h 1523340"/>
              <a:gd name="csX97" fmla="*/ 188729 w 763849"/>
              <a:gd name="csY97" fmla="*/ 1039835 h 1523340"/>
              <a:gd name="csX98" fmla="*/ 221417 w 763849"/>
              <a:gd name="csY98" fmla="*/ 1040799 h 1523340"/>
              <a:gd name="csX99" fmla="*/ 348895 w 763849"/>
              <a:gd name="csY99" fmla="*/ 1046759 h 1523340"/>
              <a:gd name="csX100" fmla="*/ 545369 w 763849"/>
              <a:gd name="csY100" fmla="*/ 1044456 h 1523340"/>
              <a:gd name="csX101" fmla="*/ 612424 w 763849"/>
              <a:gd name="csY101" fmla="*/ 1037365 h 1523340"/>
              <a:gd name="csX102" fmla="*/ 623169 w 763849"/>
              <a:gd name="csY102" fmla="*/ 1028873 h 1523340"/>
              <a:gd name="csX103" fmla="*/ 638508 w 763849"/>
              <a:gd name="csY103" fmla="*/ 959599 h 1523340"/>
              <a:gd name="csX104" fmla="*/ 609213 w 763849"/>
              <a:gd name="csY104" fmla="*/ 842075 h 1523340"/>
              <a:gd name="csX105" fmla="*/ 529367 w 763849"/>
              <a:gd name="csY105" fmla="*/ 735065 h 1523340"/>
              <a:gd name="csX106" fmla="*/ 403792 w 763849"/>
              <a:gd name="csY106" fmla="*/ 596993 h 1523340"/>
              <a:gd name="csX107" fmla="*/ 344708 w 763849"/>
              <a:gd name="csY107" fmla="*/ 511366 h 1523340"/>
              <a:gd name="csX108" fmla="*/ 324464 w 763849"/>
              <a:gd name="csY108" fmla="*/ 380084 h 1523340"/>
              <a:gd name="csX109" fmla="*/ 327688 w 763849"/>
              <a:gd name="csY109" fmla="*/ 373535 h 1523340"/>
              <a:gd name="csX110" fmla="*/ 330334 w 763849"/>
              <a:gd name="csY110" fmla="*/ 373641 h 1523340"/>
              <a:gd name="csX111" fmla="*/ 334272 w 763849"/>
              <a:gd name="csY111" fmla="*/ 384645 h 1523340"/>
              <a:gd name="csX112" fmla="*/ 365260 w 763849"/>
              <a:gd name="csY112" fmla="*/ 453955 h 1523340"/>
              <a:gd name="csX113" fmla="*/ 408246 w 763849"/>
              <a:gd name="csY113" fmla="*/ 483592 h 1523340"/>
              <a:gd name="csX114" fmla="*/ 464529 w 763849"/>
              <a:gd name="csY114" fmla="*/ 486187 h 1523340"/>
              <a:gd name="csX115" fmla="*/ 511119 w 763849"/>
              <a:gd name="csY115" fmla="*/ 484308 h 1523340"/>
              <a:gd name="csX116" fmla="*/ 567913 w 763849"/>
              <a:gd name="csY116" fmla="*/ 503736 h 1523340"/>
              <a:gd name="csX117" fmla="*/ 607611 w 763849"/>
              <a:gd name="csY117" fmla="*/ 540326 h 1523340"/>
              <a:gd name="csX118" fmla="*/ 648750 w 763849"/>
              <a:gd name="csY118" fmla="*/ 562343 h 1523340"/>
              <a:gd name="csX119" fmla="*/ 462594 w 763849"/>
              <a:gd name="csY119" fmla="*/ 1369008 h 1523340"/>
              <a:gd name="csX120" fmla="*/ 510357 w 763849"/>
              <a:gd name="csY120" fmla="*/ 1366345 h 1523340"/>
              <a:gd name="csX121" fmla="*/ 549434 w 763849"/>
              <a:gd name="csY121" fmla="*/ 1362956 h 1523340"/>
              <a:gd name="csX122" fmla="*/ 632369 w 763849"/>
              <a:gd name="csY122" fmla="*/ 1354439 h 1523340"/>
              <a:gd name="csX123" fmla="*/ 697252 w 763849"/>
              <a:gd name="csY123" fmla="*/ 1346424 h 1523340"/>
              <a:gd name="csX124" fmla="*/ 676674 w 763849"/>
              <a:gd name="csY124" fmla="*/ 1266396 h 1523340"/>
              <a:gd name="csX125" fmla="*/ 646594 w 763849"/>
              <a:gd name="csY125" fmla="*/ 1234108 h 1523340"/>
              <a:gd name="csX126" fmla="*/ 612063 w 763849"/>
              <a:gd name="csY126" fmla="*/ 1194382 h 1523340"/>
              <a:gd name="csX127" fmla="*/ 591616 w 763849"/>
              <a:gd name="csY127" fmla="*/ 1111541 h 1523340"/>
              <a:gd name="csX128" fmla="*/ 594320 w 763849"/>
              <a:gd name="csY128" fmla="*/ 1089609 h 1523340"/>
              <a:gd name="csX129" fmla="*/ 578634 w 763849"/>
              <a:gd name="csY129" fmla="*/ 1089642 h 1523340"/>
              <a:gd name="csX130" fmla="*/ 443931 w 763849"/>
              <a:gd name="csY130" fmla="*/ 1096700 h 1523340"/>
              <a:gd name="csX131" fmla="*/ 403417 w 763849"/>
              <a:gd name="csY131" fmla="*/ 1097156 h 1523340"/>
              <a:gd name="csX132" fmla="*/ 388348 w 763849"/>
              <a:gd name="csY132" fmla="*/ 1111502 h 1523340"/>
              <a:gd name="csX133" fmla="*/ 385048 w 763849"/>
              <a:gd name="csY133" fmla="*/ 1176431 h 1523340"/>
              <a:gd name="csX134" fmla="*/ 377687 w 763849"/>
              <a:gd name="csY134" fmla="*/ 1308672 h 1523340"/>
              <a:gd name="csX135" fmla="*/ 376823 w 763849"/>
              <a:gd name="csY135" fmla="*/ 1320897 h 1523340"/>
              <a:gd name="csX136" fmla="*/ 376781 w 763849"/>
              <a:gd name="csY136" fmla="*/ 1366151 h 1523340"/>
              <a:gd name="csX137" fmla="*/ 462594 w 763849"/>
              <a:gd name="csY137" fmla="*/ 1369008 h 1523340"/>
              <a:gd name="csX138" fmla="*/ 648494 w 763849"/>
              <a:gd name="csY138" fmla="*/ 1463981 h 1523340"/>
              <a:gd name="csX139" fmla="*/ 718746 w 763849"/>
              <a:gd name="csY139" fmla="*/ 1451892 h 1523340"/>
              <a:gd name="csX140" fmla="*/ 711827 w 763849"/>
              <a:gd name="csY140" fmla="*/ 1416835 h 1523340"/>
              <a:gd name="csX141" fmla="*/ 685812 w 763849"/>
              <a:gd name="csY141" fmla="*/ 1398502 h 1523340"/>
              <a:gd name="csX142" fmla="*/ 680924 w 763849"/>
              <a:gd name="csY142" fmla="*/ 1398973 h 1523340"/>
              <a:gd name="csX143" fmla="*/ 598278 w 763849"/>
              <a:gd name="csY143" fmla="*/ 1409218 h 1523340"/>
              <a:gd name="csX144" fmla="*/ 474765 w 763849"/>
              <a:gd name="csY144" fmla="*/ 1417945 h 1523340"/>
              <a:gd name="csX145" fmla="*/ 385143 w 763849"/>
              <a:gd name="csY145" fmla="*/ 1418978 h 1523340"/>
              <a:gd name="csX146" fmla="*/ 376639 w 763849"/>
              <a:gd name="csY146" fmla="*/ 1419613 h 1523340"/>
              <a:gd name="csX147" fmla="*/ 376639 w 763849"/>
              <a:gd name="csY147" fmla="*/ 1473939 h 1523340"/>
              <a:gd name="csX148" fmla="*/ 382089 w 763849"/>
              <a:gd name="csY148" fmla="*/ 1474854 h 1523340"/>
              <a:gd name="csX149" fmla="*/ 449536 w 763849"/>
              <a:gd name="csY149" fmla="*/ 1476855 h 1523340"/>
              <a:gd name="csX150" fmla="*/ 559930 w 763849"/>
              <a:gd name="csY150" fmla="*/ 1474307 h 1523340"/>
              <a:gd name="csX151" fmla="*/ 648494 w 763849"/>
              <a:gd name="csY151" fmla="*/ 1463981 h 152334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</a:cxnLst>
            <a:rect l="l" t="t" r="r" b="b"/>
            <a:pathLst>
              <a:path w="763849" h="1523340">
                <a:moveTo>
                  <a:pt x="703087" y="1241174"/>
                </a:moveTo>
                <a:cubicBezTo>
                  <a:pt x="732418" y="1276379"/>
                  <a:pt x="738825" y="1316526"/>
                  <a:pt x="732932" y="1359634"/>
                </a:cubicBezTo>
                <a:cubicBezTo>
                  <a:pt x="732067" y="1365959"/>
                  <a:pt x="732453" y="1371428"/>
                  <a:pt x="735544" y="1377287"/>
                </a:cubicBezTo>
                <a:cubicBezTo>
                  <a:pt x="748937" y="1402675"/>
                  <a:pt x="755318" y="1430010"/>
                  <a:pt x="756764" y="1458577"/>
                </a:cubicBezTo>
                <a:cubicBezTo>
                  <a:pt x="756887" y="1461031"/>
                  <a:pt x="756895" y="1463494"/>
                  <a:pt x="757108" y="1465940"/>
                </a:cubicBezTo>
                <a:cubicBezTo>
                  <a:pt x="758375" y="1480486"/>
                  <a:pt x="757802" y="1482498"/>
                  <a:pt x="744215" y="1488332"/>
                </a:cubicBezTo>
                <a:cubicBezTo>
                  <a:pt x="734126" y="1492664"/>
                  <a:pt x="723536" y="1496562"/>
                  <a:pt x="712781" y="1498472"/>
                </a:cubicBezTo>
                <a:cubicBezTo>
                  <a:pt x="683814" y="1503617"/>
                  <a:pt x="654674" y="1507832"/>
                  <a:pt x="625540" y="1511981"/>
                </a:cubicBezTo>
                <a:cubicBezTo>
                  <a:pt x="580114" y="1518449"/>
                  <a:pt x="534395" y="1521481"/>
                  <a:pt x="488540" y="1522029"/>
                </a:cubicBezTo>
                <a:cubicBezTo>
                  <a:pt x="427958" y="1522752"/>
                  <a:pt x="367367" y="1523658"/>
                  <a:pt x="306789" y="1523231"/>
                </a:cubicBezTo>
                <a:cubicBezTo>
                  <a:pt x="271215" y="1522980"/>
                  <a:pt x="235625" y="1520833"/>
                  <a:pt x="200103" y="1518579"/>
                </a:cubicBezTo>
                <a:cubicBezTo>
                  <a:pt x="143289" y="1514974"/>
                  <a:pt x="86915" y="1507766"/>
                  <a:pt x="31607" y="1493880"/>
                </a:cubicBezTo>
                <a:cubicBezTo>
                  <a:pt x="22666" y="1491635"/>
                  <a:pt x="14297" y="1486920"/>
                  <a:pt x="5860" y="1482933"/>
                </a:cubicBezTo>
                <a:cubicBezTo>
                  <a:pt x="1433" y="1480841"/>
                  <a:pt x="-262" y="1476934"/>
                  <a:pt x="32" y="1471774"/>
                </a:cubicBezTo>
                <a:cubicBezTo>
                  <a:pt x="1880" y="1439401"/>
                  <a:pt x="3993" y="1407192"/>
                  <a:pt x="21295" y="1378237"/>
                </a:cubicBezTo>
                <a:cubicBezTo>
                  <a:pt x="23526" y="1374504"/>
                  <a:pt x="23666" y="1368858"/>
                  <a:pt x="23169" y="1364271"/>
                </a:cubicBezTo>
                <a:cubicBezTo>
                  <a:pt x="20957" y="1343833"/>
                  <a:pt x="20482" y="1323540"/>
                  <a:pt x="23871" y="1303132"/>
                </a:cubicBezTo>
                <a:cubicBezTo>
                  <a:pt x="28332" y="1276267"/>
                  <a:pt x="41045" y="1253887"/>
                  <a:pt x="59740" y="1234649"/>
                </a:cubicBezTo>
                <a:cubicBezTo>
                  <a:pt x="72582" y="1221434"/>
                  <a:pt x="85657" y="1208434"/>
                  <a:pt x="98899" y="1195619"/>
                </a:cubicBezTo>
                <a:cubicBezTo>
                  <a:pt x="118216" y="1176926"/>
                  <a:pt x="130484" y="1154702"/>
                  <a:pt x="131493" y="1127593"/>
                </a:cubicBezTo>
                <a:cubicBezTo>
                  <a:pt x="132448" y="1101948"/>
                  <a:pt x="127125" y="1077868"/>
                  <a:pt x="108213" y="1058723"/>
                </a:cubicBezTo>
                <a:cubicBezTo>
                  <a:pt x="97010" y="1047381"/>
                  <a:pt x="85438" y="1036399"/>
                  <a:pt x="74370" y="1024929"/>
                </a:cubicBezTo>
                <a:cubicBezTo>
                  <a:pt x="63868" y="1014043"/>
                  <a:pt x="62267" y="1001475"/>
                  <a:pt x="68137" y="987550"/>
                </a:cubicBezTo>
                <a:cubicBezTo>
                  <a:pt x="74493" y="972473"/>
                  <a:pt x="80703" y="957319"/>
                  <a:pt x="86420" y="941991"/>
                </a:cubicBezTo>
                <a:cubicBezTo>
                  <a:pt x="100218" y="905001"/>
                  <a:pt x="99441" y="866690"/>
                  <a:pt x="97082" y="828037"/>
                </a:cubicBezTo>
                <a:cubicBezTo>
                  <a:pt x="94260" y="781809"/>
                  <a:pt x="76370" y="739899"/>
                  <a:pt x="61782" y="696973"/>
                </a:cubicBezTo>
                <a:cubicBezTo>
                  <a:pt x="45282" y="648419"/>
                  <a:pt x="33285" y="598770"/>
                  <a:pt x="26901" y="547868"/>
                </a:cubicBezTo>
                <a:cubicBezTo>
                  <a:pt x="24054" y="525160"/>
                  <a:pt x="21110" y="502364"/>
                  <a:pt x="20221" y="479529"/>
                </a:cubicBezTo>
                <a:cubicBezTo>
                  <a:pt x="18293" y="430013"/>
                  <a:pt x="26126" y="381610"/>
                  <a:pt x="40808" y="334388"/>
                </a:cubicBezTo>
                <a:cubicBezTo>
                  <a:pt x="48208" y="310588"/>
                  <a:pt x="55162" y="286441"/>
                  <a:pt x="65171" y="263707"/>
                </a:cubicBezTo>
                <a:cubicBezTo>
                  <a:pt x="81946" y="225606"/>
                  <a:pt x="106517" y="193071"/>
                  <a:pt x="142827" y="171003"/>
                </a:cubicBezTo>
                <a:cubicBezTo>
                  <a:pt x="152238" y="165283"/>
                  <a:pt x="162401" y="160787"/>
                  <a:pt x="172290" y="155872"/>
                </a:cubicBezTo>
                <a:cubicBezTo>
                  <a:pt x="177784" y="153142"/>
                  <a:pt x="183393" y="150635"/>
                  <a:pt x="189008" y="148158"/>
                </a:cubicBezTo>
                <a:cubicBezTo>
                  <a:pt x="199487" y="143534"/>
                  <a:pt x="207598" y="136426"/>
                  <a:pt x="212828" y="126123"/>
                </a:cubicBezTo>
                <a:cubicBezTo>
                  <a:pt x="214121" y="123575"/>
                  <a:pt x="215966" y="121304"/>
                  <a:pt x="217217" y="118740"/>
                </a:cubicBezTo>
                <a:cubicBezTo>
                  <a:pt x="224688" y="103433"/>
                  <a:pt x="237053" y="93440"/>
                  <a:pt x="253000" y="88998"/>
                </a:cubicBezTo>
                <a:cubicBezTo>
                  <a:pt x="275818" y="82642"/>
                  <a:pt x="299033" y="77711"/>
                  <a:pt x="322085" y="72193"/>
                </a:cubicBezTo>
                <a:cubicBezTo>
                  <a:pt x="324867" y="71527"/>
                  <a:pt x="327694" y="71045"/>
                  <a:pt x="330478" y="70387"/>
                </a:cubicBezTo>
                <a:cubicBezTo>
                  <a:pt x="364731" y="62297"/>
                  <a:pt x="364569" y="62151"/>
                  <a:pt x="388016" y="35457"/>
                </a:cubicBezTo>
                <a:cubicBezTo>
                  <a:pt x="398189" y="23875"/>
                  <a:pt x="409180" y="13010"/>
                  <a:pt x="421527" y="0"/>
                </a:cubicBezTo>
                <a:cubicBezTo>
                  <a:pt x="423000" y="5190"/>
                  <a:pt x="424219" y="7961"/>
                  <a:pt x="424538" y="10833"/>
                </a:cubicBezTo>
                <a:cubicBezTo>
                  <a:pt x="428638" y="47817"/>
                  <a:pt x="433030" y="84779"/>
                  <a:pt x="436339" y="121836"/>
                </a:cubicBezTo>
                <a:cubicBezTo>
                  <a:pt x="437236" y="131893"/>
                  <a:pt x="441545" y="137271"/>
                  <a:pt x="449983" y="141450"/>
                </a:cubicBezTo>
                <a:cubicBezTo>
                  <a:pt x="467954" y="150348"/>
                  <a:pt x="486187" y="158915"/>
                  <a:pt x="503299" y="169290"/>
                </a:cubicBezTo>
                <a:cubicBezTo>
                  <a:pt x="520041" y="179441"/>
                  <a:pt x="535883" y="191197"/>
                  <a:pt x="551461" y="203111"/>
                </a:cubicBezTo>
                <a:cubicBezTo>
                  <a:pt x="568416" y="216079"/>
                  <a:pt x="579195" y="234146"/>
                  <a:pt x="588803" y="252797"/>
                </a:cubicBezTo>
                <a:cubicBezTo>
                  <a:pt x="602134" y="278677"/>
                  <a:pt x="616556" y="303835"/>
                  <a:pt x="634209" y="327081"/>
                </a:cubicBezTo>
                <a:cubicBezTo>
                  <a:pt x="651797" y="350241"/>
                  <a:pt x="673980" y="368103"/>
                  <a:pt x="697923" y="384157"/>
                </a:cubicBezTo>
                <a:cubicBezTo>
                  <a:pt x="708787" y="391441"/>
                  <a:pt x="719007" y="399678"/>
                  <a:pt x="729658" y="407288"/>
                </a:cubicBezTo>
                <a:cubicBezTo>
                  <a:pt x="751657" y="423004"/>
                  <a:pt x="761259" y="445265"/>
                  <a:pt x="763354" y="471325"/>
                </a:cubicBezTo>
                <a:cubicBezTo>
                  <a:pt x="764877" y="490275"/>
                  <a:pt x="762919" y="509064"/>
                  <a:pt x="757092" y="527116"/>
                </a:cubicBezTo>
                <a:cubicBezTo>
                  <a:pt x="750932" y="546198"/>
                  <a:pt x="738296" y="560266"/>
                  <a:pt x="720673" y="570023"/>
                </a:cubicBezTo>
                <a:cubicBezTo>
                  <a:pt x="715048" y="573138"/>
                  <a:pt x="709487" y="576825"/>
                  <a:pt x="704918" y="581294"/>
                </a:cubicBezTo>
                <a:cubicBezTo>
                  <a:pt x="695625" y="590383"/>
                  <a:pt x="684728" y="595697"/>
                  <a:pt x="671960" y="595325"/>
                </a:cubicBezTo>
                <a:cubicBezTo>
                  <a:pt x="658939" y="594945"/>
                  <a:pt x="645743" y="594018"/>
                  <a:pt x="633021" y="591397"/>
                </a:cubicBezTo>
                <a:cubicBezTo>
                  <a:pt x="611233" y="586907"/>
                  <a:pt x="595034" y="572939"/>
                  <a:pt x="580696" y="556742"/>
                </a:cubicBezTo>
                <a:cubicBezTo>
                  <a:pt x="570081" y="544750"/>
                  <a:pt x="559052" y="533306"/>
                  <a:pt x="545415" y="524617"/>
                </a:cubicBezTo>
                <a:cubicBezTo>
                  <a:pt x="537261" y="519422"/>
                  <a:pt x="528551" y="515996"/>
                  <a:pt x="518889" y="516179"/>
                </a:cubicBezTo>
                <a:cubicBezTo>
                  <a:pt x="503357" y="516473"/>
                  <a:pt x="487839" y="517663"/>
                  <a:pt x="472309" y="517812"/>
                </a:cubicBezTo>
                <a:cubicBezTo>
                  <a:pt x="453527" y="517993"/>
                  <a:pt x="434738" y="517514"/>
                  <a:pt x="415953" y="517245"/>
                </a:cubicBezTo>
                <a:cubicBezTo>
                  <a:pt x="411976" y="517189"/>
                  <a:pt x="408003" y="516808"/>
                  <a:pt x="403392" y="516539"/>
                </a:cubicBezTo>
                <a:cubicBezTo>
                  <a:pt x="401207" y="526363"/>
                  <a:pt x="404857" y="534293"/>
                  <a:pt x="407957" y="542045"/>
                </a:cubicBezTo>
                <a:cubicBezTo>
                  <a:pt x="414092" y="557387"/>
                  <a:pt x="423168" y="571042"/>
                  <a:pt x="434134" y="583349"/>
                </a:cubicBezTo>
                <a:cubicBezTo>
                  <a:pt x="464083" y="616959"/>
                  <a:pt x="493980" y="650618"/>
                  <a:pt x="524267" y="683922"/>
                </a:cubicBezTo>
                <a:cubicBezTo>
                  <a:pt x="554818" y="717518"/>
                  <a:pt x="588291" y="748619"/>
                  <a:pt x="614317" y="786085"/>
                </a:cubicBezTo>
                <a:cubicBezTo>
                  <a:pt x="642656" y="826881"/>
                  <a:pt x="663974" y="871159"/>
                  <a:pt x="669590" y="921089"/>
                </a:cubicBezTo>
                <a:cubicBezTo>
                  <a:pt x="674894" y="968240"/>
                  <a:pt x="669774" y="1014226"/>
                  <a:pt x="647360" y="1057245"/>
                </a:cubicBezTo>
                <a:cubicBezTo>
                  <a:pt x="639830" y="1071697"/>
                  <a:pt x="630533" y="1085565"/>
                  <a:pt x="627872" y="1102111"/>
                </a:cubicBezTo>
                <a:cubicBezTo>
                  <a:pt x="623640" y="1128439"/>
                  <a:pt x="626183" y="1153784"/>
                  <a:pt x="642300" y="1175941"/>
                </a:cubicBezTo>
                <a:cubicBezTo>
                  <a:pt x="650201" y="1186801"/>
                  <a:pt x="659595" y="1196636"/>
                  <a:pt x="668829" y="1206449"/>
                </a:cubicBezTo>
                <a:cubicBezTo>
                  <a:pt x="679770" y="1218075"/>
                  <a:pt x="691267" y="1229177"/>
                  <a:pt x="703087" y="1241174"/>
                </a:cubicBezTo>
                <a:moveTo>
                  <a:pt x="648750" y="562343"/>
                </a:moveTo>
                <a:cubicBezTo>
                  <a:pt x="656729" y="562558"/>
                  <a:pt x="664698" y="567407"/>
                  <a:pt x="674049" y="562834"/>
                </a:cubicBezTo>
                <a:cubicBezTo>
                  <a:pt x="668990" y="558037"/>
                  <a:pt x="664729" y="554259"/>
                  <a:pt x="660781" y="550178"/>
                </a:cubicBezTo>
                <a:cubicBezTo>
                  <a:pt x="656713" y="545973"/>
                  <a:pt x="651493" y="542363"/>
                  <a:pt x="650911" y="534051"/>
                </a:cubicBezTo>
                <a:cubicBezTo>
                  <a:pt x="654940" y="535536"/>
                  <a:pt x="657753" y="536907"/>
                  <a:pt x="660724" y="537605"/>
                </a:cubicBezTo>
                <a:cubicBezTo>
                  <a:pt x="669824" y="539743"/>
                  <a:pt x="678915" y="542853"/>
                  <a:pt x="688133" y="543363"/>
                </a:cubicBezTo>
                <a:cubicBezTo>
                  <a:pt x="712019" y="544686"/>
                  <a:pt x="726964" y="534053"/>
                  <a:pt x="731514" y="510767"/>
                </a:cubicBezTo>
                <a:cubicBezTo>
                  <a:pt x="734296" y="496535"/>
                  <a:pt x="734146" y="481511"/>
                  <a:pt x="733611" y="466905"/>
                </a:cubicBezTo>
                <a:cubicBezTo>
                  <a:pt x="732951" y="448863"/>
                  <a:pt x="723348" y="435653"/>
                  <a:pt x="708076" y="425975"/>
                </a:cubicBezTo>
                <a:cubicBezTo>
                  <a:pt x="694258" y="417218"/>
                  <a:pt x="681056" y="407489"/>
                  <a:pt x="667538" y="398254"/>
                </a:cubicBezTo>
                <a:cubicBezTo>
                  <a:pt x="641278" y="380314"/>
                  <a:pt x="617580" y="359743"/>
                  <a:pt x="601016" y="332127"/>
                </a:cubicBezTo>
                <a:cubicBezTo>
                  <a:pt x="588810" y="311778"/>
                  <a:pt x="576093" y="291645"/>
                  <a:pt x="565354" y="270526"/>
                </a:cubicBezTo>
                <a:cubicBezTo>
                  <a:pt x="548401" y="237186"/>
                  <a:pt x="523821" y="212104"/>
                  <a:pt x="490657" y="195121"/>
                </a:cubicBezTo>
                <a:cubicBezTo>
                  <a:pt x="471346" y="185231"/>
                  <a:pt x="452394" y="174606"/>
                  <a:pt x="432834" y="165243"/>
                </a:cubicBezTo>
                <a:cubicBezTo>
                  <a:pt x="416725" y="157532"/>
                  <a:pt x="408325" y="145526"/>
                  <a:pt x="407594" y="127852"/>
                </a:cubicBezTo>
                <a:cubicBezTo>
                  <a:pt x="406783" y="108242"/>
                  <a:pt x="405935" y="88634"/>
                  <a:pt x="405020" y="69029"/>
                </a:cubicBezTo>
                <a:cubicBezTo>
                  <a:pt x="404882" y="66067"/>
                  <a:pt x="404287" y="63127"/>
                  <a:pt x="403638" y="58130"/>
                </a:cubicBezTo>
                <a:cubicBezTo>
                  <a:pt x="381792" y="82321"/>
                  <a:pt x="361650" y="104820"/>
                  <a:pt x="349776" y="133259"/>
                </a:cubicBezTo>
                <a:cubicBezTo>
                  <a:pt x="345032" y="144621"/>
                  <a:pt x="337822" y="153814"/>
                  <a:pt x="326975" y="159669"/>
                </a:cubicBezTo>
                <a:cubicBezTo>
                  <a:pt x="295461" y="176681"/>
                  <a:pt x="266610" y="197333"/>
                  <a:pt x="240374" y="221714"/>
                </a:cubicBezTo>
                <a:cubicBezTo>
                  <a:pt x="212881" y="247263"/>
                  <a:pt x="188313" y="275340"/>
                  <a:pt x="171637" y="309087"/>
                </a:cubicBezTo>
                <a:cubicBezTo>
                  <a:pt x="139180" y="374765"/>
                  <a:pt x="129692" y="444532"/>
                  <a:pt x="138048" y="516954"/>
                </a:cubicBezTo>
                <a:cubicBezTo>
                  <a:pt x="142936" y="559318"/>
                  <a:pt x="152518" y="600762"/>
                  <a:pt x="163889" y="641780"/>
                </a:cubicBezTo>
                <a:cubicBezTo>
                  <a:pt x="177329" y="690261"/>
                  <a:pt x="191989" y="738413"/>
                  <a:pt x="204800" y="787055"/>
                </a:cubicBezTo>
                <a:cubicBezTo>
                  <a:pt x="218820" y="840287"/>
                  <a:pt x="228587" y="894088"/>
                  <a:pt x="218549" y="949545"/>
                </a:cubicBezTo>
                <a:cubicBezTo>
                  <a:pt x="213279" y="978659"/>
                  <a:pt x="207130" y="1007359"/>
                  <a:pt x="191487" y="1033064"/>
                </a:cubicBezTo>
                <a:cubicBezTo>
                  <a:pt x="190499" y="1034686"/>
                  <a:pt x="190018" y="1036618"/>
                  <a:pt x="188729" y="1039835"/>
                </a:cubicBezTo>
                <a:cubicBezTo>
                  <a:pt x="200470" y="1040170"/>
                  <a:pt x="210952" y="1040298"/>
                  <a:pt x="221417" y="1040799"/>
                </a:cubicBezTo>
                <a:cubicBezTo>
                  <a:pt x="263912" y="1042835"/>
                  <a:pt x="306390" y="1046436"/>
                  <a:pt x="348895" y="1046759"/>
                </a:cubicBezTo>
                <a:cubicBezTo>
                  <a:pt x="414380" y="1047258"/>
                  <a:pt x="479896" y="1046092"/>
                  <a:pt x="545369" y="1044456"/>
                </a:cubicBezTo>
                <a:cubicBezTo>
                  <a:pt x="567764" y="1043897"/>
                  <a:pt x="590066" y="1039744"/>
                  <a:pt x="612424" y="1037365"/>
                </a:cubicBezTo>
                <a:cubicBezTo>
                  <a:pt x="617948" y="1036777"/>
                  <a:pt x="621342" y="1034139"/>
                  <a:pt x="623169" y="1028873"/>
                </a:cubicBezTo>
                <a:cubicBezTo>
                  <a:pt x="630975" y="1006370"/>
                  <a:pt x="637026" y="983472"/>
                  <a:pt x="638508" y="959599"/>
                </a:cubicBezTo>
                <a:cubicBezTo>
                  <a:pt x="641131" y="917363"/>
                  <a:pt x="628970" y="878727"/>
                  <a:pt x="609213" y="842075"/>
                </a:cubicBezTo>
                <a:cubicBezTo>
                  <a:pt x="587874" y="802491"/>
                  <a:pt x="559403" y="768169"/>
                  <a:pt x="529367" y="735065"/>
                </a:cubicBezTo>
                <a:cubicBezTo>
                  <a:pt x="487563" y="688992"/>
                  <a:pt x="445474" y="643176"/>
                  <a:pt x="403792" y="596993"/>
                </a:cubicBezTo>
                <a:cubicBezTo>
                  <a:pt x="380393" y="571066"/>
                  <a:pt x="360083" y="542922"/>
                  <a:pt x="344708" y="511366"/>
                </a:cubicBezTo>
                <a:cubicBezTo>
                  <a:pt x="324385" y="469655"/>
                  <a:pt x="317321" y="425966"/>
                  <a:pt x="324464" y="380084"/>
                </a:cubicBezTo>
                <a:cubicBezTo>
                  <a:pt x="324821" y="377789"/>
                  <a:pt x="326581" y="375713"/>
                  <a:pt x="327688" y="373535"/>
                </a:cubicBezTo>
                <a:cubicBezTo>
                  <a:pt x="328570" y="373570"/>
                  <a:pt x="329452" y="373606"/>
                  <a:pt x="330334" y="373641"/>
                </a:cubicBezTo>
                <a:cubicBezTo>
                  <a:pt x="331649" y="377308"/>
                  <a:pt x="333001" y="380963"/>
                  <a:pt x="334272" y="384645"/>
                </a:cubicBezTo>
                <a:cubicBezTo>
                  <a:pt x="342569" y="408660"/>
                  <a:pt x="351164" y="432573"/>
                  <a:pt x="365260" y="453955"/>
                </a:cubicBezTo>
                <a:cubicBezTo>
                  <a:pt x="375537" y="469544"/>
                  <a:pt x="388811" y="481767"/>
                  <a:pt x="408246" y="483592"/>
                </a:cubicBezTo>
                <a:cubicBezTo>
                  <a:pt x="426928" y="485346"/>
                  <a:pt x="445757" y="486037"/>
                  <a:pt x="464529" y="486187"/>
                </a:cubicBezTo>
                <a:cubicBezTo>
                  <a:pt x="480053" y="486311"/>
                  <a:pt x="495582" y="484792"/>
                  <a:pt x="511119" y="484308"/>
                </a:cubicBezTo>
                <a:cubicBezTo>
                  <a:pt x="532443" y="483644"/>
                  <a:pt x="551690" y="490014"/>
                  <a:pt x="567913" y="503736"/>
                </a:cubicBezTo>
                <a:cubicBezTo>
                  <a:pt x="581642" y="515348"/>
                  <a:pt x="594604" y="527888"/>
                  <a:pt x="607611" y="540326"/>
                </a:cubicBezTo>
                <a:cubicBezTo>
                  <a:pt x="618811" y="551038"/>
                  <a:pt x="631177" y="559300"/>
                  <a:pt x="648750" y="562343"/>
                </a:cubicBezTo>
                <a:moveTo>
                  <a:pt x="462594" y="1369008"/>
                </a:moveTo>
                <a:cubicBezTo>
                  <a:pt x="478517" y="1368137"/>
                  <a:pt x="494449" y="1367429"/>
                  <a:pt x="510357" y="1366345"/>
                </a:cubicBezTo>
                <a:cubicBezTo>
                  <a:pt x="523399" y="1365456"/>
                  <a:pt x="536424" y="1364247"/>
                  <a:pt x="549434" y="1362956"/>
                </a:cubicBezTo>
                <a:cubicBezTo>
                  <a:pt x="577089" y="1360213"/>
                  <a:pt x="604749" y="1357503"/>
                  <a:pt x="632369" y="1354439"/>
                </a:cubicBezTo>
                <a:cubicBezTo>
                  <a:pt x="653805" y="1352062"/>
                  <a:pt x="675183" y="1349170"/>
                  <a:pt x="697252" y="1346424"/>
                </a:cubicBezTo>
                <a:cubicBezTo>
                  <a:pt x="701148" y="1316348"/>
                  <a:pt x="695768" y="1289474"/>
                  <a:pt x="676674" y="1266396"/>
                </a:cubicBezTo>
                <a:cubicBezTo>
                  <a:pt x="667313" y="1255080"/>
                  <a:pt x="656878" y="1244625"/>
                  <a:pt x="646594" y="1234108"/>
                </a:cubicBezTo>
                <a:cubicBezTo>
                  <a:pt x="634298" y="1221533"/>
                  <a:pt x="621353" y="1209623"/>
                  <a:pt x="612063" y="1194382"/>
                </a:cubicBezTo>
                <a:cubicBezTo>
                  <a:pt x="596511" y="1168867"/>
                  <a:pt x="588079" y="1141707"/>
                  <a:pt x="591616" y="1111541"/>
                </a:cubicBezTo>
                <a:cubicBezTo>
                  <a:pt x="592450" y="1104432"/>
                  <a:pt x="593365" y="1097332"/>
                  <a:pt x="594320" y="1089609"/>
                </a:cubicBezTo>
                <a:cubicBezTo>
                  <a:pt x="588294" y="1089609"/>
                  <a:pt x="583452" y="1089392"/>
                  <a:pt x="578634" y="1089642"/>
                </a:cubicBezTo>
                <a:cubicBezTo>
                  <a:pt x="533732" y="1091976"/>
                  <a:pt x="488841" y="1094525"/>
                  <a:pt x="443931" y="1096700"/>
                </a:cubicBezTo>
                <a:cubicBezTo>
                  <a:pt x="430451" y="1097353"/>
                  <a:pt x="416923" y="1097005"/>
                  <a:pt x="403417" y="1097156"/>
                </a:cubicBezTo>
                <a:cubicBezTo>
                  <a:pt x="389337" y="1097313"/>
                  <a:pt x="388961" y="1097850"/>
                  <a:pt x="388348" y="1111502"/>
                </a:cubicBezTo>
                <a:cubicBezTo>
                  <a:pt x="387375" y="1133151"/>
                  <a:pt x="386231" y="1154793"/>
                  <a:pt x="385048" y="1176431"/>
                </a:cubicBezTo>
                <a:cubicBezTo>
                  <a:pt x="382637" y="1220514"/>
                  <a:pt x="380158" y="1264593"/>
                  <a:pt x="377687" y="1308672"/>
                </a:cubicBezTo>
                <a:cubicBezTo>
                  <a:pt x="377458" y="1312751"/>
                  <a:pt x="376852" y="1316821"/>
                  <a:pt x="376823" y="1320897"/>
                </a:cubicBezTo>
                <a:cubicBezTo>
                  <a:pt x="376717" y="1335880"/>
                  <a:pt x="376781" y="1350864"/>
                  <a:pt x="376781" y="1366151"/>
                </a:cubicBezTo>
                <a:cubicBezTo>
                  <a:pt x="404707" y="1370397"/>
                  <a:pt x="432477" y="1369351"/>
                  <a:pt x="462594" y="1369008"/>
                </a:cubicBezTo>
                <a:moveTo>
                  <a:pt x="648494" y="1463981"/>
                </a:moveTo>
                <a:cubicBezTo>
                  <a:pt x="671329" y="1460052"/>
                  <a:pt x="694163" y="1456122"/>
                  <a:pt x="718746" y="1451892"/>
                </a:cubicBezTo>
                <a:cubicBezTo>
                  <a:pt x="716257" y="1439067"/>
                  <a:pt x="714578" y="1427816"/>
                  <a:pt x="711827" y="1416835"/>
                </a:cubicBezTo>
                <a:cubicBezTo>
                  <a:pt x="707611" y="1400009"/>
                  <a:pt x="703502" y="1397423"/>
                  <a:pt x="685812" y="1398502"/>
                </a:cubicBezTo>
                <a:cubicBezTo>
                  <a:pt x="684179" y="1398602"/>
                  <a:pt x="682547" y="1398768"/>
                  <a:pt x="680924" y="1398973"/>
                </a:cubicBezTo>
                <a:cubicBezTo>
                  <a:pt x="653380" y="1402446"/>
                  <a:pt x="625911" y="1406752"/>
                  <a:pt x="598278" y="1409218"/>
                </a:cubicBezTo>
                <a:cubicBezTo>
                  <a:pt x="557171" y="1412886"/>
                  <a:pt x="515983" y="1415946"/>
                  <a:pt x="474765" y="1417945"/>
                </a:cubicBezTo>
                <a:cubicBezTo>
                  <a:pt x="444944" y="1419391"/>
                  <a:pt x="415021" y="1418680"/>
                  <a:pt x="385143" y="1418978"/>
                </a:cubicBezTo>
                <a:cubicBezTo>
                  <a:pt x="382419" y="1419005"/>
                  <a:pt x="379697" y="1419376"/>
                  <a:pt x="376639" y="1419613"/>
                </a:cubicBezTo>
                <a:cubicBezTo>
                  <a:pt x="376639" y="1438152"/>
                  <a:pt x="376639" y="1455909"/>
                  <a:pt x="376639" y="1473939"/>
                </a:cubicBezTo>
                <a:cubicBezTo>
                  <a:pt x="378971" y="1474343"/>
                  <a:pt x="380523" y="1474802"/>
                  <a:pt x="382089" y="1474854"/>
                </a:cubicBezTo>
                <a:cubicBezTo>
                  <a:pt x="404571" y="1475605"/>
                  <a:pt x="427058" y="1476986"/>
                  <a:pt x="449536" y="1476855"/>
                </a:cubicBezTo>
                <a:cubicBezTo>
                  <a:pt x="486344" y="1476639"/>
                  <a:pt x="523207" y="1476480"/>
                  <a:pt x="559930" y="1474307"/>
                </a:cubicBezTo>
                <a:cubicBezTo>
                  <a:pt x="588839" y="1472596"/>
                  <a:pt x="617570" y="1467884"/>
                  <a:pt x="648494" y="1463981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" name="Free-form: Shape 7">
            <a:extLst>
              <a:ext uri="{FF2B5EF4-FFF2-40B4-BE49-F238E27FC236}">
                <a16:creationId xmlns:a16="http://schemas.microsoft.com/office/drawing/2014/main" id="{9F58DA80-547B-1807-FFE6-69E031934AB1}"/>
              </a:ext>
            </a:extLst>
          </p:cNvPr>
          <p:cNvSpPr/>
          <p:nvPr/>
        </p:nvSpPr>
        <p:spPr>
          <a:xfrm>
            <a:off x="6372443" y="2233724"/>
            <a:ext cx="497702" cy="821885"/>
          </a:xfrm>
          <a:custGeom>
            <a:avLst/>
            <a:gdLst>
              <a:gd name="csX0" fmla="*/ 512604 w 598747"/>
              <a:gd name="csY0" fmla="*/ 503918 h 988745"/>
              <a:gd name="csX1" fmla="*/ 472435 w 598747"/>
              <a:gd name="csY1" fmla="*/ 482196 h 988745"/>
              <a:gd name="csX2" fmla="*/ 432737 w 598747"/>
              <a:gd name="csY2" fmla="*/ 445605 h 988745"/>
              <a:gd name="csX3" fmla="*/ 375943 w 598747"/>
              <a:gd name="csY3" fmla="*/ 426178 h 988745"/>
              <a:gd name="csX4" fmla="*/ 329354 w 598747"/>
              <a:gd name="csY4" fmla="*/ 428057 h 988745"/>
              <a:gd name="csX5" fmla="*/ 273070 w 598747"/>
              <a:gd name="csY5" fmla="*/ 425461 h 988745"/>
              <a:gd name="csX6" fmla="*/ 230084 w 598747"/>
              <a:gd name="csY6" fmla="*/ 395825 h 988745"/>
              <a:gd name="csX7" fmla="*/ 199097 w 598747"/>
              <a:gd name="csY7" fmla="*/ 326515 h 988745"/>
              <a:gd name="csX8" fmla="*/ 195158 w 598747"/>
              <a:gd name="csY8" fmla="*/ 315511 h 988745"/>
              <a:gd name="csX9" fmla="*/ 192512 w 598747"/>
              <a:gd name="csY9" fmla="*/ 315405 h 988745"/>
              <a:gd name="csX10" fmla="*/ 189288 w 598747"/>
              <a:gd name="csY10" fmla="*/ 321954 h 988745"/>
              <a:gd name="csX11" fmla="*/ 209532 w 598747"/>
              <a:gd name="csY11" fmla="*/ 453235 h 988745"/>
              <a:gd name="csX12" fmla="*/ 268616 w 598747"/>
              <a:gd name="csY12" fmla="*/ 538863 h 988745"/>
              <a:gd name="csX13" fmla="*/ 394191 w 598747"/>
              <a:gd name="csY13" fmla="*/ 676935 h 988745"/>
              <a:gd name="csX14" fmla="*/ 474037 w 598747"/>
              <a:gd name="csY14" fmla="*/ 783945 h 988745"/>
              <a:gd name="csX15" fmla="*/ 503332 w 598747"/>
              <a:gd name="csY15" fmla="*/ 901469 h 988745"/>
              <a:gd name="csX16" fmla="*/ 487993 w 598747"/>
              <a:gd name="csY16" fmla="*/ 970743 h 988745"/>
              <a:gd name="csX17" fmla="*/ 477248 w 598747"/>
              <a:gd name="csY17" fmla="*/ 979235 h 988745"/>
              <a:gd name="csX18" fmla="*/ 410194 w 598747"/>
              <a:gd name="csY18" fmla="*/ 986326 h 988745"/>
              <a:gd name="csX19" fmla="*/ 213720 w 598747"/>
              <a:gd name="csY19" fmla="*/ 988629 h 988745"/>
              <a:gd name="csX20" fmla="*/ 86242 w 598747"/>
              <a:gd name="csY20" fmla="*/ 982669 h 988745"/>
              <a:gd name="csX21" fmla="*/ 53553 w 598747"/>
              <a:gd name="csY21" fmla="*/ 981705 h 988745"/>
              <a:gd name="csX22" fmla="*/ 56311 w 598747"/>
              <a:gd name="csY22" fmla="*/ 974933 h 988745"/>
              <a:gd name="csX23" fmla="*/ 83373 w 598747"/>
              <a:gd name="csY23" fmla="*/ 891414 h 988745"/>
              <a:gd name="csX24" fmla="*/ 69625 w 598747"/>
              <a:gd name="csY24" fmla="*/ 728925 h 988745"/>
              <a:gd name="csX25" fmla="*/ 28713 w 598747"/>
              <a:gd name="csY25" fmla="*/ 583650 h 988745"/>
              <a:gd name="csX26" fmla="*/ 2872 w 598747"/>
              <a:gd name="csY26" fmla="*/ 458823 h 988745"/>
              <a:gd name="csX27" fmla="*/ 36461 w 598747"/>
              <a:gd name="csY27" fmla="*/ 250957 h 988745"/>
              <a:gd name="csX28" fmla="*/ 105198 w 598747"/>
              <a:gd name="csY28" fmla="*/ 163584 h 988745"/>
              <a:gd name="csX29" fmla="*/ 191800 w 598747"/>
              <a:gd name="csY29" fmla="*/ 101539 h 988745"/>
              <a:gd name="csX30" fmla="*/ 214600 w 598747"/>
              <a:gd name="csY30" fmla="*/ 75129 h 988745"/>
              <a:gd name="csX31" fmla="*/ 268462 w 598747"/>
              <a:gd name="csY31" fmla="*/ 0 h 988745"/>
              <a:gd name="csX32" fmla="*/ 269844 w 598747"/>
              <a:gd name="csY32" fmla="*/ 10898 h 988745"/>
              <a:gd name="csX33" fmla="*/ 272418 w 598747"/>
              <a:gd name="csY33" fmla="*/ 69722 h 988745"/>
              <a:gd name="csX34" fmla="*/ 297658 w 598747"/>
              <a:gd name="csY34" fmla="*/ 107113 h 988745"/>
              <a:gd name="csX35" fmla="*/ 355481 w 598747"/>
              <a:gd name="csY35" fmla="*/ 136991 h 988745"/>
              <a:gd name="csX36" fmla="*/ 430178 w 598747"/>
              <a:gd name="csY36" fmla="*/ 212396 h 988745"/>
              <a:gd name="csX37" fmla="*/ 465840 w 598747"/>
              <a:gd name="csY37" fmla="*/ 273997 h 988745"/>
              <a:gd name="csX38" fmla="*/ 532362 w 598747"/>
              <a:gd name="csY38" fmla="*/ 340124 h 988745"/>
              <a:gd name="csX39" fmla="*/ 572901 w 598747"/>
              <a:gd name="csY39" fmla="*/ 367845 h 988745"/>
              <a:gd name="csX40" fmla="*/ 598436 w 598747"/>
              <a:gd name="csY40" fmla="*/ 408775 h 988745"/>
              <a:gd name="csX41" fmla="*/ 596339 w 598747"/>
              <a:gd name="csY41" fmla="*/ 452637 h 988745"/>
              <a:gd name="csX42" fmla="*/ 552957 w 598747"/>
              <a:gd name="csY42" fmla="*/ 485233 h 988745"/>
              <a:gd name="csX43" fmla="*/ 525548 w 598747"/>
              <a:gd name="csY43" fmla="*/ 479475 h 988745"/>
              <a:gd name="csX44" fmla="*/ 515736 w 598747"/>
              <a:gd name="csY44" fmla="*/ 475921 h 988745"/>
              <a:gd name="csX45" fmla="*/ 525605 w 598747"/>
              <a:gd name="csY45" fmla="*/ 492048 h 988745"/>
              <a:gd name="csX46" fmla="*/ 538873 w 598747"/>
              <a:gd name="csY46" fmla="*/ 504704 h 988745"/>
              <a:gd name="csX47" fmla="*/ 512604 w 598747"/>
              <a:gd name="csY47" fmla="*/ 503918 h 988745"/>
              <a:gd name="csX48" fmla="*/ 332072 w 598747"/>
              <a:gd name="csY48" fmla="*/ 218143 h 988745"/>
              <a:gd name="csX49" fmla="*/ 334388 w 598747"/>
              <a:gd name="csY49" fmla="*/ 226400 h 988745"/>
              <a:gd name="csX50" fmla="*/ 372370 w 598747"/>
              <a:gd name="csY50" fmla="*/ 254505 h 988745"/>
              <a:gd name="csX51" fmla="*/ 405258 w 598747"/>
              <a:gd name="csY51" fmla="*/ 252089 h 988745"/>
              <a:gd name="csX52" fmla="*/ 409167 w 598747"/>
              <a:gd name="csY52" fmla="*/ 244359 h 988745"/>
              <a:gd name="csX53" fmla="*/ 396364 w 598747"/>
              <a:gd name="csY53" fmla="*/ 219471 h 988745"/>
              <a:gd name="csX54" fmla="*/ 365755 w 598747"/>
              <a:gd name="csY54" fmla="*/ 195821 h 988745"/>
              <a:gd name="csX55" fmla="*/ 333572 w 598747"/>
              <a:gd name="csY55" fmla="*/ 188536 h 988745"/>
              <a:gd name="csX56" fmla="*/ 322931 w 598747"/>
              <a:gd name="csY56" fmla="*/ 190843 h 988745"/>
              <a:gd name="csX57" fmla="*/ 329041 w 598747"/>
              <a:gd name="csY57" fmla="*/ 203001 h 988745"/>
              <a:gd name="csX58" fmla="*/ 332072 w 598747"/>
              <a:gd name="csY58" fmla="*/ 218143 h 98874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</a:cxnLst>
            <a:rect l="l" t="t" r="r" b="b"/>
            <a:pathLst>
              <a:path w="598747" h="988745">
                <a:moveTo>
                  <a:pt x="512604" y="503918"/>
                </a:moveTo>
                <a:cubicBezTo>
                  <a:pt x="496002" y="501170"/>
                  <a:pt x="483635" y="492907"/>
                  <a:pt x="472435" y="482196"/>
                </a:cubicBezTo>
                <a:cubicBezTo>
                  <a:pt x="459429" y="469758"/>
                  <a:pt x="446467" y="457218"/>
                  <a:pt x="432737" y="445605"/>
                </a:cubicBezTo>
                <a:cubicBezTo>
                  <a:pt x="416514" y="431883"/>
                  <a:pt x="397267" y="425513"/>
                  <a:pt x="375943" y="426178"/>
                </a:cubicBezTo>
                <a:cubicBezTo>
                  <a:pt x="360407" y="426662"/>
                  <a:pt x="344877" y="428180"/>
                  <a:pt x="329354" y="428057"/>
                </a:cubicBezTo>
                <a:cubicBezTo>
                  <a:pt x="310581" y="427907"/>
                  <a:pt x="291752" y="427215"/>
                  <a:pt x="273070" y="425461"/>
                </a:cubicBezTo>
                <a:cubicBezTo>
                  <a:pt x="253636" y="423637"/>
                  <a:pt x="240361" y="411413"/>
                  <a:pt x="230084" y="395825"/>
                </a:cubicBezTo>
                <a:cubicBezTo>
                  <a:pt x="215988" y="374443"/>
                  <a:pt x="207393" y="350530"/>
                  <a:pt x="199097" y="326515"/>
                </a:cubicBezTo>
                <a:cubicBezTo>
                  <a:pt x="197825" y="322833"/>
                  <a:pt x="196473" y="319178"/>
                  <a:pt x="195158" y="315511"/>
                </a:cubicBezTo>
                <a:cubicBezTo>
                  <a:pt x="194276" y="315475"/>
                  <a:pt x="193394" y="315440"/>
                  <a:pt x="192512" y="315405"/>
                </a:cubicBezTo>
                <a:cubicBezTo>
                  <a:pt x="191405" y="317583"/>
                  <a:pt x="189646" y="319659"/>
                  <a:pt x="189288" y="321954"/>
                </a:cubicBezTo>
                <a:cubicBezTo>
                  <a:pt x="182145" y="367836"/>
                  <a:pt x="189209" y="411525"/>
                  <a:pt x="209532" y="453235"/>
                </a:cubicBezTo>
                <a:cubicBezTo>
                  <a:pt x="224908" y="484792"/>
                  <a:pt x="245217" y="512936"/>
                  <a:pt x="268616" y="538863"/>
                </a:cubicBezTo>
                <a:cubicBezTo>
                  <a:pt x="310298" y="585046"/>
                  <a:pt x="352387" y="630861"/>
                  <a:pt x="394191" y="676935"/>
                </a:cubicBezTo>
                <a:cubicBezTo>
                  <a:pt x="424227" y="710039"/>
                  <a:pt x="452698" y="744360"/>
                  <a:pt x="474037" y="783945"/>
                </a:cubicBezTo>
                <a:cubicBezTo>
                  <a:pt x="493795" y="820596"/>
                  <a:pt x="505956" y="859233"/>
                  <a:pt x="503332" y="901469"/>
                </a:cubicBezTo>
                <a:cubicBezTo>
                  <a:pt x="501850" y="925342"/>
                  <a:pt x="495799" y="948239"/>
                  <a:pt x="487993" y="970743"/>
                </a:cubicBezTo>
                <a:cubicBezTo>
                  <a:pt x="486166" y="976009"/>
                  <a:pt x="482772" y="978647"/>
                  <a:pt x="477248" y="979235"/>
                </a:cubicBezTo>
                <a:cubicBezTo>
                  <a:pt x="454890" y="981614"/>
                  <a:pt x="432589" y="985767"/>
                  <a:pt x="410194" y="986326"/>
                </a:cubicBezTo>
                <a:cubicBezTo>
                  <a:pt x="344720" y="987961"/>
                  <a:pt x="279205" y="989128"/>
                  <a:pt x="213720" y="988629"/>
                </a:cubicBezTo>
                <a:cubicBezTo>
                  <a:pt x="171215" y="988306"/>
                  <a:pt x="128736" y="984705"/>
                  <a:pt x="86242" y="982669"/>
                </a:cubicBezTo>
                <a:cubicBezTo>
                  <a:pt x="75776" y="982167"/>
                  <a:pt x="65294" y="982040"/>
                  <a:pt x="53553" y="981705"/>
                </a:cubicBezTo>
                <a:cubicBezTo>
                  <a:pt x="54842" y="978488"/>
                  <a:pt x="55323" y="976556"/>
                  <a:pt x="56311" y="974933"/>
                </a:cubicBezTo>
                <a:cubicBezTo>
                  <a:pt x="71955" y="949229"/>
                  <a:pt x="78103" y="920529"/>
                  <a:pt x="83373" y="891414"/>
                </a:cubicBezTo>
                <a:cubicBezTo>
                  <a:pt x="93411" y="835958"/>
                  <a:pt x="83645" y="782156"/>
                  <a:pt x="69625" y="728925"/>
                </a:cubicBezTo>
                <a:cubicBezTo>
                  <a:pt x="56813" y="680283"/>
                  <a:pt x="42153" y="632130"/>
                  <a:pt x="28713" y="583650"/>
                </a:cubicBezTo>
                <a:cubicBezTo>
                  <a:pt x="17342" y="542631"/>
                  <a:pt x="7760" y="501188"/>
                  <a:pt x="2872" y="458823"/>
                </a:cubicBezTo>
                <a:cubicBezTo>
                  <a:pt x="-5484" y="386401"/>
                  <a:pt x="4005" y="316635"/>
                  <a:pt x="36461" y="250957"/>
                </a:cubicBezTo>
                <a:cubicBezTo>
                  <a:pt x="53137" y="217210"/>
                  <a:pt x="77705" y="189133"/>
                  <a:pt x="105198" y="163584"/>
                </a:cubicBezTo>
                <a:cubicBezTo>
                  <a:pt x="131434" y="139203"/>
                  <a:pt x="160285" y="118551"/>
                  <a:pt x="191800" y="101539"/>
                </a:cubicBezTo>
                <a:cubicBezTo>
                  <a:pt x="202646" y="95684"/>
                  <a:pt x="209856" y="86491"/>
                  <a:pt x="214600" y="75129"/>
                </a:cubicBezTo>
                <a:cubicBezTo>
                  <a:pt x="226474" y="46689"/>
                  <a:pt x="246616" y="24191"/>
                  <a:pt x="268462" y="0"/>
                </a:cubicBezTo>
                <a:cubicBezTo>
                  <a:pt x="269111" y="4997"/>
                  <a:pt x="269706" y="7937"/>
                  <a:pt x="269844" y="10898"/>
                </a:cubicBezTo>
                <a:cubicBezTo>
                  <a:pt x="270760" y="30504"/>
                  <a:pt x="271607" y="50112"/>
                  <a:pt x="272418" y="69722"/>
                </a:cubicBezTo>
                <a:cubicBezTo>
                  <a:pt x="273150" y="87396"/>
                  <a:pt x="281549" y="99401"/>
                  <a:pt x="297658" y="107113"/>
                </a:cubicBezTo>
                <a:cubicBezTo>
                  <a:pt x="317218" y="116476"/>
                  <a:pt x="336170" y="127101"/>
                  <a:pt x="355481" y="136991"/>
                </a:cubicBezTo>
                <a:cubicBezTo>
                  <a:pt x="388645" y="153974"/>
                  <a:pt x="413226" y="179056"/>
                  <a:pt x="430178" y="212396"/>
                </a:cubicBezTo>
                <a:cubicBezTo>
                  <a:pt x="440917" y="233515"/>
                  <a:pt x="453634" y="253647"/>
                  <a:pt x="465840" y="273997"/>
                </a:cubicBezTo>
                <a:cubicBezTo>
                  <a:pt x="482404" y="301613"/>
                  <a:pt x="506102" y="322183"/>
                  <a:pt x="532362" y="340124"/>
                </a:cubicBezTo>
                <a:cubicBezTo>
                  <a:pt x="545881" y="349359"/>
                  <a:pt x="559082" y="359088"/>
                  <a:pt x="572901" y="367845"/>
                </a:cubicBezTo>
                <a:cubicBezTo>
                  <a:pt x="588172" y="377523"/>
                  <a:pt x="597775" y="390733"/>
                  <a:pt x="598436" y="408775"/>
                </a:cubicBezTo>
                <a:cubicBezTo>
                  <a:pt x="598970" y="423381"/>
                  <a:pt x="599120" y="438404"/>
                  <a:pt x="596339" y="452637"/>
                </a:cubicBezTo>
                <a:cubicBezTo>
                  <a:pt x="591789" y="475923"/>
                  <a:pt x="576843" y="486555"/>
                  <a:pt x="552957" y="485233"/>
                </a:cubicBezTo>
                <a:cubicBezTo>
                  <a:pt x="543740" y="484722"/>
                  <a:pt x="534648" y="481613"/>
                  <a:pt x="525548" y="479475"/>
                </a:cubicBezTo>
                <a:cubicBezTo>
                  <a:pt x="522577" y="478776"/>
                  <a:pt x="519764" y="477405"/>
                  <a:pt x="515736" y="475921"/>
                </a:cubicBezTo>
                <a:cubicBezTo>
                  <a:pt x="516318" y="484233"/>
                  <a:pt x="521537" y="487842"/>
                  <a:pt x="525605" y="492048"/>
                </a:cubicBezTo>
                <a:cubicBezTo>
                  <a:pt x="529554" y="496129"/>
                  <a:pt x="533815" y="499907"/>
                  <a:pt x="538873" y="504704"/>
                </a:cubicBezTo>
                <a:cubicBezTo>
                  <a:pt x="529522" y="509277"/>
                  <a:pt x="521553" y="504428"/>
                  <a:pt x="512604" y="503918"/>
                </a:cubicBezTo>
                <a:moveTo>
                  <a:pt x="332072" y="218143"/>
                </a:moveTo>
                <a:cubicBezTo>
                  <a:pt x="332837" y="220898"/>
                  <a:pt x="333478" y="223695"/>
                  <a:pt x="334388" y="226400"/>
                </a:cubicBezTo>
                <a:cubicBezTo>
                  <a:pt x="341073" y="246268"/>
                  <a:pt x="351614" y="254460"/>
                  <a:pt x="372370" y="254505"/>
                </a:cubicBezTo>
                <a:cubicBezTo>
                  <a:pt x="383333" y="254529"/>
                  <a:pt x="394312" y="253121"/>
                  <a:pt x="405258" y="252089"/>
                </a:cubicBezTo>
                <a:cubicBezTo>
                  <a:pt x="409961" y="251646"/>
                  <a:pt x="411340" y="248568"/>
                  <a:pt x="409167" y="244359"/>
                </a:cubicBezTo>
                <a:cubicBezTo>
                  <a:pt x="404885" y="236068"/>
                  <a:pt x="400139" y="227985"/>
                  <a:pt x="396364" y="219471"/>
                </a:cubicBezTo>
                <a:cubicBezTo>
                  <a:pt x="390350" y="205908"/>
                  <a:pt x="379963" y="198663"/>
                  <a:pt x="365755" y="195821"/>
                </a:cubicBezTo>
                <a:cubicBezTo>
                  <a:pt x="354973" y="193665"/>
                  <a:pt x="344291" y="191003"/>
                  <a:pt x="333572" y="188536"/>
                </a:cubicBezTo>
                <a:cubicBezTo>
                  <a:pt x="329511" y="187602"/>
                  <a:pt x="325579" y="187007"/>
                  <a:pt x="322931" y="190843"/>
                </a:cubicBezTo>
                <a:cubicBezTo>
                  <a:pt x="325138" y="195129"/>
                  <a:pt x="327613" y="198884"/>
                  <a:pt x="329041" y="203001"/>
                </a:cubicBezTo>
                <a:cubicBezTo>
                  <a:pt x="330500" y="207204"/>
                  <a:pt x="330929" y="211764"/>
                  <a:pt x="332072" y="218143"/>
                </a:cubicBezTo>
                <a:close/>
              </a:path>
            </a:pathLst>
          </a:custGeom>
          <a:solidFill>
            <a:srgbClr val="FEFEFE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" name="Free-form: Shape 9">
            <a:extLst>
              <a:ext uri="{FF2B5EF4-FFF2-40B4-BE49-F238E27FC236}">
                <a16:creationId xmlns:a16="http://schemas.microsoft.com/office/drawing/2014/main" id="{0CB0D06B-A555-BA2F-2743-ED2E655D4651}"/>
              </a:ext>
            </a:extLst>
          </p:cNvPr>
          <p:cNvSpPr/>
          <p:nvPr/>
        </p:nvSpPr>
        <p:spPr>
          <a:xfrm>
            <a:off x="6573260" y="3091059"/>
            <a:ext cx="267393" cy="232628"/>
          </a:xfrm>
          <a:custGeom>
            <a:avLst/>
            <a:gdLst>
              <a:gd name="csX0" fmla="*/ 84645 w 321679"/>
              <a:gd name="csY0" fmla="*/ 279507 h 279857"/>
              <a:gd name="csX1" fmla="*/ 19 w 321679"/>
              <a:gd name="csY1" fmla="*/ 276629 h 279857"/>
              <a:gd name="csX2" fmla="*/ 61 w 321679"/>
              <a:gd name="csY2" fmla="*/ 231376 h 279857"/>
              <a:gd name="csX3" fmla="*/ 925 w 321679"/>
              <a:gd name="csY3" fmla="*/ 219150 h 279857"/>
              <a:gd name="csX4" fmla="*/ 8286 w 321679"/>
              <a:gd name="csY4" fmla="*/ 86910 h 279857"/>
              <a:gd name="csX5" fmla="*/ 11586 w 321679"/>
              <a:gd name="csY5" fmla="*/ 21981 h 279857"/>
              <a:gd name="csX6" fmla="*/ 26655 w 321679"/>
              <a:gd name="csY6" fmla="*/ 7635 h 279857"/>
              <a:gd name="csX7" fmla="*/ 67169 w 321679"/>
              <a:gd name="csY7" fmla="*/ 7178 h 279857"/>
              <a:gd name="csX8" fmla="*/ 201872 w 321679"/>
              <a:gd name="csY8" fmla="*/ 121 h 279857"/>
              <a:gd name="csX9" fmla="*/ 217558 w 321679"/>
              <a:gd name="csY9" fmla="*/ 87 h 279857"/>
              <a:gd name="csX10" fmla="*/ 214854 w 321679"/>
              <a:gd name="csY10" fmla="*/ 22019 h 279857"/>
              <a:gd name="csX11" fmla="*/ 235301 w 321679"/>
              <a:gd name="csY11" fmla="*/ 104861 h 279857"/>
              <a:gd name="csX12" fmla="*/ 269832 w 321679"/>
              <a:gd name="csY12" fmla="*/ 144587 h 279857"/>
              <a:gd name="csX13" fmla="*/ 299912 w 321679"/>
              <a:gd name="csY13" fmla="*/ 176874 h 279857"/>
              <a:gd name="csX14" fmla="*/ 320491 w 321679"/>
              <a:gd name="csY14" fmla="*/ 256903 h 279857"/>
              <a:gd name="csX15" fmla="*/ 255607 w 321679"/>
              <a:gd name="csY15" fmla="*/ 264918 h 279857"/>
              <a:gd name="csX16" fmla="*/ 172672 w 321679"/>
              <a:gd name="csY16" fmla="*/ 273435 h 279857"/>
              <a:gd name="csX17" fmla="*/ 133595 w 321679"/>
              <a:gd name="csY17" fmla="*/ 276823 h 279857"/>
              <a:gd name="csX18" fmla="*/ 84645 w 321679"/>
              <a:gd name="csY18" fmla="*/ 279507 h 27985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</a:cxnLst>
            <a:rect l="l" t="t" r="r" b="b"/>
            <a:pathLst>
              <a:path w="321679" h="279857">
                <a:moveTo>
                  <a:pt x="84645" y="279507"/>
                </a:moveTo>
                <a:cubicBezTo>
                  <a:pt x="55716" y="279830"/>
                  <a:pt x="27945" y="280875"/>
                  <a:pt x="19" y="276629"/>
                </a:cubicBezTo>
                <a:cubicBezTo>
                  <a:pt x="19" y="261343"/>
                  <a:pt x="-45" y="246359"/>
                  <a:pt x="61" y="231376"/>
                </a:cubicBezTo>
                <a:cubicBezTo>
                  <a:pt x="90" y="227299"/>
                  <a:pt x="696" y="223229"/>
                  <a:pt x="925" y="219150"/>
                </a:cubicBezTo>
                <a:cubicBezTo>
                  <a:pt x="3396" y="175071"/>
                  <a:pt x="5876" y="130992"/>
                  <a:pt x="8286" y="86910"/>
                </a:cubicBezTo>
                <a:cubicBezTo>
                  <a:pt x="9469" y="65271"/>
                  <a:pt x="10613" y="43630"/>
                  <a:pt x="11586" y="21981"/>
                </a:cubicBezTo>
                <a:cubicBezTo>
                  <a:pt x="12199" y="8328"/>
                  <a:pt x="12576" y="7792"/>
                  <a:pt x="26655" y="7635"/>
                </a:cubicBezTo>
                <a:cubicBezTo>
                  <a:pt x="40161" y="7484"/>
                  <a:pt x="53689" y="7831"/>
                  <a:pt x="67169" y="7178"/>
                </a:cubicBezTo>
                <a:cubicBezTo>
                  <a:pt x="112079" y="5004"/>
                  <a:pt x="156970" y="2455"/>
                  <a:pt x="201872" y="121"/>
                </a:cubicBezTo>
                <a:cubicBezTo>
                  <a:pt x="206690" y="-130"/>
                  <a:pt x="211533" y="87"/>
                  <a:pt x="217558" y="87"/>
                </a:cubicBezTo>
                <a:cubicBezTo>
                  <a:pt x="216603" y="7811"/>
                  <a:pt x="215688" y="14910"/>
                  <a:pt x="214854" y="22019"/>
                </a:cubicBezTo>
                <a:cubicBezTo>
                  <a:pt x="211318" y="52185"/>
                  <a:pt x="219749" y="79345"/>
                  <a:pt x="235301" y="104861"/>
                </a:cubicBezTo>
                <a:cubicBezTo>
                  <a:pt x="244591" y="120102"/>
                  <a:pt x="257536" y="132012"/>
                  <a:pt x="269832" y="144587"/>
                </a:cubicBezTo>
                <a:cubicBezTo>
                  <a:pt x="280116" y="155103"/>
                  <a:pt x="290551" y="165559"/>
                  <a:pt x="299912" y="176874"/>
                </a:cubicBezTo>
                <a:cubicBezTo>
                  <a:pt x="319006" y="199953"/>
                  <a:pt x="324386" y="226827"/>
                  <a:pt x="320491" y="256903"/>
                </a:cubicBezTo>
                <a:cubicBezTo>
                  <a:pt x="298421" y="259649"/>
                  <a:pt x="277043" y="262541"/>
                  <a:pt x="255607" y="264918"/>
                </a:cubicBezTo>
                <a:cubicBezTo>
                  <a:pt x="227987" y="267981"/>
                  <a:pt x="200327" y="270692"/>
                  <a:pt x="172672" y="273435"/>
                </a:cubicBezTo>
                <a:cubicBezTo>
                  <a:pt x="159662" y="274725"/>
                  <a:pt x="146637" y="275935"/>
                  <a:pt x="133595" y="276823"/>
                </a:cubicBezTo>
                <a:cubicBezTo>
                  <a:pt x="117688" y="277907"/>
                  <a:pt x="101755" y="278616"/>
                  <a:pt x="84645" y="279507"/>
                </a:cubicBezTo>
                <a:close/>
              </a:path>
            </a:pathLst>
          </a:custGeom>
          <a:solidFill>
            <a:srgbClr val="FDFEFE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4" name="Free-form: Shape 13">
            <a:extLst>
              <a:ext uri="{FF2B5EF4-FFF2-40B4-BE49-F238E27FC236}">
                <a16:creationId xmlns:a16="http://schemas.microsoft.com/office/drawing/2014/main" id="{72A19F47-F407-F504-5683-D16A74D86FC4}"/>
              </a:ext>
            </a:extLst>
          </p:cNvPr>
          <p:cNvSpPr/>
          <p:nvPr/>
        </p:nvSpPr>
        <p:spPr>
          <a:xfrm>
            <a:off x="6573157" y="3347720"/>
            <a:ext cx="284373" cy="65313"/>
          </a:xfrm>
          <a:custGeom>
            <a:avLst/>
            <a:gdLst>
              <a:gd name="csX0" fmla="*/ 270798 w 342106"/>
              <a:gd name="csY0" fmla="*/ 65953 h 78573"/>
              <a:gd name="csX1" fmla="*/ 183290 w 342106"/>
              <a:gd name="csY1" fmla="*/ 76017 h 78573"/>
              <a:gd name="csX2" fmla="*/ 72897 w 342106"/>
              <a:gd name="csY2" fmla="*/ 78565 h 78573"/>
              <a:gd name="csX3" fmla="*/ 5450 w 342106"/>
              <a:gd name="csY3" fmla="*/ 76564 h 78573"/>
              <a:gd name="csX4" fmla="*/ 0 w 342106"/>
              <a:gd name="csY4" fmla="*/ 75649 h 78573"/>
              <a:gd name="csX5" fmla="*/ 0 w 342106"/>
              <a:gd name="csY5" fmla="*/ 21324 h 78573"/>
              <a:gd name="csX6" fmla="*/ 8504 w 342106"/>
              <a:gd name="csY6" fmla="*/ 20688 h 78573"/>
              <a:gd name="csX7" fmla="*/ 98126 w 342106"/>
              <a:gd name="csY7" fmla="*/ 19655 h 78573"/>
              <a:gd name="csX8" fmla="*/ 221639 w 342106"/>
              <a:gd name="csY8" fmla="*/ 10929 h 78573"/>
              <a:gd name="csX9" fmla="*/ 304285 w 342106"/>
              <a:gd name="csY9" fmla="*/ 683 h 78573"/>
              <a:gd name="csX10" fmla="*/ 309173 w 342106"/>
              <a:gd name="csY10" fmla="*/ 212 h 78573"/>
              <a:gd name="csX11" fmla="*/ 335187 w 342106"/>
              <a:gd name="csY11" fmla="*/ 18545 h 78573"/>
              <a:gd name="csX12" fmla="*/ 342106 w 342106"/>
              <a:gd name="csY12" fmla="*/ 53602 h 78573"/>
              <a:gd name="csX13" fmla="*/ 270798 w 342106"/>
              <a:gd name="csY13" fmla="*/ 65953 h 7857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</a:cxnLst>
            <a:rect l="l" t="t" r="r" b="b"/>
            <a:pathLst>
              <a:path w="342106" h="78573">
                <a:moveTo>
                  <a:pt x="270798" y="65953"/>
                </a:moveTo>
                <a:cubicBezTo>
                  <a:pt x="240931" y="69594"/>
                  <a:pt x="212199" y="74306"/>
                  <a:pt x="183290" y="76017"/>
                </a:cubicBezTo>
                <a:cubicBezTo>
                  <a:pt x="146568" y="78191"/>
                  <a:pt x="109704" y="78349"/>
                  <a:pt x="72897" y="78565"/>
                </a:cubicBezTo>
                <a:cubicBezTo>
                  <a:pt x="50419" y="78697"/>
                  <a:pt x="27931" y="77315"/>
                  <a:pt x="5450" y="76564"/>
                </a:cubicBezTo>
                <a:cubicBezTo>
                  <a:pt x="3884" y="76512"/>
                  <a:pt x="2332" y="76053"/>
                  <a:pt x="0" y="75649"/>
                </a:cubicBezTo>
                <a:cubicBezTo>
                  <a:pt x="0" y="57619"/>
                  <a:pt x="0" y="39863"/>
                  <a:pt x="0" y="21324"/>
                </a:cubicBezTo>
                <a:cubicBezTo>
                  <a:pt x="3058" y="21086"/>
                  <a:pt x="5779" y="20715"/>
                  <a:pt x="8504" y="20688"/>
                </a:cubicBezTo>
                <a:cubicBezTo>
                  <a:pt x="38382" y="20390"/>
                  <a:pt x="68305" y="21101"/>
                  <a:pt x="98126" y="19655"/>
                </a:cubicBezTo>
                <a:cubicBezTo>
                  <a:pt x="139343" y="17657"/>
                  <a:pt x="180532" y="14597"/>
                  <a:pt x="221639" y="10929"/>
                </a:cubicBezTo>
                <a:cubicBezTo>
                  <a:pt x="249272" y="8463"/>
                  <a:pt x="276741" y="4156"/>
                  <a:pt x="304285" y="683"/>
                </a:cubicBezTo>
                <a:cubicBezTo>
                  <a:pt x="305908" y="478"/>
                  <a:pt x="307539" y="312"/>
                  <a:pt x="309173" y="212"/>
                </a:cubicBezTo>
                <a:cubicBezTo>
                  <a:pt x="326863" y="-867"/>
                  <a:pt x="330972" y="1719"/>
                  <a:pt x="335187" y="18545"/>
                </a:cubicBezTo>
                <a:cubicBezTo>
                  <a:pt x="337939" y="29526"/>
                  <a:pt x="339618" y="40777"/>
                  <a:pt x="342106" y="53602"/>
                </a:cubicBezTo>
                <a:cubicBezTo>
                  <a:pt x="317523" y="57833"/>
                  <a:pt x="294689" y="61762"/>
                  <a:pt x="270798" y="65953"/>
                </a:cubicBezTo>
                <a:close/>
              </a:path>
            </a:pathLst>
          </a:custGeom>
          <a:solidFill>
            <a:srgbClr val="FCFCFC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5" name="Free-form: Shape 14">
            <a:extLst>
              <a:ext uri="{FF2B5EF4-FFF2-40B4-BE49-F238E27FC236}">
                <a16:creationId xmlns:a16="http://schemas.microsoft.com/office/drawing/2014/main" id="{B20AAE09-7925-94AA-138C-9D47E8B181B7}"/>
              </a:ext>
            </a:extLst>
          </p:cNvPr>
          <p:cNvSpPr/>
          <p:nvPr/>
        </p:nvSpPr>
        <p:spPr>
          <a:xfrm>
            <a:off x="6640876" y="2389864"/>
            <a:ext cx="72517" cy="55415"/>
          </a:xfrm>
          <a:custGeom>
            <a:avLst/>
            <a:gdLst>
              <a:gd name="csX0" fmla="*/ 9010 w 87239"/>
              <a:gd name="csY0" fmla="*/ 29316 h 66665"/>
              <a:gd name="csX1" fmla="*/ 6110 w 87239"/>
              <a:gd name="csY1" fmla="*/ 15162 h 66665"/>
              <a:gd name="csX2" fmla="*/ 0 w 87239"/>
              <a:gd name="csY2" fmla="*/ 3003 h 66665"/>
              <a:gd name="csX3" fmla="*/ 10641 w 87239"/>
              <a:gd name="csY3" fmla="*/ 697 h 66665"/>
              <a:gd name="csX4" fmla="*/ 42824 w 87239"/>
              <a:gd name="csY4" fmla="*/ 7981 h 66665"/>
              <a:gd name="csX5" fmla="*/ 73433 w 87239"/>
              <a:gd name="csY5" fmla="*/ 31631 h 66665"/>
              <a:gd name="csX6" fmla="*/ 86236 w 87239"/>
              <a:gd name="csY6" fmla="*/ 56519 h 66665"/>
              <a:gd name="csX7" fmla="*/ 82327 w 87239"/>
              <a:gd name="csY7" fmla="*/ 64249 h 66665"/>
              <a:gd name="csX8" fmla="*/ 49439 w 87239"/>
              <a:gd name="csY8" fmla="*/ 66665 h 66665"/>
              <a:gd name="csX9" fmla="*/ 11457 w 87239"/>
              <a:gd name="csY9" fmla="*/ 38560 h 66665"/>
              <a:gd name="csX10" fmla="*/ 9010 w 87239"/>
              <a:gd name="csY10" fmla="*/ 29316 h 6666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</a:cxnLst>
            <a:rect l="l" t="t" r="r" b="b"/>
            <a:pathLst>
              <a:path w="87239" h="66665">
                <a:moveTo>
                  <a:pt x="9010" y="29316"/>
                </a:moveTo>
                <a:cubicBezTo>
                  <a:pt x="7998" y="23924"/>
                  <a:pt x="7568" y="19365"/>
                  <a:pt x="6110" y="15162"/>
                </a:cubicBezTo>
                <a:cubicBezTo>
                  <a:pt x="4682" y="11044"/>
                  <a:pt x="2207" y="7289"/>
                  <a:pt x="0" y="3003"/>
                </a:cubicBezTo>
                <a:cubicBezTo>
                  <a:pt x="2648" y="-833"/>
                  <a:pt x="6580" y="-238"/>
                  <a:pt x="10641" y="697"/>
                </a:cubicBezTo>
                <a:cubicBezTo>
                  <a:pt x="21360" y="3163"/>
                  <a:pt x="32042" y="5825"/>
                  <a:pt x="42824" y="7981"/>
                </a:cubicBezTo>
                <a:cubicBezTo>
                  <a:pt x="57032" y="10823"/>
                  <a:pt x="67419" y="18068"/>
                  <a:pt x="73433" y="31631"/>
                </a:cubicBezTo>
                <a:cubicBezTo>
                  <a:pt x="77208" y="40146"/>
                  <a:pt x="81954" y="48228"/>
                  <a:pt x="86236" y="56519"/>
                </a:cubicBezTo>
                <a:cubicBezTo>
                  <a:pt x="88409" y="60728"/>
                  <a:pt x="87030" y="63806"/>
                  <a:pt x="82327" y="64249"/>
                </a:cubicBezTo>
                <a:cubicBezTo>
                  <a:pt x="71381" y="65282"/>
                  <a:pt x="60402" y="66689"/>
                  <a:pt x="49439" y="66665"/>
                </a:cubicBezTo>
                <a:cubicBezTo>
                  <a:pt x="28683" y="66620"/>
                  <a:pt x="18142" y="58428"/>
                  <a:pt x="11457" y="38560"/>
                </a:cubicBezTo>
                <a:cubicBezTo>
                  <a:pt x="10547" y="35855"/>
                  <a:pt x="9906" y="33058"/>
                  <a:pt x="9010" y="29316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4723315-F51B-B283-0EE7-999C5D4AD4D4}"/>
              </a:ext>
            </a:extLst>
          </p:cNvPr>
          <p:cNvSpPr txBox="1"/>
          <p:nvPr/>
        </p:nvSpPr>
        <p:spPr>
          <a:xfrm>
            <a:off x="5846718" y="3627836"/>
            <a:ext cx="1438002" cy="3927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Loncastuximab </a:t>
            </a:r>
            <a:b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esirine</a:t>
            </a:r>
          </a:p>
        </p:txBody>
      </p:sp>
      <p:sp>
        <p:nvSpPr>
          <p:cNvPr id="277" name="TextBox 276">
            <a:extLst>
              <a:ext uri="{FF2B5EF4-FFF2-40B4-BE49-F238E27FC236}">
                <a16:creationId xmlns:a16="http://schemas.microsoft.com/office/drawing/2014/main" id="{1EAA14F5-5BB5-C368-DEA3-79E7701BFFB9}"/>
              </a:ext>
            </a:extLst>
          </p:cNvPr>
          <p:cNvSpPr txBox="1"/>
          <p:nvPr/>
        </p:nvSpPr>
        <p:spPr>
          <a:xfrm>
            <a:off x="3538273" y="3627836"/>
            <a:ext cx="1710704" cy="3927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D20×CD3 </a:t>
            </a:r>
            <a:b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BsAbs</a:t>
            </a:r>
          </a:p>
        </p:txBody>
      </p:sp>
      <p:sp>
        <p:nvSpPr>
          <p:cNvPr id="278" name="Oval 277">
            <a:extLst>
              <a:ext uri="{FF2B5EF4-FFF2-40B4-BE49-F238E27FC236}">
                <a16:creationId xmlns:a16="http://schemas.microsoft.com/office/drawing/2014/main" id="{5B2A155E-76B4-CA97-FEA2-3A190072EE05}"/>
              </a:ext>
            </a:extLst>
          </p:cNvPr>
          <p:cNvSpPr/>
          <p:nvPr/>
        </p:nvSpPr>
        <p:spPr>
          <a:xfrm>
            <a:off x="4005923" y="3320568"/>
            <a:ext cx="739960" cy="152189"/>
          </a:xfrm>
          <a:prstGeom prst="ellipse">
            <a:avLst/>
          </a:prstGeom>
          <a:solidFill>
            <a:schemeClr val="tx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79" name="Free-form: Shape 278">
            <a:extLst>
              <a:ext uri="{FF2B5EF4-FFF2-40B4-BE49-F238E27FC236}">
                <a16:creationId xmlns:a16="http://schemas.microsoft.com/office/drawing/2014/main" id="{3A6A267D-EF65-9FB2-FAF3-DF08EBA9D52A}"/>
              </a:ext>
            </a:extLst>
          </p:cNvPr>
          <p:cNvSpPr/>
          <p:nvPr/>
        </p:nvSpPr>
        <p:spPr>
          <a:xfrm>
            <a:off x="4085887" y="2018991"/>
            <a:ext cx="650203" cy="1414846"/>
          </a:xfrm>
          <a:custGeom>
            <a:avLst/>
            <a:gdLst>
              <a:gd name="csX0" fmla="*/ 466852 w 715223"/>
              <a:gd name="csY0" fmla="*/ 229083 h 1556330"/>
              <a:gd name="csX1" fmla="*/ 462328 w 715223"/>
              <a:gd name="csY1" fmla="*/ 242604 h 1556330"/>
              <a:gd name="csX2" fmla="*/ 496944 w 715223"/>
              <a:gd name="csY2" fmla="*/ 204739 h 1556330"/>
              <a:gd name="csX3" fmla="*/ 534359 w 715223"/>
              <a:gd name="csY3" fmla="*/ 270960 h 1556330"/>
              <a:gd name="csX4" fmla="*/ 540589 w 715223"/>
              <a:gd name="csY4" fmla="*/ 445986 h 1556330"/>
              <a:gd name="csX5" fmla="*/ 509727 w 715223"/>
              <a:gd name="csY5" fmla="*/ 496924 h 1556330"/>
              <a:gd name="csX6" fmla="*/ 505366 w 715223"/>
              <a:gd name="csY6" fmla="*/ 511893 h 1556330"/>
              <a:gd name="csX7" fmla="*/ 501982 w 715223"/>
              <a:gd name="csY7" fmla="*/ 530377 h 1556330"/>
              <a:gd name="csX8" fmla="*/ 505678 w 715223"/>
              <a:gd name="csY8" fmla="*/ 556455 h 1556330"/>
              <a:gd name="csX9" fmla="*/ 526115 w 715223"/>
              <a:gd name="csY9" fmla="*/ 591784 h 1556330"/>
              <a:gd name="csX10" fmla="*/ 541579 w 715223"/>
              <a:gd name="csY10" fmla="*/ 612264 h 1556330"/>
              <a:gd name="csX11" fmla="*/ 569572 w 715223"/>
              <a:gd name="csY11" fmla="*/ 643441 h 1556330"/>
              <a:gd name="csX12" fmla="*/ 555234 w 715223"/>
              <a:gd name="csY12" fmla="*/ 688473 h 1556330"/>
              <a:gd name="csX13" fmla="*/ 513278 w 715223"/>
              <a:gd name="csY13" fmla="*/ 700556 h 1556330"/>
              <a:gd name="csX14" fmla="*/ 488559 w 715223"/>
              <a:gd name="csY14" fmla="*/ 702821 h 1556330"/>
              <a:gd name="csX15" fmla="*/ 488544 w 715223"/>
              <a:gd name="csY15" fmla="*/ 718085 h 1556330"/>
              <a:gd name="csX16" fmla="*/ 526561 w 715223"/>
              <a:gd name="csY16" fmla="*/ 1010212 h 1556330"/>
              <a:gd name="csX17" fmla="*/ 569986 w 715223"/>
              <a:gd name="csY17" fmla="*/ 1153317 h 1556330"/>
              <a:gd name="csX18" fmla="*/ 587389 w 715223"/>
              <a:gd name="csY18" fmla="*/ 1172173 h 1556330"/>
              <a:gd name="csX19" fmla="*/ 606286 w 715223"/>
              <a:gd name="csY19" fmla="*/ 1180891 h 1556330"/>
              <a:gd name="csX20" fmla="*/ 613400 w 715223"/>
              <a:gd name="csY20" fmla="*/ 1204260 h 1556330"/>
              <a:gd name="csX21" fmla="*/ 605350 w 715223"/>
              <a:gd name="csY21" fmla="*/ 1216760 h 1556330"/>
              <a:gd name="csX22" fmla="*/ 600268 w 715223"/>
              <a:gd name="csY22" fmla="*/ 1220273 h 1556330"/>
              <a:gd name="csX23" fmla="*/ 610574 w 715223"/>
              <a:gd name="csY23" fmla="*/ 1258750 h 1556330"/>
              <a:gd name="csX24" fmla="*/ 672371 w 715223"/>
              <a:gd name="csY24" fmla="*/ 1319810 h 1556330"/>
              <a:gd name="csX25" fmla="*/ 675494 w 715223"/>
              <a:gd name="csY25" fmla="*/ 1323366 h 1556330"/>
              <a:gd name="csX26" fmla="*/ 692949 w 715223"/>
              <a:gd name="csY26" fmla="*/ 1396068 h 1556330"/>
              <a:gd name="csX27" fmla="*/ 690628 w 715223"/>
              <a:gd name="csY27" fmla="*/ 1414117 h 1556330"/>
              <a:gd name="csX28" fmla="*/ 695588 w 715223"/>
              <a:gd name="csY28" fmla="*/ 1421035 h 1556330"/>
              <a:gd name="csX29" fmla="*/ 694353 w 715223"/>
              <a:gd name="csY29" fmla="*/ 1425190 h 1556330"/>
              <a:gd name="csX30" fmla="*/ 689106 w 715223"/>
              <a:gd name="csY30" fmla="*/ 1428714 h 1556330"/>
              <a:gd name="csX31" fmla="*/ 695093 w 715223"/>
              <a:gd name="csY31" fmla="*/ 1428433 h 1556330"/>
              <a:gd name="csX32" fmla="*/ 697643 w 715223"/>
              <a:gd name="csY32" fmla="*/ 1432864 h 1556330"/>
              <a:gd name="csX33" fmla="*/ 698207 w 715223"/>
              <a:gd name="csY33" fmla="*/ 1441988 h 1556330"/>
              <a:gd name="csX34" fmla="*/ 715183 w 715223"/>
              <a:gd name="csY34" fmla="*/ 1508752 h 1556330"/>
              <a:gd name="csX35" fmla="*/ 701540 w 715223"/>
              <a:gd name="csY35" fmla="*/ 1526524 h 1556330"/>
              <a:gd name="csX36" fmla="*/ 581715 w 715223"/>
              <a:gd name="csY36" fmla="*/ 1548559 h 1556330"/>
              <a:gd name="csX37" fmla="*/ 522168 w 715223"/>
              <a:gd name="csY37" fmla="*/ 1553543 h 1556330"/>
              <a:gd name="csX38" fmla="*/ 450008 w 715223"/>
              <a:gd name="csY38" fmla="*/ 1556019 h 1556330"/>
              <a:gd name="csX39" fmla="*/ 245169 w 715223"/>
              <a:gd name="csY39" fmla="*/ 1553749 h 1556330"/>
              <a:gd name="csX40" fmla="*/ 221854 w 715223"/>
              <a:gd name="csY40" fmla="*/ 1553306 h 1556330"/>
              <a:gd name="csX41" fmla="*/ 168405 w 715223"/>
              <a:gd name="csY41" fmla="*/ 1548828 h 1556330"/>
              <a:gd name="csX42" fmla="*/ 126970 w 715223"/>
              <a:gd name="csY42" fmla="*/ 1546091 h 1556330"/>
              <a:gd name="csX43" fmla="*/ 104053 w 715223"/>
              <a:gd name="csY43" fmla="*/ 1542912 h 1556330"/>
              <a:gd name="csX44" fmla="*/ 65625 w 715223"/>
              <a:gd name="csY44" fmla="*/ 1536401 h 1556330"/>
              <a:gd name="csX45" fmla="*/ 10909 w 715223"/>
              <a:gd name="csY45" fmla="*/ 1524010 h 1556330"/>
              <a:gd name="csX46" fmla="*/ 8 w 715223"/>
              <a:gd name="csY46" fmla="*/ 1509263 h 1556330"/>
              <a:gd name="csX47" fmla="*/ 21158 w 715223"/>
              <a:gd name="csY47" fmla="*/ 1433611 h 1556330"/>
              <a:gd name="csX48" fmla="*/ 23462 w 715223"/>
              <a:gd name="csY48" fmla="*/ 1418658 h 1556330"/>
              <a:gd name="csX49" fmla="*/ 19643 w 715223"/>
              <a:gd name="csY49" fmla="*/ 1382324 h 1556330"/>
              <a:gd name="csX50" fmla="*/ 49060 w 715223"/>
              <a:gd name="csY50" fmla="*/ 1311832 h 1556330"/>
              <a:gd name="csX51" fmla="*/ 109176 w 715223"/>
              <a:gd name="csY51" fmla="*/ 1254078 h 1556330"/>
              <a:gd name="csX52" fmla="*/ 118319 w 715223"/>
              <a:gd name="csY52" fmla="*/ 1214801 h 1556330"/>
              <a:gd name="csX53" fmla="*/ 113082 w 715223"/>
              <a:gd name="csY53" fmla="*/ 1201084 h 1556330"/>
              <a:gd name="csX54" fmla="*/ 120417 w 715223"/>
              <a:gd name="csY54" fmla="*/ 1183950 h 1556330"/>
              <a:gd name="csX55" fmla="*/ 135209 w 715223"/>
              <a:gd name="csY55" fmla="*/ 1178138 h 1556330"/>
              <a:gd name="csX56" fmla="*/ 156535 w 715223"/>
              <a:gd name="csY56" fmla="*/ 1156396 h 1556330"/>
              <a:gd name="csX57" fmla="*/ 185647 w 715223"/>
              <a:gd name="csY57" fmla="*/ 1061682 h 1556330"/>
              <a:gd name="csX58" fmla="*/ 201074 w 715223"/>
              <a:gd name="csY58" fmla="*/ 1005093 h 1556330"/>
              <a:gd name="csX59" fmla="*/ 213864 w 715223"/>
              <a:gd name="csY59" fmla="*/ 943040 h 1556330"/>
              <a:gd name="csX60" fmla="*/ 223580 w 715223"/>
              <a:gd name="csY60" fmla="*/ 884167 h 1556330"/>
              <a:gd name="csX61" fmla="*/ 228827 w 715223"/>
              <a:gd name="csY61" fmla="*/ 839382 h 1556330"/>
              <a:gd name="csX62" fmla="*/ 233251 w 715223"/>
              <a:gd name="csY62" fmla="*/ 794539 h 1556330"/>
              <a:gd name="csX63" fmla="*/ 233413 w 715223"/>
              <a:gd name="csY63" fmla="*/ 708554 h 1556330"/>
              <a:gd name="csX64" fmla="*/ 232253 w 715223"/>
              <a:gd name="csY64" fmla="*/ 699181 h 1556330"/>
              <a:gd name="csX65" fmla="*/ 192775 w 715223"/>
              <a:gd name="csY65" fmla="*/ 693131 h 1556330"/>
              <a:gd name="csX66" fmla="*/ 166222 w 715223"/>
              <a:gd name="csY66" fmla="*/ 684229 h 1556330"/>
              <a:gd name="csX67" fmla="*/ 153485 w 715223"/>
              <a:gd name="csY67" fmla="*/ 649704 h 1556330"/>
              <a:gd name="csX68" fmla="*/ 179302 w 715223"/>
              <a:gd name="csY68" fmla="*/ 621006 h 1556330"/>
              <a:gd name="csX69" fmla="*/ 192182 w 715223"/>
              <a:gd name="csY69" fmla="*/ 601675 h 1556330"/>
              <a:gd name="csX70" fmla="*/ 204894 w 715223"/>
              <a:gd name="csY70" fmla="*/ 583417 h 1556330"/>
              <a:gd name="csX71" fmla="*/ 233213 w 715223"/>
              <a:gd name="csY71" fmla="*/ 564393 h 1556330"/>
              <a:gd name="csX72" fmla="*/ 229725 w 715223"/>
              <a:gd name="csY72" fmla="*/ 538177 h 1556330"/>
              <a:gd name="csX73" fmla="*/ 218771 w 715223"/>
              <a:gd name="csY73" fmla="*/ 532633 h 1556330"/>
              <a:gd name="csX74" fmla="*/ 215183 w 715223"/>
              <a:gd name="csY74" fmla="*/ 521568 h 1556330"/>
              <a:gd name="csX75" fmla="*/ 223368 w 715223"/>
              <a:gd name="csY75" fmla="*/ 508901 h 1556330"/>
              <a:gd name="csX76" fmla="*/ 218372 w 715223"/>
              <a:gd name="csY76" fmla="*/ 498135 h 1556330"/>
              <a:gd name="csX77" fmla="*/ 181440 w 715223"/>
              <a:gd name="csY77" fmla="*/ 432308 h 1556330"/>
              <a:gd name="csX78" fmla="*/ 167535 w 715223"/>
              <a:gd name="csY78" fmla="*/ 349841 h 1556330"/>
              <a:gd name="csX79" fmla="*/ 193488 w 715223"/>
              <a:gd name="csY79" fmla="*/ 262518 h 1556330"/>
              <a:gd name="csX80" fmla="*/ 237748 w 715223"/>
              <a:gd name="csY80" fmla="*/ 190690 h 1556330"/>
              <a:gd name="csX81" fmla="*/ 309459 w 715223"/>
              <a:gd name="csY81" fmla="*/ 102623 h 1556330"/>
              <a:gd name="csX82" fmla="*/ 310459 w 715223"/>
              <a:gd name="csY82" fmla="*/ 78521 h 1556330"/>
              <a:gd name="csX83" fmla="*/ 300267 w 715223"/>
              <a:gd name="csY83" fmla="*/ 57856 h 1556330"/>
              <a:gd name="csX84" fmla="*/ 332242 w 715223"/>
              <a:gd name="csY84" fmla="*/ 4422 h 1556330"/>
              <a:gd name="csX85" fmla="*/ 384904 w 715223"/>
              <a:gd name="csY85" fmla="*/ 5551 h 1556330"/>
              <a:gd name="csX86" fmla="*/ 409773 w 715223"/>
              <a:gd name="csY86" fmla="*/ 26778 h 1556330"/>
              <a:gd name="csX87" fmla="*/ 407026 w 715223"/>
              <a:gd name="csY87" fmla="*/ 46052 h 1556330"/>
              <a:gd name="csX88" fmla="*/ 402771 w 715223"/>
              <a:gd name="csY88" fmla="*/ 30951 h 1556330"/>
              <a:gd name="csX89" fmla="*/ 397038 w 715223"/>
              <a:gd name="csY89" fmla="*/ 30361 h 1556330"/>
              <a:gd name="csX90" fmla="*/ 360694 w 715223"/>
              <a:gd name="csY90" fmla="*/ 22760 h 1556330"/>
              <a:gd name="csX91" fmla="*/ 351669 w 715223"/>
              <a:gd name="csY91" fmla="*/ 31736 h 1556330"/>
              <a:gd name="csX92" fmla="*/ 351426 w 715223"/>
              <a:gd name="csY92" fmla="*/ 43987 h 1556330"/>
              <a:gd name="csX93" fmla="*/ 390968 w 715223"/>
              <a:gd name="csY93" fmla="*/ 68762 h 1556330"/>
              <a:gd name="csX94" fmla="*/ 401770 w 715223"/>
              <a:gd name="csY94" fmla="*/ 59025 h 1556330"/>
              <a:gd name="csX95" fmla="*/ 409619 w 715223"/>
              <a:gd name="csY95" fmla="*/ 55786 h 1556330"/>
              <a:gd name="csX96" fmla="*/ 410427 w 715223"/>
              <a:gd name="csY96" fmla="*/ 64256 h 1556330"/>
              <a:gd name="csX97" fmla="*/ 399453 w 715223"/>
              <a:gd name="csY97" fmla="*/ 81811 h 1556330"/>
              <a:gd name="csX98" fmla="*/ 399346 w 715223"/>
              <a:gd name="csY98" fmla="*/ 98083 h 1556330"/>
              <a:gd name="csX99" fmla="*/ 471592 w 715223"/>
              <a:gd name="csY99" fmla="*/ 180524 h 1556330"/>
              <a:gd name="csX100" fmla="*/ 473550 w 715223"/>
              <a:gd name="csY100" fmla="*/ 200923 h 1556330"/>
              <a:gd name="csX101" fmla="*/ 463677 w 715223"/>
              <a:gd name="csY101" fmla="*/ 223311 h 1556330"/>
              <a:gd name="csX102" fmla="*/ 466852 w 715223"/>
              <a:gd name="csY102" fmla="*/ 229083 h 1556330"/>
              <a:gd name="csX103" fmla="*/ 474186 w 715223"/>
              <a:gd name="csY103" fmla="*/ 928382 h 1556330"/>
              <a:gd name="csX104" fmla="*/ 459927 w 715223"/>
              <a:gd name="csY104" fmla="*/ 817790 h 1556330"/>
              <a:gd name="csX105" fmla="*/ 456025 w 715223"/>
              <a:gd name="csY105" fmla="*/ 706469 h 1556330"/>
              <a:gd name="csX106" fmla="*/ 366863 w 715223"/>
              <a:gd name="csY106" fmla="*/ 710754 h 1556330"/>
              <a:gd name="csX107" fmla="*/ 366159 w 715223"/>
              <a:gd name="csY107" fmla="*/ 719219 h 1556330"/>
              <a:gd name="csX108" fmla="*/ 364159 w 715223"/>
              <a:gd name="csY108" fmla="*/ 834581 h 1556330"/>
              <a:gd name="csX109" fmla="*/ 361633 w 715223"/>
              <a:gd name="csY109" fmla="*/ 940117 h 1556330"/>
              <a:gd name="csX110" fmla="*/ 358313 w 715223"/>
              <a:gd name="csY110" fmla="*/ 1053005 h 1556330"/>
              <a:gd name="csX111" fmla="*/ 358081 w 715223"/>
              <a:gd name="csY111" fmla="*/ 1057912 h 1556330"/>
              <a:gd name="csX112" fmla="*/ 353706 w 715223"/>
              <a:gd name="csY112" fmla="*/ 1164570 h 1556330"/>
              <a:gd name="csX113" fmla="*/ 354951 w 715223"/>
              <a:gd name="csY113" fmla="*/ 1172547 h 1556330"/>
              <a:gd name="csX114" fmla="*/ 540959 w 715223"/>
              <a:gd name="csY114" fmla="*/ 1175972 h 1556330"/>
              <a:gd name="csX115" fmla="*/ 474186 w 715223"/>
              <a:gd name="csY115" fmla="*/ 928382 h 1556330"/>
              <a:gd name="csX116" fmla="*/ 513768 w 715223"/>
              <a:gd name="csY116" fmla="*/ 1417676 h 1556330"/>
              <a:gd name="csX117" fmla="*/ 519822 w 715223"/>
              <a:gd name="csY117" fmla="*/ 1416700 h 1556330"/>
              <a:gd name="csX118" fmla="*/ 632041 w 715223"/>
              <a:gd name="csY118" fmla="*/ 1406122 h 1556330"/>
              <a:gd name="csX119" fmla="*/ 665040 w 715223"/>
              <a:gd name="csY119" fmla="*/ 1400634 h 1556330"/>
              <a:gd name="csX120" fmla="*/ 665677 w 715223"/>
              <a:gd name="csY120" fmla="*/ 1396126 h 1556330"/>
              <a:gd name="csX121" fmla="*/ 665529 w 715223"/>
              <a:gd name="csY121" fmla="*/ 1389994 h 1556330"/>
              <a:gd name="csX122" fmla="*/ 623046 w 715223"/>
              <a:gd name="csY122" fmla="*/ 1306238 h 1556330"/>
              <a:gd name="csX123" fmla="*/ 596015 w 715223"/>
              <a:gd name="csY123" fmla="*/ 1281285 h 1556330"/>
              <a:gd name="csX124" fmla="*/ 567683 w 715223"/>
              <a:gd name="csY124" fmla="*/ 1220059 h 1556330"/>
              <a:gd name="csX125" fmla="*/ 540273 w 715223"/>
              <a:gd name="csY125" fmla="*/ 1220129 h 1556330"/>
              <a:gd name="csX126" fmla="*/ 424010 w 715223"/>
              <a:gd name="csY126" fmla="*/ 1226781 h 1556330"/>
              <a:gd name="csX127" fmla="*/ 357832 w 715223"/>
              <a:gd name="csY127" fmla="*/ 1229178 h 1556330"/>
              <a:gd name="csX128" fmla="*/ 352386 w 715223"/>
              <a:gd name="csY128" fmla="*/ 1230616 h 1556330"/>
              <a:gd name="csX129" fmla="*/ 355852 w 715223"/>
              <a:gd name="csY129" fmla="*/ 1324222 h 1556330"/>
              <a:gd name="csX130" fmla="*/ 352930 w 715223"/>
              <a:gd name="csY130" fmla="*/ 1417867 h 1556330"/>
              <a:gd name="csX131" fmla="*/ 513768 w 715223"/>
              <a:gd name="csY131" fmla="*/ 1417676 h 1556330"/>
              <a:gd name="csX132" fmla="*/ 387930 w 715223"/>
              <a:gd name="csY132" fmla="*/ 499741 h 1556330"/>
              <a:gd name="csX133" fmla="*/ 456529 w 715223"/>
              <a:gd name="csY133" fmla="*/ 496826 h 1556330"/>
              <a:gd name="csX134" fmla="*/ 482355 w 715223"/>
              <a:gd name="csY134" fmla="*/ 485095 h 1556330"/>
              <a:gd name="csX135" fmla="*/ 528016 w 715223"/>
              <a:gd name="csY135" fmla="*/ 374829 h 1556330"/>
              <a:gd name="csX136" fmla="*/ 501375 w 715223"/>
              <a:gd name="csY136" fmla="*/ 261643 h 1556330"/>
              <a:gd name="csX137" fmla="*/ 493534 w 715223"/>
              <a:gd name="csY137" fmla="*/ 249818 h 1556330"/>
              <a:gd name="csX138" fmla="*/ 485920 w 715223"/>
              <a:gd name="csY138" fmla="*/ 260010 h 1556330"/>
              <a:gd name="csX139" fmla="*/ 453305 w 715223"/>
              <a:gd name="csY139" fmla="*/ 310523 h 1556330"/>
              <a:gd name="csX140" fmla="*/ 433678 w 715223"/>
              <a:gd name="csY140" fmla="*/ 338672 h 1556330"/>
              <a:gd name="csX141" fmla="*/ 403713 w 715223"/>
              <a:gd name="csY141" fmla="*/ 343710 h 1556330"/>
              <a:gd name="csX142" fmla="*/ 396427 w 715223"/>
              <a:gd name="csY142" fmla="*/ 315612 h 1556330"/>
              <a:gd name="csX143" fmla="*/ 399663 w 715223"/>
              <a:gd name="csY143" fmla="*/ 309000 h 1556330"/>
              <a:gd name="csX144" fmla="*/ 452097 w 715223"/>
              <a:gd name="csY144" fmla="*/ 200770 h 1556330"/>
              <a:gd name="csX145" fmla="*/ 450118 w 715223"/>
              <a:gd name="csY145" fmla="*/ 180596 h 1556330"/>
              <a:gd name="csX146" fmla="*/ 376545 w 715223"/>
              <a:gd name="csY146" fmla="*/ 105525 h 1556330"/>
              <a:gd name="csX147" fmla="*/ 368791 w 715223"/>
              <a:gd name="csY147" fmla="*/ 101653 h 1556330"/>
              <a:gd name="csX148" fmla="*/ 366449 w 715223"/>
              <a:gd name="csY148" fmla="*/ 144676 h 1556330"/>
              <a:gd name="csX149" fmla="*/ 365447 w 715223"/>
              <a:gd name="csY149" fmla="*/ 183946 h 1556330"/>
              <a:gd name="csX150" fmla="*/ 364738 w 715223"/>
              <a:gd name="csY150" fmla="*/ 298022 h 1556330"/>
              <a:gd name="csX151" fmla="*/ 373865 w 715223"/>
              <a:gd name="csY151" fmla="*/ 430096 h 1556330"/>
              <a:gd name="csX152" fmla="*/ 381088 w 715223"/>
              <a:gd name="csY152" fmla="*/ 492169 h 1556330"/>
              <a:gd name="csX153" fmla="*/ 387930 w 715223"/>
              <a:gd name="csY153" fmla="*/ 499741 h 1556330"/>
              <a:gd name="csX154" fmla="*/ 455850 w 715223"/>
              <a:gd name="csY154" fmla="*/ 1521476 h 1556330"/>
              <a:gd name="csX155" fmla="*/ 685121 w 715223"/>
              <a:gd name="csY155" fmla="*/ 1496509 h 1556330"/>
              <a:gd name="csX156" fmla="*/ 672999 w 715223"/>
              <a:gd name="csY156" fmla="*/ 1456665 h 1556330"/>
              <a:gd name="csX157" fmla="*/ 660009 w 715223"/>
              <a:gd name="csY157" fmla="*/ 1450249 h 1556330"/>
              <a:gd name="csX158" fmla="*/ 633248 w 715223"/>
              <a:gd name="csY158" fmla="*/ 1453589 h 1556330"/>
              <a:gd name="csX159" fmla="*/ 451131 w 715223"/>
              <a:gd name="csY159" fmla="*/ 1467458 h 1556330"/>
              <a:gd name="csX160" fmla="*/ 362719 w 715223"/>
              <a:gd name="csY160" fmla="*/ 1467934 h 1556330"/>
              <a:gd name="csX161" fmla="*/ 349983 w 715223"/>
              <a:gd name="csY161" fmla="*/ 1467936 h 1556330"/>
              <a:gd name="csX162" fmla="*/ 352220 w 715223"/>
              <a:gd name="csY162" fmla="*/ 1519140 h 1556330"/>
              <a:gd name="csX163" fmla="*/ 455850 w 715223"/>
              <a:gd name="csY163" fmla="*/ 1521476 h 1556330"/>
              <a:gd name="csX164" fmla="*/ 368682 w 715223"/>
              <a:gd name="csY164" fmla="*/ 544846 h 1556330"/>
              <a:gd name="csX165" fmla="*/ 363600 w 715223"/>
              <a:gd name="csY165" fmla="*/ 605633 h 1556330"/>
              <a:gd name="csX166" fmla="*/ 496351 w 715223"/>
              <a:gd name="csY166" fmla="*/ 601466 h 1556330"/>
              <a:gd name="csX167" fmla="*/ 485068 w 715223"/>
              <a:gd name="csY167" fmla="*/ 579288 h 1556330"/>
              <a:gd name="csX168" fmla="*/ 466524 w 715223"/>
              <a:gd name="csY168" fmla="*/ 541026 h 1556330"/>
              <a:gd name="csX169" fmla="*/ 465000 w 715223"/>
              <a:gd name="csY169" fmla="*/ 536289 h 1556330"/>
              <a:gd name="csX170" fmla="*/ 451328 w 715223"/>
              <a:gd name="csY170" fmla="*/ 536316 h 1556330"/>
              <a:gd name="csX171" fmla="*/ 390140 w 715223"/>
              <a:gd name="csY171" fmla="*/ 538979 h 1556330"/>
              <a:gd name="csX172" fmla="*/ 374215 w 715223"/>
              <a:gd name="csY172" fmla="*/ 539303 h 1556330"/>
              <a:gd name="csX173" fmla="*/ 368682 w 715223"/>
              <a:gd name="csY173" fmla="*/ 544846 h 1556330"/>
              <a:gd name="csX174" fmla="*/ 453915 w 715223"/>
              <a:gd name="csY174" fmla="*/ 635267 h 1556330"/>
              <a:gd name="csX175" fmla="*/ 374200 w 715223"/>
              <a:gd name="csY175" fmla="*/ 639402 h 1556330"/>
              <a:gd name="csX176" fmla="*/ 374200 w 715223"/>
              <a:gd name="csY176" fmla="*/ 673206 h 1556330"/>
              <a:gd name="csX177" fmla="*/ 386639 w 715223"/>
              <a:gd name="csY177" fmla="*/ 673718 h 1556330"/>
              <a:gd name="csX178" fmla="*/ 521198 w 715223"/>
              <a:gd name="csY178" fmla="*/ 668541 h 1556330"/>
              <a:gd name="csX179" fmla="*/ 534198 w 715223"/>
              <a:gd name="csY179" fmla="*/ 665521 h 1556330"/>
              <a:gd name="csX180" fmla="*/ 538413 w 715223"/>
              <a:gd name="csY180" fmla="*/ 652526 h 1556330"/>
              <a:gd name="csX181" fmla="*/ 529377 w 715223"/>
              <a:gd name="csY181" fmla="*/ 642895 h 1556330"/>
              <a:gd name="csX182" fmla="*/ 502829 w 715223"/>
              <a:gd name="csY182" fmla="*/ 634808 h 1556330"/>
              <a:gd name="csX183" fmla="*/ 453915 w 715223"/>
              <a:gd name="csY183" fmla="*/ 635267 h 155633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  <a:cxn ang="0">
                <a:pos x="csX170" y="csY170"/>
              </a:cxn>
              <a:cxn ang="0">
                <a:pos x="csX171" y="csY171"/>
              </a:cxn>
              <a:cxn ang="0">
                <a:pos x="csX172" y="csY172"/>
              </a:cxn>
              <a:cxn ang="0">
                <a:pos x="csX173" y="csY173"/>
              </a:cxn>
              <a:cxn ang="0">
                <a:pos x="csX174" y="csY174"/>
              </a:cxn>
              <a:cxn ang="0">
                <a:pos x="csX175" y="csY175"/>
              </a:cxn>
              <a:cxn ang="0">
                <a:pos x="csX176" y="csY176"/>
              </a:cxn>
              <a:cxn ang="0">
                <a:pos x="csX177" y="csY177"/>
              </a:cxn>
              <a:cxn ang="0">
                <a:pos x="csX178" y="csY178"/>
              </a:cxn>
              <a:cxn ang="0">
                <a:pos x="csX179" y="csY179"/>
              </a:cxn>
              <a:cxn ang="0">
                <a:pos x="csX180" y="csY180"/>
              </a:cxn>
              <a:cxn ang="0">
                <a:pos x="csX181" y="csY181"/>
              </a:cxn>
              <a:cxn ang="0">
                <a:pos x="csX182" y="csY182"/>
              </a:cxn>
              <a:cxn ang="0">
                <a:pos x="csX183" y="csY183"/>
              </a:cxn>
            </a:cxnLst>
            <a:rect l="l" t="t" r="r" b="b"/>
            <a:pathLst>
              <a:path w="715223" h="1556330">
                <a:moveTo>
                  <a:pt x="466852" y="229083"/>
                </a:moveTo>
                <a:cubicBezTo>
                  <a:pt x="465344" y="233590"/>
                  <a:pt x="463836" y="238097"/>
                  <a:pt x="462328" y="242604"/>
                </a:cubicBezTo>
                <a:cubicBezTo>
                  <a:pt x="476604" y="232528"/>
                  <a:pt x="484219" y="216936"/>
                  <a:pt x="496944" y="204739"/>
                </a:cubicBezTo>
                <a:cubicBezTo>
                  <a:pt x="511903" y="225901"/>
                  <a:pt x="524807" y="247414"/>
                  <a:pt x="534359" y="270960"/>
                </a:cubicBezTo>
                <a:cubicBezTo>
                  <a:pt x="557740" y="328591"/>
                  <a:pt x="560223" y="386926"/>
                  <a:pt x="540589" y="445986"/>
                </a:cubicBezTo>
                <a:cubicBezTo>
                  <a:pt x="534197" y="465215"/>
                  <a:pt x="524450" y="482672"/>
                  <a:pt x="509727" y="496924"/>
                </a:cubicBezTo>
                <a:cubicBezTo>
                  <a:pt x="505277" y="501232"/>
                  <a:pt x="502734" y="505157"/>
                  <a:pt x="505366" y="511893"/>
                </a:cubicBezTo>
                <a:cubicBezTo>
                  <a:pt x="507828" y="518196"/>
                  <a:pt x="505953" y="524402"/>
                  <a:pt x="501982" y="530377"/>
                </a:cubicBezTo>
                <a:cubicBezTo>
                  <a:pt x="495613" y="539961"/>
                  <a:pt x="496865" y="548901"/>
                  <a:pt x="505678" y="556455"/>
                </a:cubicBezTo>
                <a:cubicBezTo>
                  <a:pt x="516748" y="565943"/>
                  <a:pt x="523694" y="577557"/>
                  <a:pt x="526115" y="591784"/>
                </a:cubicBezTo>
                <a:cubicBezTo>
                  <a:pt x="527758" y="601445"/>
                  <a:pt x="532593" y="608029"/>
                  <a:pt x="541579" y="612264"/>
                </a:cubicBezTo>
                <a:cubicBezTo>
                  <a:pt x="555150" y="618662"/>
                  <a:pt x="564081" y="629523"/>
                  <a:pt x="569572" y="643441"/>
                </a:cubicBezTo>
                <a:cubicBezTo>
                  <a:pt x="576413" y="660776"/>
                  <a:pt x="570996" y="678245"/>
                  <a:pt x="555234" y="688473"/>
                </a:cubicBezTo>
                <a:cubicBezTo>
                  <a:pt x="542486" y="696746"/>
                  <a:pt x="528127" y="699474"/>
                  <a:pt x="513278" y="700556"/>
                </a:cubicBezTo>
                <a:cubicBezTo>
                  <a:pt x="505590" y="701115"/>
                  <a:pt x="497922" y="701952"/>
                  <a:pt x="488559" y="702821"/>
                </a:cubicBezTo>
                <a:cubicBezTo>
                  <a:pt x="488559" y="708552"/>
                  <a:pt x="488653" y="713320"/>
                  <a:pt x="488544" y="718085"/>
                </a:cubicBezTo>
                <a:cubicBezTo>
                  <a:pt x="486284" y="817406"/>
                  <a:pt x="502313" y="914319"/>
                  <a:pt x="526561" y="1010212"/>
                </a:cubicBezTo>
                <a:cubicBezTo>
                  <a:pt x="538799" y="1058612"/>
                  <a:pt x="553050" y="1106345"/>
                  <a:pt x="569986" y="1153317"/>
                </a:cubicBezTo>
                <a:cubicBezTo>
                  <a:pt x="573328" y="1162590"/>
                  <a:pt x="578279" y="1168740"/>
                  <a:pt x="587389" y="1172173"/>
                </a:cubicBezTo>
                <a:cubicBezTo>
                  <a:pt x="593869" y="1174616"/>
                  <a:pt x="600289" y="1177449"/>
                  <a:pt x="606286" y="1180891"/>
                </a:cubicBezTo>
                <a:cubicBezTo>
                  <a:pt x="617185" y="1187146"/>
                  <a:pt x="618776" y="1192931"/>
                  <a:pt x="613400" y="1204260"/>
                </a:cubicBezTo>
                <a:cubicBezTo>
                  <a:pt x="611475" y="1208315"/>
                  <a:pt x="609140" y="1212177"/>
                  <a:pt x="605350" y="1216760"/>
                </a:cubicBezTo>
                <a:cubicBezTo>
                  <a:pt x="602514" y="1218347"/>
                  <a:pt x="600399" y="1219189"/>
                  <a:pt x="600268" y="1220273"/>
                </a:cubicBezTo>
                <a:cubicBezTo>
                  <a:pt x="598551" y="1234430"/>
                  <a:pt x="599473" y="1247881"/>
                  <a:pt x="610574" y="1258750"/>
                </a:cubicBezTo>
                <a:cubicBezTo>
                  <a:pt x="631265" y="1279009"/>
                  <a:pt x="651790" y="1299438"/>
                  <a:pt x="672371" y="1319810"/>
                </a:cubicBezTo>
                <a:cubicBezTo>
                  <a:pt x="673495" y="1320922"/>
                  <a:pt x="674892" y="1321987"/>
                  <a:pt x="675494" y="1323366"/>
                </a:cubicBezTo>
                <a:cubicBezTo>
                  <a:pt x="685626" y="1346558"/>
                  <a:pt x="694775" y="1370031"/>
                  <a:pt x="692949" y="1396068"/>
                </a:cubicBezTo>
                <a:cubicBezTo>
                  <a:pt x="692525" y="1402108"/>
                  <a:pt x="691276" y="1408087"/>
                  <a:pt x="690628" y="1414117"/>
                </a:cubicBezTo>
                <a:cubicBezTo>
                  <a:pt x="690241" y="1417713"/>
                  <a:pt x="691290" y="1420628"/>
                  <a:pt x="695588" y="1421035"/>
                </a:cubicBezTo>
                <a:cubicBezTo>
                  <a:pt x="695527" y="1422155"/>
                  <a:pt x="695467" y="1423274"/>
                  <a:pt x="694353" y="1425190"/>
                </a:cubicBezTo>
                <a:cubicBezTo>
                  <a:pt x="691901" y="1426894"/>
                  <a:pt x="690503" y="1427804"/>
                  <a:pt x="689106" y="1428714"/>
                </a:cubicBezTo>
                <a:cubicBezTo>
                  <a:pt x="691101" y="1428620"/>
                  <a:pt x="693098" y="1428527"/>
                  <a:pt x="695093" y="1428433"/>
                </a:cubicBezTo>
                <a:cubicBezTo>
                  <a:pt x="695976" y="1429430"/>
                  <a:pt x="696859" y="1430427"/>
                  <a:pt x="697643" y="1432864"/>
                </a:cubicBezTo>
                <a:cubicBezTo>
                  <a:pt x="697724" y="1436887"/>
                  <a:pt x="697087" y="1439912"/>
                  <a:pt x="698207" y="1441988"/>
                </a:cubicBezTo>
                <a:cubicBezTo>
                  <a:pt x="709464" y="1462853"/>
                  <a:pt x="715798" y="1484864"/>
                  <a:pt x="715183" y="1508752"/>
                </a:cubicBezTo>
                <a:cubicBezTo>
                  <a:pt x="714863" y="1521166"/>
                  <a:pt x="713458" y="1523372"/>
                  <a:pt x="701540" y="1526524"/>
                </a:cubicBezTo>
                <a:cubicBezTo>
                  <a:pt x="662165" y="1536936"/>
                  <a:pt x="622006" y="1543243"/>
                  <a:pt x="581715" y="1548559"/>
                </a:cubicBezTo>
                <a:cubicBezTo>
                  <a:pt x="561988" y="1551162"/>
                  <a:pt x="542052" y="1552457"/>
                  <a:pt x="522168" y="1553543"/>
                </a:cubicBezTo>
                <a:cubicBezTo>
                  <a:pt x="498138" y="1554856"/>
                  <a:pt x="474063" y="1556013"/>
                  <a:pt x="450008" y="1556019"/>
                </a:cubicBezTo>
                <a:cubicBezTo>
                  <a:pt x="381724" y="1556035"/>
                  <a:pt x="313415" y="1557550"/>
                  <a:pt x="245169" y="1553749"/>
                </a:cubicBezTo>
                <a:cubicBezTo>
                  <a:pt x="237413" y="1553317"/>
                  <a:pt x="229596" y="1553867"/>
                  <a:pt x="221854" y="1553306"/>
                </a:cubicBezTo>
                <a:cubicBezTo>
                  <a:pt x="204023" y="1552015"/>
                  <a:pt x="186231" y="1550202"/>
                  <a:pt x="168405" y="1548828"/>
                </a:cubicBezTo>
                <a:cubicBezTo>
                  <a:pt x="154605" y="1547764"/>
                  <a:pt x="140762" y="1547242"/>
                  <a:pt x="126970" y="1546091"/>
                </a:cubicBezTo>
                <a:cubicBezTo>
                  <a:pt x="119295" y="1545451"/>
                  <a:pt x="111668" y="1544132"/>
                  <a:pt x="104053" y="1542912"/>
                </a:cubicBezTo>
                <a:cubicBezTo>
                  <a:pt x="91223" y="1540858"/>
                  <a:pt x="78344" y="1539011"/>
                  <a:pt x="65625" y="1536401"/>
                </a:cubicBezTo>
                <a:cubicBezTo>
                  <a:pt x="47307" y="1532642"/>
                  <a:pt x="29006" y="1528694"/>
                  <a:pt x="10909" y="1524010"/>
                </a:cubicBezTo>
                <a:cubicBezTo>
                  <a:pt x="744" y="1521379"/>
                  <a:pt x="119" y="1519620"/>
                  <a:pt x="8" y="1509263"/>
                </a:cubicBezTo>
                <a:cubicBezTo>
                  <a:pt x="-283" y="1482004"/>
                  <a:pt x="7525" y="1456906"/>
                  <a:pt x="21158" y="1433611"/>
                </a:cubicBezTo>
                <a:cubicBezTo>
                  <a:pt x="24128" y="1428537"/>
                  <a:pt x="25100" y="1424162"/>
                  <a:pt x="23462" y="1418658"/>
                </a:cubicBezTo>
                <a:cubicBezTo>
                  <a:pt x="19938" y="1406814"/>
                  <a:pt x="19145" y="1394638"/>
                  <a:pt x="19643" y="1382324"/>
                </a:cubicBezTo>
                <a:cubicBezTo>
                  <a:pt x="20741" y="1355171"/>
                  <a:pt x="29461" y="1331114"/>
                  <a:pt x="49060" y="1311832"/>
                </a:cubicBezTo>
                <a:cubicBezTo>
                  <a:pt x="68866" y="1292344"/>
                  <a:pt x="89102" y="1273294"/>
                  <a:pt x="109176" y="1254078"/>
                </a:cubicBezTo>
                <a:cubicBezTo>
                  <a:pt x="120788" y="1242961"/>
                  <a:pt x="123122" y="1229673"/>
                  <a:pt x="118319" y="1214801"/>
                </a:cubicBezTo>
                <a:cubicBezTo>
                  <a:pt x="116817" y="1210150"/>
                  <a:pt x="114697" y="1205702"/>
                  <a:pt x="113082" y="1201084"/>
                </a:cubicBezTo>
                <a:cubicBezTo>
                  <a:pt x="109606" y="1191147"/>
                  <a:pt x="110855" y="1188189"/>
                  <a:pt x="120417" y="1183950"/>
                </a:cubicBezTo>
                <a:cubicBezTo>
                  <a:pt x="125262" y="1181801"/>
                  <a:pt x="130109" y="1179394"/>
                  <a:pt x="135209" y="1178138"/>
                </a:cubicBezTo>
                <a:cubicBezTo>
                  <a:pt x="146972" y="1175241"/>
                  <a:pt x="153194" y="1166910"/>
                  <a:pt x="156535" y="1156396"/>
                </a:cubicBezTo>
                <a:cubicBezTo>
                  <a:pt x="166535" y="1124919"/>
                  <a:pt x="176229" y="1093339"/>
                  <a:pt x="185647" y="1061682"/>
                </a:cubicBezTo>
                <a:cubicBezTo>
                  <a:pt x="191222" y="1042945"/>
                  <a:pt x="196570" y="1024108"/>
                  <a:pt x="201074" y="1005093"/>
                </a:cubicBezTo>
                <a:cubicBezTo>
                  <a:pt x="205941" y="984550"/>
                  <a:pt x="210000" y="963801"/>
                  <a:pt x="213864" y="943040"/>
                </a:cubicBezTo>
                <a:cubicBezTo>
                  <a:pt x="217503" y="923489"/>
                  <a:pt x="220701" y="903846"/>
                  <a:pt x="223580" y="884167"/>
                </a:cubicBezTo>
                <a:cubicBezTo>
                  <a:pt x="225754" y="869301"/>
                  <a:pt x="227195" y="854324"/>
                  <a:pt x="228827" y="839382"/>
                </a:cubicBezTo>
                <a:cubicBezTo>
                  <a:pt x="230459" y="824446"/>
                  <a:pt x="232880" y="809515"/>
                  <a:pt x="233251" y="794539"/>
                </a:cubicBezTo>
                <a:cubicBezTo>
                  <a:pt x="233961" y="765893"/>
                  <a:pt x="233499" y="737217"/>
                  <a:pt x="233413" y="708554"/>
                </a:cubicBezTo>
                <a:cubicBezTo>
                  <a:pt x="233404" y="705465"/>
                  <a:pt x="232667" y="702378"/>
                  <a:pt x="232253" y="699181"/>
                </a:cubicBezTo>
                <a:cubicBezTo>
                  <a:pt x="218443" y="697138"/>
                  <a:pt x="205461" y="695831"/>
                  <a:pt x="192775" y="693131"/>
                </a:cubicBezTo>
                <a:cubicBezTo>
                  <a:pt x="183686" y="691197"/>
                  <a:pt x="174549" y="688305"/>
                  <a:pt x="166222" y="684229"/>
                </a:cubicBezTo>
                <a:cubicBezTo>
                  <a:pt x="151266" y="676909"/>
                  <a:pt x="147247" y="664789"/>
                  <a:pt x="153485" y="649704"/>
                </a:cubicBezTo>
                <a:cubicBezTo>
                  <a:pt x="158693" y="637111"/>
                  <a:pt x="168160" y="628190"/>
                  <a:pt x="179302" y="621006"/>
                </a:cubicBezTo>
                <a:cubicBezTo>
                  <a:pt x="186548" y="616334"/>
                  <a:pt x="191317" y="611105"/>
                  <a:pt x="192182" y="601675"/>
                </a:cubicBezTo>
                <a:cubicBezTo>
                  <a:pt x="192878" y="594094"/>
                  <a:pt x="197099" y="587626"/>
                  <a:pt x="204894" y="583417"/>
                </a:cubicBezTo>
                <a:cubicBezTo>
                  <a:pt x="214873" y="578030"/>
                  <a:pt x="224643" y="571774"/>
                  <a:pt x="233213" y="564393"/>
                </a:cubicBezTo>
                <a:cubicBezTo>
                  <a:pt x="242623" y="556289"/>
                  <a:pt x="240441" y="544193"/>
                  <a:pt x="229725" y="538177"/>
                </a:cubicBezTo>
                <a:cubicBezTo>
                  <a:pt x="226159" y="536176"/>
                  <a:pt x="222483" y="534351"/>
                  <a:pt x="218771" y="532633"/>
                </a:cubicBezTo>
                <a:cubicBezTo>
                  <a:pt x="213503" y="530196"/>
                  <a:pt x="212651" y="526226"/>
                  <a:pt x="215183" y="521568"/>
                </a:cubicBezTo>
                <a:cubicBezTo>
                  <a:pt x="217485" y="517332"/>
                  <a:pt x="220405" y="513432"/>
                  <a:pt x="223368" y="508901"/>
                </a:cubicBezTo>
                <a:cubicBezTo>
                  <a:pt x="221781" y="505376"/>
                  <a:pt x="220809" y="501165"/>
                  <a:pt x="218372" y="498135"/>
                </a:cubicBezTo>
                <a:cubicBezTo>
                  <a:pt x="202366" y="478231"/>
                  <a:pt x="190774" y="455961"/>
                  <a:pt x="181440" y="432308"/>
                </a:cubicBezTo>
                <a:cubicBezTo>
                  <a:pt x="170959" y="405748"/>
                  <a:pt x="164933" y="378186"/>
                  <a:pt x="167535" y="349841"/>
                </a:cubicBezTo>
                <a:cubicBezTo>
                  <a:pt x="170341" y="319265"/>
                  <a:pt x="179208" y="289917"/>
                  <a:pt x="193488" y="262518"/>
                </a:cubicBezTo>
                <a:cubicBezTo>
                  <a:pt x="206512" y="237529"/>
                  <a:pt x="220831" y="213359"/>
                  <a:pt x="237748" y="190690"/>
                </a:cubicBezTo>
                <a:cubicBezTo>
                  <a:pt x="260421" y="160310"/>
                  <a:pt x="282602" y="129592"/>
                  <a:pt x="309459" y="102623"/>
                </a:cubicBezTo>
                <a:cubicBezTo>
                  <a:pt x="316627" y="95424"/>
                  <a:pt x="316261" y="87541"/>
                  <a:pt x="310459" y="78521"/>
                </a:cubicBezTo>
                <a:cubicBezTo>
                  <a:pt x="306309" y="72071"/>
                  <a:pt x="301695" y="65150"/>
                  <a:pt x="300267" y="57856"/>
                </a:cubicBezTo>
                <a:cubicBezTo>
                  <a:pt x="295286" y="32423"/>
                  <a:pt x="314502" y="10133"/>
                  <a:pt x="332242" y="4422"/>
                </a:cubicBezTo>
                <a:cubicBezTo>
                  <a:pt x="349540" y="-1148"/>
                  <a:pt x="367530" y="-2176"/>
                  <a:pt x="384904" y="5551"/>
                </a:cubicBezTo>
                <a:cubicBezTo>
                  <a:pt x="395271" y="10161"/>
                  <a:pt x="403310" y="17760"/>
                  <a:pt x="409773" y="26778"/>
                </a:cubicBezTo>
                <a:cubicBezTo>
                  <a:pt x="415168" y="34307"/>
                  <a:pt x="413749" y="41584"/>
                  <a:pt x="407026" y="46052"/>
                </a:cubicBezTo>
                <a:cubicBezTo>
                  <a:pt x="405624" y="40964"/>
                  <a:pt x="404503" y="35849"/>
                  <a:pt x="402771" y="30951"/>
                </a:cubicBezTo>
                <a:cubicBezTo>
                  <a:pt x="401450" y="27216"/>
                  <a:pt x="399383" y="28477"/>
                  <a:pt x="397038" y="30361"/>
                </a:cubicBezTo>
                <a:cubicBezTo>
                  <a:pt x="384440" y="15986"/>
                  <a:pt x="377037" y="14494"/>
                  <a:pt x="360694" y="22760"/>
                </a:cubicBezTo>
                <a:cubicBezTo>
                  <a:pt x="353707" y="22767"/>
                  <a:pt x="352275" y="27176"/>
                  <a:pt x="351669" y="31736"/>
                </a:cubicBezTo>
                <a:cubicBezTo>
                  <a:pt x="351136" y="35760"/>
                  <a:pt x="351383" y="39899"/>
                  <a:pt x="351426" y="43987"/>
                </a:cubicBezTo>
                <a:cubicBezTo>
                  <a:pt x="351648" y="64919"/>
                  <a:pt x="372389" y="78115"/>
                  <a:pt x="390968" y="68762"/>
                </a:cubicBezTo>
                <a:cubicBezTo>
                  <a:pt x="395158" y="66653"/>
                  <a:pt x="398534" y="62629"/>
                  <a:pt x="401770" y="59025"/>
                </a:cubicBezTo>
                <a:cubicBezTo>
                  <a:pt x="404045" y="56491"/>
                  <a:pt x="405661" y="53409"/>
                  <a:pt x="409619" y="55786"/>
                </a:cubicBezTo>
                <a:cubicBezTo>
                  <a:pt x="413544" y="58145"/>
                  <a:pt x="412176" y="61347"/>
                  <a:pt x="410427" y="64256"/>
                </a:cubicBezTo>
                <a:cubicBezTo>
                  <a:pt x="406872" y="70170"/>
                  <a:pt x="403244" y="76046"/>
                  <a:pt x="399453" y="81811"/>
                </a:cubicBezTo>
                <a:cubicBezTo>
                  <a:pt x="394663" y="89097"/>
                  <a:pt x="394382" y="94032"/>
                  <a:pt x="399346" y="98083"/>
                </a:cubicBezTo>
                <a:cubicBezTo>
                  <a:pt x="428062" y="121519"/>
                  <a:pt x="450822" y="150083"/>
                  <a:pt x="471592" y="180524"/>
                </a:cubicBezTo>
                <a:cubicBezTo>
                  <a:pt x="476398" y="187569"/>
                  <a:pt x="476844" y="193688"/>
                  <a:pt x="473550" y="200923"/>
                </a:cubicBezTo>
                <a:cubicBezTo>
                  <a:pt x="470171" y="208346"/>
                  <a:pt x="467091" y="215905"/>
                  <a:pt x="463677" y="223311"/>
                </a:cubicBezTo>
                <a:cubicBezTo>
                  <a:pt x="461993" y="226965"/>
                  <a:pt x="462995" y="228697"/>
                  <a:pt x="466852" y="229083"/>
                </a:cubicBezTo>
                <a:moveTo>
                  <a:pt x="474186" y="928382"/>
                </a:moveTo>
                <a:cubicBezTo>
                  <a:pt x="469297" y="891529"/>
                  <a:pt x="462961" y="854794"/>
                  <a:pt x="459927" y="817790"/>
                </a:cubicBezTo>
                <a:cubicBezTo>
                  <a:pt x="456905" y="780939"/>
                  <a:pt x="457197" y="743817"/>
                  <a:pt x="456025" y="706469"/>
                </a:cubicBezTo>
                <a:cubicBezTo>
                  <a:pt x="425780" y="707923"/>
                  <a:pt x="396554" y="709327"/>
                  <a:pt x="366863" y="710754"/>
                </a:cubicBezTo>
                <a:cubicBezTo>
                  <a:pt x="366546" y="714450"/>
                  <a:pt x="366201" y="716832"/>
                  <a:pt x="366159" y="719219"/>
                </a:cubicBezTo>
                <a:cubicBezTo>
                  <a:pt x="365479" y="757672"/>
                  <a:pt x="364935" y="796129"/>
                  <a:pt x="364159" y="834581"/>
                </a:cubicBezTo>
                <a:cubicBezTo>
                  <a:pt x="363450" y="869762"/>
                  <a:pt x="362581" y="904941"/>
                  <a:pt x="361633" y="940117"/>
                </a:cubicBezTo>
                <a:cubicBezTo>
                  <a:pt x="360619" y="977749"/>
                  <a:pt x="359431" y="1015376"/>
                  <a:pt x="358313" y="1053005"/>
                </a:cubicBezTo>
                <a:cubicBezTo>
                  <a:pt x="358265" y="1054641"/>
                  <a:pt x="358149" y="1056276"/>
                  <a:pt x="358081" y="1057912"/>
                </a:cubicBezTo>
                <a:cubicBezTo>
                  <a:pt x="356598" y="1093463"/>
                  <a:pt x="355081" y="1129014"/>
                  <a:pt x="353706" y="1164570"/>
                </a:cubicBezTo>
                <a:cubicBezTo>
                  <a:pt x="353604" y="1167221"/>
                  <a:pt x="354516" y="1169911"/>
                  <a:pt x="354951" y="1172547"/>
                </a:cubicBezTo>
                <a:cubicBezTo>
                  <a:pt x="416984" y="1173689"/>
                  <a:pt x="478158" y="1174816"/>
                  <a:pt x="540959" y="1175972"/>
                </a:cubicBezTo>
                <a:cubicBezTo>
                  <a:pt x="513162" y="1094194"/>
                  <a:pt x="489081" y="1013598"/>
                  <a:pt x="474186" y="928382"/>
                </a:cubicBezTo>
                <a:moveTo>
                  <a:pt x="513768" y="1417676"/>
                </a:moveTo>
                <a:cubicBezTo>
                  <a:pt x="515785" y="1417344"/>
                  <a:pt x="517792" y="1416889"/>
                  <a:pt x="519822" y="1416700"/>
                </a:cubicBezTo>
                <a:cubicBezTo>
                  <a:pt x="557234" y="1413220"/>
                  <a:pt x="594682" y="1410089"/>
                  <a:pt x="632041" y="1406122"/>
                </a:cubicBezTo>
                <a:cubicBezTo>
                  <a:pt x="643122" y="1404945"/>
                  <a:pt x="654730" y="1405292"/>
                  <a:pt x="665040" y="1400634"/>
                </a:cubicBezTo>
                <a:cubicBezTo>
                  <a:pt x="665352" y="1398517"/>
                  <a:pt x="665651" y="1397324"/>
                  <a:pt x="665677" y="1396126"/>
                </a:cubicBezTo>
                <a:cubicBezTo>
                  <a:pt x="665722" y="1394084"/>
                  <a:pt x="665674" y="1392032"/>
                  <a:pt x="665529" y="1389994"/>
                </a:cubicBezTo>
                <a:cubicBezTo>
                  <a:pt x="663118" y="1356121"/>
                  <a:pt x="650063" y="1327787"/>
                  <a:pt x="623046" y="1306238"/>
                </a:cubicBezTo>
                <a:cubicBezTo>
                  <a:pt x="613485" y="1298611"/>
                  <a:pt x="605001" y="1289635"/>
                  <a:pt x="596015" y="1281285"/>
                </a:cubicBezTo>
                <a:cubicBezTo>
                  <a:pt x="578506" y="1265018"/>
                  <a:pt x="567837" y="1245446"/>
                  <a:pt x="567683" y="1220059"/>
                </a:cubicBezTo>
                <a:cubicBezTo>
                  <a:pt x="558046" y="1220059"/>
                  <a:pt x="549136" y="1219649"/>
                  <a:pt x="540273" y="1220129"/>
                </a:cubicBezTo>
                <a:cubicBezTo>
                  <a:pt x="501512" y="1222229"/>
                  <a:pt x="462775" y="1224768"/>
                  <a:pt x="424010" y="1226781"/>
                </a:cubicBezTo>
                <a:cubicBezTo>
                  <a:pt x="401969" y="1227926"/>
                  <a:pt x="379889" y="1228330"/>
                  <a:pt x="357832" y="1229178"/>
                </a:cubicBezTo>
                <a:cubicBezTo>
                  <a:pt x="355938" y="1229251"/>
                  <a:pt x="354076" y="1230151"/>
                  <a:pt x="352386" y="1230616"/>
                </a:cubicBezTo>
                <a:cubicBezTo>
                  <a:pt x="353642" y="1262222"/>
                  <a:pt x="355769" y="1293219"/>
                  <a:pt x="355852" y="1324222"/>
                </a:cubicBezTo>
                <a:cubicBezTo>
                  <a:pt x="355936" y="1355438"/>
                  <a:pt x="353988" y="1386659"/>
                  <a:pt x="352930" y="1417867"/>
                </a:cubicBezTo>
                <a:cubicBezTo>
                  <a:pt x="406069" y="1417867"/>
                  <a:pt x="458771" y="1417867"/>
                  <a:pt x="513768" y="1417676"/>
                </a:cubicBezTo>
                <a:moveTo>
                  <a:pt x="387930" y="499741"/>
                </a:moveTo>
                <a:cubicBezTo>
                  <a:pt x="410797" y="498777"/>
                  <a:pt x="433665" y="497860"/>
                  <a:pt x="456529" y="496826"/>
                </a:cubicBezTo>
                <a:cubicBezTo>
                  <a:pt x="466656" y="496369"/>
                  <a:pt x="475418" y="493371"/>
                  <a:pt x="482355" y="485095"/>
                </a:cubicBezTo>
                <a:cubicBezTo>
                  <a:pt x="509188" y="453083"/>
                  <a:pt x="525387" y="416636"/>
                  <a:pt x="528016" y="374829"/>
                </a:cubicBezTo>
                <a:cubicBezTo>
                  <a:pt x="530547" y="334558"/>
                  <a:pt x="520095" y="297041"/>
                  <a:pt x="501375" y="261643"/>
                </a:cubicBezTo>
                <a:cubicBezTo>
                  <a:pt x="499379" y="257869"/>
                  <a:pt x="496654" y="254482"/>
                  <a:pt x="493534" y="249818"/>
                </a:cubicBezTo>
                <a:cubicBezTo>
                  <a:pt x="490233" y="254212"/>
                  <a:pt x="487883" y="256986"/>
                  <a:pt x="485920" y="260010"/>
                </a:cubicBezTo>
                <a:cubicBezTo>
                  <a:pt x="475010" y="276824"/>
                  <a:pt x="464300" y="293767"/>
                  <a:pt x="453305" y="310523"/>
                </a:cubicBezTo>
                <a:cubicBezTo>
                  <a:pt x="447028" y="320089"/>
                  <a:pt x="440916" y="329858"/>
                  <a:pt x="433678" y="338672"/>
                </a:cubicBezTo>
                <a:cubicBezTo>
                  <a:pt x="425909" y="348131"/>
                  <a:pt x="413084" y="349691"/>
                  <a:pt x="403713" y="343710"/>
                </a:cubicBezTo>
                <a:cubicBezTo>
                  <a:pt x="394358" y="337739"/>
                  <a:pt x="391675" y="327526"/>
                  <a:pt x="396427" y="315612"/>
                </a:cubicBezTo>
                <a:cubicBezTo>
                  <a:pt x="397334" y="313339"/>
                  <a:pt x="398595" y="311210"/>
                  <a:pt x="399663" y="309000"/>
                </a:cubicBezTo>
                <a:cubicBezTo>
                  <a:pt x="417094" y="272900"/>
                  <a:pt x="434331" y="236704"/>
                  <a:pt x="452097" y="200770"/>
                </a:cubicBezTo>
                <a:cubicBezTo>
                  <a:pt x="455910" y="193060"/>
                  <a:pt x="455310" y="187173"/>
                  <a:pt x="450118" y="180596"/>
                </a:cubicBezTo>
                <a:cubicBezTo>
                  <a:pt x="428273" y="152922"/>
                  <a:pt x="405805" y="125901"/>
                  <a:pt x="376545" y="105525"/>
                </a:cubicBezTo>
                <a:cubicBezTo>
                  <a:pt x="374483" y="104089"/>
                  <a:pt x="372013" y="103239"/>
                  <a:pt x="368791" y="101653"/>
                </a:cubicBezTo>
                <a:cubicBezTo>
                  <a:pt x="367942" y="116965"/>
                  <a:pt x="367019" y="130814"/>
                  <a:pt x="366449" y="144676"/>
                </a:cubicBezTo>
                <a:cubicBezTo>
                  <a:pt x="365912" y="157758"/>
                  <a:pt x="365593" y="170854"/>
                  <a:pt x="365447" y="183946"/>
                </a:cubicBezTo>
                <a:cubicBezTo>
                  <a:pt x="365020" y="221975"/>
                  <a:pt x="363367" y="260055"/>
                  <a:pt x="364738" y="298022"/>
                </a:cubicBezTo>
                <a:cubicBezTo>
                  <a:pt x="366329" y="342101"/>
                  <a:pt x="370336" y="386106"/>
                  <a:pt x="373865" y="430096"/>
                </a:cubicBezTo>
                <a:cubicBezTo>
                  <a:pt x="375530" y="450849"/>
                  <a:pt x="378387" y="471514"/>
                  <a:pt x="381088" y="492169"/>
                </a:cubicBezTo>
                <a:cubicBezTo>
                  <a:pt x="381433" y="494807"/>
                  <a:pt x="384102" y="497143"/>
                  <a:pt x="387930" y="499741"/>
                </a:cubicBezTo>
                <a:moveTo>
                  <a:pt x="455850" y="1521476"/>
                </a:moveTo>
                <a:cubicBezTo>
                  <a:pt x="533043" y="1519612"/>
                  <a:pt x="609810" y="1514084"/>
                  <a:pt x="685121" y="1496509"/>
                </a:cubicBezTo>
                <a:cubicBezTo>
                  <a:pt x="683922" y="1481705"/>
                  <a:pt x="679199" y="1467708"/>
                  <a:pt x="672999" y="1456665"/>
                </a:cubicBezTo>
                <a:cubicBezTo>
                  <a:pt x="669933" y="1451203"/>
                  <a:pt x="666057" y="1449329"/>
                  <a:pt x="660009" y="1450249"/>
                </a:cubicBezTo>
                <a:cubicBezTo>
                  <a:pt x="651125" y="1451601"/>
                  <a:pt x="642144" y="1452308"/>
                  <a:pt x="633248" y="1453589"/>
                </a:cubicBezTo>
                <a:cubicBezTo>
                  <a:pt x="572852" y="1462289"/>
                  <a:pt x="511993" y="1465134"/>
                  <a:pt x="451131" y="1467458"/>
                </a:cubicBezTo>
                <a:cubicBezTo>
                  <a:pt x="421697" y="1468582"/>
                  <a:pt x="392192" y="1467837"/>
                  <a:pt x="362719" y="1467934"/>
                </a:cubicBezTo>
                <a:cubicBezTo>
                  <a:pt x="358386" y="1467948"/>
                  <a:pt x="354052" y="1467936"/>
                  <a:pt x="349983" y="1467936"/>
                </a:cubicBezTo>
                <a:cubicBezTo>
                  <a:pt x="347592" y="1485362"/>
                  <a:pt x="348606" y="1509458"/>
                  <a:pt x="352220" y="1519140"/>
                </a:cubicBezTo>
                <a:cubicBezTo>
                  <a:pt x="385617" y="1519916"/>
                  <a:pt x="419507" y="1520703"/>
                  <a:pt x="455850" y="1521476"/>
                </a:cubicBezTo>
                <a:moveTo>
                  <a:pt x="368682" y="544846"/>
                </a:moveTo>
                <a:cubicBezTo>
                  <a:pt x="374258" y="564891"/>
                  <a:pt x="370074" y="584394"/>
                  <a:pt x="363600" y="605633"/>
                </a:cubicBezTo>
                <a:cubicBezTo>
                  <a:pt x="408859" y="604212"/>
                  <a:pt x="452263" y="602850"/>
                  <a:pt x="496351" y="601466"/>
                </a:cubicBezTo>
                <a:cubicBezTo>
                  <a:pt x="496109" y="591095"/>
                  <a:pt x="491408" y="584247"/>
                  <a:pt x="485068" y="579288"/>
                </a:cubicBezTo>
                <a:cubicBezTo>
                  <a:pt x="472414" y="569391"/>
                  <a:pt x="466934" y="556602"/>
                  <a:pt x="466524" y="541026"/>
                </a:cubicBezTo>
                <a:cubicBezTo>
                  <a:pt x="466485" y="539528"/>
                  <a:pt x="465591" y="538053"/>
                  <a:pt x="465000" y="536289"/>
                </a:cubicBezTo>
                <a:cubicBezTo>
                  <a:pt x="460209" y="536289"/>
                  <a:pt x="455761" y="536132"/>
                  <a:pt x="451328" y="536316"/>
                </a:cubicBezTo>
                <a:cubicBezTo>
                  <a:pt x="430930" y="537159"/>
                  <a:pt x="410538" y="538137"/>
                  <a:pt x="390140" y="538979"/>
                </a:cubicBezTo>
                <a:cubicBezTo>
                  <a:pt x="384834" y="539198"/>
                  <a:pt x="379484" y="538790"/>
                  <a:pt x="374215" y="539303"/>
                </a:cubicBezTo>
                <a:cubicBezTo>
                  <a:pt x="372259" y="539494"/>
                  <a:pt x="370480" y="541498"/>
                  <a:pt x="368682" y="544846"/>
                </a:cubicBezTo>
                <a:moveTo>
                  <a:pt x="453915" y="635267"/>
                </a:moveTo>
                <a:cubicBezTo>
                  <a:pt x="427589" y="636632"/>
                  <a:pt x="401262" y="637998"/>
                  <a:pt x="374200" y="639402"/>
                </a:cubicBezTo>
                <a:cubicBezTo>
                  <a:pt x="374200" y="651578"/>
                  <a:pt x="374200" y="661970"/>
                  <a:pt x="374200" y="673206"/>
                </a:cubicBezTo>
                <a:cubicBezTo>
                  <a:pt x="378672" y="673406"/>
                  <a:pt x="382666" y="673863"/>
                  <a:pt x="386639" y="673718"/>
                </a:cubicBezTo>
                <a:cubicBezTo>
                  <a:pt x="431495" y="672082"/>
                  <a:pt x="476352" y="670422"/>
                  <a:pt x="521198" y="668541"/>
                </a:cubicBezTo>
                <a:cubicBezTo>
                  <a:pt x="525584" y="668357"/>
                  <a:pt x="530162" y="667254"/>
                  <a:pt x="534198" y="665521"/>
                </a:cubicBezTo>
                <a:cubicBezTo>
                  <a:pt x="540213" y="662938"/>
                  <a:pt x="541802" y="658194"/>
                  <a:pt x="538413" y="652526"/>
                </a:cubicBezTo>
                <a:cubicBezTo>
                  <a:pt x="536192" y="648813"/>
                  <a:pt x="532979" y="645251"/>
                  <a:pt x="529377" y="642895"/>
                </a:cubicBezTo>
                <a:cubicBezTo>
                  <a:pt x="521426" y="637695"/>
                  <a:pt x="512576" y="634669"/>
                  <a:pt x="502829" y="634808"/>
                </a:cubicBezTo>
                <a:cubicBezTo>
                  <a:pt x="487311" y="635030"/>
                  <a:pt x="471791" y="635092"/>
                  <a:pt x="453915" y="635267"/>
                </a:cubicBezTo>
                <a:close/>
              </a:path>
            </a:pathLst>
          </a:custGeom>
          <a:solidFill>
            <a:srgbClr val="CDD9DF"/>
          </a:solidFill>
          <a:ln w="12700" cap="flat">
            <a:solidFill>
              <a:srgbClr val="CDD9DF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0" name="Free-form: Shape 279">
            <a:extLst>
              <a:ext uri="{FF2B5EF4-FFF2-40B4-BE49-F238E27FC236}">
                <a16:creationId xmlns:a16="http://schemas.microsoft.com/office/drawing/2014/main" id="{FABA4F2C-6F3F-8953-261B-4A8AF17D697A}"/>
              </a:ext>
            </a:extLst>
          </p:cNvPr>
          <p:cNvSpPr/>
          <p:nvPr/>
        </p:nvSpPr>
        <p:spPr>
          <a:xfrm>
            <a:off x="4077549" y="2012271"/>
            <a:ext cx="665488" cy="1428730"/>
          </a:xfrm>
          <a:custGeom>
            <a:avLst/>
            <a:gdLst>
              <a:gd name="csX0" fmla="*/ 406842 w 732037"/>
              <a:gd name="csY0" fmla="*/ 38347 h 1571603"/>
              <a:gd name="csX1" fmla="*/ 411944 w 732037"/>
              <a:gd name="csY1" fmla="*/ 38343 h 1571603"/>
              <a:gd name="csX2" fmla="*/ 416198 w 732037"/>
              <a:gd name="csY2" fmla="*/ 53444 h 1571603"/>
              <a:gd name="csX3" fmla="*/ 418945 w 732037"/>
              <a:gd name="csY3" fmla="*/ 34170 h 1571603"/>
              <a:gd name="csX4" fmla="*/ 394077 w 732037"/>
              <a:gd name="csY4" fmla="*/ 12943 h 1571603"/>
              <a:gd name="csX5" fmla="*/ 341415 w 732037"/>
              <a:gd name="csY5" fmla="*/ 11814 h 1571603"/>
              <a:gd name="csX6" fmla="*/ 309440 w 732037"/>
              <a:gd name="csY6" fmla="*/ 65249 h 1571603"/>
              <a:gd name="csX7" fmla="*/ 319632 w 732037"/>
              <a:gd name="csY7" fmla="*/ 85914 h 1571603"/>
              <a:gd name="csX8" fmla="*/ 318632 w 732037"/>
              <a:gd name="csY8" fmla="*/ 110015 h 1571603"/>
              <a:gd name="csX9" fmla="*/ 246921 w 732037"/>
              <a:gd name="csY9" fmla="*/ 198083 h 1571603"/>
              <a:gd name="csX10" fmla="*/ 202660 w 732037"/>
              <a:gd name="csY10" fmla="*/ 269911 h 1571603"/>
              <a:gd name="csX11" fmla="*/ 176707 w 732037"/>
              <a:gd name="csY11" fmla="*/ 357233 h 1571603"/>
              <a:gd name="csX12" fmla="*/ 190612 w 732037"/>
              <a:gd name="csY12" fmla="*/ 439700 h 1571603"/>
              <a:gd name="csX13" fmla="*/ 227544 w 732037"/>
              <a:gd name="csY13" fmla="*/ 505527 h 1571603"/>
              <a:gd name="csX14" fmla="*/ 232541 w 732037"/>
              <a:gd name="csY14" fmla="*/ 516294 h 1571603"/>
              <a:gd name="csX15" fmla="*/ 224356 w 732037"/>
              <a:gd name="csY15" fmla="*/ 528960 h 1571603"/>
              <a:gd name="csX16" fmla="*/ 227944 w 732037"/>
              <a:gd name="csY16" fmla="*/ 540026 h 1571603"/>
              <a:gd name="csX17" fmla="*/ 238897 w 732037"/>
              <a:gd name="csY17" fmla="*/ 545570 h 1571603"/>
              <a:gd name="csX18" fmla="*/ 242386 w 732037"/>
              <a:gd name="csY18" fmla="*/ 571785 h 1571603"/>
              <a:gd name="csX19" fmla="*/ 214067 w 732037"/>
              <a:gd name="csY19" fmla="*/ 590809 h 1571603"/>
              <a:gd name="csX20" fmla="*/ 201355 w 732037"/>
              <a:gd name="csY20" fmla="*/ 609067 h 1571603"/>
              <a:gd name="csX21" fmla="*/ 188474 w 732037"/>
              <a:gd name="csY21" fmla="*/ 628398 h 1571603"/>
              <a:gd name="csX22" fmla="*/ 162658 w 732037"/>
              <a:gd name="csY22" fmla="*/ 657096 h 1571603"/>
              <a:gd name="csX23" fmla="*/ 175395 w 732037"/>
              <a:gd name="csY23" fmla="*/ 691621 h 1571603"/>
              <a:gd name="csX24" fmla="*/ 201948 w 732037"/>
              <a:gd name="csY24" fmla="*/ 700523 h 1571603"/>
              <a:gd name="csX25" fmla="*/ 241426 w 732037"/>
              <a:gd name="csY25" fmla="*/ 706574 h 1571603"/>
              <a:gd name="csX26" fmla="*/ 242586 w 732037"/>
              <a:gd name="csY26" fmla="*/ 715946 h 1571603"/>
              <a:gd name="csX27" fmla="*/ 242424 w 732037"/>
              <a:gd name="csY27" fmla="*/ 801932 h 1571603"/>
              <a:gd name="csX28" fmla="*/ 238000 w 732037"/>
              <a:gd name="csY28" fmla="*/ 846774 h 1571603"/>
              <a:gd name="csX29" fmla="*/ 232752 w 732037"/>
              <a:gd name="csY29" fmla="*/ 891559 h 1571603"/>
              <a:gd name="csX30" fmla="*/ 223037 w 732037"/>
              <a:gd name="csY30" fmla="*/ 950433 h 1571603"/>
              <a:gd name="csX31" fmla="*/ 210247 w 732037"/>
              <a:gd name="csY31" fmla="*/ 1012485 h 1571603"/>
              <a:gd name="csX32" fmla="*/ 194820 w 732037"/>
              <a:gd name="csY32" fmla="*/ 1069074 h 1571603"/>
              <a:gd name="csX33" fmla="*/ 165707 w 732037"/>
              <a:gd name="csY33" fmla="*/ 1163788 h 1571603"/>
              <a:gd name="csX34" fmla="*/ 144382 w 732037"/>
              <a:gd name="csY34" fmla="*/ 1185530 h 1571603"/>
              <a:gd name="csX35" fmla="*/ 129590 w 732037"/>
              <a:gd name="csY35" fmla="*/ 1191342 h 1571603"/>
              <a:gd name="csX36" fmla="*/ 122255 w 732037"/>
              <a:gd name="csY36" fmla="*/ 1208476 h 1571603"/>
              <a:gd name="csX37" fmla="*/ 127491 w 732037"/>
              <a:gd name="csY37" fmla="*/ 1222193 h 1571603"/>
              <a:gd name="csX38" fmla="*/ 118348 w 732037"/>
              <a:gd name="csY38" fmla="*/ 1261470 h 1571603"/>
              <a:gd name="csX39" fmla="*/ 58232 w 732037"/>
              <a:gd name="csY39" fmla="*/ 1319224 h 1571603"/>
              <a:gd name="csX40" fmla="*/ 28815 w 732037"/>
              <a:gd name="csY40" fmla="*/ 1389717 h 1571603"/>
              <a:gd name="csX41" fmla="*/ 32634 w 732037"/>
              <a:gd name="csY41" fmla="*/ 1426050 h 1571603"/>
              <a:gd name="csX42" fmla="*/ 30331 w 732037"/>
              <a:gd name="csY42" fmla="*/ 1441003 h 1571603"/>
              <a:gd name="csX43" fmla="*/ 9180 w 732037"/>
              <a:gd name="csY43" fmla="*/ 1516655 h 1571603"/>
              <a:gd name="csX44" fmla="*/ 20082 w 732037"/>
              <a:gd name="csY44" fmla="*/ 1531402 h 1571603"/>
              <a:gd name="csX45" fmla="*/ 74798 w 732037"/>
              <a:gd name="csY45" fmla="*/ 1543794 h 1571603"/>
              <a:gd name="csX46" fmla="*/ 113225 w 732037"/>
              <a:gd name="csY46" fmla="*/ 1550305 h 1571603"/>
              <a:gd name="csX47" fmla="*/ 136142 w 732037"/>
              <a:gd name="csY47" fmla="*/ 1553484 h 1571603"/>
              <a:gd name="csX48" fmla="*/ 177578 w 732037"/>
              <a:gd name="csY48" fmla="*/ 1556220 h 1571603"/>
              <a:gd name="csX49" fmla="*/ 231027 w 732037"/>
              <a:gd name="csY49" fmla="*/ 1560698 h 1571603"/>
              <a:gd name="csX50" fmla="*/ 254342 w 732037"/>
              <a:gd name="csY50" fmla="*/ 1561142 h 1571603"/>
              <a:gd name="csX51" fmla="*/ 459180 w 732037"/>
              <a:gd name="csY51" fmla="*/ 1563411 h 1571603"/>
              <a:gd name="csX52" fmla="*/ 531340 w 732037"/>
              <a:gd name="csY52" fmla="*/ 1560936 h 1571603"/>
              <a:gd name="csX53" fmla="*/ 590888 w 732037"/>
              <a:gd name="csY53" fmla="*/ 1555951 h 1571603"/>
              <a:gd name="csX54" fmla="*/ 710712 w 732037"/>
              <a:gd name="csY54" fmla="*/ 1533916 h 1571603"/>
              <a:gd name="csX55" fmla="*/ 724356 w 732037"/>
              <a:gd name="csY55" fmla="*/ 1516144 h 1571603"/>
              <a:gd name="csX56" fmla="*/ 707380 w 732037"/>
              <a:gd name="csY56" fmla="*/ 1449380 h 1571603"/>
              <a:gd name="csX57" fmla="*/ 707050 w 732037"/>
              <a:gd name="csY57" fmla="*/ 1440881 h 1571603"/>
              <a:gd name="csX58" fmla="*/ 731479 w 732037"/>
              <a:gd name="csY58" fmla="*/ 1500017 h 1571603"/>
              <a:gd name="csX59" fmla="*/ 731163 w 732037"/>
              <a:gd name="csY59" fmla="*/ 1513759 h 1571603"/>
              <a:gd name="csX60" fmla="*/ 731650 w 732037"/>
              <a:gd name="csY60" fmla="*/ 1521766 h 1571603"/>
              <a:gd name="csX61" fmla="*/ 721896 w 732037"/>
              <a:gd name="csY61" fmla="*/ 1537319 h 1571603"/>
              <a:gd name="csX62" fmla="*/ 657740 w 732037"/>
              <a:gd name="csY62" fmla="*/ 1553265 h 1571603"/>
              <a:gd name="csX63" fmla="*/ 507791 w 732037"/>
              <a:gd name="csY63" fmla="*/ 1568943 h 1571603"/>
              <a:gd name="csX64" fmla="*/ 264676 w 732037"/>
              <a:gd name="csY64" fmla="*/ 1569724 h 1571603"/>
              <a:gd name="csX65" fmla="*/ 82743 w 732037"/>
              <a:gd name="csY65" fmla="*/ 1553254 h 1571603"/>
              <a:gd name="csX66" fmla="*/ 17072 w 732037"/>
              <a:gd name="csY66" fmla="*/ 1538153 h 1571603"/>
              <a:gd name="csX67" fmla="*/ 275 w 732037"/>
              <a:gd name="csY67" fmla="*/ 1513030 h 1571603"/>
              <a:gd name="csX68" fmla="*/ 20923 w 732037"/>
              <a:gd name="csY68" fmla="*/ 1441861 h 1571603"/>
              <a:gd name="csX69" fmla="*/ 23045 w 732037"/>
              <a:gd name="csY69" fmla="*/ 1423105 h 1571603"/>
              <a:gd name="csX70" fmla="*/ 30564 w 732037"/>
              <a:gd name="csY70" fmla="*/ 1346289 h 1571603"/>
              <a:gd name="csX71" fmla="*/ 71350 w 732037"/>
              <a:gd name="csY71" fmla="*/ 1295039 h 1571603"/>
              <a:gd name="csX72" fmla="*/ 112257 w 732037"/>
              <a:gd name="csY72" fmla="*/ 1255093 h 1571603"/>
              <a:gd name="csX73" fmla="*/ 115864 w 732037"/>
              <a:gd name="csY73" fmla="*/ 1217271 h 1571603"/>
              <a:gd name="csX74" fmla="*/ 112256 w 732037"/>
              <a:gd name="csY74" fmla="*/ 1210870 h 1571603"/>
              <a:gd name="csX75" fmla="*/ 121141 w 732037"/>
              <a:gd name="csY75" fmla="*/ 1186548 h 1571603"/>
              <a:gd name="csX76" fmla="*/ 136571 w 732037"/>
              <a:gd name="csY76" fmla="*/ 1179850 h 1571603"/>
              <a:gd name="csX77" fmla="*/ 158281 w 732037"/>
              <a:gd name="csY77" fmla="*/ 1157879 h 1571603"/>
              <a:gd name="csX78" fmla="*/ 187986 w 732037"/>
              <a:gd name="csY78" fmla="*/ 1059736 h 1571603"/>
              <a:gd name="csX79" fmla="*/ 217119 w 732037"/>
              <a:gd name="csY79" fmla="*/ 938896 h 1571603"/>
              <a:gd name="csX80" fmla="*/ 225792 w 732037"/>
              <a:gd name="csY80" fmla="*/ 893236 h 1571603"/>
              <a:gd name="csX81" fmla="*/ 226150 w 732037"/>
              <a:gd name="csY81" fmla="*/ 887970 h 1571603"/>
              <a:gd name="csX82" fmla="*/ 230782 w 732037"/>
              <a:gd name="csY82" fmla="*/ 853969 h 1571603"/>
              <a:gd name="csX83" fmla="*/ 230786 w 732037"/>
              <a:gd name="csY83" fmla="*/ 848558 h 1571603"/>
              <a:gd name="csX84" fmla="*/ 233315 w 732037"/>
              <a:gd name="csY84" fmla="*/ 824438 h 1571603"/>
              <a:gd name="csX85" fmla="*/ 233199 w 732037"/>
              <a:gd name="csY85" fmla="*/ 819050 h 1571603"/>
              <a:gd name="csX86" fmla="*/ 235848 w 732037"/>
              <a:gd name="csY86" fmla="*/ 782380 h 1571603"/>
              <a:gd name="csX87" fmla="*/ 237465 w 732037"/>
              <a:gd name="csY87" fmla="*/ 719113 h 1571603"/>
              <a:gd name="csX88" fmla="*/ 233057 w 732037"/>
              <a:gd name="csY88" fmla="*/ 713160 h 1571603"/>
              <a:gd name="csX89" fmla="*/ 203056 w 732037"/>
              <a:gd name="csY89" fmla="*/ 708405 h 1571603"/>
              <a:gd name="csX90" fmla="*/ 169628 w 732037"/>
              <a:gd name="csY90" fmla="*/ 698106 h 1571603"/>
              <a:gd name="csX91" fmla="*/ 153237 w 732037"/>
              <a:gd name="csY91" fmla="*/ 659111 h 1571603"/>
              <a:gd name="csX92" fmla="*/ 178365 w 732037"/>
              <a:gd name="csY92" fmla="*/ 626008 h 1571603"/>
              <a:gd name="csX93" fmla="*/ 191885 w 732037"/>
              <a:gd name="csY93" fmla="*/ 617513 h 1571603"/>
              <a:gd name="csX94" fmla="*/ 193681 w 732037"/>
              <a:gd name="csY94" fmla="*/ 610098 h 1571603"/>
              <a:gd name="csX95" fmla="*/ 213301 w 732037"/>
              <a:gd name="csY95" fmla="*/ 579885 h 1571603"/>
              <a:gd name="csX96" fmla="*/ 229635 w 732037"/>
              <a:gd name="csY96" fmla="*/ 571429 h 1571603"/>
              <a:gd name="csX97" fmla="*/ 237351 w 732037"/>
              <a:gd name="csY97" fmla="*/ 565882 h 1571603"/>
              <a:gd name="csX98" fmla="*/ 233673 w 732037"/>
              <a:gd name="csY98" fmla="*/ 550926 h 1571603"/>
              <a:gd name="csX99" fmla="*/ 226799 w 732037"/>
              <a:gd name="csY99" fmla="*/ 548359 h 1571603"/>
              <a:gd name="csX100" fmla="*/ 218639 w 732037"/>
              <a:gd name="csY100" fmla="*/ 522664 h 1571603"/>
              <a:gd name="csX101" fmla="*/ 218264 w 732037"/>
              <a:gd name="csY101" fmla="*/ 505463 h 1571603"/>
              <a:gd name="csX102" fmla="*/ 181762 w 732037"/>
              <a:gd name="csY102" fmla="*/ 437574 h 1571603"/>
              <a:gd name="csX103" fmla="*/ 185971 w 732037"/>
              <a:gd name="csY103" fmla="*/ 289069 h 1571603"/>
              <a:gd name="csX104" fmla="*/ 253787 w 732037"/>
              <a:gd name="csY104" fmla="*/ 175580 h 1571603"/>
              <a:gd name="csX105" fmla="*/ 309639 w 732037"/>
              <a:gd name="csY105" fmla="*/ 108695 h 1571603"/>
              <a:gd name="csX106" fmla="*/ 318061 w 732037"/>
              <a:gd name="csY106" fmla="*/ 98855 h 1571603"/>
              <a:gd name="csX107" fmla="*/ 304967 w 732037"/>
              <a:gd name="csY107" fmla="*/ 70056 h 1571603"/>
              <a:gd name="csX108" fmla="*/ 317012 w 732037"/>
              <a:gd name="csY108" fmla="*/ 19436 h 1571603"/>
              <a:gd name="csX109" fmla="*/ 415542 w 732037"/>
              <a:gd name="csY109" fmla="*/ 18221 h 1571603"/>
              <a:gd name="csX110" fmla="*/ 423203 w 732037"/>
              <a:gd name="csY110" fmla="*/ 82660 h 1571603"/>
              <a:gd name="csX111" fmla="*/ 413361 w 732037"/>
              <a:gd name="csY111" fmla="*/ 97975 h 1571603"/>
              <a:gd name="csX112" fmla="*/ 421654 w 732037"/>
              <a:gd name="csY112" fmla="*/ 106676 h 1571603"/>
              <a:gd name="csX113" fmla="*/ 487032 w 732037"/>
              <a:gd name="csY113" fmla="*/ 184632 h 1571603"/>
              <a:gd name="csX114" fmla="*/ 489213 w 732037"/>
              <a:gd name="csY114" fmla="*/ 208238 h 1571603"/>
              <a:gd name="csX115" fmla="*/ 476520 w 732037"/>
              <a:gd name="csY115" fmla="*/ 235738 h 1571603"/>
              <a:gd name="csX116" fmla="*/ 472850 w 732037"/>
              <a:gd name="csY116" fmla="*/ 230703 h 1571603"/>
              <a:gd name="csX117" fmla="*/ 482723 w 732037"/>
              <a:gd name="csY117" fmla="*/ 208315 h 1571603"/>
              <a:gd name="csX118" fmla="*/ 480764 w 732037"/>
              <a:gd name="csY118" fmla="*/ 187916 h 1571603"/>
              <a:gd name="csX119" fmla="*/ 408519 w 732037"/>
              <a:gd name="csY119" fmla="*/ 105475 h 1571603"/>
              <a:gd name="csX120" fmla="*/ 408625 w 732037"/>
              <a:gd name="csY120" fmla="*/ 89203 h 1571603"/>
              <a:gd name="csX121" fmla="*/ 419600 w 732037"/>
              <a:gd name="csY121" fmla="*/ 71648 h 1571603"/>
              <a:gd name="csX122" fmla="*/ 418792 w 732037"/>
              <a:gd name="csY122" fmla="*/ 63179 h 1571603"/>
              <a:gd name="csX123" fmla="*/ 410943 w 732037"/>
              <a:gd name="csY123" fmla="*/ 66417 h 1571603"/>
              <a:gd name="csX124" fmla="*/ 400140 w 732037"/>
              <a:gd name="csY124" fmla="*/ 76155 h 1571603"/>
              <a:gd name="csX125" fmla="*/ 360599 w 732037"/>
              <a:gd name="csY125" fmla="*/ 51379 h 1571603"/>
              <a:gd name="csX126" fmla="*/ 360842 w 732037"/>
              <a:gd name="csY126" fmla="*/ 39128 h 1571603"/>
              <a:gd name="csX127" fmla="*/ 369470 w 732037"/>
              <a:gd name="csY127" fmla="*/ 30960 h 1571603"/>
              <a:gd name="csX128" fmla="*/ 365613 w 732037"/>
              <a:gd name="csY128" fmla="*/ 49108 h 1571603"/>
              <a:gd name="csX129" fmla="*/ 389468 w 732037"/>
              <a:gd name="csY129" fmla="*/ 71608 h 1571603"/>
              <a:gd name="csX130" fmla="*/ 408822 w 732037"/>
              <a:gd name="csY130" fmla="*/ 46613 h 1571603"/>
              <a:gd name="csX131" fmla="*/ 406842 w 732037"/>
              <a:gd name="csY131" fmla="*/ 38347 h 157160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</a:cxnLst>
            <a:rect l="l" t="t" r="r" b="b"/>
            <a:pathLst>
              <a:path w="732037" h="1571603">
                <a:moveTo>
                  <a:pt x="406842" y="38347"/>
                </a:moveTo>
                <a:cubicBezTo>
                  <a:pt x="408555" y="35869"/>
                  <a:pt x="410622" y="34608"/>
                  <a:pt x="411944" y="38343"/>
                </a:cubicBezTo>
                <a:cubicBezTo>
                  <a:pt x="413676" y="43242"/>
                  <a:pt x="414797" y="48356"/>
                  <a:pt x="416198" y="53444"/>
                </a:cubicBezTo>
                <a:cubicBezTo>
                  <a:pt x="422922" y="48977"/>
                  <a:pt x="424340" y="41699"/>
                  <a:pt x="418945" y="34170"/>
                </a:cubicBezTo>
                <a:cubicBezTo>
                  <a:pt x="412483" y="25152"/>
                  <a:pt x="404444" y="17554"/>
                  <a:pt x="394077" y="12943"/>
                </a:cubicBezTo>
                <a:cubicBezTo>
                  <a:pt x="376702" y="5216"/>
                  <a:pt x="358713" y="6244"/>
                  <a:pt x="341415" y="11814"/>
                </a:cubicBezTo>
                <a:cubicBezTo>
                  <a:pt x="323675" y="17525"/>
                  <a:pt x="304459" y="39816"/>
                  <a:pt x="309440" y="65249"/>
                </a:cubicBezTo>
                <a:cubicBezTo>
                  <a:pt x="310868" y="72543"/>
                  <a:pt x="315482" y="79463"/>
                  <a:pt x="319632" y="85914"/>
                </a:cubicBezTo>
                <a:cubicBezTo>
                  <a:pt x="325434" y="94933"/>
                  <a:pt x="325800" y="102817"/>
                  <a:pt x="318632" y="110015"/>
                </a:cubicBezTo>
                <a:cubicBezTo>
                  <a:pt x="291775" y="136984"/>
                  <a:pt x="269594" y="167702"/>
                  <a:pt x="246921" y="198083"/>
                </a:cubicBezTo>
                <a:cubicBezTo>
                  <a:pt x="230003" y="220751"/>
                  <a:pt x="215685" y="244921"/>
                  <a:pt x="202660" y="269911"/>
                </a:cubicBezTo>
                <a:cubicBezTo>
                  <a:pt x="188381" y="297309"/>
                  <a:pt x="179513" y="326657"/>
                  <a:pt x="176707" y="357233"/>
                </a:cubicBezTo>
                <a:cubicBezTo>
                  <a:pt x="174106" y="385578"/>
                  <a:pt x="180131" y="413140"/>
                  <a:pt x="190612" y="439700"/>
                </a:cubicBezTo>
                <a:cubicBezTo>
                  <a:pt x="199946" y="463353"/>
                  <a:pt x="211538" y="485623"/>
                  <a:pt x="227544" y="505527"/>
                </a:cubicBezTo>
                <a:cubicBezTo>
                  <a:pt x="229982" y="508558"/>
                  <a:pt x="230954" y="512768"/>
                  <a:pt x="232541" y="516294"/>
                </a:cubicBezTo>
                <a:cubicBezTo>
                  <a:pt x="229578" y="520824"/>
                  <a:pt x="226658" y="524724"/>
                  <a:pt x="224356" y="528960"/>
                </a:cubicBezTo>
                <a:cubicBezTo>
                  <a:pt x="221823" y="533618"/>
                  <a:pt x="222675" y="537588"/>
                  <a:pt x="227944" y="540026"/>
                </a:cubicBezTo>
                <a:cubicBezTo>
                  <a:pt x="231656" y="541743"/>
                  <a:pt x="235331" y="543568"/>
                  <a:pt x="238897" y="545570"/>
                </a:cubicBezTo>
                <a:cubicBezTo>
                  <a:pt x="249613" y="551585"/>
                  <a:pt x="251795" y="563681"/>
                  <a:pt x="242386" y="571785"/>
                </a:cubicBezTo>
                <a:cubicBezTo>
                  <a:pt x="233816" y="579166"/>
                  <a:pt x="224045" y="585423"/>
                  <a:pt x="214067" y="590809"/>
                </a:cubicBezTo>
                <a:cubicBezTo>
                  <a:pt x="206271" y="595018"/>
                  <a:pt x="202051" y="601487"/>
                  <a:pt x="201355" y="609067"/>
                </a:cubicBezTo>
                <a:cubicBezTo>
                  <a:pt x="200489" y="618497"/>
                  <a:pt x="195720" y="623726"/>
                  <a:pt x="188474" y="628398"/>
                </a:cubicBezTo>
                <a:cubicBezTo>
                  <a:pt x="177332" y="635582"/>
                  <a:pt x="167866" y="644503"/>
                  <a:pt x="162658" y="657096"/>
                </a:cubicBezTo>
                <a:cubicBezTo>
                  <a:pt x="156420" y="672181"/>
                  <a:pt x="160439" y="684301"/>
                  <a:pt x="175395" y="691621"/>
                </a:cubicBezTo>
                <a:cubicBezTo>
                  <a:pt x="183722" y="695697"/>
                  <a:pt x="192859" y="698589"/>
                  <a:pt x="201948" y="700523"/>
                </a:cubicBezTo>
                <a:cubicBezTo>
                  <a:pt x="214634" y="703224"/>
                  <a:pt x="227616" y="704530"/>
                  <a:pt x="241426" y="706574"/>
                </a:cubicBezTo>
                <a:cubicBezTo>
                  <a:pt x="241839" y="709770"/>
                  <a:pt x="242576" y="712857"/>
                  <a:pt x="242586" y="715946"/>
                </a:cubicBezTo>
                <a:cubicBezTo>
                  <a:pt x="242672" y="744610"/>
                  <a:pt x="243133" y="773285"/>
                  <a:pt x="242424" y="801932"/>
                </a:cubicBezTo>
                <a:cubicBezTo>
                  <a:pt x="242053" y="816907"/>
                  <a:pt x="239631" y="831838"/>
                  <a:pt x="238000" y="846774"/>
                </a:cubicBezTo>
                <a:cubicBezTo>
                  <a:pt x="236368" y="861717"/>
                  <a:pt x="234927" y="876693"/>
                  <a:pt x="232752" y="891559"/>
                </a:cubicBezTo>
                <a:cubicBezTo>
                  <a:pt x="229873" y="911238"/>
                  <a:pt x="226675" y="930882"/>
                  <a:pt x="223037" y="950433"/>
                </a:cubicBezTo>
                <a:cubicBezTo>
                  <a:pt x="219173" y="971193"/>
                  <a:pt x="215113" y="991942"/>
                  <a:pt x="210247" y="1012485"/>
                </a:cubicBezTo>
                <a:cubicBezTo>
                  <a:pt x="205743" y="1031500"/>
                  <a:pt x="200395" y="1050337"/>
                  <a:pt x="194820" y="1069074"/>
                </a:cubicBezTo>
                <a:cubicBezTo>
                  <a:pt x="185401" y="1100731"/>
                  <a:pt x="175708" y="1132311"/>
                  <a:pt x="165707" y="1163788"/>
                </a:cubicBezTo>
                <a:cubicBezTo>
                  <a:pt x="162367" y="1174302"/>
                  <a:pt x="156145" y="1182634"/>
                  <a:pt x="144382" y="1185530"/>
                </a:cubicBezTo>
                <a:cubicBezTo>
                  <a:pt x="139281" y="1186787"/>
                  <a:pt x="134434" y="1189193"/>
                  <a:pt x="129590" y="1191342"/>
                </a:cubicBezTo>
                <a:cubicBezTo>
                  <a:pt x="120028" y="1195581"/>
                  <a:pt x="118779" y="1198539"/>
                  <a:pt x="122255" y="1208476"/>
                </a:cubicBezTo>
                <a:cubicBezTo>
                  <a:pt x="123870" y="1213094"/>
                  <a:pt x="125990" y="1217542"/>
                  <a:pt x="127491" y="1222193"/>
                </a:cubicBezTo>
                <a:cubicBezTo>
                  <a:pt x="132294" y="1237066"/>
                  <a:pt x="129961" y="1250353"/>
                  <a:pt x="118348" y="1261470"/>
                </a:cubicBezTo>
                <a:cubicBezTo>
                  <a:pt x="98275" y="1280686"/>
                  <a:pt x="78038" y="1299737"/>
                  <a:pt x="58232" y="1319224"/>
                </a:cubicBezTo>
                <a:cubicBezTo>
                  <a:pt x="38634" y="1338507"/>
                  <a:pt x="29913" y="1362564"/>
                  <a:pt x="28815" y="1389717"/>
                </a:cubicBezTo>
                <a:cubicBezTo>
                  <a:pt x="28318" y="1402031"/>
                  <a:pt x="29110" y="1414206"/>
                  <a:pt x="32634" y="1426050"/>
                </a:cubicBezTo>
                <a:cubicBezTo>
                  <a:pt x="34273" y="1431554"/>
                  <a:pt x="33300" y="1435929"/>
                  <a:pt x="30331" y="1441003"/>
                </a:cubicBezTo>
                <a:cubicBezTo>
                  <a:pt x="16698" y="1464298"/>
                  <a:pt x="8890" y="1489397"/>
                  <a:pt x="9180" y="1516655"/>
                </a:cubicBezTo>
                <a:cubicBezTo>
                  <a:pt x="9291" y="1527012"/>
                  <a:pt x="9917" y="1528771"/>
                  <a:pt x="20082" y="1531402"/>
                </a:cubicBezTo>
                <a:cubicBezTo>
                  <a:pt x="38179" y="1536086"/>
                  <a:pt x="56480" y="1540035"/>
                  <a:pt x="74798" y="1543794"/>
                </a:cubicBezTo>
                <a:cubicBezTo>
                  <a:pt x="87517" y="1546403"/>
                  <a:pt x="100396" y="1548250"/>
                  <a:pt x="113225" y="1550305"/>
                </a:cubicBezTo>
                <a:cubicBezTo>
                  <a:pt x="120841" y="1551524"/>
                  <a:pt x="128467" y="1552843"/>
                  <a:pt x="136142" y="1553484"/>
                </a:cubicBezTo>
                <a:cubicBezTo>
                  <a:pt x="149934" y="1554635"/>
                  <a:pt x="163778" y="1555156"/>
                  <a:pt x="177578" y="1556220"/>
                </a:cubicBezTo>
                <a:cubicBezTo>
                  <a:pt x="195403" y="1557595"/>
                  <a:pt x="213196" y="1559407"/>
                  <a:pt x="231027" y="1560698"/>
                </a:cubicBezTo>
                <a:cubicBezTo>
                  <a:pt x="238768" y="1561259"/>
                  <a:pt x="246585" y="1560709"/>
                  <a:pt x="254342" y="1561142"/>
                </a:cubicBezTo>
                <a:cubicBezTo>
                  <a:pt x="322588" y="1564942"/>
                  <a:pt x="390896" y="1563427"/>
                  <a:pt x="459180" y="1563411"/>
                </a:cubicBezTo>
                <a:cubicBezTo>
                  <a:pt x="483236" y="1563406"/>
                  <a:pt x="507311" y="1562248"/>
                  <a:pt x="531340" y="1560936"/>
                </a:cubicBezTo>
                <a:cubicBezTo>
                  <a:pt x="551225" y="1559849"/>
                  <a:pt x="571160" y="1558554"/>
                  <a:pt x="590888" y="1555951"/>
                </a:cubicBezTo>
                <a:cubicBezTo>
                  <a:pt x="631179" y="1550635"/>
                  <a:pt x="671338" y="1544328"/>
                  <a:pt x="710712" y="1533916"/>
                </a:cubicBezTo>
                <a:cubicBezTo>
                  <a:pt x="722630" y="1530764"/>
                  <a:pt x="724036" y="1528558"/>
                  <a:pt x="724356" y="1516144"/>
                </a:cubicBezTo>
                <a:cubicBezTo>
                  <a:pt x="724970" y="1492256"/>
                  <a:pt x="718637" y="1470245"/>
                  <a:pt x="707380" y="1449380"/>
                </a:cubicBezTo>
                <a:cubicBezTo>
                  <a:pt x="706259" y="1447304"/>
                  <a:pt x="706896" y="1444279"/>
                  <a:pt x="707050" y="1440881"/>
                </a:cubicBezTo>
                <a:cubicBezTo>
                  <a:pt x="722747" y="1457101"/>
                  <a:pt x="728653" y="1477963"/>
                  <a:pt x="731479" y="1500017"/>
                </a:cubicBezTo>
                <a:cubicBezTo>
                  <a:pt x="731992" y="1504029"/>
                  <a:pt x="731781" y="1508135"/>
                  <a:pt x="731163" y="1513759"/>
                </a:cubicBezTo>
                <a:cubicBezTo>
                  <a:pt x="730831" y="1517468"/>
                  <a:pt x="731241" y="1519618"/>
                  <a:pt x="731650" y="1521766"/>
                </a:cubicBezTo>
                <a:cubicBezTo>
                  <a:pt x="733191" y="1529956"/>
                  <a:pt x="730165" y="1535242"/>
                  <a:pt x="721896" y="1537319"/>
                </a:cubicBezTo>
                <a:cubicBezTo>
                  <a:pt x="700520" y="1542690"/>
                  <a:pt x="679367" y="1549248"/>
                  <a:pt x="657740" y="1553265"/>
                </a:cubicBezTo>
                <a:cubicBezTo>
                  <a:pt x="608220" y="1562464"/>
                  <a:pt x="558146" y="1566701"/>
                  <a:pt x="507791" y="1568943"/>
                </a:cubicBezTo>
                <a:cubicBezTo>
                  <a:pt x="426738" y="1572552"/>
                  <a:pt x="345677" y="1572161"/>
                  <a:pt x="264676" y="1569724"/>
                </a:cubicBezTo>
                <a:cubicBezTo>
                  <a:pt x="203800" y="1567891"/>
                  <a:pt x="142882" y="1563907"/>
                  <a:pt x="82743" y="1553254"/>
                </a:cubicBezTo>
                <a:cubicBezTo>
                  <a:pt x="60647" y="1549341"/>
                  <a:pt x="38739" y="1544032"/>
                  <a:pt x="17072" y="1538153"/>
                </a:cubicBezTo>
                <a:cubicBezTo>
                  <a:pt x="1381" y="1533894"/>
                  <a:pt x="-938" y="1529341"/>
                  <a:pt x="275" y="1513030"/>
                </a:cubicBezTo>
                <a:cubicBezTo>
                  <a:pt x="2146" y="1487871"/>
                  <a:pt x="7321" y="1463566"/>
                  <a:pt x="20923" y="1441861"/>
                </a:cubicBezTo>
                <a:cubicBezTo>
                  <a:pt x="24812" y="1435656"/>
                  <a:pt x="24566" y="1429699"/>
                  <a:pt x="23045" y="1423105"/>
                </a:cubicBezTo>
                <a:cubicBezTo>
                  <a:pt x="16952" y="1396684"/>
                  <a:pt x="19689" y="1370924"/>
                  <a:pt x="30564" y="1346289"/>
                </a:cubicBezTo>
                <a:cubicBezTo>
                  <a:pt x="39621" y="1325774"/>
                  <a:pt x="54481" y="1309709"/>
                  <a:pt x="71350" y="1295039"/>
                </a:cubicBezTo>
                <a:cubicBezTo>
                  <a:pt x="85712" y="1282550"/>
                  <a:pt x="99164" y="1268932"/>
                  <a:pt x="112257" y="1255093"/>
                </a:cubicBezTo>
                <a:cubicBezTo>
                  <a:pt x="122891" y="1243852"/>
                  <a:pt x="124955" y="1230879"/>
                  <a:pt x="115864" y="1217271"/>
                </a:cubicBezTo>
                <a:cubicBezTo>
                  <a:pt x="114506" y="1215239"/>
                  <a:pt x="113304" y="1213078"/>
                  <a:pt x="112256" y="1210870"/>
                </a:cubicBezTo>
                <a:cubicBezTo>
                  <a:pt x="106526" y="1198808"/>
                  <a:pt x="109052" y="1191969"/>
                  <a:pt x="121141" y="1186548"/>
                </a:cubicBezTo>
                <a:cubicBezTo>
                  <a:pt x="126274" y="1184246"/>
                  <a:pt x="131201" y="1180803"/>
                  <a:pt x="136571" y="1179850"/>
                </a:cubicBezTo>
                <a:cubicBezTo>
                  <a:pt x="149372" y="1177579"/>
                  <a:pt x="154892" y="1168948"/>
                  <a:pt x="158281" y="1157879"/>
                </a:cubicBezTo>
                <a:cubicBezTo>
                  <a:pt x="168288" y="1125194"/>
                  <a:pt x="179178" y="1092742"/>
                  <a:pt x="187986" y="1059736"/>
                </a:cubicBezTo>
                <a:cubicBezTo>
                  <a:pt x="198666" y="1019713"/>
                  <a:pt x="207813" y="979272"/>
                  <a:pt x="217119" y="938896"/>
                </a:cubicBezTo>
                <a:cubicBezTo>
                  <a:pt x="220491" y="924267"/>
                  <a:pt x="222410" y="909302"/>
                  <a:pt x="225792" y="893236"/>
                </a:cubicBezTo>
                <a:cubicBezTo>
                  <a:pt x="226444" y="890644"/>
                  <a:pt x="226297" y="889307"/>
                  <a:pt x="226150" y="887970"/>
                </a:cubicBezTo>
                <a:cubicBezTo>
                  <a:pt x="227450" y="877085"/>
                  <a:pt x="228750" y="866198"/>
                  <a:pt x="230782" y="853969"/>
                </a:cubicBezTo>
                <a:cubicBezTo>
                  <a:pt x="231271" y="851270"/>
                  <a:pt x="231029" y="849914"/>
                  <a:pt x="230786" y="848558"/>
                </a:cubicBezTo>
                <a:cubicBezTo>
                  <a:pt x="231390" y="840967"/>
                  <a:pt x="231993" y="833375"/>
                  <a:pt x="233315" y="824438"/>
                </a:cubicBezTo>
                <a:cubicBezTo>
                  <a:pt x="233755" y="821744"/>
                  <a:pt x="233477" y="820397"/>
                  <a:pt x="233199" y="819050"/>
                </a:cubicBezTo>
                <a:cubicBezTo>
                  <a:pt x="233786" y="807422"/>
                  <a:pt x="234374" y="795794"/>
                  <a:pt x="235848" y="782380"/>
                </a:cubicBezTo>
                <a:cubicBezTo>
                  <a:pt x="237047" y="760099"/>
                  <a:pt x="237488" y="739606"/>
                  <a:pt x="237465" y="719113"/>
                </a:cubicBezTo>
                <a:cubicBezTo>
                  <a:pt x="237463" y="717127"/>
                  <a:pt x="234595" y="715144"/>
                  <a:pt x="233057" y="713160"/>
                </a:cubicBezTo>
                <a:cubicBezTo>
                  <a:pt x="223043" y="711630"/>
                  <a:pt x="212881" y="710731"/>
                  <a:pt x="203056" y="708405"/>
                </a:cubicBezTo>
                <a:cubicBezTo>
                  <a:pt x="191716" y="705720"/>
                  <a:pt x="180144" y="702931"/>
                  <a:pt x="169628" y="698106"/>
                </a:cubicBezTo>
                <a:cubicBezTo>
                  <a:pt x="154505" y="691164"/>
                  <a:pt x="148867" y="675179"/>
                  <a:pt x="153237" y="659111"/>
                </a:cubicBezTo>
                <a:cubicBezTo>
                  <a:pt x="157196" y="644561"/>
                  <a:pt x="166649" y="634454"/>
                  <a:pt x="178365" y="626008"/>
                </a:cubicBezTo>
                <a:cubicBezTo>
                  <a:pt x="182258" y="623202"/>
                  <a:pt x="186579" y="620992"/>
                  <a:pt x="191885" y="617513"/>
                </a:cubicBezTo>
                <a:cubicBezTo>
                  <a:pt x="194882" y="614532"/>
                  <a:pt x="197062" y="612583"/>
                  <a:pt x="193681" y="610098"/>
                </a:cubicBezTo>
                <a:cubicBezTo>
                  <a:pt x="193381" y="595591"/>
                  <a:pt x="202034" y="586776"/>
                  <a:pt x="213301" y="579885"/>
                </a:cubicBezTo>
                <a:cubicBezTo>
                  <a:pt x="218517" y="576695"/>
                  <a:pt x="224270" y="574393"/>
                  <a:pt x="229635" y="571429"/>
                </a:cubicBezTo>
                <a:cubicBezTo>
                  <a:pt x="232401" y="569901"/>
                  <a:pt x="235344" y="568225"/>
                  <a:pt x="237351" y="565882"/>
                </a:cubicBezTo>
                <a:cubicBezTo>
                  <a:pt x="243193" y="559063"/>
                  <a:pt x="242021" y="554779"/>
                  <a:pt x="233673" y="550926"/>
                </a:cubicBezTo>
                <a:cubicBezTo>
                  <a:pt x="231458" y="549904"/>
                  <a:pt x="229049" y="549314"/>
                  <a:pt x="226799" y="548359"/>
                </a:cubicBezTo>
                <a:cubicBezTo>
                  <a:pt x="215108" y="543398"/>
                  <a:pt x="211118" y="532802"/>
                  <a:pt x="218639" y="522664"/>
                </a:cubicBezTo>
                <a:cubicBezTo>
                  <a:pt x="223647" y="515913"/>
                  <a:pt x="222661" y="511633"/>
                  <a:pt x="218264" y="505463"/>
                </a:cubicBezTo>
                <a:cubicBezTo>
                  <a:pt x="203255" y="484407"/>
                  <a:pt x="190650" y="461993"/>
                  <a:pt x="181762" y="437574"/>
                </a:cubicBezTo>
                <a:cubicBezTo>
                  <a:pt x="163530" y="387483"/>
                  <a:pt x="165826" y="338057"/>
                  <a:pt x="185971" y="289069"/>
                </a:cubicBezTo>
                <a:cubicBezTo>
                  <a:pt x="202921" y="247851"/>
                  <a:pt x="226229" y="210377"/>
                  <a:pt x="253787" y="175580"/>
                </a:cubicBezTo>
                <a:cubicBezTo>
                  <a:pt x="271814" y="152817"/>
                  <a:pt x="290973" y="130951"/>
                  <a:pt x="309639" y="108695"/>
                </a:cubicBezTo>
                <a:cubicBezTo>
                  <a:pt x="312744" y="104993"/>
                  <a:pt x="315922" y="101352"/>
                  <a:pt x="318061" y="98855"/>
                </a:cubicBezTo>
                <a:cubicBezTo>
                  <a:pt x="313257" y="88362"/>
                  <a:pt x="308695" y="79376"/>
                  <a:pt x="304967" y="70056"/>
                </a:cubicBezTo>
                <a:cubicBezTo>
                  <a:pt x="297146" y="50504"/>
                  <a:pt x="303366" y="33481"/>
                  <a:pt x="317012" y="19436"/>
                </a:cubicBezTo>
                <a:cubicBezTo>
                  <a:pt x="344741" y="-9105"/>
                  <a:pt x="393463" y="-3345"/>
                  <a:pt x="415542" y="18221"/>
                </a:cubicBezTo>
                <a:cubicBezTo>
                  <a:pt x="429559" y="31914"/>
                  <a:pt x="438373" y="56968"/>
                  <a:pt x="423203" y="82660"/>
                </a:cubicBezTo>
                <a:cubicBezTo>
                  <a:pt x="420306" y="87568"/>
                  <a:pt x="417047" y="92262"/>
                  <a:pt x="413361" y="97975"/>
                </a:cubicBezTo>
                <a:cubicBezTo>
                  <a:pt x="416167" y="100932"/>
                  <a:pt x="418781" y="103940"/>
                  <a:pt x="421654" y="106676"/>
                </a:cubicBezTo>
                <a:cubicBezTo>
                  <a:pt x="446372" y="130213"/>
                  <a:pt x="467902" y="156374"/>
                  <a:pt x="487032" y="184632"/>
                </a:cubicBezTo>
                <a:cubicBezTo>
                  <a:pt x="492374" y="192525"/>
                  <a:pt x="493990" y="199495"/>
                  <a:pt x="489213" y="208238"/>
                </a:cubicBezTo>
                <a:cubicBezTo>
                  <a:pt x="484525" y="216819"/>
                  <a:pt x="481033" y="226053"/>
                  <a:pt x="476520" y="235738"/>
                </a:cubicBezTo>
                <a:cubicBezTo>
                  <a:pt x="472168" y="236089"/>
                  <a:pt x="471165" y="234358"/>
                  <a:pt x="472850" y="230703"/>
                </a:cubicBezTo>
                <a:cubicBezTo>
                  <a:pt x="476263" y="223297"/>
                  <a:pt x="479344" y="215738"/>
                  <a:pt x="482723" y="208315"/>
                </a:cubicBezTo>
                <a:cubicBezTo>
                  <a:pt x="486016" y="201080"/>
                  <a:pt x="485571" y="194961"/>
                  <a:pt x="480764" y="187916"/>
                </a:cubicBezTo>
                <a:cubicBezTo>
                  <a:pt x="459995" y="157475"/>
                  <a:pt x="437234" y="128912"/>
                  <a:pt x="408519" y="105475"/>
                </a:cubicBezTo>
                <a:cubicBezTo>
                  <a:pt x="403555" y="101425"/>
                  <a:pt x="403835" y="96489"/>
                  <a:pt x="408625" y="89203"/>
                </a:cubicBezTo>
                <a:cubicBezTo>
                  <a:pt x="412416" y="83438"/>
                  <a:pt x="416045" y="77562"/>
                  <a:pt x="419600" y="71648"/>
                </a:cubicBezTo>
                <a:cubicBezTo>
                  <a:pt x="421349" y="68739"/>
                  <a:pt x="422717" y="65537"/>
                  <a:pt x="418792" y="63179"/>
                </a:cubicBezTo>
                <a:cubicBezTo>
                  <a:pt x="414834" y="60801"/>
                  <a:pt x="413218" y="63883"/>
                  <a:pt x="410943" y="66417"/>
                </a:cubicBezTo>
                <a:cubicBezTo>
                  <a:pt x="407706" y="70022"/>
                  <a:pt x="404330" y="74045"/>
                  <a:pt x="400140" y="76155"/>
                </a:cubicBezTo>
                <a:cubicBezTo>
                  <a:pt x="381561" y="85507"/>
                  <a:pt x="360821" y="72312"/>
                  <a:pt x="360599" y="51379"/>
                </a:cubicBezTo>
                <a:cubicBezTo>
                  <a:pt x="360556" y="47292"/>
                  <a:pt x="360308" y="43152"/>
                  <a:pt x="360842" y="39128"/>
                </a:cubicBezTo>
                <a:cubicBezTo>
                  <a:pt x="361447" y="34568"/>
                  <a:pt x="362880" y="30159"/>
                  <a:pt x="369470" y="30960"/>
                </a:cubicBezTo>
                <a:cubicBezTo>
                  <a:pt x="368501" y="37551"/>
                  <a:pt x="365745" y="43300"/>
                  <a:pt x="365613" y="49108"/>
                </a:cubicBezTo>
                <a:cubicBezTo>
                  <a:pt x="365328" y="61659"/>
                  <a:pt x="377498" y="72522"/>
                  <a:pt x="389468" y="71608"/>
                </a:cubicBezTo>
                <a:cubicBezTo>
                  <a:pt x="401478" y="70690"/>
                  <a:pt x="410127" y="59637"/>
                  <a:pt x="408822" y="46613"/>
                </a:cubicBezTo>
                <a:cubicBezTo>
                  <a:pt x="408542" y="43819"/>
                  <a:pt x="407521" y="41100"/>
                  <a:pt x="406842" y="38347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1" name="Free-form: Shape 280">
            <a:extLst>
              <a:ext uri="{FF2B5EF4-FFF2-40B4-BE49-F238E27FC236}">
                <a16:creationId xmlns:a16="http://schemas.microsoft.com/office/drawing/2014/main" id="{E977F109-2AA5-89CF-F595-D4D049C56514}"/>
              </a:ext>
            </a:extLst>
          </p:cNvPr>
          <p:cNvSpPr/>
          <p:nvPr/>
        </p:nvSpPr>
        <p:spPr>
          <a:xfrm>
            <a:off x="4630971" y="3125662"/>
            <a:ext cx="91545" cy="184495"/>
          </a:xfrm>
          <a:custGeom>
            <a:avLst/>
            <a:gdLst>
              <a:gd name="csX0" fmla="*/ 96534 w 100699"/>
              <a:gd name="csY0" fmla="*/ 202912 h 202945"/>
              <a:gd name="csX1" fmla="*/ 91036 w 100699"/>
              <a:gd name="csY1" fmla="*/ 196780 h 202945"/>
              <a:gd name="csX2" fmla="*/ 93357 w 100699"/>
              <a:gd name="csY2" fmla="*/ 178731 h 202945"/>
              <a:gd name="csX3" fmla="*/ 75903 w 100699"/>
              <a:gd name="csY3" fmla="*/ 106029 h 202945"/>
              <a:gd name="csX4" fmla="*/ 72780 w 100699"/>
              <a:gd name="csY4" fmla="*/ 102473 h 202945"/>
              <a:gd name="csX5" fmla="*/ 10982 w 100699"/>
              <a:gd name="csY5" fmla="*/ 41414 h 202945"/>
              <a:gd name="csX6" fmla="*/ 676 w 100699"/>
              <a:gd name="csY6" fmla="*/ 2936 h 202945"/>
              <a:gd name="csX7" fmla="*/ 5198 w 100699"/>
              <a:gd name="csY7" fmla="*/ 0 h 202945"/>
              <a:gd name="csX8" fmla="*/ 15435 w 100699"/>
              <a:gd name="csY8" fmla="*/ 35855 h 202945"/>
              <a:gd name="csX9" fmla="*/ 44498 w 100699"/>
              <a:gd name="csY9" fmla="*/ 63833 h 202945"/>
              <a:gd name="csX10" fmla="*/ 81385 w 100699"/>
              <a:gd name="csY10" fmla="*/ 106005 h 202945"/>
              <a:gd name="csX11" fmla="*/ 98950 w 100699"/>
              <a:gd name="csY11" fmla="*/ 190063 h 202945"/>
              <a:gd name="csX12" fmla="*/ 96534 w 100699"/>
              <a:gd name="csY12" fmla="*/ 202912 h 20294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</a:cxnLst>
            <a:rect l="l" t="t" r="r" b="b"/>
            <a:pathLst>
              <a:path w="100699" h="202945">
                <a:moveTo>
                  <a:pt x="96534" y="202912"/>
                </a:moveTo>
                <a:cubicBezTo>
                  <a:pt x="91699" y="203291"/>
                  <a:pt x="90650" y="200377"/>
                  <a:pt x="91036" y="196780"/>
                </a:cubicBezTo>
                <a:cubicBezTo>
                  <a:pt x="91685" y="190750"/>
                  <a:pt x="92933" y="184771"/>
                  <a:pt x="93357" y="178731"/>
                </a:cubicBezTo>
                <a:cubicBezTo>
                  <a:pt x="95183" y="152694"/>
                  <a:pt x="86034" y="129222"/>
                  <a:pt x="75903" y="106029"/>
                </a:cubicBezTo>
                <a:cubicBezTo>
                  <a:pt x="75300" y="104650"/>
                  <a:pt x="73904" y="103585"/>
                  <a:pt x="72780" y="102473"/>
                </a:cubicBezTo>
                <a:cubicBezTo>
                  <a:pt x="52199" y="82101"/>
                  <a:pt x="31673" y="61673"/>
                  <a:pt x="10982" y="41414"/>
                </a:cubicBezTo>
                <a:cubicBezTo>
                  <a:pt x="-119" y="30544"/>
                  <a:pt x="-1041" y="17093"/>
                  <a:pt x="676" y="2936"/>
                </a:cubicBezTo>
                <a:cubicBezTo>
                  <a:pt x="808" y="1852"/>
                  <a:pt x="2922" y="1010"/>
                  <a:pt x="5198" y="0"/>
                </a:cubicBezTo>
                <a:cubicBezTo>
                  <a:pt x="2043" y="13772"/>
                  <a:pt x="5665" y="25821"/>
                  <a:pt x="15435" y="35855"/>
                </a:cubicBezTo>
                <a:cubicBezTo>
                  <a:pt x="24811" y="45486"/>
                  <a:pt x="35301" y="54047"/>
                  <a:pt x="44498" y="63833"/>
                </a:cubicBezTo>
                <a:cubicBezTo>
                  <a:pt x="57293" y="77447"/>
                  <a:pt x="70760" y="90773"/>
                  <a:pt x="81385" y="106005"/>
                </a:cubicBezTo>
                <a:cubicBezTo>
                  <a:pt x="98896" y="131109"/>
                  <a:pt x="103759" y="159808"/>
                  <a:pt x="98950" y="190063"/>
                </a:cubicBezTo>
                <a:cubicBezTo>
                  <a:pt x="98311" y="194082"/>
                  <a:pt x="97697" y="198105"/>
                  <a:pt x="96534" y="202912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2" name="Free-form: Shape 281">
            <a:extLst>
              <a:ext uri="{FF2B5EF4-FFF2-40B4-BE49-F238E27FC236}">
                <a16:creationId xmlns:a16="http://schemas.microsoft.com/office/drawing/2014/main" id="{859AD515-71F2-45B5-4A2C-5F74BCFEBF1D}"/>
              </a:ext>
            </a:extLst>
          </p:cNvPr>
          <p:cNvSpPr/>
          <p:nvPr/>
        </p:nvSpPr>
        <p:spPr>
          <a:xfrm>
            <a:off x="4289687" y="2661626"/>
            <a:ext cx="3739" cy="60936"/>
          </a:xfrm>
          <a:custGeom>
            <a:avLst/>
            <a:gdLst>
              <a:gd name="csX0" fmla="*/ 0 w 4113"/>
              <a:gd name="csY0" fmla="*/ 0 h 67029"/>
              <a:gd name="csX1" fmla="*/ 4113 w 4113"/>
              <a:gd name="csY1" fmla="*/ 4824 h 67029"/>
              <a:gd name="csX2" fmla="*/ 2662 w 4113"/>
              <a:gd name="csY2" fmla="*/ 67030 h 67029"/>
              <a:gd name="csX3" fmla="*/ 631 w 4113"/>
              <a:gd name="csY3" fmla="*/ 55883 h 67029"/>
              <a:gd name="csX4" fmla="*/ 0 w 4113"/>
              <a:gd name="csY4" fmla="*/ 0 h 6702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4113" h="67029">
                <a:moveTo>
                  <a:pt x="0" y="0"/>
                </a:moveTo>
                <a:cubicBezTo>
                  <a:pt x="1242" y="855"/>
                  <a:pt x="4111" y="2838"/>
                  <a:pt x="4113" y="4824"/>
                </a:cubicBezTo>
                <a:cubicBezTo>
                  <a:pt x="4135" y="25317"/>
                  <a:pt x="3695" y="45810"/>
                  <a:pt x="2662" y="67030"/>
                </a:cubicBezTo>
                <a:cubicBezTo>
                  <a:pt x="1483" y="63799"/>
                  <a:pt x="680" y="59846"/>
                  <a:pt x="631" y="55883"/>
                </a:cubicBezTo>
                <a:cubicBezTo>
                  <a:pt x="404" y="37633"/>
                  <a:pt x="388" y="19381"/>
                  <a:pt x="0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3" name="Free-form: Shape 282">
            <a:extLst>
              <a:ext uri="{FF2B5EF4-FFF2-40B4-BE49-F238E27FC236}">
                <a16:creationId xmlns:a16="http://schemas.microsoft.com/office/drawing/2014/main" id="{751D2534-7B71-848D-6010-737B41643600}"/>
              </a:ext>
            </a:extLst>
          </p:cNvPr>
          <p:cNvSpPr/>
          <p:nvPr/>
        </p:nvSpPr>
        <p:spPr>
          <a:xfrm>
            <a:off x="4742076" y="3389426"/>
            <a:ext cx="1060" cy="5803"/>
          </a:xfrm>
          <a:custGeom>
            <a:avLst/>
            <a:gdLst>
              <a:gd name="csX0" fmla="*/ 1130 w 1165"/>
              <a:gd name="csY0" fmla="*/ 6385 h 6384"/>
              <a:gd name="csX1" fmla="*/ 49 w 1165"/>
              <a:gd name="csY1" fmla="*/ 0 h 6384"/>
              <a:gd name="csX2" fmla="*/ 1130 w 1165"/>
              <a:gd name="csY2" fmla="*/ 6385 h 638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165" h="6384">
                <a:moveTo>
                  <a:pt x="1130" y="6385"/>
                </a:moveTo>
                <a:cubicBezTo>
                  <a:pt x="260" y="4748"/>
                  <a:pt x="-149" y="2599"/>
                  <a:pt x="49" y="0"/>
                </a:cubicBezTo>
                <a:cubicBezTo>
                  <a:pt x="969" y="1658"/>
                  <a:pt x="1279" y="3765"/>
                  <a:pt x="1130" y="6385"/>
                </a:cubicBezTo>
                <a:close/>
              </a:path>
            </a:pathLst>
          </a:custGeom>
          <a:solidFill>
            <a:srgbClr val="939B9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4" name="Free-form: Shape 283">
            <a:extLst>
              <a:ext uri="{FF2B5EF4-FFF2-40B4-BE49-F238E27FC236}">
                <a16:creationId xmlns:a16="http://schemas.microsoft.com/office/drawing/2014/main" id="{D0551625-6CB3-FAB5-EF7D-2750C1C099C6}"/>
              </a:ext>
            </a:extLst>
          </p:cNvPr>
          <p:cNvSpPr/>
          <p:nvPr/>
        </p:nvSpPr>
        <p:spPr>
          <a:xfrm>
            <a:off x="4712347" y="3315331"/>
            <a:ext cx="5440" cy="2491"/>
          </a:xfrm>
          <a:custGeom>
            <a:avLst/>
            <a:gdLst>
              <a:gd name="csX0" fmla="*/ 5985 w 5984"/>
              <a:gd name="csY0" fmla="*/ 1832 h 2740"/>
              <a:gd name="csX1" fmla="*/ 0 w 5984"/>
              <a:gd name="csY1" fmla="*/ 2740 h 2740"/>
              <a:gd name="csX2" fmla="*/ 4930 w 5984"/>
              <a:gd name="csY2" fmla="*/ 0 h 2740"/>
              <a:gd name="csX3" fmla="*/ 5985 w 5984"/>
              <a:gd name="csY3" fmla="*/ 1832 h 274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</a:cxnLst>
            <a:rect l="l" t="t" r="r" b="b"/>
            <a:pathLst>
              <a:path w="5984" h="2740">
                <a:moveTo>
                  <a:pt x="5985" y="1832"/>
                </a:moveTo>
                <a:cubicBezTo>
                  <a:pt x="3992" y="2553"/>
                  <a:pt x="1996" y="2646"/>
                  <a:pt x="0" y="2740"/>
                </a:cubicBezTo>
                <a:cubicBezTo>
                  <a:pt x="1398" y="1830"/>
                  <a:pt x="2796" y="920"/>
                  <a:pt x="4930" y="0"/>
                </a:cubicBezTo>
                <a:cubicBezTo>
                  <a:pt x="5772" y="394"/>
                  <a:pt x="5877" y="799"/>
                  <a:pt x="5985" y="1832"/>
                </a:cubicBezTo>
                <a:close/>
              </a:path>
            </a:pathLst>
          </a:custGeom>
          <a:solidFill>
            <a:srgbClr val="8E9395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5" name="Free-form: Shape 284">
            <a:extLst>
              <a:ext uri="{FF2B5EF4-FFF2-40B4-BE49-F238E27FC236}">
                <a16:creationId xmlns:a16="http://schemas.microsoft.com/office/drawing/2014/main" id="{5C4AABA6-0638-821B-AC00-3C8483605F8B}"/>
              </a:ext>
            </a:extLst>
          </p:cNvPr>
          <p:cNvSpPr/>
          <p:nvPr/>
        </p:nvSpPr>
        <p:spPr>
          <a:xfrm>
            <a:off x="4252460" y="2567446"/>
            <a:ext cx="2645" cy="5625"/>
          </a:xfrm>
          <a:custGeom>
            <a:avLst/>
            <a:gdLst>
              <a:gd name="csX0" fmla="*/ 815 w 2910"/>
              <a:gd name="csY0" fmla="*/ 0 h 6187"/>
              <a:gd name="csX1" fmla="*/ 113 w 2910"/>
              <a:gd name="csY1" fmla="*/ 6187 h 6187"/>
              <a:gd name="csX2" fmla="*/ 815 w 2910"/>
              <a:gd name="csY2" fmla="*/ 0 h 618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2910" h="6187">
                <a:moveTo>
                  <a:pt x="815" y="0"/>
                </a:moveTo>
                <a:cubicBezTo>
                  <a:pt x="4660" y="1891"/>
                  <a:pt x="2480" y="3840"/>
                  <a:pt x="113" y="6187"/>
                </a:cubicBezTo>
                <a:cubicBezTo>
                  <a:pt x="-172" y="4565"/>
                  <a:pt x="89" y="2579"/>
                  <a:pt x="815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6" name="Free-form: Shape 285">
            <a:extLst>
              <a:ext uri="{FF2B5EF4-FFF2-40B4-BE49-F238E27FC236}">
                <a16:creationId xmlns:a16="http://schemas.microsoft.com/office/drawing/2014/main" id="{FB0AB50E-9083-D97A-C70F-0F318208BCAB}"/>
              </a:ext>
            </a:extLst>
          </p:cNvPr>
          <p:cNvSpPr/>
          <p:nvPr/>
        </p:nvSpPr>
        <p:spPr>
          <a:xfrm>
            <a:off x="4286875" y="2784020"/>
            <a:ext cx="770" cy="3664"/>
          </a:xfrm>
          <a:custGeom>
            <a:avLst/>
            <a:gdLst>
              <a:gd name="csX0" fmla="*/ 106 w 847"/>
              <a:gd name="csY0" fmla="*/ 0 h 4030"/>
              <a:gd name="csX1" fmla="*/ 732 w 847"/>
              <a:gd name="csY1" fmla="*/ 4031 h 4030"/>
              <a:gd name="csX2" fmla="*/ 106 w 847"/>
              <a:gd name="csY2" fmla="*/ 0 h 403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7" h="4030">
                <a:moveTo>
                  <a:pt x="106" y="0"/>
                </a:moveTo>
                <a:cubicBezTo>
                  <a:pt x="770" y="990"/>
                  <a:pt x="1013" y="2346"/>
                  <a:pt x="732" y="4031"/>
                </a:cubicBezTo>
                <a:cubicBezTo>
                  <a:pt x="34" y="3029"/>
                  <a:pt x="-141" y="1697"/>
                  <a:pt x="106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7" name="Free-form: Shape 286">
            <a:extLst>
              <a:ext uri="{FF2B5EF4-FFF2-40B4-BE49-F238E27FC236}">
                <a16:creationId xmlns:a16="http://schemas.microsoft.com/office/drawing/2014/main" id="{7A524E5C-AC3F-2449-B22B-3B9331B7D5A8}"/>
              </a:ext>
            </a:extLst>
          </p:cNvPr>
          <p:cNvSpPr/>
          <p:nvPr/>
        </p:nvSpPr>
        <p:spPr>
          <a:xfrm>
            <a:off x="4282551" y="2819814"/>
            <a:ext cx="703" cy="3631"/>
          </a:xfrm>
          <a:custGeom>
            <a:avLst/>
            <a:gdLst>
              <a:gd name="csX0" fmla="*/ 195 w 774"/>
              <a:gd name="csY0" fmla="*/ 0 h 3994"/>
              <a:gd name="csX1" fmla="*/ 575 w 774"/>
              <a:gd name="csY1" fmla="*/ 3994 h 3994"/>
              <a:gd name="csX2" fmla="*/ 195 w 774"/>
              <a:gd name="csY2" fmla="*/ 0 h 399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774" h="3994">
                <a:moveTo>
                  <a:pt x="195" y="0"/>
                </a:moveTo>
                <a:cubicBezTo>
                  <a:pt x="794" y="1011"/>
                  <a:pt x="941" y="2348"/>
                  <a:pt x="575" y="3994"/>
                </a:cubicBezTo>
                <a:cubicBezTo>
                  <a:pt x="-44" y="2978"/>
                  <a:pt x="-151" y="1652"/>
                  <a:pt x="195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8" name="Free-form: Shape 287">
            <a:extLst>
              <a:ext uri="{FF2B5EF4-FFF2-40B4-BE49-F238E27FC236}">
                <a16:creationId xmlns:a16="http://schemas.microsoft.com/office/drawing/2014/main" id="{18DB0C5C-6568-D31D-0713-0849BEE5D025}"/>
              </a:ext>
            </a:extLst>
          </p:cNvPr>
          <p:cNvSpPr/>
          <p:nvPr/>
        </p:nvSpPr>
        <p:spPr>
          <a:xfrm>
            <a:off x="4289128" y="2757210"/>
            <a:ext cx="787" cy="3631"/>
          </a:xfrm>
          <a:custGeom>
            <a:avLst/>
            <a:gdLst>
              <a:gd name="csX0" fmla="*/ 71 w 865"/>
              <a:gd name="csY0" fmla="*/ 0 h 3995"/>
              <a:gd name="csX1" fmla="*/ 783 w 865"/>
              <a:gd name="csY1" fmla="*/ 3996 h 3995"/>
              <a:gd name="csX2" fmla="*/ 71 w 865"/>
              <a:gd name="csY2" fmla="*/ 0 h 399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65" h="3995">
                <a:moveTo>
                  <a:pt x="71" y="0"/>
                </a:moveTo>
                <a:cubicBezTo>
                  <a:pt x="740" y="963"/>
                  <a:pt x="1018" y="2311"/>
                  <a:pt x="783" y="3996"/>
                </a:cubicBezTo>
                <a:cubicBezTo>
                  <a:pt x="73" y="3017"/>
                  <a:pt x="-124" y="1701"/>
                  <a:pt x="71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9" name="Free-form: Shape 288">
            <a:extLst>
              <a:ext uri="{FF2B5EF4-FFF2-40B4-BE49-F238E27FC236}">
                <a16:creationId xmlns:a16="http://schemas.microsoft.com/office/drawing/2014/main" id="{57D15E8F-69CB-4856-CFC2-14C6EACA1095}"/>
              </a:ext>
            </a:extLst>
          </p:cNvPr>
          <p:cNvSpPr/>
          <p:nvPr/>
        </p:nvSpPr>
        <p:spPr>
          <a:xfrm>
            <a:off x="4407432" y="2661236"/>
            <a:ext cx="170236" cy="426821"/>
          </a:xfrm>
          <a:custGeom>
            <a:avLst/>
            <a:gdLst>
              <a:gd name="csX0" fmla="*/ 120604 w 187260"/>
              <a:gd name="csY0" fmla="*/ 222968 h 469503"/>
              <a:gd name="csX1" fmla="*/ 187261 w 187260"/>
              <a:gd name="csY1" fmla="*/ 469503 h 469503"/>
              <a:gd name="csX2" fmla="*/ 1253 w 187260"/>
              <a:gd name="csY2" fmla="*/ 466078 h 469503"/>
              <a:gd name="csX3" fmla="*/ 8 w 187260"/>
              <a:gd name="csY3" fmla="*/ 458101 h 469503"/>
              <a:gd name="csX4" fmla="*/ 4383 w 187260"/>
              <a:gd name="csY4" fmla="*/ 351443 h 469503"/>
              <a:gd name="csX5" fmla="*/ 4615 w 187260"/>
              <a:gd name="csY5" fmla="*/ 346536 h 469503"/>
              <a:gd name="csX6" fmla="*/ 7935 w 187260"/>
              <a:gd name="csY6" fmla="*/ 233648 h 469503"/>
              <a:gd name="csX7" fmla="*/ 10461 w 187260"/>
              <a:gd name="csY7" fmla="*/ 128112 h 469503"/>
              <a:gd name="csX8" fmla="*/ 12461 w 187260"/>
              <a:gd name="csY8" fmla="*/ 12750 h 469503"/>
              <a:gd name="csX9" fmla="*/ 13165 w 187260"/>
              <a:gd name="csY9" fmla="*/ 4285 h 469503"/>
              <a:gd name="csX10" fmla="*/ 102327 w 187260"/>
              <a:gd name="csY10" fmla="*/ 0 h 469503"/>
              <a:gd name="csX11" fmla="*/ 106229 w 187260"/>
              <a:gd name="csY11" fmla="*/ 111321 h 469503"/>
              <a:gd name="csX12" fmla="*/ 120604 w 187260"/>
              <a:gd name="csY12" fmla="*/ 222968 h 46950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</a:cxnLst>
            <a:rect l="l" t="t" r="r" b="b"/>
            <a:pathLst>
              <a:path w="187260" h="469503">
                <a:moveTo>
                  <a:pt x="120604" y="222968"/>
                </a:moveTo>
                <a:cubicBezTo>
                  <a:pt x="135383" y="307129"/>
                  <a:pt x="159464" y="387725"/>
                  <a:pt x="187261" y="469503"/>
                </a:cubicBezTo>
                <a:cubicBezTo>
                  <a:pt x="124460" y="468347"/>
                  <a:pt x="63286" y="467220"/>
                  <a:pt x="1253" y="466078"/>
                </a:cubicBezTo>
                <a:cubicBezTo>
                  <a:pt x="818" y="463442"/>
                  <a:pt x="-95" y="460752"/>
                  <a:pt x="8" y="458101"/>
                </a:cubicBezTo>
                <a:cubicBezTo>
                  <a:pt x="1383" y="422545"/>
                  <a:pt x="2900" y="386994"/>
                  <a:pt x="4383" y="351443"/>
                </a:cubicBezTo>
                <a:cubicBezTo>
                  <a:pt x="4451" y="349807"/>
                  <a:pt x="4566" y="348172"/>
                  <a:pt x="4615" y="346536"/>
                </a:cubicBezTo>
                <a:cubicBezTo>
                  <a:pt x="5732" y="308907"/>
                  <a:pt x="6921" y="271280"/>
                  <a:pt x="7935" y="233648"/>
                </a:cubicBezTo>
                <a:cubicBezTo>
                  <a:pt x="8883" y="198472"/>
                  <a:pt x="9752" y="163293"/>
                  <a:pt x="10461" y="128112"/>
                </a:cubicBezTo>
                <a:cubicBezTo>
                  <a:pt x="11237" y="89660"/>
                  <a:pt x="11781" y="51204"/>
                  <a:pt x="12461" y="12750"/>
                </a:cubicBezTo>
                <a:cubicBezTo>
                  <a:pt x="12503" y="10363"/>
                  <a:pt x="12848" y="7981"/>
                  <a:pt x="13165" y="4285"/>
                </a:cubicBezTo>
                <a:cubicBezTo>
                  <a:pt x="42856" y="2858"/>
                  <a:pt x="72082" y="1454"/>
                  <a:pt x="102327" y="0"/>
                </a:cubicBezTo>
                <a:cubicBezTo>
                  <a:pt x="103499" y="37348"/>
                  <a:pt x="103207" y="74470"/>
                  <a:pt x="106229" y="111321"/>
                </a:cubicBezTo>
                <a:cubicBezTo>
                  <a:pt x="109263" y="148326"/>
                  <a:pt x="115599" y="185060"/>
                  <a:pt x="120604" y="222968"/>
                </a:cubicBezTo>
                <a:close/>
              </a:path>
            </a:pathLst>
          </a:custGeom>
          <a:solidFill>
            <a:srgbClr val="FDFDFD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90" name="Free-form: Shape 289">
            <a:extLst>
              <a:ext uri="{FF2B5EF4-FFF2-40B4-BE49-F238E27FC236}">
                <a16:creationId xmlns:a16="http://schemas.microsoft.com/office/drawing/2014/main" id="{A403C947-4066-E024-5292-57247B401FE7}"/>
              </a:ext>
            </a:extLst>
          </p:cNvPr>
          <p:cNvSpPr/>
          <p:nvPr/>
        </p:nvSpPr>
        <p:spPr>
          <a:xfrm>
            <a:off x="4406239" y="3127988"/>
            <a:ext cx="284824" cy="179974"/>
          </a:xfrm>
          <a:custGeom>
            <a:avLst/>
            <a:gdLst>
              <a:gd name="csX0" fmla="*/ 160234 w 313306"/>
              <a:gd name="csY0" fmla="*/ 197876 h 197971"/>
              <a:gd name="csX1" fmla="*/ 544 w 313306"/>
              <a:gd name="csY1" fmla="*/ 197972 h 197971"/>
              <a:gd name="csX2" fmla="*/ 3466 w 313306"/>
              <a:gd name="csY2" fmla="*/ 104326 h 197971"/>
              <a:gd name="csX3" fmla="*/ 0 w 313306"/>
              <a:gd name="csY3" fmla="*/ 10720 h 197971"/>
              <a:gd name="csX4" fmla="*/ 5445 w 313306"/>
              <a:gd name="csY4" fmla="*/ 9282 h 197971"/>
              <a:gd name="csX5" fmla="*/ 71623 w 313306"/>
              <a:gd name="csY5" fmla="*/ 6885 h 197971"/>
              <a:gd name="csX6" fmla="*/ 187887 w 313306"/>
              <a:gd name="csY6" fmla="*/ 233 h 197971"/>
              <a:gd name="csX7" fmla="*/ 215297 w 313306"/>
              <a:gd name="csY7" fmla="*/ 163 h 197971"/>
              <a:gd name="csX8" fmla="*/ 243629 w 313306"/>
              <a:gd name="csY8" fmla="*/ 61389 h 197971"/>
              <a:gd name="csX9" fmla="*/ 270660 w 313306"/>
              <a:gd name="csY9" fmla="*/ 86342 h 197971"/>
              <a:gd name="csX10" fmla="*/ 313142 w 313306"/>
              <a:gd name="csY10" fmla="*/ 170098 h 197971"/>
              <a:gd name="csX11" fmla="*/ 313291 w 313306"/>
              <a:gd name="csY11" fmla="*/ 176231 h 197971"/>
              <a:gd name="csX12" fmla="*/ 312654 w 313306"/>
              <a:gd name="csY12" fmla="*/ 180738 h 197971"/>
              <a:gd name="csX13" fmla="*/ 279655 w 313306"/>
              <a:gd name="csY13" fmla="*/ 186226 h 197971"/>
              <a:gd name="csX14" fmla="*/ 167436 w 313306"/>
              <a:gd name="csY14" fmla="*/ 196805 h 197971"/>
              <a:gd name="csX15" fmla="*/ 160234 w 313306"/>
              <a:gd name="csY15" fmla="*/ 197876 h 19797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</a:cxnLst>
            <a:rect l="l" t="t" r="r" b="b"/>
            <a:pathLst>
              <a:path w="313306" h="197971">
                <a:moveTo>
                  <a:pt x="160234" y="197876"/>
                </a:moveTo>
                <a:cubicBezTo>
                  <a:pt x="106384" y="197972"/>
                  <a:pt x="53682" y="197972"/>
                  <a:pt x="544" y="197972"/>
                </a:cubicBezTo>
                <a:cubicBezTo>
                  <a:pt x="1602" y="166763"/>
                  <a:pt x="3550" y="135542"/>
                  <a:pt x="3466" y="104326"/>
                </a:cubicBezTo>
                <a:cubicBezTo>
                  <a:pt x="3383" y="73323"/>
                  <a:pt x="1255" y="42326"/>
                  <a:pt x="0" y="10720"/>
                </a:cubicBezTo>
                <a:cubicBezTo>
                  <a:pt x="1689" y="10255"/>
                  <a:pt x="3551" y="9355"/>
                  <a:pt x="5445" y="9282"/>
                </a:cubicBezTo>
                <a:cubicBezTo>
                  <a:pt x="27503" y="8435"/>
                  <a:pt x="49582" y="8030"/>
                  <a:pt x="71623" y="6885"/>
                </a:cubicBezTo>
                <a:cubicBezTo>
                  <a:pt x="110388" y="4872"/>
                  <a:pt x="149126" y="2333"/>
                  <a:pt x="187887" y="233"/>
                </a:cubicBezTo>
                <a:cubicBezTo>
                  <a:pt x="196749" y="-247"/>
                  <a:pt x="205660" y="163"/>
                  <a:pt x="215297" y="163"/>
                </a:cubicBezTo>
                <a:cubicBezTo>
                  <a:pt x="215450" y="25550"/>
                  <a:pt x="226120" y="45122"/>
                  <a:pt x="243629" y="61389"/>
                </a:cubicBezTo>
                <a:cubicBezTo>
                  <a:pt x="252615" y="69739"/>
                  <a:pt x="261099" y="78715"/>
                  <a:pt x="270660" y="86342"/>
                </a:cubicBezTo>
                <a:cubicBezTo>
                  <a:pt x="297676" y="107892"/>
                  <a:pt x="310731" y="136225"/>
                  <a:pt x="313142" y="170098"/>
                </a:cubicBezTo>
                <a:cubicBezTo>
                  <a:pt x="313287" y="172136"/>
                  <a:pt x="313335" y="174188"/>
                  <a:pt x="313291" y="176231"/>
                </a:cubicBezTo>
                <a:cubicBezTo>
                  <a:pt x="313265" y="177429"/>
                  <a:pt x="312966" y="178621"/>
                  <a:pt x="312654" y="180738"/>
                </a:cubicBezTo>
                <a:cubicBezTo>
                  <a:pt x="302343" y="185396"/>
                  <a:pt x="290736" y="185049"/>
                  <a:pt x="279655" y="186226"/>
                </a:cubicBezTo>
                <a:cubicBezTo>
                  <a:pt x="242295" y="190193"/>
                  <a:pt x="204847" y="193324"/>
                  <a:pt x="167436" y="196805"/>
                </a:cubicBezTo>
                <a:cubicBezTo>
                  <a:pt x="165405" y="196994"/>
                  <a:pt x="163399" y="197449"/>
                  <a:pt x="160234" y="197876"/>
                </a:cubicBezTo>
                <a:close/>
              </a:path>
            </a:pathLst>
          </a:custGeom>
          <a:solidFill>
            <a:srgbClr val="FDFEFE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91" name="Free-form: Shape 290">
            <a:extLst>
              <a:ext uri="{FF2B5EF4-FFF2-40B4-BE49-F238E27FC236}">
                <a16:creationId xmlns:a16="http://schemas.microsoft.com/office/drawing/2014/main" id="{B5063661-8C50-A733-9465-B059E075DE02}"/>
              </a:ext>
            </a:extLst>
          </p:cNvPr>
          <p:cNvSpPr/>
          <p:nvPr/>
        </p:nvSpPr>
        <p:spPr>
          <a:xfrm>
            <a:off x="4416982" y="2111404"/>
            <a:ext cx="149260" cy="361842"/>
          </a:xfrm>
          <a:custGeom>
            <a:avLst/>
            <a:gdLst>
              <a:gd name="csX0" fmla="*/ 22609 w 164186"/>
              <a:gd name="csY0" fmla="*/ 398026 h 398026"/>
              <a:gd name="csX1" fmla="*/ 16884 w 164186"/>
              <a:gd name="csY1" fmla="*/ 390515 h 398026"/>
              <a:gd name="csX2" fmla="*/ 9661 w 164186"/>
              <a:gd name="csY2" fmla="*/ 328443 h 398026"/>
              <a:gd name="csX3" fmla="*/ 534 w 164186"/>
              <a:gd name="csY3" fmla="*/ 196369 h 398026"/>
              <a:gd name="csX4" fmla="*/ 1243 w 164186"/>
              <a:gd name="csY4" fmla="*/ 82293 h 398026"/>
              <a:gd name="csX5" fmla="*/ 2245 w 164186"/>
              <a:gd name="csY5" fmla="*/ 43023 h 398026"/>
              <a:gd name="csX6" fmla="*/ 4587 w 164186"/>
              <a:gd name="csY6" fmla="*/ 0 h 398026"/>
              <a:gd name="csX7" fmla="*/ 12341 w 164186"/>
              <a:gd name="csY7" fmla="*/ 3872 h 398026"/>
              <a:gd name="csX8" fmla="*/ 85914 w 164186"/>
              <a:gd name="csY8" fmla="*/ 78943 h 398026"/>
              <a:gd name="csX9" fmla="*/ 87893 w 164186"/>
              <a:gd name="csY9" fmla="*/ 99117 h 398026"/>
              <a:gd name="csX10" fmla="*/ 35459 w 164186"/>
              <a:gd name="csY10" fmla="*/ 207346 h 398026"/>
              <a:gd name="csX11" fmla="*/ 32223 w 164186"/>
              <a:gd name="csY11" fmla="*/ 213959 h 398026"/>
              <a:gd name="csX12" fmla="*/ 39509 w 164186"/>
              <a:gd name="csY12" fmla="*/ 242056 h 398026"/>
              <a:gd name="csX13" fmla="*/ 69474 w 164186"/>
              <a:gd name="csY13" fmla="*/ 237019 h 398026"/>
              <a:gd name="csX14" fmla="*/ 89101 w 164186"/>
              <a:gd name="csY14" fmla="*/ 208870 h 398026"/>
              <a:gd name="csX15" fmla="*/ 121716 w 164186"/>
              <a:gd name="csY15" fmla="*/ 158357 h 398026"/>
              <a:gd name="csX16" fmla="*/ 129330 w 164186"/>
              <a:gd name="csY16" fmla="*/ 148165 h 398026"/>
              <a:gd name="csX17" fmla="*/ 137171 w 164186"/>
              <a:gd name="csY17" fmla="*/ 159989 h 398026"/>
              <a:gd name="csX18" fmla="*/ 163812 w 164186"/>
              <a:gd name="csY18" fmla="*/ 273175 h 398026"/>
              <a:gd name="csX19" fmla="*/ 118151 w 164186"/>
              <a:gd name="csY19" fmla="*/ 383442 h 398026"/>
              <a:gd name="csX20" fmla="*/ 92325 w 164186"/>
              <a:gd name="csY20" fmla="*/ 395173 h 398026"/>
              <a:gd name="csX21" fmla="*/ 22609 w 164186"/>
              <a:gd name="csY21" fmla="*/ 398026 h 39802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</a:cxnLst>
            <a:rect l="l" t="t" r="r" b="b"/>
            <a:pathLst>
              <a:path w="164186" h="398026">
                <a:moveTo>
                  <a:pt x="22609" y="398026"/>
                </a:moveTo>
                <a:cubicBezTo>
                  <a:pt x="19898" y="395489"/>
                  <a:pt x="17229" y="393154"/>
                  <a:pt x="16884" y="390515"/>
                </a:cubicBezTo>
                <a:cubicBezTo>
                  <a:pt x="14183" y="369861"/>
                  <a:pt x="11326" y="349196"/>
                  <a:pt x="9661" y="328443"/>
                </a:cubicBezTo>
                <a:cubicBezTo>
                  <a:pt x="6132" y="284452"/>
                  <a:pt x="2125" y="240448"/>
                  <a:pt x="534" y="196369"/>
                </a:cubicBezTo>
                <a:cubicBezTo>
                  <a:pt x="-837" y="158401"/>
                  <a:pt x="816" y="120322"/>
                  <a:pt x="1243" y="82293"/>
                </a:cubicBezTo>
                <a:cubicBezTo>
                  <a:pt x="1389" y="69201"/>
                  <a:pt x="1708" y="56105"/>
                  <a:pt x="2245" y="43023"/>
                </a:cubicBezTo>
                <a:cubicBezTo>
                  <a:pt x="2815" y="29160"/>
                  <a:pt x="3738" y="15312"/>
                  <a:pt x="4587" y="0"/>
                </a:cubicBezTo>
                <a:cubicBezTo>
                  <a:pt x="7809" y="1586"/>
                  <a:pt x="10279" y="2436"/>
                  <a:pt x="12341" y="3872"/>
                </a:cubicBezTo>
                <a:cubicBezTo>
                  <a:pt x="41601" y="24248"/>
                  <a:pt x="64069" y="51269"/>
                  <a:pt x="85914" y="78943"/>
                </a:cubicBezTo>
                <a:cubicBezTo>
                  <a:pt x="91106" y="85520"/>
                  <a:pt x="91706" y="91406"/>
                  <a:pt x="87893" y="99117"/>
                </a:cubicBezTo>
                <a:cubicBezTo>
                  <a:pt x="70127" y="135051"/>
                  <a:pt x="52890" y="171246"/>
                  <a:pt x="35459" y="207346"/>
                </a:cubicBezTo>
                <a:cubicBezTo>
                  <a:pt x="34391" y="209557"/>
                  <a:pt x="33130" y="211686"/>
                  <a:pt x="32223" y="213959"/>
                </a:cubicBezTo>
                <a:cubicBezTo>
                  <a:pt x="27471" y="225873"/>
                  <a:pt x="30154" y="236086"/>
                  <a:pt x="39509" y="242056"/>
                </a:cubicBezTo>
                <a:cubicBezTo>
                  <a:pt x="48880" y="248038"/>
                  <a:pt x="61705" y="246477"/>
                  <a:pt x="69474" y="237019"/>
                </a:cubicBezTo>
                <a:cubicBezTo>
                  <a:pt x="76712" y="228205"/>
                  <a:pt x="82824" y="218436"/>
                  <a:pt x="89101" y="208870"/>
                </a:cubicBezTo>
                <a:cubicBezTo>
                  <a:pt x="100096" y="192114"/>
                  <a:pt x="110806" y="175170"/>
                  <a:pt x="121716" y="158357"/>
                </a:cubicBezTo>
                <a:cubicBezTo>
                  <a:pt x="123679" y="155333"/>
                  <a:pt x="126029" y="152559"/>
                  <a:pt x="129330" y="148165"/>
                </a:cubicBezTo>
                <a:cubicBezTo>
                  <a:pt x="132450" y="152828"/>
                  <a:pt x="135175" y="156216"/>
                  <a:pt x="137171" y="159989"/>
                </a:cubicBezTo>
                <a:cubicBezTo>
                  <a:pt x="155891" y="195388"/>
                  <a:pt x="166343" y="232905"/>
                  <a:pt x="163812" y="273175"/>
                </a:cubicBezTo>
                <a:cubicBezTo>
                  <a:pt x="161183" y="314982"/>
                  <a:pt x="144984" y="351430"/>
                  <a:pt x="118151" y="383442"/>
                </a:cubicBezTo>
                <a:cubicBezTo>
                  <a:pt x="111214" y="391718"/>
                  <a:pt x="102452" y="394716"/>
                  <a:pt x="92325" y="395173"/>
                </a:cubicBezTo>
                <a:cubicBezTo>
                  <a:pt x="69461" y="396207"/>
                  <a:pt x="46593" y="397123"/>
                  <a:pt x="22609" y="398026"/>
                </a:cubicBezTo>
                <a:close/>
              </a:path>
            </a:pathLst>
          </a:custGeom>
          <a:solidFill>
            <a:srgbClr val="FCFDFD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92" name="Free-form: Shape 291">
            <a:extLst>
              <a:ext uri="{FF2B5EF4-FFF2-40B4-BE49-F238E27FC236}">
                <a16:creationId xmlns:a16="http://schemas.microsoft.com/office/drawing/2014/main" id="{B35F8116-3A0D-8EDD-F530-0606D5B077F3}"/>
              </a:ext>
            </a:extLst>
          </p:cNvPr>
          <p:cNvSpPr/>
          <p:nvPr/>
        </p:nvSpPr>
        <p:spPr>
          <a:xfrm>
            <a:off x="4402875" y="3337195"/>
            <a:ext cx="305850" cy="64961"/>
          </a:xfrm>
          <a:custGeom>
            <a:avLst/>
            <a:gdLst>
              <a:gd name="csX0" fmla="*/ 105937 w 336434"/>
              <a:gd name="csY0" fmla="*/ 71458 h 71457"/>
              <a:gd name="csX1" fmla="*/ 3534 w 336434"/>
              <a:gd name="csY1" fmla="*/ 69115 h 71457"/>
              <a:gd name="csX2" fmla="*/ 1296 w 336434"/>
              <a:gd name="csY2" fmla="*/ 17910 h 71457"/>
              <a:gd name="csX3" fmla="*/ 14032 w 336434"/>
              <a:gd name="csY3" fmla="*/ 17908 h 71457"/>
              <a:gd name="csX4" fmla="*/ 102444 w 336434"/>
              <a:gd name="csY4" fmla="*/ 17433 h 71457"/>
              <a:gd name="csX5" fmla="*/ 284561 w 336434"/>
              <a:gd name="csY5" fmla="*/ 3564 h 71457"/>
              <a:gd name="csX6" fmla="*/ 311323 w 336434"/>
              <a:gd name="csY6" fmla="*/ 224 h 71457"/>
              <a:gd name="csX7" fmla="*/ 324313 w 336434"/>
              <a:gd name="csY7" fmla="*/ 6639 h 71457"/>
              <a:gd name="csX8" fmla="*/ 336434 w 336434"/>
              <a:gd name="csY8" fmla="*/ 46484 h 71457"/>
              <a:gd name="csX9" fmla="*/ 105937 w 336434"/>
              <a:gd name="csY9" fmla="*/ 71458 h 7145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336434" h="71457">
                <a:moveTo>
                  <a:pt x="105937" y="71458"/>
                </a:moveTo>
                <a:cubicBezTo>
                  <a:pt x="70820" y="70678"/>
                  <a:pt x="36930" y="69891"/>
                  <a:pt x="3534" y="69115"/>
                </a:cubicBezTo>
                <a:cubicBezTo>
                  <a:pt x="-81" y="59433"/>
                  <a:pt x="-1094" y="35337"/>
                  <a:pt x="1296" y="17910"/>
                </a:cubicBezTo>
                <a:cubicBezTo>
                  <a:pt x="5366" y="17910"/>
                  <a:pt x="9699" y="17923"/>
                  <a:pt x="14032" y="17908"/>
                </a:cubicBezTo>
                <a:cubicBezTo>
                  <a:pt x="43505" y="17812"/>
                  <a:pt x="73011" y="18557"/>
                  <a:pt x="102444" y="17433"/>
                </a:cubicBezTo>
                <a:cubicBezTo>
                  <a:pt x="163306" y="15109"/>
                  <a:pt x="224166" y="12264"/>
                  <a:pt x="284561" y="3564"/>
                </a:cubicBezTo>
                <a:cubicBezTo>
                  <a:pt x="293458" y="2283"/>
                  <a:pt x="302438" y="1575"/>
                  <a:pt x="311323" y="224"/>
                </a:cubicBezTo>
                <a:cubicBezTo>
                  <a:pt x="317371" y="-696"/>
                  <a:pt x="321247" y="1177"/>
                  <a:pt x="324313" y="6639"/>
                </a:cubicBezTo>
                <a:cubicBezTo>
                  <a:pt x="330512" y="17683"/>
                  <a:pt x="335236" y="31679"/>
                  <a:pt x="336434" y="46484"/>
                </a:cubicBezTo>
                <a:cubicBezTo>
                  <a:pt x="261124" y="64059"/>
                  <a:pt x="184356" y="69587"/>
                  <a:pt x="105937" y="71458"/>
                </a:cubicBezTo>
                <a:close/>
              </a:path>
            </a:pathLst>
          </a:custGeom>
          <a:solidFill>
            <a:srgbClr val="FCFCFC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93" name="Free-form: Shape 292">
            <a:extLst>
              <a:ext uri="{FF2B5EF4-FFF2-40B4-BE49-F238E27FC236}">
                <a16:creationId xmlns:a16="http://schemas.microsoft.com/office/drawing/2014/main" id="{4725809C-790C-9A60-A758-863693B83845}"/>
              </a:ext>
            </a:extLst>
          </p:cNvPr>
          <p:cNvSpPr/>
          <p:nvPr/>
        </p:nvSpPr>
        <p:spPr>
          <a:xfrm>
            <a:off x="4416432" y="2506471"/>
            <a:ext cx="120683" cy="63097"/>
          </a:xfrm>
          <a:custGeom>
            <a:avLst/>
            <a:gdLst>
              <a:gd name="csX0" fmla="*/ 5051 w 132751"/>
              <a:gd name="csY0" fmla="*/ 7534 h 69406"/>
              <a:gd name="csX1" fmla="*/ 10615 w 132751"/>
              <a:gd name="csY1" fmla="*/ 3077 h 69406"/>
              <a:gd name="csX2" fmla="*/ 26541 w 132751"/>
              <a:gd name="csY2" fmla="*/ 2752 h 69406"/>
              <a:gd name="csX3" fmla="*/ 87728 w 132751"/>
              <a:gd name="csY3" fmla="*/ 89 h 69406"/>
              <a:gd name="csX4" fmla="*/ 101400 w 132751"/>
              <a:gd name="csY4" fmla="*/ 62 h 69406"/>
              <a:gd name="csX5" fmla="*/ 102924 w 132751"/>
              <a:gd name="csY5" fmla="*/ 4800 h 69406"/>
              <a:gd name="csX6" fmla="*/ 121469 w 132751"/>
              <a:gd name="csY6" fmla="*/ 43062 h 69406"/>
              <a:gd name="csX7" fmla="*/ 132751 w 132751"/>
              <a:gd name="csY7" fmla="*/ 65240 h 69406"/>
              <a:gd name="csX8" fmla="*/ 0 w 132751"/>
              <a:gd name="csY8" fmla="*/ 69406 h 69406"/>
              <a:gd name="csX9" fmla="*/ 5051 w 132751"/>
              <a:gd name="csY9" fmla="*/ 7534 h 6940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132751" h="69406">
                <a:moveTo>
                  <a:pt x="5051" y="7534"/>
                </a:moveTo>
                <a:cubicBezTo>
                  <a:pt x="6880" y="5272"/>
                  <a:pt x="8659" y="3268"/>
                  <a:pt x="10615" y="3077"/>
                </a:cubicBezTo>
                <a:cubicBezTo>
                  <a:pt x="15884" y="2564"/>
                  <a:pt x="21234" y="2972"/>
                  <a:pt x="26541" y="2752"/>
                </a:cubicBezTo>
                <a:cubicBezTo>
                  <a:pt x="46938" y="1911"/>
                  <a:pt x="67330" y="933"/>
                  <a:pt x="87728" y="89"/>
                </a:cubicBezTo>
                <a:cubicBezTo>
                  <a:pt x="92161" y="-94"/>
                  <a:pt x="96609" y="62"/>
                  <a:pt x="101400" y="62"/>
                </a:cubicBezTo>
                <a:cubicBezTo>
                  <a:pt x="101991" y="1827"/>
                  <a:pt x="102885" y="3302"/>
                  <a:pt x="102924" y="4800"/>
                </a:cubicBezTo>
                <a:cubicBezTo>
                  <a:pt x="103334" y="20376"/>
                  <a:pt x="108815" y="33165"/>
                  <a:pt x="121469" y="43062"/>
                </a:cubicBezTo>
                <a:cubicBezTo>
                  <a:pt x="127809" y="48021"/>
                  <a:pt x="132509" y="54869"/>
                  <a:pt x="132751" y="65240"/>
                </a:cubicBezTo>
                <a:cubicBezTo>
                  <a:pt x="88663" y="66624"/>
                  <a:pt x="45259" y="67986"/>
                  <a:pt x="0" y="69406"/>
                </a:cubicBezTo>
                <a:cubicBezTo>
                  <a:pt x="6474" y="48167"/>
                  <a:pt x="10658" y="28665"/>
                  <a:pt x="5051" y="7534"/>
                </a:cubicBezTo>
                <a:close/>
              </a:path>
            </a:pathLst>
          </a:custGeom>
          <a:solidFill>
            <a:srgbClr val="FBFCFB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94" name="Free-form: Shape 293">
            <a:extLst>
              <a:ext uri="{FF2B5EF4-FFF2-40B4-BE49-F238E27FC236}">
                <a16:creationId xmlns:a16="http://schemas.microsoft.com/office/drawing/2014/main" id="{5393C0E2-2930-C535-01F5-949475A135A5}"/>
              </a:ext>
            </a:extLst>
          </p:cNvPr>
          <p:cNvSpPr/>
          <p:nvPr/>
        </p:nvSpPr>
        <p:spPr>
          <a:xfrm>
            <a:off x="4426069" y="2596085"/>
            <a:ext cx="150878" cy="35402"/>
          </a:xfrm>
          <a:custGeom>
            <a:avLst/>
            <a:gdLst>
              <a:gd name="csX0" fmla="*/ 80894 w 165965"/>
              <a:gd name="csY0" fmla="*/ 440 h 38942"/>
              <a:gd name="csX1" fmla="*/ 128629 w 165965"/>
              <a:gd name="csY1" fmla="*/ 5 h 38942"/>
              <a:gd name="csX2" fmla="*/ 155177 w 165965"/>
              <a:gd name="csY2" fmla="*/ 8091 h 38942"/>
              <a:gd name="csX3" fmla="*/ 164213 w 165965"/>
              <a:gd name="csY3" fmla="*/ 17723 h 38942"/>
              <a:gd name="csX4" fmla="*/ 159998 w 165965"/>
              <a:gd name="csY4" fmla="*/ 30717 h 38942"/>
              <a:gd name="csX5" fmla="*/ 146998 w 165965"/>
              <a:gd name="csY5" fmla="*/ 33737 h 38942"/>
              <a:gd name="csX6" fmla="*/ 12439 w 165965"/>
              <a:gd name="csY6" fmla="*/ 38914 h 38942"/>
              <a:gd name="csX7" fmla="*/ 0 w 165965"/>
              <a:gd name="csY7" fmla="*/ 38402 h 38942"/>
              <a:gd name="csX8" fmla="*/ 0 w 165965"/>
              <a:gd name="csY8" fmla="*/ 4598 h 38942"/>
              <a:gd name="csX9" fmla="*/ 80894 w 165965"/>
              <a:gd name="csY9" fmla="*/ 440 h 3894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165965" h="38942">
                <a:moveTo>
                  <a:pt x="80894" y="440"/>
                </a:moveTo>
                <a:cubicBezTo>
                  <a:pt x="97591" y="288"/>
                  <a:pt x="113111" y="227"/>
                  <a:pt x="128629" y="5"/>
                </a:cubicBezTo>
                <a:cubicBezTo>
                  <a:pt x="138376" y="-135"/>
                  <a:pt x="147226" y="2891"/>
                  <a:pt x="155177" y="8091"/>
                </a:cubicBezTo>
                <a:cubicBezTo>
                  <a:pt x="158779" y="10447"/>
                  <a:pt x="161992" y="14009"/>
                  <a:pt x="164213" y="17723"/>
                </a:cubicBezTo>
                <a:cubicBezTo>
                  <a:pt x="167602" y="23390"/>
                  <a:pt x="166013" y="28134"/>
                  <a:pt x="159998" y="30717"/>
                </a:cubicBezTo>
                <a:cubicBezTo>
                  <a:pt x="155963" y="32450"/>
                  <a:pt x="151384" y="33554"/>
                  <a:pt x="146998" y="33737"/>
                </a:cubicBezTo>
                <a:cubicBezTo>
                  <a:pt x="102152" y="35619"/>
                  <a:pt x="57295" y="37279"/>
                  <a:pt x="12439" y="38914"/>
                </a:cubicBezTo>
                <a:cubicBezTo>
                  <a:pt x="8467" y="39059"/>
                  <a:pt x="4472" y="38602"/>
                  <a:pt x="0" y="38402"/>
                </a:cubicBezTo>
                <a:cubicBezTo>
                  <a:pt x="0" y="27166"/>
                  <a:pt x="0" y="16774"/>
                  <a:pt x="0" y="4598"/>
                </a:cubicBezTo>
                <a:cubicBezTo>
                  <a:pt x="27063" y="3194"/>
                  <a:pt x="53389" y="1829"/>
                  <a:pt x="80894" y="440"/>
                </a:cubicBezTo>
                <a:close/>
              </a:path>
            </a:pathLst>
          </a:custGeom>
          <a:solidFill>
            <a:srgbClr val="FBFCFB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95" name="Free-form: Shape 294">
            <a:extLst>
              <a:ext uri="{FF2B5EF4-FFF2-40B4-BE49-F238E27FC236}">
                <a16:creationId xmlns:a16="http://schemas.microsoft.com/office/drawing/2014/main" id="{2D2DD074-E893-F926-CFBB-ECA3B9AE588A}"/>
              </a:ext>
            </a:extLst>
          </p:cNvPr>
          <p:cNvSpPr/>
          <p:nvPr/>
        </p:nvSpPr>
        <p:spPr>
          <a:xfrm>
            <a:off x="4409920" y="2035261"/>
            <a:ext cx="39402" cy="42156"/>
          </a:xfrm>
          <a:custGeom>
            <a:avLst/>
            <a:gdLst>
              <a:gd name="csX0" fmla="*/ 40602 w 43343"/>
              <a:gd name="csY0" fmla="*/ 12465 h 46372"/>
              <a:gd name="csX1" fmla="*/ 43214 w 43343"/>
              <a:gd name="csY1" fmla="*/ 21324 h 46372"/>
              <a:gd name="csX2" fmla="*/ 23859 w 43343"/>
              <a:gd name="csY2" fmla="*/ 46319 h 46372"/>
              <a:gd name="csX3" fmla="*/ 5 w 43343"/>
              <a:gd name="csY3" fmla="*/ 23820 h 46372"/>
              <a:gd name="csX4" fmla="*/ 4855 w 43343"/>
              <a:gd name="csY4" fmla="*/ 5679 h 46372"/>
              <a:gd name="csX5" fmla="*/ 40602 w 43343"/>
              <a:gd name="csY5" fmla="*/ 12465 h 4637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</a:cxnLst>
            <a:rect l="l" t="t" r="r" b="b"/>
            <a:pathLst>
              <a:path w="43343" h="46372">
                <a:moveTo>
                  <a:pt x="40602" y="12465"/>
                </a:moveTo>
                <a:cubicBezTo>
                  <a:pt x="41913" y="15811"/>
                  <a:pt x="42933" y="18530"/>
                  <a:pt x="43214" y="21324"/>
                </a:cubicBezTo>
                <a:cubicBezTo>
                  <a:pt x="44519" y="34348"/>
                  <a:pt x="35870" y="45401"/>
                  <a:pt x="23859" y="46319"/>
                </a:cubicBezTo>
                <a:cubicBezTo>
                  <a:pt x="11890" y="47233"/>
                  <a:pt x="-280" y="36371"/>
                  <a:pt x="5" y="23820"/>
                </a:cubicBezTo>
                <a:cubicBezTo>
                  <a:pt x="136" y="18011"/>
                  <a:pt x="2893" y="12263"/>
                  <a:pt x="4855" y="5679"/>
                </a:cubicBezTo>
                <a:cubicBezTo>
                  <a:pt x="20601" y="-3403"/>
                  <a:pt x="28004" y="-1910"/>
                  <a:pt x="40602" y="12465"/>
                </a:cubicBezTo>
                <a:close/>
              </a:path>
            </a:pathLst>
          </a:custGeom>
          <a:solidFill>
            <a:srgbClr val="FBFCFB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96" name="Oval 295">
            <a:extLst>
              <a:ext uri="{FF2B5EF4-FFF2-40B4-BE49-F238E27FC236}">
                <a16:creationId xmlns:a16="http://schemas.microsoft.com/office/drawing/2014/main" id="{77A898C5-B43F-11C9-5CCC-571319709D9D}"/>
              </a:ext>
            </a:extLst>
          </p:cNvPr>
          <p:cNvSpPr/>
          <p:nvPr/>
        </p:nvSpPr>
        <p:spPr>
          <a:xfrm>
            <a:off x="6154091" y="5332182"/>
            <a:ext cx="717698" cy="104135"/>
          </a:xfrm>
          <a:prstGeom prst="ellipse">
            <a:avLst/>
          </a:prstGeom>
          <a:solidFill>
            <a:schemeClr val="tx1">
              <a:alpha val="6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97" name="Free-form: Shape 296">
            <a:extLst>
              <a:ext uri="{FF2B5EF4-FFF2-40B4-BE49-F238E27FC236}">
                <a16:creationId xmlns:a16="http://schemas.microsoft.com/office/drawing/2014/main" id="{C1639E53-D534-2207-92A2-D60A4F433810}"/>
              </a:ext>
            </a:extLst>
          </p:cNvPr>
          <p:cNvSpPr/>
          <p:nvPr/>
        </p:nvSpPr>
        <p:spPr>
          <a:xfrm>
            <a:off x="6249135" y="4138298"/>
            <a:ext cx="634942" cy="1266262"/>
          </a:xfrm>
          <a:custGeom>
            <a:avLst/>
            <a:gdLst>
              <a:gd name="csX0" fmla="*/ 703087 w 763849"/>
              <a:gd name="csY0" fmla="*/ 1241174 h 1523340"/>
              <a:gd name="csX1" fmla="*/ 732932 w 763849"/>
              <a:gd name="csY1" fmla="*/ 1359634 h 1523340"/>
              <a:gd name="csX2" fmla="*/ 735544 w 763849"/>
              <a:gd name="csY2" fmla="*/ 1377287 h 1523340"/>
              <a:gd name="csX3" fmla="*/ 756764 w 763849"/>
              <a:gd name="csY3" fmla="*/ 1458577 h 1523340"/>
              <a:gd name="csX4" fmla="*/ 757108 w 763849"/>
              <a:gd name="csY4" fmla="*/ 1465940 h 1523340"/>
              <a:gd name="csX5" fmla="*/ 744215 w 763849"/>
              <a:gd name="csY5" fmla="*/ 1488332 h 1523340"/>
              <a:gd name="csX6" fmla="*/ 712781 w 763849"/>
              <a:gd name="csY6" fmla="*/ 1498472 h 1523340"/>
              <a:gd name="csX7" fmla="*/ 625540 w 763849"/>
              <a:gd name="csY7" fmla="*/ 1511981 h 1523340"/>
              <a:gd name="csX8" fmla="*/ 488540 w 763849"/>
              <a:gd name="csY8" fmla="*/ 1522029 h 1523340"/>
              <a:gd name="csX9" fmla="*/ 306789 w 763849"/>
              <a:gd name="csY9" fmla="*/ 1523231 h 1523340"/>
              <a:gd name="csX10" fmla="*/ 200103 w 763849"/>
              <a:gd name="csY10" fmla="*/ 1518579 h 1523340"/>
              <a:gd name="csX11" fmla="*/ 31607 w 763849"/>
              <a:gd name="csY11" fmla="*/ 1493880 h 1523340"/>
              <a:gd name="csX12" fmla="*/ 5860 w 763849"/>
              <a:gd name="csY12" fmla="*/ 1482933 h 1523340"/>
              <a:gd name="csX13" fmla="*/ 32 w 763849"/>
              <a:gd name="csY13" fmla="*/ 1471774 h 1523340"/>
              <a:gd name="csX14" fmla="*/ 21295 w 763849"/>
              <a:gd name="csY14" fmla="*/ 1378237 h 1523340"/>
              <a:gd name="csX15" fmla="*/ 23169 w 763849"/>
              <a:gd name="csY15" fmla="*/ 1364271 h 1523340"/>
              <a:gd name="csX16" fmla="*/ 23871 w 763849"/>
              <a:gd name="csY16" fmla="*/ 1303132 h 1523340"/>
              <a:gd name="csX17" fmla="*/ 59740 w 763849"/>
              <a:gd name="csY17" fmla="*/ 1234649 h 1523340"/>
              <a:gd name="csX18" fmla="*/ 98899 w 763849"/>
              <a:gd name="csY18" fmla="*/ 1195619 h 1523340"/>
              <a:gd name="csX19" fmla="*/ 131493 w 763849"/>
              <a:gd name="csY19" fmla="*/ 1127593 h 1523340"/>
              <a:gd name="csX20" fmla="*/ 108213 w 763849"/>
              <a:gd name="csY20" fmla="*/ 1058723 h 1523340"/>
              <a:gd name="csX21" fmla="*/ 74370 w 763849"/>
              <a:gd name="csY21" fmla="*/ 1024929 h 1523340"/>
              <a:gd name="csX22" fmla="*/ 68137 w 763849"/>
              <a:gd name="csY22" fmla="*/ 987550 h 1523340"/>
              <a:gd name="csX23" fmla="*/ 86420 w 763849"/>
              <a:gd name="csY23" fmla="*/ 941991 h 1523340"/>
              <a:gd name="csX24" fmla="*/ 97082 w 763849"/>
              <a:gd name="csY24" fmla="*/ 828037 h 1523340"/>
              <a:gd name="csX25" fmla="*/ 61782 w 763849"/>
              <a:gd name="csY25" fmla="*/ 696973 h 1523340"/>
              <a:gd name="csX26" fmla="*/ 26901 w 763849"/>
              <a:gd name="csY26" fmla="*/ 547868 h 1523340"/>
              <a:gd name="csX27" fmla="*/ 20221 w 763849"/>
              <a:gd name="csY27" fmla="*/ 479529 h 1523340"/>
              <a:gd name="csX28" fmla="*/ 40808 w 763849"/>
              <a:gd name="csY28" fmla="*/ 334388 h 1523340"/>
              <a:gd name="csX29" fmla="*/ 65171 w 763849"/>
              <a:gd name="csY29" fmla="*/ 263707 h 1523340"/>
              <a:gd name="csX30" fmla="*/ 142827 w 763849"/>
              <a:gd name="csY30" fmla="*/ 171003 h 1523340"/>
              <a:gd name="csX31" fmla="*/ 172290 w 763849"/>
              <a:gd name="csY31" fmla="*/ 155872 h 1523340"/>
              <a:gd name="csX32" fmla="*/ 189008 w 763849"/>
              <a:gd name="csY32" fmla="*/ 148158 h 1523340"/>
              <a:gd name="csX33" fmla="*/ 212828 w 763849"/>
              <a:gd name="csY33" fmla="*/ 126123 h 1523340"/>
              <a:gd name="csX34" fmla="*/ 217217 w 763849"/>
              <a:gd name="csY34" fmla="*/ 118740 h 1523340"/>
              <a:gd name="csX35" fmla="*/ 253000 w 763849"/>
              <a:gd name="csY35" fmla="*/ 88998 h 1523340"/>
              <a:gd name="csX36" fmla="*/ 322085 w 763849"/>
              <a:gd name="csY36" fmla="*/ 72193 h 1523340"/>
              <a:gd name="csX37" fmla="*/ 330478 w 763849"/>
              <a:gd name="csY37" fmla="*/ 70387 h 1523340"/>
              <a:gd name="csX38" fmla="*/ 388016 w 763849"/>
              <a:gd name="csY38" fmla="*/ 35457 h 1523340"/>
              <a:gd name="csX39" fmla="*/ 421527 w 763849"/>
              <a:gd name="csY39" fmla="*/ 0 h 1523340"/>
              <a:gd name="csX40" fmla="*/ 424538 w 763849"/>
              <a:gd name="csY40" fmla="*/ 10833 h 1523340"/>
              <a:gd name="csX41" fmla="*/ 436339 w 763849"/>
              <a:gd name="csY41" fmla="*/ 121836 h 1523340"/>
              <a:gd name="csX42" fmla="*/ 449983 w 763849"/>
              <a:gd name="csY42" fmla="*/ 141450 h 1523340"/>
              <a:gd name="csX43" fmla="*/ 503299 w 763849"/>
              <a:gd name="csY43" fmla="*/ 169290 h 1523340"/>
              <a:gd name="csX44" fmla="*/ 551461 w 763849"/>
              <a:gd name="csY44" fmla="*/ 203111 h 1523340"/>
              <a:gd name="csX45" fmla="*/ 588803 w 763849"/>
              <a:gd name="csY45" fmla="*/ 252797 h 1523340"/>
              <a:gd name="csX46" fmla="*/ 634209 w 763849"/>
              <a:gd name="csY46" fmla="*/ 327081 h 1523340"/>
              <a:gd name="csX47" fmla="*/ 697923 w 763849"/>
              <a:gd name="csY47" fmla="*/ 384157 h 1523340"/>
              <a:gd name="csX48" fmla="*/ 729658 w 763849"/>
              <a:gd name="csY48" fmla="*/ 407288 h 1523340"/>
              <a:gd name="csX49" fmla="*/ 763354 w 763849"/>
              <a:gd name="csY49" fmla="*/ 471325 h 1523340"/>
              <a:gd name="csX50" fmla="*/ 757092 w 763849"/>
              <a:gd name="csY50" fmla="*/ 527116 h 1523340"/>
              <a:gd name="csX51" fmla="*/ 720673 w 763849"/>
              <a:gd name="csY51" fmla="*/ 570023 h 1523340"/>
              <a:gd name="csX52" fmla="*/ 704918 w 763849"/>
              <a:gd name="csY52" fmla="*/ 581294 h 1523340"/>
              <a:gd name="csX53" fmla="*/ 671960 w 763849"/>
              <a:gd name="csY53" fmla="*/ 595325 h 1523340"/>
              <a:gd name="csX54" fmla="*/ 633021 w 763849"/>
              <a:gd name="csY54" fmla="*/ 591397 h 1523340"/>
              <a:gd name="csX55" fmla="*/ 580696 w 763849"/>
              <a:gd name="csY55" fmla="*/ 556742 h 1523340"/>
              <a:gd name="csX56" fmla="*/ 545415 w 763849"/>
              <a:gd name="csY56" fmla="*/ 524617 h 1523340"/>
              <a:gd name="csX57" fmla="*/ 518889 w 763849"/>
              <a:gd name="csY57" fmla="*/ 516179 h 1523340"/>
              <a:gd name="csX58" fmla="*/ 472309 w 763849"/>
              <a:gd name="csY58" fmla="*/ 517812 h 1523340"/>
              <a:gd name="csX59" fmla="*/ 415953 w 763849"/>
              <a:gd name="csY59" fmla="*/ 517245 h 1523340"/>
              <a:gd name="csX60" fmla="*/ 403392 w 763849"/>
              <a:gd name="csY60" fmla="*/ 516539 h 1523340"/>
              <a:gd name="csX61" fmla="*/ 407957 w 763849"/>
              <a:gd name="csY61" fmla="*/ 542045 h 1523340"/>
              <a:gd name="csX62" fmla="*/ 434134 w 763849"/>
              <a:gd name="csY62" fmla="*/ 583349 h 1523340"/>
              <a:gd name="csX63" fmla="*/ 524267 w 763849"/>
              <a:gd name="csY63" fmla="*/ 683922 h 1523340"/>
              <a:gd name="csX64" fmla="*/ 614317 w 763849"/>
              <a:gd name="csY64" fmla="*/ 786085 h 1523340"/>
              <a:gd name="csX65" fmla="*/ 669590 w 763849"/>
              <a:gd name="csY65" fmla="*/ 921089 h 1523340"/>
              <a:gd name="csX66" fmla="*/ 647360 w 763849"/>
              <a:gd name="csY66" fmla="*/ 1057245 h 1523340"/>
              <a:gd name="csX67" fmla="*/ 627872 w 763849"/>
              <a:gd name="csY67" fmla="*/ 1102111 h 1523340"/>
              <a:gd name="csX68" fmla="*/ 642300 w 763849"/>
              <a:gd name="csY68" fmla="*/ 1175941 h 1523340"/>
              <a:gd name="csX69" fmla="*/ 668829 w 763849"/>
              <a:gd name="csY69" fmla="*/ 1206449 h 1523340"/>
              <a:gd name="csX70" fmla="*/ 703087 w 763849"/>
              <a:gd name="csY70" fmla="*/ 1241174 h 1523340"/>
              <a:gd name="csX71" fmla="*/ 648750 w 763849"/>
              <a:gd name="csY71" fmla="*/ 562343 h 1523340"/>
              <a:gd name="csX72" fmla="*/ 674049 w 763849"/>
              <a:gd name="csY72" fmla="*/ 562834 h 1523340"/>
              <a:gd name="csX73" fmla="*/ 660781 w 763849"/>
              <a:gd name="csY73" fmla="*/ 550178 h 1523340"/>
              <a:gd name="csX74" fmla="*/ 650911 w 763849"/>
              <a:gd name="csY74" fmla="*/ 534051 h 1523340"/>
              <a:gd name="csX75" fmla="*/ 660724 w 763849"/>
              <a:gd name="csY75" fmla="*/ 537605 h 1523340"/>
              <a:gd name="csX76" fmla="*/ 688133 w 763849"/>
              <a:gd name="csY76" fmla="*/ 543363 h 1523340"/>
              <a:gd name="csX77" fmla="*/ 731514 w 763849"/>
              <a:gd name="csY77" fmla="*/ 510767 h 1523340"/>
              <a:gd name="csX78" fmla="*/ 733611 w 763849"/>
              <a:gd name="csY78" fmla="*/ 466905 h 1523340"/>
              <a:gd name="csX79" fmla="*/ 708076 w 763849"/>
              <a:gd name="csY79" fmla="*/ 425975 h 1523340"/>
              <a:gd name="csX80" fmla="*/ 667538 w 763849"/>
              <a:gd name="csY80" fmla="*/ 398254 h 1523340"/>
              <a:gd name="csX81" fmla="*/ 601016 w 763849"/>
              <a:gd name="csY81" fmla="*/ 332127 h 1523340"/>
              <a:gd name="csX82" fmla="*/ 565354 w 763849"/>
              <a:gd name="csY82" fmla="*/ 270526 h 1523340"/>
              <a:gd name="csX83" fmla="*/ 490657 w 763849"/>
              <a:gd name="csY83" fmla="*/ 195121 h 1523340"/>
              <a:gd name="csX84" fmla="*/ 432834 w 763849"/>
              <a:gd name="csY84" fmla="*/ 165243 h 1523340"/>
              <a:gd name="csX85" fmla="*/ 407594 w 763849"/>
              <a:gd name="csY85" fmla="*/ 127852 h 1523340"/>
              <a:gd name="csX86" fmla="*/ 405020 w 763849"/>
              <a:gd name="csY86" fmla="*/ 69029 h 1523340"/>
              <a:gd name="csX87" fmla="*/ 403638 w 763849"/>
              <a:gd name="csY87" fmla="*/ 58130 h 1523340"/>
              <a:gd name="csX88" fmla="*/ 349776 w 763849"/>
              <a:gd name="csY88" fmla="*/ 133259 h 1523340"/>
              <a:gd name="csX89" fmla="*/ 326975 w 763849"/>
              <a:gd name="csY89" fmla="*/ 159669 h 1523340"/>
              <a:gd name="csX90" fmla="*/ 240374 w 763849"/>
              <a:gd name="csY90" fmla="*/ 221714 h 1523340"/>
              <a:gd name="csX91" fmla="*/ 171637 w 763849"/>
              <a:gd name="csY91" fmla="*/ 309087 h 1523340"/>
              <a:gd name="csX92" fmla="*/ 138048 w 763849"/>
              <a:gd name="csY92" fmla="*/ 516954 h 1523340"/>
              <a:gd name="csX93" fmla="*/ 163889 w 763849"/>
              <a:gd name="csY93" fmla="*/ 641780 h 1523340"/>
              <a:gd name="csX94" fmla="*/ 204800 w 763849"/>
              <a:gd name="csY94" fmla="*/ 787055 h 1523340"/>
              <a:gd name="csX95" fmla="*/ 218549 w 763849"/>
              <a:gd name="csY95" fmla="*/ 949545 h 1523340"/>
              <a:gd name="csX96" fmla="*/ 191487 w 763849"/>
              <a:gd name="csY96" fmla="*/ 1033064 h 1523340"/>
              <a:gd name="csX97" fmla="*/ 188729 w 763849"/>
              <a:gd name="csY97" fmla="*/ 1039835 h 1523340"/>
              <a:gd name="csX98" fmla="*/ 221417 w 763849"/>
              <a:gd name="csY98" fmla="*/ 1040799 h 1523340"/>
              <a:gd name="csX99" fmla="*/ 348895 w 763849"/>
              <a:gd name="csY99" fmla="*/ 1046759 h 1523340"/>
              <a:gd name="csX100" fmla="*/ 545369 w 763849"/>
              <a:gd name="csY100" fmla="*/ 1044456 h 1523340"/>
              <a:gd name="csX101" fmla="*/ 612424 w 763849"/>
              <a:gd name="csY101" fmla="*/ 1037365 h 1523340"/>
              <a:gd name="csX102" fmla="*/ 623169 w 763849"/>
              <a:gd name="csY102" fmla="*/ 1028873 h 1523340"/>
              <a:gd name="csX103" fmla="*/ 638508 w 763849"/>
              <a:gd name="csY103" fmla="*/ 959599 h 1523340"/>
              <a:gd name="csX104" fmla="*/ 609213 w 763849"/>
              <a:gd name="csY104" fmla="*/ 842075 h 1523340"/>
              <a:gd name="csX105" fmla="*/ 529367 w 763849"/>
              <a:gd name="csY105" fmla="*/ 735065 h 1523340"/>
              <a:gd name="csX106" fmla="*/ 403792 w 763849"/>
              <a:gd name="csY106" fmla="*/ 596993 h 1523340"/>
              <a:gd name="csX107" fmla="*/ 344708 w 763849"/>
              <a:gd name="csY107" fmla="*/ 511366 h 1523340"/>
              <a:gd name="csX108" fmla="*/ 324464 w 763849"/>
              <a:gd name="csY108" fmla="*/ 380084 h 1523340"/>
              <a:gd name="csX109" fmla="*/ 327688 w 763849"/>
              <a:gd name="csY109" fmla="*/ 373535 h 1523340"/>
              <a:gd name="csX110" fmla="*/ 330334 w 763849"/>
              <a:gd name="csY110" fmla="*/ 373641 h 1523340"/>
              <a:gd name="csX111" fmla="*/ 334272 w 763849"/>
              <a:gd name="csY111" fmla="*/ 384645 h 1523340"/>
              <a:gd name="csX112" fmla="*/ 365260 w 763849"/>
              <a:gd name="csY112" fmla="*/ 453955 h 1523340"/>
              <a:gd name="csX113" fmla="*/ 408246 w 763849"/>
              <a:gd name="csY113" fmla="*/ 483592 h 1523340"/>
              <a:gd name="csX114" fmla="*/ 464529 w 763849"/>
              <a:gd name="csY114" fmla="*/ 486187 h 1523340"/>
              <a:gd name="csX115" fmla="*/ 511119 w 763849"/>
              <a:gd name="csY115" fmla="*/ 484308 h 1523340"/>
              <a:gd name="csX116" fmla="*/ 567913 w 763849"/>
              <a:gd name="csY116" fmla="*/ 503736 h 1523340"/>
              <a:gd name="csX117" fmla="*/ 607611 w 763849"/>
              <a:gd name="csY117" fmla="*/ 540326 h 1523340"/>
              <a:gd name="csX118" fmla="*/ 648750 w 763849"/>
              <a:gd name="csY118" fmla="*/ 562343 h 1523340"/>
              <a:gd name="csX119" fmla="*/ 462594 w 763849"/>
              <a:gd name="csY119" fmla="*/ 1369008 h 1523340"/>
              <a:gd name="csX120" fmla="*/ 510357 w 763849"/>
              <a:gd name="csY120" fmla="*/ 1366345 h 1523340"/>
              <a:gd name="csX121" fmla="*/ 549434 w 763849"/>
              <a:gd name="csY121" fmla="*/ 1362956 h 1523340"/>
              <a:gd name="csX122" fmla="*/ 632369 w 763849"/>
              <a:gd name="csY122" fmla="*/ 1354439 h 1523340"/>
              <a:gd name="csX123" fmla="*/ 697252 w 763849"/>
              <a:gd name="csY123" fmla="*/ 1346424 h 1523340"/>
              <a:gd name="csX124" fmla="*/ 676674 w 763849"/>
              <a:gd name="csY124" fmla="*/ 1266396 h 1523340"/>
              <a:gd name="csX125" fmla="*/ 646594 w 763849"/>
              <a:gd name="csY125" fmla="*/ 1234108 h 1523340"/>
              <a:gd name="csX126" fmla="*/ 612063 w 763849"/>
              <a:gd name="csY126" fmla="*/ 1194382 h 1523340"/>
              <a:gd name="csX127" fmla="*/ 591616 w 763849"/>
              <a:gd name="csY127" fmla="*/ 1111541 h 1523340"/>
              <a:gd name="csX128" fmla="*/ 594320 w 763849"/>
              <a:gd name="csY128" fmla="*/ 1089609 h 1523340"/>
              <a:gd name="csX129" fmla="*/ 578634 w 763849"/>
              <a:gd name="csY129" fmla="*/ 1089642 h 1523340"/>
              <a:gd name="csX130" fmla="*/ 443931 w 763849"/>
              <a:gd name="csY130" fmla="*/ 1096700 h 1523340"/>
              <a:gd name="csX131" fmla="*/ 403417 w 763849"/>
              <a:gd name="csY131" fmla="*/ 1097156 h 1523340"/>
              <a:gd name="csX132" fmla="*/ 388348 w 763849"/>
              <a:gd name="csY132" fmla="*/ 1111502 h 1523340"/>
              <a:gd name="csX133" fmla="*/ 385048 w 763849"/>
              <a:gd name="csY133" fmla="*/ 1176431 h 1523340"/>
              <a:gd name="csX134" fmla="*/ 377687 w 763849"/>
              <a:gd name="csY134" fmla="*/ 1308672 h 1523340"/>
              <a:gd name="csX135" fmla="*/ 376823 w 763849"/>
              <a:gd name="csY135" fmla="*/ 1320897 h 1523340"/>
              <a:gd name="csX136" fmla="*/ 376781 w 763849"/>
              <a:gd name="csY136" fmla="*/ 1366151 h 1523340"/>
              <a:gd name="csX137" fmla="*/ 462594 w 763849"/>
              <a:gd name="csY137" fmla="*/ 1369008 h 1523340"/>
              <a:gd name="csX138" fmla="*/ 648494 w 763849"/>
              <a:gd name="csY138" fmla="*/ 1463981 h 1523340"/>
              <a:gd name="csX139" fmla="*/ 718746 w 763849"/>
              <a:gd name="csY139" fmla="*/ 1451892 h 1523340"/>
              <a:gd name="csX140" fmla="*/ 711827 w 763849"/>
              <a:gd name="csY140" fmla="*/ 1416835 h 1523340"/>
              <a:gd name="csX141" fmla="*/ 685812 w 763849"/>
              <a:gd name="csY141" fmla="*/ 1398502 h 1523340"/>
              <a:gd name="csX142" fmla="*/ 680924 w 763849"/>
              <a:gd name="csY142" fmla="*/ 1398973 h 1523340"/>
              <a:gd name="csX143" fmla="*/ 598278 w 763849"/>
              <a:gd name="csY143" fmla="*/ 1409218 h 1523340"/>
              <a:gd name="csX144" fmla="*/ 474765 w 763849"/>
              <a:gd name="csY144" fmla="*/ 1417945 h 1523340"/>
              <a:gd name="csX145" fmla="*/ 385143 w 763849"/>
              <a:gd name="csY145" fmla="*/ 1418978 h 1523340"/>
              <a:gd name="csX146" fmla="*/ 376639 w 763849"/>
              <a:gd name="csY146" fmla="*/ 1419613 h 1523340"/>
              <a:gd name="csX147" fmla="*/ 376639 w 763849"/>
              <a:gd name="csY147" fmla="*/ 1473939 h 1523340"/>
              <a:gd name="csX148" fmla="*/ 382089 w 763849"/>
              <a:gd name="csY148" fmla="*/ 1474854 h 1523340"/>
              <a:gd name="csX149" fmla="*/ 449536 w 763849"/>
              <a:gd name="csY149" fmla="*/ 1476855 h 1523340"/>
              <a:gd name="csX150" fmla="*/ 559930 w 763849"/>
              <a:gd name="csY150" fmla="*/ 1474307 h 1523340"/>
              <a:gd name="csX151" fmla="*/ 648494 w 763849"/>
              <a:gd name="csY151" fmla="*/ 1463981 h 152334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</a:cxnLst>
            <a:rect l="l" t="t" r="r" b="b"/>
            <a:pathLst>
              <a:path w="763849" h="1523340">
                <a:moveTo>
                  <a:pt x="703087" y="1241174"/>
                </a:moveTo>
                <a:cubicBezTo>
                  <a:pt x="732418" y="1276379"/>
                  <a:pt x="738825" y="1316526"/>
                  <a:pt x="732932" y="1359634"/>
                </a:cubicBezTo>
                <a:cubicBezTo>
                  <a:pt x="732067" y="1365959"/>
                  <a:pt x="732453" y="1371428"/>
                  <a:pt x="735544" y="1377287"/>
                </a:cubicBezTo>
                <a:cubicBezTo>
                  <a:pt x="748937" y="1402675"/>
                  <a:pt x="755318" y="1430010"/>
                  <a:pt x="756764" y="1458577"/>
                </a:cubicBezTo>
                <a:cubicBezTo>
                  <a:pt x="756887" y="1461031"/>
                  <a:pt x="756895" y="1463494"/>
                  <a:pt x="757108" y="1465940"/>
                </a:cubicBezTo>
                <a:cubicBezTo>
                  <a:pt x="758375" y="1480486"/>
                  <a:pt x="757802" y="1482498"/>
                  <a:pt x="744215" y="1488332"/>
                </a:cubicBezTo>
                <a:cubicBezTo>
                  <a:pt x="734126" y="1492664"/>
                  <a:pt x="723536" y="1496562"/>
                  <a:pt x="712781" y="1498472"/>
                </a:cubicBezTo>
                <a:cubicBezTo>
                  <a:pt x="683814" y="1503617"/>
                  <a:pt x="654674" y="1507832"/>
                  <a:pt x="625540" y="1511981"/>
                </a:cubicBezTo>
                <a:cubicBezTo>
                  <a:pt x="580114" y="1518449"/>
                  <a:pt x="534395" y="1521481"/>
                  <a:pt x="488540" y="1522029"/>
                </a:cubicBezTo>
                <a:cubicBezTo>
                  <a:pt x="427958" y="1522752"/>
                  <a:pt x="367367" y="1523658"/>
                  <a:pt x="306789" y="1523231"/>
                </a:cubicBezTo>
                <a:cubicBezTo>
                  <a:pt x="271215" y="1522980"/>
                  <a:pt x="235625" y="1520833"/>
                  <a:pt x="200103" y="1518579"/>
                </a:cubicBezTo>
                <a:cubicBezTo>
                  <a:pt x="143289" y="1514974"/>
                  <a:pt x="86915" y="1507766"/>
                  <a:pt x="31607" y="1493880"/>
                </a:cubicBezTo>
                <a:cubicBezTo>
                  <a:pt x="22666" y="1491635"/>
                  <a:pt x="14297" y="1486920"/>
                  <a:pt x="5860" y="1482933"/>
                </a:cubicBezTo>
                <a:cubicBezTo>
                  <a:pt x="1433" y="1480841"/>
                  <a:pt x="-262" y="1476934"/>
                  <a:pt x="32" y="1471774"/>
                </a:cubicBezTo>
                <a:cubicBezTo>
                  <a:pt x="1880" y="1439401"/>
                  <a:pt x="3993" y="1407192"/>
                  <a:pt x="21295" y="1378237"/>
                </a:cubicBezTo>
                <a:cubicBezTo>
                  <a:pt x="23526" y="1374504"/>
                  <a:pt x="23666" y="1368858"/>
                  <a:pt x="23169" y="1364271"/>
                </a:cubicBezTo>
                <a:cubicBezTo>
                  <a:pt x="20957" y="1343833"/>
                  <a:pt x="20482" y="1323540"/>
                  <a:pt x="23871" y="1303132"/>
                </a:cubicBezTo>
                <a:cubicBezTo>
                  <a:pt x="28332" y="1276267"/>
                  <a:pt x="41045" y="1253887"/>
                  <a:pt x="59740" y="1234649"/>
                </a:cubicBezTo>
                <a:cubicBezTo>
                  <a:pt x="72582" y="1221434"/>
                  <a:pt x="85657" y="1208434"/>
                  <a:pt x="98899" y="1195619"/>
                </a:cubicBezTo>
                <a:cubicBezTo>
                  <a:pt x="118216" y="1176926"/>
                  <a:pt x="130484" y="1154702"/>
                  <a:pt x="131493" y="1127593"/>
                </a:cubicBezTo>
                <a:cubicBezTo>
                  <a:pt x="132448" y="1101948"/>
                  <a:pt x="127125" y="1077868"/>
                  <a:pt x="108213" y="1058723"/>
                </a:cubicBezTo>
                <a:cubicBezTo>
                  <a:pt x="97010" y="1047381"/>
                  <a:pt x="85438" y="1036399"/>
                  <a:pt x="74370" y="1024929"/>
                </a:cubicBezTo>
                <a:cubicBezTo>
                  <a:pt x="63868" y="1014043"/>
                  <a:pt x="62267" y="1001475"/>
                  <a:pt x="68137" y="987550"/>
                </a:cubicBezTo>
                <a:cubicBezTo>
                  <a:pt x="74493" y="972473"/>
                  <a:pt x="80703" y="957319"/>
                  <a:pt x="86420" y="941991"/>
                </a:cubicBezTo>
                <a:cubicBezTo>
                  <a:pt x="100218" y="905001"/>
                  <a:pt x="99441" y="866690"/>
                  <a:pt x="97082" y="828037"/>
                </a:cubicBezTo>
                <a:cubicBezTo>
                  <a:pt x="94260" y="781809"/>
                  <a:pt x="76370" y="739899"/>
                  <a:pt x="61782" y="696973"/>
                </a:cubicBezTo>
                <a:cubicBezTo>
                  <a:pt x="45282" y="648419"/>
                  <a:pt x="33285" y="598770"/>
                  <a:pt x="26901" y="547868"/>
                </a:cubicBezTo>
                <a:cubicBezTo>
                  <a:pt x="24054" y="525160"/>
                  <a:pt x="21110" y="502364"/>
                  <a:pt x="20221" y="479529"/>
                </a:cubicBezTo>
                <a:cubicBezTo>
                  <a:pt x="18293" y="430013"/>
                  <a:pt x="26126" y="381610"/>
                  <a:pt x="40808" y="334388"/>
                </a:cubicBezTo>
                <a:cubicBezTo>
                  <a:pt x="48208" y="310588"/>
                  <a:pt x="55162" y="286441"/>
                  <a:pt x="65171" y="263707"/>
                </a:cubicBezTo>
                <a:cubicBezTo>
                  <a:pt x="81946" y="225606"/>
                  <a:pt x="106517" y="193071"/>
                  <a:pt x="142827" y="171003"/>
                </a:cubicBezTo>
                <a:cubicBezTo>
                  <a:pt x="152238" y="165283"/>
                  <a:pt x="162401" y="160787"/>
                  <a:pt x="172290" y="155872"/>
                </a:cubicBezTo>
                <a:cubicBezTo>
                  <a:pt x="177784" y="153142"/>
                  <a:pt x="183393" y="150635"/>
                  <a:pt x="189008" y="148158"/>
                </a:cubicBezTo>
                <a:cubicBezTo>
                  <a:pt x="199487" y="143534"/>
                  <a:pt x="207598" y="136426"/>
                  <a:pt x="212828" y="126123"/>
                </a:cubicBezTo>
                <a:cubicBezTo>
                  <a:pt x="214121" y="123575"/>
                  <a:pt x="215966" y="121304"/>
                  <a:pt x="217217" y="118740"/>
                </a:cubicBezTo>
                <a:cubicBezTo>
                  <a:pt x="224688" y="103433"/>
                  <a:pt x="237053" y="93440"/>
                  <a:pt x="253000" y="88998"/>
                </a:cubicBezTo>
                <a:cubicBezTo>
                  <a:pt x="275818" y="82642"/>
                  <a:pt x="299033" y="77711"/>
                  <a:pt x="322085" y="72193"/>
                </a:cubicBezTo>
                <a:cubicBezTo>
                  <a:pt x="324867" y="71527"/>
                  <a:pt x="327694" y="71045"/>
                  <a:pt x="330478" y="70387"/>
                </a:cubicBezTo>
                <a:cubicBezTo>
                  <a:pt x="364731" y="62297"/>
                  <a:pt x="364569" y="62151"/>
                  <a:pt x="388016" y="35457"/>
                </a:cubicBezTo>
                <a:cubicBezTo>
                  <a:pt x="398189" y="23875"/>
                  <a:pt x="409180" y="13010"/>
                  <a:pt x="421527" y="0"/>
                </a:cubicBezTo>
                <a:cubicBezTo>
                  <a:pt x="423000" y="5190"/>
                  <a:pt x="424219" y="7961"/>
                  <a:pt x="424538" y="10833"/>
                </a:cubicBezTo>
                <a:cubicBezTo>
                  <a:pt x="428638" y="47817"/>
                  <a:pt x="433030" y="84779"/>
                  <a:pt x="436339" y="121836"/>
                </a:cubicBezTo>
                <a:cubicBezTo>
                  <a:pt x="437236" y="131893"/>
                  <a:pt x="441545" y="137271"/>
                  <a:pt x="449983" y="141450"/>
                </a:cubicBezTo>
                <a:cubicBezTo>
                  <a:pt x="467954" y="150348"/>
                  <a:pt x="486187" y="158915"/>
                  <a:pt x="503299" y="169290"/>
                </a:cubicBezTo>
                <a:cubicBezTo>
                  <a:pt x="520041" y="179441"/>
                  <a:pt x="535883" y="191197"/>
                  <a:pt x="551461" y="203111"/>
                </a:cubicBezTo>
                <a:cubicBezTo>
                  <a:pt x="568416" y="216079"/>
                  <a:pt x="579195" y="234146"/>
                  <a:pt x="588803" y="252797"/>
                </a:cubicBezTo>
                <a:cubicBezTo>
                  <a:pt x="602134" y="278677"/>
                  <a:pt x="616556" y="303835"/>
                  <a:pt x="634209" y="327081"/>
                </a:cubicBezTo>
                <a:cubicBezTo>
                  <a:pt x="651797" y="350241"/>
                  <a:pt x="673980" y="368103"/>
                  <a:pt x="697923" y="384157"/>
                </a:cubicBezTo>
                <a:cubicBezTo>
                  <a:pt x="708787" y="391441"/>
                  <a:pt x="719007" y="399678"/>
                  <a:pt x="729658" y="407288"/>
                </a:cubicBezTo>
                <a:cubicBezTo>
                  <a:pt x="751657" y="423004"/>
                  <a:pt x="761259" y="445265"/>
                  <a:pt x="763354" y="471325"/>
                </a:cubicBezTo>
                <a:cubicBezTo>
                  <a:pt x="764877" y="490275"/>
                  <a:pt x="762919" y="509064"/>
                  <a:pt x="757092" y="527116"/>
                </a:cubicBezTo>
                <a:cubicBezTo>
                  <a:pt x="750932" y="546198"/>
                  <a:pt x="738296" y="560266"/>
                  <a:pt x="720673" y="570023"/>
                </a:cubicBezTo>
                <a:cubicBezTo>
                  <a:pt x="715048" y="573138"/>
                  <a:pt x="709487" y="576825"/>
                  <a:pt x="704918" y="581294"/>
                </a:cubicBezTo>
                <a:cubicBezTo>
                  <a:pt x="695625" y="590383"/>
                  <a:pt x="684728" y="595697"/>
                  <a:pt x="671960" y="595325"/>
                </a:cubicBezTo>
                <a:cubicBezTo>
                  <a:pt x="658939" y="594945"/>
                  <a:pt x="645743" y="594018"/>
                  <a:pt x="633021" y="591397"/>
                </a:cubicBezTo>
                <a:cubicBezTo>
                  <a:pt x="611233" y="586907"/>
                  <a:pt x="595034" y="572939"/>
                  <a:pt x="580696" y="556742"/>
                </a:cubicBezTo>
                <a:cubicBezTo>
                  <a:pt x="570081" y="544750"/>
                  <a:pt x="559052" y="533306"/>
                  <a:pt x="545415" y="524617"/>
                </a:cubicBezTo>
                <a:cubicBezTo>
                  <a:pt x="537261" y="519422"/>
                  <a:pt x="528551" y="515996"/>
                  <a:pt x="518889" y="516179"/>
                </a:cubicBezTo>
                <a:cubicBezTo>
                  <a:pt x="503357" y="516473"/>
                  <a:pt x="487839" y="517663"/>
                  <a:pt x="472309" y="517812"/>
                </a:cubicBezTo>
                <a:cubicBezTo>
                  <a:pt x="453527" y="517993"/>
                  <a:pt x="434738" y="517514"/>
                  <a:pt x="415953" y="517245"/>
                </a:cubicBezTo>
                <a:cubicBezTo>
                  <a:pt x="411976" y="517189"/>
                  <a:pt x="408003" y="516808"/>
                  <a:pt x="403392" y="516539"/>
                </a:cubicBezTo>
                <a:cubicBezTo>
                  <a:pt x="401207" y="526363"/>
                  <a:pt x="404857" y="534293"/>
                  <a:pt x="407957" y="542045"/>
                </a:cubicBezTo>
                <a:cubicBezTo>
                  <a:pt x="414092" y="557387"/>
                  <a:pt x="423168" y="571042"/>
                  <a:pt x="434134" y="583349"/>
                </a:cubicBezTo>
                <a:cubicBezTo>
                  <a:pt x="464083" y="616959"/>
                  <a:pt x="493980" y="650618"/>
                  <a:pt x="524267" y="683922"/>
                </a:cubicBezTo>
                <a:cubicBezTo>
                  <a:pt x="554818" y="717518"/>
                  <a:pt x="588291" y="748619"/>
                  <a:pt x="614317" y="786085"/>
                </a:cubicBezTo>
                <a:cubicBezTo>
                  <a:pt x="642656" y="826881"/>
                  <a:pt x="663974" y="871159"/>
                  <a:pt x="669590" y="921089"/>
                </a:cubicBezTo>
                <a:cubicBezTo>
                  <a:pt x="674894" y="968240"/>
                  <a:pt x="669774" y="1014226"/>
                  <a:pt x="647360" y="1057245"/>
                </a:cubicBezTo>
                <a:cubicBezTo>
                  <a:pt x="639830" y="1071697"/>
                  <a:pt x="630533" y="1085565"/>
                  <a:pt x="627872" y="1102111"/>
                </a:cubicBezTo>
                <a:cubicBezTo>
                  <a:pt x="623640" y="1128439"/>
                  <a:pt x="626183" y="1153784"/>
                  <a:pt x="642300" y="1175941"/>
                </a:cubicBezTo>
                <a:cubicBezTo>
                  <a:pt x="650201" y="1186801"/>
                  <a:pt x="659595" y="1196636"/>
                  <a:pt x="668829" y="1206449"/>
                </a:cubicBezTo>
                <a:cubicBezTo>
                  <a:pt x="679770" y="1218075"/>
                  <a:pt x="691267" y="1229177"/>
                  <a:pt x="703087" y="1241174"/>
                </a:cubicBezTo>
                <a:moveTo>
                  <a:pt x="648750" y="562343"/>
                </a:moveTo>
                <a:cubicBezTo>
                  <a:pt x="656729" y="562558"/>
                  <a:pt x="664698" y="567407"/>
                  <a:pt x="674049" y="562834"/>
                </a:cubicBezTo>
                <a:cubicBezTo>
                  <a:pt x="668990" y="558037"/>
                  <a:pt x="664729" y="554259"/>
                  <a:pt x="660781" y="550178"/>
                </a:cubicBezTo>
                <a:cubicBezTo>
                  <a:pt x="656713" y="545973"/>
                  <a:pt x="651493" y="542363"/>
                  <a:pt x="650911" y="534051"/>
                </a:cubicBezTo>
                <a:cubicBezTo>
                  <a:pt x="654940" y="535536"/>
                  <a:pt x="657753" y="536907"/>
                  <a:pt x="660724" y="537605"/>
                </a:cubicBezTo>
                <a:cubicBezTo>
                  <a:pt x="669824" y="539743"/>
                  <a:pt x="678915" y="542853"/>
                  <a:pt x="688133" y="543363"/>
                </a:cubicBezTo>
                <a:cubicBezTo>
                  <a:pt x="712019" y="544686"/>
                  <a:pt x="726964" y="534053"/>
                  <a:pt x="731514" y="510767"/>
                </a:cubicBezTo>
                <a:cubicBezTo>
                  <a:pt x="734296" y="496535"/>
                  <a:pt x="734146" y="481511"/>
                  <a:pt x="733611" y="466905"/>
                </a:cubicBezTo>
                <a:cubicBezTo>
                  <a:pt x="732951" y="448863"/>
                  <a:pt x="723348" y="435653"/>
                  <a:pt x="708076" y="425975"/>
                </a:cubicBezTo>
                <a:cubicBezTo>
                  <a:pt x="694258" y="417218"/>
                  <a:pt x="681056" y="407489"/>
                  <a:pt x="667538" y="398254"/>
                </a:cubicBezTo>
                <a:cubicBezTo>
                  <a:pt x="641278" y="380314"/>
                  <a:pt x="617580" y="359743"/>
                  <a:pt x="601016" y="332127"/>
                </a:cubicBezTo>
                <a:cubicBezTo>
                  <a:pt x="588810" y="311778"/>
                  <a:pt x="576093" y="291645"/>
                  <a:pt x="565354" y="270526"/>
                </a:cubicBezTo>
                <a:cubicBezTo>
                  <a:pt x="548401" y="237186"/>
                  <a:pt x="523821" y="212104"/>
                  <a:pt x="490657" y="195121"/>
                </a:cubicBezTo>
                <a:cubicBezTo>
                  <a:pt x="471346" y="185231"/>
                  <a:pt x="452394" y="174606"/>
                  <a:pt x="432834" y="165243"/>
                </a:cubicBezTo>
                <a:cubicBezTo>
                  <a:pt x="416725" y="157532"/>
                  <a:pt x="408325" y="145526"/>
                  <a:pt x="407594" y="127852"/>
                </a:cubicBezTo>
                <a:cubicBezTo>
                  <a:pt x="406783" y="108242"/>
                  <a:pt x="405935" y="88634"/>
                  <a:pt x="405020" y="69029"/>
                </a:cubicBezTo>
                <a:cubicBezTo>
                  <a:pt x="404882" y="66067"/>
                  <a:pt x="404287" y="63127"/>
                  <a:pt x="403638" y="58130"/>
                </a:cubicBezTo>
                <a:cubicBezTo>
                  <a:pt x="381792" y="82321"/>
                  <a:pt x="361650" y="104820"/>
                  <a:pt x="349776" y="133259"/>
                </a:cubicBezTo>
                <a:cubicBezTo>
                  <a:pt x="345032" y="144621"/>
                  <a:pt x="337822" y="153814"/>
                  <a:pt x="326975" y="159669"/>
                </a:cubicBezTo>
                <a:cubicBezTo>
                  <a:pt x="295461" y="176681"/>
                  <a:pt x="266610" y="197333"/>
                  <a:pt x="240374" y="221714"/>
                </a:cubicBezTo>
                <a:cubicBezTo>
                  <a:pt x="212881" y="247263"/>
                  <a:pt x="188313" y="275340"/>
                  <a:pt x="171637" y="309087"/>
                </a:cubicBezTo>
                <a:cubicBezTo>
                  <a:pt x="139180" y="374765"/>
                  <a:pt x="129692" y="444532"/>
                  <a:pt x="138048" y="516954"/>
                </a:cubicBezTo>
                <a:cubicBezTo>
                  <a:pt x="142936" y="559318"/>
                  <a:pt x="152518" y="600762"/>
                  <a:pt x="163889" y="641780"/>
                </a:cubicBezTo>
                <a:cubicBezTo>
                  <a:pt x="177329" y="690261"/>
                  <a:pt x="191989" y="738413"/>
                  <a:pt x="204800" y="787055"/>
                </a:cubicBezTo>
                <a:cubicBezTo>
                  <a:pt x="218820" y="840287"/>
                  <a:pt x="228587" y="894088"/>
                  <a:pt x="218549" y="949545"/>
                </a:cubicBezTo>
                <a:cubicBezTo>
                  <a:pt x="213279" y="978659"/>
                  <a:pt x="207130" y="1007359"/>
                  <a:pt x="191487" y="1033064"/>
                </a:cubicBezTo>
                <a:cubicBezTo>
                  <a:pt x="190499" y="1034686"/>
                  <a:pt x="190018" y="1036618"/>
                  <a:pt x="188729" y="1039835"/>
                </a:cubicBezTo>
                <a:cubicBezTo>
                  <a:pt x="200470" y="1040170"/>
                  <a:pt x="210952" y="1040298"/>
                  <a:pt x="221417" y="1040799"/>
                </a:cubicBezTo>
                <a:cubicBezTo>
                  <a:pt x="263912" y="1042835"/>
                  <a:pt x="306390" y="1046436"/>
                  <a:pt x="348895" y="1046759"/>
                </a:cubicBezTo>
                <a:cubicBezTo>
                  <a:pt x="414380" y="1047258"/>
                  <a:pt x="479896" y="1046092"/>
                  <a:pt x="545369" y="1044456"/>
                </a:cubicBezTo>
                <a:cubicBezTo>
                  <a:pt x="567764" y="1043897"/>
                  <a:pt x="590066" y="1039744"/>
                  <a:pt x="612424" y="1037365"/>
                </a:cubicBezTo>
                <a:cubicBezTo>
                  <a:pt x="617948" y="1036777"/>
                  <a:pt x="621342" y="1034139"/>
                  <a:pt x="623169" y="1028873"/>
                </a:cubicBezTo>
                <a:cubicBezTo>
                  <a:pt x="630975" y="1006370"/>
                  <a:pt x="637026" y="983472"/>
                  <a:pt x="638508" y="959599"/>
                </a:cubicBezTo>
                <a:cubicBezTo>
                  <a:pt x="641131" y="917363"/>
                  <a:pt x="628970" y="878727"/>
                  <a:pt x="609213" y="842075"/>
                </a:cubicBezTo>
                <a:cubicBezTo>
                  <a:pt x="587874" y="802491"/>
                  <a:pt x="559403" y="768169"/>
                  <a:pt x="529367" y="735065"/>
                </a:cubicBezTo>
                <a:cubicBezTo>
                  <a:pt x="487563" y="688992"/>
                  <a:pt x="445474" y="643176"/>
                  <a:pt x="403792" y="596993"/>
                </a:cubicBezTo>
                <a:cubicBezTo>
                  <a:pt x="380393" y="571066"/>
                  <a:pt x="360083" y="542922"/>
                  <a:pt x="344708" y="511366"/>
                </a:cubicBezTo>
                <a:cubicBezTo>
                  <a:pt x="324385" y="469655"/>
                  <a:pt x="317321" y="425966"/>
                  <a:pt x="324464" y="380084"/>
                </a:cubicBezTo>
                <a:cubicBezTo>
                  <a:pt x="324821" y="377789"/>
                  <a:pt x="326581" y="375713"/>
                  <a:pt x="327688" y="373535"/>
                </a:cubicBezTo>
                <a:cubicBezTo>
                  <a:pt x="328570" y="373570"/>
                  <a:pt x="329452" y="373606"/>
                  <a:pt x="330334" y="373641"/>
                </a:cubicBezTo>
                <a:cubicBezTo>
                  <a:pt x="331649" y="377308"/>
                  <a:pt x="333001" y="380963"/>
                  <a:pt x="334272" y="384645"/>
                </a:cubicBezTo>
                <a:cubicBezTo>
                  <a:pt x="342569" y="408660"/>
                  <a:pt x="351164" y="432573"/>
                  <a:pt x="365260" y="453955"/>
                </a:cubicBezTo>
                <a:cubicBezTo>
                  <a:pt x="375537" y="469544"/>
                  <a:pt x="388811" y="481767"/>
                  <a:pt x="408246" y="483592"/>
                </a:cubicBezTo>
                <a:cubicBezTo>
                  <a:pt x="426928" y="485346"/>
                  <a:pt x="445757" y="486037"/>
                  <a:pt x="464529" y="486187"/>
                </a:cubicBezTo>
                <a:cubicBezTo>
                  <a:pt x="480053" y="486311"/>
                  <a:pt x="495582" y="484792"/>
                  <a:pt x="511119" y="484308"/>
                </a:cubicBezTo>
                <a:cubicBezTo>
                  <a:pt x="532443" y="483644"/>
                  <a:pt x="551690" y="490014"/>
                  <a:pt x="567913" y="503736"/>
                </a:cubicBezTo>
                <a:cubicBezTo>
                  <a:pt x="581642" y="515348"/>
                  <a:pt x="594604" y="527888"/>
                  <a:pt x="607611" y="540326"/>
                </a:cubicBezTo>
                <a:cubicBezTo>
                  <a:pt x="618811" y="551038"/>
                  <a:pt x="631177" y="559300"/>
                  <a:pt x="648750" y="562343"/>
                </a:cubicBezTo>
                <a:moveTo>
                  <a:pt x="462594" y="1369008"/>
                </a:moveTo>
                <a:cubicBezTo>
                  <a:pt x="478517" y="1368137"/>
                  <a:pt x="494449" y="1367429"/>
                  <a:pt x="510357" y="1366345"/>
                </a:cubicBezTo>
                <a:cubicBezTo>
                  <a:pt x="523399" y="1365456"/>
                  <a:pt x="536424" y="1364247"/>
                  <a:pt x="549434" y="1362956"/>
                </a:cubicBezTo>
                <a:cubicBezTo>
                  <a:pt x="577089" y="1360213"/>
                  <a:pt x="604749" y="1357503"/>
                  <a:pt x="632369" y="1354439"/>
                </a:cubicBezTo>
                <a:cubicBezTo>
                  <a:pt x="653805" y="1352062"/>
                  <a:pt x="675183" y="1349170"/>
                  <a:pt x="697252" y="1346424"/>
                </a:cubicBezTo>
                <a:cubicBezTo>
                  <a:pt x="701148" y="1316348"/>
                  <a:pt x="695768" y="1289474"/>
                  <a:pt x="676674" y="1266396"/>
                </a:cubicBezTo>
                <a:cubicBezTo>
                  <a:pt x="667313" y="1255080"/>
                  <a:pt x="656878" y="1244625"/>
                  <a:pt x="646594" y="1234108"/>
                </a:cubicBezTo>
                <a:cubicBezTo>
                  <a:pt x="634298" y="1221533"/>
                  <a:pt x="621353" y="1209623"/>
                  <a:pt x="612063" y="1194382"/>
                </a:cubicBezTo>
                <a:cubicBezTo>
                  <a:pt x="596511" y="1168867"/>
                  <a:pt x="588079" y="1141707"/>
                  <a:pt x="591616" y="1111541"/>
                </a:cubicBezTo>
                <a:cubicBezTo>
                  <a:pt x="592450" y="1104432"/>
                  <a:pt x="593365" y="1097332"/>
                  <a:pt x="594320" y="1089609"/>
                </a:cubicBezTo>
                <a:cubicBezTo>
                  <a:pt x="588294" y="1089609"/>
                  <a:pt x="583452" y="1089392"/>
                  <a:pt x="578634" y="1089642"/>
                </a:cubicBezTo>
                <a:cubicBezTo>
                  <a:pt x="533732" y="1091976"/>
                  <a:pt x="488841" y="1094525"/>
                  <a:pt x="443931" y="1096700"/>
                </a:cubicBezTo>
                <a:cubicBezTo>
                  <a:pt x="430451" y="1097353"/>
                  <a:pt x="416923" y="1097005"/>
                  <a:pt x="403417" y="1097156"/>
                </a:cubicBezTo>
                <a:cubicBezTo>
                  <a:pt x="389337" y="1097313"/>
                  <a:pt x="388961" y="1097850"/>
                  <a:pt x="388348" y="1111502"/>
                </a:cubicBezTo>
                <a:cubicBezTo>
                  <a:pt x="387375" y="1133151"/>
                  <a:pt x="386231" y="1154793"/>
                  <a:pt x="385048" y="1176431"/>
                </a:cubicBezTo>
                <a:cubicBezTo>
                  <a:pt x="382637" y="1220514"/>
                  <a:pt x="380158" y="1264593"/>
                  <a:pt x="377687" y="1308672"/>
                </a:cubicBezTo>
                <a:cubicBezTo>
                  <a:pt x="377458" y="1312751"/>
                  <a:pt x="376852" y="1316821"/>
                  <a:pt x="376823" y="1320897"/>
                </a:cubicBezTo>
                <a:cubicBezTo>
                  <a:pt x="376717" y="1335880"/>
                  <a:pt x="376781" y="1350864"/>
                  <a:pt x="376781" y="1366151"/>
                </a:cubicBezTo>
                <a:cubicBezTo>
                  <a:pt x="404707" y="1370397"/>
                  <a:pt x="432477" y="1369351"/>
                  <a:pt x="462594" y="1369008"/>
                </a:cubicBezTo>
                <a:moveTo>
                  <a:pt x="648494" y="1463981"/>
                </a:moveTo>
                <a:cubicBezTo>
                  <a:pt x="671329" y="1460052"/>
                  <a:pt x="694163" y="1456122"/>
                  <a:pt x="718746" y="1451892"/>
                </a:cubicBezTo>
                <a:cubicBezTo>
                  <a:pt x="716257" y="1439067"/>
                  <a:pt x="714578" y="1427816"/>
                  <a:pt x="711827" y="1416835"/>
                </a:cubicBezTo>
                <a:cubicBezTo>
                  <a:pt x="707611" y="1400009"/>
                  <a:pt x="703502" y="1397423"/>
                  <a:pt x="685812" y="1398502"/>
                </a:cubicBezTo>
                <a:cubicBezTo>
                  <a:pt x="684179" y="1398602"/>
                  <a:pt x="682547" y="1398768"/>
                  <a:pt x="680924" y="1398973"/>
                </a:cubicBezTo>
                <a:cubicBezTo>
                  <a:pt x="653380" y="1402446"/>
                  <a:pt x="625911" y="1406752"/>
                  <a:pt x="598278" y="1409218"/>
                </a:cubicBezTo>
                <a:cubicBezTo>
                  <a:pt x="557171" y="1412886"/>
                  <a:pt x="515983" y="1415946"/>
                  <a:pt x="474765" y="1417945"/>
                </a:cubicBezTo>
                <a:cubicBezTo>
                  <a:pt x="444944" y="1419391"/>
                  <a:pt x="415021" y="1418680"/>
                  <a:pt x="385143" y="1418978"/>
                </a:cubicBezTo>
                <a:cubicBezTo>
                  <a:pt x="382419" y="1419005"/>
                  <a:pt x="379697" y="1419376"/>
                  <a:pt x="376639" y="1419613"/>
                </a:cubicBezTo>
                <a:cubicBezTo>
                  <a:pt x="376639" y="1438152"/>
                  <a:pt x="376639" y="1455909"/>
                  <a:pt x="376639" y="1473939"/>
                </a:cubicBezTo>
                <a:cubicBezTo>
                  <a:pt x="378971" y="1474343"/>
                  <a:pt x="380523" y="1474802"/>
                  <a:pt x="382089" y="1474854"/>
                </a:cubicBezTo>
                <a:cubicBezTo>
                  <a:pt x="404571" y="1475605"/>
                  <a:pt x="427058" y="1476986"/>
                  <a:pt x="449536" y="1476855"/>
                </a:cubicBezTo>
                <a:cubicBezTo>
                  <a:pt x="486344" y="1476639"/>
                  <a:pt x="523207" y="1476480"/>
                  <a:pt x="559930" y="1474307"/>
                </a:cubicBezTo>
                <a:cubicBezTo>
                  <a:pt x="588839" y="1472596"/>
                  <a:pt x="617570" y="1467884"/>
                  <a:pt x="648494" y="1463981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98" name="Free-form: Shape 297">
            <a:extLst>
              <a:ext uri="{FF2B5EF4-FFF2-40B4-BE49-F238E27FC236}">
                <a16:creationId xmlns:a16="http://schemas.microsoft.com/office/drawing/2014/main" id="{37B65094-75E2-9C63-427A-1AF2F59290C9}"/>
              </a:ext>
            </a:extLst>
          </p:cNvPr>
          <p:cNvSpPr/>
          <p:nvPr/>
        </p:nvSpPr>
        <p:spPr>
          <a:xfrm>
            <a:off x="6361499" y="4186618"/>
            <a:ext cx="497702" cy="821885"/>
          </a:xfrm>
          <a:custGeom>
            <a:avLst/>
            <a:gdLst>
              <a:gd name="csX0" fmla="*/ 512604 w 598747"/>
              <a:gd name="csY0" fmla="*/ 503918 h 988745"/>
              <a:gd name="csX1" fmla="*/ 472435 w 598747"/>
              <a:gd name="csY1" fmla="*/ 482196 h 988745"/>
              <a:gd name="csX2" fmla="*/ 432737 w 598747"/>
              <a:gd name="csY2" fmla="*/ 445605 h 988745"/>
              <a:gd name="csX3" fmla="*/ 375943 w 598747"/>
              <a:gd name="csY3" fmla="*/ 426178 h 988745"/>
              <a:gd name="csX4" fmla="*/ 329354 w 598747"/>
              <a:gd name="csY4" fmla="*/ 428057 h 988745"/>
              <a:gd name="csX5" fmla="*/ 273070 w 598747"/>
              <a:gd name="csY5" fmla="*/ 425461 h 988745"/>
              <a:gd name="csX6" fmla="*/ 230084 w 598747"/>
              <a:gd name="csY6" fmla="*/ 395825 h 988745"/>
              <a:gd name="csX7" fmla="*/ 199097 w 598747"/>
              <a:gd name="csY7" fmla="*/ 326515 h 988745"/>
              <a:gd name="csX8" fmla="*/ 195158 w 598747"/>
              <a:gd name="csY8" fmla="*/ 315511 h 988745"/>
              <a:gd name="csX9" fmla="*/ 192512 w 598747"/>
              <a:gd name="csY9" fmla="*/ 315405 h 988745"/>
              <a:gd name="csX10" fmla="*/ 189288 w 598747"/>
              <a:gd name="csY10" fmla="*/ 321954 h 988745"/>
              <a:gd name="csX11" fmla="*/ 209532 w 598747"/>
              <a:gd name="csY11" fmla="*/ 453235 h 988745"/>
              <a:gd name="csX12" fmla="*/ 268616 w 598747"/>
              <a:gd name="csY12" fmla="*/ 538863 h 988745"/>
              <a:gd name="csX13" fmla="*/ 394191 w 598747"/>
              <a:gd name="csY13" fmla="*/ 676935 h 988745"/>
              <a:gd name="csX14" fmla="*/ 474037 w 598747"/>
              <a:gd name="csY14" fmla="*/ 783945 h 988745"/>
              <a:gd name="csX15" fmla="*/ 503332 w 598747"/>
              <a:gd name="csY15" fmla="*/ 901469 h 988745"/>
              <a:gd name="csX16" fmla="*/ 487993 w 598747"/>
              <a:gd name="csY16" fmla="*/ 970743 h 988745"/>
              <a:gd name="csX17" fmla="*/ 477248 w 598747"/>
              <a:gd name="csY17" fmla="*/ 979235 h 988745"/>
              <a:gd name="csX18" fmla="*/ 410194 w 598747"/>
              <a:gd name="csY18" fmla="*/ 986326 h 988745"/>
              <a:gd name="csX19" fmla="*/ 213720 w 598747"/>
              <a:gd name="csY19" fmla="*/ 988629 h 988745"/>
              <a:gd name="csX20" fmla="*/ 86242 w 598747"/>
              <a:gd name="csY20" fmla="*/ 982669 h 988745"/>
              <a:gd name="csX21" fmla="*/ 53553 w 598747"/>
              <a:gd name="csY21" fmla="*/ 981705 h 988745"/>
              <a:gd name="csX22" fmla="*/ 56311 w 598747"/>
              <a:gd name="csY22" fmla="*/ 974933 h 988745"/>
              <a:gd name="csX23" fmla="*/ 83373 w 598747"/>
              <a:gd name="csY23" fmla="*/ 891414 h 988745"/>
              <a:gd name="csX24" fmla="*/ 69625 w 598747"/>
              <a:gd name="csY24" fmla="*/ 728925 h 988745"/>
              <a:gd name="csX25" fmla="*/ 28713 w 598747"/>
              <a:gd name="csY25" fmla="*/ 583650 h 988745"/>
              <a:gd name="csX26" fmla="*/ 2872 w 598747"/>
              <a:gd name="csY26" fmla="*/ 458823 h 988745"/>
              <a:gd name="csX27" fmla="*/ 36461 w 598747"/>
              <a:gd name="csY27" fmla="*/ 250957 h 988745"/>
              <a:gd name="csX28" fmla="*/ 105198 w 598747"/>
              <a:gd name="csY28" fmla="*/ 163584 h 988745"/>
              <a:gd name="csX29" fmla="*/ 191800 w 598747"/>
              <a:gd name="csY29" fmla="*/ 101539 h 988745"/>
              <a:gd name="csX30" fmla="*/ 214600 w 598747"/>
              <a:gd name="csY30" fmla="*/ 75129 h 988745"/>
              <a:gd name="csX31" fmla="*/ 268462 w 598747"/>
              <a:gd name="csY31" fmla="*/ 0 h 988745"/>
              <a:gd name="csX32" fmla="*/ 269844 w 598747"/>
              <a:gd name="csY32" fmla="*/ 10898 h 988745"/>
              <a:gd name="csX33" fmla="*/ 272418 w 598747"/>
              <a:gd name="csY33" fmla="*/ 69722 h 988745"/>
              <a:gd name="csX34" fmla="*/ 297658 w 598747"/>
              <a:gd name="csY34" fmla="*/ 107113 h 988745"/>
              <a:gd name="csX35" fmla="*/ 355481 w 598747"/>
              <a:gd name="csY35" fmla="*/ 136991 h 988745"/>
              <a:gd name="csX36" fmla="*/ 430178 w 598747"/>
              <a:gd name="csY36" fmla="*/ 212396 h 988745"/>
              <a:gd name="csX37" fmla="*/ 465840 w 598747"/>
              <a:gd name="csY37" fmla="*/ 273997 h 988745"/>
              <a:gd name="csX38" fmla="*/ 532362 w 598747"/>
              <a:gd name="csY38" fmla="*/ 340124 h 988745"/>
              <a:gd name="csX39" fmla="*/ 572901 w 598747"/>
              <a:gd name="csY39" fmla="*/ 367845 h 988745"/>
              <a:gd name="csX40" fmla="*/ 598436 w 598747"/>
              <a:gd name="csY40" fmla="*/ 408775 h 988745"/>
              <a:gd name="csX41" fmla="*/ 596339 w 598747"/>
              <a:gd name="csY41" fmla="*/ 452637 h 988745"/>
              <a:gd name="csX42" fmla="*/ 552957 w 598747"/>
              <a:gd name="csY42" fmla="*/ 485233 h 988745"/>
              <a:gd name="csX43" fmla="*/ 525548 w 598747"/>
              <a:gd name="csY43" fmla="*/ 479475 h 988745"/>
              <a:gd name="csX44" fmla="*/ 515736 w 598747"/>
              <a:gd name="csY44" fmla="*/ 475921 h 988745"/>
              <a:gd name="csX45" fmla="*/ 525605 w 598747"/>
              <a:gd name="csY45" fmla="*/ 492048 h 988745"/>
              <a:gd name="csX46" fmla="*/ 538873 w 598747"/>
              <a:gd name="csY46" fmla="*/ 504704 h 988745"/>
              <a:gd name="csX47" fmla="*/ 512604 w 598747"/>
              <a:gd name="csY47" fmla="*/ 503918 h 988745"/>
              <a:gd name="csX48" fmla="*/ 332072 w 598747"/>
              <a:gd name="csY48" fmla="*/ 218143 h 988745"/>
              <a:gd name="csX49" fmla="*/ 334388 w 598747"/>
              <a:gd name="csY49" fmla="*/ 226400 h 988745"/>
              <a:gd name="csX50" fmla="*/ 372370 w 598747"/>
              <a:gd name="csY50" fmla="*/ 254505 h 988745"/>
              <a:gd name="csX51" fmla="*/ 405258 w 598747"/>
              <a:gd name="csY51" fmla="*/ 252089 h 988745"/>
              <a:gd name="csX52" fmla="*/ 409167 w 598747"/>
              <a:gd name="csY52" fmla="*/ 244359 h 988745"/>
              <a:gd name="csX53" fmla="*/ 396364 w 598747"/>
              <a:gd name="csY53" fmla="*/ 219471 h 988745"/>
              <a:gd name="csX54" fmla="*/ 365755 w 598747"/>
              <a:gd name="csY54" fmla="*/ 195821 h 988745"/>
              <a:gd name="csX55" fmla="*/ 333572 w 598747"/>
              <a:gd name="csY55" fmla="*/ 188536 h 988745"/>
              <a:gd name="csX56" fmla="*/ 322931 w 598747"/>
              <a:gd name="csY56" fmla="*/ 190843 h 988745"/>
              <a:gd name="csX57" fmla="*/ 329041 w 598747"/>
              <a:gd name="csY57" fmla="*/ 203001 h 988745"/>
              <a:gd name="csX58" fmla="*/ 332072 w 598747"/>
              <a:gd name="csY58" fmla="*/ 218143 h 98874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</a:cxnLst>
            <a:rect l="l" t="t" r="r" b="b"/>
            <a:pathLst>
              <a:path w="598747" h="988745">
                <a:moveTo>
                  <a:pt x="512604" y="503918"/>
                </a:moveTo>
                <a:cubicBezTo>
                  <a:pt x="496002" y="501170"/>
                  <a:pt x="483635" y="492907"/>
                  <a:pt x="472435" y="482196"/>
                </a:cubicBezTo>
                <a:cubicBezTo>
                  <a:pt x="459429" y="469758"/>
                  <a:pt x="446467" y="457218"/>
                  <a:pt x="432737" y="445605"/>
                </a:cubicBezTo>
                <a:cubicBezTo>
                  <a:pt x="416514" y="431883"/>
                  <a:pt x="397267" y="425513"/>
                  <a:pt x="375943" y="426178"/>
                </a:cubicBezTo>
                <a:cubicBezTo>
                  <a:pt x="360407" y="426662"/>
                  <a:pt x="344877" y="428180"/>
                  <a:pt x="329354" y="428057"/>
                </a:cubicBezTo>
                <a:cubicBezTo>
                  <a:pt x="310581" y="427907"/>
                  <a:pt x="291752" y="427215"/>
                  <a:pt x="273070" y="425461"/>
                </a:cubicBezTo>
                <a:cubicBezTo>
                  <a:pt x="253636" y="423637"/>
                  <a:pt x="240361" y="411413"/>
                  <a:pt x="230084" y="395825"/>
                </a:cubicBezTo>
                <a:cubicBezTo>
                  <a:pt x="215988" y="374443"/>
                  <a:pt x="207393" y="350530"/>
                  <a:pt x="199097" y="326515"/>
                </a:cubicBezTo>
                <a:cubicBezTo>
                  <a:pt x="197825" y="322833"/>
                  <a:pt x="196473" y="319178"/>
                  <a:pt x="195158" y="315511"/>
                </a:cubicBezTo>
                <a:cubicBezTo>
                  <a:pt x="194276" y="315475"/>
                  <a:pt x="193394" y="315440"/>
                  <a:pt x="192512" y="315405"/>
                </a:cubicBezTo>
                <a:cubicBezTo>
                  <a:pt x="191405" y="317583"/>
                  <a:pt x="189646" y="319659"/>
                  <a:pt x="189288" y="321954"/>
                </a:cubicBezTo>
                <a:cubicBezTo>
                  <a:pt x="182145" y="367836"/>
                  <a:pt x="189209" y="411525"/>
                  <a:pt x="209532" y="453235"/>
                </a:cubicBezTo>
                <a:cubicBezTo>
                  <a:pt x="224908" y="484792"/>
                  <a:pt x="245217" y="512936"/>
                  <a:pt x="268616" y="538863"/>
                </a:cubicBezTo>
                <a:cubicBezTo>
                  <a:pt x="310298" y="585046"/>
                  <a:pt x="352387" y="630861"/>
                  <a:pt x="394191" y="676935"/>
                </a:cubicBezTo>
                <a:cubicBezTo>
                  <a:pt x="424227" y="710039"/>
                  <a:pt x="452698" y="744360"/>
                  <a:pt x="474037" y="783945"/>
                </a:cubicBezTo>
                <a:cubicBezTo>
                  <a:pt x="493795" y="820596"/>
                  <a:pt x="505956" y="859233"/>
                  <a:pt x="503332" y="901469"/>
                </a:cubicBezTo>
                <a:cubicBezTo>
                  <a:pt x="501850" y="925342"/>
                  <a:pt x="495799" y="948239"/>
                  <a:pt x="487993" y="970743"/>
                </a:cubicBezTo>
                <a:cubicBezTo>
                  <a:pt x="486166" y="976009"/>
                  <a:pt x="482772" y="978647"/>
                  <a:pt x="477248" y="979235"/>
                </a:cubicBezTo>
                <a:cubicBezTo>
                  <a:pt x="454890" y="981614"/>
                  <a:pt x="432589" y="985767"/>
                  <a:pt x="410194" y="986326"/>
                </a:cubicBezTo>
                <a:cubicBezTo>
                  <a:pt x="344720" y="987961"/>
                  <a:pt x="279205" y="989128"/>
                  <a:pt x="213720" y="988629"/>
                </a:cubicBezTo>
                <a:cubicBezTo>
                  <a:pt x="171215" y="988306"/>
                  <a:pt x="128736" y="984705"/>
                  <a:pt x="86242" y="982669"/>
                </a:cubicBezTo>
                <a:cubicBezTo>
                  <a:pt x="75776" y="982167"/>
                  <a:pt x="65294" y="982040"/>
                  <a:pt x="53553" y="981705"/>
                </a:cubicBezTo>
                <a:cubicBezTo>
                  <a:pt x="54842" y="978488"/>
                  <a:pt x="55323" y="976556"/>
                  <a:pt x="56311" y="974933"/>
                </a:cubicBezTo>
                <a:cubicBezTo>
                  <a:pt x="71955" y="949229"/>
                  <a:pt x="78103" y="920529"/>
                  <a:pt x="83373" y="891414"/>
                </a:cubicBezTo>
                <a:cubicBezTo>
                  <a:pt x="93411" y="835958"/>
                  <a:pt x="83645" y="782156"/>
                  <a:pt x="69625" y="728925"/>
                </a:cubicBezTo>
                <a:cubicBezTo>
                  <a:pt x="56813" y="680283"/>
                  <a:pt x="42153" y="632130"/>
                  <a:pt x="28713" y="583650"/>
                </a:cubicBezTo>
                <a:cubicBezTo>
                  <a:pt x="17342" y="542631"/>
                  <a:pt x="7760" y="501188"/>
                  <a:pt x="2872" y="458823"/>
                </a:cubicBezTo>
                <a:cubicBezTo>
                  <a:pt x="-5484" y="386401"/>
                  <a:pt x="4005" y="316635"/>
                  <a:pt x="36461" y="250957"/>
                </a:cubicBezTo>
                <a:cubicBezTo>
                  <a:pt x="53137" y="217210"/>
                  <a:pt x="77705" y="189133"/>
                  <a:pt x="105198" y="163584"/>
                </a:cubicBezTo>
                <a:cubicBezTo>
                  <a:pt x="131434" y="139203"/>
                  <a:pt x="160285" y="118551"/>
                  <a:pt x="191800" y="101539"/>
                </a:cubicBezTo>
                <a:cubicBezTo>
                  <a:pt x="202646" y="95684"/>
                  <a:pt x="209856" y="86491"/>
                  <a:pt x="214600" y="75129"/>
                </a:cubicBezTo>
                <a:cubicBezTo>
                  <a:pt x="226474" y="46689"/>
                  <a:pt x="246616" y="24191"/>
                  <a:pt x="268462" y="0"/>
                </a:cubicBezTo>
                <a:cubicBezTo>
                  <a:pt x="269111" y="4997"/>
                  <a:pt x="269706" y="7937"/>
                  <a:pt x="269844" y="10898"/>
                </a:cubicBezTo>
                <a:cubicBezTo>
                  <a:pt x="270760" y="30504"/>
                  <a:pt x="271607" y="50112"/>
                  <a:pt x="272418" y="69722"/>
                </a:cubicBezTo>
                <a:cubicBezTo>
                  <a:pt x="273150" y="87396"/>
                  <a:pt x="281549" y="99401"/>
                  <a:pt x="297658" y="107113"/>
                </a:cubicBezTo>
                <a:cubicBezTo>
                  <a:pt x="317218" y="116476"/>
                  <a:pt x="336170" y="127101"/>
                  <a:pt x="355481" y="136991"/>
                </a:cubicBezTo>
                <a:cubicBezTo>
                  <a:pt x="388645" y="153974"/>
                  <a:pt x="413226" y="179056"/>
                  <a:pt x="430178" y="212396"/>
                </a:cubicBezTo>
                <a:cubicBezTo>
                  <a:pt x="440917" y="233515"/>
                  <a:pt x="453634" y="253647"/>
                  <a:pt x="465840" y="273997"/>
                </a:cubicBezTo>
                <a:cubicBezTo>
                  <a:pt x="482404" y="301613"/>
                  <a:pt x="506102" y="322183"/>
                  <a:pt x="532362" y="340124"/>
                </a:cubicBezTo>
                <a:cubicBezTo>
                  <a:pt x="545881" y="349359"/>
                  <a:pt x="559082" y="359088"/>
                  <a:pt x="572901" y="367845"/>
                </a:cubicBezTo>
                <a:cubicBezTo>
                  <a:pt x="588172" y="377523"/>
                  <a:pt x="597775" y="390733"/>
                  <a:pt x="598436" y="408775"/>
                </a:cubicBezTo>
                <a:cubicBezTo>
                  <a:pt x="598970" y="423381"/>
                  <a:pt x="599120" y="438404"/>
                  <a:pt x="596339" y="452637"/>
                </a:cubicBezTo>
                <a:cubicBezTo>
                  <a:pt x="591789" y="475923"/>
                  <a:pt x="576843" y="486555"/>
                  <a:pt x="552957" y="485233"/>
                </a:cubicBezTo>
                <a:cubicBezTo>
                  <a:pt x="543740" y="484722"/>
                  <a:pt x="534648" y="481613"/>
                  <a:pt x="525548" y="479475"/>
                </a:cubicBezTo>
                <a:cubicBezTo>
                  <a:pt x="522577" y="478776"/>
                  <a:pt x="519764" y="477405"/>
                  <a:pt x="515736" y="475921"/>
                </a:cubicBezTo>
                <a:cubicBezTo>
                  <a:pt x="516318" y="484233"/>
                  <a:pt x="521537" y="487842"/>
                  <a:pt x="525605" y="492048"/>
                </a:cubicBezTo>
                <a:cubicBezTo>
                  <a:pt x="529554" y="496129"/>
                  <a:pt x="533815" y="499907"/>
                  <a:pt x="538873" y="504704"/>
                </a:cubicBezTo>
                <a:cubicBezTo>
                  <a:pt x="529522" y="509277"/>
                  <a:pt x="521553" y="504428"/>
                  <a:pt x="512604" y="503918"/>
                </a:cubicBezTo>
                <a:moveTo>
                  <a:pt x="332072" y="218143"/>
                </a:moveTo>
                <a:cubicBezTo>
                  <a:pt x="332837" y="220898"/>
                  <a:pt x="333478" y="223695"/>
                  <a:pt x="334388" y="226400"/>
                </a:cubicBezTo>
                <a:cubicBezTo>
                  <a:pt x="341073" y="246268"/>
                  <a:pt x="351614" y="254460"/>
                  <a:pt x="372370" y="254505"/>
                </a:cubicBezTo>
                <a:cubicBezTo>
                  <a:pt x="383333" y="254529"/>
                  <a:pt x="394312" y="253121"/>
                  <a:pt x="405258" y="252089"/>
                </a:cubicBezTo>
                <a:cubicBezTo>
                  <a:pt x="409961" y="251646"/>
                  <a:pt x="411340" y="248568"/>
                  <a:pt x="409167" y="244359"/>
                </a:cubicBezTo>
                <a:cubicBezTo>
                  <a:pt x="404885" y="236068"/>
                  <a:pt x="400139" y="227985"/>
                  <a:pt x="396364" y="219471"/>
                </a:cubicBezTo>
                <a:cubicBezTo>
                  <a:pt x="390350" y="205908"/>
                  <a:pt x="379963" y="198663"/>
                  <a:pt x="365755" y="195821"/>
                </a:cubicBezTo>
                <a:cubicBezTo>
                  <a:pt x="354973" y="193665"/>
                  <a:pt x="344291" y="191003"/>
                  <a:pt x="333572" y="188536"/>
                </a:cubicBezTo>
                <a:cubicBezTo>
                  <a:pt x="329511" y="187602"/>
                  <a:pt x="325579" y="187007"/>
                  <a:pt x="322931" y="190843"/>
                </a:cubicBezTo>
                <a:cubicBezTo>
                  <a:pt x="325138" y="195129"/>
                  <a:pt x="327613" y="198884"/>
                  <a:pt x="329041" y="203001"/>
                </a:cubicBezTo>
                <a:cubicBezTo>
                  <a:pt x="330500" y="207204"/>
                  <a:pt x="330929" y="211764"/>
                  <a:pt x="332072" y="218143"/>
                </a:cubicBezTo>
                <a:close/>
              </a:path>
            </a:pathLst>
          </a:custGeom>
          <a:solidFill>
            <a:srgbClr val="FEFEFE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99" name="Free-form: Shape 298">
            <a:extLst>
              <a:ext uri="{FF2B5EF4-FFF2-40B4-BE49-F238E27FC236}">
                <a16:creationId xmlns:a16="http://schemas.microsoft.com/office/drawing/2014/main" id="{36DAA63D-5897-157E-74FE-231DB2D31190}"/>
              </a:ext>
            </a:extLst>
          </p:cNvPr>
          <p:cNvSpPr/>
          <p:nvPr/>
        </p:nvSpPr>
        <p:spPr>
          <a:xfrm>
            <a:off x="6562316" y="5043953"/>
            <a:ext cx="267393" cy="232628"/>
          </a:xfrm>
          <a:custGeom>
            <a:avLst/>
            <a:gdLst>
              <a:gd name="csX0" fmla="*/ 84645 w 321679"/>
              <a:gd name="csY0" fmla="*/ 279507 h 279857"/>
              <a:gd name="csX1" fmla="*/ 19 w 321679"/>
              <a:gd name="csY1" fmla="*/ 276629 h 279857"/>
              <a:gd name="csX2" fmla="*/ 61 w 321679"/>
              <a:gd name="csY2" fmla="*/ 231376 h 279857"/>
              <a:gd name="csX3" fmla="*/ 925 w 321679"/>
              <a:gd name="csY3" fmla="*/ 219150 h 279857"/>
              <a:gd name="csX4" fmla="*/ 8286 w 321679"/>
              <a:gd name="csY4" fmla="*/ 86910 h 279857"/>
              <a:gd name="csX5" fmla="*/ 11586 w 321679"/>
              <a:gd name="csY5" fmla="*/ 21981 h 279857"/>
              <a:gd name="csX6" fmla="*/ 26655 w 321679"/>
              <a:gd name="csY6" fmla="*/ 7635 h 279857"/>
              <a:gd name="csX7" fmla="*/ 67169 w 321679"/>
              <a:gd name="csY7" fmla="*/ 7178 h 279857"/>
              <a:gd name="csX8" fmla="*/ 201872 w 321679"/>
              <a:gd name="csY8" fmla="*/ 121 h 279857"/>
              <a:gd name="csX9" fmla="*/ 217558 w 321679"/>
              <a:gd name="csY9" fmla="*/ 87 h 279857"/>
              <a:gd name="csX10" fmla="*/ 214854 w 321679"/>
              <a:gd name="csY10" fmla="*/ 22019 h 279857"/>
              <a:gd name="csX11" fmla="*/ 235301 w 321679"/>
              <a:gd name="csY11" fmla="*/ 104861 h 279857"/>
              <a:gd name="csX12" fmla="*/ 269832 w 321679"/>
              <a:gd name="csY12" fmla="*/ 144587 h 279857"/>
              <a:gd name="csX13" fmla="*/ 299912 w 321679"/>
              <a:gd name="csY13" fmla="*/ 176874 h 279857"/>
              <a:gd name="csX14" fmla="*/ 320491 w 321679"/>
              <a:gd name="csY14" fmla="*/ 256903 h 279857"/>
              <a:gd name="csX15" fmla="*/ 255607 w 321679"/>
              <a:gd name="csY15" fmla="*/ 264918 h 279857"/>
              <a:gd name="csX16" fmla="*/ 172672 w 321679"/>
              <a:gd name="csY16" fmla="*/ 273435 h 279857"/>
              <a:gd name="csX17" fmla="*/ 133595 w 321679"/>
              <a:gd name="csY17" fmla="*/ 276823 h 279857"/>
              <a:gd name="csX18" fmla="*/ 84645 w 321679"/>
              <a:gd name="csY18" fmla="*/ 279507 h 27985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</a:cxnLst>
            <a:rect l="l" t="t" r="r" b="b"/>
            <a:pathLst>
              <a:path w="321679" h="279857">
                <a:moveTo>
                  <a:pt x="84645" y="279507"/>
                </a:moveTo>
                <a:cubicBezTo>
                  <a:pt x="55716" y="279830"/>
                  <a:pt x="27945" y="280875"/>
                  <a:pt x="19" y="276629"/>
                </a:cubicBezTo>
                <a:cubicBezTo>
                  <a:pt x="19" y="261343"/>
                  <a:pt x="-45" y="246359"/>
                  <a:pt x="61" y="231376"/>
                </a:cubicBezTo>
                <a:cubicBezTo>
                  <a:pt x="90" y="227299"/>
                  <a:pt x="696" y="223229"/>
                  <a:pt x="925" y="219150"/>
                </a:cubicBezTo>
                <a:cubicBezTo>
                  <a:pt x="3396" y="175071"/>
                  <a:pt x="5876" y="130992"/>
                  <a:pt x="8286" y="86910"/>
                </a:cubicBezTo>
                <a:cubicBezTo>
                  <a:pt x="9469" y="65271"/>
                  <a:pt x="10613" y="43630"/>
                  <a:pt x="11586" y="21981"/>
                </a:cubicBezTo>
                <a:cubicBezTo>
                  <a:pt x="12199" y="8328"/>
                  <a:pt x="12576" y="7792"/>
                  <a:pt x="26655" y="7635"/>
                </a:cubicBezTo>
                <a:cubicBezTo>
                  <a:pt x="40161" y="7484"/>
                  <a:pt x="53689" y="7831"/>
                  <a:pt x="67169" y="7178"/>
                </a:cubicBezTo>
                <a:cubicBezTo>
                  <a:pt x="112079" y="5004"/>
                  <a:pt x="156970" y="2455"/>
                  <a:pt x="201872" y="121"/>
                </a:cubicBezTo>
                <a:cubicBezTo>
                  <a:pt x="206690" y="-130"/>
                  <a:pt x="211533" y="87"/>
                  <a:pt x="217558" y="87"/>
                </a:cubicBezTo>
                <a:cubicBezTo>
                  <a:pt x="216603" y="7811"/>
                  <a:pt x="215688" y="14910"/>
                  <a:pt x="214854" y="22019"/>
                </a:cubicBezTo>
                <a:cubicBezTo>
                  <a:pt x="211318" y="52185"/>
                  <a:pt x="219749" y="79345"/>
                  <a:pt x="235301" y="104861"/>
                </a:cubicBezTo>
                <a:cubicBezTo>
                  <a:pt x="244591" y="120102"/>
                  <a:pt x="257536" y="132012"/>
                  <a:pt x="269832" y="144587"/>
                </a:cubicBezTo>
                <a:cubicBezTo>
                  <a:pt x="280116" y="155103"/>
                  <a:pt x="290551" y="165559"/>
                  <a:pt x="299912" y="176874"/>
                </a:cubicBezTo>
                <a:cubicBezTo>
                  <a:pt x="319006" y="199953"/>
                  <a:pt x="324386" y="226827"/>
                  <a:pt x="320491" y="256903"/>
                </a:cubicBezTo>
                <a:cubicBezTo>
                  <a:pt x="298421" y="259649"/>
                  <a:pt x="277043" y="262541"/>
                  <a:pt x="255607" y="264918"/>
                </a:cubicBezTo>
                <a:cubicBezTo>
                  <a:pt x="227987" y="267981"/>
                  <a:pt x="200327" y="270692"/>
                  <a:pt x="172672" y="273435"/>
                </a:cubicBezTo>
                <a:cubicBezTo>
                  <a:pt x="159662" y="274725"/>
                  <a:pt x="146637" y="275935"/>
                  <a:pt x="133595" y="276823"/>
                </a:cubicBezTo>
                <a:cubicBezTo>
                  <a:pt x="117688" y="277907"/>
                  <a:pt x="101755" y="278616"/>
                  <a:pt x="84645" y="279507"/>
                </a:cubicBezTo>
                <a:close/>
              </a:path>
            </a:pathLst>
          </a:custGeom>
          <a:solidFill>
            <a:srgbClr val="FDFEFE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00" name="Free-form: Shape 299">
            <a:extLst>
              <a:ext uri="{FF2B5EF4-FFF2-40B4-BE49-F238E27FC236}">
                <a16:creationId xmlns:a16="http://schemas.microsoft.com/office/drawing/2014/main" id="{3908EB4A-2CDF-1E4A-C83A-E976A589F2D6}"/>
              </a:ext>
            </a:extLst>
          </p:cNvPr>
          <p:cNvSpPr/>
          <p:nvPr/>
        </p:nvSpPr>
        <p:spPr>
          <a:xfrm>
            <a:off x="6562213" y="5300614"/>
            <a:ext cx="284373" cy="65313"/>
          </a:xfrm>
          <a:custGeom>
            <a:avLst/>
            <a:gdLst>
              <a:gd name="csX0" fmla="*/ 270798 w 342106"/>
              <a:gd name="csY0" fmla="*/ 65953 h 78573"/>
              <a:gd name="csX1" fmla="*/ 183290 w 342106"/>
              <a:gd name="csY1" fmla="*/ 76017 h 78573"/>
              <a:gd name="csX2" fmla="*/ 72897 w 342106"/>
              <a:gd name="csY2" fmla="*/ 78565 h 78573"/>
              <a:gd name="csX3" fmla="*/ 5450 w 342106"/>
              <a:gd name="csY3" fmla="*/ 76564 h 78573"/>
              <a:gd name="csX4" fmla="*/ 0 w 342106"/>
              <a:gd name="csY4" fmla="*/ 75649 h 78573"/>
              <a:gd name="csX5" fmla="*/ 0 w 342106"/>
              <a:gd name="csY5" fmla="*/ 21324 h 78573"/>
              <a:gd name="csX6" fmla="*/ 8504 w 342106"/>
              <a:gd name="csY6" fmla="*/ 20688 h 78573"/>
              <a:gd name="csX7" fmla="*/ 98126 w 342106"/>
              <a:gd name="csY7" fmla="*/ 19655 h 78573"/>
              <a:gd name="csX8" fmla="*/ 221639 w 342106"/>
              <a:gd name="csY8" fmla="*/ 10929 h 78573"/>
              <a:gd name="csX9" fmla="*/ 304285 w 342106"/>
              <a:gd name="csY9" fmla="*/ 683 h 78573"/>
              <a:gd name="csX10" fmla="*/ 309173 w 342106"/>
              <a:gd name="csY10" fmla="*/ 212 h 78573"/>
              <a:gd name="csX11" fmla="*/ 335187 w 342106"/>
              <a:gd name="csY11" fmla="*/ 18545 h 78573"/>
              <a:gd name="csX12" fmla="*/ 342106 w 342106"/>
              <a:gd name="csY12" fmla="*/ 53602 h 78573"/>
              <a:gd name="csX13" fmla="*/ 270798 w 342106"/>
              <a:gd name="csY13" fmla="*/ 65953 h 7857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</a:cxnLst>
            <a:rect l="l" t="t" r="r" b="b"/>
            <a:pathLst>
              <a:path w="342106" h="78573">
                <a:moveTo>
                  <a:pt x="270798" y="65953"/>
                </a:moveTo>
                <a:cubicBezTo>
                  <a:pt x="240931" y="69594"/>
                  <a:pt x="212199" y="74306"/>
                  <a:pt x="183290" y="76017"/>
                </a:cubicBezTo>
                <a:cubicBezTo>
                  <a:pt x="146568" y="78191"/>
                  <a:pt x="109704" y="78349"/>
                  <a:pt x="72897" y="78565"/>
                </a:cubicBezTo>
                <a:cubicBezTo>
                  <a:pt x="50419" y="78697"/>
                  <a:pt x="27931" y="77315"/>
                  <a:pt x="5450" y="76564"/>
                </a:cubicBezTo>
                <a:cubicBezTo>
                  <a:pt x="3884" y="76512"/>
                  <a:pt x="2332" y="76053"/>
                  <a:pt x="0" y="75649"/>
                </a:cubicBezTo>
                <a:cubicBezTo>
                  <a:pt x="0" y="57619"/>
                  <a:pt x="0" y="39863"/>
                  <a:pt x="0" y="21324"/>
                </a:cubicBezTo>
                <a:cubicBezTo>
                  <a:pt x="3058" y="21086"/>
                  <a:pt x="5779" y="20715"/>
                  <a:pt x="8504" y="20688"/>
                </a:cubicBezTo>
                <a:cubicBezTo>
                  <a:pt x="38382" y="20390"/>
                  <a:pt x="68305" y="21101"/>
                  <a:pt x="98126" y="19655"/>
                </a:cubicBezTo>
                <a:cubicBezTo>
                  <a:pt x="139343" y="17657"/>
                  <a:pt x="180532" y="14597"/>
                  <a:pt x="221639" y="10929"/>
                </a:cubicBezTo>
                <a:cubicBezTo>
                  <a:pt x="249272" y="8463"/>
                  <a:pt x="276741" y="4156"/>
                  <a:pt x="304285" y="683"/>
                </a:cubicBezTo>
                <a:cubicBezTo>
                  <a:pt x="305908" y="478"/>
                  <a:pt x="307539" y="312"/>
                  <a:pt x="309173" y="212"/>
                </a:cubicBezTo>
                <a:cubicBezTo>
                  <a:pt x="326863" y="-867"/>
                  <a:pt x="330972" y="1719"/>
                  <a:pt x="335187" y="18545"/>
                </a:cubicBezTo>
                <a:cubicBezTo>
                  <a:pt x="337939" y="29526"/>
                  <a:pt x="339618" y="40777"/>
                  <a:pt x="342106" y="53602"/>
                </a:cubicBezTo>
                <a:cubicBezTo>
                  <a:pt x="317523" y="57833"/>
                  <a:pt x="294689" y="61762"/>
                  <a:pt x="270798" y="65953"/>
                </a:cubicBezTo>
                <a:close/>
              </a:path>
            </a:pathLst>
          </a:custGeom>
          <a:solidFill>
            <a:srgbClr val="FCFCFC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01" name="Free-form: Shape 300">
            <a:extLst>
              <a:ext uri="{FF2B5EF4-FFF2-40B4-BE49-F238E27FC236}">
                <a16:creationId xmlns:a16="http://schemas.microsoft.com/office/drawing/2014/main" id="{B4994B17-C815-E2FA-DF72-C85F5B47ADCA}"/>
              </a:ext>
            </a:extLst>
          </p:cNvPr>
          <p:cNvSpPr/>
          <p:nvPr/>
        </p:nvSpPr>
        <p:spPr>
          <a:xfrm>
            <a:off x="6629932" y="4342758"/>
            <a:ext cx="72517" cy="55415"/>
          </a:xfrm>
          <a:custGeom>
            <a:avLst/>
            <a:gdLst>
              <a:gd name="csX0" fmla="*/ 9010 w 87239"/>
              <a:gd name="csY0" fmla="*/ 29316 h 66665"/>
              <a:gd name="csX1" fmla="*/ 6110 w 87239"/>
              <a:gd name="csY1" fmla="*/ 15162 h 66665"/>
              <a:gd name="csX2" fmla="*/ 0 w 87239"/>
              <a:gd name="csY2" fmla="*/ 3003 h 66665"/>
              <a:gd name="csX3" fmla="*/ 10641 w 87239"/>
              <a:gd name="csY3" fmla="*/ 697 h 66665"/>
              <a:gd name="csX4" fmla="*/ 42824 w 87239"/>
              <a:gd name="csY4" fmla="*/ 7981 h 66665"/>
              <a:gd name="csX5" fmla="*/ 73433 w 87239"/>
              <a:gd name="csY5" fmla="*/ 31631 h 66665"/>
              <a:gd name="csX6" fmla="*/ 86236 w 87239"/>
              <a:gd name="csY6" fmla="*/ 56519 h 66665"/>
              <a:gd name="csX7" fmla="*/ 82327 w 87239"/>
              <a:gd name="csY7" fmla="*/ 64249 h 66665"/>
              <a:gd name="csX8" fmla="*/ 49439 w 87239"/>
              <a:gd name="csY8" fmla="*/ 66665 h 66665"/>
              <a:gd name="csX9" fmla="*/ 11457 w 87239"/>
              <a:gd name="csY9" fmla="*/ 38560 h 66665"/>
              <a:gd name="csX10" fmla="*/ 9010 w 87239"/>
              <a:gd name="csY10" fmla="*/ 29316 h 6666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</a:cxnLst>
            <a:rect l="l" t="t" r="r" b="b"/>
            <a:pathLst>
              <a:path w="87239" h="66665">
                <a:moveTo>
                  <a:pt x="9010" y="29316"/>
                </a:moveTo>
                <a:cubicBezTo>
                  <a:pt x="7998" y="23924"/>
                  <a:pt x="7568" y="19365"/>
                  <a:pt x="6110" y="15162"/>
                </a:cubicBezTo>
                <a:cubicBezTo>
                  <a:pt x="4682" y="11044"/>
                  <a:pt x="2207" y="7289"/>
                  <a:pt x="0" y="3003"/>
                </a:cubicBezTo>
                <a:cubicBezTo>
                  <a:pt x="2648" y="-833"/>
                  <a:pt x="6580" y="-238"/>
                  <a:pt x="10641" y="697"/>
                </a:cubicBezTo>
                <a:cubicBezTo>
                  <a:pt x="21360" y="3163"/>
                  <a:pt x="32042" y="5825"/>
                  <a:pt x="42824" y="7981"/>
                </a:cubicBezTo>
                <a:cubicBezTo>
                  <a:pt x="57032" y="10823"/>
                  <a:pt x="67419" y="18068"/>
                  <a:pt x="73433" y="31631"/>
                </a:cubicBezTo>
                <a:cubicBezTo>
                  <a:pt x="77208" y="40146"/>
                  <a:pt x="81954" y="48228"/>
                  <a:pt x="86236" y="56519"/>
                </a:cubicBezTo>
                <a:cubicBezTo>
                  <a:pt x="88409" y="60728"/>
                  <a:pt x="87030" y="63806"/>
                  <a:pt x="82327" y="64249"/>
                </a:cubicBezTo>
                <a:cubicBezTo>
                  <a:pt x="71381" y="65282"/>
                  <a:pt x="60402" y="66689"/>
                  <a:pt x="49439" y="66665"/>
                </a:cubicBezTo>
                <a:cubicBezTo>
                  <a:pt x="28683" y="66620"/>
                  <a:pt x="18142" y="58428"/>
                  <a:pt x="11457" y="38560"/>
                </a:cubicBezTo>
                <a:cubicBezTo>
                  <a:pt x="10547" y="35855"/>
                  <a:pt x="9906" y="33058"/>
                  <a:pt x="9010" y="29316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02" name="TextBox 301">
            <a:extLst>
              <a:ext uri="{FF2B5EF4-FFF2-40B4-BE49-F238E27FC236}">
                <a16:creationId xmlns:a16="http://schemas.microsoft.com/office/drawing/2014/main" id="{C8C10D22-DDAC-FBD7-2E64-73103363190B}"/>
              </a:ext>
            </a:extLst>
          </p:cNvPr>
          <p:cNvSpPr txBox="1"/>
          <p:nvPr/>
        </p:nvSpPr>
        <p:spPr>
          <a:xfrm>
            <a:off x="6155814" y="5388319"/>
            <a:ext cx="863983" cy="3927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(Pola-BR)</a:t>
            </a:r>
          </a:p>
        </p:txBody>
      </p:sp>
      <p:sp>
        <p:nvSpPr>
          <p:cNvPr id="303" name="Rettangolo 6">
            <a:extLst>
              <a:ext uri="{FF2B5EF4-FFF2-40B4-BE49-F238E27FC236}">
                <a16:creationId xmlns:a16="http://schemas.microsoft.com/office/drawing/2014/main" id="{DB53C7F2-84EE-5EDE-F20F-5F48C94C3346}"/>
              </a:ext>
            </a:extLst>
          </p:cNvPr>
          <p:cNvSpPr/>
          <p:nvPr/>
        </p:nvSpPr>
        <p:spPr>
          <a:xfrm>
            <a:off x="982846" y="1928634"/>
            <a:ext cx="1838036" cy="2188841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" name="CasellaDiTesto 4">
            <a:extLst>
              <a:ext uri="{FF2B5EF4-FFF2-40B4-BE49-F238E27FC236}">
                <a16:creationId xmlns:a16="http://schemas.microsoft.com/office/drawing/2014/main" id="{AFA9B17E-B689-64A0-4527-20D53638BCA1}"/>
              </a:ext>
            </a:extLst>
          </p:cNvPr>
          <p:cNvSpPr txBox="1"/>
          <p:nvPr/>
        </p:nvSpPr>
        <p:spPr>
          <a:xfrm>
            <a:off x="541326" y="1385072"/>
            <a:ext cx="110145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025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0128E8B-F38F-AC09-2391-9D2C9DF24A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01CC8E-1CEF-6746-999E-CF29FF00B1D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82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9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101227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3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60D146-2A21-2031-1114-25AE6A36C3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F3FC24-4126-F7A8-A378-428D8BF10D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>
                <a:latin typeface="Aptos"/>
              </a:rPr>
              <a:t>DLBCL is a common and aggressive lymphoma, with a high burden of disease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2B4228E-A925-684A-E020-B13B876D96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651" y="6356350"/>
            <a:ext cx="383694" cy="365125"/>
          </a:xfrm>
        </p:spPr>
        <p:txBody>
          <a:bodyPr vert="horz" lIns="0" tIns="0" rIns="0" bIns="0"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01CC8E-1CEF-6746-999E-CF29FF00B1DC}" type="slidenum"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82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C464BAE-F30B-BA76-F4AA-7BA0E42F892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70645" y="6016311"/>
            <a:ext cx="10440000" cy="703640"/>
          </a:xfrm>
        </p:spPr>
        <p:txBody>
          <a:bodyPr/>
          <a:lstStyle/>
          <a:p>
            <a:r>
              <a:rPr lang="en-GB"/>
              <a:t>*Voronoi chart represents the percentages for B- and T-cell derived NHL; T-cell derived types are not distinguished (shown in light grey).</a:t>
            </a:r>
            <a:r>
              <a:rPr lang="en-GB" baseline="30000"/>
              <a:t>2</a:t>
            </a:r>
            <a:endParaRPr lang="en-GB"/>
          </a:p>
          <a:p>
            <a:r>
              <a:rPr lang="en-GB"/>
              <a:t>1L, first line; BL, Burkitt lymphoma; CLL, chronic lymphocytic leukaemia; DLBCL, diffuse large B-cell lymphoma; FL, follicular lymphoma; LPL, lymphoplasmacytic lymphoma; MALT, mucosa-associated lymphoid tissue lymphomas; MCL, mantle cell lymphoma; MZL, marginal zone lymphoma; NHL, non-Hodgkin lymphoma; NMZL, nodal marginal zone lymphoma; R-CHOP, rituximab, cyclophosphamide, doxorubicin, vincristine and prednisolone; SLL, small-cell lymphocytic lymphoma.</a:t>
            </a:r>
            <a:br>
              <a:rPr lang="en-GB"/>
            </a:br>
            <a:r>
              <a:rPr lang="en-GB" b="1"/>
              <a:t>1.</a:t>
            </a:r>
            <a:r>
              <a:rPr lang="en-GB"/>
              <a:t> Ma et al. </a:t>
            </a:r>
            <a:r>
              <a:rPr lang="en-GB" i="1" err="1"/>
              <a:t>Haematologica</a:t>
            </a:r>
            <a:r>
              <a:rPr lang="en-GB"/>
              <a:t> 2022 </a:t>
            </a:r>
            <a:r>
              <a:rPr lang="en-GB" b="1"/>
              <a:t>2. </a:t>
            </a:r>
            <a:r>
              <a:rPr lang="en-GB" err="1"/>
              <a:t>Leukemia</a:t>
            </a:r>
            <a:r>
              <a:rPr lang="en-GB"/>
              <a:t> and Lymphoma Society 2024 </a:t>
            </a:r>
            <a:r>
              <a:rPr lang="en-GB" b="1"/>
              <a:t>3.</a:t>
            </a:r>
            <a:r>
              <a:rPr lang="en-GB"/>
              <a:t> Sehn &amp; Salles </a:t>
            </a:r>
            <a:r>
              <a:rPr lang="en-GB" i="1"/>
              <a:t>N Engl J Med</a:t>
            </a:r>
            <a:r>
              <a:rPr lang="en-GB"/>
              <a:t> 2021 </a:t>
            </a:r>
            <a:r>
              <a:rPr lang="en-GB" b="1"/>
              <a:t>4. </a:t>
            </a:r>
            <a:r>
              <a:rPr lang="en-GB" err="1"/>
              <a:t>Coiffier</a:t>
            </a:r>
            <a:r>
              <a:rPr lang="en-GB"/>
              <a:t> et al. </a:t>
            </a:r>
            <a:r>
              <a:rPr lang="en-GB" i="1"/>
              <a:t>N Engl J Med </a:t>
            </a:r>
            <a:r>
              <a:rPr lang="en-GB"/>
              <a:t>2002.</a:t>
            </a:r>
            <a:endParaRPr lang="en-GB" b="1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0913D36-5855-41E8-4954-8868B267FF8A}"/>
              </a:ext>
            </a:extLst>
          </p:cNvPr>
          <p:cNvSpPr txBox="1"/>
          <p:nvPr/>
        </p:nvSpPr>
        <p:spPr>
          <a:xfrm>
            <a:off x="3665822" y="1321771"/>
            <a:ext cx="5374219" cy="630776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sv-SE"/>
            </a:defPPr>
            <a:lvl1pPr algn="ctr">
              <a:defRPr sz="2000">
                <a:solidFill>
                  <a:schemeClr val="tx2"/>
                </a:solidFill>
                <a:latin typeface="Aptos" panose="02110004020202020204"/>
              </a:defRPr>
            </a:lvl1pPr>
            <a:lvl2pPr marL="355600" indent="-173038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>
                <a:solidFill>
                  <a:schemeClr val="lt1"/>
                </a:solidFill>
              </a:defRPr>
            </a:lvl2pPr>
            <a:lvl3pPr marL="539750" indent="-18415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600">
                <a:solidFill>
                  <a:schemeClr val="lt1"/>
                </a:solidFill>
              </a:defRPr>
            </a:lvl3pPr>
            <a:lvl4pPr marL="722313" indent="-182563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400">
                <a:solidFill>
                  <a:schemeClr val="lt1"/>
                </a:solidFill>
              </a:defRPr>
            </a:lvl4pPr>
            <a:lvl5pPr marL="895350" indent="-173038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400">
                <a:solidFill>
                  <a:schemeClr val="lt1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lt1"/>
                </a:solidFill>
              </a:defRPr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lt1"/>
                </a:solidFill>
              </a:defRPr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lt1"/>
                </a:solidFill>
              </a:defRPr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LBCL is the </a:t>
            </a: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most common </a:t>
            </a:r>
            <a:b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B-cell lymphoma 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ubtype</a:t>
            </a:r>
            <a:r>
              <a:rPr kumimoji="0" lang="en-GB" sz="2000" b="0" i="0" u="none" strike="noStrike" kern="1200" cap="none" spc="0" normalizeH="0" baseline="3000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,2,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*</a:t>
            </a:r>
          </a:p>
        </p:txBody>
      </p:sp>
      <p:sp>
        <p:nvSpPr>
          <p:cNvPr id="400" name="Free-form: Shape 399">
            <a:extLst>
              <a:ext uri="{FF2B5EF4-FFF2-40B4-BE49-F238E27FC236}">
                <a16:creationId xmlns:a16="http://schemas.microsoft.com/office/drawing/2014/main" id="{FCE6AB32-B537-B7F0-0AB7-3867D35F8A90}"/>
              </a:ext>
            </a:extLst>
          </p:cNvPr>
          <p:cNvSpPr/>
          <p:nvPr/>
        </p:nvSpPr>
        <p:spPr>
          <a:xfrm>
            <a:off x="5009657" y="3790569"/>
            <a:ext cx="1912660" cy="1913538"/>
          </a:xfrm>
          <a:custGeom>
            <a:avLst/>
            <a:gdLst>
              <a:gd name="csX0" fmla="*/ 820105 w 1912660"/>
              <a:gd name="csY0" fmla="*/ 375 h 1913538"/>
              <a:gd name="csX1" fmla="*/ 452940 w 1912660"/>
              <a:gd name="csY1" fmla="*/ 169852 h 1913538"/>
              <a:gd name="csX2" fmla="*/ 60497 w 1912660"/>
              <a:gd name="csY2" fmla="*/ 650324 h 1913538"/>
              <a:gd name="csX3" fmla="*/ 375 w 1912660"/>
              <a:gd name="csY3" fmla="*/ 981698 h 1913538"/>
              <a:gd name="csX4" fmla="*/ 107113 w 1912660"/>
              <a:gd name="csY4" fmla="*/ 1532516 h 1913538"/>
              <a:gd name="csX5" fmla="*/ 174702 w 1912660"/>
              <a:gd name="csY5" fmla="*/ 1585799 h 1913538"/>
              <a:gd name="csX6" fmla="*/ 286867 w 1912660"/>
              <a:gd name="csY6" fmla="*/ 1660745 h 1913538"/>
              <a:gd name="csX7" fmla="*/ 404565 w 1912660"/>
              <a:gd name="csY7" fmla="*/ 1726659 h 1913538"/>
              <a:gd name="csX8" fmla="*/ 527073 w 1912660"/>
              <a:gd name="csY8" fmla="*/ 1783136 h 1913538"/>
              <a:gd name="csX9" fmla="*/ 653634 w 1912660"/>
              <a:gd name="csY9" fmla="*/ 1829827 h 1913538"/>
              <a:gd name="csX10" fmla="*/ 783468 w 1912660"/>
              <a:gd name="csY10" fmla="*/ 1866444 h 1913538"/>
              <a:gd name="csX11" fmla="*/ 915775 w 1912660"/>
              <a:gd name="csY11" fmla="*/ 1892761 h 1913538"/>
              <a:gd name="csX12" fmla="*/ 1049739 w 1912660"/>
              <a:gd name="csY12" fmla="*/ 1908617 h 1913538"/>
              <a:gd name="csX13" fmla="*/ 1184534 w 1912660"/>
              <a:gd name="csY13" fmla="*/ 1913913 h 1913538"/>
              <a:gd name="csX14" fmla="*/ 1319329 w 1912660"/>
              <a:gd name="csY14" fmla="*/ 1908617 h 1913538"/>
              <a:gd name="csX15" fmla="*/ 1453293 w 1912660"/>
              <a:gd name="csY15" fmla="*/ 1892761 h 1913538"/>
              <a:gd name="csX16" fmla="*/ 1585600 w 1912660"/>
              <a:gd name="csY16" fmla="*/ 1866444 h 1913538"/>
              <a:gd name="csX17" fmla="*/ 1660535 w 1912660"/>
              <a:gd name="csY17" fmla="*/ 1845310 h 1913538"/>
              <a:gd name="csX18" fmla="*/ 1913035 w 1912660"/>
              <a:gd name="csY18" fmla="*/ 1406734 h 1913538"/>
              <a:gd name="csX19" fmla="*/ 1495079 w 1912660"/>
              <a:gd name="csY19" fmla="*/ 123756 h 191353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</a:cxnLst>
            <a:rect l="l" t="t" r="r" b="b"/>
            <a:pathLst>
              <a:path w="1912660" h="1913538">
                <a:moveTo>
                  <a:pt x="820105" y="375"/>
                </a:moveTo>
                <a:lnTo>
                  <a:pt x="452940" y="169852"/>
                </a:lnTo>
                <a:lnTo>
                  <a:pt x="60497" y="650324"/>
                </a:lnTo>
                <a:lnTo>
                  <a:pt x="375" y="981698"/>
                </a:lnTo>
                <a:lnTo>
                  <a:pt x="107113" y="1532516"/>
                </a:lnTo>
                <a:lnTo>
                  <a:pt x="174702" y="1585799"/>
                </a:lnTo>
                <a:lnTo>
                  <a:pt x="286867" y="1660745"/>
                </a:lnTo>
                <a:lnTo>
                  <a:pt x="404565" y="1726659"/>
                </a:lnTo>
                <a:lnTo>
                  <a:pt x="527073" y="1783136"/>
                </a:lnTo>
                <a:lnTo>
                  <a:pt x="653634" y="1829827"/>
                </a:lnTo>
                <a:lnTo>
                  <a:pt x="783468" y="1866444"/>
                </a:lnTo>
                <a:lnTo>
                  <a:pt x="915775" y="1892761"/>
                </a:lnTo>
                <a:lnTo>
                  <a:pt x="1049739" y="1908617"/>
                </a:lnTo>
                <a:lnTo>
                  <a:pt x="1184534" y="1913913"/>
                </a:lnTo>
                <a:lnTo>
                  <a:pt x="1319329" y="1908617"/>
                </a:lnTo>
                <a:lnTo>
                  <a:pt x="1453293" y="1892761"/>
                </a:lnTo>
                <a:lnTo>
                  <a:pt x="1585600" y="1866444"/>
                </a:lnTo>
                <a:lnTo>
                  <a:pt x="1660535" y="1845310"/>
                </a:lnTo>
                <a:lnTo>
                  <a:pt x="1913035" y="1406734"/>
                </a:lnTo>
                <a:lnTo>
                  <a:pt x="1495079" y="123756"/>
                </a:lnTo>
                <a:close/>
              </a:path>
            </a:pathLst>
          </a:custGeom>
          <a:solidFill>
            <a:srgbClr val="192C3A"/>
          </a:solidFill>
          <a:ln w="14707" cap="flat">
            <a:solidFill>
              <a:srgbClr val="FFFFFF"/>
            </a:solidFill>
            <a:prstDash val="solid"/>
            <a:miter/>
          </a:ln>
        </p:spPr>
        <p:txBody>
          <a:bodyPr lIns="0" tIns="0" rIns="0" bIns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1" name="Free-form: Shape 400">
            <a:extLst>
              <a:ext uri="{FF2B5EF4-FFF2-40B4-BE49-F238E27FC236}">
                <a16:creationId xmlns:a16="http://schemas.microsoft.com/office/drawing/2014/main" id="{59943DD8-58AE-DE9C-75F1-9BF9E11A72E3}"/>
              </a:ext>
            </a:extLst>
          </p:cNvPr>
          <p:cNvSpPr/>
          <p:nvPr/>
        </p:nvSpPr>
        <p:spPr>
          <a:xfrm>
            <a:off x="5480393" y="2268049"/>
            <a:ext cx="1592007" cy="1645901"/>
          </a:xfrm>
          <a:custGeom>
            <a:avLst/>
            <a:gdLst>
              <a:gd name="csX0" fmla="*/ 349369 w 1592007"/>
              <a:gd name="csY0" fmla="*/ 1522895 h 1645901"/>
              <a:gd name="csX1" fmla="*/ 1024343 w 1592007"/>
              <a:gd name="csY1" fmla="*/ 1646276 h 1645901"/>
              <a:gd name="csX2" fmla="*/ 1399101 w 1592007"/>
              <a:gd name="csY2" fmla="*/ 1387795 h 1645901"/>
              <a:gd name="csX3" fmla="*/ 1592382 w 1592007"/>
              <a:gd name="csY3" fmla="*/ 242856 h 1645901"/>
              <a:gd name="csX4" fmla="*/ 1493767 w 1592007"/>
              <a:gd name="csY4" fmla="*/ 187629 h 1645901"/>
              <a:gd name="csX5" fmla="*/ 1371260 w 1592007"/>
              <a:gd name="csY5" fmla="*/ 131152 h 1645901"/>
              <a:gd name="csX6" fmla="*/ 1244699 w 1592007"/>
              <a:gd name="csY6" fmla="*/ 84461 h 1645901"/>
              <a:gd name="csX7" fmla="*/ 1114864 w 1592007"/>
              <a:gd name="csY7" fmla="*/ 47844 h 1645901"/>
              <a:gd name="csX8" fmla="*/ 982557 w 1592007"/>
              <a:gd name="csY8" fmla="*/ 21527 h 1645901"/>
              <a:gd name="csX9" fmla="*/ 848593 w 1592007"/>
              <a:gd name="csY9" fmla="*/ 5671 h 1645901"/>
              <a:gd name="csX10" fmla="*/ 713798 w 1592007"/>
              <a:gd name="csY10" fmla="*/ 375 h 1645901"/>
              <a:gd name="csX11" fmla="*/ 579003 w 1592007"/>
              <a:gd name="csY11" fmla="*/ 5671 h 1645901"/>
              <a:gd name="csX12" fmla="*/ 445039 w 1592007"/>
              <a:gd name="csY12" fmla="*/ 21527 h 1645901"/>
              <a:gd name="csX13" fmla="*/ 312732 w 1592007"/>
              <a:gd name="csY13" fmla="*/ 47844 h 1645901"/>
              <a:gd name="csX14" fmla="*/ 182898 w 1592007"/>
              <a:gd name="csY14" fmla="*/ 84461 h 1645901"/>
              <a:gd name="csX15" fmla="*/ 137656 w 1592007"/>
              <a:gd name="csY15" fmla="*/ 101152 h 1645901"/>
              <a:gd name="csX16" fmla="*/ 375 w 1592007"/>
              <a:gd name="csY16" fmla="*/ 682192 h 164590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</a:cxnLst>
            <a:rect l="l" t="t" r="r" b="b"/>
            <a:pathLst>
              <a:path w="1592007" h="1645901">
                <a:moveTo>
                  <a:pt x="349369" y="1522895"/>
                </a:moveTo>
                <a:lnTo>
                  <a:pt x="1024343" y="1646276"/>
                </a:lnTo>
                <a:lnTo>
                  <a:pt x="1399101" y="1387795"/>
                </a:lnTo>
                <a:lnTo>
                  <a:pt x="1592382" y="242856"/>
                </a:lnTo>
                <a:lnTo>
                  <a:pt x="1493767" y="187629"/>
                </a:lnTo>
                <a:lnTo>
                  <a:pt x="1371260" y="131152"/>
                </a:lnTo>
                <a:lnTo>
                  <a:pt x="1244699" y="84461"/>
                </a:lnTo>
                <a:lnTo>
                  <a:pt x="1114864" y="47844"/>
                </a:lnTo>
                <a:lnTo>
                  <a:pt x="982557" y="21527"/>
                </a:lnTo>
                <a:lnTo>
                  <a:pt x="848593" y="5671"/>
                </a:lnTo>
                <a:lnTo>
                  <a:pt x="713798" y="375"/>
                </a:lnTo>
                <a:lnTo>
                  <a:pt x="579003" y="5671"/>
                </a:lnTo>
                <a:lnTo>
                  <a:pt x="445039" y="21527"/>
                </a:lnTo>
                <a:lnTo>
                  <a:pt x="312732" y="47844"/>
                </a:lnTo>
                <a:lnTo>
                  <a:pt x="182898" y="84461"/>
                </a:lnTo>
                <a:lnTo>
                  <a:pt x="137656" y="101152"/>
                </a:lnTo>
                <a:lnTo>
                  <a:pt x="375" y="682192"/>
                </a:lnTo>
                <a:close/>
              </a:path>
            </a:pathLst>
          </a:custGeom>
          <a:solidFill>
            <a:srgbClr val="234255"/>
          </a:solidFill>
          <a:ln w="14707" cap="flat">
            <a:solidFill>
              <a:srgbClr val="FFFFFF"/>
            </a:solidFill>
            <a:prstDash val="solid"/>
            <a:miter/>
          </a:ln>
        </p:spPr>
        <p:txBody>
          <a:bodyPr lIns="0" tIns="0" rIns="0" bIns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2" name="Free-form: Shape 401">
            <a:extLst>
              <a:ext uri="{FF2B5EF4-FFF2-40B4-BE49-F238E27FC236}">
                <a16:creationId xmlns:a16="http://schemas.microsoft.com/office/drawing/2014/main" id="{A802DEC8-1CAB-A76E-ABDA-5FDD7E95D07B}"/>
              </a:ext>
            </a:extLst>
          </p:cNvPr>
          <p:cNvSpPr/>
          <p:nvPr/>
        </p:nvSpPr>
        <p:spPr>
          <a:xfrm>
            <a:off x="6504361" y="3655469"/>
            <a:ext cx="1404939" cy="1636466"/>
          </a:xfrm>
          <a:custGeom>
            <a:avLst/>
            <a:gdLst>
              <a:gd name="csX0" fmla="*/ 904661 w 1404939"/>
              <a:gd name="csY0" fmla="*/ 1545814 h 1636466"/>
              <a:gd name="csX1" fmla="*/ 996230 w 1404939"/>
              <a:gd name="csY1" fmla="*/ 1446755 h 1636466"/>
              <a:gd name="csX2" fmla="*/ 1079745 w 1404939"/>
              <a:gd name="csY2" fmla="*/ 1340816 h 1636466"/>
              <a:gd name="csX3" fmla="*/ 1154691 w 1404939"/>
              <a:gd name="csY3" fmla="*/ 1228652 h 1636466"/>
              <a:gd name="csX4" fmla="*/ 1220606 w 1404939"/>
              <a:gd name="csY4" fmla="*/ 1110953 h 1636466"/>
              <a:gd name="csX5" fmla="*/ 1277083 w 1404939"/>
              <a:gd name="csY5" fmla="*/ 988445 h 1636466"/>
              <a:gd name="csX6" fmla="*/ 1323773 w 1404939"/>
              <a:gd name="csY6" fmla="*/ 861884 h 1636466"/>
              <a:gd name="csX7" fmla="*/ 1360390 w 1404939"/>
              <a:gd name="csY7" fmla="*/ 732050 h 1636466"/>
              <a:gd name="csX8" fmla="*/ 1386708 w 1404939"/>
              <a:gd name="csY8" fmla="*/ 599743 h 1636466"/>
              <a:gd name="csX9" fmla="*/ 1402564 w 1404939"/>
              <a:gd name="csY9" fmla="*/ 465779 h 1636466"/>
              <a:gd name="csX10" fmla="*/ 1405314 w 1404939"/>
              <a:gd name="csY10" fmla="*/ 395772 h 1636466"/>
              <a:gd name="csX11" fmla="*/ 881881 w 1404939"/>
              <a:gd name="csY11" fmla="*/ 26913 h 1636466"/>
              <a:gd name="csX12" fmla="*/ 375133 w 1404939"/>
              <a:gd name="csY12" fmla="*/ 375 h 1636466"/>
              <a:gd name="csX13" fmla="*/ 375 w 1404939"/>
              <a:gd name="csY13" fmla="*/ 258856 h 1636466"/>
              <a:gd name="csX14" fmla="*/ 418332 w 1404939"/>
              <a:gd name="csY14" fmla="*/ 1541834 h 1636466"/>
              <a:gd name="csX15" fmla="*/ 806188 w 1404939"/>
              <a:gd name="csY15" fmla="*/ 1636841 h 163646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</a:cxnLst>
            <a:rect l="l" t="t" r="r" b="b"/>
            <a:pathLst>
              <a:path w="1404939" h="1636466">
                <a:moveTo>
                  <a:pt x="904661" y="1545814"/>
                </a:moveTo>
                <a:lnTo>
                  <a:pt x="996230" y="1446755"/>
                </a:lnTo>
                <a:lnTo>
                  <a:pt x="1079745" y="1340816"/>
                </a:lnTo>
                <a:lnTo>
                  <a:pt x="1154691" y="1228652"/>
                </a:lnTo>
                <a:lnTo>
                  <a:pt x="1220606" y="1110953"/>
                </a:lnTo>
                <a:lnTo>
                  <a:pt x="1277083" y="988445"/>
                </a:lnTo>
                <a:lnTo>
                  <a:pt x="1323773" y="861884"/>
                </a:lnTo>
                <a:lnTo>
                  <a:pt x="1360390" y="732050"/>
                </a:lnTo>
                <a:lnTo>
                  <a:pt x="1386708" y="599743"/>
                </a:lnTo>
                <a:lnTo>
                  <a:pt x="1402564" y="465779"/>
                </a:lnTo>
                <a:lnTo>
                  <a:pt x="1405314" y="395772"/>
                </a:lnTo>
                <a:lnTo>
                  <a:pt x="881881" y="26913"/>
                </a:lnTo>
                <a:lnTo>
                  <a:pt x="375133" y="375"/>
                </a:lnTo>
                <a:lnTo>
                  <a:pt x="375" y="258856"/>
                </a:lnTo>
                <a:lnTo>
                  <a:pt x="418332" y="1541834"/>
                </a:lnTo>
                <a:lnTo>
                  <a:pt x="806188" y="1636841"/>
                </a:lnTo>
                <a:close/>
              </a:path>
            </a:pathLst>
          </a:custGeom>
          <a:solidFill>
            <a:srgbClr val="ECECEC"/>
          </a:solidFill>
          <a:ln w="14707" cap="flat">
            <a:solidFill>
              <a:srgbClr val="FFFFFF"/>
            </a:solidFill>
            <a:prstDash val="solid"/>
            <a:miter/>
          </a:ln>
        </p:spPr>
        <p:txBody>
          <a:bodyPr lIns="0" tIns="0" rIns="0" bIns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3" name="Free-form: Shape 402">
            <a:extLst>
              <a:ext uri="{FF2B5EF4-FFF2-40B4-BE49-F238E27FC236}">
                <a16:creationId xmlns:a16="http://schemas.microsoft.com/office/drawing/2014/main" id="{80D168E2-4F55-1B34-0532-47A8BEBAFE3C}"/>
              </a:ext>
            </a:extLst>
          </p:cNvPr>
          <p:cNvSpPr/>
          <p:nvPr/>
        </p:nvSpPr>
        <p:spPr>
          <a:xfrm>
            <a:off x="4475788" y="3203758"/>
            <a:ext cx="986435" cy="1236759"/>
          </a:xfrm>
          <a:custGeom>
            <a:avLst/>
            <a:gdLst>
              <a:gd name="csX0" fmla="*/ 187629 w 986435"/>
              <a:gd name="csY0" fmla="*/ 2726 h 1236759"/>
              <a:gd name="csX1" fmla="*/ 131152 w 986435"/>
              <a:gd name="csY1" fmla="*/ 125234 h 1236759"/>
              <a:gd name="csX2" fmla="*/ 84461 w 986435"/>
              <a:gd name="csY2" fmla="*/ 251795 h 1236759"/>
              <a:gd name="csX3" fmla="*/ 47844 w 986435"/>
              <a:gd name="csY3" fmla="*/ 381629 h 1236759"/>
              <a:gd name="csX4" fmla="*/ 21527 w 986435"/>
              <a:gd name="csY4" fmla="*/ 513936 h 1236759"/>
              <a:gd name="csX5" fmla="*/ 5671 w 986435"/>
              <a:gd name="csY5" fmla="*/ 647900 h 1236759"/>
              <a:gd name="csX6" fmla="*/ 375 w 986435"/>
              <a:gd name="csY6" fmla="*/ 782695 h 1236759"/>
              <a:gd name="csX7" fmla="*/ 5671 w 986435"/>
              <a:gd name="csY7" fmla="*/ 917490 h 1236759"/>
              <a:gd name="csX8" fmla="*/ 21527 w 986435"/>
              <a:gd name="csY8" fmla="*/ 1051454 h 1236759"/>
              <a:gd name="csX9" fmla="*/ 47844 w 986435"/>
              <a:gd name="csY9" fmla="*/ 1183761 h 1236759"/>
              <a:gd name="csX10" fmla="*/ 50705 w 986435"/>
              <a:gd name="csY10" fmla="*/ 1193906 h 1236759"/>
              <a:gd name="csX11" fmla="*/ 594367 w 986435"/>
              <a:gd name="csY11" fmla="*/ 1237135 h 1236759"/>
              <a:gd name="csX12" fmla="*/ 986810 w 986435"/>
              <a:gd name="csY12" fmla="*/ 756663 h 1236759"/>
              <a:gd name="csX13" fmla="*/ 188946 w 986435"/>
              <a:gd name="csY13" fmla="*/ 375 h 123675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</a:cxnLst>
            <a:rect l="l" t="t" r="r" b="b"/>
            <a:pathLst>
              <a:path w="986435" h="1236759">
                <a:moveTo>
                  <a:pt x="187629" y="2726"/>
                </a:moveTo>
                <a:lnTo>
                  <a:pt x="131152" y="125234"/>
                </a:lnTo>
                <a:lnTo>
                  <a:pt x="84461" y="251795"/>
                </a:lnTo>
                <a:lnTo>
                  <a:pt x="47844" y="381629"/>
                </a:lnTo>
                <a:lnTo>
                  <a:pt x="21527" y="513936"/>
                </a:lnTo>
                <a:lnTo>
                  <a:pt x="5671" y="647900"/>
                </a:lnTo>
                <a:lnTo>
                  <a:pt x="375" y="782695"/>
                </a:lnTo>
                <a:lnTo>
                  <a:pt x="5671" y="917490"/>
                </a:lnTo>
                <a:lnTo>
                  <a:pt x="21527" y="1051454"/>
                </a:lnTo>
                <a:lnTo>
                  <a:pt x="47844" y="1183761"/>
                </a:lnTo>
                <a:lnTo>
                  <a:pt x="50705" y="1193906"/>
                </a:lnTo>
                <a:lnTo>
                  <a:pt x="594367" y="1237135"/>
                </a:lnTo>
                <a:lnTo>
                  <a:pt x="986810" y="756663"/>
                </a:lnTo>
                <a:lnTo>
                  <a:pt x="188946" y="375"/>
                </a:lnTo>
                <a:close/>
              </a:path>
            </a:pathLst>
          </a:custGeom>
          <a:solidFill>
            <a:srgbClr val="315A72"/>
          </a:solidFill>
          <a:ln w="14707" cap="flat">
            <a:solidFill>
              <a:srgbClr val="FFFFFF"/>
            </a:solidFill>
            <a:prstDash val="solid"/>
            <a:miter/>
          </a:ln>
        </p:spPr>
        <p:txBody>
          <a:bodyPr lIns="0" tIns="0" rIns="0" bIns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4" name="Free-form: Shape 403">
            <a:extLst>
              <a:ext uri="{FF2B5EF4-FFF2-40B4-BE49-F238E27FC236}">
                <a16:creationId xmlns:a16="http://schemas.microsoft.com/office/drawing/2014/main" id="{0D881452-9FF9-11EC-8FD5-CB69FED80151}"/>
              </a:ext>
            </a:extLst>
          </p:cNvPr>
          <p:cNvSpPr/>
          <p:nvPr/>
        </p:nvSpPr>
        <p:spPr>
          <a:xfrm>
            <a:off x="6879119" y="2510530"/>
            <a:ext cx="904255" cy="1171476"/>
          </a:xfrm>
          <a:custGeom>
            <a:avLst/>
            <a:gdLst>
              <a:gd name="csX0" fmla="*/ 902325 w 904255"/>
              <a:gd name="csY0" fmla="*/ 818462 h 1171476"/>
              <a:gd name="csX1" fmla="*/ 845848 w 904255"/>
              <a:gd name="csY1" fmla="*/ 695954 h 1171476"/>
              <a:gd name="csX2" fmla="*/ 779933 w 904255"/>
              <a:gd name="csY2" fmla="*/ 578255 h 1171476"/>
              <a:gd name="csX3" fmla="*/ 704987 w 904255"/>
              <a:gd name="csY3" fmla="*/ 466091 h 1171476"/>
              <a:gd name="csX4" fmla="*/ 621472 w 904255"/>
              <a:gd name="csY4" fmla="*/ 360153 h 1171476"/>
              <a:gd name="csX5" fmla="*/ 529903 w 904255"/>
              <a:gd name="csY5" fmla="*/ 261093 h 1171476"/>
              <a:gd name="csX6" fmla="*/ 430843 w 904255"/>
              <a:gd name="csY6" fmla="*/ 169524 h 1171476"/>
              <a:gd name="csX7" fmla="*/ 324905 w 904255"/>
              <a:gd name="csY7" fmla="*/ 86008 h 1171476"/>
              <a:gd name="csX8" fmla="*/ 212740 w 904255"/>
              <a:gd name="csY8" fmla="*/ 11062 h 1171476"/>
              <a:gd name="csX9" fmla="*/ 193656 w 904255"/>
              <a:gd name="csY9" fmla="*/ 375 h 1171476"/>
              <a:gd name="csX10" fmla="*/ 375 w 904255"/>
              <a:gd name="csY10" fmla="*/ 1145314 h 1171476"/>
              <a:gd name="csX11" fmla="*/ 507123 w 904255"/>
              <a:gd name="csY11" fmla="*/ 1171852 h 1171476"/>
              <a:gd name="csX12" fmla="*/ 904631 w 904255"/>
              <a:gd name="csY12" fmla="*/ 824714 h 117147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</a:cxnLst>
            <a:rect l="l" t="t" r="r" b="b"/>
            <a:pathLst>
              <a:path w="904255" h="1171476">
                <a:moveTo>
                  <a:pt x="902325" y="818462"/>
                </a:moveTo>
                <a:lnTo>
                  <a:pt x="845848" y="695954"/>
                </a:lnTo>
                <a:lnTo>
                  <a:pt x="779933" y="578255"/>
                </a:lnTo>
                <a:lnTo>
                  <a:pt x="704987" y="466091"/>
                </a:lnTo>
                <a:lnTo>
                  <a:pt x="621472" y="360153"/>
                </a:lnTo>
                <a:lnTo>
                  <a:pt x="529903" y="261093"/>
                </a:lnTo>
                <a:lnTo>
                  <a:pt x="430843" y="169524"/>
                </a:lnTo>
                <a:lnTo>
                  <a:pt x="324905" y="86008"/>
                </a:lnTo>
                <a:lnTo>
                  <a:pt x="212740" y="11062"/>
                </a:lnTo>
                <a:lnTo>
                  <a:pt x="193656" y="375"/>
                </a:lnTo>
                <a:lnTo>
                  <a:pt x="375" y="1145314"/>
                </a:lnTo>
                <a:lnTo>
                  <a:pt x="507123" y="1171852"/>
                </a:lnTo>
                <a:lnTo>
                  <a:pt x="904631" y="824714"/>
                </a:lnTo>
                <a:close/>
              </a:path>
            </a:pathLst>
          </a:custGeom>
          <a:solidFill>
            <a:srgbClr val="679CBD"/>
          </a:solidFill>
          <a:ln w="14707" cap="flat">
            <a:solidFill>
              <a:srgbClr val="FFFFFF"/>
            </a:solidFill>
            <a:prstDash val="solid"/>
            <a:miter/>
          </a:ln>
        </p:spPr>
        <p:txBody>
          <a:bodyPr lIns="0" tIns="0" rIns="0" bIns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5" name="Free-form: Shape 404">
            <a:extLst>
              <a:ext uri="{FF2B5EF4-FFF2-40B4-BE49-F238E27FC236}">
                <a16:creationId xmlns:a16="http://schemas.microsoft.com/office/drawing/2014/main" id="{03151D4E-B83A-DDB7-4A3D-D9829F19B4C4}"/>
              </a:ext>
            </a:extLst>
          </p:cNvPr>
          <p:cNvSpPr/>
          <p:nvPr/>
        </p:nvSpPr>
        <p:spPr>
          <a:xfrm>
            <a:off x="4664358" y="2949866"/>
            <a:ext cx="1165029" cy="1010179"/>
          </a:xfrm>
          <a:custGeom>
            <a:avLst/>
            <a:gdLst>
              <a:gd name="csX0" fmla="*/ 1165404 w 1165029"/>
              <a:gd name="csY0" fmla="*/ 841078 h 1010179"/>
              <a:gd name="csX1" fmla="*/ 816410 w 1165029"/>
              <a:gd name="csY1" fmla="*/ 375 h 1010179"/>
              <a:gd name="csX2" fmla="*/ 89303 w 1165029"/>
              <a:gd name="csY2" fmla="*/ 102507 h 1010179"/>
              <a:gd name="csX3" fmla="*/ 64973 w 1165029"/>
              <a:gd name="csY3" fmla="*/ 138919 h 1010179"/>
              <a:gd name="csX4" fmla="*/ 375 w 1165029"/>
              <a:gd name="csY4" fmla="*/ 254267 h 1010179"/>
              <a:gd name="csX5" fmla="*/ 798239 w 1165029"/>
              <a:gd name="csY5" fmla="*/ 1010555 h 101017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</a:cxnLst>
            <a:rect l="l" t="t" r="r" b="b"/>
            <a:pathLst>
              <a:path w="1165029" h="1010179">
                <a:moveTo>
                  <a:pt x="1165404" y="841078"/>
                </a:moveTo>
                <a:lnTo>
                  <a:pt x="816410" y="375"/>
                </a:lnTo>
                <a:lnTo>
                  <a:pt x="89303" y="102507"/>
                </a:lnTo>
                <a:lnTo>
                  <a:pt x="64973" y="138919"/>
                </a:lnTo>
                <a:lnTo>
                  <a:pt x="375" y="254267"/>
                </a:lnTo>
                <a:lnTo>
                  <a:pt x="798239" y="1010555"/>
                </a:lnTo>
                <a:close/>
              </a:path>
            </a:pathLst>
          </a:custGeom>
          <a:solidFill>
            <a:srgbClr val="90BED4"/>
          </a:solidFill>
          <a:ln w="14707" cap="flat">
            <a:solidFill>
              <a:srgbClr val="FFFFFF"/>
            </a:solidFill>
            <a:prstDash val="solid"/>
            <a:miter/>
          </a:ln>
        </p:spPr>
        <p:txBody>
          <a:bodyPr lIns="0" tIns="0" rIns="0" bIns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6" name="Free-form: Shape 405">
            <a:extLst>
              <a:ext uri="{FF2B5EF4-FFF2-40B4-BE49-F238E27FC236}">
                <a16:creationId xmlns:a16="http://schemas.microsoft.com/office/drawing/2014/main" id="{479A406C-D546-9ABB-458F-27C0CC570EC9}"/>
              </a:ext>
            </a:extLst>
          </p:cNvPr>
          <p:cNvSpPr/>
          <p:nvPr/>
        </p:nvSpPr>
        <p:spPr>
          <a:xfrm>
            <a:off x="4753286" y="2368826"/>
            <a:ext cx="864388" cy="683171"/>
          </a:xfrm>
          <a:custGeom>
            <a:avLst/>
            <a:gdLst>
              <a:gd name="csX0" fmla="*/ 783444 w 864388"/>
              <a:gd name="csY0" fmla="*/ 30375 h 683171"/>
              <a:gd name="csX1" fmla="*/ 660937 w 864388"/>
              <a:gd name="csY1" fmla="*/ 86852 h 683171"/>
              <a:gd name="csX2" fmla="*/ 543238 w 864388"/>
              <a:gd name="csY2" fmla="*/ 152767 h 683171"/>
              <a:gd name="csX3" fmla="*/ 431073 w 864388"/>
              <a:gd name="csY3" fmla="*/ 227712 h 683171"/>
              <a:gd name="csX4" fmla="*/ 325135 w 864388"/>
              <a:gd name="csY4" fmla="*/ 311228 h 683171"/>
              <a:gd name="csX5" fmla="*/ 226075 w 864388"/>
              <a:gd name="csY5" fmla="*/ 402797 h 683171"/>
              <a:gd name="csX6" fmla="*/ 134506 w 864388"/>
              <a:gd name="csY6" fmla="*/ 501857 h 683171"/>
              <a:gd name="csX7" fmla="*/ 50991 w 864388"/>
              <a:gd name="csY7" fmla="*/ 607795 h 683171"/>
              <a:gd name="csX8" fmla="*/ 375 w 864388"/>
              <a:gd name="csY8" fmla="*/ 683547 h 683171"/>
              <a:gd name="csX9" fmla="*/ 727482 w 864388"/>
              <a:gd name="csY9" fmla="*/ 581415 h 683171"/>
              <a:gd name="csX10" fmla="*/ 864763 w 864388"/>
              <a:gd name="csY10" fmla="*/ 375 h 68317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</a:cxnLst>
            <a:rect l="l" t="t" r="r" b="b"/>
            <a:pathLst>
              <a:path w="864388" h="683171">
                <a:moveTo>
                  <a:pt x="783444" y="30375"/>
                </a:moveTo>
                <a:lnTo>
                  <a:pt x="660937" y="86852"/>
                </a:lnTo>
                <a:lnTo>
                  <a:pt x="543238" y="152767"/>
                </a:lnTo>
                <a:lnTo>
                  <a:pt x="431073" y="227712"/>
                </a:lnTo>
                <a:lnTo>
                  <a:pt x="325135" y="311228"/>
                </a:lnTo>
                <a:lnTo>
                  <a:pt x="226075" y="402797"/>
                </a:lnTo>
                <a:lnTo>
                  <a:pt x="134506" y="501857"/>
                </a:lnTo>
                <a:lnTo>
                  <a:pt x="50991" y="607795"/>
                </a:lnTo>
                <a:lnTo>
                  <a:pt x="375" y="683547"/>
                </a:lnTo>
                <a:lnTo>
                  <a:pt x="727482" y="581415"/>
                </a:lnTo>
                <a:lnTo>
                  <a:pt x="864763" y="375"/>
                </a:lnTo>
                <a:close/>
              </a:path>
            </a:pathLst>
          </a:custGeom>
          <a:solidFill>
            <a:srgbClr val="CDE1EB"/>
          </a:solidFill>
          <a:ln w="14707" cap="flat">
            <a:solidFill>
              <a:srgbClr val="FFFFFF"/>
            </a:solidFill>
            <a:prstDash val="solid"/>
            <a:miter/>
          </a:ln>
        </p:spPr>
        <p:txBody>
          <a:bodyPr lIns="0" tIns="0" rIns="0" bIns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7" name="Free-form: Shape 406">
            <a:extLst>
              <a:ext uri="{FF2B5EF4-FFF2-40B4-BE49-F238E27FC236}">
                <a16:creationId xmlns:a16="http://schemas.microsoft.com/office/drawing/2014/main" id="{599A06C4-A1C4-C706-5E09-1BA823796345}"/>
              </a:ext>
            </a:extLst>
          </p:cNvPr>
          <p:cNvSpPr/>
          <p:nvPr/>
        </p:nvSpPr>
        <p:spPr>
          <a:xfrm>
            <a:off x="7385867" y="3334869"/>
            <a:ext cx="525978" cy="715996"/>
          </a:xfrm>
          <a:custGeom>
            <a:avLst/>
            <a:gdLst>
              <a:gd name="csX0" fmla="*/ 523808 w 525978"/>
              <a:gd name="csY0" fmla="*/ 716372 h 715996"/>
              <a:gd name="csX1" fmla="*/ 526354 w 525978"/>
              <a:gd name="csY1" fmla="*/ 651585 h 715996"/>
              <a:gd name="csX2" fmla="*/ 521057 w 525978"/>
              <a:gd name="csY2" fmla="*/ 516789 h 715996"/>
              <a:gd name="csX3" fmla="*/ 505202 w 525978"/>
              <a:gd name="csY3" fmla="*/ 382826 h 715996"/>
              <a:gd name="csX4" fmla="*/ 478884 w 525978"/>
              <a:gd name="csY4" fmla="*/ 250519 h 715996"/>
              <a:gd name="csX5" fmla="*/ 442267 w 525978"/>
              <a:gd name="csY5" fmla="*/ 120684 h 715996"/>
              <a:gd name="csX6" fmla="*/ 397883 w 525978"/>
              <a:gd name="csY6" fmla="*/ 375 h 715996"/>
              <a:gd name="csX7" fmla="*/ 375 w 525978"/>
              <a:gd name="csY7" fmla="*/ 347513 h 71599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</a:cxnLst>
            <a:rect l="l" t="t" r="r" b="b"/>
            <a:pathLst>
              <a:path w="525978" h="715996">
                <a:moveTo>
                  <a:pt x="523808" y="716372"/>
                </a:moveTo>
                <a:lnTo>
                  <a:pt x="526354" y="651585"/>
                </a:lnTo>
                <a:lnTo>
                  <a:pt x="521057" y="516789"/>
                </a:lnTo>
                <a:lnTo>
                  <a:pt x="505202" y="382826"/>
                </a:lnTo>
                <a:lnTo>
                  <a:pt x="478884" y="250519"/>
                </a:lnTo>
                <a:lnTo>
                  <a:pt x="442267" y="120684"/>
                </a:lnTo>
                <a:lnTo>
                  <a:pt x="397883" y="375"/>
                </a:lnTo>
                <a:lnTo>
                  <a:pt x="375" y="347513"/>
                </a:lnTo>
                <a:close/>
              </a:path>
            </a:pathLst>
          </a:custGeom>
          <a:solidFill>
            <a:schemeClr val="accent6">
              <a:lumMod val="75000"/>
            </a:schemeClr>
          </a:solidFill>
          <a:ln w="14707" cap="flat">
            <a:solidFill>
              <a:srgbClr val="FFFFFF"/>
            </a:solidFill>
            <a:prstDash val="solid"/>
            <a:miter/>
          </a:ln>
        </p:spPr>
        <p:txBody>
          <a:bodyPr lIns="0" tIns="0" rIns="0" bIns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8" name="Free-form: Shape 407">
            <a:extLst>
              <a:ext uri="{FF2B5EF4-FFF2-40B4-BE49-F238E27FC236}">
                <a16:creationId xmlns:a16="http://schemas.microsoft.com/office/drawing/2014/main" id="{0B656C92-EA03-22A7-BEF7-87BF639C54A5}"/>
              </a:ext>
            </a:extLst>
          </p:cNvPr>
          <p:cNvSpPr/>
          <p:nvPr/>
        </p:nvSpPr>
        <p:spPr>
          <a:xfrm>
            <a:off x="4526118" y="4397289"/>
            <a:ext cx="543661" cy="468346"/>
          </a:xfrm>
          <a:custGeom>
            <a:avLst/>
            <a:gdLst>
              <a:gd name="csX0" fmla="*/ 544037 w 543661"/>
              <a:gd name="csY0" fmla="*/ 43604 h 468346"/>
              <a:gd name="csX1" fmla="*/ 375 w 543661"/>
              <a:gd name="csY1" fmla="*/ 375 h 468346"/>
              <a:gd name="csX2" fmla="*/ 34131 w 543661"/>
              <a:gd name="csY2" fmla="*/ 120064 h 468346"/>
              <a:gd name="csX3" fmla="*/ 80822 w 543661"/>
              <a:gd name="csY3" fmla="*/ 246625 h 468346"/>
              <a:gd name="csX4" fmla="*/ 137298 w 543661"/>
              <a:gd name="csY4" fmla="*/ 369133 h 468346"/>
              <a:gd name="csX5" fmla="*/ 193071 w 543661"/>
              <a:gd name="csY5" fmla="*/ 468722 h 468346"/>
              <a:gd name="csX6" fmla="*/ 483914 w 543661"/>
              <a:gd name="csY6" fmla="*/ 374978 h 46834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</a:cxnLst>
            <a:rect l="l" t="t" r="r" b="b"/>
            <a:pathLst>
              <a:path w="543661" h="468346">
                <a:moveTo>
                  <a:pt x="544037" y="43604"/>
                </a:moveTo>
                <a:lnTo>
                  <a:pt x="375" y="375"/>
                </a:lnTo>
                <a:lnTo>
                  <a:pt x="34131" y="120064"/>
                </a:lnTo>
                <a:lnTo>
                  <a:pt x="80822" y="246625"/>
                </a:lnTo>
                <a:lnTo>
                  <a:pt x="137298" y="369133"/>
                </a:lnTo>
                <a:lnTo>
                  <a:pt x="193071" y="468722"/>
                </a:lnTo>
                <a:lnTo>
                  <a:pt x="483914" y="374978"/>
                </a:ln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14707" cap="flat">
            <a:solidFill>
              <a:srgbClr val="FFFFFF"/>
            </a:solidFill>
            <a:prstDash val="solid"/>
            <a:miter/>
          </a:ln>
        </p:spPr>
        <p:txBody>
          <a:bodyPr lIns="0" tIns="0" rIns="0" bIns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9" name="Free-form: Shape 408">
            <a:extLst>
              <a:ext uri="{FF2B5EF4-FFF2-40B4-BE49-F238E27FC236}">
                <a16:creationId xmlns:a16="http://schemas.microsoft.com/office/drawing/2014/main" id="{4A703B33-8BCA-7B71-7607-AA60EED4A17D}"/>
              </a:ext>
            </a:extLst>
          </p:cNvPr>
          <p:cNvSpPr/>
          <p:nvPr/>
        </p:nvSpPr>
        <p:spPr>
          <a:xfrm>
            <a:off x="4718813" y="4771892"/>
            <a:ext cx="397581" cy="550818"/>
          </a:xfrm>
          <a:custGeom>
            <a:avLst/>
            <a:gdLst>
              <a:gd name="csX0" fmla="*/ 10517 w 397581"/>
              <a:gd name="csY0" fmla="*/ 112229 h 550818"/>
              <a:gd name="csX1" fmla="*/ 85463 w 397581"/>
              <a:gd name="csY1" fmla="*/ 224393 h 550818"/>
              <a:gd name="csX2" fmla="*/ 168978 w 397581"/>
              <a:gd name="csY2" fmla="*/ 330332 h 550818"/>
              <a:gd name="csX3" fmla="*/ 260548 w 397581"/>
              <a:gd name="csY3" fmla="*/ 429391 h 550818"/>
              <a:gd name="csX4" fmla="*/ 359607 w 397581"/>
              <a:gd name="csY4" fmla="*/ 520961 h 550818"/>
              <a:gd name="csX5" fmla="*/ 397957 w 397581"/>
              <a:gd name="csY5" fmla="*/ 551193 h 550818"/>
              <a:gd name="csX6" fmla="*/ 291218 w 397581"/>
              <a:gd name="csY6" fmla="*/ 375 h 550818"/>
              <a:gd name="csX7" fmla="*/ 375 w 397581"/>
              <a:gd name="csY7" fmla="*/ 94119 h 55081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</a:cxnLst>
            <a:rect l="l" t="t" r="r" b="b"/>
            <a:pathLst>
              <a:path w="397581" h="550818">
                <a:moveTo>
                  <a:pt x="10517" y="112229"/>
                </a:moveTo>
                <a:lnTo>
                  <a:pt x="85463" y="224393"/>
                </a:lnTo>
                <a:lnTo>
                  <a:pt x="168978" y="330332"/>
                </a:lnTo>
                <a:lnTo>
                  <a:pt x="260548" y="429391"/>
                </a:lnTo>
                <a:lnTo>
                  <a:pt x="359607" y="520961"/>
                </a:lnTo>
                <a:lnTo>
                  <a:pt x="397957" y="551193"/>
                </a:lnTo>
                <a:lnTo>
                  <a:pt x="291218" y="375"/>
                </a:lnTo>
                <a:lnTo>
                  <a:pt x="375" y="94119"/>
                </a:lnTo>
                <a:close/>
              </a:path>
            </a:pathLst>
          </a:custGeom>
          <a:solidFill>
            <a:srgbClr val="D9EDF5"/>
          </a:solidFill>
          <a:ln w="14707" cap="flat">
            <a:solidFill>
              <a:srgbClr val="FFFFFF"/>
            </a:solidFill>
            <a:prstDash val="solid"/>
            <a:miter/>
          </a:ln>
        </p:spPr>
        <p:txBody>
          <a:bodyPr lIns="0" tIns="0" rIns="0" bIns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10" name="Free-form: Shape 409">
            <a:extLst>
              <a:ext uri="{FF2B5EF4-FFF2-40B4-BE49-F238E27FC236}">
                <a16:creationId xmlns:a16="http://schemas.microsoft.com/office/drawing/2014/main" id="{D425ED5A-32B8-1788-41C0-E6B0472968B9}"/>
              </a:ext>
            </a:extLst>
          </p:cNvPr>
          <p:cNvSpPr/>
          <p:nvPr/>
        </p:nvSpPr>
        <p:spPr>
          <a:xfrm>
            <a:off x="6669816" y="5196928"/>
            <a:ext cx="640357" cy="438576"/>
          </a:xfrm>
          <a:custGeom>
            <a:avLst/>
            <a:gdLst>
              <a:gd name="csX0" fmla="*/ 55275 w 640357"/>
              <a:gd name="csY0" fmla="*/ 423468 h 438576"/>
              <a:gd name="csX1" fmla="*/ 181836 w 640357"/>
              <a:gd name="csY1" fmla="*/ 376777 h 438576"/>
              <a:gd name="csX2" fmla="*/ 304343 w 640357"/>
              <a:gd name="csY2" fmla="*/ 320300 h 438576"/>
              <a:gd name="csX3" fmla="*/ 422042 w 640357"/>
              <a:gd name="csY3" fmla="*/ 254386 h 438576"/>
              <a:gd name="csX4" fmla="*/ 534207 w 640357"/>
              <a:gd name="csY4" fmla="*/ 179440 h 438576"/>
              <a:gd name="csX5" fmla="*/ 640145 w 640357"/>
              <a:gd name="csY5" fmla="*/ 95925 h 438576"/>
              <a:gd name="csX6" fmla="*/ 640732 w 640357"/>
              <a:gd name="csY6" fmla="*/ 95382 h 438576"/>
              <a:gd name="csX7" fmla="*/ 252876 w 640357"/>
              <a:gd name="csY7" fmla="*/ 375 h 438576"/>
              <a:gd name="csX8" fmla="*/ 375 w 640357"/>
              <a:gd name="csY8" fmla="*/ 438951 h 43857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</a:cxnLst>
            <a:rect l="l" t="t" r="r" b="b"/>
            <a:pathLst>
              <a:path w="640357" h="438576">
                <a:moveTo>
                  <a:pt x="55275" y="423468"/>
                </a:moveTo>
                <a:lnTo>
                  <a:pt x="181836" y="376777"/>
                </a:lnTo>
                <a:lnTo>
                  <a:pt x="304343" y="320300"/>
                </a:lnTo>
                <a:lnTo>
                  <a:pt x="422042" y="254386"/>
                </a:lnTo>
                <a:lnTo>
                  <a:pt x="534207" y="179440"/>
                </a:lnTo>
                <a:lnTo>
                  <a:pt x="640145" y="95925"/>
                </a:lnTo>
                <a:lnTo>
                  <a:pt x="640732" y="95382"/>
                </a:lnTo>
                <a:lnTo>
                  <a:pt x="252876" y="375"/>
                </a:lnTo>
                <a:lnTo>
                  <a:pt x="375" y="438951"/>
                </a:lnTo>
                <a:close/>
              </a:path>
            </a:pathLst>
          </a:custGeom>
          <a:solidFill>
            <a:srgbClr val="E6F5FA"/>
          </a:solidFill>
          <a:ln w="14707" cap="flat">
            <a:solidFill>
              <a:srgbClr val="FFFFFF"/>
            </a:solidFill>
            <a:prstDash val="solid"/>
            <a:miter/>
          </a:ln>
        </p:spPr>
        <p:txBody>
          <a:bodyPr lIns="0" tIns="0" rIns="0" bIns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13" name="TextBox 412">
            <a:extLst>
              <a:ext uri="{FF2B5EF4-FFF2-40B4-BE49-F238E27FC236}">
                <a16:creationId xmlns:a16="http://schemas.microsoft.com/office/drawing/2014/main" id="{D3944F3E-8A8C-7B9A-2101-DE628AD8899F}"/>
              </a:ext>
            </a:extLst>
          </p:cNvPr>
          <p:cNvSpPr txBox="1"/>
          <p:nvPr/>
        </p:nvSpPr>
        <p:spPr>
          <a:xfrm>
            <a:off x="6639318" y="3999486"/>
            <a:ext cx="1239484" cy="60016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Other rare B-cell derived and T-cell derived forms</a:t>
            </a:r>
          </a:p>
        </p:txBody>
      </p:sp>
      <p:sp>
        <p:nvSpPr>
          <p:cNvPr id="414" name="TextBox 413">
            <a:extLst>
              <a:ext uri="{FF2B5EF4-FFF2-40B4-BE49-F238E27FC236}">
                <a16:creationId xmlns:a16="http://schemas.microsoft.com/office/drawing/2014/main" id="{698687C6-295E-903B-3C7A-39A34B8B8F2E}"/>
              </a:ext>
            </a:extLst>
          </p:cNvPr>
          <p:cNvSpPr txBox="1"/>
          <p:nvPr/>
        </p:nvSpPr>
        <p:spPr>
          <a:xfrm>
            <a:off x="3653740" y="4979402"/>
            <a:ext cx="923362" cy="30777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LPL</a:t>
            </a:r>
          </a:p>
        </p:txBody>
      </p:sp>
      <p:sp>
        <p:nvSpPr>
          <p:cNvPr id="415" name="TextBox 414">
            <a:extLst>
              <a:ext uri="{FF2B5EF4-FFF2-40B4-BE49-F238E27FC236}">
                <a16:creationId xmlns:a16="http://schemas.microsoft.com/office/drawing/2014/main" id="{E9E10F8A-317F-D8FF-4143-5E0CA11FF2E6}"/>
              </a:ext>
            </a:extLst>
          </p:cNvPr>
          <p:cNvSpPr txBox="1"/>
          <p:nvPr/>
        </p:nvSpPr>
        <p:spPr>
          <a:xfrm>
            <a:off x="7260400" y="3438138"/>
            <a:ext cx="923362" cy="46166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BL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%</a:t>
            </a:r>
          </a:p>
        </p:txBody>
      </p:sp>
      <p:sp>
        <p:nvSpPr>
          <p:cNvPr id="416" name="TextBox 415">
            <a:extLst>
              <a:ext uri="{FF2B5EF4-FFF2-40B4-BE49-F238E27FC236}">
                <a16:creationId xmlns:a16="http://schemas.microsoft.com/office/drawing/2014/main" id="{B7E78418-1718-2549-A611-9589721FA713}"/>
              </a:ext>
            </a:extLst>
          </p:cNvPr>
          <p:cNvSpPr txBox="1"/>
          <p:nvPr/>
        </p:nvSpPr>
        <p:spPr>
          <a:xfrm>
            <a:off x="4797948" y="3104511"/>
            <a:ext cx="923362" cy="52322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LL/SLL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7%</a:t>
            </a:r>
          </a:p>
        </p:txBody>
      </p:sp>
      <p:sp>
        <p:nvSpPr>
          <p:cNvPr id="417" name="TextBox 416">
            <a:extLst>
              <a:ext uri="{FF2B5EF4-FFF2-40B4-BE49-F238E27FC236}">
                <a16:creationId xmlns:a16="http://schemas.microsoft.com/office/drawing/2014/main" id="{C2BF1103-0240-3FFB-5FA9-95F3A9E0B66D}"/>
              </a:ext>
            </a:extLst>
          </p:cNvPr>
          <p:cNvSpPr txBox="1"/>
          <p:nvPr/>
        </p:nvSpPr>
        <p:spPr>
          <a:xfrm>
            <a:off x="5831256" y="2723886"/>
            <a:ext cx="923362" cy="64633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sv-SE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b="1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FL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2%</a:t>
            </a:r>
          </a:p>
        </p:txBody>
      </p:sp>
      <p:sp>
        <p:nvSpPr>
          <p:cNvPr id="418" name="TextBox 417">
            <a:extLst>
              <a:ext uri="{FF2B5EF4-FFF2-40B4-BE49-F238E27FC236}">
                <a16:creationId xmlns:a16="http://schemas.microsoft.com/office/drawing/2014/main" id="{3A9E32E0-8DA6-9022-0C99-010B038CDC91}"/>
              </a:ext>
            </a:extLst>
          </p:cNvPr>
          <p:cNvSpPr txBox="1"/>
          <p:nvPr/>
        </p:nvSpPr>
        <p:spPr>
          <a:xfrm>
            <a:off x="6831483" y="2977101"/>
            <a:ext cx="923362" cy="52322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MZL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7%</a:t>
            </a:r>
          </a:p>
        </p:txBody>
      </p:sp>
      <p:sp>
        <p:nvSpPr>
          <p:cNvPr id="419" name="TextBox 418">
            <a:extLst>
              <a:ext uri="{FF2B5EF4-FFF2-40B4-BE49-F238E27FC236}">
                <a16:creationId xmlns:a16="http://schemas.microsoft.com/office/drawing/2014/main" id="{8A273F0C-579B-7190-0763-875021F16816}"/>
              </a:ext>
            </a:extLst>
          </p:cNvPr>
          <p:cNvSpPr txBox="1"/>
          <p:nvPr/>
        </p:nvSpPr>
        <p:spPr>
          <a:xfrm>
            <a:off x="4398633" y="3599504"/>
            <a:ext cx="876750" cy="73866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Gastric MAL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8%</a:t>
            </a:r>
          </a:p>
        </p:txBody>
      </p:sp>
      <p:sp>
        <p:nvSpPr>
          <p:cNvPr id="420" name="TextBox 419">
            <a:extLst>
              <a:ext uri="{FF2B5EF4-FFF2-40B4-BE49-F238E27FC236}">
                <a16:creationId xmlns:a16="http://schemas.microsoft.com/office/drawing/2014/main" id="{6B9C552E-005D-80A4-338B-1B42DA462F7C}"/>
              </a:ext>
            </a:extLst>
          </p:cNvPr>
          <p:cNvSpPr txBox="1"/>
          <p:nvPr/>
        </p:nvSpPr>
        <p:spPr>
          <a:xfrm>
            <a:off x="5407238" y="4571798"/>
            <a:ext cx="1111248" cy="64633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LBCL</a:t>
            </a:r>
            <a:b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30%</a:t>
            </a:r>
          </a:p>
        </p:txBody>
      </p:sp>
      <p:sp>
        <p:nvSpPr>
          <p:cNvPr id="421" name="TextBox 420">
            <a:extLst>
              <a:ext uri="{FF2B5EF4-FFF2-40B4-BE49-F238E27FC236}">
                <a16:creationId xmlns:a16="http://schemas.microsoft.com/office/drawing/2014/main" id="{25786310-8412-8C7C-F01E-870AC2318967}"/>
              </a:ext>
            </a:extLst>
          </p:cNvPr>
          <p:cNvSpPr txBox="1"/>
          <p:nvPr/>
        </p:nvSpPr>
        <p:spPr>
          <a:xfrm>
            <a:off x="4900749" y="2540497"/>
            <a:ext cx="923362" cy="46166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MCL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3%</a:t>
            </a:r>
          </a:p>
        </p:txBody>
      </p:sp>
      <p:sp>
        <p:nvSpPr>
          <p:cNvPr id="422" name="TextBox 421">
            <a:extLst>
              <a:ext uri="{FF2B5EF4-FFF2-40B4-BE49-F238E27FC236}">
                <a16:creationId xmlns:a16="http://schemas.microsoft.com/office/drawing/2014/main" id="{60A35682-5D05-474B-6C79-68A7C7B1EA03}"/>
              </a:ext>
            </a:extLst>
          </p:cNvPr>
          <p:cNvSpPr txBox="1"/>
          <p:nvPr/>
        </p:nvSpPr>
        <p:spPr>
          <a:xfrm>
            <a:off x="2696538" y="4504807"/>
            <a:ext cx="1624170" cy="30777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Lymphoblastic</a:t>
            </a:r>
          </a:p>
        </p:txBody>
      </p:sp>
      <p:sp>
        <p:nvSpPr>
          <p:cNvPr id="423" name="TextBox 422">
            <a:extLst>
              <a:ext uri="{FF2B5EF4-FFF2-40B4-BE49-F238E27FC236}">
                <a16:creationId xmlns:a16="http://schemas.microsoft.com/office/drawing/2014/main" id="{8F982169-7231-78A6-4A06-29FC178FAC2E}"/>
              </a:ext>
            </a:extLst>
          </p:cNvPr>
          <p:cNvSpPr txBox="1"/>
          <p:nvPr/>
        </p:nvSpPr>
        <p:spPr>
          <a:xfrm>
            <a:off x="7267663" y="5358820"/>
            <a:ext cx="923362" cy="30777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MZL</a:t>
            </a:r>
          </a:p>
        </p:txBody>
      </p:sp>
      <p:cxnSp>
        <p:nvCxnSpPr>
          <p:cNvPr id="425" name="Straight Connector 424">
            <a:extLst>
              <a:ext uri="{FF2B5EF4-FFF2-40B4-BE49-F238E27FC236}">
                <a16:creationId xmlns:a16="http://schemas.microsoft.com/office/drawing/2014/main" id="{C878C8DA-0A70-E588-5AB0-B8A483A9C39A}"/>
              </a:ext>
            </a:extLst>
          </p:cNvPr>
          <p:cNvCxnSpPr>
            <a:cxnSpLocks/>
            <a:endCxn id="429" idx="1"/>
          </p:cNvCxnSpPr>
          <p:nvPr/>
        </p:nvCxnSpPr>
        <p:spPr>
          <a:xfrm flipV="1">
            <a:off x="4355571" y="4581204"/>
            <a:ext cx="221531" cy="65992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8" name="TextBox 427">
            <a:extLst>
              <a:ext uri="{FF2B5EF4-FFF2-40B4-BE49-F238E27FC236}">
                <a16:creationId xmlns:a16="http://schemas.microsoft.com/office/drawing/2014/main" id="{6DCDE2FE-7A9E-B51F-D217-2A3C3DA475F6}"/>
              </a:ext>
            </a:extLst>
          </p:cNvPr>
          <p:cNvSpPr txBox="1"/>
          <p:nvPr/>
        </p:nvSpPr>
        <p:spPr>
          <a:xfrm>
            <a:off x="6843815" y="4550918"/>
            <a:ext cx="923362" cy="3693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sv-SE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b="1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7%</a:t>
            </a:r>
          </a:p>
        </p:txBody>
      </p:sp>
      <p:sp>
        <p:nvSpPr>
          <p:cNvPr id="429" name="TextBox 428">
            <a:extLst>
              <a:ext uri="{FF2B5EF4-FFF2-40B4-BE49-F238E27FC236}">
                <a16:creationId xmlns:a16="http://schemas.microsoft.com/office/drawing/2014/main" id="{157D0A48-365D-20D2-1A72-63ED6B7BAF40}"/>
              </a:ext>
            </a:extLst>
          </p:cNvPr>
          <p:cNvSpPr txBox="1"/>
          <p:nvPr/>
        </p:nvSpPr>
        <p:spPr>
          <a:xfrm>
            <a:off x="4577102" y="4427315"/>
            <a:ext cx="379035" cy="30777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%</a:t>
            </a:r>
          </a:p>
        </p:txBody>
      </p:sp>
      <p:sp>
        <p:nvSpPr>
          <p:cNvPr id="432" name="TextBox 431">
            <a:extLst>
              <a:ext uri="{FF2B5EF4-FFF2-40B4-BE49-F238E27FC236}">
                <a16:creationId xmlns:a16="http://schemas.microsoft.com/office/drawing/2014/main" id="{85C5B63F-03DC-AB12-AB51-F4F4B28F39BB}"/>
              </a:ext>
            </a:extLst>
          </p:cNvPr>
          <p:cNvSpPr txBox="1"/>
          <p:nvPr/>
        </p:nvSpPr>
        <p:spPr>
          <a:xfrm>
            <a:off x="4649179" y="4839670"/>
            <a:ext cx="379035" cy="26161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%</a:t>
            </a:r>
          </a:p>
        </p:txBody>
      </p:sp>
      <p:cxnSp>
        <p:nvCxnSpPr>
          <p:cNvPr id="433" name="Straight Connector 432">
            <a:extLst>
              <a:ext uri="{FF2B5EF4-FFF2-40B4-BE49-F238E27FC236}">
                <a16:creationId xmlns:a16="http://schemas.microsoft.com/office/drawing/2014/main" id="{6815952E-11DF-42B7-6E6C-D43D66775E3C}"/>
              </a:ext>
            </a:extLst>
          </p:cNvPr>
          <p:cNvCxnSpPr>
            <a:cxnSpLocks/>
            <a:stCxn id="414" idx="3"/>
          </p:cNvCxnSpPr>
          <p:nvPr/>
        </p:nvCxnSpPr>
        <p:spPr>
          <a:xfrm flipV="1">
            <a:off x="4577102" y="5040785"/>
            <a:ext cx="269081" cy="92506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6" name="TextBox 435">
            <a:extLst>
              <a:ext uri="{FF2B5EF4-FFF2-40B4-BE49-F238E27FC236}">
                <a16:creationId xmlns:a16="http://schemas.microsoft.com/office/drawing/2014/main" id="{CDBA0814-4CFA-63DB-C7DC-6915D57002B8}"/>
              </a:ext>
            </a:extLst>
          </p:cNvPr>
          <p:cNvSpPr txBox="1"/>
          <p:nvPr/>
        </p:nvSpPr>
        <p:spPr>
          <a:xfrm>
            <a:off x="6691339" y="5213050"/>
            <a:ext cx="379035" cy="26161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%</a:t>
            </a:r>
          </a:p>
        </p:txBody>
      </p:sp>
      <p:cxnSp>
        <p:nvCxnSpPr>
          <p:cNvPr id="437" name="Straight Connector 436">
            <a:extLst>
              <a:ext uri="{FF2B5EF4-FFF2-40B4-BE49-F238E27FC236}">
                <a16:creationId xmlns:a16="http://schemas.microsoft.com/office/drawing/2014/main" id="{60DFC9B2-3E7F-6F67-1223-34262EF84BEB}"/>
              </a:ext>
            </a:extLst>
          </p:cNvPr>
          <p:cNvCxnSpPr>
            <a:cxnSpLocks/>
          </p:cNvCxnSpPr>
          <p:nvPr/>
        </p:nvCxnSpPr>
        <p:spPr>
          <a:xfrm>
            <a:off x="7091702" y="5407611"/>
            <a:ext cx="95644" cy="77253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142013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/>
    </mc:Choice>
    <mc:Fallback xmlns="">
      <p:transition spd="slow"/>
    </mc:Fallback>
  </mc:AlternateContent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388A52-5306-6345-DA9F-0E412859321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5CDC8718-47FF-5664-99BE-BACAFFD2601A}"/>
              </a:ext>
            </a:extLst>
          </p:cNvPr>
          <p:cNvCxnSpPr>
            <a:cxnSpLocks/>
          </p:cNvCxnSpPr>
          <p:nvPr/>
        </p:nvCxnSpPr>
        <p:spPr>
          <a:xfrm>
            <a:off x="577415" y="3748737"/>
            <a:ext cx="10907449" cy="0"/>
          </a:xfrm>
          <a:prstGeom prst="line">
            <a:avLst/>
          </a:prstGeom>
          <a:ln w="285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07678BC8-143C-3304-255C-E54E9A46F5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70645" y="6291951"/>
            <a:ext cx="10440000" cy="428000"/>
          </a:xfrm>
        </p:spPr>
        <p:txBody>
          <a:bodyPr/>
          <a:lstStyle/>
          <a:p>
            <a:r>
              <a:rPr lang="en-GB"/>
              <a:t>1L, first line; 2L, second line; 3L, third line; B, bendamustine; CAR-T, chimeric antigen receptor T-cell therapy; CHOP, cyclophosphamide, doxorubicin, vincristine and prednisone; DLBCL, diffuse large B-cell lymphoma; Gr, grade; PD, progressive disease; Pola, polatuzumab vedotin; R, rituximab; R/R, relapsed or refractory.</a:t>
            </a:r>
          </a:p>
          <a:p>
            <a:r>
              <a:rPr lang="en-GB"/>
              <a:t>Patient case provided by Prof. Enrico </a:t>
            </a:r>
            <a:r>
              <a:rPr lang="en-GB" err="1"/>
              <a:t>Derenzini</a:t>
            </a:r>
            <a:r>
              <a:rPr lang="en-GB"/>
              <a:t>.</a:t>
            </a:r>
          </a:p>
        </p:txBody>
      </p:sp>
      <p:sp>
        <p:nvSpPr>
          <p:cNvPr id="38" name="Title 1">
            <a:extLst>
              <a:ext uri="{FF2B5EF4-FFF2-40B4-BE49-F238E27FC236}">
                <a16:creationId xmlns:a16="http://schemas.microsoft.com/office/drawing/2014/main" id="{F957B351-889C-AF78-7FFF-6E73AE38FC92}"/>
              </a:ext>
            </a:extLst>
          </p:cNvPr>
          <p:cNvSpPr txBox="1">
            <a:spLocks/>
          </p:cNvSpPr>
          <p:nvPr/>
        </p:nvSpPr>
        <p:spPr>
          <a:xfrm>
            <a:off x="469900" y="311150"/>
            <a:ext cx="10317269" cy="930910"/>
          </a:xfrm>
          <a:prstGeom prst="rect">
            <a:avLst/>
          </a:prstGeom>
        </p:spPr>
        <p:txBody>
          <a:bodyPr vert="horz" lIns="90000" tIns="46800" rIns="90000" bIns="4680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400" b="0" i="0" kern="1200">
                <a:solidFill>
                  <a:schemeClr val="tx2"/>
                </a:solidFill>
                <a:latin typeface="Aptos" panose="020B000402020202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j-ea"/>
                <a:cs typeface="+mj-cs"/>
              </a:rPr>
              <a:t>Treatment of R/R DLBCL after Pola-BR</a:t>
            </a:r>
            <a:endParaRPr kumimoji="0" lang="en-GB" sz="3400" b="0" i="0" u="none" strike="noStrike" kern="1200" cap="none" spc="0" normalizeH="0" baseline="3000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j-ea"/>
              <a:cs typeface="+mj-cs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161C4204-D184-EB33-5E66-7004900FB9C1}"/>
              </a:ext>
            </a:extLst>
          </p:cNvPr>
          <p:cNvSpPr txBox="1"/>
          <p:nvPr/>
        </p:nvSpPr>
        <p:spPr>
          <a:xfrm>
            <a:off x="1481099" y="3217549"/>
            <a:ext cx="455050" cy="3927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CB813"/>
              </a:buClr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025</a:t>
            </a: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E65E5E62-FCA8-1BDF-01CC-40527DB4B431}"/>
              </a:ext>
            </a:extLst>
          </p:cNvPr>
          <p:cNvSpPr/>
          <p:nvPr/>
        </p:nvSpPr>
        <p:spPr>
          <a:xfrm>
            <a:off x="1628725" y="3671002"/>
            <a:ext cx="159799" cy="159799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1" i="0" u="none" strike="noStrike" kern="1200" cap="none" spc="0" normalizeH="0" baseline="0" noProof="0">
              <a:ln>
                <a:noFill/>
              </a:ln>
              <a:solidFill>
                <a:srgbClr val="585854">
                  <a:lumMod val="20000"/>
                  <a:lumOff val="80000"/>
                </a:srgbClr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FCA59AC3-4BE4-B4BB-D73D-E095E30D596B}"/>
              </a:ext>
            </a:extLst>
          </p:cNvPr>
          <p:cNvCxnSpPr>
            <a:cxnSpLocks/>
            <a:stCxn id="40" idx="4"/>
          </p:cNvCxnSpPr>
          <p:nvPr/>
        </p:nvCxnSpPr>
        <p:spPr>
          <a:xfrm>
            <a:off x="1708625" y="3830801"/>
            <a:ext cx="0" cy="182159"/>
          </a:xfrm>
          <a:prstGeom prst="line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2" name="Oval 41">
            <a:extLst>
              <a:ext uri="{FF2B5EF4-FFF2-40B4-BE49-F238E27FC236}">
                <a16:creationId xmlns:a16="http://schemas.microsoft.com/office/drawing/2014/main" id="{78546589-DD4F-8755-0A0A-2B8F242E7F66}"/>
              </a:ext>
            </a:extLst>
          </p:cNvPr>
          <p:cNvSpPr/>
          <p:nvPr/>
        </p:nvSpPr>
        <p:spPr>
          <a:xfrm>
            <a:off x="5362515" y="3671002"/>
            <a:ext cx="159799" cy="159799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1" i="0" u="none" strike="noStrike" kern="1200" cap="none" spc="0" normalizeH="0" baseline="0" noProof="0">
              <a:ln>
                <a:noFill/>
              </a:ln>
              <a:solidFill>
                <a:srgbClr val="585854">
                  <a:lumMod val="20000"/>
                  <a:lumOff val="80000"/>
                </a:srgbClr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68F78590-1B59-EC1F-8465-A2C401FC3BB3}"/>
              </a:ext>
            </a:extLst>
          </p:cNvPr>
          <p:cNvCxnSpPr>
            <a:cxnSpLocks/>
            <a:stCxn id="42" idx="4"/>
          </p:cNvCxnSpPr>
          <p:nvPr/>
        </p:nvCxnSpPr>
        <p:spPr>
          <a:xfrm>
            <a:off x="5442415" y="3830802"/>
            <a:ext cx="0" cy="179707"/>
          </a:xfrm>
          <a:prstGeom prst="line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4" name="TextBox 43">
            <a:extLst>
              <a:ext uri="{FF2B5EF4-FFF2-40B4-BE49-F238E27FC236}">
                <a16:creationId xmlns:a16="http://schemas.microsoft.com/office/drawing/2014/main" id="{3AE16116-1AC2-F6E9-30D9-53E3DF4C8B0E}"/>
              </a:ext>
            </a:extLst>
          </p:cNvPr>
          <p:cNvSpPr txBox="1"/>
          <p:nvPr/>
        </p:nvSpPr>
        <p:spPr>
          <a:xfrm>
            <a:off x="5211869" y="4054906"/>
            <a:ext cx="3730705" cy="1077218"/>
          </a:xfrm>
          <a:prstGeom prst="rect">
            <a:avLst/>
          </a:prstGeom>
          <a:noFill/>
        </p:spPr>
        <p:txBody>
          <a:bodyPr wrap="square" lIns="45720" tIns="45720" rIns="45720" bIns="45720" rtlCol="0">
            <a:spAutoFit/>
          </a:bodyPr>
          <a:lstStyle>
            <a:defPPr>
              <a:defRPr lang="sv-SE"/>
            </a:defPPr>
            <a:lvl1pPr>
              <a:defRPr sz="1600" i="1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1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L treatment: </a:t>
            </a: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ola-BR (holding therapy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1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Outcome: </a:t>
            </a: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1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ote: </a:t>
            </a:r>
            <a:r>
              <a:rPr kumimoji="0" lang="en-GB" sz="1600" b="0" i="1" u="none" strike="noStrike" kern="1200" cap="none" spc="0" normalizeH="0" baseline="0" noProof="0" err="1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Bendamustine</a:t>
            </a:r>
            <a:r>
              <a:rPr kumimoji="0" lang="en-GB" sz="1600" b="0" i="1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was omitted </a:t>
            </a:r>
            <a:br>
              <a:rPr kumimoji="0" lang="en-GB" sz="1600" b="0" i="1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GB" sz="1600" b="0" i="1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ue to low lymphocyte count (200/mm</a:t>
            </a:r>
            <a:r>
              <a:rPr kumimoji="0" lang="en-GB" sz="1600" b="0" i="1" u="none" strike="noStrike" kern="1200" cap="none" spc="0" normalizeH="0" baseline="3000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3</a:t>
            </a:r>
            <a:r>
              <a:rPr kumimoji="0" lang="en-GB" sz="1600" b="0" i="1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)</a:t>
            </a:r>
            <a:endParaRPr kumimoji="0" lang="en-GB" sz="1600" b="0" i="1" u="none" strike="noStrike" kern="1200" cap="none" spc="0" normalizeH="0" baseline="30000" noProof="0">
              <a:ln>
                <a:noFill/>
              </a:ln>
              <a:solidFill>
                <a:srgbClr val="585854">
                  <a:lumMod val="20000"/>
                  <a:lumOff val="80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94DD9C17-B47C-842E-BCE6-8CA73D196056}"/>
              </a:ext>
            </a:extLst>
          </p:cNvPr>
          <p:cNvSpPr txBox="1"/>
          <p:nvPr/>
        </p:nvSpPr>
        <p:spPr>
          <a:xfrm>
            <a:off x="758225" y="4012960"/>
            <a:ext cx="4204300" cy="584775"/>
          </a:xfrm>
          <a:prstGeom prst="rect">
            <a:avLst/>
          </a:prstGeom>
          <a:noFill/>
        </p:spPr>
        <p:txBody>
          <a:bodyPr wrap="square" lIns="45720" tIns="45720" rIns="45720" bIns="45720" rtlCol="0">
            <a:spAutoFit/>
          </a:bodyPr>
          <a:lstStyle>
            <a:defPPr>
              <a:defRPr lang="sv-SE"/>
            </a:defPPr>
            <a:lvl1pPr>
              <a:defRPr sz="1600" i="1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1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L treatment: </a:t>
            </a: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-CHOP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1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Outcome:</a:t>
            </a: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D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93C4D6A7-C2D2-0898-D39D-81DB229AD638}"/>
              </a:ext>
            </a:extLst>
          </p:cNvPr>
          <p:cNvSpPr txBox="1"/>
          <p:nvPr/>
        </p:nvSpPr>
        <p:spPr>
          <a:xfrm>
            <a:off x="5204536" y="3217549"/>
            <a:ext cx="455050" cy="3927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CB813"/>
              </a:buClr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ep 2025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AA90C535-3536-4BFF-7B12-45CDB30F19B6}"/>
              </a:ext>
            </a:extLst>
          </p:cNvPr>
          <p:cNvSpPr txBox="1"/>
          <p:nvPr/>
        </p:nvSpPr>
        <p:spPr>
          <a:xfrm>
            <a:off x="9013133" y="3217549"/>
            <a:ext cx="455050" cy="3927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CB813"/>
              </a:buClr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ov 2025</a:t>
            </a: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45164B09-BC3A-D561-634B-D3BF87C80A6B}"/>
              </a:ext>
            </a:extLst>
          </p:cNvPr>
          <p:cNvSpPr/>
          <p:nvPr/>
        </p:nvSpPr>
        <p:spPr>
          <a:xfrm>
            <a:off x="9160759" y="3691003"/>
            <a:ext cx="159799" cy="159799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00566CE5-D565-F2A4-2965-196F141D1446}"/>
              </a:ext>
            </a:extLst>
          </p:cNvPr>
          <p:cNvCxnSpPr>
            <a:cxnSpLocks/>
            <a:stCxn id="54" idx="4"/>
          </p:cNvCxnSpPr>
          <p:nvPr/>
        </p:nvCxnSpPr>
        <p:spPr>
          <a:xfrm>
            <a:off x="9240659" y="3850802"/>
            <a:ext cx="0" cy="179707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6" name="TextBox 55">
            <a:extLst>
              <a:ext uri="{FF2B5EF4-FFF2-40B4-BE49-F238E27FC236}">
                <a16:creationId xmlns:a16="http://schemas.microsoft.com/office/drawing/2014/main" id="{CA6C8EE1-B6F6-9824-7C08-F27FFD21CCAE}"/>
              </a:ext>
            </a:extLst>
          </p:cNvPr>
          <p:cNvSpPr txBox="1"/>
          <p:nvPr/>
        </p:nvSpPr>
        <p:spPr>
          <a:xfrm>
            <a:off x="9114889" y="4054906"/>
            <a:ext cx="2769394" cy="1323439"/>
          </a:xfrm>
          <a:prstGeom prst="rect">
            <a:avLst/>
          </a:prstGeom>
          <a:noFill/>
        </p:spPr>
        <p:txBody>
          <a:bodyPr wrap="square" lIns="45720" tIns="45720" rIns="4572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1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3L treatment: </a:t>
            </a: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Loncastuximab tesirine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×2 cycles (bridging therapy)</a:t>
            </a:r>
            <a:endParaRPr kumimoji="0" lang="en-GB" sz="2000" b="1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0DEA55B-442C-0B82-3791-BA2DFF8847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01CC8E-1CEF-6746-999E-CF29FF00B1D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82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0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C897BDCC-FE29-57AA-39FB-582BEBAF197D}"/>
              </a:ext>
            </a:extLst>
          </p:cNvPr>
          <p:cNvSpPr/>
          <p:nvPr/>
        </p:nvSpPr>
        <p:spPr>
          <a:xfrm>
            <a:off x="5051183" y="2775064"/>
            <a:ext cx="717698" cy="104135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" name="Free-form: Shape 4">
            <a:extLst>
              <a:ext uri="{FF2B5EF4-FFF2-40B4-BE49-F238E27FC236}">
                <a16:creationId xmlns:a16="http://schemas.microsoft.com/office/drawing/2014/main" id="{E10CBB63-8812-07BD-AD48-9B6832FB3E78}"/>
              </a:ext>
            </a:extLst>
          </p:cNvPr>
          <p:cNvSpPr/>
          <p:nvPr/>
        </p:nvSpPr>
        <p:spPr>
          <a:xfrm>
            <a:off x="5146227" y="1581180"/>
            <a:ext cx="634942" cy="1266262"/>
          </a:xfrm>
          <a:custGeom>
            <a:avLst/>
            <a:gdLst>
              <a:gd name="csX0" fmla="*/ 703087 w 763849"/>
              <a:gd name="csY0" fmla="*/ 1241174 h 1523340"/>
              <a:gd name="csX1" fmla="*/ 732932 w 763849"/>
              <a:gd name="csY1" fmla="*/ 1359634 h 1523340"/>
              <a:gd name="csX2" fmla="*/ 735544 w 763849"/>
              <a:gd name="csY2" fmla="*/ 1377287 h 1523340"/>
              <a:gd name="csX3" fmla="*/ 756764 w 763849"/>
              <a:gd name="csY3" fmla="*/ 1458577 h 1523340"/>
              <a:gd name="csX4" fmla="*/ 757108 w 763849"/>
              <a:gd name="csY4" fmla="*/ 1465940 h 1523340"/>
              <a:gd name="csX5" fmla="*/ 744215 w 763849"/>
              <a:gd name="csY5" fmla="*/ 1488332 h 1523340"/>
              <a:gd name="csX6" fmla="*/ 712781 w 763849"/>
              <a:gd name="csY6" fmla="*/ 1498472 h 1523340"/>
              <a:gd name="csX7" fmla="*/ 625540 w 763849"/>
              <a:gd name="csY7" fmla="*/ 1511981 h 1523340"/>
              <a:gd name="csX8" fmla="*/ 488540 w 763849"/>
              <a:gd name="csY8" fmla="*/ 1522029 h 1523340"/>
              <a:gd name="csX9" fmla="*/ 306789 w 763849"/>
              <a:gd name="csY9" fmla="*/ 1523231 h 1523340"/>
              <a:gd name="csX10" fmla="*/ 200103 w 763849"/>
              <a:gd name="csY10" fmla="*/ 1518579 h 1523340"/>
              <a:gd name="csX11" fmla="*/ 31607 w 763849"/>
              <a:gd name="csY11" fmla="*/ 1493880 h 1523340"/>
              <a:gd name="csX12" fmla="*/ 5860 w 763849"/>
              <a:gd name="csY12" fmla="*/ 1482933 h 1523340"/>
              <a:gd name="csX13" fmla="*/ 32 w 763849"/>
              <a:gd name="csY13" fmla="*/ 1471774 h 1523340"/>
              <a:gd name="csX14" fmla="*/ 21295 w 763849"/>
              <a:gd name="csY14" fmla="*/ 1378237 h 1523340"/>
              <a:gd name="csX15" fmla="*/ 23169 w 763849"/>
              <a:gd name="csY15" fmla="*/ 1364271 h 1523340"/>
              <a:gd name="csX16" fmla="*/ 23871 w 763849"/>
              <a:gd name="csY16" fmla="*/ 1303132 h 1523340"/>
              <a:gd name="csX17" fmla="*/ 59740 w 763849"/>
              <a:gd name="csY17" fmla="*/ 1234649 h 1523340"/>
              <a:gd name="csX18" fmla="*/ 98899 w 763849"/>
              <a:gd name="csY18" fmla="*/ 1195619 h 1523340"/>
              <a:gd name="csX19" fmla="*/ 131493 w 763849"/>
              <a:gd name="csY19" fmla="*/ 1127593 h 1523340"/>
              <a:gd name="csX20" fmla="*/ 108213 w 763849"/>
              <a:gd name="csY20" fmla="*/ 1058723 h 1523340"/>
              <a:gd name="csX21" fmla="*/ 74370 w 763849"/>
              <a:gd name="csY21" fmla="*/ 1024929 h 1523340"/>
              <a:gd name="csX22" fmla="*/ 68137 w 763849"/>
              <a:gd name="csY22" fmla="*/ 987550 h 1523340"/>
              <a:gd name="csX23" fmla="*/ 86420 w 763849"/>
              <a:gd name="csY23" fmla="*/ 941991 h 1523340"/>
              <a:gd name="csX24" fmla="*/ 97082 w 763849"/>
              <a:gd name="csY24" fmla="*/ 828037 h 1523340"/>
              <a:gd name="csX25" fmla="*/ 61782 w 763849"/>
              <a:gd name="csY25" fmla="*/ 696973 h 1523340"/>
              <a:gd name="csX26" fmla="*/ 26901 w 763849"/>
              <a:gd name="csY26" fmla="*/ 547868 h 1523340"/>
              <a:gd name="csX27" fmla="*/ 20221 w 763849"/>
              <a:gd name="csY27" fmla="*/ 479529 h 1523340"/>
              <a:gd name="csX28" fmla="*/ 40808 w 763849"/>
              <a:gd name="csY28" fmla="*/ 334388 h 1523340"/>
              <a:gd name="csX29" fmla="*/ 65171 w 763849"/>
              <a:gd name="csY29" fmla="*/ 263707 h 1523340"/>
              <a:gd name="csX30" fmla="*/ 142827 w 763849"/>
              <a:gd name="csY30" fmla="*/ 171003 h 1523340"/>
              <a:gd name="csX31" fmla="*/ 172290 w 763849"/>
              <a:gd name="csY31" fmla="*/ 155872 h 1523340"/>
              <a:gd name="csX32" fmla="*/ 189008 w 763849"/>
              <a:gd name="csY32" fmla="*/ 148158 h 1523340"/>
              <a:gd name="csX33" fmla="*/ 212828 w 763849"/>
              <a:gd name="csY33" fmla="*/ 126123 h 1523340"/>
              <a:gd name="csX34" fmla="*/ 217217 w 763849"/>
              <a:gd name="csY34" fmla="*/ 118740 h 1523340"/>
              <a:gd name="csX35" fmla="*/ 253000 w 763849"/>
              <a:gd name="csY35" fmla="*/ 88998 h 1523340"/>
              <a:gd name="csX36" fmla="*/ 322085 w 763849"/>
              <a:gd name="csY36" fmla="*/ 72193 h 1523340"/>
              <a:gd name="csX37" fmla="*/ 330478 w 763849"/>
              <a:gd name="csY37" fmla="*/ 70387 h 1523340"/>
              <a:gd name="csX38" fmla="*/ 388016 w 763849"/>
              <a:gd name="csY38" fmla="*/ 35457 h 1523340"/>
              <a:gd name="csX39" fmla="*/ 421527 w 763849"/>
              <a:gd name="csY39" fmla="*/ 0 h 1523340"/>
              <a:gd name="csX40" fmla="*/ 424538 w 763849"/>
              <a:gd name="csY40" fmla="*/ 10833 h 1523340"/>
              <a:gd name="csX41" fmla="*/ 436339 w 763849"/>
              <a:gd name="csY41" fmla="*/ 121836 h 1523340"/>
              <a:gd name="csX42" fmla="*/ 449983 w 763849"/>
              <a:gd name="csY42" fmla="*/ 141450 h 1523340"/>
              <a:gd name="csX43" fmla="*/ 503299 w 763849"/>
              <a:gd name="csY43" fmla="*/ 169290 h 1523340"/>
              <a:gd name="csX44" fmla="*/ 551461 w 763849"/>
              <a:gd name="csY44" fmla="*/ 203111 h 1523340"/>
              <a:gd name="csX45" fmla="*/ 588803 w 763849"/>
              <a:gd name="csY45" fmla="*/ 252797 h 1523340"/>
              <a:gd name="csX46" fmla="*/ 634209 w 763849"/>
              <a:gd name="csY46" fmla="*/ 327081 h 1523340"/>
              <a:gd name="csX47" fmla="*/ 697923 w 763849"/>
              <a:gd name="csY47" fmla="*/ 384157 h 1523340"/>
              <a:gd name="csX48" fmla="*/ 729658 w 763849"/>
              <a:gd name="csY48" fmla="*/ 407288 h 1523340"/>
              <a:gd name="csX49" fmla="*/ 763354 w 763849"/>
              <a:gd name="csY49" fmla="*/ 471325 h 1523340"/>
              <a:gd name="csX50" fmla="*/ 757092 w 763849"/>
              <a:gd name="csY50" fmla="*/ 527116 h 1523340"/>
              <a:gd name="csX51" fmla="*/ 720673 w 763849"/>
              <a:gd name="csY51" fmla="*/ 570023 h 1523340"/>
              <a:gd name="csX52" fmla="*/ 704918 w 763849"/>
              <a:gd name="csY52" fmla="*/ 581294 h 1523340"/>
              <a:gd name="csX53" fmla="*/ 671960 w 763849"/>
              <a:gd name="csY53" fmla="*/ 595325 h 1523340"/>
              <a:gd name="csX54" fmla="*/ 633021 w 763849"/>
              <a:gd name="csY54" fmla="*/ 591397 h 1523340"/>
              <a:gd name="csX55" fmla="*/ 580696 w 763849"/>
              <a:gd name="csY55" fmla="*/ 556742 h 1523340"/>
              <a:gd name="csX56" fmla="*/ 545415 w 763849"/>
              <a:gd name="csY56" fmla="*/ 524617 h 1523340"/>
              <a:gd name="csX57" fmla="*/ 518889 w 763849"/>
              <a:gd name="csY57" fmla="*/ 516179 h 1523340"/>
              <a:gd name="csX58" fmla="*/ 472309 w 763849"/>
              <a:gd name="csY58" fmla="*/ 517812 h 1523340"/>
              <a:gd name="csX59" fmla="*/ 415953 w 763849"/>
              <a:gd name="csY59" fmla="*/ 517245 h 1523340"/>
              <a:gd name="csX60" fmla="*/ 403392 w 763849"/>
              <a:gd name="csY60" fmla="*/ 516539 h 1523340"/>
              <a:gd name="csX61" fmla="*/ 407957 w 763849"/>
              <a:gd name="csY61" fmla="*/ 542045 h 1523340"/>
              <a:gd name="csX62" fmla="*/ 434134 w 763849"/>
              <a:gd name="csY62" fmla="*/ 583349 h 1523340"/>
              <a:gd name="csX63" fmla="*/ 524267 w 763849"/>
              <a:gd name="csY63" fmla="*/ 683922 h 1523340"/>
              <a:gd name="csX64" fmla="*/ 614317 w 763849"/>
              <a:gd name="csY64" fmla="*/ 786085 h 1523340"/>
              <a:gd name="csX65" fmla="*/ 669590 w 763849"/>
              <a:gd name="csY65" fmla="*/ 921089 h 1523340"/>
              <a:gd name="csX66" fmla="*/ 647360 w 763849"/>
              <a:gd name="csY66" fmla="*/ 1057245 h 1523340"/>
              <a:gd name="csX67" fmla="*/ 627872 w 763849"/>
              <a:gd name="csY67" fmla="*/ 1102111 h 1523340"/>
              <a:gd name="csX68" fmla="*/ 642300 w 763849"/>
              <a:gd name="csY68" fmla="*/ 1175941 h 1523340"/>
              <a:gd name="csX69" fmla="*/ 668829 w 763849"/>
              <a:gd name="csY69" fmla="*/ 1206449 h 1523340"/>
              <a:gd name="csX70" fmla="*/ 703087 w 763849"/>
              <a:gd name="csY70" fmla="*/ 1241174 h 1523340"/>
              <a:gd name="csX71" fmla="*/ 648750 w 763849"/>
              <a:gd name="csY71" fmla="*/ 562343 h 1523340"/>
              <a:gd name="csX72" fmla="*/ 674049 w 763849"/>
              <a:gd name="csY72" fmla="*/ 562834 h 1523340"/>
              <a:gd name="csX73" fmla="*/ 660781 w 763849"/>
              <a:gd name="csY73" fmla="*/ 550178 h 1523340"/>
              <a:gd name="csX74" fmla="*/ 650911 w 763849"/>
              <a:gd name="csY74" fmla="*/ 534051 h 1523340"/>
              <a:gd name="csX75" fmla="*/ 660724 w 763849"/>
              <a:gd name="csY75" fmla="*/ 537605 h 1523340"/>
              <a:gd name="csX76" fmla="*/ 688133 w 763849"/>
              <a:gd name="csY76" fmla="*/ 543363 h 1523340"/>
              <a:gd name="csX77" fmla="*/ 731514 w 763849"/>
              <a:gd name="csY77" fmla="*/ 510767 h 1523340"/>
              <a:gd name="csX78" fmla="*/ 733611 w 763849"/>
              <a:gd name="csY78" fmla="*/ 466905 h 1523340"/>
              <a:gd name="csX79" fmla="*/ 708076 w 763849"/>
              <a:gd name="csY79" fmla="*/ 425975 h 1523340"/>
              <a:gd name="csX80" fmla="*/ 667538 w 763849"/>
              <a:gd name="csY80" fmla="*/ 398254 h 1523340"/>
              <a:gd name="csX81" fmla="*/ 601016 w 763849"/>
              <a:gd name="csY81" fmla="*/ 332127 h 1523340"/>
              <a:gd name="csX82" fmla="*/ 565354 w 763849"/>
              <a:gd name="csY82" fmla="*/ 270526 h 1523340"/>
              <a:gd name="csX83" fmla="*/ 490657 w 763849"/>
              <a:gd name="csY83" fmla="*/ 195121 h 1523340"/>
              <a:gd name="csX84" fmla="*/ 432834 w 763849"/>
              <a:gd name="csY84" fmla="*/ 165243 h 1523340"/>
              <a:gd name="csX85" fmla="*/ 407594 w 763849"/>
              <a:gd name="csY85" fmla="*/ 127852 h 1523340"/>
              <a:gd name="csX86" fmla="*/ 405020 w 763849"/>
              <a:gd name="csY86" fmla="*/ 69029 h 1523340"/>
              <a:gd name="csX87" fmla="*/ 403638 w 763849"/>
              <a:gd name="csY87" fmla="*/ 58130 h 1523340"/>
              <a:gd name="csX88" fmla="*/ 349776 w 763849"/>
              <a:gd name="csY88" fmla="*/ 133259 h 1523340"/>
              <a:gd name="csX89" fmla="*/ 326975 w 763849"/>
              <a:gd name="csY89" fmla="*/ 159669 h 1523340"/>
              <a:gd name="csX90" fmla="*/ 240374 w 763849"/>
              <a:gd name="csY90" fmla="*/ 221714 h 1523340"/>
              <a:gd name="csX91" fmla="*/ 171637 w 763849"/>
              <a:gd name="csY91" fmla="*/ 309087 h 1523340"/>
              <a:gd name="csX92" fmla="*/ 138048 w 763849"/>
              <a:gd name="csY92" fmla="*/ 516954 h 1523340"/>
              <a:gd name="csX93" fmla="*/ 163889 w 763849"/>
              <a:gd name="csY93" fmla="*/ 641780 h 1523340"/>
              <a:gd name="csX94" fmla="*/ 204800 w 763849"/>
              <a:gd name="csY94" fmla="*/ 787055 h 1523340"/>
              <a:gd name="csX95" fmla="*/ 218549 w 763849"/>
              <a:gd name="csY95" fmla="*/ 949545 h 1523340"/>
              <a:gd name="csX96" fmla="*/ 191487 w 763849"/>
              <a:gd name="csY96" fmla="*/ 1033064 h 1523340"/>
              <a:gd name="csX97" fmla="*/ 188729 w 763849"/>
              <a:gd name="csY97" fmla="*/ 1039835 h 1523340"/>
              <a:gd name="csX98" fmla="*/ 221417 w 763849"/>
              <a:gd name="csY98" fmla="*/ 1040799 h 1523340"/>
              <a:gd name="csX99" fmla="*/ 348895 w 763849"/>
              <a:gd name="csY99" fmla="*/ 1046759 h 1523340"/>
              <a:gd name="csX100" fmla="*/ 545369 w 763849"/>
              <a:gd name="csY100" fmla="*/ 1044456 h 1523340"/>
              <a:gd name="csX101" fmla="*/ 612424 w 763849"/>
              <a:gd name="csY101" fmla="*/ 1037365 h 1523340"/>
              <a:gd name="csX102" fmla="*/ 623169 w 763849"/>
              <a:gd name="csY102" fmla="*/ 1028873 h 1523340"/>
              <a:gd name="csX103" fmla="*/ 638508 w 763849"/>
              <a:gd name="csY103" fmla="*/ 959599 h 1523340"/>
              <a:gd name="csX104" fmla="*/ 609213 w 763849"/>
              <a:gd name="csY104" fmla="*/ 842075 h 1523340"/>
              <a:gd name="csX105" fmla="*/ 529367 w 763849"/>
              <a:gd name="csY105" fmla="*/ 735065 h 1523340"/>
              <a:gd name="csX106" fmla="*/ 403792 w 763849"/>
              <a:gd name="csY106" fmla="*/ 596993 h 1523340"/>
              <a:gd name="csX107" fmla="*/ 344708 w 763849"/>
              <a:gd name="csY107" fmla="*/ 511366 h 1523340"/>
              <a:gd name="csX108" fmla="*/ 324464 w 763849"/>
              <a:gd name="csY108" fmla="*/ 380084 h 1523340"/>
              <a:gd name="csX109" fmla="*/ 327688 w 763849"/>
              <a:gd name="csY109" fmla="*/ 373535 h 1523340"/>
              <a:gd name="csX110" fmla="*/ 330334 w 763849"/>
              <a:gd name="csY110" fmla="*/ 373641 h 1523340"/>
              <a:gd name="csX111" fmla="*/ 334272 w 763849"/>
              <a:gd name="csY111" fmla="*/ 384645 h 1523340"/>
              <a:gd name="csX112" fmla="*/ 365260 w 763849"/>
              <a:gd name="csY112" fmla="*/ 453955 h 1523340"/>
              <a:gd name="csX113" fmla="*/ 408246 w 763849"/>
              <a:gd name="csY113" fmla="*/ 483592 h 1523340"/>
              <a:gd name="csX114" fmla="*/ 464529 w 763849"/>
              <a:gd name="csY114" fmla="*/ 486187 h 1523340"/>
              <a:gd name="csX115" fmla="*/ 511119 w 763849"/>
              <a:gd name="csY115" fmla="*/ 484308 h 1523340"/>
              <a:gd name="csX116" fmla="*/ 567913 w 763849"/>
              <a:gd name="csY116" fmla="*/ 503736 h 1523340"/>
              <a:gd name="csX117" fmla="*/ 607611 w 763849"/>
              <a:gd name="csY117" fmla="*/ 540326 h 1523340"/>
              <a:gd name="csX118" fmla="*/ 648750 w 763849"/>
              <a:gd name="csY118" fmla="*/ 562343 h 1523340"/>
              <a:gd name="csX119" fmla="*/ 462594 w 763849"/>
              <a:gd name="csY119" fmla="*/ 1369008 h 1523340"/>
              <a:gd name="csX120" fmla="*/ 510357 w 763849"/>
              <a:gd name="csY120" fmla="*/ 1366345 h 1523340"/>
              <a:gd name="csX121" fmla="*/ 549434 w 763849"/>
              <a:gd name="csY121" fmla="*/ 1362956 h 1523340"/>
              <a:gd name="csX122" fmla="*/ 632369 w 763849"/>
              <a:gd name="csY122" fmla="*/ 1354439 h 1523340"/>
              <a:gd name="csX123" fmla="*/ 697252 w 763849"/>
              <a:gd name="csY123" fmla="*/ 1346424 h 1523340"/>
              <a:gd name="csX124" fmla="*/ 676674 w 763849"/>
              <a:gd name="csY124" fmla="*/ 1266396 h 1523340"/>
              <a:gd name="csX125" fmla="*/ 646594 w 763849"/>
              <a:gd name="csY125" fmla="*/ 1234108 h 1523340"/>
              <a:gd name="csX126" fmla="*/ 612063 w 763849"/>
              <a:gd name="csY126" fmla="*/ 1194382 h 1523340"/>
              <a:gd name="csX127" fmla="*/ 591616 w 763849"/>
              <a:gd name="csY127" fmla="*/ 1111541 h 1523340"/>
              <a:gd name="csX128" fmla="*/ 594320 w 763849"/>
              <a:gd name="csY128" fmla="*/ 1089609 h 1523340"/>
              <a:gd name="csX129" fmla="*/ 578634 w 763849"/>
              <a:gd name="csY129" fmla="*/ 1089642 h 1523340"/>
              <a:gd name="csX130" fmla="*/ 443931 w 763849"/>
              <a:gd name="csY130" fmla="*/ 1096700 h 1523340"/>
              <a:gd name="csX131" fmla="*/ 403417 w 763849"/>
              <a:gd name="csY131" fmla="*/ 1097156 h 1523340"/>
              <a:gd name="csX132" fmla="*/ 388348 w 763849"/>
              <a:gd name="csY132" fmla="*/ 1111502 h 1523340"/>
              <a:gd name="csX133" fmla="*/ 385048 w 763849"/>
              <a:gd name="csY133" fmla="*/ 1176431 h 1523340"/>
              <a:gd name="csX134" fmla="*/ 377687 w 763849"/>
              <a:gd name="csY134" fmla="*/ 1308672 h 1523340"/>
              <a:gd name="csX135" fmla="*/ 376823 w 763849"/>
              <a:gd name="csY135" fmla="*/ 1320897 h 1523340"/>
              <a:gd name="csX136" fmla="*/ 376781 w 763849"/>
              <a:gd name="csY136" fmla="*/ 1366151 h 1523340"/>
              <a:gd name="csX137" fmla="*/ 462594 w 763849"/>
              <a:gd name="csY137" fmla="*/ 1369008 h 1523340"/>
              <a:gd name="csX138" fmla="*/ 648494 w 763849"/>
              <a:gd name="csY138" fmla="*/ 1463981 h 1523340"/>
              <a:gd name="csX139" fmla="*/ 718746 w 763849"/>
              <a:gd name="csY139" fmla="*/ 1451892 h 1523340"/>
              <a:gd name="csX140" fmla="*/ 711827 w 763849"/>
              <a:gd name="csY140" fmla="*/ 1416835 h 1523340"/>
              <a:gd name="csX141" fmla="*/ 685812 w 763849"/>
              <a:gd name="csY141" fmla="*/ 1398502 h 1523340"/>
              <a:gd name="csX142" fmla="*/ 680924 w 763849"/>
              <a:gd name="csY142" fmla="*/ 1398973 h 1523340"/>
              <a:gd name="csX143" fmla="*/ 598278 w 763849"/>
              <a:gd name="csY143" fmla="*/ 1409218 h 1523340"/>
              <a:gd name="csX144" fmla="*/ 474765 w 763849"/>
              <a:gd name="csY144" fmla="*/ 1417945 h 1523340"/>
              <a:gd name="csX145" fmla="*/ 385143 w 763849"/>
              <a:gd name="csY145" fmla="*/ 1418978 h 1523340"/>
              <a:gd name="csX146" fmla="*/ 376639 w 763849"/>
              <a:gd name="csY146" fmla="*/ 1419613 h 1523340"/>
              <a:gd name="csX147" fmla="*/ 376639 w 763849"/>
              <a:gd name="csY147" fmla="*/ 1473939 h 1523340"/>
              <a:gd name="csX148" fmla="*/ 382089 w 763849"/>
              <a:gd name="csY148" fmla="*/ 1474854 h 1523340"/>
              <a:gd name="csX149" fmla="*/ 449536 w 763849"/>
              <a:gd name="csY149" fmla="*/ 1476855 h 1523340"/>
              <a:gd name="csX150" fmla="*/ 559930 w 763849"/>
              <a:gd name="csY150" fmla="*/ 1474307 h 1523340"/>
              <a:gd name="csX151" fmla="*/ 648494 w 763849"/>
              <a:gd name="csY151" fmla="*/ 1463981 h 152334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</a:cxnLst>
            <a:rect l="l" t="t" r="r" b="b"/>
            <a:pathLst>
              <a:path w="763849" h="1523340">
                <a:moveTo>
                  <a:pt x="703087" y="1241174"/>
                </a:moveTo>
                <a:cubicBezTo>
                  <a:pt x="732418" y="1276379"/>
                  <a:pt x="738825" y="1316526"/>
                  <a:pt x="732932" y="1359634"/>
                </a:cubicBezTo>
                <a:cubicBezTo>
                  <a:pt x="732067" y="1365959"/>
                  <a:pt x="732453" y="1371428"/>
                  <a:pt x="735544" y="1377287"/>
                </a:cubicBezTo>
                <a:cubicBezTo>
                  <a:pt x="748937" y="1402675"/>
                  <a:pt x="755318" y="1430010"/>
                  <a:pt x="756764" y="1458577"/>
                </a:cubicBezTo>
                <a:cubicBezTo>
                  <a:pt x="756887" y="1461031"/>
                  <a:pt x="756895" y="1463494"/>
                  <a:pt x="757108" y="1465940"/>
                </a:cubicBezTo>
                <a:cubicBezTo>
                  <a:pt x="758375" y="1480486"/>
                  <a:pt x="757802" y="1482498"/>
                  <a:pt x="744215" y="1488332"/>
                </a:cubicBezTo>
                <a:cubicBezTo>
                  <a:pt x="734126" y="1492664"/>
                  <a:pt x="723536" y="1496562"/>
                  <a:pt x="712781" y="1498472"/>
                </a:cubicBezTo>
                <a:cubicBezTo>
                  <a:pt x="683814" y="1503617"/>
                  <a:pt x="654674" y="1507832"/>
                  <a:pt x="625540" y="1511981"/>
                </a:cubicBezTo>
                <a:cubicBezTo>
                  <a:pt x="580114" y="1518449"/>
                  <a:pt x="534395" y="1521481"/>
                  <a:pt x="488540" y="1522029"/>
                </a:cubicBezTo>
                <a:cubicBezTo>
                  <a:pt x="427958" y="1522752"/>
                  <a:pt x="367367" y="1523658"/>
                  <a:pt x="306789" y="1523231"/>
                </a:cubicBezTo>
                <a:cubicBezTo>
                  <a:pt x="271215" y="1522980"/>
                  <a:pt x="235625" y="1520833"/>
                  <a:pt x="200103" y="1518579"/>
                </a:cubicBezTo>
                <a:cubicBezTo>
                  <a:pt x="143289" y="1514974"/>
                  <a:pt x="86915" y="1507766"/>
                  <a:pt x="31607" y="1493880"/>
                </a:cubicBezTo>
                <a:cubicBezTo>
                  <a:pt x="22666" y="1491635"/>
                  <a:pt x="14297" y="1486920"/>
                  <a:pt x="5860" y="1482933"/>
                </a:cubicBezTo>
                <a:cubicBezTo>
                  <a:pt x="1433" y="1480841"/>
                  <a:pt x="-262" y="1476934"/>
                  <a:pt x="32" y="1471774"/>
                </a:cubicBezTo>
                <a:cubicBezTo>
                  <a:pt x="1880" y="1439401"/>
                  <a:pt x="3993" y="1407192"/>
                  <a:pt x="21295" y="1378237"/>
                </a:cubicBezTo>
                <a:cubicBezTo>
                  <a:pt x="23526" y="1374504"/>
                  <a:pt x="23666" y="1368858"/>
                  <a:pt x="23169" y="1364271"/>
                </a:cubicBezTo>
                <a:cubicBezTo>
                  <a:pt x="20957" y="1343833"/>
                  <a:pt x="20482" y="1323540"/>
                  <a:pt x="23871" y="1303132"/>
                </a:cubicBezTo>
                <a:cubicBezTo>
                  <a:pt x="28332" y="1276267"/>
                  <a:pt x="41045" y="1253887"/>
                  <a:pt x="59740" y="1234649"/>
                </a:cubicBezTo>
                <a:cubicBezTo>
                  <a:pt x="72582" y="1221434"/>
                  <a:pt x="85657" y="1208434"/>
                  <a:pt x="98899" y="1195619"/>
                </a:cubicBezTo>
                <a:cubicBezTo>
                  <a:pt x="118216" y="1176926"/>
                  <a:pt x="130484" y="1154702"/>
                  <a:pt x="131493" y="1127593"/>
                </a:cubicBezTo>
                <a:cubicBezTo>
                  <a:pt x="132448" y="1101948"/>
                  <a:pt x="127125" y="1077868"/>
                  <a:pt x="108213" y="1058723"/>
                </a:cubicBezTo>
                <a:cubicBezTo>
                  <a:pt x="97010" y="1047381"/>
                  <a:pt x="85438" y="1036399"/>
                  <a:pt x="74370" y="1024929"/>
                </a:cubicBezTo>
                <a:cubicBezTo>
                  <a:pt x="63868" y="1014043"/>
                  <a:pt x="62267" y="1001475"/>
                  <a:pt x="68137" y="987550"/>
                </a:cubicBezTo>
                <a:cubicBezTo>
                  <a:pt x="74493" y="972473"/>
                  <a:pt x="80703" y="957319"/>
                  <a:pt x="86420" y="941991"/>
                </a:cubicBezTo>
                <a:cubicBezTo>
                  <a:pt x="100218" y="905001"/>
                  <a:pt x="99441" y="866690"/>
                  <a:pt x="97082" y="828037"/>
                </a:cubicBezTo>
                <a:cubicBezTo>
                  <a:pt x="94260" y="781809"/>
                  <a:pt x="76370" y="739899"/>
                  <a:pt x="61782" y="696973"/>
                </a:cubicBezTo>
                <a:cubicBezTo>
                  <a:pt x="45282" y="648419"/>
                  <a:pt x="33285" y="598770"/>
                  <a:pt x="26901" y="547868"/>
                </a:cubicBezTo>
                <a:cubicBezTo>
                  <a:pt x="24054" y="525160"/>
                  <a:pt x="21110" y="502364"/>
                  <a:pt x="20221" y="479529"/>
                </a:cubicBezTo>
                <a:cubicBezTo>
                  <a:pt x="18293" y="430013"/>
                  <a:pt x="26126" y="381610"/>
                  <a:pt x="40808" y="334388"/>
                </a:cubicBezTo>
                <a:cubicBezTo>
                  <a:pt x="48208" y="310588"/>
                  <a:pt x="55162" y="286441"/>
                  <a:pt x="65171" y="263707"/>
                </a:cubicBezTo>
                <a:cubicBezTo>
                  <a:pt x="81946" y="225606"/>
                  <a:pt x="106517" y="193071"/>
                  <a:pt x="142827" y="171003"/>
                </a:cubicBezTo>
                <a:cubicBezTo>
                  <a:pt x="152238" y="165283"/>
                  <a:pt x="162401" y="160787"/>
                  <a:pt x="172290" y="155872"/>
                </a:cubicBezTo>
                <a:cubicBezTo>
                  <a:pt x="177784" y="153142"/>
                  <a:pt x="183393" y="150635"/>
                  <a:pt x="189008" y="148158"/>
                </a:cubicBezTo>
                <a:cubicBezTo>
                  <a:pt x="199487" y="143534"/>
                  <a:pt x="207598" y="136426"/>
                  <a:pt x="212828" y="126123"/>
                </a:cubicBezTo>
                <a:cubicBezTo>
                  <a:pt x="214121" y="123575"/>
                  <a:pt x="215966" y="121304"/>
                  <a:pt x="217217" y="118740"/>
                </a:cubicBezTo>
                <a:cubicBezTo>
                  <a:pt x="224688" y="103433"/>
                  <a:pt x="237053" y="93440"/>
                  <a:pt x="253000" y="88998"/>
                </a:cubicBezTo>
                <a:cubicBezTo>
                  <a:pt x="275818" y="82642"/>
                  <a:pt x="299033" y="77711"/>
                  <a:pt x="322085" y="72193"/>
                </a:cubicBezTo>
                <a:cubicBezTo>
                  <a:pt x="324867" y="71527"/>
                  <a:pt x="327694" y="71045"/>
                  <a:pt x="330478" y="70387"/>
                </a:cubicBezTo>
                <a:cubicBezTo>
                  <a:pt x="364731" y="62297"/>
                  <a:pt x="364569" y="62151"/>
                  <a:pt x="388016" y="35457"/>
                </a:cubicBezTo>
                <a:cubicBezTo>
                  <a:pt x="398189" y="23875"/>
                  <a:pt x="409180" y="13010"/>
                  <a:pt x="421527" y="0"/>
                </a:cubicBezTo>
                <a:cubicBezTo>
                  <a:pt x="423000" y="5190"/>
                  <a:pt x="424219" y="7961"/>
                  <a:pt x="424538" y="10833"/>
                </a:cubicBezTo>
                <a:cubicBezTo>
                  <a:pt x="428638" y="47817"/>
                  <a:pt x="433030" y="84779"/>
                  <a:pt x="436339" y="121836"/>
                </a:cubicBezTo>
                <a:cubicBezTo>
                  <a:pt x="437236" y="131893"/>
                  <a:pt x="441545" y="137271"/>
                  <a:pt x="449983" y="141450"/>
                </a:cubicBezTo>
                <a:cubicBezTo>
                  <a:pt x="467954" y="150348"/>
                  <a:pt x="486187" y="158915"/>
                  <a:pt x="503299" y="169290"/>
                </a:cubicBezTo>
                <a:cubicBezTo>
                  <a:pt x="520041" y="179441"/>
                  <a:pt x="535883" y="191197"/>
                  <a:pt x="551461" y="203111"/>
                </a:cubicBezTo>
                <a:cubicBezTo>
                  <a:pt x="568416" y="216079"/>
                  <a:pt x="579195" y="234146"/>
                  <a:pt x="588803" y="252797"/>
                </a:cubicBezTo>
                <a:cubicBezTo>
                  <a:pt x="602134" y="278677"/>
                  <a:pt x="616556" y="303835"/>
                  <a:pt x="634209" y="327081"/>
                </a:cubicBezTo>
                <a:cubicBezTo>
                  <a:pt x="651797" y="350241"/>
                  <a:pt x="673980" y="368103"/>
                  <a:pt x="697923" y="384157"/>
                </a:cubicBezTo>
                <a:cubicBezTo>
                  <a:pt x="708787" y="391441"/>
                  <a:pt x="719007" y="399678"/>
                  <a:pt x="729658" y="407288"/>
                </a:cubicBezTo>
                <a:cubicBezTo>
                  <a:pt x="751657" y="423004"/>
                  <a:pt x="761259" y="445265"/>
                  <a:pt x="763354" y="471325"/>
                </a:cubicBezTo>
                <a:cubicBezTo>
                  <a:pt x="764877" y="490275"/>
                  <a:pt x="762919" y="509064"/>
                  <a:pt x="757092" y="527116"/>
                </a:cubicBezTo>
                <a:cubicBezTo>
                  <a:pt x="750932" y="546198"/>
                  <a:pt x="738296" y="560266"/>
                  <a:pt x="720673" y="570023"/>
                </a:cubicBezTo>
                <a:cubicBezTo>
                  <a:pt x="715048" y="573138"/>
                  <a:pt x="709487" y="576825"/>
                  <a:pt x="704918" y="581294"/>
                </a:cubicBezTo>
                <a:cubicBezTo>
                  <a:pt x="695625" y="590383"/>
                  <a:pt x="684728" y="595697"/>
                  <a:pt x="671960" y="595325"/>
                </a:cubicBezTo>
                <a:cubicBezTo>
                  <a:pt x="658939" y="594945"/>
                  <a:pt x="645743" y="594018"/>
                  <a:pt x="633021" y="591397"/>
                </a:cubicBezTo>
                <a:cubicBezTo>
                  <a:pt x="611233" y="586907"/>
                  <a:pt x="595034" y="572939"/>
                  <a:pt x="580696" y="556742"/>
                </a:cubicBezTo>
                <a:cubicBezTo>
                  <a:pt x="570081" y="544750"/>
                  <a:pt x="559052" y="533306"/>
                  <a:pt x="545415" y="524617"/>
                </a:cubicBezTo>
                <a:cubicBezTo>
                  <a:pt x="537261" y="519422"/>
                  <a:pt x="528551" y="515996"/>
                  <a:pt x="518889" y="516179"/>
                </a:cubicBezTo>
                <a:cubicBezTo>
                  <a:pt x="503357" y="516473"/>
                  <a:pt x="487839" y="517663"/>
                  <a:pt x="472309" y="517812"/>
                </a:cubicBezTo>
                <a:cubicBezTo>
                  <a:pt x="453527" y="517993"/>
                  <a:pt x="434738" y="517514"/>
                  <a:pt x="415953" y="517245"/>
                </a:cubicBezTo>
                <a:cubicBezTo>
                  <a:pt x="411976" y="517189"/>
                  <a:pt x="408003" y="516808"/>
                  <a:pt x="403392" y="516539"/>
                </a:cubicBezTo>
                <a:cubicBezTo>
                  <a:pt x="401207" y="526363"/>
                  <a:pt x="404857" y="534293"/>
                  <a:pt x="407957" y="542045"/>
                </a:cubicBezTo>
                <a:cubicBezTo>
                  <a:pt x="414092" y="557387"/>
                  <a:pt x="423168" y="571042"/>
                  <a:pt x="434134" y="583349"/>
                </a:cubicBezTo>
                <a:cubicBezTo>
                  <a:pt x="464083" y="616959"/>
                  <a:pt x="493980" y="650618"/>
                  <a:pt x="524267" y="683922"/>
                </a:cubicBezTo>
                <a:cubicBezTo>
                  <a:pt x="554818" y="717518"/>
                  <a:pt x="588291" y="748619"/>
                  <a:pt x="614317" y="786085"/>
                </a:cubicBezTo>
                <a:cubicBezTo>
                  <a:pt x="642656" y="826881"/>
                  <a:pt x="663974" y="871159"/>
                  <a:pt x="669590" y="921089"/>
                </a:cubicBezTo>
                <a:cubicBezTo>
                  <a:pt x="674894" y="968240"/>
                  <a:pt x="669774" y="1014226"/>
                  <a:pt x="647360" y="1057245"/>
                </a:cubicBezTo>
                <a:cubicBezTo>
                  <a:pt x="639830" y="1071697"/>
                  <a:pt x="630533" y="1085565"/>
                  <a:pt x="627872" y="1102111"/>
                </a:cubicBezTo>
                <a:cubicBezTo>
                  <a:pt x="623640" y="1128439"/>
                  <a:pt x="626183" y="1153784"/>
                  <a:pt x="642300" y="1175941"/>
                </a:cubicBezTo>
                <a:cubicBezTo>
                  <a:pt x="650201" y="1186801"/>
                  <a:pt x="659595" y="1196636"/>
                  <a:pt x="668829" y="1206449"/>
                </a:cubicBezTo>
                <a:cubicBezTo>
                  <a:pt x="679770" y="1218075"/>
                  <a:pt x="691267" y="1229177"/>
                  <a:pt x="703087" y="1241174"/>
                </a:cubicBezTo>
                <a:moveTo>
                  <a:pt x="648750" y="562343"/>
                </a:moveTo>
                <a:cubicBezTo>
                  <a:pt x="656729" y="562558"/>
                  <a:pt x="664698" y="567407"/>
                  <a:pt x="674049" y="562834"/>
                </a:cubicBezTo>
                <a:cubicBezTo>
                  <a:pt x="668990" y="558037"/>
                  <a:pt x="664729" y="554259"/>
                  <a:pt x="660781" y="550178"/>
                </a:cubicBezTo>
                <a:cubicBezTo>
                  <a:pt x="656713" y="545973"/>
                  <a:pt x="651493" y="542363"/>
                  <a:pt x="650911" y="534051"/>
                </a:cubicBezTo>
                <a:cubicBezTo>
                  <a:pt x="654940" y="535536"/>
                  <a:pt x="657753" y="536907"/>
                  <a:pt x="660724" y="537605"/>
                </a:cubicBezTo>
                <a:cubicBezTo>
                  <a:pt x="669824" y="539743"/>
                  <a:pt x="678915" y="542853"/>
                  <a:pt x="688133" y="543363"/>
                </a:cubicBezTo>
                <a:cubicBezTo>
                  <a:pt x="712019" y="544686"/>
                  <a:pt x="726964" y="534053"/>
                  <a:pt x="731514" y="510767"/>
                </a:cubicBezTo>
                <a:cubicBezTo>
                  <a:pt x="734296" y="496535"/>
                  <a:pt x="734146" y="481511"/>
                  <a:pt x="733611" y="466905"/>
                </a:cubicBezTo>
                <a:cubicBezTo>
                  <a:pt x="732951" y="448863"/>
                  <a:pt x="723348" y="435653"/>
                  <a:pt x="708076" y="425975"/>
                </a:cubicBezTo>
                <a:cubicBezTo>
                  <a:pt x="694258" y="417218"/>
                  <a:pt x="681056" y="407489"/>
                  <a:pt x="667538" y="398254"/>
                </a:cubicBezTo>
                <a:cubicBezTo>
                  <a:pt x="641278" y="380314"/>
                  <a:pt x="617580" y="359743"/>
                  <a:pt x="601016" y="332127"/>
                </a:cubicBezTo>
                <a:cubicBezTo>
                  <a:pt x="588810" y="311778"/>
                  <a:pt x="576093" y="291645"/>
                  <a:pt x="565354" y="270526"/>
                </a:cubicBezTo>
                <a:cubicBezTo>
                  <a:pt x="548401" y="237186"/>
                  <a:pt x="523821" y="212104"/>
                  <a:pt x="490657" y="195121"/>
                </a:cubicBezTo>
                <a:cubicBezTo>
                  <a:pt x="471346" y="185231"/>
                  <a:pt x="452394" y="174606"/>
                  <a:pt x="432834" y="165243"/>
                </a:cubicBezTo>
                <a:cubicBezTo>
                  <a:pt x="416725" y="157532"/>
                  <a:pt x="408325" y="145526"/>
                  <a:pt x="407594" y="127852"/>
                </a:cubicBezTo>
                <a:cubicBezTo>
                  <a:pt x="406783" y="108242"/>
                  <a:pt x="405935" y="88634"/>
                  <a:pt x="405020" y="69029"/>
                </a:cubicBezTo>
                <a:cubicBezTo>
                  <a:pt x="404882" y="66067"/>
                  <a:pt x="404287" y="63127"/>
                  <a:pt x="403638" y="58130"/>
                </a:cubicBezTo>
                <a:cubicBezTo>
                  <a:pt x="381792" y="82321"/>
                  <a:pt x="361650" y="104820"/>
                  <a:pt x="349776" y="133259"/>
                </a:cubicBezTo>
                <a:cubicBezTo>
                  <a:pt x="345032" y="144621"/>
                  <a:pt x="337822" y="153814"/>
                  <a:pt x="326975" y="159669"/>
                </a:cubicBezTo>
                <a:cubicBezTo>
                  <a:pt x="295461" y="176681"/>
                  <a:pt x="266610" y="197333"/>
                  <a:pt x="240374" y="221714"/>
                </a:cubicBezTo>
                <a:cubicBezTo>
                  <a:pt x="212881" y="247263"/>
                  <a:pt x="188313" y="275340"/>
                  <a:pt x="171637" y="309087"/>
                </a:cubicBezTo>
                <a:cubicBezTo>
                  <a:pt x="139180" y="374765"/>
                  <a:pt x="129692" y="444532"/>
                  <a:pt x="138048" y="516954"/>
                </a:cubicBezTo>
                <a:cubicBezTo>
                  <a:pt x="142936" y="559318"/>
                  <a:pt x="152518" y="600762"/>
                  <a:pt x="163889" y="641780"/>
                </a:cubicBezTo>
                <a:cubicBezTo>
                  <a:pt x="177329" y="690261"/>
                  <a:pt x="191989" y="738413"/>
                  <a:pt x="204800" y="787055"/>
                </a:cubicBezTo>
                <a:cubicBezTo>
                  <a:pt x="218820" y="840287"/>
                  <a:pt x="228587" y="894088"/>
                  <a:pt x="218549" y="949545"/>
                </a:cubicBezTo>
                <a:cubicBezTo>
                  <a:pt x="213279" y="978659"/>
                  <a:pt x="207130" y="1007359"/>
                  <a:pt x="191487" y="1033064"/>
                </a:cubicBezTo>
                <a:cubicBezTo>
                  <a:pt x="190499" y="1034686"/>
                  <a:pt x="190018" y="1036618"/>
                  <a:pt x="188729" y="1039835"/>
                </a:cubicBezTo>
                <a:cubicBezTo>
                  <a:pt x="200470" y="1040170"/>
                  <a:pt x="210952" y="1040298"/>
                  <a:pt x="221417" y="1040799"/>
                </a:cubicBezTo>
                <a:cubicBezTo>
                  <a:pt x="263912" y="1042835"/>
                  <a:pt x="306390" y="1046436"/>
                  <a:pt x="348895" y="1046759"/>
                </a:cubicBezTo>
                <a:cubicBezTo>
                  <a:pt x="414380" y="1047258"/>
                  <a:pt x="479896" y="1046092"/>
                  <a:pt x="545369" y="1044456"/>
                </a:cubicBezTo>
                <a:cubicBezTo>
                  <a:pt x="567764" y="1043897"/>
                  <a:pt x="590066" y="1039744"/>
                  <a:pt x="612424" y="1037365"/>
                </a:cubicBezTo>
                <a:cubicBezTo>
                  <a:pt x="617948" y="1036777"/>
                  <a:pt x="621342" y="1034139"/>
                  <a:pt x="623169" y="1028873"/>
                </a:cubicBezTo>
                <a:cubicBezTo>
                  <a:pt x="630975" y="1006370"/>
                  <a:pt x="637026" y="983472"/>
                  <a:pt x="638508" y="959599"/>
                </a:cubicBezTo>
                <a:cubicBezTo>
                  <a:pt x="641131" y="917363"/>
                  <a:pt x="628970" y="878727"/>
                  <a:pt x="609213" y="842075"/>
                </a:cubicBezTo>
                <a:cubicBezTo>
                  <a:pt x="587874" y="802491"/>
                  <a:pt x="559403" y="768169"/>
                  <a:pt x="529367" y="735065"/>
                </a:cubicBezTo>
                <a:cubicBezTo>
                  <a:pt x="487563" y="688992"/>
                  <a:pt x="445474" y="643176"/>
                  <a:pt x="403792" y="596993"/>
                </a:cubicBezTo>
                <a:cubicBezTo>
                  <a:pt x="380393" y="571066"/>
                  <a:pt x="360083" y="542922"/>
                  <a:pt x="344708" y="511366"/>
                </a:cubicBezTo>
                <a:cubicBezTo>
                  <a:pt x="324385" y="469655"/>
                  <a:pt x="317321" y="425966"/>
                  <a:pt x="324464" y="380084"/>
                </a:cubicBezTo>
                <a:cubicBezTo>
                  <a:pt x="324821" y="377789"/>
                  <a:pt x="326581" y="375713"/>
                  <a:pt x="327688" y="373535"/>
                </a:cubicBezTo>
                <a:cubicBezTo>
                  <a:pt x="328570" y="373570"/>
                  <a:pt x="329452" y="373606"/>
                  <a:pt x="330334" y="373641"/>
                </a:cubicBezTo>
                <a:cubicBezTo>
                  <a:pt x="331649" y="377308"/>
                  <a:pt x="333001" y="380963"/>
                  <a:pt x="334272" y="384645"/>
                </a:cubicBezTo>
                <a:cubicBezTo>
                  <a:pt x="342569" y="408660"/>
                  <a:pt x="351164" y="432573"/>
                  <a:pt x="365260" y="453955"/>
                </a:cubicBezTo>
                <a:cubicBezTo>
                  <a:pt x="375537" y="469544"/>
                  <a:pt x="388811" y="481767"/>
                  <a:pt x="408246" y="483592"/>
                </a:cubicBezTo>
                <a:cubicBezTo>
                  <a:pt x="426928" y="485346"/>
                  <a:pt x="445757" y="486037"/>
                  <a:pt x="464529" y="486187"/>
                </a:cubicBezTo>
                <a:cubicBezTo>
                  <a:pt x="480053" y="486311"/>
                  <a:pt x="495582" y="484792"/>
                  <a:pt x="511119" y="484308"/>
                </a:cubicBezTo>
                <a:cubicBezTo>
                  <a:pt x="532443" y="483644"/>
                  <a:pt x="551690" y="490014"/>
                  <a:pt x="567913" y="503736"/>
                </a:cubicBezTo>
                <a:cubicBezTo>
                  <a:pt x="581642" y="515348"/>
                  <a:pt x="594604" y="527888"/>
                  <a:pt x="607611" y="540326"/>
                </a:cubicBezTo>
                <a:cubicBezTo>
                  <a:pt x="618811" y="551038"/>
                  <a:pt x="631177" y="559300"/>
                  <a:pt x="648750" y="562343"/>
                </a:cubicBezTo>
                <a:moveTo>
                  <a:pt x="462594" y="1369008"/>
                </a:moveTo>
                <a:cubicBezTo>
                  <a:pt x="478517" y="1368137"/>
                  <a:pt x="494449" y="1367429"/>
                  <a:pt x="510357" y="1366345"/>
                </a:cubicBezTo>
                <a:cubicBezTo>
                  <a:pt x="523399" y="1365456"/>
                  <a:pt x="536424" y="1364247"/>
                  <a:pt x="549434" y="1362956"/>
                </a:cubicBezTo>
                <a:cubicBezTo>
                  <a:pt x="577089" y="1360213"/>
                  <a:pt x="604749" y="1357503"/>
                  <a:pt x="632369" y="1354439"/>
                </a:cubicBezTo>
                <a:cubicBezTo>
                  <a:pt x="653805" y="1352062"/>
                  <a:pt x="675183" y="1349170"/>
                  <a:pt x="697252" y="1346424"/>
                </a:cubicBezTo>
                <a:cubicBezTo>
                  <a:pt x="701148" y="1316348"/>
                  <a:pt x="695768" y="1289474"/>
                  <a:pt x="676674" y="1266396"/>
                </a:cubicBezTo>
                <a:cubicBezTo>
                  <a:pt x="667313" y="1255080"/>
                  <a:pt x="656878" y="1244625"/>
                  <a:pt x="646594" y="1234108"/>
                </a:cubicBezTo>
                <a:cubicBezTo>
                  <a:pt x="634298" y="1221533"/>
                  <a:pt x="621353" y="1209623"/>
                  <a:pt x="612063" y="1194382"/>
                </a:cubicBezTo>
                <a:cubicBezTo>
                  <a:pt x="596511" y="1168867"/>
                  <a:pt x="588079" y="1141707"/>
                  <a:pt x="591616" y="1111541"/>
                </a:cubicBezTo>
                <a:cubicBezTo>
                  <a:pt x="592450" y="1104432"/>
                  <a:pt x="593365" y="1097332"/>
                  <a:pt x="594320" y="1089609"/>
                </a:cubicBezTo>
                <a:cubicBezTo>
                  <a:pt x="588294" y="1089609"/>
                  <a:pt x="583452" y="1089392"/>
                  <a:pt x="578634" y="1089642"/>
                </a:cubicBezTo>
                <a:cubicBezTo>
                  <a:pt x="533732" y="1091976"/>
                  <a:pt x="488841" y="1094525"/>
                  <a:pt x="443931" y="1096700"/>
                </a:cubicBezTo>
                <a:cubicBezTo>
                  <a:pt x="430451" y="1097353"/>
                  <a:pt x="416923" y="1097005"/>
                  <a:pt x="403417" y="1097156"/>
                </a:cubicBezTo>
                <a:cubicBezTo>
                  <a:pt x="389337" y="1097313"/>
                  <a:pt x="388961" y="1097850"/>
                  <a:pt x="388348" y="1111502"/>
                </a:cubicBezTo>
                <a:cubicBezTo>
                  <a:pt x="387375" y="1133151"/>
                  <a:pt x="386231" y="1154793"/>
                  <a:pt x="385048" y="1176431"/>
                </a:cubicBezTo>
                <a:cubicBezTo>
                  <a:pt x="382637" y="1220514"/>
                  <a:pt x="380158" y="1264593"/>
                  <a:pt x="377687" y="1308672"/>
                </a:cubicBezTo>
                <a:cubicBezTo>
                  <a:pt x="377458" y="1312751"/>
                  <a:pt x="376852" y="1316821"/>
                  <a:pt x="376823" y="1320897"/>
                </a:cubicBezTo>
                <a:cubicBezTo>
                  <a:pt x="376717" y="1335880"/>
                  <a:pt x="376781" y="1350864"/>
                  <a:pt x="376781" y="1366151"/>
                </a:cubicBezTo>
                <a:cubicBezTo>
                  <a:pt x="404707" y="1370397"/>
                  <a:pt x="432477" y="1369351"/>
                  <a:pt x="462594" y="1369008"/>
                </a:cubicBezTo>
                <a:moveTo>
                  <a:pt x="648494" y="1463981"/>
                </a:moveTo>
                <a:cubicBezTo>
                  <a:pt x="671329" y="1460052"/>
                  <a:pt x="694163" y="1456122"/>
                  <a:pt x="718746" y="1451892"/>
                </a:cubicBezTo>
                <a:cubicBezTo>
                  <a:pt x="716257" y="1439067"/>
                  <a:pt x="714578" y="1427816"/>
                  <a:pt x="711827" y="1416835"/>
                </a:cubicBezTo>
                <a:cubicBezTo>
                  <a:pt x="707611" y="1400009"/>
                  <a:pt x="703502" y="1397423"/>
                  <a:pt x="685812" y="1398502"/>
                </a:cubicBezTo>
                <a:cubicBezTo>
                  <a:pt x="684179" y="1398602"/>
                  <a:pt x="682547" y="1398768"/>
                  <a:pt x="680924" y="1398973"/>
                </a:cubicBezTo>
                <a:cubicBezTo>
                  <a:pt x="653380" y="1402446"/>
                  <a:pt x="625911" y="1406752"/>
                  <a:pt x="598278" y="1409218"/>
                </a:cubicBezTo>
                <a:cubicBezTo>
                  <a:pt x="557171" y="1412886"/>
                  <a:pt x="515983" y="1415946"/>
                  <a:pt x="474765" y="1417945"/>
                </a:cubicBezTo>
                <a:cubicBezTo>
                  <a:pt x="444944" y="1419391"/>
                  <a:pt x="415021" y="1418680"/>
                  <a:pt x="385143" y="1418978"/>
                </a:cubicBezTo>
                <a:cubicBezTo>
                  <a:pt x="382419" y="1419005"/>
                  <a:pt x="379697" y="1419376"/>
                  <a:pt x="376639" y="1419613"/>
                </a:cubicBezTo>
                <a:cubicBezTo>
                  <a:pt x="376639" y="1438152"/>
                  <a:pt x="376639" y="1455909"/>
                  <a:pt x="376639" y="1473939"/>
                </a:cubicBezTo>
                <a:cubicBezTo>
                  <a:pt x="378971" y="1474343"/>
                  <a:pt x="380523" y="1474802"/>
                  <a:pt x="382089" y="1474854"/>
                </a:cubicBezTo>
                <a:cubicBezTo>
                  <a:pt x="404571" y="1475605"/>
                  <a:pt x="427058" y="1476986"/>
                  <a:pt x="449536" y="1476855"/>
                </a:cubicBezTo>
                <a:cubicBezTo>
                  <a:pt x="486344" y="1476639"/>
                  <a:pt x="523207" y="1476480"/>
                  <a:pt x="559930" y="1474307"/>
                </a:cubicBezTo>
                <a:cubicBezTo>
                  <a:pt x="588839" y="1472596"/>
                  <a:pt x="617570" y="1467884"/>
                  <a:pt x="648494" y="1463981"/>
                </a:cubicBez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" name="Free-form: Shape 5">
            <a:extLst>
              <a:ext uri="{FF2B5EF4-FFF2-40B4-BE49-F238E27FC236}">
                <a16:creationId xmlns:a16="http://schemas.microsoft.com/office/drawing/2014/main" id="{6CFA3F61-C260-3A7A-4C79-D8490CB67C45}"/>
              </a:ext>
            </a:extLst>
          </p:cNvPr>
          <p:cNvSpPr/>
          <p:nvPr/>
        </p:nvSpPr>
        <p:spPr>
          <a:xfrm>
            <a:off x="5258591" y="1629500"/>
            <a:ext cx="497702" cy="821885"/>
          </a:xfrm>
          <a:custGeom>
            <a:avLst/>
            <a:gdLst>
              <a:gd name="csX0" fmla="*/ 512604 w 598747"/>
              <a:gd name="csY0" fmla="*/ 503918 h 988745"/>
              <a:gd name="csX1" fmla="*/ 472435 w 598747"/>
              <a:gd name="csY1" fmla="*/ 482196 h 988745"/>
              <a:gd name="csX2" fmla="*/ 432737 w 598747"/>
              <a:gd name="csY2" fmla="*/ 445605 h 988745"/>
              <a:gd name="csX3" fmla="*/ 375943 w 598747"/>
              <a:gd name="csY3" fmla="*/ 426178 h 988745"/>
              <a:gd name="csX4" fmla="*/ 329354 w 598747"/>
              <a:gd name="csY4" fmla="*/ 428057 h 988745"/>
              <a:gd name="csX5" fmla="*/ 273070 w 598747"/>
              <a:gd name="csY5" fmla="*/ 425461 h 988745"/>
              <a:gd name="csX6" fmla="*/ 230084 w 598747"/>
              <a:gd name="csY6" fmla="*/ 395825 h 988745"/>
              <a:gd name="csX7" fmla="*/ 199097 w 598747"/>
              <a:gd name="csY7" fmla="*/ 326515 h 988745"/>
              <a:gd name="csX8" fmla="*/ 195158 w 598747"/>
              <a:gd name="csY8" fmla="*/ 315511 h 988745"/>
              <a:gd name="csX9" fmla="*/ 192512 w 598747"/>
              <a:gd name="csY9" fmla="*/ 315405 h 988745"/>
              <a:gd name="csX10" fmla="*/ 189288 w 598747"/>
              <a:gd name="csY10" fmla="*/ 321954 h 988745"/>
              <a:gd name="csX11" fmla="*/ 209532 w 598747"/>
              <a:gd name="csY11" fmla="*/ 453235 h 988745"/>
              <a:gd name="csX12" fmla="*/ 268616 w 598747"/>
              <a:gd name="csY12" fmla="*/ 538863 h 988745"/>
              <a:gd name="csX13" fmla="*/ 394191 w 598747"/>
              <a:gd name="csY13" fmla="*/ 676935 h 988745"/>
              <a:gd name="csX14" fmla="*/ 474037 w 598747"/>
              <a:gd name="csY14" fmla="*/ 783945 h 988745"/>
              <a:gd name="csX15" fmla="*/ 503332 w 598747"/>
              <a:gd name="csY15" fmla="*/ 901469 h 988745"/>
              <a:gd name="csX16" fmla="*/ 487993 w 598747"/>
              <a:gd name="csY16" fmla="*/ 970743 h 988745"/>
              <a:gd name="csX17" fmla="*/ 477248 w 598747"/>
              <a:gd name="csY17" fmla="*/ 979235 h 988745"/>
              <a:gd name="csX18" fmla="*/ 410194 w 598747"/>
              <a:gd name="csY18" fmla="*/ 986326 h 988745"/>
              <a:gd name="csX19" fmla="*/ 213720 w 598747"/>
              <a:gd name="csY19" fmla="*/ 988629 h 988745"/>
              <a:gd name="csX20" fmla="*/ 86242 w 598747"/>
              <a:gd name="csY20" fmla="*/ 982669 h 988745"/>
              <a:gd name="csX21" fmla="*/ 53553 w 598747"/>
              <a:gd name="csY21" fmla="*/ 981705 h 988745"/>
              <a:gd name="csX22" fmla="*/ 56311 w 598747"/>
              <a:gd name="csY22" fmla="*/ 974933 h 988745"/>
              <a:gd name="csX23" fmla="*/ 83373 w 598747"/>
              <a:gd name="csY23" fmla="*/ 891414 h 988745"/>
              <a:gd name="csX24" fmla="*/ 69625 w 598747"/>
              <a:gd name="csY24" fmla="*/ 728925 h 988745"/>
              <a:gd name="csX25" fmla="*/ 28713 w 598747"/>
              <a:gd name="csY25" fmla="*/ 583650 h 988745"/>
              <a:gd name="csX26" fmla="*/ 2872 w 598747"/>
              <a:gd name="csY26" fmla="*/ 458823 h 988745"/>
              <a:gd name="csX27" fmla="*/ 36461 w 598747"/>
              <a:gd name="csY27" fmla="*/ 250957 h 988745"/>
              <a:gd name="csX28" fmla="*/ 105198 w 598747"/>
              <a:gd name="csY28" fmla="*/ 163584 h 988745"/>
              <a:gd name="csX29" fmla="*/ 191800 w 598747"/>
              <a:gd name="csY29" fmla="*/ 101539 h 988745"/>
              <a:gd name="csX30" fmla="*/ 214600 w 598747"/>
              <a:gd name="csY30" fmla="*/ 75129 h 988745"/>
              <a:gd name="csX31" fmla="*/ 268462 w 598747"/>
              <a:gd name="csY31" fmla="*/ 0 h 988745"/>
              <a:gd name="csX32" fmla="*/ 269844 w 598747"/>
              <a:gd name="csY32" fmla="*/ 10898 h 988745"/>
              <a:gd name="csX33" fmla="*/ 272418 w 598747"/>
              <a:gd name="csY33" fmla="*/ 69722 h 988745"/>
              <a:gd name="csX34" fmla="*/ 297658 w 598747"/>
              <a:gd name="csY34" fmla="*/ 107113 h 988745"/>
              <a:gd name="csX35" fmla="*/ 355481 w 598747"/>
              <a:gd name="csY35" fmla="*/ 136991 h 988745"/>
              <a:gd name="csX36" fmla="*/ 430178 w 598747"/>
              <a:gd name="csY36" fmla="*/ 212396 h 988745"/>
              <a:gd name="csX37" fmla="*/ 465840 w 598747"/>
              <a:gd name="csY37" fmla="*/ 273997 h 988745"/>
              <a:gd name="csX38" fmla="*/ 532362 w 598747"/>
              <a:gd name="csY38" fmla="*/ 340124 h 988745"/>
              <a:gd name="csX39" fmla="*/ 572901 w 598747"/>
              <a:gd name="csY39" fmla="*/ 367845 h 988745"/>
              <a:gd name="csX40" fmla="*/ 598436 w 598747"/>
              <a:gd name="csY40" fmla="*/ 408775 h 988745"/>
              <a:gd name="csX41" fmla="*/ 596339 w 598747"/>
              <a:gd name="csY41" fmla="*/ 452637 h 988745"/>
              <a:gd name="csX42" fmla="*/ 552957 w 598747"/>
              <a:gd name="csY42" fmla="*/ 485233 h 988745"/>
              <a:gd name="csX43" fmla="*/ 525548 w 598747"/>
              <a:gd name="csY43" fmla="*/ 479475 h 988745"/>
              <a:gd name="csX44" fmla="*/ 515736 w 598747"/>
              <a:gd name="csY44" fmla="*/ 475921 h 988745"/>
              <a:gd name="csX45" fmla="*/ 525605 w 598747"/>
              <a:gd name="csY45" fmla="*/ 492048 h 988745"/>
              <a:gd name="csX46" fmla="*/ 538873 w 598747"/>
              <a:gd name="csY46" fmla="*/ 504704 h 988745"/>
              <a:gd name="csX47" fmla="*/ 512604 w 598747"/>
              <a:gd name="csY47" fmla="*/ 503918 h 988745"/>
              <a:gd name="csX48" fmla="*/ 332072 w 598747"/>
              <a:gd name="csY48" fmla="*/ 218143 h 988745"/>
              <a:gd name="csX49" fmla="*/ 334388 w 598747"/>
              <a:gd name="csY49" fmla="*/ 226400 h 988745"/>
              <a:gd name="csX50" fmla="*/ 372370 w 598747"/>
              <a:gd name="csY50" fmla="*/ 254505 h 988745"/>
              <a:gd name="csX51" fmla="*/ 405258 w 598747"/>
              <a:gd name="csY51" fmla="*/ 252089 h 988745"/>
              <a:gd name="csX52" fmla="*/ 409167 w 598747"/>
              <a:gd name="csY52" fmla="*/ 244359 h 988745"/>
              <a:gd name="csX53" fmla="*/ 396364 w 598747"/>
              <a:gd name="csY53" fmla="*/ 219471 h 988745"/>
              <a:gd name="csX54" fmla="*/ 365755 w 598747"/>
              <a:gd name="csY54" fmla="*/ 195821 h 988745"/>
              <a:gd name="csX55" fmla="*/ 333572 w 598747"/>
              <a:gd name="csY55" fmla="*/ 188536 h 988745"/>
              <a:gd name="csX56" fmla="*/ 322931 w 598747"/>
              <a:gd name="csY56" fmla="*/ 190843 h 988745"/>
              <a:gd name="csX57" fmla="*/ 329041 w 598747"/>
              <a:gd name="csY57" fmla="*/ 203001 h 988745"/>
              <a:gd name="csX58" fmla="*/ 332072 w 598747"/>
              <a:gd name="csY58" fmla="*/ 218143 h 98874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</a:cxnLst>
            <a:rect l="l" t="t" r="r" b="b"/>
            <a:pathLst>
              <a:path w="598747" h="988745">
                <a:moveTo>
                  <a:pt x="512604" y="503918"/>
                </a:moveTo>
                <a:cubicBezTo>
                  <a:pt x="496002" y="501170"/>
                  <a:pt x="483635" y="492907"/>
                  <a:pt x="472435" y="482196"/>
                </a:cubicBezTo>
                <a:cubicBezTo>
                  <a:pt x="459429" y="469758"/>
                  <a:pt x="446467" y="457218"/>
                  <a:pt x="432737" y="445605"/>
                </a:cubicBezTo>
                <a:cubicBezTo>
                  <a:pt x="416514" y="431883"/>
                  <a:pt x="397267" y="425513"/>
                  <a:pt x="375943" y="426178"/>
                </a:cubicBezTo>
                <a:cubicBezTo>
                  <a:pt x="360407" y="426662"/>
                  <a:pt x="344877" y="428180"/>
                  <a:pt x="329354" y="428057"/>
                </a:cubicBezTo>
                <a:cubicBezTo>
                  <a:pt x="310581" y="427907"/>
                  <a:pt x="291752" y="427215"/>
                  <a:pt x="273070" y="425461"/>
                </a:cubicBezTo>
                <a:cubicBezTo>
                  <a:pt x="253636" y="423637"/>
                  <a:pt x="240361" y="411413"/>
                  <a:pt x="230084" y="395825"/>
                </a:cubicBezTo>
                <a:cubicBezTo>
                  <a:pt x="215988" y="374443"/>
                  <a:pt x="207393" y="350530"/>
                  <a:pt x="199097" y="326515"/>
                </a:cubicBezTo>
                <a:cubicBezTo>
                  <a:pt x="197825" y="322833"/>
                  <a:pt x="196473" y="319178"/>
                  <a:pt x="195158" y="315511"/>
                </a:cubicBezTo>
                <a:cubicBezTo>
                  <a:pt x="194276" y="315475"/>
                  <a:pt x="193394" y="315440"/>
                  <a:pt x="192512" y="315405"/>
                </a:cubicBezTo>
                <a:cubicBezTo>
                  <a:pt x="191405" y="317583"/>
                  <a:pt x="189646" y="319659"/>
                  <a:pt x="189288" y="321954"/>
                </a:cubicBezTo>
                <a:cubicBezTo>
                  <a:pt x="182145" y="367836"/>
                  <a:pt x="189209" y="411525"/>
                  <a:pt x="209532" y="453235"/>
                </a:cubicBezTo>
                <a:cubicBezTo>
                  <a:pt x="224908" y="484792"/>
                  <a:pt x="245217" y="512936"/>
                  <a:pt x="268616" y="538863"/>
                </a:cubicBezTo>
                <a:cubicBezTo>
                  <a:pt x="310298" y="585046"/>
                  <a:pt x="352387" y="630861"/>
                  <a:pt x="394191" y="676935"/>
                </a:cubicBezTo>
                <a:cubicBezTo>
                  <a:pt x="424227" y="710039"/>
                  <a:pt x="452698" y="744360"/>
                  <a:pt x="474037" y="783945"/>
                </a:cubicBezTo>
                <a:cubicBezTo>
                  <a:pt x="493795" y="820596"/>
                  <a:pt x="505956" y="859233"/>
                  <a:pt x="503332" y="901469"/>
                </a:cubicBezTo>
                <a:cubicBezTo>
                  <a:pt x="501850" y="925342"/>
                  <a:pt x="495799" y="948239"/>
                  <a:pt x="487993" y="970743"/>
                </a:cubicBezTo>
                <a:cubicBezTo>
                  <a:pt x="486166" y="976009"/>
                  <a:pt x="482772" y="978647"/>
                  <a:pt x="477248" y="979235"/>
                </a:cubicBezTo>
                <a:cubicBezTo>
                  <a:pt x="454890" y="981614"/>
                  <a:pt x="432589" y="985767"/>
                  <a:pt x="410194" y="986326"/>
                </a:cubicBezTo>
                <a:cubicBezTo>
                  <a:pt x="344720" y="987961"/>
                  <a:pt x="279205" y="989128"/>
                  <a:pt x="213720" y="988629"/>
                </a:cubicBezTo>
                <a:cubicBezTo>
                  <a:pt x="171215" y="988306"/>
                  <a:pt x="128736" y="984705"/>
                  <a:pt x="86242" y="982669"/>
                </a:cubicBezTo>
                <a:cubicBezTo>
                  <a:pt x="75776" y="982167"/>
                  <a:pt x="65294" y="982040"/>
                  <a:pt x="53553" y="981705"/>
                </a:cubicBezTo>
                <a:cubicBezTo>
                  <a:pt x="54842" y="978488"/>
                  <a:pt x="55323" y="976556"/>
                  <a:pt x="56311" y="974933"/>
                </a:cubicBezTo>
                <a:cubicBezTo>
                  <a:pt x="71955" y="949229"/>
                  <a:pt x="78103" y="920529"/>
                  <a:pt x="83373" y="891414"/>
                </a:cubicBezTo>
                <a:cubicBezTo>
                  <a:pt x="93411" y="835958"/>
                  <a:pt x="83645" y="782156"/>
                  <a:pt x="69625" y="728925"/>
                </a:cubicBezTo>
                <a:cubicBezTo>
                  <a:pt x="56813" y="680283"/>
                  <a:pt x="42153" y="632130"/>
                  <a:pt x="28713" y="583650"/>
                </a:cubicBezTo>
                <a:cubicBezTo>
                  <a:pt x="17342" y="542631"/>
                  <a:pt x="7760" y="501188"/>
                  <a:pt x="2872" y="458823"/>
                </a:cubicBezTo>
                <a:cubicBezTo>
                  <a:pt x="-5484" y="386401"/>
                  <a:pt x="4005" y="316635"/>
                  <a:pt x="36461" y="250957"/>
                </a:cubicBezTo>
                <a:cubicBezTo>
                  <a:pt x="53137" y="217210"/>
                  <a:pt x="77705" y="189133"/>
                  <a:pt x="105198" y="163584"/>
                </a:cubicBezTo>
                <a:cubicBezTo>
                  <a:pt x="131434" y="139203"/>
                  <a:pt x="160285" y="118551"/>
                  <a:pt x="191800" y="101539"/>
                </a:cubicBezTo>
                <a:cubicBezTo>
                  <a:pt x="202646" y="95684"/>
                  <a:pt x="209856" y="86491"/>
                  <a:pt x="214600" y="75129"/>
                </a:cubicBezTo>
                <a:cubicBezTo>
                  <a:pt x="226474" y="46689"/>
                  <a:pt x="246616" y="24191"/>
                  <a:pt x="268462" y="0"/>
                </a:cubicBezTo>
                <a:cubicBezTo>
                  <a:pt x="269111" y="4997"/>
                  <a:pt x="269706" y="7937"/>
                  <a:pt x="269844" y="10898"/>
                </a:cubicBezTo>
                <a:cubicBezTo>
                  <a:pt x="270760" y="30504"/>
                  <a:pt x="271607" y="50112"/>
                  <a:pt x="272418" y="69722"/>
                </a:cubicBezTo>
                <a:cubicBezTo>
                  <a:pt x="273150" y="87396"/>
                  <a:pt x="281549" y="99401"/>
                  <a:pt x="297658" y="107113"/>
                </a:cubicBezTo>
                <a:cubicBezTo>
                  <a:pt x="317218" y="116476"/>
                  <a:pt x="336170" y="127101"/>
                  <a:pt x="355481" y="136991"/>
                </a:cubicBezTo>
                <a:cubicBezTo>
                  <a:pt x="388645" y="153974"/>
                  <a:pt x="413226" y="179056"/>
                  <a:pt x="430178" y="212396"/>
                </a:cubicBezTo>
                <a:cubicBezTo>
                  <a:pt x="440917" y="233515"/>
                  <a:pt x="453634" y="253647"/>
                  <a:pt x="465840" y="273997"/>
                </a:cubicBezTo>
                <a:cubicBezTo>
                  <a:pt x="482404" y="301613"/>
                  <a:pt x="506102" y="322183"/>
                  <a:pt x="532362" y="340124"/>
                </a:cubicBezTo>
                <a:cubicBezTo>
                  <a:pt x="545881" y="349359"/>
                  <a:pt x="559082" y="359088"/>
                  <a:pt x="572901" y="367845"/>
                </a:cubicBezTo>
                <a:cubicBezTo>
                  <a:pt x="588172" y="377523"/>
                  <a:pt x="597775" y="390733"/>
                  <a:pt x="598436" y="408775"/>
                </a:cubicBezTo>
                <a:cubicBezTo>
                  <a:pt x="598970" y="423381"/>
                  <a:pt x="599120" y="438404"/>
                  <a:pt x="596339" y="452637"/>
                </a:cubicBezTo>
                <a:cubicBezTo>
                  <a:pt x="591789" y="475923"/>
                  <a:pt x="576843" y="486555"/>
                  <a:pt x="552957" y="485233"/>
                </a:cubicBezTo>
                <a:cubicBezTo>
                  <a:pt x="543740" y="484722"/>
                  <a:pt x="534648" y="481613"/>
                  <a:pt x="525548" y="479475"/>
                </a:cubicBezTo>
                <a:cubicBezTo>
                  <a:pt x="522577" y="478776"/>
                  <a:pt x="519764" y="477405"/>
                  <a:pt x="515736" y="475921"/>
                </a:cubicBezTo>
                <a:cubicBezTo>
                  <a:pt x="516318" y="484233"/>
                  <a:pt x="521537" y="487842"/>
                  <a:pt x="525605" y="492048"/>
                </a:cubicBezTo>
                <a:cubicBezTo>
                  <a:pt x="529554" y="496129"/>
                  <a:pt x="533815" y="499907"/>
                  <a:pt x="538873" y="504704"/>
                </a:cubicBezTo>
                <a:cubicBezTo>
                  <a:pt x="529522" y="509277"/>
                  <a:pt x="521553" y="504428"/>
                  <a:pt x="512604" y="503918"/>
                </a:cubicBezTo>
                <a:moveTo>
                  <a:pt x="332072" y="218143"/>
                </a:moveTo>
                <a:cubicBezTo>
                  <a:pt x="332837" y="220898"/>
                  <a:pt x="333478" y="223695"/>
                  <a:pt x="334388" y="226400"/>
                </a:cubicBezTo>
                <a:cubicBezTo>
                  <a:pt x="341073" y="246268"/>
                  <a:pt x="351614" y="254460"/>
                  <a:pt x="372370" y="254505"/>
                </a:cubicBezTo>
                <a:cubicBezTo>
                  <a:pt x="383333" y="254529"/>
                  <a:pt x="394312" y="253121"/>
                  <a:pt x="405258" y="252089"/>
                </a:cubicBezTo>
                <a:cubicBezTo>
                  <a:pt x="409961" y="251646"/>
                  <a:pt x="411340" y="248568"/>
                  <a:pt x="409167" y="244359"/>
                </a:cubicBezTo>
                <a:cubicBezTo>
                  <a:pt x="404885" y="236068"/>
                  <a:pt x="400139" y="227985"/>
                  <a:pt x="396364" y="219471"/>
                </a:cubicBezTo>
                <a:cubicBezTo>
                  <a:pt x="390350" y="205908"/>
                  <a:pt x="379963" y="198663"/>
                  <a:pt x="365755" y="195821"/>
                </a:cubicBezTo>
                <a:cubicBezTo>
                  <a:pt x="354973" y="193665"/>
                  <a:pt x="344291" y="191003"/>
                  <a:pt x="333572" y="188536"/>
                </a:cubicBezTo>
                <a:cubicBezTo>
                  <a:pt x="329511" y="187602"/>
                  <a:pt x="325579" y="187007"/>
                  <a:pt x="322931" y="190843"/>
                </a:cubicBezTo>
                <a:cubicBezTo>
                  <a:pt x="325138" y="195129"/>
                  <a:pt x="327613" y="198884"/>
                  <a:pt x="329041" y="203001"/>
                </a:cubicBezTo>
                <a:cubicBezTo>
                  <a:pt x="330500" y="207204"/>
                  <a:pt x="330929" y="211764"/>
                  <a:pt x="332072" y="218143"/>
                </a:cubicBezTo>
                <a:close/>
              </a:path>
            </a:pathLst>
          </a:custGeom>
          <a:solidFill>
            <a:srgbClr val="FEFEFE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" name="Free-form: Shape 6">
            <a:extLst>
              <a:ext uri="{FF2B5EF4-FFF2-40B4-BE49-F238E27FC236}">
                <a16:creationId xmlns:a16="http://schemas.microsoft.com/office/drawing/2014/main" id="{24D651F5-9711-ADD8-DB42-078E78E3A90C}"/>
              </a:ext>
            </a:extLst>
          </p:cNvPr>
          <p:cNvSpPr/>
          <p:nvPr/>
        </p:nvSpPr>
        <p:spPr>
          <a:xfrm>
            <a:off x="5459408" y="2486835"/>
            <a:ext cx="267393" cy="232628"/>
          </a:xfrm>
          <a:custGeom>
            <a:avLst/>
            <a:gdLst>
              <a:gd name="csX0" fmla="*/ 84645 w 321679"/>
              <a:gd name="csY0" fmla="*/ 279507 h 279857"/>
              <a:gd name="csX1" fmla="*/ 19 w 321679"/>
              <a:gd name="csY1" fmla="*/ 276629 h 279857"/>
              <a:gd name="csX2" fmla="*/ 61 w 321679"/>
              <a:gd name="csY2" fmla="*/ 231376 h 279857"/>
              <a:gd name="csX3" fmla="*/ 925 w 321679"/>
              <a:gd name="csY3" fmla="*/ 219150 h 279857"/>
              <a:gd name="csX4" fmla="*/ 8286 w 321679"/>
              <a:gd name="csY4" fmla="*/ 86910 h 279857"/>
              <a:gd name="csX5" fmla="*/ 11586 w 321679"/>
              <a:gd name="csY5" fmla="*/ 21981 h 279857"/>
              <a:gd name="csX6" fmla="*/ 26655 w 321679"/>
              <a:gd name="csY6" fmla="*/ 7635 h 279857"/>
              <a:gd name="csX7" fmla="*/ 67169 w 321679"/>
              <a:gd name="csY7" fmla="*/ 7178 h 279857"/>
              <a:gd name="csX8" fmla="*/ 201872 w 321679"/>
              <a:gd name="csY8" fmla="*/ 121 h 279857"/>
              <a:gd name="csX9" fmla="*/ 217558 w 321679"/>
              <a:gd name="csY9" fmla="*/ 87 h 279857"/>
              <a:gd name="csX10" fmla="*/ 214854 w 321679"/>
              <a:gd name="csY10" fmla="*/ 22019 h 279857"/>
              <a:gd name="csX11" fmla="*/ 235301 w 321679"/>
              <a:gd name="csY11" fmla="*/ 104861 h 279857"/>
              <a:gd name="csX12" fmla="*/ 269832 w 321679"/>
              <a:gd name="csY12" fmla="*/ 144587 h 279857"/>
              <a:gd name="csX13" fmla="*/ 299912 w 321679"/>
              <a:gd name="csY13" fmla="*/ 176874 h 279857"/>
              <a:gd name="csX14" fmla="*/ 320491 w 321679"/>
              <a:gd name="csY14" fmla="*/ 256903 h 279857"/>
              <a:gd name="csX15" fmla="*/ 255607 w 321679"/>
              <a:gd name="csY15" fmla="*/ 264918 h 279857"/>
              <a:gd name="csX16" fmla="*/ 172672 w 321679"/>
              <a:gd name="csY16" fmla="*/ 273435 h 279857"/>
              <a:gd name="csX17" fmla="*/ 133595 w 321679"/>
              <a:gd name="csY17" fmla="*/ 276823 h 279857"/>
              <a:gd name="csX18" fmla="*/ 84645 w 321679"/>
              <a:gd name="csY18" fmla="*/ 279507 h 27985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</a:cxnLst>
            <a:rect l="l" t="t" r="r" b="b"/>
            <a:pathLst>
              <a:path w="321679" h="279857">
                <a:moveTo>
                  <a:pt x="84645" y="279507"/>
                </a:moveTo>
                <a:cubicBezTo>
                  <a:pt x="55716" y="279830"/>
                  <a:pt x="27945" y="280875"/>
                  <a:pt x="19" y="276629"/>
                </a:cubicBezTo>
                <a:cubicBezTo>
                  <a:pt x="19" y="261343"/>
                  <a:pt x="-45" y="246359"/>
                  <a:pt x="61" y="231376"/>
                </a:cubicBezTo>
                <a:cubicBezTo>
                  <a:pt x="90" y="227299"/>
                  <a:pt x="696" y="223229"/>
                  <a:pt x="925" y="219150"/>
                </a:cubicBezTo>
                <a:cubicBezTo>
                  <a:pt x="3396" y="175071"/>
                  <a:pt x="5876" y="130992"/>
                  <a:pt x="8286" y="86910"/>
                </a:cubicBezTo>
                <a:cubicBezTo>
                  <a:pt x="9469" y="65271"/>
                  <a:pt x="10613" y="43630"/>
                  <a:pt x="11586" y="21981"/>
                </a:cubicBezTo>
                <a:cubicBezTo>
                  <a:pt x="12199" y="8328"/>
                  <a:pt x="12576" y="7792"/>
                  <a:pt x="26655" y="7635"/>
                </a:cubicBezTo>
                <a:cubicBezTo>
                  <a:pt x="40161" y="7484"/>
                  <a:pt x="53689" y="7831"/>
                  <a:pt x="67169" y="7178"/>
                </a:cubicBezTo>
                <a:cubicBezTo>
                  <a:pt x="112079" y="5004"/>
                  <a:pt x="156970" y="2455"/>
                  <a:pt x="201872" y="121"/>
                </a:cubicBezTo>
                <a:cubicBezTo>
                  <a:pt x="206690" y="-130"/>
                  <a:pt x="211533" y="87"/>
                  <a:pt x="217558" y="87"/>
                </a:cubicBezTo>
                <a:cubicBezTo>
                  <a:pt x="216603" y="7811"/>
                  <a:pt x="215688" y="14910"/>
                  <a:pt x="214854" y="22019"/>
                </a:cubicBezTo>
                <a:cubicBezTo>
                  <a:pt x="211318" y="52185"/>
                  <a:pt x="219749" y="79345"/>
                  <a:pt x="235301" y="104861"/>
                </a:cubicBezTo>
                <a:cubicBezTo>
                  <a:pt x="244591" y="120102"/>
                  <a:pt x="257536" y="132012"/>
                  <a:pt x="269832" y="144587"/>
                </a:cubicBezTo>
                <a:cubicBezTo>
                  <a:pt x="280116" y="155103"/>
                  <a:pt x="290551" y="165559"/>
                  <a:pt x="299912" y="176874"/>
                </a:cubicBezTo>
                <a:cubicBezTo>
                  <a:pt x="319006" y="199953"/>
                  <a:pt x="324386" y="226827"/>
                  <a:pt x="320491" y="256903"/>
                </a:cubicBezTo>
                <a:cubicBezTo>
                  <a:pt x="298421" y="259649"/>
                  <a:pt x="277043" y="262541"/>
                  <a:pt x="255607" y="264918"/>
                </a:cubicBezTo>
                <a:cubicBezTo>
                  <a:pt x="227987" y="267981"/>
                  <a:pt x="200327" y="270692"/>
                  <a:pt x="172672" y="273435"/>
                </a:cubicBezTo>
                <a:cubicBezTo>
                  <a:pt x="159662" y="274725"/>
                  <a:pt x="146637" y="275935"/>
                  <a:pt x="133595" y="276823"/>
                </a:cubicBezTo>
                <a:cubicBezTo>
                  <a:pt x="117688" y="277907"/>
                  <a:pt x="101755" y="278616"/>
                  <a:pt x="84645" y="279507"/>
                </a:cubicBezTo>
                <a:close/>
              </a:path>
            </a:pathLst>
          </a:custGeom>
          <a:solidFill>
            <a:srgbClr val="FDFEFE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" name="Free-form: Shape 7">
            <a:extLst>
              <a:ext uri="{FF2B5EF4-FFF2-40B4-BE49-F238E27FC236}">
                <a16:creationId xmlns:a16="http://schemas.microsoft.com/office/drawing/2014/main" id="{C392886D-A622-32FA-5E11-84CB32E3C385}"/>
              </a:ext>
            </a:extLst>
          </p:cNvPr>
          <p:cNvSpPr/>
          <p:nvPr/>
        </p:nvSpPr>
        <p:spPr>
          <a:xfrm>
            <a:off x="5459305" y="2743496"/>
            <a:ext cx="284373" cy="65313"/>
          </a:xfrm>
          <a:custGeom>
            <a:avLst/>
            <a:gdLst>
              <a:gd name="csX0" fmla="*/ 270798 w 342106"/>
              <a:gd name="csY0" fmla="*/ 65953 h 78573"/>
              <a:gd name="csX1" fmla="*/ 183290 w 342106"/>
              <a:gd name="csY1" fmla="*/ 76017 h 78573"/>
              <a:gd name="csX2" fmla="*/ 72897 w 342106"/>
              <a:gd name="csY2" fmla="*/ 78565 h 78573"/>
              <a:gd name="csX3" fmla="*/ 5450 w 342106"/>
              <a:gd name="csY3" fmla="*/ 76564 h 78573"/>
              <a:gd name="csX4" fmla="*/ 0 w 342106"/>
              <a:gd name="csY4" fmla="*/ 75649 h 78573"/>
              <a:gd name="csX5" fmla="*/ 0 w 342106"/>
              <a:gd name="csY5" fmla="*/ 21324 h 78573"/>
              <a:gd name="csX6" fmla="*/ 8504 w 342106"/>
              <a:gd name="csY6" fmla="*/ 20688 h 78573"/>
              <a:gd name="csX7" fmla="*/ 98126 w 342106"/>
              <a:gd name="csY7" fmla="*/ 19655 h 78573"/>
              <a:gd name="csX8" fmla="*/ 221639 w 342106"/>
              <a:gd name="csY8" fmla="*/ 10929 h 78573"/>
              <a:gd name="csX9" fmla="*/ 304285 w 342106"/>
              <a:gd name="csY9" fmla="*/ 683 h 78573"/>
              <a:gd name="csX10" fmla="*/ 309173 w 342106"/>
              <a:gd name="csY10" fmla="*/ 212 h 78573"/>
              <a:gd name="csX11" fmla="*/ 335187 w 342106"/>
              <a:gd name="csY11" fmla="*/ 18545 h 78573"/>
              <a:gd name="csX12" fmla="*/ 342106 w 342106"/>
              <a:gd name="csY12" fmla="*/ 53602 h 78573"/>
              <a:gd name="csX13" fmla="*/ 270798 w 342106"/>
              <a:gd name="csY13" fmla="*/ 65953 h 7857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</a:cxnLst>
            <a:rect l="l" t="t" r="r" b="b"/>
            <a:pathLst>
              <a:path w="342106" h="78573">
                <a:moveTo>
                  <a:pt x="270798" y="65953"/>
                </a:moveTo>
                <a:cubicBezTo>
                  <a:pt x="240931" y="69594"/>
                  <a:pt x="212199" y="74306"/>
                  <a:pt x="183290" y="76017"/>
                </a:cubicBezTo>
                <a:cubicBezTo>
                  <a:pt x="146568" y="78191"/>
                  <a:pt x="109704" y="78349"/>
                  <a:pt x="72897" y="78565"/>
                </a:cubicBezTo>
                <a:cubicBezTo>
                  <a:pt x="50419" y="78697"/>
                  <a:pt x="27931" y="77315"/>
                  <a:pt x="5450" y="76564"/>
                </a:cubicBezTo>
                <a:cubicBezTo>
                  <a:pt x="3884" y="76512"/>
                  <a:pt x="2332" y="76053"/>
                  <a:pt x="0" y="75649"/>
                </a:cubicBezTo>
                <a:cubicBezTo>
                  <a:pt x="0" y="57619"/>
                  <a:pt x="0" y="39863"/>
                  <a:pt x="0" y="21324"/>
                </a:cubicBezTo>
                <a:cubicBezTo>
                  <a:pt x="3058" y="21086"/>
                  <a:pt x="5779" y="20715"/>
                  <a:pt x="8504" y="20688"/>
                </a:cubicBezTo>
                <a:cubicBezTo>
                  <a:pt x="38382" y="20390"/>
                  <a:pt x="68305" y="21101"/>
                  <a:pt x="98126" y="19655"/>
                </a:cubicBezTo>
                <a:cubicBezTo>
                  <a:pt x="139343" y="17657"/>
                  <a:pt x="180532" y="14597"/>
                  <a:pt x="221639" y="10929"/>
                </a:cubicBezTo>
                <a:cubicBezTo>
                  <a:pt x="249272" y="8463"/>
                  <a:pt x="276741" y="4156"/>
                  <a:pt x="304285" y="683"/>
                </a:cubicBezTo>
                <a:cubicBezTo>
                  <a:pt x="305908" y="478"/>
                  <a:pt x="307539" y="312"/>
                  <a:pt x="309173" y="212"/>
                </a:cubicBezTo>
                <a:cubicBezTo>
                  <a:pt x="326863" y="-867"/>
                  <a:pt x="330972" y="1719"/>
                  <a:pt x="335187" y="18545"/>
                </a:cubicBezTo>
                <a:cubicBezTo>
                  <a:pt x="337939" y="29526"/>
                  <a:pt x="339618" y="40777"/>
                  <a:pt x="342106" y="53602"/>
                </a:cubicBezTo>
                <a:cubicBezTo>
                  <a:pt x="317523" y="57833"/>
                  <a:pt x="294689" y="61762"/>
                  <a:pt x="270798" y="65953"/>
                </a:cubicBezTo>
                <a:close/>
              </a:path>
            </a:pathLst>
          </a:custGeom>
          <a:solidFill>
            <a:srgbClr val="FCFCFC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" name="Free-form: Shape 8">
            <a:extLst>
              <a:ext uri="{FF2B5EF4-FFF2-40B4-BE49-F238E27FC236}">
                <a16:creationId xmlns:a16="http://schemas.microsoft.com/office/drawing/2014/main" id="{A08D620F-F306-9F28-5EFA-B9AC289D346A}"/>
              </a:ext>
            </a:extLst>
          </p:cNvPr>
          <p:cNvSpPr/>
          <p:nvPr/>
        </p:nvSpPr>
        <p:spPr>
          <a:xfrm>
            <a:off x="5527024" y="1785640"/>
            <a:ext cx="72517" cy="55415"/>
          </a:xfrm>
          <a:custGeom>
            <a:avLst/>
            <a:gdLst>
              <a:gd name="csX0" fmla="*/ 9010 w 87239"/>
              <a:gd name="csY0" fmla="*/ 29316 h 66665"/>
              <a:gd name="csX1" fmla="*/ 6110 w 87239"/>
              <a:gd name="csY1" fmla="*/ 15162 h 66665"/>
              <a:gd name="csX2" fmla="*/ 0 w 87239"/>
              <a:gd name="csY2" fmla="*/ 3003 h 66665"/>
              <a:gd name="csX3" fmla="*/ 10641 w 87239"/>
              <a:gd name="csY3" fmla="*/ 697 h 66665"/>
              <a:gd name="csX4" fmla="*/ 42824 w 87239"/>
              <a:gd name="csY4" fmla="*/ 7981 h 66665"/>
              <a:gd name="csX5" fmla="*/ 73433 w 87239"/>
              <a:gd name="csY5" fmla="*/ 31631 h 66665"/>
              <a:gd name="csX6" fmla="*/ 86236 w 87239"/>
              <a:gd name="csY6" fmla="*/ 56519 h 66665"/>
              <a:gd name="csX7" fmla="*/ 82327 w 87239"/>
              <a:gd name="csY7" fmla="*/ 64249 h 66665"/>
              <a:gd name="csX8" fmla="*/ 49439 w 87239"/>
              <a:gd name="csY8" fmla="*/ 66665 h 66665"/>
              <a:gd name="csX9" fmla="*/ 11457 w 87239"/>
              <a:gd name="csY9" fmla="*/ 38560 h 66665"/>
              <a:gd name="csX10" fmla="*/ 9010 w 87239"/>
              <a:gd name="csY10" fmla="*/ 29316 h 6666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</a:cxnLst>
            <a:rect l="l" t="t" r="r" b="b"/>
            <a:pathLst>
              <a:path w="87239" h="66665">
                <a:moveTo>
                  <a:pt x="9010" y="29316"/>
                </a:moveTo>
                <a:cubicBezTo>
                  <a:pt x="7998" y="23924"/>
                  <a:pt x="7568" y="19365"/>
                  <a:pt x="6110" y="15162"/>
                </a:cubicBezTo>
                <a:cubicBezTo>
                  <a:pt x="4682" y="11044"/>
                  <a:pt x="2207" y="7289"/>
                  <a:pt x="0" y="3003"/>
                </a:cubicBezTo>
                <a:cubicBezTo>
                  <a:pt x="2648" y="-833"/>
                  <a:pt x="6580" y="-238"/>
                  <a:pt x="10641" y="697"/>
                </a:cubicBezTo>
                <a:cubicBezTo>
                  <a:pt x="21360" y="3163"/>
                  <a:pt x="32042" y="5825"/>
                  <a:pt x="42824" y="7981"/>
                </a:cubicBezTo>
                <a:cubicBezTo>
                  <a:pt x="57032" y="10823"/>
                  <a:pt x="67419" y="18068"/>
                  <a:pt x="73433" y="31631"/>
                </a:cubicBezTo>
                <a:cubicBezTo>
                  <a:pt x="77208" y="40146"/>
                  <a:pt x="81954" y="48228"/>
                  <a:pt x="86236" y="56519"/>
                </a:cubicBezTo>
                <a:cubicBezTo>
                  <a:pt x="88409" y="60728"/>
                  <a:pt x="87030" y="63806"/>
                  <a:pt x="82327" y="64249"/>
                </a:cubicBezTo>
                <a:cubicBezTo>
                  <a:pt x="71381" y="65282"/>
                  <a:pt x="60402" y="66689"/>
                  <a:pt x="49439" y="66665"/>
                </a:cubicBezTo>
                <a:cubicBezTo>
                  <a:pt x="28683" y="66620"/>
                  <a:pt x="18142" y="58428"/>
                  <a:pt x="11457" y="38560"/>
                </a:cubicBezTo>
                <a:cubicBezTo>
                  <a:pt x="10547" y="35855"/>
                  <a:pt x="9906" y="33058"/>
                  <a:pt x="9010" y="29316"/>
                </a:cubicBez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 w="1227" cap="flat">
            <a:solidFill>
              <a:schemeClr val="tx2">
                <a:lumMod val="20000"/>
                <a:lumOff val="80000"/>
              </a:schemeClr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A5A56D4-7CAD-23FB-6A17-741EF3EF6C4F}"/>
              </a:ext>
            </a:extLst>
          </p:cNvPr>
          <p:cNvSpPr txBox="1"/>
          <p:nvPr/>
        </p:nvSpPr>
        <p:spPr>
          <a:xfrm>
            <a:off x="5052906" y="2831201"/>
            <a:ext cx="863983" cy="3927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ola-BR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46FFEE24-9DCA-0ED3-BBC0-8C56D7253F3D}"/>
              </a:ext>
            </a:extLst>
          </p:cNvPr>
          <p:cNvSpPr/>
          <p:nvPr/>
        </p:nvSpPr>
        <p:spPr>
          <a:xfrm>
            <a:off x="1423738" y="2751699"/>
            <a:ext cx="593138" cy="104135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" name="Free-form: Shape 11">
            <a:extLst>
              <a:ext uri="{FF2B5EF4-FFF2-40B4-BE49-F238E27FC236}">
                <a16:creationId xmlns:a16="http://schemas.microsoft.com/office/drawing/2014/main" id="{B19A5C3B-321A-0D13-22C1-CC6FEC79A0C8}"/>
              </a:ext>
            </a:extLst>
          </p:cNvPr>
          <p:cNvSpPr/>
          <p:nvPr/>
        </p:nvSpPr>
        <p:spPr>
          <a:xfrm>
            <a:off x="1522404" y="2071048"/>
            <a:ext cx="433137" cy="770022"/>
          </a:xfrm>
          <a:custGeom>
            <a:avLst/>
            <a:gdLst>
              <a:gd name="csX0" fmla="*/ 581793 w 697572"/>
              <a:gd name="csY0" fmla="*/ 1234401 h 1240128"/>
              <a:gd name="csX1" fmla="*/ 577427 w 697572"/>
              <a:gd name="csY1" fmla="*/ 1234156 h 1240128"/>
              <a:gd name="csX2" fmla="*/ 559133 w 697572"/>
              <a:gd name="csY2" fmla="*/ 1230909 h 1240128"/>
              <a:gd name="csX3" fmla="*/ 516706 w 697572"/>
              <a:gd name="csY3" fmla="*/ 1235117 h 1240128"/>
              <a:gd name="csX4" fmla="*/ 475244 w 697572"/>
              <a:gd name="csY4" fmla="*/ 1237506 h 1240128"/>
              <a:gd name="csX5" fmla="*/ 371154 w 697572"/>
              <a:gd name="csY5" fmla="*/ 1239428 h 1240128"/>
              <a:gd name="csX6" fmla="*/ 276813 w 697572"/>
              <a:gd name="csY6" fmla="*/ 1237654 h 1240128"/>
              <a:gd name="csX7" fmla="*/ 268212 w 697572"/>
              <a:gd name="csY7" fmla="*/ 1237635 h 1240128"/>
              <a:gd name="csX8" fmla="*/ 262072 w 697572"/>
              <a:gd name="csY8" fmla="*/ 1237523 h 1240128"/>
              <a:gd name="csX9" fmla="*/ 195111 w 697572"/>
              <a:gd name="csY9" fmla="*/ 1232775 h 1240128"/>
              <a:gd name="csX10" fmla="*/ 145060 w 697572"/>
              <a:gd name="csY10" fmla="*/ 1230076 h 1240128"/>
              <a:gd name="csX11" fmla="*/ 114933 w 697572"/>
              <a:gd name="csY11" fmla="*/ 1225832 h 1240128"/>
              <a:gd name="csX12" fmla="*/ 72642 w 697572"/>
              <a:gd name="csY12" fmla="*/ 1220237 h 1240128"/>
              <a:gd name="csX13" fmla="*/ 10894 w 697572"/>
              <a:gd name="csY13" fmla="*/ 1205737 h 1240128"/>
              <a:gd name="csX14" fmla="*/ 5856 w 697572"/>
              <a:gd name="csY14" fmla="*/ 1202799 h 1240128"/>
              <a:gd name="csX15" fmla="*/ 40 w 697572"/>
              <a:gd name="csY15" fmla="*/ 1174450 h 1240128"/>
              <a:gd name="csX16" fmla="*/ 19831 w 697572"/>
              <a:gd name="csY16" fmla="*/ 1118410 h 1240128"/>
              <a:gd name="csX17" fmla="*/ 22004 w 697572"/>
              <a:gd name="csY17" fmla="*/ 1107240 h 1240128"/>
              <a:gd name="csX18" fmla="*/ 25947 w 697572"/>
              <a:gd name="csY18" fmla="*/ 1038650 h 1240128"/>
              <a:gd name="csX19" fmla="*/ 58234 w 697572"/>
              <a:gd name="csY19" fmla="*/ 988567 h 1240128"/>
              <a:gd name="csX20" fmla="*/ 118645 w 697572"/>
              <a:gd name="csY20" fmla="*/ 928298 h 1240128"/>
              <a:gd name="csX21" fmla="*/ 126320 w 697572"/>
              <a:gd name="csY21" fmla="*/ 892015 h 1240128"/>
              <a:gd name="csX22" fmla="*/ 120345 w 697572"/>
              <a:gd name="csY22" fmla="*/ 872258 h 1240128"/>
              <a:gd name="csX23" fmla="*/ 125668 w 697572"/>
              <a:gd name="csY23" fmla="*/ 861640 h 1240128"/>
              <a:gd name="csX24" fmla="*/ 154237 w 697572"/>
              <a:gd name="csY24" fmla="*/ 850716 h 1240128"/>
              <a:gd name="csX25" fmla="*/ 170248 w 697572"/>
              <a:gd name="csY25" fmla="*/ 836767 h 1240128"/>
              <a:gd name="csX26" fmla="*/ 187840 w 697572"/>
              <a:gd name="csY26" fmla="*/ 796341 h 1240128"/>
              <a:gd name="csX27" fmla="*/ 209346 w 697572"/>
              <a:gd name="csY27" fmla="*/ 743126 h 1240128"/>
              <a:gd name="csX28" fmla="*/ 210630 w 697572"/>
              <a:gd name="csY28" fmla="*/ 737219 h 1240128"/>
              <a:gd name="csX29" fmla="*/ 213836 w 697572"/>
              <a:gd name="csY29" fmla="*/ 720505 h 1240128"/>
              <a:gd name="csX30" fmla="*/ 227791 w 697572"/>
              <a:gd name="csY30" fmla="*/ 667353 h 1240128"/>
              <a:gd name="csX31" fmla="*/ 241013 w 697572"/>
              <a:gd name="csY31" fmla="*/ 599151 h 1240128"/>
              <a:gd name="csX32" fmla="*/ 247322 w 697572"/>
              <a:gd name="csY32" fmla="*/ 542242 h 1240128"/>
              <a:gd name="csX33" fmla="*/ 247948 w 697572"/>
              <a:gd name="csY33" fmla="*/ 499296 h 1240128"/>
              <a:gd name="csX34" fmla="*/ 247577 w 697572"/>
              <a:gd name="csY34" fmla="*/ 470384 h 1240128"/>
              <a:gd name="csX35" fmla="*/ 238877 w 697572"/>
              <a:gd name="csY35" fmla="*/ 460987 h 1240128"/>
              <a:gd name="csX36" fmla="*/ 222040 w 697572"/>
              <a:gd name="csY36" fmla="*/ 458353 h 1240128"/>
              <a:gd name="csX37" fmla="*/ 172193 w 697572"/>
              <a:gd name="csY37" fmla="*/ 433714 h 1240128"/>
              <a:gd name="csX38" fmla="*/ 168410 w 697572"/>
              <a:gd name="csY38" fmla="*/ 396591 h 1240128"/>
              <a:gd name="csX39" fmla="*/ 209826 w 697572"/>
              <a:gd name="csY39" fmla="*/ 367773 h 1240128"/>
              <a:gd name="csX40" fmla="*/ 250732 w 697572"/>
              <a:gd name="csY40" fmla="*/ 355208 h 1240128"/>
              <a:gd name="csX41" fmla="*/ 258289 w 697572"/>
              <a:gd name="csY41" fmla="*/ 350426 h 1240128"/>
              <a:gd name="csX42" fmla="*/ 233274 w 697572"/>
              <a:gd name="csY42" fmla="*/ 333513 h 1240128"/>
              <a:gd name="csX43" fmla="*/ 229677 w 697572"/>
              <a:gd name="csY43" fmla="*/ 333922 h 1240128"/>
              <a:gd name="csX44" fmla="*/ 230149 w 697572"/>
              <a:gd name="csY44" fmla="*/ 332979 h 1240128"/>
              <a:gd name="csX45" fmla="*/ 227053 w 697572"/>
              <a:gd name="csY45" fmla="*/ 327076 h 1240128"/>
              <a:gd name="csX46" fmla="*/ 196769 w 697572"/>
              <a:gd name="csY46" fmla="*/ 291380 h 1240128"/>
              <a:gd name="csX47" fmla="*/ 184389 w 697572"/>
              <a:gd name="csY47" fmla="*/ 264042 h 1240128"/>
              <a:gd name="csX48" fmla="*/ 180630 w 697572"/>
              <a:gd name="csY48" fmla="*/ 257839 h 1240128"/>
              <a:gd name="csX49" fmla="*/ 176231 w 697572"/>
              <a:gd name="csY49" fmla="*/ 250643 h 1240128"/>
              <a:gd name="csX50" fmla="*/ 170073 w 697572"/>
              <a:gd name="csY50" fmla="*/ 146723 h 1240128"/>
              <a:gd name="csX51" fmla="*/ 180929 w 697572"/>
              <a:gd name="csY51" fmla="*/ 114280 h 1240128"/>
              <a:gd name="csX52" fmla="*/ 180839 w 697572"/>
              <a:gd name="csY52" fmla="*/ 101501 h 1240128"/>
              <a:gd name="csX53" fmla="*/ 233536 w 697572"/>
              <a:gd name="csY53" fmla="*/ 39653 h 1240128"/>
              <a:gd name="csX54" fmla="*/ 347618 w 697572"/>
              <a:gd name="csY54" fmla="*/ 35 h 1240128"/>
              <a:gd name="csX55" fmla="*/ 437139 w 697572"/>
              <a:gd name="csY55" fmla="*/ 22396 h 1240128"/>
              <a:gd name="csX56" fmla="*/ 529052 w 697572"/>
              <a:gd name="csY56" fmla="*/ 131093 h 1240128"/>
              <a:gd name="csX57" fmla="*/ 518497 w 697572"/>
              <a:gd name="csY57" fmla="*/ 271517 h 1240128"/>
              <a:gd name="csX58" fmla="*/ 500808 w 697572"/>
              <a:gd name="csY58" fmla="*/ 287385 h 1240128"/>
              <a:gd name="csX59" fmla="*/ 472948 w 697572"/>
              <a:gd name="csY59" fmla="*/ 323290 h 1240128"/>
              <a:gd name="csX60" fmla="*/ 469385 w 697572"/>
              <a:gd name="csY60" fmla="*/ 331565 h 1240128"/>
              <a:gd name="csX61" fmla="*/ 468293 w 697572"/>
              <a:gd name="csY61" fmla="*/ 331320 h 1240128"/>
              <a:gd name="csX62" fmla="*/ 459542 w 697572"/>
              <a:gd name="csY62" fmla="*/ 338942 h 1240128"/>
              <a:gd name="csX63" fmla="*/ 458492 w 697572"/>
              <a:gd name="csY63" fmla="*/ 338671 h 1240128"/>
              <a:gd name="csX64" fmla="*/ 436978 w 697572"/>
              <a:gd name="csY64" fmla="*/ 352226 h 1240128"/>
              <a:gd name="csX65" fmla="*/ 472329 w 697572"/>
              <a:gd name="csY65" fmla="*/ 362890 h 1240128"/>
              <a:gd name="csX66" fmla="*/ 523779 w 697572"/>
              <a:gd name="csY66" fmla="*/ 391962 h 1240128"/>
              <a:gd name="csX67" fmla="*/ 527344 w 697572"/>
              <a:gd name="csY67" fmla="*/ 430096 h 1240128"/>
              <a:gd name="csX68" fmla="*/ 504112 w 697572"/>
              <a:gd name="csY68" fmla="*/ 449628 h 1240128"/>
              <a:gd name="csX69" fmla="*/ 459430 w 697572"/>
              <a:gd name="csY69" fmla="*/ 461116 h 1240128"/>
              <a:gd name="csX70" fmla="*/ 446666 w 697572"/>
              <a:gd name="csY70" fmla="*/ 474229 h 1240128"/>
              <a:gd name="csX71" fmla="*/ 449133 w 697572"/>
              <a:gd name="csY71" fmla="*/ 531639 h 1240128"/>
              <a:gd name="csX72" fmla="*/ 454546 w 697572"/>
              <a:gd name="csY72" fmla="*/ 588688 h 1240128"/>
              <a:gd name="csX73" fmla="*/ 466126 w 697572"/>
              <a:gd name="csY73" fmla="*/ 649736 h 1240128"/>
              <a:gd name="csX74" fmla="*/ 512154 w 697572"/>
              <a:gd name="csY74" fmla="*/ 794006 h 1240128"/>
              <a:gd name="csX75" fmla="*/ 525763 w 697572"/>
              <a:gd name="csY75" fmla="*/ 834323 h 1240128"/>
              <a:gd name="csX76" fmla="*/ 530555 w 697572"/>
              <a:gd name="csY76" fmla="*/ 845114 h 1240128"/>
              <a:gd name="csX77" fmla="*/ 554424 w 697572"/>
              <a:gd name="csY77" fmla="*/ 856618 h 1240128"/>
              <a:gd name="csX78" fmla="*/ 572880 w 697572"/>
              <a:gd name="csY78" fmla="*/ 862546 h 1240128"/>
              <a:gd name="csX79" fmla="*/ 578643 w 697572"/>
              <a:gd name="csY79" fmla="*/ 880396 h 1240128"/>
              <a:gd name="csX80" fmla="*/ 572188 w 697572"/>
              <a:gd name="csY80" fmla="*/ 899820 h 1240128"/>
              <a:gd name="csX81" fmla="*/ 582698 w 697572"/>
              <a:gd name="csY81" fmla="*/ 930382 h 1240128"/>
              <a:gd name="csX82" fmla="*/ 604747 w 697572"/>
              <a:gd name="csY82" fmla="*/ 960852 h 1240128"/>
              <a:gd name="csX83" fmla="*/ 613863 w 697572"/>
              <a:gd name="csY83" fmla="*/ 968311 h 1240128"/>
              <a:gd name="csX84" fmla="*/ 629435 w 697572"/>
              <a:gd name="csY84" fmla="*/ 981186 h 1240128"/>
              <a:gd name="csX85" fmla="*/ 633611 w 697572"/>
              <a:gd name="csY85" fmla="*/ 985609 h 1240128"/>
              <a:gd name="csX86" fmla="*/ 673790 w 697572"/>
              <a:gd name="csY86" fmla="*/ 1049348 h 1240128"/>
              <a:gd name="csX87" fmla="*/ 675873 w 697572"/>
              <a:gd name="csY87" fmla="*/ 1092839 h 1240128"/>
              <a:gd name="csX88" fmla="*/ 681668 w 697572"/>
              <a:gd name="csY88" fmla="*/ 1129292 h 1240128"/>
              <a:gd name="csX89" fmla="*/ 697338 w 697572"/>
              <a:gd name="csY89" fmla="*/ 1196079 h 1240128"/>
              <a:gd name="csX90" fmla="*/ 690637 w 697572"/>
              <a:gd name="csY90" fmla="*/ 1205035 h 1240128"/>
              <a:gd name="csX91" fmla="*/ 639777 w 697572"/>
              <a:gd name="csY91" fmla="*/ 1217994 h 1240128"/>
              <a:gd name="csX92" fmla="*/ 587072 w 697572"/>
              <a:gd name="csY92" fmla="*/ 1227761 h 1240128"/>
              <a:gd name="csX93" fmla="*/ 581793 w 697572"/>
              <a:gd name="csY93" fmla="*/ 1234401 h 1240128"/>
              <a:gd name="csX94" fmla="*/ 357446 w 697572"/>
              <a:gd name="csY94" fmla="*/ 903795 h 1240128"/>
              <a:gd name="csX95" fmla="*/ 344445 w 697572"/>
              <a:gd name="csY95" fmla="*/ 903795 h 1240128"/>
              <a:gd name="csX96" fmla="*/ 349212 w 697572"/>
              <a:gd name="csY96" fmla="*/ 950515 h 1240128"/>
              <a:gd name="csX97" fmla="*/ 349538 w 697572"/>
              <a:gd name="csY97" fmla="*/ 1069392 h 1240128"/>
              <a:gd name="csX98" fmla="*/ 349415 w 697572"/>
              <a:gd name="csY98" fmla="*/ 1108925 h 1240128"/>
              <a:gd name="csX99" fmla="*/ 647726 w 697572"/>
              <a:gd name="csY99" fmla="*/ 1089872 h 1240128"/>
              <a:gd name="csX100" fmla="*/ 647654 w 697572"/>
              <a:gd name="csY100" fmla="*/ 1076267 h 1240128"/>
              <a:gd name="csX101" fmla="*/ 610267 w 697572"/>
              <a:gd name="csY101" fmla="*/ 994126 h 1240128"/>
              <a:gd name="csX102" fmla="*/ 571459 w 697572"/>
              <a:gd name="csY102" fmla="*/ 956568 h 1240128"/>
              <a:gd name="csX103" fmla="*/ 541653 w 697572"/>
              <a:gd name="csY103" fmla="*/ 901544 h 1240128"/>
              <a:gd name="csX104" fmla="*/ 539477 w 697572"/>
              <a:gd name="csY104" fmla="*/ 895908 h 1240128"/>
              <a:gd name="csX105" fmla="*/ 357446 w 697572"/>
              <a:gd name="csY105" fmla="*/ 903795 h 1240128"/>
              <a:gd name="csX106" fmla="*/ 300108 w 697572"/>
              <a:gd name="csY106" fmla="*/ 85260 h 1240128"/>
              <a:gd name="csX107" fmla="*/ 290213 w 697572"/>
              <a:gd name="csY107" fmla="*/ 127888 h 1240128"/>
              <a:gd name="csX108" fmla="*/ 331056 w 697572"/>
              <a:gd name="csY108" fmla="*/ 214168 h 1240128"/>
              <a:gd name="csX109" fmla="*/ 424717 w 697572"/>
              <a:gd name="csY109" fmla="*/ 245160 h 1240128"/>
              <a:gd name="csX110" fmla="*/ 496752 w 697572"/>
              <a:gd name="csY110" fmla="*/ 141256 h 1240128"/>
              <a:gd name="csX111" fmla="*/ 390320 w 697572"/>
              <a:gd name="csY111" fmla="*/ 43995 h 1240128"/>
              <a:gd name="csX112" fmla="*/ 300108 w 697572"/>
              <a:gd name="csY112" fmla="*/ 85260 h 1240128"/>
              <a:gd name="csX113" fmla="*/ 343360 w 697572"/>
              <a:gd name="csY113" fmla="*/ 634332 h 1240128"/>
              <a:gd name="csX114" fmla="*/ 340877 w 697572"/>
              <a:gd name="csY114" fmla="*/ 732259 h 1240128"/>
              <a:gd name="csX115" fmla="*/ 338360 w 697572"/>
              <a:gd name="csY115" fmla="*/ 810538 h 1240128"/>
              <a:gd name="csX116" fmla="*/ 337115 w 697572"/>
              <a:gd name="csY116" fmla="*/ 817736 h 1240128"/>
              <a:gd name="csX117" fmla="*/ 336516 w 697572"/>
              <a:gd name="csY117" fmla="*/ 863022 h 1240128"/>
              <a:gd name="csX118" fmla="*/ 343436 w 697572"/>
              <a:gd name="csY118" fmla="*/ 864027 h 1240128"/>
              <a:gd name="csX119" fmla="*/ 406718 w 697572"/>
              <a:gd name="csY119" fmla="*/ 862982 h 1240128"/>
              <a:gd name="csX120" fmla="*/ 456888 w 697572"/>
              <a:gd name="csY120" fmla="*/ 861794 h 1240128"/>
              <a:gd name="csX121" fmla="*/ 495873 w 697572"/>
              <a:gd name="csY121" fmla="*/ 863963 h 1240128"/>
              <a:gd name="csX122" fmla="*/ 509286 w 697572"/>
              <a:gd name="csY122" fmla="*/ 863595 h 1240128"/>
              <a:gd name="csX123" fmla="*/ 516956 w 697572"/>
              <a:gd name="csY123" fmla="*/ 856791 h 1240128"/>
              <a:gd name="csX124" fmla="*/ 513920 w 697572"/>
              <a:gd name="csY124" fmla="*/ 848709 h 1240128"/>
              <a:gd name="csX125" fmla="*/ 506683 w 697572"/>
              <a:gd name="csY125" fmla="*/ 839054 h 1240128"/>
              <a:gd name="csX126" fmla="*/ 488629 w 697572"/>
              <a:gd name="csY126" fmla="*/ 799037 h 1240128"/>
              <a:gd name="csX127" fmla="*/ 456922 w 697572"/>
              <a:gd name="csY127" fmla="*/ 696297 h 1240128"/>
              <a:gd name="csX128" fmla="*/ 441346 w 697572"/>
              <a:gd name="csY128" fmla="*/ 619885 h 1240128"/>
              <a:gd name="csX129" fmla="*/ 435963 w 697572"/>
              <a:gd name="csY129" fmla="*/ 582529 h 1240128"/>
              <a:gd name="csX130" fmla="*/ 429497 w 697572"/>
              <a:gd name="csY130" fmla="*/ 521990 h 1240128"/>
              <a:gd name="csX131" fmla="*/ 426887 w 697572"/>
              <a:gd name="csY131" fmla="*/ 471989 h 1240128"/>
              <a:gd name="csX132" fmla="*/ 413744 w 697572"/>
              <a:gd name="csY132" fmla="*/ 461077 h 1240128"/>
              <a:gd name="csX133" fmla="*/ 353573 w 697572"/>
              <a:gd name="csY133" fmla="*/ 461120 h 1240128"/>
              <a:gd name="csX134" fmla="*/ 344160 w 697572"/>
              <a:gd name="csY134" fmla="*/ 462286 h 1240128"/>
              <a:gd name="csX135" fmla="*/ 343404 w 697572"/>
              <a:gd name="csY135" fmla="*/ 469192 h 1240128"/>
              <a:gd name="csX136" fmla="*/ 343469 w 697572"/>
              <a:gd name="csY136" fmla="*/ 574797 h 1240128"/>
              <a:gd name="csX137" fmla="*/ 345522 w 697572"/>
              <a:gd name="csY137" fmla="*/ 591669 h 1240128"/>
              <a:gd name="csX138" fmla="*/ 343360 w 697572"/>
              <a:gd name="csY138" fmla="*/ 634332 h 1240128"/>
              <a:gd name="csX139" fmla="*/ 416946 w 697572"/>
              <a:gd name="csY139" fmla="*/ 385943 h 1240128"/>
              <a:gd name="csX140" fmla="*/ 401091 w 697572"/>
              <a:gd name="csY140" fmla="*/ 387162 h 1240128"/>
              <a:gd name="csX141" fmla="*/ 369218 w 697572"/>
              <a:gd name="csY141" fmla="*/ 387708 h 1240128"/>
              <a:gd name="csX142" fmla="*/ 351833 w 697572"/>
              <a:gd name="csY142" fmla="*/ 398991 h 1240128"/>
              <a:gd name="csX143" fmla="*/ 349778 w 697572"/>
              <a:gd name="csY143" fmla="*/ 426021 h 1240128"/>
              <a:gd name="csX144" fmla="*/ 361839 w 697572"/>
              <a:gd name="csY144" fmla="*/ 426538 h 1240128"/>
              <a:gd name="csX145" fmla="*/ 455022 w 697572"/>
              <a:gd name="csY145" fmla="*/ 426922 h 1240128"/>
              <a:gd name="csX146" fmla="*/ 481958 w 697572"/>
              <a:gd name="csY146" fmla="*/ 426527 h 1240128"/>
              <a:gd name="csX147" fmla="*/ 499817 w 697572"/>
              <a:gd name="csY147" fmla="*/ 419888 h 1240128"/>
              <a:gd name="csX148" fmla="*/ 499439 w 697572"/>
              <a:gd name="csY148" fmla="*/ 400719 h 1240128"/>
              <a:gd name="csX149" fmla="*/ 468062 w 697572"/>
              <a:gd name="csY149" fmla="*/ 387775 h 1240128"/>
              <a:gd name="csX150" fmla="*/ 416946 w 697572"/>
              <a:gd name="csY150" fmla="*/ 385943 h 1240128"/>
              <a:gd name="csX151" fmla="*/ 636802 w 697572"/>
              <a:gd name="csY151" fmla="*/ 1190940 h 1240128"/>
              <a:gd name="csX152" fmla="*/ 666492 w 697572"/>
              <a:gd name="csY152" fmla="*/ 1184186 h 1240128"/>
              <a:gd name="csX153" fmla="*/ 674465 w 697572"/>
              <a:gd name="csY153" fmla="*/ 1170880 h 1240128"/>
              <a:gd name="csX154" fmla="*/ 662462 w 697572"/>
              <a:gd name="csY154" fmla="*/ 1141464 h 1240128"/>
              <a:gd name="csX155" fmla="*/ 645564 w 697572"/>
              <a:gd name="csY155" fmla="*/ 1131937 h 1240128"/>
              <a:gd name="csX156" fmla="*/ 627387 w 697572"/>
              <a:gd name="csY156" fmla="*/ 1133618 h 1240128"/>
              <a:gd name="csX157" fmla="*/ 583917 w 697572"/>
              <a:gd name="csY157" fmla="*/ 1139222 h 1240128"/>
              <a:gd name="csX158" fmla="*/ 543741 w 697572"/>
              <a:gd name="csY158" fmla="*/ 1141869 h 1240128"/>
              <a:gd name="csX159" fmla="*/ 512146 w 697572"/>
              <a:gd name="csY159" fmla="*/ 1144418 h 1240128"/>
              <a:gd name="csX160" fmla="*/ 447711 w 697572"/>
              <a:gd name="csY160" fmla="*/ 1148973 h 1240128"/>
              <a:gd name="csX161" fmla="*/ 351979 w 697572"/>
              <a:gd name="csY161" fmla="*/ 1149200 h 1240128"/>
              <a:gd name="csX162" fmla="*/ 338443 w 697572"/>
              <a:gd name="csY162" fmla="*/ 1150040 h 1240128"/>
              <a:gd name="csX163" fmla="*/ 338451 w 697572"/>
              <a:gd name="csY163" fmla="*/ 1190780 h 1240128"/>
              <a:gd name="csX164" fmla="*/ 351082 w 697572"/>
              <a:gd name="csY164" fmla="*/ 1207015 h 1240128"/>
              <a:gd name="csX165" fmla="*/ 358298 w 697572"/>
              <a:gd name="csY165" fmla="*/ 1208094 h 1240128"/>
              <a:gd name="csX166" fmla="*/ 521229 w 697572"/>
              <a:gd name="csY166" fmla="*/ 1205646 h 1240128"/>
              <a:gd name="csX167" fmla="*/ 523675 w 697572"/>
              <a:gd name="csY167" fmla="*/ 1205490 h 1240128"/>
              <a:gd name="csX168" fmla="*/ 580423 w 697572"/>
              <a:gd name="csY168" fmla="*/ 1198350 h 1240128"/>
              <a:gd name="csX169" fmla="*/ 636802 w 697572"/>
              <a:gd name="csY169" fmla="*/ 1190940 h 124012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</a:cxnLst>
            <a:rect l="l" t="t" r="r" b="b"/>
            <a:pathLst>
              <a:path w="697572" h="1240128">
                <a:moveTo>
                  <a:pt x="581793" y="1234401"/>
                </a:moveTo>
                <a:cubicBezTo>
                  <a:pt x="580693" y="1234661"/>
                  <a:pt x="579594" y="1234922"/>
                  <a:pt x="577427" y="1234156"/>
                </a:cubicBezTo>
                <a:cubicBezTo>
                  <a:pt x="571216" y="1227899"/>
                  <a:pt x="564912" y="1230441"/>
                  <a:pt x="559133" y="1230909"/>
                </a:cubicBezTo>
                <a:cubicBezTo>
                  <a:pt x="544971" y="1232056"/>
                  <a:pt x="530869" y="1233971"/>
                  <a:pt x="516706" y="1235117"/>
                </a:cubicBezTo>
                <a:cubicBezTo>
                  <a:pt x="502910" y="1236232"/>
                  <a:pt x="489077" y="1237097"/>
                  <a:pt x="475244" y="1237506"/>
                </a:cubicBezTo>
                <a:cubicBezTo>
                  <a:pt x="440539" y="1238535"/>
                  <a:pt x="405696" y="1241458"/>
                  <a:pt x="371154" y="1239428"/>
                </a:cubicBezTo>
                <a:cubicBezTo>
                  <a:pt x="339645" y="1237575"/>
                  <a:pt x="308239" y="1238753"/>
                  <a:pt x="276813" y="1237654"/>
                </a:cubicBezTo>
                <a:cubicBezTo>
                  <a:pt x="273949" y="1237553"/>
                  <a:pt x="271079" y="1237652"/>
                  <a:pt x="268212" y="1237635"/>
                </a:cubicBezTo>
                <a:cubicBezTo>
                  <a:pt x="266165" y="1237623"/>
                  <a:pt x="264111" y="1237668"/>
                  <a:pt x="262072" y="1237523"/>
                </a:cubicBezTo>
                <a:cubicBezTo>
                  <a:pt x="239751" y="1235944"/>
                  <a:pt x="217441" y="1234201"/>
                  <a:pt x="195111" y="1232775"/>
                </a:cubicBezTo>
                <a:cubicBezTo>
                  <a:pt x="178437" y="1231710"/>
                  <a:pt x="161712" y="1231378"/>
                  <a:pt x="145060" y="1230076"/>
                </a:cubicBezTo>
                <a:cubicBezTo>
                  <a:pt x="134969" y="1229287"/>
                  <a:pt x="124987" y="1227177"/>
                  <a:pt x="114933" y="1225832"/>
                </a:cubicBezTo>
                <a:cubicBezTo>
                  <a:pt x="100834" y="1223946"/>
                  <a:pt x="86554" y="1223022"/>
                  <a:pt x="72642" y="1220237"/>
                </a:cubicBezTo>
                <a:cubicBezTo>
                  <a:pt x="51920" y="1216091"/>
                  <a:pt x="31443" y="1210723"/>
                  <a:pt x="10894" y="1205737"/>
                </a:cubicBezTo>
                <a:cubicBezTo>
                  <a:pt x="9027" y="1205284"/>
                  <a:pt x="6196" y="1204140"/>
                  <a:pt x="5856" y="1202799"/>
                </a:cubicBezTo>
                <a:cubicBezTo>
                  <a:pt x="3474" y="1193418"/>
                  <a:pt x="-438" y="1183796"/>
                  <a:pt x="40" y="1174450"/>
                </a:cubicBezTo>
                <a:cubicBezTo>
                  <a:pt x="1079" y="1154149"/>
                  <a:pt x="9757" y="1135843"/>
                  <a:pt x="19831" y="1118410"/>
                </a:cubicBezTo>
                <a:cubicBezTo>
                  <a:pt x="21968" y="1114713"/>
                  <a:pt x="22970" y="1111858"/>
                  <a:pt x="22004" y="1107240"/>
                </a:cubicBezTo>
                <a:cubicBezTo>
                  <a:pt x="17168" y="1084118"/>
                  <a:pt x="17717" y="1061168"/>
                  <a:pt x="25947" y="1038650"/>
                </a:cubicBezTo>
                <a:cubicBezTo>
                  <a:pt x="32954" y="1019481"/>
                  <a:pt x="44478" y="1003118"/>
                  <a:pt x="58234" y="988567"/>
                </a:cubicBezTo>
                <a:cubicBezTo>
                  <a:pt x="77769" y="967902"/>
                  <a:pt x="97978" y="947832"/>
                  <a:pt x="118645" y="928298"/>
                </a:cubicBezTo>
                <a:cubicBezTo>
                  <a:pt x="130104" y="917467"/>
                  <a:pt x="131835" y="905961"/>
                  <a:pt x="126320" y="892015"/>
                </a:cubicBezTo>
                <a:cubicBezTo>
                  <a:pt x="123798" y="885637"/>
                  <a:pt x="122123" y="878904"/>
                  <a:pt x="120345" y="872258"/>
                </a:cubicBezTo>
                <a:cubicBezTo>
                  <a:pt x="119029" y="867341"/>
                  <a:pt x="120162" y="863613"/>
                  <a:pt x="125668" y="861640"/>
                </a:cubicBezTo>
                <a:cubicBezTo>
                  <a:pt x="135266" y="858201"/>
                  <a:pt x="144535" y="853788"/>
                  <a:pt x="154237" y="850716"/>
                </a:cubicBezTo>
                <a:cubicBezTo>
                  <a:pt x="161882" y="848296"/>
                  <a:pt x="167110" y="843897"/>
                  <a:pt x="170248" y="836767"/>
                </a:cubicBezTo>
                <a:cubicBezTo>
                  <a:pt x="176168" y="823316"/>
                  <a:pt x="182193" y="809907"/>
                  <a:pt x="187840" y="796341"/>
                </a:cubicBezTo>
                <a:cubicBezTo>
                  <a:pt x="195194" y="778679"/>
                  <a:pt x="202250" y="760894"/>
                  <a:pt x="209346" y="743126"/>
                </a:cubicBezTo>
                <a:cubicBezTo>
                  <a:pt x="210083" y="741280"/>
                  <a:pt x="210252" y="739200"/>
                  <a:pt x="210630" y="737219"/>
                </a:cubicBezTo>
                <a:cubicBezTo>
                  <a:pt x="211694" y="731645"/>
                  <a:pt x="212425" y="725987"/>
                  <a:pt x="213836" y="720505"/>
                </a:cubicBezTo>
                <a:cubicBezTo>
                  <a:pt x="218406" y="702764"/>
                  <a:pt x="223811" y="685219"/>
                  <a:pt x="227791" y="667353"/>
                </a:cubicBezTo>
                <a:cubicBezTo>
                  <a:pt x="232826" y="644755"/>
                  <a:pt x="237367" y="622009"/>
                  <a:pt x="241013" y="599151"/>
                </a:cubicBezTo>
                <a:cubicBezTo>
                  <a:pt x="244018" y="580319"/>
                  <a:pt x="246001" y="561272"/>
                  <a:pt x="247322" y="542242"/>
                </a:cubicBezTo>
                <a:cubicBezTo>
                  <a:pt x="248312" y="527975"/>
                  <a:pt x="246344" y="513451"/>
                  <a:pt x="247948" y="499296"/>
                </a:cubicBezTo>
                <a:cubicBezTo>
                  <a:pt x="249066" y="489432"/>
                  <a:pt x="247923" y="480014"/>
                  <a:pt x="247577" y="470384"/>
                </a:cubicBezTo>
                <a:cubicBezTo>
                  <a:pt x="247364" y="464453"/>
                  <a:pt x="245121" y="461397"/>
                  <a:pt x="238877" y="460987"/>
                </a:cubicBezTo>
                <a:cubicBezTo>
                  <a:pt x="233224" y="460615"/>
                  <a:pt x="227461" y="459920"/>
                  <a:pt x="222040" y="458353"/>
                </a:cubicBezTo>
                <a:cubicBezTo>
                  <a:pt x="203991" y="453134"/>
                  <a:pt x="185737" y="448229"/>
                  <a:pt x="172193" y="433714"/>
                </a:cubicBezTo>
                <a:cubicBezTo>
                  <a:pt x="162702" y="423544"/>
                  <a:pt x="160887" y="408134"/>
                  <a:pt x="168410" y="396591"/>
                </a:cubicBezTo>
                <a:cubicBezTo>
                  <a:pt x="178294" y="381428"/>
                  <a:pt x="193736" y="373793"/>
                  <a:pt x="209826" y="367773"/>
                </a:cubicBezTo>
                <a:cubicBezTo>
                  <a:pt x="223159" y="362784"/>
                  <a:pt x="237124" y="359493"/>
                  <a:pt x="250732" y="355208"/>
                </a:cubicBezTo>
                <a:cubicBezTo>
                  <a:pt x="253085" y="354467"/>
                  <a:pt x="255058" y="352518"/>
                  <a:pt x="258289" y="350426"/>
                </a:cubicBezTo>
                <a:cubicBezTo>
                  <a:pt x="250173" y="342610"/>
                  <a:pt x="241833" y="337880"/>
                  <a:pt x="233274" y="333513"/>
                </a:cubicBezTo>
                <a:cubicBezTo>
                  <a:pt x="232377" y="333055"/>
                  <a:pt x="230890" y="333758"/>
                  <a:pt x="229677" y="333922"/>
                </a:cubicBezTo>
                <a:cubicBezTo>
                  <a:pt x="229677" y="333922"/>
                  <a:pt x="230323" y="333834"/>
                  <a:pt x="230149" y="332979"/>
                </a:cubicBezTo>
                <a:cubicBezTo>
                  <a:pt x="229023" y="330409"/>
                  <a:pt x="228502" y="328059"/>
                  <a:pt x="227053" y="327076"/>
                </a:cubicBezTo>
                <a:cubicBezTo>
                  <a:pt x="213615" y="317962"/>
                  <a:pt x="204643" y="305332"/>
                  <a:pt x="196769" y="291380"/>
                </a:cubicBezTo>
                <a:cubicBezTo>
                  <a:pt x="191792" y="282564"/>
                  <a:pt x="185421" y="274665"/>
                  <a:pt x="184389" y="264042"/>
                </a:cubicBezTo>
                <a:cubicBezTo>
                  <a:pt x="184179" y="261874"/>
                  <a:pt x="181925" y="259908"/>
                  <a:pt x="180630" y="257839"/>
                </a:cubicBezTo>
                <a:cubicBezTo>
                  <a:pt x="179137" y="255454"/>
                  <a:pt x="177317" y="253204"/>
                  <a:pt x="176231" y="250643"/>
                </a:cubicBezTo>
                <a:cubicBezTo>
                  <a:pt x="161865" y="216749"/>
                  <a:pt x="159606" y="182060"/>
                  <a:pt x="170073" y="146723"/>
                </a:cubicBezTo>
                <a:cubicBezTo>
                  <a:pt x="173311" y="135795"/>
                  <a:pt x="177248" y="125074"/>
                  <a:pt x="180929" y="114280"/>
                </a:cubicBezTo>
                <a:cubicBezTo>
                  <a:pt x="182396" y="109981"/>
                  <a:pt x="183922" y="105742"/>
                  <a:pt x="180839" y="101501"/>
                </a:cubicBezTo>
                <a:cubicBezTo>
                  <a:pt x="192473" y="75833"/>
                  <a:pt x="211344" y="56271"/>
                  <a:pt x="233536" y="39653"/>
                </a:cubicBezTo>
                <a:cubicBezTo>
                  <a:pt x="267321" y="14353"/>
                  <a:pt x="305621" y="873"/>
                  <a:pt x="347618" y="35"/>
                </a:cubicBezTo>
                <a:cubicBezTo>
                  <a:pt x="379125" y="-593"/>
                  <a:pt x="409214" y="7172"/>
                  <a:pt x="437139" y="22396"/>
                </a:cubicBezTo>
                <a:cubicBezTo>
                  <a:pt x="481844" y="46766"/>
                  <a:pt x="514077" y="82116"/>
                  <a:pt x="529052" y="131093"/>
                </a:cubicBezTo>
                <a:cubicBezTo>
                  <a:pt x="543544" y="178495"/>
                  <a:pt x="541630" y="225548"/>
                  <a:pt x="518497" y="271517"/>
                </a:cubicBezTo>
                <a:cubicBezTo>
                  <a:pt x="511428" y="277096"/>
                  <a:pt x="503848" y="281136"/>
                  <a:pt x="500808" y="287385"/>
                </a:cubicBezTo>
                <a:cubicBezTo>
                  <a:pt x="493932" y="301522"/>
                  <a:pt x="483805" y="312513"/>
                  <a:pt x="472948" y="323290"/>
                </a:cubicBezTo>
                <a:cubicBezTo>
                  <a:pt x="470972" y="325253"/>
                  <a:pt x="470533" y="328767"/>
                  <a:pt x="469385" y="331565"/>
                </a:cubicBezTo>
                <a:cubicBezTo>
                  <a:pt x="469385" y="331565"/>
                  <a:pt x="469172" y="331584"/>
                  <a:pt x="468293" y="331320"/>
                </a:cubicBezTo>
                <a:cubicBezTo>
                  <a:pt x="461937" y="330836"/>
                  <a:pt x="458618" y="332772"/>
                  <a:pt x="459542" y="338942"/>
                </a:cubicBezTo>
                <a:cubicBezTo>
                  <a:pt x="459542" y="338942"/>
                  <a:pt x="459473" y="338913"/>
                  <a:pt x="458492" y="338671"/>
                </a:cubicBezTo>
                <a:cubicBezTo>
                  <a:pt x="450936" y="342653"/>
                  <a:pt x="440712" y="341355"/>
                  <a:pt x="436978" y="352226"/>
                </a:cubicBezTo>
                <a:cubicBezTo>
                  <a:pt x="449178" y="355911"/>
                  <a:pt x="460733" y="359469"/>
                  <a:pt x="472329" y="362890"/>
                </a:cubicBezTo>
                <a:cubicBezTo>
                  <a:pt x="491728" y="368613"/>
                  <a:pt x="510182" y="375784"/>
                  <a:pt x="523779" y="391962"/>
                </a:cubicBezTo>
                <a:cubicBezTo>
                  <a:pt x="535849" y="406326"/>
                  <a:pt x="534845" y="420076"/>
                  <a:pt x="527344" y="430096"/>
                </a:cubicBezTo>
                <a:cubicBezTo>
                  <a:pt x="521323" y="438139"/>
                  <a:pt x="513928" y="445333"/>
                  <a:pt x="504112" y="449628"/>
                </a:cubicBezTo>
                <a:cubicBezTo>
                  <a:pt x="489776" y="455901"/>
                  <a:pt x="475173" y="460486"/>
                  <a:pt x="459430" y="461116"/>
                </a:cubicBezTo>
                <a:cubicBezTo>
                  <a:pt x="448415" y="461557"/>
                  <a:pt x="446384" y="463369"/>
                  <a:pt x="446666" y="474229"/>
                </a:cubicBezTo>
                <a:cubicBezTo>
                  <a:pt x="447164" y="493376"/>
                  <a:pt x="447839" y="512533"/>
                  <a:pt x="449133" y="531639"/>
                </a:cubicBezTo>
                <a:cubicBezTo>
                  <a:pt x="450424" y="550696"/>
                  <a:pt x="451783" y="569809"/>
                  <a:pt x="454546" y="588688"/>
                </a:cubicBezTo>
                <a:cubicBezTo>
                  <a:pt x="457543" y="609164"/>
                  <a:pt x="462165" y="629403"/>
                  <a:pt x="466126" y="649736"/>
                </a:cubicBezTo>
                <a:cubicBezTo>
                  <a:pt x="475845" y="699621"/>
                  <a:pt x="493414" y="746980"/>
                  <a:pt x="512154" y="794006"/>
                </a:cubicBezTo>
                <a:cubicBezTo>
                  <a:pt x="517387" y="807138"/>
                  <a:pt x="525145" y="819463"/>
                  <a:pt x="525763" y="834323"/>
                </a:cubicBezTo>
                <a:cubicBezTo>
                  <a:pt x="525919" y="838081"/>
                  <a:pt x="527739" y="843335"/>
                  <a:pt x="530555" y="845114"/>
                </a:cubicBezTo>
                <a:cubicBezTo>
                  <a:pt x="537981" y="849801"/>
                  <a:pt x="546243" y="853278"/>
                  <a:pt x="554424" y="856618"/>
                </a:cubicBezTo>
                <a:cubicBezTo>
                  <a:pt x="560391" y="859054"/>
                  <a:pt x="567041" y="859887"/>
                  <a:pt x="572880" y="862546"/>
                </a:cubicBezTo>
                <a:cubicBezTo>
                  <a:pt x="581470" y="866458"/>
                  <a:pt x="582467" y="871415"/>
                  <a:pt x="578643" y="880396"/>
                </a:cubicBezTo>
                <a:cubicBezTo>
                  <a:pt x="575969" y="886677"/>
                  <a:pt x="572900" y="893182"/>
                  <a:pt x="572188" y="899820"/>
                </a:cubicBezTo>
                <a:cubicBezTo>
                  <a:pt x="570960" y="911271"/>
                  <a:pt x="576506" y="920944"/>
                  <a:pt x="582698" y="930382"/>
                </a:cubicBezTo>
                <a:cubicBezTo>
                  <a:pt x="589569" y="940856"/>
                  <a:pt x="600933" y="947930"/>
                  <a:pt x="604747" y="960852"/>
                </a:cubicBezTo>
                <a:cubicBezTo>
                  <a:pt x="605684" y="964030"/>
                  <a:pt x="610294" y="967128"/>
                  <a:pt x="613863" y="968311"/>
                </a:cubicBezTo>
                <a:cubicBezTo>
                  <a:pt x="620963" y="970665"/>
                  <a:pt x="625924" y="974774"/>
                  <a:pt x="629435" y="981186"/>
                </a:cubicBezTo>
                <a:cubicBezTo>
                  <a:pt x="630381" y="982913"/>
                  <a:pt x="631977" y="984459"/>
                  <a:pt x="633611" y="985609"/>
                </a:cubicBezTo>
                <a:cubicBezTo>
                  <a:pt x="655878" y="1001272"/>
                  <a:pt x="668032" y="1023762"/>
                  <a:pt x="673790" y="1049348"/>
                </a:cubicBezTo>
                <a:cubicBezTo>
                  <a:pt x="676936" y="1063327"/>
                  <a:pt x="679769" y="1077802"/>
                  <a:pt x="675873" y="1092839"/>
                </a:cubicBezTo>
                <a:cubicBezTo>
                  <a:pt x="672677" y="1105174"/>
                  <a:pt x="673042" y="1116963"/>
                  <a:pt x="681668" y="1129292"/>
                </a:cubicBezTo>
                <a:cubicBezTo>
                  <a:pt x="695321" y="1148802"/>
                  <a:pt x="698550" y="1172235"/>
                  <a:pt x="697338" y="1196079"/>
                </a:cubicBezTo>
                <a:cubicBezTo>
                  <a:pt x="697087" y="1201014"/>
                  <a:pt x="694979" y="1203886"/>
                  <a:pt x="690637" y="1205035"/>
                </a:cubicBezTo>
                <a:cubicBezTo>
                  <a:pt x="673723" y="1209511"/>
                  <a:pt x="656856" y="1214241"/>
                  <a:pt x="639777" y="1217994"/>
                </a:cubicBezTo>
                <a:cubicBezTo>
                  <a:pt x="622334" y="1221827"/>
                  <a:pt x="604691" y="1224790"/>
                  <a:pt x="587072" y="1227761"/>
                </a:cubicBezTo>
                <a:cubicBezTo>
                  <a:pt x="582708" y="1228497"/>
                  <a:pt x="581724" y="1230736"/>
                  <a:pt x="581793" y="1234401"/>
                </a:cubicBezTo>
                <a:moveTo>
                  <a:pt x="357446" y="903795"/>
                </a:moveTo>
                <a:cubicBezTo>
                  <a:pt x="353141" y="903795"/>
                  <a:pt x="348835" y="903795"/>
                  <a:pt x="344445" y="903795"/>
                </a:cubicBezTo>
                <a:cubicBezTo>
                  <a:pt x="346169" y="920562"/>
                  <a:pt x="347908" y="935520"/>
                  <a:pt x="349212" y="950515"/>
                </a:cubicBezTo>
                <a:cubicBezTo>
                  <a:pt x="352656" y="990125"/>
                  <a:pt x="351941" y="1029743"/>
                  <a:pt x="349538" y="1069392"/>
                </a:cubicBezTo>
                <a:cubicBezTo>
                  <a:pt x="348759" y="1082241"/>
                  <a:pt x="349415" y="1095176"/>
                  <a:pt x="349415" y="1108925"/>
                </a:cubicBezTo>
                <a:cubicBezTo>
                  <a:pt x="449467" y="1111953"/>
                  <a:pt x="548509" y="1104712"/>
                  <a:pt x="647726" y="1089872"/>
                </a:cubicBezTo>
                <a:cubicBezTo>
                  <a:pt x="647726" y="1084313"/>
                  <a:pt x="648180" y="1080225"/>
                  <a:pt x="647654" y="1076267"/>
                </a:cubicBezTo>
                <a:cubicBezTo>
                  <a:pt x="643515" y="1045124"/>
                  <a:pt x="633172" y="1016714"/>
                  <a:pt x="610267" y="994126"/>
                </a:cubicBezTo>
                <a:cubicBezTo>
                  <a:pt x="597451" y="981485"/>
                  <a:pt x="584392" y="969090"/>
                  <a:pt x="571459" y="956568"/>
                </a:cubicBezTo>
                <a:cubicBezTo>
                  <a:pt x="555751" y="941359"/>
                  <a:pt x="544836" y="923558"/>
                  <a:pt x="541653" y="901544"/>
                </a:cubicBezTo>
                <a:cubicBezTo>
                  <a:pt x="541430" y="900007"/>
                  <a:pt x="540528" y="898570"/>
                  <a:pt x="539477" y="895908"/>
                </a:cubicBezTo>
                <a:cubicBezTo>
                  <a:pt x="479736" y="901652"/>
                  <a:pt x="419815" y="904536"/>
                  <a:pt x="357446" y="903795"/>
                </a:cubicBezTo>
                <a:moveTo>
                  <a:pt x="300108" y="85260"/>
                </a:moveTo>
                <a:cubicBezTo>
                  <a:pt x="293656" y="98745"/>
                  <a:pt x="289202" y="113094"/>
                  <a:pt x="290213" y="127888"/>
                </a:cubicBezTo>
                <a:cubicBezTo>
                  <a:pt x="292527" y="161736"/>
                  <a:pt x="304185" y="191723"/>
                  <a:pt x="331056" y="214168"/>
                </a:cubicBezTo>
                <a:cubicBezTo>
                  <a:pt x="358172" y="236816"/>
                  <a:pt x="388435" y="249934"/>
                  <a:pt x="424717" y="245160"/>
                </a:cubicBezTo>
                <a:cubicBezTo>
                  <a:pt x="468593" y="239387"/>
                  <a:pt x="509574" y="203365"/>
                  <a:pt x="496752" y="141256"/>
                </a:cubicBezTo>
                <a:cubicBezTo>
                  <a:pt x="487021" y="94124"/>
                  <a:pt x="447261" y="51874"/>
                  <a:pt x="390320" y="43995"/>
                </a:cubicBezTo>
                <a:cubicBezTo>
                  <a:pt x="353241" y="38865"/>
                  <a:pt x="321136" y="48750"/>
                  <a:pt x="300108" y="85260"/>
                </a:cubicBezTo>
                <a:moveTo>
                  <a:pt x="343360" y="634332"/>
                </a:moveTo>
                <a:cubicBezTo>
                  <a:pt x="342539" y="666975"/>
                  <a:pt x="341785" y="699619"/>
                  <a:pt x="340877" y="732259"/>
                </a:cubicBezTo>
                <a:cubicBezTo>
                  <a:pt x="340151" y="758355"/>
                  <a:pt x="339265" y="784447"/>
                  <a:pt x="338360" y="810538"/>
                </a:cubicBezTo>
                <a:cubicBezTo>
                  <a:pt x="338277" y="812948"/>
                  <a:pt x="337465" y="815325"/>
                  <a:pt x="337115" y="817736"/>
                </a:cubicBezTo>
                <a:cubicBezTo>
                  <a:pt x="334935" y="832710"/>
                  <a:pt x="336026" y="847647"/>
                  <a:pt x="336516" y="863022"/>
                </a:cubicBezTo>
                <a:cubicBezTo>
                  <a:pt x="339537" y="863479"/>
                  <a:pt x="341490" y="864053"/>
                  <a:pt x="343436" y="864027"/>
                </a:cubicBezTo>
                <a:cubicBezTo>
                  <a:pt x="364531" y="863739"/>
                  <a:pt x="385626" y="863422"/>
                  <a:pt x="406718" y="862982"/>
                </a:cubicBezTo>
                <a:cubicBezTo>
                  <a:pt x="423444" y="862634"/>
                  <a:pt x="440168" y="861675"/>
                  <a:pt x="456888" y="861794"/>
                </a:cubicBezTo>
                <a:cubicBezTo>
                  <a:pt x="469887" y="861886"/>
                  <a:pt x="482872" y="863302"/>
                  <a:pt x="495873" y="863963"/>
                </a:cubicBezTo>
                <a:cubicBezTo>
                  <a:pt x="500358" y="864191"/>
                  <a:pt x="505108" y="864773"/>
                  <a:pt x="509286" y="863595"/>
                </a:cubicBezTo>
                <a:cubicBezTo>
                  <a:pt x="512346" y="862732"/>
                  <a:pt x="515714" y="859703"/>
                  <a:pt x="516956" y="856791"/>
                </a:cubicBezTo>
                <a:cubicBezTo>
                  <a:pt x="517783" y="854851"/>
                  <a:pt x="515475" y="851192"/>
                  <a:pt x="513920" y="848709"/>
                </a:cubicBezTo>
                <a:cubicBezTo>
                  <a:pt x="511791" y="845308"/>
                  <a:pt x="508393" y="842606"/>
                  <a:pt x="506683" y="839054"/>
                </a:cubicBezTo>
                <a:cubicBezTo>
                  <a:pt x="500331" y="825864"/>
                  <a:pt x="493224" y="812855"/>
                  <a:pt x="488629" y="799037"/>
                </a:cubicBezTo>
                <a:cubicBezTo>
                  <a:pt x="477322" y="765031"/>
                  <a:pt x="466537" y="730814"/>
                  <a:pt x="456922" y="696297"/>
                </a:cubicBezTo>
                <a:cubicBezTo>
                  <a:pt x="449953" y="671276"/>
                  <a:pt x="443477" y="646020"/>
                  <a:pt x="441346" y="619885"/>
                </a:cubicBezTo>
                <a:cubicBezTo>
                  <a:pt x="440327" y="607371"/>
                  <a:pt x="437466" y="595018"/>
                  <a:pt x="435963" y="582529"/>
                </a:cubicBezTo>
                <a:cubicBezTo>
                  <a:pt x="433539" y="562380"/>
                  <a:pt x="431154" y="542212"/>
                  <a:pt x="429497" y="521990"/>
                </a:cubicBezTo>
                <a:cubicBezTo>
                  <a:pt x="428135" y="505363"/>
                  <a:pt x="428437" y="488593"/>
                  <a:pt x="426887" y="471989"/>
                </a:cubicBezTo>
                <a:cubicBezTo>
                  <a:pt x="425874" y="461140"/>
                  <a:pt x="424983" y="461120"/>
                  <a:pt x="413744" y="461077"/>
                </a:cubicBezTo>
                <a:cubicBezTo>
                  <a:pt x="393687" y="461000"/>
                  <a:pt x="373630" y="461011"/>
                  <a:pt x="353573" y="461120"/>
                </a:cubicBezTo>
                <a:cubicBezTo>
                  <a:pt x="350472" y="461137"/>
                  <a:pt x="347374" y="461869"/>
                  <a:pt x="344160" y="462286"/>
                </a:cubicBezTo>
                <a:cubicBezTo>
                  <a:pt x="343828" y="465198"/>
                  <a:pt x="343406" y="467195"/>
                  <a:pt x="343404" y="469192"/>
                </a:cubicBezTo>
                <a:cubicBezTo>
                  <a:pt x="343360" y="504394"/>
                  <a:pt x="343267" y="539596"/>
                  <a:pt x="343469" y="574797"/>
                </a:cubicBezTo>
                <a:cubicBezTo>
                  <a:pt x="343501" y="580426"/>
                  <a:pt x="345652" y="586065"/>
                  <a:pt x="345522" y="591669"/>
                </a:cubicBezTo>
                <a:cubicBezTo>
                  <a:pt x="345214" y="605082"/>
                  <a:pt x="344131" y="618478"/>
                  <a:pt x="343360" y="634332"/>
                </a:cubicBezTo>
                <a:moveTo>
                  <a:pt x="416946" y="385943"/>
                </a:moveTo>
                <a:cubicBezTo>
                  <a:pt x="411661" y="386365"/>
                  <a:pt x="406384" y="387006"/>
                  <a:pt x="401091" y="387162"/>
                </a:cubicBezTo>
                <a:cubicBezTo>
                  <a:pt x="390470" y="387477"/>
                  <a:pt x="379841" y="387447"/>
                  <a:pt x="369218" y="387708"/>
                </a:cubicBezTo>
                <a:cubicBezTo>
                  <a:pt x="361167" y="387906"/>
                  <a:pt x="354429" y="391368"/>
                  <a:pt x="351833" y="398991"/>
                </a:cubicBezTo>
                <a:cubicBezTo>
                  <a:pt x="348989" y="407342"/>
                  <a:pt x="347050" y="416214"/>
                  <a:pt x="349778" y="426021"/>
                </a:cubicBezTo>
                <a:cubicBezTo>
                  <a:pt x="353876" y="426204"/>
                  <a:pt x="357857" y="426517"/>
                  <a:pt x="361839" y="426538"/>
                </a:cubicBezTo>
                <a:cubicBezTo>
                  <a:pt x="392900" y="426701"/>
                  <a:pt x="423961" y="426826"/>
                  <a:pt x="455022" y="426922"/>
                </a:cubicBezTo>
                <a:cubicBezTo>
                  <a:pt x="464013" y="426950"/>
                  <a:pt x="473106" y="427654"/>
                  <a:pt x="481958" y="426527"/>
                </a:cubicBezTo>
                <a:cubicBezTo>
                  <a:pt x="488144" y="425740"/>
                  <a:pt x="494821" y="423501"/>
                  <a:pt x="499817" y="419888"/>
                </a:cubicBezTo>
                <a:cubicBezTo>
                  <a:pt x="507869" y="414066"/>
                  <a:pt x="507286" y="406755"/>
                  <a:pt x="499439" y="400719"/>
                </a:cubicBezTo>
                <a:cubicBezTo>
                  <a:pt x="490179" y="393597"/>
                  <a:pt x="479486" y="388885"/>
                  <a:pt x="468062" y="387775"/>
                </a:cubicBezTo>
                <a:cubicBezTo>
                  <a:pt x="451873" y="386202"/>
                  <a:pt x="435520" y="386321"/>
                  <a:pt x="416946" y="385943"/>
                </a:cubicBezTo>
                <a:moveTo>
                  <a:pt x="636802" y="1190940"/>
                </a:moveTo>
                <a:cubicBezTo>
                  <a:pt x="646709" y="1188723"/>
                  <a:pt x="656705" y="1186841"/>
                  <a:pt x="666492" y="1184186"/>
                </a:cubicBezTo>
                <a:cubicBezTo>
                  <a:pt x="674710" y="1181958"/>
                  <a:pt x="676989" y="1178509"/>
                  <a:pt x="674465" y="1170880"/>
                </a:cubicBezTo>
                <a:cubicBezTo>
                  <a:pt x="671144" y="1160843"/>
                  <a:pt x="667026" y="1151009"/>
                  <a:pt x="662462" y="1141464"/>
                </a:cubicBezTo>
                <a:cubicBezTo>
                  <a:pt x="659273" y="1134795"/>
                  <a:pt x="653671" y="1130908"/>
                  <a:pt x="645564" y="1131937"/>
                </a:cubicBezTo>
                <a:cubicBezTo>
                  <a:pt x="639532" y="1132703"/>
                  <a:pt x="633423" y="1132867"/>
                  <a:pt x="627387" y="1133618"/>
                </a:cubicBezTo>
                <a:cubicBezTo>
                  <a:pt x="612888" y="1135421"/>
                  <a:pt x="598449" y="1137770"/>
                  <a:pt x="583917" y="1139222"/>
                </a:cubicBezTo>
                <a:cubicBezTo>
                  <a:pt x="570571" y="1140557"/>
                  <a:pt x="557130" y="1140930"/>
                  <a:pt x="543741" y="1141869"/>
                </a:cubicBezTo>
                <a:cubicBezTo>
                  <a:pt x="533202" y="1142610"/>
                  <a:pt x="522682" y="1143623"/>
                  <a:pt x="512146" y="1144418"/>
                </a:cubicBezTo>
                <a:cubicBezTo>
                  <a:pt x="490671" y="1146038"/>
                  <a:pt x="469214" y="1148450"/>
                  <a:pt x="447711" y="1148973"/>
                </a:cubicBezTo>
                <a:cubicBezTo>
                  <a:pt x="415817" y="1149749"/>
                  <a:pt x="383891" y="1149136"/>
                  <a:pt x="351979" y="1149200"/>
                </a:cubicBezTo>
                <a:cubicBezTo>
                  <a:pt x="347698" y="1149209"/>
                  <a:pt x="343419" y="1149717"/>
                  <a:pt x="338443" y="1150040"/>
                </a:cubicBezTo>
                <a:cubicBezTo>
                  <a:pt x="338443" y="1164651"/>
                  <a:pt x="338413" y="1177715"/>
                  <a:pt x="338451" y="1190780"/>
                </a:cubicBezTo>
                <a:cubicBezTo>
                  <a:pt x="338490" y="1204031"/>
                  <a:pt x="338512" y="1204062"/>
                  <a:pt x="351082" y="1207015"/>
                </a:cubicBezTo>
                <a:cubicBezTo>
                  <a:pt x="353445" y="1207570"/>
                  <a:pt x="355895" y="1208128"/>
                  <a:pt x="358298" y="1208094"/>
                </a:cubicBezTo>
                <a:cubicBezTo>
                  <a:pt x="412608" y="1207329"/>
                  <a:pt x="466919" y="1206484"/>
                  <a:pt x="521229" y="1205646"/>
                </a:cubicBezTo>
                <a:cubicBezTo>
                  <a:pt x="522045" y="1205634"/>
                  <a:pt x="522865" y="1205591"/>
                  <a:pt x="523675" y="1205490"/>
                </a:cubicBezTo>
                <a:cubicBezTo>
                  <a:pt x="542593" y="1203123"/>
                  <a:pt x="561519" y="1200820"/>
                  <a:pt x="580423" y="1198350"/>
                </a:cubicBezTo>
                <a:cubicBezTo>
                  <a:pt x="598523" y="1195985"/>
                  <a:pt x="616599" y="1193446"/>
                  <a:pt x="636802" y="1190940"/>
                </a:cubicBez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3" name="Free-form: Shape 12">
            <a:extLst>
              <a:ext uri="{FF2B5EF4-FFF2-40B4-BE49-F238E27FC236}">
                <a16:creationId xmlns:a16="http://schemas.microsoft.com/office/drawing/2014/main" id="{9DEB4D44-0032-85C1-E0DA-5344B4126D86}"/>
              </a:ext>
            </a:extLst>
          </p:cNvPr>
          <p:cNvSpPr/>
          <p:nvPr/>
        </p:nvSpPr>
        <p:spPr>
          <a:xfrm>
            <a:off x="1774312" y="2842486"/>
            <a:ext cx="17183" cy="1817"/>
          </a:xfrm>
          <a:custGeom>
            <a:avLst/>
            <a:gdLst>
              <a:gd name="csX0" fmla="*/ 0 w 27674"/>
              <a:gd name="csY0" fmla="*/ 2915 h 2925"/>
              <a:gd name="csX1" fmla="*/ 27675 w 27674"/>
              <a:gd name="csY1" fmla="*/ 1550 h 2925"/>
              <a:gd name="csX2" fmla="*/ 0 w 27674"/>
              <a:gd name="csY2" fmla="*/ 2915 h 292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27674" h="2925">
                <a:moveTo>
                  <a:pt x="0" y="2915"/>
                </a:moveTo>
                <a:cubicBezTo>
                  <a:pt x="8211" y="-1939"/>
                  <a:pt x="17625" y="498"/>
                  <a:pt x="27675" y="1550"/>
                </a:cubicBezTo>
                <a:cubicBezTo>
                  <a:pt x="19225" y="2593"/>
                  <a:pt x="10029" y="2999"/>
                  <a:pt x="0" y="2915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4" name="Free-form: Shape 13">
            <a:extLst>
              <a:ext uri="{FF2B5EF4-FFF2-40B4-BE49-F238E27FC236}">
                <a16:creationId xmlns:a16="http://schemas.microsoft.com/office/drawing/2014/main" id="{78A01599-EF98-F7F5-19EC-D9C2C67D7D6C}"/>
              </a:ext>
            </a:extLst>
          </p:cNvPr>
          <p:cNvSpPr/>
          <p:nvPr/>
        </p:nvSpPr>
        <p:spPr>
          <a:xfrm>
            <a:off x="1727008" y="2843510"/>
            <a:ext cx="11179" cy="700"/>
          </a:xfrm>
          <a:custGeom>
            <a:avLst/>
            <a:gdLst>
              <a:gd name="csX0" fmla="*/ 0 w 18003"/>
              <a:gd name="csY0" fmla="*/ 1050 h 1128"/>
              <a:gd name="csX1" fmla="*/ 18004 w 18003"/>
              <a:gd name="csY1" fmla="*/ 93 h 1128"/>
              <a:gd name="csX2" fmla="*/ 0 w 18003"/>
              <a:gd name="csY2" fmla="*/ 1050 h 112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8003" h="1128">
                <a:moveTo>
                  <a:pt x="0" y="1050"/>
                </a:moveTo>
                <a:cubicBezTo>
                  <a:pt x="5276" y="182"/>
                  <a:pt x="11306" y="-189"/>
                  <a:pt x="18004" y="93"/>
                </a:cubicBezTo>
                <a:cubicBezTo>
                  <a:pt x="12699" y="1013"/>
                  <a:pt x="6726" y="1280"/>
                  <a:pt x="0" y="1050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5" name="Free-form: Shape 14">
            <a:extLst>
              <a:ext uri="{FF2B5EF4-FFF2-40B4-BE49-F238E27FC236}">
                <a16:creationId xmlns:a16="http://schemas.microsoft.com/office/drawing/2014/main" id="{389D00DD-E5BD-ACC6-FAAC-653251C7151C}"/>
              </a:ext>
            </a:extLst>
          </p:cNvPr>
          <p:cNvSpPr/>
          <p:nvPr/>
        </p:nvSpPr>
        <p:spPr>
          <a:xfrm>
            <a:off x="1807975" y="2276710"/>
            <a:ext cx="5257" cy="4867"/>
          </a:xfrm>
          <a:custGeom>
            <a:avLst/>
            <a:gdLst>
              <a:gd name="csX0" fmla="*/ 473 w 8466"/>
              <a:gd name="csY0" fmla="*/ 7839 h 7838"/>
              <a:gd name="csX1" fmla="*/ 8466 w 8466"/>
              <a:gd name="csY1" fmla="*/ 61 h 7838"/>
              <a:gd name="csX2" fmla="*/ 473 w 8466"/>
              <a:gd name="csY2" fmla="*/ 7839 h 783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66" h="7838">
                <a:moveTo>
                  <a:pt x="473" y="7839"/>
                </a:moveTo>
                <a:cubicBezTo>
                  <a:pt x="-1298" y="1550"/>
                  <a:pt x="2020" y="-386"/>
                  <a:pt x="8466" y="61"/>
                </a:cubicBezTo>
                <a:cubicBezTo>
                  <a:pt x="6730" y="2845"/>
                  <a:pt x="4026" y="5401"/>
                  <a:pt x="473" y="7839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" name="Free-form: Shape 15">
            <a:extLst>
              <a:ext uri="{FF2B5EF4-FFF2-40B4-BE49-F238E27FC236}">
                <a16:creationId xmlns:a16="http://schemas.microsoft.com/office/drawing/2014/main" id="{100F1C9D-E99A-4ED6-438D-640AF21EA33D}"/>
              </a:ext>
            </a:extLst>
          </p:cNvPr>
          <p:cNvSpPr/>
          <p:nvPr/>
        </p:nvSpPr>
        <p:spPr>
          <a:xfrm>
            <a:off x="1671979" y="2841996"/>
            <a:ext cx="5265" cy="618"/>
          </a:xfrm>
          <a:custGeom>
            <a:avLst/>
            <a:gdLst>
              <a:gd name="csX0" fmla="*/ 0 w 8480"/>
              <a:gd name="csY0" fmla="*/ 896 h 996"/>
              <a:gd name="csX1" fmla="*/ 8480 w 8480"/>
              <a:gd name="csY1" fmla="*/ 110 h 996"/>
              <a:gd name="csX2" fmla="*/ 0 w 8480"/>
              <a:gd name="csY2" fmla="*/ 896 h 99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80" h="996">
                <a:moveTo>
                  <a:pt x="0" y="896"/>
                </a:moveTo>
                <a:cubicBezTo>
                  <a:pt x="2285" y="115"/>
                  <a:pt x="5130" y="-182"/>
                  <a:pt x="8480" y="110"/>
                </a:cubicBezTo>
                <a:cubicBezTo>
                  <a:pt x="6177" y="927"/>
                  <a:pt x="3368" y="1153"/>
                  <a:pt x="0" y="896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7" name="Free-form: Shape 16">
            <a:extLst>
              <a:ext uri="{FF2B5EF4-FFF2-40B4-BE49-F238E27FC236}">
                <a16:creationId xmlns:a16="http://schemas.microsoft.com/office/drawing/2014/main" id="{2A7A2CDB-3D1D-04E0-5494-2D770A99F5BB}"/>
              </a:ext>
            </a:extLst>
          </p:cNvPr>
          <p:cNvSpPr/>
          <p:nvPr/>
        </p:nvSpPr>
        <p:spPr>
          <a:xfrm>
            <a:off x="1958740" y="2815467"/>
            <a:ext cx="763" cy="4134"/>
          </a:xfrm>
          <a:custGeom>
            <a:avLst/>
            <a:gdLst>
              <a:gd name="csX0" fmla="*/ 132 w 1229"/>
              <a:gd name="csY0" fmla="*/ 6659 h 6658"/>
              <a:gd name="csX1" fmla="*/ 1107 w 1229"/>
              <a:gd name="csY1" fmla="*/ 0 h 6658"/>
              <a:gd name="csX2" fmla="*/ 132 w 1229"/>
              <a:gd name="csY2" fmla="*/ 6659 h 665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229" h="6658">
                <a:moveTo>
                  <a:pt x="132" y="6659"/>
                </a:moveTo>
                <a:cubicBezTo>
                  <a:pt x="-219" y="4616"/>
                  <a:pt x="139" y="2560"/>
                  <a:pt x="1107" y="0"/>
                </a:cubicBezTo>
                <a:cubicBezTo>
                  <a:pt x="1425" y="1879"/>
                  <a:pt x="1133" y="4263"/>
                  <a:pt x="132" y="6659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8" name="Free-form: Shape 17">
            <a:extLst>
              <a:ext uri="{FF2B5EF4-FFF2-40B4-BE49-F238E27FC236}">
                <a16:creationId xmlns:a16="http://schemas.microsoft.com/office/drawing/2014/main" id="{FBAB1E7D-2EBB-30BD-C6C5-852F45158370}"/>
              </a:ext>
            </a:extLst>
          </p:cNvPr>
          <p:cNvSpPr/>
          <p:nvPr/>
        </p:nvSpPr>
        <p:spPr>
          <a:xfrm>
            <a:off x="1891544" y="2835744"/>
            <a:ext cx="2352" cy="847"/>
          </a:xfrm>
          <a:custGeom>
            <a:avLst/>
            <a:gdLst>
              <a:gd name="csX0" fmla="*/ 0 w 3788"/>
              <a:gd name="csY0" fmla="*/ 1364 h 1364"/>
              <a:gd name="csX1" fmla="*/ 3788 w 3788"/>
              <a:gd name="csY1" fmla="*/ 0 h 1364"/>
              <a:gd name="csX2" fmla="*/ 0 w 3788"/>
              <a:gd name="csY2" fmla="*/ 1364 h 136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788" h="1364">
                <a:moveTo>
                  <a:pt x="0" y="1364"/>
                </a:moveTo>
                <a:cubicBezTo>
                  <a:pt x="856" y="517"/>
                  <a:pt x="2126" y="39"/>
                  <a:pt x="3788" y="0"/>
                </a:cubicBezTo>
                <a:cubicBezTo>
                  <a:pt x="2925" y="870"/>
                  <a:pt x="1670" y="1303"/>
                  <a:pt x="0" y="1364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9" name="Free-form: Shape 18">
            <a:extLst>
              <a:ext uri="{FF2B5EF4-FFF2-40B4-BE49-F238E27FC236}">
                <a16:creationId xmlns:a16="http://schemas.microsoft.com/office/drawing/2014/main" id="{1527D71F-5A79-8F8C-FE77-64D4E2CBC620}"/>
              </a:ext>
            </a:extLst>
          </p:cNvPr>
          <p:cNvSpPr/>
          <p:nvPr/>
        </p:nvSpPr>
        <p:spPr>
          <a:xfrm>
            <a:off x="1619961" y="2839018"/>
            <a:ext cx="2478" cy="515"/>
          </a:xfrm>
          <a:custGeom>
            <a:avLst/>
            <a:gdLst>
              <a:gd name="csX0" fmla="*/ 0 w 3990"/>
              <a:gd name="csY0" fmla="*/ 719 h 829"/>
              <a:gd name="csX1" fmla="*/ 3990 w 3990"/>
              <a:gd name="csY1" fmla="*/ 119 h 829"/>
              <a:gd name="csX2" fmla="*/ 0 w 3990"/>
              <a:gd name="csY2" fmla="*/ 719 h 82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990" h="829">
                <a:moveTo>
                  <a:pt x="0" y="719"/>
                </a:moveTo>
                <a:cubicBezTo>
                  <a:pt x="982" y="66"/>
                  <a:pt x="2323" y="-163"/>
                  <a:pt x="3990" y="119"/>
                </a:cubicBezTo>
                <a:cubicBezTo>
                  <a:pt x="2998" y="800"/>
                  <a:pt x="1678" y="972"/>
                  <a:pt x="0" y="719"/>
                </a:cubicBezTo>
                <a:close/>
              </a:path>
            </a:pathLst>
          </a:custGeom>
          <a:solidFill>
            <a:srgbClr val="959DA0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" name="Free-form: Shape 19">
            <a:extLst>
              <a:ext uri="{FF2B5EF4-FFF2-40B4-BE49-F238E27FC236}">
                <a16:creationId xmlns:a16="http://schemas.microsoft.com/office/drawing/2014/main" id="{7415193F-2BEE-35A7-89FE-B96477842CBE}"/>
              </a:ext>
            </a:extLst>
          </p:cNvPr>
          <p:cNvSpPr/>
          <p:nvPr/>
        </p:nvSpPr>
        <p:spPr>
          <a:xfrm>
            <a:off x="1830509" y="2841974"/>
            <a:ext cx="2417" cy="705"/>
          </a:xfrm>
          <a:custGeom>
            <a:avLst/>
            <a:gdLst>
              <a:gd name="csX0" fmla="*/ 0 w 3893"/>
              <a:gd name="csY0" fmla="*/ 1133 h 1135"/>
              <a:gd name="csX1" fmla="*/ 3893 w 3893"/>
              <a:gd name="csY1" fmla="*/ 7 h 1135"/>
              <a:gd name="csX2" fmla="*/ 0 w 3893"/>
              <a:gd name="csY2" fmla="*/ 1133 h 113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893" h="1135">
                <a:moveTo>
                  <a:pt x="0" y="1133"/>
                </a:moveTo>
                <a:cubicBezTo>
                  <a:pt x="902" y="349"/>
                  <a:pt x="2213" y="-60"/>
                  <a:pt x="3893" y="7"/>
                </a:cubicBezTo>
                <a:cubicBezTo>
                  <a:pt x="2978" y="825"/>
                  <a:pt x="1693" y="1167"/>
                  <a:pt x="0" y="1133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" name="Free-form: Shape 20">
            <a:extLst>
              <a:ext uri="{FF2B5EF4-FFF2-40B4-BE49-F238E27FC236}">
                <a16:creationId xmlns:a16="http://schemas.microsoft.com/office/drawing/2014/main" id="{38986EEC-2859-70C4-784B-24A3A4030641}"/>
              </a:ext>
            </a:extLst>
          </p:cNvPr>
          <p:cNvSpPr/>
          <p:nvPr/>
        </p:nvSpPr>
        <p:spPr>
          <a:xfrm>
            <a:off x="1730913" y="2357310"/>
            <a:ext cx="112588" cy="250407"/>
          </a:xfrm>
          <a:custGeom>
            <a:avLst/>
            <a:gdLst>
              <a:gd name="csX0" fmla="*/ 7554 w 181323"/>
              <a:gd name="csY0" fmla="*/ 172079 h 403282"/>
              <a:gd name="csX1" fmla="*/ 9716 w 181323"/>
              <a:gd name="csY1" fmla="*/ 130641 h 403282"/>
              <a:gd name="csX2" fmla="*/ 7663 w 181323"/>
              <a:gd name="csY2" fmla="*/ 113770 h 403282"/>
              <a:gd name="csX3" fmla="*/ 7598 w 181323"/>
              <a:gd name="csY3" fmla="*/ 8165 h 403282"/>
              <a:gd name="csX4" fmla="*/ 8353 w 181323"/>
              <a:gd name="csY4" fmla="*/ 1259 h 403282"/>
              <a:gd name="csX5" fmla="*/ 17767 w 181323"/>
              <a:gd name="csY5" fmla="*/ 93 h 403282"/>
              <a:gd name="csX6" fmla="*/ 77938 w 181323"/>
              <a:gd name="csY6" fmla="*/ 50 h 403282"/>
              <a:gd name="csX7" fmla="*/ 91081 w 181323"/>
              <a:gd name="csY7" fmla="*/ 10962 h 403282"/>
              <a:gd name="csX8" fmla="*/ 93691 w 181323"/>
              <a:gd name="csY8" fmla="*/ 60963 h 403282"/>
              <a:gd name="csX9" fmla="*/ 100157 w 181323"/>
              <a:gd name="csY9" fmla="*/ 121501 h 403282"/>
              <a:gd name="csX10" fmla="*/ 105540 w 181323"/>
              <a:gd name="csY10" fmla="*/ 158857 h 403282"/>
              <a:gd name="csX11" fmla="*/ 121116 w 181323"/>
              <a:gd name="csY11" fmla="*/ 235269 h 403282"/>
              <a:gd name="csX12" fmla="*/ 152823 w 181323"/>
              <a:gd name="csY12" fmla="*/ 338010 h 403282"/>
              <a:gd name="csX13" fmla="*/ 170877 w 181323"/>
              <a:gd name="csY13" fmla="*/ 378027 h 403282"/>
              <a:gd name="csX14" fmla="*/ 178114 w 181323"/>
              <a:gd name="csY14" fmla="*/ 387682 h 403282"/>
              <a:gd name="csX15" fmla="*/ 181150 w 181323"/>
              <a:gd name="csY15" fmla="*/ 395764 h 403282"/>
              <a:gd name="csX16" fmla="*/ 173480 w 181323"/>
              <a:gd name="csY16" fmla="*/ 402568 h 403282"/>
              <a:gd name="csX17" fmla="*/ 160067 w 181323"/>
              <a:gd name="csY17" fmla="*/ 402936 h 403282"/>
              <a:gd name="csX18" fmla="*/ 121081 w 181323"/>
              <a:gd name="csY18" fmla="*/ 400766 h 403282"/>
              <a:gd name="csX19" fmla="*/ 70912 w 181323"/>
              <a:gd name="csY19" fmla="*/ 401955 h 403282"/>
              <a:gd name="csX20" fmla="*/ 7630 w 181323"/>
              <a:gd name="csY20" fmla="*/ 402999 h 403282"/>
              <a:gd name="csX21" fmla="*/ 710 w 181323"/>
              <a:gd name="csY21" fmla="*/ 401995 h 403282"/>
              <a:gd name="csX22" fmla="*/ 1308 w 181323"/>
              <a:gd name="csY22" fmla="*/ 356708 h 403282"/>
              <a:gd name="csX23" fmla="*/ 2554 w 181323"/>
              <a:gd name="csY23" fmla="*/ 349510 h 403282"/>
              <a:gd name="csX24" fmla="*/ 5071 w 181323"/>
              <a:gd name="csY24" fmla="*/ 271231 h 403282"/>
              <a:gd name="csX25" fmla="*/ 7554 w 181323"/>
              <a:gd name="csY25" fmla="*/ 172079 h 403282"/>
              <a:gd name="csX26" fmla="*/ 98286 w 181323"/>
              <a:gd name="csY26" fmla="*/ 163566 h 403282"/>
              <a:gd name="csX27" fmla="*/ 83497 w 181323"/>
              <a:gd name="csY27" fmla="*/ 8289 h 403282"/>
              <a:gd name="csX28" fmla="*/ 15161 w 181323"/>
              <a:gd name="csY28" fmla="*/ 9148 h 403282"/>
              <a:gd name="csX29" fmla="*/ 15058 w 181323"/>
              <a:gd name="csY29" fmla="*/ 137939 h 403282"/>
              <a:gd name="csX30" fmla="*/ 12252 w 181323"/>
              <a:gd name="csY30" fmla="*/ 266862 h 403282"/>
              <a:gd name="csX31" fmla="*/ 7068 w 181323"/>
              <a:gd name="csY31" fmla="*/ 395996 h 403282"/>
              <a:gd name="csX32" fmla="*/ 171647 w 181323"/>
              <a:gd name="csY32" fmla="*/ 395996 h 403282"/>
              <a:gd name="csX33" fmla="*/ 119950 w 181323"/>
              <a:gd name="csY33" fmla="*/ 259496 h 403282"/>
              <a:gd name="csX34" fmla="*/ 98286 w 181323"/>
              <a:gd name="csY34" fmla="*/ 163566 h 40328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</a:cxnLst>
            <a:rect l="l" t="t" r="r" b="b"/>
            <a:pathLst>
              <a:path w="181323" h="403282">
                <a:moveTo>
                  <a:pt x="7554" y="172079"/>
                </a:moveTo>
                <a:cubicBezTo>
                  <a:pt x="8325" y="157451"/>
                  <a:pt x="9408" y="144055"/>
                  <a:pt x="9716" y="130641"/>
                </a:cubicBezTo>
                <a:cubicBezTo>
                  <a:pt x="9846" y="125037"/>
                  <a:pt x="7695" y="119399"/>
                  <a:pt x="7663" y="113770"/>
                </a:cubicBezTo>
                <a:cubicBezTo>
                  <a:pt x="7461" y="78569"/>
                  <a:pt x="7554" y="43367"/>
                  <a:pt x="7598" y="8165"/>
                </a:cubicBezTo>
                <a:cubicBezTo>
                  <a:pt x="7600" y="6167"/>
                  <a:pt x="8022" y="4170"/>
                  <a:pt x="8353" y="1259"/>
                </a:cubicBezTo>
                <a:cubicBezTo>
                  <a:pt x="11568" y="842"/>
                  <a:pt x="14666" y="109"/>
                  <a:pt x="17767" y="93"/>
                </a:cubicBezTo>
                <a:cubicBezTo>
                  <a:pt x="37824" y="-17"/>
                  <a:pt x="57881" y="-27"/>
                  <a:pt x="77938" y="50"/>
                </a:cubicBezTo>
                <a:cubicBezTo>
                  <a:pt x="89177" y="93"/>
                  <a:pt x="90068" y="113"/>
                  <a:pt x="91081" y="10962"/>
                </a:cubicBezTo>
                <a:cubicBezTo>
                  <a:pt x="92631" y="27565"/>
                  <a:pt x="92329" y="44335"/>
                  <a:pt x="93691" y="60963"/>
                </a:cubicBezTo>
                <a:cubicBezTo>
                  <a:pt x="95348" y="81184"/>
                  <a:pt x="97732" y="101353"/>
                  <a:pt x="100157" y="121501"/>
                </a:cubicBezTo>
                <a:cubicBezTo>
                  <a:pt x="101660" y="133990"/>
                  <a:pt x="104521" y="146343"/>
                  <a:pt x="105540" y="158857"/>
                </a:cubicBezTo>
                <a:cubicBezTo>
                  <a:pt x="107671" y="184993"/>
                  <a:pt x="114147" y="210249"/>
                  <a:pt x="121116" y="235269"/>
                </a:cubicBezTo>
                <a:cubicBezTo>
                  <a:pt x="130731" y="269786"/>
                  <a:pt x="141516" y="304004"/>
                  <a:pt x="152823" y="338010"/>
                </a:cubicBezTo>
                <a:cubicBezTo>
                  <a:pt x="157418" y="351828"/>
                  <a:pt x="164524" y="364837"/>
                  <a:pt x="170877" y="378027"/>
                </a:cubicBezTo>
                <a:cubicBezTo>
                  <a:pt x="172587" y="381579"/>
                  <a:pt x="175985" y="384280"/>
                  <a:pt x="178114" y="387682"/>
                </a:cubicBezTo>
                <a:cubicBezTo>
                  <a:pt x="179669" y="390165"/>
                  <a:pt x="181977" y="393824"/>
                  <a:pt x="181150" y="395764"/>
                </a:cubicBezTo>
                <a:cubicBezTo>
                  <a:pt x="179907" y="398676"/>
                  <a:pt x="176540" y="401705"/>
                  <a:pt x="173480" y="402568"/>
                </a:cubicBezTo>
                <a:cubicBezTo>
                  <a:pt x="169302" y="403746"/>
                  <a:pt x="164551" y="403164"/>
                  <a:pt x="160067" y="402936"/>
                </a:cubicBezTo>
                <a:cubicBezTo>
                  <a:pt x="147066" y="402274"/>
                  <a:pt x="134081" y="400859"/>
                  <a:pt x="121081" y="400766"/>
                </a:cubicBezTo>
                <a:cubicBezTo>
                  <a:pt x="104362" y="400647"/>
                  <a:pt x="87638" y="401607"/>
                  <a:pt x="70912" y="401955"/>
                </a:cubicBezTo>
                <a:cubicBezTo>
                  <a:pt x="49820" y="402394"/>
                  <a:pt x="28725" y="402712"/>
                  <a:pt x="7630" y="402999"/>
                </a:cubicBezTo>
                <a:cubicBezTo>
                  <a:pt x="5684" y="403026"/>
                  <a:pt x="3731" y="402452"/>
                  <a:pt x="710" y="401995"/>
                </a:cubicBezTo>
                <a:cubicBezTo>
                  <a:pt x="219" y="386620"/>
                  <a:pt x="-871" y="371682"/>
                  <a:pt x="1308" y="356708"/>
                </a:cubicBezTo>
                <a:cubicBezTo>
                  <a:pt x="1659" y="354298"/>
                  <a:pt x="2471" y="351920"/>
                  <a:pt x="2554" y="349510"/>
                </a:cubicBezTo>
                <a:cubicBezTo>
                  <a:pt x="3459" y="323419"/>
                  <a:pt x="4345" y="297328"/>
                  <a:pt x="5071" y="271231"/>
                </a:cubicBezTo>
                <a:cubicBezTo>
                  <a:pt x="5979" y="238591"/>
                  <a:pt x="6733" y="205947"/>
                  <a:pt x="7554" y="172079"/>
                </a:cubicBezTo>
                <a:moveTo>
                  <a:pt x="98286" y="163566"/>
                </a:moveTo>
                <a:cubicBezTo>
                  <a:pt x="89288" y="112116"/>
                  <a:pt x="86355" y="60033"/>
                  <a:pt x="83497" y="8289"/>
                </a:cubicBezTo>
                <a:cubicBezTo>
                  <a:pt x="65606" y="5845"/>
                  <a:pt x="24110" y="6470"/>
                  <a:pt x="15161" y="9148"/>
                </a:cubicBezTo>
                <a:cubicBezTo>
                  <a:pt x="15161" y="52045"/>
                  <a:pt x="15527" y="94996"/>
                  <a:pt x="15058" y="137939"/>
                </a:cubicBezTo>
                <a:cubicBezTo>
                  <a:pt x="14587" y="180919"/>
                  <a:pt x="13597" y="223900"/>
                  <a:pt x="12252" y="266862"/>
                </a:cubicBezTo>
                <a:cubicBezTo>
                  <a:pt x="10912" y="309638"/>
                  <a:pt x="8849" y="352391"/>
                  <a:pt x="7068" y="395996"/>
                </a:cubicBezTo>
                <a:cubicBezTo>
                  <a:pt x="62774" y="395996"/>
                  <a:pt x="116821" y="395996"/>
                  <a:pt x="171647" y="395996"/>
                </a:cubicBezTo>
                <a:cubicBezTo>
                  <a:pt x="148550" y="352016"/>
                  <a:pt x="132566" y="306307"/>
                  <a:pt x="119950" y="259496"/>
                </a:cubicBezTo>
                <a:cubicBezTo>
                  <a:pt x="111608" y="228543"/>
                  <a:pt x="105493" y="196989"/>
                  <a:pt x="98286" y="163566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2" name="Free-form: Shape 21">
            <a:extLst>
              <a:ext uri="{FF2B5EF4-FFF2-40B4-BE49-F238E27FC236}">
                <a16:creationId xmlns:a16="http://schemas.microsoft.com/office/drawing/2014/main" id="{AA682650-AC79-1A5E-850C-B06D034F7E94}"/>
              </a:ext>
            </a:extLst>
          </p:cNvPr>
          <p:cNvSpPr/>
          <p:nvPr/>
        </p:nvSpPr>
        <p:spPr>
          <a:xfrm>
            <a:off x="1732544" y="2773791"/>
            <a:ext cx="209255" cy="47389"/>
          </a:xfrm>
          <a:custGeom>
            <a:avLst/>
            <a:gdLst>
              <a:gd name="csX0" fmla="*/ 297312 w 337008"/>
              <a:gd name="csY0" fmla="*/ 59188 h 76321"/>
              <a:gd name="csX1" fmla="*/ 241991 w 337008"/>
              <a:gd name="csY1" fmla="*/ 66577 h 76321"/>
              <a:gd name="csX2" fmla="*/ 185243 w 337008"/>
              <a:gd name="csY2" fmla="*/ 73717 h 76321"/>
              <a:gd name="csX3" fmla="*/ 182797 w 337008"/>
              <a:gd name="csY3" fmla="*/ 73873 h 76321"/>
              <a:gd name="csX4" fmla="*/ 19866 w 337008"/>
              <a:gd name="csY4" fmla="*/ 76320 h 76321"/>
              <a:gd name="csX5" fmla="*/ 12650 w 337008"/>
              <a:gd name="csY5" fmla="*/ 75242 h 76321"/>
              <a:gd name="csX6" fmla="*/ 19 w 337008"/>
              <a:gd name="csY6" fmla="*/ 59006 h 76321"/>
              <a:gd name="csX7" fmla="*/ 11 w 337008"/>
              <a:gd name="csY7" fmla="*/ 18266 h 76321"/>
              <a:gd name="csX8" fmla="*/ 13547 w 337008"/>
              <a:gd name="csY8" fmla="*/ 17427 h 76321"/>
              <a:gd name="csX9" fmla="*/ 109279 w 337008"/>
              <a:gd name="csY9" fmla="*/ 17200 h 76321"/>
              <a:gd name="csX10" fmla="*/ 173714 w 337008"/>
              <a:gd name="csY10" fmla="*/ 12645 h 76321"/>
              <a:gd name="csX11" fmla="*/ 205309 w 337008"/>
              <a:gd name="csY11" fmla="*/ 10096 h 76321"/>
              <a:gd name="csX12" fmla="*/ 245485 w 337008"/>
              <a:gd name="csY12" fmla="*/ 7449 h 76321"/>
              <a:gd name="csX13" fmla="*/ 288955 w 337008"/>
              <a:gd name="csY13" fmla="*/ 1844 h 76321"/>
              <a:gd name="csX14" fmla="*/ 307132 w 337008"/>
              <a:gd name="csY14" fmla="*/ 164 h 76321"/>
              <a:gd name="csX15" fmla="*/ 324030 w 337008"/>
              <a:gd name="csY15" fmla="*/ 9691 h 76321"/>
              <a:gd name="csX16" fmla="*/ 336033 w 337008"/>
              <a:gd name="csY16" fmla="*/ 39107 h 76321"/>
              <a:gd name="csX17" fmla="*/ 328060 w 337008"/>
              <a:gd name="csY17" fmla="*/ 52413 h 76321"/>
              <a:gd name="csX18" fmla="*/ 297312 w 337008"/>
              <a:gd name="csY18" fmla="*/ 59188 h 76321"/>
              <a:gd name="csX19" fmla="*/ 207688 w 337008"/>
              <a:gd name="csY19" fmla="*/ 64284 h 76321"/>
              <a:gd name="csX20" fmla="*/ 330050 w 337008"/>
              <a:gd name="csY20" fmla="*/ 45606 h 76321"/>
              <a:gd name="csX21" fmla="*/ 317356 w 337008"/>
              <a:gd name="csY21" fmla="*/ 11297 h 76321"/>
              <a:gd name="csX22" fmla="*/ 304170 w 337008"/>
              <a:gd name="csY22" fmla="*/ 5545 h 76321"/>
              <a:gd name="csX23" fmla="*/ 273851 w 337008"/>
              <a:gd name="csY23" fmla="*/ 10014 h 76321"/>
              <a:gd name="csX24" fmla="*/ 163935 w 337008"/>
              <a:gd name="csY24" fmla="*/ 20274 h 76321"/>
              <a:gd name="csX25" fmla="*/ 17973 w 337008"/>
              <a:gd name="csY25" fmla="*/ 22950 h 76321"/>
              <a:gd name="csX26" fmla="*/ 7372 w 337008"/>
              <a:gd name="csY26" fmla="*/ 23601 h 76321"/>
              <a:gd name="csX27" fmla="*/ 7372 w 337008"/>
              <a:gd name="csY27" fmla="*/ 67898 h 76321"/>
              <a:gd name="csX28" fmla="*/ 207688 w 337008"/>
              <a:gd name="csY28" fmla="*/ 64284 h 7632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</a:cxnLst>
            <a:rect l="l" t="t" r="r" b="b"/>
            <a:pathLst>
              <a:path w="337008" h="76321">
                <a:moveTo>
                  <a:pt x="297312" y="59188"/>
                </a:moveTo>
                <a:cubicBezTo>
                  <a:pt x="278167" y="61672"/>
                  <a:pt x="260091" y="64212"/>
                  <a:pt x="241991" y="66577"/>
                </a:cubicBezTo>
                <a:cubicBezTo>
                  <a:pt x="223087" y="69047"/>
                  <a:pt x="204161" y="71350"/>
                  <a:pt x="185243" y="73717"/>
                </a:cubicBezTo>
                <a:cubicBezTo>
                  <a:pt x="184433" y="73818"/>
                  <a:pt x="183613" y="73861"/>
                  <a:pt x="182797" y="73873"/>
                </a:cubicBezTo>
                <a:cubicBezTo>
                  <a:pt x="128487" y="74710"/>
                  <a:pt x="74176" y="75556"/>
                  <a:pt x="19866" y="76320"/>
                </a:cubicBezTo>
                <a:cubicBezTo>
                  <a:pt x="17463" y="76354"/>
                  <a:pt x="15013" y="75797"/>
                  <a:pt x="12650" y="75242"/>
                </a:cubicBezTo>
                <a:cubicBezTo>
                  <a:pt x="80" y="72288"/>
                  <a:pt x="58" y="72258"/>
                  <a:pt x="19" y="59006"/>
                </a:cubicBezTo>
                <a:cubicBezTo>
                  <a:pt x="-19" y="45942"/>
                  <a:pt x="11" y="32877"/>
                  <a:pt x="11" y="18266"/>
                </a:cubicBezTo>
                <a:cubicBezTo>
                  <a:pt x="4987" y="17944"/>
                  <a:pt x="9266" y="17435"/>
                  <a:pt x="13547" y="17427"/>
                </a:cubicBezTo>
                <a:cubicBezTo>
                  <a:pt x="45459" y="17362"/>
                  <a:pt x="77385" y="17975"/>
                  <a:pt x="109279" y="17200"/>
                </a:cubicBezTo>
                <a:cubicBezTo>
                  <a:pt x="130782" y="16677"/>
                  <a:pt x="152239" y="14265"/>
                  <a:pt x="173714" y="12645"/>
                </a:cubicBezTo>
                <a:cubicBezTo>
                  <a:pt x="184250" y="11850"/>
                  <a:pt x="194770" y="10836"/>
                  <a:pt x="205309" y="10096"/>
                </a:cubicBezTo>
                <a:cubicBezTo>
                  <a:pt x="218698" y="9156"/>
                  <a:pt x="232139" y="8783"/>
                  <a:pt x="245485" y="7449"/>
                </a:cubicBezTo>
                <a:cubicBezTo>
                  <a:pt x="260017" y="5997"/>
                  <a:pt x="274456" y="3648"/>
                  <a:pt x="288955" y="1844"/>
                </a:cubicBezTo>
                <a:cubicBezTo>
                  <a:pt x="294991" y="1094"/>
                  <a:pt x="301100" y="930"/>
                  <a:pt x="307132" y="164"/>
                </a:cubicBezTo>
                <a:cubicBezTo>
                  <a:pt x="315239" y="-865"/>
                  <a:pt x="320841" y="3022"/>
                  <a:pt x="324030" y="9691"/>
                </a:cubicBezTo>
                <a:cubicBezTo>
                  <a:pt x="328594" y="19236"/>
                  <a:pt x="332712" y="29070"/>
                  <a:pt x="336033" y="39107"/>
                </a:cubicBezTo>
                <a:cubicBezTo>
                  <a:pt x="338557" y="46735"/>
                  <a:pt x="336278" y="50185"/>
                  <a:pt x="328060" y="52413"/>
                </a:cubicBezTo>
                <a:cubicBezTo>
                  <a:pt x="318273" y="55068"/>
                  <a:pt x="308277" y="56950"/>
                  <a:pt x="297312" y="59188"/>
                </a:cubicBezTo>
                <a:moveTo>
                  <a:pt x="207688" y="64284"/>
                </a:moveTo>
                <a:cubicBezTo>
                  <a:pt x="248681" y="60632"/>
                  <a:pt x="289317" y="54812"/>
                  <a:pt x="330050" y="45606"/>
                </a:cubicBezTo>
                <a:cubicBezTo>
                  <a:pt x="327603" y="32443"/>
                  <a:pt x="323777" y="21532"/>
                  <a:pt x="317356" y="11297"/>
                </a:cubicBezTo>
                <a:cubicBezTo>
                  <a:pt x="313908" y="5803"/>
                  <a:pt x="310145" y="4465"/>
                  <a:pt x="304170" y="5545"/>
                </a:cubicBezTo>
                <a:cubicBezTo>
                  <a:pt x="294121" y="7361"/>
                  <a:pt x="284007" y="9006"/>
                  <a:pt x="273851" y="10014"/>
                </a:cubicBezTo>
                <a:cubicBezTo>
                  <a:pt x="237233" y="13650"/>
                  <a:pt x="200632" y="17661"/>
                  <a:pt x="163935" y="20274"/>
                </a:cubicBezTo>
                <a:cubicBezTo>
                  <a:pt x="115360" y="23734"/>
                  <a:pt x="66701" y="25937"/>
                  <a:pt x="17973" y="22950"/>
                </a:cubicBezTo>
                <a:cubicBezTo>
                  <a:pt x="14492" y="22737"/>
                  <a:pt x="10959" y="23361"/>
                  <a:pt x="7372" y="23601"/>
                </a:cubicBezTo>
                <a:cubicBezTo>
                  <a:pt x="7372" y="38609"/>
                  <a:pt x="7372" y="52361"/>
                  <a:pt x="7372" y="67898"/>
                </a:cubicBezTo>
                <a:cubicBezTo>
                  <a:pt x="74001" y="69806"/>
                  <a:pt x="139746" y="71025"/>
                  <a:pt x="207688" y="64284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3" name="Free-form: Shape 22">
            <a:extLst>
              <a:ext uri="{FF2B5EF4-FFF2-40B4-BE49-F238E27FC236}">
                <a16:creationId xmlns:a16="http://schemas.microsoft.com/office/drawing/2014/main" id="{2AFF7C55-42C1-CC75-8A3E-F329F654F419}"/>
              </a:ext>
            </a:extLst>
          </p:cNvPr>
          <p:cNvSpPr/>
          <p:nvPr/>
        </p:nvSpPr>
        <p:spPr>
          <a:xfrm>
            <a:off x="1736277" y="2627337"/>
            <a:ext cx="188426" cy="132688"/>
          </a:xfrm>
          <a:custGeom>
            <a:avLst/>
            <a:gdLst>
              <a:gd name="csX0" fmla="*/ 14160 w 303463"/>
              <a:gd name="csY0" fmla="*/ 7889 h 213695"/>
              <a:gd name="csX1" fmla="*/ 195033 w 303463"/>
              <a:gd name="csY1" fmla="*/ 0 h 213695"/>
              <a:gd name="csX2" fmla="*/ 197208 w 303463"/>
              <a:gd name="csY2" fmla="*/ 5635 h 213695"/>
              <a:gd name="csX3" fmla="*/ 227014 w 303463"/>
              <a:gd name="csY3" fmla="*/ 60660 h 213695"/>
              <a:gd name="csX4" fmla="*/ 265823 w 303463"/>
              <a:gd name="csY4" fmla="*/ 98217 h 213695"/>
              <a:gd name="csX5" fmla="*/ 303210 w 303463"/>
              <a:gd name="csY5" fmla="*/ 180358 h 213695"/>
              <a:gd name="csX6" fmla="*/ 303282 w 303463"/>
              <a:gd name="csY6" fmla="*/ 193964 h 213695"/>
              <a:gd name="csX7" fmla="*/ 4971 w 303463"/>
              <a:gd name="csY7" fmla="*/ 213017 h 213695"/>
              <a:gd name="csX8" fmla="*/ 5093 w 303463"/>
              <a:gd name="csY8" fmla="*/ 173484 h 213695"/>
              <a:gd name="csX9" fmla="*/ 4767 w 303463"/>
              <a:gd name="csY9" fmla="*/ 54607 h 213695"/>
              <a:gd name="csX10" fmla="*/ 0 w 303463"/>
              <a:gd name="csY10" fmla="*/ 7887 h 213695"/>
              <a:gd name="csX11" fmla="*/ 14160 w 303463"/>
              <a:gd name="csY11" fmla="*/ 7889 h 21369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303463" h="213695">
                <a:moveTo>
                  <a:pt x="14160" y="7889"/>
                </a:moveTo>
                <a:cubicBezTo>
                  <a:pt x="75371" y="8627"/>
                  <a:pt x="135292" y="5744"/>
                  <a:pt x="195033" y="0"/>
                </a:cubicBezTo>
                <a:cubicBezTo>
                  <a:pt x="196084" y="2662"/>
                  <a:pt x="196986" y="4099"/>
                  <a:pt x="197208" y="5635"/>
                </a:cubicBezTo>
                <a:cubicBezTo>
                  <a:pt x="200391" y="27650"/>
                  <a:pt x="211307" y="45450"/>
                  <a:pt x="227014" y="60660"/>
                </a:cubicBezTo>
                <a:cubicBezTo>
                  <a:pt x="239947" y="73182"/>
                  <a:pt x="253006" y="85577"/>
                  <a:pt x="265823" y="98217"/>
                </a:cubicBezTo>
                <a:cubicBezTo>
                  <a:pt x="288727" y="120806"/>
                  <a:pt x="299071" y="149215"/>
                  <a:pt x="303210" y="180358"/>
                </a:cubicBezTo>
                <a:cubicBezTo>
                  <a:pt x="303735" y="184317"/>
                  <a:pt x="303282" y="188405"/>
                  <a:pt x="303282" y="193964"/>
                </a:cubicBezTo>
                <a:cubicBezTo>
                  <a:pt x="204065" y="208804"/>
                  <a:pt x="105022" y="216044"/>
                  <a:pt x="4971" y="213017"/>
                </a:cubicBezTo>
                <a:cubicBezTo>
                  <a:pt x="4971" y="199268"/>
                  <a:pt x="4314" y="186332"/>
                  <a:pt x="5093" y="173484"/>
                </a:cubicBezTo>
                <a:cubicBezTo>
                  <a:pt x="7497" y="133835"/>
                  <a:pt x="8211" y="94216"/>
                  <a:pt x="4767" y="54607"/>
                </a:cubicBezTo>
                <a:cubicBezTo>
                  <a:pt x="3464" y="39611"/>
                  <a:pt x="1725" y="24653"/>
                  <a:pt x="0" y="7887"/>
                </a:cubicBezTo>
                <a:cubicBezTo>
                  <a:pt x="4390" y="7887"/>
                  <a:pt x="8696" y="7887"/>
                  <a:pt x="14160" y="7889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4" name="Free-form: Shape 23">
            <a:extLst>
              <a:ext uri="{FF2B5EF4-FFF2-40B4-BE49-F238E27FC236}">
                <a16:creationId xmlns:a16="http://schemas.microsoft.com/office/drawing/2014/main" id="{0AD65440-910B-A483-088F-D1141CBB062C}"/>
              </a:ext>
            </a:extLst>
          </p:cNvPr>
          <p:cNvSpPr/>
          <p:nvPr/>
        </p:nvSpPr>
        <p:spPr>
          <a:xfrm>
            <a:off x="1702515" y="2097581"/>
            <a:ext cx="129814" cy="126299"/>
          </a:xfrm>
          <a:custGeom>
            <a:avLst/>
            <a:gdLst>
              <a:gd name="csX0" fmla="*/ 10475 w 209067"/>
              <a:gd name="csY0" fmla="*/ 41718 h 203406"/>
              <a:gd name="csX1" fmla="*/ 100250 w 209067"/>
              <a:gd name="csY1" fmla="*/ 1265 h 203406"/>
              <a:gd name="csX2" fmla="*/ 206681 w 209067"/>
              <a:gd name="csY2" fmla="*/ 98526 h 203406"/>
              <a:gd name="csX3" fmla="*/ 134647 w 209067"/>
              <a:gd name="csY3" fmla="*/ 202431 h 203406"/>
              <a:gd name="csX4" fmla="*/ 40986 w 209067"/>
              <a:gd name="csY4" fmla="*/ 171438 h 203406"/>
              <a:gd name="csX5" fmla="*/ 143 w 209067"/>
              <a:gd name="csY5" fmla="*/ 85158 h 203406"/>
              <a:gd name="csX6" fmla="*/ 10475 w 209067"/>
              <a:gd name="csY6" fmla="*/ 41718 h 20340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</a:cxnLst>
            <a:rect l="l" t="t" r="r" b="b"/>
            <a:pathLst>
              <a:path w="209067" h="203406">
                <a:moveTo>
                  <a:pt x="10475" y="41718"/>
                </a:moveTo>
                <a:cubicBezTo>
                  <a:pt x="31065" y="6021"/>
                  <a:pt x="63171" y="-3865"/>
                  <a:pt x="100250" y="1265"/>
                </a:cubicBezTo>
                <a:cubicBezTo>
                  <a:pt x="157191" y="9144"/>
                  <a:pt x="196951" y="51394"/>
                  <a:pt x="206681" y="98526"/>
                </a:cubicBezTo>
                <a:cubicBezTo>
                  <a:pt x="219504" y="160635"/>
                  <a:pt x="178523" y="196657"/>
                  <a:pt x="134647" y="202431"/>
                </a:cubicBezTo>
                <a:cubicBezTo>
                  <a:pt x="98365" y="207204"/>
                  <a:pt x="68101" y="194086"/>
                  <a:pt x="40986" y="171438"/>
                </a:cubicBezTo>
                <a:cubicBezTo>
                  <a:pt x="14115" y="148994"/>
                  <a:pt x="2457" y="119007"/>
                  <a:pt x="143" y="85158"/>
                </a:cubicBezTo>
                <a:cubicBezTo>
                  <a:pt x="-869" y="70364"/>
                  <a:pt x="3586" y="56015"/>
                  <a:pt x="10475" y="41718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5" name="Free-form: Shape 24">
            <a:extLst>
              <a:ext uri="{FF2B5EF4-FFF2-40B4-BE49-F238E27FC236}">
                <a16:creationId xmlns:a16="http://schemas.microsoft.com/office/drawing/2014/main" id="{8D72251B-0BDA-D9CF-5423-8269D97F8D63}"/>
              </a:ext>
            </a:extLst>
          </p:cNvPr>
          <p:cNvSpPr/>
          <p:nvPr/>
        </p:nvSpPr>
        <p:spPr>
          <a:xfrm>
            <a:off x="1738774" y="2310619"/>
            <a:ext cx="97564" cy="25665"/>
          </a:xfrm>
          <a:custGeom>
            <a:avLst/>
            <a:gdLst>
              <a:gd name="csX0" fmla="*/ 69625 w 157129"/>
              <a:gd name="csY0" fmla="*/ 0 h 41334"/>
              <a:gd name="csX1" fmla="*/ 119596 w 157129"/>
              <a:gd name="csY1" fmla="*/ 1945 h 41334"/>
              <a:gd name="csX2" fmla="*/ 150973 w 157129"/>
              <a:gd name="csY2" fmla="*/ 14889 h 41334"/>
              <a:gd name="csX3" fmla="*/ 151351 w 157129"/>
              <a:gd name="csY3" fmla="*/ 34058 h 41334"/>
              <a:gd name="csX4" fmla="*/ 133492 w 157129"/>
              <a:gd name="csY4" fmla="*/ 40697 h 41334"/>
              <a:gd name="csX5" fmla="*/ 106556 w 157129"/>
              <a:gd name="csY5" fmla="*/ 41092 h 41334"/>
              <a:gd name="csX6" fmla="*/ 13373 w 157129"/>
              <a:gd name="csY6" fmla="*/ 40708 h 41334"/>
              <a:gd name="csX7" fmla="*/ 1312 w 157129"/>
              <a:gd name="csY7" fmla="*/ 40191 h 41334"/>
              <a:gd name="csX8" fmla="*/ 3367 w 157129"/>
              <a:gd name="csY8" fmla="*/ 13162 h 41334"/>
              <a:gd name="csX9" fmla="*/ 20752 w 157129"/>
              <a:gd name="csY9" fmla="*/ 1879 h 41334"/>
              <a:gd name="csX10" fmla="*/ 52625 w 157129"/>
              <a:gd name="csY10" fmla="*/ 1332 h 41334"/>
              <a:gd name="csX11" fmla="*/ 69625 w 157129"/>
              <a:gd name="csY11" fmla="*/ 0 h 4133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157129" h="41334">
                <a:moveTo>
                  <a:pt x="69625" y="0"/>
                </a:moveTo>
                <a:cubicBezTo>
                  <a:pt x="87054" y="491"/>
                  <a:pt x="103407" y="373"/>
                  <a:pt x="119596" y="1945"/>
                </a:cubicBezTo>
                <a:cubicBezTo>
                  <a:pt x="131020" y="3055"/>
                  <a:pt x="141713" y="7767"/>
                  <a:pt x="150973" y="14889"/>
                </a:cubicBezTo>
                <a:cubicBezTo>
                  <a:pt x="158820" y="20925"/>
                  <a:pt x="159403" y="28236"/>
                  <a:pt x="151351" y="34058"/>
                </a:cubicBezTo>
                <a:cubicBezTo>
                  <a:pt x="146355" y="37671"/>
                  <a:pt x="139678" y="39910"/>
                  <a:pt x="133492" y="40697"/>
                </a:cubicBezTo>
                <a:cubicBezTo>
                  <a:pt x="124640" y="41824"/>
                  <a:pt x="115547" y="41120"/>
                  <a:pt x="106556" y="41092"/>
                </a:cubicBezTo>
                <a:cubicBezTo>
                  <a:pt x="75495" y="40996"/>
                  <a:pt x="44434" y="40872"/>
                  <a:pt x="13373" y="40708"/>
                </a:cubicBezTo>
                <a:cubicBezTo>
                  <a:pt x="9391" y="40687"/>
                  <a:pt x="5410" y="40374"/>
                  <a:pt x="1312" y="40191"/>
                </a:cubicBezTo>
                <a:cubicBezTo>
                  <a:pt x="-1416" y="30384"/>
                  <a:pt x="523" y="21512"/>
                  <a:pt x="3367" y="13162"/>
                </a:cubicBezTo>
                <a:cubicBezTo>
                  <a:pt x="5963" y="5538"/>
                  <a:pt x="12701" y="2077"/>
                  <a:pt x="20752" y="1879"/>
                </a:cubicBezTo>
                <a:cubicBezTo>
                  <a:pt x="31375" y="1617"/>
                  <a:pt x="42004" y="1647"/>
                  <a:pt x="52625" y="1332"/>
                </a:cubicBezTo>
                <a:cubicBezTo>
                  <a:pt x="57918" y="1176"/>
                  <a:pt x="63195" y="535"/>
                  <a:pt x="69625" y="0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6" name="Free-form: Shape 25">
            <a:extLst>
              <a:ext uri="{FF2B5EF4-FFF2-40B4-BE49-F238E27FC236}">
                <a16:creationId xmlns:a16="http://schemas.microsoft.com/office/drawing/2014/main" id="{DA799A3A-D7CA-8E48-86E7-8B0DE396555C}"/>
              </a:ext>
            </a:extLst>
          </p:cNvPr>
          <p:cNvSpPr/>
          <p:nvPr/>
        </p:nvSpPr>
        <p:spPr>
          <a:xfrm>
            <a:off x="1735301" y="2361506"/>
            <a:ext cx="102191" cy="241686"/>
          </a:xfrm>
          <a:custGeom>
            <a:avLst/>
            <a:gdLst>
              <a:gd name="csX0" fmla="*/ 91265 w 164579"/>
              <a:gd name="csY0" fmla="*/ 157878 h 389238"/>
              <a:gd name="csX1" fmla="*/ 112882 w 164579"/>
              <a:gd name="csY1" fmla="*/ 252738 h 389238"/>
              <a:gd name="csX2" fmla="*/ 164579 w 164579"/>
              <a:gd name="csY2" fmla="*/ 389238 h 389238"/>
              <a:gd name="csX3" fmla="*/ 0 w 164579"/>
              <a:gd name="csY3" fmla="*/ 389238 h 389238"/>
              <a:gd name="csX4" fmla="*/ 5184 w 164579"/>
              <a:gd name="csY4" fmla="*/ 260105 h 389238"/>
              <a:gd name="csX5" fmla="*/ 7989 w 164579"/>
              <a:gd name="csY5" fmla="*/ 131182 h 389238"/>
              <a:gd name="csX6" fmla="*/ 8093 w 164579"/>
              <a:gd name="csY6" fmla="*/ 2390 h 389238"/>
              <a:gd name="csX7" fmla="*/ 76429 w 164579"/>
              <a:gd name="csY7" fmla="*/ 1531 h 389238"/>
              <a:gd name="csX8" fmla="*/ 91265 w 164579"/>
              <a:gd name="csY8" fmla="*/ 157878 h 38923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</a:cxnLst>
            <a:rect l="l" t="t" r="r" b="b"/>
            <a:pathLst>
              <a:path w="164579" h="389238">
                <a:moveTo>
                  <a:pt x="91265" y="157878"/>
                </a:moveTo>
                <a:cubicBezTo>
                  <a:pt x="98425" y="190232"/>
                  <a:pt x="104539" y="221785"/>
                  <a:pt x="112882" y="252738"/>
                </a:cubicBezTo>
                <a:cubicBezTo>
                  <a:pt x="125498" y="299549"/>
                  <a:pt x="141482" y="345258"/>
                  <a:pt x="164579" y="389238"/>
                </a:cubicBezTo>
                <a:cubicBezTo>
                  <a:pt x="109753" y="389238"/>
                  <a:pt x="55706" y="389238"/>
                  <a:pt x="0" y="389238"/>
                </a:cubicBezTo>
                <a:cubicBezTo>
                  <a:pt x="1781" y="345633"/>
                  <a:pt x="3844" y="302880"/>
                  <a:pt x="5184" y="260105"/>
                </a:cubicBezTo>
                <a:cubicBezTo>
                  <a:pt x="6529" y="217143"/>
                  <a:pt x="7519" y="174162"/>
                  <a:pt x="7989" y="131182"/>
                </a:cubicBezTo>
                <a:cubicBezTo>
                  <a:pt x="8459" y="88239"/>
                  <a:pt x="8093" y="45287"/>
                  <a:pt x="8093" y="2390"/>
                </a:cubicBezTo>
                <a:cubicBezTo>
                  <a:pt x="17041" y="-288"/>
                  <a:pt x="58537" y="-913"/>
                  <a:pt x="76429" y="1531"/>
                </a:cubicBezTo>
                <a:cubicBezTo>
                  <a:pt x="79287" y="53276"/>
                  <a:pt x="82219" y="105359"/>
                  <a:pt x="91265" y="157878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7" name="Free-form: Shape 26">
            <a:extLst>
              <a:ext uri="{FF2B5EF4-FFF2-40B4-BE49-F238E27FC236}">
                <a16:creationId xmlns:a16="http://schemas.microsoft.com/office/drawing/2014/main" id="{CBF8D447-1BBD-DE28-4F02-15F83B2495A7}"/>
              </a:ext>
            </a:extLst>
          </p:cNvPr>
          <p:cNvSpPr/>
          <p:nvPr/>
        </p:nvSpPr>
        <p:spPr>
          <a:xfrm>
            <a:off x="1737120" y="2777019"/>
            <a:ext cx="200357" cy="39865"/>
          </a:xfrm>
          <a:custGeom>
            <a:avLst/>
            <a:gdLst>
              <a:gd name="csX0" fmla="*/ 199184 w 322677"/>
              <a:gd name="csY0" fmla="*/ 59136 h 64202"/>
              <a:gd name="csX1" fmla="*/ 0 w 322677"/>
              <a:gd name="csY1" fmla="*/ 62697 h 64202"/>
              <a:gd name="csX2" fmla="*/ 0 w 322677"/>
              <a:gd name="csY2" fmla="*/ 18400 h 64202"/>
              <a:gd name="csX3" fmla="*/ 10601 w 322677"/>
              <a:gd name="csY3" fmla="*/ 17750 h 64202"/>
              <a:gd name="csX4" fmla="*/ 156563 w 322677"/>
              <a:gd name="csY4" fmla="*/ 15074 h 64202"/>
              <a:gd name="csX5" fmla="*/ 266479 w 322677"/>
              <a:gd name="csY5" fmla="*/ 4814 h 64202"/>
              <a:gd name="csX6" fmla="*/ 296798 w 322677"/>
              <a:gd name="csY6" fmla="*/ 344 h 64202"/>
              <a:gd name="csX7" fmla="*/ 309983 w 322677"/>
              <a:gd name="csY7" fmla="*/ 6097 h 64202"/>
              <a:gd name="csX8" fmla="*/ 322678 w 322677"/>
              <a:gd name="csY8" fmla="*/ 40406 h 64202"/>
              <a:gd name="csX9" fmla="*/ 199184 w 322677"/>
              <a:gd name="csY9" fmla="*/ 59136 h 6420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322677" h="64202">
                <a:moveTo>
                  <a:pt x="199184" y="59136"/>
                </a:moveTo>
                <a:cubicBezTo>
                  <a:pt x="132374" y="65824"/>
                  <a:pt x="66629" y="64605"/>
                  <a:pt x="0" y="62697"/>
                </a:cubicBezTo>
                <a:cubicBezTo>
                  <a:pt x="0" y="47160"/>
                  <a:pt x="0" y="33409"/>
                  <a:pt x="0" y="18400"/>
                </a:cubicBezTo>
                <a:cubicBezTo>
                  <a:pt x="3587" y="18160"/>
                  <a:pt x="7120" y="17536"/>
                  <a:pt x="10601" y="17750"/>
                </a:cubicBezTo>
                <a:cubicBezTo>
                  <a:pt x="59329" y="20736"/>
                  <a:pt x="107987" y="18533"/>
                  <a:pt x="156563" y="15074"/>
                </a:cubicBezTo>
                <a:cubicBezTo>
                  <a:pt x="193260" y="12461"/>
                  <a:pt x="229860" y="8449"/>
                  <a:pt x="266479" y="4814"/>
                </a:cubicBezTo>
                <a:cubicBezTo>
                  <a:pt x="276635" y="3806"/>
                  <a:pt x="286748" y="2160"/>
                  <a:pt x="296798" y="344"/>
                </a:cubicBezTo>
                <a:cubicBezTo>
                  <a:pt x="302773" y="-735"/>
                  <a:pt x="306536" y="602"/>
                  <a:pt x="309983" y="6097"/>
                </a:cubicBezTo>
                <a:cubicBezTo>
                  <a:pt x="316405" y="16331"/>
                  <a:pt x="320231" y="27243"/>
                  <a:pt x="322678" y="40406"/>
                </a:cubicBezTo>
                <a:cubicBezTo>
                  <a:pt x="281944" y="49611"/>
                  <a:pt x="241309" y="55431"/>
                  <a:pt x="199184" y="59136"/>
                </a:cubicBezTo>
                <a:close/>
              </a:path>
            </a:pathLst>
          </a:custGeom>
          <a:solidFill>
            <a:schemeClr val="bg1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11DD738D-AC8C-99B3-2363-3465CEE0FDF9}"/>
              </a:ext>
            </a:extLst>
          </p:cNvPr>
          <p:cNvSpPr txBox="1"/>
          <p:nvPr/>
        </p:nvSpPr>
        <p:spPr>
          <a:xfrm>
            <a:off x="1329112" y="2831201"/>
            <a:ext cx="863983" cy="3927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-CHOP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F0BAEEE4-1F9D-DD85-B42F-722DD14E895F}"/>
              </a:ext>
            </a:extLst>
          </p:cNvPr>
          <p:cNvSpPr txBox="1"/>
          <p:nvPr/>
        </p:nvSpPr>
        <p:spPr>
          <a:xfrm>
            <a:off x="7266620" y="2831201"/>
            <a:ext cx="2500419" cy="3927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Loncastuximab tesirine</a:t>
            </a:r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E1C73777-9580-8E7D-3B4B-F37E26710800}"/>
              </a:ext>
            </a:extLst>
          </p:cNvPr>
          <p:cNvSpPr/>
          <p:nvPr/>
        </p:nvSpPr>
        <p:spPr>
          <a:xfrm>
            <a:off x="8108708" y="2641714"/>
            <a:ext cx="717698" cy="104135"/>
          </a:xfrm>
          <a:prstGeom prst="ellipse">
            <a:avLst/>
          </a:prstGeom>
          <a:solidFill>
            <a:schemeClr val="tx1">
              <a:alpha val="6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1" name="Free-form: Shape 60">
            <a:extLst>
              <a:ext uri="{FF2B5EF4-FFF2-40B4-BE49-F238E27FC236}">
                <a16:creationId xmlns:a16="http://schemas.microsoft.com/office/drawing/2014/main" id="{2A972A1A-88D6-BB2D-5D12-1E13D68799DB}"/>
              </a:ext>
            </a:extLst>
          </p:cNvPr>
          <p:cNvSpPr/>
          <p:nvPr/>
        </p:nvSpPr>
        <p:spPr>
          <a:xfrm>
            <a:off x="8203752" y="1447830"/>
            <a:ext cx="634942" cy="1266262"/>
          </a:xfrm>
          <a:custGeom>
            <a:avLst/>
            <a:gdLst>
              <a:gd name="csX0" fmla="*/ 703087 w 763849"/>
              <a:gd name="csY0" fmla="*/ 1241174 h 1523340"/>
              <a:gd name="csX1" fmla="*/ 732932 w 763849"/>
              <a:gd name="csY1" fmla="*/ 1359634 h 1523340"/>
              <a:gd name="csX2" fmla="*/ 735544 w 763849"/>
              <a:gd name="csY2" fmla="*/ 1377287 h 1523340"/>
              <a:gd name="csX3" fmla="*/ 756764 w 763849"/>
              <a:gd name="csY3" fmla="*/ 1458577 h 1523340"/>
              <a:gd name="csX4" fmla="*/ 757108 w 763849"/>
              <a:gd name="csY4" fmla="*/ 1465940 h 1523340"/>
              <a:gd name="csX5" fmla="*/ 744215 w 763849"/>
              <a:gd name="csY5" fmla="*/ 1488332 h 1523340"/>
              <a:gd name="csX6" fmla="*/ 712781 w 763849"/>
              <a:gd name="csY6" fmla="*/ 1498472 h 1523340"/>
              <a:gd name="csX7" fmla="*/ 625540 w 763849"/>
              <a:gd name="csY7" fmla="*/ 1511981 h 1523340"/>
              <a:gd name="csX8" fmla="*/ 488540 w 763849"/>
              <a:gd name="csY8" fmla="*/ 1522029 h 1523340"/>
              <a:gd name="csX9" fmla="*/ 306789 w 763849"/>
              <a:gd name="csY9" fmla="*/ 1523231 h 1523340"/>
              <a:gd name="csX10" fmla="*/ 200103 w 763849"/>
              <a:gd name="csY10" fmla="*/ 1518579 h 1523340"/>
              <a:gd name="csX11" fmla="*/ 31607 w 763849"/>
              <a:gd name="csY11" fmla="*/ 1493880 h 1523340"/>
              <a:gd name="csX12" fmla="*/ 5860 w 763849"/>
              <a:gd name="csY12" fmla="*/ 1482933 h 1523340"/>
              <a:gd name="csX13" fmla="*/ 32 w 763849"/>
              <a:gd name="csY13" fmla="*/ 1471774 h 1523340"/>
              <a:gd name="csX14" fmla="*/ 21295 w 763849"/>
              <a:gd name="csY14" fmla="*/ 1378237 h 1523340"/>
              <a:gd name="csX15" fmla="*/ 23169 w 763849"/>
              <a:gd name="csY15" fmla="*/ 1364271 h 1523340"/>
              <a:gd name="csX16" fmla="*/ 23871 w 763849"/>
              <a:gd name="csY16" fmla="*/ 1303132 h 1523340"/>
              <a:gd name="csX17" fmla="*/ 59740 w 763849"/>
              <a:gd name="csY17" fmla="*/ 1234649 h 1523340"/>
              <a:gd name="csX18" fmla="*/ 98899 w 763849"/>
              <a:gd name="csY18" fmla="*/ 1195619 h 1523340"/>
              <a:gd name="csX19" fmla="*/ 131493 w 763849"/>
              <a:gd name="csY19" fmla="*/ 1127593 h 1523340"/>
              <a:gd name="csX20" fmla="*/ 108213 w 763849"/>
              <a:gd name="csY20" fmla="*/ 1058723 h 1523340"/>
              <a:gd name="csX21" fmla="*/ 74370 w 763849"/>
              <a:gd name="csY21" fmla="*/ 1024929 h 1523340"/>
              <a:gd name="csX22" fmla="*/ 68137 w 763849"/>
              <a:gd name="csY22" fmla="*/ 987550 h 1523340"/>
              <a:gd name="csX23" fmla="*/ 86420 w 763849"/>
              <a:gd name="csY23" fmla="*/ 941991 h 1523340"/>
              <a:gd name="csX24" fmla="*/ 97082 w 763849"/>
              <a:gd name="csY24" fmla="*/ 828037 h 1523340"/>
              <a:gd name="csX25" fmla="*/ 61782 w 763849"/>
              <a:gd name="csY25" fmla="*/ 696973 h 1523340"/>
              <a:gd name="csX26" fmla="*/ 26901 w 763849"/>
              <a:gd name="csY26" fmla="*/ 547868 h 1523340"/>
              <a:gd name="csX27" fmla="*/ 20221 w 763849"/>
              <a:gd name="csY27" fmla="*/ 479529 h 1523340"/>
              <a:gd name="csX28" fmla="*/ 40808 w 763849"/>
              <a:gd name="csY28" fmla="*/ 334388 h 1523340"/>
              <a:gd name="csX29" fmla="*/ 65171 w 763849"/>
              <a:gd name="csY29" fmla="*/ 263707 h 1523340"/>
              <a:gd name="csX30" fmla="*/ 142827 w 763849"/>
              <a:gd name="csY30" fmla="*/ 171003 h 1523340"/>
              <a:gd name="csX31" fmla="*/ 172290 w 763849"/>
              <a:gd name="csY31" fmla="*/ 155872 h 1523340"/>
              <a:gd name="csX32" fmla="*/ 189008 w 763849"/>
              <a:gd name="csY32" fmla="*/ 148158 h 1523340"/>
              <a:gd name="csX33" fmla="*/ 212828 w 763849"/>
              <a:gd name="csY33" fmla="*/ 126123 h 1523340"/>
              <a:gd name="csX34" fmla="*/ 217217 w 763849"/>
              <a:gd name="csY34" fmla="*/ 118740 h 1523340"/>
              <a:gd name="csX35" fmla="*/ 253000 w 763849"/>
              <a:gd name="csY35" fmla="*/ 88998 h 1523340"/>
              <a:gd name="csX36" fmla="*/ 322085 w 763849"/>
              <a:gd name="csY36" fmla="*/ 72193 h 1523340"/>
              <a:gd name="csX37" fmla="*/ 330478 w 763849"/>
              <a:gd name="csY37" fmla="*/ 70387 h 1523340"/>
              <a:gd name="csX38" fmla="*/ 388016 w 763849"/>
              <a:gd name="csY38" fmla="*/ 35457 h 1523340"/>
              <a:gd name="csX39" fmla="*/ 421527 w 763849"/>
              <a:gd name="csY39" fmla="*/ 0 h 1523340"/>
              <a:gd name="csX40" fmla="*/ 424538 w 763849"/>
              <a:gd name="csY40" fmla="*/ 10833 h 1523340"/>
              <a:gd name="csX41" fmla="*/ 436339 w 763849"/>
              <a:gd name="csY41" fmla="*/ 121836 h 1523340"/>
              <a:gd name="csX42" fmla="*/ 449983 w 763849"/>
              <a:gd name="csY42" fmla="*/ 141450 h 1523340"/>
              <a:gd name="csX43" fmla="*/ 503299 w 763849"/>
              <a:gd name="csY43" fmla="*/ 169290 h 1523340"/>
              <a:gd name="csX44" fmla="*/ 551461 w 763849"/>
              <a:gd name="csY44" fmla="*/ 203111 h 1523340"/>
              <a:gd name="csX45" fmla="*/ 588803 w 763849"/>
              <a:gd name="csY45" fmla="*/ 252797 h 1523340"/>
              <a:gd name="csX46" fmla="*/ 634209 w 763849"/>
              <a:gd name="csY46" fmla="*/ 327081 h 1523340"/>
              <a:gd name="csX47" fmla="*/ 697923 w 763849"/>
              <a:gd name="csY47" fmla="*/ 384157 h 1523340"/>
              <a:gd name="csX48" fmla="*/ 729658 w 763849"/>
              <a:gd name="csY48" fmla="*/ 407288 h 1523340"/>
              <a:gd name="csX49" fmla="*/ 763354 w 763849"/>
              <a:gd name="csY49" fmla="*/ 471325 h 1523340"/>
              <a:gd name="csX50" fmla="*/ 757092 w 763849"/>
              <a:gd name="csY50" fmla="*/ 527116 h 1523340"/>
              <a:gd name="csX51" fmla="*/ 720673 w 763849"/>
              <a:gd name="csY51" fmla="*/ 570023 h 1523340"/>
              <a:gd name="csX52" fmla="*/ 704918 w 763849"/>
              <a:gd name="csY52" fmla="*/ 581294 h 1523340"/>
              <a:gd name="csX53" fmla="*/ 671960 w 763849"/>
              <a:gd name="csY53" fmla="*/ 595325 h 1523340"/>
              <a:gd name="csX54" fmla="*/ 633021 w 763849"/>
              <a:gd name="csY54" fmla="*/ 591397 h 1523340"/>
              <a:gd name="csX55" fmla="*/ 580696 w 763849"/>
              <a:gd name="csY55" fmla="*/ 556742 h 1523340"/>
              <a:gd name="csX56" fmla="*/ 545415 w 763849"/>
              <a:gd name="csY56" fmla="*/ 524617 h 1523340"/>
              <a:gd name="csX57" fmla="*/ 518889 w 763849"/>
              <a:gd name="csY57" fmla="*/ 516179 h 1523340"/>
              <a:gd name="csX58" fmla="*/ 472309 w 763849"/>
              <a:gd name="csY58" fmla="*/ 517812 h 1523340"/>
              <a:gd name="csX59" fmla="*/ 415953 w 763849"/>
              <a:gd name="csY59" fmla="*/ 517245 h 1523340"/>
              <a:gd name="csX60" fmla="*/ 403392 w 763849"/>
              <a:gd name="csY60" fmla="*/ 516539 h 1523340"/>
              <a:gd name="csX61" fmla="*/ 407957 w 763849"/>
              <a:gd name="csY61" fmla="*/ 542045 h 1523340"/>
              <a:gd name="csX62" fmla="*/ 434134 w 763849"/>
              <a:gd name="csY62" fmla="*/ 583349 h 1523340"/>
              <a:gd name="csX63" fmla="*/ 524267 w 763849"/>
              <a:gd name="csY63" fmla="*/ 683922 h 1523340"/>
              <a:gd name="csX64" fmla="*/ 614317 w 763849"/>
              <a:gd name="csY64" fmla="*/ 786085 h 1523340"/>
              <a:gd name="csX65" fmla="*/ 669590 w 763849"/>
              <a:gd name="csY65" fmla="*/ 921089 h 1523340"/>
              <a:gd name="csX66" fmla="*/ 647360 w 763849"/>
              <a:gd name="csY66" fmla="*/ 1057245 h 1523340"/>
              <a:gd name="csX67" fmla="*/ 627872 w 763849"/>
              <a:gd name="csY67" fmla="*/ 1102111 h 1523340"/>
              <a:gd name="csX68" fmla="*/ 642300 w 763849"/>
              <a:gd name="csY68" fmla="*/ 1175941 h 1523340"/>
              <a:gd name="csX69" fmla="*/ 668829 w 763849"/>
              <a:gd name="csY69" fmla="*/ 1206449 h 1523340"/>
              <a:gd name="csX70" fmla="*/ 703087 w 763849"/>
              <a:gd name="csY70" fmla="*/ 1241174 h 1523340"/>
              <a:gd name="csX71" fmla="*/ 648750 w 763849"/>
              <a:gd name="csY71" fmla="*/ 562343 h 1523340"/>
              <a:gd name="csX72" fmla="*/ 674049 w 763849"/>
              <a:gd name="csY72" fmla="*/ 562834 h 1523340"/>
              <a:gd name="csX73" fmla="*/ 660781 w 763849"/>
              <a:gd name="csY73" fmla="*/ 550178 h 1523340"/>
              <a:gd name="csX74" fmla="*/ 650911 w 763849"/>
              <a:gd name="csY74" fmla="*/ 534051 h 1523340"/>
              <a:gd name="csX75" fmla="*/ 660724 w 763849"/>
              <a:gd name="csY75" fmla="*/ 537605 h 1523340"/>
              <a:gd name="csX76" fmla="*/ 688133 w 763849"/>
              <a:gd name="csY76" fmla="*/ 543363 h 1523340"/>
              <a:gd name="csX77" fmla="*/ 731514 w 763849"/>
              <a:gd name="csY77" fmla="*/ 510767 h 1523340"/>
              <a:gd name="csX78" fmla="*/ 733611 w 763849"/>
              <a:gd name="csY78" fmla="*/ 466905 h 1523340"/>
              <a:gd name="csX79" fmla="*/ 708076 w 763849"/>
              <a:gd name="csY79" fmla="*/ 425975 h 1523340"/>
              <a:gd name="csX80" fmla="*/ 667538 w 763849"/>
              <a:gd name="csY80" fmla="*/ 398254 h 1523340"/>
              <a:gd name="csX81" fmla="*/ 601016 w 763849"/>
              <a:gd name="csY81" fmla="*/ 332127 h 1523340"/>
              <a:gd name="csX82" fmla="*/ 565354 w 763849"/>
              <a:gd name="csY82" fmla="*/ 270526 h 1523340"/>
              <a:gd name="csX83" fmla="*/ 490657 w 763849"/>
              <a:gd name="csY83" fmla="*/ 195121 h 1523340"/>
              <a:gd name="csX84" fmla="*/ 432834 w 763849"/>
              <a:gd name="csY84" fmla="*/ 165243 h 1523340"/>
              <a:gd name="csX85" fmla="*/ 407594 w 763849"/>
              <a:gd name="csY85" fmla="*/ 127852 h 1523340"/>
              <a:gd name="csX86" fmla="*/ 405020 w 763849"/>
              <a:gd name="csY86" fmla="*/ 69029 h 1523340"/>
              <a:gd name="csX87" fmla="*/ 403638 w 763849"/>
              <a:gd name="csY87" fmla="*/ 58130 h 1523340"/>
              <a:gd name="csX88" fmla="*/ 349776 w 763849"/>
              <a:gd name="csY88" fmla="*/ 133259 h 1523340"/>
              <a:gd name="csX89" fmla="*/ 326975 w 763849"/>
              <a:gd name="csY89" fmla="*/ 159669 h 1523340"/>
              <a:gd name="csX90" fmla="*/ 240374 w 763849"/>
              <a:gd name="csY90" fmla="*/ 221714 h 1523340"/>
              <a:gd name="csX91" fmla="*/ 171637 w 763849"/>
              <a:gd name="csY91" fmla="*/ 309087 h 1523340"/>
              <a:gd name="csX92" fmla="*/ 138048 w 763849"/>
              <a:gd name="csY92" fmla="*/ 516954 h 1523340"/>
              <a:gd name="csX93" fmla="*/ 163889 w 763849"/>
              <a:gd name="csY93" fmla="*/ 641780 h 1523340"/>
              <a:gd name="csX94" fmla="*/ 204800 w 763849"/>
              <a:gd name="csY94" fmla="*/ 787055 h 1523340"/>
              <a:gd name="csX95" fmla="*/ 218549 w 763849"/>
              <a:gd name="csY95" fmla="*/ 949545 h 1523340"/>
              <a:gd name="csX96" fmla="*/ 191487 w 763849"/>
              <a:gd name="csY96" fmla="*/ 1033064 h 1523340"/>
              <a:gd name="csX97" fmla="*/ 188729 w 763849"/>
              <a:gd name="csY97" fmla="*/ 1039835 h 1523340"/>
              <a:gd name="csX98" fmla="*/ 221417 w 763849"/>
              <a:gd name="csY98" fmla="*/ 1040799 h 1523340"/>
              <a:gd name="csX99" fmla="*/ 348895 w 763849"/>
              <a:gd name="csY99" fmla="*/ 1046759 h 1523340"/>
              <a:gd name="csX100" fmla="*/ 545369 w 763849"/>
              <a:gd name="csY100" fmla="*/ 1044456 h 1523340"/>
              <a:gd name="csX101" fmla="*/ 612424 w 763849"/>
              <a:gd name="csY101" fmla="*/ 1037365 h 1523340"/>
              <a:gd name="csX102" fmla="*/ 623169 w 763849"/>
              <a:gd name="csY102" fmla="*/ 1028873 h 1523340"/>
              <a:gd name="csX103" fmla="*/ 638508 w 763849"/>
              <a:gd name="csY103" fmla="*/ 959599 h 1523340"/>
              <a:gd name="csX104" fmla="*/ 609213 w 763849"/>
              <a:gd name="csY104" fmla="*/ 842075 h 1523340"/>
              <a:gd name="csX105" fmla="*/ 529367 w 763849"/>
              <a:gd name="csY105" fmla="*/ 735065 h 1523340"/>
              <a:gd name="csX106" fmla="*/ 403792 w 763849"/>
              <a:gd name="csY106" fmla="*/ 596993 h 1523340"/>
              <a:gd name="csX107" fmla="*/ 344708 w 763849"/>
              <a:gd name="csY107" fmla="*/ 511366 h 1523340"/>
              <a:gd name="csX108" fmla="*/ 324464 w 763849"/>
              <a:gd name="csY108" fmla="*/ 380084 h 1523340"/>
              <a:gd name="csX109" fmla="*/ 327688 w 763849"/>
              <a:gd name="csY109" fmla="*/ 373535 h 1523340"/>
              <a:gd name="csX110" fmla="*/ 330334 w 763849"/>
              <a:gd name="csY110" fmla="*/ 373641 h 1523340"/>
              <a:gd name="csX111" fmla="*/ 334272 w 763849"/>
              <a:gd name="csY111" fmla="*/ 384645 h 1523340"/>
              <a:gd name="csX112" fmla="*/ 365260 w 763849"/>
              <a:gd name="csY112" fmla="*/ 453955 h 1523340"/>
              <a:gd name="csX113" fmla="*/ 408246 w 763849"/>
              <a:gd name="csY113" fmla="*/ 483592 h 1523340"/>
              <a:gd name="csX114" fmla="*/ 464529 w 763849"/>
              <a:gd name="csY114" fmla="*/ 486187 h 1523340"/>
              <a:gd name="csX115" fmla="*/ 511119 w 763849"/>
              <a:gd name="csY115" fmla="*/ 484308 h 1523340"/>
              <a:gd name="csX116" fmla="*/ 567913 w 763849"/>
              <a:gd name="csY116" fmla="*/ 503736 h 1523340"/>
              <a:gd name="csX117" fmla="*/ 607611 w 763849"/>
              <a:gd name="csY117" fmla="*/ 540326 h 1523340"/>
              <a:gd name="csX118" fmla="*/ 648750 w 763849"/>
              <a:gd name="csY118" fmla="*/ 562343 h 1523340"/>
              <a:gd name="csX119" fmla="*/ 462594 w 763849"/>
              <a:gd name="csY119" fmla="*/ 1369008 h 1523340"/>
              <a:gd name="csX120" fmla="*/ 510357 w 763849"/>
              <a:gd name="csY120" fmla="*/ 1366345 h 1523340"/>
              <a:gd name="csX121" fmla="*/ 549434 w 763849"/>
              <a:gd name="csY121" fmla="*/ 1362956 h 1523340"/>
              <a:gd name="csX122" fmla="*/ 632369 w 763849"/>
              <a:gd name="csY122" fmla="*/ 1354439 h 1523340"/>
              <a:gd name="csX123" fmla="*/ 697252 w 763849"/>
              <a:gd name="csY123" fmla="*/ 1346424 h 1523340"/>
              <a:gd name="csX124" fmla="*/ 676674 w 763849"/>
              <a:gd name="csY124" fmla="*/ 1266396 h 1523340"/>
              <a:gd name="csX125" fmla="*/ 646594 w 763849"/>
              <a:gd name="csY125" fmla="*/ 1234108 h 1523340"/>
              <a:gd name="csX126" fmla="*/ 612063 w 763849"/>
              <a:gd name="csY126" fmla="*/ 1194382 h 1523340"/>
              <a:gd name="csX127" fmla="*/ 591616 w 763849"/>
              <a:gd name="csY127" fmla="*/ 1111541 h 1523340"/>
              <a:gd name="csX128" fmla="*/ 594320 w 763849"/>
              <a:gd name="csY128" fmla="*/ 1089609 h 1523340"/>
              <a:gd name="csX129" fmla="*/ 578634 w 763849"/>
              <a:gd name="csY129" fmla="*/ 1089642 h 1523340"/>
              <a:gd name="csX130" fmla="*/ 443931 w 763849"/>
              <a:gd name="csY130" fmla="*/ 1096700 h 1523340"/>
              <a:gd name="csX131" fmla="*/ 403417 w 763849"/>
              <a:gd name="csY131" fmla="*/ 1097156 h 1523340"/>
              <a:gd name="csX132" fmla="*/ 388348 w 763849"/>
              <a:gd name="csY132" fmla="*/ 1111502 h 1523340"/>
              <a:gd name="csX133" fmla="*/ 385048 w 763849"/>
              <a:gd name="csY133" fmla="*/ 1176431 h 1523340"/>
              <a:gd name="csX134" fmla="*/ 377687 w 763849"/>
              <a:gd name="csY134" fmla="*/ 1308672 h 1523340"/>
              <a:gd name="csX135" fmla="*/ 376823 w 763849"/>
              <a:gd name="csY135" fmla="*/ 1320897 h 1523340"/>
              <a:gd name="csX136" fmla="*/ 376781 w 763849"/>
              <a:gd name="csY136" fmla="*/ 1366151 h 1523340"/>
              <a:gd name="csX137" fmla="*/ 462594 w 763849"/>
              <a:gd name="csY137" fmla="*/ 1369008 h 1523340"/>
              <a:gd name="csX138" fmla="*/ 648494 w 763849"/>
              <a:gd name="csY138" fmla="*/ 1463981 h 1523340"/>
              <a:gd name="csX139" fmla="*/ 718746 w 763849"/>
              <a:gd name="csY139" fmla="*/ 1451892 h 1523340"/>
              <a:gd name="csX140" fmla="*/ 711827 w 763849"/>
              <a:gd name="csY140" fmla="*/ 1416835 h 1523340"/>
              <a:gd name="csX141" fmla="*/ 685812 w 763849"/>
              <a:gd name="csY141" fmla="*/ 1398502 h 1523340"/>
              <a:gd name="csX142" fmla="*/ 680924 w 763849"/>
              <a:gd name="csY142" fmla="*/ 1398973 h 1523340"/>
              <a:gd name="csX143" fmla="*/ 598278 w 763849"/>
              <a:gd name="csY143" fmla="*/ 1409218 h 1523340"/>
              <a:gd name="csX144" fmla="*/ 474765 w 763849"/>
              <a:gd name="csY144" fmla="*/ 1417945 h 1523340"/>
              <a:gd name="csX145" fmla="*/ 385143 w 763849"/>
              <a:gd name="csY145" fmla="*/ 1418978 h 1523340"/>
              <a:gd name="csX146" fmla="*/ 376639 w 763849"/>
              <a:gd name="csY146" fmla="*/ 1419613 h 1523340"/>
              <a:gd name="csX147" fmla="*/ 376639 w 763849"/>
              <a:gd name="csY147" fmla="*/ 1473939 h 1523340"/>
              <a:gd name="csX148" fmla="*/ 382089 w 763849"/>
              <a:gd name="csY148" fmla="*/ 1474854 h 1523340"/>
              <a:gd name="csX149" fmla="*/ 449536 w 763849"/>
              <a:gd name="csY149" fmla="*/ 1476855 h 1523340"/>
              <a:gd name="csX150" fmla="*/ 559930 w 763849"/>
              <a:gd name="csY150" fmla="*/ 1474307 h 1523340"/>
              <a:gd name="csX151" fmla="*/ 648494 w 763849"/>
              <a:gd name="csY151" fmla="*/ 1463981 h 152334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</a:cxnLst>
            <a:rect l="l" t="t" r="r" b="b"/>
            <a:pathLst>
              <a:path w="763849" h="1523340">
                <a:moveTo>
                  <a:pt x="703087" y="1241174"/>
                </a:moveTo>
                <a:cubicBezTo>
                  <a:pt x="732418" y="1276379"/>
                  <a:pt x="738825" y="1316526"/>
                  <a:pt x="732932" y="1359634"/>
                </a:cubicBezTo>
                <a:cubicBezTo>
                  <a:pt x="732067" y="1365959"/>
                  <a:pt x="732453" y="1371428"/>
                  <a:pt x="735544" y="1377287"/>
                </a:cubicBezTo>
                <a:cubicBezTo>
                  <a:pt x="748937" y="1402675"/>
                  <a:pt x="755318" y="1430010"/>
                  <a:pt x="756764" y="1458577"/>
                </a:cubicBezTo>
                <a:cubicBezTo>
                  <a:pt x="756887" y="1461031"/>
                  <a:pt x="756895" y="1463494"/>
                  <a:pt x="757108" y="1465940"/>
                </a:cubicBezTo>
                <a:cubicBezTo>
                  <a:pt x="758375" y="1480486"/>
                  <a:pt x="757802" y="1482498"/>
                  <a:pt x="744215" y="1488332"/>
                </a:cubicBezTo>
                <a:cubicBezTo>
                  <a:pt x="734126" y="1492664"/>
                  <a:pt x="723536" y="1496562"/>
                  <a:pt x="712781" y="1498472"/>
                </a:cubicBezTo>
                <a:cubicBezTo>
                  <a:pt x="683814" y="1503617"/>
                  <a:pt x="654674" y="1507832"/>
                  <a:pt x="625540" y="1511981"/>
                </a:cubicBezTo>
                <a:cubicBezTo>
                  <a:pt x="580114" y="1518449"/>
                  <a:pt x="534395" y="1521481"/>
                  <a:pt x="488540" y="1522029"/>
                </a:cubicBezTo>
                <a:cubicBezTo>
                  <a:pt x="427958" y="1522752"/>
                  <a:pt x="367367" y="1523658"/>
                  <a:pt x="306789" y="1523231"/>
                </a:cubicBezTo>
                <a:cubicBezTo>
                  <a:pt x="271215" y="1522980"/>
                  <a:pt x="235625" y="1520833"/>
                  <a:pt x="200103" y="1518579"/>
                </a:cubicBezTo>
                <a:cubicBezTo>
                  <a:pt x="143289" y="1514974"/>
                  <a:pt x="86915" y="1507766"/>
                  <a:pt x="31607" y="1493880"/>
                </a:cubicBezTo>
                <a:cubicBezTo>
                  <a:pt x="22666" y="1491635"/>
                  <a:pt x="14297" y="1486920"/>
                  <a:pt x="5860" y="1482933"/>
                </a:cubicBezTo>
                <a:cubicBezTo>
                  <a:pt x="1433" y="1480841"/>
                  <a:pt x="-262" y="1476934"/>
                  <a:pt x="32" y="1471774"/>
                </a:cubicBezTo>
                <a:cubicBezTo>
                  <a:pt x="1880" y="1439401"/>
                  <a:pt x="3993" y="1407192"/>
                  <a:pt x="21295" y="1378237"/>
                </a:cubicBezTo>
                <a:cubicBezTo>
                  <a:pt x="23526" y="1374504"/>
                  <a:pt x="23666" y="1368858"/>
                  <a:pt x="23169" y="1364271"/>
                </a:cubicBezTo>
                <a:cubicBezTo>
                  <a:pt x="20957" y="1343833"/>
                  <a:pt x="20482" y="1323540"/>
                  <a:pt x="23871" y="1303132"/>
                </a:cubicBezTo>
                <a:cubicBezTo>
                  <a:pt x="28332" y="1276267"/>
                  <a:pt x="41045" y="1253887"/>
                  <a:pt x="59740" y="1234649"/>
                </a:cubicBezTo>
                <a:cubicBezTo>
                  <a:pt x="72582" y="1221434"/>
                  <a:pt x="85657" y="1208434"/>
                  <a:pt x="98899" y="1195619"/>
                </a:cubicBezTo>
                <a:cubicBezTo>
                  <a:pt x="118216" y="1176926"/>
                  <a:pt x="130484" y="1154702"/>
                  <a:pt x="131493" y="1127593"/>
                </a:cubicBezTo>
                <a:cubicBezTo>
                  <a:pt x="132448" y="1101948"/>
                  <a:pt x="127125" y="1077868"/>
                  <a:pt x="108213" y="1058723"/>
                </a:cubicBezTo>
                <a:cubicBezTo>
                  <a:pt x="97010" y="1047381"/>
                  <a:pt x="85438" y="1036399"/>
                  <a:pt x="74370" y="1024929"/>
                </a:cubicBezTo>
                <a:cubicBezTo>
                  <a:pt x="63868" y="1014043"/>
                  <a:pt x="62267" y="1001475"/>
                  <a:pt x="68137" y="987550"/>
                </a:cubicBezTo>
                <a:cubicBezTo>
                  <a:pt x="74493" y="972473"/>
                  <a:pt x="80703" y="957319"/>
                  <a:pt x="86420" y="941991"/>
                </a:cubicBezTo>
                <a:cubicBezTo>
                  <a:pt x="100218" y="905001"/>
                  <a:pt x="99441" y="866690"/>
                  <a:pt x="97082" y="828037"/>
                </a:cubicBezTo>
                <a:cubicBezTo>
                  <a:pt x="94260" y="781809"/>
                  <a:pt x="76370" y="739899"/>
                  <a:pt x="61782" y="696973"/>
                </a:cubicBezTo>
                <a:cubicBezTo>
                  <a:pt x="45282" y="648419"/>
                  <a:pt x="33285" y="598770"/>
                  <a:pt x="26901" y="547868"/>
                </a:cubicBezTo>
                <a:cubicBezTo>
                  <a:pt x="24054" y="525160"/>
                  <a:pt x="21110" y="502364"/>
                  <a:pt x="20221" y="479529"/>
                </a:cubicBezTo>
                <a:cubicBezTo>
                  <a:pt x="18293" y="430013"/>
                  <a:pt x="26126" y="381610"/>
                  <a:pt x="40808" y="334388"/>
                </a:cubicBezTo>
                <a:cubicBezTo>
                  <a:pt x="48208" y="310588"/>
                  <a:pt x="55162" y="286441"/>
                  <a:pt x="65171" y="263707"/>
                </a:cubicBezTo>
                <a:cubicBezTo>
                  <a:pt x="81946" y="225606"/>
                  <a:pt x="106517" y="193071"/>
                  <a:pt x="142827" y="171003"/>
                </a:cubicBezTo>
                <a:cubicBezTo>
                  <a:pt x="152238" y="165283"/>
                  <a:pt x="162401" y="160787"/>
                  <a:pt x="172290" y="155872"/>
                </a:cubicBezTo>
                <a:cubicBezTo>
                  <a:pt x="177784" y="153142"/>
                  <a:pt x="183393" y="150635"/>
                  <a:pt x="189008" y="148158"/>
                </a:cubicBezTo>
                <a:cubicBezTo>
                  <a:pt x="199487" y="143534"/>
                  <a:pt x="207598" y="136426"/>
                  <a:pt x="212828" y="126123"/>
                </a:cubicBezTo>
                <a:cubicBezTo>
                  <a:pt x="214121" y="123575"/>
                  <a:pt x="215966" y="121304"/>
                  <a:pt x="217217" y="118740"/>
                </a:cubicBezTo>
                <a:cubicBezTo>
                  <a:pt x="224688" y="103433"/>
                  <a:pt x="237053" y="93440"/>
                  <a:pt x="253000" y="88998"/>
                </a:cubicBezTo>
                <a:cubicBezTo>
                  <a:pt x="275818" y="82642"/>
                  <a:pt x="299033" y="77711"/>
                  <a:pt x="322085" y="72193"/>
                </a:cubicBezTo>
                <a:cubicBezTo>
                  <a:pt x="324867" y="71527"/>
                  <a:pt x="327694" y="71045"/>
                  <a:pt x="330478" y="70387"/>
                </a:cubicBezTo>
                <a:cubicBezTo>
                  <a:pt x="364731" y="62297"/>
                  <a:pt x="364569" y="62151"/>
                  <a:pt x="388016" y="35457"/>
                </a:cubicBezTo>
                <a:cubicBezTo>
                  <a:pt x="398189" y="23875"/>
                  <a:pt x="409180" y="13010"/>
                  <a:pt x="421527" y="0"/>
                </a:cubicBezTo>
                <a:cubicBezTo>
                  <a:pt x="423000" y="5190"/>
                  <a:pt x="424219" y="7961"/>
                  <a:pt x="424538" y="10833"/>
                </a:cubicBezTo>
                <a:cubicBezTo>
                  <a:pt x="428638" y="47817"/>
                  <a:pt x="433030" y="84779"/>
                  <a:pt x="436339" y="121836"/>
                </a:cubicBezTo>
                <a:cubicBezTo>
                  <a:pt x="437236" y="131893"/>
                  <a:pt x="441545" y="137271"/>
                  <a:pt x="449983" y="141450"/>
                </a:cubicBezTo>
                <a:cubicBezTo>
                  <a:pt x="467954" y="150348"/>
                  <a:pt x="486187" y="158915"/>
                  <a:pt x="503299" y="169290"/>
                </a:cubicBezTo>
                <a:cubicBezTo>
                  <a:pt x="520041" y="179441"/>
                  <a:pt x="535883" y="191197"/>
                  <a:pt x="551461" y="203111"/>
                </a:cubicBezTo>
                <a:cubicBezTo>
                  <a:pt x="568416" y="216079"/>
                  <a:pt x="579195" y="234146"/>
                  <a:pt x="588803" y="252797"/>
                </a:cubicBezTo>
                <a:cubicBezTo>
                  <a:pt x="602134" y="278677"/>
                  <a:pt x="616556" y="303835"/>
                  <a:pt x="634209" y="327081"/>
                </a:cubicBezTo>
                <a:cubicBezTo>
                  <a:pt x="651797" y="350241"/>
                  <a:pt x="673980" y="368103"/>
                  <a:pt x="697923" y="384157"/>
                </a:cubicBezTo>
                <a:cubicBezTo>
                  <a:pt x="708787" y="391441"/>
                  <a:pt x="719007" y="399678"/>
                  <a:pt x="729658" y="407288"/>
                </a:cubicBezTo>
                <a:cubicBezTo>
                  <a:pt x="751657" y="423004"/>
                  <a:pt x="761259" y="445265"/>
                  <a:pt x="763354" y="471325"/>
                </a:cubicBezTo>
                <a:cubicBezTo>
                  <a:pt x="764877" y="490275"/>
                  <a:pt x="762919" y="509064"/>
                  <a:pt x="757092" y="527116"/>
                </a:cubicBezTo>
                <a:cubicBezTo>
                  <a:pt x="750932" y="546198"/>
                  <a:pt x="738296" y="560266"/>
                  <a:pt x="720673" y="570023"/>
                </a:cubicBezTo>
                <a:cubicBezTo>
                  <a:pt x="715048" y="573138"/>
                  <a:pt x="709487" y="576825"/>
                  <a:pt x="704918" y="581294"/>
                </a:cubicBezTo>
                <a:cubicBezTo>
                  <a:pt x="695625" y="590383"/>
                  <a:pt x="684728" y="595697"/>
                  <a:pt x="671960" y="595325"/>
                </a:cubicBezTo>
                <a:cubicBezTo>
                  <a:pt x="658939" y="594945"/>
                  <a:pt x="645743" y="594018"/>
                  <a:pt x="633021" y="591397"/>
                </a:cubicBezTo>
                <a:cubicBezTo>
                  <a:pt x="611233" y="586907"/>
                  <a:pt x="595034" y="572939"/>
                  <a:pt x="580696" y="556742"/>
                </a:cubicBezTo>
                <a:cubicBezTo>
                  <a:pt x="570081" y="544750"/>
                  <a:pt x="559052" y="533306"/>
                  <a:pt x="545415" y="524617"/>
                </a:cubicBezTo>
                <a:cubicBezTo>
                  <a:pt x="537261" y="519422"/>
                  <a:pt x="528551" y="515996"/>
                  <a:pt x="518889" y="516179"/>
                </a:cubicBezTo>
                <a:cubicBezTo>
                  <a:pt x="503357" y="516473"/>
                  <a:pt x="487839" y="517663"/>
                  <a:pt x="472309" y="517812"/>
                </a:cubicBezTo>
                <a:cubicBezTo>
                  <a:pt x="453527" y="517993"/>
                  <a:pt x="434738" y="517514"/>
                  <a:pt x="415953" y="517245"/>
                </a:cubicBezTo>
                <a:cubicBezTo>
                  <a:pt x="411976" y="517189"/>
                  <a:pt x="408003" y="516808"/>
                  <a:pt x="403392" y="516539"/>
                </a:cubicBezTo>
                <a:cubicBezTo>
                  <a:pt x="401207" y="526363"/>
                  <a:pt x="404857" y="534293"/>
                  <a:pt x="407957" y="542045"/>
                </a:cubicBezTo>
                <a:cubicBezTo>
                  <a:pt x="414092" y="557387"/>
                  <a:pt x="423168" y="571042"/>
                  <a:pt x="434134" y="583349"/>
                </a:cubicBezTo>
                <a:cubicBezTo>
                  <a:pt x="464083" y="616959"/>
                  <a:pt x="493980" y="650618"/>
                  <a:pt x="524267" y="683922"/>
                </a:cubicBezTo>
                <a:cubicBezTo>
                  <a:pt x="554818" y="717518"/>
                  <a:pt x="588291" y="748619"/>
                  <a:pt x="614317" y="786085"/>
                </a:cubicBezTo>
                <a:cubicBezTo>
                  <a:pt x="642656" y="826881"/>
                  <a:pt x="663974" y="871159"/>
                  <a:pt x="669590" y="921089"/>
                </a:cubicBezTo>
                <a:cubicBezTo>
                  <a:pt x="674894" y="968240"/>
                  <a:pt x="669774" y="1014226"/>
                  <a:pt x="647360" y="1057245"/>
                </a:cubicBezTo>
                <a:cubicBezTo>
                  <a:pt x="639830" y="1071697"/>
                  <a:pt x="630533" y="1085565"/>
                  <a:pt x="627872" y="1102111"/>
                </a:cubicBezTo>
                <a:cubicBezTo>
                  <a:pt x="623640" y="1128439"/>
                  <a:pt x="626183" y="1153784"/>
                  <a:pt x="642300" y="1175941"/>
                </a:cubicBezTo>
                <a:cubicBezTo>
                  <a:pt x="650201" y="1186801"/>
                  <a:pt x="659595" y="1196636"/>
                  <a:pt x="668829" y="1206449"/>
                </a:cubicBezTo>
                <a:cubicBezTo>
                  <a:pt x="679770" y="1218075"/>
                  <a:pt x="691267" y="1229177"/>
                  <a:pt x="703087" y="1241174"/>
                </a:cubicBezTo>
                <a:moveTo>
                  <a:pt x="648750" y="562343"/>
                </a:moveTo>
                <a:cubicBezTo>
                  <a:pt x="656729" y="562558"/>
                  <a:pt x="664698" y="567407"/>
                  <a:pt x="674049" y="562834"/>
                </a:cubicBezTo>
                <a:cubicBezTo>
                  <a:pt x="668990" y="558037"/>
                  <a:pt x="664729" y="554259"/>
                  <a:pt x="660781" y="550178"/>
                </a:cubicBezTo>
                <a:cubicBezTo>
                  <a:pt x="656713" y="545973"/>
                  <a:pt x="651493" y="542363"/>
                  <a:pt x="650911" y="534051"/>
                </a:cubicBezTo>
                <a:cubicBezTo>
                  <a:pt x="654940" y="535536"/>
                  <a:pt x="657753" y="536907"/>
                  <a:pt x="660724" y="537605"/>
                </a:cubicBezTo>
                <a:cubicBezTo>
                  <a:pt x="669824" y="539743"/>
                  <a:pt x="678915" y="542853"/>
                  <a:pt x="688133" y="543363"/>
                </a:cubicBezTo>
                <a:cubicBezTo>
                  <a:pt x="712019" y="544686"/>
                  <a:pt x="726964" y="534053"/>
                  <a:pt x="731514" y="510767"/>
                </a:cubicBezTo>
                <a:cubicBezTo>
                  <a:pt x="734296" y="496535"/>
                  <a:pt x="734146" y="481511"/>
                  <a:pt x="733611" y="466905"/>
                </a:cubicBezTo>
                <a:cubicBezTo>
                  <a:pt x="732951" y="448863"/>
                  <a:pt x="723348" y="435653"/>
                  <a:pt x="708076" y="425975"/>
                </a:cubicBezTo>
                <a:cubicBezTo>
                  <a:pt x="694258" y="417218"/>
                  <a:pt x="681056" y="407489"/>
                  <a:pt x="667538" y="398254"/>
                </a:cubicBezTo>
                <a:cubicBezTo>
                  <a:pt x="641278" y="380314"/>
                  <a:pt x="617580" y="359743"/>
                  <a:pt x="601016" y="332127"/>
                </a:cubicBezTo>
                <a:cubicBezTo>
                  <a:pt x="588810" y="311778"/>
                  <a:pt x="576093" y="291645"/>
                  <a:pt x="565354" y="270526"/>
                </a:cubicBezTo>
                <a:cubicBezTo>
                  <a:pt x="548401" y="237186"/>
                  <a:pt x="523821" y="212104"/>
                  <a:pt x="490657" y="195121"/>
                </a:cubicBezTo>
                <a:cubicBezTo>
                  <a:pt x="471346" y="185231"/>
                  <a:pt x="452394" y="174606"/>
                  <a:pt x="432834" y="165243"/>
                </a:cubicBezTo>
                <a:cubicBezTo>
                  <a:pt x="416725" y="157532"/>
                  <a:pt x="408325" y="145526"/>
                  <a:pt x="407594" y="127852"/>
                </a:cubicBezTo>
                <a:cubicBezTo>
                  <a:pt x="406783" y="108242"/>
                  <a:pt x="405935" y="88634"/>
                  <a:pt x="405020" y="69029"/>
                </a:cubicBezTo>
                <a:cubicBezTo>
                  <a:pt x="404882" y="66067"/>
                  <a:pt x="404287" y="63127"/>
                  <a:pt x="403638" y="58130"/>
                </a:cubicBezTo>
                <a:cubicBezTo>
                  <a:pt x="381792" y="82321"/>
                  <a:pt x="361650" y="104820"/>
                  <a:pt x="349776" y="133259"/>
                </a:cubicBezTo>
                <a:cubicBezTo>
                  <a:pt x="345032" y="144621"/>
                  <a:pt x="337822" y="153814"/>
                  <a:pt x="326975" y="159669"/>
                </a:cubicBezTo>
                <a:cubicBezTo>
                  <a:pt x="295461" y="176681"/>
                  <a:pt x="266610" y="197333"/>
                  <a:pt x="240374" y="221714"/>
                </a:cubicBezTo>
                <a:cubicBezTo>
                  <a:pt x="212881" y="247263"/>
                  <a:pt x="188313" y="275340"/>
                  <a:pt x="171637" y="309087"/>
                </a:cubicBezTo>
                <a:cubicBezTo>
                  <a:pt x="139180" y="374765"/>
                  <a:pt x="129692" y="444532"/>
                  <a:pt x="138048" y="516954"/>
                </a:cubicBezTo>
                <a:cubicBezTo>
                  <a:pt x="142936" y="559318"/>
                  <a:pt x="152518" y="600762"/>
                  <a:pt x="163889" y="641780"/>
                </a:cubicBezTo>
                <a:cubicBezTo>
                  <a:pt x="177329" y="690261"/>
                  <a:pt x="191989" y="738413"/>
                  <a:pt x="204800" y="787055"/>
                </a:cubicBezTo>
                <a:cubicBezTo>
                  <a:pt x="218820" y="840287"/>
                  <a:pt x="228587" y="894088"/>
                  <a:pt x="218549" y="949545"/>
                </a:cubicBezTo>
                <a:cubicBezTo>
                  <a:pt x="213279" y="978659"/>
                  <a:pt x="207130" y="1007359"/>
                  <a:pt x="191487" y="1033064"/>
                </a:cubicBezTo>
                <a:cubicBezTo>
                  <a:pt x="190499" y="1034686"/>
                  <a:pt x="190018" y="1036618"/>
                  <a:pt x="188729" y="1039835"/>
                </a:cubicBezTo>
                <a:cubicBezTo>
                  <a:pt x="200470" y="1040170"/>
                  <a:pt x="210952" y="1040298"/>
                  <a:pt x="221417" y="1040799"/>
                </a:cubicBezTo>
                <a:cubicBezTo>
                  <a:pt x="263912" y="1042835"/>
                  <a:pt x="306390" y="1046436"/>
                  <a:pt x="348895" y="1046759"/>
                </a:cubicBezTo>
                <a:cubicBezTo>
                  <a:pt x="414380" y="1047258"/>
                  <a:pt x="479896" y="1046092"/>
                  <a:pt x="545369" y="1044456"/>
                </a:cubicBezTo>
                <a:cubicBezTo>
                  <a:pt x="567764" y="1043897"/>
                  <a:pt x="590066" y="1039744"/>
                  <a:pt x="612424" y="1037365"/>
                </a:cubicBezTo>
                <a:cubicBezTo>
                  <a:pt x="617948" y="1036777"/>
                  <a:pt x="621342" y="1034139"/>
                  <a:pt x="623169" y="1028873"/>
                </a:cubicBezTo>
                <a:cubicBezTo>
                  <a:pt x="630975" y="1006370"/>
                  <a:pt x="637026" y="983472"/>
                  <a:pt x="638508" y="959599"/>
                </a:cubicBezTo>
                <a:cubicBezTo>
                  <a:pt x="641131" y="917363"/>
                  <a:pt x="628970" y="878727"/>
                  <a:pt x="609213" y="842075"/>
                </a:cubicBezTo>
                <a:cubicBezTo>
                  <a:pt x="587874" y="802491"/>
                  <a:pt x="559403" y="768169"/>
                  <a:pt x="529367" y="735065"/>
                </a:cubicBezTo>
                <a:cubicBezTo>
                  <a:pt x="487563" y="688992"/>
                  <a:pt x="445474" y="643176"/>
                  <a:pt x="403792" y="596993"/>
                </a:cubicBezTo>
                <a:cubicBezTo>
                  <a:pt x="380393" y="571066"/>
                  <a:pt x="360083" y="542922"/>
                  <a:pt x="344708" y="511366"/>
                </a:cubicBezTo>
                <a:cubicBezTo>
                  <a:pt x="324385" y="469655"/>
                  <a:pt x="317321" y="425966"/>
                  <a:pt x="324464" y="380084"/>
                </a:cubicBezTo>
                <a:cubicBezTo>
                  <a:pt x="324821" y="377789"/>
                  <a:pt x="326581" y="375713"/>
                  <a:pt x="327688" y="373535"/>
                </a:cubicBezTo>
                <a:cubicBezTo>
                  <a:pt x="328570" y="373570"/>
                  <a:pt x="329452" y="373606"/>
                  <a:pt x="330334" y="373641"/>
                </a:cubicBezTo>
                <a:cubicBezTo>
                  <a:pt x="331649" y="377308"/>
                  <a:pt x="333001" y="380963"/>
                  <a:pt x="334272" y="384645"/>
                </a:cubicBezTo>
                <a:cubicBezTo>
                  <a:pt x="342569" y="408660"/>
                  <a:pt x="351164" y="432573"/>
                  <a:pt x="365260" y="453955"/>
                </a:cubicBezTo>
                <a:cubicBezTo>
                  <a:pt x="375537" y="469544"/>
                  <a:pt x="388811" y="481767"/>
                  <a:pt x="408246" y="483592"/>
                </a:cubicBezTo>
                <a:cubicBezTo>
                  <a:pt x="426928" y="485346"/>
                  <a:pt x="445757" y="486037"/>
                  <a:pt x="464529" y="486187"/>
                </a:cubicBezTo>
                <a:cubicBezTo>
                  <a:pt x="480053" y="486311"/>
                  <a:pt x="495582" y="484792"/>
                  <a:pt x="511119" y="484308"/>
                </a:cubicBezTo>
                <a:cubicBezTo>
                  <a:pt x="532443" y="483644"/>
                  <a:pt x="551690" y="490014"/>
                  <a:pt x="567913" y="503736"/>
                </a:cubicBezTo>
                <a:cubicBezTo>
                  <a:pt x="581642" y="515348"/>
                  <a:pt x="594604" y="527888"/>
                  <a:pt x="607611" y="540326"/>
                </a:cubicBezTo>
                <a:cubicBezTo>
                  <a:pt x="618811" y="551038"/>
                  <a:pt x="631177" y="559300"/>
                  <a:pt x="648750" y="562343"/>
                </a:cubicBezTo>
                <a:moveTo>
                  <a:pt x="462594" y="1369008"/>
                </a:moveTo>
                <a:cubicBezTo>
                  <a:pt x="478517" y="1368137"/>
                  <a:pt x="494449" y="1367429"/>
                  <a:pt x="510357" y="1366345"/>
                </a:cubicBezTo>
                <a:cubicBezTo>
                  <a:pt x="523399" y="1365456"/>
                  <a:pt x="536424" y="1364247"/>
                  <a:pt x="549434" y="1362956"/>
                </a:cubicBezTo>
                <a:cubicBezTo>
                  <a:pt x="577089" y="1360213"/>
                  <a:pt x="604749" y="1357503"/>
                  <a:pt x="632369" y="1354439"/>
                </a:cubicBezTo>
                <a:cubicBezTo>
                  <a:pt x="653805" y="1352062"/>
                  <a:pt x="675183" y="1349170"/>
                  <a:pt x="697252" y="1346424"/>
                </a:cubicBezTo>
                <a:cubicBezTo>
                  <a:pt x="701148" y="1316348"/>
                  <a:pt x="695768" y="1289474"/>
                  <a:pt x="676674" y="1266396"/>
                </a:cubicBezTo>
                <a:cubicBezTo>
                  <a:pt x="667313" y="1255080"/>
                  <a:pt x="656878" y="1244625"/>
                  <a:pt x="646594" y="1234108"/>
                </a:cubicBezTo>
                <a:cubicBezTo>
                  <a:pt x="634298" y="1221533"/>
                  <a:pt x="621353" y="1209623"/>
                  <a:pt x="612063" y="1194382"/>
                </a:cubicBezTo>
                <a:cubicBezTo>
                  <a:pt x="596511" y="1168867"/>
                  <a:pt x="588079" y="1141707"/>
                  <a:pt x="591616" y="1111541"/>
                </a:cubicBezTo>
                <a:cubicBezTo>
                  <a:pt x="592450" y="1104432"/>
                  <a:pt x="593365" y="1097332"/>
                  <a:pt x="594320" y="1089609"/>
                </a:cubicBezTo>
                <a:cubicBezTo>
                  <a:pt x="588294" y="1089609"/>
                  <a:pt x="583452" y="1089392"/>
                  <a:pt x="578634" y="1089642"/>
                </a:cubicBezTo>
                <a:cubicBezTo>
                  <a:pt x="533732" y="1091976"/>
                  <a:pt x="488841" y="1094525"/>
                  <a:pt x="443931" y="1096700"/>
                </a:cubicBezTo>
                <a:cubicBezTo>
                  <a:pt x="430451" y="1097353"/>
                  <a:pt x="416923" y="1097005"/>
                  <a:pt x="403417" y="1097156"/>
                </a:cubicBezTo>
                <a:cubicBezTo>
                  <a:pt x="389337" y="1097313"/>
                  <a:pt x="388961" y="1097850"/>
                  <a:pt x="388348" y="1111502"/>
                </a:cubicBezTo>
                <a:cubicBezTo>
                  <a:pt x="387375" y="1133151"/>
                  <a:pt x="386231" y="1154793"/>
                  <a:pt x="385048" y="1176431"/>
                </a:cubicBezTo>
                <a:cubicBezTo>
                  <a:pt x="382637" y="1220514"/>
                  <a:pt x="380158" y="1264593"/>
                  <a:pt x="377687" y="1308672"/>
                </a:cubicBezTo>
                <a:cubicBezTo>
                  <a:pt x="377458" y="1312751"/>
                  <a:pt x="376852" y="1316821"/>
                  <a:pt x="376823" y="1320897"/>
                </a:cubicBezTo>
                <a:cubicBezTo>
                  <a:pt x="376717" y="1335880"/>
                  <a:pt x="376781" y="1350864"/>
                  <a:pt x="376781" y="1366151"/>
                </a:cubicBezTo>
                <a:cubicBezTo>
                  <a:pt x="404707" y="1370397"/>
                  <a:pt x="432477" y="1369351"/>
                  <a:pt x="462594" y="1369008"/>
                </a:cubicBezTo>
                <a:moveTo>
                  <a:pt x="648494" y="1463981"/>
                </a:moveTo>
                <a:cubicBezTo>
                  <a:pt x="671329" y="1460052"/>
                  <a:pt x="694163" y="1456122"/>
                  <a:pt x="718746" y="1451892"/>
                </a:cubicBezTo>
                <a:cubicBezTo>
                  <a:pt x="716257" y="1439067"/>
                  <a:pt x="714578" y="1427816"/>
                  <a:pt x="711827" y="1416835"/>
                </a:cubicBezTo>
                <a:cubicBezTo>
                  <a:pt x="707611" y="1400009"/>
                  <a:pt x="703502" y="1397423"/>
                  <a:pt x="685812" y="1398502"/>
                </a:cubicBezTo>
                <a:cubicBezTo>
                  <a:pt x="684179" y="1398602"/>
                  <a:pt x="682547" y="1398768"/>
                  <a:pt x="680924" y="1398973"/>
                </a:cubicBezTo>
                <a:cubicBezTo>
                  <a:pt x="653380" y="1402446"/>
                  <a:pt x="625911" y="1406752"/>
                  <a:pt x="598278" y="1409218"/>
                </a:cubicBezTo>
                <a:cubicBezTo>
                  <a:pt x="557171" y="1412886"/>
                  <a:pt x="515983" y="1415946"/>
                  <a:pt x="474765" y="1417945"/>
                </a:cubicBezTo>
                <a:cubicBezTo>
                  <a:pt x="444944" y="1419391"/>
                  <a:pt x="415021" y="1418680"/>
                  <a:pt x="385143" y="1418978"/>
                </a:cubicBezTo>
                <a:cubicBezTo>
                  <a:pt x="382419" y="1419005"/>
                  <a:pt x="379697" y="1419376"/>
                  <a:pt x="376639" y="1419613"/>
                </a:cubicBezTo>
                <a:cubicBezTo>
                  <a:pt x="376639" y="1438152"/>
                  <a:pt x="376639" y="1455909"/>
                  <a:pt x="376639" y="1473939"/>
                </a:cubicBezTo>
                <a:cubicBezTo>
                  <a:pt x="378971" y="1474343"/>
                  <a:pt x="380523" y="1474802"/>
                  <a:pt x="382089" y="1474854"/>
                </a:cubicBezTo>
                <a:cubicBezTo>
                  <a:pt x="404571" y="1475605"/>
                  <a:pt x="427058" y="1476986"/>
                  <a:pt x="449536" y="1476855"/>
                </a:cubicBezTo>
                <a:cubicBezTo>
                  <a:pt x="486344" y="1476639"/>
                  <a:pt x="523207" y="1476480"/>
                  <a:pt x="559930" y="1474307"/>
                </a:cubicBezTo>
                <a:cubicBezTo>
                  <a:pt x="588839" y="1472596"/>
                  <a:pt x="617570" y="1467884"/>
                  <a:pt x="648494" y="1463981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2" name="Free-form: Shape 61">
            <a:extLst>
              <a:ext uri="{FF2B5EF4-FFF2-40B4-BE49-F238E27FC236}">
                <a16:creationId xmlns:a16="http://schemas.microsoft.com/office/drawing/2014/main" id="{78F680F5-28A1-E04F-FB80-B87F0B588598}"/>
              </a:ext>
            </a:extLst>
          </p:cNvPr>
          <p:cNvSpPr/>
          <p:nvPr/>
        </p:nvSpPr>
        <p:spPr>
          <a:xfrm>
            <a:off x="8316116" y="1496150"/>
            <a:ext cx="497702" cy="821885"/>
          </a:xfrm>
          <a:custGeom>
            <a:avLst/>
            <a:gdLst>
              <a:gd name="csX0" fmla="*/ 512604 w 598747"/>
              <a:gd name="csY0" fmla="*/ 503918 h 988745"/>
              <a:gd name="csX1" fmla="*/ 472435 w 598747"/>
              <a:gd name="csY1" fmla="*/ 482196 h 988745"/>
              <a:gd name="csX2" fmla="*/ 432737 w 598747"/>
              <a:gd name="csY2" fmla="*/ 445605 h 988745"/>
              <a:gd name="csX3" fmla="*/ 375943 w 598747"/>
              <a:gd name="csY3" fmla="*/ 426178 h 988745"/>
              <a:gd name="csX4" fmla="*/ 329354 w 598747"/>
              <a:gd name="csY4" fmla="*/ 428057 h 988745"/>
              <a:gd name="csX5" fmla="*/ 273070 w 598747"/>
              <a:gd name="csY5" fmla="*/ 425461 h 988745"/>
              <a:gd name="csX6" fmla="*/ 230084 w 598747"/>
              <a:gd name="csY6" fmla="*/ 395825 h 988745"/>
              <a:gd name="csX7" fmla="*/ 199097 w 598747"/>
              <a:gd name="csY7" fmla="*/ 326515 h 988745"/>
              <a:gd name="csX8" fmla="*/ 195158 w 598747"/>
              <a:gd name="csY8" fmla="*/ 315511 h 988745"/>
              <a:gd name="csX9" fmla="*/ 192512 w 598747"/>
              <a:gd name="csY9" fmla="*/ 315405 h 988745"/>
              <a:gd name="csX10" fmla="*/ 189288 w 598747"/>
              <a:gd name="csY10" fmla="*/ 321954 h 988745"/>
              <a:gd name="csX11" fmla="*/ 209532 w 598747"/>
              <a:gd name="csY11" fmla="*/ 453235 h 988745"/>
              <a:gd name="csX12" fmla="*/ 268616 w 598747"/>
              <a:gd name="csY12" fmla="*/ 538863 h 988745"/>
              <a:gd name="csX13" fmla="*/ 394191 w 598747"/>
              <a:gd name="csY13" fmla="*/ 676935 h 988745"/>
              <a:gd name="csX14" fmla="*/ 474037 w 598747"/>
              <a:gd name="csY14" fmla="*/ 783945 h 988745"/>
              <a:gd name="csX15" fmla="*/ 503332 w 598747"/>
              <a:gd name="csY15" fmla="*/ 901469 h 988745"/>
              <a:gd name="csX16" fmla="*/ 487993 w 598747"/>
              <a:gd name="csY16" fmla="*/ 970743 h 988745"/>
              <a:gd name="csX17" fmla="*/ 477248 w 598747"/>
              <a:gd name="csY17" fmla="*/ 979235 h 988745"/>
              <a:gd name="csX18" fmla="*/ 410194 w 598747"/>
              <a:gd name="csY18" fmla="*/ 986326 h 988745"/>
              <a:gd name="csX19" fmla="*/ 213720 w 598747"/>
              <a:gd name="csY19" fmla="*/ 988629 h 988745"/>
              <a:gd name="csX20" fmla="*/ 86242 w 598747"/>
              <a:gd name="csY20" fmla="*/ 982669 h 988745"/>
              <a:gd name="csX21" fmla="*/ 53553 w 598747"/>
              <a:gd name="csY21" fmla="*/ 981705 h 988745"/>
              <a:gd name="csX22" fmla="*/ 56311 w 598747"/>
              <a:gd name="csY22" fmla="*/ 974933 h 988745"/>
              <a:gd name="csX23" fmla="*/ 83373 w 598747"/>
              <a:gd name="csY23" fmla="*/ 891414 h 988745"/>
              <a:gd name="csX24" fmla="*/ 69625 w 598747"/>
              <a:gd name="csY24" fmla="*/ 728925 h 988745"/>
              <a:gd name="csX25" fmla="*/ 28713 w 598747"/>
              <a:gd name="csY25" fmla="*/ 583650 h 988745"/>
              <a:gd name="csX26" fmla="*/ 2872 w 598747"/>
              <a:gd name="csY26" fmla="*/ 458823 h 988745"/>
              <a:gd name="csX27" fmla="*/ 36461 w 598747"/>
              <a:gd name="csY27" fmla="*/ 250957 h 988745"/>
              <a:gd name="csX28" fmla="*/ 105198 w 598747"/>
              <a:gd name="csY28" fmla="*/ 163584 h 988745"/>
              <a:gd name="csX29" fmla="*/ 191800 w 598747"/>
              <a:gd name="csY29" fmla="*/ 101539 h 988745"/>
              <a:gd name="csX30" fmla="*/ 214600 w 598747"/>
              <a:gd name="csY30" fmla="*/ 75129 h 988745"/>
              <a:gd name="csX31" fmla="*/ 268462 w 598747"/>
              <a:gd name="csY31" fmla="*/ 0 h 988745"/>
              <a:gd name="csX32" fmla="*/ 269844 w 598747"/>
              <a:gd name="csY32" fmla="*/ 10898 h 988745"/>
              <a:gd name="csX33" fmla="*/ 272418 w 598747"/>
              <a:gd name="csY33" fmla="*/ 69722 h 988745"/>
              <a:gd name="csX34" fmla="*/ 297658 w 598747"/>
              <a:gd name="csY34" fmla="*/ 107113 h 988745"/>
              <a:gd name="csX35" fmla="*/ 355481 w 598747"/>
              <a:gd name="csY35" fmla="*/ 136991 h 988745"/>
              <a:gd name="csX36" fmla="*/ 430178 w 598747"/>
              <a:gd name="csY36" fmla="*/ 212396 h 988745"/>
              <a:gd name="csX37" fmla="*/ 465840 w 598747"/>
              <a:gd name="csY37" fmla="*/ 273997 h 988745"/>
              <a:gd name="csX38" fmla="*/ 532362 w 598747"/>
              <a:gd name="csY38" fmla="*/ 340124 h 988745"/>
              <a:gd name="csX39" fmla="*/ 572901 w 598747"/>
              <a:gd name="csY39" fmla="*/ 367845 h 988745"/>
              <a:gd name="csX40" fmla="*/ 598436 w 598747"/>
              <a:gd name="csY40" fmla="*/ 408775 h 988745"/>
              <a:gd name="csX41" fmla="*/ 596339 w 598747"/>
              <a:gd name="csY41" fmla="*/ 452637 h 988745"/>
              <a:gd name="csX42" fmla="*/ 552957 w 598747"/>
              <a:gd name="csY42" fmla="*/ 485233 h 988745"/>
              <a:gd name="csX43" fmla="*/ 525548 w 598747"/>
              <a:gd name="csY43" fmla="*/ 479475 h 988745"/>
              <a:gd name="csX44" fmla="*/ 515736 w 598747"/>
              <a:gd name="csY44" fmla="*/ 475921 h 988745"/>
              <a:gd name="csX45" fmla="*/ 525605 w 598747"/>
              <a:gd name="csY45" fmla="*/ 492048 h 988745"/>
              <a:gd name="csX46" fmla="*/ 538873 w 598747"/>
              <a:gd name="csY46" fmla="*/ 504704 h 988745"/>
              <a:gd name="csX47" fmla="*/ 512604 w 598747"/>
              <a:gd name="csY47" fmla="*/ 503918 h 988745"/>
              <a:gd name="csX48" fmla="*/ 332072 w 598747"/>
              <a:gd name="csY48" fmla="*/ 218143 h 988745"/>
              <a:gd name="csX49" fmla="*/ 334388 w 598747"/>
              <a:gd name="csY49" fmla="*/ 226400 h 988745"/>
              <a:gd name="csX50" fmla="*/ 372370 w 598747"/>
              <a:gd name="csY50" fmla="*/ 254505 h 988745"/>
              <a:gd name="csX51" fmla="*/ 405258 w 598747"/>
              <a:gd name="csY51" fmla="*/ 252089 h 988745"/>
              <a:gd name="csX52" fmla="*/ 409167 w 598747"/>
              <a:gd name="csY52" fmla="*/ 244359 h 988745"/>
              <a:gd name="csX53" fmla="*/ 396364 w 598747"/>
              <a:gd name="csY53" fmla="*/ 219471 h 988745"/>
              <a:gd name="csX54" fmla="*/ 365755 w 598747"/>
              <a:gd name="csY54" fmla="*/ 195821 h 988745"/>
              <a:gd name="csX55" fmla="*/ 333572 w 598747"/>
              <a:gd name="csY55" fmla="*/ 188536 h 988745"/>
              <a:gd name="csX56" fmla="*/ 322931 w 598747"/>
              <a:gd name="csY56" fmla="*/ 190843 h 988745"/>
              <a:gd name="csX57" fmla="*/ 329041 w 598747"/>
              <a:gd name="csY57" fmla="*/ 203001 h 988745"/>
              <a:gd name="csX58" fmla="*/ 332072 w 598747"/>
              <a:gd name="csY58" fmla="*/ 218143 h 98874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</a:cxnLst>
            <a:rect l="l" t="t" r="r" b="b"/>
            <a:pathLst>
              <a:path w="598747" h="988745">
                <a:moveTo>
                  <a:pt x="512604" y="503918"/>
                </a:moveTo>
                <a:cubicBezTo>
                  <a:pt x="496002" y="501170"/>
                  <a:pt x="483635" y="492907"/>
                  <a:pt x="472435" y="482196"/>
                </a:cubicBezTo>
                <a:cubicBezTo>
                  <a:pt x="459429" y="469758"/>
                  <a:pt x="446467" y="457218"/>
                  <a:pt x="432737" y="445605"/>
                </a:cubicBezTo>
                <a:cubicBezTo>
                  <a:pt x="416514" y="431883"/>
                  <a:pt x="397267" y="425513"/>
                  <a:pt x="375943" y="426178"/>
                </a:cubicBezTo>
                <a:cubicBezTo>
                  <a:pt x="360407" y="426662"/>
                  <a:pt x="344877" y="428180"/>
                  <a:pt x="329354" y="428057"/>
                </a:cubicBezTo>
                <a:cubicBezTo>
                  <a:pt x="310581" y="427907"/>
                  <a:pt x="291752" y="427215"/>
                  <a:pt x="273070" y="425461"/>
                </a:cubicBezTo>
                <a:cubicBezTo>
                  <a:pt x="253636" y="423637"/>
                  <a:pt x="240361" y="411413"/>
                  <a:pt x="230084" y="395825"/>
                </a:cubicBezTo>
                <a:cubicBezTo>
                  <a:pt x="215988" y="374443"/>
                  <a:pt x="207393" y="350530"/>
                  <a:pt x="199097" y="326515"/>
                </a:cubicBezTo>
                <a:cubicBezTo>
                  <a:pt x="197825" y="322833"/>
                  <a:pt x="196473" y="319178"/>
                  <a:pt x="195158" y="315511"/>
                </a:cubicBezTo>
                <a:cubicBezTo>
                  <a:pt x="194276" y="315475"/>
                  <a:pt x="193394" y="315440"/>
                  <a:pt x="192512" y="315405"/>
                </a:cubicBezTo>
                <a:cubicBezTo>
                  <a:pt x="191405" y="317583"/>
                  <a:pt x="189646" y="319659"/>
                  <a:pt x="189288" y="321954"/>
                </a:cubicBezTo>
                <a:cubicBezTo>
                  <a:pt x="182145" y="367836"/>
                  <a:pt x="189209" y="411525"/>
                  <a:pt x="209532" y="453235"/>
                </a:cubicBezTo>
                <a:cubicBezTo>
                  <a:pt x="224908" y="484792"/>
                  <a:pt x="245217" y="512936"/>
                  <a:pt x="268616" y="538863"/>
                </a:cubicBezTo>
                <a:cubicBezTo>
                  <a:pt x="310298" y="585046"/>
                  <a:pt x="352387" y="630861"/>
                  <a:pt x="394191" y="676935"/>
                </a:cubicBezTo>
                <a:cubicBezTo>
                  <a:pt x="424227" y="710039"/>
                  <a:pt x="452698" y="744360"/>
                  <a:pt x="474037" y="783945"/>
                </a:cubicBezTo>
                <a:cubicBezTo>
                  <a:pt x="493795" y="820596"/>
                  <a:pt x="505956" y="859233"/>
                  <a:pt x="503332" y="901469"/>
                </a:cubicBezTo>
                <a:cubicBezTo>
                  <a:pt x="501850" y="925342"/>
                  <a:pt x="495799" y="948239"/>
                  <a:pt x="487993" y="970743"/>
                </a:cubicBezTo>
                <a:cubicBezTo>
                  <a:pt x="486166" y="976009"/>
                  <a:pt x="482772" y="978647"/>
                  <a:pt x="477248" y="979235"/>
                </a:cubicBezTo>
                <a:cubicBezTo>
                  <a:pt x="454890" y="981614"/>
                  <a:pt x="432589" y="985767"/>
                  <a:pt x="410194" y="986326"/>
                </a:cubicBezTo>
                <a:cubicBezTo>
                  <a:pt x="344720" y="987961"/>
                  <a:pt x="279205" y="989128"/>
                  <a:pt x="213720" y="988629"/>
                </a:cubicBezTo>
                <a:cubicBezTo>
                  <a:pt x="171215" y="988306"/>
                  <a:pt x="128736" y="984705"/>
                  <a:pt x="86242" y="982669"/>
                </a:cubicBezTo>
                <a:cubicBezTo>
                  <a:pt x="75776" y="982167"/>
                  <a:pt x="65294" y="982040"/>
                  <a:pt x="53553" y="981705"/>
                </a:cubicBezTo>
                <a:cubicBezTo>
                  <a:pt x="54842" y="978488"/>
                  <a:pt x="55323" y="976556"/>
                  <a:pt x="56311" y="974933"/>
                </a:cubicBezTo>
                <a:cubicBezTo>
                  <a:pt x="71955" y="949229"/>
                  <a:pt x="78103" y="920529"/>
                  <a:pt x="83373" y="891414"/>
                </a:cubicBezTo>
                <a:cubicBezTo>
                  <a:pt x="93411" y="835958"/>
                  <a:pt x="83645" y="782156"/>
                  <a:pt x="69625" y="728925"/>
                </a:cubicBezTo>
                <a:cubicBezTo>
                  <a:pt x="56813" y="680283"/>
                  <a:pt x="42153" y="632130"/>
                  <a:pt x="28713" y="583650"/>
                </a:cubicBezTo>
                <a:cubicBezTo>
                  <a:pt x="17342" y="542631"/>
                  <a:pt x="7760" y="501188"/>
                  <a:pt x="2872" y="458823"/>
                </a:cubicBezTo>
                <a:cubicBezTo>
                  <a:pt x="-5484" y="386401"/>
                  <a:pt x="4005" y="316635"/>
                  <a:pt x="36461" y="250957"/>
                </a:cubicBezTo>
                <a:cubicBezTo>
                  <a:pt x="53137" y="217210"/>
                  <a:pt x="77705" y="189133"/>
                  <a:pt x="105198" y="163584"/>
                </a:cubicBezTo>
                <a:cubicBezTo>
                  <a:pt x="131434" y="139203"/>
                  <a:pt x="160285" y="118551"/>
                  <a:pt x="191800" y="101539"/>
                </a:cubicBezTo>
                <a:cubicBezTo>
                  <a:pt x="202646" y="95684"/>
                  <a:pt x="209856" y="86491"/>
                  <a:pt x="214600" y="75129"/>
                </a:cubicBezTo>
                <a:cubicBezTo>
                  <a:pt x="226474" y="46689"/>
                  <a:pt x="246616" y="24191"/>
                  <a:pt x="268462" y="0"/>
                </a:cubicBezTo>
                <a:cubicBezTo>
                  <a:pt x="269111" y="4997"/>
                  <a:pt x="269706" y="7937"/>
                  <a:pt x="269844" y="10898"/>
                </a:cubicBezTo>
                <a:cubicBezTo>
                  <a:pt x="270760" y="30504"/>
                  <a:pt x="271607" y="50112"/>
                  <a:pt x="272418" y="69722"/>
                </a:cubicBezTo>
                <a:cubicBezTo>
                  <a:pt x="273150" y="87396"/>
                  <a:pt x="281549" y="99401"/>
                  <a:pt x="297658" y="107113"/>
                </a:cubicBezTo>
                <a:cubicBezTo>
                  <a:pt x="317218" y="116476"/>
                  <a:pt x="336170" y="127101"/>
                  <a:pt x="355481" y="136991"/>
                </a:cubicBezTo>
                <a:cubicBezTo>
                  <a:pt x="388645" y="153974"/>
                  <a:pt x="413226" y="179056"/>
                  <a:pt x="430178" y="212396"/>
                </a:cubicBezTo>
                <a:cubicBezTo>
                  <a:pt x="440917" y="233515"/>
                  <a:pt x="453634" y="253647"/>
                  <a:pt x="465840" y="273997"/>
                </a:cubicBezTo>
                <a:cubicBezTo>
                  <a:pt x="482404" y="301613"/>
                  <a:pt x="506102" y="322183"/>
                  <a:pt x="532362" y="340124"/>
                </a:cubicBezTo>
                <a:cubicBezTo>
                  <a:pt x="545881" y="349359"/>
                  <a:pt x="559082" y="359088"/>
                  <a:pt x="572901" y="367845"/>
                </a:cubicBezTo>
                <a:cubicBezTo>
                  <a:pt x="588172" y="377523"/>
                  <a:pt x="597775" y="390733"/>
                  <a:pt x="598436" y="408775"/>
                </a:cubicBezTo>
                <a:cubicBezTo>
                  <a:pt x="598970" y="423381"/>
                  <a:pt x="599120" y="438404"/>
                  <a:pt x="596339" y="452637"/>
                </a:cubicBezTo>
                <a:cubicBezTo>
                  <a:pt x="591789" y="475923"/>
                  <a:pt x="576843" y="486555"/>
                  <a:pt x="552957" y="485233"/>
                </a:cubicBezTo>
                <a:cubicBezTo>
                  <a:pt x="543740" y="484722"/>
                  <a:pt x="534648" y="481613"/>
                  <a:pt x="525548" y="479475"/>
                </a:cubicBezTo>
                <a:cubicBezTo>
                  <a:pt x="522577" y="478776"/>
                  <a:pt x="519764" y="477405"/>
                  <a:pt x="515736" y="475921"/>
                </a:cubicBezTo>
                <a:cubicBezTo>
                  <a:pt x="516318" y="484233"/>
                  <a:pt x="521537" y="487842"/>
                  <a:pt x="525605" y="492048"/>
                </a:cubicBezTo>
                <a:cubicBezTo>
                  <a:pt x="529554" y="496129"/>
                  <a:pt x="533815" y="499907"/>
                  <a:pt x="538873" y="504704"/>
                </a:cubicBezTo>
                <a:cubicBezTo>
                  <a:pt x="529522" y="509277"/>
                  <a:pt x="521553" y="504428"/>
                  <a:pt x="512604" y="503918"/>
                </a:cubicBezTo>
                <a:moveTo>
                  <a:pt x="332072" y="218143"/>
                </a:moveTo>
                <a:cubicBezTo>
                  <a:pt x="332837" y="220898"/>
                  <a:pt x="333478" y="223695"/>
                  <a:pt x="334388" y="226400"/>
                </a:cubicBezTo>
                <a:cubicBezTo>
                  <a:pt x="341073" y="246268"/>
                  <a:pt x="351614" y="254460"/>
                  <a:pt x="372370" y="254505"/>
                </a:cubicBezTo>
                <a:cubicBezTo>
                  <a:pt x="383333" y="254529"/>
                  <a:pt x="394312" y="253121"/>
                  <a:pt x="405258" y="252089"/>
                </a:cubicBezTo>
                <a:cubicBezTo>
                  <a:pt x="409961" y="251646"/>
                  <a:pt x="411340" y="248568"/>
                  <a:pt x="409167" y="244359"/>
                </a:cubicBezTo>
                <a:cubicBezTo>
                  <a:pt x="404885" y="236068"/>
                  <a:pt x="400139" y="227985"/>
                  <a:pt x="396364" y="219471"/>
                </a:cubicBezTo>
                <a:cubicBezTo>
                  <a:pt x="390350" y="205908"/>
                  <a:pt x="379963" y="198663"/>
                  <a:pt x="365755" y="195821"/>
                </a:cubicBezTo>
                <a:cubicBezTo>
                  <a:pt x="354973" y="193665"/>
                  <a:pt x="344291" y="191003"/>
                  <a:pt x="333572" y="188536"/>
                </a:cubicBezTo>
                <a:cubicBezTo>
                  <a:pt x="329511" y="187602"/>
                  <a:pt x="325579" y="187007"/>
                  <a:pt x="322931" y="190843"/>
                </a:cubicBezTo>
                <a:cubicBezTo>
                  <a:pt x="325138" y="195129"/>
                  <a:pt x="327613" y="198884"/>
                  <a:pt x="329041" y="203001"/>
                </a:cubicBezTo>
                <a:cubicBezTo>
                  <a:pt x="330500" y="207204"/>
                  <a:pt x="330929" y="211764"/>
                  <a:pt x="332072" y="218143"/>
                </a:cubicBezTo>
                <a:close/>
              </a:path>
            </a:pathLst>
          </a:custGeom>
          <a:solidFill>
            <a:srgbClr val="FEFEFE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3" name="Free-form: Shape 62">
            <a:extLst>
              <a:ext uri="{FF2B5EF4-FFF2-40B4-BE49-F238E27FC236}">
                <a16:creationId xmlns:a16="http://schemas.microsoft.com/office/drawing/2014/main" id="{A1BF0C4D-6F91-3EEC-091D-E21A223F0EB2}"/>
              </a:ext>
            </a:extLst>
          </p:cNvPr>
          <p:cNvSpPr/>
          <p:nvPr/>
        </p:nvSpPr>
        <p:spPr>
          <a:xfrm>
            <a:off x="8516933" y="2353485"/>
            <a:ext cx="267393" cy="232628"/>
          </a:xfrm>
          <a:custGeom>
            <a:avLst/>
            <a:gdLst>
              <a:gd name="csX0" fmla="*/ 84645 w 321679"/>
              <a:gd name="csY0" fmla="*/ 279507 h 279857"/>
              <a:gd name="csX1" fmla="*/ 19 w 321679"/>
              <a:gd name="csY1" fmla="*/ 276629 h 279857"/>
              <a:gd name="csX2" fmla="*/ 61 w 321679"/>
              <a:gd name="csY2" fmla="*/ 231376 h 279857"/>
              <a:gd name="csX3" fmla="*/ 925 w 321679"/>
              <a:gd name="csY3" fmla="*/ 219150 h 279857"/>
              <a:gd name="csX4" fmla="*/ 8286 w 321679"/>
              <a:gd name="csY4" fmla="*/ 86910 h 279857"/>
              <a:gd name="csX5" fmla="*/ 11586 w 321679"/>
              <a:gd name="csY5" fmla="*/ 21981 h 279857"/>
              <a:gd name="csX6" fmla="*/ 26655 w 321679"/>
              <a:gd name="csY6" fmla="*/ 7635 h 279857"/>
              <a:gd name="csX7" fmla="*/ 67169 w 321679"/>
              <a:gd name="csY7" fmla="*/ 7178 h 279857"/>
              <a:gd name="csX8" fmla="*/ 201872 w 321679"/>
              <a:gd name="csY8" fmla="*/ 121 h 279857"/>
              <a:gd name="csX9" fmla="*/ 217558 w 321679"/>
              <a:gd name="csY9" fmla="*/ 87 h 279857"/>
              <a:gd name="csX10" fmla="*/ 214854 w 321679"/>
              <a:gd name="csY10" fmla="*/ 22019 h 279857"/>
              <a:gd name="csX11" fmla="*/ 235301 w 321679"/>
              <a:gd name="csY11" fmla="*/ 104861 h 279857"/>
              <a:gd name="csX12" fmla="*/ 269832 w 321679"/>
              <a:gd name="csY12" fmla="*/ 144587 h 279857"/>
              <a:gd name="csX13" fmla="*/ 299912 w 321679"/>
              <a:gd name="csY13" fmla="*/ 176874 h 279857"/>
              <a:gd name="csX14" fmla="*/ 320491 w 321679"/>
              <a:gd name="csY14" fmla="*/ 256903 h 279857"/>
              <a:gd name="csX15" fmla="*/ 255607 w 321679"/>
              <a:gd name="csY15" fmla="*/ 264918 h 279857"/>
              <a:gd name="csX16" fmla="*/ 172672 w 321679"/>
              <a:gd name="csY16" fmla="*/ 273435 h 279857"/>
              <a:gd name="csX17" fmla="*/ 133595 w 321679"/>
              <a:gd name="csY17" fmla="*/ 276823 h 279857"/>
              <a:gd name="csX18" fmla="*/ 84645 w 321679"/>
              <a:gd name="csY18" fmla="*/ 279507 h 27985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</a:cxnLst>
            <a:rect l="l" t="t" r="r" b="b"/>
            <a:pathLst>
              <a:path w="321679" h="279857">
                <a:moveTo>
                  <a:pt x="84645" y="279507"/>
                </a:moveTo>
                <a:cubicBezTo>
                  <a:pt x="55716" y="279830"/>
                  <a:pt x="27945" y="280875"/>
                  <a:pt x="19" y="276629"/>
                </a:cubicBezTo>
                <a:cubicBezTo>
                  <a:pt x="19" y="261343"/>
                  <a:pt x="-45" y="246359"/>
                  <a:pt x="61" y="231376"/>
                </a:cubicBezTo>
                <a:cubicBezTo>
                  <a:pt x="90" y="227299"/>
                  <a:pt x="696" y="223229"/>
                  <a:pt x="925" y="219150"/>
                </a:cubicBezTo>
                <a:cubicBezTo>
                  <a:pt x="3396" y="175071"/>
                  <a:pt x="5876" y="130992"/>
                  <a:pt x="8286" y="86910"/>
                </a:cubicBezTo>
                <a:cubicBezTo>
                  <a:pt x="9469" y="65271"/>
                  <a:pt x="10613" y="43630"/>
                  <a:pt x="11586" y="21981"/>
                </a:cubicBezTo>
                <a:cubicBezTo>
                  <a:pt x="12199" y="8328"/>
                  <a:pt x="12576" y="7792"/>
                  <a:pt x="26655" y="7635"/>
                </a:cubicBezTo>
                <a:cubicBezTo>
                  <a:pt x="40161" y="7484"/>
                  <a:pt x="53689" y="7831"/>
                  <a:pt x="67169" y="7178"/>
                </a:cubicBezTo>
                <a:cubicBezTo>
                  <a:pt x="112079" y="5004"/>
                  <a:pt x="156970" y="2455"/>
                  <a:pt x="201872" y="121"/>
                </a:cubicBezTo>
                <a:cubicBezTo>
                  <a:pt x="206690" y="-130"/>
                  <a:pt x="211533" y="87"/>
                  <a:pt x="217558" y="87"/>
                </a:cubicBezTo>
                <a:cubicBezTo>
                  <a:pt x="216603" y="7811"/>
                  <a:pt x="215688" y="14910"/>
                  <a:pt x="214854" y="22019"/>
                </a:cubicBezTo>
                <a:cubicBezTo>
                  <a:pt x="211318" y="52185"/>
                  <a:pt x="219749" y="79345"/>
                  <a:pt x="235301" y="104861"/>
                </a:cubicBezTo>
                <a:cubicBezTo>
                  <a:pt x="244591" y="120102"/>
                  <a:pt x="257536" y="132012"/>
                  <a:pt x="269832" y="144587"/>
                </a:cubicBezTo>
                <a:cubicBezTo>
                  <a:pt x="280116" y="155103"/>
                  <a:pt x="290551" y="165559"/>
                  <a:pt x="299912" y="176874"/>
                </a:cubicBezTo>
                <a:cubicBezTo>
                  <a:pt x="319006" y="199953"/>
                  <a:pt x="324386" y="226827"/>
                  <a:pt x="320491" y="256903"/>
                </a:cubicBezTo>
                <a:cubicBezTo>
                  <a:pt x="298421" y="259649"/>
                  <a:pt x="277043" y="262541"/>
                  <a:pt x="255607" y="264918"/>
                </a:cubicBezTo>
                <a:cubicBezTo>
                  <a:pt x="227987" y="267981"/>
                  <a:pt x="200327" y="270692"/>
                  <a:pt x="172672" y="273435"/>
                </a:cubicBezTo>
                <a:cubicBezTo>
                  <a:pt x="159662" y="274725"/>
                  <a:pt x="146637" y="275935"/>
                  <a:pt x="133595" y="276823"/>
                </a:cubicBezTo>
                <a:cubicBezTo>
                  <a:pt x="117688" y="277907"/>
                  <a:pt x="101755" y="278616"/>
                  <a:pt x="84645" y="279507"/>
                </a:cubicBezTo>
                <a:close/>
              </a:path>
            </a:pathLst>
          </a:custGeom>
          <a:solidFill>
            <a:srgbClr val="FDFEFE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4" name="Free-form: Shape 63">
            <a:extLst>
              <a:ext uri="{FF2B5EF4-FFF2-40B4-BE49-F238E27FC236}">
                <a16:creationId xmlns:a16="http://schemas.microsoft.com/office/drawing/2014/main" id="{B3CB61A8-BB25-34B6-A86B-1374C82A2D5C}"/>
              </a:ext>
            </a:extLst>
          </p:cNvPr>
          <p:cNvSpPr/>
          <p:nvPr/>
        </p:nvSpPr>
        <p:spPr>
          <a:xfrm>
            <a:off x="8516830" y="2610146"/>
            <a:ext cx="284373" cy="65313"/>
          </a:xfrm>
          <a:custGeom>
            <a:avLst/>
            <a:gdLst>
              <a:gd name="csX0" fmla="*/ 270798 w 342106"/>
              <a:gd name="csY0" fmla="*/ 65953 h 78573"/>
              <a:gd name="csX1" fmla="*/ 183290 w 342106"/>
              <a:gd name="csY1" fmla="*/ 76017 h 78573"/>
              <a:gd name="csX2" fmla="*/ 72897 w 342106"/>
              <a:gd name="csY2" fmla="*/ 78565 h 78573"/>
              <a:gd name="csX3" fmla="*/ 5450 w 342106"/>
              <a:gd name="csY3" fmla="*/ 76564 h 78573"/>
              <a:gd name="csX4" fmla="*/ 0 w 342106"/>
              <a:gd name="csY4" fmla="*/ 75649 h 78573"/>
              <a:gd name="csX5" fmla="*/ 0 w 342106"/>
              <a:gd name="csY5" fmla="*/ 21324 h 78573"/>
              <a:gd name="csX6" fmla="*/ 8504 w 342106"/>
              <a:gd name="csY6" fmla="*/ 20688 h 78573"/>
              <a:gd name="csX7" fmla="*/ 98126 w 342106"/>
              <a:gd name="csY7" fmla="*/ 19655 h 78573"/>
              <a:gd name="csX8" fmla="*/ 221639 w 342106"/>
              <a:gd name="csY8" fmla="*/ 10929 h 78573"/>
              <a:gd name="csX9" fmla="*/ 304285 w 342106"/>
              <a:gd name="csY9" fmla="*/ 683 h 78573"/>
              <a:gd name="csX10" fmla="*/ 309173 w 342106"/>
              <a:gd name="csY10" fmla="*/ 212 h 78573"/>
              <a:gd name="csX11" fmla="*/ 335187 w 342106"/>
              <a:gd name="csY11" fmla="*/ 18545 h 78573"/>
              <a:gd name="csX12" fmla="*/ 342106 w 342106"/>
              <a:gd name="csY12" fmla="*/ 53602 h 78573"/>
              <a:gd name="csX13" fmla="*/ 270798 w 342106"/>
              <a:gd name="csY13" fmla="*/ 65953 h 7857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</a:cxnLst>
            <a:rect l="l" t="t" r="r" b="b"/>
            <a:pathLst>
              <a:path w="342106" h="78573">
                <a:moveTo>
                  <a:pt x="270798" y="65953"/>
                </a:moveTo>
                <a:cubicBezTo>
                  <a:pt x="240931" y="69594"/>
                  <a:pt x="212199" y="74306"/>
                  <a:pt x="183290" y="76017"/>
                </a:cubicBezTo>
                <a:cubicBezTo>
                  <a:pt x="146568" y="78191"/>
                  <a:pt x="109704" y="78349"/>
                  <a:pt x="72897" y="78565"/>
                </a:cubicBezTo>
                <a:cubicBezTo>
                  <a:pt x="50419" y="78697"/>
                  <a:pt x="27931" y="77315"/>
                  <a:pt x="5450" y="76564"/>
                </a:cubicBezTo>
                <a:cubicBezTo>
                  <a:pt x="3884" y="76512"/>
                  <a:pt x="2332" y="76053"/>
                  <a:pt x="0" y="75649"/>
                </a:cubicBezTo>
                <a:cubicBezTo>
                  <a:pt x="0" y="57619"/>
                  <a:pt x="0" y="39863"/>
                  <a:pt x="0" y="21324"/>
                </a:cubicBezTo>
                <a:cubicBezTo>
                  <a:pt x="3058" y="21086"/>
                  <a:pt x="5779" y="20715"/>
                  <a:pt x="8504" y="20688"/>
                </a:cubicBezTo>
                <a:cubicBezTo>
                  <a:pt x="38382" y="20390"/>
                  <a:pt x="68305" y="21101"/>
                  <a:pt x="98126" y="19655"/>
                </a:cubicBezTo>
                <a:cubicBezTo>
                  <a:pt x="139343" y="17657"/>
                  <a:pt x="180532" y="14597"/>
                  <a:pt x="221639" y="10929"/>
                </a:cubicBezTo>
                <a:cubicBezTo>
                  <a:pt x="249272" y="8463"/>
                  <a:pt x="276741" y="4156"/>
                  <a:pt x="304285" y="683"/>
                </a:cubicBezTo>
                <a:cubicBezTo>
                  <a:pt x="305908" y="478"/>
                  <a:pt x="307539" y="312"/>
                  <a:pt x="309173" y="212"/>
                </a:cubicBezTo>
                <a:cubicBezTo>
                  <a:pt x="326863" y="-867"/>
                  <a:pt x="330972" y="1719"/>
                  <a:pt x="335187" y="18545"/>
                </a:cubicBezTo>
                <a:cubicBezTo>
                  <a:pt x="337939" y="29526"/>
                  <a:pt x="339618" y="40777"/>
                  <a:pt x="342106" y="53602"/>
                </a:cubicBezTo>
                <a:cubicBezTo>
                  <a:pt x="317523" y="57833"/>
                  <a:pt x="294689" y="61762"/>
                  <a:pt x="270798" y="65953"/>
                </a:cubicBezTo>
                <a:close/>
              </a:path>
            </a:pathLst>
          </a:custGeom>
          <a:solidFill>
            <a:srgbClr val="FCFCFC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5" name="Free-form: Shape 64">
            <a:extLst>
              <a:ext uri="{FF2B5EF4-FFF2-40B4-BE49-F238E27FC236}">
                <a16:creationId xmlns:a16="http://schemas.microsoft.com/office/drawing/2014/main" id="{3E1FB068-24E9-777A-A683-B320DB04D302}"/>
              </a:ext>
            </a:extLst>
          </p:cNvPr>
          <p:cNvSpPr/>
          <p:nvPr/>
        </p:nvSpPr>
        <p:spPr>
          <a:xfrm>
            <a:off x="8584549" y="1652290"/>
            <a:ext cx="72517" cy="55415"/>
          </a:xfrm>
          <a:custGeom>
            <a:avLst/>
            <a:gdLst>
              <a:gd name="csX0" fmla="*/ 9010 w 87239"/>
              <a:gd name="csY0" fmla="*/ 29316 h 66665"/>
              <a:gd name="csX1" fmla="*/ 6110 w 87239"/>
              <a:gd name="csY1" fmla="*/ 15162 h 66665"/>
              <a:gd name="csX2" fmla="*/ 0 w 87239"/>
              <a:gd name="csY2" fmla="*/ 3003 h 66665"/>
              <a:gd name="csX3" fmla="*/ 10641 w 87239"/>
              <a:gd name="csY3" fmla="*/ 697 h 66665"/>
              <a:gd name="csX4" fmla="*/ 42824 w 87239"/>
              <a:gd name="csY4" fmla="*/ 7981 h 66665"/>
              <a:gd name="csX5" fmla="*/ 73433 w 87239"/>
              <a:gd name="csY5" fmla="*/ 31631 h 66665"/>
              <a:gd name="csX6" fmla="*/ 86236 w 87239"/>
              <a:gd name="csY6" fmla="*/ 56519 h 66665"/>
              <a:gd name="csX7" fmla="*/ 82327 w 87239"/>
              <a:gd name="csY7" fmla="*/ 64249 h 66665"/>
              <a:gd name="csX8" fmla="*/ 49439 w 87239"/>
              <a:gd name="csY8" fmla="*/ 66665 h 66665"/>
              <a:gd name="csX9" fmla="*/ 11457 w 87239"/>
              <a:gd name="csY9" fmla="*/ 38560 h 66665"/>
              <a:gd name="csX10" fmla="*/ 9010 w 87239"/>
              <a:gd name="csY10" fmla="*/ 29316 h 6666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</a:cxnLst>
            <a:rect l="l" t="t" r="r" b="b"/>
            <a:pathLst>
              <a:path w="87239" h="66665">
                <a:moveTo>
                  <a:pt x="9010" y="29316"/>
                </a:moveTo>
                <a:cubicBezTo>
                  <a:pt x="7998" y="23924"/>
                  <a:pt x="7568" y="19365"/>
                  <a:pt x="6110" y="15162"/>
                </a:cubicBezTo>
                <a:cubicBezTo>
                  <a:pt x="4682" y="11044"/>
                  <a:pt x="2207" y="7289"/>
                  <a:pt x="0" y="3003"/>
                </a:cubicBezTo>
                <a:cubicBezTo>
                  <a:pt x="2648" y="-833"/>
                  <a:pt x="6580" y="-238"/>
                  <a:pt x="10641" y="697"/>
                </a:cubicBezTo>
                <a:cubicBezTo>
                  <a:pt x="21360" y="3163"/>
                  <a:pt x="32042" y="5825"/>
                  <a:pt x="42824" y="7981"/>
                </a:cubicBezTo>
                <a:cubicBezTo>
                  <a:pt x="57032" y="10823"/>
                  <a:pt x="67419" y="18068"/>
                  <a:pt x="73433" y="31631"/>
                </a:cubicBezTo>
                <a:cubicBezTo>
                  <a:pt x="77208" y="40146"/>
                  <a:pt x="81954" y="48228"/>
                  <a:pt x="86236" y="56519"/>
                </a:cubicBezTo>
                <a:cubicBezTo>
                  <a:pt x="88409" y="60728"/>
                  <a:pt x="87030" y="63806"/>
                  <a:pt x="82327" y="64249"/>
                </a:cubicBezTo>
                <a:cubicBezTo>
                  <a:pt x="71381" y="65282"/>
                  <a:pt x="60402" y="66689"/>
                  <a:pt x="49439" y="66665"/>
                </a:cubicBezTo>
                <a:cubicBezTo>
                  <a:pt x="28683" y="66620"/>
                  <a:pt x="18142" y="58428"/>
                  <a:pt x="11457" y="38560"/>
                </a:cubicBezTo>
                <a:cubicBezTo>
                  <a:pt x="10547" y="35855"/>
                  <a:pt x="9906" y="33058"/>
                  <a:pt x="9010" y="29316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6" name="Freccia in giù 40">
            <a:extLst>
              <a:ext uri="{FF2B5EF4-FFF2-40B4-BE49-F238E27FC236}">
                <a16:creationId xmlns:a16="http://schemas.microsoft.com/office/drawing/2014/main" id="{10FAC630-91A6-3C1A-BD2A-8060B95B240D}"/>
              </a:ext>
            </a:extLst>
          </p:cNvPr>
          <p:cNvSpPr/>
          <p:nvPr/>
        </p:nvSpPr>
        <p:spPr>
          <a:xfrm rot="16200000">
            <a:off x="9371903" y="2114091"/>
            <a:ext cx="291295" cy="392889"/>
          </a:xfrm>
          <a:prstGeom prst="downArrow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73779F5A-13CD-BBA4-050C-2E3A0D028BB1}"/>
              </a:ext>
            </a:extLst>
          </p:cNvPr>
          <p:cNvSpPr txBox="1"/>
          <p:nvPr/>
        </p:nvSpPr>
        <p:spPr>
          <a:xfrm>
            <a:off x="9604104" y="2855834"/>
            <a:ext cx="1710704" cy="3927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AR-T</a:t>
            </a:r>
          </a:p>
        </p:txBody>
      </p:sp>
      <p:sp>
        <p:nvSpPr>
          <p:cNvPr id="68" name="Oval 67">
            <a:extLst>
              <a:ext uri="{FF2B5EF4-FFF2-40B4-BE49-F238E27FC236}">
                <a16:creationId xmlns:a16="http://schemas.microsoft.com/office/drawing/2014/main" id="{21416552-EE83-B910-AA7A-0615F4031698}"/>
              </a:ext>
            </a:extLst>
          </p:cNvPr>
          <p:cNvSpPr/>
          <p:nvPr/>
        </p:nvSpPr>
        <p:spPr>
          <a:xfrm>
            <a:off x="10056514" y="2626810"/>
            <a:ext cx="739960" cy="152189"/>
          </a:xfrm>
          <a:prstGeom prst="ellipse">
            <a:avLst/>
          </a:prstGeom>
          <a:solidFill>
            <a:schemeClr val="tx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9" name="Free-form: Shape 68">
            <a:extLst>
              <a:ext uri="{FF2B5EF4-FFF2-40B4-BE49-F238E27FC236}">
                <a16:creationId xmlns:a16="http://schemas.microsoft.com/office/drawing/2014/main" id="{F6243EED-89DD-5541-3419-8CA83F4825DD}"/>
              </a:ext>
            </a:extLst>
          </p:cNvPr>
          <p:cNvSpPr/>
          <p:nvPr/>
        </p:nvSpPr>
        <p:spPr>
          <a:xfrm>
            <a:off x="10136478" y="1325233"/>
            <a:ext cx="650203" cy="1414846"/>
          </a:xfrm>
          <a:custGeom>
            <a:avLst/>
            <a:gdLst>
              <a:gd name="csX0" fmla="*/ 466852 w 715223"/>
              <a:gd name="csY0" fmla="*/ 229083 h 1556330"/>
              <a:gd name="csX1" fmla="*/ 462328 w 715223"/>
              <a:gd name="csY1" fmla="*/ 242604 h 1556330"/>
              <a:gd name="csX2" fmla="*/ 496944 w 715223"/>
              <a:gd name="csY2" fmla="*/ 204739 h 1556330"/>
              <a:gd name="csX3" fmla="*/ 534359 w 715223"/>
              <a:gd name="csY3" fmla="*/ 270960 h 1556330"/>
              <a:gd name="csX4" fmla="*/ 540589 w 715223"/>
              <a:gd name="csY4" fmla="*/ 445986 h 1556330"/>
              <a:gd name="csX5" fmla="*/ 509727 w 715223"/>
              <a:gd name="csY5" fmla="*/ 496924 h 1556330"/>
              <a:gd name="csX6" fmla="*/ 505366 w 715223"/>
              <a:gd name="csY6" fmla="*/ 511893 h 1556330"/>
              <a:gd name="csX7" fmla="*/ 501982 w 715223"/>
              <a:gd name="csY7" fmla="*/ 530377 h 1556330"/>
              <a:gd name="csX8" fmla="*/ 505678 w 715223"/>
              <a:gd name="csY8" fmla="*/ 556455 h 1556330"/>
              <a:gd name="csX9" fmla="*/ 526115 w 715223"/>
              <a:gd name="csY9" fmla="*/ 591784 h 1556330"/>
              <a:gd name="csX10" fmla="*/ 541579 w 715223"/>
              <a:gd name="csY10" fmla="*/ 612264 h 1556330"/>
              <a:gd name="csX11" fmla="*/ 569572 w 715223"/>
              <a:gd name="csY11" fmla="*/ 643441 h 1556330"/>
              <a:gd name="csX12" fmla="*/ 555234 w 715223"/>
              <a:gd name="csY12" fmla="*/ 688473 h 1556330"/>
              <a:gd name="csX13" fmla="*/ 513278 w 715223"/>
              <a:gd name="csY13" fmla="*/ 700556 h 1556330"/>
              <a:gd name="csX14" fmla="*/ 488559 w 715223"/>
              <a:gd name="csY14" fmla="*/ 702821 h 1556330"/>
              <a:gd name="csX15" fmla="*/ 488544 w 715223"/>
              <a:gd name="csY15" fmla="*/ 718085 h 1556330"/>
              <a:gd name="csX16" fmla="*/ 526561 w 715223"/>
              <a:gd name="csY16" fmla="*/ 1010212 h 1556330"/>
              <a:gd name="csX17" fmla="*/ 569986 w 715223"/>
              <a:gd name="csY17" fmla="*/ 1153317 h 1556330"/>
              <a:gd name="csX18" fmla="*/ 587389 w 715223"/>
              <a:gd name="csY18" fmla="*/ 1172173 h 1556330"/>
              <a:gd name="csX19" fmla="*/ 606286 w 715223"/>
              <a:gd name="csY19" fmla="*/ 1180891 h 1556330"/>
              <a:gd name="csX20" fmla="*/ 613400 w 715223"/>
              <a:gd name="csY20" fmla="*/ 1204260 h 1556330"/>
              <a:gd name="csX21" fmla="*/ 605350 w 715223"/>
              <a:gd name="csY21" fmla="*/ 1216760 h 1556330"/>
              <a:gd name="csX22" fmla="*/ 600268 w 715223"/>
              <a:gd name="csY22" fmla="*/ 1220273 h 1556330"/>
              <a:gd name="csX23" fmla="*/ 610574 w 715223"/>
              <a:gd name="csY23" fmla="*/ 1258750 h 1556330"/>
              <a:gd name="csX24" fmla="*/ 672371 w 715223"/>
              <a:gd name="csY24" fmla="*/ 1319810 h 1556330"/>
              <a:gd name="csX25" fmla="*/ 675494 w 715223"/>
              <a:gd name="csY25" fmla="*/ 1323366 h 1556330"/>
              <a:gd name="csX26" fmla="*/ 692949 w 715223"/>
              <a:gd name="csY26" fmla="*/ 1396068 h 1556330"/>
              <a:gd name="csX27" fmla="*/ 690628 w 715223"/>
              <a:gd name="csY27" fmla="*/ 1414117 h 1556330"/>
              <a:gd name="csX28" fmla="*/ 695588 w 715223"/>
              <a:gd name="csY28" fmla="*/ 1421035 h 1556330"/>
              <a:gd name="csX29" fmla="*/ 694353 w 715223"/>
              <a:gd name="csY29" fmla="*/ 1425190 h 1556330"/>
              <a:gd name="csX30" fmla="*/ 689106 w 715223"/>
              <a:gd name="csY30" fmla="*/ 1428714 h 1556330"/>
              <a:gd name="csX31" fmla="*/ 695093 w 715223"/>
              <a:gd name="csY31" fmla="*/ 1428433 h 1556330"/>
              <a:gd name="csX32" fmla="*/ 697643 w 715223"/>
              <a:gd name="csY32" fmla="*/ 1432864 h 1556330"/>
              <a:gd name="csX33" fmla="*/ 698207 w 715223"/>
              <a:gd name="csY33" fmla="*/ 1441988 h 1556330"/>
              <a:gd name="csX34" fmla="*/ 715183 w 715223"/>
              <a:gd name="csY34" fmla="*/ 1508752 h 1556330"/>
              <a:gd name="csX35" fmla="*/ 701540 w 715223"/>
              <a:gd name="csY35" fmla="*/ 1526524 h 1556330"/>
              <a:gd name="csX36" fmla="*/ 581715 w 715223"/>
              <a:gd name="csY36" fmla="*/ 1548559 h 1556330"/>
              <a:gd name="csX37" fmla="*/ 522168 w 715223"/>
              <a:gd name="csY37" fmla="*/ 1553543 h 1556330"/>
              <a:gd name="csX38" fmla="*/ 450008 w 715223"/>
              <a:gd name="csY38" fmla="*/ 1556019 h 1556330"/>
              <a:gd name="csX39" fmla="*/ 245169 w 715223"/>
              <a:gd name="csY39" fmla="*/ 1553749 h 1556330"/>
              <a:gd name="csX40" fmla="*/ 221854 w 715223"/>
              <a:gd name="csY40" fmla="*/ 1553306 h 1556330"/>
              <a:gd name="csX41" fmla="*/ 168405 w 715223"/>
              <a:gd name="csY41" fmla="*/ 1548828 h 1556330"/>
              <a:gd name="csX42" fmla="*/ 126970 w 715223"/>
              <a:gd name="csY42" fmla="*/ 1546091 h 1556330"/>
              <a:gd name="csX43" fmla="*/ 104053 w 715223"/>
              <a:gd name="csY43" fmla="*/ 1542912 h 1556330"/>
              <a:gd name="csX44" fmla="*/ 65625 w 715223"/>
              <a:gd name="csY44" fmla="*/ 1536401 h 1556330"/>
              <a:gd name="csX45" fmla="*/ 10909 w 715223"/>
              <a:gd name="csY45" fmla="*/ 1524010 h 1556330"/>
              <a:gd name="csX46" fmla="*/ 8 w 715223"/>
              <a:gd name="csY46" fmla="*/ 1509263 h 1556330"/>
              <a:gd name="csX47" fmla="*/ 21158 w 715223"/>
              <a:gd name="csY47" fmla="*/ 1433611 h 1556330"/>
              <a:gd name="csX48" fmla="*/ 23462 w 715223"/>
              <a:gd name="csY48" fmla="*/ 1418658 h 1556330"/>
              <a:gd name="csX49" fmla="*/ 19643 w 715223"/>
              <a:gd name="csY49" fmla="*/ 1382324 h 1556330"/>
              <a:gd name="csX50" fmla="*/ 49060 w 715223"/>
              <a:gd name="csY50" fmla="*/ 1311832 h 1556330"/>
              <a:gd name="csX51" fmla="*/ 109176 w 715223"/>
              <a:gd name="csY51" fmla="*/ 1254078 h 1556330"/>
              <a:gd name="csX52" fmla="*/ 118319 w 715223"/>
              <a:gd name="csY52" fmla="*/ 1214801 h 1556330"/>
              <a:gd name="csX53" fmla="*/ 113082 w 715223"/>
              <a:gd name="csY53" fmla="*/ 1201084 h 1556330"/>
              <a:gd name="csX54" fmla="*/ 120417 w 715223"/>
              <a:gd name="csY54" fmla="*/ 1183950 h 1556330"/>
              <a:gd name="csX55" fmla="*/ 135209 w 715223"/>
              <a:gd name="csY55" fmla="*/ 1178138 h 1556330"/>
              <a:gd name="csX56" fmla="*/ 156535 w 715223"/>
              <a:gd name="csY56" fmla="*/ 1156396 h 1556330"/>
              <a:gd name="csX57" fmla="*/ 185647 w 715223"/>
              <a:gd name="csY57" fmla="*/ 1061682 h 1556330"/>
              <a:gd name="csX58" fmla="*/ 201074 w 715223"/>
              <a:gd name="csY58" fmla="*/ 1005093 h 1556330"/>
              <a:gd name="csX59" fmla="*/ 213864 w 715223"/>
              <a:gd name="csY59" fmla="*/ 943040 h 1556330"/>
              <a:gd name="csX60" fmla="*/ 223580 w 715223"/>
              <a:gd name="csY60" fmla="*/ 884167 h 1556330"/>
              <a:gd name="csX61" fmla="*/ 228827 w 715223"/>
              <a:gd name="csY61" fmla="*/ 839382 h 1556330"/>
              <a:gd name="csX62" fmla="*/ 233251 w 715223"/>
              <a:gd name="csY62" fmla="*/ 794539 h 1556330"/>
              <a:gd name="csX63" fmla="*/ 233413 w 715223"/>
              <a:gd name="csY63" fmla="*/ 708554 h 1556330"/>
              <a:gd name="csX64" fmla="*/ 232253 w 715223"/>
              <a:gd name="csY64" fmla="*/ 699181 h 1556330"/>
              <a:gd name="csX65" fmla="*/ 192775 w 715223"/>
              <a:gd name="csY65" fmla="*/ 693131 h 1556330"/>
              <a:gd name="csX66" fmla="*/ 166222 w 715223"/>
              <a:gd name="csY66" fmla="*/ 684229 h 1556330"/>
              <a:gd name="csX67" fmla="*/ 153485 w 715223"/>
              <a:gd name="csY67" fmla="*/ 649704 h 1556330"/>
              <a:gd name="csX68" fmla="*/ 179302 w 715223"/>
              <a:gd name="csY68" fmla="*/ 621006 h 1556330"/>
              <a:gd name="csX69" fmla="*/ 192182 w 715223"/>
              <a:gd name="csY69" fmla="*/ 601675 h 1556330"/>
              <a:gd name="csX70" fmla="*/ 204894 w 715223"/>
              <a:gd name="csY70" fmla="*/ 583417 h 1556330"/>
              <a:gd name="csX71" fmla="*/ 233213 w 715223"/>
              <a:gd name="csY71" fmla="*/ 564393 h 1556330"/>
              <a:gd name="csX72" fmla="*/ 229725 w 715223"/>
              <a:gd name="csY72" fmla="*/ 538177 h 1556330"/>
              <a:gd name="csX73" fmla="*/ 218771 w 715223"/>
              <a:gd name="csY73" fmla="*/ 532633 h 1556330"/>
              <a:gd name="csX74" fmla="*/ 215183 w 715223"/>
              <a:gd name="csY74" fmla="*/ 521568 h 1556330"/>
              <a:gd name="csX75" fmla="*/ 223368 w 715223"/>
              <a:gd name="csY75" fmla="*/ 508901 h 1556330"/>
              <a:gd name="csX76" fmla="*/ 218372 w 715223"/>
              <a:gd name="csY76" fmla="*/ 498135 h 1556330"/>
              <a:gd name="csX77" fmla="*/ 181440 w 715223"/>
              <a:gd name="csY77" fmla="*/ 432308 h 1556330"/>
              <a:gd name="csX78" fmla="*/ 167535 w 715223"/>
              <a:gd name="csY78" fmla="*/ 349841 h 1556330"/>
              <a:gd name="csX79" fmla="*/ 193488 w 715223"/>
              <a:gd name="csY79" fmla="*/ 262518 h 1556330"/>
              <a:gd name="csX80" fmla="*/ 237748 w 715223"/>
              <a:gd name="csY80" fmla="*/ 190690 h 1556330"/>
              <a:gd name="csX81" fmla="*/ 309459 w 715223"/>
              <a:gd name="csY81" fmla="*/ 102623 h 1556330"/>
              <a:gd name="csX82" fmla="*/ 310459 w 715223"/>
              <a:gd name="csY82" fmla="*/ 78521 h 1556330"/>
              <a:gd name="csX83" fmla="*/ 300267 w 715223"/>
              <a:gd name="csY83" fmla="*/ 57856 h 1556330"/>
              <a:gd name="csX84" fmla="*/ 332242 w 715223"/>
              <a:gd name="csY84" fmla="*/ 4422 h 1556330"/>
              <a:gd name="csX85" fmla="*/ 384904 w 715223"/>
              <a:gd name="csY85" fmla="*/ 5551 h 1556330"/>
              <a:gd name="csX86" fmla="*/ 409773 w 715223"/>
              <a:gd name="csY86" fmla="*/ 26778 h 1556330"/>
              <a:gd name="csX87" fmla="*/ 407026 w 715223"/>
              <a:gd name="csY87" fmla="*/ 46052 h 1556330"/>
              <a:gd name="csX88" fmla="*/ 402771 w 715223"/>
              <a:gd name="csY88" fmla="*/ 30951 h 1556330"/>
              <a:gd name="csX89" fmla="*/ 397038 w 715223"/>
              <a:gd name="csY89" fmla="*/ 30361 h 1556330"/>
              <a:gd name="csX90" fmla="*/ 360694 w 715223"/>
              <a:gd name="csY90" fmla="*/ 22760 h 1556330"/>
              <a:gd name="csX91" fmla="*/ 351669 w 715223"/>
              <a:gd name="csY91" fmla="*/ 31736 h 1556330"/>
              <a:gd name="csX92" fmla="*/ 351426 w 715223"/>
              <a:gd name="csY92" fmla="*/ 43987 h 1556330"/>
              <a:gd name="csX93" fmla="*/ 390968 w 715223"/>
              <a:gd name="csY93" fmla="*/ 68762 h 1556330"/>
              <a:gd name="csX94" fmla="*/ 401770 w 715223"/>
              <a:gd name="csY94" fmla="*/ 59025 h 1556330"/>
              <a:gd name="csX95" fmla="*/ 409619 w 715223"/>
              <a:gd name="csY95" fmla="*/ 55786 h 1556330"/>
              <a:gd name="csX96" fmla="*/ 410427 w 715223"/>
              <a:gd name="csY96" fmla="*/ 64256 h 1556330"/>
              <a:gd name="csX97" fmla="*/ 399453 w 715223"/>
              <a:gd name="csY97" fmla="*/ 81811 h 1556330"/>
              <a:gd name="csX98" fmla="*/ 399346 w 715223"/>
              <a:gd name="csY98" fmla="*/ 98083 h 1556330"/>
              <a:gd name="csX99" fmla="*/ 471592 w 715223"/>
              <a:gd name="csY99" fmla="*/ 180524 h 1556330"/>
              <a:gd name="csX100" fmla="*/ 473550 w 715223"/>
              <a:gd name="csY100" fmla="*/ 200923 h 1556330"/>
              <a:gd name="csX101" fmla="*/ 463677 w 715223"/>
              <a:gd name="csY101" fmla="*/ 223311 h 1556330"/>
              <a:gd name="csX102" fmla="*/ 466852 w 715223"/>
              <a:gd name="csY102" fmla="*/ 229083 h 1556330"/>
              <a:gd name="csX103" fmla="*/ 474186 w 715223"/>
              <a:gd name="csY103" fmla="*/ 928382 h 1556330"/>
              <a:gd name="csX104" fmla="*/ 459927 w 715223"/>
              <a:gd name="csY104" fmla="*/ 817790 h 1556330"/>
              <a:gd name="csX105" fmla="*/ 456025 w 715223"/>
              <a:gd name="csY105" fmla="*/ 706469 h 1556330"/>
              <a:gd name="csX106" fmla="*/ 366863 w 715223"/>
              <a:gd name="csY106" fmla="*/ 710754 h 1556330"/>
              <a:gd name="csX107" fmla="*/ 366159 w 715223"/>
              <a:gd name="csY107" fmla="*/ 719219 h 1556330"/>
              <a:gd name="csX108" fmla="*/ 364159 w 715223"/>
              <a:gd name="csY108" fmla="*/ 834581 h 1556330"/>
              <a:gd name="csX109" fmla="*/ 361633 w 715223"/>
              <a:gd name="csY109" fmla="*/ 940117 h 1556330"/>
              <a:gd name="csX110" fmla="*/ 358313 w 715223"/>
              <a:gd name="csY110" fmla="*/ 1053005 h 1556330"/>
              <a:gd name="csX111" fmla="*/ 358081 w 715223"/>
              <a:gd name="csY111" fmla="*/ 1057912 h 1556330"/>
              <a:gd name="csX112" fmla="*/ 353706 w 715223"/>
              <a:gd name="csY112" fmla="*/ 1164570 h 1556330"/>
              <a:gd name="csX113" fmla="*/ 354951 w 715223"/>
              <a:gd name="csY113" fmla="*/ 1172547 h 1556330"/>
              <a:gd name="csX114" fmla="*/ 540959 w 715223"/>
              <a:gd name="csY114" fmla="*/ 1175972 h 1556330"/>
              <a:gd name="csX115" fmla="*/ 474186 w 715223"/>
              <a:gd name="csY115" fmla="*/ 928382 h 1556330"/>
              <a:gd name="csX116" fmla="*/ 513768 w 715223"/>
              <a:gd name="csY116" fmla="*/ 1417676 h 1556330"/>
              <a:gd name="csX117" fmla="*/ 519822 w 715223"/>
              <a:gd name="csY117" fmla="*/ 1416700 h 1556330"/>
              <a:gd name="csX118" fmla="*/ 632041 w 715223"/>
              <a:gd name="csY118" fmla="*/ 1406122 h 1556330"/>
              <a:gd name="csX119" fmla="*/ 665040 w 715223"/>
              <a:gd name="csY119" fmla="*/ 1400634 h 1556330"/>
              <a:gd name="csX120" fmla="*/ 665677 w 715223"/>
              <a:gd name="csY120" fmla="*/ 1396126 h 1556330"/>
              <a:gd name="csX121" fmla="*/ 665529 w 715223"/>
              <a:gd name="csY121" fmla="*/ 1389994 h 1556330"/>
              <a:gd name="csX122" fmla="*/ 623046 w 715223"/>
              <a:gd name="csY122" fmla="*/ 1306238 h 1556330"/>
              <a:gd name="csX123" fmla="*/ 596015 w 715223"/>
              <a:gd name="csY123" fmla="*/ 1281285 h 1556330"/>
              <a:gd name="csX124" fmla="*/ 567683 w 715223"/>
              <a:gd name="csY124" fmla="*/ 1220059 h 1556330"/>
              <a:gd name="csX125" fmla="*/ 540273 w 715223"/>
              <a:gd name="csY125" fmla="*/ 1220129 h 1556330"/>
              <a:gd name="csX126" fmla="*/ 424010 w 715223"/>
              <a:gd name="csY126" fmla="*/ 1226781 h 1556330"/>
              <a:gd name="csX127" fmla="*/ 357832 w 715223"/>
              <a:gd name="csY127" fmla="*/ 1229178 h 1556330"/>
              <a:gd name="csX128" fmla="*/ 352386 w 715223"/>
              <a:gd name="csY128" fmla="*/ 1230616 h 1556330"/>
              <a:gd name="csX129" fmla="*/ 355852 w 715223"/>
              <a:gd name="csY129" fmla="*/ 1324222 h 1556330"/>
              <a:gd name="csX130" fmla="*/ 352930 w 715223"/>
              <a:gd name="csY130" fmla="*/ 1417867 h 1556330"/>
              <a:gd name="csX131" fmla="*/ 513768 w 715223"/>
              <a:gd name="csY131" fmla="*/ 1417676 h 1556330"/>
              <a:gd name="csX132" fmla="*/ 387930 w 715223"/>
              <a:gd name="csY132" fmla="*/ 499741 h 1556330"/>
              <a:gd name="csX133" fmla="*/ 456529 w 715223"/>
              <a:gd name="csY133" fmla="*/ 496826 h 1556330"/>
              <a:gd name="csX134" fmla="*/ 482355 w 715223"/>
              <a:gd name="csY134" fmla="*/ 485095 h 1556330"/>
              <a:gd name="csX135" fmla="*/ 528016 w 715223"/>
              <a:gd name="csY135" fmla="*/ 374829 h 1556330"/>
              <a:gd name="csX136" fmla="*/ 501375 w 715223"/>
              <a:gd name="csY136" fmla="*/ 261643 h 1556330"/>
              <a:gd name="csX137" fmla="*/ 493534 w 715223"/>
              <a:gd name="csY137" fmla="*/ 249818 h 1556330"/>
              <a:gd name="csX138" fmla="*/ 485920 w 715223"/>
              <a:gd name="csY138" fmla="*/ 260010 h 1556330"/>
              <a:gd name="csX139" fmla="*/ 453305 w 715223"/>
              <a:gd name="csY139" fmla="*/ 310523 h 1556330"/>
              <a:gd name="csX140" fmla="*/ 433678 w 715223"/>
              <a:gd name="csY140" fmla="*/ 338672 h 1556330"/>
              <a:gd name="csX141" fmla="*/ 403713 w 715223"/>
              <a:gd name="csY141" fmla="*/ 343710 h 1556330"/>
              <a:gd name="csX142" fmla="*/ 396427 w 715223"/>
              <a:gd name="csY142" fmla="*/ 315612 h 1556330"/>
              <a:gd name="csX143" fmla="*/ 399663 w 715223"/>
              <a:gd name="csY143" fmla="*/ 309000 h 1556330"/>
              <a:gd name="csX144" fmla="*/ 452097 w 715223"/>
              <a:gd name="csY144" fmla="*/ 200770 h 1556330"/>
              <a:gd name="csX145" fmla="*/ 450118 w 715223"/>
              <a:gd name="csY145" fmla="*/ 180596 h 1556330"/>
              <a:gd name="csX146" fmla="*/ 376545 w 715223"/>
              <a:gd name="csY146" fmla="*/ 105525 h 1556330"/>
              <a:gd name="csX147" fmla="*/ 368791 w 715223"/>
              <a:gd name="csY147" fmla="*/ 101653 h 1556330"/>
              <a:gd name="csX148" fmla="*/ 366449 w 715223"/>
              <a:gd name="csY148" fmla="*/ 144676 h 1556330"/>
              <a:gd name="csX149" fmla="*/ 365447 w 715223"/>
              <a:gd name="csY149" fmla="*/ 183946 h 1556330"/>
              <a:gd name="csX150" fmla="*/ 364738 w 715223"/>
              <a:gd name="csY150" fmla="*/ 298022 h 1556330"/>
              <a:gd name="csX151" fmla="*/ 373865 w 715223"/>
              <a:gd name="csY151" fmla="*/ 430096 h 1556330"/>
              <a:gd name="csX152" fmla="*/ 381088 w 715223"/>
              <a:gd name="csY152" fmla="*/ 492169 h 1556330"/>
              <a:gd name="csX153" fmla="*/ 387930 w 715223"/>
              <a:gd name="csY153" fmla="*/ 499741 h 1556330"/>
              <a:gd name="csX154" fmla="*/ 455850 w 715223"/>
              <a:gd name="csY154" fmla="*/ 1521476 h 1556330"/>
              <a:gd name="csX155" fmla="*/ 685121 w 715223"/>
              <a:gd name="csY155" fmla="*/ 1496509 h 1556330"/>
              <a:gd name="csX156" fmla="*/ 672999 w 715223"/>
              <a:gd name="csY156" fmla="*/ 1456665 h 1556330"/>
              <a:gd name="csX157" fmla="*/ 660009 w 715223"/>
              <a:gd name="csY157" fmla="*/ 1450249 h 1556330"/>
              <a:gd name="csX158" fmla="*/ 633248 w 715223"/>
              <a:gd name="csY158" fmla="*/ 1453589 h 1556330"/>
              <a:gd name="csX159" fmla="*/ 451131 w 715223"/>
              <a:gd name="csY159" fmla="*/ 1467458 h 1556330"/>
              <a:gd name="csX160" fmla="*/ 362719 w 715223"/>
              <a:gd name="csY160" fmla="*/ 1467934 h 1556330"/>
              <a:gd name="csX161" fmla="*/ 349983 w 715223"/>
              <a:gd name="csY161" fmla="*/ 1467936 h 1556330"/>
              <a:gd name="csX162" fmla="*/ 352220 w 715223"/>
              <a:gd name="csY162" fmla="*/ 1519140 h 1556330"/>
              <a:gd name="csX163" fmla="*/ 455850 w 715223"/>
              <a:gd name="csY163" fmla="*/ 1521476 h 1556330"/>
              <a:gd name="csX164" fmla="*/ 368682 w 715223"/>
              <a:gd name="csY164" fmla="*/ 544846 h 1556330"/>
              <a:gd name="csX165" fmla="*/ 363600 w 715223"/>
              <a:gd name="csY165" fmla="*/ 605633 h 1556330"/>
              <a:gd name="csX166" fmla="*/ 496351 w 715223"/>
              <a:gd name="csY166" fmla="*/ 601466 h 1556330"/>
              <a:gd name="csX167" fmla="*/ 485068 w 715223"/>
              <a:gd name="csY167" fmla="*/ 579288 h 1556330"/>
              <a:gd name="csX168" fmla="*/ 466524 w 715223"/>
              <a:gd name="csY168" fmla="*/ 541026 h 1556330"/>
              <a:gd name="csX169" fmla="*/ 465000 w 715223"/>
              <a:gd name="csY169" fmla="*/ 536289 h 1556330"/>
              <a:gd name="csX170" fmla="*/ 451328 w 715223"/>
              <a:gd name="csY170" fmla="*/ 536316 h 1556330"/>
              <a:gd name="csX171" fmla="*/ 390140 w 715223"/>
              <a:gd name="csY171" fmla="*/ 538979 h 1556330"/>
              <a:gd name="csX172" fmla="*/ 374215 w 715223"/>
              <a:gd name="csY172" fmla="*/ 539303 h 1556330"/>
              <a:gd name="csX173" fmla="*/ 368682 w 715223"/>
              <a:gd name="csY173" fmla="*/ 544846 h 1556330"/>
              <a:gd name="csX174" fmla="*/ 453915 w 715223"/>
              <a:gd name="csY174" fmla="*/ 635267 h 1556330"/>
              <a:gd name="csX175" fmla="*/ 374200 w 715223"/>
              <a:gd name="csY175" fmla="*/ 639402 h 1556330"/>
              <a:gd name="csX176" fmla="*/ 374200 w 715223"/>
              <a:gd name="csY176" fmla="*/ 673206 h 1556330"/>
              <a:gd name="csX177" fmla="*/ 386639 w 715223"/>
              <a:gd name="csY177" fmla="*/ 673718 h 1556330"/>
              <a:gd name="csX178" fmla="*/ 521198 w 715223"/>
              <a:gd name="csY178" fmla="*/ 668541 h 1556330"/>
              <a:gd name="csX179" fmla="*/ 534198 w 715223"/>
              <a:gd name="csY179" fmla="*/ 665521 h 1556330"/>
              <a:gd name="csX180" fmla="*/ 538413 w 715223"/>
              <a:gd name="csY180" fmla="*/ 652526 h 1556330"/>
              <a:gd name="csX181" fmla="*/ 529377 w 715223"/>
              <a:gd name="csY181" fmla="*/ 642895 h 1556330"/>
              <a:gd name="csX182" fmla="*/ 502829 w 715223"/>
              <a:gd name="csY182" fmla="*/ 634808 h 1556330"/>
              <a:gd name="csX183" fmla="*/ 453915 w 715223"/>
              <a:gd name="csY183" fmla="*/ 635267 h 155633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  <a:cxn ang="0">
                <a:pos x="csX170" y="csY170"/>
              </a:cxn>
              <a:cxn ang="0">
                <a:pos x="csX171" y="csY171"/>
              </a:cxn>
              <a:cxn ang="0">
                <a:pos x="csX172" y="csY172"/>
              </a:cxn>
              <a:cxn ang="0">
                <a:pos x="csX173" y="csY173"/>
              </a:cxn>
              <a:cxn ang="0">
                <a:pos x="csX174" y="csY174"/>
              </a:cxn>
              <a:cxn ang="0">
                <a:pos x="csX175" y="csY175"/>
              </a:cxn>
              <a:cxn ang="0">
                <a:pos x="csX176" y="csY176"/>
              </a:cxn>
              <a:cxn ang="0">
                <a:pos x="csX177" y="csY177"/>
              </a:cxn>
              <a:cxn ang="0">
                <a:pos x="csX178" y="csY178"/>
              </a:cxn>
              <a:cxn ang="0">
                <a:pos x="csX179" y="csY179"/>
              </a:cxn>
              <a:cxn ang="0">
                <a:pos x="csX180" y="csY180"/>
              </a:cxn>
              <a:cxn ang="0">
                <a:pos x="csX181" y="csY181"/>
              </a:cxn>
              <a:cxn ang="0">
                <a:pos x="csX182" y="csY182"/>
              </a:cxn>
              <a:cxn ang="0">
                <a:pos x="csX183" y="csY183"/>
              </a:cxn>
            </a:cxnLst>
            <a:rect l="l" t="t" r="r" b="b"/>
            <a:pathLst>
              <a:path w="715223" h="1556330">
                <a:moveTo>
                  <a:pt x="466852" y="229083"/>
                </a:moveTo>
                <a:cubicBezTo>
                  <a:pt x="465344" y="233590"/>
                  <a:pt x="463836" y="238097"/>
                  <a:pt x="462328" y="242604"/>
                </a:cubicBezTo>
                <a:cubicBezTo>
                  <a:pt x="476604" y="232528"/>
                  <a:pt x="484219" y="216936"/>
                  <a:pt x="496944" y="204739"/>
                </a:cubicBezTo>
                <a:cubicBezTo>
                  <a:pt x="511903" y="225901"/>
                  <a:pt x="524807" y="247414"/>
                  <a:pt x="534359" y="270960"/>
                </a:cubicBezTo>
                <a:cubicBezTo>
                  <a:pt x="557740" y="328591"/>
                  <a:pt x="560223" y="386926"/>
                  <a:pt x="540589" y="445986"/>
                </a:cubicBezTo>
                <a:cubicBezTo>
                  <a:pt x="534197" y="465215"/>
                  <a:pt x="524450" y="482672"/>
                  <a:pt x="509727" y="496924"/>
                </a:cubicBezTo>
                <a:cubicBezTo>
                  <a:pt x="505277" y="501232"/>
                  <a:pt x="502734" y="505157"/>
                  <a:pt x="505366" y="511893"/>
                </a:cubicBezTo>
                <a:cubicBezTo>
                  <a:pt x="507828" y="518196"/>
                  <a:pt x="505953" y="524402"/>
                  <a:pt x="501982" y="530377"/>
                </a:cubicBezTo>
                <a:cubicBezTo>
                  <a:pt x="495613" y="539961"/>
                  <a:pt x="496865" y="548901"/>
                  <a:pt x="505678" y="556455"/>
                </a:cubicBezTo>
                <a:cubicBezTo>
                  <a:pt x="516748" y="565943"/>
                  <a:pt x="523694" y="577557"/>
                  <a:pt x="526115" y="591784"/>
                </a:cubicBezTo>
                <a:cubicBezTo>
                  <a:pt x="527758" y="601445"/>
                  <a:pt x="532593" y="608029"/>
                  <a:pt x="541579" y="612264"/>
                </a:cubicBezTo>
                <a:cubicBezTo>
                  <a:pt x="555150" y="618662"/>
                  <a:pt x="564081" y="629523"/>
                  <a:pt x="569572" y="643441"/>
                </a:cubicBezTo>
                <a:cubicBezTo>
                  <a:pt x="576413" y="660776"/>
                  <a:pt x="570996" y="678245"/>
                  <a:pt x="555234" y="688473"/>
                </a:cubicBezTo>
                <a:cubicBezTo>
                  <a:pt x="542486" y="696746"/>
                  <a:pt x="528127" y="699474"/>
                  <a:pt x="513278" y="700556"/>
                </a:cubicBezTo>
                <a:cubicBezTo>
                  <a:pt x="505590" y="701115"/>
                  <a:pt x="497922" y="701952"/>
                  <a:pt x="488559" y="702821"/>
                </a:cubicBezTo>
                <a:cubicBezTo>
                  <a:pt x="488559" y="708552"/>
                  <a:pt x="488653" y="713320"/>
                  <a:pt x="488544" y="718085"/>
                </a:cubicBezTo>
                <a:cubicBezTo>
                  <a:pt x="486284" y="817406"/>
                  <a:pt x="502313" y="914319"/>
                  <a:pt x="526561" y="1010212"/>
                </a:cubicBezTo>
                <a:cubicBezTo>
                  <a:pt x="538799" y="1058612"/>
                  <a:pt x="553050" y="1106345"/>
                  <a:pt x="569986" y="1153317"/>
                </a:cubicBezTo>
                <a:cubicBezTo>
                  <a:pt x="573328" y="1162590"/>
                  <a:pt x="578279" y="1168740"/>
                  <a:pt x="587389" y="1172173"/>
                </a:cubicBezTo>
                <a:cubicBezTo>
                  <a:pt x="593869" y="1174616"/>
                  <a:pt x="600289" y="1177449"/>
                  <a:pt x="606286" y="1180891"/>
                </a:cubicBezTo>
                <a:cubicBezTo>
                  <a:pt x="617185" y="1187146"/>
                  <a:pt x="618776" y="1192931"/>
                  <a:pt x="613400" y="1204260"/>
                </a:cubicBezTo>
                <a:cubicBezTo>
                  <a:pt x="611475" y="1208315"/>
                  <a:pt x="609140" y="1212177"/>
                  <a:pt x="605350" y="1216760"/>
                </a:cubicBezTo>
                <a:cubicBezTo>
                  <a:pt x="602514" y="1218347"/>
                  <a:pt x="600399" y="1219189"/>
                  <a:pt x="600268" y="1220273"/>
                </a:cubicBezTo>
                <a:cubicBezTo>
                  <a:pt x="598551" y="1234430"/>
                  <a:pt x="599473" y="1247881"/>
                  <a:pt x="610574" y="1258750"/>
                </a:cubicBezTo>
                <a:cubicBezTo>
                  <a:pt x="631265" y="1279009"/>
                  <a:pt x="651790" y="1299438"/>
                  <a:pt x="672371" y="1319810"/>
                </a:cubicBezTo>
                <a:cubicBezTo>
                  <a:pt x="673495" y="1320922"/>
                  <a:pt x="674892" y="1321987"/>
                  <a:pt x="675494" y="1323366"/>
                </a:cubicBezTo>
                <a:cubicBezTo>
                  <a:pt x="685626" y="1346558"/>
                  <a:pt x="694775" y="1370031"/>
                  <a:pt x="692949" y="1396068"/>
                </a:cubicBezTo>
                <a:cubicBezTo>
                  <a:pt x="692525" y="1402108"/>
                  <a:pt x="691276" y="1408087"/>
                  <a:pt x="690628" y="1414117"/>
                </a:cubicBezTo>
                <a:cubicBezTo>
                  <a:pt x="690241" y="1417713"/>
                  <a:pt x="691290" y="1420628"/>
                  <a:pt x="695588" y="1421035"/>
                </a:cubicBezTo>
                <a:cubicBezTo>
                  <a:pt x="695527" y="1422155"/>
                  <a:pt x="695467" y="1423274"/>
                  <a:pt x="694353" y="1425190"/>
                </a:cubicBezTo>
                <a:cubicBezTo>
                  <a:pt x="691901" y="1426894"/>
                  <a:pt x="690503" y="1427804"/>
                  <a:pt x="689106" y="1428714"/>
                </a:cubicBezTo>
                <a:cubicBezTo>
                  <a:pt x="691101" y="1428620"/>
                  <a:pt x="693098" y="1428527"/>
                  <a:pt x="695093" y="1428433"/>
                </a:cubicBezTo>
                <a:cubicBezTo>
                  <a:pt x="695976" y="1429430"/>
                  <a:pt x="696859" y="1430427"/>
                  <a:pt x="697643" y="1432864"/>
                </a:cubicBezTo>
                <a:cubicBezTo>
                  <a:pt x="697724" y="1436887"/>
                  <a:pt x="697087" y="1439912"/>
                  <a:pt x="698207" y="1441988"/>
                </a:cubicBezTo>
                <a:cubicBezTo>
                  <a:pt x="709464" y="1462853"/>
                  <a:pt x="715798" y="1484864"/>
                  <a:pt x="715183" y="1508752"/>
                </a:cubicBezTo>
                <a:cubicBezTo>
                  <a:pt x="714863" y="1521166"/>
                  <a:pt x="713458" y="1523372"/>
                  <a:pt x="701540" y="1526524"/>
                </a:cubicBezTo>
                <a:cubicBezTo>
                  <a:pt x="662165" y="1536936"/>
                  <a:pt x="622006" y="1543243"/>
                  <a:pt x="581715" y="1548559"/>
                </a:cubicBezTo>
                <a:cubicBezTo>
                  <a:pt x="561988" y="1551162"/>
                  <a:pt x="542052" y="1552457"/>
                  <a:pt x="522168" y="1553543"/>
                </a:cubicBezTo>
                <a:cubicBezTo>
                  <a:pt x="498138" y="1554856"/>
                  <a:pt x="474063" y="1556013"/>
                  <a:pt x="450008" y="1556019"/>
                </a:cubicBezTo>
                <a:cubicBezTo>
                  <a:pt x="381724" y="1556035"/>
                  <a:pt x="313415" y="1557550"/>
                  <a:pt x="245169" y="1553749"/>
                </a:cubicBezTo>
                <a:cubicBezTo>
                  <a:pt x="237413" y="1553317"/>
                  <a:pt x="229596" y="1553867"/>
                  <a:pt x="221854" y="1553306"/>
                </a:cubicBezTo>
                <a:cubicBezTo>
                  <a:pt x="204023" y="1552015"/>
                  <a:pt x="186231" y="1550202"/>
                  <a:pt x="168405" y="1548828"/>
                </a:cubicBezTo>
                <a:cubicBezTo>
                  <a:pt x="154605" y="1547764"/>
                  <a:pt x="140762" y="1547242"/>
                  <a:pt x="126970" y="1546091"/>
                </a:cubicBezTo>
                <a:cubicBezTo>
                  <a:pt x="119295" y="1545451"/>
                  <a:pt x="111668" y="1544132"/>
                  <a:pt x="104053" y="1542912"/>
                </a:cubicBezTo>
                <a:cubicBezTo>
                  <a:pt x="91223" y="1540858"/>
                  <a:pt x="78344" y="1539011"/>
                  <a:pt x="65625" y="1536401"/>
                </a:cubicBezTo>
                <a:cubicBezTo>
                  <a:pt x="47307" y="1532642"/>
                  <a:pt x="29006" y="1528694"/>
                  <a:pt x="10909" y="1524010"/>
                </a:cubicBezTo>
                <a:cubicBezTo>
                  <a:pt x="744" y="1521379"/>
                  <a:pt x="119" y="1519620"/>
                  <a:pt x="8" y="1509263"/>
                </a:cubicBezTo>
                <a:cubicBezTo>
                  <a:pt x="-283" y="1482004"/>
                  <a:pt x="7525" y="1456906"/>
                  <a:pt x="21158" y="1433611"/>
                </a:cubicBezTo>
                <a:cubicBezTo>
                  <a:pt x="24128" y="1428537"/>
                  <a:pt x="25100" y="1424162"/>
                  <a:pt x="23462" y="1418658"/>
                </a:cubicBezTo>
                <a:cubicBezTo>
                  <a:pt x="19938" y="1406814"/>
                  <a:pt x="19145" y="1394638"/>
                  <a:pt x="19643" y="1382324"/>
                </a:cubicBezTo>
                <a:cubicBezTo>
                  <a:pt x="20741" y="1355171"/>
                  <a:pt x="29461" y="1331114"/>
                  <a:pt x="49060" y="1311832"/>
                </a:cubicBezTo>
                <a:cubicBezTo>
                  <a:pt x="68866" y="1292344"/>
                  <a:pt x="89102" y="1273294"/>
                  <a:pt x="109176" y="1254078"/>
                </a:cubicBezTo>
                <a:cubicBezTo>
                  <a:pt x="120788" y="1242961"/>
                  <a:pt x="123122" y="1229673"/>
                  <a:pt x="118319" y="1214801"/>
                </a:cubicBezTo>
                <a:cubicBezTo>
                  <a:pt x="116817" y="1210150"/>
                  <a:pt x="114697" y="1205702"/>
                  <a:pt x="113082" y="1201084"/>
                </a:cubicBezTo>
                <a:cubicBezTo>
                  <a:pt x="109606" y="1191147"/>
                  <a:pt x="110855" y="1188189"/>
                  <a:pt x="120417" y="1183950"/>
                </a:cubicBezTo>
                <a:cubicBezTo>
                  <a:pt x="125262" y="1181801"/>
                  <a:pt x="130109" y="1179394"/>
                  <a:pt x="135209" y="1178138"/>
                </a:cubicBezTo>
                <a:cubicBezTo>
                  <a:pt x="146972" y="1175241"/>
                  <a:pt x="153194" y="1166910"/>
                  <a:pt x="156535" y="1156396"/>
                </a:cubicBezTo>
                <a:cubicBezTo>
                  <a:pt x="166535" y="1124919"/>
                  <a:pt x="176229" y="1093339"/>
                  <a:pt x="185647" y="1061682"/>
                </a:cubicBezTo>
                <a:cubicBezTo>
                  <a:pt x="191222" y="1042945"/>
                  <a:pt x="196570" y="1024108"/>
                  <a:pt x="201074" y="1005093"/>
                </a:cubicBezTo>
                <a:cubicBezTo>
                  <a:pt x="205941" y="984550"/>
                  <a:pt x="210000" y="963801"/>
                  <a:pt x="213864" y="943040"/>
                </a:cubicBezTo>
                <a:cubicBezTo>
                  <a:pt x="217503" y="923489"/>
                  <a:pt x="220701" y="903846"/>
                  <a:pt x="223580" y="884167"/>
                </a:cubicBezTo>
                <a:cubicBezTo>
                  <a:pt x="225754" y="869301"/>
                  <a:pt x="227195" y="854324"/>
                  <a:pt x="228827" y="839382"/>
                </a:cubicBezTo>
                <a:cubicBezTo>
                  <a:pt x="230459" y="824446"/>
                  <a:pt x="232880" y="809515"/>
                  <a:pt x="233251" y="794539"/>
                </a:cubicBezTo>
                <a:cubicBezTo>
                  <a:pt x="233961" y="765893"/>
                  <a:pt x="233499" y="737217"/>
                  <a:pt x="233413" y="708554"/>
                </a:cubicBezTo>
                <a:cubicBezTo>
                  <a:pt x="233404" y="705465"/>
                  <a:pt x="232667" y="702378"/>
                  <a:pt x="232253" y="699181"/>
                </a:cubicBezTo>
                <a:cubicBezTo>
                  <a:pt x="218443" y="697138"/>
                  <a:pt x="205461" y="695831"/>
                  <a:pt x="192775" y="693131"/>
                </a:cubicBezTo>
                <a:cubicBezTo>
                  <a:pt x="183686" y="691197"/>
                  <a:pt x="174549" y="688305"/>
                  <a:pt x="166222" y="684229"/>
                </a:cubicBezTo>
                <a:cubicBezTo>
                  <a:pt x="151266" y="676909"/>
                  <a:pt x="147247" y="664789"/>
                  <a:pt x="153485" y="649704"/>
                </a:cubicBezTo>
                <a:cubicBezTo>
                  <a:pt x="158693" y="637111"/>
                  <a:pt x="168160" y="628190"/>
                  <a:pt x="179302" y="621006"/>
                </a:cubicBezTo>
                <a:cubicBezTo>
                  <a:pt x="186548" y="616334"/>
                  <a:pt x="191317" y="611105"/>
                  <a:pt x="192182" y="601675"/>
                </a:cubicBezTo>
                <a:cubicBezTo>
                  <a:pt x="192878" y="594094"/>
                  <a:pt x="197099" y="587626"/>
                  <a:pt x="204894" y="583417"/>
                </a:cubicBezTo>
                <a:cubicBezTo>
                  <a:pt x="214873" y="578030"/>
                  <a:pt x="224643" y="571774"/>
                  <a:pt x="233213" y="564393"/>
                </a:cubicBezTo>
                <a:cubicBezTo>
                  <a:pt x="242623" y="556289"/>
                  <a:pt x="240441" y="544193"/>
                  <a:pt x="229725" y="538177"/>
                </a:cubicBezTo>
                <a:cubicBezTo>
                  <a:pt x="226159" y="536176"/>
                  <a:pt x="222483" y="534351"/>
                  <a:pt x="218771" y="532633"/>
                </a:cubicBezTo>
                <a:cubicBezTo>
                  <a:pt x="213503" y="530196"/>
                  <a:pt x="212651" y="526226"/>
                  <a:pt x="215183" y="521568"/>
                </a:cubicBezTo>
                <a:cubicBezTo>
                  <a:pt x="217485" y="517332"/>
                  <a:pt x="220405" y="513432"/>
                  <a:pt x="223368" y="508901"/>
                </a:cubicBezTo>
                <a:cubicBezTo>
                  <a:pt x="221781" y="505376"/>
                  <a:pt x="220809" y="501165"/>
                  <a:pt x="218372" y="498135"/>
                </a:cubicBezTo>
                <a:cubicBezTo>
                  <a:pt x="202366" y="478231"/>
                  <a:pt x="190774" y="455961"/>
                  <a:pt x="181440" y="432308"/>
                </a:cubicBezTo>
                <a:cubicBezTo>
                  <a:pt x="170959" y="405748"/>
                  <a:pt x="164933" y="378186"/>
                  <a:pt x="167535" y="349841"/>
                </a:cubicBezTo>
                <a:cubicBezTo>
                  <a:pt x="170341" y="319265"/>
                  <a:pt x="179208" y="289917"/>
                  <a:pt x="193488" y="262518"/>
                </a:cubicBezTo>
                <a:cubicBezTo>
                  <a:pt x="206512" y="237529"/>
                  <a:pt x="220831" y="213359"/>
                  <a:pt x="237748" y="190690"/>
                </a:cubicBezTo>
                <a:cubicBezTo>
                  <a:pt x="260421" y="160310"/>
                  <a:pt x="282602" y="129592"/>
                  <a:pt x="309459" y="102623"/>
                </a:cubicBezTo>
                <a:cubicBezTo>
                  <a:pt x="316627" y="95424"/>
                  <a:pt x="316261" y="87541"/>
                  <a:pt x="310459" y="78521"/>
                </a:cubicBezTo>
                <a:cubicBezTo>
                  <a:pt x="306309" y="72071"/>
                  <a:pt x="301695" y="65150"/>
                  <a:pt x="300267" y="57856"/>
                </a:cubicBezTo>
                <a:cubicBezTo>
                  <a:pt x="295286" y="32423"/>
                  <a:pt x="314502" y="10133"/>
                  <a:pt x="332242" y="4422"/>
                </a:cubicBezTo>
                <a:cubicBezTo>
                  <a:pt x="349540" y="-1148"/>
                  <a:pt x="367530" y="-2176"/>
                  <a:pt x="384904" y="5551"/>
                </a:cubicBezTo>
                <a:cubicBezTo>
                  <a:pt x="395271" y="10161"/>
                  <a:pt x="403310" y="17760"/>
                  <a:pt x="409773" y="26778"/>
                </a:cubicBezTo>
                <a:cubicBezTo>
                  <a:pt x="415168" y="34307"/>
                  <a:pt x="413749" y="41584"/>
                  <a:pt x="407026" y="46052"/>
                </a:cubicBezTo>
                <a:cubicBezTo>
                  <a:pt x="405624" y="40964"/>
                  <a:pt x="404503" y="35849"/>
                  <a:pt x="402771" y="30951"/>
                </a:cubicBezTo>
                <a:cubicBezTo>
                  <a:pt x="401450" y="27216"/>
                  <a:pt x="399383" y="28477"/>
                  <a:pt x="397038" y="30361"/>
                </a:cubicBezTo>
                <a:cubicBezTo>
                  <a:pt x="384440" y="15986"/>
                  <a:pt x="377037" y="14494"/>
                  <a:pt x="360694" y="22760"/>
                </a:cubicBezTo>
                <a:cubicBezTo>
                  <a:pt x="353707" y="22767"/>
                  <a:pt x="352275" y="27176"/>
                  <a:pt x="351669" y="31736"/>
                </a:cubicBezTo>
                <a:cubicBezTo>
                  <a:pt x="351136" y="35760"/>
                  <a:pt x="351383" y="39899"/>
                  <a:pt x="351426" y="43987"/>
                </a:cubicBezTo>
                <a:cubicBezTo>
                  <a:pt x="351648" y="64919"/>
                  <a:pt x="372389" y="78115"/>
                  <a:pt x="390968" y="68762"/>
                </a:cubicBezTo>
                <a:cubicBezTo>
                  <a:pt x="395158" y="66653"/>
                  <a:pt x="398534" y="62629"/>
                  <a:pt x="401770" y="59025"/>
                </a:cubicBezTo>
                <a:cubicBezTo>
                  <a:pt x="404045" y="56491"/>
                  <a:pt x="405661" y="53409"/>
                  <a:pt x="409619" y="55786"/>
                </a:cubicBezTo>
                <a:cubicBezTo>
                  <a:pt x="413544" y="58145"/>
                  <a:pt x="412176" y="61347"/>
                  <a:pt x="410427" y="64256"/>
                </a:cubicBezTo>
                <a:cubicBezTo>
                  <a:pt x="406872" y="70170"/>
                  <a:pt x="403244" y="76046"/>
                  <a:pt x="399453" y="81811"/>
                </a:cubicBezTo>
                <a:cubicBezTo>
                  <a:pt x="394663" y="89097"/>
                  <a:pt x="394382" y="94032"/>
                  <a:pt x="399346" y="98083"/>
                </a:cubicBezTo>
                <a:cubicBezTo>
                  <a:pt x="428062" y="121519"/>
                  <a:pt x="450822" y="150083"/>
                  <a:pt x="471592" y="180524"/>
                </a:cubicBezTo>
                <a:cubicBezTo>
                  <a:pt x="476398" y="187569"/>
                  <a:pt x="476844" y="193688"/>
                  <a:pt x="473550" y="200923"/>
                </a:cubicBezTo>
                <a:cubicBezTo>
                  <a:pt x="470171" y="208346"/>
                  <a:pt x="467091" y="215905"/>
                  <a:pt x="463677" y="223311"/>
                </a:cubicBezTo>
                <a:cubicBezTo>
                  <a:pt x="461993" y="226965"/>
                  <a:pt x="462995" y="228697"/>
                  <a:pt x="466852" y="229083"/>
                </a:cubicBezTo>
                <a:moveTo>
                  <a:pt x="474186" y="928382"/>
                </a:moveTo>
                <a:cubicBezTo>
                  <a:pt x="469297" y="891529"/>
                  <a:pt x="462961" y="854794"/>
                  <a:pt x="459927" y="817790"/>
                </a:cubicBezTo>
                <a:cubicBezTo>
                  <a:pt x="456905" y="780939"/>
                  <a:pt x="457197" y="743817"/>
                  <a:pt x="456025" y="706469"/>
                </a:cubicBezTo>
                <a:cubicBezTo>
                  <a:pt x="425780" y="707923"/>
                  <a:pt x="396554" y="709327"/>
                  <a:pt x="366863" y="710754"/>
                </a:cubicBezTo>
                <a:cubicBezTo>
                  <a:pt x="366546" y="714450"/>
                  <a:pt x="366201" y="716832"/>
                  <a:pt x="366159" y="719219"/>
                </a:cubicBezTo>
                <a:cubicBezTo>
                  <a:pt x="365479" y="757672"/>
                  <a:pt x="364935" y="796129"/>
                  <a:pt x="364159" y="834581"/>
                </a:cubicBezTo>
                <a:cubicBezTo>
                  <a:pt x="363450" y="869762"/>
                  <a:pt x="362581" y="904941"/>
                  <a:pt x="361633" y="940117"/>
                </a:cubicBezTo>
                <a:cubicBezTo>
                  <a:pt x="360619" y="977749"/>
                  <a:pt x="359431" y="1015376"/>
                  <a:pt x="358313" y="1053005"/>
                </a:cubicBezTo>
                <a:cubicBezTo>
                  <a:pt x="358265" y="1054641"/>
                  <a:pt x="358149" y="1056276"/>
                  <a:pt x="358081" y="1057912"/>
                </a:cubicBezTo>
                <a:cubicBezTo>
                  <a:pt x="356598" y="1093463"/>
                  <a:pt x="355081" y="1129014"/>
                  <a:pt x="353706" y="1164570"/>
                </a:cubicBezTo>
                <a:cubicBezTo>
                  <a:pt x="353604" y="1167221"/>
                  <a:pt x="354516" y="1169911"/>
                  <a:pt x="354951" y="1172547"/>
                </a:cubicBezTo>
                <a:cubicBezTo>
                  <a:pt x="416984" y="1173689"/>
                  <a:pt x="478158" y="1174816"/>
                  <a:pt x="540959" y="1175972"/>
                </a:cubicBezTo>
                <a:cubicBezTo>
                  <a:pt x="513162" y="1094194"/>
                  <a:pt x="489081" y="1013598"/>
                  <a:pt x="474186" y="928382"/>
                </a:cubicBezTo>
                <a:moveTo>
                  <a:pt x="513768" y="1417676"/>
                </a:moveTo>
                <a:cubicBezTo>
                  <a:pt x="515785" y="1417344"/>
                  <a:pt x="517792" y="1416889"/>
                  <a:pt x="519822" y="1416700"/>
                </a:cubicBezTo>
                <a:cubicBezTo>
                  <a:pt x="557234" y="1413220"/>
                  <a:pt x="594682" y="1410089"/>
                  <a:pt x="632041" y="1406122"/>
                </a:cubicBezTo>
                <a:cubicBezTo>
                  <a:pt x="643122" y="1404945"/>
                  <a:pt x="654730" y="1405292"/>
                  <a:pt x="665040" y="1400634"/>
                </a:cubicBezTo>
                <a:cubicBezTo>
                  <a:pt x="665352" y="1398517"/>
                  <a:pt x="665651" y="1397324"/>
                  <a:pt x="665677" y="1396126"/>
                </a:cubicBezTo>
                <a:cubicBezTo>
                  <a:pt x="665722" y="1394084"/>
                  <a:pt x="665674" y="1392032"/>
                  <a:pt x="665529" y="1389994"/>
                </a:cubicBezTo>
                <a:cubicBezTo>
                  <a:pt x="663118" y="1356121"/>
                  <a:pt x="650063" y="1327787"/>
                  <a:pt x="623046" y="1306238"/>
                </a:cubicBezTo>
                <a:cubicBezTo>
                  <a:pt x="613485" y="1298611"/>
                  <a:pt x="605001" y="1289635"/>
                  <a:pt x="596015" y="1281285"/>
                </a:cubicBezTo>
                <a:cubicBezTo>
                  <a:pt x="578506" y="1265018"/>
                  <a:pt x="567837" y="1245446"/>
                  <a:pt x="567683" y="1220059"/>
                </a:cubicBezTo>
                <a:cubicBezTo>
                  <a:pt x="558046" y="1220059"/>
                  <a:pt x="549136" y="1219649"/>
                  <a:pt x="540273" y="1220129"/>
                </a:cubicBezTo>
                <a:cubicBezTo>
                  <a:pt x="501512" y="1222229"/>
                  <a:pt x="462775" y="1224768"/>
                  <a:pt x="424010" y="1226781"/>
                </a:cubicBezTo>
                <a:cubicBezTo>
                  <a:pt x="401969" y="1227926"/>
                  <a:pt x="379889" y="1228330"/>
                  <a:pt x="357832" y="1229178"/>
                </a:cubicBezTo>
                <a:cubicBezTo>
                  <a:pt x="355938" y="1229251"/>
                  <a:pt x="354076" y="1230151"/>
                  <a:pt x="352386" y="1230616"/>
                </a:cubicBezTo>
                <a:cubicBezTo>
                  <a:pt x="353642" y="1262222"/>
                  <a:pt x="355769" y="1293219"/>
                  <a:pt x="355852" y="1324222"/>
                </a:cubicBezTo>
                <a:cubicBezTo>
                  <a:pt x="355936" y="1355438"/>
                  <a:pt x="353988" y="1386659"/>
                  <a:pt x="352930" y="1417867"/>
                </a:cubicBezTo>
                <a:cubicBezTo>
                  <a:pt x="406069" y="1417867"/>
                  <a:pt x="458771" y="1417867"/>
                  <a:pt x="513768" y="1417676"/>
                </a:cubicBezTo>
                <a:moveTo>
                  <a:pt x="387930" y="499741"/>
                </a:moveTo>
                <a:cubicBezTo>
                  <a:pt x="410797" y="498777"/>
                  <a:pt x="433665" y="497860"/>
                  <a:pt x="456529" y="496826"/>
                </a:cubicBezTo>
                <a:cubicBezTo>
                  <a:pt x="466656" y="496369"/>
                  <a:pt x="475418" y="493371"/>
                  <a:pt x="482355" y="485095"/>
                </a:cubicBezTo>
                <a:cubicBezTo>
                  <a:pt x="509188" y="453083"/>
                  <a:pt x="525387" y="416636"/>
                  <a:pt x="528016" y="374829"/>
                </a:cubicBezTo>
                <a:cubicBezTo>
                  <a:pt x="530547" y="334558"/>
                  <a:pt x="520095" y="297041"/>
                  <a:pt x="501375" y="261643"/>
                </a:cubicBezTo>
                <a:cubicBezTo>
                  <a:pt x="499379" y="257869"/>
                  <a:pt x="496654" y="254482"/>
                  <a:pt x="493534" y="249818"/>
                </a:cubicBezTo>
                <a:cubicBezTo>
                  <a:pt x="490233" y="254212"/>
                  <a:pt x="487883" y="256986"/>
                  <a:pt x="485920" y="260010"/>
                </a:cubicBezTo>
                <a:cubicBezTo>
                  <a:pt x="475010" y="276824"/>
                  <a:pt x="464300" y="293767"/>
                  <a:pt x="453305" y="310523"/>
                </a:cubicBezTo>
                <a:cubicBezTo>
                  <a:pt x="447028" y="320089"/>
                  <a:pt x="440916" y="329858"/>
                  <a:pt x="433678" y="338672"/>
                </a:cubicBezTo>
                <a:cubicBezTo>
                  <a:pt x="425909" y="348131"/>
                  <a:pt x="413084" y="349691"/>
                  <a:pt x="403713" y="343710"/>
                </a:cubicBezTo>
                <a:cubicBezTo>
                  <a:pt x="394358" y="337739"/>
                  <a:pt x="391675" y="327526"/>
                  <a:pt x="396427" y="315612"/>
                </a:cubicBezTo>
                <a:cubicBezTo>
                  <a:pt x="397334" y="313339"/>
                  <a:pt x="398595" y="311210"/>
                  <a:pt x="399663" y="309000"/>
                </a:cubicBezTo>
                <a:cubicBezTo>
                  <a:pt x="417094" y="272900"/>
                  <a:pt x="434331" y="236704"/>
                  <a:pt x="452097" y="200770"/>
                </a:cubicBezTo>
                <a:cubicBezTo>
                  <a:pt x="455910" y="193060"/>
                  <a:pt x="455310" y="187173"/>
                  <a:pt x="450118" y="180596"/>
                </a:cubicBezTo>
                <a:cubicBezTo>
                  <a:pt x="428273" y="152922"/>
                  <a:pt x="405805" y="125901"/>
                  <a:pt x="376545" y="105525"/>
                </a:cubicBezTo>
                <a:cubicBezTo>
                  <a:pt x="374483" y="104089"/>
                  <a:pt x="372013" y="103239"/>
                  <a:pt x="368791" y="101653"/>
                </a:cubicBezTo>
                <a:cubicBezTo>
                  <a:pt x="367942" y="116965"/>
                  <a:pt x="367019" y="130814"/>
                  <a:pt x="366449" y="144676"/>
                </a:cubicBezTo>
                <a:cubicBezTo>
                  <a:pt x="365912" y="157758"/>
                  <a:pt x="365593" y="170854"/>
                  <a:pt x="365447" y="183946"/>
                </a:cubicBezTo>
                <a:cubicBezTo>
                  <a:pt x="365020" y="221975"/>
                  <a:pt x="363367" y="260055"/>
                  <a:pt x="364738" y="298022"/>
                </a:cubicBezTo>
                <a:cubicBezTo>
                  <a:pt x="366329" y="342101"/>
                  <a:pt x="370336" y="386106"/>
                  <a:pt x="373865" y="430096"/>
                </a:cubicBezTo>
                <a:cubicBezTo>
                  <a:pt x="375530" y="450849"/>
                  <a:pt x="378387" y="471514"/>
                  <a:pt x="381088" y="492169"/>
                </a:cubicBezTo>
                <a:cubicBezTo>
                  <a:pt x="381433" y="494807"/>
                  <a:pt x="384102" y="497143"/>
                  <a:pt x="387930" y="499741"/>
                </a:cubicBezTo>
                <a:moveTo>
                  <a:pt x="455850" y="1521476"/>
                </a:moveTo>
                <a:cubicBezTo>
                  <a:pt x="533043" y="1519612"/>
                  <a:pt x="609810" y="1514084"/>
                  <a:pt x="685121" y="1496509"/>
                </a:cubicBezTo>
                <a:cubicBezTo>
                  <a:pt x="683922" y="1481705"/>
                  <a:pt x="679199" y="1467708"/>
                  <a:pt x="672999" y="1456665"/>
                </a:cubicBezTo>
                <a:cubicBezTo>
                  <a:pt x="669933" y="1451203"/>
                  <a:pt x="666057" y="1449329"/>
                  <a:pt x="660009" y="1450249"/>
                </a:cubicBezTo>
                <a:cubicBezTo>
                  <a:pt x="651125" y="1451601"/>
                  <a:pt x="642144" y="1452308"/>
                  <a:pt x="633248" y="1453589"/>
                </a:cubicBezTo>
                <a:cubicBezTo>
                  <a:pt x="572852" y="1462289"/>
                  <a:pt x="511993" y="1465134"/>
                  <a:pt x="451131" y="1467458"/>
                </a:cubicBezTo>
                <a:cubicBezTo>
                  <a:pt x="421697" y="1468582"/>
                  <a:pt x="392192" y="1467837"/>
                  <a:pt x="362719" y="1467934"/>
                </a:cubicBezTo>
                <a:cubicBezTo>
                  <a:pt x="358386" y="1467948"/>
                  <a:pt x="354052" y="1467936"/>
                  <a:pt x="349983" y="1467936"/>
                </a:cubicBezTo>
                <a:cubicBezTo>
                  <a:pt x="347592" y="1485362"/>
                  <a:pt x="348606" y="1509458"/>
                  <a:pt x="352220" y="1519140"/>
                </a:cubicBezTo>
                <a:cubicBezTo>
                  <a:pt x="385617" y="1519916"/>
                  <a:pt x="419507" y="1520703"/>
                  <a:pt x="455850" y="1521476"/>
                </a:cubicBezTo>
                <a:moveTo>
                  <a:pt x="368682" y="544846"/>
                </a:moveTo>
                <a:cubicBezTo>
                  <a:pt x="374258" y="564891"/>
                  <a:pt x="370074" y="584394"/>
                  <a:pt x="363600" y="605633"/>
                </a:cubicBezTo>
                <a:cubicBezTo>
                  <a:pt x="408859" y="604212"/>
                  <a:pt x="452263" y="602850"/>
                  <a:pt x="496351" y="601466"/>
                </a:cubicBezTo>
                <a:cubicBezTo>
                  <a:pt x="496109" y="591095"/>
                  <a:pt x="491408" y="584247"/>
                  <a:pt x="485068" y="579288"/>
                </a:cubicBezTo>
                <a:cubicBezTo>
                  <a:pt x="472414" y="569391"/>
                  <a:pt x="466934" y="556602"/>
                  <a:pt x="466524" y="541026"/>
                </a:cubicBezTo>
                <a:cubicBezTo>
                  <a:pt x="466485" y="539528"/>
                  <a:pt x="465591" y="538053"/>
                  <a:pt x="465000" y="536289"/>
                </a:cubicBezTo>
                <a:cubicBezTo>
                  <a:pt x="460209" y="536289"/>
                  <a:pt x="455761" y="536132"/>
                  <a:pt x="451328" y="536316"/>
                </a:cubicBezTo>
                <a:cubicBezTo>
                  <a:pt x="430930" y="537159"/>
                  <a:pt x="410538" y="538137"/>
                  <a:pt x="390140" y="538979"/>
                </a:cubicBezTo>
                <a:cubicBezTo>
                  <a:pt x="384834" y="539198"/>
                  <a:pt x="379484" y="538790"/>
                  <a:pt x="374215" y="539303"/>
                </a:cubicBezTo>
                <a:cubicBezTo>
                  <a:pt x="372259" y="539494"/>
                  <a:pt x="370480" y="541498"/>
                  <a:pt x="368682" y="544846"/>
                </a:cubicBezTo>
                <a:moveTo>
                  <a:pt x="453915" y="635267"/>
                </a:moveTo>
                <a:cubicBezTo>
                  <a:pt x="427589" y="636632"/>
                  <a:pt x="401262" y="637998"/>
                  <a:pt x="374200" y="639402"/>
                </a:cubicBezTo>
                <a:cubicBezTo>
                  <a:pt x="374200" y="651578"/>
                  <a:pt x="374200" y="661970"/>
                  <a:pt x="374200" y="673206"/>
                </a:cubicBezTo>
                <a:cubicBezTo>
                  <a:pt x="378672" y="673406"/>
                  <a:pt x="382666" y="673863"/>
                  <a:pt x="386639" y="673718"/>
                </a:cubicBezTo>
                <a:cubicBezTo>
                  <a:pt x="431495" y="672082"/>
                  <a:pt x="476352" y="670422"/>
                  <a:pt x="521198" y="668541"/>
                </a:cubicBezTo>
                <a:cubicBezTo>
                  <a:pt x="525584" y="668357"/>
                  <a:pt x="530162" y="667254"/>
                  <a:pt x="534198" y="665521"/>
                </a:cubicBezTo>
                <a:cubicBezTo>
                  <a:pt x="540213" y="662938"/>
                  <a:pt x="541802" y="658194"/>
                  <a:pt x="538413" y="652526"/>
                </a:cubicBezTo>
                <a:cubicBezTo>
                  <a:pt x="536192" y="648813"/>
                  <a:pt x="532979" y="645251"/>
                  <a:pt x="529377" y="642895"/>
                </a:cubicBezTo>
                <a:cubicBezTo>
                  <a:pt x="521426" y="637695"/>
                  <a:pt x="512576" y="634669"/>
                  <a:pt x="502829" y="634808"/>
                </a:cubicBezTo>
                <a:cubicBezTo>
                  <a:pt x="487311" y="635030"/>
                  <a:pt x="471791" y="635092"/>
                  <a:pt x="453915" y="635267"/>
                </a:cubicBezTo>
                <a:close/>
              </a:path>
            </a:pathLst>
          </a:custGeom>
          <a:solidFill>
            <a:srgbClr val="CDD9DF"/>
          </a:solidFill>
          <a:ln w="12700" cap="flat">
            <a:solidFill>
              <a:srgbClr val="CDD9DF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0" name="Free-form: Shape 69">
            <a:extLst>
              <a:ext uri="{FF2B5EF4-FFF2-40B4-BE49-F238E27FC236}">
                <a16:creationId xmlns:a16="http://schemas.microsoft.com/office/drawing/2014/main" id="{BA029374-7651-0D2C-0E07-3676B90C455F}"/>
              </a:ext>
            </a:extLst>
          </p:cNvPr>
          <p:cNvSpPr/>
          <p:nvPr/>
        </p:nvSpPr>
        <p:spPr>
          <a:xfrm>
            <a:off x="10128140" y="1318513"/>
            <a:ext cx="665488" cy="1428730"/>
          </a:xfrm>
          <a:custGeom>
            <a:avLst/>
            <a:gdLst>
              <a:gd name="csX0" fmla="*/ 406842 w 732037"/>
              <a:gd name="csY0" fmla="*/ 38347 h 1571603"/>
              <a:gd name="csX1" fmla="*/ 411944 w 732037"/>
              <a:gd name="csY1" fmla="*/ 38343 h 1571603"/>
              <a:gd name="csX2" fmla="*/ 416198 w 732037"/>
              <a:gd name="csY2" fmla="*/ 53444 h 1571603"/>
              <a:gd name="csX3" fmla="*/ 418945 w 732037"/>
              <a:gd name="csY3" fmla="*/ 34170 h 1571603"/>
              <a:gd name="csX4" fmla="*/ 394077 w 732037"/>
              <a:gd name="csY4" fmla="*/ 12943 h 1571603"/>
              <a:gd name="csX5" fmla="*/ 341415 w 732037"/>
              <a:gd name="csY5" fmla="*/ 11814 h 1571603"/>
              <a:gd name="csX6" fmla="*/ 309440 w 732037"/>
              <a:gd name="csY6" fmla="*/ 65249 h 1571603"/>
              <a:gd name="csX7" fmla="*/ 319632 w 732037"/>
              <a:gd name="csY7" fmla="*/ 85914 h 1571603"/>
              <a:gd name="csX8" fmla="*/ 318632 w 732037"/>
              <a:gd name="csY8" fmla="*/ 110015 h 1571603"/>
              <a:gd name="csX9" fmla="*/ 246921 w 732037"/>
              <a:gd name="csY9" fmla="*/ 198083 h 1571603"/>
              <a:gd name="csX10" fmla="*/ 202660 w 732037"/>
              <a:gd name="csY10" fmla="*/ 269911 h 1571603"/>
              <a:gd name="csX11" fmla="*/ 176707 w 732037"/>
              <a:gd name="csY11" fmla="*/ 357233 h 1571603"/>
              <a:gd name="csX12" fmla="*/ 190612 w 732037"/>
              <a:gd name="csY12" fmla="*/ 439700 h 1571603"/>
              <a:gd name="csX13" fmla="*/ 227544 w 732037"/>
              <a:gd name="csY13" fmla="*/ 505527 h 1571603"/>
              <a:gd name="csX14" fmla="*/ 232541 w 732037"/>
              <a:gd name="csY14" fmla="*/ 516294 h 1571603"/>
              <a:gd name="csX15" fmla="*/ 224356 w 732037"/>
              <a:gd name="csY15" fmla="*/ 528960 h 1571603"/>
              <a:gd name="csX16" fmla="*/ 227944 w 732037"/>
              <a:gd name="csY16" fmla="*/ 540026 h 1571603"/>
              <a:gd name="csX17" fmla="*/ 238897 w 732037"/>
              <a:gd name="csY17" fmla="*/ 545570 h 1571603"/>
              <a:gd name="csX18" fmla="*/ 242386 w 732037"/>
              <a:gd name="csY18" fmla="*/ 571785 h 1571603"/>
              <a:gd name="csX19" fmla="*/ 214067 w 732037"/>
              <a:gd name="csY19" fmla="*/ 590809 h 1571603"/>
              <a:gd name="csX20" fmla="*/ 201355 w 732037"/>
              <a:gd name="csY20" fmla="*/ 609067 h 1571603"/>
              <a:gd name="csX21" fmla="*/ 188474 w 732037"/>
              <a:gd name="csY21" fmla="*/ 628398 h 1571603"/>
              <a:gd name="csX22" fmla="*/ 162658 w 732037"/>
              <a:gd name="csY22" fmla="*/ 657096 h 1571603"/>
              <a:gd name="csX23" fmla="*/ 175395 w 732037"/>
              <a:gd name="csY23" fmla="*/ 691621 h 1571603"/>
              <a:gd name="csX24" fmla="*/ 201948 w 732037"/>
              <a:gd name="csY24" fmla="*/ 700523 h 1571603"/>
              <a:gd name="csX25" fmla="*/ 241426 w 732037"/>
              <a:gd name="csY25" fmla="*/ 706574 h 1571603"/>
              <a:gd name="csX26" fmla="*/ 242586 w 732037"/>
              <a:gd name="csY26" fmla="*/ 715946 h 1571603"/>
              <a:gd name="csX27" fmla="*/ 242424 w 732037"/>
              <a:gd name="csY27" fmla="*/ 801932 h 1571603"/>
              <a:gd name="csX28" fmla="*/ 238000 w 732037"/>
              <a:gd name="csY28" fmla="*/ 846774 h 1571603"/>
              <a:gd name="csX29" fmla="*/ 232752 w 732037"/>
              <a:gd name="csY29" fmla="*/ 891559 h 1571603"/>
              <a:gd name="csX30" fmla="*/ 223037 w 732037"/>
              <a:gd name="csY30" fmla="*/ 950433 h 1571603"/>
              <a:gd name="csX31" fmla="*/ 210247 w 732037"/>
              <a:gd name="csY31" fmla="*/ 1012485 h 1571603"/>
              <a:gd name="csX32" fmla="*/ 194820 w 732037"/>
              <a:gd name="csY32" fmla="*/ 1069074 h 1571603"/>
              <a:gd name="csX33" fmla="*/ 165707 w 732037"/>
              <a:gd name="csY33" fmla="*/ 1163788 h 1571603"/>
              <a:gd name="csX34" fmla="*/ 144382 w 732037"/>
              <a:gd name="csY34" fmla="*/ 1185530 h 1571603"/>
              <a:gd name="csX35" fmla="*/ 129590 w 732037"/>
              <a:gd name="csY35" fmla="*/ 1191342 h 1571603"/>
              <a:gd name="csX36" fmla="*/ 122255 w 732037"/>
              <a:gd name="csY36" fmla="*/ 1208476 h 1571603"/>
              <a:gd name="csX37" fmla="*/ 127491 w 732037"/>
              <a:gd name="csY37" fmla="*/ 1222193 h 1571603"/>
              <a:gd name="csX38" fmla="*/ 118348 w 732037"/>
              <a:gd name="csY38" fmla="*/ 1261470 h 1571603"/>
              <a:gd name="csX39" fmla="*/ 58232 w 732037"/>
              <a:gd name="csY39" fmla="*/ 1319224 h 1571603"/>
              <a:gd name="csX40" fmla="*/ 28815 w 732037"/>
              <a:gd name="csY40" fmla="*/ 1389717 h 1571603"/>
              <a:gd name="csX41" fmla="*/ 32634 w 732037"/>
              <a:gd name="csY41" fmla="*/ 1426050 h 1571603"/>
              <a:gd name="csX42" fmla="*/ 30331 w 732037"/>
              <a:gd name="csY42" fmla="*/ 1441003 h 1571603"/>
              <a:gd name="csX43" fmla="*/ 9180 w 732037"/>
              <a:gd name="csY43" fmla="*/ 1516655 h 1571603"/>
              <a:gd name="csX44" fmla="*/ 20082 w 732037"/>
              <a:gd name="csY44" fmla="*/ 1531402 h 1571603"/>
              <a:gd name="csX45" fmla="*/ 74798 w 732037"/>
              <a:gd name="csY45" fmla="*/ 1543794 h 1571603"/>
              <a:gd name="csX46" fmla="*/ 113225 w 732037"/>
              <a:gd name="csY46" fmla="*/ 1550305 h 1571603"/>
              <a:gd name="csX47" fmla="*/ 136142 w 732037"/>
              <a:gd name="csY47" fmla="*/ 1553484 h 1571603"/>
              <a:gd name="csX48" fmla="*/ 177578 w 732037"/>
              <a:gd name="csY48" fmla="*/ 1556220 h 1571603"/>
              <a:gd name="csX49" fmla="*/ 231027 w 732037"/>
              <a:gd name="csY49" fmla="*/ 1560698 h 1571603"/>
              <a:gd name="csX50" fmla="*/ 254342 w 732037"/>
              <a:gd name="csY50" fmla="*/ 1561142 h 1571603"/>
              <a:gd name="csX51" fmla="*/ 459180 w 732037"/>
              <a:gd name="csY51" fmla="*/ 1563411 h 1571603"/>
              <a:gd name="csX52" fmla="*/ 531340 w 732037"/>
              <a:gd name="csY52" fmla="*/ 1560936 h 1571603"/>
              <a:gd name="csX53" fmla="*/ 590888 w 732037"/>
              <a:gd name="csY53" fmla="*/ 1555951 h 1571603"/>
              <a:gd name="csX54" fmla="*/ 710712 w 732037"/>
              <a:gd name="csY54" fmla="*/ 1533916 h 1571603"/>
              <a:gd name="csX55" fmla="*/ 724356 w 732037"/>
              <a:gd name="csY55" fmla="*/ 1516144 h 1571603"/>
              <a:gd name="csX56" fmla="*/ 707380 w 732037"/>
              <a:gd name="csY56" fmla="*/ 1449380 h 1571603"/>
              <a:gd name="csX57" fmla="*/ 707050 w 732037"/>
              <a:gd name="csY57" fmla="*/ 1440881 h 1571603"/>
              <a:gd name="csX58" fmla="*/ 731479 w 732037"/>
              <a:gd name="csY58" fmla="*/ 1500017 h 1571603"/>
              <a:gd name="csX59" fmla="*/ 731163 w 732037"/>
              <a:gd name="csY59" fmla="*/ 1513759 h 1571603"/>
              <a:gd name="csX60" fmla="*/ 731650 w 732037"/>
              <a:gd name="csY60" fmla="*/ 1521766 h 1571603"/>
              <a:gd name="csX61" fmla="*/ 721896 w 732037"/>
              <a:gd name="csY61" fmla="*/ 1537319 h 1571603"/>
              <a:gd name="csX62" fmla="*/ 657740 w 732037"/>
              <a:gd name="csY62" fmla="*/ 1553265 h 1571603"/>
              <a:gd name="csX63" fmla="*/ 507791 w 732037"/>
              <a:gd name="csY63" fmla="*/ 1568943 h 1571603"/>
              <a:gd name="csX64" fmla="*/ 264676 w 732037"/>
              <a:gd name="csY64" fmla="*/ 1569724 h 1571603"/>
              <a:gd name="csX65" fmla="*/ 82743 w 732037"/>
              <a:gd name="csY65" fmla="*/ 1553254 h 1571603"/>
              <a:gd name="csX66" fmla="*/ 17072 w 732037"/>
              <a:gd name="csY66" fmla="*/ 1538153 h 1571603"/>
              <a:gd name="csX67" fmla="*/ 275 w 732037"/>
              <a:gd name="csY67" fmla="*/ 1513030 h 1571603"/>
              <a:gd name="csX68" fmla="*/ 20923 w 732037"/>
              <a:gd name="csY68" fmla="*/ 1441861 h 1571603"/>
              <a:gd name="csX69" fmla="*/ 23045 w 732037"/>
              <a:gd name="csY69" fmla="*/ 1423105 h 1571603"/>
              <a:gd name="csX70" fmla="*/ 30564 w 732037"/>
              <a:gd name="csY70" fmla="*/ 1346289 h 1571603"/>
              <a:gd name="csX71" fmla="*/ 71350 w 732037"/>
              <a:gd name="csY71" fmla="*/ 1295039 h 1571603"/>
              <a:gd name="csX72" fmla="*/ 112257 w 732037"/>
              <a:gd name="csY72" fmla="*/ 1255093 h 1571603"/>
              <a:gd name="csX73" fmla="*/ 115864 w 732037"/>
              <a:gd name="csY73" fmla="*/ 1217271 h 1571603"/>
              <a:gd name="csX74" fmla="*/ 112256 w 732037"/>
              <a:gd name="csY74" fmla="*/ 1210870 h 1571603"/>
              <a:gd name="csX75" fmla="*/ 121141 w 732037"/>
              <a:gd name="csY75" fmla="*/ 1186548 h 1571603"/>
              <a:gd name="csX76" fmla="*/ 136571 w 732037"/>
              <a:gd name="csY76" fmla="*/ 1179850 h 1571603"/>
              <a:gd name="csX77" fmla="*/ 158281 w 732037"/>
              <a:gd name="csY77" fmla="*/ 1157879 h 1571603"/>
              <a:gd name="csX78" fmla="*/ 187986 w 732037"/>
              <a:gd name="csY78" fmla="*/ 1059736 h 1571603"/>
              <a:gd name="csX79" fmla="*/ 217119 w 732037"/>
              <a:gd name="csY79" fmla="*/ 938896 h 1571603"/>
              <a:gd name="csX80" fmla="*/ 225792 w 732037"/>
              <a:gd name="csY80" fmla="*/ 893236 h 1571603"/>
              <a:gd name="csX81" fmla="*/ 226150 w 732037"/>
              <a:gd name="csY81" fmla="*/ 887970 h 1571603"/>
              <a:gd name="csX82" fmla="*/ 230782 w 732037"/>
              <a:gd name="csY82" fmla="*/ 853969 h 1571603"/>
              <a:gd name="csX83" fmla="*/ 230786 w 732037"/>
              <a:gd name="csY83" fmla="*/ 848558 h 1571603"/>
              <a:gd name="csX84" fmla="*/ 233315 w 732037"/>
              <a:gd name="csY84" fmla="*/ 824438 h 1571603"/>
              <a:gd name="csX85" fmla="*/ 233199 w 732037"/>
              <a:gd name="csY85" fmla="*/ 819050 h 1571603"/>
              <a:gd name="csX86" fmla="*/ 235848 w 732037"/>
              <a:gd name="csY86" fmla="*/ 782380 h 1571603"/>
              <a:gd name="csX87" fmla="*/ 237465 w 732037"/>
              <a:gd name="csY87" fmla="*/ 719113 h 1571603"/>
              <a:gd name="csX88" fmla="*/ 233057 w 732037"/>
              <a:gd name="csY88" fmla="*/ 713160 h 1571603"/>
              <a:gd name="csX89" fmla="*/ 203056 w 732037"/>
              <a:gd name="csY89" fmla="*/ 708405 h 1571603"/>
              <a:gd name="csX90" fmla="*/ 169628 w 732037"/>
              <a:gd name="csY90" fmla="*/ 698106 h 1571603"/>
              <a:gd name="csX91" fmla="*/ 153237 w 732037"/>
              <a:gd name="csY91" fmla="*/ 659111 h 1571603"/>
              <a:gd name="csX92" fmla="*/ 178365 w 732037"/>
              <a:gd name="csY92" fmla="*/ 626008 h 1571603"/>
              <a:gd name="csX93" fmla="*/ 191885 w 732037"/>
              <a:gd name="csY93" fmla="*/ 617513 h 1571603"/>
              <a:gd name="csX94" fmla="*/ 193681 w 732037"/>
              <a:gd name="csY94" fmla="*/ 610098 h 1571603"/>
              <a:gd name="csX95" fmla="*/ 213301 w 732037"/>
              <a:gd name="csY95" fmla="*/ 579885 h 1571603"/>
              <a:gd name="csX96" fmla="*/ 229635 w 732037"/>
              <a:gd name="csY96" fmla="*/ 571429 h 1571603"/>
              <a:gd name="csX97" fmla="*/ 237351 w 732037"/>
              <a:gd name="csY97" fmla="*/ 565882 h 1571603"/>
              <a:gd name="csX98" fmla="*/ 233673 w 732037"/>
              <a:gd name="csY98" fmla="*/ 550926 h 1571603"/>
              <a:gd name="csX99" fmla="*/ 226799 w 732037"/>
              <a:gd name="csY99" fmla="*/ 548359 h 1571603"/>
              <a:gd name="csX100" fmla="*/ 218639 w 732037"/>
              <a:gd name="csY100" fmla="*/ 522664 h 1571603"/>
              <a:gd name="csX101" fmla="*/ 218264 w 732037"/>
              <a:gd name="csY101" fmla="*/ 505463 h 1571603"/>
              <a:gd name="csX102" fmla="*/ 181762 w 732037"/>
              <a:gd name="csY102" fmla="*/ 437574 h 1571603"/>
              <a:gd name="csX103" fmla="*/ 185971 w 732037"/>
              <a:gd name="csY103" fmla="*/ 289069 h 1571603"/>
              <a:gd name="csX104" fmla="*/ 253787 w 732037"/>
              <a:gd name="csY104" fmla="*/ 175580 h 1571603"/>
              <a:gd name="csX105" fmla="*/ 309639 w 732037"/>
              <a:gd name="csY105" fmla="*/ 108695 h 1571603"/>
              <a:gd name="csX106" fmla="*/ 318061 w 732037"/>
              <a:gd name="csY106" fmla="*/ 98855 h 1571603"/>
              <a:gd name="csX107" fmla="*/ 304967 w 732037"/>
              <a:gd name="csY107" fmla="*/ 70056 h 1571603"/>
              <a:gd name="csX108" fmla="*/ 317012 w 732037"/>
              <a:gd name="csY108" fmla="*/ 19436 h 1571603"/>
              <a:gd name="csX109" fmla="*/ 415542 w 732037"/>
              <a:gd name="csY109" fmla="*/ 18221 h 1571603"/>
              <a:gd name="csX110" fmla="*/ 423203 w 732037"/>
              <a:gd name="csY110" fmla="*/ 82660 h 1571603"/>
              <a:gd name="csX111" fmla="*/ 413361 w 732037"/>
              <a:gd name="csY111" fmla="*/ 97975 h 1571603"/>
              <a:gd name="csX112" fmla="*/ 421654 w 732037"/>
              <a:gd name="csY112" fmla="*/ 106676 h 1571603"/>
              <a:gd name="csX113" fmla="*/ 487032 w 732037"/>
              <a:gd name="csY113" fmla="*/ 184632 h 1571603"/>
              <a:gd name="csX114" fmla="*/ 489213 w 732037"/>
              <a:gd name="csY114" fmla="*/ 208238 h 1571603"/>
              <a:gd name="csX115" fmla="*/ 476520 w 732037"/>
              <a:gd name="csY115" fmla="*/ 235738 h 1571603"/>
              <a:gd name="csX116" fmla="*/ 472850 w 732037"/>
              <a:gd name="csY116" fmla="*/ 230703 h 1571603"/>
              <a:gd name="csX117" fmla="*/ 482723 w 732037"/>
              <a:gd name="csY117" fmla="*/ 208315 h 1571603"/>
              <a:gd name="csX118" fmla="*/ 480764 w 732037"/>
              <a:gd name="csY118" fmla="*/ 187916 h 1571603"/>
              <a:gd name="csX119" fmla="*/ 408519 w 732037"/>
              <a:gd name="csY119" fmla="*/ 105475 h 1571603"/>
              <a:gd name="csX120" fmla="*/ 408625 w 732037"/>
              <a:gd name="csY120" fmla="*/ 89203 h 1571603"/>
              <a:gd name="csX121" fmla="*/ 419600 w 732037"/>
              <a:gd name="csY121" fmla="*/ 71648 h 1571603"/>
              <a:gd name="csX122" fmla="*/ 418792 w 732037"/>
              <a:gd name="csY122" fmla="*/ 63179 h 1571603"/>
              <a:gd name="csX123" fmla="*/ 410943 w 732037"/>
              <a:gd name="csY123" fmla="*/ 66417 h 1571603"/>
              <a:gd name="csX124" fmla="*/ 400140 w 732037"/>
              <a:gd name="csY124" fmla="*/ 76155 h 1571603"/>
              <a:gd name="csX125" fmla="*/ 360599 w 732037"/>
              <a:gd name="csY125" fmla="*/ 51379 h 1571603"/>
              <a:gd name="csX126" fmla="*/ 360842 w 732037"/>
              <a:gd name="csY126" fmla="*/ 39128 h 1571603"/>
              <a:gd name="csX127" fmla="*/ 369470 w 732037"/>
              <a:gd name="csY127" fmla="*/ 30960 h 1571603"/>
              <a:gd name="csX128" fmla="*/ 365613 w 732037"/>
              <a:gd name="csY128" fmla="*/ 49108 h 1571603"/>
              <a:gd name="csX129" fmla="*/ 389468 w 732037"/>
              <a:gd name="csY129" fmla="*/ 71608 h 1571603"/>
              <a:gd name="csX130" fmla="*/ 408822 w 732037"/>
              <a:gd name="csY130" fmla="*/ 46613 h 1571603"/>
              <a:gd name="csX131" fmla="*/ 406842 w 732037"/>
              <a:gd name="csY131" fmla="*/ 38347 h 157160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</a:cxnLst>
            <a:rect l="l" t="t" r="r" b="b"/>
            <a:pathLst>
              <a:path w="732037" h="1571603">
                <a:moveTo>
                  <a:pt x="406842" y="38347"/>
                </a:moveTo>
                <a:cubicBezTo>
                  <a:pt x="408555" y="35869"/>
                  <a:pt x="410622" y="34608"/>
                  <a:pt x="411944" y="38343"/>
                </a:cubicBezTo>
                <a:cubicBezTo>
                  <a:pt x="413676" y="43242"/>
                  <a:pt x="414797" y="48356"/>
                  <a:pt x="416198" y="53444"/>
                </a:cubicBezTo>
                <a:cubicBezTo>
                  <a:pt x="422922" y="48977"/>
                  <a:pt x="424340" y="41699"/>
                  <a:pt x="418945" y="34170"/>
                </a:cubicBezTo>
                <a:cubicBezTo>
                  <a:pt x="412483" y="25152"/>
                  <a:pt x="404444" y="17554"/>
                  <a:pt x="394077" y="12943"/>
                </a:cubicBezTo>
                <a:cubicBezTo>
                  <a:pt x="376702" y="5216"/>
                  <a:pt x="358713" y="6244"/>
                  <a:pt x="341415" y="11814"/>
                </a:cubicBezTo>
                <a:cubicBezTo>
                  <a:pt x="323675" y="17525"/>
                  <a:pt x="304459" y="39816"/>
                  <a:pt x="309440" y="65249"/>
                </a:cubicBezTo>
                <a:cubicBezTo>
                  <a:pt x="310868" y="72543"/>
                  <a:pt x="315482" y="79463"/>
                  <a:pt x="319632" y="85914"/>
                </a:cubicBezTo>
                <a:cubicBezTo>
                  <a:pt x="325434" y="94933"/>
                  <a:pt x="325800" y="102817"/>
                  <a:pt x="318632" y="110015"/>
                </a:cubicBezTo>
                <a:cubicBezTo>
                  <a:pt x="291775" y="136984"/>
                  <a:pt x="269594" y="167702"/>
                  <a:pt x="246921" y="198083"/>
                </a:cubicBezTo>
                <a:cubicBezTo>
                  <a:pt x="230003" y="220751"/>
                  <a:pt x="215685" y="244921"/>
                  <a:pt x="202660" y="269911"/>
                </a:cubicBezTo>
                <a:cubicBezTo>
                  <a:pt x="188381" y="297309"/>
                  <a:pt x="179513" y="326657"/>
                  <a:pt x="176707" y="357233"/>
                </a:cubicBezTo>
                <a:cubicBezTo>
                  <a:pt x="174106" y="385578"/>
                  <a:pt x="180131" y="413140"/>
                  <a:pt x="190612" y="439700"/>
                </a:cubicBezTo>
                <a:cubicBezTo>
                  <a:pt x="199946" y="463353"/>
                  <a:pt x="211538" y="485623"/>
                  <a:pt x="227544" y="505527"/>
                </a:cubicBezTo>
                <a:cubicBezTo>
                  <a:pt x="229982" y="508558"/>
                  <a:pt x="230954" y="512768"/>
                  <a:pt x="232541" y="516294"/>
                </a:cubicBezTo>
                <a:cubicBezTo>
                  <a:pt x="229578" y="520824"/>
                  <a:pt x="226658" y="524724"/>
                  <a:pt x="224356" y="528960"/>
                </a:cubicBezTo>
                <a:cubicBezTo>
                  <a:pt x="221823" y="533618"/>
                  <a:pt x="222675" y="537588"/>
                  <a:pt x="227944" y="540026"/>
                </a:cubicBezTo>
                <a:cubicBezTo>
                  <a:pt x="231656" y="541743"/>
                  <a:pt x="235331" y="543568"/>
                  <a:pt x="238897" y="545570"/>
                </a:cubicBezTo>
                <a:cubicBezTo>
                  <a:pt x="249613" y="551585"/>
                  <a:pt x="251795" y="563681"/>
                  <a:pt x="242386" y="571785"/>
                </a:cubicBezTo>
                <a:cubicBezTo>
                  <a:pt x="233816" y="579166"/>
                  <a:pt x="224045" y="585423"/>
                  <a:pt x="214067" y="590809"/>
                </a:cubicBezTo>
                <a:cubicBezTo>
                  <a:pt x="206271" y="595018"/>
                  <a:pt x="202051" y="601487"/>
                  <a:pt x="201355" y="609067"/>
                </a:cubicBezTo>
                <a:cubicBezTo>
                  <a:pt x="200489" y="618497"/>
                  <a:pt x="195720" y="623726"/>
                  <a:pt x="188474" y="628398"/>
                </a:cubicBezTo>
                <a:cubicBezTo>
                  <a:pt x="177332" y="635582"/>
                  <a:pt x="167866" y="644503"/>
                  <a:pt x="162658" y="657096"/>
                </a:cubicBezTo>
                <a:cubicBezTo>
                  <a:pt x="156420" y="672181"/>
                  <a:pt x="160439" y="684301"/>
                  <a:pt x="175395" y="691621"/>
                </a:cubicBezTo>
                <a:cubicBezTo>
                  <a:pt x="183722" y="695697"/>
                  <a:pt x="192859" y="698589"/>
                  <a:pt x="201948" y="700523"/>
                </a:cubicBezTo>
                <a:cubicBezTo>
                  <a:pt x="214634" y="703224"/>
                  <a:pt x="227616" y="704530"/>
                  <a:pt x="241426" y="706574"/>
                </a:cubicBezTo>
                <a:cubicBezTo>
                  <a:pt x="241839" y="709770"/>
                  <a:pt x="242576" y="712857"/>
                  <a:pt x="242586" y="715946"/>
                </a:cubicBezTo>
                <a:cubicBezTo>
                  <a:pt x="242672" y="744610"/>
                  <a:pt x="243133" y="773285"/>
                  <a:pt x="242424" y="801932"/>
                </a:cubicBezTo>
                <a:cubicBezTo>
                  <a:pt x="242053" y="816907"/>
                  <a:pt x="239631" y="831838"/>
                  <a:pt x="238000" y="846774"/>
                </a:cubicBezTo>
                <a:cubicBezTo>
                  <a:pt x="236368" y="861717"/>
                  <a:pt x="234927" y="876693"/>
                  <a:pt x="232752" y="891559"/>
                </a:cubicBezTo>
                <a:cubicBezTo>
                  <a:pt x="229873" y="911238"/>
                  <a:pt x="226675" y="930882"/>
                  <a:pt x="223037" y="950433"/>
                </a:cubicBezTo>
                <a:cubicBezTo>
                  <a:pt x="219173" y="971193"/>
                  <a:pt x="215113" y="991942"/>
                  <a:pt x="210247" y="1012485"/>
                </a:cubicBezTo>
                <a:cubicBezTo>
                  <a:pt x="205743" y="1031500"/>
                  <a:pt x="200395" y="1050337"/>
                  <a:pt x="194820" y="1069074"/>
                </a:cubicBezTo>
                <a:cubicBezTo>
                  <a:pt x="185401" y="1100731"/>
                  <a:pt x="175708" y="1132311"/>
                  <a:pt x="165707" y="1163788"/>
                </a:cubicBezTo>
                <a:cubicBezTo>
                  <a:pt x="162367" y="1174302"/>
                  <a:pt x="156145" y="1182634"/>
                  <a:pt x="144382" y="1185530"/>
                </a:cubicBezTo>
                <a:cubicBezTo>
                  <a:pt x="139281" y="1186787"/>
                  <a:pt x="134434" y="1189193"/>
                  <a:pt x="129590" y="1191342"/>
                </a:cubicBezTo>
                <a:cubicBezTo>
                  <a:pt x="120028" y="1195581"/>
                  <a:pt x="118779" y="1198539"/>
                  <a:pt x="122255" y="1208476"/>
                </a:cubicBezTo>
                <a:cubicBezTo>
                  <a:pt x="123870" y="1213094"/>
                  <a:pt x="125990" y="1217542"/>
                  <a:pt x="127491" y="1222193"/>
                </a:cubicBezTo>
                <a:cubicBezTo>
                  <a:pt x="132294" y="1237066"/>
                  <a:pt x="129961" y="1250353"/>
                  <a:pt x="118348" y="1261470"/>
                </a:cubicBezTo>
                <a:cubicBezTo>
                  <a:pt x="98275" y="1280686"/>
                  <a:pt x="78038" y="1299737"/>
                  <a:pt x="58232" y="1319224"/>
                </a:cubicBezTo>
                <a:cubicBezTo>
                  <a:pt x="38634" y="1338507"/>
                  <a:pt x="29913" y="1362564"/>
                  <a:pt x="28815" y="1389717"/>
                </a:cubicBezTo>
                <a:cubicBezTo>
                  <a:pt x="28318" y="1402031"/>
                  <a:pt x="29110" y="1414206"/>
                  <a:pt x="32634" y="1426050"/>
                </a:cubicBezTo>
                <a:cubicBezTo>
                  <a:pt x="34273" y="1431554"/>
                  <a:pt x="33300" y="1435929"/>
                  <a:pt x="30331" y="1441003"/>
                </a:cubicBezTo>
                <a:cubicBezTo>
                  <a:pt x="16698" y="1464298"/>
                  <a:pt x="8890" y="1489397"/>
                  <a:pt x="9180" y="1516655"/>
                </a:cubicBezTo>
                <a:cubicBezTo>
                  <a:pt x="9291" y="1527012"/>
                  <a:pt x="9917" y="1528771"/>
                  <a:pt x="20082" y="1531402"/>
                </a:cubicBezTo>
                <a:cubicBezTo>
                  <a:pt x="38179" y="1536086"/>
                  <a:pt x="56480" y="1540035"/>
                  <a:pt x="74798" y="1543794"/>
                </a:cubicBezTo>
                <a:cubicBezTo>
                  <a:pt x="87517" y="1546403"/>
                  <a:pt x="100396" y="1548250"/>
                  <a:pt x="113225" y="1550305"/>
                </a:cubicBezTo>
                <a:cubicBezTo>
                  <a:pt x="120841" y="1551524"/>
                  <a:pt x="128467" y="1552843"/>
                  <a:pt x="136142" y="1553484"/>
                </a:cubicBezTo>
                <a:cubicBezTo>
                  <a:pt x="149934" y="1554635"/>
                  <a:pt x="163778" y="1555156"/>
                  <a:pt x="177578" y="1556220"/>
                </a:cubicBezTo>
                <a:cubicBezTo>
                  <a:pt x="195403" y="1557595"/>
                  <a:pt x="213196" y="1559407"/>
                  <a:pt x="231027" y="1560698"/>
                </a:cubicBezTo>
                <a:cubicBezTo>
                  <a:pt x="238768" y="1561259"/>
                  <a:pt x="246585" y="1560709"/>
                  <a:pt x="254342" y="1561142"/>
                </a:cubicBezTo>
                <a:cubicBezTo>
                  <a:pt x="322588" y="1564942"/>
                  <a:pt x="390896" y="1563427"/>
                  <a:pt x="459180" y="1563411"/>
                </a:cubicBezTo>
                <a:cubicBezTo>
                  <a:pt x="483236" y="1563406"/>
                  <a:pt x="507311" y="1562248"/>
                  <a:pt x="531340" y="1560936"/>
                </a:cubicBezTo>
                <a:cubicBezTo>
                  <a:pt x="551225" y="1559849"/>
                  <a:pt x="571160" y="1558554"/>
                  <a:pt x="590888" y="1555951"/>
                </a:cubicBezTo>
                <a:cubicBezTo>
                  <a:pt x="631179" y="1550635"/>
                  <a:pt x="671338" y="1544328"/>
                  <a:pt x="710712" y="1533916"/>
                </a:cubicBezTo>
                <a:cubicBezTo>
                  <a:pt x="722630" y="1530764"/>
                  <a:pt x="724036" y="1528558"/>
                  <a:pt x="724356" y="1516144"/>
                </a:cubicBezTo>
                <a:cubicBezTo>
                  <a:pt x="724970" y="1492256"/>
                  <a:pt x="718637" y="1470245"/>
                  <a:pt x="707380" y="1449380"/>
                </a:cubicBezTo>
                <a:cubicBezTo>
                  <a:pt x="706259" y="1447304"/>
                  <a:pt x="706896" y="1444279"/>
                  <a:pt x="707050" y="1440881"/>
                </a:cubicBezTo>
                <a:cubicBezTo>
                  <a:pt x="722747" y="1457101"/>
                  <a:pt x="728653" y="1477963"/>
                  <a:pt x="731479" y="1500017"/>
                </a:cubicBezTo>
                <a:cubicBezTo>
                  <a:pt x="731992" y="1504029"/>
                  <a:pt x="731781" y="1508135"/>
                  <a:pt x="731163" y="1513759"/>
                </a:cubicBezTo>
                <a:cubicBezTo>
                  <a:pt x="730831" y="1517468"/>
                  <a:pt x="731241" y="1519618"/>
                  <a:pt x="731650" y="1521766"/>
                </a:cubicBezTo>
                <a:cubicBezTo>
                  <a:pt x="733191" y="1529956"/>
                  <a:pt x="730165" y="1535242"/>
                  <a:pt x="721896" y="1537319"/>
                </a:cubicBezTo>
                <a:cubicBezTo>
                  <a:pt x="700520" y="1542690"/>
                  <a:pt x="679367" y="1549248"/>
                  <a:pt x="657740" y="1553265"/>
                </a:cubicBezTo>
                <a:cubicBezTo>
                  <a:pt x="608220" y="1562464"/>
                  <a:pt x="558146" y="1566701"/>
                  <a:pt x="507791" y="1568943"/>
                </a:cubicBezTo>
                <a:cubicBezTo>
                  <a:pt x="426738" y="1572552"/>
                  <a:pt x="345677" y="1572161"/>
                  <a:pt x="264676" y="1569724"/>
                </a:cubicBezTo>
                <a:cubicBezTo>
                  <a:pt x="203800" y="1567891"/>
                  <a:pt x="142882" y="1563907"/>
                  <a:pt x="82743" y="1553254"/>
                </a:cubicBezTo>
                <a:cubicBezTo>
                  <a:pt x="60647" y="1549341"/>
                  <a:pt x="38739" y="1544032"/>
                  <a:pt x="17072" y="1538153"/>
                </a:cubicBezTo>
                <a:cubicBezTo>
                  <a:pt x="1381" y="1533894"/>
                  <a:pt x="-938" y="1529341"/>
                  <a:pt x="275" y="1513030"/>
                </a:cubicBezTo>
                <a:cubicBezTo>
                  <a:pt x="2146" y="1487871"/>
                  <a:pt x="7321" y="1463566"/>
                  <a:pt x="20923" y="1441861"/>
                </a:cubicBezTo>
                <a:cubicBezTo>
                  <a:pt x="24812" y="1435656"/>
                  <a:pt x="24566" y="1429699"/>
                  <a:pt x="23045" y="1423105"/>
                </a:cubicBezTo>
                <a:cubicBezTo>
                  <a:pt x="16952" y="1396684"/>
                  <a:pt x="19689" y="1370924"/>
                  <a:pt x="30564" y="1346289"/>
                </a:cubicBezTo>
                <a:cubicBezTo>
                  <a:pt x="39621" y="1325774"/>
                  <a:pt x="54481" y="1309709"/>
                  <a:pt x="71350" y="1295039"/>
                </a:cubicBezTo>
                <a:cubicBezTo>
                  <a:pt x="85712" y="1282550"/>
                  <a:pt x="99164" y="1268932"/>
                  <a:pt x="112257" y="1255093"/>
                </a:cubicBezTo>
                <a:cubicBezTo>
                  <a:pt x="122891" y="1243852"/>
                  <a:pt x="124955" y="1230879"/>
                  <a:pt x="115864" y="1217271"/>
                </a:cubicBezTo>
                <a:cubicBezTo>
                  <a:pt x="114506" y="1215239"/>
                  <a:pt x="113304" y="1213078"/>
                  <a:pt x="112256" y="1210870"/>
                </a:cubicBezTo>
                <a:cubicBezTo>
                  <a:pt x="106526" y="1198808"/>
                  <a:pt x="109052" y="1191969"/>
                  <a:pt x="121141" y="1186548"/>
                </a:cubicBezTo>
                <a:cubicBezTo>
                  <a:pt x="126274" y="1184246"/>
                  <a:pt x="131201" y="1180803"/>
                  <a:pt x="136571" y="1179850"/>
                </a:cubicBezTo>
                <a:cubicBezTo>
                  <a:pt x="149372" y="1177579"/>
                  <a:pt x="154892" y="1168948"/>
                  <a:pt x="158281" y="1157879"/>
                </a:cubicBezTo>
                <a:cubicBezTo>
                  <a:pt x="168288" y="1125194"/>
                  <a:pt x="179178" y="1092742"/>
                  <a:pt x="187986" y="1059736"/>
                </a:cubicBezTo>
                <a:cubicBezTo>
                  <a:pt x="198666" y="1019713"/>
                  <a:pt x="207813" y="979272"/>
                  <a:pt x="217119" y="938896"/>
                </a:cubicBezTo>
                <a:cubicBezTo>
                  <a:pt x="220491" y="924267"/>
                  <a:pt x="222410" y="909302"/>
                  <a:pt x="225792" y="893236"/>
                </a:cubicBezTo>
                <a:cubicBezTo>
                  <a:pt x="226444" y="890644"/>
                  <a:pt x="226297" y="889307"/>
                  <a:pt x="226150" y="887970"/>
                </a:cubicBezTo>
                <a:cubicBezTo>
                  <a:pt x="227450" y="877085"/>
                  <a:pt x="228750" y="866198"/>
                  <a:pt x="230782" y="853969"/>
                </a:cubicBezTo>
                <a:cubicBezTo>
                  <a:pt x="231271" y="851270"/>
                  <a:pt x="231029" y="849914"/>
                  <a:pt x="230786" y="848558"/>
                </a:cubicBezTo>
                <a:cubicBezTo>
                  <a:pt x="231390" y="840967"/>
                  <a:pt x="231993" y="833375"/>
                  <a:pt x="233315" y="824438"/>
                </a:cubicBezTo>
                <a:cubicBezTo>
                  <a:pt x="233755" y="821744"/>
                  <a:pt x="233477" y="820397"/>
                  <a:pt x="233199" y="819050"/>
                </a:cubicBezTo>
                <a:cubicBezTo>
                  <a:pt x="233786" y="807422"/>
                  <a:pt x="234374" y="795794"/>
                  <a:pt x="235848" y="782380"/>
                </a:cubicBezTo>
                <a:cubicBezTo>
                  <a:pt x="237047" y="760099"/>
                  <a:pt x="237488" y="739606"/>
                  <a:pt x="237465" y="719113"/>
                </a:cubicBezTo>
                <a:cubicBezTo>
                  <a:pt x="237463" y="717127"/>
                  <a:pt x="234595" y="715144"/>
                  <a:pt x="233057" y="713160"/>
                </a:cubicBezTo>
                <a:cubicBezTo>
                  <a:pt x="223043" y="711630"/>
                  <a:pt x="212881" y="710731"/>
                  <a:pt x="203056" y="708405"/>
                </a:cubicBezTo>
                <a:cubicBezTo>
                  <a:pt x="191716" y="705720"/>
                  <a:pt x="180144" y="702931"/>
                  <a:pt x="169628" y="698106"/>
                </a:cubicBezTo>
                <a:cubicBezTo>
                  <a:pt x="154505" y="691164"/>
                  <a:pt x="148867" y="675179"/>
                  <a:pt x="153237" y="659111"/>
                </a:cubicBezTo>
                <a:cubicBezTo>
                  <a:pt x="157196" y="644561"/>
                  <a:pt x="166649" y="634454"/>
                  <a:pt x="178365" y="626008"/>
                </a:cubicBezTo>
                <a:cubicBezTo>
                  <a:pt x="182258" y="623202"/>
                  <a:pt x="186579" y="620992"/>
                  <a:pt x="191885" y="617513"/>
                </a:cubicBezTo>
                <a:cubicBezTo>
                  <a:pt x="194882" y="614532"/>
                  <a:pt x="197062" y="612583"/>
                  <a:pt x="193681" y="610098"/>
                </a:cubicBezTo>
                <a:cubicBezTo>
                  <a:pt x="193381" y="595591"/>
                  <a:pt x="202034" y="586776"/>
                  <a:pt x="213301" y="579885"/>
                </a:cubicBezTo>
                <a:cubicBezTo>
                  <a:pt x="218517" y="576695"/>
                  <a:pt x="224270" y="574393"/>
                  <a:pt x="229635" y="571429"/>
                </a:cubicBezTo>
                <a:cubicBezTo>
                  <a:pt x="232401" y="569901"/>
                  <a:pt x="235344" y="568225"/>
                  <a:pt x="237351" y="565882"/>
                </a:cubicBezTo>
                <a:cubicBezTo>
                  <a:pt x="243193" y="559063"/>
                  <a:pt x="242021" y="554779"/>
                  <a:pt x="233673" y="550926"/>
                </a:cubicBezTo>
                <a:cubicBezTo>
                  <a:pt x="231458" y="549904"/>
                  <a:pt x="229049" y="549314"/>
                  <a:pt x="226799" y="548359"/>
                </a:cubicBezTo>
                <a:cubicBezTo>
                  <a:pt x="215108" y="543398"/>
                  <a:pt x="211118" y="532802"/>
                  <a:pt x="218639" y="522664"/>
                </a:cubicBezTo>
                <a:cubicBezTo>
                  <a:pt x="223647" y="515913"/>
                  <a:pt x="222661" y="511633"/>
                  <a:pt x="218264" y="505463"/>
                </a:cubicBezTo>
                <a:cubicBezTo>
                  <a:pt x="203255" y="484407"/>
                  <a:pt x="190650" y="461993"/>
                  <a:pt x="181762" y="437574"/>
                </a:cubicBezTo>
                <a:cubicBezTo>
                  <a:pt x="163530" y="387483"/>
                  <a:pt x="165826" y="338057"/>
                  <a:pt x="185971" y="289069"/>
                </a:cubicBezTo>
                <a:cubicBezTo>
                  <a:pt x="202921" y="247851"/>
                  <a:pt x="226229" y="210377"/>
                  <a:pt x="253787" y="175580"/>
                </a:cubicBezTo>
                <a:cubicBezTo>
                  <a:pt x="271814" y="152817"/>
                  <a:pt x="290973" y="130951"/>
                  <a:pt x="309639" y="108695"/>
                </a:cubicBezTo>
                <a:cubicBezTo>
                  <a:pt x="312744" y="104993"/>
                  <a:pt x="315922" y="101352"/>
                  <a:pt x="318061" y="98855"/>
                </a:cubicBezTo>
                <a:cubicBezTo>
                  <a:pt x="313257" y="88362"/>
                  <a:pt x="308695" y="79376"/>
                  <a:pt x="304967" y="70056"/>
                </a:cubicBezTo>
                <a:cubicBezTo>
                  <a:pt x="297146" y="50504"/>
                  <a:pt x="303366" y="33481"/>
                  <a:pt x="317012" y="19436"/>
                </a:cubicBezTo>
                <a:cubicBezTo>
                  <a:pt x="344741" y="-9105"/>
                  <a:pt x="393463" y="-3345"/>
                  <a:pt x="415542" y="18221"/>
                </a:cubicBezTo>
                <a:cubicBezTo>
                  <a:pt x="429559" y="31914"/>
                  <a:pt x="438373" y="56968"/>
                  <a:pt x="423203" y="82660"/>
                </a:cubicBezTo>
                <a:cubicBezTo>
                  <a:pt x="420306" y="87568"/>
                  <a:pt x="417047" y="92262"/>
                  <a:pt x="413361" y="97975"/>
                </a:cubicBezTo>
                <a:cubicBezTo>
                  <a:pt x="416167" y="100932"/>
                  <a:pt x="418781" y="103940"/>
                  <a:pt x="421654" y="106676"/>
                </a:cubicBezTo>
                <a:cubicBezTo>
                  <a:pt x="446372" y="130213"/>
                  <a:pt x="467902" y="156374"/>
                  <a:pt x="487032" y="184632"/>
                </a:cubicBezTo>
                <a:cubicBezTo>
                  <a:pt x="492374" y="192525"/>
                  <a:pt x="493990" y="199495"/>
                  <a:pt x="489213" y="208238"/>
                </a:cubicBezTo>
                <a:cubicBezTo>
                  <a:pt x="484525" y="216819"/>
                  <a:pt x="481033" y="226053"/>
                  <a:pt x="476520" y="235738"/>
                </a:cubicBezTo>
                <a:cubicBezTo>
                  <a:pt x="472168" y="236089"/>
                  <a:pt x="471165" y="234358"/>
                  <a:pt x="472850" y="230703"/>
                </a:cubicBezTo>
                <a:cubicBezTo>
                  <a:pt x="476263" y="223297"/>
                  <a:pt x="479344" y="215738"/>
                  <a:pt x="482723" y="208315"/>
                </a:cubicBezTo>
                <a:cubicBezTo>
                  <a:pt x="486016" y="201080"/>
                  <a:pt x="485571" y="194961"/>
                  <a:pt x="480764" y="187916"/>
                </a:cubicBezTo>
                <a:cubicBezTo>
                  <a:pt x="459995" y="157475"/>
                  <a:pt x="437234" y="128912"/>
                  <a:pt x="408519" y="105475"/>
                </a:cubicBezTo>
                <a:cubicBezTo>
                  <a:pt x="403555" y="101425"/>
                  <a:pt x="403835" y="96489"/>
                  <a:pt x="408625" y="89203"/>
                </a:cubicBezTo>
                <a:cubicBezTo>
                  <a:pt x="412416" y="83438"/>
                  <a:pt x="416045" y="77562"/>
                  <a:pt x="419600" y="71648"/>
                </a:cubicBezTo>
                <a:cubicBezTo>
                  <a:pt x="421349" y="68739"/>
                  <a:pt x="422717" y="65537"/>
                  <a:pt x="418792" y="63179"/>
                </a:cubicBezTo>
                <a:cubicBezTo>
                  <a:pt x="414834" y="60801"/>
                  <a:pt x="413218" y="63883"/>
                  <a:pt x="410943" y="66417"/>
                </a:cubicBezTo>
                <a:cubicBezTo>
                  <a:pt x="407706" y="70022"/>
                  <a:pt x="404330" y="74045"/>
                  <a:pt x="400140" y="76155"/>
                </a:cubicBezTo>
                <a:cubicBezTo>
                  <a:pt x="381561" y="85507"/>
                  <a:pt x="360821" y="72312"/>
                  <a:pt x="360599" y="51379"/>
                </a:cubicBezTo>
                <a:cubicBezTo>
                  <a:pt x="360556" y="47292"/>
                  <a:pt x="360308" y="43152"/>
                  <a:pt x="360842" y="39128"/>
                </a:cubicBezTo>
                <a:cubicBezTo>
                  <a:pt x="361447" y="34568"/>
                  <a:pt x="362880" y="30159"/>
                  <a:pt x="369470" y="30960"/>
                </a:cubicBezTo>
                <a:cubicBezTo>
                  <a:pt x="368501" y="37551"/>
                  <a:pt x="365745" y="43300"/>
                  <a:pt x="365613" y="49108"/>
                </a:cubicBezTo>
                <a:cubicBezTo>
                  <a:pt x="365328" y="61659"/>
                  <a:pt x="377498" y="72522"/>
                  <a:pt x="389468" y="71608"/>
                </a:cubicBezTo>
                <a:cubicBezTo>
                  <a:pt x="401478" y="70690"/>
                  <a:pt x="410127" y="59637"/>
                  <a:pt x="408822" y="46613"/>
                </a:cubicBezTo>
                <a:cubicBezTo>
                  <a:pt x="408542" y="43819"/>
                  <a:pt x="407521" y="41100"/>
                  <a:pt x="406842" y="38347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1" name="Free-form: Shape 70">
            <a:extLst>
              <a:ext uri="{FF2B5EF4-FFF2-40B4-BE49-F238E27FC236}">
                <a16:creationId xmlns:a16="http://schemas.microsoft.com/office/drawing/2014/main" id="{8BA184E7-A0A5-0D6E-D2E1-C5410234E3EA}"/>
              </a:ext>
            </a:extLst>
          </p:cNvPr>
          <p:cNvSpPr/>
          <p:nvPr/>
        </p:nvSpPr>
        <p:spPr>
          <a:xfrm>
            <a:off x="10681562" y="2431904"/>
            <a:ext cx="91545" cy="184495"/>
          </a:xfrm>
          <a:custGeom>
            <a:avLst/>
            <a:gdLst>
              <a:gd name="csX0" fmla="*/ 96534 w 100699"/>
              <a:gd name="csY0" fmla="*/ 202912 h 202945"/>
              <a:gd name="csX1" fmla="*/ 91036 w 100699"/>
              <a:gd name="csY1" fmla="*/ 196780 h 202945"/>
              <a:gd name="csX2" fmla="*/ 93357 w 100699"/>
              <a:gd name="csY2" fmla="*/ 178731 h 202945"/>
              <a:gd name="csX3" fmla="*/ 75903 w 100699"/>
              <a:gd name="csY3" fmla="*/ 106029 h 202945"/>
              <a:gd name="csX4" fmla="*/ 72780 w 100699"/>
              <a:gd name="csY4" fmla="*/ 102473 h 202945"/>
              <a:gd name="csX5" fmla="*/ 10982 w 100699"/>
              <a:gd name="csY5" fmla="*/ 41414 h 202945"/>
              <a:gd name="csX6" fmla="*/ 676 w 100699"/>
              <a:gd name="csY6" fmla="*/ 2936 h 202945"/>
              <a:gd name="csX7" fmla="*/ 5198 w 100699"/>
              <a:gd name="csY7" fmla="*/ 0 h 202945"/>
              <a:gd name="csX8" fmla="*/ 15435 w 100699"/>
              <a:gd name="csY8" fmla="*/ 35855 h 202945"/>
              <a:gd name="csX9" fmla="*/ 44498 w 100699"/>
              <a:gd name="csY9" fmla="*/ 63833 h 202945"/>
              <a:gd name="csX10" fmla="*/ 81385 w 100699"/>
              <a:gd name="csY10" fmla="*/ 106005 h 202945"/>
              <a:gd name="csX11" fmla="*/ 98950 w 100699"/>
              <a:gd name="csY11" fmla="*/ 190063 h 202945"/>
              <a:gd name="csX12" fmla="*/ 96534 w 100699"/>
              <a:gd name="csY12" fmla="*/ 202912 h 20294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</a:cxnLst>
            <a:rect l="l" t="t" r="r" b="b"/>
            <a:pathLst>
              <a:path w="100699" h="202945">
                <a:moveTo>
                  <a:pt x="96534" y="202912"/>
                </a:moveTo>
                <a:cubicBezTo>
                  <a:pt x="91699" y="203291"/>
                  <a:pt x="90650" y="200377"/>
                  <a:pt x="91036" y="196780"/>
                </a:cubicBezTo>
                <a:cubicBezTo>
                  <a:pt x="91685" y="190750"/>
                  <a:pt x="92933" y="184771"/>
                  <a:pt x="93357" y="178731"/>
                </a:cubicBezTo>
                <a:cubicBezTo>
                  <a:pt x="95183" y="152694"/>
                  <a:pt x="86034" y="129222"/>
                  <a:pt x="75903" y="106029"/>
                </a:cubicBezTo>
                <a:cubicBezTo>
                  <a:pt x="75300" y="104650"/>
                  <a:pt x="73904" y="103585"/>
                  <a:pt x="72780" y="102473"/>
                </a:cubicBezTo>
                <a:cubicBezTo>
                  <a:pt x="52199" y="82101"/>
                  <a:pt x="31673" y="61673"/>
                  <a:pt x="10982" y="41414"/>
                </a:cubicBezTo>
                <a:cubicBezTo>
                  <a:pt x="-119" y="30544"/>
                  <a:pt x="-1041" y="17093"/>
                  <a:pt x="676" y="2936"/>
                </a:cubicBezTo>
                <a:cubicBezTo>
                  <a:pt x="808" y="1852"/>
                  <a:pt x="2922" y="1010"/>
                  <a:pt x="5198" y="0"/>
                </a:cubicBezTo>
                <a:cubicBezTo>
                  <a:pt x="2043" y="13772"/>
                  <a:pt x="5665" y="25821"/>
                  <a:pt x="15435" y="35855"/>
                </a:cubicBezTo>
                <a:cubicBezTo>
                  <a:pt x="24811" y="45486"/>
                  <a:pt x="35301" y="54047"/>
                  <a:pt x="44498" y="63833"/>
                </a:cubicBezTo>
                <a:cubicBezTo>
                  <a:pt x="57293" y="77447"/>
                  <a:pt x="70760" y="90773"/>
                  <a:pt x="81385" y="106005"/>
                </a:cubicBezTo>
                <a:cubicBezTo>
                  <a:pt x="98896" y="131109"/>
                  <a:pt x="103759" y="159808"/>
                  <a:pt x="98950" y="190063"/>
                </a:cubicBezTo>
                <a:cubicBezTo>
                  <a:pt x="98311" y="194082"/>
                  <a:pt x="97697" y="198105"/>
                  <a:pt x="96534" y="202912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2" name="Free-form: Shape 71">
            <a:extLst>
              <a:ext uri="{FF2B5EF4-FFF2-40B4-BE49-F238E27FC236}">
                <a16:creationId xmlns:a16="http://schemas.microsoft.com/office/drawing/2014/main" id="{00B89531-4A1D-3FDF-D2C1-4ADEECF6AEAB}"/>
              </a:ext>
            </a:extLst>
          </p:cNvPr>
          <p:cNvSpPr/>
          <p:nvPr/>
        </p:nvSpPr>
        <p:spPr>
          <a:xfrm>
            <a:off x="10340278" y="1967868"/>
            <a:ext cx="3739" cy="60936"/>
          </a:xfrm>
          <a:custGeom>
            <a:avLst/>
            <a:gdLst>
              <a:gd name="csX0" fmla="*/ 0 w 4113"/>
              <a:gd name="csY0" fmla="*/ 0 h 67029"/>
              <a:gd name="csX1" fmla="*/ 4113 w 4113"/>
              <a:gd name="csY1" fmla="*/ 4824 h 67029"/>
              <a:gd name="csX2" fmla="*/ 2662 w 4113"/>
              <a:gd name="csY2" fmla="*/ 67030 h 67029"/>
              <a:gd name="csX3" fmla="*/ 631 w 4113"/>
              <a:gd name="csY3" fmla="*/ 55883 h 67029"/>
              <a:gd name="csX4" fmla="*/ 0 w 4113"/>
              <a:gd name="csY4" fmla="*/ 0 h 6702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4113" h="67029">
                <a:moveTo>
                  <a:pt x="0" y="0"/>
                </a:moveTo>
                <a:cubicBezTo>
                  <a:pt x="1242" y="855"/>
                  <a:pt x="4111" y="2838"/>
                  <a:pt x="4113" y="4824"/>
                </a:cubicBezTo>
                <a:cubicBezTo>
                  <a:pt x="4135" y="25317"/>
                  <a:pt x="3695" y="45810"/>
                  <a:pt x="2662" y="67030"/>
                </a:cubicBezTo>
                <a:cubicBezTo>
                  <a:pt x="1483" y="63799"/>
                  <a:pt x="680" y="59846"/>
                  <a:pt x="631" y="55883"/>
                </a:cubicBezTo>
                <a:cubicBezTo>
                  <a:pt x="404" y="37633"/>
                  <a:pt x="388" y="19381"/>
                  <a:pt x="0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3" name="Free-form: Shape 72">
            <a:extLst>
              <a:ext uri="{FF2B5EF4-FFF2-40B4-BE49-F238E27FC236}">
                <a16:creationId xmlns:a16="http://schemas.microsoft.com/office/drawing/2014/main" id="{FDAD91E7-1372-EE5B-CE1F-7E6FACAC80DD}"/>
              </a:ext>
            </a:extLst>
          </p:cNvPr>
          <p:cNvSpPr/>
          <p:nvPr/>
        </p:nvSpPr>
        <p:spPr>
          <a:xfrm>
            <a:off x="10792667" y="2695668"/>
            <a:ext cx="1060" cy="5803"/>
          </a:xfrm>
          <a:custGeom>
            <a:avLst/>
            <a:gdLst>
              <a:gd name="csX0" fmla="*/ 1130 w 1165"/>
              <a:gd name="csY0" fmla="*/ 6385 h 6384"/>
              <a:gd name="csX1" fmla="*/ 49 w 1165"/>
              <a:gd name="csY1" fmla="*/ 0 h 6384"/>
              <a:gd name="csX2" fmla="*/ 1130 w 1165"/>
              <a:gd name="csY2" fmla="*/ 6385 h 638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165" h="6384">
                <a:moveTo>
                  <a:pt x="1130" y="6385"/>
                </a:moveTo>
                <a:cubicBezTo>
                  <a:pt x="260" y="4748"/>
                  <a:pt x="-149" y="2599"/>
                  <a:pt x="49" y="0"/>
                </a:cubicBezTo>
                <a:cubicBezTo>
                  <a:pt x="969" y="1658"/>
                  <a:pt x="1279" y="3765"/>
                  <a:pt x="1130" y="6385"/>
                </a:cubicBezTo>
                <a:close/>
              </a:path>
            </a:pathLst>
          </a:custGeom>
          <a:solidFill>
            <a:srgbClr val="939B9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4" name="Free-form: Shape 73">
            <a:extLst>
              <a:ext uri="{FF2B5EF4-FFF2-40B4-BE49-F238E27FC236}">
                <a16:creationId xmlns:a16="http://schemas.microsoft.com/office/drawing/2014/main" id="{24151978-D53F-F607-E97A-A31F1BC1196F}"/>
              </a:ext>
            </a:extLst>
          </p:cNvPr>
          <p:cNvSpPr/>
          <p:nvPr/>
        </p:nvSpPr>
        <p:spPr>
          <a:xfrm>
            <a:off x="10762938" y="2621573"/>
            <a:ext cx="5440" cy="2491"/>
          </a:xfrm>
          <a:custGeom>
            <a:avLst/>
            <a:gdLst>
              <a:gd name="csX0" fmla="*/ 5985 w 5984"/>
              <a:gd name="csY0" fmla="*/ 1832 h 2740"/>
              <a:gd name="csX1" fmla="*/ 0 w 5984"/>
              <a:gd name="csY1" fmla="*/ 2740 h 2740"/>
              <a:gd name="csX2" fmla="*/ 4930 w 5984"/>
              <a:gd name="csY2" fmla="*/ 0 h 2740"/>
              <a:gd name="csX3" fmla="*/ 5985 w 5984"/>
              <a:gd name="csY3" fmla="*/ 1832 h 274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</a:cxnLst>
            <a:rect l="l" t="t" r="r" b="b"/>
            <a:pathLst>
              <a:path w="5984" h="2740">
                <a:moveTo>
                  <a:pt x="5985" y="1832"/>
                </a:moveTo>
                <a:cubicBezTo>
                  <a:pt x="3992" y="2553"/>
                  <a:pt x="1996" y="2646"/>
                  <a:pt x="0" y="2740"/>
                </a:cubicBezTo>
                <a:cubicBezTo>
                  <a:pt x="1398" y="1830"/>
                  <a:pt x="2796" y="920"/>
                  <a:pt x="4930" y="0"/>
                </a:cubicBezTo>
                <a:cubicBezTo>
                  <a:pt x="5772" y="394"/>
                  <a:pt x="5877" y="799"/>
                  <a:pt x="5985" y="1832"/>
                </a:cubicBezTo>
                <a:close/>
              </a:path>
            </a:pathLst>
          </a:custGeom>
          <a:solidFill>
            <a:srgbClr val="8E9395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5" name="Free-form: Shape 74">
            <a:extLst>
              <a:ext uri="{FF2B5EF4-FFF2-40B4-BE49-F238E27FC236}">
                <a16:creationId xmlns:a16="http://schemas.microsoft.com/office/drawing/2014/main" id="{D80DFCE9-E367-289B-4F50-8B703F212E15}"/>
              </a:ext>
            </a:extLst>
          </p:cNvPr>
          <p:cNvSpPr/>
          <p:nvPr/>
        </p:nvSpPr>
        <p:spPr>
          <a:xfrm>
            <a:off x="10303051" y="1873688"/>
            <a:ext cx="2645" cy="5625"/>
          </a:xfrm>
          <a:custGeom>
            <a:avLst/>
            <a:gdLst>
              <a:gd name="csX0" fmla="*/ 815 w 2910"/>
              <a:gd name="csY0" fmla="*/ 0 h 6187"/>
              <a:gd name="csX1" fmla="*/ 113 w 2910"/>
              <a:gd name="csY1" fmla="*/ 6187 h 6187"/>
              <a:gd name="csX2" fmla="*/ 815 w 2910"/>
              <a:gd name="csY2" fmla="*/ 0 h 618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2910" h="6187">
                <a:moveTo>
                  <a:pt x="815" y="0"/>
                </a:moveTo>
                <a:cubicBezTo>
                  <a:pt x="4660" y="1891"/>
                  <a:pt x="2480" y="3840"/>
                  <a:pt x="113" y="6187"/>
                </a:cubicBezTo>
                <a:cubicBezTo>
                  <a:pt x="-172" y="4565"/>
                  <a:pt x="89" y="2579"/>
                  <a:pt x="815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6" name="Free-form: Shape 75">
            <a:extLst>
              <a:ext uri="{FF2B5EF4-FFF2-40B4-BE49-F238E27FC236}">
                <a16:creationId xmlns:a16="http://schemas.microsoft.com/office/drawing/2014/main" id="{15287DBB-67D4-CB87-1514-2E77C61868F1}"/>
              </a:ext>
            </a:extLst>
          </p:cNvPr>
          <p:cNvSpPr/>
          <p:nvPr/>
        </p:nvSpPr>
        <p:spPr>
          <a:xfrm>
            <a:off x="10337466" y="2090262"/>
            <a:ext cx="770" cy="3664"/>
          </a:xfrm>
          <a:custGeom>
            <a:avLst/>
            <a:gdLst>
              <a:gd name="csX0" fmla="*/ 106 w 847"/>
              <a:gd name="csY0" fmla="*/ 0 h 4030"/>
              <a:gd name="csX1" fmla="*/ 732 w 847"/>
              <a:gd name="csY1" fmla="*/ 4031 h 4030"/>
              <a:gd name="csX2" fmla="*/ 106 w 847"/>
              <a:gd name="csY2" fmla="*/ 0 h 403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7" h="4030">
                <a:moveTo>
                  <a:pt x="106" y="0"/>
                </a:moveTo>
                <a:cubicBezTo>
                  <a:pt x="770" y="990"/>
                  <a:pt x="1013" y="2346"/>
                  <a:pt x="732" y="4031"/>
                </a:cubicBezTo>
                <a:cubicBezTo>
                  <a:pt x="34" y="3029"/>
                  <a:pt x="-141" y="1697"/>
                  <a:pt x="106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7" name="Free-form: Shape 76">
            <a:extLst>
              <a:ext uri="{FF2B5EF4-FFF2-40B4-BE49-F238E27FC236}">
                <a16:creationId xmlns:a16="http://schemas.microsoft.com/office/drawing/2014/main" id="{6F5878FB-C4FF-1BE4-7C94-20358FA3B745}"/>
              </a:ext>
            </a:extLst>
          </p:cNvPr>
          <p:cNvSpPr/>
          <p:nvPr/>
        </p:nvSpPr>
        <p:spPr>
          <a:xfrm>
            <a:off x="10333142" y="2126056"/>
            <a:ext cx="703" cy="3631"/>
          </a:xfrm>
          <a:custGeom>
            <a:avLst/>
            <a:gdLst>
              <a:gd name="csX0" fmla="*/ 195 w 774"/>
              <a:gd name="csY0" fmla="*/ 0 h 3994"/>
              <a:gd name="csX1" fmla="*/ 575 w 774"/>
              <a:gd name="csY1" fmla="*/ 3994 h 3994"/>
              <a:gd name="csX2" fmla="*/ 195 w 774"/>
              <a:gd name="csY2" fmla="*/ 0 h 399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774" h="3994">
                <a:moveTo>
                  <a:pt x="195" y="0"/>
                </a:moveTo>
                <a:cubicBezTo>
                  <a:pt x="794" y="1011"/>
                  <a:pt x="941" y="2348"/>
                  <a:pt x="575" y="3994"/>
                </a:cubicBezTo>
                <a:cubicBezTo>
                  <a:pt x="-44" y="2978"/>
                  <a:pt x="-151" y="1652"/>
                  <a:pt x="195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8" name="Free-form: Shape 77">
            <a:extLst>
              <a:ext uri="{FF2B5EF4-FFF2-40B4-BE49-F238E27FC236}">
                <a16:creationId xmlns:a16="http://schemas.microsoft.com/office/drawing/2014/main" id="{896D5492-241B-FF88-369B-F50809AB4274}"/>
              </a:ext>
            </a:extLst>
          </p:cNvPr>
          <p:cNvSpPr/>
          <p:nvPr/>
        </p:nvSpPr>
        <p:spPr>
          <a:xfrm>
            <a:off x="10339719" y="2063452"/>
            <a:ext cx="787" cy="3631"/>
          </a:xfrm>
          <a:custGeom>
            <a:avLst/>
            <a:gdLst>
              <a:gd name="csX0" fmla="*/ 71 w 865"/>
              <a:gd name="csY0" fmla="*/ 0 h 3995"/>
              <a:gd name="csX1" fmla="*/ 783 w 865"/>
              <a:gd name="csY1" fmla="*/ 3996 h 3995"/>
              <a:gd name="csX2" fmla="*/ 71 w 865"/>
              <a:gd name="csY2" fmla="*/ 0 h 399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65" h="3995">
                <a:moveTo>
                  <a:pt x="71" y="0"/>
                </a:moveTo>
                <a:cubicBezTo>
                  <a:pt x="740" y="963"/>
                  <a:pt x="1018" y="2311"/>
                  <a:pt x="783" y="3996"/>
                </a:cubicBezTo>
                <a:cubicBezTo>
                  <a:pt x="73" y="3017"/>
                  <a:pt x="-124" y="1701"/>
                  <a:pt x="71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9" name="Free-form: Shape 78">
            <a:extLst>
              <a:ext uri="{FF2B5EF4-FFF2-40B4-BE49-F238E27FC236}">
                <a16:creationId xmlns:a16="http://schemas.microsoft.com/office/drawing/2014/main" id="{8FA34E23-1466-C3CF-2AF7-F67D5252FDA1}"/>
              </a:ext>
            </a:extLst>
          </p:cNvPr>
          <p:cNvSpPr/>
          <p:nvPr/>
        </p:nvSpPr>
        <p:spPr>
          <a:xfrm>
            <a:off x="10458023" y="1967478"/>
            <a:ext cx="170236" cy="426821"/>
          </a:xfrm>
          <a:custGeom>
            <a:avLst/>
            <a:gdLst>
              <a:gd name="csX0" fmla="*/ 120604 w 187260"/>
              <a:gd name="csY0" fmla="*/ 222968 h 469503"/>
              <a:gd name="csX1" fmla="*/ 187261 w 187260"/>
              <a:gd name="csY1" fmla="*/ 469503 h 469503"/>
              <a:gd name="csX2" fmla="*/ 1253 w 187260"/>
              <a:gd name="csY2" fmla="*/ 466078 h 469503"/>
              <a:gd name="csX3" fmla="*/ 8 w 187260"/>
              <a:gd name="csY3" fmla="*/ 458101 h 469503"/>
              <a:gd name="csX4" fmla="*/ 4383 w 187260"/>
              <a:gd name="csY4" fmla="*/ 351443 h 469503"/>
              <a:gd name="csX5" fmla="*/ 4615 w 187260"/>
              <a:gd name="csY5" fmla="*/ 346536 h 469503"/>
              <a:gd name="csX6" fmla="*/ 7935 w 187260"/>
              <a:gd name="csY6" fmla="*/ 233648 h 469503"/>
              <a:gd name="csX7" fmla="*/ 10461 w 187260"/>
              <a:gd name="csY7" fmla="*/ 128112 h 469503"/>
              <a:gd name="csX8" fmla="*/ 12461 w 187260"/>
              <a:gd name="csY8" fmla="*/ 12750 h 469503"/>
              <a:gd name="csX9" fmla="*/ 13165 w 187260"/>
              <a:gd name="csY9" fmla="*/ 4285 h 469503"/>
              <a:gd name="csX10" fmla="*/ 102327 w 187260"/>
              <a:gd name="csY10" fmla="*/ 0 h 469503"/>
              <a:gd name="csX11" fmla="*/ 106229 w 187260"/>
              <a:gd name="csY11" fmla="*/ 111321 h 469503"/>
              <a:gd name="csX12" fmla="*/ 120604 w 187260"/>
              <a:gd name="csY12" fmla="*/ 222968 h 46950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</a:cxnLst>
            <a:rect l="l" t="t" r="r" b="b"/>
            <a:pathLst>
              <a:path w="187260" h="469503">
                <a:moveTo>
                  <a:pt x="120604" y="222968"/>
                </a:moveTo>
                <a:cubicBezTo>
                  <a:pt x="135383" y="307129"/>
                  <a:pt x="159464" y="387725"/>
                  <a:pt x="187261" y="469503"/>
                </a:cubicBezTo>
                <a:cubicBezTo>
                  <a:pt x="124460" y="468347"/>
                  <a:pt x="63286" y="467220"/>
                  <a:pt x="1253" y="466078"/>
                </a:cubicBezTo>
                <a:cubicBezTo>
                  <a:pt x="818" y="463442"/>
                  <a:pt x="-95" y="460752"/>
                  <a:pt x="8" y="458101"/>
                </a:cubicBezTo>
                <a:cubicBezTo>
                  <a:pt x="1383" y="422545"/>
                  <a:pt x="2900" y="386994"/>
                  <a:pt x="4383" y="351443"/>
                </a:cubicBezTo>
                <a:cubicBezTo>
                  <a:pt x="4451" y="349807"/>
                  <a:pt x="4566" y="348172"/>
                  <a:pt x="4615" y="346536"/>
                </a:cubicBezTo>
                <a:cubicBezTo>
                  <a:pt x="5732" y="308907"/>
                  <a:pt x="6921" y="271280"/>
                  <a:pt x="7935" y="233648"/>
                </a:cubicBezTo>
                <a:cubicBezTo>
                  <a:pt x="8883" y="198472"/>
                  <a:pt x="9752" y="163293"/>
                  <a:pt x="10461" y="128112"/>
                </a:cubicBezTo>
                <a:cubicBezTo>
                  <a:pt x="11237" y="89660"/>
                  <a:pt x="11781" y="51204"/>
                  <a:pt x="12461" y="12750"/>
                </a:cubicBezTo>
                <a:cubicBezTo>
                  <a:pt x="12503" y="10363"/>
                  <a:pt x="12848" y="7981"/>
                  <a:pt x="13165" y="4285"/>
                </a:cubicBezTo>
                <a:cubicBezTo>
                  <a:pt x="42856" y="2858"/>
                  <a:pt x="72082" y="1454"/>
                  <a:pt x="102327" y="0"/>
                </a:cubicBezTo>
                <a:cubicBezTo>
                  <a:pt x="103499" y="37348"/>
                  <a:pt x="103207" y="74470"/>
                  <a:pt x="106229" y="111321"/>
                </a:cubicBezTo>
                <a:cubicBezTo>
                  <a:pt x="109263" y="148326"/>
                  <a:pt x="115599" y="185060"/>
                  <a:pt x="120604" y="222968"/>
                </a:cubicBezTo>
                <a:close/>
              </a:path>
            </a:pathLst>
          </a:custGeom>
          <a:solidFill>
            <a:srgbClr val="FDFDFD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0" name="Free-form: Shape 79">
            <a:extLst>
              <a:ext uri="{FF2B5EF4-FFF2-40B4-BE49-F238E27FC236}">
                <a16:creationId xmlns:a16="http://schemas.microsoft.com/office/drawing/2014/main" id="{543EF428-81CC-415A-3BDD-974B309D0414}"/>
              </a:ext>
            </a:extLst>
          </p:cNvPr>
          <p:cNvSpPr/>
          <p:nvPr/>
        </p:nvSpPr>
        <p:spPr>
          <a:xfrm>
            <a:off x="10456830" y="2434230"/>
            <a:ext cx="284824" cy="179974"/>
          </a:xfrm>
          <a:custGeom>
            <a:avLst/>
            <a:gdLst>
              <a:gd name="csX0" fmla="*/ 160234 w 313306"/>
              <a:gd name="csY0" fmla="*/ 197876 h 197971"/>
              <a:gd name="csX1" fmla="*/ 544 w 313306"/>
              <a:gd name="csY1" fmla="*/ 197972 h 197971"/>
              <a:gd name="csX2" fmla="*/ 3466 w 313306"/>
              <a:gd name="csY2" fmla="*/ 104326 h 197971"/>
              <a:gd name="csX3" fmla="*/ 0 w 313306"/>
              <a:gd name="csY3" fmla="*/ 10720 h 197971"/>
              <a:gd name="csX4" fmla="*/ 5445 w 313306"/>
              <a:gd name="csY4" fmla="*/ 9282 h 197971"/>
              <a:gd name="csX5" fmla="*/ 71623 w 313306"/>
              <a:gd name="csY5" fmla="*/ 6885 h 197971"/>
              <a:gd name="csX6" fmla="*/ 187887 w 313306"/>
              <a:gd name="csY6" fmla="*/ 233 h 197971"/>
              <a:gd name="csX7" fmla="*/ 215297 w 313306"/>
              <a:gd name="csY7" fmla="*/ 163 h 197971"/>
              <a:gd name="csX8" fmla="*/ 243629 w 313306"/>
              <a:gd name="csY8" fmla="*/ 61389 h 197971"/>
              <a:gd name="csX9" fmla="*/ 270660 w 313306"/>
              <a:gd name="csY9" fmla="*/ 86342 h 197971"/>
              <a:gd name="csX10" fmla="*/ 313142 w 313306"/>
              <a:gd name="csY10" fmla="*/ 170098 h 197971"/>
              <a:gd name="csX11" fmla="*/ 313291 w 313306"/>
              <a:gd name="csY11" fmla="*/ 176231 h 197971"/>
              <a:gd name="csX12" fmla="*/ 312654 w 313306"/>
              <a:gd name="csY12" fmla="*/ 180738 h 197971"/>
              <a:gd name="csX13" fmla="*/ 279655 w 313306"/>
              <a:gd name="csY13" fmla="*/ 186226 h 197971"/>
              <a:gd name="csX14" fmla="*/ 167436 w 313306"/>
              <a:gd name="csY14" fmla="*/ 196805 h 197971"/>
              <a:gd name="csX15" fmla="*/ 160234 w 313306"/>
              <a:gd name="csY15" fmla="*/ 197876 h 19797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</a:cxnLst>
            <a:rect l="l" t="t" r="r" b="b"/>
            <a:pathLst>
              <a:path w="313306" h="197971">
                <a:moveTo>
                  <a:pt x="160234" y="197876"/>
                </a:moveTo>
                <a:cubicBezTo>
                  <a:pt x="106384" y="197972"/>
                  <a:pt x="53682" y="197972"/>
                  <a:pt x="544" y="197972"/>
                </a:cubicBezTo>
                <a:cubicBezTo>
                  <a:pt x="1602" y="166763"/>
                  <a:pt x="3550" y="135542"/>
                  <a:pt x="3466" y="104326"/>
                </a:cubicBezTo>
                <a:cubicBezTo>
                  <a:pt x="3383" y="73323"/>
                  <a:pt x="1255" y="42326"/>
                  <a:pt x="0" y="10720"/>
                </a:cubicBezTo>
                <a:cubicBezTo>
                  <a:pt x="1689" y="10255"/>
                  <a:pt x="3551" y="9355"/>
                  <a:pt x="5445" y="9282"/>
                </a:cubicBezTo>
                <a:cubicBezTo>
                  <a:pt x="27503" y="8435"/>
                  <a:pt x="49582" y="8030"/>
                  <a:pt x="71623" y="6885"/>
                </a:cubicBezTo>
                <a:cubicBezTo>
                  <a:pt x="110388" y="4872"/>
                  <a:pt x="149126" y="2333"/>
                  <a:pt x="187887" y="233"/>
                </a:cubicBezTo>
                <a:cubicBezTo>
                  <a:pt x="196749" y="-247"/>
                  <a:pt x="205660" y="163"/>
                  <a:pt x="215297" y="163"/>
                </a:cubicBezTo>
                <a:cubicBezTo>
                  <a:pt x="215450" y="25550"/>
                  <a:pt x="226120" y="45122"/>
                  <a:pt x="243629" y="61389"/>
                </a:cubicBezTo>
                <a:cubicBezTo>
                  <a:pt x="252615" y="69739"/>
                  <a:pt x="261099" y="78715"/>
                  <a:pt x="270660" y="86342"/>
                </a:cubicBezTo>
                <a:cubicBezTo>
                  <a:pt x="297676" y="107892"/>
                  <a:pt x="310731" y="136225"/>
                  <a:pt x="313142" y="170098"/>
                </a:cubicBezTo>
                <a:cubicBezTo>
                  <a:pt x="313287" y="172136"/>
                  <a:pt x="313335" y="174188"/>
                  <a:pt x="313291" y="176231"/>
                </a:cubicBezTo>
                <a:cubicBezTo>
                  <a:pt x="313265" y="177429"/>
                  <a:pt x="312966" y="178621"/>
                  <a:pt x="312654" y="180738"/>
                </a:cubicBezTo>
                <a:cubicBezTo>
                  <a:pt x="302343" y="185396"/>
                  <a:pt x="290736" y="185049"/>
                  <a:pt x="279655" y="186226"/>
                </a:cubicBezTo>
                <a:cubicBezTo>
                  <a:pt x="242295" y="190193"/>
                  <a:pt x="204847" y="193324"/>
                  <a:pt x="167436" y="196805"/>
                </a:cubicBezTo>
                <a:cubicBezTo>
                  <a:pt x="165405" y="196994"/>
                  <a:pt x="163399" y="197449"/>
                  <a:pt x="160234" y="197876"/>
                </a:cubicBezTo>
                <a:close/>
              </a:path>
            </a:pathLst>
          </a:custGeom>
          <a:solidFill>
            <a:srgbClr val="FDFEFE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1" name="Free-form: Shape 80">
            <a:extLst>
              <a:ext uri="{FF2B5EF4-FFF2-40B4-BE49-F238E27FC236}">
                <a16:creationId xmlns:a16="http://schemas.microsoft.com/office/drawing/2014/main" id="{FF189037-5735-BB0C-133F-D27270ECFFF1}"/>
              </a:ext>
            </a:extLst>
          </p:cNvPr>
          <p:cNvSpPr/>
          <p:nvPr/>
        </p:nvSpPr>
        <p:spPr>
          <a:xfrm>
            <a:off x="10467573" y="1417646"/>
            <a:ext cx="149260" cy="361842"/>
          </a:xfrm>
          <a:custGeom>
            <a:avLst/>
            <a:gdLst>
              <a:gd name="csX0" fmla="*/ 22609 w 164186"/>
              <a:gd name="csY0" fmla="*/ 398026 h 398026"/>
              <a:gd name="csX1" fmla="*/ 16884 w 164186"/>
              <a:gd name="csY1" fmla="*/ 390515 h 398026"/>
              <a:gd name="csX2" fmla="*/ 9661 w 164186"/>
              <a:gd name="csY2" fmla="*/ 328443 h 398026"/>
              <a:gd name="csX3" fmla="*/ 534 w 164186"/>
              <a:gd name="csY3" fmla="*/ 196369 h 398026"/>
              <a:gd name="csX4" fmla="*/ 1243 w 164186"/>
              <a:gd name="csY4" fmla="*/ 82293 h 398026"/>
              <a:gd name="csX5" fmla="*/ 2245 w 164186"/>
              <a:gd name="csY5" fmla="*/ 43023 h 398026"/>
              <a:gd name="csX6" fmla="*/ 4587 w 164186"/>
              <a:gd name="csY6" fmla="*/ 0 h 398026"/>
              <a:gd name="csX7" fmla="*/ 12341 w 164186"/>
              <a:gd name="csY7" fmla="*/ 3872 h 398026"/>
              <a:gd name="csX8" fmla="*/ 85914 w 164186"/>
              <a:gd name="csY8" fmla="*/ 78943 h 398026"/>
              <a:gd name="csX9" fmla="*/ 87893 w 164186"/>
              <a:gd name="csY9" fmla="*/ 99117 h 398026"/>
              <a:gd name="csX10" fmla="*/ 35459 w 164186"/>
              <a:gd name="csY10" fmla="*/ 207346 h 398026"/>
              <a:gd name="csX11" fmla="*/ 32223 w 164186"/>
              <a:gd name="csY11" fmla="*/ 213959 h 398026"/>
              <a:gd name="csX12" fmla="*/ 39509 w 164186"/>
              <a:gd name="csY12" fmla="*/ 242056 h 398026"/>
              <a:gd name="csX13" fmla="*/ 69474 w 164186"/>
              <a:gd name="csY13" fmla="*/ 237019 h 398026"/>
              <a:gd name="csX14" fmla="*/ 89101 w 164186"/>
              <a:gd name="csY14" fmla="*/ 208870 h 398026"/>
              <a:gd name="csX15" fmla="*/ 121716 w 164186"/>
              <a:gd name="csY15" fmla="*/ 158357 h 398026"/>
              <a:gd name="csX16" fmla="*/ 129330 w 164186"/>
              <a:gd name="csY16" fmla="*/ 148165 h 398026"/>
              <a:gd name="csX17" fmla="*/ 137171 w 164186"/>
              <a:gd name="csY17" fmla="*/ 159989 h 398026"/>
              <a:gd name="csX18" fmla="*/ 163812 w 164186"/>
              <a:gd name="csY18" fmla="*/ 273175 h 398026"/>
              <a:gd name="csX19" fmla="*/ 118151 w 164186"/>
              <a:gd name="csY19" fmla="*/ 383442 h 398026"/>
              <a:gd name="csX20" fmla="*/ 92325 w 164186"/>
              <a:gd name="csY20" fmla="*/ 395173 h 398026"/>
              <a:gd name="csX21" fmla="*/ 22609 w 164186"/>
              <a:gd name="csY21" fmla="*/ 398026 h 39802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</a:cxnLst>
            <a:rect l="l" t="t" r="r" b="b"/>
            <a:pathLst>
              <a:path w="164186" h="398026">
                <a:moveTo>
                  <a:pt x="22609" y="398026"/>
                </a:moveTo>
                <a:cubicBezTo>
                  <a:pt x="19898" y="395489"/>
                  <a:pt x="17229" y="393154"/>
                  <a:pt x="16884" y="390515"/>
                </a:cubicBezTo>
                <a:cubicBezTo>
                  <a:pt x="14183" y="369861"/>
                  <a:pt x="11326" y="349196"/>
                  <a:pt x="9661" y="328443"/>
                </a:cubicBezTo>
                <a:cubicBezTo>
                  <a:pt x="6132" y="284452"/>
                  <a:pt x="2125" y="240448"/>
                  <a:pt x="534" y="196369"/>
                </a:cubicBezTo>
                <a:cubicBezTo>
                  <a:pt x="-837" y="158401"/>
                  <a:pt x="816" y="120322"/>
                  <a:pt x="1243" y="82293"/>
                </a:cubicBezTo>
                <a:cubicBezTo>
                  <a:pt x="1389" y="69201"/>
                  <a:pt x="1708" y="56105"/>
                  <a:pt x="2245" y="43023"/>
                </a:cubicBezTo>
                <a:cubicBezTo>
                  <a:pt x="2815" y="29160"/>
                  <a:pt x="3738" y="15312"/>
                  <a:pt x="4587" y="0"/>
                </a:cubicBezTo>
                <a:cubicBezTo>
                  <a:pt x="7809" y="1586"/>
                  <a:pt x="10279" y="2436"/>
                  <a:pt x="12341" y="3872"/>
                </a:cubicBezTo>
                <a:cubicBezTo>
                  <a:pt x="41601" y="24248"/>
                  <a:pt x="64069" y="51269"/>
                  <a:pt x="85914" y="78943"/>
                </a:cubicBezTo>
                <a:cubicBezTo>
                  <a:pt x="91106" y="85520"/>
                  <a:pt x="91706" y="91406"/>
                  <a:pt x="87893" y="99117"/>
                </a:cubicBezTo>
                <a:cubicBezTo>
                  <a:pt x="70127" y="135051"/>
                  <a:pt x="52890" y="171246"/>
                  <a:pt x="35459" y="207346"/>
                </a:cubicBezTo>
                <a:cubicBezTo>
                  <a:pt x="34391" y="209557"/>
                  <a:pt x="33130" y="211686"/>
                  <a:pt x="32223" y="213959"/>
                </a:cubicBezTo>
                <a:cubicBezTo>
                  <a:pt x="27471" y="225873"/>
                  <a:pt x="30154" y="236086"/>
                  <a:pt x="39509" y="242056"/>
                </a:cubicBezTo>
                <a:cubicBezTo>
                  <a:pt x="48880" y="248038"/>
                  <a:pt x="61705" y="246477"/>
                  <a:pt x="69474" y="237019"/>
                </a:cubicBezTo>
                <a:cubicBezTo>
                  <a:pt x="76712" y="228205"/>
                  <a:pt x="82824" y="218436"/>
                  <a:pt x="89101" y="208870"/>
                </a:cubicBezTo>
                <a:cubicBezTo>
                  <a:pt x="100096" y="192114"/>
                  <a:pt x="110806" y="175170"/>
                  <a:pt x="121716" y="158357"/>
                </a:cubicBezTo>
                <a:cubicBezTo>
                  <a:pt x="123679" y="155333"/>
                  <a:pt x="126029" y="152559"/>
                  <a:pt x="129330" y="148165"/>
                </a:cubicBezTo>
                <a:cubicBezTo>
                  <a:pt x="132450" y="152828"/>
                  <a:pt x="135175" y="156216"/>
                  <a:pt x="137171" y="159989"/>
                </a:cubicBezTo>
                <a:cubicBezTo>
                  <a:pt x="155891" y="195388"/>
                  <a:pt x="166343" y="232905"/>
                  <a:pt x="163812" y="273175"/>
                </a:cubicBezTo>
                <a:cubicBezTo>
                  <a:pt x="161183" y="314982"/>
                  <a:pt x="144984" y="351430"/>
                  <a:pt x="118151" y="383442"/>
                </a:cubicBezTo>
                <a:cubicBezTo>
                  <a:pt x="111214" y="391718"/>
                  <a:pt x="102452" y="394716"/>
                  <a:pt x="92325" y="395173"/>
                </a:cubicBezTo>
                <a:cubicBezTo>
                  <a:pt x="69461" y="396207"/>
                  <a:pt x="46593" y="397123"/>
                  <a:pt x="22609" y="398026"/>
                </a:cubicBezTo>
                <a:close/>
              </a:path>
            </a:pathLst>
          </a:custGeom>
          <a:solidFill>
            <a:srgbClr val="FCFDFD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2" name="Free-form: Shape 81">
            <a:extLst>
              <a:ext uri="{FF2B5EF4-FFF2-40B4-BE49-F238E27FC236}">
                <a16:creationId xmlns:a16="http://schemas.microsoft.com/office/drawing/2014/main" id="{DB30FDE9-3944-1CFA-981D-8CF0B87129D1}"/>
              </a:ext>
            </a:extLst>
          </p:cNvPr>
          <p:cNvSpPr/>
          <p:nvPr/>
        </p:nvSpPr>
        <p:spPr>
          <a:xfrm>
            <a:off x="10453466" y="2643437"/>
            <a:ext cx="305850" cy="64961"/>
          </a:xfrm>
          <a:custGeom>
            <a:avLst/>
            <a:gdLst>
              <a:gd name="csX0" fmla="*/ 105937 w 336434"/>
              <a:gd name="csY0" fmla="*/ 71458 h 71457"/>
              <a:gd name="csX1" fmla="*/ 3534 w 336434"/>
              <a:gd name="csY1" fmla="*/ 69115 h 71457"/>
              <a:gd name="csX2" fmla="*/ 1296 w 336434"/>
              <a:gd name="csY2" fmla="*/ 17910 h 71457"/>
              <a:gd name="csX3" fmla="*/ 14032 w 336434"/>
              <a:gd name="csY3" fmla="*/ 17908 h 71457"/>
              <a:gd name="csX4" fmla="*/ 102444 w 336434"/>
              <a:gd name="csY4" fmla="*/ 17433 h 71457"/>
              <a:gd name="csX5" fmla="*/ 284561 w 336434"/>
              <a:gd name="csY5" fmla="*/ 3564 h 71457"/>
              <a:gd name="csX6" fmla="*/ 311323 w 336434"/>
              <a:gd name="csY6" fmla="*/ 224 h 71457"/>
              <a:gd name="csX7" fmla="*/ 324313 w 336434"/>
              <a:gd name="csY7" fmla="*/ 6639 h 71457"/>
              <a:gd name="csX8" fmla="*/ 336434 w 336434"/>
              <a:gd name="csY8" fmla="*/ 46484 h 71457"/>
              <a:gd name="csX9" fmla="*/ 105937 w 336434"/>
              <a:gd name="csY9" fmla="*/ 71458 h 7145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336434" h="71457">
                <a:moveTo>
                  <a:pt x="105937" y="71458"/>
                </a:moveTo>
                <a:cubicBezTo>
                  <a:pt x="70820" y="70678"/>
                  <a:pt x="36930" y="69891"/>
                  <a:pt x="3534" y="69115"/>
                </a:cubicBezTo>
                <a:cubicBezTo>
                  <a:pt x="-81" y="59433"/>
                  <a:pt x="-1094" y="35337"/>
                  <a:pt x="1296" y="17910"/>
                </a:cubicBezTo>
                <a:cubicBezTo>
                  <a:pt x="5366" y="17910"/>
                  <a:pt x="9699" y="17923"/>
                  <a:pt x="14032" y="17908"/>
                </a:cubicBezTo>
                <a:cubicBezTo>
                  <a:pt x="43505" y="17812"/>
                  <a:pt x="73011" y="18557"/>
                  <a:pt x="102444" y="17433"/>
                </a:cubicBezTo>
                <a:cubicBezTo>
                  <a:pt x="163306" y="15109"/>
                  <a:pt x="224166" y="12264"/>
                  <a:pt x="284561" y="3564"/>
                </a:cubicBezTo>
                <a:cubicBezTo>
                  <a:pt x="293458" y="2283"/>
                  <a:pt x="302438" y="1575"/>
                  <a:pt x="311323" y="224"/>
                </a:cubicBezTo>
                <a:cubicBezTo>
                  <a:pt x="317371" y="-696"/>
                  <a:pt x="321247" y="1177"/>
                  <a:pt x="324313" y="6639"/>
                </a:cubicBezTo>
                <a:cubicBezTo>
                  <a:pt x="330512" y="17683"/>
                  <a:pt x="335236" y="31679"/>
                  <a:pt x="336434" y="46484"/>
                </a:cubicBezTo>
                <a:cubicBezTo>
                  <a:pt x="261124" y="64059"/>
                  <a:pt x="184356" y="69587"/>
                  <a:pt x="105937" y="71458"/>
                </a:cubicBezTo>
                <a:close/>
              </a:path>
            </a:pathLst>
          </a:custGeom>
          <a:solidFill>
            <a:srgbClr val="FCFCFC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3" name="Free-form: Shape 82">
            <a:extLst>
              <a:ext uri="{FF2B5EF4-FFF2-40B4-BE49-F238E27FC236}">
                <a16:creationId xmlns:a16="http://schemas.microsoft.com/office/drawing/2014/main" id="{B3132150-74FA-89D9-5CAA-2DAFAEEADCCF}"/>
              </a:ext>
            </a:extLst>
          </p:cNvPr>
          <p:cNvSpPr/>
          <p:nvPr/>
        </p:nvSpPr>
        <p:spPr>
          <a:xfrm>
            <a:off x="10467023" y="1812713"/>
            <a:ext cx="120683" cy="63097"/>
          </a:xfrm>
          <a:custGeom>
            <a:avLst/>
            <a:gdLst>
              <a:gd name="csX0" fmla="*/ 5051 w 132751"/>
              <a:gd name="csY0" fmla="*/ 7534 h 69406"/>
              <a:gd name="csX1" fmla="*/ 10615 w 132751"/>
              <a:gd name="csY1" fmla="*/ 3077 h 69406"/>
              <a:gd name="csX2" fmla="*/ 26541 w 132751"/>
              <a:gd name="csY2" fmla="*/ 2752 h 69406"/>
              <a:gd name="csX3" fmla="*/ 87728 w 132751"/>
              <a:gd name="csY3" fmla="*/ 89 h 69406"/>
              <a:gd name="csX4" fmla="*/ 101400 w 132751"/>
              <a:gd name="csY4" fmla="*/ 62 h 69406"/>
              <a:gd name="csX5" fmla="*/ 102924 w 132751"/>
              <a:gd name="csY5" fmla="*/ 4800 h 69406"/>
              <a:gd name="csX6" fmla="*/ 121469 w 132751"/>
              <a:gd name="csY6" fmla="*/ 43062 h 69406"/>
              <a:gd name="csX7" fmla="*/ 132751 w 132751"/>
              <a:gd name="csY7" fmla="*/ 65240 h 69406"/>
              <a:gd name="csX8" fmla="*/ 0 w 132751"/>
              <a:gd name="csY8" fmla="*/ 69406 h 69406"/>
              <a:gd name="csX9" fmla="*/ 5051 w 132751"/>
              <a:gd name="csY9" fmla="*/ 7534 h 6940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132751" h="69406">
                <a:moveTo>
                  <a:pt x="5051" y="7534"/>
                </a:moveTo>
                <a:cubicBezTo>
                  <a:pt x="6880" y="5272"/>
                  <a:pt x="8659" y="3268"/>
                  <a:pt x="10615" y="3077"/>
                </a:cubicBezTo>
                <a:cubicBezTo>
                  <a:pt x="15884" y="2564"/>
                  <a:pt x="21234" y="2972"/>
                  <a:pt x="26541" y="2752"/>
                </a:cubicBezTo>
                <a:cubicBezTo>
                  <a:pt x="46938" y="1911"/>
                  <a:pt x="67330" y="933"/>
                  <a:pt x="87728" y="89"/>
                </a:cubicBezTo>
                <a:cubicBezTo>
                  <a:pt x="92161" y="-94"/>
                  <a:pt x="96609" y="62"/>
                  <a:pt x="101400" y="62"/>
                </a:cubicBezTo>
                <a:cubicBezTo>
                  <a:pt x="101991" y="1827"/>
                  <a:pt x="102885" y="3302"/>
                  <a:pt x="102924" y="4800"/>
                </a:cubicBezTo>
                <a:cubicBezTo>
                  <a:pt x="103334" y="20376"/>
                  <a:pt x="108815" y="33165"/>
                  <a:pt x="121469" y="43062"/>
                </a:cubicBezTo>
                <a:cubicBezTo>
                  <a:pt x="127809" y="48021"/>
                  <a:pt x="132509" y="54869"/>
                  <a:pt x="132751" y="65240"/>
                </a:cubicBezTo>
                <a:cubicBezTo>
                  <a:pt x="88663" y="66624"/>
                  <a:pt x="45259" y="67986"/>
                  <a:pt x="0" y="69406"/>
                </a:cubicBezTo>
                <a:cubicBezTo>
                  <a:pt x="6474" y="48167"/>
                  <a:pt x="10658" y="28665"/>
                  <a:pt x="5051" y="7534"/>
                </a:cubicBezTo>
                <a:close/>
              </a:path>
            </a:pathLst>
          </a:custGeom>
          <a:solidFill>
            <a:srgbClr val="FBFCFB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4" name="Free-form: Shape 83">
            <a:extLst>
              <a:ext uri="{FF2B5EF4-FFF2-40B4-BE49-F238E27FC236}">
                <a16:creationId xmlns:a16="http://schemas.microsoft.com/office/drawing/2014/main" id="{2854C69B-A5C6-280A-28E5-99132D58CA4C}"/>
              </a:ext>
            </a:extLst>
          </p:cNvPr>
          <p:cNvSpPr/>
          <p:nvPr/>
        </p:nvSpPr>
        <p:spPr>
          <a:xfrm>
            <a:off x="10476660" y="1902327"/>
            <a:ext cx="150878" cy="35402"/>
          </a:xfrm>
          <a:custGeom>
            <a:avLst/>
            <a:gdLst>
              <a:gd name="csX0" fmla="*/ 80894 w 165965"/>
              <a:gd name="csY0" fmla="*/ 440 h 38942"/>
              <a:gd name="csX1" fmla="*/ 128629 w 165965"/>
              <a:gd name="csY1" fmla="*/ 5 h 38942"/>
              <a:gd name="csX2" fmla="*/ 155177 w 165965"/>
              <a:gd name="csY2" fmla="*/ 8091 h 38942"/>
              <a:gd name="csX3" fmla="*/ 164213 w 165965"/>
              <a:gd name="csY3" fmla="*/ 17723 h 38942"/>
              <a:gd name="csX4" fmla="*/ 159998 w 165965"/>
              <a:gd name="csY4" fmla="*/ 30717 h 38942"/>
              <a:gd name="csX5" fmla="*/ 146998 w 165965"/>
              <a:gd name="csY5" fmla="*/ 33737 h 38942"/>
              <a:gd name="csX6" fmla="*/ 12439 w 165965"/>
              <a:gd name="csY6" fmla="*/ 38914 h 38942"/>
              <a:gd name="csX7" fmla="*/ 0 w 165965"/>
              <a:gd name="csY7" fmla="*/ 38402 h 38942"/>
              <a:gd name="csX8" fmla="*/ 0 w 165965"/>
              <a:gd name="csY8" fmla="*/ 4598 h 38942"/>
              <a:gd name="csX9" fmla="*/ 80894 w 165965"/>
              <a:gd name="csY9" fmla="*/ 440 h 3894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165965" h="38942">
                <a:moveTo>
                  <a:pt x="80894" y="440"/>
                </a:moveTo>
                <a:cubicBezTo>
                  <a:pt x="97591" y="288"/>
                  <a:pt x="113111" y="227"/>
                  <a:pt x="128629" y="5"/>
                </a:cubicBezTo>
                <a:cubicBezTo>
                  <a:pt x="138376" y="-135"/>
                  <a:pt x="147226" y="2891"/>
                  <a:pt x="155177" y="8091"/>
                </a:cubicBezTo>
                <a:cubicBezTo>
                  <a:pt x="158779" y="10447"/>
                  <a:pt x="161992" y="14009"/>
                  <a:pt x="164213" y="17723"/>
                </a:cubicBezTo>
                <a:cubicBezTo>
                  <a:pt x="167602" y="23390"/>
                  <a:pt x="166013" y="28134"/>
                  <a:pt x="159998" y="30717"/>
                </a:cubicBezTo>
                <a:cubicBezTo>
                  <a:pt x="155963" y="32450"/>
                  <a:pt x="151384" y="33554"/>
                  <a:pt x="146998" y="33737"/>
                </a:cubicBezTo>
                <a:cubicBezTo>
                  <a:pt x="102152" y="35619"/>
                  <a:pt x="57295" y="37279"/>
                  <a:pt x="12439" y="38914"/>
                </a:cubicBezTo>
                <a:cubicBezTo>
                  <a:pt x="8467" y="39059"/>
                  <a:pt x="4472" y="38602"/>
                  <a:pt x="0" y="38402"/>
                </a:cubicBezTo>
                <a:cubicBezTo>
                  <a:pt x="0" y="27166"/>
                  <a:pt x="0" y="16774"/>
                  <a:pt x="0" y="4598"/>
                </a:cubicBezTo>
                <a:cubicBezTo>
                  <a:pt x="27063" y="3194"/>
                  <a:pt x="53389" y="1829"/>
                  <a:pt x="80894" y="440"/>
                </a:cubicBezTo>
                <a:close/>
              </a:path>
            </a:pathLst>
          </a:custGeom>
          <a:solidFill>
            <a:srgbClr val="FBFCFB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5" name="Free-form: Shape 84">
            <a:extLst>
              <a:ext uri="{FF2B5EF4-FFF2-40B4-BE49-F238E27FC236}">
                <a16:creationId xmlns:a16="http://schemas.microsoft.com/office/drawing/2014/main" id="{CD93912F-03A5-A4D0-21D6-8085CA08A7BB}"/>
              </a:ext>
            </a:extLst>
          </p:cNvPr>
          <p:cNvSpPr/>
          <p:nvPr/>
        </p:nvSpPr>
        <p:spPr>
          <a:xfrm>
            <a:off x="10460511" y="1341503"/>
            <a:ext cx="39402" cy="42156"/>
          </a:xfrm>
          <a:custGeom>
            <a:avLst/>
            <a:gdLst>
              <a:gd name="csX0" fmla="*/ 40602 w 43343"/>
              <a:gd name="csY0" fmla="*/ 12465 h 46372"/>
              <a:gd name="csX1" fmla="*/ 43214 w 43343"/>
              <a:gd name="csY1" fmla="*/ 21324 h 46372"/>
              <a:gd name="csX2" fmla="*/ 23859 w 43343"/>
              <a:gd name="csY2" fmla="*/ 46319 h 46372"/>
              <a:gd name="csX3" fmla="*/ 5 w 43343"/>
              <a:gd name="csY3" fmla="*/ 23820 h 46372"/>
              <a:gd name="csX4" fmla="*/ 4855 w 43343"/>
              <a:gd name="csY4" fmla="*/ 5679 h 46372"/>
              <a:gd name="csX5" fmla="*/ 40602 w 43343"/>
              <a:gd name="csY5" fmla="*/ 12465 h 4637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</a:cxnLst>
            <a:rect l="l" t="t" r="r" b="b"/>
            <a:pathLst>
              <a:path w="43343" h="46372">
                <a:moveTo>
                  <a:pt x="40602" y="12465"/>
                </a:moveTo>
                <a:cubicBezTo>
                  <a:pt x="41913" y="15811"/>
                  <a:pt x="42933" y="18530"/>
                  <a:pt x="43214" y="21324"/>
                </a:cubicBezTo>
                <a:cubicBezTo>
                  <a:pt x="44519" y="34348"/>
                  <a:pt x="35870" y="45401"/>
                  <a:pt x="23859" y="46319"/>
                </a:cubicBezTo>
                <a:cubicBezTo>
                  <a:pt x="11890" y="47233"/>
                  <a:pt x="-280" y="36371"/>
                  <a:pt x="5" y="23820"/>
                </a:cubicBezTo>
                <a:cubicBezTo>
                  <a:pt x="136" y="18011"/>
                  <a:pt x="2893" y="12263"/>
                  <a:pt x="4855" y="5679"/>
                </a:cubicBezTo>
                <a:cubicBezTo>
                  <a:pt x="20601" y="-3403"/>
                  <a:pt x="28004" y="-1910"/>
                  <a:pt x="40602" y="12465"/>
                </a:cubicBezTo>
                <a:close/>
              </a:path>
            </a:pathLst>
          </a:custGeom>
          <a:solidFill>
            <a:srgbClr val="FBFCFB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3EA3D238-73C3-19EF-C462-DAAB62C370B6}"/>
              </a:ext>
            </a:extLst>
          </p:cNvPr>
          <p:cNvSpPr txBox="1"/>
          <p:nvPr/>
        </p:nvSpPr>
        <p:spPr>
          <a:xfrm>
            <a:off x="9114889" y="5283631"/>
            <a:ext cx="2769394" cy="400110"/>
          </a:xfrm>
          <a:prstGeom prst="rect">
            <a:avLst/>
          </a:prstGeom>
          <a:noFill/>
        </p:spPr>
        <p:txBody>
          <a:bodyPr wrap="square" lIns="45720" tIns="45720" rIns="4572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followed by </a:t>
            </a: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AR-T</a:t>
            </a:r>
          </a:p>
        </p:txBody>
      </p:sp>
      <p:pic>
        <p:nvPicPr>
          <p:cNvPr id="86" name="Immagine 6">
            <a:extLst>
              <a:ext uri="{FF2B5EF4-FFF2-40B4-BE49-F238E27FC236}">
                <a16:creationId xmlns:a16="http://schemas.microsoft.com/office/drawing/2014/main" id="{6CDC2424-940E-DF9F-0225-5B6DD8C8E9B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07139" y="9099246"/>
            <a:ext cx="2064781" cy="1485310"/>
          </a:xfrm>
          <a:prstGeom prst="rect">
            <a:avLst/>
          </a:prstGeom>
        </p:spPr>
      </p:pic>
      <p:pic>
        <p:nvPicPr>
          <p:cNvPr id="87" name="Immagine 7">
            <a:extLst>
              <a:ext uri="{FF2B5EF4-FFF2-40B4-BE49-F238E27FC236}">
                <a16:creationId xmlns:a16="http://schemas.microsoft.com/office/drawing/2014/main" id="{A3FE66B9-A72F-5E3B-C0F5-56026F6DBBCC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32106" y="9103207"/>
            <a:ext cx="2064781" cy="1477387"/>
          </a:xfrm>
          <a:prstGeom prst="rect">
            <a:avLst/>
          </a:prstGeom>
        </p:spPr>
      </p:pic>
      <p:sp>
        <p:nvSpPr>
          <p:cNvPr id="88" name="CasellaDiTesto 20">
            <a:extLst>
              <a:ext uri="{FF2B5EF4-FFF2-40B4-BE49-F238E27FC236}">
                <a16:creationId xmlns:a16="http://schemas.microsoft.com/office/drawing/2014/main" id="{52266F61-2B2C-B2BF-BFF6-8DEDCDD5FE31}"/>
              </a:ext>
            </a:extLst>
          </p:cNvPr>
          <p:cNvSpPr txBox="1"/>
          <p:nvPr/>
        </p:nvSpPr>
        <p:spPr>
          <a:xfrm>
            <a:off x="3796585" y="8339437"/>
            <a:ext cx="1335824" cy="775824"/>
          </a:xfrm>
          <a:prstGeom prst="rect">
            <a:avLst/>
          </a:prstGeom>
          <a:noFill/>
          <a:ln>
            <a:noFill/>
          </a:ln>
        </p:spPr>
        <p:txBody>
          <a:bodyPr wrap="square" lIns="45720" tIns="45720" rIns="45720" bIns="45720" rtlCol="0" anchor="t">
            <a:normAutofit/>
          </a:bodyPr>
          <a:lstStyle>
            <a:defPPr>
              <a:defRPr lang="sv-SE"/>
            </a:defPPr>
            <a:lvl1pPr algn="ctr">
              <a:defRPr sz="20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EB92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fter </a:t>
            </a:r>
            <a:b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EB92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EB92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bridging </a:t>
            </a:r>
          </a:p>
        </p:txBody>
      </p:sp>
      <p:sp>
        <p:nvSpPr>
          <p:cNvPr id="89" name="CasellaDiTesto 21">
            <a:extLst>
              <a:ext uri="{FF2B5EF4-FFF2-40B4-BE49-F238E27FC236}">
                <a16:creationId xmlns:a16="http://schemas.microsoft.com/office/drawing/2014/main" id="{F25DF2B5-7F42-A441-3CC1-339C39A6EA23}"/>
              </a:ext>
            </a:extLst>
          </p:cNvPr>
          <p:cNvSpPr txBox="1"/>
          <p:nvPr/>
        </p:nvSpPr>
        <p:spPr>
          <a:xfrm>
            <a:off x="1483508" y="8373406"/>
            <a:ext cx="1512043" cy="707886"/>
          </a:xfrm>
          <a:prstGeom prst="rect">
            <a:avLst/>
          </a:prstGeom>
          <a:noFill/>
          <a:ln>
            <a:noFill/>
          </a:ln>
        </p:spPr>
        <p:txBody>
          <a:bodyPr wrap="square" lIns="45720" tIns="45720" rIns="45720" bIns="45720" rtlCol="0" anchor="t">
            <a:spAutoFit/>
          </a:bodyPr>
          <a:lstStyle>
            <a:defPPr>
              <a:defRPr lang="sv-SE"/>
            </a:defPPr>
            <a:lvl1pPr algn="ctr">
              <a:defRPr sz="2000" b="1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Before </a:t>
            </a:r>
            <a:b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bridging </a:t>
            </a:r>
          </a:p>
        </p:txBody>
      </p:sp>
      <p:sp>
        <p:nvSpPr>
          <p:cNvPr id="91" name="CasellaDiTesto 36">
            <a:extLst>
              <a:ext uri="{FF2B5EF4-FFF2-40B4-BE49-F238E27FC236}">
                <a16:creationId xmlns:a16="http://schemas.microsoft.com/office/drawing/2014/main" id="{524A820C-54BC-659A-1C7A-B53025B4AF9E}"/>
              </a:ext>
            </a:extLst>
          </p:cNvPr>
          <p:cNvSpPr txBox="1"/>
          <p:nvPr/>
        </p:nvSpPr>
        <p:spPr>
          <a:xfrm>
            <a:off x="5768881" y="9934263"/>
            <a:ext cx="3173696" cy="646331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Gr 1 maculopapular rash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Gr 1 peripheral oedema </a:t>
            </a:r>
          </a:p>
        </p:txBody>
      </p:sp>
      <p:sp>
        <p:nvSpPr>
          <p:cNvPr id="92" name="CasellaDiTesto 37">
            <a:extLst>
              <a:ext uri="{FF2B5EF4-FFF2-40B4-BE49-F238E27FC236}">
                <a16:creationId xmlns:a16="http://schemas.microsoft.com/office/drawing/2014/main" id="{59FB2A05-C922-A118-02B1-EC828689F8A5}"/>
              </a:ext>
            </a:extLst>
          </p:cNvPr>
          <p:cNvSpPr txBox="1"/>
          <p:nvPr/>
        </p:nvSpPr>
        <p:spPr>
          <a:xfrm>
            <a:off x="3496081" y="10660828"/>
            <a:ext cx="188872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eauville score 4</a:t>
            </a:r>
          </a:p>
        </p:txBody>
      </p:sp>
      <p:sp>
        <p:nvSpPr>
          <p:cNvPr id="94" name="CasellaDiTesto 80">
            <a:extLst>
              <a:ext uri="{FF2B5EF4-FFF2-40B4-BE49-F238E27FC236}">
                <a16:creationId xmlns:a16="http://schemas.microsoft.com/office/drawing/2014/main" id="{2093876C-2EFE-62DB-0502-989450480D0D}"/>
              </a:ext>
            </a:extLst>
          </p:cNvPr>
          <p:cNvSpPr txBox="1"/>
          <p:nvPr/>
        </p:nvSpPr>
        <p:spPr>
          <a:xfrm>
            <a:off x="2220981" y="10668138"/>
            <a:ext cx="11644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FDG-PET:</a:t>
            </a:r>
          </a:p>
        </p:txBody>
      </p:sp>
    </p:spTree>
    <p:extLst>
      <p:ext uri="{BB962C8B-B14F-4D97-AF65-F5344CB8AC3E}">
        <p14:creationId xmlns:p14="http://schemas.microsoft.com/office/powerpoint/2010/main" val="2302263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000"/>
    </mc:Choice>
    <mc:Fallback xmlns="">
      <p:transition spd="slow" advTm="1000"/>
    </mc:Fallback>
  </mc:AlternateContent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70E2B8A-5229-3ACE-0D5D-55A2C3800C5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val 4">
            <a:extLst>
              <a:ext uri="{FF2B5EF4-FFF2-40B4-BE49-F238E27FC236}">
                <a16:creationId xmlns:a16="http://schemas.microsoft.com/office/drawing/2014/main" id="{DC6BEFC9-54AD-2B66-7A91-D86FBE84E41D}"/>
              </a:ext>
            </a:extLst>
          </p:cNvPr>
          <p:cNvSpPr/>
          <p:nvPr/>
        </p:nvSpPr>
        <p:spPr>
          <a:xfrm>
            <a:off x="5051183" y="-1025411"/>
            <a:ext cx="717698" cy="10413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" name="Free-form: Shape 5">
            <a:extLst>
              <a:ext uri="{FF2B5EF4-FFF2-40B4-BE49-F238E27FC236}">
                <a16:creationId xmlns:a16="http://schemas.microsoft.com/office/drawing/2014/main" id="{4993ABEC-0DFE-2872-1620-CBADF4B3145E}"/>
              </a:ext>
            </a:extLst>
          </p:cNvPr>
          <p:cNvSpPr/>
          <p:nvPr/>
        </p:nvSpPr>
        <p:spPr>
          <a:xfrm>
            <a:off x="5146227" y="-2219295"/>
            <a:ext cx="634942" cy="1266262"/>
          </a:xfrm>
          <a:custGeom>
            <a:avLst/>
            <a:gdLst>
              <a:gd name="csX0" fmla="*/ 703087 w 763849"/>
              <a:gd name="csY0" fmla="*/ 1241174 h 1523340"/>
              <a:gd name="csX1" fmla="*/ 732932 w 763849"/>
              <a:gd name="csY1" fmla="*/ 1359634 h 1523340"/>
              <a:gd name="csX2" fmla="*/ 735544 w 763849"/>
              <a:gd name="csY2" fmla="*/ 1377287 h 1523340"/>
              <a:gd name="csX3" fmla="*/ 756764 w 763849"/>
              <a:gd name="csY3" fmla="*/ 1458577 h 1523340"/>
              <a:gd name="csX4" fmla="*/ 757108 w 763849"/>
              <a:gd name="csY4" fmla="*/ 1465940 h 1523340"/>
              <a:gd name="csX5" fmla="*/ 744215 w 763849"/>
              <a:gd name="csY5" fmla="*/ 1488332 h 1523340"/>
              <a:gd name="csX6" fmla="*/ 712781 w 763849"/>
              <a:gd name="csY6" fmla="*/ 1498472 h 1523340"/>
              <a:gd name="csX7" fmla="*/ 625540 w 763849"/>
              <a:gd name="csY7" fmla="*/ 1511981 h 1523340"/>
              <a:gd name="csX8" fmla="*/ 488540 w 763849"/>
              <a:gd name="csY8" fmla="*/ 1522029 h 1523340"/>
              <a:gd name="csX9" fmla="*/ 306789 w 763849"/>
              <a:gd name="csY9" fmla="*/ 1523231 h 1523340"/>
              <a:gd name="csX10" fmla="*/ 200103 w 763849"/>
              <a:gd name="csY10" fmla="*/ 1518579 h 1523340"/>
              <a:gd name="csX11" fmla="*/ 31607 w 763849"/>
              <a:gd name="csY11" fmla="*/ 1493880 h 1523340"/>
              <a:gd name="csX12" fmla="*/ 5860 w 763849"/>
              <a:gd name="csY12" fmla="*/ 1482933 h 1523340"/>
              <a:gd name="csX13" fmla="*/ 32 w 763849"/>
              <a:gd name="csY13" fmla="*/ 1471774 h 1523340"/>
              <a:gd name="csX14" fmla="*/ 21295 w 763849"/>
              <a:gd name="csY14" fmla="*/ 1378237 h 1523340"/>
              <a:gd name="csX15" fmla="*/ 23169 w 763849"/>
              <a:gd name="csY15" fmla="*/ 1364271 h 1523340"/>
              <a:gd name="csX16" fmla="*/ 23871 w 763849"/>
              <a:gd name="csY16" fmla="*/ 1303132 h 1523340"/>
              <a:gd name="csX17" fmla="*/ 59740 w 763849"/>
              <a:gd name="csY17" fmla="*/ 1234649 h 1523340"/>
              <a:gd name="csX18" fmla="*/ 98899 w 763849"/>
              <a:gd name="csY18" fmla="*/ 1195619 h 1523340"/>
              <a:gd name="csX19" fmla="*/ 131493 w 763849"/>
              <a:gd name="csY19" fmla="*/ 1127593 h 1523340"/>
              <a:gd name="csX20" fmla="*/ 108213 w 763849"/>
              <a:gd name="csY20" fmla="*/ 1058723 h 1523340"/>
              <a:gd name="csX21" fmla="*/ 74370 w 763849"/>
              <a:gd name="csY21" fmla="*/ 1024929 h 1523340"/>
              <a:gd name="csX22" fmla="*/ 68137 w 763849"/>
              <a:gd name="csY22" fmla="*/ 987550 h 1523340"/>
              <a:gd name="csX23" fmla="*/ 86420 w 763849"/>
              <a:gd name="csY23" fmla="*/ 941991 h 1523340"/>
              <a:gd name="csX24" fmla="*/ 97082 w 763849"/>
              <a:gd name="csY24" fmla="*/ 828037 h 1523340"/>
              <a:gd name="csX25" fmla="*/ 61782 w 763849"/>
              <a:gd name="csY25" fmla="*/ 696973 h 1523340"/>
              <a:gd name="csX26" fmla="*/ 26901 w 763849"/>
              <a:gd name="csY26" fmla="*/ 547868 h 1523340"/>
              <a:gd name="csX27" fmla="*/ 20221 w 763849"/>
              <a:gd name="csY27" fmla="*/ 479529 h 1523340"/>
              <a:gd name="csX28" fmla="*/ 40808 w 763849"/>
              <a:gd name="csY28" fmla="*/ 334388 h 1523340"/>
              <a:gd name="csX29" fmla="*/ 65171 w 763849"/>
              <a:gd name="csY29" fmla="*/ 263707 h 1523340"/>
              <a:gd name="csX30" fmla="*/ 142827 w 763849"/>
              <a:gd name="csY30" fmla="*/ 171003 h 1523340"/>
              <a:gd name="csX31" fmla="*/ 172290 w 763849"/>
              <a:gd name="csY31" fmla="*/ 155872 h 1523340"/>
              <a:gd name="csX32" fmla="*/ 189008 w 763849"/>
              <a:gd name="csY32" fmla="*/ 148158 h 1523340"/>
              <a:gd name="csX33" fmla="*/ 212828 w 763849"/>
              <a:gd name="csY33" fmla="*/ 126123 h 1523340"/>
              <a:gd name="csX34" fmla="*/ 217217 w 763849"/>
              <a:gd name="csY34" fmla="*/ 118740 h 1523340"/>
              <a:gd name="csX35" fmla="*/ 253000 w 763849"/>
              <a:gd name="csY35" fmla="*/ 88998 h 1523340"/>
              <a:gd name="csX36" fmla="*/ 322085 w 763849"/>
              <a:gd name="csY36" fmla="*/ 72193 h 1523340"/>
              <a:gd name="csX37" fmla="*/ 330478 w 763849"/>
              <a:gd name="csY37" fmla="*/ 70387 h 1523340"/>
              <a:gd name="csX38" fmla="*/ 388016 w 763849"/>
              <a:gd name="csY38" fmla="*/ 35457 h 1523340"/>
              <a:gd name="csX39" fmla="*/ 421527 w 763849"/>
              <a:gd name="csY39" fmla="*/ 0 h 1523340"/>
              <a:gd name="csX40" fmla="*/ 424538 w 763849"/>
              <a:gd name="csY40" fmla="*/ 10833 h 1523340"/>
              <a:gd name="csX41" fmla="*/ 436339 w 763849"/>
              <a:gd name="csY41" fmla="*/ 121836 h 1523340"/>
              <a:gd name="csX42" fmla="*/ 449983 w 763849"/>
              <a:gd name="csY42" fmla="*/ 141450 h 1523340"/>
              <a:gd name="csX43" fmla="*/ 503299 w 763849"/>
              <a:gd name="csY43" fmla="*/ 169290 h 1523340"/>
              <a:gd name="csX44" fmla="*/ 551461 w 763849"/>
              <a:gd name="csY44" fmla="*/ 203111 h 1523340"/>
              <a:gd name="csX45" fmla="*/ 588803 w 763849"/>
              <a:gd name="csY45" fmla="*/ 252797 h 1523340"/>
              <a:gd name="csX46" fmla="*/ 634209 w 763849"/>
              <a:gd name="csY46" fmla="*/ 327081 h 1523340"/>
              <a:gd name="csX47" fmla="*/ 697923 w 763849"/>
              <a:gd name="csY47" fmla="*/ 384157 h 1523340"/>
              <a:gd name="csX48" fmla="*/ 729658 w 763849"/>
              <a:gd name="csY48" fmla="*/ 407288 h 1523340"/>
              <a:gd name="csX49" fmla="*/ 763354 w 763849"/>
              <a:gd name="csY49" fmla="*/ 471325 h 1523340"/>
              <a:gd name="csX50" fmla="*/ 757092 w 763849"/>
              <a:gd name="csY50" fmla="*/ 527116 h 1523340"/>
              <a:gd name="csX51" fmla="*/ 720673 w 763849"/>
              <a:gd name="csY51" fmla="*/ 570023 h 1523340"/>
              <a:gd name="csX52" fmla="*/ 704918 w 763849"/>
              <a:gd name="csY52" fmla="*/ 581294 h 1523340"/>
              <a:gd name="csX53" fmla="*/ 671960 w 763849"/>
              <a:gd name="csY53" fmla="*/ 595325 h 1523340"/>
              <a:gd name="csX54" fmla="*/ 633021 w 763849"/>
              <a:gd name="csY54" fmla="*/ 591397 h 1523340"/>
              <a:gd name="csX55" fmla="*/ 580696 w 763849"/>
              <a:gd name="csY55" fmla="*/ 556742 h 1523340"/>
              <a:gd name="csX56" fmla="*/ 545415 w 763849"/>
              <a:gd name="csY56" fmla="*/ 524617 h 1523340"/>
              <a:gd name="csX57" fmla="*/ 518889 w 763849"/>
              <a:gd name="csY57" fmla="*/ 516179 h 1523340"/>
              <a:gd name="csX58" fmla="*/ 472309 w 763849"/>
              <a:gd name="csY58" fmla="*/ 517812 h 1523340"/>
              <a:gd name="csX59" fmla="*/ 415953 w 763849"/>
              <a:gd name="csY59" fmla="*/ 517245 h 1523340"/>
              <a:gd name="csX60" fmla="*/ 403392 w 763849"/>
              <a:gd name="csY60" fmla="*/ 516539 h 1523340"/>
              <a:gd name="csX61" fmla="*/ 407957 w 763849"/>
              <a:gd name="csY61" fmla="*/ 542045 h 1523340"/>
              <a:gd name="csX62" fmla="*/ 434134 w 763849"/>
              <a:gd name="csY62" fmla="*/ 583349 h 1523340"/>
              <a:gd name="csX63" fmla="*/ 524267 w 763849"/>
              <a:gd name="csY63" fmla="*/ 683922 h 1523340"/>
              <a:gd name="csX64" fmla="*/ 614317 w 763849"/>
              <a:gd name="csY64" fmla="*/ 786085 h 1523340"/>
              <a:gd name="csX65" fmla="*/ 669590 w 763849"/>
              <a:gd name="csY65" fmla="*/ 921089 h 1523340"/>
              <a:gd name="csX66" fmla="*/ 647360 w 763849"/>
              <a:gd name="csY66" fmla="*/ 1057245 h 1523340"/>
              <a:gd name="csX67" fmla="*/ 627872 w 763849"/>
              <a:gd name="csY67" fmla="*/ 1102111 h 1523340"/>
              <a:gd name="csX68" fmla="*/ 642300 w 763849"/>
              <a:gd name="csY68" fmla="*/ 1175941 h 1523340"/>
              <a:gd name="csX69" fmla="*/ 668829 w 763849"/>
              <a:gd name="csY69" fmla="*/ 1206449 h 1523340"/>
              <a:gd name="csX70" fmla="*/ 703087 w 763849"/>
              <a:gd name="csY70" fmla="*/ 1241174 h 1523340"/>
              <a:gd name="csX71" fmla="*/ 648750 w 763849"/>
              <a:gd name="csY71" fmla="*/ 562343 h 1523340"/>
              <a:gd name="csX72" fmla="*/ 674049 w 763849"/>
              <a:gd name="csY72" fmla="*/ 562834 h 1523340"/>
              <a:gd name="csX73" fmla="*/ 660781 w 763849"/>
              <a:gd name="csY73" fmla="*/ 550178 h 1523340"/>
              <a:gd name="csX74" fmla="*/ 650911 w 763849"/>
              <a:gd name="csY74" fmla="*/ 534051 h 1523340"/>
              <a:gd name="csX75" fmla="*/ 660724 w 763849"/>
              <a:gd name="csY75" fmla="*/ 537605 h 1523340"/>
              <a:gd name="csX76" fmla="*/ 688133 w 763849"/>
              <a:gd name="csY76" fmla="*/ 543363 h 1523340"/>
              <a:gd name="csX77" fmla="*/ 731514 w 763849"/>
              <a:gd name="csY77" fmla="*/ 510767 h 1523340"/>
              <a:gd name="csX78" fmla="*/ 733611 w 763849"/>
              <a:gd name="csY78" fmla="*/ 466905 h 1523340"/>
              <a:gd name="csX79" fmla="*/ 708076 w 763849"/>
              <a:gd name="csY79" fmla="*/ 425975 h 1523340"/>
              <a:gd name="csX80" fmla="*/ 667538 w 763849"/>
              <a:gd name="csY80" fmla="*/ 398254 h 1523340"/>
              <a:gd name="csX81" fmla="*/ 601016 w 763849"/>
              <a:gd name="csY81" fmla="*/ 332127 h 1523340"/>
              <a:gd name="csX82" fmla="*/ 565354 w 763849"/>
              <a:gd name="csY82" fmla="*/ 270526 h 1523340"/>
              <a:gd name="csX83" fmla="*/ 490657 w 763849"/>
              <a:gd name="csY83" fmla="*/ 195121 h 1523340"/>
              <a:gd name="csX84" fmla="*/ 432834 w 763849"/>
              <a:gd name="csY84" fmla="*/ 165243 h 1523340"/>
              <a:gd name="csX85" fmla="*/ 407594 w 763849"/>
              <a:gd name="csY85" fmla="*/ 127852 h 1523340"/>
              <a:gd name="csX86" fmla="*/ 405020 w 763849"/>
              <a:gd name="csY86" fmla="*/ 69029 h 1523340"/>
              <a:gd name="csX87" fmla="*/ 403638 w 763849"/>
              <a:gd name="csY87" fmla="*/ 58130 h 1523340"/>
              <a:gd name="csX88" fmla="*/ 349776 w 763849"/>
              <a:gd name="csY88" fmla="*/ 133259 h 1523340"/>
              <a:gd name="csX89" fmla="*/ 326975 w 763849"/>
              <a:gd name="csY89" fmla="*/ 159669 h 1523340"/>
              <a:gd name="csX90" fmla="*/ 240374 w 763849"/>
              <a:gd name="csY90" fmla="*/ 221714 h 1523340"/>
              <a:gd name="csX91" fmla="*/ 171637 w 763849"/>
              <a:gd name="csY91" fmla="*/ 309087 h 1523340"/>
              <a:gd name="csX92" fmla="*/ 138048 w 763849"/>
              <a:gd name="csY92" fmla="*/ 516954 h 1523340"/>
              <a:gd name="csX93" fmla="*/ 163889 w 763849"/>
              <a:gd name="csY93" fmla="*/ 641780 h 1523340"/>
              <a:gd name="csX94" fmla="*/ 204800 w 763849"/>
              <a:gd name="csY94" fmla="*/ 787055 h 1523340"/>
              <a:gd name="csX95" fmla="*/ 218549 w 763849"/>
              <a:gd name="csY95" fmla="*/ 949545 h 1523340"/>
              <a:gd name="csX96" fmla="*/ 191487 w 763849"/>
              <a:gd name="csY96" fmla="*/ 1033064 h 1523340"/>
              <a:gd name="csX97" fmla="*/ 188729 w 763849"/>
              <a:gd name="csY97" fmla="*/ 1039835 h 1523340"/>
              <a:gd name="csX98" fmla="*/ 221417 w 763849"/>
              <a:gd name="csY98" fmla="*/ 1040799 h 1523340"/>
              <a:gd name="csX99" fmla="*/ 348895 w 763849"/>
              <a:gd name="csY99" fmla="*/ 1046759 h 1523340"/>
              <a:gd name="csX100" fmla="*/ 545369 w 763849"/>
              <a:gd name="csY100" fmla="*/ 1044456 h 1523340"/>
              <a:gd name="csX101" fmla="*/ 612424 w 763849"/>
              <a:gd name="csY101" fmla="*/ 1037365 h 1523340"/>
              <a:gd name="csX102" fmla="*/ 623169 w 763849"/>
              <a:gd name="csY102" fmla="*/ 1028873 h 1523340"/>
              <a:gd name="csX103" fmla="*/ 638508 w 763849"/>
              <a:gd name="csY103" fmla="*/ 959599 h 1523340"/>
              <a:gd name="csX104" fmla="*/ 609213 w 763849"/>
              <a:gd name="csY104" fmla="*/ 842075 h 1523340"/>
              <a:gd name="csX105" fmla="*/ 529367 w 763849"/>
              <a:gd name="csY105" fmla="*/ 735065 h 1523340"/>
              <a:gd name="csX106" fmla="*/ 403792 w 763849"/>
              <a:gd name="csY106" fmla="*/ 596993 h 1523340"/>
              <a:gd name="csX107" fmla="*/ 344708 w 763849"/>
              <a:gd name="csY107" fmla="*/ 511366 h 1523340"/>
              <a:gd name="csX108" fmla="*/ 324464 w 763849"/>
              <a:gd name="csY108" fmla="*/ 380084 h 1523340"/>
              <a:gd name="csX109" fmla="*/ 327688 w 763849"/>
              <a:gd name="csY109" fmla="*/ 373535 h 1523340"/>
              <a:gd name="csX110" fmla="*/ 330334 w 763849"/>
              <a:gd name="csY110" fmla="*/ 373641 h 1523340"/>
              <a:gd name="csX111" fmla="*/ 334272 w 763849"/>
              <a:gd name="csY111" fmla="*/ 384645 h 1523340"/>
              <a:gd name="csX112" fmla="*/ 365260 w 763849"/>
              <a:gd name="csY112" fmla="*/ 453955 h 1523340"/>
              <a:gd name="csX113" fmla="*/ 408246 w 763849"/>
              <a:gd name="csY113" fmla="*/ 483592 h 1523340"/>
              <a:gd name="csX114" fmla="*/ 464529 w 763849"/>
              <a:gd name="csY114" fmla="*/ 486187 h 1523340"/>
              <a:gd name="csX115" fmla="*/ 511119 w 763849"/>
              <a:gd name="csY115" fmla="*/ 484308 h 1523340"/>
              <a:gd name="csX116" fmla="*/ 567913 w 763849"/>
              <a:gd name="csY116" fmla="*/ 503736 h 1523340"/>
              <a:gd name="csX117" fmla="*/ 607611 w 763849"/>
              <a:gd name="csY117" fmla="*/ 540326 h 1523340"/>
              <a:gd name="csX118" fmla="*/ 648750 w 763849"/>
              <a:gd name="csY118" fmla="*/ 562343 h 1523340"/>
              <a:gd name="csX119" fmla="*/ 462594 w 763849"/>
              <a:gd name="csY119" fmla="*/ 1369008 h 1523340"/>
              <a:gd name="csX120" fmla="*/ 510357 w 763849"/>
              <a:gd name="csY120" fmla="*/ 1366345 h 1523340"/>
              <a:gd name="csX121" fmla="*/ 549434 w 763849"/>
              <a:gd name="csY121" fmla="*/ 1362956 h 1523340"/>
              <a:gd name="csX122" fmla="*/ 632369 w 763849"/>
              <a:gd name="csY122" fmla="*/ 1354439 h 1523340"/>
              <a:gd name="csX123" fmla="*/ 697252 w 763849"/>
              <a:gd name="csY123" fmla="*/ 1346424 h 1523340"/>
              <a:gd name="csX124" fmla="*/ 676674 w 763849"/>
              <a:gd name="csY124" fmla="*/ 1266396 h 1523340"/>
              <a:gd name="csX125" fmla="*/ 646594 w 763849"/>
              <a:gd name="csY125" fmla="*/ 1234108 h 1523340"/>
              <a:gd name="csX126" fmla="*/ 612063 w 763849"/>
              <a:gd name="csY126" fmla="*/ 1194382 h 1523340"/>
              <a:gd name="csX127" fmla="*/ 591616 w 763849"/>
              <a:gd name="csY127" fmla="*/ 1111541 h 1523340"/>
              <a:gd name="csX128" fmla="*/ 594320 w 763849"/>
              <a:gd name="csY128" fmla="*/ 1089609 h 1523340"/>
              <a:gd name="csX129" fmla="*/ 578634 w 763849"/>
              <a:gd name="csY129" fmla="*/ 1089642 h 1523340"/>
              <a:gd name="csX130" fmla="*/ 443931 w 763849"/>
              <a:gd name="csY130" fmla="*/ 1096700 h 1523340"/>
              <a:gd name="csX131" fmla="*/ 403417 w 763849"/>
              <a:gd name="csY131" fmla="*/ 1097156 h 1523340"/>
              <a:gd name="csX132" fmla="*/ 388348 w 763849"/>
              <a:gd name="csY132" fmla="*/ 1111502 h 1523340"/>
              <a:gd name="csX133" fmla="*/ 385048 w 763849"/>
              <a:gd name="csY133" fmla="*/ 1176431 h 1523340"/>
              <a:gd name="csX134" fmla="*/ 377687 w 763849"/>
              <a:gd name="csY134" fmla="*/ 1308672 h 1523340"/>
              <a:gd name="csX135" fmla="*/ 376823 w 763849"/>
              <a:gd name="csY135" fmla="*/ 1320897 h 1523340"/>
              <a:gd name="csX136" fmla="*/ 376781 w 763849"/>
              <a:gd name="csY136" fmla="*/ 1366151 h 1523340"/>
              <a:gd name="csX137" fmla="*/ 462594 w 763849"/>
              <a:gd name="csY137" fmla="*/ 1369008 h 1523340"/>
              <a:gd name="csX138" fmla="*/ 648494 w 763849"/>
              <a:gd name="csY138" fmla="*/ 1463981 h 1523340"/>
              <a:gd name="csX139" fmla="*/ 718746 w 763849"/>
              <a:gd name="csY139" fmla="*/ 1451892 h 1523340"/>
              <a:gd name="csX140" fmla="*/ 711827 w 763849"/>
              <a:gd name="csY140" fmla="*/ 1416835 h 1523340"/>
              <a:gd name="csX141" fmla="*/ 685812 w 763849"/>
              <a:gd name="csY141" fmla="*/ 1398502 h 1523340"/>
              <a:gd name="csX142" fmla="*/ 680924 w 763849"/>
              <a:gd name="csY142" fmla="*/ 1398973 h 1523340"/>
              <a:gd name="csX143" fmla="*/ 598278 w 763849"/>
              <a:gd name="csY143" fmla="*/ 1409218 h 1523340"/>
              <a:gd name="csX144" fmla="*/ 474765 w 763849"/>
              <a:gd name="csY144" fmla="*/ 1417945 h 1523340"/>
              <a:gd name="csX145" fmla="*/ 385143 w 763849"/>
              <a:gd name="csY145" fmla="*/ 1418978 h 1523340"/>
              <a:gd name="csX146" fmla="*/ 376639 w 763849"/>
              <a:gd name="csY146" fmla="*/ 1419613 h 1523340"/>
              <a:gd name="csX147" fmla="*/ 376639 w 763849"/>
              <a:gd name="csY147" fmla="*/ 1473939 h 1523340"/>
              <a:gd name="csX148" fmla="*/ 382089 w 763849"/>
              <a:gd name="csY148" fmla="*/ 1474854 h 1523340"/>
              <a:gd name="csX149" fmla="*/ 449536 w 763849"/>
              <a:gd name="csY149" fmla="*/ 1476855 h 1523340"/>
              <a:gd name="csX150" fmla="*/ 559930 w 763849"/>
              <a:gd name="csY150" fmla="*/ 1474307 h 1523340"/>
              <a:gd name="csX151" fmla="*/ 648494 w 763849"/>
              <a:gd name="csY151" fmla="*/ 1463981 h 152334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</a:cxnLst>
            <a:rect l="l" t="t" r="r" b="b"/>
            <a:pathLst>
              <a:path w="763849" h="1523340">
                <a:moveTo>
                  <a:pt x="703087" y="1241174"/>
                </a:moveTo>
                <a:cubicBezTo>
                  <a:pt x="732418" y="1276379"/>
                  <a:pt x="738825" y="1316526"/>
                  <a:pt x="732932" y="1359634"/>
                </a:cubicBezTo>
                <a:cubicBezTo>
                  <a:pt x="732067" y="1365959"/>
                  <a:pt x="732453" y="1371428"/>
                  <a:pt x="735544" y="1377287"/>
                </a:cubicBezTo>
                <a:cubicBezTo>
                  <a:pt x="748937" y="1402675"/>
                  <a:pt x="755318" y="1430010"/>
                  <a:pt x="756764" y="1458577"/>
                </a:cubicBezTo>
                <a:cubicBezTo>
                  <a:pt x="756887" y="1461031"/>
                  <a:pt x="756895" y="1463494"/>
                  <a:pt x="757108" y="1465940"/>
                </a:cubicBezTo>
                <a:cubicBezTo>
                  <a:pt x="758375" y="1480486"/>
                  <a:pt x="757802" y="1482498"/>
                  <a:pt x="744215" y="1488332"/>
                </a:cubicBezTo>
                <a:cubicBezTo>
                  <a:pt x="734126" y="1492664"/>
                  <a:pt x="723536" y="1496562"/>
                  <a:pt x="712781" y="1498472"/>
                </a:cubicBezTo>
                <a:cubicBezTo>
                  <a:pt x="683814" y="1503617"/>
                  <a:pt x="654674" y="1507832"/>
                  <a:pt x="625540" y="1511981"/>
                </a:cubicBezTo>
                <a:cubicBezTo>
                  <a:pt x="580114" y="1518449"/>
                  <a:pt x="534395" y="1521481"/>
                  <a:pt x="488540" y="1522029"/>
                </a:cubicBezTo>
                <a:cubicBezTo>
                  <a:pt x="427958" y="1522752"/>
                  <a:pt x="367367" y="1523658"/>
                  <a:pt x="306789" y="1523231"/>
                </a:cubicBezTo>
                <a:cubicBezTo>
                  <a:pt x="271215" y="1522980"/>
                  <a:pt x="235625" y="1520833"/>
                  <a:pt x="200103" y="1518579"/>
                </a:cubicBezTo>
                <a:cubicBezTo>
                  <a:pt x="143289" y="1514974"/>
                  <a:pt x="86915" y="1507766"/>
                  <a:pt x="31607" y="1493880"/>
                </a:cubicBezTo>
                <a:cubicBezTo>
                  <a:pt x="22666" y="1491635"/>
                  <a:pt x="14297" y="1486920"/>
                  <a:pt x="5860" y="1482933"/>
                </a:cubicBezTo>
                <a:cubicBezTo>
                  <a:pt x="1433" y="1480841"/>
                  <a:pt x="-262" y="1476934"/>
                  <a:pt x="32" y="1471774"/>
                </a:cubicBezTo>
                <a:cubicBezTo>
                  <a:pt x="1880" y="1439401"/>
                  <a:pt x="3993" y="1407192"/>
                  <a:pt x="21295" y="1378237"/>
                </a:cubicBezTo>
                <a:cubicBezTo>
                  <a:pt x="23526" y="1374504"/>
                  <a:pt x="23666" y="1368858"/>
                  <a:pt x="23169" y="1364271"/>
                </a:cubicBezTo>
                <a:cubicBezTo>
                  <a:pt x="20957" y="1343833"/>
                  <a:pt x="20482" y="1323540"/>
                  <a:pt x="23871" y="1303132"/>
                </a:cubicBezTo>
                <a:cubicBezTo>
                  <a:pt x="28332" y="1276267"/>
                  <a:pt x="41045" y="1253887"/>
                  <a:pt x="59740" y="1234649"/>
                </a:cubicBezTo>
                <a:cubicBezTo>
                  <a:pt x="72582" y="1221434"/>
                  <a:pt x="85657" y="1208434"/>
                  <a:pt x="98899" y="1195619"/>
                </a:cubicBezTo>
                <a:cubicBezTo>
                  <a:pt x="118216" y="1176926"/>
                  <a:pt x="130484" y="1154702"/>
                  <a:pt x="131493" y="1127593"/>
                </a:cubicBezTo>
                <a:cubicBezTo>
                  <a:pt x="132448" y="1101948"/>
                  <a:pt x="127125" y="1077868"/>
                  <a:pt x="108213" y="1058723"/>
                </a:cubicBezTo>
                <a:cubicBezTo>
                  <a:pt x="97010" y="1047381"/>
                  <a:pt x="85438" y="1036399"/>
                  <a:pt x="74370" y="1024929"/>
                </a:cubicBezTo>
                <a:cubicBezTo>
                  <a:pt x="63868" y="1014043"/>
                  <a:pt x="62267" y="1001475"/>
                  <a:pt x="68137" y="987550"/>
                </a:cubicBezTo>
                <a:cubicBezTo>
                  <a:pt x="74493" y="972473"/>
                  <a:pt x="80703" y="957319"/>
                  <a:pt x="86420" y="941991"/>
                </a:cubicBezTo>
                <a:cubicBezTo>
                  <a:pt x="100218" y="905001"/>
                  <a:pt x="99441" y="866690"/>
                  <a:pt x="97082" y="828037"/>
                </a:cubicBezTo>
                <a:cubicBezTo>
                  <a:pt x="94260" y="781809"/>
                  <a:pt x="76370" y="739899"/>
                  <a:pt x="61782" y="696973"/>
                </a:cubicBezTo>
                <a:cubicBezTo>
                  <a:pt x="45282" y="648419"/>
                  <a:pt x="33285" y="598770"/>
                  <a:pt x="26901" y="547868"/>
                </a:cubicBezTo>
                <a:cubicBezTo>
                  <a:pt x="24054" y="525160"/>
                  <a:pt x="21110" y="502364"/>
                  <a:pt x="20221" y="479529"/>
                </a:cubicBezTo>
                <a:cubicBezTo>
                  <a:pt x="18293" y="430013"/>
                  <a:pt x="26126" y="381610"/>
                  <a:pt x="40808" y="334388"/>
                </a:cubicBezTo>
                <a:cubicBezTo>
                  <a:pt x="48208" y="310588"/>
                  <a:pt x="55162" y="286441"/>
                  <a:pt x="65171" y="263707"/>
                </a:cubicBezTo>
                <a:cubicBezTo>
                  <a:pt x="81946" y="225606"/>
                  <a:pt x="106517" y="193071"/>
                  <a:pt x="142827" y="171003"/>
                </a:cubicBezTo>
                <a:cubicBezTo>
                  <a:pt x="152238" y="165283"/>
                  <a:pt x="162401" y="160787"/>
                  <a:pt x="172290" y="155872"/>
                </a:cubicBezTo>
                <a:cubicBezTo>
                  <a:pt x="177784" y="153142"/>
                  <a:pt x="183393" y="150635"/>
                  <a:pt x="189008" y="148158"/>
                </a:cubicBezTo>
                <a:cubicBezTo>
                  <a:pt x="199487" y="143534"/>
                  <a:pt x="207598" y="136426"/>
                  <a:pt x="212828" y="126123"/>
                </a:cubicBezTo>
                <a:cubicBezTo>
                  <a:pt x="214121" y="123575"/>
                  <a:pt x="215966" y="121304"/>
                  <a:pt x="217217" y="118740"/>
                </a:cubicBezTo>
                <a:cubicBezTo>
                  <a:pt x="224688" y="103433"/>
                  <a:pt x="237053" y="93440"/>
                  <a:pt x="253000" y="88998"/>
                </a:cubicBezTo>
                <a:cubicBezTo>
                  <a:pt x="275818" y="82642"/>
                  <a:pt x="299033" y="77711"/>
                  <a:pt x="322085" y="72193"/>
                </a:cubicBezTo>
                <a:cubicBezTo>
                  <a:pt x="324867" y="71527"/>
                  <a:pt x="327694" y="71045"/>
                  <a:pt x="330478" y="70387"/>
                </a:cubicBezTo>
                <a:cubicBezTo>
                  <a:pt x="364731" y="62297"/>
                  <a:pt x="364569" y="62151"/>
                  <a:pt x="388016" y="35457"/>
                </a:cubicBezTo>
                <a:cubicBezTo>
                  <a:pt x="398189" y="23875"/>
                  <a:pt x="409180" y="13010"/>
                  <a:pt x="421527" y="0"/>
                </a:cubicBezTo>
                <a:cubicBezTo>
                  <a:pt x="423000" y="5190"/>
                  <a:pt x="424219" y="7961"/>
                  <a:pt x="424538" y="10833"/>
                </a:cubicBezTo>
                <a:cubicBezTo>
                  <a:pt x="428638" y="47817"/>
                  <a:pt x="433030" y="84779"/>
                  <a:pt x="436339" y="121836"/>
                </a:cubicBezTo>
                <a:cubicBezTo>
                  <a:pt x="437236" y="131893"/>
                  <a:pt x="441545" y="137271"/>
                  <a:pt x="449983" y="141450"/>
                </a:cubicBezTo>
                <a:cubicBezTo>
                  <a:pt x="467954" y="150348"/>
                  <a:pt x="486187" y="158915"/>
                  <a:pt x="503299" y="169290"/>
                </a:cubicBezTo>
                <a:cubicBezTo>
                  <a:pt x="520041" y="179441"/>
                  <a:pt x="535883" y="191197"/>
                  <a:pt x="551461" y="203111"/>
                </a:cubicBezTo>
                <a:cubicBezTo>
                  <a:pt x="568416" y="216079"/>
                  <a:pt x="579195" y="234146"/>
                  <a:pt x="588803" y="252797"/>
                </a:cubicBezTo>
                <a:cubicBezTo>
                  <a:pt x="602134" y="278677"/>
                  <a:pt x="616556" y="303835"/>
                  <a:pt x="634209" y="327081"/>
                </a:cubicBezTo>
                <a:cubicBezTo>
                  <a:pt x="651797" y="350241"/>
                  <a:pt x="673980" y="368103"/>
                  <a:pt x="697923" y="384157"/>
                </a:cubicBezTo>
                <a:cubicBezTo>
                  <a:pt x="708787" y="391441"/>
                  <a:pt x="719007" y="399678"/>
                  <a:pt x="729658" y="407288"/>
                </a:cubicBezTo>
                <a:cubicBezTo>
                  <a:pt x="751657" y="423004"/>
                  <a:pt x="761259" y="445265"/>
                  <a:pt x="763354" y="471325"/>
                </a:cubicBezTo>
                <a:cubicBezTo>
                  <a:pt x="764877" y="490275"/>
                  <a:pt x="762919" y="509064"/>
                  <a:pt x="757092" y="527116"/>
                </a:cubicBezTo>
                <a:cubicBezTo>
                  <a:pt x="750932" y="546198"/>
                  <a:pt x="738296" y="560266"/>
                  <a:pt x="720673" y="570023"/>
                </a:cubicBezTo>
                <a:cubicBezTo>
                  <a:pt x="715048" y="573138"/>
                  <a:pt x="709487" y="576825"/>
                  <a:pt x="704918" y="581294"/>
                </a:cubicBezTo>
                <a:cubicBezTo>
                  <a:pt x="695625" y="590383"/>
                  <a:pt x="684728" y="595697"/>
                  <a:pt x="671960" y="595325"/>
                </a:cubicBezTo>
                <a:cubicBezTo>
                  <a:pt x="658939" y="594945"/>
                  <a:pt x="645743" y="594018"/>
                  <a:pt x="633021" y="591397"/>
                </a:cubicBezTo>
                <a:cubicBezTo>
                  <a:pt x="611233" y="586907"/>
                  <a:pt x="595034" y="572939"/>
                  <a:pt x="580696" y="556742"/>
                </a:cubicBezTo>
                <a:cubicBezTo>
                  <a:pt x="570081" y="544750"/>
                  <a:pt x="559052" y="533306"/>
                  <a:pt x="545415" y="524617"/>
                </a:cubicBezTo>
                <a:cubicBezTo>
                  <a:pt x="537261" y="519422"/>
                  <a:pt x="528551" y="515996"/>
                  <a:pt x="518889" y="516179"/>
                </a:cubicBezTo>
                <a:cubicBezTo>
                  <a:pt x="503357" y="516473"/>
                  <a:pt x="487839" y="517663"/>
                  <a:pt x="472309" y="517812"/>
                </a:cubicBezTo>
                <a:cubicBezTo>
                  <a:pt x="453527" y="517993"/>
                  <a:pt x="434738" y="517514"/>
                  <a:pt x="415953" y="517245"/>
                </a:cubicBezTo>
                <a:cubicBezTo>
                  <a:pt x="411976" y="517189"/>
                  <a:pt x="408003" y="516808"/>
                  <a:pt x="403392" y="516539"/>
                </a:cubicBezTo>
                <a:cubicBezTo>
                  <a:pt x="401207" y="526363"/>
                  <a:pt x="404857" y="534293"/>
                  <a:pt x="407957" y="542045"/>
                </a:cubicBezTo>
                <a:cubicBezTo>
                  <a:pt x="414092" y="557387"/>
                  <a:pt x="423168" y="571042"/>
                  <a:pt x="434134" y="583349"/>
                </a:cubicBezTo>
                <a:cubicBezTo>
                  <a:pt x="464083" y="616959"/>
                  <a:pt x="493980" y="650618"/>
                  <a:pt x="524267" y="683922"/>
                </a:cubicBezTo>
                <a:cubicBezTo>
                  <a:pt x="554818" y="717518"/>
                  <a:pt x="588291" y="748619"/>
                  <a:pt x="614317" y="786085"/>
                </a:cubicBezTo>
                <a:cubicBezTo>
                  <a:pt x="642656" y="826881"/>
                  <a:pt x="663974" y="871159"/>
                  <a:pt x="669590" y="921089"/>
                </a:cubicBezTo>
                <a:cubicBezTo>
                  <a:pt x="674894" y="968240"/>
                  <a:pt x="669774" y="1014226"/>
                  <a:pt x="647360" y="1057245"/>
                </a:cubicBezTo>
                <a:cubicBezTo>
                  <a:pt x="639830" y="1071697"/>
                  <a:pt x="630533" y="1085565"/>
                  <a:pt x="627872" y="1102111"/>
                </a:cubicBezTo>
                <a:cubicBezTo>
                  <a:pt x="623640" y="1128439"/>
                  <a:pt x="626183" y="1153784"/>
                  <a:pt x="642300" y="1175941"/>
                </a:cubicBezTo>
                <a:cubicBezTo>
                  <a:pt x="650201" y="1186801"/>
                  <a:pt x="659595" y="1196636"/>
                  <a:pt x="668829" y="1206449"/>
                </a:cubicBezTo>
                <a:cubicBezTo>
                  <a:pt x="679770" y="1218075"/>
                  <a:pt x="691267" y="1229177"/>
                  <a:pt x="703087" y="1241174"/>
                </a:cubicBezTo>
                <a:moveTo>
                  <a:pt x="648750" y="562343"/>
                </a:moveTo>
                <a:cubicBezTo>
                  <a:pt x="656729" y="562558"/>
                  <a:pt x="664698" y="567407"/>
                  <a:pt x="674049" y="562834"/>
                </a:cubicBezTo>
                <a:cubicBezTo>
                  <a:pt x="668990" y="558037"/>
                  <a:pt x="664729" y="554259"/>
                  <a:pt x="660781" y="550178"/>
                </a:cubicBezTo>
                <a:cubicBezTo>
                  <a:pt x="656713" y="545973"/>
                  <a:pt x="651493" y="542363"/>
                  <a:pt x="650911" y="534051"/>
                </a:cubicBezTo>
                <a:cubicBezTo>
                  <a:pt x="654940" y="535536"/>
                  <a:pt x="657753" y="536907"/>
                  <a:pt x="660724" y="537605"/>
                </a:cubicBezTo>
                <a:cubicBezTo>
                  <a:pt x="669824" y="539743"/>
                  <a:pt x="678915" y="542853"/>
                  <a:pt x="688133" y="543363"/>
                </a:cubicBezTo>
                <a:cubicBezTo>
                  <a:pt x="712019" y="544686"/>
                  <a:pt x="726964" y="534053"/>
                  <a:pt x="731514" y="510767"/>
                </a:cubicBezTo>
                <a:cubicBezTo>
                  <a:pt x="734296" y="496535"/>
                  <a:pt x="734146" y="481511"/>
                  <a:pt x="733611" y="466905"/>
                </a:cubicBezTo>
                <a:cubicBezTo>
                  <a:pt x="732951" y="448863"/>
                  <a:pt x="723348" y="435653"/>
                  <a:pt x="708076" y="425975"/>
                </a:cubicBezTo>
                <a:cubicBezTo>
                  <a:pt x="694258" y="417218"/>
                  <a:pt x="681056" y="407489"/>
                  <a:pt x="667538" y="398254"/>
                </a:cubicBezTo>
                <a:cubicBezTo>
                  <a:pt x="641278" y="380314"/>
                  <a:pt x="617580" y="359743"/>
                  <a:pt x="601016" y="332127"/>
                </a:cubicBezTo>
                <a:cubicBezTo>
                  <a:pt x="588810" y="311778"/>
                  <a:pt x="576093" y="291645"/>
                  <a:pt x="565354" y="270526"/>
                </a:cubicBezTo>
                <a:cubicBezTo>
                  <a:pt x="548401" y="237186"/>
                  <a:pt x="523821" y="212104"/>
                  <a:pt x="490657" y="195121"/>
                </a:cubicBezTo>
                <a:cubicBezTo>
                  <a:pt x="471346" y="185231"/>
                  <a:pt x="452394" y="174606"/>
                  <a:pt x="432834" y="165243"/>
                </a:cubicBezTo>
                <a:cubicBezTo>
                  <a:pt x="416725" y="157532"/>
                  <a:pt x="408325" y="145526"/>
                  <a:pt x="407594" y="127852"/>
                </a:cubicBezTo>
                <a:cubicBezTo>
                  <a:pt x="406783" y="108242"/>
                  <a:pt x="405935" y="88634"/>
                  <a:pt x="405020" y="69029"/>
                </a:cubicBezTo>
                <a:cubicBezTo>
                  <a:pt x="404882" y="66067"/>
                  <a:pt x="404287" y="63127"/>
                  <a:pt x="403638" y="58130"/>
                </a:cubicBezTo>
                <a:cubicBezTo>
                  <a:pt x="381792" y="82321"/>
                  <a:pt x="361650" y="104820"/>
                  <a:pt x="349776" y="133259"/>
                </a:cubicBezTo>
                <a:cubicBezTo>
                  <a:pt x="345032" y="144621"/>
                  <a:pt x="337822" y="153814"/>
                  <a:pt x="326975" y="159669"/>
                </a:cubicBezTo>
                <a:cubicBezTo>
                  <a:pt x="295461" y="176681"/>
                  <a:pt x="266610" y="197333"/>
                  <a:pt x="240374" y="221714"/>
                </a:cubicBezTo>
                <a:cubicBezTo>
                  <a:pt x="212881" y="247263"/>
                  <a:pt x="188313" y="275340"/>
                  <a:pt x="171637" y="309087"/>
                </a:cubicBezTo>
                <a:cubicBezTo>
                  <a:pt x="139180" y="374765"/>
                  <a:pt x="129692" y="444532"/>
                  <a:pt x="138048" y="516954"/>
                </a:cubicBezTo>
                <a:cubicBezTo>
                  <a:pt x="142936" y="559318"/>
                  <a:pt x="152518" y="600762"/>
                  <a:pt x="163889" y="641780"/>
                </a:cubicBezTo>
                <a:cubicBezTo>
                  <a:pt x="177329" y="690261"/>
                  <a:pt x="191989" y="738413"/>
                  <a:pt x="204800" y="787055"/>
                </a:cubicBezTo>
                <a:cubicBezTo>
                  <a:pt x="218820" y="840287"/>
                  <a:pt x="228587" y="894088"/>
                  <a:pt x="218549" y="949545"/>
                </a:cubicBezTo>
                <a:cubicBezTo>
                  <a:pt x="213279" y="978659"/>
                  <a:pt x="207130" y="1007359"/>
                  <a:pt x="191487" y="1033064"/>
                </a:cubicBezTo>
                <a:cubicBezTo>
                  <a:pt x="190499" y="1034686"/>
                  <a:pt x="190018" y="1036618"/>
                  <a:pt x="188729" y="1039835"/>
                </a:cubicBezTo>
                <a:cubicBezTo>
                  <a:pt x="200470" y="1040170"/>
                  <a:pt x="210952" y="1040298"/>
                  <a:pt x="221417" y="1040799"/>
                </a:cubicBezTo>
                <a:cubicBezTo>
                  <a:pt x="263912" y="1042835"/>
                  <a:pt x="306390" y="1046436"/>
                  <a:pt x="348895" y="1046759"/>
                </a:cubicBezTo>
                <a:cubicBezTo>
                  <a:pt x="414380" y="1047258"/>
                  <a:pt x="479896" y="1046092"/>
                  <a:pt x="545369" y="1044456"/>
                </a:cubicBezTo>
                <a:cubicBezTo>
                  <a:pt x="567764" y="1043897"/>
                  <a:pt x="590066" y="1039744"/>
                  <a:pt x="612424" y="1037365"/>
                </a:cubicBezTo>
                <a:cubicBezTo>
                  <a:pt x="617948" y="1036777"/>
                  <a:pt x="621342" y="1034139"/>
                  <a:pt x="623169" y="1028873"/>
                </a:cubicBezTo>
                <a:cubicBezTo>
                  <a:pt x="630975" y="1006370"/>
                  <a:pt x="637026" y="983472"/>
                  <a:pt x="638508" y="959599"/>
                </a:cubicBezTo>
                <a:cubicBezTo>
                  <a:pt x="641131" y="917363"/>
                  <a:pt x="628970" y="878727"/>
                  <a:pt x="609213" y="842075"/>
                </a:cubicBezTo>
                <a:cubicBezTo>
                  <a:pt x="587874" y="802491"/>
                  <a:pt x="559403" y="768169"/>
                  <a:pt x="529367" y="735065"/>
                </a:cubicBezTo>
                <a:cubicBezTo>
                  <a:pt x="487563" y="688992"/>
                  <a:pt x="445474" y="643176"/>
                  <a:pt x="403792" y="596993"/>
                </a:cubicBezTo>
                <a:cubicBezTo>
                  <a:pt x="380393" y="571066"/>
                  <a:pt x="360083" y="542922"/>
                  <a:pt x="344708" y="511366"/>
                </a:cubicBezTo>
                <a:cubicBezTo>
                  <a:pt x="324385" y="469655"/>
                  <a:pt x="317321" y="425966"/>
                  <a:pt x="324464" y="380084"/>
                </a:cubicBezTo>
                <a:cubicBezTo>
                  <a:pt x="324821" y="377789"/>
                  <a:pt x="326581" y="375713"/>
                  <a:pt x="327688" y="373535"/>
                </a:cubicBezTo>
                <a:cubicBezTo>
                  <a:pt x="328570" y="373570"/>
                  <a:pt x="329452" y="373606"/>
                  <a:pt x="330334" y="373641"/>
                </a:cubicBezTo>
                <a:cubicBezTo>
                  <a:pt x="331649" y="377308"/>
                  <a:pt x="333001" y="380963"/>
                  <a:pt x="334272" y="384645"/>
                </a:cubicBezTo>
                <a:cubicBezTo>
                  <a:pt x="342569" y="408660"/>
                  <a:pt x="351164" y="432573"/>
                  <a:pt x="365260" y="453955"/>
                </a:cubicBezTo>
                <a:cubicBezTo>
                  <a:pt x="375537" y="469544"/>
                  <a:pt x="388811" y="481767"/>
                  <a:pt x="408246" y="483592"/>
                </a:cubicBezTo>
                <a:cubicBezTo>
                  <a:pt x="426928" y="485346"/>
                  <a:pt x="445757" y="486037"/>
                  <a:pt x="464529" y="486187"/>
                </a:cubicBezTo>
                <a:cubicBezTo>
                  <a:pt x="480053" y="486311"/>
                  <a:pt x="495582" y="484792"/>
                  <a:pt x="511119" y="484308"/>
                </a:cubicBezTo>
                <a:cubicBezTo>
                  <a:pt x="532443" y="483644"/>
                  <a:pt x="551690" y="490014"/>
                  <a:pt x="567913" y="503736"/>
                </a:cubicBezTo>
                <a:cubicBezTo>
                  <a:pt x="581642" y="515348"/>
                  <a:pt x="594604" y="527888"/>
                  <a:pt x="607611" y="540326"/>
                </a:cubicBezTo>
                <a:cubicBezTo>
                  <a:pt x="618811" y="551038"/>
                  <a:pt x="631177" y="559300"/>
                  <a:pt x="648750" y="562343"/>
                </a:cubicBezTo>
                <a:moveTo>
                  <a:pt x="462594" y="1369008"/>
                </a:moveTo>
                <a:cubicBezTo>
                  <a:pt x="478517" y="1368137"/>
                  <a:pt x="494449" y="1367429"/>
                  <a:pt x="510357" y="1366345"/>
                </a:cubicBezTo>
                <a:cubicBezTo>
                  <a:pt x="523399" y="1365456"/>
                  <a:pt x="536424" y="1364247"/>
                  <a:pt x="549434" y="1362956"/>
                </a:cubicBezTo>
                <a:cubicBezTo>
                  <a:pt x="577089" y="1360213"/>
                  <a:pt x="604749" y="1357503"/>
                  <a:pt x="632369" y="1354439"/>
                </a:cubicBezTo>
                <a:cubicBezTo>
                  <a:pt x="653805" y="1352062"/>
                  <a:pt x="675183" y="1349170"/>
                  <a:pt x="697252" y="1346424"/>
                </a:cubicBezTo>
                <a:cubicBezTo>
                  <a:pt x="701148" y="1316348"/>
                  <a:pt x="695768" y="1289474"/>
                  <a:pt x="676674" y="1266396"/>
                </a:cubicBezTo>
                <a:cubicBezTo>
                  <a:pt x="667313" y="1255080"/>
                  <a:pt x="656878" y="1244625"/>
                  <a:pt x="646594" y="1234108"/>
                </a:cubicBezTo>
                <a:cubicBezTo>
                  <a:pt x="634298" y="1221533"/>
                  <a:pt x="621353" y="1209623"/>
                  <a:pt x="612063" y="1194382"/>
                </a:cubicBezTo>
                <a:cubicBezTo>
                  <a:pt x="596511" y="1168867"/>
                  <a:pt x="588079" y="1141707"/>
                  <a:pt x="591616" y="1111541"/>
                </a:cubicBezTo>
                <a:cubicBezTo>
                  <a:pt x="592450" y="1104432"/>
                  <a:pt x="593365" y="1097332"/>
                  <a:pt x="594320" y="1089609"/>
                </a:cubicBezTo>
                <a:cubicBezTo>
                  <a:pt x="588294" y="1089609"/>
                  <a:pt x="583452" y="1089392"/>
                  <a:pt x="578634" y="1089642"/>
                </a:cubicBezTo>
                <a:cubicBezTo>
                  <a:pt x="533732" y="1091976"/>
                  <a:pt x="488841" y="1094525"/>
                  <a:pt x="443931" y="1096700"/>
                </a:cubicBezTo>
                <a:cubicBezTo>
                  <a:pt x="430451" y="1097353"/>
                  <a:pt x="416923" y="1097005"/>
                  <a:pt x="403417" y="1097156"/>
                </a:cubicBezTo>
                <a:cubicBezTo>
                  <a:pt x="389337" y="1097313"/>
                  <a:pt x="388961" y="1097850"/>
                  <a:pt x="388348" y="1111502"/>
                </a:cubicBezTo>
                <a:cubicBezTo>
                  <a:pt x="387375" y="1133151"/>
                  <a:pt x="386231" y="1154793"/>
                  <a:pt x="385048" y="1176431"/>
                </a:cubicBezTo>
                <a:cubicBezTo>
                  <a:pt x="382637" y="1220514"/>
                  <a:pt x="380158" y="1264593"/>
                  <a:pt x="377687" y="1308672"/>
                </a:cubicBezTo>
                <a:cubicBezTo>
                  <a:pt x="377458" y="1312751"/>
                  <a:pt x="376852" y="1316821"/>
                  <a:pt x="376823" y="1320897"/>
                </a:cubicBezTo>
                <a:cubicBezTo>
                  <a:pt x="376717" y="1335880"/>
                  <a:pt x="376781" y="1350864"/>
                  <a:pt x="376781" y="1366151"/>
                </a:cubicBezTo>
                <a:cubicBezTo>
                  <a:pt x="404707" y="1370397"/>
                  <a:pt x="432477" y="1369351"/>
                  <a:pt x="462594" y="1369008"/>
                </a:cubicBezTo>
                <a:moveTo>
                  <a:pt x="648494" y="1463981"/>
                </a:moveTo>
                <a:cubicBezTo>
                  <a:pt x="671329" y="1460052"/>
                  <a:pt x="694163" y="1456122"/>
                  <a:pt x="718746" y="1451892"/>
                </a:cubicBezTo>
                <a:cubicBezTo>
                  <a:pt x="716257" y="1439067"/>
                  <a:pt x="714578" y="1427816"/>
                  <a:pt x="711827" y="1416835"/>
                </a:cubicBezTo>
                <a:cubicBezTo>
                  <a:pt x="707611" y="1400009"/>
                  <a:pt x="703502" y="1397423"/>
                  <a:pt x="685812" y="1398502"/>
                </a:cubicBezTo>
                <a:cubicBezTo>
                  <a:pt x="684179" y="1398602"/>
                  <a:pt x="682547" y="1398768"/>
                  <a:pt x="680924" y="1398973"/>
                </a:cubicBezTo>
                <a:cubicBezTo>
                  <a:pt x="653380" y="1402446"/>
                  <a:pt x="625911" y="1406752"/>
                  <a:pt x="598278" y="1409218"/>
                </a:cubicBezTo>
                <a:cubicBezTo>
                  <a:pt x="557171" y="1412886"/>
                  <a:pt x="515983" y="1415946"/>
                  <a:pt x="474765" y="1417945"/>
                </a:cubicBezTo>
                <a:cubicBezTo>
                  <a:pt x="444944" y="1419391"/>
                  <a:pt x="415021" y="1418680"/>
                  <a:pt x="385143" y="1418978"/>
                </a:cubicBezTo>
                <a:cubicBezTo>
                  <a:pt x="382419" y="1419005"/>
                  <a:pt x="379697" y="1419376"/>
                  <a:pt x="376639" y="1419613"/>
                </a:cubicBezTo>
                <a:cubicBezTo>
                  <a:pt x="376639" y="1438152"/>
                  <a:pt x="376639" y="1455909"/>
                  <a:pt x="376639" y="1473939"/>
                </a:cubicBezTo>
                <a:cubicBezTo>
                  <a:pt x="378971" y="1474343"/>
                  <a:pt x="380523" y="1474802"/>
                  <a:pt x="382089" y="1474854"/>
                </a:cubicBezTo>
                <a:cubicBezTo>
                  <a:pt x="404571" y="1475605"/>
                  <a:pt x="427058" y="1476986"/>
                  <a:pt x="449536" y="1476855"/>
                </a:cubicBezTo>
                <a:cubicBezTo>
                  <a:pt x="486344" y="1476639"/>
                  <a:pt x="523207" y="1476480"/>
                  <a:pt x="559930" y="1474307"/>
                </a:cubicBezTo>
                <a:cubicBezTo>
                  <a:pt x="588839" y="1472596"/>
                  <a:pt x="617570" y="1467884"/>
                  <a:pt x="648494" y="1463981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" name="Free-form: Shape 6">
            <a:extLst>
              <a:ext uri="{FF2B5EF4-FFF2-40B4-BE49-F238E27FC236}">
                <a16:creationId xmlns:a16="http://schemas.microsoft.com/office/drawing/2014/main" id="{FDD40937-1B5A-7741-2F22-294C3FA579A8}"/>
              </a:ext>
            </a:extLst>
          </p:cNvPr>
          <p:cNvSpPr/>
          <p:nvPr/>
        </p:nvSpPr>
        <p:spPr>
          <a:xfrm>
            <a:off x="5258591" y="-2170975"/>
            <a:ext cx="497702" cy="821885"/>
          </a:xfrm>
          <a:custGeom>
            <a:avLst/>
            <a:gdLst>
              <a:gd name="csX0" fmla="*/ 512604 w 598747"/>
              <a:gd name="csY0" fmla="*/ 503918 h 988745"/>
              <a:gd name="csX1" fmla="*/ 472435 w 598747"/>
              <a:gd name="csY1" fmla="*/ 482196 h 988745"/>
              <a:gd name="csX2" fmla="*/ 432737 w 598747"/>
              <a:gd name="csY2" fmla="*/ 445605 h 988745"/>
              <a:gd name="csX3" fmla="*/ 375943 w 598747"/>
              <a:gd name="csY3" fmla="*/ 426178 h 988745"/>
              <a:gd name="csX4" fmla="*/ 329354 w 598747"/>
              <a:gd name="csY4" fmla="*/ 428057 h 988745"/>
              <a:gd name="csX5" fmla="*/ 273070 w 598747"/>
              <a:gd name="csY5" fmla="*/ 425461 h 988745"/>
              <a:gd name="csX6" fmla="*/ 230084 w 598747"/>
              <a:gd name="csY6" fmla="*/ 395825 h 988745"/>
              <a:gd name="csX7" fmla="*/ 199097 w 598747"/>
              <a:gd name="csY7" fmla="*/ 326515 h 988745"/>
              <a:gd name="csX8" fmla="*/ 195158 w 598747"/>
              <a:gd name="csY8" fmla="*/ 315511 h 988745"/>
              <a:gd name="csX9" fmla="*/ 192512 w 598747"/>
              <a:gd name="csY9" fmla="*/ 315405 h 988745"/>
              <a:gd name="csX10" fmla="*/ 189288 w 598747"/>
              <a:gd name="csY10" fmla="*/ 321954 h 988745"/>
              <a:gd name="csX11" fmla="*/ 209532 w 598747"/>
              <a:gd name="csY11" fmla="*/ 453235 h 988745"/>
              <a:gd name="csX12" fmla="*/ 268616 w 598747"/>
              <a:gd name="csY12" fmla="*/ 538863 h 988745"/>
              <a:gd name="csX13" fmla="*/ 394191 w 598747"/>
              <a:gd name="csY13" fmla="*/ 676935 h 988745"/>
              <a:gd name="csX14" fmla="*/ 474037 w 598747"/>
              <a:gd name="csY14" fmla="*/ 783945 h 988745"/>
              <a:gd name="csX15" fmla="*/ 503332 w 598747"/>
              <a:gd name="csY15" fmla="*/ 901469 h 988745"/>
              <a:gd name="csX16" fmla="*/ 487993 w 598747"/>
              <a:gd name="csY16" fmla="*/ 970743 h 988745"/>
              <a:gd name="csX17" fmla="*/ 477248 w 598747"/>
              <a:gd name="csY17" fmla="*/ 979235 h 988745"/>
              <a:gd name="csX18" fmla="*/ 410194 w 598747"/>
              <a:gd name="csY18" fmla="*/ 986326 h 988745"/>
              <a:gd name="csX19" fmla="*/ 213720 w 598747"/>
              <a:gd name="csY19" fmla="*/ 988629 h 988745"/>
              <a:gd name="csX20" fmla="*/ 86242 w 598747"/>
              <a:gd name="csY20" fmla="*/ 982669 h 988745"/>
              <a:gd name="csX21" fmla="*/ 53553 w 598747"/>
              <a:gd name="csY21" fmla="*/ 981705 h 988745"/>
              <a:gd name="csX22" fmla="*/ 56311 w 598747"/>
              <a:gd name="csY22" fmla="*/ 974933 h 988745"/>
              <a:gd name="csX23" fmla="*/ 83373 w 598747"/>
              <a:gd name="csY23" fmla="*/ 891414 h 988745"/>
              <a:gd name="csX24" fmla="*/ 69625 w 598747"/>
              <a:gd name="csY24" fmla="*/ 728925 h 988745"/>
              <a:gd name="csX25" fmla="*/ 28713 w 598747"/>
              <a:gd name="csY25" fmla="*/ 583650 h 988745"/>
              <a:gd name="csX26" fmla="*/ 2872 w 598747"/>
              <a:gd name="csY26" fmla="*/ 458823 h 988745"/>
              <a:gd name="csX27" fmla="*/ 36461 w 598747"/>
              <a:gd name="csY27" fmla="*/ 250957 h 988745"/>
              <a:gd name="csX28" fmla="*/ 105198 w 598747"/>
              <a:gd name="csY28" fmla="*/ 163584 h 988745"/>
              <a:gd name="csX29" fmla="*/ 191800 w 598747"/>
              <a:gd name="csY29" fmla="*/ 101539 h 988745"/>
              <a:gd name="csX30" fmla="*/ 214600 w 598747"/>
              <a:gd name="csY30" fmla="*/ 75129 h 988745"/>
              <a:gd name="csX31" fmla="*/ 268462 w 598747"/>
              <a:gd name="csY31" fmla="*/ 0 h 988745"/>
              <a:gd name="csX32" fmla="*/ 269844 w 598747"/>
              <a:gd name="csY32" fmla="*/ 10898 h 988745"/>
              <a:gd name="csX33" fmla="*/ 272418 w 598747"/>
              <a:gd name="csY33" fmla="*/ 69722 h 988745"/>
              <a:gd name="csX34" fmla="*/ 297658 w 598747"/>
              <a:gd name="csY34" fmla="*/ 107113 h 988745"/>
              <a:gd name="csX35" fmla="*/ 355481 w 598747"/>
              <a:gd name="csY35" fmla="*/ 136991 h 988745"/>
              <a:gd name="csX36" fmla="*/ 430178 w 598747"/>
              <a:gd name="csY36" fmla="*/ 212396 h 988745"/>
              <a:gd name="csX37" fmla="*/ 465840 w 598747"/>
              <a:gd name="csY37" fmla="*/ 273997 h 988745"/>
              <a:gd name="csX38" fmla="*/ 532362 w 598747"/>
              <a:gd name="csY38" fmla="*/ 340124 h 988745"/>
              <a:gd name="csX39" fmla="*/ 572901 w 598747"/>
              <a:gd name="csY39" fmla="*/ 367845 h 988745"/>
              <a:gd name="csX40" fmla="*/ 598436 w 598747"/>
              <a:gd name="csY40" fmla="*/ 408775 h 988745"/>
              <a:gd name="csX41" fmla="*/ 596339 w 598747"/>
              <a:gd name="csY41" fmla="*/ 452637 h 988745"/>
              <a:gd name="csX42" fmla="*/ 552957 w 598747"/>
              <a:gd name="csY42" fmla="*/ 485233 h 988745"/>
              <a:gd name="csX43" fmla="*/ 525548 w 598747"/>
              <a:gd name="csY43" fmla="*/ 479475 h 988745"/>
              <a:gd name="csX44" fmla="*/ 515736 w 598747"/>
              <a:gd name="csY44" fmla="*/ 475921 h 988745"/>
              <a:gd name="csX45" fmla="*/ 525605 w 598747"/>
              <a:gd name="csY45" fmla="*/ 492048 h 988745"/>
              <a:gd name="csX46" fmla="*/ 538873 w 598747"/>
              <a:gd name="csY46" fmla="*/ 504704 h 988745"/>
              <a:gd name="csX47" fmla="*/ 512604 w 598747"/>
              <a:gd name="csY47" fmla="*/ 503918 h 988745"/>
              <a:gd name="csX48" fmla="*/ 332072 w 598747"/>
              <a:gd name="csY48" fmla="*/ 218143 h 988745"/>
              <a:gd name="csX49" fmla="*/ 334388 w 598747"/>
              <a:gd name="csY49" fmla="*/ 226400 h 988745"/>
              <a:gd name="csX50" fmla="*/ 372370 w 598747"/>
              <a:gd name="csY50" fmla="*/ 254505 h 988745"/>
              <a:gd name="csX51" fmla="*/ 405258 w 598747"/>
              <a:gd name="csY51" fmla="*/ 252089 h 988745"/>
              <a:gd name="csX52" fmla="*/ 409167 w 598747"/>
              <a:gd name="csY52" fmla="*/ 244359 h 988745"/>
              <a:gd name="csX53" fmla="*/ 396364 w 598747"/>
              <a:gd name="csY53" fmla="*/ 219471 h 988745"/>
              <a:gd name="csX54" fmla="*/ 365755 w 598747"/>
              <a:gd name="csY54" fmla="*/ 195821 h 988745"/>
              <a:gd name="csX55" fmla="*/ 333572 w 598747"/>
              <a:gd name="csY55" fmla="*/ 188536 h 988745"/>
              <a:gd name="csX56" fmla="*/ 322931 w 598747"/>
              <a:gd name="csY56" fmla="*/ 190843 h 988745"/>
              <a:gd name="csX57" fmla="*/ 329041 w 598747"/>
              <a:gd name="csY57" fmla="*/ 203001 h 988745"/>
              <a:gd name="csX58" fmla="*/ 332072 w 598747"/>
              <a:gd name="csY58" fmla="*/ 218143 h 98874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</a:cxnLst>
            <a:rect l="l" t="t" r="r" b="b"/>
            <a:pathLst>
              <a:path w="598747" h="988745">
                <a:moveTo>
                  <a:pt x="512604" y="503918"/>
                </a:moveTo>
                <a:cubicBezTo>
                  <a:pt x="496002" y="501170"/>
                  <a:pt x="483635" y="492907"/>
                  <a:pt x="472435" y="482196"/>
                </a:cubicBezTo>
                <a:cubicBezTo>
                  <a:pt x="459429" y="469758"/>
                  <a:pt x="446467" y="457218"/>
                  <a:pt x="432737" y="445605"/>
                </a:cubicBezTo>
                <a:cubicBezTo>
                  <a:pt x="416514" y="431883"/>
                  <a:pt x="397267" y="425513"/>
                  <a:pt x="375943" y="426178"/>
                </a:cubicBezTo>
                <a:cubicBezTo>
                  <a:pt x="360407" y="426662"/>
                  <a:pt x="344877" y="428180"/>
                  <a:pt x="329354" y="428057"/>
                </a:cubicBezTo>
                <a:cubicBezTo>
                  <a:pt x="310581" y="427907"/>
                  <a:pt x="291752" y="427215"/>
                  <a:pt x="273070" y="425461"/>
                </a:cubicBezTo>
                <a:cubicBezTo>
                  <a:pt x="253636" y="423637"/>
                  <a:pt x="240361" y="411413"/>
                  <a:pt x="230084" y="395825"/>
                </a:cubicBezTo>
                <a:cubicBezTo>
                  <a:pt x="215988" y="374443"/>
                  <a:pt x="207393" y="350530"/>
                  <a:pt x="199097" y="326515"/>
                </a:cubicBezTo>
                <a:cubicBezTo>
                  <a:pt x="197825" y="322833"/>
                  <a:pt x="196473" y="319178"/>
                  <a:pt x="195158" y="315511"/>
                </a:cubicBezTo>
                <a:cubicBezTo>
                  <a:pt x="194276" y="315475"/>
                  <a:pt x="193394" y="315440"/>
                  <a:pt x="192512" y="315405"/>
                </a:cubicBezTo>
                <a:cubicBezTo>
                  <a:pt x="191405" y="317583"/>
                  <a:pt x="189646" y="319659"/>
                  <a:pt x="189288" y="321954"/>
                </a:cubicBezTo>
                <a:cubicBezTo>
                  <a:pt x="182145" y="367836"/>
                  <a:pt x="189209" y="411525"/>
                  <a:pt x="209532" y="453235"/>
                </a:cubicBezTo>
                <a:cubicBezTo>
                  <a:pt x="224908" y="484792"/>
                  <a:pt x="245217" y="512936"/>
                  <a:pt x="268616" y="538863"/>
                </a:cubicBezTo>
                <a:cubicBezTo>
                  <a:pt x="310298" y="585046"/>
                  <a:pt x="352387" y="630861"/>
                  <a:pt x="394191" y="676935"/>
                </a:cubicBezTo>
                <a:cubicBezTo>
                  <a:pt x="424227" y="710039"/>
                  <a:pt x="452698" y="744360"/>
                  <a:pt x="474037" y="783945"/>
                </a:cubicBezTo>
                <a:cubicBezTo>
                  <a:pt x="493795" y="820596"/>
                  <a:pt x="505956" y="859233"/>
                  <a:pt x="503332" y="901469"/>
                </a:cubicBezTo>
                <a:cubicBezTo>
                  <a:pt x="501850" y="925342"/>
                  <a:pt x="495799" y="948239"/>
                  <a:pt x="487993" y="970743"/>
                </a:cubicBezTo>
                <a:cubicBezTo>
                  <a:pt x="486166" y="976009"/>
                  <a:pt x="482772" y="978647"/>
                  <a:pt x="477248" y="979235"/>
                </a:cubicBezTo>
                <a:cubicBezTo>
                  <a:pt x="454890" y="981614"/>
                  <a:pt x="432589" y="985767"/>
                  <a:pt x="410194" y="986326"/>
                </a:cubicBezTo>
                <a:cubicBezTo>
                  <a:pt x="344720" y="987961"/>
                  <a:pt x="279205" y="989128"/>
                  <a:pt x="213720" y="988629"/>
                </a:cubicBezTo>
                <a:cubicBezTo>
                  <a:pt x="171215" y="988306"/>
                  <a:pt x="128736" y="984705"/>
                  <a:pt x="86242" y="982669"/>
                </a:cubicBezTo>
                <a:cubicBezTo>
                  <a:pt x="75776" y="982167"/>
                  <a:pt x="65294" y="982040"/>
                  <a:pt x="53553" y="981705"/>
                </a:cubicBezTo>
                <a:cubicBezTo>
                  <a:pt x="54842" y="978488"/>
                  <a:pt x="55323" y="976556"/>
                  <a:pt x="56311" y="974933"/>
                </a:cubicBezTo>
                <a:cubicBezTo>
                  <a:pt x="71955" y="949229"/>
                  <a:pt x="78103" y="920529"/>
                  <a:pt x="83373" y="891414"/>
                </a:cubicBezTo>
                <a:cubicBezTo>
                  <a:pt x="93411" y="835958"/>
                  <a:pt x="83645" y="782156"/>
                  <a:pt x="69625" y="728925"/>
                </a:cubicBezTo>
                <a:cubicBezTo>
                  <a:pt x="56813" y="680283"/>
                  <a:pt x="42153" y="632130"/>
                  <a:pt x="28713" y="583650"/>
                </a:cubicBezTo>
                <a:cubicBezTo>
                  <a:pt x="17342" y="542631"/>
                  <a:pt x="7760" y="501188"/>
                  <a:pt x="2872" y="458823"/>
                </a:cubicBezTo>
                <a:cubicBezTo>
                  <a:pt x="-5484" y="386401"/>
                  <a:pt x="4005" y="316635"/>
                  <a:pt x="36461" y="250957"/>
                </a:cubicBezTo>
                <a:cubicBezTo>
                  <a:pt x="53137" y="217210"/>
                  <a:pt x="77705" y="189133"/>
                  <a:pt x="105198" y="163584"/>
                </a:cubicBezTo>
                <a:cubicBezTo>
                  <a:pt x="131434" y="139203"/>
                  <a:pt x="160285" y="118551"/>
                  <a:pt x="191800" y="101539"/>
                </a:cubicBezTo>
                <a:cubicBezTo>
                  <a:pt x="202646" y="95684"/>
                  <a:pt x="209856" y="86491"/>
                  <a:pt x="214600" y="75129"/>
                </a:cubicBezTo>
                <a:cubicBezTo>
                  <a:pt x="226474" y="46689"/>
                  <a:pt x="246616" y="24191"/>
                  <a:pt x="268462" y="0"/>
                </a:cubicBezTo>
                <a:cubicBezTo>
                  <a:pt x="269111" y="4997"/>
                  <a:pt x="269706" y="7937"/>
                  <a:pt x="269844" y="10898"/>
                </a:cubicBezTo>
                <a:cubicBezTo>
                  <a:pt x="270760" y="30504"/>
                  <a:pt x="271607" y="50112"/>
                  <a:pt x="272418" y="69722"/>
                </a:cubicBezTo>
                <a:cubicBezTo>
                  <a:pt x="273150" y="87396"/>
                  <a:pt x="281549" y="99401"/>
                  <a:pt x="297658" y="107113"/>
                </a:cubicBezTo>
                <a:cubicBezTo>
                  <a:pt x="317218" y="116476"/>
                  <a:pt x="336170" y="127101"/>
                  <a:pt x="355481" y="136991"/>
                </a:cubicBezTo>
                <a:cubicBezTo>
                  <a:pt x="388645" y="153974"/>
                  <a:pt x="413226" y="179056"/>
                  <a:pt x="430178" y="212396"/>
                </a:cubicBezTo>
                <a:cubicBezTo>
                  <a:pt x="440917" y="233515"/>
                  <a:pt x="453634" y="253647"/>
                  <a:pt x="465840" y="273997"/>
                </a:cubicBezTo>
                <a:cubicBezTo>
                  <a:pt x="482404" y="301613"/>
                  <a:pt x="506102" y="322183"/>
                  <a:pt x="532362" y="340124"/>
                </a:cubicBezTo>
                <a:cubicBezTo>
                  <a:pt x="545881" y="349359"/>
                  <a:pt x="559082" y="359088"/>
                  <a:pt x="572901" y="367845"/>
                </a:cubicBezTo>
                <a:cubicBezTo>
                  <a:pt x="588172" y="377523"/>
                  <a:pt x="597775" y="390733"/>
                  <a:pt x="598436" y="408775"/>
                </a:cubicBezTo>
                <a:cubicBezTo>
                  <a:pt x="598970" y="423381"/>
                  <a:pt x="599120" y="438404"/>
                  <a:pt x="596339" y="452637"/>
                </a:cubicBezTo>
                <a:cubicBezTo>
                  <a:pt x="591789" y="475923"/>
                  <a:pt x="576843" y="486555"/>
                  <a:pt x="552957" y="485233"/>
                </a:cubicBezTo>
                <a:cubicBezTo>
                  <a:pt x="543740" y="484722"/>
                  <a:pt x="534648" y="481613"/>
                  <a:pt x="525548" y="479475"/>
                </a:cubicBezTo>
                <a:cubicBezTo>
                  <a:pt x="522577" y="478776"/>
                  <a:pt x="519764" y="477405"/>
                  <a:pt x="515736" y="475921"/>
                </a:cubicBezTo>
                <a:cubicBezTo>
                  <a:pt x="516318" y="484233"/>
                  <a:pt x="521537" y="487842"/>
                  <a:pt x="525605" y="492048"/>
                </a:cubicBezTo>
                <a:cubicBezTo>
                  <a:pt x="529554" y="496129"/>
                  <a:pt x="533815" y="499907"/>
                  <a:pt x="538873" y="504704"/>
                </a:cubicBezTo>
                <a:cubicBezTo>
                  <a:pt x="529522" y="509277"/>
                  <a:pt x="521553" y="504428"/>
                  <a:pt x="512604" y="503918"/>
                </a:cubicBezTo>
                <a:moveTo>
                  <a:pt x="332072" y="218143"/>
                </a:moveTo>
                <a:cubicBezTo>
                  <a:pt x="332837" y="220898"/>
                  <a:pt x="333478" y="223695"/>
                  <a:pt x="334388" y="226400"/>
                </a:cubicBezTo>
                <a:cubicBezTo>
                  <a:pt x="341073" y="246268"/>
                  <a:pt x="351614" y="254460"/>
                  <a:pt x="372370" y="254505"/>
                </a:cubicBezTo>
                <a:cubicBezTo>
                  <a:pt x="383333" y="254529"/>
                  <a:pt x="394312" y="253121"/>
                  <a:pt x="405258" y="252089"/>
                </a:cubicBezTo>
                <a:cubicBezTo>
                  <a:pt x="409961" y="251646"/>
                  <a:pt x="411340" y="248568"/>
                  <a:pt x="409167" y="244359"/>
                </a:cubicBezTo>
                <a:cubicBezTo>
                  <a:pt x="404885" y="236068"/>
                  <a:pt x="400139" y="227985"/>
                  <a:pt x="396364" y="219471"/>
                </a:cubicBezTo>
                <a:cubicBezTo>
                  <a:pt x="390350" y="205908"/>
                  <a:pt x="379963" y="198663"/>
                  <a:pt x="365755" y="195821"/>
                </a:cubicBezTo>
                <a:cubicBezTo>
                  <a:pt x="354973" y="193665"/>
                  <a:pt x="344291" y="191003"/>
                  <a:pt x="333572" y="188536"/>
                </a:cubicBezTo>
                <a:cubicBezTo>
                  <a:pt x="329511" y="187602"/>
                  <a:pt x="325579" y="187007"/>
                  <a:pt x="322931" y="190843"/>
                </a:cubicBezTo>
                <a:cubicBezTo>
                  <a:pt x="325138" y="195129"/>
                  <a:pt x="327613" y="198884"/>
                  <a:pt x="329041" y="203001"/>
                </a:cubicBezTo>
                <a:cubicBezTo>
                  <a:pt x="330500" y="207204"/>
                  <a:pt x="330929" y="211764"/>
                  <a:pt x="332072" y="218143"/>
                </a:cubicBezTo>
                <a:close/>
              </a:path>
            </a:pathLst>
          </a:custGeom>
          <a:solidFill>
            <a:schemeClr val="bg1"/>
          </a:solidFill>
          <a:ln w="38100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" name="Free-form: Shape 7">
            <a:extLst>
              <a:ext uri="{FF2B5EF4-FFF2-40B4-BE49-F238E27FC236}">
                <a16:creationId xmlns:a16="http://schemas.microsoft.com/office/drawing/2014/main" id="{E3C20459-7231-2A52-A822-55D7BC88061E}"/>
              </a:ext>
            </a:extLst>
          </p:cNvPr>
          <p:cNvSpPr/>
          <p:nvPr/>
        </p:nvSpPr>
        <p:spPr>
          <a:xfrm>
            <a:off x="5459408" y="-1313640"/>
            <a:ext cx="267393" cy="232628"/>
          </a:xfrm>
          <a:custGeom>
            <a:avLst/>
            <a:gdLst>
              <a:gd name="csX0" fmla="*/ 84645 w 321679"/>
              <a:gd name="csY0" fmla="*/ 279507 h 279857"/>
              <a:gd name="csX1" fmla="*/ 19 w 321679"/>
              <a:gd name="csY1" fmla="*/ 276629 h 279857"/>
              <a:gd name="csX2" fmla="*/ 61 w 321679"/>
              <a:gd name="csY2" fmla="*/ 231376 h 279857"/>
              <a:gd name="csX3" fmla="*/ 925 w 321679"/>
              <a:gd name="csY3" fmla="*/ 219150 h 279857"/>
              <a:gd name="csX4" fmla="*/ 8286 w 321679"/>
              <a:gd name="csY4" fmla="*/ 86910 h 279857"/>
              <a:gd name="csX5" fmla="*/ 11586 w 321679"/>
              <a:gd name="csY5" fmla="*/ 21981 h 279857"/>
              <a:gd name="csX6" fmla="*/ 26655 w 321679"/>
              <a:gd name="csY6" fmla="*/ 7635 h 279857"/>
              <a:gd name="csX7" fmla="*/ 67169 w 321679"/>
              <a:gd name="csY7" fmla="*/ 7178 h 279857"/>
              <a:gd name="csX8" fmla="*/ 201872 w 321679"/>
              <a:gd name="csY8" fmla="*/ 121 h 279857"/>
              <a:gd name="csX9" fmla="*/ 217558 w 321679"/>
              <a:gd name="csY9" fmla="*/ 87 h 279857"/>
              <a:gd name="csX10" fmla="*/ 214854 w 321679"/>
              <a:gd name="csY10" fmla="*/ 22019 h 279857"/>
              <a:gd name="csX11" fmla="*/ 235301 w 321679"/>
              <a:gd name="csY11" fmla="*/ 104861 h 279857"/>
              <a:gd name="csX12" fmla="*/ 269832 w 321679"/>
              <a:gd name="csY12" fmla="*/ 144587 h 279857"/>
              <a:gd name="csX13" fmla="*/ 299912 w 321679"/>
              <a:gd name="csY13" fmla="*/ 176874 h 279857"/>
              <a:gd name="csX14" fmla="*/ 320491 w 321679"/>
              <a:gd name="csY14" fmla="*/ 256903 h 279857"/>
              <a:gd name="csX15" fmla="*/ 255607 w 321679"/>
              <a:gd name="csY15" fmla="*/ 264918 h 279857"/>
              <a:gd name="csX16" fmla="*/ 172672 w 321679"/>
              <a:gd name="csY16" fmla="*/ 273435 h 279857"/>
              <a:gd name="csX17" fmla="*/ 133595 w 321679"/>
              <a:gd name="csY17" fmla="*/ 276823 h 279857"/>
              <a:gd name="csX18" fmla="*/ 84645 w 321679"/>
              <a:gd name="csY18" fmla="*/ 279507 h 27985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</a:cxnLst>
            <a:rect l="l" t="t" r="r" b="b"/>
            <a:pathLst>
              <a:path w="321679" h="279857">
                <a:moveTo>
                  <a:pt x="84645" y="279507"/>
                </a:moveTo>
                <a:cubicBezTo>
                  <a:pt x="55716" y="279830"/>
                  <a:pt x="27945" y="280875"/>
                  <a:pt x="19" y="276629"/>
                </a:cubicBezTo>
                <a:cubicBezTo>
                  <a:pt x="19" y="261343"/>
                  <a:pt x="-45" y="246359"/>
                  <a:pt x="61" y="231376"/>
                </a:cubicBezTo>
                <a:cubicBezTo>
                  <a:pt x="90" y="227299"/>
                  <a:pt x="696" y="223229"/>
                  <a:pt x="925" y="219150"/>
                </a:cubicBezTo>
                <a:cubicBezTo>
                  <a:pt x="3396" y="175071"/>
                  <a:pt x="5876" y="130992"/>
                  <a:pt x="8286" y="86910"/>
                </a:cubicBezTo>
                <a:cubicBezTo>
                  <a:pt x="9469" y="65271"/>
                  <a:pt x="10613" y="43630"/>
                  <a:pt x="11586" y="21981"/>
                </a:cubicBezTo>
                <a:cubicBezTo>
                  <a:pt x="12199" y="8328"/>
                  <a:pt x="12576" y="7792"/>
                  <a:pt x="26655" y="7635"/>
                </a:cubicBezTo>
                <a:cubicBezTo>
                  <a:pt x="40161" y="7484"/>
                  <a:pt x="53689" y="7831"/>
                  <a:pt x="67169" y="7178"/>
                </a:cubicBezTo>
                <a:cubicBezTo>
                  <a:pt x="112079" y="5004"/>
                  <a:pt x="156970" y="2455"/>
                  <a:pt x="201872" y="121"/>
                </a:cubicBezTo>
                <a:cubicBezTo>
                  <a:pt x="206690" y="-130"/>
                  <a:pt x="211533" y="87"/>
                  <a:pt x="217558" y="87"/>
                </a:cubicBezTo>
                <a:cubicBezTo>
                  <a:pt x="216603" y="7811"/>
                  <a:pt x="215688" y="14910"/>
                  <a:pt x="214854" y="22019"/>
                </a:cubicBezTo>
                <a:cubicBezTo>
                  <a:pt x="211318" y="52185"/>
                  <a:pt x="219749" y="79345"/>
                  <a:pt x="235301" y="104861"/>
                </a:cubicBezTo>
                <a:cubicBezTo>
                  <a:pt x="244591" y="120102"/>
                  <a:pt x="257536" y="132012"/>
                  <a:pt x="269832" y="144587"/>
                </a:cubicBezTo>
                <a:cubicBezTo>
                  <a:pt x="280116" y="155103"/>
                  <a:pt x="290551" y="165559"/>
                  <a:pt x="299912" y="176874"/>
                </a:cubicBezTo>
                <a:cubicBezTo>
                  <a:pt x="319006" y="199953"/>
                  <a:pt x="324386" y="226827"/>
                  <a:pt x="320491" y="256903"/>
                </a:cubicBezTo>
                <a:cubicBezTo>
                  <a:pt x="298421" y="259649"/>
                  <a:pt x="277043" y="262541"/>
                  <a:pt x="255607" y="264918"/>
                </a:cubicBezTo>
                <a:cubicBezTo>
                  <a:pt x="227987" y="267981"/>
                  <a:pt x="200327" y="270692"/>
                  <a:pt x="172672" y="273435"/>
                </a:cubicBezTo>
                <a:cubicBezTo>
                  <a:pt x="159662" y="274725"/>
                  <a:pt x="146637" y="275935"/>
                  <a:pt x="133595" y="276823"/>
                </a:cubicBezTo>
                <a:cubicBezTo>
                  <a:pt x="117688" y="277907"/>
                  <a:pt x="101755" y="278616"/>
                  <a:pt x="84645" y="279507"/>
                </a:cubicBezTo>
                <a:close/>
              </a:path>
            </a:pathLst>
          </a:custGeom>
          <a:solidFill>
            <a:schemeClr val="bg1"/>
          </a:solidFill>
          <a:ln w="38100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" name="Free-form: Shape 8">
            <a:extLst>
              <a:ext uri="{FF2B5EF4-FFF2-40B4-BE49-F238E27FC236}">
                <a16:creationId xmlns:a16="http://schemas.microsoft.com/office/drawing/2014/main" id="{6484B914-D65D-410F-CB77-FBCDE6279FEE}"/>
              </a:ext>
            </a:extLst>
          </p:cNvPr>
          <p:cNvSpPr/>
          <p:nvPr/>
        </p:nvSpPr>
        <p:spPr>
          <a:xfrm>
            <a:off x="5459305" y="-1056979"/>
            <a:ext cx="284373" cy="65313"/>
          </a:xfrm>
          <a:custGeom>
            <a:avLst/>
            <a:gdLst>
              <a:gd name="csX0" fmla="*/ 270798 w 342106"/>
              <a:gd name="csY0" fmla="*/ 65953 h 78573"/>
              <a:gd name="csX1" fmla="*/ 183290 w 342106"/>
              <a:gd name="csY1" fmla="*/ 76017 h 78573"/>
              <a:gd name="csX2" fmla="*/ 72897 w 342106"/>
              <a:gd name="csY2" fmla="*/ 78565 h 78573"/>
              <a:gd name="csX3" fmla="*/ 5450 w 342106"/>
              <a:gd name="csY3" fmla="*/ 76564 h 78573"/>
              <a:gd name="csX4" fmla="*/ 0 w 342106"/>
              <a:gd name="csY4" fmla="*/ 75649 h 78573"/>
              <a:gd name="csX5" fmla="*/ 0 w 342106"/>
              <a:gd name="csY5" fmla="*/ 21324 h 78573"/>
              <a:gd name="csX6" fmla="*/ 8504 w 342106"/>
              <a:gd name="csY6" fmla="*/ 20688 h 78573"/>
              <a:gd name="csX7" fmla="*/ 98126 w 342106"/>
              <a:gd name="csY7" fmla="*/ 19655 h 78573"/>
              <a:gd name="csX8" fmla="*/ 221639 w 342106"/>
              <a:gd name="csY8" fmla="*/ 10929 h 78573"/>
              <a:gd name="csX9" fmla="*/ 304285 w 342106"/>
              <a:gd name="csY9" fmla="*/ 683 h 78573"/>
              <a:gd name="csX10" fmla="*/ 309173 w 342106"/>
              <a:gd name="csY10" fmla="*/ 212 h 78573"/>
              <a:gd name="csX11" fmla="*/ 335187 w 342106"/>
              <a:gd name="csY11" fmla="*/ 18545 h 78573"/>
              <a:gd name="csX12" fmla="*/ 342106 w 342106"/>
              <a:gd name="csY12" fmla="*/ 53602 h 78573"/>
              <a:gd name="csX13" fmla="*/ 270798 w 342106"/>
              <a:gd name="csY13" fmla="*/ 65953 h 7857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</a:cxnLst>
            <a:rect l="l" t="t" r="r" b="b"/>
            <a:pathLst>
              <a:path w="342106" h="78573">
                <a:moveTo>
                  <a:pt x="270798" y="65953"/>
                </a:moveTo>
                <a:cubicBezTo>
                  <a:pt x="240931" y="69594"/>
                  <a:pt x="212199" y="74306"/>
                  <a:pt x="183290" y="76017"/>
                </a:cubicBezTo>
                <a:cubicBezTo>
                  <a:pt x="146568" y="78191"/>
                  <a:pt x="109704" y="78349"/>
                  <a:pt x="72897" y="78565"/>
                </a:cubicBezTo>
                <a:cubicBezTo>
                  <a:pt x="50419" y="78697"/>
                  <a:pt x="27931" y="77315"/>
                  <a:pt x="5450" y="76564"/>
                </a:cubicBezTo>
                <a:cubicBezTo>
                  <a:pt x="3884" y="76512"/>
                  <a:pt x="2332" y="76053"/>
                  <a:pt x="0" y="75649"/>
                </a:cubicBezTo>
                <a:cubicBezTo>
                  <a:pt x="0" y="57619"/>
                  <a:pt x="0" y="39863"/>
                  <a:pt x="0" y="21324"/>
                </a:cubicBezTo>
                <a:cubicBezTo>
                  <a:pt x="3058" y="21086"/>
                  <a:pt x="5779" y="20715"/>
                  <a:pt x="8504" y="20688"/>
                </a:cubicBezTo>
                <a:cubicBezTo>
                  <a:pt x="38382" y="20390"/>
                  <a:pt x="68305" y="21101"/>
                  <a:pt x="98126" y="19655"/>
                </a:cubicBezTo>
                <a:cubicBezTo>
                  <a:pt x="139343" y="17657"/>
                  <a:pt x="180532" y="14597"/>
                  <a:pt x="221639" y="10929"/>
                </a:cubicBezTo>
                <a:cubicBezTo>
                  <a:pt x="249272" y="8463"/>
                  <a:pt x="276741" y="4156"/>
                  <a:pt x="304285" y="683"/>
                </a:cubicBezTo>
                <a:cubicBezTo>
                  <a:pt x="305908" y="478"/>
                  <a:pt x="307539" y="312"/>
                  <a:pt x="309173" y="212"/>
                </a:cubicBezTo>
                <a:cubicBezTo>
                  <a:pt x="326863" y="-867"/>
                  <a:pt x="330972" y="1719"/>
                  <a:pt x="335187" y="18545"/>
                </a:cubicBezTo>
                <a:cubicBezTo>
                  <a:pt x="337939" y="29526"/>
                  <a:pt x="339618" y="40777"/>
                  <a:pt x="342106" y="53602"/>
                </a:cubicBezTo>
                <a:cubicBezTo>
                  <a:pt x="317523" y="57833"/>
                  <a:pt x="294689" y="61762"/>
                  <a:pt x="270798" y="65953"/>
                </a:cubicBezTo>
                <a:close/>
              </a:path>
            </a:pathLst>
          </a:custGeom>
          <a:solidFill>
            <a:schemeClr val="bg1"/>
          </a:solidFill>
          <a:ln w="38100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" name="Free-form: Shape 9">
            <a:extLst>
              <a:ext uri="{FF2B5EF4-FFF2-40B4-BE49-F238E27FC236}">
                <a16:creationId xmlns:a16="http://schemas.microsoft.com/office/drawing/2014/main" id="{1A4142E9-7280-853E-8ADF-E104AA695082}"/>
              </a:ext>
            </a:extLst>
          </p:cNvPr>
          <p:cNvSpPr/>
          <p:nvPr/>
        </p:nvSpPr>
        <p:spPr>
          <a:xfrm>
            <a:off x="5527024" y="-2014835"/>
            <a:ext cx="72517" cy="55415"/>
          </a:xfrm>
          <a:custGeom>
            <a:avLst/>
            <a:gdLst>
              <a:gd name="csX0" fmla="*/ 9010 w 87239"/>
              <a:gd name="csY0" fmla="*/ 29316 h 66665"/>
              <a:gd name="csX1" fmla="*/ 6110 w 87239"/>
              <a:gd name="csY1" fmla="*/ 15162 h 66665"/>
              <a:gd name="csX2" fmla="*/ 0 w 87239"/>
              <a:gd name="csY2" fmla="*/ 3003 h 66665"/>
              <a:gd name="csX3" fmla="*/ 10641 w 87239"/>
              <a:gd name="csY3" fmla="*/ 697 h 66665"/>
              <a:gd name="csX4" fmla="*/ 42824 w 87239"/>
              <a:gd name="csY4" fmla="*/ 7981 h 66665"/>
              <a:gd name="csX5" fmla="*/ 73433 w 87239"/>
              <a:gd name="csY5" fmla="*/ 31631 h 66665"/>
              <a:gd name="csX6" fmla="*/ 86236 w 87239"/>
              <a:gd name="csY6" fmla="*/ 56519 h 66665"/>
              <a:gd name="csX7" fmla="*/ 82327 w 87239"/>
              <a:gd name="csY7" fmla="*/ 64249 h 66665"/>
              <a:gd name="csX8" fmla="*/ 49439 w 87239"/>
              <a:gd name="csY8" fmla="*/ 66665 h 66665"/>
              <a:gd name="csX9" fmla="*/ 11457 w 87239"/>
              <a:gd name="csY9" fmla="*/ 38560 h 66665"/>
              <a:gd name="csX10" fmla="*/ 9010 w 87239"/>
              <a:gd name="csY10" fmla="*/ 29316 h 6666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</a:cxnLst>
            <a:rect l="l" t="t" r="r" b="b"/>
            <a:pathLst>
              <a:path w="87239" h="66665">
                <a:moveTo>
                  <a:pt x="9010" y="29316"/>
                </a:moveTo>
                <a:cubicBezTo>
                  <a:pt x="7998" y="23924"/>
                  <a:pt x="7568" y="19365"/>
                  <a:pt x="6110" y="15162"/>
                </a:cubicBezTo>
                <a:cubicBezTo>
                  <a:pt x="4682" y="11044"/>
                  <a:pt x="2207" y="7289"/>
                  <a:pt x="0" y="3003"/>
                </a:cubicBezTo>
                <a:cubicBezTo>
                  <a:pt x="2648" y="-833"/>
                  <a:pt x="6580" y="-238"/>
                  <a:pt x="10641" y="697"/>
                </a:cubicBezTo>
                <a:cubicBezTo>
                  <a:pt x="21360" y="3163"/>
                  <a:pt x="32042" y="5825"/>
                  <a:pt x="42824" y="7981"/>
                </a:cubicBezTo>
                <a:cubicBezTo>
                  <a:pt x="57032" y="10823"/>
                  <a:pt x="67419" y="18068"/>
                  <a:pt x="73433" y="31631"/>
                </a:cubicBezTo>
                <a:cubicBezTo>
                  <a:pt x="77208" y="40146"/>
                  <a:pt x="81954" y="48228"/>
                  <a:pt x="86236" y="56519"/>
                </a:cubicBezTo>
                <a:cubicBezTo>
                  <a:pt x="88409" y="60728"/>
                  <a:pt x="87030" y="63806"/>
                  <a:pt x="82327" y="64249"/>
                </a:cubicBezTo>
                <a:cubicBezTo>
                  <a:pt x="71381" y="65282"/>
                  <a:pt x="60402" y="66689"/>
                  <a:pt x="49439" y="66665"/>
                </a:cubicBezTo>
                <a:cubicBezTo>
                  <a:pt x="28683" y="66620"/>
                  <a:pt x="18142" y="58428"/>
                  <a:pt x="11457" y="38560"/>
                </a:cubicBezTo>
                <a:cubicBezTo>
                  <a:pt x="10547" y="35855"/>
                  <a:pt x="9906" y="33058"/>
                  <a:pt x="9010" y="29316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2058B4B-2283-2004-D219-CF10F03CB47D}"/>
              </a:ext>
            </a:extLst>
          </p:cNvPr>
          <p:cNvSpPr txBox="1"/>
          <p:nvPr/>
        </p:nvSpPr>
        <p:spPr>
          <a:xfrm>
            <a:off x="5052906" y="-969274"/>
            <a:ext cx="863983" cy="3927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ola-BR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11CB6DBF-42AF-9A07-BE99-18E3864ED889}"/>
              </a:ext>
            </a:extLst>
          </p:cNvPr>
          <p:cNvSpPr/>
          <p:nvPr/>
        </p:nvSpPr>
        <p:spPr>
          <a:xfrm>
            <a:off x="1423738" y="-1048776"/>
            <a:ext cx="593138" cy="10413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" name="Free-form: Shape 20">
            <a:extLst>
              <a:ext uri="{FF2B5EF4-FFF2-40B4-BE49-F238E27FC236}">
                <a16:creationId xmlns:a16="http://schemas.microsoft.com/office/drawing/2014/main" id="{3355232F-C340-8711-2D37-09499720CAAE}"/>
              </a:ext>
            </a:extLst>
          </p:cNvPr>
          <p:cNvSpPr/>
          <p:nvPr/>
        </p:nvSpPr>
        <p:spPr>
          <a:xfrm>
            <a:off x="1522404" y="-1729427"/>
            <a:ext cx="433137" cy="770022"/>
          </a:xfrm>
          <a:custGeom>
            <a:avLst/>
            <a:gdLst>
              <a:gd name="csX0" fmla="*/ 581793 w 697572"/>
              <a:gd name="csY0" fmla="*/ 1234401 h 1240128"/>
              <a:gd name="csX1" fmla="*/ 577427 w 697572"/>
              <a:gd name="csY1" fmla="*/ 1234156 h 1240128"/>
              <a:gd name="csX2" fmla="*/ 559133 w 697572"/>
              <a:gd name="csY2" fmla="*/ 1230909 h 1240128"/>
              <a:gd name="csX3" fmla="*/ 516706 w 697572"/>
              <a:gd name="csY3" fmla="*/ 1235117 h 1240128"/>
              <a:gd name="csX4" fmla="*/ 475244 w 697572"/>
              <a:gd name="csY4" fmla="*/ 1237506 h 1240128"/>
              <a:gd name="csX5" fmla="*/ 371154 w 697572"/>
              <a:gd name="csY5" fmla="*/ 1239428 h 1240128"/>
              <a:gd name="csX6" fmla="*/ 276813 w 697572"/>
              <a:gd name="csY6" fmla="*/ 1237654 h 1240128"/>
              <a:gd name="csX7" fmla="*/ 268212 w 697572"/>
              <a:gd name="csY7" fmla="*/ 1237635 h 1240128"/>
              <a:gd name="csX8" fmla="*/ 262072 w 697572"/>
              <a:gd name="csY8" fmla="*/ 1237523 h 1240128"/>
              <a:gd name="csX9" fmla="*/ 195111 w 697572"/>
              <a:gd name="csY9" fmla="*/ 1232775 h 1240128"/>
              <a:gd name="csX10" fmla="*/ 145060 w 697572"/>
              <a:gd name="csY10" fmla="*/ 1230076 h 1240128"/>
              <a:gd name="csX11" fmla="*/ 114933 w 697572"/>
              <a:gd name="csY11" fmla="*/ 1225832 h 1240128"/>
              <a:gd name="csX12" fmla="*/ 72642 w 697572"/>
              <a:gd name="csY12" fmla="*/ 1220237 h 1240128"/>
              <a:gd name="csX13" fmla="*/ 10894 w 697572"/>
              <a:gd name="csY13" fmla="*/ 1205737 h 1240128"/>
              <a:gd name="csX14" fmla="*/ 5856 w 697572"/>
              <a:gd name="csY14" fmla="*/ 1202799 h 1240128"/>
              <a:gd name="csX15" fmla="*/ 40 w 697572"/>
              <a:gd name="csY15" fmla="*/ 1174450 h 1240128"/>
              <a:gd name="csX16" fmla="*/ 19831 w 697572"/>
              <a:gd name="csY16" fmla="*/ 1118410 h 1240128"/>
              <a:gd name="csX17" fmla="*/ 22004 w 697572"/>
              <a:gd name="csY17" fmla="*/ 1107240 h 1240128"/>
              <a:gd name="csX18" fmla="*/ 25947 w 697572"/>
              <a:gd name="csY18" fmla="*/ 1038650 h 1240128"/>
              <a:gd name="csX19" fmla="*/ 58234 w 697572"/>
              <a:gd name="csY19" fmla="*/ 988567 h 1240128"/>
              <a:gd name="csX20" fmla="*/ 118645 w 697572"/>
              <a:gd name="csY20" fmla="*/ 928298 h 1240128"/>
              <a:gd name="csX21" fmla="*/ 126320 w 697572"/>
              <a:gd name="csY21" fmla="*/ 892015 h 1240128"/>
              <a:gd name="csX22" fmla="*/ 120345 w 697572"/>
              <a:gd name="csY22" fmla="*/ 872258 h 1240128"/>
              <a:gd name="csX23" fmla="*/ 125668 w 697572"/>
              <a:gd name="csY23" fmla="*/ 861640 h 1240128"/>
              <a:gd name="csX24" fmla="*/ 154237 w 697572"/>
              <a:gd name="csY24" fmla="*/ 850716 h 1240128"/>
              <a:gd name="csX25" fmla="*/ 170248 w 697572"/>
              <a:gd name="csY25" fmla="*/ 836767 h 1240128"/>
              <a:gd name="csX26" fmla="*/ 187840 w 697572"/>
              <a:gd name="csY26" fmla="*/ 796341 h 1240128"/>
              <a:gd name="csX27" fmla="*/ 209346 w 697572"/>
              <a:gd name="csY27" fmla="*/ 743126 h 1240128"/>
              <a:gd name="csX28" fmla="*/ 210630 w 697572"/>
              <a:gd name="csY28" fmla="*/ 737219 h 1240128"/>
              <a:gd name="csX29" fmla="*/ 213836 w 697572"/>
              <a:gd name="csY29" fmla="*/ 720505 h 1240128"/>
              <a:gd name="csX30" fmla="*/ 227791 w 697572"/>
              <a:gd name="csY30" fmla="*/ 667353 h 1240128"/>
              <a:gd name="csX31" fmla="*/ 241013 w 697572"/>
              <a:gd name="csY31" fmla="*/ 599151 h 1240128"/>
              <a:gd name="csX32" fmla="*/ 247322 w 697572"/>
              <a:gd name="csY32" fmla="*/ 542242 h 1240128"/>
              <a:gd name="csX33" fmla="*/ 247948 w 697572"/>
              <a:gd name="csY33" fmla="*/ 499296 h 1240128"/>
              <a:gd name="csX34" fmla="*/ 247577 w 697572"/>
              <a:gd name="csY34" fmla="*/ 470384 h 1240128"/>
              <a:gd name="csX35" fmla="*/ 238877 w 697572"/>
              <a:gd name="csY35" fmla="*/ 460987 h 1240128"/>
              <a:gd name="csX36" fmla="*/ 222040 w 697572"/>
              <a:gd name="csY36" fmla="*/ 458353 h 1240128"/>
              <a:gd name="csX37" fmla="*/ 172193 w 697572"/>
              <a:gd name="csY37" fmla="*/ 433714 h 1240128"/>
              <a:gd name="csX38" fmla="*/ 168410 w 697572"/>
              <a:gd name="csY38" fmla="*/ 396591 h 1240128"/>
              <a:gd name="csX39" fmla="*/ 209826 w 697572"/>
              <a:gd name="csY39" fmla="*/ 367773 h 1240128"/>
              <a:gd name="csX40" fmla="*/ 250732 w 697572"/>
              <a:gd name="csY40" fmla="*/ 355208 h 1240128"/>
              <a:gd name="csX41" fmla="*/ 258289 w 697572"/>
              <a:gd name="csY41" fmla="*/ 350426 h 1240128"/>
              <a:gd name="csX42" fmla="*/ 233274 w 697572"/>
              <a:gd name="csY42" fmla="*/ 333513 h 1240128"/>
              <a:gd name="csX43" fmla="*/ 229677 w 697572"/>
              <a:gd name="csY43" fmla="*/ 333922 h 1240128"/>
              <a:gd name="csX44" fmla="*/ 230149 w 697572"/>
              <a:gd name="csY44" fmla="*/ 332979 h 1240128"/>
              <a:gd name="csX45" fmla="*/ 227053 w 697572"/>
              <a:gd name="csY45" fmla="*/ 327076 h 1240128"/>
              <a:gd name="csX46" fmla="*/ 196769 w 697572"/>
              <a:gd name="csY46" fmla="*/ 291380 h 1240128"/>
              <a:gd name="csX47" fmla="*/ 184389 w 697572"/>
              <a:gd name="csY47" fmla="*/ 264042 h 1240128"/>
              <a:gd name="csX48" fmla="*/ 180630 w 697572"/>
              <a:gd name="csY48" fmla="*/ 257839 h 1240128"/>
              <a:gd name="csX49" fmla="*/ 176231 w 697572"/>
              <a:gd name="csY49" fmla="*/ 250643 h 1240128"/>
              <a:gd name="csX50" fmla="*/ 170073 w 697572"/>
              <a:gd name="csY50" fmla="*/ 146723 h 1240128"/>
              <a:gd name="csX51" fmla="*/ 180929 w 697572"/>
              <a:gd name="csY51" fmla="*/ 114280 h 1240128"/>
              <a:gd name="csX52" fmla="*/ 180839 w 697572"/>
              <a:gd name="csY52" fmla="*/ 101501 h 1240128"/>
              <a:gd name="csX53" fmla="*/ 233536 w 697572"/>
              <a:gd name="csY53" fmla="*/ 39653 h 1240128"/>
              <a:gd name="csX54" fmla="*/ 347618 w 697572"/>
              <a:gd name="csY54" fmla="*/ 35 h 1240128"/>
              <a:gd name="csX55" fmla="*/ 437139 w 697572"/>
              <a:gd name="csY55" fmla="*/ 22396 h 1240128"/>
              <a:gd name="csX56" fmla="*/ 529052 w 697572"/>
              <a:gd name="csY56" fmla="*/ 131093 h 1240128"/>
              <a:gd name="csX57" fmla="*/ 518497 w 697572"/>
              <a:gd name="csY57" fmla="*/ 271517 h 1240128"/>
              <a:gd name="csX58" fmla="*/ 500808 w 697572"/>
              <a:gd name="csY58" fmla="*/ 287385 h 1240128"/>
              <a:gd name="csX59" fmla="*/ 472948 w 697572"/>
              <a:gd name="csY59" fmla="*/ 323290 h 1240128"/>
              <a:gd name="csX60" fmla="*/ 469385 w 697572"/>
              <a:gd name="csY60" fmla="*/ 331565 h 1240128"/>
              <a:gd name="csX61" fmla="*/ 468293 w 697572"/>
              <a:gd name="csY61" fmla="*/ 331320 h 1240128"/>
              <a:gd name="csX62" fmla="*/ 459542 w 697572"/>
              <a:gd name="csY62" fmla="*/ 338942 h 1240128"/>
              <a:gd name="csX63" fmla="*/ 458492 w 697572"/>
              <a:gd name="csY63" fmla="*/ 338671 h 1240128"/>
              <a:gd name="csX64" fmla="*/ 436978 w 697572"/>
              <a:gd name="csY64" fmla="*/ 352226 h 1240128"/>
              <a:gd name="csX65" fmla="*/ 472329 w 697572"/>
              <a:gd name="csY65" fmla="*/ 362890 h 1240128"/>
              <a:gd name="csX66" fmla="*/ 523779 w 697572"/>
              <a:gd name="csY66" fmla="*/ 391962 h 1240128"/>
              <a:gd name="csX67" fmla="*/ 527344 w 697572"/>
              <a:gd name="csY67" fmla="*/ 430096 h 1240128"/>
              <a:gd name="csX68" fmla="*/ 504112 w 697572"/>
              <a:gd name="csY68" fmla="*/ 449628 h 1240128"/>
              <a:gd name="csX69" fmla="*/ 459430 w 697572"/>
              <a:gd name="csY69" fmla="*/ 461116 h 1240128"/>
              <a:gd name="csX70" fmla="*/ 446666 w 697572"/>
              <a:gd name="csY70" fmla="*/ 474229 h 1240128"/>
              <a:gd name="csX71" fmla="*/ 449133 w 697572"/>
              <a:gd name="csY71" fmla="*/ 531639 h 1240128"/>
              <a:gd name="csX72" fmla="*/ 454546 w 697572"/>
              <a:gd name="csY72" fmla="*/ 588688 h 1240128"/>
              <a:gd name="csX73" fmla="*/ 466126 w 697572"/>
              <a:gd name="csY73" fmla="*/ 649736 h 1240128"/>
              <a:gd name="csX74" fmla="*/ 512154 w 697572"/>
              <a:gd name="csY74" fmla="*/ 794006 h 1240128"/>
              <a:gd name="csX75" fmla="*/ 525763 w 697572"/>
              <a:gd name="csY75" fmla="*/ 834323 h 1240128"/>
              <a:gd name="csX76" fmla="*/ 530555 w 697572"/>
              <a:gd name="csY76" fmla="*/ 845114 h 1240128"/>
              <a:gd name="csX77" fmla="*/ 554424 w 697572"/>
              <a:gd name="csY77" fmla="*/ 856618 h 1240128"/>
              <a:gd name="csX78" fmla="*/ 572880 w 697572"/>
              <a:gd name="csY78" fmla="*/ 862546 h 1240128"/>
              <a:gd name="csX79" fmla="*/ 578643 w 697572"/>
              <a:gd name="csY79" fmla="*/ 880396 h 1240128"/>
              <a:gd name="csX80" fmla="*/ 572188 w 697572"/>
              <a:gd name="csY80" fmla="*/ 899820 h 1240128"/>
              <a:gd name="csX81" fmla="*/ 582698 w 697572"/>
              <a:gd name="csY81" fmla="*/ 930382 h 1240128"/>
              <a:gd name="csX82" fmla="*/ 604747 w 697572"/>
              <a:gd name="csY82" fmla="*/ 960852 h 1240128"/>
              <a:gd name="csX83" fmla="*/ 613863 w 697572"/>
              <a:gd name="csY83" fmla="*/ 968311 h 1240128"/>
              <a:gd name="csX84" fmla="*/ 629435 w 697572"/>
              <a:gd name="csY84" fmla="*/ 981186 h 1240128"/>
              <a:gd name="csX85" fmla="*/ 633611 w 697572"/>
              <a:gd name="csY85" fmla="*/ 985609 h 1240128"/>
              <a:gd name="csX86" fmla="*/ 673790 w 697572"/>
              <a:gd name="csY86" fmla="*/ 1049348 h 1240128"/>
              <a:gd name="csX87" fmla="*/ 675873 w 697572"/>
              <a:gd name="csY87" fmla="*/ 1092839 h 1240128"/>
              <a:gd name="csX88" fmla="*/ 681668 w 697572"/>
              <a:gd name="csY88" fmla="*/ 1129292 h 1240128"/>
              <a:gd name="csX89" fmla="*/ 697338 w 697572"/>
              <a:gd name="csY89" fmla="*/ 1196079 h 1240128"/>
              <a:gd name="csX90" fmla="*/ 690637 w 697572"/>
              <a:gd name="csY90" fmla="*/ 1205035 h 1240128"/>
              <a:gd name="csX91" fmla="*/ 639777 w 697572"/>
              <a:gd name="csY91" fmla="*/ 1217994 h 1240128"/>
              <a:gd name="csX92" fmla="*/ 587072 w 697572"/>
              <a:gd name="csY92" fmla="*/ 1227761 h 1240128"/>
              <a:gd name="csX93" fmla="*/ 581793 w 697572"/>
              <a:gd name="csY93" fmla="*/ 1234401 h 1240128"/>
              <a:gd name="csX94" fmla="*/ 357446 w 697572"/>
              <a:gd name="csY94" fmla="*/ 903795 h 1240128"/>
              <a:gd name="csX95" fmla="*/ 344445 w 697572"/>
              <a:gd name="csY95" fmla="*/ 903795 h 1240128"/>
              <a:gd name="csX96" fmla="*/ 349212 w 697572"/>
              <a:gd name="csY96" fmla="*/ 950515 h 1240128"/>
              <a:gd name="csX97" fmla="*/ 349538 w 697572"/>
              <a:gd name="csY97" fmla="*/ 1069392 h 1240128"/>
              <a:gd name="csX98" fmla="*/ 349415 w 697572"/>
              <a:gd name="csY98" fmla="*/ 1108925 h 1240128"/>
              <a:gd name="csX99" fmla="*/ 647726 w 697572"/>
              <a:gd name="csY99" fmla="*/ 1089872 h 1240128"/>
              <a:gd name="csX100" fmla="*/ 647654 w 697572"/>
              <a:gd name="csY100" fmla="*/ 1076267 h 1240128"/>
              <a:gd name="csX101" fmla="*/ 610267 w 697572"/>
              <a:gd name="csY101" fmla="*/ 994126 h 1240128"/>
              <a:gd name="csX102" fmla="*/ 571459 w 697572"/>
              <a:gd name="csY102" fmla="*/ 956568 h 1240128"/>
              <a:gd name="csX103" fmla="*/ 541653 w 697572"/>
              <a:gd name="csY103" fmla="*/ 901544 h 1240128"/>
              <a:gd name="csX104" fmla="*/ 539477 w 697572"/>
              <a:gd name="csY104" fmla="*/ 895908 h 1240128"/>
              <a:gd name="csX105" fmla="*/ 357446 w 697572"/>
              <a:gd name="csY105" fmla="*/ 903795 h 1240128"/>
              <a:gd name="csX106" fmla="*/ 300108 w 697572"/>
              <a:gd name="csY106" fmla="*/ 85260 h 1240128"/>
              <a:gd name="csX107" fmla="*/ 290213 w 697572"/>
              <a:gd name="csY107" fmla="*/ 127888 h 1240128"/>
              <a:gd name="csX108" fmla="*/ 331056 w 697572"/>
              <a:gd name="csY108" fmla="*/ 214168 h 1240128"/>
              <a:gd name="csX109" fmla="*/ 424717 w 697572"/>
              <a:gd name="csY109" fmla="*/ 245160 h 1240128"/>
              <a:gd name="csX110" fmla="*/ 496752 w 697572"/>
              <a:gd name="csY110" fmla="*/ 141256 h 1240128"/>
              <a:gd name="csX111" fmla="*/ 390320 w 697572"/>
              <a:gd name="csY111" fmla="*/ 43995 h 1240128"/>
              <a:gd name="csX112" fmla="*/ 300108 w 697572"/>
              <a:gd name="csY112" fmla="*/ 85260 h 1240128"/>
              <a:gd name="csX113" fmla="*/ 343360 w 697572"/>
              <a:gd name="csY113" fmla="*/ 634332 h 1240128"/>
              <a:gd name="csX114" fmla="*/ 340877 w 697572"/>
              <a:gd name="csY114" fmla="*/ 732259 h 1240128"/>
              <a:gd name="csX115" fmla="*/ 338360 w 697572"/>
              <a:gd name="csY115" fmla="*/ 810538 h 1240128"/>
              <a:gd name="csX116" fmla="*/ 337115 w 697572"/>
              <a:gd name="csY116" fmla="*/ 817736 h 1240128"/>
              <a:gd name="csX117" fmla="*/ 336516 w 697572"/>
              <a:gd name="csY117" fmla="*/ 863022 h 1240128"/>
              <a:gd name="csX118" fmla="*/ 343436 w 697572"/>
              <a:gd name="csY118" fmla="*/ 864027 h 1240128"/>
              <a:gd name="csX119" fmla="*/ 406718 w 697572"/>
              <a:gd name="csY119" fmla="*/ 862982 h 1240128"/>
              <a:gd name="csX120" fmla="*/ 456888 w 697572"/>
              <a:gd name="csY120" fmla="*/ 861794 h 1240128"/>
              <a:gd name="csX121" fmla="*/ 495873 w 697572"/>
              <a:gd name="csY121" fmla="*/ 863963 h 1240128"/>
              <a:gd name="csX122" fmla="*/ 509286 w 697572"/>
              <a:gd name="csY122" fmla="*/ 863595 h 1240128"/>
              <a:gd name="csX123" fmla="*/ 516956 w 697572"/>
              <a:gd name="csY123" fmla="*/ 856791 h 1240128"/>
              <a:gd name="csX124" fmla="*/ 513920 w 697572"/>
              <a:gd name="csY124" fmla="*/ 848709 h 1240128"/>
              <a:gd name="csX125" fmla="*/ 506683 w 697572"/>
              <a:gd name="csY125" fmla="*/ 839054 h 1240128"/>
              <a:gd name="csX126" fmla="*/ 488629 w 697572"/>
              <a:gd name="csY126" fmla="*/ 799037 h 1240128"/>
              <a:gd name="csX127" fmla="*/ 456922 w 697572"/>
              <a:gd name="csY127" fmla="*/ 696297 h 1240128"/>
              <a:gd name="csX128" fmla="*/ 441346 w 697572"/>
              <a:gd name="csY128" fmla="*/ 619885 h 1240128"/>
              <a:gd name="csX129" fmla="*/ 435963 w 697572"/>
              <a:gd name="csY129" fmla="*/ 582529 h 1240128"/>
              <a:gd name="csX130" fmla="*/ 429497 w 697572"/>
              <a:gd name="csY130" fmla="*/ 521990 h 1240128"/>
              <a:gd name="csX131" fmla="*/ 426887 w 697572"/>
              <a:gd name="csY131" fmla="*/ 471989 h 1240128"/>
              <a:gd name="csX132" fmla="*/ 413744 w 697572"/>
              <a:gd name="csY132" fmla="*/ 461077 h 1240128"/>
              <a:gd name="csX133" fmla="*/ 353573 w 697572"/>
              <a:gd name="csY133" fmla="*/ 461120 h 1240128"/>
              <a:gd name="csX134" fmla="*/ 344160 w 697572"/>
              <a:gd name="csY134" fmla="*/ 462286 h 1240128"/>
              <a:gd name="csX135" fmla="*/ 343404 w 697572"/>
              <a:gd name="csY135" fmla="*/ 469192 h 1240128"/>
              <a:gd name="csX136" fmla="*/ 343469 w 697572"/>
              <a:gd name="csY136" fmla="*/ 574797 h 1240128"/>
              <a:gd name="csX137" fmla="*/ 345522 w 697572"/>
              <a:gd name="csY137" fmla="*/ 591669 h 1240128"/>
              <a:gd name="csX138" fmla="*/ 343360 w 697572"/>
              <a:gd name="csY138" fmla="*/ 634332 h 1240128"/>
              <a:gd name="csX139" fmla="*/ 416946 w 697572"/>
              <a:gd name="csY139" fmla="*/ 385943 h 1240128"/>
              <a:gd name="csX140" fmla="*/ 401091 w 697572"/>
              <a:gd name="csY140" fmla="*/ 387162 h 1240128"/>
              <a:gd name="csX141" fmla="*/ 369218 w 697572"/>
              <a:gd name="csY141" fmla="*/ 387708 h 1240128"/>
              <a:gd name="csX142" fmla="*/ 351833 w 697572"/>
              <a:gd name="csY142" fmla="*/ 398991 h 1240128"/>
              <a:gd name="csX143" fmla="*/ 349778 w 697572"/>
              <a:gd name="csY143" fmla="*/ 426021 h 1240128"/>
              <a:gd name="csX144" fmla="*/ 361839 w 697572"/>
              <a:gd name="csY144" fmla="*/ 426538 h 1240128"/>
              <a:gd name="csX145" fmla="*/ 455022 w 697572"/>
              <a:gd name="csY145" fmla="*/ 426922 h 1240128"/>
              <a:gd name="csX146" fmla="*/ 481958 w 697572"/>
              <a:gd name="csY146" fmla="*/ 426527 h 1240128"/>
              <a:gd name="csX147" fmla="*/ 499817 w 697572"/>
              <a:gd name="csY147" fmla="*/ 419888 h 1240128"/>
              <a:gd name="csX148" fmla="*/ 499439 w 697572"/>
              <a:gd name="csY148" fmla="*/ 400719 h 1240128"/>
              <a:gd name="csX149" fmla="*/ 468062 w 697572"/>
              <a:gd name="csY149" fmla="*/ 387775 h 1240128"/>
              <a:gd name="csX150" fmla="*/ 416946 w 697572"/>
              <a:gd name="csY150" fmla="*/ 385943 h 1240128"/>
              <a:gd name="csX151" fmla="*/ 636802 w 697572"/>
              <a:gd name="csY151" fmla="*/ 1190940 h 1240128"/>
              <a:gd name="csX152" fmla="*/ 666492 w 697572"/>
              <a:gd name="csY152" fmla="*/ 1184186 h 1240128"/>
              <a:gd name="csX153" fmla="*/ 674465 w 697572"/>
              <a:gd name="csY153" fmla="*/ 1170880 h 1240128"/>
              <a:gd name="csX154" fmla="*/ 662462 w 697572"/>
              <a:gd name="csY154" fmla="*/ 1141464 h 1240128"/>
              <a:gd name="csX155" fmla="*/ 645564 w 697572"/>
              <a:gd name="csY155" fmla="*/ 1131937 h 1240128"/>
              <a:gd name="csX156" fmla="*/ 627387 w 697572"/>
              <a:gd name="csY156" fmla="*/ 1133618 h 1240128"/>
              <a:gd name="csX157" fmla="*/ 583917 w 697572"/>
              <a:gd name="csY157" fmla="*/ 1139222 h 1240128"/>
              <a:gd name="csX158" fmla="*/ 543741 w 697572"/>
              <a:gd name="csY158" fmla="*/ 1141869 h 1240128"/>
              <a:gd name="csX159" fmla="*/ 512146 w 697572"/>
              <a:gd name="csY159" fmla="*/ 1144418 h 1240128"/>
              <a:gd name="csX160" fmla="*/ 447711 w 697572"/>
              <a:gd name="csY160" fmla="*/ 1148973 h 1240128"/>
              <a:gd name="csX161" fmla="*/ 351979 w 697572"/>
              <a:gd name="csY161" fmla="*/ 1149200 h 1240128"/>
              <a:gd name="csX162" fmla="*/ 338443 w 697572"/>
              <a:gd name="csY162" fmla="*/ 1150040 h 1240128"/>
              <a:gd name="csX163" fmla="*/ 338451 w 697572"/>
              <a:gd name="csY163" fmla="*/ 1190780 h 1240128"/>
              <a:gd name="csX164" fmla="*/ 351082 w 697572"/>
              <a:gd name="csY164" fmla="*/ 1207015 h 1240128"/>
              <a:gd name="csX165" fmla="*/ 358298 w 697572"/>
              <a:gd name="csY165" fmla="*/ 1208094 h 1240128"/>
              <a:gd name="csX166" fmla="*/ 521229 w 697572"/>
              <a:gd name="csY166" fmla="*/ 1205646 h 1240128"/>
              <a:gd name="csX167" fmla="*/ 523675 w 697572"/>
              <a:gd name="csY167" fmla="*/ 1205490 h 1240128"/>
              <a:gd name="csX168" fmla="*/ 580423 w 697572"/>
              <a:gd name="csY168" fmla="*/ 1198350 h 1240128"/>
              <a:gd name="csX169" fmla="*/ 636802 w 697572"/>
              <a:gd name="csY169" fmla="*/ 1190940 h 124012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</a:cxnLst>
            <a:rect l="l" t="t" r="r" b="b"/>
            <a:pathLst>
              <a:path w="697572" h="1240128">
                <a:moveTo>
                  <a:pt x="581793" y="1234401"/>
                </a:moveTo>
                <a:cubicBezTo>
                  <a:pt x="580693" y="1234661"/>
                  <a:pt x="579594" y="1234922"/>
                  <a:pt x="577427" y="1234156"/>
                </a:cubicBezTo>
                <a:cubicBezTo>
                  <a:pt x="571216" y="1227899"/>
                  <a:pt x="564912" y="1230441"/>
                  <a:pt x="559133" y="1230909"/>
                </a:cubicBezTo>
                <a:cubicBezTo>
                  <a:pt x="544971" y="1232056"/>
                  <a:pt x="530869" y="1233971"/>
                  <a:pt x="516706" y="1235117"/>
                </a:cubicBezTo>
                <a:cubicBezTo>
                  <a:pt x="502910" y="1236232"/>
                  <a:pt x="489077" y="1237097"/>
                  <a:pt x="475244" y="1237506"/>
                </a:cubicBezTo>
                <a:cubicBezTo>
                  <a:pt x="440539" y="1238535"/>
                  <a:pt x="405696" y="1241458"/>
                  <a:pt x="371154" y="1239428"/>
                </a:cubicBezTo>
                <a:cubicBezTo>
                  <a:pt x="339645" y="1237575"/>
                  <a:pt x="308239" y="1238753"/>
                  <a:pt x="276813" y="1237654"/>
                </a:cubicBezTo>
                <a:cubicBezTo>
                  <a:pt x="273949" y="1237553"/>
                  <a:pt x="271079" y="1237652"/>
                  <a:pt x="268212" y="1237635"/>
                </a:cubicBezTo>
                <a:cubicBezTo>
                  <a:pt x="266165" y="1237623"/>
                  <a:pt x="264111" y="1237668"/>
                  <a:pt x="262072" y="1237523"/>
                </a:cubicBezTo>
                <a:cubicBezTo>
                  <a:pt x="239751" y="1235944"/>
                  <a:pt x="217441" y="1234201"/>
                  <a:pt x="195111" y="1232775"/>
                </a:cubicBezTo>
                <a:cubicBezTo>
                  <a:pt x="178437" y="1231710"/>
                  <a:pt x="161712" y="1231378"/>
                  <a:pt x="145060" y="1230076"/>
                </a:cubicBezTo>
                <a:cubicBezTo>
                  <a:pt x="134969" y="1229287"/>
                  <a:pt x="124987" y="1227177"/>
                  <a:pt x="114933" y="1225832"/>
                </a:cubicBezTo>
                <a:cubicBezTo>
                  <a:pt x="100834" y="1223946"/>
                  <a:pt x="86554" y="1223022"/>
                  <a:pt x="72642" y="1220237"/>
                </a:cubicBezTo>
                <a:cubicBezTo>
                  <a:pt x="51920" y="1216091"/>
                  <a:pt x="31443" y="1210723"/>
                  <a:pt x="10894" y="1205737"/>
                </a:cubicBezTo>
                <a:cubicBezTo>
                  <a:pt x="9027" y="1205284"/>
                  <a:pt x="6196" y="1204140"/>
                  <a:pt x="5856" y="1202799"/>
                </a:cubicBezTo>
                <a:cubicBezTo>
                  <a:pt x="3474" y="1193418"/>
                  <a:pt x="-438" y="1183796"/>
                  <a:pt x="40" y="1174450"/>
                </a:cubicBezTo>
                <a:cubicBezTo>
                  <a:pt x="1079" y="1154149"/>
                  <a:pt x="9757" y="1135843"/>
                  <a:pt x="19831" y="1118410"/>
                </a:cubicBezTo>
                <a:cubicBezTo>
                  <a:pt x="21968" y="1114713"/>
                  <a:pt x="22970" y="1111858"/>
                  <a:pt x="22004" y="1107240"/>
                </a:cubicBezTo>
                <a:cubicBezTo>
                  <a:pt x="17168" y="1084118"/>
                  <a:pt x="17717" y="1061168"/>
                  <a:pt x="25947" y="1038650"/>
                </a:cubicBezTo>
                <a:cubicBezTo>
                  <a:pt x="32954" y="1019481"/>
                  <a:pt x="44478" y="1003118"/>
                  <a:pt x="58234" y="988567"/>
                </a:cubicBezTo>
                <a:cubicBezTo>
                  <a:pt x="77769" y="967902"/>
                  <a:pt x="97978" y="947832"/>
                  <a:pt x="118645" y="928298"/>
                </a:cubicBezTo>
                <a:cubicBezTo>
                  <a:pt x="130104" y="917467"/>
                  <a:pt x="131835" y="905961"/>
                  <a:pt x="126320" y="892015"/>
                </a:cubicBezTo>
                <a:cubicBezTo>
                  <a:pt x="123798" y="885637"/>
                  <a:pt x="122123" y="878904"/>
                  <a:pt x="120345" y="872258"/>
                </a:cubicBezTo>
                <a:cubicBezTo>
                  <a:pt x="119029" y="867341"/>
                  <a:pt x="120162" y="863613"/>
                  <a:pt x="125668" y="861640"/>
                </a:cubicBezTo>
                <a:cubicBezTo>
                  <a:pt x="135266" y="858201"/>
                  <a:pt x="144535" y="853788"/>
                  <a:pt x="154237" y="850716"/>
                </a:cubicBezTo>
                <a:cubicBezTo>
                  <a:pt x="161882" y="848296"/>
                  <a:pt x="167110" y="843897"/>
                  <a:pt x="170248" y="836767"/>
                </a:cubicBezTo>
                <a:cubicBezTo>
                  <a:pt x="176168" y="823316"/>
                  <a:pt x="182193" y="809907"/>
                  <a:pt x="187840" y="796341"/>
                </a:cubicBezTo>
                <a:cubicBezTo>
                  <a:pt x="195194" y="778679"/>
                  <a:pt x="202250" y="760894"/>
                  <a:pt x="209346" y="743126"/>
                </a:cubicBezTo>
                <a:cubicBezTo>
                  <a:pt x="210083" y="741280"/>
                  <a:pt x="210252" y="739200"/>
                  <a:pt x="210630" y="737219"/>
                </a:cubicBezTo>
                <a:cubicBezTo>
                  <a:pt x="211694" y="731645"/>
                  <a:pt x="212425" y="725987"/>
                  <a:pt x="213836" y="720505"/>
                </a:cubicBezTo>
                <a:cubicBezTo>
                  <a:pt x="218406" y="702764"/>
                  <a:pt x="223811" y="685219"/>
                  <a:pt x="227791" y="667353"/>
                </a:cubicBezTo>
                <a:cubicBezTo>
                  <a:pt x="232826" y="644755"/>
                  <a:pt x="237367" y="622009"/>
                  <a:pt x="241013" y="599151"/>
                </a:cubicBezTo>
                <a:cubicBezTo>
                  <a:pt x="244018" y="580319"/>
                  <a:pt x="246001" y="561272"/>
                  <a:pt x="247322" y="542242"/>
                </a:cubicBezTo>
                <a:cubicBezTo>
                  <a:pt x="248312" y="527975"/>
                  <a:pt x="246344" y="513451"/>
                  <a:pt x="247948" y="499296"/>
                </a:cubicBezTo>
                <a:cubicBezTo>
                  <a:pt x="249066" y="489432"/>
                  <a:pt x="247923" y="480014"/>
                  <a:pt x="247577" y="470384"/>
                </a:cubicBezTo>
                <a:cubicBezTo>
                  <a:pt x="247364" y="464453"/>
                  <a:pt x="245121" y="461397"/>
                  <a:pt x="238877" y="460987"/>
                </a:cubicBezTo>
                <a:cubicBezTo>
                  <a:pt x="233224" y="460615"/>
                  <a:pt x="227461" y="459920"/>
                  <a:pt x="222040" y="458353"/>
                </a:cubicBezTo>
                <a:cubicBezTo>
                  <a:pt x="203991" y="453134"/>
                  <a:pt x="185737" y="448229"/>
                  <a:pt x="172193" y="433714"/>
                </a:cubicBezTo>
                <a:cubicBezTo>
                  <a:pt x="162702" y="423544"/>
                  <a:pt x="160887" y="408134"/>
                  <a:pt x="168410" y="396591"/>
                </a:cubicBezTo>
                <a:cubicBezTo>
                  <a:pt x="178294" y="381428"/>
                  <a:pt x="193736" y="373793"/>
                  <a:pt x="209826" y="367773"/>
                </a:cubicBezTo>
                <a:cubicBezTo>
                  <a:pt x="223159" y="362784"/>
                  <a:pt x="237124" y="359493"/>
                  <a:pt x="250732" y="355208"/>
                </a:cubicBezTo>
                <a:cubicBezTo>
                  <a:pt x="253085" y="354467"/>
                  <a:pt x="255058" y="352518"/>
                  <a:pt x="258289" y="350426"/>
                </a:cubicBezTo>
                <a:cubicBezTo>
                  <a:pt x="250173" y="342610"/>
                  <a:pt x="241833" y="337880"/>
                  <a:pt x="233274" y="333513"/>
                </a:cubicBezTo>
                <a:cubicBezTo>
                  <a:pt x="232377" y="333055"/>
                  <a:pt x="230890" y="333758"/>
                  <a:pt x="229677" y="333922"/>
                </a:cubicBezTo>
                <a:cubicBezTo>
                  <a:pt x="229677" y="333922"/>
                  <a:pt x="230323" y="333834"/>
                  <a:pt x="230149" y="332979"/>
                </a:cubicBezTo>
                <a:cubicBezTo>
                  <a:pt x="229023" y="330409"/>
                  <a:pt x="228502" y="328059"/>
                  <a:pt x="227053" y="327076"/>
                </a:cubicBezTo>
                <a:cubicBezTo>
                  <a:pt x="213615" y="317962"/>
                  <a:pt x="204643" y="305332"/>
                  <a:pt x="196769" y="291380"/>
                </a:cubicBezTo>
                <a:cubicBezTo>
                  <a:pt x="191792" y="282564"/>
                  <a:pt x="185421" y="274665"/>
                  <a:pt x="184389" y="264042"/>
                </a:cubicBezTo>
                <a:cubicBezTo>
                  <a:pt x="184179" y="261874"/>
                  <a:pt x="181925" y="259908"/>
                  <a:pt x="180630" y="257839"/>
                </a:cubicBezTo>
                <a:cubicBezTo>
                  <a:pt x="179137" y="255454"/>
                  <a:pt x="177317" y="253204"/>
                  <a:pt x="176231" y="250643"/>
                </a:cubicBezTo>
                <a:cubicBezTo>
                  <a:pt x="161865" y="216749"/>
                  <a:pt x="159606" y="182060"/>
                  <a:pt x="170073" y="146723"/>
                </a:cubicBezTo>
                <a:cubicBezTo>
                  <a:pt x="173311" y="135795"/>
                  <a:pt x="177248" y="125074"/>
                  <a:pt x="180929" y="114280"/>
                </a:cubicBezTo>
                <a:cubicBezTo>
                  <a:pt x="182396" y="109981"/>
                  <a:pt x="183922" y="105742"/>
                  <a:pt x="180839" y="101501"/>
                </a:cubicBezTo>
                <a:cubicBezTo>
                  <a:pt x="192473" y="75833"/>
                  <a:pt x="211344" y="56271"/>
                  <a:pt x="233536" y="39653"/>
                </a:cubicBezTo>
                <a:cubicBezTo>
                  <a:pt x="267321" y="14353"/>
                  <a:pt x="305621" y="873"/>
                  <a:pt x="347618" y="35"/>
                </a:cubicBezTo>
                <a:cubicBezTo>
                  <a:pt x="379125" y="-593"/>
                  <a:pt x="409214" y="7172"/>
                  <a:pt x="437139" y="22396"/>
                </a:cubicBezTo>
                <a:cubicBezTo>
                  <a:pt x="481844" y="46766"/>
                  <a:pt x="514077" y="82116"/>
                  <a:pt x="529052" y="131093"/>
                </a:cubicBezTo>
                <a:cubicBezTo>
                  <a:pt x="543544" y="178495"/>
                  <a:pt x="541630" y="225548"/>
                  <a:pt x="518497" y="271517"/>
                </a:cubicBezTo>
                <a:cubicBezTo>
                  <a:pt x="511428" y="277096"/>
                  <a:pt x="503848" y="281136"/>
                  <a:pt x="500808" y="287385"/>
                </a:cubicBezTo>
                <a:cubicBezTo>
                  <a:pt x="493932" y="301522"/>
                  <a:pt x="483805" y="312513"/>
                  <a:pt x="472948" y="323290"/>
                </a:cubicBezTo>
                <a:cubicBezTo>
                  <a:pt x="470972" y="325253"/>
                  <a:pt x="470533" y="328767"/>
                  <a:pt x="469385" y="331565"/>
                </a:cubicBezTo>
                <a:cubicBezTo>
                  <a:pt x="469385" y="331565"/>
                  <a:pt x="469172" y="331584"/>
                  <a:pt x="468293" y="331320"/>
                </a:cubicBezTo>
                <a:cubicBezTo>
                  <a:pt x="461937" y="330836"/>
                  <a:pt x="458618" y="332772"/>
                  <a:pt x="459542" y="338942"/>
                </a:cubicBezTo>
                <a:cubicBezTo>
                  <a:pt x="459542" y="338942"/>
                  <a:pt x="459473" y="338913"/>
                  <a:pt x="458492" y="338671"/>
                </a:cubicBezTo>
                <a:cubicBezTo>
                  <a:pt x="450936" y="342653"/>
                  <a:pt x="440712" y="341355"/>
                  <a:pt x="436978" y="352226"/>
                </a:cubicBezTo>
                <a:cubicBezTo>
                  <a:pt x="449178" y="355911"/>
                  <a:pt x="460733" y="359469"/>
                  <a:pt x="472329" y="362890"/>
                </a:cubicBezTo>
                <a:cubicBezTo>
                  <a:pt x="491728" y="368613"/>
                  <a:pt x="510182" y="375784"/>
                  <a:pt x="523779" y="391962"/>
                </a:cubicBezTo>
                <a:cubicBezTo>
                  <a:pt x="535849" y="406326"/>
                  <a:pt x="534845" y="420076"/>
                  <a:pt x="527344" y="430096"/>
                </a:cubicBezTo>
                <a:cubicBezTo>
                  <a:pt x="521323" y="438139"/>
                  <a:pt x="513928" y="445333"/>
                  <a:pt x="504112" y="449628"/>
                </a:cubicBezTo>
                <a:cubicBezTo>
                  <a:pt x="489776" y="455901"/>
                  <a:pt x="475173" y="460486"/>
                  <a:pt x="459430" y="461116"/>
                </a:cubicBezTo>
                <a:cubicBezTo>
                  <a:pt x="448415" y="461557"/>
                  <a:pt x="446384" y="463369"/>
                  <a:pt x="446666" y="474229"/>
                </a:cubicBezTo>
                <a:cubicBezTo>
                  <a:pt x="447164" y="493376"/>
                  <a:pt x="447839" y="512533"/>
                  <a:pt x="449133" y="531639"/>
                </a:cubicBezTo>
                <a:cubicBezTo>
                  <a:pt x="450424" y="550696"/>
                  <a:pt x="451783" y="569809"/>
                  <a:pt x="454546" y="588688"/>
                </a:cubicBezTo>
                <a:cubicBezTo>
                  <a:pt x="457543" y="609164"/>
                  <a:pt x="462165" y="629403"/>
                  <a:pt x="466126" y="649736"/>
                </a:cubicBezTo>
                <a:cubicBezTo>
                  <a:pt x="475845" y="699621"/>
                  <a:pt x="493414" y="746980"/>
                  <a:pt x="512154" y="794006"/>
                </a:cubicBezTo>
                <a:cubicBezTo>
                  <a:pt x="517387" y="807138"/>
                  <a:pt x="525145" y="819463"/>
                  <a:pt x="525763" y="834323"/>
                </a:cubicBezTo>
                <a:cubicBezTo>
                  <a:pt x="525919" y="838081"/>
                  <a:pt x="527739" y="843335"/>
                  <a:pt x="530555" y="845114"/>
                </a:cubicBezTo>
                <a:cubicBezTo>
                  <a:pt x="537981" y="849801"/>
                  <a:pt x="546243" y="853278"/>
                  <a:pt x="554424" y="856618"/>
                </a:cubicBezTo>
                <a:cubicBezTo>
                  <a:pt x="560391" y="859054"/>
                  <a:pt x="567041" y="859887"/>
                  <a:pt x="572880" y="862546"/>
                </a:cubicBezTo>
                <a:cubicBezTo>
                  <a:pt x="581470" y="866458"/>
                  <a:pt x="582467" y="871415"/>
                  <a:pt x="578643" y="880396"/>
                </a:cubicBezTo>
                <a:cubicBezTo>
                  <a:pt x="575969" y="886677"/>
                  <a:pt x="572900" y="893182"/>
                  <a:pt x="572188" y="899820"/>
                </a:cubicBezTo>
                <a:cubicBezTo>
                  <a:pt x="570960" y="911271"/>
                  <a:pt x="576506" y="920944"/>
                  <a:pt x="582698" y="930382"/>
                </a:cubicBezTo>
                <a:cubicBezTo>
                  <a:pt x="589569" y="940856"/>
                  <a:pt x="600933" y="947930"/>
                  <a:pt x="604747" y="960852"/>
                </a:cubicBezTo>
                <a:cubicBezTo>
                  <a:pt x="605684" y="964030"/>
                  <a:pt x="610294" y="967128"/>
                  <a:pt x="613863" y="968311"/>
                </a:cubicBezTo>
                <a:cubicBezTo>
                  <a:pt x="620963" y="970665"/>
                  <a:pt x="625924" y="974774"/>
                  <a:pt x="629435" y="981186"/>
                </a:cubicBezTo>
                <a:cubicBezTo>
                  <a:pt x="630381" y="982913"/>
                  <a:pt x="631977" y="984459"/>
                  <a:pt x="633611" y="985609"/>
                </a:cubicBezTo>
                <a:cubicBezTo>
                  <a:pt x="655878" y="1001272"/>
                  <a:pt x="668032" y="1023762"/>
                  <a:pt x="673790" y="1049348"/>
                </a:cubicBezTo>
                <a:cubicBezTo>
                  <a:pt x="676936" y="1063327"/>
                  <a:pt x="679769" y="1077802"/>
                  <a:pt x="675873" y="1092839"/>
                </a:cubicBezTo>
                <a:cubicBezTo>
                  <a:pt x="672677" y="1105174"/>
                  <a:pt x="673042" y="1116963"/>
                  <a:pt x="681668" y="1129292"/>
                </a:cubicBezTo>
                <a:cubicBezTo>
                  <a:pt x="695321" y="1148802"/>
                  <a:pt x="698550" y="1172235"/>
                  <a:pt x="697338" y="1196079"/>
                </a:cubicBezTo>
                <a:cubicBezTo>
                  <a:pt x="697087" y="1201014"/>
                  <a:pt x="694979" y="1203886"/>
                  <a:pt x="690637" y="1205035"/>
                </a:cubicBezTo>
                <a:cubicBezTo>
                  <a:pt x="673723" y="1209511"/>
                  <a:pt x="656856" y="1214241"/>
                  <a:pt x="639777" y="1217994"/>
                </a:cubicBezTo>
                <a:cubicBezTo>
                  <a:pt x="622334" y="1221827"/>
                  <a:pt x="604691" y="1224790"/>
                  <a:pt x="587072" y="1227761"/>
                </a:cubicBezTo>
                <a:cubicBezTo>
                  <a:pt x="582708" y="1228497"/>
                  <a:pt x="581724" y="1230736"/>
                  <a:pt x="581793" y="1234401"/>
                </a:cubicBezTo>
                <a:moveTo>
                  <a:pt x="357446" y="903795"/>
                </a:moveTo>
                <a:cubicBezTo>
                  <a:pt x="353141" y="903795"/>
                  <a:pt x="348835" y="903795"/>
                  <a:pt x="344445" y="903795"/>
                </a:cubicBezTo>
                <a:cubicBezTo>
                  <a:pt x="346169" y="920562"/>
                  <a:pt x="347908" y="935520"/>
                  <a:pt x="349212" y="950515"/>
                </a:cubicBezTo>
                <a:cubicBezTo>
                  <a:pt x="352656" y="990125"/>
                  <a:pt x="351941" y="1029743"/>
                  <a:pt x="349538" y="1069392"/>
                </a:cubicBezTo>
                <a:cubicBezTo>
                  <a:pt x="348759" y="1082241"/>
                  <a:pt x="349415" y="1095176"/>
                  <a:pt x="349415" y="1108925"/>
                </a:cubicBezTo>
                <a:cubicBezTo>
                  <a:pt x="449467" y="1111953"/>
                  <a:pt x="548509" y="1104712"/>
                  <a:pt x="647726" y="1089872"/>
                </a:cubicBezTo>
                <a:cubicBezTo>
                  <a:pt x="647726" y="1084313"/>
                  <a:pt x="648180" y="1080225"/>
                  <a:pt x="647654" y="1076267"/>
                </a:cubicBezTo>
                <a:cubicBezTo>
                  <a:pt x="643515" y="1045124"/>
                  <a:pt x="633172" y="1016714"/>
                  <a:pt x="610267" y="994126"/>
                </a:cubicBezTo>
                <a:cubicBezTo>
                  <a:pt x="597451" y="981485"/>
                  <a:pt x="584392" y="969090"/>
                  <a:pt x="571459" y="956568"/>
                </a:cubicBezTo>
                <a:cubicBezTo>
                  <a:pt x="555751" y="941359"/>
                  <a:pt x="544836" y="923558"/>
                  <a:pt x="541653" y="901544"/>
                </a:cubicBezTo>
                <a:cubicBezTo>
                  <a:pt x="541430" y="900007"/>
                  <a:pt x="540528" y="898570"/>
                  <a:pt x="539477" y="895908"/>
                </a:cubicBezTo>
                <a:cubicBezTo>
                  <a:pt x="479736" y="901652"/>
                  <a:pt x="419815" y="904536"/>
                  <a:pt x="357446" y="903795"/>
                </a:cubicBezTo>
                <a:moveTo>
                  <a:pt x="300108" y="85260"/>
                </a:moveTo>
                <a:cubicBezTo>
                  <a:pt x="293656" y="98745"/>
                  <a:pt x="289202" y="113094"/>
                  <a:pt x="290213" y="127888"/>
                </a:cubicBezTo>
                <a:cubicBezTo>
                  <a:pt x="292527" y="161736"/>
                  <a:pt x="304185" y="191723"/>
                  <a:pt x="331056" y="214168"/>
                </a:cubicBezTo>
                <a:cubicBezTo>
                  <a:pt x="358172" y="236816"/>
                  <a:pt x="388435" y="249934"/>
                  <a:pt x="424717" y="245160"/>
                </a:cubicBezTo>
                <a:cubicBezTo>
                  <a:pt x="468593" y="239387"/>
                  <a:pt x="509574" y="203365"/>
                  <a:pt x="496752" y="141256"/>
                </a:cubicBezTo>
                <a:cubicBezTo>
                  <a:pt x="487021" y="94124"/>
                  <a:pt x="447261" y="51874"/>
                  <a:pt x="390320" y="43995"/>
                </a:cubicBezTo>
                <a:cubicBezTo>
                  <a:pt x="353241" y="38865"/>
                  <a:pt x="321136" y="48750"/>
                  <a:pt x="300108" y="85260"/>
                </a:cubicBezTo>
                <a:moveTo>
                  <a:pt x="343360" y="634332"/>
                </a:moveTo>
                <a:cubicBezTo>
                  <a:pt x="342539" y="666975"/>
                  <a:pt x="341785" y="699619"/>
                  <a:pt x="340877" y="732259"/>
                </a:cubicBezTo>
                <a:cubicBezTo>
                  <a:pt x="340151" y="758355"/>
                  <a:pt x="339265" y="784447"/>
                  <a:pt x="338360" y="810538"/>
                </a:cubicBezTo>
                <a:cubicBezTo>
                  <a:pt x="338277" y="812948"/>
                  <a:pt x="337465" y="815325"/>
                  <a:pt x="337115" y="817736"/>
                </a:cubicBezTo>
                <a:cubicBezTo>
                  <a:pt x="334935" y="832710"/>
                  <a:pt x="336026" y="847647"/>
                  <a:pt x="336516" y="863022"/>
                </a:cubicBezTo>
                <a:cubicBezTo>
                  <a:pt x="339537" y="863479"/>
                  <a:pt x="341490" y="864053"/>
                  <a:pt x="343436" y="864027"/>
                </a:cubicBezTo>
                <a:cubicBezTo>
                  <a:pt x="364531" y="863739"/>
                  <a:pt x="385626" y="863422"/>
                  <a:pt x="406718" y="862982"/>
                </a:cubicBezTo>
                <a:cubicBezTo>
                  <a:pt x="423444" y="862634"/>
                  <a:pt x="440168" y="861675"/>
                  <a:pt x="456888" y="861794"/>
                </a:cubicBezTo>
                <a:cubicBezTo>
                  <a:pt x="469887" y="861886"/>
                  <a:pt x="482872" y="863302"/>
                  <a:pt x="495873" y="863963"/>
                </a:cubicBezTo>
                <a:cubicBezTo>
                  <a:pt x="500358" y="864191"/>
                  <a:pt x="505108" y="864773"/>
                  <a:pt x="509286" y="863595"/>
                </a:cubicBezTo>
                <a:cubicBezTo>
                  <a:pt x="512346" y="862732"/>
                  <a:pt x="515714" y="859703"/>
                  <a:pt x="516956" y="856791"/>
                </a:cubicBezTo>
                <a:cubicBezTo>
                  <a:pt x="517783" y="854851"/>
                  <a:pt x="515475" y="851192"/>
                  <a:pt x="513920" y="848709"/>
                </a:cubicBezTo>
                <a:cubicBezTo>
                  <a:pt x="511791" y="845308"/>
                  <a:pt x="508393" y="842606"/>
                  <a:pt x="506683" y="839054"/>
                </a:cubicBezTo>
                <a:cubicBezTo>
                  <a:pt x="500331" y="825864"/>
                  <a:pt x="493224" y="812855"/>
                  <a:pt x="488629" y="799037"/>
                </a:cubicBezTo>
                <a:cubicBezTo>
                  <a:pt x="477322" y="765031"/>
                  <a:pt x="466537" y="730814"/>
                  <a:pt x="456922" y="696297"/>
                </a:cubicBezTo>
                <a:cubicBezTo>
                  <a:pt x="449953" y="671276"/>
                  <a:pt x="443477" y="646020"/>
                  <a:pt x="441346" y="619885"/>
                </a:cubicBezTo>
                <a:cubicBezTo>
                  <a:pt x="440327" y="607371"/>
                  <a:pt x="437466" y="595018"/>
                  <a:pt x="435963" y="582529"/>
                </a:cubicBezTo>
                <a:cubicBezTo>
                  <a:pt x="433539" y="562380"/>
                  <a:pt x="431154" y="542212"/>
                  <a:pt x="429497" y="521990"/>
                </a:cubicBezTo>
                <a:cubicBezTo>
                  <a:pt x="428135" y="505363"/>
                  <a:pt x="428437" y="488593"/>
                  <a:pt x="426887" y="471989"/>
                </a:cubicBezTo>
                <a:cubicBezTo>
                  <a:pt x="425874" y="461140"/>
                  <a:pt x="424983" y="461120"/>
                  <a:pt x="413744" y="461077"/>
                </a:cubicBezTo>
                <a:cubicBezTo>
                  <a:pt x="393687" y="461000"/>
                  <a:pt x="373630" y="461011"/>
                  <a:pt x="353573" y="461120"/>
                </a:cubicBezTo>
                <a:cubicBezTo>
                  <a:pt x="350472" y="461137"/>
                  <a:pt x="347374" y="461869"/>
                  <a:pt x="344160" y="462286"/>
                </a:cubicBezTo>
                <a:cubicBezTo>
                  <a:pt x="343828" y="465198"/>
                  <a:pt x="343406" y="467195"/>
                  <a:pt x="343404" y="469192"/>
                </a:cubicBezTo>
                <a:cubicBezTo>
                  <a:pt x="343360" y="504394"/>
                  <a:pt x="343267" y="539596"/>
                  <a:pt x="343469" y="574797"/>
                </a:cubicBezTo>
                <a:cubicBezTo>
                  <a:pt x="343501" y="580426"/>
                  <a:pt x="345652" y="586065"/>
                  <a:pt x="345522" y="591669"/>
                </a:cubicBezTo>
                <a:cubicBezTo>
                  <a:pt x="345214" y="605082"/>
                  <a:pt x="344131" y="618478"/>
                  <a:pt x="343360" y="634332"/>
                </a:cubicBezTo>
                <a:moveTo>
                  <a:pt x="416946" y="385943"/>
                </a:moveTo>
                <a:cubicBezTo>
                  <a:pt x="411661" y="386365"/>
                  <a:pt x="406384" y="387006"/>
                  <a:pt x="401091" y="387162"/>
                </a:cubicBezTo>
                <a:cubicBezTo>
                  <a:pt x="390470" y="387477"/>
                  <a:pt x="379841" y="387447"/>
                  <a:pt x="369218" y="387708"/>
                </a:cubicBezTo>
                <a:cubicBezTo>
                  <a:pt x="361167" y="387906"/>
                  <a:pt x="354429" y="391368"/>
                  <a:pt x="351833" y="398991"/>
                </a:cubicBezTo>
                <a:cubicBezTo>
                  <a:pt x="348989" y="407342"/>
                  <a:pt x="347050" y="416214"/>
                  <a:pt x="349778" y="426021"/>
                </a:cubicBezTo>
                <a:cubicBezTo>
                  <a:pt x="353876" y="426204"/>
                  <a:pt x="357857" y="426517"/>
                  <a:pt x="361839" y="426538"/>
                </a:cubicBezTo>
                <a:cubicBezTo>
                  <a:pt x="392900" y="426701"/>
                  <a:pt x="423961" y="426826"/>
                  <a:pt x="455022" y="426922"/>
                </a:cubicBezTo>
                <a:cubicBezTo>
                  <a:pt x="464013" y="426950"/>
                  <a:pt x="473106" y="427654"/>
                  <a:pt x="481958" y="426527"/>
                </a:cubicBezTo>
                <a:cubicBezTo>
                  <a:pt x="488144" y="425740"/>
                  <a:pt x="494821" y="423501"/>
                  <a:pt x="499817" y="419888"/>
                </a:cubicBezTo>
                <a:cubicBezTo>
                  <a:pt x="507869" y="414066"/>
                  <a:pt x="507286" y="406755"/>
                  <a:pt x="499439" y="400719"/>
                </a:cubicBezTo>
                <a:cubicBezTo>
                  <a:pt x="490179" y="393597"/>
                  <a:pt x="479486" y="388885"/>
                  <a:pt x="468062" y="387775"/>
                </a:cubicBezTo>
                <a:cubicBezTo>
                  <a:pt x="451873" y="386202"/>
                  <a:pt x="435520" y="386321"/>
                  <a:pt x="416946" y="385943"/>
                </a:cubicBezTo>
                <a:moveTo>
                  <a:pt x="636802" y="1190940"/>
                </a:moveTo>
                <a:cubicBezTo>
                  <a:pt x="646709" y="1188723"/>
                  <a:pt x="656705" y="1186841"/>
                  <a:pt x="666492" y="1184186"/>
                </a:cubicBezTo>
                <a:cubicBezTo>
                  <a:pt x="674710" y="1181958"/>
                  <a:pt x="676989" y="1178509"/>
                  <a:pt x="674465" y="1170880"/>
                </a:cubicBezTo>
                <a:cubicBezTo>
                  <a:pt x="671144" y="1160843"/>
                  <a:pt x="667026" y="1151009"/>
                  <a:pt x="662462" y="1141464"/>
                </a:cubicBezTo>
                <a:cubicBezTo>
                  <a:pt x="659273" y="1134795"/>
                  <a:pt x="653671" y="1130908"/>
                  <a:pt x="645564" y="1131937"/>
                </a:cubicBezTo>
                <a:cubicBezTo>
                  <a:pt x="639532" y="1132703"/>
                  <a:pt x="633423" y="1132867"/>
                  <a:pt x="627387" y="1133618"/>
                </a:cubicBezTo>
                <a:cubicBezTo>
                  <a:pt x="612888" y="1135421"/>
                  <a:pt x="598449" y="1137770"/>
                  <a:pt x="583917" y="1139222"/>
                </a:cubicBezTo>
                <a:cubicBezTo>
                  <a:pt x="570571" y="1140557"/>
                  <a:pt x="557130" y="1140930"/>
                  <a:pt x="543741" y="1141869"/>
                </a:cubicBezTo>
                <a:cubicBezTo>
                  <a:pt x="533202" y="1142610"/>
                  <a:pt x="522682" y="1143623"/>
                  <a:pt x="512146" y="1144418"/>
                </a:cubicBezTo>
                <a:cubicBezTo>
                  <a:pt x="490671" y="1146038"/>
                  <a:pt x="469214" y="1148450"/>
                  <a:pt x="447711" y="1148973"/>
                </a:cubicBezTo>
                <a:cubicBezTo>
                  <a:pt x="415817" y="1149749"/>
                  <a:pt x="383891" y="1149136"/>
                  <a:pt x="351979" y="1149200"/>
                </a:cubicBezTo>
                <a:cubicBezTo>
                  <a:pt x="347698" y="1149209"/>
                  <a:pt x="343419" y="1149717"/>
                  <a:pt x="338443" y="1150040"/>
                </a:cubicBezTo>
                <a:cubicBezTo>
                  <a:pt x="338443" y="1164651"/>
                  <a:pt x="338413" y="1177715"/>
                  <a:pt x="338451" y="1190780"/>
                </a:cubicBezTo>
                <a:cubicBezTo>
                  <a:pt x="338490" y="1204031"/>
                  <a:pt x="338512" y="1204062"/>
                  <a:pt x="351082" y="1207015"/>
                </a:cubicBezTo>
                <a:cubicBezTo>
                  <a:pt x="353445" y="1207570"/>
                  <a:pt x="355895" y="1208128"/>
                  <a:pt x="358298" y="1208094"/>
                </a:cubicBezTo>
                <a:cubicBezTo>
                  <a:pt x="412608" y="1207329"/>
                  <a:pt x="466919" y="1206484"/>
                  <a:pt x="521229" y="1205646"/>
                </a:cubicBezTo>
                <a:cubicBezTo>
                  <a:pt x="522045" y="1205634"/>
                  <a:pt x="522865" y="1205591"/>
                  <a:pt x="523675" y="1205490"/>
                </a:cubicBezTo>
                <a:cubicBezTo>
                  <a:pt x="542593" y="1203123"/>
                  <a:pt x="561519" y="1200820"/>
                  <a:pt x="580423" y="1198350"/>
                </a:cubicBezTo>
                <a:cubicBezTo>
                  <a:pt x="598523" y="1195985"/>
                  <a:pt x="616599" y="1193446"/>
                  <a:pt x="636802" y="1190940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2" name="Free-form: Shape 21">
            <a:extLst>
              <a:ext uri="{FF2B5EF4-FFF2-40B4-BE49-F238E27FC236}">
                <a16:creationId xmlns:a16="http://schemas.microsoft.com/office/drawing/2014/main" id="{C8404F7F-35C4-E6CE-C2DC-3B08D4138ED2}"/>
              </a:ext>
            </a:extLst>
          </p:cNvPr>
          <p:cNvSpPr/>
          <p:nvPr/>
        </p:nvSpPr>
        <p:spPr>
          <a:xfrm>
            <a:off x="1774312" y="-957989"/>
            <a:ext cx="17183" cy="1817"/>
          </a:xfrm>
          <a:custGeom>
            <a:avLst/>
            <a:gdLst>
              <a:gd name="csX0" fmla="*/ 0 w 27674"/>
              <a:gd name="csY0" fmla="*/ 2915 h 2925"/>
              <a:gd name="csX1" fmla="*/ 27675 w 27674"/>
              <a:gd name="csY1" fmla="*/ 1550 h 2925"/>
              <a:gd name="csX2" fmla="*/ 0 w 27674"/>
              <a:gd name="csY2" fmla="*/ 2915 h 292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27674" h="2925">
                <a:moveTo>
                  <a:pt x="0" y="2915"/>
                </a:moveTo>
                <a:cubicBezTo>
                  <a:pt x="8211" y="-1939"/>
                  <a:pt x="17625" y="498"/>
                  <a:pt x="27675" y="1550"/>
                </a:cubicBezTo>
                <a:cubicBezTo>
                  <a:pt x="19225" y="2593"/>
                  <a:pt x="10029" y="2999"/>
                  <a:pt x="0" y="2915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3" name="Free-form: Shape 22">
            <a:extLst>
              <a:ext uri="{FF2B5EF4-FFF2-40B4-BE49-F238E27FC236}">
                <a16:creationId xmlns:a16="http://schemas.microsoft.com/office/drawing/2014/main" id="{FEB89DC0-5C87-6ECE-C7C1-CB301400AB65}"/>
              </a:ext>
            </a:extLst>
          </p:cNvPr>
          <p:cNvSpPr/>
          <p:nvPr/>
        </p:nvSpPr>
        <p:spPr>
          <a:xfrm>
            <a:off x="1727008" y="-956965"/>
            <a:ext cx="11179" cy="700"/>
          </a:xfrm>
          <a:custGeom>
            <a:avLst/>
            <a:gdLst>
              <a:gd name="csX0" fmla="*/ 0 w 18003"/>
              <a:gd name="csY0" fmla="*/ 1050 h 1128"/>
              <a:gd name="csX1" fmla="*/ 18004 w 18003"/>
              <a:gd name="csY1" fmla="*/ 93 h 1128"/>
              <a:gd name="csX2" fmla="*/ 0 w 18003"/>
              <a:gd name="csY2" fmla="*/ 1050 h 112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8003" h="1128">
                <a:moveTo>
                  <a:pt x="0" y="1050"/>
                </a:moveTo>
                <a:cubicBezTo>
                  <a:pt x="5276" y="182"/>
                  <a:pt x="11306" y="-189"/>
                  <a:pt x="18004" y="93"/>
                </a:cubicBezTo>
                <a:cubicBezTo>
                  <a:pt x="12699" y="1013"/>
                  <a:pt x="6726" y="1280"/>
                  <a:pt x="0" y="1050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9" name="Free-form: Shape 38">
            <a:extLst>
              <a:ext uri="{FF2B5EF4-FFF2-40B4-BE49-F238E27FC236}">
                <a16:creationId xmlns:a16="http://schemas.microsoft.com/office/drawing/2014/main" id="{694954F8-158C-1C77-EF11-3833260F1CA1}"/>
              </a:ext>
            </a:extLst>
          </p:cNvPr>
          <p:cNvSpPr/>
          <p:nvPr/>
        </p:nvSpPr>
        <p:spPr>
          <a:xfrm>
            <a:off x="1807975" y="-1523765"/>
            <a:ext cx="5257" cy="4867"/>
          </a:xfrm>
          <a:custGeom>
            <a:avLst/>
            <a:gdLst>
              <a:gd name="csX0" fmla="*/ 473 w 8466"/>
              <a:gd name="csY0" fmla="*/ 7839 h 7838"/>
              <a:gd name="csX1" fmla="*/ 8466 w 8466"/>
              <a:gd name="csY1" fmla="*/ 61 h 7838"/>
              <a:gd name="csX2" fmla="*/ 473 w 8466"/>
              <a:gd name="csY2" fmla="*/ 7839 h 783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66" h="7838">
                <a:moveTo>
                  <a:pt x="473" y="7839"/>
                </a:moveTo>
                <a:cubicBezTo>
                  <a:pt x="-1298" y="1550"/>
                  <a:pt x="2020" y="-386"/>
                  <a:pt x="8466" y="61"/>
                </a:cubicBezTo>
                <a:cubicBezTo>
                  <a:pt x="6730" y="2845"/>
                  <a:pt x="4026" y="5401"/>
                  <a:pt x="473" y="7839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" name="Free-form: Shape 39">
            <a:extLst>
              <a:ext uri="{FF2B5EF4-FFF2-40B4-BE49-F238E27FC236}">
                <a16:creationId xmlns:a16="http://schemas.microsoft.com/office/drawing/2014/main" id="{CE8A69BF-47F9-06D2-23CE-00AFA4D95E89}"/>
              </a:ext>
            </a:extLst>
          </p:cNvPr>
          <p:cNvSpPr/>
          <p:nvPr/>
        </p:nvSpPr>
        <p:spPr>
          <a:xfrm>
            <a:off x="1671979" y="-958479"/>
            <a:ext cx="5265" cy="618"/>
          </a:xfrm>
          <a:custGeom>
            <a:avLst/>
            <a:gdLst>
              <a:gd name="csX0" fmla="*/ 0 w 8480"/>
              <a:gd name="csY0" fmla="*/ 896 h 996"/>
              <a:gd name="csX1" fmla="*/ 8480 w 8480"/>
              <a:gd name="csY1" fmla="*/ 110 h 996"/>
              <a:gd name="csX2" fmla="*/ 0 w 8480"/>
              <a:gd name="csY2" fmla="*/ 896 h 99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80" h="996">
                <a:moveTo>
                  <a:pt x="0" y="896"/>
                </a:moveTo>
                <a:cubicBezTo>
                  <a:pt x="2285" y="115"/>
                  <a:pt x="5130" y="-182"/>
                  <a:pt x="8480" y="110"/>
                </a:cubicBezTo>
                <a:cubicBezTo>
                  <a:pt x="6177" y="927"/>
                  <a:pt x="3368" y="1153"/>
                  <a:pt x="0" y="896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1" name="Free-form: Shape 40">
            <a:extLst>
              <a:ext uri="{FF2B5EF4-FFF2-40B4-BE49-F238E27FC236}">
                <a16:creationId xmlns:a16="http://schemas.microsoft.com/office/drawing/2014/main" id="{1DF69DE1-48E1-3FEC-6B9F-AABC54F653BF}"/>
              </a:ext>
            </a:extLst>
          </p:cNvPr>
          <p:cNvSpPr/>
          <p:nvPr/>
        </p:nvSpPr>
        <p:spPr>
          <a:xfrm>
            <a:off x="1958740" y="-985008"/>
            <a:ext cx="763" cy="4134"/>
          </a:xfrm>
          <a:custGeom>
            <a:avLst/>
            <a:gdLst>
              <a:gd name="csX0" fmla="*/ 132 w 1229"/>
              <a:gd name="csY0" fmla="*/ 6659 h 6658"/>
              <a:gd name="csX1" fmla="*/ 1107 w 1229"/>
              <a:gd name="csY1" fmla="*/ 0 h 6658"/>
              <a:gd name="csX2" fmla="*/ 132 w 1229"/>
              <a:gd name="csY2" fmla="*/ 6659 h 665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229" h="6658">
                <a:moveTo>
                  <a:pt x="132" y="6659"/>
                </a:moveTo>
                <a:cubicBezTo>
                  <a:pt x="-219" y="4616"/>
                  <a:pt x="139" y="2560"/>
                  <a:pt x="1107" y="0"/>
                </a:cubicBezTo>
                <a:cubicBezTo>
                  <a:pt x="1425" y="1879"/>
                  <a:pt x="1133" y="4263"/>
                  <a:pt x="132" y="6659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2" name="Free-form: Shape 41">
            <a:extLst>
              <a:ext uri="{FF2B5EF4-FFF2-40B4-BE49-F238E27FC236}">
                <a16:creationId xmlns:a16="http://schemas.microsoft.com/office/drawing/2014/main" id="{EFF27BC6-6069-810A-B646-C11920E84222}"/>
              </a:ext>
            </a:extLst>
          </p:cNvPr>
          <p:cNvSpPr/>
          <p:nvPr/>
        </p:nvSpPr>
        <p:spPr>
          <a:xfrm>
            <a:off x="1891544" y="-964731"/>
            <a:ext cx="2352" cy="847"/>
          </a:xfrm>
          <a:custGeom>
            <a:avLst/>
            <a:gdLst>
              <a:gd name="csX0" fmla="*/ 0 w 3788"/>
              <a:gd name="csY0" fmla="*/ 1364 h 1364"/>
              <a:gd name="csX1" fmla="*/ 3788 w 3788"/>
              <a:gd name="csY1" fmla="*/ 0 h 1364"/>
              <a:gd name="csX2" fmla="*/ 0 w 3788"/>
              <a:gd name="csY2" fmla="*/ 1364 h 136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788" h="1364">
                <a:moveTo>
                  <a:pt x="0" y="1364"/>
                </a:moveTo>
                <a:cubicBezTo>
                  <a:pt x="856" y="517"/>
                  <a:pt x="2126" y="39"/>
                  <a:pt x="3788" y="0"/>
                </a:cubicBezTo>
                <a:cubicBezTo>
                  <a:pt x="2925" y="870"/>
                  <a:pt x="1670" y="1303"/>
                  <a:pt x="0" y="1364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3" name="Free-form: Shape 42">
            <a:extLst>
              <a:ext uri="{FF2B5EF4-FFF2-40B4-BE49-F238E27FC236}">
                <a16:creationId xmlns:a16="http://schemas.microsoft.com/office/drawing/2014/main" id="{67751282-6A32-D907-FE76-34ACC1DCFF40}"/>
              </a:ext>
            </a:extLst>
          </p:cNvPr>
          <p:cNvSpPr/>
          <p:nvPr/>
        </p:nvSpPr>
        <p:spPr>
          <a:xfrm>
            <a:off x="1619961" y="-961457"/>
            <a:ext cx="2478" cy="515"/>
          </a:xfrm>
          <a:custGeom>
            <a:avLst/>
            <a:gdLst>
              <a:gd name="csX0" fmla="*/ 0 w 3990"/>
              <a:gd name="csY0" fmla="*/ 719 h 829"/>
              <a:gd name="csX1" fmla="*/ 3990 w 3990"/>
              <a:gd name="csY1" fmla="*/ 119 h 829"/>
              <a:gd name="csX2" fmla="*/ 0 w 3990"/>
              <a:gd name="csY2" fmla="*/ 719 h 82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990" h="829">
                <a:moveTo>
                  <a:pt x="0" y="719"/>
                </a:moveTo>
                <a:cubicBezTo>
                  <a:pt x="982" y="66"/>
                  <a:pt x="2323" y="-163"/>
                  <a:pt x="3990" y="119"/>
                </a:cubicBezTo>
                <a:cubicBezTo>
                  <a:pt x="2998" y="800"/>
                  <a:pt x="1678" y="972"/>
                  <a:pt x="0" y="719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4" name="Free-form: Shape 43">
            <a:extLst>
              <a:ext uri="{FF2B5EF4-FFF2-40B4-BE49-F238E27FC236}">
                <a16:creationId xmlns:a16="http://schemas.microsoft.com/office/drawing/2014/main" id="{6B43A99B-A12F-C13C-8454-293C70BD375C}"/>
              </a:ext>
            </a:extLst>
          </p:cNvPr>
          <p:cNvSpPr/>
          <p:nvPr/>
        </p:nvSpPr>
        <p:spPr>
          <a:xfrm>
            <a:off x="1830509" y="-958501"/>
            <a:ext cx="2417" cy="705"/>
          </a:xfrm>
          <a:custGeom>
            <a:avLst/>
            <a:gdLst>
              <a:gd name="csX0" fmla="*/ 0 w 3893"/>
              <a:gd name="csY0" fmla="*/ 1133 h 1135"/>
              <a:gd name="csX1" fmla="*/ 3893 w 3893"/>
              <a:gd name="csY1" fmla="*/ 7 h 1135"/>
              <a:gd name="csX2" fmla="*/ 0 w 3893"/>
              <a:gd name="csY2" fmla="*/ 1133 h 113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893" h="1135">
                <a:moveTo>
                  <a:pt x="0" y="1133"/>
                </a:moveTo>
                <a:cubicBezTo>
                  <a:pt x="902" y="349"/>
                  <a:pt x="2213" y="-60"/>
                  <a:pt x="3893" y="7"/>
                </a:cubicBezTo>
                <a:cubicBezTo>
                  <a:pt x="2978" y="825"/>
                  <a:pt x="1693" y="1167"/>
                  <a:pt x="0" y="1133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5" name="Free-form: Shape 44">
            <a:extLst>
              <a:ext uri="{FF2B5EF4-FFF2-40B4-BE49-F238E27FC236}">
                <a16:creationId xmlns:a16="http://schemas.microsoft.com/office/drawing/2014/main" id="{45C9C588-012A-732C-0ED6-EDB85BF65009}"/>
              </a:ext>
            </a:extLst>
          </p:cNvPr>
          <p:cNvSpPr/>
          <p:nvPr/>
        </p:nvSpPr>
        <p:spPr>
          <a:xfrm>
            <a:off x="1730913" y="-1443165"/>
            <a:ext cx="112588" cy="250407"/>
          </a:xfrm>
          <a:custGeom>
            <a:avLst/>
            <a:gdLst>
              <a:gd name="csX0" fmla="*/ 7554 w 181323"/>
              <a:gd name="csY0" fmla="*/ 172079 h 403282"/>
              <a:gd name="csX1" fmla="*/ 9716 w 181323"/>
              <a:gd name="csY1" fmla="*/ 130641 h 403282"/>
              <a:gd name="csX2" fmla="*/ 7663 w 181323"/>
              <a:gd name="csY2" fmla="*/ 113770 h 403282"/>
              <a:gd name="csX3" fmla="*/ 7598 w 181323"/>
              <a:gd name="csY3" fmla="*/ 8165 h 403282"/>
              <a:gd name="csX4" fmla="*/ 8353 w 181323"/>
              <a:gd name="csY4" fmla="*/ 1259 h 403282"/>
              <a:gd name="csX5" fmla="*/ 17767 w 181323"/>
              <a:gd name="csY5" fmla="*/ 93 h 403282"/>
              <a:gd name="csX6" fmla="*/ 77938 w 181323"/>
              <a:gd name="csY6" fmla="*/ 50 h 403282"/>
              <a:gd name="csX7" fmla="*/ 91081 w 181323"/>
              <a:gd name="csY7" fmla="*/ 10962 h 403282"/>
              <a:gd name="csX8" fmla="*/ 93691 w 181323"/>
              <a:gd name="csY8" fmla="*/ 60963 h 403282"/>
              <a:gd name="csX9" fmla="*/ 100157 w 181323"/>
              <a:gd name="csY9" fmla="*/ 121501 h 403282"/>
              <a:gd name="csX10" fmla="*/ 105540 w 181323"/>
              <a:gd name="csY10" fmla="*/ 158857 h 403282"/>
              <a:gd name="csX11" fmla="*/ 121116 w 181323"/>
              <a:gd name="csY11" fmla="*/ 235269 h 403282"/>
              <a:gd name="csX12" fmla="*/ 152823 w 181323"/>
              <a:gd name="csY12" fmla="*/ 338010 h 403282"/>
              <a:gd name="csX13" fmla="*/ 170877 w 181323"/>
              <a:gd name="csY13" fmla="*/ 378027 h 403282"/>
              <a:gd name="csX14" fmla="*/ 178114 w 181323"/>
              <a:gd name="csY14" fmla="*/ 387682 h 403282"/>
              <a:gd name="csX15" fmla="*/ 181150 w 181323"/>
              <a:gd name="csY15" fmla="*/ 395764 h 403282"/>
              <a:gd name="csX16" fmla="*/ 173480 w 181323"/>
              <a:gd name="csY16" fmla="*/ 402568 h 403282"/>
              <a:gd name="csX17" fmla="*/ 160067 w 181323"/>
              <a:gd name="csY17" fmla="*/ 402936 h 403282"/>
              <a:gd name="csX18" fmla="*/ 121081 w 181323"/>
              <a:gd name="csY18" fmla="*/ 400766 h 403282"/>
              <a:gd name="csX19" fmla="*/ 70912 w 181323"/>
              <a:gd name="csY19" fmla="*/ 401955 h 403282"/>
              <a:gd name="csX20" fmla="*/ 7630 w 181323"/>
              <a:gd name="csY20" fmla="*/ 402999 h 403282"/>
              <a:gd name="csX21" fmla="*/ 710 w 181323"/>
              <a:gd name="csY21" fmla="*/ 401995 h 403282"/>
              <a:gd name="csX22" fmla="*/ 1308 w 181323"/>
              <a:gd name="csY22" fmla="*/ 356708 h 403282"/>
              <a:gd name="csX23" fmla="*/ 2554 w 181323"/>
              <a:gd name="csY23" fmla="*/ 349510 h 403282"/>
              <a:gd name="csX24" fmla="*/ 5071 w 181323"/>
              <a:gd name="csY24" fmla="*/ 271231 h 403282"/>
              <a:gd name="csX25" fmla="*/ 7554 w 181323"/>
              <a:gd name="csY25" fmla="*/ 172079 h 403282"/>
              <a:gd name="csX26" fmla="*/ 98286 w 181323"/>
              <a:gd name="csY26" fmla="*/ 163566 h 403282"/>
              <a:gd name="csX27" fmla="*/ 83497 w 181323"/>
              <a:gd name="csY27" fmla="*/ 8289 h 403282"/>
              <a:gd name="csX28" fmla="*/ 15161 w 181323"/>
              <a:gd name="csY28" fmla="*/ 9148 h 403282"/>
              <a:gd name="csX29" fmla="*/ 15058 w 181323"/>
              <a:gd name="csY29" fmla="*/ 137939 h 403282"/>
              <a:gd name="csX30" fmla="*/ 12252 w 181323"/>
              <a:gd name="csY30" fmla="*/ 266862 h 403282"/>
              <a:gd name="csX31" fmla="*/ 7068 w 181323"/>
              <a:gd name="csY31" fmla="*/ 395996 h 403282"/>
              <a:gd name="csX32" fmla="*/ 171647 w 181323"/>
              <a:gd name="csY32" fmla="*/ 395996 h 403282"/>
              <a:gd name="csX33" fmla="*/ 119950 w 181323"/>
              <a:gd name="csY33" fmla="*/ 259496 h 403282"/>
              <a:gd name="csX34" fmla="*/ 98286 w 181323"/>
              <a:gd name="csY34" fmla="*/ 163566 h 40328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</a:cxnLst>
            <a:rect l="l" t="t" r="r" b="b"/>
            <a:pathLst>
              <a:path w="181323" h="403282">
                <a:moveTo>
                  <a:pt x="7554" y="172079"/>
                </a:moveTo>
                <a:cubicBezTo>
                  <a:pt x="8325" y="157451"/>
                  <a:pt x="9408" y="144055"/>
                  <a:pt x="9716" y="130641"/>
                </a:cubicBezTo>
                <a:cubicBezTo>
                  <a:pt x="9846" y="125037"/>
                  <a:pt x="7695" y="119399"/>
                  <a:pt x="7663" y="113770"/>
                </a:cubicBezTo>
                <a:cubicBezTo>
                  <a:pt x="7461" y="78569"/>
                  <a:pt x="7554" y="43367"/>
                  <a:pt x="7598" y="8165"/>
                </a:cubicBezTo>
                <a:cubicBezTo>
                  <a:pt x="7600" y="6167"/>
                  <a:pt x="8022" y="4170"/>
                  <a:pt x="8353" y="1259"/>
                </a:cubicBezTo>
                <a:cubicBezTo>
                  <a:pt x="11568" y="842"/>
                  <a:pt x="14666" y="109"/>
                  <a:pt x="17767" y="93"/>
                </a:cubicBezTo>
                <a:cubicBezTo>
                  <a:pt x="37824" y="-17"/>
                  <a:pt x="57881" y="-27"/>
                  <a:pt x="77938" y="50"/>
                </a:cubicBezTo>
                <a:cubicBezTo>
                  <a:pt x="89177" y="93"/>
                  <a:pt x="90068" y="113"/>
                  <a:pt x="91081" y="10962"/>
                </a:cubicBezTo>
                <a:cubicBezTo>
                  <a:pt x="92631" y="27565"/>
                  <a:pt x="92329" y="44335"/>
                  <a:pt x="93691" y="60963"/>
                </a:cubicBezTo>
                <a:cubicBezTo>
                  <a:pt x="95348" y="81184"/>
                  <a:pt x="97732" y="101353"/>
                  <a:pt x="100157" y="121501"/>
                </a:cubicBezTo>
                <a:cubicBezTo>
                  <a:pt x="101660" y="133990"/>
                  <a:pt x="104521" y="146343"/>
                  <a:pt x="105540" y="158857"/>
                </a:cubicBezTo>
                <a:cubicBezTo>
                  <a:pt x="107671" y="184993"/>
                  <a:pt x="114147" y="210249"/>
                  <a:pt x="121116" y="235269"/>
                </a:cubicBezTo>
                <a:cubicBezTo>
                  <a:pt x="130731" y="269786"/>
                  <a:pt x="141516" y="304004"/>
                  <a:pt x="152823" y="338010"/>
                </a:cubicBezTo>
                <a:cubicBezTo>
                  <a:pt x="157418" y="351828"/>
                  <a:pt x="164524" y="364837"/>
                  <a:pt x="170877" y="378027"/>
                </a:cubicBezTo>
                <a:cubicBezTo>
                  <a:pt x="172587" y="381579"/>
                  <a:pt x="175985" y="384280"/>
                  <a:pt x="178114" y="387682"/>
                </a:cubicBezTo>
                <a:cubicBezTo>
                  <a:pt x="179669" y="390165"/>
                  <a:pt x="181977" y="393824"/>
                  <a:pt x="181150" y="395764"/>
                </a:cubicBezTo>
                <a:cubicBezTo>
                  <a:pt x="179907" y="398676"/>
                  <a:pt x="176540" y="401705"/>
                  <a:pt x="173480" y="402568"/>
                </a:cubicBezTo>
                <a:cubicBezTo>
                  <a:pt x="169302" y="403746"/>
                  <a:pt x="164551" y="403164"/>
                  <a:pt x="160067" y="402936"/>
                </a:cubicBezTo>
                <a:cubicBezTo>
                  <a:pt x="147066" y="402274"/>
                  <a:pt x="134081" y="400859"/>
                  <a:pt x="121081" y="400766"/>
                </a:cubicBezTo>
                <a:cubicBezTo>
                  <a:pt x="104362" y="400647"/>
                  <a:pt x="87638" y="401607"/>
                  <a:pt x="70912" y="401955"/>
                </a:cubicBezTo>
                <a:cubicBezTo>
                  <a:pt x="49820" y="402394"/>
                  <a:pt x="28725" y="402712"/>
                  <a:pt x="7630" y="402999"/>
                </a:cubicBezTo>
                <a:cubicBezTo>
                  <a:pt x="5684" y="403026"/>
                  <a:pt x="3731" y="402452"/>
                  <a:pt x="710" y="401995"/>
                </a:cubicBezTo>
                <a:cubicBezTo>
                  <a:pt x="219" y="386620"/>
                  <a:pt x="-871" y="371682"/>
                  <a:pt x="1308" y="356708"/>
                </a:cubicBezTo>
                <a:cubicBezTo>
                  <a:pt x="1659" y="354298"/>
                  <a:pt x="2471" y="351920"/>
                  <a:pt x="2554" y="349510"/>
                </a:cubicBezTo>
                <a:cubicBezTo>
                  <a:pt x="3459" y="323419"/>
                  <a:pt x="4345" y="297328"/>
                  <a:pt x="5071" y="271231"/>
                </a:cubicBezTo>
                <a:cubicBezTo>
                  <a:pt x="5979" y="238591"/>
                  <a:pt x="6733" y="205947"/>
                  <a:pt x="7554" y="172079"/>
                </a:cubicBezTo>
                <a:moveTo>
                  <a:pt x="98286" y="163566"/>
                </a:moveTo>
                <a:cubicBezTo>
                  <a:pt x="89288" y="112116"/>
                  <a:pt x="86355" y="60033"/>
                  <a:pt x="83497" y="8289"/>
                </a:cubicBezTo>
                <a:cubicBezTo>
                  <a:pt x="65606" y="5845"/>
                  <a:pt x="24110" y="6470"/>
                  <a:pt x="15161" y="9148"/>
                </a:cubicBezTo>
                <a:cubicBezTo>
                  <a:pt x="15161" y="52045"/>
                  <a:pt x="15527" y="94996"/>
                  <a:pt x="15058" y="137939"/>
                </a:cubicBezTo>
                <a:cubicBezTo>
                  <a:pt x="14587" y="180919"/>
                  <a:pt x="13597" y="223900"/>
                  <a:pt x="12252" y="266862"/>
                </a:cubicBezTo>
                <a:cubicBezTo>
                  <a:pt x="10912" y="309638"/>
                  <a:pt x="8849" y="352391"/>
                  <a:pt x="7068" y="395996"/>
                </a:cubicBezTo>
                <a:cubicBezTo>
                  <a:pt x="62774" y="395996"/>
                  <a:pt x="116821" y="395996"/>
                  <a:pt x="171647" y="395996"/>
                </a:cubicBezTo>
                <a:cubicBezTo>
                  <a:pt x="148550" y="352016"/>
                  <a:pt x="132566" y="306307"/>
                  <a:pt x="119950" y="259496"/>
                </a:cubicBezTo>
                <a:cubicBezTo>
                  <a:pt x="111608" y="228543"/>
                  <a:pt x="105493" y="196989"/>
                  <a:pt x="98286" y="163566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6" name="Free-form: Shape 45">
            <a:extLst>
              <a:ext uri="{FF2B5EF4-FFF2-40B4-BE49-F238E27FC236}">
                <a16:creationId xmlns:a16="http://schemas.microsoft.com/office/drawing/2014/main" id="{A9398F77-AF78-D4AC-8C66-928E0424143E}"/>
              </a:ext>
            </a:extLst>
          </p:cNvPr>
          <p:cNvSpPr/>
          <p:nvPr/>
        </p:nvSpPr>
        <p:spPr>
          <a:xfrm>
            <a:off x="1732544" y="-1026684"/>
            <a:ext cx="209255" cy="47389"/>
          </a:xfrm>
          <a:custGeom>
            <a:avLst/>
            <a:gdLst>
              <a:gd name="csX0" fmla="*/ 297312 w 337008"/>
              <a:gd name="csY0" fmla="*/ 59188 h 76321"/>
              <a:gd name="csX1" fmla="*/ 241991 w 337008"/>
              <a:gd name="csY1" fmla="*/ 66577 h 76321"/>
              <a:gd name="csX2" fmla="*/ 185243 w 337008"/>
              <a:gd name="csY2" fmla="*/ 73717 h 76321"/>
              <a:gd name="csX3" fmla="*/ 182797 w 337008"/>
              <a:gd name="csY3" fmla="*/ 73873 h 76321"/>
              <a:gd name="csX4" fmla="*/ 19866 w 337008"/>
              <a:gd name="csY4" fmla="*/ 76320 h 76321"/>
              <a:gd name="csX5" fmla="*/ 12650 w 337008"/>
              <a:gd name="csY5" fmla="*/ 75242 h 76321"/>
              <a:gd name="csX6" fmla="*/ 19 w 337008"/>
              <a:gd name="csY6" fmla="*/ 59006 h 76321"/>
              <a:gd name="csX7" fmla="*/ 11 w 337008"/>
              <a:gd name="csY7" fmla="*/ 18266 h 76321"/>
              <a:gd name="csX8" fmla="*/ 13547 w 337008"/>
              <a:gd name="csY8" fmla="*/ 17427 h 76321"/>
              <a:gd name="csX9" fmla="*/ 109279 w 337008"/>
              <a:gd name="csY9" fmla="*/ 17200 h 76321"/>
              <a:gd name="csX10" fmla="*/ 173714 w 337008"/>
              <a:gd name="csY10" fmla="*/ 12645 h 76321"/>
              <a:gd name="csX11" fmla="*/ 205309 w 337008"/>
              <a:gd name="csY11" fmla="*/ 10096 h 76321"/>
              <a:gd name="csX12" fmla="*/ 245485 w 337008"/>
              <a:gd name="csY12" fmla="*/ 7449 h 76321"/>
              <a:gd name="csX13" fmla="*/ 288955 w 337008"/>
              <a:gd name="csY13" fmla="*/ 1844 h 76321"/>
              <a:gd name="csX14" fmla="*/ 307132 w 337008"/>
              <a:gd name="csY14" fmla="*/ 164 h 76321"/>
              <a:gd name="csX15" fmla="*/ 324030 w 337008"/>
              <a:gd name="csY15" fmla="*/ 9691 h 76321"/>
              <a:gd name="csX16" fmla="*/ 336033 w 337008"/>
              <a:gd name="csY16" fmla="*/ 39107 h 76321"/>
              <a:gd name="csX17" fmla="*/ 328060 w 337008"/>
              <a:gd name="csY17" fmla="*/ 52413 h 76321"/>
              <a:gd name="csX18" fmla="*/ 297312 w 337008"/>
              <a:gd name="csY18" fmla="*/ 59188 h 76321"/>
              <a:gd name="csX19" fmla="*/ 207688 w 337008"/>
              <a:gd name="csY19" fmla="*/ 64284 h 76321"/>
              <a:gd name="csX20" fmla="*/ 330050 w 337008"/>
              <a:gd name="csY20" fmla="*/ 45606 h 76321"/>
              <a:gd name="csX21" fmla="*/ 317356 w 337008"/>
              <a:gd name="csY21" fmla="*/ 11297 h 76321"/>
              <a:gd name="csX22" fmla="*/ 304170 w 337008"/>
              <a:gd name="csY22" fmla="*/ 5545 h 76321"/>
              <a:gd name="csX23" fmla="*/ 273851 w 337008"/>
              <a:gd name="csY23" fmla="*/ 10014 h 76321"/>
              <a:gd name="csX24" fmla="*/ 163935 w 337008"/>
              <a:gd name="csY24" fmla="*/ 20274 h 76321"/>
              <a:gd name="csX25" fmla="*/ 17973 w 337008"/>
              <a:gd name="csY25" fmla="*/ 22950 h 76321"/>
              <a:gd name="csX26" fmla="*/ 7372 w 337008"/>
              <a:gd name="csY26" fmla="*/ 23601 h 76321"/>
              <a:gd name="csX27" fmla="*/ 7372 w 337008"/>
              <a:gd name="csY27" fmla="*/ 67898 h 76321"/>
              <a:gd name="csX28" fmla="*/ 207688 w 337008"/>
              <a:gd name="csY28" fmla="*/ 64284 h 7632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</a:cxnLst>
            <a:rect l="l" t="t" r="r" b="b"/>
            <a:pathLst>
              <a:path w="337008" h="76321">
                <a:moveTo>
                  <a:pt x="297312" y="59188"/>
                </a:moveTo>
                <a:cubicBezTo>
                  <a:pt x="278167" y="61672"/>
                  <a:pt x="260091" y="64212"/>
                  <a:pt x="241991" y="66577"/>
                </a:cubicBezTo>
                <a:cubicBezTo>
                  <a:pt x="223087" y="69047"/>
                  <a:pt x="204161" y="71350"/>
                  <a:pt x="185243" y="73717"/>
                </a:cubicBezTo>
                <a:cubicBezTo>
                  <a:pt x="184433" y="73818"/>
                  <a:pt x="183613" y="73861"/>
                  <a:pt x="182797" y="73873"/>
                </a:cubicBezTo>
                <a:cubicBezTo>
                  <a:pt x="128487" y="74710"/>
                  <a:pt x="74176" y="75556"/>
                  <a:pt x="19866" y="76320"/>
                </a:cubicBezTo>
                <a:cubicBezTo>
                  <a:pt x="17463" y="76354"/>
                  <a:pt x="15013" y="75797"/>
                  <a:pt x="12650" y="75242"/>
                </a:cubicBezTo>
                <a:cubicBezTo>
                  <a:pt x="80" y="72288"/>
                  <a:pt x="58" y="72258"/>
                  <a:pt x="19" y="59006"/>
                </a:cubicBezTo>
                <a:cubicBezTo>
                  <a:pt x="-19" y="45942"/>
                  <a:pt x="11" y="32877"/>
                  <a:pt x="11" y="18266"/>
                </a:cubicBezTo>
                <a:cubicBezTo>
                  <a:pt x="4987" y="17944"/>
                  <a:pt x="9266" y="17435"/>
                  <a:pt x="13547" y="17427"/>
                </a:cubicBezTo>
                <a:cubicBezTo>
                  <a:pt x="45459" y="17362"/>
                  <a:pt x="77385" y="17975"/>
                  <a:pt x="109279" y="17200"/>
                </a:cubicBezTo>
                <a:cubicBezTo>
                  <a:pt x="130782" y="16677"/>
                  <a:pt x="152239" y="14265"/>
                  <a:pt x="173714" y="12645"/>
                </a:cubicBezTo>
                <a:cubicBezTo>
                  <a:pt x="184250" y="11850"/>
                  <a:pt x="194770" y="10836"/>
                  <a:pt x="205309" y="10096"/>
                </a:cubicBezTo>
                <a:cubicBezTo>
                  <a:pt x="218698" y="9156"/>
                  <a:pt x="232139" y="8783"/>
                  <a:pt x="245485" y="7449"/>
                </a:cubicBezTo>
                <a:cubicBezTo>
                  <a:pt x="260017" y="5997"/>
                  <a:pt x="274456" y="3648"/>
                  <a:pt x="288955" y="1844"/>
                </a:cubicBezTo>
                <a:cubicBezTo>
                  <a:pt x="294991" y="1094"/>
                  <a:pt x="301100" y="930"/>
                  <a:pt x="307132" y="164"/>
                </a:cubicBezTo>
                <a:cubicBezTo>
                  <a:pt x="315239" y="-865"/>
                  <a:pt x="320841" y="3022"/>
                  <a:pt x="324030" y="9691"/>
                </a:cubicBezTo>
                <a:cubicBezTo>
                  <a:pt x="328594" y="19236"/>
                  <a:pt x="332712" y="29070"/>
                  <a:pt x="336033" y="39107"/>
                </a:cubicBezTo>
                <a:cubicBezTo>
                  <a:pt x="338557" y="46735"/>
                  <a:pt x="336278" y="50185"/>
                  <a:pt x="328060" y="52413"/>
                </a:cubicBezTo>
                <a:cubicBezTo>
                  <a:pt x="318273" y="55068"/>
                  <a:pt x="308277" y="56950"/>
                  <a:pt x="297312" y="59188"/>
                </a:cubicBezTo>
                <a:moveTo>
                  <a:pt x="207688" y="64284"/>
                </a:moveTo>
                <a:cubicBezTo>
                  <a:pt x="248681" y="60632"/>
                  <a:pt x="289317" y="54812"/>
                  <a:pt x="330050" y="45606"/>
                </a:cubicBezTo>
                <a:cubicBezTo>
                  <a:pt x="327603" y="32443"/>
                  <a:pt x="323777" y="21532"/>
                  <a:pt x="317356" y="11297"/>
                </a:cubicBezTo>
                <a:cubicBezTo>
                  <a:pt x="313908" y="5803"/>
                  <a:pt x="310145" y="4465"/>
                  <a:pt x="304170" y="5545"/>
                </a:cubicBezTo>
                <a:cubicBezTo>
                  <a:pt x="294121" y="7361"/>
                  <a:pt x="284007" y="9006"/>
                  <a:pt x="273851" y="10014"/>
                </a:cubicBezTo>
                <a:cubicBezTo>
                  <a:pt x="237233" y="13650"/>
                  <a:pt x="200632" y="17661"/>
                  <a:pt x="163935" y="20274"/>
                </a:cubicBezTo>
                <a:cubicBezTo>
                  <a:pt x="115360" y="23734"/>
                  <a:pt x="66701" y="25937"/>
                  <a:pt x="17973" y="22950"/>
                </a:cubicBezTo>
                <a:cubicBezTo>
                  <a:pt x="14492" y="22737"/>
                  <a:pt x="10959" y="23361"/>
                  <a:pt x="7372" y="23601"/>
                </a:cubicBezTo>
                <a:cubicBezTo>
                  <a:pt x="7372" y="38609"/>
                  <a:pt x="7372" y="52361"/>
                  <a:pt x="7372" y="67898"/>
                </a:cubicBezTo>
                <a:cubicBezTo>
                  <a:pt x="74001" y="69806"/>
                  <a:pt x="139746" y="71025"/>
                  <a:pt x="207688" y="64284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7" name="Free-form: Shape 46">
            <a:extLst>
              <a:ext uri="{FF2B5EF4-FFF2-40B4-BE49-F238E27FC236}">
                <a16:creationId xmlns:a16="http://schemas.microsoft.com/office/drawing/2014/main" id="{B983AE40-8B11-8754-41C1-63DB84F6899B}"/>
              </a:ext>
            </a:extLst>
          </p:cNvPr>
          <p:cNvSpPr/>
          <p:nvPr/>
        </p:nvSpPr>
        <p:spPr>
          <a:xfrm>
            <a:off x="1736277" y="-1173138"/>
            <a:ext cx="188426" cy="132688"/>
          </a:xfrm>
          <a:custGeom>
            <a:avLst/>
            <a:gdLst>
              <a:gd name="csX0" fmla="*/ 14160 w 303463"/>
              <a:gd name="csY0" fmla="*/ 7889 h 213695"/>
              <a:gd name="csX1" fmla="*/ 195033 w 303463"/>
              <a:gd name="csY1" fmla="*/ 0 h 213695"/>
              <a:gd name="csX2" fmla="*/ 197208 w 303463"/>
              <a:gd name="csY2" fmla="*/ 5635 h 213695"/>
              <a:gd name="csX3" fmla="*/ 227014 w 303463"/>
              <a:gd name="csY3" fmla="*/ 60660 h 213695"/>
              <a:gd name="csX4" fmla="*/ 265823 w 303463"/>
              <a:gd name="csY4" fmla="*/ 98217 h 213695"/>
              <a:gd name="csX5" fmla="*/ 303210 w 303463"/>
              <a:gd name="csY5" fmla="*/ 180358 h 213695"/>
              <a:gd name="csX6" fmla="*/ 303282 w 303463"/>
              <a:gd name="csY6" fmla="*/ 193964 h 213695"/>
              <a:gd name="csX7" fmla="*/ 4971 w 303463"/>
              <a:gd name="csY7" fmla="*/ 213017 h 213695"/>
              <a:gd name="csX8" fmla="*/ 5093 w 303463"/>
              <a:gd name="csY8" fmla="*/ 173484 h 213695"/>
              <a:gd name="csX9" fmla="*/ 4767 w 303463"/>
              <a:gd name="csY9" fmla="*/ 54607 h 213695"/>
              <a:gd name="csX10" fmla="*/ 0 w 303463"/>
              <a:gd name="csY10" fmla="*/ 7887 h 213695"/>
              <a:gd name="csX11" fmla="*/ 14160 w 303463"/>
              <a:gd name="csY11" fmla="*/ 7889 h 21369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303463" h="213695">
                <a:moveTo>
                  <a:pt x="14160" y="7889"/>
                </a:moveTo>
                <a:cubicBezTo>
                  <a:pt x="75371" y="8627"/>
                  <a:pt x="135292" y="5744"/>
                  <a:pt x="195033" y="0"/>
                </a:cubicBezTo>
                <a:cubicBezTo>
                  <a:pt x="196084" y="2662"/>
                  <a:pt x="196986" y="4099"/>
                  <a:pt x="197208" y="5635"/>
                </a:cubicBezTo>
                <a:cubicBezTo>
                  <a:pt x="200391" y="27650"/>
                  <a:pt x="211307" y="45450"/>
                  <a:pt x="227014" y="60660"/>
                </a:cubicBezTo>
                <a:cubicBezTo>
                  <a:pt x="239947" y="73182"/>
                  <a:pt x="253006" y="85577"/>
                  <a:pt x="265823" y="98217"/>
                </a:cubicBezTo>
                <a:cubicBezTo>
                  <a:pt x="288727" y="120806"/>
                  <a:pt x="299071" y="149215"/>
                  <a:pt x="303210" y="180358"/>
                </a:cubicBezTo>
                <a:cubicBezTo>
                  <a:pt x="303735" y="184317"/>
                  <a:pt x="303282" y="188405"/>
                  <a:pt x="303282" y="193964"/>
                </a:cubicBezTo>
                <a:cubicBezTo>
                  <a:pt x="204065" y="208804"/>
                  <a:pt x="105022" y="216044"/>
                  <a:pt x="4971" y="213017"/>
                </a:cubicBezTo>
                <a:cubicBezTo>
                  <a:pt x="4971" y="199268"/>
                  <a:pt x="4314" y="186332"/>
                  <a:pt x="5093" y="173484"/>
                </a:cubicBezTo>
                <a:cubicBezTo>
                  <a:pt x="7497" y="133835"/>
                  <a:pt x="8211" y="94216"/>
                  <a:pt x="4767" y="54607"/>
                </a:cubicBezTo>
                <a:cubicBezTo>
                  <a:pt x="3464" y="39611"/>
                  <a:pt x="1725" y="24653"/>
                  <a:pt x="0" y="7887"/>
                </a:cubicBezTo>
                <a:cubicBezTo>
                  <a:pt x="4390" y="7887"/>
                  <a:pt x="8696" y="7887"/>
                  <a:pt x="14160" y="7889"/>
                </a:cubicBezTo>
                <a:close/>
              </a:path>
            </a:pathLst>
          </a:custGeom>
          <a:solidFill>
            <a:schemeClr val="bg1"/>
          </a:solidFill>
          <a:ln w="12700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8" name="Free-form: Shape 47">
            <a:extLst>
              <a:ext uri="{FF2B5EF4-FFF2-40B4-BE49-F238E27FC236}">
                <a16:creationId xmlns:a16="http://schemas.microsoft.com/office/drawing/2014/main" id="{0DCB3245-A78D-80B8-8D9F-3F981623977B}"/>
              </a:ext>
            </a:extLst>
          </p:cNvPr>
          <p:cNvSpPr/>
          <p:nvPr/>
        </p:nvSpPr>
        <p:spPr>
          <a:xfrm>
            <a:off x="1702515" y="-1702894"/>
            <a:ext cx="129814" cy="126299"/>
          </a:xfrm>
          <a:custGeom>
            <a:avLst/>
            <a:gdLst>
              <a:gd name="csX0" fmla="*/ 10475 w 209067"/>
              <a:gd name="csY0" fmla="*/ 41718 h 203406"/>
              <a:gd name="csX1" fmla="*/ 100250 w 209067"/>
              <a:gd name="csY1" fmla="*/ 1265 h 203406"/>
              <a:gd name="csX2" fmla="*/ 206681 w 209067"/>
              <a:gd name="csY2" fmla="*/ 98526 h 203406"/>
              <a:gd name="csX3" fmla="*/ 134647 w 209067"/>
              <a:gd name="csY3" fmla="*/ 202431 h 203406"/>
              <a:gd name="csX4" fmla="*/ 40986 w 209067"/>
              <a:gd name="csY4" fmla="*/ 171438 h 203406"/>
              <a:gd name="csX5" fmla="*/ 143 w 209067"/>
              <a:gd name="csY5" fmla="*/ 85158 h 203406"/>
              <a:gd name="csX6" fmla="*/ 10475 w 209067"/>
              <a:gd name="csY6" fmla="*/ 41718 h 20340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</a:cxnLst>
            <a:rect l="l" t="t" r="r" b="b"/>
            <a:pathLst>
              <a:path w="209067" h="203406">
                <a:moveTo>
                  <a:pt x="10475" y="41718"/>
                </a:moveTo>
                <a:cubicBezTo>
                  <a:pt x="31065" y="6021"/>
                  <a:pt x="63171" y="-3865"/>
                  <a:pt x="100250" y="1265"/>
                </a:cubicBezTo>
                <a:cubicBezTo>
                  <a:pt x="157191" y="9144"/>
                  <a:pt x="196951" y="51394"/>
                  <a:pt x="206681" y="98526"/>
                </a:cubicBezTo>
                <a:cubicBezTo>
                  <a:pt x="219504" y="160635"/>
                  <a:pt x="178523" y="196657"/>
                  <a:pt x="134647" y="202431"/>
                </a:cubicBezTo>
                <a:cubicBezTo>
                  <a:pt x="98365" y="207204"/>
                  <a:pt x="68101" y="194086"/>
                  <a:pt x="40986" y="171438"/>
                </a:cubicBezTo>
                <a:cubicBezTo>
                  <a:pt x="14115" y="148994"/>
                  <a:pt x="2457" y="119007"/>
                  <a:pt x="143" y="85158"/>
                </a:cubicBezTo>
                <a:cubicBezTo>
                  <a:pt x="-869" y="70364"/>
                  <a:pt x="3586" y="56015"/>
                  <a:pt x="10475" y="41718"/>
                </a:cubicBezTo>
                <a:close/>
              </a:path>
            </a:pathLst>
          </a:custGeom>
          <a:solidFill>
            <a:schemeClr val="bg1"/>
          </a:solidFill>
          <a:ln w="12700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9" name="Free-form: Shape 48">
            <a:extLst>
              <a:ext uri="{FF2B5EF4-FFF2-40B4-BE49-F238E27FC236}">
                <a16:creationId xmlns:a16="http://schemas.microsoft.com/office/drawing/2014/main" id="{00945F7C-0037-71DE-0527-C6D2E77E747E}"/>
              </a:ext>
            </a:extLst>
          </p:cNvPr>
          <p:cNvSpPr/>
          <p:nvPr/>
        </p:nvSpPr>
        <p:spPr>
          <a:xfrm>
            <a:off x="1738774" y="-1489856"/>
            <a:ext cx="97564" cy="25665"/>
          </a:xfrm>
          <a:custGeom>
            <a:avLst/>
            <a:gdLst>
              <a:gd name="csX0" fmla="*/ 69625 w 157129"/>
              <a:gd name="csY0" fmla="*/ 0 h 41334"/>
              <a:gd name="csX1" fmla="*/ 119596 w 157129"/>
              <a:gd name="csY1" fmla="*/ 1945 h 41334"/>
              <a:gd name="csX2" fmla="*/ 150973 w 157129"/>
              <a:gd name="csY2" fmla="*/ 14889 h 41334"/>
              <a:gd name="csX3" fmla="*/ 151351 w 157129"/>
              <a:gd name="csY3" fmla="*/ 34058 h 41334"/>
              <a:gd name="csX4" fmla="*/ 133492 w 157129"/>
              <a:gd name="csY4" fmla="*/ 40697 h 41334"/>
              <a:gd name="csX5" fmla="*/ 106556 w 157129"/>
              <a:gd name="csY5" fmla="*/ 41092 h 41334"/>
              <a:gd name="csX6" fmla="*/ 13373 w 157129"/>
              <a:gd name="csY6" fmla="*/ 40708 h 41334"/>
              <a:gd name="csX7" fmla="*/ 1312 w 157129"/>
              <a:gd name="csY7" fmla="*/ 40191 h 41334"/>
              <a:gd name="csX8" fmla="*/ 3367 w 157129"/>
              <a:gd name="csY8" fmla="*/ 13162 h 41334"/>
              <a:gd name="csX9" fmla="*/ 20752 w 157129"/>
              <a:gd name="csY9" fmla="*/ 1879 h 41334"/>
              <a:gd name="csX10" fmla="*/ 52625 w 157129"/>
              <a:gd name="csY10" fmla="*/ 1332 h 41334"/>
              <a:gd name="csX11" fmla="*/ 69625 w 157129"/>
              <a:gd name="csY11" fmla="*/ 0 h 4133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157129" h="41334">
                <a:moveTo>
                  <a:pt x="69625" y="0"/>
                </a:moveTo>
                <a:cubicBezTo>
                  <a:pt x="87054" y="491"/>
                  <a:pt x="103407" y="373"/>
                  <a:pt x="119596" y="1945"/>
                </a:cubicBezTo>
                <a:cubicBezTo>
                  <a:pt x="131020" y="3055"/>
                  <a:pt x="141713" y="7767"/>
                  <a:pt x="150973" y="14889"/>
                </a:cubicBezTo>
                <a:cubicBezTo>
                  <a:pt x="158820" y="20925"/>
                  <a:pt x="159403" y="28236"/>
                  <a:pt x="151351" y="34058"/>
                </a:cubicBezTo>
                <a:cubicBezTo>
                  <a:pt x="146355" y="37671"/>
                  <a:pt x="139678" y="39910"/>
                  <a:pt x="133492" y="40697"/>
                </a:cubicBezTo>
                <a:cubicBezTo>
                  <a:pt x="124640" y="41824"/>
                  <a:pt x="115547" y="41120"/>
                  <a:pt x="106556" y="41092"/>
                </a:cubicBezTo>
                <a:cubicBezTo>
                  <a:pt x="75495" y="40996"/>
                  <a:pt x="44434" y="40872"/>
                  <a:pt x="13373" y="40708"/>
                </a:cubicBezTo>
                <a:cubicBezTo>
                  <a:pt x="9391" y="40687"/>
                  <a:pt x="5410" y="40374"/>
                  <a:pt x="1312" y="40191"/>
                </a:cubicBezTo>
                <a:cubicBezTo>
                  <a:pt x="-1416" y="30384"/>
                  <a:pt x="523" y="21512"/>
                  <a:pt x="3367" y="13162"/>
                </a:cubicBezTo>
                <a:cubicBezTo>
                  <a:pt x="5963" y="5538"/>
                  <a:pt x="12701" y="2077"/>
                  <a:pt x="20752" y="1879"/>
                </a:cubicBezTo>
                <a:cubicBezTo>
                  <a:pt x="31375" y="1617"/>
                  <a:pt x="42004" y="1647"/>
                  <a:pt x="52625" y="1332"/>
                </a:cubicBezTo>
                <a:cubicBezTo>
                  <a:pt x="57918" y="1176"/>
                  <a:pt x="63195" y="535"/>
                  <a:pt x="69625" y="0"/>
                </a:cubicBezTo>
                <a:close/>
              </a:path>
            </a:pathLst>
          </a:custGeom>
          <a:solidFill>
            <a:schemeClr val="bg1"/>
          </a:solidFill>
          <a:ln w="12700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0" name="Free-form: Shape 49">
            <a:extLst>
              <a:ext uri="{FF2B5EF4-FFF2-40B4-BE49-F238E27FC236}">
                <a16:creationId xmlns:a16="http://schemas.microsoft.com/office/drawing/2014/main" id="{80096D18-007B-D3EF-78E7-42F8AEF58F96}"/>
              </a:ext>
            </a:extLst>
          </p:cNvPr>
          <p:cNvSpPr/>
          <p:nvPr/>
        </p:nvSpPr>
        <p:spPr>
          <a:xfrm>
            <a:off x="1735301" y="-1438969"/>
            <a:ext cx="102191" cy="241686"/>
          </a:xfrm>
          <a:custGeom>
            <a:avLst/>
            <a:gdLst>
              <a:gd name="csX0" fmla="*/ 91265 w 164579"/>
              <a:gd name="csY0" fmla="*/ 157878 h 389238"/>
              <a:gd name="csX1" fmla="*/ 112882 w 164579"/>
              <a:gd name="csY1" fmla="*/ 252738 h 389238"/>
              <a:gd name="csX2" fmla="*/ 164579 w 164579"/>
              <a:gd name="csY2" fmla="*/ 389238 h 389238"/>
              <a:gd name="csX3" fmla="*/ 0 w 164579"/>
              <a:gd name="csY3" fmla="*/ 389238 h 389238"/>
              <a:gd name="csX4" fmla="*/ 5184 w 164579"/>
              <a:gd name="csY4" fmla="*/ 260105 h 389238"/>
              <a:gd name="csX5" fmla="*/ 7989 w 164579"/>
              <a:gd name="csY5" fmla="*/ 131182 h 389238"/>
              <a:gd name="csX6" fmla="*/ 8093 w 164579"/>
              <a:gd name="csY6" fmla="*/ 2390 h 389238"/>
              <a:gd name="csX7" fmla="*/ 76429 w 164579"/>
              <a:gd name="csY7" fmla="*/ 1531 h 389238"/>
              <a:gd name="csX8" fmla="*/ 91265 w 164579"/>
              <a:gd name="csY8" fmla="*/ 157878 h 38923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</a:cxnLst>
            <a:rect l="l" t="t" r="r" b="b"/>
            <a:pathLst>
              <a:path w="164579" h="389238">
                <a:moveTo>
                  <a:pt x="91265" y="157878"/>
                </a:moveTo>
                <a:cubicBezTo>
                  <a:pt x="98425" y="190232"/>
                  <a:pt x="104539" y="221785"/>
                  <a:pt x="112882" y="252738"/>
                </a:cubicBezTo>
                <a:cubicBezTo>
                  <a:pt x="125498" y="299549"/>
                  <a:pt x="141482" y="345258"/>
                  <a:pt x="164579" y="389238"/>
                </a:cubicBezTo>
                <a:cubicBezTo>
                  <a:pt x="109753" y="389238"/>
                  <a:pt x="55706" y="389238"/>
                  <a:pt x="0" y="389238"/>
                </a:cubicBezTo>
                <a:cubicBezTo>
                  <a:pt x="1781" y="345633"/>
                  <a:pt x="3844" y="302880"/>
                  <a:pt x="5184" y="260105"/>
                </a:cubicBezTo>
                <a:cubicBezTo>
                  <a:pt x="6529" y="217143"/>
                  <a:pt x="7519" y="174162"/>
                  <a:pt x="7989" y="131182"/>
                </a:cubicBezTo>
                <a:cubicBezTo>
                  <a:pt x="8459" y="88239"/>
                  <a:pt x="8093" y="45287"/>
                  <a:pt x="8093" y="2390"/>
                </a:cubicBezTo>
                <a:cubicBezTo>
                  <a:pt x="17041" y="-288"/>
                  <a:pt x="58537" y="-913"/>
                  <a:pt x="76429" y="1531"/>
                </a:cubicBezTo>
                <a:cubicBezTo>
                  <a:pt x="79287" y="53276"/>
                  <a:pt x="82219" y="105359"/>
                  <a:pt x="91265" y="157878"/>
                </a:cubicBezTo>
                <a:close/>
              </a:path>
            </a:pathLst>
          </a:custGeom>
          <a:solidFill>
            <a:schemeClr val="bg1"/>
          </a:solidFill>
          <a:ln w="12700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1" name="Free-form: Shape 50">
            <a:extLst>
              <a:ext uri="{FF2B5EF4-FFF2-40B4-BE49-F238E27FC236}">
                <a16:creationId xmlns:a16="http://schemas.microsoft.com/office/drawing/2014/main" id="{8068D532-7A64-0033-5642-6FA05701E0F8}"/>
              </a:ext>
            </a:extLst>
          </p:cNvPr>
          <p:cNvSpPr/>
          <p:nvPr/>
        </p:nvSpPr>
        <p:spPr>
          <a:xfrm>
            <a:off x="1737120" y="-1023456"/>
            <a:ext cx="200357" cy="39865"/>
          </a:xfrm>
          <a:custGeom>
            <a:avLst/>
            <a:gdLst>
              <a:gd name="csX0" fmla="*/ 199184 w 322677"/>
              <a:gd name="csY0" fmla="*/ 59136 h 64202"/>
              <a:gd name="csX1" fmla="*/ 0 w 322677"/>
              <a:gd name="csY1" fmla="*/ 62697 h 64202"/>
              <a:gd name="csX2" fmla="*/ 0 w 322677"/>
              <a:gd name="csY2" fmla="*/ 18400 h 64202"/>
              <a:gd name="csX3" fmla="*/ 10601 w 322677"/>
              <a:gd name="csY3" fmla="*/ 17750 h 64202"/>
              <a:gd name="csX4" fmla="*/ 156563 w 322677"/>
              <a:gd name="csY4" fmla="*/ 15074 h 64202"/>
              <a:gd name="csX5" fmla="*/ 266479 w 322677"/>
              <a:gd name="csY5" fmla="*/ 4814 h 64202"/>
              <a:gd name="csX6" fmla="*/ 296798 w 322677"/>
              <a:gd name="csY6" fmla="*/ 344 h 64202"/>
              <a:gd name="csX7" fmla="*/ 309983 w 322677"/>
              <a:gd name="csY7" fmla="*/ 6097 h 64202"/>
              <a:gd name="csX8" fmla="*/ 322678 w 322677"/>
              <a:gd name="csY8" fmla="*/ 40406 h 64202"/>
              <a:gd name="csX9" fmla="*/ 199184 w 322677"/>
              <a:gd name="csY9" fmla="*/ 59136 h 6420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322677" h="64202">
                <a:moveTo>
                  <a:pt x="199184" y="59136"/>
                </a:moveTo>
                <a:cubicBezTo>
                  <a:pt x="132374" y="65824"/>
                  <a:pt x="66629" y="64605"/>
                  <a:pt x="0" y="62697"/>
                </a:cubicBezTo>
                <a:cubicBezTo>
                  <a:pt x="0" y="47160"/>
                  <a:pt x="0" y="33409"/>
                  <a:pt x="0" y="18400"/>
                </a:cubicBezTo>
                <a:cubicBezTo>
                  <a:pt x="3587" y="18160"/>
                  <a:pt x="7120" y="17536"/>
                  <a:pt x="10601" y="17750"/>
                </a:cubicBezTo>
                <a:cubicBezTo>
                  <a:pt x="59329" y="20736"/>
                  <a:pt x="107987" y="18533"/>
                  <a:pt x="156563" y="15074"/>
                </a:cubicBezTo>
                <a:cubicBezTo>
                  <a:pt x="193260" y="12461"/>
                  <a:pt x="229860" y="8449"/>
                  <a:pt x="266479" y="4814"/>
                </a:cubicBezTo>
                <a:cubicBezTo>
                  <a:pt x="276635" y="3806"/>
                  <a:pt x="286748" y="2160"/>
                  <a:pt x="296798" y="344"/>
                </a:cubicBezTo>
                <a:cubicBezTo>
                  <a:pt x="302773" y="-735"/>
                  <a:pt x="306536" y="602"/>
                  <a:pt x="309983" y="6097"/>
                </a:cubicBezTo>
                <a:cubicBezTo>
                  <a:pt x="316405" y="16331"/>
                  <a:pt x="320231" y="27243"/>
                  <a:pt x="322678" y="40406"/>
                </a:cubicBezTo>
                <a:cubicBezTo>
                  <a:pt x="281944" y="49611"/>
                  <a:pt x="241309" y="55431"/>
                  <a:pt x="199184" y="59136"/>
                </a:cubicBezTo>
                <a:close/>
              </a:path>
            </a:pathLst>
          </a:custGeom>
          <a:solidFill>
            <a:schemeClr val="bg1"/>
          </a:solidFill>
          <a:ln w="19050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A7311B43-D2DD-066C-3695-A1E74D0B5F24}"/>
              </a:ext>
            </a:extLst>
          </p:cNvPr>
          <p:cNvSpPr txBox="1"/>
          <p:nvPr/>
        </p:nvSpPr>
        <p:spPr>
          <a:xfrm>
            <a:off x="1329112" y="-969274"/>
            <a:ext cx="863983" cy="3927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-CHOP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9B17DC9C-1281-9D26-E3B3-5AEC93A81ABA}"/>
              </a:ext>
            </a:extLst>
          </p:cNvPr>
          <p:cNvSpPr txBox="1"/>
          <p:nvPr/>
        </p:nvSpPr>
        <p:spPr>
          <a:xfrm>
            <a:off x="7266620" y="-969274"/>
            <a:ext cx="2500419" cy="3927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Loncastuximab tesirine</a:t>
            </a: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36746C9D-E984-F84F-CE8E-98747634ECB7}"/>
              </a:ext>
            </a:extLst>
          </p:cNvPr>
          <p:cNvSpPr/>
          <p:nvPr/>
        </p:nvSpPr>
        <p:spPr>
          <a:xfrm>
            <a:off x="8108708" y="-1158761"/>
            <a:ext cx="717698" cy="10413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5" name="Free-form: Shape 54">
            <a:extLst>
              <a:ext uri="{FF2B5EF4-FFF2-40B4-BE49-F238E27FC236}">
                <a16:creationId xmlns:a16="http://schemas.microsoft.com/office/drawing/2014/main" id="{AD844773-63C2-8DFC-6E60-9076C0C048B6}"/>
              </a:ext>
            </a:extLst>
          </p:cNvPr>
          <p:cNvSpPr/>
          <p:nvPr/>
        </p:nvSpPr>
        <p:spPr>
          <a:xfrm>
            <a:off x="8203752" y="-2352645"/>
            <a:ext cx="634942" cy="1266262"/>
          </a:xfrm>
          <a:custGeom>
            <a:avLst/>
            <a:gdLst>
              <a:gd name="csX0" fmla="*/ 703087 w 763849"/>
              <a:gd name="csY0" fmla="*/ 1241174 h 1523340"/>
              <a:gd name="csX1" fmla="*/ 732932 w 763849"/>
              <a:gd name="csY1" fmla="*/ 1359634 h 1523340"/>
              <a:gd name="csX2" fmla="*/ 735544 w 763849"/>
              <a:gd name="csY2" fmla="*/ 1377287 h 1523340"/>
              <a:gd name="csX3" fmla="*/ 756764 w 763849"/>
              <a:gd name="csY3" fmla="*/ 1458577 h 1523340"/>
              <a:gd name="csX4" fmla="*/ 757108 w 763849"/>
              <a:gd name="csY4" fmla="*/ 1465940 h 1523340"/>
              <a:gd name="csX5" fmla="*/ 744215 w 763849"/>
              <a:gd name="csY5" fmla="*/ 1488332 h 1523340"/>
              <a:gd name="csX6" fmla="*/ 712781 w 763849"/>
              <a:gd name="csY6" fmla="*/ 1498472 h 1523340"/>
              <a:gd name="csX7" fmla="*/ 625540 w 763849"/>
              <a:gd name="csY7" fmla="*/ 1511981 h 1523340"/>
              <a:gd name="csX8" fmla="*/ 488540 w 763849"/>
              <a:gd name="csY8" fmla="*/ 1522029 h 1523340"/>
              <a:gd name="csX9" fmla="*/ 306789 w 763849"/>
              <a:gd name="csY9" fmla="*/ 1523231 h 1523340"/>
              <a:gd name="csX10" fmla="*/ 200103 w 763849"/>
              <a:gd name="csY10" fmla="*/ 1518579 h 1523340"/>
              <a:gd name="csX11" fmla="*/ 31607 w 763849"/>
              <a:gd name="csY11" fmla="*/ 1493880 h 1523340"/>
              <a:gd name="csX12" fmla="*/ 5860 w 763849"/>
              <a:gd name="csY12" fmla="*/ 1482933 h 1523340"/>
              <a:gd name="csX13" fmla="*/ 32 w 763849"/>
              <a:gd name="csY13" fmla="*/ 1471774 h 1523340"/>
              <a:gd name="csX14" fmla="*/ 21295 w 763849"/>
              <a:gd name="csY14" fmla="*/ 1378237 h 1523340"/>
              <a:gd name="csX15" fmla="*/ 23169 w 763849"/>
              <a:gd name="csY15" fmla="*/ 1364271 h 1523340"/>
              <a:gd name="csX16" fmla="*/ 23871 w 763849"/>
              <a:gd name="csY16" fmla="*/ 1303132 h 1523340"/>
              <a:gd name="csX17" fmla="*/ 59740 w 763849"/>
              <a:gd name="csY17" fmla="*/ 1234649 h 1523340"/>
              <a:gd name="csX18" fmla="*/ 98899 w 763849"/>
              <a:gd name="csY18" fmla="*/ 1195619 h 1523340"/>
              <a:gd name="csX19" fmla="*/ 131493 w 763849"/>
              <a:gd name="csY19" fmla="*/ 1127593 h 1523340"/>
              <a:gd name="csX20" fmla="*/ 108213 w 763849"/>
              <a:gd name="csY20" fmla="*/ 1058723 h 1523340"/>
              <a:gd name="csX21" fmla="*/ 74370 w 763849"/>
              <a:gd name="csY21" fmla="*/ 1024929 h 1523340"/>
              <a:gd name="csX22" fmla="*/ 68137 w 763849"/>
              <a:gd name="csY22" fmla="*/ 987550 h 1523340"/>
              <a:gd name="csX23" fmla="*/ 86420 w 763849"/>
              <a:gd name="csY23" fmla="*/ 941991 h 1523340"/>
              <a:gd name="csX24" fmla="*/ 97082 w 763849"/>
              <a:gd name="csY24" fmla="*/ 828037 h 1523340"/>
              <a:gd name="csX25" fmla="*/ 61782 w 763849"/>
              <a:gd name="csY25" fmla="*/ 696973 h 1523340"/>
              <a:gd name="csX26" fmla="*/ 26901 w 763849"/>
              <a:gd name="csY26" fmla="*/ 547868 h 1523340"/>
              <a:gd name="csX27" fmla="*/ 20221 w 763849"/>
              <a:gd name="csY27" fmla="*/ 479529 h 1523340"/>
              <a:gd name="csX28" fmla="*/ 40808 w 763849"/>
              <a:gd name="csY28" fmla="*/ 334388 h 1523340"/>
              <a:gd name="csX29" fmla="*/ 65171 w 763849"/>
              <a:gd name="csY29" fmla="*/ 263707 h 1523340"/>
              <a:gd name="csX30" fmla="*/ 142827 w 763849"/>
              <a:gd name="csY30" fmla="*/ 171003 h 1523340"/>
              <a:gd name="csX31" fmla="*/ 172290 w 763849"/>
              <a:gd name="csY31" fmla="*/ 155872 h 1523340"/>
              <a:gd name="csX32" fmla="*/ 189008 w 763849"/>
              <a:gd name="csY32" fmla="*/ 148158 h 1523340"/>
              <a:gd name="csX33" fmla="*/ 212828 w 763849"/>
              <a:gd name="csY33" fmla="*/ 126123 h 1523340"/>
              <a:gd name="csX34" fmla="*/ 217217 w 763849"/>
              <a:gd name="csY34" fmla="*/ 118740 h 1523340"/>
              <a:gd name="csX35" fmla="*/ 253000 w 763849"/>
              <a:gd name="csY35" fmla="*/ 88998 h 1523340"/>
              <a:gd name="csX36" fmla="*/ 322085 w 763849"/>
              <a:gd name="csY36" fmla="*/ 72193 h 1523340"/>
              <a:gd name="csX37" fmla="*/ 330478 w 763849"/>
              <a:gd name="csY37" fmla="*/ 70387 h 1523340"/>
              <a:gd name="csX38" fmla="*/ 388016 w 763849"/>
              <a:gd name="csY38" fmla="*/ 35457 h 1523340"/>
              <a:gd name="csX39" fmla="*/ 421527 w 763849"/>
              <a:gd name="csY39" fmla="*/ 0 h 1523340"/>
              <a:gd name="csX40" fmla="*/ 424538 w 763849"/>
              <a:gd name="csY40" fmla="*/ 10833 h 1523340"/>
              <a:gd name="csX41" fmla="*/ 436339 w 763849"/>
              <a:gd name="csY41" fmla="*/ 121836 h 1523340"/>
              <a:gd name="csX42" fmla="*/ 449983 w 763849"/>
              <a:gd name="csY42" fmla="*/ 141450 h 1523340"/>
              <a:gd name="csX43" fmla="*/ 503299 w 763849"/>
              <a:gd name="csY43" fmla="*/ 169290 h 1523340"/>
              <a:gd name="csX44" fmla="*/ 551461 w 763849"/>
              <a:gd name="csY44" fmla="*/ 203111 h 1523340"/>
              <a:gd name="csX45" fmla="*/ 588803 w 763849"/>
              <a:gd name="csY45" fmla="*/ 252797 h 1523340"/>
              <a:gd name="csX46" fmla="*/ 634209 w 763849"/>
              <a:gd name="csY46" fmla="*/ 327081 h 1523340"/>
              <a:gd name="csX47" fmla="*/ 697923 w 763849"/>
              <a:gd name="csY47" fmla="*/ 384157 h 1523340"/>
              <a:gd name="csX48" fmla="*/ 729658 w 763849"/>
              <a:gd name="csY48" fmla="*/ 407288 h 1523340"/>
              <a:gd name="csX49" fmla="*/ 763354 w 763849"/>
              <a:gd name="csY49" fmla="*/ 471325 h 1523340"/>
              <a:gd name="csX50" fmla="*/ 757092 w 763849"/>
              <a:gd name="csY50" fmla="*/ 527116 h 1523340"/>
              <a:gd name="csX51" fmla="*/ 720673 w 763849"/>
              <a:gd name="csY51" fmla="*/ 570023 h 1523340"/>
              <a:gd name="csX52" fmla="*/ 704918 w 763849"/>
              <a:gd name="csY52" fmla="*/ 581294 h 1523340"/>
              <a:gd name="csX53" fmla="*/ 671960 w 763849"/>
              <a:gd name="csY53" fmla="*/ 595325 h 1523340"/>
              <a:gd name="csX54" fmla="*/ 633021 w 763849"/>
              <a:gd name="csY54" fmla="*/ 591397 h 1523340"/>
              <a:gd name="csX55" fmla="*/ 580696 w 763849"/>
              <a:gd name="csY55" fmla="*/ 556742 h 1523340"/>
              <a:gd name="csX56" fmla="*/ 545415 w 763849"/>
              <a:gd name="csY56" fmla="*/ 524617 h 1523340"/>
              <a:gd name="csX57" fmla="*/ 518889 w 763849"/>
              <a:gd name="csY57" fmla="*/ 516179 h 1523340"/>
              <a:gd name="csX58" fmla="*/ 472309 w 763849"/>
              <a:gd name="csY58" fmla="*/ 517812 h 1523340"/>
              <a:gd name="csX59" fmla="*/ 415953 w 763849"/>
              <a:gd name="csY59" fmla="*/ 517245 h 1523340"/>
              <a:gd name="csX60" fmla="*/ 403392 w 763849"/>
              <a:gd name="csY60" fmla="*/ 516539 h 1523340"/>
              <a:gd name="csX61" fmla="*/ 407957 w 763849"/>
              <a:gd name="csY61" fmla="*/ 542045 h 1523340"/>
              <a:gd name="csX62" fmla="*/ 434134 w 763849"/>
              <a:gd name="csY62" fmla="*/ 583349 h 1523340"/>
              <a:gd name="csX63" fmla="*/ 524267 w 763849"/>
              <a:gd name="csY63" fmla="*/ 683922 h 1523340"/>
              <a:gd name="csX64" fmla="*/ 614317 w 763849"/>
              <a:gd name="csY64" fmla="*/ 786085 h 1523340"/>
              <a:gd name="csX65" fmla="*/ 669590 w 763849"/>
              <a:gd name="csY65" fmla="*/ 921089 h 1523340"/>
              <a:gd name="csX66" fmla="*/ 647360 w 763849"/>
              <a:gd name="csY66" fmla="*/ 1057245 h 1523340"/>
              <a:gd name="csX67" fmla="*/ 627872 w 763849"/>
              <a:gd name="csY67" fmla="*/ 1102111 h 1523340"/>
              <a:gd name="csX68" fmla="*/ 642300 w 763849"/>
              <a:gd name="csY68" fmla="*/ 1175941 h 1523340"/>
              <a:gd name="csX69" fmla="*/ 668829 w 763849"/>
              <a:gd name="csY69" fmla="*/ 1206449 h 1523340"/>
              <a:gd name="csX70" fmla="*/ 703087 w 763849"/>
              <a:gd name="csY70" fmla="*/ 1241174 h 1523340"/>
              <a:gd name="csX71" fmla="*/ 648750 w 763849"/>
              <a:gd name="csY71" fmla="*/ 562343 h 1523340"/>
              <a:gd name="csX72" fmla="*/ 674049 w 763849"/>
              <a:gd name="csY72" fmla="*/ 562834 h 1523340"/>
              <a:gd name="csX73" fmla="*/ 660781 w 763849"/>
              <a:gd name="csY73" fmla="*/ 550178 h 1523340"/>
              <a:gd name="csX74" fmla="*/ 650911 w 763849"/>
              <a:gd name="csY74" fmla="*/ 534051 h 1523340"/>
              <a:gd name="csX75" fmla="*/ 660724 w 763849"/>
              <a:gd name="csY75" fmla="*/ 537605 h 1523340"/>
              <a:gd name="csX76" fmla="*/ 688133 w 763849"/>
              <a:gd name="csY76" fmla="*/ 543363 h 1523340"/>
              <a:gd name="csX77" fmla="*/ 731514 w 763849"/>
              <a:gd name="csY77" fmla="*/ 510767 h 1523340"/>
              <a:gd name="csX78" fmla="*/ 733611 w 763849"/>
              <a:gd name="csY78" fmla="*/ 466905 h 1523340"/>
              <a:gd name="csX79" fmla="*/ 708076 w 763849"/>
              <a:gd name="csY79" fmla="*/ 425975 h 1523340"/>
              <a:gd name="csX80" fmla="*/ 667538 w 763849"/>
              <a:gd name="csY80" fmla="*/ 398254 h 1523340"/>
              <a:gd name="csX81" fmla="*/ 601016 w 763849"/>
              <a:gd name="csY81" fmla="*/ 332127 h 1523340"/>
              <a:gd name="csX82" fmla="*/ 565354 w 763849"/>
              <a:gd name="csY82" fmla="*/ 270526 h 1523340"/>
              <a:gd name="csX83" fmla="*/ 490657 w 763849"/>
              <a:gd name="csY83" fmla="*/ 195121 h 1523340"/>
              <a:gd name="csX84" fmla="*/ 432834 w 763849"/>
              <a:gd name="csY84" fmla="*/ 165243 h 1523340"/>
              <a:gd name="csX85" fmla="*/ 407594 w 763849"/>
              <a:gd name="csY85" fmla="*/ 127852 h 1523340"/>
              <a:gd name="csX86" fmla="*/ 405020 w 763849"/>
              <a:gd name="csY86" fmla="*/ 69029 h 1523340"/>
              <a:gd name="csX87" fmla="*/ 403638 w 763849"/>
              <a:gd name="csY87" fmla="*/ 58130 h 1523340"/>
              <a:gd name="csX88" fmla="*/ 349776 w 763849"/>
              <a:gd name="csY88" fmla="*/ 133259 h 1523340"/>
              <a:gd name="csX89" fmla="*/ 326975 w 763849"/>
              <a:gd name="csY89" fmla="*/ 159669 h 1523340"/>
              <a:gd name="csX90" fmla="*/ 240374 w 763849"/>
              <a:gd name="csY90" fmla="*/ 221714 h 1523340"/>
              <a:gd name="csX91" fmla="*/ 171637 w 763849"/>
              <a:gd name="csY91" fmla="*/ 309087 h 1523340"/>
              <a:gd name="csX92" fmla="*/ 138048 w 763849"/>
              <a:gd name="csY92" fmla="*/ 516954 h 1523340"/>
              <a:gd name="csX93" fmla="*/ 163889 w 763849"/>
              <a:gd name="csY93" fmla="*/ 641780 h 1523340"/>
              <a:gd name="csX94" fmla="*/ 204800 w 763849"/>
              <a:gd name="csY94" fmla="*/ 787055 h 1523340"/>
              <a:gd name="csX95" fmla="*/ 218549 w 763849"/>
              <a:gd name="csY95" fmla="*/ 949545 h 1523340"/>
              <a:gd name="csX96" fmla="*/ 191487 w 763849"/>
              <a:gd name="csY96" fmla="*/ 1033064 h 1523340"/>
              <a:gd name="csX97" fmla="*/ 188729 w 763849"/>
              <a:gd name="csY97" fmla="*/ 1039835 h 1523340"/>
              <a:gd name="csX98" fmla="*/ 221417 w 763849"/>
              <a:gd name="csY98" fmla="*/ 1040799 h 1523340"/>
              <a:gd name="csX99" fmla="*/ 348895 w 763849"/>
              <a:gd name="csY99" fmla="*/ 1046759 h 1523340"/>
              <a:gd name="csX100" fmla="*/ 545369 w 763849"/>
              <a:gd name="csY100" fmla="*/ 1044456 h 1523340"/>
              <a:gd name="csX101" fmla="*/ 612424 w 763849"/>
              <a:gd name="csY101" fmla="*/ 1037365 h 1523340"/>
              <a:gd name="csX102" fmla="*/ 623169 w 763849"/>
              <a:gd name="csY102" fmla="*/ 1028873 h 1523340"/>
              <a:gd name="csX103" fmla="*/ 638508 w 763849"/>
              <a:gd name="csY103" fmla="*/ 959599 h 1523340"/>
              <a:gd name="csX104" fmla="*/ 609213 w 763849"/>
              <a:gd name="csY104" fmla="*/ 842075 h 1523340"/>
              <a:gd name="csX105" fmla="*/ 529367 w 763849"/>
              <a:gd name="csY105" fmla="*/ 735065 h 1523340"/>
              <a:gd name="csX106" fmla="*/ 403792 w 763849"/>
              <a:gd name="csY106" fmla="*/ 596993 h 1523340"/>
              <a:gd name="csX107" fmla="*/ 344708 w 763849"/>
              <a:gd name="csY107" fmla="*/ 511366 h 1523340"/>
              <a:gd name="csX108" fmla="*/ 324464 w 763849"/>
              <a:gd name="csY108" fmla="*/ 380084 h 1523340"/>
              <a:gd name="csX109" fmla="*/ 327688 w 763849"/>
              <a:gd name="csY109" fmla="*/ 373535 h 1523340"/>
              <a:gd name="csX110" fmla="*/ 330334 w 763849"/>
              <a:gd name="csY110" fmla="*/ 373641 h 1523340"/>
              <a:gd name="csX111" fmla="*/ 334272 w 763849"/>
              <a:gd name="csY111" fmla="*/ 384645 h 1523340"/>
              <a:gd name="csX112" fmla="*/ 365260 w 763849"/>
              <a:gd name="csY112" fmla="*/ 453955 h 1523340"/>
              <a:gd name="csX113" fmla="*/ 408246 w 763849"/>
              <a:gd name="csY113" fmla="*/ 483592 h 1523340"/>
              <a:gd name="csX114" fmla="*/ 464529 w 763849"/>
              <a:gd name="csY114" fmla="*/ 486187 h 1523340"/>
              <a:gd name="csX115" fmla="*/ 511119 w 763849"/>
              <a:gd name="csY115" fmla="*/ 484308 h 1523340"/>
              <a:gd name="csX116" fmla="*/ 567913 w 763849"/>
              <a:gd name="csY116" fmla="*/ 503736 h 1523340"/>
              <a:gd name="csX117" fmla="*/ 607611 w 763849"/>
              <a:gd name="csY117" fmla="*/ 540326 h 1523340"/>
              <a:gd name="csX118" fmla="*/ 648750 w 763849"/>
              <a:gd name="csY118" fmla="*/ 562343 h 1523340"/>
              <a:gd name="csX119" fmla="*/ 462594 w 763849"/>
              <a:gd name="csY119" fmla="*/ 1369008 h 1523340"/>
              <a:gd name="csX120" fmla="*/ 510357 w 763849"/>
              <a:gd name="csY120" fmla="*/ 1366345 h 1523340"/>
              <a:gd name="csX121" fmla="*/ 549434 w 763849"/>
              <a:gd name="csY121" fmla="*/ 1362956 h 1523340"/>
              <a:gd name="csX122" fmla="*/ 632369 w 763849"/>
              <a:gd name="csY122" fmla="*/ 1354439 h 1523340"/>
              <a:gd name="csX123" fmla="*/ 697252 w 763849"/>
              <a:gd name="csY123" fmla="*/ 1346424 h 1523340"/>
              <a:gd name="csX124" fmla="*/ 676674 w 763849"/>
              <a:gd name="csY124" fmla="*/ 1266396 h 1523340"/>
              <a:gd name="csX125" fmla="*/ 646594 w 763849"/>
              <a:gd name="csY125" fmla="*/ 1234108 h 1523340"/>
              <a:gd name="csX126" fmla="*/ 612063 w 763849"/>
              <a:gd name="csY126" fmla="*/ 1194382 h 1523340"/>
              <a:gd name="csX127" fmla="*/ 591616 w 763849"/>
              <a:gd name="csY127" fmla="*/ 1111541 h 1523340"/>
              <a:gd name="csX128" fmla="*/ 594320 w 763849"/>
              <a:gd name="csY128" fmla="*/ 1089609 h 1523340"/>
              <a:gd name="csX129" fmla="*/ 578634 w 763849"/>
              <a:gd name="csY129" fmla="*/ 1089642 h 1523340"/>
              <a:gd name="csX130" fmla="*/ 443931 w 763849"/>
              <a:gd name="csY130" fmla="*/ 1096700 h 1523340"/>
              <a:gd name="csX131" fmla="*/ 403417 w 763849"/>
              <a:gd name="csY131" fmla="*/ 1097156 h 1523340"/>
              <a:gd name="csX132" fmla="*/ 388348 w 763849"/>
              <a:gd name="csY132" fmla="*/ 1111502 h 1523340"/>
              <a:gd name="csX133" fmla="*/ 385048 w 763849"/>
              <a:gd name="csY133" fmla="*/ 1176431 h 1523340"/>
              <a:gd name="csX134" fmla="*/ 377687 w 763849"/>
              <a:gd name="csY134" fmla="*/ 1308672 h 1523340"/>
              <a:gd name="csX135" fmla="*/ 376823 w 763849"/>
              <a:gd name="csY135" fmla="*/ 1320897 h 1523340"/>
              <a:gd name="csX136" fmla="*/ 376781 w 763849"/>
              <a:gd name="csY136" fmla="*/ 1366151 h 1523340"/>
              <a:gd name="csX137" fmla="*/ 462594 w 763849"/>
              <a:gd name="csY137" fmla="*/ 1369008 h 1523340"/>
              <a:gd name="csX138" fmla="*/ 648494 w 763849"/>
              <a:gd name="csY138" fmla="*/ 1463981 h 1523340"/>
              <a:gd name="csX139" fmla="*/ 718746 w 763849"/>
              <a:gd name="csY139" fmla="*/ 1451892 h 1523340"/>
              <a:gd name="csX140" fmla="*/ 711827 w 763849"/>
              <a:gd name="csY140" fmla="*/ 1416835 h 1523340"/>
              <a:gd name="csX141" fmla="*/ 685812 w 763849"/>
              <a:gd name="csY141" fmla="*/ 1398502 h 1523340"/>
              <a:gd name="csX142" fmla="*/ 680924 w 763849"/>
              <a:gd name="csY142" fmla="*/ 1398973 h 1523340"/>
              <a:gd name="csX143" fmla="*/ 598278 w 763849"/>
              <a:gd name="csY143" fmla="*/ 1409218 h 1523340"/>
              <a:gd name="csX144" fmla="*/ 474765 w 763849"/>
              <a:gd name="csY144" fmla="*/ 1417945 h 1523340"/>
              <a:gd name="csX145" fmla="*/ 385143 w 763849"/>
              <a:gd name="csY145" fmla="*/ 1418978 h 1523340"/>
              <a:gd name="csX146" fmla="*/ 376639 w 763849"/>
              <a:gd name="csY146" fmla="*/ 1419613 h 1523340"/>
              <a:gd name="csX147" fmla="*/ 376639 w 763849"/>
              <a:gd name="csY147" fmla="*/ 1473939 h 1523340"/>
              <a:gd name="csX148" fmla="*/ 382089 w 763849"/>
              <a:gd name="csY148" fmla="*/ 1474854 h 1523340"/>
              <a:gd name="csX149" fmla="*/ 449536 w 763849"/>
              <a:gd name="csY149" fmla="*/ 1476855 h 1523340"/>
              <a:gd name="csX150" fmla="*/ 559930 w 763849"/>
              <a:gd name="csY150" fmla="*/ 1474307 h 1523340"/>
              <a:gd name="csX151" fmla="*/ 648494 w 763849"/>
              <a:gd name="csY151" fmla="*/ 1463981 h 152334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</a:cxnLst>
            <a:rect l="l" t="t" r="r" b="b"/>
            <a:pathLst>
              <a:path w="763849" h="1523340">
                <a:moveTo>
                  <a:pt x="703087" y="1241174"/>
                </a:moveTo>
                <a:cubicBezTo>
                  <a:pt x="732418" y="1276379"/>
                  <a:pt x="738825" y="1316526"/>
                  <a:pt x="732932" y="1359634"/>
                </a:cubicBezTo>
                <a:cubicBezTo>
                  <a:pt x="732067" y="1365959"/>
                  <a:pt x="732453" y="1371428"/>
                  <a:pt x="735544" y="1377287"/>
                </a:cubicBezTo>
                <a:cubicBezTo>
                  <a:pt x="748937" y="1402675"/>
                  <a:pt x="755318" y="1430010"/>
                  <a:pt x="756764" y="1458577"/>
                </a:cubicBezTo>
                <a:cubicBezTo>
                  <a:pt x="756887" y="1461031"/>
                  <a:pt x="756895" y="1463494"/>
                  <a:pt x="757108" y="1465940"/>
                </a:cubicBezTo>
                <a:cubicBezTo>
                  <a:pt x="758375" y="1480486"/>
                  <a:pt x="757802" y="1482498"/>
                  <a:pt x="744215" y="1488332"/>
                </a:cubicBezTo>
                <a:cubicBezTo>
                  <a:pt x="734126" y="1492664"/>
                  <a:pt x="723536" y="1496562"/>
                  <a:pt x="712781" y="1498472"/>
                </a:cubicBezTo>
                <a:cubicBezTo>
                  <a:pt x="683814" y="1503617"/>
                  <a:pt x="654674" y="1507832"/>
                  <a:pt x="625540" y="1511981"/>
                </a:cubicBezTo>
                <a:cubicBezTo>
                  <a:pt x="580114" y="1518449"/>
                  <a:pt x="534395" y="1521481"/>
                  <a:pt x="488540" y="1522029"/>
                </a:cubicBezTo>
                <a:cubicBezTo>
                  <a:pt x="427958" y="1522752"/>
                  <a:pt x="367367" y="1523658"/>
                  <a:pt x="306789" y="1523231"/>
                </a:cubicBezTo>
                <a:cubicBezTo>
                  <a:pt x="271215" y="1522980"/>
                  <a:pt x="235625" y="1520833"/>
                  <a:pt x="200103" y="1518579"/>
                </a:cubicBezTo>
                <a:cubicBezTo>
                  <a:pt x="143289" y="1514974"/>
                  <a:pt x="86915" y="1507766"/>
                  <a:pt x="31607" y="1493880"/>
                </a:cubicBezTo>
                <a:cubicBezTo>
                  <a:pt x="22666" y="1491635"/>
                  <a:pt x="14297" y="1486920"/>
                  <a:pt x="5860" y="1482933"/>
                </a:cubicBezTo>
                <a:cubicBezTo>
                  <a:pt x="1433" y="1480841"/>
                  <a:pt x="-262" y="1476934"/>
                  <a:pt x="32" y="1471774"/>
                </a:cubicBezTo>
                <a:cubicBezTo>
                  <a:pt x="1880" y="1439401"/>
                  <a:pt x="3993" y="1407192"/>
                  <a:pt x="21295" y="1378237"/>
                </a:cubicBezTo>
                <a:cubicBezTo>
                  <a:pt x="23526" y="1374504"/>
                  <a:pt x="23666" y="1368858"/>
                  <a:pt x="23169" y="1364271"/>
                </a:cubicBezTo>
                <a:cubicBezTo>
                  <a:pt x="20957" y="1343833"/>
                  <a:pt x="20482" y="1323540"/>
                  <a:pt x="23871" y="1303132"/>
                </a:cubicBezTo>
                <a:cubicBezTo>
                  <a:pt x="28332" y="1276267"/>
                  <a:pt x="41045" y="1253887"/>
                  <a:pt x="59740" y="1234649"/>
                </a:cubicBezTo>
                <a:cubicBezTo>
                  <a:pt x="72582" y="1221434"/>
                  <a:pt x="85657" y="1208434"/>
                  <a:pt x="98899" y="1195619"/>
                </a:cubicBezTo>
                <a:cubicBezTo>
                  <a:pt x="118216" y="1176926"/>
                  <a:pt x="130484" y="1154702"/>
                  <a:pt x="131493" y="1127593"/>
                </a:cubicBezTo>
                <a:cubicBezTo>
                  <a:pt x="132448" y="1101948"/>
                  <a:pt x="127125" y="1077868"/>
                  <a:pt x="108213" y="1058723"/>
                </a:cubicBezTo>
                <a:cubicBezTo>
                  <a:pt x="97010" y="1047381"/>
                  <a:pt x="85438" y="1036399"/>
                  <a:pt x="74370" y="1024929"/>
                </a:cubicBezTo>
                <a:cubicBezTo>
                  <a:pt x="63868" y="1014043"/>
                  <a:pt x="62267" y="1001475"/>
                  <a:pt x="68137" y="987550"/>
                </a:cubicBezTo>
                <a:cubicBezTo>
                  <a:pt x="74493" y="972473"/>
                  <a:pt x="80703" y="957319"/>
                  <a:pt x="86420" y="941991"/>
                </a:cubicBezTo>
                <a:cubicBezTo>
                  <a:pt x="100218" y="905001"/>
                  <a:pt x="99441" y="866690"/>
                  <a:pt x="97082" y="828037"/>
                </a:cubicBezTo>
                <a:cubicBezTo>
                  <a:pt x="94260" y="781809"/>
                  <a:pt x="76370" y="739899"/>
                  <a:pt x="61782" y="696973"/>
                </a:cubicBezTo>
                <a:cubicBezTo>
                  <a:pt x="45282" y="648419"/>
                  <a:pt x="33285" y="598770"/>
                  <a:pt x="26901" y="547868"/>
                </a:cubicBezTo>
                <a:cubicBezTo>
                  <a:pt x="24054" y="525160"/>
                  <a:pt x="21110" y="502364"/>
                  <a:pt x="20221" y="479529"/>
                </a:cubicBezTo>
                <a:cubicBezTo>
                  <a:pt x="18293" y="430013"/>
                  <a:pt x="26126" y="381610"/>
                  <a:pt x="40808" y="334388"/>
                </a:cubicBezTo>
                <a:cubicBezTo>
                  <a:pt x="48208" y="310588"/>
                  <a:pt x="55162" y="286441"/>
                  <a:pt x="65171" y="263707"/>
                </a:cubicBezTo>
                <a:cubicBezTo>
                  <a:pt x="81946" y="225606"/>
                  <a:pt x="106517" y="193071"/>
                  <a:pt x="142827" y="171003"/>
                </a:cubicBezTo>
                <a:cubicBezTo>
                  <a:pt x="152238" y="165283"/>
                  <a:pt x="162401" y="160787"/>
                  <a:pt x="172290" y="155872"/>
                </a:cubicBezTo>
                <a:cubicBezTo>
                  <a:pt x="177784" y="153142"/>
                  <a:pt x="183393" y="150635"/>
                  <a:pt x="189008" y="148158"/>
                </a:cubicBezTo>
                <a:cubicBezTo>
                  <a:pt x="199487" y="143534"/>
                  <a:pt x="207598" y="136426"/>
                  <a:pt x="212828" y="126123"/>
                </a:cubicBezTo>
                <a:cubicBezTo>
                  <a:pt x="214121" y="123575"/>
                  <a:pt x="215966" y="121304"/>
                  <a:pt x="217217" y="118740"/>
                </a:cubicBezTo>
                <a:cubicBezTo>
                  <a:pt x="224688" y="103433"/>
                  <a:pt x="237053" y="93440"/>
                  <a:pt x="253000" y="88998"/>
                </a:cubicBezTo>
                <a:cubicBezTo>
                  <a:pt x="275818" y="82642"/>
                  <a:pt x="299033" y="77711"/>
                  <a:pt x="322085" y="72193"/>
                </a:cubicBezTo>
                <a:cubicBezTo>
                  <a:pt x="324867" y="71527"/>
                  <a:pt x="327694" y="71045"/>
                  <a:pt x="330478" y="70387"/>
                </a:cubicBezTo>
                <a:cubicBezTo>
                  <a:pt x="364731" y="62297"/>
                  <a:pt x="364569" y="62151"/>
                  <a:pt x="388016" y="35457"/>
                </a:cubicBezTo>
                <a:cubicBezTo>
                  <a:pt x="398189" y="23875"/>
                  <a:pt x="409180" y="13010"/>
                  <a:pt x="421527" y="0"/>
                </a:cubicBezTo>
                <a:cubicBezTo>
                  <a:pt x="423000" y="5190"/>
                  <a:pt x="424219" y="7961"/>
                  <a:pt x="424538" y="10833"/>
                </a:cubicBezTo>
                <a:cubicBezTo>
                  <a:pt x="428638" y="47817"/>
                  <a:pt x="433030" y="84779"/>
                  <a:pt x="436339" y="121836"/>
                </a:cubicBezTo>
                <a:cubicBezTo>
                  <a:pt x="437236" y="131893"/>
                  <a:pt x="441545" y="137271"/>
                  <a:pt x="449983" y="141450"/>
                </a:cubicBezTo>
                <a:cubicBezTo>
                  <a:pt x="467954" y="150348"/>
                  <a:pt x="486187" y="158915"/>
                  <a:pt x="503299" y="169290"/>
                </a:cubicBezTo>
                <a:cubicBezTo>
                  <a:pt x="520041" y="179441"/>
                  <a:pt x="535883" y="191197"/>
                  <a:pt x="551461" y="203111"/>
                </a:cubicBezTo>
                <a:cubicBezTo>
                  <a:pt x="568416" y="216079"/>
                  <a:pt x="579195" y="234146"/>
                  <a:pt x="588803" y="252797"/>
                </a:cubicBezTo>
                <a:cubicBezTo>
                  <a:pt x="602134" y="278677"/>
                  <a:pt x="616556" y="303835"/>
                  <a:pt x="634209" y="327081"/>
                </a:cubicBezTo>
                <a:cubicBezTo>
                  <a:pt x="651797" y="350241"/>
                  <a:pt x="673980" y="368103"/>
                  <a:pt x="697923" y="384157"/>
                </a:cubicBezTo>
                <a:cubicBezTo>
                  <a:pt x="708787" y="391441"/>
                  <a:pt x="719007" y="399678"/>
                  <a:pt x="729658" y="407288"/>
                </a:cubicBezTo>
                <a:cubicBezTo>
                  <a:pt x="751657" y="423004"/>
                  <a:pt x="761259" y="445265"/>
                  <a:pt x="763354" y="471325"/>
                </a:cubicBezTo>
                <a:cubicBezTo>
                  <a:pt x="764877" y="490275"/>
                  <a:pt x="762919" y="509064"/>
                  <a:pt x="757092" y="527116"/>
                </a:cubicBezTo>
                <a:cubicBezTo>
                  <a:pt x="750932" y="546198"/>
                  <a:pt x="738296" y="560266"/>
                  <a:pt x="720673" y="570023"/>
                </a:cubicBezTo>
                <a:cubicBezTo>
                  <a:pt x="715048" y="573138"/>
                  <a:pt x="709487" y="576825"/>
                  <a:pt x="704918" y="581294"/>
                </a:cubicBezTo>
                <a:cubicBezTo>
                  <a:pt x="695625" y="590383"/>
                  <a:pt x="684728" y="595697"/>
                  <a:pt x="671960" y="595325"/>
                </a:cubicBezTo>
                <a:cubicBezTo>
                  <a:pt x="658939" y="594945"/>
                  <a:pt x="645743" y="594018"/>
                  <a:pt x="633021" y="591397"/>
                </a:cubicBezTo>
                <a:cubicBezTo>
                  <a:pt x="611233" y="586907"/>
                  <a:pt x="595034" y="572939"/>
                  <a:pt x="580696" y="556742"/>
                </a:cubicBezTo>
                <a:cubicBezTo>
                  <a:pt x="570081" y="544750"/>
                  <a:pt x="559052" y="533306"/>
                  <a:pt x="545415" y="524617"/>
                </a:cubicBezTo>
                <a:cubicBezTo>
                  <a:pt x="537261" y="519422"/>
                  <a:pt x="528551" y="515996"/>
                  <a:pt x="518889" y="516179"/>
                </a:cubicBezTo>
                <a:cubicBezTo>
                  <a:pt x="503357" y="516473"/>
                  <a:pt x="487839" y="517663"/>
                  <a:pt x="472309" y="517812"/>
                </a:cubicBezTo>
                <a:cubicBezTo>
                  <a:pt x="453527" y="517993"/>
                  <a:pt x="434738" y="517514"/>
                  <a:pt x="415953" y="517245"/>
                </a:cubicBezTo>
                <a:cubicBezTo>
                  <a:pt x="411976" y="517189"/>
                  <a:pt x="408003" y="516808"/>
                  <a:pt x="403392" y="516539"/>
                </a:cubicBezTo>
                <a:cubicBezTo>
                  <a:pt x="401207" y="526363"/>
                  <a:pt x="404857" y="534293"/>
                  <a:pt x="407957" y="542045"/>
                </a:cubicBezTo>
                <a:cubicBezTo>
                  <a:pt x="414092" y="557387"/>
                  <a:pt x="423168" y="571042"/>
                  <a:pt x="434134" y="583349"/>
                </a:cubicBezTo>
                <a:cubicBezTo>
                  <a:pt x="464083" y="616959"/>
                  <a:pt x="493980" y="650618"/>
                  <a:pt x="524267" y="683922"/>
                </a:cubicBezTo>
                <a:cubicBezTo>
                  <a:pt x="554818" y="717518"/>
                  <a:pt x="588291" y="748619"/>
                  <a:pt x="614317" y="786085"/>
                </a:cubicBezTo>
                <a:cubicBezTo>
                  <a:pt x="642656" y="826881"/>
                  <a:pt x="663974" y="871159"/>
                  <a:pt x="669590" y="921089"/>
                </a:cubicBezTo>
                <a:cubicBezTo>
                  <a:pt x="674894" y="968240"/>
                  <a:pt x="669774" y="1014226"/>
                  <a:pt x="647360" y="1057245"/>
                </a:cubicBezTo>
                <a:cubicBezTo>
                  <a:pt x="639830" y="1071697"/>
                  <a:pt x="630533" y="1085565"/>
                  <a:pt x="627872" y="1102111"/>
                </a:cubicBezTo>
                <a:cubicBezTo>
                  <a:pt x="623640" y="1128439"/>
                  <a:pt x="626183" y="1153784"/>
                  <a:pt x="642300" y="1175941"/>
                </a:cubicBezTo>
                <a:cubicBezTo>
                  <a:pt x="650201" y="1186801"/>
                  <a:pt x="659595" y="1196636"/>
                  <a:pt x="668829" y="1206449"/>
                </a:cubicBezTo>
                <a:cubicBezTo>
                  <a:pt x="679770" y="1218075"/>
                  <a:pt x="691267" y="1229177"/>
                  <a:pt x="703087" y="1241174"/>
                </a:cubicBezTo>
                <a:moveTo>
                  <a:pt x="648750" y="562343"/>
                </a:moveTo>
                <a:cubicBezTo>
                  <a:pt x="656729" y="562558"/>
                  <a:pt x="664698" y="567407"/>
                  <a:pt x="674049" y="562834"/>
                </a:cubicBezTo>
                <a:cubicBezTo>
                  <a:pt x="668990" y="558037"/>
                  <a:pt x="664729" y="554259"/>
                  <a:pt x="660781" y="550178"/>
                </a:cubicBezTo>
                <a:cubicBezTo>
                  <a:pt x="656713" y="545973"/>
                  <a:pt x="651493" y="542363"/>
                  <a:pt x="650911" y="534051"/>
                </a:cubicBezTo>
                <a:cubicBezTo>
                  <a:pt x="654940" y="535536"/>
                  <a:pt x="657753" y="536907"/>
                  <a:pt x="660724" y="537605"/>
                </a:cubicBezTo>
                <a:cubicBezTo>
                  <a:pt x="669824" y="539743"/>
                  <a:pt x="678915" y="542853"/>
                  <a:pt x="688133" y="543363"/>
                </a:cubicBezTo>
                <a:cubicBezTo>
                  <a:pt x="712019" y="544686"/>
                  <a:pt x="726964" y="534053"/>
                  <a:pt x="731514" y="510767"/>
                </a:cubicBezTo>
                <a:cubicBezTo>
                  <a:pt x="734296" y="496535"/>
                  <a:pt x="734146" y="481511"/>
                  <a:pt x="733611" y="466905"/>
                </a:cubicBezTo>
                <a:cubicBezTo>
                  <a:pt x="732951" y="448863"/>
                  <a:pt x="723348" y="435653"/>
                  <a:pt x="708076" y="425975"/>
                </a:cubicBezTo>
                <a:cubicBezTo>
                  <a:pt x="694258" y="417218"/>
                  <a:pt x="681056" y="407489"/>
                  <a:pt x="667538" y="398254"/>
                </a:cubicBezTo>
                <a:cubicBezTo>
                  <a:pt x="641278" y="380314"/>
                  <a:pt x="617580" y="359743"/>
                  <a:pt x="601016" y="332127"/>
                </a:cubicBezTo>
                <a:cubicBezTo>
                  <a:pt x="588810" y="311778"/>
                  <a:pt x="576093" y="291645"/>
                  <a:pt x="565354" y="270526"/>
                </a:cubicBezTo>
                <a:cubicBezTo>
                  <a:pt x="548401" y="237186"/>
                  <a:pt x="523821" y="212104"/>
                  <a:pt x="490657" y="195121"/>
                </a:cubicBezTo>
                <a:cubicBezTo>
                  <a:pt x="471346" y="185231"/>
                  <a:pt x="452394" y="174606"/>
                  <a:pt x="432834" y="165243"/>
                </a:cubicBezTo>
                <a:cubicBezTo>
                  <a:pt x="416725" y="157532"/>
                  <a:pt x="408325" y="145526"/>
                  <a:pt x="407594" y="127852"/>
                </a:cubicBezTo>
                <a:cubicBezTo>
                  <a:pt x="406783" y="108242"/>
                  <a:pt x="405935" y="88634"/>
                  <a:pt x="405020" y="69029"/>
                </a:cubicBezTo>
                <a:cubicBezTo>
                  <a:pt x="404882" y="66067"/>
                  <a:pt x="404287" y="63127"/>
                  <a:pt x="403638" y="58130"/>
                </a:cubicBezTo>
                <a:cubicBezTo>
                  <a:pt x="381792" y="82321"/>
                  <a:pt x="361650" y="104820"/>
                  <a:pt x="349776" y="133259"/>
                </a:cubicBezTo>
                <a:cubicBezTo>
                  <a:pt x="345032" y="144621"/>
                  <a:pt x="337822" y="153814"/>
                  <a:pt x="326975" y="159669"/>
                </a:cubicBezTo>
                <a:cubicBezTo>
                  <a:pt x="295461" y="176681"/>
                  <a:pt x="266610" y="197333"/>
                  <a:pt x="240374" y="221714"/>
                </a:cubicBezTo>
                <a:cubicBezTo>
                  <a:pt x="212881" y="247263"/>
                  <a:pt x="188313" y="275340"/>
                  <a:pt x="171637" y="309087"/>
                </a:cubicBezTo>
                <a:cubicBezTo>
                  <a:pt x="139180" y="374765"/>
                  <a:pt x="129692" y="444532"/>
                  <a:pt x="138048" y="516954"/>
                </a:cubicBezTo>
                <a:cubicBezTo>
                  <a:pt x="142936" y="559318"/>
                  <a:pt x="152518" y="600762"/>
                  <a:pt x="163889" y="641780"/>
                </a:cubicBezTo>
                <a:cubicBezTo>
                  <a:pt x="177329" y="690261"/>
                  <a:pt x="191989" y="738413"/>
                  <a:pt x="204800" y="787055"/>
                </a:cubicBezTo>
                <a:cubicBezTo>
                  <a:pt x="218820" y="840287"/>
                  <a:pt x="228587" y="894088"/>
                  <a:pt x="218549" y="949545"/>
                </a:cubicBezTo>
                <a:cubicBezTo>
                  <a:pt x="213279" y="978659"/>
                  <a:pt x="207130" y="1007359"/>
                  <a:pt x="191487" y="1033064"/>
                </a:cubicBezTo>
                <a:cubicBezTo>
                  <a:pt x="190499" y="1034686"/>
                  <a:pt x="190018" y="1036618"/>
                  <a:pt x="188729" y="1039835"/>
                </a:cubicBezTo>
                <a:cubicBezTo>
                  <a:pt x="200470" y="1040170"/>
                  <a:pt x="210952" y="1040298"/>
                  <a:pt x="221417" y="1040799"/>
                </a:cubicBezTo>
                <a:cubicBezTo>
                  <a:pt x="263912" y="1042835"/>
                  <a:pt x="306390" y="1046436"/>
                  <a:pt x="348895" y="1046759"/>
                </a:cubicBezTo>
                <a:cubicBezTo>
                  <a:pt x="414380" y="1047258"/>
                  <a:pt x="479896" y="1046092"/>
                  <a:pt x="545369" y="1044456"/>
                </a:cubicBezTo>
                <a:cubicBezTo>
                  <a:pt x="567764" y="1043897"/>
                  <a:pt x="590066" y="1039744"/>
                  <a:pt x="612424" y="1037365"/>
                </a:cubicBezTo>
                <a:cubicBezTo>
                  <a:pt x="617948" y="1036777"/>
                  <a:pt x="621342" y="1034139"/>
                  <a:pt x="623169" y="1028873"/>
                </a:cubicBezTo>
                <a:cubicBezTo>
                  <a:pt x="630975" y="1006370"/>
                  <a:pt x="637026" y="983472"/>
                  <a:pt x="638508" y="959599"/>
                </a:cubicBezTo>
                <a:cubicBezTo>
                  <a:pt x="641131" y="917363"/>
                  <a:pt x="628970" y="878727"/>
                  <a:pt x="609213" y="842075"/>
                </a:cubicBezTo>
                <a:cubicBezTo>
                  <a:pt x="587874" y="802491"/>
                  <a:pt x="559403" y="768169"/>
                  <a:pt x="529367" y="735065"/>
                </a:cubicBezTo>
                <a:cubicBezTo>
                  <a:pt x="487563" y="688992"/>
                  <a:pt x="445474" y="643176"/>
                  <a:pt x="403792" y="596993"/>
                </a:cubicBezTo>
                <a:cubicBezTo>
                  <a:pt x="380393" y="571066"/>
                  <a:pt x="360083" y="542922"/>
                  <a:pt x="344708" y="511366"/>
                </a:cubicBezTo>
                <a:cubicBezTo>
                  <a:pt x="324385" y="469655"/>
                  <a:pt x="317321" y="425966"/>
                  <a:pt x="324464" y="380084"/>
                </a:cubicBezTo>
                <a:cubicBezTo>
                  <a:pt x="324821" y="377789"/>
                  <a:pt x="326581" y="375713"/>
                  <a:pt x="327688" y="373535"/>
                </a:cubicBezTo>
                <a:cubicBezTo>
                  <a:pt x="328570" y="373570"/>
                  <a:pt x="329452" y="373606"/>
                  <a:pt x="330334" y="373641"/>
                </a:cubicBezTo>
                <a:cubicBezTo>
                  <a:pt x="331649" y="377308"/>
                  <a:pt x="333001" y="380963"/>
                  <a:pt x="334272" y="384645"/>
                </a:cubicBezTo>
                <a:cubicBezTo>
                  <a:pt x="342569" y="408660"/>
                  <a:pt x="351164" y="432573"/>
                  <a:pt x="365260" y="453955"/>
                </a:cubicBezTo>
                <a:cubicBezTo>
                  <a:pt x="375537" y="469544"/>
                  <a:pt x="388811" y="481767"/>
                  <a:pt x="408246" y="483592"/>
                </a:cubicBezTo>
                <a:cubicBezTo>
                  <a:pt x="426928" y="485346"/>
                  <a:pt x="445757" y="486037"/>
                  <a:pt x="464529" y="486187"/>
                </a:cubicBezTo>
                <a:cubicBezTo>
                  <a:pt x="480053" y="486311"/>
                  <a:pt x="495582" y="484792"/>
                  <a:pt x="511119" y="484308"/>
                </a:cubicBezTo>
                <a:cubicBezTo>
                  <a:pt x="532443" y="483644"/>
                  <a:pt x="551690" y="490014"/>
                  <a:pt x="567913" y="503736"/>
                </a:cubicBezTo>
                <a:cubicBezTo>
                  <a:pt x="581642" y="515348"/>
                  <a:pt x="594604" y="527888"/>
                  <a:pt x="607611" y="540326"/>
                </a:cubicBezTo>
                <a:cubicBezTo>
                  <a:pt x="618811" y="551038"/>
                  <a:pt x="631177" y="559300"/>
                  <a:pt x="648750" y="562343"/>
                </a:cubicBezTo>
                <a:moveTo>
                  <a:pt x="462594" y="1369008"/>
                </a:moveTo>
                <a:cubicBezTo>
                  <a:pt x="478517" y="1368137"/>
                  <a:pt x="494449" y="1367429"/>
                  <a:pt x="510357" y="1366345"/>
                </a:cubicBezTo>
                <a:cubicBezTo>
                  <a:pt x="523399" y="1365456"/>
                  <a:pt x="536424" y="1364247"/>
                  <a:pt x="549434" y="1362956"/>
                </a:cubicBezTo>
                <a:cubicBezTo>
                  <a:pt x="577089" y="1360213"/>
                  <a:pt x="604749" y="1357503"/>
                  <a:pt x="632369" y="1354439"/>
                </a:cubicBezTo>
                <a:cubicBezTo>
                  <a:pt x="653805" y="1352062"/>
                  <a:pt x="675183" y="1349170"/>
                  <a:pt x="697252" y="1346424"/>
                </a:cubicBezTo>
                <a:cubicBezTo>
                  <a:pt x="701148" y="1316348"/>
                  <a:pt x="695768" y="1289474"/>
                  <a:pt x="676674" y="1266396"/>
                </a:cubicBezTo>
                <a:cubicBezTo>
                  <a:pt x="667313" y="1255080"/>
                  <a:pt x="656878" y="1244625"/>
                  <a:pt x="646594" y="1234108"/>
                </a:cubicBezTo>
                <a:cubicBezTo>
                  <a:pt x="634298" y="1221533"/>
                  <a:pt x="621353" y="1209623"/>
                  <a:pt x="612063" y="1194382"/>
                </a:cubicBezTo>
                <a:cubicBezTo>
                  <a:pt x="596511" y="1168867"/>
                  <a:pt x="588079" y="1141707"/>
                  <a:pt x="591616" y="1111541"/>
                </a:cubicBezTo>
                <a:cubicBezTo>
                  <a:pt x="592450" y="1104432"/>
                  <a:pt x="593365" y="1097332"/>
                  <a:pt x="594320" y="1089609"/>
                </a:cubicBezTo>
                <a:cubicBezTo>
                  <a:pt x="588294" y="1089609"/>
                  <a:pt x="583452" y="1089392"/>
                  <a:pt x="578634" y="1089642"/>
                </a:cubicBezTo>
                <a:cubicBezTo>
                  <a:pt x="533732" y="1091976"/>
                  <a:pt x="488841" y="1094525"/>
                  <a:pt x="443931" y="1096700"/>
                </a:cubicBezTo>
                <a:cubicBezTo>
                  <a:pt x="430451" y="1097353"/>
                  <a:pt x="416923" y="1097005"/>
                  <a:pt x="403417" y="1097156"/>
                </a:cubicBezTo>
                <a:cubicBezTo>
                  <a:pt x="389337" y="1097313"/>
                  <a:pt x="388961" y="1097850"/>
                  <a:pt x="388348" y="1111502"/>
                </a:cubicBezTo>
                <a:cubicBezTo>
                  <a:pt x="387375" y="1133151"/>
                  <a:pt x="386231" y="1154793"/>
                  <a:pt x="385048" y="1176431"/>
                </a:cubicBezTo>
                <a:cubicBezTo>
                  <a:pt x="382637" y="1220514"/>
                  <a:pt x="380158" y="1264593"/>
                  <a:pt x="377687" y="1308672"/>
                </a:cubicBezTo>
                <a:cubicBezTo>
                  <a:pt x="377458" y="1312751"/>
                  <a:pt x="376852" y="1316821"/>
                  <a:pt x="376823" y="1320897"/>
                </a:cubicBezTo>
                <a:cubicBezTo>
                  <a:pt x="376717" y="1335880"/>
                  <a:pt x="376781" y="1350864"/>
                  <a:pt x="376781" y="1366151"/>
                </a:cubicBezTo>
                <a:cubicBezTo>
                  <a:pt x="404707" y="1370397"/>
                  <a:pt x="432477" y="1369351"/>
                  <a:pt x="462594" y="1369008"/>
                </a:cubicBezTo>
                <a:moveTo>
                  <a:pt x="648494" y="1463981"/>
                </a:moveTo>
                <a:cubicBezTo>
                  <a:pt x="671329" y="1460052"/>
                  <a:pt x="694163" y="1456122"/>
                  <a:pt x="718746" y="1451892"/>
                </a:cubicBezTo>
                <a:cubicBezTo>
                  <a:pt x="716257" y="1439067"/>
                  <a:pt x="714578" y="1427816"/>
                  <a:pt x="711827" y="1416835"/>
                </a:cubicBezTo>
                <a:cubicBezTo>
                  <a:pt x="707611" y="1400009"/>
                  <a:pt x="703502" y="1397423"/>
                  <a:pt x="685812" y="1398502"/>
                </a:cubicBezTo>
                <a:cubicBezTo>
                  <a:pt x="684179" y="1398602"/>
                  <a:pt x="682547" y="1398768"/>
                  <a:pt x="680924" y="1398973"/>
                </a:cubicBezTo>
                <a:cubicBezTo>
                  <a:pt x="653380" y="1402446"/>
                  <a:pt x="625911" y="1406752"/>
                  <a:pt x="598278" y="1409218"/>
                </a:cubicBezTo>
                <a:cubicBezTo>
                  <a:pt x="557171" y="1412886"/>
                  <a:pt x="515983" y="1415946"/>
                  <a:pt x="474765" y="1417945"/>
                </a:cubicBezTo>
                <a:cubicBezTo>
                  <a:pt x="444944" y="1419391"/>
                  <a:pt x="415021" y="1418680"/>
                  <a:pt x="385143" y="1418978"/>
                </a:cubicBezTo>
                <a:cubicBezTo>
                  <a:pt x="382419" y="1419005"/>
                  <a:pt x="379697" y="1419376"/>
                  <a:pt x="376639" y="1419613"/>
                </a:cubicBezTo>
                <a:cubicBezTo>
                  <a:pt x="376639" y="1438152"/>
                  <a:pt x="376639" y="1455909"/>
                  <a:pt x="376639" y="1473939"/>
                </a:cubicBezTo>
                <a:cubicBezTo>
                  <a:pt x="378971" y="1474343"/>
                  <a:pt x="380523" y="1474802"/>
                  <a:pt x="382089" y="1474854"/>
                </a:cubicBezTo>
                <a:cubicBezTo>
                  <a:pt x="404571" y="1475605"/>
                  <a:pt x="427058" y="1476986"/>
                  <a:pt x="449536" y="1476855"/>
                </a:cubicBezTo>
                <a:cubicBezTo>
                  <a:pt x="486344" y="1476639"/>
                  <a:pt x="523207" y="1476480"/>
                  <a:pt x="559930" y="1474307"/>
                </a:cubicBezTo>
                <a:cubicBezTo>
                  <a:pt x="588839" y="1472596"/>
                  <a:pt x="617570" y="1467884"/>
                  <a:pt x="648494" y="1463981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6" name="Free-form: Shape 55">
            <a:extLst>
              <a:ext uri="{FF2B5EF4-FFF2-40B4-BE49-F238E27FC236}">
                <a16:creationId xmlns:a16="http://schemas.microsoft.com/office/drawing/2014/main" id="{D28598AE-4DAB-D539-C7FB-AD965FBD9B8E}"/>
              </a:ext>
            </a:extLst>
          </p:cNvPr>
          <p:cNvSpPr/>
          <p:nvPr/>
        </p:nvSpPr>
        <p:spPr>
          <a:xfrm>
            <a:off x="8316116" y="-2304325"/>
            <a:ext cx="497702" cy="821885"/>
          </a:xfrm>
          <a:custGeom>
            <a:avLst/>
            <a:gdLst>
              <a:gd name="csX0" fmla="*/ 512604 w 598747"/>
              <a:gd name="csY0" fmla="*/ 503918 h 988745"/>
              <a:gd name="csX1" fmla="*/ 472435 w 598747"/>
              <a:gd name="csY1" fmla="*/ 482196 h 988745"/>
              <a:gd name="csX2" fmla="*/ 432737 w 598747"/>
              <a:gd name="csY2" fmla="*/ 445605 h 988745"/>
              <a:gd name="csX3" fmla="*/ 375943 w 598747"/>
              <a:gd name="csY3" fmla="*/ 426178 h 988745"/>
              <a:gd name="csX4" fmla="*/ 329354 w 598747"/>
              <a:gd name="csY4" fmla="*/ 428057 h 988745"/>
              <a:gd name="csX5" fmla="*/ 273070 w 598747"/>
              <a:gd name="csY5" fmla="*/ 425461 h 988745"/>
              <a:gd name="csX6" fmla="*/ 230084 w 598747"/>
              <a:gd name="csY6" fmla="*/ 395825 h 988745"/>
              <a:gd name="csX7" fmla="*/ 199097 w 598747"/>
              <a:gd name="csY7" fmla="*/ 326515 h 988745"/>
              <a:gd name="csX8" fmla="*/ 195158 w 598747"/>
              <a:gd name="csY8" fmla="*/ 315511 h 988745"/>
              <a:gd name="csX9" fmla="*/ 192512 w 598747"/>
              <a:gd name="csY9" fmla="*/ 315405 h 988745"/>
              <a:gd name="csX10" fmla="*/ 189288 w 598747"/>
              <a:gd name="csY10" fmla="*/ 321954 h 988745"/>
              <a:gd name="csX11" fmla="*/ 209532 w 598747"/>
              <a:gd name="csY11" fmla="*/ 453235 h 988745"/>
              <a:gd name="csX12" fmla="*/ 268616 w 598747"/>
              <a:gd name="csY12" fmla="*/ 538863 h 988745"/>
              <a:gd name="csX13" fmla="*/ 394191 w 598747"/>
              <a:gd name="csY13" fmla="*/ 676935 h 988745"/>
              <a:gd name="csX14" fmla="*/ 474037 w 598747"/>
              <a:gd name="csY14" fmla="*/ 783945 h 988745"/>
              <a:gd name="csX15" fmla="*/ 503332 w 598747"/>
              <a:gd name="csY15" fmla="*/ 901469 h 988745"/>
              <a:gd name="csX16" fmla="*/ 487993 w 598747"/>
              <a:gd name="csY16" fmla="*/ 970743 h 988745"/>
              <a:gd name="csX17" fmla="*/ 477248 w 598747"/>
              <a:gd name="csY17" fmla="*/ 979235 h 988745"/>
              <a:gd name="csX18" fmla="*/ 410194 w 598747"/>
              <a:gd name="csY18" fmla="*/ 986326 h 988745"/>
              <a:gd name="csX19" fmla="*/ 213720 w 598747"/>
              <a:gd name="csY19" fmla="*/ 988629 h 988745"/>
              <a:gd name="csX20" fmla="*/ 86242 w 598747"/>
              <a:gd name="csY20" fmla="*/ 982669 h 988745"/>
              <a:gd name="csX21" fmla="*/ 53553 w 598747"/>
              <a:gd name="csY21" fmla="*/ 981705 h 988745"/>
              <a:gd name="csX22" fmla="*/ 56311 w 598747"/>
              <a:gd name="csY22" fmla="*/ 974933 h 988745"/>
              <a:gd name="csX23" fmla="*/ 83373 w 598747"/>
              <a:gd name="csY23" fmla="*/ 891414 h 988745"/>
              <a:gd name="csX24" fmla="*/ 69625 w 598747"/>
              <a:gd name="csY24" fmla="*/ 728925 h 988745"/>
              <a:gd name="csX25" fmla="*/ 28713 w 598747"/>
              <a:gd name="csY25" fmla="*/ 583650 h 988745"/>
              <a:gd name="csX26" fmla="*/ 2872 w 598747"/>
              <a:gd name="csY26" fmla="*/ 458823 h 988745"/>
              <a:gd name="csX27" fmla="*/ 36461 w 598747"/>
              <a:gd name="csY27" fmla="*/ 250957 h 988745"/>
              <a:gd name="csX28" fmla="*/ 105198 w 598747"/>
              <a:gd name="csY28" fmla="*/ 163584 h 988745"/>
              <a:gd name="csX29" fmla="*/ 191800 w 598747"/>
              <a:gd name="csY29" fmla="*/ 101539 h 988745"/>
              <a:gd name="csX30" fmla="*/ 214600 w 598747"/>
              <a:gd name="csY30" fmla="*/ 75129 h 988745"/>
              <a:gd name="csX31" fmla="*/ 268462 w 598747"/>
              <a:gd name="csY31" fmla="*/ 0 h 988745"/>
              <a:gd name="csX32" fmla="*/ 269844 w 598747"/>
              <a:gd name="csY32" fmla="*/ 10898 h 988745"/>
              <a:gd name="csX33" fmla="*/ 272418 w 598747"/>
              <a:gd name="csY33" fmla="*/ 69722 h 988745"/>
              <a:gd name="csX34" fmla="*/ 297658 w 598747"/>
              <a:gd name="csY34" fmla="*/ 107113 h 988745"/>
              <a:gd name="csX35" fmla="*/ 355481 w 598747"/>
              <a:gd name="csY35" fmla="*/ 136991 h 988745"/>
              <a:gd name="csX36" fmla="*/ 430178 w 598747"/>
              <a:gd name="csY36" fmla="*/ 212396 h 988745"/>
              <a:gd name="csX37" fmla="*/ 465840 w 598747"/>
              <a:gd name="csY37" fmla="*/ 273997 h 988745"/>
              <a:gd name="csX38" fmla="*/ 532362 w 598747"/>
              <a:gd name="csY38" fmla="*/ 340124 h 988745"/>
              <a:gd name="csX39" fmla="*/ 572901 w 598747"/>
              <a:gd name="csY39" fmla="*/ 367845 h 988745"/>
              <a:gd name="csX40" fmla="*/ 598436 w 598747"/>
              <a:gd name="csY40" fmla="*/ 408775 h 988745"/>
              <a:gd name="csX41" fmla="*/ 596339 w 598747"/>
              <a:gd name="csY41" fmla="*/ 452637 h 988745"/>
              <a:gd name="csX42" fmla="*/ 552957 w 598747"/>
              <a:gd name="csY42" fmla="*/ 485233 h 988745"/>
              <a:gd name="csX43" fmla="*/ 525548 w 598747"/>
              <a:gd name="csY43" fmla="*/ 479475 h 988745"/>
              <a:gd name="csX44" fmla="*/ 515736 w 598747"/>
              <a:gd name="csY44" fmla="*/ 475921 h 988745"/>
              <a:gd name="csX45" fmla="*/ 525605 w 598747"/>
              <a:gd name="csY45" fmla="*/ 492048 h 988745"/>
              <a:gd name="csX46" fmla="*/ 538873 w 598747"/>
              <a:gd name="csY46" fmla="*/ 504704 h 988745"/>
              <a:gd name="csX47" fmla="*/ 512604 w 598747"/>
              <a:gd name="csY47" fmla="*/ 503918 h 988745"/>
              <a:gd name="csX48" fmla="*/ 332072 w 598747"/>
              <a:gd name="csY48" fmla="*/ 218143 h 988745"/>
              <a:gd name="csX49" fmla="*/ 334388 w 598747"/>
              <a:gd name="csY49" fmla="*/ 226400 h 988745"/>
              <a:gd name="csX50" fmla="*/ 372370 w 598747"/>
              <a:gd name="csY50" fmla="*/ 254505 h 988745"/>
              <a:gd name="csX51" fmla="*/ 405258 w 598747"/>
              <a:gd name="csY51" fmla="*/ 252089 h 988745"/>
              <a:gd name="csX52" fmla="*/ 409167 w 598747"/>
              <a:gd name="csY52" fmla="*/ 244359 h 988745"/>
              <a:gd name="csX53" fmla="*/ 396364 w 598747"/>
              <a:gd name="csY53" fmla="*/ 219471 h 988745"/>
              <a:gd name="csX54" fmla="*/ 365755 w 598747"/>
              <a:gd name="csY54" fmla="*/ 195821 h 988745"/>
              <a:gd name="csX55" fmla="*/ 333572 w 598747"/>
              <a:gd name="csY55" fmla="*/ 188536 h 988745"/>
              <a:gd name="csX56" fmla="*/ 322931 w 598747"/>
              <a:gd name="csY56" fmla="*/ 190843 h 988745"/>
              <a:gd name="csX57" fmla="*/ 329041 w 598747"/>
              <a:gd name="csY57" fmla="*/ 203001 h 988745"/>
              <a:gd name="csX58" fmla="*/ 332072 w 598747"/>
              <a:gd name="csY58" fmla="*/ 218143 h 98874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</a:cxnLst>
            <a:rect l="l" t="t" r="r" b="b"/>
            <a:pathLst>
              <a:path w="598747" h="988745">
                <a:moveTo>
                  <a:pt x="512604" y="503918"/>
                </a:moveTo>
                <a:cubicBezTo>
                  <a:pt x="496002" y="501170"/>
                  <a:pt x="483635" y="492907"/>
                  <a:pt x="472435" y="482196"/>
                </a:cubicBezTo>
                <a:cubicBezTo>
                  <a:pt x="459429" y="469758"/>
                  <a:pt x="446467" y="457218"/>
                  <a:pt x="432737" y="445605"/>
                </a:cubicBezTo>
                <a:cubicBezTo>
                  <a:pt x="416514" y="431883"/>
                  <a:pt x="397267" y="425513"/>
                  <a:pt x="375943" y="426178"/>
                </a:cubicBezTo>
                <a:cubicBezTo>
                  <a:pt x="360407" y="426662"/>
                  <a:pt x="344877" y="428180"/>
                  <a:pt x="329354" y="428057"/>
                </a:cubicBezTo>
                <a:cubicBezTo>
                  <a:pt x="310581" y="427907"/>
                  <a:pt x="291752" y="427215"/>
                  <a:pt x="273070" y="425461"/>
                </a:cubicBezTo>
                <a:cubicBezTo>
                  <a:pt x="253636" y="423637"/>
                  <a:pt x="240361" y="411413"/>
                  <a:pt x="230084" y="395825"/>
                </a:cubicBezTo>
                <a:cubicBezTo>
                  <a:pt x="215988" y="374443"/>
                  <a:pt x="207393" y="350530"/>
                  <a:pt x="199097" y="326515"/>
                </a:cubicBezTo>
                <a:cubicBezTo>
                  <a:pt x="197825" y="322833"/>
                  <a:pt x="196473" y="319178"/>
                  <a:pt x="195158" y="315511"/>
                </a:cubicBezTo>
                <a:cubicBezTo>
                  <a:pt x="194276" y="315475"/>
                  <a:pt x="193394" y="315440"/>
                  <a:pt x="192512" y="315405"/>
                </a:cubicBezTo>
                <a:cubicBezTo>
                  <a:pt x="191405" y="317583"/>
                  <a:pt x="189646" y="319659"/>
                  <a:pt x="189288" y="321954"/>
                </a:cubicBezTo>
                <a:cubicBezTo>
                  <a:pt x="182145" y="367836"/>
                  <a:pt x="189209" y="411525"/>
                  <a:pt x="209532" y="453235"/>
                </a:cubicBezTo>
                <a:cubicBezTo>
                  <a:pt x="224908" y="484792"/>
                  <a:pt x="245217" y="512936"/>
                  <a:pt x="268616" y="538863"/>
                </a:cubicBezTo>
                <a:cubicBezTo>
                  <a:pt x="310298" y="585046"/>
                  <a:pt x="352387" y="630861"/>
                  <a:pt x="394191" y="676935"/>
                </a:cubicBezTo>
                <a:cubicBezTo>
                  <a:pt x="424227" y="710039"/>
                  <a:pt x="452698" y="744360"/>
                  <a:pt x="474037" y="783945"/>
                </a:cubicBezTo>
                <a:cubicBezTo>
                  <a:pt x="493795" y="820596"/>
                  <a:pt x="505956" y="859233"/>
                  <a:pt x="503332" y="901469"/>
                </a:cubicBezTo>
                <a:cubicBezTo>
                  <a:pt x="501850" y="925342"/>
                  <a:pt x="495799" y="948239"/>
                  <a:pt x="487993" y="970743"/>
                </a:cubicBezTo>
                <a:cubicBezTo>
                  <a:pt x="486166" y="976009"/>
                  <a:pt x="482772" y="978647"/>
                  <a:pt x="477248" y="979235"/>
                </a:cubicBezTo>
                <a:cubicBezTo>
                  <a:pt x="454890" y="981614"/>
                  <a:pt x="432589" y="985767"/>
                  <a:pt x="410194" y="986326"/>
                </a:cubicBezTo>
                <a:cubicBezTo>
                  <a:pt x="344720" y="987961"/>
                  <a:pt x="279205" y="989128"/>
                  <a:pt x="213720" y="988629"/>
                </a:cubicBezTo>
                <a:cubicBezTo>
                  <a:pt x="171215" y="988306"/>
                  <a:pt x="128736" y="984705"/>
                  <a:pt x="86242" y="982669"/>
                </a:cubicBezTo>
                <a:cubicBezTo>
                  <a:pt x="75776" y="982167"/>
                  <a:pt x="65294" y="982040"/>
                  <a:pt x="53553" y="981705"/>
                </a:cubicBezTo>
                <a:cubicBezTo>
                  <a:pt x="54842" y="978488"/>
                  <a:pt x="55323" y="976556"/>
                  <a:pt x="56311" y="974933"/>
                </a:cubicBezTo>
                <a:cubicBezTo>
                  <a:pt x="71955" y="949229"/>
                  <a:pt x="78103" y="920529"/>
                  <a:pt x="83373" y="891414"/>
                </a:cubicBezTo>
                <a:cubicBezTo>
                  <a:pt x="93411" y="835958"/>
                  <a:pt x="83645" y="782156"/>
                  <a:pt x="69625" y="728925"/>
                </a:cubicBezTo>
                <a:cubicBezTo>
                  <a:pt x="56813" y="680283"/>
                  <a:pt x="42153" y="632130"/>
                  <a:pt x="28713" y="583650"/>
                </a:cubicBezTo>
                <a:cubicBezTo>
                  <a:pt x="17342" y="542631"/>
                  <a:pt x="7760" y="501188"/>
                  <a:pt x="2872" y="458823"/>
                </a:cubicBezTo>
                <a:cubicBezTo>
                  <a:pt x="-5484" y="386401"/>
                  <a:pt x="4005" y="316635"/>
                  <a:pt x="36461" y="250957"/>
                </a:cubicBezTo>
                <a:cubicBezTo>
                  <a:pt x="53137" y="217210"/>
                  <a:pt x="77705" y="189133"/>
                  <a:pt x="105198" y="163584"/>
                </a:cubicBezTo>
                <a:cubicBezTo>
                  <a:pt x="131434" y="139203"/>
                  <a:pt x="160285" y="118551"/>
                  <a:pt x="191800" y="101539"/>
                </a:cubicBezTo>
                <a:cubicBezTo>
                  <a:pt x="202646" y="95684"/>
                  <a:pt x="209856" y="86491"/>
                  <a:pt x="214600" y="75129"/>
                </a:cubicBezTo>
                <a:cubicBezTo>
                  <a:pt x="226474" y="46689"/>
                  <a:pt x="246616" y="24191"/>
                  <a:pt x="268462" y="0"/>
                </a:cubicBezTo>
                <a:cubicBezTo>
                  <a:pt x="269111" y="4997"/>
                  <a:pt x="269706" y="7937"/>
                  <a:pt x="269844" y="10898"/>
                </a:cubicBezTo>
                <a:cubicBezTo>
                  <a:pt x="270760" y="30504"/>
                  <a:pt x="271607" y="50112"/>
                  <a:pt x="272418" y="69722"/>
                </a:cubicBezTo>
                <a:cubicBezTo>
                  <a:pt x="273150" y="87396"/>
                  <a:pt x="281549" y="99401"/>
                  <a:pt x="297658" y="107113"/>
                </a:cubicBezTo>
                <a:cubicBezTo>
                  <a:pt x="317218" y="116476"/>
                  <a:pt x="336170" y="127101"/>
                  <a:pt x="355481" y="136991"/>
                </a:cubicBezTo>
                <a:cubicBezTo>
                  <a:pt x="388645" y="153974"/>
                  <a:pt x="413226" y="179056"/>
                  <a:pt x="430178" y="212396"/>
                </a:cubicBezTo>
                <a:cubicBezTo>
                  <a:pt x="440917" y="233515"/>
                  <a:pt x="453634" y="253647"/>
                  <a:pt x="465840" y="273997"/>
                </a:cubicBezTo>
                <a:cubicBezTo>
                  <a:pt x="482404" y="301613"/>
                  <a:pt x="506102" y="322183"/>
                  <a:pt x="532362" y="340124"/>
                </a:cubicBezTo>
                <a:cubicBezTo>
                  <a:pt x="545881" y="349359"/>
                  <a:pt x="559082" y="359088"/>
                  <a:pt x="572901" y="367845"/>
                </a:cubicBezTo>
                <a:cubicBezTo>
                  <a:pt x="588172" y="377523"/>
                  <a:pt x="597775" y="390733"/>
                  <a:pt x="598436" y="408775"/>
                </a:cubicBezTo>
                <a:cubicBezTo>
                  <a:pt x="598970" y="423381"/>
                  <a:pt x="599120" y="438404"/>
                  <a:pt x="596339" y="452637"/>
                </a:cubicBezTo>
                <a:cubicBezTo>
                  <a:pt x="591789" y="475923"/>
                  <a:pt x="576843" y="486555"/>
                  <a:pt x="552957" y="485233"/>
                </a:cubicBezTo>
                <a:cubicBezTo>
                  <a:pt x="543740" y="484722"/>
                  <a:pt x="534648" y="481613"/>
                  <a:pt x="525548" y="479475"/>
                </a:cubicBezTo>
                <a:cubicBezTo>
                  <a:pt x="522577" y="478776"/>
                  <a:pt x="519764" y="477405"/>
                  <a:pt x="515736" y="475921"/>
                </a:cubicBezTo>
                <a:cubicBezTo>
                  <a:pt x="516318" y="484233"/>
                  <a:pt x="521537" y="487842"/>
                  <a:pt x="525605" y="492048"/>
                </a:cubicBezTo>
                <a:cubicBezTo>
                  <a:pt x="529554" y="496129"/>
                  <a:pt x="533815" y="499907"/>
                  <a:pt x="538873" y="504704"/>
                </a:cubicBezTo>
                <a:cubicBezTo>
                  <a:pt x="529522" y="509277"/>
                  <a:pt x="521553" y="504428"/>
                  <a:pt x="512604" y="503918"/>
                </a:cubicBezTo>
                <a:moveTo>
                  <a:pt x="332072" y="218143"/>
                </a:moveTo>
                <a:cubicBezTo>
                  <a:pt x="332837" y="220898"/>
                  <a:pt x="333478" y="223695"/>
                  <a:pt x="334388" y="226400"/>
                </a:cubicBezTo>
                <a:cubicBezTo>
                  <a:pt x="341073" y="246268"/>
                  <a:pt x="351614" y="254460"/>
                  <a:pt x="372370" y="254505"/>
                </a:cubicBezTo>
                <a:cubicBezTo>
                  <a:pt x="383333" y="254529"/>
                  <a:pt x="394312" y="253121"/>
                  <a:pt x="405258" y="252089"/>
                </a:cubicBezTo>
                <a:cubicBezTo>
                  <a:pt x="409961" y="251646"/>
                  <a:pt x="411340" y="248568"/>
                  <a:pt x="409167" y="244359"/>
                </a:cubicBezTo>
                <a:cubicBezTo>
                  <a:pt x="404885" y="236068"/>
                  <a:pt x="400139" y="227985"/>
                  <a:pt x="396364" y="219471"/>
                </a:cubicBezTo>
                <a:cubicBezTo>
                  <a:pt x="390350" y="205908"/>
                  <a:pt x="379963" y="198663"/>
                  <a:pt x="365755" y="195821"/>
                </a:cubicBezTo>
                <a:cubicBezTo>
                  <a:pt x="354973" y="193665"/>
                  <a:pt x="344291" y="191003"/>
                  <a:pt x="333572" y="188536"/>
                </a:cubicBezTo>
                <a:cubicBezTo>
                  <a:pt x="329511" y="187602"/>
                  <a:pt x="325579" y="187007"/>
                  <a:pt x="322931" y="190843"/>
                </a:cubicBezTo>
                <a:cubicBezTo>
                  <a:pt x="325138" y="195129"/>
                  <a:pt x="327613" y="198884"/>
                  <a:pt x="329041" y="203001"/>
                </a:cubicBezTo>
                <a:cubicBezTo>
                  <a:pt x="330500" y="207204"/>
                  <a:pt x="330929" y="211764"/>
                  <a:pt x="332072" y="218143"/>
                </a:cubicBezTo>
                <a:close/>
              </a:path>
            </a:pathLst>
          </a:custGeom>
          <a:solidFill>
            <a:schemeClr val="bg1"/>
          </a:solidFill>
          <a:ln w="38100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7" name="Free-form: Shape 56">
            <a:extLst>
              <a:ext uri="{FF2B5EF4-FFF2-40B4-BE49-F238E27FC236}">
                <a16:creationId xmlns:a16="http://schemas.microsoft.com/office/drawing/2014/main" id="{BE7AA7B3-F1C9-1F8D-2916-B8398AC08A86}"/>
              </a:ext>
            </a:extLst>
          </p:cNvPr>
          <p:cNvSpPr/>
          <p:nvPr/>
        </p:nvSpPr>
        <p:spPr>
          <a:xfrm>
            <a:off x="8516933" y="-1446990"/>
            <a:ext cx="267393" cy="232628"/>
          </a:xfrm>
          <a:custGeom>
            <a:avLst/>
            <a:gdLst>
              <a:gd name="csX0" fmla="*/ 84645 w 321679"/>
              <a:gd name="csY0" fmla="*/ 279507 h 279857"/>
              <a:gd name="csX1" fmla="*/ 19 w 321679"/>
              <a:gd name="csY1" fmla="*/ 276629 h 279857"/>
              <a:gd name="csX2" fmla="*/ 61 w 321679"/>
              <a:gd name="csY2" fmla="*/ 231376 h 279857"/>
              <a:gd name="csX3" fmla="*/ 925 w 321679"/>
              <a:gd name="csY3" fmla="*/ 219150 h 279857"/>
              <a:gd name="csX4" fmla="*/ 8286 w 321679"/>
              <a:gd name="csY4" fmla="*/ 86910 h 279857"/>
              <a:gd name="csX5" fmla="*/ 11586 w 321679"/>
              <a:gd name="csY5" fmla="*/ 21981 h 279857"/>
              <a:gd name="csX6" fmla="*/ 26655 w 321679"/>
              <a:gd name="csY6" fmla="*/ 7635 h 279857"/>
              <a:gd name="csX7" fmla="*/ 67169 w 321679"/>
              <a:gd name="csY7" fmla="*/ 7178 h 279857"/>
              <a:gd name="csX8" fmla="*/ 201872 w 321679"/>
              <a:gd name="csY8" fmla="*/ 121 h 279857"/>
              <a:gd name="csX9" fmla="*/ 217558 w 321679"/>
              <a:gd name="csY9" fmla="*/ 87 h 279857"/>
              <a:gd name="csX10" fmla="*/ 214854 w 321679"/>
              <a:gd name="csY10" fmla="*/ 22019 h 279857"/>
              <a:gd name="csX11" fmla="*/ 235301 w 321679"/>
              <a:gd name="csY11" fmla="*/ 104861 h 279857"/>
              <a:gd name="csX12" fmla="*/ 269832 w 321679"/>
              <a:gd name="csY12" fmla="*/ 144587 h 279857"/>
              <a:gd name="csX13" fmla="*/ 299912 w 321679"/>
              <a:gd name="csY13" fmla="*/ 176874 h 279857"/>
              <a:gd name="csX14" fmla="*/ 320491 w 321679"/>
              <a:gd name="csY14" fmla="*/ 256903 h 279857"/>
              <a:gd name="csX15" fmla="*/ 255607 w 321679"/>
              <a:gd name="csY15" fmla="*/ 264918 h 279857"/>
              <a:gd name="csX16" fmla="*/ 172672 w 321679"/>
              <a:gd name="csY16" fmla="*/ 273435 h 279857"/>
              <a:gd name="csX17" fmla="*/ 133595 w 321679"/>
              <a:gd name="csY17" fmla="*/ 276823 h 279857"/>
              <a:gd name="csX18" fmla="*/ 84645 w 321679"/>
              <a:gd name="csY18" fmla="*/ 279507 h 27985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</a:cxnLst>
            <a:rect l="l" t="t" r="r" b="b"/>
            <a:pathLst>
              <a:path w="321679" h="279857">
                <a:moveTo>
                  <a:pt x="84645" y="279507"/>
                </a:moveTo>
                <a:cubicBezTo>
                  <a:pt x="55716" y="279830"/>
                  <a:pt x="27945" y="280875"/>
                  <a:pt x="19" y="276629"/>
                </a:cubicBezTo>
                <a:cubicBezTo>
                  <a:pt x="19" y="261343"/>
                  <a:pt x="-45" y="246359"/>
                  <a:pt x="61" y="231376"/>
                </a:cubicBezTo>
                <a:cubicBezTo>
                  <a:pt x="90" y="227299"/>
                  <a:pt x="696" y="223229"/>
                  <a:pt x="925" y="219150"/>
                </a:cubicBezTo>
                <a:cubicBezTo>
                  <a:pt x="3396" y="175071"/>
                  <a:pt x="5876" y="130992"/>
                  <a:pt x="8286" y="86910"/>
                </a:cubicBezTo>
                <a:cubicBezTo>
                  <a:pt x="9469" y="65271"/>
                  <a:pt x="10613" y="43630"/>
                  <a:pt x="11586" y="21981"/>
                </a:cubicBezTo>
                <a:cubicBezTo>
                  <a:pt x="12199" y="8328"/>
                  <a:pt x="12576" y="7792"/>
                  <a:pt x="26655" y="7635"/>
                </a:cubicBezTo>
                <a:cubicBezTo>
                  <a:pt x="40161" y="7484"/>
                  <a:pt x="53689" y="7831"/>
                  <a:pt x="67169" y="7178"/>
                </a:cubicBezTo>
                <a:cubicBezTo>
                  <a:pt x="112079" y="5004"/>
                  <a:pt x="156970" y="2455"/>
                  <a:pt x="201872" y="121"/>
                </a:cubicBezTo>
                <a:cubicBezTo>
                  <a:pt x="206690" y="-130"/>
                  <a:pt x="211533" y="87"/>
                  <a:pt x="217558" y="87"/>
                </a:cubicBezTo>
                <a:cubicBezTo>
                  <a:pt x="216603" y="7811"/>
                  <a:pt x="215688" y="14910"/>
                  <a:pt x="214854" y="22019"/>
                </a:cubicBezTo>
                <a:cubicBezTo>
                  <a:pt x="211318" y="52185"/>
                  <a:pt x="219749" y="79345"/>
                  <a:pt x="235301" y="104861"/>
                </a:cubicBezTo>
                <a:cubicBezTo>
                  <a:pt x="244591" y="120102"/>
                  <a:pt x="257536" y="132012"/>
                  <a:pt x="269832" y="144587"/>
                </a:cubicBezTo>
                <a:cubicBezTo>
                  <a:pt x="280116" y="155103"/>
                  <a:pt x="290551" y="165559"/>
                  <a:pt x="299912" y="176874"/>
                </a:cubicBezTo>
                <a:cubicBezTo>
                  <a:pt x="319006" y="199953"/>
                  <a:pt x="324386" y="226827"/>
                  <a:pt x="320491" y="256903"/>
                </a:cubicBezTo>
                <a:cubicBezTo>
                  <a:pt x="298421" y="259649"/>
                  <a:pt x="277043" y="262541"/>
                  <a:pt x="255607" y="264918"/>
                </a:cubicBezTo>
                <a:cubicBezTo>
                  <a:pt x="227987" y="267981"/>
                  <a:pt x="200327" y="270692"/>
                  <a:pt x="172672" y="273435"/>
                </a:cubicBezTo>
                <a:cubicBezTo>
                  <a:pt x="159662" y="274725"/>
                  <a:pt x="146637" y="275935"/>
                  <a:pt x="133595" y="276823"/>
                </a:cubicBezTo>
                <a:cubicBezTo>
                  <a:pt x="117688" y="277907"/>
                  <a:pt x="101755" y="278616"/>
                  <a:pt x="84645" y="279507"/>
                </a:cubicBezTo>
                <a:close/>
              </a:path>
            </a:pathLst>
          </a:custGeom>
          <a:solidFill>
            <a:schemeClr val="bg1"/>
          </a:solidFill>
          <a:ln w="38100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8" name="Free-form: Shape 57">
            <a:extLst>
              <a:ext uri="{FF2B5EF4-FFF2-40B4-BE49-F238E27FC236}">
                <a16:creationId xmlns:a16="http://schemas.microsoft.com/office/drawing/2014/main" id="{64ADCCC6-98A4-C3B5-881D-05FB2B52D86E}"/>
              </a:ext>
            </a:extLst>
          </p:cNvPr>
          <p:cNvSpPr/>
          <p:nvPr/>
        </p:nvSpPr>
        <p:spPr>
          <a:xfrm>
            <a:off x="8516830" y="-1190329"/>
            <a:ext cx="284373" cy="65313"/>
          </a:xfrm>
          <a:custGeom>
            <a:avLst/>
            <a:gdLst>
              <a:gd name="csX0" fmla="*/ 270798 w 342106"/>
              <a:gd name="csY0" fmla="*/ 65953 h 78573"/>
              <a:gd name="csX1" fmla="*/ 183290 w 342106"/>
              <a:gd name="csY1" fmla="*/ 76017 h 78573"/>
              <a:gd name="csX2" fmla="*/ 72897 w 342106"/>
              <a:gd name="csY2" fmla="*/ 78565 h 78573"/>
              <a:gd name="csX3" fmla="*/ 5450 w 342106"/>
              <a:gd name="csY3" fmla="*/ 76564 h 78573"/>
              <a:gd name="csX4" fmla="*/ 0 w 342106"/>
              <a:gd name="csY4" fmla="*/ 75649 h 78573"/>
              <a:gd name="csX5" fmla="*/ 0 w 342106"/>
              <a:gd name="csY5" fmla="*/ 21324 h 78573"/>
              <a:gd name="csX6" fmla="*/ 8504 w 342106"/>
              <a:gd name="csY6" fmla="*/ 20688 h 78573"/>
              <a:gd name="csX7" fmla="*/ 98126 w 342106"/>
              <a:gd name="csY7" fmla="*/ 19655 h 78573"/>
              <a:gd name="csX8" fmla="*/ 221639 w 342106"/>
              <a:gd name="csY8" fmla="*/ 10929 h 78573"/>
              <a:gd name="csX9" fmla="*/ 304285 w 342106"/>
              <a:gd name="csY9" fmla="*/ 683 h 78573"/>
              <a:gd name="csX10" fmla="*/ 309173 w 342106"/>
              <a:gd name="csY10" fmla="*/ 212 h 78573"/>
              <a:gd name="csX11" fmla="*/ 335187 w 342106"/>
              <a:gd name="csY11" fmla="*/ 18545 h 78573"/>
              <a:gd name="csX12" fmla="*/ 342106 w 342106"/>
              <a:gd name="csY12" fmla="*/ 53602 h 78573"/>
              <a:gd name="csX13" fmla="*/ 270798 w 342106"/>
              <a:gd name="csY13" fmla="*/ 65953 h 7857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</a:cxnLst>
            <a:rect l="l" t="t" r="r" b="b"/>
            <a:pathLst>
              <a:path w="342106" h="78573">
                <a:moveTo>
                  <a:pt x="270798" y="65953"/>
                </a:moveTo>
                <a:cubicBezTo>
                  <a:pt x="240931" y="69594"/>
                  <a:pt x="212199" y="74306"/>
                  <a:pt x="183290" y="76017"/>
                </a:cubicBezTo>
                <a:cubicBezTo>
                  <a:pt x="146568" y="78191"/>
                  <a:pt x="109704" y="78349"/>
                  <a:pt x="72897" y="78565"/>
                </a:cubicBezTo>
                <a:cubicBezTo>
                  <a:pt x="50419" y="78697"/>
                  <a:pt x="27931" y="77315"/>
                  <a:pt x="5450" y="76564"/>
                </a:cubicBezTo>
                <a:cubicBezTo>
                  <a:pt x="3884" y="76512"/>
                  <a:pt x="2332" y="76053"/>
                  <a:pt x="0" y="75649"/>
                </a:cubicBezTo>
                <a:cubicBezTo>
                  <a:pt x="0" y="57619"/>
                  <a:pt x="0" y="39863"/>
                  <a:pt x="0" y="21324"/>
                </a:cubicBezTo>
                <a:cubicBezTo>
                  <a:pt x="3058" y="21086"/>
                  <a:pt x="5779" y="20715"/>
                  <a:pt x="8504" y="20688"/>
                </a:cubicBezTo>
                <a:cubicBezTo>
                  <a:pt x="38382" y="20390"/>
                  <a:pt x="68305" y="21101"/>
                  <a:pt x="98126" y="19655"/>
                </a:cubicBezTo>
                <a:cubicBezTo>
                  <a:pt x="139343" y="17657"/>
                  <a:pt x="180532" y="14597"/>
                  <a:pt x="221639" y="10929"/>
                </a:cubicBezTo>
                <a:cubicBezTo>
                  <a:pt x="249272" y="8463"/>
                  <a:pt x="276741" y="4156"/>
                  <a:pt x="304285" y="683"/>
                </a:cubicBezTo>
                <a:cubicBezTo>
                  <a:pt x="305908" y="478"/>
                  <a:pt x="307539" y="312"/>
                  <a:pt x="309173" y="212"/>
                </a:cubicBezTo>
                <a:cubicBezTo>
                  <a:pt x="326863" y="-867"/>
                  <a:pt x="330972" y="1719"/>
                  <a:pt x="335187" y="18545"/>
                </a:cubicBezTo>
                <a:cubicBezTo>
                  <a:pt x="337939" y="29526"/>
                  <a:pt x="339618" y="40777"/>
                  <a:pt x="342106" y="53602"/>
                </a:cubicBezTo>
                <a:cubicBezTo>
                  <a:pt x="317523" y="57833"/>
                  <a:pt x="294689" y="61762"/>
                  <a:pt x="270798" y="65953"/>
                </a:cubicBezTo>
                <a:close/>
              </a:path>
            </a:pathLst>
          </a:custGeom>
          <a:solidFill>
            <a:schemeClr val="bg1"/>
          </a:solidFill>
          <a:ln w="38100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9" name="Free-form: Shape 58">
            <a:extLst>
              <a:ext uri="{FF2B5EF4-FFF2-40B4-BE49-F238E27FC236}">
                <a16:creationId xmlns:a16="http://schemas.microsoft.com/office/drawing/2014/main" id="{CBC1DBCB-FD7E-FAB3-0690-7BDCD4E41E5B}"/>
              </a:ext>
            </a:extLst>
          </p:cNvPr>
          <p:cNvSpPr/>
          <p:nvPr/>
        </p:nvSpPr>
        <p:spPr>
          <a:xfrm>
            <a:off x="8584549" y="-2148185"/>
            <a:ext cx="72517" cy="55415"/>
          </a:xfrm>
          <a:custGeom>
            <a:avLst/>
            <a:gdLst>
              <a:gd name="csX0" fmla="*/ 9010 w 87239"/>
              <a:gd name="csY0" fmla="*/ 29316 h 66665"/>
              <a:gd name="csX1" fmla="*/ 6110 w 87239"/>
              <a:gd name="csY1" fmla="*/ 15162 h 66665"/>
              <a:gd name="csX2" fmla="*/ 0 w 87239"/>
              <a:gd name="csY2" fmla="*/ 3003 h 66665"/>
              <a:gd name="csX3" fmla="*/ 10641 w 87239"/>
              <a:gd name="csY3" fmla="*/ 697 h 66665"/>
              <a:gd name="csX4" fmla="*/ 42824 w 87239"/>
              <a:gd name="csY4" fmla="*/ 7981 h 66665"/>
              <a:gd name="csX5" fmla="*/ 73433 w 87239"/>
              <a:gd name="csY5" fmla="*/ 31631 h 66665"/>
              <a:gd name="csX6" fmla="*/ 86236 w 87239"/>
              <a:gd name="csY6" fmla="*/ 56519 h 66665"/>
              <a:gd name="csX7" fmla="*/ 82327 w 87239"/>
              <a:gd name="csY7" fmla="*/ 64249 h 66665"/>
              <a:gd name="csX8" fmla="*/ 49439 w 87239"/>
              <a:gd name="csY8" fmla="*/ 66665 h 66665"/>
              <a:gd name="csX9" fmla="*/ 11457 w 87239"/>
              <a:gd name="csY9" fmla="*/ 38560 h 66665"/>
              <a:gd name="csX10" fmla="*/ 9010 w 87239"/>
              <a:gd name="csY10" fmla="*/ 29316 h 6666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</a:cxnLst>
            <a:rect l="l" t="t" r="r" b="b"/>
            <a:pathLst>
              <a:path w="87239" h="66665">
                <a:moveTo>
                  <a:pt x="9010" y="29316"/>
                </a:moveTo>
                <a:cubicBezTo>
                  <a:pt x="7998" y="23924"/>
                  <a:pt x="7568" y="19365"/>
                  <a:pt x="6110" y="15162"/>
                </a:cubicBezTo>
                <a:cubicBezTo>
                  <a:pt x="4682" y="11044"/>
                  <a:pt x="2207" y="7289"/>
                  <a:pt x="0" y="3003"/>
                </a:cubicBezTo>
                <a:cubicBezTo>
                  <a:pt x="2648" y="-833"/>
                  <a:pt x="6580" y="-238"/>
                  <a:pt x="10641" y="697"/>
                </a:cubicBezTo>
                <a:cubicBezTo>
                  <a:pt x="21360" y="3163"/>
                  <a:pt x="32042" y="5825"/>
                  <a:pt x="42824" y="7981"/>
                </a:cubicBezTo>
                <a:cubicBezTo>
                  <a:pt x="57032" y="10823"/>
                  <a:pt x="67419" y="18068"/>
                  <a:pt x="73433" y="31631"/>
                </a:cubicBezTo>
                <a:cubicBezTo>
                  <a:pt x="77208" y="40146"/>
                  <a:pt x="81954" y="48228"/>
                  <a:pt x="86236" y="56519"/>
                </a:cubicBezTo>
                <a:cubicBezTo>
                  <a:pt x="88409" y="60728"/>
                  <a:pt x="87030" y="63806"/>
                  <a:pt x="82327" y="64249"/>
                </a:cubicBezTo>
                <a:cubicBezTo>
                  <a:pt x="71381" y="65282"/>
                  <a:pt x="60402" y="66689"/>
                  <a:pt x="49439" y="66665"/>
                </a:cubicBezTo>
                <a:cubicBezTo>
                  <a:pt x="28683" y="66620"/>
                  <a:pt x="18142" y="58428"/>
                  <a:pt x="11457" y="38560"/>
                </a:cubicBezTo>
                <a:cubicBezTo>
                  <a:pt x="10547" y="35855"/>
                  <a:pt x="9906" y="33058"/>
                  <a:pt x="9010" y="29316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0" name="Freccia in giù 40">
            <a:extLst>
              <a:ext uri="{FF2B5EF4-FFF2-40B4-BE49-F238E27FC236}">
                <a16:creationId xmlns:a16="http://schemas.microsoft.com/office/drawing/2014/main" id="{DAD266F7-DA3D-EA9F-037D-72DFB7CA45A0}"/>
              </a:ext>
            </a:extLst>
          </p:cNvPr>
          <p:cNvSpPr/>
          <p:nvPr/>
        </p:nvSpPr>
        <p:spPr>
          <a:xfrm rot="16200000">
            <a:off x="9371903" y="-1686384"/>
            <a:ext cx="291295" cy="392889"/>
          </a:xfrm>
          <a:prstGeom prst="downArrow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4836FA20-8A71-895B-6BAE-7BB05136BD2C}"/>
              </a:ext>
            </a:extLst>
          </p:cNvPr>
          <p:cNvSpPr txBox="1"/>
          <p:nvPr/>
        </p:nvSpPr>
        <p:spPr>
          <a:xfrm>
            <a:off x="9604104" y="-944641"/>
            <a:ext cx="1710704" cy="3927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AR-T</a:t>
            </a:r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76BC1C67-50A6-468B-C6C3-6F1B9B873843}"/>
              </a:ext>
            </a:extLst>
          </p:cNvPr>
          <p:cNvSpPr/>
          <p:nvPr/>
        </p:nvSpPr>
        <p:spPr>
          <a:xfrm>
            <a:off x="10056514" y="-1173665"/>
            <a:ext cx="739960" cy="152189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3" name="Free-form: Shape 62">
            <a:extLst>
              <a:ext uri="{FF2B5EF4-FFF2-40B4-BE49-F238E27FC236}">
                <a16:creationId xmlns:a16="http://schemas.microsoft.com/office/drawing/2014/main" id="{453011CF-4F9C-6F0A-6E0B-4A920351DCD6}"/>
              </a:ext>
            </a:extLst>
          </p:cNvPr>
          <p:cNvSpPr/>
          <p:nvPr/>
        </p:nvSpPr>
        <p:spPr>
          <a:xfrm>
            <a:off x="10136478" y="-2475242"/>
            <a:ext cx="650203" cy="1414846"/>
          </a:xfrm>
          <a:custGeom>
            <a:avLst/>
            <a:gdLst>
              <a:gd name="csX0" fmla="*/ 466852 w 715223"/>
              <a:gd name="csY0" fmla="*/ 229083 h 1556330"/>
              <a:gd name="csX1" fmla="*/ 462328 w 715223"/>
              <a:gd name="csY1" fmla="*/ 242604 h 1556330"/>
              <a:gd name="csX2" fmla="*/ 496944 w 715223"/>
              <a:gd name="csY2" fmla="*/ 204739 h 1556330"/>
              <a:gd name="csX3" fmla="*/ 534359 w 715223"/>
              <a:gd name="csY3" fmla="*/ 270960 h 1556330"/>
              <a:gd name="csX4" fmla="*/ 540589 w 715223"/>
              <a:gd name="csY4" fmla="*/ 445986 h 1556330"/>
              <a:gd name="csX5" fmla="*/ 509727 w 715223"/>
              <a:gd name="csY5" fmla="*/ 496924 h 1556330"/>
              <a:gd name="csX6" fmla="*/ 505366 w 715223"/>
              <a:gd name="csY6" fmla="*/ 511893 h 1556330"/>
              <a:gd name="csX7" fmla="*/ 501982 w 715223"/>
              <a:gd name="csY7" fmla="*/ 530377 h 1556330"/>
              <a:gd name="csX8" fmla="*/ 505678 w 715223"/>
              <a:gd name="csY8" fmla="*/ 556455 h 1556330"/>
              <a:gd name="csX9" fmla="*/ 526115 w 715223"/>
              <a:gd name="csY9" fmla="*/ 591784 h 1556330"/>
              <a:gd name="csX10" fmla="*/ 541579 w 715223"/>
              <a:gd name="csY10" fmla="*/ 612264 h 1556330"/>
              <a:gd name="csX11" fmla="*/ 569572 w 715223"/>
              <a:gd name="csY11" fmla="*/ 643441 h 1556330"/>
              <a:gd name="csX12" fmla="*/ 555234 w 715223"/>
              <a:gd name="csY12" fmla="*/ 688473 h 1556330"/>
              <a:gd name="csX13" fmla="*/ 513278 w 715223"/>
              <a:gd name="csY13" fmla="*/ 700556 h 1556330"/>
              <a:gd name="csX14" fmla="*/ 488559 w 715223"/>
              <a:gd name="csY14" fmla="*/ 702821 h 1556330"/>
              <a:gd name="csX15" fmla="*/ 488544 w 715223"/>
              <a:gd name="csY15" fmla="*/ 718085 h 1556330"/>
              <a:gd name="csX16" fmla="*/ 526561 w 715223"/>
              <a:gd name="csY16" fmla="*/ 1010212 h 1556330"/>
              <a:gd name="csX17" fmla="*/ 569986 w 715223"/>
              <a:gd name="csY17" fmla="*/ 1153317 h 1556330"/>
              <a:gd name="csX18" fmla="*/ 587389 w 715223"/>
              <a:gd name="csY18" fmla="*/ 1172173 h 1556330"/>
              <a:gd name="csX19" fmla="*/ 606286 w 715223"/>
              <a:gd name="csY19" fmla="*/ 1180891 h 1556330"/>
              <a:gd name="csX20" fmla="*/ 613400 w 715223"/>
              <a:gd name="csY20" fmla="*/ 1204260 h 1556330"/>
              <a:gd name="csX21" fmla="*/ 605350 w 715223"/>
              <a:gd name="csY21" fmla="*/ 1216760 h 1556330"/>
              <a:gd name="csX22" fmla="*/ 600268 w 715223"/>
              <a:gd name="csY22" fmla="*/ 1220273 h 1556330"/>
              <a:gd name="csX23" fmla="*/ 610574 w 715223"/>
              <a:gd name="csY23" fmla="*/ 1258750 h 1556330"/>
              <a:gd name="csX24" fmla="*/ 672371 w 715223"/>
              <a:gd name="csY24" fmla="*/ 1319810 h 1556330"/>
              <a:gd name="csX25" fmla="*/ 675494 w 715223"/>
              <a:gd name="csY25" fmla="*/ 1323366 h 1556330"/>
              <a:gd name="csX26" fmla="*/ 692949 w 715223"/>
              <a:gd name="csY26" fmla="*/ 1396068 h 1556330"/>
              <a:gd name="csX27" fmla="*/ 690628 w 715223"/>
              <a:gd name="csY27" fmla="*/ 1414117 h 1556330"/>
              <a:gd name="csX28" fmla="*/ 695588 w 715223"/>
              <a:gd name="csY28" fmla="*/ 1421035 h 1556330"/>
              <a:gd name="csX29" fmla="*/ 694353 w 715223"/>
              <a:gd name="csY29" fmla="*/ 1425190 h 1556330"/>
              <a:gd name="csX30" fmla="*/ 689106 w 715223"/>
              <a:gd name="csY30" fmla="*/ 1428714 h 1556330"/>
              <a:gd name="csX31" fmla="*/ 695093 w 715223"/>
              <a:gd name="csY31" fmla="*/ 1428433 h 1556330"/>
              <a:gd name="csX32" fmla="*/ 697643 w 715223"/>
              <a:gd name="csY32" fmla="*/ 1432864 h 1556330"/>
              <a:gd name="csX33" fmla="*/ 698207 w 715223"/>
              <a:gd name="csY33" fmla="*/ 1441988 h 1556330"/>
              <a:gd name="csX34" fmla="*/ 715183 w 715223"/>
              <a:gd name="csY34" fmla="*/ 1508752 h 1556330"/>
              <a:gd name="csX35" fmla="*/ 701540 w 715223"/>
              <a:gd name="csY35" fmla="*/ 1526524 h 1556330"/>
              <a:gd name="csX36" fmla="*/ 581715 w 715223"/>
              <a:gd name="csY36" fmla="*/ 1548559 h 1556330"/>
              <a:gd name="csX37" fmla="*/ 522168 w 715223"/>
              <a:gd name="csY37" fmla="*/ 1553543 h 1556330"/>
              <a:gd name="csX38" fmla="*/ 450008 w 715223"/>
              <a:gd name="csY38" fmla="*/ 1556019 h 1556330"/>
              <a:gd name="csX39" fmla="*/ 245169 w 715223"/>
              <a:gd name="csY39" fmla="*/ 1553749 h 1556330"/>
              <a:gd name="csX40" fmla="*/ 221854 w 715223"/>
              <a:gd name="csY40" fmla="*/ 1553306 h 1556330"/>
              <a:gd name="csX41" fmla="*/ 168405 w 715223"/>
              <a:gd name="csY41" fmla="*/ 1548828 h 1556330"/>
              <a:gd name="csX42" fmla="*/ 126970 w 715223"/>
              <a:gd name="csY42" fmla="*/ 1546091 h 1556330"/>
              <a:gd name="csX43" fmla="*/ 104053 w 715223"/>
              <a:gd name="csY43" fmla="*/ 1542912 h 1556330"/>
              <a:gd name="csX44" fmla="*/ 65625 w 715223"/>
              <a:gd name="csY44" fmla="*/ 1536401 h 1556330"/>
              <a:gd name="csX45" fmla="*/ 10909 w 715223"/>
              <a:gd name="csY45" fmla="*/ 1524010 h 1556330"/>
              <a:gd name="csX46" fmla="*/ 8 w 715223"/>
              <a:gd name="csY46" fmla="*/ 1509263 h 1556330"/>
              <a:gd name="csX47" fmla="*/ 21158 w 715223"/>
              <a:gd name="csY47" fmla="*/ 1433611 h 1556330"/>
              <a:gd name="csX48" fmla="*/ 23462 w 715223"/>
              <a:gd name="csY48" fmla="*/ 1418658 h 1556330"/>
              <a:gd name="csX49" fmla="*/ 19643 w 715223"/>
              <a:gd name="csY49" fmla="*/ 1382324 h 1556330"/>
              <a:gd name="csX50" fmla="*/ 49060 w 715223"/>
              <a:gd name="csY50" fmla="*/ 1311832 h 1556330"/>
              <a:gd name="csX51" fmla="*/ 109176 w 715223"/>
              <a:gd name="csY51" fmla="*/ 1254078 h 1556330"/>
              <a:gd name="csX52" fmla="*/ 118319 w 715223"/>
              <a:gd name="csY52" fmla="*/ 1214801 h 1556330"/>
              <a:gd name="csX53" fmla="*/ 113082 w 715223"/>
              <a:gd name="csY53" fmla="*/ 1201084 h 1556330"/>
              <a:gd name="csX54" fmla="*/ 120417 w 715223"/>
              <a:gd name="csY54" fmla="*/ 1183950 h 1556330"/>
              <a:gd name="csX55" fmla="*/ 135209 w 715223"/>
              <a:gd name="csY55" fmla="*/ 1178138 h 1556330"/>
              <a:gd name="csX56" fmla="*/ 156535 w 715223"/>
              <a:gd name="csY56" fmla="*/ 1156396 h 1556330"/>
              <a:gd name="csX57" fmla="*/ 185647 w 715223"/>
              <a:gd name="csY57" fmla="*/ 1061682 h 1556330"/>
              <a:gd name="csX58" fmla="*/ 201074 w 715223"/>
              <a:gd name="csY58" fmla="*/ 1005093 h 1556330"/>
              <a:gd name="csX59" fmla="*/ 213864 w 715223"/>
              <a:gd name="csY59" fmla="*/ 943040 h 1556330"/>
              <a:gd name="csX60" fmla="*/ 223580 w 715223"/>
              <a:gd name="csY60" fmla="*/ 884167 h 1556330"/>
              <a:gd name="csX61" fmla="*/ 228827 w 715223"/>
              <a:gd name="csY61" fmla="*/ 839382 h 1556330"/>
              <a:gd name="csX62" fmla="*/ 233251 w 715223"/>
              <a:gd name="csY62" fmla="*/ 794539 h 1556330"/>
              <a:gd name="csX63" fmla="*/ 233413 w 715223"/>
              <a:gd name="csY63" fmla="*/ 708554 h 1556330"/>
              <a:gd name="csX64" fmla="*/ 232253 w 715223"/>
              <a:gd name="csY64" fmla="*/ 699181 h 1556330"/>
              <a:gd name="csX65" fmla="*/ 192775 w 715223"/>
              <a:gd name="csY65" fmla="*/ 693131 h 1556330"/>
              <a:gd name="csX66" fmla="*/ 166222 w 715223"/>
              <a:gd name="csY66" fmla="*/ 684229 h 1556330"/>
              <a:gd name="csX67" fmla="*/ 153485 w 715223"/>
              <a:gd name="csY67" fmla="*/ 649704 h 1556330"/>
              <a:gd name="csX68" fmla="*/ 179302 w 715223"/>
              <a:gd name="csY68" fmla="*/ 621006 h 1556330"/>
              <a:gd name="csX69" fmla="*/ 192182 w 715223"/>
              <a:gd name="csY69" fmla="*/ 601675 h 1556330"/>
              <a:gd name="csX70" fmla="*/ 204894 w 715223"/>
              <a:gd name="csY70" fmla="*/ 583417 h 1556330"/>
              <a:gd name="csX71" fmla="*/ 233213 w 715223"/>
              <a:gd name="csY71" fmla="*/ 564393 h 1556330"/>
              <a:gd name="csX72" fmla="*/ 229725 w 715223"/>
              <a:gd name="csY72" fmla="*/ 538177 h 1556330"/>
              <a:gd name="csX73" fmla="*/ 218771 w 715223"/>
              <a:gd name="csY73" fmla="*/ 532633 h 1556330"/>
              <a:gd name="csX74" fmla="*/ 215183 w 715223"/>
              <a:gd name="csY74" fmla="*/ 521568 h 1556330"/>
              <a:gd name="csX75" fmla="*/ 223368 w 715223"/>
              <a:gd name="csY75" fmla="*/ 508901 h 1556330"/>
              <a:gd name="csX76" fmla="*/ 218372 w 715223"/>
              <a:gd name="csY76" fmla="*/ 498135 h 1556330"/>
              <a:gd name="csX77" fmla="*/ 181440 w 715223"/>
              <a:gd name="csY77" fmla="*/ 432308 h 1556330"/>
              <a:gd name="csX78" fmla="*/ 167535 w 715223"/>
              <a:gd name="csY78" fmla="*/ 349841 h 1556330"/>
              <a:gd name="csX79" fmla="*/ 193488 w 715223"/>
              <a:gd name="csY79" fmla="*/ 262518 h 1556330"/>
              <a:gd name="csX80" fmla="*/ 237748 w 715223"/>
              <a:gd name="csY80" fmla="*/ 190690 h 1556330"/>
              <a:gd name="csX81" fmla="*/ 309459 w 715223"/>
              <a:gd name="csY81" fmla="*/ 102623 h 1556330"/>
              <a:gd name="csX82" fmla="*/ 310459 w 715223"/>
              <a:gd name="csY82" fmla="*/ 78521 h 1556330"/>
              <a:gd name="csX83" fmla="*/ 300267 w 715223"/>
              <a:gd name="csY83" fmla="*/ 57856 h 1556330"/>
              <a:gd name="csX84" fmla="*/ 332242 w 715223"/>
              <a:gd name="csY84" fmla="*/ 4422 h 1556330"/>
              <a:gd name="csX85" fmla="*/ 384904 w 715223"/>
              <a:gd name="csY85" fmla="*/ 5551 h 1556330"/>
              <a:gd name="csX86" fmla="*/ 409773 w 715223"/>
              <a:gd name="csY86" fmla="*/ 26778 h 1556330"/>
              <a:gd name="csX87" fmla="*/ 407026 w 715223"/>
              <a:gd name="csY87" fmla="*/ 46052 h 1556330"/>
              <a:gd name="csX88" fmla="*/ 402771 w 715223"/>
              <a:gd name="csY88" fmla="*/ 30951 h 1556330"/>
              <a:gd name="csX89" fmla="*/ 397038 w 715223"/>
              <a:gd name="csY89" fmla="*/ 30361 h 1556330"/>
              <a:gd name="csX90" fmla="*/ 360694 w 715223"/>
              <a:gd name="csY90" fmla="*/ 22760 h 1556330"/>
              <a:gd name="csX91" fmla="*/ 351669 w 715223"/>
              <a:gd name="csY91" fmla="*/ 31736 h 1556330"/>
              <a:gd name="csX92" fmla="*/ 351426 w 715223"/>
              <a:gd name="csY92" fmla="*/ 43987 h 1556330"/>
              <a:gd name="csX93" fmla="*/ 390968 w 715223"/>
              <a:gd name="csY93" fmla="*/ 68762 h 1556330"/>
              <a:gd name="csX94" fmla="*/ 401770 w 715223"/>
              <a:gd name="csY94" fmla="*/ 59025 h 1556330"/>
              <a:gd name="csX95" fmla="*/ 409619 w 715223"/>
              <a:gd name="csY95" fmla="*/ 55786 h 1556330"/>
              <a:gd name="csX96" fmla="*/ 410427 w 715223"/>
              <a:gd name="csY96" fmla="*/ 64256 h 1556330"/>
              <a:gd name="csX97" fmla="*/ 399453 w 715223"/>
              <a:gd name="csY97" fmla="*/ 81811 h 1556330"/>
              <a:gd name="csX98" fmla="*/ 399346 w 715223"/>
              <a:gd name="csY98" fmla="*/ 98083 h 1556330"/>
              <a:gd name="csX99" fmla="*/ 471592 w 715223"/>
              <a:gd name="csY99" fmla="*/ 180524 h 1556330"/>
              <a:gd name="csX100" fmla="*/ 473550 w 715223"/>
              <a:gd name="csY100" fmla="*/ 200923 h 1556330"/>
              <a:gd name="csX101" fmla="*/ 463677 w 715223"/>
              <a:gd name="csY101" fmla="*/ 223311 h 1556330"/>
              <a:gd name="csX102" fmla="*/ 466852 w 715223"/>
              <a:gd name="csY102" fmla="*/ 229083 h 1556330"/>
              <a:gd name="csX103" fmla="*/ 474186 w 715223"/>
              <a:gd name="csY103" fmla="*/ 928382 h 1556330"/>
              <a:gd name="csX104" fmla="*/ 459927 w 715223"/>
              <a:gd name="csY104" fmla="*/ 817790 h 1556330"/>
              <a:gd name="csX105" fmla="*/ 456025 w 715223"/>
              <a:gd name="csY105" fmla="*/ 706469 h 1556330"/>
              <a:gd name="csX106" fmla="*/ 366863 w 715223"/>
              <a:gd name="csY106" fmla="*/ 710754 h 1556330"/>
              <a:gd name="csX107" fmla="*/ 366159 w 715223"/>
              <a:gd name="csY107" fmla="*/ 719219 h 1556330"/>
              <a:gd name="csX108" fmla="*/ 364159 w 715223"/>
              <a:gd name="csY108" fmla="*/ 834581 h 1556330"/>
              <a:gd name="csX109" fmla="*/ 361633 w 715223"/>
              <a:gd name="csY109" fmla="*/ 940117 h 1556330"/>
              <a:gd name="csX110" fmla="*/ 358313 w 715223"/>
              <a:gd name="csY110" fmla="*/ 1053005 h 1556330"/>
              <a:gd name="csX111" fmla="*/ 358081 w 715223"/>
              <a:gd name="csY111" fmla="*/ 1057912 h 1556330"/>
              <a:gd name="csX112" fmla="*/ 353706 w 715223"/>
              <a:gd name="csY112" fmla="*/ 1164570 h 1556330"/>
              <a:gd name="csX113" fmla="*/ 354951 w 715223"/>
              <a:gd name="csY113" fmla="*/ 1172547 h 1556330"/>
              <a:gd name="csX114" fmla="*/ 540959 w 715223"/>
              <a:gd name="csY114" fmla="*/ 1175972 h 1556330"/>
              <a:gd name="csX115" fmla="*/ 474186 w 715223"/>
              <a:gd name="csY115" fmla="*/ 928382 h 1556330"/>
              <a:gd name="csX116" fmla="*/ 513768 w 715223"/>
              <a:gd name="csY116" fmla="*/ 1417676 h 1556330"/>
              <a:gd name="csX117" fmla="*/ 519822 w 715223"/>
              <a:gd name="csY117" fmla="*/ 1416700 h 1556330"/>
              <a:gd name="csX118" fmla="*/ 632041 w 715223"/>
              <a:gd name="csY118" fmla="*/ 1406122 h 1556330"/>
              <a:gd name="csX119" fmla="*/ 665040 w 715223"/>
              <a:gd name="csY119" fmla="*/ 1400634 h 1556330"/>
              <a:gd name="csX120" fmla="*/ 665677 w 715223"/>
              <a:gd name="csY120" fmla="*/ 1396126 h 1556330"/>
              <a:gd name="csX121" fmla="*/ 665529 w 715223"/>
              <a:gd name="csY121" fmla="*/ 1389994 h 1556330"/>
              <a:gd name="csX122" fmla="*/ 623046 w 715223"/>
              <a:gd name="csY122" fmla="*/ 1306238 h 1556330"/>
              <a:gd name="csX123" fmla="*/ 596015 w 715223"/>
              <a:gd name="csY123" fmla="*/ 1281285 h 1556330"/>
              <a:gd name="csX124" fmla="*/ 567683 w 715223"/>
              <a:gd name="csY124" fmla="*/ 1220059 h 1556330"/>
              <a:gd name="csX125" fmla="*/ 540273 w 715223"/>
              <a:gd name="csY125" fmla="*/ 1220129 h 1556330"/>
              <a:gd name="csX126" fmla="*/ 424010 w 715223"/>
              <a:gd name="csY126" fmla="*/ 1226781 h 1556330"/>
              <a:gd name="csX127" fmla="*/ 357832 w 715223"/>
              <a:gd name="csY127" fmla="*/ 1229178 h 1556330"/>
              <a:gd name="csX128" fmla="*/ 352386 w 715223"/>
              <a:gd name="csY128" fmla="*/ 1230616 h 1556330"/>
              <a:gd name="csX129" fmla="*/ 355852 w 715223"/>
              <a:gd name="csY129" fmla="*/ 1324222 h 1556330"/>
              <a:gd name="csX130" fmla="*/ 352930 w 715223"/>
              <a:gd name="csY130" fmla="*/ 1417867 h 1556330"/>
              <a:gd name="csX131" fmla="*/ 513768 w 715223"/>
              <a:gd name="csY131" fmla="*/ 1417676 h 1556330"/>
              <a:gd name="csX132" fmla="*/ 387930 w 715223"/>
              <a:gd name="csY132" fmla="*/ 499741 h 1556330"/>
              <a:gd name="csX133" fmla="*/ 456529 w 715223"/>
              <a:gd name="csY133" fmla="*/ 496826 h 1556330"/>
              <a:gd name="csX134" fmla="*/ 482355 w 715223"/>
              <a:gd name="csY134" fmla="*/ 485095 h 1556330"/>
              <a:gd name="csX135" fmla="*/ 528016 w 715223"/>
              <a:gd name="csY135" fmla="*/ 374829 h 1556330"/>
              <a:gd name="csX136" fmla="*/ 501375 w 715223"/>
              <a:gd name="csY136" fmla="*/ 261643 h 1556330"/>
              <a:gd name="csX137" fmla="*/ 493534 w 715223"/>
              <a:gd name="csY137" fmla="*/ 249818 h 1556330"/>
              <a:gd name="csX138" fmla="*/ 485920 w 715223"/>
              <a:gd name="csY138" fmla="*/ 260010 h 1556330"/>
              <a:gd name="csX139" fmla="*/ 453305 w 715223"/>
              <a:gd name="csY139" fmla="*/ 310523 h 1556330"/>
              <a:gd name="csX140" fmla="*/ 433678 w 715223"/>
              <a:gd name="csY140" fmla="*/ 338672 h 1556330"/>
              <a:gd name="csX141" fmla="*/ 403713 w 715223"/>
              <a:gd name="csY141" fmla="*/ 343710 h 1556330"/>
              <a:gd name="csX142" fmla="*/ 396427 w 715223"/>
              <a:gd name="csY142" fmla="*/ 315612 h 1556330"/>
              <a:gd name="csX143" fmla="*/ 399663 w 715223"/>
              <a:gd name="csY143" fmla="*/ 309000 h 1556330"/>
              <a:gd name="csX144" fmla="*/ 452097 w 715223"/>
              <a:gd name="csY144" fmla="*/ 200770 h 1556330"/>
              <a:gd name="csX145" fmla="*/ 450118 w 715223"/>
              <a:gd name="csY145" fmla="*/ 180596 h 1556330"/>
              <a:gd name="csX146" fmla="*/ 376545 w 715223"/>
              <a:gd name="csY146" fmla="*/ 105525 h 1556330"/>
              <a:gd name="csX147" fmla="*/ 368791 w 715223"/>
              <a:gd name="csY147" fmla="*/ 101653 h 1556330"/>
              <a:gd name="csX148" fmla="*/ 366449 w 715223"/>
              <a:gd name="csY148" fmla="*/ 144676 h 1556330"/>
              <a:gd name="csX149" fmla="*/ 365447 w 715223"/>
              <a:gd name="csY149" fmla="*/ 183946 h 1556330"/>
              <a:gd name="csX150" fmla="*/ 364738 w 715223"/>
              <a:gd name="csY150" fmla="*/ 298022 h 1556330"/>
              <a:gd name="csX151" fmla="*/ 373865 w 715223"/>
              <a:gd name="csY151" fmla="*/ 430096 h 1556330"/>
              <a:gd name="csX152" fmla="*/ 381088 w 715223"/>
              <a:gd name="csY152" fmla="*/ 492169 h 1556330"/>
              <a:gd name="csX153" fmla="*/ 387930 w 715223"/>
              <a:gd name="csY153" fmla="*/ 499741 h 1556330"/>
              <a:gd name="csX154" fmla="*/ 455850 w 715223"/>
              <a:gd name="csY154" fmla="*/ 1521476 h 1556330"/>
              <a:gd name="csX155" fmla="*/ 685121 w 715223"/>
              <a:gd name="csY155" fmla="*/ 1496509 h 1556330"/>
              <a:gd name="csX156" fmla="*/ 672999 w 715223"/>
              <a:gd name="csY156" fmla="*/ 1456665 h 1556330"/>
              <a:gd name="csX157" fmla="*/ 660009 w 715223"/>
              <a:gd name="csY157" fmla="*/ 1450249 h 1556330"/>
              <a:gd name="csX158" fmla="*/ 633248 w 715223"/>
              <a:gd name="csY158" fmla="*/ 1453589 h 1556330"/>
              <a:gd name="csX159" fmla="*/ 451131 w 715223"/>
              <a:gd name="csY159" fmla="*/ 1467458 h 1556330"/>
              <a:gd name="csX160" fmla="*/ 362719 w 715223"/>
              <a:gd name="csY160" fmla="*/ 1467934 h 1556330"/>
              <a:gd name="csX161" fmla="*/ 349983 w 715223"/>
              <a:gd name="csY161" fmla="*/ 1467936 h 1556330"/>
              <a:gd name="csX162" fmla="*/ 352220 w 715223"/>
              <a:gd name="csY162" fmla="*/ 1519140 h 1556330"/>
              <a:gd name="csX163" fmla="*/ 455850 w 715223"/>
              <a:gd name="csY163" fmla="*/ 1521476 h 1556330"/>
              <a:gd name="csX164" fmla="*/ 368682 w 715223"/>
              <a:gd name="csY164" fmla="*/ 544846 h 1556330"/>
              <a:gd name="csX165" fmla="*/ 363600 w 715223"/>
              <a:gd name="csY165" fmla="*/ 605633 h 1556330"/>
              <a:gd name="csX166" fmla="*/ 496351 w 715223"/>
              <a:gd name="csY166" fmla="*/ 601466 h 1556330"/>
              <a:gd name="csX167" fmla="*/ 485068 w 715223"/>
              <a:gd name="csY167" fmla="*/ 579288 h 1556330"/>
              <a:gd name="csX168" fmla="*/ 466524 w 715223"/>
              <a:gd name="csY168" fmla="*/ 541026 h 1556330"/>
              <a:gd name="csX169" fmla="*/ 465000 w 715223"/>
              <a:gd name="csY169" fmla="*/ 536289 h 1556330"/>
              <a:gd name="csX170" fmla="*/ 451328 w 715223"/>
              <a:gd name="csY170" fmla="*/ 536316 h 1556330"/>
              <a:gd name="csX171" fmla="*/ 390140 w 715223"/>
              <a:gd name="csY171" fmla="*/ 538979 h 1556330"/>
              <a:gd name="csX172" fmla="*/ 374215 w 715223"/>
              <a:gd name="csY172" fmla="*/ 539303 h 1556330"/>
              <a:gd name="csX173" fmla="*/ 368682 w 715223"/>
              <a:gd name="csY173" fmla="*/ 544846 h 1556330"/>
              <a:gd name="csX174" fmla="*/ 453915 w 715223"/>
              <a:gd name="csY174" fmla="*/ 635267 h 1556330"/>
              <a:gd name="csX175" fmla="*/ 374200 w 715223"/>
              <a:gd name="csY175" fmla="*/ 639402 h 1556330"/>
              <a:gd name="csX176" fmla="*/ 374200 w 715223"/>
              <a:gd name="csY176" fmla="*/ 673206 h 1556330"/>
              <a:gd name="csX177" fmla="*/ 386639 w 715223"/>
              <a:gd name="csY177" fmla="*/ 673718 h 1556330"/>
              <a:gd name="csX178" fmla="*/ 521198 w 715223"/>
              <a:gd name="csY178" fmla="*/ 668541 h 1556330"/>
              <a:gd name="csX179" fmla="*/ 534198 w 715223"/>
              <a:gd name="csY179" fmla="*/ 665521 h 1556330"/>
              <a:gd name="csX180" fmla="*/ 538413 w 715223"/>
              <a:gd name="csY180" fmla="*/ 652526 h 1556330"/>
              <a:gd name="csX181" fmla="*/ 529377 w 715223"/>
              <a:gd name="csY181" fmla="*/ 642895 h 1556330"/>
              <a:gd name="csX182" fmla="*/ 502829 w 715223"/>
              <a:gd name="csY182" fmla="*/ 634808 h 1556330"/>
              <a:gd name="csX183" fmla="*/ 453915 w 715223"/>
              <a:gd name="csY183" fmla="*/ 635267 h 155633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  <a:cxn ang="0">
                <a:pos x="csX170" y="csY170"/>
              </a:cxn>
              <a:cxn ang="0">
                <a:pos x="csX171" y="csY171"/>
              </a:cxn>
              <a:cxn ang="0">
                <a:pos x="csX172" y="csY172"/>
              </a:cxn>
              <a:cxn ang="0">
                <a:pos x="csX173" y="csY173"/>
              </a:cxn>
              <a:cxn ang="0">
                <a:pos x="csX174" y="csY174"/>
              </a:cxn>
              <a:cxn ang="0">
                <a:pos x="csX175" y="csY175"/>
              </a:cxn>
              <a:cxn ang="0">
                <a:pos x="csX176" y="csY176"/>
              </a:cxn>
              <a:cxn ang="0">
                <a:pos x="csX177" y="csY177"/>
              </a:cxn>
              <a:cxn ang="0">
                <a:pos x="csX178" y="csY178"/>
              </a:cxn>
              <a:cxn ang="0">
                <a:pos x="csX179" y="csY179"/>
              </a:cxn>
              <a:cxn ang="0">
                <a:pos x="csX180" y="csY180"/>
              </a:cxn>
              <a:cxn ang="0">
                <a:pos x="csX181" y="csY181"/>
              </a:cxn>
              <a:cxn ang="0">
                <a:pos x="csX182" y="csY182"/>
              </a:cxn>
              <a:cxn ang="0">
                <a:pos x="csX183" y="csY183"/>
              </a:cxn>
            </a:cxnLst>
            <a:rect l="l" t="t" r="r" b="b"/>
            <a:pathLst>
              <a:path w="715223" h="1556330">
                <a:moveTo>
                  <a:pt x="466852" y="229083"/>
                </a:moveTo>
                <a:cubicBezTo>
                  <a:pt x="465344" y="233590"/>
                  <a:pt x="463836" y="238097"/>
                  <a:pt x="462328" y="242604"/>
                </a:cubicBezTo>
                <a:cubicBezTo>
                  <a:pt x="476604" y="232528"/>
                  <a:pt x="484219" y="216936"/>
                  <a:pt x="496944" y="204739"/>
                </a:cubicBezTo>
                <a:cubicBezTo>
                  <a:pt x="511903" y="225901"/>
                  <a:pt x="524807" y="247414"/>
                  <a:pt x="534359" y="270960"/>
                </a:cubicBezTo>
                <a:cubicBezTo>
                  <a:pt x="557740" y="328591"/>
                  <a:pt x="560223" y="386926"/>
                  <a:pt x="540589" y="445986"/>
                </a:cubicBezTo>
                <a:cubicBezTo>
                  <a:pt x="534197" y="465215"/>
                  <a:pt x="524450" y="482672"/>
                  <a:pt x="509727" y="496924"/>
                </a:cubicBezTo>
                <a:cubicBezTo>
                  <a:pt x="505277" y="501232"/>
                  <a:pt x="502734" y="505157"/>
                  <a:pt x="505366" y="511893"/>
                </a:cubicBezTo>
                <a:cubicBezTo>
                  <a:pt x="507828" y="518196"/>
                  <a:pt x="505953" y="524402"/>
                  <a:pt x="501982" y="530377"/>
                </a:cubicBezTo>
                <a:cubicBezTo>
                  <a:pt x="495613" y="539961"/>
                  <a:pt x="496865" y="548901"/>
                  <a:pt x="505678" y="556455"/>
                </a:cubicBezTo>
                <a:cubicBezTo>
                  <a:pt x="516748" y="565943"/>
                  <a:pt x="523694" y="577557"/>
                  <a:pt x="526115" y="591784"/>
                </a:cubicBezTo>
                <a:cubicBezTo>
                  <a:pt x="527758" y="601445"/>
                  <a:pt x="532593" y="608029"/>
                  <a:pt x="541579" y="612264"/>
                </a:cubicBezTo>
                <a:cubicBezTo>
                  <a:pt x="555150" y="618662"/>
                  <a:pt x="564081" y="629523"/>
                  <a:pt x="569572" y="643441"/>
                </a:cubicBezTo>
                <a:cubicBezTo>
                  <a:pt x="576413" y="660776"/>
                  <a:pt x="570996" y="678245"/>
                  <a:pt x="555234" y="688473"/>
                </a:cubicBezTo>
                <a:cubicBezTo>
                  <a:pt x="542486" y="696746"/>
                  <a:pt x="528127" y="699474"/>
                  <a:pt x="513278" y="700556"/>
                </a:cubicBezTo>
                <a:cubicBezTo>
                  <a:pt x="505590" y="701115"/>
                  <a:pt x="497922" y="701952"/>
                  <a:pt x="488559" y="702821"/>
                </a:cubicBezTo>
                <a:cubicBezTo>
                  <a:pt x="488559" y="708552"/>
                  <a:pt x="488653" y="713320"/>
                  <a:pt x="488544" y="718085"/>
                </a:cubicBezTo>
                <a:cubicBezTo>
                  <a:pt x="486284" y="817406"/>
                  <a:pt x="502313" y="914319"/>
                  <a:pt x="526561" y="1010212"/>
                </a:cubicBezTo>
                <a:cubicBezTo>
                  <a:pt x="538799" y="1058612"/>
                  <a:pt x="553050" y="1106345"/>
                  <a:pt x="569986" y="1153317"/>
                </a:cubicBezTo>
                <a:cubicBezTo>
                  <a:pt x="573328" y="1162590"/>
                  <a:pt x="578279" y="1168740"/>
                  <a:pt x="587389" y="1172173"/>
                </a:cubicBezTo>
                <a:cubicBezTo>
                  <a:pt x="593869" y="1174616"/>
                  <a:pt x="600289" y="1177449"/>
                  <a:pt x="606286" y="1180891"/>
                </a:cubicBezTo>
                <a:cubicBezTo>
                  <a:pt x="617185" y="1187146"/>
                  <a:pt x="618776" y="1192931"/>
                  <a:pt x="613400" y="1204260"/>
                </a:cubicBezTo>
                <a:cubicBezTo>
                  <a:pt x="611475" y="1208315"/>
                  <a:pt x="609140" y="1212177"/>
                  <a:pt x="605350" y="1216760"/>
                </a:cubicBezTo>
                <a:cubicBezTo>
                  <a:pt x="602514" y="1218347"/>
                  <a:pt x="600399" y="1219189"/>
                  <a:pt x="600268" y="1220273"/>
                </a:cubicBezTo>
                <a:cubicBezTo>
                  <a:pt x="598551" y="1234430"/>
                  <a:pt x="599473" y="1247881"/>
                  <a:pt x="610574" y="1258750"/>
                </a:cubicBezTo>
                <a:cubicBezTo>
                  <a:pt x="631265" y="1279009"/>
                  <a:pt x="651790" y="1299438"/>
                  <a:pt x="672371" y="1319810"/>
                </a:cubicBezTo>
                <a:cubicBezTo>
                  <a:pt x="673495" y="1320922"/>
                  <a:pt x="674892" y="1321987"/>
                  <a:pt x="675494" y="1323366"/>
                </a:cubicBezTo>
                <a:cubicBezTo>
                  <a:pt x="685626" y="1346558"/>
                  <a:pt x="694775" y="1370031"/>
                  <a:pt x="692949" y="1396068"/>
                </a:cubicBezTo>
                <a:cubicBezTo>
                  <a:pt x="692525" y="1402108"/>
                  <a:pt x="691276" y="1408087"/>
                  <a:pt x="690628" y="1414117"/>
                </a:cubicBezTo>
                <a:cubicBezTo>
                  <a:pt x="690241" y="1417713"/>
                  <a:pt x="691290" y="1420628"/>
                  <a:pt x="695588" y="1421035"/>
                </a:cubicBezTo>
                <a:cubicBezTo>
                  <a:pt x="695527" y="1422155"/>
                  <a:pt x="695467" y="1423274"/>
                  <a:pt x="694353" y="1425190"/>
                </a:cubicBezTo>
                <a:cubicBezTo>
                  <a:pt x="691901" y="1426894"/>
                  <a:pt x="690503" y="1427804"/>
                  <a:pt x="689106" y="1428714"/>
                </a:cubicBezTo>
                <a:cubicBezTo>
                  <a:pt x="691101" y="1428620"/>
                  <a:pt x="693098" y="1428527"/>
                  <a:pt x="695093" y="1428433"/>
                </a:cubicBezTo>
                <a:cubicBezTo>
                  <a:pt x="695976" y="1429430"/>
                  <a:pt x="696859" y="1430427"/>
                  <a:pt x="697643" y="1432864"/>
                </a:cubicBezTo>
                <a:cubicBezTo>
                  <a:pt x="697724" y="1436887"/>
                  <a:pt x="697087" y="1439912"/>
                  <a:pt x="698207" y="1441988"/>
                </a:cubicBezTo>
                <a:cubicBezTo>
                  <a:pt x="709464" y="1462853"/>
                  <a:pt x="715798" y="1484864"/>
                  <a:pt x="715183" y="1508752"/>
                </a:cubicBezTo>
                <a:cubicBezTo>
                  <a:pt x="714863" y="1521166"/>
                  <a:pt x="713458" y="1523372"/>
                  <a:pt x="701540" y="1526524"/>
                </a:cubicBezTo>
                <a:cubicBezTo>
                  <a:pt x="662165" y="1536936"/>
                  <a:pt x="622006" y="1543243"/>
                  <a:pt x="581715" y="1548559"/>
                </a:cubicBezTo>
                <a:cubicBezTo>
                  <a:pt x="561988" y="1551162"/>
                  <a:pt x="542052" y="1552457"/>
                  <a:pt x="522168" y="1553543"/>
                </a:cubicBezTo>
                <a:cubicBezTo>
                  <a:pt x="498138" y="1554856"/>
                  <a:pt x="474063" y="1556013"/>
                  <a:pt x="450008" y="1556019"/>
                </a:cubicBezTo>
                <a:cubicBezTo>
                  <a:pt x="381724" y="1556035"/>
                  <a:pt x="313415" y="1557550"/>
                  <a:pt x="245169" y="1553749"/>
                </a:cubicBezTo>
                <a:cubicBezTo>
                  <a:pt x="237413" y="1553317"/>
                  <a:pt x="229596" y="1553867"/>
                  <a:pt x="221854" y="1553306"/>
                </a:cubicBezTo>
                <a:cubicBezTo>
                  <a:pt x="204023" y="1552015"/>
                  <a:pt x="186231" y="1550202"/>
                  <a:pt x="168405" y="1548828"/>
                </a:cubicBezTo>
                <a:cubicBezTo>
                  <a:pt x="154605" y="1547764"/>
                  <a:pt x="140762" y="1547242"/>
                  <a:pt x="126970" y="1546091"/>
                </a:cubicBezTo>
                <a:cubicBezTo>
                  <a:pt x="119295" y="1545451"/>
                  <a:pt x="111668" y="1544132"/>
                  <a:pt x="104053" y="1542912"/>
                </a:cubicBezTo>
                <a:cubicBezTo>
                  <a:pt x="91223" y="1540858"/>
                  <a:pt x="78344" y="1539011"/>
                  <a:pt x="65625" y="1536401"/>
                </a:cubicBezTo>
                <a:cubicBezTo>
                  <a:pt x="47307" y="1532642"/>
                  <a:pt x="29006" y="1528694"/>
                  <a:pt x="10909" y="1524010"/>
                </a:cubicBezTo>
                <a:cubicBezTo>
                  <a:pt x="744" y="1521379"/>
                  <a:pt x="119" y="1519620"/>
                  <a:pt x="8" y="1509263"/>
                </a:cubicBezTo>
                <a:cubicBezTo>
                  <a:pt x="-283" y="1482004"/>
                  <a:pt x="7525" y="1456906"/>
                  <a:pt x="21158" y="1433611"/>
                </a:cubicBezTo>
                <a:cubicBezTo>
                  <a:pt x="24128" y="1428537"/>
                  <a:pt x="25100" y="1424162"/>
                  <a:pt x="23462" y="1418658"/>
                </a:cubicBezTo>
                <a:cubicBezTo>
                  <a:pt x="19938" y="1406814"/>
                  <a:pt x="19145" y="1394638"/>
                  <a:pt x="19643" y="1382324"/>
                </a:cubicBezTo>
                <a:cubicBezTo>
                  <a:pt x="20741" y="1355171"/>
                  <a:pt x="29461" y="1331114"/>
                  <a:pt x="49060" y="1311832"/>
                </a:cubicBezTo>
                <a:cubicBezTo>
                  <a:pt x="68866" y="1292344"/>
                  <a:pt x="89102" y="1273294"/>
                  <a:pt x="109176" y="1254078"/>
                </a:cubicBezTo>
                <a:cubicBezTo>
                  <a:pt x="120788" y="1242961"/>
                  <a:pt x="123122" y="1229673"/>
                  <a:pt x="118319" y="1214801"/>
                </a:cubicBezTo>
                <a:cubicBezTo>
                  <a:pt x="116817" y="1210150"/>
                  <a:pt x="114697" y="1205702"/>
                  <a:pt x="113082" y="1201084"/>
                </a:cubicBezTo>
                <a:cubicBezTo>
                  <a:pt x="109606" y="1191147"/>
                  <a:pt x="110855" y="1188189"/>
                  <a:pt x="120417" y="1183950"/>
                </a:cubicBezTo>
                <a:cubicBezTo>
                  <a:pt x="125262" y="1181801"/>
                  <a:pt x="130109" y="1179394"/>
                  <a:pt x="135209" y="1178138"/>
                </a:cubicBezTo>
                <a:cubicBezTo>
                  <a:pt x="146972" y="1175241"/>
                  <a:pt x="153194" y="1166910"/>
                  <a:pt x="156535" y="1156396"/>
                </a:cubicBezTo>
                <a:cubicBezTo>
                  <a:pt x="166535" y="1124919"/>
                  <a:pt x="176229" y="1093339"/>
                  <a:pt x="185647" y="1061682"/>
                </a:cubicBezTo>
                <a:cubicBezTo>
                  <a:pt x="191222" y="1042945"/>
                  <a:pt x="196570" y="1024108"/>
                  <a:pt x="201074" y="1005093"/>
                </a:cubicBezTo>
                <a:cubicBezTo>
                  <a:pt x="205941" y="984550"/>
                  <a:pt x="210000" y="963801"/>
                  <a:pt x="213864" y="943040"/>
                </a:cubicBezTo>
                <a:cubicBezTo>
                  <a:pt x="217503" y="923489"/>
                  <a:pt x="220701" y="903846"/>
                  <a:pt x="223580" y="884167"/>
                </a:cubicBezTo>
                <a:cubicBezTo>
                  <a:pt x="225754" y="869301"/>
                  <a:pt x="227195" y="854324"/>
                  <a:pt x="228827" y="839382"/>
                </a:cubicBezTo>
                <a:cubicBezTo>
                  <a:pt x="230459" y="824446"/>
                  <a:pt x="232880" y="809515"/>
                  <a:pt x="233251" y="794539"/>
                </a:cubicBezTo>
                <a:cubicBezTo>
                  <a:pt x="233961" y="765893"/>
                  <a:pt x="233499" y="737217"/>
                  <a:pt x="233413" y="708554"/>
                </a:cubicBezTo>
                <a:cubicBezTo>
                  <a:pt x="233404" y="705465"/>
                  <a:pt x="232667" y="702378"/>
                  <a:pt x="232253" y="699181"/>
                </a:cubicBezTo>
                <a:cubicBezTo>
                  <a:pt x="218443" y="697138"/>
                  <a:pt x="205461" y="695831"/>
                  <a:pt x="192775" y="693131"/>
                </a:cubicBezTo>
                <a:cubicBezTo>
                  <a:pt x="183686" y="691197"/>
                  <a:pt x="174549" y="688305"/>
                  <a:pt x="166222" y="684229"/>
                </a:cubicBezTo>
                <a:cubicBezTo>
                  <a:pt x="151266" y="676909"/>
                  <a:pt x="147247" y="664789"/>
                  <a:pt x="153485" y="649704"/>
                </a:cubicBezTo>
                <a:cubicBezTo>
                  <a:pt x="158693" y="637111"/>
                  <a:pt x="168160" y="628190"/>
                  <a:pt x="179302" y="621006"/>
                </a:cubicBezTo>
                <a:cubicBezTo>
                  <a:pt x="186548" y="616334"/>
                  <a:pt x="191317" y="611105"/>
                  <a:pt x="192182" y="601675"/>
                </a:cubicBezTo>
                <a:cubicBezTo>
                  <a:pt x="192878" y="594094"/>
                  <a:pt x="197099" y="587626"/>
                  <a:pt x="204894" y="583417"/>
                </a:cubicBezTo>
                <a:cubicBezTo>
                  <a:pt x="214873" y="578030"/>
                  <a:pt x="224643" y="571774"/>
                  <a:pt x="233213" y="564393"/>
                </a:cubicBezTo>
                <a:cubicBezTo>
                  <a:pt x="242623" y="556289"/>
                  <a:pt x="240441" y="544193"/>
                  <a:pt x="229725" y="538177"/>
                </a:cubicBezTo>
                <a:cubicBezTo>
                  <a:pt x="226159" y="536176"/>
                  <a:pt x="222483" y="534351"/>
                  <a:pt x="218771" y="532633"/>
                </a:cubicBezTo>
                <a:cubicBezTo>
                  <a:pt x="213503" y="530196"/>
                  <a:pt x="212651" y="526226"/>
                  <a:pt x="215183" y="521568"/>
                </a:cubicBezTo>
                <a:cubicBezTo>
                  <a:pt x="217485" y="517332"/>
                  <a:pt x="220405" y="513432"/>
                  <a:pt x="223368" y="508901"/>
                </a:cubicBezTo>
                <a:cubicBezTo>
                  <a:pt x="221781" y="505376"/>
                  <a:pt x="220809" y="501165"/>
                  <a:pt x="218372" y="498135"/>
                </a:cubicBezTo>
                <a:cubicBezTo>
                  <a:pt x="202366" y="478231"/>
                  <a:pt x="190774" y="455961"/>
                  <a:pt x="181440" y="432308"/>
                </a:cubicBezTo>
                <a:cubicBezTo>
                  <a:pt x="170959" y="405748"/>
                  <a:pt x="164933" y="378186"/>
                  <a:pt x="167535" y="349841"/>
                </a:cubicBezTo>
                <a:cubicBezTo>
                  <a:pt x="170341" y="319265"/>
                  <a:pt x="179208" y="289917"/>
                  <a:pt x="193488" y="262518"/>
                </a:cubicBezTo>
                <a:cubicBezTo>
                  <a:pt x="206512" y="237529"/>
                  <a:pt x="220831" y="213359"/>
                  <a:pt x="237748" y="190690"/>
                </a:cubicBezTo>
                <a:cubicBezTo>
                  <a:pt x="260421" y="160310"/>
                  <a:pt x="282602" y="129592"/>
                  <a:pt x="309459" y="102623"/>
                </a:cubicBezTo>
                <a:cubicBezTo>
                  <a:pt x="316627" y="95424"/>
                  <a:pt x="316261" y="87541"/>
                  <a:pt x="310459" y="78521"/>
                </a:cubicBezTo>
                <a:cubicBezTo>
                  <a:pt x="306309" y="72071"/>
                  <a:pt x="301695" y="65150"/>
                  <a:pt x="300267" y="57856"/>
                </a:cubicBezTo>
                <a:cubicBezTo>
                  <a:pt x="295286" y="32423"/>
                  <a:pt x="314502" y="10133"/>
                  <a:pt x="332242" y="4422"/>
                </a:cubicBezTo>
                <a:cubicBezTo>
                  <a:pt x="349540" y="-1148"/>
                  <a:pt x="367530" y="-2176"/>
                  <a:pt x="384904" y="5551"/>
                </a:cubicBezTo>
                <a:cubicBezTo>
                  <a:pt x="395271" y="10161"/>
                  <a:pt x="403310" y="17760"/>
                  <a:pt x="409773" y="26778"/>
                </a:cubicBezTo>
                <a:cubicBezTo>
                  <a:pt x="415168" y="34307"/>
                  <a:pt x="413749" y="41584"/>
                  <a:pt x="407026" y="46052"/>
                </a:cubicBezTo>
                <a:cubicBezTo>
                  <a:pt x="405624" y="40964"/>
                  <a:pt x="404503" y="35849"/>
                  <a:pt x="402771" y="30951"/>
                </a:cubicBezTo>
                <a:cubicBezTo>
                  <a:pt x="401450" y="27216"/>
                  <a:pt x="399383" y="28477"/>
                  <a:pt x="397038" y="30361"/>
                </a:cubicBezTo>
                <a:cubicBezTo>
                  <a:pt x="384440" y="15986"/>
                  <a:pt x="377037" y="14494"/>
                  <a:pt x="360694" y="22760"/>
                </a:cubicBezTo>
                <a:cubicBezTo>
                  <a:pt x="353707" y="22767"/>
                  <a:pt x="352275" y="27176"/>
                  <a:pt x="351669" y="31736"/>
                </a:cubicBezTo>
                <a:cubicBezTo>
                  <a:pt x="351136" y="35760"/>
                  <a:pt x="351383" y="39899"/>
                  <a:pt x="351426" y="43987"/>
                </a:cubicBezTo>
                <a:cubicBezTo>
                  <a:pt x="351648" y="64919"/>
                  <a:pt x="372389" y="78115"/>
                  <a:pt x="390968" y="68762"/>
                </a:cubicBezTo>
                <a:cubicBezTo>
                  <a:pt x="395158" y="66653"/>
                  <a:pt x="398534" y="62629"/>
                  <a:pt x="401770" y="59025"/>
                </a:cubicBezTo>
                <a:cubicBezTo>
                  <a:pt x="404045" y="56491"/>
                  <a:pt x="405661" y="53409"/>
                  <a:pt x="409619" y="55786"/>
                </a:cubicBezTo>
                <a:cubicBezTo>
                  <a:pt x="413544" y="58145"/>
                  <a:pt x="412176" y="61347"/>
                  <a:pt x="410427" y="64256"/>
                </a:cubicBezTo>
                <a:cubicBezTo>
                  <a:pt x="406872" y="70170"/>
                  <a:pt x="403244" y="76046"/>
                  <a:pt x="399453" y="81811"/>
                </a:cubicBezTo>
                <a:cubicBezTo>
                  <a:pt x="394663" y="89097"/>
                  <a:pt x="394382" y="94032"/>
                  <a:pt x="399346" y="98083"/>
                </a:cubicBezTo>
                <a:cubicBezTo>
                  <a:pt x="428062" y="121519"/>
                  <a:pt x="450822" y="150083"/>
                  <a:pt x="471592" y="180524"/>
                </a:cubicBezTo>
                <a:cubicBezTo>
                  <a:pt x="476398" y="187569"/>
                  <a:pt x="476844" y="193688"/>
                  <a:pt x="473550" y="200923"/>
                </a:cubicBezTo>
                <a:cubicBezTo>
                  <a:pt x="470171" y="208346"/>
                  <a:pt x="467091" y="215905"/>
                  <a:pt x="463677" y="223311"/>
                </a:cubicBezTo>
                <a:cubicBezTo>
                  <a:pt x="461993" y="226965"/>
                  <a:pt x="462995" y="228697"/>
                  <a:pt x="466852" y="229083"/>
                </a:cubicBezTo>
                <a:moveTo>
                  <a:pt x="474186" y="928382"/>
                </a:moveTo>
                <a:cubicBezTo>
                  <a:pt x="469297" y="891529"/>
                  <a:pt x="462961" y="854794"/>
                  <a:pt x="459927" y="817790"/>
                </a:cubicBezTo>
                <a:cubicBezTo>
                  <a:pt x="456905" y="780939"/>
                  <a:pt x="457197" y="743817"/>
                  <a:pt x="456025" y="706469"/>
                </a:cubicBezTo>
                <a:cubicBezTo>
                  <a:pt x="425780" y="707923"/>
                  <a:pt x="396554" y="709327"/>
                  <a:pt x="366863" y="710754"/>
                </a:cubicBezTo>
                <a:cubicBezTo>
                  <a:pt x="366546" y="714450"/>
                  <a:pt x="366201" y="716832"/>
                  <a:pt x="366159" y="719219"/>
                </a:cubicBezTo>
                <a:cubicBezTo>
                  <a:pt x="365479" y="757672"/>
                  <a:pt x="364935" y="796129"/>
                  <a:pt x="364159" y="834581"/>
                </a:cubicBezTo>
                <a:cubicBezTo>
                  <a:pt x="363450" y="869762"/>
                  <a:pt x="362581" y="904941"/>
                  <a:pt x="361633" y="940117"/>
                </a:cubicBezTo>
                <a:cubicBezTo>
                  <a:pt x="360619" y="977749"/>
                  <a:pt x="359431" y="1015376"/>
                  <a:pt x="358313" y="1053005"/>
                </a:cubicBezTo>
                <a:cubicBezTo>
                  <a:pt x="358265" y="1054641"/>
                  <a:pt x="358149" y="1056276"/>
                  <a:pt x="358081" y="1057912"/>
                </a:cubicBezTo>
                <a:cubicBezTo>
                  <a:pt x="356598" y="1093463"/>
                  <a:pt x="355081" y="1129014"/>
                  <a:pt x="353706" y="1164570"/>
                </a:cubicBezTo>
                <a:cubicBezTo>
                  <a:pt x="353604" y="1167221"/>
                  <a:pt x="354516" y="1169911"/>
                  <a:pt x="354951" y="1172547"/>
                </a:cubicBezTo>
                <a:cubicBezTo>
                  <a:pt x="416984" y="1173689"/>
                  <a:pt x="478158" y="1174816"/>
                  <a:pt x="540959" y="1175972"/>
                </a:cubicBezTo>
                <a:cubicBezTo>
                  <a:pt x="513162" y="1094194"/>
                  <a:pt x="489081" y="1013598"/>
                  <a:pt x="474186" y="928382"/>
                </a:cubicBezTo>
                <a:moveTo>
                  <a:pt x="513768" y="1417676"/>
                </a:moveTo>
                <a:cubicBezTo>
                  <a:pt x="515785" y="1417344"/>
                  <a:pt x="517792" y="1416889"/>
                  <a:pt x="519822" y="1416700"/>
                </a:cubicBezTo>
                <a:cubicBezTo>
                  <a:pt x="557234" y="1413220"/>
                  <a:pt x="594682" y="1410089"/>
                  <a:pt x="632041" y="1406122"/>
                </a:cubicBezTo>
                <a:cubicBezTo>
                  <a:pt x="643122" y="1404945"/>
                  <a:pt x="654730" y="1405292"/>
                  <a:pt x="665040" y="1400634"/>
                </a:cubicBezTo>
                <a:cubicBezTo>
                  <a:pt x="665352" y="1398517"/>
                  <a:pt x="665651" y="1397324"/>
                  <a:pt x="665677" y="1396126"/>
                </a:cubicBezTo>
                <a:cubicBezTo>
                  <a:pt x="665722" y="1394084"/>
                  <a:pt x="665674" y="1392032"/>
                  <a:pt x="665529" y="1389994"/>
                </a:cubicBezTo>
                <a:cubicBezTo>
                  <a:pt x="663118" y="1356121"/>
                  <a:pt x="650063" y="1327787"/>
                  <a:pt x="623046" y="1306238"/>
                </a:cubicBezTo>
                <a:cubicBezTo>
                  <a:pt x="613485" y="1298611"/>
                  <a:pt x="605001" y="1289635"/>
                  <a:pt x="596015" y="1281285"/>
                </a:cubicBezTo>
                <a:cubicBezTo>
                  <a:pt x="578506" y="1265018"/>
                  <a:pt x="567837" y="1245446"/>
                  <a:pt x="567683" y="1220059"/>
                </a:cubicBezTo>
                <a:cubicBezTo>
                  <a:pt x="558046" y="1220059"/>
                  <a:pt x="549136" y="1219649"/>
                  <a:pt x="540273" y="1220129"/>
                </a:cubicBezTo>
                <a:cubicBezTo>
                  <a:pt x="501512" y="1222229"/>
                  <a:pt x="462775" y="1224768"/>
                  <a:pt x="424010" y="1226781"/>
                </a:cubicBezTo>
                <a:cubicBezTo>
                  <a:pt x="401969" y="1227926"/>
                  <a:pt x="379889" y="1228330"/>
                  <a:pt x="357832" y="1229178"/>
                </a:cubicBezTo>
                <a:cubicBezTo>
                  <a:pt x="355938" y="1229251"/>
                  <a:pt x="354076" y="1230151"/>
                  <a:pt x="352386" y="1230616"/>
                </a:cubicBezTo>
                <a:cubicBezTo>
                  <a:pt x="353642" y="1262222"/>
                  <a:pt x="355769" y="1293219"/>
                  <a:pt x="355852" y="1324222"/>
                </a:cubicBezTo>
                <a:cubicBezTo>
                  <a:pt x="355936" y="1355438"/>
                  <a:pt x="353988" y="1386659"/>
                  <a:pt x="352930" y="1417867"/>
                </a:cubicBezTo>
                <a:cubicBezTo>
                  <a:pt x="406069" y="1417867"/>
                  <a:pt x="458771" y="1417867"/>
                  <a:pt x="513768" y="1417676"/>
                </a:cubicBezTo>
                <a:moveTo>
                  <a:pt x="387930" y="499741"/>
                </a:moveTo>
                <a:cubicBezTo>
                  <a:pt x="410797" y="498777"/>
                  <a:pt x="433665" y="497860"/>
                  <a:pt x="456529" y="496826"/>
                </a:cubicBezTo>
                <a:cubicBezTo>
                  <a:pt x="466656" y="496369"/>
                  <a:pt x="475418" y="493371"/>
                  <a:pt x="482355" y="485095"/>
                </a:cubicBezTo>
                <a:cubicBezTo>
                  <a:pt x="509188" y="453083"/>
                  <a:pt x="525387" y="416636"/>
                  <a:pt x="528016" y="374829"/>
                </a:cubicBezTo>
                <a:cubicBezTo>
                  <a:pt x="530547" y="334558"/>
                  <a:pt x="520095" y="297041"/>
                  <a:pt x="501375" y="261643"/>
                </a:cubicBezTo>
                <a:cubicBezTo>
                  <a:pt x="499379" y="257869"/>
                  <a:pt x="496654" y="254482"/>
                  <a:pt x="493534" y="249818"/>
                </a:cubicBezTo>
                <a:cubicBezTo>
                  <a:pt x="490233" y="254212"/>
                  <a:pt x="487883" y="256986"/>
                  <a:pt x="485920" y="260010"/>
                </a:cubicBezTo>
                <a:cubicBezTo>
                  <a:pt x="475010" y="276824"/>
                  <a:pt x="464300" y="293767"/>
                  <a:pt x="453305" y="310523"/>
                </a:cubicBezTo>
                <a:cubicBezTo>
                  <a:pt x="447028" y="320089"/>
                  <a:pt x="440916" y="329858"/>
                  <a:pt x="433678" y="338672"/>
                </a:cubicBezTo>
                <a:cubicBezTo>
                  <a:pt x="425909" y="348131"/>
                  <a:pt x="413084" y="349691"/>
                  <a:pt x="403713" y="343710"/>
                </a:cubicBezTo>
                <a:cubicBezTo>
                  <a:pt x="394358" y="337739"/>
                  <a:pt x="391675" y="327526"/>
                  <a:pt x="396427" y="315612"/>
                </a:cubicBezTo>
                <a:cubicBezTo>
                  <a:pt x="397334" y="313339"/>
                  <a:pt x="398595" y="311210"/>
                  <a:pt x="399663" y="309000"/>
                </a:cubicBezTo>
                <a:cubicBezTo>
                  <a:pt x="417094" y="272900"/>
                  <a:pt x="434331" y="236704"/>
                  <a:pt x="452097" y="200770"/>
                </a:cubicBezTo>
                <a:cubicBezTo>
                  <a:pt x="455910" y="193060"/>
                  <a:pt x="455310" y="187173"/>
                  <a:pt x="450118" y="180596"/>
                </a:cubicBezTo>
                <a:cubicBezTo>
                  <a:pt x="428273" y="152922"/>
                  <a:pt x="405805" y="125901"/>
                  <a:pt x="376545" y="105525"/>
                </a:cubicBezTo>
                <a:cubicBezTo>
                  <a:pt x="374483" y="104089"/>
                  <a:pt x="372013" y="103239"/>
                  <a:pt x="368791" y="101653"/>
                </a:cubicBezTo>
                <a:cubicBezTo>
                  <a:pt x="367942" y="116965"/>
                  <a:pt x="367019" y="130814"/>
                  <a:pt x="366449" y="144676"/>
                </a:cubicBezTo>
                <a:cubicBezTo>
                  <a:pt x="365912" y="157758"/>
                  <a:pt x="365593" y="170854"/>
                  <a:pt x="365447" y="183946"/>
                </a:cubicBezTo>
                <a:cubicBezTo>
                  <a:pt x="365020" y="221975"/>
                  <a:pt x="363367" y="260055"/>
                  <a:pt x="364738" y="298022"/>
                </a:cubicBezTo>
                <a:cubicBezTo>
                  <a:pt x="366329" y="342101"/>
                  <a:pt x="370336" y="386106"/>
                  <a:pt x="373865" y="430096"/>
                </a:cubicBezTo>
                <a:cubicBezTo>
                  <a:pt x="375530" y="450849"/>
                  <a:pt x="378387" y="471514"/>
                  <a:pt x="381088" y="492169"/>
                </a:cubicBezTo>
                <a:cubicBezTo>
                  <a:pt x="381433" y="494807"/>
                  <a:pt x="384102" y="497143"/>
                  <a:pt x="387930" y="499741"/>
                </a:cubicBezTo>
                <a:moveTo>
                  <a:pt x="455850" y="1521476"/>
                </a:moveTo>
                <a:cubicBezTo>
                  <a:pt x="533043" y="1519612"/>
                  <a:pt x="609810" y="1514084"/>
                  <a:pt x="685121" y="1496509"/>
                </a:cubicBezTo>
                <a:cubicBezTo>
                  <a:pt x="683922" y="1481705"/>
                  <a:pt x="679199" y="1467708"/>
                  <a:pt x="672999" y="1456665"/>
                </a:cubicBezTo>
                <a:cubicBezTo>
                  <a:pt x="669933" y="1451203"/>
                  <a:pt x="666057" y="1449329"/>
                  <a:pt x="660009" y="1450249"/>
                </a:cubicBezTo>
                <a:cubicBezTo>
                  <a:pt x="651125" y="1451601"/>
                  <a:pt x="642144" y="1452308"/>
                  <a:pt x="633248" y="1453589"/>
                </a:cubicBezTo>
                <a:cubicBezTo>
                  <a:pt x="572852" y="1462289"/>
                  <a:pt x="511993" y="1465134"/>
                  <a:pt x="451131" y="1467458"/>
                </a:cubicBezTo>
                <a:cubicBezTo>
                  <a:pt x="421697" y="1468582"/>
                  <a:pt x="392192" y="1467837"/>
                  <a:pt x="362719" y="1467934"/>
                </a:cubicBezTo>
                <a:cubicBezTo>
                  <a:pt x="358386" y="1467948"/>
                  <a:pt x="354052" y="1467936"/>
                  <a:pt x="349983" y="1467936"/>
                </a:cubicBezTo>
                <a:cubicBezTo>
                  <a:pt x="347592" y="1485362"/>
                  <a:pt x="348606" y="1509458"/>
                  <a:pt x="352220" y="1519140"/>
                </a:cubicBezTo>
                <a:cubicBezTo>
                  <a:pt x="385617" y="1519916"/>
                  <a:pt x="419507" y="1520703"/>
                  <a:pt x="455850" y="1521476"/>
                </a:cubicBezTo>
                <a:moveTo>
                  <a:pt x="368682" y="544846"/>
                </a:moveTo>
                <a:cubicBezTo>
                  <a:pt x="374258" y="564891"/>
                  <a:pt x="370074" y="584394"/>
                  <a:pt x="363600" y="605633"/>
                </a:cubicBezTo>
                <a:cubicBezTo>
                  <a:pt x="408859" y="604212"/>
                  <a:pt x="452263" y="602850"/>
                  <a:pt x="496351" y="601466"/>
                </a:cubicBezTo>
                <a:cubicBezTo>
                  <a:pt x="496109" y="591095"/>
                  <a:pt x="491408" y="584247"/>
                  <a:pt x="485068" y="579288"/>
                </a:cubicBezTo>
                <a:cubicBezTo>
                  <a:pt x="472414" y="569391"/>
                  <a:pt x="466934" y="556602"/>
                  <a:pt x="466524" y="541026"/>
                </a:cubicBezTo>
                <a:cubicBezTo>
                  <a:pt x="466485" y="539528"/>
                  <a:pt x="465591" y="538053"/>
                  <a:pt x="465000" y="536289"/>
                </a:cubicBezTo>
                <a:cubicBezTo>
                  <a:pt x="460209" y="536289"/>
                  <a:pt x="455761" y="536132"/>
                  <a:pt x="451328" y="536316"/>
                </a:cubicBezTo>
                <a:cubicBezTo>
                  <a:pt x="430930" y="537159"/>
                  <a:pt x="410538" y="538137"/>
                  <a:pt x="390140" y="538979"/>
                </a:cubicBezTo>
                <a:cubicBezTo>
                  <a:pt x="384834" y="539198"/>
                  <a:pt x="379484" y="538790"/>
                  <a:pt x="374215" y="539303"/>
                </a:cubicBezTo>
                <a:cubicBezTo>
                  <a:pt x="372259" y="539494"/>
                  <a:pt x="370480" y="541498"/>
                  <a:pt x="368682" y="544846"/>
                </a:cubicBezTo>
                <a:moveTo>
                  <a:pt x="453915" y="635267"/>
                </a:moveTo>
                <a:cubicBezTo>
                  <a:pt x="427589" y="636632"/>
                  <a:pt x="401262" y="637998"/>
                  <a:pt x="374200" y="639402"/>
                </a:cubicBezTo>
                <a:cubicBezTo>
                  <a:pt x="374200" y="651578"/>
                  <a:pt x="374200" y="661970"/>
                  <a:pt x="374200" y="673206"/>
                </a:cubicBezTo>
                <a:cubicBezTo>
                  <a:pt x="378672" y="673406"/>
                  <a:pt x="382666" y="673863"/>
                  <a:pt x="386639" y="673718"/>
                </a:cubicBezTo>
                <a:cubicBezTo>
                  <a:pt x="431495" y="672082"/>
                  <a:pt x="476352" y="670422"/>
                  <a:pt x="521198" y="668541"/>
                </a:cubicBezTo>
                <a:cubicBezTo>
                  <a:pt x="525584" y="668357"/>
                  <a:pt x="530162" y="667254"/>
                  <a:pt x="534198" y="665521"/>
                </a:cubicBezTo>
                <a:cubicBezTo>
                  <a:pt x="540213" y="662938"/>
                  <a:pt x="541802" y="658194"/>
                  <a:pt x="538413" y="652526"/>
                </a:cubicBezTo>
                <a:cubicBezTo>
                  <a:pt x="536192" y="648813"/>
                  <a:pt x="532979" y="645251"/>
                  <a:pt x="529377" y="642895"/>
                </a:cubicBezTo>
                <a:cubicBezTo>
                  <a:pt x="521426" y="637695"/>
                  <a:pt x="512576" y="634669"/>
                  <a:pt x="502829" y="634808"/>
                </a:cubicBezTo>
                <a:cubicBezTo>
                  <a:pt x="487311" y="635030"/>
                  <a:pt x="471791" y="635092"/>
                  <a:pt x="453915" y="635267"/>
                </a:cubicBezTo>
                <a:close/>
              </a:path>
            </a:pathLst>
          </a:custGeom>
          <a:solidFill>
            <a:schemeClr val="bg1"/>
          </a:solidFill>
          <a:ln w="12700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4" name="Free-form: Shape 63">
            <a:extLst>
              <a:ext uri="{FF2B5EF4-FFF2-40B4-BE49-F238E27FC236}">
                <a16:creationId xmlns:a16="http://schemas.microsoft.com/office/drawing/2014/main" id="{42BFE82B-848F-A25D-9202-6C23224A96A0}"/>
              </a:ext>
            </a:extLst>
          </p:cNvPr>
          <p:cNvSpPr/>
          <p:nvPr/>
        </p:nvSpPr>
        <p:spPr>
          <a:xfrm>
            <a:off x="10128140" y="-2481962"/>
            <a:ext cx="665488" cy="1428730"/>
          </a:xfrm>
          <a:custGeom>
            <a:avLst/>
            <a:gdLst>
              <a:gd name="csX0" fmla="*/ 406842 w 732037"/>
              <a:gd name="csY0" fmla="*/ 38347 h 1571603"/>
              <a:gd name="csX1" fmla="*/ 411944 w 732037"/>
              <a:gd name="csY1" fmla="*/ 38343 h 1571603"/>
              <a:gd name="csX2" fmla="*/ 416198 w 732037"/>
              <a:gd name="csY2" fmla="*/ 53444 h 1571603"/>
              <a:gd name="csX3" fmla="*/ 418945 w 732037"/>
              <a:gd name="csY3" fmla="*/ 34170 h 1571603"/>
              <a:gd name="csX4" fmla="*/ 394077 w 732037"/>
              <a:gd name="csY4" fmla="*/ 12943 h 1571603"/>
              <a:gd name="csX5" fmla="*/ 341415 w 732037"/>
              <a:gd name="csY5" fmla="*/ 11814 h 1571603"/>
              <a:gd name="csX6" fmla="*/ 309440 w 732037"/>
              <a:gd name="csY6" fmla="*/ 65249 h 1571603"/>
              <a:gd name="csX7" fmla="*/ 319632 w 732037"/>
              <a:gd name="csY7" fmla="*/ 85914 h 1571603"/>
              <a:gd name="csX8" fmla="*/ 318632 w 732037"/>
              <a:gd name="csY8" fmla="*/ 110015 h 1571603"/>
              <a:gd name="csX9" fmla="*/ 246921 w 732037"/>
              <a:gd name="csY9" fmla="*/ 198083 h 1571603"/>
              <a:gd name="csX10" fmla="*/ 202660 w 732037"/>
              <a:gd name="csY10" fmla="*/ 269911 h 1571603"/>
              <a:gd name="csX11" fmla="*/ 176707 w 732037"/>
              <a:gd name="csY11" fmla="*/ 357233 h 1571603"/>
              <a:gd name="csX12" fmla="*/ 190612 w 732037"/>
              <a:gd name="csY12" fmla="*/ 439700 h 1571603"/>
              <a:gd name="csX13" fmla="*/ 227544 w 732037"/>
              <a:gd name="csY13" fmla="*/ 505527 h 1571603"/>
              <a:gd name="csX14" fmla="*/ 232541 w 732037"/>
              <a:gd name="csY14" fmla="*/ 516294 h 1571603"/>
              <a:gd name="csX15" fmla="*/ 224356 w 732037"/>
              <a:gd name="csY15" fmla="*/ 528960 h 1571603"/>
              <a:gd name="csX16" fmla="*/ 227944 w 732037"/>
              <a:gd name="csY16" fmla="*/ 540026 h 1571603"/>
              <a:gd name="csX17" fmla="*/ 238897 w 732037"/>
              <a:gd name="csY17" fmla="*/ 545570 h 1571603"/>
              <a:gd name="csX18" fmla="*/ 242386 w 732037"/>
              <a:gd name="csY18" fmla="*/ 571785 h 1571603"/>
              <a:gd name="csX19" fmla="*/ 214067 w 732037"/>
              <a:gd name="csY19" fmla="*/ 590809 h 1571603"/>
              <a:gd name="csX20" fmla="*/ 201355 w 732037"/>
              <a:gd name="csY20" fmla="*/ 609067 h 1571603"/>
              <a:gd name="csX21" fmla="*/ 188474 w 732037"/>
              <a:gd name="csY21" fmla="*/ 628398 h 1571603"/>
              <a:gd name="csX22" fmla="*/ 162658 w 732037"/>
              <a:gd name="csY22" fmla="*/ 657096 h 1571603"/>
              <a:gd name="csX23" fmla="*/ 175395 w 732037"/>
              <a:gd name="csY23" fmla="*/ 691621 h 1571603"/>
              <a:gd name="csX24" fmla="*/ 201948 w 732037"/>
              <a:gd name="csY24" fmla="*/ 700523 h 1571603"/>
              <a:gd name="csX25" fmla="*/ 241426 w 732037"/>
              <a:gd name="csY25" fmla="*/ 706574 h 1571603"/>
              <a:gd name="csX26" fmla="*/ 242586 w 732037"/>
              <a:gd name="csY26" fmla="*/ 715946 h 1571603"/>
              <a:gd name="csX27" fmla="*/ 242424 w 732037"/>
              <a:gd name="csY27" fmla="*/ 801932 h 1571603"/>
              <a:gd name="csX28" fmla="*/ 238000 w 732037"/>
              <a:gd name="csY28" fmla="*/ 846774 h 1571603"/>
              <a:gd name="csX29" fmla="*/ 232752 w 732037"/>
              <a:gd name="csY29" fmla="*/ 891559 h 1571603"/>
              <a:gd name="csX30" fmla="*/ 223037 w 732037"/>
              <a:gd name="csY30" fmla="*/ 950433 h 1571603"/>
              <a:gd name="csX31" fmla="*/ 210247 w 732037"/>
              <a:gd name="csY31" fmla="*/ 1012485 h 1571603"/>
              <a:gd name="csX32" fmla="*/ 194820 w 732037"/>
              <a:gd name="csY32" fmla="*/ 1069074 h 1571603"/>
              <a:gd name="csX33" fmla="*/ 165707 w 732037"/>
              <a:gd name="csY33" fmla="*/ 1163788 h 1571603"/>
              <a:gd name="csX34" fmla="*/ 144382 w 732037"/>
              <a:gd name="csY34" fmla="*/ 1185530 h 1571603"/>
              <a:gd name="csX35" fmla="*/ 129590 w 732037"/>
              <a:gd name="csY35" fmla="*/ 1191342 h 1571603"/>
              <a:gd name="csX36" fmla="*/ 122255 w 732037"/>
              <a:gd name="csY36" fmla="*/ 1208476 h 1571603"/>
              <a:gd name="csX37" fmla="*/ 127491 w 732037"/>
              <a:gd name="csY37" fmla="*/ 1222193 h 1571603"/>
              <a:gd name="csX38" fmla="*/ 118348 w 732037"/>
              <a:gd name="csY38" fmla="*/ 1261470 h 1571603"/>
              <a:gd name="csX39" fmla="*/ 58232 w 732037"/>
              <a:gd name="csY39" fmla="*/ 1319224 h 1571603"/>
              <a:gd name="csX40" fmla="*/ 28815 w 732037"/>
              <a:gd name="csY40" fmla="*/ 1389717 h 1571603"/>
              <a:gd name="csX41" fmla="*/ 32634 w 732037"/>
              <a:gd name="csY41" fmla="*/ 1426050 h 1571603"/>
              <a:gd name="csX42" fmla="*/ 30331 w 732037"/>
              <a:gd name="csY42" fmla="*/ 1441003 h 1571603"/>
              <a:gd name="csX43" fmla="*/ 9180 w 732037"/>
              <a:gd name="csY43" fmla="*/ 1516655 h 1571603"/>
              <a:gd name="csX44" fmla="*/ 20082 w 732037"/>
              <a:gd name="csY44" fmla="*/ 1531402 h 1571603"/>
              <a:gd name="csX45" fmla="*/ 74798 w 732037"/>
              <a:gd name="csY45" fmla="*/ 1543794 h 1571603"/>
              <a:gd name="csX46" fmla="*/ 113225 w 732037"/>
              <a:gd name="csY46" fmla="*/ 1550305 h 1571603"/>
              <a:gd name="csX47" fmla="*/ 136142 w 732037"/>
              <a:gd name="csY47" fmla="*/ 1553484 h 1571603"/>
              <a:gd name="csX48" fmla="*/ 177578 w 732037"/>
              <a:gd name="csY48" fmla="*/ 1556220 h 1571603"/>
              <a:gd name="csX49" fmla="*/ 231027 w 732037"/>
              <a:gd name="csY49" fmla="*/ 1560698 h 1571603"/>
              <a:gd name="csX50" fmla="*/ 254342 w 732037"/>
              <a:gd name="csY50" fmla="*/ 1561142 h 1571603"/>
              <a:gd name="csX51" fmla="*/ 459180 w 732037"/>
              <a:gd name="csY51" fmla="*/ 1563411 h 1571603"/>
              <a:gd name="csX52" fmla="*/ 531340 w 732037"/>
              <a:gd name="csY52" fmla="*/ 1560936 h 1571603"/>
              <a:gd name="csX53" fmla="*/ 590888 w 732037"/>
              <a:gd name="csY53" fmla="*/ 1555951 h 1571603"/>
              <a:gd name="csX54" fmla="*/ 710712 w 732037"/>
              <a:gd name="csY54" fmla="*/ 1533916 h 1571603"/>
              <a:gd name="csX55" fmla="*/ 724356 w 732037"/>
              <a:gd name="csY55" fmla="*/ 1516144 h 1571603"/>
              <a:gd name="csX56" fmla="*/ 707380 w 732037"/>
              <a:gd name="csY56" fmla="*/ 1449380 h 1571603"/>
              <a:gd name="csX57" fmla="*/ 707050 w 732037"/>
              <a:gd name="csY57" fmla="*/ 1440881 h 1571603"/>
              <a:gd name="csX58" fmla="*/ 731479 w 732037"/>
              <a:gd name="csY58" fmla="*/ 1500017 h 1571603"/>
              <a:gd name="csX59" fmla="*/ 731163 w 732037"/>
              <a:gd name="csY59" fmla="*/ 1513759 h 1571603"/>
              <a:gd name="csX60" fmla="*/ 731650 w 732037"/>
              <a:gd name="csY60" fmla="*/ 1521766 h 1571603"/>
              <a:gd name="csX61" fmla="*/ 721896 w 732037"/>
              <a:gd name="csY61" fmla="*/ 1537319 h 1571603"/>
              <a:gd name="csX62" fmla="*/ 657740 w 732037"/>
              <a:gd name="csY62" fmla="*/ 1553265 h 1571603"/>
              <a:gd name="csX63" fmla="*/ 507791 w 732037"/>
              <a:gd name="csY63" fmla="*/ 1568943 h 1571603"/>
              <a:gd name="csX64" fmla="*/ 264676 w 732037"/>
              <a:gd name="csY64" fmla="*/ 1569724 h 1571603"/>
              <a:gd name="csX65" fmla="*/ 82743 w 732037"/>
              <a:gd name="csY65" fmla="*/ 1553254 h 1571603"/>
              <a:gd name="csX66" fmla="*/ 17072 w 732037"/>
              <a:gd name="csY66" fmla="*/ 1538153 h 1571603"/>
              <a:gd name="csX67" fmla="*/ 275 w 732037"/>
              <a:gd name="csY67" fmla="*/ 1513030 h 1571603"/>
              <a:gd name="csX68" fmla="*/ 20923 w 732037"/>
              <a:gd name="csY68" fmla="*/ 1441861 h 1571603"/>
              <a:gd name="csX69" fmla="*/ 23045 w 732037"/>
              <a:gd name="csY69" fmla="*/ 1423105 h 1571603"/>
              <a:gd name="csX70" fmla="*/ 30564 w 732037"/>
              <a:gd name="csY70" fmla="*/ 1346289 h 1571603"/>
              <a:gd name="csX71" fmla="*/ 71350 w 732037"/>
              <a:gd name="csY71" fmla="*/ 1295039 h 1571603"/>
              <a:gd name="csX72" fmla="*/ 112257 w 732037"/>
              <a:gd name="csY72" fmla="*/ 1255093 h 1571603"/>
              <a:gd name="csX73" fmla="*/ 115864 w 732037"/>
              <a:gd name="csY73" fmla="*/ 1217271 h 1571603"/>
              <a:gd name="csX74" fmla="*/ 112256 w 732037"/>
              <a:gd name="csY74" fmla="*/ 1210870 h 1571603"/>
              <a:gd name="csX75" fmla="*/ 121141 w 732037"/>
              <a:gd name="csY75" fmla="*/ 1186548 h 1571603"/>
              <a:gd name="csX76" fmla="*/ 136571 w 732037"/>
              <a:gd name="csY76" fmla="*/ 1179850 h 1571603"/>
              <a:gd name="csX77" fmla="*/ 158281 w 732037"/>
              <a:gd name="csY77" fmla="*/ 1157879 h 1571603"/>
              <a:gd name="csX78" fmla="*/ 187986 w 732037"/>
              <a:gd name="csY78" fmla="*/ 1059736 h 1571603"/>
              <a:gd name="csX79" fmla="*/ 217119 w 732037"/>
              <a:gd name="csY79" fmla="*/ 938896 h 1571603"/>
              <a:gd name="csX80" fmla="*/ 225792 w 732037"/>
              <a:gd name="csY80" fmla="*/ 893236 h 1571603"/>
              <a:gd name="csX81" fmla="*/ 226150 w 732037"/>
              <a:gd name="csY81" fmla="*/ 887970 h 1571603"/>
              <a:gd name="csX82" fmla="*/ 230782 w 732037"/>
              <a:gd name="csY82" fmla="*/ 853969 h 1571603"/>
              <a:gd name="csX83" fmla="*/ 230786 w 732037"/>
              <a:gd name="csY83" fmla="*/ 848558 h 1571603"/>
              <a:gd name="csX84" fmla="*/ 233315 w 732037"/>
              <a:gd name="csY84" fmla="*/ 824438 h 1571603"/>
              <a:gd name="csX85" fmla="*/ 233199 w 732037"/>
              <a:gd name="csY85" fmla="*/ 819050 h 1571603"/>
              <a:gd name="csX86" fmla="*/ 235848 w 732037"/>
              <a:gd name="csY86" fmla="*/ 782380 h 1571603"/>
              <a:gd name="csX87" fmla="*/ 237465 w 732037"/>
              <a:gd name="csY87" fmla="*/ 719113 h 1571603"/>
              <a:gd name="csX88" fmla="*/ 233057 w 732037"/>
              <a:gd name="csY88" fmla="*/ 713160 h 1571603"/>
              <a:gd name="csX89" fmla="*/ 203056 w 732037"/>
              <a:gd name="csY89" fmla="*/ 708405 h 1571603"/>
              <a:gd name="csX90" fmla="*/ 169628 w 732037"/>
              <a:gd name="csY90" fmla="*/ 698106 h 1571603"/>
              <a:gd name="csX91" fmla="*/ 153237 w 732037"/>
              <a:gd name="csY91" fmla="*/ 659111 h 1571603"/>
              <a:gd name="csX92" fmla="*/ 178365 w 732037"/>
              <a:gd name="csY92" fmla="*/ 626008 h 1571603"/>
              <a:gd name="csX93" fmla="*/ 191885 w 732037"/>
              <a:gd name="csY93" fmla="*/ 617513 h 1571603"/>
              <a:gd name="csX94" fmla="*/ 193681 w 732037"/>
              <a:gd name="csY94" fmla="*/ 610098 h 1571603"/>
              <a:gd name="csX95" fmla="*/ 213301 w 732037"/>
              <a:gd name="csY95" fmla="*/ 579885 h 1571603"/>
              <a:gd name="csX96" fmla="*/ 229635 w 732037"/>
              <a:gd name="csY96" fmla="*/ 571429 h 1571603"/>
              <a:gd name="csX97" fmla="*/ 237351 w 732037"/>
              <a:gd name="csY97" fmla="*/ 565882 h 1571603"/>
              <a:gd name="csX98" fmla="*/ 233673 w 732037"/>
              <a:gd name="csY98" fmla="*/ 550926 h 1571603"/>
              <a:gd name="csX99" fmla="*/ 226799 w 732037"/>
              <a:gd name="csY99" fmla="*/ 548359 h 1571603"/>
              <a:gd name="csX100" fmla="*/ 218639 w 732037"/>
              <a:gd name="csY100" fmla="*/ 522664 h 1571603"/>
              <a:gd name="csX101" fmla="*/ 218264 w 732037"/>
              <a:gd name="csY101" fmla="*/ 505463 h 1571603"/>
              <a:gd name="csX102" fmla="*/ 181762 w 732037"/>
              <a:gd name="csY102" fmla="*/ 437574 h 1571603"/>
              <a:gd name="csX103" fmla="*/ 185971 w 732037"/>
              <a:gd name="csY103" fmla="*/ 289069 h 1571603"/>
              <a:gd name="csX104" fmla="*/ 253787 w 732037"/>
              <a:gd name="csY104" fmla="*/ 175580 h 1571603"/>
              <a:gd name="csX105" fmla="*/ 309639 w 732037"/>
              <a:gd name="csY105" fmla="*/ 108695 h 1571603"/>
              <a:gd name="csX106" fmla="*/ 318061 w 732037"/>
              <a:gd name="csY106" fmla="*/ 98855 h 1571603"/>
              <a:gd name="csX107" fmla="*/ 304967 w 732037"/>
              <a:gd name="csY107" fmla="*/ 70056 h 1571603"/>
              <a:gd name="csX108" fmla="*/ 317012 w 732037"/>
              <a:gd name="csY108" fmla="*/ 19436 h 1571603"/>
              <a:gd name="csX109" fmla="*/ 415542 w 732037"/>
              <a:gd name="csY109" fmla="*/ 18221 h 1571603"/>
              <a:gd name="csX110" fmla="*/ 423203 w 732037"/>
              <a:gd name="csY110" fmla="*/ 82660 h 1571603"/>
              <a:gd name="csX111" fmla="*/ 413361 w 732037"/>
              <a:gd name="csY111" fmla="*/ 97975 h 1571603"/>
              <a:gd name="csX112" fmla="*/ 421654 w 732037"/>
              <a:gd name="csY112" fmla="*/ 106676 h 1571603"/>
              <a:gd name="csX113" fmla="*/ 487032 w 732037"/>
              <a:gd name="csY113" fmla="*/ 184632 h 1571603"/>
              <a:gd name="csX114" fmla="*/ 489213 w 732037"/>
              <a:gd name="csY114" fmla="*/ 208238 h 1571603"/>
              <a:gd name="csX115" fmla="*/ 476520 w 732037"/>
              <a:gd name="csY115" fmla="*/ 235738 h 1571603"/>
              <a:gd name="csX116" fmla="*/ 472850 w 732037"/>
              <a:gd name="csY116" fmla="*/ 230703 h 1571603"/>
              <a:gd name="csX117" fmla="*/ 482723 w 732037"/>
              <a:gd name="csY117" fmla="*/ 208315 h 1571603"/>
              <a:gd name="csX118" fmla="*/ 480764 w 732037"/>
              <a:gd name="csY118" fmla="*/ 187916 h 1571603"/>
              <a:gd name="csX119" fmla="*/ 408519 w 732037"/>
              <a:gd name="csY119" fmla="*/ 105475 h 1571603"/>
              <a:gd name="csX120" fmla="*/ 408625 w 732037"/>
              <a:gd name="csY120" fmla="*/ 89203 h 1571603"/>
              <a:gd name="csX121" fmla="*/ 419600 w 732037"/>
              <a:gd name="csY121" fmla="*/ 71648 h 1571603"/>
              <a:gd name="csX122" fmla="*/ 418792 w 732037"/>
              <a:gd name="csY122" fmla="*/ 63179 h 1571603"/>
              <a:gd name="csX123" fmla="*/ 410943 w 732037"/>
              <a:gd name="csY123" fmla="*/ 66417 h 1571603"/>
              <a:gd name="csX124" fmla="*/ 400140 w 732037"/>
              <a:gd name="csY124" fmla="*/ 76155 h 1571603"/>
              <a:gd name="csX125" fmla="*/ 360599 w 732037"/>
              <a:gd name="csY125" fmla="*/ 51379 h 1571603"/>
              <a:gd name="csX126" fmla="*/ 360842 w 732037"/>
              <a:gd name="csY126" fmla="*/ 39128 h 1571603"/>
              <a:gd name="csX127" fmla="*/ 369470 w 732037"/>
              <a:gd name="csY127" fmla="*/ 30960 h 1571603"/>
              <a:gd name="csX128" fmla="*/ 365613 w 732037"/>
              <a:gd name="csY128" fmla="*/ 49108 h 1571603"/>
              <a:gd name="csX129" fmla="*/ 389468 w 732037"/>
              <a:gd name="csY129" fmla="*/ 71608 h 1571603"/>
              <a:gd name="csX130" fmla="*/ 408822 w 732037"/>
              <a:gd name="csY130" fmla="*/ 46613 h 1571603"/>
              <a:gd name="csX131" fmla="*/ 406842 w 732037"/>
              <a:gd name="csY131" fmla="*/ 38347 h 157160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</a:cxnLst>
            <a:rect l="l" t="t" r="r" b="b"/>
            <a:pathLst>
              <a:path w="732037" h="1571603">
                <a:moveTo>
                  <a:pt x="406842" y="38347"/>
                </a:moveTo>
                <a:cubicBezTo>
                  <a:pt x="408555" y="35869"/>
                  <a:pt x="410622" y="34608"/>
                  <a:pt x="411944" y="38343"/>
                </a:cubicBezTo>
                <a:cubicBezTo>
                  <a:pt x="413676" y="43242"/>
                  <a:pt x="414797" y="48356"/>
                  <a:pt x="416198" y="53444"/>
                </a:cubicBezTo>
                <a:cubicBezTo>
                  <a:pt x="422922" y="48977"/>
                  <a:pt x="424340" y="41699"/>
                  <a:pt x="418945" y="34170"/>
                </a:cubicBezTo>
                <a:cubicBezTo>
                  <a:pt x="412483" y="25152"/>
                  <a:pt x="404444" y="17554"/>
                  <a:pt x="394077" y="12943"/>
                </a:cubicBezTo>
                <a:cubicBezTo>
                  <a:pt x="376702" y="5216"/>
                  <a:pt x="358713" y="6244"/>
                  <a:pt x="341415" y="11814"/>
                </a:cubicBezTo>
                <a:cubicBezTo>
                  <a:pt x="323675" y="17525"/>
                  <a:pt x="304459" y="39816"/>
                  <a:pt x="309440" y="65249"/>
                </a:cubicBezTo>
                <a:cubicBezTo>
                  <a:pt x="310868" y="72543"/>
                  <a:pt x="315482" y="79463"/>
                  <a:pt x="319632" y="85914"/>
                </a:cubicBezTo>
                <a:cubicBezTo>
                  <a:pt x="325434" y="94933"/>
                  <a:pt x="325800" y="102817"/>
                  <a:pt x="318632" y="110015"/>
                </a:cubicBezTo>
                <a:cubicBezTo>
                  <a:pt x="291775" y="136984"/>
                  <a:pt x="269594" y="167702"/>
                  <a:pt x="246921" y="198083"/>
                </a:cubicBezTo>
                <a:cubicBezTo>
                  <a:pt x="230003" y="220751"/>
                  <a:pt x="215685" y="244921"/>
                  <a:pt x="202660" y="269911"/>
                </a:cubicBezTo>
                <a:cubicBezTo>
                  <a:pt x="188381" y="297309"/>
                  <a:pt x="179513" y="326657"/>
                  <a:pt x="176707" y="357233"/>
                </a:cubicBezTo>
                <a:cubicBezTo>
                  <a:pt x="174106" y="385578"/>
                  <a:pt x="180131" y="413140"/>
                  <a:pt x="190612" y="439700"/>
                </a:cubicBezTo>
                <a:cubicBezTo>
                  <a:pt x="199946" y="463353"/>
                  <a:pt x="211538" y="485623"/>
                  <a:pt x="227544" y="505527"/>
                </a:cubicBezTo>
                <a:cubicBezTo>
                  <a:pt x="229982" y="508558"/>
                  <a:pt x="230954" y="512768"/>
                  <a:pt x="232541" y="516294"/>
                </a:cubicBezTo>
                <a:cubicBezTo>
                  <a:pt x="229578" y="520824"/>
                  <a:pt x="226658" y="524724"/>
                  <a:pt x="224356" y="528960"/>
                </a:cubicBezTo>
                <a:cubicBezTo>
                  <a:pt x="221823" y="533618"/>
                  <a:pt x="222675" y="537588"/>
                  <a:pt x="227944" y="540026"/>
                </a:cubicBezTo>
                <a:cubicBezTo>
                  <a:pt x="231656" y="541743"/>
                  <a:pt x="235331" y="543568"/>
                  <a:pt x="238897" y="545570"/>
                </a:cubicBezTo>
                <a:cubicBezTo>
                  <a:pt x="249613" y="551585"/>
                  <a:pt x="251795" y="563681"/>
                  <a:pt x="242386" y="571785"/>
                </a:cubicBezTo>
                <a:cubicBezTo>
                  <a:pt x="233816" y="579166"/>
                  <a:pt x="224045" y="585423"/>
                  <a:pt x="214067" y="590809"/>
                </a:cubicBezTo>
                <a:cubicBezTo>
                  <a:pt x="206271" y="595018"/>
                  <a:pt x="202051" y="601487"/>
                  <a:pt x="201355" y="609067"/>
                </a:cubicBezTo>
                <a:cubicBezTo>
                  <a:pt x="200489" y="618497"/>
                  <a:pt x="195720" y="623726"/>
                  <a:pt x="188474" y="628398"/>
                </a:cubicBezTo>
                <a:cubicBezTo>
                  <a:pt x="177332" y="635582"/>
                  <a:pt x="167866" y="644503"/>
                  <a:pt x="162658" y="657096"/>
                </a:cubicBezTo>
                <a:cubicBezTo>
                  <a:pt x="156420" y="672181"/>
                  <a:pt x="160439" y="684301"/>
                  <a:pt x="175395" y="691621"/>
                </a:cubicBezTo>
                <a:cubicBezTo>
                  <a:pt x="183722" y="695697"/>
                  <a:pt x="192859" y="698589"/>
                  <a:pt x="201948" y="700523"/>
                </a:cubicBezTo>
                <a:cubicBezTo>
                  <a:pt x="214634" y="703224"/>
                  <a:pt x="227616" y="704530"/>
                  <a:pt x="241426" y="706574"/>
                </a:cubicBezTo>
                <a:cubicBezTo>
                  <a:pt x="241839" y="709770"/>
                  <a:pt x="242576" y="712857"/>
                  <a:pt x="242586" y="715946"/>
                </a:cubicBezTo>
                <a:cubicBezTo>
                  <a:pt x="242672" y="744610"/>
                  <a:pt x="243133" y="773285"/>
                  <a:pt x="242424" y="801932"/>
                </a:cubicBezTo>
                <a:cubicBezTo>
                  <a:pt x="242053" y="816907"/>
                  <a:pt x="239631" y="831838"/>
                  <a:pt x="238000" y="846774"/>
                </a:cubicBezTo>
                <a:cubicBezTo>
                  <a:pt x="236368" y="861717"/>
                  <a:pt x="234927" y="876693"/>
                  <a:pt x="232752" y="891559"/>
                </a:cubicBezTo>
                <a:cubicBezTo>
                  <a:pt x="229873" y="911238"/>
                  <a:pt x="226675" y="930882"/>
                  <a:pt x="223037" y="950433"/>
                </a:cubicBezTo>
                <a:cubicBezTo>
                  <a:pt x="219173" y="971193"/>
                  <a:pt x="215113" y="991942"/>
                  <a:pt x="210247" y="1012485"/>
                </a:cubicBezTo>
                <a:cubicBezTo>
                  <a:pt x="205743" y="1031500"/>
                  <a:pt x="200395" y="1050337"/>
                  <a:pt x="194820" y="1069074"/>
                </a:cubicBezTo>
                <a:cubicBezTo>
                  <a:pt x="185401" y="1100731"/>
                  <a:pt x="175708" y="1132311"/>
                  <a:pt x="165707" y="1163788"/>
                </a:cubicBezTo>
                <a:cubicBezTo>
                  <a:pt x="162367" y="1174302"/>
                  <a:pt x="156145" y="1182634"/>
                  <a:pt x="144382" y="1185530"/>
                </a:cubicBezTo>
                <a:cubicBezTo>
                  <a:pt x="139281" y="1186787"/>
                  <a:pt x="134434" y="1189193"/>
                  <a:pt x="129590" y="1191342"/>
                </a:cubicBezTo>
                <a:cubicBezTo>
                  <a:pt x="120028" y="1195581"/>
                  <a:pt x="118779" y="1198539"/>
                  <a:pt x="122255" y="1208476"/>
                </a:cubicBezTo>
                <a:cubicBezTo>
                  <a:pt x="123870" y="1213094"/>
                  <a:pt x="125990" y="1217542"/>
                  <a:pt x="127491" y="1222193"/>
                </a:cubicBezTo>
                <a:cubicBezTo>
                  <a:pt x="132294" y="1237066"/>
                  <a:pt x="129961" y="1250353"/>
                  <a:pt x="118348" y="1261470"/>
                </a:cubicBezTo>
                <a:cubicBezTo>
                  <a:pt x="98275" y="1280686"/>
                  <a:pt x="78038" y="1299737"/>
                  <a:pt x="58232" y="1319224"/>
                </a:cubicBezTo>
                <a:cubicBezTo>
                  <a:pt x="38634" y="1338507"/>
                  <a:pt x="29913" y="1362564"/>
                  <a:pt x="28815" y="1389717"/>
                </a:cubicBezTo>
                <a:cubicBezTo>
                  <a:pt x="28318" y="1402031"/>
                  <a:pt x="29110" y="1414206"/>
                  <a:pt x="32634" y="1426050"/>
                </a:cubicBezTo>
                <a:cubicBezTo>
                  <a:pt x="34273" y="1431554"/>
                  <a:pt x="33300" y="1435929"/>
                  <a:pt x="30331" y="1441003"/>
                </a:cubicBezTo>
                <a:cubicBezTo>
                  <a:pt x="16698" y="1464298"/>
                  <a:pt x="8890" y="1489397"/>
                  <a:pt x="9180" y="1516655"/>
                </a:cubicBezTo>
                <a:cubicBezTo>
                  <a:pt x="9291" y="1527012"/>
                  <a:pt x="9917" y="1528771"/>
                  <a:pt x="20082" y="1531402"/>
                </a:cubicBezTo>
                <a:cubicBezTo>
                  <a:pt x="38179" y="1536086"/>
                  <a:pt x="56480" y="1540035"/>
                  <a:pt x="74798" y="1543794"/>
                </a:cubicBezTo>
                <a:cubicBezTo>
                  <a:pt x="87517" y="1546403"/>
                  <a:pt x="100396" y="1548250"/>
                  <a:pt x="113225" y="1550305"/>
                </a:cubicBezTo>
                <a:cubicBezTo>
                  <a:pt x="120841" y="1551524"/>
                  <a:pt x="128467" y="1552843"/>
                  <a:pt x="136142" y="1553484"/>
                </a:cubicBezTo>
                <a:cubicBezTo>
                  <a:pt x="149934" y="1554635"/>
                  <a:pt x="163778" y="1555156"/>
                  <a:pt x="177578" y="1556220"/>
                </a:cubicBezTo>
                <a:cubicBezTo>
                  <a:pt x="195403" y="1557595"/>
                  <a:pt x="213196" y="1559407"/>
                  <a:pt x="231027" y="1560698"/>
                </a:cubicBezTo>
                <a:cubicBezTo>
                  <a:pt x="238768" y="1561259"/>
                  <a:pt x="246585" y="1560709"/>
                  <a:pt x="254342" y="1561142"/>
                </a:cubicBezTo>
                <a:cubicBezTo>
                  <a:pt x="322588" y="1564942"/>
                  <a:pt x="390896" y="1563427"/>
                  <a:pt x="459180" y="1563411"/>
                </a:cubicBezTo>
                <a:cubicBezTo>
                  <a:pt x="483236" y="1563406"/>
                  <a:pt x="507311" y="1562248"/>
                  <a:pt x="531340" y="1560936"/>
                </a:cubicBezTo>
                <a:cubicBezTo>
                  <a:pt x="551225" y="1559849"/>
                  <a:pt x="571160" y="1558554"/>
                  <a:pt x="590888" y="1555951"/>
                </a:cubicBezTo>
                <a:cubicBezTo>
                  <a:pt x="631179" y="1550635"/>
                  <a:pt x="671338" y="1544328"/>
                  <a:pt x="710712" y="1533916"/>
                </a:cubicBezTo>
                <a:cubicBezTo>
                  <a:pt x="722630" y="1530764"/>
                  <a:pt x="724036" y="1528558"/>
                  <a:pt x="724356" y="1516144"/>
                </a:cubicBezTo>
                <a:cubicBezTo>
                  <a:pt x="724970" y="1492256"/>
                  <a:pt x="718637" y="1470245"/>
                  <a:pt x="707380" y="1449380"/>
                </a:cubicBezTo>
                <a:cubicBezTo>
                  <a:pt x="706259" y="1447304"/>
                  <a:pt x="706896" y="1444279"/>
                  <a:pt x="707050" y="1440881"/>
                </a:cubicBezTo>
                <a:cubicBezTo>
                  <a:pt x="722747" y="1457101"/>
                  <a:pt x="728653" y="1477963"/>
                  <a:pt x="731479" y="1500017"/>
                </a:cubicBezTo>
                <a:cubicBezTo>
                  <a:pt x="731992" y="1504029"/>
                  <a:pt x="731781" y="1508135"/>
                  <a:pt x="731163" y="1513759"/>
                </a:cubicBezTo>
                <a:cubicBezTo>
                  <a:pt x="730831" y="1517468"/>
                  <a:pt x="731241" y="1519618"/>
                  <a:pt x="731650" y="1521766"/>
                </a:cubicBezTo>
                <a:cubicBezTo>
                  <a:pt x="733191" y="1529956"/>
                  <a:pt x="730165" y="1535242"/>
                  <a:pt x="721896" y="1537319"/>
                </a:cubicBezTo>
                <a:cubicBezTo>
                  <a:pt x="700520" y="1542690"/>
                  <a:pt x="679367" y="1549248"/>
                  <a:pt x="657740" y="1553265"/>
                </a:cubicBezTo>
                <a:cubicBezTo>
                  <a:pt x="608220" y="1562464"/>
                  <a:pt x="558146" y="1566701"/>
                  <a:pt x="507791" y="1568943"/>
                </a:cubicBezTo>
                <a:cubicBezTo>
                  <a:pt x="426738" y="1572552"/>
                  <a:pt x="345677" y="1572161"/>
                  <a:pt x="264676" y="1569724"/>
                </a:cubicBezTo>
                <a:cubicBezTo>
                  <a:pt x="203800" y="1567891"/>
                  <a:pt x="142882" y="1563907"/>
                  <a:pt x="82743" y="1553254"/>
                </a:cubicBezTo>
                <a:cubicBezTo>
                  <a:pt x="60647" y="1549341"/>
                  <a:pt x="38739" y="1544032"/>
                  <a:pt x="17072" y="1538153"/>
                </a:cubicBezTo>
                <a:cubicBezTo>
                  <a:pt x="1381" y="1533894"/>
                  <a:pt x="-938" y="1529341"/>
                  <a:pt x="275" y="1513030"/>
                </a:cubicBezTo>
                <a:cubicBezTo>
                  <a:pt x="2146" y="1487871"/>
                  <a:pt x="7321" y="1463566"/>
                  <a:pt x="20923" y="1441861"/>
                </a:cubicBezTo>
                <a:cubicBezTo>
                  <a:pt x="24812" y="1435656"/>
                  <a:pt x="24566" y="1429699"/>
                  <a:pt x="23045" y="1423105"/>
                </a:cubicBezTo>
                <a:cubicBezTo>
                  <a:pt x="16952" y="1396684"/>
                  <a:pt x="19689" y="1370924"/>
                  <a:pt x="30564" y="1346289"/>
                </a:cubicBezTo>
                <a:cubicBezTo>
                  <a:pt x="39621" y="1325774"/>
                  <a:pt x="54481" y="1309709"/>
                  <a:pt x="71350" y="1295039"/>
                </a:cubicBezTo>
                <a:cubicBezTo>
                  <a:pt x="85712" y="1282550"/>
                  <a:pt x="99164" y="1268932"/>
                  <a:pt x="112257" y="1255093"/>
                </a:cubicBezTo>
                <a:cubicBezTo>
                  <a:pt x="122891" y="1243852"/>
                  <a:pt x="124955" y="1230879"/>
                  <a:pt x="115864" y="1217271"/>
                </a:cubicBezTo>
                <a:cubicBezTo>
                  <a:pt x="114506" y="1215239"/>
                  <a:pt x="113304" y="1213078"/>
                  <a:pt x="112256" y="1210870"/>
                </a:cubicBezTo>
                <a:cubicBezTo>
                  <a:pt x="106526" y="1198808"/>
                  <a:pt x="109052" y="1191969"/>
                  <a:pt x="121141" y="1186548"/>
                </a:cubicBezTo>
                <a:cubicBezTo>
                  <a:pt x="126274" y="1184246"/>
                  <a:pt x="131201" y="1180803"/>
                  <a:pt x="136571" y="1179850"/>
                </a:cubicBezTo>
                <a:cubicBezTo>
                  <a:pt x="149372" y="1177579"/>
                  <a:pt x="154892" y="1168948"/>
                  <a:pt x="158281" y="1157879"/>
                </a:cubicBezTo>
                <a:cubicBezTo>
                  <a:pt x="168288" y="1125194"/>
                  <a:pt x="179178" y="1092742"/>
                  <a:pt x="187986" y="1059736"/>
                </a:cubicBezTo>
                <a:cubicBezTo>
                  <a:pt x="198666" y="1019713"/>
                  <a:pt x="207813" y="979272"/>
                  <a:pt x="217119" y="938896"/>
                </a:cubicBezTo>
                <a:cubicBezTo>
                  <a:pt x="220491" y="924267"/>
                  <a:pt x="222410" y="909302"/>
                  <a:pt x="225792" y="893236"/>
                </a:cubicBezTo>
                <a:cubicBezTo>
                  <a:pt x="226444" y="890644"/>
                  <a:pt x="226297" y="889307"/>
                  <a:pt x="226150" y="887970"/>
                </a:cubicBezTo>
                <a:cubicBezTo>
                  <a:pt x="227450" y="877085"/>
                  <a:pt x="228750" y="866198"/>
                  <a:pt x="230782" y="853969"/>
                </a:cubicBezTo>
                <a:cubicBezTo>
                  <a:pt x="231271" y="851270"/>
                  <a:pt x="231029" y="849914"/>
                  <a:pt x="230786" y="848558"/>
                </a:cubicBezTo>
                <a:cubicBezTo>
                  <a:pt x="231390" y="840967"/>
                  <a:pt x="231993" y="833375"/>
                  <a:pt x="233315" y="824438"/>
                </a:cubicBezTo>
                <a:cubicBezTo>
                  <a:pt x="233755" y="821744"/>
                  <a:pt x="233477" y="820397"/>
                  <a:pt x="233199" y="819050"/>
                </a:cubicBezTo>
                <a:cubicBezTo>
                  <a:pt x="233786" y="807422"/>
                  <a:pt x="234374" y="795794"/>
                  <a:pt x="235848" y="782380"/>
                </a:cubicBezTo>
                <a:cubicBezTo>
                  <a:pt x="237047" y="760099"/>
                  <a:pt x="237488" y="739606"/>
                  <a:pt x="237465" y="719113"/>
                </a:cubicBezTo>
                <a:cubicBezTo>
                  <a:pt x="237463" y="717127"/>
                  <a:pt x="234595" y="715144"/>
                  <a:pt x="233057" y="713160"/>
                </a:cubicBezTo>
                <a:cubicBezTo>
                  <a:pt x="223043" y="711630"/>
                  <a:pt x="212881" y="710731"/>
                  <a:pt x="203056" y="708405"/>
                </a:cubicBezTo>
                <a:cubicBezTo>
                  <a:pt x="191716" y="705720"/>
                  <a:pt x="180144" y="702931"/>
                  <a:pt x="169628" y="698106"/>
                </a:cubicBezTo>
                <a:cubicBezTo>
                  <a:pt x="154505" y="691164"/>
                  <a:pt x="148867" y="675179"/>
                  <a:pt x="153237" y="659111"/>
                </a:cubicBezTo>
                <a:cubicBezTo>
                  <a:pt x="157196" y="644561"/>
                  <a:pt x="166649" y="634454"/>
                  <a:pt x="178365" y="626008"/>
                </a:cubicBezTo>
                <a:cubicBezTo>
                  <a:pt x="182258" y="623202"/>
                  <a:pt x="186579" y="620992"/>
                  <a:pt x="191885" y="617513"/>
                </a:cubicBezTo>
                <a:cubicBezTo>
                  <a:pt x="194882" y="614532"/>
                  <a:pt x="197062" y="612583"/>
                  <a:pt x="193681" y="610098"/>
                </a:cubicBezTo>
                <a:cubicBezTo>
                  <a:pt x="193381" y="595591"/>
                  <a:pt x="202034" y="586776"/>
                  <a:pt x="213301" y="579885"/>
                </a:cubicBezTo>
                <a:cubicBezTo>
                  <a:pt x="218517" y="576695"/>
                  <a:pt x="224270" y="574393"/>
                  <a:pt x="229635" y="571429"/>
                </a:cubicBezTo>
                <a:cubicBezTo>
                  <a:pt x="232401" y="569901"/>
                  <a:pt x="235344" y="568225"/>
                  <a:pt x="237351" y="565882"/>
                </a:cubicBezTo>
                <a:cubicBezTo>
                  <a:pt x="243193" y="559063"/>
                  <a:pt x="242021" y="554779"/>
                  <a:pt x="233673" y="550926"/>
                </a:cubicBezTo>
                <a:cubicBezTo>
                  <a:pt x="231458" y="549904"/>
                  <a:pt x="229049" y="549314"/>
                  <a:pt x="226799" y="548359"/>
                </a:cubicBezTo>
                <a:cubicBezTo>
                  <a:pt x="215108" y="543398"/>
                  <a:pt x="211118" y="532802"/>
                  <a:pt x="218639" y="522664"/>
                </a:cubicBezTo>
                <a:cubicBezTo>
                  <a:pt x="223647" y="515913"/>
                  <a:pt x="222661" y="511633"/>
                  <a:pt x="218264" y="505463"/>
                </a:cubicBezTo>
                <a:cubicBezTo>
                  <a:pt x="203255" y="484407"/>
                  <a:pt x="190650" y="461993"/>
                  <a:pt x="181762" y="437574"/>
                </a:cubicBezTo>
                <a:cubicBezTo>
                  <a:pt x="163530" y="387483"/>
                  <a:pt x="165826" y="338057"/>
                  <a:pt x="185971" y="289069"/>
                </a:cubicBezTo>
                <a:cubicBezTo>
                  <a:pt x="202921" y="247851"/>
                  <a:pt x="226229" y="210377"/>
                  <a:pt x="253787" y="175580"/>
                </a:cubicBezTo>
                <a:cubicBezTo>
                  <a:pt x="271814" y="152817"/>
                  <a:pt x="290973" y="130951"/>
                  <a:pt x="309639" y="108695"/>
                </a:cubicBezTo>
                <a:cubicBezTo>
                  <a:pt x="312744" y="104993"/>
                  <a:pt x="315922" y="101352"/>
                  <a:pt x="318061" y="98855"/>
                </a:cubicBezTo>
                <a:cubicBezTo>
                  <a:pt x="313257" y="88362"/>
                  <a:pt x="308695" y="79376"/>
                  <a:pt x="304967" y="70056"/>
                </a:cubicBezTo>
                <a:cubicBezTo>
                  <a:pt x="297146" y="50504"/>
                  <a:pt x="303366" y="33481"/>
                  <a:pt x="317012" y="19436"/>
                </a:cubicBezTo>
                <a:cubicBezTo>
                  <a:pt x="344741" y="-9105"/>
                  <a:pt x="393463" y="-3345"/>
                  <a:pt x="415542" y="18221"/>
                </a:cubicBezTo>
                <a:cubicBezTo>
                  <a:pt x="429559" y="31914"/>
                  <a:pt x="438373" y="56968"/>
                  <a:pt x="423203" y="82660"/>
                </a:cubicBezTo>
                <a:cubicBezTo>
                  <a:pt x="420306" y="87568"/>
                  <a:pt x="417047" y="92262"/>
                  <a:pt x="413361" y="97975"/>
                </a:cubicBezTo>
                <a:cubicBezTo>
                  <a:pt x="416167" y="100932"/>
                  <a:pt x="418781" y="103940"/>
                  <a:pt x="421654" y="106676"/>
                </a:cubicBezTo>
                <a:cubicBezTo>
                  <a:pt x="446372" y="130213"/>
                  <a:pt x="467902" y="156374"/>
                  <a:pt x="487032" y="184632"/>
                </a:cubicBezTo>
                <a:cubicBezTo>
                  <a:pt x="492374" y="192525"/>
                  <a:pt x="493990" y="199495"/>
                  <a:pt x="489213" y="208238"/>
                </a:cubicBezTo>
                <a:cubicBezTo>
                  <a:pt x="484525" y="216819"/>
                  <a:pt x="481033" y="226053"/>
                  <a:pt x="476520" y="235738"/>
                </a:cubicBezTo>
                <a:cubicBezTo>
                  <a:pt x="472168" y="236089"/>
                  <a:pt x="471165" y="234358"/>
                  <a:pt x="472850" y="230703"/>
                </a:cubicBezTo>
                <a:cubicBezTo>
                  <a:pt x="476263" y="223297"/>
                  <a:pt x="479344" y="215738"/>
                  <a:pt x="482723" y="208315"/>
                </a:cubicBezTo>
                <a:cubicBezTo>
                  <a:pt x="486016" y="201080"/>
                  <a:pt x="485571" y="194961"/>
                  <a:pt x="480764" y="187916"/>
                </a:cubicBezTo>
                <a:cubicBezTo>
                  <a:pt x="459995" y="157475"/>
                  <a:pt x="437234" y="128912"/>
                  <a:pt x="408519" y="105475"/>
                </a:cubicBezTo>
                <a:cubicBezTo>
                  <a:pt x="403555" y="101425"/>
                  <a:pt x="403835" y="96489"/>
                  <a:pt x="408625" y="89203"/>
                </a:cubicBezTo>
                <a:cubicBezTo>
                  <a:pt x="412416" y="83438"/>
                  <a:pt x="416045" y="77562"/>
                  <a:pt x="419600" y="71648"/>
                </a:cubicBezTo>
                <a:cubicBezTo>
                  <a:pt x="421349" y="68739"/>
                  <a:pt x="422717" y="65537"/>
                  <a:pt x="418792" y="63179"/>
                </a:cubicBezTo>
                <a:cubicBezTo>
                  <a:pt x="414834" y="60801"/>
                  <a:pt x="413218" y="63883"/>
                  <a:pt x="410943" y="66417"/>
                </a:cubicBezTo>
                <a:cubicBezTo>
                  <a:pt x="407706" y="70022"/>
                  <a:pt x="404330" y="74045"/>
                  <a:pt x="400140" y="76155"/>
                </a:cubicBezTo>
                <a:cubicBezTo>
                  <a:pt x="381561" y="85507"/>
                  <a:pt x="360821" y="72312"/>
                  <a:pt x="360599" y="51379"/>
                </a:cubicBezTo>
                <a:cubicBezTo>
                  <a:pt x="360556" y="47292"/>
                  <a:pt x="360308" y="43152"/>
                  <a:pt x="360842" y="39128"/>
                </a:cubicBezTo>
                <a:cubicBezTo>
                  <a:pt x="361447" y="34568"/>
                  <a:pt x="362880" y="30159"/>
                  <a:pt x="369470" y="30960"/>
                </a:cubicBezTo>
                <a:cubicBezTo>
                  <a:pt x="368501" y="37551"/>
                  <a:pt x="365745" y="43300"/>
                  <a:pt x="365613" y="49108"/>
                </a:cubicBezTo>
                <a:cubicBezTo>
                  <a:pt x="365328" y="61659"/>
                  <a:pt x="377498" y="72522"/>
                  <a:pt x="389468" y="71608"/>
                </a:cubicBezTo>
                <a:cubicBezTo>
                  <a:pt x="401478" y="70690"/>
                  <a:pt x="410127" y="59637"/>
                  <a:pt x="408822" y="46613"/>
                </a:cubicBezTo>
                <a:cubicBezTo>
                  <a:pt x="408542" y="43819"/>
                  <a:pt x="407521" y="41100"/>
                  <a:pt x="406842" y="38347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5" name="Free-form: Shape 64">
            <a:extLst>
              <a:ext uri="{FF2B5EF4-FFF2-40B4-BE49-F238E27FC236}">
                <a16:creationId xmlns:a16="http://schemas.microsoft.com/office/drawing/2014/main" id="{A881F783-B5D8-C6AD-DFBA-BD60426AFAB5}"/>
              </a:ext>
            </a:extLst>
          </p:cNvPr>
          <p:cNvSpPr/>
          <p:nvPr/>
        </p:nvSpPr>
        <p:spPr>
          <a:xfrm>
            <a:off x="10681562" y="-1368571"/>
            <a:ext cx="91545" cy="184495"/>
          </a:xfrm>
          <a:custGeom>
            <a:avLst/>
            <a:gdLst>
              <a:gd name="csX0" fmla="*/ 96534 w 100699"/>
              <a:gd name="csY0" fmla="*/ 202912 h 202945"/>
              <a:gd name="csX1" fmla="*/ 91036 w 100699"/>
              <a:gd name="csY1" fmla="*/ 196780 h 202945"/>
              <a:gd name="csX2" fmla="*/ 93357 w 100699"/>
              <a:gd name="csY2" fmla="*/ 178731 h 202945"/>
              <a:gd name="csX3" fmla="*/ 75903 w 100699"/>
              <a:gd name="csY3" fmla="*/ 106029 h 202945"/>
              <a:gd name="csX4" fmla="*/ 72780 w 100699"/>
              <a:gd name="csY4" fmla="*/ 102473 h 202945"/>
              <a:gd name="csX5" fmla="*/ 10982 w 100699"/>
              <a:gd name="csY5" fmla="*/ 41414 h 202945"/>
              <a:gd name="csX6" fmla="*/ 676 w 100699"/>
              <a:gd name="csY6" fmla="*/ 2936 h 202945"/>
              <a:gd name="csX7" fmla="*/ 5198 w 100699"/>
              <a:gd name="csY7" fmla="*/ 0 h 202945"/>
              <a:gd name="csX8" fmla="*/ 15435 w 100699"/>
              <a:gd name="csY8" fmla="*/ 35855 h 202945"/>
              <a:gd name="csX9" fmla="*/ 44498 w 100699"/>
              <a:gd name="csY9" fmla="*/ 63833 h 202945"/>
              <a:gd name="csX10" fmla="*/ 81385 w 100699"/>
              <a:gd name="csY10" fmla="*/ 106005 h 202945"/>
              <a:gd name="csX11" fmla="*/ 98950 w 100699"/>
              <a:gd name="csY11" fmla="*/ 190063 h 202945"/>
              <a:gd name="csX12" fmla="*/ 96534 w 100699"/>
              <a:gd name="csY12" fmla="*/ 202912 h 20294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</a:cxnLst>
            <a:rect l="l" t="t" r="r" b="b"/>
            <a:pathLst>
              <a:path w="100699" h="202945">
                <a:moveTo>
                  <a:pt x="96534" y="202912"/>
                </a:moveTo>
                <a:cubicBezTo>
                  <a:pt x="91699" y="203291"/>
                  <a:pt x="90650" y="200377"/>
                  <a:pt x="91036" y="196780"/>
                </a:cubicBezTo>
                <a:cubicBezTo>
                  <a:pt x="91685" y="190750"/>
                  <a:pt x="92933" y="184771"/>
                  <a:pt x="93357" y="178731"/>
                </a:cubicBezTo>
                <a:cubicBezTo>
                  <a:pt x="95183" y="152694"/>
                  <a:pt x="86034" y="129222"/>
                  <a:pt x="75903" y="106029"/>
                </a:cubicBezTo>
                <a:cubicBezTo>
                  <a:pt x="75300" y="104650"/>
                  <a:pt x="73904" y="103585"/>
                  <a:pt x="72780" y="102473"/>
                </a:cubicBezTo>
                <a:cubicBezTo>
                  <a:pt x="52199" y="82101"/>
                  <a:pt x="31673" y="61673"/>
                  <a:pt x="10982" y="41414"/>
                </a:cubicBezTo>
                <a:cubicBezTo>
                  <a:pt x="-119" y="30544"/>
                  <a:pt x="-1041" y="17093"/>
                  <a:pt x="676" y="2936"/>
                </a:cubicBezTo>
                <a:cubicBezTo>
                  <a:pt x="808" y="1852"/>
                  <a:pt x="2922" y="1010"/>
                  <a:pt x="5198" y="0"/>
                </a:cubicBezTo>
                <a:cubicBezTo>
                  <a:pt x="2043" y="13772"/>
                  <a:pt x="5665" y="25821"/>
                  <a:pt x="15435" y="35855"/>
                </a:cubicBezTo>
                <a:cubicBezTo>
                  <a:pt x="24811" y="45486"/>
                  <a:pt x="35301" y="54047"/>
                  <a:pt x="44498" y="63833"/>
                </a:cubicBezTo>
                <a:cubicBezTo>
                  <a:pt x="57293" y="77447"/>
                  <a:pt x="70760" y="90773"/>
                  <a:pt x="81385" y="106005"/>
                </a:cubicBezTo>
                <a:cubicBezTo>
                  <a:pt x="98896" y="131109"/>
                  <a:pt x="103759" y="159808"/>
                  <a:pt x="98950" y="190063"/>
                </a:cubicBezTo>
                <a:cubicBezTo>
                  <a:pt x="98311" y="194082"/>
                  <a:pt x="97697" y="198105"/>
                  <a:pt x="96534" y="202912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6" name="Free-form: Shape 65">
            <a:extLst>
              <a:ext uri="{FF2B5EF4-FFF2-40B4-BE49-F238E27FC236}">
                <a16:creationId xmlns:a16="http://schemas.microsoft.com/office/drawing/2014/main" id="{819C54B6-ED1B-88F2-A453-421C757AE2B4}"/>
              </a:ext>
            </a:extLst>
          </p:cNvPr>
          <p:cNvSpPr/>
          <p:nvPr/>
        </p:nvSpPr>
        <p:spPr>
          <a:xfrm>
            <a:off x="10340278" y="-1832607"/>
            <a:ext cx="3739" cy="60936"/>
          </a:xfrm>
          <a:custGeom>
            <a:avLst/>
            <a:gdLst>
              <a:gd name="csX0" fmla="*/ 0 w 4113"/>
              <a:gd name="csY0" fmla="*/ 0 h 67029"/>
              <a:gd name="csX1" fmla="*/ 4113 w 4113"/>
              <a:gd name="csY1" fmla="*/ 4824 h 67029"/>
              <a:gd name="csX2" fmla="*/ 2662 w 4113"/>
              <a:gd name="csY2" fmla="*/ 67030 h 67029"/>
              <a:gd name="csX3" fmla="*/ 631 w 4113"/>
              <a:gd name="csY3" fmla="*/ 55883 h 67029"/>
              <a:gd name="csX4" fmla="*/ 0 w 4113"/>
              <a:gd name="csY4" fmla="*/ 0 h 6702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4113" h="67029">
                <a:moveTo>
                  <a:pt x="0" y="0"/>
                </a:moveTo>
                <a:cubicBezTo>
                  <a:pt x="1242" y="855"/>
                  <a:pt x="4111" y="2838"/>
                  <a:pt x="4113" y="4824"/>
                </a:cubicBezTo>
                <a:cubicBezTo>
                  <a:pt x="4135" y="25317"/>
                  <a:pt x="3695" y="45810"/>
                  <a:pt x="2662" y="67030"/>
                </a:cubicBezTo>
                <a:cubicBezTo>
                  <a:pt x="1483" y="63799"/>
                  <a:pt x="680" y="59846"/>
                  <a:pt x="631" y="55883"/>
                </a:cubicBezTo>
                <a:cubicBezTo>
                  <a:pt x="404" y="37633"/>
                  <a:pt x="388" y="19381"/>
                  <a:pt x="0" y="0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7" name="Free-form: Shape 66">
            <a:extLst>
              <a:ext uri="{FF2B5EF4-FFF2-40B4-BE49-F238E27FC236}">
                <a16:creationId xmlns:a16="http://schemas.microsoft.com/office/drawing/2014/main" id="{39F2486A-1BC1-ECF5-BC1A-CBF6E4D978A8}"/>
              </a:ext>
            </a:extLst>
          </p:cNvPr>
          <p:cNvSpPr/>
          <p:nvPr/>
        </p:nvSpPr>
        <p:spPr>
          <a:xfrm>
            <a:off x="10792667" y="-1104807"/>
            <a:ext cx="1060" cy="5803"/>
          </a:xfrm>
          <a:custGeom>
            <a:avLst/>
            <a:gdLst>
              <a:gd name="csX0" fmla="*/ 1130 w 1165"/>
              <a:gd name="csY0" fmla="*/ 6385 h 6384"/>
              <a:gd name="csX1" fmla="*/ 49 w 1165"/>
              <a:gd name="csY1" fmla="*/ 0 h 6384"/>
              <a:gd name="csX2" fmla="*/ 1130 w 1165"/>
              <a:gd name="csY2" fmla="*/ 6385 h 638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165" h="6384">
                <a:moveTo>
                  <a:pt x="1130" y="6385"/>
                </a:moveTo>
                <a:cubicBezTo>
                  <a:pt x="260" y="4748"/>
                  <a:pt x="-149" y="2599"/>
                  <a:pt x="49" y="0"/>
                </a:cubicBezTo>
                <a:cubicBezTo>
                  <a:pt x="969" y="1658"/>
                  <a:pt x="1279" y="3765"/>
                  <a:pt x="1130" y="6385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8" name="Free-form: Shape 67">
            <a:extLst>
              <a:ext uri="{FF2B5EF4-FFF2-40B4-BE49-F238E27FC236}">
                <a16:creationId xmlns:a16="http://schemas.microsoft.com/office/drawing/2014/main" id="{6D010EAB-0571-2634-3662-F20B5E25C19B}"/>
              </a:ext>
            </a:extLst>
          </p:cNvPr>
          <p:cNvSpPr/>
          <p:nvPr/>
        </p:nvSpPr>
        <p:spPr>
          <a:xfrm>
            <a:off x="10762938" y="-1178902"/>
            <a:ext cx="5440" cy="2491"/>
          </a:xfrm>
          <a:custGeom>
            <a:avLst/>
            <a:gdLst>
              <a:gd name="csX0" fmla="*/ 5985 w 5984"/>
              <a:gd name="csY0" fmla="*/ 1832 h 2740"/>
              <a:gd name="csX1" fmla="*/ 0 w 5984"/>
              <a:gd name="csY1" fmla="*/ 2740 h 2740"/>
              <a:gd name="csX2" fmla="*/ 4930 w 5984"/>
              <a:gd name="csY2" fmla="*/ 0 h 2740"/>
              <a:gd name="csX3" fmla="*/ 5985 w 5984"/>
              <a:gd name="csY3" fmla="*/ 1832 h 274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</a:cxnLst>
            <a:rect l="l" t="t" r="r" b="b"/>
            <a:pathLst>
              <a:path w="5984" h="2740">
                <a:moveTo>
                  <a:pt x="5985" y="1832"/>
                </a:moveTo>
                <a:cubicBezTo>
                  <a:pt x="3992" y="2553"/>
                  <a:pt x="1996" y="2646"/>
                  <a:pt x="0" y="2740"/>
                </a:cubicBezTo>
                <a:cubicBezTo>
                  <a:pt x="1398" y="1830"/>
                  <a:pt x="2796" y="920"/>
                  <a:pt x="4930" y="0"/>
                </a:cubicBezTo>
                <a:cubicBezTo>
                  <a:pt x="5772" y="394"/>
                  <a:pt x="5877" y="799"/>
                  <a:pt x="5985" y="1832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9" name="Free-form: Shape 68">
            <a:extLst>
              <a:ext uri="{FF2B5EF4-FFF2-40B4-BE49-F238E27FC236}">
                <a16:creationId xmlns:a16="http://schemas.microsoft.com/office/drawing/2014/main" id="{53041C0C-B029-82AD-2ED1-96669759FFD0}"/>
              </a:ext>
            </a:extLst>
          </p:cNvPr>
          <p:cNvSpPr/>
          <p:nvPr/>
        </p:nvSpPr>
        <p:spPr>
          <a:xfrm>
            <a:off x="10303051" y="-1926787"/>
            <a:ext cx="2645" cy="5625"/>
          </a:xfrm>
          <a:custGeom>
            <a:avLst/>
            <a:gdLst>
              <a:gd name="csX0" fmla="*/ 815 w 2910"/>
              <a:gd name="csY0" fmla="*/ 0 h 6187"/>
              <a:gd name="csX1" fmla="*/ 113 w 2910"/>
              <a:gd name="csY1" fmla="*/ 6187 h 6187"/>
              <a:gd name="csX2" fmla="*/ 815 w 2910"/>
              <a:gd name="csY2" fmla="*/ 0 h 618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2910" h="6187">
                <a:moveTo>
                  <a:pt x="815" y="0"/>
                </a:moveTo>
                <a:cubicBezTo>
                  <a:pt x="4660" y="1891"/>
                  <a:pt x="2480" y="3840"/>
                  <a:pt x="113" y="6187"/>
                </a:cubicBezTo>
                <a:cubicBezTo>
                  <a:pt x="-172" y="4565"/>
                  <a:pt x="89" y="2579"/>
                  <a:pt x="815" y="0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0" name="Free-form: Shape 69">
            <a:extLst>
              <a:ext uri="{FF2B5EF4-FFF2-40B4-BE49-F238E27FC236}">
                <a16:creationId xmlns:a16="http://schemas.microsoft.com/office/drawing/2014/main" id="{0D7A1D09-F16A-51C9-C9FF-9212EFA9E93A}"/>
              </a:ext>
            </a:extLst>
          </p:cNvPr>
          <p:cNvSpPr/>
          <p:nvPr/>
        </p:nvSpPr>
        <p:spPr>
          <a:xfrm>
            <a:off x="10337466" y="-1710213"/>
            <a:ext cx="770" cy="3664"/>
          </a:xfrm>
          <a:custGeom>
            <a:avLst/>
            <a:gdLst>
              <a:gd name="csX0" fmla="*/ 106 w 847"/>
              <a:gd name="csY0" fmla="*/ 0 h 4030"/>
              <a:gd name="csX1" fmla="*/ 732 w 847"/>
              <a:gd name="csY1" fmla="*/ 4031 h 4030"/>
              <a:gd name="csX2" fmla="*/ 106 w 847"/>
              <a:gd name="csY2" fmla="*/ 0 h 403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7" h="4030">
                <a:moveTo>
                  <a:pt x="106" y="0"/>
                </a:moveTo>
                <a:cubicBezTo>
                  <a:pt x="770" y="990"/>
                  <a:pt x="1013" y="2346"/>
                  <a:pt x="732" y="4031"/>
                </a:cubicBezTo>
                <a:cubicBezTo>
                  <a:pt x="34" y="3029"/>
                  <a:pt x="-141" y="1697"/>
                  <a:pt x="106" y="0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1" name="Free-form: Shape 70">
            <a:extLst>
              <a:ext uri="{FF2B5EF4-FFF2-40B4-BE49-F238E27FC236}">
                <a16:creationId xmlns:a16="http://schemas.microsoft.com/office/drawing/2014/main" id="{7B6D6B11-CD26-38D4-4365-1942B66C9B6B}"/>
              </a:ext>
            </a:extLst>
          </p:cNvPr>
          <p:cNvSpPr/>
          <p:nvPr/>
        </p:nvSpPr>
        <p:spPr>
          <a:xfrm>
            <a:off x="10333142" y="-1674419"/>
            <a:ext cx="703" cy="3631"/>
          </a:xfrm>
          <a:custGeom>
            <a:avLst/>
            <a:gdLst>
              <a:gd name="csX0" fmla="*/ 195 w 774"/>
              <a:gd name="csY0" fmla="*/ 0 h 3994"/>
              <a:gd name="csX1" fmla="*/ 575 w 774"/>
              <a:gd name="csY1" fmla="*/ 3994 h 3994"/>
              <a:gd name="csX2" fmla="*/ 195 w 774"/>
              <a:gd name="csY2" fmla="*/ 0 h 399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774" h="3994">
                <a:moveTo>
                  <a:pt x="195" y="0"/>
                </a:moveTo>
                <a:cubicBezTo>
                  <a:pt x="794" y="1011"/>
                  <a:pt x="941" y="2348"/>
                  <a:pt x="575" y="3994"/>
                </a:cubicBezTo>
                <a:cubicBezTo>
                  <a:pt x="-44" y="2978"/>
                  <a:pt x="-151" y="1652"/>
                  <a:pt x="195" y="0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2" name="Free-form: Shape 71">
            <a:extLst>
              <a:ext uri="{FF2B5EF4-FFF2-40B4-BE49-F238E27FC236}">
                <a16:creationId xmlns:a16="http://schemas.microsoft.com/office/drawing/2014/main" id="{96F3BE70-7F5A-6AA6-6AAA-195372C12E33}"/>
              </a:ext>
            </a:extLst>
          </p:cNvPr>
          <p:cNvSpPr/>
          <p:nvPr/>
        </p:nvSpPr>
        <p:spPr>
          <a:xfrm>
            <a:off x="10339719" y="-1737023"/>
            <a:ext cx="787" cy="3631"/>
          </a:xfrm>
          <a:custGeom>
            <a:avLst/>
            <a:gdLst>
              <a:gd name="csX0" fmla="*/ 71 w 865"/>
              <a:gd name="csY0" fmla="*/ 0 h 3995"/>
              <a:gd name="csX1" fmla="*/ 783 w 865"/>
              <a:gd name="csY1" fmla="*/ 3996 h 3995"/>
              <a:gd name="csX2" fmla="*/ 71 w 865"/>
              <a:gd name="csY2" fmla="*/ 0 h 399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65" h="3995">
                <a:moveTo>
                  <a:pt x="71" y="0"/>
                </a:moveTo>
                <a:cubicBezTo>
                  <a:pt x="740" y="963"/>
                  <a:pt x="1018" y="2311"/>
                  <a:pt x="783" y="3996"/>
                </a:cubicBezTo>
                <a:cubicBezTo>
                  <a:pt x="73" y="3017"/>
                  <a:pt x="-124" y="1701"/>
                  <a:pt x="71" y="0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3" name="Free-form: Shape 72">
            <a:extLst>
              <a:ext uri="{FF2B5EF4-FFF2-40B4-BE49-F238E27FC236}">
                <a16:creationId xmlns:a16="http://schemas.microsoft.com/office/drawing/2014/main" id="{0E48A65D-3EA5-445F-9206-E895ADEBDBC2}"/>
              </a:ext>
            </a:extLst>
          </p:cNvPr>
          <p:cNvSpPr/>
          <p:nvPr/>
        </p:nvSpPr>
        <p:spPr>
          <a:xfrm>
            <a:off x="10458023" y="-1832997"/>
            <a:ext cx="170236" cy="426821"/>
          </a:xfrm>
          <a:custGeom>
            <a:avLst/>
            <a:gdLst>
              <a:gd name="csX0" fmla="*/ 120604 w 187260"/>
              <a:gd name="csY0" fmla="*/ 222968 h 469503"/>
              <a:gd name="csX1" fmla="*/ 187261 w 187260"/>
              <a:gd name="csY1" fmla="*/ 469503 h 469503"/>
              <a:gd name="csX2" fmla="*/ 1253 w 187260"/>
              <a:gd name="csY2" fmla="*/ 466078 h 469503"/>
              <a:gd name="csX3" fmla="*/ 8 w 187260"/>
              <a:gd name="csY3" fmla="*/ 458101 h 469503"/>
              <a:gd name="csX4" fmla="*/ 4383 w 187260"/>
              <a:gd name="csY4" fmla="*/ 351443 h 469503"/>
              <a:gd name="csX5" fmla="*/ 4615 w 187260"/>
              <a:gd name="csY5" fmla="*/ 346536 h 469503"/>
              <a:gd name="csX6" fmla="*/ 7935 w 187260"/>
              <a:gd name="csY6" fmla="*/ 233648 h 469503"/>
              <a:gd name="csX7" fmla="*/ 10461 w 187260"/>
              <a:gd name="csY7" fmla="*/ 128112 h 469503"/>
              <a:gd name="csX8" fmla="*/ 12461 w 187260"/>
              <a:gd name="csY8" fmla="*/ 12750 h 469503"/>
              <a:gd name="csX9" fmla="*/ 13165 w 187260"/>
              <a:gd name="csY9" fmla="*/ 4285 h 469503"/>
              <a:gd name="csX10" fmla="*/ 102327 w 187260"/>
              <a:gd name="csY10" fmla="*/ 0 h 469503"/>
              <a:gd name="csX11" fmla="*/ 106229 w 187260"/>
              <a:gd name="csY11" fmla="*/ 111321 h 469503"/>
              <a:gd name="csX12" fmla="*/ 120604 w 187260"/>
              <a:gd name="csY12" fmla="*/ 222968 h 46950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</a:cxnLst>
            <a:rect l="l" t="t" r="r" b="b"/>
            <a:pathLst>
              <a:path w="187260" h="469503">
                <a:moveTo>
                  <a:pt x="120604" y="222968"/>
                </a:moveTo>
                <a:cubicBezTo>
                  <a:pt x="135383" y="307129"/>
                  <a:pt x="159464" y="387725"/>
                  <a:pt x="187261" y="469503"/>
                </a:cubicBezTo>
                <a:cubicBezTo>
                  <a:pt x="124460" y="468347"/>
                  <a:pt x="63286" y="467220"/>
                  <a:pt x="1253" y="466078"/>
                </a:cubicBezTo>
                <a:cubicBezTo>
                  <a:pt x="818" y="463442"/>
                  <a:pt x="-95" y="460752"/>
                  <a:pt x="8" y="458101"/>
                </a:cubicBezTo>
                <a:cubicBezTo>
                  <a:pt x="1383" y="422545"/>
                  <a:pt x="2900" y="386994"/>
                  <a:pt x="4383" y="351443"/>
                </a:cubicBezTo>
                <a:cubicBezTo>
                  <a:pt x="4451" y="349807"/>
                  <a:pt x="4566" y="348172"/>
                  <a:pt x="4615" y="346536"/>
                </a:cubicBezTo>
                <a:cubicBezTo>
                  <a:pt x="5732" y="308907"/>
                  <a:pt x="6921" y="271280"/>
                  <a:pt x="7935" y="233648"/>
                </a:cubicBezTo>
                <a:cubicBezTo>
                  <a:pt x="8883" y="198472"/>
                  <a:pt x="9752" y="163293"/>
                  <a:pt x="10461" y="128112"/>
                </a:cubicBezTo>
                <a:cubicBezTo>
                  <a:pt x="11237" y="89660"/>
                  <a:pt x="11781" y="51204"/>
                  <a:pt x="12461" y="12750"/>
                </a:cubicBezTo>
                <a:cubicBezTo>
                  <a:pt x="12503" y="10363"/>
                  <a:pt x="12848" y="7981"/>
                  <a:pt x="13165" y="4285"/>
                </a:cubicBezTo>
                <a:cubicBezTo>
                  <a:pt x="42856" y="2858"/>
                  <a:pt x="72082" y="1454"/>
                  <a:pt x="102327" y="0"/>
                </a:cubicBezTo>
                <a:cubicBezTo>
                  <a:pt x="103499" y="37348"/>
                  <a:pt x="103207" y="74470"/>
                  <a:pt x="106229" y="111321"/>
                </a:cubicBezTo>
                <a:cubicBezTo>
                  <a:pt x="109263" y="148326"/>
                  <a:pt x="115599" y="185060"/>
                  <a:pt x="120604" y="222968"/>
                </a:cubicBezTo>
                <a:close/>
              </a:path>
            </a:pathLst>
          </a:custGeom>
          <a:solidFill>
            <a:schemeClr val="bg1"/>
          </a:solidFill>
          <a:ln w="19050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4" name="Free-form: Shape 73">
            <a:extLst>
              <a:ext uri="{FF2B5EF4-FFF2-40B4-BE49-F238E27FC236}">
                <a16:creationId xmlns:a16="http://schemas.microsoft.com/office/drawing/2014/main" id="{C988FB24-CD34-8AEF-3B09-A895C335809A}"/>
              </a:ext>
            </a:extLst>
          </p:cNvPr>
          <p:cNvSpPr/>
          <p:nvPr/>
        </p:nvSpPr>
        <p:spPr>
          <a:xfrm>
            <a:off x="10456830" y="-1366245"/>
            <a:ext cx="284824" cy="179974"/>
          </a:xfrm>
          <a:custGeom>
            <a:avLst/>
            <a:gdLst>
              <a:gd name="csX0" fmla="*/ 160234 w 313306"/>
              <a:gd name="csY0" fmla="*/ 197876 h 197971"/>
              <a:gd name="csX1" fmla="*/ 544 w 313306"/>
              <a:gd name="csY1" fmla="*/ 197972 h 197971"/>
              <a:gd name="csX2" fmla="*/ 3466 w 313306"/>
              <a:gd name="csY2" fmla="*/ 104326 h 197971"/>
              <a:gd name="csX3" fmla="*/ 0 w 313306"/>
              <a:gd name="csY3" fmla="*/ 10720 h 197971"/>
              <a:gd name="csX4" fmla="*/ 5445 w 313306"/>
              <a:gd name="csY4" fmla="*/ 9282 h 197971"/>
              <a:gd name="csX5" fmla="*/ 71623 w 313306"/>
              <a:gd name="csY5" fmla="*/ 6885 h 197971"/>
              <a:gd name="csX6" fmla="*/ 187887 w 313306"/>
              <a:gd name="csY6" fmla="*/ 233 h 197971"/>
              <a:gd name="csX7" fmla="*/ 215297 w 313306"/>
              <a:gd name="csY7" fmla="*/ 163 h 197971"/>
              <a:gd name="csX8" fmla="*/ 243629 w 313306"/>
              <a:gd name="csY8" fmla="*/ 61389 h 197971"/>
              <a:gd name="csX9" fmla="*/ 270660 w 313306"/>
              <a:gd name="csY9" fmla="*/ 86342 h 197971"/>
              <a:gd name="csX10" fmla="*/ 313142 w 313306"/>
              <a:gd name="csY10" fmla="*/ 170098 h 197971"/>
              <a:gd name="csX11" fmla="*/ 313291 w 313306"/>
              <a:gd name="csY11" fmla="*/ 176231 h 197971"/>
              <a:gd name="csX12" fmla="*/ 312654 w 313306"/>
              <a:gd name="csY12" fmla="*/ 180738 h 197971"/>
              <a:gd name="csX13" fmla="*/ 279655 w 313306"/>
              <a:gd name="csY13" fmla="*/ 186226 h 197971"/>
              <a:gd name="csX14" fmla="*/ 167436 w 313306"/>
              <a:gd name="csY14" fmla="*/ 196805 h 197971"/>
              <a:gd name="csX15" fmla="*/ 160234 w 313306"/>
              <a:gd name="csY15" fmla="*/ 197876 h 19797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</a:cxnLst>
            <a:rect l="l" t="t" r="r" b="b"/>
            <a:pathLst>
              <a:path w="313306" h="197971">
                <a:moveTo>
                  <a:pt x="160234" y="197876"/>
                </a:moveTo>
                <a:cubicBezTo>
                  <a:pt x="106384" y="197972"/>
                  <a:pt x="53682" y="197972"/>
                  <a:pt x="544" y="197972"/>
                </a:cubicBezTo>
                <a:cubicBezTo>
                  <a:pt x="1602" y="166763"/>
                  <a:pt x="3550" y="135542"/>
                  <a:pt x="3466" y="104326"/>
                </a:cubicBezTo>
                <a:cubicBezTo>
                  <a:pt x="3383" y="73323"/>
                  <a:pt x="1255" y="42326"/>
                  <a:pt x="0" y="10720"/>
                </a:cubicBezTo>
                <a:cubicBezTo>
                  <a:pt x="1689" y="10255"/>
                  <a:pt x="3551" y="9355"/>
                  <a:pt x="5445" y="9282"/>
                </a:cubicBezTo>
                <a:cubicBezTo>
                  <a:pt x="27503" y="8435"/>
                  <a:pt x="49582" y="8030"/>
                  <a:pt x="71623" y="6885"/>
                </a:cubicBezTo>
                <a:cubicBezTo>
                  <a:pt x="110388" y="4872"/>
                  <a:pt x="149126" y="2333"/>
                  <a:pt x="187887" y="233"/>
                </a:cubicBezTo>
                <a:cubicBezTo>
                  <a:pt x="196749" y="-247"/>
                  <a:pt x="205660" y="163"/>
                  <a:pt x="215297" y="163"/>
                </a:cubicBezTo>
                <a:cubicBezTo>
                  <a:pt x="215450" y="25550"/>
                  <a:pt x="226120" y="45122"/>
                  <a:pt x="243629" y="61389"/>
                </a:cubicBezTo>
                <a:cubicBezTo>
                  <a:pt x="252615" y="69739"/>
                  <a:pt x="261099" y="78715"/>
                  <a:pt x="270660" y="86342"/>
                </a:cubicBezTo>
                <a:cubicBezTo>
                  <a:pt x="297676" y="107892"/>
                  <a:pt x="310731" y="136225"/>
                  <a:pt x="313142" y="170098"/>
                </a:cubicBezTo>
                <a:cubicBezTo>
                  <a:pt x="313287" y="172136"/>
                  <a:pt x="313335" y="174188"/>
                  <a:pt x="313291" y="176231"/>
                </a:cubicBezTo>
                <a:cubicBezTo>
                  <a:pt x="313265" y="177429"/>
                  <a:pt x="312966" y="178621"/>
                  <a:pt x="312654" y="180738"/>
                </a:cubicBezTo>
                <a:cubicBezTo>
                  <a:pt x="302343" y="185396"/>
                  <a:pt x="290736" y="185049"/>
                  <a:pt x="279655" y="186226"/>
                </a:cubicBezTo>
                <a:cubicBezTo>
                  <a:pt x="242295" y="190193"/>
                  <a:pt x="204847" y="193324"/>
                  <a:pt x="167436" y="196805"/>
                </a:cubicBezTo>
                <a:cubicBezTo>
                  <a:pt x="165405" y="196994"/>
                  <a:pt x="163399" y="197449"/>
                  <a:pt x="160234" y="197876"/>
                </a:cubicBezTo>
                <a:close/>
              </a:path>
            </a:pathLst>
          </a:custGeom>
          <a:solidFill>
            <a:schemeClr val="bg1"/>
          </a:solidFill>
          <a:ln w="38100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5" name="Free-form: Shape 74">
            <a:extLst>
              <a:ext uri="{FF2B5EF4-FFF2-40B4-BE49-F238E27FC236}">
                <a16:creationId xmlns:a16="http://schemas.microsoft.com/office/drawing/2014/main" id="{77AC0FD5-E549-E1D2-4C9A-E1AF2EB739C4}"/>
              </a:ext>
            </a:extLst>
          </p:cNvPr>
          <p:cNvSpPr/>
          <p:nvPr/>
        </p:nvSpPr>
        <p:spPr>
          <a:xfrm>
            <a:off x="10467573" y="-2382829"/>
            <a:ext cx="149260" cy="361842"/>
          </a:xfrm>
          <a:custGeom>
            <a:avLst/>
            <a:gdLst>
              <a:gd name="csX0" fmla="*/ 22609 w 164186"/>
              <a:gd name="csY0" fmla="*/ 398026 h 398026"/>
              <a:gd name="csX1" fmla="*/ 16884 w 164186"/>
              <a:gd name="csY1" fmla="*/ 390515 h 398026"/>
              <a:gd name="csX2" fmla="*/ 9661 w 164186"/>
              <a:gd name="csY2" fmla="*/ 328443 h 398026"/>
              <a:gd name="csX3" fmla="*/ 534 w 164186"/>
              <a:gd name="csY3" fmla="*/ 196369 h 398026"/>
              <a:gd name="csX4" fmla="*/ 1243 w 164186"/>
              <a:gd name="csY4" fmla="*/ 82293 h 398026"/>
              <a:gd name="csX5" fmla="*/ 2245 w 164186"/>
              <a:gd name="csY5" fmla="*/ 43023 h 398026"/>
              <a:gd name="csX6" fmla="*/ 4587 w 164186"/>
              <a:gd name="csY6" fmla="*/ 0 h 398026"/>
              <a:gd name="csX7" fmla="*/ 12341 w 164186"/>
              <a:gd name="csY7" fmla="*/ 3872 h 398026"/>
              <a:gd name="csX8" fmla="*/ 85914 w 164186"/>
              <a:gd name="csY8" fmla="*/ 78943 h 398026"/>
              <a:gd name="csX9" fmla="*/ 87893 w 164186"/>
              <a:gd name="csY9" fmla="*/ 99117 h 398026"/>
              <a:gd name="csX10" fmla="*/ 35459 w 164186"/>
              <a:gd name="csY10" fmla="*/ 207346 h 398026"/>
              <a:gd name="csX11" fmla="*/ 32223 w 164186"/>
              <a:gd name="csY11" fmla="*/ 213959 h 398026"/>
              <a:gd name="csX12" fmla="*/ 39509 w 164186"/>
              <a:gd name="csY12" fmla="*/ 242056 h 398026"/>
              <a:gd name="csX13" fmla="*/ 69474 w 164186"/>
              <a:gd name="csY13" fmla="*/ 237019 h 398026"/>
              <a:gd name="csX14" fmla="*/ 89101 w 164186"/>
              <a:gd name="csY14" fmla="*/ 208870 h 398026"/>
              <a:gd name="csX15" fmla="*/ 121716 w 164186"/>
              <a:gd name="csY15" fmla="*/ 158357 h 398026"/>
              <a:gd name="csX16" fmla="*/ 129330 w 164186"/>
              <a:gd name="csY16" fmla="*/ 148165 h 398026"/>
              <a:gd name="csX17" fmla="*/ 137171 w 164186"/>
              <a:gd name="csY17" fmla="*/ 159989 h 398026"/>
              <a:gd name="csX18" fmla="*/ 163812 w 164186"/>
              <a:gd name="csY18" fmla="*/ 273175 h 398026"/>
              <a:gd name="csX19" fmla="*/ 118151 w 164186"/>
              <a:gd name="csY19" fmla="*/ 383442 h 398026"/>
              <a:gd name="csX20" fmla="*/ 92325 w 164186"/>
              <a:gd name="csY20" fmla="*/ 395173 h 398026"/>
              <a:gd name="csX21" fmla="*/ 22609 w 164186"/>
              <a:gd name="csY21" fmla="*/ 398026 h 39802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</a:cxnLst>
            <a:rect l="l" t="t" r="r" b="b"/>
            <a:pathLst>
              <a:path w="164186" h="398026">
                <a:moveTo>
                  <a:pt x="22609" y="398026"/>
                </a:moveTo>
                <a:cubicBezTo>
                  <a:pt x="19898" y="395489"/>
                  <a:pt x="17229" y="393154"/>
                  <a:pt x="16884" y="390515"/>
                </a:cubicBezTo>
                <a:cubicBezTo>
                  <a:pt x="14183" y="369861"/>
                  <a:pt x="11326" y="349196"/>
                  <a:pt x="9661" y="328443"/>
                </a:cubicBezTo>
                <a:cubicBezTo>
                  <a:pt x="6132" y="284452"/>
                  <a:pt x="2125" y="240448"/>
                  <a:pt x="534" y="196369"/>
                </a:cubicBezTo>
                <a:cubicBezTo>
                  <a:pt x="-837" y="158401"/>
                  <a:pt x="816" y="120322"/>
                  <a:pt x="1243" y="82293"/>
                </a:cubicBezTo>
                <a:cubicBezTo>
                  <a:pt x="1389" y="69201"/>
                  <a:pt x="1708" y="56105"/>
                  <a:pt x="2245" y="43023"/>
                </a:cubicBezTo>
                <a:cubicBezTo>
                  <a:pt x="2815" y="29160"/>
                  <a:pt x="3738" y="15312"/>
                  <a:pt x="4587" y="0"/>
                </a:cubicBezTo>
                <a:cubicBezTo>
                  <a:pt x="7809" y="1586"/>
                  <a:pt x="10279" y="2436"/>
                  <a:pt x="12341" y="3872"/>
                </a:cubicBezTo>
                <a:cubicBezTo>
                  <a:pt x="41601" y="24248"/>
                  <a:pt x="64069" y="51269"/>
                  <a:pt x="85914" y="78943"/>
                </a:cubicBezTo>
                <a:cubicBezTo>
                  <a:pt x="91106" y="85520"/>
                  <a:pt x="91706" y="91406"/>
                  <a:pt x="87893" y="99117"/>
                </a:cubicBezTo>
                <a:cubicBezTo>
                  <a:pt x="70127" y="135051"/>
                  <a:pt x="52890" y="171246"/>
                  <a:pt x="35459" y="207346"/>
                </a:cubicBezTo>
                <a:cubicBezTo>
                  <a:pt x="34391" y="209557"/>
                  <a:pt x="33130" y="211686"/>
                  <a:pt x="32223" y="213959"/>
                </a:cubicBezTo>
                <a:cubicBezTo>
                  <a:pt x="27471" y="225873"/>
                  <a:pt x="30154" y="236086"/>
                  <a:pt x="39509" y="242056"/>
                </a:cubicBezTo>
                <a:cubicBezTo>
                  <a:pt x="48880" y="248038"/>
                  <a:pt x="61705" y="246477"/>
                  <a:pt x="69474" y="237019"/>
                </a:cubicBezTo>
                <a:cubicBezTo>
                  <a:pt x="76712" y="228205"/>
                  <a:pt x="82824" y="218436"/>
                  <a:pt x="89101" y="208870"/>
                </a:cubicBezTo>
                <a:cubicBezTo>
                  <a:pt x="100096" y="192114"/>
                  <a:pt x="110806" y="175170"/>
                  <a:pt x="121716" y="158357"/>
                </a:cubicBezTo>
                <a:cubicBezTo>
                  <a:pt x="123679" y="155333"/>
                  <a:pt x="126029" y="152559"/>
                  <a:pt x="129330" y="148165"/>
                </a:cubicBezTo>
                <a:cubicBezTo>
                  <a:pt x="132450" y="152828"/>
                  <a:pt x="135175" y="156216"/>
                  <a:pt x="137171" y="159989"/>
                </a:cubicBezTo>
                <a:cubicBezTo>
                  <a:pt x="155891" y="195388"/>
                  <a:pt x="166343" y="232905"/>
                  <a:pt x="163812" y="273175"/>
                </a:cubicBezTo>
                <a:cubicBezTo>
                  <a:pt x="161183" y="314982"/>
                  <a:pt x="144984" y="351430"/>
                  <a:pt x="118151" y="383442"/>
                </a:cubicBezTo>
                <a:cubicBezTo>
                  <a:pt x="111214" y="391718"/>
                  <a:pt x="102452" y="394716"/>
                  <a:pt x="92325" y="395173"/>
                </a:cubicBezTo>
                <a:cubicBezTo>
                  <a:pt x="69461" y="396207"/>
                  <a:pt x="46593" y="397123"/>
                  <a:pt x="22609" y="398026"/>
                </a:cubicBezTo>
                <a:close/>
              </a:path>
            </a:pathLst>
          </a:custGeom>
          <a:solidFill>
            <a:schemeClr val="bg1"/>
          </a:solidFill>
          <a:ln w="38100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6" name="Free-form: Shape 75">
            <a:extLst>
              <a:ext uri="{FF2B5EF4-FFF2-40B4-BE49-F238E27FC236}">
                <a16:creationId xmlns:a16="http://schemas.microsoft.com/office/drawing/2014/main" id="{65F68286-82CD-B8BC-3577-680365696572}"/>
              </a:ext>
            </a:extLst>
          </p:cNvPr>
          <p:cNvSpPr/>
          <p:nvPr/>
        </p:nvSpPr>
        <p:spPr>
          <a:xfrm>
            <a:off x="10453466" y="-1157038"/>
            <a:ext cx="305850" cy="64961"/>
          </a:xfrm>
          <a:custGeom>
            <a:avLst/>
            <a:gdLst>
              <a:gd name="csX0" fmla="*/ 105937 w 336434"/>
              <a:gd name="csY0" fmla="*/ 71458 h 71457"/>
              <a:gd name="csX1" fmla="*/ 3534 w 336434"/>
              <a:gd name="csY1" fmla="*/ 69115 h 71457"/>
              <a:gd name="csX2" fmla="*/ 1296 w 336434"/>
              <a:gd name="csY2" fmla="*/ 17910 h 71457"/>
              <a:gd name="csX3" fmla="*/ 14032 w 336434"/>
              <a:gd name="csY3" fmla="*/ 17908 h 71457"/>
              <a:gd name="csX4" fmla="*/ 102444 w 336434"/>
              <a:gd name="csY4" fmla="*/ 17433 h 71457"/>
              <a:gd name="csX5" fmla="*/ 284561 w 336434"/>
              <a:gd name="csY5" fmla="*/ 3564 h 71457"/>
              <a:gd name="csX6" fmla="*/ 311323 w 336434"/>
              <a:gd name="csY6" fmla="*/ 224 h 71457"/>
              <a:gd name="csX7" fmla="*/ 324313 w 336434"/>
              <a:gd name="csY7" fmla="*/ 6639 h 71457"/>
              <a:gd name="csX8" fmla="*/ 336434 w 336434"/>
              <a:gd name="csY8" fmla="*/ 46484 h 71457"/>
              <a:gd name="csX9" fmla="*/ 105937 w 336434"/>
              <a:gd name="csY9" fmla="*/ 71458 h 7145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336434" h="71457">
                <a:moveTo>
                  <a:pt x="105937" y="71458"/>
                </a:moveTo>
                <a:cubicBezTo>
                  <a:pt x="70820" y="70678"/>
                  <a:pt x="36930" y="69891"/>
                  <a:pt x="3534" y="69115"/>
                </a:cubicBezTo>
                <a:cubicBezTo>
                  <a:pt x="-81" y="59433"/>
                  <a:pt x="-1094" y="35337"/>
                  <a:pt x="1296" y="17910"/>
                </a:cubicBezTo>
                <a:cubicBezTo>
                  <a:pt x="5366" y="17910"/>
                  <a:pt x="9699" y="17923"/>
                  <a:pt x="14032" y="17908"/>
                </a:cubicBezTo>
                <a:cubicBezTo>
                  <a:pt x="43505" y="17812"/>
                  <a:pt x="73011" y="18557"/>
                  <a:pt x="102444" y="17433"/>
                </a:cubicBezTo>
                <a:cubicBezTo>
                  <a:pt x="163306" y="15109"/>
                  <a:pt x="224166" y="12264"/>
                  <a:pt x="284561" y="3564"/>
                </a:cubicBezTo>
                <a:cubicBezTo>
                  <a:pt x="293458" y="2283"/>
                  <a:pt x="302438" y="1575"/>
                  <a:pt x="311323" y="224"/>
                </a:cubicBezTo>
                <a:cubicBezTo>
                  <a:pt x="317371" y="-696"/>
                  <a:pt x="321247" y="1177"/>
                  <a:pt x="324313" y="6639"/>
                </a:cubicBezTo>
                <a:cubicBezTo>
                  <a:pt x="330512" y="17683"/>
                  <a:pt x="335236" y="31679"/>
                  <a:pt x="336434" y="46484"/>
                </a:cubicBezTo>
                <a:cubicBezTo>
                  <a:pt x="261124" y="64059"/>
                  <a:pt x="184356" y="69587"/>
                  <a:pt x="105937" y="71458"/>
                </a:cubicBezTo>
                <a:close/>
              </a:path>
            </a:pathLst>
          </a:custGeom>
          <a:solidFill>
            <a:schemeClr val="bg1"/>
          </a:solidFill>
          <a:ln w="38100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7" name="Free-form: Shape 76">
            <a:extLst>
              <a:ext uri="{FF2B5EF4-FFF2-40B4-BE49-F238E27FC236}">
                <a16:creationId xmlns:a16="http://schemas.microsoft.com/office/drawing/2014/main" id="{22E2B363-1452-BAA1-4BB2-E3AE9772E272}"/>
              </a:ext>
            </a:extLst>
          </p:cNvPr>
          <p:cNvSpPr/>
          <p:nvPr/>
        </p:nvSpPr>
        <p:spPr>
          <a:xfrm>
            <a:off x="10467023" y="-1987762"/>
            <a:ext cx="120683" cy="63097"/>
          </a:xfrm>
          <a:custGeom>
            <a:avLst/>
            <a:gdLst>
              <a:gd name="csX0" fmla="*/ 5051 w 132751"/>
              <a:gd name="csY0" fmla="*/ 7534 h 69406"/>
              <a:gd name="csX1" fmla="*/ 10615 w 132751"/>
              <a:gd name="csY1" fmla="*/ 3077 h 69406"/>
              <a:gd name="csX2" fmla="*/ 26541 w 132751"/>
              <a:gd name="csY2" fmla="*/ 2752 h 69406"/>
              <a:gd name="csX3" fmla="*/ 87728 w 132751"/>
              <a:gd name="csY3" fmla="*/ 89 h 69406"/>
              <a:gd name="csX4" fmla="*/ 101400 w 132751"/>
              <a:gd name="csY4" fmla="*/ 62 h 69406"/>
              <a:gd name="csX5" fmla="*/ 102924 w 132751"/>
              <a:gd name="csY5" fmla="*/ 4800 h 69406"/>
              <a:gd name="csX6" fmla="*/ 121469 w 132751"/>
              <a:gd name="csY6" fmla="*/ 43062 h 69406"/>
              <a:gd name="csX7" fmla="*/ 132751 w 132751"/>
              <a:gd name="csY7" fmla="*/ 65240 h 69406"/>
              <a:gd name="csX8" fmla="*/ 0 w 132751"/>
              <a:gd name="csY8" fmla="*/ 69406 h 69406"/>
              <a:gd name="csX9" fmla="*/ 5051 w 132751"/>
              <a:gd name="csY9" fmla="*/ 7534 h 6940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132751" h="69406">
                <a:moveTo>
                  <a:pt x="5051" y="7534"/>
                </a:moveTo>
                <a:cubicBezTo>
                  <a:pt x="6880" y="5272"/>
                  <a:pt x="8659" y="3268"/>
                  <a:pt x="10615" y="3077"/>
                </a:cubicBezTo>
                <a:cubicBezTo>
                  <a:pt x="15884" y="2564"/>
                  <a:pt x="21234" y="2972"/>
                  <a:pt x="26541" y="2752"/>
                </a:cubicBezTo>
                <a:cubicBezTo>
                  <a:pt x="46938" y="1911"/>
                  <a:pt x="67330" y="933"/>
                  <a:pt x="87728" y="89"/>
                </a:cubicBezTo>
                <a:cubicBezTo>
                  <a:pt x="92161" y="-94"/>
                  <a:pt x="96609" y="62"/>
                  <a:pt x="101400" y="62"/>
                </a:cubicBezTo>
                <a:cubicBezTo>
                  <a:pt x="101991" y="1827"/>
                  <a:pt x="102885" y="3302"/>
                  <a:pt x="102924" y="4800"/>
                </a:cubicBezTo>
                <a:cubicBezTo>
                  <a:pt x="103334" y="20376"/>
                  <a:pt x="108815" y="33165"/>
                  <a:pt x="121469" y="43062"/>
                </a:cubicBezTo>
                <a:cubicBezTo>
                  <a:pt x="127809" y="48021"/>
                  <a:pt x="132509" y="54869"/>
                  <a:pt x="132751" y="65240"/>
                </a:cubicBezTo>
                <a:cubicBezTo>
                  <a:pt x="88663" y="66624"/>
                  <a:pt x="45259" y="67986"/>
                  <a:pt x="0" y="69406"/>
                </a:cubicBezTo>
                <a:cubicBezTo>
                  <a:pt x="6474" y="48167"/>
                  <a:pt x="10658" y="28665"/>
                  <a:pt x="5051" y="7534"/>
                </a:cubicBezTo>
                <a:close/>
              </a:path>
            </a:pathLst>
          </a:custGeom>
          <a:solidFill>
            <a:schemeClr val="bg1"/>
          </a:solidFill>
          <a:ln w="38100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8" name="Free-form: Shape 77">
            <a:extLst>
              <a:ext uri="{FF2B5EF4-FFF2-40B4-BE49-F238E27FC236}">
                <a16:creationId xmlns:a16="http://schemas.microsoft.com/office/drawing/2014/main" id="{2D14C6B9-E72F-4FC9-C25C-FCB3FF24EB08}"/>
              </a:ext>
            </a:extLst>
          </p:cNvPr>
          <p:cNvSpPr/>
          <p:nvPr/>
        </p:nvSpPr>
        <p:spPr>
          <a:xfrm>
            <a:off x="10476660" y="-1898148"/>
            <a:ext cx="150878" cy="35402"/>
          </a:xfrm>
          <a:custGeom>
            <a:avLst/>
            <a:gdLst>
              <a:gd name="csX0" fmla="*/ 80894 w 165965"/>
              <a:gd name="csY0" fmla="*/ 440 h 38942"/>
              <a:gd name="csX1" fmla="*/ 128629 w 165965"/>
              <a:gd name="csY1" fmla="*/ 5 h 38942"/>
              <a:gd name="csX2" fmla="*/ 155177 w 165965"/>
              <a:gd name="csY2" fmla="*/ 8091 h 38942"/>
              <a:gd name="csX3" fmla="*/ 164213 w 165965"/>
              <a:gd name="csY3" fmla="*/ 17723 h 38942"/>
              <a:gd name="csX4" fmla="*/ 159998 w 165965"/>
              <a:gd name="csY4" fmla="*/ 30717 h 38942"/>
              <a:gd name="csX5" fmla="*/ 146998 w 165965"/>
              <a:gd name="csY5" fmla="*/ 33737 h 38942"/>
              <a:gd name="csX6" fmla="*/ 12439 w 165965"/>
              <a:gd name="csY6" fmla="*/ 38914 h 38942"/>
              <a:gd name="csX7" fmla="*/ 0 w 165965"/>
              <a:gd name="csY7" fmla="*/ 38402 h 38942"/>
              <a:gd name="csX8" fmla="*/ 0 w 165965"/>
              <a:gd name="csY8" fmla="*/ 4598 h 38942"/>
              <a:gd name="csX9" fmla="*/ 80894 w 165965"/>
              <a:gd name="csY9" fmla="*/ 440 h 3894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165965" h="38942">
                <a:moveTo>
                  <a:pt x="80894" y="440"/>
                </a:moveTo>
                <a:cubicBezTo>
                  <a:pt x="97591" y="288"/>
                  <a:pt x="113111" y="227"/>
                  <a:pt x="128629" y="5"/>
                </a:cubicBezTo>
                <a:cubicBezTo>
                  <a:pt x="138376" y="-135"/>
                  <a:pt x="147226" y="2891"/>
                  <a:pt x="155177" y="8091"/>
                </a:cubicBezTo>
                <a:cubicBezTo>
                  <a:pt x="158779" y="10447"/>
                  <a:pt x="161992" y="14009"/>
                  <a:pt x="164213" y="17723"/>
                </a:cubicBezTo>
                <a:cubicBezTo>
                  <a:pt x="167602" y="23390"/>
                  <a:pt x="166013" y="28134"/>
                  <a:pt x="159998" y="30717"/>
                </a:cubicBezTo>
                <a:cubicBezTo>
                  <a:pt x="155963" y="32450"/>
                  <a:pt x="151384" y="33554"/>
                  <a:pt x="146998" y="33737"/>
                </a:cubicBezTo>
                <a:cubicBezTo>
                  <a:pt x="102152" y="35619"/>
                  <a:pt x="57295" y="37279"/>
                  <a:pt x="12439" y="38914"/>
                </a:cubicBezTo>
                <a:cubicBezTo>
                  <a:pt x="8467" y="39059"/>
                  <a:pt x="4472" y="38602"/>
                  <a:pt x="0" y="38402"/>
                </a:cubicBezTo>
                <a:cubicBezTo>
                  <a:pt x="0" y="27166"/>
                  <a:pt x="0" y="16774"/>
                  <a:pt x="0" y="4598"/>
                </a:cubicBezTo>
                <a:cubicBezTo>
                  <a:pt x="27063" y="3194"/>
                  <a:pt x="53389" y="1829"/>
                  <a:pt x="80894" y="440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9" name="Free-form: Shape 78">
            <a:extLst>
              <a:ext uri="{FF2B5EF4-FFF2-40B4-BE49-F238E27FC236}">
                <a16:creationId xmlns:a16="http://schemas.microsoft.com/office/drawing/2014/main" id="{43F7D11B-451C-1E35-3440-3C18687D6C1D}"/>
              </a:ext>
            </a:extLst>
          </p:cNvPr>
          <p:cNvSpPr/>
          <p:nvPr/>
        </p:nvSpPr>
        <p:spPr>
          <a:xfrm>
            <a:off x="10460511" y="-2458972"/>
            <a:ext cx="39402" cy="42156"/>
          </a:xfrm>
          <a:custGeom>
            <a:avLst/>
            <a:gdLst>
              <a:gd name="csX0" fmla="*/ 40602 w 43343"/>
              <a:gd name="csY0" fmla="*/ 12465 h 46372"/>
              <a:gd name="csX1" fmla="*/ 43214 w 43343"/>
              <a:gd name="csY1" fmla="*/ 21324 h 46372"/>
              <a:gd name="csX2" fmla="*/ 23859 w 43343"/>
              <a:gd name="csY2" fmla="*/ 46319 h 46372"/>
              <a:gd name="csX3" fmla="*/ 5 w 43343"/>
              <a:gd name="csY3" fmla="*/ 23820 h 46372"/>
              <a:gd name="csX4" fmla="*/ 4855 w 43343"/>
              <a:gd name="csY4" fmla="*/ 5679 h 46372"/>
              <a:gd name="csX5" fmla="*/ 40602 w 43343"/>
              <a:gd name="csY5" fmla="*/ 12465 h 4637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</a:cxnLst>
            <a:rect l="l" t="t" r="r" b="b"/>
            <a:pathLst>
              <a:path w="43343" h="46372">
                <a:moveTo>
                  <a:pt x="40602" y="12465"/>
                </a:moveTo>
                <a:cubicBezTo>
                  <a:pt x="41913" y="15811"/>
                  <a:pt x="42933" y="18530"/>
                  <a:pt x="43214" y="21324"/>
                </a:cubicBezTo>
                <a:cubicBezTo>
                  <a:pt x="44519" y="34348"/>
                  <a:pt x="35870" y="45401"/>
                  <a:pt x="23859" y="46319"/>
                </a:cubicBezTo>
                <a:cubicBezTo>
                  <a:pt x="11890" y="47233"/>
                  <a:pt x="-280" y="36371"/>
                  <a:pt x="5" y="23820"/>
                </a:cubicBezTo>
                <a:cubicBezTo>
                  <a:pt x="136" y="18011"/>
                  <a:pt x="2893" y="12263"/>
                  <a:pt x="4855" y="5679"/>
                </a:cubicBezTo>
                <a:cubicBezTo>
                  <a:pt x="20601" y="-3403"/>
                  <a:pt x="28004" y="-1910"/>
                  <a:pt x="40602" y="12465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CA7428D-0152-0786-DA36-AFD4E21D2312}"/>
              </a:ext>
            </a:extLst>
          </p:cNvPr>
          <p:cNvCxnSpPr>
            <a:cxnSpLocks/>
          </p:cNvCxnSpPr>
          <p:nvPr/>
        </p:nvCxnSpPr>
        <p:spPr>
          <a:xfrm>
            <a:off x="577415" y="1670357"/>
            <a:ext cx="10907449" cy="0"/>
          </a:xfrm>
          <a:prstGeom prst="line">
            <a:avLst/>
          </a:prstGeom>
          <a:ln w="285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BEFF1556-F380-7D0D-4A91-5A5D5BCF3B2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70645" y="6291951"/>
            <a:ext cx="10440000" cy="428000"/>
          </a:xfrm>
        </p:spPr>
        <p:txBody>
          <a:bodyPr/>
          <a:lstStyle/>
          <a:p>
            <a:r>
              <a:rPr lang="en-GB"/>
              <a:t>1L, first line; 2L, second line; 3L, third line; B, bendamustine; CAR-T, chimeric antigen receptor T-cell therapy; CHOP, cyclophosphamide, doxorubicin, vincristine and prednisone; DLBCL, diffuse large B-cell lymphoma; FDG, fluorodeoxyglucose; Gr, Grade; PD, progressive disease; PET, positron emission tomography; Pola, polatuzumab vedotin; R, rituximab. Patient case provided by Prof. Enrico </a:t>
            </a:r>
            <a:r>
              <a:rPr lang="en-GB" err="1"/>
              <a:t>Derenzini</a:t>
            </a:r>
            <a:r>
              <a:rPr lang="en-GB"/>
              <a:t>.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A2D6E45-01B1-AC27-6224-169D1B8C3158}"/>
              </a:ext>
            </a:extLst>
          </p:cNvPr>
          <p:cNvSpPr txBox="1">
            <a:spLocks/>
          </p:cNvSpPr>
          <p:nvPr/>
        </p:nvSpPr>
        <p:spPr>
          <a:xfrm>
            <a:off x="469900" y="311150"/>
            <a:ext cx="10317269" cy="930910"/>
          </a:xfrm>
          <a:prstGeom prst="rect">
            <a:avLst/>
          </a:prstGeom>
        </p:spPr>
        <p:txBody>
          <a:bodyPr vert="horz" lIns="90000" tIns="46800" rIns="90000" bIns="4680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400" b="0" i="0" kern="1200">
                <a:solidFill>
                  <a:schemeClr val="tx2"/>
                </a:solidFill>
                <a:latin typeface="Aptos" panose="020B000402020202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j-ea"/>
                <a:cs typeface="+mj-cs"/>
              </a:rPr>
              <a:t>Bridging to CAR-T for 3L DLBCL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57C0895-C494-422A-338B-CA62FE2CC24E}"/>
              </a:ext>
            </a:extLst>
          </p:cNvPr>
          <p:cNvSpPr txBox="1"/>
          <p:nvPr/>
        </p:nvSpPr>
        <p:spPr>
          <a:xfrm>
            <a:off x="1481099" y="1215977"/>
            <a:ext cx="455050" cy="3927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CB813"/>
              </a:buClr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025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23BDC66D-1F94-4C47-08B2-565BBC6C981D}"/>
              </a:ext>
            </a:extLst>
          </p:cNvPr>
          <p:cNvSpPr/>
          <p:nvPr/>
        </p:nvSpPr>
        <p:spPr>
          <a:xfrm>
            <a:off x="1628725" y="1592622"/>
            <a:ext cx="159799" cy="159799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1" i="0" u="none" strike="noStrike" kern="1200" cap="none" spc="0" normalizeH="0" baseline="0" noProof="0">
              <a:ln>
                <a:noFill/>
              </a:ln>
              <a:solidFill>
                <a:srgbClr val="585854">
                  <a:lumMod val="20000"/>
                  <a:lumOff val="80000"/>
                </a:srgbClr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10756805-801E-7155-E3A8-2DD7B48C46FC}"/>
              </a:ext>
            </a:extLst>
          </p:cNvPr>
          <p:cNvCxnSpPr>
            <a:cxnSpLocks/>
            <a:stCxn id="16" idx="4"/>
          </p:cNvCxnSpPr>
          <p:nvPr/>
        </p:nvCxnSpPr>
        <p:spPr>
          <a:xfrm>
            <a:off x="1708625" y="1752421"/>
            <a:ext cx="0" cy="182159"/>
          </a:xfrm>
          <a:prstGeom prst="line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0" name="Immagine 6">
            <a:extLst>
              <a:ext uri="{FF2B5EF4-FFF2-40B4-BE49-F238E27FC236}">
                <a16:creationId xmlns:a16="http://schemas.microsoft.com/office/drawing/2014/main" id="{C72B1A9F-A3E5-2947-061E-80F2EB6AF05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07139" y="4044646"/>
            <a:ext cx="2064781" cy="1485310"/>
          </a:xfrm>
          <a:prstGeom prst="rect">
            <a:avLst/>
          </a:prstGeom>
        </p:spPr>
      </p:pic>
      <p:pic>
        <p:nvPicPr>
          <p:cNvPr id="24" name="Immagine 7">
            <a:extLst>
              <a:ext uri="{FF2B5EF4-FFF2-40B4-BE49-F238E27FC236}">
                <a16:creationId xmlns:a16="http://schemas.microsoft.com/office/drawing/2014/main" id="{4796508A-3543-67BC-3D18-455E177AF6F7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32106" y="4048607"/>
            <a:ext cx="2064781" cy="1477387"/>
          </a:xfrm>
          <a:prstGeom prst="rect">
            <a:avLst/>
          </a:prstGeom>
        </p:spPr>
      </p:pic>
      <p:sp>
        <p:nvSpPr>
          <p:cNvPr id="27" name="CasellaDiTesto 20">
            <a:extLst>
              <a:ext uri="{FF2B5EF4-FFF2-40B4-BE49-F238E27FC236}">
                <a16:creationId xmlns:a16="http://schemas.microsoft.com/office/drawing/2014/main" id="{5A09406D-5C63-3215-0042-7BB88B5DA834}"/>
              </a:ext>
            </a:extLst>
          </p:cNvPr>
          <p:cNvSpPr txBox="1"/>
          <p:nvPr/>
        </p:nvSpPr>
        <p:spPr>
          <a:xfrm>
            <a:off x="3796585" y="3284837"/>
            <a:ext cx="1335824" cy="775824"/>
          </a:xfrm>
          <a:prstGeom prst="rect">
            <a:avLst/>
          </a:prstGeom>
          <a:noFill/>
          <a:ln>
            <a:noFill/>
          </a:ln>
        </p:spPr>
        <p:txBody>
          <a:bodyPr wrap="square" lIns="45720" tIns="45720" rIns="45720" bIns="45720" rtlCol="0" anchor="t">
            <a:normAutofit/>
          </a:bodyPr>
          <a:lstStyle>
            <a:defPPr>
              <a:defRPr lang="sv-SE"/>
            </a:defPPr>
            <a:lvl1pPr algn="ctr">
              <a:defRPr sz="20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EB92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fter </a:t>
            </a:r>
            <a:b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EB92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EB92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bridging </a:t>
            </a:r>
          </a:p>
        </p:txBody>
      </p:sp>
      <p:sp>
        <p:nvSpPr>
          <p:cNvPr id="28" name="CasellaDiTesto 21">
            <a:extLst>
              <a:ext uri="{FF2B5EF4-FFF2-40B4-BE49-F238E27FC236}">
                <a16:creationId xmlns:a16="http://schemas.microsoft.com/office/drawing/2014/main" id="{002C52DA-88E3-77C6-E2BD-3E0EFAA0F33C}"/>
              </a:ext>
            </a:extLst>
          </p:cNvPr>
          <p:cNvSpPr txBox="1"/>
          <p:nvPr/>
        </p:nvSpPr>
        <p:spPr>
          <a:xfrm>
            <a:off x="1483508" y="3318806"/>
            <a:ext cx="1512043" cy="707886"/>
          </a:xfrm>
          <a:prstGeom prst="rect">
            <a:avLst/>
          </a:prstGeom>
          <a:noFill/>
          <a:ln>
            <a:noFill/>
          </a:ln>
        </p:spPr>
        <p:txBody>
          <a:bodyPr wrap="square" lIns="45720" tIns="45720" rIns="45720" bIns="45720" rtlCol="0" anchor="t">
            <a:spAutoFit/>
          </a:bodyPr>
          <a:lstStyle>
            <a:defPPr>
              <a:defRPr lang="sv-SE"/>
            </a:defPPr>
            <a:lvl1pPr algn="ctr">
              <a:defRPr sz="2000" b="1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Before </a:t>
            </a:r>
            <a:b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bridging 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A13E2873-3C66-019B-7ACA-673E8DE65EF2}"/>
              </a:ext>
            </a:extLst>
          </p:cNvPr>
          <p:cNvSpPr txBox="1"/>
          <p:nvPr/>
        </p:nvSpPr>
        <p:spPr>
          <a:xfrm>
            <a:off x="758225" y="1934580"/>
            <a:ext cx="4204300" cy="523220"/>
          </a:xfrm>
          <a:prstGeom prst="rect">
            <a:avLst/>
          </a:prstGeom>
          <a:noFill/>
        </p:spPr>
        <p:txBody>
          <a:bodyPr wrap="square" lIns="45720" tIns="45720" rIns="45720" bIns="45720" rtlCol="0">
            <a:spAutoFit/>
          </a:bodyPr>
          <a:lstStyle>
            <a:defPPr>
              <a:defRPr lang="sv-SE"/>
            </a:defPPr>
            <a:lvl1pPr>
              <a:defRPr sz="1600" i="1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1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L treatment: </a:t>
            </a: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-CHOP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1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Outcome:</a:t>
            </a: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D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252A0DC3-6352-4A5A-E6EF-F75A49A15C83}"/>
              </a:ext>
            </a:extLst>
          </p:cNvPr>
          <p:cNvSpPr txBox="1"/>
          <p:nvPr/>
        </p:nvSpPr>
        <p:spPr>
          <a:xfrm>
            <a:off x="5204536" y="1215977"/>
            <a:ext cx="455050" cy="3927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CB813"/>
              </a:buClr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ep 2025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D3569B84-6AFB-AED6-79C0-A7A66D2F56CC}"/>
              </a:ext>
            </a:extLst>
          </p:cNvPr>
          <p:cNvSpPr/>
          <p:nvPr/>
        </p:nvSpPr>
        <p:spPr>
          <a:xfrm>
            <a:off x="5362515" y="1570677"/>
            <a:ext cx="159799" cy="159799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1" i="0" u="none" strike="noStrike" kern="1200" cap="none" spc="0" normalizeH="0" baseline="0" noProof="0">
              <a:ln>
                <a:noFill/>
              </a:ln>
              <a:solidFill>
                <a:srgbClr val="585854">
                  <a:lumMod val="20000"/>
                  <a:lumOff val="80000"/>
                </a:srgbClr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4B9BEDEA-2ECC-62DE-1A24-0901F0096A8C}"/>
              </a:ext>
            </a:extLst>
          </p:cNvPr>
          <p:cNvCxnSpPr>
            <a:cxnSpLocks/>
            <a:stCxn id="32" idx="4"/>
          </p:cNvCxnSpPr>
          <p:nvPr/>
        </p:nvCxnSpPr>
        <p:spPr>
          <a:xfrm>
            <a:off x="5442415" y="1730477"/>
            <a:ext cx="0" cy="179707"/>
          </a:xfrm>
          <a:prstGeom prst="line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4" name="TextBox 33">
            <a:extLst>
              <a:ext uri="{FF2B5EF4-FFF2-40B4-BE49-F238E27FC236}">
                <a16:creationId xmlns:a16="http://schemas.microsoft.com/office/drawing/2014/main" id="{D68EE4B4-2CB8-5975-E2A8-C403750EAE7F}"/>
              </a:ext>
            </a:extLst>
          </p:cNvPr>
          <p:cNvSpPr txBox="1"/>
          <p:nvPr/>
        </p:nvSpPr>
        <p:spPr>
          <a:xfrm>
            <a:off x="5113326" y="1934580"/>
            <a:ext cx="3284905" cy="954107"/>
          </a:xfrm>
          <a:prstGeom prst="rect">
            <a:avLst/>
          </a:prstGeom>
          <a:noFill/>
        </p:spPr>
        <p:txBody>
          <a:bodyPr wrap="square" lIns="45720" tIns="45720" rIns="45720" bIns="45720" rtlCol="0">
            <a:spAutoFit/>
          </a:bodyPr>
          <a:lstStyle>
            <a:defPPr>
              <a:defRPr lang="sv-SE"/>
            </a:defPPr>
            <a:lvl1pPr>
              <a:defRPr sz="1600" i="1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L treatment: </a:t>
            </a: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ola-BR (holding therapy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Outcome: </a:t>
            </a: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1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ote: </a:t>
            </a:r>
            <a:r>
              <a:rPr kumimoji="0" lang="en-GB" sz="1400" b="0" i="1" u="none" strike="noStrike" kern="1200" cap="none" spc="0" normalizeH="0" baseline="0" noProof="0" err="1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Bendamustine</a:t>
            </a:r>
            <a:r>
              <a:rPr kumimoji="0" lang="en-GB" sz="1400" b="0" i="1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was omitted </a:t>
            </a:r>
            <a:br>
              <a:rPr kumimoji="0" lang="en-GB" sz="1400" b="0" i="1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GB" sz="1400" b="0" i="1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ue to low lymphocyte count (200/mm</a:t>
            </a:r>
            <a:r>
              <a:rPr kumimoji="0" lang="en-GB" sz="1400" b="0" i="1" u="none" strike="noStrike" kern="1200" cap="none" spc="0" normalizeH="0" baseline="3000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3</a:t>
            </a:r>
            <a:r>
              <a:rPr kumimoji="0" lang="en-GB" sz="1400" b="0" i="1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)</a:t>
            </a:r>
            <a:endParaRPr kumimoji="0" lang="en-GB" sz="1400" b="0" i="1" u="none" strike="noStrike" kern="1200" cap="none" spc="0" normalizeH="0" baseline="30000" noProof="0">
              <a:ln>
                <a:noFill/>
              </a:ln>
              <a:solidFill>
                <a:srgbClr val="585854">
                  <a:lumMod val="20000"/>
                  <a:lumOff val="80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59BEBDC3-D058-3157-01DA-E448A1507862}"/>
              </a:ext>
            </a:extLst>
          </p:cNvPr>
          <p:cNvSpPr txBox="1"/>
          <p:nvPr/>
        </p:nvSpPr>
        <p:spPr>
          <a:xfrm>
            <a:off x="9013133" y="1215977"/>
            <a:ext cx="455050" cy="3927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CB813"/>
              </a:buClr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ov 2025</a:t>
            </a: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17AEB373-A9FE-819C-256B-3C80A74334CE}"/>
              </a:ext>
            </a:extLst>
          </p:cNvPr>
          <p:cNvSpPr/>
          <p:nvPr/>
        </p:nvSpPr>
        <p:spPr>
          <a:xfrm>
            <a:off x="9160759" y="1570677"/>
            <a:ext cx="159799" cy="159799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88B80A6F-99E5-5745-C6F7-F805BB421787}"/>
              </a:ext>
            </a:extLst>
          </p:cNvPr>
          <p:cNvCxnSpPr>
            <a:cxnSpLocks/>
            <a:stCxn id="36" idx="4"/>
          </p:cNvCxnSpPr>
          <p:nvPr/>
        </p:nvCxnSpPr>
        <p:spPr>
          <a:xfrm>
            <a:off x="9240659" y="1730476"/>
            <a:ext cx="0" cy="179707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D210C61-2B78-38AE-7ED5-8BB96F44B7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01CC8E-1CEF-6746-999E-CF29FF00B1D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82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1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B80CADB-B130-B6EF-6154-93D297240AB5}"/>
              </a:ext>
            </a:extLst>
          </p:cNvPr>
          <p:cNvSpPr txBox="1"/>
          <p:nvPr/>
        </p:nvSpPr>
        <p:spPr>
          <a:xfrm>
            <a:off x="8759181" y="1934580"/>
            <a:ext cx="1868357" cy="1200329"/>
          </a:xfrm>
          <a:prstGeom prst="rect">
            <a:avLst/>
          </a:prstGeom>
          <a:noFill/>
        </p:spPr>
        <p:txBody>
          <a:bodyPr wrap="square" lIns="45720" tIns="45720" rIns="4572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1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3L treatment: </a:t>
            </a: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Loncastuximab tesirine</a:t>
            </a: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×2 cycles (bridging therapy)</a:t>
            </a:r>
            <a:endParaRPr kumimoji="0" lang="en-GB" sz="1800" b="1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7745BFE8-A0BD-F300-9F5B-0B6F7E5BBC3D}"/>
              </a:ext>
            </a:extLst>
          </p:cNvPr>
          <p:cNvSpPr txBox="1"/>
          <p:nvPr/>
        </p:nvSpPr>
        <p:spPr>
          <a:xfrm>
            <a:off x="8759181" y="3076758"/>
            <a:ext cx="2769394" cy="369332"/>
          </a:xfrm>
          <a:prstGeom prst="rect">
            <a:avLst/>
          </a:prstGeom>
          <a:noFill/>
        </p:spPr>
        <p:txBody>
          <a:bodyPr wrap="square" lIns="45720" tIns="45720" rIns="4572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followed by </a:t>
            </a: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AR-T</a:t>
            </a:r>
          </a:p>
        </p:txBody>
      </p:sp>
      <p:sp>
        <p:nvSpPr>
          <p:cNvPr id="19" name="CasellaDiTesto 36">
            <a:extLst>
              <a:ext uri="{FF2B5EF4-FFF2-40B4-BE49-F238E27FC236}">
                <a16:creationId xmlns:a16="http://schemas.microsoft.com/office/drawing/2014/main" id="{5D258DB9-C6F8-7078-3BF8-F94F059FD752}"/>
              </a:ext>
            </a:extLst>
          </p:cNvPr>
          <p:cNvSpPr txBox="1"/>
          <p:nvPr/>
        </p:nvSpPr>
        <p:spPr>
          <a:xfrm>
            <a:off x="5768881" y="4879663"/>
            <a:ext cx="3173696" cy="646331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Gr 1 maculopapular rash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Gr 1 peripheral oedema </a:t>
            </a:r>
          </a:p>
        </p:txBody>
      </p:sp>
      <p:sp>
        <p:nvSpPr>
          <p:cNvPr id="38" name="CasellaDiTesto 37">
            <a:extLst>
              <a:ext uri="{FF2B5EF4-FFF2-40B4-BE49-F238E27FC236}">
                <a16:creationId xmlns:a16="http://schemas.microsoft.com/office/drawing/2014/main" id="{4A9ABAD4-3D46-785D-DF95-FE1A2F5F331B}"/>
              </a:ext>
            </a:extLst>
          </p:cNvPr>
          <p:cNvSpPr txBox="1"/>
          <p:nvPr/>
        </p:nvSpPr>
        <p:spPr>
          <a:xfrm>
            <a:off x="3496081" y="5606228"/>
            <a:ext cx="188872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eauville score 4</a:t>
            </a:r>
          </a:p>
        </p:txBody>
      </p:sp>
      <p:sp>
        <p:nvSpPr>
          <p:cNvPr id="81" name="CasellaDiTesto 80">
            <a:extLst>
              <a:ext uri="{FF2B5EF4-FFF2-40B4-BE49-F238E27FC236}">
                <a16:creationId xmlns:a16="http://schemas.microsoft.com/office/drawing/2014/main" id="{A3C05B57-781C-F820-B25B-733C2B4C1BFB}"/>
              </a:ext>
            </a:extLst>
          </p:cNvPr>
          <p:cNvSpPr txBox="1"/>
          <p:nvPr/>
        </p:nvSpPr>
        <p:spPr>
          <a:xfrm>
            <a:off x="2220981" y="5613538"/>
            <a:ext cx="11644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FDG-PET:</a:t>
            </a:r>
          </a:p>
        </p:txBody>
      </p:sp>
    </p:spTree>
    <p:extLst>
      <p:ext uri="{BB962C8B-B14F-4D97-AF65-F5344CB8AC3E}">
        <p14:creationId xmlns:p14="http://schemas.microsoft.com/office/powerpoint/2010/main" val="263198775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2578BB2C-3FD7-A8EC-83EA-7E4899147A9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70645" y="6291951"/>
            <a:ext cx="10440000" cy="428000"/>
          </a:xfrm>
        </p:spPr>
        <p:txBody>
          <a:bodyPr/>
          <a:lstStyle/>
          <a:p>
            <a:r>
              <a:rPr lang="en-GB"/>
              <a:t>1L, first line; 2L, second line; 3L, third line; B, bendamustine; CAR-T, chimeric antigen receptor T-cell therapy; CHOP, cyclophosphamide, doxorubicin, vincristine and prednisone; CRS, cytokine release syndrome; DLBCL, diffuse large B-cell lymphoma; DS, Deauville score; FDG, fluorodeoxyglucose; Gr, Grade; ICANS, immune effector cell-associated neurotoxicity syndrome; liso-cel, lisocabtagene maraleucel; PD, progressive disease; PET, positron emission tomography; Pola, polatuzumab vedotin; PR, partial response; R, rituximab. </a:t>
            </a:r>
            <a:br>
              <a:rPr lang="en-GB"/>
            </a:br>
            <a:r>
              <a:rPr lang="en-GB"/>
              <a:t>Patient case provided by Prof. Enrico </a:t>
            </a:r>
            <a:r>
              <a:rPr lang="en-GB" err="1"/>
              <a:t>Derenzini</a:t>
            </a:r>
            <a:r>
              <a:rPr lang="en-GB"/>
              <a:t>.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54FFDC39-65BB-78C8-C7A4-180962FB4DB2}"/>
              </a:ext>
            </a:extLst>
          </p:cNvPr>
          <p:cNvSpPr txBox="1">
            <a:spLocks/>
          </p:cNvSpPr>
          <p:nvPr/>
        </p:nvSpPr>
        <p:spPr>
          <a:xfrm>
            <a:off x="469900" y="311150"/>
            <a:ext cx="10317269" cy="539208"/>
          </a:xfrm>
          <a:prstGeom prst="rect">
            <a:avLst/>
          </a:prstGeom>
        </p:spPr>
        <p:txBody>
          <a:bodyPr vert="horz" lIns="90000" tIns="46800" rIns="90000" bIns="4680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400" b="0" i="0" kern="1200">
                <a:solidFill>
                  <a:schemeClr val="tx2"/>
                </a:solidFill>
                <a:latin typeface="Aptos" panose="020B000402020202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0B0004020202020204" pitchFamily="34" charset="0"/>
                <a:ea typeface="+mj-ea"/>
                <a:cs typeface="+mj-cs"/>
              </a:rPr>
              <a:t>CAR-T for 3L DLBCL</a:t>
            </a:r>
          </a:p>
        </p:txBody>
      </p:sp>
      <p:sp>
        <p:nvSpPr>
          <p:cNvPr id="25" name="CasellaDiTesto 22">
            <a:extLst>
              <a:ext uri="{FF2B5EF4-FFF2-40B4-BE49-F238E27FC236}">
                <a16:creationId xmlns:a16="http://schemas.microsoft.com/office/drawing/2014/main" id="{05522733-8A43-E790-FFCC-4C0269ACFCC3}"/>
              </a:ext>
            </a:extLst>
          </p:cNvPr>
          <p:cNvSpPr txBox="1"/>
          <p:nvPr/>
        </p:nvSpPr>
        <p:spPr>
          <a:xfrm>
            <a:off x="8086006" y="4214145"/>
            <a:ext cx="379733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atient Status: </a:t>
            </a: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4CA1A6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live and in PR </a:t>
            </a: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(DS 4 with residual weak FDG uptake in the adrenal gland at 5 months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ischarged on day 10 </a:t>
            </a:r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ED621B0D-49A0-5935-697B-63A3FBB8A573}"/>
              </a:ext>
            </a:extLst>
          </p:cNvPr>
          <p:cNvCxnSpPr>
            <a:cxnSpLocks/>
          </p:cNvCxnSpPr>
          <p:nvPr/>
        </p:nvCxnSpPr>
        <p:spPr>
          <a:xfrm>
            <a:off x="577415" y="1670357"/>
            <a:ext cx="10907449" cy="0"/>
          </a:xfrm>
          <a:prstGeom prst="line">
            <a:avLst/>
          </a:prstGeom>
          <a:ln w="285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86EC7EE2-B929-419B-6156-BE37C8E499F6}"/>
              </a:ext>
            </a:extLst>
          </p:cNvPr>
          <p:cNvSpPr txBox="1"/>
          <p:nvPr/>
        </p:nvSpPr>
        <p:spPr>
          <a:xfrm>
            <a:off x="1481099" y="1215977"/>
            <a:ext cx="455050" cy="3927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CB813"/>
              </a:buClr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025</a:t>
            </a:r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BB3324E1-4039-4449-D19A-99FC4648E5AE}"/>
              </a:ext>
            </a:extLst>
          </p:cNvPr>
          <p:cNvSpPr/>
          <p:nvPr/>
        </p:nvSpPr>
        <p:spPr>
          <a:xfrm>
            <a:off x="1628725" y="1592622"/>
            <a:ext cx="159799" cy="159799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1" i="0" u="none" strike="noStrike" kern="1200" cap="none" spc="0" normalizeH="0" baseline="0" noProof="0">
              <a:ln>
                <a:noFill/>
              </a:ln>
              <a:solidFill>
                <a:srgbClr val="585854">
                  <a:lumMod val="20000"/>
                  <a:lumOff val="80000"/>
                </a:srgbClr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346F84CD-F4FA-819A-CCCC-E14EE555DDF0}"/>
              </a:ext>
            </a:extLst>
          </p:cNvPr>
          <p:cNvCxnSpPr>
            <a:cxnSpLocks/>
            <a:stCxn id="42" idx="4"/>
          </p:cNvCxnSpPr>
          <p:nvPr/>
        </p:nvCxnSpPr>
        <p:spPr>
          <a:xfrm>
            <a:off x="1708625" y="1752421"/>
            <a:ext cx="0" cy="182159"/>
          </a:xfrm>
          <a:prstGeom prst="line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4" name="TextBox 43">
            <a:extLst>
              <a:ext uri="{FF2B5EF4-FFF2-40B4-BE49-F238E27FC236}">
                <a16:creationId xmlns:a16="http://schemas.microsoft.com/office/drawing/2014/main" id="{30EF2E3E-3956-C5AA-FF43-8E9A3996AB9A}"/>
              </a:ext>
            </a:extLst>
          </p:cNvPr>
          <p:cNvSpPr txBox="1"/>
          <p:nvPr/>
        </p:nvSpPr>
        <p:spPr>
          <a:xfrm>
            <a:off x="758225" y="1934580"/>
            <a:ext cx="4204300" cy="523220"/>
          </a:xfrm>
          <a:prstGeom prst="rect">
            <a:avLst/>
          </a:prstGeom>
          <a:noFill/>
        </p:spPr>
        <p:txBody>
          <a:bodyPr wrap="square" lIns="45720" tIns="45720" rIns="45720" bIns="45720" rtlCol="0">
            <a:spAutoFit/>
          </a:bodyPr>
          <a:lstStyle>
            <a:defPPr>
              <a:defRPr lang="sv-SE"/>
            </a:defPPr>
            <a:lvl1pPr>
              <a:defRPr sz="1600" i="1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1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L treatment: </a:t>
            </a: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-CHOP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1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Outcome: </a:t>
            </a: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D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EDBA7DC9-9338-8370-FFD4-7B5245727D95}"/>
              </a:ext>
            </a:extLst>
          </p:cNvPr>
          <p:cNvSpPr txBox="1"/>
          <p:nvPr/>
        </p:nvSpPr>
        <p:spPr>
          <a:xfrm>
            <a:off x="5204536" y="1215977"/>
            <a:ext cx="455050" cy="3927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CB813"/>
              </a:buClr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ep 2025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231A970D-2CAE-E032-60D0-EAC4A726A679}"/>
              </a:ext>
            </a:extLst>
          </p:cNvPr>
          <p:cNvSpPr txBox="1"/>
          <p:nvPr/>
        </p:nvSpPr>
        <p:spPr>
          <a:xfrm>
            <a:off x="9013133" y="1215977"/>
            <a:ext cx="455050" cy="3927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CB813"/>
              </a:buClr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ov 2025</a:t>
            </a:r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id="{E932BD67-AFB7-094F-8036-A16DF49D2111}"/>
              </a:ext>
            </a:extLst>
          </p:cNvPr>
          <p:cNvSpPr/>
          <p:nvPr/>
        </p:nvSpPr>
        <p:spPr>
          <a:xfrm>
            <a:off x="5362515" y="1570677"/>
            <a:ext cx="159799" cy="159799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1" i="0" u="none" strike="noStrike" kern="1200" cap="none" spc="0" normalizeH="0" baseline="0" noProof="0">
              <a:ln>
                <a:noFill/>
              </a:ln>
              <a:solidFill>
                <a:srgbClr val="585854">
                  <a:lumMod val="20000"/>
                  <a:lumOff val="80000"/>
                </a:srgbClr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B7D40C80-9C2C-A559-A4CE-DB51B811E785}"/>
              </a:ext>
            </a:extLst>
          </p:cNvPr>
          <p:cNvCxnSpPr>
            <a:cxnSpLocks/>
            <a:stCxn id="47" idx="4"/>
          </p:cNvCxnSpPr>
          <p:nvPr/>
        </p:nvCxnSpPr>
        <p:spPr>
          <a:xfrm>
            <a:off x="5442415" y="1730477"/>
            <a:ext cx="0" cy="179707"/>
          </a:xfrm>
          <a:prstGeom prst="line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9" name="TextBox 48">
            <a:extLst>
              <a:ext uri="{FF2B5EF4-FFF2-40B4-BE49-F238E27FC236}">
                <a16:creationId xmlns:a16="http://schemas.microsoft.com/office/drawing/2014/main" id="{05F0248A-2864-5EFE-DCD3-93C8157E9E6C}"/>
              </a:ext>
            </a:extLst>
          </p:cNvPr>
          <p:cNvSpPr txBox="1"/>
          <p:nvPr/>
        </p:nvSpPr>
        <p:spPr>
          <a:xfrm>
            <a:off x="5113326" y="1934580"/>
            <a:ext cx="3284905" cy="954107"/>
          </a:xfrm>
          <a:prstGeom prst="rect">
            <a:avLst/>
          </a:prstGeom>
          <a:noFill/>
        </p:spPr>
        <p:txBody>
          <a:bodyPr wrap="square" lIns="45720" tIns="45720" rIns="45720" bIns="45720" rtlCol="0">
            <a:spAutoFit/>
          </a:bodyPr>
          <a:lstStyle>
            <a:defPPr>
              <a:defRPr lang="sv-SE"/>
            </a:defPPr>
            <a:lvl1pPr>
              <a:defRPr sz="1600" i="1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1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L treatment: </a:t>
            </a: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ola-BR (holding therapy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1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Outcome: </a:t>
            </a: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1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ote: </a:t>
            </a:r>
            <a:r>
              <a:rPr kumimoji="0" lang="en-GB" sz="1400" b="0" i="1" u="none" strike="noStrike" kern="1200" cap="none" spc="0" normalizeH="0" baseline="0" noProof="0" err="1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Bendamustine</a:t>
            </a:r>
            <a:r>
              <a:rPr kumimoji="0" lang="en-GB" sz="1400" b="0" i="1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was omitted </a:t>
            </a:r>
            <a:br>
              <a:rPr kumimoji="0" lang="en-GB" sz="1400" b="0" i="1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GB" sz="1400" b="0" i="1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ue to low lymphocyte count (200/mm</a:t>
            </a:r>
            <a:r>
              <a:rPr kumimoji="0" lang="en-GB" sz="1400" b="0" i="1" u="none" strike="noStrike" kern="1200" cap="none" spc="0" normalizeH="0" baseline="3000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3</a:t>
            </a:r>
            <a:r>
              <a:rPr kumimoji="0" lang="en-GB" sz="1400" b="0" i="1" u="none" strike="noStrike" kern="1200" cap="none" spc="0" normalizeH="0" baseline="0" noProof="0">
                <a:ln>
                  <a:noFill/>
                </a:ln>
                <a:solidFill>
                  <a:srgbClr val="585854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)</a:t>
            </a:r>
            <a:endParaRPr kumimoji="0" lang="en-GB" sz="1400" b="0" i="1" u="none" strike="noStrike" kern="1200" cap="none" spc="0" normalizeH="0" baseline="30000" noProof="0">
              <a:ln>
                <a:noFill/>
              </a:ln>
              <a:solidFill>
                <a:srgbClr val="585854">
                  <a:lumMod val="20000"/>
                  <a:lumOff val="80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FF3F0BD6-2686-3D09-713A-793BA601B5C9}"/>
              </a:ext>
            </a:extLst>
          </p:cNvPr>
          <p:cNvSpPr/>
          <p:nvPr/>
        </p:nvSpPr>
        <p:spPr>
          <a:xfrm>
            <a:off x="9160759" y="1570677"/>
            <a:ext cx="159799" cy="159799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2480225C-0148-6BB4-CCD5-42F32F2F89A9}"/>
              </a:ext>
            </a:extLst>
          </p:cNvPr>
          <p:cNvCxnSpPr>
            <a:cxnSpLocks/>
            <a:stCxn id="50" idx="4"/>
          </p:cNvCxnSpPr>
          <p:nvPr/>
        </p:nvCxnSpPr>
        <p:spPr>
          <a:xfrm>
            <a:off x="9240659" y="1730476"/>
            <a:ext cx="0" cy="179707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2" name="TextBox 51">
            <a:extLst>
              <a:ext uri="{FF2B5EF4-FFF2-40B4-BE49-F238E27FC236}">
                <a16:creationId xmlns:a16="http://schemas.microsoft.com/office/drawing/2014/main" id="{CBB6696F-AC0B-3DC0-3F17-F4910C52747B}"/>
              </a:ext>
            </a:extLst>
          </p:cNvPr>
          <p:cNvSpPr txBox="1"/>
          <p:nvPr/>
        </p:nvSpPr>
        <p:spPr>
          <a:xfrm>
            <a:off x="8759181" y="1934580"/>
            <a:ext cx="3124164" cy="2308324"/>
          </a:xfrm>
          <a:prstGeom prst="rect">
            <a:avLst/>
          </a:prstGeom>
          <a:noFill/>
        </p:spPr>
        <p:txBody>
          <a:bodyPr wrap="square" lIns="45720" tIns="45720" rIns="4572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1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3L treatment: </a:t>
            </a:r>
            <a:br>
              <a:rPr kumimoji="0" lang="en-GB" sz="1800" b="0" i="1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Loncastuximab </a:t>
            </a:r>
            <a:b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esirine</a:t>
            </a: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×2 cycles </a:t>
            </a:r>
            <a:b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(bridging therapy) </a:t>
            </a:r>
            <a:b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followed by </a:t>
            </a: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AR-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1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Outcome: </a:t>
            </a: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4CA1A6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</a:t>
            </a:r>
            <a:endParaRPr kumimoji="0" lang="en-GB" sz="1800" b="1" i="0" u="none" strike="noStrike" kern="1200" cap="none" spc="0" normalizeH="0" baseline="30000" noProof="0">
              <a:ln>
                <a:noFill/>
              </a:ln>
              <a:solidFill>
                <a:srgbClr val="4CA1A6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1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ote: Low lymphocyte count (400/mm</a:t>
            </a:r>
            <a:r>
              <a:rPr kumimoji="0" lang="en-GB" sz="1800" b="0" i="1" u="none" strike="noStrike" kern="1200" cap="none" spc="0" normalizeH="0" baseline="3000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3</a:t>
            </a:r>
            <a:r>
              <a:rPr kumimoji="0" lang="en-GB" sz="1800" b="0" i="1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)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6A6E5B8-787D-F7F2-8D5F-F5B7006B0D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01CC8E-1CEF-6746-999E-CF29FF00B1D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82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2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" name="CasellaDiTesto 36">
            <a:extLst>
              <a:ext uri="{FF2B5EF4-FFF2-40B4-BE49-F238E27FC236}">
                <a16:creationId xmlns:a16="http://schemas.microsoft.com/office/drawing/2014/main" id="{3BB8F078-72F7-EE63-8F6E-EAC36FE7076F}"/>
              </a:ext>
            </a:extLst>
          </p:cNvPr>
          <p:cNvSpPr txBox="1"/>
          <p:nvPr/>
        </p:nvSpPr>
        <p:spPr>
          <a:xfrm>
            <a:off x="8117462" y="5427739"/>
            <a:ext cx="3173696" cy="646331"/>
          </a:xfrm>
          <a:prstGeom prst="rect">
            <a:avLst/>
          </a:prstGeom>
          <a:solidFill>
            <a:schemeClr val="accent3"/>
          </a:solidFill>
          <a:ln w="28575">
            <a:noFill/>
          </a:ln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Gr 1 CR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Gr 1 ICANS</a:t>
            </a:r>
          </a:p>
        </p:txBody>
      </p:sp>
      <p:pic>
        <p:nvPicPr>
          <p:cNvPr id="4" name="Immagine 6">
            <a:extLst>
              <a:ext uri="{FF2B5EF4-FFF2-40B4-BE49-F238E27FC236}">
                <a16:creationId xmlns:a16="http://schemas.microsoft.com/office/drawing/2014/main" id="{D00C88D5-E8E2-CEDE-CEAD-780709DEA0D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07139" y="4044646"/>
            <a:ext cx="2064781" cy="1485310"/>
          </a:xfrm>
          <a:prstGeom prst="rect">
            <a:avLst/>
          </a:prstGeom>
        </p:spPr>
      </p:pic>
      <p:pic>
        <p:nvPicPr>
          <p:cNvPr id="5" name="Immagine 7">
            <a:extLst>
              <a:ext uri="{FF2B5EF4-FFF2-40B4-BE49-F238E27FC236}">
                <a16:creationId xmlns:a16="http://schemas.microsoft.com/office/drawing/2014/main" id="{7C5B583C-365C-3329-4FB0-031D5B01A4C4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32106" y="4048607"/>
            <a:ext cx="2064781" cy="1477387"/>
          </a:xfrm>
          <a:prstGeom prst="rect">
            <a:avLst/>
          </a:prstGeom>
        </p:spPr>
      </p:pic>
      <p:sp>
        <p:nvSpPr>
          <p:cNvPr id="7" name="CasellaDiTesto 20">
            <a:extLst>
              <a:ext uri="{FF2B5EF4-FFF2-40B4-BE49-F238E27FC236}">
                <a16:creationId xmlns:a16="http://schemas.microsoft.com/office/drawing/2014/main" id="{FCDECDDF-F466-F419-40BE-10F803BFF4DD}"/>
              </a:ext>
            </a:extLst>
          </p:cNvPr>
          <p:cNvSpPr txBox="1"/>
          <p:nvPr/>
        </p:nvSpPr>
        <p:spPr>
          <a:xfrm>
            <a:off x="3796585" y="3284837"/>
            <a:ext cx="1335824" cy="775824"/>
          </a:xfrm>
          <a:prstGeom prst="rect">
            <a:avLst/>
          </a:prstGeom>
          <a:noFill/>
          <a:ln>
            <a:noFill/>
          </a:ln>
        </p:spPr>
        <p:txBody>
          <a:bodyPr wrap="square" lIns="45720" tIns="45720" rIns="45720" bIns="45720" rtlCol="0" anchor="t">
            <a:normAutofit/>
          </a:bodyPr>
          <a:lstStyle>
            <a:defPPr>
              <a:defRPr lang="sv-SE"/>
            </a:defPPr>
            <a:lvl1pPr algn="ctr">
              <a:defRPr sz="20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EB92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fter </a:t>
            </a:r>
            <a:b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EB92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EB92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bridging </a:t>
            </a:r>
          </a:p>
        </p:txBody>
      </p:sp>
      <p:sp>
        <p:nvSpPr>
          <p:cNvPr id="8" name="CasellaDiTesto 21">
            <a:extLst>
              <a:ext uri="{FF2B5EF4-FFF2-40B4-BE49-F238E27FC236}">
                <a16:creationId xmlns:a16="http://schemas.microsoft.com/office/drawing/2014/main" id="{21887B69-8C51-94DF-D2E5-699741B8F4D6}"/>
              </a:ext>
            </a:extLst>
          </p:cNvPr>
          <p:cNvSpPr txBox="1"/>
          <p:nvPr/>
        </p:nvSpPr>
        <p:spPr>
          <a:xfrm>
            <a:off x="1483508" y="3318806"/>
            <a:ext cx="1512043" cy="707886"/>
          </a:xfrm>
          <a:prstGeom prst="rect">
            <a:avLst/>
          </a:prstGeom>
          <a:noFill/>
          <a:ln>
            <a:noFill/>
          </a:ln>
        </p:spPr>
        <p:txBody>
          <a:bodyPr wrap="square" lIns="45720" tIns="45720" rIns="45720" bIns="45720" rtlCol="0" anchor="t">
            <a:spAutoFit/>
          </a:bodyPr>
          <a:lstStyle>
            <a:defPPr>
              <a:defRPr lang="sv-SE"/>
            </a:defPPr>
            <a:lvl1pPr algn="ctr">
              <a:defRPr sz="2000" b="1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Before </a:t>
            </a:r>
            <a:b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bridging </a:t>
            </a:r>
          </a:p>
        </p:txBody>
      </p:sp>
      <p:sp>
        <p:nvSpPr>
          <p:cNvPr id="17" name="CasellaDiTesto 37">
            <a:extLst>
              <a:ext uri="{FF2B5EF4-FFF2-40B4-BE49-F238E27FC236}">
                <a16:creationId xmlns:a16="http://schemas.microsoft.com/office/drawing/2014/main" id="{556D7833-51E6-33AA-7E9C-BECA03C1D891}"/>
              </a:ext>
            </a:extLst>
          </p:cNvPr>
          <p:cNvSpPr txBox="1"/>
          <p:nvPr/>
        </p:nvSpPr>
        <p:spPr>
          <a:xfrm>
            <a:off x="3496081" y="5606228"/>
            <a:ext cx="188872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eauville score 4</a:t>
            </a:r>
          </a:p>
        </p:txBody>
      </p:sp>
      <p:sp>
        <p:nvSpPr>
          <p:cNvPr id="19" name="CasellaDiTesto 80">
            <a:extLst>
              <a:ext uri="{FF2B5EF4-FFF2-40B4-BE49-F238E27FC236}">
                <a16:creationId xmlns:a16="http://schemas.microsoft.com/office/drawing/2014/main" id="{51377A0A-6170-21C0-BBFA-904B194FCB18}"/>
              </a:ext>
            </a:extLst>
          </p:cNvPr>
          <p:cNvSpPr txBox="1"/>
          <p:nvPr/>
        </p:nvSpPr>
        <p:spPr>
          <a:xfrm>
            <a:off x="2220981" y="5613538"/>
            <a:ext cx="11644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FDG-PET:</a:t>
            </a:r>
          </a:p>
        </p:txBody>
      </p:sp>
      <p:pic>
        <p:nvPicPr>
          <p:cNvPr id="20" name="Immagine 7">
            <a:extLst>
              <a:ext uri="{FF2B5EF4-FFF2-40B4-BE49-F238E27FC236}">
                <a16:creationId xmlns:a16="http://schemas.microsoft.com/office/drawing/2014/main" id="{193648B6-7DD2-728B-2CB7-2F446A346ED2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624471" y="4048606"/>
            <a:ext cx="2064781" cy="1477387"/>
          </a:xfrm>
          <a:prstGeom prst="rect">
            <a:avLst/>
          </a:prstGeom>
        </p:spPr>
      </p:pic>
      <p:sp>
        <p:nvSpPr>
          <p:cNvPr id="23" name="CasellaDiTesto 37">
            <a:extLst>
              <a:ext uri="{FF2B5EF4-FFF2-40B4-BE49-F238E27FC236}">
                <a16:creationId xmlns:a16="http://schemas.microsoft.com/office/drawing/2014/main" id="{3026FC4E-CF86-FC19-9BD3-B22ECB09020E}"/>
              </a:ext>
            </a:extLst>
          </p:cNvPr>
          <p:cNvSpPr txBox="1"/>
          <p:nvPr/>
        </p:nvSpPr>
        <p:spPr>
          <a:xfrm>
            <a:off x="5712501" y="5606228"/>
            <a:ext cx="188872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eauville score 4</a:t>
            </a:r>
          </a:p>
        </p:txBody>
      </p:sp>
      <p:sp>
        <p:nvSpPr>
          <p:cNvPr id="24" name="CasellaDiTesto 20">
            <a:extLst>
              <a:ext uri="{FF2B5EF4-FFF2-40B4-BE49-F238E27FC236}">
                <a16:creationId xmlns:a16="http://schemas.microsoft.com/office/drawing/2014/main" id="{269C60BA-5742-7370-0772-0CC22638CFCB}"/>
              </a:ext>
            </a:extLst>
          </p:cNvPr>
          <p:cNvSpPr txBox="1"/>
          <p:nvPr/>
        </p:nvSpPr>
        <p:spPr>
          <a:xfrm>
            <a:off x="5786489" y="3251120"/>
            <a:ext cx="1629732" cy="843259"/>
          </a:xfrm>
          <a:prstGeom prst="rect">
            <a:avLst/>
          </a:prstGeom>
          <a:noFill/>
          <a:ln>
            <a:noFill/>
          </a:ln>
        </p:spPr>
        <p:txBody>
          <a:bodyPr wrap="square" lIns="45720" tIns="45720" rIns="45720" bIns="45720" rtlCol="0" anchor="t">
            <a:normAutofit/>
          </a:bodyPr>
          <a:lstStyle>
            <a:defPPr>
              <a:defRPr lang="sv-SE"/>
            </a:defPPr>
            <a:lvl1pPr algn="r">
              <a:defRPr sz="20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2C5E77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fter </a:t>
            </a:r>
            <a:b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2C5E77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2C5E77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Liso-cel d 30</a:t>
            </a:r>
          </a:p>
        </p:txBody>
      </p:sp>
    </p:spTree>
    <p:extLst>
      <p:ext uri="{BB962C8B-B14F-4D97-AF65-F5344CB8AC3E}">
        <p14:creationId xmlns:p14="http://schemas.microsoft.com/office/powerpoint/2010/main" val="96604024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C27B1383-7607-9317-8ACD-A2D78F414827}"/>
              </a:ext>
            </a:extLst>
          </p:cNvPr>
          <p:cNvSpPr txBox="1">
            <a:spLocks/>
          </p:cNvSpPr>
          <p:nvPr/>
        </p:nvSpPr>
        <p:spPr>
          <a:xfrm>
            <a:off x="1592170" y="2753877"/>
            <a:ext cx="634877" cy="634877"/>
          </a:xfrm>
          <a:prstGeom prst="ellipse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2"/>
              </a:gs>
            </a:gsLst>
            <a:lin ang="13500000" scaled="1"/>
            <a:tileRect/>
          </a:gradFill>
        </p:spPr>
        <p:txBody>
          <a:bodyPr anchor="ctr" anchorCtr="1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</a:p>
        </p:txBody>
      </p:sp>
      <p:sp>
        <p:nvSpPr>
          <p:cNvPr id="37" name="Free-form: Shape 36">
            <a:extLst>
              <a:ext uri="{FF2B5EF4-FFF2-40B4-BE49-F238E27FC236}">
                <a16:creationId xmlns:a16="http://schemas.microsoft.com/office/drawing/2014/main" id="{D3D12850-BEBF-D570-7C41-93F4C69EC9FE}"/>
              </a:ext>
            </a:extLst>
          </p:cNvPr>
          <p:cNvSpPr/>
          <p:nvPr/>
        </p:nvSpPr>
        <p:spPr>
          <a:xfrm>
            <a:off x="1769205" y="2834990"/>
            <a:ext cx="265675" cy="428896"/>
          </a:xfrm>
          <a:custGeom>
            <a:avLst/>
            <a:gdLst>
              <a:gd name="csX0" fmla="*/ 300387 w 350251"/>
              <a:gd name="csY0" fmla="*/ 521640 h 631082"/>
              <a:gd name="csX1" fmla="*/ 319437 w 350251"/>
              <a:gd name="csY1" fmla="*/ 489731 h 631082"/>
              <a:gd name="csX2" fmla="*/ 319437 w 350251"/>
              <a:gd name="csY2" fmla="*/ 486588 h 631082"/>
              <a:gd name="csX3" fmla="*/ 290862 w 350251"/>
              <a:gd name="csY3" fmla="*/ 450965 h 631082"/>
              <a:gd name="csX4" fmla="*/ 290862 w 350251"/>
              <a:gd name="csY4" fmla="*/ 412007 h 631082"/>
              <a:gd name="csX5" fmla="*/ 305625 w 350251"/>
              <a:gd name="csY5" fmla="*/ 313328 h 631082"/>
              <a:gd name="csX6" fmla="*/ 219900 w 350251"/>
              <a:gd name="csY6" fmla="*/ 238843 h 631082"/>
              <a:gd name="csX7" fmla="*/ 200850 w 350251"/>
              <a:gd name="csY7" fmla="*/ 216554 h 631082"/>
              <a:gd name="csX8" fmla="*/ 231521 w 350251"/>
              <a:gd name="csY8" fmla="*/ 222746 h 631082"/>
              <a:gd name="csX9" fmla="*/ 267430 w 350251"/>
              <a:gd name="csY9" fmla="*/ 237319 h 631082"/>
              <a:gd name="csX10" fmla="*/ 314007 w 350251"/>
              <a:gd name="csY10" fmla="*/ 235985 h 631082"/>
              <a:gd name="csX11" fmla="*/ 348583 w 350251"/>
              <a:gd name="csY11" fmla="*/ 166643 h 631082"/>
              <a:gd name="csX12" fmla="*/ 275241 w 350251"/>
              <a:gd name="csY12" fmla="*/ 103493 h 631082"/>
              <a:gd name="csX13" fmla="*/ 272669 w 350251"/>
              <a:gd name="csY13" fmla="*/ 85490 h 631082"/>
              <a:gd name="csX14" fmla="*/ 212280 w 350251"/>
              <a:gd name="csY14" fmla="*/ 41485 h 631082"/>
              <a:gd name="csX15" fmla="*/ 208375 w 350251"/>
              <a:gd name="csY15" fmla="*/ 3385 h 631082"/>
              <a:gd name="csX16" fmla="*/ 30639 w 350251"/>
              <a:gd name="csY16" fmla="*/ 96920 h 631082"/>
              <a:gd name="csX17" fmla="*/ 27972 w 350251"/>
              <a:gd name="csY17" fmla="*/ 315995 h 631082"/>
              <a:gd name="csX18" fmla="*/ 61881 w 350251"/>
              <a:gd name="csY18" fmla="*/ 401720 h 631082"/>
              <a:gd name="csX19" fmla="*/ 61881 w 350251"/>
              <a:gd name="csY19" fmla="*/ 450965 h 631082"/>
              <a:gd name="csX20" fmla="*/ 33306 w 350251"/>
              <a:gd name="csY20" fmla="*/ 486588 h 631082"/>
              <a:gd name="csX21" fmla="*/ 33306 w 350251"/>
              <a:gd name="csY21" fmla="*/ 489731 h 631082"/>
              <a:gd name="csX22" fmla="*/ 52356 w 350251"/>
              <a:gd name="csY22" fmla="*/ 521640 h 631082"/>
              <a:gd name="csX23" fmla="*/ 52356 w 350251"/>
              <a:gd name="csY23" fmla="*/ 554882 h 631082"/>
              <a:gd name="csX24" fmla="*/ 14256 w 350251"/>
              <a:gd name="csY24" fmla="*/ 554882 h 631082"/>
              <a:gd name="csX25" fmla="*/ 14256 w 350251"/>
              <a:gd name="csY25" fmla="*/ 631082 h 631082"/>
              <a:gd name="csX26" fmla="*/ 338106 w 350251"/>
              <a:gd name="csY26" fmla="*/ 631082 h 631082"/>
              <a:gd name="csX27" fmla="*/ 338106 w 350251"/>
              <a:gd name="csY27" fmla="*/ 554882 h 631082"/>
              <a:gd name="csX28" fmla="*/ 300006 w 350251"/>
              <a:gd name="csY28" fmla="*/ 554882 h 63108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</a:cxnLst>
            <a:rect l="l" t="t" r="r" b="b"/>
            <a:pathLst>
              <a:path w="350251" h="631082">
                <a:moveTo>
                  <a:pt x="300387" y="521640"/>
                </a:moveTo>
                <a:cubicBezTo>
                  <a:pt x="312040" y="515232"/>
                  <a:pt x="319325" y="503030"/>
                  <a:pt x="319437" y="489731"/>
                </a:cubicBezTo>
                <a:lnTo>
                  <a:pt x="319437" y="486588"/>
                </a:lnTo>
                <a:cubicBezTo>
                  <a:pt x="319335" y="469520"/>
                  <a:pt x="307501" y="454767"/>
                  <a:pt x="290862" y="450965"/>
                </a:cubicBezTo>
                <a:lnTo>
                  <a:pt x="290862" y="412007"/>
                </a:lnTo>
                <a:cubicBezTo>
                  <a:pt x="315184" y="385078"/>
                  <a:pt x="321001" y="346196"/>
                  <a:pt x="305625" y="313328"/>
                </a:cubicBezTo>
                <a:cubicBezTo>
                  <a:pt x="294005" y="286849"/>
                  <a:pt x="239427" y="249606"/>
                  <a:pt x="219900" y="238843"/>
                </a:cubicBezTo>
                <a:cubicBezTo>
                  <a:pt x="211091" y="233929"/>
                  <a:pt x="204332" y="226022"/>
                  <a:pt x="200850" y="216554"/>
                </a:cubicBezTo>
                <a:cubicBezTo>
                  <a:pt x="209715" y="222914"/>
                  <a:pt x="220882" y="225169"/>
                  <a:pt x="231521" y="222746"/>
                </a:cubicBezTo>
                <a:cubicBezTo>
                  <a:pt x="248571" y="216554"/>
                  <a:pt x="263334" y="232271"/>
                  <a:pt x="267430" y="237319"/>
                </a:cubicBezTo>
                <a:cubicBezTo>
                  <a:pt x="278003" y="249035"/>
                  <a:pt x="296958" y="243224"/>
                  <a:pt x="314007" y="235985"/>
                </a:cubicBezTo>
                <a:cubicBezTo>
                  <a:pt x="340825" y="224316"/>
                  <a:pt x="355401" y="195084"/>
                  <a:pt x="348583" y="166643"/>
                </a:cubicBezTo>
                <a:cubicBezTo>
                  <a:pt x="348107" y="152070"/>
                  <a:pt x="275241" y="103493"/>
                  <a:pt x="275241" y="103493"/>
                </a:cubicBezTo>
                <a:lnTo>
                  <a:pt x="272669" y="85490"/>
                </a:lnTo>
                <a:cubicBezTo>
                  <a:pt x="272669" y="82347"/>
                  <a:pt x="261429" y="49867"/>
                  <a:pt x="212280" y="41485"/>
                </a:cubicBezTo>
                <a:cubicBezTo>
                  <a:pt x="212280" y="41485"/>
                  <a:pt x="221139" y="9671"/>
                  <a:pt x="208375" y="3385"/>
                </a:cubicBezTo>
                <a:cubicBezTo>
                  <a:pt x="181705" y="-8902"/>
                  <a:pt x="84550" y="10052"/>
                  <a:pt x="30639" y="96920"/>
                </a:cubicBezTo>
                <a:cubicBezTo>
                  <a:pt x="-9271" y="161214"/>
                  <a:pt x="-10224" y="239033"/>
                  <a:pt x="27972" y="315995"/>
                </a:cubicBezTo>
                <a:cubicBezTo>
                  <a:pt x="37497" y="335045"/>
                  <a:pt x="61881" y="373145"/>
                  <a:pt x="61881" y="401720"/>
                </a:cubicBezTo>
                <a:lnTo>
                  <a:pt x="61881" y="450965"/>
                </a:lnTo>
                <a:cubicBezTo>
                  <a:pt x="45241" y="454767"/>
                  <a:pt x="33408" y="469520"/>
                  <a:pt x="33306" y="486588"/>
                </a:cubicBezTo>
                <a:lnTo>
                  <a:pt x="33306" y="489731"/>
                </a:lnTo>
                <a:cubicBezTo>
                  <a:pt x="33417" y="503030"/>
                  <a:pt x="40702" y="515232"/>
                  <a:pt x="52356" y="521640"/>
                </a:cubicBezTo>
                <a:lnTo>
                  <a:pt x="52356" y="554882"/>
                </a:lnTo>
                <a:lnTo>
                  <a:pt x="14256" y="554882"/>
                </a:lnTo>
                <a:lnTo>
                  <a:pt x="14256" y="631082"/>
                </a:lnTo>
                <a:lnTo>
                  <a:pt x="338106" y="631082"/>
                </a:lnTo>
                <a:lnTo>
                  <a:pt x="338106" y="554882"/>
                </a:lnTo>
                <a:lnTo>
                  <a:pt x="300006" y="55488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ffectLst>
            <a:innerShdw dist="50800" dir="10800000">
              <a:schemeClr val="accent1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B136685B-6CE5-57AD-802D-4333ED533356}"/>
              </a:ext>
            </a:extLst>
          </p:cNvPr>
          <p:cNvSpPr txBox="1">
            <a:spLocks/>
          </p:cNvSpPr>
          <p:nvPr/>
        </p:nvSpPr>
        <p:spPr>
          <a:xfrm>
            <a:off x="1592170" y="4072368"/>
            <a:ext cx="634877" cy="634877"/>
          </a:xfrm>
          <a:prstGeom prst="ellipse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2"/>
              </a:gs>
            </a:gsLst>
            <a:lin ang="13500000" scaled="1"/>
            <a:tileRect/>
          </a:gradFill>
        </p:spPr>
        <p:txBody>
          <a:bodyPr anchor="ctr" anchorCtr="1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218E6366-0D4A-2B22-AA9D-9D0218B22089}"/>
              </a:ext>
            </a:extLst>
          </p:cNvPr>
          <p:cNvSpPr txBox="1">
            <a:spLocks/>
          </p:cNvSpPr>
          <p:nvPr/>
        </p:nvSpPr>
        <p:spPr>
          <a:xfrm>
            <a:off x="1592170" y="5390859"/>
            <a:ext cx="634877" cy="634877"/>
          </a:xfrm>
          <a:prstGeom prst="ellipse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2"/>
              </a:gs>
            </a:gsLst>
            <a:lin ang="13500000" scaled="1"/>
            <a:tileRect/>
          </a:gradFill>
        </p:spPr>
        <p:txBody>
          <a:bodyPr anchor="ctr" anchorCtr="1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9E0BCAFF-CF87-D9FB-E598-D0757C9CE2D7}"/>
              </a:ext>
            </a:extLst>
          </p:cNvPr>
          <p:cNvSpPr txBox="1">
            <a:spLocks/>
          </p:cNvSpPr>
          <p:nvPr/>
        </p:nvSpPr>
        <p:spPr>
          <a:xfrm>
            <a:off x="1592170" y="376403"/>
            <a:ext cx="8700191" cy="655776"/>
          </a:xfrm>
          <a:prstGeom prst="rect">
            <a:avLst/>
          </a:prstGeom>
        </p:spPr>
        <p:txBody>
          <a:bodyPr vert="horz" lIns="90000" tIns="46800" rIns="90000" bIns="4680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400" b="0" i="0" kern="1200">
                <a:solidFill>
                  <a:schemeClr val="tx2"/>
                </a:solidFill>
                <a:latin typeface="Aptos" panose="020B000402020202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j-ea"/>
                <a:cs typeface="+mj-cs"/>
              </a:rPr>
              <a:t>Key messages and learnings</a:t>
            </a:r>
          </a:p>
        </p:txBody>
      </p:sp>
      <p:sp>
        <p:nvSpPr>
          <p:cNvPr id="42" name="Free-form: Shape 41">
            <a:extLst>
              <a:ext uri="{FF2B5EF4-FFF2-40B4-BE49-F238E27FC236}">
                <a16:creationId xmlns:a16="http://schemas.microsoft.com/office/drawing/2014/main" id="{88ED0500-FBA7-B7B1-082F-83BA3C4691B2}"/>
              </a:ext>
            </a:extLst>
          </p:cNvPr>
          <p:cNvSpPr/>
          <p:nvPr/>
        </p:nvSpPr>
        <p:spPr>
          <a:xfrm>
            <a:off x="1769205" y="4163727"/>
            <a:ext cx="265675" cy="428896"/>
          </a:xfrm>
          <a:custGeom>
            <a:avLst/>
            <a:gdLst>
              <a:gd name="csX0" fmla="*/ 300387 w 350251"/>
              <a:gd name="csY0" fmla="*/ 521640 h 631082"/>
              <a:gd name="csX1" fmla="*/ 319437 w 350251"/>
              <a:gd name="csY1" fmla="*/ 489731 h 631082"/>
              <a:gd name="csX2" fmla="*/ 319437 w 350251"/>
              <a:gd name="csY2" fmla="*/ 486588 h 631082"/>
              <a:gd name="csX3" fmla="*/ 290862 w 350251"/>
              <a:gd name="csY3" fmla="*/ 450965 h 631082"/>
              <a:gd name="csX4" fmla="*/ 290862 w 350251"/>
              <a:gd name="csY4" fmla="*/ 412007 h 631082"/>
              <a:gd name="csX5" fmla="*/ 305625 w 350251"/>
              <a:gd name="csY5" fmla="*/ 313328 h 631082"/>
              <a:gd name="csX6" fmla="*/ 219900 w 350251"/>
              <a:gd name="csY6" fmla="*/ 238843 h 631082"/>
              <a:gd name="csX7" fmla="*/ 200850 w 350251"/>
              <a:gd name="csY7" fmla="*/ 216554 h 631082"/>
              <a:gd name="csX8" fmla="*/ 231521 w 350251"/>
              <a:gd name="csY8" fmla="*/ 222746 h 631082"/>
              <a:gd name="csX9" fmla="*/ 267430 w 350251"/>
              <a:gd name="csY9" fmla="*/ 237319 h 631082"/>
              <a:gd name="csX10" fmla="*/ 314007 w 350251"/>
              <a:gd name="csY10" fmla="*/ 235985 h 631082"/>
              <a:gd name="csX11" fmla="*/ 348583 w 350251"/>
              <a:gd name="csY11" fmla="*/ 166643 h 631082"/>
              <a:gd name="csX12" fmla="*/ 275241 w 350251"/>
              <a:gd name="csY12" fmla="*/ 103493 h 631082"/>
              <a:gd name="csX13" fmla="*/ 272669 w 350251"/>
              <a:gd name="csY13" fmla="*/ 85490 h 631082"/>
              <a:gd name="csX14" fmla="*/ 212280 w 350251"/>
              <a:gd name="csY14" fmla="*/ 41485 h 631082"/>
              <a:gd name="csX15" fmla="*/ 208375 w 350251"/>
              <a:gd name="csY15" fmla="*/ 3385 h 631082"/>
              <a:gd name="csX16" fmla="*/ 30639 w 350251"/>
              <a:gd name="csY16" fmla="*/ 96920 h 631082"/>
              <a:gd name="csX17" fmla="*/ 27972 w 350251"/>
              <a:gd name="csY17" fmla="*/ 315995 h 631082"/>
              <a:gd name="csX18" fmla="*/ 61881 w 350251"/>
              <a:gd name="csY18" fmla="*/ 401720 h 631082"/>
              <a:gd name="csX19" fmla="*/ 61881 w 350251"/>
              <a:gd name="csY19" fmla="*/ 450965 h 631082"/>
              <a:gd name="csX20" fmla="*/ 33306 w 350251"/>
              <a:gd name="csY20" fmla="*/ 486588 h 631082"/>
              <a:gd name="csX21" fmla="*/ 33306 w 350251"/>
              <a:gd name="csY21" fmla="*/ 489731 h 631082"/>
              <a:gd name="csX22" fmla="*/ 52356 w 350251"/>
              <a:gd name="csY22" fmla="*/ 521640 h 631082"/>
              <a:gd name="csX23" fmla="*/ 52356 w 350251"/>
              <a:gd name="csY23" fmla="*/ 554882 h 631082"/>
              <a:gd name="csX24" fmla="*/ 14256 w 350251"/>
              <a:gd name="csY24" fmla="*/ 554882 h 631082"/>
              <a:gd name="csX25" fmla="*/ 14256 w 350251"/>
              <a:gd name="csY25" fmla="*/ 631082 h 631082"/>
              <a:gd name="csX26" fmla="*/ 338106 w 350251"/>
              <a:gd name="csY26" fmla="*/ 631082 h 631082"/>
              <a:gd name="csX27" fmla="*/ 338106 w 350251"/>
              <a:gd name="csY27" fmla="*/ 554882 h 631082"/>
              <a:gd name="csX28" fmla="*/ 300006 w 350251"/>
              <a:gd name="csY28" fmla="*/ 554882 h 63108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</a:cxnLst>
            <a:rect l="l" t="t" r="r" b="b"/>
            <a:pathLst>
              <a:path w="350251" h="631082">
                <a:moveTo>
                  <a:pt x="300387" y="521640"/>
                </a:moveTo>
                <a:cubicBezTo>
                  <a:pt x="312040" y="515232"/>
                  <a:pt x="319325" y="503030"/>
                  <a:pt x="319437" y="489731"/>
                </a:cubicBezTo>
                <a:lnTo>
                  <a:pt x="319437" y="486588"/>
                </a:lnTo>
                <a:cubicBezTo>
                  <a:pt x="319335" y="469520"/>
                  <a:pt x="307501" y="454767"/>
                  <a:pt x="290862" y="450965"/>
                </a:cubicBezTo>
                <a:lnTo>
                  <a:pt x="290862" y="412007"/>
                </a:lnTo>
                <a:cubicBezTo>
                  <a:pt x="315184" y="385078"/>
                  <a:pt x="321001" y="346196"/>
                  <a:pt x="305625" y="313328"/>
                </a:cubicBezTo>
                <a:cubicBezTo>
                  <a:pt x="294005" y="286849"/>
                  <a:pt x="239427" y="249606"/>
                  <a:pt x="219900" y="238843"/>
                </a:cubicBezTo>
                <a:cubicBezTo>
                  <a:pt x="211091" y="233929"/>
                  <a:pt x="204332" y="226022"/>
                  <a:pt x="200850" y="216554"/>
                </a:cubicBezTo>
                <a:cubicBezTo>
                  <a:pt x="209715" y="222914"/>
                  <a:pt x="220882" y="225169"/>
                  <a:pt x="231521" y="222746"/>
                </a:cubicBezTo>
                <a:cubicBezTo>
                  <a:pt x="248571" y="216554"/>
                  <a:pt x="263334" y="232271"/>
                  <a:pt x="267430" y="237319"/>
                </a:cubicBezTo>
                <a:cubicBezTo>
                  <a:pt x="278003" y="249035"/>
                  <a:pt x="296958" y="243224"/>
                  <a:pt x="314007" y="235985"/>
                </a:cubicBezTo>
                <a:cubicBezTo>
                  <a:pt x="340825" y="224316"/>
                  <a:pt x="355401" y="195084"/>
                  <a:pt x="348583" y="166643"/>
                </a:cubicBezTo>
                <a:cubicBezTo>
                  <a:pt x="348107" y="152070"/>
                  <a:pt x="275241" y="103493"/>
                  <a:pt x="275241" y="103493"/>
                </a:cubicBezTo>
                <a:lnTo>
                  <a:pt x="272669" y="85490"/>
                </a:lnTo>
                <a:cubicBezTo>
                  <a:pt x="272669" y="82347"/>
                  <a:pt x="261429" y="49867"/>
                  <a:pt x="212280" y="41485"/>
                </a:cubicBezTo>
                <a:cubicBezTo>
                  <a:pt x="212280" y="41485"/>
                  <a:pt x="221139" y="9671"/>
                  <a:pt x="208375" y="3385"/>
                </a:cubicBezTo>
                <a:cubicBezTo>
                  <a:pt x="181705" y="-8902"/>
                  <a:pt x="84550" y="10052"/>
                  <a:pt x="30639" y="96920"/>
                </a:cubicBezTo>
                <a:cubicBezTo>
                  <a:pt x="-9271" y="161214"/>
                  <a:pt x="-10224" y="239033"/>
                  <a:pt x="27972" y="315995"/>
                </a:cubicBezTo>
                <a:cubicBezTo>
                  <a:pt x="37497" y="335045"/>
                  <a:pt x="61881" y="373145"/>
                  <a:pt x="61881" y="401720"/>
                </a:cubicBezTo>
                <a:lnTo>
                  <a:pt x="61881" y="450965"/>
                </a:lnTo>
                <a:cubicBezTo>
                  <a:pt x="45241" y="454767"/>
                  <a:pt x="33408" y="469520"/>
                  <a:pt x="33306" y="486588"/>
                </a:cubicBezTo>
                <a:lnTo>
                  <a:pt x="33306" y="489731"/>
                </a:lnTo>
                <a:cubicBezTo>
                  <a:pt x="33417" y="503030"/>
                  <a:pt x="40702" y="515232"/>
                  <a:pt x="52356" y="521640"/>
                </a:cubicBezTo>
                <a:lnTo>
                  <a:pt x="52356" y="554882"/>
                </a:lnTo>
                <a:lnTo>
                  <a:pt x="14256" y="554882"/>
                </a:lnTo>
                <a:lnTo>
                  <a:pt x="14256" y="631082"/>
                </a:lnTo>
                <a:lnTo>
                  <a:pt x="338106" y="631082"/>
                </a:lnTo>
                <a:lnTo>
                  <a:pt x="338106" y="554882"/>
                </a:lnTo>
                <a:lnTo>
                  <a:pt x="300006" y="55488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ffectLst>
            <a:innerShdw dist="50800" dir="10800000">
              <a:schemeClr val="accent1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3" name="Free-form: Shape 42">
            <a:extLst>
              <a:ext uri="{FF2B5EF4-FFF2-40B4-BE49-F238E27FC236}">
                <a16:creationId xmlns:a16="http://schemas.microsoft.com/office/drawing/2014/main" id="{3E61068A-39CE-59D5-A743-DF6289535C1B}"/>
              </a:ext>
            </a:extLst>
          </p:cNvPr>
          <p:cNvSpPr/>
          <p:nvPr/>
        </p:nvSpPr>
        <p:spPr>
          <a:xfrm>
            <a:off x="1769205" y="5485321"/>
            <a:ext cx="265675" cy="428896"/>
          </a:xfrm>
          <a:custGeom>
            <a:avLst/>
            <a:gdLst>
              <a:gd name="csX0" fmla="*/ 300387 w 350251"/>
              <a:gd name="csY0" fmla="*/ 521640 h 631082"/>
              <a:gd name="csX1" fmla="*/ 319437 w 350251"/>
              <a:gd name="csY1" fmla="*/ 489731 h 631082"/>
              <a:gd name="csX2" fmla="*/ 319437 w 350251"/>
              <a:gd name="csY2" fmla="*/ 486588 h 631082"/>
              <a:gd name="csX3" fmla="*/ 290862 w 350251"/>
              <a:gd name="csY3" fmla="*/ 450965 h 631082"/>
              <a:gd name="csX4" fmla="*/ 290862 w 350251"/>
              <a:gd name="csY4" fmla="*/ 412007 h 631082"/>
              <a:gd name="csX5" fmla="*/ 305625 w 350251"/>
              <a:gd name="csY5" fmla="*/ 313328 h 631082"/>
              <a:gd name="csX6" fmla="*/ 219900 w 350251"/>
              <a:gd name="csY6" fmla="*/ 238843 h 631082"/>
              <a:gd name="csX7" fmla="*/ 200850 w 350251"/>
              <a:gd name="csY7" fmla="*/ 216554 h 631082"/>
              <a:gd name="csX8" fmla="*/ 231521 w 350251"/>
              <a:gd name="csY8" fmla="*/ 222746 h 631082"/>
              <a:gd name="csX9" fmla="*/ 267430 w 350251"/>
              <a:gd name="csY9" fmla="*/ 237319 h 631082"/>
              <a:gd name="csX10" fmla="*/ 314007 w 350251"/>
              <a:gd name="csY10" fmla="*/ 235985 h 631082"/>
              <a:gd name="csX11" fmla="*/ 348583 w 350251"/>
              <a:gd name="csY11" fmla="*/ 166643 h 631082"/>
              <a:gd name="csX12" fmla="*/ 275241 w 350251"/>
              <a:gd name="csY12" fmla="*/ 103493 h 631082"/>
              <a:gd name="csX13" fmla="*/ 272669 w 350251"/>
              <a:gd name="csY13" fmla="*/ 85490 h 631082"/>
              <a:gd name="csX14" fmla="*/ 212280 w 350251"/>
              <a:gd name="csY14" fmla="*/ 41485 h 631082"/>
              <a:gd name="csX15" fmla="*/ 208375 w 350251"/>
              <a:gd name="csY15" fmla="*/ 3385 h 631082"/>
              <a:gd name="csX16" fmla="*/ 30639 w 350251"/>
              <a:gd name="csY16" fmla="*/ 96920 h 631082"/>
              <a:gd name="csX17" fmla="*/ 27972 w 350251"/>
              <a:gd name="csY17" fmla="*/ 315995 h 631082"/>
              <a:gd name="csX18" fmla="*/ 61881 w 350251"/>
              <a:gd name="csY18" fmla="*/ 401720 h 631082"/>
              <a:gd name="csX19" fmla="*/ 61881 w 350251"/>
              <a:gd name="csY19" fmla="*/ 450965 h 631082"/>
              <a:gd name="csX20" fmla="*/ 33306 w 350251"/>
              <a:gd name="csY20" fmla="*/ 486588 h 631082"/>
              <a:gd name="csX21" fmla="*/ 33306 w 350251"/>
              <a:gd name="csY21" fmla="*/ 489731 h 631082"/>
              <a:gd name="csX22" fmla="*/ 52356 w 350251"/>
              <a:gd name="csY22" fmla="*/ 521640 h 631082"/>
              <a:gd name="csX23" fmla="*/ 52356 w 350251"/>
              <a:gd name="csY23" fmla="*/ 554882 h 631082"/>
              <a:gd name="csX24" fmla="*/ 14256 w 350251"/>
              <a:gd name="csY24" fmla="*/ 554882 h 631082"/>
              <a:gd name="csX25" fmla="*/ 14256 w 350251"/>
              <a:gd name="csY25" fmla="*/ 631082 h 631082"/>
              <a:gd name="csX26" fmla="*/ 338106 w 350251"/>
              <a:gd name="csY26" fmla="*/ 631082 h 631082"/>
              <a:gd name="csX27" fmla="*/ 338106 w 350251"/>
              <a:gd name="csY27" fmla="*/ 554882 h 631082"/>
              <a:gd name="csX28" fmla="*/ 300006 w 350251"/>
              <a:gd name="csY28" fmla="*/ 554882 h 63108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</a:cxnLst>
            <a:rect l="l" t="t" r="r" b="b"/>
            <a:pathLst>
              <a:path w="350251" h="631082">
                <a:moveTo>
                  <a:pt x="300387" y="521640"/>
                </a:moveTo>
                <a:cubicBezTo>
                  <a:pt x="312040" y="515232"/>
                  <a:pt x="319325" y="503030"/>
                  <a:pt x="319437" y="489731"/>
                </a:cubicBezTo>
                <a:lnTo>
                  <a:pt x="319437" y="486588"/>
                </a:lnTo>
                <a:cubicBezTo>
                  <a:pt x="319335" y="469520"/>
                  <a:pt x="307501" y="454767"/>
                  <a:pt x="290862" y="450965"/>
                </a:cubicBezTo>
                <a:lnTo>
                  <a:pt x="290862" y="412007"/>
                </a:lnTo>
                <a:cubicBezTo>
                  <a:pt x="315184" y="385078"/>
                  <a:pt x="321001" y="346196"/>
                  <a:pt x="305625" y="313328"/>
                </a:cubicBezTo>
                <a:cubicBezTo>
                  <a:pt x="294005" y="286849"/>
                  <a:pt x="239427" y="249606"/>
                  <a:pt x="219900" y="238843"/>
                </a:cubicBezTo>
                <a:cubicBezTo>
                  <a:pt x="211091" y="233929"/>
                  <a:pt x="204332" y="226022"/>
                  <a:pt x="200850" y="216554"/>
                </a:cubicBezTo>
                <a:cubicBezTo>
                  <a:pt x="209715" y="222914"/>
                  <a:pt x="220882" y="225169"/>
                  <a:pt x="231521" y="222746"/>
                </a:cubicBezTo>
                <a:cubicBezTo>
                  <a:pt x="248571" y="216554"/>
                  <a:pt x="263334" y="232271"/>
                  <a:pt x="267430" y="237319"/>
                </a:cubicBezTo>
                <a:cubicBezTo>
                  <a:pt x="278003" y="249035"/>
                  <a:pt x="296958" y="243224"/>
                  <a:pt x="314007" y="235985"/>
                </a:cubicBezTo>
                <a:cubicBezTo>
                  <a:pt x="340825" y="224316"/>
                  <a:pt x="355401" y="195084"/>
                  <a:pt x="348583" y="166643"/>
                </a:cubicBezTo>
                <a:cubicBezTo>
                  <a:pt x="348107" y="152070"/>
                  <a:pt x="275241" y="103493"/>
                  <a:pt x="275241" y="103493"/>
                </a:cubicBezTo>
                <a:lnTo>
                  <a:pt x="272669" y="85490"/>
                </a:lnTo>
                <a:cubicBezTo>
                  <a:pt x="272669" y="82347"/>
                  <a:pt x="261429" y="49867"/>
                  <a:pt x="212280" y="41485"/>
                </a:cubicBezTo>
                <a:cubicBezTo>
                  <a:pt x="212280" y="41485"/>
                  <a:pt x="221139" y="9671"/>
                  <a:pt x="208375" y="3385"/>
                </a:cubicBezTo>
                <a:cubicBezTo>
                  <a:pt x="181705" y="-8902"/>
                  <a:pt x="84550" y="10052"/>
                  <a:pt x="30639" y="96920"/>
                </a:cubicBezTo>
                <a:cubicBezTo>
                  <a:pt x="-9271" y="161214"/>
                  <a:pt x="-10224" y="239033"/>
                  <a:pt x="27972" y="315995"/>
                </a:cubicBezTo>
                <a:cubicBezTo>
                  <a:pt x="37497" y="335045"/>
                  <a:pt x="61881" y="373145"/>
                  <a:pt x="61881" y="401720"/>
                </a:cubicBezTo>
                <a:lnTo>
                  <a:pt x="61881" y="450965"/>
                </a:lnTo>
                <a:cubicBezTo>
                  <a:pt x="45241" y="454767"/>
                  <a:pt x="33408" y="469520"/>
                  <a:pt x="33306" y="486588"/>
                </a:cubicBezTo>
                <a:lnTo>
                  <a:pt x="33306" y="489731"/>
                </a:lnTo>
                <a:cubicBezTo>
                  <a:pt x="33417" y="503030"/>
                  <a:pt x="40702" y="515232"/>
                  <a:pt x="52356" y="521640"/>
                </a:cubicBezTo>
                <a:lnTo>
                  <a:pt x="52356" y="554882"/>
                </a:lnTo>
                <a:lnTo>
                  <a:pt x="14256" y="554882"/>
                </a:lnTo>
                <a:lnTo>
                  <a:pt x="14256" y="631082"/>
                </a:lnTo>
                <a:lnTo>
                  <a:pt x="338106" y="631082"/>
                </a:lnTo>
                <a:lnTo>
                  <a:pt x="338106" y="554882"/>
                </a:lnTo>
                <a:lnTo>
                  <a:pt x="300006" y="55488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ffectLst>
            <a:innerShdw dist="50800" dir="10800000">
              <a:schemeClr val="accent1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5D9BBCD2-E403-46E0-AD7B-E7DFD270CFAD}"/>
              </a:ext>
            </a:extLst>
          </p:cNvPr>
          <p:cNvSpPr txBox="1">
            <a:spLocks/>
          </p:cNvSpPr>
          <p:nvPr/>
        </p:nvSpPr>
        <p:spPr>
          <a:xfrm>
            <a:off x="1597084" y="1519929"/>
            <a:ext cx="634877" cy="634877"/>
          </a:xfrm>
          <a:prstGeom prst="ellipse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2"/>
              </a:gs>
            </a:gsLst>
            <a:lin ang="13500000" scaled="1"/>
            <a:tileRect/>
          </a:gradFill>
        </p:spPr>
        <p:txBody>
          <a:bodyPr anchor="ctr" anchorCtr="1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</a:p>
        </p:txBody>
      </p:sp>
      <p:sp>
        <p:nvSpPr>
          <p:cNvPr id="14" name="Free-form: Shape 36">
            <a:extLst>
              <a:ext uri="{FF2B5EF4-FFF2-40B4-BE49-F238E27FC236}">
                <a16:creationId xmlns:a16="http://schemas.microsoft.com/office/drawing/2014/main" id="{00F0863D-1DD3-474A-B816-C0C35CC3661D}"/>
              </a:ext>
            </a:extLst>
          </p:cNvPr>
          <p:cNvSpPr/>
          <p:nvPr/>
        </p:nvSpPr>
        <p:spPr>
          <a:xfrm>
            <a:off x="1774119" y="1601042"/>
            <a:ext cx="265675" cy="428896"/>
          </a:xfrm>
          <a:custGeom>
            <a:avLst/>
            <a:gdLst>
              <a:gd name="csX0" fmla="*/ 300387 w 350251"/>
              <a:gd name="csY0" fmla="*/ 521640 h 631082"/>
              <a:gd name="csX1" fmla="*/ 319437 w 350251"/>
              <a:gd name="csY1" fmla="*/ 489731 h 631082"/>
              <a:gd name="csX2" fmla="*/ 319437 w 350251"/>
              <a:gd name="csY2" fmla="*/ 486588 h 631082"/>
              <a:gd name="csX3" fmla="*/ 290862 w 350251"/>
              <a:gd name="csY3" fmla="*/ 450965 h 631082"/>
              <a:gd name="csX4" fmla="*/ 290862 w 350251"/>
              <a:gd name="csY4" fmla="*/ 412007 h 631082"/>
              <a:gd name="csX5" fmla="*/ 305625 w 350251"/>
              <a:gd name="csY5" fmla="*/ 313328 h 631082"/>
              <a:gd name="csX6" fmla="*/ 219900 w 350251"/>
              <a:gd name="csY6" fmla="*/ 238843 h 631082"/>
              <a:gd name="csX7" fmla="*/ 200850 w 350251"/>
              <a:gd name="csY7" fmla="*/ 216554 h 631082"/>
              <a:gd name="csX8" fmla="*/ 231521 w 350251"/>
              <a:gd name="csY8" fmla="*/ 222746 h 631082"/>
              <a:gd name="csX9" fmla="*/ 267430 w 350251"/>
              <a:gd name="csY9" fmla="*/ 237319 h 631082"/>
              <a:gd name="csX10" fmla="*/ 314007 w 350251"/>
              <a:gd name="csY10" fmla="*/ 235985 h 631082"/>
              <a:gd name="csX11" fmla="*/ 348583 w 350251"/>
              <a:gd name="csY11" fmla="*/ 166643 h 631082"/>
              <a:gd name="csX12" fmla="*/ 275241 w 350251"/>
              <a:gd name="csY12" fmla="*/ 103493 h 631082"/>
              <a:gd name="csX13" fmla="*/ 272669 w 350251"/>
              <a:gd name="csY13" fmla="*/ 85490 h 631082"/>
              <a:gd name="csX14" fmla="*/ 212280 w 350251"/>
              <a:gd name="csY14" fmla="*/ 41485 h 631082"/>
              <a:gd name="csX15" fmla="*/ 208375 w 350251"/>
              <a:gd name="csY15" fmla="*/ 3385 h 631082"/>
              <a:gd name="csX16" fmla="*/ 30639 w 350251"/>
              <a:gd name="csY16" fmla="*/ 96920 h 631082"/>
              <a:gd name="csX17" fmla="*/ 27972 w 350251"/>
              <a:gd name="csY17" fmla="*/ 315995 h 631082"/>
              <a:gd name="csX18" fmla="*/ 61881 w 350251"/>
              <a:gd name="csY18" fmla="*/ 401720 h 631082"/>
              <a:gd name="csX19" fmla="*/ 61881 w 350251"/>
              <a:gd name="csY19" fmla="*/ 450965 h 631082"/>
              <a:gd name="csX20" fmla="*/ 33306 w 350251"/>
              <a:gd name="csY20" fmla="*/ 486588 h 631082"/>
              <a:gd name="csX21" fmla="*/ 33306 w 350251"/>
              <a:gd name="csY21" fmla="*/ 489731 h 631082"/>
              <a:gd name="csX22" fmla="*/ 52356 w 350251"/>
              <a:gd name="csY22" fmla="*/ 521640 h 631082"/>
              <a:gd name="csX23" fmla="*/ 52356 w 350251"/>
              <a:gd name="csY23" fmla="*/ 554882 h 631082"/>
              <a:gd name="csX24" fmla="*/ 14256 w 350251"/>
              <a:gd name="csY24" fmla="*/ 554882 h 631082"/>
              <a:gd name="csX25" fmla="*/ 14256 w 350251"/>
              <a:gd name="csY25" fmla="*/ 631082 h 631082"/>
              <a:gd name="csX26" fmla="*/ 338106 w 350251"/>
              <a:gd name="csY26" fmla="*/ 631082 h 631082"/>
              <a:gd name="csX27" fmla="*/ 338106 w 350251"/>
              <a:gd name="csY27" fmla="*/ 554882 h 631082"/>
              <a:gd name="csX28" fmla="*/ 300006 w 350251"/>
              <a:gd name="csY28" fmla="*/ 554882 h 63108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</a:cxnLst>
            <a:rect l="l" t="t" r="r" b="b"/>
            <a:pathLst>
              <a:path w="350251" h="631082">
                <a:moveTo>
                  <a:pt x="300387" y="521640"/>
                </a:moveTo>
                <a:cubicBezTo>
                  <a:pt x="312040" y="515232"/>
                  <a:pt x="319325" y="503030"/>
                  <a:pt x="319437" y="489731"/>
                </a:cubicBezTo>
                <a:lnTo>
                  <a:pt x="319437" y="486588"/>
                </a:lnTo>
                <a:cubicBezTo>
                  <a:pt x="319335" y="469520"/>
                  <a:pt x="307501" y="454767"/>
                  <a:pt x="290862" y="450965"/>
                </a:cubicBezTo>
                <a:lnTo>
                  <a:pt x="290862" y="412007"/>
                </a:lnTo>
                <a:cubicBezTo>
                  <a:pt x="315184" y="385078"/>
                  <a:pt x="321001" y="346196"/>
                  <a:pt x="305625" y="313328"/>
                </a:cubicBezTo>
                <a:cubicBezTo>
                  <a:pt x="294005" y="286849"/>
                  <a:pt x="239427" y="249606"/>
                  <a:pt x="219900" y="238843"/>
                </a:cubicBezTo>
                <a:cubicBezTo>
                  <a:pt x="211091" y="233929"/>
                  <a:pt x="204332" y="226022"/>
                  <a:pt x="200850" y="216554"/>
                </a:cubicBezTo>
                <a:cubicBezTo>
                  <a:pt x="209715" y="222914"/>
                  <a:pt x="220882" y="225169"/>
                  <a:pt x="231521" y="222746"/>
                </a:cubicBezTo>
                <a:cubicBezTo>
                  <a:pt x="248571" y="216554"/>
                  <a:pt x="263334" y="232271"/>
                  <a:pt x="267430" y="237319"/>
                </a:cubicBezTo>
                <a:cubicBezTo>
                  <a:pt x="278003" y="249035"/>
                  <a:pt x="296958" y="243224"/>
                  <a:pt x="314007" y="235985"/>
                </a:cubicBezTo>
                <a:cubicBezTo>
                  <a:pt x="340825" y="224316"/>
                  <a:pt x="355401" y="195084"/>
                  <a:pt x="348583" y="166643"/>
                </a:cubicBezTo>
                <a:cubicBezTo>
                  <a:pt x="348107" y="152070"/>
                  <a:pt x="275241" y="103493"/>
                  <a:pt x="275241" y="103493"/>
                </a:cubicBezTo>
                <a:lnTo>
                  <a:pt x="272669" y="85490"/>
                </a:lnTo>
                <a:cubicBezTo>
                  <a:pt x="272669" y="82347"/>
                  <a:pt x="261429" y="49867"/>
                  <a:pt x="212280" y="41485"/>
                </a:cubicBezTo>
                <a:cubicBezTo>
                  <a:pt x="212280" y="41485"/>
                  <a:pt x="221139" y="9671"/>
                  <a:pt x="208375" y="3385"/>
                </a:cubicBezTo>
                <a:cubicBezTo>
                  <a:pt x="181705" y="-8902"/>
                  <a:pt x="84550" y="10052"/>
                  <a:pt x="30639" y="96920"/>
                </a:cubicBezTo>
                <a:cubicBezTo>
                  <a:pt x="-9271" y="161214"/>
                  <a:pt x="-10224" y="239033"/>
                  <a:pt x="27972" y="315995"/>
                </a:cubicBezTo>
                <a:cubicBezTo>
                  <a:pt x="37497" y="335045"/>
                  <a:pt x="61881" y="373145"/>
                  <a:pt x="61881" y="401720"/>
                </a:cubicBezTo>
                <a:lnTo>
                  <a:pt x="61881" y="450965"/>
                </a:lnTo>
                <a:cubicBezTo>
                  <a:pt x="45241" y="454767"/>
                  <a:pt x="33408" y="469520"/>
                  <a:pt x="33306" y="486588"/>
                </a:cubicBezTo>
                <a:lnTo>
                  <a:pt x="33306" y="489731"/>
                </a:lnTo>
                <a:cubicBezTo>
                  <a:pt x="33417" y="503030"/>
                  <a:pt x="40702" y="515232"/>
                  <a:pt x="52356" y="521640"/>
                </a:cubicBezTo>
                <a:lnTo>
                  <a:pt x="52356" y="554882"/>
                </a:lnTo>
                <a:lnTo>
                  <a:pt x="14256" y="554882"/>
                </a:lnTo>
                <a:lnTo>
                  <a:pt x="14256" y="631082"/>
                </a:lnTo>
                <a:lnTo>
                  <a:pt x="338106" y="631082"/>
                </a:lnTo>
                <a:lnTo>
                  <a:pt x="338106" y="554882"/>
                </a:lnTo>
                <a:lnTo>
                  <a:pt x="300006" y="55488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ffectLst>
            <a:innerShdw dist="50800" dir="10800000">
              <a:schemeClr val="accent1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" name="Title 6">
            <a:extLst>
              <a:ext uri="{FF2B5EF4-FFF2-40B4-BE49-F238E27FC236}">
                <a16:creationId xmlns:a16="http://schemas.microsoft.com/office/drawing/2014/main" id="{03F2BCDA-B846-776F-93A9-85E3DC6D17A4}"/>
              </a:ext>
            </a:extLst>
          </p:cNvPr>
          <p:cNvSpPr txBox="1">
            <a:spLocks/>
          </p:cNvSpPr>
          <p:nvPr/>
        </p:nvSpPr>
        <p:spPr>
          <a:xfrm>
            <a:off x="2587180" y="2696359"/>
            <a:ext cx="8700197" cy="664797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j-ea"/>
                <a:cs typeface="+mj-cs"/>
              </a:rPr>
              <a:t>Antigen expression is important, with timing of detection, technique and drug being relevant for our treatment decisions​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0EAF71BC-F462-957F-FC62-26A487C9418C}"/>
              </a:ext>
            </a:extLst>
          </p:cNvPr>
          <p:cNvSpPr txBox="1">
            <a:spLocks/>
          </p:cNvSpPr>
          <p:nvPr/>
        </p:nvSpPr>
        <p:spPr>
          <a:xfrm>
            <a:off x="2567559" y="3962015"/>
            <a:ext cx="8700188" cy="999313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j-ea"/>
                <a:cs typeface="+mj-cs"/>
              </a:rPr>
              <a:t>High-risk features provide additional challenges and these R/R DLBCL patients could benefit from effective holding therapies to access curative treatments, even in later lines</a:t>
            </a:r>
          </a:p>
        </p:txBody>
      </p:sp>
      <p:sp>
        <p:nvSpPr>
          <p:cNvPr id="8" name="Title 6">
            <a:extLst>
              <a:ext uri="{FF2B5EF4-FFF2-40B4-BE49-F238E27FC236}">
                <a16:creationId xmlns:a16="http://schemas.microsoft.com/office/drawing/2014/main" id="{5907BB13-D9AC-A6D3-C23B-1303F761A2C5}"/>
              </a:ext>
            </a:extLst>
          </p:cNvPr>
          <p:cNvSpPr txBox="1">
            <a:spLocks/>
          </p:cNvSpPr>
          <p:nvPr/>
        </p:nvSpPr>
        <p:spPr>
          <a:xfrm>
            <a:off x="2594385" y="5450815"/>
            <a:ext cx="8646544" cy="666914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j-ea"/>
                <a:cs typeface="+mj-cs"/>
              </a:rPr>
              <a:t>With more options available, complexity of decision making increases and more data are needed for informed decisions</a:t>
            </a:r>
          </a:p>
        </p:txBody>
      </p:sp>
      <p:sp>
        <p:nvSpPr>
          <p:cNvPr id="9" name="CasellaDiTesto 1">
            <a:extLst>
              <a:ext uri="{FF2B5EF4-FFF2-40B4-BE49-F238E27FC236}">
                <a16:creationId xmlns:a16="http://schemas.microsoft.com/office/drawing/2014/main" id="{31C4EC99-8DA3-1575-1632-A9C1067DB6E0}"/>
              </a:ext>
            </a:extLst>
          </p:cNvPr>
          <p:cNvSpPr txBox="1"/>
          <p:nvPr/>
        </p:nvSpPr>
        <p:spPr>
          <a:xfrm>
            <a:off x="2567559" y="1379365"/>
            <a:ext cx="8932091" cy="83099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here is growing heterogeneity of patient characteristics among R/R DLBCL patients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2DF72CA-A16D-0596-660C-ADF0CD37C7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651" y="6242050"/>
            <a:ext cx="383694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01CC8E-1CEF-6746-999E-CF29FF00B1D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82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3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43740025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0515C28-959F-62A7-DE41-2E80DD2D6EE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EBF3E0AC-7564-BB45-87A6-8EE54170B3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dirty="0">
                <a:solidFill>
                  <a:schemeClr val="accent1"/>
                </a:solidFill>
              </a:rPr>
              <a:t>Future perspectives: </a:t>
            </a:r>
            <a:br>
              <a:rPr lang="en-GB" b="1" dirty="0">
                <a:solidFill>
                  <a:schemeClr val="accent1"/>
                </a:solidFill>
              </a:rPr>
            </a:br>
            <a:r>
              <a:rPr lang="en-GB" b="1" dirty="0">
                <a:solidFill>
                  <a:schemeClr val="accent1"/>
                </a:solidFill>
              </a:rPr>
              <a:t>What’s on the horizon?</a:t>
            </a:r>
            <a:br>
              <a:rPr lang="en-GB" b="1" dirty="0">
                <a:solidFill>
                  <a:schemeClr val="accent1"/>
                </a:solidFill>
              </a:rPr>
            </a:br>
            <a:br>
              <a:rPr lang="en-GB" b="1" dirty="0">
                <a:solidFill>
                  <a:schemeClr val="accent1"/>
                </a:solidFill>
              </a:rPr>
            </a:br>
            <a:r>
              <a:rPr lang="en-GB" sz="4000" dirty="0"/>
              <a:t>Prof. Pier Luigi </a:t>
            </a:r>
            <a:r>
              <a:rPr lang="en-GB" sz="4000" dirty="0" err="1"/>
              <a:t>Zinzani</a:t>
            </a:r>
            <a:br>
              <a:rPr lang="en-GB" sz="4000" dirty="0"/>
            </a:br>
            <a:r>
              <a:rPr lang="en-GB" sz="2800" dirty="0"/>
              <a:t>Institute of </a:t>
            </a:r>
            <a:r>
              <a:rPr lang="en-GB" sz="2800" dirty="0" err="1"/>
              <a:t>Hematology</a:t>
            </a:r>
            <a:r>
              <a:rPr lang="en-GB" sz="2800" dirty="0"/>
              <a:t> «</a:t>
            </a:r>
            <a:r>
              <a:rPr lang="en-GB" sz="2800" dirty="0" err="1"/>
              <a:t>Seràgnoli</a:t>
            </a:r>
            <a:r>
              <a:rPr lang="en-GB" sz="2800" dirty="0"/>
              <a:t>»</a:t>
            </a:r>
            <a:br>
              <a:rPr lang="en-GB" sz="2800" dirty="0"/>
            </a:br>
            <a:r>
              <a:rPr lang="en-GB" sz="2800" dirty="0"/>
              <a:t>University of Bologna</a:t>
            </a:r>
          </a:p>
        </p:txBody>
      </p:sp>
    </p:spTree>
    <p:extLst>
      <p:ext uri="{BB962C8B-B14F-4D97-AF65-F5344CB8AC3E}">
        <p14:creationId xmlns:p14="http://schemas.microsoft.com/office/powerpoint/2010/main" val="1254596919"/>
      </p:ext>
    </p:extLst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FE2F285-53AD-A810-4275-60D0B878AB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58EFEA1E-A809-C194-9E6A-9538586AC9EC}"/>
              </a:ext>
            </a:extLst>
          </p:cNvPr>
          <p:cNvSpPr/>
          <p:nvPr/>
        </p:nvSpPr>
        <p:spPr>
          <a:xfrm>
            <a:off x="4899046" y="1831721"/>
            <a:ext cx="6625960" cy="4291333"/>
          </a:xfrm>
          <a:prstGeom prst="roundRect">
            <a:avLst>
              <a:gd name="adj" fmla="val 6754"/>
            </a:avLst>
          </a:prstGeom>
          <a:solidFill>
            <a:schemeClr val="bg1"/>
          </a:solidFill>
          <a:ln>
            <a:solidFill>
              <a:srgbClr val="2D5E7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" name="Parallelogram 8">
            <a:extLst>
              <a:ext uri="{FF2B5EF4-FFF2-40B4-BE49-F238E27FC236}">
                <a16:creationId xmlns:a16="http://schemas.microsoft.com/office/drawing/2014/main" id="{A73EA266-1DF1-8D27-34EC-3B83031349EB}"/>
              </a:ext>
            </a:extLst>
          </p:cNvPr>
          <p:cNvSpPr/>
          <p:nvPr/>
        </p:nvSpPr>
        <p:spPr>
          <a:xfrm flipV="1">
            <a:off x="4026776" y="3408376"/>
            <a:ext cx="376282" cy="339358"/>
          </a:xfrm>
          <a:prstGeom prst="parallelogram">
            <a:avLst>
              <a:gd name="adj" fmla="val 52393"/>
            </a:avLst>
          </a:prstGeom>
          <a:solidFill>
            <a:srgbClr val="2C5E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" name="Parallelogram 9">
            <a:extLst>
              <a:ext uri="{FF2B5EF4-FFF2-40B4-BE49-F238E27FC236}">
                <a16:creationId xmlns:a16="http://schemas.microsoft.com/office/drawing/2014/main" id="{B885BEF5-A7EE-3244-6695-750C686594C0}"/>
              </a:ext>
            </a:extLst>
          </p:cNvPr>
          <p:cNvSpPr/>
          <p:nvPr/>
        </p:nvSpPr>
        <p:spPr>
          <a:xfrm>
            <a:off x="4026776" y="3743096"/>
            <a:ext cx="376282" cy="329853"/>
          </a:xfrm>
          <a:prstGeom prst="parallelogram">
            <a:avLst>
              <a:gd name="adj" fmla="val 52393"/>
            </a:avLst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2A85D29-FFFE-CCA8-4E08-9D2B8ED9F4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3200" dirty="0">
                <a:latin typeface="+mn-lt"/>
              </a:rPr>
              <a:t>Combinations are the way of the future, for </a:t>
            </a:r>
            <a:r>
              <a:rPr lang="en-GB" sz="3200">
                <a:latin typeface="+mn-lt"/>
              </a:rPr>
              <a:t>potentially personalised therapy</a:t>
            </a:r>
            <a:r>
              <a:rPr lang="en-GB" sz="3200" baseline="30000">
                <a:latin typeface="+mn-lt"/>
              </a:rPr>
              <a:t>1,</a:t>
            </a:r>
            <a:r>
              <a:rPr lang="en-GB" sz="3200">
                <a:latin typeface="+mn-lt"/>
              </a:rPr>
              <a:t>*</a:t>
            </a:r>
            <a:endParaRPr lang="en-GB" sz="3200" dirty="0">
              <a:latin typeface="+mn-lt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630C663-6F9D-740F-6985-B4B788DBB92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70645" y="6243639"/>
            <a:ext cx="10440000" cy="476312"/>
          </a:xfrm>
        </p:spPr>
        <p:txBody>
          <a:bodyPr/>
          <a:lstStyle/>
          <a:p>
            <a:r>
              <a:rPr lang="en-GB" dirty="0"/>
              <a:t>*Subject to regulatory approval.</a:t>
            </a:r>
            <a:br>
              <a:rPr lang="en-GB"/>
            </a:br>
            <a:r>
              <a:rPr lang="en-GB" dirty="0"/>
              <a:t>ADC, antibody-drug conjugate; </a:t>
            </a:r>
            <a:r>
              <a:rPr lang="en-GB" dirty="0" err="1"/>
              <a:t>BsAb</a:t>
            </a:r>
            <a:r>
              <a:rPr lang="en-GB" dirty="0"/>
              <a:t>, bispecific antibody; BTKi, Bruton tyrosine kinase inhibitor; CAR-T, chimeric antigen receptor T-cell; CIT, chemo-immunotherapy; DLBCL, diffuse large B-cell lymphoma; </a:t>
            </a:r>
            <a:r>
              <a:rPr lang="en-GB" dirty="0" err="1"/>
              <a:t>IMiDs</a:t>
            </a:r>
            <a:r>
              <a:rPr lang="en-GB" dirty="0"/>
              <a:t>, immunomodulatory drugs; </a:t>
            </a:r>
            <a:r>
              <a:rPr lang="en-GB" dirty="0" err="1"/>
              <a:t>mAbs</a:t>
            </a:r>
            <a:r>
              <a:rPr lang="en-GB" dirty="0"/>
              <a:t>, monoclonal antibodies; R/R, relapsed/refractory. </a:t>
            </a:r>
            <a:r>
              <a:rPr lang="en-GB" b="1" dirty="0"/>
              <a:t>1.</a:t>
            </a:r>
            <a:r>
              <a:rPr lang="en-GB" dirty="0"/>
              <a:t> Brooks &amp; Caimi. </a:t>
            </a:r>
            <a:r>
              <a:rPr lang="en-GB" i="1" dirty="0"/>
              <a:t>Blood Rev </a:t>
            </a:r>
            <a:r>
              <a:rPr lang="en-GB" dirty="0"/>
              <a:t>2024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E813A53-5078-DC8D-BBC2-9B9C21A825CB}"/>
              </a:ext>
            </a:extLst>
          </p:cNvPr>
          <p:cNvSpPr txBox="1"/>
          <p:nvPr/>
        </p:nvSpPr>
        <p:spPr>
          <a:xfrm>
            <a:off x="5065763" y="2441905"/>
            <a:ext cx="6459243" cy="2554545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dd </a:t>
            </a: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ytotoxicity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to the malignant B-cell (ADCs)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Engage 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he </a:t>
            </a: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immune system 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(T-cell engaging 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herapies: CAR-T, bispecific antibodies)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arget specific </a:t>
            </a: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molecular profiles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/pathways (BTKi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, BCL-2 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inhibitors)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isrupt the </a:t>
            </a: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umour immune environment 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(</a:t>
            </a:r>
            <a:r>
              <a:rPr kumimoji="0" lang="en-GB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IMiDs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)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educe toxicity of conventional 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hemo-immunotherapy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A75EF7CE-862D-FF9F-3360-88E9B89BEEA1}"/>
              </a:ext>
            </a:extLst>
          </p:cNvPr>
          <p:cNvSpPr/>
          <p:nvPr/>
        </p:nvSpPr>
        <p:spPr>
          <a:xfrm>
            <a:off x="5219422" y="1535461"/>
            <a:ext cx="5930071" cy="639159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Each combination has its 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ationale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5126D43-9DD9-B6CD-7ADE-8D954134D256}"/>
              </a:ext>
            </a:extLst>
          </p:cNvPr>
          <p:cNvSpPr txBox="1"/>
          <p:nvPr/>
        </p:nvSpPr>
        <p:spPr>
          <a:xfrm>
            <a:off x="4899046" y="5207000"/>
            <a:ext cx="6625959" cy="969729"/>
          </a:xfrm>
          <a:prstGeom prst="roundRect">
            <a:avLst>
              <a:gd name="adj" fmla="val 25141"/>
            </a:avLst>
          </a:prstGeom>
          <a:solidFill>
            <a:schemeClr val="accent3"/>
          </a:solidFill>
          <a:ln>
            <a:solidFill>
              <a:srgbClr val="2D5E77"/>
            </a:solidFill>
          </a:ln>
        </p:spPr>
        <p:txBody>
          <a:bodyPr wrap="square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Calibri"/>
                <a:cs typeface="Calibri"/>
              </a:rPr>
              <a:t>Clear biomarkers to fully tailor clinical decisions </a:t>
            </a:r>
            <a:b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Calibri"/>
                <a:cs typeface="Calibri"/>
              </a:rPr>
            </a:b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Calibri"/>
                <a:cs typeface="Calibri"/>
              </a:rPr>
              <a:t>are still lacking</a:t>
            </a:r>
          </a:p>
        </p:txBody>
      </p:sp>
      <p:sp>
        <p:nvSpPr>
          <p:cNvPr id="7" name="Block Arc 6">
            <a:extLst>
              <a:ext uri="{FF2B5EF4-FFF2-40B4-BE49-F238E27FC236}">
                <a16:creationId xmlns:a16="http://schemas.microsoft.com/office/drawing/2014/main" id="{5CD74181-D229-8E7D-3846-4CDA25766DCC}"/>
              </a:ext>
            </a:extLst>
          </p:cNvPr>
          <p:cNvSpPr/>
          <p:nvPr/>
        </p:nvSpPr>
        <p:spPr>
          <a:xfrm rot="5400000">
            <a:off x="-1441153" y="1114104"/>
            <a:ext cx="4197169" cy="5186052"/>
          </a:xfrm>
          <a:prstGeom prst="blockArc">
            <a:avLst>
              <a:gd name="adj1" fmla="val 10800000"/>
              <a:gd name="adj2" fmla="val 60582"/>
              <a:gd name="adj3" fmla="val 1411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0C5C3BFE-1867-4206-E0A3-BEDEE945C9DA}"/>
              </a:ext>
            </a:extLst>
          </p:cNvPr>
          <p:cNvSpPr/>
          <p:nvPr/>
        </p:nvSpPr>
        <p:spPr>
          <a:xfrm>
            <a:off x="366826" y="2890584"/>
            <a:ext cx="1623218" cy="1655685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 diverse toolkit</a:t>
            </a:r>
          </a:p>
        </p:txBody>
      </p:sp>
      <p:sp>
        <p:nvSpPr>
          <p:cNvPr id="88" name="Flowchart: Connector 87">
            <a:extLst>
              <a:ext uri="{FF2B5EF4-FFF2-40B4-BE49-F238E27FC236}">
                <a16:creationId xmlns:a16="http://schemas.microsoft.com/office/drawing/2014/main" id="{797D2B89-72BC-0DA0-947D-F362565EF3DD}"/>
              </a:ext>
            </a:extLst>
          </p:cNvPr>
          <p:cNvSpPr/>
          <p:nvPr/>
        </p:nvSpPr>
        <p:spPr>
          <a:xfrm>
            <a:off x="681185" y="1298926"/>
            <a:ext cx="553212" cy="553212"/>
          </a:xfrm>
          <a:prstGeom prst="flowChartConnector">
            <a:avLst/>
          </a:prstGeom>
          <a:gradFill>
            <a:gsLst>
              <a:gs pos="0">
                <a:srgbClr val="A1A09C"/>
              </a:gs>
              <a:gs pos="100000">
                <a:srgbClr val="D8D7D6"/>
              </a:gs>
            </a:gsLst>
            <a:lin ang="5400000" scaled="1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13" name="Rectangle: Rounded Corners 412">
            <a:extLst>
              <a:ext uri="{FF2B5EF4-FFF2-40B4-BE49-F238E27FC236}">
                <a16:creationId xmlns:a16="http://schemas.microsoft.com/office/drawing/2014/main" id="{6FEC2BB8-76D5-B0A1-60D2-68E9BA3F124E}"/>
              </a:ext>
            </a:extLst>
          </p:cNvPr>
          <p:cNvSpPr/>
          <p:nvPr/>
        </p:nvSpPr>
        <p:spPr>
          <a:xfrm rot="4668654">
            <a:off x="1029855" y="1550134"/>
            <a:ext cx="35074" cy="9942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2700">
            <a:noFill/>
          </a:ln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14" name="Freeform: Shape 340">
            <a:extLst>
              <a:ext uri="{FF2B5EF4-FFF2-40B4-BE49-F238E27FC236}">
                <a16:creationId xmlns:a16="http://schemas.microsoft.com/office/drawing/2014/main" id="{D0A17FC1-23B6-42BA-5C71-3FC3080A5E40}"/>
              </a:ext>
            </a:extLst>
          </p:cNvPr>
          <p:cNvSpPr/>
          <p:nvPr/>
        </p:nvSpPr>
        <p:spPr>
          <a:xfrm rot="4684868">
            <a:off x="923332" y="1497918"/>
            <a:ext cx="143294" cy="240674"/>
          </a:xfrm>
          <a:custGeom>
            <a:avLst/>
            <a:gdLst>
              <a:gd name="connsiteX0" fmla="*/ 61376 w 1712259"/>
              <a:gd name="connsiteY0" fmla="*/ 61376 h 2875858"/>
              <a:gd name="connsiteX1" fmla="*/ 209550 w 1712259"/>
              <a:gd name="connsiteY1" fmla="*/ 0 h 2875858"/>
              <a:gd name="connsiteX2" fmla="*/ 419100 w 1712259"/>
              <a:gd name="connsiteY2" fmla="*/ 209550 h 2875858"/>
              <a:gd name="connsiteX3" fmla="*/ 419100 w 1712259"/>
              <a:gd name="connsiteY3" fmla="*/ 1286350 h 2875858"/>
              <a:gd name="connsiteX4" fmla="*/ 1650884 w 1712259"/>
              <a:gd name="connsiteY4" fmla="*/ 2518134 h 2875858"/>
              <a:gd name="connsiteX5" fmla="*/ 1650884 w 1712259"/>
              <a:gd name="connsiteY5" fmla="*/ 2814482 h 2875858"/>
              <a:gd name="connsiteX6" fmla="*/ 1354535 w 1712259"/>
              <a:gd name="connsiteY6" fmla="*/ 2814482 h 2875858"/>
              <a:gd name="connsiteX7" fmla="*/ 68814 w 1712259"/>
              <a:gd name="connsiteY7" fmla="*/ 1528761 h 2875858"/>
              <a:gd name="connsiteX8" fmla="*/ 61376 w 1712259"/>
              <a:gd name="connsiteY8" fmla="*/ 1522624 h 2875858"/>
              <a:gd name="connsiteX9" fmla="*/ 0 w 1712259"/>
              <a:gd name="connsiteY9" fmla="*/ 1374450 h 2875858"/>
              <a:gd name="connsiteX10" fmla="*/ 0 w 1712259"/>
              <a:gd name="connsiteY10" fmla="*/ 209550 h 2875858"/>
              <a:gd name="connsiteX11" fmla="*/ 61376 w 1712259"/>
              <a:gd name="connsiteY11" fmla="*/ 61376 h 2875858"/>
              <a:gd name="connsiteX0" fmla="*/ 61376 w 1712259"/>
              <a:gd name="connsiteY0" fmla="*/ 61376 h 2875858"/>
              <a:gd name="connsiteX1" fmla="*/ 209550 w 1712259"/>
              <a:gd name="connsiteY1" fmla="*/ 0 h 2875858"/>
              <a:gd name="connsiteX2" fmla="*/ 419100 w 1712259"/>
              <a:gd name="connsiteY2" fmla="*/ 209550 h 2875858"/>
              <a:gd name="connsiteX3" fmla="*/ 419100 w 1712259"/>
              <a:gd name="connsiteY3" fmla="*/ 1286350 h 2875858"/>
              <a:gd name="connsiteX4" fmla="*/ 1650884 w 1712259"/>
              <a:gd name="connsiteY4" fmla="*/ 2518134 h 2875858"/>
              <a:gd name="connsiteX5" fmla="*/ 1650884 w 1712259"/>
              <a:gd name="connsiteY5" fmla="*/ 2814482 h 2875858"/>
              <a:gd name="connsiteX6" fmla="*/ 1354535 w 1712259"/>
              <a:gd name="connsiteY6" fmla="*/ 2814482 h 2875858"/>
              <a:gd name="connsiteX7" fmla="*/ 68814 w 1712259"/>
              <a:gd name="connsiteY7" fmla="*/ 1528761 h 2875858"/>
              <a:gd name="connsiteX8" fmla="*/ 0 w 1712259"/>
              <a:gd name="connsiteY8" fmla="*/ 1374450 h 2875858"/>
              <a:gd name="connsiteX9" fmla="*/ 0 w 1712259"/>
              <a:gd name="connsiteY9" fmla="*/ 209550 h 2875858"/>
              <a:gd name="connsiteX10" fmla="*/ 61376 w 1712259"/>
              <a:gd name="connsiteY10" fmla="*/ 61376 h 2875858"/>
              <a:gd name="connsiteX0" fmla="*/ 61376 w 1712259"/>
              <a:gd name="connsiteY0" fmla="*/ 61376 h 2875858"/>
              <a:gd name="connsiteX1" fmla="*/ 209550 w 1712259"/>
              <a:gd name="connsiteY1" fmla="*/ 0 h 2875858"/>
              <a:gd name="connsiteX2" fmla="*/ 419100 w 1712259"/>
              <a:gd name="connsiteY2" fmla="*/ 209550 h 2875858"/>
              <a:gd name="connsiteX3" fmla="*/ 419100 w 1712259"/>
              <a:gd name="connsiteY3" fmla="*/ 1286350 h 2875858"/>
              <a:gd name="connsiteX4" fmla="*/ 1650884 w 1712259"/>
              <a:gd name="connsiteY4" fmla="*/ 2518134 h 2875858"/>
              <a:gd name="connsiteX5" fmla="*/ 1650884 w 1712259"/>
              <a:gd name="connsiteY5" fmla="*/ 2814482 h 2875858"/>
              <a:gd name="connsiteX6" fmla="*/ 1354535 w 1712259"/>
              <a:gd name="connsiteY6" fmla="*/ 2814482 h 2875858"/>
              <a:gd name="connsiteX7" fmla="*/ 16616 w 1712259"/>
              <a:gd name="connsiteY7" fmla="*/ 1476564 h 2875858"/>
              <a:gd name="connsiteX8" fmla="*/ 0 w 1712259"/>
              <a:gd name="connsiteY8" fmla="*/ 1374450 h 2875858"/>
              <a:gd name="connsiteX9" fmla="*/ 0 w 1712259"/>
              <a:gd name="connsiteY9" fmla="*/ 209550 h 2875858"/>
              <a:gd name="connsiteX10" fmla="*/ 61376 w 1712259"/>
              <a:gd name="connsiteY10" fmla="*/ 61376 h 2875858"/>
              <a:gd name="connsiteX0" fmla="*/ 61376 w 1712259"/>
              <a:gd name="connsiteY0" fmla="*/ 61376 h 2875858"/>
              <a:gd name="connsiteX1" fmla="*/ 209550 w 1712259"/>
              <a:gd name="connsiteY1" fmla="*/ 0 h 2875858"/>
              <a:gd name="connsiteX2" fmla="*/ 419100 w 1712259"/>
              <a:gd name="connsiteY2" fmla="*/ 209550 h 2875858"/>
              <a:gd name="connsiteX3" fmla="*/ 419100 w 1712259"/>
              <a:gd name="connsiteY3" fmla="*/ 1286350 h 2875858"/>
              <a:gd name="connsiteX4" fmla="*/ 1650884 w 1712259"/>
              <a:gd name="connsiteY4" fmla="*/ 2518134 h 2875858"/>
              <a:gd name="connsiteX5" fmla="*/ 1650884 w 1712259"/>
              <a:gd name="connsiteY5" fmla="*/ 2814482 h 2875858"/>
              <a:gd name="connsiteX6" fmla="*/ 1354535 w 1712259"/>
              <a:gd name="connsiteY6" fmla="*/ 2814482 h 2875858"/>
              <a:gd name="connsiteX7" fmla="*/ 3146 w 1712259"/>
              <a:gd name="connsiteY7" fmla="*/ 1463094 h 2875858"/>
              <a:gd name="connsiteX8" fmla="*/ 0 w 1712259"/>
              <a:gd name="connsiteY8" fmla="*/ 1374450 h 2875858"/>
              <a:gd name="connsiteX9" fmla="*/ 0 w 1712259"/>
              <a:gd name="connsiteY9" fmla="*/ 209550 h 2875858"/>
              <a:gd name="connsiteX10" fmla="*/ 61376 w 1712259"/>
              <a:gd name="connsiteY10" fmla="*/ 61376 h 2875858"/>
              <a:gd name="connsiteX0" fmla="*/ 61376 w 1712259"/>
              <a:gd name="connsiteY0" fmla="*/ 61376 h 2875858"/>
              <a:gd name="connsiteX1" fmla="*/ 209550 w 1712259"/>
              <a:gd name="connsiteY1" fmla="*/ 0 h 2875858"/>
              <a:gd name="connsiteX2" fmla="*/ 419100 w 1712259"/>
              <a:gd name="connsiteY2" fmla="*/ 209550 h 2875858"/>
              <a:gd name="connsiteX3" fmla="*/ 419100 w 1712259"/>
              <a:gd name="connsiteY3" fmla="*/ 1286350 h 2875858"/>
              <a:gd name="connsiteX4" fmla="*/ 1650884 w 1712259"/>
              <a:gd name="connsiteY4" fmla="*/ 2518134 h 2875858"/>
              <a:gd name="connsiteX5" fmla="*/ 1650884 w 1712259"/>
              <a:gd name="connsiteY5" fmla="*/ 2814482 h 2875858"/>
              <a:gd name="connsiteX6" fmla="*/ 1354535 w 1712259"/>
              <a:gd name="connsiteY6" fmla="*/ 2814482 h 2875858"/>
              <a:gd name="connsiteX7" fmla="*/ 3146 w 1712259"/>
              <a:gd name="connsiteY7" fmla="*/ 1463094 h 2875858"/>
              <a:gd name="connsiteX8" fmla="*/ 0 w 1712259"/>
              <a:gd name="connsiteY8" fmla="*/ 209550 h 2875858"/>
              <a:gd name="connsiteX9" fmla="*/ 61376 w 1712259"/>
              <a:gd name="connsiteY9" fmla="*/ 61376 h 28758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712259" h="2875858">
                <a:moveTo>
                  <a:pt x="61376" y="61376"/>
                </a:moveTo>
                <a:cubicBezTo>
                  <a:pt x="99297" y="23455"/>
                  <a:pt x="151685" y="0"/>
                  <a:pt x="209550" y="0"/>
                </a:cubicBezTo>
                <a:cubicBezTo>
                  <a:pt x="325281" y="0"/>
                  <a:pt x="419100" y="93819"/>
                  <a:pt x="419100" y="209550"/>
                </a:cubicBezTo>
                <a:lnTo>
                  <a:pt x="419100" y="1286350"/>
                </a:lnTo>
                <a:lnTo>
                  <a:pt x="1650884" y="2518134"/>
                </a:lnTo>
                <a:cubicBezTo>
                  <a:pt x="1732718" y="2599968"/>
                  <a:pt x="1732718" y="2732648"/>
                  <a:pt x="1650884" y="2814482"/>
                </a:cubicBezTo>
                <a:cubicBezTo>
                  <a:pt x="1569050" y="2896317"/>
                  <a:pt x="1436370" y="2896317"/>
                  <a:pt x="1354535" y="2814482"/>
                </a:cubicBezTo>
                <a:lnTo>
                  <a:pt x="3146" y="1463094"/>
                </a:lnTo>
                <a:cubicBezTo>
                  <a:pt x="2097" y="1045246"/>
                  <a:pt x="1049" y="627398"/>
                  <a:pt x="0" y="209550"/>
                </a:cubicBezTo>
                <a:cubicBezTo>
                  <a:pt x="0" y="151685"/>
                  <a:pt x="23455" y="99297"/>
                  <a:pt x="61376" y="61376"/>
                </a:cubicBez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11" name="Rectangle: Rounded Corners 410">
            <a:extLst>
              <a:ext uri="{FF2B5EF4-FFF2-40B4-BE49-F238E27FC236}">
                <a16:creationId xmlns:a16="http://schemas.microsoft.com/office/drawing/2014/main" id="{656C0970-60BE-641A-25E2-BF3414DAD129}"/>
              </a:ext>
            </a:extLst>
          </p:cNvPr>
          <p:cNvSpPr/>
          <p:nvPr/>
        </p:nvSpPr>
        <p:spPr>
          <a:xfrm rot="20901082" flipH="1">
            <a:off x="875550" y="1449617"/>
            <a:ext cx="35074" cy="9942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2700">
            <a:noFill/>
          </a:ln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12" name="Freeform: Shape 338">
            <a:extLst>
              <a:ext uri="{FF2B5EF4-FFF2-40B4-BE49-F238E27FC236}">
                <a16:creationId xmlns:a16="http://schemas.microsoft.com/office/drawing/2014/main" id="{2E932E10-AC9B-FE1A-E663-48FA9568458A}"/>
              </a:ext>
            </a:extLst>
          </p:cNvPr>
          <p:cNvSpPr/>
          <p:nvPr/>
        </p:nvSpPr>
        <p:spPr>
          <a:xfrm rot="20884868" flipH="1">
            <a:off x="825783" y="1434374"/>
            <a:ext cx="143294" cy="240674"/>
          </a:xfrm>
          <a:custGeom>
            <a:avLst/>
            <a:gdLst>
              <a:gd name="connsiteX0" fmla="*/ 61376 w 1712259"/>
              <a:gd name="connsiteY0" fmla="*/ 61376 h 2875858"/>
              <a:gd name="connsiteX1" fmla="*/ 209550 w 1712259"/>
              <a:gd name="connsiteY1" fmla="*/ 0 h 2875858"/>
              <a:gd name="connsiteX2" fmla="*/ 419100 w 1712259"/>
              <a:gd name="connsiteY2" fmla="*/ 209550 h 2875858"/>
              <a:gd name="connsiteX3" fmla="*/ 419100 w 1712259"/>
              <a:gd name="connsiteY3" fmla="*/ 1286350 h 2875858"/>
              <a:gd name="connsiteX4" fmla="*/ 1650884 w 1712259"/>
              <a:gd name="connsiteY4" fmla="*/ 2518134 h 2875858"/>
              <a:gd name="connsiteX5" fmla="*/ 1650884 w 1712259"/>
              <a:gd name="connsiteY5" fmla="*/ 2814482 h 2875858"/>
              <a:gd name="connsiteX6" fmla="*/ 1354535 w 1712259"/>
              <a:gd name="connsiteY6" fmla="*/ 2814482 h 2875858"/>
              <a:gd name="connsiteX7" fmla="*/ 68814 w 1712259"/>
              <a:gd name="connsiteY7" fmla="*/ 1528761 h 2875858"/>
              <a:gd name="connsiteX8" fmla="*/ 61376 w 1712259"/>
              <a:gd name="connsiteY8" fmla="*/ 1522624 h 2875858"/>
              <a:gd name="connsiteX9" fmla="*/ 0 w 1712259"/>
              <a:gd name="connsiteY9" fmla="*/ 1374450 h 2875858"/>
              <a:gd name="connsiteX10" fmla="*/ 0 w 1712259"/>
              <a:gd name="connsiteY10" fmla="*/ 209550 h 2875858"/>
              <a:gd name="connsiteX11" fmla="*/ 61376 w 1712259"/>
              <a:gd name="connsiteY11" fmla="*/ 61376 h 2875858"/>
              <a:gd name="connsiteX0" fmla="*/ 61376 w 1712259"/>
              <a:gd name="connsiteY0" fmla="*/ 61376 h 2875858"/>
              <a:gd name="connsiteX1" fmla="*/ 209550 w 1712259"/>
              <a:gd name="connsiteY1" fmla="*/ 0 h 2875858"/>
              <a:gd name="connsiteX2" fmla="*/ 419100 w 1712259"/>
              <a:gd name="connsiteY2" fmla="*/ 209550 h 2875858"/>
              <a:gd name="connsiteX3" fmla="*/ 419100 w 1712259"/>
              <a:gd name="connsiteY3" fmla="*/ 1286350 h 2875858"/>
              <a:gd name="connsiteX4" fmla="*/ 1650884 w 1712259"/>
              <a:gd name="connsiteY4" fmla="*/ 2518134 h 2875858"/>
              <a:gd name="connsiteX5" fmla="*/ 1650884 w 1712259"/>
              <a:gd name="connsiteY5" fmla="*/ 2814482 h 2875858"/>
              <a:gd name="connsiteX6" fmla="*/ 1354535 w 1712259"/>
              <a:gd name="connsiteY6" fmla="*/ 2814482 h 2875858"/>
              <a:gd name="connsiteX7" fmla="*/ 68814 w 1712259"/>
              <a:gd name="connsiteY7" fmla="*/ 1528761 h 2875858"/>
              <a:gd name="connsiteX8" fmla="*/ 0 w 1712259"/>
              <a:gd name="connsiteY8" fmla="*/ 1374450 h 2875858"/>
              <a:gd name="connsiteX9" fmla="*/ 0 w 1712259"/>
              <a:gd name="connsiteY9" fmla="*/ 209550 h 2875858"/>
              <a:gd name="connsiteX10" fmla="*/ 61376 w 1712259"/>
              <a:gd name="connsiteY10" fmla="*/ 61376 h 2875858"/>
              <a:gd name="connsiteX0" fmla="*/ 61376 w 1712259"/>
              <a:gd name="connsiteY0" fmla="*/ 61376 h 2875858"/>
              <a:gd name="connsiteX1" fmla="*/ 209550 w 1712259"/>
              <a:gd name="connsiteY1" fmla="*/ 0 h 2875858"/>
              <a:gd name="connsiteX2" fmla="*/ 419100 w 1712259"/>
              <a:gd name="connsiteY2" fmla="*/ 209550 h 2875858"/>
              <a:gd name="connsiteX3" fmla="*/ 419100 w 1712259"/>
              <a:gd name="connsiteY3" fmla="*/ 1286350 h 2875858"/>
              <a:gd name="connsiteX4" fmla="*/ 1650884 w 1712259"/>
              <a:gd name="connsiteY4" fmla="*/ 2518134 h 2875858"/>
              <a:gd name="connsiteX5" fmla="*/ 1650884 w 1712259"/>
              <a:gd name="connsiteY5" fmla="*/ 2814482 h 2875858"/>
              <a:gd name="connsiteX6" fmla="*/ 1354535 w 1712259"/>
              <a:gd name="connsiteY6" fmla="*/ 2814482 h 2875858"/>
              <a:gd name="connsiteX7" fmla="*/ 16616 w 1712259"/>
              <a:gd name="connsiteY7" fmla="*/ 1476564 h 2875858"/>
              <a:gd name="connsiteX8" fmla="*/ 0 w 1712259"/>
              <a:gd name="connsiteY8" fmla="*/ 1374450 h 2875858"/>
              <a:gd name="connsiteX9" fmla="*/ 0 w 1712259"/>
              <a:gd name="connsiteY9" fmla="*/ 209550 h 2875858"/>
              <a:gd name="connsiteX10" fmla="*/ 61376 w 1712259"/>
              <a:gd name="connsiteY10" fmla="*/ 61376 h 2875858"/>
              <a:gd name="connsiteX0" fmla="*/ 61376 w 1712259"/>
              <a:gd name="connsiteY0" fmla="*/ 61376 h 2875858"/>
              <a:gd name="connsiteX1" fmla="*/ 209550 w 1712259"/>
              <a:gd name="connsiteY1" fmla="*/ 0 h 2875858"/>
              <a:gd name="connsiteX2" fmla="*/ 419100 w 1712259"/>
              <a:gd name="connsiteY2" fmla="*/ 209550 h 2875858"/>
              <a:gd name="connsiteX3" fmla="*/ 419100 w 1712259"/>
              <a:gd name="connsiteY3" fmla="*/ 1286350 h 2875858"/>
              <a:gd name="connsiteX4" fmla="*/ 1650884 w 1712259"/>
              <a:gd name="connsiteY4" fmla="*/ 2518134 h 2875858"/>
              <a:gd name="connsiteX5" fmla="*/ 1650884 w 1712259"/>
              <a:gd name="connsiteY5" fmla="*/ 2814482 h 2875858"/>
              <a:gd name="connsiteX6" fmla="*/ 1354535 w 1712259"/>
              <a:gd name="connsiteY6" fmla="*/ 2814482 h 2875858"/>
              <a:gd name="connsiteX7" fmla="*/ 3146 w 1712259"/>
              <a:gd name="connsiteY7" fmla="*/ 1463094 h 2875858"/>
              <a:gd name="connsiteX8" fmla="*/ 0 w 1712259"/>
              <a:gd name="connsiteY8" fmla="*/ 1374450 h 2875858"/>
              <a:gd name="connsiteX9" fmla="*/ 0 w 1712259"/>
              <a:gd name="connsiteY9" fmla="*/ 209550 h 2875858"/>
              <a:gd name="connsiteX10" fmla="*/ 61376 w 1712259"/>
              <a:gd name="connsiteY10" fmla="*/ 61376 h 2875858"/>
              <a:gd name="connsiteX0" fmla="*/ 61376 w 1712259"/>
              <a:gd name="connsiteY0" fmla="*/ 61376 h 2875858"/>
              <a:gd name="connsiteX1" fmla="*/ 209550 w 1712259"/>
              <a:gd name="connsiteY1" fmla="*/ 0 h 2875858"/>
              <a:gd name="connsiteX2" fmla="*/ 419100 w 1712259"/>
              <a:gd name="connsiteY2" fmla="*/ 209550 h 2875858"/>
              <a:gd name="connsiteX3" fmla="*/ 419100 w 1712259"/>
              <a:gd name="connsiteY3" fmla="*/ 1286350 h 2875858"/>
              <a:gd name="connsiteX4" fmla="*/ 1650884 w 1712259"/>
              <a:gd name="connsiteY4" fmla="*/ 2518134 h 2875858"/>
              <a:gd name="connsiteX5" fmla="*/ 1650884 w 1712259"/>
              <a:gd name="connsiteY5" fmla="*/ 2814482 h 2875858"/>
              <a:gd name="connsiteX6" fmla="*/ 1354535 w 1712259"/>
              <a:gd name="connsiteY6" fmla="*/ 2814482 h 2875858"/>
              <a:gd name="connsiteX7" fmla="*/ 3146 w 1712259"/>
              <a:gd name="connsiteY7" fmla="*/ 1463094 h 2875858"/>
              <a:gd name="connsiteX8" fmla="*/ 0 w 1712259"/>
              <a:gd name="connsiteY8" fmla="*/ 209550 h 2875858"/>
              <a:gd name="connsiteX9" fmla="*/ 61376 w 1712259"/>
              <a:gd name="connsiteY9" fmla="*/ 61376 h 28758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712259" h="2875858">
                <a:moveTo>
                  <a:pt x="61376" y="61376"/>
                </a:moveTo>
                <a:cubicBezTo>
                  <a:pt x="99297" y="23455"/>
                  <a:pt x="151685" y="0"/>
                  <a:pt x="209550" y="0"/>
                </a:cubicBezTo>
                <a:cubicBezTo>
                  <a:pt x="325281" y="0"/>
                  <a:pt x="419100" y="93819"/>
                  <a:pt x="419100" y="209550"/>
                </a:cubicBezTo>
                <a:lnTo>
                  <a:pt x="419100" y="1286350"/>
                </a:lnTo>
                <a:lnTo>
                  <a:pt x="1650884" y="2518134"/>
                </a:lnTo>
                <a:cubicBezTo>
                  <a:pt x="1732718" y="2599968"/>
                  <a:pt x="1732718" y="2732648"/>
                  <a:pt x="1650884" y="2814482"/>
                </a:cubicBezTo>
                <a:cubicBezTo>
                  <a:pt x="1569050" y="2896317"/>
                  <a:pt x="1436370" y="2896317"/>
                  <a:pt x="1354535" y="2814482"/>
                </a:cubicBezTo>
                <a:lnTo>
                  <a:pt x="3146" y="1463094"/>
                </a:lnTo>
                <a:cubicBezTo>
                  <a:pt x="2097" y="1045246"/>
                  <a:pt x="1049" y="627398"/>
                  <a:pt x="0" y="209550"/>
                </a:cubicBezTo>
                <a:cubicBezTo>
                  <a:pt x="0" y="151685"/>
                  <a:pt x="23455" y="99297"/>
                  <a:pt x="61376" y="61376"/>
                </a:cubicBez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" name="Flowchart: Connector 11">
            <a:extLst>
              <a:ext uri="{FF2B5EF4-FFF2-40B4-BE49-F238E27FC236}">
                <a16:creationId xmlns:a16="http://schemas.microsoft.com/office/drawing/2014/main" id="{DC57CA30-87D6-54DE-7F59-BB6CA2D77602}"/>
              </a:ext>
            </a:extLst>
          </p:cNvPr>
          <p:cNvSpPr/>
          <p:nvPr/>
        </p:nvSpPr>
        <p:spPr>
          <a:xfrm>
            <a:off x="1230753" y="1366032"/>
            <a:ext cx="553212" cy="553212"/>
          </a:xfrm>
          <a:prstGeom prst="flowChartConnector">
            <a:avLst/>
          </a:prstGeom>
          <a:gradFill>
            <a:gsLst>
              <a:gs pos="0">
                <a:srgbClr val="A1A09C"/>
              </a:gs>
              <a:gs pos="100000">
                <a:srgbClr val="D8D7D6"/>
              </a:gs>
            </a:gsLst>
            <a:lin ang="5400000" scaled="1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9900D3F8-9A93-D46E-B625-51A592D6B502}"/>
              </a:ext>
            </a:extLst>
          </p:cNvPr>
          <p:cNvSpPr txBox="1"/>
          <p:nvPr/>
        </p:nvSpPr>
        <p:spPr>
          <a:xfrm>
            <a:off x="887457" y="1945853"/>
            <a:ext cx="785142" cy="26826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CB813"/>
              </a:buClr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IT</a:t>
            </a:r>
          </a:p>
        </p:txBody>
      </p:sp>
      <p:sp>
        <p:nvSpPr>
          <p:cNvPr id="394" name="Rectangle: Rounded Corners 14">
            <a:extLst>
              <a:ext uri="{FF2B5EF4-FFF2-40B4-BE49-F238E27FC236}">
                <a16:creationId xmlns:a16="http://schemas.microsoft.com/office/drawing/2014/main" id="{569DB513-A43E-B0FA-923F-DFE74465B335}"/>
              </a:ext>
            </a:extLst>
          </p:cNvPr>
          <p:cNvSpPr>
            <a:spLocks noChangeAspect="1"/>
          </p:cNvSpPr>
          <p:nvPr/>
        </p:nvSpPr>
        <p:spPr bwMode="auto">
          <a:xfrm rot="18642604">
            <a:off x="1361649" y="1665094"/>
            <a:ext cx="156658" cy="63766"/>
          </a:xfrm>
          <a:prstGeom prst="roundRect">
            <a:avLst>
              <a:gd name="adj" fmla="val 50000"/>
            </a:avLst>
          </a:prstGeom>
          <a:noFill/>
          <a:ln w="12700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95" name="Freeform: Shape 153">
            <a:extLst>
              <a:ext uri="{FF2B5EF4-FFF2-40B4-BE49-F238E27FC236}">
                <a16:creationId xmlns:a16="http://schemas.microsoft.com/office/drawing/2014/main" id="{1F7C0F99-4DB7-DE9F-AB80-F63B092C8358}"/>
              </a:ext>
            </a:extLst>
          </p:cNvPr>
          <p:cNvSpPr>
            <a:spLocks noChangeAspect="1"/>
          </p:cNvSpPr>
          <p:nvPr/>
        </p:nvSpPr>
        <p:spPr bwMode="auto">
          <a:xfrm rot="18642604">
            <a:off x="1425897" y="1635618"/>
            <a:ext cx="78887" cy="63766"/>
          </a:xfrm>
          <a:custGeom>
            <a:avLst/>
            <a:gdLst>
              <a:gd name="connsiteX0" fmla="*/ 128586 w 128586"/>
              <a:gd name="connsiteY0" fmla="*/ 51970 h 103940"/>
              <a:gd name="connsiteX1" fmla="*/ 76616 w 128586"/>
              <a:gd name="connsiteY1" fmla="*/ 103940 h 103940"/>
              <a:gd name="connsiteX2" fmla="*/ 0 w 128586"/>
              <a:gd name="connsiteY2" fmla="*/ 103940 h 103940"/>
              <a:gd name="connsiteX3" fmla="*/ 0 w 128586"/>
              <a:gd name="connsiteY3" fmla="*/ 0 h 103940"/>
              <a:gd name="connsiteX4" fmla="*/ 76616 w 128586"/>
              <a:gd name="connsiteY4" fmla="*/ 0 h 103940"/>
              <a:gd name="connsiteX5" fmla="*/ 128586 w 128586"/>
              <a:gd name="connsiteY5" fmla="*/ 51970 h 103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8586" h="103940">
                <a:moveTo>
                  <a:pt x="128586" y="51970"/>
                </a:moveTo>
                <a:cubicBezTo>
                  <a:pt x="128586" y="80672"/>
                  <a:pt x="105318" y="103940"/>
                  <a:pt x="76616" y="103940"/>
                </a:cubicBezTo>
                <a:lnTo>
                  <a:pt x="0" y="103940"/>
                </a:lnTo>
                <a:lnTo>
                  <a:pt x="0" y="0"/>
                </a:lnTo>
                <a:lnTo>
                  <a:pt x="76616" y="0"/>
                </a:lnTo>
                <a:cubicBezTo>
                  <a:pt x="105318" y="0"/>
                  <a:pt x="128586" y="23268"/>
                  <a:pt x="128586" y="51970"/>
                </a:cubicBezTo>
                <a:close/>
              </a:path>
            </a:pathLst>
          </a:custGeom>
          <a:solidFill>
            <a:schemeClr val="bg1"/>
          </a:solidFill>
          <a:ln w="12700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7" name="Ellipse 148">
            <a:extLst>
              <a:ext uri="{FF2B5EF4-FFF2-40B4-BE49-F238E27FC236}">
                <a16:creationId xmlns:a16="http://schemas.microsoft.com/office/drawing/2014/main" id="{FD4AEDAE-D283-5C77-B64B-29EDC8836780}"/>
              </a:ext>
            </a:extLst>
          </p:cNvPr>
          <p:cNvSpPr/>
          <p:nvPr/>
        </p:nvSpPr>
        <p:spPr bwMode="auto">
          <a:xfrm rot="7785844">
            <a:off x="1362388" y="1542225"/>
            <a:ext cx="90674" cy="90675"/>
          </a:xfrm>
          <a:prstGeom prst="ellipse">
            <a:avLst/>
          </a:prstGeom>
          <a:noFill/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5pPr>
            <a:lvl6pPr marL="2286000" algn="l" defTabSz="457200" rtl="0" eaLnBrk="1" latinLnBrk="0" hangingPunct="1"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6pPr>
            <a:lvl7pPr marL="2743200" algn="l" defTabSz="457200" rtl="0" eaLnBrk="1" latinLnBrk="0" hangingPunct="1"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7pPr>
            <a:lvl8pPr marL="3200400" algn="l" defTabSz="457200" rtl="0" eaLnBrk="1" latinLnBrk="0" hangingPunct="1"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8pPr>
            <a:lvl9pPr marL="3657600" algn="l" defTabSz="457200" rtl="0" eaLnBrk="1" latinLnBrk="0" hangingPunct="1"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EC8A00"/>
              </a:solidFill>
              <a:effectLst/>
              <a:uLnTx/>
              <a:uFillTx/>
              <a:latin typeface="Aptos" panose="02110004020202020204"/>
              <a:ea typeface="ＭＳ Ｐゴシック" charset="0"/>
            </a:endParaRPr>
          </a:p>
        </p:txBody>
      </p:sp>
      <p:sp>
        <p:nvSpPr>
          <p:cNvPr id="18" name="Freeform: Shape 157">
            <a:extLst>
              <a:ext uri="{FF2B5EF4-FFF2-40B4-BE49-F238E27FC236}">
                <a16:creationId xmlns:a16="http://schemas.microsoft.com/office/drawing/2014/main" id="{6FD09414-E268-6DA0-05B5-CDE1516F0414}"/>
              </a:ext>
            </a:extLst>
          </p:cNvPr>
          <p:cNvSpPr/>
          <p:nvPr/>
        </p:nvSpPr>
        <p:spPr bwMode="auto">
          <a:xfrm rot="7785844">
            <a:off x="1344883" y="1550473"/>
            <a:ext cx="90498" cy="44902"/>
          </a:xfrm>
          <a:custGeom>
            <a:avLst/>
            <a:gdLst>
              <a:gd name="connsiteX0" fmla="*/ 0 w 183556"/>
              <a:gd name="connsiteY0" fmla="*/ 0 h 91073"/>
              <a:gd name="connsiteX1" fmla="*/ 183556 w 183556"/>
              <a:gd name="connsiteY1" fmla="*/ 0 h 91073"/>
              <a:gd name="connsiteX2" fmla="*/ 176508 w 183556"/>
              <a:gd name="connsiteY2" fmla="*/ 34911 h 91073"/>
              <a:gd name="connsiteX3" fmla="*/ 91778 w 183556"/>
              <a:gd name="connsiteY3" fmla="*/ 91073 h 91073"/>
              <a:gd name="connsiteX4" fmla="*/ 7048 w 183556"/>
              <a:gd name="connsiteY4" fmla="*/ 34911 h 910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3556" h="91073">
                <a:moveTo>
                  <a:pt x="0" y="0"/>
                </a:moveTo>
                <a:lnTo>
                  <a:pt x="183556" y="0"/>
                </a:lnTo>
                <a:lnTo>
                  <a:pt x="176508" y="34911"/>
                </a:lnTo>
                <a:cubicBezTo>
                  <a:pt x="162548" y="67915"/>
                  <a:pt x="129868" y="91073"/>
                  <a:pt x="91778" y="91073"/>
                </a:cubicBezTo>
                <a:cubicBezTo>
                  <a:pt x="53689" y="91073"/>
                  <a:pt x="21008" y="67915"/>
                  <a:pt x="7048" y="34911"/>
                </a:cubicBezTo>
                <a:close/>
              </a:path>
            </a:pathLst>
          </a:cu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5pPr>
            <a:lvl6pPr marL="2286000" algn="l" defTabSz="457200" rtl="0" eaLnBrk="1" latinLnBrk="0" hangingPunct="1"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6pPr>
            <a:lvl7pPr marL="2743200" algn="l" defTabSz="457200" rtl="0" eaLnBrk="1" latinLnBrk="0" hangingPunct="1"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7pPr>
            <a:lvl8pPr marL="3200400" algn="l" defTabSz="457200" rtl="0" eaLnBrk="1" latinLnBrk="0" hangingPunct="1"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8pPr>
            <a:lvl9pPr marL="3657600" algn="l" defTabSz="457200" rtl="0" eaLnBrk="1" latinLnBrk="0" hangingPunct="1">
              <a:defRPr sz="2000" kern="1200">
                <a:solidFill>
                  <a:srgbClr val="000000"/>
                </a:solidFill>
                <a:latin typeface="Imago" charset="0"/>
                <a:ea typeface="ＭＳ Ｐゴシック" charset="0"/>
                <a:cs typeface="ＭＳ Ｐゴシック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EC8A00"/>
              </a:solidFill>
              <a:effectLst/>
              <a:uLnTx/>
              <a:uFillTx/>
              <a:latin typeface="Aptos" panose="02110004020202020204"/>
              <a:ea typeface="ＭＳ Ｐゴシック" charset="0"/>
            </a:endParaRPr>
          </a:p>
        </p:txBody>
      </p:sp>
      <p:sp>
        <p:nvSpPr>
          <p:cNvPr id="22" name="Flowchart: Connector 21">
            <a:extLst>
              <a:ext uri="{FF2B5EF4-FFF2-40B4-BE49-F238E27FC236}">
                <a16:creationId xmlns:a16="http://schemas.microsoft.com/office/drawing/2014/main" id="{C0728CD9-3B10-932D-CC41-7D7A5C79DB62}"/>
              </a:ext>
            </a:extLst>
          </p:cNvPr>
          <p:cNvSpPr/>
          <p:nvPr/>
        </p:nvSpPr>
        <p:spPr>
          <a:xfrm>
            <a:off x="1724630" y="1590652"/>
            <a:ext cx="553212" cy="553212"/>
          </a:xfrm>
          <a:prstGeom prst="flowChartConnector">
            <a:avLst/>
          </a:prstGeom>
          <a:gradFill>
            <a:gsLst>
              <a:gs pos="0">
                <a:srgbClr val="A1A09C"/>
              </a:gs>
              <a:gs pos="100000">
                <a:srgbClr val="D8D7D6"/>
              </a:gs>
            </a:gsLst>
            <a:lin ang="5400000" scaled="1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" name="Freeform: Shape 615">
            <a:extLst>
              <a:ext uri="{FF2B5EF4-FFF2-40B4-BE49-F238E27FC236}">
                <a16:creationId xmlns:a16="http://schemas.microsoft.com/office/drawing/2014/main" id="{377FBA2D-31ED-7D67-A2C8-2E4D2A8864FA}"/>
              </a:ext>
            </a:extLst>
          </p:cNvPr>
          <p:cNvSpPr/>
          <p:nvPr/>
        </p:nvSpPr>
        <p:spPr>
          <a:xfrm>
            <a:off x="1577764" y="1536190"/>
            <a:ext cx="101492" cy="140967"/>
          </a:xfrm>
          <a:custGeom>
            <a:avLst/>
            <a:gdLst>
              <a:gd name="connsiteX0" fmla="*/ 33735 w 288132"/>
              <a:gd name="connsiteY0" fmla="*/ 0 h 400204"/>
              <a:gd name="connsiteX1" fmla="*/ 254397 w 288132"/>
              <a:gd name="connsiteY1" fmla="*/ 0 h 400204"/>
              <a:gd name="connsiteX2" fmla="*/ 288132 w 288132"/>
              <a:gd name="connsiteY2" fmla="*/ 33735 h 400204"/>
              <a:gd name="connsiteX3" fmla="*/ 288132 w 288132"/>
              <a:gd name="connsiteY3" fmla="*/ 142656 h 400204"/>
              <a:gd name="connsiteX4" fmla="*/ 288132 w 288132"/>
              <a:gd name="connsiteY4" fmla="*/ 168671 h 400204"/>
              <a:gd name="connsiteX5" fmla="*/ 288132 w 288132"/>
              <a:gd name="connsiteY5" fmla="*/ 299793 h 400204"/>
              <a:gd name="connsiteX6" fmla="*/ 187721 w 288132"/>
              <a:gd name="connsiteY6" fmla="*/ 400204 h 400204"/>
              <a:gd name="connsiteX7" fmla="*/ 100411 w 288132"/>
              <a:gd name="connsiteY7" fmla="*/ 400204 h 400204"/>
              <a:gd name="connsiteX8" fmla="*/ 0 w 288132"/>
              <a:gd name="connsiteY8" fmla="*/ 299793 h 400204"/>
              <a:gd name="connsiteX9" fmla="*/ 0 w 288132"/>
              <a:gd name="connsiteY9" fmla="*/ 168671 h 400204"/>
              <a:gd name="connsiteX10" fmla="*/ 0 w 288132"/>
              <a:gd name="connsiteY10" fmla="*/ 142656 h 400204"/>
              <a:gd name="connsiteX11" fmla="*/ 0 w 288132"/>
              <a:gd name="connsiteY11" fmla="*/ 33735 h 400204"/>
              <a:gd name="connsiteX12" fmla="*/ 33735 w 288132"/>
              <a:gd name="connsiteY12" fmla="*/ 0 h 4002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88132" h="400204">
                <a:moveTo>
                  <a:pt x="33735" y="0"/>
                </a:moveTo>
                <a:lnTo>
                  <a:pt x="254397" y="0"/>
                </a:lnTo>
                <a:cubicBezTo>
                  <a:pt x="273028" y="0"/>
                  <a:pt x="288132" y="15104"/>
                  <a:pt x="288132" y="33735"/>
                </a:cubicBezTo>
                <a:lnTo>
                  <a:pt x="288132" y="142656"/>
                </a:lnTo>
                <a:lnTo>
                  <a:pt x="288132" y="168671"/>
                </a:lnTo>
                <a:lnTo>
                  <a:pt x="288132" y="299793"/>
                </a:lnTo>
                <a:cubicBezTo>
                  <a:pt x="288132" y="355248"/>
                  <a:pt x="243176" y="400204"/>
                  <a:pt x="187721" y="400204"/>
                </a:cubicBezTo>
                <a:lnTo>
                  <a:pt x="100411" y="400204"/>
                </a:lnTo>
                <a:cubicBezTo>
                  <a:pt x="44956" y="400204"/>
                  <a:pt x="0" y="355248"/>
                  <a:pt x="0" y="299793"/>
                </a:cubicBezTo>
                <a:lnTo>
                  <a:pt x="0" y="168671"/>
                </a:lnTo>
                <a:lnTo>
                  <a:pt x="0" y="142656"/>
                </a:lnTo>
                <a:lnTo>
                  <a:pt x="0" y="33735"/>
                </a:lnTo>
                <a:cubicBezTo>
                  <a:pt x="0" y="15104"/>
                  <a:pt x="15104" y="0"/>
                  <a:pt x="33735" y="0"/>
                </a:cubicBezTo>
                <a:close/>
              </a:path>
            </a:pathLst>
          </a:custGeom>
          <a:noFill/>
          <a:ln w="12700" cap="rnd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9" name="Arc 28">
            <a:extLst>
              <a:ext uri="{FF2B5EF4-FFF2-40B4-BE49-F238E27FC236}">
                <a16:creationId xmlns:a16="http://schemas.microsoft.com/office/drawing/2014/main" id="{D6450923-3BD2-927E-2316-8801BC886ED9}"/>
              </a:ext>
            </a:extLst>
          </p:cNvPr>
          <p:cNvSpPr/>
          <p:nvPr/>
        </p:nvSpPr>
        <p:spPr>
          <a:xfrm>
            <a:off x="1609638" y="1501347"/>
            <a:ext cx="37745" cy="37744"/>
          </a:xfrm>
          <a:prstGeom prst="arc">
            <a:avLst>
              <a:gd name="adj1" fmla="val 7473412"/>
              <a:gd name="adj2" fmla="val 3221541"/>
            </a:avLst>
          </a:prstGeom>
          <a:ln w="12700" cap="rnd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15D374FC-4B52-CC2D-2240-23E0B8FD7203}"/>
              </a:ext>
            </a:extLst>
          </p:cNvPr>
          <p:cNvSpPr/>
          <p:nvPr/>
        </p:nvSpPr>
        <p:spPr>
          <a:xfrm>
            <a:off x="1613202" y="1677157"/>
            <a:ext cx="30616" cy="34843"/>
          </a:xfrm>
          <a:prstGeom prst="rect">
            <a:avLst/>
          </a:prstGeom>
          <a:noFill/>
          <a:ln w="12700" cap="rnd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1" name="Flowchart: Manual Operation 30">
            <a:extLst>
              <a:ext uri="{FF2B5EF4-FFF2-40B4-BE49-F238E27FC236}">
                <a16:creationId xmlns:a16="http://schemas.microsoft.com/office/drawing/2014/main" id="{DF18F4E0-D9CE-C2A2-893F-93A869731F64}"/>
              </a:ext>
            </a:extLst>
          </p:cNvPr>
          <p:cNvSpPr/>
          <p:nvPr/>
        </p:nvSpPr>
        <p:spPr>
          <a:xfrm rot="5400000">
            <a:off x="1476014" y="1772198"/>
            <a:ext cx="28518" cy="36388"/>
          </a:xfrm>
          <a:prstGeom prst="flowChartManualOperation">
            <a:avLst/>
          </a:prstGeom>
          <a:noFill/>
          <a:ln w="12700" cap="rnd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6D781AC5-4A04-E1C4-AC8B-6057D789B0E4}"/>
              </a:ext>
            </a:extLst>
          </p:cNvPr>
          <p:cNvCxnSpPr>
            <a:cxnSpLocks/>
          </p:cNvCxnSpPr>
          <p:nvPr/>
        </p:nvCxnSpPr>
        <p:spPr>
          <a:xfrm>
            <a:off x="1450271" y="1790392"/>
            <a:ext cx="21808" cy="0"/>
          </a:xfrm>
          <a:prstGeom prst="line">
            <a:avLst/>
          </a:prstGeom>
          <a:ln w="12700" cap="rnd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Freeform: Shape 620">
            <a:extLst>
              <a:ext uri="{FF2B5EF4-FFF2-40B4-BE49-F238E27FC236}">
                <a16:creationId xmlns:a16="http://schemas.microsoft.com/office/drawing/2014/main" id="{022511A8-0D18-8A8B-560D-A12F6CFAF500}"/>
              </a:ext>
            </a:extLst>
          </p:cNvPr>
          <p:cNvSpPr/>
          <p:nvPr/>
        </p:nvSpPr>
        <p:spPr>
          <a:xfrm>
            <a:off x="1509824" y="1713225"/>
            <a:ext cx="118418" cy="78005"/>
          </a:xfrm>
          <a:custGeom>
            <a:avLst/>
            <a:gdLst>
              <a:gd name="connsiteX0" fmla="*/ 335756 w 335756"/>
              <a:gd name="connsiteY0" fmla="*/ 0 h 221456"/>
              <a:gd name="connsiteX1" fmla="*/ 283369 w 335756"/>
              <a:gd name="connsiteY1" fmla="*/ 166687 h 221456"/>
              <a:gd name="connsiteX2" fmla="*/ 166688 w 335756"/>
              <a:gd name="connsiteY2" fmla="*/ 16668 h 221456"/>
              <a:gd name="connsiteX3" fmla="*/ 0 w 335756"/>
              <a:gd name="connsiteY3" fmla="*/ 221456 h 221456"/>
              <a:gd name="connsiteX0" fmla="*/ 335756 w 335756"/>
              <a:gd name="connsiteY0" fmla="*/ 0 h 221456"/>
              <a:gd name="connsiteX1" fmla="*/ 283369 w 335756"/>
              <a:gd name="connsiteY1" fmla="*/ 166687 h 221456"/>
              <a:gd name="connsiteX2" fmla="*/ 166688 w 335756"/>
              <a:gd name="connsiteY2" fmla="*/ 16668 h 221456"/>
              <a:gd name="connsiteX3" fmla="*/ 0 w 335756"/>
              <a:gd name="connsiteY3" fmla="*/ 221456 h 221456"/>
              <a:gd name="connsiteX0" fmla="*/ 335756 w 335756"/>
              <a:gd name="connsiteY0" fmla="*/ 0 h 221456"/>
              <a:gd name="connsiteX1" fmla="*/ 283369 w 335756"/>
              <a:gd name="connsiteY1" fmla="*/ 166687 h 221456"/>
              <a:gd name="connsiteX2" fmla="*/ 166688 w 335756"/>
              <a:gd name="connsiteY2" fmla="*/ 16668 h 221456"/>
              <a:gd name="connsiteX3" fmla="*/ 0 w 335756"/>
              <a:gd name="connsiteY3" fmla="*/ 221456 h 221456"/>
              <a:gd name="connsiteX0" fmla="*/ 335756 w 335756"/>
              <a:gd name="connsiteY0" fmla="*/ 0 h 221456"/>
              <a:gd name="connsiteX1" fmla="*/ 283369 w 335756"/>
              <a:gd name="connsiteY1" fmla="*/ 166687 h 221456"/>
              <a:gd name="connsiteX2" fmla="*/ 166688 w 335756"/>
              <a:gd name="connsiteY2" fmla="*/ 16668 h 221456"/>
              <a:gd name="connsiteX3" fmla="*/ 0 w 335756"/>
              <a:gd name="connsiteY3" fmla="*/ 221456 h 221456"/>
              <a:gd name="connsiteX0" fmla="*/ 335756 w 335756"/>
              <a:gd name="connsiteY0" fmla="*/ 0 h 221456"/>
              <a:gd name="connsiteX1" fmla="*/ 283369 w 335756"/>
              <a:gd name="connsiteY1" fmla="*/ 166687 h 221456"/>
              <a:gd name="connsiteX2" fmla="*/ 166688 w 335756"/>
              <a:gd name="connsiteY2" fmla="*/ 16668 h 221456"/>
              <a:gd name="connsiteX3" fmla="*/ 0 w 335756"/>
              <a:gd name="connsiteY3" fmla="*/ 221456 h 221456"/>
              <a:gd name="connsiteX0" fmla="*/ 335756 w 336014"/>
              <a:gd name="connsiteY0" fmla="*/ 0 h 221456"/>
              <a:gd name="connsiteX1" fmla="*/ 283369 w 336014"/>
              <a:gd name="connsiteY1" fmla="*/ 166687 h 221456"/>
              <a:gd name="connsiteX2" fmla="*/ 166688 w 336014"/>
              <a:gd name="connsiteY2" fmla="*/ 16668 h 221456"/>
              <a:gd name="connsiteX3" fmla="*/ 0 w 336014"/>
              <a:gd name="connsiteY3" fmla="*/ 221456 h 221456"/>
              <a:gd name="connsiteX0" fmla="*/ 335756 w 336014"/>
              <a:gd name="connsiteY0" fmla="*/ 0 h 221456"/>
              <a:gd name="connsiteX1" fmla="*/ 283369 w 336014"/>
              <a:gd name="connsiteY1" fmla="*/ 166687 h 221456"/>
              <a:gd name="connsiteX2" fmla="*/ 166688 w 336014"/>
              <a:gd name="connsiteY2" fmla="*/ 16668 h 221456"/>
              <a:gd name="connsiteX3" fmla="*/ 0 w 336014"/>
              <a:gd name="connsiteY3" fmla="*/ 221456 h 221456"/>
              <a:gd name="connsiteX0" fmla="*/ 335756 w 336014"/>
              <a:gd name="connsiteY0" fmla="*/ 0 h 221456"/>
              <a:gd name="connsiteX1" fmla="*/ 283369 w 336014"/>
              <a:gd name="connsiteY1" fmla="*/ 166687 h 221456"/>
              <a:gd name="connsiteX2" fmla="*/ 166688 w 336014"/>
              <a:gd name="connsiteY2" fmla="*/ 16668 h 221456"/>
              <a:gd name="connsiteX3" fmla="*/ 0 w 336014"/>
              <a:gd name="connsiteY3" fmla="*/ 221456 h 221456"/>
              <a:gd name="connsiteX0" fmla="*/ 335756 w 336014"/>
              <a:gd name="connsiteY0" fmla="*/ 0 h 221456"/>
              <a:gd name="connsiteX1" fmla="*/ 283369 w 336014"/>
              <a:gd name="connsiteY1" fmla="*/ 166687 h 221456"/>
              <a:gd name="connsiteX2" fmla="*/ 226219 w 336014"/>
              <a:gd name="connsiteY2" fmla="*/ 88106 h 221456"/>
              <a:gd name="connsiteX3" fmla="*/ 166688 w 336014"/>
              <a:gd name="connsiteY3" fmla="*/ 16668 h 221456"/>
              <a:gd name="connsiteX4" fmla="*/ 0 w 336014"/>
              <a:gd name="connsiteY4" fmla="*/ 221456 h 221456"/>
              <a:gd name="connsiteX0" fmla="*/ 335756 w 336014"/>
              <a:gd name="connsiteY0" fmla="*/ 0 h 221456"/>
              <a:gd name="connsiteX1" fmla="*/ 283369 w 336014"/>
              <a:gd name="connsiteY1" fmla="*/ 166687 h 221456"/>
              <a:gd name="connsiteX2" fmla="*/ 226219 w 336014"/>
              <a:gd name="connsiteY2" fmla="*/ 88106 h 221456"/>
              <a:gd name="connsiteX3" fmla="*/ 166688 w 336014"/>
              <a:gd name="connsiteY3" fmla="*/ 16668 h 221456"/>
              <a:gd name="connsiteX4" fmla="*/ 0 w 336014"/>
              <a:gd name="connsiteY4" fmla="*/ 221456 h 221456"/>
              <a:gd name="connsiteX0" fmla="*/ 335756 w 336014"/>
              <a:gd name="connsiteY0" fmla="*/ 0 h 221456"/>
              <a:gd name="connsiteX1" fmla="*/ 283369 w 336014"/>
              <a:gd name="connsiteY1" fmla="*/ 166687 h 221456"/>
              <a:gd name="connsiteX2" fmla="*/ 226219 w 336014"/>
              <a:gd name="connsiteY2" fmla="*/ 88106 h 221456"/>
              <a:gd name="connsiteX3" fmla="*/ 166688 w 336014"/>
              <a:gd name="connsiteY3" fmla="*/ 16668 h 221456"/>
              <a:gd name="connsiteX4" fmla="*/ 0 w 336014"/>
              <a:gd name="connsiteY4" fmla="*/ 221456 h 221456"/>
              <a:gd name="connsiteX0" fmla="*/ 335756 w 336014"/>
              <a:gd name="connsiteY0" fmla="*/ 0 h 221456"/>
              <a:gd name="connsiteX1" fmla="*/ 283369 w 336014"/>
              <a:gd name="connsiteY1" fmla="*/ 166687 h 221456"/>
              <a:gd name="connsiteX2" fmla="*/ 226219 w 336014"/>
              <a:gd name="connsiteY2" fmla="*/ 88106 h 221456"/>
              <a:gd name="connsiteX3" fmla="*/ 166688 w 336014"/>
              <a:gd name="connsiteY3" fmla="*/ 16668 h 221456"/>
              <a:gd name="connsiteX4" fmla="*/ 0 w 336014"/>
              <a:gd name="connsiteY4" fmla="*/ 221456 h 221456"/>
              <a:gd name="connsiteX0" fmla="*/ 335756 w 336014"/>
              <a:gd name="connsiteY0" fmla="*/ 0 h 221456"/>
              <a:gd name="connsiteX1" fmla="*/ 283369 w 336014"/>
              <a:gd name="connsiteY1" fmla="*/ 166687 h 221456"/>
              <a:gd name="connsiteX2" fmla="*/ 226219 w 336014"/>
              <a:gd name="connsiteY2" fmla="*/ 88106 h 221456"/>
              <a:gd name="connsiteX3" fmla="*/ 166688 w 336014"/>
              <a:gd name="connsiteY3" fmla="*/ 16668 h 221456"/>
              <a:gd name="connsiteX4" fmla="*/ 0 w 336014"/>
              <a:gd name="connsiteY4" fmla="*/ 221456 h 221456"/>
              <a:gd name="connsiteX0" fmla="*/ 335756 w 336014"/>
              <a:gd name="connsiteY0" fmla="*/ 0 h 221456"/>
              <a:gd name="connsiteX1" fmla="*/ 283369 w 336014"/>
              <a:gd name="connsiteY1" fmla="*/ 166687 h 221456"/>
              <a:gd name="connsiteX2" fmla="*/ 226219 w 336014"/>
              <a:gd name="connsiteY2" fmla="*/ 88106 h 221456"/>
              <a:gd name="connsiteX3" fmla="*/ 166688 w 336014"/>
              <a:gd name="connsiteY3" fmla="*/ 16668 h 221456"/>
              <a:gd name="connsiteX4" fmla="*/ 0 w 336014"/>
              <a:gd name="connsiteY4" fmla="*/ 221456 h 221456"/>
              <a:gd name="connsiteX0" fmla="*/ 335756 w 336014"/>
              <a:gd name="connsiteY0" fmla="*/ 0 h 221456"/>
              <a:gd name="connsiteX1" fmla="*/ 283369 w 336014"/>
              <a:gd name="connsiteY1" fmla="*/ 166687 h 221456"/>
              <a:gd name="connsiteX2" fmla="*/ 226219 w 336014"/>
              <a:gd name="connsiteY2" fmla="*/ 88106 h 221456"/>
              <a:gd name="connsiteX3" fmla="*/ 166688 w 336014"/>
              <a:gd name="connsiteY3" fmla="*/ 16668 h 221456"/>
              <a:gd name="connsiteX4" fmla="*/ 100013 w 336014"/>
              <a:gd name="connsiteY4" fmla="*/ 92868 h 221456"/>
              <a:gd name="connsiteX5" fmla="*/ 0 w 336014"/>
              <a:gd name="connsiteY5" fmla="*/ 221456 h 221456"/>
              <a:gd name="connsiteX0" fmla="*/ 335756 w 336014"/>
              <a:gd name="connsiteY0" fmla="*/ 0 h 221456"/>
              <a:gd name="connsiteX1" fmla="*/ 283369 w 336014"/>
              <a:gd name="connsiteY1" fmla="*/ 166687 h 221456"/>
              <a:gd name="connsiteX2" fmla="*/ 226219 w 336014"/>
              <a:gd name="connsiteY2" fmla="*/ 88106 h 221456"/>
              <a:gd name="connsiteX3" fmla="*/ 166688 w 336014"/>
              <a:gd name="connsiteY3" fmla="*/ 16668 h 221456"/>
              <a:gd name="connsiteX4" fmla="*/ 107157 w 336014"/>
              <a:gd name="connsiteY4" fmla="*/ 92868 h 221456"/>
              <a:gd name="connsiteX5" fmla="*/ 0 w 336014"/>
              <a:gd name="connsiteY5" fmla="*/ 221456 h 221456"/>
              <a:gd name="connsiteX0" fmla="*/ 335756 w 336014"/>
              <a:gd name="connsiteY0" fmla="*/ 0 h 221456"/>
              <a:gd name="connsiteX1" fmla="*/ 283369 w 336014"/>
              <a:gd name="connsiteY1" fmla="*/ 166687 h 221456"/>
              <a:gd name="connsiteX2" fmla="*/ 226219 w 336014"/>
              <a:gd name="connsiteY2" fmla="*/ 88106 h 221456"/>
              <a:gd name="connsiteX3" fmla="*/ 166688 w 336014"/>
              <a:gd name="connsiteY3" fmla="*/ 16668 h 221456"/>
              <a:gd name="connsiteX4" fmla="*/ 107157 w 336014"/>
              <a:gd name="connsiteY4" fmla="*/ 92868 h 221456"/>
              <a:gd name="connsiteX5" fmla="*/ 0 w 336014"/>
              <a:gd name="connsiteY5" fmla="*/ 221456 h 221456"/>
              <a:gd name="connsiteX0" fmla="*/ 335756 w 336014"/>
              <a:gd name="connsiteY0" fmla="*/ 0 h 221456"/>
              <a:gd name="connsiteX1" fmla="*/ 283369 w 336014"/>
              <a:gd name="connsiteY1" fmla="*/ 166687 h 221456"/>
              <a:gd name="connsiteX2" fmla="*/ 226219 w 336014"/>
              <a:gd name="connsiteY2" fmla="*/ 88106 h 221456"/>
              <a:gd name="connsiteX3" fmla="*/ 166688 w 336014"/>
              <a:gd name="connsiteY3" fmla="*/ 16668 h 221456"/>
              <a:gd name="connsiteX4" fmla="*/ 107157 w 336014"/>
              <a:gd name="connsiteY4" fmla="*/ 92868 h 221456"/>
              <a:gd name="connsiteX5" fmla="*/ 0 w 336014"/>
              <a:gd name="connsiteY5" fmla="*/ 221456 h 221456"/>
              <a:gd name="connsiteX0" fmla="*/ 335756 w 336014"/>
              <a:gd name="connsiteY0" fmla="*/ 0 h 221605"/>
              <a:gd name="connsiteX1" fmla="*/ 283369 w 336014"/>
              <a:gd name="connsiteY1" fmla="*/ 166687 h 221605"/>
              <a:gd name="connsiteX2" fmla="*/ 226219 w 336014"/>
              <a:gd name="connsiteY2" fmla="*/ 88106 h 221605"/>
              <a:gd name="connsiteX3" fmla="*/ 166688 w 336014"/>
              <a:gd name="connsiteY3" fmla="*/ 16668 h 221605"/>
              <a:gd name="connsiteX4" fmla="*/ 107157 w 336014"/>
              <a:gd name="connsiteY4" fmla="*/ 92868 h 221605"/>
              <a:gd name="connsiteX5" fmla="*/ 0 w 336014"/>
              <a:gd name="connsiteY5" fmla="*/ 221456 h 221605"/>
              <a:gd name="connsiteX0" fmla="*/ 335756 w 336014"/>
              <a:gd name="connsiteY0" fmla="*/ 0 h 221605"/>
              <a:gd name="connsiteX1" fmla="*/ 283369 w 336014"/>
              <a:gd name="connsiteY1" fmla="*/ 166687 h 221605"/>
              <a:gd name="connsiteX2" fmla="*/ 226219 w 336014"/>
              <a:gd name="connsiteY2" fmla="*/ 88106 h 221605"/>
              <a:gd name="connsiteX3" fmla="*/ 166688 w 336014"/>
              <a:gd name="connsiteY3" fmla="*/ 16668 h 221605"/>
              <a:gd name="connsiteX4" fmla="*/ 107157 w 336014"/>
              <a:gd name="connsiteY4" fmla="*/ 92868 h 221605"/>
              <a:gd name="connsiteX5" fmla="*/ 0 w 336014"/>
              <a:gd name="connsiteY5" fmla="*/ 221456 h 221605"/>
              <a:gd name="connsiteX0" fmla="*/ 335756 w 336014"/>
              <a:gd name="connsiteY0" fmla="*/ 0 h 221605"/>
              <a:gd name="connsiteX1" fmla="*/ 283369 w 336014"/>
              <a:gd name="connsiteY1" fmla="*/ 166687 h 221605"/>
              <a:gd name="connsiteX2" fmla="*/ 226219 w 336014"/>
              <a:gd name="connsiteY2" fmla="*/ 88106 h 221605"/>
              <a:gd name="connsiteX3" fmla="*/ 166688 w 336014"/>
              <a:gd name="connsiteY3" fmla="*/ 16668 h 221605"/>
              <a:gd name="connsiteX4" fmla="*/ 107157 w 336014"/>
              <a:gd name="connsiteY4" fmla="*/ 92868 h 221605"/>
              <a:gd name="connsiteX5" fmla="*/ 0 w 336014"/>
              <a:gd name="connsiteY5" fmla="*/ 221456 h 221605"/>
              <a:gd name="connsiteX0" fmla="*/ 335756 w 336014"/>
              <a:gd name="connsiteY0" fmla="*/ 0 h 221605"/>
              <a:gd name="connsiteX1" fmla="*/ 283369 w 336014"/>
              <a:gd name="connsiteY1" fmla="*/ 166687 h 221605"/>
              <a:gd name="connsiteX2" fmla="*/ 226219 w 336014"/>
              <a:gd name="connsiteY2" fmla="*/ 88106 h 221605"/>
              <a:gd name="connsiteX3" fmla="*/ 166688 w 336014"/>
              <a:gd name="connsiteY3" fmla="*/ 16668 h 221605"/>
              <a:gd name="connsiteX4" fmla="*/ 107157 w 336014"/>
              <a:gd name="connsiteY4" fmla="*/ 92868 h 221605"/>
              <a:gd name="connsiteX5" fmla="*/ 0 w 336014"/>
              <a:gd name="connsiteY5" fmla="*/ 221456 h 221605"/>
              <a:gd name="connsiteX0" fmla="*/ 335756 w 336014"/>
              <a:gd name="connsiteY0" fmla="*/ 0 h 221605"/>
              <a:gd name="connsiteX1" fmla="*/ 283369 w 336014"/>
              <a:gd name="connsiteY1" fmla="*/ 166687 h 221605"/>
              <a:gd name="connsiteX2" fmla="*/ 226219 w 336014"/>
              <a:gd name="connsiteY2" fmla="*/ 88106 h 221605"/>
              <a:gd name="connsiteX3" fmla="*/ 166688 w 336014"/>
              <a:gd name="connsiteY3" fmla="*/ 16668 h 221605"/>
              <a:gd name="connsiteX4" fmla="*/ 107157 w 336014"/>
              <a:gd name="connsiteY4" fmla="*/ 92868 h 221605"/>
              <a:gd name="connsiteX5" fmla="*/ 0 w 336014"/>
              <a:gd name="connsiteY5" fmla="*/ 221456 h 221605"/>
              <a:gd name="connsiteX0" fmla="*/ 335756 w 336014"/>
              <a:gd name="connsiteY0" fmla="*/ 0 h 221605"/>
              <a:gd name="connsiteX1" fmla="*/ 283369 w 336014"/>
              <a:gd name="connsiteY1" fmla="*/ 166687 h 221605"/>
              <a:gd name="connsiteX2" fmla="*/ 226219 w 336014"/>
              <a:gd name="connsiteY2" fmla="*/ 88106 h 221605"/>
              <a:gd name="connsiteX3" fmla="*/ 166688 w 336014"/>
              <a:gd name="connsiteY3" fmla="*/ 16668 h 221605"/>
              <a:gd name="connsiteX4" fmla="*/ 107157 w 336014"/>
              <a:gd name="connsiteY4" fmla="*/ 92868 h 221605"/>
              <a:gd name="connsiteX5" fmla="*/ 0 w 336014"/>
              <a:gd name="connsiteY5" fmla="*/ 221456 h 221605"/>
              <a:gd name="connsiteX0" fmla="*/ 335756 w 336014"/>
              <a:gd name="connsiteY0" fmla="*/ 0 h 221605"/>
              <a:gd name="connsiteX1" fmla="*/ 283369 w 336014"/>
              <a:gd name="connsiteY1" fmla="*/ 166687 h 221605"/>
              <a:gd name="connsiteX2" fmla="*/ 226219 w 336014"/>
              <a:gd name="connsiteY2" fmla="*/ 88106 h 221605"/>
              <a:gd name="connsiteX3" fmla="*/ 166688 w 336014"/>
              <a:gd name="connsiteY3" fmla="*/ 16668 h 221605"/>
              <a:gd name="connsiteX4" fmla="*/ 107157 w 336014"/>
              <a:gd name="connsiteY4" fmla="*/ 92868 h 221605"/>
              <a:gd name="connsiteX5" fmla="*/ 0 w 336014"/>
              <a:gd name="connsiteY5" fmla="*/ 221456 h 221605"/>
              <a:gd name="connsiteX0" fmla="*/ 335756 w 336014"/>
              <a:gd name="connsiteY0" fmla="*/ 0 h 221605"/>
              <a:gd name="connsiteX1" fmla="*/ 283369 w 336014"/>
              <a:gd name="connsiteY1" fmla="*/ 166687 h 221605"/>
              <a:gd name="connsiteX2" fmla="*/ 226219 w 336014"/>
              <a:gd name="connsiteY2" fmla="*/ 88106 h 221605"/>
              <a:gd name="connsiteX3" fmla="*/ 166688 w 336014"/>
              <a:gd name="connsiteY3" fmla="*/ 16668 h 221605"/>
              <a:gd name="connsiteX4" fmla="*/ 107157 w 336014"/>
              <a:gd name="connsiteY4" fmla="*/ 92868 h 221605"/>
              <a:gd name="connsiteX5" fmla="*/ 0 w 336014"/>
              <a:gd name="connsiteY5" fmla="*/ 221456 h 221605"/>
              <a:gd name="connsiteX0" fmla="*/ 335756 w 336186"/>
              <a:gd name="connsiteY0" fmla="*/ 0 h 221605"/>
              <a:gd name="connsiteX1" fmla="*/ 283369 w 336186"/>
              <a:gd name="connsiteY1" fmla="*/ 166687 h 221605"/>
              <a:gd name="connsiteX2" fmla="*/ 226219 w 336186"/>
              <a:gd name="connsiteY2" fmla="*/ 88106 h 221605"/>
              <a:gd name="connsiteX3" fmla="*/ 166688 w 336186"/>
              <a:gd name="connsiteY3" fmla="*/ 16668 h 221605"/>
              <a:gd name="connsiteX4" fmla="*/ 107157 w 336186"/>
              <a:gd name="connsiteY4" fmla="*/ 92868 h 221605"/>
              <a:gd name="connsiteX5" fmla="*/ 0 w 336186"/>
              <a:gd name="connsiteY5" fmla="*/ 221456 h 221605"/>
              <a:gd name="connsiteX0" fmla="*/ 335756 w 336186"/>
              <a:gd name="connsiteY0" fmla="*/ 0 h 221617"/>
              <a:gd name="connsiteX1" fmla="*/ 283369 w 336186"/>
              <a:gd name="connsiteY1" fmla="*/ 166687 h 221617"/>
              <a:gd name="connsiteX2" fmla="*/ 226219 w 336186"/>
              <a:gd name="connsiteY2" fmla="*/ 88106 h 221617"/>
              <a:gd name="connsiteX3" fmla="*/ 166688 w 336186"/>
              <a:gd name="connsiteY3" fmla="*/ 16668 h 221617"/>
              <a:gd name="connsiteX4" fmla="*/ 107157 w 336186"/>
              <a:gd name="connsiteY4" fmla="*/ 92868 h 221617"/>
              <a:gd name="connsiteX5" fmla="*/ 0 w 336186"/>
              <a:gd name="connsiteY5" fmla="*/ 221456 h 221617"/>
              <a:gd name="connsiteX0" fmla="*/ 335756 w 336186"/>
              <a:gd name="connsiteY0" fmla="*/ 0 h 221514"/>
              <a:gd name="connsiteX1" fmla="*/ 283369 w 336186"/>
              <a:gd name="connsiteY1" fmla="*/ 166687 h 221514"/>
              <a:gd name="connsiteX2" fmla="*/ 226219 w 336186"/>
              <a:gd name="connsiteY2" fmla="*/ 88106 h 221514"/>
              <a:gd name="connsiteX3" fmla="*/ 166688 w 336186"/>
              <a:gd name="connsiteY3" fmla="*/ 16668 h 221514"/>
              <a:gd name="connsiteX4" fmla="*/ 107157 w 336186"/>
              <a:gd name="connsiteY4" fmla="*/ 92868 h 221514"/>
              <a:gd name="connsiteX5" fmla="*/ 0 w 336186"/>
              <a:gd name="connsiteY5" fmla="*/ 221456 h 221514"/>
              <a:gd name="connsiteX0" fmla="*/ 335756 w 336186"/>
              <a:gd name="connsiteY0" fmla="*/ 0 h 221456"/>
              <a:gd name="connsiteX1" fmla="*/ 283369 w 336186"/>
              <a:gd name="connsiteY1" fmla="*/ 166687 h 221456"/>
              <a:gd name="connsiteX2" fmla="*/ 226219 w 336186"/>
              <a:gd name="connsiteY2" fmla="*/ 88106 h 221456"/>
              <a:gd name="connsiteX3" fmla="*/ 166688 w 336186"/>
              <a:gd name="connsiteY3" fmla="*/ 16668 h 221456"/>
              <a:gd name="connsiteX4" fmla="*/ 107157 w 336186"/>
              <a:gd name="connsiteY4" fmla="*/ 92868 h 221456"/>
              <a:gd name="connsiteX5" fmla="*/ 0 w 336186"/>
              <a:gd name="connsiteY5" fmla="*/ 221456 h 2214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6186" h="221456">
                <a:moveTo>
                  <a:pt x="335756" y="0"/>
                </a:moveTo>
                <a:cubicBezTo>
                  <a:pt x="337344" y="112712"/>
                  <a:pt x="337344" y="163910"/>
                  <a:pt x="283369" y="166687"/>
                </a:cubicBezTo>
                <a:cubicBezTo>
                  <a:pt x="229394" y="169464"/>
                  <a:pt x="226616" y="127396"/>
                  <a:pt x="226219" y="88106"/>
                </a:cubicBezTo>
                <a:cubicBezTo>
                  <a:pt x="225822" y="44053"/>
                  <a:pt x="207963" y="15874"/>
                  <a:pt x="166688" y="16668"/>
                </a:cubicBezTo>
                <a:cubicBezTo>
                  <a:pt x="125413" y="17462"/>
                  <a:pt x="108745" y="44449"/>
                  <a:pt x="107157" y="92868"/>
                </a:cubicBezTo>
                <a:cubicBezTo>
                  <a:pt x="103188" y="153193"/>
                  <a:pt x="111919" y="214313"/>
                  <a:pt x="0" y="221456"/>
                </a:cubicBezTo>
              </a:path>
            </a:pathLst>
          </a:custGeom>
          <a:noFill/>
          <a:ln w="12700" cap="rnd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FDF7ACD2-327E-6D50-E5D1-DEE8FA53ED1E}"/>
              </a:ext>
            </a:extLst>
          </p:cNvPr>
          <p:cNvCxnSpPr>
            <a:cxnSpLocks/>
          </p:cNvCxnSpPr>
          <p:nvPr/>
        </p:nvCxnSpPr>
        <p:spPr>
          <a:xfrm>
            <a:off x="1577764" y="1628368"/>
            <a:ext cx="101492" cy="0"/>
          </a:xfrm>
          <a:prstGeom prst="line">
            <a:avLst/>
          </a:prstGeom>
          <a:ln w="12700" cap="rnd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Freeform: Shape 614">
            <a:extLst>
              <a:ext uri="{FF2B5EF4-FFF2-40B4-BE49-F238E27FC236}">
                <a16:creationId xmlns:a16="http://schemas.microsoft.com/office/drawing/2014/main" id="{BE273417-D15D-00B0-B8FB-242A102B76DC}"/>
              </a:ext>
            </a:extLst>
          </p:cNvPr>
          <p:cNvSpPr/>
          <p:nvPr/>
        </p:nvSpPr>
        <p:spPr>
          <a:xfrm>
            <a:off x="1579167" y="1627696"/>
            <a:ext cx="99824" cy="49388"/>
          </a:xfrm>
          <a:custGeom>
            <a:avLst/>
            <a:gdLst>
              <a:gd name="connsiteX0" fmla="*/ 0 w 250134"/>
              <a:gd name="connsiteY0" fmla="*/ 0 h 121721"/>
              <a:gd name="connsiteX1" fmla="*/ 250134 w 250134"/>
              <a:gd name="connsiteY1" fmla="*/ 0 h 121721"/>
              <a:gd name="connsiteX2" fmla="*/ 250134 w 250134"/>
              <a:gd name="connsiteY2" fmla="*/ 34552 h 121721"/>
              <a:gd name="connsiteX3" fmla="*/ 162965 w 250134"/>
              <a:gd name="connsiteY3" fmla="*/ 121721 h 121721"/>
              <a:gd name="connsiteX4" fmla="*/ 87169 w 250134"/>
              <a:gd name="connsiteY4" fmla="*/ 121721 h 121721"/>
              <a:gd name="connsiteX5" fmla="*/ 0 w 250134"/>
              <a:gd name="connsiteY5" fmla="*/ 34552 h 1217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0134" h="121721">
                <a:moveTo>
                  <a:pt x="0" y="0"/>
                </a:moveTo>
                <a:lnTo>
                  <a:pt x="250134" y="0"/>
                </a:lnTo>
                <a:lnTo>
                  <a:pt x="250134" y="34552"/>
                </a:lnTo>
                <a:cubicBezTo>
                  <a:pt x="250134" y="82694"/>
                  <a:pt x="211107" y="121721"/>
                  <a:pt x="162965" y="121721"/>
                </a:cubicBezTo>
                <a:lnTo>
                  <a:pt x="87169" y="121721"/>
                </a:lnTo>
                <a:cubicBezTo>
                  <a:pt x="39027" y="121721"/>
                  <a:pt x="0" y="82694"/>
                  <a:pt x="0" y="34552"/>
                </a:cubicBezTo>
                <a:close/>
              </a:path>
            </a:pathLst>
          </a:custGeom>
          <a:solidFill>
            <a:schemeClr val="bg1"/>
          </a:solidFill>
          <a:ln w="12700" cap="rnd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6" name="Flowchart: Connector 35">
            <a:extLst>
              <a:ext uri="{FF2B5EF4-FFF2-40B4-BE49-F238E27FC236}">
                <a16:creationId xmlns:a16="http://schemas.microsoft.com/office/drawing/2014/main" id="{C7DB7471-1E6B-6859-1D19-36B05999440E}"/>
              </a:ext>
            </a:extLst>
          </p:cNvPr>
          <p:cNvSpPr/>
          <p:nvPr/>
        </p:nvSpPr>
        <p:spPr>
          <a:xfrm>
            <a:off x="2330538" y="2007813"/>
            <a:ext cx="553212" cy="553212"/>
          </a:xfrm>
          <a:prstGeom prst="flowChartConnector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7" name="Flowchart: Connector 36">
            <a:extLst>
              <a:ext uri="{FF2B5EF4-FFF2-40B4-BE49-F238E27FC236}">
                <a16:creationId xmlns:a16="http://schemas.microsoft.com/office/drawing/2014/main" id="{2F53E8AE-FF54-DA44-2F27-0B1811DA990F}"/>
              </a:ext>
            </a:extLst>
          </p:cNvPr>
          <p:cNvSpPr/>
          <p:nvPr/>
        </p:nvSpPr>
        <p:spPr>
          <a:xfrm>
            <a:off x="2725186" y="2533786"/>
            <a:ext cx="553212" cy="553212"/>
          </a:xfrm>
          <a:prstGeom prst="flowChartConnector">
            <a:avLst/>
          </a:prstGeom>
          <a:gradFill>
            <a:gsLst>
              <a:gs pos="0">
                <a:srgbClr val="F16222"/>
              </a:gs>
              <a:gs pos="100000">
                <a:srgbClr val="EB920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8" name="Flowchart: Connector 37">
            <a:extLst>
              <a:ext uri="{FF2B5EF4-FFF2-40B4-BE49-F238E27FC236}">
                <a16:creationId xmlns:a16="http://schemas.microsoft.com/office/drawing/2014/main" id="{A778399E-CDCB-2CA6-D4FE-FBD8A2A14D97}"/>
              </a:ext>
            </a:extLst>
          </p:cNvPr>
          <p:cNvSpPr/>
          <p:nvPr/>
        </p:nvSpPr>
        <p:spPr>
          <a:xfrm>
            <a:off x="2883882" y="3066528"/>
            <a:ext cx="553212" cy="553212"/>
          </a:xfrm>
          <a:prstGeom prst="flowChartConnector">
            <a:avLst/>
          </a:prstGeom>
          <a:gradFill>
            <a:gsLst>
              <a:gs pos="0">
                <a:srgbClr val="F16222"/>
              </a:gs>
              <a:gs pos="100000">
                <a:srgbClr val="EB920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44" name="Picture 43">
            <a:extLst>
              <a:ext uri="{FF2B5EF4-FFF2-40B4-BE49-F238E27FC236}">
                <a16:creationId xmlns:a16="http://schemas.microsoft.com/office/drawing/2014/main" id="{0DE78516-5B63-0E95-01E5-27875102809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68934" y="1747154"/>
            <a:ext cx="487722" cy="237765"/>
          </a:xfrm>
          <a:prstGeom prst="rect">
            <a:avLst/>
          </a:prstGeom>
        </p:spPr>
      </p:pic>
      <p:sp>
        <p:nvSpPr>
          <p:cNvPr id="57" name="Rectangle: Rounded Corners 56">
            <a:extLst>
              <a:ext uri="{FF2B5EF4-FFF2-40B4-BE49-F238E27FC236}">
                <a16:creationId xmlns:a16="http://schemas.microsoft.com/office/drawing/2014/main" id="{46151ADA-3154-731D-7A5A-17D791B88611}"/>
              </a:ext>
            </a:extLst>
          </p:cNvPr>
          <p:cNvSpPr/>
          <p:nvPr/>
        </p:nvSpPr>
        <p:spPr>
          <a:xfrm rot="6396853">
            <a:off x="2661238" y="2317274"/>
            <a:ext cx="41500" cy="117636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2700">
            <a:solidFill>
              <a:schemeClr val="accent2"/>
            </a:solidFill>
          </a:ln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8" name="Freeform: Shape 340">
            <a:extLst>
              <a:ext uri="{FF2B5EF4-FFF2-40B4-BE49-F238E27FC236}">
                <a16:creationId xmlns:a16="http://schemas.microsoft.com/office/drawing/2014/main" id="{528A53D7-E73E-2815-89CA-FDA59FAA6CB1}"/>
              </a:ext>
            </a:extLst>
          </p:cNvPr>
          <p:cNvSpPr/>
          <p:nvPr/>
        </p:nvSpPr>
        <p:spPr>
          <a:xfrm rot="6413067">
            <a:off x="2532374" y="2222916"/>
            <a:ext cx="169549" cy="284770"/>
          </a:xfrm>
          <a:custGeom>
            <a:avLst/>
            <a:gdLst>
              <a:gd name="connsiteX0" fmla="*/ 61376 w 1712259"/>
              <a:gd name="connsiteY0" fmla="*/ 61376 h 2875858"/>
              <a:gd name="connsiteX1" fmla="*/ 209550 w 1712259"/>
              <a:gd name="connsiteY1" fmla="*/ 0 h 2875858"/>
              <a:gd name="connsiteX2" fmla="*/ 419100 w 1712259"/>
              <a:gd name="connsiteY2" fmla="*/ 209550 h 2875858"/>
              <a:gd name="connsiteX3" fmla="*/ 419100 w 1712259"/>
              <a:gd name="connsiteY3" fmla="*/ 1286350 h 2875858"/>
              <a:gd name="connsiteX4" fmla="*/ 1650884 w 1712259"/>
              <a:gd name="connsiteY4" fmla="*/ 2518134 h 2875858"/>
              <a:gd name="connsiteX5" fmla="*/ 1650884 w 1712259"/>
              <a:gd name="connsiteY5" fmla="*/ 2814482 h 2875858"/>
              <a:gd name="connsiteX6" fmla="*/ 1354535 w 1712259"/>
              <a:gd name="connsiteY6" fmla="*/ 2814482 h 2875858"/>
              <a:gd name="connsiteX7" fmla="*/ 68814 w 1712259"/>
              <a:gd name="connsiteY7" fmla="*/ 1528761 h 2875858"/>
              <a:gd name="connsiteX8" fmla="*/ 61376 w 1712259"/>
              <a:gd name="connsiteY8" fmla="*/ 1522624 h 2875858"/>
              <a:gd name="connsiteX9" fmla="*/ 0 w 1712259"/>
              <a:gd name="connsiteY9" fmla="*/ 1374450 h 2875858"/>
              <a:gd name="connsiteX10" fmla="*/ 0 w 1712259"/>
              <a:gd name="connsiteY10" fmla="*/ 209550 h 2875858"/>
              <a:gd name="connsiteX11" fmla="*/ 61376 w 1712259"/>
              <a:gd name="connsiteY11" fmla="*/ 61376 h 2875858"/>
              <a:gd name="connsiteX0" fmla="*/ 61376 w 1712259"/>
              <a:gd name="connsiteY0" fmla="*/ 61376 h 2875858"/>
              <a:gd name="connsiteX1" fmla="*/ 209550 w 1712259"/>
              <a:gd name="connsiteY1" fmla="*/ 0 h 2875858"/>
              <a:gd name="connsiteX2" fmla="*/ 419100 w 1712259"/>
              <a:gd name="connsiteY2" fmla="*/ 209550 h 2875858"/>
              <a:gd name="connsiteX3" fmla="*/ 419100 w 1712259"/>
              <a:gd name="connsiteY3" fmla="*/ 1286350 h 2875858"/>
              <a:gd name="connsiteX4" fmla="*/ 1650884 w 1712259"/>
              <a:gd name="connsiteY4" fmla="*/ 2518134 h 2875858"/>
              <a:gd name="connsiteX5" fmla="*/ 1650884 w 1712259"/>
              <a:gd name="connsiteY5" fmla="*/ 2814482 h 2875858"/>
              <a:gd name="connsiteX6" fmla="*/ 1354535 w 1712259"/>
              <a:gd name="connsiteY6" fmla="*/ 2814482 h 2875858"/>
              <a:gd name="connsiteX7" fmla="*/ 68814 w 1712259"/>
              <a:gd name="connsiteY7" fmla="*/ 1528761 h 2875858"/>
              <a:gd name="connsiteX8" fmla="*/ 0 w 1712259"/>
              <a:gd name="connsiteY8" fmla="*/ 1374450 h 2875858"/>
              <a:gd name="connsiteX9" fmla="*/ 0 w 1712259"/>
              <a:gd name="connsiteY9" fmla="*/ 209550 h 2875858"/>
              <a:gd name="connsiteX10" fmla="*/ 61376 w 1712259"/>
              <a:gd name="connsiteY10" fmla="*/ 61376 h 2875858"/>
              <a:gd name="connsiteX0" fmla="*/ 61376 w 1712259"/>
              <a:gd name="connsiteY0" fmla="*/ 61376 h 2875858"/>
              <a:gd name="connsiteX1" fmla="*/ 209550 w 1712259"/>
              <a:gd name="connsiteY1" fmla="*/ 0 h 2875858"/>
              <a:gd name="connsiteX2" fmla="*/ 419100 w 1712259"/>
              <a:gd name="connsiteY2" fmla="*/ 209550 h 2875858"/>
              <a:gd name="connsiteX3" fmla="*/ 419100 w 1712259"/>
              <a:gd name="connsiteY3" fmla="*/ 1286350 h 2875858"/>
              <a:gd name="connsiteX4" fmla="*/ 1650884 w 1712259"/>
              <a:gd name="connsiteY4" fmla="*/ 2518134 h 2875858"/>
              <a:gd name="connsiteX5" fmla="*/ 1650884 w 1712259"/>
              <a:gd name="connsiteY5" fmla="*/ 2814482 h 2875858"/>
              <a:gd name="connsiteX6" fmla="*/ 1354535 w 1712259"/>
              <a:gd name="connsiteY6" fmla="*/ 2814482 h 2875858"/>
              <a:gd name="connsiteX7" fmla="*/ 16616 w 1712259"/>
              <a:gd name="connsiteY7" fmla="*/ 1476564 h 2875858"/>
              <a:gd name="connsiteX8" fmla="*/ 0 w 1712259"/>
              <a:gd name="connsiteY8" fmla="*/ 1374450 h 2875858"/>
              <a:gd name="connsiteX9" fmla="*/ 0 w 1712259"/>
              <a:gd name="connsiteY9" fmla="*/ 209550 h 2875858"/>
              <a:gd name="connsiteX10" fmla="*/ 61376 w 1712259"/>
              <a:gd name="connsiteY10" fmla="*/ 61376 h 2875858"/>
              <a:gd name="connsiteX0" fmla="*/ 61376 w 1712259"/>
              <a:gd name="connsiteY0" fmla="*/ 61376 h 2875858"/>
              <a:gd name="connsiteX1" fmla="*/ 209550 w 1712259"/>
              <a:gd name="connsiteY1" fmla="*/ 0 h 2875858"/>
              <a:gd name="connsiteX2" fmla="*/ 419100 w 1712259"/>
              <a:gd name="connsiteY2" fmla="*/ 209550 h 2875858"/>
              <a:gd name="connsiteX3" fmla="*/ 419100 w 1712259"/>
              <a:gd name="connsiteY3" fmla="*/ 1286350 h 2875858"/>
              <a:gd name="connsiteX4" fmla="*/ 1650884 w 1712259"/>
              <a:gd name="connsiteY4" fmla="*/ 2518134 h 2875858"/>
              <a:gd name="connsiteX5" fmla="*/ 1650884 w 1712259"/>
              <a:gd name="connsiteY5" fmla="*/ 2814482 h 2875858"/>
              <a:gd name="connsiteX6" fmla="*/ 1354535 w 1712259"/>
              <a:gd name="connsiteY6" fmla="*/ 2814482 h 2875858"/>
              <a:gd name="connsiteX7" fmla="*/ 3146 w 1712259"/>
              <a:gd name="connsiteY7" fmla="*/ 1463094 h 2875858"/>
              <a:gd name="connsiteX8" fmla="*/ 0 w 1712259"/>
              <a:gd name="connsiteY8" fmla="*/ 1374450 h 2875858"/>
              <a:gd name="connsiteX9" fmla="*/ 0 w 1712259"/>
              <a:gd name="connsiteY9" fmla="*/ 209550 h 2875858"/>
              <a:gd name="connsiteX10" fmla="*/ 61376 w 1712259"/>
              <a:gd name="connsiteY10" fmla="*/ 61376 h 2875858"/>
              <a:gd name="connsiteX0" fmla="*/ 61376 w 1712259"/>
              <a:gd name="connsiteY0" fmla="*/ 61376 h 2875858"/>
              <a:gd name="connsiteX1" fmla="*/ 209550 w 1712259"/>
              <a:gd name="connsiteY1" fmla="*/ 0 h 2875858"/>
              <a:gd name="connsiteX2" fmla="*/ 419100 w 1712259"/>
              <a:gd name="connsiteY2" fmla="*/ 209550 h 2875858"/>
              <a:gd name="connsiteX3" fmla="*/ 419100 w 1712259"/>
              <a:gd name="connsiteY3" fmla="*/ 1286350 h 2875858"/>
              <a:gd name="connsiteX4" fmla="*/ 1650884 w 1712259"/>
              <a:gd name="connsiteY4" fmla="*/ 2518134 h 2875858"/>
              <a:gd name="connsiteX5" fmla="*/ 1650884 w 1712259"/>
              <a:gd name="connsiteY5" fmla="*/ 2814482 h 2875858"/>
              <a:gd name="connsiteX6" fmla="*/ 1354535 w 1712259"/>
              <a:gd name="connsiteY6" fmla="*/ 2814482 h 2875858"/>
              <a:gd name="connsiteX7" fmla="*/ 3146 w 1712259"/>
              <a:gd name="connsiteY7" fmla="*/ 1463094 h 2875858"/>
              <a:gd name="connsiteX8" fmla="*/ 0 w 1712259"/>
              <a:gd name="connsiteY8" fmla="*/ 209550 h 2875858"/>
              <a:gd name="connsiteX9" fmla="*/ 61376 w 1712259"/>
              <a:gd name="connsiteY9" fmla="*/ 61376 h 28758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712259" h="2875858">
                <a:moveTo>
                  <a:pt x="61376" y="61376"/>
                </a:moveTo>
                <a:cubicBezTo>
                  <a:pt x="99297" y="23455"/>
                  <a:pt x="151685" y="0"/>
                  <a:pt x="209550" y="0"/>
                </a:cubicBezTo>
                <a:cubicBezTo>
                  <a:pt x="325281" y="0"/>
                  <a:pt x="419100" y="93819"/>
                  <a:pt x="419100" y="209550"/>
                </a:cubicBezTo>
                <a:lnTo>
                  <a:pt x="419100" y="1286350"/>
                </a:lnTo>
                <a:lnTo>
                  <a:pt x="1650884" y="2518134"/>
                </a:lnTo>
                <a:cubicBezTo>
                  <a:pt x="1732718" y="2599968"/>
                  <a:pt x="1732718" y="2732648"/>
                  <a:pt x="1650884" y="2814482"/>
                </a:cubicBezTo>
                <a:cubicBezTo>
                  <a:pt x="1569050" y="2896317"/>
                  <a:pt x="1436370" y="2896317"/>
                  <a:pt x="1354535" y="2814482"/>
                </a:cubicBezTo>
                <a:lnTo>
                  <a:pt x="3146" y="1463094"/>
                </a:lnTo>
                <a:cubicBezTo>
                  <a:pt x="2097" y="1045246"/>
                  <a:pt x="1049" y="627398"/>
                  <a:pt x="0" y="209550"/>
                </a:cubicBezTo>
                <a:cubicBezTo>
                  <a:pt x="0" y="151685"/>
                  <a:pt x="23455" y="99297"/>
                  <a:pt x="61376" y="61376"/>
                </a:cubicBezTo>
                <a:close/>
              </a:path>
            </a:pathLst>
          </a:custGeom>
          <a:solidFill>
            <a:schemeClr val="bg1"/>
          </a:solidFill>
          <a:ln w="12700">
            <a:solidFill>
              <a:schemeClr val="accent2"/>
            </a:solidFill>
          </a:ln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5" name="Rectangle: Rounded Corners 54">
            <a:extLst>
              <a:ext uri="{FF2B5EF4-FFF2-40B4-BE49-F238E27FC236}">
                <a16:creationId xmlns:a16="http://schemas.microsoft.com/office/drawing/2014/main" id="{D428C2CA-64F9-CD02-5C7E-E2F8300BC754}"/>
              </a:ext>
            </a:extLst>
          </p:cNvPr>
          <p:cNvSpPr/>
          <p:nvPr/>
        </p:nvSpPr>
        <p:spPr>
          <a:xfrm rot="1029281" flipH="1">
            <a:off x="2558553" y="2125087"/>
            <a:ext cx="41500" cy="117636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2700">
            <a:solidFill>
              <a:schemeClr val="accent2"/>
            </a:solidFill>
          </a:ln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6" name="Freeform: Shape 338">
            <a:extLst>
              <a:ext uri="{FF2B5EF4-FFF2-40B4-BE49-F238E27FC236}">
                <a16:creationId xmlns:a16="http://schemas.microsoft.com/office/drawing/2014/main" id="{586B7D95-88EE-E71D-858B-8252B3B8A992}"/>
              </a:ext>
            </a:extLst>
          </p:cNvPr>
          <p:cNvSpPr/>
          <p:nvPr/>
        </p:nvSpPr>
        <p:spPr>
          <a:xfrm rot="1013067" flipH="1">
            <a:off x="2467459" y="2101419"/>
            <a:ext cx="169549" cy="284770"/>
          </a:xfrm>
          <a:custGeom>
            <a:avLst/>
            <a:gdLst>
              <a:gd name="connsiteX0" fmla="*/ 61376 w 1712259"/>
              <a:gd name="connsiteY0" fmla="*/ 61376 h 2875858"/>
              <a:gd name="connsiteX1" fmla="*/ 209550 w 1712259"/>
              <a:gd name="connsiteY1" fmla="*/ 0 h 2875858"/>
              <a:gd name="connsiteX2" fmla="*/ 419100 w 1712259"/>
              <a:gd name="connsiteY2" fmla="*/ 209550 h 2875858"/>
              <a:gd name="connsiteX3" fmla="*/ 419100 w 1712259"/>
              <a:gd name="connsiteY3" fmla="*/ 1286350 h 2875858"/>
              <a:gd name="connsiteX4" fmla="*/ 1650884 w 1712259"/>
              <a:gd name="connsiteY4" fmla="*/ 2518134 h 2875858"/>
              <a:gd name="connsiteX5" fmla="*/ 1650884 w 1712259"/>
              <a:gd name="connsiteY5" fmla="*/ 2814482 h 2875858"/>
              <a:gd name="connsiteX6" fmla="*/ 1354535 w 1712259"/>
              <a:gd name="connsiteY6" fmla="*/ 2814482 h 2875858"/>
              <a:gd name="connsiteX7" fmla="*/ 68814 w 1712259"/>
              <a:gd name="connsiteY7" fmla="*/ 1528761 h 2875858"/>
              <a:gd name="connsiteX8" fmla="*/ 61376 w 1712259"/>
              <a:gd name="connsiteY8" fmla="*/ 1522624 h 2875858"/>
              <a:gd name="connsiteX9" fmla="*/ 0 w 1712259"/>
              <a:gd name="connsiteY9" fmla="*/ 1374450 h 2875858"/>
              <a:gd name="connsiteX10" fmla="*/ 0 w 1712259"/>
              <a:gd name="connsiteY10" fmla="*/ 209550 h 2875858"/>
              <a:gd name="connsiteX11" fmla="*/ 61376 w 1712259"/>
              <a:gd name="connsiteY11" fmla="*/ 61376 h 2875858"/>
              <a:gd name="connsiteX0" fmla="*/ 61376 w 1712259"/>
              <a:gd name="connsiteY0" fmla="*/ 61376 h 2875858"/>
              <a:gd name="connsiteX1" fmla="*/ 209550 w 1712259"/>
              <a:gd name="connsiteY1" fmla="*/ 0 h 2875858"/>
              <a:gd name="connsiteX2" fmla="*/ 419100 w 1712259"/>
              <a:gd name="connsiteY2" fmla="*/ 209550 h 2875858"/>
              <a:gd name="connsiteX3" fmla="*/ 419100 w 1712259"/>
              <a:gd name="connsiteY3" fmla="*/ 1286350 h 2875858"/>
              <a:gd name="connsiteX4" fmla="*/ 1650884 w 1712259"/>
              <a:gd name="connsiteY4" fmla="*/ 2518134 h 2875858"/>
              <a:gd name="connsiteX5" fmla="*/ 1650884 w 1712259"/>
              <a:gd name="connsiteY5" fmla="*/ 2814482 h 2875858"/>
              <a:gd name="connsiteX6" fmla="*/ 1354535 w 1712259"/>
              <a:gd name="connsiteY6" fmla="*/ 2814482 h 2875858"/>
              <a:gd name="connsiteX7" fmla="*/ 68814 w 1712259"/>
              <a:gd name="connsiteY7" fmla="*/ 1528761 h 2875858"/>
              <a:gd name="connsiteX8" fmla="*/ 0 w 1712259"/>
              <a:gd name="connsiteY8" fmla="*/ 1374450 h 2875858"/>
              <a:gd name="connsiteX9" fmla="*/ 0 w 1712259"/>
              <a:gd name="connsiteY9" fmla="*/ 209550 h 2875858"/>
              <a:gd name="connsiteX10" fmla="*/ 61376 w 1712259"/>
              <a:gd name="connsiteY10" fmla="*/ 61376 h 2875858"/>
              <a:gd name="connsiteX0" fmla="*/ 61376 w 1712259"/>
              <a:gd name="connsiteY0" fmla="*/ 61376 h 2875858"/>
              <a:gd name="connsiteX1" fmla="*/ 209550 w 1712259"/>
              <a:gd name="connsiteY1" fmla="*/ 0 h 2875858"/>
              <a:gd name="connsiteX2" fmla="*/ 419100 w 1712259"/>
              <a:gd name="connsiteY2" fmla="*/ 209550 h 2875858"/>
              <a:gd name="connsiteX3" fmla="*/ 419100 w 1712259"/>
              <a:gd name="connsiteY3" fmla="*/ 1286350 h 2875858"/>
              <a:gd name="connsiteX4" fmla="*/ 1650884 w 1712259"/>
              <a:gd name="connsiteY4" fmla="*/ 2518134 h 2875858"/>
              <a:gd name="connsiteX5" fmla="*/ 1650884 w 1712259"/>
              <a:gd name="connsiteY5" fmla="*/ 2814482 h 2875858"/>
              <a:gd name="connsiteX6" fmla="*/ 1354535 w 1712259"/>
              <a:gd name="connsiteY6" fmla="*/ 2814482 h 2875858"/>
              <a:gd name="connsiteX7" fmla="*/ 16616 w 1712259"/>
              <a:gd name="connsiteY7" fmla="*/ 1476564 h 2875858"/>
              <a:gd name="connsiteX8" fmla="*/ 0 w 1712259"/>
              <a:gd name="connsiteY8" fmla="*/ 1374450 h 2875858"/>
              <a:gd name="connsiteX9" fmla="*/ 0 w 1712259"/>
              <a:gd name="connsiteY9" fmla="*/ 209550 h 2875858"/>
              <a:gd name="connsiteX10" fmla="*/ 61376 w 1712259"/>
              <a:gd name="connsiteY10" fmla="*/ 61376 h 2875858"/>
              <a:gd name="connsiteX0" fmla="*/ 61376 w 1712259"/>
              <a:gd name="connsiteY0" fmla="*/ 61376 h 2875858"/>
              <a:gd name="connsiteX1" fmla="*/ 209550 w 1712259"/>
              <a:gd name="connsiteY1" fmla="*/ 0 h 2875858"/>
              <a:gd name="connsiteX2" fmla="*/ 419100 w 1712259"/>
              <a:gd name="connsiteY2" fmla="*/ 209550 h 2875858"/>
              <a:gd name="connsiteX3" fmla="*/ 419100 w 1712259"/>
              <a:gd name="connsiteY3" fmla="*/ 1286350 h 2875858"/>
              <a:gd name="connsiteX4" fmla="*/ 1650884 w 1712259"/>
              <a:gd name="connsiteY4" fmla="*/ 2518134 h 2875858"/>
              <a:gd name="connsiteX5" fmla="*/ 1650884 w 1712259"/>
              <a:gd name="connsiteY5" fmla="*/ 2814482 h 2875858"/>
              <a:gd name="connsiteX6" fmla="*/ 1354535 w 1712259"/>
              <a:gd name="connsiteY6" fmla="*/ 2814482 h 2875858"/>
              <a:gd name="connsiteX7" fmla="*/ 3146 w 1712259"/>
              <a:gd name="connsiteY7" fmla="*/ 1463094 h 2875858"/>
              <a:gd name="connsiteX8" fmla="*/ 0 w 1712259"/>
              <a:gd name="connsiteY8" fmla="*/ 1374450 h 2875858"/>
              <a:gd name="connsiteX9" fmla="*/ 0 w 1712259"/>
              <a:gd name="connsiteY9" fmla="*/ 209550 h 2875858"/>
              <a:gd name="connsiteX10" fmla="*/ 61376 w 1712259"/>
              <a:gd name="connsiteY10" fmla="*/ 61376 h 2875858"/>
              <a:gd name="connsiteX0" fmla="*/ 61376 w 1712259"/>
              <a:gd name="connsiteY0" fmla="*/ 61376 h 2875858"/>
              <a:gd name="connsiteX1" fmla="*/ 209550 w 1712259"/>
              <a:gd name="connsiteY1" fmla="*/ 0 h 2875858"/>
              <a:gd name="connsiteX2" fmla="*/ 419100 w 1712259"/>
              <a:gd name="connsiteY2" fmla="*/ 209550 h 2875858"/>
              <a:gd name="connsiteX3" fmla="*/ 419100 w 1712259"/>
              <a:gd name="connsiteY3" fmla="*/ 1286350 h 2875858"/>
              <a:gd name="connsiteX4" fmla="*/ 1650884 w 1712259"/>
              <a:gd name="connsiteY4" fmla="*/ 2518134 h 2875858"/>
              <a:gd name="connsiteX5" fmla="*/ 1650884 w 1712259"/>
              <a:gd name="connsiteY5" fmla="*/ 2814482 h 2875858"/>
              <a:gd name="connsiteX6" fmla="*/ 1354535 w 1712259"/>
              <a:gd name="connsiteY6" fmla="*/ 2814482 h 2875858"/>
              <a:gd name="connsiteX7" fmla="*/ 3146 w 1712259"/>
              <a:gd name="connsiteY7" fmla="*/ 1463094 h 2875858"/>
              <a:gd name="connsiteX8" fmla="*/ 0 w 1712259"/>
              <a:gd name="connsiteY8" fmla="*/ 209550 h 2875858"/>
              <a:gd name="connsiteX9" fmla="*/ 61376 w 1712259"/>
              <a:gd name="connsiteY9" fmla="*/ 61376 h 28758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712259" h="2875858">
                <a:moveTo>
                  <a:pt x="61376" y="61376"/>
                </a:moveTo>
                <a:cubicBezTo>
                  <a:pt x="99297" y="23455"/>
                  <a:pt x="151685" y="0"/>
                  <a:pt x="209550" y="0"/>
                </a:cubicBezTo>
                <a:cubicBezTo>
                  <a:pt x="325281" y="0"/>
                  <a:pt x="419100" y="93819"/>
                  <a:pt x="419100" y="209550"/>
                </a:cubicBezTo>
                <a:lnTo>
                  <a:pt x="419100" y="1286350"/>
                </a:lnTo>
                <a:lnTo>
                  <a:pt x="1650884" y="2518134"/>
                </a:lnTo>
                <a:cubicBezTo>
                  <a:pt x="1732718" y="2599968"/>
                  <a:pt x="1732718" y="2732648"/>
                  <a:pt x="1650884" y="2814482"/>
                </a:cubicBezTo>
                <a:cubicBezTo>
                  <a:pt x="1569050" y="2896317"/>
                  <a:pt x="1436370" y="2896317"/>
                  <a:pt x="1354535" y="2814482"/>
                </a:cubicBezTo>
                <a:lnTo>
                  <a:pt x="3146" y="1463094"/>
                </a:lnTo>
                <a:cubicBezTo>
                  <a:pt x="2097" y="1045246"/>
                  <a:pt x="1049" y="627398"/>
                  <a:pt x="0" y="209550"/>
                </a:cubicBezTo>
                <a:cubicBezTo>
                  <a:pt x="0" y="151685"/>
                  <a:pt x="23455" y="99297"/>
                  <a:pt x="61376" y="61376"/>
                </a:cubicBezTo>
                <a:close/>
              </a:path>
            </a:pathLst>
          </a:custGeom>
          <a:solidFill>
            <a:schemeClr val="bg1"/>
          </a:solidFill>
          <a:ln w="12700">
            <a:solidFill>
              <a:schemeClr val="accent2"/>
            </a:solidFill>
          </a:ln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5879286F-F3FF-2A6D-0431-F8E298B04A6A}"/>
              </a:ext>
            </a:extLst>
          </p:cNvPr>
          <p:cNvSpPr txBox="1"/>
          <p:nvPr/>
        </p:nvSpPr>
        <p:spPr>
          <a:xfrm>
            <a:off x="1486565" y="2453580"/>
            <a:ext cx="1112688" cy="26826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CB813"/>
              </a:buClr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MoAbs</a:t>
            </a: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1" name="Free-form: Shape 34">
            <a:extLst>
              <a:ext uri="{FF2B5EF4-FFF2-40B4-BE49-F238E27FC236}">
                <a16:creationId xmlns:a16="http://schemas.microsoft.com/office/drawing/2014/main" id="{26FE4A24-DCCE-569F-8897-85E0ABC846AD}"/>
              </a:ext>
            </a:extLst>
          </p:cNvPr>
          <p:cNvSpPr/>
          <p:nvPr/>
        </p:nvSpPr>
        <p:spPr>
          <a:xfrm rot="11241542">
            <a:off x="2925611" y="2882050"/>
            <a:ext cx="75282" cy="66049"/>
          </a:xfrm>
          <a:custGeom>
            <a:avLst/>
            <a:gdLst>
              <a:gd name="connsiteX0" fmla="*/ 184925 w 420041"/>
              <a:gd name="connsiteY0" fmla="*/ 340000 h 381715"/>
              <a:gd name="connsiteX1" fmla="*/ 316126 w 420041"/>
              <a:gd name="connsiteY1" fmla="*/ 273671 h 381715"/>
              <a:gd name="connsiteX2" fmla="*/ 344968 w 420041"/>
              <a:gd name="connsiteY2" fmla="*/ 248147 h 381715"/>
              <a:gd name="connsiteX3" fmla="*/ 346982 w 420041"/>
              <a:gd name="connsiteY3" fmla="*/ 230164 h 381715"/>
              <a:gd name="connsiteX4" fmla="*/ 398451 w 420041"/>
              <a:gd name="connsiteY4" fmla="*/ 204144 h 381715"/>
              <a:gd name="connsiteX5" fmla="*/ 418346 w 420041"/>
              <a:gd name="connsiteY5" fmla="*/ 170842 h 381715"/>
              <a:gd name="connsiteX6" fmla="*/ 417908 w 420041"/>
              <a:gd name="connsiteY6" fmla="*/ 169976 h 381715"/>
              <a:gd name="connsiteX7" fmla="*/ 420041 w 420041"/>
              <a:gd name="connsiteY7" fmla="*/ 164827 h 381715"/>
              <a:gd name="connsiteX8" fmla="*/ 420041 w 420041"/>
              <a:gd name="connsiteY8" fmla="*/ 29057 h 381715"/>
              <a:gd name="connsiteX9" fmla="*/ 390984 w 420041"/>
              <a:gd name="connsiteY9" fmla="*/ 0 h 381715"/>
              <a:gd name="connsiteX10" fmla="*/ 374813 w 420041"/>
              <a:gd name="connsiteY10" fmla="*/ 0 h 381715"/>
              <a:gd name="connsiteX11" fmla="*/ 345756 w 420041"/>
              <a:gd name="connsiteY11" fmla="*/ 29057 h 381715"/>
              <a:gd name="connsiteX12" fmla="*/ 345756 w 420041"/>
              <a:gd name="connsiteY12" fmla="*/ 141140 h 381715"/>
              <a:gd name="connsiteX13" fmla="*/ 310171 w 420041"/>
              <a:gd name="connsiteY13" fmla="*/ 159129 h 381715"/>
              <a:gd name="connsiteX14" fmla="*/ 295765 w 420041"/>
              <a:gd name="connsiteY14" fmla="*/ 150821 h 381715"/>
              <a:gd name="connsiteX15" fmla="*/ 258111 w 420041"/>
              <a:gd name="connsiteY15" fmla="*/ 158914 h 381715"/>
              <a:gd name="connsiteX16" fmla="*/ 126910 w 420041"/>
              <a:gd name="connsiteY16" fmla="*/ 225243 h 381715"/>
              <a:gd name="connsiteX17" fmla="*/ 98067 w 420041"/>
              <a:gd name="connsiteY17" fmla="*/ 250767 h 381715"/>
              <a:gd name="connsiteX18" fmla="*/ 96216 w 420041"/>
              <a:gd name="connsiteY18" fmla="*/ 267294 h 381715"/>
              <a:gd name="connsiteX19" fmla="*/ 21363 w 420041"/>
              <a:gd name="connsiteY19" fmla="*/ 305136 h 381715"/>
              <a:gd name="connsiteX20" fmla="*/ 1468 w 420041"/>
              <a:gd name="connsiteY20" fmla="*/ 338437 h 381715"/>
              <a:gd name="connsiteX21" fmla="*/ 18845 w 420041"/>
              <a:gd name="connsiteY21" fmla="*/ 372809 h 381715"/>
              <a:gd name="connsiteX22" fmla="*/ 57458 w 420041"/>
              <a:gd name="connsiteY22" fmla="*/ 376532 h 381715"/>
              <a:gd name="connsiteX23" fmla="*/ 131594 w 420041"/>
              <a:gd name="connsiteY23" fmla="*/ 339053 h 381715"/>
              <a:gd name="connsiteX24" fmla="*/ 147270 w 420041"/>
              <a:gd name="connsiteY24" fmla="*/ 348093 h 381715"/>
              <a:gd name="connsiteX25" fmla="*/ 184925 w 420041"/>
              <a:gd name="connsiteY25" fmla="*/ 340000 h 381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420041" h="381715">
                <a:moveTo>
                  <a:pt x="184925" y="340000"/>
                </a:moveTo>
                <a:lnTo>
                  <a:pt x="316126" y="273671"/>
                </a:lnTo>
                <a:cubicBezTo>
                  <a:pt x="329110" y="267107"/>
                  <a:pt x="339181" y="257834"/>
                  <a:pt x="344968" y="248147"/>
                </a:cubicBezTo>
                <a:lnTo>
                  <a:pt x="346982" y="230164"/>
                </a:lnTo>
                <a:lnTo>
                  <a:pt x="398451" y="204144"/>
                </a:lnTo>
                <a:cubicBezTo>
                  <a:pt x="414608" y="195976"/>
                  <a:pt x="423515" y="181066"/>
                  <a:pt x="418346" y="170842"/>
                </a:cubicBezTo>
                <a:lnTo>
                  <a:pt x="417908" y="169976"/>
                </a:lnTo>
                <a:lnTo>
                  <a:pt x="420041" y="164827"/>
                </a:lnTo>
                <a:lnTo>
                  <a:pt x="420041" y="29057"/>
                </a:lnTo>
                <a:cubicBezTo>
                  <a:pt x="420041" y="13009"/>
                  <a:pt x="407032" y="0"/>
                  <a:pt x="390984" y="0"/>
                </a:cubicBezTo>
                <a:lnTo>
                  <a:pt x="374813" y="0"/>
                </a:lnTo>
                <a:cubicBezTo>
                  <a:pt x="358765" y="0"/>
                  <a:pt x="345756" y="13009"/>
                  <a:pt x="345756" y="29057"/>
                </a:cubicBezTo>
                <a:lnTo>
                  <a:pt x="345756" y="141140"/>
                </a:lnTo>
                <a:lnTo>
                  <a:pt x="310171" y="159129"/>
                </a:lnTo>
                <a:lnTo>
                  <a:pt x="295765" y="150821"/>
                </a:lnTo>
                <a:cubicBezTo>
                  <a:pt x="284534" y="149738"/>
                  <a:pt x="271095" y="152350"/>
                  <a:pt x="258111" y="158914"/>
                </a:cubicBezTo>
                <a:lnTo>
                  <a:pt x="126910" y="225243"/>
                </a:lnTo>
                <a:cubicBezTo>
                  <a:pt x="113925" y="231807"/>
                  <a:pt x="103853" y="241080"/>
                  <a:pt x="98067" y="250767"/>
                </a:cubicBezTo>
                <a:lnTo>
                  <a:pt x="96216" y="267294"/>
                </a:lnTo>
                <a:lnTo>
                  <a:pt x="21363" y="305136"/>
                </a:lnTo>
                <a:cubicBezTo>
                  <a:pt x="5207" y="313303"/>
                  <a:pt x="-3701" y="328213"/>
                  <a:pt x="1468" y="338437"/>
                </a:cubicBezTo>
                <a:lnTo>
                  <a:pt x="18845" y="372809"/>
                </a:lnTo>
                <a:cubicBezTo>
                  <a:pt x="24013" y="383033"/>
                  <a:pt x="41301" y="384700"/>
                  <a:pt x="57458" y="376532"/>
                </a:cubicBezTo>
                <a:lnTo>
                  <a:pt x="131594" y="339053"/>
                </a:lnTo>
                <a:lnTo>
                  <a:pt x="147270" y="348093"/>
                </a:lnTo>
                <a:cubicBezTo>
                  <a:pt x="158501" y="349176"/>
                  <a:pt x="171940" y="346564"/>
                  <a:pt x="184925" y="340000"/>
                </a:cubicBezTo>
                <a:close/>
              </a:path>
            </a:pathLst>
          </a:cu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2" name="Free-form: Shape 32">
            <a:extLst>
              <a:ext uri="{FF2B5EF4-FFF2-40B4-BE49-F238E27FC236}">
                <a16:creationId xmlns:a16="http://schemas.microsoft.com/office/drawing/2014/main" id="{72C0AE71-1E4D-4549-706B-C231CCF1ED4B}"/>
              </a:ext>
            </a:extLst>
          </p:cNvPr>
          <p:cNvSpPr/>
          <p:nvPr/>
        </p:nvSpPr>
        <p:spPr>
          <a:xfrm rot="20797224" flipH="1">
            <a:off x="2911098" y="2928160"/>
            <a:ext cx="80520" cy="30577"/>
          </a:xfrm>
          <a:custGeom>
            <a:avLst/>
            <a:gdLst>
              <a:gd name="connsiteX0" fmla="*/ 107157 w 564357"/>
              <a:gd name="connsiteY0" fmla="*/ 0 h 214314"/>
              <a:gd name="connsiteX1" fmla="*/ 205893 w 564357"/>
              <a:gd name="connsiteY1" fmla="*/ 65447 h 214314"/>
              <a:gd name="connsiteX2" fmla="*/ 209453 w 564357"/>
              <a:gd name="connsiteY2" fmla="*/ 83080 h 214314"/>
              <a:gd name="connsiteX3" fmla="*/ 352417 w 564357"/>
              <a:gd name="connsiteY3" fmla="*/ 83080 h 214314"/>
              <a:gd name="connsiteX4" fmla="*/ 354712 w 564357"/>
              <a:gd name="connsiteY4" fmla="*/ 84030 h 214314"/>
              <a:gd name="connsiteX5" fmla="*/ 358464 w 564357"/>
              <a:gd name="connsiteY5" fmla="*/ 65447 h 214314"/>
              <a:gd name="connsiteX6" fmla="*/ 457200 w 564357"/>
              <a:gd name="connsiteY6" fmla="*/ 0 h 214314"/>
              <a:gd name="connsiteX7" fmla="*/ 564357 w 564357"/>
              <a:gd name="connsiteY7" fmla="*/ 107157 h 214314"/>
              <a:gd name="connsiteX8" fmla="*/ 457200 w 564357"/>
              <a:gd name="connsiteY8" fmla="*/ 214314 h 214314"/>
              <a:gd name="connsiteX9" fmla="*/ 358464 w 564357"/>
              <a:gd name="connsiteY9" fmla="*/ 148867 h 214314"/>
              <a:gd name="connsiteX10" fmla="*/ 356437 w 564357"/>
              <a:gd name="connsiteY10" fmla="*/ 138825 h 214314"/>
              <a:gd name="connsiteX11" fmla="*/ 352417 w 564357"/>
              <a:gd name="connsiteY11" fmla="*/ 140491 h 214314"/>
              <a:gd name="connsiteX12" fmla="*/ 207584 w 564357"/>
              <a:gd name="connsiteY12" fmla="*/ 140491 h 214314"/>
              <a:gd name="connsiteX13" fmla="*/ 205893 w 564357"/>
              <a:gd name="connsiteY13" fmla="*/ 148867 h 214314"/>
              <a:gd name="connsiteX14" fmla="*/ 107157 w 564357"/>
              <a:gd name="connsiteY14" fmla="*/ 214314 h 214314"/>
              <a:gd name="connsiteX15" fmla="*/ 0 w 564357"/>
              <a:gd name="connsiteY15" fmla="*/ 107157 h 214314"/>
              <a:gd name="connsiteX16" fmla="*/ 107157 w 564357"/>
              <a:gd name="connsiteY16" fmla="*/ 0 h 2143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564357" h="214314">
                <a:moveTo>
                  <a:pt x="107157" y="0"/>
                </a:moveTo>
                <a:cubicBezTo>
                  <a:pt x="151543" y="0"/>
                  <a:pt x="189626" y="26987"/>
                  <a:pt x="205893" y="65447"/>
                </a:cubicBezTo>
                <a:lnTo>
                  <a:pt x="209453" y="83080"/>
                </a:lnTo>
                <a:lnTo>
                  <a:pt x="352417" y="83080"/>
                </a:lnTo>
                <a:lnTo>
                  <a:pt x="354712" y="84030"/>
                </a:lnTo>
                <a:lnTo>
                  <a:pt x="358464" y="65447"/>
                </a:lnTo>
                <a:cubicBezTo>
                  <a:pt x="374731" y="26987"/>
                  <a:pt x="412814" y="0"/>
                  <a:pt x="457200" y="0"/>
                </a:cubicBezTo>
                <a:cubicBezTo>
                  <a:pt x="516381" y="0"/>
                  <a:pt x="564357" y="47976"/>
                  <a:pt x="564357" y="107157"/>
                </a:cubicBezTo>
                <a:cubicBezTo>
                  <a:pt x="564357" y="166338"/>
                  <a:pt x="516381" y="214314"/>
                  <a:pt x="457200" y="214314"/>
                </a:cubicBezTo>
                <a:cubicBezTo>
                  <a:pt x="412814" y="214314"/>
                  <a:pt x="374731" y="187328"/>
                  <a:pt x="358464" y="148867"/>
                </a:cubicBezTo>
                <a:lnTo>
                  <a:pt x="356437" y="138825"/>
                </a:lnTo>
                <a:lnTo>
                  <a:pt x="352417" y="140491"/>
                </a:lnTo>
                <a:lnTo>
                  <a:pt x="207584" y="140491"/>
                </a:lnTo>
                <a:lnTo>
                  <a:pt x="205893" y="148867"/>
                </a:lnTo>
                <a:cubicBezTo>
                  <a:pt x="189626" y="187328"/>
                  <a:pt x="151543" y="214314"/>
                  <a:pt x="107157" y="214314"/>
                </a:cubicBezTo>
                <a:cubicBezTo>
                  <a:pt x="47976" y="214314"/>
                  <a:pt x="0" y="166338"/>
                  <a:pt x="0" y="107157"/>
                </a:cubicBezTo>
                <a:cubicBezTo>
                  <a:pt x="0" y="47976"/>
                  <a:pt x="47976" y="0"/>
                  <a:pt x="107157" y="0"/>
                </a:cubicBezTo>
                <a:close/>
              </a:path>
            </a:pathLst>
          </a:cu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80" name="Free-form: Shape 37">
            <a:extLst>
              <a:ext uri="{FF2B5EF4-FFF2-40B4-BE49-F238E27FC236}">
                <a16:creationId xmlns:a16="http://schemas.microsoft.com/office/drawing/2014/main" id="{19EA56A7-61CF-9D47-1D9A-4A1088344AA9}"/>
              </a:ext>
            </a:extLst>
          </p:cNvPr>
          <p:cNvSpPr/>
          <p:nvPr/>
        </p:nvSpPr>
        <p:spPr>
          <a:xfrm rot="8023290" flipH="1">
            <a:off x="3065716" y="2833421"/>
            <a:ext cx="75282" cy="66049"/>
          </a:xfrm>
          <a:custGeom>
            <a:avLst/>
            <a:gdLst>
              <a:gd name="connsiteX0" fmla="*/ 184925 w 420041"/>
              <a:gd name="connsiteY0" fmla="*/ 340000 h 381715"/>
              <a:gd name="connsiteX1" fmla="*/ 316126 w 420041"/>
              <a:gd name="connsiteY1" fmla="*/ 273671 h 381715"/>
              <a:gd name="connsiteX2" fmla="*/ 344968 w 420041"/>
              <a:gd name="connsiteY2" fmla="*/ 248147 h 381715"/>
              <a:gd name="connsiteX3" fmla="*/ 346982 w 420041"/>
              <a:gd name="connsiteY3" fmla="*/ 230164 h 381715"/>
              <a:gd name="connsiteX4" fmla="*/ 398451 w 420041"/>
              <a:gd name="connsiteY4" fmla="*/ 204144 h 381715"/>
              <a:gd name="connsiteX5" fmla="*/ 418346 w 420041"/>
              <a:gd name="connsiteY5" fmla="*/ 170842 h 381715"/>
              <a:gd name="connsiteX6" fmla="*/ 417908 w 420041"/>
              <a:gd name="connsiteY6" fmla="*/ 169976 h 381715"/>
              <a:gd name="connsiteX7" fmla="*/ 420041 w 420041"/>
              <a:gd name="connsiteY7" fmla="*/ 164827 h 381715"/>
              <a:gd name="connsiteX8" fmla="*/ 420041 w 420041"/>
              <a:gd name="connsiteY8" fmla="*/ 29057 h 381715"/>
              <a:gd name="connsiteX9" fmla="*/ 390984 w 420041"/>
              <a:gd name="connsiteY9" fmla="*/ 0 h 381715"/>
              <a:gd name="connsiteX10" fmla="*/ 374813 w 420041"/>
              <a:gd name="connsiteY10" fmla="*/ 0 h 381715"/>
              <a:gd name="connsiteX11" fmla="*/ 345756 w 420041"/>
              <a:gd name="connsiteY11" fmla="*/ 29057 h 381715"/>
              <a:gd name="connsiteX12" fmla="*/ 345756 w 420041"/>
              <a:gd name="connsiteY12" fmla="*/ 141140 h 381715"/>
              <a:gd name="connsiteX13" fmla="*/ 310171 w 420041"/>
              <a:gd name="connsiteY13" fmla="*/ 159129 h 381715"/>
              <a:gd name="connsiteX14" fmla="*/ 295765 w 420041"/>
              <a:gd name="connsiteY14" fmla="*/ 150821 h 381715"/>
              <a:gd name="connsiteX15" fmla="*/ 258111 w 420041"/>
              <a:gd name="connsiteY15" fmla="*/ 158914 h 381715"/>
              <a:gd name="connsiteX16" fmla="*/ 126910 w 420041"/>
              <a:gd name="connsiteY16" fmla="*/ 225243 h 381715"/>
              <a:gd name="connsiteX17" fmla="*/ 98067 w 420041"/>
              <a:gd name="connsiteY17" fmla="*/ 250767 h 381715"/>
              <a:gd name="connsiteX18" fmla="*/ 96216 w 420041"/>
              <a:gd name="connsiteY18" fmla="*/ 267294 h 381715"/>
              <a:gd name="connsiteX19" fmla="*/ 21363 w 420041"/>
              <a:gd name="connsiteY19" fmla="*/ 305136 h 381715"/>
              <a:gd name="connsiteX20" fmla="*/ 1468 w 420041"/>
              <a:gd name="connsiteY20" fmla="*/ 338437 h 381715"/>
              <a:gd name="connsiteX21" fmla="*/ 18845 w 420041"/>
              <a:gd name="connsiteY21" fmla="*/ 372809 h 381715"/>
              <a:gd name="connsiteX22" fmla="*/ 57458 w 420041"/>
              <a:gd name="connsiteY22" fmla="*/ 376532 h 381715"/>
              <a:gd name="connsiteX23" fmla="*/ 131594 w 420041"/>
              <a:gd name="connsiteY23" fmla="*/ 339053 h 381715"/>
              <a:gd name="connsiteX24" fmla="*/ 147270 w 420041"/>
              <a:gd name="connsiteY24" fmla="*/ 348093 h 381715"/>
              <a:gd name="connsiteX25" fmla="*/ 184925 w 420041"/>
              <a:gd name="connsiteY25" fmla="*/ 340000 h 381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420041" h="381715">
                <a:moveTo>
                  <a:pt x="184925" y="340000"/>
                </a:moveTo>
                <a:lnTo>
                  <a:pt x="316126" y="273671"/>
                </a:lnTo>
                <a:cubicBezTo>
                  <a:pt x="329110" y="267107"/>
                  <a:pt x="339181" y="257834"/>
                  <a:pt x="344968" y="248147"/>
                </a:cubicBezTo>
                <a:lnTo>
                  <a:pt x="346982" y="230164"/>
                </a:lnTo>
                <a:lnTo>
                  <a:pt x="398451" y="204144"/>
                </a:lnTo>
                <a:cubicBezTo>
                  <a:pt x="414608" y="195976"/>
                  <a:pt x="423515" y="181066"/>
                  <a:pt x="418346" y="170842"/>
                </a:cubicBezTo>
                <a:lnTo>
                  <a:pt x="417908" y="169976"/>
                </a:lnTo>
                <a:lnTo>
                  <a:pt x="420041" y="164827"/>
                </a:lnTo>
                <a:lnTo>
                  <a:pt x="420041" y="29057"/>
                </a:lnTo>
                <a:cubicBezTo>
                  <a:pt x="420041" y="13009"/>
                  <a:pt x="407032" y="0"/>
                  <a:pt x="390984" y="0"/>
                </a:cubicBezTo>
                <a:lnTo>
                  <a:pt x="374813" y="0"/>
                </a:lnTo>
                <a:cubicBezTo>
                  <a:pt x="358765" y="0"/>
                  <a:pt x="345756" y="13009"/>
                  <a:pt x="345756" y="29057"/>
                </a:cubicBezTo>
                <a:lnTo>
                  <a:pt x="345756" y="141140"/>
                </a:lnTo>
                <a:lnTo>
                  <a:pt x="310171" y="159129"/>
                </a:lnTo>
                <a:lnTo>
                  <a:pt x="295765" y="150821"/>
                </a:lnTo>
                <a:cubicBezTo>
                  <a:pt x="284534" y="149738"/>
                  <a:pt x="271095" y="152350"/>
                  <a:pt x="258111" y="158914"/>
                </a:cubicBezTo>
                <a:lnTo>
                  <a:pt x="126910" y="225243"/>
                </a:lnTo>
                <a:cubicBezTo>
                  <a:pt x="113925" y="231807"/>
                  <a:pt x="103853" y="241080"/>
                  <a:pt x="98067" y="250767"/>
                </a:cubicBezTo>
                <a:lnTo>
                  <a:pt x="96216" y="267294"/>
                </a:lnTo>
                <a:lnTo>
                  <a:pt x="21363" y="305136"/>
                </a:lnTo>
                <a:cubicBezTo>
                  <a:pt x="5207" y="313303"/>
                  <a:pt x="-3701" y="328213"/>
                  <a:pt x="1468" y="338437"/>
                </a:cubicBezTo>
                <a:lnTo>
                  <a:pt x="18845" y="372809"/>
                </a:lnTo>
                <a:cubicBezTo>
                  <a:pt x="24013" y="383033"/>
                  <a:pt x="41301" y="384700"/>
                  <a:pt x="57458" y="376532"/>
                </a:cubicBezTo>
                <a:lnTo>
                  <a:pt x="131594" y="339053"/>
                </a:lnTo>
                <a:lnTo>
                  <a:pt x="147270" y="348093"/>
                </a:lnTo>
                <a:cubicBezTo>
                  <a:pt x="158501" y="349176"/>
                  <a:pt x="171940" y="346564"/>
                  <a:pt x="184925" y="340000"/>
                </a:cubicBezTo>
                <a:close/>
              </a:path>
            </a:pathLst>
          </a:cu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81" name="Free-form: Shape 38">
            <a:extLst>
              <a:ext uri="{FF2B5EF4-FFF2-40B4-BE49-F238E27FC236}">
                <a16:creationId xmlns:a16="http://schemas.microsoft.com/office/drawing/2014/main" id="{A289DDD6-49B7-EF6D-252C-1CDEEFDFFCAA}"/>
              </a:ext>
            </a:extLst>
          </p:cNvPr>
          <p:cNvSpPr/>
          <p:nvPr/>
        </p:nvSpPr>
        <p:spPr>
          <a:xfrm rot="20067608">
            <a:off x="3083598" y="2868084"/>
            <a:ext cx="80520" cy="30577"/>
          </a:xfrm>
          <a:custGeom>
            <a:avLst/>
            <a:gdLst>
              <a:gd name="connsiteX0" fmla="*/ 107157 w 564357"/>
              <a:gd name="connsiteY0" fmla="*/ 0 h 214314"/>
              <a:gd name="connsiteX1" fmla="*/ 205893 w 564357"/>
              <a:gd name="connsiteY1" fmla="*/ 65447 h 214314"/>
              <a:gd name="connsiteX2" fmla="*/ 209453 w 564357"/>
              <a:gd name="connsiteY2" fmla="*/ 83080 h 214314"/>
              <a:gd name="connsiteX3" fmla="*/ 352417 w 564357"/>
              <a:gd name="connsiteY3" fmla="*/ 83080 h 214314"/>
              <a:gd name="connsiteX4" fmla="*/ 354712 w 564357"/>
              <a:gd name="connsiteY4" fmla="*/ 84030 h 214314"/>
              <a:gd name="connsiteX5" fmla="*/ 358464 w 564357"/>
              <a:gd name="connsiteY5" fmla="*/ 65447 h 214314"/>
              <a:gd name="connsiteX6" fmla="*/ 457200 w 564357"/>
              <a:gd name="connsiteY6" fmla="*/ 0 h 214314"/>
              <a:gd name="connsiteX7" fmla="*/ 564357 w 564357"/>
              <a:gd name="connsiteY7" fmla="*/ 107157 h 214314"/>
              <a:gd name="connsiteX8" fmla="*/ 457200 w 564357"/>
              <a:gd name="connsiteY8" fmla="*/ 214314 h 214314"/>
              <a:gd name="connsiteX9" fmla="*/ 358464 w 564357"/>
              <a:gd name="connsiteY9" fmla="*/ 148867 h 214314"/>
              <a:gd name="connsiteX10" fmla="*/ 356437 w 564357"/>
              <a:gd name="connsiteY10" fmla="*/ 138825 h 214314"/>
              <a:gd name="connsiteX11" fmla="*/ 352417 w 564357"/>
              <a:gd name="connsiteY11" fmla="*/ 140491 h 214314"/>
              <a:gd name="connsiteX12" fmla="*/ 207584 w 564357"/>
              <a:gd name="connsiteY12" fmla="*/ 140491 h 214314"/>
              <a:gd name="connsiteX13" fmla="*/ 205893 w 564357"/>
              <a:gd name="connsiteY13" fmla="*/ 148867 h 214314"/>
              <a:gd name="connsiteX14" fmla="*/ 107157 w 564357"/>
              <a:gd name="connsiteY14" fmla="*/ 214314 h 214314"/>
              <a:gd name="connsiteX15" fmla="*/ 0 w 564357"/>
              <a:gd name="connsiteY15" fmla="*/ 107157 h 214314"/>
              <a:gd name="connsiteX16" fmla="*/ 107157 w 564357"/>
              <a:gd name="connsiteY16" fmla="*/ 0 h 2143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564357" h="214314">
                <a:moveTo>
                  <a:pt x="107157" y="0"/>
                </a:moveTo>
                <a:cubicBezTo>
                  <a:pt x="151543" y="0"/>
                  <a:pt x="189626" y="26987"/>
                  <a:pt x="205893" y="65447"/>
                </a:cubicBezTo>
                <a:lnTo>
                  <a:pt x="209453" y="83080"/>
                </a:lnTo>
                <a:lnTo>
                  <a:pt x="352417" y="83080"/>
                </a:lnTo>
                <a:lnTo>
                  <a:pt x="354712" y="84030"/>
                </a:lnTo>
                <a:lnTo>
                  <a:pt x="358464" y="65447"/>
                </a:lnTo>
                <a:cubicBezTo>
                  <a:pt x="374731" y="26987"/>
                  <a:pt x="412814" y="0"/>
                  <a:pt x="457200" y="0"/>
                </a:cubicBezTo>
                <a:cubicBezTo>
                  <a:pt x="516381" y="0"/>
                  <a:pt x="564357" y="47976"/>
                  <a:pt x="564357" y="107157"/>
                </a:cubicBezTo>
                <a:cubicBezTo>
                  <a:pt x="564357" y="166338"/>
                  <a:pt x="516381" y="214314"/>
                  <a:pt x="457200" y="214314"/>
                </a:cubicBezTo>
                <a:cubicBezTo>
                  <a:pt x="412814" y="214314"/>
                  <a:pt x="374731" y="187328"/>
                  <a:pt x="358464" y="148867"/>
                </a:cubicBezTo>
                <a:lnTo>
                  <a:pt x="356437" y="138825"/>
                </a:lnTo>
                <a:lnTo>
                  <a:pt x="352417" y="140491"/>
                </a:lnTo>
                <a:lnTo>
                  <a:pt x="207584" y="140491"/>
                </a:lnTo>
                <a:lnTo>
                  <a:pt x="205893" y="148867"/>
                </a:lnTo>
                <a:cubicBezTo>
                  <a:pt x="189626" y="187328"/>
                  <a:pt x="151543" y="214314"/>
                  <a:pt x="107157" y="214314"/>
                </a:cubicBezTo>
                <a:cubicBezTo>
                  <a:pt x="47976" y="214314"/>
                  <a:pt x="0" y="166338"/>
                  <a:pt x="0" y="107157"/>
                </a:cubicBezTo>
                <a:cubicBezTo>
                  <a:pt x="0" y="47976"/>
                  <a:pt x="47976" y="0"/>
                  <a:pt x="107157" y="0"/>
                </a:cubicBezTo>
                <a:close/>
              </a:path>
            </a:pathLst>
          </a:cu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83" name="Rectangle: Rounded Corners 482">
            <a:extLst>
              <a:ext uri="{FF2B5EF4-FFF2-40B4-BE49-F238E27FC236}">
                <a16:creationId xmlns:a16="http://schemas.microsoft.com/office/drawing/2014/main" id="{C0904872-8E14-BB1A-F8AE-368E0FA5E5A4}"/>
              </a:ext>
            </a:extLst>
          </p:cNvPr>
          <p:cNvSpPr/>
          <p:nvPr/>
        </p:nvSpPr>
        <p:spPr>
          <a:xfrm rot="494416" flipH="1">
            <a:off x="3038258" y="2653380"/>
            <a:ext cx="24930" cy="122717"/>
          </a:xfrm>
          <a:prstGeom prst="roundRect">
            <a:avLst>
              <a:gd name="adj" fmla="val 39116"/>
            </a:avLst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84" name="Free-form: Shape 18">
            <a:extLst>
              <a:ext uri="{FF2B5EF4-FFF2-40B4-BE49-F238E27FC236}">
                <a16:creationId xmlns:a16="http://schemas.microsoft.com/office/drawing/2014/main" id="{1091A210-F7B9-BA1F-1C5A-60FBE712BC75}"/>
              </a:ext>
            </a:extLst>
          </p:cNvPr>
          <p:cNvSpPr/>
          <p:nvPr/>
        </p:nvSpPr>
        <p:spPr>
          <a:xfrm rot="20432416" flipH="1">
            <a:off x="3007664" y="2649188"/>
            <a:ext cx="75717" cy="295212"/>
          </a:xfrm>
          <a:custGeom>
            <a:avLst/>
            <a:gdLst>
              <a:gd name="connsiteX0" fmla="*/ 230713 w 1000623"/>
              <a:gd name="connsiteY0" fmla="*/ 5856 h 3725897"/>
              <a:gd name="connsiteX1" fmla="*/ 306490 w 1000623"/>
              <a:gd name="connsiteY1" fmla="*/ 68991 h 3725897"/>
              <a:gd name="connsiteX2" fmla="*/ 986272 w 1000623"/>
              <a:gd name="connsiteY2" fmla="*/ 1363785 h 3725897"/>
              <a:gd name="connsiteX3" fmla="*/ 1000623 w 1000623"/>
              <a:gd name="connsiteY3" fmla="*/ 1412905 h 3725897"/>
              <a:gd name="connsiteX4" fmla="*/ 998578 w 1000623"/>
              <a:gd name="connsiteY4" fmla="*/ 1431462 h 3725897"/>
              <a:gd name="connsiteX5" fmla="*/ 998742 w 1000623"/>
              <a:gd name="connsiteY5" fmla="*/ 1432275 h 3725897"/>
              <a:gd name="connsiteX6" fmla="*/ 998742 w 1000623"/>
              <a:gd name="connsiteY6" fmla="*/ 3597028 h 3725897"/>
              <a:gd name="connsiteX7" fmla="*/ 869873 w 1000623"/>
              <a:gd name="connsiteY7" fmla="*/ 3725897 h 3725897"/>
              <a:gd name="connsiteX8" fmla="*/ 798158 w 1000623"/>
              <a:gd name="connsiteY8" fmla="*/ 3725897 h 3725897"/>
              <a:gd name="connsiteX9" fmla="*/ 669289 w 1000623"/>
              <a:gd name="connsiteY9" fmla="*/ 3597028 h 3725897"/>
              <a:gd name="connsiteX10" fmla="*/ 669289 w 1000623"/>
              <a:gd name="connsiteY10" fmla="*/ 1468762 h 3725897"/>
              <a:gd name="connsiteX11" fmla="*/ 14795 w 1000623"/>
              <a:gd name="connsiteY11" fmla="*/ 222135 h 3725897"/>
              <a:gd name="connsiteX12" fmla="*/ 68991 w 1000623"/>
              <a:gd name="connsiteY12" fmla="*/ 48131 h 3725897"/>
              <a:gd name="connsiteX13" fmla="*/ 132487 w 1000623"/>
              <a:gd name="connsiteY13" fmla="*/ 14795 h 3725897"/>
              <a:gd name="connsiteX14" fmla="*/ 230713 w 1000623"/>
              <a:gd name="connsiteY14" fmla="*/ 5856 h 37258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000623" h="3725897">
                <a:moveTo>
                  <a:pt x="230713" y="5856"/>
                </a:moveTo>
                <a:cubicBezTo>
                  <a:pt x="262201" y="15663"/>
                  <a:pt x="289948" y="37483"/>
                  <a:pt x="306490" y="68991"/>
                </a:cubicBezTo>
                <a:lnTo>
                  <a:pt x="986272" y="1363785"/>
                </a:lnTo>
                <a:cubicBezTo>
                  <a:pt x="994543" y="1379538"/>
                  <a:pt x="999230" y="1396223"/>
                  <a:pt x="1000623" y="1412905"/>
                </a:cubicBezTo>
                <a:lnTo>
                  <a:pt x="998578" y="1431462"/>
                </a:lnTo>
                <a:lnTo>
                  <a:pt x="998742" y="1432275"/>
                </a:lnTo>
                <a:lnTo>
                  <a:pt x="998742" y="3597028"/>
                </a:lnTo>
                <a:cubicBezTo>
                  <a:pt x="998742" y="3668200"/>
                  <a:pt x="941045" y="3725897"/>
                  <a:pt x="869873" y="3725897"/>
                </a:cubicBezTo>
                <a:lnTo>
                  <a:pt x="798158" y="3725897"/>
                </a:lnTo>
                <a:cubicBezTo>
                  <a:pt x="726986" y="3725897"/>
                  <a:pt x="669289" y="3668200"/>
                  <a:pt x="669289" y="3597028"/>
                </a:cubicBezTo>
                <a:lnTo>
                  <a:pt x="669289" y="1468762"/>
                </a:lnTo>
                <a:lnTo>
                  <a:pt x="14795" y="222135"/>
                </a:lnTo>
                <a:cubicBezTo>
                  <a:pt x="-18289" y="159119"/>
                  <a:pt x="5976" y="81215"/>
                  <a:pt x="68991" y="48131"/>
                </a:cubicBezTo>
                <a:lnTo>
                  <a:pt x="132487" y="14795"/>
                </a:lnTo>
                <a:cubicBezTo>
                  <a:pt x="163994" y="-1747"/>
                  <a:pt x="199224" y="-3952"/>
                  <a:pt x="230713" y="5856"/>
                </a:cubicBezTo>
                <a:close/>
              </a:path>
            </a:pathLst>
          </a:cu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85" name="Rectangle: Rounded Corners 484">
            <a:extLst>
              <a:ext uri="{FF2B5EF4-FFF2-40B4-BE49-F238E27FC236}">
                <a16:creationId xmlns:a16="http://schemas.microsoft.com/office/drawing/2014/main" id="{6B3DB42B-9C58-F283-7906-4C20C4736754}"/>
              </a:ext>
            </a:extLst>
          </p:cNvPr>
          <p:cNvSpPr/>
          <p:nvPr/>
        </p:nvSpPr>
        <p:spPr>
          <a:xfrm rot="18770416">
            <a:off x="2897224" y="2703211"/>
            <a:ext cx="24930" cy="122717"/>
          </a:xfrm>
          <a:prstGeom prst="roundRect">
            <a:avLst>
              <a:gd name="adj" fmla="val 39116"/>
            </a:avLst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86" name="Free-form: Shape 20">
            <a:extLst>
              <a:ext uri="{FF2B5EF4-FFF2-40B4-BE49-F238E27FC236}">
                <a16:creationId xmlns:a16="http://schemas.microsoft.com/office/drawing/2014/main" id="{65F54B44-D25B-AC2B-EF05-2302269A56FE}"/>
              </a:ext>
            </a:extLst>
          </p:cNvPr>
          <p:cNvSpPr/>
          <p:nvPr/>
        </p:nvSpPr>
        <p:spPr>
          <a:xfrm rot="20432416">
            <a:off x="2927073" y="2677663"/>
            <a:ext cx="75717" cy="295212"/>
          </a:xfrm>
          <a:custGeom>
            <a:avLst/>
            <a:gdLst>
              <a:gd name="connsiteX0" fmla="*/ 230713 w 1000623"/>
              <a:gd name="connsiteY0" fmla="*/ 5856 h 3725897"/>
              <a:gd name="connsiteX1" fmla="*/ 306490 w 1000623"/>
              <a:gd name="connsiteY1" fmla="*/ 68991 h 3725897"/>
              <a:gd name="connsiteX2" fmla="*/ 986272 w 1000623"/>
              <a:gd name="connsiteY2" fmla="*/ 1363785 h 3725897"/>
              <a:gd name="connsiteX3" fmla="*/ 1000623 w 1000623"/>
              <a:gd name="connsiteY3" fmla="*/ 1412905 h 3725897"/>
              <a:gd name="connsiteX4" fmla="*/ 998578 w 1000623"/>
              <a:gd name="connsiteY4" fmla="*/ 1431462 h 3725897"/>
              <a:gd name="connsiteX5" fmla="*/ 998742 w 1000623"/>
              <a:gd name="connsiteY5" fmla="*/ 1432275 h 3725897"/>
              <a:gd name="connsiteX6" fmla="*/ 998742 w 1000623"/>
              <a:gd name="connsiteY6" fmla="*/ 3597028 h 3725897"/>
              <a:gd name="connsiteX7" fmla="*/ 869873 w 1000623"/>
              <a:gd name="connsiteY7" fmla="*/ 3725897 h 3725897"/>
              <a:gd name="connsiteX8" fmla="*/ 798158 w 1000623"/>
              <a:gd name="connsiteY8" fmla="*/ 3725897 h 3725897"/>
              <a:gd name="connsiteX9" fmla="*/ 669289 w 1000623"/>
              <a:gd name="connsiteY9" fmla="*/ 3597028 h 3725897"/>
              <a:gd name="connsiteX10" fmla="*/ 669289 w 1000623"/>
              <a:gd name="connsiteY10" fmla="*/ 1468762 h 3725897"/>
              <a:gd name="connsiteX11" fmla="*/ 14795 w 1000623"/>
              <a:gd name="connsiteY11" fmla="*/ 222135 h 3725897"/>
              <a:gd name="connsiteX12" fmla="*/ 68991 w 1000623"/>
              <a:gd name="connsiteY12" fmla="*/ 48131 h 3725897"/>
              <a:gd name="connsiteX13" fmla="*/ 132487 w 1000623"/>
              <a:gd name="connsiteY13" fmla="*/ 14795 h 3725897"/>
              <a:gd name="connsiteX14" fmla="*/ 230713 w 1000623"/>
              <a:gd name="connsiteY14" fmla="*/ 5856 h 37258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000623" h="3725897">
                <a:moveTo>
                  <a:pt x="230713" y="5856"/>
                </a:moveTo>
                <a:cubicBezTo>
                  <a:pt x="262201" y="15663"/>
                  <a:pt x="289948" y="37483"/>
                  <a:pt x="306490" y="68991"/>
                </a:cubicBezTo>
                <a:lnTo>
                  <a:pt x="986272" y="1363785"/>
                </a:lnTo>
                <a:cubicBezTo>
                  <a:pt x="994543" y="1379538"/>
                  <a:pt x="999230" y="1396223"/>
                  <a:pt x="1000623" y="1412905"/>
                </a:cubicBezTo>
                <a:lnTo>
                  <a:pt x="998578" y="1431462"/>
                </a:lnTo>
                <a:lnTo>
                  <a:pt x="998742" y="1432275"/>
                </a:lnTo>
                <a:lnTo>
                  <a:pt x="998742" y="3597028"/>
                </a:lnTo>
                <a:cubicBezTo>
                  <a:pt x="998742" y="3668200"/>
                  <a:pt x="941045" y="3725897"/>
                  <a:pt x="869873" y="3725897"/>
                </a:cubicBezTo>
                <a:lnTo>
                  <a:pt x="798158" y="3725897"/>
                </a:lnTo>
                <a:cubicBezTo>
                  <a:pt x="726986" y="3725897"/>
                  <a:pt x="669289" y="3668200"/>
                  <a:pt x="669289" y="3597028"/>
                </a:cubicBezTo>
                <a:lnTo>
                  <a:pt x="669289" y="1468762"/>
                </a:lnTo>
                <a:lnTo>
                  <a:pt x="14795" y="222135"/>
                </a:lnTo>
                <a:cubicBezTo>
                  <a:pt x="-18289" y="159119"/>
                  <a:pt x="5976" y="81215"/>
                  <a:pt x="68991" y="48131"/>
                </a:cubicBezTo>
                <a:lnTo>
                  <a:pt x="132487" y="14795"/>
                </a:lnTo>
                <a:cubicBezTo>
                  <a:pt x="163994" y="-1747"/>
                  <a:pt x="199224" y="-3952"/>
                  <a:pt x="230713" y="5856"/>
                </a:cubicBezTo>
                <a:close/>
              </a:path>
            </a:pathLst>
          </a:cu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88" name="Rectangle: Rounded Corners 487">
            <a:extLst>
              <a:ext uri="{FF2B5EF4-FFF2-40B4-BE49-F238E27FC236}">
                <a16:creationId xmlns:a16="http://schemas.microsoft.com/office/drawing/2014/main" id="{06D827F4-4B97-CC27-83EB-CC9D5C0CE905}"/>
              </a:ext>
            </a:extLst>
          </p:cNvPr>
          <p:cNvSpPr/>
          <p:nvPr/>
        </p:nvSpPr>
        <p:spPr>
          <a:xfrm rot="2951856">
            <a:off x="3227023" y="3195635"/>
            <a:ext cx="27419" cy="94786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89" name="Freeform: Shape 1298">
            <a:extLst>
              <a:ext uri="{FF2B5EF4-FFF2-40B4-BE49-F238E27FC236}">
                <a16:creationId xmlns:a16="http://schemas.microsoft.com/office/drawing/2014/main" id="{0134435F-EE9B-F8D5-E23D-A224D7798C8A}"/>
              </a:ext>
            </a:extLst>
          </p:cNvPr>
          <p:cNvSpPr/>
          <p:nvPr/>
        </p:nvSpPr>
        <p:spPr>
          <a:xfrm rot="2968070">
            <a:off x="3154995" y="3168131"/>
            <a:ext cx="112020" cy="229457"/>
          </a:xfrm>
          <a:custGeom>
            <a:avLst/>
            <a:gdLst>
              <a:gd name="connsiteX0" fmla="*/ 61376 w 1712259"/>
              <a:gd name="connsiteY0" fmla="*/ 61376 h 2875858"/>
              <a:gd name="connsiteX1" fmla="*/ 209550 w 1712259"/>
              <a:gd name="connsiteY1" fmla="*/ 0 h 2875858"/>
              <a:gd name="connsiteX2" fmla="*/ 419100 w 1712259"/>
              <a:gd name="connsiteY2" fmla="*/ 209550 h 2875858"/>
              <a:gd name="connsiteX3" fmla="*/ 419100 w 1712259"/>
              <a:gd name="connsiteY3" fmla="*/ 1286350 h 2875858"/>
              <a:gd name="connsiteX4" fmla="*/ 1650884 w 1712259"/>
              <a:gd name="connsiteY4" fmla="*/ 2518134 h 2875858"/>
              <a:gd name="connsiteX5" fmla="*/ 1650884 w 1712259"/>
              <a:gd name="connsiteY5" fmla="*/ 2814482 h 2875858"/>
              <a:gd name="connsiteX6" fmla="*/ 1354535 w 1712259"/>
              <a:gd name="connsiteY6" fmla="*/ 2814482 h 2875858"/>
              <a:gd name="connsiteX7" fmla="*/ 68814 w 1712259"/>
              <a:gd name="connsiteY7" fmla="*/ 1528761 h 2875858"/>
              <a:gd name="connsiteX8" fmla="*/ 61376 w 1712259"/>
              <a:gd name="connsiteY8" fmla="*/ 1522624 h 2875858"/>
              <a:gd name="connsiteX9" fmla="*/ 0 w 1712259"/>
              <a:gd name="connsiteY9" fmla="*/ 1374450 h 2875858"/>
              <a:gd name="connsiteX10" fmla="*/ 0 w 1712259"/>
              <a:gd name="connsiteY10" fmla="*/ 209550 h 2875858"/>
              <a:gd name="connsiteX11" fmla="*/ 61376 w 1712259"/>
              <a:gd name="connsiteY11" fmla="*/ 61376 h 2875858"/>
              <a:gd name="connsiteX0" fmla="*/ 61376 w 1712259"/>
              <a:gd name="connsiteY0" fmla="*/ 61376 h 2875858"/>
              <a:gd name="connsiteX1" fmla="*/ 209550 w 1712259"/>
              <a:gd name="connsiteY1" fmla="*/ 0 h 2875858"/>
              <a:gd name="connsiteX2" fmla="*/ 419100 w 1712259"/>
              <a:gd name="connsiteY2" fmla="*/ 209550 h 2875858"/>
              <a:gd name="connsiteX3" fmla="*/ 419100 w 1712259"/>
              <a:gd name="connsiteY3" fmla="*/ 1286350 h 2875858"/>
              <a:gd name="connsiteX4" fmla="*/ 1650884 w 1712259"/>
              <a:gd name="connsiteY4" fmla="*/ 2518134 h 2875858"/>
              <a:gd name="connsiteX5" fmla="*/ 1650884 w 1712259"/>
              <a:gd name="connsiteY5" fmla="*/ 2814482 h 2875858"/>
              <a:gd name="connsiteX6" fmla="*/ 1354535 w 1712259"/>
              <a:gd name="connsiteY6" fmla="*/ 2814482 h 2875858"/>
              <a:gd name="connsiteX7" fmla="*/ 68814 w 1712259"/>
              <a:gd name="connsiteY7" fmla="*/ 1528761 h 2875858"/>
              <a:gd name="connsiteX8" fmla="*/ 0 w 1712259"/>
              <a:gd name="connsiteY8" fmla="*/ 1374450 h 2875858"/>
              <a:gd name="connsiteX9" fmla="*/ 0 w 1712259"/>
              <a:gd name="connsiteY9" fmla="*/ 209550 h 2875858"/>
              <a:gd name="connsiteX10" fmla="*/ 61376 w 1712259"/>
              <a:gd name="connsiteY10" fmla="*/ 61376 h 2875858"/>
              <a:gd name="connsiteX0" fmla="*/ 61376 w 1712259"/>
              <a:gd name="connsiteY0" fmla="*/ 61376 h 2875858"/>
              <a:gd name="connsiteX1" fmla="*/ 209550 w 1712259"/>
              <a:gd name="connsiteY1" fmla="*/ 0 h 2875858"/>
              <a:gd name="connsiteX2" fmla="*/ 419100 w 1712259"/>
              <a:gd name="connsiteY2" fmla="*/ 209550 h 2875858"/>
              <a:gd name="connsiteX3" fmla="*/ 419100 w 1712259"/>
              <a:gd name="connsiteY3" fmla="*/ 1286350 h 2875858"/>
              <a:gd name="connsiteX4" fmla="*/ 1650884 w 1712259"/>
              <a:gd name="connsiteY4" fmla="*/ 2518134 h 2875858"/>
              <a:gd name="connsiteX5" fmla="*/ 1650884 w 1712259"/>
              <a:gd name="connsiteY5" fmla="*/ 2814482 h 2875858"/>
              <a:gd name="connsiteX6" fmla="*/ 1354535 w 1712259"/>
              <a:gd name="connsiteY6" fmla="*/ 2814482 h 2875858"/>
              <a:gd name="connsiteX7" fmla="*/ 16616 w 1712259"/>
              <a:gd name="connsiteY7" fmla="*/ 1476564 h 2875858"/>
              <a:gd name="connsiteX8" fmla="*/ 0 w 1712259"/>
              <a:gd name="connsiteY8" fmla="*/ 1374450 h 2875858"/>
              <a:gd name="connsiteX9" fmla="*/ 0 w 1712259"/>
              <a:gd name="connsiteY9" fmla="*/ 209550 h 2875858"/>
              <a:gd name="connsiteX10" fmla="*/ 61376 w 1712259"/>
              <a:gd name="connsiteY10" fmla="*/ 61376 h 2875858"/>
              <a:gd name="connsiteX0" fmla="*/ 61376 w 1712259"/>
              <a:gd name="connsiteY0" fmla="*/ 61376 h 2875858"/>
              <a:gd name="connsiteX1" fmla="*/ 209550 w 1712259"/>
              <a:gd name="connsiteY1" fmla="*/ 0 h 2875858"/>
              <a:gd name="connsiteX2" fmla="*/ 419100 w 1712259"/>
              <a:gd name="connsiteY2" fmla="*/ 209550 h 2875858"/>
              <a:gd name="connsiteX3" fmla="*/ 419100 w 1712259"/>
              <a:gd name="connsiteY3" fmla="*/ 1286350 h 2875858"/>
              <a:gd name="connsiteX4" fmla="*/ 1650884 w 1712259"/>
              <a:gd name="connsiteY4" fmla="*/ 2518134 h 2875858"/>
              <a:gd name="connsiteX5" fmla="*/ 1650884 w 1712259"/>
              <a:gd name="connsiteY5" fmla="*/ 2814482 h 2875858"/>
              <a:gd name="connsiteX6" fmla="*/ 1354535 w 1712259"/>
              <a:gd name="connsiteY6" fmla="*/ 2814482 h 2875858"/>
              <a:gd name="connsiteX7" fmla="*/ 3146 w 1712259"/>
              <a:gd name="connsiteY7" fmla="*/ 1463094 h 2875858"/>
              <a:gd name="connsiteX8" fmla="*/ 0 w 1712259"/>
              <a:gd name="connsiteY8" fmla="*/ 1374450 h 2875858"/>
              <a:gd name="connsiteX9" fmla="*/ 0 w 1712259"/>
              <a:gd name="connsiteY9" fmla="*/ 209550 h 2875858"/>
              <a:gd name="connsiteX10" fmla="*/ 61376 w 1712259"/>
              <a:gd name="connsiteY10" fmla="*/ 61376 h 2875858"/>
              <a:gd name="connsiteX0" fmla="*/ 61376 w 1712259"/>
              <a:gd name="connsiteY0" fmla="*/ 61376 h 2875858"/>
              <a:gd name="connsiteX1" fmla="*/ 209550 w 1712259"/>
              <a:gd name="connsiteY1" fmla="*/ 0 h 2875858"/>
              <a:gd name="connsiteX2" fmla="*/ 419100 w 1712259"/>
              <a:gd name="connsiteY2" fmla="*/ 209550 h 2875858"/>
              <a:gd name="connsiteX3" fmla="*/ 419100 w 1712259"/>
              <a:gd name="connsiteY3" fmla="*/ 1286350 h 2875858"/>
              <a:gd name="connsiteX4" fmla="*/ 1650884 w 1712259"/>
              <a:gd name="connsiteY4" fmla="*/ 2518134 h 2875858"/>
              <a:gd name="connsiteX5" fmla="*/ 1650884 w 1712259"/>
              <a:gd name="connsiteY5" fmla="*/ 2814482 h 2875858"/>
              <a:gd name="connsiteX6" fmla="*/ 1354535 w 1712259"/>
              <a:gd name="connsiteY6" fmla="*/ 2814482 h 2875858"/>
              <a:gd name="connsiteX7" fmla="*/ 3146 w 1712259"/>
              <a:gd name="connsiteY7" fmla="*/ 1463094 h 2875858"/>
              <a:gd name="connsiteX8" fmla="*/ 0 w 1712259"/>
              <a:gd name="connsiteY8" fmla="*/ 209550 h 2875858"/>
              <a:gd name="connsiteX9" fmla="*/ 61376 w 1712259"/>
              <a:gd name="connsiteY9" fmla="*/ 61376 h 28758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712259" h="2875858">
                <a:moveTo>
                  <a:pt x="61376" y="61376"/>
                </a:moveTo>
                <a:cubicBezTo>
                  <a:pt x="99297" y="23455"/>
                  <a:pt x="151685" y="0"/>
                  <a:pt x="209550" y="0"/>
                </a:cubicBezTo>
                <a:cubicBezTo>
                  <a:pt x="325281" y="0"/>
                  <a:pt x="419100" y="93819"/>
                  <a:pt x="419100" y="209550"/>
                </a:cubicBezTo>
                <a:lnTo>
                  <a:pt x="419100" y="1286350"/>
                </a:lnTo>
                <a:lnTo>
                  <a:pt x="1650884" y="2518134"/>
                </a:lnTo>
                <a:cubicBezTo>
                  <a:pt x="1732718" y="2599968"/>
                  <a:pt x="1732718" y="2732648"/>
                  <a:pt x="1650884" y="2814482"/>
                </a:cubicBezTo>
                <a:cubicBezTo>
                  <a:pt x="1569050" y="2896317"/>
                  <a:pt x="1436370" y="2896317"/>
                  <a:pt x="1354535" y="2814482"/>
                </a:cubicBezTo>
                <a:lnTo>
                  <a:pt x="3146" y="1463094"/>
                </a:lnTo>
                <a:cubicBezTo>
                  <a:pt x="2097" y="1045246"/>
                  <a:pt x="1049" y="627398"/>
                  <a:pt x="0" y="209550"/>
                </a:cubicBezTo>
                <a:cubicBezTo>
                  <a:pt x="0" y="151685"/>
                  <a:pt x="23455" y="99297"/>
                  <a:pt x="61376" y="61376"/>
                </a:cubicBezTo>
                <a:close/>
              </a:path>
            </a:pathLst>
          </a:cu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90" name="Rectangle: Rounded Corners 489">
            <a:extLst>
              <a:ext uri="{FF2B5EF4-FFF2-40B4-BE49-F238E27FC236}">
                <a16:creationId xmlns:a16="http://schemas.microsoft.com/office/drawing/2014/main" id="{E3950CD5-CA2E-F317-88C1-6770A35DCF46}"/>
              </a:ext>
            </a:extLst>
          </p:cNvPr>
          <p:cNvSpPr/>
          <p:nvPr/>
        </p:nvSpPr>
        <p:spPr>
          <a:xfrm rot="19184284" flipH="1">
            <a:off x="3080456" y="3193193"/>
            <a:ext cx="33439" cy="77722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91" name="Freeform: Shape 1300">
            <a:extLst>
              <a:ext uri="{FF2B5EF4-FFF2-40B4-BE49-F238E27FC236}">
                <a16:creationId xmlns:a16="http://schemas.microsoft.com/office/drawing/2014/main" id="{A3D3E2F8-4BE2-73A5-0069-42DAF9AB0339}"/>
              </a:ext>
            </a:extLst>
          </p:cNvPr>
          <p:cNvSpPr/>
          <p:nvPr/>
        </p:nvSpPr>
        <p:spPr>
          <a:xfrm rot="19168070" flipH="1">
            <a:off x="3051940" y="3181848"/>
            <a:ext cx="136615" cy="188148"/>
          </a:xfrm>
          <a:custGeom>
            <a:avLst/>
            <a:gdLst>
              <a:gd name="connsiteX0" fmla="*/ 61376 w 1712259"/>
              <a:gd name="connsiteY0" fmla="*/ 61376 h 2875858"/>
              <a:gd name="connsiteX1" fmla="*/ 209550 w 1712259"/>
              <a:gd name="connsiteY1" fmla="*/ 0 h 2875858"/>
              <a:gd name="connsiteX2" fmla="*/ 419100 w 1712259"/>
              <a:gd name="connsiteY2" fmla="*/ 209550 h 2875858"/>
              <a:gd name="connsiteX3" fmla="*/ 419100 w 1712259"/>
              <a:gd name="connsiteY3" fmla="*/ 1286350 h 2875858"/>
              <a:gd name="connsiteX4" fmla="*/ 1650884 w 1712259"/>
              <a:gd name="connsiteY4" fmla="*/ 2518134 h 2875858"/>
              <a:gd name="connsiteX5" fmla="*/ 1650884 w 1712259"/>
              <a:gd name="connsiteY5" fmla="*/ 2814482 h 2875858"/>
              <a:gd name="connsiteX6" fmla="*/ 1354535 w 1712259"/>
              <a:gd name="connsiteY6" fmla="*/ 2814482 h 2875858"/>
              <a:gd name="connsiteX7" fmla="*/ 68814 w 1712259"/>
              <a:gd name="connsiteY7" fmla="*/ 1528761 h 2875858"/>
              <a:gd name="connsiteX8" fmla="*/ 61376 w 1712259"/>
              <a:gd name="connsiteY8" fmla="*/ 1522624 h 2875858"/>
              <a:gd name="connsiteX9" fmla="*/ 0 w 1712259"/>
              <a:gd name="connsiteY9" fmla="*/ 1374450 h 2875858"/>
              <a:gd name="connsiteX10" fmla="*/ 0 w 1712259"/>
              <a:gd name="connsiteY10" fmla="*/ 209550 h 2875858"/>
              <a:gd name="connsiteX11" fmla="*/ 61376 w 1712259"/>
              <a:gd name="connsiteY11" fmla="*/ 61376 h 2875858"/>
              <a:gd name="connsiteX0" fmla="*/ 61376 w 1712259"/>
              <a:gd name="connsiteY0" fmla="*/ 61376 h 2875858"/>
              <a:gd name="connsiteX1" fmla="*/ 209550 w 1712259"/>
              <a:gd name="connsiteY1" fmla="*/ 0 h 2875858"/>
              <a:gd name="connsiteX2" fmla="*/ 419100 w 1712259"/>
              <a:gd name="connsiteY2" fmla="*/ 209550 h 2875858"/>
              <a:gd name="connsiteX3" fmla="*/ 419100 w 1712259"/>
              <a:gd name="connsiteY3" fmla="*/ 1286350 h 2875858"/>
              <a:gd name="connsiteX4" fmla="*/ 1650884 w 1712259"/>
              <a:gd name="connsiteY4" fmla="*/ 2518134 h 2875858"/>
              <a:gd name="connsiteX5" fmla="*/ 1650884 w 1712259"/>
              <a:gd name="connsiteY5" fmla="*/ 2814482 h 2875858"/>
              <a:gd name="connsiteX6" fmla="*/ 1354535 w 1712259"/>
              <a:gd name="connsiteY6" fmla="*/ 2814482 h 2875858"/>
              <a:gd name="connsiteX7" fmla="*/ 68814 w 1712259"/>
              <a:gd name="connsiteY7" fmla="*/ 1528761 h 2875858"/>
              <a:gd name="connsiteX8" fmla="*/ 0 w 1712259"/>
              <a:gd name="connsiteY8" fmla="*/ 1374450 h 2875858"/>
              <a:gd name="connsiteX9" fmla="*/ 0 w 1712259"/>
              <a:gd name="connsiteY9" fmla="*/ 209550 h 2875858"/>
              <a:gd name="connsiteX10" fmla="*/ 61376 w 1712259"/>
              <a:gd name="connsiteY10" fmla="*/ 61376 h 2875858"/>
              <a:gd name="connsiteX0" fmla="*/ 61376 w 1712259"/>
              <a:gd name="connsiteY0" fmla="*/ 61376 h 2875858"/>
              <a:gd name="connsiteX1" fmla="*/ 209550 w 1712259"/>
              <a:gd name="connsiteY1" fmla="*/ 0 h 2875858"/>
              <a:gd name="connsiteX2" fmla="*/ 419100 w 1712259"/>
              <a:gd name="connsiteY2" fmla="*/ 209550 h 2875858"/>
              <a:gd name="connsiteX3" fmla="*/ 419100 w 1712259"/>
              <a:gd name="connsiteY3" fmla="*/ 1286350 h 2875858"/>
              <a:gd name="connsiteX4" fmla="*/ 1650884 w 1712259"/>
              <a:gd name="connsiteY4" fmla="*/ 2518134 h 2875858"/>
              <a:gd name="connsiteX5" fmla="*/ 1650884 w 1712259"/>
              <a:gd name="connsiteY5" fmla="*/ 2814482 h 2875858"/>
              <a:gd name="connsiteX6" fmla="*/ 1354535 w 1712259"/>
              <a:gd name="connsiteY6" fmla="*/ 2814482 h 2875858"/>
              <a:gd name="connsiteX7" fmla="*/ 16616 w 1712259"/>
              <a:gd name="connsiteY7" fmla="*/ 1476564 h 2875858"/>
              <a:gd name="connsiteX8" fmla="*/ 0 w 1712259"/>
              <a:gd name="connsiteY8" fmla="*/ 1374450 h 2875858"/>
              <a:gd name="connsiteX9" fmla="*/ 0 w 1712259"/>
              <a:gd name="connsiteY9" fmla="*/ 209550 h 2875858"/>
              <a:gd name="connsiteX10" fmla="*/ 61376 w 1712259"/>
              <a:gd name="connsiteY10" fmla="*/ 61376 h 2875858"/>
              <a:gd name="connsiteX0" fmla="*/ 61376 w 1712259"/>
              <a:gd name="connsiteY0" fmla="*/ 61376 h 2875858"/>
              <a:gd name="connsiteX1" fmla="*/ 209550 w 1712259"/>
              <a:gd name="connsiteY1" fmla="*/ 0 h 2875858"/>
              <a:gd name="connsiteX2" fmla="*/ 419100 w 1712259"/>
              <a:gd name="connsiteY2" fmla="*/ 209550 h 2875858"/>
              <a:gd name="connsiteX3" fmla="*/ 419100 w 1712259"/>
              <a:gd name="connsiteY3" fmla="*/ 1286350 h 2875858"/>
              <a:gd name="connsiteX4" fmla="*/ 1650884 w 1712259"/>
              <a:gd name="connsiteY4" fmla="*/ 2518134 h 2875858"/>
              <a:gd name="connsiteX5" fmla="*/ 1650884 w 1712259"/>
              <a:gd name="connsiteY5" fmla="*/ 2814482 h 2875858"/>
              <a:gd name="connsiteX6" fmla="*/ 1354535 w 1712259"/>
              <a:gd name="connsiteY6" fmla="*/ 2814482 h 2875858"/>
              <a:gd name="connsiteX7" fmla="*/ 3146 w 1712259"/>
              <a:gd name="connsiteY7" fmla="*/ 1463094 h 2875858"/>
              <a:gd name="connsiteX8" fmla="*/ 0 w 1712259"/>
              <a:gd name="connsiteY8" fmla="*/ 1374450 h 2875858"/>
              <a:gd name="connsiteX9" fmla="*/ 0 w 1712259"/>
              <a:gd name="connsiteY9" fmla="*/ 209550 h 2875858"/>
              <a:gd name="connsiteX10" fmla="*/ 61376 w 1712259"/>
              <a:gd name="connsiteY10" fmla="*/ 61376 h 2875858"/>
              <a:gd name="connsiteX0" fmla="*/ 61376 w 1712259"/>
              <a:gd name="connsiteY0" fmla="*/ 61376 h 2875858"/>
              <a:gd name="connsiteX1" fmla="*/ 209550 w 1712259"/>
              <a:gd name="connsiteY1" fmla="*/ 0 h 2875858"/>
              <a:gd name="connsiteX2" fmla="*/ 419100 w 1712259"/>
              <a:gd name="connsiteY2" fmla="*/ 209550 h 2875858"/>
              <a:gd name="connsiteX3" fmla="*/ 419100 w 1712259"/>
              <a:gd name="connsiteY3" fmla="*/ 1286350 h 2875858"/>
              <a:gd name="connsiteX4" fmla="*/ 1650884 w 1712259"/>
              <a:gd name="connsiteY4" fmla="*/ 2518134 h 2875858"/>
              <a:gd name="connsiteX5" fmla="*/ 1650884 w 1712259"/>
              <a:gd name="connsiteY5" fmla="*/ 2814482 h 2875858"/>
              <a:gd name="connsiteX6" fmla="*/ 1354535 w 1712259"/>
              <a:gd name="connsiteY6" fmla="*/ 2814482 h 2875858"/>
              <a:gd name="connsiteX7" fmla="*/ 3146 w 1712259"/>
              <a:gd name="connsiteY7" fmla="*/ 1463094 h 2875858"/>
              <a:gd name="connsiteX8" fmla="*/ 0 w 1712259"/>
              <a:gd name="connsiteY8" fmla="*/ 209550 h 2875858"/>
              <a:gd name="connsiteX9" fmla="*/ 61376 w 1712259"/>
              <a:gd name="connsiteY9" fmla="*/ 61376 h 28758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712259" h="2875858">
                <a:moveTo>
                  <a:pt x="61376" y="61376"/>
                </a:moveTo>
                <a:cubicBezTo>
                  <a:pt x="99297" y="23455"/>
                  <a:pt x="151685" y="0"/>
                  <a:pt x="209550" y="0"/>
                </a:cubicBezTo>
                <a:cubicBezTo>
                  <a:pt x="325281" y="0"/>
                  <a:pt x="419100" y="93819"/>
                  <a:pt x="419100" y="209550"/>
                </a:cubicBezTo>
                <a:lnTo>
                  <a:pt x="419100" y="1286350"/>
                </a:lnTo>
                <a:lnTo>
                  <a:pt x="1650884" y="2518134"/>
                </a:lnTo>
                <a:cubicBezTo>
                  <a:pt x="1732718" y="2599968"/>
                  <a:pt x="1732718" y="2732648"/>
                  <a:pt x="1650884" y="2814482"/>
                </a:cubicBezTo>
                <a:cubicBezTo>
                  <a:pt x="1569050" y="2896317"/>
                  <a:pt x="1436370" y="2896317"/>
                  <a:pt x="1354535" y="2814482"/>
                </a:cubicBezTo>
                <a:lnTo>
                  <a:pt x="3146" y="1463094"/>
                </a:lnTo>
                <a:cubicBezTo>
                  <a:pt x="2097" y="1045246"/>
                  <a:pt x="1049" y="627398"/>
                  <a:pt x="0" y="209550"/>
                </a:cubicBezTo>
                <a:cubicBezTo>
                  <a:pt x="0" y="151685"/>
                  <a:pt x="23455" y="99297"/>
                  <a:pt x="61376" y="61376"/>
                </a:cubicBezTo>
                <a:close/>
              </a:path>
            </a:pathLst>
          </a:cu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92" name="Freeform: Shape 1301">
            <a:extLst>
              <a:ext uri="{FF2B5EF4-FFF2-40B4-BE49-F238E27FC236}">
                <a16:creationId xmlns:a16="http://schemas.microsoft.com/office/drawing/2014/main" id="{474CA109-BADB-8FA2-B9D7-7AAE9CB0EE76}"/>
              </a:ext>
            </a:extLst>
          </p:cNvPr>
          <p:cNvSpPr/>
          <p:nvPr/>
        </p:nvSpPr>
        <p:spPr>
          <a:xfrm rot="6265901" flipV="1">
            <a:off x="3030897" y="3405500"/>
            <a:ext cx="122366" cy="36145"/>
          </a:xfrm>
          <a:custGeom>
            <a:avLst/>
            <a:gdLst>
              <a:gd name="connsiteX0" fmla="*/ 0 w 238125"/>
              <a:gd name="connsiteY0" fmla="*/ 85782 h 85782"/>
              <a:gd name="connsiteX1" fmla="*/ 95250 w 238125"/>
              <a:gd name="connsiteY1" fmla="*/ 57 h 85782"/>
              <a:gd name="connsiteX2" fmla="*/ 166688 w 238125"/>
              <a:gd name="connsiteY2" fmla="*/ 71494 h 85782"/>
              <a:gd name="connsiteX3" fmla="*/ 238125 w 238125"/>
              <a:gd name="connsiteY3" fmla="*/ 9582 h 857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38125" h="85782">
                <a:moveTo>
                  <a:pt x="0" y="85782"/>
                </a:moveTo>
                <a:cubicBezTo>
                  <a:pt x="33734" y="44110"/>
                  <a:pt x="67469" y="2438"/>
                  <a:pt x="95250" y="57"/>
                </a:cubicBezTo>
                <a:cubicBezTo>
                  <a:pt x="123031" y="-2324"/>
                  <a:pt x="142875" y="69906"/>
                  <a:pt x="166688" y="71494"/>
                </a:cubicBezTo>
                <a:cubicBezTo>
                  <a:pt x="190501" y="73082"/>
                  <a:pt x="214313" y="41332"/>
                  <a:pt x="238125" y="9582"/>
                </a:cubicBezTo>
              </a:path>
            </a:pathLst>
          </a:cu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93" name="Star: 5 Points 492">
            <a:extLst>
              <a:ext uri="{FF2B5EF4-FFF2-40B4-BE49-F238E27FC236}">
                <a16:creationId xmlns:a16="http://schemas.microsoft.com/office/drawing/2014/main" id="{A8F22956-1E1A-93EB-95E3-E6141B05795E}"/>
              </a:ext>
            </a:extLst>
          </p:cNvPr>
          <p:cNvSpPr/>
          <p:nvPr/>
        </p:nvSpPr>
        <p:spPr>
          <a:xfrm rot="14203480">
            <a:off x="2995473" y="3454894"/>
            <a:ext cx="100797" cy="82651"/>
          </a:xfrm>
          <a:prstGeom prst="star5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94" name="Freeform: Shape 1303">
            <a:extLst>
              <a:ext uri="{FF2B5EF4-FFF2-40B4-BE49-F238E27FC236}">
                <a16:creationId xmlns:a16="http://schemas.microsoft.com/office/drawing/2014/main" id="{FD5083A2-31BB-FEC0-39BD-8B43CE0CBB3E}"/>
              </a:ext>
            </a:extLst>
          </p:cNvPr>
          <p:cNvSpPr/>
          <p:nvPr/>
        </p:nvSpPr>
        <p:spPr>
          <a:xfrm rot="7418382" flipV="1">
            <a:off x="3028017" y="3327624"/>
            <a:ext cx="122366" cy="36145"/>
          </a:xfrm>
          <a:custGeom>
            <a:avLst/>
            <a:gdLst>
              <a:gd name="connsiteX0" fmla="*/ 0 w 238125"/>
              <a:gd name="connsiteY0" fmla="*/ 85782 h 85782"/>
              <a:gd name="connsiteX1" fmla="*/ 95250 w 238125"/>
              <a:gd name="connsiteY1" fmla="*/ 57 h 85782"/>
              <a:gd name="connsiteX2" fmla="*/ 166688 w 238125"/>
              <a:gd name="connsiteY2" fmla="*/ 71494 h 85782"/>
              <a:gd name="connsiteX3" fmla="*/ 238125 w 238125"/>
              <a:gd name="connsiteY3" fmla="*/ 9582 h 857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38125" h="85782">
                <a:moveTo>
                  <a:pt x="0" y="85782"/>
                </a:moveTo>
                <a:cubicBezTo>
                  <a:pt x="33734" y="44110"/>
                  <a:pt x="67469" y="2438"/>
                  <a:pt x="95250" y="57"/>
                </a:cubicBezTo>
                <a:cubicBezTo>
                  <a:pt x="123031" y="-2324"/>
                  <a:pt x="142875" y="69906"/>
                  <a:pt x="166688" y="71494"/>
                </a:cubicBezTo>
                <a:cubicBezTo>
                  <a:pt x="190501" y="73082"/>
                  <a:pt x="214313" y="41332"/>
                  <a:pt x="238125" y="9582"/>
                </a:cubicBezTo>
              </a:path>
            </a:pathLst>
          </a:cu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95" name="Star: 5 Points 494">
            <a:extLst>
              <a:ext uri="{FF2B5EF4-FFF2-40B4-BE49-F238E27FC236}">
                <a16:creationId xmlns:a16="http://schemas.microsoft.com/office/drawing/2014/main" id="{37782F33-963E-2133-7CA6-C482BA4C26E4}"/>
              </a:ext>
            </a:extLst>
          </p:cNvPr>
          <p:cNvSpPr/>
          <p:nvPr/>
        </p:nvSpPr>
        <p:spPr>
          <a:xfrm rot="15355961">
            <a:off x="2976015" y="3355292"/>
            <a:ext cx="100797" cy="82651"/>
          </a:xfrm>
          <a:prstGeom prst="star5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96" name="Freeform: Shape 1305">
            <a:extLst>
              <a:ext uri="{FF2B5EF4-FFF2-40B4-BE49-F238E27FC236}">
                <a16:creationId xmlns:a16="http://schemas.microsoft.com/office/drawing/2014/main" id="{363475D2-BB77-3BFC-EB39-B642ACBF9D48}"/>
              </a:ext>
            </a:extLst>
          </p:cNvPr>
          <p:cNvSpPr/>
          <p:nvPr/>
        </p:nvSpPr>
        <p:spPr>
          <a:xfrm rot="2988578">
            <a:off x="3195487" y="3320911"/>
            <a:ext cx="100336" cy="44081"/>
          </a:xfrm>
          <a:custGeom>
            <a:avLst/>
            <a:gdLst>
              <a:gd name="connsiteX0" fmla="*/ 0 w 238125"/>
              <a:gd name="connsiteY0" fmla="*/ 85782 h 85782"/>
              <a:gd name="connsiteX1" fmla="*/ 95250 w 238125"/>
              <a:gd name="connsiteY1" fmla="*/ 57 h 85782"/>
              <a:gd name="connsiteX2" fmla="*/ 166688 w 238125"/>
              <a:gd name="connsiteY2" fmla="*/ 71494 h 85782"/>
              <a:gd name="connsiteX3" fmla="*/ 238125 w 238125"/>
              <a:gd name="connsiteY3" fmla="*/ 9582 h 857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38125" h="85782">
                <a:moveTo>
                  <a:pt x="0" y="85782"/>
                </a:moveTo>
                <a:cubicBezTo>
                  <a:pt x="33734" y="44110"/>
                  <a:pt x="67469" y="2438"/>
                  <a:pt x="95250" y="57"/>
                </a:cubicBezTo>
                <a:cubicBezTo>
                  <a:pt x="123031" y="-2324"/>
                  <a:pt x="142875" y="69906"/>
                  <a:pt x="166688" y="71494"/>
                </a:cubicBezTo>
                <a:cubicBezTo>
                  <a:pt x="190501" y="73082"/>
                  <a:pt x="214313" y="41332"/>
                  <a:pt x="238125" y="9582"/>
                </a:cubicBezTo>
              </a:path>
            </a:pathLst>
          </a:cu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97" name="Star: 5 Points 496">
            <a:extLst>
              <a:ext uri="{FF2B5EF4-FFF2-40B4-BE49-F238E27FC236}">
                <a16:creationId xmlns:a16="http://schemas.microsoft.com/office/drawing/2014/main" id="{44639DEF-4FC5-A19E-C576-38D50D5D2A46}"/>
              </a:ext>
            </a:extLst>
          </p:cNvPr>
          <p:cNvSpPr/>
          <p:nvPr/>
        </p:nvSpPr>
        <p:spPr>
          <a:xfrm rot="16650999" flipV="1">
            <a:off x="3260915" y="3341221"/>
            <a:ext cx="100797" cy="82651"/>
          </a:xfrm>
          <a:prstGeom prst="star5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98" name="Freeform: Shape 1307">
            <a:extLst>
              <a:ext uri="{FF2B5EF4-FFF2-40B4-BE49-F238E27FC236}">
                <a16:creationId xmlns:a16="http://schemas.microsoft.com/office/drawing/2014/main" id="{C4E4049B-036C-79F2-4FDD-E88D3221856F}"/>
              </a:ext>
            </a:extLst>
          </p:cNvPr>
          <p:cNvSpPr/>
          <p:nvPr/>
        </p:nvSpPr>
        <p:spPr>
          <a:xfrm rot="4141059">
            <a:off x="3165160" y="3382042"/>
            <a:ext cx="122366" cy="36145"/>
          </a:xfrm>
          <a:custGeom>
            <a:avLst/>
            <a:gdLst>
              <a:gd name="connsiteX0" fmla="*/ 0 w 238125"/>
              <a:gd name="connsiteY0" fmla="*/ 85782 h 85782"/>
              <a:gd name="connsiteX1" fmla="*/ 95250 w 238125"/>
              <a:gd name="connsiteY1" fmla="*/ 57 h 85782"/>
              <a:gd name="connsiteX2" fmla="*/ 166688 w 238125"/>
              <a:gd name="connsiteY2" fmla="*/ 71494 h 85782"/>
              <a:gd name="connsiteX3" fmla="*/ 238125 w 238125"/>
              <a:gd name="connsiteY3" fmla="*/ 9582 h 857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38125" h="85782">
                <a:moveTo>
                  <a:pt x="0" y="85782"/>
                </a:moveTo>
                <a:cubicBezTo>
                  <a:pt x="33734" y="44110"/>
                  <a:pt x="67469" y="2438"/>
                  <a:pt x="95250" y="57"/>
                </a:cubicBezTo>
                <a:cubicBezTo>
                  <a:pt x="123031" y="-2324"/>
                  <a:pt x="142875" y="69906"/>
                  <a:pt x="166688" y="71494"/>
                </a:cubicBezTo>
                <a:cubicBezTo>
                  <a:pt x="190501" y="73082"/>
                  <a:pt x="214313" y="41332"/>
                  <a:pt x="238125" y="9582"/>
                </a:cubicBezTo>
              </a:path>
            </a:pathLst>
          </a:cu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99" name="Star: 5 Points 498">
            <a:extLst>
              <a:ext uri="{FF2B5EF4-FFF2-40B4-BE49-F238E27FC236}">
                <a16:creationId xmlns:a16="http://schemas.microsoft.com/office/drawing/2014/main" id="{8F1D2C7C-A21E-D1B8-8D16-07F0D9FBD8CC}"/>
              </a:ext>
            </a:extLst>
          </p:cNvPr>
          <p:cNvSpPr/>
          <p:nvPr/>
        </p:nvSpPr>
        <p:spPr>
          <a:xfrm rot="17803480" flipV="1">
            <a:off x="3226492" y="3422904"/>
            <a:ext cx="100797" cy="82651"/>
          </a:xfrm>
          <a:prstGeom prst="star5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00" name="TextBox 499">
            <a:extLst>
              <a:ext uri="{FF2B5EF4-FFF2-40B4-BE49-F238E27FC236}">
                <a16:creationId xmlns:a16="http://schemas.microsoft.com/office/drawing/2014/main" id="{82510AAB-4DE8-185D-510C-EC2B62228E38}"/>
              </a:ext>
            </a:extLst>
          </p:cNvPr>
          <p:cNvSpPr txBox="1"/>
          <p:nvPr/>
        </p:nvSpPr>
        <p:spPr>
          <a:xfrm>
            <a:off x="2279921" y="3158943"/>
            <a:ext cx="621369" cy="26826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CB813"/>
              </a:buClr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DCs</a:t>
            </a:r>
          </a:p>
        </p:txBody>
      </p:sp>
      <p:sp>
        <p:nvSpPr>
          <p:cNvPr id="501" name="Flowchart: Connector 500">
            <a:extLst>
              <a:ext uri="{FF2B5EF4-FFF2-40B4-BE49-F238E27FC236}">
                <a16:creationId xmlns:a16="http://schemas.microsoft.com/office/drawing/2014/main" id="{8D68A9E9-D745-AD38-56D5-3D3329797FA3}"/>
              </a:ext>
            </a:extLst>
          </p:cNvPr>
          <p:cNvSpPr/>
          <p:nvPr/>
        </p:nvSpPr>
        <p:spPr>
          <a:xfrm>
            <a:off x="2895233" y="3757381"/>
            <a:ext cx="553212" cy="553212"/>
          </a:xfrm>
          <a:prstGeom prst="flowChartConnector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02" name="Flowchart: Connector 501">
            <a:extLst>
              <a:ext uri="{FF2B5EF4-FFF2-40B4-BE49-F238E27FC236}">
                <a16:creationId xmlns:a16="http://schemas.microsoft.com/office/drawing/2014/main" id="{8A029CCD-858D-C8FE-BF98-11F4F20E9225}"/>
              </a:ext>
            </a:extLst>
          </p:cNvPr>
          <p:cNvSpPr/>
          <p:nvPr/>
        </p:nvSpPr>
        <p:spPr>
          <a:xfrm>
            <a:off x="2728686" y="4288024"/>
            <a:ext cx="553212" cy="553212"/>
          </a:xfrm>
          <a:prstGeom prst="flowChartConnector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03" name="Flowchart: Connector 502">
            <a:extLst>
              <a:ext uri="{FF2B5EF4-FFF2-40B4-BE49-F238E27FC236}">
                <a16:creationId xmlns:a16="http://schemas.microsoft.com/office/drawing/2014/main" id="{59C36A4B-4A4C-57FE-3D0F-23D49D399674}"/>
              </a:ext>
            </a:extLst>
          </p:cNvPr>
          <p:cNvSpPr/>
          <p:nvPr/>
        </p:nvSpPr>
        <p:spPr>
          <a:xfrm>
            <a:off x="2256631" y="4869762"/>
            <a:ext cx="553212" cy="553212"/>
          </a:xfrm>
          <a:prstGeom prst="flowChartConnector">
            <a:avLst/>
          </a:prstGeom>
          <a:solidFill>
            <a:srgbClr val="2E63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04" name="Flowchart: Connector 503">
            <a:extLst>
              <a:ext uri="{FF2B5EF4-FFF2-40B4-BE49-F238E27FC236}">
                <a16:creationId xmlns:a16="http://schemas.microsoft.com/office/drawing/2014/main" id="{5385CED1-315B-F337-3033-BB6353D3F377}"/>
              </a:ext>
            </a:extLst>
          </p:cNvPr>
          <p:cNvSpPr/>
          <p:nvPr/>
        </p:nvSpPr>
        <p:spPr>
          <a:xfrm>
            <a:off x="1827803" y="5207220"/>
            <a:ext cx="553212" cy="553212"/>
          </a:xfrm>
          <a:prstGeom prst="flowChartConnector">
            <a:avLst/>
          </a:prstGeom>
          <a:solidFill>
            <a:srgbClr val="2E63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06" name="Rectangle 505">
            <a:extLst>
              <a:ext uri="{FF2B5EF4-FFF2-40B4-BE49-F238E27FC236}">
                <a16:creationId xmlns:a16="http://schemas.microsoft.com/office/drawing/2014/main" id="{C598A51C-4B94-5A2C-E59F-493FF1921132}"/>
              </a:ext>
            </a:extLst>
          </p:cNvPr>
          <p:cNvSpPr/>
          <p:nvPr/>
        </p:nvSpPr>
        <p:spPr>
          <a:xfrm rot="21170666">
            <a:off x="2093553" y="5355603"/>
            <a:ext cx="7127" cy="28887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07" name="Rectangle 506">
            <a:extLst>
              <a:ext uri="{FF2B5EF4-FFF2-40B4-BE49-F238E27FC236}">
                <a16:creationId xmlns:a16="http://schemas.microsoft.com/office/drawing/2014/main" id="{D7DCACE0-504C-19A4-8E92-4054AF44C87A}"/>
              </a:ext>
            </a:extLst>
          </p:cNvPr>
          <p:cNvSpPr/>
          <p:nvPr/>
        </p:nvSpPr>
        <p:spPr>
          <a:xfrm rot="349634">
            <a:off x="2110535" y="5356619"/>
            <a:ext cx="7127" cy="28887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08" name="Rectangle 507">
            <a:extLst>
              <a:ext uri="{FF2B5EF4-FFF2-40B4-BE49-F238E27FC236}">
                <a16:creationId xmlns:a16="http://schemas.microsoft.com/office/drawing/2014/main" id="{AEE018ED-1AD1-112B-E4F5-DB3E2B433E9D}"/>
              </a:ext>
            </a:extLst>
          </p:cNvPr>
          <p:cNvSpPr/>
          <p:nvPr/>
        </p:nvSpPr>
        <p:spPr>
          <a:xfrm rot="429334" flipH="1">
            <a:off x="2095612" y="5583162"/>
            <a:ext cx="7127" cy="28887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09" name="Rectangle 508">
            <a:extLst>
              <a:ext uri="{FF2B5EF4-FFF2-40B4-BE49-F238E27FC236}">
                <a16:creationId xmlns:a16="http://schemas.microsoft.com/office/drawing/2014/main" id="{C2429F02-D47E-C091-3567-67799CD4D35C}"/>
              </a:ext>
            </a:extLst>
          </p:cNvPr>
          <p:cNvSpPr/>
          <p:nvPr/>
        </p:nvSpPr>
        <p:spPr>
          <a:xfrm rot="21250366" flipH="1">
            <a:off x="2112594" y="5582146"/>
            <a:ext cx="7127" cy="28887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10" name="Rectangle 509">
            <a:extLst>
              <a:ext uri="{FF2B5EF4-FFF2-40B4-BE49-F238E27FC236}">
                <a16:creationId xmlns:a16="http://schemas.microsoft.com/office/drawing/2014/main" id="{2BCDEA22-6D68-5882-D55E-6F4C0FAC2FF6}"/>
              </a:ext>
            </a:extLst>
          </p:cNvPr>
          <p:cNvSpPr/>
          <p:nvPr/>
        </p:nvSpPr>
        <p:spPr>
          <a:xfrm rot="18470666">
            <a:off x="2010396" y="5397564"/>
            <a:ext cx="7035" cy="29267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11" name="Rectangle 510">
            <a:extLst>
              <a:ext uri="{FF2B5EF4-FFF2-40B4-BE49-F238E27FC236}">
                <a16:creationId xmlns:a16="http://schemas.microsoft.com/office/drawing/2014/main" id="{2FB4692E-A055-A82B-C145-DB1050672E2E}"/>
              </a:ext>
            </a:extLst>
          </p:cNvPr>
          <p:cNvSpPr/>
          <p:nvPr/>
        </p:nvSpPr>
        <p:spPr>
          <a:xfrm rot="19249634">
            <a:off x="2023086" y="5386619"/>
            <a:ext cx="7127" cy="28887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8A6C9561-1433-D3E7-0B93-CAEAA1ADF7BE}"/>
              </a:ext>
            </a:extLst>
          </p:cNvPr>
          <p:cNvSpPr/>
          <p:nvPr/>
        </p:nvSpPr>
        <p:spPr>
          <a:xfrm rot="19329334" flipH="1">
            <a:off x="2175342" y="5556209"/>
            <a:ext cx="7127" cy="28887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B9E56164-007C-C7FE-0695-53257FA63C79}"/>
              </a:ext>
            </a:extLst>
          </p:cNvPr>
          <p:cNvSpPr/>
          <p:nvPr/>
        </p:nvSpPr>
        <p:spPr>
          <a:xfrm rot="18550366" flipH="1">
            <a:off x="2187095" y="5543869"/>
            <a:ext cx="7035" cy="29267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22A6CDB6-2FB4-7672-886A-62569A621780}"/>
              </a:ext>
            </a:extLst>
          </p:cNvPr>
          <p:cNvSpPr/>
          <p:nvPr/>
        </p:nvSpPr>
        <p:spPr>
          <a:xfrm rot="15770666">
            <a:off x="1986992" y="5478082"/>
            <a:ext cx="7035" cy="29267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698A90E1-FBD9-8216-21D4-96F3BE56252E}"/>
              </a:ext>
            </a:extLst>
          </p:cNvPr>
          <p:cNvSpPr/>
          <p:nvPr/>
        </p:nvSpPr>
        <p:spPr>
          <a:xfrm rot="16549634">
            <a:off x="1986992" y="5461320"/>
            <a:ext cx="7035" cy="29267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7" name="Rectangle 116">
            <a:extLst>
              <a:ext uri="{FF2B5EF4-FFF2-40B4-BE49-F238E27FC236}">
                <a16:creationId xmlns:a16="http://schemas.microsoft.com/office/drawing/2014/main" id="{B8D0C88F-97B4-1FBA-508F-0B520F9E1206}"/>
              </a:ext>
            </a:extLst>
          </p:cNvPr>
          <p:cNvSpPr/>
          <p:nvPr/>
        </p:nvSpPr>
        <p:spPr>
          <a:xfrm rot="16629334" flipH="1">
            <a:off x="2214791" y="5476050"/>
            <a:ext cx="7035" cy="29267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8" name="Rectangle 117">
            <a:extLst>
              <a:ext uri="{FF2B5EF4-FFF2-40B4-BE49-F238E27FC236}">
                <a16:creationId xmlns:a16="http://schemas.microsoft.com/office/drawing/2014/main" id="{C66891B8-E5DE-0ED8-62C5-0DB6DCC38BE9}"/>
              </a:ext>
            </a:extLst>
          </p:cNvPr>
          <p:cNvSpPr/>
          <p:nvPr/>
        </p:nvSpPr>
        <p:spPr>
          <a:xfrm rot="15850366" flipH="1">
            <a:off x="2214791" y="5459288"/>
            <a:ext cx="7035" cy="29267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36C5BEA6-E8AC-DC2D-E77E-6C2A1B9B44F0}"/>
              </a:ext>
            </a:extLst>
          </p:cNvPr>
          <p:cNvSpPr/>
          <p:nvPr/>
        </p:nvSpPr>
        <p:spPr>
          <a:xfrm rot="13070666">
            <a:off x="2028445" y="5558872"/>
            <a:ext cx="7127" cy="28887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0" name="Rectangle 119">
            <a:extLst>
              <a:ext uri="{FF2B5EF4-FFF2-40B4-BE49-F238E27FC236}">
                <a16:creationId xmlns:a16="http://schemas.microsoft.com/office/drawing/2014/main" id="{563A98F9-CAC3-ACD6-C1C0-D2ED2342DE62}"/>
              </a:ext>
            </a:extLst>
          </p:cNvPr>
          <p:cNvSpPr/>
          <p:nvPr/>
        </p:nvSpPr>
        <p:spPr>
          <a:xfrm rot="13849634">
            <a:off x="2017211" y="5546112"/>
            <a:ext cx="7035" cy="29267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1" name="Rectangle 120">
            <a:extLst>
              <a:ext uri="{FF2B5EF4-FFF2-40B4-BE49-F238E27FC236}">
                <a16:creationId xmlns:a16="http://schemas.microsoft.com/office/drawing/2014/main" id="{EBB128D8-59DE-FF86-ACB6-8272B5847AB7}"/>
              </a:ext>
            </a:extLst>
          </p:cNvPr>
          <p:cNvSpPr/>
          <p:nvPr/>
        </p:nvSpPr>
        <p:spPr>
          <a:xfrm rot="13929334" flipH="1">
            <a:off x="2189028" y="5396845"/>
            <a:ext cx="7035" cy="29267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2" name="Rectangle 121">
            <a:extLst>
              <a:ext uri="{FF2B5EF4-FFF2-40B4-BE49-F238E27FC236}">
                <a16:creationId xmlns:a16="http://schemas.microsoft.com/office/drawing/2014/main" id="{9AF4B776-5A93-BE60-C55F-F4B487AF6F08}"/>
              </a:ext>
            </a:extLst>
          </p:cNvPr>
          <p:cNvSpPr/>
          <p:nvPr/>
        </p:nvSpPr>
        <p:spPr>
          <a:xfrm rot="13150366" flipH="1">
            <a:off x="2177702" y="5384464"/>
            <a:ext cx="7127" cy="28887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3" name="Oval 122">
            <a:extLst>
              <a:ext uri="{FF2B5EF4-FFF2-40B4-BE49-F238E27FC236}">
                <a16:creationId xmlns:a16="http://schemas.microsoft.com/office/drawing/2014/main" id="{A37806D5-1DA4-8646-0BC2-99D27ABD60C1}"/>
              </a:ext>
            </a:extLst>
          </p:cNvPr>
          <p:cNvSpPr/>
          <p:nvPr/>
        </p:nvSpPr>
        <p:spPr>
          <a:xfrm>
            <a:off x="2009889" y="5389320"/>
            <a:ext cx="189890" cy="189894"/>
          </a:xfrm>
          <a:prstGeom prst="ellipse">
            <a:avLst/>
          </a:prstGeom>
          <a:solidFill>
            <a:srgbClr val="2E637A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4" name="Oval 123">
            <a:extLst>
              <a:ext uri="{FF2B5EF4-FFF2-40B4-BE49-F238E27FC236}">
                <a16:creationId xmlns:a16="http://schemas.microsoft.com/office/drawing/2014/main" id="{D202AF65-E769-CD7F-CA1C-9F0C27F88BEE}"/>
              </a:ext>
            </a:extLst>
          </p:cNvPr>
          <p:cNvSpPr/>
          <p:nvPr/>
        </p:nvSpPr>
        <p:spPr>
          <a:xfrm>
            <a:off x="2061143" y="5441908"/>
            <a:ext cx="87382" cy="84718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33" name="Rectangle: Rounded Corners 132">
            <a:extLst>
              <a:ext uri="{FF2B5EF4-FFF2-40B4-BE49-F238E27FC236}">
                <a16:creationId xmlns:a16="http://schemas.microsoft.com/office/drawing/2014/main" id="{35CE5876-F932-204B-810B-C913AD087A04}"/>
              </a:ext>
            </a:extLst>
          </p:cNvPr>
          <p:cNvSpPr/>
          <p:nvPr/>
        </p:nvSpPr>
        <p:spPr>
          <a:xfrm rot="1711328" flipH="1">
            <a:off x="2987593" y="4589558"/>
            <a:ext cx="23001" cy="78483"/>
          </a:xfrm>
          <a:prstGeom prst="round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34" name="Rectangle: Rounded Corners 133">
            <a:extLst>
              <a:ext uri="{FF2B5EF4-FFF2-40B4-BE49-F238E27FC236}">
                <a16:creationId xmlns:a16="http://schemas.microsoft.com/office/drawing/2014/main" id="{900612CE-8F2E-F4E3-0540-33D80BC2FE9C}"/>
              </a:ext>
            </a:extLst>
          </p:cNvPr>
          <p:cNvSpPr/>
          <p:nvPr/>
        </p:nvSpPr>
        <p:spPr>
          <a:xfrm rot="1711328" flipH="1">
            <a:off x="2964413" y="4576961"/>
            <a:ext cx="23001" cy="78483"/>
          </a:xfrm>
          <a:prstGeom prst="round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35" name="Rectangle: Rounded Corners 134">
            <a:extLst>
              <a:ext uri="{FF2B5EF4-FFF2-40B4-BE49-F238E27FC236}">
                <a16:creationId xmlns:a16="http://schemas.microsoft.com/office/drawing/2014/main" id="{E2C50AF4-2A62-4917-71A7-18BA101586A6}"/>
              </a:ext>
            </a:extLst>
          </p:cNvPr>
          <p:cNvSpPr/>
          <p:nvPr/>
        </p:nvSpPr>
        <p:spPr>
          <a:xfrm rot="1711328" flipH="1">
            <a:off x="2926938" y="4645919"/>
            <a:ext cx="23001" cy="78483"/>
          </a:xfrm>
          <a:prstGeom prst="round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36" name="Rectangle: Rounded Corners 135">
            <a:extLst>
              <a:ext uri="{FF2B5EF4-FFF2-40B4-BE49-F238E27FC236}">
                <a16:creationId xmlns:a16="http://schemas.microsoft.com/office/drawing/2014/main" id="{E6CC4478-6DD9-F6F9-3703-8389DACB5ECB}"/>
              </a:ext>
            </a:extLst>
          </p:cNvPr>
          <p:cNvSpPr/>
          <p:nvPr/>
        </p:nvSpPr>
        <p:spPr>
          <a:xfrm rot="1711328" flipH="1">
            <a:off x="2950118" y="4658516"/>
            <a:ext cx="23001" cy="78483"/>
          </a:xfrm>
          <a:prstGeom prst="round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51" name="Rectangle: Rounded Corners 150">
            <a:extLst>
              <a:ext uri="{FF2B5EF4-FFF2-40B4-BE49-F238E27FC236}">
                <a16:creationId xmlns:a16="http://schemas.microsoft.com/office/drawing/2014/main" id="{A1695D58-AB7D-3FBD-8CB2-7222FAFF446A}"/>
              </a:ext>
            </a:extLst>
          </p:cNvPr>
          <p:cNvSpPr/>
          <p:nvPr/>
        </p:nvSpPr>
        <p:spPr>
          <a:xfrm rot="20955953" flipH="1">
            <a:off x="2978769" y="4474610"/>
            <a:ext cx="21583" cy="73645"/>
          </a:xfrm>
          <a:prstGeom prst="round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52" name="Rectangle: Rounded Corners 151">
            <a:extLst>
              <a:ext uri="{FF2B5EF4-FFF2-40B4-BE49-F238E27FC236}">
                <a16:creationId xmlns:a16="http://schemas.microsoft.com/office/drawing/2014/main" id="{77719E20-26BF-94D5-34AF-DD68A6874F01}"/>
              </a:ext>
            </a:extLst>
          </p:cNvPr>
          <p:cNvSpPr/>
          <p:nvPr/>
        </p:nvSpPr>
        <p:spPr>
          <a:xfrm rot="20955953" flipH="1">
            <a:off x="2954447" y="4479220"/>
            <a:ext cx="21583" cy="73645"/>
          </a:xfrm>
          <a:prstGeom prst="round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49" name="Rectangle: Rounded Corners 148">
            <a:extLst>
              <a:ext uri="{FF2B5EF4-FFF2-40B4-BE49-F238E27FC236}">
                <a16:creationId xmlns:a16="http://schemas.microsoft.com/office/drawing/2014/main" id="{514B92BB-3285-2FB2-F97D-56F1E67F2D51}"/>
              </a:ext>
            </a:extLst>
          </p:cNvPr>
          <p:cNvSpPr/>
          <p:nvPr/>
        </p:nvSpPr>
        <p:spPr>
          <a:xfrm rot="20845034" flipH="1">
            <a:off x="2962338" y="4392595"/>
            <a:ext cx="21583" cy="73645"/>
          </a:xfrm>
          <a:prstGeom prst="round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50" name="Rectangle: Rounded Corners 149">
            <a:extLst>
              <a:ext uri="{FF2B5EF4-FFF2-40B4-BE49-F238E27FC236}">
                <a16:creationId xmlns:a16="http://schemas.microsoft.com/office/drawing/2014/main" id="{1EC8BD34-6E86-EBEC-680A-F17B5FD11052}"/>
              </a:ext>
            </a:extLst>
          </p:cNvPr>
          <p:cNvSpPr/>
          <p:nvPr/>
        </p:nvSpPr>
        <p:spPr>
          <a:xfrm rot="20845034" flipH="1">
            <a:off x="2938177" y="4397987"/>
            <a:ext cx="21583" cy="73645"/>
          </a:xfrm>
          <a:prstGeom prst="round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47" name="Rectangle: Rounded Corners 146">
            <a:extLst>
              <a:ext uri="{FF2B5EF4-FFF2-40B4-BE49-F238E27FC236}">
                <a16:creationId xmlns:a16="http://schemas.microsoft.com/office/drawing/2014/main" id="{C84478E5-C7CE-818F-DC75-15A49F4BDBF6}"/>
              </a:ext>
            </a:extLst>
          </p:cNvPr>
          <p:cNvSpPr/>
          <p:nvPr/>
        </p:nvSpPr>
        <p:spPr>
          <a:xfrm rot="4312288" flipH="1">
            <a:off x="3077243" y="4547972"/>
            <a:ext cx="21583" cy="73645"/>
          </a:xfrm>
          <a:prstGeom prst="round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48" name="Rectangle: Rounded Corners 147">
            <a:extLst>
              <a:ext uri="{FF2B5EF4-FFF2-40B4-BE49-F238E27FC236}">
                <a16:creationId xmlns:a16="http://schemas.microsoft.com/office/drawing/2014/main" id="{5A203478-7283-C893-CAA4-F93D2DD6925E}"/>
              </a:ext>
            </a:extLst>
          </p:cNvPr>
          <p:cNvSpPr/>
          <p:nvPr/>
        </p:nvSpPr>
        <p:spPr>
          <a:xfrm rot="4312288" flipH="1">
            <a:off x="3069540" y="4524446"/>
            <a:ext cx="21583" cy="73645"/>
          </a:xfrm>
          <a:prstGeom prst="round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40" name="Straight Connector 139">
            <a:extLst>
              <a:ext uri="{FF2B5EF4-FFF2-40B4-BE49-F238E27FC236}">
                <a16:creationId xmlns:a16="http://schemas.microsoft.com/office/drawing/2014/main" id="{F9A1867D-0F60-7936-BA7C-FED0E14BA639}"/>
              </a:ext>
            </a:extLst>
          </p:cNvPr>
          <p:cNvCxnSpPr/>
          <p:nvPr/>
        </p:nvCxnSpPr>
        <p:spPr>
          <a:xfrm rot="1711328" flipH="1">
            <a:off x="2999280" y="4565787"/>
            <a:ext cx="0" cy="15917"/>
          </a:xfrm>
          <a:prstGeom prst="line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41" name="Straight Connector 140">
            <a:extLst>
              <a:ext uri="{FF2B5EF4-FFF2-40B4-BE49-F238E27FC236}">
                <a16:creationId xmlns:a16="http://schemas.microsoft.com/office/drawing/2014/main" id="{1A6CE02B-5F6A-5D02-B33B-9DA9B03FFFBB}"/>
              </a:ext>
            </a:extLst>
          </p:cNvPr>
          <p:cNvCxnSpPr/>
          <p:nvPr/>
        </p:nvCxnSpPr>
        <p:spPr>
          <a:xfrm rot="1711328" flipH="1">
            <a:off x="3021914" y="4578088"/>
            <a:ext cx="0" cy="15917"/>
          </a:xfrm>
          <a:prstGeom prst="line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42" name="Straight Connector 141">
            <a:extLst>
              <a:ext uri="{FF2B5EF4-FFF2-40B4-BE49-F238E27FC236}">
                <a16:creationId xmlns:a16="http://schemas.microsoft.com/office/drawing/2014/main" id="{8BD4020E-7560-C4F8-8EA9-E9F3D4E74E7A}"/>
              </a:ext>
            </a:extLst>
          </p:cNvPr>
          <p:cNvCxnSpPr>
            <a:cxnSpLocks/>
          </p:cNvCxnSpPr>
          <p:nvPr/>
        </p:nvCxnSpPr>
        <p:spPr>
          <a:xfrm rot="20611328" flipH="1">
            <a:off x="2999321" y="4547257"/>
            <a:ext cx="0" cy="22388"/>
          </a:xfrm>
          <a:prstGeom prst="line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43" name="Straight Connector 142">
            <a:extLst>
              <a:ext uri="{FF2B5EF4-FFF2-40B4-BE49-F238E27FC236}">
                <a16:creationId xmlns:a16="http://schemas.microsoft.com/office/drawing/2014/main" id="{D8D79AD0-2E63-9446-4B1C-AC0613E83388}"/>
              </a:ext>
            </a:extLst>
          </p:cNvPr>
          <p:cNvCxnSpPr>
            <a:cxnSpLocks/>
          </p:cNvCxnSpPr>
          <p:nvPr/>
        </p:nvCxnSpPr>
        <p:spPr>
          <a:xfrm rot="1711328">
            <a:off x="2979209" y="4466899"/>
            <a:ext cx="5621" cy="6231"/>
          </a:xfrm>
          <a:prstGeom prst="line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44" name="Straight Connector 143">
            <a:extLst>
              <a:ext uri="{FF2B5EF4-FFF2-40B4-BE49-F238E27FC236}">
                <a16:creationId xmlns:a16="http://schemas.microsoft.com/office/drawing/2014/main" id="{8240608C-C1CC-5D75-51EA-F6B7929A7C04}"/>
              </a:ext>
            </a:extLst>
          </p:cNvPr>
          <p:cNvCxnSpPr>
            <a:cxnSpLocks/>
          </p:cNvCxnSpPr>
          <p:nvPr/>
        </p:nvCxnSpPr>
        <p:spPr>
          <a:xfrm rot="4411328">
            <a:off x="3034587" y="4566434"/>
            <a:ext cx="0" cy="22388"/>
          </a:xfrm>
          <a:prstGeom prst="line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45" name="Straight Connector 144">
            <a:extLst>
              <a:ext uri="{FF2B5EF4-FFF2-40B4-BE49-F238E27FC236}">
                <a16:creationId xmlns:a16="http://schemas.microsoft.com/office/drawing/2014/main" id="{908341FD-247A-D2EB-6D04-2D35E6CE3F8A}"/>
              </a:ext>
            </a:extLst>
          </p:cNvPr>
          <p:cNvCxnSpPr>
            <a:cxnSpLocks/>
          </p:cNvCxnSpPr>
          <p:nvPr/>
        </p:nvCxnSpPr>
        <p:spPr>
          <a:xfrm rot="1711328" flipH="1">
            <a:off x="2999664" y="4575159"/>
            <a:ext cx="27380" cy="0"/>
          </a:xfrm>
          <a:prstGeom prst="line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46" name="Straight Connector 145">
            <a:extLst>
              <a:ext uri="{FF2B5EF4-FFF2-40B4-BE49-F238E27FC236}">
                <a16:creationId xmlns:a16="http://schemas.microsoft.com/office/drawing/2014/main" id="{638506CD-77FB-D563-D592-53C6230E8E30}"/>
              </a:ext>
            </a:extLst>
          </p:cNvPr>
          <p:cNvCxnSpPr>
            <a:cxnSpLocks/>
          </p:cNvCxnSpPr>
          <p:nvPr/>
        </p:nvCxnSpPr>
        <p:spPr>
          <a:xfrm rot="1711328" flipH="1">
            <a:off x="2997565" y="4581737"/>
            <a:ext cx="27380" cy="0"/>
          </a:xfrm>
          <a:prstGeom prst="line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53" name="Freeform: Shape 1295">
            <a:extLst>
              <a:ext uri="{FF2B5EF4-FFF2-40B4-BE49-F238E27FC236}">
                <a16:creationId xmlns:a16="http://schemas.microsoft.com/office/drawing/2014/main" id="{50407A10-31C2-23DB-8F0C-7266686979F8}"/>
              </a:ext>
            </a:extLst>
          </p:cNvPr>
          <p:cNvSpPr/>
          <p:nvPr/>
        </p:nvSpPr>
        <p:spPr>
          <a:xfrm rot="19340584" flipH="1">
            <a:off x="3019503" y="3842068"/>
            <a:ext cx="314665" cy="340565"/>
          </a:xfrm>
          <a:custGeom>
            <a:avLst/>
            <a:gdLst>
              <a:gd name="connsiteX0" fmla="*/ 223406 w 344872"/>
              <a:gd name="connsiteY0" fmla="*/ 172295 h 373258"/>
              <a:gd name="connsiteX1" fmla="*/ 230274 w 344872"/>
              <a:gd name="connsiteY1" fmla="*/ 177712 h 373258"/>
              <a:gd name="connsiteX2" fmla="*/ 219033 w 344872"/>
              <a:gd name="connsiteY2" fmla="*/ 176939 h 373258"/>
              <a:gd name="connsiteX3" fmla="*/ 202006 w 344872"/>
              <a:gd name="connsiteY3" fmla="*/ 5766 h 373258"/>
              <a:gd name="connsiteX4" fmla="*/ 176598 w 344872"/>
              <a:gd name="connsiteY4" fmla="*/ 34822 h 373258"/>
              <a:gd name="connsiteX5" fmla="*/ 170991 w 344872"/>
              <a:gd name="connsiteY5" fmla="*/ 86974 h 373258"/>
              <a:gd name="connsiteX6" fmla="*/ 176467 w 344872"/>
              <a:gd name="connsiteY6" fmla="*/ 92722 h 373258"/>
              <a:gd name="connsiteX7" fmla="*/ 172374 w 344872"/>
              <a:gd name="connsiteY7" fmla="*/ 99946 h 373258"/>
              <a:gd name="connsiteX8" fmla="*/ 170954 w 344872"/>
              <a:gd name="connsiteY8" fmla="*/ 138518 h 373258"/>
              <a:gd name="connsiteX9" fmla="*/ 187455 w 344872"/>
              <a:gd name="connsiteY9" fmla="*/ 173410 h 373258"/>
              <a:gd name="connsiteX10" fmla="*/ 191159 w 344872"/>
              <a:gd name="connsiteY10" fmla="*/ 175023 h 373258"/>
              <a:gd name="connsiteX11" fmla="*/ 191124 w 344872"/>
              <a:gd name="connsiteY11" fmla="*/ 175020 h 373258"/>
              <a:gd name="connsiteX12" fmla="*/ 202035 w 344872"/>
              <a:gd name="connsiteY12" fmla="*/ 204650 h 373258"/>
              <a:gd name="connsiteX13" fmla="*/ 216592 w 344872"/>
              <a:gd name="connsiteY13" fmla="*/ 212094 h 373258"/>
              <a:gd name="connsiteX14" fmla="*/ 220804 w 344872"/>
              <a:gd name="connsiteY14" fmla="*/ 236140 h 373258"/>
              <a:gd name="connsiteX15" fmla="*/ 250992 w 344872"/>
              <a:gd name="connsiteY15" fmla="*/ 260262 h 373258"/>
              <a:gd name="connsiteX16" fmla="*/ 288946 w 344872"/>
              <a:gd name="connsiteY16" fmla="*/ 267419 h 373258"/>
              <a:gd name="connsiteX17" fmla="*/ 281144 w 344872"/>
              <a:gd name="connsiteY17" fmla="*/ 294390 h 373258"/>
              <a:gd name="connsiteX18" fmla="*/ 286765 w 344872"/>
              <a:gd name="connsiteY18" fmla="*/ 321272 h 373258"/>
              <a:gd name="connsiteX19" fmla="*/ 260544 w 344872"/>
              <a:gd name="connsiteY19" fmla="*/ 309122 h 373258"/>
              <a:gd name="connsiteX20" fmla="*/ 234893 w 344872"/>
              <a:gd name="connsiteY20" fmla="*/ 310503 h 373258"/>
              <a:gd name="connsiteX21" fmla="*/ 235340 w 344872"/>
              <a:gd name="connsiteY21" fmla="*/ 310038 h 373258"/>
              <a:gd name="connsiteX22" fmla="*/ 236939 w 344872"/>
              <a:gd name="connsiteY22" fmla="*/ 271429 h 373258"/>
              <a:gd name="connsiteX23" fmla="*/ 220259 w 344872"/>
              <a:gd name="connsiteY23" fmla="*/ 236574 h 373258"/>
              <a:gd name="connsiteX24" fmla="*/ 199603 w 344872"/>
              <a:gd name="connsiteY24" fmla="*/ 227810 h 373258"/>
              <a:gd name="connsiteX25" fmla="*/ 200777 w 344872"/>
              <a:gd name="connsiteY25" fmla="*/ 227960 h 373258"/>
              <a:gd name="connsiteX26" fmla="*/ 192774 w 344872"/>
              <a:gd name="connsiteY26" fmla="*/ 195942 h 373258"/>
              <a:gd name="connsiteX27" fmla="*/ 179089 w 344872"/>
              <a:gd name="connsiteY27" fmla="*/ 186962 h 373258"/>
              <a:gd name="connsiteX28" fmla="*/ 178053 w 344872"/>
              <a:gd name="connsiteY28" fmla="*/ 181053 h 373258"/>
              <a:gd name="connsiteX29" fmla="*/ 147865 w 344872"/>
              <a:gd name="connsiteY29" fmla="*/ 156932 h 373258"/>
              <a:gd name="connsiteX30" fmla="*/ 109894 w 344872"/>
              <a:gd name="connsiteY30" fmla="*/ 149770 h 373258"/>
              <a:gd name="connsiteX31" fmla="*/ 103034 w 344872"/>
              <a:gd name="connsiteY31" fmla="*/ 153852 h 373258"/>
              <a:gd name="connsiteX32" fmla="*/ 97741 w 344872"/>
              <a:gd name="connsiteY32" fmla="*/ 145698 h 373258"/>
              <a:gd name="connsiteX33" fmla="*/ 45575 w 344872"/>
              <a:gd name="connsiteY33" fmla="*/ 139012 h 373258"/>
              <a:gd name="connsiteX34" fmla="*/ 11577 w 344872"/>
              <a:gd name="connsiteY34" fmla="*/ 157379 h 373258"/>
              <a:gd name="connsiteX35" fmla="*/ 2139 w 344872"/>
              <a:gd name="connsiteY35" fmla="*/ 183060 h 373258"/>
              <a:gd name="connsiteX36" fmla="*/ 2652 w 344872"/>
              <a:gd name="connsiteY36" fmla="*/ 184217 h 373258"/>
              <a:gd name="connsiteX37" fmla="*/ 3818 w 344872"/>
              <a:gd name="connsiteY37" fmla="*/ 181417 h 373258"/>
              <a:gd name="connsiteX38" fmla="*/ 65668 w 344872"/>
              <a:gd name="connsiteY38" fmla="*/ 182657 h 373258"/>
              <a:gd name="connsiteX39" fmla="*/ 79320 w 344872"/>
              <a:gd name="connsiteY39" fmla="*/ 193734 h 373258"/>
              <a:gd name="connsiteX40" fmla="*/ 80796 w 344872"/>
              <a:gd name="connsiteY40" fmla="*/ 193157 h 373258"/>
              <a:gd name="connsiteX41" fmla="*/ 90124 w 344872"/>
              <a:gd name="connsiteY41" fmla="*/ 185126 h 373258"/>
              <a:gd name="connsiteX42" fmla="*/ 91102 w 344872"/>
              <a:gd name="connsiteY42" fmla="*/ 190714 h 373258"/>
              <a:gd name="connsiteX43" fmla="*/ 107133 w 344872"/>
              <a:gd name="connsiteY43" fmla="*/ 203523 h 373258"/>
              <a:gd name="connsiteX44" fmla="*/ 87953 w 344872"/>
              <a:gd name="connsiteY44" fmla="*/ 210600 h 373258"/>
              <a:gd name="connsiteX45" fmla="*/ 64953 w 344872"/>
              <a:gd name="connsiteY45" fmla="*/ 186689 h 373258"/>
              <a:gd name="connsiteX46" fmla="*/ 3104 w 344872"/>
              <a:gd name="connsiteY46" fmla="*/ 185450 h 373258"/>
              <a:gd name="connsiteX47" fmla="*/ 31059 w 344872"/>
              <a:gd name="connsiteY47" fmla="*/ 240635 h 373258"/>
              <a:gd name="connsiteX48" fmla="*/ 67774 w 344872"/>
              <a:gd name="connsiteY48" fmla="*/ 252684 h 373258"/>
              <a:gd name="connsiteX49" fmla="*/ 74441 w 344872"/>
              <a:gd name="connsiteY49" fmla="*/ 249817 h 373258"/>
              <a:gd name="connsiteX50" fmla="*/ 85892 w 344872"/>
              <a:gd name="connsiteY50" fmla="*/ 257960 h 373258"/>
              <a:gd name="connsiteX51" fmla="*/ 124186 w 344872"/>
              <a:gd name="connsiteY51" fmla="*/ 263130 h 373258"/>
              <a:gd name="connsiteX52" fmla="*/ 173411 w 344872"/>
              <a:gd name="connsiteY52" fmla="*/ 225663 h 373258"/>
              <a:gd name="connsiteX53" fmla="*/ 172828 w 344872"/>
              <a:gd name="connsiteY53" fmla="*/ 224403 h 373258"/>
              <a:gd name="connsiteX54" fmla="*/ 193920 w 344872"/>
              <a:gd name="connsiteY54" fmla="*/ 227087 h 373258"/>
              <a:gd name="connsiteX55" fmla="*/ 176130 w 344872"/>
              <a:gd name="connsiteY55" fmla="*/ 245632 h 373258"/>
              <a:gd name="connsiteX56" fmla="*/ 174531 w 344872"/>
              <a:gd name="connsiteY56" fmla="*/ 284241 h 373258"/>
              <a:gd name="connsiteX57" fmla="*/ 191210 w 344872"/>
              <a:gd name="connsiteY57" fmla="*/ 319096 h 373258"/>
              <a:gd name="connsiteX58" fmla="*/ 207083 w 344872"/>
              <a:gd name="connsiteY58" fmla="*/ 325830 h 373258"/>
              <a:gd name="connsiteX59" fmla="*/ 202451 w 344872"/>
              <a:gd name="connsiteY59" fmla="*/ 330385 h 373258"/>
              <a:gd name="connsiteX60" fmla="*/ 248508 w 344872"/>
              <a:gd name="connsiteY60" fmla="*/ 371685 h 373258"/>
              <a:gd name="connsiteX61" fmla="*/ 306601 w 344872"/>
              <a:gd name="connsiteY61" fmla="*/ 350422 h 373258"/>
              <a:gd name="connsiteX62" fmla="*/ 303268 w 344872"/>
              <a:gd name="connsiteY62" fmla="*/ 342829 h 373258"/>
              <a:gd name="connsiteX63" fmla="*/ 310975 w 344872"/>
              <a:gd name="connsiteY63" fmla="*/ 348584 h 373258"/>
              <a:gd name="connsiteX64" fmla="*/ 344808 w 344872"/>
              <a:gd name="connsiteY64" fmla="*/ 296794 h 373258"/>
              <a:gd name="connsiteX65" fmla="*/ 314977 w 344872"/>
              <a:gd name="connsiteY65" fmla="*/ 242599 h 373258"/>
              <a:gd name="connsiteX66" fmla="*/ 311019 w 344872"/>
              <a:gd name="connsiteY66" fmla="*/ 245114 h 373258"/>
              <a:gd name="connsiteX67" fmla="*/ 307755 w 344872"/>
              <a:gd name="connsiteY67" fmla="*/ 226479 h 373258"/>
              <a:gd name="connsiteX68" fmla="*/ 277567 w 344872"/>
              <a:gd name="connsiteY68" fmla="*/ 202359 h 373258"/>
              <a:gd name="connsiteX69" fmla="*/ 239595 w 344872"/>
              <a:gd name="connsiteY69" fmla="*/ 195197 h 373258"/>
              <a:gd name="connsiteX70" fmla="*/ 233723 w 344872"/>
              <a:gd name="connsiteY70" fmla="*/ 196997 h 373258"/>
              <a:gd name="connsiteX71" fmla="*/ 235645 w 344872"/>
              <a:gd name="connsiteY71" fmla="*/ 178081 h 373258"/>
              <a:gd name="connsiteX72" fmla="*/ 234165 w 344872"/>
              <a:gd name="connsiteY72" fmla="*/ 177979 h 373258"/>
              <a:gd name="connsiteX73" fmla="*/ 257531 w 344872"/>
              <a:gd name="connsiteY73" fmla="*/ 171374 h 373258"/>
              <a:gd name="connsiteX74" fmla="*/ 278577 w 344872"/>
              <a:gd name="connsiteY74" fmla="*/ 139020 h 373258"/>
              <a:gd name="connsiteX75" fmla="*/ 282362 w 344872"/>
              <a:gd name="connsiteY75" fmla="*/ 100608 h 373258"/>
              <a:gd name="connsiteX76" fmla="*/ 278190 w 344872"/>
              <a:gd name="connsiteY76" fmla="*/ 90178 h 373258"/>
              <a:gd name="connsiteX77" fmla="*/ 281312 w 344872"/>
              <a:gd name="connsiteY77" fmla="*/ 82469 h 373258"/>
              <a:gd name="connsiteX78" fmla="*/ 277693 w 344872"/>
              <a:gd name="connsiteY78" fmla="*/ 44041 h 373258"/>
              <a:gd name="connsiteX79" fmla="*/ 230838 w 344872"/>
              <a:gd name="connsiteY79" fmla="*/ 4140 h 373258"/>
              <a:gd name="connsiteX80" fmla="*/ 218667 w 344872"/>
              <a:gd name="connsiteY80" fmla="*/ 64468 h 373258"/>
              <a:gd name="connsiteX81" fmla="*/ 236591 w 344872"/>
              <a:gd name="connsiteY81" fmla="*/ 92282 h 373258"/>
              <a:gd name="connsiteX82" fmla="*/ 224791 w 344872"/>
              <a:gd name="connsiteY82" fmla="*/ 110421 h 373258"/>
              <a:gd name="connsiteX83" fmla="*/ 215638 w 344872"/>
              <a:gd name="connsiteY83" fmla="*/ 91065 h 373258"/>
              <a:gd name="connsiteX84" fmla="*/ 209901 w 344872"/>
              <a:gd name="connsiteY84" fmla="*/ 88568 h 373258"/>
              <a:gd name="connsiteX85" fmla="*/ 220324 w 344872"/>
              <a:gd name="connsiteY85" fmla="*/ 80808 h 373258"/>
              <a:gd name="connsiteX86" fmla="*/ 221215 w 344872"/>
              <a:gd name="connsiteY86" fmla="*/ 79498 h 373258"/>
              <a:gd name="connsiteX87" fmla="*/ 213754 w 344872"/>
              <a:gd name="connsiteY87" fmla="*/ 63825 h 373258"/>
              <a:gd name="connsiteX88" fmla="*/ 226803 w 344872"/>
              <a:gd name="connsiteY88" fmla="*/ 3444 h 373258"/>
              <a:gd name="connsiteX89" fmla="*/ 229753 w 344872"/>
              <a:gd name="connsiteY89" fmla="*/ 2918 h 373258"/>
              <a:gd name="connsiteX90" fmla="*/ 228763 w 344872"/>
              <a:gd name="connsiteY90" fmla="*/ 2167 h 373258"/>
              <a:gd name="connsiteX91" fmla="*/ 202006 w 344872"/>
              <a:gd name="connsiteY91" fmla="*/ 5766 h 3732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</a:cxnLst>
            <a:rect l="l" t="t" r="r" b="b"/>
            <a:pathLst>
              <a:path w="344872" h="373258">
                <a:moveTo>
                  <a:pt x="223406" y="172295"/>
                </a:moveTo>
                <a:lnTo>
                  <a:pt x="230274" y="177712"/>
                </a:lnTo>
                <a:lnTo>
                  <a:pt x="219033" y="176939"/>
                </a:lnTo>
                <a:close/>
                <a:moveTo>
                  <a:pt x="202006" y="5766"/>
                </a:moveTo>
                <a:cubicBezTo>
                  <a:pt x="192566" y="11676"/>
                  <a:pt x="183351" y="21828"/>
                  <a:pt x="176598" y="34822"/>
                </a:cubicBezTo>
                <a:cubicBezTo>
                  <a:pt x="166469" y="54313"/>
                  <a:pt x="164757" y="74662"/>
                  <a:pt x="170991" y="86974"/>
                </a:cubicBezTo>
                <a:lnTo>
                  <a:pt x="176467" y="92722"/>
                </a:lnTo>
                <a:lnTo>
                  <a:pt x="172374" y="99946"/>
                </a:lnTo>
                <a:cubicBezTo>
                  <a:pt x="168768" y="110483"/>
                  <a:pt x="168010" y="124173"/>
                  <a:pt x="170954" y="138518"/>
                </a:cubicBezTo>
                <a:cubicBezTo>
                  <a:pt x="173899" y="152863"/>
                  <a:pt x="179989" y="165147"/>
                  <a:pt x="187455" y="173410"/>
                </a:cubicBezTo>
                <a:lnTo>
                  <a:pt x="191159" y="175023"/>
                </a:lnTo>
                <a:lnTo>
                  <a:pt x="191124" y="175020"/>
                </a:lnTo>
                <a:cubicBezTo>
                  <a:pt x="190613" y="186145"/>
                  <a:pt x="194785" y="196615"/>
                  <a:pt x="202035" y="204650"/>
                </a:cubicBezTo>
                <a:lnTo>
                  <a:pt x="216592" y="212094"/>
                </a:lnTo>
                <a:lnTo>
                  <a:pt x="220804" y="236140"/>
                </a:lnTo>
                <a:cubicBezTo>
                  <a:pt x="227121" y="245383"/>
                  <a:pt x="237683" y="254153"/>
                  <a:pt x="250992" y="260262"/>
                </a:cubicBezTo>
                <a:lnTo>
                  <a:pt x="288946" y="267419"/>
                </a:lnTo>
                <a:lnTo>
                  <a:pt x="281144" y="294390"/>
                </a:lnTo>
                <a:lnTo>
                  <a:pt x="286765" y="321272"/>
                </a:lnTo>
                <a:lnTo>
                  <a:pt x="260544" y="309122"/>
                </a:lnTo>
                <a:lnTo>
                  <a:pt x="234893" y="310503"/>
                </a:lnTo>
                <a:lnTo>
                  <a:pt x="235340" y="310038"/>
                </a:lnTo>
                <a:cubicBezTo>
                  <a:pt x="239057" y="299478"/>
                  <a:pt x="239884" y="285774"/>
                  <a:pt x="236939" y="271429"/>
                </a:cubicBezTo>
                <a:cubicBezTo>
                  <a:pt x="233994" y="257085"/>
                  <a:pt x="227836" y="244815"/>
                  <a:pt x="220259" y="236574"/>
                </a:cubicBezTo>
                <a:lnTo>
                  <a:pt x="199603" y="227810"/>
                </a:lnTo>
                <a:lnTo>
                  <a:pt x="200777" y="227960"/>
                </a:lnTo>
                <a:cubicBezTo>
                  <a:pt x="202089" y="216147"/>
                  <a:pt x="198965" y="204820"/>
                  <a:pt x="192774" y="195942"/>
                </a:cubicBezTo>
                <a:lnTo>
                  <a:pt x="179089" y="186962"/>
                </a:lnTo>
                <a:lnTo>
                  <a:pt x="178053" y="181053"/>
                </a:lnTo>
                <a:cubicBezTo>
                  <a:pt x="171736" y="171811"/>
                  <a:pt x="161175" y="163040"/>
                  <a:pt x="147865" y="156932"/>
                </a:cubicBezTo>
                <a:cubicBezTo>
                  <a:pt x="134556" y="150823"/>
                  <a:pt x="121020" y="148534"/>
                  <a:pt x="109894" y="149770"/>
                </a:cubicBezTo>
                <a:lnTo>
                  <a:pt x="103034" y="153852"/>
                </a:lnTo>
                <a:lnTo>
                  <a:pt x="97741" y="145698"/>
                </a:lnTo>
                <a:cubicBezTo>
                  <a:pt x="87099" y="136627"/>
                  <a:pt x="66849" y="133547"/>
                  <a:pt x="45575" y="139012"/>
                </a:cubicBezTo>
                <a:cubicBezTo>
                  <a:pt x="31391" y="142656"/>
                  <a:pt x="19438" y="149408"/>
                  <a:pt x="11577" y="157379"/>
                </a:cubicBezTo>
                <a:cubicBezTo>
                  <a:pt x="3717" y="165350"/>
                  <a:pt x="-50" y="174540"/>
                  <a:pt x="2139" y="183060"/>
                </a:cubicBezTo>
                <a:lnTo>
                  <a:pt x="2652" y="184217"/>
                </a:lnTo>
                <a:lnTo>
                  <a:pt x="3818" y="181417"/>
                </a:lnTo>
                <a:cubicBezTo>
                  <a:pt x="13178" y="166521"/>
                  <a:pt x="40869" y="167075"/>
                  <a:pt x="65668" y="182657"/>
                </a:cubicBezTo>
                <a:lnTo>
                  <a:pt x="79320" y="193734"/>
                </a:lnTo>
                <a:lnTo>
                  <a:pt x="80796" y="193157"/>
                </a:lnTo>
                <a:lnTo>
                  <a:pt x="90124" y="185126"/>
                </a:lnTo>
                <a:lnTo>
                  <a:pt x="91102" y="190714"/>
                </a:lnTo>
                <a:lnTo>
                  <a:pt x="107133" y="203523"/>
                </a:lnTo>
                <a:lnTo>
                  <a:pt x="87953" y="210600"/>
                </a:lnTo>
                <a:lnTo>
                  <a:pt x="64953" y="186689"/>
                </a:lnTo>
                <a:cubicBezTo>
                  <a:pt x="40154" y="171108"/>
                  <a:pt x="12463" y="170553"/>
                  <a:pt x="3104" y="185450"/>
                </a:cubicBezTo>
                <a:cubicBezTo>
                  <a:pt x="-6256" y="200346"/>
                  <a:pt x="6260" y="225054"/>
                  <a:pt x="31059" y="240635"/>
                </a:cubicBezTo>
                <a:cubicBezTo>
                  <a:pt x="43459" y="248426"/>
                  <a:pt x="56582" y="252460"/>
                  <a:pt x="67774" y="252684"/>
                </a:cubicBezTo>
                <a:lnTo>
                  <a:pt x="74441" y="249817"/>
                </a:lnTo>
                <a:lnTo>
                  <a:pt x="85892" y="257960"/>
                </a:lnTo>
                <a:cubicBezTo>
                  <a:pt x="96062" y="262639"/>
                  <a:pt x="109630" y="264732"/>
                  <a:pt x="124186" y="263130"/>
                </a:cubicBezTo>
                <a:cubicBezTo>
                  <a:pt x="153298" y="259925"/>
                  <a:pt x="175337" y="243150"/>
                  <a:pt x="173411" y="225663"/>
                </a:cubicBezTo>
                <a:lnTo>
                  <a:pt x="172828" y="224403"/>
                </a:lnTo>
                <a:lnTo>
                  <a:pt x="193920" y="227087"/>
                </a:lnTo>
                <a:lnTo>
                  <a:pt x="176130" y="245632"/>
                </a:lnTo>
                <a:cubicBezTo>
                  <a:pt x="172412" y="256192"/>
                  <a:pt x="171586" y="269896"/>
                  <a:pt x="174531" y="284241"/>
                </a:cubicBezTo>
                <a:cubicBezTo>
                  <a:pt x="177475" y="298585"/>
                  <a:pt x="183634" y="310855"/>
                  <a:pt x="191210" y="319096"/>
                </a:cubicBezTo>
                <a:lnTo>
                  <a:pt x="207083" y="325830"/>
                </a:lnTo>
                <a:lnTo>
                  <a:pt x="202451" y="330385"/>
                </a:lnTo>
                <a:cubicBezTo>
                  <a:pt x="199127" y="347661"/>
                  <a:pt x="219747" y="366152"/>
                  <a:pt x="248508" y="371685"/>
                </a:cubicBezTo>
                <a:cubicBezTo>
                  <a:pt x="277269" y="377218"/>
                  <a:pt x="303277" y="367698"/>
                  <a:pt x="306601" y="350422"/>
                </a:cubicBezTo>
                <a:lnTo>
                  <a:pt x="303268" y="342829"/>
                </a:lnTo>
                <a:lnTo>
                  <a:pt x="310975" y="348584"/>
                </a:lnTo>
                <a:cubicBezTo>
                  <a:pt x="328555" y="349248"/>
                  <a:pt x="343703" y="326061"/>
                  <a:pt x="344808" y="296794"/>
                </a:cubicBezTo>
                <a:cubicBezTo>
                  <a:pt x="345914" y="267526"/>
                  <a:pt x="332557" y="243263"/>
                  <a:pt x="314977" y="242599"/>
                </a:cubicBezTo>
                <a:lnTo>
                  <a:pt x="311019" y="245114"/>
                </a:lnTo>
                <a:lnTo>
                  <a:pt x="307755" y="226479"/>
                </a:lnTo>
                <a:cubicBezTo>
                  <a:pt x="301438" y="217238"/>
                  <a:pt x="290876" y="208467"/>
                  <a:pt x="277567" y="202359"/>
                </a:cubicBezTo>
                <a:cubicBezTo>
                  <a:pt x="264258" y="196250"/>
                  <a:pt x="250721" y="193961"/>
                  <a:pt x="239595" y="195197"/>
                </a:cubicBezTo>
                <a:lnTo>
                  <a:pt x="233723" y="196997"/>
                </a:lnTo>
                <a:lnTo>
                  <a:pt x="235645" y="178081"/>
                </a:lnTo>
                <a:lnTo>
                  <a:pt x="234165" y="177979"/>
                </a:lnTo>
                <a:lnTo>
                  <a:pt x="257531" y="171374"/>
                </a:lnTo>
                <a:cubicBezTo>
                  <a:pt x="266041" y="164190"/>
                  <a:pt x="273729" y="152838"/>
                  <a:pt x="278577" y="139020"/>
                </a:cubicBezTo>
                <a:cubicBezTo>
                  <a:pt x="283426" y="125202"/>
                  <a:pt x="284517" y="111535"/>
                  <a:pt x="282362" y="100608"/>
                </a:cubicBezTo>
                <a:lnTo>
                  <a:pt x="278190" y="90178"/>
                </a:lnTo>
                <a:lnTo>
                  <a:pt x="281312" y="82469"/>
                </a:lnTo>
                <a:cubicBezTo>
                  <a:pt x="283514" y="71552"/>
                  <a:pt x="282482" y="57880"/>
                  <a:pt x="277693" y="44041"/>
                </a:cubicBezTo>
                <a:cubicBezTo>
                  <a:pt x="268115" y="16364"/>
                  <a:pt x="247137" y="-1500"/>
                  <a:pt x="230838" y="4140"/>
                </a:cubicBezTo>
                <a:cubicBezTo>
                  <a:pt x="214538" y="9781"/>
                  <a:pt x="209089" y="36790"/>
                  <a:pt x="218667" y="64468"/>
                </a:cubicBezTo>
                <a:lnTo>
                  <a:pt x="236591" y="92282"/>
                </a:lnTo>
                <a:lnTo>
                  <a:pt x="224791" y="110421"/>
                </a:lnTo>
                <a:lnTo>
                  <a:pt x="215638" y="91065"/>
                </a:lnTo>
                <a:lnTo>
                  <a:pt x="209901" y="88568"/>
                </a:lnTo>
                <a:lnTo>
                  <a:pt x="220324" y="80808"/>
                </a:lnTo>
                <a:lnTo>
                  <a:pt x="221215" y="79498"/>
                </a:lnTo>
                <a:lnTo>
                  <a:pt x="213754" y="63825"/>
                </a:lnTo>
                <a:cubicBezTo>
                  <a:pt x="204546" y="36341"/>
                  <a:pt x="210389" y="9307"/>
                  <a:pt x="226803" y="3444"/>
                </a:cubicBezTo>
                <a:lnTo>
                  <a:pt x="229753" y="2918"/>
                </a:lnTo>
                <a:lnTo>
                  <a:pt x="228763" y="2167"/>
                </a:lnTo>
                <a:cubicBezTo>
                  <a:pt x="221111" y="-1809"/>
                  <a:pt x="211446" y="-143"/>
                  <a:pt x="202006" y="5766"/>
                </a:cubicBezTo>
                <a:close/>
              </a:path>
            </a:pathLst>
          </a:cu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54" name="TextBox 153">
            <a:extLst>
              <a:ext uri="{FF2B5EF4-FFF2-40B4-BE49-F238E27FC236}">
                <a16:creationId xmlns:a16="http://schemas.microsoft.com/office/drawing/2014/main" id="{25450CA8-A0E7-8B76-CD0C-4221906F3F98}"/>
              </a:ext>
            </a:extLst>
          </p:cNvPr>
          <p:cNvSpPr txBox="1"/>
          <p:nvPr/>
        </p:nvSpPr>
        <p:spPr>
          <a:xfrm>
            <a:off x="2121930" y="3987042"/>
            <a:ext cx="785142" cy="26826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CB813"/>
              </a:buClr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BsAbs</a:t>
            </a:r>
          </a:p>
        </p:txBody>
      </p:sp>
      <p:sp>
        <p:nvSpPr>
          <p:cNvPr id="155" name="TextBox 154">
            <a:extLst>
              <a:ext uri="{FF2B5EF4-FFF2-40B4-BE49-F238E27FC236}">
                <a16:creationId xmlns:a16="http://schemas.microsoft.com/office/drawing/2014/main" id="{5C110ADE-2C82-87CB-7E9A-F58DD67FB679}"/>
              </a:ext>
            </a:extLst>
          </p:cNvPr>
          <p:cNvSpPr txBox="1"/>
          <p:nvPr/>
        </p:nvSpPr>
        <p:spPr>
          <a:xfrm>
            <a:off x="2923429" y="5012929"/>
            <a:ext cx="1187166" cy="425981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CB813"/>
              </a:buClr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-cell engaging </a:t>
            </a:r>
            <a:b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herapies</a:t>
            </a:r>
          </a:p>
        </p:txBody>
      </p:sp>
      <p:sp>
        <p:nvSpPr>
          <p:cNvPr id="156" name="TextBox 155">
            <a:extLst>
              <a:ext uri="{FF2B5EF4-FFF2-40B4-BE49-F238E27FC236}">
                <a16:creationId xmlns:a16="http://schemas.microsoft.com/office/drawing/2014/main" id="{E3699A55-1F0E-E5D3-DB9D-73ECC0165C88}"/>
              </a:ext>
            </a:extLst>
          </p:cNvPr>
          <p:cNvSpPr txBox="1"/>
          <p:nvPr/>
        </p:nvSpPr>
        <p:spPr>
          <a:xfrm>
            <a:off x="1491593" y="4828158"/>
            <a:ext cx="785142" cy="26826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CB813"/>
              </a:buClr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AR-T</a:t>
            </a:r>
          </a:p>
        </p:txBody>
      </p:sp>
      <p:sp>
        <p:nvSpPr>
          <p:cNvPr id="157" name="Flowchart: Connector 156">
            <a:extLst>
              <a:ext uri="{FF2B5EF4-FFF2-40B4-BE49-F238E27FC236}">
                <a16:creationId xmlns:a16="http://schemas.microsoft.com/office/drawing/2014/main" id="{196C103B-3BF6-E60F-75A3-F0AD5B2FBFBF}"/>
              </a:ext>
            </a:extLst>
          </p:cNvPr>
          <p:cNvSpPr/>
          <p:nvPr/>
        </p:nvSpPr>
        <p:spPr>
          <a:xfrm>
            <a:off x="1132395" y="5480970"/>
            <a:ext cx="553212" cy="553212"/>
          </a:xfrm>
          <a:prstGeom prst="flowChartConnector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58" name="TextBox 157">
            <a:extLst>
              <a:ext uri="{FF2B5EF4-FFF2-40B4-BE49-F238E27FC236}">
                <a16:creationId xmlns:a16="http://schemas.microsoft.com/office/drawing/2014/main" id="{F8B888ED-D97E-D93B-A04D-928E683807EF}"/>
              </a:ext>
            </a:extLst>
          </p:cNvPr>
          <p:cNvSpPr txBox="1"/>
          <p:nvPr/>
        </p:nvSpPr>
        <p:spPr>
          <a:xfrm>
            <a:off x="785212" y="5032903"/>
            <a:ext cx="632910" cy="26826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CB813"/>
              </a:buClr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ew </a:t>
            </a:r>
            <a:b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gents</a:t>
            </a:r>
          </a:p>
        </p:txBody>
      </p:sp>
      <p:sp>
        <p:nvSpPr>
          <p:cNvPr id="102" name="Graphic 159" descr="Badge New with solid fill">
            <a:extLst>
              <a:ext uri="{FF2B5EF4-FFF2-40B4-BE49-F238E27FC236}">
                <a16:creationId xmlns:a16="http://schemas.microsoft.com/office/drawing/2014/main" id="{EAFD5C6F-85F2-F3C7-1345-38A295FA83AE}"/>
              </a:ext>
            </a:extLst>
          </p:cNvPr>
          <p:cNvSpPr/>
          <p:nvPr/>
        </p:nvSpPr>
        <p:spPr>
          <a:xfrm>
            <a:off x="1271838" y="5630449"/>
            <a:ext cx="274697" cy="274697"/>
          </a:xfrm>
          <a:custGeom>
            <a:avLst/>
            <a:gdLst>
              <a:gd name="csX0" fmla="*/ 137349 w 274697"/>
              <a:gd name="csY0" fmla="*/ 0 h 274697"/>
              <a:gd name="csX1" fmla="*/ 0 w 274697"/>
              <a:gd name="csY1" fmla="*/ 137349 h 274697"/>
              <a:gd name="csX2" fmla="*/ 137349 w 274697"/>
              <a:gd name="csY2" fmla="*/ 274697 h 274697"/>
              <a:gd name="csX3" fmla="*/ 274697 w 274697"/>
              <a:gd name="csY3" fmla="*/ 137349 h 274697"/>
              <a:gd name="csX4" fmla="*/ 137349 w 274697"/>
              <a:gd name="csY4" fmla="*/ 0 h 274697"/>
              <a:gd name="csX5" fmla="*/ 192559 w 274697"/>
              <a:gd name="csY5" fmla="*/ 213252 h 274697"/>
              <a:gd name="csX6" fmla="*/ 137349 w 274697"/>
              <a:gd name="csY6" fmla="*/ 175029 h 274697"/>
              <a:gd name="csX7" fmla="*/ 82131 w 274697"/>
              <a:gd name="csY7" fmla="*/ 213252 h 274697"/>
              <a:gd name="csX8" fmla="*/ 101240 w 274697"/>
              <a:gd name="csY8" fmla="*/ 149547 h 274697"/>
              <a:gd name="csX9" fmla="*/ 52409 w 274697"/>
              <a:gd name="csY9" fmla="*/ 107078 h 274697"/>
              <a:gd name="csX10" fmla="*/ 116107 w 274697"/>
              <a:gd name="csY10" fmla="*/ 107078 h 274697"/>
              <a:gd name="csX11" fmla="*/ 137349 w 274697"/>
              <a:gd name="csY11" fmla="*/ 43373 h 274697"/>
              <a:gd name="csX12" fmla="*/ 158576 w 274697"/>
              <a:gd name="csY12" fmla="*/ 107078 h 274697"/>
              <a:gd name="csX13" fmla="*/ 222288 w 274697"/>
              <a:gd name="csY13" fmla="*/ 107078 h 274697"/>
              <a:gd name="csX14" fmla="*/ 173439 w 274697"/>
              <a:gd name="csY14" fmla="*/ 149547 h 27469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</a:cxnLst>
            <a:rect l="l" t="t" r="r" b="b"/>
            <a:pathLst>
              <a:path w="274697" h="274697">
                <a:moveTo>
                  <a:pt x="137349" y="0"/>
                </a:moveTo>
                <a:cubicBezTo>
                  <a:pt x="61493" y="0"/>
                  <a:pt x="0" y="61493"/>
                  <a:pt x="0" y="137349"/>
                </a:cubicBezTo>
                <a:cubicBezTo>
                  <a:pt x="0" y="213204"/>
                  <a:pt x="61493" y="274697"/>
                  <a:pt x="137349" y="274697"/>
                </a:cubicBezTo>
                <a:cubicBezTo>
                  <a:pt x="213204" y="274697"/>
                  <a:pt x="274697" y="213204"/>
                  <a:pt x="274697" y="137349"/>
                </a:cubicBezTo>
                <a:cubicBezTo>
                  <a:pt x="274697" y="61493"/>
                  <a:pt x="213204" y="0"/>
                  <a:pt x="137349" y="0"/>
                </a:cubicBezTo>
                <a:close/>
                <a:moveTo>
                  <a:pt x="192559" y="213252"/>
                </a:moveTo>
                <a:lnTo>
                  <a:pt x="137349" y="175029"/>
                </a:lnTo>
                <a:lnTo>
                  <a:pt x="82131" y="213252"/>
                </a:lnTo>
                <a:lnTo>
                  <a:pt x="101240" y="149547"/>
                </a:lnTo>
                <a:lnTo>
                  <a:pt x="52409" y="107078"/>
                </a:lnTo>
                <a:lnTo>
                  <a:pt x="116107" y="107078"/>
                </a:lnTo>
                <a:lnTo>
                  <a:pt x="137349" y="43373"/>
                </a:lnTo>
                <a:lnTo>
                  <a:pt x="158576" y="107078"/>
                </a:lnTo>
                <a:lnTo>
                  <a:pt x="222288" y="107078"/>
                </a:lnTo>
                <a:lnTo>
                  <a:pt x="173439" y="149547"/>
                </a:lnTo>
                <a:close/>
              </a:path>
            </a:pathLst>
          </a:custGeom>
          <a:solidFill>
            <a:schemeClr val="bg1"/>
          </a:solidFill>
          <a:ln w="3572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42" name="Flowchart: Connector 241">
            <a:extLst>
              <a:ext uri="{FF2B5EF4-FFF2-40B4-BE49-F238E27FC236}">
                <a16:creationId xmlns:a16="http://schemas.microsoft.com/office/drawing/2014/main" id="{2FDE157C-C6FD-D65E-3441-D0D015E8BADA}"/>
              </a:ext>
            </a:extLst>
          </p:cNvPr>
          <p:cNvSpPr/>
          <p:nvPr/>
        </p:nvSpPr>
        <p:spPr>
          <a:xfrm>
            <a:off x="591375" y="5526690"/>
            <a:ext cx="553212" cy="553212"/>
          </a:xfrm>
          <a:prstGeom prst="flowChartConnector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4" name="Graphic 242" descr="Badge New with solid fill">
            <a:extLst>
              <a:ext uri="{FF2B5EF4-FFF2-40B4-BE49-F238E27FC236}">
                <a16:creationId xmlns:a16="http://schemas.microsoft.com/office/drawing/2014/main" id="{050C92F1-D304-CDF7-8BC7-EFB120890A5C}"/>
              </a:ext>
            </a:extLst>
          </p:cNvPr>
          <p:cNvSpPr/>
          <p:nvPr/>
        </p:nvSpPr>
        <p:spPr>
          <a:xfrm>
            <a:off x="730818" y="5676169"/>
            <a:ext cx="274697" cy="274697"/>
          </a:xfrm>
          <a:custGeom>
            <a:avLst/>
            <a:gdLst>
              <a:gd name="csX0" fmla="*/ 137349 w 274697"/>
              <a:gd name="csY0" fmla="*/ 0 h 274697"/>
              <a:gd name="csX1" fmla="*/ 0 w 274697"/>
              <a:gd name="csY1" fmla="*/ 137349 h 274697"/>
              <a:gd name="csX2" fmla="*/ 137349 w 274697"/>
              <a:gd name="csY2" fmla="*/ 274697 h 274697"/>
              <a:gd name="csX3" fmla="*/ 274697 w 274697"/>
              <a:gd name="csY3" fmla="*/ 137349 h 274697"/>
              <a:gd name="csX4" fmla="*/ 137349 w 274697"/>
              <a:gd name="csY4" fmla="*/ 0 h 274697"/>
              <a:gd name="csX5" fmla="*/ 192559 w 274697"/>
              <a:gd name="csY5" fmla="*/ 213252 h 274697"/>
              <a:gd name="csX6" fmla="*/ 137349 w 274697"/>
              <a:gd name="csY6" fmla="*/ 175029 h 274697"/>
              <a:gd name="csX7" fmla="*/ 82131 w 274697"/>
              <a:gd name="csY7" fmla="*/ 213252 h 274697"/>
              <a:gd name="csX8" fmla="*/ 101240 w 274697"/>
              <a:gd name="csY8" fmla="*/ 149547 h 274697"/>
              <a:gd name="csX9" fmla="*/ 52409 w 274697"/>
              <a:gd name="csY9" fmla="*/ 107078 h 274697"/>
              <a:gd name="csX10" fmla="*/ 116107 w 274697"/>
              <a:gd name="csY10" fmla="*/ 107078 h 274697"/>
              <a:gd name="csX11" fmla="*/ 137349 w 274697"/>
              <a:gd name="csY11" fmla="*/ 43373 h 274697"/>
              <a:gd name="csX12" fmla="*/ 158576 w 274697"/>
              <a:gd name="csY12" fmla="*/ 107078 h 274697"/>
              <a:gd name="csX13" fmla="*/ 222288 w 274697"/>
              <a:gd name="csY13" fmla="*/ 107078 h 274697"/>
              <a:gd name="csX14" fmla="*/ 173439 w 274697"/>
              <a:gd name="csY14" fmla="*/ 149547 h 27469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</a:cxnLst>
            <a:rect l="l" t="t" r="r" b="b"/>
            <a:pathLst>
              <a:path w="274697" h="274697">
                <a:moveTo>
                  <a:pt x="137349" y="0"/>
                </a:moveTo>
                <a:cubicBezTo>
                  <a:pt x="61493" y="0"/>
                  <a:pt x="0" y="61493"/>
                  <a:pt x="0" y="137349"/>
                </a:cubicBezTo>
                <a:cubicBezTo>
                  <a:pt x="0" y="213204"/>
                  <a:pt x="61493" y="274697"/>
                  <a:pt x="137349" y="274697"/>
                </a:cubicBezTo>
                <a:cubicBezTo>
                  <a:pt x="213204" y="274697"/>
                  <a:pt x="274697" y="213204"/>
                  <a:pt x="274697" y="137349"/>
                </a:cubicBezTo>
                <a:cubicBezTo>
                  <a:pt x="274697" y="61493"/>
                  <a:pt x="213204" y="0"/>
                  <a:pt x="137349" y="0"/>
                </a:cubicBezTo>
                <a:close/>
                <a:moveTo>
                  <a:pt x="192559" y="213252"/>
                </a:moveTo>
                <a:lnTo>
                  <a:pt x="137349" y="175029"/>
                </a:lnTo>
                <a:lnTo>
                  <a:pt x="82131" y="213252"/>
                </a:lnTo>
                <a:lnTo>
                  <a:pt x="101240" y="149547"/>
                </a:lnTo>
                <a:lnTo>
                  <a:pt x="52409" y="107078"/>
                </a:lnTo>
                <a:lnTo>
                  <a:pt x="116107" y="107078"/>
                </a:lnTo>
                <a:lnTo>
                  <a:pt x="137349" y="43373"/>
                </a:lnTo>
                <a:lnTo>
                  <a:pt x="158576" y="107078"/>
                </a:lnTo>
                <a:lnTo>
                  <a:pt x="222288" y="107078"/>
                </a:lnTo>
                <a:lnTo>
                  <a:pt x="173439" y="149547"/>
                </a:lnTo>
                <a:close/>
              </a:path>
            </a:pathLst>
          </a:custGeom>
          <a:solidFill>
            <a:schemeClr val="bg1"/>
          </a:solidFill>
          <a:ln w="3572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96" name="Straight Connector 95">
            <a:extLst>
              <a:ext uri="{FF2B5EF4-FFF2-40B4-BE49-F238E27FC236}">
                <a16:creationId xmlns:a16="http://schemas.microsoft.com/office/drawing/2014/main" id="{EAC5C945-8DD9-266C-67E6-A933901B1765}"/>
              </a:ext>
            </a:extLst>
          </p:cNvPr>
          <p:cNvCxnSpPr>
            <a:cxnSpLocks/>
          </p:cNvCxnSpPr>
          <p:nvPr/>
        </p:nvCxnSpPr>
        <p:spPr>
          <a:xfrm rot="13500000">
            <a:off x="2531575" y="4976260"/>
            <a:ext cx="0" cy="334178"/>
          </a:xfrm>
          <a:prstGeom prst="line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Straight Connector 96">
            <a:extLst>
              <a:ext uri="{FF2B5EF4-FFF2-40B4-BE49-F238E27FC236}">
                <a16:creationId xmlns:a16="http://schemas.microsoft.com/office/drawing/2014/main" id="{1CE6D826-A967-25EC-2BD9-C55AA1C69619}"/>
              </a:ext>
            </a:extLst>
          </p:cNvPr>
          <p:cNvCxnSpPr>
            <a:cxnSpLocks/>
          </p:cNvCxnSpPr>
          <p:nvPr/>
        </p:nvCxnSpPr>
        <p:spPr>
          <a:xfrm>
            <a:off x="2528519" y="4976552"/>
            <a:ext cx="0" cy="336668"/>
          </a:xfrm>
          <a:prstGeom prst="line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Straight Connector 97">
            <a:extLst>
              <a:ext uri="{FF2B5EF4-FFF2-40B4-BE49-F238E27FC236}">
                <a16:creationId xmlns:a16="http://schemas.microsoft.com/office/drawing/2014/main" id="{3F3392AF-8075-FA75-6345-9A63D09D3903}"/>
              </a:ext>
            </a:extLst>
          </p:cNvPr>
          <p:cNvCxnSpPr>
            <a:cxnSpLocks/>
          </p:cNvCxnSpPr>
          <p:nvPr/>
        </p:nvCxnSpPr>
        <p:spPr>
          <a:xfrm rot="18900000">
            <a:off x="2530047" y="4976553"/>
            <a:ext cx="0" cy="336668"/>
          </a:xfrm>
          <a:prstGeom prst="line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Straight Connector 98">
            <a:extLst>
              <a:ext uri="{FF2B5EF4-FFF2-40B4-BE49-F238E27FC236}">
                <a16:creationId xmlns:a16="http://schemas.microsoft.com/office/drawing/2014/main" id="{BF613EC2-695E-8867-6EC4-9CBD8DF7ECEA}"/>
              </a:ext>
            </a:extLst>
          </p:cNvPr>
          <p:cNvCxnSpPr>
            <a:cxnSpLocks/>
          </p:cNvCxnSpPr>
          <p:nvPr/>
        </p:nvCxnSpPr>
        <p:spPr>
          <a:xfrm rot="16200000">
            <a:off x="2528520" y="4974721"/>
            <a:ext cx="0" cy="334178"/>
          </a:xfrm>
          <a:prstGeom prst="line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Oval 99">
            <a:extLst>
              <a:ext uri="{FF2B5EF4-FFF2-40B4-BE49-F238E27FC236}">
                <a16:creationId xmlns:a16="http://schemas.microsoft.com/office/drawing/2014/main" id="{4EDF41AC-55E8-52E6-1B42-FA53870780FA}"/>
              </a:ext>
            </a:extLst>
          </p:cNvPr>
          <p:cNvSpPr/>
          <p:nvPr/>
        </p:nvSpPr>
        <p:spPr>
          <a:xfrm>
            <a:off x="2405492" y="5023361"/>
            <a:ext cx="247453" cy="249297"/>
          </a:xfrm>
          <a:prstGeom prst="ellipse">
            <a:avLst/>
          </a:prstGeom>
          <a:solidFill>
            <a:srgbClr val="2E637A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1" name="Oval 100">
            <a:extLst>
              <a:ext uri="{FF2B5EF4-FFF2-40B4-BE49-F238E27FC236}">
                <a16:creationId xmlns:a16="http://schemas.microsoft.com/office/drawing/2014/main" id="{F3E1E533-6874-E03D-E540-244B5C6D60A5}"/>
              </a:ext>
            </a:extLst>
          </p:cNvPr>
          <p:cNvSpPr/>
          <p:nvPr/>
        </p:nvSpPr>
        <p:spPr>
          <a:xfrm>
            <a:off x="2471499" y="5089860"/>
            <a:ext cx="115439" cy="116299"/>
          </a:xfrm>
          <a:prstGeom prst="ellipse">
            <a:avLst/>
          </a:prstGeom>
          <a:solidFill>
            <a:srgbClr val="CCE2EC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96BA94C0-6A08-C707-F32B-E55B11D2E2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651" y="6356350"/>
            <a:ext cx="383694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306B0CF-28DA-4AF7-AD0B-CB9D5901F647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82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5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11208368"/>
      </p:ext>
    </p:extLst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3A7D39-0408-58C0-A37C-4ABFB36D12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28A71732-D115-D1A6-5E2B-8FF0CE2430C7}"/>
              </a:ext>
            </a:extLst>
          </p:cNvPr>
          <p:cNvSpPr/>
          <p:nvPr/>
        </p:nvSpPr>
        <p:spPr>
          <a:xfrm>
            <a:off x="6692237" y="2089372"/>
            <a:ext cx="5047728" cy="3768998"/>
          </a:xfrm>
          <a:prstGeom prst="roundRect">
            <a:avLst>
              <a:gd name="adj" fmla="val 6754"/>
            </a:avLst>
          </a:prstGeom>
          <a:solidFill>
            <a:schemeClr val="bg1"/>
          </a:solidFill>
          <a:ln>
            <a:solidFill>
              <a:srgbClr val="2D5E7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244" name="Picture 243">
            <a:extLst>
              <a:ext uri="{FF2B5EF4-FFF2-40B4-BE49-F238E27FC236}">
                <a16:creationId xmlns:a16="http://schemas.microsoft.com/office/drawing/2014/main" id="{4D36EDCE-9D4E-F38F-8D38-63912A6D23DB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200000"/>
                    </a14:imgEffect>
                    <a14:imgEffect>
                      <a14:brightnessContrast contrast="-20000"/>
                    </a14:imgEffect>
                  </a14:imgLayer>
                </a14:imgProps>
              </a:ext>
            </a:extLst>
          </a:blip>
          <a:srcRect l="61227" t="6811" b="17227"/>
          <a:stretch>
            <a:fillRect/>
          </a:stretch>
        </p:blipFill>
        <p:spPr>
          <a:xfrm>
            <a:off x="8297945" y="3336797"/>
            <a:ext cx="1912855" cy="2092952"/>
          </a:xfrm>
          <a:custGeom>
            <a:avLst/>
            <a:gdLst>
              <a:gd name="csX0" fmla="*/ 0 w 3854823"/>
              <a:gd name="csY0" fmla="*/ 0 h 4217758"/>
              <a:gd name="csX1" fmla="*/ 3854823 w 3854823"/>
              <a:gd name="csY1" fmla="*/ 0 h 4217758"/>
              <a:gd name="csX2" fmla="*/ 3854823 w 3854823"/>
              <a:gd name="csY2" fmla="*/ 4217758 h 4217758"/>
              <a:gd name="csX3" fmla="*/ 0 w 3854823"/>
              <a:gd name="csY3" fmla="*/ 4217758 h 4217758"/>
              <a:gd name="csX4" fmla="*/ 0 w 3854823"/>
              <a:gd name="csY4" fmla="*/ 2194461 h 4217758"/>
              <a:gd name="csX5" fmla="*/ 22115 w 3854823"/>
              <a:gd name="csY5" fmla="*/ 2223308 h 4217758"/>
              <a:gd name="csX6" fmla="*/ 53788 w 3854823"/>
              <a:gd name="csY6" fmla="*/ 2263451 h 4217758"/>
              <a:gd name="csX7" fmla="*/ 134471 w 3854823"/>
              <a:gd name="csY7" fmla="*/ 2379992 h 4217758"/>
              <a:gd name="csX8" fmla="*/ 170330 w 3854823"/>
              <a:gd name="csY8" fmla="*/ 2388957 h 4217758"/>
              <a:gd name="csX9" fmla="*/ 224118 w 3854823"/>
              <a:gd name="csY9" fmla="*/ 2460674 h 4217758"/>
              <a:gd name="csX10" fmla="*/ 295836 w 3854823"/>
              <a:gd name="csY10" fmla="*/ 2379992 h 4217758"/>
              <a:gd name="csX11" fmla="*/ 349624 w 3854823"/>
              <a:gd name="csY11" fmla="*/ 2353098 h 4217758"/>
              <a:gd name="csX12" fmla="*/ 367553 w 3854823"/>
              <a:gd name="csY12" fmla="*/ 2299309 h 4217758"/>
              <a:gd name="csX13" fmla="*/ 385483 w 3854823"/>
              <a:gd name="csY13" fmla="*/ 2236557 h 4217758"/>
              <a:gd name="csX14" fmla="*/ 394447 w 3854823"/>
              <a:gd name="csY14" fmla="*/ 2182768 h 4217758"/>
              <a:gd name="csX15" fmla="*/ 412377 w 3854823"/>
              <a:gd name="csY15" fmla="*/ 2155874 h 4217758"/>
              <a:gd name="csX16" fmla="*/ 421341 w 3854823"/>
              <a:gd name="csY16" fmla="*/ 2128980 h 4217758"/>
              <a:gd name="csX17" fmla="*/ 493059 w 3854823"/>
              <a:gd name="csY17" fmla="*/ 2075192 h 4217758"/>
              <a:gd name="csX18" fmla="*/ 546847 w 3854823"/>
              <a:gd name="csY18" fmla="*/ 2066227 h 4217758"/>
              <a:gd name="csX19" fmla="*/ 914400 w 3854823"/>
              <a:gd name="csY19" fmla="*/ 2102086 h 4217758"/>
              <a:gd name="csX20" fmla="*/ 959224 w 3854823"/>
              <a:gd name="csY20" fmla="*/ 2120015 h 4217758"/>
              <a:gd name="csX21" fmla="*/ 986118 w 3854823"/>
              <a:gd name="csY21" fmla="*/ 2128980 h 4217758"/>
              <a:gd name="csX22" fmla="*/ 1066800 w 3854823"/>
              <a:gd name="csY22" fmla="*/ 2111051 h 4217758"/>
              <a:gd name="csX23" fmla="*/ 1075765 w 3854823"/>
              <a:gd name="csY23" fmla="*/ 2084157 h 4217758"/>
              <a:gd name="csX24" fmla="*/ 1021977 w 3854823"/>
              <a:gd name="csY24" fmla="*/ 1931757 h 4217758"/>
              <a:gd name="csX25" fmla="*/ 1013012 w 3854823"/>
              <a:gd name="csY25" fmla="*/ 1869004 h 4217758"/>
              <a:gd name="csX26" fmla="*/ 995083 w 3854823"/>
              <a:gd name="csY26" fmla="*/ 1806251 h 4217758"/>
              <a:gd name="csX27" fmla="*/ 986118 w 3854823"/>
              <a:gd name="csY27" fmla="*/ 1662815 h 4217758"/>
              <a:gd name="csX28" fmla="*/ 977153 w 3854823"/>
              <a:gd name="csY28" fmla="*/ 1411804 h 4217758"/>
              <a:gd name="csX29" fmla="*/ 914400 w 3854823"/>
              <a:gd name="csY29" fmla="*/ 1366980 h 4217758"/>
              <a:gd name="csX30" fmla="*/ 681318 w 3854823"/>
              <a:gd name="csY30" fmla="*/ 1322157 h 4217758"/>
              <a:gd name="csX31" fmla="*/ 322730 w 3854823"/>
              <a:gd name="csY31" fmla="*/ 1349051 h 4217758"/>
              <a:gd name="csX32" fmla="*/ 89647 w 3854823"/>
              <a:gd name="csY32" fmla="*/ 1393874 h 4217758"/>
              <a:gd name="csX33" fmla="*/ 26894 w 3854823"/>
              <a:gd name="csY33" fmla="*/ 1447662 h 4217758"/>
              <a:gd name="csX34" fmla="*/ 0 w 3854823"/>
              <a:gd name="csY34" fmla="*/ 1495375 h 421775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</a:cxnLst>
            <a:rect l="l" t="t" r="r" b="b"/>
            <a:pathLst>
              <a:path w="3854823" h="4217758">
                <a:moveTo>
                  <a:pt x="0" y="0"/>
                </a:moveTo>
                <a:lnTo>
                  <a:pt x="3854823" y="0"/>
                </a:lnTo>
                <a:lnTo>
                  <a:pt x="3854823" y="4217758"/>
                </a:lnTo>
                <a:lnTo>
                  <a:pt x="0" y="4217758"/>
                </a:lnTo>
                <a:lnTo>
                  <a:pt x="0" y="2194461"/>
                </a:lnTo>
                <a:lnTo>
                  <a:pt x="22115" y="2223308"/>
                </a:lnTo>
                <a:cubicBezTo>
                  <a:pt x="33077" y="2236394"/>
                  <a:pt x="44137" y="2249413"/>
                  <a:pt x="53788" y="2263451"/>
                </a:cubicBezTo>
                <a:cubicBezTo>
                  <a:pt x="83136" y="2306140"/>
                  <a:pt x="91748" y="2346763"/>
                  <a:pt x="134471" y="2379992"/>
                </a:cubicBezTo>
                <a:cubicBezTo>
                  <a:pt x="144197" y="2387556"/>
                  <a:pt x="158377" y="2385969"/>
                  <a:pt x="170330" y="2388957"/>
                </a:cubicBezTo>
                <a:cubicBezTo>
                  <a:pt x="217266" y="2435893"/>
                  <a:pt x="215153" y="2448721"/>
                  <a:pt x="224118" y="2460674"/>
                </a:cubicBezTo>
                <a:cubicBezTo>
                  <a:pt x="248024" y="2433780"/>
                  <a:pt x="268516" y="2403409"/>
                  <a:pt x="295836" y="2379992"/>
                </a:cubicBezTo>
                <a:cubicBezTo>
                  <a:pt x="311056" y="2366947"/>
                  <a:pt x="336307" y="2368080"/>
                  <a:pt x="349624" y="2353098"/>
                </a:cubicBezTo>
                <a:cubicBezTo>
                  <a:pt x="362180" y="2338972"/>
                  <a:pt x="362122" y="2317411"/>
                  <a:pt x="367553" y="2299309"/>
                </a:cubicBezTo>
                <a:cubicBezTo>
                  <a:pt x="401308" y="2186793"/>
                  <a:pt x="355367" y="2326903"/>
                  <a:pt x="385483" y="2236557"/>
                </a:cubicBezTo>
                <a:cubicBezTo>
                  <a:pt x="388471" y="2218627"/>
                  <a:pt x="388699" y="2200012"/>
                  <a:pt x="394447" y="2182768"/>
                </a:cubicBezTo>
                <a:cubicBezTo>
                  <a:pt x="397854" y="2172547"/>
                  <a:pt x="407559" y="2165511"/>
                  <a:pt x="412377" y="2155874"/>
                </a:cubicBezTo>
                <a:cubicBezTo>
                  <a:pt x="416603" y="2147422"/>
                  <a:pt x="416099" y="2136842"/>
                  <a:pt x="421341" y="2128980"/>
                </a:cubicBezTo>
                <a:cubicBezTo>
                  <a:pt x="434872" y="2108684"/>
                  <a:pt x="472665" y="2082608"/>
                  <a:pt x="493059" y="2075192"/>
                </a:cubicBezTo>
                <a:cubicBezTo>
                  <a:pt x="510141" y="2068980"/>
                  <a:pt x="528918" y="2069215"/>
                  <a:pt x="546847" y="2066227"/>
                </a:cubicBezTo>
                <a:cubicBezTo>
                  <a:pt x="657641" y="2075460"/>
                  <a:pt x="821047" y="2088358"/>
                  <a:pt x="914400" y="2102086"/>
                </a:cubicBezTo>
                <a:cubicBezTo>
                  <a:pt x="930321" y="2104427"/>
                  <a:pt x="944156" y="2114365"/>
                  <a:pt x="959224" y="2120015"/>
                </a:cubicBezTo>
                <a:cubicBezTo>
                  <a:pt x="968072" y="2123333"/>
                  <a:pt x="977153" y="2125992"/>
                  <a:pt x="986118" y="2128980"/>
                </a:cubicBezTo>
                <a:cubicBezTo>
                  <a:pt x="1013012" y="2123004"/>
                  <a:pt x="1042158" y="2123372"/>
                  <a:pt x="1066800" y="2111051"/>
                </a:cubicBezTo>
                <a:cubicBezTo>
                  <a:pt x="1075252" y="2106825"/>
                  <a:pt x="1076438" y="2093583"/>
                  <a:pt x="1075765" y="2084157"/>
                </a:cubicBezTo>
                <a:cubicBezTo>
                  <a:pt x="1068795" y="1986564"/>
                  <a:pt x="1066814" y="1999012"/>
                  <a:pt x="1021977" y="1931757"/>
                </a:cubicBezTo>
                <a:cubicBezTo>
                  <a:pt x="1018989" y="1910839"/>
                  <a:pt x="1017439" y="1889665"/>
                  <a:pt x="1013012" y="1869004"/>
                </a:cubicBezTo>
                <a:cubicBezTo>
                  <a:pt x="1008454" y="1847732"/>
                  <a:pt x="997897" y="1827823"/>
                  <a:pt x="995083" y="1806251"/>
                </a:cubicBezTo>
                <a:cubicBezTo>
                  <a:pt x="988887" y="1758748"/>
                  <a:pt x="988293" y="1710671"/>
                  <a:pt x="986118" y="1662815"/>
                </a:cubicBezTo>
                <a:cubicBezTo>
                  <a:pt x="982316" y="1579178"/>
                  <a:pt x="996878" y="1493171"/>
                  <a:pt x="977153" y="1411804"/>
                </a:cubicBezTo>
                <a:cubicBezTo>
                  <a:pt x="971097" y="1386822"/>
                  <a:pt x="936443" y="1380206"/>
                  <a:pt x="914400" y="1366980"/>
                </a:cubicBezTo>
                <a:cubicBezTo>
                  <a:pt x="816521" y="1308252"/>
                  <a:pt x="824982" y="1330138"/>
                  <a:pt x="681318" y="1322157"/>
                </a:cubicBezTo>
                <a:cubicBezTo>
                  <a:pt x="561789" y="1331122"/>
                  <a:pt x="441959" y="1336717"/>
                  <a:pt x="322730" y="1349051"/>
                </a:cubicBezTo>
                <a:cubicBezTo>
                  <a:pt x="217155" y="1359973"/>
                  <a:pt x="178072" y="1371768"/>
                  <a:pt x="89647" y="1393874"/>
                </a:cubicBezTo>
                <a:cubicBezTo>
                  <a:pt x="68729" y="1411803"/>
                  <a:pt x="41944" y="1424586"/>
                  <a:pt x="26894" y="1447662"/>
                </a:cubicBezTo>
                <a:lnTo>
                  <a:pt x="0" y="1495375"/>
                </a:lnTo>
                <a:close/>
              </a:path>
            </a:pathLst>
          </a:custGeom>
        </p:spPr>
      </p:pic>
      <p:cxnSp>
        <p:nvCxnSpPr>
          <p:cNvPr id="363" name="Straight Connector 362">
            <a:extLst>
              <a:ext uri="{FF2B5EF4-FFF2-40B4-BE49-F238E27FC236}">
                <a16:creationId xmlns:a16="http://schemas.microsoft.com/office/drawing/2014/main" id="{3473439E-0F82-BB2E-3AE8-BFF0511CAC21}"/>
              </a:ext>
            </a:extLst>
          </p:cNvPr>
          <p:cNvCxnSpPr>
            <a:cxnSpLocks/>
          </p:cNvCxnSpPr>
          <p:nvPr/>
        </p:nvCxnSpPr>
        <p:spPr bwMode="auto">
          <a:xfrm>
            <a:off x="8548576" y="4450386"/>
            <a:ext cx="278025" cy="0"/>
          </a:xfrm>
          <a:prstGeom prst="line">
            <a:avLst/>
          </a:prstGeom>
          <a:solidFill>
            <a:schemeClr val="bg1"/>
          </a:solidFill>
          <a:ln w="28575" cap="rnd" cmpd="sng" algn="ctr">
            <a:solidFill>
              <a:srgbClr val="ABBCC5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4" name="Straight Connector 363">
            <a:extLst>
              <a:ext uri="{FF2B5EF4-FFF2-40B4-BE49-F238E27FC236}">
                <a16:creationId xmlns:a16="http://schemas.microsoft.com/office/drawing/2014/main" id="{70F4D6DF-CC45-F87C-501A-D62232A305FD}"/>
              </a:ext>
            </a:extLst>
          </p:cNvPr>
          <p:cNvCxnSpPr>
            <a:cxnSpLocks/>
          </p:cNvCxnSpPr>
          <p:nvPr/>
        </p:nvCxnSpPr>
        <p:spPr bwMode="auto">
          <a:xfrm rot="5400000">
            <a:off x="8529896" y="4450386"/>
            <a:ext cx="37361" cy="0"/>
          </a:xfrm>
          <a:prstGeom prst="line">
            <a:avLst/>
          </a:prstGeom>
          <a:solidFill>
            <a:schemeClr val="bg1"/>
          </a:solidFill>
          <a:ln w="28575" cap="rnd" cmpd="sng" algn="ctr">
            <a:solidFill>
              <a:srgbClr val="ABBCC5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5" name="Straight Connector 364">
            <a:extLst>
              <a:ext uri="{FF2B5EF4-FFF2-40B4-BE49-F238E27FC236}">
                <a16:creationId xmlns:a16="http://schemas.microsoft.com/office/drawing/2014/main" id="{8A1D3165-60CC-28D9-02C8-A926F98CA17F}"/>
              </a:ext>
            </a:extLst>
          </p:cNvPr>
          <p:cNvCxnSpPr>
            <a:cxnSpLocks/>
          </p:cNvCxnSpPr>
          <p:nvPr/>
        </p:nvCxnSpPr>
        <p:spPr bwMode="auto">
          <a:xfrm rot="5400000">
            <a:off x="8807957" y="4450386"/>
            <a:ext cx="37361" cy="0"/>
          </a:xfrm>
          <a:prstGeom prst="line">
            <a:avLst/>
          </a:prstGeom>
          <a:solidFill>
            <a:schemeClr val="bg1"/>
          </a:solidFill>
          <a:ln w="28575" cap="rnd" cmpd="sng" algn="ctr">
            <a:solidFill>
              <a:srgbClr val="ABBCC5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0" name="Straight Connector 359">
            <a:extLst>
              <a:ext uri="{FF2B5EF4-FFF2-40B4-BE49-F238E27FC236}">
                <a16:creationId xmlns:a16="http://schemas.microsoft.com/office/drawing/2014/main" id="{572D8261-1CD7-2314-EB9D-FAB7608619E5}"/>
              </a:ext>
            </a:extLst>
          </p:cNvPr>
          <p:cNvCxnSpPr>
            <a:cxnSpLocks/>
          </p:cNvCxnSpPr>
          <p:nvPr/>
        </p:nvCxnSpPr>
        <p:spPr bwMode="auto">
          <a:xfrm rot="8100000">
            <a:off x="8548607" y="4450373"/>
            <a:ext cx="278025" cy="0"/>
          </a:xfrm>
          <a:prstGeom prst="line">
            <a:avLst/>
          </a:prstGeom>
          <a:solidFill>
            <a:schemeClr val="bg1"/>
          </a:solidFill>
          <a:ln w="28575" cap="rnd" cmpd="sng" algn="ctr">
            <a:solidFill>
              <a:srgbClr val="ABBCC5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1" name="Straight Connector 360">
            <a:extLst>
              <a:ext uri="{FF2B5EF4-FFF2-40B4-BE49-F238E27FC236}">
                <a16:creationId xmlns:a16="http://schemas.microsoft.com/office/drawing/2014/main" id="{0481E301-B3C4-C714-787E-7BC1ACBDC9C2}"/>
              </a:ext>
            </a:extLst>
          </p:cNvPr>
          <p:cNvCxnSpPr>
            <a:cxnSpLocks/>
          </p:cNvCxnSpPr>
          <p:nvPr/>
        </p:nvCxnSpPr>
        <p:spPr bwMode="auto">
          <a:xfrm rot="13500000">
            <a:off x="8767235" y="4352076"/>
            <a:ext cx="37361" cy="0"/>
          </a:xfrm>
          <a:prstGeom prst="line">
            <a:avLst/>
          </a:prstGeom>
          <a:solidFill>
            <a:schemeClr val="bg1"/>
          </a:solidFill>
          <a:ln w="28575" cap="rnd" cmpd="sng" algn="ctr">
            <a:solidFill>
              <a:srgbClr val="ABBCC5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2" name="Straight Connector 361">
            <a:extLst>
              <a:ext uri="{FF2B5EF4-FFF2-40B4-BE49-F238E27FC236}">
                <a16:creationId xmlns:a16="http://schemas.microsoft.com/office/drawing/2014/main" id="{51E22B97-5CE4-A849-3A04-FE6657D49485}"/>
              </a:ext>
            </a:extLst>
          </p:cNvPr>
          <p:cNvCxnSpPr>
            <a:cxnSpLocks/>
          </p:cNvCxnSpPr>
          <p:nvPr/>
        </p:nvCxnSpPr>
        <p:spPr bwMode="auto">
          <a:xfrm rot="13500000">
            <a:off x="8570617" y="4548695"/>
            <a:ext cx="37361" cy="0"/>
          </a:xfrm>
          <a:prstGeom prst="line">
            <a:avLst/>
          </a:prstGeom>
          <a:solidFill>
            <a:schemeClr val="bg1"/>
          </a:solidFill>
          <a:ln w="28575" cap="rnd" cmpd="sng" algn="ctr">
            <a:solidFill>
              <a:srgbClr val="ABBCC5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7" name="Straight Connector 356">
            <a:extLst>
              <a:ext uri="{FF2B5EF4-FFF2-40B4-BE49-F238E27FC236}">
                <a16:creationId xmlns:a16="http://schemas.microsoft.com/office/drawing/2014/main" id="{5796FA68-F561-02F0-7A8C-41E372267A45}"/>
              </a:ext>
            </a:extLst>
          </p:cNvPr>
          <p:cNvCxnSpPr>
            <a:cxnSpLocks/>
          </p:cNvCxnSpPr>
          <p:nvPr/>
        </p:nvCxnSpPr>
        <p:spPr bwMode="auto">
          <a:xfrm rot="2700000">
            <a:off x="8548583" y="4450373"/>
            <a:ext cx="278020" cy="0"/>
          </a:xfrm>
          <a:prstGeom prst="line">
            <a:avLst/>
          </a:prstGeom>
          <a:solidFill>
            <a:schemeClr val="bg1"/>
          </a:solidFill>
          <a:ln w="28575" cap="rnd" cmpd="sng" algn="ctr">
            <a:solidFill>
              <a:srgbClr val="ABBCC5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8" name="Straight Connector 357">
            <a:extLst>
              <a:ext uri="{FF2B5EF4-FFF2-40B4-BE49-F238E27FC236}">
                <a16:creationId xmlns:a16="http://schemas.microsoft.com/office/drawing/2014/main" id="{534C10F6-EDB4-4FF4-280A-1859ECAFCA22}"/>
              </a:ext>
            </a:extLst>
          </p:cNvPr>
          <p:cNvCxnSpPr>
            <a:cxnSpLocks/>
          </p:cNvCxnSpPr>
          <p:nvPr/>
        </p:nvCxnSpPr>
        <p:spPr bwMode="auto">
          <a:xfrm rot="8100000">
            <a:off x="8570617" y="4352078"/>
            <a:ext cx="37362" cy="0"/>
          </a:xfrm>
          <a:prstGeom prst="line">
            <a:avLst/>
          </a:prstGeom>
          <a:solidFill>
            <a:schemeClr val="bg1"/>
          </a:solidFill>
          <a:ln w="28575" cap="rnd" cmpd="sng" algn="ctr">
            <a:solidFill>
              <a:srgbClr val="ABBCC5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9" name="Straight Connector 358">
            <a:extLst>
              <a:ext uri="{FF2B5EF4-FFF2-40B4-BE49-F238E27FC236}">
                <a16:creationId xmlns:a16="http://schemas.microsoft.com/office/drawing/2014/main" id="{77B9D8BC-90C5-7D80-94BE-5AFE95B21098}"/>
              </a:ext>
            </a:extLst>
          </p:cNvPr>
          <p:cNvCxnSpPr>
            <a:cxnSpLocks/>
          </p:cNvCxnSpPr>
          <p:nvPr/>
        </p:nvCxnSpPr>
        <p:spPr bwMode="auto">
          <a:xfrm rot="8100000">
            <a:off x="8767233" y="4548694"/>
            <a:ext cx="37362" cy="0"/>
          </a:xfrm>
          <a:prstGeom prst="line">
            <a:avLst/>
          </a:prstGeom>
          <a:solidFill>
            <a:schemeClr val="bg1"/>
          </a:solidFill>
          <a:ln w="28575" cap="rnd" cmpd="sng" algn="ctr">
            <a:solidFill>
              <a:srgbClr val="ABBCC5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4" name="Straight Connector 353">
            <a:extLst>
              <a:ext uri="{FF2B5EF4-FFF2-40B4-BE49-F238E27FC236}">
                <a16:creationId xmlns:a16="http://schemas.microsoft.com/office/drawing/2014/main" id="{0CB0CB3F-BD30-DA3D-A70C-F6EBF75E8EA6}"/>
              </a:ext>
            </a:extLst>
          </p:cNvPr>
          <p:cNvCxnSpPr>
            <a:cxnSpLocks/>
          </p:cNvCxnSpPr>
          <p:nvPr/>
        </p:nvCxnSpPr>
        <p:spPr bwMode="auto">
          <a:xfrm rot="16200000">
            <a:off x="8548825" y="4450633"/>
            <a:ext cx="278020" cy="0"/>
          </a:xfrm>
          <a:prstGeom prst="line">
            <a:avLst/>
          </a:prstGeom>
          <a:solidFill>
            <a:schemeClr val="bg1"/>
          </a:solidFill>
          <a:ln w="28575" cap="rnd" cmpd="sng" algn="ctr">
            <a:solidFill>
              <a:srgbClr val="ABBCC5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5" name="Straight Connector 354">
            <a:extLst>
              <a:ext uri="{FF2B5EF4-FFF2-40B4-BE49-F238E27FC236}">
                <a16:creationId xmlns:a16="http://schemas.microsoft.com/office/drawing/2014/main" id="{438B9973-DB24-BBC3-A155-9A80DAC6CA20}"/>
              </a:ext>
            </a:extLst>
          </p:cNvPr>
          <p:cNvCxnSpPr>
            <a:cxnSpLocks/>
          </p:cNvCxnSpPr>
          <p:nvPr/>
        </p:nvCxnSpPr>
        <p:spPr bwMode="auto">
          <a:xfrm>
            <a:off x="8669154" y="4589643"/>
            <a:ext cx="37362" cy="0"/>
          </a:xfrm>
          <a:prstGeom prst="line">
            <a:avLst/>
          </a:prstGeom>
          <a:solidFill>
            <a:schemeClr val="bg1"/>
          </a:solidFill>
          <a:ln w="28575" cap="rnd" cmpd="sng" algn="ctr">
            <a:solidFill>
              <a:srgbClr val="ABBCC5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6" name="Straight Connector 355">
            <a:extLst>
              <a:ext uri="{FF2B5EF4-FFF2-40B4-BE49-F238E27FC236}">
                <a16:creationId xmlns:a16="http://schemas.microsoft.com/office/drawing/2014/main" id="{EBDD49FB-0510-1496-39E1-8D05D61C5E50}"/>
              </a:ext>
            </a:extLst>
          </p:cNvPr>
          <p:cNvCxnSpPr>
            <a:cxnSpLocks/>
          </p:cNvCxnSpPr>
          <p:nvPr/>
        </p:nvCxnSpPr>
        <p:spPr bwMode="auto">
          <a:xfrm>
            <a:off x="8669154" y="4311587"/>
            <a:ext cx="37362" cy="0"/>
          </a:xfrm>
          <a:prstGeom prst="line">
            <a:avLst/>
          </a:prstGeom>
          <a:solidFill>
            <a:schemeClr val="bg1"/>
          </a:solidFill>
          <a:ln w="28575" cap="rnd" cmpd="sng" algn="ctr">
            <a:solidFill>
              <a:srgbClr val="ABBCC5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7" name="Oval 346">
            <a:extLst>
              <a:ext uri="{FF2B5EF4-FFF2-40B4-BE49-F238E27FC236}">
                <a16:creationId xmlns:a16="http://schemas.microsoft.com/office/drawing/2014/main" id="{C8C9CF10-DE65-1082-0CE3-DB5123F180E5}"/>
              </a:ext>
            </a:extLst>
          </p:cNvPr>
          <p:cNvSpPr/>
          <p:nvPr/>
        </p:nvSpPr>
        <p:spPr>
          <a:xfrm>
            <a:off x="8579234" y="4342016"/>
            <a:ext cx="216745" cy="216741"/>
          </a:xfrm>
          <a:prstGeom prst="ellipse">
            <a:avLst/>
          </a:prstGeom>
          <a:solidFill>
            <a:schemeClr val="bg1"/>
          </a:solidFill>
          <a:ln w="28575" cap="rnd">
            <a:solidFill>
              <a:srgbClr val="ABBCC5"/>
            </a:solidFill>
            <a:round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8" name="Oval 347">
            <a:extLst>
              <a:ext uri="{FF2B5EF4-FFF2-40B4-BE49-F238E27FC236}">
                <a16:creationId xmlns:a16="http://schemas.microsoft.com/office/drawing/2014/main" id="{610C225C-9DFF-50AC-D796-38F0A4434D02}"/>
              </a:ext>
            </a:extLst>
          </p:cNvPr>
          <p:cNvSpPr/>
          <p:nvPr/>
        </p:nvSpPr>
        <p:spPr>
          <a:xfrm>
            <a:off x="8609285" y="4418176"/>
            <a:ext cx="66162" cy="66160"/>
          </a:xfrm>
          <a:prstGeom prst="ellipse">
            <a:avLst/>
          </a:prstGeom>
          <a:solidFill>
            <a:schemeClr val="bg1"/>
          </a:solidFill>
          <a:ln w="28575" cap="rnd">
            <a:solidFill>
              <a:srgbClr val="ABBCC5"/>
            </a:solidFill>
            <a:round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9" name="Oval 348">
            <a:extLst>
              <a:ext uri="{FF2B5EF4-FFF2-40B4-BE49-F238E27FC236}">
                <a16:creationId xmlns:a16="http://schemas.microsoft.com/office/drawing/2014/main" id="{96C0F8C5-4AD9-D644-FF4A-21B2F515A7DD}"/>
              </a:ext>
            </a:extLst>
          </p:cNvPr>
          <p:cNvSpPr/>
          <p:nvPr/>
        </p:nvSpPr>
        <p:spPr>
          <a:xfrm>
            <a:off x="8695658" y="4406500"/>
            <a:ext cx="40741" cy="40740"/>
          </a:xfrm>
          <a:prstGeom prst="ellipse">
            <a:avLst/>
          </a:prstGeom>
          <a:solidFill>
            <a:schemeClr val="bg1"/>
          </a:solidFill>
          <a:ln w="28575" cap="rnd">
            <a:solidFill>
              <a:srgbClr val="ABBCC5"/>
            </a:solidFill>
            <a:round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43" name="Straight Connector 342">
            <a:extLst>
              <a:ext uri="{FF2B5EF4-FFF2-40B4-BE49-F238E27FC236}">
                <a16:creationId xmlns:a16="http://schemas.microsoft.com/office/drawing/2014/main" id="{A8732E4A-8A7E-B78F-1077-F56D2F74488F}"/>
              </a:ext>
            </a:extLst>
          </p:cNvPr>
          <p:cNvCxnSpPr>
            <a:cxnSpLocks/>
          </p:cNvCxnSpPr>
          <p:nvPr/>
        </p:nvCxnSpPr>
        <p:spPr bwMode="auto">
          <a:xfrm>
            <a:off x="8495194" y="4561598"/>
            <a:ext cx="278025" cy="0"/>
          </a:xfrm>
          <a:prstGeom prst="line">
            <a:avLst/>
          </a:prstGeom>
          <a:solidFill>
            <a:schemeClr val="bg1"/>
          </a:solidFill>
          <a:ln w="28575" cap="rnd" cmpd="sng" algn="ctr">
            <a:solidFill>
              <a:srgbClr val="ABBCC5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4" name="Straight Connector 343">
            <a:extLst>
              <a:ext uri="{FF2B5EF4-FFF2-40B4-BE49-F238E27FC236}">
                <a16:creationId xmlns:a16="http://schemas.microsoft.com/office/drawing/2014/main" id="{F29B9F59-F6CA-DA52-E720-573A5A38F57D}"/>
              </a:ext>
            </a:extLst>
          </p:cNvPr>
          <p:cNvCxnSpPr>
            <a:cxnSpLocks/>
          </p:cNvCxnSpPr>
          <p:nvPr/>
        </p:nvCxnSpPr>
        <p:spPr bwMode="auto">
          <a:xfrm rot="5400000">
            <a:off x="8476514" y="4561598"/>
            <a:ext cx="37361" cy="0"/>
          </a:xfrm>
          <a:prstGeom prst="line">
            <a:avLst/>
          </a:prstGeom>
          <a:solidFill>
            <a:schemeClr val="bg1"/>
          </a:solidFill>
          <a:ln w="28575" cap="rnd" cmpd="sng" algn="ctr">
            <a:solidFill>
              <a:srgbClr val="ABBCC5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5" name="Straight Connector 344">
            <a:extLst>
              <a:ext uri="{FF2B5EF4-FFF2-40B4-BE49-F238E27FC236}">
                <a16:creationId xmlns:a16="http://schemas.microsoft.com/office/drawing/2014/main" id="{65058EFB-BA61-AF51-B5DD-27106FCA8834}"/>
              </a:ext>
            </a:extLst>
          </p:cNvPr>
          <p:cNvCxnSpPr>
            <a:cxnSpLocks/>
          </p:cNvCxnSpPr>
          <p:nvPr/>
        </p:nvCxnSpPr>
        <p:spPr bwMode="auto">
          <a:xfrm rot="5400000">
            <a:off x="8754575" y="4561598"/>
            <a:ext cx="37361" cy="0"/>
          </a:xfrm>
          <a:prstGeom prst="line">
            <a:avLst/>
          </a:prstGeom>
          <a:solidFill>
            <a:schemeClr val="bg1"/>
          </a:solidFill>
          <a:ln w="28575" cap="rnd" cmpd="sng" algn="ctr">
            <a:solidFill>
              <a:srgbClr val="ABBCC5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0" name="Straight Connector 339">
            <a:extLst>
              <a:ext uri="{FF2B5EF4-FFF2-40B4-BE49-F238E27FC236}">
                <a16:creationId xmlns:a16="http://schemas.microsoft.com/office/drawing/2014/main" id="{94025279-16B8-072B-A83F-701B9DE6C283}"/>
              </a:ext>
            </a:extLst>
          </p:cNvPr>
          <p:cNvCxnSpPr>
            <a:cxnSpLocks/>
          </p:cNvCxnSpPr>
          <p:nvPr/>
        </p:nvCxnSpPr>
        <p:spPr bwMode="auto">
          <a:xfrm rot="8100000">
            <a:off x="8495225" y="4561585"/>
            <a:ext cx="278025" cy="0"/>
          </a:xfrm>
          <a:prstGeom prst="line">
            <a:avLst/>
          </a:prstGeom>
          <a:solidFill>
            <a:schemeClr val="bg1"/>
          </a:solidFill>
          <a:ln w="28575" cap="rnd" cmpd="sng" algn="ctr">
            <a:solidFill>
              <a:srgbClr val="ABBCC5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1" name="Straight Connector 340">
            <a:extLst>
              <a:ext uri="{FF2B5EF4-FFF2-40B4-BE49-F238E27FC236}">
                <a16:creationId xmlns:a16="http://schemas.microsoft.com/office/drawing/2014/main" id="{A8EDA832-080A-0E2A-3111-9F2921AFE2FC}"/>
              </a:ext>
            </a:extLst>
          </p:cNvPr>
          <p:cNvCxnSpPr>
            <a:cxnSpLocks/>
          </p:cNvCxnSpPr>
          <p:nvPr/>
        </p:nvCxnSpPr>
        <p:spPr bwMode="auto">
          <a:xfrm rot="13500000">
            <a:off x="8713853" y="4463288"/>
            <a:ext cx="37361" cy="0"/>
          </a:xfrm>
          <a:prstGeom prst="line">
            <a:avLst/>
          </a:prstGeom>
          <a:solidFill>
            <a:schemeClr val="bg1"/>
          </a:solidFill>
          <a:ln w="28575" cap="rnd" cmpd="sng" algn="ctr">
            <a:solidFill>
              <a:srgbClr val="ABBCC5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2" name="Straight Connector 341">
            <a:extLst>
              <a:ext uri="{FF2B5EF4-FFF2-40B4-BE49-F238E27FC236}">
                <a16:creationId xmlns:a16="http://schemas.microsoft.com/office/drawing/2014/main" id="{1E8FFAC8-7D7C-5879-FF8D-21A58A5DFB68}"/>
              </a:ext>
            </a:extLst>
          </p:cNvPr>
          <p:cNvCxnSpPr>
            <a:cxnSpLocks/>
          </p:cNvCxnSpPr>
          <p:nvPr/>
        </p:nvCxnSpPr>
        <p:spPr bwMode="auto">
          <a:xfrm rot="13500000">
            <a:off x="8517235" y="4659907"/>
            <a:ext cx="37361" cy="0"/>
          </a:xfrm>
          <a:prstGeom prst="line">
            <a:avLst/>
          </a:prstGeom>
          <a:solidFill>
            <a:schemeClr val="bg1"/>
          </a:solidFill>
          <a:ln w="28575" cap="rnd" cmpd="sng" algn="ctr">
            <a:solidFill>
              <a:srgbClr val="ABBCC5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7" name="Straight Connector 336">
            <a:extLst>
              <a:ext uri="{FF2B5EF4-FFF2-40B4-BE49-F238E27FC236}">
                <a16:creationId xmlns:a16="http://schemas.microsoft.com/office/drawing/2014/main" id="{9F448F66-37DC-BB50-95A8-BA2D0D230110}"/>
              </a:ext>
            </a:extLst>
          </p:cNvPr>
          <p:cNvCxnSpPr>
            <a:cxnSpLocks/>
          </p:cNvCxnSpPr>
          <p:nvPr/>
        </p:nvCxnSpPr>
        <p:spPr bwMode="auto">
          <a:xfrm rot="2700000">
            <a:off x="8495201" y="4561585"/>
            <a:ext cx="278020" cy="0"/>
          </a:xfrm>
          <a:prstGeom prst="line">
            <a:avLst/>
          </a:prstGeom>
          <a:solidFill>
            <a:schemeClr val="bg1"/>
          </a:solidFill>
          <a:ln w="28575" cap="rnd" cmpd="sng" algn="ctr">
            <a:solidFill>
              <a:srgbClr val="ABBCC5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8" name="Straight Connector 337">
            <a:extLst>
              <a:ext uri="{FF2B5EF4-FFF2-40B4-BE49-F238E27FC236}">
                <a16:creationId xmlns:a16="http://schemas.microsoft.com/office/drawing/2014/main" id="{13A77818-6552-A9E7-AF61-CBFEB175867D}"/>
              </a:ext>
            </a:extLst>
          </p:cNvPr>
          <p:cNvCxnSpPr>
            <a:cxnSpLocks/>
          </p:cNvCxnSpPr>
          <p:nvPr/>
        </p:nvCxnSpPr>
        <p:spPr bwMode="auto">
          <a:xfrm rot="8100000">
            <a:off x="8517235" y="4463290"/>
            <a:ext cx="37362" cy="0"/>
          </a:xfrm>
          <a:prstGeom prst="line">
            <a:avLst/>
          </a:prstGeom>
          <a:solidFill>
            <a:schemeClr val="bg1"/>
          </a:solidFill>
          <a:ln w="28575" cap="rnd" cmpd="sng" algn="ctr">
            <a:solidFill>
              <a:srgbClr val="ABBCC5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9" name="Straight Connector 338">
            <a:extLst>
              <a:ext uri="{FF2B5EF4-FFF2-40B4-BE49-F238E27FC236}">
                <a16:creationId xmlns:a16="http://schemas.microsoft.com/office/drawing/2014/main" id="{EC8F1590-AE6B-436D-E811-009D264266B7}"/>
              </a:ext>
            </a:extLst>
          </p:cNvPr>
          <p:cNvCxnSpPr>
            <a:cxnSpLocks/>
          </p:cNvCxnSpPr>
          <p:nvPr/>
        </p:nvCxnSpPr>
        <p:spPr bwMode="auto">
          <a:xfrm rot="8100000">
            <a:off x="8713851" y="4659906"/>
            <a:ext cx="37362" cy="0"/>
          </a:xfrm>
          <a:prstGeom prst="line">
            <a:avLst/>
          </a:prstGeom>
          <a:solidFill>
            <a:schemeClr val="bg1"/>
          </a:solidFill>
          <a:ln w="28575" cap="rnd" cmpd="sng" algn="ctr">
            <a:solidFill>
              <a:srgbClr val="ABBCC5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4" name="Straight Connector 333">
            <a:extLst>
              <a:ext uri="{FF2B5EF4-FFF2-40B4-BE49-F238E27FC236}">
                <a16:creationId xmlns:a16="http://schemas.microsoft.com/office/drawing/2014/main" id="{1B2A831B-6D96-810D-7C7A-E27BB5EBF328}"/>
              </a:ext>
            </a:extLst>
          </p:cNvPr>
          <p:cNvCxnSpPr>
            <a:cxnSpLocks/>
          </p:cNvCxnSpPr>
          <p:nvPr/>
        </p:nvCxnSpPr>
        <p:spPr bwMode="auto">
          <a:xfrm rot="16200000">
            <a:off x="8495443" y="4561845"/>
            <a:ext cx="278020" cy="0"/>
          </a:xfrm>
          <a:prstGeom prst="line">
            <a:avLst/>
          </a:prstGeom>
          <a:solidFill>
            <a:schemeClr val="bg1"/>
          </a:solidFill>
          <a:ln w="28575" cap="rnd" cmpd="sng" algn="ctr">
            <a:solidFill>
              <a:srgbClr val="ABBCC5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5" name="Straight Connector 334">
            <a:extLst>
              <a:ext uri="{FF2B5EF4-FFF2-40B4-BE49-F238E27FC236}">
                <a16:creationId xmlns:a16="http://schemas.microsoft.com/office/drawing/2014/main" id="{626EA6CA-6029-CE9A-E0EA-B6FEE70FC54C}"/>
              </a:ext>
            </a:extLst>
          </p:cNvPr>
          <p:cNvCxnSpPr>
            <a:cxnSpLocks/>
          </p:cNvCxnSpPr>
          <p:nvPr/>
        </p:nvCxnSpPr>
        <p:spPr bwMode="auto">
          <a:xfrm>
            <a:off x="8615772" y="4700855"/>
            <a:ext cx="37362" cy="0"/>
          </a:xfrm>
          <a:prstGeom prst="line">
            <a:avLst/>
          </a:prstGeom>
          <a:solidFill>
            <a:schemeClr val="bg1"/>
          </a:solidFill>
          <a:ln w="28575" cap="rnd" cmpd="sng" algn="ctr">
            <a:solidFill>
              <a:srgbClr val="ABBCC5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6" name="Straight Connector 335">
            <a:extLst>
              <a:ext uri="{FF2B5EF4-FFF2-40B4-BE49-F238E27FC236}">
                <a16:creationId xmlns:a16="http://schemas.microsoft.com/office/drawing/2014/main" id="{6610E895-8FDA-D16A-D98A-583B2AAB504E}"/>
              </a:ext>
            </a:extLst>
          </p:cNvPr>
          <p:cNvCxnSpPr>
            <a:cxnSpLocks/>
          </p:cNvCxnSpPr>
          <p:nvPr/>
        </p:nvCxnSpPr>
        <p:spPr bwMode="auto">
          <a:xfrm>
            <a:off x="8615772" y="4422799"/>
            <a:ext cx="37362" cy="0"/>
          </a:xfrm>
          <a:prstGeom prst="line">
            <a:avLst/>
          </a:prstGeom>
          <a:solidFill>
            <a:schemeClr val="bg1"/>
          </a:solidFill>
          <a:ln w="28575" cap="rnd" cmpd="sng" algn="ctr">
            <a:solidFill>
              <a:srgbClr val="ABBCC5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7" name="Oval 326">
            <a:extLst>
              <a:ext uri="{FF2B5EF4-FFF2-40B4-BE49-F238E27FC236}">
                <a16:creationId xmlns:a16="http://schemas.microsoft.com/office/drawing/2014/main" id="{73AA8492-5957-0733-CBF3-5A5D43A38221}"/>
              </a:ext>
            </a:extLst>
          </p:cNvPr>
          <p:cNvSpPr/>
          <p:nvPr/>
        </p:nvSpPr>
        <p:spPr>
          <a:xfrm>
            <a:off x="8525852" y="4453228"/>
            <a:ext cx="216745" cy="216741"/>
          </a:xfrm>
          <a:prstGeom prst="ellipse">
            <a:avLst/>
          </a:prstGeom>
          <a:solidFill>
            <a:schemeClr val="bg1"/>
          </a:solidFill>
          <a:ln w="28575" cap="rnd">
            <a:solidFill>
              <a:srgbClr val="ABBCC5"/>
            </a:solidFill>
            <a:round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8" name="Oval 327">
            <a:extLst>
              <a:ext uri="{FF2B5EF4-FFF2-40B4-BE49-F238E27FC236}">
                <a16:creationId xmlns:a16="http://schemas.microsoft.com/office/drawing/2014/main" id="{C5E31844-EA58-B821-EE9E-95DBC8C37551}"/>
              </a:ext>
            </a:extLst>
          </p:cNvPr>
          <p:cNvSpPr/>
          <p:nvPr/>
        </p:nvSpPr>
        <p:spPr>
          <a:xfrm>
            <a:off x="8555903" y="4529388"/>
            <a:ext cx="66162" cy="66160"/>
          </a:xfrm>
          <a:prstGeom prst="ellipse">
            <a:avLst/>
          </a:prstGeom>
          <a:solidFill>
            <a:schemeClr val="bg1"/>
          </a:solidFill>
          <a:ln w="28575" cap="rnd">
            <a:solidFill>
              <a:srgbClr val="ABBCC5"/>
            </a:solidFill>
            <a:round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9" name="Oval 328">
            <a:extLst>
              <a:ext uri="{FF2B5EF4-FFF2-40B4-BE49-F238E27FC236}">
                <a16:creationId xmlns:a16="http://schemas.microsoft.com/office/drawing/2014/main" id="{15B4C405-D866-472E-0B12-35E51511B9A2}"/>
              </a:ext>
            </a:extLst>
          </p:cNvPr>
          <p:cNvSpPr/>
          <p:nvPr/>
        </p:nvSpPr>
        <p:spPr>
          <a:xfrm>
            <a:off x="8642276" y="4517712"/>
            <a:ext cx="40741" cy="40740"/>
          </a:xfrm>
          <a:prstGeom prst="ellipse">
            <a:avLst/>
          </a:prstGeom>
          <a:solidFill>
            <a:schemeClr val="bg1"/>
          </a:solidFill>
          <a:ln w="28575" cap="rnd">
            <a:solidFill>
              <a:srgbClr val="ABBCC5"/>
            </a:solidFill>
            <a:round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23" name="Straight Connector 322">
            <a:extLst>
              <a:ext uri="{FF2B5EF4-FFF2-40B4-BE49-F238E27FC236}">
                <a16:creationId xmlns:a16="http://schemas.microsoft.com/office/drawing/2014/main" id="{2CB0763E-7F7A-D52A-8B32-D6FF101D83DD}"/>
              </a:ext>
            </a:extLst>
          </p:cNvPr>
          <p:cNvCxnSpPr>
            <a:cxnSpLocks/>
          </p:cNvCxnSpPr>
          <p:nvPr/>
        </p:nvCxnSpPr>
        <p:spPr bwMode="auto">
          <a:xfrm>
            <a:off x="8436230" y="4722240"/>
            <a:ext cx="278025" cy="0"/>
          </a:xfrm>
          <a:prstGeom prst="line">
            <a:avLst/>
          </a:prstGeom>
          <a:solidFill>
            <a:schemeClr val="bg1"/>
          </a:solidFill>
          <a:ln w="28575" cap="rnd" cmpd="sng" algn="ctr">
            <a:solidFill>
              <a:srgbClr val="ABBCC5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4" name="Straight Connector 323">
            <a:extLst>
              <a:ext uri="{FF2B5EF4-FFF2-40B4-BE49-F238E27FC236}">
                <a16:creationId xmlns:a16="http://schemas.microsoft.com/office/drawing/2014/main" id="{8D9996A0-EAE0-ED44-4280-DE9255D66E27}"/>
              </a:ext>
            </a:extLst>
          </p:cNvPr>
          <p:cNvCxnSpPr>
            <a:cxnSpLocks/>
          </p:cNvCxnSpPr>
          <p:nvPr/>
        </p:nvCxnSpPr>
        <p:spPr bwMode="auto">
          <a:xfrm rot="5400000">
            <a:off x="8417550" y="4722240"/>
            <a:ext cx="37361" cy="0"/>
          </a:xfrm>
          <a:prstGeom prst="line">
            <a:avLst/>
          </a:prstGeom>
          <a:solidFill>
            <a:schemeClr val="bg1"/>
          </a:solidFill>
          <a:ln w="28575" cap="rnd" cmpd="sng" algn="ctr">
            <a:solidFill>
              <a:srgbClr val="ABBCC5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5" name="Straight Connector 324">
            <a:extLst>
              <a:ext uri="{FF2B5EF4-FFF2-40B4-BE49-F238E27FC236}">
                <a16:creationId xmlns:a16="http://schemas.microsoft.com/office/drawing/2014/main" id="{28E5C6D9-59BB-5D11-F18E-20E8CA47BF45}"/>
              </a:ext>
            </a:extLst>
          </p:cNvPr>
          <p:cNvCxnSpPr>
            <a:cxnSpLocks/>
          </p:cNvCxnSpPr>
          <p:nvPr/>
        </p:nvCxnSpPr>
        <p:spPr bwMode="auto">
          <a:xfrm rot="5400000">
            <a:off x="8695611" y="4722240"/>
            <a:ext cx="37361" cy="0"/>
          </a:xfrm>
          <a:prstGeom prst="line">
            <a:avLst/>
          </a:prstGeom>
          <a:solidFill>
            <a:schemeClr val="bg1"/>
          </a:solidFill>
          <a:ln w="28575" cap="rnd" cmpd="sng" algn="ctr">
            <a:solidFill>
              <a:srgbClr val="ABBCC5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0" name="Straight Connector 319">
            <a:extLst>
              <a:ext uri="{FF2B5EF4-FFF2-40B4-BE49-F238E27FC236}">
                <a16:creationId xmlns:a16="http://schemas.microsoft.com/office/drawing/2014/main" id="{4DD6FBBA-824A-592C-6993-645A5599CF9D}"/>
              </a:ext>
            </a:extLst>
          </p:cNvPr>
          <p:cNvCxnSpPr>
            <a:cxnSpLocks/>
          </p:cNvCxnSpPr>
          <p:nvPr/>
        </p:nvCxnSpPr>
        <p:spPr bwMode="auto">
          <a:xfrm rot="8100000">
            <a:off x="8436261" y="4722227"/>
            <a:ext cx="278025" cy="0"/>
          </a:xfrm>
          <a:prstGeom prst="line">
            <a:avLst/>
          </a:prstGeom>
          <a:solidFill>
            <a:schemeClr val="bg1"/>
          </a:solidFill>
          <a:ln w="28575" cap="rnd" cmpd="sng" algn="ctr">
            <a:solidFill>
              <a:srgbClr val="ABBCC5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1" name="Straight Connector 320">
            <a:extLst>
              <a:ext uri="{FF2B5EF4-FFF2-40B4-BE49-F238E27FC236}">
                <a16:creationId xmlns:a16="http://schemas.microsoft.com/office/drawing/2014/main" id="{0567A64E-6896-FED1-D259-FCDF15184C3C}"/>
              </a:ext>
            </a:extLst>
          </p:cNvPr>
          <p:cNvCxnSpPr>
            <a:cxnSpLocks/>
          </p:cNvCxnSpPr>
          <p:nvPr/>
        </p:nvCxnSpPr>
        <p:spPr bwMode="auto">
          <a:xfrm rot="13500000">
            <a:off x="8654889" y="4623930"/>
            <a:ext cx="37361" cy="0"/>
          </a:xfrm>
          <a:prstGeom prst="line">
            <a:avLst/>
          </a:prstGeom>
          <a:solidFill>
            <a:schemeClr val="bg1"/>
          </a:solidFill>
          <a:ln w="28575" cap="rnd" cmpd="sng" algn="ctr">
            <a:solidFill>
              <a:srgbClr val="ABBCC5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2" name="Straight Connector 321">
            <a:extLst>
              <a:ext uri="{FF2B5EF4-FFF2-40B4-BE49-F238E27FC236}">
                <a16:creationId xmlns:a16="http://schemas.microsoft.com/office/drawing/2014/main" id="{7CB39EBA-8748-953E-1375-2C39D1A2D247}"/>
              </a:ext>
            </a:extLst>
          </p:cNvPr>
          <p:cNvCxnSpPr>
            <a:cxnSpLocks/>
          </p:cNvCxnSpPr>
          <p:nvPr/>
        </p:nvCxnSpPr>
        <p:spPr bwMode="auto">
          <a:xfrm rot="13500000">
            <a:off x="8458271" y="4820549"/>
            <a:ext cx="37361" cy="0"/>
          </a:xfrm>
          <a:prstGeom prst="line">
            <a:avLst/>
          </a:prstGeom>
          <a:solidFill>
            <a:schemeClr val="bg1"/>
          </a:solidFill>
          <a:ln w="28575" cap="rnd" cmpd="sng" algn="ctr">
            <a:solidFill>
              <a:srgbClr val="ABBCC5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7" name="Straight Connector 316">
            <a:extLst>
              <a:ext uri="{FF2B5EF4-FFF2-40B4-BE49-F238E27FC236}">
                <a16:creationId xmlns:a16="http://schemas.microsoft.com/office/drawing/2014/main" id="{1F089F6E-5562-A4DF-542E-DC82C0387374}"/>
              </a:ext>
            </a:extLst>
          </p:cNvPr>
          <p:cNvCxnSpPr>
            <a:cxnSpLocks/>
          </p:cNvCxnSpPr>
          <p:nvPr/>
        </p:nvCxnSpPr>
        <p:spPr bwMode="auto">
          <a:xfrm rot="2700000">
            <a:off x="8436237" y="4722227"/>
            <a:ext cx="278020" cy="0"/>
          </a:xfrm>
          <a:prstGeom prst="line">
            <a:avLst/>
          </a:prstGeom>
          <a:solidFill>
            <a:schemeClr val="bg1"/>
          </a:solidFill>
          <a:ln w="28575" cap="rnd" cmpd="sng" algn="ctr">
            <a:solidFill>
              <a:srgbClr val="ABBCC5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8" name="Straight Connector 317">
            <a:extLst>
              <a:ext uri="{FF2B5EF4-FFF2-40B4-BE49-F238E27FC236}">
                <a16:creationId xmlns:a16="http://schemas.microsoft.com/office/drawing/2014/main" id="{EEFA7101-A98E-4C28-30E1-289819048CF4}"/>
              </a:ext>
            </a:extLst>
          </p:cNvPr>
          <p:cNvCxnSpPr>
            <a:cxnSpLocks/>
          </p:cNvCxnSpPr>
          <p:nvPr/>
        </p:nvCxnSpPr>
        <p:spPr bwMode="auto">
          <a:xfrm rot="8100000">
            <a:off x="8458271" y="4623932"/>
            <a:ext cx="37362" cy="0"/>
          </a:xfrm>
          <a:prstGeom prst="line">
            <a:avLst/>
          </a:prstGeom>
          <a:solidFill>
            <a:schemeClr val="bg1"/>
          </a:solidFill>
          <a:ln w="28575" cap="rnd" cmpd="sng" algn="ctr">
            <a:solidFill>
              <a:srgbClr val="ABBCC5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9" name="Straight Connector 318">
            <a:extLst>
              <a:ext uri="{FF2B5EF4-FFF2-40B4-BE49-F238E27FC236}">
                <a16:creationId xmlns:a16="http://schemas.microsoft.com/office/drawing/2014/main" id="{CA8F2838-E339-A79E-44BA-F9C6E7C750C1}"/>
              </a:ext>
            </a:extLst>
          </p:cNvPr>
          <p:cNvCxnSpPr>
            <a:cxnSpLocks/>
          </p:cNvCxnSpPr>
          <p:nvPr/>
        </p:nvCxnSpPr>
        <p:spPr bwMode="auto">
          <a:xfrm rot="8100000">
            <a:off x="8654887" y="4820548"/>
            <a:ext cx="37362" cy="0"/>
          </a:xfrm>
          <a:prstGeom prst="line">
            <a:avLst/>
          </a:prstGeom>
          <a:solidFill>
            <a:schemeClr val="bg1"/>
          </a:solidFill>
          <a:ln w="28575" cap="rnd" cmpd="sng" algn="ctr">
            <a:solidFill>
              <a:srgbClr val="ABBCC5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4" name="Straight Connector 313">
            <a:extLst>
              <a:ext uri="{FF2B5EF4-FFF2-40B4-BE49-F238E27FC236}">
                <a16:creationId xmlns:a16="http://schemas.microsoft.com/office/drawing/2014/main" id="{32BD3714-8159-AE47-3639-E5A35C17979C}"/>
              </a:ext>
            </a:extLst>
          </p:cNvPr>
          <p:cNvCxnSpPr>
            <a:cxnSpLocks/>
          </p:cNvCxnSpPr>
          <p:nvPr/>
        </p:nvCxnSpPr>
        <p:spPr bwMode="auto">
          <a:xfrm rot="16200000">
            <a:off x="8436479" y="4722487"/>
            <a:ext cx="278020" cy="0"/>
          </a:xfrm>
          <a:prstGeom prst="line">
            <a:avLst/>
          </a:prstGeom>
          <a:solidFill>
            <a:schemeClr val="bg1"/>
          </a:solidFill>
          <a:ln w="28575" cap="rnd" cmpd="sng" algn="ctr">
            <a:solidFill>
              <a:srgbClr val="ABBCC5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5" name="Straight Connector 314">
            <a:extLst>
              <a:ext uri="{FF2B5EF4-FFF2-40B4-BE49-F238E27FC236}">
                <a16:creationId xmlns:a16="http://schemas.microsoft.com/office/drawing/2014/main" id="{47B7BBA4-D812-578F-E3F2-6F77F43E785D}"/>
              </a:ext>
            </a:extLst>
          </p:cNvPr>
          <p:cNvCxnSpPr>
            <a:cxnSpLocks/>
          </p:cNvCxnSpPr>
          <p:nvPr/>
        </p:nvCxnSpPr>
        <p:spPr bwMode="auto">
          <a:xfrm>
            <a:off x="8556808" y="4861497"/>
            <a:ext cx="37362" cy="0"/>
          </a:xfrm>
          <a:prstGeom prst="line">
            <a:avLst/>
          </a:prstGeom>
          <a:solidFill>
            <a:schemeClr val="bg1"/>
          </a:solidFill>
          <a:ln w="28575" cap="rnd" cmpd="sng" algn="ctr">
            <a:solidFill>
              <a:srgbClr val="ABBCC5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6" name="Straight Connector 315">
            <a:extLst>
              <a:ext uri="{FF2B5EF4-FFF2-40B4-BE49-F238E27FC236}">
                <a16:creationId xmlns:a16="http://schemas.microsoft.com/office/drawing/2014/main" id="{E8B953BA-8285-5A51-D2ED-1B5533ED08D0}"/>
              </a:ext>
            </a:extLst>
          </p:cNvPr>
          <p:cNvCxnSpPr>
            <a:cxnSpLocks/>
          </p:cNvCxnSpPr>
          <p:nvPr/>
        </p:nvCxnSpPr>
        <p:spPr bwMode="auto">
          <a:xfrm>
            <a:off x="8556808" y="4583441"/>
            <a:ext cx="37362" cy="0"/>
          </a:xfrm>
          <a:prstGeom prst="line">
            <a:avLst/>
          </a:prstGeom>
          <a:solidFill>
            <a:schemeClr val="bg1"/>
          </a:solidFill>
          <a:ln w="28575" cap="rnd" cmpd="sng" algn="ctr">
            <a:solidFill>
              <a:srgbClr val="ABBCC5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7" name="Oval 296">
            <a:extLst>
              <a:ext uri="{FF2B5EF4-FFF2-40B4-BE49-F238E27FC236}">
                <a16:creationId xmlns:a16="http://schemas.microsoft.com/office/drawing/2014/main" id="{1DE5A545-80B3-85D0-760F-4F16C77286A0}"/>
              </a:ext>
            </a:extLst>
          </p:cNvPr>
          <p:cNvSpPr/>
          <p:nvPr/>
        </p:nvSpPr>
        <p:spPr>
          <a:xfrm>
            <a:off x="8466888" y="4613870"/>
            <a:ext cx="216745" cy="216741"/>
          </a:xfrm>
          <a:prstGeom prst="ellipse">
            <a:avLst/>
          </a:prstGeom>
          <a:solidFill>
            <a:schemeClr val="bg1"/>
          </a:solidFill>
          <a:ln w="28575" cap="rnd">
            <a:solidFill>
              <a:srgbClr val="ABBCC5"/>
            </a:solidFill>
            <a:round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98" name="Oval 297">
            <a:extLst>
              <a:ext uri="{FF2B5EF4-FFF2-40B4-BE49-F238E27FC236}">
                <a16:creationId xmlns:a16="http://schemas.microsoft.com/office/drawing/2014/main" id="{763CB604-7C0E-DC7F-998D-608259AD1723}"/>
              </a:ext>
            </a:extLst>
          </p:cNvPr>
          <p:cNvSpPr/>
          <p:nvPr/>
        </p:nvSpPr>
        <p:spPr>
          <a:xfrm>
            <a:off x="8496939" y="4690030"/>
            <a:ext cx="66162" cy="66160"/>
          </a:xfrm>
          <a:prstGeom prst="ellipse">
            <a:avLst/>
          </a:prstGeom>
          <a:solidFill>
            <a:schemeClr val="bg1"/>
          </a:solidFill>
          <a:ln w="28575" cap="rnd">
            <a:solidFill>
              <a:srgbClr val="ABBCC5"/>
            </a:solidFill>
            <a:round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01" name="Oval 300">
            <a:extLst>
              <a:ext uri="{FF2B5EF4-FFF2-40B4-BE49-F238E27FC236}">
                <a16:creationId xmlns:a16="http://schemas.microsoft.com/office/drawing/2014/main" id="{A51B4058-AB92-9405-F6E6-D994ED672EDC}"/>
              </a:ext>
            </a:extLst>
          </p:cNvPr>
          <p:cNvSpPr/>
          <p:nvPr/>
        </p:nvSpPr>
        <p:spPr>
          <a:xfrm>
            <a:off x="8583312" y="4678354"/>
            <a:ext cx="40741" cy="40740"/>
          </a:xfrm>
          <a:prstGeom prst="ellipse">
            <a:avLst/>
          </a:prstGeom>
          <a:solidFill>
            <a:schemeClr val="bg1"/>
          </a:solidFill>
          <a:ln w="28575" cap="rnd">
            <a:solidFill>
              <a:srgbClr val="ABBCC5"/>
            </a:solidFill>
            <a:round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42" name="Arc 241">
            <a:extLst>
              <a:ext uri="{FF2B5EF4-FFF2-40B4-BE49-F238E27FC236}">
                <a16:creationId xmlns:a16="http://schemas.microsoft.com/office/drawing/2014/main" id="{480093BE-BE8E-F807-8777-FC6E6098C616}"/>
              </a:ext>
            </a:extLst>
          </p:cNvPr>
          <p:cNvSpPr/>
          <p:nvPr/>
        </p:nvSpPr>
        <p:spPr>
          <a:xfrm>
            <a:off x="7865154" y="3040935"/>
            <a:ext cx="2645079" cy="2340978"/>
          </a:xfrm>
          <a:prstGeom prst="arc">
            <a:avLst>
              <a:gd name="adj1" fmla="val 11185764"/>
              <a:gd name="adj2" fmla="val 0"/>
            </a:avLst>
          </a:prstGeom>
          <a:ln w="28575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66" name="TextBox 365">
            <a:extLst>
              <a:ext uri="{FF2B5EF4-FFF2-40B4-BE49-F238E27FC236}">
                <a16:creationId xmlns:a16="http://schemas.microsoft.com/office/drawing/2014/main" id="{33459A4D-9070-7EBE-9338-0CE826F78B58}"/>
              </a:ext>
            </a:extLst>
          </p:cNvPr>
          <p:cNvSpPr txBox="1"/>
          <p:nvPr/>
        </p:nvSpPr>
        <p:spPr>
          <a:xfrm>
            <a:off x="10653486" y="3970049"/>
            <a:ext cx="1101792" cy="306467"/>
          </a:xfrm>
          <a:prstGeom prst="round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vailability?</a:t>
            </a:r>
          </a:p>
        </p:txBody>
      </p:sp>
      <p:sp>
        <p:nvSpPr>
          <p:cNvPr id="367" name="TextBox 366">
            <a:extLst>
              <a:ext uri="{FF2B5EF4-FFF2-40B4-BE49-F238E27FC236}">
                <a16:creationId xmlns:a16="http://schemas.microsoft.com/office/drawing/2014/main" id="{3495EB86-78F9-7771-FDD0-0CB441B4C0FB}"/>
              </a:ext>
            </a:extLst>
          </p:cNvPr>
          <p:cNvSpPr txBox="1"/>
          <p:nvPr/>
        </p:nvSpPr>
        <p:spPr>
          <a:xfrm>
            <a:off x="7017292" y="3910296"/>
            <a:ext cx="776163" cy="306467"/>
          </a:xfrm>
          <a:prstGeom prst="round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iming?</a:t>
            </a:r>
          </a:p>
        </p:txBody>
      </p:sp>
      <p:sp>
        <p:nvSpPr>
          <p:cNvPr id="368" name="TextBox 367">
            <a:extLst>
              <a:ext uri="{FF2B5EF4-FFF2-40B4-BE49-F238E27FC236}">
                <a16:creationId xmlns:a16="http://schemas.microsoft.com/office/drawing/2014/main" id="{2EC88D7C-4173-CBBB-80A4-BAE257F144D4}"/>
              </a:ext>
            </a:extLst>
          </p:cNvPr>
          <p:cNvSpPr txBox="1"/>
          <p:nvPr/>
        </p:nvSpPr>
        <p:spPr>
          <a:xfrm>
            <a:off x="10030593" y="3006289"/>
            <a:ext cx="1614452" cy="306467"/>
          </a:xfrm>
          <a:prstGeom prst="round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eimbursement?</a:t>
            </a:r>
          </a:p>
        </p:txBody>
      </p:sp>
      <p:sp>
        <p:nvSpPr>
          <p:cNvPr id="369" name="TextBox 368">
            <a:extLst>
              <a:ext uri="{FF2B5EF4-FFF2-40B4-BE49-F238E27FC236}">
                <a16:creationId xmlns:a16="http://schemas.microsoft.com/office/drawing/2014/main" id="{D26C6F7C-E446-A7B4-AF88-5D8CCCD4DA8F}"/>
              </a:ext>
            </a:extLst>
          </p:cNvPr>
          <p:cNvSpPr txBox="1"/>
          <p:nvPr/>
        </p:nvSpPr>
        <p:spPr>
          <a:xfrm>
            <a:off x="6622867" y="3438062"/>
            <a:ext cx="1324793" cy="306467"/>
          </a:xfrm>
          <a:prstGeom prst="round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Biomarkers?</a:t>
            </a:r>
          </a:p>
        </p:txBody>
      </p:sp>
      <p:sp>
        <p:nvSpPr>
          <p:cNvPr id="370" name="TextBox 369">
            <a:extLst>
              <a:ext uri="{FF2B5EF4-FFF2-40B4-BE49-F238E27FC236}">
                <a16:creationId xmlns:a16="http://schemas.microsoft.com/office/drawing/2014/main" id="{6C5ECB1E-6C6C-5C93-21D7-AC0BDFA2B587}"/>
              </a:ext>
            </a:extLst>
          </p:cNvPr>
          <p:cNvSpPr txBox="1"/>
          <p:nvPr/>
        </p:nvSpPr>
        <p:spPr>
          <a:xfrm>
            <a:off x="10450890" y="3438062"/>
            <a:ext cx="1324793" cy="306467"/>
          </a:xfrm>
          <a:prstGeom prst="round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equencing?</a:t>
            </a:r>
          </a:p>
        </p:txBody>
      </p:sp>
      <p:sp>
        <p:nvSpPr>
          <p:cNvPr id="371" name="TextBox 370">
            <a:extLst>
              <a:ext uri="{FF2B5EF4-FFF2-40B4-BE49-F238E27FC236}">
                <a16:creationId xmlns:a16="http://schemas.microsoft.com/office/drawing/2014/main" id="{D717033B-B91B-C002-7E22-FA3A5881987B}"/>
              </a:ext>
            </a:extLst>
          </p:cNvPr>
          <p:cNvSpPr txBox="1"/>
          <p:nvPr/>
        </p:nvSpPr>
        <p:spPr>
          <a:xfrm>
            <a:off x="6874845" y="3016239"/>
            <a:ext cx="1508576" cy="306467"/>
          </a:xfrm>
          <a:prstGeom prst="round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For which patient?</a:t>
            </a:r>
          </a:p>
        </p:txBody>
      </p:sp>
      <p:sp>
        <p:nvSpPr>
          <p:cNvPr id="372" name="TextBox 371">
            <a:extLst>
              <a:ext uri="{FF2B5EF4-FFF2-40B4-BE49-F238E27FC236}">
                <a16:creationId xmlns:a16="http://schemas.microsoft.com/office/drawing/2014/main" id="{9E3C0045-031C-C94B-6BC4-DDDB4BBAB8C3}"/>
              </a:ext>
            </a:extLst>
          </p:cNvPr>
          <p:cNvSpPr txBox="1"/>
          <p:nvPr/>
        </p:nvSpPr>
        <p:spPr>
          <a:xfrm>
            <a:off x="8532097" y="2645356"/>
            <a:ext cx="1416566" cy="306467"/>
          </a:xfrm>
          <a:prstGeom prst="round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Which therapy?</a:t>
            </a:r>
          </a:p>
        </p:txBody>
      </p:sp>
      <p:sp>
        <p:nvSpPr>
          <p:cNvPr id="373" name="Oval 372">
            <a:extLst>
              <a:ext uri="{FF2B5EF4-FFF2-40B4-BE49-F238E27FC236}">
                <a16:creationId xmlns:a16="http://schemas.microsoft.com/office/drawing/2014/main" id="{1B4A4197-D840-E0EA-3DC9-C78C977E36C6}"/>
              </a:ext>
            </a:extLst>
          </p:cNvPr>
          <p:cNvSpPr/>
          <p:nvPr/>
        </p:nvSpPr>
        <p:spPr>
          <a:xfrm>
            <a:off x="7805077" y="3947507"/>
            <a:ext cx="172621" cy="172621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74" name="Oval 373">
            <a:extLst>
              <a:ext uri="{FF2B5EF4-FFF2-40B4-BE49-F238E27FC236}">
                <a16:creationId xmlns:a16="http://schemas.microsoft.com/office/drawing/2014/main" id="{0330C28B-BBED-9E49-0AC9-D829B69A122C}"/>
              </a:ext>
            </a:extLst>
          </p:cNvPr>
          <p:cNvSpPr/>
          <p:nvPr/>
        </p:nvSpPr>
        <p:spPr>
          <a:xfrm>
            <a:off x="7977698" y="3522594"/>
            <a:ext cx="172621" cy="172621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75" name="Oval 374">
            <a:extLst>
              <a:ext uri="{FF2B5EF4-FFF2-40B4-BE49-F238E27FC236}">
                <a16:creationId xmlns:a16="http://schemas.microsoft.com/office/drawing/2014/main" id="{4A03258A-89D4-881F-4E93-315BEAC37AA2}"/>
              </a:ext>
            </a:extLst>
          </p:cNvPr>
          <p:cNvSpPr/>
          <p:nvPr/>
        </p:nvSpPr>
        <p:spPr>
          <a:xfrm>
            <a:off x="8342858" y="3170713"/>
            <a:ext cx="172621" cy="172621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76" name="Oval 375">
            <a:extLst>
              <a:ext uri="{FF2B5EF4-FFF2-40B4-BE49-F238E27FC236}">
                <a16:creationId xmlns:a16="http://schemas.microsoft.com/office/drawing/2014/main" id="{F815B039-1D4B-5450-28D0-7C64E48CB378}"/>
              </a:ext>
            </a:extLst>
          </p:cNvPr>
          <p:cNvSpPr/>
          <p:nvPr/>
        </p:nvSpPr>
        <p:spPr>
          <a:xfrm>
            <a:off x="9126291" y="2964896"/>
            <a:ext cx="172621" cy="172621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77" name="Oval 376">
            <a:extLst>
              <a:ext uri="{FF2B5EF4-FFF2-40B4-BE49-F238E27FC236}">
                <a16:creationId xmlns:a16="http://schemas.microsoft.com/office/drawing/2014/main" id="{3DBC11C5-5D8D-D7B8-B2B8-69D3580B838B}"/>
              </a:ext>
            </a:extLst>
          </p:cNvPr>
          <p:cNvSpPr/>
          <p:nvPr/>
        </p:nvSpPr>
        <p:spPr>
          <a:xfrm>
            <a:off x="9863250" y="3177352"/>
            <a:ext cx="172621" cy="172621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78" name="Oval 377">
            <a:extLst>
              <a:ext uri="{FF2B5EF4-FFF2-40B4-BE49-F238E27FC236}">
                <a16:creationId xmlns:a16="http://schemas.microsoft.com/office/drawing/2014/main" id="{06814130-3C96-0CC2-C0FE-C133C6C7A2DD}"/>
              </a:ext>
            </a:extLst>
          </p:cNvPr>
          <p:cNvSpPr/>
          <p:nvPr/>
        </p:nvSpPr>
        <p:spPr>
          <a:xfrm>
            <a:off x="10288163" y="3582348"/>
            <a:ext cx="172621" cy="172621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79" name="Oval 378">
            <a:extLst>
              <a:ext uri="{FF2B5EF4-FFF2-40B4-BE49-F238E27FC236}">
                <a16:creationId xmlns:a16="http://schemas.microsoft.com/office/drawing/2014/main" id="{318DC13B-55CC-D5F9-A6D6-6BE10EBF505D}"/>
              </a:ext>
            </a:extLst>
          </p:cNvPr>
          <p:cNvSpPr/>
          <p:nvPr/>
        </p:nvSpPr>
        <p:spPr>
          <a:xfrm>
            <a:off x="10440866" y="4060375"/>
            <a:ext cx="172621" cy="172621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DDF6BFF-B117-5E79-6566-3A1D706D2B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0647" y="311858"/>
            <a:ext cx="10259542" cy="632402"/>
          </a:xfrm>
        </p:spPr>
        <p:txBody>
          <a:bodyPr/>
          <a:lstStyle/>
          <a:p>
            <a:r>
              <a:rPr lang="en-GB" sz="3200" dirty="0">
                <a:latin typeface="+mn-lt"/>
              </a:rPr>
              <a:t>The frontline of the future will define our next moves in DLBCL, with increased complexity</a:t>
            </a:r>
            <a:r>
              <a:rPr lang="en-GB" sz="3200" baseline="30000" dirty="0">
                <a:latin typeface="+mn-lt"/>
              </a:rPr>
              <a:t>1,2,</a:t>
            </a:r>
            <a:r>
              <a:rPr lang="en-GB" sz="3200" dirty="0">
                <a:latin typeface="+mn-lt"/>
              </a:rPr>
              <a:t>*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62BC7A-F337-32BA-52D5-F88EBC492F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01CC8E-1CEF-6746-999E-CF29FF00B1D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82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6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F4A4F63-F184-7A4B-04A0-CCAC9427CA5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70645" y="6107279"/>
            <a:ext cx="10440000" cy="612672"/>
          </a:xfrm>
        </p:spPr>
        <p:txBody>
          <a:bodyPr/>
          <a:lstStyle/>
          <a:p>
            <a:r>
              <a:rPr lang="en-GB" dirty="0"/>
              <a:t>*Subject to regulatory approval. CAR-T, chimeric antigen receptor T-cell</a:t>
            </a:r>
            <a:r>
              <a:rPr lang="en-CH" dirty="0"/>
              <a:t> therapy</a:t>
            </a:r>
            <a:r>
              <a:rPr lang="en-GB" dirty="0"/>
              <a:t>; DLBCL, diffuse large B-cell lymphoma; Pola</a:t>
            </a:r>
            <a:r>
              <a:rPr lang="en-CH" dirty="0"/>
              <a:t>-R</a:t>
            </a:r>
            <a:r>
              <a:rPr lang="en-GB" dirty="0"/>
              <a:t>-CHP, </a:t>
            </a:r>
            <a:r>
              <a:rPr lang="en-GB" dirty="0" err="1"/>
              <a:t>polatuzumab</a:t>
            </a:r>
            <a:r>
              <a:rPr lang="en-GB" dirty="0"/>
              <a:t> vedotin, rituximab, cyclophosphamide, doxorubicin and prednisone; R-CHOP, rituximab, cyclophosphamide, doxorubicin, vincristine and prednisone; R/R, relapsed or refractory; Tafa</a:t>
            </a:r>
            <a:r>
              <a:rPr lang="en-CH" dirty="0"/>
              <a:t>-</a:t>
            </a:r>
            <a:r>
              <a:rPr lang="en-GB" dirty="0"/>
              <a:t>Len, tafasitamab and lenalidomide; </a:t>
            </a:r>
            <a:r>
              <a:rPr lang="en-CH" dirty="0"/>
              <a:t>X, genotype-guided therapy; </a:t>
            </a:r>
            <a:r>
              <a:rPr lang="en-GB" dirty="0"/>
              <a:t>ZR</a:t>
            </a:r>
            <a:r>
              <a:rPr lang="en-GB" baseline="30000" dirty="0"/>
              <a:t>2</a:t>
            </a:r>
            <a:r>
              <a:rPr lang="en-GB" dirty="0"/>
              <a:t>, </a:t>
            </a:r>
            <a:r>
              <a:rPr lang="en-GB" dirty="0" err="1"/>
              <a:t>zanubrutinib</a:t>
            </a:r>
            <a:r>
              <a:rPr lang="en-GB" dirty="0"/>
              <a:t>, rituximab and lenalidomide. </a:t>
            </a:r>
          </a:p>
          <a:p>
            <a:r>
              <a:rPr lang="en-GB" b="1" dirty="0"/>
              <a:t>1.</a:t>
            </a:r>
            <a:r>
              <a:rPr lang="en-GB" dirty="0"/>
              <a:t> Qualls et al. </a:t>
            </a:r>
            <a:r>
              <a:rPr lang="en-GB" i="1" dirty="0"/>
              <a:t>Blood </a:t>
            </a:r>
            <a:r>
              <a:rPr lang="en-GB" dirty="0"/>
              <a:t>2025 </a:t>
            </a:r>
            <a:r>
              <a:rPr lang="en-GB" b="1" dirty="0"/>
              <a:t>2. </a:t>
            </a:r>
            <a:r>
              <a:rPr lang="en-GB" dirty="0"/>
              <a:t>Brooks &amp; Caimi. </a:t>
            </a:r>
            <a:r>
              <a:rPr lang="en-GB" i="1" dirty="0"/>
              <a:t>Blood Rev </a:t>
            </a:r>
            <a:r>
              <a:rPr lang="en-GB" dirty="0"/>
              <a:t>2024.</a:t>
            </a:r>
          </a:p>
        </p:txBody>
      </p:sp>
      <p:graphicFrame>
        <p:nvGraphicFramePr>
          <p:cNvPr id="48" name="Table 0">
            <a:extLst>
              <a:ext uri="{FF2B5EF4-FFF2-40B4-BE49-F238E27FC236}">
                <a16:creationId xmlns:a16="http://schemas.microsoft.com/office/drawing/2014/main" id="{66484AC0-FE89-6364-6594-0D42F66D8473}"/>
              </a:ext>
            </a:extLst>
          </p:cNvPr>
          <p:cNvGraphicFramePr>
            <a:graphicFrameLocks noGrp="1"/>
          </p:cNvGraphicFramePr>
          <p:nvPr/>
        </p:nvGraphicFramePr>
        <p:xfrm>
          <a:off x="546955" y="2383083"/>
          <a:ext cx="5291109" cy="2926080"/>
        </p:xfrm>
        <a:graphic>
          <a:graphicData uri="http://schemas.openxmlformats.org/drawingml/2006/table">
            <a:tbl>
              <a:tblPr/>
              <a:tblGrid>
                <a:gridCol w="13288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96225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86498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GB" sz="1200" b="0" dirty="0">
                          <a:solidFill>
                            <a:schemeClr val="bg1"/>
                          </a:solidFill>
                          <a:latin typeface="+mn-lt"/>
                          <a:ea typeface="Calibri" pitchFamily="34" charset="-122"/>
                          <a:cs typeface="Calibri" pitchFamily="34" charset="-120"/>
                        </a:rPr>
                        <a:t>POLARIX</a:t>
                      </a:r>
                      <a:endParaRPr lang="en-GB" sz="1200" b="0" dirty="0">
                        <a:solidFill>
                          <a:schemeClr val="bg1"/>
                        </a:solidFill>
                        <a:latin typeface="+mn-lt"/>
                        <a:ea typeface="Calibri" charset="0"/>
                        <a:cs typeface="Calibri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108000" indent="0" algn="l">
                        <a:buNone/>
                      </a:pPr>
                      <a:r>
                        <a:rPr lang="en-GB" sz="1200" dirty="0">
                          <a:solidFill>
                            <a:srgbClr val="4A5568"/>
                          </a:solidFill>
                          <a:latin typeface="+mn-lt"/>
                          <a:ea typeface="Calibri" pitchFamily="34" charset="-122"/>
                          <a:cs typeface="Calibri" pitchFamily="34" charset="-120"/>
                        </a:rPr>
                        <a:t>Pola</a:t>
                      </a:r>
                      <a:r>
                        <a:rPr lang="en-CH" sz="1200" dirty="0">
                          <a:solidFill>
                            <a:srgbClr val="4A5568"/>
                          </a:solidFill>
                          <a:latin typeface="+mn-lt"/>
                          <a:ea typeface="Calibri" pitchFamily="34" charset="-122"/>
                          <a:cs typeface="Calibri" pitchFamily="34" charset="-120"/>
                        </a:rPr>
                        <a:t>-R</a:t>
                      </a:r>
                      <a:r>
                        <a:rPr lang="en-GB" sz="1200" dirty="0">
                          <a:solidFill>
                            <a:srgbClr val="4A5568"/>
                          </a:solidFill>
                          <a:latin typeface="+mn-lt"/>
                          <a:ea typeface="Calibri" pitchFamily="34" charset="-122"/>
                          <a:cs typeface="Calibri" pitchFamily="34" charset="-120"/>
                        </a:rPr>
                        <a:t>-CHP</a:t>
                      </a:r>
                      <a:endParaRPr lang="en-GB" sz="1200" dirty="0">
                        <a:latin typeface="+mn-lt"/>
                        <a:ea typeface="Calibri" charset="0"/>
                        <a:cs typeface="Calibri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6498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GB" sz="1200" b="0" dirty="0">
                          <a:solidFill>
                            <a:schemeClr val="bg1"/>
                          </a:solidFill>
                          <a:latin typeface="+mn-lt"/>
                          <a:ea typeface="Calibri" pitchFamily="34" charset="-122"/>
                          <a:cs typeface="Calibri" pitchFamily="34" charset="-120"/>
                        </a:rPr>
                        <a:t>ENGINE1</a:t>
                      </a:r>
                      <a:endParaRPr lang="en-GB" sz="1200" b="0" dirty="0">
                        <a:solidFill>
                          <a:schemeClr val="bg1"/>
                        </a:solidFill>
                        <a:latin typeface="+mn-lt"/>
                        <a:ea typeface="Calibri" charset="0"/>
                        <a:cs typeface="Calibri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08000" indent="0" algn="l">
                        <a:buNone/>
                      </a:pPr>
                      <a:r>
                        <a:rPr lang="en-GB" sz="1200">
                          <a:solidFill>
                            <a:srgbClr val="4A5568"/>
                          </a:solidFill>
                          <a:latin typeface="+mn-lt"/>
                          <a:ea typeface="Calibri" pitchFamily="34" charset="-122"/>
                          <a:cs typeface="Calibri" pitchFamily="34" charset="-120"/>
                        </a:rPr>
                        <a:t>R-CHOP + enzastaurin</a:t>
                      </a:r>
                      <a:endParaRPr lang="en-GB" sz="1200" dirty="0">
                        <a:latin typeface="+mn-lt"/>
                        <a:ea typeface="Calibri" charset="0"/>
                        <a:cs typeface="Calibri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6498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GB" sz="1200" b="0" kern="1200" dirty="0">
                          <a:solidFill>
                            <a:schemeClr val="bg1"/>
                          </a:solidFill>
                          <a:latin typeface="+mn-lt"/>
                          <a:ea typeface="Calibri" pitchFamily="34" charset="-122"/>
                          <a:cs typeface="Calibri" pitchFamily="34" charset="-120"/>
                        </a:rPr>
                        <a:t>NCT04231448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08000" indent="0" algn="l">
                        <a:buNone/>
                      </a:pPr>
                      <a:r>
                        <a:rPr lang="en-GB" sz="1200">
                          <a:solidFill>
                            <a:srgbClr val="4A5568"/>
                          </a:solidFill>
                          <a:latin typeface="+mn-lt"/>
                          <a:ea typeface="Calibri" pitchFamily="34" charset="-122"/>
                          <a:cs typeface="Calibri" pitchFamily="34" charset="-120"/>
                        </a:rPr>
                        <a:t>R-CHOP + tucidinostat</a:t>
                      </a:r>
                      <a:endParaRPr lang="en-GB" sz="1200" dirty="0">
                        <a:latin typeface="+mn-lt"/>
                        <a:ea typeface="Calibri" charset="0"/>
                        <a:cs typeface="Calibri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6498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GB" sz="1200" b="0" dirty="0">
                          <a:solidFill>
                            <a:schemeClr val="bg1"/>
                          </a:solidFill>
                          <a:latin typeface="+mn-lt"/>
                          <a:ea typeface="Calibri" pitchFamily="34" charset="-122"/>
                          <a:cs typeface="Calibri" pitchFamily="34" charset="-120"/>
                        </a:rPr>
                        <a:t>POLAR BEAR</a:t>
                      </a:r>
                      <a:endParaRPr lang="en-GB" sz="1200" b="0" dirty="0">
                        <a:solidFill>
                          <a:schemeClr val="bg1"/>
                        </a:solidFill>
                        <a:latin typeface="+mn-lt"/>
                        <a:ea typeface="Calibri" charset="0"/>
                        <a:cs typeface="Calibri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08000" indent="0" algn="l">
                        <a:buNone/>
                      </a:pPr>
                      <a:r>
                        <a:rPr lang="en-GB" sz="1200" dirty="0">
                          <a:solidFill>
                            <a:srgbClr val="4A5568"/>
                          </a:solidFill>
                          <a:latin typeface="+mn-lt"/>
                          <a:ea typeface="Calibri" pitchFamily="34" charset="-122"/>
                          <a:cs typeface="Calibri" pitchFamily="34" charset="-120"/>
                        </a:rPr>
                        <a:t>Pola-R-mini-CHP</a:t>
                      </a:r>
                      <a:endParaRPr lang="en-GB" sz="1200" dirty="0">
                        <a:latin typeface="+mn-lt"/>
                        <a:ea typeface="Calibri" charset="0"/>
                        <a:cs typeface="Calibri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86498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GB" sz="1200" b="0" dirty="0">
                          <a:solidFill>
                            <a:schemeClr val="bg1"/>
                          </a:solidFill>
                          <a:latin typeface="+mn-lt"/>
                          <a:ea typeface="Calibri" pitchFamily="34" charset="-122"/>
                          <a:cs typeface="Calibri" pitchFamily="34" charset="-120"/>
                        </a:rPr>
                        <a:t>ESCALADE</a:t>
                      </a:r>
                      <a:endParaRPr lang="en-GB" sz="1200" b="0" dirty="0">
                        <a:solidFill>
                          <a:schemeClr val="bg1"/>
                        </a:solidFill>
                        <a:latin typeface="+mn-lt"/>
                        <a:ea typeface="Calibri" charset="0"/>
                        <a:cs typeface="Calibri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08000" indent="0" algn="l">
                        <a:buNone/>
                      </a:pPr>
                      <a:r>
                        <a:rPr lang="en-GB" sz="1200" dirty="0">
                          <a:solidFill>
                            <a:srgbClr val="4A5568"/>
                          </a:solidFill>
                          <a:latin typeface="+mn-lt"/>
                          <a:ea typeface="Calibri" pitchFamily="34" charset="-122"/>
                          <a:cs typeface="Calibri" pitchFamily="34" charset="-120"/>
                        </a:rPr>
                        <a:t>R-CHOP + acalabrutinib</a:t>
                      </a:r>
                      <a:endParaRPr lang="en-GB" sz="1200" dirty="0">
                        <a:latin typeface="+mn-lt"/>
                        <a:ea typeface="Calibri" charset="0"/>
                        <a:cs typeface="Calibri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86498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GB" sz="1200" b="0">
                          <a:solidFill>
                            <a:schemeClr val="bg1"/>
                          </a:solidFill>
                          <a:latin typeface="+mn-lt"/>
                          <a:ea typeface="Calibri" pitchFamily="34" charset="-122"/>
                          <a:cs typeface="Calibri" pitchFamily="34" charset="-120"/>
                        </a:rPr>
                        <a:t>frontMIND</a:t>
                      </a:r>
                      <a:endParaRPr lang="en-GB" sz="1200" b="0" dirty="0">
                        <a:solidFill>
                          <a:schemeClr val="bg1"/>
                        </a:solidFill>
                        <a:latin typeface="+mn-lt"/>
                        <a:ea typeface="Calibri" charset="0"/>
                        <a:cs typeface="Calibri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108000" indent="0" algn="l">
                        <a:buNone/>
                      </a:pPr>
                      <a:r>
                        <a:rPr lang="en-GB" sz="1200" kern="1200" dirty="0">
                          <a:solidFill>
                            <a:srgbClr val="4A5568"/>
                          </a:solidFill>
                          <a:latin typeface="+mn-lt"/>
                          <a:ea typeface="Calibri" pitchFamily="34" charset="-122"/>
                          <a:cs typeface="Calibri" pitchFamily="34" charset="-120"/>
                        </a:rPr>
                        <a:t>R-CHOP + Tafa</a:t>
                      </a:r>
                      <a:r>
                        <a:rPr lang="en-CH" sz="1200" kern="1200" dirty="0">
                          <a:solidFill>
                            <a:srgbClr val="4A5568"/>
                          </a:solidFill>
                          <a:latin typeface="+mn-lt"/>
                          <a:ea typeface="Calibri" pitchFamily="34" charset="-122"/>
                          <a:cs typeface="Calibri" pitchFamily="34" charset="-120"/>
                        </a:rPr>
                        <a:t>-</a:t>
                      </a:r>
                      <a:r>
                        <a:rPr lang="en-GB" sz="1200" kern="1200" dirty="0">
                          <a:solidFill>
                            <a:srgbClr val="4A5568"/>
                          </a:solidFill>
                          <a:latin typeface="+mn-lt"/>
                          <a:ea typeface="Calibri" pitchFamily="34" charset="-122"/>
                          <a:cs typeface="Calibri" pitchFamily="34" charset="-120"/>
                        </a:rPr>
                        <a:t>Len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86498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GB" sz="1200" b="0" dirty="0">
                          <a:solidFill>
                            <a:schemeClr val="bg1"/>
                          </a:solidFill>
                          <a:latin typeface="+mn-lt"/>
                          <a:ea typeface="Calibri" pitchFamily="34" charset="-122"/>
                          <a:cs typeface="Calibri" pitchFamily="34" charset="-120"/>
                        </a:rPr>
                        <a:t>SWOG 1918</a:t>
                      </a:r>
                      <a:endParaRPr lang="en-GB" sz="1200" b="0" dirty="0">
                        <a:solidFill>
                          <a:schemeClr val="bg1"/>
                        </a:solidFill>
                        <a:latin typeface="+mn-lt"/>
                        <a:ea typeface="Calibri" charset="0"/>
                        <a:cs typeface="Calibri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08000" indent="0" algn="l">
                        <a:buNone/>
                      </a:pPr>
                      <a:r>
                        <a:rPr lang="en-GB" sz="1200" kern="1200" dirty="0">
                          <a:solidFill>
                            <a:srgbClr val="4A5568"/>
                          </a:solidFill>
                          <a:latin typeface="+mn-lt"/>
                          <a:ea typeface="Calibri" pitchFamily="34" charset="-122"/>
                          <a:cs typeface="Calibri" pitchFamily="34" charset="-120"/>
                        </a:rPr>
                        <a:t>R-mini-CHOP + oral azacitidine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86498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GB" sz="1200" b="0" dirty="0">
                          <a:solidFill>
                            <a:schemeClr val="bg1"/>
                          </a:solidFill>
                          <a:latin typeface="+mn-lt"/>
                          <a:ea typeface="Calibri" charset="0"/>
                          <a:cs typeface="Calibri" charset="0"/>
                        </a:rPr>
                        <a:t>NCT05179733</a:t>
                      </a:r>
                      <a:endParaRPr lang="en-GB" sz="1200" b="0" dirty="0">
                        <a:solidFill>
                          <a:schemeClr val="bg1"/>
                        </a:solidFill>
                        <a:highlight>
                          <a:srgbClr val="00FFFF"/>
                        </a:highlight>
                        <a:latin typeface="+mn-lt"/>
                        <a:ea typeface="Calibri" charset="0"/>
                        <a:cs typeface="Calibri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08000" indent="0" algn="l">
                        <a:buNone/>
                      </a:pPr>
                      <a:r>
                        <a:rPr lang="en-GB" sz="1200" kern="1200" dirty="0">
                          <a:solidFill>
                            <a:srgbClr val="4A5568"/>
                          </a:solidFill>
                          <a:latin typeface="+mn-lt"/>
                          <a:ea typeface="Calibri" pitchFamily="34" charset="-122"/>
                          <a:cs typeface="Calibri" pitchFamily="34" charset="-120"/>
                        </a:rPr>
                        <a:t>ZR</a:t>
                      </a:r>
                      <a:r>
                        <a:rPr lang="en-GB" sz="1200" kern="1200" baseline="30000" dirty="0">
                          <a:solidFill>
                            <a:srgbClr val="4A5568"/>
                          </a:solidFill>
                          <a:latin typeface="+mn-lt"/>
                          <a:ea typeface="Calibri" pitchFamily="34" charset="-122"/>
                          <a:cs typeface="Calibri" pitchFamily="34" charset="-120"/>
                        </a:rPr>
                        <a:t>2</a:t>
                      </a:r>
                      <a:r>
                        <a:rPr lang="en-GB" sz="1200" kern="1200" dirty="0">
                          <a:solidFill>
                            <a:srgbClr val="4A5568"/>
                          </a:solidFill>
                          <a:latin typeface="+mn-lt"/>
                          <a:ea typeface="Calibri" pitchFamily="34" charset="-122"/>
                          <a:cs typeface="Calibri" pitchFamily="34" charset="-120"/>
                        </a:rPr>
                        <a:t> in elderly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07556795"/>
                  </a:ext>
                </a:extLst>
              </a:tr>
              <a:tr h="86498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GB" sz="1200" b="0" dirty="0">
                          <a:solidFill>
                            <a:schemeClr val="bg1"/>
                          </a:solidFill>
                          <a:latin typeface="+mn-lt"/>
                          <a:ea typeface="Calibri" pitchFamily="34" charset="-122"/>
                          <a:cs typeface="Calibri" pitchFamily="34" charset="-120"/>
                        </a:rPr>
                        <a:t>GUIDANCE-02</a:t>
                      </a:r>
                      <a:endParaRPr lang="en-GB" sz="1200" b="0" dirty="0">
                        <a:solidFill>
                          <a:schemeClr val="bg1"/>
                        </a:solidFill>
                        <a:latin typeface="+mn-lt"/>
                        <a:ea typeface="Calibri" charset="0"/>
                        <a:cs typeface="Calibri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294A5"/>
                    </a:solidFill>
                  </a:tcPr>
                </a:tc>
                <a:tc>
                  <a:txBody>
                    <a:bodyPr/>
                    <a:lstStyle/>
                    <a:p>
                      <a:pPr marL="108000" indent="0" algn="l">
                        <a:buNone/>
                      </a:pPr>
                      <a:r>
                        <a:rPr lang="en-GB" sz="1200" kern="1200" dirty="0">
                          <a:solidFill>
                            <a:srgbClr val="4A5568"/>
                          </a:solidFill>
                          <a:latin typeface="+mn-lt"/>
                          <a:ea typeface="Calibri" pitchFamily="34" charset="-122"/>
                          <a:cs typeface="Calibri" pitchFamily="34" charset="-120"/>
                        </a:rPr>
                        <a:t>R-CHOP + X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86498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GB" sz="1200" b="0" dirty="0">
                          <a:solidFill>
                            <a:schemeClr val="bg1"/>
                          </a:solidFill>
                          <a:latin typeface="+mn-lt"/>
                          <a:ea typeface="Calibri" pitchFamily="34" charset="-122"/>
                          <a:cs typeface="Calibri" pitchFamily="34" charset="-120"/>
                        </a:rPr>
                        <a:t>BELIEVE-01</a:t>
                      </a:r>
                      <a:endParaRPr lang="en-GB" sz="1200" b="0" dirty="0">
                        <a:solidFill>
                          <a:schemeClr val="bg1"/>
                        </a:solidFill>
                        <a:latin typeface="+mn-lt"/>
                        <a:ea typeface="Calibri" charset="0"/>
                        <a:cs typeface="Calibri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294A5"/>
                    </a:solidFill>
                  </a:tcPr>
                </a:tc>
                <a:tc>
                  <a:txBody>
                    <a:bodyPr/>
                    <a:lstStyle/>
                    <a:p>
                      <a:pPr marL="108000" indent="0" algn="l">
                        <a:buNone/>
                      </a:pPr>
                      <a:r>
                        <a:rPr lang="en-GB" sz="1200" kern="1200">
                          <a:solidFill>
                            <a:srgbClr val="4A5568"/>
                          </a:solidFill>
                          <a:latin typeface="+mn-lt"/>
                          <a:ea typeface="Calibri" pitchFamily="34" charset="-122"/>
                          <a:cs typeface="Calibri" pitchFamily="34" charset="-120"/>
                        </a:rPr>
                        <a:t>R-CHOP +orelabrutinib</a:t>
                      </a:r>
                      <a:endParaRPr lang="en-GB" sz="1200" kern="1200" dirty="0">
                        <a:solidFill>
                          <a:srgbClr val="4A5568"/>
                        </a:solidFill>
                        <a:latin typeface="+mn-lt"/>
                        <a:ea typeface="Calibri" pitchFamily="34" charset="-122"/>
                        <a:cs typeface="Calibri" pitchFamily="34" charset="-12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86498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GB" sz="1200" b="0" dirty="0">
                          <a:solidFill>
                            <a:schemeClr val="bg1"/>
                          </a:solidFill>
                          <a:latin typeface="+mn-lt"/>
                          <a:ea typeface="Calibri" pitchFamily="34" charset="-122"/>
                          <a:cs typeface="Calibri" pitchFamily="34" charset="-120"/>
                        </a:rPr>
                        <a:t>EPCORE DLBCL-2</a:t>
                      </a:r>
                      <a:endParaRPr lang="en-GB" sz="1200" b="0" dirty="0">
                        <a:solidFill>
                          <a:schemeClr val="bg1"/>
                        </a:solidFill>
                        <a:latin typeface="+mn-lt"/>
                        <a:ea typeface="Calibri" charset="0"/>
                        <a:cs typeface="Calibri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108000" indent="0" algn="l">
                        <a:buNone/>
                      </a:pPr>
                      <a:r>
                        <a:rPr lang="en-GB" sz="1200" kern="1200" dirty="0">
                          <a:solidFill>
                            <a:srgbClr val="4A5568"/>
                          </a:solidFill>
                          <a:latin typeface="+mn-lt"/>
                          <a:ea typeface="Calibri" pitchFamily="34" charset="-122"/>
                          <a:cs typeface="Calibri" pitchFamily="34" charset="-120"/>
                        </a:rPr>
                        <a:t>R-CHOP + epcoritamab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86498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GB" sz="1200" b="0" dirty="0">
                          <a:solidFill>
                            <a:schemeClr val="bg1"/>
                          </a:solidFill>
                          <a:latin typeface="+mn-lt"/>
                          <a:ea typeface="Calibri" pitchFamily="34" charset="-122"/>
                          <a:cs typeface="Calibri" pitchFamily="34" charset="-120"/>
                        </a:rPr>
                        <a:t>ZUMA-23</a:t>
                      </a:r>
                      <a:endParaRPr lang="en-GB" sz="1200" b="0" dirty="0">
                        <a:solidFill>
                          <a:schemeClr val="bg1"/>
                        </a:solidFill>
                        <a:latin typeface="+mn-lt"/>
                        <a:ea typeface="Calibri" charset="0"/>
                        <a:cs typeface="Calibri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108000" indent="0" algn="l">
                        <a:buNone/>
                      </a:pPr>
                      <a:r>
                        <a:rPr lang="en-GB" sz="1200" kern="1200" dirty="0">
                          <a:solidFill>
                            <a:srgbClr val="4A5568"/>
                          </a:solidFill>
                          <a:latin typeface="+mn-lt"/>
                          <a:ea typeface="Calibri" pitchFamily="34" charset="-122"/>
                          <a:cs typeface="Calibri" pitchFamily="34" charset="-120"/>
                        </a:rPr>
                        <a:t>Axicabtagene ciloleucel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86498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GB" sz="1200" b="0" dirty="0">
                          <a:solidFill>
                            <a:schemeClr val="bg1"/>
                          </a:solidFill>
                          <a:latin typeface="+mn-lt"/>
                          <a:ea typeface="Calibri" pitchFamily="34" charset="-122"/>
                          <a:cs typeface="Calibri" pitchFamily="34" charset="-120"/>
                        </a:rPr>
                        <a:t>ARCHED</a:t>
                      </a:r>
                      <a:endParaRPr lang="en-GB" sz="1200" b="0" dirty="0">
                        <a:solidFill>
                          <a:schemeClr val="bg1"/>
                        </a:solidFill>
                        <a:latin typeface="+mn-lt"/>
                        <a:ea typeface="Calibri" charset="0"/>
                        <a:cs typeface="Calibri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08000" indent="0" algn="l">
                        <a:buNone/>
                      </a:pPr>
                      <a:r>
                        <a:rPr lang="en-GB" sz="1200" kern="1200" dirty="0">
                          <a:solidFill>
                            <a:srgbClr val="4A5568"/>
                          </a:solidFill>
                          <a:latin typeface="+mn-lt"/>
                          <a:ea typeface="Calibri" pitchFamily="34" charset="-122"/>
                          <a:cs typeface="Calibri" pitchFamily="34" charset="-120"/>
                        </a:rPr>
                        <a:t>R-mini-CHOP + acalabrutinib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86498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GB" sz="1200" b="0" dirty="0">
                          <a:solidFill>
                            <a:schemeClr val="bg1"/>
                          </a:solidFill>
                          <a:latin typeface="+mn-lt"/>
                          <a:ea typeface="Calibri" pitchFamily="34" charset="-122"/>
                          <a:cs typeface="Calibri" pitchFamily="34" charset="-120"/>
                        </a:rPr>
                        <a:t>SKYGLO</a:t>
                      </a:r>
                      <a:endParaRPr lang="en-GB" sz="1200" b="0" dirty="0">
                        <a:solidFill>
                          <a:schemeClr val="bg1"/>
                        </a:solidFill>
                        <a:latin typeface="+mn-lt"/>
                        <a:ea typeface="Calibri" charset="0"/>
                        <a:cs typeface="Calibri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108000" indent="0" algn="l">
                        <a:buNone/>
                      </a:pPr>
                      <a:r>
                        <a:rPr lang="en-GB" sz="1200" kern="1200" dirty="0">
                          <a:solidFill>
                            <a:srgbClr val="4A5568"/>
                          </a:solidFill>
                          <a:latin typeface="+mn-lt"/>
                          <a:ea typeface="Calibri" pitchFamily="34" charset="-122"/>
                          <a:cs typeface="Calibri" pitchFamily="34" charset="-120"/>
                        </a:rPr>
                        <a:t>Pola</a:t>
                      </a:r>
                      <a:r>
                        <a:rPr lang="en-CH" sz="1200" kern="1200" dirty="0">
                          <a:solidFill>
                            <a:srgbClr val="4A5568"/>
                          </a:solidFill>
                          <a:latin typeface="+mn-lt"/>
                          <a:ea typeface="Calibri" pitchFamily="34" charset="-122"/>
                          <a:cs typeface="Calibri" pitchFamily="34" charset="-120"/>
                        </a:rPr>
                        <a:t>-R</a:t>
                      </a:r>
                      <a:r>
                        <a:rPr lang="en-GB" sz="1200" kern="1200" dirty="0">
                          <a:solidFill>
                            <a:srgbClr val="4A5568"/>
                          </a:solidFill>
                          <a:latin typeface="+mn-lt"/>
                          <a:ea typeface="Calibri" pitchFamily="34" charset="-122"/>
                          <a:cs typeface="Calibri" pitchFamily="34" charset="-120"/>
                        </a:rPr>
                        <a:t>-CHP + glofitamab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86498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GB" sz="1200" b="0" dirty="0">
                          <a:solidFill>
                            <a:schemeClr val="bg1"/>
                          </a:solidFill>
                          <a:latin typeface="+mn-lt"/>
                          <a:ea typeface="Calibri" pitchFamily="34" charset="-122"/>
                          <a:cs typeface="Calibri" pitchFamily="34" charset="-120"/>
                        </a:rPr>
                        <a:t>OLYMPIA-3</a:t>
                      </a:r>
                      <a:endParaRPr lang="en-GB" sz="1200" b="0" dirty="0">
                        <a:solidFill>
                          <a:schemeClr val="bg1"/>
                        </a:solidFill>
                        <a:latin typeface="+mn-lt"/>
                        <a:ea typeface="Calibri" charset="0"/>
                        <a:cs typeface="Calibri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108000" indent="0" algn="l">
                        <a:buNone/>
                      </a:pPr>
                      <a:r>
                        <a:rPr lang="en-GB" sz="1200" kern="1200">
                          <a:solidFill>
                            <a:srgbClr val="4A5568"/>
                          </a:solidFill>
                          <a:latin typeface="+mn-lt"/>
                          <a:ea typeface="Calibri" pitchFamily="34" charset="-122"/>
                          <a:cs typeface="Calibri" pitchFamily="34" charset="-120"/>
                        </a:rPr>
                        <a:t>R-CHOP + odronextamab</a:t>
                      </a:r>
                      <a:endParaRPr lang="en-GB" sz="1200" kern="1200" dirty="0">
                        <a:solidFill>
                          <a:srgbClr val="4A5568"/>
                        </a:solidFill>
                        <a:latin typeface="+mn-lt"/>
                        <a:ea typeface="Calibri" pitchFamily="34" charset="-122"/>
                        <a:cs typeface="Calibri" pitchFamily="34" charset="-12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86498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GB" sz="1200" b="0" dirty="0">
                          <a:solidFill>
                            <a:schemeClr val="bg1"/>
                          </a:solidFill>
                          <a:latin typeface="+mn-lt"/>
                          <a:ea typeface="Calibri" pitchFamily="34" charset="-122"/>
                          <a:cs typeface="Calibri" pitchFamily="34" charset="-120"/>
                        </a:rPr>
                        <a:t>GOLSEEK-1</a:t>
                      </a:r>
                      <a:endParaRPr lang="en-GB" sz="1200" b="0" dirty="0">
                        <a:solidFill>
                          <a:schemeClr val="bg1"/>
                        </a:solidFill>
                        <a:latin typeface="+mn-lt"/>
                        <a:ea typeface="Calibri" charset="0"/>
                        <a:cs typeface="Calibri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108000" indent="0" algn="l">
                        <a:buNone/>
                      </a:pPr>
                      <a:r>
                        <a:rPr lang="en-GB" sz="1200" kern="1200" dirty="0">
                          <a:solidFill>
                            <a:srgbClr val="4A5568"/>
                          </a:solidFill>
                          <a:latin typeface="+mn-lt"/>
                          <a:ea typeface="Calibri" pitchFamily="34" charset="-122"/>
                          <a:cs typeface="Calibri" pitchFamily="34" charset="-120"/>
                        </a:rPr>
                        <a:t>R-CHOP + </a:t>
                      </a:r>
                      <a:r>
                        <a:rPr lang="en-GB" sz="1200" kern="1200" dirty="0" err="1">
                          <a:solidFill>
                            <a:srgbClr val="4A5568"/>
                          </a:solidFill>
                          <a:latin typeface="+mn-lt"/>
                          <a:ea typeface="Calibri" pitchFamily="34" charset="-122"/>
                          <a:cs typeface="Calibri" pitchFamily="34" charset="-120"/>
                        </a:rPr>
                        <a:t>golcadomide</a:t>
                      </a:r>
                      <a:endParaRPr lang="en-GB" sz="1200" kern="1200" dirty="0">
                        <a:solidFill>
                          <a:srgbClr val="4A5568"/>
                        </a:solidFill>
                        <a:latin typeface="+mn-lt"/>
                        <a:ea typeface="Calibri" pitchFamily="34" charset="-122"/>
                        <a:cs typeface="Calibri" pitchFamily="34" charset="-12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  <p:sp>
        <p:nvSpPr>
          <p:cNvPr id="49" name="TextBox 48">
            <a:extLst>
              <a:ext uri="{FF2B5EF4-FFF2-40B4-BE49-F238E27FC236}">
                <a16:creationId xmlns:a16="http://schemas.microsoft.com/office/drawing/2014/main" id="{74041D00-7ADB-B46A-1D18-4E4EFE1E73FD}"/>
              </a:ext>
            </a:extLst>
          </p:cNvPr>
          <p:cNvSpPr txBox="1"/>
          <p:nvPr/>
        </p:nvSpPr>
        <p:spPr>
          <a:xfrm>
            <a:off x="3333306" y="1810051"/>
            <a:ext cx="455050" cy="3927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CB813"/>
              </a:buClr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018</a:t>
            </a:r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6AF017BC-9889-CC65-7B0D-BE65F093CA24}"/>
              </a:ext>
            </a:extLst>
          </p:cNvPr>
          <p:cNvCxnSpPr>
            <a:cxnSpLocks/>
          </p:cNvCxnSpPr>
          <p:nvPr/>
        </p:nvCxnSpPr>
        <p:spPr>
          <a:xfrm>
            <a:off x="548130" y="2251694"/>
            <a:ext cx="5612655" cy="0"/>
          </a:xfrm>
          <a:prstGeom prst="line">
            <a:avLst/>
          </a:prstGeom>
          <a:ln w="12700"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Oval 50">
            <a:extLst>
              <a:ext uri="{FF2B5EF4-FFF2-40B4-BE49-F238E27FC236}">
                <a16:creationId xmlns:a16="http://schemas.microsoft.com/office/drawing/2014/main" id="{9928ED6F-1233-2E66-A882-51D8D7C6C042}"/>
              </a:ext>
            </a:extLst>
          </p:cNvPr>
          <p:cNvSpPr/>
          <p:nvPr/>
        </p:nvSpPr>
        <p:spPr>
          <a:xfrm>
            <a:off x="3500802" y="2184383"/>
            <a:ext cx="120059" cy="120059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9B9011BB-D638-FBEB-83CD-87772149DD13}"/>
              </a:ext>
            </a:extLst>
          </p:cNvPr>
          <p:cNvSpPr txBox="1"/>
          <p:nvPr/>
        </p:nvSpPr>
        <p:spPr>
          <a:xfrm>
            <a:off x="5594813" y="1810051"/>
            <a:ext cx="455050" cy="3927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CB813"/>
              </a:buClr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031</a:t>
            </a: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F8CE8280-728F-4E31-79A4-DD9EC5622C13}"/>
              </a:ext>
            </a:extLst>
          </p:cNvPr>
          <p:cNvSpPr/>
          <p:nvPr/>
        </p:nvSpPr>
        <p:spPr>
          <a:xfrm>
            <a:off x="5762309" y="2184383"/>
            <a:ext cx="120059" cy="120059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54" name="Text 6">
            <a:extLst>
              <a:ext uri="{FF2B5EF4-FFF2-40B4-BE49-F238E27FC236}">
                <a16:creationId xmlns:a16="http://schemas.microsoft.com/office/drawing/2014/main" id="{83A4E315-D76E-75D0-527F-EE571619218D}"/>
              </a:ext>
            </a:extLst>
          </p:cNvPr>
          <p:cNvSpPr/>
          <p:nvPr/>
        </p:nvSpPr>
        <p:spPr>
          <a:xfrm>
            <a:off x="3538234" y="2398712"/>
            <a:ext cx="1127126" cy="146731"/>
          </a:xfrm>
          <a:prstGeom prst="homePlate">
            <a:avLst/>
          </a:prstGeom>
          <a:solidFill>
            <a:schemeClr val="accent6"/>
          </a:solidFill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A57E356A-F501-5FAD-3C0F-00830B62CCB5}"/>
              </a:ext>
            </a:extLst>
          </p:cNvPr>
          <p:cNvSpPr txBox="1"/>
          <p:nvPr/>
        </p:nvSpPr>
        <p:spPr>
          <a:xfrm>
            <a:off x="4723230" y="1810051"/>
            <a:ext cx="455050" cy="3927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CB813"/>
              </a:buClr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026</a:t>
            </a: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4A4A6C47-7FFC-5763-9A95-7906AAA02D59}"/>
              </a:ext>
            </a:extLst>
          </p:cNvPr>
          <p:cNvSpPr/>
          <p:nvPr/>
        </p:nvSpPr>
        <p:spPr>
          <a:xfrm>
            <a:off x="4876212" y="2184383"/>
            <a:ext cx="120059" cy="120059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57" name="Text 6">
            <a:extLst>
              <a:ext uri="{FF2B5EF4-FFF2-40B4-BE49-F238E27FC236}">
                <a16:creationId xmlns:a16="http://schemas.microsoft.com/office/drawing/2014/main" id="{5E1C3CF6-2EA6-DC93-D02B-48ED41E33FC3}"/>
              </a:ext>
            </a:extLst>
          </p:cNvPr>
          <p:cNvSpPr/>
          <p:nvPr/>
        </p:nvSpPr>
        <p:spPr>
          <a:xfrm>
            <a:off x="3582686" y="2581078"/>
            <a:ext cx="757238" cy="146731"/>
          </a:xfrm>
          <a:prstGeom prst="homePlate">
            <a:avLst/>
          </a:prstGeom>
          <a:solidFill>
            <a:srgbClr val="7294A5"/>
          </a:solidFill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8" name="Text 6">
            <a:extLst>
              <a:ext uri="{FF2B5EF4-FFF2-40B4-BE49-F238E27FC236}">
                <a16:creationId xmlns:a16="http://schemas.microsoft.com/office/drawing/2014/main" id="{9BCFF5EA-3EC4-4E0E-BC12-D885B9163B5C}"/>
              </a:ext>
            </a:extLst>
          </p:cNvPr>
          <p:cNvSpPr/>
          <p:nvPr/>
        </p:nvSpPr>
        <p:spPr>
          <a:xfrm>
            <a:off x="3930346" y="2763444"/>
            <a:ext cx="852489" cy="146731"/>
          </a:xfrm>
          <a:prstGeom prst="homePlate">
            <a:avLst/>
          </a:prstGeom>
          <a:solidFill>
            <a:srgbClr val="7294A5"/>
          </a:solidFill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9" name="Text 6">
            <a:extLst>
              <a:ext uri="{FF2B5EF4-FFF2-40B4-BE49-F238E27FC236}">
                <a16:creationId xmlns:a16="http://schemas.microsoft.com/office/drawing/2014/main" id="{83BD64FB-C5AB-DAAD-EC78-1ABF19836F13}"/>
              </a:ext>
            </a:extLst>
          </p:cNvPr>
          <p:cNvSpPr/>
          <p:nvPr/>
        </p:nvSpPr>
        <p:spPr>
          <a:xfrm>
            <a:off x="3979561" y="2945810"/>
            <a:ext cx="981074" cy="146731"/>
          </a:xfrm>
          <a:prstGeom prst="homePlate">
            <a:avLst/>
          </a:prstGeom>
          <a:solidFill>
            <a:schemeClr val="accent5">
              <a:lumMod val="60000"/>
              <a:lumOff val="40000"/>
            </a:schemeClr>
          </a:solidFill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0" name="Text 6">
            <a:extLst>
              <a:ext uri="{FF2B5EF4-FFF2-40B4-BE49-F238E27FC236}">
                <a16:creationId xmlns:a16="http://schemas.microsoft.com/office/drawing/2014/main" id="{51C87B36-6197-CF42-4E41-3B97B95D173E}"/>
              </a:ext>
            </a:extLst>
          </p:cNvPr>
          <p:cNvSpPr/>
          <p:nvPr/>
        </p:nvSpPr>
        <p:spPr>
          <a:xfrm>
            <a:off x="4433584" y="4404738"/>
            <a:ext cx="1393825" cy="146731"/>
          </a:xfrm>
          <a:prstGeom prst="homePlate">
            <a:avLst/>
          </a:prstGeom>
          <a:solidFill>
            <a:srgbClr val="2C5E77"/>
          </a:solidFill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3" name="Text 6">
            <a:extLst>
              <a:ext uri="{FF2B5EF4-FFF2-40B4-BE49-F238E27FC236}">
                <a16:creationId xmlns:a16="http://schemas.microsoft.com/office/drawing/2014/main" id="{3EB916C1-2030-5BF2-FA9A-B6BA3A5148C5}"/>
              </a:ext>
            </a:extLst>
          </p:cNvPr>
          <p:cNvSpPr/>
          <p:nvPr/>
        </p:nvSpPr>
        <p:spPr>
          <a:xfrm>
            <a:off x="4439935" y="4222372"/>
            <a:ext cx="1254125" cy="146731"/>
          </a:xfrm>
          <a:prstGeom prst="homePlate">
            <a:avLst/>
          </a:prstGeom>
          <a:solidFill>
            <a:srgbClr val="4CA1A6"/>
          </a:solidFill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92" name="Text 6">
            <a:extLst>
              <a:ext uri="{FF2B5EF4-FFF2-40B4-BE49-F238E27FC236}">
                <a16:creationId xmlns:a16="http://schemas.microsoft.com/office/drawing/2014/main" id="{87BAB58B-F08A-D72D-50E1-AB35898147FB}"/>
              </a:ext>
            </a:extLst>
          </p:cNvPr>
          <p:cNvSpPr/>
          <p:nvPr/>
        </p:nvSpPr>
        <p:spPr>
          <a:xfrm>
            <a:off x="3998610" y="3128176"/>
            <a:ext cx="1120775" cy="146731"/>
          </a:xfrm>
          <a:prstGeom prst="homePlate">
            <a:avLst/>
          </a:prstGeom>
          <a:solidFill>
            <a:srgbClr val="7294A5"/>
          </a:solidFill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93" name="Text 6">
            <a:extLst>
              <a:ext uri="{FF2B5EF4-FFF2-40B4-BE49-F238E27FC236}">
                <a16:creationId xmlns:a16="http://schemas.microsoft.com/office/drawing/2014/main" id="{197D5756-B74F-4B92-5051-1AF5E492B203}"/>
              </a:ext>
            </a:extLst>
          </p:cNvPr>
          <p:cNvSpPr/>
          <p:nvPr/>
        </p:nvSpPr>
        <p:spPr>
          <a:xfrm>
            <a:off x="4121527" y="3310542"/>
            <a:ext cx="867684" cy="146731"/>
          </a:xfrm>
          <a:prstGeom prst="homePlate">
            <a:avLst/>
          </a:prstGeom>
          <a:solidFill>
            <a:srgbClr val="ABBFC9"/>
          </a:solidFill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94" name="Text 6">
            <a:extLst>
              <a:ext uri="{FF2B5EF4-FFF2-40B4-BE49-F238E27FC236}">
                <a16:creationId xmlns:a16="http://schemas.microsoft.com/office/drawing/2014/main" id="{B3C4C709-5D16-8B34-D29A-2885CF4FD747}"/>
              </a:ext>
            </a:extLst>
          </p:cNvPr>
          <p:cNvSpPr/>
          <p:nvPr/>
        </p:nvSpPr>
        <p:spPr>
          <a:xfrm>
            <a:off x="4132754" y="3492908"/>
            <a:ext cx="665956" cy="146731"/>
          </a:xfrm>
          <a:prstGeom prst="homePlate">
            <a:avLst/>
          </a:prstGeom>
          <a:solidFill>
            <a:schemeClr val="accent5">
              <a:lumMod val="60000"/>
              <a:lumOff val="40000"/>
            </a:schemeClr>
          </a:solidFill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95" name="Text 6">
            <a:extLst>
              <a:ext uri="{FF2B5EF4-FFF2-40B4-BE49-F238E27FC236}">
                <a16:creationId xmlns:a16="http://schemas.microsoft.com/office/drawing/2014/main" id="{9B9E98EB-39B3-0FE9-2093-FC2A5AE580D6}"/>
              </a:ext>
            </a:extLst>
          </p:cNvPr>
          <p:cNvSpPr/>
          <p:nvPr/>
        </p:nvSpPr>
        <p:spPr>
          <a:xfrm>
            <a:off x="4256579" y="3675274"/>
            <a:ext cx="675481" cy="146731"/>
          </a:xfrm>
          <a:prstGeom prst="homePlate">
            <a:avLst/>
          </a:prstGeom>
          <a:solidFill>
            <a:schemeClr val="accent5">
              <a:lumMod val="60000"/>
              <a:lumOff val="40000"/>
            </a:schemeClr>
          </a:solidFill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96" name="Text 6">
            <a:extLst>
              <a:ext uri="{FF2B5EF4-FFF2-40B4-BE49-F238E27FC236}">
                <a16:creationId xmlns:a16="http://schemas.microsoft.com/office/drawing/2014/main" id="{C9827CB4-CE00-9F3F-AB4E-4422268A0A67}"/>
              </a:ext>
            </a:extLst>
          </p:cNvPr>
          <p:cNvSpPr/>
          <p:nvPr/>
        </p:nvSpPr>
        <p:spPr>
          <a:xfrm>
            <a:off x="4325634" y="3857640"/>
            <a:ext cx="679451" cy="146731"/>
          </a:xfrm>
          <a:prstGeom prst="homePlate">
            <a:avLst/>
          </a:prstGeom>
          <a:solidFill>
            <a:srgbClr val="7294A5"/>
          </a:solidFill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97" name="Text 6">
            <a:extLst>
              <a:ext uri="{FF2B5EF4-FFF2-40B4-BE49-F238E27FC236}">
                <a16:creationId xmlns:a16="http://schemas.microsoft.com/office/drawing/2014/main" id="{57F1C9B3-18F0-D820-B192-528EE9147B49}"/>
              </a:ext>
            </a:extLst>
          </p:cNvPr>
          <p:cNvSpPr/>
          <p:nvPr/>
        </p:nvSpPr>
        <p:spPr>
          <a:xfrm>
            <a:off x="4378024" y="4040006"/>
            <a:ext cx="563562" cy="146731"/>
          </a:xfrm>
          <a:prstGeom prst="homePlate">
            <a:avLst/>
          </a:prstGeom>
          <a:solidFill>
            <a:srgbClr val="7294A5"/>
          </a:solidFill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98" name="Text 6">
            <a:extLst>
              <a:ext uri="{FF2B5EF4-FFF2-40B4-BE49-F238E27FC236}">
                <a16:creationId xmlns:a16="http://schemas.microsoft.com/office/drawing/2014/main" id="{60BDE6B0-D8B8-725E-8C7A-E639509EC3F2}"/>
              </a:ext>
            </a:extLst>
          </p:cNvPr>
          <p:cNvSpPr/>
          <p:nvPr/>
        </p:nvSpPr>
        <p:spPr>
          <a:xfrm>
            <a:off x="4490736" y="4587104"/>
            <a:ext cx="946150" cy="146731"/>
          </a:xfrm>
          <a:prstGeom prst="homePlate">
            <a:avLst/>
          </a:prstGeom>
          <a:solidFill>
            <a:schemeClr val="accent5">
              <a:lumMod val="60000"/>
              <a:lumOff val="40000"/>
            </a:schemeClr>
          </a:solidFill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99" name="Text 6">
            <a:extLst>
              <a:ext uri="{FF2B5EF4-FFF2-40B4-BE49-F238E27FC236}">
                <a16:creationId xmlns:a16="http://schemas.microsoft.com/office/drawing/2014/main" id="{68177D56-36D2-D6DD-791A-7C5E8C194D3F}"/>
              </a:ext>
            </a:extLst>
          </p:cNvPr>
          <p:cNvSpPr/>
          <p:nvPr/>
        </p:nvSpPr>
        <p:spPr>
          <a:xfrm>
            <a:off x="4538360" y="4769470"/>
            <a:ext cx="927100" cy="146731"/>
          </a:xfrm>
          <a:prstGeom prst="homePlate">
            <a:avLst/>
          </a:prstGeom>
          <a:solidFill>
            <a:srgbClr val="4CA1A6"/>
          </a:solidFill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0" name="Text 6">
            <a:extLst>
              <a:ext uri="{FF2B5EF4-FFF2-40B4-BE49-F238E27FC236}">
                <a16:creationId xmlns:a16="http://schemas.microsoft.com/office/drawing/2014/main" id="{95634498-9AF6-FD70-3CF6-6C682EDC2C56}"/>
              </a:ext>
            </a:extLst>
          </p:cNvPr>
          <p:cNvSpPr/>
          <p:nvPr/>
        </p:nvSpPr>
        <p:spPr>
          <a:xfrm>
            <a:off x="4585985" y="4951836"/>
            <a:ext cx="796925" cy="146731"/>
          </a:xfrm>
          <a:prstGeom prst="homePlate">
            <a:avLst/>
          </a:prstGeom>
          <a:solidFill>
            <a:srgbClr val="4CA1A6"/>
          </a:solidFill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1" name="Text 6">
            <a:extLst>
              <a:ext uri="{FF2B5EF4-FFF2-40B4-BE49-F238E27FC236}">
                <a16:creationId xmlns:a16="http://schemas.microsoft.com/office/drawing/2014/main" id="{E4FA8997-B4BD-99CF-8132-A25F23F723F6}"/>
              </a:ext>
            </a:extLst>
          </p:cNvPr>
          <p:cNvSpPr/>
          <p:nvPr/>
        </p:nvSpPr>
        <p:spPr>
          <a:xfrm>
            <a:off x="4674886" y="5134201"/>
            <a:ext cx="933450" cy="146731"/>
          </a:xfrm>
          <a:prstGeom prst="homePlate">
            <a:avLst/>
          </a:prstGeom>
          <a:solidFill>
            <a:srgbClr val="ABBFC9"/>
          </a:solidFill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2" name="Text 6">
            <a:extLst>
              <a:ext uri="{FF2B5EF4-FFF2-40B4-BE49-F238E27FC236}">
                <a16:creationId xmlns:a16="http://schemas.microsoft.com/office/drawing/2014/main" id="{E7BD56EC-1F55-A887-F204-1EDC22BE6993}"/>
              </a:ext>
            </a:extLst>
          </p:cNvPr>
          <p:cNvSpPr/>
          <p:nvPr/>
        </p:nvSpPr>
        <p:spPr>
          <a:xfrm>
            <a:off x="552828" y="5564659"/>
            <a:ext cx="175532" cy="146731"/>
          </a:xfrm>
          <a:prstGeom prst="rect">
            <a:avLst/>
          </a:prstGeom>
          <a:solidFill>
            <a:srgbClr val="ABBFC9"/>
          </a:solidFill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3" name="Text 6">
            <a:extLst>
              <a:ext uri="{FF2B5EF4-FFF2-40B4-BE49-F238E27FC236}">
                <a16:creationId xmlns:a16="http://schemas.microsoft.com/office/drawing/2014/main" id="{85CA68B2-33AB-FABB-FA53-8915ADAC2747}"/>
              </a:ext>
            </a:extLst>
          </p:cNvPr>
          <p:cNvSpPr/>
          <p:nvPr/>
        </p:nvSpPr>
        <p:spPr>
          <a:xfrm>
            <a:off x="1473578" y="5564659"/>
            <a:ext cx="175532" cy="146731"/>
          </a:xfrm>
          <a:prstGeom prst="rect">
            <a:avLst/>
          </a:prstGeom>
          <a:solidFill>
            <a:srgbClr val="7294A5"/>
          </a:solidFill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4" name="Content Placeholder 2">
            <a:extLst>
              <a:ext uri="{FF2B5EF4-FFF2-40B4-BE49-F238E27FC236}">
                <a16:creationId xmlns:a16="http://schemas.microsoft.com/office/drawing/2014/main" id="{40411058-4B25-1AC7-E8F4-EE8D1090F368}"/>
              </a:ext>
            </a:extLst>
          </p:cNvPr>
          <p:cNvSpPr txBox="1">
            <a:spLocks/>
          </p:cNvSpPr>
          <p:nvPr/>
        </p:nvSpPr>
        <p:spPr>
          <a:xfrm>
            <a:off x="743805" y="5536015"/>
            <a:ext cx="802799" cy="20401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3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1113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1113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1113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1113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General</a:t>
            </a:r>
          </a:p>
        </p:txBody>
      </p:sp>
      <p:sp>
        <p:nvSpPr>
          <p:cNvPr id="205" name="Content Placeholder 2">
            <a:extLst>
              <a:ext uri="{FF2B5EF4-FFF2-40B4-BE49-F238E27FC236}">
                <a16:creationId xmlns:a16="http://schemas.microsoft.com/office/drawing/2014/main" id="{61B38DE5-F9B7-BE7E-262A-220FADAC4501}"/>
              </a:ext>
            </a:extLst>
          </p:cNvPr>
          <p:cNvSpPr txBox="1">
            <a:spLocks/>
          </p:cNvSpPr>
          <p:nvPr/>
        </p:nvSpPr>
        <p:spPr>
          <a:xfrm>
            <a:off x="1664555" y="5536015"/>
            <a:ext cx="802799" cy="20401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3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1113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1113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1113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1113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argeted</a:t>
            </a:r>
          </a:p>
        </p:txBody>
      </p:sp>
      <p:sp>
        <p:nvSpPr>
          <p:cNvPr id="206" name="Text 6">
            <a:extLst>
              <a:ext uri="{FF2B5EF4-FFF2-40B4-BE49-F238E27FC236}">
                <a16:creationId xmlns:a16="http://schemas.microsoft.com/office/drawing/2014/main" id="{D60FCE0E-8DA0-744C-0943-781FEDA723E2}"/>
              </a:ext>
            </a:extLst>
          </p:cNvPr>
          <p:cNvSpPr/>
          <p:nvPr/>
        </p:nvSpPr>
        <p:spPr>
          <a:xfrm>
            <a:off x="2438778" y="5564659"/>
            <a:ext cx="175532" cy="146731"/>
          </a:xfrm>
          <a:prstGeom prst="rect">
            <a:avLst/>
          </a:prstGeom>
          <a:solidFill>
            <a:srgbClr val="F79B7A"/>
          </a:solidFill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7" name="Text 6">
            <a:extLst>
              <a:ext uri="{FF2B5EF4-FFF2-40B4-BE49-F238E27FC236}">
                <a16:creationId xmlns:a16="http://schemas.microsoft.com/office/drawing/2014/main" id="{BC6844F1-6811-3119-89E0-F41244C1EDD1}"/>
              </a:ext>
            </a:extLst>
          </p:cNvPr>
          <p:cNvSpPr/>
          <p:nvPr/>
        </p:nvSpPr>
        <p:spPr>
          <a:xfrm>
            <a:off x="559178" y="5808026"/>
            <a:ext cx="175532" cy="146731"/>
          </a:xfrm>
          <a:prstGeom prst="rect">
            <a:avLst/>
          </a:prstGeom>
          <a:solidFill>
            <a:srgbClr val="4CA1A6"/>
          </a:solidFill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8" name="Content Placeholder 2">
            <a:extLst>
              <a:ext uri="{FF2B5EF4-FFF2-40B4-BE49-F238E27FC236}">
                <a16:creationId xmlns:a16="http://schemas.microsoft.com/office/drawing/2014/main" id="{67C8A4FB-8F55-DA4C-74DB-8F4D2A1EF96D}"/>
              </a:ext>
            </a:extLst>
          </p:cNvPr>
          <p:cNvSpPr txBox="1">
            <a:spLocks/>
          </p:cNvSpPr>
          <p:nvPr/>
        </p:nvSpPr>
        <p:spPr>
          <a:xfrm>
            <a:off x="2629755" y="5536015"/>
            <a:ext cx="802799" cy="20401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3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1113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1113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1113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1113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Elderly</a:t>
            </a:r>
          </a:p>
        </p:txBody>
      </p:sp>
      <p:sp>
        <p:nvSpPr>
          <p:cNvPr id="209" name="Content Placeholder 2">
            <a:extLst>
              <a:ext uri="{FF2B5EF4-FFF2-40B4-BE49-F238E27FC236}">
                <a16:creationId xmlns:a16="http://schemas.microsoft.com/office/drawing/2014/main" id="{F9BF65C4-7339-9CA5-8441-81D91A7CB765}"/>
              </a:ext>
            </a:extLst>
          </p:cNvPr>
          <p:cNvSpPr txBox="1">
            <a:spLocks/>
          </p:cNvSpPr>
          <p:nvPr/>
        </p:nvSpPr>
        <p:spPr>
          <a:xfrm>
            <a:off x="750155" y="5770965"/>
            <a:ext cx="1829229" cy="20401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3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1113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1113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1113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1113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Bispecific antibodies</a:t>
            </a:r>
          </a:p>
        </p:txBody>
      </p:sp>
      <p:sp>
        <p:nvSpPr>
          <p:cNvPr id="210" name="Text 6">
            <a:extLst>
              <a:ext uri="{FF2B5EF4-FFF2-40B4-BE49-F238E27FC236}">
                <a16:creationId xmlns:a16="http://schemas.microsoft.com/office/drawing/2014/main" id="{C8159336-BE00-BE9E-B1D1-225605539C14}"/>
              </a:ext>
            </a:extLst>
          </p:cNvPr>
          <p:cNvSpPr/>
          <p:nvPr/>
        </p:nvSpPr>
        <p:spPr>
          <a:xfrm>
            <a:off x="2438778" y="5808026"/>
            <a:ext cx="175532" cy="146731"/>
          </a:xfrm>
          <a:prstGeom prst="rect">
            <a:avLst/>
          </a:prstGeom>
          <a:solidFill>
            <a:srgbClr val="2C5E77"/>
          </a:solidFill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1" name="Content Placeholder 2">
            <a:extLst>
              <a:ext uri="{FF2B5EF4-FFF2-40B4-BE49-F238E27FC236}">
                <a16:creationId xmlns:a16="http://schemas.microsoft.com/office/drawing/2014/main" id="{49C3E258-BF74-78EF-93CC-F99048D5A76C}"/>
              </a:ext>
            </a:extLst>
          </p:cNvPr>
          <p:cNvSpPr txBox="1">
            <a:spLocks/>
          </p:cNvSpPr>
          <p:nvPr/>
        </p:nvSpPr>
        <p:spPr>
          <a:xfrm>
            <a:off x="2629755" y="5770965"/>
            <a:ext cx="1829229" cy="20401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3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1113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1113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1113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1113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AR-T</a:t>
            </a:r>
          </a:p>
        </p:txBody>
      </p:sp>
      <p:cxnSp>
        <p:nvCxnSpPr>
          <p:cNvPr id="212" name="Straight Connector 211">
            <a:extLst>
              <a:ext uri="{FF2B5EF4-FFF2-40B4-BE49-F238E27FC236}">
                <a16:creationId xmlns:a16="http://schemas.microsoft.com/office/drawing/2014/main" id="{DB5F2B2A-2B70-84F3-1CAC-369176277977}"/>
              </a:ext>
            </a:extLst>
          </p:cNvPr>
          <p:cNvCxnSpPr>
            <a:cxnSpLocks/>
          </p:cNvCxnSpPr>
          <p:nvPr/>
        </p:nvCxnSpPr>
        <p:spPr>
          <a:xfrm>
            <a:off x="540510" y="5429234"/>
            <a:ext cx="5612655" cy="0"/>
          </a:xfrm>
          <a:prstGeom prst="line">
            <a:avLst/>
          </a:prstGeom>
          <a:ln w="1270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3" name="Parallelogram 212">
            <a:extLst>
              <a:ext uri="{FF2B5EF4-FFF2-40B4-BE49-F238E27FC236}">
                <a16:creationId xmlns:a16="http://schemas.microsoft.com/office/drawing/2014/main" id="{0C18EFBD-EC8B-A7FA-25E0-102198BDD829}"/>
              </a:ext>
            </a:extLst>
          </p:cNvPr>
          <p:cNvSpPr/>
          <p:nvPr/>
        </p:nvSpPr>
        <p:spPr>
          <a:xfrm flipV="1">
            <a:off x="6178816" y="3510383"/>
            <a:ext cx="376282" cy="339358"/>
          </a:xfrm>
          <a:prstGeom prst="parallelogram">
            <a:avLst>
              <a:gd name="adj" fmla="val 52393"/>
            </a:avLst>
          </a:prstGeom>
          <a:solidFill>
            <a:srgbClr val="2C5E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4" name="Parallelogram 213">
            <a:extLst>
              <a:ext uri="{FF2B5EF4-FFF2-40B4-BE49-F238E27FC236}">
                <a16:creationId xmlns:a16="http://schemas.microsoft.com/office/drawing/2014/main" id="{204320AA-533A-2E20-7CB2-02E359047E31}"/>
              </a:ext>
            </a:extLst>
          </p:cNvPr>
          <p:cNvSpPr/>
          <p:nvPr/>
        </p:nvSpPr>
        <p:spPr>
          <a:xfrm>
            <a:off x="6178816" y="3845103"/>
            <a:ext cx="376282" cy="329853"/>
          </a:xfrm>
          <a:prstGeom prst="parallelogram">
            <a:avLst>
              <a:gd name="adj" fmla="val 52393"/>
            </a:avLst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F67E626-2658-9E26-347B-4AD5D871D026}"/>
              </a:ext>
            </a:extLst>
          </p:cNvPr>
          <p:cNvSpPr txBox="1"/>
          <p:nvPr/>
        </p:nvSpPr>
        <p:spPr>
          <a:xfrm>
            <a:off x="6692237" y="5081510"/>
            <a:ext cx="5047488" cy="776860"/>
          </a:xfrm>
          <a:prstGeom prst="roundRect">
            <a:avLst>
              <a:gd name="adj" fmla="val 18143"/>
            </a:avLst>
          </a:prstGeom>
          <a:solidFill>
            <a:schemeClr val="accent3"/>
          </a:solidFill>
          <a:ln w="19050">
            <a:solidFill>
              <a:srgbClr val="2D5E77"/>
            </a:solidFill>
          </a:ln>
        </p:spPr>
        <p:txBody>
          <a:bodyPr wrap="square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Unclear 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if our future approach will move towards an 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“all-in” frontline strategy</a:t>
            </a: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, vs </a:t>
            </a:r>
            <a:b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aving 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effective options for later lines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45F8EA5C-D7B5-2D73-3304-023FB12AAAFA}"/>
              </a:ext>
            </a:extLst>
          </p:cNvPr>
          <p:cNvSpPr/>
          <p:nvPr/>
        </p:nvSpPr>
        <p:spPr>
          <a:xfrm>
            <a:off x="7123447" y="1813897"/>
            <a:ext cx="4185309" cy="681917"/>
          </a:xfrm>
          <a:prstGeom prst="roundRect">
            <a:avLst>
              <a:gd name="adj" fmla="val 27013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How to dissect clinical trial data?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How later lines will be impacted?</a:t>
            </a:r>
            <a:endParaRPr kumimoji="0" lang="en-GB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35075686"/>
      </p:ext>
    </p:extLst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DD55468-0BD7-B623-832C-42D3ECD918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3200" dirty="0">
                <a:latin typeface="+mn-lt"/>
              </a:rPr>
              <a:t>Will tafasitamab be used in 1L?* </a:t>
            </a:r>
            <a:br>
              <a:rPr lang="en-GB" sz="3200" dirty="0">
                <a:latin typeface="+mn-lt"/>
              </a:rPr>
            </a:br>
            <a:r>
              <a:rPr lang="en-GB" sz="3200" b="1" dirty="0">
                <a:latin typeface="+mn-lt"/>
              </a:rPr>
              <a:t>frontMIND</a:t>
            </a:r>
            <a:r>
              <a:rPr lang="en-GB" sz="3200" baseline="30000" dirty="0">
                <a:latin typeface="+mn-lt"/>
              </a:rPr>
              <a:t>1,2</a:t>
            </a:r>
            <a:r>
              <a:rPr lang="en-GB" sz="3200" dirty="0">
                <a:latin typeface="+mn-lt"/>
              </a:rPr>
              <a:t> (NCT04824092)</a:t>
            </a:r>
            <a:endParaRPr lang="en-GB" sz="3200" baseline="30000" dirty="0">
              <a:latin typeface="+mn-lt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B1894B8-6B4D-BED6-D024-23B740430AD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70645" y="5688773"/>
            <a:ext cx="10440000" cy="1031177"/>
          </a:xfrm>
        </p:spPr>
        <p:txBody>
          <a:bodyPr/>
          <a:lstStyle/>
          <a:p>
            <a:br>
              <a:rPr lang="en-GB" dirty="0"/>
            </a:br>
            <a:r>
              <a:rPr lang="en-GB" dirty="0"/>
              <a:t>*Provided regulatory approval / subject to approved indication. </a:t>
            </a:r>
          </a:p>
          <a:p>
            <a:r>
              <a:rPr lang="en-GB" dirty="0"/>
              <a:t>†EOT is defined as D21 of the last treatment cycle the patient started</a:t>
            </a:r>
            <a:r>
              <a:rPr lang="en-GB"/>
              <a:t>. </a:t>
            </a:r>
          </a:p>
          <a:p>
            <a:r>
              <a:rPr lang="en-GB"/>
              <a:t>‡</a:t>
            </a:r>
            <a:r>
              <a:rPr lang="en-GB" dirty="0"/>
              <a:t>EOS is expected to occur approximately 5 years after the first patient is enrolled, to allow all patients a minimum of 3 years follow-up post-treatment. </a:t>
            </a:r>
            <a:br>
              <a:rPr lang="en-GB" dirty="0"/>
            </a:br>
            <a:r>
              <a:rPr lang="en-GB" dirty="0"/>
              <a:t>1L, first line; </a:t>
            </a:r>
            <a:r>
              <a:rPr lang="en-GB" dirty="0" err="1"/>
              <a:t>aaIPI</a:t>
            </a:r>
            <a:r>
              <a:rPr lang="en-GB" dirty="0"/>
              <a:t>, age-adjusted International Prognostic Index; C, cycle; D, day; DLBCL, diffuse large B-cell lymphoma; ECOG PS, Eastern Cooperative Oncology Group performance status; EFS, event-free survival; EOS, end of study; EOT, end of treatment; HGBL, high-grade B-cell lymphoma; IPI, International Prognostic Index; PFS, progression-free survival; R-CHOP, rituximab, cyclophosphamide, doxorubicin, vincristine, prednisone; Q3W, every 3 weeks.</a:t>
            </a:r>
            <a:br>
              <a:rPr lang="en-GB" dirty="0"/>
            </a:br>
            <a:r>
              <a:rPr lang="en-GB" b="1" dirty="0"/>
              <a:t>1. </a:t>
            </a:r>
            <a:r>
              <a:rPr lang="en-GB" dirty="0"/>
              <a:t>Vitolo et al. </a:t>
            </a:r>
            <a:r>
              <a:rPr lang="en-GB" i="1" dirty="0" err="1"/>
              <a:t>Hemasphere</a:t>
            </a:r>
            <a:r>
              <a:rPr lang="en-GB" i="1" dirty="0"/>
              <a:t> </a:t>
            </a:r>
            <a:r>
              <a:rPr lang="en-GB" dirty="0"/>
              <a:t>2022 </a:t>
            </a:r>
            <a:r>
              <a:rPr lang="en-GB" b="1" dirty="0"/>
              <a:t>2. </a:t>
            </a:r>
            <a:r>
              <a:rPr lang="en-GB" dirty="0"/>
              <a:t>Incyte press release, 5 January 2026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6C7EB74-9C42-DBF5-8C86-BFF4BA20C499}"/>
              </a:ext>
            </a:extLst>
          </p:cNvPr>
          <p:cNvSpPr txBox="1"/>
          <p:nvPr/>
        </p:nvSpPr>
        <p:spPr>
          <a:xfrm>
            <a:off x="10030691" y="2689233"/>
            <a:ext cx="1394546" cy="64799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solidFill>
              <a:schemeClr val="accent2"/>
            </a:solidFill>
          </a:ln>
        </p:spPr>
        <p:txBody>
          <a:bodyPr wrap="square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imary endpoin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Investigator-assessed PF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B20EF4F-1E79-F1BE-B9CC-651EC4DC9EAA}"/>
              </a:ext>
            </a:extLst>
          </p:cNvPr>
          <p:cNvSpPr txBox="1"/>
          <p:nvPr/>
        </p:nvSpPr>
        <p:spPr>
          <a:xfrm>
            <a:off x="766763" y="2119793"/>
            <a:ext cx="1886427" cy="1786878"/>
          </a:xfrm>
          <a:prstGeom prst="rect">
            <a:avLst/>
          </a:prstGeom>
          <a:solidFill>
            <a:schemeClr val="accent2">
              <a:lumMod val="75000"/>
            </a:schemeClr>
          </a:solidFill>
          <a:ln w="12700">
            <a:solidFill>
              <a:schemeClr val="accent2">
                <a:lumMod val="75000"/>
              </a:schemeClr>
            </a:solidFill>
          </a:ln>
        </p:spPr>
        <p:txBody>
          <a:bodyPr wrap="square" lIns="91440" tIns="45720" rIns="91440" bIns="45720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eviously untreated DLBCL and HGBL: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ge ≥18–80 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Calibri"/>
              <a:cs typeface="Calibri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IPI 3–5 + </a:t>
            </a:r>
            <a:r>
              <a:rPr kumimoji="0" lang="en-GB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alPI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2–3 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Calibri"/>
              <a:cs typeface="Calibri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ECOG PS 0–2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andidate for </a:t>
            </a:r>
            <a:b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-CHOP 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Calibri"/>
              <a:cs typeface="Calibri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A9470D2-9DAB-0D7A-F5AB-526605B20E10}"/>
              </a:ext>
            </a:extLst>
          </p:cNvPr>
          <p:cNvSpPr txBox="1"/>
          <p:nvPr/>
        </p:nvSpPr>
        <p:spPr>
          <a:xfrm>
            <a:off x="2880064" y="1786418"/>
            <a:ext cx="993807" cy="2453628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12700">
            <a:solidFill>
              <a:schemeClr val="accent2">
                <a:lumMod val="40000"/>
                <a:lumOff val="60000"/>
              </a:schemeClr>
            </a:solidFill>
          </a:ln>
        </p:spPr>
        <p:txBody>
          <a:bodyPr wrap="square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creening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44838BE-F3F8-4AB6-5702-4D891C0E881A}"/>
              </a:ext>
            </a:extLst>
          </p:cNvPr>
          <p:cNvSpPr txBox="1"/>
          <p:nvPr/>
        </p:nvSpPr>
        <p:spPr>
          <a:xfrm>
            <a:off x="7509716" y="2732315"/>
            <a:ext cx="567412" cy="561835"/>
          </a:xfrm>
          <a:prstGeom prst="rect">
            <a:avLst/>
          </a:prstGeom>
          <a:solidFill>
            <a:srgbClr val="F2F2F2"/>
          </a:solidFill>
          <a:ln>
            <a:solidFill>
              <a:schemeClr val="accent2">
                <a:lumMod val="75000"/>
              </a:schemeClr>
            </a:solidFill>
          </a:ln>
        </p:spPr>
        <p:txBody>
          <a:bodyPr wrap="square" lIns="72000" tIns="72000" rIns="72000" bIns="72000" anchor="ctr" anchorCtr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FCB813">
                    <a:lumMod val="7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EOT</a:t>
            </a:r>
            <a:r>
              <a:rPr kumimoji="0" lang="en-GB" sz="1200" b="1" i="0" u="none" strike="noStrike" kern="1200" cap="none" spc="0" normalizeH="0" baseline="30000" noProof="0" dirty="0">
                <a:ln>
                  <a:noFill/>
                </a:ln>
                <a:solidFill>
                  <a:srgbClr val="FCB813">
                    <a:lumMod val="7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†</a:t>
            </a:r>
            <a:endParaRPr kumimoji="0" lang="en-GB" sz="1200" b="0" i="0" u="none" strike="noStrike" kern="1200" cap="none" spc="0" normalizeH="0" baseline="30000" noProof="0" dirty="0">
              <a:ln>
                <a:noFill/>
              </a:ln>
              <a:solidFill>
                <a:srgbClr val="FCB813">
                  <a:lumMod val="75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E10B6E0-0A9D-F265-E9D6-97EDE98B3B8F}"/>
              </a:ext>
            </a:extLst>
          </p:cNvPr>
          <p:cNvSpPr txBox="1"/>
          <p:nvPr/>
        </p:nvSpPr>
        <p:spPr>
          <a:xfrm>
            <a:off x="8284631" y="2535862"/>
            <a:ext cx="763641" cy="954741"/>
          </a:xfrm>
          <a:prstGeom prst="rect">
            <a:avLst/>
          </a:prstGeom>
          <a:solidFill>
            <a:srgbClr val="F2F2F2"/>
          </a:solidFill>
          <a:ln>
            <a:solidFill>
              <a:schemeClr val="accent2">
                <a:lumMod val="75000"/>
              </a:schemeClr>
            </a:solidFill>
          </a:ln>
        </p:spPr>
        <p:txBody>
          <a:bodyPr wrap="square" lIns="72000" tIns="72000" rIns="72000" bIns="72000" anchor="ctr" anchorCtr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FCB813">
                    <a:lumMod val="7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Follow-up</a:t>
            </a:r>
            <a:b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FCB813">
                    <a:lumMod val="7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FCB813">
                    <a:lumMod val="7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(up to 60 months)</a:t>
            </a:r>
            <a:endParaRPr kumimoji="0" lang="en-GB" sz="1200" b="0" i="0" u="none" strike="noStrike" kern="1200" cap="none" spc="0" normalizeH="0" baseline="30000" noProof="0" dirty="0">
              <a:ln>
                <a:noFill/>
              </a:ln>
              <a:solidFill>
                <a:srgbClr val="FCB813">
                  <a:lumMod val="75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D8D3280-4A2D-C55A-CF50-2BD9B91CC105}"/>
              </a:ext>
            </a:extLst>
          </p:cNvPr>
          <p:cNvSpPr txBox="1"/>
          <p:nvPr/>
        </p:nvSpPr>
        <p:spPr>
          <a:xfrm>
            <a:off x="9255775" y="2726362"/>
            <a:ext cx="567412" cy="573741"/>
          </a:xfrm>
          <a:prstGeom prst="rect">
            <a:avLst/>
          </a:prstGeom>
          <a:solidFill>
            <a:srgbClr val="F2F2F2"/>
          </a:solidFill>
          <a:ln>
            <a:solidFill>
              <a:schemeClr val="accent2">
                <a:lumMod val="75000"/>
              </a:schemeClr>
            </a:solidFill>
          </a:ln>
        </p:spPr>
        <p:txBody>
          <a:bodyPr wrap="square" lIns="72000" tIns="72000" rIns="72000" bIns="72000" anchor="ctr" anchorCtr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FCB813">
                    <a:lumMod val="7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EOS</a:t>
            </a:r>
            <a:r>
              <a:rPr kumimoji="0" lang="en-GB" sz="1200" b="1" i="0" u="none" strike="noStrike" kern="1200" cap="none" spc="0" normalizeH="0" baseline="30000" noProof="0" dirty="0">
                <a:ln>
                  <a:noFill/>
                </a:ln>
                <a:solidFill>
                  <a:srgbClr val="FCB813">
                    <a:lumMod val="7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‡</a:t>
            </a:r>
            <a:endParaRPr kumimoji="0" lang="en-GB" sz="1200" b="0" i="0" u="none" strike="noStrike" kern="1200" cap="none" spc="0" normalizeH="0" baseline="30000" noProof="0" dirty="0">
              <a:ln>
                <a:noFill/>
              </a:ln>
              <a:solidFill>
                <a:srgbClr val="FCB813">
                  <a:lumMod val="75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237E6E2-46F7-0ED3-5478-9B95AD7AA2E7}"/>
              </a:ext>
            </a:extLst>
          </p:cNvPr>
          <p:cNvSpPr txBox="1"/>
          <p:nvPr/>
        </p:nvSpPr>
        <p:spPr>
          <a:xfrm>
            <a:off x="4923309" y="3076700"/>
            <a:ext cx="2312565" cy="1174457"/>
          </a:xfrm>
          <a:prstGeom prst="rect">
            <a:avLst/>
          </a:prstGeom>
          <a:solidFill>
            <a:srgbClr val="F2F2F2"/>
          </a:solidFill>
          <a:ln>
            <a:solidFill>
              <a:srgbClr val="9D9C98"/>
            </a:solidFill>
          </a:ln>
        </p:spPr>
        <p:txBody>
          <a:bodyPr wrap="square" lIns="0" tIns="72000" rIns="0" bIns="72000" anchor="ctr" anchorCtr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Calibri" panose="020F0502020204030204" pitchFamily="34" charset="0"/>
              </a:rPr>
              <a:t>Control arm (n≈440) </a:t>
            </a: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afasitamab placebo D1, D8, and </a:t>
            </a:r>
            <a:b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15 of each 21-day cycl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Lenalidomide placebo (D1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–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10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-CHOP x 6 cycl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9E2E43D-412A-F494-FB59-72BB9E91F7FA}"/>
              </a:ext>
            </a:extLst>
          </p:cNvPr>
          <p:cNvSpPr txBox="1"/>
          <p:nvPr/>
        </p:nvSpPr>
        <p:spPr>
          <a:xfrm>
            <a:off x="4923311" y="1786418"/>
            <a:ext cx="2312565" cy="1174457"/>
          </a:xfrm>
          <a:prstGeom prst="rect">
            <a:avLst/>
          </a:prstGeom>
          <a:solidFill>
            <a:srgbClr val="F2F2F2"/>
          </a:solidFill>
          <a:ln>
            <a:solidFill>
              <a:srgbClr val="9D9C98"/>
            </a:solidFill>
          </a:ln>
        </p:spPr>
        <p:txBody>
          <a:bodyPr wrap="none" lIns="0" tIns="72000" rIns="0" bIns="72000" anchor="ctr" anchorCtr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Calibri" panose="020F0502020204030204" pitchFamily="34" charset="0"/>
              </a:rPr>
              <a:t>Experimental arm (n≈440)</a:t>
            </a: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2 mg/kg tafasitamab D1, D8, </a:t>
            </a:r>
            <a:b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nd D15 of each 21-day cycl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5 mg/day lenalidomide (D1–D10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-CHOP x 6 cycles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5BEF409A-8D56-B5E1-A05D-3C23CEA2AC4C}"/>
              </a:ext>
            </a:extLst>
          </p:cNvPr>
          <p:cNvCxnSpPr>
            <a:cxnSpLocks/>
          </p:cNvCxnSpPr>
          <p:nvPr/>
        </p:nvCxnSpPr>
        <p:spPr>
          <a:xfrm>
            <a:off x="2653190" y="3013232"/>
            <a:ext cx="226874" cy="0"/>
          </a:xfrm>
          <a:prstGeom prst="straightConnector1">
            <a:avLst/>
          </a:prstGeom>
          <a:ln w="127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4B530F71-C16F-8B8A-3CD3-26361E4B34BD}"/>
              </a:ext>
            </a:extLst>
          </p:cNvPr>
          <p:cNvCxnSpPr>
            <a:cxnSpLocks/>
          </p:cNvCxnSpPr>
          <p:nvPr/>
        </p:nvCxnSpPr>
        <p:spPr>
          <a:xfrm>
            <a:off x="3873871" y="3012443"/>
            <a:ext cx="231226" cy="1578"/>
          </a:xfrm>
          <a:prstGeom prst="straightConnector1">
            <a:avLst/>
          </a:prstGeom>
          <a:ln w="127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265473FA-DBDC-09BD-5889-E6985BF12D26}"/>
              </a:ext>
            </a:extLst>
          </p:cNvPr>
          <p:cNvSpPr txBox="1"/>
          <p:nvPr/>
        </p:nvSpPr>
        <p:spPr>
          <a:xfrm rot="16200000" flipH="1">
            <a:off x="3753951" y="2797788"/>
            <a:ext cx="1133179" cy="43088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:1 randomisation</a:t>
            </a:r>
          </a:p>
        </p:txBody>
      </p:sp>
      <p:sp>
        <p:nvSpPr>
          <p:cNvPr id="26" name="Tekstfelt 10">
            <a:extLst>
              <a:ext uri="{FF2B5EF4-FFF2-40B4-BE49-F238E27FC236}">
                <a16:creationId xmlns:a16="http://schemas.microsoft.com/office/drawing/2014/main" id="{11AAE7CA-87CE-A389-9615-8AC4569BB464}"/>
              </a:ext>
            </a:extLst>
          </p:cNvPr>
          <p:cNvSpPr txBox="1"/>
          <p:nvPr/>
        </p:nvSpPr>
        <p:spPr>
          <a:xfrm>
            <a:off x="656359" y="4423636"/>
            <a:ext cx="10910801" cy="1200329"/>
          </a:xfrm>
          <a:prstGeom prst="rect">
            <a:avLst/>
          </a:prstGeom>
          <a:solidFill>
            <a:srgbClr val="DBDBDB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Calibri" panose="020F0502020204030204" pitchFamily="34" charset="0"/>
                <a:cs typeface="Calibri" panose="020F0502020204030204" pitchFamily="34" charset="0"/>
              </a:rPr>
              <a:t>Press release, 5 January 2026</a:t>
            </a:r>
            <a:r>
              <a:rPr kumimoji="0" lang="en-GB" sz="1800" b="0" i="0" u="none" strike="noStrike" kern="1200" cap="none" spc="0" normalizeH="0" baseline="3000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Calibri" panose="020F0502020204030204" pitchFamily="34" charset="0"/>
                <a:cs typeface="Calibri" panose="020F0502020204030204" pitchFamily="34" charset="0"/>
              </a:rPr>
              <a:t>2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Calibri" panose="020F0502020204030204" pitchFamily="34" charset="0"/>
                <a:cs typeface="Calibri" panose="020F0502020204030204" pitchFamily="34" charset="0"/>
              </a:rPr>
              <a:t>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Calibri" panose="020F0502020204030204" pitchFamily="34" charset="0"/>
                <a:cs typeface="Calibri" panose="020F0502020204030204" pitchFamily="34" charset="0"/>
              </a:rPr>
              <a:t>“</a:t>
            </a:r>
            <a:r>
              <a:rPr kumimoji="0" lang="en-GB" sz="1800" b="0" i="1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Calibri" panose="020F0502020204030204" pitchFamily="34" charset="0"/>
                <a:cs typeface="Calibri" panose="020F0502020204030204" pitchFamily="34" charset="0"/>
              </a:rPr>
              <a:t>The trial met its primary endpoint of progression-free survival (PFS) by investigator assessment (Hazard Ratio 0.75 [0.59,0.96]; p-value 0.019), according to Lugano 2014 criteria. The trial also met its key secondary endpoint of event-free survival (EFS) by investigator assessment. No new safety signals were observed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Calibri" panose="020F0502020204030204" pitchFamily="34" charset="0"/>
                <a:cs typeface="Calibri" panose="020F0502020204030204" pitchFamily="34" charset="0"/>
              </a:rPr>
              <a:t>.”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FB5FE144-A6E8-66E0-602C-A12728985CD8}"/>
              </a:ext>
            </a:extLst>
          </p:cNvPr>
          <p:cNvCxnSpPr>
            <a:cxnSpLocks/>
            <a:stCxn id="8" idx="3"/>
            <a:endCxn id="9" idx="1"/>
          </p:cNvCxnSpPr>
          <p:nvPr/>
        </p:nvCxnSpPr>
        <p:spPr>
          <a:xfrm>
            <a:off x="9048272" y="3013233"/>
            <a:ext cx="207503" cy="0"/>
          </a:xfrm>
          <a:prstGeom prst="straightConnector1">
            <a:avLst/>
          </a:prstGeom>
          <a:ln w="127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CBFA05E6-8754-927A-BEC0-CC74247729F3}"/>
              </a:ext>
            </a:extLst>
          </p:cNvPr>
          <p:cNvCxnSpPr>
            <a:cxnSpLocks/>
            <a:stCxn id="7" idx="3"/>
            <a:endCxn id="8" idx="1"/>
          </p:cNvCxnSpPr>
          <p:nvPr/>
        </p:nvCxnSpPr>
        <p:spPr>
          <a:xfrm>
            <a:off x="8077128" y="3013233"/>
            <a:ext cx="207503" cy="0"/>
          </a:xfrm>
          <a:prstGeom prst="straightConnector1">
            <a:avLst/>
          </a:prstGeom>
          <a:ln w="127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Connector: Elbow 48">
            <a:extLst>
              <a:ext uri="{FF2B5EF4-FFF2-40B4-BE49-F238E27FC236}">
                <a16:creationId xmlns:a16="http://schemas.microsoft.com/office/drawing/2014/main" id="{334CA7B2-716F-6BFD-D9F8-1E4A1061F957}"/>
              </a:ext>
            </a:extLst>
          </p:cNvPr>
          <p:cNvCxnSpPr>
            <a:cxnSpLocks/>
            <a:stCxn id="25" idx="2"/>
            <a:endCxn id="11" idx="1"/>
          </p:cNvCxnSpPr>
          <p:nvPr/>
        </p:nvCxnSpPr>
        <p:spPr>
          <a:xfrm flipV="1">
            <a:off x="4535984" y="2373647"/>
            <a:ext cx="387327" cy="639585"/>
          </a:xfrm>
          <a:prstGeom prst="bentConnector3">
            <a:avLst>
              <a:gd name="adj1" fmla="val 50000"/>
            </a:avLst>
          </a:prstGeom>
          <a:ln w="127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Connector: Elbow 52">
            <a:extLst>
              <a:ext uri="{FF2B5EF4-FFF2-40B4-BE49-F238E27FC236}">
                <a16:creationId xmlns:a16="http://schemas.microsoft.com/office/drawing/2014/main" id="{2C9AC04C-E655-E31B-4974-372252310FB4}"/>
              </a:ext>
            </a:extLst>
          </p:cNvPr>
          <p:cNvCxnSpPr>
            <a:cxnSpLocks/>
            <a:stCxn id="25" idx="2"/>
            <a:endCxn id="10" idx="1"/>
          </p:cNvCxnSpPr>
          <p:nvPr/>
        </p:nvCxnSpPr>
        <p:spPr>
          <a:xfrm>
            <a:off x="4535984" y="3013232"/>
            <a:ext cx="387325" cy="650697"/>
          </a:xfrm>
          <a:prstGeom prst="bentConnector3">
            <a:avLst>
              <a:gd name="adj1" fmla="val 50000"/>
            </a:avLst>
          </a:prstGeom>
          <a:ln w="127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Connector: Elbow 55">
            <a:extLst>
              <a:ext uri="{FF2B5EF4-FFF2-40B4-BE49-F238E27FC236}">
                <a16:creationId xmlns:a16="http://schemas.microsoft.com/office/drawing/2014/main" id="{ACE3B10A-B593-EBB4-16AF-DE26D7C3A69F}"/>
              </a:ext>
            </a:extLst>
          </p:cNvPr>
          <p:cNvCxnSpPr>
            <a:cxnSpLocks/>
            <a:stCxn id="11" idx="3"/>
            <a:endCxn id="7" idx="1"/>
          </p:cNvCxnSpPr>
          <p:nvPr/>
        </p:nvCxnSpPr>
        <p:spPr>
          <a:xfrm>
            <a:off x="7235876" y="2373647"/>
            <a:ext cx="273840" cy="639586"/>
          </a:xfrm>
          <a:prstGeom prst="bentConnector3">
            <a:avLst>
              <a:gd name="adj1" fmla="val 50000"/>
            </a:avLst>
          </a:prstGeom>
          <a:ln w="127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Connector: Elbow 58">
            <a:extLst>
              <a:ext uri="{FF2B5EF4-FFF2-40B4-BE49-F238E27FC236}">
                <a16:creationId xmlns:a16="http://schemas.microsoft.com/office/drawing/2014/main" id="{5DC00CED-B098-01C0-4483-98A1A529A4A4}"/>
              </a:ext>
            </a:extLst>
          </p:cNvPr>
          <p:cNvCxnSpPr>
            <a:cxnSpLocks/>
            <a:stCxn id="10" idx="3"/>
            <a:endCxn id="7" idx="1"/>
          </p:cNvCxnSpPr>
          <p:nvPr/>
        </p:nvCxnSpPr>
        <p:spPr>
          <a:xfrm flipV="1">
            <a:off x="7235874" y="3013233"/>
            <a:ext cx="273842" cy="650696"/>
          </a:xfrm>
          <a:prstGeom prst="bentConnector3">
            <a:avLst>
              <a:gd name="adj1" fmla="val 50000"/>
            </a:avLst>
          </a:prstGeom>
          <a:ln w="127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3">
            <a:extLst>
              <a:ext uri="{FF2B5EF4-FFF2-40B4-BE49-F238E27FC236}">
                <a16:creationId xmlns:a16="http://schemas.microsoft.com/office/drawing/2014/main" id="{AFADF880-1C64-34FD-9EC9-E3E672879A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651" y="6356350"/>
            <a:ext cx="383694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306B0CF-28DA-4AF7-AD0B-CB9D5901F647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82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7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53323190"/>
      </p:ext>
    </p:extLst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Title 1">
            <a:extLst>
              <a:ext uri="{FF2B5EF4-FFF2-40B4-BE49-F238E27FC236}">
                <a16:creationId xmlns:a16="http://schemas.microsoft.com/office/drawing/2014/main" id="{5C28B032-2BCF-EB34-5AC4-3E4CF0ACB6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0647" y="311858"/>
            <a:ext cx="9789459" cy="632402"/>
          </a:xfrm>
        </p:spPr>
        <p:txBody>
          <a:bodyPr/>
          <a:lstStyle/>
          <a:p>
            <a:r>
              <a:rPr lang="en-GB" sz="3200" dirty="0">
                <a:latin typeface="+mn-lt"/>
              </a:rPr>
              <a:t>Will CAR-T be used in 1L?*</a:t>
            </a:r>
            <a:br>
              <a:rPr lang="en-GB" sz="3200" dirty="0">
                <a:latin typeface="+mn-lt"/>
              </a:rPr>
            </a:br>
            <a:r>
              <a:rPr lang="en-GB" sz="3200" b="1" dirty="0">
                <a:solidFill>
                  <a:srgbClr val="585854"/>
                </a:solidFill>
                <a:latin typeface="+mn-lt"/>
                <a:cs typeface="Calibri" panose="020F0502020204030204" pitchFamily="34" charset="0"/>
              </a:rPr>
              <a:t>ZUMA-23</a:t>
            </a:r>
            <a:r>
              <a:rPr lang="en-GB" sz="3200" baseline="30000" dirty="0">
                <a:solidFill>
                  <a:srgbClr val="585854"/>
                </a:solidFill>
                <a:latin typeface="+mn-lt"/>
                <a:cs typeface="Calibri" panose="020F0502020204030204" pitchFamily="34" charset="0"/>
              </a:rPr>
              <a:t>1</a:t>
            </a:r>
            <a:r>
              <a:rPr lang="en-GB" sz="3200" dirty="0">
                <a:solidFill>
                  <a:srgbClr val="585854"/>
                </a:solidFill>
                <a:latin typeface="+mn-lt"/>
                <a:cs typeface="Calibri" panose="020F0502020204030204" pitchFamily="34" charset="0"/>
              </a:rPr>
              <a:t> (NCT05605899)</a:t>
            </a:r>
            <a:endParaRPr lang="en-GB" sz="3200" dirty="0">
              <a:latin typeface="+mn-lt"/>
            </a:endParaRPr>
          </a:p>
        </p:txBody>
      </p:sp>
      <p:sp>
        <p:nvSpPr>
          <p:cNvPr id="41" name="Text Placeholder 5">
            <a:extLst>
              <a:ext uri="{FF2B5EF4-FFF2-40B4-BE49-F238E27FC236}">
                <a16:creationId xmlns:a16="http://schemas.microsoft.com/office/drawing/2014/main" id="{8EDC32B7-53E1-7D27-9CDF-BD209EEEB14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70645" y="5686959"/>
            <a:ext cx="10440000" cy="1032991"/>
          </a:xfrm>
        </p:spPr>
        <p:txBody>
          <a:bodyPr/>
          <a:lstStyle/>
          <a:p>
            <a:r>
              <a:rPr lang="en-GB" dirty="0"/>
              <a:t>*Provided regulatory approval / subject to approved </a:t>
            </a:r>
            <a:r>
              <a:rPr lang="en-GB"/>
              <a:t>indication.</a:t>
            </a:r>
          </a:p>
          <a:p>
            <a:r>
              <a:rPr lang="en-GB"/>
              <a:t>†</a:t>
            </a:r>
            <a:r>
              <a:rPr lang="en-GB" dirty="0"/>
              <a:t>Patients with a history of HIV and/or hepatitis B or C and undetectable viral loads may enrol. Key exclusion criteria include LBCL of the central nervous system</a:t>
            </a:r>
            <a:r>
              <a:rPr lang="en-GB"/>
              <a:t>. </a:t>
            </a:r>
          </a:p>
          <a:p>
            <a:r>
              <a:rPr lang="en-GB"/>
              <a:t>‡</a:t>
            </a:r>
            <a:r>
              <a:rPr lang="en-GB" dirty="0"/>
              <a:t>R-CHOP or DA-EPOCH-R, based on the investigator’s choice. </a:t>
            </a:r>
            <a:br>
              <a:rPr lang="en-GB" dirty="0"/>
            </a:br>
            <a:r>
              <a:rPr lang="en-GB" dirty="0"/>
              <a:t>§Prophylactic corticosteroids may be administered to reduce the incidence and severity of cytokine release syndrome at the investigator’s discretion.</a:t>
            </a:r>
            <a:br>
              <a:rPr lang="en-GB" dirty="0"/>
            </a:br>
            <a:r>
              <a:rPr lang="en-GB" dirty="0"/>
              <a:t>1L, first-line; axi-cel, axicabtagene ciloleucel; CAR-T, chimeric antigen receptor T-cell therapy; CHOP, cyclophosphamide, doxorubicin, vincristine, and prednisone; DA, dose-adjusted; EFS, event-free survival; EPOCH, etoposide, prednisone, vincristine, cyclophosphamide and doxorubicin; HIV, human immunodeficiency virus; IPI, International Prognostic Index</a:t>
            </a:r>
            <a:r>
              <a:rPr lang="en-GB" b="1" dirty="0"/>
              <a:t>; </a:t>
            </a:r>
            <a:r>
              <a:rPr lang="en-GB" dirty="0"/>
              <a:t>LBCL, large B-cell lymphoma; R, rituximab; SOC, standard of care.</a:t>
            </a:r>
            <a:br>
              <a:rPr lang="en-GB" dirty="0"/>
            </a:br>
            <a:r>
              <a:rPr lang="en-GB" b="1" dirty="0"/>
              <a:t>1. </a:t>
            </a:r>
            <a:r>
              <a:rPr lang="en-GB" dirty="0"/>
              <a:t>Westin et al. </a:t>
            </a:r>
            <a:r>
              <a:rPr lang="en-GB" i="1" dirty="0" err="1"/>
              <a:t>HemaSphere</a:t>
            </a:r>
            <a:r>
              <a:rPr lang="en-GB" dirty="0"/>
              <a:t> 2023.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3927B888-0220-74ED-9CA5-C19A51B46B72}"/>
              </a:ext>
            </a:extLst>
          </p:cNvPr>
          <p:cNvSpPr txBox="1"/>
          <p:nvPr/>
        </p:nvSpPr>
        <p:spPr>
          <a:xfrm>
            <a:off x="766762" y="2738972"/>
            <a:ext cx="1080511" cy="1675861"/>
          </a:xfrm>
          <a:prstGeom prst="rect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txBody>
          <a:bodyPr wrap="square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~300 patients 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with high-risk LBCL, defined as IPI 4–5</a:t>
            </a:r>
            <a:r>
              <a:rPr kumimoji="0" lang="en-GB" sz="1400" b="0" i="0" u="none" strike="noStrike" kern="120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†</a:t>
            </a:r>
            <a:endParaRPr kumimoji="0" lang="en-GB" sz="1600" b="0" i="0" u="none" strike="noStrike" kern="1200" cap="none" spc="0" normalizeH="0" baseline="30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5C408198-6432-43DF-28BF-D4E9F9E0E543}"/>
              </a:ext>
            </a:extLst>
          </p:cNvPr>
          <p:cNvSpPr txBox="1"/>
          <p:nvPr/>
        </p:nvSpPr>
        <p:spPr>
          <a:xfrm>
            <a:off x="4071888" y="3714866"/>
            <a:ext cx="1104960" cy="991804"/>
          </a:xfrm>
          <a:prstGeom prst="rect">
            <a:avLst/>
          </a:prstGeom>
          <a:solidFill>
            <a:srgbClr val="F2F2F2"/>
          </a:solidFill>
          <a:ln>
            <a:solidFill>
              <a:srgbClr val="9D9C98"/>
            </a:solidFill>
          </a:ln>
        </p:spPr>
        <p:txBody>
          <a:bodyPr wrap="square" lIns="0" tIns="72000" rIns="0" bIns="72000" anchor="ctr" anchorCtr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9D9C98"/>
                </a:solidFill>
                <a:effectLst/>
                <a:uLnTx/>
                <a:uFillTx/>
                <a:latin typeface="Aptos" panose="02110004020202020204"/>
                <a:ea typeface="+mn-ea"/>
                <a:cs typeface="Calibri" panose="020F0502020204030204" pitchFamily="34" charset="0"/>
              </a:rPr>
              <a:t>SoC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44" name="Connector: Elbow 43">
            <a:extLst>
              <a:ext uri="{FF2B5EF4-FFF2-40B4-BE49-F238E27FC236}">
                <a16:creationId xmlns:a16="http://schemas.microsoft.com/office/drawing/2014/main" id="{F09ACA1E-4D15-29B8-C7B5-BF9E685A69BA}"/>
              </a:ext>
            </a:extLst>
          </p:cNvPr>
          <p:cNvCxnSpPr>
            <a:cxnSpLocks/>
            <a:stCxn id="42" idx="3"/>
          </p:cNvCxnSpPr>
          <p:nvPr/>
        </p:nvCxnSpPr>
        <p:spPr>
          <a:xfrm flipV="1">
            <a:off x="1847273" y="2893453"/>
            <a:ext cx="2224615" cy="683450"/>
          </a:xfrm>
          <a:prstGeom prst="bentConnector3">
            <a:avLst>
              <a:gd name="adj1" fmla="val 50000"/>
            </a:avLst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Connector: Elbow 44">
            <a:extLst>
              <a:ext uri="{FF2B5EF4-FFF2-40B4-BE49-F238E27FC236}">
                <a16:creationId xmlns:a16="http://schemas.microsoft.com/office/drawing/2014/main" id="{78F56926-6994-10E1-1A0D-04B1F6F3447C}"/>
              </a:ext>
            </a:extLst>
          </p:cNvPr>
          <p:cNvCxnSpPr>
            <a:cxnSpLocks/>
            <a:stCxn id="42" idx="3"/>
            <a:endCxn id="43" idx="1"/>
          </p:cNvCxnSpPr>
          <p:nvPr/>
        </p:nvCxnSpPr>
        <p:spPr>
          <a:xfrm>
            <a:off x="1847273" y="3576903"/>
            <a:ext cx="2224615" cy="633865"/>
          </a:xfrm>
          <a:prstGeom prst="bentConnector3">
            <a:avLst>
              <a:gd name="adj1" fmla="val 50000"/>
            </a:avLst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45">
            <a:extLst>
              <a:ext uri="{FF2B5EF4-FFF2-40B4-BE49-F238E27FC236}">
                <a16:creationId xmlns:a16="http://schemas.microsoft.com/office/drawing/2014/main" id="{6F7199E9-B13B-F1EF-CB02-B1F000E02F9B}"/>
              </a:ext>
            </a:extLst>
          </p:cNvPr>
          <p:cNvSpPr txBox="1"/>
          <p:nvPr/>
        </p:nvSpPr>
        <p:spPr>
          <a:xfrm rot="16200000" flipH="1">
            <a:off x="3208514" y="3331049"/>
            <a:ext cx="111305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:1 randomisation</a:t>
            </a:r>
          </a:p>
        </p:txBody>
      </p: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0864201D-7FA7-3F91-8327-13AFFF8ED825}"/>
              </a:ext>
            </a:extLst>
          </p:cNvPr>
          <p:cNvCxnSpPr>
            <a:cxnSpLocks/>
          </p:cNvCxnSpPr>
          <p:nvPr/>
        </p:nvCxnSpPr>
        <p:spPr>
          <a:xfrm>
            <a:off x="5176848" y="2652939"/>
            <a:ext cx="0" cy="0"/>
          </a:xfrm>
          <a:prstGeom prst="line">
            <a:avLst/>
          </a:prstGeom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681D598B-7724-E97F-1EB7-620FEB18C0BF}"/>
              </a:ext>
            </a:extLst>
          </p:cNvPr>
          <p:cNvCxnSpPr>
            <a:cxnSpLocks/>
            <a:stCxn id="43" idx="3"/>
            <a:endCxn id="49" idx="1"/>
          </p:cNvCxnSpPr>
          <p:nvPr/>
        </p:nvCxnSpPr>
        <p:spPr>
          <a:xfrm flipV="1">
            <a:off x="5176848" y="4210767"/>
            <a:ext cx="131357" cy="1"/>
          </a:xfrm>
          <a:prstGeom prst="line">
            <a:avLst/>
          </a:prstGeom>
          <a:ln>
            <a:solidFill>
              <a:srgbClr val="9D9C9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48">
            <a:extLst>
              <a:ext uri="{FF2B5EF4-FFF2-40B4-BE49-F238E27FC236}">
                <a16:creationId xmlns:a16="http://schemas.microsoft.com/office/drawing/2014/main" id="{81948A3D-8EA5-6D7F-9DE2-6243D6064180}"/>
              </a:ext>
            </a:extLst>
          </p:cNvPr>
          <p:cNvSpPr txBox="1"/>
          <p:nvPr/>
        </p:nvSpPr>
        <p:spPr>
          <a:xfrm>
            <a:off x="5308205" y="3714865"/>
            <a:ext cx="1601089" cy="991804"/>
          </a:xfrm>
          <a:prstGeom prst="rect">
            <a:avLst/>
          </a:prstGeom>
          <a:solidFill>
            <a:srgbClr val="F2F2F2"/>
          </a:solidFill>
          <a:ln>
            <a:solidFill>
              <a:srgbClr val="9D9C98"/>
            </a:solidFill>
          </a:ln>
        </p:spPr>
        <p:txBody>
          <a:bodyPr wrap="square" lIns="72000" tIns="72000" rIns="72000" bIns="72000" anchor="ctr" anchorCtr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5 additional cycles </a:t>
            </a:r>
            <a:b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9D9C98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-CHOP or </a:t>
            </a:r>
            <a:b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9D9C98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A-EPOCH-R</a:t>
            </a:r>
            <a:r>
              <a:rPr kumimoji="0" lang="en-GB" sz="1200" b="0" i="0" u="none" strike="noStrike" kern="1200" cap="none" spc="0" normalizeH="0" baseline="30000" noProof="0" dirty="0">
                <a:ln>
                  <a:noFill/>
                </a:ln>
                <a:solidFill>
                  <a:srgbClr val="9D9C98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‡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D50CF2D8-BC85-D1A6-4268-94D178FDAB1D}"/>
              </a:ext>
            </a:extLst>
          </p:cNvPr>
          <p:cNvSpPr txBox="1"/>
          <p:nvPr/>
        </p:nvSpPr>
        <p:spPr>
          <a:xfrm>
            <a:off x="10165278" y="3082133"/>
            <a:ext cx="1186891" cy="1113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>
            <a:solidFill>
              <a:schemeClr val="accent3"/>
            </a:solidFill>
          </a:ln>
        </p:spPr>
        <p:txBody>
          <a:bodyPr wrap="square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imary endpoin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EFS based on blinded central review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E2C2DF8D-22EA-FF0D-D844-5048DDE95525}"/>
              </a:ext>
            </a:extLst>
          </p:cNvPr>
          <p:cNvSpPr txBox="1"/>
          <p:nvPr/>
        </p:nvSpPr>
        <p:spPr>
          <a:xfrm>
            <a:off x="2041661" y="2733040"/>
            <a:ext cx="1416534" cy="1675861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12700">
            <a:solidFill>
              <a:schemeClr val="accent3">
                <a:lumMod val="40000"/>
                <a:lumOff val="60000"/>
              </a:schemeClr>
            </a:solidFill>
          </a:ln>
        </p:spPr>
        <p:txBody>
          <a:bodyPr wrap="square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-based chemotherapy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 cycle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B4D9D1EB-5405-5FEC-19C0-946C264C8DA2}"/>
              </a:ext>
            </a:extLst>
          </p:cNvPr>
          <p:cNvCxnSpPr>
            <a:cxnSpLocks/>
            <a:stCxn id="53" idx="3"/>
            <a:endCxn id="56" idx="1"/>
          </p:cNvCxnSpPr>
          <p:nvPr/>
        </p:nvCxnSpPr>
        <p:spPr>
          <a:xfrm>
            <a:off x="5176848" y="2893453"/>
            <a:ext cx="3518598" cy="394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Box 52">
            <a:extLst>
              <a:ext uri="{FF2B5EF4-FFF2-40B4-BE49-F238E27FC236}">
                <a16:creationId xmlns:a16="http://schemas.microsoft.com/office/drawing/2014/main" id="{E9510F96-4F69-C497-0062-9CB6C2A32D74}"/>
              </a:ext>
            </a:extLst>
          </p:cNvPr>
          <p:cNvSpPr txBox="1"/>
          <p:nvPr/>
        </p:nvSpPr>
        <p:spPr>
          <a:xfrm>
            <a:off x="4071888" y="2329346"/>
            <a:ext cx="1104960" cy="1128214"/>
          </a:xfrm>
          <a:prstGeom prst="rect">
            <a:avLst/>
          </a:prstGeom>
          <a:solidFill>
            <a:srgbClr val="F2F2F2"/>
          </a:solidFill>
          <a:ln>
            <a:solidFill>
              <a:schemeClr val="accent3"/>
            </a:solidFill>
          </a:ln>
        </p:spPr>
        <p:txBody>
          <a:bodyPr wrap="square" lIns="72000" tIns="72000" rIns="72000" bIns="72000" anchor="ctr" anchorCtr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2D5E77"/>
                </a:solidFill>
                <a:effectLst/>
                <a:uLnTx/>
                <a:uFillTx/>
                <a:latin typeface="Aptos" panose="02110004020202020204"/>
                <a:ea typeface="+mn-ea"/>
                <a:cs typeface="Calibri" panose="020F0502020204030204" pitchFamily="34" charset="0"/>
              </a:rPr>
              <a:t>Axi-cel</a:t>
            </a:r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srgbClr val="2D5E77"/>
              </a:solidFill>
              <a:effectLst/>
              <a:uLnTx/>
              <a:uFillTx/>
              <a:latin typeface="Aptos" panose="02110004020202020204"/>
              <a:ea typeface="+mn-ea"/>
              <a:cs typeface="Calibri" panose="020F0502020204030204" pitchFamily="34" charset="0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99F46BF6-AFD3-AD40-1FCC-52E2D4C1F9F5}"/>
              </a:ext>
            </a:extLst>
          </p:cNvPr>
          <p:cNvSpPr txBox="1"/>
          <p:nvPr/>
        </p:nvSpPr>
        <p:spPr>
          <a:xfrm>
            <a:off x="5308206" y="2333286"/>
            <a:ext cx="1601090" cy="1128214"/>
          </a:xfrm>
          <a:prstGeom prst="rect">
            <a:avLst/>
          </a:prstGeom>
          <a:solidFill>
            <a:srgbClr val="F2F2F2"/>
          </a:solidFill>
          <a:ln>
            <a:solidFill>
              <a:schemeClr val="accent3"/>
            </a:solidFill>
          </a:ln>
        </p:spPr>
        <p:txBody>
          <a:bodyPr wrap="square" lIns="72000" tIns="72000" rIns="72000" bIns="72000" anchor="ctr" anchorCtr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2D5E77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Leukapheresis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followed by R-CHOP or DA-EPOCH-R </a:t>
            </a: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ptos" panose="02110004020202020204"/>
              <a:ea typeface="Calibri"/>
              <a:cs typeface="Calibri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776A7702-2C84-8D25-B455-0F19EEA3480E}"/>
              </a:ext>
            </a:extLst>
          </p:cNvPr>
          <p:cNvSpPr txBox="1"/>
          <p:nvPr/>
        </p:nvSpPr>
        <p:spPr>
          <a:xfrm>
            <a:off x="7040654" y="2333286"/>
            <a:ext cx="1523434" cy="1128214"/>
          </a:xfrm>
          <a:prstGeom prst="rect">
            <a:avLst/>
          </a:prstGeom>
          <a:solidFill>
            <a:srgbClr val="F2F2F2"/>
          </a:solidFill>
          <a:ln>
            <a:solidFill>
              <a:schemeClr val="accent3"/>
            </a:solidFill>
          </a:ln>
        </p:spPr>
        <p:txBody>
          <a:bodyPr wrap="square" lIns="72000" tIns="72000" rIns="72000" bIns="72000" anchor="ctr" anchorCtr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2D5E77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Lympho-depletion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fludarabine/</a:t>
            </a:r>
            <a:b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yclophosphamide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5F05B3E4-6852-7CA1-9F6F-80D650DA7C29}"/>
              </a:ext>
            </a:extLst>
          </p:cNvPr>
          <p:cNvSpPr txBox="1"/>
          <p:nvPr/>
        </p:nvSpPr>
        <p:spPr>
          <a:xfrm>
            <a:off x="8695446" y="2333286"/>
            <a:ext cx="1181899" cy="1128214"/>
          </a:xfrm>
          <a:prstGeom prst="rect">
            <a:avLst/>
          </a:prstGeom>
          <a:solidFill>
            <a:srgbClr val="F2F2F2"/>
          </a:solidFill>
          <a:ln>
            <a:solidFill>
              <a:schemeClr val="accent3"/>
            </a:solidFill>
          </a:ln>
        </p:spPr>
        <p:txBody>
          <a:bodyPr wrap="square" lIns="72000" tIns="72000" rIns="72000" bIns="72000" anchor="ctr" anchorCtr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2D5E77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xi-cel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2D5E77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 </a:t>
            </a:r>
            <a:endParaRPr kumimoji="0" lang="en-GB" sz="1200" b="0" i="0" u="none" strike="noStrike" kern="1200" cap="none" spc="0" normalizeH="0" baseline="30000" noProof="0" dirty="0">
              <a:ln>
                <a:noFill/>
              </a:ln>
              <a:solidFill>
                <a:srgbClr val="2D5E77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 2 × 10</a:t>
            </a:r>
            <a:r>
              <a:rPr kumimoji="0" lang="en-GB" sz="1200" b="0" i="0" u="none" strike="noStrike" kern="1200" cap="none" spc="0" normalizeH="0" baseline="3000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6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CAR T-cells/kg</a:t>
            </a:r>
            <a:r>
              <a:rPr kumimoji="0" lang="en-GB" sz="1200" b="0" i="0" u="none" strike="noStrike" kern="1200" cap="none" spc="0" normalizeH="0" baseline="3000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§</a:t>
            </a:r>
            <a:endParaRPr kumimoji="0" lang="en-GB" sz="1200" b="0" i="0" u="none" strike="noStrike" kern="1200" cap="none" spc="0" normalizeH="0" baseline="30000" noProof="0" dirty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Calibri"/>
              <a:cs typeface="Calibri"/>
            </a:endParaRPr>
          </a:p>
        </p:txBody>
      </p:sp>
      <p:sp>
        <p:nvSpPr>
          <p:cNvPr id="2" name="Slide Number Placeholder 3">
            <a:extLst>
              <a:ext uri="{FF2B5EF4-FFF2-40B4-BE49-F238E27FC236}">
                <a16:creationId xmlns:a16="http://schemas.microsoft.com/office/drawing/2014/main" id="{1426DC89-2521-7A44-9277-82F69D661B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651" y="6356350"/>
            <a:ext cx="383694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306B0CF-28DA-4AF7-AD0B-CB9D5901F647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82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8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94672761"/>
      </p:ext>
    </p:extLst>
  </p:cSld>
  <p:clrMapOvr>
    <a:masterClrMapping/>
  </p:clrMapOvr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337A63B-137D-9D39-A0D8-D6C652D7F5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A36086C0-4E29-22AE-3DF1-103DD2BBAB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0647" y="311858"/>
            <a:ext cx="9789459" cy="632402"/>
          </a:xfrm>
        </p:spPr>
        <p:txBody>
          <a:bodyPr/>
          <a:lstStyle/>
          <a:p>
            <a:r>
              <a:rPr lang="en-GB" sz="3200" dirty="0">
                <a:latin typeface="+mn-lt"/>
              </a:rPr>
              <a:t>Will bispecific antibodies be used in 1L?*</a:t>
            </a:r>
            <a:br>
              <a:rPr lang="en-GB" sz="3200" dirty="0">
                <a:latin typeface="+mn-lt"/>
              </a:rPr>
            </a:br>
            <a:r>
              <a:rPr lang="en-GB" sz="3200" b="1" dirty="0">
                <a:solidFill>
                  <a:srgbClr val="585854"/>
                </a:solidFill>
                <a:latin typeface="+mn-lt"/>
                <a:cs typeface="Calibri" panose="020F0502020204030204" pitchFamily="34" charset="0"/>
              </a:rPr>
              <a:t>EPCORE NHL-5</a:t>
            </a:r>
            <a:r>
              <a:rPr lang="en-GB" sz="3200" baseline="30000" dirty="0">
                <a:solidFill>
                  <a:srgbClr val="585854"/>
                </a:solidFill>
                <a:latin typeface="+mn-lt"/>
                <a:cs typeface="Calibri" panose="020F0502020204030204" pitchFamily="34" charset="0"/>
              </a:rPr>
              <a:t>1,2</a:t>
            </a:r>
            <a:r>
              <a:rPr lang="en-GB" sz="3200" dirty="0">
                <a:solidFill>
                  <a:srgbClr val="585854"/>
                </a:solidFill>
                <a:latin typeface="+mn-lt"/>
                <a:cs typeface="Calibri" panose="020F0502020204030204" pitchFamily="34" charset="0"/>
              </a:rPr>
              <a:t> (</a:t>
            </a:r>
            <a:r>
              <a:rPr lang="en-GB" sz="3200" dirty="0">
                <a:latin typeface="+mn-lt"/>
              </a:rPr>
              <a:t>NCT05283720</a:t>
            </a:r>
            <a:r>
              <a:rPr lang="en-GB" sz="3200" dirty="0">
                <a:solidFill>
                  <a:srgbClr val="585854"/>
                </a:solidFill>
                <a:latin typeface="+mn-lt"/>
                <a:cs typeface="Calibri" panose="020F0502020204030204" pitchFamily="34" charset="0"/>
              </a:rPr>
              <a:t>)</a:t>
            </a:r>
            <a:endParaRPr lang="en-GB" sz="3200" dirty="0">
              <a:latin typeface="+mn-lt"/>
            </a:endParaRP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E34B7951-DD6B-47F3-C432-96FB160156C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70645" y="5747047"/>
            <a:ext cx="10440000" cy="972903"/>
          </a:xfrm>
        </p:spPr>
        <p:txBody>
          <a:bodyPr/>
          <a:lstStyle/>
          <a:p>
            <a:r>
              <a:rPr lang="en-GB" dirty="0"/>
              <a:t>*Provided regulatory approval / subject to approved indication. </a:t>
            </a:r>
            <a:br>
              <a:rPr lang="en-GB" dirty="0"/>
            </a:br>
            <a:r>
              <a:rPr lang="en-GB" dirty="0"/>
              <a:t>†Epcoritamab step-up dosing with 0.16 mg priming dose given SC on Day 1, Cycle 1, followed by 0.8 mg dose SC on Day 8, Cycle 1 and 24 or 48 mg SC (full dose) on Day 15, Cycle 1. </a:t>
            </a:r>
          </a:p>
          <a:p>
            <a:r>
              <a:rPr lang="en-GB" dirty="0"/>
              <a:t>‡On Day 1 of Cycles 1–6: Polatuzumab vedotin at 1.8 mg/kg, rituximab at 375 mg/m</a:t>
            </a:r>
            <a:r>
              <a:rPr lang="en-GB" baseline="30000" dirty="0"/>
              <a:t>2</a:t>
            </a:r>
            <a:r>
              <a:rPr lang="en-GB" dirty="0"/>
              <a:t>, cyclophosphamide at 750 mg/m</a:t>
            </a:r>
            <a:r>
              <a:rPr lang="en-GB" baseline="30000" dirty="0"/>
              <a:t>2</a:t>
            </a:r>
            <a:r>
              <a:rPr lang="en-GB" dirty="0"/>
              <a:t>; doxorubicin at 50 mg/m</a:t>
            </a:r>
            <a:r>
              <a:rPr lang="en-GB" baseline="30000" dirty="0"/>
              <a:t>2</a:t>
            </a:r>
            <a:r>
              <a:rPr lang="en-GB" dirty="0"/>
              <a:t>. Prednisone given at 100 mg on Days 1–5 of each cycle. </a:t>
            </a:r>
            <a:br>
              <a:rPr lang="en-GB" dirty="0"/>
            </a:br>
            <a:r>
              <a:rPr lang="en-GB" dirty="0"/>
              <a:t>1L, first line; CR, complete response; DH/TH, double-hit/triple-hit; DLBCL, diffuse large B-cell lymphoma; ECOG PS, Eastern Cooperative Oncology Group performance status; </a:t>
            </a:r>
          </a:p>
          <a:p>
            <a:r>
              <a:rPr lang="en-GB" dirty="0"/>
              <a:t>FL3B, follicular lymphoma grade 3B; IPI, International Prognostic Index; NOS, not otherwise specified; ORR, overall response rate; Pola-R-CHP, polatuzumab vedotin, rituximab, cyclophosphamide, doxorubicin and prednisone; PR, partial response; Q3W, every 3 weeks; QW, every week.</a:t>
            </a:r>
            <a:br>
              <a:rPr lang="en-GB" dirty="0"/>
            </a:br>
            <a:r>
              <a:rPr lang="en-GB" b="1" dirty="0"/>
              <a:t>1. </a:t>
            </a:r>
            <a:r>
              <a:rPr lang="en-GB" dirty="0"/>
              <a:t>Clinicaltrials.gov NCT05283720 </a:t>
            </a:r>
            <a:r>
              <a:rPr lang="en-GB" b="1" dirty="0"/>
              <a:t>2. </a:t>
            </a:r>
            <a:r>
              <a:rPr lang="en-GB" dirty="0"/>
              <a:t>Kerr et al. EHA 2025, Oral presentation #S247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BFA25E0-CB52-C972-DEFE-900F9AAD5B9C}"/>
              </a:ext>
            </a:extLst>
          </p:cNvPr>
          <p:cNvSpPr txBox="1"/>
          <p:nvPr/>
        </p:nvSpPr>
        <p:spPr>
          <a:xfrm>
            <a:off x="5753966" y="2646370"/>
            <a:ext cx="1394546" cy="64799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solidFill>
              <a:schemeClr val="accent2"/>
            </a:solidFill>
          </a:ln>
        </p:spPr>
        <p:txBody>
          <a:bodyPr wrap="square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imary endpoin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ose-limiting toxicities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32BEC13-F1DC-6A94-BB47-C98093C7D8BA}"/>
              </a:ext>
            </a:extLst>
          </p:cNvPr>
          <p:cNvSpPr txBox="1"/>
          <p:nvPr/>
        </p:nvSpPr>
        <p:spPr>
          <a:xfrm>
            <a:off x="766763" y="2076930"/>
            <a:ext cx="2160816" cy="1786878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txBody>
          <a:bodyPr wrap="square" lIns="91440" tIns="45720" rIns="91440" bIns="45720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eviously untreated DLBCL (including DLBCL NOS, DH/TH, FL3B, transformed from indolent disease):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D20+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IPI 2–5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Calibri"/>
                <a:cs typeface="Calibri"/>
              </a:rPr>
              <a:t>ECOG PS 0–2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8E4E9DC-656B-47B9-C891-E77529CF17CD}"/>
              </a:ext>
            </a:extLst>
          </p:cNvPr>
          <p:cNvSpPr txBox="1"/>
          <p:nvPr/>
        </p:nvSpPr>
        <p:spPr>
          <a:xfrm>
            <a:off x="3256845" y="2263892"/>
            <a:ext cx="2312565" cy="1412955"/>
          </a:xfrm>
          <a:prstGeom prst="rect">
            <a:avLst/>
          </a:prstGeom>
          <a:solidFill>
            <a:srgbClr val="F2F2F2"/>
          </a:solidFill>
          <a:ln>
            <a:solidFill>
              <a:srgbClr val="9D9C98"/>
            </a:solidFill>
          </a:ln>
        </p:spPr>
        <p:txBody>
          <a:bodyPr wrap="square" lIns="0" tIns="72000" rIns="0" bIns="72000" anchor="ctr" anchorCtr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Calibri" panose="020F0502020204030204" pitchFamily="34" charset="0"/>
              </a:rPr>
              <a:t>Arm 3</a:t>
            </a: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Epcoritamab step-up dosing in Cycle 1</a:t>
            </a:r>
            <a:r>
              <a:rPr kumimoji="0" lang="en-GB" sz="1200" b="0" i="0" u="none" strike="noStrike" kern="1200" cap="none" spc="0" normalizeH="0" baseline="3000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†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, QW in Cycles 2–4 and Q3W in Cycles 5–8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+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ola-R-CHP</a:t>
            </a:r>
            <a:r>
              <a:rPr kumimoji="0" lang="en-GB" sz="1200" b="0" i="0" u="none" strike="noStrike" kern="1200" cap="none" spc="0" normalizeH="0" baseline="3000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‡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Q3W in Cycles 1–6</a:t>
            </a:r>
            <a:endParaRPr kumimoji="0" lang="en-GB" sz="1200" b="0" i="0" u="none" strike="noStrike" kern="1200" cap="none" spc="0" normalizeH="0" baseline="30000" noProof="0" dirty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CBCEFDC9-2682-C617-09C6-24CA9CC42003}"/>
              </a:ext>
            </a:extLst>
          </p:cNvPr>
          <p:cNvCxnSpPr>
            <a:cxnSpLocks/>
            <a:stCxn id="13" idx="3"/>
            <a:endCxn id="14" idx="1"/>
          </p:cNvCxnSpPr>
          <p:nvPr/>
        </p:nvCxnSpPr>
        <p:spPr>
          <a:xfrm>
            <a:off x="2927579" y="2970369"/>
            <a:ext cx="329266" cy="1"/>
          </a:xfrm>
          <a:prstGeom prst="straightConnector1">
            <a:avLst/>
          </a:prstGeom>
          <a:ln w="127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object 9">
            <a:extLst>
              <a:ext uri="{FF2B5EF4-FFF2-40B4-BE49-F238E27FC236}">
                <a16:creationId xmlns:a16="http://schemas.microsoft.com/office/drawing/2014/main" id="{3AC82BDF-A219-C4B4-D8FA-04DCF97BAFFE}"/>
              </a:ext>
            </a:extLst>
          </p:cNvPr>
          <p:cNvSpPr/>
          <p:nvPr/>
        </p:nvSpPr>
        <p:spPr>
          <a:xfrm>
            <a:off x="10728899" y="2394280"/>
            <a:ext cx="152760" cy="142493"/>
          </a:xfrm>
          <a:custGeom>
            <a:avLst/>
            <a:gdLst/>
            <a:ahLst/>
            <a:cxnLst/>
            <a:rect l="l" t="t" r="r" b="b"/>
            <a:pathLst>
              <a:path w="142239" h="113030">
                <a:moveTo>
                  <a:pt x="141732" y="0"/>
                </a:moveTo>
                <a:lnTo>
                  <a:pt x="0" y="0"/>
                </a:lnTo>
                <a:lnTo>
                  <a:pt x="0" y="112775"/>
                </a:lnTo>
                <a:lnTo>
                  <a:pt x="141732" y="112775"/>
                </a:lnTo>
                <a:lnTo>
                  <a:pt x="141732" y="0"/>
                </a:lnTo>
                <a:close/>
              </a:path>
            </a:pathLst>
          </a:custGeom>
          <a:solidFill>
            <a:schemeClr val="accent3"/>
          </a:solidFill>
          <a:ln>
            <a:solidFill>
              <a:schemeClr val="accent3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AFB294E-E3DB-5EDC-1983-705C014DFD08}"/>
              </a:ext>
            </a:extLst>
          </p:cNvPr>
          <p:cNvSpPr txBox="1"/>
          <p:nvPr/>
        </p:nvSpPr>
        <p:spPr>
          <a:xfrm>
            <a:off x="10862961" y="2327027"/>
            <a:ext cx="367505" cy="276999"/>
          </a:xfrm>
          <a:prstGeom prst="rect">
            <a:avLst/>
          </a:prstGeom>
          <a:noFill/>
        </p:spPr>
        <p:txBody>
          <a:bodyPr wrap="square" lIns="72000" rIns="72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R</a:t>
            </a:r>
          </a:p>
        </p:txBody>
      </p:sp>
      <p:sp>
        <p:nvSpPr>
          <p:cNvPr id="19" name="object 9">
            <a:extLst>
              <a:ext uri="{FF2B5EF4-FFF2-40B4-BE49-F238E27FC236}">
                <a16:creationId xmlns:a16="http://schemas.microsoft.com/office/drawing/2014/main" id="{A2C3E2FC-1E7B-05A3-0B1A-5AED7A859B3C}"/>
              </a:ext>
            </a:extLst>
          </p:cNvPr>
          <p:cNvSpPr/>
          <p:nvPr/>
        </p:nvSpPr>
        <p:spPr>
          <a:xfrm>
            <a:off x="10728899" y="2132253"/>
            <a:ext cx="144000" cy="142493"/>
          </a:xfrm>
          <a:custGeom>
            <a:avLst/>
            <a:gdLst/>
            <a:ahLst/>
            <a:cxnLst/>
            <a:rect l="l" t="t" r="r" b="b"/>
            <a:pathLst>
              <a:path w="142239" h="113030">
                <a:moveTo>
                  <a:pt x="141732" y="0"/>
                </a:moveTo>
                <a:lnTo>
                  <a:pt x="0" y="0"/>
                </a:lnTo>
                <a:lnTo>
                  <a:pt x="0" y="112775"/>
                </a:lnTo>
                <a:lnTo>
                  <a:pt x="141732" y="112775"/>
                </a:lnTo>
                <a:lnTo>
                  <a:pt x="141732" y="0"/>
                </a:lnTo>
                <a:close/>
              </a:path>
            </a:pathLst>
          </a:custGeo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C21222D-E974-71AC-73BA-EBC194C83EDA}"/>
              </a:ext>
            </a:extLst>
          </p:cNvPr>
          <p:cNvSpPr txBox="1"/>
          <p:nvPr/>
        </p:nvSpPr>
        <p:spPr>
          <a:xfrm>
            <a:off x="10862961" y="2065000"/>
            <a:ext cx="367505" cy="276999"/>
          </a:xfrm>
          <a:prstGeom prst="rect">
            <a:avLst/>
          </a:prstGeom>
          <a:noFill/>
        </p:spPr>
        <p:txBody>
          <a:bodyPr wrap="square" lIns="72000" rIns="72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ECFF878-21DF-1DEE-7811-525625484A91}"/>
              </a:ext>
            </a:extLst>
          </p:cNvPr>
          <p:cNvSpPr txBox="1"/>
          <p:nvPr/>
        </p:nvSpPr>
        <p:spPr>
          <a:xfrm>
            <a:off x="8938732" y="1604866"/>
            <a:ext cx="1790167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esponse rate</a:t>
            </a:r>
          </a:p>
        </p:txBody>
      </p:sp>
      <p:graphicFrame>
        <p:nvGraphicFramePr>
          <p:cNvPr id="22" name="Chart 21">
            <a:extLst>
              <a:ext uri="{FF2B5EF4-FFF2-40B4-BE49-F238E27FC236}">
                <a16:creationId xmlns:a16="http://schemas.microsoft.com/office/drawing/2014/main" id="{B1E50127-3B61-E012-8C6F-E2492D4C6A7C}"/>
              </a:ext>
            </a:extLst>
          </p:cNvPr>
          <p:cNvGraphicFramePr/>
          <p:nvPr/>
        </p:nvGraphicFramePr>
        <p:xfrm>
          <a:off x="7914636" y="2326444"/>
          <a:ext cx="3296289" cy="31591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3" name="TextBox 22">
            <a:extLst>
              <a:ext uri="{FF2B5EF4-FFF2-40B4-BE49-F238E27FC236}">
                <a16:creationId xmlns:a16="http://schemas.microsoft.com/office/drawing/2014/main" id="{0686B28E-4FB4-E5DC-DF93-F436F12D2446}"/>
              </a:ext>
            </a:extLst>
          </p:cNvPr>
          <p:cNvSpPr txBox="1"/>
          <p:nvPr/>
        </p:nvSpPr>
        <p:spPr>
          <a:xfrm>
            <a:off x="9652419" y="3092486"/>
            <a:ext cx="555300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97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%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C137A4A5-5733-8C02-5A92-C1E4359FE036}"/>
              </a:ext>
            </a:extLst>
          </p:cNvPr>
          <p:cNvSpPr txBox="1"/>
          <p:nvPr/>
        </p:nvSpPr>
        <p:spPr>
          <a:xfrm>
            <a:off x="9601200" y="2000993"/>
            <a:ext cx="65773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ORR</a:t>
            </a:r>
            <a:b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00%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" name="Slide Number Placeholder 3">
            <a:extLst>
              <a:ext uri="{FF2B5EF4-FFF2-40B4-BE49-F238E27FC236}">
                <a16:creationId xmlns:a16="http://schemas.microsoft.com/office/drawing/2014/main" id="{02D61A39-FF36-5C06-3E41-16040DCD39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651" y="6356350"/>
            <a:ext cx="383694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306B0CF-28DA-4AF7-AD0B-CB9D5901F647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82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9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116212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DC1326-E572-F9C6-D4F5-197AB354A3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EC9C5A-1AE8-D005-C2C3-93F59BD7D8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>
                <a:latin typeface="Aptos"/>
              </a:rPr>
              <a:t>DLBCL is a common and aggressive lymphoma, with a high burden of disease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E8B14A7-094B-D0BA-2997-F171B34106D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GB"/>
              <a:t>*Voronoi chart represents the percentages for B- and T-cell derived NHL; T-cell derived types are not distinguished (shown in light grey).</a:t>
            </a:r>
            <a:r>
              <a:rPr lang="en-GB" baseline="30000"/>
              <a:t>2</a:t>
            </a:r>
            <a:br>
              <a:rPr lang="en-GB"/>
            </a:br>
            <a:r>
              <a:rPr lang="en-GB"/>
              <a:t>1L, first line; BL, Burkitt lymphoma; CLL, chronic lymphocytic leukaemia; DLBCL, diffuse large B-cell lymphoma; FL, follicular lymphoma; LPL, lymphoplasmacytic lymphoma; MALT, mucosa-associated lymphoid tissue lymphomas; MCL, mantle cell lymphoma; MZL, marginal zone lymphoma; NHL, non-Hodgkin lymphoma; NMZL, nodal marginal zone lymphoma; R-CHOP, rituximab, cyclophosphamide, doxorubicin, vincristine and prednisolone; SLL, small-cell lymphocytic lymphoma.</a:t>
            </a:r>
            <a:br>
              <a:rPr lang="en-GB"/>
            </a:br>
            <a:r>
              <a:rPr lang="en-GB" b="1"/>
              <a:t>1.</a:t>
            </a:r>
            <a:r>
              <a:rPr lang="en-GB"/>
              <a:t> Ma et al. </a:t>
            </a:r>
            <a:r>
              <a:rPr lang="en-GB" i="1" err="1"/>
              <a:t>Haematologica</a:t>
            </a:r>
            <a:r>
              <a:rPr lang="en-GB"/>
              <a:t> 2022 </a:t>
            </a:r>
            <a:r>
              <a:rPr lang="en-GB" b="1"/>
              <a:t>2. </a:t>
            </a:r>
            <a:r>
              <a:rPr lang="en-GB" err="1"/>
              <a:t>Leukemia</a:t>
            </a:r>
            <a:r>
              <a:rPr lang="en-GB"/>
              <a:t> and Lymphoma Society 2024 </a:t>
            </a:r>
            <a:r>
              <a:rPr lang="en-GB" b="1"/>
              <a:t>3.</a:t>
            </a:r>
            <a:r>
              <a:rPr lang="en-GB"/>
              <a:t> Sehn &amp; Salles </a:t>
            </a:r>
            <a:r>
              <a:rPr lang="en-GB" i="1"/>
              <a:t>N Engl J Med</a:t>
            </a:r>
            <a:r>
              <a:rPr lang="en-GB"/>
              <a:t> 2021 </a:t>
            </a:r>
            <a:r>
              <a:rPr lang="en-GB" b="1"/>
              <a:t>4. </a:t>
            </a:r>
            <a:r>
              <a:rPr lang="en-GB" err="1"/>
              <a:t>Coiffier</a:t>
            </a:r>
            <a:r>
              <a:rPr lang="en-GB"/>
              <a:t> et al. </a:t>
            </a:r>
            <a:r>
              <a:rPr lang="en-GB" i="1"/>
              <a:t>N Engl J Med </a:t>
            </a:r>
            <a:r>
              <a:rPr lang="en-GB"/>
              <a:t>2002.</a:t>
            </a:r>
            <a:endParaRPr lang="en-GB" b="1"/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CAD141DB-0377-7AA5-97D2-82E052053A2F}"/>
              </a:ext>
            </a:extLst>
          </p:cNvPr>
          <p:cNvSpPr/>
          <p:nvPr/>
        </p:nvSpPr>
        <p:spPr>
          <a:xfrm>
            <a:off x="6286500" y="1283216"/>
            <a:ext cx="5213150" cy="707886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 substantial proportion of DLBCL patients </a:t>
            </a:r>
            <a:b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re </a:t>
            </a: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ot cured with 1L R-CHOP</a:t>
            </a:r>
            <a:r>
              <a:rPr kumimoji="0" lang="en-GB" sz="2000" b="1" i="0" u="none" strike="noStrike" kern="1200" cap="none" spc="0" normalizeH="0" baseline="3000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3,4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37334E74-F874-F1AC-5ECE-ED95E4B04B79}"/>
              </a:ext>
            </a:extLst>
          </p:cNvPr>
          <p:cNvSpPr txBox="1"/>
          <p:nvPr/>
        </p:nvSpPr>
        <p:spPr>
          <a:xfrm>
            <a:off x="634946" y="1321771"/>
            <a:ext cx="5374219" cy="630776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sv-SE"/>
            </a:defPPr>
            <a:lvl1pPr algn="ctr">
              <a:defRPr sz="2000">
                <a:solidFill>
                  <a:schemeClr val="tx2"/>
                </a:solidFill>
                <a:latin typeface="Aptos" panose="02110004020202020204"/>
              </a:defRPr>
            </a:lvl1pPr>
            <a:lvl2pPr marL="355600" indent="-173038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>
                <a:solidFill>
                  <a:schemeClr val="lt1"/>
                </a:solidFill>
              </a:defRPr>
            </a:lvl2pPr>
            <a:lvl3pPr marL="539750" indent="-18415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600">
                <a:solidFill>
                  <a:schemeClr val="lt1"/>
                </a:solidFill>
              </a:defRPr>
            </a:lvl3pPr>
            <a:lvl4pPr marL="722313" indent="-182563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400">
                <a:solidFill>
                  <a:schemeClr val="lt1"/>
                </a:solidFill>
              </a:defRPr>
            </a:lvl4pPr>
            <a:lvl5pPr marL="895350" indent="-173038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400">
                <a:solidFill>
                  <a:schemeClr val="lt1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lt1"/>
                </a:solidFill>
              </a:defRPr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lt1"/>
                </a:solidFill>
              </a:defRPr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lt1"/>
                </a:solidFill>
              </a:defRPr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LBCL is the </a:t>
            </a: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most common </a:t>
            </a:r>
            <a:b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B-cell lymphoma 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ubtype</a:t>
            </a:r>
            <a:r>
              <a:rPr kumimoji="0" lang="en-GB" sz="2000" b="0" i="0" u="none" strike="noStrike" kern="1200" cap="none" spc="0" normalizeH="0" baseline="3000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,2,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*</a:t>
            </a:r>
          </a:p>
        </p:txBody>
      </p:sp>
      <p:sp>
        <p:nvSpPr>
          <p:cNvPr id="39" name="Free-form: Shape 38">
            <a:extLst>
              <a:ext uri="{FF2B5EF4-FFF2-40B4-BE49-F238E27FC236}">
                <a16:creationId xmlns:a16="http://schemas.microsoft.com/office/drawing/2014/main" id="{FB574CD5-AC2E-BC47-F85C-656C32C8BC33}"/>
              </a:ext>
            </a:extLst>
          </p:cNvPr>
          <p:cNvSpPr/>
          <p:nvPr/>
        </p:nvSpPr>
        <p:spPr>
          <a:xfrm>
            <a:off x="1978781" y="3790569"/>
            <a:ext cx="1912660" cy="1913538"/>
          </a:xfrm>
          <a:custGeom>
            <a:avLst/>
            <a:gdLst>
              <a:gd name="csX0" fmla="*/ 820105 w 1912660"/>
              <a:gd name="csY0" fmla="*/ 375 h 1913538"/>
              <a:gd name="csX1" fmla="*/ 452940 w 1912660"/>
              <a:gd name="csY1" fmla="*/ 169852 h 1913538"/>
              <a:gd name="csX2" fmla="*/ 60497 w 1912660"/>
              <a:gd name="csY2" fmla="*/ 650324 h 1913538"/>
              <a:gd name="csX3" fmla="*/ 375 w 1912660"/>
              <a:gd name="csY3" fmla="*/ 981698 h 1913538"/>
              <a:gd name="csX4" fmla="*/ 107113 w 1912660"/>
              <a:gd name="csY4" fmla="*/ 1532516 h 1913538"/>
              <a:gd name="csX5" fmla="*/ 174702 w 1912660"/>
              <a:gd name="csY5" fmla="*/ 1585799 h 1913538"/>
              <a:gd name="csX6" fmla="*/ 286867 w 1912660"/>
              <a:gd name="csY6" fmla="*/ 1660745 h 1913538"/>
              <a:gd name="csX7" fmla="*/ 404565 w 1912660"/>
              <a:gd name="csY7" fmla="*/ 1726659 h 1913538"/>
              <a:gd name="csX8" fmla="*/ 527073 w 1912660"/>
              <a:gd name="csY8" fmla="*/ 1783136 h 1913538"/>
              <a:gd name="csX9" fmla="*/ 653634 w 1912660"/>
              <a:gd name="csY9" fmla="*/ 1829827 h 1913538"/>
              <a:gd name="csX10" fmla="*/ 783468 w 1912660"/>
              <a:gd name="csY10" fmla="*/ 1866444 h 1913538"/>
              <a:gd name="csX11" fmla="*/ 915775 w 1912660"/>
              <a:gd name="csY11" fmla="*/ 1892761 h 1913538"/>
              <a:gd name="csX12" fmla="*/ 1049739 w 1912660"/>
              <a:gd name="csY12" fmla="*/ 1908617 h 1913538"/>
              <a:gd name="csX13" fmla="*/ 1184534 w 1912660"/>
              <a:gd name="csY13" fmla="*/ 1913913 h 1913538"/>
              <a:gd name="csX14" fmla="*/ 1319329 w 1912660"/>
              <a:gd name="csY14" fmla="*/ 1908617 h 1913538"/>
              <a:gd name="csX15" fmla="*/ 1453293 w 1912660"/>
              <a:gd name="csY15" fmla="*/ 1892761 h 1913538"/>
              <a:gd name="csX16" fmla="*/ 1585600 w 1912660"/>
              <a:gd name="csY16" fmla="*/ 1866444 h 1913538"/>
              <a:gd name="csX17" fmla="*/ 1660535 w 1912660"/>
              <a:gd name="csY17" fmla="*/ 1845310 h 1913538"/>
              <a:gd name="csX18" fmla="*/ 1913035 w 1912660"/>
              <a:gd name="csY18" fmla="*/ 1406734 h 1913538"/>
              <a:gd name="csX19" fmla="*/ 1495079 w 1912660"/>
              <a:gd name="csY19" fmla="*/ 123756 h 191353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</a:cxnLst>
            <a:rect l="l" t="t" r="r" b="b"/>
            <a:pathLst>
              <a:path w="1912660" h="1913538">
                <a:moveTo>
                  <a:pt x="820105" y="375"/>
                </a:moveTo>
                <a:lnTo>
                  <a:pt x="452940" y="169852"/>
                </a:lnTo>
                <a:lnTo>
                  <a:pt x="60497" y="650324"/>
                </a:lnTo>
                <a:lnTo>
                  <a:pt x="375" y="981698"/>
                </a:lnTo>
                <a:lnTo>
                  <a:pt x="107113" y="1532516"/>
                </a:lnTo>
                <a:lnTo>
                  <a:pt x="174702" y="1585799"/>
                </a:lnTo>
                <a:lnTo>
                  <a:pt x="286867" y="1660745"/>
                </a:lnTo>
                <a:lnTo>
                  <a:pt x="404565" y="1726659"/>
                </a:lnTo>
                <a:lnTo>
                  <a:pt x="527073" y="1783136"/>
                </a:lnTo>
                <a:lnTo>
                  <a:pt x="653634" y="1829827"/>
                </a:lnTo>
                <a:lnTo>
                  <a:pt x="783468" y="1866444"/>
                </a:lnTo>
                <a:lnTo>
                  <a:pt x="915775" y="1892761"/>
                </a:lnTo>
                <a:lnTo>
                  <a:pt x="1049739" y="1908617"/>
                </a:lnTo>
                <a:lnTo>
                  <a:pt x="1184534" y="1913913"/>
                </a:lnTo>
                <a:lnTo>
                  <a:pt x="1319329" y="1908617"/>
                </a:lnTo>
                <a:lnTo>
                  <a:pt x="1453293" y="1892761"/>
                </a:lnTo>
                <a:lnTo>
                  <a:pt x="1585600" y="1866444"/>
                </a:lnTo>
                <a:lnTo>
                  <a:pt x="1660535" y="1845310"/>
                </a:lnTo>
                <a:lnTo>
                  <a:pt x="1913035" y="1406734"/>
                </a:lnTo>
                <a:lnTo>
                  <a:pt x="1495079" y="123756"/>
                </a:lnTo>
                <a:close/>
              </a:path>
            </a:pathLst>
          </a:custGeom>
          <a:solidFill>
            <a:srgbClr val="192C3A"/>
          </a:solidFill>
          <a:ln w="14707" cap="flat">
            <a:solidFill>
              <a:srgbClr val="FFFFFF"/>
            </a:solidFill>
            <a:prstDash val="solid"/>
            <a:miter/>
          </a:ln>
        </p:spPr>
        <p:txBody>
          <a:bodyPr lIns="0" tIns="0" rIns="0" bIns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" name="Free-form: Shape 39">
            <a:extLst>
              <a:ext uri="{FF2B5EF4-FFF2-40B4-BE49-F238E27FC236}">
                <a16:creationId xmlns:a16="http://schemas.microsoft.com/office/drawing/2014/main" id="{97F96E47-EB1C-7A51-9E05-448E2FE4D7CF}"/>
              </a:ext>
            </a:extLst>
          </p:cNvPr>
          <p:cNvSpPr/>
          <p:nvPr/>
        </p:nvSpPr>
        <p:spPr>
          <a:xfrm>
            <a:off x="2449517" y="2268049"/>
            <a:ext cx="1592007" cy="1645901"/>
          </a:xfrm>
          <a:custGeom>
            <a:avLst/>
            <a:gdLst>
              <a:gd name="csX0" fmla="*/ 349369 w 1592007"/>
              <a:gd name="csY0" fmla="*/ 1522895 h 1645901"/>
              <a:gd name="csX1" fmla="*/ 1024343 w 1592007"/>
              <a:gd name="csY1" fmla="*/ 1646276 h 1645901"/>
              <a:gd name="csX2" fmla="*/ 1399101 w 1592007"/>
              <a:gd name="csY2" fmla="*/ 1387795 h 1645901"/>
              <a:gd name="csX3" fmla="*/ 1592382 w 1592007"/>
              <a:gd name="csY3" fmla="*/ 242856 h 1645901"/>
              <a:gd name="csX4" fmla="*/ 1493767 w 1592007"/>
              <a:gd name="csY4" fmla="*/ 187629 h 1645901"/>
              <a:gd name="csX5" fmla="*/ 1371260 w 1592007"/>
              <a:gd name="csY5" fmla="*/ 131152 h 1645901"/>
              <a:gd name="csX6" fmla="*/ 1244699 w 1592007"/>
              <a:gd name="csY6" fmla="*/ 84461 h 1645901"/>
              <a:gd name="csX7" fmla="*/ 1114864 w 1592007"/>
              <a:gd name="csY7" fmla="*/ 47844 h 1645901"/>
              <a:gd name="csX8" fmla="*/ 982557 w 1592007"/>
              <a:gd name="csY8" fmla="*/ 21527 h 1645901"/>
              <a:gd name="csX9" fmla="*/ 848593 w 1592007"/>
              <a:gd name="csY9" fmla="*/ 5671 h 1645901"/>
              <a:gd name="csX10" fmla="*/ 713798 w 1592007"/>
              <a:gd name="csY10" fmla="*/ 375 h 1645901"/>
              <a:gd name="csX11" fmla="*/ 579003 w 1592007"/>
              <a:gd name="csY11" fmla="*/ 5671 h 1645901"/>
              <a:gd name="csX12" fmla="*/ 445039 w 1592007"/>
              <a:gd name="csY12" fmla="*/ 21527 h 1645901"/>
              <a:gd name="csX13" fmla="*/ 312732 w 1592007"/>
              <a:gd name="csY13" fmla="*/ 47844 h 1645901"/>
              <a:gd name="csX14" fmla="*/ 182898 w 1592007"/>
              <a:gd name="csY14" fmla="*/ 84461 h 1645901"/>
              <a:gd name="csX15" fmla="*/ 137656 w 1592007"/>
              <a:gd name="csY15" fmla="*/ 101152 h 1645901"/>
              <a:gd name="csX16" fmla="*/ 375 w 1592007"/>
              <a:gd name="csY16" fmla="*/ 682192 h 164590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</a:cxnLst>
            <a:rect l="l" t="t" r="r" b="b"/>
            <a:pathLst>
              <a:path w="1592007" h="1645901">
                <a:moveTo>
                  <a:pt x="349369" y="1522895"/>
                </a:moveTo>
                <a:lnTo>
                  <a:pt x="1024343" y="1646276"/>
                </a:lnTo>
                <a:lnTo>
                  <a:pt x="1399101" y="1387795"/>
                </a:lnTo>
                <a:lnTo>
                  <a:pt x="1592382" y="242856"/>
                </a:lnTo>
                <a:lnTo>
                  <a:pt x="1493767" y="187629"/>
                </a:lnTo>
                <a:lnTo>
                  <a:pt x="1371260" y="131152"/>
                </a:lnTo>
                <a:lnTo>
                  <a:pt x="1244699" y="84461"/>
                </a:lnTo>
                <a:lnTo>
                  <a:pt x="1114864" y="47844"/>
                </a:lnTo>
                <a:lnTo>
                  <a:pt x="982557" y="21527"/>
                </a:lnTo>
                <a:lnTo>
                  <a:pt x="848593" y="5671"/>
                </a:lnTo>
                <a:lnTo>
                  <a:pt x="713798" y="375"/>
                </a:lnTo>
                <a:lnTo>
                  <a:pt x="579003" y="5671"/>
                </a:lnTo>
                <a:lnTo>
                  <a:pt x="445039" y="21527"/>
                </a:lnTo>
                <a:lnTo>
                  <a:pt x="312732" y="47844"/>
                </a:lnTo>
                <a:lnTo>
                  <a:pt x="182898" y="84461"/>
                </a:lnTo>
                <a:lnTo>
                  <a:pt x="137656" y="101152"/>
                </a:lnTo>
                <a:lnTo>
                  <a:pt x="375" y="682192"/>
                </a:lnTo>
                <a:close/>
              </a:path>
            </a:pathLst>
          </a:custGeom>
          <a:solidFill>
            <a:srgbClr val="234255"/>
          </a:solidFill>
          <a:ln w="14707" cap="flat">
            <a:solidFill>
              <a:srgbClr val="FFFFFF"/>
            </a:solidFill>
            <a:prstDash val="solid"/>
            <a:miter/>
          </a:ln>
        </p:spPr>
        <p:txBody>
          <a:bodyPr lIns="0" tIns="0" rIns="0" bIns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1" name="Free-form: Shape 40">
            <a:extLst>
              <a:ext uri="{FF2B5EF4-FFF2-40B4-BE49-F238E27FC236}">
                <a16:creationId xmlns:a16="http://schemas.microsoft.com/office/drawing/2014/main" id="{33C31EF7-D9CB-11E0-902B-5FF0DCC6454F}"/>
              </a:ext>
            </a:extLst>
          </p:cNvPr>
          <p:cNvSpPr/>
          <p:nvPr/>
        </p:nvSpPr>
        <p:spPr>
          <a:xfrm>
            <a:off x="3473485" y="3655469"/>
            <a:ext cx="1404939" cy="1636466"/>
          </a:xfrm>
          <a:custGeom>
            <a:avLst/>
            <a:gdLst>
              <a:gd name="csX0" fmla="*/ 904661 w 1404939"/>
              <a:gd name="csY0" fmla="*/ 1545814 h 1636466"/>
              <a:gd name="csX1" fmla="*/ 996230 w 1404939"/>
              <a:gd name="csY1" fmla="*/ 1446755 h 1636466"/>
              <a:gd name="csX2" fmla="*/ 1079745 w 1404939"/>
              <a:gd name="csY2" fmla="*/ 1340816 h 1636466"/>
              <a:gd name="csX3" fmla="*/ 1154691 w 1404939"/>
              <a:gd name="csY3" fmla="*/ 1228652 h 1636466"/>
              <a:gd name="csX4" fmla="*/ 1220606 w 1404939"/>
              <a:gd name="csY4" fmla="*/ 1110953 h 1636466"/>
              <a:gd name="csX5" fmla="*/ 1277083 w 1404939"/>
              <a:gd name="csY5" fmla="*/ 988445 h 1636466"/>
              <a:gd name="csX6" fmla="*/ 1323773 w 1404939"/>
              <a:gd name="csY6" fmla="*/ 861884 h 1636466"/>
              <a:gd name="csX7" fmla="*/ 1360390 w 1404939"/>
              <a:gd name="csY7" fmla="*/ 732050 h 1636466"/>
              <a:gd name="csX8" fmla="*/ 1386708 w 1404939"/>
              <a:gd name="csY8" fmla="*/ 599743 h 1636466"/>
              <a:gd name="csX9" fmla="*/ 1402564 w 1404939"/>
              <a:gd name="csY9" fmla="*/ 465779 h 1636466"/>
              <a:gd name="csX10" fmla="*/ 1405314 w 1404939"/>
              <a:gd name="csY10" fmla="*/ 395772 h 1636466"/>
              <a:gd name="csX11" fmla="*/ 881881 w 1404939"/>
              <a:gd name="csY11" fmla="*/ 26913 h 1636466"/>
              <a:gd name="csX12" fmla="*/ 375133 w 1404939"/>
              <a:gd name="csY12" fmla="*/ 375 h 1636466"/>
              <a:gd name="csX13" fmla="*/ 375 w 1404939"/>
              <a:gd name="csY13" fmla="*/ 258856 h 1636466"/>
              <a:gd name="csX14" fmla="*/ 418332 w 1404939"/>
              <a:gd name="csY14" fmla="*/ 1541834 h 1636466"/>
              <a:gd name="csX15" fmla="*/ 806188 w 1404939"/>
              <a:gd name="csY15" fmla="*/ 1636841 h 163646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</a:cxnLst>
            <a:rect l="l" t="t" r="r" b="b"/>
            <a:pathLst>
              <a:path w="1404939" h="1636466">
                <a:moveTo>
                  <a:pt x="904661" y="1545814"/>
                </a:moveTo>
                <a:lnTo>
                  <a:pt x="996230" y="1446755"/>
                </a:lnTo>
                <a:lnTo>
                  <a:pt x="1079745" y="1340816"/>
                </a:lnTo>
                <a:lnTo>
                  <a:pt x="1154691" y="1228652"/>
                </a:lnTo>
                <a:lnTo>
                  <a:pt x="1220606" y="1110953"/>
                </a:lnTo>
                <a:lnTo>
                  <a:pt x="1277083" y="988445"/>
                </a:lnTo>
                <a:lnTo>
                  <a:pt x="1323773" y="861884"/>
                </a:lnTo>
                <a:lnTo>
                  <a:pt x="1360390" y="732050"/>
                </a:lnTo>
                <a:lnTo>
                  <a:pt x="1386708" y="599743"/>
                </a:lnTo>
                <a:lnTo>
                  <a:pt x="1402564" y="465779"/>
                </a:lnTo>
                <a:lnTo>
                  <a:pt x="1405314" y="395772"/>
                </a:lnTo>
                <a:lnTo>
                  <a:pt x="881881" y="26913"/>
                </a:lnTo>
                <a:lnTo>
                  <a:pt x="375133" y="375"/>
                </a:lnTo>
                <a:lnTo>
                  <a:pt x="375" y="258856"/>
                </a:lnTo>
                <a:lnTo>
                  <a:pt x="418332" y="1541834"/>
                </a:lnTo>
                <a:lnTo>
                  <a:pt x="806188" y="1636841"/>
                </a:lnTo>
                <a:close/>
              </a:path>
            </a:pathLst>
          </a:custGeom>
          <a:solidFill>
            <a:srgbClr val="ECECEC"/>
          </a:solidFill>
          <a:ln w="14707" cap="flat">
            <a:solidFill>
              <a:srgbClr val="FFFFFF"/>
            </a:solidFill>
            <a:prstDash val="solid"/>
            <a:miter/>
          </a:ln>
        </p:spPr>
        <p:txBody>
          <a:bodyPr lIns="0" tIns="0" rIns="0" bIns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2" name="Free-form: Shape 41">
            <a:extLst>
              <a:ext uri="{FF2B5EF4-FFF2-40B4-BE49-F238E27FC236}">
                <a16:creationId xmlns:a16="http://schemas.microsoft.com/office/drawing/2014/main" id="{1C330B7D-02C9-00E7-3269-72E78F331BEE}"/>
              </a:ext>
            </a:extLst>
          </p:cNvPr>
          <p:cNvSpPr/>
          <p:nvPr/>
        </p:nvSpPr>
        <p:spPr>
          <a:xfrm>
            <a:off x="1444912" y="3203758"/>
            <a:ext cx="986435" cy="1236759"/>
          </a:xfrm>
          <a:custGeom>
            <a:avLst/>
            <a:gdLst>
              <a:gd name="csX0" fmla="*/ 187629 w 986435"/>
              <a:gd name="csY0" fmla="*/ 2726 h 1236759"/>
              <a:gd name="csX1" fmla="*/ 131152 w 986435"/>
              <a:gd name="csY1" fmla="*/ 125234 h 1236759"/>
              <a:gd name="csX2" fmla="*/ 84461 w 986435"/>
              <a:gd name="csY2" fmla="*/ 251795 h 1236759"/>
              <a:gd name="csX3" fmla="*/ 47844 w 986435"/>
              <a:gd name="csY3" fmla="*/ 381629 h 1236759"/>
              <a:gd name="csX4" fmla="*/ 21527 w 986435"/>
              <a:gd name="csY4" fmla="*/ 513936 h 1236759"/>
              <a:gd name="csX5" fmla="*/ 5671 w 986435"/>
              <a:gd name="csY5" fmla="*/ 647900 h 1236759"/>
              <a:gd name="csX6" fmla="*/ 375 w 986435"/>
              <a:gd name="csY6" fmla="*/ 782695 h 1236759"/>
              <a:gd name="csX7" fmla="*/ 5671 w 986435"/>
              <a:gd name="csY7" fmla="*/ 917490 h 1236759"/>
              <a:gd name="csX8" fmla="*/ 21527 w 986435"/>
              <a:gd name="csY8" fmla="*/ 1051454 h 1236759"/>
              <a:gd name="csX9" fmla="*/ 47844 w 986435"/>
              <a:gd name="csY9" fmla="*/ 1183761 h 1236759"/>
              <a:gd name="csX10" fmla="*/ 50705 w 986435"/>
              <a:gd name="csY10" fmla="*/ 1193906 h 1236759"/>
              <a:gd name="csX11" fmla="*/ 594367 w 986435"/>
              <a:gd name="csY11" fmla="*/ 1237135 h 1236759"/>
              <a:gd name="csX12" fmla="*/ 986810 w 986435"/>
              <a:gd name="csY12" fmla="*/ 756663 h 1236759"/>
              <a:gd name="csX13" fmla="*/ 188946 w 986435"/>
              <a:gd name="csY13" fmla="*/ 375 h 123675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</a:cxnLst>
            <a:rect l="l" t="t" r="r" b="b"/>
            <a:pathLst>
              <a:path w="986435" h="1236759">
                <a:moveTo>
                  <a:pt x="187629" y="2726"/>
                </a:moveTo>
                <a:lnTo>
                  <a:pt x="131152" y="125234"/>
                </a:lnTo>
                <a:lnTo>
                  <a:pt x="84461" y="251795"/>
                </a:lnTo>
                <a:lnTo>
                  <a:pt x="47844" y="381629"/>
                </a:lnTo>
                <a:lnTo>
                  <a:pt x="21527" y="513936"/>
                </a:lnTo>
                <a:lnTo>
                  <a:pt x="5671" y="647900"/>
                </a:lnTo>
                <a:lnTo>
                  <a:pt x="375" y="782695"/>
                </a:lnTo>
                <a:lnTo>
                  <a:pt x="5671" y="917490"/>
                </a:lnTo>
                <a:lnTo>
                  <a:pt x="21527" y="1051454"/>
                </a:lnTo>
                <a:lnTo>
                  <a:pt x="47844" y="1183761"/>
                </a:lnTo>
                <a:lnTo>
                  <a:pt x="50705" y="1193906"/>
                </a:lnTo>
                <a:lnTo>
                  <a:pt x="594367" y="1237135"/>
                </a:lnTo>
                <a:lnTo>
                  <a:pt x="986810" y="756663"/>
                </a:lnTo>
                <a:lnTo>
                  <a:pt x="188946" y="375"/>
                </a:lnTo>
                <a:close/>
              </a:path>
            </a:pathLst>
          </a:custGeom>
          <a:solidFill>
            <a:srgbClr val="315A72"/>
          </a:solidFill>
          <a:ln w="14707" cap="flat">
            <a:solidFill>
              <a:srgbClr val="FFFFFF"/>
            </a:solidFill>
            <a:prstDash val="solid"/>
            <a:miter/>
          </a:ln>
        </p:spPr>
        <p:txBody>
          <a:bodyPr lIns="0" tIns="0" rIns="0" bIns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3" name="Free-form: Shape 42">
            <a:extLst>
              <a:ext uri="{FF2B5EF4-FFF2-40B4-BE49-F238E27FC236}">
                <a16:creationId xmlns:a16="http://schemas.microsoft.com/office/drawing/2014/main" id="{C008C50A-D8FF-48DB-CE16-8EDC25759131}"/>
              </a:ext>
            </a:extLst>
          </p:cNvPr>
          <p:cNvSpPr/>
          <p:nvPr/>
        </p:nvSpPr>
        <p:spPr>
          <a:xfrm>
            <a:off x="3848243" y="2510530"/>
            <a:ext cx="904255" cy="1171476"/>
          </a:xfrm>
          <a:custGeom>
            <a:avLst/>
            <a:gdLst>
              <a:gd name="csX0" fmla="*/ 902325 w 904255"/>
              <a:gd name="csY0" fmla="*/ 818462 h 1171476"/>
              <a:gd name="csX1" fmla="*/ 845848 w 904255"/>
              <a:gd name="csY1" fmla="*/ 695954 h 1171476"/>
              <a:gd name="csX2" fmla="*/ 779933 w 904255"/>
              <a:gd name="csY2" fmla="*/ 578255 h 1171476"/>
              <a:gd name="csX3" fmla="*/ 704987 w 904255"/>
              <a:gd name="csY3" fmla="*/ 466091 h 1171476"/>
              <a:gd name="csX4" fmla="*/ 621472 w 904255"/>
              <a:gd name="csY4" fmla="*/ 360153 h 1171476"/>
              <a:gd name="csX5" fmla="*/ 529903 w 904255"/>
              <a:gd name="csY5" fmla="*/ 261093 h 1171476"/>
              <a:gd name="csX6" fmla="*/ 430843 w 904255"/>
              <a:gd name="csY6" fmla="*/ 169524 h 1171476"/>
              <a:gd name="csX7" fmla="*/ 324905 w 904255"/>
              <a:gd name="csY7" fmla="*/ 86008 h 1171476"/>
              <a:gd name="csX8" fmla="*/ 212740 w 904255"/>
              <a:gd name="csY8" fmla="*/ 11062 h 1171476"/>
              <a:gd name="csX9" fmla="*/ 193656 w 904255"/>
              <a:gd name="csY9" fmla="*/ 375 h 1171476"/>
              <a:gd name="csX10" fmla="*/ 375 w 904255"/>
              <a:gd name="csY10" fmla="*/ 1145314 h 1171476"/>
              <a:gd name="csX11" fmla="*/ 507123 w 904255"/>
              <a:gd name="csY11" fmla="*/ 1171852 h 1171476"/>
              <a:gd name="csX12" fmla="*/ 904631 w 904255"/>
              <a:gd name="csY12" fmla="*/ 824714 h 117147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</a:cxnLst>
            <a:rect l="l" t="t" r="r" b="b"/>
            <a:pathLst>
              <a:path w="904255" h="1171476">
                <a:moveTo>
                  <a:pt x="902325" y="818462"/>
                </a:moveTo>
                <a:lnTo>
                  <a:pt x="845848" y="695954"/>
                </a:lnTo>
                <a:lnTo>
                  <a:pt x="779933" y="578255"/>
                </a:lnTo>
                <a:lnTo>
                  <a:pt x="704987" y="466091"/>
                </a:lnTo>
                <a:lnTo>
                  <a:pt x="621472" y="360153"/>
                </a:lnTo>
                <a:lnTo>
                  <a:pt x="529903" y="261093"/>
                </a:lnTo>
                <a:lnTo>
                  <a:pt x="430843" y="169524"/>
                </a:lnTo>
                <a:lnTo>
                  <a:pt x="324905" y="86008"/>
                </a:lnTo>
                <a:lnTo>
                  <a:pt x="212740" y="11062"/>
                </a:lnTo>
                <a:lnTo>
                  <a:pt x="193656" y="375"/>
                </a:lnTo>
                <a:lnTo>
                  <a:pt x="375" y="1145314"/>
                </a:lnTo>
                <a:lnTo>
                  <a:pt x="507123" y="1171852"/>
                </a:lnTo>
                <a:lnTo>
                  <a:pt x="904631" y="824714"/>
                </a:lnTo>
                <a:close/>
              </a:path>
            </a:pathLst>
          </a:custGeom>
          <a:solidFill>
            <a:srgbClr val="679CBD"/>
          </a:solidFill>
          <a:ln w="14707" cap="flat">
            <a:solidFill>
              <a:srgbClr val="FFFFFF"/>
            </a:solidFill>
            <a:prstDash val="solid"/>
            <a:miter/>
          </a:ln>
        </p:spPr>
        <p:txBody>
          <a:bodyPr lIns="0" tIns="0" rIns="0" bIns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4" name="Free-form: Shape 43">
            <a:extLst>
              <a:ext uri="{FF2B5EF4-FFF2-40B4-BE49-F238E27FC236}">
                <a16:creationId xmlns:a16="http://schemas.microsoft.com/office/drawing/2014/main" id="{17D19777-C5EC-954D-DCAA-FF5C0D287004}"/>
              </a:ext>
            </a:extLst>
          </p:cNvPr>
          <p:cNvSpPr/>
          <p:nvPr/>
        </p:nvSpPr>
        <p:spPr>
          <a:xfrm>
            <a:off x="1633482" y="2949866"/>
            <a:ext cx="1165029" cy="1010179"/>
          </a:xfrm>
          <a:custGeom>
            <a:avLst/>
            <a:gdLst>
              <a:gd name="csX0" fmla="*/ 1165404 w 1165029"/>
              <a:gd name="csY0" fmla="*/ 841078 h 1010179"/>
              <a:gd name="csX1" fmla="*/ 816410 w 1165029"/>
              <a:gd name="csY1" fmla="*/ 375 h 1010179"/>
              <a:gd name="csX2" fmla="*/ 89303 w 1165029"/>
              <a:gd name="csY2" fmla="*/ 102507 h 1010179"/>
              <a:gd name="csX3" fmla="*/ 64973 w 1165029"/>
              <a:gd name="csY3" fmla="*/ 138919 h 1010179"/>
              <a:gd name="csX4" fmla="*/ 375 w 1165029"/>
              <a:gd name="csY4" fmla="*/ 254267 h 1010179"/>
              <a:gd name="csX5" fmla="*/ 798239 w 1165029"/>
              <a:gd name="csY5" fmla="*/ 1010555 h 101017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</a:cxnLst>
            <a:rect l="l" t="t" r="r" b="b"/>
            <a:pathLst>
              <a:path w="1165029" h="1010179">
                <a:moveTo>
                  <a:pt x="1165404" y="841078"/>
                </a:moveTo>
                <a:lnTo>
                  <a:pt x="816410" y="375"/>
                </a:lnTo>
                <a:lnTo>
                  <a:pt x="89303" y="102507"/>
                </a:lnTo>
                <a:lnTo>
                  <a:pt x="64973" y="138919"/>
                </a:lnTo>
                <a:lnTo>
                  <a:pt x="375" y="254267"/>
                </a:lnTo>
                <a:lnTo>
                  <a:pt x="798239" y="1010555"/>
                </a:lnTo>
                <a:close/>
              </a:path>
            </a:pathLst>
          </a:custGeom>
          <a:solidFill>
            <a:srgbClr val="90BED4"/>
          </a:solidFill>
          <a:ln w="14707" cap="flat">
            <a:solidFill>
              <a:srgbClr val="FFFFFF"/>
            </a:solidFill>
            <a:prstDash val="solid"/>
            <a:miter/>
          </a:ln>
        </p:spPr>
        <p:txBody>
          <a:bodyPr lIns="0" tIns="0" rIns="0" bIns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5" name="Free-form: Shape 44">
            <a:extLst>
              <a:ext uri="{FF2B5EF4-FFF2-40B4-BE49-F238E27FC236}">
                <a16:creationId xmlns:a16="http://schemas.microsoft.com/office/drawing/2014/main" id="{E9DB2B98-4589-41EE-39E2-DB18BA2E8F85}"/>
              </a:ext>
            </a:extLst>
          </p:cNvPr>
          <p:cNvSpPr/>
          <p:nvPr/>
        </p:nvSpPr>
        <p:spPr>
          <a:xfrm>
            <a:off x="1722410" y="2368826"/>
            <a:ext cx="864388" cy="683171"/>
          </a:xfrm>
          <a:custGeom>
            <a:avLst/>
            <a:gdLst>
              <a:gd name="csX0" fmla="*/ 783444 w 864388"/>
              <a:gd name="csY0" fmla="*/ 30375 h 683171"/>
              <a:gd name="csX1" fmla="*/ 660937 w 864388"/>
              <a:gd name="csY1" fmla="*/ 86852 h 683171"/>
              <a:gd name="csX2" fmla="*/ 543238 w 864388"/>
              <a:gd name="csY2" fmla="*/ 152767 h 683171"/>
              <a:gd name="csX3" fmla="*/ 431073 w 864388"/>
              <a:gd name="csY3" fmla="*/ 227712 h 683171"/>
              <a:gd name="csX4" fmla="*/ 325135 w 864388"/>
              <a:gd name="csY4" fmla="*/ 311228 h 683171"/>
              <a:gd name="csX5" fmla="*/ 226075 w 864388"/>
              <a:gd name="csY5" fmla="*/ 402797 h 683171"/>
              <a:gd name="csX6" fmla="*/ 134506 w 864388"/>
              <a:gd name="csY6" fmla="*/ 501857 h 683171"/>
              <a:gd name="csX7" fmla="*/ 50991 w 864388"/>
              <a:gd name="csY7" fmla="*/ 607795 h 683171"/>
              <a:gd name="csX8" fmla="*/ 375 w 864388"/>
              <a:gd name="csY8" fmla="*/ 683547 h 683171"/>
              <a:gd name="csX9" fmla="*/ 727482 w 864388"/>
              <a:gd name="csY9" fmla="*/ 581415 h 683171"/>
              <a:gd name="csX10" fmla="*/ 864763 w 864388"/>
              <a:gd name="csY10" fmla="*/ 375 h 68317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</a:cxnLst>
            <a:rect l="l" t="t" r="r" b="b"/>
            <a:pathLst>
              <a:path w="864388" h="683171">
                <a:moveTo>
                  <a:pt x="783444" y="30375"/>
                </a:moveTo>
                <a:lnTo>
                  <a:pt x="660937" y="86852"/>
                </a:lnTo>
                <a:lnTo>
                  <a:pt x="543238" y="152767"/>
                </a:lnTo>
                <a:lnTo>
                  <a:pt x="431073" y="227712"/>
                </a:lnTo>
                <a:lnTo>
                  <a:pt x="325135" y="311228"/>
                </a:lnTo>
                <a:lnTo>
                  <a:pt x="226075" y="402797"/>
                </a:lnTo>
                <a:lnTo>
                  <a:pt x="134506" y="501857"/>
                </a:lnTo>
                <a:lnTo>
                  <a:pt x="50991" y="607795"/>
                </a:lnTo>
                <a:lnTo>
                  <a:pt x="375" y="683547"/>
                </a:lnTo>
                <a:lnTo>
                  <a:pt x="727482" y="581415"/>
                </a:lnTo>
                <a:lnTo>
                  <a:pt x="864763" y="375"/>
                </a:lnTo>
                <a:close/>
              </a:path>
            </a:pathLst>
          </a:custGeom>
          <a:solidFill>
            <a:srgbClr val="CDE1EB"/>
          </a:solidFill>
          <a:ln w="14707" cap="flat">
            <a:solidFill>
              <a:srgbClr val="FFFFFF"/>
            </a:solidFill>
            <a:prstDash val="solid"/>
            <a:miter/>
          </a:ln>
        </p:spPr>
        <p:txBody>
          <a:bodyPr lIns="0" tIns="0" rIns="0" bIns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6" name="Free-form: Shape 45">
            <a:extLst>
              <a:ext uri="{FF2B5EF4-FFF2-40B4-BE49-F238E27FC236}">
                <a16:creationId xmlns:a16="http://schemas.microsoft.com/office/drawing/2014/main" id="{7E64E66B-7796-712F-F5F2-AE6BB549EA62}"/>
              </a:ext>
            </a:extLst>
          </p:cNvPr>
          <p:cNvSpPr/>
          <p:nvPr/>
        </p:nvSpPr>
        <p:spPr>
          <a:xfrm>
            <a:off x="4354991" y="3334869"/>
            <a:ext cx="525978" cy="715996"/>
          </a:xfrm>
          <a:custGeom>
            <a:avLst/>
            <a:gdLst>
              <a:gd name="csX0" fmla="*/ 523808 w 525978"/>
              <a:gd name="csY0" fmla="*/ 716372 h 715996"/>
              <a:gd name="csX1" fmla="*/ 526354 w 525978"/>
              <a:gd name="csY1" fmla="*/ 651585 h 715996"/>
              <a:gd name="csX2" fmla="*/ 521057 w 525978"/>
              <a:gd name="csY2" fmla="*/ 516789 h 715996"/>
              <a:gd name="csX3" fmla="*/ 505202 w 525978"/>
              <a:gd name="csY3" fmla="*/ 382826 h 715996"/>
              <a:gd name="csX4" fmla="*/ 478884 w 525978"/>
              <a:gd name="csY4" fmla="*/ 250519 h 715996"/>
              <a:gd name="csX5" fmla="*/ 442267 w 525978"/>
              <a:gd name="csY5" fmla="*/ 120684 h 715996"/>
              <a:gd name="csX6" fmla="*/ 397883 w 525978"/>
              <a:gd name="csY6" fmla="*/ 375 h 715996"/>
              <a:gd name="csX7" fmla="*/ 375 w 525978"/>
              <a:gd name="csY7" fmla="*/ 347513 h 71599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</a:cxnLst>
            <a:rect l="l" t="t" r="r" b="b"/>
            <a:pathLst>
              <a:path w="525978" h="715996">
                <a:moveTo>
                  <a:pt x="523808" y="716372"/>
                </a:moveTo>
                <a:lnTo>
                  <a:pt x="526354" y="651585"/>
                </a:lnTo>
                <a:lnTo>
                  <a:pt x="521057" y="516789"/>
                </a:lnTo>
                <a:lnTo>
                  <a:pt x="505202" y="382826"/>
                </a:lnTo>
                <a:lnTo>
                  <a:pt x="478884" y="250519"/>
                </a:lnTo>
                <a:lnTo>
                  <a:pt x="442267" y="120684"/>
                </a:lnTo>
                <a:lnTo>
                  <a:pt x="397883" y="375"/>
                </a:lnTo>
                <a:lnTo>
                  <a:pt x="375" y="347513"/>
                </a:lnTo>
                <a:close/>
              </a:path>
            </a:pathLst>
          </a:custGeom>
          <a:solidFill>
            <a:schemeClr val="accent6">
              <a:lumMod val="75000"/>
            </a:schemeClr>
          </a:solidFill>
          <a:ln w="14707" cap="flat">
            <a:solidFill>
              <a:srgbClr val="FFFFFF"/>
            </a:solidFill>
            <a:prstDash val="solid"/>
            <a:miter/>
          </a:ln>
        </p:spPr>
        <p:txBody>
          <a:bodyPr lIns="0" tIns="0" rIns="0" bIns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7" name="Free-form: Shape 46">
            <a:extLst>
              <a:ext uri="{FF2B5EF4-FFF2-40B4-BE49-F238E27FC236}">
                <a16:creationId xmlns:a16="http://schemas.microsoft.com/office/drawing/2014/main" id="{0A1549D2-96E4-7878-C80C-F738AA33021C}"/>
              </a:ext>
            </a:extLst>
          </p:cNvPr>
          <p:cNvSpPr/>
          <p:nvPr/>
        </p:nvSpPr>
        <p:spPr>
          <a:xfrm>
            <a:off x="1495242" y="4397289"/>
            <a:ext cx="543661" cy="468346"/>
          </a:xfrm>
          <a:custGeom>
            <a:avLst/>
            <a:gdLst>
              <a:gd name="csX0" fmla="*/ 544037 w 543661"/>
              <a:gd name="csY0" fmla="*/ 43604 h 468346"/>
              <a:gd name="csX1" fmla="*/ 375 w 543661"/>
              <a:gd name="csY1" fmla="*/ 375 h 468346"/>
              <a:gd name="csX2" fmla="*/ 34131 w 543661"/>
              <a:gd name="csY2" fmla="*/ 120064 h 468346"/>
              <a:gd name="csX3" fmla="*/ 80822 w 543661"/>
              <a:gd name="csY3" fmla="*/ 246625 h 468346"/>
              <a:gd name="csX4" fmla="*/ 137298 w 543661"/>
              <a:gd name="csY4" fmla="*/ 369133 h 468346"/>
              <a:gd name="csX5" fmla="*/ 193071 w 543661"/>
              <a:gd name="csY5" fmla="*/ 468722 h 468346"/>
              <a:gd name="csX6" fmla="*/ 483914 w 543661"/>
              <a:gd name="csY6" fmla="*/ 374978 h 46834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</a:cxnLst>
            <a:rect l="l" t="t" r="r" b="b"/>
            <a:pathLst>
              <a:path w="543661" h="468346">
                <a:moveTo>
                  <a:pt x="544037" y="43604"/>
                </a:moveTo>
                <a:lnTo>
                  <a:pt x="375" y="375"/>
                </a:lnTo>
                <a:lnTo>
                  <a:pt x="34131" y="120064"/>
                </a:lnTo>
                <a:lnTo>
                  <a:pt x="80822" y="246625"/>
                </a:lnTo>
                <a:lnTo>
                  <a:pt x="137298" y="369133"/>
                </a:lnTo>
                <a:lnTo>
                  <a:pt x="193071" y="468722"/>
                </a:lnTo>
                <a:lnTo>
                  <a:pt x="483914" y="374978"/>
                </a:ln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14707" cap="flat">
            <a:solidFill>
              <a:srgbClr val="FFFFFF"/>
            </a:solidFill>
            <a:prstDash val="solid"/>
            <a:miter/>
          </a:ln>
        </p:spPr>
        <p:txBody>
          <a:bodyPr lIns="0" tIns="0" rIns="0" bIns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8" name="Free-form: Shape 47">
            <a:extLst>
              <a:ext uri="{FF2B5EF4-FFF2-40B4-BE49-F238E27FC236}">
                <a16:creationId xmlns:a16="http://schemas.microsoft.com/office/drawing/2014/main" id="{91D9D36E-D90F-11E7-3983-07390232FEF1}"/>
              </a:ext>
            </a:extLst>
          </p:cNvPr>
          <p:cNvSpPr/>
          <p:nvPr/>
        </p:nvSpPr>
        <p:spPr>
          <a:xfrm>
            <a:off x="1687937" y="4771892"/>
            <a:ext cx="397581" cy="550818"/>
          </a:xfrm>
          <a:custGeom>
            <a:avLst/>
            <a:gdLst>
              <a:gd name="csX0" fmla="*/ 10517 w 397581"/>
              <a:gd name="csY0" fmla="*/ 112229 h 550818"/>
              <a:gd name="csX1" fmla="*/ 85463 w 397581"/>
              <a:gd name="csY1" fmla="*/ 224393 h 550818"/>
              <a:gd name="csX2" fmla="*/ 168978 w 397581"/>
              <a:gd name="csY2" fmla="*/ 330332 h 550818"/>
              <a:gd name="csX3" fmla="*/ 260548 w 397581"/>
              <a:gd name="csY3" fmla="*/ 429391 h 550818"/>
              <a:gd name="csX4" fmla="*/ 359607 w 397581"/>
              <a:gd name="csY4" fmla="*/ 520961 h 550818"/>
              <a:gd name="csX5" fmla="*/ 397957 w 397581"/>
              <a:gd name="csY5" fmla="*/ 551193 h 550818"/>
              <a:gd name="csX6" fmla="*/ 291218 w 397581"/>
              <a:gd name="csY6" fmla="*/ 375 h 550818"/>
              <a:gd name="csX7" fmla="*/ 375 w 397581"/>
              <a:gd name="csY7" fmla="*/ 94119 h 55081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</a:cxnLst>
            <a:rect l="l" t="t" r="r" b="b"/>
            <a:pathLst>
              <a:path w="397581" h="550818">
                <a:moveTo>
                  <a:pt x="10517" y="112229"/>
                </a:moveTo>
                <a:lnTo>
                  <a:pt x="85463" y="224393"/>
                </a:lnTo>
                <a:lnTo>
                  <a:pt x="168978" y="330332"/>
                </a:lnTo>
                <a:lnTo>
                  <a:pt x="260548" y="429391"/>
                </a:lnTo>
                <a:lnTo>
                  <a:pt x="359607" y="520961"/>
                </a:lnTo>
                <a:lnTo>
                  <a:pt x="397957" y="551193"/>
                </a:lnTo>
                <a:lnTo>
                  <a:pt x="291218" y="375"/>
                </a:lnTo>
                <a:lnTo>
                  <a:pt x="375" y="94119"/>
                </a:lnTo>
                <a:close/>
              </a:path>
            </a:pathLst>
          </a:custGeom>
          <a:solidFill>
            <a:srgbClr val="D9EDF5"/>
          </a:solidFill>
          <a:ln w="14707" cap="flat">
            <a:solidFill>
              <a:srgbClr val="FFFFFF"/>
            </a:solidFill>
            <a:prstDash val="solid"/>
            <a:miter/>
          </a:ln>
        </p:spPr>
        <p:txBody>
          <a:bodyPr lIns="0" tIns="0" rIns="0" bIns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9" name="Free-form: Shape 48">
            <a:extLst>
              <a:ext uri="{FF2B5EF4-FFF2-40B4-BE49-F238E27FC236}">
                <a16:creationId xmlns:a16="http://schemas.microsoft.com/office/drawing/2014/main" id="{0722B7AC-6209-7BEF-A4EB-9AE09DBE90E6}"/>
              </a:ext>
            </a:extLst>
          </p:cNvPr>
          <p:cNvSpPr/>
          <p:nvPr/>
        </p:nvSpPr>
        <p:spPr>
          <a:xfrm>
            <a:off x="3638940" y="5196928"/>
            <a:ext cx="640357" cy="438576"/>
          </a:xfrm>
          <a:custGeom>
            <a:avLst/>
            <a:gdLst>
              <a:gd name="csX0" fmla="*/ 55275 w 640357"/>
              <a:gd name="csY0" fmla="*/ 423468 h 438576"/>
              <a:gd name="csX1" fmla="*/ 181836 w 640357"/>
              <a:gd name="csY1" fmla="*/ 376777 h 438576"/>
              <a:gd name="csX2" fmla="*/ 304343 w 640357"/>
              <a:gd name="csY2" fmla="*/ 320300 h 438576"/>
              <a:gd name="csX3" fmla="*/ 422042 w 640357"/>
              <a:gd name="csY3" fmla="*/ 254386 h 438576"/>
              <a:gd name="csX4" fmla="*/ 534207 w 640357"/>
              <a:gd name="csY4" fmla="*/ 179440 h 438576"/>
              <a:gd name="csX5" fmla="*/ 640145 w 640357"/>
              <a:gd name="csY5" fmla="*/ 95925 h 438576"/>
              <a:gd name="csX6" fmla="*/ 640732 w 640357"/>
              <a:gd name="csY6" fmla="*/ 95382 h 438576"/>
              <a:gd name="csX7" fmla="*/ 252876 w 640357"/>
              <a:gd name="csY7" fmla="*/ 375 h 438576"/>
              <a:gd name="csX8" fmla="*/ 375 w 640357"/>
              <a:gd name="csY8" fmla="*/ 438951 h 43857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</a:cxnLst>
            <a:rect l="l" t="t" r="r" b="b"/>
            <a:pathLst>
              <a:path w="640357" h="438576">
                <a:moveTo>
                  <a:pt x="55275" y="423468"/>
                </a:moveTo>
                <a:lnTo>
                  <a:pt x="181836" y="376777"/>
                </a:lnTo>
                <a:lnTo>
                  <a:pt x="304343" y="320300"/>
                </a:lnTo>
                <a:lnTo>
                  <a:pt x="422042" y="254386"/>
                </a:lnTo>
                <a:lnTo>
                  <a:pt x="534207" y="179440"/>
                </a:lnTo>
                <a:lnTo>
                  <a:pt x="640145" y="95925"/>
                </a:lnTo>
                <a:lnTo>
                  <a:pt x="640732" y="95382"/>
                </a:lnTo>
                <a:lnTo>
                  <a:pt x="252876" y="375"/>
                </a:lnTo>
                <a:lnTo>
                  <a:pt x="375" y="438951"/>
                </a:lnTo>
                <a:close/>
              </a:path>
            </a:pathLst>
          </a:custGeom>
          <a:solidFill>
            <a:srgbClr val="E6F5FA"/>
          </a:solidFill>
          <a:ln w="14707" cap="flat">
            <a:solidFill>
              <a:srgbClr val="FFFFFF"/>
            </a:solidFill>
            <a:prstDash val="solid"/>
            <a:miter/>
          </a:ln>
        </p:spPr>
        <p:txBody>
          <a:bodyPr lIns="0" tIns="0" rIns="0" bIns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9B051260-05A9-19AD-DDAF-076886313641}"/>
              </a:ext>
            </a:extLst>
          </p:cNvPr>
          <p:cNvSpPr txBox="1"/>
          <p:nvPr/>
        </p:nvSpPr>
        <p:spPr>
          <a:xfrm>
            <a:off x="3608442" y="3999486"/>
            <a:ext cx="1239484" cy="60016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Other rare B-cell derived and T-cell derived forms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3AD51313-9202-A6DD-2BE9-1A7D51469735}"/>
              </a:ext>
            </a:extLst>
          </p:cNvPr>
          <p:cNvSpPr txBox="1"/>
          <p:nvPr/>
        </p:nvSpPr>
        <p:spPr>
          <a:xfrm>
            <a:off x="622864" y="4979402"/>
            <a:ext cx="923362" cy="30777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LPL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76FF42F0-299A-B6F0-9A02-0C60C534AFD9}"/>
              </a:ext>
            </a:extLst>
          </p:cNvPr>
          <p:cNvSpPr txBox="1"/>
          <p:nvPr/>
        </p:nvSpPr>
        <p:spPr>
          <a:xfrm>
            <a:off x="4229524" y="3438138"/>
            <a:ext cx="923362" cy="46166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BL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%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1DA38056-4646-8C8C-0851-47835FF7EAD4}"/>
              </a:ext>
            </a:extLst>
          </p:cNvPr>
          <p:cNvSpPr txBox="1"/>
          <p:nvPr/>
        </p:nvSpPr>
        <p:spPr>
          <a:xfrm>
            <a:off x="1767072" y="3104511"/>
            <a:ext cx="923362" cy="52322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LL/SLL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7%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725D2806-9D21-F620-FF44-491484F5C736}"/>
              </a:ext>
            </a:extLst>
          </p:cNvPr>
          <p:cNvSpPr txBox="1"/>
          <p:nvPr/>
        </p:nvSpPr>
        <p:spPr>
          <a:xfrm>
            <a:off x="2800380" y="2723886"/>
            <a:ext cx="923362" cy="64633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sv-SE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b="1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FL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2%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20D08DDB-6920-0371-198C-E07BDB4BD453}"/>
              </a:ext>
            </a:extLst>
          </p:cNvPr>
          <p:cNvSpPr txBox="1"/>
          <p:nvPr/>
        </p:nvSpPr>
        <p:spPr>
          <a:xfrm>
            <a:off x="3800607" y="2977101"/>
            <a:ext cx="923362" cy="52322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MZL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7%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44505AE2-BFB1-A7C4-F5AB-A053B9AB8EEF}"/>
              </a:ext>
            </a:extLst>
          </p:cNvPr>
          <p:cNvSpPr txBox="1"/>
          <p:nvPr/>
        </p:nvSpPr>
        <p:spPr>
          <a:xfrm>
            <a:off x="1367757" y="3599504"/>
            <a:ext cx="876750" cy="73866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Gastric MAL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8%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DC60A56B-EE49-0043-0C51-E876856AD344}"/>
              </a:ext>
            </a:extLst>
          </p:cNvPr>
          <p:cNvSpPr txBox="1"/>
          <p:nvPr/>
        </p:nvSpPr>
        <p:spPr>
          <a:xfrm>
            <a:off x="2376362" y="4571798"/>
            <a:ext cx="1111248" cy="64633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LBCL</a:t>
            </a:r>
            <a:b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30%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390FD6BC-94D5-EFCC-07C6-8F416DF512F5}"/>
              </a:ext>
            </a:extLst>
          </p:cNvPr>
          <p:cNvSpPr txBox="1"/>
          <p:nvPr/>
        </p:nvSpPr>
        <p:spPr>
          <a:xfrm>
            <a:off x="1869873" y="2540497"/>
            <a:ext cx="923362" cy="46166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MCL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3%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DE50A89E-6353-0E25-CEAC-FFC9D7FD9638}"/>
              </a:ext>
            </a:extLst>
          </p:cNvPr>
          <p:cNvSpPr txBox="1"/>
          <p:nvPr/>
        </p:nvSpPr>
        <p:spPr>
          <a:xfrm>
            <a:off x="-334338" y="4504807"/>
            <a:ext cx="1624170" cy="30777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Lymphoblastic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9F49380B-1945-D04B-A06E-D02987D94BF7}"/>
              </a:ext>
            </a:extLst>
          </p:cNvPr>
          <p:cNvSpPr txBox="1"/>
          <p:nvPr/>
        </p:nvSpPr>
        <p:spPr>
          <a:xfrm>
            <a:off x="4236787" y="5358820"/>
            <a:ext cx="923362" cy="30777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MZL</a:t>
            </a:r>
          </a:p>
        </p:txBody>
      </p: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70468198-7F23-A721-0C4E-24F3A95E40EE}"/>
              </a:ext>
            </a:extLst>
          </p:cNvPr>
          <p:cNvCxnSpPr>
            <a:cxnSpLocks/>
            <a:endCxn id="63" idx="1"/>
          </p:cNvCxnSpPr>
          <p:nvPr/>
        </p:nvCxnSpPr>
        <p:spPr>
          <a:xfrm flipV="1">
            <a:off x="1324695" y="4581204"/>
            <a:ext cx="221531" cy="65992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TextBox 61">
            <a:extLst>
              <a:ext uri="{FF2B5EF4-FFF2-40B4-BE49-F238E27FC236}">
                <a16:creationId xmlns:a16="http://schemas.microsoft.com/office/drawing/2014/main" id="{10B73B4E-74A3-BEFA-B394-F80C348257B7}"/>
              </a:ext>
            </a:extLst>
          </p:cNvPr>
          <p:cNvSpPr txBox="1"/>
          <p:nvPr/>
        </p:nvSpPr>
        <p:spPr>
          <a:xfrm>
            <a:off x="3812939" y="4550918"/>
            <a:ext cx="923362" cy="3693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sv-SE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b="1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7%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A55B65D4-174E-BF82-8B70-4C6BD549D320}"/>
              </a:ext>
            </a:extLst>
          </p:cNvPr>
          <p:cNvSpPr txBox="1"/>
          <p:nvPr/>
        </p:nvSpPr>
        <p:spPr>
          <a:xfrm>
            <a:off x="1546226" y="4427315"/>
            <a:ext cx="379035" cy="30777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%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801356F2-7029-59DD-3298-4AE4831827E2}"/>
              </a:ext>
            </a:extLst>
          </p:cNvPr>
          <p:cNvSpPr txBox="1"/>
          <p:nvPr/>
        </p:nvSpPr>
        <p:spPr>
          <a:xfrm>
            <a:off x="1618303" y="4839670"/>
            <a:ext cx="379035" cy="26161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%</a:t>
            </a:r>
          </a:p>
        </p:txBody>
      </p: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28E09360-C8EC-0061-4171-0C8F641816DD}"/>
              </a:ext>
            </a:extLst>
          </p:cNvPr>
          <p:cNvCxnSpPr>
            <a:cxnSpLocks/>
            <a:stCxn id="51" idx="3"/>
          </p:cNvCxnSpPr>
          <p:nvPr/>
        </p:nvCxnSpPr>
        <p:spPr>
          <a:xfrm flipV="1">
            <a:off x="1546226" y="5040785"/>
            <a:ext cx="269081" cy="92506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TextBox 65">
            <a:extLst>
              <a:ext uri="{FF2B5EF4-FFF2-40B4-BE49-F238E27FC236}">
                <a16:creationId xmlns:a16="http://schemas.microsoft.com/office/drawing/2014/main" id="{F0D12ADA-DCA1-A91C-60C6-C5D61A799683}"/>
              </a:ext>
            </a:extLst>
          </p:cNvPr>
          <p:cNvSpPr txBox="1"/>
          <p:nvPr/>
        </p:nvSpPr>
        <p:spPr>
          <a:xfrm>
            <a:off x="3660463" y="5213050"/>
            <a:ext cx="379035" cy="26161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%</a:t>
            </a:r>
          </a:p>
        </p:txBody>
      </p: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0218BA34-668D-2FC2-7DCB-4963E90BE7F1}"/>
              </a:ext>
            </a:extLst>
          </p:cNvPr>
          <p:cNvCxnSpPr>
            <a:cxnSpLocks/>
          </p:cNvCxnSpPr>
          <p:nvPr/>
        </p:nvCxnSpPr>
        <p:spPr>
          <a:xfrm>
            <a:off x="4060826" y="5407611"/>
            <a:ext cx="95644" cy="77253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ectangle 67">
            <a:extLst>
              <a:ext uri="{FF2B5EF4-FFF2-40B4-BE49-F238E27FC236}">
                <a16:creationId xmlns:a16="http://schemas.microsoft.com/office/drawing/2014/main" id="{CB567846-4E17-D9F1-4CAF-C53136B5D8C4}"/>
              </a:ext>
            </a:extLst>
          </p:cNvPr>
          <p:cNvSpPr/>
          <p:nvPr/>
        </p:nvSpPr>
        <p:spPr>
          <a:xfrm>
            <a:off x="102742" y="1321771"/>
            <a:ext cx="5971163" cy="4469475"/>
          </a:xfrm>
          <a:prstGeom prst="rect">
            <a:avLst/>
          </a:prstGeom>
          <a:solidFill>
            <a:srgbClr val="FFFFFF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D758E9AA-4173-E746-F806-51272F0099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651" y="6356350"/>
            <a:ext cx="383694" cy="365125"/>
          </a:xfrm>
        </p:spPr>
        <p:txBody>
          <a:bodyPr vert="horz" lIns="0" tIns="0" rIns="0" bIns="0"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01CC8E-1CEF-6746-999E-CF29FF00B1DC}" type="slidenum"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82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9620" name="!!Pic1">
            <a:extLst>
              <a:ext uri="{FF2B5EF4-FFF2-40B4-BE49-F238E27FC236}">
                <a16:creationId xmlns:a16="http://schemas.microsoft.com/office/drawing/2014/main" id="{BE401298-C715-AB50-BBC9-0794548240B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193516" y="2923360"/>
            <a:ext cx="231668" cy="262151"/>
          </a:xfrm>
          <a:prstGeom prst="rect">
            <a:avLst/>
          </a:prstGeom>
        </p:spPr>
      </p:pic>
      <p:pic>
        <p:nvPicPr>
          <p:cNvPr id="9621" name="!!Pic2">
            <a:extLst>
              <a:ext uri="{FF2B5EF4-FFF2-40B4-BE49-F238E27FC236}">
                <a16:creationId xmlns:a16="http://schemas.microsoft.com/office/drawing/2014/main" id="{FF38B03F-9732-088C-4043-205D0388D51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558516" y="3291660"/>
            <a:ext cx="231668" cy="262151"/>
          </a:xfrm>
          <a:prstGeom prst="rect">
            <a:avLst/>
          </a:prstGeom>
        </p:spPr>
      </p:pic>
      <p:pic>
        <p:nvPicPr>
          <p:cNvPr id="9622" name="!!Pic3">
            <a:extLst>
              <a:ext uri="{FF2B5EF4-FFF2-40B4-BE49-F238E27FC236}">
                <a16:creationId xmlns:a16="http://schemas.microsoft.com/office/drawing/2014/main" id="{3649F065-0EF7-929C-3A9C-096AB2746B7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66466" y="2986860"/>
            <a:ext cx="231668" cy="262151"/>
          </a:xfrm>
          <a:prstGeom prst="rect">
            <a:avLst/>
          </a:prstGeom>
        </p:spPr>
      </p:pic>
      <p:pic>
        <p:nvPicPr>
          <p:cNvPr id="9623" name="!!Pic4">
            <a:extLst>
              <a:ext uri="{FF2B5EF4-FFF2-40B4-BE49-F238E27FC236}">
                <a16:creationId xmlns:a16="http://schemas.microsoft.com/office/drawing/2014/main" id="{6E3EBE3B-B815-5AB8-A2C7-E0BBB3A50A4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69666" y="2656660"/>
            <a:ext cx="231668" cy="262151"/>
          </a:xfrm>
          <a:prstGeom prst="rect">
            <a:avLst/>
          </a:prstGeom>
        </p:spPr>
      </p:pic>
      <p:pic>
        <p:nvPicPr>
          <p:cNvPr id="9624" name="!!Pic5">
            <a:extLst>
              <a:ext uri="{FF2B5EF4-FFF2-40B4-BE49-F238E27FC236}">
                <a16:creationId xmlns:a16="http://schemas.microsoft.com/office/drawing/2014/main" id="{710A436F-1A13-75C1-84F8-387165DBF96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384016" y="3698060"/>
            <a:ext cx="231668" cy="262151"/>
          </a:xfrm>
          <a:prstGeom prst="rect">
            <a:avLst/>
          </a:prstGeom>
        </p:spPr>
      </p:pic>
      <p:pic>
        <p:nvPicPr>
          <p:cNvPr id="9625" name="!!Pic6">
            <a:extLst>
              <a:ext uri="{FF2B5EF4-FFF2-40B4-BE49-F238E27FC236}">
                <a16:creationId xmlns:a16="http://schemas.microsoft.com/office/drawing/2014/main" id="{A14375E8-B7EF-5F20-A342-71195252511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77616" y="4091760"/>
            <a:ext cx="231668" cy="262151"/>
          </a:xfrm>
          <a:prstGeom prst="rect">
            <a:avLst/>
          </a:prstGeom>
        </p:spPr>
      </p:pic>
      <p:pic>
        <p:nvPicPr>
          <p:cNvPr id="9626" name="!!Pic7">
            <a:extLst>
              <a:ext uri="{FF2B5EF4-FFF2-40B4-BE49-F238E27FC236}">
                <a16:creationId xmlns:a16="http://schemas.microsoft.com/office/drawing/2014/main" id="{A74C6ABE-075A-0612-FC05-30470ABFAEB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80766" y="4333060"/>
            <a:ext cx="231668" cy="262151"/>
          </a:xfrm>
          <a:prstGeom prst="rect">
            <a:avLst/>
          </a:prstGeom>
        </p:spPr>
      </p:pic>
      <p:pic>
        <p:nvPicPr>
          <p:cNvPr id="9627" name="!!Pic8">
            <a:extLst>
              <a:ext uri="{FF2B5EF4-FFF2-40B4-BE49-F238E27FC236}">
                <a16:creationId xmlns:a16="http://schemas.microsoft.com/office/drawing/2014/main" id="{4D3D8FE9-EB61-5DFC-F174-2952178E86E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244316" y="4364810"/>
            <a:ext cx="231668" cy="262151"/>
          </a:xfrm>
          <a:prstGeom prst="rect">
            <a:avLst/>
          </a:prstGeom>
        </p:spPr>
      </p:pic>
      <p:pic>
        <p:nvPicPr>
          <p:cNvPr id="9628" name="!!Pic9">
            <a:extLst>
              <a:ext uri="{FF2B5EF4-FFF2-40B4-BE49-F238E27FC236}">
                <a16:creationId xmlns:a16="http://schemas.microsoft.com/office/drawing/2014/main" id="{58FA0819-F971-6D22-B082-FA65C241712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539466" y="4085410"/>
            <a:ext cx="231668" cy="262151"/>
          </a:xfrm>
          <a:prstGeom prst="rect">
            <a:avLst/>
          </a:prstGeom>
        </p:spPr>
      </p:pic>
      <p:pic>
        <p:nvPicPr>
          <p:cNvPr id="9629" name="!!Pic10">
            <a:extLst>
              <a:ext uri="{FF2B5EF4-FFF2-40B4-BE49-F238E27FC236}">
                <a16:creationId xmlns:a16="http://schemas.microsoft.com/office/drawing/2014/main" id="{8E8588A5-78C9-18FE-F80F-A3799480A62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564866" y="4593410"/>
            <a:ext cx="231668" cy="262151"/>
          </a:xfrm>
          <a:prstGeom prst="rect">
            <a:avLst/>
          </a:prstGeom>
        </p:spPr>
      </p:pic>
      <p:pic>
        <p:nvPicPr>
          <p:cNvPr id="9630" name="!!Pic11">
            <a:extLst>
              <a:ext uri="{FF2B5EF4-FFF2-40B4-BE49-F238E27FC236}">
                <a16:creationId xmlns:a16="http://schemas.microsoft.com/office/drawing/2014/main" id="{EA84B138-1D78-A010-9D12-7F731DDA452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247366" y="4783910"/>
            <a:ext cx="231668" cy="262151"/>
          </a:xfrm>
          <a:prstGeom prst="rect">
            <a:avLst/>
          </a:prstGeom>
        </p:spPr>
      </p:pic>
      <p:pic>
        <p:nvPicPr>
          <p:cNvPr id="9631" name="!!Pic12">
            <a:extLst>
              <a:ext uri="{FF2B5EF4-FFF2-40B4-BE49-F238E27FC236}">
                <a16:creationId xmlns:a16="http://schemas.microsoft.com/office/drawing/2014/main" id="{8A090A70-28F8-9EE2-EEB9-AAE719135B0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307816" y="4860110"/>
            <a:ext cx="231668" cy="262151"/>
          </a:xfrm>
          <a:prstGeom prst="rect">
            <a:avLst/>
          </a:prstGeom>
        </p:spPr>
      </p:pic>
      <p:pic>
        <p:nvPicPr>
          <p:cNvPr id="9632" name="!!Pic13">
            <a:extLst>
              <a:ext uri="{FF2B5EF4-FFF2-40B4-BE49-F238E27FC236}">
                <a16:creationId xmlns:a16="http://schemas.microsoft.com/office/drawing/2014/main" id="{48DB8178-EFCC-C9E0-AE34-7645070882C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56966" y="5120460"/>
            <a:ext cx="231668" cy="262151"/>
          </a:xfrm>
          <a:prstGeom prst="rect">
            <a:avLst/>
          </a:prstGeom>
        </p:spPr>
      </p:pic>
      <p:pic>
        <p:nvPicPr>
          <p:cNvPr id="9635" name="!!Pic14">
            <a:extLst>
              <a:ext uri="{FF2B5EF4-FFF2-40B4-BE49-F238E27FC236}">
                <a16:creationId xmlns:a16="http://schemas.microsoft.com/office/drawing/2014/main" id="{0AB45940-1386-2EF4-4ACA-F32FDF522C0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78885" y="5227744"/>
            <a:ext cx="231668" cy="262151"/>
          </a:xfrm>
          <a:prstGeom prst="rect">
            <a:avLst/>
          </a:prstGeom>
        </p:spPr>
      </p:pic>
      <p:pic>
        <p:nvPicPr>
          <p:cNvPr id="9636" name="!!Pic15">
            <a:extLst>
              <a:ext uri="{FF2B5EF4-FFF2-40B4-BE49-F238E27FC236}">
                <a16:creationId xmlns:a16="http://schemas.microsoft.com/office/drawing/2014/main" id="{A4E2C06E-1064-BF92-21A9-FC47D2C1C8D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29817" y="4865635"/>
            <a:ext cx="231668" cy="262151"/>
          </a:xfrm>
          <a:prstGeom prst="rect">
            <a:avLst/>
          </a:prstGeom>
        </p:spPr>
      </p:pic>
      <p:pic>
        <p:nvPicPr>
          <p:cNvPr id="9637" name="!!Pic16">
            <a:extLst>
              <a:ext uri="{FF2B5EF4-FFF2-40B4-BE49-F238E27FC236}">
                <a16:creationId xmlns:a16="http://schemas.microsoft.com/office/drawing/2014/main" id="{327E8492-8AF2-EB08-9889-5B55FF3FBFA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655389" y="4707375"/>
            <a:ext cx="231668" cy="262151"/>
          </a:xfrm>
          <a:prstGeom prst="rect">
            <a:avLst/>
          </a:prstGeom>
        </p:spPr>
      </p:pic>
      <p:pic>
        <p:nvPicPr>
          <p:cNvPr id="9638" name="!!Pic17">
            <a:extLst>
              <a:ext uri="{FF2B5EF4-FFF2-40B4-BE49-F238E27FC236}">
                <a16:creationId xmlns:a16="http://schemas.microsoft.com/office/drawing/2014/main" id="{4D25F063-AD4C-AF75-6F5F-DFBEB130AB3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13818" y="3999486"/>
            <a:ext cx="231668" cy="262151"/>
          </a:xfrm>
          <a:prstGeom prst="rect">
            <a:avLst/>
          </a:prstGeom>
        </p:spPr>
      </p:pic>
      <p:pic>
        <p:nvPicPr>
          <p:cNvPr id="9639" name="!!Pic18">
            <a:extLst>
              <a:ext uri="{FF2B5EF4-FFF2-40B4-BE49-F238E27FC236}">
                <a16:creationId xmlns:a16="http://schemas.microsoft.com/office/drawing/2014/main" id="{BF410BFC-A0C6-8FD4-5A58-97A320B999F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09375" y="3585944"/>
            <a:ext cx="231668" cy="262151"/>
          </a:xfrm>
          <a:prstGeom prst="rect">
            <a:avLst/>
          </a:prstGeom>
        </p:spPr>
      </p:pic>
      <p:pic>
        <p:nvPicPr>
          <p:cNvPr id="9640" name="!!Pic19">
            <a:extLst>
              <a:ext uri="{FF2B5EF4-FFF2-40B4-BE49-F238E27FC236}">
                <a16:creationId xmlns:a16="http://schemas.microsoft.com/office/drawing/2014/main" id="{99750C88-B4D6-1489-44D9-186EAC2DED7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53850" y="3256430"/>
            <a:ext cx="231668" cy="262151"/>
          </a:xfrm>
          <a:prstGeom prst="rect">
            <a:avLst/>
          </a:prstGeom>
        </p:spPr>
      </p:pic>
      <p:pic>
        <p:nvPicPr>
          <p:cNvPr id="9641" name="!!Pic20">
            <a:extLst>
              <a:ext uri="{FF2B5EF4-FFF2-40B4-BE49-F238E27FC236}">
                <a16:creationId xmlns:a16="http://schemas.microsoft.com/office/drawing/2014/main" id="{B634641C-A9DC-95DC-57B8-BEC5EF2360C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256183" y="3491890"/>
            <a:ext cx="231668" cy="262151"/>
          </a:xfrm>
          <a:prstGeom prst="rect">
            <a:avLst/>
          </a:prstGeom>
        </p:spPr>
      </p:pic>
      <p:pic>
        <p:nvPicPr>
          <p:cNvPr id="9642" name="!!Pic21">
            <a:extLst>
              <a:ext uri="{FF2B5EF4-FFF2-40B4-BE49-F238E27FC236}">
                <a16:creationId xmlns:a16="http://schemas.microsoft.com/office/drawing/2014/main" id="{9C9A15FF-35CA-DA77-50BB-9910FE69027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113415" y="2349170"/>
            <a:ext cx="231668" cy="262151"/>
          </a:xfrm>
          <a:prstGeom prst="rect">
            <a:avLst/>
          </a:prstGeom>
        </p:spPr>
      </p:pic>
      <p:pic>
        <p:nvPicPr>
          <p:cNvPr id="9643" name="!!Pic22">
            <a:extLst>
              <a:ext uri="{FF2B5EF4-FFF2-40B4-BE49-F238E27FC236}">
                <a16:creationId xmlns:a16="http://schemas.microsoft.com/office/drawing/2014/main" id="{D799D111-2473-CF86-E3E7-59284DFA510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611912" y="3009781"/>
            <a:ext cx="231668" cy="262151"/>
          </a:xfrm>
          <a:prstGeom prst="rect">
            <a:avLst/>
          </a:prstGeom>
        </p:spPr>
      </p:pic>
      <p:pic>
        <p:nvPicPr>
          <p:cNvPr id="9644" name="!!Pic23">
            <a:extLst>
              <a:ext uri="{FF2B5EF4-FFF2-40B4-BE49-F238E27FC236}">
                <a16:creationId xmlns:a16="http://schemas.microsoft.com/office/drawing/2014/main" id="{92DE7542-5A2D-18F3-702F-668473B64C2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09126" y="2375387"/>
            <a:ext cx="231668" cy="262151"/>
          </a:xfrm>
          <a:prstGeom prst="rect">
            <a:avLst/>
          </a:prstGeom>
        </p:spPr>
      </p:pic>
      <p:pic>
        <p:nvPicPr>
          <p:cNvPr id="9645" name="!!Pic24">
            <a:extLst>
              <a:ext uri="{FF2B5EF4-FFF2-40B4-BE49-F238E27FC236}">
                <a16:creationId xmlns:a16="http://schemas.microsoft.com/office/drawing/2014/main" id="{EF1D62D0-FB08-557A-27B5-30068FEB718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29768" y="2078175"/>
            <a:ext cx="231668" cy="262151"/>
          </a:xfrm>
          <a:prstGeom prst="rect">
            <a:avLst/>
          </a:prstGeom>
        </p:spPr>
      </p:pic>
      <p:pic>
        <p:nvPicPr>
          <p:cNvPr id="9646" name="!!Pic25">
            <a:extLst>
              <a:ext uri="{FF2B5EF4-FFF2-40B4-BE49-F238E27FC236}">
                <a16:creationId xmlns:a16="http://schemas.microsoft.com/office/drawing/2014/main" id="{0C7669AC-BE2B-FA3B-CA28-AD356080DB5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48768" y="3042067"/>
            <a:ext cx="231668" cy="262151"/>
          </a:xfrm>
          <a:prstGeom prst="rect">
            <a:avLst/>
          </a:prstGeom>
        </p:spPr>
      </p:pic>
      <p:pic>
        <p:nvPicPr>
          <p:cNvPr id="9647" name="!!Pic26">
            <a:extLst>
              <a:ext uri="{FF2B5EF4-FFF2-40B4-BE49-F238E27FC236}">
                <a16:creationId xmlns:a16="http://schemas.microsoft.com/office/drawing/2014/main" id="{2EF0B26E-CA56-9382-CFF1-A1DCC33784B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46227" y="3072718"/>
            <a:ext cx="231668" cy="262151"/>
          </a:xfrm>
          <a:prstGeom prst="rect">
            <a:avLst/>
          </a:prstGeom>
        </p:spPr>
      </p:pic>
      <p:pic>
        <p:nvPicPr>
          <p:cNvPr id="9648" name="!!Pic27">
            <a:extLst>
              <a:ext uri="{FF2B5EF4-FFF2-40B4-BE49-F238E27FC236}">
                <a16:creationId xmlns:a16="http://schemas.microsoft.com/office/drawing/2014/main" id="{4855E48D-F650-C5EE-73D5-9DCC2003B75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67158" y="3301390"/>
            <a:ext cx="231668" cy="262151"/>
          </a:xfrm>
          <a:prstGeom prst="rect">
            <a:avLst/>
          </a:prstGeom>
        </p:spPr>
      </p:pic>
      <p:pic>
        <p:nvPicPr>
          <p:cNvPr id="9649" name="!!Pic28">
            <a:extLst>
              <a:ext uri="{FF2B5EF4-FFF2-40B4-BE49-F238E27FC236}">
                <a16:creationId xmlns:a16="http://schemas.microsoft.com/office/drawing/2014/main" id="{BA8116B1-012D-9B8E-1EB5-F207AC15A83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94160" y="3388439"/>
            <a:ext cx="231668" cy="262151"/>
          </a:xfrm>
          <a:prstGeom prst="rect">
            <a:avLst/>
          </a:prstGeom>
        </p:spPr>
      </p:pic>
      <p:pic>
        <p:nvPicPr>
          <p:cNvPr id="9650" name="!!Pic29">
            <a:extLst>
              <a:ext uri="{FF2B5EF4-FFF2-40B4-BE49-F238E27FC236}">
                <a16:creationId xmlns:a16="http://schemas.microsoft.com/office/drawing/2014/main" id="{063E083A-D188-3DAA-A7F7-2A2B53C2C68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07069" y="3752240"/>
            <a:ext cx="231668" cy="262151"/>
          </a:xfrm>
          <a:prstGeom prst="rect">
            <a:avLst/>
          </a:prstGeom>
        </p:spPr>
      </p:pic>
      <p:pic>
        <p:nvPicPr>
          <p:cNvPr id="9651" name="!!Pic30">
            <a:extLst>
              <a:ext uri="{FF2B5EF4-FFF2-40B4-BE49-F238E27FC236}">
                <a16:creationId xmlns:a16="http://schemas.microsoft.com/office/drawing/2014/main" id="{1EE57FCB-1BE1-6B7A-F5B4-9EE1BEBAFD3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32934" y="3790569"/>
            <a:ext cx="231668" cy="262151"/>
          </a:xfrm>
          <a:prstGeom prst="rect">
            <a:avLst/>
          </a:prstGeom>
        </p:spPr>
      </p:pic>
      <p:pic>
        <p:nvPicPr>
          <p:cNvPr id="9652" name="!!Pic31">
            <a:extLst>
              <a:ext uri="{FF2B5EF4-FFF2-40B4-BE49-F238E27FC236}">
                <a16:creationId xmlns:a16="http://schemas.microsoft.com/office/drawing/2014/main" id="{B00BB04E-238C-C5E1-7754-D20CB2909B6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86968" y="3468428"/>
            <a:ext cx="231668" cy="262151"/>
          </a:xfrm>
          <a:prstGeom prst="rect">
            <a:avLst/>
          </a:prstGeom>
        </p:spPr>
      </p:pic>
      <p:pic>
        <p:nvPicPr>
          <p:cNvPr id="9653" name="!!Pic32">
            <a:extLst>
              <a:ext uri="{FF2B5EF4-FFF2-40B4-BE49-F238E27FC236}">
                <a16:creationId xmlns:a16="http://schemas.microsoft.com/office/drawing/2014/main" id="{490C22F1-D1FA-4149-782F-51FD3323EF0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04562" y="3537894"/>
            <a:ext cx="231668" cy="262151"/>
          </a:xfrm>
          <a:prstGeom prst="rect">
            <a:avLst/>
          </a:prstGeom>
        </p:spPr>
      </p:pic>
      <p:pic>
        <p:nvPicPr>
          <p:cNvPr id="9654" name="!!Pic33">
            <a:extLst>
              <a:ext uri="{FF2B5EF4-FFF2-40B4-BE49-F238E27FC236}">
                <a16:creationId xmlns:a16="http://schemas.microsoft.com/office/drawing/2014/main" id="{857D2D8B-028E-7943-DDD6-BBE925A081E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34068" y="3960684"/>
            <a:ext cx="231668" cy="262151"/>
          </a:xfrm>
          <a:prstGeom prst="rect">
            <a:avLst/>
          </a:prstGeom>
        </p:spPr>
      </p:pic>
      <p:pic>
        <p:nvPicPr>
          <p:cNvPr id="9655" name="!!Pic34">
            <a:extLst>
              <a:ext uri="{FF2B5EF4-FFF2-40B4-BE49-F238E27FC236}">
                <a16:creationId xmlns:a16="http://schemas.microsoft.com/office/drawing/2014/main" id="{46CA7DCE-C3BD-66CB-4006-8B2D19DF1A8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93075" y="5046842"/>
            <a:ext cx="231668" cy="262151"/>
          </a:xfrm>
          <a:prstGeom prst="rect">
            <a:avLst/>
          </a:prstGeom>
        </p:spPr>
      </p:pic>
      <p:pic>
        <p:nvPicPr>
          <p:cNvPr id="9656" name="!!Pic35">
            <a:extLst>
              <a:ext uri="{FF2B5EF4-FFF2-40B4-BE49-F238E27FC236}">
                <a16:creationId xmlns:a16="http://schemas.microsoft.com/office/drawing/2014/main" id="{294264B9-A2D0-93E4-C994-706892ABA8E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51816" y="5149409"/>
            <a:ext cx="231668" cy="262151"/>
          </a:xfrm>
          <a:prstGeom prst="rect">
            <a:avLst/>
          </a:prstGeom>
        </p:spPr>
      </p:pic>
      <p:pic>
        <p:nvPicPr>
          <p:cNvPr id="9657" name="!!Pic36">
            <a:extLst>
              <a:ext uri="{FF2B5EF4-FFF2-40B4-BE49-F238E27FC236}">
                <a16:creationId xmlns:a16="http://schemas.microsoft.com/office/drawing/2014/main" id="{DA8FBE0C-1374-F060-BE46-AB08362357E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45411" y="4906337"/>
            <a:ext cx="231668" cy="262151"/>
          </a:xfrm>
          <a:prstGeom prst="rect">
            <a:avLst/>
          </a:prstGeom>
        </p:spPr>
      </p:pic>
      <p:pic>
        <p:nvPicPr>
          <p:cNvPr id="9658" name="!!Pic37">
            <a:extLst>
              <a:ext uri="{FF2B5EF4-FFF2-40B4-BE49-F238E27FC236}">
                <a16:creationId xmlns:a16="http://schemas.microsoft.com/office/drawing/2014/main" id="{291059F3-0DDE-F824-5E0F-D8CFCA0D5EC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62911" y="4728897"/>
            <a:ext cx="231668" cy="262151"/>
          </a:xfrm>
          <a:prstGeom prst="rect">
            <a:avLst/>
          </a:prstGeom>
        </p:spPr>
      </p:pic>
      <p:pic>
        <p:nvPicPr>
          <p:cNvPr id="9659" name="!!Pic38">
            <a:extLst>
              <a:ext uri="{FF2B5EF4-FFF2-40B4-BE49-F238E27FC236}">
                <a16:creationId xmlns:a16="http://schemas.microsoft.com/office/drawing/2014/main" id="{9BDB56D8-491E-BE14-8D2A-8D0D7151D62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99551" y="4222835"/>
            <a:ext cx="231668" cy="262151"/>
          </a:xfrm>
          <a:prstGeom prst="rect">
            <a:avLst/>
          </a:prstGeom>
        </p:spPr>
      </p:pic>
      <p:pic>
        <p:nvPicPr>
          <p:cNvPr id="9660" name="!!Pic39">
            <a:extLst>
              <a:ext uri="{FF2B5EF4-FFF2-40B4-BE49-F238E27FC236}">
                <a16:creationId xmlns:a16="http://schemas.microsoft.com/office/drawing/2014/main" id="{ABFF29CD-70EB-C5C0-F40F-B73FFE3E405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15369" y="4454524"/>
            <a:ext cx="231668" cy="262151"/>
          </a:xfrm>
          <a:prstGeom prst="rect">
            <a:avLst/>
          </a:prstGeom>
        </p:spPr>
      </p:pic>
      <p:pic>
        <p:nvPicPr>
          <p:cNvPr id="9661" name="!!Pic40">
            <a:extLst>
              <a:ext uri="{FF2B5EF4-FFF2-40B4-BE49-F238E27FC236}">
                <a16:creationId xmlns:a16="http://schemas.microsoft.com/office/drawing/2014/main" id="{4B670F8F-C9F7-EEA8-4401-FD996FD7CEC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86301" y="5314339"/>
            <a:ext cx="231668" cy="262151"/>
          </a:xfrm>
          <a:prstGeom prst="rect">
            <a:avLst/>
          </a:prstGeom>
        </p:spPr>
      </p:pic>
      <p:pic>
        <p:nvPicPr>
          <p:cNvPr id="9662" name="!!Pic41">
            <a:extLst>
              <a:ext uri="{FF2B5EF4-FFF2-40B4-BE49-F238E27FC236}">
                <a16:creationId xmlns:a16="http://schemas.microsoft.com/office/drawing/2014/main" id="{D90042B9-565C-D6FA-437A-36C6D080AEF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79768" y="4519570"/>
            <a:ext cx="231668" cy="262151"/>
          </a:xfrm>
          <a:prstGeom prst="rect">
            <a:avLst/>
          </a:prstGeom>
        </p:spPr>
      </p:pic>
      <p:pic>
        <p:nvPicPr>
          <p:cNvPr id="9663" name="!!Pic42">
            <a:extLst>
              <a:ext uri="{FF2B5EF4-FFF2-40B4-BE49-F238E27FC236}">
                <a16:creationId xmlns:a16="http://schemas.microsoft.com/office/drawing/2014/main" id="{341EDA9F-AFE1-EFCC-94B0-DB6EA63FFF4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14396" y="4280930"/>
            <a:ext cx="231668" cy="262151"/>
          </a:xfrm>
          <a:prstGeom prst="rect">
            <a:avLst/>
          </a:prstGeom>
        </p:spPr>
      </p:pic>
      <p:pic>
        <p:nvPicPr>
          <p:cNvPr id="9664" name="!!Pic43">
            <a:extLst>
              <a:ext uri="{FF2B5EF4-FFF2-40B4-BE49-F238E27FC236}">
                <a16:creationId xmlns:a16="http://schemas.microsoft.com/office/drawing/2014/main" id="{F311F424-BE41-C4C9-712C-53DC49059B9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83769" y="4070909"/>
            <a:ext cx="231668" cy="262151"/>
          </a:xfrm>
          <a:prstGeom prst="rect">
            <a:avLst/>
          </a:prstGeom>
        </p:spPr>
      </p:pic>
      <p:pic>
        <p:nvPicPr>
          <p:cNvPr id="9665" name="!!Pic44">
            <a:extLst>
              <a:ext uri="{FF2B5EF4-FFF2-40B4-BE49-F238E27FC236}">
                <a16:creationId xmlns:a16="http://schemas.microsoft.com/office/drawing/2014/main" id="{FE1A604D-BF91-F238-25A0-9DCAFE05D8B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98820" y="4020667"/>
            <a:ext cx="231668" cy="262151"/>
          </a:xfrm>
          <a:prstGeom prst="rect">
            <a:avLst/>
          </a:prstGeom>
        </p:spPr>
      </p:pic>
      <p:pic>
        <p:nvPicPr>
          <p:cNvPr id="9666" name="!!Pic45">
            <a:extLst>
              <a:ext uri="{FF2B5EF4-FFF2-40B4-BE49-F238E27FC236}">
                <a16:creationId xmlns:a16="http://schemas.microsoft.com/office/drawing/2014/main" id="{D6E2BA4B-6AB2-37C2-B83D-F25C261D2D8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09576" y="3800045"/>
            <a:ext cx="231668" cy="262151"/>
          </a:xfrm>
          <a:prstGeom prst="rect">
            <a:avLst/>
          </a:prstGeom>
        </p:spPr>
      </p:pic>
      <p:pic>
        <p:nvPicPr>
          <p:cNvPr id="9667" name="!!Pic46">
            <a:extLst>
              <a:ext uri="{FF2B5EF4-FFF2-40B4-BE49-F238E27FC236}">
                <a16:creationId xmlns:a16="http://schemas.microsoft.com/office/drawing/2014/main" id="{13B9ECF7-20D9-A1C9-A9CC-11CEC449990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70168" y="3346702"/>
            <a:ext cx="231668" cy="262151"/>
          </a:xfrm>
          <a:prstGeom prst="rect">
            <a:avLst/>
          </a:prstGeom>
        </p:spPr>
      </p:pic>
      <p:pic>
        <p:nvPicPr>
          <p:cNvPr id="9668" name="!!Pic47">
            <a:extLst>
              <a:ext uri="{FF2B5EF4-FFF2-40B4-BE49-F238E27FC236}">
                <a16:creationId xmlns:a16="http://schemas.microsoft.com/office/drawing/2014/main" id="{59B97CC0-B571-B4F3-23BF-EFD7024472E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34703" y="3580538"/>
            <a:ext cx="231668" cy="262151"/>
          </a:xfrm>
          <a:prstGeom prst="rect">
            <a:avLst/>
          </a:prstGeom>
        </p:spPr>
      </p:pic>
      <p:pic>
        <p:nvPicPr>
          <p:cNvPr id="9669" name="!!Pic48">
            <a:extLst>
              <a:ext uri="{FF2B5EF4-FFF2-40B4-BE49-F238E27FC236}">
                <a16:creationId xmlns:a16="http://schemas.microsoft.com/office/drawing/2014/main" id="{C32B2567-B2F3-A0D8-A10D-63F1DC5008C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38863" y="2474054"/>
            <a:ext cx="231668" cy="262151"/>
          </a:xfrm>
          <a:prstGeom prst="rect">
            <a:avLst/>
          </a:prstGeom>
        </p:spPr>
      </p:pic>
      <p:pic>
        <p:nvPicPr>
          <p:cNvPr id="9670" name="!!Pic49">
            <a:extLst>
              <a:ext uri="{FF2B5EF4-FFF2-40B4-BE49-F238E27FC236}">
                <a16:creationId xmlns:a16="http://schemas.microsoft.com/office/drawing/2014/main" id="{67DD8B5D-099A-2ADE-B429-1F04E105F28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54351" y="2648912"/>
            <a:ext cx="231668" cy="262151"/>
          </a:xfrm>
          <a:prstGeom prst="rect">
            <a:avLst/>
          </a:prstGeom>
        </p:spPr>
      </p:pic>
      <p:pic>
        <p:nvPicPr>
          <p:cNvPr id="9671" name="!!Pic50">
            <a:extLst>
              <a:ext uri="{FF2B5EF4-FFF2-40B4-BE49-F238E27FC236}">
                <a16:creationId xmlns:a16="http://schemas.microsoft.com/office/drawing/2014/main" id="{3C593A80-57A4-6993-E2D0-D9EE65FB788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63051" y="2461661"/>
            <a:ext cx="231668" cy="262151"/>
          </a:xfrm>
          <a:prstGeom prst="rect">
            <a:avLst/>
          </a:prstGeom>
        </p:spPr>
      </p:pic>
      <p:pic>
        <p:nvPicPr>
          <p:cNvPr id="9672" name="!!Pic51">
            <a:extLst>
              <a:ext uri="{FF2B5EF4-FFF2-40B4-BE49-F238E27FC236}">
                <a16:creationId xmlns:a16="http://schemas.microsoft.com/office/drawing/2014/main" id="{323B4E70-79B5-B38C-8547-D08EFA1F155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455400" y="4053172"/>
            <a:ext cx="231668" cy="304826"/>
          </a:xfrm>
          <a:prstGeom prst="rect">
            <a:avLst/>
          </a:prstGeom>
        </p:spPr>
      </p:pic>
      <p:pic>
        <p:nvPicPr>
          <p:cNvPr id="9673" name="!!Pic52">
            <a:extLst>
              <a:ext uri="{FF2B5EF4-FFF2-40B4-BE49-F238E27FC236}">
                <a16:creationId xmlns:a16="http://schemas.microsoft.com/office/drawing/2014/main" id="{7DB09364-F621-8AD8-AE29-8BDF74C01E5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023600" y="3672172"/>
            <a:ext cx="231668" cy="304826"/>
          </a:xfrm>
          <a:prstGeom prst="rect">
            <a:avLst/>
          </a:prstGeom>
        </p:spPr>
      </p:pic>
      <p:pic>
        <p:nvPicPr>
          <p:cNvPr id="9674" name="!!Pic53">
            <a:extLst>
              <a:ext uri="{FF2B5EF4-FFF2-40B4-BE49-F238E27FC236}">
                <a16:creationId xmlns:a16="http://schemas.microsoft.com/office/drawing/2014/main" id="{FC4F0997-8DBC-6DC9-729E-978514BA339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598150" y="3684872"/>
            <a:ext cx="231668" cy="304826"/>
          </a:xfrm>
          <a:prstGeom prst="rect">
            <a:avLst/>
          </a:prstGeom>
        </p:spPr>
      </p:pic>
      <p:pic>
        <p:nvPicPr>
          <p:cNvPr id="9675" name="!!Pic54">
            <a:extLst>
              <a:ext uri="{FF2B5EF4-FFF2-40B4-BE49-F238E27FC236}">
                <a16:creationId xmlns:a16="http://schemas.microsoft.com/office/drawing/2014/main" id="{DE0818C1-80E6-440C-599E-D1037B1D1D3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922000" y="3087972"/>
            <a:ext cx="231668" cy="304826"/>
          </a:xfrm>
          <a:prstGeom prst="rect">
            <a:avLst/>
          </a:prstGeom>
        </p:spPr>
      </p:pic>
      <p:pic>
        <p:nvPicPr>
          <p:cNvPr id="9676" name="!!Pic55">
            <a:extLst>
              <a:ext uri="{FF2B5EF4-FFF2-40B4-BE49-F238E27FC236}">
                <a16:creationId xmlns:a16="http://schemas.microsoft.com/office/drawing/2014/main" id="{FBA63B48-5599-0D08-A96C-B743C0E7021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156950" y="3310222"/>
            <a:ext cx="231668" cy="304826"/>
          </a:xfrm>
          <a:prstGeom prst="rect">
            <a:avLst/>
          </a:prstGeom>
        </p:spPr>
      </p:pic>
      <p:pic>
        <p:nvPicPr>
          <p:cNvPr id="9677" name="!!Pic56">
            <a:extLst>
              <a:ext uri="{FF2B5EF4-FFF2-40B4-BE49-F238E27FC236}">
                <a16:creationId xmlns:a16="http://schemas.microsoft.com/office/drawing/2014/main" id="{CD410D7B-20B5-A517-7B5F-F5BCA016A16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331450" y="3888072"/>
            <a:ext cx="231668" cy="304826"/>
          </a:xfrm>
          <a:prstGeom prst="rect">
            <a:avLst/>
          </a:prstGeom>
        </p:spPr>
      </p:pic>
      <p:pic>
        <p:nvPicPr>
          <p:cNvPr id="9678" name="!!Pic57">
            <a:extLst>
              <a:ext uri="{FF2B5EF4-FFF2-40B4-BE49-F238E27FC236}">
                <a16:creationId xmlns:a16="http://schemas.microsoft.com/office/drawing/2014/main" id="{75773C75-0DC1-E14C-25FD-B1A863DD3A6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096500" y="4103972"/>
            <a:ext cx="231668" cy="304826"/>
          </a:xfrm>
          <a:prstGeom prst="rect">
            <a:avLst/>
          </a:prstGeom>
        </p:spPr>
      </p:pic>
      <p:pic>
        <p:nvPicPr>
          <p:cNvPr id="9679" name="!!Pic58">
            <a:extLst>
              <a:ext uri="{FF2B5EF4-FFF2-40B4-BE49-F238E27FC236}">
                <a16:creationId xmlns:a16="http://schemas.microsoft.com/office/drawing/2014/main" id="{C2A430A1-A832-699D-C447-8A71B77414A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956800" y="4389722"/>
            <a:ext cx="231668" cy="304826"/>
          </a:xfrm>
          <a:prstGeom prst="rect">
            <a:avLst/>
          </a:prstGeom>
        </p:spPr>
      </p:pic>
      <p:pic>
        <p:nvPicPr>
          <p:cNvPr id="9680" name="!!Pic59">
            <a:extLst>
              <a:ext uri="{FF2B5EF4-FFF2-40B4-BE49-F238E27FC236}">
                <a16:creationId xmlns:a16="http://schemas.microsoft.com/office/drawing/2014/main" id="{BFBE0049-9BBD-E5CE-6875-CFE5CB9FBB5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004550" y="4707222"/>
            <a:ext cx="231668" cy="304826"/>
          </a:xfrm>
          <a:prstGeom prst="rect">
            <a:avLst/>
          </a:prstGeom>
        </p:spPr>
      </p:pic>
      <p:pic>
        <p:nvPicPr>
          <p:cNvPr id="9681" name="!!Pic60">
            <a:extLst>
              <a:ext uri="{FF2B5EF4-FFF2-40B4-BE49-F238E27FC236}">
                <a16:creationId xmlns:a16="http://schemas.microsoft.com/office/drawing/2014/main" id="{F49CFA1B-E4D7-0BC2-8B03-1CF843CE1D6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420350" y="5183472"/>
            <a:ext cx="231668" cy="304826"/>
          </a:xfrm>
          <a:prstGeom prst="rect">
            <a:avLst/>
          </a:prstGeom>
        </p:spPr>
      </p:pic>
      <p:pic>
        <p:nvPicPr>
          <p:cNvPr id="9682" name="!!Pic61">
            <a:extLst>
              <a:ext uri="{FF2B5EF4-FFF2-40B4-BE49-F238E27FC236}">
                <a16:creationId xmlns:a16="http://schemas.microsoft.com/office/drawing/2014/main" id="{4E2B5B92-B9F7-2C5E-51EE-293D1808ECB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899650" y="5062822"/>
            <a:ext cx="231668" cy="304826"/>
          </a:xfrm>
          <a:prstGeom prst="rect">
            <a:avLst/>
          </a:prstGeom>
        </p:spPr>
      </p:pic>
      <p:pic>
        <p:nvPicPr>
          <p:cNvPr id="9683" name="!!Pic62">
            <a:extLst>
              <a:ext uri="{FF2B5EF4-FFF2-40B4-BE49-F238E27FC236}">
                <a16:creationId xmlns:a16="http://schemas.microsoft.com/office/drawing/2014/main" id="{19A8E0BB-9A9D-77E8-B51F-92806F6A861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620250" y="5285072"/>
            <a:ext cx="231668" cy="304826"/>
          </a:xfrm>
          <a:prstGeom prst="rect">
            <a:avLst/>
          </a:prstGeom>
        </p:spPr>
      </p:pic>
      <p:pic>
        <p:nvPicPr>
          <p:cNvPr id="9684" name="!!Pic63">
            <a:extLst>
              <a:ext uri="{FF2B5EF4-FFF2-40B4-BE49-F238E27FC236}">
                <a16:creationId xmlns:a16="http://schemas.microsoft.com/office/drawing/2014/main" id="{B8B418E3-07A6-010F-5845-BA457DCA595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264650" y="4580222"/>
            <a:ext cx="231668" cy="304826"/>
          </a:xfrm>
          <a:prstGeom prst="rect">
            <a:avLst/>
          </a:prstGeom>
        </p:spPr>
      </p:pic>
      <p:pic>
        <p:nvPicPr>
          <p:cNvPr id="9685" name="!!Pic64">
            <a:extLst>
              <a:ext uri="{FF2B5EF4-FFF2-40B4-BE49-F238E27FC236}">
                <a16:creationId xmlns:a16="http://schemas.microsoft.com/office/drawing/2014/main" id="{0BF0B958-E93F-886A-9D05-0B6E90BE7EC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499600" y="4161122"/>
            <a:ext cx="231668" cy="304826"/>
          </a:xfrm>
          <a:prstGeom prst="rect">
            <a:avLst/>
          </a:prstGeom>
        </p:spPr>
      </p:pic>
      <p:pic>
        <p:nvPicPr>
          <p:cNvPr id="9686" name="!!Pic65">
            <a:extLst>
              <a:ext uri="{FF2B5EF4-FFF2-40B4-BE49-F238E27FC236}">
                <a16:creationId xmlns:a16="http://schemas.microsoft.com/office/drawing/2014/main" id="{B71B9FE6-5ADE-2F65-A129-C2122E8975E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499600" y="3697572"/>
            <a:ext cx="231668" cy="304826"/>
          </a:xfrm>
          <a:prstGeom prst="rect">
            <a:avLst/>
          </a:prstGeom>
        </p:spPr>
      </p:pic>
      <p:pic>
        <p:nvPicPr>
          <p:cNvPr id="9687" name="!!Pic66">
            <a:extLst>
              <a:ext uri="{FF2B5EF4-FFF2-40B4-BE49-F238E27FC236}">
                <a16:creationId xmlns:a16="http://schemas.microsoft.com/office/drawing/2014/main" id="{5B88D192-226D-9659-678B-B9FD16624F4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347200" y="3291172"/>
            <a:ext cx="231668" cy="304826"/>
          </a:xfrm>
          <a:prstGeom prst="rect">
            <a:avLst/>
          </a:prstGeom>
        </p:spPr>
      </p:pic>
      <p:pic>
        <p:nvPicPr>
          <p:cNvPr id="9688" name="!!Pic67">
            <a:extLst>
              <a:ext uri="{FF2B5EF4-FFF2-40B4-BE49-F238E27FC236}">
                <a16:creationId xmlns:a16="http://schemas.microsoft.com/office/drawing/2014/main" id="{A3F92133-E325-3CDE-A1D6-668D50E6365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931400" y="2910172"/>
            <a:ext cx="231668" cy="304826"/>
          </a:xfrm>
          <a:prstGeom prst="rect">
            <a:avLst/>
          </a:prstGeom>
        </p:spPr>
      </p:pic>
      <p:pic>
        <p:nvPicPr>
          <p:cNvPr id="9689" name="!!Pic68">
            <a:extLst>
              <a:ext uri="{FF2B5EF4-FFF2-40B4-BE49-F238E27FC236}">
                <a16:creationId xmlns:a16="http://schemas.microsoft.com/office/drawing/2014/main" id="{0861FD85-3F6E-9EFB-89E9-0525D1C814D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236200" y="2884772"/>
            <a:ext cx="231668" cy="304826"/>
          </a:xfrm>
          <a:prstGeom prst="rect">
            <a:avLst/>
          </a:prstGeom>
        </p:spPr>
      </p:pic>
      <p:pic>
        <p:nvPicPr>
          <p:cNvPr id="9690" name="!!Pic69">
            <a:extLst>
              <a:ext uri="{FF2B5EF4-FFF2-40B4-BE49-F238E27FC236}">
                <a16:creationId xmlns:a16="http://schemas.microsoft.com/office/drawing/2014/main" id="{0D44548D-002A-4C0B-EEE1-9D503066619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566400" y="2579972"/>
            <a:ext cx="231668" cy="304826"/>
          </a:xfrm>
          <a:prstGeom prst="rect">
            <a:avLst/>
          </a:prstGeom>
        </p:spPr>
      </p:pic>
      <p:pic>
        <p:nvPicPr>
          <p:cNvPr id="9691" name="!!Pic70">
            <a:extLst>
              <a:ext uri="{FF2B5EF4-FFF2-40B4-BE49-F238E27FC236}">
                <a16:creationId xmlns:a16="http://schemas.microsoft.com/office/drawing/2014/main" id="{DBEE64EF-1986-61D9-E786-56482670555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785350" y="2624422"/>
            <a:ext cx="231668" cy="304826"/>
          </a:xfrm>
          <a:prstGeom prst="rect">
            <a:avLst/>
          </a:prstGeom>
        </p:spPr>
      </p:pic>
      <p:pic>
        <p:nvPicPr>
          <p:cNvPr id="9692" name="!!Pic71">
            <a:extLst>
              <a:ext uri="{FF2B5EF4-FFF2-40B4-BE49-F238E27FC236}">
                <a16:creationId xmlns:a16="http://schemas.microsoft.com/office/drawing/2014/main" id="{2C50D8C8-B2F1-6CE3-46FB-D32E61131B1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251950" y="2783172"/>
            <a:ext cx="231668" cy="304826"/>
          </a:xfrm>
          <a:prstGeom prst="rect">
            <a:avLst/>
          </a:prstGeom>
        </p:spPr>
      </p:pic>
      <p:pic>
        <p:nvPicPr>
          <p:cNvPr id="9693" name="!!Pic72">
            <a:extLst>
              <a:ext uri="{FF2B5EF4-FFF2-40B4-BE49-F238E27FC236}">
                <a16:creationId xmlns:a16="http://schemas.microsoft.com/office/drawing/2014/main" id="{12E8E410-B279-72DB-D9A6-566DA08B1FF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693150" y="3100672"/>
            <a:ext cx="231668" cy="304826"/>
          </a:xfrm>
          <a:prstGeom prst="rect">
            <a:avLst/>
          </a:prstGeom>
        </p:spPr>
      </p:pic>
      <p:pic>
        <p:nvPicPr>
          <p:cNvPr id="9694" name="!!Pic73">
            <a:extLst>
              <a:ext uri="{FF2B5EF4-FFF2-40B4-BE49-F238E27FC236}">
                <a16:creationId xmlns:a16="http://schemas.microsoft.com/office/drawing/2014/main" id="{24A6B151-0C39-0F35-2600-0D503860434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756650" y="2611722"/>
            <a:ext cx="231668" cy="304826"/>
          </a:xfrm>
          <a:prstGeom prst="rect">
            <a:avLst/>
          </a:prstGeom>
        </p:spPr>
      </p:pic>
      <p:pic>
        <p:nvPicPr>
          <p:cNvPr id="9695" name="!!Pic74">
            <a:extLst>
              <a:ext uri="{FF2B5EF4-FFF2-40B4-BE49-F238E27FC236}">
                <a16:creationId xmlns:a16="http://schemas.microsoft.com/office/drawing/2014/main" id="{17ADC5D8-B348-0465-0627-6B813FB0487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489950" y="2376772"/>
            <a:ext cx="231668" cy="304826"/>
          </a:xfrm>
          <a:prstGeom prst="rect">
            <a:avLst/>
          </a:prstGeom>
        </p:spPr>
      </p:pic>
      <p:pic>
        <p:nvPicPr>
          <p:cNvPr id="9696" name="!!Pic75">
            <a:extLst>
              <a:ext uri="{FF2B5EF4-FFF2-40B4-BE49-F238E27FC236}">
                <a16:creationId xmlns:a16="http://schemas.microsoft.com/office/drawing/2014/main" id="{C69193F8-DAB3-D6D8-5F39-3FD4E5DEE77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43850" y="2211672"/>
            <a:ext cx="231668" cy="304826"/>
          </a:xfrm>
          <a:prstGeom prst="rect">
            <a:avLst/>
          </a:prstGeom>
        </p:spPr>
      </p:pic>
      <p:pic>
        <p:nvPicPr>
          <p:cNvPr id="9697" name="!!Pic76">
            <a:extLst>
              <a:ext uri="{FF2B5EF4-FFF2-40B4-BE49-F238E27FC236}">
                <a16:creationId xmlns:a16="http://schemas.microsoft.com/office/drawing/2014/main" id="{11C9FD39-5243-E209-B40A-02305FA8844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50200" y="2764122"/>
            <a:ext cx="231668" cy="304826"/>
          </a:xfrm>
          <a:prstGeom prst="rect">
            <a:avLst/>
          </a:prstGeom>
        </p:spPr>
      </p:pic>
      <p:pic>
        <p:nvPicPr>
          <p:cNvPr id="9698" name="!!Pic77">
            <a:extLst>
              <a:ext uri="{FF2B5EF4-FFF2-40B4-BE49-F238E27FC236}">
                <a16:creationId xmlns:a16="http://schemas.microsoft.com/office/drawing/2014/main" id="{2F499582-8C78-E9B5-BA38-3A6C122D4E6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39050" y="3107022"/>
            <a:ext cx="231668" cy="304826"/>
          </a:xfrm>
          <a:prstGeom prst="rect">
            <a:avLst/>
          </a:prstGeom>
        </p:spPr>
      </p:pic>
      <p:pic>
        <p:nvPicPr>
          <p:cNvPr id="9699" name="!!Pic78">
            <a:extLst>
              <a:ext uri="{FF2B5EF4-FFF2-40B4-BE49-F238E27FC236}">
                <a16:creationId xmlns:a16="http://schemas.microsoft.com/office/drawing/2014/main" id="{08F88980-EEA6-C1A5-8194-23EA58AF264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32700" y="2630772"/>
            <a:ext cx="231668" cy="304826"/>
          </a:xfrm>
          <a:prstGeom prst="rect">
            <a:avLst/>
          </a:prstGeom>
        </p:spPr>
      </p:pic>
      <p:pic>
        <p:nvPicPr>
          <p:cNvPr id="9700" name="!!Pic79">
            <a:extLst>
              <a:ext uri="{FF2B5EF4-FFF2-40B4-BE49-F238E27FC236}">
                <a16:creationId xmlns:a16="http://schemas.microsoft.com/office/drawing/2014/main" id="{76FD3998-6089-59F2-4A93-2511C54D8B3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59650" y="2427572"/>
            <a:ext cx="231668" cy="304826"/>
          </a:xfrm>
          <a:prstGeom prst="rect">
            <a:avLst/>
          </a:prstGeom>
        </p:spPr>
      </p:pic>
      <p:pic>
        <p:nvPicPr>
          <p:cNvPr id="9701" name="!!Pic80">
            <a:extLst>
              <a:ext uri="{FF2B5EF4-FFF2-40B4-BE49-F238E27FC236}">
                <a16:creationId xmlns:a16="http://schemas.microsoft.com/office/drawing/2014/main" id="{4F9D6B0F-4967-59BF-7F31-66675330149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94550" y="2757772"/>
            <a:ext cx="231668" cy="304826"/>
          </a:xfrm>
          <a:prstGeom prst="rect">
            <a:avLst/>
          </a:prstGeom>
        </p:spPr>
      </p:pic>
      <p:pic>
        <p:nvPicPr>
          <p:cNvPr id="9702" name="!!Pic81">
            <a:extLst>
              <a:ext uri="{FF2B5EF4-FFF2-40B4-BE49-F238E27FC236}">
                <a16:creationId xmlns:a16="http://schemas.microsoft.com/office/drawing/2014/main" id="{AE907F7E-7E6F-948B-A8A8-F442D84A22A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91350" y="3176872"/>
            <a:ext cx="231668" cy="304826"/>
          </a:xfrm>
          <a:prstGeom prst="rect">
            <a:avLst/>
          </a:prstGeom>
        </p:spPr>
      </p:pic>
      <p:pic>
        <p:nvPicPr>
          <p:cNvPr id="9703" name="!!Pic82">
            <a:extLst>
              <a:ext uri="{FF2B5EF4-FFF2-40B4-BE49-F238E27FC236}">
                <a16:creationId xmlns:a16="http://schemas.microsoft.com/office/drawing/2014/main" id="{4484452A-1EEA-26A0-8AD0-57250B82207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18300" y="3278472"/>
            <a:ext cx="231668" cy="304826"/>
          </a:xfrm>
          <a:prstGeom prst="rect">
            <a:avLst/>
          </a:prstGeom>
        </p:spPr>
      </p:pic>
      <p:pic>
        <p:nvPicPr>
          <p:cNvPr id="9704" name="!!Pic83">
            <a:extLst>
              <a:ext uri="{FF2B5EF4-FFF2-40B4-BE49-F238E27FC236}">
                <a16:creationId xmlns:a16="http://schemas.microsoft.com/office/drawing/2014/main" id="{3D974242-B3CE-A4AB-2871-7780C41B61C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42100" y="2808572"/>
            <a:ext cx="231668" cy="304826"/>
          </a:xfrm>
          <a:prstGeom prst="rect">
            <a:avLst/>
          </a:prstGeom>
        </p:spPr>
      </p:pic>
      <p:pic>
        <p:nvPicPr>
          <p:cNvPr id="9705" name="!!Pic84">
            <a:extLst>
              <a:ext uri="{FF2B5EF4-FFF2-40B4-BE49-F238E27FC236}">
                <a16:creationId xmlns:a16="http://schemas.microsoft.com/office/drawing/2014/main" id="{9C69EF21-BF43-F7D8-FA4E-2AC1FE1E11E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56350" y="3221322"/>
            <a:ext cx="231668" cy="304826"/>
          </a:xfrm>
          <a:prstGeom prst="rect">
            <a:avLst/>
          </a:prstGeom>
        </p:spPr>
      </p:pic>
      <p:pic>
        <p:nvPicPr>
          <p:cNvPr id="9706" name="!!Pic85">
            <a:extLst>
              <a:ext uri="{FF2B5EF4-FFF2-40B4-BE49-F238E27FC236}">
                <a16:creationId xmlns:a16="http://schemas.microsoft.com/office/drawing/2014/main" id="{C78056BD-A1FE-1F05-44A6-902E2CB548E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64300" y="3767422"/>
            <a:ext cx="231668" cy="304826"/>
          </a:xfrm>
          <a:prstGeom prst="rect">
            <a:avLst/>
          </a:prstGeom>
        </p:spPr>
      </p:pic>
      <p:pic>
        <p:nvPicPr>
          <p:cNvPr id="9707" name="!!Pic86">
            <a:extLst>
              <a:ext uri="{FF2B5EF4-FFF2-40B4-BE49-F238E27FC236}">
                <a16:creationId xmlns:a16="http://schemas.microsoft.com/office/drawing/2014/main" id="{1681E616-ECC8-8414-7D7D-62A294A0281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75550" y="3551522"/>
            <a:ext cx="231668" cy="304826"/>
          </a:xfrm>
          <a:prstGeom prst="rect">
            <a:avLst/>
          </a:prstGeom>
        </p:spPr>
      </p:pic>
      <p:pic>
        <p:nvPicPr>
          <p:cNvPr id="9708" name="!!Pic87">
            <a:extLst>
              <a:ext uri="{FF2B5EF4-FFF2-40B4-BE49-F238E27FC236}">
                <a16:creationId xmlns:a16="http://schemas.microsoft.com/office/drawing/2014/main" id="{6F6D2E51-4FEB-9832-82A2-9B54FD7011F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10500" y="3754722"/>
            <a:ext cx="231668" cy="304826"/>
          </a:xfrm>
          <a:prstGeom prst="rect">
            <a:avLst/>
          </a:prstGeom>
        </p:spPr>
      </p:pic>
      <p:pic>
        <p:nvPicPr>
          <p:cNvPr id="9709" name="!!Pic88">
            <a:extLst>
              <a:ext uri="{FF2B5EF4-FFF2-40B4-BE49-F238E27FC236}">
                <a16:creationId xmlns:a16="http://schemas.microsoft.com/office/drawing/2014/main" id="{070C3A33-6380-73F4-6FC1-97340F84D09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40650" y="4129372"/>
            <a:ext cx="231668" cy="304826"/>
          </a:xfrm>
          <a:prstGeom prst="rect">
            <a:avLst/>
          </a:prstGeom>
        </p:spPr>
      </p:pic>
      <p:pic>
        <p:nvPicPr>
          <p:cNvPr id="9710" name="!!Pic89">
            <a:extLst>
              <a:ext uri="{FF2B5EF4-FFF2-40B4-BE49-F238E27FC236}">
                <a16:creationId xmlns:a16="http://schemas.microsoft.com/office/drawing/2014/main" id="{5D0F6286-0B7B-3D8C-A67A-CE8101AEE6A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02550" y="4694522"/>
            <a:ext cx="231668" cy="304826"/>
          </a:xfrm>
          <a:prstGeom prst="rect">
            <a:avLst/>
          </a:prstGeom>
        </p:spPr>
      </p:pic>
      <p:pic>
        <p:nvPicPr>
          <p:cNvPr id="9711" name="!!Pic90">
            <a:extLst>
              <a:ext uri="{FF2B5EF4-FFF2-40B4-BE49-F238E27FC236}">
                <a16:creationId xmlns:a16="http://schemas.microsoft.com/office/drawing/2014/main" id="{D7F1BD09-620B-49DE-3BEB-1378C96EBDD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85050" y="4872322"/>
            <a:ext cx="231668" cy="304826"/>
          </a:xfrm>
          <a:prstGeom prst="rect">
            <a:avLst/>
          </a:prstGeom>
        </p:spPr>
      </p:pic>
      <p:pic>
        <p:nvPicPr>
          <p:cNvPr id="9712" name="!!Pic91">
            <a:extLst>
              <a:ext uri="{FF2B5EF4-FFF2-40B4-BE49-F238E27FC236}">
                <a16:creationId xmlns:a16="http://schemas.microsoft.com/office/drawing/2014/main" id="{7DD50B5C-81E9-7C90-93FA-CBC21B36096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53250" y="5196172"/>
            <a:ext cx="231668" cy="304826"/>
          </a:xfrm>
          <a:prstGeom prst="rect">
            <a:avLst/>
          </a:prstGeom>
        </p:spPr>
      </p:pic>
      <p:pic>
        <p:nvPicPr>
          <p:cNvPr id="9713" name="!!Pic92">
            <a:extLst>
              <a:ext uri="{FF2B5EF4-FFF2-40B4-BE49-F238E27FC236}">
                <a16:creationId xmlns:a16="http://schemas.microsoft.com/office/drawing/2014/main" id="{3480DD36-248A-DFB6-E7C1-BA3244E9539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78650" y="4669122"/>
            <a:ext cx="231668" cy="304826"/>
          </a:xfrm>
          <a:prstGeom prst="rect">
            <a:avLst/>
          </a:prstGeom>
        </p:spPr>
      </p:pic>
      <p:pic>
        <p:nvPicPr>
          <p:cNvPr id="9714" name="!!Pic93">
            <a:extLst>
              <a:ext uri="{FF2B5EF4-FFF2-40B4-BE49-F238E27FC236}">
                <a16:creationId xmlns:a16="http://schemas.microsoft.com/office/drawing/2014/main" id="{45982D34-97AF-0D03-4EE8-C34621B2F34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45300" y="4345272"/>
            <a:ext cx="231668" cy="304826"/>
          </a:xfrm>
          <a:prstGeom prst="rect">
            <a:avLst/>
          </a:prstGeom>
        </p:spPr>
      </p:pic>
      <p:pic>
        <p:nvPicPr>
          <p:cNvPr id="9715" name="!!Pic94">
            <a:extLst>
              <a:ext uri="{FF2B5EF4-FFF2-40B4-BE49-F238E27FC236}">
                <a16:creationId xmlns:a16="http://schemas.microsoft.com/office/drawing/2014/main" id="{B1F5A2DA-A9A8-557F-4A92-3BB513A328B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77000" y="4834222"/>
            <a:ext cx="231668" cy="304826"/>
          </a:xfrm>
          <a:prstGeom prst="rect">
            <a:avLst/>
          </a:prstGeom>
        </p:spPr>
      </p:pic>
      <p:pic>
        <p:nvPicPr>
          <p:cNvPr id="9716" name="!!Pic95">
            <a:extLst>
              <a:ext uri="{FF2B5EF4-FFF2-40B4-BE49-F238E27FC236}">
                <a16:creationId xmlns:a16="http://schemas.microsoft.com/office/drawing/2014/main" id="{7CEC2D94-E78C-CEDF-6430-D304970E623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166100" y="5469222"/>
            <a:ext cx="231668" cy="304826"/>
          </a:xfrm>
          <a:prstGeom prst="rect">
            <a:avLst/>
          </a:prstGeom>
        </p:spPr>
      </p:pic>
      <p:pic>
        <p:nvPicPr>
          <p:cNvPr id="9717" name="!!Pic96">
            <a:extLst>
              <a:ext uri="{FF2B5EF4-FFF2-40B4-BE49-F238E27FC236}">
                <a16:creationId xmlns:a16="http://schemas.microsoft.com/office/drawing/2014/main" id="{09BBA539-B714-DA8F-DACD-D95F8DC7F31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585200" y="4396072"/>
            <a:ext cx="231668" cy="304826"/>
          </a:xfrm>
          <a:prstGeom prst="rect">
            <a:avLst/>
          </a:prstGeom>
        </p:spPr>
      </p:pic>
      <p:pic>
        <p:nvPicPr>
          <p:cNvPr id="9718" name="!!Pic97">
            <a:extLst>
              <a:ext uri="{FF2B5EF4-FFF2-40B4-BE49-F238E27FC236}">
                <a16:creationId xmlns:a16="http://schemas.microsoft.com/office/drawing/2014/main" id="{6104654A-2F2F-B892-6253-AB82689C913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159750" y="4180172"/>
            <a:ext cx="231668" cy="304826"/>
          </a:xfrm>
          <a:prstGeom prst="rect">
            <a:avLst/>
          </a:prstGeom>
        </p:spPr>
      </p:pic>
      <p:pic>
        <p:nvPicPr>
          <p:cNvPr id="9719" name="!!Pic98">
            <a:extLst>
              <a:ext uri="{FF2B5EF4-FFF2-40B4-BE49-F238E27FC236}">
                <a16:creationId xmlns:a16="http://schemas.microsoft.com/office/drawing/2014/main" id="{E54145FC-DD33-E96B-7381-F6A4DC2A34C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540750" y="3970622"/>
            <a:ext cx="231668" cy="304826"/>
          </a:xfrm>
          <a:prstGeom prst="rect">
            <a:avLst/>
          </a:prstGeom>
        </p:spPr>
      </p:pic>
      <p:pic>
        <p:nvPicPr>
          <p:cNvPr id="9720" name="!!Pic99">
            <a:extLst>
              <a:ext uri="{FF2B5EF4-FFF2-40B4-BE49-F238E27FC236}">
                <a16:creationId xmlns:a16="http://schemas.microsoft.com/office/drawing/2014/main" id="{EEBB89B4-14B3-C892-D9F5-642ECD8A62B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53500" y="4167472"/>
            <a:ext cx="231668" cy="304826"/>
          </a:xfrm>
          <a:prstGeom prst="rect">
            <a:avLst/>
          </a:prstGeom>
        </p:spPr>
      </p:pic>
      <p:pic>
        <p:nvPicPr>
          <p:cNvPr id="9721" name="!!Pic100">
            <a:extLst>
              <a:ext uri="{FF2B5EF4-FFF2-40B4-BE49-F238E27FC236}">
                <a16:creationId xmlns:a16="http://schemas.microsoft.com/office/drawing/2014/main" id="{893C8416-A20C-767B-0B5B-F9930ABC402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864600" y="4605622"/>
            <a:ext cx="231668" cy="3048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103084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250">
        <p159:morph option="byObject"/>
      </p:transition>
    </mc:Choice>
    <mc:Fallback xmlns="">
      <p:transition spd="slow">
        <p:fade/>
      </p:transition>
    </mc:Fallback>
  </mc:AlternateContent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4449AA2-7E3E-F93B-F679-638F94883B2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36115499-2DDD-D335-54CA-35A59D6BDB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0647" y="311858"/>
            <a:ext cx="9789459" cy="632402"/>
          </a:xfrm>
        </p:spPr>
        <p:txBody>
          <a:bodyPr/>
          <a:lstStyle/>
          <a:p>
            <a:r>
              <a:rPr lang="en-GB" sz="3200" dirty="0">
                <a:latin typeface="+mn-lt"/>
              </a:rPr>
              <a:t>Will bispecific antibodies be used in 1L?*</a:t>
            </a:r>
            <a:br>
              <a:rPr lang="en-GB" sz="3200" dirty="0">
                <a:latin typeface="+mn-lt"/>
              </a:rPr>
            </a:br>
            <a:r>
              <a:rPr lang="en-GB" sz="3200" b="1" dirty="0">
                <a:solidFill>
                  <a:srgbClr val="585854"/>
                </a:solidFill>
                <a:latin typeface="+mn-lt"/>
                <a:cs typeface="Calibri" panose="020F0502020204030204" pitchFamily="34" charset="0"/>
              </a:rPr>
              <a:t>EPCORE DLBCL-2</a:t>
            </a:r>
            <a:r>
              <a:rPr lang="en-GB" sz="3200" baseline="30000" dirty="0">
                <a:solidFill>
                  <a:srgbClr val="585854"/>
                </a:solidFill>
                <a:latin typeface="+mn-lt"/>
                <a:cs typeface="Calibri" panose="020F0502020204030204" pitchFamily="34" charset="0"/>
              </a:rPr>
              <a:t>1</a:t>
            </a:r>
            <a:r>
              <a:rPr lang="en-GB" sz="3200" dirty="0">
                <a:solidFill>
                  <a:srgbClr val="585854"/>
                </a:solidFill>
                <a:latin typeface="+mn-lt"/>
                <a:cs typeface="Calibri" panose="020F0502020204030204" pitchFamily="34" charset="0"/>
              </a:rPr>
              <a:t> (NCT05578976)</a:t>
            </a:r>
            <a:endParaRPr lang="en-GB" sz="3200" dirty="0">
              <a:latin typeface="+mn-lt"/>
            </a:endParaRP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5D31EF2E-314B-C17D-6FD1-59525E5B583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70645" y="5972175"/>
            <a:ext cx="10440000" cy="747775"/>
          </a:xfrm>
        </p:spPr>
        <p:txBody>
          <a:bodyPr/>
          <a:lstStyle/>
          <a:p>
            <a:r>
              <a:rPr lang="en-GB" dirty="0"/>
              <a:t>*Provided regulatory approval / subject to approved indication. </a:t>
            </a:r>
            <a:br>
              <a:rPr lang="en-GB"/>
            </a:br>
            <a:r>
              <a:rPr lang="en-GB"/>
              <a:t>†Patients with T-cell/histiocyte-rich LBCL and Epstein-Barr virus-positive DLBCL NOS were also included.</a:t>
            </a:r>
          </a:p>
          <a:p>
            <a:r>
              <a:rPr lang="en-GB"/>
              <a:t>1L, first line; DH/TH, double-hit/triple-hit; DLBCL, diffuse large B-cell lymphoma; Epcor, epcoritamab; FL3B, follicular lymphoma grade 3B; ECOG PS, Eastern Cooperative Oncology Group performance status; IPI, International Prognostic Index; LBCL, large B-cell lymphoma; NOS, not otherwise specified; </a:t>
            </a:r>
            <a:r>
              <a:rPr lang="en-GB" dirty="0"/>
              <a:t>PFS, </a:t>
            </a:r>
            <a:r>
              <a:rPr lang="en-GB"/>
              <a:t>progression-free survival; R-CHOP, rituximab, cyclophosphamide</a:t>
            </a:r>
            <a:r>
              <a:rPr lang="en-GB" dirty="0"/>
              <a:t>, doxorubicin, vincristine, and prednisone.</a:t>
            </a:r>
            <a:br>
              <a:rPr lang="en-GB" dirty="0"/>
            </a:br>
            <a:r>
              <a:rPr lang="en-GB" b="1" dirty="0"/>
              <a:t>1</a:t>
            </a:r>
            <a:r>
              <a:rPr lang="en-GB" b="1"/>
              <a:t>. </a:t>
            </a:r>
            <a:r>
              <a:rPr lang="en-GB"/>
              <a:t>Sehn et al. </a:t>
            </a:r>
            <a:r>
              <a:rPr lang="en-GB" i="1"/>
              <a:t>J Clin Oncol</a:t>
            </a:r>
            <a:r>
              <a:rPr lang="en-GB"/>
              <a:t> 2023.</a:t>
            </a:r>
            <a:endParaRPr lang="en-GB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A1CE9CE-4FC7-6D07-A28A-D9A46BE3B397}"/>
              </a:ext>
            </a:extLst>
          </p:cNvPr>
          <p:cNvSpPr txBox="1"/>
          <p:nvPr/>
        </p:nvSpPr>
        <p:spPr>
          <a:xfrm>
            <a:off x="9258301" y="3077728"/>
            <a:ext cx="1749424" cy="106242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2700">
            <a:solidFill>
              <a:schemeClr val="accent4"/>
            </a:solidFill>
          </a:ln>
        </p:spPr>
        <p:txBody>
          <a:bodyPr wrap="square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imary endpoin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FS in patients with IPI 3–5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4D5164E-C66A-D040-B9E6-C6546CA9ED58}"/>
              </a:ext>
            </a:extLst>
          </p:cNvPr>
          <p:cNvSpPr txBox="1"/>
          <p:nvPr/>
        </p:nvSpPr>
        <p:spPr>
          <a:xfrm>
            <a:off x="588963" y="2661660"/>
            <a:ext cx="2586037" cy="1786878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txBody>
          <a:bodyPr wrap="square" lIns="91440" tIns="45720" rIns="91440" bIns="45720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eviously untreated DLBCL, including DLBCL NOS, DH/TH, FL3B</a:t>
            </a:r>
            <a:r>
              <a:rPr kumimoji="0" lang="en-GB" sz="1400" b="1" i="0" u="none" strike="noStrike" kern="120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†</a:t>
            </a: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: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D20+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IPI 2–5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Calibri"/>
                <a:cs typeface="Calibri"/>
              </a:rPr>
              <a:t>ECOG PS 0–2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5089CA4-32D0-3C1F-71AD-EFA728DB2105}"/>
              </a:ext>
            </a:extLst>
          </p:cNvPr>
          <p:cNvSpPr txBox="1"/>
          <p:nvPr/>
        </p:nvSpPr>
        <p:spPr>
          <a:xfrm>
            <a:off x="4472039" y="3657601"/>
            <a:ext cx="3700408" cy="965114"/>
          </a:xfrm>
          <a:prstGeom prst="rect">
            <a:avLst/>
          </a:prstGeom>
          <a:solidFill>
            <a:srgbClr val="F2F2F2"/>
          </a:solidFill>
          <a:ln>
            <a:solidFill>
              <a:srgbClr val="9D9C98"/>
            </a:solidFill>
          </a:ln>
        </p:spPr>
        <p:txBody>
          <a:bodyPr wrap="square" lIns="0" tIns="72000" rIns="0" bIns="72000" anchor="ctr" anchorCtr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Calibri" panose="020F0502020204030204" pitchFamily="34" charset="0"/>
              </a:rPr>
              <a:t>R-CHOP arm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Calibri" panose="020F0502020204030204" pitchFamily="34" charset="0"/>
              </a:rPr>
              <a:t>R-CHOP in Cycles 1–6;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Calibri" panose="020F0502020204030204" pitchFamily="34" charset="0"/>
              </a:rPr>
              <a:t>rituximab in Cycles 7–8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Calibri" panose="020F050202020403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B4D7FD8-A20E-44B1-F973-272D3796A357}"/>
              </a:ext>
            </a:extLst>
          </p:cNvPr>
          <p:cNvSpPr txBox="1"/>
          <p:nvPr/>
        </p:nvSpPr>
        <p:spPr>
          <a:xfrm>
            <a:off x="4472040" y="2328286"/>
            <a:ext cx="3700409" cy="965114"/>
          </a:xfrm>
          <a:prstGeom prst="rect">
            <a:avLst/>
          </a:prstGeom>
          <a:solidFill>
            <a:srgbClr val="F2F2F2"/>
          </a:solidFill>
          <a:ln>
            <a:solidFill>
              <a:srgbClr val="9D9C98"/>
            </a:solidFill>
          </a:ln>
        </p:spPr>
        <p:txBody>
          <a:bodyPr wrap="square" lIns="0" tIns="72000" rIns="0" bIns="72000" anchor="ctr" anchorCtr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Calibri" panose="020F0502020204030204" pitchFamily="34" charset="0"/>
              </a:rPr>
              <a:t>Epcor + R-CHOP arm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Calibri" panose="020F0502020204030204" pitchFamily="34" charset="0"/>
              </a:rPr>
              <a:t>Epcoritamab + R-CHOP in Cycles 1–6;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Calibri" panose="020F0502020204030204" pitchFamily="34" charset="0"/>
              </a:rPr>
              <a:t>epcoritamab in Cycles 7–8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41576965-B535-033B-4AD9-5760FE5400CB}"/>
              </a:ext>
            </a:extLst>
          </p:cNvPr>
          <p:cNvCxnSpPr>
            <a:cxnSpLocks/>
            <a:stCxn id="11" idx="3"/>
            <a:endCxn id="15" idx="0"/>
          </p:cNvCxnSpPr>
          <p:nvPr/>
        </p:nvCxnSpPr>
        <p:spPr>
          <a:xfrm>
            <a:off x="3175000" y="3555099"/>
            <a:ext cx="295097" cy="0"/>
          </a:xfrm>
          <a:prstGeom prst="straightConnector1">
            <a:avLst/>
          </a:prstGeom>
          <a:ln w="127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AD946241-C1A6-1922-8174-116BC3EB7E02}"/>
              </a:ext>
            </a:extLst>
          </p:cNvPr>
          <p:cNvSpPr txBox="1"/>
          <p:nvPr/>
        </p:nvSpPr>
        <p:spPr>
          <a:xfrm rot="16200000" flipH="1">
            <a:off x="3118951" y="3339655"/>
            <a:ext cx="1133179" cy="43088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:1 randomisation</a:t>
            </a: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6" name="Connector: Elbow 15">
            <a:extLst>
              <a:ext uri="{FF2B5EF4-FFF2-40B4-BE49-F238E27FC236}">
                <a16:creationId xmlns:a16="http://schemas.microsoft.com/office/drawing/2014/main" id="{89A9078D-E4FC-B527-40C2-8D1DA7D207B8}"/>
              </a:ext>
            </a:extLst>
          </p:cNvPr>
          <p:cNvCxnSpPr>
            <a:cxnSpLocks/>
            <a:stCxn id="15" idx="2"/>
            <a:endCxn id="13" idx="1"/>
          </p:cNvCxnSpPr>
          <p:nvPr/>
        </p:nvCxnSpPr>
        <p:spPr>
          <a:xfrm flipV="1">
            <a:off x="3900984" y="2810843"/>
            <a:ext cx="571056" cy="744256"/>
          </a:xfrm>
          <a:prstGeom prst="bentConnector3">
            <a:avLst>
              <a:gd name="adj1" fmla="val 50000"/>
            </a:avLst>
          </a:prstGeom>
          <a:ln w="127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nector: Elbow 16">
            <a:extLst>
              <a:ext uri="{FF2B5EF4-FFF2-40B4-BE49-F238E27FC236}">
                <a16:creationId xmlns:a16="http://schemas.microsoft.com/office/drawing/2014/main" id="{52C1DA07-BE03-ADAA-B533-E652B9997D55}"/>
              </a:ext>
            </a:extLst>
          </p:cNvPr>
          <p:cNvCxnSpPr>
            <a:cxnSpLocks/>
            <a:stCxn id="15" idx="2"/>
            <a:endCxn id="12" idx="1"/>
          </p:cNvCxnSpPr>
          <p:nvPr/>
        </p:nvCxnSpPr>
        <p:spPr>
          <a:xfrm>
            <a:off x="3900984" y="3555099"/>
            <a:ext cx="571055" cy="585059"/>
          </a:xfrm>
          <a:prstGeom prst="bentConnector3">
            <a:avLst>
              <a:gd name="adj1" fmla="val 50000"/>
            </a:avLst>
          </a:prstGeom>
          <a:ln w="127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Number Placeholder 3">
            <a:extLst>
              <a:ext uri="{FF2B5EF4-FFF2-40B4-BE49-F238E27FC236}">
                <a16:creationId xmlns:a16="http://schemas.microsoft.com/office/drawing/2014/main" id="{C39F8509-D1E1-9C9A-0387-E2C092F04F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651" y="6356350"/>
            <a:ext cx="383694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306B0CF-28DA-4AF7-AD0B-CB9D5901F647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82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0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76204346"/>
      </p:ext>
    </p:extLst>
  </p:cSld>
  <p:clrMapOvr>
    <a:masterClrMapping/>
  </p:clrMapOvr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A04D28E-3AF8-BCB0-5EAD-EFE30F8EE1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B6564B64-57F0-6118-DA65-1088410767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0647" y="311858"/>
            <a:ext cx="9789459" cy="632402"/>
          </a:xfrm>
        </p:spPr>
        <p:txBody>
          <a:bodyPr/>
          <a:lstStyle/>
          <a:p>
            <a:r>
              <a:rPr lang="en-GB" sz="3200" dirty="0">
                <a:latin typeface="+mn-lt"/>
              </a:rPr>
              <a:t>Will bispecific antibodies be used in 1L?* </a:t>
            </a:r>
            <a:br>
              <a:rPr lang="en-GB" sz="3200" dirty="0">
                <a:latin typeface="+mn-lt"/>
              </a:rPr>
            </a:br>
            <a:r>
              <a:rPr lang="en-GB" sz="3200" b="1" dirty="0">
                <a:latin typeface="+mn-lt"/>
              </a:rPr>
              <a:t>SKYGLO</a:t>
            </a:r>
            <a:r>
              <a:rPr lang="en-GB" sz="3200" baseline="30000" dirty="0">
                <a:latin typeface="+mn-lt"/>
              </a:rPr>
              <a:t>1</a:t>
            </a:r>
            <a:r>
              <a:rPr lang="en-GB" sz="3200" dirty="0">
                <a:latin typeface="+mn-lt"/>
              </a:rPr>
              <a:t> (NCT06047080)</a:t>
            </a:r>
            <a:br>
              <a:rPr lang="en-GB" sz="3200" dirty="0">
                <a:latin typeface="+mn-lt"/>
              </a:rPr>
            </a:br>
            <a:br>
              <a:rPr lang="en-GB" sz="3200" dirty="0">
                <a:latin typeface="+mn-lt"/>
              </a:rPr>
            </a:br>
            <a:endParaRPr lang="en-GB" sz="3200" dirty="0">
              <a:latin typeface="+mn-lt"/>
            </a:endParaRP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50417F28-997A-3B32-33A7-BFADC43632A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70645" y="6011296"/>
            <a:ext cx="10440000" cy="708655"/>
          </a:xfrm>
        </p:spPr>
        <p:txBody>
          <a:bodyPr/>
          <a:lstStyle/>
          <a:p>
            <a:r>
              <a:rPr lang="en-GB" dirty="0"/>
              <a:t>*Provided regulatory approval / subject to approved indication. </a:t>
            </a:r>
            <a:br>
              <a:rPr lang="en-GB"/>
            </a:br>
            <a:r>
              <a:rPr lang="en-GB"/>
              <a:t>†Patients with follicular lymphoma grade 3B, transformed </a:t>
            </a:r>
            <a:r>
              <a:rPr lang="en-GB" dirty="0"/>
              <a:t>indolent B-cell lymphoma and active </a:t>
            </a:r>
            <a:r>
              <a:rPr lang="en-GB"/>
              <a:t>viral infections were excluded.</a:t>
            </a:r>
            <a:br>
              <a:rPr lang="en-GB"/>
            </a:br>
            <a:r>
              <a:rPr lang="en-GB"/>
              <a:t>1L, first line; C</a:t>
            </a:r>
            <a:r>
              <a:rPr lang="en-GB" dirty="0"/>
              <a:t>, cycle</a:t>
            </a:r>
            <a:r>
              <a:rPr lang="en-GB"/>
              <a:t>; ECOG PS, </a:t>
            </a:r>
            <a:r>
              <a:rPr lang="en-GB" dirty="0"/>
              <a:t>Eastern Cooperative </a:t>
            </a:r>
            <a:r>
              <a:rPr lang="en-GB"/>
              <a:t>Oncology Group performance status; glofit, glofitamab; IPI, International Prognostic Index</a:t>
            </a:r>
            <a:r>
              <a:rPr lang="en-GB" dirty="0"/>
              <a:t>; LBCL, large B-cell lymphoma; PFS, progression-free survival</a:t>
            </a:r>
            <a:r>
              <a:rPr lang="en-GB"/>
              <a:t>; </a:t>
            </a:r>
          </a:p>
          <a:p>
            <a:r>
              <a:rPr lang="en-GB"/>
              <a:t>R, rituximab; Pola-R-CHP</a:t>
            </a:r>
            <a:r>
              <a:rPr lang="en-GB" dirty="0"/>
              <a:t>, polatuzumab vedotin, rituximab, cyclophosphamide, doxorubicin, and prednisone.</a:t>
            </a:r>
            <a:br>
              <a:rPr lang="en-GB" b="1" dirty="0"/>
            </a:br>
            <a:r>
              <a:rPr lang="en-GB" b="1" dirty="0"/>
              <a:t>1.</a:t>
            </a:r>
            <a:r>
              <a:rPr lang="en-GB" dirty="0"/>
              <a:t> Advani et al. ASH 2024</a:t>
            </a:r>
            <a:r>
              <a:rPr lang="en-GB"/>
              <a:t>; Poster #1718.1</a:t>
            </a:r>
            <a:r>
              <a:rPr lang="en-GB" dirty="0"/>
              <a:t>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59EE42E-6CEA-4E6A-5010-21216994C71F}"/>
              </a:ext>
            </a:extLst>
          </p:cNvPr>
          <p:cNvSpPr txBox="1"/>
          <p:nvPr/>
        </p:nvSpPr>
        <p:spPr>
          <a:xfrm>
            <a:off x="9548090" y="3077729"/>
            <a:ext cx="1678709" cy="96511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2700">
            <a:solidFill>
              <a:schemeClr val="accent4"/>
            </a:solidFill>
          </a:ln>
        </p:spPr>
        <p:txBody>
          <a:bodyPr wrap="square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imary endpoin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F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D8FA51E-3C26-D09B-7EC2-0130E5013070}"/>
              </a:ext>
            </a:extLst>
          </p:cNvPr>
          <p:cNvSpPr txBox="1"/>
          <p:nvPr/>
        </p:nvSpPr>
        <p:spPr>
          <a:xfrm>
            <a:off x="588963" y="2661660"/>
            <a:ext cx="2586037" cy="1786878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txBody>
          <a:bodyPr wrap="square" lIns="91440" tIns="45720" rIns="91440" bIns="45720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eviously untreated LBCL</a:t>
            </a:r>
            <a:r>
              <a:rPr kumimoji="0" lang="en-GB" sz="1400" b="1" i="0" u="none" strike="noStrike" kern="120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†</a:t>
            </a: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: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D20+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IPI 2–5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Calibri"/>
                <a:cs typeface="Calibri"/>
              </a:rPr>
              <a:t>ECOG PS 0–2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Calibri"/>
              <a:cs typeface="Calibri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Calibri"/>
                <a:cs typeface="Calibri"/>
              </a:rPr>
              <a:t>N=1130 (planned)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3E6C34C-7A65-EDC1-6275-57E1A2B77102}"/>
              </a:ext>
            </a:extLst>
          </p:cNvPr>
          <p:cNvSpPr txBox="1"/>
          <p:nvPr/>
        </p:nvSpPr>
        <p:spPr>
          <a:xfrm>
            <a:off x="7691821" y="3077729"/>
            <a:ext cx="1375979" cy="954741"/>
          </a:xfrm>
          <a:prstGeom prst="rect">
            <a:avLst/>
          </a:prstGeom>
          <a:solidFill>
            <a:srgbClr val="F2F2F2"/>
          </a:solidFill>
          <a:ln>
            <a:solidFill>
              <a:schemeClr val="accent4">
                <a:lumMod val="40000"/>
                <a:lumOff val="60000"/>
              </a:schemeClr>
            </a:solidFill>
          </a:ln>
        </p:spPr>
        <p:txBody>
          <a:bodyPr wrap="square" lIns="72000" tIns="72000" rIns="72000" bIns="72000" anchor="ctr" anchorCtr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4CA1A6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ost-treatment follow-up</a:t>
            </a:r>
            <a:endParaRPr kumimoji="0" lang="en-GB" sz="1400" b="0" i="0" u="none" strike="noStrike" kern="1200" cap="none" spc="0" normalizeH="0" baseline="30000" noProof="0" dirty="0">
              <a:ln>
                <a:noFill/>
              </a:ln>
              <a:solidFill>
                <a:srgbClr val="4CA1A6"/>
              </a:solidFill>
              <a:effectLst/>
              <a:highlight>
                <a:srgbClr val="00FFFF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D57AFC6-34C1-9F51-7440-62CB5701BE8F}"/>
              </a:ext>
            </a:extLst>
          </p:cNvPr>
          <p:cNvSpPr txBox="1"/>
          <p:nvPr/>
        </p:nvSpPr>
        <p:spPr>
          <a:xfrm>
            <a:off x="4472039" y="3962401"/>
            <a:ext cx="2586036" cy="544802"/>
          </a:xfrm>
          <a:prstGeom prst="rect">
            <a:avLst/>
          </a:prstGeom>
          <a:solidFill>
            <a:srgbClr val="F2F2F2"/>
          </a:solidFill>
          <a:ln>
            <a:solidFill>
              <a:srgbClr val="9D9C98"/>
            </a:solidFill>
          </a:ln>
        </p:spPr>
        <p:txBody>
          <a:bodyPr wrap="square" lIns="0" tIns="72000" rIns="0" bIns="72000" anchor="ctr" anchorCtr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Calibri" panose="020F0502020204030204" pitchFamily="34" charset="0"/>
              </a:rPr>
              <a:t>Glofit + Pola-R-CHP arm</a:t>
            </a:r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Calibri" panose="020F0502020204030204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A960202C-DD45-F8A5-2D0E-36FD78772D5E}"/>
              </a:ext>
            </a:extLst>
          </p:cNvPr>
          <p:cNvSpPr txBox="1"/>
          <p:nvPr/>
        </p:nvSpPr>
        <p:spPr>
          <a:xfrm>
            <a:off x="4472041" y="2328286"/>
            <a:ext cx="2586036" cy="544802"/>
          </a:xfrm>
          <a:prstGeom prst="rect">
            <a:avLst/>
          </a:prstGeom>
          <a:solidFill>
            <a:srgbClr val="F2F2F2"/>
          </a:solidFill>
          <a:ln>
            <a:solidFill>
              <a:srgbClr val="9D9C98"/>
            </a:solidFill>
          </a:ln>
        </p:spPr>
        <p:txBody>
          <a:bodyPr wrap="none" lIns="0" tIns="72000" rIns="0" bIns="72000" anchor="ctr" anchorCtr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Calibri" panose="020F0502020204030204" pitchFamily="34" charset="0"/>
              </a:rPr>
              <a:t>Glofit + Pola-R-CHP arm</a:t>
            </a:r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F7AE235A-6FFF-D4B0-30C1-1080C97DF954}"/>
              </a:ext>
            </a:extLst>
          </p:cNvPr>
          <p:cNvCxnSpPr>
            <a:cxnSpLocks/>
            <a:stCxn id="14" idx="3"/>
            <a:endCxn id="30" idx="0"/>
          </p:cNvCxnSpPr>
          <p:nvPr/>
        </p:nvCxnSpPr>
        <p:spPr>
          <a:xfrm>
            <a:off x="3175000" y="3555099"/>
            <a:ext cx="295097" cy="0"/>
          </a:xfrm>
          <a:prstGeom prst="straightConnector1">
            <a:avLst/>
          </a:prstGeom>
          <a:ln w="127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34347EAA-E28B-23B6-925F-FE61E266F83F}"/>
              </a:ext>
            </a:extLst>
          </p:cNvPr>
          <p:cNvSpPr txBox="1"/>
          <p:nvPr/>
        </p:nvSpPr>
        <p:spPr>
          <a:xfrm rot="16200000" flipH="1">
            <a:off x="3118951" y="3339655"/>
            <a:ext cx="1133179" cy="43088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:1 randomisation</a:t>
            </a:r>
          </a:p>
        </p:txBody>
      </p:sp>
      <p:cxnSp>
        <p:nvCxnSpPr>
          <p:cNvPr id="32" name="Connector: Elbow 31">
            <a:extLst>
              <a:ext uri="{FF2B5EF4-FFF2-40B4-BE49-F238E27FC236}">
                <a16:creationId xmlns:a16="http://schemas.microsoft.com/office/drawing/2014/main" id="{506618A8-C0DC-F289-0D19-F51CA66D4AB5}"/>
              </a:ext>
            </a:extLst>
          </p:cNvPr>
          <p:cNvCxnSpPr>
            <a:cxnSpLocks/>
            <a:stCxn id="30" idx="2"/>
            <a:endCxn id="21" idx="1"/>
          </p:cNvCxnSpPr>
          <p:nvPr/>
        </p:nvCxnSpPr>
        <p:spPr>
          <a:xfrm flipV="1">
            <a:off x="3900984" y="2600687"/>
            <a:ext cx="571057" cy="954412"/>
          </a:xfrm>
          <a:prstGeom prst="bentConnector3">
            <a:avLst>
              <a:gd name="adj1" fmla="val 50000"/>
            </a:avLst>
          </a:prstGeom>
          <a:ln w="127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Connector: Elbow 32">
            <a:extLst>
              <a:ext uri="{FF2B5EF4-FFF2-40B4-BE49-F238E27FC236}">
                <a16:creationId xmlns:a16="http://schemas.microsoft.com/office/drawing/2014/main" id="{D4B3BF20-3C62-ED2D-CA4E-D088F5785C39}"/>
              </a:ext>
            </a:extLst>
          </p:cNvPr>
          <p:cNvCxnSpPr>
            <a:cxnSpLocks/>
            <a:stCxn id="30" idx="2"/>
            <a:endCxn id="20" idx="1"/>
          </p:cNvCxnSpPr>
          <p:nvPr/>
        </p:nvCxnSpPr>
        <p:spPr>
          <a:xfrm>
            <a:off x="3900984" y="3555099"/>
            <a:ext cx="571055" cy="679703"/>
          </a:xfrm>
          <a:prstGeom prst="bentConnector3">
            <a:avLst>
              <a:gd name="adj1" fmla="val 50000"/>
            </a:avLst>
          </a:prstGeom>
          <a:ln w="127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Connector: Elbow 33">
            <a:extLst>
              <a:ext uri="{FF2B5EF4-FFF2-40B4-BE49-F238E27FC236}">
                <a16:creationId xmlns:a16="http://schemas.microsoft.com/office/drawing/2014/main" id="{17A86ADE-E09C-E04C-142B-60A5C530B069}"/>
              </a:ext>
            </a:extLst>
          </p:cNvPr>
          <p:cNvCxnSpPr>
            <a:cxnSpLocks/>
            <a:stCxn id="21" idx="3"/>
            <a:endCxn id="17" idx="1"/>
          </p:cNvCxnSpPr>
          <p:nvPr/>
        </p:nvCxnSpPr>
        <p:spPr>
          <a:xfrm>
            <a:off x="7058077" y="2600687"/>
            <a:ext cx="633744" cy="954413"/>
          </a:xfrm>
          <a:prstGeom prst="bentConnector3">
            <a:avLst>
              <a:gd name="adj1" fmla="val 50000"/>
            </a:avLst>
          </a:prstGeom>
          <a:ln w="127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ctor: Elbow 34">
            <a:extLst>
              <a:ext uri="{FF2B5EF4-FFF2-40B4-BE49-F238E27FC236}">
                <a16:creationId xmlns:a16="http://schemas.microsoft.com/office/drawing/2014/main" id="{3FD7519E-1271-6825-28F2-3B16A574195F}"/>
              </a:ext>
            </a:extLst>
          </p:cNvPr>
          <p:cNvCxnSpPr>
            <a:cxnSpLocks/>
            <a:stCxn id="20" idx="3"/>
            <a:endCxn id="17" idx="1"/>
          </p:cNvCxnSpPr>
          <p:nvPr/>
        </p:nvCxnSpPr>
        <p:spPr>
          <a:xfrm flipV="1">
            <a:off x="7058075" y="3555100"/>
            <a:ext cx="633746" cy="679702"/>
          </a:xfrm>
          <a:prstGeom prst="bentConnector3">
            <a:avLst>
              <a:gd name="adj1" fmla="val 50000"/>
            </a:avLst>
          </a:prstGeom>
          <a:ln w="127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35">
            <a:extLst>
              <a:ext uri="{FF2B5EF4-FFF2-40B4-BE49-F238E27FC236}">
                <a16:creationId xmlns:a16="http://schemas.microsoft.com/office/drawing/2014/main" id="{1E86D63A-C311-94CE-F73A-BDB2C75A213D}"/>
              </a:ext>
            </a:extLst>
          </p:cNvPr>
          <p:cNvSpPr txBox="1"/>
          <p:nvPr/>
        </p:nvSpPr>
        <p:spPr>
          <a:xfrm>
            <a:off x="4472039" y="2932911"/>
            <a:ext cx="1922400" cy="462359"/>
          </a:xfrm>
          <a:prstGeom prst="rect">
            <a:avLst/>
          </a:prstGeom>
          <a:solidFill>
            <a:srgbClr val="F2F2F2"/>
          </a:solidFill>
          <a:ln>
            <a:solidFill>
              <a:srgbClr val="9D9C98"/>
            </a:solidFill>
          </a:ln>
        </p:spPr>
        <p:txBody>
          <a:bodyPr wrap="none" lIns="0" tIns="72000" rIns="0" bIns="72000" anchor="ctr" anchorCtr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15922"/>
                </a:solidFill>
                <a:effectLst/>
                <a:uLnTx/>
                <a:uFillTx/>
                <a:latin typeface="Aptos" panose="02110004020202020204"/>
                <a:ea typeface="+mn-ea"/>
                <a:cs typeface="Calibri" panose="020F0502020204030204" pitchFamily="34" charset="0"/>
              </a:rPr>
              <a:t>Pola-R-CHP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Calibri" panose="020F0502020204030204" pitchFamily="34" charset="0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Calibri" panose="020F0502020204030204" pitchFamily="34" charset="0"/>
              </a:rPr>
              <a:t>Cycles 1–6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Calibri" panose="020F0502020204030204" pitchFamily="34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A62C496E-B558-0B77-D389-6E937B3E0BC7}"/>
              </a:ext>
            </a:extLst>
          </p:cNvPr>
          <p:cNvSpPr txBox="1"/>
          <p:nvPr/>
        </p:nvSpPr>
        <p:spPr>
          <a:xfrm>
            <a:off x="4815277" y="3451559"/>
            <a:ext cx="2242800" cy="366912"/>
          </a:xfrm>
          <a:prstGeom prst="rect">
            <a:avLst/>
          </a:prstGeom>
          <a:solidFill>
            <a:srgbClr val="F2F2F2"/>
          </a:solidFill>
          <a:ln>
            <a:solidFill>
              <a:srgbClr val="9D9C98"/>
            </a:solidFill>
          </a:ln>
        </p:spPr>
        <p:txBody>
          <a:bodyPr wrap="none" lIns="0" tIns="72000" rIns="0" bIns="72000" anchor="ctr" anchorCtr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4CA1A6"/>
                </a:solidFill>
                <a:effectLst/>
                <a:uLnTx/>
                <a:uFillTx/>
                <a:latin typeface="Aptos" panose="02110004020202020204"/>
                <a:ea typeface="+mn-ea"/>
                <a:cs typeface="Calibri" panose="020F0502020204030204" pitchFamily="34" charset="0"/>
              </a:rPr>
              <a:t>Glofitamab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Calibri" panose="020F0502020204030204" pitchFamily="34" charset="0"/>
              </a:rPr>
              <a:t>, Cycles 2–8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Calibri" panose="020F0502020204030204" pitchFamily="34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9836561C-0ABA-F5A1-50A8-F8253B28F7B5}"/>
              </a:ext>
            </a:extLst>
          </p:cNvPr>
          <p:cNvSpPr txBox="1"/>
          <p:nvPr/>
        </p:nvSpPr>
        <p:spPr>
          <a:xfrm>
            <a:off x="4472039" y="4560776"/>
            <a:ext cx="1922400" cy="462359"/>
          </a:xfrm>
          <a:prstGeom prst="rect">
            <a:avLst/>
          </a:prstGeom>
          <a:solidFill>
            <a:srgbClr val="F2F2F2"/>
          </a:solidFill>
          <a:ln>
            <a:solidFill>
              <a:srgbClr val="9D9C98"/>
            </a:solidFill>
          </a:ln>
        </p:spPr>
        <p:txBody>
          <a:bodyPr wrap="none" lIns="0" tIns="72000" rIns="0" bIns="72000" anchor="ctr" anchorCtr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15922"/>
                </a:solidFill>
                <a:effectLst/>
                <a:uLnTx/>
                <a:uFillTx/>
                <a:latin typeface="Aptos" panose="02110004020202020204"/>
                <a:ea typeface="+mn-ea"/>
                <a:cs typeface="Calibri" panose="020F0502020204030204" pitchFamily="34" charset="0"/>
              </a:rPr>
              <a:t>Pola-R-CHP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Calibri" panose="020F0502020204030204" pitchFamily="34" charset="0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Calibri" panose="020F0502020204030204" pitchFamily="34" charset="0"/>
              </a:rPr>
              <a:t>Cycles 1–6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Calibri" panose="020F0502020204030204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77C22740-A840-47B5-0B17-AD6D5C2CBAC8}"/>
              </a:ext>
            </a:extLst>
          </p:cNvPr>
          <p:cNvSpPr txBox="1"/>
          <p:nvPr/>
        </p:nvSpPr>
        <p:spPr>
          <a:xfrm>
            <a:off x="6394438" y="4560776"/>
            <a:ext cx="662761" cy="462359"/>
          </a:xfrm>
          <a:prstGeom prst="rect">
            <a:avLst/>
          </a:prstGeom>
          <a:solidFill>
            <a:srgbClr val="F2F2F2"/>
          </a:solidFill>
          <a:ln>
            <a:solidFill>
              <a:srgbClr val="9D9C98"/>
            </a:solidFill>
          </a:ln>
        </p:spPr>
        <p:txBody>
          <a:bodyPr wrap="none" lIns="0" tIns="72000" rIns="0" bIns="72000" anchor="ctr" anchorCtr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ABBFC9">
                    <a:lumMod val="7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Calibri" panose="020F0502020204030204" pitchFamily="34" charset="0"/>
              </a:rPr>
              <a:t>R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Calibri" panose="020F0502020204030204" pitchFamily="34" charset="0"/>
              </a:rPr>
              <a:t>C7–8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Calibri" panose="020F0502020204030204" pitchFamily="34" charset="0"/>
            </a:endParaRPr>
          </a:p>
        </p:txBody>
      </p:sp>
      <p:sp>
        <p:nvSpPr>
          <p:cNvPr id="2" name="Slide Number Placeholder 3">
            <a:extLst>
              <a:ext uri="{FF2B5EF4-FFF2-40B4-BE49-F238E27FC236}">
                <a16:creationId xmlns:a16="http://schemas.microsoft.com/office/drawing/2014/main" id="{AB73C897-0505-21A7-B74F-D6E609E3A3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651" y="6356350"/>
            <a:ext cx="383694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306B0CF-28DA-4AF7-AD0B-CB9D5901F647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82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1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2480690"/>
      </p:ext>
    </p:extLst>
  </p:cSld>
  <p:clrMapOvr>
    <a:masterClrMapping/>
  </p:clrMapOvr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CD6375B-AD68-504E-5A32-E98E34CA861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F0B593-9944-5E8B-DED4-A5121B0319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0647" y="311857"/>
            <a:ext cx="9789459" cy="1033111"/>
          </a:xfrm>
        </p:spPr>
        <p:txBody>
          <a:bodyPr/>
          <a:lstStyle/>
          <a:p>
            <a:r>
              <a:rPr lang="en-GB"/>
              <a:t>We will still have challenges, but new approaches can improve outcomes in R/R DLBCL</a:t>
            </a:r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2E70C1B-87F8-D2AB-A5D7-F5082B7CFFE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GB" dirty="0"/>
              <a:t>*TCE therapies and non-TCE therapies?</a:t>
            </a:r>
            <a:br>
              <a:rPr lang="en-GB" dirty="0"/>
            </a:br>
            <a:r>
              <a:rPr lang="en-GB" dirty="0" err="1"/>
              <a:t>BsAb</a:t>
            </a:r>
            <a:r>
              <a:rPr lang="en-GB" dirty="0"/>
              <a:t>, bispecific antibody; CAR-T, chimeric antigen receptor T-cell therapy; DLBCL, diffuse large B-cell lymphoma; R/R, relapsed/refractory; TCE, T-cell-engaging.</a:t>
            </a:r>
          </a:p>
        </p:txBody>
      </p:sp>
      <p:sp>
        <p:nvSpPr>
          <p:cNvPr id="5" name="Free-form: Shape 4">
            <a:extLst>
              <a:ext uri="{FF2B5EF4-FFF2-40B4-BE49-F238E27FC236}">
                <a16:creationId xmlns:a16="http://schemas.microsoft.com/office/drawing/2014/main" id="{CE0CCE7A-DCC9-41AE-CC90-C1C142598CA1}"/>
              </a:ext>
            </a:extLst>
          </p:cNvPr>
          <p:cNvSpPr/>
          <p:nvPr/>
        </p:nvSpPr>
        <p:spPr>
          <a:xfrm>
            <a:off x="4455517" y="3048427"/>
            <a:ext cx="880396" cy="841622"/>
          </a:xfrm>
          <a:custGeom>
            <a:avLst/>
            <a:gdLst>
              <a:gd name="csX0" fmla="*/ 401579 w 1609516"/>
              <a:gd name="csY0" fmla="*/ 1495809 h 1538630"/>
              <a:gd name="csX1" fmla="*/ 400190 w 1609516"/>
              <a:gd name="csY1" fmla="*/ 1496004 h 1538630"/>
              <a:gd name="csX2" fmla="*/ 401224 w 1609516"/>
              <a:gd name="csY2" fmla="*/ 1496470 h 1538630"/>
              <a:gd name="csX3" fmla="*/ 401224 w 1609516"/>
              <a:gd name="csY3" fmla="*/ 1498590 h 1538630"/>
              <a:gd name="csX4" fmla="*/ 401579 w 1609516"/>
              <a:gd name="csY4" fmla="*/ 1498628 h 1538630"/>
              <a:gd name="csX5" fmla="*/ 401579 w 1609516"/>
              <a:gd name="csY5" fmla="*/ 1495809 h 1538630"/>
              <a:gd name="csX6" fmla="*/ 368755 w 1609516"/>
              <a:gd name="csY6" fmla="*/ 1486512 h 1538630"/>
              <a:gd name="csX7" fmla="*/ 364089 w 1609516"/>
              <a:gd name="csY7" fmla="*/ 1487354 h 1538630"/>
              <a:gd name="csX8" fmla="*/ 364089 w 1609516"/>
              <a:gd name="csY8" fmla="*/ 1487908 h 1538630"/>
              <a:gd name="csX9" fmla="*/ 1049801 w 1609516"/>
              <a:gd name="csY9" fmla="*/ 1484562 h 1538630"/>
              <a:gd name="csX10" fmla="*/ 1046735 w 1609516"/>
              <a:gd name="csY10" fmla="*/ 1485945 h 1538630"/>
              <a:gd name="csX11" fmla="*/ 1046955 w 1609516"/>
              <a:gd name="csY11" fmla="*/ 1486045 h 1538630"/>
              <a:gd name="csX12" fmla="*/ 1049801 w 1609516"/>
              <a:gd name="csY12" fmla="*/ 1485188 h 1538630"/>
              <a:gd name="csX13" fmla="*/ 351234 w 1609516"/>
              <a:gd name="csY13" fmla="*/ 1444508 h 1538630"/>
              <a:gd name="csX14" fmla="*/ 351234 w 1609516"/>
              <a:gd name="csY14" fmla="*/ 1444997 h 1538630"/>
              <a:gd name="csX15" fmla="*/ 351592 w 1609516"/>
              <a:gd name="csY15" fmla="*/ 1445078 h 1538630"/>
              <a:gd name="csX16" fmla="*/ 351908 w 1609516"/>
              <a:gd name="csY16" fmla="*/ 1431206 h 1538630"/>
              <a:gd name="csX17" fmla="*/ 351234 w 1609516"/>
              <a:gd name="csY17" fmla="*/ 1431611 h 1538630"/>
              <a:gd name="csX18" fmla="*/ 351234 w 1609516"/>
              <a:gd name="csY18" fmla="*/ 1432274 h 1538630"/>
              <a:gd name="csX19" fmla="*/ 358162 w 1609516"/>
              <a:gd name="csY19" fmla="*/ 1421494 h 1538630"/>
              <a:gd name="csX20" fmla="*/ 355921 w 1609516"/>
              <a:gd name="csY20" fmla="*/ 1423156 h 1538630"/>
              <a:gd name="csX21" fmla="*/ 355921 w 1609516"/>
              <a:gd name="csY21" fmla="*/ 1423548 h 1538630"/>
              <a:gd name="csX22" fmla="*/ 376098 w 1609516"/>
              <a:gd name="csY22" fmla="*/ 1408347 h 1538630"/>
              <a:gd name="csX23" fmla="*/ 370750 w 1609516"/>
              <a:gd name="csY23" fmla="*/ 1412245 h 1538630"/>
              <a:gd name="csX24" fmla="*/ 375023 w 1609516"/>
              <a:gd name="csY24" fmla="*/ 1411256 h 1538630"/>
              <a:gd name="csX25" fmla="*/ 421956 w 1609516"/>
              <a:gd name="csY25" fmla="*/ 1365623 h 1538630"/>
              <a:gd name="csX26" fmla="*/ 421765 w 1609516"/>
              <a:gd name="csY26" fmla="*/ 1366161 h 1538630"/>
              <a:gd name="csX27" fmla="*/ 421887 w 1609516"/>
              <a:gd name="csY27" fmla="*/ 1366161 h 1538630"/>
              <a:gd name="csX28" fmla="*/ 754553 w 1609516"/>
              <a:gd name="csY28" fmla="*/ 1360575 h 1538630"/>
              <a:gd name="csX29" fmla="*/ 754089 w 1609516"/>
              <a:gd name="csY29" fmla="*/ 1361433 h 1538630"/>
              <a:gd name="csX30" fmla="*/ 754431 w 1609516"/>
              <a:gd name="csY30" fmla="*/ 1361125 h 1538630"/>
              <a:gd name="csX31" fmla="*/ 1277973 w 1609516"/>
              <a:gd name="csY31" fmla="*/ 1332923 h 1538630"/>
              <a:gd name="csX32" fmla="*/ 1277944 w 1609516"/>
              <a:gd name="csY32" fmla="*/ 1332936 h 1538630"/>
              <a:gd name="csX33" fmla="*/ 1277949 w 1609516"/>
              <a:gd name="csY33" fmla="*/ 1333139 h 1538630"/>
              <a:gd name="csX34" fmla="*/ 1268556 w 1609516"/>
              <a:gd name="csY34" fmla="*/ 1321066 h 1538630"/>
              <a:gd name="csX35" fmla="*/ 1268556 w 1609516"/>
              <a:gd name="csY35" fmla="*/ 1325294 h 1538630"/>
              <a:gd name="csX36" fmla="*/ 1265432 w 1609516"/>
              <a:gd name="csY36" fmla="*/ 1325294 h 1538630"/>
              <a:gd name="csX37" fmla="*/ 1265432 w 1609516"/>
              <a:gd name="csY37" fmla="*/ 1340795 h 1538630"/>
              <a:gd name="csX38" fmla="*/ 1265476 w 1609516"/>
              <a:gd name="csY38" fmla="*/ 1340714 h 1538630"/>
              <a:gd name="csX39" fmla="*/ 1265476 w 1609516"/>
              <a:gd name="csY39" fmla="*/ 1325877 h 1538630"/>
              <a:gd name="csX40" fmla="*/ 1268600 w 1609516"/>
              <a:gd name="csY40" fmla="*/ 1325877 h 1538630"/>
              <a:gd name="csX41" fmla="*/ 1268600 w 1609516"/>
              <a:gd name="csY41" fmla="*/ 1321649 h 1538630"/>
              <a:gd name="csX42" fmla="*/ 1273286 w 1609516"/>
              <a:gd name="csY42" fmla="*/ 1321649 h 1538630"/>
              <a:gd name="csX43" fmla="*/ 1273227 w 1609516"/>
              <a:gd name="csY43" fmla="*/ 1321066 h 1538630"/>
              <a:gd name="csX44" fmla="*/ 827891 w 1609516"/>
              <a:gd name="csY44" fmla="*/ 1291474 h 1538630"/>
              <a:gd name="csX45" fmla="*/ 822601 w 1609516"/>
              <a:gd name="csY45" fmla="*/ 1291544 h 1538630"/>
              <a:gd name="csX46" fmla="*/ 818272 w 1609516"/>
              <a:gd name="csY46" fmla="*/ 1292220 h 1538630"/>
              <a:gd name="csX47" fmla="*/ 827891 w 1609516"/>
              <a:gd name="csY47" fmla="*/ 1292047 h 1538630"/>
              <a:gd name="csX48" fmla="*/ 856397 w 1609516"/>
              <a:gd name="csY48" fmla="*/ 1288691 h 1538630"/>
              <a:gd name="csX49" fmla="*/ 865903 w 1609516"/>
              <a:gd name="csY49" fmla="*/ 1290590 h 1538630"/>
              <a:gd name="csX50" fmla="*/ 859999 w 1609516"/>
              <a:gd name="csY50" fmla="*/ 1288752 h 1538630"/>
              <a:gd name="csX51" fmla="*/ 834694 w 1609516"/>
              <a:gd name="csY51" fmla="*/ 1288572 h 1538630"/>
              <a:gd name="csX52" fmla="*/ 828038 w 1609516"/>
              <a:gd name="csY52" fmla="*/ 1288654 h 1538630"/>
              <a:gd name="csX53" fmla="*/ 828038 w 1609516"/>
              <a:gd name="csY53" fmla="*/ 1289214 h 1538630"/>
              <a:gd name="csX54" fmla="*/ 229746 w 1609516"/>
              <a:gd name="csY54" fmla="*/ 1191418 h 1538630"/>
              <a:gd name="csX55" fmla="*/ 227402 w 1609516"/>
              <a:gd name="csY55" fmla="*/ 1191947 h 1538630"/>
              <a:gd name="csX56" fmla="*/ 229315 w 1609516"/>
              <a:gd name="csY56" fmla="*/ 1191947 h 1538630"/>
              <a:gd name="csX57" fmla="*/ 229315 w 1609516"/>
              <a:gd name="csY57" fmla="*/ 1194765 h 1538630"/>
              <a:gd name="csX58" fmla="*/ 231321 w 1609516"/>
              <a:gd name="csY58" fmla="*/ 1194765 h 1538630"/>
              <a:gd name="csX59" fmla="*/ 229746 w 1609516"/>
              <a:gd name="csY59" fmla="*/ 1194236 h 1538630"/>
              <a:gd name="csX60" fmla="*/ 229746 w 1609516"/>
              <a:gd name="csY60" fmla="*/ 1191418 h 1538630"/>
              <a:gd name="csX61" fmla="*/ 215687 w 1609516"/>
              <a:gd name="csY61" fmla="*/ 1187190 h 1538630"/>
              <a:gd name="csX62" fmla="*/ 215198 w 1609516"/>
              <a:gd name="csY62" fmla="*/ 1187720 h 1538630"/>
              <a:gd name="csX63" fmla="*/ 215256 w 1609516"/>
              <a:gd name="csY63" fmla="*/ 1187720 h 1538630"/>
              <a:gd name="csX64" fmla="*/ 215256 w 1609516"/>
              <a:gd name="csY64" fmla="*/ 1191947 h 1538630"/>
              <a:gd name="csX65" fmla="*/ 222721 w 1609516"/>
              <a:gd name="csY65" fmla="*/ 1191947 h 1538630"/>
              <a:gd name="csX66" fmla="*/ 215687 w 1609516"/>
              <a:gd name="csY66" fmla="*/ 1191418 h 1538630"/>
              <a:gd name="csX67" fmla="*/ 215687 w 1609516"/>
              <a:gd name="csY67" fmla="*/ 1187190 h 1538630"/>
              <a:gd name="csX68" fmla="*/ 1279678 w 1609516"/>
              <a:gd name="csY68" fmla="*/ 1082356 h 1538630"/>
              <a:gd name="csX69" fmla="*/ 1271680 w 1609516"/>
              <a:gd name="csY69" fmla="*/ 1084589 h 1538630"/>
              <a:gd name="csX70" fmla="*/ 1282181 w 1609516"/>
              <a:gd name="csY70" fmla="*/ 1082544 h 1538630"/>
              <a:gd name="csX71" fmla="*/ 117703 w 1609516"/>
              <a:gd name="csY71" fmla="*/ 941507 h 1538630"/>
              <a:gd name="csX72" fmla="*/ 112587 w 1609516"/>
              <a:gd name="csY72" fmla="*/ 941985 h 1538630"/>
              <a:gd name="csX73" fmla="*/ 112565 w 1609516"/>
              <a:gd name="csY73" fmla="*/ 942333 h 1538630"/>
              <a:gd name="csX74" fmla="*/ 115665 w 1609516"/>
              <a:gd name="csY74" fmla="*/ 941837 h 1538630"/>
              <a:gd name="csX75" fmla="*/ 144268 w 1609516"/>
              <a:gd name="csY75" fmla="*/ 939395 h 1538630"/>
              <a:gd name="csX76" fmla="*/ 143354 w 1609516"/>
              <a:gd name="csY76" fmla="*/ 939580 h 1538630"/>
              <a:gd name="csX77" fmla="*/ 144077 w 1609516"/>
              <a:gd name="csY77" fmla="*/ 939739 h 1538630"/>
              <a:gd name="csX78" fmla="*/ 162575 w 1609516"/>
              <a:gd name="csY78" fmla="*/ 933530 h 1538630"/>
              <a:gd name="csX79" fmla="*/ 161704 w 1609516"/>
              <a:gd name="csY79" fmla="*/ 935101 h 1538630"/>
              <a:gd name="csX80" fmla="*/ 170045 w 1609516"/>
              <a:gd name="csY80" fmla="*/ 933585 h 1538630"/>
              <a:gd name="csX81" fmla="*/ 1321645 w 1609516"/>
              <a:gd name="csY81" fmla="*/ 918415 h 1538630"/>
              <a:gd name="csX82" fmla="*/ 1321534 w 1609516"/>
              <a:gd name="csY82" fmla="*/ 920177 h 1538630"/>
              <a:gd name="csX83" fmla="*/ 1321740 w 1609516"/>
              <a:gd name="csY83" fmla="*/ 918415 h 1538630"/>
              <a:gd name="csX84" fmla="*/ 1319333 w 1609516"/>
              <a:gd name="csY84" fmla="*/ 915183 h 1538630"/>
              <a:gd name="csX85" fmla="*/ 1318544 w 1609516"/>
              <a:gd name="csY85" fmla="*/ 918029 h 1538630"/>
              <a:gd name="csX86" fmla="*/ 1318702 w 1609516"/>
              <a:gd name="csY86" fmla="*/ 918029 h 1538630"/>
              <a:gd name="csX87" fmla="*/ 1326355 w 1609516"/>
              <a:gd name="csY87" fmla="*/ 907109 h 1538630"/>
              <a:gd name="csX88" fmla="*/ 1326355 w 1609516"/>
              <a:gd name="csY88" fmla="*/ 910983 h 1538630"/>
              <a:gd name="csX89" fmla="*/ 1325831 w 1609516"/>
              <a:gd name="csY89" fmla="*/ 911101 h 1538630"/>
              <a:gd name="csX90" fmla="*/ 1326426 w 1609516"/>
              <a:gd name="csY90" fmla="*/ 911369 h 1538630"/>
              <a:gd name="csX91" fmla="*/ 1326426 w 1609516"/>
              <a:gd name="csY91" fmla="*/ 907141 h 1538630"/>
              <a:gd name="csX92" fmla="*/ 1328144 w 1609516"/>
              <a:gd name="csY92" fmla="*/ 892192 h 1538630"/>
              <a:gd name="csX93" fmla="*/ 1327667 w 1609516"/>
              <a:gd name="csY93" fmla="*/ 893446 h 1538630"/>
              <a:gd name="csX94" fmla="*/ 1327989 w 1609516"/>
              <a:gd name="csY94" fmla="*/ 893049 h 1538630"/>
              <a:gd name="csX95" fmla="*/ 49605 w 1609516"/>
              <a:gd name="csY95" fmla="*/ 887420 h 1538630"/>
              <a:gd name="csX96" fmla="*/ 48549 w 1609516"/>
              <a:gd name="csY96" fmla="*/ 891229 h 1538630"/>
              <a:gd name="csX97" fmla="*/ 49956 w 1609516"/>
              <a:gd name="csY97" fmla="*/ 887420 h 1538630"/>
              <a:gd name="csX98" fmla="*/ 1332266 w 1609516"/>
              <a:gd name="csY98" fmla="*/ 883369 h 1538630"/>
              <a:gd name="csX99" fmla="*/ 1329479 w 1609516"/>
              <a:gd name="csY99" fmla="*/ 884207 h 1538630"/>
              <a:gd name="csX100" fmla="*/ 1329509 w 1609516"/>
              <a:gd name="csY100" fmla="*/ 884816 h 1538630"/>
              <a:gd name="csX101" fmla="*/ 1329551 w 1609516"/>
              <a:gd name="csY101" fmla="*/ 884594 h 1538630"/>
              <a:gd name="csX102" fmla="*/ 1555987 w 1609516"/>
              <a:gd name="csY102" fmla="*/ 821766 h 1538630"/>
              <a:gd name="csX103" fmla="*/ 1555987 w 1609516"/>
              <a:gd name="csY103" fmla="*/ 822201 h 1538630"/>
              <a:gd name="csX104" fmla="*/ 1556081 w 1609516"/>
              <a:gd name="csY104" fmla="*/ 822189 h 1538630"/>
              <a:gd name="csX105" fmla="*/ 1565360 w 1609516"/>
              <a:gd name="csY105" fmla="*/ 810928 h 1538630"/>
              <a:gd name="csX106" fmla="*/ 1564871 w 1609516"/>
              <a:gd name="csY106" fmla="*/ 811809 h 1538630"/>
              <a:gd name="csX107" fmla="*/ 1567314 w 1609516"/>
              <a:gd name="csY107" fmla="*/ 810928 h 1538630"/>
              <a:gd name="csX108" fmla="*/ 1563797 w 1609516"/>
              <a:gd name="csY108" fmla="*/ 810928 h 1538630"/>
              <a:gd name="csX109" fmla="*/ 1556762 w 1609516"/>
              <a:gd name="csY109" fmla="*/ 814736 h 1538630"/>
              <a:gd name="csX110" fmla="*/ 1563797 w 1609516"/>
              <a:gd name="csY110" fmla="*/ 812197 h 1538630"/>
              <a:gd name="csX111" fmla="*/ 265833 w 1609516"/>
              <a:gd name="csY111" fmla="*/ 806020 h 1538630"/>
              <a:gd name="csX112" fmla="*/ 263704 w 1609516"/>
              <a:gd name="csY112" fmla="*/ 809861 h 1538630"/>
              <a:gd name="csX113" fmla="*/ 263704 w 1609516"/>
              <a:gd name="csY113" fmla="*/ 816750 h 1538630"/>
              <a:gd name="csX114" fmla="*/ 264113 w 1609516"/>
              <a:gd name="csY114" fmla="*/ 816565 h 1538630"/>
              <a:gd name="csX115" fmla="*/ 263918 w 1609516"/>
              <a:gd name="csY115" fmla="*/ 812777 h 1538630"/>
              <a:gd name="csX116" fmla="*/ 263774 w 1609516"/>
              <a:gd name="csY116" fmla="*/ 779374 h 1538630"/>
              <a:gd name="csX117" fmla="*/ 263704 w 1609516"/>
              <a:gd name="csY117" fmla="*/ 783086 h 1538630"/>
              <a:gd name="csX118" fmla="*/ 264484 w 1609516"/>
              <a:gd name="csY118" fmla="*/ 785816 h 1538630"/>
              <a:gd name="csX119" fmla="*/ 265265 w 1609516"/>
              <a:gd name="csY119" fmla="*/ 794448 h 1538630"/>
              <a:gd name="csX120" fmla="*/ 265217 w 1609516"/>
              <a:gd name="csY120" fmla="*/ 799730 h 1538630"/>
              <a:gd name="csX121" fmla="*/ 266556 w 1609516"/>
              <a:gd name="csY121" fmla="*/ 803466 h 1538630"/>
              <a:gd name="csX122" fmla="*/ 267237 w 1609516"/>
              <a:gd name="csY122" fmla="*/ 801063 h 1538630"/>
              <a:gd name="csX123" fmla="*/ 265675 w 1609516"/>
              <a:gd name="csY123" fmla="*/ 799654 h 1538630"/>
              <a:gd name="csX124" fmla="*/ 265675 w 1609516"/>
              <a:gd name="csY124" fmla="*/ 793841 h 1538630"/>
              <a:gd name="csX125" fmla="*/ 260988 w 1609516"/>
              <a:gd name="csY125" fmla="*/ 770061 h 1538630"/>
              <a:gd name="csX126" fmla="*/ 260988 w 1609516"/>
              <a:gd name="csY126" fmla="*/ 771364 h 1538630"/>
              <a:gd name="csX127" fmla="*/ 263497 w 1609516"/>
              <a:gd name="csY127" fmla="*/ 777263 h 1538630"/>
              <a:gd name="csX128" fmla="*/ 262551 w 1609516"/>
              <a:gd name="csY128" fmla="*/ 770061 h 1538630"/>
              <a:gd name="csX129" fmla="*/ 260988 w 1609516"/>
              <a:gd name="csY129" fmla="*/ 770061 h 1538630"/>
              <a:gd name="csX130" fmla="*/ 157888 w 1609516"/>
              <a:gd name="csY130" fmla="*/ 651686 h 1538630"/>
              <a:gd name="csX131" fmla="*/ 157415 w 1609516"/>
              <a:gd name="csY131" fmla="*/ 651764 h 1538630"/>
              <a:gd name="csX132" fmla="*/ 160373 w 1609516"/>
              <a:gd name="csY132" fmla="*/ 652274 h 1538630"/>
              <a:gd name="csX133" fmla="*/ 267237 w 1609516"/>
              <a:gd name="csY133" fmla="*/ 426537 h 1538630"/>
              <a:gd name="csX134" fmla="*/ 267237 w 1609516"/>
              <a:gd name="csY134" fmla="*/ 427619 h 1538630"/>
              <a:gd name="csX135" fmla="*/ 270380 w 1609516"/>
              <a:gd name="csY135" fmla="*/ 428137 h 1538630"/>
              <a:gd name="csX136" fmla="*/ 273548 w 1609516"/>
              <a:gd name="csY136" fmla="*/ 428680 h 1538630"/>
              <a:gd name="csX137" fmla="*/ 37605 w 1609516"/>
              <a:gd name="csY137" fmla="*/ 359270 h 1538630"/>
              <a:gd name="csX138" fmla="*/ 37103 w 1609516"/>
              <a:gd name="csY138" fmla="*/ 361533 h 1538630"/>
              <a:gd name="csX139" fmla="*/ 37605 w 1609516"/>
              <a:gd name="csY139" fmla="*/ 361382 h 1538630"/>
              <a:gd name="csX140" fmla="*/ 52477 w 1609516"/>
              <a:gd name="csY140" fmla="*/ 337570 h 1538630"/>
              <a:gd name="csX141" fmla="*/ 47288 w 1609516"/>
              <a:gd name="csY141" fmla="*/ 342340 h 1538630"/>
              <a:gd name="csX142" fmla="*/ 45805 w 1609516"/>
              <a:gd name="csY142" fmla="*/ 345093 h 1538630"/>
              <a:gd name="csX143" fmla="*/ 104291 w 1609516"/>
              <a:gd name="csY143" fmla="*/ 336166 h 1538630"/>
              <a:gd name="csX144" fmla="*/ 103776 w 1609516"/>
              <a:gd name="csY144" fmla="*/ 337559 h 1538630"/>
              <a:gd name="csX145" fmla="*/ 108925 w 1609516"/>
              <a:gd name="csY145" fmla="*/ 336166 h 1538630"/>
              <a:gd name="csX146" fmla="*/ 1309237 w 1609516"/>
              <a:gd name="csY146" fmla="*/ 322954 h 1538630"/>
              <a:gd name="csX147" fmla="*/ 1309180 w 1609516"/>
              <a:gd name="csY147" fmla="*/ 330559 h 1538630"/>
              <a:gd name="csX148" fmla="*/ 1309237 w 1609516"/>
              <a:gd name="csY148" fmla="*/ 330520 h 1538630"/>
              <a:gd name="csX149" fmla="*/ 1308964 w 1609516"/>
              <a:gd name="csY149" fmla="*/ 317715 h 1538630"/>
              <a:gd name="csX150" fmla="*/ 1309237 w 1609516"/>
              <a:gd name="csY150" fmla="*/ 318569 h 1538630"/>
              <a:gd name="csX151" fmla="*/ 1309237 w 1609516"/>
              <a:gd name="csY151" fmla="*/ 317838 h 1538630"/>
              <a:gd name="csX152" fmla="*/ 1310087 w 1609516"/>
              <a:gd name="csY152" fmla="*/ 313153 h 1538630"/>
              <a:gd name="csX153" fmla="*/ 1307609 w 1609516"/>
              <a:gd name="csY153" fmla="*/ 313473 h 1538630"/>
              <a:gd name="csX154" fmla="*/ 1308045 w 1609516"/>
              <a:gd name="csY154" fmla="*/ 314836 h 1538630"/>
              <a:gd name="csX155" fmla="*/ 1318544 w 1609516"/>
              <a:gd name="csY155" fmla="*/ 312064 h 1538630"/>
              <a:gd name="csX156" fmla="*/ 1316298 w 1609516"/>
              <a:gd name="csY156" fmla="*/ 312353 h 1538630"/>
              <a:gd name="csX157" fmla="*/ 1318544 w 1609516"/>
              <a:gd name="csY157" fmla="*/ 312205 h 1538630"/>
              <a:gd name="csX158" fmla="*/ 1084622 w 1609516"/>
              <a:gd name="csY158" fmla="*/ 267674 h 1538630"/>
              <a:gd name="csX159" fmla="*/ 1084227 w 1609516"/>
              <a:gd name="csY159" fmla="*/ 268378 h 1538630"/>
              <a:gd name="csX160" fmla="*/ 1079540 w 1609516"/>
              <a:gd name="csY160" fmla="*/ 268378 h 1538630"/>
              <a:gd name="csX161" fmla="*/ 1079603 w 1609516"/>
              <a:gd name="csY161" fmla="*/ 268477 h 1538630"/>
              <a:gd name="csX162" fmla="*/ 1084192 w 1609516"/>
              <a:gd name="csY162" fmla="*/ 268477 h 1538630"/>
              <a:gd name="csX163" fmla="*/ 956410 w 1609516"/>
              <a:gd name="csY163" fmla="*/ 266968 h 1538630"/>
              <a:gd name="csX164" fmla="*/ 957576 w 1609516"/>
              <a:gd name="csY164" fmla="*/ 267083 h 1538630"/>
              <a:gd name="csX165" fmla="*/ 957576 w 1609516"/>
              <a:gd name="csY165" fmla="*/ 269776 h 1538630"/>
              <a:gd name="csX166" fmla="*/ 957694 w 1609516"/>
              <a:gd name="csY166" fmla="*/ 269787 h 1538630"/>
              <a:gd name="csX167" fmla="*/ 957694 w 1609516"/>
              <a:gd name="csY167" fmla="*/ 266968 h 1538630"/>
              <a:gd name="csX168" fmla="*/ 1089372 w 1609516"/>
              <a:gd name="csY168" fmla="*/ 259220 h 1538630"/>
              <a:gd name="csX169" fmla="*/ 1085856 w 1609516"/>
              <a:gd name="csY169" fmla="*/ 265479 h 1538630"/>
              <a:gd name="csX170" fmla="*/ 1088878 w 1609516"/>
              <a:gd name="csY170" fmla="*/ 261431 h 1538630"/>
              <a:gd name="csX171" fmla="*/ 1018517 w 1609516"/>
              <a:gd name="csY171" fmla="*/ 223356 h 1538630"/>
              <a:gd name="csX172" fmla="*/ 1013866 w 1609516"/>
              <a:gd name="csY172" fmla="*/ 226190 h 1538630"/>
              <a:gd name="csX173" fmla="*/ 1013024 w 1609516"/>
              <a:gd name="csY173" fmla="*/ 227709 h 1538630"/>
              <a:gd name="csX174" fmla="*/ 1017055 w 1609516"/>
              <a:gd name="csY174" fmla="*/ 224692 h 1538630"/>
              <a:gd name="csX175" fmla="*/ 850645 w 1609516"/>
              <a:gd name="csY175" fmla="*/ 220099 h 1538630"/>
              <a:gd name="csX176" fmla="*/ 850897 w 1609516"/>
              <a:gd name="csY176" fmla="*/ 221488 h 1538630"/>
              <a:gd name="csX177" fmla="*/ 851470 w 1609516"/>
              <a:gd name="csY177" fmla="*/ 224692 h 1538630"/>
              <a:gd name="csX178" fmla="*/ 852860 w 1609516"/>
              <a:gd name="csY178" fmla="*/ 224692 h 1538630"/>
              <a:gd name="csX179" fmla="*/ 1155019 w 1609516"/>
              <a:gd name="csY179" fmla="*/ 35 h 1538630"/>
              <a:gd name="csX180" fmla="*/ 1174829 w 1609516"/>
              <a:gd name="csY180" fmla="*/ 4853 h 1538630"/>
              <a:gd name="csX181" fmla="*/ 1179418 w 1609516"/>
              <a:gd name="csY181" fmla="*/ 5998 h 1538630"/>
              <a:gd name="csX182" fmla="*/ 1201385 w 1609516"/>
              <a:gd name="csY182" fmla="*/ 22997 h 1538630"/>
              <a:gd name="csX183" fmla="*/ 1201678 w 1609516"/>
              <a:gd name="csY183" fmla="*/ 62191 h 1538630"/>
              <a:gd name="csX184" fmla="*/ 1198261 w 1609516"/>
              <a:gd name="csY184" fmla="*/ 68268 h 1538630"/>
              <a:gd name="csX185" fmla="*/ 1195723 w 1609516"/>
              <a:gd name="csY185" fmla="*/ 72672 h 1538630"/>
              <a:gd name="csX186" fmla="*/ 1193575 w 1609516"/>
              <a:gd name="csY186" fmla="*/ 75314 h 1538630"/>
              <a:gd name="csX187" fmla="*/ 1190450 w 1609516"/>
              <a:gd name="csY187" fmla="*/ 75314 h 1538630"/>
              <a:gd name="csX188" fmla="*/ 1189474 w 1609516"/>
              <a:gd name="csY188" fmla="*/ 79366 h 1538630"/>
              <a:gd name="csX189" fmla="*/ 1182445 w 1609516"/>
              <a:gd name="csY189" fmla="*/ 85707 h 1538630"/>
              <a:gd name="csX190" fmla="*/ 1177953 w 1609516"/>
              <a:gd name="csY190" fmla="*/ 86588 h 1538630"/>
              <a:gd name="csX191" fmla="*/ 1177953 w 1609516"/>
              <a:gd name="csY191" fmla="*/ 89406 h 1538630"/>
              <a:gd name="csX192" fmla="*/ 1170045 w 1609516"/>
              <a:gd name="csY192" fmla="*/ 94251 h 1538630"/>
              <a:gd name="csX193" fmla="*/ 1143806 w 1609516"/>
              <a:gd name="csY193" fmla="*/ 132828 h 1538630"/>
              <a:gd name="csX194" fmla="*/ 1137338 w 1609516"/>
              <a:gd name="csY194" fmla="*/ 141548 h 1538630"/>
              <a:gd name="csX195" fmla="*/ 1133970 w 1609516"/>
              <a:gd name="csY195" fmla="*/ 149403 h 1538630"/>
              <a:gd name="csX196" fmla="*/ 1127965 w 1609516"/>
              <a:gd name="csY196" fmla="*/ 164095 h 1538630"/>
              <a:gd name="csX197" fmla="*/ 1124762 w 1609516"/>
              <a:gd name="csY197" fmla="*/ 171802 h 1538630"/>
              <a:gd name="csX198" fmla="*/ 1119359 w 1609516"/>
              <a:gd name="csY198" fmla="*/ 184798 h 1538630"/>
              <a:gd name="csX199" fmla="*/ 1111014 w 1609516"/>
              <a:gd name="csY199" fmla="*/ 204941 h 1538630"/>
              <a:gd name="csX200" fmla="*/ 1109729 w 1609516"/>
              <a:gd name="csY200" fmla="*/ 208059 h 1538630"/>
              <a:gd name="csX201" fmla="*/ 1106395 w 1609516"/>
              <a:gd name="csY201" fmla="*/ 216170 h 1538630"/>
              <a:gd name="csX202" fmla="*/ 1102147 w 1609516"/>
              <a:gd name="csY202" fmla="*/ 224810 h 1538630"/>
              <a:gd name="csX203" fmla="*/ 1098261 w 1609516"/>
              <a:gd name="csY203" fmla="*/ 227262 h 1538630"/>
              <a:gd name="csX204" fmla="*/ 1098367 w 1609516"/>
              <a:gd name="csY204" fmla="*/ 238475 h 1538630"/>
              <a:gd name="csX205" fmla="*/ 1097331 w 1609516"/>
              <a:gd name="csY205" fmla="*/ 242358 h 1538630"/>
              <a:gd name="csX206" fmla="*/ 1096201 w 1609516"/>
              <a:gd name="csY206" fmla="*/ 246458 h 1538630"/>
              <a:gd name="csX207" fmla="*/ 1089440 w 1609516"/>
              <a:gd name="csY207" fmla="*/ 279206 h 1538630"/>
              <a:gd name="csX208" fmla="*/ 1087316 w 1609516"/>
              <a:gd name="csY208" fmla="*/ 283978 h 1538630"/>
              <a:gd name="csX209" fmla="*/ 1086822 w 1609516"/>
              <a:gd name="csY209" fmla="*/ 291822 h 1538630"/>
              <a:gd name="csX210" fmla="*/ 1086623 w 1609516"/>
              <a:gd name="csY210" fmla="*/ 296625 h 1538630"/>
              <a:gd name="csX211" fmla="*/ 1086437 w 1609516"/>
              <a:gd name="csY211" fmla="*/ 301681 h 1538630"/>
              <a:gd name="csX212" fmla="*/ 1086233 w 1609516"/>
              <a:gd name="csY212" fmla="*/ 306754 h 1538630"/>
              <a:gd name="csX213" fmla="*/ 1086007 w 1609516"/>
              <a:gd name="csY213" fmla="*/ 312619 h 1538630"/>
              <a:gd name="csX214" fmla="*/ 1087470 w 1609516"/>
              <a:gd name="csY214" fmla="*/ 320554 h 1538630"/>
              <a:gd name="csX215" fmla="*/ 1098285 w 1609516"/>
              <a:gd name="csY215" fmla="*/ 334611 h 1538630"/>
              <a:gd name="csX216" fmla="*/ 1102607 w 1609516"/>
              <a:gd name="csY216" fmla="*/ 337679 h 1538630"/>
              <a:gd name="csX217" fmla="*/ 1106095 w 1609516"/>
              <a:gd name="csY217" fmla="*/ 340248 h 1538630"/>
              <a:gd name="csX218" fmla="*/ 1106095 w 1609516"/>
              <a:gd name="csY218" fmla="*/ 343066 h 1538630"/>
              <a:gd name="csX219" fmla="*/ 1109220 w 1609516"/>
              <a:gd name="csY219" fmla="*/ 343419 h 1538630"/>
              <a:gd name="csX220" fmla="*/ 1126403 w 1609516"/>
              <a:gd name="csY220" fmla="*/ 350112 h 1538630"/>
              <a:gd name="csX221" fmla="*/ 1131871 w 1609516"/>
              <a:gd name="csY221" fmla="*/ 352579 h 1538630"/>
              <a:gd name="csX222" fmla="*/ 1135776 w 1609516"/>
              <a:gd name="csY222" fmla="*/ 354340 h 1538630"/>
              <a:gd name="csX223" fmla="*/ 1135776 w 1609516"/>
              <a:gd name="csY223" fmla="*/ 357158 h 1538630"/>
              <a:gd name="csX224" fmla="*/ 1170143 w 1609516"/>
              <a:gd name="csY224" fmla="*/ 354340 h 1538630"/>
              <a:gd name="csX225" fmla="*/ 1174634 w 1609516"/>
              <a:gd name="csY225" fmla="*/ 352579 h 1538630"/>
              <a:gd name="csX226" fmla="*/ 1190890 w 1609516"/>
              <a:gd name="csY226" fmla="*/ 342907 h 1538630"/>
              <a:gd name="csX227" fmla="*/ 1204021 w 1609516"/>
              <a:gd name="csY227" fmla="*/ 335404 h 1538630"/>
              <a:gd name="csX228" fmla="*/ 1223255 w 1609516"/>
              <a:gd name="csY228" fmla="*/ 319110 h 1538630"/>
              <a:gd name="csX229" fmla="*/ 1226868 w 1609516"/>
              <a:gd name="csY229" fmla="*/ 315587 h 1538630"/>
              <a:gd name="csX230" fmla="*/ 1231859 w 1609516"/>
              <a:gd name="csY230" fmla="*/ 303559 h 1538630"/>
              <a:gd name="csX231" fmla="*/ 1234178 w 1609516"/>
              <a:gd name="csY231" fmla="*/ 298059 h 1538630"/>
              <a:gd name="csX232" fmla="*/ 1237314 w 1609516"/>
              <a:gd name="csY232" fmla="*/ 288195 h 1538630"/>
              <a:gd name="csX233" fmla="*/ 1249811 w 1609516"/>
              <a:gd name="csY233" fmla="*/ 265559 h 1538630"/>
              <a:gd name="csX234" fmla="*/ 1252935 w 1609516"/>
              <a:gd name="csY234" fmla="*/ 265559 h 1538630"/>
              <a:gd name="csX235" fmla="*/ 1252935 w 1609516"/>
              <a:gd name="csY235" fmla="*/ 262741 h 1538630"/>
              <a:gd name="csX236" fmla="*/ 1296675 w 1609516"/>
              <a:gd name="csY236" fmla="*/ 252876 h 1538630"/>
              <a:gd name="csX237" fmla="*/ 1307609 w 1609516"/>
              <a:gd name="csY237" fmla="*/ 255695 h 1538630"/>
              <a:gd name="csX238" fmla="*/ 1307609 w 1609516"/>
              <a:gd name="csY238" fmla="*/ 258513 h 1538630"/>
              <a:gd name="csX239" fmla="*/ 1311887 w 1609516"/>
              <a:gd name="csY239" fmla="*/ 258832 h 1538630"/>
              <a:gd name="csX240" fmla="*/ 1326715 w 1609516"/>
              <a:gd name="csY240" fmla="*/ 269969 h 1538630"/>
              <a:gd name="csX241" fmla="*/ 1334165 w 1609516"/>
              <a:gd name="csY241" fmla="*/ 307836 h 1538630"/>
              <a:gd name="csX242" fmla="*/ 1329479 w 1609516"/>
              <a:gd name="csY242" fmla="*/ 314882 h 1538630"/>
              <a:gd name="csX243" fmla="*/ 1323231 w 1609516"/>
              <a:gd name="csY243" fmla="*/ 314882 h 1538630"/>
              <a:gd name="csX244" fmla="*/ 1323231 w 1609516"/>
              <a:gd name="csY244" fmla="*/ 317700 h 1538630"/>
              <a:gd name="csX245" fmla="*/ 1322774 w 1609516"/>
              <a:gd name="csY245" fmla="*/ 317838 h 1538630"/>
              <a:gd name="csX246" fmla="*/ 1323295 w 1609516"/>
              <a:gd name="csY246" fmla="*/ 317838 h 1538630"/>
              <a:gd name="csX247" fmla="*/ 1323295 w 1609516"/>
              <a:gd name="csY247" fmla="*/ 315019 h 1538630"/>
              <a:gd name="csX248" fmla="*/ 1327982 w 1609516"/>
              <a:gd name="csY248" fmla="*/ 315019 h 1538630"/>
              <a:gd name="csX249" fmla="*/ 1317047 w 1609516"/>
              <a:gd name="csY249" fmla="*/ 327702 h 1538630"/>
              <a:gd name="csX250" fmla="*/ 1315484 w 1609516"/>
              <a:gd name="csY250" fmla="*/ 331930 h 1538630"/>
              <a:gd name="csX251" fmla="*/ 1309139 w 1609516"/>
              <a:gd name="csY251" fmla="*/ 333603 h 1538630"/>
              <a:gd name="csX252" fmla="*/ 1305666 w 1609516"/>
              <a:gd name="csY252" fmla="*/ 334280 h 1538630"/>
              <a:gd name="csX253" fmla="*/ 1302988 w 1609516"/>
              <a:gd name="csY253" fmla="*/ 334748 h 1538630"/>
              <a:gd name="csX254" fmla="*/ 1305905 w 1609516"/>
              <a:gd name="csY254" fmla="*/ 332775 h 1538630"/>
              <a:gd name="csX255" fmla="*/ 1304485 w 1609516"/>
              <a:gd name="csY255" fmla="*/ 333202 h 1538630"/>
              <a:gd name="csX256" fmla="*/ 1301459 w 1609516"/>
              <a:gd name="csY256" fmla="*/ 336108 h 1538630"/>
              <a:gd name="csX257" fmla="*/ 1291989 w 1609516"/>
              <a:gd name="csY257" fmla="*/ 338839 h 1538630"/>
              <a:gd name="csX258" fmla="*/ 1290426 w 1609516"/>
              <a:gd name="csY258" fmla="*/ 343066 h 1538630"/>
              <a:gd name="csX259" fmla="*/ 1285740 w 1609516"/>
              <a:gd name="csY259" fmla="*/ 344123 h 1538630"/>
              <a:gd name="csX260" fmla="*/ 1237314 w 1609516"/>
              <a:gd name="csY260" fmla="*/ 382525 h 1538630"/>
              <a:gd name="csX261" fmla="*/ 1232628 w 1609516"/>
              <a:gd name="csY261" fmla="*/ 392389 h 1538630"/>
              <a:gd name="csX262" fmla="*/ 1228625 w 1609516"/>
              <a:gd name="csY262" fmla="*/ 398731 h 1538630"/>
              <a:gd name="csX263" fmla="*/ 1222822 w 1609516"/>
              <a:gd name="csY263" fmla="*/ 434798 h 1538630"/>
              <a:gd name="csX264" fmla="*/ 1260746 w 1609516"/>
              <a:gd name="csY264" fmla="*/ 485398 h 1538630"/>
              <a:gd name="csX265" fmla="*/ 1268556 w 1609516"/>
              <a:gd name="csY265" fmla="*/ 488216 h 1538630"/>
              <a:gd name="csX266" fmla="*/ 1268556 w 1609516"/>
              <a:gd name="csY266" fmla="*/ 491034 h 1538630"/>
              <a:gd name="csX267" fmla="*/ 1338852 w 1609516"/>
              <a:gd name="csY267" fmla="*/ 489625 h 1538630"/>
              <a:gd name="csX268" fmla="*/ 1347444 w 1609516"/>
              <a:gd name="csY268" fmla="*/ 488480 h 1538630"/>
              <a:gd name="csX269" fmla="*/ 1369362 w 1609516"/>
              <a:gd name="csY269" fmla="*/ 482513 h 1538630"/>
              <a:gd name="csX270" fmla="*/ 1388840 w 1609516"/>
              <a:gd name="csY270" fmla="*/ 478351 h 1538630"/>
              <a:gd name="csX271" fmla="*/ 1388840 w 1609516"/>
              <a:gd name="csY271" fmla="*/ 475533 h 1538630"/>
              <a:gd name="csX272" fmla="*/ 1395576 w 1609516"/>
              <a:gd name="csY272" fmla="*/ 473419 h 1538630"/>
              <a:gd name="csX273" fmla="*/ 1399365 w 1609516"/>
              <a:gd name="csY273" fmla="*/ 472230 h 1538630"/>
              <a:gd name="csX274" fmla="*/ 1407585 w 1609516"/>
              <a:gd name="csY274" fmla="*/ 471305 h 1538630"/>
              <a:gd name="csX275" fmla="*/ 1409147 w 1609516"/>
              <a:gd name="csY275" fmla="*/ 467078 h 1538630"/>
              <a:gd name="csX276" fmla="*/ 1416470 w 1609516"/>
              <a:gd name="csY276" fmla="*/ 464259 h 1538630"/>
              <a:gd name="csX277" fmla="*/ 1437949 w 1609516"/>
              <a:gd name="csY277" fmla="*/ 455011 h 1538630"/>
              <a:gd name="csX278" fmla="*/ 1452887 w 1609516"/>
              <a:gd name="csY278" fmla="*/ 450167 h 1538630"/>
              <a:gd name="csX279" fmla="*/ 1452887 w 1609516"/>
              <a:gd name="csY279" fmla="*/ 447349 h 1538630"/>
              <a:gd name="csX280" fmla="*/ 1455394 w 1609516"/>
              <a:gd name="csY280" fmla="*/ 446122 h 1538630"/>
              <a:gd name="csX281" fmla="*/ 1466653 w 1609516"/>
              <a:gd name="csY281" fmla="*/ 440567 h 1538630"/>
              <a:gd name="csX282" fmla="*/ 1470598 w 1609516"/>
              <a:gd name="csY282" fmla="*/ 438637 h 1538630"/>
              <a:gd name="csX283" fmla="*/ 1474397 w 1609516"/>
              <a:gd name="csY283" fmla="*/ 436752 h 1538630"/>
              <a:gd name="csX284" fmla="*/ 1477892 w 1609516"/>
              <a:gd name="csY284" fmla="*/ 435030 h 1538630"/>
              <a:gd name="csX285" fmla="*/ 1485691 w 1609516"/>
              <a:gd name="csY285" fmla="*/ 429029 h 1538630"/>
              <a:gd name="csX286" fmla="*/ 1488858 w 1609516"/>
              <a:gd name="csY286" fmla="*/ 427653 h 1538630"/>
              <a:gd name="csX287" fmla="*/ 1495943 w 1609516"/>
              <a:gd name="csY287" fmla="*/ 421454 h 1538630"/>
              <a:gd name="csX288" fmla="*/ 1538608 w 1609516"/>
              <a:gd name="csY288" fmla="*/ 388338 h 1538630"/>
              <a:gd name="csX289" fmla="*/ 1543490 w 1609516"/>
              <a:gd name="csY289" fmla="*/ 388161 h 1538630"/>
              <a:gd name="csX290" fmla="*/ 1547621 w 1609516"/>
              <a:gd name="csY290" fmla="*/ 387804 h 1538630"/>
              <a:gd name="csX291" fmla="*/ 1579418 w 1609516"/>
              <a:gd name="csY291" fmla="*/ 396617 h 1538630"/>
              <a:gd name="csX292" fmla="*/ 1583342 w 1609516"/>
              <a:gd name="csY292" fmla="*/ 398780 h 1538630"/>
              <a:gd name="csX293" fmla="*/ 1601288 w 1609516"/>
              <a:gd name="csY293" fmla="*/ 423392 h 1538630"/>
              <a:gd name="csX294" fmla="*/ 1594484 w 1609516"/>
              <a:gd name="csY294" fmla="*/ 460159 h 1538630"/>
              <a:gd name="csX295" fmla="*/ 1574732 w 1609516"/>
              <a:gd name="csY295" fmla="*/ 475533 h 1538630"/>
              <a:gd name="csX296" fmla="*/ 1572097 w 1609516"/>
              <a:gd name="csY296" fmla="*/ 477078 h 1538630"/>
              <a:gd name="csX297" fmla="*/ 1556066 w 1609516"/>
              <a:gd name="csY297" fmla="*/ 478737 h 1538630"/>
              <a:gd name="csX298" fmla="*/ 1548631 w 1609516"/>
              <a:gd name="csY298" fmla="*/ 478825 h 1538630"/>
              <a:gd name="csX299" fmla="*/ 1536991 w 1609516"/>
              <a:gd name="csY299" fmla="*/ 478889 h 1538630"/>
              <a:gd name="csX300" fmla="*/ 1498188 w 1609516"/>
              <a:gd name="csY300" fmla="*/ 485398 h 1538630"/>
              <a:gd name="csX301" fmla="*/ 1493892 w 1609516"/>
              <a:gd name="csY301" fmla="*/ 487600 h 1538630"/>
              <a:gd name="csX302" fmla="*/ 1490377 w 1609516"/>
              <a:gd name="csY302" fmla="*/ 489625 h 1538630"/>
              <a:gd name="csX303" fmla="*/ 1471650 w 1609516"/>
              <a:gd name="csY303" fmla="*/ 498185 h 1538630"/>
              <a:gd name="csX304" fmla="*/ 1459135 w 1609516"/>
              <a:gd name="csY304" fmla="*/ 505127 h 1538630"/>
              <a:gd name="csX305" fmla="*/ 1452594 w 1609516"/>
              <a:gd name="csY305" fmla="*/ 508033 h 1538630"/>
              <a:gd name="csX306" fmla="*/ 1427795 w 1609516"/>
              <a:gd name="csY306" fmla="*/ 520100 h 1538630"/>
              <a:gd name="csX307" fmla="*/ 1423733 w 1609516"/>
              <a:gd name="csY307" fmla="*/ 522148 h 1538630"/>
              <a:gd name="csX308" fmla="*/ 1419929 w 1609516"/>
              <a:gd name="csY308" fmla="*/ 524118 h 1538630"/>
              <a:gd name="csX309" fmla="*/ 1416487 w 1609516"/>
              <a:gd name="csY309" fmla="*/ 525883 h 1538630"/>
              <a:gd name="csX310" fmla="*/ 1412271 w 1609516"/>
              <a:gd name="csY310" fmla="*/ 531902 h 1538630"/>
              <a:gd name="csX311" fmla="*/ 1396650 w 1609516"/>
              <a:gd name="csY311" fmla="*/ 537539 h 1538630"/>
              <a:gd name="csX312" fmla="*/ 1396650 w 1609516"/>
              <a:gd name="csY312" fmla="*/ 540357 h 1538630"/>
              <a:gd name="csX313" fmla="*/ 1393495 w 1609516"/>
              <a:gd name="csY313" fmla="*/ 541502 h 1538630"/>
              <a:gd name="csX314" fmla="*/ 1362284 w 1609516"/>
              <a:gd name="csY314" fmla="*/ 558678 h 1538630"/>
              <a:gd name="csX315" fmla="*/ 1355937 w 1609516"/>
              <a:gd name="csY315" fmla="*/ 562905 h 1538630"/>
              <a:gd name="csX316" fmla="*/ 1334165 w 1609516"/>
              <a:gd name="csY316" fmla="*/ 578406 h 1538630"/>
              <a:gd name="csX317" fmla="*/ 1331200 w 1609516"/>
              <a:gd name="csY317" fmla="*/ 580559 h 1538630"/>
              <a:gd name="csX318" fmla="*/ 1322175 w 1609516"/>
              <a:gd name="csY318" fmla="*/ 596793 h 1538630"/>
              <a:gd name="csX319" fmla="*/ 1320106 w 1609516"/>
              <a:gd name="csY319" fmla="*/ 602363 h 1538630"/>
              <a:gd name="csX320" fmla="*/ 1328015 w 1609516"/>
              <a:gd name="csY320" fmla="*/ 647640 h 1538630"/>
              <a:gd name="csX321" fmla="*/ 1332604 w 1609516"/>
              <a:gd name="csY321" fmla="*/ 675643 h 1538630"/>
              <a:gd name="csX322" fmla="*/ 1335727 w 1609516"/>
              <a:gd name="csY322" fmla="*/ 675643 h 1538630"/>
              <a:gd name="csX323" fmla="*/ 1337741 w 1609516"/>
              <a:gd name="csY323" fmla="*/ 690059 h 1538630"/>
              <a:gd name="csX324" fmla="*/ 1338003 w 1609516"/>
              <a:gd name="csY324" fmla="*/ 696222 h 1538630"/>
              <a:gd name="csX325" fmla="*/ 1338340 w 1609516"/>
              <a:gd name="csY325" fmla="*/ 705887 h 1538630"/>
              <a:gd name="csX326" fmla="*/ 1345277 w 1609516"/>
              <a:gd name="csY326" fmla="*/ 733245 h 1538630"/>
              <a:gd name="csX327" fmla="*/ 1363162 w 1609516"/>
              <a:gd name="csY327" fmla="*/ 741612 h 1538630"/>
              <a:gd name="csX328" fmla="*/ 1384154 w 1609516"/>
              <a:gd name="csY328" fmla="*/ 748922 h 1538630"/>
              <a:gd name="csX329" fmla="*/ 1391476 w 1609516"/>
              <a:gd name="csY329" fmla="*/ 750419 h 1538630"/>
              <a:gd name="csX330" fmla="*/ 1395564 w 1609516"/>
              <a:gd name="csY330" fmla="*/ 751080 h 1538630"/>
              <a:gd name="csX331" fmla="*/ 1399775 w 1609516"/>
              <a:gd name="csY331" fmla="*/ 751740 h 1538630"/>
              <a:gd name="csX332" fmla="*/ 1403887 w 1609516"/>
              <a:gd name="csY332" fmla="*/ 752489 h 1538630"/>
              <a:gd name="csX333" fmla="*/ 1465383 w 1609516"/>
              <a:gd name="csY333" fmla="*/ 755969 h 1538630"/>
              <a:gd name="csX334" fmla="*/ 1470339 w 1609516"/>
              <a:gd name="csY334" fmla="*/ 755897 h 1538630"/>
              <a:gd name="csX335" fmla="*/ 1496809 w 1609516"/>
              <a:gd name="csY335" fmla="*/ 749313 h 1538630"/>
              <a:gd name="csX336" fmla="*/ 1515371 w 1609516"/>
              <a:gd name="csY336" fmla="*/ 743285 h 1538630"/>
              <a:gd name="csX337" fmla="*/ 1515371 w 1609516"/>
              <a:gd name="csY337" fmla="*/ 740467 h 1538630"/>
              <a:gd name="csX338" fmla="*/ 1537632 w 1609516"/>
              <a:gd name="csY338" fmla="*/ 737120 h 1538630"/>
              <a:gd name="csX339" fmla="*/ 1541657 w 1609516"/>
              <a:gd name="csY339" fmla="*/ 737127 h 1538630"/>
              <a:gd name="csX340" fmla="*/ 1574732 w 1609516"/>
              <a:gd name="csY340" fmla="*/ 748922 h 1538630"/>
              <a:gd name="csX341" fmla="*/ 1588791 w 1609516"/>
              <a:gd name="csY341" fmla="*/ 792608 h 1538630"/>
              <a:gd name="csX342" fmla="*/ 1584105 w 1609516"/>
              <a:gd name="csY342" fmla="*/ 805291 h 1538630"/>
              <a:gd name="csX343" fmla="*/ 1580981 w 1609516"/>
              <a:gd name="csY343" fmla="*/ 806700 h 1538630"/>
              <a:gd name="csX344" fmla="*/ 1578735 w 1609516"/>
              <a:gd name="csY344" fmla="*/ 810311 h 1538630"/>
              <a:gd name="csX345" fmla="*/ 1576295 w 1609516"/>
              <a:gd name="csY345" fmla="*/ 813746 h 1538630"/>
              <a:gd name="csX346" fmla="*/ 1571652 w 1609516"/>
              <a:gd name="csY346" fmla="*/ 813746 h 1538630"/>
              <a:gd name="csX347" fmla="*/ 1571785 w 1609516"/>
              <a:gd name="csY347" fmla="*/ 814106 h 1538630"/>
              <a:gd name="csX348" fmla="*/ 1574909 w 1609516"/>
              <a:gd name="csY348" fmla="*/ 815515 h 1538630"/>
              <a:gd name="csX349" fmla="*/ 1565463 w 1609516"/>
              <a:gd name="csY349" fmla="*/ 821839 h 1538630"/>
              <a:gd name="csX350" fmla="*/ 1562085 w 1609516"/>
              <a:gd name="csY350" fmla="*/ 822101 h 1538630"/>
              <a:gd name="csX351" fmla="*/ 1551301 w 1609516"/>
              <a:gd name="csY351" fmla="*/ 825020 h 1538630"/>
              <a:gd name="csX352" fmla="*/ 1551301 w 1609516"/>
              <a:gd name="csY352" fmla="*/ 827838 h 1538630"/>
              <a:gd name="csX353" fmla="*/ 1485380 w 1609516"/>
              <a:gd name="csY353" fmla="*/ 815007 h 1538630"/>
              <a:gd name="csX354" fmla="*/ 1431603 w 1609516"/>
              <a:gd name="csY354" fmla="*/ 808726 h 1538630"/>
              <a:gd name="csX355" fmla="*/ 1424140 w 1609516"/>
              <a:gd name="csY355" fmla="*/ 808542 h 1538630"/>
              <a:gd name="csX356" fmla="*/ 1406023 w 1609516"/>
              <a:gd name="csY356" fmla="*/ 808109 h 1538630"/>
              <a:gd name="csX357" fmla="*/ 1406023 w 1609516"/>
              <a:gd name="csY357" fmla="*/ 810928 h 1538630"/>
              <a:gd name="csX358" fmla="*/ 1403383 w 1609516"/>
              <a:gd name="csY358" fmla="*/ 811311 h 1538630"/>
              <a:gd name="csX359" fmla="*/ 1345442 w 1609516"/>
              <a:gd name="csY359" fmla="*/ 828907 h 1538630"/>
              <a:gd name="csX360" fmla="*/ 1337875 w 1609516"/>
              <a:gd name="csY360" fmla="*/ 856639 h 1538630"/>
              <a:gd name="csX361" fmla="*/ 1337692 w 1609516"/>
              <a:gd name="csY361" fmla="*/ 860171 h 1538630"/>
              <a:gd name="csX362" fmla="*/ 1337290 w 1609516"/>
              <a:gd name="csY362" fmla="*/ 868706 h 1538630"/>
              <a:gd name="csX363" fmla="*/ 1334165 w 1609516"/>
              <a:gd name="csY363" fmla="*/ 868706 h 1538630"/>
              <a:gd name="csX364" fmla="*/ 1334165 w 1609516"/>
              <a:gd name="csY364" fmla="*/ 870034 h 1538630"/>
              <a:gd name="csX365" fmla="*/ 1334237 w 1609516"/>
              <a:gd name="csY365" fmla="*/ 869093 h 1538630"/>
              <a:gd name="csX366" fmla="*/ 1335800 w 1609516"/>
              <a:gd name="csY366" fmla="*/ 869093 h 1538630"/>
              <a:gd name="csX367" fmla="*/ 1335995 w 1609516"/>
              <a:gd name="csY367" fmla="*/ 876491 h 1538630"/>
              <a:gd name="csX368" fmla="*/ 1336105 w 1609516"/>
              <a:gd name="csY368" fmla="*/ 880653 h 1538630"/>
              <a:gd name="csX369" fmla="*/ 1334294 w 1609516"/>
              <a:gd name="csY369" fmla="*/ 887271 h 1538630"/>
              <a:gd name="csX370" fmla="*/ 1331455 w 1609516"/>
              <a:gd name="csY370" fmla="*/ 896440 h 1538630"/>
              <a:gd name="csX371" fmla="*/ 1330887 w 1609516"/>
              <a:gd name="csY371" fmla="*/ 899969 h 1538630"/>
              <a:gd name="csX372" fmla="*/ 1330332 w 1609516"/>
              <a:gd name="csY372" fmla="*/ 903618 h 1538630"/>
              <a:gd name="csX373" fmla="*/ 1329209 w 1609516"/>
              <a:gd name="csY373" fmla="*/ 910797 h 1538630"/>
              <a:gd name="csX374" fmla="*/ 1328724 w 1609516"/>
              <a:gd name="csY374" fmla="*/ 913998 h 1538630"/>
              <a:gd name="csX375" fmla="*/ 1324865 w 1609516"/>
              <a:gd name="csY375" fmla="*/ 922643 h 1538630"/>
              <a:gd name="csX376" fmla="*/ 1322619 w 1609516"/>
              <a:gd name="csY376" fmla="*/ 937979 h 1538630"/>
              <a:gd name="csX377" fmla="*/ 1318744 w 1609516"/>
              <a:gd name="csY377" fmla="*/ 944961 h 1538630"/>
              <a:gd name="csX378" fmla="*/ 1318544 w 1609516"/>
              <a:gd name="csY378" fmla="*/ 946213 h 1538630"/>
              <a:gd name="csX379" fmla="*/ 1318251 w 1609516"/>
              <a:gd name="csY379" fmla="*/ 955285 h 1538630"/>
              <a:gd name="csX380" fmla="*/ 1318184 w 1609516"/>
              <a:gd name="csY380" fmla="*/ 960036 h 1538630"/>
              <a:gd name="csX381" fmla="*/ 1324024 w 1609516"/>
              <a:gd name="csY381" fmla="*/ 973660 h 1538630"/>
              <a:gd name="csX382" fmla="*/ 1329284 w 1609516"/>
              <a:gd name="csY382" fmla="*/ 983382 h 1538630"/>
              <a:gd name="csX383" fmla="*/ 1340414 w 1609516"/>
              <a:gd name="csY383" fmla="*/ 998354 h 1538630"/>
              <a:gd name="csX384" fmla="*/ 1346272 w 1609516"/>
              <a:gd name="csY384" fmla="*/ 1005048 h 1538630"/>
              <a:gd name="csX385" fmla="*/ 1394716 w 1609516"/>
              <a:gd name="csY385" fmla="*/ 1042740 h 1538630"/>
              <a:gd name="csX386" fmla="*/ 1401953 w 1609516"/>
              <a:gd name="csY386" fmla="*/ 1047374 h 1538630"/>
              <a:gd name="csX387" fmla="*/ 1427197 w 1609516"/>
              <a:gd name="csY387" fmla="*/ 1059061 h 1538630"/>
              <a:gd name="csX388" fmla="*/ 1437265 w 1609516"/>
              <a:gd name="csY388" fmla="*/ 1064588 h 1538630"/>
              <a:gd name="csX389" fmla="*/ 1437265 w 1609516"/>
              <a:gd name="csY389" fmla="*/ 1067406 h 1538630"/>
              <a:gd name="csX390" fmla="*/ 1440878 w 1609516"/>
              <a:gd name="csY390" fmla="*/ 1067847 h 1538630"/>
              <a:gd name="csX391" fmla="*/ 1447175 w 1609516"/>
              <a:gd name="csY391" fmla="*/ 1070753 h 1538630"/>
              <a:gd name="csX392" fmla="*/ 1457866 w 1609516"/>
              <a:gd name="csY392" fmla="*/ 1076830 h 1538630"/>
              <a:gd name="csX393" fmla="*/ 1462132 w 1609516"/>
              <a:gd name="csY393" fmla="*/ 1078696 h 1538630"/>
              <a:gd name="csX394" fmla="*/ 1465383 w 1609516"/>
              <a:gd name="csY394" fmla="*/ 1080089 h 1538630"/>
              <a:gd name="csX395" fmla="*/ 1465383 w 1609516"/>
              <a:gd name="csY395" fmla="*/ 1082908 h 1538630"/>
              <a:gd name="csX396" fmla="*/ 1468758 w 1609516"/>
              <a:gd name="csY396" fmla="*/ 1083975 h 1538630"/>
              <a:gd name="csX397" fmla="*/ 1481688 w 1609516"/>
              <a:gd name="csY397" fmla="*/ 1091187 h 1538630"/>
              <a:gd name="csX398" fmla="*/ 1486283 w 1609516"/>
              <a:gd name="csY398" fmla="*/ 1094236 h 1538630"/>
              <a:gd name="csX399" fmla="*/ 1494869 w 1609516"/>
              <a:gd name="csY399" fmla="*/ 1100171 h 1538630"/>
              <a:gd name="csX400" fmla="*/ 1544335 w 1609516"/>
              <a:gd name="csY400" fmla="*/ 1109518 h 1538630"/>
              <a:gd name="csX401" fmla="*/ 1593477 w 1609516"/>
              <a:gd name="csY401" fmla="*/ 1119900 h 1538630"/>
              <a:gd name="csX402" fmla="*/ 1605975 w 1609516"/>
              <a:gd name="csY402" fmla="*/ 1144913 h 1538630"/>
              <a:gd name="csX403" fmla="*/ 1609099 w 1609516"/>
              <a:gd name="csY403" fmla="*/ 1144913 h 1538630"/>
              <a:gd name="csX404" fmla="*/ 1609392 w 1609516"/>
              <a:gd name="csY404" fmla="*/ 1156892 h 1538630"/>
              <a:gd name="csX405" fmla="*/ 1609511 w 1609516"/>
              <a:gd name="csY405" fmla="*/ 1160272 h 1538630"/>
              <a:gd name="csX406" fmla="*/ 1604412 w 1609516"/>
              <a:gd name="csY406" fmla="*/ 1181553 h 1538630"/>
              <a:gd name="csX407" fmla="*/ 1601288 w 1609516"/>
              <a:gd name="csY407" fmla="*/ 1190009 h 1538630"/>
              <a:gd name="csX408" fmla="*/ 1598164 w 1609516"/>
              <a:gd name="csY408" fmla="*/ 1190009 h 1538630"/>
              <a:gd name="csX409" fmla="*/ 1597187 w 1609516"/>
              <a:gd name="csY409" fmla="*/ 1192739 h 1538630"/>
              <a:gd name="csX410" fmla="*/ 1595040 w 1609516"/>
              <a:gd name="csY410" fmla="*/ 1195645 h 1538630"/>
              <a:gd name="csX411" fmla="*/ 1585667 w 1609516"/>
              <a:gd name="csY411" fmla="*/ 1197055 h 1538630"/>
              <a:gd name="csX412" fmla="*/ 1582543 w 1609516"/>
              <a:gd name="csY412" fmla="*/ 1202691 h 1538630"/>
              <a:gd name="csX413" fmla="*/ 1562431 w 1609516"/>
              <a:gd name="csY413" fmla="*/ 1204365 h 1538630"/>
              <a:gd name="csX414" fmla="*/ 1558690 w 1609516"/>
              <a:gd name="csY414" fmla="*/ 1204417 h 1538630"/>
              <a:gd name="csX415" fmla="*/ 1521102 w 1609516"/>
              <a:gd name="csY415" fmla="*/ 1189585 h 1538630"/>
              <a:gd name="csX416" fmla="*/ 1505022 w 1609516"/>
              <a:gd name="csY416" fmla="*/ 1172041 h 1538630"/>
              <a:gd name="csX417" fmla="*/ 1457573 w 1609516"/>
              <a:gd name="csY417" fmla="*/ 1140686 h 1538630"/>
              <a:gd name="csX418" fmla="*/ 1457573 w 1609516"/>
              <a:gd name="csY418" fmla="*/ 1137867 h 1538630"/>
              <a:gd name="csX419" fmla="*/ 1452985 w 1609516"/>
              <a:gd name="csY419" fmla="*/ 1137339 h 1538630"/>
              <a:gd name="csX420" fmla="*/ 1448200 w 1609516"/>
              <a:gd name="csY420" fmla="*/ 1136458 h 1538630"/>
              <a:gd name="csX421" fmla="*/ 1446638 w 1609516"/>
              <a:gd name="csY421" fmla="*/ 1133640 h 1538630"/>
              <a:gd name="csX422" fmla="*/ 1438937 w 1609516"/>
              <a:gd name="csY422" fmla="*/ 1130601 h 1538630"/>
              <a:gd name="csX423" fmla="*/ 1429260 w 1609516"/>
              <a:gd name="csY423" fmla="*/ 1126770 h 1538630"/>
              <a:gd name="csX424" fmla="*/ 1411393 w 1609516"/>
              <a:gd name="csY424" fmla="*/ 1120340 h 1538630"/>
              <a:gd name="csX425" fmla="*/ 1391427 w 1609516"/>
              <a:gd name="csY425" fmla="*/ 1111191 h 1538630"/>
              <a:gd name="csX426" fmla="*/ 1381029 w 1609516"/>
              <a:gd name="csY426" fmla="*/ 1106865 h 1538630"/>
              <a:gd name="csX427" fmla="*/ 1381029 w 1609516"/>
              <a:gd name="csY427" fmla="*/ 1104046 h 1538630"/>
              <a:gd name="csX428" fmla="*/ 1377221 w 1609516"/>
              <a:gd name="csY428" fmla="*/ 1103605 h 1538630"/>
              <a:gd name="csX429" fmla="*/ 1357597 w 1609516"/>
              <a:gd name="csY429" fmla="*/ 1098409 h 1538630"/>
              <a:gd name="csX430" fmla="*/ 1352032 w 1609516"/>
              <a:gd name="csY430" fmla="*/ 1096736 h 1538630"/>
              <a:gd name="csX431" fmla="*/ 1348225 w 1609516"/>
              <a:gd name="csY431" fmla="*/ 1095590 h 1538630"/>
              <a:gd name="csX432" fmla="*/ 1348225 w 1609516"/>
              <a:gd name="csY432" fmla="*/ 1092772 h 1538630"/>
              <a:gd name="csX433" fmla="*/ 1337290 w 1609516"/>
              <a:gd name="csY433" fmla="*/ 1091363 h 1538630"/>
              <a:gd name="csX434" fmla="*/ 1337290 w 1609516"/>
              <a:gd name="csY434" fmla="*/ 1088544 h 1538630"/>
              <a:gd name="csX435" fmla="*/ 1331529 w 1609516"/>
              <a:gd name="csY435" fmla="*/ 1088104 h 1538630"/>
              <a:gd name="csX436" fmla="*/ 1323297 w 1609516"/>
              <a:gd name="csY436" fmla="*/ 1086611 h 1538630"/>
              <a:gd name="csX437" fmla="*/ 1323297 w 1609516"/>
              <a:gd name="csY437" fmla="*/ 1087618 h 1538630"/>
              <a:gd name="csX438" fmla="*/ 1319789 w 1609516"/>
              <a:gd name="csY438" fmla="*/ 1087310 h 1538630"/>
              <a:gd name="csX439" fmla="*/ 1262375 w 1609516"/>
              <a:gd name="csY439" fmla="*/ 1089028 h 1538630"/>
              <a:gd name="csX440" fmla="*/ 1258728 w 1609516"/>
              <a:gd name="csY440" fmla="*/ 1088205 h 1538630"/>
              <a:gd name="csX441" fmla="*/ 1246964 w 1609516"/>
              <a:gd name="csY441" fmla="*/ 1091489 h 1538630"/>
              <a:gd name="csX442" fmla="*/ 1223224 w 1609516"/>
              <a:gd name="csY442" fmla="*/ 1112865 h 1538630"/>
              <a:gd name="csX443" fmla="*/ 1213883 w 1609516"/>
              <a:gd name="csY443" fmla="*/ 1122366 h 1538630"/>
              <a:gd name="csX444" fmla="*/ 1212505 w 1609516"/>
              <a:gd name="csY444" fmla="*/ 1125708 h 1538630"/>
              <a:gd name="csX445" fmla="*/ 1204180 w 1609516"/>
              <a:gd name="csY445" fmla="*/ 1135561 h 1538630"/>
              <a:gd name="csX446" fmla="*/ 1200238 w 1609516"/>
              <a:gd name="csY446" fmla="*/ 1138999 h 1538630"/>
              <a:gd name="csX447" fmla="*/ 1192025 w 1609516"/>
              <a:gd name="csY447" fmla="*/ 1146022 h 1538630"/>
              <a:gd name="csX448" fmla="*/ 1173945 w 1609516"/>
              <a:gd name="csY448" fmla="*/ 1174749 h 1538630"/>
              <a:gd name="csX449" fmla="*/ 1173950 w 1609516"/>
              <a:gd name="csY449" fmla="*/ 1182610 h 1538630"/>
              <a:gd name="csX450" fmla="*/ 1173989 w 1609516"/>
              <a:gd name="csY450" fmla="*/ 1186765 h 1538630"/>
              <a:gd name="csX451" fmla="*/ 1182640 w 1609516"/>
              <a:gd name="csY451" fmla="*/ 1215374 h 1538630"/>
              <a:gd name="csX452" fmla="*/ 1185764 w 1609516"/>
              <a:gd name="csY452" fmla="*/ 1221804 h 1538630"/>
              <a:gd name="csX453" fmla="*/ 1187301 w 1609516"/>
              <a:gd name="csY453" fmla="*/ 1224859 h 1538630"/>
              <a:gd name="csX454" fmla="*/ 1190573 w 1609516"/>
              <a:gd name="csY454" fmla="*/ 1231740 h 1538630"/>
              <a:gd name="csX455" fmla="*/ 1205925 w 1609516"/>
              <a:gd name="csY455" fmla="*/ 1255163 h 1538630"/>
              <a:gd name="csX456" fmla="*/ 1212174 w 1609516"/>
              <a:gd name="csY456" fmla="*/ 1263134 h 1538630"/>
              <a:gd name="csX457" fmla="*/ 1235556 w 1609516"/>
              <a:gd name="csY457" fmla="*/ 1282538 h 1538630"/>
              <a:gd name="csX458" fmla="*/ 1238876 w 1609516"/>
              <a:gd name="csY458" fmla="*/ 1284426 h 1538630"/>
              <a:gd name="csX459" fmla="*/ 1238876 w 1609516"/>
              <a:gd name="csY459" fmla="*/ 1287245 h 1538630"/>
              <a:gd name="csX460" fmla="*/ 1242245 w 1609516"/>
              <a:gd name="csY460" fmla="*/ 1287663 h 1538630"/>
              <a:gd name="csX461" fmla="*/ 1271681 w 1609516"/>
              <a:gd name="csY461" fmla="*/ 1305565 h 1538630"/>
              <a:gd name="csX462" fmla="*/ 1271742 w 1609516"/>
              <a:gd name="csY462" fmla="*/ 1306172 h 1538630"/>
              <a:gd name="csX463" fmla="*/ 1278525 w 1609516"/>
              <a:gd name="csY463" fmla="*/ 1315767 h 1538630"/>
              <a:gd name="csX464" fmla="*/ 1281097 w 1609516"/>
              <a:gd name="csY464" fmla="*/ 1327286 h 1538630"/>
              <a:gd name="csX465" fmla="*/ 1277973 w 1609516"/>
              <a:gd name="csY465" fmla="*/ 1355470 h 1538630"/>
              <a:gd name="csX466" fmla="*/ 1277460 w 1609516"/>
              <a:gd name="csY466" fmla="*/ 1347025 h 1538630"/>
              <a:gd name="csX467" fmla="*/ 1273531 w 1609516"/>
              <a:gd name="csY467" fmla="*/ 1357991 h 1538630"/>
              <a:gd name="csX468" fmla="*/ 1263870 w 1609516"/>
              <a:gd name="csY468" fmla="*/ 1368980 h 1538630"/>
              <a:gd name="csX469" fmla="*/ 1246686 w 1609516"/>
              <a:gd name="csY469" fmla="*/ 1376026 h 1538630"/>
              <a:gd name="csX470" fmla="*/ 1246686 w 1609516"/>
              <a:gd name="csY470" fmla="*/ 1378844 h 1538630"/>
              <a:gd name="csX471" fmla="*/ 1231651 w 1609516"/>
              <a:gd name="csY471" fmla="*/ 1379196 h 1538630"/>
              <a:gd name="csX472" fmla="*/ 1227373 w 1609516"/>
              <a:gd name="csY472" fmla="*/ 1379340 h 1538630"/>
              <a:gd name="csX473" fmla="*/ 1206071 w 1609516"/>
              <a:gd name="csY473" fmla="*/ 1373207 h 1538630"/>
              <a:gd name="csX474" fmla="*/ 1202069 w 1609516"/>
              <a:gd name="csY474" fmla="*/ 1371798 h 1538630"/>
              <a:gd name="csX475" fmla="*/ 1184104 w 1609516"/>
              <a:gd name="csY475" fmla="*/ 1356176 h 1538630"/>
              <a:gd name="csX476" fmla="*/ 1177270 w 1609516"/>
              <a:gd name="csY476" fmla="*/ 1335247 h 1538630"/>
              <a:gd name="csX477" fmla="*/ 1169002 w 1609516"/>
              <a:gd name="csY477" fmla="*/ 1313464 h 1538630"/>
              <a:gd name="csX478" fmla="*/ 1163504 w 1609516"/>
              <a:gd name="csY478" fmla="*/ 1302130 h 1538630"/>
              <a:gd name="csX479" fmla="*/ 1162015 w 1609516"/>
              <a:gd name="csY479" fmla="*/ 1298788 h 1538630"/>
              <a:gd name="csX480" fmla="*/ 1160111 w 1609516"/>
              <a:gd name="csY480" fmla="*/ 1292656 h 1538630"/>
              <a:gd name="csX481" fmla="*/ 1154522 w 1609516"/>
              <a:gd name="csY481" fmla="*/ 1287245 h 1538630"/>
              <a:gd name="csX482" fmla="*/ 1151398 w 1609516"/>
              <a:gd name="csY482" fmla="*/ 1280199 h 1538630"/>
              <a:gd name="csX483" fmla="*/ 1144173 w 1609516"/>
              <a:gd name="csY483" fmla="*/ 1270774 h 1538630"/>
              <a:gd name="csX484" fmla="*/ 1142065 w 1609516"/>
              <a:gd name="csY484" fmla="*/ 1268160 h 1538630"/>
              <a:gd name="csX485" fmla="*/ 1135776 w 1609516"/>
              <a:gd name="csY485" fmla="*/ 1260470 h 1538630"/>
              <a:gd name="csX486" fmla="*/ 1132353 w 1609516"/>
              <a:gd name="csY486" fmla="*/ 1256247 h 1538630"/>
              <a:gd name="csX487" fmla="*/ 1112344 w 1609516"/>
              <a:gd name="csY487" fmla="*/ 1240741 h 1538630"/>
              <a:gd name="csX488" fmla="*/ 1106193 w 1609516"/>
              <a:gd name="csY488" fmla="*/ 1237570 h 1538630"/>
              <a:gd name="csX489" fmla="*/ 1101409 w 1609516"/>
              <a:gd name="csY489" fmla="*/ 1235104 h 1538630"/>
              <a:gd name="csX490" fmla="*/ 1101409 w 1609516"/>
              <a:gd name="csY490" fmla="*/ 1230876 h 1538630"/>
              <a:gd name="csX491" fmla="*/ 1065480 w 1609516"/>
              <a:gd name="csY491" fmla="*/ 1230876 h 1538630"/>
              <a:gd name="csX492" fmla="*/ 1063919 w 1609516"/>
              <a:gd name="csY492" fmla="*/ 1235104 h 1538630"/>
              <a:gd name="csX493" fmla="*/ 1059232 w 1609516"/>
              <a:gd name="csY493" fmla="*/ 1235104 h 1538630"/>
              <a:gd name="csX494" fmla="*/ 1059232 w 1609516"/>
              <a:gd name="csY494" fmla="*/ 1237922 h 1538630"/>
              <a:gd name="csX495" fmla="*/ 1040194 w 1609516"/>
              <a:gd name="csY495" fmla="*/ 1245761 h 1538630"/>
              <a:gd name="csX496" fmla="*/ 1030333 w 1609516"/>
              <a:gd name="csY496" fmla="*/ 1249901 h 1538630"/>
              <a:gd name="csX497" fmla="*/ 1013931 w 1609516"/>
              <a:gd name="csY497" fmla="*/ 1256242 h 1538630"/>
              <a:gd name="csX498" fmla="*/ 1005925 w 1609516"/>
              <a:gd name="csY498" fmla="*/ 1261615 h 1538630"/>
              <a:gd name="csX499" fmla="*/ 1004558 w 1609516"/>
              <a:gd name="csY499" fmla="*/ 1264697 h 1538630"/>
              <a:gd name="csX500" fmla="*/ 1002959 w 1609516"/>
              <a:gd name="csY500" fmla="*/ 1267961 h 1538630"/>
              <a:gd name="csX501" fmla="*/ 1000653 w 1609516"/>
              <a:gd name="csY501" fmla="*/ 1278965 h 1538630"/>
              <a:gd name="csX502" fmla="*/ 998297 w 1609516"/>
              <a:gd name="csY502" fmla="*/ 1294137 h 1538630"/>
              <a:gd name="csX503" fmla="*/ 996162 w 1609516"/>
              <a:gd name="csY503" fmla="*/ 1324765 h 1538630"/>
              <a:gd name="csX504" fmla="*/ 996164 w 1609516"/>
              <a:gd name="csY504" fmla="*/ 1327846 h 1538630"/>
              <a:gd name="csX505" fmla="*/ 1007780 w 1609516"/>
              <a:gd name="csY505" fmla="*/ 1403329 h 1538630"/>
              <a:gd name="csX506" fmla="*/ 1008940 w 1609516"/>
              <a:gd name="csY506" fmla="*/ 1407701 h 1538630"/>
              <a:gd name="csX507" fmla="*/ 1010080 w 1609516"/>
              <a:gd name="csY507" fmla="*/ 1411730 h 1538630"/>
              <a:gd name="csX508" fmla="*/ 1011075 w 1609516"/>
              <a:gd name="csY508" fmla="*/ 1415277 h 1538630"/>
              <a:gd name="csX509" fmla="*/ 1017055 w 1609516"/>
              <a:gd name="csY509" fmla="*/ 1422530 h 1538630"/>
              <a:gd name="csX510" fmla="*/ 1020277 w 1609516"/>
              <a:gd name="csY510" fmla="*/ 1427991 h 1538630"/>
              <a:gd name="csX511" fmla="*/ 1021796 w 1609516"/>
              <a:gd name="csY511" fmla="*/ 1430798 h 1538630"/>
              <a:gd name="csX512" fmla="*/ 1024579 w 1609516"/>
              <a:gd name="csY512" fmla="*/ 1437239 h 1538630"/>
              <a:gd name="csX513" fmla="*/ 1034043 w 1609516"/>
              <a:gd name="csY513" fmla="*/ 1448072 h 1538630"/>
              <a:gd name="csX514" fmla="*/ 1043782 w 1609516"/>
              <a:gd name="csY514" fmla="*/ 1464320 h 1538630"/>
              <a:gd name="csX515" fmla="*/ 1050458 w 1609516"/>
              <a:gd name="csY515" fmla="*/ 1472189 h 1538630"/>
              <a:gd name="csX516" fmla="*/ 1052926 w 1609516"/>
              <a:gd name="csY516" fmla="*/ 1482370 h 1538630"/>
              <a:gd name="csX517" fmla="*/ 1053316 w 1609516"/>
              <a:gd name="csY517" fmla="*/ 1496903 h 1538630"/>
              <a:gd name="csX518" fmla="*/ 1053352 w 1609516"/>
              <a:gd name="csY518" fmla="*/ 1500660 h 1538630"/>
              <a:gd name="csX519" fmla="*/ 1053341 w 1609516"/>
              <a:gd name="csY519" fmla="*/ 1504285 h 1538630"/>
              <a:gd name="csX520" fmla="*/ 1053329 w 1609516"/>
              <a:gd name="csY520" fmla="*/ 1507529 h 1538630"/>
              <a:gd name="csX521" fmla="*/ 1049801 w 1609516"/>
              <a:gd name="csY521" fmla="*/ 1516192 h 1538630"/>
              <a:gd name="csX522" fmla="*/ 1047312 w 1609516"/>
              <a:gd name="csY522" fmla="*/ 1516192 h 1538630"/>
              <a:gd name="csX523" fmla="*/ 1043611 w 1609516"/>
              <a:gd name="csY523" fmla="*/ 1522585 h 1538630"/>
              <a:gd name="csX524" fmla="*/ 1029552 w 1609516"/>
              <a:gd name="csY524" fmla="*/ 1529631 h 1538630"/>
              <a:gd name="csX525" fmla="*/ 1028771 w 1609516"/>
              <a:gd name="csY525" fmla="*/ 1532273 h 1538630"/>
              <a:gd name="csX526" fmla="*/ 1018013 w 1609516"/>
              <a:gd name="csY526" fmla="*/ 1537640 h 1538630"/>
              <a:gd name="csX527" fmla="*/ 981126 w 1609516"/>
              <a:gd name="csY527" fmla="*/ 1533859 h 1538630"/>
              <a:gd name="csX528" fmla="*/ 977227 w 1609516"/>
              <a:gd name="csY528" fmla="*/ 1531943 h 1538630"/>
              <a:gd name="csX529" fmla="*/ 955376 w 1609516"/>
              <a:gd name="csY529" fmla="*/ 1508751 h 1538630"/>
              <a:gd name="csX530" fmla="*/ 954571 w 1609516"/>
              <a:gd name="csY530" fmla="*/ 1500037 h 1538630"/>
              <a:gd name="csX531" fmla="*/ 951446 w 1609516"/>
              <a:gd name="csY531" fmla="*/ 1500037 h 1538630"/>
              <a:gd name="csX532" fmla="*/ 951251 w 1609516"/>
              <a:gd name="csY532" fmla="*/ 1487883 h 1538630"/>
              <a:gd name="csX533" fmla="*/ 951171 w 1609516"/>
              <a:gd name="csY533" fmla="*/ 1484431 h 1538630"/>
              <a:gd name="csX534" fmla="*/ 954571 w 1609516"/>
              <a:gd name="csY534" fmla="*/ 1466216 h 1538630"/>
              <a:gd name="csX535" fmla="*/ 954961 w 1609516"/>
              <a:gd name="csY535" fmla="*/ 1455118 h 1538630"/>
              <a:gd name="csX536" fmla="*/ 954932 w 1609516"/>
              <a:gd name="csY536" fmla="*/ 1451972 h 1538630"/>
              <a:gd name="csX537" fmla="*/ 945099 w 1609516"/>
              <a:gd name="csY537" fmla="*/ 1403594 h 1538630"/>
              <a:gd name="csX538" fmla="*/ 942366 w 1609516"/>
              <a:gd name="csY538" fmla="*/ 1393553 h 1538630"/>
              <a:gd name="csX539" fmla="*/ 934451 w 1609516"/>
              <a:gd name="csY539" fmla="*/ 1372734 h 1538630"/>
              <a:gd name="csX540" fmla="*/ 931974 w 1609516"/>
              <a:gd name="csY540" fmla="*/ 1365754 h 1538630"/>
              <a:gd name="csX541" fmla="*/ 931138 w 1609516"/>
              <a:gd name="csY541" fmla="*/ 1363343 h 1538630"/>
              <a:gd name="csX542" fmla="*/ 926452 w 1609516"/>
              <a:gd name="csY542" fmla="*/ 1361933 h 1538630"/>
              <a:gd name="csX543" fmla="*/ 918641 w 1609516"/>
              <a:gd name="csY543" fmla="*/ 1340795 h 1538630"/>
              <a:gd name="csX544" fmla="*/ 917079 w 1609516"/>
              <a:gd name="csY544" fmla="*/ 1335158 h 1538630"/>
              <a:gd name="csX545" fmla="*/ 913955 w 1609516"/>
              <a:gd name="csY545" fmla="*/ 1335158 h 1538630"/>
              <a:gd name="csX546" fmla="*/ 912057 w 1609516"/>
              <a:gd name="csY546" fmla="*/ 1330793 h 1538630"/>
              <a:gd name="csX547" fmla="*/ 902142 w 1609516"/>
              <a:gd name="csY547" fmla="*/ 1316222 h 1538630"/>
              <a:gd name="csX548" fmla="*/ 900091 w 1609516"/>
              <a:gd name="csY548" fmla="*/ 1313828 h 1538630"/>
              <a:gd name="csX549" fmla="*/ 878026 w 1609516"/>
              <a:gd name="csY549" fmla="*/ 1295700 h 1538630"/>
              <a:gd name="csX550" fmla="*/ 875134 w 1609516"/>
              <a:gd name="csY550" fmla="*/ 1293465 h 1538630"/>
              <a:gd name="csX551" fmla="*/ 869869 w 1609516"/>
              <a:gd name="csY551" fmla="*/ 1291826 h 1538630"/>
              <a:gd name="csX552" fmla="*/ 862384 w 1609516"/>
              <a:gd name="csY552" fmla="*/ 1291327 h 1538630"/>
              <a:gd name="csX553" fmla="*/ 844390 w 1609516"/>
              <a:gd name="csY553" fmla="*/ 1290461 h 1538630"/>
              <a:gd name="csX554" fmla="*/ 840476 w 1609516"/>
              <a:gd name="csY554" fmla="*/ 1290500 h 1538630"/>
              <a:gd name="csX555" fmla="*/ 831015 w 1609516"/>
              <a:gd name="csY555" fmla="*/ 1290637 h 1538630"/>
              <a:gd name="csX556" fmla="*/ 831015 w 1609516"/>
              <a:gd name="csY556" fmla="*/ 1293456 h 1538630"/>
              <a:gd name="csX557" fmla="*/ 818225 w 1609516"/>
              <a:gd name="csY557" fmla="*/ 1295570 h 1538630"/>
              <a:gd name="csX558" fmla="*/ 796774 w 1609516"/>
              <a:gd name="csY558" fmla="*/ 1297671 h 1538630"/>
              <a:gd name="csX559" fmla="*/ 783646 w 1609516"/>
              <a:gd name="csY559" fmla="*/ 1305736 h 1538630"/>
              <a:gd name="csX560" fmla="*/ 769263 w 1609516"/>
              <a:gd name="csY560" fmla="*/ 1327143 h 1538630"/>
              <a:gd name="csX561" fmla="*/ 764797 w 1609516"/>
              <a:gd name="csY561" fmla="*/ 1334360 h 1538630"/>
              <a:gd name="csX562" fmla="*/ 757875 w 1609516"/>
              <a:gd name="csY562" fmla="*/ 1353503 h 1538630"/>
              <a:gd name="csX563" fmla="*/ 755676 w 1609516"/>
              <a:gd name="csY563" fmla="*/ 1367455 h 1538630"/>
              <a:gd name="csX564" fmla="*/ 750558 w 1609516"/>
              <a:gd name="csY564" fmla="*/ 1399690 h 1538630"/>
              <a:gd name="csX565" fmla="*/ 753057 w 1609516"/>
              <a:gd name="csY565" fmla="*/ 1411256 h 1538630"/>
              <a:gd name="csX566" fmla="*/ 753057 w 1609516"/>
              <a:gd name="csY566" fmla="*/ 1416893 h 1538630"/>
              <a:gd name="csX567" fmla="*/ 756181 w 1609516"/>
              <a:gd name="csY567" fmla="*/ 1416893 h 1538630"/>
              <a:gd name="csX568" fmla="*/ 758133 w 1609516"/>
              <a:gd name="csY568" fmla="*/ 1436182 h 1538630"/>
              <a:gd name="csX569" fmla="*/ 758231 w 1609516"/>
              <a:gd name="csY569" fmla="*/ 1440781 h 1538630"/>
              <a:gd name="csX570" fmla="*/ 750713 w 1609516"/>
              <a:gd name="csY570" fmla="*/ 1465704 h 1538630"/>
              <a:gd name="csX571" fmla="*/ 748370 w 1609516"/>
              <a:gd name="csY571" fmla="*/ 1467185 h 1538630"/>
              <a:gd name="csX572" fmla="*/ 741633 w 1609516"/>
              <a:gd name="csY572" fmla="*/ 1473526 h 1538630"/>
              <a:gd name="csX573" fmla="*/ 728154 w 1609516"/>
              <a:gd name="csY573" fmla="*/ 1478343 h 1538630"/>
              <a:gd name="csX574" fmla="*/ 721814 w 1609516"/>
              <a:gd name="csY574" fmla="*/ 1480308 h 1538630"/>
              <a:gd name="csX575" fmla="*/ 708341 w 1609516"/>
              <a:gd name="csY575" fmla="*/ 1480661 h 1538630"/>
              <a:gd name="csX576" fmla="*/ 704637 w 1609516"/>
              <a:gd name="csY576" fmla="*/ 1480748 h 1538630"/>
              <a:gd name="csX577" fmla="*/ 668507 w 1609516"/>
              <a:gd name="csY577" fmla="*/ 1468418 h 1538630"/>
              <a:gd name="csX578" fmla="*/ 660178 w 1609516"/>
              <a:gd name="csY578" fmla="*/ 1450027 h 1538630"/>
              <a:gd name="csX579" fmla="*/ 657767 w 1609516"/>
              <a:gd name="csY579" fmla="*/ 1445078 h 1538630"/>
              <a:gd name="csX580" fmla="*/ 663369 w 1609516"/>
              <a:gd name="csY580" fmla="*/ 1409390 h 1538630"/>
              <a:gd name="csX581" fmla="*/ 671826 w 1609516"/>
              <a:gd name="csY581" fmla="*/ 1401392 h 1538630"/>
              <a:gd name="csX582" fmla="*/ 678075 w 1609516"/>
              <a:gd name="csY582" fmla="*/ 1390118 h 1538630"/>
              <a:gd name="csX583" fmla="*/ 684323 w 1609516"/>
              <a:gd name="csY583" fmla="*/ 1388709 h 1538630"/>
              <a:gd name="csX584" fmla="*/ 685293 w 1609516"/>
              <a:gd name="csY584" fmla="*/ 1384233 h 1538630"/>
              <a:gd name="csX585" fmla="*/ 686569 w 1609516"/>
              <a:gd name="csY585" fmla="*/ 1378404 h 1538630"/>
              <a:gd name="csX586" fmla="*/ 687207 w 1609516"/>
              <a:gd name="csY586" fmla="*/ 1375456 h 1538630"/>
              <a:gd name="csX587" fmla="*/ 690572 w 1609516"/>
              <a:gd name="csY587" fmla="*/ 1363343 h 1538630"/>
              <a:gd name="csX588" fmla="*/ 692495 w 1609516"/>
              <a:gd name="csY588" fmla="*/ 1323376 h 1538630"/>
              <a:gd name="csX589" fmla="*/ 692625 w 1609516"/>
              <a:gd name="csY589" fmla="*/ 1315006 h 1538630"/>
              <a:gd name="csX590" fmla="*/ 687447 w 1609516"/>
              <a:gd name="csY590" fmla="*/ 1287245 h 1538630"/>
              <a:gd name="csX591" fmla="*/ 682761 w 1609516"/>
              <a:gd name="csY591" fmla="*/ 1285835 h 1538630"/>
              <a:gd name="csX592" fmla="*/ 678954 w 1609516"/>
              <a:gd name="csY592" fmla="*/ 1281608 h 1538630"/>
              <a:gd name="csX593" fmla="*/ 668702 w 1609516"/>
              <a:gd name="csY593" fmla="*/ 1275971 h 1538630"/>
              <a:gd name="csX594" fmla="*/ 662454 w 1609516"/>
              <a:gd name="csY594" fmla="*/ 1270334 h 1538630"/>
              <a:gd name="csX595" fmla="*/ 654643 w 1609516"/>
              <a:gd name="csY595" fmla="*/ 1267516 h 1538630"/>
              <a:gd name="csX596" fmla="*/ 654643 w 1609516"/>
              <a:gd name="csY596" fmla="*/ 1264697 h 1538630"/>
              <a:gd name="csX597" fmla="*/ 650152 w 1609516"/>
              <a:gd name="csY597" fmla="*/ 1264345 h 1538630"/>
              <a:gd name="csX598" fmla="*/ 628087 w 1609516"/>
              <a:gd name="csY598" fmla="*/ 1257651 h 1538630"/>
              <a:gd name="csX599" fmla="*/ 628087 w 1609516"/>
              <a:gd name="csY599" fmla="*/ 1254833 h 1538630"/>
              <a:gd name="csX600" fmla="*/ 625121 w 1609516"/>
              <a:gd name="csY600" fmla="*/ 1254315 h 1538630"/>
              <a:gd name="csX601" fmla="*/ 621252 w 1609516"/>
              <a:gd name="csY601" fmla="*/ 1253600 h 1538630"/>
              <a:gd name="csX602" fmla="*/ 617409 w 1609516"/>
              <a:gd name="csY602" fmla="*/ 1252906 h 1538630"/>
              <a:gd name="csX603" fmla="*/ 610904 w 1609516"/>
              <a:gd name="csY603" fmla="*/ 1249196 h 1538630"/>
              <a:gd name="csX604" fmla="*/ 565739 w 1609516"/>
              <a:gd name="csY604" fmla="*/ 1271742 h 1538630"/>
              <a:gd name="csX605" fmla="*/ 546924 w 1609516"/>
              <a:gd name="csY605" fmla="*/ 1290829 h 1538630"/>
              <a:gd name="csX606" fmla="*/ 543635 w 1609516"/>
              <a:gd name="csY606" fmla="*/ 1294643 h 1538630"/>
              <a:gd name="csX607" fmla="*/ 540651 w 1609516"/>
              <a:gd name="csY607" fmla="*/ 1298188 h 1538630"/>
              <a:gd name="csX608" fmla="*/ 529673 w 1609516"/>
              <a:gd name="csY608" fmla="*/ 1305565 h 1538630"/>
              <a:gd name="csX609" fmla="*/ 526549 w 1609516"/>
              <a:gd name="csY609" fmla="*/ 1311202 h 1538630"/>
              <a:gd name="csX610" fmla="*/ 523425 w 1609516"/>
              <a:gd name="csY610" fmla="*/ 1311202 h 1538630"/>
              <a:gd name="csX611" fmla="*/ 523230 w 1609516"/>
              <a:gd name="csY611" fmla="*/ 1313580 h 1538630"/>
              <a:gd name="csX612" fmla="*/ 517732 w 1609516"/>
              <a:gd name="csY612" fmla="*/ 1319739 h 1538630"/>
              <a:gd name="csX613" fmla="*/ 502239 w 1609516"/>
              <a:gd name="csY613" fmla="*/ 1337096 h 1538630"/>
              <a:gd name="csX614" fmla="*/ 497058 w 1609516"/>
              <a:gd name="csY614" fmla="*/ 1344087 h 1538630"/>
              <a:gd name="csX615" fmla="*/ 494572 w 1609516"/>
              <a:gd name="csY615" fmla="*/ 1347465 h 1538630"/>
              <a:gd name="csX616" fmla="*/ 487776 w 1609516"/>
              <a:gd name="csY616" fmla="*/ 1356181 h 1538630"/>
              <a:gd name="csX617" fmla="*/ 481248 w 1609516"/>
              <a:gd name="csY617" fmla="*/ 1367571 h 1538630"/>
              <a:gd name="csX618" fmla="*/ 478123 w 1609516"/>
              <a:gd name="csY618" fmla="*/ 1367571 h 1538630"/>
              <a:gd name="csX619" fmla="*/ 477635 w 1609516"/>
              <a:gd name="csY619" fmla="*/ 1370565 h 1538630"/>
              <a:gd name="csX620" fmla="*/ 465626 w 1609516"/>
              <a:gd name="csY620" fmla="*/ 1388709 h 1538630"/>
              <a:gd name="csX621" fmla="*/ 461233 w 1609516"/>
              <a:gd name="csY621" fmla="*/ 1397340 h 1538630"/>
              <a:gd name="csX622" fmla="*/ 455765 w 1609516"/>
              <a:gd name="csY622" fmla="*/ 1408086 h 1538630"/>
              <a:gd name="csX623" fmla="*/ 439070 w 1609516"/>
              <a:gd name="csY623" fmla="*/ 1477490 h 1538630"/>
              <a:gd name="csX624" fmla="*/ 434384 w 1609516"/>
              <a:gd name="csY624" fmla="*/ 1478899 h 1538630"/>
              <a:gd name="csX625" fmla="*/ 432431 w 1609516"/>
              <a:gd name="csY625" fmla="*/ 1481982 h 1538630"/>
              <a:gd name="csX626" fmla="*/ 418763 w 1609516"/>
              <a:gd name="csY626" fmla="*/ 1494401 h 1538630"/>
              <a:gd name="csX627" fmla="*/ 415639 w 1609516"/>
              <a:gd name="csY627" fmla="*/ 1494401 h 1538630"/>
              <a:gd name="csX628" fmla="*/ 415639 w 1609516"/>
              <a:gd name="csY628" fmla="*/ 1497219 h 1538630"/>
              <a:gd name="csX629" fmla="*/ 406265 w 1609516"/>
              <a:gd name="csY629" fmla="*/ 1498628 h 1538630"/>
              <a:gd name="csX630" fmla="*/ 406265 w 1609516"/>
              <a:gd name="csY630" fmla="*/ 1501447 h 1538630"/>
              <a:gd name="csX631" fmla="*/ 375023 w 1609516"/>
              <a:gd name="csY631" fmla="*/ 1501447 h 1538630"/>
              <a:gd name="csX632" fmla="*/ 375023 w 1609516"/>
              <a:gd name="csY632" fmla="*/ 1499438 h 1538630"/>
              <a:gd name="csX633" fmla="*/ 374964 w 1609516"/>
              <a:gd name="csY633" fmla="*/ 1499436 h 1538630"/>
              <a:gd name="csX634" fmla="*/ 373179 w 1609516"/>
              <a:gd name="csY634" fmla="*/ 1498628 h 1538630"/>
              <a:gd name="csX635" fmla="*/ 365650 w 1609516"/>
              <a:gd name="csY635" fmla="*/ 1498628 h 1538630"/>
              <a:gd name="csX636" fmla="*/ 363134 w 1609516"/>
              <a:gd name="csY636" fmla="*/ 1494087 h 1538630"/>
              <a:gd name="csX637" fmla="*/ 362171 w 1609516"/>
              <a:gd name="csY637" fmla="*/ 1493651 h 1538630"/>
              <a:gd name="csX638" fmla="*/ 360609 w 1609516"/>
              <a:gd name="csY638" fmla="*/ 1490833 h 1538630"/>
              <a:gd name="csX639" fmla="*/ 363733 w 1609516"/>
              <a:gd name="csY639" fmla="*/ 1490833 h 1538630"/>
              <a:gd name="csX640" fmla="*/ 363733 w 1609516"/>
              <a:gd name="csY640" fmla="*/ 1489980 h 1538630"/>
              <a:gd name="csX641" fmla="*/ 348467 w 1609516"/>
              <a:gd name="csY641" fmla="*/ 1481717 h 1538630"/>
              <a:gd name="csX642" fmla="*/ 343872 w 1609516"/>
              <a:gd name="csY642" fmla="*/ 1461078 h 1538630"/>
              <a:gd name="csX643" fmla="*/ 343656 w 1609516"/>
              <a:gd name="csY643" fmla="*/ 1463649 h 1538630"/>
              <a:gd name="csX644" fmla="*/ 343424 w 1609516"/>
              <a:gd name="csY644" fmla="*/ 1466842 h 1538630"/>
              <a:gd name="csX645" fmla="*/ 341861 w 1609516"/>
              <a:gd name="csY645" fmla="*/ 1466842 h 1538630"/>
              <a:gd name="csX646" fmla="*/ 354143 w 1609516"/>
              <a:gd name="csY646" fmla="*/ 1420549 h 1538630"/>
              <a:gd name="csX647" fmla="*/ 376229 w 1609516"/>
              <a:gd name="csY647" fmla="*/ 1403427 h 1538630"/>
              <a:gd name="csX648" fmla="*/ 379491 w 1609516"/>
              <a:gd name="csY648" fmla="*/ 1404408 h 1538630"/>
              <a:gd name="csX649" fmla="*/ 379710 w 1609516"/>
              <a:gd name="csY649" fmla="*/ 1404210 h 1538630"/>
              <a:gd name="csX650" fmla="*/ 380882 w 1609516"/>
              <a:gd name="csY650" fmla="*/ 1401568 h 1538630"/>
              <a:gd name="csX651" fmla="*/ 392207 w 1609516"/>
              <a:gd name="csY651" fmla="*/ 1392936 h 1538630"/>
              <a:gd name="csX652" fmla="*/ 399542 w 1609516"/>
              <a:gd name="csY652" fmla="*/ 1386774 h 1538630"/>
              <a:gd name="csX653" fmla="*/ 405485 w 1609516"/>
              <a:gd name="csY653" fmla="*/ 1378917 h 1538630"/>
              <a:gd name="csX654" fmla="*/ 412008 w 1609516"/>
              <a:gd name="csY654" fmla="*/ 1369481 h 1538630"/>
              <a:gd name="csX655" fmla="*/ 421130 w 1609516"/>
              <a:gd name="csY655" fmla="*/ 1357057 h 1538630"/>
              <a:gd name="csX656" fmla="*/ 424676 w 1609516"/>
              <a:gd name="csY656" fmla="*/ 1348443 h 1538630"/>
              <a:gd name="csX657" fmla="*/ 427275 w 1609516"/>
              <a:gd name="csY657" fmla="*/ 1348443 h 1538630"/>
              <a:gd name="csX658" fmla="*/ 428135 w 1609516"/>
              <a:gd name="csY658" fmla="*/ 1345727 h 1538630"/>
              <a:gd name="csX659" fmla="*/ 432822 w 1609516"/>
              <a:gd name="csY659" fmla="*/ 1335158 h 1538630"/>
              <a:gd name="csX660" fmla="*/ 435946 w 1609516"/>
              <a:gd name="csY660" fmla="*/ 1335158 h 1538630"/>
              <a:gd name="csX661" fmla="*/ 437704 w 1609516"/>
              <a:gd name="csY661" fmla="*/ 1329786 h 1538630"/>
              <a:gd name="csX662" fmla="*/ 447394 w 1609516"/>
              <a:gd name="csY662" fmla="*/ 1311196 h 1538630"/>
              <a:gd name="csX663" fmla="*/ 469287 w 1609516"/>
              <a:gd name="csY663" fmla="*/ 1265964 h 1538630"/>
              <a:gd name="csX664" fmla="*/ 478178 w 1609516"/>
              <a:gd name="csY664" fmla="*/ 1246787 h 1538630"/>
              <a:gd name="csX665" fmla="*/ 480179 w 1609516"/>
              <a:gd name="csY665" fmla="*/ 1225768 h 1538630"/>
              <a:gd name="csX666" fmla="*/ 480250 w 1609516"/>
              <a:gd name="csY666" fmla="*/ 1217149 h 1538630"/>
              <a:gd name="csX667" fmla="*/ 462972 w 1609516"/>
              <a:gd name="csY667" fmla="*/ 1174827 h 1538630"/>
              <a:gd name="csX668" fmla="*/ 457468 w 1609516"/>
              <a:gd name="csY668" fmla="*/ 1169949 h 1538630"/>
              <a:gd name="csX669" fmla="*/ 440657 w 1609516"/>
              <a:gd name="csY669" fmla="*/ 1152570 h 1538630"/>
              <a:gd name="csX670" fmla="*/ 403142 w 1609516"/>
              <a:gd name="csY670" fmla="*/ 1122366 h 1538630"/>
              <a:gd name="csX671" fmla="*/ 401579 w 1609516"/>
              <a:gd name="csY671" fmla="*/ 1119547 h 1538630"/>
              <a:gd name="csX672" fmla="*/ 364564 w 1609516"/>
              <a:gd name="csY672" fmla="*/ 1118209 h 1538630"/>
              <a:gd name="csX673" fmla="*/ 357822 w 1609516"/>
              <a:gd name="csY673" fmla="*/ 1122041 h 1538630"/>
              <a:gd name="csX674" fmla="*/ 348077 w 1609516"/>
              <a:gd name="csY674" fmla="*/ 1125273 h 1538630"/>
              <a:gd name="csX675" fmla="*/ 334408 w 1609516"/>
              <a:gd name="csY675" fmla="*/ 1132230 h 1538630"/>
              <a:gd name="csX676" fmla="*/ 327964 w 1609516"/>
              <a:gd name="csY676" fmla="*/ 1134080 h 1538630"/>
              <a:gd name="csX677" fmla="*/ 279734 w 1609516"/>
              <a:gd name="csY677" fmla="*/ 1166051 h 1538630"/>
              <a:gd name="csX678" fmla="*/ 276609 w 1609516"/>
              <a:gd name="csY678" fmla="*/ 1173098 h 1538630"/>
              <a:gd name="csX679" fmla="*/ 260988 w 1609516"/>
              <a:gd name="csY679" fmla="*/ 1188599 h 1538630"/>
              <a:gd name="csX680" fmla="*/ 257956 w 1609516"/>
              <a:gd name="csY680" fmla="*/ 1191132 h 1538630"/>
              <a:gd name="csX681" fmla="*/ 243805 w 1609516"/>
              <a:gd name="csY681" fmla="*/ 1196629 h 1538630"/>
              <a:gd name="csX682" fmla="*/ 243805 w 1609516"/>
              <a:gd name="csY682" fmla="*/ 1194236 h 1538630"/>
              <a:gd name="csX683" fmla="*/ 240288 w 1609516"/>
              <a:gd name="csY683" fmla="*/ 1194765 h 1538630"/>
              <a:gd name="csX684" fmla="*/ 243374 w 1609516"/>
              <a:gd name="csY684" fmla="*/ 1194765 h 1538630"/>
              <a:gd name="csX685" fmla="*/ 243374 w 1609516"/>
              <a:gd name="csY685" fmla="*/ 1196797 h 1538630"/>
              <a:gd name="csX686" fmla="*/ 243805 w 1609516"/>
              <a:gd name="csY686" fmla="*/ 1196629 h 1538630"/>
              <a:gd name="csX687" fmla="*/ 243805 w 1609516"/>
              <a:gd name="csY687" fmla="*/ 1197055 h 1538630"/>
              <a:gd name="csX688" fmla="*/ 243374 w 1609516"/>
              <a:gd name="csY688" fmla="*/ 1197055 h 1538630"/>
              <a:gd name="csX689" fmla="*/ 243374 w 1609516"/>
              <a:gd name="csY689" fmla="*/ 1197584 h 1538630"/>
              <a:gd name="csX690" fmla="*/ 241319 w 1609516"/>
              <a:gd name="csY690" fmla="*/ 1197595 h 1538630"/>
              <a:gd name="csX691" fmla="*/ 238009 w 1609516"/>
              <a:gd name="csY691" fmla="*/ 1198881 h 1538630"/>
              <a:gd name="csX692" fmla="*/ 215687 w 1609516"/>
              <a:gd name="csY692" fmla="*/ 1198464 h 1538630"/>
              <a:gd name="csX693" fmla="*/ 215687 w 1609516"/>
              <a:gd name="csY693" fmla="*/ 1197734 h 1538630"/>
              <a:gd name="csX694" fmla="*/ 213936 w 1609516"/>
              <a:gd name="csY694" fmla="*/ 1197744 h 1538630"/>
              <a:gd name="csX695" fmla="*/ 207446 w 1609516"/>
              <a:gd name="csY695" fmla="*/ 1196175 h 1538630"/>
              <a:gd name="csX696" fmla="*/ 207822 w 1609516"/>
              <a:gd name="csY696" fmla="*/ 1195610 h 1538630"/>
              <a:gd name="csX697" fmla="*/ 184737 w 1609516"/>
              <a:gd name="csY697" fmla="*/ 1180936 h 1538630"/>
              <a:gd name="csX698" fmla="*/ 179270 w 1609516"/>
              <a:gd name="csY698" fmla="*/ 1154866 h 1538630"/>
              <a:gd name="csX699" fmla="*/ 179194 w 1609516"/>
              <a:gd name="csY699" fmla="*/ 1151621 h 1538630"/>
              <a:gd name="csX700" fmla="*/ 193195 w 1609516"/>
              <a:gd name="csY700" fmla="*/ 1120065 h 1538630"/>
              <a:gd name="csX701" fmla="*/ 229551 w 1609516"/>
              <a:gd name="csY701" fmla="*/ 1110299 h 1538630"/>
              <a:gd name="csX702" fmla="*/ 260988 w 1609516"/>
              <a:gd name="csY702" fmla="*/ 1108274 h 1538630"/>
              <a:gd name="csX703" fmla="*/ 260988 w 1609516"/>
              <a:gd name="csY703" fmla="*/ 1105455 h 1538630"/>
              <a:gd name="csX704" fmla="*/ 263911 w 1609516"/>
              <a:gd name="csY704" fmla="*/ 1104310 h 1538630"/>
              <a:gd name="csX705" fmla="*/ 286995 w 1609516"/>
              <a:gd name="csY705" fmla="*/ 1090185 h 1538630"/>
              <a:gd name="csX706" fmla="*/ 299358 w 1609516"/>
              <a:gd name="csY706" fmla="*/ 1080970 h 1538630"/>
              <a:gd name="csX707" fmla="*/ 317762 w 1609516"/>
              <a:gd name="csY707" fmla="*/ 1063272 h 1538630"/>
              <a:gd name="csX708" fmla="*/ 325035 w 1609516"/>
              <a:gd name="csY708" fmla="*/ 1057542 h 1538630"/>
              <a:gd name="csX709" fmla="*/ 325328 w 1609516"/>
              <a:gd name="csY709" fmla="*/ 1023104 h 1538630"/>
              <a:gd name="csX710" fmla="*/ 324544 w 1609516"/>
              <a:gd name="csY710" fmla="*/ 1019247 h 1538630"/>
              <a:gd name="csX711" fmla="*/ 317225 w 1609516"/>
              <a:gd name="csY711" fmla="*/ 996945 h 1538630"/>
              <a:gd name="csX712" fmla="*/ 315388 w 1609516"/>
              <a:gd name="csY712" fmla="*/ 992690 h 1538630"/>
              <a:gd name="csX713" fmla="*/ 276232 w 1609516"/>
              <a:gd name="csY713" fmla="*/ 950666 h 1538630"/>
              <a:gd name="csX714" fmla="*/ 271923 w 1609516"/>
              <a:gd name="csY714" fmla="*/ 949031 h 1538630"/>
              <a:gd name="csX715" fmla="*/ 268299 w 1609516"/>
              <a:gd name="csY715" fmla="*/ 947441 h 1538630"/>
              <a:gd name="csX716" fmla="*/ 199187 w 1609516"/>
              <a:gd name="csY716" fmla="*/ 938991 h 1538630"/>
              <a:gd name="csX717" fmla="*/ 193719 w 1609516"/>
              <a:gd name="csY717" fmla="*/ 938971 h 1538630"/>
              <a:gd name="csX718" fmla="*/ 188539 w 1609516"/>
              <a:gd name="csY718" fmla="*/ 938980 h 1538630"/>
              <a:gd name="csX719" fmla="*/ 183874 w 1609516"/>
              <a:gd name="csY719" fmla="*/ 938985 h 1538630"/>
              <a:gd name="csX720" fmla="*/ 173509 w 1609516"/>
              <a:gd name="csY720" fmla="*/ 940576 h 1538630"/>
              <a:gd name="csX721" fmla="*/ 161403 w 1609516"/>
              <a:gd name="csY721" fmla="*/ 940664 h 1538630"/>
              <a:gd name="csX722" fmla="*/ 158102 w 1609516"/>
              <a:gd name="csY722" fmla="*/ 940645 h 1538630"/>
              <a:gd name="csX723" fmla="*/ 150875 w 1609516"/>
              <a:gd name="csY723" fmla="*/ 940583 h 1538630"/>
              <a:gd name="csX724" fmla="*/ 148425 w 1609516"/>
              <a:gd name="csY724" fmla="*/ 940717 h 1538630"/>
              <a:gd name="csX725" fmla="*/ 149617 w 1609516"/>
              <a:gd name="csY725" fmla="*/ 940995 h 1538630"/>
              <a:gd name="csX726" fmla="*/ 149617 w 1609516"/>
              <a:gd name="csY726" fmla="*/ 942404 h 1538630"/>
              <a:gd name="csX727" fmla="*/ 146627 w 1609516"/>
              <a:gd name="csY727" fmla="*/ 942871 h 1538630"/>
              <a:gd name="csX728" fmla="*/ 110564 w 1609516"/>
              <a:gd name="csY728" fmla="*/ 949449 h 1538630"/>
              <a:gd name="csX729" fmla="*/ 111283 w 1609516"/>
              <a:gd name="csY729" fmla="*/ 946205 h 1538630"/>
              <a:gd name="csX730" fmla="*/ 101652 w 1609516"/>
              <a:gd name="csY730" fmla="*/ 956078 h 1538630"/>
              <a:gd name="csX731" fmla="*/ 98052 w 1609516"/>
              <a:gd name="csY731" fmla="*/ 958467 h 1538630"/>
              <a:gd name="csX732" fmla="*/ 67286 w 1609516"/>
              <a:gd name="csY732" fmla="*/ 972989 h 1538630"/>
              <a:gd name="csX733" fmla="*/ 67286 w 1609516"/>
              <a:gd name="csY733" fmla="*/ 975807 h 1538630"/>
              <a:gd name="csX734" fmla="*/ 31942 w 1609516"/>
              <a:gd name="csY734" fmla="*/ 976423 h 1538630"/>
              <a:gd name="csX735" fmla="*/ 5673 w 1609516"/>
              <a:gd name="csY735" fmla="*/ 953419 h 1538630"/>
              <a:gd name="csX736" fmla="*/ 4801 w 1609516"/>
              <a:gd name="csY736" fmla="*/ 944804 h 1538630"/>
              <a:gd name="csX737" fmla="*/ 1676 w 1609516"/>
              <a:gd name="csY737" fmla="*/ 944804 h 1538630"/>
              <a:gd name="csX738" fmla="*/ 17 w 1609516"/>
              <a:gd name="csY738" fmla="*/ 931857 h 1538630"/>
              <a:gd name="csX739" fmla="*/ 59 w 1609516"/>
              <a:gd name="csY739" fmla="*/ 927216 h 1538630"/>
              <a:gd name="csX740" fmla="*/ 115 w 1609516"/>
              <a:gd name="csY740" fmla="*/ 923666 h 1538630"/>
              <a:gd name="csX741" fmla="*/ 3238 w 1609516"/>
              <a:gd name="csY741" fmla="*/ 923666 h 1538630"/>
              <a:gd name="csX742" fmla="*/ 3238 w 1609516"/>
              <a:gd name="csY742" fmla="*/ 918029 h 1538630"/>
              <a:gd name="csX743" fmla="*/ 6363 w 1609516"/>
              <a:gd name="csY743" fmla="*/ 918029 h 1538630"/>
              <a:gd name="csX744" fmla="*/ 6656 w 1609516"/>
              <a:gd name="csY744" fmla="*/ 912832 h 1538630"/>
              <a:gd name="csX745" fmla="*/ 15736 w 1609516"/>
              <a:gd name="csY745" fmla="*/ 899709 h 1538630"/>
              <a:gd name="csX746" fmla="*/ 17243 w 1609516"/>
              <a:gd name="csY746" fmla="*/ 898894 h 1538630"/>
              <a:gd name="csX747" fmla="*/ 16800 w 1609516"/>
              <a:gd name="csY747" fmla="*/ 898694 h 1538630"/>
              <a:gd name="csX748" fmla="*/ 24988 w 1609516"/>
              <a:gd name="csY748" fmla="*/ 894101 h 1538630"/>
              <a:gd name="csX749" fmla="*/ 26768 w 1609516"/>
              <a:gd name="csY749" fmla="*/ 892399 h 1538630"/>
              <a:gd name="csX750" fmla="*/ 30198 w 1609516"/>
              <a:gd name="csY750" fmla="*/ 890164 h 1538630"/>
              <a:gd name="csX751" fmla="*/ 32204 w 1609516"/>
              <a:gd name="csY751" fmla="*/ 890054 h 1538630"/>
              <a:gd name="csX752" fmla="*/ 38914 w 1609516"/>
              <a:gd name="csY752" fmla="*/ 886291 h 1538630"/>
              <a:gd name="csX753" fmla="*/ 63664 w 1609516"/>
              <a:gd name="csY753" fmla="*/ 886011 h 1538630"/>
              <a:gd name="csX754" fmla="*/ 63664 w 1609516"/>
              <a:gd name="csY754" fmla="*/ 886531 h 1538630"/>
              <a:gd name="csX755" fmla="*/ 70784 w 1609516"/>
              <a:gd name="csY755" fmla="*/ 886647 h 1538630"/>
              <a:gd name="csX756" fmla="*/ 82126 w 1609516"/>
              <a:gd name="csY756" fmla="*/ 889845 h 1538630"/>
              <a:gd name="csX757" fmla="*/ 114149 w 1609516"/>
              <a:gd name="csY757" fmla="*/ 892663 h 1538630"/>
              <a:gd name="csX758" fmla="*/ 118836 w 1609516"/>
              <a:gd name="csY758" fmla="*/ 889845 h 1538630"/>
              <a:gd name="csX759" fmla="*/ 131626 w 1609516"/>
              <a:gd name="csY759" fmla="*/ 887114 h 1538630"/>
              <a:gd name="csX760" fmla="*/ 155116 w 1609516"/>
              <a:gd name="csY760" fmla="*/ 880913 h 1538630"/>
              <a:gd name="csX761" fmla="*/ 165406 w 1609516"/>
              <a:gd name="csY761" fmla="*/ 878483 h 1538630"/>
              <a:gd name="csX762" fmla="*/ 176634 w 1609516"/>
              <a:gd name="csY762" fmla="*/ 874343 h 1538630"/>
              <a:gd name="csX763" fmla="*/ 186397 w 1609516"/>
              <a:gd name="csY763" fmla="*/ 871524 h 1538630"/>
              <a:gd name="csX764" fmla="*/ 191871 w 1609516"/>
              <a:gd name="csY764" fmla="*/ 870033 h 1538630"/>
              <a:gd name="csX765" fmla="*/ 203483 w 1609516"/>
              <a:gd name="csY765" fmla="*/ 867208 h 1538630"/>
              <a:gd name="csX766" fmla="*/ 211001 w 1609516"/>
              <a:gd name="csY766" fmla="*/ 861660 h 1538630"/>
              <a:gd name="csX767" fmla="*/ 218031 w 1609516"/>
              <a:gd name="csY767" fmla="*/ 858577 h 1538630"/>
              <a:gd name="csX768" fmla="*/ 254740 w 1609516"/>
              <a:gd name="csY768" fmla="*/ 825020 h 1538630"/>
              <a:gd name="csX769" fmla="*/ 257864 w 1609516"/>
              <a:gd name="csY769" fmla="*/ 820792 h 1538630"/>
              <a:gd name="csX770" fmla="*/ 258318 w 1609516"/>
              <a:gd name="csY770" fmla="*/ 813810 h 1538630"/>
              <a:gd name="csX771" fmla="*/ 258378 w 1609516"/>
              <a:gd name="csY771" fmla="*/ 809502 h 1538630"/>
              <a:gd name="csX772" fmla="*/ 258389 w 1609516"/>
              <a:gd name="csY772" fmla="*/ 804845 h 1538630"/>
              <a:gd name="csX773" fmla="*/ 258420 w 1609516"/>
              <a:gd name="csY773" fmla="*/ 800036 h 1538630"/>
              <a:gd name="csX774" fmla="*/ 258443 w 1609516"/>
              <a:gd name="csY774" fmla="*/ 789939 h 1538630"/>
              <a:gd name="csX775" fmla="*/ 258566 w 1609516"/>
              <a:gd name="csY775" fmla="*/ 774594 h 1538630"/>
              <a:gd name="csX776" fmla="*/ 258584 w 1609516"/>
              <a:gd name="csY776" fmla="*/ 764771 h 1538630"/>
              <a:gd name="csX777" fmla="*/ 258652 w 1609516"/>
              <a:gd name="csY777" fmla="*/ 760174 h 1538630"/>
              <a:gd name="csX778" fmla="*/ 251616 w 1609516"/>
              <a:gd name="csY778" fmla="*/ 733421 h 1538630"/>
              <a:gd name="csX779" fmla="*/ 247613 w 1609516"/>
              <a:gd name="csY779" fmla="*/ 721883 h 1538630"/>
              <a:gd name="csX780" fmla="*/ 241291 w 1609516"/>
              <a:gd name="csY780" fmla="*/ 705644 h 1538630"/>
              <a:gd name="csX781" fmla="*/ 237557 w 1609516"/>
              <a:gd name="csY781" fmla="*/ 689735 h 1538630"/>
              <a:gd name="csX782" fmla="*/ 248492 w 1609516"/>
              <a:gd name="csY782" fmla="*/ 685507 h 1538630"/>
              <a:gd name="csX783" fmla="*/ 248492 w 1609516"/>
              <a:gd name="csY783" fmla="*/ 681279 h 1538630"/>
              <a:gd name="csX784" fmla="*/ 240681 w 1609516"/>
              <a:gd name="csY784" fmla="*/ 679870 h 1538630"/>
              <a:gd name="csX785" fmla="*/ 240681 w 1609516"/>
              <a:gd name="csY785" fmla="*/ 677052 h 1538630"/>
              <a:gd name="csX786" fmla="*/ 238094 w 1609516"/>
              <a:gd name="csY786" fmla="*/ 676645 h 1538630"/>
              <a:gd name="csX787" fmla="*/ 225841 w 1609516"/>
              <a:gd name="csY787" fmla="*/ 670886 h 1538630"/>
              <a:gd name="csX788" fmla="*/ 201531 w 1609516"/>
              <a:gd name="csY788" fmla="*/ 662508 h 1538630"/>
              <a:gd name="csX789" fmla="*/ 188252 w 1609516"/>
              <a:gd name="csY789" fmla="*/ 658644 h 1538630"/>
              <a:gd name="csX790" fmla="*/ 182431 w 1609516"/>
              <a:gd name="csY790" fmla="*/ 657327 h 1538630"/>
              <a:gd name="csX791" fmla="*/ 182431 w 1609516"/>
              <a:gd name="csY791" fmla="*/ 657613 h 1538630"/>
              <a:gd name="csX792" fmla="*/ 146503 w 1609516"/>
              <a:gd name="csY792" fmla="*/ 656204 h 1538630"/>
              <a:gd name="csX793" fmla="*/ 146503 w 1609516"/>
              <a:gd name="csY793" fmla="*/ 659022 h 1538630"/>
              <a:gd name="csX794" fmla="*/ 110378 w 1609516"/>
              <a:gd name="csY794" fmla="*/ 663778 h 1538630"/>
              <a:gd name="csX795" fmla="*/ 106453 w 1609516"/>
              <a:gd name="csY795" fmla="*/ 663836 h 1538630"/>
              <a:gd name="csX796" fmla="*/ 102751 w 1609516"/>
              <a:gd name="csY796" fmla="*/ 663811 h 1538630"/>
              <a:gd name="csX797" fmla="*/ 99449 w 1609516"/>
              <a:gd name="csY797" fmla="*/ 663797 h 1538630"/>
              <a:gd name="csX798" fmla="*/ 91828 w 1609516"/>
              <a:gd name="csY798" fmla="*/ 659022 h 1538630"/>
              <a:gd name="csX799" fmla="*/ 98077 w 1609516"/>
              <a:gd name="csY799" fmla="*/ 659022 h 1538630"/>
              <a:gd name="csX800" fmla="*/ 98077 w 1609516"/>
              <a:gd name="csY800" fmla="*/ 661841 h 1538630"/>
              <a:gd name="csX801" fmla="*/ 119023 w 1609516"/>
              <a:gd name="csY801" fmla="*/ 661357 h 1538630"/>
              <a:gd name="csX802" fmla="*/ 119536 w 1609516"/>
              <a:gd name="csY802" fmla="*/ 661197 h 1538630"/>
              <a:gd name="csX803" fmla="*/ 109853 w 1609516"/>
              <a:gd name="csY803" fmla="*/ 661639 h 1538630"/>
              <a:gd name="csX804" fmla="*/ 106552 w 1609516"/>
              <a:gd name="csY804" fmla="*/ 661619 h 1538630"/>
              <a:gd name="csX805" fmla="*/ 98528 w 1609516"/>
              <a:gd name="csY805" fmla="*/ 661550 h 1538630"/>
              <a:gd name="csX806" fmla="*/ 98528 w 1609516"/>
              <a:gd name="csY806" fmla="*/ 658732 h 1538630"/>
              <a:gd name="csX807" fmla="*/ 89155 w 1609516"/>
              <a:gd name="csY807" fmla="*/ 657323 h 1538630"/>
              <a:gd name="csX808" fmla="*/ 89155 w 1609516"/>
              <a:gd name="csY808" fmla="*/ 654504 h 1538630"/>
              <a:gd name="csX809" fmla="*/ 86397 w 1609516"/>
              <a:gd name="csY809" fmla="*/ 653442 h 1538630"/>
              <a:gd name="csX810" fmla="*/ 77049 w 1609516"/>
              <a:gd name="csY810" fmla="*/ 646137 h 1538630"/>
              <a:gd name="csX811" fmla="*/ 74145 w 1609516"/>
              <a:gd name="csY811" fmla="*/ 643192 h 1538630"/>
              <a:gd name="csX812" fmla="*/ 71972 w 1609516"/>
              <a:gd name="csY812" fmla="*/ 636185 h 1538630"/>
              <a:gd name="csX813" fmla="*/ 68848 w 1609516"/>
              <a:gd name="csY813" fmla="*/ 636185 h 1538630"/>
              <a:gd name="csX814" fmla="*/ 70410 w 1609516"/>
              <a:gd name="csY814" fmla="*/ 595317 h 1538630"/>
              <a:gd name="csX815" fmla="*/ 79782 w 1609516"/>
              <a:gd name="csY815" fmla="*/ 584043 h 1538630"/>
              <a:gd name="csX816" fmla="*/ 82656 w 1609516"/>
              <a:gd name="csY816" fmla="*/ 581115 h 1538630"/>
              <a:gd name="csX817" fmla="*/ 116694 w 1609516"/>
              <a:gd name="csY817" fmla="*/ 572323 h 1538630"/>
              <a:gd name="csX818" fmla="*/ 152031 w 1609516"/>
              <a:gd name="csY818" fmla="*/ 590385 h 1538630"/>
              <a:gd name="csX819" fmla="*/ 191474 w 1609516"/>
              <a:gd name="csY819" fmla="*/ 605886 h 1538630"/>
              <a:gd name="csX820" fmla="*/ 206314 w 1609516"/>
              <a:gd name="csY820" fmla="*/ 608000 h 1538630"/>
              <a:gd name="csX821" fmla="*/ 206314 w 1609516"/>
              <a:gd name="csY821" fmla="*/ 610818 h 1538630"/>
              <a:gd name="csX822" fmla="*/ 234433 w 1609516"/>
              <a:gd name="csY822" fmla="*/ 610818 h 1538630"/>
              <a:gd name="csX823" fmla="*/ 239522 w 1609516"/>
              <a:gd name="csY823" fmla="*/ 610802 h 1538630"/>
              <a:gd name="csX824" fmla="*/ 268799 w 1609516"/>
              <a:gd name="csY824" fmla="*/ 600954 h 1538630"/>
              <a:gd name="csX825" fmla="*/ 271740 w 1609516"/>
              <a:gd name="csY825" fmla="*/ 599325 h 1538630"/>
              <a:gd name="csX826" fmla="*/ 284420 w 1609516"/>
              <a:gd name="csY826" fmla="*/ 579816 h 1538630"/>
              <a:gd name="csX827" fmla="*/ 289399 w 1609516"/>
              <a:gd name="csY827" fmla="*/ 568630 h 1538630"/>
              <a:gd name="csX828" fmla="*/ 293958 w 1609516"/>
              <a:gd name="csY828" fmla="*/ 535838 h 1538630"/>
              <a:gd name="csX829" fmla="*/ 289107 w 1609516"/>
              <a:gd name="csY829" fmla="*/ 529084 h 1538630"/>
              <a:gd name="csX830" fmla="*/ 289107 w 1609516"/>
              <a:gd name="csY830" fmla="*/ 526265 h 1538630"/>
              <a:gd name="csX831" fmla="*/ 284420 w 1609516"/>
              <a:gd name="csY831" fmla="*/ 524856 h 1538630"/>
              <a:gd name="csX832" fmla="*/ 282858 w 1609516"/>
              <a:gd name="csY832" fmla="*/ 520628 h 1538630"/>
              <a:gd name="csX833" fmla="*/ 277977 w 1609516"/>
              <a:gd name="csY833" fmla="*/ 516577 h 1538630"/>
              <a:gd name="csX834" fmla="*/ 264925 w 1609516"/>
              <a:gd name="csY834" fmla="*/ 506443 h 1538630"/>
              <a:gd name="csX835" fmla="*/ 229746 w 1609516"/>
              <a:gd name="csY835" fmla="*/ 481170 h 1538630"/>
              <a:gd name="csX836" fmla="*/ 221057 w 1609516"/>
              <a:gd name="csY836" fmla="*/ 475445 h 1538630"/>
              <a:gd name="csX837" fmla="*/ 212563 w 1609516"/>
              <a:gd name="csY837" fmla="*/ 469896 h 1538630"/>
              <a:gd name="csX838" fmla="*/ 208889 w 1609516"/>
              <a:gd name="csY838" fmla="*/ 467491 h 1538630"/>
              <a:gd name="csX839" fmla="*/ 190406 w 1609516"/>
              <a:gd name="csY839" fmla="*/ 456382 h 1538630"/>
              <a:gd name="csX840" fmla="*/ 186942 w 1609516"/>
              <a:gd name="csY840" fmla="*/ 454460 h 1538630"/>
              <a:gd name="csX841" fmla="*/ 180041 w 1609516"/>
              <a:gd name="csY841" fmla="*/ 450696 h 1538630"/>
              <a:gd name="csX842" fmla="*/ 171948 w 1609516"/>
              <a:gd name="csY842" fmla="*/ 445940 h 1538630"/>
              <a:gd name="csX843" fmla="*/ 171948 w 1609516"/>
              <a:gd name="csY843" fmla="*/ 443121 h 1538630"/>
              <a:gd name="csX844" fmla="*/ 168482 w 1609516"/>
              <a:gd name="csY844" fmla="*/ 442708 h 1538630"/>
              <a:gd name="csX845" fmla="*/ 157107 w 1609516"/>
              <a:gd name="csY845" fmla="*/ 437044 h 1538630"/>
              <a:gd name="csX846" fmla="*/ 132559 w 1609516"/>
              <a:gd name="csY846" fmla="*/ 427510 h 1538630"/>
              <a:gd name="csX847" fmla="*/ 123522 w 1609516"/>
              <a:gd name="csY847" fmla="*/ 421983 h 1538630"/>
              <a:gd name="csX848" fmla="*/ 107986 w 1609516"/>
              <a:gd name="csY848" fmla="*/ 418730 h 1538630"/>
              <a:gd name="csX849" fmla="*/ 102494 w 1609516"/>
              <a:gd name="csY849" fmla="*/ 418622 h 1538630"/>
              <a:gd name="csX850" fmla="*/ 91157 w 1609516"/>
              <a:gd name="csY850" fmla="*/ 418490 h 1538630"/>
              <a:gd name="csX851" fmla="*/ 55277 w 1609516"/>
              <a:gd name="csY851" fmla="*/ 410445 h 1538630"/>
              <a:gd name="csX852" fmla="*/ 51665 w 1609516"/>
              <a:gd name="csY852" fmla="*/ 406481 h 1538630"/>
              <a:gd name="csX853" fmla="*/ 45904 w 1609516"/>
              <a:gd name="csY853" fmla="*/ 400492 h 1538630"/>
              <a:gd name="csX854" fmla="*/ 43152 w 1609516"/>
              <a:gd name="csY854" fmla="*/ 397564 h 1538630"/>
              <a:gd name="csX855" fmla="*/ 37605 w 1609516"/>
              <a:gd name="csY855" fmla="*/ 393798 h 1538630"/>
              <a:gd name="csX856" fmla="*/ 38995 w 1609516"/>
              <a:gd name="csY856" fmla="*/ 368712 h 1538630"/>
              <a:gd name="csX857" fmla="*/ 38666 w 1609516"/>
              <a:gd name="csY857" fmla="*/ 369724 h 1538630"/>
              <a:gd name="csX858" fmla="*/ 35542 w 1609516"/>
              <a:gd name="csY858" fmla="*/ 384081 h 1538630"/>
              <a:gd name="csX859" fmla="*/ 33326 w 1609516"/>
              <a:gd name="csY859" fmla="*/ 357791 h 1538630"/>
              <a:gd name="csX860" fmla="*/ 52725 w 1609516"/>
              <a:gd name="csY860" fmla="*/ 333349 h 1538630"/>
              <a:gd name="csX861" fmla="*/ 55222 w 1609516"/>
              <a:gd name="csY861" fmla="*/ 334475 h 1538630"/>
              <a:gd name="csX862" fmla="*/ 56222 w 1609516"/>
              <a:gd name="csY862" fmla="*/ 333347 h 1538630"/>
              <a:gd name="csX863" fmla="*/ 55871 w 1609516"/>
              <a:gd name="csY863" fmla="*/ 333347 h 1538630"/>
              <a:gd name="csX864" fmla="*/ 56346 w 1609516"/>
              <a:gd name="csY864" fmla="*/ 333207 h 1538630"/>
              <a:gd name="csX865" fmla="*/ 56351 w 1609516"/>
              <a:gd name="csY865" fmla="*/ 333202 h 1538630"/>
              <a:gd name="csX866" fmla="*/ 56365 w 1609516"/>
              <a:gd name="csY866" fmla="*/ 333202 h 1538630"/>
              <a:gd name="csX867" fmla="*/ 79571 w 1609516"/>
              <a:gd name="csY867" fmla="*/ 326360 h 1538630"/>
              <a:gd name="csX868" fmla="*/ 104297 w 1609516"/>
              <a:gd name="csY868" fmla="*/ 330529 h 1538630"/>
              <a:gd name="csX869" fmla="*/ 107170 w 1609516"/>
              <a:gd name="csY869" fmla="*/ 334417 h 1538630"/>
              <a:gd name="csX870" fmla="*/ 109366 w 1609516"/>
              <a:gd name="csY870" fmla="*/ 336046 h 1538630"/>
              <a:gd name="csX871" fmla="*/ 109463 w 1609516"/>
              <a:gd name="csY871" fmla="*/ 336020 h 1538630"/>
              <a:gd name="csX872" fmla="*/ 109463 w 1609516"/>
              <a:gd name="csY872" fmla="*/ 336118 h 1538630"/>
              <a:gd name="csX873" fmla="*/ 115226 w 1609516"/>
              <a:gd name="csY873" fmla="*/ 340394 h 1538630"/>
              <a:gd name="csX874" fmla="*/ 114010 w 1609516"/>
              <a:gd name="csY874" fmla="*/ 340120 h 1538630"/>
              <a:gd name="csX875" fmla="*/ 133285 w 1609516"/>
              <a:gd name="csY875" fmla="*/ 357423 h 1538630"/>
              <a:gd name="csX876" fmla="*/ 173509 w 1609516"/>
              <a:gd name="csY876" fmla="*/ 389571 h 1538630"/>
              <a:gd name="csX877" fmla="*/ 181711 w 1609516"/>
              <a:gd name="csY877" fmla="*/ 393270 h 1538630"/>
              <a:gd name="csX878" fmla="*/ 185507 w 1609516"/>
              <a:gd name="csY878" fmla="*/ 394976 h 1538630"/>
              <a:gd name="csX879" fmla="*/ 192658 w 1609516"/>
              <a:gd name="csY879" fmla="*/ 398257 h 1538630"/>
              <a:gd name="csX880" fmla="*/ 195966 w 1609516"/>
              <a:gd name="csY880" fmla="*/ 399788 h 1538630"/>
              <a:gd name="csX881" fmla="*/ 198833 w 1609516"/>
              <a:gd name="csY881" fmla="*/ 401131 h 1538630"/>
              <a:gd name="csX882" fmla="*/ 207877 w 1609516"/>
              <a:gd name="csY882" fmla="*/ 403663 h 1538630"/>
              <a:gd name="csX883" fmla="*/ 207877 w 1609516"/>
              <a:gd name="csY883" fmla="*/ 406481 h 1538630"/>
              <a:gd name="csX884" fmla="*/ 248492 w 1609516"/>
              <a:gd name="csY884" fmla="*/ 419428 h 1538630"/>
              <a:gd name="csX885" fmla="*/ 253965 w 1609516"/>
              <a:gd name="csY885" fmla="*/ 421000 h 1538630"/>
              <a:gd name="csX886" fmla="*/ 267237 w 1609516"/>
              <a:gd name="csY886" fmla="*/ 424801 h 1538630"/>
              <a:gd name="csX887" fmla="*/ 267237 w 1609516"/>
              <a:gd name="csY887" fmla="*/ 426451 h 1538630"/>
              <a:gd name="csX888" fmla="*/ 288701 w 1609516"/>
              <a:gd name="csY888" fmla="*/ 429217 h 1538630"/>
              <a:gd name="csX889" fmla="*/ 288701 w 1609516"/>
              <a:gd name="csY889" fmla="*/ 432036 h 1538630"/>
              <a:gd name="csX890" fmla="*/ 327010 w 1609516"/>
              <a:gd name="csY890" fmla="*/ 433628 h 1538630"/>
              <a:gd name="csX891" fmla="*/ 337486 w 1609516"/>
              <a:gd name="csY891" fmla="*/ 433637 h 1538630"/>
              <a:gd name="csX892" fmla="*/ 344229 w 1609516"/>
              <a:gd name="csY892" fmla="*/ 433632 h 1538630"/>
              <a:gd name="csX893" fmla="*/ 350323 w 1609516"/>
              <a:gd name="csY893" fmla="*/ 433627 h 1538630"/>
              <a:gd name="csX894" fmla="*/ 365245 w 1609516"/>
              <a:gd name="csY894" fmla="*/ 432036 h 1538630"/>
              <a:gd name="csX895" fmla="*/ 360797 w 1609516"/>
              <a:gd name="csY895" fmla="*/ 433759 h 1538630"/>
              <a:gd name="csX896" fmla="*/ 365650 w 1609516"/>
              <a:gd name="csY896" fmla="*/ 433257 h 1538630"/>
              <a:gd name="csX897" fmla="*/ 367213 w 1609516"/>
              <a:gd name="csY897" fmla="*/ 429029 h 1538630"/>
              <a:gd name="csX898" fmla="*/ 375188 w 1609516"/>
              <a:gd name="csY898" fmla="*/ 424906 h 1538630"/>
              <a:gd name="csX899" fmla="*/ 404704 w 1609516"/>
              <a:gd name="csY899" fmla="*/ 389571 h 1538630"/>
              <a:gd name="csX900" fmla="*/ 406265 w 1609516"/>
              <a:gd name="csY900" fmla="*/ 388161 h 1538630"/>
              <a:gd name="csX901" fmla="*/ 406559 w 1609516"/>
              <a:gd name="csY901" fmla="*/ 370106 h 1538630"/>
              <a:gd name="csX902" fmla="*/ 406617 w 1609516"/>
              <a:gd name="csY902" fmla="*/ 364973 h 1538630"/>
              <a:gd name="csX903" fmla="*/ 406626 w 1609516"/>
              <a:gd name="csY903" fmla="*/ 360038 h 1538630"/>
              <a:gd name="csX904" fmla="*/ 406645 w 1609516"/>
              <a:gd name="csY904" fmla="*/ 355503 h 1538630"/>
              <a:gd name="csX905" fmla="*/ 403142 w 1609516"/>
              <a:gd name="csY905" fmla="*/ 345885 h 1538630"/>
              <a:gd name="csX906" fmla="*/ 401579 w 1609516"/>
              <a:gd name="csY906" fmla="*/ 338663 h 1538630"/>
              <a:gd name="csX907" fmla="*/ 390938 w 1609516"/>
              <a:gd name="csY907" fmla="*/ 315939 h 1538630"/>
              <a:gd name="csX908" fmla="*/ 388976 w 1609516"/>
              <a:gd name="csY908" fmla="*/ 312762 h 1538630"/>
              <a:gd name="csX909" fmla="*/ 377934 w 1609516"/>
              <a:gd name="csY909" fmla="*/ 297817 h 1538630"/>
              <a:gd name="csX910" fmla="*/ 368775 w 1609516"/>
              <a:gd name="csY910" fmla="*/ 282470 h 1538630"/>
              <a:gd name="csX911" fmla="*/ 359890 w 1609516"/>
              <a:gd name="csY911" fmla="*/ 271284 h 1538630"/>
              <a:gd name="csX912" fmla="*/ 357374 w 1609516"/>
              <a:gd name="csY912" fmla="*/ 268288 h 1538630"/>
              <a:gd name="csX913" fmla="*/ 337533 w 1609516"/>
              <a:gd name="csY913" fmla="*/ 248649 h 1538630"/>
              <a:gd name="csX914" fmla="*/ 335214 w 1609516"/>
              <a:gd name="csY914" fmla="*/ 246369 h 1538630"/>
              <a:gd name="csX915" fmla="*/ 327085 w 1609516"/>
              <a:gd name="csY915" fmla="*/ 242571 h 1538630"/>
              <a:gd name="csX916" fmla="*/ 288785 w 1609516"/>
              <a:gd name="csY916" fmla="*/ 207968 h 1538630"/>
              <a:gd name="csX917" fmla="*/ 286373 w 1609516"/>
              <a:gd name="csY917" fmla="*/ 192544 h 1538630"/>
              <a:gd name="csX918" fmla="*/ 286385 w 1609516"/>
              <a:gd name="csY918" fmla="*/ 189190 h 1538630"/>
              <a:gd name="csX919" fmla="*/ 300042 w 1609516"/>
              <a:gd name="csY919" fmla="*/ 164095 h 1538630"/>
              <a:gd name="csX920" fmla="*/ 302757 w 1609516"/>
              <a:gd name="csY920" fmla="*/ 161381 h 1538630"/>
              <a:gd name="csX921" fmla="*/ 338411 w 1609516"/>
              <a:gd name="csY921" fmla="*/ 152293 h 1538630"/>
              <a:gd name="csX922" fmla="*/ 368482 w 1609516"/>
              <a:gd name="csY922" fmla="*/ 161893 h 1538630"/>
              <a:gd name="csX923" fmla="*/ 371899 w 1609516"/>
              <a:gd name="csY923" fmla="*/ 165505 h 1538630"/>
              <a:gd name="csX924" fmla="*/ 375121 w 1609516"/>
              <a:gd name="csY924" fmla="*/ 168587 h 1538630"/>
              <a:gd name="csX925" fmla="*/ 384982 w 1609516"/>
              <a:gd name="csY925" fmla="*/ 193777 h 1538630"/>
              <a:gd name="csX926" fmla="*/ 390352 w 1609516"/>
              <a:gd name="csY926" fmla="*/ 214563 h 1538630"/>
              <a:gd name="csX927" fmla="*/ 391529 w 1609516"/>
              <a:gd name="csY927" fmla="*/ 217626 h 1538630"/>
              <a:gd name="csX928" fmla="*/ 401579 w 1609516"/>
              <a:gd name="csY928" fmla="*/ 234556 h 1538630"/>
              <a:gd name="csX929" fmla="*/ 401579 w 1609516"/>
              <a:gd name="csY929" fmla="*/ 238784 h 1538630"/>
              <a:gd name="csX930" fmla="*/ 404215 w 1609516"/>
              <a:gd name="csY930" fmla="*/ 239753 h 1538630"/>
              <a:gd name="csX931" fmla="*/ 417811 w 1609516"/>
              <a:gd name="csY931" fmla="*/ 251996 h 1538630"/>
              <a:gd name="csX932" fmla="*/ 426866 w 1609516"/>
              <a:gd name="csY932" fmla="*/ 262300 h 1538630"/>
              <a:gd name="csX933" fmla="*/ 450097 w 1609516"/>
              <a:gd name="csY933" fmla="*/ 287628 h 1538630"/>
              <a:gd name="csX934" fmla="*/ 457425 w 1609516"/>
              <a:gd name="csY934" fmla="*/ 293920 h 1538630"/>
              <a:gd name="csX935" fmla="*/ 460940 w 1609516"/>
              <a:gd name="csY935" fmla="*/ 296562 h 1538630"/>
              <a:gd name="csX936" fmla="*/ 460940 w 1609516"/>
              <a:gd name="csY936" fmla="*/ 300790 h 1538630"/>
              <a:gd name="csX937" fmla="*/ 473437 w 1609516"/>
              <a:gd name="csY937" fmla="*/ 305018 h 1538630"/>
              <a:gd name="csX938" fmla="*/ 473437 w 1609516"/>
              <a:gd name="csY938" fmla="*/ 307836 h 1538630"/>
              <a:gd name="csX939" fmla="*/ 479881 w 1609516"/>
              <a:gd name="csY939" fmla="*/ 309862 h 1538630"/>
              <a:gd name="csX940" fmla="*/ 483505 w 1609516"/>
              <a:gd name="csY940" fmla="*/ 311001 h 1538630"/>
              <a:gd name="csX941" fmla="*/ 548419 w 1609516"/>
              <a:gd name="csY941" fmla="*/ 306427 h 1538630"/>
              <a:gd name="csX942" fmla="*/ 551842 w 1609516"/>
              <a:gd name="csY942" fmla="*/ 305127 h 1538630"/>
              <a:gd name="csX943" fmla="*/ 560232 w 1609516"/>
              <a:gd name="csY943" fmla="*/ 298148 h 1538630"/>
              <a:gd name="csX944" fmla="*/ 562972 w 1609516"/>
              <a:gd name="csY944" fmla="*/ 295252 h 1538630"/>
              <a:gd name="csX945" fmla="*/ 568086 w 1609516"/>
              <a:gd name="csY945" fmla="*/ 289152 h 1538630"/>
              <a:gd name="csX946" fmla="*/ 570289 w 1609516"/>
              <a:gd name="csY946" fmla="*/ 286697 h 1538630"/>
              <a:gd name="csX947" fmla="*/ 573413 w 1609516"/>
              <a:gd name="csY947" fmla="*/ 286697 h 1538630"/>
              <a:gd name="csX948" fmla="*/ 577220 w 1609516"/>
              <a:gd name="csY948" fmla="*/ 257016 h 1538630"/>
              <a:gd name="csX949" fmla="*/ 577235 w 1609516"/>
              <a:gd name="csY949" fmla="*/ 254206 h 1538630"/>
              <a:gd name="csX950" fmla="*/ 569443 w 1609516"/>
              <a:gd name="csY950" fmla="*/ 206049 h 1538630"/>
              <a:gd name="csX951" fmla="*/ 568726 w 1609516"/>
              <a:gd name="csY951" fmla="*/ 200735 h 1538630"/>
              <a:gd name="csX952" fmla="*/ 565602 w 1609516"/>
              <a:gd name="csY952" fmla="*/ 200735 h 1538630"/>
              <a:gd name="csX953" fmla="*/ 559549 w 1609516"/>
              <a:gd name="csY953" fmla="*/ 184441 h 1538630"/>
              <a:gd name="csX954" fmla="*/ 537484 w 1609516"/>
              <a:gd name="csY954" fmla="*/ 159867 h 1538630"/>
              <a:gd name="csX955" fmla="*/ 531235 w 1609516"/>
              <a:gd name="csY955" fmla="*/ 154230 h 1538630"/>
              <a:gd name="csX956" fmla="*/ 531235 w 1609516"/>
              <a:gd name="csY956" fmla="*/ 151412 h 1538630"/>
              <a:gd name="csX957" fmla="*/ 526549 w 1609516"/>
              <a:gd name="csY957" fmla="*/ 150003 h 1538630"/>
              <a:gd name="csX958" fmla="*/ 524304 w 1609516"/>
              <a:gd name="csY958" fmla="*/ 107198 h 1538630"/>
              <a:gd name="csX959" fmla="*/ 547052 w 1609516"/>
              <a:gd name="csY959" fmla="*/ 85972 h 1538630"/>
              <a:gd name="csX960" fmla="*/ 588460 w 1609516"/>
              <a:gd name="csY960" fmla="*/ 83538 h 1538630"/>
              <a:gd name="csX961" fmla="*/ 617152 w 1609516"/>
              <a:gd name="csY961" fmla="*/ 111954 h 1538630"/>
              <a:gd name="csX962" fmla="*/ 617884 w 1609516"/>
              <a:gd name="csY962" fmla="*/ 124175 h 1538630"/>
              <a:gd name="csX963" fmla="*/ 617917 w 1609516"/>
              <a:gd name="csY963" fmla="*/ 127607 h 1538630"/>
              <a:gd name="csX964" fmla="*/ 617919 w 1609516"/>
              <a:gd name="csY964" fmla="*/ 141969 h 1538630"/>
              <a:gd name="csX965" fmla="*/ 630625 w 1609516"/>
              <a:gd name="csY965" fmla="*/ 191311 h 1538630"/>
              <a:gd name="csX966" fmla="*/ 637850 w 1609516"/>
              <a:gd name="csY966" fmla="*/ 205139 h 1538630"/>
              <a:gd name="csX967" fmla="*/ 643708 w 1609516"/>
              <a:gd name="csY967" fmla="*/ 212009 h 1538630"/>
              <a:gd name="csX968" fmla="*/ 647027 w 1609516"/>
              <a:gd name="csY968" fmla="*/ 217645 h 1538630"/>
              <a:gd name="csX969" fmla="*/ 670264 w 1609516"/>
              <a:gd name="csY969" fmla="*/ 241603 h 1538630"/>
              <a:gd name="csX970" fmla="*/ 670264 w 1609516"/>
              <a:gd name="csY970" fmla="*/ 244421 h 1538630"/>
              <a:gd name="csX971" fmla="*/ 675634 w 1609516"/>
              <a:gd name="csY971" fmla="*/ 245742 h 1538630"/>
              <a:gd name="csX972" fmla="*/ 682761 w 1609516"/>
              <a:gd name="csY972" fmla="*/ 248649 h 1538630"/>
              <a:gd name="csX973" fmla="*/ 752092 w 1609516"/>
              <a:gd name="csY973" fmla="*/ 245076 h 1538630"/>
              <a:gd name="csX974" fmla="*/ 758433 w 1609516"/>
              <a:gd name="csY974" fmla="*/ 240485 h 1538630"/>
              <a:gd name="csX975" fmla="*/ 763991 w 1609516"/>
              <a:gd name="csY975" fmla="*/ 238784 h 1538630"/>
              <a:gd name="csX976" fmla="*/ 765315 w 1609516"/>
              <a:gd name="csY976" fmla="*/ 235778 h 1538630"/>
              <a:gd name="csX977" fmla="*/ 770923 w 1609516"/>
              <a:gd name="csY977" fmla="*/ 223459 h 1538630"/>
              <a:gd name="csX978" fmla="*/ 772998 w 1609516"/>
              <a:gd name="csY978" fmla="*/ 218934 h 1538630"/>
              <a:gd name="csX979" fmla="*/ 777562 w 1609516"/>
              <a:gd name="csY979" fmla="*/ 209895 h 1538630"/>
              <a:gd name="csX980" fmla="*/ 781175 w 1609516"/>
              <a:gd name="csY980" fmla="*/ 124637 h 1538630"/>
              <a:gd name="csX981" fmla="*/ 778051 w 1609516"/>
              <a:gd name="csY981" fmla="*/ 124637 h 1538630"/>
              <a:gd name="csX982" fmla="*/ 767116 w 1609516"/>
              <a:gd name="csY982" fmla="*/ 79542 h 1538630"/>
              <a:gd name="csX983" fmla="*/ 793379 w 1609516"/>
              <a:gd name="csY983" fmla="*/ 54000 h 1538630"/>
              <a:gd name="csX984" fmla="*/ 840688 w 1609516"/>
              <a:gd name="csY984" fmla="*/ 55503 h 1538630"/>
              <a:gd name="csX985" fmla="*/ 851470 w 1609516"/>
              <a:gd name="csY985" fmla="*/ 64040 h 1538630"/>
              <a:gd name="csX986" fmla="*/ 853997 w 1609516"/>
              <a:gd name="csY986" fmla="*/ 66529 h 1538630"/>
              <a:gd name="csX987" fmla="*/ 861488 w 1609516"/>
              <a:gd name="csY987" fmla="*/ 82057 h 1538630"/>
              <a:gd name="csX988" fmla="*/ 861937 w 1609516"/>
              <a:gd name="csY988" fmla="*/ 90492 h 1538630"/>
              <a:gd name="csX989" fmla="*/ 863826 w 1609516"/>
              <a:gd name="csY989" fmla="*/ 100715 h 1538630"/>
              <a:gd name="csX990" fmla="*/ 857577 w 1609516"/>
              <a:gd name="csY990" fmla="*/ 121853 h 1538630"/>
              <a:gd name="csX991" fmla="*/ 856015 w 1609516"/>
              <a:gd name="csY991" fmla="*/ 121853 h 1538630"/>
              <a:gd name="csX992" fmla="*/ 855442 w 1609516"/>
              <a:gd name="csY992" fmla="*/ 118919 h 1538630"/>
              <a:gd name="csX993" fmla="*/ 855417 w 1609516"/>
              <a:gd name="csY993" fmla="*/ 118798 h 1538630"/>
              <a:gd name="csX994" fmla="*/ 856157 w 1609516"/>
              <a:gd name="csY994" fmla="*/ 124637 h 1538630"/>
              <a:gd name="csX995" fmla="*/ 850623 w 1609516"/>
              <a:gd name="csY995" fmla="*/ 134701 h 1538630"/>
              <a:gd name="csX996" fmla="*/ 851325 w 1609516"/>
              <a:gd name="csY996" fmla="*/ 135968 h 1538630"/>
              <a:gd name="csX997" fmla="*/ 849886 w 1609516"/>
              <a:gd name="csY997" fmla="*/ 139843 h 1538630"/>
              <a:gd name="csX998" fmla="*/ 847786 w 1609516"/>
              <a:gd name="csY998" fmla="*/ 152889 h 1538630"/>
              <a:gd name="csX999" fmla="*/ 847767 w 1609516"/>
              <a:gd name="csY999" fmla="*/ 157768 h 1538630"/>
              <a:gd name="csX1000" fmla="*/ 847810 w 1609516"/>
              <a:gd name="csY1000" fmla="*/ 162919 h 1538630"/>
              <a:gd name="csX1001" fmla="*/ 847832 w 1609516"/>
              <a:gd name="csY1001" fmla="*/ 168227 h 1538630"/>
              <a:gd name="csX1002" fmla="*/ 850903 w 1609516"/>
              <a:gd name="csY1002" fmla="*/ 209013 h 1538630"/>
              <a:gd name="csX1003" fmla="*/ 852880 w 1609516"/>
              <a:gd name="csY1003" fmla="*/ 224692 h 1538630"/>
              <a:gd name="csX1004" fmla="*/ 854595 w 1609516"/>
              <a:gd name="csY1004" fmla="*/ 224692 h 1538630"/>
              <a:gd name="csX1005" fmla="*/ 856083 w 1609516"/>
              <a:gd name="csY1005" fmla="*/ 227268 h 1538630"/>
              <a:gd name="csX1006" fmla="*/ 879588 w 1609516"/>
              <a:gd name="csY1006" fmla="*/ 247239 h 1538630"/>
              <a:gd name="csX1007" fmla="*/ 885739 w 1609516"/>
              <a:gd name="csY1007" fmla="*/ 249618 h 1538630"/>
              <a:gd name="csX1008" fmla="*/ 890523 w 1609516"/>
              <a:gd name="csY1008" fmla="*/ 251467 h 1538630"/>
              <a:gd name="csX1009" fmla="*/ 890523 w 1609516"/>
              <a:gd name="csY1009" fmla="*/ 254285 h 1538630"/>
              <a:gd name="csX1010" fmla="*/ 920203 w 1609516"/>
              <a:gd name="csY1010" fmla="*/ 261332 h 1538630"/>
              <a:gd name="csX1011" fmla="*/ 920203 w 1609516"/>
              <a:gd name="csY1011" fmla="*/ 262741 h 1538630"/>
              <a:gd name="csX1012" fmla="*/ 910831 w 1609516"/>
              <a:gd name="csY1012" fmla="*/ 262741 h 1538630"/>
              <a:gd name="csX1013" fmla="*/ 910831 w 1609516"/>
              <a:gd name="csY1013" fmla="*/ 262864 h 1538630"/>
              <a:gd name="csX1014" fmla="*/ 927993 w 1609516"/>
              <a:gd name="csY1014" fmla="*/ 264177 h 1538630"/>
              <a:gd name="csX1015" fmla="*/ 939273 w 1609516"/>
              <a:gd name="csY1015" fmla="*/ 265285 h 1538630"/>
              <a:gd name="csX1016" fmla="*/ 940456 w 1609516"/>
              <a:gd name="csY1016" fmla="*/ 265191 h 1538630"/>
              <a:gd name="csX1017" fmla="*/ 991622 w 1609516"/>
              <a:gd name="csY1017" fmla="*/ 242329 h 1538630"/>
              <a:gd name="csX1018" fmla="*/ 1000803 w 1609516"/>
              <a:gd name="csY1018" fmla="*/ 236505 h 1538630"/>
              <a:gd name="csX1019" fmla="*/ 999806 w 1609516"/>
              <a:gd name="csY1019" fmla="*/ 236055 h 1538630"/>
              <a:gd name="csX1020" fmla="*/ 1003126 w 1609516"/>
              <a:gd name="csY1020" fmla="*/ 232851 h 1538630"/>
              <a:gd name="csX1021" fmla="*/ 1029487 w 1609516"/>
              <a:gd name="csY1021" fmla="*/ 205052 h 1538630"/>
              <a:gd name="csX1022" fmla="*/ 1029872 w 1609516"/>
              <a:gd name="csY1022" fmla="*/ 206442 h 1538630"/>
              <a:gd name="csX1023" fmla="*/ 1031614 w 1609516"/>
              <a:gd name="csY1023" fmla="*/ 203719 h 1538630"/>
              <a:gd name="csX1024" fmla="*/ 1038924 w 1609516"/>
              <a:gd name="csY1024" fmla="*/ 192280 h 1538630"/>
              <a:gd name="csX1025" fmla="*/ 1042049 w 1609516"/>
              <a:gd name="csY1025" fmla="*/ 190870 h 1538630"/>
              <a:gd name="csX1026" fmla="*/ 1044294 w 1609516"/>
              <a:gd name="csY1026" fmla="*/ 186026 h 1538630"/>
              <a:gd name="csX1027" fmla="*/ 1051422 w 1609516"/>
              <a:gd name="csY1027" fmla="*/ 178188 h 1538630"/>
              <a:gd name="csX1028" fmla="*/ 1052984 w 1609516"/>
              <a:gd name="csY1028" fmla="*/ 172551 h 1538630"/>
              <a:gd name="csX1029" fmla="*/ 1056108 w 1609516"/>
              <a:gd name="csY1029" fmla="*/ 172551 h 1538630"/>
              <a:gd name="csX1030" fmla="*/ 1059232 w 1609516"/>
              <a:gd name="csY1030" fmla="*/ 162686 h 1538630"/>
              <a:gd name="csX1031" fmla="*/ 1062357 w 1609516"/>
              <a:gd name="csY1031" fmla="*/ 162686 h 1538630"/>
              <a:gd name="csX1032" fmla="*/ 1063162 w 1609516"/>
              <a:gd name="csY1032" fmla="*/ 160258 h 1538630"/>
              <a:gd name="csX1033" fmla="*/ 1073292 w 1609516"/>
              <a:gd name="csY1033" fmla="*/ 140138 h 1538630"/>
              <a:gd name="csX1034" fmla="*/ 1076415 w 1609516"/>
              <a:gd name="csY1034" fmla="*/ 140138 h 1538630"/>
              <a:gd name="csX1035" fmla="*/ 1085294 w 1609516"/>
              <a:gd name="csY1035" fmla="*/ 117569 h 1538630"/>
              <a:gd name="csX1036" fmla="*/ 1087350 w 1609516"/>
              <a:gd name="csY1036" fmla="*/ 113363 h 1538630"/>
              <a:gd name="csX1037" fmla="*/ 1092037 w 1609516"/>
              <a:gd name="csY1037" fmla="*/ 111954 h 1538630"/>
              <a:gd name="csX1038" fmla="*/ 1092623 w 1609516"/>
              <a:gd name="csY1038" fmla="*/ 108695 h 1538630"/>
              <a:gd name="csX1039" fmla="*/ 1096723 w 1609516"/>
              <a:gd name="csY1039" fmla="*/ 100680 h 1538630"/>
              <a:gd name="csX1040" fmla="*/ 1098188 w 1609516"/>
              <a:gd name="csY1040" fmla="*/ 96013 h 1538630"/>
              <a:gd name="csX1041" fmla="*/ 1102288 w 1609516"/>
              <a:gd name="csY1041" fmla="*/ 87029 h 1538630"/>
              <a:gd name="csX1042" fmla="*/ 1104534 w 1609516"/>
              <a:gd name="csY1042" fmla="*/ 61222 h 1538630"/>
              <a:gd name="csX1043" fmla="*/ 1104381 w 1609516"/>
              <a:gd name="csY1043" fmla="*/ 55569 h 1538630"/>
              <a:gd name="csX1044" fmla="*/ 1104397 w 1609516"/>
              <a:gd name="csY1044" fmla="*/ 52335 h 1538630"/>
              <a:gd name="csX1045" fmla="*/ 1104436 w 1609516"/>
              <a:gd name="csY1045" fmla="*/ 48979 h 1538630"/>
              <a:gd name="csX1046" fmla="*/ 1104457 w 1609516"/>
              <a:gd name="csY1046" fmla="*/ 45575 h 1538630"/>
              <a:gd name="csX1047" fmla="*/ 1104534 w 1609516"/>
              <a:gd name="csY1047" fmla="*/ 37265 h 1538630"/>
              <a:gd name="csX1048" fmla="*/ 1107658 w 1609516"/>
              <a:gd name="csY1048" fmla="*/ 37265 h 1538630"/>
              <a:gd name="csX1049" fmla="*/ 1107463 w 1609516"/>
              <a:gd name="csY1049" fmla="*/ 31805 h 1538630"/>
              <a:gd name="csX1050" fmla="*/ 1107658 w 1609516"/>
              <a:gd name="csY1050" fmla="*/ 25991 h 1538630"/>
              <a:gd name="csX1051" fmla="*/ 1110782 w 1609516"/>
              <a:gd name="csY1051" fmla="*/ 23173 h 1538630"/>
              <a:gd name="csX1052" fmla="*/ 1111759 w 1609516"/>
              <a:gd name="csY1052" fmla="*/ 20091 h 1538630"/>
              <a:gd name="csX1053" fmla="*/ 1134507 w 1609516"/>
              <a:gd name="csY1053" fmla="*/ 2828 h 1538630"/>
              <a:gd name="csX1054" fmla="*/ 1155019 w 1609516"/>
              <a:gd name="csY1054" fmla="*/ 35 h 153863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  <a:cxn ang="0">
                <a:pos x="csX170" y="csY170"/>
              </a:cxn>
              <a:cxn ang="0">
                <a:pos x="csX171" y="csY171"/>
              </a:cxn>
              <a:cxn ang="0">
                <a:pos x="csX172" y="csY172"/>
              </a:cxn>
              <a:cxn ang="0">
                <a:pos x="csX173" y="csY173"/>
              </a:cxn>
              <a:cxn ang="0">
                <a:pos x="csX174" y="csY174"/>
              </a:cxn>
              <a:cxn ang="0">
                <a:pos x="csX175" y="csY175"/>
              </a:cxn>
              <a:cxn ang="0">
                <a:pos x="csX176" y="csY176"/>
              </a:cxn>
              <a:cxn ang="0">
                <a:pos x="csX177" y="csY177"/>
              </a:cxn>
              <a:cxn ang="0">
                <a:pos x="csX178" y="csY178"/>
              </a:cxn>
              <a:cxn ang="0">
                <a:pos x="csX179" y="csY179"/>
              </a:cxn>
              <a:cxn ang="0">
                <a:pos x="csX180" y="csY180"/>
              </a:cxn>
              <a:cxn ang="0">
                <a:pos x="csX181" y="csY181"/>
              </a:cxn>
              <a:cxn ang="0">
                <a:pos x="csX182" y="csY182"/>
              </a:cxn>
              <a:cxn ang="0">
                <a:pos x="csX183" y="csY183"/>
              </a:cxn>
              <a:cxn ang="0">
                <a:pos x="csX184" y="csY184"/>
              </a:cxn>
              <a:cxn ang="0">
                <a:pos x="csX185" y="csY185"/>
              </a:cxn>
              <a:cxn ang="0">
                <a:pos x="csX186" y="csY186"/>
              </a:cxn>
              <a:cxn ang="0">
                <a:pos x="csX187" y="csY187"/>
              </a:cxn>
              <a:cxn ang="0">
                <a:pos x="csX188" y="csY188"/>
              </a:cxn>
              <a:cxn ang="0">
                <a:pos x="csX189" y="csY189"/>
              </a:cxn>
              <a:cxn ang="0">
                <a:pos x="csX190" y="csY190"/>
              </a:cxn>
              <a:cxn ang="0">
                <a:pos x="csX191" y="csY191"/>
              </a:cxn>
              <a:cxn ang="0">
                <a:pos x="csX192" y="csY192"/>
              </a:cxn>
              <a:cxn ang="0">
                <a:pos x="csX193" y="csY193"/>
              </a:cxn>
              <a:cxn ang="0">
                <a:pos x="csX194" y="csY194"/>
              </a:cxn>
              <a:cxn ang="0">
                <a:pos x="csX195" y="csY195"/>
              </a:cxn>
              <a:cxn ang="0">
                <a:pos x="csX196" y="csY196"/>
              </a:cxn>
              <a:cxn ang="0">
                <a:pos x="csX197" y="csY197"/>
              </a:cxn>
              <a:cxn ang="0">
                <a:pos x="csX198" y="csY198"/>
              </a:cxn>
              <a:cxn ang="0">
                <a:pos x="csX199" y="csY199"/>
              </a:cxn>
              <a:cxn ang="0">
                <a:pos x="csX200" y="csY200"/>
              </a:cxn>
              <a:cxn ang="0">
                <a:pos x="csX201" y="csY201"/>
              </a:cxn>
              <a:cxn ang="0">
                <a:pos x="csX202" y="csY202"/>
              </a:cxn>
              <a:cxn ang="0">
                <a:pos x="csX203" y="csY203"/>
              </a:cxn>
              <a:cxn ang="0">
                <a:pos x="csX204" y="csY204"/>
              </a:cxn>
              <a:cxn ang="0">
                <a:pos x="csX205" y="csY205"/>
              </a:cxn>
              <a:cxn ang="0">
                <a:pos x="csX206" y="csY206"/>
              </a:cxn>
              <a:cxn ang="0">
                <a:pos x="csX207" y="csY207"/>
              </a:cxn>
              <a:cxn ang="0">
                <a:pos x="csX208" y="csY208"/>
              </a:cxn>
              <a:cxn ang="0">
                <a:pos x="csX209" y="csY209"/>
              </a:cxn>
              <a:cxn ang="0">
                <a:pos x="csX210" y="csY210"/>
              </a:cxn>
              <a:cxn ang="0">
                <a:pos x="csX211" y="csY211"/>
              </a:cxn>
              <a:cxn ang="0">
                <a:pos x="csX212" y="csY212"/>
              </a:cxn>
              <a:cxn ang="0">
                <a:pos x="csX213" y="csY213"/>
              </a:cxn>
              <a:cxn ang="0">
                <a:pos x="csX214" y="csY214"/>
              </a:cxn>
              <a:cxn ang="0">
                <a:pos x="csX215" y="csY215"/>
              </a:cxn>
              <a:cxn ang="0">
                <a:pos x="csX216" y="csY216"/>
              </a:cxn>
              <a:cxn ang="0">
                <a:pos x="csX217" y="csY217"/>
              </a:cxn>
              <a:cxn ang="0">
                <a:pos x="csX218" y="csY218"/>
              </a:cxn>
              <a:cxn ang="0">
                <a:pos x="csX219" y="csY219"/>
              </a:cxn>
              <a:cxn ang="0">
                <a:pos x="csX220" y="csY220"/>
              </a:cxn>
              <a:cxn ang="0">
                <a:pos x="csX221" y="csY221"/>
              </a:cxn>
              <a:cxn ang="0">
                <a:pos x="csX222" y="csY222"/>
              </a:cxn>
              <a:cxn ang="0">
                <a:pos x="csX223" y="csY223"/>
              </a:cxn>
              <a:cxn ang="0">
                <a:pos x="csX224" y="csY224"/>
              </a:cxn>
              <a:cxn ang="0">
                <a:pos x="csX225" y="csY225"/>
              </a:cxn>
              <a:cxn ang="0">
                <a:pos x="csX226" y="csY226"/>
              </a:cxn>
              <a:cxn ang="0">
                <a:pos x="csX227" y="csY227"/>
              </a:cxn>
              <a:cxn ang="0">
                <a:pos x="csX228" y="csY228"/>
              </a:cxn>
              <a:cxn ang="0">
                <a:pos x="csX229" y="csY229"/>
              </a:cxn>
              <a:cxn ang="0">
                <a:pos x="csX230" y="csY230"/>
              </a:cxn>
              <a:cxn ang="0">
                <a:pos x="csX231" y="csY231"/>
              </a:cxn>
              <a:cxn ang="0">
                <a:pos x="csX232" y="csY232"/>
              </a:cxn>
              <a:cxn ang="0">
                <a:pos x="csX233" y="csY233"/>
              </a:cxn>
              <a:cxn ang="0">
                <a:pos x="csX234" y="csY234"/>
              </a:cxn>
              <a:cxn ang="0">
                <a:pos x="csX235" y="csY235"/>
              </a:cxn>
              <a:cxn ang="0">
                <a:pos x="csX236" y="csY236"/>
              </a:cxn>
              <a:cxn ang="0">
                <a:pos x="csX237" y="csY237"/>
              </a:cxn>
              <a:cxn ang="0">
                <a:pos x="csX238" y="csY238"/>
              </a:cxn>
              <a:cxn ang="0">
                <a:pos x="csX239" y="csY239"/>
              </a:cxn>
              <a:cxn ang="0">
                <a:pos x="csX240" y="csY240"/>
              </a:cxn>
              <a:cxn ang="0">
                <a:pos x="csX241" y="csY241"/>
              </a:cxn>
              <a:cxn ang="0">
                <a:pos x="csX242" y="csY242"/>
              </a:cxn>
              <a:cxn ang="0">
                <a:pos x="csX243" y="csY243"/>
              </a:cxn>
              <a:cxn ang="0">
                <a:pos x="csX244" y="csY244"/>
              </a:cxn>
              <a:cxn ang="0">
                <a:pos x="csX245" y="csY245"/>
              </a:cxn>
              <a:cxn ang="0">
                <a:pos x="csX246" y="csY246"/>
              </a:cxn>
              <a:cxn ang="0">
                <a:pos x="csX247" y="csY247"/>
              </a:cxn>
              <a:cxn ang="0">
                <a:pos x="csX248" y="csY248"/>
              </a:cxn>
              <a:cxn ang="0">
                <a:pos x="csX249" y="csY249"/>
              </a:cxn>
              <a:cxn ang="0">
                <a:pos x="csX250" y="csY250"/>
              </a:cxn>
              <a:cxn ang="0">
                <a:pos x="csX251" y="csY251"/>
              </a:cxn>
              <a:cxn ang="0">
                <a:pos x="csX252" y="csY252"/>
              </a:cxn>
              <a:cxn ang="0">
                <a:pos x="csX253" y="csY253"/>
              </a:cxn>
              <a:cxn ang="0">
                <a:pos x="csX254" y="csY254"/>
              </a:cxn>
              <a:cxn ang="0">
                <a:pos x="csX255" y="csY255"/>
              </a:cxn>
              <a:cxn ang="0">
                <a:pos x="csX256" y="csY256"/>
              </a:cxn>
              <a:cxn ang="0">
                <a:pos x="csX257" y="csY257"/>
              </a:cxn>
              <a:cxn ang="0">
                <a:pos x="csX258" y="csY258"/>
              </a:cxn>
              <a:cxn ang="0">
                <a:pos x="csX259" y="csY259"/>
              </a:cxn>
              <a:cxn ang="0">
                <a:pos x="csX260" y="csY260"/>
              </a:cxn>
              <a:cxn ang="0">
                <a:pos x="csX261" y="csY261"/>
              </a:cxn>
              <a:cxn ang="0">
                <a:pos x="csX262" y="csY262"/>
              </a:cxn>
              <a:cxn ang="0">
                <a:pos x="csX263" y="csY263"/>
              </a:cxn>
              <a:cxn ang="0">
                <a:pos x="csX264" y="csY264"/>
              </a:cxn>
              <a:cxn ang="0">
                <a:pos x="csX265" y="csY265"/>
              </a:cxn>
              <a:cxn ang="0">
                <a:pos x="csX266" y="csY266"/>
              </a:cxn>
              <a:cxn ang="0">
                <a:pos x="csX267" y="csY267"/>
              </a:cxn>
              <a:cxn ang="0">
                <a:pos x="csX268" y="csY268"/>
              </a:cxn>
              <a:cxn ang="0">
                <a:pos x="csX269" y="csY269"/>
              </a:cxn>
              <a:cxn ang="0">
                <a:pos x="csX270" y="csY270"/>
              </a:cxn>
              <a:cxn ang="0">
                <a:pos x="csX271" y="csY271"/>
              </a:cxn>
              <a:cxn ang="0">
                <a:pos x="csX272" y="csY272"/>
              </a:cxn>
              <a:cxn ang="0">
                <a:pos x="csX273" y="csY273"/>
              </a:cxn>
              <a:cxn ang="0">
                <a:pos x="csX274" y="csY274"/>
              </a:cxn>
              <a:cxn ang="0">
                <a:pos x="csX275" y="csY275"/>
              </a:cxn>
              <a:cxn ang="0">
                <a:pos x="csX276" y="csY276"/>
              </a:cxn>
              <a:cxn ang="0">
                <a:pos x="csX277" y="csY277"/>
              </a:cxn>
              <a:cxn ang="0">
                <a:pos x="csX278" y="csY278"/>
              </a:cxn>
              <a:cxn ang="0">
                <a:pos x="csX279" y="csY279"/>
              </a:cxn>
              <a:cxn ang="0">
                <a:pos x="csX280" y="csY280"/>
              </a:cxn>
              <a:cxn ang="0">
                <a:pos x="csX281" y="csY281"/>
              </a:cxn>
              <a:cxn ang="0">
                <a:pos x="csX282" y="csY282"/>
              </a:cxn>
              <a:cxn ang="0">
                <a:pos x="csX283" y="csY283"/>
              </a:cxn>
              <a:cxn ang="0">
                <a:pos x="csX284" y="csY284"/>
              </a:cxn>
              <a:cxn ang="0">
                <a:pos x="csX285" y="csY285"/>
              </a:cxn>
              <a:cxn ang="0">
                <a:pos x="csX286" y="csY286"/>
              </a:cxn>
              <a:cxn ang="0">
                <a:pos x="csX287" y="csY287"/>
              </a:cxn>
              <a:cxn ang="0">
                <a:pos x="csX288" y="csY288"/>
              </a:cxn>
              <a:cxn ang="0">
                <a:pos x="csX289" y="csY289"/>
              </a:cxn>
              <a:cxn ang="0">
                <a:pos x="csX290" y="csY290"/>
              </a:cxn>
              <a:cxn ang="0">
                <a:pos x="csX291" y="csY291"/>
              </a:cxn>
              <a:cxn ang="0">
                <a:pos x="csX292" y="csY292"/>
              </a:cxn>
              <a:cxn ang="0">
                <a:pos x="csX293" y="csY293"/>
              </a:cxn>
              <a:cxn ang="0">
                <a:pos x="csX294" y="csY294"/>
              </a:cxn>
              <a:cxn ang="0">
                <a:pos x="csX295" y="csY295"/>
              </a:cxn>
              <a:cxn ang="0">
                <a:pos x="csX296" y="csY296"/>
              </a:cxn>
              <a:cxn ang="0">
                <a:pos x="csX297" y="csY297"/>
              </a:cxn>
              <a:cxn ang="0">
                <a:pos x="csX298" y="csY298"/>
              </a:cxn>
              <a:cxn ang="0">
                <a:pos x="csX299" y="csY299"/>
              </a:cxn>
              <a:cxn ang="0">
                <a:pos x="csX300" y="csY300"/>
              </a:cxn>
              <a:cxn ang="0">
                <a:pos x="csX301" y="csY301"/>
              </a:cxn>
              <a:cxn ang="0">
                <a:pos x="csX302" y="csY302"/>
              </a:cxn>
              <a:cxn ang="0">
                <a:pos x="csX303" y="csY303"/>
              </a:cxn>
              <a:cxn ang="0">
                <a:pos x="csX304" y="csY304"/>
              </a:cxn>
              <a:cxn ang="0">
                <a:pos x="csX305" y="csY305"/>
              </a:cxn>
              <a:cxn ang="0">
                <a:pos x="csX306" y="csY306"/>
              </a:cxn>
              <a:cxn ang="0">
                <a:pos x="csX307" y="csY307"/>
              </a:cxn>
              <a:cxn ang="0">
                <a:pos x="csX308" y="csY308"/>
              </a:cxn>
              <a:cxn ang="0">
                <a:pos x="csX309" y="csY309"/>
              </a:cxn>
              <a:cxn ang="0">
                <a:pos x="csX310" y="csY310"/>
              </a:cxn>
              <a:cxn ang="0">
                <a:pos x="csX311" y="csY311"/>
              </a:cxn>
              <a:cxn ang="0">
                <a:pos x="csX312" y="csY312"/>
              </a:cxn>
              <a:cxn ang="0">
                <a:pos x="csX313" y="csY313"/>
              </a:cxn>
              <a:cxn ang="0">
                <a:pos x="csX314" y="csY314"/>
              </a:cxn>
              <a:cxn ang="0">
                <a:pos x="csX315" y="csY315"/>
              </a:cxn>
              <a:cxn ang="0">
                <a:pos x="csX316" y="csY316"/>
              </a:cxn>
              <a:cxn ang="0">
                <a:pos x="csX317" y="csY317"/>
              </a:cxn>
              <a:cxn ang="0">
                <a:pos x="csX318" y="csY318"/>
              </a:cxn>
              <a:cxn ang="0">
                <a:pos x="csX319" y="csY319"/>
              </a:cxn>
              <a:cxn ang="0">
                <a:pos x="csX320" y="csY320"/>
              </a:cxn>
              <a:cxn ang="0">
                <a:pos x="csX321" y="csY321"/>
              </a:cxn>
              <a:cxn ang="0">
                <a:pos x="csX322" y="csY322"/>
              </a:cxn>
              <a:cxn ang="0">
                <a:pos x="csX323" y="csY323"/>
              </a:cxn>
              <a:cxn ang="0">
                <a:pos x="csX324" y="csY324"/>
              </a:cxn>
              <a:cxn ang="0">
                <a:pos x="csX325" y="csY325"/>
              </a:cxn>
              <a:cxn ang="0">
                <a:pos x="csX326" y="csY326"/>
              </a:cxn>
              <a:cxn ang="0">
                <a:pos x="csX327" y="csY327"/>
              </a:cxn>
              <a:cxn ang="0">
                <a:pos x="csX328" y="csY328"/>
              </a:cxn>
              <a:cxn ang="0">
                <a:pos x="csX329" y="csY329"/>
              </a:cxn>
              <a:cxn ang="0">
                <a:pos x="csX330" y="csY330"/>
              </a:cxn>
              <a:cxn ang="0">
                <a:pos x="csX331" y="csY331"/>
              </a:cxn>
              <a:cxn ang="0">
                <a:pos x="csX332" y="csY332"/>
              </a:cxn>
              <a:cxn ang="0">
                <a:pos x="csX333" y="csY333"/>
              </a:cxn>
              <a:cxn ang="0">
                <a:pos x="csX334" y="csY334"/>
              </a:cxn>
              <a:cxn ang="0">
                <a:pos x="csX335" y="csY335"/>
              </a:cxn>
              <a:cxn ang="0">
                <a:pos x="csX336" y="csY336"/>
              </a:cxn>
              <a:cxn ang="0">
                <a:pos x="csX337" y="csY337"/>
              </a:cxn>
              <a:cxn ang="0">
                <a:pos x="csX338" y="csY338"/>
              </a:cxn>
              <a:cxn ang="0">
                <a:pos x="csX339" y="csY339"/>
              </a:cxn>
              <a:cxn ang="0">
                <a:pos x="csX340" y="csY340"/>
              </a:cxn>
              <a:cxn ang="0">
                <a:pos x="csX341" y="csY341"/>
              </a:cxn>
              <a:cxn ang="0">
                <a:pos x="csX342" y="csY342"/>
              </a:cxn>
              <a:cxn ang="0">
                <a:pos x="csX343" y="csY343"/>
              </a:cxn>
              <a:cxn ang="0">
                <a:pos x="csX344" y="csY344"/>
              </a:cxn>
              <a:cxn ang="0">
                <a:pos x="csX345" y="csY345"/>
              </a:cxn>
              <a:cxn ang="0">
                <a:pos x="csX346" y="csY346"/>
              </a:cxn>
              <a:cxn ang="0">
                <a:pos x="csX347" y="csY347"/>
              </a:cxn>
              <a:cxn ang="0">
                <a:pos x="csX348" y="csY348"/>
              </a:cxn>
              <a:cxn ang="0">
                <a:pos x="csX349" y="csY349"/>
              </a:cxn>
              <a:cxn ang="0">
                <a:pos x="csX350" y="csY350"/>
              </a:cxn>
              <a:cxn ang="0">
                <a:pos x="csX351" y="csY351"/>
              </a:cxn>
              <a:cxn ang="0">
                <a:pos x="csX352" y="csY352"/>
              </a:cxn>
              <a:cxn ang="0">
                <a:pos x="csX353" y="csY353"/>
              </a:cxn>
              <a:cxn ang="0">
                <a:pos x="csX354" y="csY354"/>
              </a:cxn>
              <a:cxn ang="0">
                <a:pos x="csX355" y="csY355"/>
              </a:cxn>
              <a:cxn ang="0">
                <a:pos x="csX356" y="csY356"/>
              </a:cxn>
              <a:cxn ang="0">
                <a:pos x="csX357" y="csY357"/>
              </a:cxn>
              <a:cxn ang="0">
                <a:pos x="csX358" y="csY358"/>
              </a:cxn>
              <a:cxn ang="0">
                <a:pos x="csX359" y="csY359"/>
              </a:cxn>
              <a:cxn ang="0">
                <a:pos x="csX360" y="csY360"/>
              </a:cxn>
              <a:cxn ang="0">
                <a:pos x="csX361" y="csY361"/>
              </a:cxn>
              <a:cxn ang="0">
                <a:pos x="csX362" y="csY362"/>
              </a:cxn>
              <a:cxn ang="0">
                <a:pos x="csX363" y="csY363"/>
              </a:cxn>
              <a:cxn ang="0">
                <a:pos x="csX364" y="csY364"/>
              </a:cxn>
              <a:cxn ang="0">
                <a:pos x="csX365" y="csY365"/>
              </a:cxn>
              <a:cxn ang="0">
                <a:pos x="csX366" y="csY366"/>
              </a:cxn>
              <a:cxn ang="0">
                <a:pos x="csX367" y="csY367"/>
              </a:cxn>
              <a:cxn ang="0">
                <a:pos x="csX368" y="csY368"/>
              </a:cxn>
              <a:cxn ang="0">
                <a:pos x="csX369" y="csY369"/>
              </a:cxn>
              <a:cxn ang="0">
                <a:pos x="csX370" y="csY370"/>
              </a:cxn>
              <a:cxn ang="0">
                <a:pos x="csX371" y="csY371"/>
              </a:cxn>
              <a:cxn ang="0">
                <a:pos x="csX372" y="csY372"/>
              </a:cxn>
              <a:cxn ang="0">
                <a:pos x="csX373" y="csY373"/>
              </a:cxn>
              <a:cxn ang="0">
                <a:pos x="csX374" y="csY374"/>
              </a:cxn>
              <a:cxn ang="0">
                <a:pos x="csX375" y="csY375"/>
              </a:cxn>
              <a:cxn ang="0">
                <a:pos x="csX376" y="csY376"/>
              </a:cxn>
              <a:cxn ang="0">
                <a:pos x="csX377" y="csY377"/>
              </a:cxn>
              <a:cxn ang="0">
                <a:pos x="csX378" y="csY378"/>
              </a:cxn>
              <a:cxn ang="0">
                <a:pos x="csX379" y="csY379"/>
              </a:cxn>
              <a:cxn ang="0">
                <a:pos x="csX380" y="csY380"/>
              </a:cxn>
              <a:cxn ang="0">
                <a:pos x="csX381" y="csY381"/>
              </a:cxn>
              <a:cxn ang="0">
                <a:pos x="csX382" y="csY382"/>
              </a:cxn>
              <a:cxn ang="0">
                <a:pos x="csX383" y="csY383"/>
              </a:cxn>
              <a:cxn ang="0">
                <a:pos x="csX384" y="csY384"/>
              </a:cxn>
              <a:cxn ang="0">
                <a:pos x="csX385" y="csY385"/>
              </a:cxn>
              <a:cxn ang="0">
                <a:pos x="csX386" y="csY386"/>
              </a:cxn>
              <a:cxn ang="0">
                <a:pos x="csX387" y="csY387"/>
              </a:cxn>
              <a:cxn ang="0">
                <a:pos x="csX388" y="csY388"/>
              </a:cxn>
              <a:cxn ang="0">
                <a:pos x="csX389" y="csY389"/>
              </a:cxn>
              <a:cxn ang="0">
                <a:pos x="csX390" y="csY390"/>
              </a:cxn>
              <a:cxn ang="0">
                <a:pos x="csX391" y="csY391"/>
              </a:cxn>
              <a:cxn ang="0">
                <a:pos x="csX392" y="csY392"/>
              </a:cxn>
              <a:cxn ang="0">
                <a:pos x="csX393" y="csY393"/>
              </a:cxn>
              <a:cxn ang="0">
                <a:pos x="csX394" y="csY394"/>
              </a:cxn>
              <a:cxn ang="0">
                <a:pos x="csX395" y="csY395"/>
              </a:cxn>
              <a:cxn ang="0">
                <a:pos x="csX396" y="csY396"/>
              </a:cxn>
              <a:cxn ang="0">
                <a:pos x="csX397" y="csY397"/>
              </a:cxn>
              <a:cxn ang="0">
                <a:pos x="csX398" y="csY398"/>
              </a:cxn>
              <a:cxn ang="0">
                <a:pos x="csX399" y="csY399"/>
              </a:cxn>
              <a:cxn ang="0">
                <a:pos x="csX400" y="csY400"/>
              </a:cxn>
              <a:cxn ang="0">
                <a:pos x="csX401" y="csY401"/>
              </a:cxn>
              <a:cxn ang="0">
                <a:pos x="csX402" y="csY402"/>
              </a:cxn>
              <a:cxn ang="0">
                <a:pos x="csX403" y="csY403"/>
              </a:cxn>
              <a:cxn ang="0">
                <a:pos x="csX404" y="csY404"/>
              </a:cxn>
              <a:cxn ang="0">
                <a:pos x="csX405" y="csY405"/>
              </a:cxn>
              <a:cxn ang="0">
                <a:pos x="csX406" y="csY406"/>
              </a:cxn>
              <a:cxn ang="0">
                <a:pos x="csX407" y="csY407"/>
              </a:cxn>
              <a:cxn ang="0">
                <a:pos x="csX408" y="csY408"/>
              </a:cxn>
              <a:cxn ang="0">
                <a:pos x="csX409" y="csY409"/>
              </a:cxn>
              <a:cxn ang="0">
                <a:pos x="csX410" y="csY410"/>
              </a:cxn>
              <a:cxn ang="0">
                <a:pos x="csX411" y="csY411"/>
              </a:cxn>
              <a:cxn ang="0">
                <a:pos x="csX412" y="csY412"/>
              </a:cxn>
              <a:cxn ang="0">
                <a:pos x="csX413" y="csY413"/>
              </a:cxn>
              <a:cxn ang="0">
                <a:pos x="csX414" y="csY414"/>
              </a:cxn>
              <a:cxn ang="0">
                <a:pos x="csX415" y="csY415"/>
              </a:cxn>
              <a:cxn ang="0">
                <a:pos x="csX416" y="csY416"/>
              </a:cxn>
              <a:cxn ang="0">
                <a:pos x="csX417" y="csY417"/>
              </a:cxn>
              <a:cxn ang="0">
                <a:pos x="csX418" y="csY418"/>
              </a:cxn>
              <a:cxn ang="0">
                <a:pos x="csX419" y="csY419"/>
              </a:cxn>
              <a:cxn ang="0">
                <a:pos x="csX420" y="csY420"/>
              </a:cxn>
              <a:cxn ang="0">
                <a:pos x="csX421" y="csY421"/>
              </a:cxn>
              <a:cxn ang="0">
                <a:pos x="csX422" y="csY422"/>
              </a:cxn>
              <a:cxn ang="0">
                <a:pos x="csX423" y="csY423"/>
              </a:cxn>
              <a:cxn ang="0">
                <a:pos x="csX424" y="csY424"/>
              </a:cxn>
              <a:cxn ang="0">
                <a:pos x="csX425" y="csY425"/>
              </a:cxn>
              <a:cxn ang="0">
                <a:pos x="csX426" y="csY426"/>
              </a:cxn>
              <a:cxn ang="0">
                <a:pos x="csX427" y="csY427"/>
              </a:cxn>
              <a:cxn ang="0">
                <a:pos x="csX428" y="csY428"/>
              </a:cxn>
              <a:cxn ang="0">
                <a:pos x="csX429" y="csY429"/>
              </a:cxn>
              <a:cxn ang="0">
                <a:pos x="csX430" y="csY430"/>
              </a:cxn>
              <a:cxn ang="0">
                <a:pos x="csX431" y="csY431"/>
              </a:cxn>
              <a:cxn ang="0">
                <a:pos x="csX432" y="csY432"/>
              </a:cxn>
              <a:cxn ang="0">
                <a:pos x="csX433" y="csY433"/>
              </a:cxn>
              <a:cxn ang="0">
                <a:pos x="csX434" y="csY434"/>
              </a:cxn>
              <a:cxn ang="0">
                <a:pos x="csX435" y="csY435"/>
              </a:cxn>
              <a:cxn ang="0">
                <a:pos x="csX436" y="csY436"/>
              </a:cxn>
              <a:cxn ang="0">
                <a:pos x="csX437" y="csY437"/>
              </a:cxn>
              <a:cxn ang="0">
                <a:pos x="csX438" y="csY438"/>
              </a:cxn>
              <a:cxn ang="0">
                <a:pos x="csX439" y="csY439"/>
              </a:cxn>
              <a:cxn ang="0">
                <a:pos x="csX440" y="csY440"/>
              </a:cxn>
              <a:cxn ang="0">
                <a:pos x="csX441" y="csY441"/>
              </a:cxn>
              <a:cxn ang="0">
                <a:pos x="csX442" y="csY442"/>
              </a:cxn>
              <a:cxn ang="0">
                <a:pos x="csX443" y="csY443"/>
              </a:cxn>
              <a:cxn ang="0">
                <a:pos x="csX444" y="csY444"/>
              </a:cxn>
              <a:cxn ang="0">
                <a:pos x="csX445" y="csY445"/>
              </a:cxn>
              <a:cxn ang="0">
                <a:pos x="csX446" y="csY446"/>
              </a:cxn>
              <a:cxn ang="0">
                <a:pos x="csX447" y="csY447"/>
              </a:cxn>
              <a:cxn ang="0">
                <a:pos x="csX448" y="csY448"/>
              </a:cxn>
              <a:cxn ang="0">
                <a:pos x="csX449" y="csY449"/>
              </a:cxn>
              <a:cxn ang="0">
                <a:pos x="csX450" y="csY450"/>
              </a:cxn>
              <a:cxn ang="0">
                <a:pos x="csX451" y="csY451"/>
              </a:cxn>
              <a:cxn ang="0">
                <a:pos x="csX452" y="csY452"/>
              </a:cxn>
              <a:cxn ang="0">
                <a:pos x="csX453" y="csY453"/>
              </a:cxn>
              <a:cxn ang="0">
                <a:pos x="csX454" y="csY454"/>
              </a:cxn>
              <a:cxn ang="0">
                <a:pos x="csX455" y="csY455"/>
              </a:cxn>
              <a:cxn ang="0">
                <a:pos x="csX456" y="csY456"/>
              </a:cxn>
              <a:cxn ang="0">
                <a:pos x="csX457" y="csY457"/>
              </a:cxn>
              <a:cxn ang="0">
                <a:pos x="csX458" y="csY458"/>
              </a:cxn>
              <a:cxn ang="0">
                <a:pos x="csX459" y="csY459"/>
              </a:cxn>
              <a:cxn ang="0">
                <a:pos x="csX460" y="csY460"/>
              </a:cxn>
              <a:cxn ang="0">
                <a:pos x="csX461" y="csY461"/>
              </a:cxn>
              <a:cxn ang="0">
                <a:pos x="csX462" y="csY462"/>
              </a:cxn>
              <a:cxn ang="0">
                <a:pos x="csX463" y="csY463"/>
              </a:cxn>
              <a:cxn ang="0">
                <a:pos x="csX464" y="csY464"/>
              </a:cxn>
              <a:cxn ang="0">
                <a:pos x="csX465" y="csY465"/>
              </a:cxn>
              <a:cxn ang="0">
                <a:pos x="csX466" y="csY466"/>
              </a:cxn>
              <a:cxn ang="0">
                <a:pos x="csX467" y="csY467"/>
              </a:cxn>
              <a:cxn ang="0">
                <a:pos x="csX468" y="csY468"/>
              </a:cxn>
              <a:cxn ang="0">
                <a:pos x="csX469" y="csY469"/>
              </a:cxn>
              <a:cxn ang="0">
                <a:pos x="csX470" y="csY470"/>
              </a:cxn>
              <a:cxn ang="0">
                <a:pos x="csX471" y="csY471"/>
              </a:cxn>
              <a:cxn ang="0">
                <a:pos x="csX472" y="csY472"/>
              </a:cxn>
              <a:cxn ang="0">
                <a:pos x="csX473" y="csY473"/>
              </a:cxn>
              <a:cxn ang="0">
                <a:pos x="csX474" y="csY474"/>
              </a:cxn>
              <a:cxn ang="0">
                <a:pos x="csX475" y="csY475"/>
              </a:cxn>
              <a:cxn ang="0">
                <a:pos x="csX476" y="csY476"/>
              </a:cxn>
              <a:cxn ang="0">
                <a:pos x="csX477" y="csY477"/>
              </a:cxn>
              <a:cxn ang="0">
                <a:pos x="csX478" y="csY478"/>
              </a:cxn>
              <a:cxn ang="0">
                <a:pos x="csX479" y="csY479"/>
              </a:cxn>
              <a:cxn ang="0">
                <a:pos x="csX480" y="csY480"/>
              </a:cxn>
              <a:cxn ang="0">
                <a:pos x="csX481" y="csY481"/>
              </a:cxn>
              <a:cxn ang="0">
                <a:pos x="csX482" y="csY482"/>
              </a:cxn>
              <a:cxn ang="0">
                <a:pos x="csX483" y="csY483"/>
              </a:cxn>
              <a:cxn ang="0">
                <a:pos x="csX484" y="csY484"/>
              </a:cxn>
              <a:cxn ang="0">
                <a:pos x="csX485" y="csY485"/>
              </a:cxn>
              <a:cxn ang="0">
                <a:pos x="csX486" y="csY486"/>
              </a:cxn>
              <a:cxn ang="0">
                <a:pos x="csX487" y="csY487"/>
              </a:cxn>
              <a:cxn ang="0">
                <a:pos x="csX488" y="csY488"/>
              </a:cxn>
              <a:cxn ang="0">
                <a:pos x="csX489" y="csY489"/>
              </a:cxn>
              <a:cxn ang="0">
                <a:pos x="csX490" y="csY490"/>
              </a:cxn>
              <a:cxn ang="0">
                <a:pos x="csX491" y="csY491"/>
              </a:cxn>
              <a:cxn ang="0">
                <a:pos x="csX492" y="csY492"/>
              </a:cxn>
              <a:cxn ang="0">
                <a:pos x="csX493" y="csY493"/>
              </a:cxn>
              <a:cxn ang="0">
                <a:pos x="csX494" y="csY494"/>
              </a:cxn>
              <a:cxn ang="0">
                <a:pos x="csX495" y="csY495"/>
              </a:cxn>
              <a:cxn ang="0">
                <a:pos x="csX496" y="csY496"/>
              </a:cxn>
              <a:cxn ang="0">
                <a:pos x="csX497" y="csY497"/>
              </a:cxn>
              <a:cxn ang="0">
                <a:pos x="csX498" y="csY498"/>
              </a:cxn>
              <a:cxn ang="0">
                <a:pos x="csX499" y="csY499"/>
              </a:cxn>
              <a:cxn ang="0">
                <a:pos x="csX500" y="csY500"/>
              </a:cxn>
              <a:cxn ang="0">
                <a:pos x="csX501" y="csY501"/>
              </a:cxn>
              <a:cxn ang="0">
                <a:pos x="csX502" y="csY502"/>
              </a:cxn>
              <a:cxn ang="0">
                <a:pos x="csX503" y="csY503"/>
              </a:cxn>
              <a:cxn ang="0">
                <a:pos x="csX504" y="csY504"/>
              </a:cxn>
              <a:cxn ang="0">
                <a:pos x="csX505" y="csY505"/>
              </a:cxn>
              <a:cxn ang="0">
                <a:pos x="csX506" y="csY506"/>
              </a:cxn>
              <a:cxn ang="0">
                <a:pos x="csX507" y="csY507"/>
              </a:cxn>
              <a:cxn ang="0">
                <a:pos x="csX508" y="csY508"/>
              </a:cxn>
              <a:cxn ang="0">
                <a:pos x="csX509" y="csY509"/>
              </a:cxn>
              <a:cxn ang="0">
                <a:pos x="csX510" y="csY510"/>
              </a:cxn>
              <a:cxn ang="0">
                <a:pos x="csX511" y="csY511"/>
              </a:cxn>
              <a:cxn ang="0">
                <a:pos x="csX512" y="csY512"/>
              </a:cxn>
              <a:cxn ang="0">
                <a:pos x="csX513" y="csY513"/>
              </a:cxn>
              <a:cxn ang="0">
                <a:pos x="csX514" y="csY514"/>
              </a:cxn>
              <a:cxn ang="0">
                <a:pos x="csX515" y="csY515"/>
              </a:cxn>
              <a:cxn ang="0">
                <a:pos x="csX516" y="csY516"/>
              </a:cxn>
              <a:cxn ang="0">
                <a:pos x="csX517" y="csY517"/>
              </a:cxn>
              <a:cxn ang="0">
                <a:pos x="csX518" y="csY518"/>
              </a:cxn>
              <a:cxn ang="0">
                <a:pos x="csX519" y="csY519"/>
              </a:cxn>
              <a:cxn ang="0">
                <a:pos x="csX520" y="csY520"/>
              </a:cxn>
              <a:cxn ang="0">
                <a:pos x="csX521" y="csY521"/>
              </a:cxn>
              <a:cxn ang="0">
                <a:pos x="csX522" y="csY522"/>
              </a:cxn>
              <a:cxn ang="0">
                <a:pos x="csX523" y="csY523"/>
              </a:cxn>
              <a:cxn ang="0">
                <a:pos x="csX524" y="csY524"/>
              </a:cxn>
              <a:cxn ang="0">
                <a:pos x="csX525" y="csY525"/>
              </a:cxn>
              <a:cxn ang="0">
                <a:pos x="csX526" y="csY526"/>
              </a:cxn>
              <a:cxn ang="0">
                <a:pos x="csX527" y="csY527"/>
              </a:cxn>
              <a:cxn ang="0">
                <a:pos x="csX528" y="csY528"/>
              </a:cxn>
              <a:cxn ang="0">
                <a:pos x="csX529" y="csY529"/>
              </a:cxn>
              <a:cxn ang="0">
                <a:pos x="csX530" y="csY530"/>
              </a:cxn>
              <a:cxn ang="0">
                <a:pos x="csX531" y="csY531"/>
              </a:cxn>
              <a:cxn ang="0">
                <a:pos x="csX532" y="csY532"/>
              </a:cxn>
              <a:cxn ang="0">
                <a:pos x="csX533" y="csY533"/>
              </a:cxn>
              <a:cxn ang="0">
                <a:pos x="csX534" y="csY534"/>
              </a:cxn>
              <a:cxn ang="0">
                <a:pos x="csX535" y="csY535"/>
              </a:cxn>
              <a:cxn ang="0">
                <a:pos x="csX536" y="csY536"/>
              </a:cxn>
              <a:cxn ang="0">
                <a:pos x="csX537" y="csY537"/>
              </a:cxn>
              <a:cxn ang="0">
                <a:pos x="csX538" y="csY538"/>
              </a:cxn>
              <a:cxn ang="0">
                <a:pos x="csX539" y="csY539"/>
              </a:cxn>
              <a:cxn ang="0">
                <a:pos x="csX540" y="csY540"/>
              </a:cxn>
              <a:cxn ang="0">
                <a:pos x="csX541" y="csY541"/>
              </a:cxn>
              <a:cxn ang="0">
                <a:pos x="csX542" y="csY542"/>
              </a:cxn>
              <a:cxn ang="0">
                <a:pos x="csX543" y="csY543"/>
              </a:cxn>
              <a:cxn ang="0">
                <a:pos x="csX544" y="csY544"/>
              </a:cxn>
              <a:cxn ang="0">
                <a:pos x="csX545" y="csY545"/>
              </a:cxn>
              <a:cxn ang="0">
                <a:pos x="csX546" y="csY546"/>
              </a:cxn>
              <a:cxn ang="0">
                <a:pos x="csX547" y="csY547"/>
              </a:cxn>
              <a:cxn ang="0">
                <a:pos x="csX548" y="csY548"/>
              </a:cxn>
              <a:cxn ang="0">
                <a:pos x="csX549" y="csY549"/>
              </a:cxn>
              <a:cxn ang="0">
                <a:pos x="csX550" y="csY550"/>
              </a:cxn>
              <a:cxn ang="0">
                <a:pos x="csX551" y="csY551"/>
              </a:cxn>
              <a:cxn ang="0">
                <a:pos x="csX552" y="csY552"/>
              </a:cxn>
              <a:cxn ang="0">
                <a:pos x="csX553" y="csY553"/>
              </a:cxn>
              <a:cxn ang="0">
                <a:pos x="csX554" y="csY554"/>
              </a:cxn>
              <a:cxn ang="0">
                <a:pos x="csX555" y="csY555"/>
              </a:cxn>
              <a:cxn ang="0">
                <a:pos x="csX556" y="csY556"/>
              </a:cxn>
              <a:cxn ang="0">
                <a:pos x="csX557" y="csY557"/>
              </a:cxn>
              <a:cxn ang="0">
                <a:pos x="csX558" y="csY558"/>
              </a:cxn>
              <a:cxn ang="0">
                <a:pos x="csX559" y="csY559"/>
              </a:cxn>
              <a:cxn ang="0">
                <a:pos x="csX560" y="csY560"/>
              </a:cxn>
              <a:cxn ang="0">
                <a:pos x="csX561" y="csY561"/>
              </a:cxn>
              <a:cxn ang="0">
                <a:pos x="csX562" y="csY562"/>
              </a:cxn>
              <a:cxn ang="0">
                <a:pos x="csX563" y="csY563"/>
              </a:cxn>
              <a:cxn ang="0">
                <a:pos x="csX564" y="csY564"/>
              </a:cxn>
              <a:cxn ang="0">
                <a:pos x="csX565" y="csY565"/>
              </a:cxn>
              <a:cxn ang="0">
                <a:pos x="csX566" y="csY566"/>
              </a:cxn>
              <a:cxn ang="0">
                <a:pos x="csX567" y="csY567"/>
              </a:cxn>
              <a:cxn ang="0">
                <a:pos x="csX568" y="csY568"/>
              </a:cxn>
              <a:cxn ang="0">
                <a:pos x="csX569" y="csY569"/>
              </a:cxn>
              <a:cxn ang="0">
                <a:pos x="csX570" y="csY570"/>
              </a:cxn>
              <a:cxn ang="0">
                <a:pos x="csX571" y="csY571"/>
              </a:cxn>
              <a:cxn ang="0">
                <a:pos x="csX572" y="csY572"/>
              </a:cxn>
              <a:cxn ang="0">
                <a:pos x="csX573" y="csY573"/>
              </a:cxn>
              <a:cxn ang="0">
                <a:pos x="csX574" y="csY574"/>
              </a:cxn>
              <a:cxn ang="0">
                <a:pos x="csX575" y="csY575"/>
              </a:cxn>
              <a:cxn ang="0">
                <a:pos x="csX576" y="csY576"/>
              </a:cxn>
              <a:cxn ang="0">
                <a:pos x="csX577" y="csY577"/>
              </a:cxn>
              <a:cxn ang="0">
                <a:pos x="csX578" y="csY578"/>
              </a:cxn>
              <a:cxn ang="0">
                <a:pos x="csX579" y="csY579"/>
              </a:cxn>
              <a:cxn ang="0">
                <a:pos x="csX580" y="csY580"/>
              </a:cxn>
              <a:cxn ang="0">
                <a:pos x="csX581" y="csY581"/>
              </a:cxn>
              <a:cxn ang="0">
                <a:pos x="csX582" y="csY582"/>
              </a:cxn>
              <a:cxn ang="0">
                <a:pos x="csX583" y="csY583"/>
              </a:cxn>
              <a:cxn ang="0">
                <a:pos x="csX584" y="csY584"/>
              </a:cxn>
              <a:cxn ang="0">
                <a:pos x="csX585" y="csY585"/>
              </a:cxn>
              <a:cxn ang="0">
                <a:pos x="csX586" y="csY586"/>
              </a:cxn>
              <a:cxn ang="0">
                <a:pos x="csX587" y="csY587"/>
              </a:cxn>
              <a:cxn ang="0">
                <a:pos x="csX588" y="csY588"/>
              </a:cxn>
              <a:cxn ang="0">
                <a:pos x="csX589" y="csY589"/>
              </a:cxn>
              <a:cxn ang="0">
                <a:pos x="csX590" y="csY590"/>
              </a:cxn>
              <a:cxn ang="0">
                <a:pos x="csX591" y="csY591"/>
              </a:cxn>
              <a:cxn ang="0">
                <a:pos x="csX592" y="csY592"/>
              </a:cxn>
              <a:cxn ang="0">
                <a:pos x="csX593" y="csY593"/>
              </a:cxn>
              <a:cxn ang="0">
                <a:pos x="csX594" y="csY594"/>
              </a:cxn>
              <a:cxn ang="0">
                <a:pos x="csX595" y="csY595"/>
              </a:cxn>
              <a:cxn ang="0">
                <a:pos x="csX596" y="csY596"/>
              </a:cxn>
              <a:cxn ang="0">
                <a:pos x="csX597" y="csY597"/>
              </a:cxn>
              <a:cxn ang="0">
                <a:pos x="csX598" y="csY598"/>
              </a:cxn>
              <a:cxn ang="0">
                <a:pos x="csX599" y="csY599"/>
              </a:cxn>
              <a:cxn ang="0">
                <a:pos x="csX600" y="csY600"/>
              </a:cxn>
              <a:cxn ang="0">
                <a:pos x="csX601" y="csY601"/>
              </a:cxn>
              <a:cxn ang="0">
                <a:pos x="csX602" y="csY602"/>
              </a:cxn>
              <a:cxn ang="0">
                <a:pos x="csX603" y="csY603"/>
              </a:cxn>
              <a:cxn ang="0">
                <a:pos x="csX604" y="csY604"/>
              </a:cxn>
              <a:cxn ang="0">
                <a:pos x="csX605" y="csY605"/>
              </a:cxn>
              <a:cxn ang="0">
                <a:pos x="csX606" y="csY606"/>
              </a:cxn>
              <a:cxn ang="0">
                <a:pos x="csX607" y="csY607"/>
              </a:cxn>
              <a:cxn ang="0">
                <a:pos x="csX608" y="csY608"/>
              </a:cxn>
              <a:cxn ang="0">
                <a:pos x="csX609" y="csY609"/>
              </a:cxn>
              <a:cxn ang="0">
                <a:pos x="csX610" y="csY610"/>
              </a:cxn>
              <a:cxn ang="0">
                <a:pos x="csX611" y="csY611"/>
              </a:cxn>
              <a:cxn ang="0">
                <a:pos x="csX612" y="csY612"/>
              </a:cxn>
              <a:cxn ang="0">
                <a:pos x="csX613" y="csY613"/>
              </a:cxn>
              <a:cxn ang="0">
                <a:pos x="csX614" y="csY614"/>
              </a:cxn>
              <a:cxn ang="0">
                <a:pos x="csX615" y="csY615"/>
              </a:cxn>
              <a:cxn ang="0">
                <a:pos x="csX616" y="csY616"/>
              </a:cxn>
              <a:cxn ang="0">
                <a:pos x="csX617" y="csY617"/>
              </a:cxn>
              <a:cxn ang="0">
                <a:pos x="csX618" y="csY618"/>
              </a:cxn>
              <a:cxn ang="0">
                <a:pos x="csX619" y="csY619"/>
              </a:cxn>
              <a:cxn ang="0">
                <a:pos x="csX620" y="csY620"/>
              </a:cxn>
              <a:cxn ang="0">
                <a:pos x="csX621" y="csY621"/>
              </a:cxn>
              <a:cxn ang="0">
                <a:pos x="csX622" y="csY622"/>
              </a:cxn>
              <a:cxn ang="0">
                <a:pos x="csX623" y="csY623"/>
              </a:cxn>
              <a:cxn ang="0">
                <a:pos x="csX624" y="csY624"/>
              </a:cxn>
              <a:cxn ang="0">
                <a:pos x="csX625" y="csY625"/>
              </a:cxn>
              <a:cxn ang="0">
                <a:pos x="csX626" y="csY626"/>
              </a:cxn>
              <a:cxn ang="0">
                <a:pos x="csX627" y="csY627"/>
              </a:cxn>
              <a:cxn ang="0">
                <a:pos x="csX628" y="csY628"/>
              </a:cxn>
              <a:cxn ang="0">
                <a:pos x="csX629" y="csY629"/>
              </a:cxn>
              <a:cxn ang="0">
                <a:pos x="csX630" y="csY630"/>
              </a:cxn>
              <a:cxn ang="0">
                <a:pos x="csX631" y="csY631"/>
              </a:cxn>
              <a:cxn ang="0">
                <a:pos x="csX632" y="csY632"/>
              </a:cxn>
              <a:cxn ang="0">
                <a:pos x="csX633" y="csY633"/>
              </a:cxn>
              <a:cxn ang="0">
                <a:pos x="csX634" y="csY634"/>
              </a:cxn>
              <a:cxn ang="0">
                <a:pos x="csX635" y="csY635"/>
              </a:cxn>
              <a:cxn ang="0">
                <a:pos x="csX636" y="csY636"/>
              </a:cxn>
              <a:cxn ang="0">
                <a:pos x="csX637" y="csY637"/>
              </a:cxn>
              <a:cxn ang="0">
                <a:pos x="csX638" y="csY638"/>
              </a:cxn>
              <a:cxn ang="0">
                <a:pos x="csX639" y="csY639"/>
              </a:cxn>
              <a:cxn ang="0">
                <a:pos x="csX640" y="csY640"/>
              </a:cxn>
              <a:cxn ang="0">
                <a:pos x="csX641" y="csY641"/>
              </a:cxn>
              <a:cxn ang="0">
                <a:pos x="csX642" y="csY642"/>
              </a:cxn>
              <a:cxn ang="0">
                <a:pos x="csX643" y="csY643"/>
              </a:cxn>
              <a:cxn ang="0">
                <a:pos x="csX644" y="csY644"/>
              </a:cxn>
              <a:cxn ang="0">
                <a:pos x="csX645" y="csY645"/>
              </a:cxn>
              <a:cxn ang="0">
                <a:pos x="csX646" y="csY646"/>
              </a:cxn>
              <a:cxn ang="0">
                <a:pos x="csX647" y="csY647"/>
              </a:cxn>
              <a:cxn ang="0">
                <a:pos x="csX648" y="csY648"/>
              </a:cxn>
              <a:cxn ang="0">
                <a:pos x="csX649" y="csY649"/>
              </a:cxn>
              <a:cxn ang="0">
                <a:pos x="csX650" y="csY650"/>
              </a:cxn>
              <a:cxn ang="0">
                <a:pos x="csX651" y="csY651"/>
              </a:cxn>
              <a:cxn ang="0">
                <a:pos x="csX652" y="csY652"/>
              </a:cxn>
              <a:cxn ang="0">
                <a:pos x="csX653" y="csY653"/>
              </a:cxn>
              <a:cxn ang="0">
                <a:pos x="csX654" y="csY654"/>
              </a:cxn>
              <a:cxn ang="0">
                <a:pos x="csX655" y="csY655"/>
              </a:cxn>
              <a:cxn ang="0">
                <a:pos x="csX656" y="csY656"/>
              </a:cxn>
              <a:cxn ang="0">
                <a:pos x="csX657" y="csY657"/>
              </a:cxn>
              <a:cxn ang="0">
                <a:pos x="csX658" y="csY658"/>
              </a:cxn>
              <a:cxn ang="0">
                <a:pos x="csX659" y="csY659"/>
              </a:cxn>
              <a:cxn ang="0">
                <a:pos x="csX660" y="csY660"/>
              </a:cxn>
              <a:cxn ang="0">
                <a:pos x="csX661" y="csY661"/>
              </a:cxn>
              <a:cxn ang="0">
                <a:pos x="csX662" y="csY662"/>
              </a:cxn>
              <a:cxn ang="0">
                <a:pos x="csX663" y="csY663"/>
              </a:cxn>
              <a:cxn ang="0">
                <a:pos x="csX664" y="csY664"/>
              </a:cxn>
              <a:cxn ang="0">
                <a:pos x="csX665" y="csY665"/>
              </a:cxn>
              <a:cxn ang="0">
                <a:pos x="csX666" y="csY666"/>
              </a:cxn>
              <a:cxn ang="0">
                <a:pos x="csX667" y="csY667"/>
              </a:cxn>
              <a:cxn ang="0">
                <a:pos x="csX668" y="csY668"/>
              </a:cxn>
              <a:cxn ang="0">
                <a:pos x="csX669" y="csY669"/>
              </a:cxn>
              <a:cxn ang="0">
                <a:pos x="csX670" y="csY670"/>
              </a:cxn>
              <a:cxn ang="0">
                <a:pos x="csX671" y="csY671"/>
              </a:cxn>
              <a:cxn ang="0">
                <a:pos x="csX672" y="csY672"/>
              </a:cxn>
              <a:cxn ang="0">
                <a:pos x="csX673" y="csY673"/>
              </a:cxn>
              <a:cxn ang="0">
                <a:pos x="csX674" y="csY674"/>
              </a:cxn>
              <a:cxn ang="0">
                <a:pos x="csX675" y="csY675"/>
              </a:cxn>
              <a:cxn ang="0">
                <a:pos x="csX676" y="csY676"/>
              </a:cxn>
              <a:cxn ang="0">
                <a:pos x="csX677" y="csY677"/>
              </a:cxn>
              <a:cxn ang="0">
                <a:pos x="csX678" y="csY678"/>
              </a:cxn>
              <a:cxn ang="0">
                <a:pos x="csX679" y="csY679"/>
              </a:cxn>
              <a:cxn ang="0">
                <a:pos x="csX680" y="csY680"/>
              </a:cxn>
              <a:cxn ang="0">
                <a:pos x="csX681" y="csY681"/>
              </a:cxn>
              <a:cxn ang="0">
                <a:pos x="csX682" y="csY682"/>
              </a:cxn>
              <a:cxn ang="0">
                <a:pos x="csX683" y="csY683"/>
              </a:cxn>
              <a:cxn ang="0">
                <a:pos x="csX684" y="csY684"/>
              </a:cxn>
              <a:cxn ang="0">
                <a:pos x="csX685" y="csY685"/>
              </a:cxn>
              <a:cxn ang="0">
                <a:pos x="csX686" y="csY686"/>
              </a:cxn>
              <a:cxn ang="0">
                <a:pos x="csX687" y="csY687"/>
              </a:cxn>
              <a:cxn ang="0">
                <a:pos x="csX688" y="csY688"/>
              </a:cxn>
              <a:cxn ang="0">
                <a:pos x="csX689" y="csY689"/>
              </a:cxn>
              <a:cxn ang="0">
                <a:pos x="csX690" y="csY690"/>
              </a:cxn>
              <a:cxn ang="0">
                <a:pos x="csX691" y="csY691"/>
              </a:cxn>
              <a:cxn ang="0">
                <a:pos x="csX692" y="csY692"/>
              </a:cxn>
              <a:cxn ang="0">
                <a:pos x="csX693" y="csY693"/>
              </a:cxn>
              <a:cxn ang="0">
                <a:pos x="csX694" y="csY694"/>
              </a:cxn>
              <a:cxn ang="0">
                <a:pos x="csX695" y="csY695"/>
              </a:cxn>
              <a:cxn ang="0">
                <a:pos x="csX696" y="csY696"/>
              </a:cxn>
              <a:cxn ang="0">
                <a:pos x="csX697" y="csY697"/>
              </a:cxn>
              <a:cxn ang="0">
                <a:pos x="csX698" y="csY698"/>
              </a:cxn>
              <a:cxn ang="0">
                <a:pos x="csX699" y="csY699"/>
              </a:cxn>
              <a:cxn ang="0">
                <a:pos x="csX700" y="csY700"/>
              </a:cxn>
              <a:cxn ang="0">
                <a:pos x="csX701" y="csY701"/>
              </a:cxn>
              <a:cxn ang="0">
                <a:pos x="csX702" y="csY702"/>
              </a:cxn>
              <a:cxn ang="0">
                <a:pos x="csX703" y="csY703"/>
              </a:cxn>
              <a:cxn ang="0">
                <a:pos x="csX704" y="csY704"/>
              </a:cxn>
              <a:cxn ang="0">
                <a:pos x="csX705" y="csY705"/>
              </a:cxn>
              <a:cxn ang="0">
                <a:pos x="csX706" y="csY706"/>
              </a:cxn>
              <a:cxn ang="0">
                <a:pos x="csX707" y="csY707"/>
              </a:cxn>
              <a:cxn ang="0">
                <a:pos x="csX708" y="csY708"/>
              </a:cxn>
              <a:cxn ang="0">
                <a:pos x="csX709" y="csY709"/>
              </a:cxn>
              <a:cxn ang="0">
                <a:pos x="csX710" y="csY710"/>
              </a:cxn>
              <a:cxn ang="0">
                <a:pos x="csX711" y="csY711"/>
              </a:cxn>
              <a:cxn ang="0">
                <a:pos x="csX712" y="csY712"/>
              </a:cxn>
              <a:cxn ang="0">
                <a:pos x="csX713" y="csY713"/>
              </a:cxn>
              <a:cxn ang="0">
                <a:pos x="csX714" y="csY714"/>
              </a:cxn>
              <a:cxn ang="0">
                <a:pos x="csX715" y="csY715"/>
              </a:cxn>
              <a:cxn ang="0">
                <a:pos x="csX716" y="csY716"/>
              </a:cxn>
              <a:cxn ang="0">
                <a:pos x="csX717" y="csY717"/>
              </a:cxn>
              <a:cxn ang="0">
                <a:pos x="csX718" y="csY718"/>
              </a:cxn>
              <a:cxn ang="0">
                <a:pos x="csX719" y="csY719"/>
              </a:cxn>
              <a:cxn ang="0">
                <a:pos x="csX720" y="csY720"/>
              </a:cxn>
              <a:cxn ang="0">
                <a:pos x="csX721" y="csY721"/>
              </a:cxn>
              <a:cxn ang="0">
                <a:pos x="csX722" y="csY722"/>
              </a:cxn>
              <a:cxn ang="0">
                <a:pos x="csX723" y="csY723"/>
              </a:cxn>
              <a:cxn ang="0">
                <a:pos x="csX724" y="csY724"/>
              </a:cxn>
              <a:cxn ang="0">
                <a:pos x="csX725" y="csY725"/>
              </a:cxn>
              <a:cxn ang="0">
                <a:pos x="csX726" y="csY726"/>
              </a:cxn>
              <a:cxn ang="0">
                <a:pos x="csX727" y="csY727"/>
              </a:cxn>
              <a:cxn ang="0">
                <a:pos x="csX728" y="csY728"/>
              </a:cxn>
              <a:cxn ang="0">
                <a:pos x="csX729" y="csY729"/>
              </a:cxn>
              <a:cxn ang="0">
                <a:pos x="csX730" y="csY730"/>
              </a:cxn>
              <a:cxn ang="0">
                <a:pos x="csX731" y="csY731"/>
              </a:cxn>
              <a:cxn ang="0">
                <a:pos x="csX732" y="csY732"/>
              </a:cxn>
              <a:cxn ang="0">
                <a:pos x="csX733" y="csY733"/>
              </a:cxn>
              <a:cxn ang="0">
                <a:pos x="csX734" y="csY734"/>
              </a:cxn>
              <a:cxn ang="0">
                <a:pos x="csX735" y="csY735"/>
              </a:cxn>
              <a:cxn ang="0">
                <a:pos x="csX736" y="csY736"/>
              </a:cxn>
              <a:cxn ang="0">
                <a:pos x="csX737" y="csY737"/>
              </a:cxn>
              <a:cxn ang="0">
                <a:pos x="csX738" y="csY738"/>
              </a:cxn>
              <a:cxn ang="0">
                <a:pos x="csX739" y="csY739"/>
              </a:cxn>
              <a:cxn ang="0">
                <a:pos x="csX740" y="csY740"/>
              </a:cxn>
              <a:cxn ang="0">
                <a:pos x="csX741" y="csY741"/>
              </a:cxn>
              <a:cxn ang="0">
                <a:pos x="csX742" y="csY742"/>
              </a:cxn>
              <a:cxn ang="0">
                <a:pos x="csX743" y="csY743"/>
              </a:cxn>
              <a:cxn ang="0">
                <a:pos x="csX744" y="csY744"/>
              </a:cxn>
              <a:cxn ang="0">
                <a:pos x="csX745" y="csY745"/>
              </a:cxn>
              <a:cxn ang="0">
                <a:pos x="csX746" y="csY746"/>
              </a:cxn>
              <a:cxn ang="0">
                <a:pos x="csX747" y="csY747"/>
              </a:cxn>
              <a:cxn ang="0">
                <a:pos x="csX748" y="csY748"/>
              </a:cxn>
              <a:cxn ang="0">
                <a:pos x="csX749" y="csY749"/>
              </a:cxn>
              <a:cxn ang="0">
                <a:pos x="csX750" y="csY750"/>
              </a:cxn>
              <a:cxn ang="0">
                <a:pos x="csX751" y="csY751"/>
              </a:cxn>
              <a:cxn ang="0">
                <a:pos x="csX752" y="csY752"/>
              </a:cxn>
              <a:cxn ang="0">
                <a:pos x="csX753" y="csY753"/>
              </a:cxn>
              <a:cxn ang="0">
                <a:pos x="csX754" y="csY754"/>
              </a:cxn>
              <a:cxn ang="0">
                <a:pos x="csX755" y="csY755"/>
              </a:cxn>
              <a:cxn ang="0">
                <a:pos x="csX756" y="csY756"/>
              </a:cxn>
              <a:cxn ang="0">
                <a:pos x="csX757" y="csY757"/>
              </a:cxn>
              <a:cxn ang="0">
                <a:pos x="csX758" y="csY758"/>
              </a:cxn>
              <a:cxn ang="0">
                <a:pos x="csX759" y="csY759"/>
              </a:cxn>
              <a:cxn ang="0">
                <a:pos x="csX760" y="csY760"/>
              </a:cxn>
              <a:cxn ang="0">
                <a:pos x="csX761" y="csY761"/>
              </a:cxn>
              <a:cxn ang="0">
                <a:pos x="csX762" y="csY762"/>
              </a:cxn>
              <a:cxn ang="0">
                <a:pos x="csX763" y="csY763"/>
              </a:cxn>
              <a:cxn ang="0">
                <a:pos x="csX764" y="csY764"/>
              </a:cxn>
              <a:cxn ang="0">
                <a:pos x="csX765" y="csY765"/>
              </a:cxn>
              <a:cxn ang="0">
                <a:pos x="csX766" y="csY766"/>
              </a:cxn>
              <a:cxn ang="0">
                <a:pos x="csX767" y="csY767"/>
              </a:cxn>
              <a:cxn ang="0">
                <a:pos x="csX768" y="csY768"/>
              </a:cxn>
              <a:cxn ang="0">
                <a:pos x="csX769" y="csY769"/>
              </a:cxn>
              <a:cxn ang="0">
                <a:pos x="csX770" y="csY770"/>
              </a:cxn>
              <a:cxn ang="0">
                <a:pos x="csX771" y="csY771"/>
              </a:cxn>
              <a:cxn ang="0">
                <a:pos x="csX772" y="csY772"/>
              </a:cxn>
              <a:cxn ang="0">
                <a:pos x="csX773" y="csY773"/>
              </a:cxn>
              <a:cxn ang="0">
                <a:pos x="csX774" y="csY774"/>
              </a:cxn>
              <a:cxn ang="0">
                <a:pos x="csX775" y="csY775"/>
              </a:cxn>
              <a:cxn ang="0">
                <a:pos x="csX776" y="csY776"/>
              </a:cxn>
              <a:cxn ang="0">
                <a:pos x="csX777" y="csY777"/>
              </a:cxn>
              <a:cxn ang="0">
                <a:pos x="csX778" y="csY778"/>
              </a:cxn>
              <a:cxn ang="0">
                <a:pos x="csX779" y="csY779"/>
              </a:cxn>
              <a:cxn ang="0">
                <a:pos x="csX780" y="csY780"/>
              </a:cxn>
              <a:cxn ang="0">
                <a:pos x="csX781" y="csY781"/>
              </a:cxn>
              <a:cxn ang="0">
                <a:pos x="csX782" y="csY782"/>
              </a:cxn>
              <a:cxn ang="0">
                <a:pos x="csX783" y="csY783"/>
              </a:cxn>
              <a:cxn ang="0">
                <a:pos x="csX784" y="csY784"/>
              </a:cxn>
              <a:cxn ang="0">
                <a:pos x="csX785" y="csY785"/>
              </a:cxn>
              <a:cxn ang="0">
                <a:pos x="csX786" y="csY786"/>
              </a:cxn>
              <a:cxn ang="0">
                <a:pos x="csX787" y="csY787"/>
              </a:cxn>
              <a:cxn ang="0">
                <a:pos x="csX788" y="csY788"/>
              </a:cxn>
              <a:cxn ang="0">
                <a:pos x="csX789" y="csY789"/>
              </a:cxn>
              <a:cxn ang="0">
                <a:pos x="csX790" y="csY790"/>
              </a:cxn>
              <a:cxn ang="0">
                <a:pos x="csX791" y="csY791"/>
              </a:cxn>
              <a:cxn ang="0">
                <a:pos x="csX792" y="csY792"/>
              </a:cxn>
              <a:cxn ang="0">
                <a:pos x="csX793" y="csY793"/>
              </a:cxn>
              <a:cxn ang="0">
                <a:pos x="csX794" y="csY794"/>
              </a:cxn>
              <a:cxn ang="0">
                <a:pos x="csX795" y="csY795"/>
              </a:cxn>
              <a:cxn ang="0">
                <a:pos x="csX796" y="csY796"/>
              </a:cxn>
              <a:cxn ang="0">
                <a:pos x="csX797" y="csY797"/>
              </a:cxn>
              <a:cxn ang="0">
                <a:pos x="csX798" y="csY798"/>
              </a:cxn>
              <a:cxn ang="0">
                <a:pos x="csX799" y="csY799"/>
              </a:cxn>
              <a:cxn ang="0">
                <a:pos x="csX800" y="csY800"/>
              </a:cxn>
              <a:cxn ang="0">
                <a:pos x="csX801" y="csY801"/>
              </a:cxn>
              <a:cxn ang="0">
                <a:pos x="csX802" y="csY802"/>
              </a:cxn>
              <a:cxn ang="0">
                <a:pos x="csX803" y="csY803"/>
              </a:cxn>
              <a:cxn ang="0">
                <a:pos x="csX804" y="csY804"/>
              </a:cxn>
              <a:cxn ang="0">
                <a:pos x="csX805" y="csY805"/>
              </a:cxn>
              <a:cxn ang="0">
                <a:pos x="csX806" y="csY806"/>
              </a:cxn>
              <a:cxn ang="0">
                <a:pos x="csX807" y="csY807"/>
              </a:cxn>
              <a:cxn ang="0">
                <a:pos x="csX808" y="csY808"/>
              </a:cxn>
              <a:cxn ang="0">
                <a:pos x="csX809" y="csY809"/>
              </a:cxn>
              <a:cxn ang="0">
                <a:pos x="csX810" y="csY810"/>
              </a:cxn>
              <a:cxn ang="0">
                <a:pos x="csX811" y="csY811"/>
              </a:cxn>
              <a:cxn ang="0">
                <a:pos x="csX812" y="csY812"/>
              </a:cxn>
              <a:cxn ang="0">
                <a:pos x="csX813" y="csY813"/>
              </a:cxn>
              <a:cxn ang="0">
                <a:pos x="csX814" y="csY814"/>
              </a:cxn>
              <a:cxn ang="0">
                <a:pos x="csX815" y="csY815"/>
              </a:cxn>
              <a:cxn ang="0">
                <a:pos x="csX816" y="csY816"/>
              </a:cxn>
              <a:cxn ang="0">
                <a:pos x="csX817" y="csY817"/>
              </a:cxn>
              <a:cxn ang="0">
                <a:pos x="csX818" y="csY818"/>
              </a:cxn>
              <a:cxn ang="0">
                <a:pos x="csX819" y="csY819"/>
              </a:cxn>
              <a:cxn ang="0">
                <a:pos x="csX820" y="csY820"/>
              </a:cxn>
              <a:cxn ang="0">
                <a:pos x="csX821" y="csY821"/>
              </a:cxn>
              <a:cxn ang="0">
                <a:pos x="csX822" y="csY822"/>
              </a:cxn>
              <a:cxn ang="0">
                <a:pos x="csX823" y="csY823"/>
              </a:cxn>
              <a:cxn ang="0">
                <a:pos x="csX824" y="csY824"/>
              </a:cxn>
              <a:cxn ang="0">
                <a:pos x="csX825" y="csY825"/>
              </a:cxn>
              <a:cxn ang="0">
                <a:pos x="csX826" y="csY826"/>
              </a:cxn>
              <a:cxn ang="0">
                <a:pos x="csX827" y="csY827"/>
              </a:cxn>
              <a:cxn ang="0">
                <a:pos x="csX828" y="csY828"/>
              </a:cxn>
              <a:cxn ang="0">
                <a:pos x="csX829" y="csY829"/>
              </a:cxn>
              <a:cxn ang="0">
                <a:pos x="csX830" y="csY830"/>
              </a:cxn>
              <a:cxn ang="0">
                <a:pos x="csX831" y="csY831"/>
              </a:cxn>
              <a:cxn ang="0">
                <a:pos x="csX832" y="csY832"/>
              </a:cxn>
              <a:cxn ang="0">
                <a:pos x="csX833" y="csY833"/>
              </a:cxn>
              <a:cxn ang="0">
                <a:pos x="csX834" y="csY834"/>
              </a:cxn>
              <a:cxn ang="0">
                <a:pos x="csX835" y="csY835"/>
              </a:cxn>
              <a:cxn ang="0">
                <a:pos x="csX836" y="csY836"/>
              </a:cxn>
              <a:cxn ang="0">
                <a:pos x="csX837" y="csY837"/>
              </a:cxn>
              <a:cxn ang="0">
                <a:pos x="csX838" y="csY838"/>
              </a:cxn>
              <a:cxn ang="0">
                <a:pos x="csX839" y="csY839"/>
              </a:cxn>
              <a:cxn ang="0">
                <a:pos x="csX840" y="csY840"/>
              </a:cxn>
              <a:cxn ang="0">
                <a:pos x="csX841" y="csY841"/>
              </a:cxn>
              <a:cxn ang="0">
                <a:pos x="csX842" y="csY842"/>
              </a:cxn>
              <a:cxn ang="0">
                <a:pos x="csX843" y="csY843"/>
              </a:cxn>
              <a:cxn ang="0">
                <a:pos x="csX844" y="csY844"/>
              </a:cxn>
              <a:cxn ang="0">
                <a:pos x="csX845" y="csY845"/>
              </a:cxn>
              <a:cxn ang="0">
                <a:pos x="csX846" y="csY846"/>
              </a:cxn>
              <a:cxn ang="0">
                <a:pos x="csX847" y="csY847"/>
              </a:cxn>
              <a:cxn ang="0">
                <a:pos x="csX848" y="csY848"/>
              </a:cxn>
              <a:cxn ang="0">
                <a:pos x="csX849" y="csY849"/>
              </a:cxn>
              <a:cxn ang="0">
                <a:pos x="csX850" y="csY850"/>
              </a:cxn>
              <a:cxn ang="0">
                <a:pos x="csX851" y="csY851"/>
              </a:cxn>
              <a:cxn ang="0">
                <a:pos x="csX852" y="csY852"/>
              </a:cxn>
              <a:cxn ang="0">
                <a:pos x="csX853" y="csY853"/>
              </a:cxn>
              <a:cxn ang="0">
                <a:pos x="csX854" y="csY854"/>
              </a:cxn>
              <a:cxn ang="0">
                <a:pos x="csX855" y="csY855"/>
              </a:cxn>
              <a:cxn ang="0">
                <a:pos x="csX856" y="csY856"/>
              </a:cxn>
              <a:cxn ang="0">
                <a:pos x="csX857" y="csY857"/>
              </a:cxn>
              <a:cxn ang="0">
                <a:pos x="csX858" y="csY858"/>
              </a:cxn>
              <a:cxn ang="0">
                <a:pos x="csX859" y="csY859"/>
              </a:cxn>
              <a:cxn ang="0">
                <a:pos x="csX860" y="csY860"/>
              </a:cxn>
              <a:cxn ang="0">
                <a:pos x="csX861" y="csY861"/>
              </a:cxn>
              <a:cxn ang="0">
                <a:pos x="csX862" y="csY862"/>
              </a:cxn>
              <a:cxn ang="0">
                <a:pos x="csX863" y="csY863"/>
              </a:cxn>
              <a:cxn ang="0">
                <a:pos x="csX864" y="csY864"/>
              </a:cxn>
              <a:cxn ang="0">
                <a:pos x="csX865" y="csY865"/>
              </a:cxn>
              <a:cxn ang="0">
                <a:pos x="csX866" y="csY866"/>
              </a:cxn>
              <a:cxn ang="0">
                <a:pos x="csX867" y="csY867"/>
              </a:cxn>
              <a:cxn ang="0">
                <a:pos x="csX868" y="csY868"/>
              </a:cxn>
              <a:cxn ang="0">
                <a:pos x="csX869" y="csY869"/>
              </a:cxn>
              <a:cxn ang="0">
                <a:pos x="csX870" y="csY870"/>
              </a:cxn>
              <a:cxn ang="0">
                <a:pos x="csX871" y="csY871"/>
              </a:cxn>
              <a:cxn ang="0">
                <a:pos x="csX872" y="csY872"/>
              </a:cxn>
              <a:cxn ang="0">
                <a:pos x="csX873" y="csY873"/>
              </a:cxn>
              <a:cxn ang="0">
                <a:pos x="csX874" y="csY874"/>
              </a:cxn>
              <a:cxn ang="0">
                <a:pos x="csX875" y="csY875"/>
              </a:cxn>
              <a:cxn ang="0">
                <a:pos x="csX876" y="csY876"/>
              </a:cxn>
              <a:cxn ang="0">
                <a:pos x="csX877" y="csY877"/>
              </a:cxn>
              <a:cxn ang="0">
                <a:pos x="csX878" y="csY878"/>
              </a:cxn>
              <a:cxn ang="0">
                <a:pos x="csX879" y="csY879"/>
              </a:cxn>
              <a:cxn ang="0">
                <a:pos x="csX880" y="csY880"/>
              </a:cxn>
              <a:cxn ang="0">
                <a:pos x="csX881" y="csY881"/>
              </a:cxn>
              <a:cxn ang="0">
                <a:pos x="csX882" y="csY882"/>
              </a:cxn>
              <a:cxn ang="0">
                <a:pos x="csX883" y="csY883"/>
              </a:cxn>
              <a:cxn ang="0">
                <a:pos x="csX884" y="csY884"/>
              </a:cxn>
              <a:cxn ang="0">
                <a:pos x="csX885" y="csY885"/>
              </a:cxn>
              <a:cxn ang="0">
                <a:pos x="csX886" y="csY886"/>
              </a:cxn>
              <a:cxn ang="0">
                <a:pos x="csX887" y="csY887"/>
              </a:cxn>
              <a:cxn ang="0">
                <a:pos x="csX888" y="csY888"/>
              </a:cxn>
              <a:cxn ang="0">
                <a:pos x="csX889" y="csY889"/>
              </a:cxn>
              <a:cxn ang="0">
                <a:pos x="csX890" y="csY890"/>
              </a:cxn>
              <a:cxn ang="0">
                <a:pos x="csX891" y="csY891"/>
              </a:cxn>
              <a:cxn ang="0">
                <a:pos x="csX892" y="csY892"/>
              </a:cxn>
              <a:cxn ang="0">
                <a:pos x="csX893" y="csY893"/>
              </a:cxn>
              <a:cxn ang="0">
                <a:pos x="csX894" y="csY894"/>
              </a:cxn>
              <a:cxn ang="0">
                <a:pos x="csX895" y="csY895"/>
              </a:cxn>
              <a:cxn ang="0">
                <a:pos x="csX896" y="csY896"/>
              </a:cxn>
              <a:cxn ang="0">
                <a:pos x="csX897" y="csY897"/>
              </a:cxn>
              <a:cxn ang="0">
                <a:pos x="csX898" y="csY898"/>
              </a:cxn>
              <a:cxn ang="0">
                <a:pos x="csX899" y="csY899"/>
              </a:cxn>
              <a:cxn ang="0">
                <a:pos x="csX900" y="csY900"/>
              </a:cxn>
              <a:cxn ang="0">
                <a:pos x="csX901" y="csY901"/>
              </a:cxn>
              <a:cxn ang="0">
                <a:pos x="csX902" y="csY902"/>
              </a:cxn>
              <a:cxn ang="0">
                <a:pos x="csX903" y="csY903"/>
              </a:cxn>
              <a:cxn ang="0">
                <a:pos x="csX904" y="csY904"/>
              </a:cxn>
              <a:cxn ang="0">
                <a:pos x="csX905" y="csY905"/>
              </a:cxn>
              <a:cxn ang="0">
                <a:pos x="csX906" y="csY906"/>
              </a:cxn>
              <a:cxn ang="0">
                <a:pos x="csX907" y="csY907"/>
              </a:cxn>
              <a:cxn ang="0">
                <a:pos x="csX908" y="csY908"/>
              </a:cxn>
              <a:cxn ang="0">
                <a:pos x="csX909" y="csY909"/>
              </a:cxn>
              <a:cxn ang="0">
                <a:pos x="csX910" y="csY910"/>
              </a:cxn>
              <a:cxn ang="0">
                <a:pos x="csX911" y="csY911"/>
              </a:cxn>
              <a:cxn ang="0">
                <a:pos x="csX912" y="csY912"/>
              </a:cxn>
              <a:cxn ang="0">
                <a:pos x="csX913" y="csY913"/>
              </a:cxn>
              <a:cxn ang="0">
                <a:pos x="csX914" y="csY914"/>
              </a:cxn>
              <a:cxn ang="0">
                <a:pos x="csX915" y="csY915"/>
              </a:cxn>
              <a:cxn ang="0">
                <a:pos x="csX916" y="csY916"/>
              </a:cxn>
              <a:cxn ang="0">
                <a:pos x="csX917" y="csY917"/>
              </a:cxn>
              <a:cxn ang="0">
                <a:pos x="csX918" y="csY918"/>
              </a:cxn>
              <a:cxn ang="0">
                <a:pos x="csX919" y="csY919"/>
              </a:cxn>
              <a:cxn ang="0">
                <a:pos x="csX920" y="csY920"/>
              </a:cxn>
              <a:cxn ang="0">
                <a:pos x="csX921" y="csY921"/>
              </a:cxn>
              <a:cxn ang="0">
                <a:pos x="csX922" y="csY922"/>
              </a:cxn>
              <a:cxn ang="0">
                <a:pos x="csX923" y="csY923"/>
              </a:cxn>
              <a:cxn ang="0">
                <a:pos x="csX924" y="csY924"/>
              </a:cxn>
              <a:cxn ang="0">
                <a:pos x="csX925" y="csY925"/>
              </a:cxn>
              <a:cxn ang="0">
                <a:pos x="csX926" y="csY926"/>
              </a:cxn>
              <a:cxn ang="0">
                <a:pos x="csX927" y="csY927"/>
              </a:cxn>
              <a:cxn ang="0">
                <a:pos x="csX928" y="csY928"/>
              </a:cxn>
              <a:cxn ang="0">
                <a:pos x="csX929" y="csY929"/>
              </a:cxn>
              <a:cxn ang="0">
                <a:pos x="csX930" y="csY930"/>
              </a:cxn>
              <a:cxn ang="0">
                <a:pos x="csX931" y="csY931"/>
              </a:cxn>
              <a:cxn ang="0">
                <a:pos x="csX932" y="csY932"/>
              </a:cxn>
              <a:cxn ang="0">
                <a:pos x="csX933" y="csY933"/>
              </a:cxn>
              <a:cxn ang="0">
                <a:pos x="csX934" y="csY934"/>
              </a:cxn>
              <a:cxn ang="0">
                <a:pos x="csX935" y="csY935"/>
              </a:cxn>
              <a:cxn ang="0">
                <a:pos x="csX936" y="csY936"/>
              </a:cxn>
              <a:cxn ang="0">
                <a:pos x="csX937" y="csY937"/>
              </a:cxn>
              <a:cxn ang="0">
                <a:pos x="csX938" y="csY938"/>
              </a:cxn>
              <a:cxn ang="0">
                <a:pos x="csX939" y="csY939"/>
              </a:cxn>
              <a:cxn ang="0">
                <a:pos x="csX940" y="csY940"/>
              </a:cxn>
              <a:cxn ang="0">
                <a:pos x="csX941" y="csY941"/>
              </a:cxn>
              <a:cxn ang="0">
                <a:pos x="csX942" y="csY942"/>
              </a:cxn>
              <a:cxn ang="0">
                <a:pos x="csX943" y="csY943"/>
              </a:cxn>
              <a:cxn ang="0">
                <a:pos x="csX944" y="csY944"/>
              </a:cxn>
              <a:cxn ang="0">
                <a:pos x="csX945" y="csY945"/>
              </a:cxn>
              <a:cxn ang="0">
                <a:pos x="csX946" y="csY946"/>
              </a:cxn>
              <a:cxn ang="0">
                <a:pos x="csX947" y="csY947"/>
              </a:cxn>
              <a:cxn ang="0">
                <a:pos x="csX948" y="csY948"/>
              </a:cxn>
              <a:cxn ang="0">
                <a:pos x="csX949" y="csY949"/>
              </a:cxn>
              <a:cxn ang="0">
                <a:pos x="csX950" y="csY950"/>
              </a:cxn>
              <a:cxn ang="0">
                <a:pos x="csX951" y="csY951"/>
              </a:cxn>
              <a:cxn ang="0">
                <a:pos x="csX952" y="csY952"/>
              </a:cxn>
              <a:cxn ang="0">
                <a:pos x="csX953" y="csY953"/>
              </a:cxn>
              <a:cxn ang="0">
                <a:pos x="csX954" y="csY954"/>
              </a:cxn>
              <a:cxn ang="0">
                <a:pos x="csX955" y="csY955"/>
              </a:cxn>
              <a:cxn ang="0">
                <a:pos x="csX956" y="csY956"/>
              </a:cxn>
              <a:cxn ang="0">
                <a:pos x="csX957" y="csY957"/>
              </a:cxn>
              <a:cxn ang="0">
                <a:pos x="csX958" y="csY958"/>
              </a:cxn>
              <a:cxn ang="0">
                <a:pos x="csX959" y="csY959"/>
              </a:cxn>
              <a:cxn ang="0">
                <a:pos x="csX960" y="csY960"/>
              </a:cxn>
              <a:cxn ang="0">
                <a:pos x="csX961" y="csY961"/>
              </a:cxn>
              <a:cxn ang="0">
                <a:pos x="csX962" y="csY962"/>
              </a:cxn>
              <a:cxn ang="0">
                <a:pos x="csX963" y="csY963"/>
              </a:cxn>
              <a:cxn ang="0">
                <a:pos x="csX964" y="csY964"/>
              </a:cxn>
              <a:cxn ang="0">
                <a:pos x="csX965" y="csY965"/>
              </a:cxn>
              <a:cxn ang="0">
                <a:pos x="csX966" y="csY966"/>
              </a:cxn>
              <a:cxn ang="0">
                <a:pos x="csX967" y="csY967"/>
              </a:cxn>
              <a:cxn ang="0">
                <a:pos x="csX968" y="csY968"/>
              </a:cxn>
              <a:cxn ang="0">
                <a:pos x="csX969" y="csY969"/>
              </a:cxn>
              <a:cxn ang="0">
                <a:pos x="csX970" y="csY970"/>
              </a:cxn>
              <a:cxn ang="0">
                <a:pos x="csX971" y="csY971"/>
              </a:cxn>
              <a:cxn ang="0">
                <a:pos x="csX972" y="csY972"/>
              </a:cxn>
              <a:cxn ang="0">
                <a:pos x="csX973" y="csY973"/>
              </a:cxn>
              <a:cxn ang="0">
                <a:pos x="csX974" y="csY974"/>
              </a:cxn>
              <a:cxn ang="0">
                <a:pos x="csX975" y="csY975"/>
              </a:cxn>
              <a:cxn ang="0">
                <a:pos x="csX976" y="csY976"/>
              </a:cxn>
              <a:cxn ang="0">
                <a:pos x="csX977" y="csY977"/>
              </a:cxn>
              <a:cxn ang="0">
                <a:pos x="csX978" y="csY978"/>
              </a:cxn>
              <a:cxn ang="0">
                <a:pos x="csX979" y="csY979"/>
              </a:cxn>
              <a:cxn ang="0">
                <a:pos x="csX980" y="csY980"/>
              </a:cxn>
              <a:cxn ang="0">
                <a:pos x="csX981" y="csY981"/>
              </a:cxn>
              <a:cxn ang="0">
                <a:pos x="csX982" y="csY982"/>
              </a:cxn>
              <a:cxn ang="0">
                <a:pos x="csX983" y="csY983"/>
              </a:cxn>
              <a:cxn ang="0">
                <a:pos x="csX984" y="csY984"/>
              </a:cxn>
              <a:cxn ang="0">
                <a:pos x="csX985" y="csY985"/>
              </a:cxn>
              <a:cxn ang="0">
                <a:pos x="csX986" y="csY986"/>
              </a:cxn>
              <a:cxn ang="0">
                <a:pos x="csX987" y="csY987"/>
              </a:cxn>
              <a:cxn ang="0">
                <a:pos x="csX988" y="csY988"/>
              </a:cxn>
              <a:cxn ang="0">
                <a:pos x="csX989" y="csY989"/>
              </a:cxn>
              <a:cxn ang="0">
                <a:pos x="csX990" y="csY990"/>
              </a:cxn>
              <a:cxn ang="0">
                <a:pos x="csX991" y="csY991"/>
              </a:cxn>
              <a:cxn ang="0">
                <a:pos x="csX992" y="csY992"/>
              </a:cxn>
              <a:cxn ang="0">
                <a:pos x="csX993" y="csY993"/>
              </a:cxn>
              <a:cxn ang="0">
                <a:pos x="csX994" y="csY994"/>
              </a:cxn>
              <a:cxn ang="0">
                <a:pos x="csX995" y="csY995"/>
              </a:cxn>
              <a:cxn ang="0">
                <a:pos x="csX996" y="csY996"/>
              </a:cxn>
              <a:cxn ang="0">
                <a:pos x="csX997" y="csY997"/>
              </a:cxn>
              <a:cxn ang="0">
                <a:pos x="csX998" y="csY998"/>
              </a:cxn>
              <a:cxn ang="0">
                <a:pos x="csX999" y="csY999"/>
              </a:cxn>
              <a:cxn ang="0">
                <a:pos x="csX1000" y="csY1000"/>
              </a:cxn>
              <a:cxn ang="0">
                <a:pos x="csX1001" y="csY1001"/>
              </a:cxn>
              <a:cxn ang="0">
                <a:pos x="csX1002" y="csY1002"/>
              </a:cxn>
              <a:cxn ang="0">
                <a:pos x="csX1003" y="csY1003"/>
              </a:cxn>
              <a:cxn ang="0">
                <a:pos x="csX1004" y="csY1004"/>
              </a:cxn>
              <a:cxn ang="0">
                <a:pos x="csX1005" y="csY1005"/>
              </a:cxn>
              <a:cxn ang="0">
                <a:pos x="csX1006" y="csY1006"/>
              </a:cxn>
              <a:cxn ang="0">
                <a:pos x="csX1007" y="csY1007"/>
              </a:cxn>
              <a:cxn ang="0">
                <a:pos x="csX1008" y="csY1008"/>
              </a:cxn>
              <a:cxn ang="0">
                <a:pos x="csX1009" y="csY1009"/>
              </a:cxn>
              <a:cxn ang="0">
                <a:pos x="csX1010" y="csY1010"/>
              </a:cxn>
              <a:cxn ang="0">
                <a:pos x="csX1011" y="csY1011"/>
              </a:cxn>
              <a:cxn ang="0">
                <a:pos x="csX1012" y="csY1012"/>
              </a:cxn>
              <a:cxn ang="0">
                <a:pos x="csX1013" y="csY1013"/>
              </a:cxn>
              <a:cxn ang="0">
                <a:pos x="csX1014" y="csY1014"/>
              </a:cxn>
              <a:cxn ang="0">
                <a:pos x="csX1015" y="csY1015"/>
              </a:cxn>
              <a:cxn ang="0">
                <a:pos x="csX1016" y="csY1016"/>
              </a:cxn>
              <a:cxn ang="0">
                <a:pos x="csX1017" y="csY1017"/>
              </a:cxn>
              <a:cxn ang="0">
                <a:pos x="csX1018" y="csY1018"/>
              </a:cxn>
              <a:cxn ang="0">
                <a:pos x="csX1019" y="csY1019"/>
              </a:cxn>
              <a:cxn ang="0">
                <a:pos x="csX1020" y="csY1020"/>
              </a:cxn>
              <a:cxn ang="0">
                <a:pos x="csX1021" y="csY1021"/>
              </a:cxn>
              <a:cxn ang="0">
                <a:pos x="csX1022" y="csY1022"/>
              </a:cxn>
              <a:cxn ang="0">
                <a:pos x="csX1023" y="csY1023"/>
              </a:cxn>
              <a:cxn ang="0">
                <a:pos x="csX1024" y="csY1024"/>
              </a:cxn>
              <a:cxn ang="0">
                <a:pos x="csX1025" y="csY1025"/>
              </a:cxn>
              <a:cxn ang="0">
                <a:pos x="csX1026" y="csY1026"/>
              </a:cxn>
              <a:cxn ang="0">
                <a:pos x="csX1027" y="csY1027"/>
              </a:cxn>
              <a:cxn ang="0">
                <a:pos x="csX1028" y="csY1028"/>
              </a:cxn>
              <a:cxn ang="0">
                <a:pos x="csX1029" y="csY1029"/>
              </a:cxn>
              <a:cxn ang="0">
                <a:pos x="csX1030" y="csY1030"/>
              </a:cxn>
              <a:cxn ang="0">
                <a:pos x="csX1031" y="csY1031"/>
              </a:cxn>
              <a:cxn ang="0">
                <a:pos x="csX1032" y="csY1032"/>
              </a:cxn>
              <a:cxn ang="0">
                <a:pos x="csX1033" y="csY1033"/>
              </a:cxn>
              <a:cxn ang="0">
                <a:pos x="csX1034" y="csY1034"/>
              </a:cxn>
              <a:cxn ang="0">
                <a:pos x="csX1035" y="csY1035"/>
              </a:cxn>
              <a:cxn ang="0">
                <a:pos x="csX1036" y="csY1036"/>
              </a:cxn>
              <a:cxn ang="0">
                <a:pos x="csX1037" y="csY1037"/>
              </a:cxn>
              <a:cxn ang="0">
                <a:pos x="csX1038" y="csY1038"/>
              </a:cxn>
              <a:cxn ang="0">
                <a:pos x="csX1039" y="csY1039"/>
              </a:cxn>
              <a:cxn ang="0">
                <a:pos x="csX1040" y="csY1040"/>
              </a:cxn>
              <a:cxn ang="0">
                <a:pos x="csX1041" y="csY1041"/>
              </a:cxn>
              <a:cxn ang="0">
                <a:pos x="csX1042" y="csY1042"/>
              </a:cxn>
              <a:cxn ang="0">
                <a:pos x="csX1043" y="csY1043"/>
              </a:cxn>
              <a:cxn ang="0">
                <a:pos x="csX1044" y="csY1044"/>
              </a:cxn>
              <a:cxn ang="0">
                <a:pos x="csX1045" y="csY1045"/>
              </a:cxn>
              <a:cxn ang="0">
                <a:pos x="csX1046" y="csY1046"/>
              </a:cxn>
              <a:cxn ang="0">
                <a:pos x="csX1047" y="csY1047"/>
              </a:cxn>
              <a:cxn ang="0">
                <a:pos x="csX1048" y="csY1048"/>
              </a:cxn>
              <a:cxn ang="0">
                <a:pos x="csX1049" y="csY1049"/>
              </a:cxn>
              <a:cxn ang="0">
                <a:pos x="csX1050" y="csY1050"/>
              </a:cxn>
              <a:cxn ang="0">
                <a:pos x="csX1051" y="csY1051"/>
              </a:cxn>
              <a:cxn ang="0">
                <a:pos x="csX1052" y="csY1052"/>
              </a:cxn>
              <a:cxn ang="0">
                <a:pos x="csX1053" y="csY1053"/>
              </a:cxn>
              <a:cxn ang="0">
                <a:pos x="csX1054" y="csY1054"/>
              </a:cxn>
            </a:cxnLst>
            <a:rect l="l" t="t" r="r" b="b"/>
            <a:pathLst>
              <a:path w="1609516" h="1538630">
                <a:moveTo>
                  <a:pt x="401579" y="1495809"/>
                </a:moveTo>
                <a:lnTo>
                  <a:pt x="400190" y="1496004"/>
                </a:lnTo>
                <a:lnTo>
                  <a:pt x="401224" y="1496470"/>
                </a:lnTo>
                <a:lnTo>
                  <a:pt x="401224" y="1498590"/>
                </a:lnTo>
                <a:lnTo>
                  <a:pt x="401579" y="1498628"/>
                </a:lnTo>
                <a:cubicBezTo>
                  <a:pt x="401579" y="1497698"/>
                  <a:pt x="401579" y="1496768"/>
                  <a:pt x="401579" y="1495809"/>
                </a:cubicBezTo>
                <a:close/>
                <a:moveTo>
                  <a:pt x="368755" y="1486512"/>
                </a:moveTo>
                <a:lnTo>
                  <a:pt x="364089" y="1487354"/>
                </a:lnTo>
                <a:lnTo>
                  <a:pt x="364089" y="1487908"/>
                </a:lnTo>
                <a:close/>
                <a:moveTo>
                  <a:pt x="1049801" y="1484562"/>
                </a:moveTo>
                <a:lnTo>
                  <a:pt x="1046735" y="1485945"/>
                </a:lnTo>
                <a:lnTo>
                  <a:pt x="1046955" y="1486045"/>
                </a:lnTo>
                <a:lnTo>
                  <a:pt x="1049801" y="1485188"/>
                </a:lnTo>
                <a:close/>
                <a:moveTo>
                  <a:pt x="351234" y="1444508"/>
                </a:moveTo>
                <a:lnTo>
                  <a:pt x="351234" y="1444997"/>
                </a:lnTo>
                <a:lnTo>
                  <a:pt x="351592" y="1445078"/>
                </a:lnTo>
                <a:close/>
                <a:moveTo>
                  <a:pt x="351908" y="1431206"/>
                </a:moveTo>
                <a:lnTo>
                  <a:pt x="351234" y="1431611"/>
                </a:lnTo>
                <a:lnTo>
                  <a:pt x="351234" y="1432274"/>
                </a:lnTo>
                <a:close/>
                <a:moveTo>
                  <a:pt x="358162" y="1421494"/>
                </a:moveTo>
                <a:lnTo>
                  <a:pt x="355921" y="1423156"/>
                </a:lnTo>
                <a:lnTo>
                  <a:pt x="355921" y="1423548"/>
                </a:lnTo>
                <a:close/>
                <a:moveTo>
                  <a:pt x="376098" y="1408347"/>
                </a:moveTo>
                <a:lnTo>
                  <a:pt x="370750" y="1412245"/>
                </a:lnTo>
                <a:lnTo>
                  <a:pt x="375023" y="1411256"/>
                </a:lnTo>
                <a:close/>
                <a:moveTo>
                  <a:pt x="421956" y="1365623"/>
                </a:moveTo>
                <a:lnTo>
                  <a:pt x="421765" y="1366161"/>
                </a:lnTo>
                <a:lnTo>
                  <a:pt x="421887" y="1366161"/>
                </a:lnTo>
                <a:close/>
                <a:moveTo>
                  <a:pt x="754553" y="1360575"/>
                </a:moveTo>
                <a:lnTo>
                  <a:pt x="754089" y="1361433"/>
                </a:lnTo>
                <a:lnTo>
                  <a:pt x="754431" y="1361125"/>
                </a:lnTo>
                <a:close/>
                <a:moveTo>
                  <a:pt x="1277973" y="1332923"/>
                </a:moveTo>
                <a:lnTo>
                  <a:pt x="1277944" y="1332936"/>
                </a:lnTo>
                <a:lnTo>
                  <a:pt x="1277949" y="1333139"/>
                </a:lnTo>
                <a:close/>
                <a:moveTo>
                  <a:pt x="1268556" y="1321066"/>
                </a:moveTo>
                <a:cubicBezTo>
                  <a:pt x="1268556" y="1322461"/>
                  <a:pt x="1268556" y="1323856"/>
                  <a:pt x="1268556" y="1325294"/>
                </a:cubicBezTo>
                <a:cubicBezTo>
                  <a:pt x="1267525" y="1325294"/>
                  <a:pt x="1266495" y="1325294"/>
                  <a:pt x="1265432" y="1325294"/>
                </a:cubicBezTo>
                <a:cubicBezTo>
                  <a:pt x="1265432" y="1330409"/>
                  <a:pt x="1265432" y="1335525"/>
                  <a:pt x="1265432" y="1340795"/>
                </a:cubicBezTo>
                <a:lnTo>
                  <a:pt x="1265476" y="1340714"/>
                </a:lnTo>
                <a:lnTo>
                  <a:pt x="1265476" y="1325877"/>
                </a:lnTo>
                <a:cubicBezTo>
                  <a:pt x="1266507" y="1325877"/>
                  <a:pt x="1267538" y="1325877"/>
                  <a:pt x="1268600" y="1325877"/>
                </a:cubicBezTo>
                <a:cubicBezTo>
                  <a:pt x="1268600" y="1324482"/>
                  <a:pt x="1268600" y="1323086"/>
                  <a:pt x="1268600" y="1321649"/>
                </a:cubicBezTo>
                <a:cubicBezTo>
                  <a:pt x="1270147" y="1321649"/>
                  <a:pt x="1271693" y="1321649"/>
                  <a:pt x="1273286" y="1321649"/>
                </a:cubicBezTo>
                <a:lnTo>
                  <a:pt x="1273227" y="1321066"/>
                </a:lnTo>
                <a:close/>
                <a:moveTo>
                  <a:pt x="827891" y="1291474"/>
                </a:moveTo>
                <a:lnTo>
                  <a:pt x="822601" y="1291544"/>
                </a:lnTo>
                <a:lnTo>
                  <a:pt x="818272" y="1292220"/>
                </a:lnTo>
                <a:lnTo>
                  <a:pt x="827891" y="1292047"/>
                </a:lnTo>
                <a:close/>
                <a:moveTo>
                  <a:pt x="856397" y="1288691"/>
                </a:moveTo>
                <a:lnTo>
                  <a:pt x="865903" y="1290590"/>
                </a:lnTo>
                <a:lnTo>
                  <a:pt x="859999" y="1288752"/>
                </a:lnTo>
                <a:close/>
                <a:moveTo>
                  <a:pt x="834694" y="1288572"/>
                </a:moveTo>
                <a:lnTo>
                  <a:pt x="828038" y="1288654"/>
                </a:lnTo>
                <a:lnTo>
                  <a:pt x="828038" y="1289214"/>
                </a:lnTo>
                <a:close/>
                <a:moveTo>
                  <a:pt x="229746" y="1191418"/>
                </a:moveTo>
                <a:lnTo>
                  <a:pt x="227402" y="1191947"/>
                </a:lnTo>
                <a:lnTo>
                  <a:pt x="229315" y="1191947"/>
                </a:lnTo>
                <a:cubicBezTo>
                  <a:pt x="229315" y="1192877"/>
                  <a:pt x="229315" y="1193807"/>
                  <a:pt x="229315" y="1194765"/>
                </a:cubicBezTo>
                <a:lnTo>
                  <a:pt x="231321" y="1194765"/>
                </a:lnTo>
                <a:lnTo>
                  <a:pt x="229746" y="1194236"/>
                </a:lnTo>
                <a:cubicBezTo>
                  <a:pt x="229746" y="1193306"/>
                  <a:pt x="229746" y="1192376"/>
                  <a:pt x="229746" y="1191418"/>
                </a:cubicBezTo>
                <a:close/>
                <a:moveTo>
                  <a:pt x="215687" y="1187190"/>
                </a:moveTo>
                <a:lnTo>
                  <a:pt x="215198" y="1187720"/>
                </a:lnTo>
                <a:lnTo>
                  <a:pt x="215256" y="1187720"/>
                </a:lnTo>
                <a:cubicBezTo>
                  <a:pt x="215256" y="1189115"/>
                  <a:pt x="215256" y="1190510"/>
                  <a:pt x="215256" y="1191947"/>
                </a:cubicBezTo>
                <a:lnTo>
                  <a:pt x="222721" y="1191947"/>
                </a:lnTo>
                <a:lnTo>
                  <a:pt x="215687" y="1191418"/>
                </a:lnTo>
                <a:cubicBezTo>
                  <a:pt x="215687" y="1190023"/>
                  <a:pt x="215687" y="1188628"/>
                  <a:pt x="215687" y="1187190"/>
                </a:cubicBezTo>
                <a:close/>
                <a:moveTo>
                  <a:pt x="1279678" y="1082356"/>
                </a:moveTo>
                <a:lnTo>
                  <a:pt x="1271680" y="1084589"/>
                </a:lnTo>
                <a:lnTo>
                  <a:pt x="1282181" y="1082544"/>
                </a:lnTo>
                <a:close/>
                <a:moveTo>
                  <a:pt x="117703" y="941507"/>
                </a:moveTo>
                <a:lnTo>
                  <a:pt x="112587" y="941985"/>
                </a:lnTo>
                <a:lnTo>
                  <a:pt x="112565" y="942333"/>
                </a:lnTo>
                <a:lnTo>
                  <a:pt x="115665" y="941837"/>
                </a:lnTo>
                <a:close/>
                <a:moveTo>
                  <a:pt x="144268" y="939395"/>
                </a:moveTo>
                <a:lnTo>
                  <a:pt x="143354" y="939580"/>
                </a:lnTo>
                <a:lnTo>
                  <a:pt x="144077" y="939739"/>
                </a:lnTo>
                <a:close/>
                <a:moveTo>
                  <a:pt x="162575" y="933530"/>
                </a:moveTo>
                <a:lnTo>
                  <a:pt x="161704" y="935101"/>
                </a:lnTo>
                <a:lnTo>
                  <a:pt x="170045" y="933585"/>
                </a:lnTo>
                <a:close/>
                <a:moveTo>
                  <a:pt x="1321645" y="918415"/>
                </a:moveTo>
                <a:lnTo>
                  <a:pt x="1321534" y="920177"/>
                </a:lnTo>
                <a:lnTo>
                  <a:pt x="1321740" y="918415"/>
                </a:lnTo>
                <a:close/>
                <a:moveTo>
                  <a:pt x="1319333" y="915183"/>
                </a:moveTo>
                <a:lnTo>
                  <a:pt x="1318544" y="918029"/>
                </a:lnTo>
                <a:lnTo>
                  <a:pt x="1318702" y="918029"/>
                </a:lnTo>
                <a:close/>
                <a:moveTo>
                  <a:pt x="1326355" y="907109"/>
                </a:moveTo>
                <a:lnTo>
                  <a:pt x="1326355" y="910983"/>
                </a:lnTo>
                <a:lnTo>
                  <a:pt x="1325831" y="911101"/>
                </a:lnTo>
                <a:lnTo>
                  <a:pt x="1326426" y="911369"/>
                </a:lnTo>
                <a:cubicBezTo>
                  <a:pt x="1326426" y="909974"/>
                  <a:pt x="1326426" y="908579"/>
                  <a:pt x="1326426" y="907141"/>
                </a:cubicBezTo>
                <a:close/>
                <a:moveTo>
                  <a:pt x="1328144" y="892192"/>
                </a:moveTo>
                <a:lnTo>
                  <a:pt x="1327667" y="893446"/>
                </a:lnTo>
                <a:lnTo>
                  <a:pt x="1327989" y="893049"/>
                </a:lnTo>
                <a:close/>
                <a:moveTo>
                  <a:pt x="49605" y="887420"/>
                </a:moveTo>
                <a:lnTo>
                  <a:pt x="48549" y="891229"/>
                </a:lnTo>
                <a:lnTo>
                  <a:pt x="49956" y="887420"/>
                </a:lnTo>
                <a:close/>
                <a:moveTo>
                  <a:pt x="1332266" y="883369"/>
                </a:moveTo>
                <a:lnTo>
                  <a:pt x="1329479" y="884207"/>
                </a:lnTo>
                <a:lnTo>
                  <a:pt x="1329509" y="884816"/>
                </a:lnTo>
                <a:lnTo>
                  <a:pt x="1329551" y="884594"/>
                </a:lnTo>
                <a:close/>
                <a:moveTo>
                  <a:pt x="1555987" y="821766"/>
                </a:moveTo>
                <a:lnTo>
                  <a:pt x="1555987" y="822201"/>
                </a:lnTo>
                <a:lnTo>
                  <a:pt x="1556081" y="822189"/>
                </a:lnTo>
                <a:close/>
                <a:moveTo>
                  <a:pt x="1565360" y="810928"/>
                </a:moveTo>
                <a:lnTo>
                  <a:pt x="1564871" y="811809"/>
                </a:lnTo>
                <a:lnTo>
                  <a:pt x="1567314" y="810928"/>
                </a:lnTo>
                <a:close/>
                <a:moveTo>
                  <a:pt x="1563797" y="810928"/>
                </a:moveTo>
                <a:lnTo>
                  <a:pt x="1556762" y="814736"/>
                </a:lnTo>
                <a:lnTo>
                  <a:pt x="1563797" y="812197"/>
                </a:lnTo>
                <a:close/>
                <a:moveTo>
                  <a:pt x="265833" y="806020"/>
                </a:moveTo>
                <a:lnTo>
                  <a:pt x="263704" y="809861"/>
                </a:lnTo>
                <a:lnTo>
                  <a:pt x="263704" y="816750"/>
                </a:lnTo>
                <a:lnTo>
                  <a:pt x="264113" y="816565"/>
                </a:lnTo>
                <a:cubicBezTo>
                  <a:pt x="264048" y="815315"/>
                  <a:pt x="263984" y="814065"/>
                  <a:pt x="263918" y="812777"/>
                </a:cubicBezTo>
                <a:close/>
                <a:moveTo>
                  <a:pt x="263774" y="779374"/>
                </a:moveTo>
                <a:lnTo>
                  <a:pt x="263704" y="783086"/>
                </a:lnTo>
                <a:cubicBezTo>
                  <a:pt x="263961" y="783987"/>
                  <a:pt x="264219" y="784888"/>
                  <a:pt x="264484" y="785816"/>
                </a:cubicBezTo>
                <a:cubicBezTo>
                  <a:pt x="265299" y="788846"/>
                  <a:pt x="265316" y="791337"/>
                  <a:pt x="265265" y="794448"/>
                </a:cubicBezTo>
                <a:cubicBezTo>
                  <a:pt x="265103" y="797155"/>
                  <a:pt x="265022" y="798508"/>
                  <a:pt x="265217" y="799730"/>
                </a:cubicBezTo>
                <a:lnTo>
                  <a:pt x="266556" y="803466"/>
                </a:lnTo>
                <a:lnTo>
                  <a:pt x="267237" y="801063"/>
                </a:lnTo>
                <a:cubicBezTo>
                  <a:pt x="266721" y="800598"/>
                  <a:pt x="266206" y="800133"/>
                  <a:pt x="265675" y="799654"/>
                </a:cubicBezTo>
                <a:cubicBezTo>
                  <a:pt x="265601" y="797718"/>
                  <a:pt x="265617" y="795778"/>
                  <a:pt x="265675" y="793841"/>
                </a:cubicBezTo>
                <a:close/>
                <a:moveTo>
                  <a:pt x="260988" y="770061"/>
                </a:moveTo>
                <a:lnTo>
                  <a:pt x="260988" y="771364"/>
                </a:lnTo>
                <a:lnTo>
                  <a:pt x="263497" y="777263"/>
                </a:lnTo>
                <a:lnTo>
                  <a:pt x="262551" y="770061"/>
                </a:lnTo>
                <a:cubicBezTo>
                  <a:pt x="262035" y="770061"/>
                  <a:pt x="261520" y="770061"/>
                  <a:pt x="260988" y="770061"/>
                </a:cubicBezTo>
                <a:close/>
                <a:moveTo>
                  <a:pt x="157888" y="651686"/>
                </a:moveTo>
                <a:lnTo>
                  <a:pt x="157415" y="651764"/>
                </a:lnTo>
                <a:lnTo>
                  <a:pt x="160373" y="652274"/>
                </a:lnTo>
                <a:close/>
                <a:moveTo>
                  <a:pt x="267237" y="426537"/>
                </a:moveTo>
                <a:lnTo>
                  <a:pt x="267237" y="427619"/>
                </a:lnTo>
                <a:cubicBezTo>
                  <a:pt x="268274" y="427791"/>
                  <a:pt x="269311" y="427961"/>
                  <a:pt x="270380" y="428137"/>
                </a:cubicBezTo>
                <a:lnTo>
                  <a:pt x="273548" y="428680"/>
                </a:lnTo>
                <a:close/>
                <a:moveTo>
                  <a:pt x="37605" y="359270"/>
                </a:moveTo>
                <a:lnTo>
                  <a:pt x="37103" y="361533"/>
                </a:lnTo>
                <a:lnTo>
                  <a:pt x="37605" y="361382"/>
                </a:lnTo>
                <a:close/>
                <a:moveTo>
                  <a:pt x="52477" y="337570"/>
                </a:moveTo>
                <a:lnTo>
                  <a:pt x="47288" y="342340"/>
                </a:lnTo>
                <a:lnTo>
                  <a:pt x="45805" y="345093"/>
                </a:lnTo>
                <a:close/>
                <a:moveTo>
                  <a:pt x="104291" y="336166"/>
                </a:moveTo>
                <a:lnTo>
                  <a:pt x="103776" y="337559"/>
                </a:lnTo>
                <a:lnTo>
                  <a:pt x="108925" y="336166"/>
                </a:lnTo>
                <a:close/>
                <a:moveTo>
                  <a:pt x="1309237" y="322954"/>
                </a:moveTo>
                <a:lnTo>
                  <a:pt x="1309180" y="330559"/>
                </a:lnTo>
                <a:lnTo>
                  <a:pt x="1309237" y="330520"/>
                </a:lnTo>
                <a:close/>
                <a:moveTo>
                  <a:pt x="1308964" y="317715"/>
                </a:moveTo>
                <a:lnTo>
                  <a:pt x="1309237" y="318569"/>
                </a:lnTo>
                <a:lnTo>
                  <a:pt x="1309237" y="317838"/>
                </a:lnTo>
                <a:close/>
                <a:moveTo>
                  <a:pt x="1310087" y="313153"/>
                </a:moveTo>
                <a:lnTo>
                  <a:pt x="1307609" y="313473"/>
                </a:lnTo>
                <a:lnTo>
                  <a:pt x="1308045" y="314836"/>
                </a:lnTo>
                <a:close/>
                <a:moveTo>
                  <a:pt x="1318544" y="312064"/>
                </a:moveTo>
                <a:lnTo>
                  <a:pt x="1316298" y="312353"/>
                </a:lnTo>
                <a:lnTo>
                  <a:pt x="1318544" y="312205"/>
                </a:lnTo>
                <a:close/>
                <a:moveTo>
                  <a:pt x="1084622" y="267674"/>
                </a:moveTo>
                <a:lnTo>
                  <a:pt x="1084227" y="268378"/>
                </a:lnTo>
                <a:cubicBezTo>
                  <a:pt x="1082679" y="268378"/>
                  <a:pt x="1081133" y="268378"/>
                  <a:pt x="1079540" y="268378"/>
                </a:cubicBezTo>
                <a:lnTo>
                  <a:pt x="1079603" y="268477"/>
                </a:lnTo>
                <a:lnTo>
                  <a:pt x="1084192" y="268477"/>
                </a:lnTo>
                <a:close/>
                <a:moveTo>
                  <a:pt x="956410" y="266968"/>
                </a:moveTo>
                <a:lnTo>
                  <a:pt x="957576" y="267083"/>
                </a:lnTo>
                <a:lnTo>
                  <a:pt x="957576" y="269776"/>
                </a:lnTo>
                <a:lnTo>
                  <a:pt x="957694" y="269787"/>
                </a:lnTo>
                <a:cubicBezTo>
                  <a:pt x="957694" y="268857"/>
                  <a:pt x="957694" y="267927"/>
                  <a:pt x="957694" y="266968"/>
                </a:cubicBezTo>
                <a:close/>
                <a:moveTo>
                  <a:pt x="1089372" y="259220"/>
                </a:moveTo>
                <a:lnTo>
                  <a:pt x="1085856" y="265479"/>
                </a:lnTo>
                <a:lnTo>
                  <a:pt x="1088878" y="261431"/>
                </a:lnTo>
                <a:close/>
                <a:moveTo>
                  <a:pt x="1018517" y="223356"/>
                </a:moveTo>
                <a:lnTo>
                  <a:pt x="1013866" y="226190"/>
                </a:lnTo>
                <a:lnTo>
                  <a:pt x="1013024" y="227709"/>
                </a:lnTo>
                <a:lnTo>
                  <a:pt x="1017055" y="224692"/>
                </a:lnTo>
                <a:close/>
                <a:moveTo>
                  <a:pt x="850645" y="220099"/>
                </a:moveTo>
                <a:lnTo>
                  <a:pt x="850897" y="221488"/>
                </a:lnTo>
                <a:cubicBezTo>
                  <a:pt x="851086" y="222545"/>
                  <a:pt x="851275" y="223602"/>
                  <a:pt x="851470" y="224692"/>
                </a:cubicBezTo>
                <a:lnTo>
                  <a:pt x="852860" y="224692"/>
                </a:lnTo>
                <a:close/>
                <a:moveTo>
                  <a:pt x="1155019" y="35"/>
                </a:moveTo>
                <a:cubicBezTo>
                  <a:pt x="1161775" y="275"/>
                  <a:pt x="1168415" y="1783"/>
                  <a:pt x="1174829" y="4853"/>
                </a:cubicBezTo>
                <a:cubicBezTo>
                  <a:pt x="1176343" y="5231"/>
                  <a:pt x="1177858" y="5609"/>
                  <a:pt x="1179418" y="5998"/>
                </a:cubicBezTo>
                <a:cubicBezTo>
                  <a:pt x="1189392" y="9487"/>
                  <a:pt x="1196322" y="14392"/>
                  <a:pt x="1201385" y="22997"/>
                </a:cubicBezTo>
                <a:cubicBezTo>
                  <a:pt x="1206849" y="35244"/>
                  <a:pt x="1206940" y="49865"/>
                  <a:pt x="1201678" y="62191"/>
                </a:cubicBezTo>
                <a:cubicBezTo>
                  <a:pt x="1200594" y="64241"/>
                  <a:pt x="1199461" y="66271"/>
                  <a:pt x="1198261" y="68268"/>
                </a:cubicBezTo>
                <a:cubicBezTo>
                  <a:pt x="1197423" y="69721"/>
                  <a:pt x="1196586" y="71175"/>
                  <a:pt x="1195723" y="72672"/>
                </a:cubicBezTo>
                <a:cubicBezTo>
                  <a:pt x="1194659" y="73980"/>
                  <a:pt x="1194659" y="73980"/>
                  <a:pt x="1193575" y="75314"/>
                </a:cubicBezTo>
                <a:cubicBezTo>
                  <a:pt x="1192544" y="75314"/>
                  <a:pt x="1191512" y="75314"/>
                  <a:pt x="1190450" y="75314"/>
                </a:cubicBezTo>
                <a:cubicBezTo>
                  <a:pt x="1190128" y="76651"/>
                  <a:pt x="1189806" y="77988"/>
                  <a:pt x="1189474" y="79366"/>
                </a:cubicBezTo>
                <a:cubicBezTo>
                  <a:pt x="1187326" y="83769"/>
                  <a:pt x="1187326" y="83769"/>
                  <a:pt x="1182445" y="85707"/>
                </a:cubicBezTo>
                <a:cubicBezTo>
                  <a:pt x="1180962" y="85998"/>
                  <a:pt x="1179480" y="86289"/>
                  <a:pt x="1177953" y="86588"/>
                </a:cubicBezTo>
                <a:cubicBezTo>
                  <a:pt x="1177953" y="87518"/>
                  <a:pt x="1177953" y="88448"/>
                  <a:pt x="1177953" y="89406"/>
                </a:cubicBezTo>
                <a:cubicBezTo>
                  <a:pt x="1175369" y="91088"/>
                  <a:pt x="1172720" y="92688"/>
                  <a:pt x="1170045" y="94251"/>
                </a:cubicBezTo>
                <a:cubicBezTo>
                  <a:pt x="1154651" y="104199"/>
                  <a:pt x="1148918" y="116979"/>
                  <a:pt x="1143806" y="132828"/>
                </a:cubicBezTo>
                <a:cubicBezTo>
                  <a:pt x="1142095" y="137144"/>
                  <a:pt x="1140989" y="138617"/>
                  <a:pt x="1137338" y="141548"/>
                </a:cubicBezTo>
                <a:cubicBezTo>
                  <a:pt x="1136166" y="144148"/>
                  <a:pt x="1134992" y="146751"/>
                  <a:pt x="1133970" y="149403"/>
                </a:cubicBezTo>
                <a:cubicBezTo>
                  <a:pt x="1132069" y="154334"/>
                  <a:pt x="1130006" y="159210"/>
                  <a:pt x="1127965" y="164095"/>
                </a:cubicBezTo>
                <a:cubicBezTo>
                  <a:pt x="1126897" y="166664"/>
                  <a:pt x="1125830" y="169233"/>
                  <a:pt x="1124762" y="171802"/>
                </a:cubicBezTo>
                <a:cubicBezTo>
                  <a:pt x="1122961" y="176134"/>
                  <a:pt x="1121160" y="180466"/>
                  <a:pt x="1119359" y="184798"/>
                </a:cubicBezTo>
                <a:cubicBezTo>
                  <a:pt x="1116567" y="191508"/>
                  <a:pt x="1113778" y="198220"/>
                  <a:pt x="1111014" y="204941"/>
                </a:cubicBezTo>
                <a:cubicBezTo>
                  <a:pt x="1110590" y="205970"/>
                  <a:pt x="1110165" y="206999"/>
                  <a:pt x="1109729" y="208059"/>
                </a:cubicBezTo>
                <a:cubicBezTo>
                  <a:pt x="1108615" y="210762"/>
                  <a:pt x="1107505" y="213466"/>
                  <a:pt x="1106395" y="216170"/>
                </a:cubicBezTo>
                <a:cubicBezTo>
                  <a:pt x="1104320" y="220956"/>
                  <a:pt x="1103283" y="223349"/>
                  <a:pt x="1102147" y="224810"/>
                </a:cubicBezTo>
                <a:lnTo>
                  <a:pt x="1098261" y="227262"/>
                </a:lnTo>
                <a:lnTo>
                  <a:pt x="1098367" y="238475"/>
                </a:lnTo>
                <a:cubicBezTo>
                  <a:pt x="1098025" y="239757"/>
                  <a:pt x="1097684" y="241038"/>
                  <a:pt x="1097331" y="242358"/>
                </a:cubicBezTo>
                <a:cubicBezTo>
                  <a:pt x="1096958" y="243711"/>
                  <a:pt x="1096585" y="245064"/>
                  <a:pt x="1096201" y="246458"/>
                </a:cubicBezTo>
                <a:cubicBezTo>
                  <a:pt x="1093302" y="257363"/>
                  <a:pt x="1090901" y="268062"/>
                  <a:pt x="1089440" y="279206"/>
                </a:cubicBezTo>
                <a:cubicBezTo>
                  <a:pt x="1088878" y="282569"/>
                  <a:pt x="1088878" y="282569"/>
                  <a:pt x="1087316" y="283978"/>
                </a:cubicBezTo>
                <a:cubicBezTo>
                  <a:pt x="1087070" y="286587"/>
                  <a:pt x="1086924" y="289205"/>
                  <a:pt x="1086822" y="291822"/>
                </a:cubicBezTo>
                <a:cubicBezTo>
                  <a:pt x="1086756" y="293408"/>
                  <a:pt x="1086691" y="294993"/>
                  <a:pt x="1086623" y="296625"/>
                </a:cubicBezTo>
                <a:cubicBezTo>
                  <a:pt x="1086562" y="298294"/>
                  <a:pt x="1086501" y="299962"/>
                  <a:pt x="1086437" y="301681"/>
                </a:cubicBezTo>
                <a:cubicBezTo>
                  <a:pt x="1086336" y="304192"/>
                  <a:pt x="1086336" y="304192"/>
                  <a:pt x="1086233" y="306754"/>
                </a:cubicBezTo>
                <a:lnTo>
                  <a:pt x="1086007" y="312619"/>
                </a:lnTo>
                <a:lnTo>
                  <a:pt x="1087470" y="320554"/>
                </a:lnTo>
                <a:cubicBezTo>
                  <a:pt x="1089648" y="325409"/>
                  <a:pt x="1093111" y="329799"/>
                  <a:pt x="1098285" y="334611"/>
                </a:cubicBezTo>
                <a:cubicBezTo>
                  <a:pt x="1100424" y="336130"/>
                  <a:pt x="1100424" y="336130"/>
                  <a:pt x="1102607" y="337679"/>
                </a:cubicBezTo>
                <a:cubicBezTo>
                  <a:pt x="1104334" y="338951"/>
                  <a:pt x="1104334" y="338951"/>
                  <a:pt x="1106095" y="340248"/>
                </a:cubicBezTo>
                <a:cubicBezTo>
                  <a:pt x="1106095" y="341178"/>
                  <a:pt x="1106095" y="342108"/>
                  <a:pt x="1106095" y="343066"/>
                </a:cubicBezTo>
                <a:cubicBezTo>
                  <a:pt x="1107127" y="343183"/>
                  <a:pt x="1108158" y="343299"/>
                  <a:pt x="1109220" y="343419"/>
                </a:cubicBezTo>
                <a:cubicBezTo>
                  <a:pt x="1115473" y="344829"/>
                  <a:pt x="1120724" y="347416"/>
                  <a:pt x="1126403" y="350112"/>
                </a:cubicBezTo>
                <a:cubicBezTo>
                  <a:pt x="1128207" y="350926"/>
                  <a:pt x="1130012" y="351740"/>
                  <a:pt x="1131871" y="352579"/>
                </a:cubicBezTo>
                <a:cubicBezTo>
                  <a:pt x="1133159" y="353160"/>
                  <a:pt x="1134448" y="353741"/>
                  <a:pt x="1135776" y="354340"/>
                </a:cubicBezTo>
                <a:cubicBezTo>
                  <a:pt x="1135776" y="355270"/>
                  <a:pt x="1135776" y="356200"/>
                  <a:pt x="1135776" y="357158"/>
                </a:cubicBezTo>
                <a:cubicBezTo>
                  <a:pt x="1148107" y="360029"/>
                  <a:pt x="1158679" y="359101"/>
                  <a:pt x="1170143" y="354340"/>
                </a:cubicBezTo>
                <a:cubicBezTo>
                  <a:pt x="1172366" y="353468"/>
                  <a:pt x="1172366" y="353468"/>
                  <a:pt x="1174634" y="352579"/>
                </a:cubicBezTo>
                <a:cubicBezTo>
                  <a:pt x="1180354" y="349689"/>
                  <a:pt x="1185568" y="346355"/>
                  <a:pt x="1190890" y="342907"/>
                </a:cubicBezTo>
                <a:cubicBezTo>
                  <a:pt x="1195169" y="340228"/>
                  <a:pt x="1199557" y="337821"/>
                  <a:pt x="1204021" y="335404"/>
                </a:cubicBezTo>
                <a:cubicBezTo>
                  <a:pt x="1211989" y="330886"/>
                  <a:pt x="1217509" y="325766"/>
                  <a:pt x="1223255" y="319110"/>
                </a:cubicBezTo>
                <a:cubicBezTo>
                  <a:pt x="1224447" y="317947"/>
                  <a:pt x="1225639" y="316784"/>
                  <a:pt x="1226868" y="315587"/>
                </a:cubicBezTo>
                <a:cubicBezTo>
                  <a:pt x="1229855" y="311593"/>
                  <a:pt x="1230852" y="308240"/>
                  <a:pt x="1231859" y="303559"/>
                </a:cubicBezTo>
                <a:cubicBezTo>
                  <a:pt x="1232628" y="300790"/>
                  <a:pt x="1232628" y="300790"/>
                  <a:pt x="1234178" y="298059"/>
                </a:cubicBezTo>
                <a:cubicBezTo>
                  <a:pt x="1235964" y="294761"/>
                  <a:pt x="1236623" y="291807"/>
                  <a:pt x="1237314" y="288195"/>
                </a:cubicBezTo>
                <a:cubicBezTo>
                  <a:pt x="1239360" y="278571"/>
                  <a:pt x="1242414" y="272733"/>
                  <a:pt x="1249811" y="265559"/>
                </a:cubicBezTo>
                <a:cubicBezTo>
                  <a:pt x="1250842" y="265559"/>
                  <a:pt x="1251873" y="265559"/>
                  <a:pt x="1252935" y="265559"/>
                </a:cubicBezTo>
                <a:cubicBezTo>
                  <a:pt x="1252935" y="264629"/>
                  <a:pt x="1252935" y="263699"/>
                  <a:pt x="1252935" y="262741"/>
                </a:cubicBezTo>
                <a:cubicBezTo>
                  <a:pt x="1265591" y="253427"/>
                  <a:pt x="1280762" y="251648"/>
                  <a:pt x="1296675" y="252876"/>
                </a:cubicBezTo>
                <a:cubicBezTo>
                  <a:pt x="1300535" y="253563"/>
                  <a:pt x="1303901" y="254478"/>
                  <a:pt x="1307609" y="255695"/>
                </a:cubicBezTo>
                <a:cubicBezTo>
                  <a:pt x="1307609" y="256625"/>
                  <a:pt x="1307609" y="257555"/>
                  <a:pt x="1307609" y="258513"/>
                </a:cubicBezTo>
                <a:cubicBezTo>
                  <a:pt x="1309021" y="258619"/>
                  <a:pt x="1310432" y="258723"/>
                  <a:pt x="1311887" y="258832"/>
                </a:cubicBezTo>
                <a:cubicBezTo>
                  <a:pt x="1319573" y="260476"/>
                  <a:pt x="1322149" y="264416"/>
                  <a:pt x="1326715" y="269969"/>
                </a:cubicBezTo>
                <a:cubicBezTo>
                  <a:pt x="1334402" y="281220"/>
                  <a:pt x="1336114" y="294839"/>
                  <a:pt x="1334165" y="307836"/>
                </a:cubicBezTo>
                <a:cubicBezTo>
                  <a:pt x="1332176" y="311898"/>
                  <a:pt x="1332176" y="311898"/>
                  <a:pt x="1329479" y="314882"/>
                </a:cubicBezTo>
                <a:cubicBezTo>
                  <a:pt x="1327417" y="314882"/>
                  <a:pt x="1325355" y="314882"/>
                  <a:pt x="1323231" y="314882"/>
                </a:cubicBezTo>
                <a:cubicBezTo>
                  <a:pt x="1323231" y="315812"/>
                  <a:pt x="1323231" y="316742"/>
                  <a:pt x="1323231" y="317700"/>
                </a:cubicBezTo>
                <a:lnTo>
                  <a:pt x="1322774" y="317838"/>
                </a:lnTo>
                <a:lnTo>
                  <a:pt x="1323295" y="317838"/>
                </a:lnTo>
                <a:cubicBezTo>
                  <a:pt x="1323295" y="316907"/>
                  <a:pt x="1323295" y="315977"/>
                  <a:pt x="1323295" y="315019"/>
                </a:cubicBezTo>
                <a:cubicBezTo>
                  <a:pt x="1324842" y="315019"/>
                  <a:pt x="1326388" y="315019"/>
                  <a:pt x="1327982" y="315019"/>
                </a:cubicBezTo>
                <a:cubicBezTo>
                  <a:pt x="1325845" y="321328"/>
                  <a:pt x="1322753" y="323742"/>
                  <a:pt x="1317047" y="327702"/>
                </a:cubicBezTo>
                <a:cubicBezTo>
                  <a:pt x="1316531" y="329097"/>
                  <a:pt x="1316016" y="330492"/>
                  <a:pt x="1315484" y="331930"/>
                </a:cubicBezTo>
                <a:cubicBezTo>
                  <a:pt x="1312599" y="332959"/>
                  <a:pt x="1312599" y="332959"/>
                  <a:pt x="1309139" y="333603"/>
                </a:cubicBezTo>
                <a:cubicBezTo>
                  <a:pt x="1307993" y="333827"/>
                  <a:pt x="1306847" y="334050"/>
                  <a:pt x="1305666" y="334280"/>
                </a:cubicBezTo>
                <a:cubicBezTo>
                  <a:pt x="1304783" y="334434"/>
                  <a:pt x="1303899" y="334589"/>
                  <a:pt x="1302988" y="334748"/>
                </a:cubicBezTo>
                <a:lnTo>
                  <a:pt x="1305905" y="332775"/>
                </a:lnTo>
                <a:lnTo>
                  <a:pt x="1304485" y="333202"/>
                </a:lnTo>
                <a:cubicBezTo>
                  <a:pt x="1302987" y="334640"/>
                  <a:pt x="1302987" y="334640"/>
                  <a:pt x="1301459" y="336108"/>
                </a:cubicBezTo>
                <a:cubicBezTo>
                  <a:pt x="1298237" y="338839"/>
                  <a:pt x="1298237" y="338839"/>
                  <a:pt x="1291989" y="338839"/>
                </a:cubicBezTo>
                <a:cubicBezTo>
                  <a:pt x="1291473" y="340234"/>
                  <a:pt x="1290957" y="341629"/>
                  <a:pt x="1290426" y="343066"/>
                </a:cubicBezTo>
                <a:cubicBezTo>
                  <a:pt x="1288879" y="343415"/>
                  <a:pt x="1287333" y="343764"/>
                  <a:pt x="1285740" y="344123"/>
                </a:cubicBezTo>
                <a:cubicBezTo>
                  <a:pt x="1266905" y="348491"/>
                  <a:pt x="1249005" y="369098"/>
                  <a:pt x="1237314" y="382525"/>
                </a:cubicBezTo>
                <a:cubicBezTo>
                  <a:pt x="1235678" y="385783"/>
                  <a:pt x="1234122" y="389075"/>
                  <a:pt x="1232628" y="392389"/>
                </a:cubicBezTo>
                <a:cubicBezTo>
                  <a:pt x="1231317" y="394515"/>
                  <a:pt x="1229981" y="396629"/>
                  <a:pt x="1228625" y="398731"/>
                </a:cubicBezTo>
                <a:cubicBezTo>
                  <a:pt x="1221457" y="410300"/>
                  <a:pt x="1219465" y="421836"/>
                  <a:pt x="1222822" y="434798"/>
                </a:cubicBezTo>
                <a:cubicBezTo>
                  <a:pt x="1229360" y="453710"/>
                  <a:pt x="1244088" y="472467"/>
                  <a:pt x="1260746" y="485398"/>
                </a:cubicBezTo>
                <a:cubicBezTo>
                  <a:pt x="1264961" y="487349"/>
                  <a:pt x="1264961" y="487349"/>
                  <a:pt x="1268556" y="488216"/>
                </a:cubicBezTo>
                <a:cubicBezTo>
                  <a:pt x="1268556" y="489146"/>
                  <a:pt x="1268556" y="490076"/>
                  <a:pt x="1268556" y="491034"/>
                </a:cubicBezTo>
                <a:cubicBezTo>
                  <a:pt x="1288790" y="497071"/>
                  <a:pt x="1319055" y="498555"/>
                  <a:pt x="1338852" y="489625"/>
                </a:cubicBezTo>
                <a:cubicBezTo>
                  <a:pt x="1341711" y="489213"/>
                  <a:pt x="1344575" y="488837"/>
                  <a:pt x="1347444" y="488480"/>
                </a:cubicBezTo>
                <a:cubicBezTo>
                  <a:pt x="1355372" y="487345"/>
                  <a:pt x="1362033" y="485390"/>
                  <a:pt x="1369362" y="482513"/>
                </a:cubicBezTo>
                <a:cubicBezTo>
                  <a:pt x="1375665" y="480318"/>
                  <a:pt x="1382189" y="479322"/>
                  <a:pt x="1388840" y="478351"/>
                </a:cubicBezTo>
                <a:cubicBezTo>
                  <a:pt x="1388840" y="477421"/>
                  <a:pt x="1388840" y="476492"/>
                  <a:pt x="1388840" y="475533"/>
                </a:cubicBezTo>
                <a:cubicBezTo>
                  <a:pt x="1391083" y="474821"/>
                  <a:pt x="1393329" y="474118"/>
                  <a:pt x="1395576" y="473419"/>
                </a:cubicBezTo>
                <a:cubicBezTo>
                  <a:pt x="1396827" y="473027"/>
                  <a:pt x="1398077" y="472635"/>
                  <a:pt x="1399365" y="472230"/>
                </a:cubicBezTo>
                <a:cubicBezTo>
                  <a:pt x="1402899" y="471305"/>
                  <a:pt x="1402899" y="471305"/>
                  <a:pt x="1407585" y="471305"/>
                </a:cubicBezTo>
                <a:cubicBezTo>
                  <a:pt x="1408101" y="469910"/>
                  <a:pt x="1408616" y="468515"/>
                  <a:pt x="1409147" y="467078"/>
                </a:cubicBezTo>
                <a:cubicBezTo>
                  <a:pt x="1412388" y="465580"/>
                  <a:pt x="1412388" y="465580"/>
                  <a:pt x="1416470" y="464259"/>
                </a:cubicBezTo>
                <a:cubicBezTo>
                  <a:pt x="1424029" y="461705"/>
                  <a:pt x="1431130" y="458955"/>
                  <a:pt x="1437949" y="455011"/>
                </a:cubicBezTo>
                <a:cubicBezTo>
                  <a:pt x="1442765" y="452574"/>
                  <a:pt x="1447553" y="451394"/>
                  <a:pt x="1452887" y="450167"/>
                </a:cubicBezTo>
                <a:cubicBezTo>
                  <a:pt x="1452887" y="449237"/>
                  <a:pt x="1452887" y="448307"/>
                  <a:pt x="1452887" y="447349"/>
                </a:cubicBezTo>
                <a:cubicBezTo>
                  <a:pt x="1453714" y="446944"/>
                  <a:pt x="1454541" y="446539"/>
                  <a:pt x="1455394" y="446122"/>
                </a:cubicBezTo>
                <a:cubicBezTo>
                  <a:pt x="1459151" y="444278"/>
                  <a:pt x="1462902" y="442422"/>
                  <a:pt x="1466653" y="440567"/>
                </a:cubicBezTo>
                <a:cubicBezTo>
                  <a:pt x="1467955" y="439930"/>
                  <a:pt x="1469256" y="439293"/>
                  <a:pt x="1470598" y="438637"/>
                </a:cubicBezTo>
                <a:cubicBezTo>
                  <a:pt x="1471852" y="438016"/>
                  <a:pt x="1473105" y="437393"/>
                  <a:pt x="1474397" y="436752"/>
                </a:cubicBezTo>
                <a:cubicBezTo>
                  <a:pt x="1475550" y="436184"/>
                  <a:pt x="1476703" y="435616"/>
                  <a:pt x="1477892" y="435030"/>
                </a:cubicBezTo>
                <a:cubicBezTo>
                  <a:pt x="1480966" y="433279"/>
                  <a:pt x="1483173" y="431373"/>
                  <a:pt x="1485691" y="429029"/>
                </a:cubicBezTo>
                <a:cubicBezTo>
                  <a:pt x="1486737" y="428575"/>
                  <a:pt x="1487781" y="428121"/>
                  <a:pt x="1488858" y="427653"/>
                </a:cubicBezTo>
                <a:cubicBezTo>
                  <a:pt x="1492438" y="425977"/>
                  <a:pt x="1493705" y="424453"/>
                  <a:pt x="1495943" y="421454"/>
                </a:cubicBezTo>
                <a:cubicBezTo>
                  <a:pt x="1507114" y="407544"/>
                  <a:pt x="1519758" y="393513"/>
                  <a:pt x="1538608" y="388338"/>
                </a:cubicBezTo>
                <a:cubicBezTo>
                  <a:pt x="1541025" y="388250"/>
                  <a:pt x="1541025" y="388250"/>
                  <a:pt x="1543490" y="388161"/>
                </a:cubicBezTo>
                <a:cubicBezTo>
                  <a:pt x="1545535" y="387984"/>
                  <a:pt x="1545535" y="387984"/>
                  <a:pt x="1547621" y="387804"/>
                </a:cubicBezTo>
                <a:cubicBezTo>
                  <a:pt x="1560659" y="387094"/>
                  <a:pt x="1568716" y="390117"/>
                  <a:pt x="1579418" y="396617"/>
                </a:cubicBezTo>
                <a:cubicBezTo>
                  <a:pt x="1581361" y="397687"/>
                  <a:pt x="1581361" y="397687"/>
                  <a:pt x="1583342" y="398780"/>
                </a:cubicBezTo>
                <a:cubicBezTo>
                  <a:pt x="1593703" y="405068"/>
                  <a:pt x="1598513" y="412459"/>
                  <a:pt x="1601288" y="423392"/>
                </a:cubicBezTo>
                <a:cubicBezTo>
                  <a:pt x="1603295" y="436596"/>
                  <a:pt x="1603517" y="449033"/>
                  <a:pt x="1594484" y="460159"/>
                </a:cubicBezTo>
                <a:cubicBezTo>
                  <a:pt x="1588468" y="466462"/>
                  <a:pt x="1582607" y="471150"/>
                  <a:pt x="1574732" y="475533"/>
                </a:cubicBezTo>
                <a:cubicBezTo>
                  <a:pt x="1573862" y="476043"/>
                  <a:pt x="1572993" y="476553"/>
                  <a:pt x="1572097" y="477078"/>
                </a:cubicBezTo>
                <a:cubicBezTo>
                  <a:pt x="1566828" y="478935"/>
                  <a:pt x="1561641" y="478744"/>
                  <a:pt x="1556066" y="478737"/>
                </a:cubicBezTo>
                <a:cubicBezTo>
                  <a:pt x="1553587" y="478765"/>
                  <a:pt x="1551109" y="478795"/>
                  <a:pt x="1548631" y="478825"/>
                </a:cubicBezTo>
                <a:cubicBezTo>
                  <a:pt x="1544751" y="478857"/>
                  <a:pt x="1540871" y="478880"/>
                  <a:pt x="1536991" y="478889"/>
                </a:cubicBezTo>
                <a:cubicBezTo>
                  <a:pt x="1516714" y="478693"/>
                  <a:pt x="1516714" y="478693"/>
                  <a:pt x="1498188" y="485398"/>
                </a:cubicBezTo>
                <a:cubicBezTo>
                  <a:pt x="1496062" y="486488"/>
                  <a:pt x="1496062" y="486488"/>
                  <a:pt x="1493892" y="487600"/>
                </a:cubicBezTo>
                <a:cubicBezTo>
                  <a:pt x="1492733" y="488268"/>
                  <a:pt x="1491573" y="488937"/>
                  <a:pt x="1490377" y="489625"/>
                </a:cubicBezTo>
                <a:cubicBezTo>
                  <a:pt x="1484304" y="493012"/>
                  <a:pt x="1478212" y="495675"/>
                  <a:pt x="1471650" y="498185"/>
                </a:cubicBezTo>
                <a:cubicBezTo>
                  <a:pt x="1467148" y="500054"/>
                  <a:pt x="1463242" y="502632"/>
                  <a:pt x="1459135" y="505127"/>
                </a:cubicBezTo>
                <a:cubicBezTo>
                  <a:pt x="1456968" y="506120"/>
                  <a:pt x="1454786" y="507086"/>
                  <a:pt x="1452594" y="508033"/>
                </a:cubicBezTo>
                <a:cubicBezTo>
                  <a:pt x="1444148" y="511772"/>
                  <a:pt x="1435969" y="515903"/>
                  <a:pt x="1427795" y="520100"/>
                </a:cubicBezTo>
                <a:cubicBezTo>
                  <a:pt x="1425784" y="521114"/>
                  <a:pt x="1425784" y="521114"/>
                  <a:pt x="1423733" y="522148"/>
                </a:cubicBezTo>
                <a:cubicBezTo>
                  <a:pt x="1422478" y="522798"/>
                  <a:pt x="1421223" y="523449"/>
                  <a:pt x="1419929" y="524118"/>
                </a:cubicBezTo>
                <a:cubicBezTo>
                  <a:pt x="1418794" y="524701"/>
                  <a:pt x="1417658" y="525283"/>
                  <a:pt x="1416487" y="525883"/>
                </a:cubicBezTo>
                <a:cubicBezTo>
                  <a:pt x="1413349" y="527646"/>
                  <a:pt x="1413349" y="527646"/>
                  <a:pt x="1412271" y="531902"/>
                </a:cubicBezTo>
                <a:cubicBezTo>
                  <a:pt x="1407205" y="535203"/>
                  <a:pt x="1402819" y="536744"/>
                  <a:pt x="1396650" y="537539"/>
                </a:cubicBezTo>
                <a:cubicBezTo>
                  <a:pt x="1396650" y="538469"/>
                  <a:pt x="1396650" y="539399"/>
                  <a:pt x="1396650" y="540357"/>
                </a:cubicBezTo>
                <a:cubicBezTo>
                  <a:pt x="1395609" y="540735"/>
                  <a:pt x="1394568" y="541113"/>
                  <a:pt x="1393495" y="541502"/>
                </a:cubicBezTo>
                <a:cubicBezTo>
                  <a:pt x="1381840" y="545973"/>
                  <a:pt x="1372279" y="551715"/>
                  <a:pt x="1362284" y="558678"/>
                </a:cubicBezTo>
                <a:cubicBezTo>
                  <a:pt x="1360170" y="560088"/>
                  <a:pt x="1358055" y="561497"/>
                  <a:pt x="1355937" y="562905"/>
                </a:cubicBezTo>
                <a:cubicBezTo>
                  <a:pt x="1348556" y="567937"/>
                  <a:pt x="1341292" y="573085"/>
                  <a:pt x="1334165" y="578406"/>
                </a:cubicBezTo>
                <a:cubicBezTo>
                  <a:pt x="1332697" y="579472"/>
                  <a:pt x="1332697" y="579472"/>
                  <a:pt x="1331200" y="580559"/>
                </a:cubicBezTo>
                <a:cubicBezTo>
                  <a:pt x="1325067" y="585430"/>
                  <a:pt x="1323406" y="589771"/>
                  <a:pt x="1322175" y="596793"/>
                </a:cubicBezTo>
                <a:cubicBezTo>
                  <a:pt x="1321669" y="599545"/>
                  <a:pt x="1321669" y="599545"/>
                  <a:pt x="1320106" y="602363"/>
                </a:cubicBezTo>
                <a:cubicBezTo>
                  <a:pt x="1318419" y="618189"/>
                  <a:pt x="1322416" y="632767"/>
                  <a:pt x="1328015" y="647640"/>
                </a:cubicBezTo>
                <a:cubicBezTo>
                  <a:pt x="1331267" y="656625"/>
                  <a:pt x="1333170" y="666179"/>
                  <a:pt x="1332604" y="675643"/>
                </a:cubicBezTo>
                <a:cubicBezTo>
                  <a:pt x="1333634" y="675643"/>
                  <a:pt x="1334665" y="675643"/>
                  <a:pt x="1335727" y="675643"/>
                </a:cubicBezTo>
                <a:cubicBezTo>
                  <a:pt x="1337571" y="680632"/>
                  <a:pt x="1337591" y="684795"/>
                  <a:pt x="1337741" y="690059"/>
                </a:cubicBezTo>
                <a:cubicBezTo>
                  <a:pt x="1337826" y="692114"/>
                  <a:pt x="1337913" y="694168"/>
                  <a:pt x="1338003" y="696222"/>
                </a:cubicBezTo>
                <a:cubicBezTo>
                  <a:pt x="1338142" y="699444"/>
                  <a:pt x="1338266" y="702664"/>
                  <a:pt x="1338340" y="705887"/>
                </a:cubicBezTo>
                <a:cubicBezTo>
                  <a:pt x="1338372" y="720474"/>
                  <a:pt x="1338372" y="720474"/>
                  <a:pt x="1345277" y="733245"/>
                </a:cubicBezTo>
                <a:cubicBezTo>
                  <a:pt x="1350822" y="737861"/>
                  <a:pt x="1355921" y="739823"/>
                  <a:pt x="1363162" y="741612"/>
                </a:cubicBezTo>
                <a:cubicBezTo>
                  <a:pt x="1370672" y="743533"/>
                  <a:pt x="1377197" y="745750"/>
                  <a:pt x="1384154" y="748922"/>
                </a:cubicBezTo>
                <a:cubicBezTo>
                  <a:pt x="1387833" y="749898"/>
                  <a:pt x="1387833" y="749898"/>
                  <a:pt x="1391476" y="750419"/>
                </a:cubicBezTo>
                <a:cubicBezTo>
                  <a:pt x="1393499" y="750747"/>
                  <a:pt x="1393499" y="750747"/>
                  <a:pt x="1395564" y="751080"/>
                </a:cubicBezTo>
                <a:cubicBezTo>
                  <a:pt x="1397648" y="751407"/>
                  <a:pt x="1397648" y="751407"/>
                  <a:pt x="1399775" y="751740"/>
                </a:cubicBezTo>
                <a:cubicBezTo>
                  <a:pt x="1401810" y="752111"/>
                  <a:pt x="1401810" y="752111"/>
                  <a:pt x="1403887" y="752489"/>
                </a:cubicBezTo>
                <a:cubicBezTo>
                  <a:pt x="1424247" y="756131"/>
                  <a:pt x="1444708" y="756350"/>
                  <a:pt x="1465383" y="755969"/>
                </a:cubicBezTo>
                <a:cubicBezTo>
                  <a:pt x="1467019" y="755945"/>
                  <a:pt x="1468654" y="755921"/>
                  <a:pt x="1470339" y="755897"/>
                </a:cubicBezTo>
                <a:cubicBezTo>
                  <a:pt x="1480128" y="755450"/>
                  <a:pt x="1487899" y="752933"/>
                  <a:pt x="1496809" y="749313"/>
                </a:cubicBezTo>
                <a:cubicBezTo>
                  <a:pt x="1502876" y="746888"/>
                  <a:pt x="1509049" y="745091"/>
                  <a:pt x="1515371" y="743285"/>
                </a:cubicBezTo>
                <a:cubicBezTo>
                  <a:pt x="1515371" y="742356"/>
                  <a:pt x="1515371" y="741425"/>
                  <a:pt x="1515371" y="740467"/>
                </a:cubicBezTo>
                <a:cubicBezTo>
                  <a:pt x="1522710" y="737103"/>
                  <a:pt x="1529583" y="737106"/>
                  <a:pt x="1537632" y="737120"/>
                </a:cubicBezTo>
                <a:cubicBezTo>
                  <a:pt x="1538960" y="737122"/>
                  <a:pt x="1540289" y="737124"/>
                  <a:pt x="1541657" y="737127"/>
                </a:cubicBezTo>
                <a:cubicBezTo>
                  <a:pt x="1555502" y="737372"/>
                  <a:pt x="1564314" y="740697"/>
                  <a:pt x="1574732" y="748922"/>
                </a:cubicBezTo>
                <a:cubicBezTo>
                  <a:pt x="1586507" y="762822"/>
                  <a:pt x="1590347" y="775219"/>
                  <a:pt x="1588791" y="792608"/>
                </a:cubicBezTo>
                <a:cubicBezTo>
                  <a:pt x="1587728" y="797050"/>
                  <a:pt x="1586468" y="801261"/>
                  <a:pt x="1584105" y="805291"/>
                </a:cubicBezTo>
                <a:cubicBezTo>
                  <a:pt x="1583074" y="805756"/>
                  <a:pt x="1582043" y="806221"/>
                  <a:pt x="1580981" y="806700"/>
                </a:cubicBezTo>
                <a:cubicBezTo>
                  <a:pt x="1580240" y="807892"/>
                  <a:pt x="1579499" y="809083"/>
                  <a:pt x="1578735" y="810311"/>
                </a:cubicBezTo>
                <a:cubicBezTo>
                  <a:pt x="1577930" y="811445"/>
                  <a:pt x="1577124" y="812579"/>
                  <a:pt x="1576295" y="813746"/>
                </a:cubicBezTo>
                <a:lnTo>
                  <a:pt x="1571652" y="813746"/>
                </a:lnTo>
                <a:lnTo>
                  <a:pt x="1571785" y="814106"/>
                </a:lnTo>
                <a:cubicBezTo>
                  <a:pt x="1572816" y="814571"/>
                  <a:pt x="1573846" y="815036"/>
                  <a:pt x="1574909" y="815515"/>
                </a:cubicBezTo>
                <a:cubicBezTo>
                  <a:pt x="1572126" y="818758"/>
                  <a:pt x="1569968" y="820871"/>
                  <a:pt x="1565463" y="821839"/>
                </a:cubicBezTo>
                <a:lnTo>
                  <a:pt x="1562085" y="822101"/>
                </a:lnTo>
                <a:lnTo>
                  <a:pt x="1551301" y="825020"/>
                </a:lnTo>
                <a:cubicBezTo>
                  <a:pt x="1551301" y="825950"/>
                  <a:pt x="1551301" y="826880"/>
                  <a:pt x="1551301" y="827838"/>
                </a:cubicBezTo>
                <a:cubicBezTo>
                  <a:pt x="1526697" y="828735"/>
                  <a:pt x="1507496" y="825036"/>
                  <a:pt x="1485380" y="815007"/>
                </a:cubicBezTo>
                <a:cubicBezTo>
                  <a:pt x="1468723" y="807743"/>
                  <a:pt x="1449749" y="809144"/>
                  <a:pt x="1431603" y="808726"/>
                </a:cubicBezTo>
                <a:cubicBezTo>
                  <a:pt x="1429115" y="808665"/>
                  <a:pt x="1426627" y="808604"/>
                  <a:pt x="1424140" y="808542"/>
                </a:cubicBezTo>
                <a:cubicBezTo>
                  <a:pt x="1418101" y="808392"/>
                  <a:pt x="1412062" y="808249"/>
                  <a:pt x="1406023" y="808109"/>
                </a:cubicBezTo>
                <a:cubicBezTo>
                  <a:pt x="1406023" y="809040"/>
                  <a:pt x="1406023" y="809970"/>
                  <a:pt x="1406023" y="810928"/>
                </a:cubicBezTo>
                <a:cubicBezTo>
                  <a:pt x="1404716" y="811118"/>
                  <a:pt x="1404716" y="811118"/>
                  <a:pt x="1403383" y="811311"/>
                </a:cubicBezTo>
                <a:cubicBezTo>
                  <a:pt x="1372054" y="815110"/>
                  <a:pt x="1372054" y="815110"/>
                  <a:pt x="1345442" y="828907"/>
                </a:cubicBezTo>
                <a:cubicBezTo>
                  <a:pt x="1338843" y="837605"/>
                  <a:pt x="1338313" y="846434"/>
                  <a:pt x="1337875" y="856639"/>
                </a:cubicBezTo>
                <a:cubicBezTo>
                  <a:pt x="1337815" y="857805"/>
                  <a:pt x="1337754" y="858970"/>
                  <a:pt x="1337692" y="860171"/>
                </a:cubicBezTo>
                <a:cubicBezTo>
                  <a:pt x="1337547" y="863016"/>
                  <a:pt x="1337417" y="865861"/>
                  <a:pt x="1337290" y="868706"/>
                </a:cubicBezTo>
                <a:cubicBezTo>
                  <a:pt x="1336258" y="868706"/>
                  <a:pt x="1335228" y="868706"/>
                  <a:pt x="1334165" y="868706"/>
                </a:cubicBezTo>
                <a:lnTo>
                  <a:pt x="1334165" y="870034"/>
                </a:lnTo>
                <a:lnTo>
                  <a:pt x="1334237" y="869093"/>
                </a:lnTo>
                <a:cubicBezTo>
                  <a:pt x="1334753" y="869093"/>
                  <a:pt x="1335268" y="869093"/>
                  <a:pt x="1335800" y="869093"/>
                </a:cubicBezTo>
                <a:cubicBezTo>
                  <a:pt x="1335884" y="871559"/>
                  <a:pt x="1335944" y="874025"/>
                  <a:pt x="1335995" y="876491"/>
                </a:cubicBezTo>
                <a:cubicBezTo>
                  <a:pt x="1336030" y="877865"/>
                  <a:pt x="1336067" y="879238"/>
                  <a:pt x="1336105" y="880653"/>
                </a:cubicBezTo>
                <a:cubicBezTo>
                  <a:pt x="1335800" y="884594"/>
                  <a:pt x="1335800" y="884594"/>
                  <a:pt x="1334294" y="887271"/>
                </a:cubicBezTo>
                <a:cubicBezTo>
                  <a:pt x="1332567" y="890428"/>
                  <a:pt x="1331982" y="892964"/>
                  <a:pt x="1331455" y="896440"/>
                </a:cubicBezTo>
                <a:cubicBezTo>
                  <a:pt x="1331267" y="897605"/>
                  <a:pt x="1331080" y="898769"/>
                  <a:pt x="1330887" y="899969"/>
                </a:cubicBezTo>
                <a:cubicBezTo>
                  <a:pt x="1330704" y="901174"/>
                  <a:pt x="1330521" y="902378"/>
                  <a:pt x="1330332" y="903618"/>
                </a:cubicBezTo>
                <a:cubicBezTo>
                  <a:pt x="1329968" y="906013"/>
                  <a:pt x="1329594" y="908405"/>
                  <a:pt x="1329209" y="910797"/>
                </a:cubicBezTo>
                <a:cubicBezTo>
                  <a:pt x="1329049" y="911853"/>
                  <a:pt x="1328889" y="912910"/>
                  <a:pt x="1328724" y="913998"/>
                </a:cubicBezTo>
                <a:cubicBezTo>
                  <a:pt x="1327933" y="917233"/>
                  <a:pt x="1326525" y="919703"/>
                  <a:pt x="1324865" y="922643"/>
                </a:cubicBezTo>
                <a:cubicBezTo>
                  <a:pt x="1323924" y="927743"/>
                  <a:pt x="1323282" y="932845"/>
                  <a:pt x="1322619" y="937979"/>
                </a:cubicBezTo>
                <a:lnTo>
                  <a:pt x="1318744" y="944961"/>
                </a:lnTo>
                <a:lnTo>
                  <a:pt x="1318544" y="946213"/>
                </a:lnTo>
                <a:cubicBezTo>
                  <a:pt x="1318360" y="949234"/>
                  <a:pt x="1318271" y="952260"/>
                  <a:pt x="1318251" y="955285"/>
                </a:cubicBezTo>
                <a:cubicBezTo>
                  <a:pt x="1318218" y="957637"/>
                  <a:pt x="1318218" y="957637"/>
                  <a:pt x="1318184" y="960036"/>
                </a:cubicBezTo>
                <a:cubicBezTo>
                  <a:pt x="1318624" y="965530"/>
                  <a:pt x="1319569" y="969724"/>
                  <a:pt x="1324024" y="973660"/>
                </a:cubicBezTo>
                <a:cubicBezTo>
                  <a:pt x="1327197" y="976583"/>
                  <a:pt x="1327950" y="979494"/>
                  <a:pt x="1329284" y="983382"/>
                </a:cubicBezTo>
                <a:cubicBezTo>
                  <a:pt x="1331875" y="990106"/>
                  <a:pt x="1334445" y="993582"/>
                  <a:pt x="1340414" y="998354"/>
                </a:cubicBezTo>
                <a:cubicBezTo>
                  <a:pt x="1342397" y="1000564"/>
                  <a:pt x="1344347" y="1002798"/>
                  <a:pt x="1346272" y="1005048"/>
                </a:cubicBezTo>
                <a:cubicBezTo>
                  <a:pt x="1360055" y="1020713"/>
                  <a:pt x="1376247" y="1031879"/>
                  <a:pt x="1394716" y="1042740"/>
                </a:cubicBezTo>
                <a:cubicBezTo>
                  <a:pt x="1397172" y="1044228"/>
                  <a:pt x="1399581" y="1045779"/>
                  <a:pt x="1401953" y="1047374"/>
                </a:cubicBezTo>
                <a:cubicBezTo>
                  <a:pt x="1410065" y="1052802"/>
                  <a:pt x="1417529" y="1056366"/>
                  <a:pt x="1427197" y="1059061"/>
                </a:cubicBezTo>
                <a:cubicBezTo>
                  <a:pt x="1431243" y="1060437"/>
                  <a:pt x="1434061" y="1061979"/>
                  <a:pt x="1437265" y="1064588"/>
                </a:cubicBezTo>
                <a:cubicBezTo>
                  <a:pt x="1437265" y="1065518"/>
                  <a:pt x="1437265" y="1066448"/>
                  <a:pt x="1437265" y="1067406"/>
                </a:cubicBezTo>
                <a:cubicBezTo>
                  <a:pt x="1439053" y="1067624"/>
                  <a:pt x="1439053" y="1067624"/>
                  <a:pt x="1440878" y="1067847"/>
                </a:cubicBezTo>
                <a:cubicBezTo>
                  <a:pt x="1445076" y="1068815"/>
                  <a:pt x="1445076" y="1068815"/>
                  <a:pt x="1447175" y="1070753"/>
                </a:cubicBezTo>
                <a:cubicBezTo>
                  <a:pt x="1450417" y="1073622"/>
                  <a:pt x="1453781" y="1075060"/>
                  <a:pt x="1457866" y="1076830"/>
                </a:cubicBezTo>
                <a:cubicBezTo>
                  <a:pt x="1459274" y="1077446"/>
                  <a:pt x="1460681" y="1078062"/>
                  <a:pt x="1462132" y="1078696"/>
                </a:cubicBezTo>
                <a:cubicBezTo>
                  <a:pt x="1463204" y="1079156"/>
                  <a:pt x="1464278" y="1079616"/>
                  <a:pt x="1465383" y="1080089"/>
                </a:cubicBezTo>
                <a:cubicBezTo>
                  <a:pt x="1465383" y="1081019"/>
                  <a:pt x="1465383" y="1081949"/>
                  <a:pt x="1465383" y="1082908"/>
                </a:cubicBezTo>
                <a:cubicBezTo>
                  <a:pt x="1466497" y="1083260"/>
                  <a:pt x="1467611" y="1083612"/>
                  <a:pt x="1468758" y="1083975"/>
                </a:cubicBezTo>
                <a:cubicBezTo>
                  <a:pt x="1473648" y="1085905"/>
                  <a:pt x="1477426" y="1088296"/>
                  <a:pt x="1481688" y="1091187"/>
                </a:cubicBezTo>
                <a:cubicBezTo>
                  <a:pt x="1483204" y="1092193"/>
                  <a:pt x="1484721" y="1093200"/>
                  <a:pt x="1486283" y="1094236"/>
                </a:cubicBezTo>
                <a:cubicBezTo>
                  <a:pt x="1489170" y="1096185"/>
                  <a:pt x="1492029" y="1098166"/>
                  <a:pt x="1494869" y="1100171"/>
                </a:cubicBezTo>
                <a:cubicBezTo>
                  <a:pt x="1510181" y="1107906"/>
                  <a:pt x="1527080" y="1109898"/>
                  <a:pt x="1544335" y="1109518"/>
                </a:cubicBezTo>
                <a:cubicBezTo>
                  <a:pt x="1579932" y="1108798"/>
                  <a:pt x="1579932" y="1108798"/>
                  <a:pt x="1593477" y="1119900"/>
                </a:cubicBezTo>
                <a:cubicBezTo>
                  <a:pt x="1600636" y="1127255"/>
                  <a:pt x="1604889" y="1135120"/>
                  <a:pt x="1605975" y="1144913"/>
                </a:cubicBezTo>
                <a:cubicBezTo>
                  <a:pt x="1607006" y="1144913"/>
                  <a:pt x="1608036" y="1144913"/>
                  <a:pt x="1609099" y="1144913"/>
                </a:cubicBezTo>
                <a:cubicBezTo>
                  <a:pt x="1609227" y="1148907"/>
                  <a:pt x="1609319" y="1152897"/>
                  <a:pt x="1609392" y="1156892"/>
                </a:cubicBezTo>
                <a:cubicBezTo>
                  <a:pt x="1609451" y="1158565"/>
                  <a:pt x="1609451" y="1158565"/>
                  <a:pt x="1609511" y="1160272"/>
                </a:cubicBezTo>
                <a:cubicBezTo>
                  <a:pt x="1609621" y="1168378"/>
                  <a:pt x="1607970" y="1174108"/>
                  <a:pt x="1604412" y="1181553"/>
                </a:cubicBezTo>
                <a:cubicBezTo>
                  <a:pt x="1603354" y="1184367"/>
                  <a:pt x="1602306" y="1187183"/>
                  <a:pt x="1601288" y="1190009"/>
                </a:cubicBezTo>
                <a:cubicBezTo>
                  <a:pt x="1600257" y="1190009"/>
                  <a:pt x="1599226" y="1190009"/>
                  <a:pt x="1598164" y="1190009"/>
                </a:cubicBezTo>
                <a:cubicBezTo>
                  <a:pt x="1597842" y="1190910"/>
                  <a:pt x="1597520" y="1191810"/>
                  <a:pt x="1597187" y="1192739"/>
                </a:cubicBezTo>
                <a:cubicBezTo>
                  <a:pt x="1596479" y="1193698"/>
                  <a:pt x="1595770" y="1194657"/>
                  <a:pt x="1595040" y="1195645"/>
                </a:cubicBezTo>
                <a:cubicBezTo>
                  <a:pt x="1591916" y="1196115"/>
                  <a:pt x="1588791" y="1196585"/>
                  <a:pt x="1585667" y="1197055"/>
                </a:cubicBezTo>
                <a:cubicBezTo>
                  <a:pt x="1583871" y="1199826"/>
                  <a:pt x="1583871" y="1199826"/>
                  <a:pt x="1582543" y="1202691"/>
                </a:cubicBezTo>
                <a:cubicBezTo>
                  <a:pt x="1575997" y="1204710"/>
                  <a:pt x="1569266" y="1204360"/>
                  <a:pt x="1562431" y="1204365"/>
                </a:cubicBezTo>
                <a:cubicBezTo>
                  <a:pt x="1561196" y="1204382"/>
                  <a:pt x="1559962" y="1204399"/>
                  <a:pt x="1558690" y="1204417"/>
                </a:cubicBezTo>
                <a:cubicBezTo>
                  <a:pt x="1543339" y="1204452"/>
                  <a:pt x="1531981" y="1199267"/>
                  <a:pt x="1521102" y="1189585"/>
                </a:cubicBezTo>
                <a:cubicBezTo>
                  <a:pt x="1515403" y="1183953"/>
                  <a:pt x="1510116" y="1178123"/>
                  <a:pt x="1505022" y="1172041"/>
                </a:cubicBezTo>
                <a:cubicBezTo>
                  <a:pt x="1493200" y="1158177"/>
                  <a:pt x="1475492" y="1147115"/>
                  <a:pt x="1457573" y="1140686"/>
                </a:cubicBezTo>
                <a:cubicBezTo>
                  <a:pt x="1457573" y="1139755"/>
                  <a:pt x="1457573" y="1138826"/>
                  <a:pt x="1457573" y="1137867"/>
                </a:cubicBezTo>
                <a:cubicBezTo>
                  <a:pt x="1456059" y="1137693"/>
                  <a:pt x="1454544" y="1137518"/>
                  <a:pt x="1452985" y="1137339"/>
                </a:cubicBezTo>
                <a:cubicBezTo>
                  <a:pt x="1451406" y="1137048"/>
                  <a:pt x="1449827" y="1136758"/>
                  <a:pt x="1448200" y="1136458"/>
                </a:cubicBezTo>
                <a:cubicBezTo>
                  <a:pt x="1447685" y="1135528"/>
                  <a:pt x="1447169" y="1134598"/>
                  <a:pt x="1446638" y="1133640"/>
                </a:cubicBezTo>
                <a:cubicBezTo>
                  <a:pt x="1444091" y="1132586"/>
                  <a:pt x="1441535" y="1131550"/>
                  <a:pt x="1438937" y="1130601"/>
                </a:cubicBezTo>
                <a:cubicBezTo>
                  <a:pt x="1435668" y="1129399"/>
                  <a:pt x="1432469" y="1128095"/>
                  <a:pt x="1429260" y="1126770"/>
                </a:cubicBezTo>
                <a:cubicBezTo>
                  <a:pt x="1423389" y="1124389"/>
                  <a:pt x="1417431" y="1122349"/>
                  <a:pt x="1411393" y="1120340"/>
                </a:cubicBezTo>
                <a:cubicBezTo>
                  <a:pt x="1404143" y="1117867"/>
                  <a:pt x="1397842" y="1115090"/>
                  <a:pt x="1391427" y="1111191"/>
                </a:cubicBezTo>
                <a:cubicBezTo>
                  <a:pt x="1388139" y="1109274"/>
                  <a:pt x="1384723" y="1108010"/>
                  <a:pt x="1381029" y="1106865"/>
                </a:cubicBezTo>
                <a:cubicBezTo>
                  <a:pt x="1381029" y="1105934"/>
                  <a:pt x="1381029" y="1105004"/>
                  <a:pt x="1381029" y="1104046"/>
                </a:cubicBezTo>
                <a:cubicBezTo>
                  <a:pt x="1379773" y="1103901"/>
                  <a:pt x="1378516" y="1103755"/>
                  <a:pt x="1377221" y="1103605"/>
                </a:cubicBezTo>
                <a:cubicBezTo>
                  <a:pt x="1370425" y="1102422"/>
                  <a:pt x="1364120" y="1100465"/>
                  <a:pt x="1357597" y="1098409"/>
                </a:cubicBezTo>
                <a:cubicBezTo>
                  <a:pt x="1355761" y="1097857"/>
                  <a:pt x="1353924" y="1097304"/>
                  <a:pt x="1352032" y="1096736"/>
                </a:cubicBezTo>
                <a:cubicBezTo>
                  <a:pt x="1350776" y="1096358"/>
                  <a:pt x="1349519" y="1095980"/>
                  <a:pt x="1348225" y="1095590"/>
                </a:cubicBezTo>
                <a:cubicBezTo>
                  <a:pt x="1348225" y="1094661"/>
                  <a:pt x="1348225" y="1093730"/>
                  <a:pt x="1348225" y="1092772"/>
                </a:cubicBezTo>
                <a:cubicBezTo>
                  <a:pt x="1344616" y="1092307"/>
                  <a:pt x="1341007" y="1091842"/>
                  <a:pt x="1337290" y="1091363"/>
                </a:cubicBezTo>
                <a:cubicBezTo>
                  <a:pt x="1337290" y="1090433"/>
                  <a:pt x="1337290" y="1089503"/>
                  <a:pt x="1337290" y="1088544"/>
                </a:cubicBezTo>
                <a:cubicBezTo>
                  <a:pt x="1334438" y="1088327"/>
                  <a:pt x="1334438" y="1088327"/>
                  <a:pt x="1331529" y="1088104"/>
                </a:cubicBezTo>
                <a:lnTo>
                  <a:pt x="1323297" y="1086611"/>
                </a:lnTo>
                <a:lnTo>
                  <a:pt x="1323297" y="1087618"/>
                </a:lnTo>
                <a:cubicBezTo>
                  <a:pt x="1322139" y="1087517"/>
                  <a:pt x="1320982" y="1087415"/>
                  <a:pt x="1319789" y="1087310"/>
                </a:cubicBezTo>
                <a:cubicBezTo>
                  <a:pt x="1300429" y="1085771"/>
                  <a:pt x="1281330" y="1084680"/>
                  <a:pt x="1262375" y="1089028"/>
                </a:cubicBezTo>
                <a:lnTo>
                  <a:pt x="1258728" y="1088205"/>
                </a:lnTo>
                <a:lnTo>
                  <a:pt x="1246964" y="1091489"/>
                </a:lnTo>
                <a:cubicBezTo>
                  <a:pt x="1237239" y="1097222"/>
                  <a:pt x="1228703" y="1103434"/>
                  <a:pt x="1223224" y="1112865"/>
                </a:cubicBezTo>
                <a:cubicBezTo>
                  <a:pt x="1220867" y="1116643"/>
                  <a:pt x="1217262" y="1119317"/>
                  <a:pt x="1213883" y="1122366"/>
                </a:cubicBezTo>
                <a:cubicBezTo>
                  <a:pt x="1213428" y="1123469"/>
                  <a:pt x="1212973" y="1124572"/>
                  <a:pt x="1212505" y="1125708"/>
                </a:cubicBezTo>
                <a:cubicBezTo>
                  <a:pt x="1210449" y="1130067"/>
                  <a:pt x="1207984" y="1132315"/>
                  <a:pt x="1204180" y="1135561"/>
                </a:cubicBezTo>
                <a:cubicBezTo>
                  <a:pt x="1202879" y="1136695"/>
                  <a:pt x="1201578" y="1137829"/>
                  <a:pt x="1200238" y="1138999"/>
                </a:cubicBezTo>
                <a:cubicBezTo>
                  <a:pt x="1197504" y="1141343"/>
                  <a:pt x="1194765" y="1143684"/>
                  <a:pt x="1192025" y="1146022"/>
                </a:cubicBezTo>
                <a:cubicBezTo>
                  <a:pt x="1181899" y="1154869"/>
                  <a:pt x="1174983" y="1161763"/>
                  <a:pt x="1173945" y="1174749"/>
                </a:cubicBezTo>
                <a:cubicBezTo>
                  <a:pt x="1173902" y="1177369"/>
                  <a:pt x="1173905" y="1179990"/>
                  <a:pt x="1173950" y="1182610"/>
                </a:cubicBezTo>
                <a:cubicBezTo>
                  <a:pt x="1173963" y="1183981"/>
                  <a:pt x="1173975" y="1185352"/>
                  <a:pt x="1173989" y="1186765"/>
                </a:cubicBezTo>
                <a:cubicBezTo>
                  <a:pt x="1174321" y="1197573"/>
                  <a:pt x="1176809" y="1205883"/>
                  <a:pt x="1182640" y="1215374"/>
                </a:cubicBezTo>
                <a:cubicBezTo>
                  <a:pt x="1183703" y="1217509"/>
                  <a:pt x="1184746" y="1219652"/>
                  <a:pt x="1185764" y="1221804"/>
                </a:cubicBezTo>
                <a:cubicBezTo>
                  <a:pt x="1186271" y="1222812"/>
                  <a:pt x="1186779" y="1223821"/>
                  <a:pt x="1187301" y="1224859"/>
                </a:cubicBezTo>
                <a:cubicBezTo>
                  <a:pt x="1188431" y="1227137"/>
                  <a:pt x="1189517" y="1229433"/>
                  <a:pt x="1190573" y="1231740"/>
                </a:cubicBezTo>
                <a:cubicBezTo>
                  <a:pt x="1194650" y="1240409"/>
                  <a:pt x="1199581" y="1247688"/>
                  <a:pt x="1205925" y="1255163"/>
                </a:cubicBezTo>
                <a:cubicBezTo>
                  <a:pt x="1208103" y="1257757"/>
                  <a:pt x="1210188" y="1260417"/>
                  <a:pt x="1212174" y="1263134"/>
                </a:cubicBezTo>
                <a:cubicBezTo>
                  <a:pt x="1218757" y="1272043"/>
                  <a:pt x="1225157" y="1277324"/>
                  <a:pt x="1235556" y="1282538"/>
                </a:cubicBezTo>
                <a:cubicBezTo>
                  <a:pt x="1236652" y="1283161"/>
                  <a:pt x="1237747" y="1283784"/>
                  <a:pt x="1238876" y="1284426"/>
                </a:cubicBezTo>
                <a:cubicBezTo>
                  <a:pt x="1238876" y="1285356"/>
                  <a:pt x="1238876" y="1286287"/>
                  <a:pt x="1238876" y="1287245"/>
                </a:cubicBezTo>
                <a:cubicBezTo>
                  <a:pt x="1239988" y="1287383"/>
                  <a:pt x="1241099" y="1287521"/>
                  <a:pt x="1242245" y="1287663"/>
                </a:cubicBezTo>
                <a:cubicBezTo>
                  <a:pt x="1253043" y="1290072"/>
                  <a:pt x="1264916" y="1297690"/>
                  <a:pt x="1271681" y="1305565"/>
                </a:cubicBezTo>
                <a:lnTo>
                  <a:pt x="1271742" y="1306172"/>
                </a:lnTo>
                <a:lnTo>
                  <a:pt x="1278525" y="1315767"/>
                </a:lnTo>
                <a:cubicBezTo>
                  <a:pt x="1279797" y="1319398"/>
                  <a:pt x="1280365" y="1323346"/>
                  <a:pt x="1281097" y="1327286"/>
                </a:cubicBezTo>
                <a:cubicBezTo>
                  <a:pt x="1281916" y="1337121"/>
                  <a:pt x="1281807" y="1346176"/>
                  <a:pt x="1277973" y="1355470"/>
                </a:cubicBezTo>
                <a:lnTo>
                  <a:pt x="1277460" y="1347025"/>
                </a:lnTo>
                <a:lnTo>
                  <a:pt x="1273531" y="1357991"/>
                </a:lnTo>
                <a:cubicBezTo>
                  <a:pt x="1270940" y="1361892"/>
                  <a:pt x="1267521" y="1365435"/>
                  <a:pt x="1263870" y="1368980"/>
                </a:cubicBezTo>
                <a:cubicBezTo>
                  <a:pt x="1258351" y="1372929"/>
                  <a:pt x="1253850" y="1376026"/>
                  <a:pt x="1246686" y="1376026"/>
                </a:cubicBezTo>
                <a:cubicBezTo>
                  <a:pt x="1246686" y="1376956"/>
                  <a:pt x="1246686" y="1377886"/>
                  <a:pt x="1246686" y="1378844"/>
                </a:cubicBezTo>
                <a:cubicBezTo>
                  <a:pt x="1241676" y="1379009"/>
                  <a:pt x="1236665" y="1379109"/>
                  <a:pt x="1231651" y="1379196"/>
                </a:cubicBezTo>
                <a:cubicBezTo>
                  <a:pt x="1230240" y="1379244"/>
                  <a:pt x="1228828" y="1379291"/>
                  <a:pt x="1227373" y="1379340"/>
                </a:cubicBezTo>
                <a:cubicBezTo>
                  <a:pt x="1218287" y="1379460"/>
                  <a:pt x="1213363" y="1378568"/>
                  <a:pt x="1206071" y="1373207"/>
                </a:cubicBezTo>
                <a:cubicBezTo>
                  <a:pt x="1204751" y="1372742"/>
                  <a:pt x="1203430" y="1372277"/>
                  <a:pt x="1202069" y="1371798"/>
                </a:cubicBezTo>
                <a:cubicBezTo>
                  <a:pt x="1193777" y="1368730"/>
                  <a:pt x="1188124" y="1363294"/>
                  <a:pt x="1184104" y="1356176"/>
                </a:cubicBezTo>
                <a:cubicBezTo>
                  <a:pt x="1180965" y="1349259"/>
                  <a:pt x="1178852" y="1342590"/>
                  <a:pt x="1177270" y="1335247"/>
                </a:cubicBezTo>
                <a:cubicBezTo>
                  <a:pt x="1175525" y="1327352"/>
                  <a:pt x="1172911" y="1320677"/>
                  <a:pt x="1169002" y="1313464"/>
                </a:cubicBezTo>
                <a:cubicBezTo>
                  <a:pt x="1166989" y="1309737"/>
                  <a:pt x="1165215" y="1305976"/>
                  <a:pt x="1163504" y="1302130"/>
                </a:cubicBezTo>
                <a:cubicBezTo>
                  <a:pt x="1163013" y="1301027"/>
                  <a:pt x="1162521" y="1299924"/>
                  <a:pt x="1162015" y="1298788"/>
                </a:cubicBezTo>
                <a:cubicBezTo>
                  <a:pt x="1160770" y="1295700"/>
                  <a:pt x="1160770" y="1295700"/>
                  <a:pt x="1160111" y="1292656"/>
                </a:cubicBezTo>
                <a:cubicBezTo>
                  <a:pt x="1159345" y="1289507"/>
                  <a:pt x="1159345" y="1289507"/>
                  <a:pt x="1154522" y="1287245"/>
                </a:cubicBezTo>
                <a:cubicBezTo>
                  <a:pt x="1153465" y="1284902"/>
                  <a:pt x="1152426" y="1282552"/>
                  <a:pt x="1151398" y="1280199"/>
                </a:cubicBezTo>
                <a:cubicBezTo>
                  <a:pt x="1149056" y="1276983"/>
                  <a:pt x="1146686" y="1273874"/>
                  <a:pt x="1144173" y="1270774"/>
                </a:cubicBezTo>
                <a:cubicBezTo>
                  <a:pt x="1143477" y="1269912"/>
                  <a:pt x="1142782" y="1269049"/>
                  <a:pt x="1142065" y="1268160"/>
                </a:cubicBezTo>
                <a:cubicBezTo>
                  <a:pt x="1139981" y="1265589"/>
                  <a:pt x="1137880" y="1263029"/>
                  <a:pt x="1135776" y="1260470"/>
                </a:cubicBezTo>
                <a:cubicBezTo>
                  <a:pt x="1134647" y="1259076"/>
                  <a:pt x="1133517" y="1257683"/>
                  <a:pt x="1132353" y="1256247"/>
                </a:cubicBezTo>
                <a:cubicBezTo>
                  <a:pt x="1126291" y="1249045"/>
                  <a:pt x="1121408" y="1244606"/>
                  <a:pt x="1112344" y="1240741"/>
                </a:cubicBezTo>
                <a:cubicBezTo>
                  <a:pt x="1110285" y="1239698"/>
                  <a:pt x="1108234" y="1238642"/>
                  <a:pt x="1106193" y="1237570"/>
                </a:cubicBezTo>
                <a:cubicBezTo>
                  <a:pt x="1104615" y="1236756"/>
                  <a:pt x="1103036" y="1235942"/>
                  <a:pt x="1101409" y="1235104"/>
                </a:cubicBezTo>
                <a:cubicBezTo>
                  <a:pt x="1101409" y="1233708"/>
                  <a:pt x="1101409" y="1232313"/>
                  <a:pt x="1101409" y="1230876"/>
                </a:cubicBezTo>
                <a:cubicBezTo>
                  <a:pt x="1089553" y="1230876"/>
                  <a:pt x="1077697" y="1230876"/>
                  <a:pt x="1065480" y="1230876"/>
                </a:cubicBezTo>
                <a:cubicBezTo>
                  <a:pt x="1064965" y="1232271"/>
                  <a:pt x="1064450" y="1233666"/>
                  <a:pt x="1063919" y="1235104"/>
                </a:cubicBezTo>
                <a:cubicBezTo>
                  <a:pt x="1062372" y="1235104"/>
                  <a:pt x="1060826" y="1235104"/>
                  <a:pt x="1059232" y="1235104"/>
                </a:cubicBezTo>
                <a:cubicBezTo>
                  <a:pt x="1059232" y="1236033"/>
                  <a:pt x="1059232" y="1236964"/>
                  <a:pt x="1059232" y="1237922"/>
                </a:cubicBezTo>
                <a:cubicBezTo>
                  <a:pt x="1052964" y="1240850"/>
                  <a:pt x="1046842" y="1243613"/>
                  <a:pt x="1040194" y="1245761"/>
                </a:cubicBezTo>
                <a:cubicBezTo>
                  <a:pt x="1036552" y="1246941"/>
                  <a:pt x="1033682" y="1248088"/>
                  <a:pt x="1030333" y="1249901"/>
                </a:cubicBezTo>
                <a:cubicBezTo>
                  <a:pt x="1025129" y="1252717"/>
                  <a:pt x="1019615" y="1254371"/>
                  <a:pt x="1013931" y="1256242"/>
                </a:cubicBezTo>
                <a:cubicBezTo>
                  <a:pt x="1009870" y="1257688"/>
                  <a:pt x="1008221" y="1258277"/>
                  <a:pt x="1005925" y="1261615"/>
                </a:cubicBezTo>
                <a:cubicBezTo>
                  <a:pt x="1005474" y="1262632"/>
                  <a:pt x="1005023" y="1263649"/>
                  <a:pt x="1004558" y="1264697"/>
                </a:cubicBezTo>
                <a:cubicBezTo>
                  <a:pt x="1004030" y="1265774"/>
                  <a:pt x="1003503" y="1266852"/>
                  <a:pt x="1002959" y="1267961"/>
                </a:cubicBezTo>
                <a:cubicBezTo>
                  <a:pt x="1001408" y="1271808"/>
                  <a:pt x="1000922" y="1274896"/>
                  <a:pt x="1000653" y="1278965"/>
                </a:cubicBezTo>
                <a:cubicBezTo>
                  <a:pt x="1000303" y="1284158"/>
                  <a:pt x="999467" y="1289055"/>
                  <a:pt x="998297" y="1294137"/>
                </a:cubicBezTo>
                <a:cubicBezTo>
                  <a:pt x="996204" y="1304306"/>
                  <a:pt x="996129" y="1314460"/>
                  <a:pt x="996162" y="1324765"/>
                </a:cubicBezTo>
                <a:cubicBezTo>
                  <a:pt x="996163" y="1325782"/>
                  <a:pt x="996163" y="1326799"/>
                  <a:pt x="996164" y="1327846"/>
                </a:cubicBezTo>
                <a:cubicBezTo>
                  <a:pt x="996263" y="1353742"/>
                  <a:pt x="1001081" y="1378188"/>
                  <a:pt x="1007780" y="1403329"/>
                </a:cubicBezTo>
                <a:cubicBezTo>
                  <a:pt x="1008163" y="1404772"/>
                  <a:pt x="1008546" y="1406215"/>
                  <a:pt x="1008940" y="1407701"/>
                </a:cubicBezTo>
                <a:cubicBezTo>
                  <a:pt x="1009316" y="1409030"/>
                  <a:pt x="1009693" y="1410360"/>
                  <a:pt x="1010080" y="1411730"/>
                </a:cubicBezTo>
                <a:cubicBezTo>
                  <a:pt x="1010409" y="1412900"/>
                  <a:pt x="1010737" y="1414071"/>
                  <a:pt x="1011075" y="1415277"/>
                </a:cubicBezTo>
                <a:cubicBezTo>
                  <a:pt x="1012501" y="1418612"/>
                  <a:pt x="1014136" y="1420168"/>
                  <a:pt x="1017055" y="1422530"/>
                </a:cubicBezTo>
                <a:cubicBezTo>
                  <a:pt x="1018770" y="1425162"/>
                  <a:pt x="1018770" y="1425162"/>
                  <a:pt x="1020277" y="1427991"/>
                </a:cubicBezTo>
                <a:cubicBezTo>
                  <a:pt x="1020778" y="1428917"/>
                  <a:pt x="1021280" y="1429844"/>
                  <a:pt x="1021796" y="1430798"/>
                </a:cubicBezTo>
                <a:cubicBezTo>
                  <a:pt x="1023303" y="1433804"/>
                  <a:pt x="1023303" y="1433804"/>
                  <a:pt x="1024579" y="1437239"/>
                </a:cubicBezTo>
                <a:cubicBezTo>
                  <a:pt x="1026915" y="1441803"/>
                  <a:pt x="1030098" y="1444534"/>
                  <a:pt x="1034043" y="1448072"/>
                </a:cubicBezTo>
                <a:lnTo>
                  <a:pt x="1043782" y="1464320"/>
                </a:lnTo>
                <a:lnTo>
                  <a:pt x="1050458" y="1472189"/>
                </a:lnTo>
                <a:cubicBezTo>
                  <a:pt x="1051737" y="1475181"/>
                  <a:pt x="1052277" y="1478513"/>
                  <a:pt x="1052926" y="1482370"/>
                </a:cubicBezTo>
                <a:cubicBezTo>
                  <a:pt x="1053325" y="1487224"/>
                  <a:pt x="1053364" y="1492038"/>
                  <a:pt x="1053316" y="1496903"/>
                </a:cubicBezTo>
                <a:cubicBezTo>
                  <a:pt x="1053328" y="1498142"/>
                  <a:pt x="1053340" y="1499382"/>
                  <a:pt x="1053352" y="1500660"/>
                </a:cubicBezTo>
                <a:cubicBezTo>
                  <a:pt x="1053348" y="1501856"/>
                  <a:pt x="1053344" y="1503052"/>
                  <a:pt x="1053341" y="1504285"/>
                </a:cubicBezTo>
                <a:cubicBezTo>
                  <a:pt x="1053336" y="1505355"/>
                  <a:pt x="1053333" y="1506426"/>
                  <a:pt x="1053329" y="1507529"/>
                </a:cubicBezTo>
                <a:cubicBezTo>
                  <a:pt x="1052876" y="1510927"/>
                  <a:pt x="1051672" y="1513237"/>
                  <a:pt x="1049801" y="1516192"/>
                </a:cubicBezTo>
                <a:lnTo>
                  <a:pt x="1047312" y="1516192"/>
                </a:lnTo>
                <a:lnTo>
                  <a:pt x="1043611" y="1522585"/>
                </a:lnTo>
                <a:cubicBezTo>
                  <a:pt x="1035301" y="1529631"/>
                  <a:pt x="1035301" y="1529631"/>
                  <a:pt x="1029552" y="1529631"/>
                </a:cubicBezTo>
                <a:cubicBezTo>
                  <a:pt x="1029294" y="1530503"/>
                  <a:pt x="1029036" y="1531375"/>
                  <a:pt x="1028771" y="1532273"/>
                </a:cubicBezTo>
                <a:cubicBezTo>
                  <a:pt x="1025795" y="1536076"/>
                  <a:pt x="1022970" y="1536733"/>
                  <a:pt x="1018013" y="1537640"/>
                </a:cubicBezTo>
                <a:cubicBezTo>
                  <a:pt x="1005216" y="1539038"/>
                  <a:pt x="992573" y="1539816"/>
                  <a:pt x="981126" y="1533859"/>
                </a:cubicBezTo>
                <a:cubicBezTo>
                  <a:pt x="979840" y="1533226"/>
                  <a:pt x="978553" y="1532594"/>
                  <a:pt x="977227" y="1531943"/>
                </a:cubicBezTo>
                <a:cubicBezTo>
                  <a:pt x="965286" y="1525877"/>
                  <a:pt x="959626" y="1520520"/>
                  <a:pt x="955376" y="1508751"/>
                </a:cubicBezTo>
                <a:cubicBezTo>
                  <a:pt x="954571" y="1505674"/>
                  <a:pt x="954571" y="1505674"/>
                  <a:pt x="954571" y="1500037"/>
                </a:cubicBezTo>
                <a:cubicBezTo>
                  <a:pt x="953539" y="1500037"/>
                  <a:pt x="952508" y="1500037"/>
                  <a:pt x="951446" y="1500037"/>
                </a:cubicBezTo>
                <a:cubicBezTo>
                  <a:pt x="951361" y="1495986"/>
                  <a:pt x="951299" y="1491935"/>
                  <a:pt x="951251" y="1487883"/>
                </a:cubicBezTo>
                <a:cubicBezTo>
                  <a:pt x="951224" y="1486744"/>
                  <a:pt x="951198" y="1485605"/>
                  <a:pt x="951171" y="1484431"/>
                </a:cubicBezTo>
                <a:cubicBezTo>
                  <a:pt x="951110" y="1477657"/>
                  <a:pt x="952093" y="1472660"/>
                  <a:pt x="954571" y="1466216"/>
                </a:cubicBezTo>
                <a:cubicBezTo>
                  <a:pt x="954867" y="1462451"/>
                  <a:pt x="955016" y="1458876"/>
                  <a:pt x="954961" y="1455118"/>
                </a:cubicBezTo>
                <a:cubicBezTo>
                  <a:pt x="954951" y="1454080"/>
                  <a:pt x="954942" y="1453042"/>
                  <a:pt x="954932" y="1451972"/>
                </a:cubicBezTo>
                <a:cubicBezTo>
                  <a:pt x="954606" y="1435235"/>
                  <a:pt x="952568" y="1419050"/>
                  <a:pt x="945099" y="1403594"/>
                </a:cubicBezTo>
                <a:cubicBezTo>
                  <a:pt x="943714" y="1400177"/>
                  <a:pt x="943046" y="1397128"/>
                  <a:pt x="942366" y="1393553"/>
                </a:cubicBezTo>
                <a:cubicBezTo>
                  <a:pt x="940837" y="1386134"/>
                  <a:pt x="937840" y="1379609"/>
                  <a:pt x="934451" y="1372734"/>
                </a:cubicBezTo>
                <a:cubicBezTo>
                  <a:pt x="932701" y="1368980"/>
                  <a:pt x="932701" y="1368980"/>
                  <a:pt x="931974" y="1365754"/>
                </a:cubicBezTo>
                <a:cubicBezTo>
                  <a:pt x="931699" y="1364958"/>
                  <a:pt x="931422" y="1364162"/>
                  <a:pt x="931138" y="1363343"/>
                </a:cubicBezTo>
                <a:cubicBezTo>
                  <a:pt x="929592" y="1362878"/>
                  <a:pt x="928045" y="1362413"/>
                  <a:pt x="926452" y="1361933"/>
                </a:cubicBezTo>
                <a:cubicBezTo>
                  <a:pt x="921830" y="1355261"/>
                  <a:pt x="920323" y="1348382"/>
                  <a:pt x="918641" y="1340795"/>
                </a:cubicBezTo>
                <a:cubicBezTo>
                  <a:pt x="918133" y="1338914"/>
                  <a:pt x="917616" y="1337034"/>
                  <a:pt x="917079" y="1335158"/>
                </a:cubicBezTo>
                <a:cubicBezTo>
                  <a:pt x="916048" y="1335158"/>
                  <a:pt x="915018" y="1335158"/>
                  <a:pt x="913955" y="1335158"/>
                </a:cubicBezTo>
                <a:cubicBezTo>
                  <a:pt x="913329" y="1333718"/>
                  <a:pt x="912703" y="1332277"/>
                  <a:pt x="912057" y="1330793"/>
                </a:cubicBezTo>
                <a:cubicBezTo>
                  <a:pt x="909497" y="1325424"/>
                  <a:pt x="906114" y="1320822"/>
                  <a:pt x="902142" y="1316222"/>
                </a:cubicBezTo>
                <a:cubicBezTo>
                  <a:pt x="901465" y="1315432"/>
                  <a:pt x="900788" y="1314642"/>
                  <a:pt x="900091" y="1313828"/>
                </a:cubicBezTo>
                <a:cubicBezTo>
                  <a:pt x="893705" y="1306618"/>
                  <a:pt x="886350" y="1301049"/>
                  <a:pt x="878026" y="1295700"/>
                </a:cubicBezTo>
                <a:cubicBezTo>
                  <a:pt x="876595" y="1294594"/>
                  <a:pt x="876595" y="1294594"/>
                  <a:pt x="875134" y="1293465"/>
                </a:cubicBezTo>
                <a:lnTo>
                  <a:pt x="869869" y="1291826"/>
                </a:lnTo>
                <a:lnTo>
                  <a:pt x="862384" y="1291327"/>
                </a:lnTo>
                <a:cubicBezTo>
                  <a:pt x="856441" y="1290067"/>
                  <a:pt x="850461" y="1290346"/>
                  <a:pt x="844390" y="1290461"/>
                </a:cubicBezTo>
                <a:cubicBezTo>
                  <a:pt x="842453" y="1290480"/>
                  <a:pt x="842453" y="1290480"/>
                  <a:pt x="840476" y="1290500"/>
                </a:cubicBezTo>
                <a:cubicBezTo>
                  <a:pt x="837322" y="1290532"/>
                  <a:pt x="834169" y="1290583"/>
                  <a:pt x="831015" y="1290637"/>
                </a:cubicBezTo>
                <a:cubicBezTo>
                  <a:pt x="831015" y="1291568"/>
                  <a:pt x="831015" y="1292498"/>
                  <a:pt x="831015" y="1293456"/>
                </a:cubicBezTo>
                <a:cubicBezTo>
                  <a:pt x="826519" y="1294808"/>
                  <a:pt x="822922" y="1295235"/>
                  <a:pt x="818225" y="1295570"/>
                </a:cubicBezTo>
                <a:lnTo>
                  <a:pt x="796774" y="1297671"/>
                </a:lnTo>
                <a:lnTo>
                  <a:pt x="783646" y="1305736"/>
                </a:lnTo>
                <a:cubicBezTo>
                  <a:pt x="776915" y="1312506"/>
                  <a:pt x="772692" y="1318638"/>
                  <a:pt x="769263" y="1327143"/>
                </a:cubicBezTo>
                <a:cubicBezTo>
                  <a:pt x="767116" y="1332340"/>
                  <a:pt x="767116" y="1332340"/>
                  <a:pt x="764797" y="1334360"/>
                </a:cubicBezTo>
                <a:lnTo>
                  <a:pt x="757875" y="1353503"/>
                </a:lnTo>
                <a:lnTo>
                  <a:pt x="755676" y="1367455"/>
                </a:lnTo>
                <a:lnTo>
                  <a:pt x="750558" y="1399690"/>
                </a:lnTo>
                <a:lnTo>
                  <a:pt x="753057" y="1411256"/>
                </a:lnTo>
                <a:cubicBezTo>
                  <a:pt x="753057" y="1413117"/>
                  <a:pt x="753057" y="1414976"/>
                  <a:pt x="753057" y="1416893"/>
                </a:cubicBezTo>
                <a:cubicBezTo>
                  <a:pt x="754087" y="1416893"/>
                  <a:pt x="755119" y="1416893"/>
                  <a:pt x="756181" y="1416893"/>
                </a:cubicBezTo>
                <a:cubicBezTo>
                  <a:pt x="759348" y="1422607"/>
                  <a:pt x="758101" y="1429902"/>
                  <a:pt x="758133" y="1436182"/>
                </a:cubicBezTo>
                <a:cubicBezTo>
                  <a:pt x="758182" y="1438458"/>
                  <a:pt x="758182" y="1438458"/>
                  <a:pt x="758231" y="1440781"/>
                </a:cubicBezTo>
                <a:cubicBezTo>
                  <a:pt x="758283" y="1450271"/>
                  <a:pt x="758174" y="1458360"/>
                  <a:pt x="750713" y="1465704"/>
                </a:cubicBezTo>
                <a:cubicBezTo>
                  <a:pt x="749940" y="1466193"/>
                  <a:pt x="749167" y="1466681"/>
                  <a:pt x="748370" y="1467185"/>
                </a:cubicBezTo>
                <a:cubicBezTo>
                  <a:pt x="743665" y="1470047"/>
                  <a:pt x="743665" y="1470047"/>
                  <a:pt x="741633" y="1473526"/>
                </a:cubicBezTo>
                <a:cubicBezTo>
                  <a:pt x="737793" y="1477248"/>
                  <a:pt x="733582" y="1477483"/>
                  <a:pt x="728154" y="1478343"/>
                </a:cubicBezTo>
                <a:cubicBezTo>
                  <a:pt x="724855" y="1478778"/>
                  <a:pt x="724855" y="1478778"/>
                  <a:pt x="721814" y="1480308"/>
                </a:cubicBezTo>
                <a:cubicBezTo>
                  <a:pt x="717303" y="1480523"/>
                  <a:pt x="712854" y="1480634"/>
                  <a:pt x="708341" y="1480661"/>
                </a:cubicBezTo>
                <a:cubicBezTo>
                  <a:pt x="707118" y="1480690"/>
                  <a:pt x="705896" y="1480719"/>
                  <a:pt x="704637" y="1480748"/>
                </a:cubicBezTo>
                <a:cubicBezTo>
                  <a:pt x="690446" y="1480834"/>
                  <a:pt x="679632" y="1476246"/>
                  <a:pt x="668507" y="1468418"/>
                </a:cubicBezTo>
                <a:cubicBezTo>
                  <a:pt x="662823" y="1463224"/>
                  <a:pt x="661745" y="1456995"/>
                  <a:pt x="660178" y="1450027"/>
                </a:cubicBezTo>
                <a:cubicBezTo>
                  <a:pt x="659725" y="1446589"/>
                  <a:pt x="659725" y="1446589"/>
                  <a:pt x="657767" y="1445078"/>
                </a:cubicBezTo>
                <a:cubicBezTo>
                  <a:pt x="656859" y="1433686"/>
                  <a:pt x="655965" y="1419178"/>
                  <a:pt x="663369" y="1409390"/>
                </a:cubicBezTo>
                <a:cubicBezTo>
                  <a:pt x="666078" y="1406601"/>
                  <a:pt x="668921" y="1404013"/>
                  <a:pt x="671826" y="1401392"/>
                </a:cubicBezTo>
                <a:cubicBezTo>
                  <a:pt x="675197" y="1397623"/>
                  <a:pt x="677125" y="1394916"/>
                  <a:pt x="678075" y="1390118"/>
                </a:cubicBezTo>
                <a:cubicBezTo>
                  <a:pt x="680137" y="1389653"/>
                  <a:pt x="682199" y="1389188"/>
                  <a:pt x="684323" y="1388709"/>
                </a:cubicBezTo>
                <a:cubicBezTo>
                  <a:pt x="684643" y="1387232"/>
                  <a:pt x="684964" y="1385755"/>
                  <a:pt x="685293" y="1384233"/>
                </a:cubicBezTo>
                <a:cubicBezTo>
                  <a:pt x="685718" y="1382290"/>
                  <a:pt x="686144" y="1380347"/>
                  <a:pt x="686569" y="1378404"/>
                </a:cubicBezTo>
                <a:cubicBezTo>
                  <a:pt x="686885" y="1376945"/>
                  <a:pt x="686885" y="1376945"/>
                  <a:pt x="687207" y="1375456"/>
                </a:cubicBezTo>
                <a:cubicBezTo>
                  <a:pt x="688115" y="1371315"/>
                  <a:pt x="689090" y="1367353"/>
                  <a:pt x="690572" y="1363343"/>
                </a:cubicBezTo>
                <a:cubicBezTo>
                  <a:pt x="692411" y="1350128"/>
                  <a:pt x="692374" y="1336672"/>
                  <a:pt x="692495" y="1323376"/>
                </a:cubicBezTo>
                <a:cubicBezTo>
                  <a:pt x="692524" y="1320586"/>
                  <a:pt x="692574" y="1317796"/>
                  <a:pt x="692625" y="1315006"/>
                </a:cubicBezTo>
                <a:cubicBezTo>
                  <a:pt x="692853" y="1300589"/>
                  <a:pt x="692853" y="1300589"/>
                  <a:pt x="687447" y="1287245"/>
                </a:cubicBezTo>
                <a:cubicBezTo>
                  <a:pt x="685901" y="1286780"/>
                  <a:pt x="684354" y="1286315"/>
                  <a:pt x="682761" y="1285835"/>
                </a:cubicBezTo>
                <a:cubicBezTo>
                  <a:pt x="680876" y="1283743"/>
                  <a:pt x="680876" y="1283743"/>
                  <a:pt x="678954" y="1281608"/>
                </a:cubicBezTo>
                <a:cubicBezTo>
                  <a:pt x="674854" y="1277278"/>
                  <a:pt x="674356" y="1276958"/>
                  <a:pt x="668702" y="1275971"/>
                </a:cubicBezTo>
                <a:cubicBezTo>
                  <a:pt x="666619" y="1274092"/>
                  <a:pt x="664536" y="1272213"/>
                  <a:pt x="662454" y="1270334"/>
                </a:cubicBezTo>
                <a:cubicBezTo>
                  <a:pt x="658341" y="1268566"/>
                  <a:pt x="658341" y="1268566"/>
                  <a:pt x="654643" y="1267516"/>
                </a:cubicBezTo>
                <a:cubicBezTo>
                  <a:pt x="654643" y="1266585"/>
                  <a:pt x="654643" y="1265656"/>
                  <a:pt x="654643" y="1264697"/>
                </a:cubicBezTo>
                <a:cubicBezTo>
                  <a:pt x="653161" y="1264581"/>
                  <a:pt x="651679" y="1264465"/>
                  <a:pt x="650152" y="1264345"/>
                </a:cubicBezTo>
                <a:cubicBezTo>
                  <a:pt x="642318" y="1263373"/>
                  <a:pt x="635297" y="1260465"/>
                  <a:pt x="628087" y="1257651"/>
                </a:cubicBezTo>
                <a:cubicBezTo>
                  <a:pt x="628087" y="1256721"/>
                  <a:pt x="628087" y="1255791"/>
                  <a:pt x="628087" y="1254833"/>
                </a:cubicBezTo>
                <a:cubicBezTo>
                  <a:pt x="627108" y="1254662"/>
                  <a:pt x="626129" y="1254491"/>
                  <a:pt x="625121" y="1254315"/>
                </a:cubicBezTo>
                <a:cubicBezTo>
                  <a:pt x="623845" y="1254079"/>
                  <a:pt x="622568" y="1253843"/>
                  <a:pt x="621252" y="1253600"/>
                </a:cubicBezTo>
                <a:cubicBezTo>
                  <a:pt x="619984" y="1253371"/>
                  <a:pt x="618716" y="1253142"/>
                  <a:pt x="617409" y="1252906"/>
                </a:cubicBezTo>
                <a:cubicBezTo>
                  <a:pt x="614027" y="1252014"/>
                  <a:pt x="614027" y="1252014"/>
                  <a:pt x="610904" y="1249196"/>
                </a:cubicBezTo>
                <a:cubicBezTo>
                  <a:pt x="592259" y="1248653"/>
                  <a:pt x="578635" y="1260869"/>
                  <a:pt x="565739" y="1271742"/>
                </a:cubicBezTo>
                <a:cubicBezTo>
                  <a:pt x="558808" y="1277725"/>
                  <a:pt x="552763" y="1283983"/>
                  <a:pt x="546924" y="1290829"/>
                </a:cubicBezTo>
                <a:cubicBezTo>
                  <a:pt x="545838" y="1292087"/>
                  <a:pt x="544753" y="1293346"/>
                  <a:pt x="543635" y="1294643"/>
                </a:cubicBezTo>
                <a:cubicBezTo>
                  <a:pt x="542650" y="1295813"/>
                  <a:pt x="541666" y="1296983"/>
                  <a:pt x="540651" y="1298188"/>
                </a:cubicBezTo>
                <a:cubicBezTo>
                  <a:pt x="537294" y="1301526"/>
                  <a:pt x="533978" y="1303337"/>
                  <a:pt x="529673" y="1305565"/>
                </a:cubicBezTo>
                <a:cubicBezTo>
                  <a:pt x="527599" y="1308478"/>
                  <a:pt x="527599" y="1308478"/>
                  <a:pt x="526549" y="1311202"/>
                </a:cubicBezTo>
                <a:cubicBezTo>
                  <a:pt x="525518" y="1311202"/>
                  <a:pt x="524487" y="1311202"/>
                  <a:pt x="523425" y="1311202"/>
                </a:cubicBezTo>
                <a:cubicBezTo>
                  <a:pt x="523360" y="1311986"/>
                  <a:pt x="523296" y="1312771"/>
                  <a:pt x="523230" y="1313580"/>
                </a:cubicBezTo>
                <a:cubicBezTo>
                  <a:pt x="521863" y="1316839"/>
                  <a:pt x="521863" y="1316839"/>
                  <a:pt x="517732" y="1319739"/>
                </a:cubicBezTo>
                <a:cubicBezTo>
                  <a:pt x="511111" y="1324565"/>
                  <a:pt x="506875" y="1330731"/>
                  <a:pt x="502239" y="1337096"/>
                </a:cubicBezTo>
                <a:cubicBezTo>
                  <a:pt x="500512" y="1339427"/>
                  <a:pt x="498785" y="1341757"/>
                  <a:pt x="497058" y="1344087"/>
                </a:cubicBezTo>
                <a:cubicBezTo>
                  <a:pt x="495827" y="1345760"/>
                  <a:pt x="495827" y="1345760"/>
                  <a:pt x="494572" y="1347465"/>
                </a:cubicBezTo>
                <a:cubicBezTo>
                  <a:pt x="492366" y="1350414"/>
                  <a:pt x="490094" y="1353304"/>
                  <a:pt x="487776" y="1356181"/>
                </a:cubicBezTo>
                <a:cubicBezTo>
                  <a:pt x="484805" y="1359972"/>
                  <a:pt x="482865" y="1363193"/>
                  <a:pt x="481248" y="1367571"/>
                </a:cubicBezTo>
                <a:cubicBezTo>
                  <a:pt x="480216" y="1367571"/>
                  <a:pt x="479186" y="1367571"/>
                  <a:pt x="478123" y="1367571"/>
                </a:cubicBezTo>
                <a:cubicBezTo>
                  <a:pt x="477963" y="1368558"/>
                  <a:pt x="477801" y="1369547"/>
                  <a:pt x="477635" y="1370565"/>
                </a:cubicBezTo>
                <a:cubicBezTo>
                  <a:pt x="475602" y="1378236"/>
                  <a:pt x="471952" y="1383371"/>
                  <a:pt x="465626" y="1388709"/>
                </a:cubicBezTo>
                <a:cubicBezTo>
                  <a:pt x="462272" y="1392748"/>
                  <a:pt x="462272" y="1392748"/>
                  <a:pt x="461233" y="1397340"/>
                </a:cubicBezTo>
                <a:cubicBezTo>
                  <a:pt x="460030" y="1401461"/>
                  <a:pt x="458298" y="1404501"/>
                  <a:pt x="455765" y="1408086"/>
                </a:cubicBezTo>
                <a:cubicBezTo>
                  <a:pt x="442829" y="1428603"/>
                  <a:pt x="441572" y="1454548"/>
                  <a:pt x="439070" y="1477490"/>
                </a:cubicBezTo>
                <a:cubicBezTo>
                  <a:pt x="437524" y="1477955"/>
                  <a:pt x="435977" y="1478420"/>
                  <a:pt x="434384" y="1478899"/>
                </a:cubicBezTo>
                <a:cubicBezTo>
                  <a:pt x="433739" y="1479916"/>
                  <a:pt x="433095" y="1480933"/>
                  <a:pt x="432431" y="1481982"/>
                </a:cubicBezTo>
                <a:cubicBezTo>
                  <a:pt x="428860" y="1487159"/>
                  <a:pt x="424291" y="1490903"/>
                  <a:pt x="418763" y="1494401"/>
                </a:cubicBezTo>
                <a:cubicBezTo>
                  <a:pt x="417731" y="1494401"/>
                  <a:pt x="416701" y="1494401"/>
                  <a:pt x="415639" y="1494401"/>
                </a:cubicBezTo>
                <a:cubicBezTo>
                  <a:pt x="415639" y="1495330"/>
                  <a:pt x="415639" y="1496260"/>
                  <a:pt x="415639" y="1497219"/>
                </a:cubicBezTo>
                <a:cubicBezTo>
                  <a:pt x="412546" y="1497684"/>
                  <a:pt x="409453" y="1498149"/>
                  <a:pt x="406265" y="1498628"/>
                </a:cubicBezTo>
                <a:cubicBezTo>
                  <a:pt x="406265" y="1499559"/>
                  <a:pt x="406265" y="1500488"/>
                  <a:pt x="406265" y="1501447"/>
                </a:cubicBezTo>
                <a:cubicBezTo>
                  <a:pt x="395955" y="1501447"/>
                  <a:pt x="385645" y="1501447"/>
                  <a:pt x="375023" y="1501447"/>
                </a:cubicBezTo>
                <a:lnTo>
                  <a:pt x="375023" y="1499438"/>
                </a:lnTo>
                <a:lnTo>
                  <a:pt x="374964" y="1499436"/>
                </a:lnTo>
                <a:lnTo>
                  <a:pt x="373179" y="1498628"/>
                </a:lnTo>
                <a:lnTo>
                  <a:pt x="365650" y="1498628"/>
                </a:lnTo>
                <a:lnTo>
                  <a:pt x="363134" y="1494087"/>
                </a:lnTo>
                <a:lnTo>
                  <a:pt x="362171" y="1493651"/>
                </a:lnTo>
                <a:cubicBezTo>
                  <a:pt x="361656" y="1492722"/>
                  <a:pt x="361140" y="1491791"/>
                  <a:pt x="360609" y="1490833"/>
                </a:cubicBezTo>
                <a:cubicBezTo>
                  <a:pt x="361640" y="1490833"/>
                  <a:pt x="362671" y="1490833"/>
                  <a:pt x="363733" y="1490833"/>
                </a:cubicBezTo>
                <a:lnTo>
                  <a:pt x="363733" y="1489980"/>
                </a:lnTo>
                <a:lnTo>
                  <a:pt x="348467" y="1481717"/>
                </a:lnTo>
                <a:lnTo>
                  <a:pt x="343872" y="1461078"/>
                </a:lnTo>
                <a:lnTo>
                  <a:pt x="343656" y="1463649"/>
                </a:lnTo>
                <a:cubicBezTo>
                  <a:pt x="343541" y="1465230"/>
                  <a:pt x="343541" y="1465230"/>
                  <a:pt x="343424" y="1466842"/>
                </a:cubicBezTo>
                <a:cubicBezTo>
                  <a:pt x="342908" y="1466842"/>
                  <a:pt x="342393" y="1466842"/>
                  <a:pt x="341861" y="1466842"/>
                </a:cubicBezTo>
                <a:cubicBezTo>
                  <a:pt x="340987" y="1449564"/>
                  <a:pt x="340999" y="1434331"/>
                  <a:pt x="354143" y="1420549"/>
                </a:cubicBezTo>
                <a:cubicBezTo>
                  <a:pt x="360765" y="1414011"/>
                  <a:pt x="367631" y="1407790"/>
                  <a:pt x="376229" y="1403427"/>
                </a:cubicBezTo>
                <a:lnTo>
                  <a:pt x="379491" y="1404408"/>
                </a:lnTo>
                <a:lnTo>
                  <a:pt x="379710" y="1404210"/>
                </a:lnTo>
                <a:cubicBezTo>
                  <a:pt x="380290" y="1402902"/>
                  <a:pt x="380290" y="1402902"/>
                  <a:pt x="380882" y="1401568"/>
                </a:cubicBezTo>
                <a:cubicBezTo>
                  <a:pt x="383675" y="1397284"/>
                  <a:pt x="387587" y="1395610"/>
                  <a:pt x="392207" y="1392936"/>
                </a:cubicBezTo>
                <a:lnTo>
                  <a:pt x="399542" y="1386774"/>
                </a:lnTo>
                <a:lnTo>
                  <a:pt x="405485" y="1378917"/>
                </a:lnTo>
                <a:cubicBezTo>
                  <a:pt x="408065" y="1375974"/>
                  <a:pt x="410029" y="1372774"/>
                  <a:pt x="412008" y="1369481"/>
                </a:cubicBezTo>
                <a:cubicBezTo>
                  <a:pt x="414759" y="1365166"/>
                  <a:pt x="417963" y="1361131"/>
                  <a:pt x="421130" y="1357057"/>
                </a:cubicBezTo>
                <a:cubicBezTo>
                  <a:pt x="423073" y="1354140"/>
                  <a:pt x="423985" y="1351767"/>
                  <a:pt x="424676" y="1348443"/>
                </a:cubicBezTo>
                <a:lnTo>
                  <a:pt x="427275" y="1348443"/>
                </a:lnTo>
                <a:lnTo>
                  <a:pt x="428135" y="1345727"/>
                </a:lnTo>
                <a:cubicBezTo>
                  <a:pt x="429370" y="1341828"/>
                  <a:pt x="430645" y="1338666"/>
                  <a:pt x="432822" y="1335158"/>
                </a:cubicBezTo>
                <a:cubicBezTo>
                  <a:pt x="433853" y="1335158"/>
                  <a:pt x="434884" y="1335158"/>
                  <a:pt x="435946" y="1335158"/>
                </a:cubicBezTo>
                <a:cubicBezTo>
                  <a:pt x="436526" y="1333385"/>
                  <a:pt x="437106" y="1331613"/>
                  <a:pt x="437704" y="1329786"/>
                </a:cubicBezTo>
                <a:cubicBezTo>
                  <a:pt x="440162" y="1323132"/>
                  <a:pt x="443602" y="1317301"/>
                  <a:pt x="447394" y="1311196"/>
                </a:cubicBezTo>
                <a:cubicBezTo>
                  <a:pt x="456493" y="1296485"/>
                  <a:pt x="463325" y="1281864"/>
                  <a:pt x="469287" y="1265964"/>
                </a:cubicBezTo>
                <a:cubicBezTo>
                  <a:pt x="474589" y="1252134"/>
                  <a:pt x="474589" y="1252134"/>
                  <a:pt x="478178" y="1246787"/>
                </a:cubicBezTo>
                <a:cubicBezTo>
                  <a:pt x="481232" y="1240246"/>
                  <a:pt x="480204" y="1232766"/>
                  <a:pt x="480179" y="1225768"/>
                </a:cubicBezTo>
                <a:cubicBezTo>
                  <a:pt x="480174" y="1222894"/>
                  <a:pt x="480210" y="1220023"/>
                  <a:pt x="480250" y="1217149"/>
                </a:cubicBezTo>
                <a:cubicBezTo>
                  <a:pt x="480260" y="1199291"/>
                  <a:pt x="476718" y="1187768"/>
                  <a:pt x="462972" y="1174827"/>
                </a:cubicBezTo>
                <a:cubicBezTo>
                  <a:pt x="461148" y="1173192"/>
                  <a:pt x="459312" y="1171566"/>
                  <a:pt x="457468" y="1169949"/>
                </a:cubicBezTo>
                <a:cubicBezTo>
                  <a:pt x="451412" y="1164522"/>
                  <a:pt x="445876" y="1158660"/>
                  <a:pt x="440657" y="1152570"/>
                </a:cubicBezTo>
                <a:cubicBezTo>
                  <a:pt x="430474" y="1140786"/>
                  <a:pt x="418230" y="1128998"/>
                  <a:pt x="403142" y="1122366"/>
                </a:cubicBezTo>
                <a:cubicBezTo>
                  <a:pt x="402626" y="1121436"/>
                  <a:pt x="402110" y="1120506"/>
                  <a:pt x="401579" y="1119547"/>
                </a:cubicBezTo>
                <a:cubicBezTo>
                  <a:pt x="390472" y="1115326"/>
                  <a:pt x="375918" y="1114217"/>
                  <a:pt x="364564" y="1118209"/>
                </a:cubicBezTo>
                <a:cubicBezTo>
                  <a:pt x="362278" y="1119428"/>
                  <a:pt x="360026" y="1120704"/>
                  <a:pt x="357822" y="1122041"/>
                </a:cubicBezTo>
                <a:cubicBezTo>
                  <a:pt x="354521" y="1123884"/>
                  <a:pt x="351862" y="1124582"/>
                  <a:pt x="348077" y="1125273"/>
                </a:cubicBezTo>
                <a:cubicBezTo>
                  <a:pt x="341765" y="1126696"/>
                  <a:pt x="339382" y="1128619"/>
                  <a:pt x="334408" y="1132230"/>
                </a:cubicBezTo>
                <a:cubicBezTo>
                  <a:pt x="332284" y="1132909"/>
                  <a:pt x="330131" y="1133519"/>
                  <a:pt x="327964" y="1134080"/>
                </a:cubicBezTo>
                <a:cubicBezTo>
                  <a:pt x="309975" y="1139067"/>
                  <a:pt x="290592" y="1152117"/>
                  <a:pt x="279734" y="1166051"/>
                </a:cubicBezTo>
                <a:cubicBezTo>
                  <a:pt x="277929" y="1169534"/>
                  <a:pt x="277929" y="1169534"/>
                  <a:pt x="276609" y="1173098"/>
                </a:cubicBezTo>
                <a:cubicBezTo>
                  <a:pt x="272413" y="1180804"/>
                  <a:pt x="269322" y="1184144"/>
                  <a:pt x="260988" y="1188599"/>
                </a:cubicBezTo>
                <a:cubicBezTo>
                  <a:pt x="259988" y="1189435"/>
                  <a:pt x="258987" y="1190271"/>
                  <a:pt x="257956" y="1191132"/>
                </a:cubicBezTo>
                <a:lnTo>
                  <a:pt x="243805" y="1196629"/>
                </a:lnTo>
                <a:lnTo>
                  <a:pt x="243805" y="1194236"/>
                </a:lnTo>
                <a:lnTo>
                  <a:pt x="240288" y="1194765"/>
                </a:lnTo>
                <a:lnTo>
                  <a:pt x="243374" y="1194765"/>
                </a:lnTo>
                <a:lnTo>
                  <a:pt x="243374" y="1196797"/>
                </a:lnTo>
                <a:lnTo>
                  <a:pt x="243805" y="1196629"/>
                </a:lnTo>
                <a:lnTo>
                  <a:pt x="243805" y="1197055"/>
                </a:lnTo>
                <a:lnTo>
                  <a:pt x="243374" y="1197055"/>
                </a:lnTo>
                <a:lnTo>
                  <a:pt x="243374" y="1197584"/>
                </a:lnTo>
                <a:lnTo>
                  <a:pt x="241319" y="1197595"/>
                </a:lnTo>
                <a:lnTo>
                  <a:pt x="238009" y="1198881"/>
                </a:lnTo>
                <a:cubicBezTo>
                  <a:pt x="231012" y="1199584"/>
                  <a:pt x="223620" y="1198927"/>
                  <a:pt x="215687" y="1198464"/>
                </a:cubicBezTo>
                <a:lnTo>
                  <a:pt x="215687" y="1197734"/>
                </a:lnTo>
                <a:lnTo>
                  <a:pt x="213936" y="1197744"/>
                </a:lnTo>
                <a:cubicBezTo>
                  <a:pt x="210570" y="1197584"/>
                  <a:pt x="210570" y="1197584"/>
                  <a:pt x="207446" y="1196175"/>
                </a:cubicBezTo>
                <a:lnTo>
                  <a:pt x="207822" y="1195610"/>
                </a:lnTo>
                <a:lnTo>
                  <a:pt x="184737" y="1180936"/>
                </a:lnTo>
                <a:cubicBezTo>
                  <a:pt x="180258" y="1172216"/>
                  <a:pt x="179226" y="1164355"/>
                  <a:pt x="179270" y="1154866"/>
                </a:cubicBezTo>
                <a:cubicBezTo>
                  <a:pt x="179233" y="1153260"/>
                  <a:pt x="179233" y="1153260"/>
                  <a:pt x="179194" y="1151621"/>
                </a:cubicBezTo>
                <a:cubicBezTo>
                  <a:pt x="179182" y="1139523"/>
                  <a:pt x="183658" y="1128837"/>
                  <a:pt x="193195" y="1120065"/>
                </a:cubicBezTo>
                <a:cubicBezTo>
                  <a:pt x="204265" y="1110959"/>
                  <a:pt x="215062" y="1110626"/>
                  <a:pt x="229551" y="1110299"/>
                </a:cubicBezTo>
                <a:cubicBezTo>
                  <a:pt x="240132" y="1110024"/>
                  <a:pt x="250506" y="1109652"/>
                  <a:pt x="260988" y="1108274"/>
                </a:cubicBezTo>
                <a:cubicBezTo>
                  <a:pt x="260988" y="1107344"/>
                  <a:pt x="260988" y="1106413"/>
                  <a:pt x="260988" y="1105455"/>
                </a:cubicBezTo>
                <a:cubicBezTo>
                  <a:pt x="261953" y="1105078"/>
                  <a:pt x="262918" y="1104699"/>
                  <a:pt x="263911" y="1104310"/>
                </a:cubicBezTo>
                <a:cubicBezTo>
                  <a:pt x="272903" y="1100557"/>
                  <a:pt x="279802" y="1096307"/>
                  <a:pt x="286995" y="1090185"/>
                </a:cubicBezTo>
                <a:cubicBezTo>
                  <a:pt x="290956" y="1086897"/>
                  <a:pt x="295114" y="1083955"/>
                  <a:pt x="299358" y="1080970"/>
                </a:cubicBezTo>
                <a:cubicBezTo>
                  <a:pt x="306613" y="1075692"/>
                  <a:pt x="312234" y="1070023"/>
                  <a:pt x="317762" y="1063272"/>
                </a:cubicBezTo>
                <a:cubicBezTo>
                  <a:pt x="320349" y="1060360"/>
                  <a:pt x="320349" y="1060360"/>
                  <a:pt x="325035" y="1057542"/>
                </a:cubicBezTo>
                <a:cubicBezTo>
                  <a:pt x="329912" y="1045734"/>
                  <a:pt x="327928" y="1035103"/>
                  <a:pt x="325328" y="1023104"/>
                </a:cubicBezTo>
                <a:cubicBezTo>
                  <a:pt x="325069" y="1021831"/>
                  <a:pt x="324811" y="1020559"/>
                  <a:pt x="324544" y="1019247"/>
                </a:cubicBezTo>
                <a:cubicBezTo>
                  <a:pt x="322876" y="1011407"/>
                  <a:pt x="320562" y="1004340"/>
                  <a:pt x="317225" y="996945"/>
                </a:cubicBezTo>
                <a:cubicBezTo>
                  <a:pt x="316619" y="995541"/>
                  <a:pt x="316013" y="994137"/>
                  <a:pt x="315388" y="992690"/>
                </a:cubicBezTo>
                <a:cubicBezTo>
                  <a:pt x="306307" y="972561"/>
                  <a:pt x="298931" y="959343"/>
                  <a:pt x="276232" y="950666"/>
                </a:cubicBezTo>
                <a:cubicBezTo>
                  <a:pt x="274810" y="950127"/>
                  <a:pt x="273388" y="949587"/>
                  <a:pt x="271923" y="949031"/>
                </a:cubicBezTo>
                <a:cubicBezTo>
                  <a:pt x="270129" y="948244"/>
                  <a:pt x="270129" y="948244"/>
                  <a:pt x="268299" y="947441"/>
                </a:cubicBezTo>
                <a:cubicBezTo>
                  <a:pt x="247071" y="938140"/>
                  <a:pt x="222259" y="939051"/>
                  <a:pt x="199187" y="938991"/>
                </a:cubicBezTo>
                <a:cubicBezTo>
                  <a:pt x="197383" y="938984"/>
                  <a:pt x="195579" y="938978"/>
                  <a:pt x="193719" y="938971"/>
                </a:cubicBezTo>
                <a:cubicBezTo>
                  <a:pt x="192010" y="938974"/>
                  <a:pt x="190300" y="938977"/>
                  <a:pt x="188539" y="938980"/>
                </a:cubicBezTo>
                <a:cubicBezTo>
                  <a:pt x="187000" y="938981"/>
                  <a:pt x="185460" y="938983"/>
                  <a:pt x="183874" y="938985"/>
                </a:cubicBezTo>
                <a:cubicBezTo>
                  <a:pt x="180148" y="939150"/>
                  <a:pt x="177092" y="939720"/>
                  <a:pt x="173509" y="940576"/>
                </a:cubicBezTo>
                <a:cubicBezTo>
                  <a:pt x="169458" y="940674"/>
                  <a:pt x="165452" y="940710"/>
                  <a:pt x="161403" y="940664"/>
                </a:cubicBezTo>
                <a:cubicBezTo>
                  <a:pt x="160314" y="940658"/>
                  <a:pt x="159224" y="940651"/>
                  <a:pt x="158102" y="940645"/>
                </a:cubicBezTo>
                <a:lnTo>
                  <a:pt x="150875" y="940583"/>
                </a:lnTo>
                <a:lnTo>
                  <a:pt x="148425" y="940717"/>
                </a:lnTo>
                <a:lnTo>
                  <a:pt x="149617" y="940995"/>
                </a:lnTo>
                <a:cubicBezTo>
                  <a:pt x="149617" y="941459"/>
                  <a:pt x="149617" y="941924"/>
                  <a:pt x="149617" y="942404"/>
                </a:cubicBezTo>
                <a:cubicBezTo>
                  <a:pt x="148630" y="942558"/>
                  <a:pt x="147643" y="942712"/>
                  <a:pt x="146627" y="942871"/>
                </a:cubicBezTo>
                <a:cubicBezTo>
                  <a:pt x="134541" y="944804"/>
                  <a:pt x="122553" y="947081"/>
                  <a:pt x="110564" y="949449"/>
                </a:cubicBezTo>
                <a:lnTo>
                  <a:pt x="111283" y="946205"/>
                </a:lnTo>
                <a:lnTo>
                  <a:pt x="101652" y="956078"/>
                </a:lnTo>
                <a:cubicBezTo>
                  <a:pt x="99870" y="957260"/>
                  <a:pt x="99870" y="957260"/>
                  <a:pt x="98052" y="958467"/>
                </a:cubicBezTo>
                <a:cubicBezTo>
                  <a:pt x="75683" y="972989"/>
                  <a:pt x="75683" y="972989"/>
                  <a:pt x="67286" y="972989"/>
                </a:cubicBezTo>
                <a:cubicBezTo>
                  <a:pt x="67286" y="973918"/>
                  <a:pt x="67286" y="974848"/>
                  <a:pt x="67286" y="975807"/>
                </a:cubicBezTo>
                <a:cubicBezTo>
                  <a:pt x="55713" y="979519"/>
                  <a:pt x="43549" y="980689"/>
                  <a:pt x="31942" y="976423"/>
                </a:cubicBezTo>
                <a:cubicBezTo>
                  <a:pt x="19953" y="970870"/>
                  <a:pt x="10774" y="964932"/>
                  <a:pt x="5673" y="953419"/>
                </a:cubicBezTo>
                <a:cubicBezTo>
                  <a:pt x="4801" y="950441"/>
                  <a:pt x="4801" y="950441"/>
                  <a:pt x="4801" y="944804"/>
                </a:cubicBezTo>
                <a:cubicBezTo>
                  <a:pt x="3770" y="944804"/>
                  <a:pt x="2739" y="944804"/>
                  <a:pt x="1676" y="944804"/>
                </a:cubicBezTo>
                <a:cubicBezTo>
                  <a:pt x="-34" y="940174"/>
                  <a:pt x="-41" y="936720"/>
                  <a:pt x="17" y="931857"/>
                </a:cubicBezTo>
                <a:cubicBezTo>
                  <a:pt x="31" y="930325"/>
                  <a:pt x="45" y="928794"/>
                  <a:pt x="59" y="927216"/>
                </a:cubicBezTo>
                <a:cubicBezTo>
                  <a:pt x="78" y="926044"/>
                  <a:pt x="96" y="924873"/>
                  <a:pt x="115" y="923666"/>
                </a:cubicBezTo>
                <a:cubicBezTo>
                  <a:pt x="1145" y="923666"/>
                  <a:pt x="2176" y="923666"/>
                  <a:pt x="3238" y="923666"/>
                </a:cubicBezTo>
                <a:cubicBezTo>
                  <a:pt x="3238" y="921805"/>
                  <a:pt x="3238" y="919945"/>
                  <a:pt x="3238" y="918029"/>
                </a:cubicBezTo>
                <a:cubicBezTo>
                  <a:pt x="4270" y="918029"/>
                  <a:pt x="5300" y="918029"/>
                  <a:pt x="6363" y="918029"/>
                </a:cubicBezTo>
                <a:cubicBezTo>
                  <a:pt x="6459" y="916314"/>
                  <a:pt x="6556" y="914599"/>
                  <a:pt x="6656" y="912832"/>
                </a:cubicBezTo>
                <a:cubicBezTo>
                  <a:pt x="7542" y="906455"/>
                  <a:pt x="10104" y="903750"/>
                  <a:pt x="15736" y="899709"/>
                </a:cubicBezTo>
                <a:lnTo>
                  <a:pt x="17243" y="898894"/>
                </a:lnTo>
                <a:lnTo>
                  <a:pt x="16800" y="898694"/>
                </a:lnTo>
                <a:lnTo>
                  <a:pt x="24988" y="894101"/>
                </a:lnTo>
                <a:lnTo>
                  <a:pt x="26768" y="892399"/>
                </a:lnTo>
                <a:cubicBezTo>
                  <a:pt x="28282" y="891122"/>
                  <a:pt x="29038" y="890483"/>
                  <a:pt x="30198" y="890164"/>
                </a:cubicBezTo>
                <a:lnTo>
                  <a:pt x="32204" y="890054"/>
                </a:lnTo>
                <a:lnTo>
                  <a:pt x="38914" y="886291"/>
                </a:lnTo>
                <a:cubicBezTo>
                  <a:pt x="47169" y="885770"/>
                  <a:pt x="55396" y="885800"/>
                  <a:pt x="63664" y="886011"/>
                </a:cubicBezTo>
                <a:lnTo>
                  <a:pt x="63664" y="886531"/>
                </a:lnTo>
                <a:lnTo>
                  <a:pt x="70784" y="886647"/>
                </a:lnTo>
                <a:cubicBezTo>
                  <a:pt x="74787" y="887000"/>
                  <a:pt x="77233" y="887948"/>
                  <a:pt x="82126" y="889845"/>
                </a:cubicBezTo>
                <a:cubicBezTo>
                  <a:pt x="92427" y="893791"/>
                  <a:pt x="103139" y="893710"/>
                  <a:pt x="114149" y="892663"/>
                </a:cubicBezTo>
                <a:cubicBezTo>
                  <a:pt x="115696" y="891733"/>
                  <a:pt x="117242" y="890803"/>
                  <a:pt x="118836" y="889845"/>
                </a:cubicBezTo>
                <a:cubicBezTo>
                  <a:pt x="123097" y="888850"/>
                  <a:pt x="127325" y="887944"/>
                  <a:pt x="131626" y="887114"/>
                </a:cubicBezTo>
                <a:cubicBezTo>
                  <a:pt x="139750" y="885542"/>
                  <a:pt x="147376" y="883653"/>
                  <a:pt x="155116" y="880913"/>
                </a:cubicBezTo>
                <a:cubicBezTo>
                  <a:pt x="158498" y="879775"/>
                  <a:pt x="161861" y="879076"/>
                  <a:pt x="165406" y="878483"/>
                </a:cubicBezTo>
                <a:cubicBezTo>
                  <a:pt x="170342" y="877655"/>
                  <a:pt x="172265" y="876971"/>
                  <a:pt x="176634" y="874343"/>
                </a:cubicBezTo>
                <a:cubicBezTo>
                  <a:pt x="179863" y="873335"/>
                  <a:pt x="183123" y="872404"/>
                  <a:pt x="186397" y="871524"/>
                </a:cubicBezTo>
                <a:cubicBezTo>
                  <a:pt x="189107" y="870786"/>
                  <a:pt x="189107" y="870786"/>
                  <a:pt x="191871" y="870033"/>
                </a:cubicBezTo>
                <a:cubicBezTo>
                  <a:pt x="195731" y="869023"/>
                  <a:pt x="199587" y="868093"/>
                  <a:pt x="203483" y="867208"/>
                </a:cubicBezTo>
                <a:cubicBezTo>
                  <a:pt x="208339" y="866199"/>
                  <a:pt x="208339" y="866199"/>
                  <a:pt x="211001" y="861660"/>
                </a:cubicBezTo>
                <a:cubicBezTo>
                  <a:pt x="214174" y="860102"/>
                  <a:pt x="214174" y="860102"/>
                  <a:pt x="218031" y="858577"/>
                </a:cubicBezTo>
                <a:cubicBezTo>
                  <a:pt x="236068" y="850629"/>
                  <a:pt x="245199" y="840442"/>
                  <a:pt x="254740" y="825020"/>
                </a:cubicBezTo>
                <a:cubicBezTo>
                  <a:pt x="255771" y="823625"/>
                  <a:pt x="256802" y="822230"/>
                  <a:pt x="257864" y="820792"/>
                </a:cubicBezTo>
                <a:cubicBezTo>
                  <a:pt x="258359" y="817506"/>
                  <a:pt x="258359" y="817506"/>
                  <a:pt x="258318" y="813810"/>
                </a:cubicBezTo>
                <a:cubicBezTo>
                  <a:pt x="258338" y="812388"/>
                  <a:pt x="258358" y="810967"/>
                  <a:pt x="258378" y="809502"/>
                </a:cubicBezTo>
                <a:cubicBezTo>
                  <a:pt x="258382" y="807965"/>
                  <a:pt x="258385" y="806429"/>
                  <a:pt x="258389" y="804845"/>
                </a:cubicBezTo>
                <a:cubicBezTo>
                  <a:pt x="258399" y="803258"/>
                  <a:pt x="258410" y="801671"/>
                  <a:pt x="258420" y="800036"/>
                </a:cubicBezTo>
                <a:cubicBezTo>
                  <a:pt x="258436" y="796670"/>
                  <a:pt x="258443" y="793305"/>
                  <a:pt x="258443" y="789939"/>
                </a:cubicBezTo>
                <a:cubicBezTo>
                  <a:pt x="258450" y="784823"/>
                  <a:pt x="258506" y="779709"/>
                  <a:pt x="258566" y="774594"/>
                </a:cubicBezTo>
                <a:cubicBezTo>
                  <a:pt x="258575" y="771319"/>
                  <a:pt x="258581" y="768045"/>
                  <a:pt x="258584" y="764771"/>
                </a:cubicBezTo>
                <a:cubicBezTo>
                  <a:pt x="258618" y="762495"/>
                  <a:pt x="258618" y="762495"/>
                  <a:pt x="258652" y="760174"/>
                </a:cubicBezTo>
                <a:cubicBezTo>
                  <a:pt x="258586" y="750030"/>
                  <a:pt x="256266" y="742584"/>
                  <a:pt x="251616" y="733421"/>
                </a:cubicBezTo>
                <a:cubicBezTo>
                  <a:pt x="250163" y="729605"/>
                  <a:pt x="248880" y="725752"/>
                  <a:pt x="247613" y="721883"/>
                </a:cubicBezTo>
                <a:cubicBezTo>
                  <a:pt x="245789" y="716328"/>
                  <a:pt x="243913" y="710939"/>
                  <a:pt x="241291" y="705644"/>
                </a:cubicBezTo>
                <a:cubicBezTo>
                  <a:pt x="238691" y="700096"/>
                  <a:pt x="238136" y="695685"/>
                  <a:pt x="237557" y="689735"/>
                </a:cubicBezTo>
                <a:cubicBezTo>
                  <a:pt x="244977" y="685507"/>
                  <a:pt x="244977" y="685507"/>
                  <a:pt x="248492" y="685507"/>
                </a:cubicBezTo>
                <a:cubicBezTo>
                  <a:pt x="248492" y="684112"/>
                  <a:pt x="248492" y="682717"/>
                  <a:pt x="248492" y="681279"/>
                </a:cubicBezTo>
                <a:cubicBezTo>
                  <a:pt x="245914" y="680815"/>
                  <a:pt x="243337" y="680350"/>
                  <a:pt x="240681" y="679870"/>
                </a:cubicBezTo>
                <a:cubicBezTo>
                  <a:pt x="240681" y="678940"/>
                  <a:pt x="240681" y="678010"/>
                  <a:pt x="240681" y="677052"/>
                </a:cubicBezTo>
                <a:cubicBezTo>
                  <a:pt x="239827" y="676917"/>
                  <a:pt x="238973" y="676783"/>
                  <a:pt x="238094" y="676645"/>
                </a:cubicBezTo>
                <a:cubicBezTo>
                  <a:pt x="233442" y="675371"/>
                  <a:pt x="229939" y="673242"/>
                  <a:pt x="225841" y="670886"/>
                </a:cubicBezTo>
                <a:cubicBezTo>
                  <a:pt x="217808" y="666564"/>
                  <a:pt x="210635" y="664241"/>
                  <a:pt x="201531" y="662508"/>
                </a:cubicBezTo>
                <a:cubicBezTo>
                  <a:pt x="196896" y="661541"/>
                  <a:pt x="192682" y="660199"/>
                  <a:pt x="188252" y="658644"/>
                </a:cubicBezTo>
                <a:lnTo>
                  <a:pt x="182431" y="657327"/>
                </a:lnTo>
                <a:lnTo>
                  <a:pt x="182431" y="657613"/>
                </a:lnTo>
                <a:cubicBezTo>
                  <a:pt x="170575" y="657148"/>
                  <a:pt x="158718" y="656683"/>
                  <a:pt x="146503" y="656204"/>
                </a:cubicBezTo>
                <a:cubicBezTo>
                  <a:pt x="146503" y="657133"/>
                  <a:pt x="146503" y="658064"/>
                  <a:pt x="146503" y="659022"/>
                </a:cubicBezTo>
                <a:cubicBezTo>
                  <a:pt x="134359" y="662326"/>
                  <a:pt x="123013" y="663700"/>
                  <a:pt x="110378" y="663778"/>
                </a:cubicBezTo>
                <a:cubicBezTo>
                  <a:pt x="108435" y="663806"/>
                  <a:pt x="108435" y="663806"/>
                  <a:pt x="106453" y="663836"/>
                </a:cubicBezTo>
                <a:cubicBezTo>
                  <a:pt x="105231" y="663828"/>
                  <a:pt x="104009" y="663820"/>
                  <a:pt x="102751" y="663811"/>
                </a:cubicBezTo>
                <a:cubicBezTo>
                  <a:pt x="101117" y="663804"/>
                  <a:pt x="101117" y="663804"/>
                  <a:pt x="99449" y="663797"/>
                </a:cubicBezTo>
                <a:cubicBezTo>
                  <a:pt x="95696" y="663097"/>
                  <a:pt x="94265" y="661615"/>
                  <a:pt x="91828" y="659022"/>
                </a:cubicBezTo>
                <a:cubicBezTo>
                  <a:pt x="93890" y="659022"/>
                  <a:pt x="95953" y="659022"/>
                  <a:pt x="98077" y="659022"/>
                </a:cubicBezTo>
                <a:cubicBezTo>
                  <a:pt x="98077" y="659952"/>
                  <a:pt x="98077" y="660882"/>
                  <a:pt x="98077" y="661841"/>
                </a:cubicBezTo>
                <a:cubicBezTo>
                  <a:pt x="108735" y="662045"/>
                  <a:pt x="114063" y="662148"/>
                  <a:pt x="119023" y="661357"/>
                </a:cubicBezTo>
                <a:lnTo>
                  <a:pt x="119536" y="661197"/>
                </a:lnTo>
                <a:lnTo>
                  <a:pt x="109853" y="661639"/>
                </a:lnTo>
                <a:cubicBezTo>
                  <a:pt x="108764" y="661632"/>
                  <a:pt x="107675" y="661626"/>
                  <a:pt x="106552" y="661619"/>
                </a:cubicBezTo>
                <a:cubicBezTo>
                  <a:pt x="103877" y="661603"/>
                  <a:pt x="101203" y="661577"/>
                  <a:pt x="98528" y="661550"/>
                </a:cubicBezTo>
                <a:cubicBezTo>
                  <a:pt x="98528" y="660620"/>
                  <a:pt x="98528" y="659691"/>
                  <a:pt x="98528" y="658732"/>
                </a:cubicBezTo>
                <a:cubicBezTo>
                  <a:pt x="95435" y="658267"/>
                  <a:pt x="92342" y="657802"/>
                  <a:pt x="89155" y="657323"/>
                </a:cubicBezTo>
                <a:cubicBezTo>
                  <a:pt x="89155" y="656393"/>
                  <a:pt x="89155" y="655462"/>
                  <a:pt x="89155" y="654504"/>
                </a:cubicBezTo>
                <a:cubicBezTo>
                  <a:pt x="87790" y="653978"/>
                  <a:pt x="87790" y="653978"/>
                  <a:pt x="86397" y="653442"/>
                </a:cubicBezTo>
                <a:cubicBezTo>
                  <a:pt x="82415" y="651438"/>
                  <a:pt x="80039" y="649232"/>
                  <a:pt x="77049" y="646137"/>
                </a:cubicBezTo>
                <a:cubicBezTo>
                  <a:pt x="75611" y="644679"/>
                  <a:pt x="75611" y="644679"/>
                  <a:pt x="74145" y="643192"/>
                </a:cubicBezTo>
                <a:cubicBezTo>
                  <a:pt x="71972" y="640412"/>
                  <a:pt x="71972" y="640412"/>
                  <a:pt x="71972" y="636185"/>
                </a:cubicBezTo>
                <a:cubicBezTo>
                  <a:pt x="70941" y="636185"/>
                  <a:pt x="69910" y="636185"/>
                  <a:pt x="68848" y="636185"/>
                </a:cubicBezTo>
                <a:cubicBezTo>
                  <a:pt x="64250" y="621928"/>
                  <a:pt x="64695" y="609404"/>
                  <a:pt x="70410" y="595317"/>
                </a:cubicBezTo>
                <a:cubicBezTo>
                  <a:pt x="73096" y="591142"/>
                  <a:pt x="76144" y="587574"/>
                  <a:pt x="79782" y="584043"/>
                </a:cubicBezTo>
                <a:cubicBezTo>
                  <a:pt x="81205" y="582594"/>
                  <a:pt x="81205" y="582594"/>
                  <a:pt x="82656" y="581115"/>
                </a:cubicBezTo>
                <a:cubicBezTo>
                  <a:pt x="91488" y="574027"/>
                  <a:pt x="105133" y="571806"/>
                  <a:pt x="116694" y="572323"/>
                </a:cubicBezTo>
                <a:cubicBezTo>
                  <a:pt x="131556" y="574113"/>
                  <a:pt x="142046" y="580551"/>
                  <a:pt x="152031" y="590385"/>
                </a:cubicBezTo>
                <a:cubicBezTo>
                  <a:pt x="162272" y="600009"/>
                  <a:pt x="176992" y="605062"/>
                  <a:pt x="191474" y="605886"/>
                </a:cubicBezTo>
                <a:cubicBezTo>
                  <a:pt x="196845" y="606192"/>
                  <a:pt x="201203" y="606463"/>
                  <a:pt x="206314" y="608000"/>
                </a:cubicBezTo>
                <a:cubicBezTo>
                  <a:pt x="206314" y="608930"/>
                  <a:pt x="206314" y="609860"/>
                  <a:pt x="206314" y="610818"/>
                </a:cubicBezTo>
                <a:cubicBezTo>
                  <a:pt x="215689" y="610902"/>
                  <a:pt x="225058" y="610898"/>
                  <a:pt x="234433" y="610818"/>
                </a:cubicBezTo>
                <a:cubicBezTo>
                  <a:pt x="236112" y="610813"/>
                  <a:pt x="237791" y="610808"/>
                  <a:pt x="239522" y="610802"/>
                </a:cubicBezTo>
                <a:cubicBezTo>
                  <a:pt x="251005" y="610364"/>
                  <a:pt x="259257" y="606564"/>
                  <a:pt x="268799" y="600954"/>
                </a:cubicBezTo>
                <a:cubicBezTo>
                  <a:pt x="269770" y="600416"/>
                  <a:pt x="270740" y="599879"/>
                  <a:pt x="271740" y="599325"/>
                </a:cubicBezTo>
                <a:cubicBezTo>
                  <a:pt x="279452" y="594430"/>
                  <a:pt x="281420" y="587464"/>
                  <a:pt x="284420" y="579816"/>
                </a:cubicBezTo>
                <a:cubicBezTo>
                  <a:pt x="286047" y="576075"/>
                  <a:pt x="287725" y="572353"/>
                  <a:pt x="289399" y="568630"/>
                </a:cubicBezTo>
                <a:cubicBezTo>
                  <a:pt x="294095" y="558121"/>
                  <a:pt x="299004" y="547070"/>
                  <a:pt x="293958" y="535838"/>
                </a:cubicBezTo>
                <a:cubicBezTo>
                  <a:pt x="292436" y="533533"/>
                  <a:pt x="290781" y="531301"/>
                  <a:pt x="289107" y="529084"/>
                </a:cubicBezTo>
                <a:cubicBezTo>
                  <a:pt x="289107" y="528153"/>
                  <a:pt x="289107" y="527223"/>
                  <a:pt x="289107" y="526265"/>
                </a:cubicBezTo>
                <a:cubicBezTo>
                  <a:pt x="287560" y="525800"/>
                  <a:pt x="286014" y="525335"/>
                  <a:pt x="284420" y="524856"/>
                </a:cubicBezTo>
                <a:cubicBezTo>
                  <a:pt x="283905" y="523461"/>
                  <a:pt x="283389" y="522066"/>
                  <a:pt x="282858" y="520628"/>
                </a:cubicBezTo>
                <a:cubicBezTo>
                  <a:pt x="280750" y="518590"/>
                  <a:pt x="280750" y="518590"/>
                  <a:pt x="277977" y="516577"/>
                </a:cubicBezTo>
                <a:cubicBezTo>
                  <a:pt x="273591" y="513232"/>
                  <a:pt x="269227" y="509874"/>
                  <a:pt x="264925" y="506443"/>
                </a:cubicBezTo>
                <a:cubicBezTo>
                  <a:pt x="253596" y="497433"/>
                  <a:pt x="242132" y="488987"/>
                  <a:pt x="229746" y="481170"/>
                </a:cubicBezTo>
                <a:cubicBezTo>
                  <a:pt x="226846" y="479266"/>
                  <a:pt x="223950" y="477358"/>
                  <a:pt x="221057" y="475445"/>
                </a:cubicBezTo>
                <a:cubicBezTo>
                  <a:pt x="218227" y="473594"/>
                  <a:pt x="215396" y="471744"/>
                  <a:pt x="212563" y="469896"/>
                </a:cubicBezTo>
                <a:cubicBezTo>
                  <a:pt x="211351" y="469102"/>
                  <a:pt x="210138" y="468309"/>
                  <a:pt x="208889" y="467491"/>
                </a:cubicBezTo>
                <a:cubicBezTo>
                  <a:pt x="202848" y="463599"/>
                  <a:pt x="196732" y="459888"/>
                  <a:pt x="190406" y="456382"/>
                </a:cubicBezTo>
                <a:cubicBezTo>
                  <a:pt x="189263" y="455748"/>
                  <a:pt x="188119" y="455114"/>
                  <a:pt x="186942" y="454460"/>
                </a:cubicBezTo>
                <a:cubicBezTo>
                  <a:pt x="184648" y="453196"/>
                  <a:pt x="182348" y="451941"/>
                  <a:pt x="180041" y="450696"/>
                </a:cubicBezTo>
                <a:cubicBezTo>
                  <a:pt x="177292" y="449185"/>
                  <a:pt x="174612" y="447571"/>
                  <a:pt x="171948" y="445940"/>
                </a:cubicBezTo>
                <a:cubicBezTo>
                  <a:pt x="171948" y="445009"/>
                  <a:pt x="171948" y="444079"/>
                  <a:pt x="171948" y="443121"/>
                </a:cubicBezTo>
                <a:cubicBezTo>
                  <a:pt x="170804" y="442985"/>
                  <a:pt x="169660" y="442848"/>
                  <a:pt x="168482" y="442708"/>
                </a:cubicBezTo>
                <a:cubicBezTo>
                  <a:pt x="163547" y="441576"/>
                  <a:pt x="161063" y="439897"/>
                  <a:pt x="157107" y="437044"/>
                </a:cubicBezTo>
                <a:cubicBezTo>
                  <a:pt x="149345" y="431895"/>
                  <a:pt x="141843" y="429626"/>
                  <a:pt x="132559" y="427510"/>
                </a:cubicBezTo>
                <a:cubicBezTo>
                  <a:pt x="128067" y="426168"/>
                  <a:pt x="126607" y="425060"/>
                  <a:pt x="123522" y="421983"/>
                </a:cubicBezTo>
                <a:cubicBezTo>
                  <a:pt x="118310" y="419033"/>
                  <a:pt x="114076" y="418794"/>
                  <a:pt x="107986" y="418730"/>
                </a:cubicBezTo>
                <a:cubicBezTo>
                  <a:pt x="106174" y="418694"/>
                  <a:pt x="104362" y="418659"/>
                  <a:pt x="102494" y="418622"/>
                </a:cubicBezTo>
                <a:cubicBezTo>
                  <a:pt x="98715" y="418573"/>
                  <a:pt x="94936" y="418529"/>
                  <a:pt x="91157" y="418490"/>
                </a:cubicBezTo>
                <a:cubicBezTo>
                  <a:pt x="78470" y="418231"/>
                  <a:pt x="65485" y="417940"/>
                  <a:pt x="55277" y="410445"/>
                </a:cubicBezTo>
                <a:cubicBezTo>
                  <a:pt x="54084" y="409137"/>
                  <a:pt x="52893" y="407829"/>
                  <a:pt x="51665" y="406481"/>
                </a:cubicBezTo>
                <a:cubicBezTo>
                  <a:pt x="49752" y="404480"/>
                  <a:pt x="47831" y="402483"/>
                  <a:pt x="45904" y="400492"/>
                </a:cubicBezTo>
                <a:cubicBezTo>
                  <a:pt x="44996" y="399526"/>
                  <a:pt x="44088" y="398559"/>
                  <a:pt x="43152" y="397564"/>
                </a:cubicBezTo>
                <a:cubicBezTo>
                  <a:pt x="40865" y="395062"/>
                  <a:pt x="40865" y="395062"/>
                  <a:pt x="37605" y="393798"/>
                </a:cubicBezTo>
                <a:lnTo>
                  <a:pt x="38995" y="368712"/>
                </a:lnTo>
                <a:lnTo>
                  <a:pt x="38666" y="369724"/>
                </a:lnTo>
                <a:cubicBezTo>
                  <a:pt x="37003" y="374506"/>
                  <a:pt x="36202" y="379113"/>
                  <a:pt x="35542" y="384081"/>
                </a:cubicBezTo>
                <a:cubicBezTo>
                  <a:pt x="30313" y="376119"/>
                  <a:pt x="31188" y="366593"/>
                  <a:pt x="33326" y="357791"/>
                </a:cubicBezTo>
                <a:cubicBezTo>
                  <a:pt x="37176" y="347767"/>
                  <a:pt x="44536" y="340769"/>
                  <a:pt x="52725" y="333349"/>
                </a:cubicBezTo>
                <a:lnTo>
                  <a:pt x="55222" y="334475"/>
                </a:lnTo>
                <a:lnTo>
                  <a:pt x="56222" y="333347"/>
                </a:lnTo>
                <a:lnTo>
                  <a:pt x="55871" y="333347"/>
                </a:lnTo>
                <a:lnTo>
                  <a:pt x="56346" y="333207"/>
                </a:lnTo>
                <a:lnTo>
                  <a:pt x="56351" y="333202"/>
                </a:lnTo>
                <a:lnTo>
                  <a:pt x="56365" y="333202"/>
                </a:lnTo>
                <a:lnTo>
                  <a:pt x="79571" y="326360"/>
                </a:lnTo>
                <a:cubicBezTo>
                  <a:pt x="87782" y="326037"/>
                  <a:pt x="96164" y="327572"/>
                  <a:pt x="104297" y="330529"/>
                </a:cubicBezTo>
                <a:lnTo>
                  <a:pt x="107170" y="334417"/>
                </a:lnTo>
                <a:lnTo>
                  <a:pt x="109366" y="336046"/>
                </a:lnTo>
                <a:lnTo>
                  <a:pt x="109463" y="336020"/>
                </a:lnTo>
                <a:lnTo>
                  <a:pt x="109463" y="336118"/>
                </a:lnTo>
                <a:lnTo>
                  <a:pt x="115226" y="340394"/>
                </a:lnTo>
                <a:lnTo>
                  <a:pt x="114010" y="340120"/>
                </a:lnTo>
                <a:lnTo>
                  <a:pt x="133285" y="357423"/>
                </a:lnTo>
                <a:cubicBezTo>
                  <a:pt x="142471" y="373187"/>
                  <a:pt x="155564" y="382744"/>
                  <a:pt x="173509" y="389571"/>
                </a:cubicBezTo>
                <a:cubicBezTo>
                  <a:pt x="176254" y="390785"/>
                  <a:pt x="178988" y="392017"/>
                  <a:pt x="181711" y="393270"/>
                </a:cubicBezTo>
                <a:cubicBezTo>
                  <a:pt x="182964" y="393833"/>
                  <a:pt x="184216" y="394396"/>
                  <a:pt x="185507" y="394976"/>
                </a:cubicBezTo>
                <a:cubicBezTo>
                  <a:pt x="187897" y="396058"/>
                  <a:pt x="190281" y="397151"/>
                  <a:pt x="192658" y="398257"/>
                </a:cubicBezTo>
                <a:cubicBezTo>
                  <a:pt x="193749" y="398762"/>
                  <a:pt x="194841" y="399267"/>
                  <a:pt x="195966" y="399788"/>
                </a:cubicBezTo>
                <a:cubicBezTo>
                  <a:pt x="196912" y="400231"/>
                  <a:pt x="197858" y="400674"/>
                  <a:pt x="198833" y="401131"/>
                </a:cubicBezTo>
                <a:cubicBezTo>
                  <a:pt x="201808" y="402326"/>
                  <a:pt x="204701" y="403032"/>
                  <a:pt x="207877" y="403663"/>
                </a:cubicBezTo>
                <a:cubicBezTo>
                  <a:pt x="207877" y="404593"/>
                  <a:pt x="207877" y="405523"/>
                  <a:pt x="207877" y="406481"/>
                </a:cubicBezTo>
                <a:cubicBezTo>
                  <a:pt x="221233" y="411377"/>
                  <a:pt x="234752" y="415503"/>
                  <a:pt x="248492" y="419428"/>
                </a:cubicBezTo>
                <a:cubicBezTo>
                  <a:pt x="250298" y="419947"/>
                  <a:pt x="252104" y="420466"/>
                  <a:pt x="253965" y="421000"/>
                </a:cubicBezTo>
                <a:cubicBezTo>
                  <a:pt x="258388" y="422270"/>
                  <a:pt x="262812" y="423537"/>
                  <a:pt x="267237" y="424801"/>
                </a:cubicBezTo>
                <a:lnTo>
                  <a:pt x="267237" y="426451"/>
                </a:lnTo>
                <a:lnTo>
                  <a:pt x="288701" y="429217"/>
                </a:lnTo>
                <a:cubicBezTo>
                  <a:pt x="288701" y="430147"/>
                  <a:pt x="288701" y="431078"/>
                  <a:pt x="288701" y="432036"/>
                </a:cubicBezTo>
                <a:cubicBezTo>
                  <a:pt x="301487" y="433472"/>
                  <a:pt x="314148" y="433662"/>
                  <a:pt x="327010" y="433628"/>
                </a:cubicBezTo>
                <a:cubicBezTo>
                  <a:pt x="330502" y="433621"/>
                  <a:pt x="333994" y="433628"/>
                  <a:pt x="337486" y="433637"/>
                </a:cubicBezTo>
                <a:cubicBezTo>
                  <a:pt x="339734" y="433637"/>
                  <a:pt x="341982" y="433635"/>
                  <a:pt x="344229" y="433632"/>
                </a:cubicBezTo>
                <a:cubicBezTo>
                  <a:pt x="347246" y="433630"/>
                  <a:pt x="347246" y="433630"/>
                  <a:pt x="350323" y="433627"/>
                </a:cubicBezTo>
                <a:cubicBezTo>
                  <a:pt x="355445" y="433459"/>
                  <a:pt x="360220" y="432915"/>
                  <a:pt x="365245" y="432036"/>
                </a:cubicBezTo>
                <a:lnTo>
                  <a:pt x="360797" y="433759"/>
                </a:lnTo>
                <a:lnTo>
                  <a:pt x="365650" y="433257"/>
                </a:lnTo>
                <a:cubicBezTo>
                  <a:pt x="366166" y="431861"/>
                  <a:pt x="366682" y="430466"/>
                  <a:pt x="367213" y="429029"/>
                </a:cubicBezTo>
                <a:cubicBezTo>
                  <a:pt x="369854" y="427628"/>
                  <a:pt x="372501" y="426234"/>
                  <a:pt x="375188" y="424906"/>
                </a:cubicBezTo>
                <a:cubicBezTo>
                  <a:pt x="390245" y="417204"/>
                  <a:pt x="397438" y="403183"/>
                  <a:pt x="404704" y="389571"/>
                </a:cubicBezTo>
                <a:cubicBezTo>
                  <a:pt x="405219" y="389105"/>
                  <a:pt x="405734" y="388641"/>
                  <a:pt x="406265" y="388161"/>
                </a:cubicBezTo>
                <a:cubicBezTo>
                  <a:pt x="406663" y="382152"/>
                  <a:pt x="406555" y="376125"/>
                  <a:pt x="406559" y="370106"/>
                </a:cubicBezTo>
                <a:cubicBezTo>
                  <a:pt x="406578" y="368412"/>
                  <a:pt x="406597" y="366718"/>
                  <a:pt x="406617" y="364973"/>
                </a:cubicBezTo>
                <a:cubicBezTo>
                  <a:pt x="406620" y="363344"/>
                  <a:pt x="406622" y="361715"/>
                  <a:pt x="406626" y="360038"/>
                </a:cubicBezTo>
                <a:cubicBezTo>
                  <a:pt x="406632" y="358541"/>
                  <a:pt x="406638" y="357045"/>
                  <a:pt x="406645" y="355503"/>
                </a:cubicBezTo>
                <a:cubicBezTo>
                  <a:pt x="406264" y="351503"/>
                  <a:pt x="405326" y="349318"/>
                  <a:pt x="403142" y="345885"/>
                </a:cubicBezTo>
                <a:cubicBezTo>
                  <a:pt x="402583" y="343484"/>
                  <a:pt x="402067" y="341075"/>
                  <a:pt x="401579" y="338663"/>
                </a:cubicBezTo>
                <a:cubicBezTo>
                  <a:pt x="399365" y="330323"/>
                  <a:pt x="395538" y="323370"/>
                  <a:pt x="390938" y="315939"/>
                </a:cubicBezTo>
                <a:cubicBezTo>
                  <a:pt x="390290" y="314890"/>
                  <a:pt x="389642" y="313842"/>
                  <a:pt x="388976" y="312762"/>
                </a:cubicBezTo>
                <a:cubicBezTo>
                  <a:pt x="385623" y="307500"/>
                  <a:pt x="382070" y="302607"/>
                  <a:pt x="377934" y="297817"/>
                </a:cubicBezTo>
                <a:cubicBezTo>
                  <a:pt x="373788" y="292978"/>
                  <a:pt x="371423" y="288111"/>
                  <a:pt x="368775" y="282470"/>
                </a:cubicBezTo>
                <a:cubicBezTo>
                  <a:pt x="366035" y="278585"/>
                  <a:pt x="362994" y="274937"/>
                  <a:pt x="359890" y="271284"/>
                </a:cubicBezTo>
                <a:cubicBezTo>
                  <a:pt x="359059" y="270296"/>
                  <a:pt x="358230" y="269307"/>
                  <a:pt x="357374" y="268288"/>
                </a:cubicBezTo>
                <a:cubicBezTo>
                  <a:pt x="351312" y="261177"/>
                  <a:pt x="344882" y="254704"/>
                  <a:pt x="337533" y="248649"/>
                </a:cubicBezTo>
                <a:cubicBezTo>
                  <a:pt x="336767" y="247896"/>
                  <a:pt x="336002" y="247144"/>
                  <a:pt x="335214" y="246369"/>
                </a:cubicBezTo>
                <a:cubicBezTo>
                  <a:pt x="332597" y="243963"/>
                  <a:pt x="332597" y="243963"/>
                  <a:pt x="327085" y="242571"/>
                </a:cubicBezTo>
                <a:cubicBezTo>
                  <a:pt x="309670" y="236923"/>
                  <a:pt x="296614" y="222751"/>
                  <a:pt x="288785" y="207968"/>
                </a:cubicBezTo>
                <a:cubicBezTo>
                  <a:pt x="286673" y="202851"/>
                  <a:pt x="286348" y="197968"/>
                  <a:pt x="286373" y="192544"/>
                </a:cubicBezTo>
                <a:cubicBezTo>
                  <a:pt x="286377" y="191437"/>
                  <a:pt x="286381" y="190330"/>
                  <a:pt x="286385" y="189190"/>
                </a:cubicBezTo>
                <a:cubicBezTo>
                  <a:pt x="286881" y="178340"/>
                  <a:pt x="291581" y="171728"/>
                  <a:pt x="300042" y="164095"/>
                </a:cubicBezTo>
                <a:cubicBezTo>
                  <a:pt x="301386" y="162752"/>
                  <a:pt x="301386" y="162752"/>
                  <a:pt x="302757" y="161381"/>
                </a:cubicBezTo>
                <a:cubicBezTo>
                  <a:pt x="312597" y="152504"/>
                  <a:pt x="325185" y="152675"/>
                  <a:pt x="338411" y="152293"/>
                </a:cubicBezTo>
                <a:cubicBezTo>
                  <a:pt x="350839" y="152463"/>
                  <a:pt x="359094" y="154554"/>
                  <a:pt x="368482" y="161893"/>
                </a:cubicBezTo>
                <a:cubicBezTo>
                  <a:pt x="369609" y="163085"/>
                  <a:pt x="370737" y="164277"/>
                  <a:pt x="371899" y="165505"/>
                </a:cubicBezTo>
                <a:cubicBezTo>
                  <a:pt x="372962" y="166522"/>
                  <a:pt x="374026" y="167539"/>
                  <a:pt x="375121" y="168587"/>
                </a:cubicBezTo>
                <a:cubicBezTo>
                  <a:pt x="381050" y="176351"/>
                  <a:pt x="384520" y="184328"/>
                  <a:pt x="384982" y="193777"/>
                </a:cubicBezTo>
                <a:cubicBezTo>
                  <a:pt x="385464" y="201192"/>
                  <a:pt x="387638" y="207607"/>
                  <a:pt x="390352" y="214563"/>
                </a:cubicBezTo>
                <a:cubicBezTo>
                  <a:pt x="390934" y="216079"/>
                  <a:pt x="390934" y="216079"/>
                  <a:pt x="391529" y="217626"/>
                </a:cubicBezTo>
                <a:cubicBezTo>
                  <a:pt x="394082" y="223926"/>
                  <a:pt x="397412" y="228969"/>
                  <a:pt x="401579" y="234556"/>
                </a:cubicBezTo>
                <a:cubicBezTo>
                  <a:pt x="401579" y="235952"/>
                  <a:pt x="401579" y="237347"/>
                  <a:pt x="401579" y="238784"/>
                </a:cubicBezTo>
                <a:cubicBezTo>
                  <a:pt x="402884" y="239263"/>
                  <a:pt x="402884" y="239263"/>
                  <a:pt x="404215" y="239753"/>
                </a:cubicBezTo>
                <a:cubicBezTo>
                  <a:pt x="410099" y="242765"/>
                  <a:pt x="414395" y="246733"/>
                  <a:pt x="417811" y="251996"/>
                </a:cubicBezTo>
                <a:cubicBezTo>
                  <a:pt x="420462" y="255897"/>
                  <a:pt x="423407" y="258959"/>
                  <a:pt x="426866" y="262300"/>
                </a:cubicBezTo>
                <a:cubicBezTo>
                  <a:pt x="435101" y="270407"/>
                  <a:pt x="442641" y="278936"/>
                  <a:pt x="450097" y="287628"/>
                </a:cubicBezTo>
                <a:cubicBezTo>
                  <a:pt x="453081" y="291117"/>
                  <a:pt x="453081" y="291117"/>
                  <a:pt x="457425" y="293920"/>
                </a:cubicBezTo>
                <a:cubicBezTo>
                  <a:pt x="458585" y="294792"/>
                  <a:pt x="459745" y="295664"/>
                  <a:pt x="460940" y="296562"/>
                </a:cubicBezTo>
                <a:cubicBezTo>
                  <a:pt x="460940" y="297957"/>
                  <a:pt x="460940" y="299352"/>
                  <a:pt x="460940" y="300790"/>
                </a:cubicBezTo>
                <a:cubicBezTo>
                  <a:pt x="465063" y="302782"/>
                  <a:pt x="468862" y="304133"/>
                  <a:pt x="473437" y="305018"/>
                </a:cubicBezTo>
                <a:cubicBezTo>
                  <a:pt x="473437" y="305947"/>
                  <a:pt x="473437" y="306877"/>
                  <a:pt x="473437" y="307836"/>
                </a:cubicBezTo>
                <a:cubicBezTo>
                  <a:pt x="475581" y="308519"/>
                  <a:pt x="477730" y="309193"/>
                  <a:pt x="479881" y="309862"/>
                </a:cubicBezTo>
                <a:cubicBezTo>
                  <a:pt x="481077" y="310237"/>
                  <a:pt x="482273" y="310614"/>
                  <a:pt x="483505" y="311001"/>
                </a:cubicBezTo>
                <a:cubicBezTo>
                  <a:pt x="505448" y="316843"/>
                  <a:pt x="527690" y="314359"/>
                  <a:pt x="548419" y="306427"/>
                </a:cubicBezTo>
                <a:cubicBezTo>
                  <a:pt x="549548" y="305998"/>
                  <a:pt x="550678" y="305569"/>
                  <a:pt x="551842" y="305127"/>
                </a:cubicBezTo>
                <a:cubicBezTo>
                  <a:pt x="555376" y="303227"/>
                  <a:pt x="557584" y="300980"/>
                  <a:pt x="560232" y="298148"/>
                </a:cubicBezTo>
                <a:cubicBezTo>
                  <a:pt x="561137" y="297192"/>
                  <a:pt x="562041" y="296236"/>
                  <a:pt x="562972" y="295252"/>
                </a:cubicBezTo>
                <a:cubicBezTo>
                  <a:pt x="564755" y="293274"/>
                  <a:pt x="566459" y="291237"/>
                  <a:pt x="568086" y="289152"/>
                </a:cubicBezTo>
                <a:cubicBezTo>
                  <a:pt x="568813" y="288342"/>
                  <a:pt x="569539" y="287532"/>
                  <a:pt x="570289" y="286697"/>
                </a:cubicBezTo>
                <a:cubicBezTo>
                  <a:pt x="571319" y="286697"/>
                  <a:pt x="572350" y="286697"/>
                  <a:pt x="573413" y="286697"/>
                </a:cubicBezTo>
                <a:cubicBezTo>
                  <a:pt x="577408" y="276984"/>
                  <a:pt x="577197" y="267284"/>
                  <a:pt x="577220" y="257016"/>
                </a:cubicBezTo>
                <a:cubicBezTo>
                  <a:pt x="577227" y="255625"/>
                  <a:pt x="577227" y="255625"/>
                  <a:pt x="577235" y="254206"/>
                </a:cubicBezTo>
                <a:cubicBezTo>
                  <a:pt x="577257" y="237553"/>
                  <a:pt x="574604" y="222055"/>
                  <a:pt x="569443" y="206049"/>
                </a:cubicBezTo>
                <a:cubicBezTo>
                  <a:pt x="568726" y="203553"/>
                  <a:pt x="568726" y="203553"/>
                  <a:pt x="568726" y="200735"/>
                </a:cubicBezTo>
                <a:cubicBezTo>
                  <a:pt x="567695" y="200735"/>
                  <a:pt x="566664" y="200735"/>
                  <a:pt x="565602" y="200735"/>
                </a:cubicBezTo>
                <a:cubicBezTo>
                  <a:pt x="563274" y="195295"/>
                  <a:pt x="561092" y="190108"/>
                  <a:pt x="559549" y="184441"/>
                </a:cubicBezTo>
                <a:cubicBezTo>
                  <a:pt x="555572" y="173477"/>
                  <a:pt x="547043" y="167105"/>
                  <a:pt x="537484" y="159867"/>
                </a:cubicBezTo>
                <a:cubicBezTo>
                  <a:pt x="533579" y="156609"/>
                  <a:pt x="533579" y="156609"/>
                  <a:pt x="531235" y="154230"/>
                </a:cubicBezTo>
                <a:cubicBezTo>
                  <a:pt x="531235" y="153301"/>
                  <a:pt x="531235" y="152371"/>
                  <a:pt x="531235" y="151412"/>
                </a:cubicBezTo>
                <a:cubicBezTo>
                  <a:pt x="529689" y="150947"/>
                  <a:pt x="528143" y="150482"/>
                  <a:pt x="526549" y="150003"/>
                </a:cubicBezTo>
                <a:cubicBezTo>
                  <a:pt x="519904" y="137298"/>
                  <a:pt x="519105" y="120357"/>
                  <a:pt x="524304" y="107198"/>
                </a:cubicBezTo>
                <a:cubicBezTo>
                  <a:pt x="529443" y="97376"/>
                  <a:pt x="535781" y="90193"/>
                  <a:pt x="547052" y="85972"/>
                </a:cubicBezTo>
                <a:cubicBezTo>
                  <a:pt x="559924" y="81835"/>
                  <a:pt x="575221" y="79746"/>
                  <a:pt x="588460" y="83538"/>
                </a:cubicBezTo>
                <a:cubicBezTo>
                  <a:pt x="601643" y="89713"/>
                  <a:pt x="611835" y="99450"/>
                  <a:pt x="617152" y="111954"/>
                </a:cubicBezTo>
                <a:cubicBezTo>
                  <a:pt x="617935" y="116052"/>
                  <a:pt x="617954" y="120024"/>
                  <a:pt x="617884" y="124175"/>
                </a:cubicBezTo>
                <a:cubicBezTo>
                  <a:pt x="617896" y="125307"/>
                  <a:pt x="617906" y="126440"/>
                  <a:pt x="617917" y="127607"/>
                </a:cubicBezTo>
                <a:cubicBezTo>
                  <a:pt x="617963" y="132394"/>
                  <a:pt x="617938" y="137181"/>
                  <a:pt x="617919" y="141969"/>
                </a:cubicBezTo>
                <a:cubicBezTo>
                  <a:pt x="617899" y="160184"/>
                  <a:pt x="619422" y="175572"/>
                  <a:pt x="630625" y="191311"/>
                </a:cubicBezTo>
                <a:cubicBezTo>
                  <a:pt x="633753" y="195891"/>
                  <a:pt x="636431" y="199900"/>
                  <a:pt x="637850" y="205139"/>
                </a:cubicBezTo>
                <a:cubicBezTo>
                  <a:pt x="638615" y="209623"/>
                  <a:pt x="638615" y="209623"/>
                  <a:pt x="643708" y="212009"/>
                </a:cubicBezTo>
                <a:cubicBezTo>
                  <a:pt x="645380" y="214563"/>
                  <a:pt x="645380" y="214563"/>
                  <a:pt x="647027" y="217645"/>
                </a:cubicBezTo>
                <a:cubicBezTo>
                  <a:pt x="652549" y="227016"/>
                  <a:pt x="660443" y="235696"/>
                  <a:pt x="670264" y="241603"/>
                </a:cubicBezTo>
                <a:cubicBezTo>
                  <a:pt x="670264" y="242532"/>
                  <a:pt x="670264" y="243462"/>
                  <a:pt x="670264" y="244421"/>
                </a:cubicBezTo>
                <a:cubicBezTo>
                  <a:pt x="672036" y="244857"/>
                  <a:pt x="673808" y="245293"/>
                  <a:pt x="675634" y="245742"/>
                </a:cubicBezTo>
                <a:cubicBezTo>
                  <a:pt x="681199" y="247239"/>
                  <a:pt x="681199" y="247239"/>
                  <a:pt x="682761" y="248649"/>
                </a:cubicBezTo>
                <a:cubicBezTo>
                  <a:pt x="704487" y="252065"/>
                  <a:pt x="732606" y="256402"/>
                  <a:pt x="752092" y="245076"/>
                </a:cubicBezTo>
                <a:cubicBezTo>
                  <a:pt x="754252" y="243599"/>
                  <a:pt x="756372" y="242073"/>
                  <a:pt x="758433" y="240485"/>
                </a:cubicBezTo>
                <a:cubicBezTo>
                  <a:pt x="760867" y="238784"/>
                  <a:pt x="760867" y="238784"/>
                  <a:pt x="763991" y="238784"/>
                </a:cubicBezTo>
                <a:cubicBezTo>
                  <a:pt x="764647" y="237296"/>
                  <a:pt x="764647" y="237296"/>
                  <a:pt x="765315" y="235778"/>
                </a:cubicBezTo>
                <a:cubicBezTo>
                  <a:pt x="767151" y="231659"/>
                  <a:pt x="769030" y="227557"/>
                  <a:pt x="770923" y="223459"/>
                </a:cubicBezTo>
                <a:cubicBezTo>
                  <a:pt x="771608" y="221966"/>
                  <a:pt x="772292" y="220472"/>
                  <a:pt x="772998" y="218934"/>
                </a:cubicBezTo>
                <a:cubicBezTo>
                  <a:pt x="774429" y="215885"/>
                  <a:pt x="775968" y="212878"/>
                  <a:pt x="777562" y="209895"/>
                </a:cubicBezTo>
                <a:cubicBezTo>
                  <a:pt x="787607" y="185732"/>
                  <a:pt x="788559" y="149501"/>
                  <a:pt x="781175" y="124637"/>
                </a:cubicBezTo>
                <a:cubicBezTo>
                  <a:pt x="780144" y="124637"/>
                  <a:pt x="779113" y="124637"/>
                  <a:pt x="778051" y="124637"/>
                </a:cubicBezTo>
                <a:cubicBezTo>
                  <a:pt x="768501" y="110080"/>
                  <a:pt x="762898" y="96653"/>
                  <a:pt x="767116" y="79542"/>
                </a:cubicBezTo>
                <a:cubicBezTo>
                  <a:pt x="772286" y="69057"/>
                  <a:pt x="781456" y="58252"/>
                  <a:pt x="793379" y="54000"/>
                </a:cubicBezTo>
                <a:cubicBezTo>
                  <a:pt x="808369" y="49250"/>
                  <a:pt x="826058" y="49579"/>
                  <a:pt x="840688" y="55503"/>
                </a:cubicBezTo>
                <a:cubicBezTo>
                  <a:pt x="845183" y="57759"/>
                  <a:pt x="848037" y="60575"/>
                  <a:pt x="851470" y="64040"/>
                </a:cubicBezTo>
                <a:cubicBezTo>
                  <a:pt x="852721" y="65272"/>
                  <a:pt x="852721" y="65272"/>
                  <a:pt x="853997" y="66529"/>
                </a:cubicBezTo>
                <a:cubicBezTo>
                  <a:pt x="858396" y="71505"/>
                  <a:pt x="860490" y="76640"/>
                  <a:pt x="861488" y="82057"/>
                </a:cubicBezTo>
                <a:lnTo>
                  <a:pt x="861937" y="90492"/>
                </a:lnTo>
                <a:lnTo>
                  <a:pt x="863826" y="100715"/>
                </a:lnTo>
                <a:cubicBezTo>
                  <a:pt x="862141" y="107853"/>
                  <a:pt x="859866" y="114857"/>
                  <a:pt x="857577" y="121853"/>
                </a:cubicBezTo>
                <a:cubicBezTo>
                  <a:pt x="857062" y="121853"/>
                  <a:pt x="856547" y="121853"/>
                  <a:pt x="856015" y="121853"/>
                </a:cubicBezTo>
                <a:cubicBezTo>
                  <a:pt x="855731" y="120401"/>
                  <a:pt x="855731" y="120401"/>
                  <a:pt x="855442" y="118919"/>
                </a:cubicBezTo>
                <a:lnTo>
                  <a:pt x="855417" y="118798"/>
                </a:lnTo>
                <a:lnTo>
                  <a:pt x="856157" y="124637"/>
                </a:lnTo>
                <a:lnTo>
                  <a:pt x="850623" y="134701"/>
                </a:lnTo>
                <a:lnTo>
                  <a:pt x="851325" y="135968"/>
                </a:lnTo>
                <a:cubicBezTo>
                  <a:pt x="850851" y="137246"/>
                  <a:pt x="850376" y="138525"/>
                  <a:pt x="849886" y="139843"/>
                </a:cubicBezTo>
                <a:cubicBezTo>
                  <a:pt x="848171" y="144505"/>
                  <a:pt x="847798" y="148002"/>
                  <a:pt x="847786" y="152889"/>
                </a:cubicBezTo>
                <a:cubicBezTo>
                  <a:pt x="847779" y="154500"/>
                  <a:pt x="847773" y="156109"/>
                  <a:pt x="847767" y="157768"/>
                </a:cubicBezTo>
                <a:cubicBezTo>
                  <a:pt x="847782" y="159468"/>
                  <a:pt x="847796" y="161167"/>
                  <a:pt x="847810" y="162919"/>
                </a:cubicBezTo>
                <a:cubicBezTo>
                  <a:pt x="847821" y="165546"/>
                  <a:pt x="847821" y="165546"/>
                  <a:pt x="847832" y="168227"/>
                </a:cubicBezTo>
                <a:cubicBezTo>
                  <a:pt x="847980" y="181934"/>
                  <a:pt x="849003" y="195419"/>
                  <a:pt x="850903" y="209013"/>
                </a:cubicBezTo>
                <a:lnTo>
                  <a:pt x="852880" y="224692"/>
                </a:lnTo>
                <a:lnTo>
                  <a:pt x="854595" y="224692"/>
                </a:lnTo>
                <a:cubicBezTo>
                  <a:pt x="855086" y="225542"/>
                  <a:pt x="855577" y="226392"/>
                  <a:pt x="856083" y="227268"/>
                </a:cubicBezTo>
                <a:cubicBezTo>
                  <a:pt x="862358" y="237839"/>
                  <a:pt x="866924" y="242785"/>
                  <a:pt x="879588" y="247239"/>
                </a:cubicBezTo>
                <a:cubicBezTo>
                  <a:pt x="881642" y="248025"/>
                  <a:pt x="883692" y="248817"/>
                  <a:pt x="885739" y="249618"/>
                </a:cubicBezTo>
                <a:cubicBezTo>
                  <a:pt x="887318" y="250227"/>
                  <a:pt x="888897" y="250838"/>
                  <a:pt x="890523" y="251467"/>
                </a:cubicBezTo>
                <a:cubicBezTo>
                  <a:pt x="890523" y="252397"/>
                  <a:pt x="890523" y="253327"/>
                  <a:pt x="890523" y="254285"/>
                </a:cubicBezTo>
                <a:cubicBezTo>
                  <a:pt x="900347" y="257061"/>
                  <a:pt x="910127" y="259425"/>
                  <a:pt x="920203" y="261332"/>
                </a:cubicBezTo>
                <a:cubicBezTo>
                  <a:pt x="920203" y="261796"/>
                  <a:pt x="920203" y="262262"/>
                  <a:pt x="920203" y="262741"/>
                </a:cubicBezTo>
                <a:cubicBezTo>
                  <a:pt x="917111" y="262741"/>
                  <a:pt x="914018" y="262741"/>
                  <a:pt x="910831" y="262741"/>
                </a:cubicBezTo>
                <a:lnTo>
                  <a:pt x="910831" y="262864"/>
                </a:lnTo>
                <a:lnTo>
                  <a:pt x="927993" y="264177"/>
                </a:lnTo>
                <a:lnTo>
                  <a:pt x="939273" y="265285"/>
                </a:lnTo>
                <a:lnTo>
                  <a:pt x="940456" y="265191"/>
                </a:lnTo>
                <a:cubicBezTo>
                  <a:pt x="962552" y="263054"/>
                  <a:pt x="974979" y="255295"/>
                  <a:pt x="991622" y="242329"/>
                </a:cubicBezTo>
                <a:lnTo>
                  <a:pt x="1000803" y="236505"/>
                </a:lnTo>
                <a:lnTo>
                  <a:pt x="999806" y="236055"/>
                </a:lnTo>
                <a:cubicBezTo>
                  <a:pt x="1000902" y="234997"/>
                  <a:pt x="1001997" y="233941"/>
                  <a:pt x="1003126" y="232851"/>
                </a:cubicBezTo>
                <a:cubicBezTo>
                  <a:pt x="1012364" y="223880"/>
                  <a:pt x="1021184" y="214752"/>
                  <a:pt x="1029487" y="205052"/>
                </a:cubicBezTo>
                <a:lnTo>
                  <a:pt x="1029872" y="206442"/>
                </a:lnTo>
                <a:lnTo>
                  <a:pt x="1031614" y="203719"/>
                </a:lnTo>
                <a:cubicBezTo>
                  <a:pt x="1033221" y="199204"/>
                  <a:pt x="1035713" y="196017"/>
                  <a:pt x="1038924" y="192280"/>
                </a:cubicBezTo>
                <a:cubicBezTo>
                  <a:pt x="1039956" y="191815"/>
                  <a:pt x="1040987" y="191349"/>
                  <a:pt x="1042049" y="190870"/>
                </a:cubicBezTo>
                <a:cubicBezTo>
                  <a:pt x="1043161" y="188473"/>
                  <a:pt x="1043161" y="188473"/>
                  <a:pt x="1044294" y="186026"/>
                </a:cubicBezTo>
                <a:cubicBezTo>
                  <a:pt x="1046735" y="181006"/>
                  <a:pt x="1046735" y="181006"/>
                  <a:pt x="1051422" y="178188"/>
                </a:cubicBezTo>
                <a:cubicBezTo>
                  <a:pt x="1052553" y="175286"/>
                  <a:pt x="1052553" y="175286"/>
                  <a:pt x="1052984" y="172551"/>
                </a:cubicBezTo>
                <a:cubicBezTo>
                  <a:pt x="1054014" y="172551"/>
                  <a:pt x="1055046" y="172551"/>
                  <a:pt x="1056108" y="172551"/>
                </a:cubicBezTo>
                <a:cubicBezTo>
                  <a:pt x="1057139" y="169295"/>
                  <a:pt x="1058170" y="166040"/>
                  <a:pt x="1059232" y="162686"/>
                </a:cubicBezTo>
                <a:cubicBezTo>
                  <a:pt x="1060263" y="162686"/>
                  <a:pt x="1061295" y="162686"/>
                  <a:pt x="1062357" y="162686"/>
                </a:cubicBezTo>
                <a:cubicBezTo>
                  <a:pt x="1062755" y="161484"/>
                  <a:pt x="1062755" y="161484"/>
                  <a:pt x="1063162" y="160258"/>
                </a:cubicBezTo>
                <a:cubicBezTo>
                  <a:pt x="1065716" y="152917"/>
                  <a:pt x="1068813" y="146686"/>
                  <a:pt x="1073292" y="140138"/>
                </a:cubicBezTo>
                <a:cubicBezTo>
                  <a:pt x="1074322" y="140138"/>
                  <a:pt x="1075353" y="140138"/>
                  <a:pt x="1076415" y="140138"/>
                </a:cubicBezTo>
                <a:cubicBezTo>
                  <a:pt x="1079808" y="132748"/>
                  <a:pt x="1082509" y="125160"/>
                  <a:pt x="1085294" y="117569"/>
                </a:cubicBezTo>
                <a:cubicBezTo>
                  <a:pt x="1085972" y="116181"/>
                  <a:pt x="1086651" y="114793"/>
                  <a:pt x="1087350" y="113363"/>
                </a:cubicBezTo>
                <a:cubicBezTo>
                  <a:pt x="1089671" y="112666"/>
                  <a:pt x="1089671" y="112666"/>
                  <a:pt x="1092037" y="111954"/>
                </a:cubicBezTo>
                <a:cubicBezTo>
                  <a:pt x="1092230" y="110879"/>
                  <a:pt x="1092423" y="109803"/>
                  <a:pt x="1092623" y="108695"/>
                </a:cubicBezTo>
                <a:cubicBezTo>
                  <a:pt x="1093599" y="104908"/>
                  <a:pt x="1093599" y="104908"/>
                  <a:pt x="1096723" y="100680"/>
                </a:cubicBezTo>
                <a:cubicBezTo>
                  <a:pt x="1097207" y="99140"/>
                  <a:pt x="1097689" y="97599"/>
                  <a:pt x="1098188" y="96013"/>
                </a:cubicBezTo>
                <a:cubicBezTo>
                  <a:pt x="1099847" y="90815"/>
                  <a:pt x="1099847" y="90815"/>
                  <a:pt x="1102288" y="87029"/>
                </a:cubicBezTo>
                <a:cubicBezTo>
                  <a:pt x="1106061" y="79186"/>
                  <a:pt x="1107564" y="69424"/>
                  <a:pt x="1104534" y="61222"/>
                </a:cubicBezTo>
                <a:cubicBezTo>
                  <a:pt x="1104409" y="59341"/>
                  <a:pt x="1104366" y="57454"/>
                  <a:pt x="1104381" y="55569"/>
                </a:cubicBezTo>
                <a:cubicBezTo>
                  <a:pt x="1104386" y="54501"/>
                  <a:pt x="1104391" y="53434"/>
                  <a:pt x="1104397" y="52335"/>
                </a:cubicBezTo>
                <a:cubicBezTo>
                  <a:pt x="1104410" y="51228"/>
                  <a:pt x="1104423" y="50120"/>
                  <a:pt x="1104436" y="48979"/>
                </a:cubicBezTo>
                <a:cubicBezTo>
                  <a:pt x="1104443" y="47856"/>
                  <a:pt x="1104451" y="46733"/>
                  <a:pt x="1104457" y="45575"/>
                </a:cubicBezTo>
                <a:cubicBezTo>
                  <a:pt x="1104476" y="42805"/>
                  <a:pt x="1104504" y="40035"/>
                  <a:pt x="1104534" y="37265"/>
                </a:cubicBezTo>
                <a:cubicBezTo>
                  <a:pt x="1105565" y="37265"/>
                  <a:pt x="1106596" y="37265"/>
                  <a:pt x="1107658" y="37265"/>
                </a:cubicBezTo>
                <a:cubicBezTo>
                  <a:pt x="1107561" y="34562"/>
                  <a:pt x="1107561" y="34562"/>
                  <a:pt x="1107463" y="31805"/>
                </a:cubicBezTo>
                <a:cubicBezTo>
                  <a:pt x="1107353" y="28733"/>
                  <a:pt x="1107353" y="28733"/>
                  <a:pt x="1107658" y="25991"/>
                </a:cubicBezTo>
                <a:cubicBezTo>
                  <a:pt x="1108689" y="25062"/>
                  <a:pt x="1109720" y="24131"/>
                  <a:pt x="1110782" y="23173"/>
                </a:cubicBezTo>
                <a:cubicBezTo>
                  <a:pt x="1111104" y="22156"/>
                  <a:pt x="1111427" y="21138"/>
                  <a:pt x="1111759" y="20091"/>
                </a:cubicBezTo>
                <a:cubicBezTo>
                  <a:pt x="1116393" y="11539"/>
                  <a:pt x="1124927" y="6390"/>
                  <a:pt x="1134507" y="2828"/>
                </a:cubicBezTo>
                <a:cubicBezTo>
                  <a:pt x="1141389" y="825"/>
                  <a:pt x="1148262" y="-204"/>
                  <a:pt x="1155019" y="35"/>
                </a:cubicBezTo>
                <a:close/>
              </a:path>
            </a:pathLst>
          </a:custGeom>
          <a:solidFill>
            <a:schemeClr val="accent3"/>
          </a:solidFill>
          <a:ln w="2232" cap="flat">
            <a:noFill/>
            <a:prstDash val="solid"/>
            <a:miter/>
          </a:ln>
          <a:effectLst>
            <a:innerShdw blurRad="63500" dist="190500" dir="8100000">
              <a:schemeClr val="accent3">
                <a:lumMod val="75000"/>
                <a:alpha val="50000"/>
              </a:schemeClr>
            </a:innerShdw>
          </a:effectLst>
        </p:spPr>
        <p:txBody>
          <a:bodyPr wrap="squar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FAFF90ED-C93B-338D-1D3E-2EB50859A395}"/>
              </a:ext>
            </a:extLst>
          </p:cNvPr>
          <p:cNvSpPr/>
          <p:nvPr/>
        </p:nvSpPr>
        <p:spPr>
          <a:xfrm>
            <a:off x="4774764" y="3281506"/>
            <a:ext cx="96793" cy="96793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572D6251-156B-E9C6-73CE-C56D6F4B439C}"/>
              </a:ext>
            </a:extLst>
          </p:cNvPr>
          <p:cNvSpPr/>
          <p:nvPr/>
        </p:nvSpPr>
        <p:spPr>
          <a:xfrm>
            <a:off x="4903976" y="3366258"/>
            <a:ext cx="96793" cy="96793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B159F869-A225-5801-9266-C25943054533}"/>
              </a:ext>
            </a:extLst>
          </p:cNvPr>
          <p:cNvSpPr/>
          <p:nvPr/>
        </p:nvSpPr>
        <p:spPr>
          <a:xfrm>
            <a:off x="4810193" y="3523950"/>
            <a:ext cx="75769" cy="75769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A623E3B3-6C4C-30D9-9CE4-939FED54CA96}"/>
              </a:ext>
            </a:extLst>
          </p:cNvPr>
          <p:cNvSpPr/>
          <p:nvPr/>
        </p:nvSpPr>
        <p:spPr>
          <a:xfrm>
            <a:off x="5012346" y="3506583"/>
            <a:ext cx="96793" cy="96793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8BF8CE9A-7030-2C45-6F17-F73675F8ABEC}"/>
              </a:ext>
            </a:extLst>
          </p:cNvPr>
          <p:cNvSpPr/>
          <p:nvPr/>
        </p:nvSpPr>
        <p:spPr>
          <a:xfrm>
            <a:off x="5043607" y="3305125"/>
            <a:ext cx="65532" cy="65532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" name="Free-form: Shape 10">
            <a:extLst>
              <a:ext uri="{FF2B5EF4-FFF2-40B4-BE49-F238E27FC236}">
                <a16:creationId xmlns:a16="http://schemas.microsoft.com/office/drawing/2014/main" id="{76F021AD-B3DD-84FC-6851-02AB04897714}"/>
              </a:ext>
            </a:extLst>
          </p:cNvPr>
          <p:cNvSpPr/>
          <p:nvPr/>
        </p:nvSpPr>
        <p:spPr>
          <a:xfrm>
            <a:off x="5187612" y="3818791"/>
            <a:ext cx="697225" cy="142291"/>
          </a:xfrm>
          <a:custGeom>
            <a:avLst/>
            <a:gdLst>
              <a:gd name="csX0" fmla="*/ 47178 w 843642"/>
              <a:gd name="csY0" fmla="*/ 0 h 172172"/>
              <a:gd name="csX1" fmla="*/ 843642 w 843642"/>
              <a:gd name="csY1" fmla="*/ 0 h 172172"/>
              <a:gd name="csX2" fmla="*/ 842652 w 843642"/>
              <a:gd name="csY2" fmla="*/ 172172 h 172172"/>
              <a:gd name="csX3" fmla="*/ 0 w 843642"/>
              <a:gd name="csY3" fmla="*/ 172172 h 172172"/>
              <a:gd name="csX4" fmla="*/ 47178 w 843642"/>
              <a:gd name="csY4" fmla="*/ 0 h 17217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843642" h="172172">
                <a:moveTo>
                  <a:pt x="47178" y="0"/>
                </a:moveTo>
                <a:lnTo>
                  <a:pt x="843642" y="0"/>
                </a:lnTo>
                <a:lnTo>
                  <a:pt x="842652" y="172172"/>
                </a:lnTo>
                <a:lnTo>
                  <a:pt x="0" y="172172"/>
                </a:lnTo>
                <a:lnTo>
                  <a:pt x="47178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" name="Free-form: Shape 11">
            <a:extLst>
              <a:ext uri="{FF2B5EF4-FFF2-40B4-BE49-F238E27FC236}">
                <a16:creationId xmlns:a16="http://schemas.microsoft.com/office/drawing/2014/main" id="{1D05E77F-95B3-860A-9D4F-942A5DF514B6}"/>
              </a:ext>
            </a:extLst>
          </p:cNvPr>
          <p:cNvSpPr/>
          <p:nvPr/>
        </p:nvSpPr>
        <p:spPr>
          <a:xfrm>
            <a:off x="4394334" y="3963111"/>
            <a:ext cx="792722" cy="173778"/>
          </a:xfrm>
          <a:custGeom>
            <a:avLst/>
            <a:gdLst>
              <a:gd name="csX0" fmla="*/ 116817 w 959194"/>
              <a:gd name="csY0" fmla="*/ 0 h 210271"/>
              <a:gd name="csX1" fmla="*/ 959194 w 959194"/>
              <a:gd name="csY1" fmla="*/ 0 h 210271"/>
              <a:gd name="csX2" fmla="*/ 901577 w 959194"/>
              <a:gd name="csY2" fmla="*/ 210271 h 210271"/>
              <a:gd name="csX3" fmla="*/ 0 w 959194"/>
              <a:gd name="csY3" fmla="*/ 210271 h 210271"/>
              <a:gd name="csX4" fmla="*/ 116817 w 959194"/>
              <a:gd name="csY4" fmla="*/ 0 h 21027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959194" h="210271">
                <a:moveTo>
                  <a:pt x="116817" y="0"/>
                </a:moveTo>
                <a:lnTo>
                  <a:pt x="959194" y="0"/>
                </a:lnTo>
                <a:lnTo>
                  <a:pt x="901577" y="210271"/>
                </a:lnTo>
                <a:lnTo>
                  <a:pt x="0" y="210271"/>
                </a:lnTo>
                <a:lnTo>
                  <a:pt x="116817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3" name="Free-form: Shape 12">
            <a:extLst>
              <a:ext uri="{FF2B5EF4-FFF2-40B4-BE49-F238E27FC236}">
                <a16:creationId xmlns:a16="http://schemas.microsoft.com/office/drawing/2014/main" id="{E9785462-182B-7DC0-9497-880B5F463EF2}"/>
              </a:ext>
            </a:extLst>
          </p:cNvPr>
          <p:cNvSpPr/>
          <p:nvPr/>
        </p:nvSpPr>
        <p:spPr>
          <a:xfrm>
            <a:off x="5883008" y="3963111"/>
            <a:ext cx="718291" cy="173778"/>
          </a:xfrm>
          <a:custGeom>
            <a:avLst/>
            <a:gdLst>
              <a:gd name="csX0" fmla="*/ 1208 w 869132"/>
              <a:gd name="csY0" fmla="*/ 0 h 210271"/>
              <a:gd name="csX1" fmla="*/ 809226 w 869132"/>
              <a:gd name="csY1" fmla="*/ 0 h 210271"/>
              <a:gd name="csX2" fmla="*/ 869132 w 869132"/>
              <a:gd name="csY2" fmla="*/ 210271 h 210271"/>
              <a:gd name="csX3" fmla="*/ 0 w 869132"/>
              <a:gd name="csY3" fmla="*/ 210271 h 210271"/>
              <a:gd name="csX4" fmla="*/ 1208 w 869132"/>
              <a:gd name="csY4" fmla="*/ 0 h 21027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869132" h="210271">
                <a:moveTo>
                  <a:pt x="1208" y="0"/>
                </a:moveTo>
                <a:lnTo>
                  <a:pt x="809226" y="0"/>
                </a:lnTo>
                <a:lnTo>
                  <a:pt x="869132" y="210271"/>
                </a:lnTo>
                <a:lnTo>
                  <a:pt x="0" y="210271"/>
                </a:lnTo>
                <a:lnTo>
                  <a:pt x="1208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4" name="Free-form: Shape 13">
            <a:extLst>
              <a:ext uri="{FF2B5EF4-FFF2-40B4-BE49-F238E27FC236}">
                <a16:creationId xmlns:a16="http://schemas.microsoft.com/office/drawing/2014/main" id="{0017E1F2-D980-5E74-1141-35603D718ED0}"/>
              </a:ext>
            </a:extLst>
          </p:cNvPr>
          <p:cNvSpPr/>
          <p:nvPr/>
        </p:nvSpPr>
        <p:spPr>
          <a:xfrm>
            <a:off x="5087671" y="4136888"/>
            <a:ext cx="795337" cy="188926"/>
          </a:xfrm>
          <a:custGeom>
            <a:avLst/>
            <a:gdLst>
              <a:gd name="csX0" fmla="*/ 62639 w 962358"/>
              <a:gd name="csY0" fmla="*/ 0 h 228600"/>
              <a:gd name="csX1" fmla="*/ 962358 w 962358"/>
              <a:gd name="csY1" fmla="*/ 0 h 228600"/>
              <a:gd name="csX2" fmla="*/ 961044 w 962358"/>
              <a:gd name="csY2" fmla="*/ 228600 h 228600"/>
              <a:gd name="csX3" fmla="*/ 0 w 962358"/>
              <a:gd name="csY3" fmla="*/ 228600 h 228600"/>
              <a:gd name="csX4" fmla="*/ 62639 w 962358"/>
              <a:gd name="csY4" fmla="*/ 0 h 22860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962358" h="228600">
                <a:moveTo>
                  <a:pt x="62639" y="0"/>
                </a:moveTo>
                <a:lnTo>
                  <a:pt x="962358" y="0"/>
                </a:lnTo>
                <a:lnTo>
                  <a:pt x="961044" y="228600"/>
                </a:lnTo>
                <a:lnTo>
                  <a:pt x="0" y="228600"/>
                </a:lnTo>
                <a:lnTo>
                  <a:pt x="62639" y="0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5" name="Free-form: Shape 14">
            <a:extLst>
              <a:ext uri="{FF2B5EF4-FFF2-40B4-BE49-F238E27FC236}">
                <a16:creationId xmlns:a16="http://schemas.microsoft.com/office/drawing/2014/main" id="{808A953D-8EA6-F7E5-6B3B-14AEE938FDA9}"/>
              </a:ext>
            </a:extLst>
          </p:cNvPr>
          <p:cNvSpPr/>
          <p:nvPr/>
        </p:nvSpPr>
        <p:spPr>
          <a:xfrm>
            <a:off x="6720161" y="4554098"/>
            <a:ext cx="989864" cy="248679"/>
          </a:xfrm>
          <a:custGeom>
            <a:avLst/>
            <a:gdLst>
              <a:gd name="csX0" fmla="*/ 0 w 1197736"/>
              <a:gd name="csY0" fmla="*/ 0 h 300901"/>
              <a:gd name="csX1" fmla="*/ 1030091 w 1197736"/>
              <a:gd name="csY1" fmla="*/ 0 h 300901"/>
              <a:gd name="csX2" fmla="*/ 1197736 w 1197736"/>
              <a:gd name="csY2" fmla="*/ 300901 h 300901"/>
              <a:gd name="csX3" fmla="*/ 85727 w 1197736"/>
              <a:gd name="csY3" fmla="*/ 300901 h 300901"/>
              <a:gd name="csX4" fmla="*/ 0 w 1197736"/>
              <a:gd name="csY4" fmla="*/ 0 h 30090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197736" h="300901">
                <a:moveTo>
                  <a:pt x="0" y="0"/>
                </a:moveTo>
                <a:lnTo>
                  <a:pt x="1030091" y="0"/>
                </a:lnTo>
                <a:lnTo>
                  <a:pt x="1197736" y="300901"/>
                </a:lnTo>
                <a:lnTo>
                  <a:pt x="85727" y="30090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1" name="Free-form: Shape 30">
            <a:extLst>
              <a:ext uri="{FF2B5EF4-FFF2-40B4-BE49-F238E27FC236}">
                <a16:creationId xmlns:a16="http://schemas.microsoft.com/office/drawing/2014/main" id="{C7D74DED-3F8E-6CA4-7979-E4CD73709DCE}"/>
              </a:ext>
            </a:extLst>
          </p:cNvPr>
          <p:cNvSpPr/>
          <p:nvPr/>
        </p:nvSpPr>
        <p:spPr>
          <a:xfrm>
            <a:off x="2974015" y="3963109"/>
            <a:ext cx="859446" cy="173779"/>
          </a:xfrm>
          <a:custGeom>
            <a:avLst/>
            <a:gdLst>
              <a:gd name="csX0" fmla="*/ 239169 w 1039930"/>
              <a:gd name="csY0" fmla="*/ 0 h 210272"/>
              <a:gd name="csX1" fmla="*/ 239170 w 1039930"/>
              <a:gd name="csY1" fmla="*/ 0 h 210272"/>
              <a:gd name="csX2" fmla="*/ 239169 w 1039930"/>
              <a:gd name="csY2" fmla="*/ 1 h 210272"/>
              <a:gd name="csX3" fmla="*/ 1039930 w 1039930"/>
              <a:gd name="csY3" fmla="*/ 1 h 210272"/>
              <a:gd name="csX4" fmla="*/ 864208 w 1039930"/>
              <a:gd name="csY4" fmla="*/ 210272 h 210272"/>
              <a:gd name="csX5" fmla="*/ 0 w 1039930"/>
              <a:gd name="csY5" fmla="*/ 210272 h 210272"/>
              <a:gd name="csX6" fmla="*/ 239169 w 1039930"/>
              <a:gd name="csY6" fmla="*/ 0 h 21027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</a:cxnLst>
            <a:rect l="l" t="t" r="r" b="b"/>
            <a:pathLst>
              <a:path w="1039930" h="210272">
                <a:moveTo>
                  <a:pt x="239169" y="0"/>
                </a:moveTo>
                <a:lnTo>
                  <a:pt x="239170" y="0"/>
                </a:lnTo>
                <a:lnTo>
                  <a:pt x="239169" y="1"/>
                </a:lnTo>
                <a:lnTo>
                  <a:pt x="1039930" y="1"/>
                </a:lnTo>
                <a:lnTo>
                  <a:pt x="864208" y="210272"/>
                </a:lnTo>
                <a:lnTo>
                  <a:pt x="0" y="210272"/>
                </a:lnTo>
                <a:lnTo>
                  <a:pt x="239169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20" name="Free-form: Shape 219">
            <a:extLst>
              <a:ext uri="{FF2B5EF4-FFF2-40B4-BE49-F238E27FC236}">
                <a16:creationId xmlns:a16="http://schemas.microsoft.com/office/drawing/2014/main" id="{D3786423-0596-A30A-E288-34CE33C92600}"/>
              </a:ext>
            </a:extLst>
          </p:cNvPr>
          <p:cNvSpPr/>
          <p:nvPr/>
        </p:nvSpPr>
        <p:spPr>
          <a:xfrm>
            <a:off x="2499470" y="4325814"/>
            <a:ext cx="1030881" cy="228284"/>
          </a:xfrm>
          <a:custGeom>
            <a:avLst/>
            <a:gdLst>
              <a:gd name="csX0" fmla="*/ 314185 w 1247366"/>
              <a:gd name="csY0" fmla="*/ 0 h 276224"/>
              <a:gd name="csX1" fmla="*/ 1247366 w 1247366"/>
              <a:gd name="csY1" fmla="*/ 0 h 276224"/>
              <a:gd name="csX2" fmla="*/ 1016527 w 1247366"/>
              <a:gd name="csY2" fmla="*/ 276224 h 276224"/>
              <a:gd name="csX3" fmla="*/ 0 w 1247366"/>
              <a:gd name="csY3" fmla="*/ 276224 h 276224"/>
              <a:gd name="csX4" fmla="*/ 314185 w 1247366"/>
              <a:gd name="csY4" fmla="*/ 0 h 27622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247366" h="276224">
                <a:moveTo>
                  <a:pt x="314185" y="0"/>
                </a:moveTo>
                <a:lnTo>
                  <a:pt x="1247366" y="0"/>
                </a:lnTo>
                <a:lnTo>
                  <a:pt x="1016527" y="276224"/>
                </a:lnTo>
                <a:lnTo>
                  <a:pt x="0" y="276224"/>
                </a:lnTo>
                <a:lnTo>
                  <a:pt x="314185" y="0"/>
                </a:lnTo>
                <a:close/>
              </a:path>
            </a:pathLst>
          </a:custGeom>
          <a:solidFill>
            <a:srgbClr val="DDE5E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21" name="Free-form: Shape 220">
            <a:extLst>
              <a:ext uri="{FF2B5EF4-FFF2-40B4-BE49-F238E27FC236}">
                <a16:creationId xmlns:a16="http://schemas.microsoft.com/office/drawing/2014/main" id="{8BF97E86-9D10-6A39-AE45-9CB33EA21947}"/>
              </a:ext>
            </a:extLst>
          </p:cNvPr>
          <p:cNvSpPr/>
          <p:nvPr/>
        </p:nvSpPr>
        <p:spPr>
          <a:xfrm>
            <a:off x="3131756" y="4554098"/>
            <a:ext cx="1030793" cy="248679"/>
          </a:xfrm>
          <a:custGeom>
            <a:avLst/>
            <a:gdLst>
              <a:gd name="csX0" fmla="*/ 251461 w 1247260"/>
              <a:gd name="csY0" fmla="*/ 0 h 300901"/>
              <a:gd name="csX1" fmla="*/ 1247260 w 1247260"/>
              <a:gd name="csY1" fmla="*/ 0 h 300901"/>
              <a:gd name="csX2" fmla="*/ 1080093 w 1247260"/>
              <a:gd name="csY2" fmla="*/ 300901 h 300901"/>
              <a:gd name="csX3" fmla="*/ 0 w 1247260"/>
              <a:gd name="csY3" fmla="*/ 300901 h 300901"/>
              <a:gd name="csX4" fmla="*/ 251461 w 1247260"/>
              <a:gd name="csY4" fmla="*/ 0 h 30090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247260" h="300901">
                <a:moveTo>
                  <a:pt x="251461" y="0"/>
                </a:moveTo>
                <a:lnTo>
                  <a:pt x="1247260" y="0"/>
                </a:lnTo>
                <a:lnTo>
                  <a:pt x="1080093" y="300901"/>
                </a:lnTo>
                <a:lnTo>
                  <a:pt x="0" y="300901"/>
                </a:lnTo>
                <a:lnTo>
                  <a:pt x="251461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30" name="Free-form: Shape 229">
            <a:extLst>
              <a:ext uri="{FF2B5EF4-FFF2-40B4-BE49-F238E27FC236}">
                <a16:creationId xmlns:a16="http://schemas.microsoft.com/office/drawing/2014/main" id="{8930A138-B466-1022-B73B-B514D227741D}"/>
              </a:ext>
            </a:extLst>
          </p:cNvPr>
          <p:cNvSpPr/>
          <p:nvPr/>
        </p:nvSpPr>
        <p:spPr>
          <a:xfrm>
            <a:off x="4956978" y="4554098"/>
            <a:ext cx="923632" cy="248679"/>
          </a:xfrm>
          <a:custGeom>
            <a:avLst/>
            <a:gdLst>
              <a:gd name="csX0" fmla="*/ 82451 w 1117595"/>
              <a:gd name="csY0" fmla="*/ 0 h 300902"/>
              <a:gd name="csX1" fmla="*/ 1117595 w 1117595"/>
              <a:gd name="csY1" fmla="*/ 0 h 300902"/>
              <a:gd name="csX2" fmla="*/ 1115866 w 1117595"/>
              <a:gd name="csY2" fmla="*/ 300902 h 300902"/>
              <a:gd name="csX3" fmla="*/ 0 w 1117595"/>
              <a:gd name="csY3" fmla="*/ 300902 h 300902"/>
              <a:gd name="csX4" fmla="*/ 82451 w 1117595"/>
              <a:gd name="csY4" fmla="*/ 0 h 30090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117595" h="300902">
                <a:moveTo>
                  <a:pt x="82451" y="0"/>
                </a:moveTo>
                <a:lnTo>
                  <a:pt x="1117595" y="0"/>
                </a:lnTo>
                <a:lnTo>
                  <a:pt x="1115866" y="300902"/>
                </a:lnTo>
                <a:lnTo>
                  <a:pt x="0" y="300902"/>
                </a:lnTo>
                <a:lnTo>
                  <a:pt x="82451" y="0"/>
                </a:lnTo>
                <a:close/>
              </a:path>
            </a:pathLst>
          </a:custGeom>
          <a:solidFill>
            <a:srgbClr val="DDE5E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31" name="Free-form: Shape 230">
            <a:extLst>
              <a:ext uri="{FF2B5EF4-FFF2-40B4-BE49-F238E27FC236}">
                <a16:creationId xmlns:a16="http://schemas.microsoft.com/office/drawing/2014/main" id="{9F9BCCB3-962D-3D61-7B3A-8E136AAF2009}"/>
              </a:ext>
            </a:extLst>
          </p:cNvPr>
          <p:cNvSpPr/>
          <p:nvPr/>
        </p:nvSpPr>
        <p:spPr>
          <a:xfrm>
            <a:off x="6880727" y="5117685"/>
            <a:ext cx="1225011" cy="395346"/>
          </a:xfrm>
          <a:custGeom>
            <a:avLst/>
            <a:gdLst>
              <a:gd name="csX0" fmla="*/ 0 w 1482263"/>
              <a:gd name="csY0" fmla="*/ 0 h 478368"/>
              <a:gd name="csX1" fmla="*/ 1215744 w 1482263"/>
              <a:gd name="csY1" fmla="*/ 0 h 478368"/>
              <a:gd name="csX2" fmla="*/ 1482263 w 1482263"/>
              <a:gd name="csY2" fmla="*/ 478368 h 478368"/>
              <a:gd name="csX3" fmla="*/ 136287 w 1482263"/>
              <a:gd name="csY3" fmla="*/ 478368 h 478368"/>
              <a:gd name="csX4" fmla="*/ 0 w 1482263"/>
              <a:gd name="csY4" fmla="*/ 0 h 47836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482263" h="478368">
                <a:moveTo>
                  <a:pt x="0" y="0"/>
                </a:moveTo>
                <a:lnTo>
                  <a:pt x="1215744" y="0"/>
                </a:lnTo>
                <a:lnTo>
                  <a:pt x="1482263" y="478368"/>
                </a:lnTo>
                <a:lnTo>
                  <a:pt x="136287" y="478368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33" name="Oval 232">
            <a:extLst>
              <a:ext uri="{FF2B5EF4-FFF2-40B4-BE49-F238E27FC236}">
                <a16:creationId xmlns:a16="http://schemas.microsoft.com/office/drawing/2014/main" id="{A2550737-28D4-0E59-7256-ACC5C4C8ABE8}"/>
              </a:ext>
            </a:extLst>
          </p:cNvPr>
          <p:cNvSpPr/>
          <p:nvPr/>
        </p:nvSpPr>
        <p:spPr>
          <a:xfrm>
            <a:off x="7088991" y="5254985"/>
            <a:ext cx="593138" cy="114548"/>
          </a:xfrm>
          <a:prstGeom prst="ellipse">
            <a:avLst/>
          </a:prstGeom>
          <a:solidFill>
            <a:schemeClr val="tx1">
              <a:alpha val="6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34" name="Free-form: Shape 233">
            <a:extLst>
              <a:ext uri="{FF2B5EF4-FFF2-40B4-BE49-F238E27FC236}">
                <a16:creationId xmlns:a16="http://schemas.microsoft.com/office/drawing/2014/main" id="{403E5881-C95A-DBBC-5DE4-E044FC37B9A8}"/>
              </a:ext>
            </a:extLst>
          </p:cNvPr>
          <p:cNvSpPr/>
          <p:nvPr/>
        </p:nvSpPr>
        <p:spPr>
          <a:xfrm>
            <a:off x="7187657" y="4506269"/>
            <a:ext cx="433137" cy="847024"/>
          </a:xfrm>
          <a:custGeom>
            <a:avLst/>
            <a:gdLst>
              <a:gd name="csX0" fmla="*/ 581793 w 697572"/>
              <a:gd name="csY0" fmla="*/ 1234401 h 1240128"/>
              <a:gd name="csX1" fmla="*/ 577427 w 697572"/>
              <a:gd name="csY1" fmla="*/ 1234156 h 1240128"/>
              <a:gd name="csX2" fmla="*/ 559133 w 697572"/>
              <a:gd name="csY2" fmla="*/ 1230909 h 1240128"/>
              <a:gd name="csX3" fmla="*/ 516706 w 697572"/>
              <a:gd name="csY3" fmla="*/ 1235117 h 1240128"/>
              <a:gd name="csX4" fmla="*/ 475244 w 697572"/>
              <a:gd name="csY4" fmla="*/ 1237506 h 1240128"/>
              <a:gd name="csX5" fmla="*/ 371154 w 697572"/>
              <a:gd name="csY5" fmla="*/ 1239428 h 1240128"/>
              <a:gd name="csX6" fmla="*/ 276813 w 697572"/>
              <a:gd name="csY6" fmla="*/ 1237654 h 1240128"/>
              <a:gd name="csX7" fmla="*/ 268212 w 697572"/>
              <a:gd name="csY7" fmla="*/ 1237635 h 1240128"/>
              <a:gd name="csX8" fmla="*/ 262072 w 697572"/>
              <a:gd name="csY8" fmla="*/ 1237523 h 1240128"/>
              <a:gd name="csX9" fmla="*/ 195111 w 697572"/>
              <a:gd name="csY9" fmla="*/ 1232775 h 1240128"/>
              <a:gd name="csX10" fmla="*/ 145060 w 697572"/>
              <a:gd name="csY10" fmla="*/ 1230076 h 1240128"/>
              <a:gd name="csX11" fmla="*/ 114933 w 697572"/>
              <a:gd name="csY11" fmla="*/ 1225832 h 1240128"/>
              <a:gd name="csX12" fmla="*/ 72642 w 697572"/>
              <a:gd name="csY12" fmla="*/ 1220237 h 1240128"/>
              <a:gd name="csX13" fmla="*/ 10894 w 697572"/>
              <a:gd name="csY13" fmla="*/ 1205737 h 1240128"/>
              <a:gd name="csX14" fmla="*/ 5856 w 697572"/>
              <a:gd name="csY14" fmla="*/ 1202799 h 1240128"/>
              <a:gd name="csX15" fmla="*/ 40 w 697572"/>
              <a:gd name="csY15" fmla="*/ 1174450 h 1240128"/>
              <a:gd name="csX16" fmla="*/ 19831 w 697572"/>
              <a:gd name="csY16" fmla="*/ 1118410 h 1240128"/>
              <a:gd name="csX17" fmla="*/ 22004 w 697572"/>
              <a:gd name="csY17" fmla="*/ 1107240 h 1240128"/>
              <a:gd name="csX18" fmla="*/ 25947 w 697572"/>
              <a:gd name="csY18" fmla="*/ 1038650 h 1240128"/>
              <a:gd name="csX19" fmla="*/ 58234 w 697572"/>
              <a:gd name="csY19" fmla="*/ 988567 h 1240128"/>
              <a:gd name="csX20" fmla="*/ 118645 w 697572"/>
              <a:gd name="csY20" fmla="*/ 928298 h 1240128"/>
              <a:gd name="csX21" fmla="*/ 126320 w 697572"/>
              <a:gd name="csY21" fmla="*/ 892015 h 1240128"/>
              <a:gd name="csX22" fmla="*/ 120345 w 697572"/>
              <a:gd name="csY22" fmla="*/ 872258 h 1240128"/>
              <a:gd name="csX23" fmla="*/ 125668 w 697572"/>
              <a:gd name="csY23" fmla="*/ 861640 h 1240128"/>
              <a:gd name="csX24" fmla="*/ 154237 w 697572"/>
              <a:gd name="csY24" fmla="*/ 850716 h 1240128"/>
              <a:gd name="csX25" fmla="*/ 170248 w 697572"/>
              <a:gd name="csY25" fmla="*/ 836767 h 1240128"/>
              <a:gd name="csX26" fmla="*/ 187840 w 697572"/>
              <a:gd name="csY26" fmla="*/ 796341 h 1240128"/>
              <a:gd name="csX27" fmla="*/ 209346 w 697572"/>
              <a:gd name="csY27" fmla="*/ 743126 h 1240128"/>
              <a:gd name="csX28" fmla="*/ 210630 w 697572"/>
              <a:gd name="csY28" fmla="*/ 737219 h 1240128"/>
              <a:gd name="csX29" fmla="*/ 213836 w 697572"/>
              <a:gd name="csY29" fmla="*/ 720505 h 1240128"/>
              <a:gd name="csX30" fmla="*/ 227791 w 697572"/>
              <a:gd name="csY30" fmla="*/ 667353 h 1240128"/>
              <a:gd name="csX31" fmla="*/ 241013 w 697572"/>
              <a:gd name="csY31" fmla="*/ 599151 h 1240128"/>
              <a:gd name="csX32" fmla="*/ 247322 w 697572"/>
              <a:gd name="csY32" fmla="*/ 542242 h 1240128"/>
              <a:gd name="csX33" fmla="*/ 247948 w 697572"/>
              <a:gd name="csY33" fmla="*/ 499296 h 1240128"/>
              <a:gd name="csX34" fmla="*/ 247577 w 697572"/>
              <a:gd name="csY34" fmla="*/ 470384 h 1240128"/>
              <a:gd name="csX35" fmla="*/ 238877 w 697572"/>
              <a:gd name="csY35" fmla="*/ 460987 h 1240128"/>
              <a:gd name="csX36" fmla="*/ 222040 w 697572"/>
              <a:gd name="csY36" fmla="*/ 458353 h 1240128"/>
              <a:gd name="csX37" fmla="*/ 172193 w 697572"/>
              <a:gd name="csY37" fmla="*/ 433714 h 1240128"/>
              <a:gd name="csX38" fmla="*/ 168410 w 697572"/>
              <a:gd name="csY38" fmla="*/ 396591 h 1240128"/>
              <a:gd name="csX39" fmla="*/ 209826 w 697572"/>
              <a:gd name="csY39" fmla="*/ 367773 h 1240128"/>
              <a:gd name="csX40" fmla="*/ 250732 w 697572"/>
              <a:gd name="csY40" fmla="*/ 355208 h 1240128"/>
              <a:gd name="csX41" fmla="*/ 258289 w 697572"/>
              <a:gd name="csY41" fmla="*/ 350426 h 1240128"/>
              <a:gd name="csX42" fmla="*/ 233274 w 697572"/>
              <a:gd name="csY42" fmla="*/ 333513 h 1240128"/>
              <a:gd name="csX43" fmla="*/ 229677 w 697572"/>
              <a:gd name="csY43" fmla="*/ 333922 h 1240128"/>
              <a:gd name="csX44" fmla="*/ 230149 w 697572"/>
              <a:gd name="csY44" fmla="*/ 332979 h 1240128"/>
              <a:gd name="csX45" fmla="*/ 227053 w 697572"/>
              <a:gd name="csY45" fmla="*/ 327076 h 1240128"/>
              <a:gd name="csX46" fmla="*/ 196769 w 697572"/>
              <a:gd name="csY46" fmla="*/ 291380 h 1240128"/>
              <a:gd name="csX47" fmla="*/ 184389 w 697572"/>
              <a:gd name="csY47" fmla="*/ 264042 h 1240128"/>
              <a:gd name="csX48" fmla="*/ 180630 w 697572"/>
              <a:gd name="csY48" fmla="*/ 257839 h 1240128"/>
              <a:gd name="csX49" fmla="*/ 176231 w 697572"/>
              <a:gd name="csY49" fmla="*/ 250643 h 1240128"/>
              <a:gd name="csX50" fmla="*/ 170073 w 697572"/>
              <a:gd name="csY50" fmla="*/ 146723 h 1240128"/>
              <a:gd name="csX51" fmla="*/ 180929 w 697572"/>
              <a:gd name="csY51" fmla="*/ 114280 h 1240128"/>
              <a:gd name="csX52" fmla="*/ 180839 w 697572"/>
              <a:gd name="csY52" fmla="*/ 101501 h 1240128"/>
              <a:gd name="csX53" fmla="*/ 233536 w 697572"/>
              <a:gd name="csY53" fmla="*/ 39653 h 1240128"/>
              <a:gd name="csX54" fmla="*/ 347618 w 697572"/>
              <a:gd name="csY54" fmla="*/ 35 h 1240128"/>
              <a:gd name="csX55" fmla="*/ 437139 w 697572"/>
              <a:gd name="csY55" fmla="*/ 22396 h 1240128"/>
              <a:gd name="csX56" fmla="*/ 529052 w 697572"/>
              <a:gd name="csY56" fmla="*/ 131093 h 1240128"/>
              <a:gd name="csX57" fmla="*/ 518497 w 697572"/>
              <a:gd name="csY57" fmla="*/ 271517 h 1240128"/>
              <a:gd name="csX58" fmla="*/ 500808 w 697572"/>
              <a:gd name="csY58" fmla="*/ 287385 h 1240128"/>
              <a:gd name="csX59" fmla="*/ 472948 w 697572"/>
              <a:gd name="csY59" fmla="*/ 323290 h 1240128"/>
              <a:gd name="csX60" fmla="*/ 469385 w 697572"/>
              <a:gd name="csY60" fmla="*/ 331565 h 1240128"/>
              <a:gd name="csX61" fmla="*/ 468293 w 697572"/>
              <a:gd name="csY61" fmla="*/ 331320 h 1240128"/>
              <a:gd name="csX62" fmla="*/ 459542 w 697572"/>
              <a:gd name="csY62" fmla="*/ 338942 h 1240128"/>
              <a:gd name="csX63" fmla="*/ 458492 w 697572"/>
              <a:gd name="csY63" fmla="*/ 338671 h 1240128"/>
              <a:gd name="csX64" fmla="*/ 436978 w 697572"/>
              <a:gd name="csY64" fmla="*/ 352226 h 1240128"/>
              <a:gd name="csX65" fmla="*/ 472329 w 697572"/>
              <a:gd name="csY65" fmla="*/ 362890 h 1240128"/>
              <a:gd name="csX66" fmla="*/ 523779 w 697572"/>
              <a:gd name="csY66" fmla="*/ 391962 h 1240128"/>
              <a:gd name="csX67" fmla="*/ 527344 w 697572"/>
              <a:gd name="csY67" fmla="*/ 430096 h 1240128"/>
              <a:gd name="csX68" fmla="*/ 504112 w 697572"/>
              <a:gd name="csY68" fmla="*/ 449628 h 1240128"/>
              <a:gd name="csX69" fmla="*/ 459430 w 697572"/>
              <a:gd name="csY69" fmla="*/ 461116 h 1240128"/>
              <a:gd name="csX70" fmla="*/ 446666 w 697572"/>
              <a:gd name="csY70" fmla="*/ 474229 h 1240128"/>
              <a:gd name="csX71" fmla="*/ 449133 w 697572"/>
              <a:gd name="csY71" fmla="*/ 531639 h 1240128"/>
              <a:gd name="csX72" fmla="*/ 454546 w 697572"/>
              <a:gd name="csY72" fmla="*/ 588688 h 1240128"/>
              <a:gd name="csX73" fmla="*/ 466126 w 697572"/>
              <a:gd name="csY73" fmla="*/ 649736 h 1240128"/>
              <a:gd name="csX74" fmla="*/ 512154 w 697572"/>
              <a:gd name="csY74" fmla="*/ 794006 h 1240128"/>
              <a:gd name="csX75" fmla="*/ 525763 w 697572"/>
              <a:gd name="csY75" fmla="*/ 834323 h 1240128"/>
              <a:gd name="csX76" fmla="*/ 530555 w 697572"/>
              <a:gd name="csY76" fmla="*/ 845114 h 1240128"/>
              <a:gd name="csX77" fmla="*/ 554424 w 697572"/>
              <a:gd name="csY77" fmla="*/ 856618 h 1240128"/>
              <a:gd name="csX78" fmla="*/ 572880 w 697572"/>
              <a:gd name="csY78" fmla="*/ 862546 h 1240128"/>
              <a:gd name="csX79" fmla="*/ 578643 w 697572"/>
              <a:gd name="csY79" fmla="*/ 880396 h 1240128"/>
              <a:gd name="csX80" fmla="*/ 572188 w 697572"/>
              <a:gd name="csY80" fmla="*/ 899820 h 1240128"/>
              <a:gd name="csX81" fmla="*/ 582698 w 697572"/>
              <a:gd name="csY81" fmla="*/ 930382 h 1240128"/>
              <a:gd name="csX82" fmla="*/ 604747 w 697572"/>
              <a:gd name="csY82" fmla="*/ 960852 h 1240128"/>
              <a:gd name="csX83" fmla="*/ 613863 w 697572"/>
              <a:gd name="csY83" fmla="*/ 968311 h 1240128"/>
              <a:gd name="csX84" fmla="*/ 629435 w 697572"/>
              <a:gd name="csY84" fmla="*/ 981186 h 1240128"/>
              <a:gd name="csX85" fmla="*/ 633611 w 697572"/>
              <a:gd name="csY85" fmla="*/ 985609 h 1240128"/>
              <a:gd name="csX86" fmla="*/ 673790 w 697572"/>
              <a:gd name="csY86" fmla="*/ 1049348 h 1240128"/>
              <a:gd name="csX87" fmla="*/ 675873 w 697572"/>
              <a:gd name="csY87" fmla="*/ 1092839 h 1240128"/>
              <a:gd name="csX88" fmla="*/ 681668 w 697572"/>
              <a:gd name="csY88" fmla="*/ 1129292 h 1240128"/>
              <a:gd name="csX89" fmla="*/ 697338 w 697572"/>
              <a:gd name="csY89" fmla="*/ 1196079 h 1240128"/>
              <a:gd name="csX90" fmla="*/ 690637 w 697572"/>
              <a:gd name="csY90" fmla="*/ 1205035 h 1240128"/>
              <a:gd name="csX91" fmla="*/ 639777 w 697572"/>
              <a:gd name="csY91" fmla="*/ 1217994 h 1240128"/>
              <a:gd name="csX92" fmla="*/ 587072 w 697572"/>
              <a:gd name="csY92" fmla="*/ 1227761 h 1240128"/>
              <a:gd name="csX93" fmla="*/ 581793 w 697572"/>
              <a:gd name="csY93" fmla="*/ 1234401 h 1240128"/>
              <a:gd name="csX94" fmla="*/ 357446 w 697572"/>
              <a:gd name="csY94" fmla="*/ 903795 h 1240128"/>
              <a:gd name="csX95" fmla="*/ 344445 w 697572"/>
              <a:gd name="csY95" fmla="*/ 903795 h 1240128"/>
              <a:gd name="csX96" fmla="*/ 349212 w 697572"/>
              <a:gd name="csY96" fmla="*/ 950515 h 1240128"/>
              <a:gd name="csX97" fmla="*/ 349538 w 697572"/>
              <a:gd name="csY97" fmla="*/ 1069392 h 1240128"/>
              <a:gd name="csX98" fmla="*/ 349415 w 697572"/>
              <a:gd name="csY98" fmla="*/ 1108925 h 1240128"/>
              <a:gd name="csX99" fmla="*/ 647726 w 697572"/>
              <a:gd name="csY99" fmla="*/ 1089872 h 1240128"/>
              <a:gd name="csX100" fmla="*/ 647654 w 697572"/>
              <a:gd name="csY100" fmla="*/ 1076267 h 1240128"/>
              <a:gd name="csX101" fmla="*/ 610267 w 697572"/>
              <a:gd name="csY101" fmla="*/ 994126 h 1240128"/>
              <a:gd name="csX102" fmla="*/ 571459 w 697572"/>
              <a:gd name="csY102" fmla="*/ 956568 h 1240128"/>
              <a:gd name="csX103" fmla="*/ 541653 w 697572"/>
              <a:gd name="csY103" fmla="*/ 901544 h 1240128"/>
              <a:gd name="csX104" fmla="*/ 539477 w 697572"/>
              <a:gd name="csY104" fmla="*/ 895908 h 1240128"/>
              <a:gd name="csX105" fmla="*/ 357446 w 697572"/>
              <a:gd name="csY105" fmla="*/ 903795 h 1240128"/>
              <a:gd name="csX106" fmla="*/ 300108 w 697572"/>
              <a:gd name="csY106" fmla="*/ 85260 h 1240128"/>
              <a:gd name="csX107" fmla="*/ 290213 w 697572"/>
              <a:gd name="csY107" fmla="*/ 127888 h 1240128"/>
              <a:gd name="csX108" fmla="*/ 331056 w 697572"/>
              <a:gd name="csY108" fmla="*/ 214168 h 1240128"/>
              <a:gd name="csX109" fmla="*/ 424717 w 697572"/>
              <a:gd name="csY109" fmla="*/ 245160 h 1240128"/>
              <a:gd name="csX110" fmla="*/ 496752 w 697572"/>
              <a:gd name="csY110" fmla="*/ 141256 h 1240128"/>
              <a:gd name="csX111" fmla="*/ 390320 w 697572"/>
              <a:gd name="csY111" fmla="*/ 43995 h 1240128"/>
              <a:gd name="csX112" fmla="*/ 300108 w 697572"/>
              <a:gd name="csY112" fmla="*/ 85260 h 1240128"/>
              <a:gd name="csX113" fmla="*/ 343360 w 697572"/>
              <a:gd name="csY113" fmla="*/ 634332 h 1240128"/>
              <a:gd name="csX114" fmla="*/ 340877 w 697572"/>
              <a:gd name="csY114" fmla="*/ 732259 h 1240128"/>
              <a:gd name="csX115" fmla="*/ 338360 w 697572"/>
              <a:gd name="csY115" fmla="*/ 810538 h 1240128"/>
              <a:gd name="csX116" fmla="*/ 337115 w 697572"/>
              <a:gd name="csY116" fmla="*/ 817736 h 1240128"/>
              <a:gd name="csX117" fmla="*/ 336516 w 697572"/>
              <a:gd name="csY117" fmla="*/ 863022 h 1240128"/>
              <a:gd name="csX118" fmla="*/ 343436 w 697572"/>
              <a:gd name="csY118" fmla="*/ 864027 h 1240128"/>
              <a:gd name="csX119" fmla="*/ 406718 w 697572"/>
              <a:gd name="csY119" fmla="*/ 862982 h 1240128"/>
              <a:gd name="csX120" fmla="*/ 456888 w 697572"/>
              <a:gd name="csY120" fmla="*/ 861794 h 1240128"/>
              <a:gd name="csX121" fmla="*/ 495873 w 697572"/>
              <a:gd name="csY121" fmla="*/ 863963 h 1240128"/>
              <a:gd name="csX122" fmla="*/ 509286 w 697572"/>
              <a:gd name="csY122" fmla="*/ 863595 h 1240128"/>
              <a:gd name="csX123" fmla="*/ 516956 w 697572"/>
              <a:gd name="csY123" fmla="*/ 856791 h 1240128"/>
              <a:gd name="csX124" fmla="*/ 513920 w 697572"/>
              <a:gd name="csY124" fmla="*/ 848709 h 1240128"/>
              <a:gd name="csX125" fmla="*/ 506683 w 697572"/>
              <a:gd name="csY125" fmla="*/ 839054 h 1240128"/>
              <a:gd name="csX126" fmla="*/ 488629 w 697572"/>
              <a:gd name="csY126" fmla="*/ 799037 h 1240128"/>
              <a:gd name="csX127" fmla="*/ 456922 w 697572"/>
              <a:gd name="csY127" fmla="*/ 696297 h 1240128"/>
              <a:gd name="csX128" fmla="*/ 441346 w 697572"/>
              <a:gd name="csY128" fmla="*/ 619885 h 1240128"/>
              <a:gd name="csX129" fmla="*/ 435963 w 697572"/>
              <a:gd name="csY129" fmla="*/ 582529 h 1240128"/>
              <a:gd name="csX130" fmla="*/ 429497 w 697572"/>
              <a:gd name="csY130" fmla="*/ 521990 h 1240128"/>
              <a:gd name="csX131" fmla="*/ 426887 w 697572"/>
              <a:gd name="csY131" fmla="*/ 471989 h 1240128"/>
              <a:gd name="csX132" fmla="*/ 413744 w 697572"/>
              <a:gd name="csY132" fmla="*/ 461077 h 1240128"/>
              <a:gd name="csX133" fmla="*/ 353573 w 697572"/>
              <a:gd name="csY133" fmla="*/ 461120 h 1240128"/>
              <a:gd name="csX134" fmla="*/ 344160 w 697572"/>
              <a:gd name="csY134" fmla="*/ 462286 h 1240128"/>
              <a:gd name="csX135" fmla="*/ 343404 w 697572"/>
              <a:gd name="csY135" fmla="*/ 469192 h 1240128"/>
              <a:gd name="csX136" fmla="*/ 343469 w 697572"/>
              <a:gd name="csY136" fmla="*/ 574797 h 1240128"/>
              <a:gd name="csX137" fmla="*/ 345522 w 697572"/>
              <a:gd name="csY137" fmla="*/ 591669 h 1240128"/>
              <a:gd name="csX138" fmla="*/ 343360 w 697572"/>
              <a:gd name="csY138" fmla="*/ 634332 h 1240128"/>
              <a:gd name="csX139" fmla="*/ 416946 w 697572"/>
              <a:gd name="csY139" fmla="*/ 385943 h 1240128"/>
              <a:gd name="csX140" fmla="*/ 401091 w 697572"/>
              <a:gd name="csY140" fmla="*/ 387162 h 1240128"/>
              <a:gd name="csX141" fmla="*/ 369218 w 697572"/>
              <a:gd name="csY141" fmla="*/ 387708 h 1240128"/>
              <a:gd name="csX142" fmla="*/ 351833 w 697572"/>
              <a:gd name="csY142" fmla="*/ 398991 h 1240128"/>
              <a:gd name="csX143" fmla="*/ 349778 w 697572"/>
              <a:gd name="csY143" fmla="*/ 426021 h 1240128"/>
              <a:gd name="csX144" fmla="*/ 361839 w 697572"/>
              <a:gd name="csY144" fmla="*/ 426538 h 1240128"/>
              <a:gd name="csX145" fmla="*/ 455022 w 697572"/>
              <a:gd name="csY145" fmla="*/ 426922 h 1240128"/>
              <a:gd name="csX146" fmla="*/ 481958 w 697572"/>
              <a:gd name="csY146" fmla="*/ 426527 h 1240128"/>
              <a:gd name="csX147" fmla="*/ 499817 w 697572"/>
              <a:gd name="csY147" fmla="*/ 419888 h 1240128"/>
              <a:gd name="csX148" fmla="*/ 499439 w 697572"/>
              <a:gd name="csY148" fmla="*/ 400719 h 1240128"/>
              <a:gd name="csX149" fmla="*/ 468062 w 697572"/>
              <a:gd name="csY149" fmla="*/ 387775 h 1240128"/>
              <a:gd name="csX150" fmla="*/ 416946 w 697572"/>
              <a:gd name="csY150" fmla="*/ 385943 h 1240128"/>
              <a:gd name="csX151" fmla="*/ 636802 w 697572"/>
              <a:gd name="csY151" fmla="*/ 1190940 h 1240128"/>
              <a:gd name="csX152" fmla="*/ 666492 w 697572"/>
              <a:gd name="csY152" fmla="*/ 1184186 h 1240128"/>
              <a:gd name="csX153" fmla="*/ 674465 w 697572"/>
              <a:gd name="csY153" fmla="*/ 1170880 h 1240128"/>
              <a:gd name="csX154" fmla="*/ 662462 w 697572"/>
              <a:gd name="csY154" fmla="*/ 1141464 h 1240128"/>
              <a:gd name="csX155" fmla="*/ 645564 w 697572"/>
              <a:gd name="csY155" fmla="*/ 1131937 h 1240128"/>
              <a:gd name="csX156" fmla="*/ 627387 w 697572"/>
              <a:gd name="csY156" fmla="*/ 1133618 h 1240128"/>
              <a:gd name="csX157" fmla="*/ 583917 w 697572"/>
              <a:gd name="csY157" fmla="*/ 1139222 h 1240128"/>
              <a:gd name="csX158" fmla="*/ 543741 w 697572"/>
              <a:gd name="csY158" fmla="*/ 1141869 h 1240128"/>
              <a:gd name="csX159" fmla="*/ 512146 w 697572"/>
              <a:gd name="csY159" fmla="*/ 1144418 h 1240128"/>
              <a:gd name="csX160" fmla="*/ 447711 w 697572"/>
              <a:gd name="csY160" fmla="*/ 1148973 h 1240128"/>
              <a:gd name="csX161" fmla="*/ 351979 w 697572"/>
              <a:gd name="csY161" fmla="*/ 1149200 h 1240128"/>
              <a:gd name="csX162" fmla="*/ 338443 w 697572"/>
              <a:gd name="csY162" fmla="*/ 1150040 h 1240128"/>
              <a:gd name="csX163" fmla="*/ 338451 w 697572"/>
              <a:gd name="csY163" fmla="*/ 1190780 h 1240128"/>
              <a:gd name="csX164" fmla="*/ 351082 w 697572"/>
              <a:gd name="csY164" fmla="*/ 1207015 h 1240128"/>
              <a:gd name="csX165" fmla="*/ 358298 w 697572"/>
              <a:gd name="csY165" fmla="*/ 1208094 h 1240128"/>
              <a:gd name="csX166" fmla="*/ 521229 w 697572"/>
              <a:gd name="csY166" fmla="*/ 1205646 h 1240128"/>
              <a:gd name="csX167" fmla="*/ 523675 w 697572"/>
              <a:gd name="csY167" fmla="*/ 1205490 h 1240128"/>
              <a:gd name="csX168" fmla="*/ 580423 w 697572"/>
              <a:gd name="csY168" fmla="*/ 1198350 h 1240128"/>
              <a:gd name="csX169" fmla="*/ 636802 w 697572"/>
              <a:gd name="csY169" fmla="*/ 1190940 h 124012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</a:cxnLst>
            <a:rect l="l" t="t" r="r" b="b"/>
            <a:pathLst>
              <a:path w="697572" h="1240128">
                <a:moveTo>
                  <a:pt x="581793" y="1234401"/>
                </a:moveTo>
                <a:cubicBezTo>
                  <a:pt x="580693" y="1234661"/>
                  <a:pt x="579594" y="1234922"/>
                  <a:pt x="577427" y="1234156"/>
                </a:cubicBezTo>
                <a:cubicBezTo>
                  <a:pt x="571216" y="1227899"/>
                  <a:pt x="564912" y="1230441"/>
                  <a:pt x="559133" y="1230909"/>
                </a:cubicBezTo>
                <a:cubicBezTo>
                  <a:pt x="544971" y="1232056"/>
                  <a:pt x="530869" y="1233971"/>
                  <a:pt x="516706" y="1235117"/>
                </a:cubicBezTo>
                <a:cubicBezTo>
                  <a:pt x="502910" y="1236232"/>
                  <a:pt x="489077" y="1237097"/>
                  <a:pt x="475244" y="1237506"/>
                </a:cubicBezTo>
                <a:cubicBezTo>
                  <a:pt x="440539" y="1238535"/>
                  <a:pt x="405696" y="1241458"/>
                  <a:pt x="371154" y="1239428"/>
                </a:cubicBezTo>
                <a:cubicBezTo>
                  <a:pt x="339645" y="1237575"/>
                  <a:pt x="308239" y="1238753"/>
                  <a:pt x="276813" y="1237654"/>
                </a:cubicBezTo>
                <a:cubicBezTo>
                  <a:pt x="273949" y="1237553"/>
                  <a:pt x="271079" y="1237652"/>
                  <a:pt x="268212" y="1237635"/>
                </a:cubicBezTo>
                <a:cubicBezTo>
                  <a:pt x="266165" y="1237623"/>
                  <a:pt x="264111" y="1237668"/>
                  <a:pt x="262072" y="1237523"/>
                </a:cubicBezTo>
                <a:cubicBezTo>
                  <a:pt x="239751" y="1235944"/>
                  <a:pt x="217441" y="1234201"/>
                  <a:pt x="195111" y="1232775"/>
                </a:cubicBezTo>
                <a:cubicBezTo>
                  <a:pt x="178437" y="1231710"/>
                  <a:pt x="161712" y="1231378"/>
                  <a:pt x="145060" y="1230076"/>
                </a:cubicBezTo>
                <a:cubicBezTo>
                  <a:pt x="134969" y="1229287"/>
                  <a:pt x="124987" y="1227177"/>
                  <a:pt x="114933" y="1225832"/>
                </a:cubicBezTo>
                <a:cubicBezTo>
                  <a:pt x="100834" y="1223946"/>
                  <a:pt x="86554" y="1223022"/>
                  <a:pt x="72642" y="1220237"/>
                </a:cubicBezTo>
                <a:cubicBezTo>
                  <a:pt x="51920" y="1216091"/>
                  <a:pt x="31443" y="1210723"/>
                  <a:pt x="10894" y="1205737"/>
                </a:cubicBezTo>
                <a:cubicBezTo>
                  <a:pt x="9027" y="1205284"/>
                  <a:pt x="6196" y="1204140"/>
                  <a:pt x="5856" y="1202799"/>
                </a:cubicBezTo>
                <a:cubicBezTo>
                  <a:pt x="3474" y="1193418"/>
                  <a:pt x="-438" y="1183796"/>
                  <a:pt x="40" y="1174450"/>
                </a:cubicBezTo>
                <a:cubicBezTo>
                  <a:pt x="1079" y="1154149"/>
                  <a:pt x="9757" y="1135843"/>
                  <a:pt x="19831" y="1118410"/>
                </a:cubicBezTo>
                <a:cubicBezTo>
                  <a:pt x="21968" y="1114713"/>
                  <a:pt x="22970" y="1111858"/>
                  <a:pt x="22004" y="1107240"/>
                </a:cubicBezTo>
                <a:cubicBezTo>
                  <a:pt x="17168" y="1084118"/>
                  <a:pt x="17717" y="1061168"/>
                  <a:pt x="25947" y="1038650"/>
                </a:cubicBezTo>
                <a:cubicBezTo>
                  <a:pt x="32954" y="1019481"/>
                  <a:pt x="44478" y="1003118"/>
                  <a:pt x="58234" y="988567"/>
                </a:cubicBezTo>
                <a:cubicBezTo>
                  <a:pt x="77769" y="967902"/>
                  <a:pt x="97978" y="947832"/>
                  <a:pt x="118645" y="928298"/>
                </a:cubicBezTo>
                <a:cubicBezTo>
                  <a:pt x="130104" y="917467"/>
                  <a:pt x="131835" y="905961"/>
                  <a:pt x="126320" y="892015"/>
                </a:cubicBezTo>
                <a:cubicBezTo>
                  <a:pt x="123798" y="885637"/>
                  <a:pt x="122123" y="878904"/>
                  <a:pt x="120345" y="872258"/>
                </a:cubicBezTo>
                <a:cubicBezTo>
                  <a:pt x="119029" y="867341"/>
                  <a:pt x="120162" y="863613"/>
                  <a:pt x="125668" y="861640"/>
                </a:cubicBezTo>
                <a:cubicBezTo>
                  <a:pt x="135266" y="858201"/>
                  <a:pt x="144535" y="853788"/>
                  <a:pt x="154237" y="850716"/>
                </a:cubicBezTo>
                <a:cubicBezTo>
                  <a:pt x="161882" y="848296"/>
                  <a:pt x="167110" y="843897"/>
                  <a:pt x="170248" y="836767"/>
                </a:cubicBezTo>
                <a:cubicBezTo>
                  <a:pt x="176168" y="823316"/>
                  <a:pt x="182193" y="809907"/>
                  <a:pt x="187840" y="796341"/>
                </a:cubicBezTo>
                <a:cubicBezTo>
                  <a:pt x="195194" y="778679"/>
                  <a:pt x="202250" y="760894"/>
                  <a:pt x="209346" y="743126"/>
                </a:cubicBezTo>
                <a:cubicBezTo>
                  <a:pt x="210083" y="741280"/>
                  <a:pt x="210252" y="739200"/>
                  <a:pt x="210630" y="737219"/>
                </a:cubicBezTo>
                <a:cubicBezTo>
                  <a:pt x="211694" y="731645"/>
                  <a:pt x="212425" y="725987"/>
                  <a:pt x="213836" y="720505"/>
                </a:cubicBezTo>
                <a:cubicBezTo>
                  <a:pt x="218406" y="702764"/>
                  <a:pt x="223811" y="685219"/>
                  <a:pt x="227791" y="667353"/>
                </a:cubicBezTo>
                <a:cubicBezTo>
                  <a:pt x="232826" y="644755"/>
                  <a:pt x="237367" y="622009"/>
                  <a:pt x="241013" y="599151"/>
                </a:cubicBezTo>
                <a:cubicBezTo>
                  <a:pt x="244018" y="580319"/>
                  <a:pt x="246001" y="561272"/>
                  <a:pt x="247322" y="542242"/>
                </a:cubicBezTo>
                <a:cubicBezTo>
                  <a:pt x="248312" y="527975"/>
                  <a:pt x="246344" y="513451"/>
                  <a:pt x="247948" y="499296"/>
                </a:cubicBezTo>
                <a:cubicBezTo>
                  <a:pt x="249066" y="489432"/>
                  <a:pt x="247923" y="480014"/>
                  <a:pt x="247577" y="470384"/>
                </a:cubicBezTo>
                <a:cubicBezTo>
                  <a:pt x="247364" y="464453"/>
                  <a:pt x="245121" y="461397"/>
                  <a:pt x="238877" y="460987"/>
                </a:cubicBezTo>
                <a:cubicBezTo>
                  <a:pt x="233224" y="460615"/>
                  <a:pt x="227461" y="459920"/>
                  <a:pt x="222040" y="458353"/>
                </a:cubicBezTo>
                <a:cubicBezTo>
                  <a:pt x="203991" y="453134"/>
                  <a:pt x="185737" y="448229"/>
                  <a:pt x="172193" y="433714"/>
                </a:cubicBezTo>
                <a:cubicBezTo>
                  <a:pt x="162702" y="423544"/>
                  <a:pt x="160887" y="408134"/>
                  <a:pt x="168410" y="396591"/>
                </a:cubicBezTo>
                <a:cubicBezTo>
                  <a:pt x="178294" y="381428"/>
                  <a:pt x="193736" y="373793"/>
                  <a:pt x="209826" y="367773"/>
                </a:cubicBezTo>
                <a:cubicBezTo>
                  <a:pt x="223159" y="362784"/>
                  <a:pt x="237124" y="359493"/>
                  <a:pt x="250732" y="355208"/>
                </a:cubicBezTo>
                <a:cubicBezTo>
                  <a:pt x="253085" y="354467"/>
                  <a:pt x="255058" y="352518"/>
                  <a:pt x="258289" y="350426"/>
                </a:cubicBezTo>
                <a:cubicBezTo>
                  <a:pt x="250173" y="342610"/>
                  <a:pt x="241833" y="337880"/>
                  <a:pt x="233274" y="333513"/>
                </a:cubicBezTo>
                <a:cubicBezTo>
                  <a:pt x="232377" y="333055"/>
                  <a:pt x="230890" y="333758"/>
                  <a:pt x="229677" y="333922"/>
                </a:cubicBezTo>
                <a:cubicBezTo>
                  <a:pt x="229677" y="333922"/>
                  <a:pt x="230323" y="333834"/>
                  <a:pt x="230149" y="332979"/>
                </a:cubicBezTo>
                <a:cubicBezTo>
                  <a:pt x="229023" y="330409"/>
                  <a:pt x="228502" y="328059"/>
                  <a:pt x="227053" y="327076"/>
                </a:cubicBezTo>
                <a:cubicBezTo>
                  <a:pt x="213615" y="317962"/>
                  <a:pt x="204643" y="305332"/>
                  <a:pt x="196769" y="291380"/>
                </a:cubicBezTo>
                <a:cubicBezTo>
                  <a:pt x="191792" y="282564"/>
                  <a:pt x="185421" y="274665"/>
                  <a:pt x="184389" y="264042"/>
                </a:cubicBezTo>
                <a:cubicBezTo>
                  <a:pt x="184179" y="261874"/>
                  <a:pt x="181925" y="259908"/>
                  <a:pt x="180630" y="257839"/>
                </a:cubicBezTo>
                <a:cubicBezTo>
                  <a:pt x="179137" y="255454"/>
                  <a:pt x="177317" y="253204"/>
                  <a:pt x="176231" y="250643"/>
                </a:cubicBezTo>
                <a:cubicBezTo>
                  <a:pt x="161865" y="216749"/>
                  <a:pt x="159606" y="182060"/>
                  <a:pt x="170073" y="146723"/>
                </a:cubicBezTo>
                <a:cubicBezTo>
                  <a:pt x="173311" y="135795"/>
                  <a:pt x="177248" y="125074"/>
                  <a:pt x="180929" y="114280"/>
                </a:cubicBezTo>
                <a:cubicBezTo>
                  <a:pt x="182396" y="109981"/>
                  <a:pt x="183922" y="105742"/>
                  <a:pt x="180839" y="101501"/>
                </a:cubicBezTo>
                <a:cubicBezTo>
                  <a:pt x="192473" y="75833"/>
                  <a:pt x="211344" y="56271"/>
                  <a:pt x="233536" y="39653"/>
                </a:cubicBezTo>
                <a:cubicBezTo>
                  <a:pt x="267321" y="14353"/>
                  <a:pt x="305621" y="873"/>
                  <a:pt x="347618" y="35"/>
                </a:cubicBezTo>
                <a:cubicBezTo>
                  <a:pt x="379125" y="-593"/>
                  <a:pt x="409214" y="7172"/>
                  <a:pt x="437139" y="22396"/>
                </a:cubicBezTo>
                <a:cubicBezTo>
                  <a:pt x="481844" y="46766"/>
                  <a:pt x="514077" y="82116"/>
                  <a:pt x="529052" y="131093"/>
                </a:cubicBezTo>
                <a:cubicBezTo>
                  <a:pt x="543544" y="178495"/>
                  <a:pt x="541630" y="225548"/>
                  <a:pt x="518497" y="271517"/>
                </a:cubicBezTo>
                <a:cubicBezTo>
                  <a:pt x="511428" y="277096"/>
                  <a:pt x="503848" y="281136"/>
                  <a:pt x="500808" y="287385"/>
                </a:cubicBezTo>
                <a:cubicBezTo>
                  <a:pt x="493932" y="301522"/>
                  <a:pt x="483805" y="312513"/>
                  <a:pt x="472948" y="323290"/>
                </a:cubicBezTo>
                <a:cubicBezTo>
                  <a:pt x="470972" y="325253"/>
                  <a:pt x="470533" y="328767"/>
                  <a:pt x="469385" y="331565"/>
                </a:cubicBezTo>
                <a:cubicBezTo>
                  <a:pt x="469385" y="331565"/>
                  <a:pt x="469172" y="331584"/>
                  <a:pt x="468293" y="331320"/>
                </a:cubicBezTo>
                <a:cubicBezTo>
                  <a:pt x="461937" y="330836"/>
                  <a:pt x="458618" y="332772"/>
                  <a:pt x="459542" y="338942"/>
                </a:cubicBezTo>
                <a:cubicBezTo>
                  <a:pt x="459542" y="338942"/>
                  <a:pt x="459473" y="338913"/>
                  <a:pt x="458492" y="338671"/>
                </a:cubicBezTo>
                <a:cubicBezTo>
                  <a:pt x="450936" y="342653"/>
                  <a:pt x="440712" y="341355"/>
                  <a:pt x="436978" y="352226"/>
                </a:cubicBezTo>
                <a:cubicBezTo>
                  <a:pt x="449178" y="355911"/>
                  <a:pt x="460733" y="359469"/>
                  <a:pt x="472329" y="362890"/>
                </a:cubicBezTo>
                <a:cubicBezTo>
                  <a:pt x="491728" y="368613"/>
                  <a:pt x="510182" y="375784"/>
                  <a:pt x="523779" y="391962"/>
                </a:cubicBezTo>
                <a:cubicBezTo>
                  <a:pt x="535849" y="406326"/>
                  <a:pt x="534845" y="420076"/>
                  <a:pt x="527344" y="430096"/>
                </a:cubicBezTo>
                <a:cubicBezTo>
                  <a:pt x="521323" y="438139"/>
                  <a:pt x="513928" y="445333"/>
                  <a:pt x="504112" y="449628"/>
                </a:cubicBezTo>
                <a:cubicBezTo>
                  <a:pt x="489776" y="455901"/>
                  <a:pt x="475173" y="460486"/>
                  <a:pt x="459430" y="461116"/>
                </a:cubicBezTo>
                <a:cubicBezTo>
                  <a:pt x="448415" y="461557"/>
                  <a:pt x="446384" y="463369"/>
                  <a:pt x="446666" y="474229"/>
                </a:cubicBezTo>
                <a:cubicBezTo>
                  <a:pt x="447164" y="493376"/>
                  <a:pt x="447839" y="512533"/>
                  <a:pt x="449133" y="531639"/>
                </a:cubicBezTo>
                <a:cubicBezTo>
                  <a:pt x="450424" y="550696"/>
                  <a:pt x="451783" y="569809"/>
                  <a:pt x="454546" y="588688"/>
                </a:cubicBezTo>
                <a:cubicBezTo>
                  <a:pt x="457543" y="609164"/>
                  <a:pt x="462165" y="629403"/>
                  <a:pt x="466126" y="649736"/>
                </a:cubicBezTo>
                <a:cubicBezTo>
                  <a:pt x="475845" y="699621"/>
                  <a:pt x="493414" y="746980"/>
                  <a:pt x="512154" y="794006"/>
                </a:cubicBezTo>
                <a:cubicBezTo>
                  <a:pt x="517387" y="807138"/>
                  <a:pt x="525145" y="819463"/>
                  <a:pt x="525763" y="834323"/>
                </a:cubicBezTo>
                <a:cubicBezTo>
                  <a:pt x="525919" y="838081"/>
                  <a:pt x="527739" y="843335"/>
                  <a:pt x="530555" y="845114"/>
                </a:cubicBezTo>
                <a:cubicBezTo>
                  <a:pt x="537981" y="849801"/>
                  <a:pt x="546243" y="853278"/>
                  <a:pt x="554424" y="856618"/>
                </a:cubicBezTo>
                <a:cubicBezTo>
                  <a:pt x="560391" y="859054"/>
                  <a:pt x="567041" y="859887"/>
                  <a:pt x="572880" y="862546"/>
                </a:cubicBezTo>
                <a:cubicBezTo>
                  <a:pt x="581470" y="866458"/>
                  <a:pt x="582467" y="871415"/>
                  <a:pt x="578643" y="880396"/>
                </a:cubicBezTo>
                <a:cubicBezTo>
                  <a:pt x="575969" y="886677"/>
                  <a:pt x="572900" y="893182"/>
                  <a:pt x="572188" y="899820"/>
                </a:cubicBezTo>
                <a:cubicBezTo>
                  <a:pt x="570960" y="911271"/>
                  <a:pt x="576506" y="920944"/>
                  <a:pt x="582698" y="930382"/>
                </a:cubicBezTo>
                <a:cubicBezTo>
                  <a:pt x="589569" y="940856"/>
                  <a:pt x="600933" y="947930"/>
                  <a:pt x="604747" y="960852"/>
                </a:cubicBezTo>
                <a:cubicBezTo>
                  <a:pt x="605684" y="964030"/>
                  <a:pt x="610294" y="967128"/>
                  <a:pt x="613863" y="968311"/>
                </a:cubicBezTo>
                <a:cubicBezTo>
                  <a:pt x="620963" y="970665"/>
                  <a:pt x="625924" y="974774"/>
                  <a:pt x="629435" y="981186"/>
                </a:cubicBezTo>
                <a:cubicBezTo>
                  <a:pt x="630381" y="982913"/>
                  <a:pt x="631977" y="984459"/>
                  <a:pt x="633611" y="985609"/>
                </a:cubicBezTo>
                <a:cubicBezTo>
                  <a:pt x="655878" y="1001272"/>
                  <a:pt x="668032" y="1023762"/>
                  <a:pt x="673790" y="1049348"/>
                </a:cubicBezTo>
                <a:cubicBezTo>
                  <a:pt x="676936" y="1063327"/>
                  <a:pt x="679769" y="1077802"/>
                  <a:pt x="675873" y="1092839"/>
                </a:cubicBezTo>
                <a:cubicBezTo>
                  <a:pt x="672677" y="1105174"/>
                  <a:pt x="673042" y="1116963"/>
                  <a:pt x="681668" y="1129292"/>
                </a:cubicBezTo>
                <a:cubicBezTo>
                  <a:pt x="695321" y="1148802"/>
                  <a:pt x="698550" y="1172235"/>
                  <a:pt x="697338" y="1196079"/>
                </a:cubicBezTo>
                <a:cubicBezTo>
                  <a:pt x="697087" y="1201014"/>
                  <a:pt x="694979" y="1203886"/>
                  <a:pt x="690637" y="1205035"/>
                </a:cubicBezTo>
                <a:cubicBezTo>
                  <a:pt x="673723" y="1209511"/>
                  <a:pt x="656856" y="1214241"/>
                  <a:pt x="639777" y="1217994"/>
                </a:cubicBezTo>
                <a:cubicBezTo>
                  <a:pt x="622334" y="1221827"/>
                  <a:pt x="604691" y="1224790"/>
                  <a:pt x="587072" y="1227761"/>
                </a:cubicBezTo>
                <a:cubicBezTo>
                  <a:pt x="582708" y="1228497"/>
                  <a:pt x="581724" y="1230736"/>
                  <a:pt x="581793" y="1234401"/>
                </a:cubicBezTo>
                <a:moveTo>
                  <a:pt x="357446" y="903795"/>
                </a:moveTo>
                <a:cubicBezTo>
                  <a:pt x="353141" y="903795"/>
                  <a:pt x="348835" y="903795"/>
                  <a:pt x="344445" y="903795"/>
                </a:cubicBezTo>
                <a:cubicBezTo>
                  <a:pt x="346169" y="920562"/>
                  <a:pt x="347908" y="935520"/>
                  <a:pt x="349212" y="950515"/>
                </a:cubicBezTo>
                <a:cubicBezTo>
                  <a:pt x="352656" y="990125"/>
                  <a:pt x="351941" y="1029743"/>
                  <a:pt x="349538" y="1069392"/>
                </a:cubicBezTo>
                <a:cubicBezTo>
                  <a:pt x="348759" y="1082241"/>
                  <a:pt x="349415" y="1095176"/>
                  <a:pt x="349415" y="1108925"/>
                </a:cubicBezTo>
                <a:cubicBezTo>
                  <a:pt x="449467" y="1111953"/>
                  <a:pt x="548509" y="1104712"/>
                  <a:pt x="647726" y="1089872"/>
                </a:cubicBezTo>
                <a:cubicBezTo>
                  <a:pt x="647726" y="1084313"/>
                  <a:pt x="648180" y="1080225"/>
                  <a:pt x="647654" y="1076267"/>
                </a:cubicBezTo>
                <a:cubicBezTo>
                  <a:pt x="643515" y="1045124"/>
                  <a:pt x="633172" y="1016714"/>
                  <a:pt x="610267" y="994126"/>
                </a:cubicBezTo>
                <a:cubicBezTo>
                  <a:pt x="597451" y="981485"/>
                  <a:pt x="584392" y="969090"/>
                  <a:pt x="571459" y="956568"/>
                </a:cubicBezTo>
                <a:cubicBezTo>
                  <a:pt x="555751" y="941359"/>
                  <a:pt x="544836" y="923558"/>
                  <a:pt x="541653" y="901544"/>
                </a:cubicBezTo>
                <a:cubicBezTo>
                  <a:pt x="541430" y="900007"/>
                  <a:pt x="540528" y="898570"/>
                  <a:pt x="539477" y="895908"/>
                </a:cubicBezTo>
                <a:cubicBezTo>
                  <a:pt x="479736" y="901652"/>
                  <a:pt x="419815" y="904536"/>
                  <a:pt x="357446" y="903795"/>
                </a:cubicBezTo>
                <a:moveTo>
                  <a:pt x="300108" y="85260"/>
                </a:moveTo>
                <a:cubicBezTo>
                  <a:pt x="293656" y="98745"/>
                  <a:pt x="289202" y="113094"/>
                  <a:pt x="290213" y="127888"/>
                </a:cubicBezTo>
                <a:cubicBezTo>
                  <a:pt x="292527" y="161736"/>
                  <a:pt x="304185" y="191723"/>
                  <a:pt x="331056" y="214168"/>
                </a:cubicBezTo>
                <a:cubicBezTo>
                  <a:pt x="358172" y="236816"/>
                  <a:pt x="388435" y="249934"/>
                  <a:pt x="424717" y="245160"/>
                </a:cubicBezTo>
                <a:cubicBezTo>
                  <a:pt x="468593" y="239387"/>
                  <a:pt x="509574" y="203365"/>
                  <a:pt x="496752" y="141256"/>
                </a:cubicBezTo>
                <a:cubicBezTo>
                  <a:pt x="487021" y="94124"/>
                  <a:pt x="447261" y="51874"/>
                  <a:pt x="390320" y="43995"/>
                </a:cubicBezTo>
                <a:cubicBezTo>
                  <a:pt x="353241" y="38865"/>
                  <a:pt x="321136" y="48750"/>
                  <a:pt x="300108" y="85260"/>
                </a:cubicBezTo>
                <a:moveTo>
                  <a:pt x="343360" y="634332"/>
                </a:moveTo>
                <a:cubicBezTo>
                  <a:pt x="342539" y="666975"/>
                  <a:pt x="341785" y="699619"/>
                  <a:pt x="340877" y="732259"/>
                </a:cubicBezTo>
                <a:cubicBezTo>
                  <a:pt x="340151" y="758355"/>
                  <a:pt x="339265" y="784447"/>
                  <a:pt x="338360" y="810538"/>
                </a:cubicBezTo>
                <a:cubicBezTo>
                  <a:pt x="338277" y="812948"/>
                  <a:pt x="337465" y="815325"/>
                  <a:pt x="337115" y="817736"/>
                </a:cubicBezTo>
                <a:cubicBezTo>
                  <a:pt x="334935" y="832710"/>
                  <a:pt x="336026" y="847647"/>
                  <a:pt x="336516" y="863022"/>
                </a:cubicBezTo>
                <a:cubicBezTo>
                  <a:pt x="339537" y="863479"/>
                  <a:pt x="341490" y="864053"/>
                  <a:pt x="343436" y="864027"/>
                </a:cubicBezTo>
                <a:cubicBezTo>
                  <a:pt x="364531" y="863739"/>
                  <a:pt x="385626" y="863422"/>
                  <a:pt x="406718" y="862982"/>
                </a:cubicBezTo>
                <a:cubicBezTo>
                  <a:pt x="423444" y="862634"/>
                  <a:pt x="440168" y="861675"/>
                  <a:pt x="456888" y="861794"/>
                </a:cubicBezTo>
                <a:cubicBezTo>
                  <a:pt x="469887" y="861886"/>
                  <a:pt x="482872" y="863302"/>
                  <a:pt x="495873" y="863963"/>
                </a:cubicBezTo>
                <a:cubicBezTo>
                  <a:pt x="500358" y="864191"/>
                  <a:pt x="505108" y="864773"/>
                  <a:pt x="509286" y="863595"/>
                </a:cubicBezTo>
                <a:cubicBezTo>
                  <a:pt x="512346" y="862732"/>
                  <a:pt x="515714" y="859703"/>
                  <a:pt x="516956" y="856791"/>
                </a:cubicBezTo>
                <a:cubicBezTo>
                  <a:pt x="517783" y="854851"/>
                  <a:pt x="515475" y="851192"/>
                  <a:pt x="513920" y="848709"/>
                </a:cubicBezTo>
                <a:cubicBezTo>
                  <a:pt x="511791" y="845308"/>
                  <a:pt x="508393" y="842606"/>
                  <a:pt x="506683" y="839054"/>
                </a:cubicBezTo>
                <a:cubicBezTo>
                  <a:pt x="500331" y="825864"/>
                  <a:pt x="493224" y="812855"/>
                  <a:pt x="488629" y="799037"/>
                </a:cubicBezTo>
                <a:cubicBezTo>
                  <a:pt x="477322" y="765031"/>
                  <a:pt x="466537" y="730814"/>
                  <a:pt x="456922" y="696297"/>
                </a:cubicBezTo>
                <a:cubicBezTo>
                  <a:pt x="449953" y="671276"/>
                  <a:pt x="443477" y="646020"/>
                  <a:pt x="441346" y="619885"/>
                </a:cubicBezTo>
                <a:cubicBezTo>
                  <a:pt x="440327" y="607371"/>
                  <a:pt x="437466" y="595018"/>
                  <a:pt x="435963" y="582529"/>
                </a:cubicBezTo>
                <a:cubicBezTo>
                  <a:pt x="433539" y="562380"/>
                  <a:pt x="431154" y="542212"/>
                  <a:pt x="429497" y="521990"/>
                </a:cubicBezTo>
                <a:cubicBezTo>
                  <a:pt x="428135" y="505363"/>
                  <a:pt x="428437" y="488593"/>
                  <a:pt x="426887" y="471989"/>
                </a:cubicBezTo>
                <a:cubicBezTo>
                  <a:pt x="425874" y="461140"/>
                  <a:pt x="424983" y="461120"/>
                  <a:pt x="413744" y="461077"/>
                </a:cubicBezTo>
                <a:cubicBezTo>
                  <a:pt x="393687" y="461000"/>
                  <a:pt x="373630" y="461011"/>
                  <a:pt x="353573" y="461120"/>
                </a:cubicBezTo>
                <a:cubicBezTo>
                  <a:pt x="350472" y="461137"/>
                  <a:pt x="347374" y="461869"/>
                  <a:pt x="344160" y="462286"/>
                </a:cubicBezTo>
                <a:cubicBezTo>
                  <a:pt x="343828" y="465198"/>
                  <a:pt x="343406" y="467195"/>
                  <a:pt x="343404" y="469192"/>
                </a:cubicBezTo>
                <a:cubicBezTo>
                  <a:pt x="343360" y="504394"/>
                  <a:pt x="343267" y="539596"/>
                  <a:pt x="343469" y="574797"/>
                </a:cubicBezTo>
                <a:cubicBezTo>
                  <a:pt x="343501" y="580426"/>
                  <a:pt x="345652" y="586065"/>
                  <a:pt x="345522" y="591669"/>
                </a:cubicBezTo>
                <a:cubicBezTo>
                  <a:pt x="345214" y="605082"/>
                  <a:pt x="344131" y="618478"/>
                  <a:pt x="343360" y="634332"/>
                </a:cubicBezTo>
                <a:moveTo>
                  <a:pt x="416946" y="385943"/>
                </a:moveTo>
                <a:cubicBezTo>
                  <a:pt x="411661" y="386365"/>
                  <a:pt x="406384" y="387006"/>
                  <a:pt x="401091" y="387162"/>
                </a:cubicBezTo>
                <a:cubicBezTo>
                  <a:pt x="390470" y="387477"/>
                  <a:pt x="379841" y="387447"/>
                  <a:pt x="369218" y="387708"/>
                </a:cubicBezTo>
                <a:cubicBezTo>
                  <a:pt x="361167" y="387906"/>
                  <a:pt x="354429" y="391368"/>
                  <a:pt x="351833" y="398991"/>
                </a:cubicBezTo>
                <a:cubicBezTo>
                  <a:pt x="348989" y="407342"/>
                  <a:pt x="347050" y="416214"/>
                  <a:pt x="349778" y="426021"/>
                </a:cubicBezTo>
                <a:cubicBezTo>
                  <a:pt x="353876" y="426204"/>
                  <a:pt x="357857" y="426517"/>
                  <a:pt x="361839" y="426538"/>
                </a:cubicBezTo>
                <a:cubicBezTo>
                  <a:pt x="392900" y="426701"/>
                  <a:pt x="423961" y="426826"/>
                  <a:pt x="455022" y="426922"/>
                </a:cubicBezTo>
                <a:cubicBezTo>
                  <a:pt x="464013" y="426950"/>
                  <a:pt x="473106" y="427654"/>
                  <a:pt x="481958" y="426527"/>
                </a:cubicBezTo>
                <a:cubicBezTo>
                  <a:pt x="488144" y="425740"/>
                  <a:pt x="494821" y="423501"/>
                  <a:pt x="499817" y="419888"/>
                </a:cubicBezTo>
                <a:cubicBezTo>
                  <a:pt x="507869" y="414066"/>
                  <a:pt x="507286" y="406755"/>
                  <a:pt x="499439" y="400719"/>
                </a:cubicBezTo>
                <a:cubicBezTo>
                  <a:pt x="490179" y="393597"/>
                  <a:pt x="479486" y="388885"/>
                  <a:pt x="468062" y="387775"/>
                </a:cubicBezTo>
                <a:cubicBezTo>
                  <a:pt x="451873" y="386202"/>
                  <a:pt x="435520" y="386321"/>
                  <a:pt x="416946" y="385943"/>
                </a:cubicBezTo>
                <a:moveTo>
                  <a:pt x="636802" y="1190940"/>
                </a:moveTo>
                <a:cubicBezTo>
                  <a:pt x="646709" y="1188723"/>
                  <a:pt x="656705" y="1186841"/>
                  <a:pt x="666492" y="1184186"/>
                </a:cubicBezTo>
                <a:cubicBezTo>
                  <a:pt x="674710" y="1181958"/>
                  <a:pt x="676989" y="1178509"/>
                  <a:pt x="674465" y="1170880"/>
                </a:cubicBezTo>
                <a:cubicBezTo>
                  <a:pt x="671144" y="1160843"/>
                  <a:pt x="667026" y="1151009"/>
                  <a:pt x="662462" y="1141464"/>
                </a:cubicBezTo>
                <a:cubicBezTo>
                  <a:pt x="659273" y="1134795"/>
                  <a:pt x="653671" y="1130908"/>
                  <a:pt x="645564" y="1131937"/>
                </a:cubicBezTo>
                <a:cubicBezTo>
                  <a:pt x="639532" y="1132703"/>
                  <a:pt x="633423" y="1132867"/>
                  <a:pt x="627387" y="1133618"/>
                </a:cubicBezTo>
                <a:cubicBezTo>
                  <a:pt x="612888" y="1135421"/>
                  <a:pt x="598449" y="1137770"/>
                  <a:pt x="583917" y="1139222"/>
                </a:cubicBezTo>
                <a:cubicBezTo>
                  <a:pt x="570571" y="1140557"/>
                  <a:pt x="557130" y="1140930"/>
                  <a:pt x="543741" y="1141869"/>
                </a:cubicBezTo>
                <a:cubicBezTo>
                  <a:pt x="533202" y="1142610"/>
                  <a:pt x="522682" y="1143623"/>
                  <a:pt x="512146" y="1144418"/>
                </a:cubicBezTo>
                <a:cubicBezTo>
                  <a:pt x="490671" y="1146038"/>
                  <a:pt x="469214" y="1148450"/>
                  <a:pt x="447711" y="1148973"/>
                </a:cubicBezTo>
                <a:cubicBezTo>
                  <a:pt x="415817" y="1149749"/>
                  <a:pt x="383891" y="1149136"/>
                  <a:pt x="351979" y="1149200"/>
                </a:cubicBezTo>
                <a:cubicBezTo>
                  <a:pt x="347698" y="1149209"/>
                  <a:pt x="343419" y="1149717"/>
                  <a:pt x="338443" y="1150040"/>
                </a:cubicBezTo>
                <a:cubicBezTo>
                  <a:pt x="338443" y="1164651"/>
                  <a:pt x="338413" y="1177715"/>
                  <a:pt x="338451" y="1190780"/>
                </a:cubicBezTo>
                <a:cubicBezTo>
                  <a:pt x="338490" y="1204031"/>
                  <a:pt x="338512" y="1204062"/>
                  <a:pt x="351082" y="1207015"/>
                </a:cubicBezTo>
                <a:cubicBezTo>
                  <a:pt x="353445" y="1207570"/>
                  <a:pt x="355895" y="1208128"/>
                  <a:pt x="358298" y="1208094"/>
                </a:cubicBezTo>
                <a:cubicBezTo>
                  <a:pt x="412608" y="1207329"/>
                  <a:pt x="466919" y="1206484"/>
                  <a:pt x="521229" y="1205646"/>
                </a:cubicBezTo>
                <a:cubicBezTo>
                  <a:pt x="522045" y="1205634"/>
                  <a:pt x="522865" y="1205591"/>
                  <a:pt x="523675" y="1205490"/>
                </a:cubicBezTo>
                <a:cubicBezTo>
                  <a:pt x="542593" y="1203123"/>
                  <a:pt x="561519" y="1200820"/>
                  <a:pt x="580423" y="1198350"/>
                </a:cubicBezTo>
                <a:cubicBezTo>
                  <a:pt x="598523" y="1195985"/>
                  <a:pt x="616599" y="1193446"/>
                  <a:pt x="636802" y="1190940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35" name="Free-form: Shape 234">
            <a:extLst>
              <a:ext uri="{FF2B5EF4-FFF2-40B4-BE49-F238E27FC236}">
                <a16:creationId xmlns:a16="http://schemas.microsoft.com/office/drawing/2014/main" id="{34D597B5-029E-57C5-9718-77AC04F5040D}"/>
              </a:ext>
            </a:extLst>
          </p:cNvPr>
          <p:cNvSpPr/>
          <p:nvPr/>
        </p:nvSpPr>
        <p:spPr>
          <a:xfrm>
            <a:off x="7439565" y="5354850"/>
            <a:ext cx="17183" cy="1998"/>
          </a:xfrm>
          <a:custGeom>
            <a:avLst/>
            <a:gdLst>
              <a:gd name="csX0" fmla="*/ 0 w 27674"/>
              <a:gd name="csY0" fmla="*/ 2915 h 2925"/>
              <a:gd name="csX1" fmla="*/ 27675 w 27674"/>
              <a:gd name="csY1" fmla="*/ 1550 h 2925"/>
              <a:gd name="csX2" fmla="*/ 0 w 27674"/>
              <a:gd name="csY2" fmla="*/ 2915 h 292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27674" h="2925">
                <a:moveTo>
                  <a:pt x="0" y="2915"/>
                </a:moveTo>
                <a:cubicBezTo>
                  <a:pt x="8211" y="-1939"/>
                  <a:pt x="17625" y="498"/>
                  <a:pt x="27675" y="1550"/>
                </a:cubicBezTo>
                <a:cubicBezTo>
                  <a:pt x="19225" y="2593"/>
                  <a:pt x="10029" y="2999"/>
                  <a:pt x="0" y="2915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36" name="Free-form: Shape 235">
            <a:extLst>
              <a:ext uri="{FF2B5EF4-FFF2-40B4-BE49-F238E27FC236}">
                <a16:creationId xmlns:a16="http://schemas.microsoft.com/office/drawing/2014/main" id="{F646F72F-DB36-A3C8-1326-916A17119E9F}"/>
              </a:ext>
            </a:extLst>
          </p:cNvPr>
          <p:cNvSpPr/>
          <p:nvPr/>
        </p:nvSpPr>
        <p:spPr>
          <a:xfrm>
            <a:off x="7392261" y="5355977"/>
            <a:ext cx="11179" cy="770"/>
          </a:xfrm>
          <a:custGeom>
            <a:avLst/>
            <a:gdLst>
              <a:gd name="csX0" fmla="*/ 0 w 18003"/>
              <a:gd name="csY0" fmla="*/ 1050 h 1128"/>
              <a:gd name="csX1" fmla="*/ 18004 w 18003"/>
              <a:gd name="csY1" fmla="*/ 93 h 1128"/>
              <a:gd name="csX2" fmla="*/ 0 w 18003"/>
              <a:gd name="csY2" fmla="*/ 1050 h 112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8003" h="1128">
                <a:moveTo>
                  <a:pt x="0" y="1050"/>
                </a:moveTo>
                <a:cubicBezTo>
                  <a:pt x="5276" y="182"/>
                  <a:pt x="11306" y="-189"/>
                  <a:pt x="18004" y="93"/>
                </a:cubicBezTo>
                <a:cubicBezTo>
                  <a:pt x="12699" y="1013"/>
                  <a:pt x="6726" y="1280"/>
                  <a:pt x="0" y="1050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37" name="Free-form: Shape 236">
            <a:extLst>
              <a:ext uri="{FF2B5EF4-FFF2-40B4-BE49-F238E27FC236}">
                <a16:creationId xmlns:a16="http://schemas.microsoft.com/office/drawing/2014/main" id="{2CD297FD-0BB2-1250-ACB1-50AD217B97BA}"/>
              </a:ext>
            </a:extLst>
          </p:cNvPr>
          <p:cNvSpPr/>
          <p:nvPr/>
        </p:nvSpPr>
        <p:spPr>
          <a:xfrm>
            <a:off x="7473228" y="4732497"/>
            <a:ext cx="5257" cy="5354"/>
          </a:xfrm>
          <a:custGeom>
            <a:avLst/>
            <a:gdLst>
              <a:gd name="csX0" fmla="*/ 473 w 8466"/>
              <a:gd name="csY0" fmla="*/ 7839 h 7838"/>
              <a:gd name="csX1" fmla="*/ 8466 w 8466"/>
              <a:gd name="csY1" fmla="*/ 61 h 7838"/>
              <a:gd name="csX2" fmla="*/ 473 w 8466"/>
              <a:gd name="csY2" fmla="*/ 7839 h 783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66" h="7838">
                <a:moveTo>
                  <a:pt x="473" y="7839"/>
                </a:moveTo>
                <a:cubicBezTo>
                  <a:pt x="-1298" y="1550"/>
                  <a:pt x="2020" y="-386"/>
                  <a:pt x="8466" y="61"/>
                </a:cubicBezTo>
                <a:cubicBezTo>
                  <a:pt x="6730" y="2845"/>
                  <a:pt x="4026" y="5401"/>
                  <a:pt x="473" y="7839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38" name="Free-form: Shape 237">
            <a:extLst>
              <a:ext uri="{FF2B5EF4-FFF2-40B4-BE49-F238E27FC236}">
                <a16:creationId xmlns:a16="http://schemas.microsoft.com/office/drawing/2014/main" id="{B5AE6FFA-C8F7-B688-3396-1FDDEC8DFC7F}"/>
              </a:ext>
            </a:extLst>
          </p:cNvPr>
          <p:cNvSpPr/>
          <p:nvPr/>
        </p:nvSpPr>
        <p:spPr>
          <a:xfrm>
            <a:off x="7337232" y="5354311"/>
            <a:ext cx="5265" cy="680"/>
          </a:xfrm>
          <a:custGeom>
            <a:avLst/>
            <a:gdLst>
              <a:gd name="csX0" fmla="*/ 0 w 8480"/>
              <a:gd name="csY0" fmla="*/ 896 h 996"/>
              <a:gd name="csX1" fmla="*/ 8480 w 8480"/>
              <a:gd name="csY1" fmla="*/ 110 h 996"/>
              <a:gd name="csX2" fmla="*/ 0 w 8480"/>
              <a:gd name="csY2" fmla="*/ 896 h 99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80" h="996">
                <a:moveTo>
                  <a:pt x="0" y="896"/>
                </a:moveTo>
                <a:cubicBezTo>
                  <a:pt x="2285" y="115"/>
                  <a:pt x="5130" y="-182"/>
                  <a:pt x="8480" y="110"/>
                </a:cubicBezTo>
                <a:cubicBezTo>
                  <a:pt x="6177" y="927"/>
                  <a:pt x="3368" y="1153"/>
                  <a:pt x="0" y="896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39" name="Free-form: Shape 238">
            <a:extLst>
              <a:ext uri="{FF2B5EF4-FFF2-40B4-BE49-F238E27FC236}">
                <a16:creationId xmlns:a16="http://schemas.microsoft.com/office/drawing/2014/main" id="{D7130F39-3429-0817-B50F-0CDE76FA8BD2}"/>
              </a:ext>
            </a:extLst>
          </p:cNvPr>
          <p:cNvSpPr/>
          <p:nvPr/>
        </p:nvSpPr>
        <p:spPr>
          <a:xfrm>
            <a:off x="7623993" y="5325130"/>
            <a:ext cx="763" cy="4547"/>
          </a:xfrm>
          <a:custGeom>
            <a:avLst/>
            <a:gdLst>
              <a:gd name="csX0" fmla="*/ 132 w 1229"/>
              <a:gd name="csY0" fmla="*/ 6659 h 6658"/>
              <a:gd name="csX1" fmla="*/ 1107 w 1229"/>
              <a:gd name="csY1" fmla="*/ 0 h 6658"/>
              <a:gd name="csX2" fmla="*/ 132 w 1229"/>
              <a:gd name="csY2" fmla="*/ 6659 h 665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229" h="6658">
                <a:moveTo>
                  <a:pt x="132" y="6659"/>
                </a:moveTo>
                <a:cubicBezTo>
                  <a:pt x="-219" y="4616"/>
                  <a:pt x="139" y="2560"/>
                  <a:pt x="1107" y="0"/>
                </a:cubicBezTo>
                <a:cubicBezTo>
                  <a:pt x="1425" y="1879"/>
                  <a:pt x="1133" y="4263"/>
                  <a:pt x="132" y="6659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40" name="Free-form: Shape 239">
            <a:extLst>
              <a:ext uri="{FF2B5EF4-FFF2-40B4-BE49-F238E27FC236}">
                <a16:creationId xmlns:a16="http://schemas.microsoft.com/office/drawing/2014/main" id="{4D8937B5-3C2A-4ED6-3F28-0E41F57530DE}"/>
              </a:ext>
            </a:extLst>
          </p:cNvPr>
          <p:cNvSpPr/>
          <p:nvPr/>
        </p:nvSpPr>
        <p:spPr>
          <a:xfrm>
            <a:off x="7556797" y="5347435"/>
            <a:ext cx="2352" cy="932"/>
          </a:xfrm>
          <a:custGeom>
            <a:avLst/>
            <a:gdLst>
              <a:gd name="csX0" fmla="*/ 0 w 3788"/>
              <a:gd name="csY0" fmla="*/ 1364 h 1364"/>
              <a:gd name="csX1" fmla="*/ 3788 w 3788"/>
              <a:gd name="csY1" fmla="*/ 0 h 1364"/>
              <a:gd name="csX2" fmla="*/ 0 w 3788"/>
              <a:gd name="csY2" fmla="*/ 1364 h 136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788" h="1364">
                <a:moveTo>
                  <a:pt x="0" y="1364"/>
                </a:moveTo>
                <a:cubicBezTo>
                  <a:pt x="856" y="517"/>
                  <a:pt x="2126" y="39"/>
                  <a:pt x="3788" y="0"/>
                </a:cubicBezTo>
                <a:cubicBezTo>
                  <a:pt x="2925" y="870"/>
                  <a:pt x="1670" y="1303"/>
                  <a:pt x="0" y="1364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41" name="Free-form: Shape 240">
            <a:extLst>
              <a:ext uri="{FF2B5EF4-FFF2-40B4-BE49-F238E27FC236}">
                <a16:creationId xmlns:a16="http://schemas.microsoft.com/office/drawing/2014/main" id="{F55447B6-DE09-0468-17F5-D3BB2870C77E}"/>
              </a:ext>
            </a:extLst>
          </p:cNvPr>
          <p:cNvSpPr/>
          <p:nvPr/>
        </p:nvSpPr>
        <p:spPr>
          <a:xfrm>
            <a:off x="7285214" y="5351036"/>
            <a:ext cx="2478" cy="566"/>
          </a:xfrm>
          <a:custGeom>
            <a:avLst/>
            <a:gdLst>
              <a:gd name="csX0" fmla="*/ 0 w 3990"/>
              <a:gd name="csY0" fmla="*/ 719 h 829"/>
              <a:gd name="csX1" fmla="*/ 3990 w 3990"/>
              <a:gd name="csY1" fmla="*/ 119 h 829"/>
              <a:gd name="csX2" fmla="*/ 0 w 3990"/>
              <a:gd name="csY2" fmla="*/ 719 h 82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990" h="829">
                <a:moveTo>
                  <a:pt x="0" y="719"/>
                </a:moveTo>
                <a:cubicBezTo>
                  <a:pt x="982" y="66"/>
                  <a:pt x="2323" y="-163"/>
                  <a:pt x="3990" y="119"/>
                </a:cubicBezTo>
                <a:cubicBezTo>
                  <a:pt x="2998" y="800"/>
                  <a:pt x="1678" y="972"/>
                  <a:pt x="0" y="719"/>
                </a:cubicBezTo>
                <a:close/>
              </a:path>
            </a:pathLst>
          </a:custGeom>
          <a:solidFill>
            <a:srgbClr val="959DA0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42" name="Free-form: Shape 241">
            <a:extLst>
              <a:ext uri="{FF2B5EF4-FFF2-40B4-BE49-F238E27FC236}">
                <a16:creationId xmlns:a16="http://schemas.microsoft.com/office/drawing/2014/main" id="{A3BCE718-AA6C-D336-8DD1-8896B5140291}"/>
              </a:ext>
            </a:extLst>
          </p:cNvPr>
          <p:cNvSpPr/>
          <p:nvPr/>
        </p:nvSpPr>
        <p:spPr>
          <a:xfrm>
            <a:off x="7495762" y="5354288"/>
            <a:ext cx="2417" cy="775"/>
          </a:xfrm>
          <a:custGeom>
            <a:avLst/>
            <a:gdLst>
              <a:gd name="csX0" fmla="*/ 0 w 3893"/>
              <a:gd name="csY0" fmla="*/ 1133 h 1135"/>
              <a:gd name="csX1" fmla="*/ 3893 w 3893"/>
              <a:gd name="csY1" fmla="*/ 7 h 1135"/>
              <a:gd name="csX2" fmla="*/ 0 w 3893"/>
              <a:gd name="csY2" fmla="*/ 1133 h 113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893" h="1135">
                <a:moveTo>
                  <a:pt x="0" y="1133"/>
                </a:moveTo>
                <a:cubicBezTo>
                  <a:pt x="902" y="349"/>
                  <a:pt x="2213" y="-60"/>
                  <a:pt x="3893" y="7"/>
                </a:cubicBezTo>
                <a:cubicBezTo>
                  <a:pt x="2978" y="825"/>
                  <a:pt x="1693" y="1167"/>
                  <a:pt x="0" y="1133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43" name="Free-form: Shape 242">
            <a:extLst>
              <a:ext uri="{FF2B5EF4-FFF2-40B4-BE49-F238E27FC236}">
                <a16:creationId xmlns:a16="http://schemas.microsoft.com/office/drawing/2014/main" id="{5DDBD213-FF24-5D16-CA06-538A5DF0F0E7}"/>
              </a:ext>
            </a:extLst>
          </p:cNvPr>
          <p:cNvSpPr/>
          <p:nvPr/>
        </p:nvSpPr>
        <p:spPr>
          <a:xfrm>
            <a:off x="7396166" y="4821156"/>
            <a:ext cx="112588" cy="275447"/>
          </a:xfrm>
          <a:custGeom>
            <a:avLst/>
            <a:gdLst>
              <a:gd name="csX0" fmla="*/ 7554 w 181323"/>
              <a:gd name="csY0" fmla="*/ 172079 h 403282"/>
              <a:gd name="csX1" fmla="*/ 9716 w 181323"/>
              <a:gd name="csY1" fmla="*/ 130641 h 403282"/>
              <a:gd name="csX2" fmla="*/ 7663 w 181323"/>
              <a:gd name="csY2" fmla="*/ 113770 h 403282"/>
              <a:gd name="csX3" fmla="*/ 7598 w 181323"/>
              <a:gd name="csY3" fmla="*/ 8165 h 403282"/>
              <a:gd name="csX4" fmla="*/ 8353 w 181323"/>
              <a:gd name="csY4" fmla="*/ 1259 h 403282"/>
              <a:gd name="csX5" fmla="*/ 17767 w 181323"/>
              <a:gd name="csY5" fmla="*/ 93 h 403282"/>
              <a:gd name="csX6" fmla="*/ 77938 w 181323"/>
              <a:gd name="csY6" fmla="*/ 50 h 403282"/>
              <a:gd name="csX7" fmla="*/ 91081 w 181323"/>
              <a:gd name="csY7" fmla="*/ 10962 h 403282"/>
              <a:gd name="csX8" fmla="*/ 93691 w 181323"/>
              <a:gd name="csY8" fmla="*/ 60963 h 403282"/>
              <a:gd name="csX9" fmla="*/ 100157 w 181323"/>
              <a:gd name="csY9" fmla="*/ 121501 h 403282"/>
              <a:gd name="csX10" fmla="*/ 105540 w 181323"/>
              <a:gd name="csY10" fmla="*/ 158857 h 403282"/>
              <a:gd name="csX11" fmla="*/ 121116 w 181323"/>
              <a:gd name="csY11" fmla="*/ 235269 h 403282"/>
              <a:gd name="csX12" fmla="*/ 152823 w 181323"/>
              <a:gd name="csY12" fmla="*/ 338010 h 403282"/>
              <a:gd name="csX13" fmla="*/ 170877 w 181323"/>
              <a:gd name="csY13" fmla="*/ 378027 h 403282"/>
              <a:gd name="csX14" fmla="*/ 178114 w 181323"/>
              <a:gd name="csY14" fmla="*/ 387682 h 403282"/>
              <a:gd name="csX15" fmla="*/ 181150 w 181323"/>
              <a:gd name="csY15" fmla="*/ 395764 h 403282"/>
              <a:gd name="csX16" fmla="*/ 173480 w 181323"/>
              <a:gd name="csY16" fmla="*/ 402568 h 403282"/>
              <a:gd name="csX17" fmla="*/ 160067 w 181323"/>
              <a:gd name="csY17" fmla="*/ 402936 h 403282"/>
              <a:gd name="csX18" fmla="*/ 121081 w 181323"/>
              <a:gd name="csY18" fmla="*/ 400766 h 403282"/>
              <a:gd name="csX19" fmla="*/ 70912 w 181323"/>
              <a:gd name="csY19" fmla="*/ 401955 h 403282"/>
              <a:gd name="csX20" fmla="*/ 7630 w 181323"/>
              <a:gd name="csY20" fmla="*/ 402999 h 403282"/>
              <a:gd name="csX21" fmla="*/ 710 w 181323"/>
              <a:gd name="csY21" fmla="*/ 401995 h 403282"/>
              <a:gd name="csX22" fmla="*/ 1308 w 181323"/>
              <a:gd name="csY22" fmla="*/ 356708 h 403282"/>
              <a:gd name="csX23" fmla="*/ 2554 w 181323"/>
              <a:gd name="csY23" fmla="*/ 349510 h 403282"/>
              <a:gd name="csX24" fmla="*/ 5071 w 181323"/>
              <a:gd name="csY24" fmla="*/ 271231 h 403282"/>
              <a:gd name="csX25" fmla="*/ 7554 w 181323"/>
              <a:gd name="csY25" fmla="*/ 172079 h 403282"/>
              <a:gd name="csX26" fmla="*/ 98286 w 181323"/>
              <a:gd name="csY26" fmla="*/ 163566 h 403282"/>
              <a:gd name="csX27" fmla="*/ 83497 w 181323"/>
              <a:gd name="csY27" fmla="*/ 8289 h 403282"/>
              <a:gd name="csX28" fmla="*/ 15161 w 181323"/>
              <a:gd name="csY28" fmla="*/ 9148 h 403282"/>
              <a:gd name="csX29" fmla="*/ 15058 w 181323"/>
              <a:gd name="csY29" fmla="*/ 137939 h 403282"/>
              <a:gd name="csX30" fmla="*/ 12252 w 181323"/>
              <a:gd name="csY30" fmla="*/ 266862 h 403282"/>
              <a:gd name="csX31" fmla="*/ 7068 w 181323"/>
              <a:gd name="csY31" fmla="*/ 395996 h 403282"/>
              <a:gd name="csX32" fmla="*/ 171647 w 181323"/>
              <a:gd name="csY32" fmla="*/ 395996 h 403282"/>
              <a:gd name="csX33" fmla="*/ 119950 w 181323"/>
              <a:gd name="csY33" fmla="*/ 259496 h 403282"/>
              <a:gd name="csX34" fmla="*/ 98286 w 181323"/>
              <a:gd name="csY34" fmla="*/ 163566 h 40328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</a:cxnLst>
            <a:rect l="l" t="t" r="r" b="b"/>
            <a:pathLst>
              <a:path w="181323" h="403282">
                <a:moveTo>
                  <a:pt x="7554" y="172079"/>
                </a:moveTo>
                <a:cubicBezTo>
                  <a:pt x="8325" y="157451"/>
                  <a:pt x="9408" y="144055"/>
                  <a:pt x="9716" y="130641"/>
                </a:cubicBezTo>
                <a:cubicBezTo>
                  <a:pt x="9846" y="125037"/>
                  <a:pt x="7695" y="119399"/>
                  <a:pt x="7663" y="113770"/>
                </a:cubicBezTo>
                <a:cubicBezTo>
                  <a:pt x="7461" y="78569"/>
                  <a:pt x="7554" y="43367"/>
                  <a:pt x="7598" y="8165"/>
                </a:cubicBezTo>
                <a:cubicBezTo>
                  <a:pt x="7600" y="6167"/>
                  <a:pt x="8022" y="4170"/>
                  <a:pt x="8353" y="1259"/>
                </a:cubicBezTo>
                <a:cubicBezTo>
                  <a:pt x="11568" y="842"/>
                  <a:pt x="14666" y="109"/>
                  <a:pt x="17767" y="93"/>
                </a:cubicBezTo>
                <a:cubicBezTo>
                  <a:pt x="37824" y="-17"/>
                  <a:pt x="57881" y="-27"/>
                  <a:pt x="77938" y="50"/>
                </a:cubicBezTo>
                <a:cubicBezTo>
                  <a:pt x="89177" y="93"/>
                  <a:pt x="90068" y="113"/>
                  <a:pt x="91081" y="10962"/>
                </a:cubicBezTo>
                <a:cubicBezTo>
                  <a:pt x="92631" y="27565"/>
                  <a:pt x="92329" y="44335"/>
                  <a:pt x="93691" y="60963"/>
                </a:cubicBezTo>
                <a:cubicBezTo>
                  <a:pt x="95348" y="81184"/>
                  <a:pt x="97732" y="101353"/>
                  <a:pt x="100157" y="121501"/>
                </a:cubicBezTo>
                <a:cubicBezTo>
                  <a:pt x="101660" y="133990"/>
                  <a:pt x="104521" y="146343"/>
                  <a:pt x="105540" y="158857"/>
                </a:cubicBezTo>
                <a:cubicBezTo>
                  <a:pt x="107671" y="184993"/>
                  <a:pt x="114147" y="210249"/>
                  <a:pt x="121116" y="235269"/>
                </a:cubicBezTo>
                <a:cubicBezTo>
                  <a:pt x="130731" y="269786"/>
                  <a:pt x="141516" y="304004"/>
                  <a:pt x="152823" y="338010"/>
                </a:cubicBezTo>
                <a:cubicBezTo>
                  <a:pt x="157418" y="351828"/>
                  <a:pt x="164524" y="364837"/>
                  <a:pt x="170877" y="378027"/>
                </a:cubicBezTo>
                <a:cubicBezTo>
                  <a:pt x="172587" y="381579"/>
                  <a:pt x="175985" y="384280"/>
                  <a:pt x="178114" y="387682"/>
                </a:cubicBezTo>
                <a:cubicBezTo>
                  <a:pt x="179669" y="390165"/>
                  <a:pt x="181977" y="393824"/>
                  <a:pt x="181150" y="395764"/>
                </a:cubicBezTo>
                <a:cubicBezTo>
                  <a:pt x="179907" y="398676"/>
                  <a:pt x="176540" y="401705"/>
                  <a:pt x="173480" y="402568"/>
                </a:cubicBezTo>
                <a:cubicBezTo>
                  <a:pt x="169302" y="403746"/>
                  <a:pt x="164551" y="403164"/>
                  <a:pt x="160067" y="402936"/>
                </a:cubicBezTo>
                <a:cubicBezTo>
                  <a:pt x="147066" y="402274"/>
                  <a:pt x="134081" y="400859"/>
                  <a:pt x="121081" y="400766"/>
                </a:cubicBezTo>
                <a:cubicBezTo>
                  <a:pt x="104362" y="400647"/>
                  <a:pt x="87638" y="401607"/>
                  <a:pt x="70912" y="401955"/>
                </a:cubicBezTo>
                <a:cubicBezTo>
                  <a:pt x="49820" y="402394"/>
                  <a:pt x="28725" y="402712"/>
                  <a:pt x="7630" y="402999"/>
                </a:cubicBezTo>
                <a:cubicBezTo>
                  <a:pt x="5684" y="403026"/>
                  <a:pt x="3731" y="402452"/>
                  <a:pt x="710" y="401995"/>
                </a:cubicBezTo>
                <a:cubicBezTo>
                  <a:pt x="219" y="386620"/>
                  <a:pt x="-871" y="371682"/>
                  <a:pt x="1308" y="356708"/>
                </a:cubicBezTo>
                <a:cubicBezTo>
                  <a:pt x="1659" y="354298"/>
                  <a:pt x="2471" y="351920"/>
                  <a:pt x="2554" y="349510"/>
                </a:cubicBezTo>
                <a:cubicBezTo>
                  <a:pt x="3459" y="323419"/>
                  <a:pt x="4345" y="297328"/>
                  <a:pt x="5071" y="271231"/>
                </a:cubicBezTo>
                <a:cubicBezTo>
                  <a:pt x="5979" y="238591"/>
                  <a:pt x="6733" y="205947"/>
                  <a:pt x="7554" y="172079"/>
                </a:cubicBezTo>
                <a:moveTo>
                  <a:pt x="98286" y="163566"/>
                </a:moveTo>
                <a:cubicBezTo>
                  <a:pt x="89288" y="112116"/>
                  <a:pt x="86355" y="60033"/>
                  <a:pt x="83497" y="8289"/>
                </a:cubicBezTo>
                <a:cubicBezTo>
                  <a:pt x="65606" y="5845"/>
                  <a:pt x="24110" y="6470"/>
                  <a:pt x="15161" y="9148"/>
                </a:cubicBezTo>
                <a:cubicBezTo>
                  <a:pt x="15161" y="52045"/>
                  <a:pt x="15527" y="94996"/>
                  <a:pt x="15058" y="137939"/>
                </a:cubicBezTo>
                <a:cubicBezTo>
                  <a:pt x="14587" y="180919"/>
                  <a:pt x="13597" y="223900"/>
                  <a:pt x="12252" y="266862"/>
                </a:cubicBezTo>
                <a:cubicBezTo>
                  <a:pt x="10912" y="309638"/>
                  <a:pt x="8849" y="352391"/>
                  <a:pt x="7068" y="395996"/>
                </a:cubicBezTo>
                <a:cubicBezTo>
                  <a:pt x="62774" y="395996"/>
                  <a:pt x="116821" y="395996"/>
                  <a:pt x="171647" y="395996"/>
                </a:cubicBezTo>
                <a:cubicBezTo>
                  <a:pt x="148550" y="352016"/>
                  <a:pt x="132566" y="306307"/>
                  <a:pt x="119950" y="259496"/>
                </a:cubicBezTo>
                <a:cubicBezTo>
                  <a:pt x="111608" y="228543"/>
                  <a:pt x="105493" y="196989"/>
                  <a:pt x="98286" y="163566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44" name="Free-form: Shape 243">
            <a:extLst>
              <a:ext uri="{FF2B5EF4-FFF2-40B4-BE49-F238E27FC236}">
                <a16:creationId xmlns:a16="http://schemas.microsoft.com/office/drawing/2014/main" id="{702D6FFB-306B-8D19-CB31-CE3367CF1EE8}"/>
              </a:ext>
            </a:extLst>
          </p:cNvPr>
          <p:cNvSpPr/>
          <p:nvPr/>
        </p:nvSpPr>
        <p:spPr>
          <a:xfrm>
            <a:off x="7397797" y="5279286"/>
            <a:ext cx="209255" cy="52128"/>
          </a:xfrm>
          <a:custGeom>
            <a:avLst/>
            <a:gdLst>
              <a:gd name="csX0" fmla="*/ 297312 w 337008"/>
              <a:gd name="csY0" fmla="*/ 59188 h 76321"/>
              <a:gd name="csX1" fmla="*/ 241991 w 337008"/>
              <a:gd name="csY1" fmla="*/ 66577 h 76321"/>
              <a:gd name="csX2" fmla="*/ 185243 w 337008"/>
              <a:gd name="csY2" fmla="*/ 73717 h 76321"/>
              <a:gd name="csX3" fmla="*/ 182797 w 337008"/>
              <a:gd name="csY3" fmla="*/ 73873 h 76321"/>
              <a:gd name="csX4" fmla="*/ 19866 w 337008"/>
              <a:gd name="csY4" fmla="*/ 76320 h 76321"/>
              <a:gd name="csX5" fmla="*/ 12650 w 337008"/>
              <a:gd name="csY5" fmla="*/ 75242 h 76321"/>
              <a:gd name="csX6" fmla="*/ 19 w 337008"/>
              <a:gd name="csY6" fmla="*/ 59006 h 76321"/>
              <a:gd name="csX7" fmla="*/ 11 w 337008"/>
              <a:gd name="csY7" fmla="*/ 18266 h 76321"/>
              <a:gd name="csX8" fmla="*/ 13547 w 337008"/>
              <a:gd name="csY8" fmla="*/ 17427 h 76321"/>
              <a:gd name="csX9" fmla="*/ 109279 w 337008"/>
              <a:gd name="csY9" fmla="*/ 17200 h 76321"/>
              <a:gd name="csX10" fmla="*/ 173714 w 337008"/>
              <a:gd name="csY10" fmla="*/ 12645 h 76321"/>
              <a:gd name="csX11" fmla="*/ 205309 w 337008"/>
              <a:gd name="csY11" fmla="*/ 10096 h 76321"/>
              <a:gd name="csX12" fmla="*/ 245485 w 337008"/>
              <a:gd name="csY12" fmla="*/ 7449 h 76321"/>
              <a:gd name="csX13" fmla="*/ 288955 w 337008"/>
              <a:gd name="csY13" fmla="*/ 1844 h 76321"/>
              <a:gd name="csX14" fmla="*/ 307132 w 337008"/>
              <a:gd name="csY14" fmla="*/ 164 h 76321"/>
              <a:gd name="csX15" fmla="*/ 324030 w 337008"/>
              <a:gd name="csY15" fmla="*/ 9691 h 76321"/>
              <a:gd name="csX16" fmla="*/ 336033 w 337008"/>
              <a:gd name="csY16" fmla="*/ 39107 h 76321"/>
              <a:gd name="csX17" fmla="*/ 328060 w 337008"/>
              <a:gd name="csY17" fmla="*/ 52413 h 76321"/>
              <a:gd name="csX18" fmla="*/ 297312 w 337008"/>
              <a:gd name="csY18" fmla="*/ 59188 h 76321"/>
              <a:gd name="csX19" fmla="*/ 207688 w 337008"/>
              <a:gd name="csY19" fmla="*/ 64284 h 76321"/>
              <a:gd name="csX20" fmla="*/ 330050 w 337008"/>
              <a:gd name="csY20" fmla="*/ 45606 h 76321"/>
              <a:gd name="csX21" fmla="*/ 317356 w 337008"/>
              <a:gd name="csY21" fmla="*/ 11297 h 76321"/>
              <a:gd name="csX22" fmla="*/ 304170 w 337008"/>
              <a:gd name="csY22" fmla="*/ 5545 h 76321"/>
              <a:gd name="csX23" fmla="*/ 273851 w 337008"/>
              <a:gd name="csY23" fmla="*/ 10014 h 76321"/>
              <a:gd name="csX24" fmla="*/ 163935 w 337008"/>
              <a:gd name="csY24" fmla="*/ 20274 h 76321"/>
              <a:gd name="csX25" fmla="*/ 17973 w 337008"/>
              <a:gd name="csY25" fmla="*/ 22950 h 76321"/>
              <a:gd name="csX26" fmla="*/ 7372 w 337008"/>
              <a:gd name="csY26" fmla="*/ 23601 h 76321"/>
              <a:gd name="csX27" fmla="*/ 7372 w 337008"/>
              <a:gd name="csY27" fmla="*/ 67898 h 76321"/>
              <a:gd name="csX28" fmla="*/ 207688 w 337008"/>
              <a:gd name="csY28" fmla="*/ 64284 h 7632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</a:cxnLst>
            <a:rect l="l" t="t" r="r" b="b"/>
            <a:pathLst>
              <a:path w="337008" h="76321">
                <a:moveTo>
                  <a:pt x="297312" y="59188"/>
                </a:moveTo>
                <a:cubicBezTo>
                  <a:pt x="278167" y="61672"/>
                  <a:pt x="260091" y="64212"/>
                  <a:pt x="241991" y="66577"/>
                </a:cubicBezTo>
                <a:cubicBezTo>
                  <a:pt x="223087" y="69047"/>
                  <a:pt x="204161" y="71350"/>
                  <a:pt x="185243" y="73717"/>
                </a:cubicBezTo>
                <a:cubicBezTo>
                  <a:pt x="184433" y="73818"/>
                  <a:pt x="183613" y="73861"/>
                  <a:pt x="182797" y="73873"/>
                </a:cubicBezTo>
                <a:cubicBezTo>
                  <a:pt x="128487" y="74710"/>
                  <a:pt x="74176" y="75556"/>
                  <a:pt x="19866" y="76320"/>
                </a:cubicBezTo>
                <a:cubicBezTo>
                  <a:pt x="17463" y="76354"/>
                  <a:pt x="15013" y="75797"/>
                  <a:pt x="12650" y="75242"/>
                </a:cubicBezTo>
                <a:cubicBezTo>
                  <a:pt x="80" y="72288"/>
                  <a:pt x="58" y="72258"/>
                  <a:pt x="19" y="59006"/>
                </a:cubicBezTo>
                <a:cubicBezTo>
                  <a:pt x="-19" y="45942"/>
                  <a:pt x="11" y="32877"/>
                  <a:pt x="11" y="18266"/>
                </a:cubicBezTo>
                <a:cubicBezTo>
                  <a:pt x="4987" y="17944"/>
                  <a:pt x="9266" y="17435"/>
                  <a:pt x="13547" y="17427"/>
                </a:cubicBezTo>
                <a:cubicBezTo>
                  <a:pt x="45459" y="17362"/>
                  <a:pt x="77385" y="17975"/>
                  <a:pt x="109279" y="17200"/>
                </a:cubicBezTo>
                <a:cubicBezTo>
                  <a:pt x="130782" y="16677"/>
                  <a:pt x="152239" y="14265"/>
                  <a:pt x="173714" y="12645"/>
                </a:cubicBezTo>
                <a:cubicBezTo>
                  <a:pt x="184250" y="11850"/>
                  <a:pt x="194770" y="10836"/>
                  <a:pt x="205309" y="10096"/>
                </a:cubicBezTo>
                <a:cubicBezTo>
                  <a:pt x="218698" y="9156"/>
                  <a:pt x="232139" y="8783"/>
                  <a:pt x="245485" y="7449"/>
                </a:cubicBezTo>
                <a:cubicBezTo>
                  <a:pt x="260017" y="5997"/>
                  <a:pt x="274456" y="3648"/>
                  <a:pt x="288955" y="1844"/>
                </a:cubicBezTo>
                <a:cubicBezTo>
                  <a:pt x="294991" y="1094"/>
                  <a:pt x="301100" y="930"/>
                  <a:pt x="307132" y="164"/>
                </a:cubicBezTo>
                <a:cubicBezTo>
                  <a:pt x="315239" y="-865"/>
                  <a:pt x="320841" y="3022"/>
                  <a:pt x="324030" y="9691"/>
                </a:cubicBezTo>
                <a:cubicBezTo>
                  <a:pt x="328594" y="19236"/>
                  <a:pt x="332712" y="29070"/>
                  <a:pt x="336033" y="39107"/>
                </a:cubicBezTo>
                <a:cubicBezTo>
                  <a:pt x="338557" y="46735"/>
                  <a:pt x="336278" y="50185"/>
                  <a:pt x="328060" y="52413"/>
                </a:cubicBezTo>
                <a:cubicBezTo>
                  <a:pt x="318273" y="55068"/>
                  <a:pt x="308277" y="56950"/>
                  <a:pt x="297312" y="59188"/>
                </a:cubicBezTo>
                <a:moveTo>
                  <a:pt x="207688" y="64284"/>
                </a:moveTo>
                <a:cubicBezTo>
                  <a:pt x="248681" y="60632"/>
                  <a:pt x="289317" y="54812"/>
                  <a:pt x="330050" y="45606"/>
                </a:cubicBezTo>
                <a:cubicBezTo>
                  <a:pt x="327603" y="32443"/>
                  <a:pt x="323777" y="21532"/>
                  <a:pt x="317356" y="11297"/>
                </a:cubicBezTo>
                <a:cubicBezTo>
                  <a:pt x="313908" y="5803"/>
                  <a:pt x="310145" y="4465"/>
                  <a:pt x="304170" y="5545"/>
                </a:cubicBezTo>
                <a:cubicBezTo>
                  <a:pt x="294121" y="7361"/>
                  <a:pt x="284007" y="9006"/>
                  <a:pt x="273851" y="10014"/>
                </a:cubicBezTo>
                <a:cubicBezTo>
                  <a:pt x="237233" y="13650"/>
                  <a:pt x="200632" y="17661"/>
                  <a:pt x="163935" y="20274"/>
                </a:cubicBezTo>
                <a:cubicBezTo>
                  <a:pt x="115360" y="23734"/>
                  <a:pt x="66701" y="25937"/>
                  <a:pt x="17973" y="22950"/>
                </a:cubicBezTo>
                <a:cubicBezTo>
                  <a:pt x="14492" y="22737"/>
                  <a:pt x="10959" y="23361"/>
                  <a:pt x="7372" y="23601"/>
                </a:cubicBezTo>
                <a:cubicBezTo>
                  <a:pt x="7372" y="38609"/>
                  <a:pt x="7372" y="52361"/>
                  <a:pt x="7372" y="67898"/>
                </a:cubicBezTo>
                <a:cubicBezTo>
                  <a:pt x="74001" y="69806"/>
                  <a:pt x="139746" y="71025"/>
                  <a:pt x="207688" y="64284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45" name="Free-form: Shape 244">
            <a:extLst>
              <a:ext uri="{FF2B5EF4-FFF2-40B4-BE49-F238E27FC236}">
                <a16:creationId xmlns:a16="http://schemas.microsoft.com/office/drawing/2014/main" id="{C3627967-856D-0D4A-8313-08918C53BFFB}"/>
              </a:ext>
            </a:extLst>
          </p:cNvPr>
          <p:cNvSpPr/>
          <p:nvPr/>
        </p:nvSpPr>
        <p:spPr>
          <a:xfrm>
            <a:off x="7401530" y="5118187"/>
            <a:ext cx="188426" cy="145956"/>
          </a:xfrm>
          <a:custGeom>
            <a:avLst/>
            <a:gdLst>
              <a:gd name="csX0" fmla="*/ 14160 w 303463"/>
              <a:gd name="csY0" fmla="*/ 7889 h 213695"/>
              <a:gd name="csX1" fmla="*/ 195033 w 303463"/>
              <a:gd name="csY1" fmla="*/ 0 h 213695"/>
              <a:gd name="csX2" fmla="*/ 197208 w 303463"/>
              <a:gd name="csY2" fmla="*/ 5635 h 213695"/>
              <a:gd name="csX3" fmla="*/ 227014 w 303463"/>
              <a:gd name="csY3" fmla="*/ 60660 h 213695"/>
              <a:gd name="csX4" fmla="*/ 265823 w 303463"/>
              <a:gd name="csY4" fmla="*/ 98217 h 213695"/>
              <a:gd name="csX5" fmla="*/ 303210 w 303463"/>
              <a:gd name="csY5" fmla="*/ 180358 h 213695"/>
              <a:gd name="csX6" fmla="*/ 303282 w 303463"/>
              <a:gd name="csY6" fmla="*/ 193964 h 213695"/>
              <a:gd name="csX7" fmla="*/ 4971 w 303463"/>
              <a:gd name="csY7" fmla="*/ 213017 h 213695"/>
              <a:gd name="csX8" fmla="*/ 5093 w 303463"/>
              <a:gd name="csY8" fmla="*/ 173484 h 213695"/>
              <a:gd name="csX9" fmla="*/ 4767 w 303463"/>
              <a:gd name="csY9" fmla="*/ 54607 h 213695"/>
              <a:gd name="csX10" fmla="*/ 0 w 303463"/>
              <a:gd name="csY10" fmla="*/ 7887 h 213695"/>
              <a:gd name="csX11" fmla="*/ 14160 w 303463"/>
              <a:gd name="csY11" fmla="*/ 7889 h 21369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303463" h="213695">
                <a:moveTo>
                  <a:pt x="14160" y="7889"/>
                </a:moveTo>
                <a:cubicBezTo>
                  <a:pt x="75371" y="8627"/>
                  <a:pt x="135292" y="5744"/>
                  <a:pt x="195033" y="0"/>
                </a:cubicBezTo>
                <a:cubicBezTo>
                  <a:pt x="196084" y="2662"/>
                  <a:pt x="196986" y="4099"/>
                  <a:pt x="197208" y="5635"/>
                </a:cubicBezTo>
                <a:cubicBezTo>
                  <a:pt x="200391" y="27650"/>
                  <a:pt x="211307" y="45450"/>
                  <a:pt x="227014" y="60660"/>
                </a:cubicBezTo>
                <a:cubicBezTo>
                  <a:pt x="239947" y="73182"/>
                  <a:pt x="253006" y="85577"/>
                  <a:pt x="265823" y="98217"/>
                </a:cubicBezTo>
                <a:cubicBezTo>
                  <a:pt x="288727" y="120806"/>
                  <a:pt x="299071" y="149215"/>
                  <a:pt x="303210" y="180358"/>
                </a:cubicBezTo>
                <a:cubicBezTo>
                  <a:pt x="303735" y="184317"/>
                  <a:pt x="303282" y="188405"/>
                  <a:pt x="303282" y="193964"/>
                </a:cubicBezTo>
                <a:cubicBezTo>
                  <a:pt x="204065" y="208804"/>
                  <a:pt x="105022" y="216044"/>
                  <a:pt x="4971" y="213017"/>
                </a:cubicBezTo>
                <a:cubicBezTo>
                  <a:pt x="4971" y="199268"/>
                  <a:pt x="4314" y="186332"/>
                  <a:pt x="5093" y="173484"/>
                </a:cubicBezTo>
                <a:cubicBezTo>
                  <a:pt x="7497" y="133835"/>
                  <a:pt x="8211" y="94216"/>
                  <a:pt x="4767" y="54607"/>
                </a:cubicBezTo>
                <a:cubicBezTo>
                  <a:pt x="3464" y="39611"/>
                  <a:pt x="1725" y="24653"/>
                  <a:pt x="0" y="7887"/>
                </a:cubicBezTo>
                <a:cubicBezTo>
                  <a:pt x="4390" y="7887"/>
                  <a:pt x="8696" y="7887"/>
                  <a:pt x="14160" y="7889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54" name="Free-form: Shape 253">
            <a:extLst>
              <a:ext uri="{FF2B5EF4-FFF2-40B4-BE49-F238E27FC236}">
                <a16:creationId xmlns:a16="http://schemas.microsoft.com/office/drawing/2014/main" id="{2F6A3E07-EB42-E724-9D29-2CB519E8AC50}"/>
              </a:ext>
            </a:extLst>
          </p:cNvPr>
          <p:cNvSpPr/>
          <p:nvPr/>
        </p:nvSpPr>
        <p:spPr>
          <a:xfrm>
            <a:off x="7367768" y="4535454"/>
            <a:ext cx="129814" cy="138929"/>
          </a:xfrm>
          <a:custGeom>
            <a:avLst/>
            <a:gdLst>
              <a:gd name="csX0" fmla="*/ 10475 w 209067"/>
              <a:gd name="csY0" fmla="*/ 41718 h 203406"/>
              <a:gd name="csX1" fmla="*/ 100250 w 209067"/>
              <a:gd name="csY1" fmla="*/ 1265 h 203406"/>
              <a:gd name="csX2" fmla="*/ 206681 w 209067"/>
              <a:gd name="csY2" fmla="*/ 98526 h 203406"/>
              <a:gd name="csX3" fmla="*/ 134647 w 209067"/>
              <a:gd name="csY3" fmla="*/ 202431 h 203406"/>
              <a:gd name="csX4" fmla="*/ 40986 w 209067"/>
              <a:gd name="csY4" fmla="*/ 171438 h 203406"/>
              <a:gd name="csX5" fmla="*/ 143 w 209067"/>
              <a:gd name="csY5" fmla="*/ 85158 h 203406"/>
              <a:gd name="csX6" fmla="*/ 10475 w 209067"/>
              <a:gd name="csY6" fmla="*/ 41718 h 20340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</a:cxnLst>
            <a:rect l="l" t="t" r="r" b="b"/>
            <a:pathLst>
              <a:path w="209067" h="203406">
                <a:moveTo>
                  <a:pt x="10475" y="41718"/>
                </a:moveTo>
                <a:cubicBezTo>
                  <a:pt x="31065" y="6021"/>
                  <a:pt x="63171" y="-3865"/>
                  <a:pt x="100250" y="1265"/>
                </a:cubicBezTo>
                <a:cubicBezTo>
                  <a:pt x="157191" y="9144"/>
                  <a:pt x="196951" y="51394"/>
                  <a:pt x="206681" y="98526"/>
                </a:cubicBezTo>
                <a:cubicBezTo>
                  <a:pt x="219504" y="160635"/>
                  <a:pt x="178523" y="196657"/>
                  <a:pt x="134647" y="202431"/>
                </a:cubicBezTo>
                <a:cubicBezTo>
                  <a:pt x="98365" y="207204"/>
                  <a:pt x="68101" y="194086"/>
                  <a:pt x="40986" y="171438"/>
                </a:cubicBezTo>
                <a:cubicBezTo>
                  <a:pt x="14115" y="148994"/>
                  <a:pt x="2457" y="119007"/>
                  <a:pt x="143" y="85158"/>
                </a:cubicBezTo>
                <a:cubicBezTo>
                  <a:pt x="-869" y="70364"/>
                  <a:pt x="3586" y="56015"/>
                  <a:pt x="10475" y="41718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59" name="Free-form: Shape 258">
            <a:extLst>
              <a:ext uri="{FF2B5EF4-FFF2-40B4-BE49-F238E27FC236}">
                <a16:creationId xmlns:a16="http://schemas.microsoft.com/office/drawing/2014/main" id="{31B4AFDE-EAF6-69D0-FABB-7A00276AFE2A}"/>
              </a:ext>
            </a:extLst>
          </p:cNvPr>
          <p:cNvSpPr/>
          <p:nvPr/>
        </p:nvSpPr>
        <p:spPr>
          <a:xfrm>
            <a:off x="7404027" y="4769796"/>
            <a:ext cx="97564" cy="28232"/>
          </a:xfrm>
          <a:custGeom>
            <a:avLst/>
            <a:gdLst>
              <a:gd name="csX0" fmla="*/ 69625 w 157129"/>
              <a:gd name="csY0" fmla="*/ 0 h 41334"/>
              <a:gd name="csX1" fmla="*/ 119596 w 157129"/>
              <a:gd name="csY1" fmla="*/ 1945 h 41334"/>
              <a:gd name="csX2" fmla="*/ 150973 w 157129"/>
              <a:gd name="csY2" fmla="*/ 14889 h 41334"/>
              <a:gd name="csX3" fmla="*/ 151351 w 157129"/>
              <a:gd name="csY3" fmla="*/ 34058 h 41334"/>
              <a:gd name="csX4" fmla="*/ 133492 w 157129"/>
              <a:gd name="csY4" fmla="*/ 40697 h 41334"/>
              <a:gd name="csX5" fmla="*/ 106556 w 157129"/>
              <a:gd name="csY5" fmla="*/ 41092 h 41334"/>
              <a:gd name="csX6" fmla="*/ 13373 w 157129"/>
              <a:gd name="csY6" fmla="*/ 40708 h 41334"/>
              <a:gd name="csX7" fmla="*/ 1312 w 157129"/>
              <a:gd name="csY7" fmla="*/ 40191 h 41334"/>
              <a:gd name="csX8" fmla="*/ 3367 w 157129"/>
              <a:gd name="csY8" fmla="*/ 13162 h 41334"/>
              <a:gd name="csX9" fmla="*/ 20752 w 157129"/>
              <a:gd name="csY9" fmla="*/ 1879 h 41334"/>
              <a:gd name="csX10" fmla="*/ 52625 w 157129"/>
              <a:gd name="csY10" fmla="*/ 1332 h 41334"/>
              <a:gd name="csX11" fmla="*/ 69625 w 157129"/>
              <a:gd name="csY11" fmla="*/ 0 h 4133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157129" h="41334">
                <a:moveTo>
                  <a:pt x="69625" y="0"/>
                </a:moveTo>
                <a:cubicBezTo>
                  <a:pt x="87054" y="491"/>
                  <a:pt x="103407" y="373"/>
                  <a:pt x="119596" y="1945"/>
                </a:cubicBezTo>
                <a:cubicBezTo>
                  <a:pt x="131020" y="3055"/>
                  <a:pt x="141713" y="7767"/>
                  <a:pt x="150973" y="14889"/>
                </a:cubicBezTo>
                <a:cubicBezTo>
                  <a:pt x="158820" y="20925"/>
                  <a:pt x="159403" y="28236"/>
                  <a:pt x="151351" y="34058"/>
                </a:cubicBezTo>
                <a:cubicBezTo>
                  <a:pt x="146355" y="37671"/>
                  <a:pt x="139678" y="39910"/>
                  <a:pt x="133492" y="40697"/>
                </a:cubicBezTo>
                <a:cubicBezTo>
                  <a:pt x="124640" y="41824"/>
                  <a:pt x="115547" y="41120"/>
                  <a:pt x="106556" y="41092"/>
                </a:cubicBezTo>
                <a:cubicBezTo>
                  <a:pt x="75495" y="40996"/>
                  <a:pt x="44434" y="40872"/>
                  <a:pt x="13373" y="40708"/>
                </a:cubicBezTo>
                <a:cubicBezTo>
                  <a:pt x="9391" y="40687"/>
                  <a:pt x="5410" y="40374"/>
                  <a:pt x="1312" y="40191"/>
                </a:cubicBezTo>
                <a:cubicBezTo>
                  <a:pt x="-1416" y="30384"/>
                  <a:pt x="523" y="21512"/>
                  <a:pt x="3367" y="13162"/>
                </a:cubicBezTo>
                <a:cubicBezTo>
                  <a:pt x="5963" y="5538"/>
                  <a:pt x="12701" y="2077"/>
                  <a:pt x="20752" y="1879"/>
                </a:cubicBezTo>
                <a:cubicBezTo>
                  <a:pt x="31375" y="1617"/>
                  <a:pt x="42004" y="1647"/>
                  <a:pt x="52625" y="1332"/>
                </a:cubicBezTo>
                <a:cubicBezTo>
                  <a:pt x="57918" y="1176"/>
                  <a:pt x="63195" y="535"/>
                  <a:pt x="69625" y="0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60" name="Free-form: Shape 259">
            <a:extLst>
              <a:ext uri="{FF2B5EF4-FFF2-40B4-BE49-F238E27FC236}">
                <a16:creationId xmlns:a16="http://schemas.microsoft.com/office/drawing/2014/main" id="{7B0B6C65-5E78-A678-2999-1AD86DD26C77}"/>
              </a:ext>
            </a:extLst>
          </p:cNvPr>
          <p:cNvSpPr/>
          <p:nvPr/>
        </p:nvSpPr>
        <p:spPr>
          <a:xfrm>
            <a:off x="7400555" y="4825773"/>
            <a:ext cx="102191" cy="265855"/>
          </a:xfrm>
          <a:custGeom>
            <a:avLst/>
            <a:gdLst>
              <a:gd name="csX0" fmla="*/ 91265 w 164579"/>
              <a:gd name="csY0" fmla="*/ 157878 h 389238"/>
              <a:gd name="csX1" fmla="*/ 112882 w 164579"/>
              <a:gd name="csY1" fmla="*/ 252738 h 389238"/>
              <a:gd name="csX2" fmla="*/ 164579 w 164579"/>
              <a:gd name="csY2" fmla="*/ 389238 h 389238"/>
              <a:gd name="csX3" fmla="*/ 0 w 164579"/>
              <a:gd name="csY3" fmla="*/ 389238 h 389238"/>
              <a:gd name="csX4" fmla="*/ 5184 w 164579"/>
              <a:gd name="csY4" fmla="*/ 260105 h 389238"/>
              <a:gd name="csX5" fmla="*/ 7989 w 164579"/>
              <a:gd name="csY5" fmla="*/ 131182 h 389238"/>
              <a:gd name="csX6" fmla="*/ 8093 w 164579"/>
              <a:gd name="csY6" fmla="*/ 2390 h 389238"/>
              <a:gd name="csX7" fmla="*/ 76429 w 164579"/>
              <a:gd name="csY7" fmla="*/ 1531 h 389238"/>
              <a:gd name="csX8" fmla="*/ 91265 w 164579"/>
              <a:gd name="csY8" fmla="*/ 157878 h 38923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</a:cxnLst>
            <a:rect l="l" t="t" r="r" b="b"/>
            <a:pathLst>
              <a:path w="164579" h="389238">
                <a:moveTo>
                  <a:pt x="91265" y="157878"/>
                </a:moveTo>
                <a:cubicBezTo>
                  <a:pt x="98425" y="190232"/>
                  <a:pt x="104539" y="221785"/>
                  <a:pt x="112882" y="252738"/>
                </a:cubicBezTo>
                <a:cubicBezTo>
                  <a:pt x="125498" y="299549"/>
                  <a:pt x="141482" y="345258"/>
                  <a:pt x="164579" y="389238"/>
                </a:cubicBezTo>
                <a:cubicBezTo>
                  <a:pt x="109753" y="389238"/>
                  <a:pt x="55706" y="389238"/>
                  <a:pt x="0" y="389238"/>
                </a:cubicBezTo>
                <a:cubicBezTo>
                  <a:pt x="1781" y="345633"/>
                  <a:pt x="3844" y="302880"/>
                  <a:pt x="5184" y="260105"/>
                </a:cubicBezTo>
                <a:cubicBezTo>
                  <a:pt x="6529" y="217143"/>
                  <a:pt x="7519" y="174162"/>
                  <a:pt x="7989" y="131182"/>
                </a:cubicBezTo>
                <a:cubicBezTo>
                  <a:pt x="8459" y="88239"/>
                  <a:pt x="8093" y="45287"/>
                  <a:pt x="8093" y="2390"/>
                </a:cubicBezTo>
                <a:cubicBezTo>
                  <a:pt x="17041" y="-288"/>
                  <a:pt x="58537" y="-913"/>
                  <a:pt x="76429" y="1531"/>
                </a:cubicBezTo>
                <a:cubicBezTo>
                  <a:pt x="79287" y="53276"/>
                  <a:pt x="82219" y="105359"/>
                  <a:pt x="91265" y="157878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61" name="Free-form: Shape 260">
            <a:extLst>
              <a:ext uri="{FF2B5EF4-FFF2-40B4-BE49-F238E27FC236}">
                <a16:creationId xmlns:a16="http://schemas.microsoft.com/office/drawing/2014/main" id="{A7C29525-7014-A2CA-FA4C-9B88603171B3}"/>
              </a:ext>
            </a:extLst>
          </p:cNvPr>
          <p:cNvSpPr/>
          <p:nvPr/>
        </p:nvSpPr>
        <p:spPr>
          <a:xfrm>
            <a:off x="7402374" y="5282837"/>
            <a:ext cx="200357" cy="43852"/>
          </a:xfrm>
          <a:custGeom>
            <a:avLst/>
            <a:gdLst>
              <a:gd name="csX0" fmla="*/ 199184 w 322677"/>
              <a:gd name="csY0" fmla="*/ 59136 h 64202"/>
              <a:gd name="csX1" fmla="*/ 0 w 322677"/>
              <a:gd name="csY1" fmla="*/ 62697 h 64202"/>
              <a:gd name="csX2" fmla="*/ 0 w 322677"/>
              <a:gd name="csY2" fmla="*/ 18400 h 64202"/>
              <a:gd name="csX3" fmla="*/ 10601 w 322677"/>
              <a:gd name="csY3" fmla="*/ 17750 h 64202"/>
              <a:gd name="csX4" fmla="*/ 156563 w 322677"/>
              <a:gd name="csY4" fmla="*/ 15074 h 64202"/>
              <a:gd name="csX5" fmla="*/ 266479 w 322677"/>
              <a:gd name="csY5" fmla="*/ 4814 h 64202"/>
              <a:gd name="csX6" fmla="*/ 296798 w 322677"/>
              <a:gd name="csY6" fmla="*/ 344 h 64202"/>
              <a:gd name="csX7" fmla="*/ 309983 w 322677"/>
              <a:gd name="csY7" fmla="*/ 6097 h 64202"/>
              <a:gd name="csX8" fmla="*/ 322678 w 322677"/>
              <a:gd name="csY8" fmla="*/ 40406 h 64202"/>
              <a:gd name="csX9" fmla="*/ 199184 w 322677"/>
              <a:gd name="csY9" fmla="*/ 59136 h 6420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322677" h="64202">
                <a:moveTo>
                  <a:pt x="199184" y="59136"/>
                </a:moveTo>
                <a:cubicBezTo>
                  <a:pt x="132374" y="65824"/>
                  <a:pt x="66629" y="64605"/>
                  <a:pt x="0" y="62697"/>
                </a:cubicBezTo>
                <a:cubicBezTo>
                  <a:pt x="0" y="47160"/>
                  <a:pt x="0" y="33409"/>
                  <a:pt x="0" y="18400"/>
                </a:cubicBezTo>
                <a:cubicBezTo>
                  <a:pt x="3587" y="18160"/>
                  <a:pt x="7120" y="17536"/>
                  <a:pt x="10601" y="17750"/>
                </a:cubicBezTo>
                <a:cubicBezTo>
                  <a:pt x="59329" y="20736"/>
                  <a:pt x="107987" y="18533"/>
                  <a:pt x="156563" y="15074"/>
                </a:cubicBezTo>
                <a:cubicBezTo>
                  <a:pt x="193260" y="12461"/>
                  <a:pt x="229860" y="8449"/>
                  <a:pt x="266479" y="4814"/>
                </a:cubicBezTo>
                <a:cubicBezTo>
                  <a:pt x="276635" y="3806"/>
                  <a:pt x="286748" y="2160"/>
                  <a:pt x="296798" y="344"/>
                </a:cubicBezTo>
                <a:cubicBezTo>
                  <a:pt x="302773" y="-735"/>
                  <a:pt x="306536" y="602"/>
                  <a:pt x="309983" y="6097"/>
                </a:cubicBezTo>
                <a:cubicBezTo>
                  <a:pt x="316405" y="16331"/>
                  <a:pt x="320231" y="27243"/>
                  <a:pt x="322678" y="40406"/>
                </a:cubicBezTo>
                <a:cubicBezTo>
                  <a:pt x="281944" y="49611"/>
                  <a:pt x="241309" y="55431"/>
                  <a:pt x="199184" y="59136"/>
                </a:cubicBezTo>
                <a:close/>
              </a:path>
            </a:pathLst>
          </a:custGeom>
          <a:solidFill>
            <a:schemeClr val="bg1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66" name="Free-form: Shape 265">
            <a:extLst>
              <a:ext uri="{FF2B5EF4-FFF2-40B4-BE49-F238E27FC236}">
                <a16:creationId xmlns:a16="http://schemas.microsoft.com/office/drawing/2014/main" id="{C244BF3B-2951-F592-5DCC-85F67190DC46}"/>
              </a:ext>
            </a:extLst>
          </p:cNvPr>
          <p:cNvSpPr/>
          <p:nvPr/>
        </p:nvSpPr>
        <p:spPr>
          <a:xfrm>
            <a:off x="7616462" y="5280488"/>
            <a:ext cx="2645" cy="6187"/>
          </a:xfrm>
          <a:custGeom>
            <a:avLst/>
            <a:gdLst>
              <a:gd name="csX0" fmla="*/ 815 w 2910"/>
              <a:gd name="csY0" fmla="*/ 0 h 6187"/>
              <a:gd name="csX1" fmla="*/ 113 w 2910"/>
              <a:gd name="csY1" fmla="*/ 6187 h 6187"/>
              <a:gd name="csX2" fmla="*/ 815 w 2910"/>
              <a:gd name="csY2" fmla="*/ 0 h 618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2910" h="6187">
                <a:moveTo>
                  <a:pt x="815" y="0"/>
                </a:moveTo>
                <a:cubicBezTo>
                  <a:pt x="4660" y="1891"/>
                  <a:pt x="2480" y="3840"/>
                  <a:pt x="113" y="6187"/>
                </a:cubicBezTo>
                <a:cubicBezTo>
                  <a:pt x="-172" y="4565"/>
                  <a:pt x="89" y="2579"/>
                  <a:pt x="815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69" name="Free-form: Shape 268">
            <a:extLst>
              <a:ext uri="{FF2B5EF4-FFF2-40B4-BE49-F238E27FC236}">
                <a16:creationId xmlns:a16="http://schemas.microsoft.com/office/drawing/2014/main" id="{FA184BF4-CDC9-7A9A-5FA1-6CF17059C8A6}"/>
              </a:ext>
            </a:extLst>
          </p:cNvPr>
          <p:cNvSpPr/>
          <p:nvPr/>
        </p:nvSpPr>
        <p:spPr>
          <a:xfrm>
            <a:off x="3811117" y="3815677"/>
            <a:ext cx="777434" cy="153278"/>
          </a:xfrm>
          <a:custGeom>
            <a:avLst/>
            <a:gdLst>
              <a:gd name="csX0" fmla="*/ 191041 w 1045419"/>
              <a:gd name="csY0" fmla="*/ 0 h 228601"/>
              <a:gd name="csX1" fmla="*/ 1045419 w 1045419"/>
              <a:gd name="csY1" fmla="*/ 0 h 228601"/>
              <a:gd name="csX2" fmla="*/ 918418 w 1045419"/>
              <a:gd name="csY2" fmla="*/ 228601 h 228601"/>
              <a:gd name="csX3" fmla="*/ 0 w 1045419"/>
              <a:gd name="csY3" fmla="*/ 228601 h 228601"/>
              <a:gd name="csX4" fmla="*/ 191041 w 1045419"/>
              <a:gd name="csY4" fmla="*/ 0 h 22860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045419" h="228601">
                <a:moveTo>
                  <a:pt x="191041" y="0"/>
                </a:moveTo>
                <a:lnTo>
                  <a:pt x="1045419" y="0"/>
                </a:lnTo>
                <a:lnTo>
                  <a:pt x="918418" y="228601"/>
                </a:lnTo>
                <a:lnTo>
                  <a:pt x="0" y="228601"/>
                </a:lnTo>
                <a:lnTo>
                  <a:pt x="191041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70" name="Free-form: Shape 269">
            <a:extLst>
              <a:ext uri="{FF2B5EF4-FFF2-40B4-BE49-F238E27FC236}">
                <a16:creationId xmlns:a16="http://schemas.microsoft.com/office/drawing/2014/main" id="{AAA9B8A2-79DE-7312-AEF3-568AAF8D0848}"/>
              </a:ext>
            </a:extLst>
          </p:cNvPr>
          <p:cNvSpPr/>
          <p:nvPr/>
        </p:nvSpPr>
        <p:spPr>
          <a:xfrm>
            <a:off x="891381" y="5513031"/>
            <a:ext cx="1646821" cy="454861"/>
          </a:xfrm>
          <a:custGeom>
            <a:avLst/>
            <a:gdLst>
              <a:gd name="csX0" fmla="*/ 626019 w 1992654"/>
              <a:gd name="csY0" fmla="*/ 0 h 550382"/>
              <a:gd name="csX1" fmla="*/ 1992654 w 1992654"/>
              <a:gd name="csY1" fmla="*/ 0 h 550382"/>
              <a:gd name="csX2" fmla="*/ 1532703 w 1992654"/>
              <a:gd name="csY2" fmla="*/ 550382 h 550382"/>
              <a:gd name="csX3" fmla="*/ 0 w 1992654"/>
              <a:gd name="csY3" fmla="*/ 550382 h 550382"/>
              <a:gd name="csX4" fmla="*/ 626019 w 1992654"/>
              <a:gd name="csY4" fmla="*/ 0 h 55038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992654" h="550382">
                <a:moveTo>
                  <a:pt x="626019" y="0"/>
                </a:moveTo>
                <a:lnTo>
                  <a:pt x="1992654" y="0"/>
                </a:lnTo>
                <a:lnTo>
                  <a:pt x="1532703" y="550382"/>
                </a:lnTo>
                <a:lnTo>
                  <a:pt x="0" y="550382"/>
                </a:lnTo>
                <a:lnTo>
                  <a:pt x="626019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71" name="Free-form: Shape 270">
            <a:extLst>
              <a:ext uri="{FF2B5EF4-FFF2-40B4-BE49-F238E27FC236}">
                <a16:creationId xmlns:a16="http://schemas.microsoft.com/office/drawing/2014/main" id="{621F03DC-EFC1-5D96-6BAE-3216E91F2379}"/>
              </a:ext>
            </a:extLst>
          </p:cNvPr>
          <p:cNvSpPr/>
          <p:nvPr/>
        </p:nvSpPr>
        <p:spPr>
          <a:xfrm>
            <a:off x="3193834" y="5513031"/>
            <a:ext cx="1568526" cy="454861"/>
          </a:xfrm>
          <a:custGeom>
            <a:avLst/>
            <a:gdLst>
              <a:gd name="csX0" fmla="*/ 527533 w 1897917"/>
              <a:gd name="csY0" fmla="*/ 0 h 550382"/>
              <a:gd name="csX1" fmla="*/ 1897917 w 1897917"/>
              <a:gd name="csY1" fmla="*/ 0 h 550382"/>
              <a:gd name="csX2" fmla="*/ 1747106 w 1897917"/>
              <a:gd name="csY2" fmla="*/ 550382 h 550382"/>
              <a:gd name="csX3" fmla="*/ 0 w 1897917"/>
              <a:gd name="csY3" fmla="*/ 550382 h 550382"/>
              <a:gd name="csX4" fmla="*/ 223004 w 1897917"/>
              <a:gd name="csY4" fmla="*/ 548152 h 550382"/>
              <a:gd name="csX5" fmla="*/ 527533 w 1897917"/>
              <a:gd name="csY5" fmla="*/ 0 h 55038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</a:cxnLst>
            <a:rect l="l" t="t" r="r" b="b"/>
            <a:pathLst>
              <a:path w="1897917" h="550382">
                <a:moveTo>
                  <a:pt x="527533" y="0"/>
                </a:moveTo>
                <a:lnTo>
                  <a:pt x="1897917" y="0"/>
                </a:lnTo>
                <a:lnTo>
                  <a:pt x="1747106" y="550382"/>
                </a:lnTo>
                <a:lnTo>
                  <a:pt x="0" y="550382"/>
                </a:lnTo>
                <a:lnTo>
                  <a:pt x="223004" y="548152"/>
                </a:lnTo>
                <a:lnTo>
                  <a:pt x="527533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72" name="Free-form: Shape 271">
            <a:extLst>
              <a:ext uri="{FF2B5EF4-FFF2-40B4-BE49-F238E27FC236}">
                <a16:creationId xmlns:a16="http://schemas.microsoft.com/office/drawing/2014/main" id="{C0C51CC6-1BE5-5C8A-8B00-07D0AED92E95}"/>
              </a:ext>
            </a:extLst>
          </p:cNvPr>
          <p:cNvSpPr/>
          <p:nvPr/>
        </p:nvSpPr>
        <p:spPr>
          <a:xfrm>
            <a:off x="5872566" y="5513031"/>
            <a:ext cx="1247364" cy="444260"/>
          </a:xfrm>
          <a:custGeom>
            <a:avLst/>
            <a:gdLst>
              <a:gd name="csX0" fmla="*/ 3065 w 1509311"/>
              <a:gd name="csY0" fmla="*/ 0 h 537554"/>
              <a:gd name="csX1" fmla="*/ 1356162 w 1509311"/>
              <a:gd name="csY1" fmla="*/ 0 h 537554"/>
              <a:gd name="csX2" fmla="*/ 1509311 w 1509311"/>
              <a:gd name="csY2" fmla="*/ 537554 h 537554"/>
              <a:gd name="csX3" fmla="*/ 0 w 1509311"/>
              <a:gd name="csY3" fmla="*/ 533283 h 537554"/>
              <a:gd name="csX4" fmla="*/ 3065 w 1509311"/>
              <a:gd name="csY4" fmla="*/ 0 h 53755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509311" h="537554">
                <a:moveTo>
                  <a:pt x="3065" y="0"/>
                </a:moveTo>
                <a:lnTo>
                  <a:pt x="1356162" y="0"/>
                </a:lnTo>
                <a:lnTo>
                  <a:pt x="1509311" y="537554"/>
                </a:lnTo>
                <a:lnTo>
                  <a:pt x="0" y="533283"/>
                </a:lnTo>
                <a:cubicBezTo>
                  <a:pt x="1022" y="355522"/>
                  <a:pt x="2043" y="177761"/>
                  <a:pt x="3065" y="0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74" name="Free-form: Shape 273">
            <a:extLst>
              <a:ext uri="{FF2B5EF4-FFF2-40B4-BE49-F238E27FC236}">
                <a16:creationId xmlns:a16="http://schemas.microsoft.com/office/drawing/2014/main" id="{6F1F6BC3-D2E3-085E-4B82-FAE0067AD821}"/>
              </a:ext>
            </a:extLst>
          </p:cNvPr>
          <p:cNvSpPr/>
          <p:nvPr/>
        </p:nvSpPr>
        <p:spPr>
          <a:xfrm>
            <a:off x="8105738" y="5513032"/>
            <a:ext cx="1478271" cy="451232"/>
          </a:xfrm>
          <a:custGeom>
            <a:avLst/>
            <a:gdLst>
              <a:gd name="csX0" fmla="*/ 0 w 1788708"/>
              <a:gd name="csY0" fmla="*/ 0 h 545991"/>
              <a:gd name="csX1" fmla="*/ 1331921 w 1788708"/>
              <a:gd name="csY1" fmla="*/ 0 h 545991"/>
              <a:gd name="csX2" fmla="*/ 1788708 w 1788708"/>
              <a:gd name="csY2" fmla="*/ 545991 h 545991"/>
              <a:gd name="csX3" fmla="*/ 241609 w 1788708"/>
              <a:gd name="csY3" fmla="*/ 541613 h 545991"/>
              <a:gd name="csX4" fmla="*/ 301257 w 1788708"/>
              <a:gd name="csY4" fmla="*/ 540718 h 545991"/>
              <a:gd name="csX5" fmla="*/ 0 w 1788708"/>
              <a:gd name="csY5" fmla="*/ 0 h 54599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</a:cxnLst>
            <a:rect l="l" t="t" r="r" b="b"/>
            <a:pathLst>
              <a:path w="1788708" h="545991">
                <a:moveTo>
                  <a:pt x="0" y="0"/>
                </a:moveTo>
                <a:lnTo>
                  <a:pt x="1331921" y="0"/>
                </a:lnTo>
                <a:lnTo>
                  <a:pt x="1788708" y="545991"/>
                </a:lnTo>
                <a:lnTo>
                  <a:pt x="241609" y="541613"/>
                </a:lnTo>
                <a:lnTo>
                  <a:pt x="301257" y="540718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76" name="Free-form: Shape 275">
            <a:extLst>
              <a:ext uri="{FF2B5EF4-FFF2-40B4-BE49-F238E27FC236}">
                <a16:creationId xmlns:a16="http://schemas.microsoft.com/office/drawing/2014/main" id="{B187B7AD-DCD8-99AB-6B6E-97C0BD16DE81}"/>
              </a:ext>
            </a:extLst>
          </p:cNvPr>
          <p:cNvSpPr/>
          <p:nvPr/>
        </p:nvSpPr>
        <p:spPr>
          <a:xfrm>
            <a:off x="2538202" y="5117685"/>
            <a:ext cx="1311245" cy="395346"/>
          </a:xfrm>
          <a:custGeom>
            <a:avLst/>
            <a:gdLst>
              <a:gd name="csX0" fmla="*/ 399769 w 1586606"/>
              <a:gd name="csY0" fmla="*/ 0 h 478368"/>
              <a:gd name="csX1" fmla="*/ 1586606 w 1586606"/>
              <a:gd name="csY1" fmla="*/ 0 h 478368"/>
              <a:gd name="csX2" fmla="*/ 1320846 w 1586606"/>
              <a:gd name="csY2" fmla="*/ 478368 h 478368"/>
              <a:gd name="csX3" fmla="*/ 0 w 1586606"/>
              <a:gd name="csY3" fmla="*/ 478368 h 478368"/>
              <a:gd name="csX4" fmla="*/ 399769 w 1586606"/>
              <a:gd name="csY4" fmla="*/ 0 h 47836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586606" h="478368">
                <a:moveTo>
                  <a:pt x="399769" y="0"/>
                </a:moveTo>
                <a:lnTo>
                  <a:pt x="1586606" y="0"/>
                </a:lnTo>
                <a:lnTo>
                  <a:pt x="1320846" y="478368"/>
                </a:lnTo>
                <a:lnTo>
                  <a:pt x="0" y="478368"/>
                </a:lnTo>
                <a:lnTo>
                  <a:pt x="399769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77" name="Free-form: Shape 276">
            <a:extLst>
              <a:ext uri="{FF2B5EF4-FFF2-40B4-BE49-F238E27FC236}">
                <a16:creationId xmlns:a16="http://schemas.microsoft.com/office/drawing/2014/main" id="{B98C2D0E-08DE-0121-076A-7797310C77C1}"/>
              </a:ext>
            </a:extLst>
          </p:cNvPr>
          <p:cNvSpPr/>
          <p:nvPr/>
        </p:nvSpPr>
        <p:spPr>
          <a:xfrm>
            <a:off x="4762360" y="5117685"/>
            <a:ext cx="1115011" cy="395346"/>
          </a:xfrm>
          <a:custGeom>
            <a:avLst/>
            <a:gdLst>
              <a:gd name="csX0" fmla="*/ 131078 w 1349163"/>
              <a:gd name="csY0" fmla="*/ 0 h 478368"/>
              <a:gd name="csX1" fmla="*/ 1349163 w 1349163"/>
              <a:gd name="csY1" fmla="*/ 0 h 478368"/>
              <a:gd name="csX2" fmla="*/ 1346414 w 1349163"/>
              <a:gd name="csY2" fmla="*/ 478368 h 478368"/>
              <a:gd name="csX3" fmla="*/ 0 w 1349163"/>
              <a:gd name="csY3" fmla="*/ 478368 h 478368"/>
              <a:gd name="csX4" fmla="*/ 131078 w 1349163"/>
              <a:gd name="csY4" fmla="*/ 0 h 47836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349163" h="478368">
                <a:moveTo>
                  <a:pt x="131078" y="0"/>
                </a:moveTo>
                <a:lnTo>
                  <a:pt x="1349163" y="0"/>
                </a:lnTo>
                <a:lnTo>
                  <a:pt x="1346414" y="478368"/>
                </a:lnTo>
                <a:lnTo>
                  <a:pt x="0" y="478368"/>
                </a:lnTo>
                <a:lnTo>
                  <a:pt x="131078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78" name="Free-form: Shape 277">
            <a:extLst>
              <a:ext uri="{FF2B5EF4-FFF2-40B4-BE49-F238E27FC236}">
                <a16:creationId xmlns:a16="http://schemas.microsoft.com/office/drawing/2014/main" id="{820ADBB4-EFED-1C8F-9CAC-44BD0C679933}"/>
              </a:ext>
            </a:extLst>
          </p:cNvPr>
          <p:cNvSpPr/>
          <p:nvPr/>
        </p:nvSpPr>
        <p:spPr>
          <a:xfrm>
            <a:off x="8875746" y="5117685"/>
            <a:ext cx="1462821" cy="395346"/>
          </a:xfrm>
          <a:custGeom>
            <a:avLst/>
            <a:gdLst>
              <a:gd name="csX0" fmla="*/ 0 w 1770014"/>
              <a:gd name="csY0" fmla="*/ 0 h 478368"/>
              <a:gd name="csX1" fmla="*/ 1231679 w 1770014"/>
              <a:gd name="csY1" fmla="*/ 0 h 478368"/>
              <a:gd name="csX2" fmla="*/ 1770014 w 1770014"/>
              <a:gd name="csY2" fmla="*/ 478368 h 478368"/>
              <a:gd name="csX3" fmla="*/ 400212 w 1770014"/>
              <a:gd name="csY3" fmla="*/ 478368 h 478368"/>
              <a:gd name="csX4" fmla="*/ 0 w 1770014"/>
              <a:gd name="csY4" fmla="*/ 0 h 47836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770014" h="478368">
                <a:moveTo>
                  <a:pt x="0" y="0"/>
                </a:moveTo>
                <a:lnTo>
                  <a:pt x="1231679" y="0"/>
                </a:lnTo>
                <a:lnTo>
                  <a:pt x="1770014" y="478368"/>
                </a:lnTo>
                <a:lnTo>
                  <a:pt x="400212" y="478368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79" name="Free-form: Shape 278">
            <a:extLst>
              <a:ext uri="{FF2B5EF4-FFF2-40B4-BE49-F238E27FC236}">
                <a16:creationId xmlns:a16="http://schemas.microsoft.com/office/drawing/2014/main" id="{0ADFDA98-C4D8-E53A-69E9-FDEBF5EABF15}"/>
              </a:ext>
            </a:extLst>
          </p:cNvPr>
          <p:cNvSpPr/>
          <p:nvPr/>
        </p:nvSpPr>
        <p:spPr>
          <a:xfrm>
            <a:off x="7820622" y="3815678"/>
            <a:ext cx="1718658" cy="987102"/>
          </a:xfrm>
          <a:custGeom>
            <a:avLst/>
            <a:gdLst>
              <a:gd name="csX0" fmla="*/ 1734208 w 2079576"/>
              <a:gd name="csY0" fmla="*/ 893490 h 1194393"/>
              <a:gd name="csX1" fmla="*/ 1740954 w 2079576"/>
              <a:gd name="csY1" fmla="*/ 893490 h 1194393"/>
              <a:gd name="csX2" fmla="*/ 2079576 w 2079576"/>
              <a:gd name="csY2" fmla="*/ 1194392 h 1194393"/>
              <a:gd name="csX3" fmla="*/ 1492572 w 2079576"/>
              <a:gd name="csY3" fmla="*/ 1194392 h 1194393"/>
              <a:gd name="csX4" fmla="*/ 1492573 w 2079576"/>
              <a:gd name="csY4" fmla="*/ 1194393 h 1194393"/>
              <a:gd name="csX5" fmla="*/ 957918 w 2079576"/>
              <a:gd name="csY5" fmla="*/ 1194393 h 1194393"/>
              <a:gd name="csX6" fmla="*/ 706177 w 2079576"/>
              <a:gd name="csY6" fmla="*/ 893491 h 1194393"/>
              <a:gd name="csX7" fmla="*/ 1734209 w 2079576"/>
              <a:gd name="csY7" fmla="*/ 893491 h 1194393"/>
              <a:gd name="csX8" fmla="*/ 1428628 w 2079576"/>
              <a:gd name="csY8" fmla="*/ 612504 h 1194393"/>
              <a:gd name="csX9" fmla="*/ 1433390 w 2079576"/>
              <a:gd name="csY9" fmla="*/ 617266 h 1194393"/>
              <a:gd name="csX10" fmla="*/ 1430104 w 2079576"/>
              <a:gd name="csY10" fmla="*/ 617266 h 1194393"/>
              <a:gd name="csX11" fmla="*/ 1424767 w 2079576"/>
              <a:gd name="csY11" fmla="*/ 612523 h 1194393"/>
              <a:gd name="csX12" fmla="*/ 283831 w 2079576"/>
              <a:gd name="csY12" fmla="*/ 388666 h 1194393"/>
              <a:gd name="csX13" fmla="*/ 631714 w 2079576"/>
              <a:gd name="csY13" fmla="*/ 388666 h 1194393"/>
              <a:gd name="csX14" fmla="*/ 1158324 w 2079576"/>
              <a:gd name="csY14" fmla="*/ 388666 h 1194393"/>
              <a:gd name="csX15" fmla="*/ 1172848 w 2079576"/>
              <a:gd name="csY15" fmla="*/ 388666 h 1194393"/>
              <a:gd name="csX16" fmla="*/ 1424767 w 2079576"/>
              <a:gd name="csY16" fmla="*/ 612523 h 1194393"/>
              <a:gd name="csX17" fmla="*/ 475083 w 2079576"/>
              <a:gd name="csY17" fmla="*/ 617267 h 1194393"/>
              <a:gd name="csX18" fmla="*/ 735460 w 2079576"/>
              <a:gd name="csY18" fmla="*/ 0 h 1194393"/>
              <a:gd name="csX19" fmla="*/ 936218 w 2079576"/>
              <a:gd name="csY19" fmla="*/ 178395 h 1194393"/>
              <a:gd name="csX20" fmla="*/ 918454 w 2079576"/>
              <a:gd name="csY20" fmla="*/ 178395 h 1194393"/>
              <a:gd name="csX21" fmla="*/ 918453 w 2079576"/>
              <a:gd name="csY21" fmla="*/ 178394 h 1194393"/>
              <a:gd name="csX22" fmla="*/ 918452 w 2079576"/>
              <a:gd name="csY22" fmla="*/ 178394 h 1194393"/>
              <a:gd name="csX23" fmla="*/ 105862 w 2079576"/>
              <a:gd name="csY23" fmla="*/ 175942 h 1194393"/>
              <a:gd name="csX24" fmla="*/ 0 w 2079576"/>
              <a:gd name="csY24" fmla="*/ 7665 h 119439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</a:cxnLst>
            <a:rect l="l" t="t" r="r" b="b"/>
            <a:pathLst>
              <a:path w="2079576" h="1194393">
                <a:moveTo>
                  <a:pt x="1734208" y="893490"/>
                </a:moveTo>
                <a:lnTo>
                  <a:pt x="1740954" y="893490"/>
                </a:lnTo>
                <a:lnTo>
                  <a:pt x="2079576" y="1194392"/>
                </a:lnTo>
                <a:lnTo>
                  <a:pt x="1492572" y="1194392"/>
                </a:lnTo>
                <a:lnTo>
                  <a:pt x="1492573" y="1194393"/>
                </a:lnTo>
                <a:lnTo>
                  <a:pt x="957918" y="1194393"/>
                </a:lnTo>
                <a:lnTo>
                  <a:pt x="706177" y="893491"/>
                </a:lnTo>
                <a:lnTo>
                  <a:pt x="1734209" y="893491"/>
                </a:lnTo>
                <a:close/>
                <a:moveTo>
                  <a:pt x="1428628" y="612504"/>
                </a:moveTo>
                <a:lnTo>
                  <a:pt x="1433390" y="617266"/>
                </a:lnTo>
                <a:lnTo>
                  <a:pt x="1430104" y="617266"/>
                </a:lnTo>
                <a:lnTo>
                  <a:pt x="1424767" y="612523"/>
                </a:lnTo>
                <a:close/>
                <a:moveTo>
                  <a:pt x="283831" y="388666"/>
                </a:moveTo>
                <a:lnTo>
                  <a:pt x="631714" y="388666"/>
                </a:lnTo>
                <a:lnTo>
                  <a:pt x="1158324" y="388666"/>
                </a:lnTo>
                <a:lnTo>
                  <a:pt x="1172848" y="388666"/>
                </a:lnTo>
                <a:lnTo>
                  <a:pt x="1424767" y="612523"/>
                </a:lnTo>
                <a:lnTo>
                  <a:pt x="475083" y="617267"/>
                </a:lnTo>
                <a:close/>
                <a:moveTo>
                  <a:pt x="735460" y="0"/>
                </a:moveTo>
                <a:lnTo>
                  <a:pt x="936218" y="178395"/>
                </a:lnTo>
                <a:lnTo>
                  <a:pt x="918454" y="178395"/>
                </a:lnTo>
                <a:lnTo>
                  <a:pt x="918453" y="178394"/>
                </a:lnTo>
                <a:lnTo>
                  <a:pt x="918452" y="178394"/>
                </a:lnTo>
                <a:lnTo>
                  <a:pt x="105862" y="175942"/>
                </a:lnTo>
                <a:lnTo>
                  <a:pt x="0" y="7665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0" name="Free-form: Shape 279">
            <a:extLst>
              <a:ext uri="{FF2B5EF4-FFF2-40B4-BE49-F238E27FC236}">
                <a16:creationId xmlns:a16="http://schemas.microsoft.com/office/drawing/2014/main" id="{4D40866B-96C9-3B48-6B57-4A57C6D676C0}"/>
              </a:ext>
            </a:extLst>
          </p:cNvPr>
          <p:cNvSpPr/>
          <p:nvPr/>
        </p:nvSpPr>
        <p:spPr>
          <a:xfrm>
            <a:off x="7242213" y="3963111"/>
            <a:ext cx="812979" cy="173778"/>
          </a:xfrm>
          <a:custGeom>
            <a:avLst/>
            <a:gdLst>
              <a:gd name="csX0" fmla="*/ 0 w 983705"/>
              <a:gd name="csY0" fmla="*/ 0 h 210271"/>
              <a:gd name="csX1" fmla="*/ 807788 w 983705"/>
              <a:gd name="csY1" fmla="*/ 0 h 210271"/>
              <a:gd name="csX2" fmla="*/ 983705 w 983705"/>
              <a:gd name="csY2" fmla="*/ 210271 h 210271"/>
              <a:gd name="csX3" fmla="*/ 117151 w 983705"/>
              <a:gd name="csY3" fmla="*/ 210271 h 210271"/>
              <a:gd name="csX4" fmla="*/ 0 w 983705"/>
              <a:gd name="csY4" fmla="*/ 0 h 21027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983705" h="210271">
                <a:moveTo>
                  <a:pt x="0" y="0"/>
                </a:moveTo>
                <a:lnTo>
                  <a:pt x="807788" y="0"/>
                </a:lnTo>
                <a:lnTo>
                  <a:pt x="983705" y="210271"/>
                </a:lnTo>
                <a:lnTo>
                  <a:pt x="117151" y="21027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1" name="Free-form: Shape 280">
            <a:extLst>
              <a:ext uri="{FF2B5EF4-FFF2-40B4-BE49-F238E27FC236}">
                <a16:creationId xmlns:a16="http://schemas.microsoft.com/office/drawing/2014/main" id="{AD6ED0A8-32F2-4C77-00BF-CF96A74B34DE}"/>
              </a:ext>
            </a:extLst>
          </p:cNvPr>
          <p:cNvSpPr/>
          <p:nvPr/>
        </p:nvSpPr>
        <p:spPr>
          <a:xfrm>
            <a:off x="3530352" y="4136888"/>
            <a:ext cx="863983" cy="188926"/>
          </a:xfrm>
          <a:custGeom>
            <a:avLst/>
            <a:gdLst>
              <a:gd name="csX0" fmla="*/ 191041 w 1045419"/>
              <a:gd name="csY0" fmla="*/ 0 h 228601"/>
              <a:gd name="csX1" fmla="*/ 1045419 w 1045419"/>
              <a:gd name="csY1" fmla="*/ 0 h 228601"/>
              <a:gd name="csX2" fmla="*/ 918418 w 1045419"/>
              <a:gd name="csY2" fmla="*/ 228601 h 228601"/>
              <a:gd name="csX3" fmla="*/ 0 w 1045419"/>
              <a:gd name="csY3" fmla="*/ 228601 h 228601"/>
              <a:gd name="csX4" fmla="*/ 191041 w 1045419"/>
              <a:gd name="csY4" fmla="*/ 0 h 22860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045419" h="228601">
                <a:moveTo>
                  <a:pt x="191041" y="0"/>
                </a:moveTo>
                <a:lnTo>
                  <a:pt x="1045419" y="0"/>
                </a:lnTo>
                <a:lnTo>
                  <a:pt x="918418" y="228601"/>
                </a:lnTo>
                <a:lnTo>
                  <a:pt x="0" y="228601"/>
                </a:lnTo>
                <a:lnTo>
                  <a:pt x="191041" y="0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2" name="Free-form: Shape 281">
            <a:extLst>
              <a:ext uri="{FF2B5EF4-FFF2-40B4-BE49-F238E27FC236}">
                <a16:creationId xmlns:a16="http://schemas.microsoft.com/office/drawing/2014/main" id="{B8D1AB1A-6F97-AAEA-51AD-EFC4C27AF89F}"/>
              </a:ext>
            </a:extLst>
          </p:cNvPr>
          <p:cNvSpPr/>
          <p:nvPr/>
        </p:nvSpPr>
        <p:spPr>
          <a:xfrm>
            <a:off x="4162550" y="4325814"/>
            <a:ext cx="925121" cy="228284"/>
          </a:xfrm>
          <a:custGeom>
            <a:avLst/>
            <a:gdLst>
              <a:gd name="csX0" fmla="*/ 153458 w 1119397"/>
              <a:gd name="csY0" fmla="*/ 0 h 276224"/>
              <a:gd name="csX1" fmla="*/ 1119397 w 1119397"/>
              <a:gd name="csY1" fmla="*/ 0 h 276224"/>
              <a:gd name="csX2" fmla="*/ 1043709 w 1119397"/>
              <a:gd name="csY2" fmla="*/ 276224 h 276224"/>
              <a:gd name="csX3" fmla="*/ 0 w 1119397"/>
              <a:gd name="csY3" fmla="*/ 276224 h 276224"/>
              <a:gd name="csX4" fmla="*/ 153458 w 1119397"/>
              <a:gd name="csY4" fmla="*/ 0 h 27622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119397" h="276224">
                <a:moveTo>
                  <a:pt x="153458" y="0"/>
                </a:moveTo>
                <a:lnTo>
                  <a:pt x="1119397" y="0"/>
                </a:lnTo>
                <a:lnTo>
                  <a:pt x="1043709" y="276224"/>
                </a:lnTo>
                <a:lnTo>
                  <a:pt x="0" y="276224"/>
                </a:lnTo>
                <a:lnTo>
                  <a:pt x="153458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3" name="Free-form: Shape 282">
            <a:extLst>
              <a:ext uri="{FF2B5EF4-FFF2-40B4-BE49-F238E27FC236}">
                <a16:creationId xmlns:a16="http://schemas.microsoft.com/office/drawing/2014/main" id="{2457EA7F-9CED-DB33-6E9A-140B20DF68A9}"/>
              </a:ext>
            </a:extLst>
          </p:cNvPr>
          <p:cNvSpPr/>
          <p:nvPr/>
        </p:nvSpPr>
        <p:spPr>
          <a:xfrm>
            <a:off x="5880610" y="4325814"/>
            <a:ext cx="839552" cy="228284"/>
          </a:xfrm>
          <a:custGeom>
            <a:avLst/>
            <a:gdLst>
              <a:gd name="csX0" fmla="*/ 1588 w 1015858"/>
              <a:gd name="csY0" fmla="*/ 0 h 276224"/>
              <a:gd name="csX1" fmla="*/ 937162 w 1015858"/>
              <a:gd name="csY1" fmla="*/ 0 h 276224"/>
              <a:gd name="csX2" fmla="*/ 1015858 w 1015858"/>
              <a:gd name="csY2" fmla="*/ 276224 h 276224"/>
              <a:gd name="csX3" fmla="*/ 0 w 1015858"/>
              <a:gd name="csY3" fmla="*/ 276224 h 276224"/>
              <a:gd name="csX4" fmla="*/ 1588 w 1015858"/>
              <a:gd name="csY4" fmla="*/ 0 h 27622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015858" h="276224">
                <a:moveTo>
                  <a:pt x="1588" y="0"/>
                </a:moveTo>
                <a:lnTo>
                  <a:pt x="937162" y="0"/>
                </a:lnTo>
                <a:lnTo>
                  <a:pt x="1015858" y="276224"/>
                </a:lnTo>
                <a:lnTo>
                  <a:pt x="0" y="276224"/>
                </a:lnTo>
                <a:lnTo>
                  <a:pt x="1588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4" name="Free-form: Shape 283">
            <a:extLst>
              <a:ext uri="{FF2B5EF4-FFF2-40B4-BE49-F238E27FC236}">
                <a16:creationId xmlns:a16="http://schemas.microsoft.com/office/drawing/2014/main" id="{9C9424C3-B059-AB2A-3063-A45A114B431C}"/>
              </a:ext>
            </a:extLst>
          </p:cNvPr>
          <p:cNvSpPr/>
          <p:nvPr/>
        </p:nvSpPr>
        <p:spPr>
          <a:xfrm>
            <a:off x="7444289" y="4325814"/>
            <a:ext cx="959949" cy="228284"/>
          </a:xfrm>
          <a:custGeom>
            <a:avLst/>
            <a:gdLst>
              <a:gd name="csX0" fmla="*/ 0 w 1161538"/>
              <a:gd name="csY0" fmla="*/ 0 h 276224"/>
              <a:gd name="csX1" fmla="*/ 930444 w 1161538"/>
              <a:gd name="csY1" fmla="*/ 0 h 276224"/>
              <a:gd name="csX2" fmla="*/ 1161538 w 1161538"/>
              <a:gd name="csY2" fmla="*/ 276224 h 276224"/>
              <a:gd name="csX3" fmla="*/ 153896 w 1161538"/>
              <a:gd name="csY3" fmla="*/ 276224 h 276224"/>
              <a:gd name="csX4" fmla="*/ 0 w 1161538"/>
              <a:gd name="csY4" fmla="*/ 0 h 27622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161538" h="276224">
                <a:moveTo>
                  <a:pt x="0" y="0"/>
                </a:moveTo>
                <a:lnTo>
                  <a:pt x="930444" y="0"/>
                </a:lnTo>
                <a:lnTo>
                  <a:pt x="1161538" y="276224"/>
                </a:lnTo>
                <a:lnTo>
                  <a:pt x="153896" y="276224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5" name="Free-form: Shape 284">
            <a:extLst>
              <a:ext uri="{FF2B5EF4-FFF2-40B4-BE49-F238E27FC236}">
                <a16:creationId xmlns:a16="http://schemas.microsoft.com/office/drawing/2014/main" id="{8C1788E5-EF0E-815F-29DD-DA9C3C19B1DF}"/>
              </a:ext>
            </a:extLst>
          </p:cNvPr>
          <p:cNvSpPr/>
          <p:nvPr/>
        </p:nvSpPr>
        <p:spPr>
          <a:xfrm>
            <a:off x="1858430" y="4802778"/>
            <a:ext cx="1273326" cy="314908"/>
          </a:xfrm>
          <a:custGeom>
            <a:avLst/>
            <a:gdLst>
              <a:gd name="csX0" fmla="*/ 433404 w 1540725"/>
              <a:gd name="csY0" fmla="*/ 0 h 381039"/>
              <a:gd name="csX1" fmla="*/ 1540725 w 1540725"/>
              <a:gd name="csY1" fmla="*/ 0 h 381039"/>
              <a:gd name="csX2" fmla="*/ 1222293 w 1540725"/>
              <a:gd name="csY2" fmla="*/ 381039 h 381039"/>
              <a:gd name="csX3" fmla="*/ 0 w 1540725"/>
              <a:gd name="csY3" fmla="*/ 381039 h 381039"/>
              <a:gd name="csX4" fmla="*/ 433404 w 1540725"/>
              <a:gd name="csY4" fmla="*/ 0 h 38103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540725" h="381039">
                <a:moveTo>
                  <a:pt x="433404" y="0"/>
                </a:moveTo>
                <a:lnTo>
                  <a:pt x="1540725" y="0"/>
                </a:lnTo>
                <a:lnTo>
                  <a:pt x="1222293" y="381039"/>
                </a:lnTo>
                <a:lnTo>
                  <a:pt x="0" y="381039"/>
                </a:lnTo>
                <a:lnTo>
                  <a:pt x="433404" y="0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6" name="Free-form: Shape 285">
            <a:extLst>
              <a:ext uri="{FF2B5EF4-FFF2-40B4-BE49-F238E27FC236}">
                <a16:creationId xmlns:a16="http://schemas.microsoft.com/office/drawing/2014/main" id="{9ACDB3DC-5919-7D91-9034-F57639641FCB}"/>
              </a:ext>
            </a:extLst>
          </p:cNvPr>
          <p:cNvSpPr/>
          <p:nvPr/>
        </p:nvSpPr>
        <p:spPr>
          <a:xfrm>
            <a:off x="3849446" y="4802778"/>
            <a:ext cx="1107531" cy="314908"/>
          </a:xfrm>
          <a:custGeom>
            <a:avLst/>
            <a:gdLst>
              <a:gd name="csX0" fmla="*/ 211688 w 1340113"/>
              <a:gd name="csY0" fmla="*/ 0 h 381039"/>
              <a:gd name="csX1" fmla="*/ 1340113 w 1340113"/>
              <a:gd name="csY1" fmla="*/ 0 h 381039"/>
              <a:gd name="csX2" fmla="*/ 1235704 w 1340113"/>
              <a:gd name="csY2" fmla="*/ 381039 h 381039"/>
              <a:gd name="csX3" fmla="*/ 0 w 1340113"/>
              <a:gd name="csY3" fmla="*/ 381039 h 381039"/>
              <a:gd name="csX4" fmla="*/ 211688 w 1340113"/>
              <a:gd name="csY4" fmla="*/ 0 h 38103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340113" h="381039">
                <a:moveTo>
                  <a:pt x="211688" y="0"/>
                </a:moveTo>
                <a:lnTo>
                  <a:pt x="1340113" y="0"/>
                </a:lnTo>
                <a:lnTo>
                  <a:pt x="1235704" y="381039"/>
                </a:lnTo>
                <a:lnTo>
                  <a:pt x="0" y="381039"/>
                </a:lnTo>
                <a:lnTo>
                  <a:pt x="211688" y="0"/>
                </a:lnTo>
                <a:close/>
              </a:path>
            </a:pathLst>
          </a:custGeom>
          <a:solidFill>
            <a:srgbClr val="DDE5E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7" name="Free-form: Shape 286">
            <a:extLst>
              <a:ext uri="{FF2B5EF4-FFF2-40B4-BE49-F238E27FC236}">
                <a16:creationId xmlns:a16="http://schemas.microsoft.com/office/drawing/2014/main" id="{768CD4A5-71C0-53A9-0901-BDB9E67058DA}"/>
              </a:ext>
            </a:extLst>
          </p:cNvPr>
          <p:cNvSpPr/>
          <p:nvPr/>
        </p:nvSpPr>
        <p:spPr>
          <a:xfrm>
            <a:off x="5877372" y="4802778"/>
            <a:ext cx="1003356" cy="314908"/>
          </a:xfrm>
          <a:custGeom>
            <a:avLst/>
            <a:gdLst>
              <a:gd name="csX0" fmla="*/ 2190 w 1214061"/>
              <a:gd name="csY0" fmla="*/ 0 h 381039"/>
              <a:gd name="csX1" fmla="*/ 1105503 w 1214061"/>
              <a:gd name="csY1" fmla="*/ 0 h 381039"/>
              <a:gd name="csX2" fmla="*/ 1214061 w 1214061"/>
              <a:gd name="csY2" fmla="*/ 381039 h 381039"/>
              <a:gd name="csX3" fmla="*/ 0 w 1214061"/>
              <a:gd name="csY3" fmla="*/ 381039 h 381039"/>
              <a:gd name="csX4" fmla="*/ 2190 w 1214061"/>
              <a:gd name="csY4" fmla="*/ 0 h 38103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214061" h="381039">
                <a:moveTo>
                  <a:pt x="2190" y="0"/>
                </a:moveTo>
                <a:lnTo>
                  <a:pt x="1105503" y="0"/>
                </a:lnTo>
                <a:lnTo>
                  <a:pt x="1214061" y="381039"/>
                </a:lnTo>
                <a:lnTo>
                  <a:pt x="0" y="381039"/>
                </a:lnTo>
                <a:lnTo>
                  <a:pt x="2190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8" name="Free-form: Shape 287">
            <a:extLst>
              <a:ext uri="{FF2B5EF4-FFF2-40B4-BE49-F238E27FC236}">
                <a16:creationId xmlns:a16="http://schemas.microsoft.com/office/drawing/2014/main" id="{D455964F-3799-4429-F90C-79CB8E2142DF}"/>
              </a:ext>
            </a:extLst>
          </p:cNvPr>
          <p:cNvSpPr/>
          <p:nvPr/>
        </p:nvSpPr>
        <p:spPr>
          <a:xfrm>
            <a:off x="7710026" y="4802778"/>
            <a:ext cx="1165721" cy="314908"/>
          </a:xfrm>
          <a:custGeom>
            <a:avLst/>
            <a:gdLst>
              <a:gd name="csX0" fmla="*/ 0 w 1410522"/>
              <a:gd name="csY0" fmla="*/ 0 h 381039"/>
              <a:gd name="csX1" fmla="*/ 1091737 w 1410522"/>
              <a:gd name="csY1" fmla="*/ 0 h 381039"/>
              <a:gd name="csX2" fmla="*/ 1410522 w 1410522"/>
              <a:gd name="csY2" fmla="*/ 381039 h 381039"/>
              <a:gd name="csX3" fmla="*/ 212293 w 1410522"/>
              <a:gd name="csY3" fmla="*/ 381039 h 381039"/>
              <a:gd name="csX4" fmla="*/ 0 w 1410522"/>
              <a:gd name="csY4" fmla="*/ 0 h 38103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410522" h="381039">
                <a:moveTo>
                  <a:pt x="0" y="0"/>
                </a:moveTo>
                <a:lnTo>
                  <a:pt x="1091737" y="0"/>
                </a:lnTo>
                <a:lnTo>
                  <a:pt x="1410522" y="381039"/>
                </a:lnTo>
                <a:lnTo>
                  <a:pt x="212293" y="381039"/>
                </a:lnTo>
                <a:lnTo>
                  <a:pt x="0" y="0"/>
                </a:lnTo>
                <a:close/>
              </a:path>
            </a:pathLst>
          </a:custGeom>
          <a:solidFill>
            <a:srgbClr val="DDE5E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9" name="Oval 288">
            <a:extLst>
              <a:ext uri="{FF2B5EF4-FFF2-40B4-BE49-F238E27FC236}">
                <a16:creationId xmlns:a16="http://schemas.microsoft.com/office/drawing/2014/main" id="{E77918DA-BDF4-4481-A473-915D5983B7DF}"/>
              </a:ext>
            </a:extLst>
          </p:cNvPr>
          <p:cNvSpPr/>
          <p:nvPr/>
        </p:nvSpPr>
        <p:spPr>
          <a:xfrm>
            <a:off x="3224920" y="3795707"/>
            <a:ext cx="656485" cy="147620"/>
          </a:xfrm>
          <a:prstGeom prst="ellipse">
            <a:avLst/>
          </a:prstGeom>
          <a:solidFill>
            <a:schemeClr val="tx1">
              <a:alpha val="5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90" name="Free-form: Shape 289">
            <a:extLst>
              <a:ext uri="{FF2B5EF4-FFF2-40B4-BE49-F238E27FC236}">
                <a16:creationId xmlns:a16="http://schemas.microsoft.com/office/drawing/2014/main" id="{741ACD0A-AED9-19B6-DBCD-0FF1CA6601DC}"/>
              </a:ext>
            </a:extLst>
          </p:cNvPr>
          <p:cNvSpPr/>
          <p:nvPr/>
        </p:nvSpPr>
        <p:spPr>
          <a:xfrm>
            <a:off x="3138941" y="3048427"/>
            <a:ext cx="880396" cy="841622"/>
          </a:xfrm>
          <a:custGeom>
            <a:avLst/>
            <a:gdLst>
              <a:gd name="csX0" fmla="*/ 401579 w 1609516"/>
              <a:gd name="csY0" fmla="*/ 1495809 h 1538630"/>
              <a:gd name="csX1" fmla="*/ 400190 w 1609516"/>
              <a:gd name="csY1" fmla="*/ 1496004 h 1538630"/>
              <a:gd name="csX2" fmla="*/ 401224 w 1609516"/>
              <a:gd name="csY2" fmla="*/ 1496470 h 1538630"/>
              <a:gd name="csX3" fmla="*/ 401224 w 1609516"/>
              <a:gd name="csY3" fmla="*/ 1498590 h 1538630"/>
              <a:gd name="csX4" fmla="*/ 401579 w 1609516"/>
              <a:gd name="csY4" fmla="*/ 1498628 h 1538630"/>
              <a:gd name="csX5" fmla="*/ 401579 w 1609516"/>
              <a:gd name="csY5" fmla="*/ 1495809 h 1538630"/>
              <a:gd name="csX6" fmla="*/ 368755 w 1609516"/>
              <a:gd name="csY6" fmla="*/ 1486512 h 1538630"/>
              <a:gd name="csX7" fmla="*/ 364089 w 1609516"/>
              <a:gd name="csY7" fmla="*/ 1487354 h 1538630"/>
              <a:gd name="csX8" fmla="*/ 364089 w 1609516"/>
              <a:gd name="csY8" fmla="*/ 1487908 h 1538630"/>
              <a:gd name="csX9" fmla="*/ 1049801 w 1609516"/>
              <a:gd name="csY9" fmla="*/ 1484562 h 1538630"/>
              <a:gd name="csX10" fmla="*/ 1046735 w 1609516"/>
              <a:gd name="csY10" fmla="*/ 1485945 h 1538630"/>
              <a:gd name="csX11" fmla="*/ 1046955 w 1609516"/>
              <a:gd name="csY11" fmla="*/ 1486045 h 1538630"/>
              <a:gd name="csX12" fmla="*/ 1049801 w 1609516"/>
              <a:gd name="csY12" fmla="*/ 1485188 h 1538630"/>
              <a:gd name="csX13" fmla="*/ 351234 w 1609516"/>
              <a:gd name="csY13" fmla="*/ 1444508 h 1538630"/>
              <a:gd name="csX14" fmla="*/ 351234 w 1609516"/>
              <a:gd name="csY14" fmla="*/ 1444997 h 1538630"/>
              <a:gd name="csX15" fmla="*/ 351592 w 1609516"/>
              <a:gd name="csY15" fmla="*/ 1445078 h 1538630"/>
              <a:gd name="csX16" fmla="*/ 351908 w 1609516"/>
              <a:gd name="csY16" fmla="*/ 1431206 h 1538630"/>
              <a:gd name="csX17" fmla="*/ 351234 w 1609516"/>
              <a:gd name="csY17" fmla="*/ 1431611 h 1538630"/>
              <a:gd name="csX18" fmla="*/ 351234 w 1609516"/>
              <a:gd name="csY18" fmla="*/ 1432274 h 1538630"/>
              <a:gd name="csX19" fmla="*/ 358162 w 1609516"/>
              <a:gd name="csY19" fmla="*/ 1421494 h 1538630"/>
              <a:gd name="csX20" fmla="*/ 355921 w 1609516"/>
              <a:gd name="csY20" fmla="*/ 1423156 h 1538630"/>
              <a:gd name="csX21" fmla="*/ 355921 w 1609516"/>
              <a:gd name="csY21" fmla="*/ 1423548 h 1538630"/>
              <a:gd name="csX22" fmla="*/ 376098 w 1609516"/>
              <a:gd name="csY22" fmla="*/ 1408347 h 1538630"/>
              <a:gd name="csX23" fmla="*/ 370750 w 1609516"/>
              <a:gd name="csY23" fmla="*/ 1412245 h 1538630"/>
              <a:gd name="csX24" fmla="*/ 375023 w 1609516"/>
              <a:gd name="csY24" fmla="*/ 1411256 h 1538630"/>
              <a:gd name="csX25" fmla="*/ 421956 w 1609516"/>
              <a:gd name="csY25" fmla="*/ 1365623 h 1538630"/>
              <a:gd name="csX26" fmla="*/ 421765 w 1609516"/>
              <a:gd name="csY26" fmla="*/ 1366161 h 1538630"/>
              <a:gd name="csX27" fmla="*/ 421887 w 1609516"/>
              <a:gd name="csY27" fmla="*/ 1366161 h 1538630"/>
              <a:gd name="csX28" fmla="*/ 754553 w 1609516"/>
              <a:gd name="csY28" fmla="*/ 1360575 h 1538630"/>
              <a:gd name="csX29" fmla="*/ 754089 w 1609516"/>
              <a:gd name="csY29" fmla="*/ 1361433 h 1538630"/>
              <a:gd name="csX30" fmla="*/ 754431 w 1609516"/>
              <a:gd name="csY30" fmla="*/ 1361125 h 1538630"/>
              <a:gd name="csX31" fmla="*/ 1277973 w 1609516"/>
              <a:gd name="csY31" fmla="*/ 1332923 h 1538630"/>
              <a:gd name="csX32" fmla="*/ 1277944 w 1609516"/>
              <a:gd name="csY32" fmla="*/ 1332936 h 1538630"/>
              <a:gd name="csX33" fmla="*/ 1277949 w 1609516"/>
              <a:gd name="csY33" fmla="*/ 1333139 h 1538630"/>
              <a:gd name="csX34" fmla="*/ 1268556 w 1609516"/>
              <a:gd name="csY34" fmla="*/ 1321066 h 1538630"/>
              <a:gd name="csX35" fmla="*/ 1268556 w 1609516"/>
              <a:gd name="csY35" fmla="*/ 1325294 h 1538630"/>
              <a:gd name="csX36" fmla="*/ 1265432 w 1609516"/>
              <a:gd name="csY36" fmla="*/ 1325294 h 1538630"/>
              <a:gd name="csX37" fmla="*/ 1265432 w 1609516"/>
              <a:gd name="csY37" fmla="*/ 1340795 h 1538630"/>
              <a:gd name="csX38" fmla="*/ 1265476 w 1609516"/>
              <a:gd name="csY38" fmla="*/ 1340714 h 1538630"/>
              <a:gd name="csX39" fmla="*/ 1265476 w 1609516"/>
              <a:gd name="csY39" fmla="*/ 1325877 h 1538630"/>
              <a:gd name="csX40" fmla="*/ 1268600 w 1609516"/>
              <a:gd name="csY40" fmla="*/ 1325877 h 1538630"/>
              <a:gd name="csX41" fmla="*/ 1268600 w 1609516"/>
              <a:gd name="csY41" fmla="*/ 1321649 h 1538630"/>
              <a:gd name="csX42" fmla="*/ 1273286 w 1609516"/>
              <a:gd name="csY42" fmla="*/ 1321649 h 1538630"/>
              <a:gd name="csX43" fmla="*/ 1273227 w 1609516"/>
              <a:gd name="csY43" fmla="*/ 1321066 h 1538630"/>
              <a:gd name="csX44" fmla="*/ 827891 w 1609516"/>
              <a:gd name="csY44" fmla="*/ 1291474 h 1538630"/>
              <a:gd name="csX45" fmla="*/ 822601 w 1609516"/>
              <a:gd name="csY45" fmla="*/ 1291544 h 1538630"/>
              <a:gd name="csX46" fmla="*/ 818272 w 1609516"/>
              <a:gd name="csY46" fmla="*/ 1292220 h 1538630"/>
              <a:gd name="csX47" fmla="*/ 827891 w 1609516"/>
              <a:gd name="csY47" fmla="*/ 1292047 h 1538630"/>
              <a:gd name="csX48" fmla="*/ 856397 w 1609516"/>
              <a:gd name="csY48" fmla="*/ 1288691 h 1538630"/>
              <a:gd name="csX49" fmla="*/ 865903 w 1609516"/>
              <a:gd name="csY49" fmla="*/ 1290590 h 1538630"/>
              <a:gd name="csX50" fmla="*/ 859999 w 1609516"/>
              <a:gd name="csY50" fmla="*/ 1288752 h 1538630"/>
              <a:gd name="csX51" fmla="*/ 834694 w 1609516"/>
              <a:gd name="csY51" fmla="*/ 1288572 h 1538630"/>
              <a:gd name="csX52" fmla="*/ 828038 w 1609516"/>
              <a:gd name="csY52" fmla="*/ 1288654 h 1538630"/>
              <a:gd name="csX53" fmla="*/ 828038 w 1609516"/>
              <a:gd name="csY53" fmla="*/ 1289214 h 1538630"/>
              <a:gd name="csX54" fmla="*/ 229746 w 1609516"/>
              <a:gd name="csY54" fmla="*/ 1191418 h 1538630"/>
              <a:gd name="csX55" fmla="*/ 227402 w 1609516"/>
              <a:gd name="csY55" fmla="*/ 1191947 h 1538630"/>
              <a:gd name="csX56" fmla="*/ 229315 w 1609516"/>
              <a:gd name="csY56" fmla="*/ 1191947 h 1538630"/>
              <a:gd name="csX57" fmla="*/ 229315 w 1609516"/>
              <a:gd name="csY57" fmla="*/ 1194765 h 1538630"/>
              <a:gd name="csX58" fmla="*/ 231321 w 1609516"/>
              <a:gd name="csY58" fmla="*/ 1194765 h 1538630"/>
              <a:gd name="csX59" fmla="*/ 229746 w 1609516"/>
              <a:gd name="csY59" fmla="*/ 1194236 h 1538630"/>
              <a:gd name="csX60" fmla="*/ 229746 w 1609516"/>
              <a:gd name="csY60" fmla="*/ 1191418 h 1538630"/>
              <a:gd name="csX61" fmla="*/ 215687 w 1609516"/>
              <a:gd name="csY61" fmla="*/ 1187190 h 1538630"/>
              <a:gd name="csX62" fmla="*/ 215198 w 1609516"/>
              <a:gd name="csY62" fmla="*/ 1187720 h 1538630"/>
              <a:gd name="csX63" fmla="*/ 215256 w 1609516"/>
              <a:gd name="csY63" fmla="*/ 1187720 h 1538630"/>
              <a:gd name="csX64" fmla="*/ 215256 w 1609516"/>
              <a:gd name="csY64" fmla="*/ 1191947 h 1538630"/>
              <a:gd name="csX65" fmla="*/ 222721 w 1609516"/>
              <a:gd name="csY65" fmla="*/ 1191947 h 1538630"/>
              <a:gd name="csX66" fmla="*/ 215687 w 1609516"/>
              <a:gd name="csY66" fmla="*/ 1191418 h 1538630"/>
              <a:gd name="csX67" fmla="*/ 215687 w 1609516"/>
              <a:gd name="csY67" fmla="*/ 1187190 h 1538630"/>
              <a:gd name="csX68" fmla="*/ 1279678 w 1609516"/>
              <a:gd name="csY68" fmla="*/ 1082356 h 1538630"/>
              <a:gd name="csX69" fmla="*/ 1271680 w 1609516"/>
              <a:gd name="csY69" fmla="*/ 1084589 h 1538630"/>
              <a:gd name="csX70" fmla="*/ 1282181 w 1609516"/>
              <a:gd name="csY70" fmla="*/ 1082544 h 1538630"/>
              <a:gd name="csX71" fmla="*/ 117703 w 1609516"/>
              <a:gd name="csY71" fmla="*/ 941507 h 1538630"/>
              <a:gd name="csX72" fmla="*/ 112587 w 1609516"/>
              <a:gd name="csY72" fmla="*/ 941985 h 1538630"/>
              <a:gd name="csX73" fmla="*/ 112565 w 1609516"/>
              <a:gd name="csY73" fmla="*/ 942333 h 1538630"/>
              <a:gd name="csX74" fmla="*/ 115665 w 1609516"/>
              <a:gd name="csY74" fmla="*/ 941837 h 1538630"/>
              <a:gd name="csX75" fmla="*/ 144268 w 1609516"/>
              <a:gd name="csY75" fmla="*/ 939395 h 1538630"/>
              <a:gd name="csX76" fmla="*/ 143354 w 1609516"/>
              <a:gd name="csY76" fmla="*/ 939580 h 1538630"/>
              <a:gd name="csX77" fmla="*/ 144077 w 1609516"/>
              <a:gd name="csY77" fmla="*/ 939739 h 1538630"/>
              <a:gd name="csX78" fmla="*/ 162575 w 1609516"/>
              <a:gd name="csY78" fmla="*/ 933530 h 1538630"/>
              <a:gd name="csX79" fmla="*/ 161704 w 1609516"/>
              <a:gd name="csY79" fmla="*/ 935101 h 1538630"/>
              <a:gd name="csX80" fmla="*/ 170045 w 1609516"/>
              <a:gd name="csY80" fmla="*/ 933585 h 1538630"/>
              <a:gd name="csX81" fmla="*/ 1321645 w 1609516"/>
              <a:gd name="csY81" fmla="*/ 918415 h 1538630"/>
              <a:gd name="csX82" fmla="*/ 1321534 w 1609516"/>
              <a:gd name="csY82" fmla="*/ 920177 h 1538630"/>
              <a:gd name="csX83" fmla="*/ 1321740 w 1609516"/>
              <a:gd name="csY83" fmla="*/ 918415 h 1538630"/>
              <a:gd name="csX84" fmla="*/ 1319333 w 1609516"/>
              <a:gd name="csY84" fmla="*/ 915183 h 1538630"/>
              <a:gd name="csX85" fmla="*/ 1318544 w 1609516"/>
              <a:gd name="csY85" fmla="*/ 918029 h 1538630"/>
              <a:gd name="csX86" fmla="*/ 1318702 w 1609516"/>
              <a:gd name="csY86" fmla="*/ 918029 h 1538630"/>
              <a:gd name="csX87" fmla="*/ 1326355 w 1609516"/>
              <a:gd name="csY87" fmla="*/ 907109 h 1538630"/>
              <a:gd name="csX88" fmla="*/ 1326355 w 1609516"/>
              <a:gd name="csY88" fmla="*/ 910983 h 1538630"/>
              <a:gd name="csX89" fmla="*/ 1325831 w 1609516"/>
              <a:gd name="csY89" fmla="*/ 911101 h 1538630"/>
              <a:gd name="csX90" fmla="*/ 1326426 w 1609516"/>
              <a:gd name="csY90" fmla="*/ 911369 h 1538630"/>
              <a:gd name="csX91" fmla="*/ 1326426 w 1609516"/>
              <a:gd name="csY91" fmla="*/ 907141 h 1538630"/>
              <a:gd name="csX92" fmla="*/ 1328144 w 1609516"/>
              <a:gd name="csY92" fmla="*/ 892192 h 1538630"/>
              <a:gd name="csX93" fmla="*/ 1327667 w 1609516"/>
              <a:gd name="csY93" fmla="*/ 893446 h 1538630"/>
              <a:gd name="csX94" fmla="*/ 1327989 w 1609516"/>
              <a:gd name="csY94" fmla="*/ 893049 h 1538630"/>
              <a:gd name="csX95" fmla="*/ 49605 w 1609516"/>
              <a:gd name="csY95" fmla="*/ 887420 h 1538630"/>
              <a:gd name="csX96" fmla="*/ 48549 w 1609516"/>
              <a:gd name="csY96" fmla="*/ 891229 h 1538630"/>
              <a:gd name="csX97" fmla="*/ 49956 w 1609516"/>
              <a:gd name="csY97" fmla="*/ 887420 h 1538630"/>
              <a:gd name="csX98" fmla="*/ 1332266 w 1609516"/>
              <a:gd name="csY98" fmla="*/ 883369 h 1538630"/>
              <a:gd name="csX99" fmla="*/ 1329479 w 1609516"/>
              <a:gd name="csY99" fmla="*/ 884207 h 1538630"/>
              <a:gd name="csX100" fmla="*/ 1329509 w 1609516"/>
              <a:gd name="csY100" fmla="*/ 884816 h 1538630"/>
              <a:gd name="csX101" fmla="*/ 1329551 w 1609516"/>
              <a:gd name="csY101" fmla="*/ 884594 h 1538630"/>
              <a:gd name="csX102" fmla="*/ 1555987 w 1609516"/>
              <a:gd name="csY102" fmla="*/ 821766 h 1538630"/>
              <a:gd name="csX103" fmla="*/ 1555987 w 1609516"/>
              <a:gd name="csY103" fmla="*/ 822201 h 1538630"/>
              <a:gd name="csX104" fmla="*/ 1556081 w 1609516"/>
              <a:gd name="csY104" fmla="*/ 822189 h 1538630"/>
              <a:gd name="csX105" fmla="*/ 1565360 w 1609516"/>
              <a:gd name="csY105" fmla="*/ 810928 h 1538630"/>
              <a:gd name="csX106" fmla="*/ 1564871 w 1609516"/>
              <a:gd name="csY106" fmla="*/ 811809 h 1538630"/>
              <a:gd name="csX107" fmla="*/ 1567314 w 1609516"/>
              <a:gd name="csY107" fmla="*/ 810928 h 1538630"/>
              <a:gd name="csX108" fmla="*/ 1563797 w 1609516"/>
              <a:gd name="csY108" fmla="*/ 810928 h 1538630"/>
              <a:gd name="csX109" fmla="*/ 1556762 w 1609516"/>
              <a:gd name="csY109" fmla="*/ 814736 h 1538630"/>
              <a:gd name="csX110" fmla="*/ 1563797 w 1609516"/>
              <a:gd name="csY110" fmla="*/ 812197 h 1538630"/>
              <a:gd name="csX111" fmla="*/ 265833 w 1609516"/>
              <a:gd name="csY111" fmla="*/ 806020 h 1538630"/>
              <a:gd name="csX112" fmla="*/ 263704 w 1609516"/>
              <a:gd name="csY112" fmla="*/ 809861 h 1538630"/>
              <a:gd name="csX113" fmla="*/ 263704 w 1609516"/>
              <a:gd name="csY113" fmla="*/ 816750 h 1538630"/>
              <a:gd name="csX114" fmla="*/ 264113 w 1609516"/>
              <a:gd name="csY114" fmla="*/ 816565 h 1538630"/>
              <a:gd name="csX115" fmla="*/ 263918 w 1609516"/>
              <a:gd name="csY115" fmla="*/ 812777 h 1538630"/>
              <a:gd name="csX116" fmla="*/ 263774 w 1609516"/>
              <a:gd name="csY116" fmla="*/ 779374 h 1538630"/>
              <a:gd name="csX117" fmla="*/ 263704 w 1609516"/>
              <a:gd name="csY117" fmla="*/ 783086 h 1538630"/>
              <a:gd name="csX118" fmla="*/ 264484 w 1609516"/>
              <a:gd name="csY118" fmla="*/ 785816 h 1538630"/>
              <a:gd name="csX119" fmla="*/ 265265 w 1609516"/>
              <a:gd name="csY119" fmla="*/ 794448 h 1538630"/>
              <a:gd name="csX120" fmla="*/ 265217 w 1609516"/>
              <a:gd name="csY120" fmla="*/ 799730 h 1538630"/>
              <a:gd name="csX121" fmla="*/ 266556 w 1609516"/>
              <a:gd name="csY121" fmla="*/ 803466 h 1538630"/>
              <a:gd name="csX122" fmla="*/ 267237 w 1609516"/>
              <a:gd name="csY122" fmla="*/ 801063 h 1538630"/>
              <a:gd name="csX123" fmla="*/ 265675 w 1609516"/>
              <a:gd name="csY123" fmla="*/ 799654 h 1538630"/>
              <a:gd name="csX124" fmla="*/ 265675 w 1609516"/>
              <a:gd name="csY124" fmla="*/ 793841 h 1538630"/>
              <a:gd name="csX125" fmla="*/ 260988 w 1609516"/>
              <a:gd name="csY125" fmla="*/ 770061 h 1538630"/>
              <a:gd name="csX126" fmla="*/ 260988 w 1609516"/>
              <a:gd name="csY126" fmla="*/ 771364 h 1538630"/>
              <a:gd name="csX127" fmla="*/ 263497 w 1609516"/>
              <a:gd name="csY127" fmla="*/ 777263 h 1538630"/>
              <a:gd name="csX128" fmla="*/ 262551 w 1609516"/>
              <a:gd name="csY128" fmla="*/ 770061 h 1538630"/>
              <a:gd name="csX129" fmla="*/ 260988 w 1609516"/>
              <a:gd name="csY129" fmla="*/ 770061 h 1538630"/>
              <a:gd name="csX130" fmla="*/ 157888 w 1609516"/>
              <a:gd name="csY130" fmla="*/ 651686 h 1538630"/>
              <a:gd name="csX131" fmla="*/ 157415 w 1609516"/>
              <a:gd name="csY131" fmla="*/ 651764 h 1538630"/>
              <a:gd name="csX132" fmla="*/ 160373 w 1609516"/>
              <a:gd name="csY132" fmla="*/ 652274 h 1538630"/>
              <a:gd name="csX133" fmla="*/ 267237 w 1609516"/>
              <a:gd name="csY133" fmla="*/ 426537 h 1538630"/>
              <a:gd name="csX134" fmla="*/ 267237 w 1609516"/>
              <a:gd name="csY134" fmla="*/ 427619 h 1538630"/>
              <a:gd name="csX135" fmla="*/ 270380 w 1609516"/>
              <a:gd name="csY135" fmla="*/ 428137 h 1538630"/>
              <a:gd name="csX136" fmla="*/ 273548 w 1609516"/>
              <a:gd name="csY136" fmla="*/ 428680 h 1538630"/>
              <a:gd name="csX137" fmla="*/ 37605 w 1609516"/>
              <a:gd name="csY137" fmla="*/ 359270 h 1538630"/>
              <a:gd name="csX138" fmla="*/ 37103 w 1609516"/>
              <a:gd name="csY138" fmla="*/ 361533 h 1538630"/>
              <a:gd name="csX139" fmla="*/ 37605 w 1609516"/>
              <a:gd name="csY139" fmla="*/ 361382 h 1538630"/>
              <a:gd name="csX140" fmla="*/ 52477 w 1609516"/>
              <a:gd name="csY140" fmla="*/ 337570 h 1538630"/>
              <a:gd name="csX141" fmla="*/ 47288 w 1609516"/>
              <a:gd name="csY141" fmla="*/ 342340 h 1538630"/>
              <a:gd name="csX142" fmla="*/ 45805 w 1609516"/>
              <a:gd name="csY142" fmla="*/ 345093 h 1538630"/>
              <a:gd name="csX143" fmla="*/ 104291 w 1609516"/>
              <a:gd name="csY143" fmla="*/ 336166 h 1538630"/>
              <a:gd name="csX144" fmla="*/ 103776 w 1609516"/>
              <a:gd name="csY144" fmla="*/ 337559 h 1538630"/>
              <a:gd name="csX145" fmla="*/ 108925 w 1609516"/>
              <a:gd name="csY145" fmla="*/ 336166 h 1538630"/>
              <a:gd name="csX146" fmla="*/ 1309237 w 1609516"/>
              <a:gd name="csY146" fmla="*/ 322954 h 1538630"/>
              <a:gd name="csX147" fmla="*/ 1309180 w 1609516"/>
              <a:gd name="csY147" fmla="*/ 330559 h 1538630"/>
              <a:gd name="csX148" fmla="*/ 1309237 w 1609516"/>
              <a:gd name="csY148" fmla="*/ 330520 h 1538630"/>
              <a:gd name="csX149" fmla="*/ 1308964 w 1609516"/>
              <a:gd name="csY149" fmla="*/ 317715 h 1538630"/>
              <a:gd name="csX150" fmla="*/ 1309237 w 1609516"/>
              <a:gd name="csY150" fmla="*/ 318569 h 1538630"/>
              <a:gd name="csX151" fmla="*/ 1309237 w 1609516"/>
              <a:gd name="csY151" fmla="*/ 317838 h 1538630"/>
              <a:gd name="csX152" fmla="*/ 1310087 w 1609516"/>
              <a:gd name="csY152" fmla="*/ 313153 h 1538630"/>
              <a:gd name="csX153" fmla="*/ 1307609 w 1609516"/>
              <a:gd name="csY153" fmla="*/ 313473 h 1538630"/>
              <a:gd name="csX154" fmla="*/ 1308045 w 1609516"/>
              <a:gd name="csY154" fmla="*/ 314836 h 1538630"/>
              <a:gd name="csX155" fmla="*/ 1318544 w 1609516"/>
              <a:gd name="csY155" fmla="*/ 312064 h 1538630"/>
              <a:gd name="csX156" fmla="*/ 1316298 w 1609516"/>
              <a:gd name="csY156" fmla="*/ 312353 h 1538630"/>
              <a:gd name="csX157" fmla="*/ 1318544 w 1609516"/>
              <a:gd name="csY157" fmla="*/ 312205 h 1538630"/>
              <a:gd name="csX158" fmla="*/ 1084622 w 1609516"/>
              <a:gd name="csY158" fmla="*/ 267674 h 1538630"/>
              <a:gd name="csX159" fmla="*/ 1084227 w 1609516"/>
              <a:gd name="csY159" fmla="*/ 268378 h 1538630"/>
              <a:gd name="csX160" fmla="*/ 1079540 w 1609516"/>
              <a:gd name="csY160" fmla="*/ 268378 h 1538630"/>
              <a:gd name="csX161" fmla="*/ 1079603 w 1609516"/>
              <a:gd name="csY161" fmla="*/ 268477 h 1538630"/>
              <a:gd name="csX162" fmla="*/ 1084192 w 1609516"/>
              <a:gd name="csY162" fmla="*/ 268477 h 1538630"/>
              <a:gd name="csX163" fmla="*/ 956410 w 1609516"/>
              <a:gd name="csY163" fmla="*/ 266968 h 1538630"/>
              <a:gd name="csX164" fmla="*/ 957576 w 1609516"/>
              <a:gd name="csY164" fmla="*/ 267083 h 1538630"/>
              <a:gd name="csX165" fmla="*/ 957576 w 1609516"/>
              <a:gd name="csY165" fmla="*/ 269776 h 1538630"/>
              <a:gd name="csX166" fmla="*/ 957694 w 1609516"/>
              <a:gd name="csY166" fmla="*/ 269787 h 1538630"/>
              <a:gd name="csX167" fmla="*/ 957694 w 1609516"/>
              <a:gd name="csY167" fmla="*/ 266968 h 1538630"/>
              <a:gd name="csX168" fmla="*/ 1089372 w 1609516"/>
              <a:gd name="csY168" fmla="*/ 259220 h 1538630"/>
              <a:gd name="csX169" fmla="*/ 1085856 w 1609516"/>
              <a:gd name="csY169" fmla="*/ 265479 h 1538630"/>
              <a:gd name="csX170" fmla="*/ 1088878 w 1609516"/>
              <a:gd name="csY170" fmla="*/ 261431 h 1538630"/>
              <a:gd name="csX171" fmla="*/ 1018517 w 1609516"/>
              <a:gd name="csY171" fmla="*/ 223356 h 1538630"/>
              <a:gd name="csX172" fmla="*/ 1013866 w 1609516"/>
              <a:gd name="csY172" fmla="*/ 226190 h 1538630"/>
              <a:gd name="csX173" fmla="*/ 1013024 w 1609516"/>
              <a:gd name="csY173" fmla="*/ 227709 h 1538630"/>
              <a:gd name="csX174" fmla="*/ 1017055 w 1609516"/>
              <a:gd name="csY174" fmla="*/ 224692 h 1538630"/>
              <a:gd name="csX175" fmla="*/ 850645 w 1609516"/>
              <a:gd name="csY175" fmla="*/ 220099 h 1538630"/>
              <a:gd name="csX176" fmla="*/ 850897 w 1609516"/>
              <a:gd name="csY176" fmla="*/ 221488 h 1538630"/>
              <a:gd name="csX177" fmla="*/ 851470 w 1609516"/>
              <a:gd name="csY177" fmla="*/ 224692 h 1538630"/>
              <a:gd name="csX178" fmla="*/ 852860 w 1609516"/>
              <a:gd name="csY178" fmla="*/ 224692 h 1538630"/>
              <a:gd name="csX179" fmla="*/ 1155019 w 1609516"/>
              <a:gd name="csY179" fmla="*/ 35 h 1538630"/>
              <a:gd name="csX180" fmla="*/ 1174829 w 1609516"/>
              <a:gd name="csY180" fmla="*/ 4853 h 1538630"/>
              <a:gd name="csX181" fmla="*/ 1179418 w 1609516"/>
              <a:gd name="csY181" fmla="*/ 5998 h 1538630"/>
              <a:gd name="csX182" fmla="*/ 1201385 w 1609516"/>
              <a:gd name="csY182" fmla="*/ 22997 h 1538630"/>
              <a:gd name="csX183" fmla="*/ 1201678 w 1609516"/>
              <a:gd name="csY183" fmla="*/ 62191 h 1538630"/>
              <a:gd name="csX184" fmla="*/ 1198261 w 1609516"/>
              <a:gd name="csY184" fmla="*/ 68268 h 1538630"/>
              <a:gd name="csX185" fmla="*/ 1195723 w 1609516"/>
              <a:gd name="csY185" fmla="*/ 72672 h 1538630"/>
              <a:gd name="csX186" fmla="*/ 1193575 w 1609516"/>
              <a:gd name="csY186" fmla="*/ 75314 h 1538630"/>
              <a:gd name="csX187" fmla="*/ 1190450 w 1609516"/>
              <a:gd name="csY187" fmla="*/ 75314 h 1538630"/>
              <a:gd name="csX188" fmla="*/ 1189474 w 1609516"/>
              <a:gd name="csY188" fmla="*/ 79366 h 1538630"/>
              <a:gd name="csX189" fmla="*/ 1182445 w 1609516"/>
              <a:gd name="csY189" fmla="*/ 85707 h 1538630"/>
              <a:gd name="csX190" fmla="*/ 1177953 w 1609516"/>
              <a:gd name="csY190" fmla="*/ 86588 h 1538630"/>
              <a:gd name="csX191" fmla="*/ 1177953 w 1609516"/>
              <a:gd name="csY191" fmla="*/ 89406 h 1538630"/>
              <a:gd name="csX192" fmla="*/ 1170045 w 1609516"/>
              <a:gd name="csY192" fmla="*/ 94251 h 1538630"/>
              <a:gd name="csX193" fmla="*/ 1143806 w 1609516"/>
              <a:gd name="csY193" fmla="*/ 132828 h 1538630"/>
              <a:gd name="csX194" fmla="*/ 1137338 w 1609516"/>
              <a:gd name="csY194" fmla="*/ 141548 h 1538630"/>
              <a:gd name="csX195" fmla="*/ 1133970 w 1609516"/>
              <a:gd name="csY195" fmla="*/ 149403 h 1538630"/>
              <a:gd name="csX196" fmla="*/ 1127965 w 1609516"/>
              <a:gd name="csY196" fmla="*/ 164095 h 1538630"/>
              <a:gd name="csX197" fmla="*/ 1124762 w 1609516"/>
              <a:gd name="csY197" fmla="*/ 171802 h 1538630"/>
              <a:gd name="csX198" fmla="*/ 1119359 w 1609516"/>
              <a:gd name="csY198" fmla="*/ 184798 h 1538630"/>
              <a:gd name="csX199" fmla="*/ 1111014 w 1609516"/>
              <a:gd name="csY199" fmla="*/ 204941 h 1538630"/>
              <a:gd name="csX200" fmla="*/ 1109729 w 1609516"/>
              <a:gd name="csY200" fmla="*/ 208059 h 1538630"/>
              <a:gd name="csX201" fmla="*/ 1106395 w 1609516"/>
              <a:gd name="csY201" fmla="*/ 216170 h 1538630"/>
              <a:gd name="csX202" fmla="*/ 1102147 w 1609516"/>
              <a:gd name="csY202" fmla="*/ 224810 h 1538630"/>
              <a:gd name="csX203" fmla="*/ 1098261 w 1609516"/>
              <a:gd name="csY203" fmla="*/ 227262 h 1538630"/>
              <a:gd name="csX204" fmla="*/ 1098367 w 1609516"/>
              <a:gd name="csY204" fmla="*/ 238475 h 1538630"/>
              <a:gd name="csX205" fmla="*/ 1097331 w 1609516"/>
              <a:gd name="csY205" fmla="*/ 242358 h 1538630"/>
              <a:gd name="csX206" fmla="*/ 1096201 w 1609516"/>
              <a:gd name="csY206" fmla="*/ 246458 h 1538630"/>
              <a:gd name="csX207" fmla="*/ 1089440 w 1609516"/>
              <a:gd name="csY207" fmla="*/ 279206 h 1538630"/>
              <a:gd name="csX208" fmla="*/ 1087316 w 1609516"/>
              <a:gd name="csY208" fmla="*/ 283978 h 1538630"/>
              <a:gd name="csX209" fmla="*/ 1086822 w 1609516"/>
              <a:gd name="csY209" fmla="*/ 291822 h 1538630"/>
              <a:gd name="csX210" fmla="*/ 1086623 w 1609516"/>
              <a:gd name="csY210" fmla="*/ 296625 h 1538630"/>
              <a:gd name="csX211" fmla="*/ 1086437 w 1609516"/>
              <a:gd name="csY211" fmla="*/ 301681 h 1538630"/>
              <a:gd name="csX212" fmla="*/ 1086233 w 1609516"/>
              <a:gd name="csY212" fmla="*/ 306754 h 1538630"/>
              <a:gd name="csX213" fmla="*/ 1086007 w 1609516"/>
              <a:gd name="csY213" fmla="*/ 312619 h 1538630"/>
              <a:gd name="csX214" fmla="*/ 1087470 w 1609516"/>
              <a:gd name="csY214" fmla="*/ 320554 h 1538630"/>
              <a:gd name="csX215" fmla="*/ 1098285 w 1609516"/>
              <a:gd name="csY215" fmla="*/ 334611 h 1538630"/>
              <a:gd name="csX216" fmla="*/ 1102607 w 1609516"/>
              <a:gd name="csY216" fmla="*/ 337679 h 1538630"/>
              <a:gd name="csX217" fmla="*/ 1106095 w 1609516"/>
              <a:gd name="csY217" fmla="*/ 340248 h 1538630"/>
              <a:gd name="csX218" fmla="*/ 1106095 w 1609516"/>
              <a:gd name="csY218" fmla="*/ 343066 h 1538630"/>
              <a:gd name="csX219" fmla="*/ 1109220 w 1609516"/>
              <a:gd name="csY219" fmla="*/ 343419 h 1538630"/>
              <a:gd name="csX220" fmla="*/ 1126403 w 1609516"/>
              <a:gd name="csY220" fmla="*/ 350112 h 1538630"/>
              <a:gd name="csX221" fmla="*/ 1131871 w 1609516"/>
              <a:gd name="csY221" fmla="*/ 352579 h 1538630"/>
              <a:gd name="csX222" fmla="*/ 1135776 w 1609516"/>
              <a:gd name="csY222" fmla="*/ 354340 h 1538630"/>
              <a:gd name="csX223" fmla="*/ 1135776 w 1609516"/>
              <a:gd name="csY223" fmla="*/ 357158 h 1538630"/>
              <a:gd name="csX224" fmla="*/ 1170143 w 1609516"/>
              <a:gd name="csY224" fmla="*/ 354340 h 1538630"/>
              <a:gd name="csX225" fmla="*/ 1174634 w 1609516"/>
              <a:gd name="csY225" fmla="*/ 352579 h 1538630"/>
              <a:gd name="csX226" fmla="*/ 1190890 w 1609516"/>
              <a:gd name="csY226" fmla="*/ 342907 h 1538630"/>
              <a:gd name="csX227" fmla="*/ 1204021 w 1609516"/>
              <a:gd name="csY227" fmla="*/ 335404 h 1538630"/>
              <a:gd name="csX228" fmla="*/ 1223255 w 1609516"/>
              <a:gd name="csY228" fmla="*/ 319110 h 1538630"/>
              <a:gd name="csX229" fmla="*/ 1226868 w 1609516"/>
              <a:gd name="csY229" fmla="*/ 315587 h 1538630"/>
              <a:gd name="csX230" fmla="*/ 1231859 w 1609516"/>
              <a:gd name="csY230" fmla="*/ 303559 h 1538630"/>
              <a:gd name="csX231" fmla="*/ 1234178 w 1609516"/>
              <a:gd name="csY231" fmla="*/ 298059 h 1538630"/>
              <a:gd name="csX232" fmla="*/ 1237314 w 1609516"/>
              <a:gd name="csY232" fmla="*/ 288195 h 1538630"/>
              <a:gd name="csX233" fmla="*/ 1249811 w 1609516"/>
              <a:gd name="csY233" fmla="*/ 265559 h 1538630"/>
              <a:gd name="csX234" fmla="*/ 1252935 w 1609516"/>
              <a:gd name="csY234" fmla="*/ 265559 h 1538630"/>
              <a:gd name="csX235" fmla="*/ 1252935 w 1609516"/>
              <a:gd name="csY235" fmla="*/ 262741 h 1538630"/>
              <a:gd name="csX236" fmla="*/ 1296675 w 1609516"/>
              <a:gd name="csY236" fmla="*/ 252876 h 1538630"/>
              <a:gd name="csX237" fmla="*/ 1307609 w 1609516"/>
              <a:gd name="csY237" fmla="*/ 255695 h 1538630"/>
              <a:gd name="csX238" fmla="*/ 1307609 w 1609516"/>
              <a:gd name="csY238" fmla="*/ 258513 h 1538630"/>
              <a:gd name="csX239" fmla="*/ 1311887 w 1609516"/>
              <a:gd name="csY239" fmla="*/ 258832 h 1538630"/>
              <a:gd name="csX240" fmla="*/ 1326715 w 1609516"/>
              <a:gd name="csY240" fmla="*/ 269969 h 1538630"/>
              <a:gd name="csX241" fmla="*/ 1334165 w 1609516"/>
              <a:gd name="csY241" fmla="*/ 307836 h 1538630"/>
              <a:gd name="csX242" fmla="*/ 1329479 w 1609516"/>
              <a:gd name="csY242" fmla="*/ 314882 h 1538630"/>
              <a:gd name="csX243" fmla="*/ 1323231 w 1609516"/>
              <a:gd name="csY243" fmla="*/ 314882 h 1538630"/>
              <a:gd name="csX244" fmla="*/ 1323231 w 1609516"/>
              <a:gd name="csY244" fmla="*/ 317700 h 1538630"/>
              <a:gd name="csX245" fmla="*/ 1322774 w 1609516"/>
              <a:gd name="csY245" fmla="*/ 317838 h 1538630"/>
              <a:gd name="csX246" fmla="*/ 1323295 w 1609516"/>
              <a:gd name="csY246" fmla="*/ 317838 h 1538630"/>
              <a:gd name="csX247" fmla="*/ 1323295 w 1609516"/>
              <a:gd name="csY247" fmla="*/ 315019 h 1538630"/>
              <a:gd name="csX248" fmla="*/ 1327982 w 1609516"/>
              <a:gd name="csY248" fmla="*/ 315019 h 1538630"/>
              <a:gd name="csX249" fmla="*/ 1317047 w 1609516"/>
              <a:gd name="csY249" fmla="*/ 327702 h 1538630"/>
              <a:gd name="csX250" fmla="*/ 1315484 w 1609516"/>
              <a:gd name="csY250" fmla="*/ 331930 h 1538630"/>
              <a:gd name="csX251" fmla="*/ 1309139 w 1609516"/>
              <a:gd name="csY251" fmla="*/ 333603 h 1538630"/>
              <a:gd name="csX252" fmla="*/ 1305666 w 1609516"/>
              <a:gd name="csY252" fmla="*/ 334280 h 1538630"/>
              <a:gd name="csX253" fmla="*/ 1302988 w 1609516"/>
              <a:gd name="csY253" fmla="*/ 334748 h 1538630"/>
              <a:gd name="csX254" fmla="*/ 1305905 w 1609516"/>
              <a:gd name="csY254" fmla="*/ 332775 h 1538630"/>
              <a:gd name="csX255" fmla="*/ 1304485 w 1609516"/>
              <a:gd name="csY255" fmla="*/ 333202 h 1538630"/>
              <a:gd name="csX256" fmla="*/ 1301459 w 1609516"/>
              <a:gd name="csY256" fmla="*/ 336108 h 1538630"/>
              <a:gd name="csX257" fmla="*/ 1291989 w 1609516"/>
              <a:gd name="csY257" fmla="*/ 338839 h 1538630"/>
              <a:gd name="csX258" fmla="*/ 1290426 w 1609516"/>
              <a:gd name="csY258" fmla="*/ 343066 h 1538630"/>
              <a:gd name="csX259" fmla="*/ 1285740 w 1609516"/>
              <a:gd name="csY259" fmla="*/ 344123 h 1538630"/>
              <a:gd name="csX260" fmla="*/ 1237314 w 1609516"/>
              <a:gd name="csY260" fmla="*/ 382525 h 1538630"/>
              <a:gd name="csX261" fmla="*/ 1232628 w 1609516"/>
              <a:gd name="csY261" fmla="*/ 392389 h 1538630"/>
              <a:gd name="csX262" fmla="*/ 1228625 w 1609516"/>
              <a:gd name="csY262" fmla="*/ 398731 h 1538630"/>
              <a:gd name="csX263" fmla="*/ 1222822 w 1609516"/>
              <a:gd name="csY263" fmla="*/ 434798 h 1538630"/>
              <a:gd name="csX264" fmla="*/ 1260746 w 1609516"/>
              <a:gd name="csY264" fmla="*/ 485398 h 1538630"/>
              <a:gd name="csX265" fmla="*/ 1268556 w 1609516"/>
              <a:gd name="csY265" fmla="*/ 488216 h 1538630"/>
              <a:gd name="csX266" fmla="*/ 1268556 w 1609516"/>
              <a:gd name="csY266" fmla="*/ 491034 h 1538630"/>
              <a:gd name="csX267" fmla="*/ 1338852 w 1609516"/>
              <a:gd name="csY267" fmla="*/ 489625 h 1538630"/>
              <a:gd name="csX268" fmla="*/ 1347444 w 1609516"/>
              <a:gd name="csY268" fmla="*/ 488480 h 1538630"/>
              <a:gd name="csX269" fmla="*/ 1369362 w 1609516"/>
              <a:gd name="csY269" fmla="*/ 482513 h 1538630"/>
              <a:gd name="csX270" fmla="*/ 1388840 w 1609516"/>
              <a:gd name="csY270" fmla="*/ 478351 h 1538630"/>
              <a:gd name="csX271" fmla="*/ 1388840 w 1609516"/>
              <a:gd name="csY271" fmla="*/ 475533 h 1538630"/>
              <a:gd name="csX272" fmla="*/ 1395576 w 1609516"/>
              <a:gd name="csY272" fmla="*/ 473419 h 1538630"/>
              <a:gd name="csX273" fmla="*/ 1399365 w 1609516"/>
              <a:gd name="csY273" fmla="*/ 472230 h 1538630"/>
              <a:gd name="csX274" fmla="*/ 1407585 w 1609516"/>
              <a:gd name="csY274" fmla="*/ 471305 h 1538630"/>
              <a:gd name="csX275" fmla="*/ 1409147 w 1609516"/>
              <a:gd name="csY275" fmla="*/ 467078 h 1538630"/>
              <a:gd name="csX276" fmla="*/ 1416470 w 1609516"/>
              <a:gd name="csY276" fmla="*/ 464259 h 1538630"/>
              <a:gd name="csX277" fmla="*/ 1437949 w 1609516"/>
              <a:gd name="csY277" fmla="*/ 455011 h 1538630"/>
              <a:gd name="csX278" fmla="*/ 1452887 w 1609516"/>
              <a:gd name="csY278" fmla="*/ 450167 h 1538630"/>
              <a:gd name="csX279" fmla="*/ 1452887 w 1609516"/>
              <a:gd name="csY279" fmla="*/ 447349 h 1538630"/>
              <a:gd name="csX280" fmla="*/ 1455394 w 1609516"/>
              <a:gd name="csY280" fmla="*/ 446122 h 1538630"/>
              <a:gd name="csX281" fmla="*/ 1466653 w 1609516"/>
              <a:gd name="csY281" fmla="*/ 440567 h 1538630"/>
              <a:gd name="csX282" fmla="*/ 1470598 w 1609516"/>
              <a:gd name="csY282" fmla="*/ 438637 h 1538630"/>
              <a:gd name="csX283" fmla="*/ 1474397 w 1609516"/>
              <a:gd name="csY283" fmla="*/ 436752 h 1538630"/>
              <a:gd name="csX284" fmla="*/ 1477892 w 1609516"/>
              <a:gd name="csY284" fmla="*/ 435030 h 1538630"/>
              <a:gd name="csX285" fmla="*/ 1485691 w 1609516"/>
              <a:gd name="csY285" fmla="*/ 429029 h 1538630"/>
              <a:gd name="csX286" fmla="*/ 1488858 w 1609516"/>
              <a:gd name="csY286" fmla="*/ 427653 h 1538630"/>
              <a:gd name="csX287" fmla="*/ 1495943 w 1609516"/>
              <a:gd name="csY287" fmla="*/ 421454 h 1538630"/>
              <a:gd name="csX288" fmla="*/ 1538608 w 1609516"/>
              <a:gd name="csY288" fmla="*/ 388338 h 1538630"/>
              <a:gd name="csX289" fmla="*/ 1543490 w 1609516"/>
              <a:gd name="csY289" fmla="*/ 388161 h 1538630"/>
              <a:gd name="csX290" fmla="*/ 1547621 w 1609516"/>
              <a:gd name="csY290" fmla="*/ 387804 h 1538630"/>
              <a:gd name="csX291" fmla="*/ 1579418 w 1609516"/>
              <a:gd name="csY291" fmla="*/ 396617 h 1538630"/>
              <a:gd name="csX292" fmla="*/ 1583342 w 1609516"/>
              <a:gd name="csY292" fmla="*/ 398780 h 1538630"/>
              <a:gd name="csX293" fmla="*/ 1601288 w 1609516"/>
              <a:gd name="csY293" fmla="*/ 423392 h 1538630"/>
              <a:gd name="csX294" fmla="*/ 1594484 w 1609516"/>
              <a:gd name="csY294" fmla="*/ 460159 h 1538630"/>
              <a:gd name="csX295" fmla="*/ 1574732 w 1609516"/>
              <a:gd name="csY295" fmla="*/ 475533 h 1538630"/>
              <a:gd name="csX296" fmla="*/ 1572097 w 1609516"/>
              <a:gd name="csY296" fmla="*/ 477078 h 1538630"/>
              <a:gd name="csX297" fmla="*/ 1556066 w 1609516"/>
              <a:gd name="csY297" fmla="*/ 478737 h 1538630"/>
              <a:gd name="csX298" fmla="*/ 1548631 w 1609516"/>
              <a:gd name="csY298" fmla="*/ 478825 h 1538630"/>
              <a:gd name="csX299" fmla="*/ 1536991 w 1609516"/>
              <a:gd name="csY299" fmla="*/ 478889 h 1538630"/>
              <a:gd name="csX300" fmla="*/ 1498188 w 1609516"/>
              <a:gd name="csY300" fmla="*/ 485398 h 1538630"/>
              <a:gd name="csX301" fmla="*/ 1493892 w 1609516"/>
              <a:gd name="csY301" fmla="*/ 487600 h 1538630"/>
              <a:gd name="csX302" fmla="*/ 1490377 w 1609516"/>
              <a:gd name="csY302" fmla="*/ 489625 h 1538630"/>
              <a:gd name="csX303" fmla="*/ 1471650 w 1609516"/>
              <a:gd name="csY303" fmla="*/ 498185 h 1538630"/>
              <a:gd name="csX304" fmla="*/ 1459135 w 1609516"/>
              <a:gd name="csY304" fmla="*/ 505127 h 1538630"/>
              <a:gd name="csX305" fmla="*/ 1452594 w 1609516"/>
              <a:gd name="csY305" fmla="*/ 508033 h 1538630"/>
              <a:gd name="csX306" fmla="*/ 1427795 w 1609516"/>
              <a:gd name="csY306" fmla="*/ 520100 h 1538630"/>
              <a:gd name="csX307" fmla="*/ 1423733 w 1609516"/>
              <a:gd name="csY307" fmla="*/ 522148 h 1538630"/>
              <a:gd name="csX308" fmla="*/ 1419929 w 1609516"/>
              <a:gd name="csY308" fmla="*/ 524118 h 1538630"/>
              <a:gd name="csX309" fmla="*/ 1416487 w 1609516"/>
              <a:gd name="csY309" fmla="*/ 525883 h 1538630"/>
              <a:gd name="csX310" fmla="*/ 1412271 w 1609516"/>
              <a:gd name="csY310" fmla="*/ 531902 h 1538630"/>
              <a:gd name="csX311" fmla="*/ 1396650 w 1609516"/>
              <a:gd name="csY311" fmla="*/ 537539 h 1538630"/>
              <a:gd name="csX312" fmla="*/ 1396650 w 1609516"/>
              <a:gd name="csY312" fmla="*/ 540357 h 1538630"/>
              <a:gd name="csX313" fmla="*/ 1393495 w 1609516"/>
              <a:gd name="csY313" fmla="*/ 541502 h 1538630"/>
              <a:gd name="csX314" fmla="*/ 1362284 w 1609516"/>
              <a:gd name="csY314" fmla="*/ 558678 h 1538630"/>
              <a:gd name="csX315" fmla="*/ 1355937 w 1609516"/>
              <a:gd name="csY315" fmla="*/ 562905 h 1538630"/>
              <a:gd name="csX316" fmla="*/ 1334165 w 1609516"/>
              <a:gd name="csY316" fmla="*/ 578406 h 1538630"/>
              <a:gd name="csX317" fmla="*/ 1331200 w 1609516"/>
              <a:gd name="csY317" fmla="*/ 580559 h 1538630"/>
              <a:gd name="csX318" fmla="*/ 1322175 w 1609516"/>
              <a:gd name="csY318" fmla="*/ 596793 h 1538630"/>
              <a:gd name="csX319" fmla="*/ 1320106 w 1609516"/>
              <a:gd name="csY319" fmla="*/ 602363 h 1538630"/>
              <a:gd name="csX320" fmla="*/ 1328015 w 1609516"/>
              <a:gd name="csY320" fmla="*/ 647640 h 1538630"/>
              <a:gd name="csX321" fmla="*/ 1332604 w 1609516"/>
              <a:gd name="csY321" fmla="*/ 675643 h 1538630"/>
              <a:gd name="csX322" fmla="*/ 1335727 w 1609516"/>
              <a:gd name="csY322" fmla="*/ 675643 h 1538630"/>
              <a:gd name="csX323" fmla="*/ 1337741 w 1609516"/>
              <a:gd name="csY323" fmla="*/ 690059 h 1538630"/>
              <a:gd name="csX324" fmla="*/ 1338003 w 1609516"/>
              <a:gd name="csY324" fmla="*/ 696222 h 1538630"/>
              <a:gd name="csX325" fmla="*/ 1338340 w 1609516"/>
              <a:gd name="csY325" fmla="*/ 705887 h 1538630"/>
              <a:gd name="csX326" fmla="*/ 1345277 w 1609516"/>
              <a:gd name="csY326" fmla="*/ 733245 h 1538630"/>
              <a:gd name="csX327" fmla="*/ 1363162 w 1609516"/>
              <a:gd name="csY327" fmla="*/ 741612 h 1538630"/>
              <a:gd name="csX328" fmla="*/ 1384154 w 1609516"/>
              <a:gd name="csY328" fmla="*/ 748922 h 1538630"/>
              <a:gd name="csX329" fmla="*/ 1391476 w 1609516"/>
              <a:gd name="csY329" fmla="*/ 750419 h 1538630"/>
              <a:gd name="csX330" fmla="*/ 1395564 w 1609516"/>
              <a:gd name="csY330" fmla="*/ 751080 h 1538630"/>
              <a:gd name="csX331" fmla="*/ 1399775 w 1609516"/>
              <a:gd name="csY331" fmla="*/ 751740 h 1538630"/>
              <a:gd name="csX332" fmla="*/ 1403887 w 1609516"/>
              <a:gd name="csY332" fmla="*/ 752489 h 1538630"/>
              <a:gd name="csX333" fmla="*/ 1465383 w 1609516"/>
              <a:gd name="csY333" fmla="*/ 755969 h 1538630"/>
              <a:gd name="csX334" fmla="*/ 1470339 w 1609516"/>
              <a:gd name="csY334" fmla="*/ 755897 h 1538630"/>
              <a:gd name="csX335" fmla="*/ 1496809 w 1609516"/>
              <a:gd name="csY335" fmla="*/ 749313 h 1538630"/>
              <a:gd name="csX336" fmla="*/ 1515371 w 1609516"/>
              <a:gd name="csY336" fmla="*/ 743285 h 1538630"/>
              <a:gd name="csX337" fmla="*/ 1515371 w 1609516"/>
              <a:gd name="csY337" fmla="*/ 740467 h 1538630"/>
              <a:gd name="csX338" fmla="*/ 1537632 w 1609516"/>
              <a:gd name="csY338" fmla="*/ 737120 h 1538630"/>
              <a:gd name="csX339" fmla="*/ 1541657 w 1609516"/>
              <a:gd name="csY339" fmla="*/ 737127 h 1538630"/>
              <a:gd name="csX340" fmla="*/ 1574732 w 1609516"/>
              <a:gd name="csY340" fmla="*/ 748922 h 1538630"/>
              <a:gd name="csX341" fmla="*/ 1588791 w 1609516"/>
              <a:gd name="csY341" fmla="*/ 792608 h 1538630"/>
              <a:gd name="csX342" fmla="*/ 1584105 w 1609516"/>
              <a:gd name="csY342" fmla="*/ 805291 h 1538630"/>
              <a:gd name="csX343" fmla="*/ 1580981 w 1609516"/>
              <a:gd name="csY343" fmla="*/ 806700 h 1538630"/>
              <a:gd name="csX344" fmla="*/ 1578735 w 1609516"/>
              <a:gd name="csY344" fmla="*/ 810311 h 1538630"/>
              <a:gd name="csX345" fmla="*/ 1576295 w 1609516"/>
              <a:gd name="csY345" fmla="*/ 813746 h 1538630"/>
              <a:gd name="csX346" fmla="*/ 1571652 w 1609516"/>
              <a:gd name="csY346" fmla="*/ 813746 h 1538630"/>
              <a:gd name="csX347" fmla="*/ 1571785 w 1609516"/>
              <a:gd name="csY347" fmla="*/ 814106 h 1538630"/>
              <a:gd name="csX348" fmla="*/ 1574909 w 1609516"/>
              <a:gd name="csY348" fmla="*/ 815515 h 1538630"/>
              <a:gd name="csX349" fmla="*/ 1565463 w 1609516"/>
              <a:gd name="csY349" fmla="*/ 821839 h 1538630"/>
              <a:gd name="csX350" fmla="*/ 1562085 w 1609516"/>
              <a:gd name="csY350" fmla="*/ 822101 h 1538630"/>
              <a:gd name="csX351" fmla="*/ 1551301 w 1609516"/>
              <a:gd name="csY351" fmla="*/ 825020 h 1538630"/>
              <a:gd name="csX352" fmla="*/ 1551301 w 1609516"/>
              <a:gd name="csY352" fmla="*/ 827838 h 1538630"/>
              <a:gd name="csX353" fmla="*/ 1485380 w 1609516"/>
              <a:gd name="csY353" fmla="*/ 815007 h 1538630"/>
              <a:gd name="csX354" fmla="*/ 1431603 w 1609516"/>
              <a:gd name="csY354" fmla="*/ 808726 h 1538630"/>
              <a:gd name="csX355" fmla="*/ 1424140 w 1609516"/>
              <a:gd name="csY355" fmla="*/ 808542 h 1538630"/>
              <a:gd name="csX356" fmla="*/ 1406023 w 1609516"/>
              <a:gd name="csY356" fmla="*/ 808109 h 1538630"/>
              <a:gd name="csX357" fmla="*/ 1406023 w 1609516"/>
              <a:gd name="csY357" fmla="*/ 810928 h 1538630"/>
              <a:gd name="csX358" fmla="*/ 1403383 w 1609516"/>
              <a:gd name="csY358" fmla="*/ 811311 h 1538630"/>
              <a:gd name="csX359" fmla="*/ 1345442 w 1609516"/>
              <a:gd name="csY359" fmla="*/ 828907 h 1538630"/>
              <a:gd name="csX360" fmla="*/ 1337875 w 1609516"/>
              <a:gd name="csY360" fmla="*/ 856639 h 1538630"/>
              <a:gd name="csX361" fmla="*/ 1337692 w 1609516"/>
              <a:gd name="csY361" fmla="*/ 860171 h 1538630"/>
              <a:gd name="csX362" fmla="*/ 1337290 w 1609516"/>
              <a:gd name="csY362" fmla="*/ 868706 h 1538630"/>
              <a:gd name="csX363" fmla="*/ 1334165 w 1609516"/>
              <a:gd name="csY363" fmla="*/ 868706 h 1538630"/>
              <a:gd name="csX364" fmla="*/ 1334165 w 1609516"/>
              <a:gd name="csY364" fmla="*/ 870034 h 1538630"/>
              <a:gd name="csX365" fmla="*/ 1334237 w 1609516"/>
              <a:gd name="csY365" fmla="*/ 869093 h 1538630"/>
              <a:gd name="csX366" fmla="*/ 1335800 w 1609516"/>
              <a:gd name="csY366" fmla="*/ 869093 h 1538630"/>
              <a:gd name="csX367" fmla="*/ 1335995 w 1609516"/>
              <a:gd name="csY367" fmla="*/ 876491 h 1538630"/>
              <a:gd name="csX368" fmla="*/ 1336105 w 1609516"/>
              <a:gd name="csY368" fmla="*/ 880653 h 1538630"/>
              <a:gd name="csX369" fmla="*/ 1334294 w 1609516"/>
              <a:gd name="csY369" fmla="*/ 887271 h 1538630"/>
              <a:gd name="csX370" fmla="*/ 1331455 w 1609516"/>
              <a:gd name="csY370" fmla="*/ 896440 h 1538630"/>
              <a:gd name="csX371" fmla="*/ 1330887 w 1609516"/>
              <a:gd name="csY371" fmla="*/ 899969 h 1538630"/>
              <a:gd name="csX372" fmla="*/ 1330332 w 1609516"/>
              <a:gd name="csY372" fmla="*/ 903618 h 1538630"/>
              <a:gd name="csX373" fmla="*/ 1329209 w 1609516"/>
              <a:gd name="csY373" fmla="*/ 910797 h 1538630"/>
              <a:gd name="csX374" fmla="*/ 1328724 w 1609516"/>
              <a:gd name="csY374" fmla="*/ 913998 h 1538630"/>
              <a:gd name="csX375" fmla="*/ 1324865 w 1609516"/>
              <a:gd name="csY375" fmla="*/ 922643 h 1538630"/>
              <a:gd name="csX376" fmla="*/ 1322619 w 1609516"/>
              <a:gd name="csY376" fmla="*/ 937979 h 1538630"/>
              <a:gd name="csX377" fmla="*/ 1318744 w 1609516"/>
              <a:gd name="csY377" fmla="*/ 944961 h 1538630"/>
              <a:gd name="csX378" fmla="*/ 1318544 w 1609516"/>
              <a:gd name="csY378" fmla="*/ 946213 h 1538630"/>
              <a:gd name="csX379" fmla="*/ 1318251 w 1609516"/>
              <a:gd name="csY379" fmla="*/ 955285 h 1538630"/>
              <a:gd name="csX380" fmla="*/ 1318184 w 1609516"/>
              <a:gd name="csY380" fmla="*/ 960036 h 1538630"/>
              <a:gd name="csX381" fmla="*/ 1324024 w 1609516"/>
              <a:gd name="csY381" fmla="*/ 973660 h 1538630"/>
              <a:gd name="csX382" fmla="*/ 1329284 w 1609516"/>
              <a:gd name="csY382" fmla="*/ 983382 h 1538630"/>
              <a:gd name="csX383" fmla="*/ 1340414 w 1609516"/>
              <a:gd name="csY383" fmla="*/ 998354 h 1538630"/>
              <a:gd name="csX384" fmla="*/ 1346272 w 1609516"/>
              <a:gd name="csY384" fmla="*/ 1005048 h 1538630"/>
              <a:gd name="csX385" fmla="*/ 1394716 w 1609516"/>
              <a:gd name="csY385" fmla="*/ 1042740 h 1538630"/>
              <a:gd name="csX386" fmla="*/ 1401953 w 1609516"/>
              <a:gd name="csY386" fmla="*/ 1047374 h 1538630"/>
              <a:gd name="csX387" fmla="*/ 1427197 w 1609516"/>
              <a:gd name="csY387" fmla="*/ 1059061 h 1538630"/>
              <a:gd name="csX388" fmla="*/ 1437265 w 1609516"/>
              <a:gd name="csY388" fmla="*/ 1064588 h 1538630"/>
              <a:gd name="csX389" fmla="*/ 1437265 w 1609516"/>
              <a:gd name="csY389" fmla="*/ 1067406 h 1538630"/>
              <a:gd name="csX390" fmla="*/ 1440878 w 1609516"/>
              <a:gd name="csY390" fmla="*/ 1067847 h 1538630"/>
              <a:gd name="csX391" fmla="*/ 1447175 w 1609516"/>
              <a:gd name="csY391" fmla="*/ 1070753 h 1538630"/>
              <a:gd name="csX392" fmla="*/ 1457866 w 1609516"/>
              <a:gd name="csY392" fmla="*/ 1076830 h 1538630"/>
              <a:gd name="csX393" fmla="*/ 1462132 w 1609516"/>
              <a:gd name="csY393" fmla="*/ 1078696 h 1538630"/>
              <a:gd name="csX394" fmla="*/ 1465383 w 1609516"/>
              <a:gd name="csY394" fmla="*/ 1080089 h 1538630"/>
              <a:gd name="csX395" fmla="*/ 1465383 w 1609516"/>
              <a:gd name="csY395" fmla="*/ 1082908 h 1538630"/>
              <a:gd name="csX396" fmla="*/ 1468758 w 1609516"/>
              <a:gd name="csY396" fmla="*/ 1083975 h 1538630"/>
              <a:gd name="csX397" fmla="*/ 1481688 w 1609516"/>
              <a:gd name="csY397" fmla="*/ 1091187 h 1538630"/>
              <a:gd name="csX398" fmla="*/ 1486283 w 1609516"/>
              <a:gd name="csY398" fmla="*/ 1094236 h 1538630"/>
              <a:gd name="csX399" fmla="*/ 1494869 w 1609516"/>
              <a:gd name="csY399" fmla="*/ 1100171 h 1538630"/>
              <a:gd name="csX400" fmla="*/ 1544335 w 1609516"/>
              <a:gd name="csY400" fmla="*/ 1109518 h 1538630"/>
              <a:gd name="csX401" fmla="*/ 1593477 w 1609516"/>
              <a:gd name="csY401" fmla="*/ 1119900 h 1538630"/>
              <a:gd name="csX402" fmla="*/ 1605975 w 1609516"/>
              <a:gd name="csY402" fmla="*/ 1144913 h 1538630"/>
              <a:gd name="csX403" fmla="*/ 1609099 w 1609516"/>
              <a:gd name="csY403" fmla="*/ 1144913 h 1538630"/>
              <a:gd name="csX404" fmla="*/ 1609392 w 1609516"/>
              <a:gd name="csY404" fmla="*/ 1156892 h 1538630"/>
              <a:gd name="csX405" fmla="*/ 1609511 w 1609516"/>
              <a:gd name="csY405" fmla="*/ 1160272 h 1538630"/>
              <a:gd name="csX406" fmla="*/ 1604412 w 1609516"/>
              <a:gd name="csY406" fmla="*/ 1181553 h 1538630"/>
              <a:gd name="csX407" fmla="*/ 1601288 w 1609516"/>
              <a:gd name="csY407" fmla="*/ 1190009 h 1538630"/>
              <a:gd name="csX408" fmla="*/ 1598164 w 1609516"/>
              <a:gd name="csY408" fmla="*/ 1190009 h 1538630"/>
              <a:gd name="csX409" fmla="*/ 1597187 w 1609516"/>
              <a:gd name="csY409" fmla="*/ 1192739 h 1538630"/>
              <a:gd name="csX410" fmla="*/ 1595040 w 1609516"/>
              <a:gd name="csY410" fmla="*/ 1195645 h 1538630"/>
              <a:gd name="csX411" fmla="*/ 1585667 w 1609516"/>
              <a:gd name="csY411" fmla="*/ 1197055 h 1538630"/>
              <a:gd name="csX412" fmla="*/ 1582543 w 1609516"/>
              <a:gd name="csY412" fmla="*/ 1202691 h 1538630"/>
              <a:gd name="csX413" fmla="*/ 1562431 w 1609516"/>
              <a:gd name="csY413" fmla="*/ 1204365 h 1538630"/>
              <a:gd name="csX414" fmla="*/ 1558690 w 1609516"/>
              <a:gd name="csY414" fmla="*/ 1204417 h 1538630"/>
              <a:gd name="csX415" fmla="*/ 1521102 w 1609516"/>
              <a:gd name="csY415" fmla="*/ 1189585 h 1538630"/>
              <a:gd name="csX416" fmla="*/ 1505022 w 1609516"/>
              <a:gd name="csY416" fmla="*/ 1172041 h 1538630"/>
              <a:gd name="csX417" fmla="*/ 1457573 w 1609516"/>
              <a:gd name="csY417" fmla="*/ 1140686 h 1538630"/>
              <a:gd name="csX418" fmla="*/ 1457573 w 1609516"/>
              <a:gd name="csY418" fmla="*/ 1137867 h 1538630"/>
              <a:gd name="csX419" fmla="*/ 1452985 w 1609516"/>
              <a:gd name="csY419" fmla="*/ 1137339 h 1538630"/>
              <a:gd name="csX420" fmla="*/ 1448200 w 1609516"/>
              <a:gd name="csY420" fmla="*/ 1136458 h 1538630"/>
              <a:gd name="csX421" fmla="*/ 1446638 w 1609516"/>
              <a:gd name="csY421" fmla="*/ 1133640 h 1538630"/>
              <a:gd name="csX422" fmla="*/ 1438937 w 1609516"/>
              <a:gd name="csY422" fmla="*/ 1130601 h 1538630"/>
              <a:gd name="csX423" fmla="*/ 1429260 w 1609516"/>
              <a:gd name="csY423" fmla="*/ 1126770 h 1538630"/>
              <a:gd name="csX424" fmla="*/ 1411393 w 1609516"/>
              <a:gd name="csY424" fmla="*/ 1120340 h 1538630"/>
              <a:gd name="csX425" fmla="*/ 1391427 w 1609516"/>
              <a:gd name="csY425" fmla="*/ 1111191 h 1538630"/>
              <a:gd name="csX426" fmla="*/ 1381029 w 1609516"/>
              <a:gd name="csY426" fmla="*/ 1106865 h 1538630"/>
              <a:gd name="csX427" fmla="*/ 1381029 w 1609516"/>
              <a:gd name="csY427" fmla="*/ 1104046 h 1538630"/>
              <a:gd name="csX428" fmla="*/ 1377221 w 1609516"/>
              <a:gd name="csY428" fmla="*/ 1103605 h 1538630"/>
              <a:gd name="csX429" fmla="*/ 1357597 w 1609516"/>
              <a:gd name="csY429" fmla="*/ 1098409 h 1538630"/>
              <a:gd name="csX430" fmla="*/ 1352032 w 1609516"/>
              <a:gd name="csY430" fmla="*/ 1096736 h 1538630"/>
              <a:gd name="csX431" fmla="*/ 1348225 w 1609516"/>
              <a:gd name="csY431" fmla="*/ 1095590 h 1538630"/>
              <a:gd name="csX432" fmla="*/ 1348225 w 1609516"/>
              <a:gd name="csY432" fmla="*/ 1092772 h 1538630"/>
              <a:gd name="csX433" fmla="*/ 1337290 w 1609516"/>
              <a:gd name="csY433" fmla="*/ 1091363 h 1538630"/>
              <a:gd name="csX434" fmla="*/ 1337290 w 1609516"/>
              <a:gd name="csY434" fmla="*/ 1088544 h 1538630"/>
              <a:gd name="csX435" fmla="*/ 1331529 w 1609516"/>
              <a:gd name="csY435" fmla="*/ 1088104 h 1538630"/>
              <a:gd name="csX436" fmla="*/ 1323297 w 1609516"/>
              <a:gd name="csY436" fmla="*/ 1086611 h 1538630"/>
              <a:gd name="csX437" fmla="*/ 1323297 w 1609516"/>
              <a:gd name="csY437" fmla="*/ 1087618 h 1538630"/>
              <a:gd name="csX438" fmla="*/ 1319789 w 1609516"/>
              <a:gd name="csY438" fmla="*/ 1087310 h 1538630"/>
              <a:gd name="csX439" fmla="*/ 1262375 w 1609516"/>
              <a:gd name="csY439" fmla="*/ 1089028 h 1538630"/>
              <a:gd name="csX440" fmla="*/ 1258728 w 1609516"/>
              <a:gd name="csY440" fmla="*/ 1088205 h 1538630"/>
              <a:gd name="csX441" fmla="*/ 1246964 w 1609516"/>
              <a:gd name="csY441" fmla="*/ 1091489 h 1538630"/>
              <a:gd name="csX442" fmla="*/ 1223224 w 1609516"/>
              <a:gd name="csY442" fmla="*/ 1112865 h 1538630"/>
              <a:gd name="csX443" fmla="*/ 1213883 w 1609516"/>
              <a:gd name="csY443" fmla="*/ 1122366 h 1538630"/>
              <a:gd name="csX444" fmla="*/ 1212505 w 1609516"/>
              <a:gd name="csY444" fmla="*/ 1125708 h 1538630"/>
              <a:gd name="csX445" fmla="*/ 1204180 w 1609516"/>
              <a:gd name="csY445" fmla="*/ 1135561 h 1538630"/>
              <a:gd name="csX446" fmla="*/ 1200238 w 1609516"/>
              <a:gd name="csY446" fmla="*/ 1138999 h 1538630"/>
              <a:gd name="csX447" fmla="*/ 1192025 w 1609516"/>
              <a:gd name="csY447" fmla="*/ 1146022 h 1538630"/>
              <a:gd name="csX448" fmla="*/ 1173945 w 1609516"/>
              <a:gd name="csY448" fmla="*/ 1174749 h 1538630"/>
              <a:gd name="csX449" fmla="*/ 1173950 w 1609516"/>
              <a:gd name="csY449" fmla="*/ 1182610 h 1538630"/>
              <a:gd name="csX450" fmla="*/ 1173989 w 1609516"/>
              <a:gd name="csY450" fmla="*/ 1186765 h 1538630"/>
              <a:gd name="csX451" fmla="*/ 1182640 w 1609516"/>
              <a:gd name="csY451" fmla="*/ 1215374 h 1538630"/>
              <a:gd name="csX452" fmla="*/ 1185764 w 1609516"/>
              <a:gd name="csY452" fmla="*/ 1221804 h 1538630"/>
              <a:gd name="csX453" fmla="*/ 1187301 w 1609516"/>
              <a:gd name="csY453" fmla="*/ 1224859 h 1538630"/>
              <a:gd name="csX454" fmla="*/ 1190573 w 1609516"/>
              <a:gd name="csY454" fmla="*/ 1231740 h 1538630"/>
              <a:gd name="csX455" fmla="*/ 1205925 w 1609516"/>
              <a:gd name="csY455" fmla="*/ 1255163 h 1538630"/>
              <a:gd name="csX456" fmla="*/ 1212174 w 1609516"/>
              <a:gd name="csY456" fmla="*/ 1263134 h 1538630"/>
              <a:gd name="csX457" fmla="*/ 1235556 w 1609516"/>
              <a:gd name="csY457" fmla="*/ 1282538 h 1538630"/>
              <a:gd name="csX458" fmla="*/ 1238876 w 1609516"/>
              <a:gd name="csY458" fmla="*/ 1284426 h 1538630"/>
              <a:gd name="csX459" fmla="*/ 1238876 w 1609516"/>
              <a:gd name="csY459" fmla="*/ 1287245 h 1538630"/>
              <a:gd name="csX460" fmla="*/ 1242245 w 1609516"/>
              <a:gd name="csY460" fmla="*/ 1287663 h 1538630"/>
              <a:gd name="csX461" fmla="*/ 1271681 w 1609516"/>
              <a:gd name="csY461" fmla="*/ 1305565 h 1538630"/>
              <a:gd name="csX462" fmla="*/ 1271742 w 1609516"/>
              <a:gd name="csY462" fmla="*/ 1306172 h 1538630"/>
              <a:gd name="csX463" fmla="*/ 1278525 w 1609516"/>
              <a:gd name="csY463" fmla="*/ 1315767 h 1538630"/>
              <a:gd name="csX464" fmla="*/ 1281097 w 1609516"/>
              <a:gd name="csY464" fmla="*/ 1327286 h 1538630"/>
              <a:gd name="csX465" fmla="*/ 1277973 w 1609516"/>
              <a:gd name="csY465" fmla="*/ 1355470 h 1538630"/>
              <a:gd name="csX466" fmla="*/ 1277460 w 1609516"/>
              <a:gd name="csY466" fmla="*/ 1347025 h 1538630"/>
              <a:gd name="csX467" fmla="*/ 1273531 w 1609516"/>
              <a:gd name="csY467" fmla="*/ 1357991 h 1538630"/>
              <a:gd name="csX468" fmla="*/ 1263870 w 1609516"/>
              <a:gd name="csY468" fmla="*/ 1368980 h 1538630"/>
              <a:gd name="csX469" fmla="*/ 1246686 w 1609516"/>
              <a:gd name="csY469" fmla="*/ 1376026 h 1538630"/>
              <a:gd name="csX470" fmla="*/ 1246686 w 1609516"/>
              <a:gd name="csY470" fmla="*/ 1378844 h 1538630"/>
              <a:gd name="csX471" fmla="*/ 1231651 w 1609516"/>
              <a:gd name="csY471" fmla="*/ 1379196 h 1538630"/>
              <a:gd name="csX472" fmla="*/ 1227373 w 1609516"/>
              <a:gd name="csY472" fmla="*/ 1379340 h 1538630"/>
              <a:gd name="csX473" fmla="*/ 1206071 w 1609516"/>
              <a:gd name="csY473" fmla="*/ 1373207 h 1538630"/>
              <a:gd name="csX474" fmla="*/ 1202069 w 1609516"/>
              <a:gd name="csY474" fmla="*/ 1371798 h 1538630"/>
              <a:gd name="csX475" fmla="*/ 1184104 w 1609516"/>
              <a:gd name="csY475" fmla="*/ 1356176 h 1538630"/>
              <a:gd name="csX476" fmla="*/ 1177270 w 1609516"/>
              <a:gd name="csY476" fmla="*/ 1335247 h 1538630"/>
              <a:gd name="csX477" fmla="*/ 1169002 w 1609516"/>
              <a:gd name="csY477" fmla="*/ 1313464 h 1538630"/>
              <a:gd name="csX478" fmla="*/ 1163504 w 1609516"/>
              <a:gd name="csY478" fmla="*/ 1302130 h 1538630"/>
              <a:gd name="csX479" fmla="*/ 1162015 w 1609516"/>
              <a:gd name="csY479" fmla="*/ 1298788 h 1538630"/>
              <a:gd name="csX480" fmla="*/ 1160111 w 1609516"/>
              <a:gd name="csY480" fmla="*/ 1292656 h 1538630"/>
              <a:gd name="csX481" fmla="*/ 1154522 w 1609516"/>
              <a:gd name="csY481" fmla="*/ 1287245 h 1538630"/>
              <a:gd name="csX482" fmla="*/ 1151398 w 1609516"/>
              <a:gd name="csY482" fmla="*/ 1280199 h 1538630"/>
              <a:gd name="csX483" fmla="*/ 1144173 w 1609516"/>
              <a:gd name="csY483" fmla="*/ 1270774 h 1538630"/>
              <a:gd name="csX484" fmla="*/ 1142065 w 1609516"/>
              <a:gd name="csY484" fmla="*/ 1268160 h 1538630"/>
              <a:gd name="csX485" fmla="*/ 1135776 w 1609516"/>
              <a:gd name="csY485" fmla="*/ 1260470 h 1538630"/>
              <a:gd name="csX486" fmla="*/ 1132353 w 1609516"/>
              <a:gd name="csY486" fmla="*/ 1256247 h 1538630"/>
              <a:gd name="csX487" fmla="*/ 1112344 w 1609516"/>
              <a:gd name="csY487" fmla="*/ 1240741 h 1538630"/>
              <a:gd name="csX488" fmla="*/ 1106193 w 1609516"/>
              <a:gd name="csY488" fmla="*/ 1237570 h 1538630"/>
              <a:gd name="csX489" fmla="*/ 1101409 w 1609516"/>
              <a:gd name="csY489" fmla="*/ 1235104 h 1538630"/>
              <a:gd name="csX490" fmla="*/ 1101409 w 1609516"/>
              <a:gd name="csY490" fmla="*/ 1230876 h 1538630"/>
              <a:gd name="csX491" fmla="*/ 1065480 w 1609516"/>
              <a:gd name="csY491" fmla="*/ 1230876 h 1538630"/>
              <a:gd name="csX492" fmla="*/ 1063919 w 1609516"/>
              <a:gd name="csY492" fmla="*/ 1235104 h 1538630"/>
              <a:gd name="csX493" fmla="*/ 1059232 w 1609516"/>
              <a:gd name="csY493" fmla="*/ 1235104 h 1538630"/>
              <a:gd name="csX494" fmla="*/ 1059232 w 1609516"/>
              <a:gd name="csY494" fmla="*/ 1237922 h 1538630"/>
              <a:gd name="csX495" fmla="*/ 1040194 w 1609516"/>
              <a:gd name="csY495" fmla="*/ 1245761 h 1538630"/>
              <a:gd name="csX496" fmla="*/ 1030333 w 1609516"/>
              <a:gd name="csY496" fmla="*/ 1249901 h 1538630"/>
              <a:gd name="csX497" fmla="*/ 1013931 w 1609516"/>
              <a:gd name="csY497" fmla="*/ 1256242 h 1538630"/>
              <a:gd name="csX498" fmla="*/ 1005925 w 1609516"/>
              <a:gd name="csY498" fmla="*/ 1261615 h 1538630"/>
              <a:gd name="csX499" fmla="*/ 1004558 w 1609516"/>
              <a:gd name="csY499" fmla="*/ 1264697 h 1538630"/>
              <a:gd name="csX500" fmla="*/ 1002959 w 1609516"/>
              <a:gd name="csY500" fmla="*/ 1267961 h 1538630"/>
              <a:gd name="csX501" fmla="*/ 1000653 w 1609516"/>
              <a:gd name="csY501" fmla="*/ 1278965 h 1538630"/>
              <a:gd name="csX502" fmla="*/ 998297 w 1609516"/>
              <a:gd name="csY502" fmla="*/ 1294137 h 1538630"/>
              <a:gd name="csX503" fmla="*/ 996162 w 1609516"/>
              <a:gd name="csY503" fmla="*/ 1324765 h 1538630"/>
              <a:gd name="csX504" fmla="*/ 996164 w 1609516"/>
              <a:gd name="csY504" fmla="*/ 1327846 h 1538630"/>
              <a:gd name="csX505" fmla="*/ 1007780 w 1609516"/>
              <a:gd name="csY505" fmla="*/ 1403329 h 1538630"/>
              <a:gd name="csX506" fmla="*/ 1008940 w 1609516"/>
              <a:gd name="csY506" fmla="*/ 1407701 h 1538630"/>
              <a:gd name="csX507" fmla="*/ 1010080 w 1609516"/>
              <a:gd name="csY507" fmla="*/ 1411730 h 1538630"/>
              <a:gd name="csX508" fmla="*/ 1011075 w 1609516"/>
              <a:gd name="csY508" fmla="*/ 1415277 h 1538630"/>
              <a:gd name="csX509" fmla="*/ 1017055 w 1609516"/>
              <a:gd name="csY509" fmla="*/ 1422530 h 1538630"/>
              <a:gd name="csX510" fmla="*/ 1020277 w 1609516"/>
              <a:gd name="csY510" fmla="*/ 1427991 h 1538630"/>
              <a:gd name="csX511" fmla="*/ 1021796 w 1609516"/>
              <a:gd name="csY511" fmla="*/ 1430798 h 1538630"/>
              <a:gd name="csX512" fmla="*/ 1024579 w 1609516"/>
              <a:gd name="csY512" fmla="*/ 1437239 h 1538630"/>
              <a:gd name="csX513" fmla="*/ 1034043 w 1609516"/>
              <a:gd name="csY513" fmla="*/ 1448072 h 1538630"/>
              <a:gd name="csX514" fmla="*/ 1043782 w 1609516"/>
              <a:gd name="csY514" fmla="*/ 1464320 h 1538630"/>
              <a:gd name="csX515" fmla="*/ 1050458 w 1609516"/>
              <a:gd name="csY515" fmla="*/ 1472189 h 1538630"/>
              <a:gd name="csX516" fmla="*/ 1052926 w 1609516"/>
              <a:gd name="csY516" fmla="*/ 1482370 h 1538630"/>
              <a:gd name="csX517" fmla="*/ 1053316 w 1609516"/>
              <a:gd name="csY517" fmla="*/ 1496903 h 1538630"/>
              <a:gd name="csX518" fmla="*/ 1053352 w 1609516"/>
              <a:gd name="csY518" fmla="*/ 1500660 h 1538630"/>
              <a:gd name="csX519" fmla="*/ 1053341 w 1609516"/>
              <a:gd name="csY519" fmla="*/ 1504285 h 1538630"/>
              <a:gd name="csX520" fmla="*/ 1053329 w 1609516"/>
              <a:gd name="csY520" fmla="*/ 1507529 h 1538630"/>
              <a:gd name="csX521" fmla="*/ 1049801 w 1609516"/>
              <a:gd name="csY521" fmla="*/ 1516192 h 1538630"/>
              <a:gd name="csX522" fmla="*/ 1047312 w 1609516"/>
              <a:gd name="csY522" fmla="*/ 1516192 h 1538630"/>
              <a:gd name="csX523" fmla="*/ 1043611 w 1609516"/>
              <a:gd name="csY523" fmla="*/ 1522585 h 1538630"/>
              <a:gd name="csX524" fmla="*/ 1029552 w 1609516"/>
              <a:gd name="csY524" fmla="*/ 1529631 h 1538630"/>
              <a:gd name="csX525" fmla="*/ 1028771 w 1609516"/>
              <a:gd name="csY525" fmla="*/ 1532273 h 1538630"/>
              <a:gd name="csX526" fmla="*/ 1018013 w 1609516"/>
              <a:gd name="csY526" fmla="*/ 1537640 h 1538630"/>
              <a:gd name="csX527" fmla="*/ 981126 w 1609516"/>
              <a:gd name="csY527" fmla="*/ 1533859 h 1538630"/>
              <a:gd name="csX528" fmla="*/ 977227 w 1609516"/>
              <a:gd name="csY528" fmla="*/ 1531943 h 1538630"/>
              <a:gd name="csX529" fmla="*/ 955376 w 1609516"/>
              <a:gd name="csY529" fmla="*/ 1508751 h 1538630"/>
              <a:gd name="csX530" fmla="*/ 954571 w 1609516"/>
              <a:gd name="csY530" fmla="*/ 1500037 h 1538630"/>
              <a:gd name="csX531" fmla="*/ 951446 w 1609516"/>
              <a:gd name="csY531" fmla="*/ 1500037 h 1538630"/>
              <a:gd name="csX532" fmla="*/ 951251 w 1609516"/>
              <a:gd name="csY532" fmla="*/ 1487883 h 1538630"/>
              <a:gd name="csX533" fmla="*/ 951171 w 1609516"/>
              <a:gd name="csY533" fmla="*/ 1484431 h 1538630"/>
              <a:gd name="csX534" fmla="*/ 954571 w 1609516"/>
              <a:gd name="csY534" fmla="*/ 1466216 h 1538630"/>
              <a:gd name="csX535" fmla="*/ 954961 w 1609516"/>
              <a:gd name="csY535" fmla="*/ 1455118 h 1538630"/>
              <a:gd name="csX536" fmla="*/ 954932 w 1609516"/>
              <a:gd name="csY536" fmla="*/ 1451972 h 1538630"/>
              <a:gd name="csX537" fmla="*/ 945099 w 1609516"/>
              <a:gd name="csY537" fmla="*/ 1403594 h 1538630"/>
              <a:gd name="csX538" fmla="*/ 942366 w 1609516"/>
              <a:gd name="csY538" fmla="*/ 1393553 h 1538630"/>
              <a:gd name="csX539" fmla="*/ 934451 w 1609516"/>
              <a:gd name="csY539" fmla="*/ 1372734 h 1538630"/>
              <a:gd name="csX540" fmla="*/ 931974 w 1609516"/>
              <a:gd name="csY540" fmla="*/ 1365754 h 1538630"/>
              <a:gd name="csX541" fmla="*/ 931138 w 1609516"/>
              <a:gd name="csY541" fmla="*/ 1363343 h 1538630"/>
              <a:gd name="csX542" fmla="*/ 926452 w 1609516"/>
              <a:gd name="csY542" fmla="*/ 1361933 h 1538630"/>
              <a:gd name="csX543" fmla="*/ 918641 w 1609516"/>
              <a:gd name="csY543" fmla="*/ 1340795 h 1538630"/>
              <a:gd name="csX544" fmla="*/ 917079 w 1609516"/>
              <a:gd name="csY544" fmla="*/ 1335158 h 1538630"/>
              <a:gd name="csX545" fmla="*/ 913955 w 1609516"/>
              <a:gd name="csY545" fmla="*/ 1335158 h 1538630"/>
              <a:gd name="csX546" fmla="*/ 912057 w 1609516"/>
              <a:gd name="csY546" fmla="*/ 1330793 h 1538630"/>
              <a:gd name="csX547" fmla="*/ 902142 w 1609516"/>
              <a:gd name="csY547" fmla="*/ 1316222 h 1538630"/>
              <a:gd name="csX548" fmla="*/ 900091 w 1609516"/>
              <a:gd name="csY548" fmla="*/ 1313828 h 1538630"/>
              <a:gd name="csX549" fmla="*/ 878026 w 1609516"/>
              <a:gd name="csY549" fmla="*/ 1295700 h 1538630"/>
              <a:gd name="csX550" fmla="*/ 875134 w 1609516"/>
              <a:gd name="csY550" fmla="*/ 1293465 h 1538630"/>
              <a:gd name="csX551" fmla="*/ 869869 w 1609516"/>
              <a:gd name="csY551" fmla="*/ 1291826 h 1538630"/>
              <a:gd name="csX552" fmla="*/ 862384 w 1609516"/>
              <a:gd name="csY552" fmla="*/ 1291327 h 1538630"/>
              <a:gd name="csX553" fmla="*/ 844390 w 1609516"/>
              <a:gd name="csY553" fmla="*/ 1290461 h 1538630"/>
              <a:gd name="csX554" fmla="*/ 840476 w 1609516"/>
              <a:gd name="csY554" fmla="*/ 1290500 h 1538630"/>
              <a:gd name="csX555" fmla="*/ 831015 w 1609516"/>
              <a:gd name="csY555" fmla="*/ 1290637 h 1538630"/>
              <a:gd name="csX556" fmla="*/ 831015 w 1609516"/>
              <a:gd name="csY556" fmla="*/ 1293456 h 1538630"/>
              <a:gd name="csX557" fmla="*/ 818225 w 1609516"/>
              <a:gd name="csY557" fmla="*/ 1295570 h 1538630"/>
              <a:gd name="csX558" fmla="*/ 796774 w 1609516"/>
              <a:gd name="csY558" fmla="*/ 1297671 h 1538630"/>
              <a:gd name="csX559" fmla="*/ 783646 w 1609516"/>
              <a:gd name="csY559" fmla="*/ 1305736 h 1538630"/>
              <a:gd name="csX560" fmla="*/ 769263 w 1609516"/>
              <a:gd name="csY560" fmla="*/ 1327143 h 1538630"/>
              <a:gd name="csX561" fmla="*/ 764797 w 1609516"/>
              <a:gd name="csY561" fmla="*/ 1334360 h 1538630"/>
              <a:gd name="csX562" fmla="*/ 757875 w 1609516"/>
              <a:gd name="csY562" fmla="*/ 1353503 h 1538630"/>
              <a:gd name="csX563" fmla="*/ 755676 w 1609516"/>
              <a:gd name="csY563" fmla="*/ 1367455 h 1538630"/>
              <a:gd name="csX564" fmla="*/ 750558 w 1609516"/>
              <a:gd name="csY564" fmla="*/ 1399690 h 1538630"/>
              <a:gd name="csX565" fmla="*/ 753057 w 1609516"/>
              <a:gd name="csY565" fmla="*/ 1411256 h 1538630"/>
              <a:gd name="csX566" fmla="*/ 753057 w 1609516"/>
              <a:gd name="csY566" fmla="*/ 1416893 h 1538630"/>
              <a:gd name="csX567" fmla="*/ 756181 w 1609516"/>
              <a:gd name="csY567" fmla="*/ 1416893 h 1538630"/>
              <a:gd name="csX568" fmla="*/ 758133 w 1609516"/>
              <a:gd name="csY568" fmla="*/ 1436182 h 1538630"/>
              <a:gd name="csX569" fmla="*/ 758231 w 1609516"/>
              <a:gd name="csY569" fmla="*/ 1440781 h 1538630"/>
              <a:gd name="csX570" fmla="*/ 750713 w 1609516"/>
              <a:gd name="csY570" fmla="*/ 1465704 h 1538630"/>
              <a:gd name="csX571" fmla="*/ 748370 w 1609516"/>
              <a:gd name="csY571" fmla="*/ 1467185 h 1538630"/>
              <a:gd name="csX572" fmla="*/ 741633 w 1609516"/>
              <a:gd name="csY572" fmla="*/ 1473526 h 1538630"/>
              <a:gd name="csX573" fmla="*/ 728154 w 1609516"/>
              <a:gd name="csY573" fmla="*/ 1478343 h 1538630"/>
              <a:gd name="csX574" fmla="*/ 721814 w 1609516"/>
              <a:gd name="csY574" fmla="*/ 1480308 h 1538630"/>
              <a:gd name="csX575" fmla="*/ 708341 w 1609516"/>
              <a:gd name="csY575" fmla="*/ 1480661 h 1538630"/>
              <a:gd name="csX576" fmla="*/ 704637 w 1609516"/>
              <a:gd name="csY576" fmla="*/ 1480748 h 1538630"/>
              <a:gd name="csX577" fmla="*/ 668507 w 1609516"/>
              <a:gd name="csY577" fmla="*/ 1468418 h 1538630"/>
              <a:gd name="csX578" fmla="*/ 660178 w 1609516"/>
              <a:gd name="csY578" fmla="*/ 1450027 h 1538630"/>
              <a:gd name="csX579" fmla="*/ 657767 w 1609516"/>
              <a:gd name="csY579" fmla="*/ 1445078 h 1538630"/>
              <a:gd name="csX580" fmla="*/ 663369 w 1609516"/>
              <a:gd name="csY580" fmla="*/ 1409390 h 1538630"/>
              <a:gd name="csX581" fmla="*/ 671826 w 1609516"/>
              <a:gd name="csY581" fmla="*/ 1401392 h 1538630"/>
              <a:gd name="csX582" fmla="*/ 678075 w 1609516"/>
              <a:gd name="csY582" fmla="*/ 1390118 h 1538630"/>
              <a:gd name="csX583" fmla="*/ 684323 w 1609516"/>
              <a:gd name="csY583" fmla="*/ 1388709 h 1538630"/>
              <a:gd name="csX584" fmla="*/ 685293 w 1609516"/>
              <a:gd name="csY584" fmla="*/ 1384233 h 1538630"/>
              <a:gd name="csX585" fmla="*/ 686569 w 1609516"/>
              <a:gd name="csY585" fmla="*/ 1378404 h 1538630"/>
              <a:gd name="csX586" fmla="*/ 687207 w 1609516"/>
              <a:gd name="csY586" fmla="*/ 1375456 h 1538630"/>
              <a:gd name="csX587" fmla="*/ 690572 w 1609516"/>
              <a:gd name="csY587" fmla="*/ 1363343 h 1538630"/>
              <a:gd name="csX588" fmla="*/ 692495 w 1609516"/>
              <a:gd name="csY588" fmla="*/ 1323376 h 1538630"/>
              <a:gd name="csX589" fmla="*/ 692625 w 1609516"/>
              <a:gd name="csY589" fmla="*/ 1315006 h 1538630"/>
              <a:gd name="csX590" fmla="*/ 687447 w 1609516"/>
              <a:gd name="csY590" fmla="*/ 1287245 h 1538630"/>
              <a:gd name="csX591" fmla="*/ 682761 w 1609516"/>
              <a:gd name="csY591" fmla="*/ 1285835 h 1538630"/>
              <a:gd name="csX592" fmla="*/ 678954 w 1609516"/>
              <a:gd name="csY592" fmla="*/ 1281608 h 1538630"/>
              <a:gd name="csX593" fmla="*/ 668702 w 1609516"/>
              <a:gd name="csY593" fmla="*/ 1275971 h 1538630"/>
              <a:gd name="csX594" fmla="*/ 662454 w 1609516"/>
              <a:gd name="csY594" fmla="*/ 1270334 h 1538630"/>
              <a:gd name="csX595" fmla="*/ 654643 w 1609516"/>
              <a:gd name="csY595" fmla="*/ 1267516 h 1538630"/>
              <a:gd name="csX596" fmla="*/ 654643 w 1609516"/>
              <a:gd name="csY596" fmla="*/ 1264697 h 1538630"/>
              <a:gd name="csX597" fmla="*/ 650152 w 1609516"/>
              <a:gd name="csY597" fmla="*/ 1264345 h 1538630"/>
              <a:gd name="csX598" fmla="*/ 628087 w 1609516"/>
              <a:gd name="csY598" fmla="*/ 1257651 h 1538630"/>
              <a:gd name="csX599" fmla="*/ 628087 w 1609516"/>
              <a:gd name="csY599" fmla="*/ 1254833 h 1538630"/>
              <a:gd name="csX600" fmla="*/ 625121 w 1609516"/>
              <a:gd name="csY600" fmla="*/ 1254315 h 1538630"/>
              <a:gd name="csX601" fmla="*/ 621252 w 1609516"/>
              <a:gd name="csY601" fmla="*/ 1253600 h 1538630"/>
              <a:gd name="csX602" fmla="*/ 617409 w 1609516"/>
              <a:gd name="csY602" fmla="*/ 1252906 h 1538630"/>
              <a:gd name="csX603" fmla="*/ 610904 w 1609516"/>
              <a:gd name="csY603" fmla="*/ 1249196 h 1538630"/>
              <a:gd name="csX604" fmla="*/ 565739 w 1609516"/>
              <a:gd name="csY604" fmla="*/ 1271742 h 1538630"/>
              <a:gd name="csX605" fmla="*/ 546924 w 1609516"/>
              <a:gd name="csY605" fmla="*/ 1290829 h 1538630"/>
              <a:gd name="csX606" fmla="*/ 543635 w 1609516"/>
              <a:gd name="csY606" fmla="*/ 1294643 h 1538630"/>
              <a:gd name="csX607" fmla="*/ 540651 w 1609516"/>
              <a:gd name="csY607" fmla="*/ 1298188 h 1538630"/>
              <a:gd name="csX608" fmla="*/ 529673 w 1609516"/>
              <a:gd name="csY608" fmla="*/ 1305565 h 1538630"/>
              <a:gd name="csX609" fmla="*/ 526549 w 1609516"/>
              <a:gd name="csY609" fmla="*/ 1311202 h 1538630"/>
              <a:gd name="csX610" fmla="*/ 523425 w 1609516"/>
              <a:gd name="csY610" fmla="*/ 1311202 h 1538630"/>
              <a:gd name="csX611" fmla="*/ 523230 w 1609516"/>
              <a:gd name="csY611" fmla="*/ 1313580 h 1538630"/>
              <a:gd name="csX612" fmla="*/ 517732 w 1609516"/>
              <a:gd name="csY612" fmla="*/ 1319739 h 1538630"/>
              <a:gd name="csX613" fmla="*/ 502239 w 1609516"/>
              <a:gd name="csY613" fmla="*/ 1337096 h 1538630"/>
              <a:gd name="csX614" fmla="*/ 497058 w 1609516"/>
              <a:gd name="csY614" fmla="*/ 1344087 h 1538630"/>
              <a:gd name="csX615" fmla="*/ 494572 w 1609516"/>
              <a:gd name="csY615" fmla="*/ 1347465 h 1538630"/>
              <a:gd name="csX616" fmla="*/ 487776 w 1609516"/>
              <a:gd name="csY616" fmla="*/ 1356181 h 1538630"/>
              <a:gd name="csX617" fmla="*/ 481248 w 1609516"/>
              <a:gd name="csY617" fmla="*/ 1367571 h 1538630"/>
              <a:gd name="csX618" fmla="*/ 478123 w 1609516"/>
              <a:gd name="csY618" fmla="*/ 1367571 h 1538630"/>
              <a:gd name="csX619" fmla="*/ 477635 w 1609516"/>
              <a:gd name="csY619" fmla="*/ 1370565 h 1538630"/>
              <a:gd name="csX620" fmla="*/ 465626 w 1609516"/>
              <a:gd name="csY620" fmla="*/ 1388709 h 1538630"/>
              <a:gd name="csX621" fmla="*/ 461233 w 1609516"/>
              <a:gd name="csY621" fmla="*/ 1397340 h 1538630"/>
              <a:gd name="csX622" fmla="*/ 455765 w 1609516"/>
              <a:gd name="csY622" fmla="*/ 1408086 h 1538630"/>
              <a:gd name="csX623" fmla="*/ 439070 w 1609516"/>
              <a:gd name="csY623" fmla="*/ 1477490 h 1538630"/>
              <a:gd name="csX624" fmla="*/ 434384 w 1609516"/>
              <a:gd name="csY624" fmla="*/ 1478899 h 1538630"/>
              <a:gd name="csX625" fmla="*/ 432431 w 1609516"/>
              <a:gd name="csY625" fmla="*/ 1481982 h 1538630"/>
              <a:gd name="csX626" fmla="*/ 418763 w 1609516"/>
              <a:gd name="csY626" fmla="*/ 1494401 h 1538630"/>
              <a:gd name="csX627" fmla="*/ 415639 w 1609516"/>
              <a:gd name="csY627" fmla="*/ 1494401 h 1538630"/>
              <a:gd name="csX628" fmla="*/ 415639 w 1609516"/>
              <a:gd name="csY628" fmla="*/ 1497219 h 1538630"/>
              <a:gd name="csX629" fmla="*/ 406265 w 1609516"/>
              <a:gd name="csY629" fmla="*/ 1498628 h 1538630"/>
              <a:gd name="csX630" fmla="*/ 406265 w 1609516"/>
              <a:gd name="csY630" fmla="*/ 1501447 h 1538630"/>
              <a:gd name="csX631" fmla="*/ 375023 w 1609516"/>
              <a:gd name="csY631" fmla="*/ 1501447 h 1538630"/>
              <a:gd name="csX632" fmla="*/ 375023 w 1609516"/>
              <a:gd name="csY632" fmla="*/ 1499438 h 1538630"/>
              <a:gd name="csX633" fmla="*/ 374964 w 1609516"/>
              <a:gd name="csY633" fmla="*/ 1499436 h 1538630"/>
              <a:gd name="csX634" fmla="*/ 373179 w 1609516"/>
              <a:gd name="csY634" fmla="*/ 1498628 h 1538630"/>
              <a:gd name="csX635" fmla="*/ 365650 w 1609516"/>
              <a:gd name="csY635" fmla="*/ 1498628 h 1538630"/>
              <a:gd name="csX636" fmla="*/ 363134 w 1609516"/>
              <a:gd name="csY636" fmla="*/ 1494087 h 1538630"/>
              <a:gd name="csX637" fmla="*/ 362171 w 1609516"/>
              <a:gd name="csY637" fmla="*/ 1493651 h 1538630"/>
              <a:gd name="csX638" fmla="*/ 360609 w 1609516"/>
              <a:gd name="csY638" fmla="*/ 1490833 h 1538630"/>
              <a:gd name="csX639" fmla="*/ 363733 w 1609516"/>
              <a:gd name="csY639" fmla="*/ 1490833 h 1538630"/>
              <a:gd name="csX640" fmla="*/ 363733 w 1609516"/>
              <a:gd name="csY640" fmla="*/ 1489980 h 1538630"/>
              <a:gd name="csX641" fmla="*/ 348467 w 1609516"/>
              <a:gd name="csY641" fmla="*/ 1481717 h 1538630"/>
              <a:gd name="csX642" fmla="*/ 343872 w 1609516"/>
              <a:gd name="csY642" fmla="*/ 1461078 h 1538630"/>
              <a:gd name="csX643" fmla="*/ 343656 w 1609516"/>
              <a:gd name="csY643" fmla="*/ 1463649 h 1538630"/>
              <a:gd name="csX644" fmla="*/ 343424 w 1609516"/>
              <a:gd name="csY644" fmla="*/ 1466842 h 1538630"/>
              <a:gd name="csX645" fmla="*/ 341861 w 1609516"/>
              <a:gd name="csY645" fmla="*/ 1466842 h 1538630"/>
              <a:gd name="csX646" fmla="*/ 354143 w 1609516"/>
              <a:gd name="csY646" fmla="*/ 1420549 h 1538630"/>
              <a:gd name="csX647" fmla="*/ 376229 w 1609516"/>
              <a:gd name="csY647" fmla="*/ 1403427 h 1538630"/>
              <a:gd name="csX648" fmla="*/ 379491 w 1609516"/>
              <a:gd name="csY648" fmla="*/ 1404408 h 1538630"/>
              <a:gd name="csX649" fmla="*/ 379710 w 1609516"/>
              <a:gd name="csY649" fmla="*/ 1404210 h 1538630"/>
              <a:gd name="csX650" fmla="*/ 380882 w 1609516"/>
              <a:gd name="csY650" fmla="*/ 1401568 h 1538630"/>
              <a:gd name="csX651" fmla="*/ 392207 w 1609516"/>
              <a:gd name="csY651" fmla="*/ 1392936 h 1538630"/>
              <a:gd name="csX652" fmla="*/ 399542 w 1609516"/>
              <a:gd name="csY652" fmla="*/ 1386774 h 1538630"/>
              <a:gd name="csX653" fmla="*/ 405485 w 1609516"/>
              <a:gd name="csY653" fmla="*/ 1378917 h 1538630"/>
              <a:gd name="csX654" fmla="*/ 412008 w 1609516"/>
              <a:gd name="csY654" fmla="*/ 1369481 h 1538630"/>
              <a:gd name="csX655" fmla="*/ 421130 w 1609516"/>
              <a:gd name="csY655" fmla="*/ 1357057 h 1538630"/>
              <a:gd name="csX656" fmla="*/ 424676 w 1609516"/>
              <a:gd name="csY656" fmla="*/ 1348443 h 1538630"/>
              <a:gd name="csX657" fmla="*/ 427275 w 1609516"/>
              <a:gd name="csY657" fmla="*/ 1348443 h 1538630"/>
              <a:gd name="csX658" fmla="*/ 428135 w 1609516"/>
              <a:gd name="csY658" fmla="*/ 1345727 h 1538630"/>
              <a:gd name="csX659" fmla="*/ 432822 w 1609516"/>
              <a:gd name="csY659" fmla="*/ 1335158 h 1538630"/>
              <a:gd name="csX660" fmla="*/ 435946 w 1609516"/>
              <a:gd name="csY660" fmla="*/ 1335158 h 1538630"/>
              <a:gd name="csX661" fmla="*/ 437704 w 1609516"/>
              <a:gd name="csY661" fmla="*/ 1329786 h 1538630"/>
              <a:gd name="csX662" fmla="*/ 447394 w 1609516"/>
              <a:gd name="csY662" fmla="*/ 1311196 h 1538630"/>
              <a:gd name="csX663" fmla="*/ 469287 w 1609516"/>
              <a:gd name="csY663" fmla="*/ 1265964 h 1538630"/>
              <a:gd name="csX664" fmla="*/ 478178 w 1609516"/>
              <a:gd name="csY664" fmla="*/ 1246787 h 1538630"/>
              <a:gd name="csX665" fmla="*/ 480179 w 1609516"/>
              <a:gd name="csY665" fmla="*/ 1225768 h 1538630"/>
              <a:gd name="csX666" fmla="*/ 480250 w 1609516"/>
              <a:gd name="csY666" fmla="*/ 1217149 h 1538630"/>
              <a:gd name="csX667" fmla="*/ 462972 w 1609516"/>
              <a:gd name="csY667" fmla="*/ 1174827 h 1538630"/>
              <a:gd name="csX668" fmla="*/ 457468 w 1609516"/>
              <a:gd name="csY668" fmla="*/ 1169949 h 1538630"/>
              <a:gd name="csX669" fmla="*/ 440657 w 1609516"/>
              <a:gd name="csY669" fmla="*/ 1152570 h 1538630"/>
              <a:gd name="csX670" fmla="*/ 403142 w 1609516"/>
              <a:gd name="csY670" fmla="*/ 1122366 h 1538630"/>
              <a:gd name="csX671" fmla="*/ 401579 w 1609516"/>
              <a:gd name="csY671" fmla="*/ 1119547 h 1538630"/>
              <a:gd name="csX672" fmla="*/ 364564 w 1609516"/>
              <a:gd name="csY672" fmla="*/ 1118209 h 1538630"/>
              <a:gd name="csX673" fmla="*/ 357822 w 1609516"/>
              <a:gd name="csY673" fmla="*/ 1122041 h 1538630"/>
              <a:gd name="csX674" fmla="*/ 348077 w 1609516"/>
              <a:gd name="csY674" fmla="*/ 1125273 h 1538630"/>
              <a:gd name="csX675" fmla="*/ 334408 w 1609516"/>
              <a:gd name="csY675" fmla="*/ 1132230 h 1538630"/>
              <a:gd name="csX676" fmla="*/ 327964 w 1609516"/>
              <a:gd name="csY676" fmla="*/ 1134080 h 1538630"/>
              <a:gd name="csX677" fmla="*/ 279734 w 1609516"/>
              <a:gd name="csY677" fmla="*/ 1166051 h 1538630"/>
              <a:gd name="csX678" fmla="*/ 276609 w 1609516"/>
              <a:gd name="csY678" fmla="*/ 1173098 h 1538630"/>
              <a:gd name="csX679" fmla="*/ 260988 w 1609516"/>
              <a:gd name="csY679" fmla="*/ 1188599 h 1538630"/>
              <a:gd name="csX680" fmla="*/ 257956 w 1609516"/>
              <a:gd name="csY680" fmla="*/ 1191132 h 1538630"/>
              <a:gd name="csX681" fmla="*/ 243805 w 1609516"/>
              <a:gd name="csY681" fmla="*/ 1196629 h 1538630"/>
              <a:gd name="csX682" fmla="*/ 243805 w 1609516"/>
              <a:gd name="csY682" fmla="*/ 1194236 h 1538630"/>
              <a:gd name="csX683" fmla="*/ 240288 w 1609516"/>
              <a:gd name="csY683" fmla="*/ 1194765 h 1538630"/>
              <a:gd name="csX684" fmla="*/ 243374 w 1609516"/>
              <a:gd name="csY684" fmla="*/ 1194765 h 1538630"/>
              <a:gd name="csX685" fmla="*/ 243374 w 1609516"/>
              <a:gd name="csY685" fmla="*/ 1196797 h 1538630"/>
              <a:gd name="csX686" fmla="*/ 243805 w 1609516"/>
              <a:gd name="csY686" fmla="*/ 1196629 h 1538630"/>
              <a:gd name="csX687" fmla="*/ 243805 w 1609516"/>
              <a:gd name="csY687" fmla="*/ 1197055 h 1538630"/>
              <a:gd name="csX688" fmla="*/ 243374 w 1609516"/>
              <a:gd name="csY688" fmla="*/ 1197055 h 1538630"/>
              <a:gd name="csX689" fmla="*/ 243374 w 1609516"/>
              <a:gd name="csY689" fmla="*/ 1197584 h 1538630"/>
              <a:gd name="csX690" fmla="*/ 241319 w 1609516"/>
              <a:gd name="csY690" fmla="*/ 1197595 h 1538630"/>
              <a:gd name="csX691" fmla="*/ 238009 w 1609516"/>
              <a:gd name="csY691" fmla="*/ 1198881 h 1538630"/>
              <a:gd name="csX692" fmla="*/ 215687 w 1609516"/>
              <a:gd name="csY692" fmla="*/ 1198464 h 1538630"/>
              <a:gd name="csX693" fmla="*/ 215687 w 1609516"/>
              <a:gd name="csY693" fmla="*/ 1197734 h 1538630"/>
              <a:gd name="csX694" fmla="*/ 213936 w 1609516"/>
              <a:gd name="csY694" fmla="*/ 1197744 h 1538630"/>
              <a:gd name="csX695" fmla="*/ 207446 w 1609516"/>
              <a:gd name="csY695" fmla="*/ 1196175 h 1538630"/>
              <a:gd name="csX696" fmla="*/ 207822 w 1609516"/>
              <a:gd name="csY696" fmla="*/ 1195610 h 1538630"/>
              <a:gd name="csX697" fmla="*/ 184737 w 1609516"/>
              <a:gd name="csY697" fmla="*/ 1180936 h 1538630"/>
              <a:gd name="csX698" fmla="*/ 179270 w 1609516"/>
              <a:gd name="csY698" fmla="*/ 1154866 h 1538630"/>
              <a:gd name="csX699" fmla="*/ 179194 w 1609516"/>
              <a:gd name="csY699" fmla="*/ 1151621 h 1538630"/>
              <a:gd name="csX700" fmla="*/ 193195 w 1609516"/>
              <a:gd name="csY700" fmla="*/ 1120065 h 1538630"/>
              <a:gd name="csX701" fmla="*/ 229551 w 1609516"/>
              <a:gd name="csY701" fmla="*/ 1110299 h 1538630"/>
              <a:gd name="csX702" fmla="*/ 260988 w 1609516"/>
              <a:gd name="csY702" fmla="*/ 1108274 h 1538630"/>
              <a:gd name="csX703" fmla="*/ 260988 w 1609516"/>
              <a:gd name="csY703" fmla="*/ 1105455 h 1538630"/>
              <a:gd name="csX704" fmla="*/ 263911 w 1609516"/>
              <a:gd name="csY704" fmla="*/ 1104310 h 1538630"/>
              <a:gd name="csX705" fmla="*/ 286995 w 1609516"/>
              <a:gd name="csY705" fmla="*/ 1090185 h 1538630"/>
              <a:gd name="csX706" fmla="*/ 299358 w 1609516"/>
              <a:gd name="csY706" fmla="*/ 1080970 h 1538630"/>
              <a:gd name="csX707" fmla="*/ 317762 w 1609516"/>
              <a:gd name="csY707" fmla="*/ 1063272 h 1538630"/>
              <a:gd name="csX708" fmla="*/ 325035 w 1609516"/>
              <a:gd name="csY708" fmla="*/ 1057542 h 1538630"/>
              <a:gd name="csX709" fmla="*/ 325328 w 1609516"/>
              <a:gd name="csY709" fmla="*/ 1023104 h 1538630"/>
              <a:gd name="csX710" fmla="*/ 324544 w 1609516"/>
              <a:gd name="csY710" fmla="*/ 1019247 h 1538630"/>
              <a:gd name="csX711" fmla="*/ 317225 w 1609516"/>
              <a:gd name="csY711" fmla="*/ 996945 h 1538630"/>
              <a:gd name="csX712" fmla="*/ 315388 w 1609516"/>
              <a:gd name="csY712" fmla="*/ 992690 h 1538630"/>
              <a:gd name="csX713" fmla="*/ 276232 w 1609516"/>
              <a:gd name="csY713" fmla="*/ 950666 h 1538630"/>
              <a:gd name="csX714" fmla="*/ 271923 w 1609516"/>
              <a:gd name="csY714" fmla="*/ 949031 h 1538630"/>
              <a:gd name="csX715" fmla="*/ 268299 w 1609516"/>
              <a:gd name="csY715" fmla="*/ 947441 h 1538630"/>
              <a:gd name="csX716" fmla="*/ 199187 w 1609516"/>
              <a:gd name="csY716" fmla="*/ 938991 h 1538630"/>
              <a:gd name="csX717" fmla="*/ 193719 w 1609516"/>
              <a:gd name="csY717" fmla="*/ 938971 h 1538630"/>
              <a:gd name="csX718" fmla="*/ 188539 w 1609516"/>
              <a:gd name="csY718" fmla="*/ 938980 h 1538630"/>
              <a:gd name="csX719" fmla="*/ 183874 w 1609516"/>
              <a:gd name="csY719" fmla="*/ 938985 h 1538630"/>
              <a:gd name="csX720" fmla="*/ 173509 w 1609516"/>
              <a:gd name="csY720" fmla="*/ 940576 h 1538630"/>
              <a:gd name="csX721" fmla="*/ 161403 w 1609516"/>
              <a:gd name="csY721" fmla="*/ 940664 h 1538630"/>
              <a:gd name="csX722" fmla="*/ 158102 w 1609516"/>
              <a:gd name="csY722" fmla="*/ 940645 h 1538630"/>
              <a:gd name="csX723" fmla="*/ 150875 w 1609516"/>
              <a:gd name="csY723" fmla="*/ 940583 h 1538630"/>
              <a:gd name="csX724" fmla="*/ 148425 w 1609516"/>
              <a:gd name="csY724" fmla="*/ 940717 h 1538630"/>
              <a:gd name="csX725" fmla="*/ 149617 w 1609516"/>
              <a:gd name="csY725" fmla="*/ 940995 h 1538630"/>
              <a:gd name="csX726" fmla="*/ 149617 w 1609516"/>
              <a:gd name="csY726" fmla="*/ 942404 h 1538630"/>
              <a:gd name="csX727" fmla="*/ 146627 w 1609516"/>
              <a:gd name="csY727" fmla="*/ 942871 h 1538630"/>
              <a:gd name="csX728" fmla="*/ 110564 w 1609516"/>
              <a:gd name="csY728" fmla="*/ 949449 h 1538630"/>
              <a:gd name="csX729" fmla="*/ 111283 w 1609516"/>
              <a:gd name="csY729" fmla="*/ 946205 h 1538630"/>
              <a:gd name="csX730" fmla="*/ 101652 w 1609516"/>
              <a:gd name="csY730" fmla="*/ 956078 h 1538630"/>
              <a:gd name="csX731" fmla="*/ 98052 w 1609516"/>
              <a:gd name="csY731" fmla="*/ 958467 h 1538630"/>
              <a:gd name="csX732" fmla="*/ 67286 w 1609516"/>
              <a:gd name="csY732" fmla="*/ 972989 h 1538630"/>
              <a:gd name="csX733" fmla="*/ 67286 w 1609516"/>
              <a:gd name="csY733" fmla="*/ 975807 h 1538630"/>
              <a:gd name="csX734" fmla="*/ 31942 w 1609516"/>
              <a:gd name="csY734" fmla="*/ 976423 h 1538630"/>
              <a:gd name="csX735" fmla="*/ 5673 w 1609516"/>
              <a:gd name="csY735" fmla="*/ 953419 h 1538630"/>
              <a:gd name="csX736" fmla="*/ 4801 w 1609516"/>
              <a:gd name="csY736" fmla="*/ 944804 h 1538630"/>
              <a:gd name="csX737" fmla="*/ 1676 w 1609516"/>
              <a:gd name="csY737" fmla="*/ 944804 h 1538630"/>
              <a:gd name="csX738" fmla="*/ 17 w 1609516"/>
              <a:gd name="csY738" fmla="*/ 931857 h 1538630"/>
              <a:gd name="csX739" fmla="*/ 59 w 1609516"/>
              <a:gd name="csY739" fmla="*/ 927216 h 1538630"/>
              <a:gd name="csX740" fmla="*/ 115 w 1609516"/>
              <a:gd name="csY740" fmla="*/ 923666 h 1538630"/>
              <a:gd name="csX741" fmla="*/ 3238 w 1609516"/>
              <a:gd name="csY741" fmla="*/ 923666 h 1538630"/>
              <a:gd name="csX742" fmla="*/ 3238 w 1609516"/>
              <a:gd name="csY742" fmla="*/ 918029 h 1538630"/>
              <a:gd name="csX743" fmla="*/ 6363 w 1609516"/>
              <a:gd name="csY743" fmla="*/ 918029 h 1538630"/>
              <a:gd name="csX744" fmla="*/ 6656 w 1609516"/>
              <a:gd name="csY744" fmla="*/ 912832 h 1538630"/>
              <a:gd name="csX745" fmla="*/ 15736 w 1609516"/>
              <a:gd name="csY745" fmla="*/ 899709 h 1538630"/>
              <a:gd name="csX746" fmla="*/ 17243 w 1609516"/>
              <a:gd name="csY746" fmla="*/ 898894 h 1538630"/>
              <a:gd name="csX747" fmla="*/ 16800 w 1609516"/>
              <a:gd name="csY747" fmla="*/ 898694 h 1538630"/>
              <a:gd name="csX748" fmla="*/ 24988 w 1609516"/>
              <a:gd name="csY748" fmla="*/ 894101 h 1538630"/>
              <a:gd name="csX749" fmla="*/ 26768 w 1609516"/>
              <a:gd name="csY749" fmla="*/ 892399 h 1538630"/>
              <a:gd name="csX750" fmla="*/ 30198 w 1609516"/>
              <a:gd name="csY750" fmla="*/ 890164 h 1538630"/>
              <a:gd name="csX751" fmla="*/ 32204 w 1609516"/>
              <a:gd name="csY751" fmla="*/ 890054 h 1538630"/>
              <a:gd name="csX752" fmla="*/ 38914 w 1609516"/>
              <a:gd name="csY752" fmla="*/ 886291 h 1538630"/>
              <a:gd name="csX753" fmla="*/ 63664 w 1609516"/>
              <a:gd name="csY753" fmla="*/ 886011 h 1538630"/>
              <a:gd name="csX754" fmla="*/ 63664 w 1609516"/>
              <a:gd name="csY754" fmla="*/ 886531 h 1538630"/>
              <a:gd name="csX755" fmla="*/ 70784 w 1609516"/>
              <a:gd name="csY755" fmla="*/ 886647 h 1538630"/>
              <a:gd name="csX756" fmla="*/ 82126 w 1609516"/>
              <a:gd name="csY756" fmla="*/ 889845 h 1538630"/>
              <a:gd name="csX757" fmla="*/ 114149 w 1609516"/>
              <a:gd name="csY757" fmla="*/ 892663 h 1538630"/>
              <a:gd name="csX758" fmla="*/ 118836 w 1609516"/>
              <a:gd name="csY758" fmla="*/ 889845 h 1538630"/>
              <a:gd name="csX759" fmla="*/ 131626 w 1609516"/>
              <a:gd name="csY759" fmla="*/ 887114 h 1538630"/>
              <a:gd name="csX760" fmla="*/ 155116 w 1609516"/>
              <a:gd name="csY760" fmla="*/ 880913 h 1538630"/>
              <a:gd name="csX761" fmla="*/ 165406 w 1609516"/>
              <a:gd name="csY761" fmla="*/ 878483 h 1538630"/>
              <a:gd name="csX762" fmla="*/ 176634 w 1609516"/>
              <a:gd name="csY762" fmla="*/ 874343 h 1538630"/>
              <a:gd name="csX763" fmla="*/ 186397 w 1609516"/>
              <a:gd name="csY763" fmla="*/ 871524 h 1538630"/>
              <a:gd name="csX764" fmla="*/ 191871 w 1609516"/>
              <a:gd name="csY764" fmla="*/ 870033 h 1538630"/>
              <a:gd name="csX765" fmla="*/ 203483 w 1609516"/>
              <a:gd name="csY765" fmla="*/ 867208 h 1538630"/>
              <a:gd name="csX766" fmla="*/ 211001 w 1609516"/>
              <a:gd name="csY766" fmla="*/ 861660 h 1538630"/>
              <a:gd name="csX767" fmla="*/ 218031 w 1609516"/>
              <a:gd name="csY767" fmla="*/ 858577 h 1538630"/>
              <a:gd name="csX768" fmla="*/ 254740 w 1609516"/>
              <a:gd name="csY768" fmla="*/ 825020 h 1538630"/>
              <a:gd name="csX769" fmla="*/ 257864 w 1609516"/>
              <a:gd name="csY769" fmla="*/ 820792 h 1538630"/>
              <a:gd name="csX770" fmla="*/ 258318 w 1609516"/>
              <a:gd name="csY770" fmla="*/ 813810 h 1538630"/>
              <a:gd name="csX771" fmla="*/ 258378 w 1609516"/>
              <a:gd name="csY771" fmla="*/ 809502 h 1538630"/>
              <a:gd name="csX772" fmla="*/ 258389 w 1609516"/>
              <a:gd name="csY772" fmla="*/ 804845 h 1538630"/>
              <a:gd name="csX773" fmla="*/ 258420 w 1609516"/>
              <a:gd name="csY773" fmla="*/ 800036 h 1538630"/>
              <a:gd name="csX774" fmla="*/ 258443 w 1609516"/>
              <a:gd name="csY774" fmla="*/ 789939 h 1538630"/>
              <a:gd name="csX775" fmla="*/ 258566 w 1609516"/>
              <a:gd name="csY775" fmla="*/ 774594 h 1538630"/>
              <a:gd name="csX776" fmla="*/ 258584 w 1609516"/>
              <a:gd name="csY776" fmla="*/ 764771 h 1538630"/>
              <a:gd name="csX777" fmla="*/ 258652 w 1609516"/>
              <a:gd name="csY777" fmla="*/ 760174 h 1538630"/>
              <a:gd name="csX778" fmla="*/ 251616 w 1609516"/>
              <a:gd name="csY778" fmla="*/ 733421 h 1538630"/>
              <a:gd name="csX779" fmla="*/ 247613 w 1609516"/>
              <a:gd name="csY779" fmla="*/ 721883 h 1538630"/>
              <a:gd name="csX780" fmla="*/ 241291 w 1609516"/>
              <a:gd name="csY780" fmla="*/ 705644 h 1538630"/>
              <a:gd name="csX781" fmla="*/ 237557 w 1609516"/>
              <a:gd name="csY781" fmla="*/ 689735 h 1538630"/>
              <a:gd name="csX782" fmla="*/ 248492 w 1609516"/>
              <a:gd name="csY782" fmla="*/ 685507 h 1538630"/>
              <a:gd name="csX783" fmla="*/ 248492 w 1609516"/>
              <a:gd name="csY783" fmla="*/ 681279 h 1538630"/>
              <a:gd name="csX784" fmla="*/ 240681 w 1609516"/>
              <a:gd name="csY784" fmla="*/ 679870 h 1538630"/>
              <a:gd name="csX785" fmla="*/ 240681 w 1609516"/>
              <a:gd name="csY785" fmla="*/ 677052 h 1538630"/>
              <a:gd name="csX786" fmla="*/ 238094 w 1609516"/>
              <a:gd name="csY786" fmla="*/ 676645 h 1538630"/>
              <a:gd name="csX787" fmla="*/ 225841 w 1609516"/>
              <a:gd name="csY787" fmla="*/ 670886 h 1538630"/>
              <a:gd name="csX788" fmla="*/ 201531 w 1609516"/>
              <a:gd name="csY788" fmla="*/ 662508 h 1538630"/>
              <a:gd name="csX789" fmla="*/ 188252 w 1609516"/>
              <a:gd name="csY789" fmla="*/ 658644 h 1538630"/>
              <a:gd name="csX790" fmla="*/ 182431 w 1609516"/>
              <a:gd name="csY790" fmla="*/ 657327 h 1538630"/>
              <a:gd name="csX791" fmla="*/ 182431 w 1609516"/>
              <a:gd name="csY791" fmla="*/ 657613 h 1538630"/>
              <a:gd name="csX792" fmla="*/ 146503 w 1609516"/>
              <a:gd name="csY792" fmla="*/ 656204 h 1538630"/>
              <a:gd name="csX793" fmla="*/ 146503 w 1609516"/>
              <a:gd name="csY793" fmla="*/ 659022 h 1538630"/>
              <a:gd name="csX794" fmla="*/ 110378 w 1609516"/>
              <a:gd name="csY794" fmla="*/ 663778 h 1538630"/>
              <a:gd name="csX795" fmla="*/ 106453 w 1609516"/>
              <a:gd name="csY795" fmla="*/ 663836 h 1538630"/>
              <a:gd name="csX796" fmla="*/ 102751 w 1609516"/>
              <a:gd name="csY796" fmla="*/ 663811 h 1538630"/>
              <a:gd name="csX797" fmla="*/ 99449 w 1609516"/>
              <a:gd name="csY797" fmla="*/ 663797 h 1538630"/>
              <a:gd name="csX798" fmla="*/ 91828 w 1609516"/>
              <a:gd name="csY798" fmla="*/ 659022 h 1538630"/>
              <a:gd name="csX799" fmla="*/ 98077 w 1609516"/>
              <a:gd name="csY799" fmla="*/ 659022 h 1538630"/>
              <a:gd name="csX800" fmla="*/ 98077 w 1609516"/>
              <a:gd name="csY800" fmla="*/ 661841 h 1538630"/>
              <a:gd name="csX801" fmla="*/ 119023 w 1609516"/>
              <a:gd name="csY801" fmla="*/ 661357 h 1538630"/>
              <a:gd name="csX802" fmla="*/ 119536 w 1609516"/>
              <a:gd name="csY802" fmla="*/ 661197 h 1538630"/>
              <a:gd name="csX803" fmla="*/ 109853 w 1609516"/>
              <a:gd name="csY803" fmla="*/ 661639 h 1538630"/>
              <a:gd name="csX804" fmla="*/ 106552 w 1609516"/>
              <a:gd name="csY804" fmla="*/ 661619 h 1538630"/>
              <a:gd name="csX805" fmla="*/ 98528 w 1609516"/>
              <a:gd name="csY805" fmla="*/ 661550 h 1538630"/>
              <a:gd name="csX806" fmla="*/ 98528 w 1609516"/>
              <a:gd name="csY806" fmla="*/ 658732 h 1538630"/>
              <a:gd name="csX807" fmla="*/ 89155 w 1609516"/>
              <a:gd name="csY807" fmla="*/ 657323 h 1538630"/>
              <a:gd name="csX808" fmla="*/ 89155 w 1609516"/>
              <a:gd name="csY808" fmla="*/ 654504 h 1538630"/>
              <a:gd name="csX809" fmla="*/ 86397 w 1609516"/>
              <a:gd name="csY809" fmla="*/ 653442 h 1538630"/>
              <a:gd name="csX810" fmla="*/ 77049 w 1609516"/>
              <a:gd name="csY810" fmla="*/ 646137 h 1538630"/>
              <a:gd name="csX811" fmla="*/ 74145 w 1609516"/>
              <a:gd name="csY811" fmla="*/ 643192 h 1538630"/>
              <a:gd name="csX812" fmla="*/ 71972 w 1609516"/>
              <a:gd name="csY812" fmla="*/ 636185 h 1538630"/>
              <a:gd name="csX813" fmla="*/ 68848 w 1609516"/>
              <a:gd name="csY813" fmla="*/ 636185 h 1538630"/>
              <a:gd name="csX814" fmla="*/ 70410 w 1609516"/>
              <a:gd name="csY814" fmla="*/ 595317 h 1538630"/>
              <a:gd name="csX815" fmla="*/ 79782 w 1609516"/>
              <a:gd name="csY815" fmla="*/ 584043 h 1538630"/>
              <a:gd name="csX816" fmla="*/ 82656 w 1609516"/>
              <a:gd name="csY816" fmla="*/ 581115 h 1538630"/>
              <a:gd name="csX817" fmla="*/ 116694 w 1609516"/>
              <a:gd name="csY817" fmla="*/ 572323 h 1538630"/>
              <a:gd name="csX818" fmla="*/ 152031 w 1609516"/>
              <a:gd name="csY818" fmla="*/ 590385 h 1538630"/>
              <a:gd name="csX819" fmla="*/ 191474 w 1609516"/>
              <a:gd name="csY819" fmla="*/ 605886 h 1538630"/>
              <a:gd name="csX820" fmla="*/ 206314 w 1609516"/>
              <a:gd name="csY820" fmla="*/ 608000 h 1538630"/>
              <a:gd name="csX821" fmla="*/ 206314 w 1609516"/>
              <a:gd name="csY821" fmla="*/ 610818 h 1538630"/>
              <a:gd name="csX822" fmla="*/ 234433 w 1609516"/>
              <a:gd name="csY822" fmla="*/ 610818 h 1538630"/>
              <a:gd name="csX823" fmla="*/ 239522 w 1609516"/>
              <a:gd name="csY823" fmla="*/ 610802 h 1538630"/>
              <a:gd name="csX824" fmla="*/ 268799 w 1609516"/>
              <a:gd name="csY824" fmla="*/ 600954 h 1538630"/>
              <a:gd name="csX825" fmla="*/ 271740 w 1609516"/>
              <a:gd name="csY825" fmla="*/ 599325 h 1538630"/>
              <a:gd name="csX826" fmla="*/ 284420 w 1609516"/>
              <a:gd name="csY826" fmla="*/ 579816 h 1538630"/>
              <a:gd name="csX827" fmla="*/ 289399 w 1609516"/>
              <a:gd name="csY827" fmla="*/ 568630 h 1538630"/>
              <a:gd name="csX828" fmla="*/ 293958 w 1609516"/>
              <a:gd name="csY828" fmla="*/ 535838 h 1538630"/>
              <a:gd name="csX829" fmla="*/ 289107 w 1609516"/>
              <a:gd name="csY829" fmla="*/ 529084 h 1538630"/>
              <a:gd name="csX830" fmla="*/ 289107 w 1609516"/>
              <a:gd name="csY830" fmla="*/ 526265 h 1538630"/>
              <a:gd name="csX831" fmla="*/ 284420 w 1609516"/>
              <a:gd name="csY831" fmla="*/ 524856 h 1538630"/>
              <a:gd name="csX832" fmla="*/ 282858 w 1609516"/>
              <a:gd name="csY832" fmla="*/ 520628 h 1538630"/>
              <a:gd name="csX833" fmla="*/ 277977 w 1609516"/>
              <a:gd name="csY833" fmla="*/ 516577 h 1538630"/>
              <a:gd name="csX834" fmla="*/ 264925 w 1609516"/>
              <a:gd name="csY834" fmla="*/ 506443 h 1538630"/>
              <a:gd name="csX835" fmla="*/ 229746 w 1609516"/>
              <a:gd name="csY835" fmla="*/ 481170 h 1538630"/>
              <a:gd name="csX836" fmla="*/ 221057 w 1609516"/>
              <a:gd name="csY836" fmla="*/ 475445 h 1538630"/>
              <a:gd name="csX837" fmla="*/ 212563 w 1609516"/>
              <a:gd name="csY837" fmla="*/ 469896 h 1538630"/>
              <a:gd name="csX838" fmla="*/ 208889 w 1609516"/>
              <a:gd name="csY838" fmla="*/ 467491 h 1538630"/>
              <a:gd name="csX839" fmla="*/ 190406 w 1609516"/>
              <a:gd name="csY839" fmla="*/ 456382 h 1538630"/>
              <a:gd name="csX840" fmla="*/ 186942 w 1609516"/>
              <a:gd name="csY840" fmla="*/ 454460 h 1538630"/>
              <a:gd name="csX841" fmla="*/ 180041 w 1609516"/>
              <a:gd name="csY841" fmla="*/ 450696 h 1538630"/>
              <a:gd name="csX842" fmla="*/ 171948 w 1609516"/>
              <a:gd name="csY842" fmla="*/ 445940 h 1538630"/>
              <a:gd name="csX843" fmla="*/ 171948 w 1609516"/>
              <a:gd name="csY843" fmla="*/ 443121 h 1538630"/>
              <a:gd name="csX844" fmla="*/ 168482 w 1609516"/>
              <a:gd name="csY844" fmla="*/ 442708 h 1538630"/>
              <a:gd name="csX845" fmla="*/ 157107 w 1609516"/>
              <a:gd name="csY845" fmla="*/ 437044 h 1538630"/>
              <a:gd name="csX846" fmla="*/ 132559 w 1609516"/>
              <a:gd name="csY846" fmla="*/ 427510 h 1538630"/>
              <a:gd name="csX847" fmla="*/ 123522 w 1609516"/>
              <a:gd name="csY847" fmla="*/ 421983 h 1538630"/>
              <a:gd name="csX848" fmla="*/ 107986 w 1609516"/>
              <a:gd name="csY848" fmla="*/ 418730 h 1538630"/>
              <a:gd name="csX849" fmla="*/ 102494 w 1609516"/>
              <a:gd name="csY849" fmla="*/ 418622 h 1538630"/>
              <a:gd name="csX850" fmla="*/ 91157 w 1609516"/>
              <a:gd name="csY850" fmla="*/ 418490 h 1538630"/>
              <a:gd name="csX851" fmla="*/ 55277 w 1609516"/>
              <a:gd name="csY851" fmla="*/ 410445 h 1538630"/>
              <a:gd name="csX852" fmla="*/ 51665 w 1609516"/>
              <a:gd name="csY852" fmla="*/ 406481 h 1538630"/>
              <a:gd name="csX853" fmla="*/ 45904 w 1609516"/>
              <a:gd name="csY853" fmla="*/ 400492 h 1538630"/>
              <a:gd name="csX854" fmla="*/ 43152 w 1609516"/>
              <a:gd name="csY854" fmla="*/ 397564 h 1538630"/>
              <a:gd name="csX855" fmla="*/ 37605 w 1609516"/>
              <a:gd name="csY855" fmla="*/ 393798 h 1538630"/>
              <a:gd name="csX856" fmla="*/ 38995 w 1609516"/>
              <a:gd name="csY856" fmla="*/ 368712 h 1538630"/>
              <a:gd name="csX857" fmla="*/ 38666 w 1609516"/>
              <a:gd name="csY857" fmla="*/ 369724 h 1538630"/>
              <a:gd name="csX858" fmla="*/ 35542 w 1609516"/>
              <a:gd name="csY858" fmla="*/ 384081 h 1538630"/>
              <a:gd name="csX859" fmla="*/ 33326 w 1609516"/>
              <a:gd name="csY859" fmla="*/ 357791 h 1538630"/>
              <a:gd name="csX860" fmla="*/ 52725 w 1609516"/>
              <a:gd name="csY860" fmla="*/ 333349 h 1538630"/>
              <a:gd name="csX861" fmla="*/ 55222 w 1609516"/>
              <a:gd name="csY861" fmla="*/ 334475 h 1538630"/>
              <a:gd name="csX862" fmla="*/ 56222 w 1609516"/>
              <a:gd name="csY862" fmla="*/ 333347 h 1538630"/>
              <a:gd name="csX863" fmla="*/ 55871 w 1609516"/>
              <a:gd name="csY863" fmla="*/ 333347 h 1538630"/>
              <a:gd name="csX864" fmla="*/ 56346 w 1609516"/>
              <a:gd name="csY864" fmla="*/ 333207 h 1538630"/>
              <a:gd name="csX865" fmla="*/ 56351 w 1609516"/>
              <a:gd name="csY865" fmla="*/ 333202 h 1538630"/>
              <a:gd name="csX866" fmla="*/ 56365 w 1609516"/>
              <a:gd name="csY866" fmla="*/ 333202 h 1538630"/>
              <a:gd name="csX867" fmla="*/ 79571 w 1609516"/>
              <a:gd name="csY867" fmla="*/ 326360 h 1538630"/>
              <a:gd name="csX868" fmla="*/ 104297 w 1609516"/>
              <a:gd name="csY868" fmla="*/ 330529 h 1538630"/>
              <a:gd name="csX869" fmla="*/ 107170 w 1609516"/>
              <a:gd name="csY869" fmla="*/ 334417 h 1538630"/>
              <a:gd name="csX870" fmla="*/ 109366 w 1609516"/>
              <a:gd name="csY870" fmla="*/ 336046 h 1538630"/>
              <a:gd name="csX871" fmla="*/ 109463 w 1609516"/>
              <a:gd name="csY871" fmla="*/ 336020 h 1538630"/>
              <a:gd name="csX872" fmla="*/ 109463 w 1609516"/>
              <a:gd name="csY872" fmla="*/ 336118 h 1538630"/>
              <a:gd name="csX873" fmla="*/ 115226 w 1609516"/>
              <a:gd name="csY873" fmla="*/ 340394 h 1538630"/>
              <a:gd name="csX874" fmla="*/ 114010 w 1609516"/>
              <a:gd name="csY874" fmla="*/ 340120 h 1538630"/>
              <a:gd name="csX875" fmla="*/ 133285 w 1609516"/>
              <a:gd name="csY875" fmla="*/ 357423 h 1538630"/>
              <a:gd name="csX876" fmla="*/ 173509 w 1609516"/>
              <a:gd name="csY876" fmla="*/ 389571 h 1538630"/>
              <a:gd name="csX877" fmla="*/ 181711 w 1609516"/>
              <a:gd name="csY877" fmla="*/ 393270 h 1538630"/>
              <a:gd name="csX878" fmla="*/ 185507 w 1609516"/>
              <a:gd name="csY878" fmla="*/ 394976 h 1538630"/>
              <a:gd name="csX879" fmla="*/ 192658 w 1609516"/>
              <a:gd name="csY879" fmla="*/ 398257 h 1538630"/>
              <a:gd name="csX880" fmla="*/ 195966 w 1609516"/>
              <a:gd name="csY880" fmla="*/ 399788 h 1538630"/>
              <a:gd name="csX881" fmla="*/ 198833 w 1609516"/>
              <a:gd name="csY881" fmla="*/ 401131 h 1538630"/>
              <a:gd name="csX882" fmla="*/ 207877 w 1609516"/>
              <a:gd name="csY882" fmla="*/ 403663 h 1538630"/>
              <a:gd name="csX883" fmla="*/ 207877 w 1609516"/>
              <a:gd name="csY883" fmla="*/ 406481 h 1538630"/>
              <a:gd name="csX884" fmla="*/ 248492 w 1609516"/>
              <a:gd name="csY884" fmla="*/ 419428 h 1538630"/>
              <a:gd name="csX885" fmla="*/ 253965 w 1609516"/>
              <a:gd name="csY885" fmla="*/ 421000 h 1538630"/>
              <a:gd name="csX886" fmla="*/ 267237 w 1609516"/>
              <a:gd name="csY886" fmla="*/ 424801 h 1538630"/>
              <a:gd name="csX887" fmla="*/ 267237 w 1609516"/>
              <a:gd name="csY887" fmla="*/ 426451 h 1538630"/>
              <a:gd name="csX888" fmla="*/ 288701 w 1609516"/>
              <a:gd name="csY888" fmla="*/ 429217 h 1538630"/>
              <a:gd name="csX889" fmla="*/ 288701 w 1609516"/>
              <a:gd name="csY889" fmla="*/ 432036 h 1538630"/>
              <a:gd name="csX890" fmla="*/ 327010 w 1609516"/>
              <a:gd name="csY890" fmla="*/ 433628 h 1538630"/>
              <a:gd name="csX891" fmla="*/ 337486 w 1609516"/>
              <a:gd name="csY891" fmla="*/ 433637 h 1538630"/>
              <a:gd name="csX892" fmla="*/ 344229 w 1609516"/>
              <a:gd name="csY892" fmla="*/ 433632 h 1538630"/>
              <a:gd name="csX893" fmla="*/ 350323 w 1609516"/>
              <a:gd name="csY893" fmla="*/ 433627 h 1538630"/>
              <a:gd name="csX894" fmla="*/ 365245 w 1609516"/>
              <a:gd name="csY894" fmla="*/ 432036 h 1538630"/>
              <a:gd name="csX895" fmla="*/ 360797 w 1609516"/>
              <a:gd name="csY895" fmla="*/ 433759 h 1538630"/>
              <a:gd name="csX896" fmla="*/ 365650 w 1609516"/>
              <a:gd name="csY896" fmla="*/ 433257 h 1538630"/>
              <a:gd name="csX897" fmla="*/ 367213 w 1609516"/>
              <a:gd name="csY897" fmla="*/ 429029 h 1538630"/>
              <a:gd name="csX898" fmla="*/ 375188 w 1609516"/>
              <a:gd name="csY898" fmla="*/ 424906 h 1538630"/>
              <a:gd name="csX899" fmla="*/ 404704 w 1609516"/>
              <a:gd name="csY899" fmla="*/ 389571 h 1538630"/>
              <a:gd name="csX900" fmla="*/ 406265 w 1609516"/>
              <a:gd name="csY900" fmla="*/ 388161 h 1538630"/>
              <a:gd name="csX901" fmla="*/ 406559 w 1609516"/>
              <a:gd name="csY901" fmla="*/ 370106 h 1538630"/>
              <a:gd name="csX902" fmla="*/ 406617 w 1609516"/>
              <a:gd name="csY902" fmla="*/ 364973 h 1538630"/>
              <a:gd name="csX903" fmla="*/ 406626 w 1609516"/>
              <a:gd name="csY903" fmla="*/ 360038 h 1538630"/>
              <a:gd name="csX904" fmla="*/ 406645 w 1609516"/>
              <a:gd name="csY904" fmla="*/ 355503 h 1538630"/>
              <a:gd name="csX905" fmla="*/ 403142 w 1609516"/>
              <a:gd name="csY905" fmla="*/ 345885 h 1538630"/>
              <a:gd name="csX906" fmla="*/ 401579 w 1609516"/>
              <a:gd name="csY906" fmla="*/ 338663 h 1538630"/>
              <a:gd name="csX907" fmla="*/ 390938 w 1609516"/>
              <a:gd name="csY907" fmla="*/ 315939 h 1538630"/>
              <a:gd name="csX908" fmla="*/ 388976 w 1609516"/>
              <a:gd name="csY908" fmla="*/ 312762 h 1538630"/>
              <a:gd name="csX909" fmla="*/ 377934 w 1609516"/>
              <a:gd name="csY909" fmla="*/ 297817 h 1538630"/>
              <a:gd name="csX910" fmla="*/ 368775 w 1609516"/>
              <a:gd name="csY910" fmla="*/ 282470 h 1538630"/>
              <a:gd name="csX911" fmla="*/ 359890 w 1609516"/>
              <a:gd name="csY911" fmla="*/ 271284 h 1538630"/>
              <a:gd name="csX912" fmla="*/ 357374 w 1609516"/>
              <a:gd name="csY912" fmla="*/ 268288 h 1538630"/>
              <a:gd name="csX913" fmla="*/ 337533 w 1609516"/>
              <a:gd name="csY913" fmla="*/ 248649 h 1538630"/>
              <a:gd name="csX914" fmla="*/ 335214 w 1609516"/>
              <a:gd name="csY914" fmla="*/ 246369 h 1538630"/>
              <a:gd name="csX915" fmla="*/ 327085 w 1609516"/>
              <a:gd name="csY915" fmla="*/ 242571 h 1538630"/>
              <a:gd name="csX916" fmla="*/ 288785 w 1609516"/>
              <a:gd name="csY916" fmla="*/ 207968 h 1538630"/>
              <a:gd name="csX917" fmla="*/ 286373 w 1609516"/>
              <a:gd name="csY917" fmla="*/ 192544 h 1538630"/>
              <a:gd name="csX918" fmla="*/ 286385 w 1609516"/>
              <a:gd name="csY918" fmla="*/ 189190 h 1538630"/>
              <a:gd name="csX919" fmla="*/ 300042 w 1609516"/>
              <a:gd name="csY919" fmla="*/ 164095 h 1538630"/>
              <a:gd name="csX920" fmla="*/ 302757 w 1609516"/>
              <a:gd name="csY920" fmla="*/ 161381 h 1538630"/>
              <a:gd name="csX921" fmla="*/ 338411 w 1609516"/>
              <a:gd name="csY921" fmla="*/ 152293 h 1538630"/>
              <a:gd name="csX922" fmla="*/ 368482 w 1609516"/>
              <a:gd name="csY922" fmla="*/ 161893 h 1538630"/>
              <a:gd name="csX923" fmla="*/ 371899 w 1609516"/>
              <a:gd name="csY923" fmla="*/ 165505 h 1538630"/>
              <a:gd name="csX924" fmla="*/ 375121 w 1609516"/>
              <a:gd name="csY924" fmla="*/ 168587 h 1538630"/>
              <a:gd name="csX925" fmla="*/ 384982 w 1609516"/>
              <a:gd name="csY925" fmla="*/ 193777 h 1538630"/>
              <a:gd name="csX926" fmla="*/ 390352 w 1609516"/>
              <a:gd name="csY926" fmla="*/ 214563 h 1538630"/>
              <a:gd name="csX927" fmla="*/ 391529 w 1609516"/>
              <a:gd name="csY927" fmla="*/ 217626 h 1538630"/>
              <a:gd name="csX928" fmla="*/ 401579 w 1609516"/>
              <a:gd name="csY928" fmla="*/ 234556 h 1538630"/>
              <a:gd name="csX929" fmla="*/ 401579 w 1609516"/>
              <a:gd name="csY929" fmla="*/ 238784 h 1538630"/>
              <a:gd name="csX930" fmla="*/ 404215 w 1609516"/>
              <a:gd name="csY930" fmla="*/ 239753 h 1538630"/>
              <a:gd name="csX931" fmla="*/ 417811 w 1609516"/>
              <a:gd name="csY931" fmla="*/ 251996 h 1538630"/>
              <a:gd name="csX932" fmla="*/ 426866 w 1609516"/>
              <a:gd name="csY932" fmla="*/ 262300 h 1538630"/>
              <a:gd name="csX933" fmla="*/ 450097 w 1609516"/>
              <a:gd name="csY933" fmla="*/ 287628 h 1538630"/>
              <a:gd name="csX934" fmla="*/ 457425 w 1609516"/>
              <a:gd name="csY934" fmla="*/ 293920 h 1538630"/>
              <a:gd name="csX935" fmla="*/ 460940 w 1609516"/>
              <a:gd name="csY935" fmla="*/ 296562 h 1538630"/>
              <a:gd name="csX936" fmla="*/ 460940 w 1609516"/>
              <a:gd name="csY936" fmla="*/ 300790 h 1538630"/>
              <a:gd name="csX937" fmla="*/ 473437 w 1609516"/>
              <a:gd name="csY937" fmla="*/ 305018 h 1538630"/>
              <a:gd name="csX938" fmla="*/ 473437 w 1609516"/>
              <a:gd name="csY938" fmla="*/ 307836 h 1538630"/>
              <a:gd name="csX939" fmla="*/ 479881 w 1609516"/>
              <a:gd name="csY939" fmla="*/ 309862 h 1538630"/>
              <a:gd name="csX940" fmla="*/ 483505 w 1609516"/>
              <a:gd name="csY940" fmla="*/ 311001 h 1538630"/>
              <a:gd name="csX941" fmla="*/ 548419 w 1609516"/>
              <a:gd name="csY941" fmla="*/ 306427 h 1538630"/>
              <a:gd name="csX942" fmla="*/ 551842 w 1609516"/>
              <a:gd name="csY942" fmla="*/ 305127 h 1538630"/>
              <a:gd name="csX943" fmla="*/ 560232 w 1609516"/>
              <a:gd name="csY943" fmla="*/ 298148 h 1538630"/>
              <a:gd name="csX944" fmla="*/ 562972 w 1609516"/>
              <a:gd name="csY944" fmla="*/ 295252 h 1538630"/>
              <a:gd name="csX945" fmla="*/ 568086 w 1609516"/>
              <a:gd name="csY945" fmla="*/ 289152 h 1538630"/>
              <a:gd name="csX946" fmla="*/ 570289 w 1609516"/>
              <a:gd name="csY946" fmla="*/ 286697 h 1538630"/>
              <a:gd name="csX947" fmla="*/ 573413 w 1609516"/>
              <a:gd name="csY947" fmla="*/ 286697 h 1538630"/>
              <a:gd name="csX948" fmla="*/ 577220 w 1609516"/>
              <a:gd name="csY948" fmla="*/ 257016 h 1538630"/>
              <a:gd name="csX949" fmla="*/ 577235 w 1609516"/>
              <a:gd name="csY949" fmla="*/ 254206 h 1538630"/>
              <a:gd name="csX950" fmla="*/ 569443 w 1609516"/>
              <a:gd name="csY950" fmla="*/ 206049 h 1538630"/>
              <a:gd name="csX951" fmla="*/ 568726 w 1609516"/>
              <a:gd name="csY951" fmla="*/ 200735 h 1538630"/>
              <a:gd name="csX952" fmla="*/ 565602 w 1609516"/>
              <a:gd name="csY952" fmla="*/ 200735 h 1538630"/>
              <a:gd name="csX953" fmla="*/ 559549 w 1609516"/>
              <a:gd name="csY953" fmla="*/ 184441 h 1538630"/>
              <a:gd name="csX954" fmla="*/ 537484 w 1609516"/>
              <a:gd name="csY954" fmla="*/ 159867 h 1538630"/>
              <a:gd name="csX955" fmla="*/ 531235 w 1609516"/>
              <a:gd name="csY955" fmla="*/ 154230 h 1538630"/>
              <a:gd name="csX956" fmla="*/ 531235 w 1609516"/>
              <a:gd name="csY956" fmla="*/ 151412 h 1538630"/>
              <a:gd name="csX957" fmla="*/ 526549 w 1609516"/>
              <a:gd name="csY957" fmla="*/ 150003 h 1538630"/>
              <a:gd name="csX958" fmla="*/ 524304 w 1609516"/>
              <a:gd name="csY958" fmla="*/ 107198 h 1538630"/>
              <a:gd name="csX959" fmla="*/ 547052 w 1609516"/>
              <a:gd name="csY959" fmla="*/ 85972 h 1538630"/>
              <a:gd name="csX960" fmla="*/ 588460 w 1609516"/>
              <a:gd name="csY960" fmla="*/ 83538 h 1538630"/>
              <a:gd name="csX961" fmla="*/ 617152 w 1609516"/>
              <a:gd name="csY961" fmla="*/ 111954 h 1538630"/>
              <a:gd name="csX962" fmla="*/ 617884 w 1609516"/>
              <a:gd name="csY962" fmla="*/ 124175 h 1538630"/>
              <a:gd name="csX963" fmla="*/ 617917 w 1609516"/>
              <a:gd name="csY963" fmla="*/ 127607 h 1538630"/>
              <a:gd name="csX964" fmla="*/ 617919 w 1609516"/>
              <a:gd name="csY964" fmla="*/ 141969 h 1538630"/>
              <a:gd name="csX965" fmla="*/ 630625 w 1609516"/>
              <a:gd name="csY965" fmla="*/ 191311 h 1538630"/>
              <a:gd name="csX966" fmla="*/ 637850 w 1609516"/>
              <a:gd name="csY966" fmla="*/ 205139 h 1538630"/>
              <a:gd name="csX967" fmla="*/ 643708 w 1609516"/>
              <a:gd name="csY967" fmla="*/ 212009 h 1538630"/>
              <a:gd name="csX968" fmla="*/ 647027 w 1609516"/>
              <a:gd name="csY968" fmla="*/ 217645 h 1538630"/>
              <a:gd name="csX969" fmla="*/ 670264 w 1609516"/>
              <a:gd name="csY969" fmla="*/ 241603 h 1538630"/>
              <a:gd name="csX970" fmla="*/ 670264 w 1609516"/>
              <a:gd name="csY970" fmla="*/ 244421 h 1538630"/>
              <a:gd name="csX971" fmla="*/ 675634 w 1609516"/>
              <a:gd name="csY971" fmla="*/ 245742 h 1538630"/>
              <a:gd name="csX972" fmla="*/ 682761 w 1609516"/>
              <a:gd name="csY972" fmla="*/ 248649 h 1538630"/>
              <a:gd name="csX973" fmla="*/ 752092 w 1609516"/>
              <a:gd name="csY973" fmla="*/ 245076 h 1538630"/>
              <a:gd name="csX974" fmla="*/ 758433 w 1609516"/>
              <a:gd name="csY974" fmla="*/ 240485 h 1538630"/>
              <a:gd name="csX975" fmla="*/ 763991 w 1609516"/>
              <a:gd name="csY975" fmla="*/ 238784 h 1538630"/>
              <a:gd name="csX976" fmla="*/ 765315 w 1609516"/>
              <a:gd name="csY976" fmla="*/ 235778 h 1538630"/>
              <a:gd name="csX977" fmla="*/ 770923 w 1609516"/>
              <a:gd name="csY977" fmla="*/ 223459 h 1538630"/>
              <a:gd name="csX978" fmla="*/ 772998 w 1609516"/>
              <a:gd name="csY978" fmla="*/ 218934 h 1538630"/>
              <a:gd name="csX979" fmla="*/ 777562 w 1609516"/>
              <a:gd name="csY979" fmla="*/ 209895 h 1538630"/>
              <a:gd name="csX980" fmla="*/ 781175 w 1609516"/>
              <a:gd name="csY980" fmla="*/ 124637 h 1538630"/>
              <a:gd name="csX981" fmla="*/ 778051 w 1609516"/>
              <a:gd name="csY981" fmla="*/ 124637 h 1538630"/>
              <a:gd name="csX982" fmla="*/ 767116 w 1609516"/>
              <a:gd name="csY982" fmla="*/ 79542 h 1538630"/>
              <a:gd name="csX983" fmla="*/ 793379 w 1609516"/>
              <a:gd name="csY983" fmla="*/ 54000 h 1538630"/>
              <a:gd name="csX984" fmla="*/ 840688 w 1609516"/>
              <a:gd name="csY984" fmla="*/ 55503 h 1538630"/>
              <a:gd name="csX985" fmla="*/ 851470 w 1609516"/>
              <a:gd name="csY985" fmla="*/ 64040 h 1538630"/>
              <a:gd name="csX986" fmla="*/ 853997 w 1609516"/>
              <a:gd name="csY986" fmla="*/ 66529 h 1538630"/>
              <a:gd name="csX987" fmla="*/ 861488 w 1609516"/>
              <a:gd name="csY987" fmla="*/ 82057 h 1538630"/>
              <a:gd name="csX988" fmla="*/ 861937 w 1609516"/>
              <a:gd name="csY988" fmla="*/ 90492 h 1538630"/>
              <a:gd name="csX989" fmla="*/ 863826 w 1609516"/>
              <a:gd name="csY989" fmla="*/ 100715 h 1538630"/>
              <a:gd name="csX990" fmla="*/ 857577 w 1609516"/>
              <a:gd name="csY990" fmla="*/ 121853 h 1538630"/>
              <a:gd name="csX991" fmla="*/ 856015 w 1609516"/>
              <a:gd name="csY991" fmla="*/ 121853 h 1538630"/>
              <a:gd name="csX992" fmla="*/ 855442 w 1609516"/>
              <a:gd name="csY992" fmla="*/ 118919 h 1538630"/>
              <a:gd name="csX993" fmla="*/ 855417 w 1609516"/>
              <a:gd name="csY993" fmla="*/ 118798 h 1538630"/>
              <a:gd name="csX994" fmla="*/ 856157 w 1609516"/>
              <a:gd name="csY994" fmla="*/ 124637 h 1538630"/>
              <a:gd name="csX995" fmla="*/ 850623 w 1609516"/>
              <a:gd name="csY995" fmla="*/ 134701 h 1538630"/>
              <a:gd name="csX996" fmla="*/ 851325 w 1609516"/>
              <a:gd name="csY996" fmla="*/ 135968 h 1538630"/>
              <a:gd name="csX997" fmla="*/ 849886 w 1609516"/>
              <a:gd name="csY997" fmla="*/ 139843 h 1538630"/>
              <a:gd name="csX998" fmla="*/ 847786 w 1609516"/>
              <a:gd name="csY998" fmla="*/ 152889 h 1538630"/>
              <a:gd name="csX999" fmla="*/ 847767 w 1609516"/>
              <a:gd name="csY999" fmla="*/ 157768 h 1538630"/>
              <a:gd name="csX1000" fmla="*/ 847810 w 1609516"/>
              <a:gd name="csY1000" fmla="*/ 162919 h 1538630"/>
              <a:gd name="csX1001" fmla="*/ 847832 w 1609516"/>
              <a:gd name="csY1001" fmla="*/ 168227 h 1538630"/>
              <a:gd name="csX1002" fmla="*/ 850903 w 1609516"/>
              <a:gd name="csY1002" fmla="*/ 209013 h 1538630"/>
              <a:gd name="csX1003" fmla="*/ 852880 w 1609516"/>
              <a:gd name="csY1003" fmla="*/ 224692 h 1538630"/>
              <a:gd name="csX1004" fmla="*/ 854595 w 1609516"/>
              <a:gd name="csY1004" fmla="*/ 224692 h 1538630"/>
              <a:gd name="csX1005" fmla="*/ 856083 w 1609516"/>
              <a:gd name="csY1005" fmla="*/ 227268 h 1538630"/>
              <a:gd name="csX1006" fmla="*/ 879588 w 1609516"/>
              <a:gd name="csY1006" fmla="*/ 247239 h 1538630"/>
              <a:gd name="csX1007" fmla="*/ 885739 w 1609516"/>
              <a:gd name="csY1007" fmla="*/ 249618 h 1538630"/>
              <a:gd name="csX1008" fmla="*/ 890523 w 1609516"/>
              <a:gd name="csY1008" fmla="*/ 251467 h 1538630"/>
              <a:gd name="csX1009" fmla="*/ 890523 w 1609516"/>
              <a:gd name="csY1009" fmla="*/ 254285 h 1538630"/>
              <a:gd name="csX1010" fmla="*/ 920203 w 1609516"/>
              <a:gd name="csY1010" fmla="*/ 261332 h 1538630"/>
              <a:gd name="csX1011" fmla="*/ 920203 w 1609516"/>
              <a:gd name="csY1011" fmla="*/ 262741 h 1538630"/>
              <a:gd name="csX1012" fmla="*/ 910831 w 1609516"/>
              <a:gd name="csY1012" fmla="*/ 262741 h 1538630"/>
              <a:gd name="csX1013" fmla="*/ 910831 w 1609516"/>
              <a:gd name="csY1013" fmla="*/ 262864 h 1538630"/>
              <a:gd name="csX1014" fmla="*/ 927993 w 1609516"/>
              <a:gd name="csY1014" fmla="*/ 264177 h 1538630"/>
              <a:gd name="csX1015" fmla="*/ 939273 w 1609516"/>
              <a:gd name="csY1015" fmla="*/ 265285 h 1538630"/>
              <a:gd name="csX1016" fmla="*/ 940456 w 1609516"/>
              <a:gd name="csY1016" fmla="*/ 265191 h 1538630"/>
              <a:gd name="csX1017" fmla="*/ 991622 w 1609516"/>
              <a:gd name="csY1017" fmla="*/ 242329 h 1538630"/>
              <a:gd name="csX1018" fmla="*/ 1000803 w 1609516"/>
              <a:gd name="csY1018" fmla="*/ 236505 h 1538630"/>
              <a:gd name="csX1019" fmla="*/ 999806 w 1609516"/>
              <a:gd name="csY1019" fmla="*/ 236055 h 1538630"/>
              <a:gd name="csX1020" fmla="*/ 1003126 w 1609516"/>
              <a:gd name="csY1020" fmla="*/ 232851 h 1538630"/>
              <a:gd name="csX1021" fmla="*/ 1029487 w 1609516"/>
              <a:gd name="csY1021" fmla="*/ 205052 h 1538630"/>
              <a:gd name="csX1022" fmla="*/ 1029872 w 1609516"/>
              <a:gd name="csY1022" fmla="*/ 206442 h 1538630"/>
              <a:gd name="csX1023" fmla="*/ 1031614 w 1609516"/>
              <a:gd name="csY1023" fmla="*/ 203719 h 1538630"/>
              <a:gd name="csX1024" fmla="*/ 1038924 w 1609516"/>
              <a:gd name="csY1024" fmla="*/ 192280 h 1538630"/>
              <a:gd name="csX1025" fmla="*/ 1042049 w 1609516"/>
              <a:gd name="csY1025" fmla="*/ 190870 h 1538630"/>
              <a:gd name="csX1026" fmla="*/ 1044294 w 1609516"/>
              <a:gd name="csY1026" fmla="*/ 186026 h 1538630"/>
              <a:gd name="csX1027" fmla="*/ 1051422 w 1609516"/>
              <a:gd name="csY1027" fmla="*/ 178188 h 1538630"/>
              <a:gd name="csX1028" fmla="*/ 1052984 w 1609516"/>
              <a:gd name="csY1028" fmla="*/ 172551 h 1538630"/>
              <a:gd name="csX1029" fmla="*/ 1056108 w 1609516"/>
              <a:gd name="csY1029" fmla="*/ 172551 h 1538630"/>
              <a:gd name="csX1030" fmla="*/ 1059232 w 1609516"/>
              <a:gd name="csY1030" fmla="*/ 162686 h 1538630"/>
              <a:gd name="csX1031" fmla="*/ 1062357 w 1609516"/>
              <a:gd name="csY1031" fmla="*/ 162686 h 1538630"/>
              <a:gd name="csX1032" fmla="*/ 1063162 w 1609516"/>
              <a:gd name="csY1032" fmla="*/ 160258 h 1538630"/>
              <a:gd name="csX1033" fmla="*/ 1073292 w 1609516"/>
              <a:gd name="csY1033" fmla="*/ 140138 h 1538630"/>
              <a:gd name="csX1034" fmla="*/ 1076415 w 1609516"/>
              <a:gd name="csY1034" fmla="*/ 140138 h 1538630"/>
              <a:gd name="csX1035" fmla="*/ 1085294 w 1609516"/>
              <a:gd name="csY1035" fmla="*/ 117569 h 1538630"/>
              <a:gd name="csX1036" fmla="*/ 1087350 w 1609516"/>
              <a:gd name="csY1036" fmla="*/ 113363 h 1538630"/>
              <a:gd name="csX1037" fmla="*/ 1092037 w 1609516"/>
              <a:gd name="csY1037" fmla="*/ 111954 h 1538630"/>
              <a:gd name="csX1038" fmla="*/ 1092623 w 1609516"/>
              <a:gd name="csY1038" fmla="*/ 108695 h 1538630"/>
              <a:gd name="csX1039" fmla="*/ 1096723 w 1609516"/>
              <a:gd name="csY1039" fmla="*/ 100680 h 1538630"/>
              <a:gd name="csX1040" fmla="*/ 1098188 w 1609516"/>
              <a:gd name="csY1040" fmla="*/ 96013 h 1538630"/>
              <a:gd name="csX1041" fmla="*/ 1102288 w 1609516"/>
              <a:gd name="csY1041" fmla="*/ 87029 h 1538630"/>
              <a:gd name="csX1042" fmla="*/ 1104534 w 1609516"/>
              <a:gd name="csY1042" fmla="*/ 61222 h 1538630"/>
              <a:gd name="csX1043" fmla="*/ 1104381 w 1609516"/>
              <a:gd name="csY1043" fmla="*/ 55569 h 1538630"/>
              <a:gd name="csX1044" fmla="*/ 1104397 w 1609516"/>
              <a:gd name="csY1044" fmla="*/ 52335 h 1538630"/>
              <a:gd name="csX1045" fmla="*/ 1104436 w 1609516"/>
              <a:gd name="csY1045" fmla="*/ 48979 h 1538630"/>
              <a:gd name="csX1046" fmla="*/ 1104457 w 1609516"/>
              <a:gd name="csY1046" fmla="*/ 45575 h 1538630"/>
              <a:gd name="csX1047" fmla="*/ 1104534 w 1609516"/>
              <a:gd name="csY1047" fmla="*/ 37265 h 1538630"/>
              <a:gd name="csX1048" fmla="*/ 1107658 w 1609516"/>
              <a:gd name="csY1048" fmla="*/ 37265 h 1538630"/>
              <a:gd name="csX1049" fmla="*/ 1107463 w 1609516"/>
              <a:gd name="csY1049" fmla="*/ 31805 h 1538630"/>
              <a:gd name="csX1050" fmla="*/ 1107658 w 1609516"/>
              <a:gd name="csY1050" fmla="*/ 25991 h 1538630"/>
              <a:gd name="csX1051" fmla="*/ 1110782 w 1609516"/>
              <a:gd name="csY1051" fmla="*/ 23173 h 1538630"/>
              <a:gd name="csX1052" fmla="*/ 1111759 w 1609516"/>
              <a:gd name="csY1052" fmla="*/ 20091 h 1538630"/>
              <a:gd name="csX1053" fmla="*/ 1134507 w 1609516"/>
              <a:gd name="csY1053" fmla="*/ 2828 h 1538630"/>
              <a:gd name="csX1054" fmla="*/ 1155019 w 1609516"/>
              <a:gd name="csY1054" fmla="*/ 35 h 153863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  <a:cxn ang="0">
                <a:pos x="csX170" y="csY170"/>
              </a:cxn>
              <a:cxn ang="0">
                <a:pos x="csX171" y="csY171"/>
              </a:cxn>
              <a:cxn ang="0">
                <a:pos x="csX172" y="csY172"/>
              </a:cxn>
              <a:cxn ang="0">
                <a:pos x="csX173" y="csY173"/>
              </a:cxn>
              <a:cxn ang="0">
                <a:pos x="csX174" y="csY174"/>
              </a:cxn>
              <a:cxn ang="0">
                <a:pos x="csX175" y="csY175"/>
              </a:cxn>
              <a:cxn ang="0">
                <a:pos x="csX176" y="csY176"/>
              </a:cxn>
              <a:cxn ang="0">
                <a:pos x="csX177" y="csY177"/>
              </a:cxn>
              <a:cxn ang="0">
                <a:pos x="csX178" y="csY178"/>
              </a:cxn>
              <a:cxn ang="0">
                <a:pos x="csX179" y="csY179"/>
              </a:cxn>
              <a:cxn ang="0">
                <a:pos x="csX180" y="csY180"/>
              </a:cxn>
              <a:cxn ang="0">
                <a:pos x="csX181" y="csY181"/>
              </a:cxn>
              <a:cxn ang="0">
                <a:pos x="csX182" y="csY182"/>
              </a:cxn>
              <a:cxn ang="0">
                <a:pos x="csX183" y="csY183"/>
              </a:cxn>
              <a:cxn ang="0">
                <a:pos x="csX184" y="csY184"/>
              </a:cxn>
              <a:cxn ang="0">
                <a:pos x="csX185" y="csY185"/>
              </a:cxn>
              <a:cxn ang="0">
                <a:pos x="csX186" y="csY186"/>
              </a:cxn>
              <a:cxn ang="0">
                <a:pos x="csX187" y="csY187"/>
              </a:cxn>
              <a:cxn ang="0">
                <a:pos x="csX188" y="csY188"/>
              </a:cxn>
              <a:cxn ang="0">
                <a:pos x="csX189" y="csY189"/>
              </a:cxn>
              <a:cxn ang="0">
                <a:pos x="csX190" y="csY190"/>
              </a:cxn>
              <a:cxn ang="0">
                <a:pos x="csX191" y="csY191"/>
              </a:cxn>
              <a:cxn ang="0">
                <a:pos x="csX192" y="csY192"/>
              </a:cxn>
              <a:cxn ang="0">
                <a:pos x="csX193" y="csY193"/>
              </a:cxn>
              <a:cxn ang="0">
                <a:pos x="csX194" y="csY194"/>
              </a:cxn>
              <a:cxn ang="0">
                <a:pos x="csX195" y="csY195"/>
              </a:cxn>
              <a:cxn ang="0">
                <a:pos x="csX196" y="csY196"/>
              </a:cxn>
              <a:cxn ang="0">
                <a:pos x="csX197" y="csY197"/>
              </a:cxn>
              <a:cxn ang="0">
                <a:pos x="csX198" y="csY198"/>
              </a:cxn>
              <a:cxn ang="0">
                <a:pos x="csX199" y="csY199"/>
              </a:cxn>
              <a:cxn ang="0">
                <a:pos x="csX200" y="csY200"/>
              </a:cxn>
              <a:cxn ang="0">
                <a:pos x="csX201" y="csY201"/>
              </a:cxn>
              <a:cxn ang="0">
                <a:pos x="csX202" y="csY202"/>
              </a:cxn>
              <a:cxn ang="0">
                <a:pos x="csX203" y="csY203"/>
              </a:cxn>
              <a:cxn ang="0">
                <a:pos x="csX204" y="csY204"/>
              </a:cxn>
              <a:cxn ang="0">
                <a:pos x="csX205" y="csY205"/>
              </a:cxn>
              <a:cxn ang="0">
                <a:pos x="csX206" y="csY206"/>
              </a:cxn>
              <a:cxn ang="0">
                <a:pos x="csX207" y="csY207"/>
              </a:cxn>
              <a:cxn ang="0">
                <a:pos x="csX208" y="csY208"/>
              </a:cxn>
              <a:cxn ang="0">
                <a:pos x="csX209" y="csY209"/>
              </a:cxn>
              <a:cxn ang="0">
                <a:pos x="csX210" y="csY210"/>
              </a:cxn>
              <a:cxn ang="0">
                <a:pos x="csX211" y="csY211"/>
              </a:cxn>
              <a:cxn ang="0">
                <a:pos x="csX212" y="csY212"/>
              </a:cxn>
              <a:cxn ang="0">
                <a:pos x="csX213" y="csY213"/>
              </a:cxn>
              <a:cxn ang="0">
                <a:pos x="csX214" y="csY214"/>
              </a:cxn>
              <a:cxn ang="0">
                <a:pos x="csX215" y="csY215"/>
              </a:cxn>
              <a:cxn ang="0">
                <a:pos x="csX216" y="csY216"/>
              </a:cxn>
              <a:cxn ang="0">
                <a:pos x="csX217" y="csY217"/>
              </a:cxn>
              <a:cxn ang="0">
                <a:pos x="csX218" y="csY218"/>
              </a:cxn>
              <a:cxn ang="0">
                <a:pos x="csX219" y="csY219"/>
              </a:cxn>
              <a:cxn ang="0">
                <a:pos x="csX220" y="csY220"/>
              </a:cxn>
              <a:cxn ang="0">
                <a:pos x="csX221" y="csY221"/>
              </a:cxn>
              <a:cxn ang="0">
                <a:pos x="csX222" y="csY222"/>
              </a:cxn>
              <a:cxn ang="0">
                <a:pos x="csX223" y="csY223"/>
              </a:cxn>
              <a:cxn ang="0">
                <a:pos x="csX224" y="csY224"/>
              </a:cxn>
              <a:cxn ang="0">
                <a:pos x="csX225" y="csY225"/>
              </a:cxn>
              <a:cxn ang="0">
                <a:pos x="csX226" y="csY226"/>
              </a:cxn>
              <a:cxn ang="0">
                <a:pos x="csX227" y="csY227"/>
              </a:cxn>
              <a:cxn ang="0">
                <a:pos x="csX228" y="csY228"/>
              </a:cxn>
              <a:cxn ang="0">
                <a:pos x="csX229" y="csY229"/>
              </a:cxn>
              <a:cxn ang="0">
                <a:pos x="csX230" y="csY230"/>
              </a:cxn>
              <a:cxn ang="0">
                <a:pos x="csX231" y="csY231"/>
              </a:cxn>
              <a:cxn ang="0">
                <a:pos x="csX232" y="csY232"/>
              </a:cxn>
              <a:cxn ang="0">
                <a:pos x="csX233" y="csY233"/>
              </a:cxn>
              <a:cxn ang="0">
                <a:pos x="csX234" y="csY234"/>
              </a:cxn>
              <a:cxn ang="0">
                <a:pos x="csX235" y="csY235"/>
              </a:cxn>
              <a:cxn ang="0">
                <a:pos x="csX236" y="csY236"/>
              </a:cxn>
              <a:cxn ang="0">
                <a:pos x="csX237" y="csY237"/>
              </a:cxn>
              <a:cxn ang="0">
                <a:pos x="csX238" y="csY238"/>
              </a:cxn>
              <a:cxn ang="0">
                <a:pos x="csX239" y="csY239"/>
              </a:cxn>
              <a:cxn ang="0">
                <a:pos x="csX240" y="csY240"/>
              </a:cxn>
              <a:cxn ang="0">
                <a:pos x="csX241" y="csY241"/>
              </a:cxn>
              <a:cxn ang="0">
                <a:pos x="csX242" y="csY242"/>
              </a:cxn>
              <a:cxn ang="0">
                <a:pos x="csX243" y="csY243"/>
              </a:cxn>
              <a:cxn ang="0">
                <a:pos x="csX244" y="csY244"/>
              </a:cxn>
              <a:cxn ang="0">
                <a:pos x="csX245" y="csY245"/>
              </a:cxn>
              <a:cxn ang="0">
                <a:pos x="csX246" y="csY246"/>
              </a:cxn>
              <a:cxn ang="0">
                <a:pos x="csX247" y="csY247"/>
              </a:cxn>
              <a:cxn ang="0">
                <a:pos x="csX248" y="csY248"/>
              </a:cxn>
              <a:cxn ang="0">
                <a:pos x="csX249" y="csY249"/>
              </a:cxn>
              <a:cxn ang="0">
                <a:pos x="csX250" y="csY250"/>
              </a:cxn>
              <a:cxn ang="0">
                <a:pos x="csX251" y="csY251"/>
              </a:cxn>
              <a:cxn ang="0">
                <a:pos x="csX252" y="csY252"/>
              </a:cxn>
              <a:cxn ang="0">
                <a:pos x="csX253" y="csY253"/>
              </a:cxn>
              <a:cxn ang="0">
                <a:pos x="csX254" y="csY254"/>
              </a:cxn>
              <a:cxn ang="0">
                <a:pos x="csX255" y="csY255"/>
              </a:cxn>
              <a:cxn ang="0">
                <a:pos x="csX256" y="csY256"/>
              </a:cxn>
              <a:cxn ang="0">
                <a:pos x="csX257" y="csY257"/>
              </a:cxn>
              <a:cxn ang="0">
                <a:pos x="csX258" y="csY258"/>
              </a:cxn>
              <a:cxn ang="0">
                <a:pos x="csX259" y="csY259"/>
              </a:cxn>
              <a:cxn ang="0">
                <a:pos x="csX260" y="csY260"/>
              </a:cxn>
              <a:cxn ang="0">
                <a:pos x="csX261" y="csY261"/>
              </a:cxn>
              <a:cxn ang="0">
                <a:pos x="csX262" y="csY262"/>
              </a:cxn>
              <a:cxn ang="0">
                <a:pos x="csX263" y="csY263"/>
              </a:cxn>
              <a:cxn ang="0">
                <a:pos x="csX264" y="csY264"/>
              </a:cxn>
              <a:cxn ang="0">
                <a:pos x="csX265" y="csY265"/>
              </a:cxn>
              <a:cxn ang="0">
                <a:pos x="csX266" y="csY266"/>
              </a:cxn>
              <a:cxn ang="0">
                <a:pos x="csX267" y="csY267"/>
              </a:cxn>
              <a:cxn ang="0">
                <a:pos x="csX268" y="csY268"/>
              </a:cxn>
              <a:cxn ang="0">
                <a:pos x="csX269" y="csY269"/>
              </a:cxn>
              <a:cxn ang="0">
                <a:pos x="csX270" y="csY270"/>
              </a:cxn>
              <a:cxn ang="0">
                <a:pos x="csX271" y="csY271"/>
              </a:cxn>
              <a:cxn ang="0">
                <a:pos x="csX272" y="csY272"/>
              </a:cxn>
              <a:cxn ang="0">
                <a:pos x="csX273" y="csY273"/>
              </a:cxn>
              <a:cxn ang="0">
                <a:pos x="csX274" y="csY274"/>
              </a:cxn>
              <a:cxn ang="0">
                <a:pos x="csX275" y="csY275"/>
              </a:cxn>
              <a:cxn ang="0">
                <a:pos x="csX276" y="csY276"/>
              </a:cxn>
              <a:cxn ang="0">
                <a:pos x="csX277" y="csY277"/>
              </a:cxn>
              <a:cxn ang="0">
                <a:pos x="csX278" y="csY278"/>
              </a:cxn>
              <a:cxn ang="0">
                <a:pos x="csX279" y="csY279"/>
              </a:cxn>
              <a:cxn ang="0">
                <a:pos x="csX280" y="csY280"/>
              </a:cxn>
              <a:cxn ang="0">
                <a:pos x="csX281" y="csY281"/>
              </a:cxn>
              <a:cxn ang="0">
                <a:pos x="csX282" y="csY282"/>
              </a:cxn>
              <a:cxn ang="0">
                <a:pos x="csX283" y="csY283"/>
              </a:cxn>
              <a:cxn ang="0">
                <a:pos x="csX284" y="csY284"/>
              </a:cxn>
              <a:cxn ang="0">
                <a:pos x="csX285" y="csY285"/>
              </a:cxn>
              <a:cxn ang="0">
                <a:pos x="csX286" y="csY286"/>
              </a:cxn>
              <a:cxn ang="0">
                <a:pos x="csX287" y="csY287"/>
              </a:cxn>
              <a:cxn ang="0">
                <a:pos x="csX288" y="csY288"/>
              </a:cxn>
              <a:cxn ang="0">
                <a:pos x="csX289" y="csY289"/>
              </a:cxn>
              <a:cxn ang="0">
                <a:pos x="csX290" y="csY290"/>
              </a:cxn>
              <a:cxn ang="0">
                <a:pos x="csX291" y="csY291"/>
              </a:cxn>
              <a:cxn ang="0">
                <a:pos x="csX292" y="csY292"/>
              </a:cxn>
              <a:cxn ang="0">
                <a:pos x="csX293" y="csY293"/>
              </a:cxn>
              <a:cxn ang="0">
                <a:pos x="csX294" y="csY294"/>
              </a:cxn>
              <a:cxn ang="0">
                <a:pos x="csX295" y="csY295"/>
              </a:cxn>
              <a:cxn ang="0">
                <a:pos x="csX296" y="csY296"/>
              </a:cxn>
              <a:cxn ang="0">
                <a:pos x="csX297" y="csY297"/>
              </a:cxn>
              <a:cxn ang="0">
                <a:pos x="csX298" y="csY298"/>
              </a:cxn>
              <a:cxn ang="0">
                <a:pos x="csX299" y="csY299"/>
              </a:cxn>
              <a:cxn ang="0">
                <a:pos x="csX300" y="csY300"/>
              </a:cxn>
              <a:cxn ang="0">
                <a:pos x="csX301" y="csY301"/>
              </a:cxn>
              <a:cxn ang="0">
                <a:pos x="csX302" y="csY302"/>
              </a:cxn>
              <a:cxn ang="0">
                <a:pos x="csX303" y="csY303"/>
              </a:cxn>
              <a:cxn ang="0">
                <a:pos x="csX304" y="csY304"/>
              </a:cxn>
              <a:cxn ang="0">
                <a:pos x="csX305" y="csY305"/>
              </a:cxn>
              <a:cxn ang="0">
                <a:pos x="csX306" y="csY306"/>
              </a:cxn>
              <a:cxn ang="0">
                <a:pos x="csX307" y="csY307"/>
              </a:cxn>
              <a:cxn ang="0">
                <a:pos x="csX308" y="csY308"/>
              </a:cxn>
              <a:cxn ang="0">
                <a:pos x="csX309" y="csY309"/>
              </a:cxn>
              <a:cxn ang="0">
                <a:pos x="csX310" y="csY310"/>
              </a:cxn>
              <a:cxn ang="0">
                <a:pos x="csX311" y="csY311"/>
              </a:cxn>
              <a:cxn ang="0">
                <a:pos x="csX312" y="csY312"/>
              </a:cxn>
              <a:cxn ang="0">
                <a:pos x="csX313" y="csY313"/>
              </a:cxn>
              <a:cxn ang="0">
                <a:pos x="csX314" y="csY314"/>
              </a:cxn>
              <a:cxn ang="0">
                <a:pos x="csX315" y="csY315"/>
              </a:cxn>
              <a:cxn ang="0">
                <a:pos x="csX316" y="csY316"/>
              </a:cxn>
              <a:cxn ang="0">
                <a:pos x="csX317" y="csY317"/>
              </a:cxn>
              <a:cxn ang="0">
                <a:pos x="csX318" y="csY318"/>
              </a:cxn>
              <a:cxn ang="0">
                <a:pos x="csX319" y="csY319"/>
              </a:cxn>
              <a:cxn ang="0">
                <a:pos x="csX320" y="csY320"/>
              </a:cxn>
              <a:cxn ang="0">
                <a:pos x="csX321" y="csY321"/>
              </a:cxn>
              <a:cxn ang="0">
                <a:pos x="csX322" y="csY322"/>
              </a:cxn>
              <a:cxn ang="0">
                <a:pos x="csX323" y="csY323"/>
              </a:cxn>
              <a:cxn ang="0">
                <a:pos x="csX324" y="csY324"/>
              </a:cxn>
              <a:cxn ang="0">
                <a:pos x="csX325" y="csY325"/>
              </a:cxn>
              <a:cxn ang="0">
                <a:pos x="csX326" y="csY326"/>
              </a:cxn>
              <a:cxn ang="0">
                <a:pos x="csX327" y="csY327"/>
              </a:cxn>
              <a:cxn ang="0">
                <a:pos x="csX328" y="csY328"/>
              </a:cxn>
              <a:cxn ang="0">
                <a:pos x="csX329" y="csY329"/>
              </a:cxn>
              <a:cxn ang="0">
                <a:pos x="csX330" y="csY330"/>
              </a:cxn>
              <a:cxn ang="0">
                <a:pos x="csX331" y="csY331"/>
              </a:cxn>
              <a:cxn ang="0">
                <a:pos x="csX332" y="csY332"/>
              </a:cxn>
              <a:cxn ang="0">
                <a:pos x="csX333" y="csY333"/>
              </a:cxn>
              <a:cxn ang="0">
                <a:pos x="csX334" y="csY334"/>
              </a:cxn>
              <a:cxn ang="0">
                <a:pos x="csX335" y="csY335"/>
              </a:cxn>
              <a:cxn ang="0">
                <a:pos x="csX336" y="csY336"/>
              </a:cxn>
              <a:cxn ang="0">
                <a:pos x="csX337" y="csY337"/>
              </a:cxn>
              <a:cxn ang="0">
                <a:pos x="csX338" y="csY338"/>
              </a:cxn>
              <a:cxn ang="0">
                <a:pos x="csX339" y="csY339"/>
              </a:cxn>
              <a:cxn ang="0">
                <a:pos x="csX340" y="csY340"/>
              </a:cxn>
              <a:cxn ang="0">
                <a:pos x="csX341" y="csY341"/>
              </a:cxn>
              <a:cxn ang="0">
                <a:pos x="csX342" y="csY342"/>
              </a:cxn>
              <a:cxn ang="0">
                <a:pos x="csX343" y="csY343"/>
              </a:cxn>
              <a:cxn ang="0">
                <a:pos x="csX344" y="csY344"/>
              </a:cxn>
              <a:cxn ang="0">
                <a:pos x="csX345" y="csY345"/>
              </a:cxn>
              <a:cxn ang="0">
                <a:pos x="csX346" y="csY346"/>
              </a:cxn>
              <a:cxn ang="0">
                <a:pos x="csX347" y="csY347"/>
              </a:cxn>
              <a:cxn ang="0">
                <a:pos x="csX348" y="csY348"/>
              </a:cxn>
              <a:cxn ang="0">
                <a:pos x="csX349" y="csY349"/>
              </a:cxn>
              <a:cxn ang="0">
                <a:pos x="csX350" y="csY350"/>
              </a:cxn>
              <a:cxn ang="0">
                <a:pos x="csX351" y="csY351"/>
              </a:cxn>
              <a:cxn ang="0">
                <a:pos x="csX352" y="csY352"/>
              </a:cxn>
              <a:cxn ang="0">
                <a:pos x="csX353" y="csY353"/>
              </a:cxn>
              <a:cxn ang="0">
                <a:pos x="csX354" y="csY354"/>
              </a:cxn>
              <a:cxn ang="0">
                <a:pos x="csX355" y="csY355"/>
              </a:cxn>
              <a:cxn ang="0">
                <a:pos x="csX356" y="csY356"/>
              </a:cxn>
              <a:cxn ang="0">
                <a:pos x="csX357" y="csY357"/>
              </a:cxn>
              <a:cxn ang="0">
                <a:pos x="csX358" y="csY358"/>
              </a:cxn>
              <a:cxn ang="0">
                <a:pos x="csX359" y="csY359"/>
              </a:cxn>
              <a:cxn ang="0">
                <a:pos x="csX360" y="csY360"/>
              </a:cxn>
              <a:cxn ang="0">
                <a:pos x="csX361" y="csY361"/>
              </a:cxn>
              <a:cxn ang="0">
                <a:pos x="csX362" y="csY362"/>
              </a:cxn>
              <a:cxn ang="0">
                <a:pos x="csX363" y="csY363"/>
              </a:cxn>
              <a:cxn ang="0">
                <a:pos x="csX364" y="csY364"/>
              </a:cxn>
              <a:cxn ang="0">
                <a:pos x="csX365" y="csY365"/>
              </a:cxn>
              <a:cxn ang="0">
                <a:pos x="csX366" y="csY366"/>
              </a:cxn>
              <a:cxn ang="0">
                <a:pos x="csX367" y="csY367"/>
              </a:cxn>
              <a:cxn ang="0">
                <a:pos x="csX368" y="csY368"/>
              </a:cxn>
              <a:cxn ang="0">
                <a:pos x="csX369" y="csY369"/>
              </a:cxn>
              <a:cxn ang="0">
                <a:pos x="csX370" y="csY370"/>
              </a:cxn>
              <a:cxn ang="0">
                <a:pos x="csX371" y="csY371"/>
              </a:cxn>
              <a:cxn ang="0">
                <a:pos x="csX372" y="csY372"/>
              </a:cxn>
              <a:cxn ang="0">
                <a:pos x="csX373" y="csY373"/>
              </a:cxn>
              <a:cxn ang="0">
                <a:pos x="csX374" y="csY374"/>
              </a:cxn>
              <a:cxn ang="0">
                <a:pos x="csX375" y="csY375"/>
              </a:cxn>
              <a:cxn ang="0">
                <a:pos x="csX376" y="csY376"/>
              </a:cxn>
              <a:cxn ang="0">
                <a:pos x="csX377" y="csY377"/>
              </a:cxn>
              <a:cxn ang="0">
                <a:pos x="csX378" y="csY378"/>
              </a:cxn>
              <a:cxn ang="0">
                <a:pos x="csX379" y="csY379"/>
              </a:cxn>
              <a:cxn ang="0">
                <a:pos x="csX380" y="csY380"/>
              </a:cxn>
              <a:cxn ang="0">
                <a:pos x="csX381" y="csY381"/>
              </a:cxn>
              <a:cxn ang="0">
                <a:pos x="csX382" y="csY382"/>
              </a:cxn>
              <a:cxn ang="0">
                <a:pos x="csX383" y="csY383"/>
              </a:cxn>
              <a:cxn ang="0">
                <a:pos x="csX384" y="csY384"/>
              </a:cxn>
              <a:cxn ang="0">
                <a:pos x="csX385" y="csY385"/>
              </a:cxn>
              <a:cxn ang="0">
                <a:pos x="csX386" y="csY386"/>
              </a:cxn>
              <a:cxn ang="0">
                <a:pos x="csX387" y="csY387"/>
              </a:cxn>
              <a:cxn ang="0">
                <a:pos x="csX388" y="csY388"/>
              </a:cxn>
              <a:cxn ang="0">
                <a:pos x="csX389" y="csY389"/>
              </a:cxn>
              <a:cxn ang="0">
                <a:pos x="csX390" y="csY390"/>
              </a:cxn>
              <a:cxn ang="0">
                <a:pos x="csX391" y="csY391"/>
              </a:cxn>
              <a:cxn ang="0">
                <a:pos x="csX392" y="csY392"/>
              </a:cxn>
              <a:cxn ang="0">
                <a:pos x="csX393" y="csY393"/>
              </a:cxn>
              <a:cxn ang="0">
                <a:pos x="csX394" y="csY394"/>
              </a:cxn>
              <a:cxn ang="0">
                <a:pos x="csX395" y="csY395"/>
              </a:cxn>
              <a:cxn ang="0">
                <a:pos x="csX396" y="csY396"/>
              </a:cxn>
              <a:cxn ang="0">
                <a:pos x="csX397" y="csY397"/>
              </a:cxn>
              <a:cxn ang="0">
                <a:pos x="csX398" y="csY398"/>
              </a:cxn>
              <a:cxn ang="0">
                <a:pos x="csX399" y="csY399"/>
              </a:cxn>
              <a:cxn ang="0">
                <a:pos x="csX400" y="csY400"/>
              </a:cxn>
              <a:cxn ang="0">
                <a:pos x="csX401" y="csY401"/>
              </a:cxn>
              <a:cxn ang="0">
                <a:pos x="csX402" y="csY402"/>
              </a:cxn>
              <a:cxn ang="0">
                <a:pos x="csX403" y="csY403"/>
              </a:cxn>
              <a:cxn ang="0">
                <a:pos x="csX404" y="csY404"/>
              </a:cxn>
              <a:cxn ang="0">
                <a:pos x="csX405" y="csY405"/>
              </a:cxn>
              <a:cxn ang="0">
                <a:pos x="csX406" y="csY406"/>
              </a:cxn>
              <a:cxn ang="0">
                <a:pos x="csX407" y="csY407"/>
              </a:cxn>
              <a:cxn ang="0">
                <a:pos x="csX408" y="csY408"/>
              </a:cxn>
              <a:cxn ang="0">
                <a:pos x="csX409" y="csY409"/>
              </a:cxn>
              <a:cxn ang="0">
                <a:pos x="csX410" y="csY410"/>
              </a:cxn>
              <a:cxn ang="0">
                <a:pos x="csX411" y="csY411"/>
              </a:cxn>
              <a:cxn ang="0">
                <a:pos x="csX412" y="csY412"/>
              </a:cxn>
              <a:cxn ang="0">
                <a:pos x="csX413" y="csY413"/>
              </a:cxn>
              <a:cxn ang="0">
                <a:pos x="csX414" y="csY414"/>
              </a:cxn>
              <a:cxn ang="0">
                <a:pos x="csX415" y="csY415"/>
              </a:cxn>
              <a:cxn ang="0">
                <a:pos x="csX416" y="csY416"/>
              </a:cxn>
              <a:cxn ang="0">
                <a:pos x="csX417" y="csY417"/>
              </a:cxn>
              <a:cxn ang="0">
                <a:pos x="csX418" y="csY418"/>
              </a:cxn>
              <a:cxn ang="0">
                <a:pos x="csX419" y="csY419"/>
              </a:cxn>
              <a:cxn ang="0">
                <a:pos x="csX420" y="csY420"/>
              </a:cxn>
              <a:cxn ang="0">
                <a:pos x="csX421" y="csY421"/>
              </a:cxn>
              <a:cxn ang="0">
                <a:pos x="csX422" y="csY422"/>
              </a:cxn>
              <a:cxn ang="0">
                <a:pos x="csX423" y="csY423"/>
              </a:cxn>
              <a:cxn ang="0">
                <a:pos x="csX424" y="csY424"/>
              </a:cxn>
              <a:cxn ang="0">
                <a:pos x="csX425" y="csY425"/>
              </a:cxn>
              <a:cxn ang="0">
                <a:pos x="csX426" y="csY426"/>
              </a:cxn>
              <a:cxn ang="0">
                <a:pos x="csX427" y="csY427"/>
              </a:cxn>
              <a:cxn ang="0">
                <a:pos x="csX428" y="csY428"/>
              </a:cxn>
              <a:cxn ang="0">
                <a:pos x="csX429" y="csY429"/>
              </a:cxn>
              <a:cxn ang="0">
                <a:pos x="csX430" y="csY430"/>
              </a:cxn>
              <a:cxn ang="0">
                <a:pos x="csX431" y="csY431"/>
              </a:cxn>
              <a:cxn ang="0">
                <a:pos x="csX432" y="csY432"/>
              </a:cxn>
              <a:cxn ang="0">
                <a:pos x="csX433" y="csY433"/>
              </a:cxn>
              <a:cxn ang="0">
                <a:pos x="csX434" y="csY434"/>
              </a:cxn>
              <a:cxn ang="0">
                <a:pos x="csX435" y="csY435"/>
              </a:cxn>
              <a:cxn ang="0">
                <a:pos x="csX436" y="csY436"/>
              </a:cxn>
              <a:cxn ang="0">
                <a:pos x="csX437" y="csY437"/>
              </a:cxn>
              <a:cxn ang="0">
                <a:pos x="csX438" y="csY438"/>
              </a:cxn>
              <a:cxn ang="0">
                <a:pos x="csX439" y="csY439"/>
              </a:cxn>
              <a:cxn ang="0">
                <a:pos x="csX440" y="csY440"/>
              </a:cxn>
              <a:cxn ang="0">
                <a:pos x="csX441" y="csY441"/>
              </a:cxn>
              <a:cxn ang="0">
                <a:pos x="csX442" y="csY442"/>
              </a:cxn>
              <a:cxn ang="0">
                <a:pos x="csX443" y="csY443"/>
              </a:cxn>
              <a:cxn ang="0">
                <a:pos x="csX444" y="csY444"/>
              </a:cxn>
              <a:cxn ang="0">
                <a:pos x="csX445" y="csY445"/>
              </a:cxn>
              <a:cxn ang="0">
                <a:pos x="csX446" y="csY446"/>
              </a:cxn>
              <a:cxn ang="0">
                <a:pos x="csX447" y="csY447"/>
              </a:cxn>
              <a:cxn ang="0">
                <a:pos x="csX448" y="csY448"/>
              </a:cxn>
              <a:cxn ang="0">
                <a:pos x="csX449" y="csY449"/>
              </a:cxn>
              <a:cxn ang="0">
                <a:pos x="csX450" y="csY450"/>
              </a:cxn>
              <a:cxn ang="0">
                <a:pos x="csX451" y="csY451"/>
              </a:cxn>
              <a:cxn ang="0">
                <a:pos x="csX452" y="csY452"/>
              </a:cxn>
              <a:cxn ang="0">
                <a:pos x="csX453" y="csY453"/>
              </a:cxn>
              <a:cxn ang="0">
                <a:pos x="csX454" y="csY454"/>
              </a:cxn>
              <a:cxn ang="0">
                <a:pos x="csX455" y="csY455"/>
              </a:cxn>
              <a:cxn ang="0">
                <a:pos x="csX456" y="csY456"/>
              </a:cxn>
              <a:cxn ang="0">
                <a:pos x="csX457" y="csY457"/>
              </a:cxn>
              <a:cxn ang="0">
                <a:pos x="csX458" y="csY458"/>
              </a:cxn>
              <a:cxn ang="0">
                <a:pos x="csX459" y="csY459"/>
              </a:cxn>
              <a:cxn ang="0">
                <a:pos x="csX460" y="csY460"/>
              </a:cxn>
              <a:cxn ang="0">
                <a:pos x="csX461" y="csY461"/>
              </a:cxn>
              <a:cxn ang="0">
                <a:pos x="csX462" y="csY462"/>
              </a:cxn>
              <a:cxn ang="0">
                <a:pos x="csX463" y="csY463"/>
              </a:cxn>
              <a:cxn ang="0">
                <a:pos x="csX464" y="csY464"/>
              </a:cxn>
              <a:cxn ang="0">
                <a:pos x="csX465" y="csY465"/>
              </a:cxn>
              <a:cxn ang="0">
                <a:pos x="csX466" y="csY466"/>
              </a:cxn>
              <a:cxn ang="0">
                <a:pos x="csX467" y="csY467"/>
              </a:cxn>
              <a:cxn ang="0">
                <a:pos x="csX468" y="csY468"/>
              </a:cxn>
              <a:cxn ang="0">
                <a:pos x="csX469" y="csY469"/>
              </a:cxn>
              <a:cxn ang="0">
                <a:pos x="csX470" y="csY470"/>
              </a:cxn>
              <a:cxn ang="0">
                <a:pos x="csX471" y="csY471"/>
              </a:cxn>
              <a:cxn ang="0">
                <a:pos x="csX472" y="csY472"/>
              </a:cxn>
              <a:cxn ang="0">
                <a:pos x="csX473" y="csY473"/>
              </a:cxn>
              <a:cxn ang="0">
                <a:pos x="csX474" y="csY474"/>
              </a:cxn>
              <a:cxn ang="0">
                <a:pos x="csX475" y="csY475"/>
              </a:cxn>
              <a:cxn ang="0">
                <a:pos x="csX476" y="csY476"/>
              </a:cxn>
              <a:cxn ang="0">
                <a:pos x="csX477" y="csY477"/>
              </a:cxn>
              <a:cxn ang="0">
                <a:pos x="csX478" y="csY478"/>
              </a:cxn>
              <a:cxn ang="0">
                <a:pos x="csX479" y="csY479"/>
              </a:cxn>
              <a:cxn ang="0">
                <a:pos x="csX480" y="csY480"/>
              </a:cxn>
              <a:cxn ang="0">
                <a:pos x="csX481" y="csY481"/>
              </a:cxn>
              <a:cxn ang="0">
                <a:pos x="csX482" y="csY482"/>
              </a:cxn>
              <a:cxn ang="0">
                <a:pos x="csX483" y="csY483"/>
              </a:cxn>
              <a:cxn ang="0">
                <a:pos x="csX484" y="csY484"/>
              </a:cxn>
              <a:cxn ang="0">
                <a:pos x="csX485" y="csY485"/>
              </a:cxn>
              <a:cxn ang="0">
                <a:pos x="csX486" y="csY486"/>
              </a:cxn>
              <a:cxn ang="0">
                <a:pos x="csX487" y="csY487"/>
              </a:cxn>
              <a:cxn ang="0">
                <a:pos x="csX488" y="csY488"/>
              </a:cxn>
              <a:cxn ang="0">
                <a:pos x="csX489" y="csY489"/>
              </a:cxn>
              <a:cxn ang="0">
                <a:pos x="csX490" y="csY490"/>
              </a:cxn>
              <a:cxn ang="0">
                <a:pos x="csX491" y="csY491"/>
              </a:cxn>
              <a:cxn ang="0">
                <a:pos x="csX492" y="csY492"/>
              </a:cxn>
              <a:cxn ang="0">
                <a:pos x="csX493" y="csY493"/>
              </a:cxn>
              <a:cxn ang="0">
                <a:pos x="csX494" y="csY494"/>
              </a:cxn>
              <a:cxn ang="0">
                <a:pos x="csX495" y="csY495"/>
              </a:cxn>
              <a:cxn ang="0">
                <a:pos x="csX496" y="csY496"/>
              </a:cxn>
              <a:cxn ang="0">
                <a:pos x="csX497" y="csY497"/>
              </a:cxn>
              <a:cxn ang="0">
                <a:pos x="csX498" y="csY498"/>
              </a:cxn>
              <a:cxn ang="0">
                <a:pos x="csX499" y="csY499"/>
              </a:cxn>
              <a:cxn ang="0">
                <a:pos x="csX500" y="csY500"/>
              </a:cxn>
              <a:cxn ang="0">
                <a:pos x="csX501" y="csY501"/>
              </a:cxn>
              <a:cxn ang="0">
                <a:pos x="csX502" y="csY502"/>
              </a:cxn>
              <a:cxn ang="0">
                <a:pos x="csX503" y="csY503"/>
              </a:cxn>
              <a:cxn ang="0">
                <a:pos x="csX504" y="csY504"/>
              </a:cxn>
              <a:cxn ang="0">
                <a:pos x="csX505" y="csY505"/>
              </a:cxn>
              <a:cxn ang="0">
                <a:pos x="csX506" y="csY506"/>
              </a:cxn>
              <a:cxn ang="0">
                <a:pos x="csX507" y="csY507"/>
              </a:cxn>
              <a:cxn ang="0">
                <a:pos x="csX508" y="csY508"/>
              </a:cxn>
              <a:cxn ang="0">
                <a:pos x="csX509" y="csY509"/>
              </a:cxn>
              <a:cxn ang="0">
                <a:pos x="csX510" y="csY510"/>
              </a:cxn>
              <a:cxn ang="0">
                <a:pos x="csX511" y="csY511"/>
              </a:cxn>
              <a:cxn ang="0">
                <a:pos x="csX512" y="csY512"/>
              </a:cxn>
              <a:cxn ang="0">
                <a:pos x="csX513" y="csY513"/>
              </a:cxn>
              <a:cxn ang="0">
                <a:pos x="csX514" y="csY514"/>
              </a:cxn>
              <a:cxn ang="0">
                <a:pos x="csX515" y="csY515"/>
              </a:cxn>
              <a:cxn ang="0">
                <a:pos x="csX516" y="csY516"/>
              </a:cxn>
              <a:cxn ang="0">
                <a:pos x="csX517" y="csY517"/>
              </a:cxn>
              <a:cxn ang="0">
                <a:pos x="csX518" y="csY518"/>
              </a:cxn>
              <a:cxn ang="0">
                <a:pos x="csX519" y="csY519"/>
              </a:cxn>
              <a:cxn ang="0">
                <a:pos x="csX520" y="csY520"/>
              </a:cxn>
              <a:cxn ang="0">
                <a:pos x="csX521" y="csY521"/>
              </a:cxn>
              <a:cxn ang="0">
                <a:pos x="csX522" y="csY522"/>
              </a:cxn>
              <a:cxn ang="0">
                <a:pos x="csX523" y="csY523"/>
              </a:cxn>
              <a:cxn ang="0">
                <a:pos x="csX524" y="csY524"/>
              </a:cxn>
              <a:cxn ang="0">
                <a:pos x="csX525" y="csY525"/>
              </a:cxn>
              <a:cxn ang="0">
                <a:pos x="csX526" y="csY526"/>
              </a:cxn>
              <a:cxn ang="0">
                <a:pos x="csX527" y="csY527"/>
              </a:cxn>
              <a:cxn ang="0">
                <a:pos x="csX528" y="csY528"/>
              </a:cxn>
              <a:cxn ang="0">
                <a:pos x="csX529" y="csY529"/>
              </a:cxn>
              <a:cxn ang="0">
                <a:pos x="csX530" y="csY530"/>
              </a:cxn>
              <a:cxn ang="0">
                <a:pos x="csX531" y="csY531"/>
              </a:cxn>
              <a:cxn ang="0">
                <a:pos x="csX532" y="csY532"/>
              </a:cxn>
              <a:cxn ang="0">
                <a:pos x="csX533" y="csY533"/>
              </a:cxn>
              <a:cxn ang="0">
                <a:pos x="csX534" y="csY534"/>
              </a:cxn>
              <a:cxn ang="0">
                <a:pos x="csX535" y="csY535"/>
              </a:cxn>
              <a:cxn ang="0">
                <a:pos x="csX536" y="csY536"/>
              </a:cxn>
              <a:cxn ang="0">
                <a:pos x="csX537" y="csY537"/>
              </a:cxn>
              <a:cxn ang="0">
                <a:pos x="csX538" y="csY538"/>
              </a:cxn>
              <a:cxn ang="0">
                <a:pos x="csX539" y="csY539"/>
              </a:cxn>
              <a:cxn ang="0">
                <a:pos x="csX540" y="csY540"/>
              </a:cxn>
              <a:cxn ang="0">
                <a:pos x="csX541" y="csY541"/>
              </a:cxn>
              <a:cxn ang="0">
                <a:pos x="csX542" y="csY542"/>
              </a:cxn>
              <a:cxn ang="0">
                <a:pos x="csX543" y="csY543"/>
              </a:cxn>
              <a:cxn ang="0">
                <a:pos x="csX544" y="csY544"/>
              </a:cxn>
              <a:cxn ang="0">
                <a:pos x="csX545" y="csY545"/>
              </a:cxn>
              <a:cxn ang="0">
                <a:pos x="csX546" y="csY546"/>
              </a:cxn>
              <a:cxn ang="0">
                <a:pos x="csX547" y="csY547"/>
              </a:cxn>
              <a:cxn ang="0">
                <a:pos x="csX548" y="csY548"/>
              </a:cxn>
              <a:cxn ang="0">
                <a:pos x="csX549" y="csY549"/>
              </a:cxn>
              <a:cxn ang="0">
                <a:pos x="csX550" y="csY550"/>
              </a:cxn>
              <a:cxn ang="0">
                <a:pos x="csX551" y="csY551"/>
              </a:cxn>
              <a:cxn ang="0">
                <a:pos x="csX552" y="csY552"/>
              </a:cxn>
              <a:cxn ang="0">
                <a:pos x="csX553" y="csY553"/>
              </a:cxn>
              <a:cxn ang="0">
                <a:pos x="csX554" y="csY554"/>
              </a:cxn>
              <a:cxn ang="0">
                <a:pos x="csX555" y="csY555"/>
              </a:cxn>
              <a:cxn ang="0">
                <a:pos x="csX556" y="csY556"/>
              </a:cxn>
              <a:cxn ang="0">
                <a:pos x="csX557" y="csY557"/>
              </a:cxn>
              <a:cxn ang="0">
                <a:pos x="csX558" y="csY558"/>
              </a:cxn>
              <a:cxn ang="0">
                <a:pos x="csX559" y="csY559"/>
              </a:cxn>
              <a:cxn ang="0">
                <a:pos x="csX560" y="csY560"/>
              </a:cxn>
              <a:cxn ang="0">
                <a:pos x="csX561" y="csY561"/>
              </a:cxn>
              <a:cxn ang="0">
                <a:pos x="csX562" y="csY562"/>
              </a:cxn>
              <a:cxn ang="0">
                <a:pos x="csX563" y="csY563"/>
              </a:cxn>
              <a:cxn ang="0">
                <a:pos x="csX564" y="csY564"/>
              </a:cxn>
              <a:cxn ang="0">
                <a:pos x="csX565" y="csY565"/>
              </a:cxn>
              <a:cxn ang="0">
                <a:pos x="csX566" y="csY566"/>
              </a:cxn>
              <a:cxn ang="0">
                <a:pos x="csX567" y="csY567"/>
              </a:cxn>
              <a:cxn ang="0">
                <a:pos x="csX568" y="csY568"/>
              </a:cxn>
              <a:cxn ang="0">
                <a:pos x="csX569" y="csY569"/>
              </a:cxn>
              <a:cxn ang="0">
                <a:pos x="csX570" y="csY570"/>
              </a:cxn>
              <a:cxn ang="0">
                <a:pos x="csX571" y="csY571"/>
              </a:cxn>
              <a:cxn ang="0">
                <a:pos x="csX572" y="csY572"/>
              </a:cxn>
              <a:cxn ang="0">
                <a:pos x="csX573" y="csY573"/>
              </a:cxn>
              <a:cxn ang="0">
                <a:pos x="csX574" y="csY574"/>
              </a:cxn>
              <a:cxn ang="0">
                <a:pos x="csX575" y="csY575"/>
              </a:cxn>
              <a:cxn ang="0">
                <a:pos x="csX576" y="csY576"/>
              </a:cxn>
              <a:cxn ang="0">
                <a:pos x="csX577" y="csY577"/>
              </a:cxn>
              <a:cxn ang="0">
                <a:pos x="csX578" y="csY578"/>
              </a:cxn>
              <a:cxn ang="0">
                <a:pos x="csX579" y="csY579"/>
              </a:cxn>
              <a:cxn ang="0">
                <a:pos x="csX580" y="csY580"/>
              </a:cxn>
              <a:cxn ang="0">
                <a:pos x="csX581" y="csY581"/>
              </a:cxn>
              <a:cxn ang="0">
                <a:pos x="csX582" y="csY582"/>
              </a:cxn>
              <a:cxn ang="0">
                <a:pos x="csX583" y="csY583"/>
              </a:cxn>
              <a:cxn ang="0">
                <a:pos x="csX584" y="csY584"/>
              </a:cxn>
              <a:cxn ang="0">
                <a:pos x="csX585" y="csY585"/>
              </a:cxn>
              <a:cxn ang="0">
                <a:pos x="csX586" y="csY586"/>
              </a:cxn>
              <a:cxn ang="0">
                <a:pos x="csX587" y="csY587"/>
              </a:cxn>
              <a:cxn ang="0">
                <a:pos x="csX588" y="csY588"/>
              </a:cxn>
              <a:cxn ang="0">
                <a:pos x="csX589" y="csY589"/>
              </a:cxn>
              <a:cxn ang="0">
                <a:pos x="csX590" y="csY590"/>
              </a:cxn>
              <a:cxn ang="0">
                <a:pos x="csX591" y="csY591"/>
              </a:cxn>
              <a:cxn ang="0">
                <a:pos x="csX592" y="csY592"/>
              </a:cxn>
              <a:cxn ang="0">
                <a:pos x="csX593" y="csY593"/>
              </a:cxn>
              <a:cxn ang="0">
                <a:pos x="csX594" y="csY594"/>
              </a:cxn>
              <a:cxn ang="0">
                <a:pos x="csX595" y="csY595"/>
              </a:cxn>
              <a:cxn ang="0">
                <a:pos x="csX596" y="csY596"/>
              </a:cxn>
              <a:cxn ang="0">
                <a:pos x="csX597" y="csY597"/>
              </a:cxn>
              <a:cxn ang="0">
                <a:pos x="csX598" y="csY598"/>
              </a:cxn>
              <a:cxn ang="0">
                <a:pos x="csX599" y="csY599"/>
              </a:cxn>
              <a:cxn ang="0">
                <a:pos x="csX600" y="csY600"/>
              </a:cxn>
              <a:cxn ang="0">
                <a:pos x="csX601" y="csY601"/>
              </a:cxn>
              <a:cxn ang="0">
                <a:pos x="csX602" y="csY602"/>
              </a:cxn>
              <a:cxn ang="0">
                <a:pos x="csX603" y="csY603"/>
              </a:cxn>
              <a:cxn ang="0">
                <a:pos x="csX604" y="csY604"/>
              </a:cxn>
              <a:cxn ang="0">
                <a:pos x="csX605" y="csY605"/>
              </a:cxn>
              <a:cxn ang="0">
                <a:pos x="csX606" y="csY606"/>
              </a:cxn>
              <a:cxn ang="0">
                <a:pos x="csX607" y="csY607"/>
              </a:cxn>
              <a:cxn ang="0">
                <a:pos x="csX608" y="csY608"/>
              </a:cxn>
              <a:cxn ang="0">
                <a:pos x="csX609" y="csY609"/>
              </a:cxn>
              <a:cxn ang="0">
                <a:pos x="csX610" y="csY610"/>
              </a:cxn>
              <a:cxn ang="0">
                <a:pos x="csX611" y="csY611"/>
              </a:cxn>
              <a:cxn ang="0">
                <a:pos x="csX612" y="csY612"/>
              </a:cxn>
              <a:cxn ang="0">
                <a:pos x="csX613" y="csY613"/>
              </a:cxn>
              <a:cxn ang="0">
                <a:pos x="csX614" y="csY614"/>
              </a:cxn>
              <a:cxn ang="0">
                <a:pos x="csX615" y="csY615"/>
              </a:cxn>
              <a:cxn ang="0">
                <a:pos x="csX616" y="csY616"/>
              </a:cxn>
              <a:cxn ang="0">
                <a:pos x="csX617" y="csY617"/>
              </a:cxn>
              <a:cxn ang="0">
                <a:pos x="csX618" y="csY618"/>
              </a:cxn>
              <a:cxn ang="0">
                <a:pos x="csX619" y="csY619"/>
              </a:cxn>
              <a:cxn ang="0">
                <a:pos x="csX620" y="csY620"/>
              </a:cxn>
              <a:cxn ang="0">
                <a:pos x="csX621" y="csY621"/>
              </a:cxn>
              <a:cxn ang="0">
                <a:pos x="csX622" y="csY622"/>
              </a:cxn>
              <a:cxn ang="0">
                <a:pos x="csX623" y="csY623"/>
              </a:cxn>
              <a:cxn ang="0">
                <a:pos x="csX624" y="csY624"/>
              </a:cxn>
              <a:cxn ang="0">
                <a:pos x="csX625" y="csY625"/>
              </a:cxn>
              <a:cxn ang="0">
                <a:pos x="csX626" y="csY626"/>
              </a:cxn>
              <a:cxn ang="0">
                <a:pos x="csX627" y="csY627"/>
              </a:cxn>
              <a:cxn ang="0">
                <a:pos x="csX628" y="csY628"/>
              </a:cxn>
              <a:cxn ang="0">
                <a:pos x="csX629" y="csY629"/>
              </a:cxn>
              <a:cxn ang="0">
                <a:pos x="csX630" y="csY630"/>
              </a:cxn>
              <a:cxn ang="0">
                <a:pos x="csX631" y="csY631"/>
              </a:cxn>
              <a:cxn ang="0">
                <a:pos x="csX632" y="csY632"/>
              </a:cxn>
              <a:cxn ang="0">
                <a:pos x="csX633" y="csY633"/>
              </a:cxn>
              <a:cxn ang="0">
                <a:pos x="csX634" y="csY634"/>
              </a:cxn>
              <a:cxn ang="0">
                <a:pos x="csX635" y="csY635"/>
              </a:cxn>
              <a:cxn ang="0">
                <a:pos x="csX636" y="csY636"/>
              </a:cxn>
              <a:cxn ang="0">
                <a:pos x="csX637" y="csY637"/>
              </a:cxn>
              <a:cxn ang="0">
                <a:pos x="csX638" y="csY638"/>
              </a:cxn>
              <a:cxn ang="0">
                <a:pos x="csX639" y="csY639"/>
              </a:cxn>
              <a:cxn ang="0">
                <a:pos x="csX640" y="csY640"/>
              </a:cxn>
              <a:cxn ang="0">
                <a:pos x="csX641" y="csY641"/>
              </a:cxn>
              <a:cxn ang="0">
                <a:pos x="csX642" y="csY642"/>
              </a:cxn>
              <a:cxn ang="0">
                <a:pos x="csX643" y="csY643"/>
              </a:cxn>
              <a:cxn ang="0">
                <a:pos x="csX644" y="csY644"/>
              </a:cxn>
              <a:cxn ang="0">
                <a:pos x="csX645" y="csY645"/>
              </a:cxn>
              <a:cxn ang="0">
                <a:pos x="csX646" y="csY646"/>
              </a:cxn>
              <a:cxn ang="0">
                <a:pos x="csX647" y="csY647"/>
              </a:cxn>
              <a:cxn ang="0">
                <a:pos x="csX648" y="csY648"/>
              </a:cxn>
              <a:cxn ang="0">
                <a:pos x="csX649" y="csY649"/>
              </a:cxn>
              <a:cxn ang="0">
                <a:pos x="csX650" y="csY650"/>
              </a:cxn>
              <a:cxn ang="0">
                <a:pos x="csX651" y="csY651"/>
              </a:cxn>
              <a:cxn ang="0">
                <a:pos x="csX652" y="csY652"/>
              </a:cxn>
              <a:cxn ang="0">
                <a:pos x="csX653" y="csY653"/>
              </a:cxn>
              <a:cxn ang="0">
                <a:pos x="csX654" y="csY654"/>
              </a:cxn>
              <a:cxn ang="0">
                <a:pos x="csX655" y="csY655"/>
              </a:cxn>
              <a:cxn ang="0">
                <a:pos x="csX656" y="csY656"/>
              </a:cxn>
              <a:cxn ang="0">
                <a:pos x="csX657" y="csY657"/>
              </a:cxn>
              <a:cxn ang="0">
                <a:pos x="csX658" y="csY658"/>
              </a:cxn>
              <a:cxn ang="0">
                <a:pos x="csX659" y="csY659"/>
              </a:cxn>
              <a:cxn ang="0">
                <a:pos x="csX660" y="csY660"/>
              </a:cxn>
              <a:cxn ang="0">
                <a:pos x="csX661" y="csY661"/>
              </a:cxn>
              <a:cxn ang="0">
                <a:pos x="csX662" y="csY662"/>
              </a:cxn>
              <a:cxn ang="0">
                <a:pos x="csX663" y="csY663"/>
              </a:cxn>
              <a:cxn ang="0">
                <a:pos x="csX664" y="csY664"/>
              </a:cxn>
              <a:cxn ang="0">
                <a:pos x="csX665" y="csY665"/>
              </a:cxn>
              <a:cxn ang="0">
                <a:pos x="csX666" y="csY666"/>
              </a:cxn>
              <a:cxn ang="0">
                <a:pos x="csX667" y="csY667"/>
              </a:cxn>
              <a:cxn ang="0">
                <a:pos x="csX668" y="csY668"/>
              </a:cxn>
              <a:cxn ang="0">
                <a:pos x="csX669" y="csY669"/>
              </a:cxn>
              <a:cxn ang="0">
                <a:pos x="csX670" y="csY670"/>
              </a:cxn>
              <a:cxn ang="0">
                <a:pos x="csX671" y="csY671"/>
              </a:cxn>
              <a:cxn ang="0">
                <a:pos x="csX672" y="csY672"/>
              </a:cxn>
              <a:cxn ang="0">
                <a:pos x="csX673" y="csY673"/>
              </a:cxn>
              <a:cxn ang="0">
                <a:pos x="csX674" y="csY674"/>
              </a:cxn>
              <a:cxn ang="0">
                <a:pos x="csX675" y="csY675"/>
              </a:cxn>
              <a:cxn ang="0">
                <a:pos x="csX676" y="csY676"/>
              </a:cxn>
              <a:cxn ang="0">
                <a:pos x="csX677" y="csY677"/>
              </a:cxn>
              <a:cxn ang="0">
                <a:pos x="csX678" y="csY678"/>
              </a:cxn>
              <a:cxn ang="0">
                <a:pos x="csX679" y="csY679"/>
              </a:cxn>
              <a:cxn ang="0">
                <a:pos x="csX680" y="csY680"/>
              </a:cxn>
              <a:cxn ang="0">
                <a:pos x="csX681" y="csY681"/>
              </a:cxn>
              <a:cxn ang="0">
                <a:pos x="csX682" y="csY682"/>
              </a:cxn>
              <a:cxn ang="0">
                <a:pos x="csX683" y="csY683"/>
              </a:cxn>
              <a:cxn ang="0">
                <a:pos x="csX684" y="csY684"/>
              </a:cxn>
              <a:cxn ang="0">
                <a:pos x="csX685" y="csY685"/>
              </a:cxn>
              <a:cxn ang="0">
                <a:pos x="csX686" y="csY686"/>
              </a:cxn>
              <a:cxn ang="0">
                <a:pos x="csX687" y="csY687"/>
              </a:cxn>
              <a:cxn ang="0">
                <a:pos x="csX688" y="csY688"/>
              </a:cxn>
              <a:cxn ang="0">
                <a:pos x="csX689" y="csY689"/>
              </a:cxn>
              <a:cxn ang="0">
                <a:pos x="csX690" y="csY690"/>
              </a:cxn>
              <a:cxn ang="0">
                <a:pos x="csX691" y="csY691"/>
              </a:cxn>
              <a:cxn ang="0">
                <a:pos x="csX692" y="csY692"/>
              </a:cxn>
              <a:cxn ang="0">
                <a:pos x="csX693" y="csY693"/>
              </a:cxn>
              <a:cxn ang="0">
                <a:pos x="csX694" y="csY694"/>
              </a:cxn>
              <a:cxn ang="0">
                <a:pos x="csX695" y="csY695"/>
              </a:cxn>
              <a:cxn ang="0">
                <a:pos x="csX696" y="csY696"/>
              </a:cxn>
              <a:cxn ang="0">
                <a:pos x="csX697" y="csY697"/>
              </a:cxn>
              <a:cxn ang="0">
                <a:pos x="csX698" y="csY698"/>
              </a:cxn>
              <a:cxn ang="0">
                <a:pos x="csX699" y="csY699"/>
              </a:cxn>
              <a:cxn ang="0">
                <a:pos x="csX700" y="csY700"/>
              </a:cxn>
              <a:cxn ang="0">
                <a:pos x="csX701" y="csY701"/>
              </a:cxn>
              <a:cxn ang="0">
                <a:pos x="csX702" y="csY702"/>
              </a:cxn>
              <a:cxn ang="0">
                <a:pos x="csX703" y="csY703"/>
              </a:cxn>
              <a:cxn ang="0">
                <a:pos x="csX704" y="csY704"/>
              </a:cxn>
              <a:cxn ang="0">
                <a:pos x="csX705" y="csY705"/>
              </a:cxn>
              <a:cxn ang="0">
                <a:pos x="csX706" y="csY706"/>
              </a:cxn>
              <a:cxn ang="0">
                <a:pos x="csX707" y="csY707"/>
              </a:cxn>
              <a:cxn ang="0">
                <a:pos x="csX708" y="csY708"/>
              </a:cxn>
              <a:cxn ang="0">
                <a:pos x="csX709" y="csY709"/>
              </a:cxn>
              <a:cxn ang="0">
                <a:pos x="csX710" y="csY710"/>
              </a:cxn>
              <a:cxn ang="0">
                <a:pos x="csX711" y="csY711"/>
              </a:cxn>
              <a:cxn ang="0">
                <a:pos x="csX712" y="csY712"/>
              </a:cxn>
              <a:cxn ang="0">
                <a:pos x="csX713" y="csY713"/>
              </a:cxn>
              <a:cxn ang="0">
                <a:pos x="csX714" y="csY714"/>
              </a:cxn>
              <a:cxn ang="0">
                <a:pos x="csX715" y="csY715"/>
              </a:cxn>
              <a:cxn ang="0">
                <a:pos x="csX716" y="csY716"/>
              </a:cxn>
              <a:cxn ang="0">
                <a:pos x="csX717" y="csY717"/>
              </a:cxn>
              <a:cxn ang="0">
                <a:pos x="csX718" y="csY718"/>
              </a:cxn>
              <a:cxn ang="0">
                <a:pos x="csX719" y="csY719"/>
              </a:cxn>
              <a:cxn ang="0">
                <a:pos x="csX720" y="csY720"/>
              </a:cxn>
              <a:cxn ang="0">
                <a:pos x="csX721" y="csY721"/>
              </a:cxn>
              <a:cxn ang="0">
                <a:pos x="csX722" y="csY722"/>
              </a:cxn>
              <a:cxn ang="0">
                <a:pos x="csX723" y="csY723"/>
              </a:cxn>
              <a:cxn ang="0">
                <a:pos x="csX724" y="csY724"/>
              </a:cxn>
              <a:cxn ang="0">
                <a:pos x="csX725" y="csY725"/>
              </a:cxn>
              <a:cxn ang="0">
                <a:pos x="csX726" y="csY726"/>
              </a:cxn>
              <a:cxn ang="0">
                <a:pos x="csX727" y="csY727"/>
              </a:cxn>
              <a:cxn ang="0">
                <a:pos x="csX728" y="csY728"/>
              </a:cxn>
              <a:cxn ang="0">
                <a:pos x="csX729" y="csY729"/>
              </a:cxn>
              <a:cxn ang="0">
                <a:pos x="csX730" y="csY730"/>
              </a:cxn>
              <a:cxn ang="0">
                <a:pos x="csX731" y="csY731"/>
              </a:cxn>
              <a:cxn ang="0">
                <a:pos x="csX732" y="csY732"/>
              </a:cxn>
              <a:cxn ang="0">
                <a:pos x="csX733" y="csY733"/>
              </a:cxn>
              <a:cxn ang="0">
                <a:pos x="csX734" y="csY734"/>
              </a:cxn>
              <a:cxn ang="0">
                <a:pos x="csX735" y="csY735"/>
              </a:cxn>
              <a:cxn ang="0">
                <a:pos x="csX736" y="csY736"/>
              </a:cxn>
              <a:cxn ang="0">
                <a:pos x="csX737" y="csY737"/>
              </a:cxn>
              <a:cxn ang="0">
                <a:pos x="csX738" y="csY738"/>
              </a:cxn>
              <a:cxn ang="0">
                <a:pos x="csX739" y="csY739"/>
              </a:cxn>
              <a:cxn ang="0">
                <a:pos x="csX740" y="csY740"/>
              </a:cxn>
              <a:cxn ang="0">
                <a:pos x="csX741" y="csY741"/>
              </a:cxn>
              <a:cxn ang="0">
                <a:pos x="csX742" y="csY742"/>
              </a:cxn>
              <a:cxn ang="0">
                <a:pos x="csX743" y="csY743"/>
              </a:cxn>
              <a:cxn ang="0">
                <a:pos x="csX744" y="csY744"/>
              </a:cxn>
              <a:cxn ang="0">
                <a:pos x="csX745" y="csY745"/>
              </a:cxn>
              <a:cxn ang="0">
                <a:pos x="csX746" y="csY746"/>
              </a:cxn>
              <a:cxn ang="0">
                <a:pos x="csX747" y="csY747"/>
              </a:cxn>
              <a:cxn ang="0">
                <a:pos x="csX748" y="csY748"/>
              </a:cxn>
              <a:cxn ang="0">
                <a:pos x="csX749" y="csY749"/>
              </a:cxn>
              <a:cxn ang="0">
                <a:pos x="csX750" y="csY750"/>
              </a:cxn>
              <a:cxn ang="0">
                <a:pos x="csX751" y="csY751"/>
              </a:cxn>
              <a:cxn ang="0">
                <a:pos x="csX752" y="csY752"/>
              </a:cxn>
              <a:cxn ang="0">
                <a:pos x="csX753" y="csY753"/>
              </a:cxn>
              <a:cxn ang="0">
                <a:pos x="csX754" y="csY754"/>
              </a:cxn>
              <a:cxn ang="0">
                <a:pos x="csX755" y="csY755"/>
              </a:cxn>
              <a:cxn ang="0">
                <a:pos x="csX756" y="csY756"/>
              </a:cxn>
              <a:cxn ang="0">
                <a:pos x="csX757" y="csY757"/>
              </a:cxn>
              <a:cxn ang="0">
                <a:pos x="csX758" y="csY758"/>
              </a:cxn>
              <a:cxn ang="0">
                <a:pos x="csX759" y="csY759"/>
              </a:cxn>
              <a:cxn ang="0">
                <a:pos x="csX760" y="csY760"/>
              </a:cxn>
              <a:cxn ang="0">
                <a:pos x="csX761" y="csY761"/>
              </a:cxn>
              <a:cxn ang="0">
                <a:pos x="csX762" y="csY762"/>
              </a:cxn>
              <a:cxn ang="0">
                <a:pos x="csX763" y="csY763"/>
              </a:cxn>
              <a:cxn ang="0">
                <a:pos x="csX764" y="csY764"/>
              </a:cxn>
              <a:cxn ang="0">
                <a:pos x="csX765" y="csY765"/>
              </a:cxn>
              <a:cxn ang="0">
                <a:pos x="csX766" y="csY766"/>
              </a:cxn>
              <a:cxn ang="0">
                <a:pos x="csX767" y="csY767"/>
              </a:cxn>
              <a:cxn ang="0">
                <a:pos x="csX768" y="csY768"/>
              </a:cxn>
              <a:cxn ang="0">
                <a:pos x="csX769" y="csY769"/>
              </a:cxn>
              <a:cxn ang="0">
                <a:pos x="csX770" y="csY770"/>
              </a:cxn>
              <a:cxn ang="0">
                <a:pos x="csX771" y="csY771"/>
              </a:cxn>
              <a:cxn ang="0">
                <a:pos x="csX772" y="csY772"/>
              </a:cxn>
              <a:cxn ang="0">
                <a:pos x="csX773" y="csY773"/>
              </a:cxn>
              <a:cxn ang="0">
                <a:pos x="csX774" y="csY774"/>
              </a:cxn>
              <a:cxn ang="0">
                <a:pos x="csX775" y="csY775"/>
              </a:cxn>
              <a:cxn ang="0">
                <a:pos x="csX776" y="csY776"/>
              </a:cxn>
              <a:cxn ang="0">
                <a:pos x="csX777" y="csY777"/>
              </a:cxn>
              <a:cxn ang="0">
                <a:pos x="csX778" y="csY778"/>
              </a:cxn>
              <a:cxn ang="0">
                <a:pos x="csX779" y="csY779"/>
              </a:cxn>
              <a:cxn ang="0">
                <a:pos x="csX780" y="csY780"/>
              </a:cxn>
              <a:cxn ang="0">
                <a:pos x="csX781" y="csY781"/>
              </a:cxn>
              <a:cxn ang="0">
                <a:pos x="csX782" y="csY782"/>
              </a:cxn>
              <a:cxn ang="0">
                <a:pos x="csX783" y="csY783"/>
              </a:cxn>
              <a:cxn ang="0">
                <a:pos x="csX784" y="csY784"/>
              </a:cxn>
              <a:cxn ang="0">
                <a:pos x="csX785" y="csY785"/>
              </a:cxn>
              <a:cxn ang="0">
                <a:pos x="csX786" y="csY786"/>
              </a:cxn>
              <a:cxn ang="0">
                <a:pos x="csX787" y="csY787"/>
              </a:cxn>
              <a:cxn ang="0">
                <a:pos x="csX788" y="csY788"/>
              </a:cxn>
              <a:cxn ang="0">
                <a:pos x="csX789" y="csY789"/>
              </a:cxn>
              <a:cxn ang="0">
                <a:pos x="csX790" y="csY790"/>
              </a:cxn>
              <a:cxn ang="0">
                <a:pos x="csX791" y="csY791"/>
              </a:cxn>
              <a:cxn ang="0">
                <a:pos x="csX792" y="csY792"/>
              </a:cxn>
              <a:cxn ang="0">
                <a:pos x="csX793" y="csY793"/>
              </a:cxn>
              <a:cxn ang="0">
                <a:pos x="csX794" y="csY794"/>
              </a:cxn>
              <a:cxn ang="0">
                <a:pos x="csX795" y="csY795"/>
              </a:cxn>
              <a:cxn ang="0">
                <a:pos x="csX796" y="csY796"/>
              </a:cxn>
              <a:cxn ang="0">
                <a:pos x="csX797" y="csY797"/>
              </a:cxn>
              <a:cxn ang="0">
                <a:pos x="csX798" y="csY798"/>
              </a:cxn>
              <a:cxn ang="0">
                <a:pos x="csX799" y="csY799"/>
              </a:cxn>
              <a:cxn ang="0">
                <a:pos x="csX800" y="csY800"/>
              </a:cxn>
              <a:cxn ang="0">
                <a:pos x="csX801" y="csY801"/>
              </a:cxn>
              <a:cxn ang="0">
                <a:pos x="csX802" y="csY802"/>
              </a:cxn>
              <a:cxn ang="0">
                <a:pos x="csX803" y="csY803"/>
              </a:cxn>
              <a:cxn ang="0">
                <a:pos x="csX804" y="csY804"/>
              </a:cxn>
              <a:cxn ang="0">
                <a:pos x="csX805" y="csY805"/>
              </a:cxn>
              <a:cxn ang="0">
                <a:pos x="csX806" y="csY806"/>
              </a:cxn>
              <a:cxn ang="0">
                <a:pos x="csX807" y="csY807"/>
              </a:cxn>
              <a:cxn ang="0">
                <a:pos x="csX808" y="csY808"/>
              </a:cxn>
              <a:cxn ang="0">
                <a:pos x="csX809" y="csY809"/>
              </a:cxn>
              <a:cxn ang="0">
                <a:pos x="csX810" y="csY810"/>
              </a:cxn>
              <a:cxn ang="0">
                <a:pos x="csX811" y="csY811"/>
              </a:cxn>
              <a:cxn ang="0">
                <a:pos x="csX812" y="csY812"/>
              </a:cxn>
              <a:cxn ang="0">
                <a:pos x="csX813" y="csY813"/>
              </a:cxn>
              <a:cxn ang="0">
                <a:pos x="csX814" y="csY814"/>
              </a:cxn>
              <a:cxn ang="0">
                <a:pos x="csX815" y="csY815"/>
              </a:cxn>
              <a:cxn ang="0">
                <a:pos x="csX816" y="csY816"/>
              </a:cxn>
              <a:cxn ang="0">
                <a:pos x="csX817" y="csY817"/>
              </a:cxn>
              <a:cxn ang="0">
                <a:pos x="csX818" y="csY818"/>
              </a:cxn>
              <a:cxn ang="0">
                <a:pos x="csX819" y="csY819"/>
              </a:cxn>
              <a:cxn ang="0">
                <a:pos x="csX820" y="csY820"/>
              </a:cxn>
              <a:cxn ang="0">
                <a:pos x="csX821" y="csY821"/>
              </a:cxn>
              <a:cxn ang="0">
                <a:pos x="csX822" y="csY822"/>
              </a:cxn>
              <a:cxn ang="0">
                <a:pos x="csX823" y="csY823"/>
              </a:cxn>
              <a:cxn ang="0">
                <a:pos x="csX824" y="csY824"/>
              </a:cxn>
              <a:cxn ang="0">
                <a:pos x="csX825" y="csY825"/>
              </a:cxn>
              <a:cxn ang="0">
                <a:pos x="csX826" y="csY826"/>
              </a:cxn>
              <a:cxn ang="0">
                <a:pos x="csX827" y="csY827"/>
              </a:cxn>
              <a:cxn ang="0">
                <a:pos x="csX828" y="csY828"/>
              </a:cxn>
              <a:cxn ang="0">
                <a:pos x="csX829" y="csY829"/>
              </a:cxn>
              <a:cxn ang="0">
                <a:pos x="csX830" y="csY830"/>
              </a:cxn>
              <a:cxn ang="0">
                <a:pos x="csX831" y="csY831"/>
              </a:cxn>
              <a:cxn ang="0">
                <a:pos x="csX832" y="csY832"/>
              </a:cxn>
              <a:cxn ang="0">
                <a:pos x="csX833" y="csY833"/>
              </a:cxn>
              <a:cxn ang="0">
                <a:pos x="csX834" y="csY834"/>
              </a:cxn>
              <a:cxn ang="0">
                <a:pos x="csX835" y="csY835"/>
              </a:cxn>
              <a:cxn ang="0">
                <a:pos x="csX836" y="csY836"/>
              </a:cxn>
              <a:cxn ang="0">
                <a:pos x="csX837" y="csY837"/>
              </a:cxn>
              <a:cxn ang="0">
                <a:pos x="csX838" y="csY838"/>
              </a:cxn>
              <a:cxn ang="0">
                <a:pos x="csX839" y="csY839"/>
              </a:cxn>
              <a:cxn ang="0">
                <a:pos x="csX840" y="csY840"/>
              </a:cxn>
              <a:cxn ang="0">
                <a:pos x="csX841" y="csY841"/>
              </a:cxn>
              <a:cxn ang="0">
                <a:pos x="csX842" y="csY842"/>
              </a:cxn>
              <a:cxn ang="0">
                <a:pos x="csX843" y="csY843"/>
              </a:cxn>
              <a:cxn ang="0">
                <a:pos x="csX844" y="csY844"/>
              </a:cxn>
              <a:cxn ang="0">
                <a:pos x="csX845" y="csY845"/>
              </a:cxn>
              <a:cxn ang="0">
                <a:pos x="csX846" y="csY846"/>
              </a:cxn>
              <a:cxn ang="0">
                <a:pos x="csX847" y="csY847"/>
              </a:cxn>
              <a:cxn ang="0">
                <a:pos x="csX848" y="csY848"/>
              </a:cxn>
              <a:cxn ang="0">
                <a:pos x="csX849" y="csY849"/>
              </a:cxn>
              <a:cxn ang="0">
                <a:pos x="csX850" y="csY850"/>
              </a:cxn>
              <a:cxn ang="0">
                <a:pos x="csX851" y="csY851"/>
              </a:cxn>
              <a:cxn ang="0">
                <a:pos x="csX852" y="csY852"/>
              </a:cxn>
              <a:cxn ang="0">
                <a:pos x="csX853" y="csY853"/>
              </a:cxn>
              <a:cxn ang="0">
                <a:pos x="csX854" y="csY854"/>
              </a:cxn>
              <a:cxn ang="0">
                <a:pos x="csX855" y="csY855"/>
              </a:cxn>
              <a:cxn ang="0">
                <a:pos x="csX856" y="csY856"/>
              </a:cxn>
              <a:cxn ang="0">
                <a:pos x="csX857" y="csY857"/>
              </a:cxn>
              <a:cxn ang="0">
                <a:pos x="csX858" y="csY858"/>
              </a:cxn>
              <a:cxn ang="0">
                <a:pos x="csX859" y="csY859"/>
              </a:cxn>
              <a:cxn ang="0">
                <a:pos x="csX860" y="csY860"/>
              </a:cxn>
              <a:cxn ang="0">
                <a:pos x="csX861" y="csY861"/>
              </a:cxn>
              <a:cxn ang="0">
                <a:pos x="csX862" y="csY862"/>
              </a:cxn>
              <a:cxn ang="0">
                <a:pos x="csX863" y="csY863"/>
              </a:cxn>
              <a:cxn ang="0">
                <a:pos x="csX864" y="csY864"/>
              </a:cxn>
              <a:cxn ang="0">
                <a:pos x="csX865" y="csY865"/>
              </a:cxn>
              <a:cxn ang="0">
                <a:pos x="csX866" y="csY866"/>
              </a:cxn>
              <a:cxn ang="0">
                <a:pos x="csX867" y="csY867"/>
              </a:cxn>
              <a:cxn ang="0">
                <a:pos x="csX868" y="csY868"/>
              </a:cxn>
              <a:cxn ang="0">
                <a:pos x="csX869" y="csY869"/>
              </a:cxn>
              <a:cxn ang="0">
                <a:pos x="csX870" y="csY870"/>
              </a:cxn>
              <a:cxn ang="0">
                <a:pos x="csX871" y="csY871"/>
              </a:cxn>
              <a:cxn ang="0">
                <a:pos x="csX872" y="csY872"/>
              </a:cxn>
              <a:cxn ang="0">
                <a:pos x="csX873" y="csY873"/>
              </a:cxn>
              <a:cxn ang="0">
                <a:pos x="csX874" y="csY874"/>
              </a:cxn>
              <a:cxn ang="0">
                <a:pos x="csX875" y="csY875"/>
              </a:cxn>
              <a:cxn ang="0">
                <a:pos x="csX876" y="csY876"/>
              </a:cxn>
              <a:cxn ang="0">
                <a:pos x="csX877" y="csY877"/>
              </a:cxn>
              <a:cxn ang="0">
                <a:pos x="csX878" y="csY878"/>
              </a:cxn>
              <a:cxn ang="0">
                <a:pos x="csX879" y="csY879"/>
              </a:cxn>
              <a:cxn ang="0">
                <a:pos x="csX880" y="csY880"/>
              </a:cxn>
              <a:cxn ang="0">
                <a:pos x="csX881" y="csY881"/>
              </a:cxn>
              <a:cxn ang="0">
                <a:pos x="csX882" y="csY882"/>
              </a:cxn>
              <a:cxn ang="0">
                <a:pos x="csX883" y="csY883"/>
              </a:cxn>
              <a:cxn ang="0">
                <a:pos x="csX884" y="csY884"/>
              </a:cxn>
              <a:cxn ang="0">
                <a:pos x="csX885" y="csY885"/>
              </a:cxn>
              <a:cxn ang="0">
                <a:pos x="csX886" y="csY886"/>
              </a:cxn>
              <a:cxn ang="0">
                <a:pos x="csX887" y="csY887"/>
              </a:cxn>
              <a:cxn ang="0">
                <a:pos x="csX888" y="csY888"/>
              </a:cxn>
              <a:cxn ang="0">
                <a:pos x="csX889" y="csY889"/>
              </a:cxn>
              <a:cxn ang="0">
                <a:pos x="csX890" y="csY890"/>
              </a:cxn>
              <a:cxn ang="0">
                <a:pos x="csX891" y="csY891"/>
              </a:cxn>
              <a:cxn ang="0">
                <a:pos x="csX892" y="csY892"/>
              </a:cxn>
              <a:cxn ang="0">
                <a:pos x="csX893" y="csY893"/>
              </a:cxn>
              <a:cxn ang="0">
                <a:pos x="csX894" y="csY894"/>
              </a:cxn>
              <a:cxn ang="0">
                <a:pos x="csX895" y="csY895"/>
              </a:cxn>
              <a:cxn ang="0">
                <a:pos x="csX896" y="csY896"/>
              </a:cxn>
              <a:cxn ang="0">
                <a:pos x="csX897" y="csY897"/>
              </a:cxn>
              <a:cxn ang="0">
                <a:pos x="csX898" y="csY898"/>
              </a:cxn>
              <a:cxn ang="0">
                <a:pos x="csX899" y="csY899"/>
              </a:cxn>
              <a:cxn ang="0">
                <a:pos x="csX900" y="csY900"/>
              </a:cxn>
              <a:cxn ang="0">
                <a:pos x="csX901" y="csY901"/>
              </a:cxn>
              <a:cxn ang="0">
                <a:pos x="csX902" y="csY902"/>
              </a:cxn>
              <a:cxn ang="0">
                <a:pos x="csX903" y="csY903"/>
              </a:cxn>
              <a:cxn ang="0">
                <a:pos x="csX904" y="csY904"/>
              </a:cxn>
              <a:cxn ang="0">
                <a:pos x="csX905" y="csY905"/>
              </a:cxn>
              <a:cxn ang="0">
                <a:pos x="csX906" y="csY906"/>
              </a:cxn>
              <a:cxn ang="0">
                <a:pos x="csX907" y="csY907"/>
              </a:cxn>
              <a:cxn ang="0">
                <a:pos x="csX908" y="csY908"/>
              </a:cxn>
              <a:cxn ang="0">
                <a:pos x="csX909" y="csY909"/>
              </a:cxn>
              <a:cxn ang="0">
                <a:pos x="csX910" y="csY910"/>
              </a:cxn>
              <a:cxn ang="0">
                <a:pos x="csX911" y="csY911"/>
              </a:cxn>
              <a:cxn ang="0">
                <a:pos x="csX912" y="csY912"/>
              </a:cxn>
              <a:cxn ang="0">
                <a:pos x="csX913" y="csY913"/>
              </a:cxn>
              <a:cxn ang="0">
                <a:pos x="csX914" y="csY914"/>
              </a:cxn>
              <a:cxn ang="0">
                <a:pos x="csX915" y="csY915"/>
              </a:cxn>
              <a:cxn ang="0">
                <a:pos x="csX916" y="csY916"/>
              </a:cxn>
              <a:cxn ang="0">
                <a:pos x="csX917" y="csY917"/>
              </a:cxn>
              <a:cxn ang="0">
                <a:pos x="csX918" y="csY918"/>
              </a:cxn>
              <a:cxn ang="0">
                <a:pos x="csX919" y="csY919"/>
              </a:cxn>
              <a:cxn ang="0">
                <a:pos x="csX920" y="csY920"/>
              </a:cxn>
              <a:cxn ang="0">
                <a:pos x="csX921" y="csY921"/>
              </a:cxn>
              <a:cxn ang="0">
                <a:pos x="csX922" y="csY922"/>
              </a:cxn>
              <a:cxn ang="0">
                <a:pos x="csX923" y="csY923"/>
              </a:cxn>
              <a:cxn ang="0">
                <a:pos x="csX924" y="csY924"/>
              </a:cxn>
              <a:cxn ang="0">
                <a:pos x="csX925" y="csY925"/>
              </a:cxn>
              <a:cxn ang="0">
                <a:pos x="csX926" y="csY926"/>
              </a:cxn>
              <a:cxn ang="0">
                <a:pos x="csX927" y="csY927"/>
              </a:cxn>
              <a:cxn ang="0">
                <a:pos x="csX928" y="csY928"/>
              </a:cxn>
              <a:cxn ang="0">
                <a:pos x="csX929" y="csY929"/>
              </a:cxn>
              <a:cxn ang="0">
                <a:pos x="csX930" y="csY930"/>
              </a:cxn>
              <a:cxn ang="0">
                <a:pos x="csX931" y="csY931"/>
              </a:cxn>
              <a:cxn ang="0">
                <a:pos x="csX932" y="csY932"/>
              </a:cxn>
              <a:cxn ang="0">
                <a:pos x="csX933" y="csY933"/>
              </a:cxn>
              <a:cxn ang="0">
                <a:pos x="csX934" y="csY934"/>
              </a:cxn>
              <a:cxn ang="0">
                <a:pos x="csX935" y="csY935"/>
              </a:cxn>
              <a:cxn ang="0">
                <a:pos x="csX936" y="csY936"/>
              </a:cxn>
              <a:cxn ang="0">
                <a:pos x="csX937" y="csY937"/>
              </a:cxn>
              <a:cxn ang="0">
                <a:pos x="csX938" y="csY938"/>
              </a:cxn>
              <a:cxn ang="0">
                <a:pos x="csX939" y="csY939"/>
              </a:cxn>
              <a:cxn ang="0">
                <a:pos x="csX940" y="csY940"/>
              </a:cxn>
              <a:cxn ang="0">
                <a:pos x="csX941" y="csY941"/>
              </a:cxn>
              <a:cxn ang="0">
                <a:pos x="csX942" y="csY942"/>
              </a:cxn>
              <a:cxn ang="0">
                <a:pos x="csX943" y="csY943"/>
              </a:cxn>
              <a:cxn ang="0">
                <a:pos x="csX944" y="csY944"/>
              </a:cxn>
              <a:cxn ang="0">
                <a:pos x="csX945" y="csY945"/>
              </a:cxn>
              <a:cxn ang="0">
                <a:pos x="csX946" y="csY946"/>
              </a:cxn>
              <a:cxn ang="0">
                <a:pos x="csX947" y="csY947"/>
              </a:cxn>
              <a:cxn ang="0">
                <a:pos x="csX948" y="csY948"/>
              </a:cxn>
              <a:cxn ang="0">
                <a:pos x="csX949" y="csY949"/>
              </a:cxn>
              <a:cxn ang="0">
                <a:pos x="csX950" y="csY950"/>
              </a:cxn>
              <a:cxn ang="0">
                <a:pos x="csX951" y="csY951"/>
              </a:cxn>
              <a:cxn ang="0">
                <a:pos x="csX952" y="csY952"/>
              </a:cxn>
              <a:cxn ang="0">
                <a:pos x="csX953" y="csY953"/>
              </a:cxn>
              <a:cxn ang="0">
                <a:pos x="csX954" y="csY954"/>
              </a:cxn>
              <a:cxn ang="0">
                <a:pos x="csX955" y="csY955"/>
              </a:cxn>
              <a:cxn ang="0">
                <a:pos x="csX956" y="csY956"/>
              </a:cxn>
              <a:cxn ang="0">
                <a:pos x="csX957" y="csY957"/>
              </a:cxn>
              <a:cxn ang="0">
                <a:pos x="csX958" y="csY958"/>
              </a:cxn>
              <a:cxn ang="0">
                <a:pos x="csX959" y="csY959"/>
              </a:cxn>
              <a:cxn ang="0">
                <a:pos x="csX960" y="csY960"/>
              </a:cxn>
              <a:cxn ang="0">
                <a:pos x="csX961" y="csY961"/>
              </a:cxn>
              <a:cxn ang="0">
                <a:pos x="csX962" y="csY962"/>
              </a:cxn>
              <a:cxn ang="0">
                <a:pos x="csX963" y="csY963"/>
              </a:cxn>
              <a:cxn ang="0">
                <a:pos x="csX964" y="csY964"/>
              </a:cxn>
              <a:cxn ang="0">
                <a:pos x="csX965" y="csY965"/>
              </a:cxn>
              <a:cxn ang="0">
                <a:pos x="csX966" y="csY966"/>
              </a:cxn>
              <a:cxn ang="0">
                <a:pos x="csX967" y="csY967"/>
              </a:cxn>
              <a:cxn ang="0">
                <a:pos x="csX968" y="csY968"/>
              </a:cxn>
              <a:cxn ang="0">
                <a:pos x="csX969" y="csY969"/>
              </a:cxn>
              <a:cxn ang="0">
                <a:pos x="csX970" y="csY970"/>
              </a:cxn>
              <a:cxn ang="0">
                <a:pos x="csX971" y="csY971"/>
              </a:cxn>
              <a:cxn ang="0">
                <a:pos x="csX972" y="csY972"/>
              </a:cxn>
              <a:cxn ang="0">
                <a:pos x="csX973" y="csY973"/>
              </a:cxn>
              <a:cxn ang="0">
                <a:pos x="csX974" y="csY974"/>
              </a:cxn>
              <a:cxn ang="0">
                <a:pos x="csX975" y="csY975"/>
              </a:cxn>
              <a:cxn ang="0">
                <a:pos x="csX976" y="csY976"/>
              </a:cxn>
              <a:cxn ang="0">
                <a:pos x="csX977" y="csY977"/>
              </a:cxn>
              <a:cxn ang="0">
                <a:pos x="csX978" y="csY978"/>
              </a:cxn>
              <a:cxn ang="0">
                <a:pos x="csX979" y="csY979"/>
              </a:cxn>
              <a:cxn ang="0">
                <a:pos x="csX980" y="csY980"/>
              </a:cxn>
              <a:cxn ang="0">
                <a:pos x="csX981" y="csY981"/>
              </a:cxn>
              <a:cxn ang="0">
                <a:pos x="csX982" y="csY982"/>
              </a:cxn>
              <a:cxn ang="0">
                <a:pos x="csX983" y="csY983"/>
              </a:cxn>
              <a:cxn ang="0">
                <a:pos x="csX984" y="csY984"/>
              </a:cxn>
              <a:cxn ang="0">
                <a:pos x="csX985" y="csY985"/>
              </a:cxn>
              <a:cxn ang="0">
                <a:pos x="csX986" y="csY986"/>
              </a:cxn>
              <a:cxn ang="0">
                <a:pos x="csX987" y="csY987"/>
              </a:cxn>
              <a:cxn ang="0">
                <a:pos x="csX988" y="csY988"/>
              </a:cxn>
              <a:cxn ang="0">
                <a:pos x="csX989" y="csY989"/>
              </a:cxn>
              <a:cxn ang="0">
                <a:pos x="csX990" y="csY990"/>
              </a:cxn>
              <a:cxn ang="0">
                <a:pos x="csX991" y="csY991"/>
              </a:cxn>
              <a:cxn ang="0">
                <a:pos x="csX992" y="csY992"/>
              </a:cxn>
              <a:cxn ang="0">
                <a:pos x="csX993" y="csY993"/>
              </a:cxn>
              <a:cxn ang="0">
                <a:pos x="csX994" y="csY994"/>
              </a:cxn>
              <a:cxn ang="0">
                <a:pos x="csX995" y="csY995"/>
              </a:cxn>
              <a:cxn ang="0">
                <a:pos x="csX996" y="csY996"/>
              </a:cxn>
              <a:cxn ang="0">
                <a:pos x="csX997" y="csY997"/>
              </a:cxn>
              <a:cxn ang="0">
                <a:pos x="csX998" y="csY998"/>
              </a:cxn>
              <a:cxn ang="0">
                <a:pos x="csX999" y="csY999"/>
              </a:cxn>
              <a:cxn ang="0">
                <a:pos x="csX1000" y="csY1000"/>
              </a:cxn>
              <a:cxn ang="0">
                <a:pos x="csX1001" y="csY1001"/>
              </a:cxn>
              <a:cxn ang="0">
                <a:pos x="csX1002" y="csY1002"/>
              </a:cxn>
              <a:cxn ang="0">
                <a:pos x="csX1003" y="csY1003"/>
              </a:cxn>
              <a:cxn ang="0">
                <a:pos x="csX1004" y="csY1004"/>
              </a:cxn>
              <a:cxn ang="0">
                <a:pos x="csX1005" y="csY1005"/>
              </a:cxn>
              <a:cxn ang="0">
                <a:pos x="csX1006" y="csY1006"/>
              </a:cxn>
              <a:cxn ang="0">
                <a:pos x="csX1007" y="csY1007"/>
              </a:cxn>
              <a:cxn ang="0">
                <a:pos x="csX1008" y="csY1008"/>
              </a:cxn>
              <a:cxn ang="0">
                <a:pos x="csX1009" y="csY1009"/>
              </a:cxn>
              <a:cxn ang="0">
                <a:pos x="csX1010" y="csY1010"/>
              </a:cxn>
              <a:cxn ang="0">
                <a:pos x="csX1011" y="csY1011"/>
              </a:cxn>
              <a:cxn ang="0">
                <a:pos x="csX1012" y="csY1012"/>
              </a:cxn>
              <a:cxn ang="0">
                <a:pos x="csX1013" y="csY1013"/>
              </a:cxn>
              <a:cxn ang="0">
                <a:pos x="csX1014" y="csY1014"/>
              </a:cxn>
              <a:cxn ang="0">
                <a:pos x="csX1015" y="csY1015"/>
              </a:cxn>
              <a:cxn ang="0">
                <a:pos x="csX1016" y="csY1016"/>
              </a:cxn>
              <a:cxn ang="0">
                <a:pos x="csX1017" y="csY1017"/>
              </a:cxn>
              <a:cxn ang="0">
                <a:pos x="csX1018" y="csY1018"/>
              </a:cxn>
              <a:cxn ang="0">
                <a:pos x="csX1019" y="csY1019"/>
              </a:cxn>
              <a:cxn ang="0">
                <a:pos x="csX1020" y="csY1020"/>
              </a:cxn>
              <a:cxn ang="0">
                <a:pos x="csX1021" y="csY1021"/>
              </a:cxn>
              <a:cxn ang="0">
                <a:pos x="csX1022" y="csY1022"/>
              </a:cxn>
              <a:cxn ang="0">
                <a:pos x="csX1023" y="csY1023"/>
              </a:cxn>
              <a:cxn ang="0">
                <a:pos x="csX1024" y="csY1024"/>
              </a:cxn>
              <a:cxn ang="0">
                <a:pos x="csX1025" y="csY1025"/>
              </a:cxn>
              <a:cxn ang="0">
                <a:pos x="csX1026" y="csY1026"/>
              </a:cxn>
              <a:cxn ang="0">
                <a:pos x="csX1027" y="csY1027"/>
              </a:cxn>
              <a:cxn ang="0">
                <a:pos x="csX1028" y="csY1028"/>
              </a:cxn>
              <a:cxn ang="0">
                <a:pos x="csX1029" y="csY1029"/>
              </a:cxn>
              <a:cxn ang="0">
                <a:pos x="csX1030" y="csY1030"/>
              </a:cxn>
              <a:cxn ang="0">
                <a:pos x="csX1031" y="csY1031"/>
              </a:cxn>
              <a:cxn ang="0">
                <a:pos x="csX1032" y="csY1032"/>
              </a:cxn>
              <a:cxn ang="0">
                <a:pos x="csX1033" y="csY1033"/>
              </a:cxn>
              <a:cxn ang="0">
                <a:pos x="csX1034" y="csY1034"/>
              </a:cxn>
              <a:cxn ang="0">
                <a:pos x="csX1035" y="csY1035"/>
              </a:cxn>
              <a:cxn ang="0">
                <a:pos x="csX1036" y="csY1036"/>
              </a:cxn>
              <a:cxn ang="0">
                <a:pos x="csX1037" y="csY1037"/>
              </a:cxn>
              <a:cxn ang="0">
                <a:pos x="csX1038" y="csY1038"/>
              </a:cxn>
              <a:cxn ang="0">
                <a:pos x="csX1039" y="csY1039"/>
              </a:cxn>
              <a:cxn ang="0">
                <a:pos x="csX1040" y="csY1040"/>
              </a:cxn>
              <a:cxn ang="0">
                <a:pos x="csX1041" y="csY1041"/>
              </a:cxn>
              <a:cxn ang="0">
                <a:pos x="csX1042" y="csY1042"/>
              </a:cxn>
              <a:cxn ang="0">
                <a:pos x="csX1043" y="csY1043"/>
              </a:cxn>
              <a:cxn ang="0">
                <a:pos x="csX1044" y="csY1044"/>
              </a:cxn>
              <a:cxn ang="0">
                <a:pos x="csX1045" y="csY1045"/>
              </a:cxn>
              <a:cxn ang="0">
                <a:pos x="csX1046" y="csY1046"/>
              </a:cxn>
              <a:cxn ang="0">
                <a:pos x="csX1047" y="csY1047"/>
              </a:cxn>
              <a:cxn ang="0">
                <a:pos x="csX1048" y="csY1048"/>
              </a:cxn>
              <a:cxn ang="0">
                <a:pos x="csX1049" y="csY1049"/>
              </a:cxn>
              <a:cxn ang="0">
                <a:pos x="csX1050" y="csY1050"/>
              </a:cxn>
              <a:cxn ang="0">
                <a:pos x="csX1051" y="csY1051"/>
              </a:cxn>
              <a:cxn ang="0">
                <a:pos x="csX1052" y="csY1052"/>
              </a:cxn>
              <a:cxn ang="0">
                <a:pos x="csX1053" y="csY1053"/>
              </a:cxn>
              <a:cxn ang="0">
                <a:pos x="csX1054" y="csY1054"/>
              </a:cxn>
            </a:cxnLst>
            <a:rect l="l" t="t" r="r" b="b"/>
            <a:pathLst>
              <a:path w="1609516" h="1538630">
                <a:moveTo>
                  <a:pt x="401579" y="1495809"/>
                </a:moveTo>
                <a:lnTo>
                  <a:pt x="400190" y="1496004"/>
                </a:lnTo>
                <a:lnTo>
                  <a:pt x="401224" y="1496470"/>
                </a:lnTo>
                <a:lnTo>
                  <a:pt x="401224" y="1498590"/>
                </a:lnTo>
                <a:lnTo>
                  <a:pt x="401579" y="1498628"/>
                </a:lnTo>
                <a:cubicBezTo>
                  <a:pt x="401579" y="1497698"/>
                  <a:pt x="401579" y="1496768"/>
                  <a:pt x="401579" y="1495809"/>
                </a:cubicBezTo>
                <a:close/>
                <a:moveTo>
                  <a:pt x="368755" y="1486512"/>
                </a:moveTo>
                <a:lnTo>
                  <a:pt x="364089" y="1487354"/>
                </a:lnTo>
                <a:lnTo>
                  <a:pt x="364089" y="1487908"/>
                </a:lnTo>
                <a:close/>
                <a:moveTo>
                  <a:pt x="1049801" y="1484562"/>
                </a:moveTo>
                <a:lnTo>
                  <a:pt x="1046735" y="1485945"/>
                </a:lnTo>
                <a:lnTo>
                  <a:pt x="1046955" y="1486045"/>
                </a:lnTo>
                <a:lnTo>
                  <a:pt x="1049801" y="1485188"/>
                </a:lnTo>
                <a:close/>
                <a:moveTo>
                  <a:pt x="351234" y="1444508"/>
                </a:moveTo>
                <a:lnTo>
                  <a:pt x="351234" y="1444997"/>
                </a:lnTo>
                <a:lnTo>
                  <a:pt x="351592" y="1445078"/>
                </a:lnTo>
                <a:close/>
                <a:moveTo>
                  <a:pt x="351908" y="1431206"/>
                </a:moveTo>
                <a:lnTo>
                  <a:pt x="351234" y="1431611"/>
                </a:lnTo>
                <a:lnTo>
                  <a:pt x="351234" y="1432274"/>
                </a:lnTo>
                <a:close/>
                <a:moveTo>
                  <a:pt x="358162" y="1421494"/>
                </a:moveTo>
                <a:lnTo>
                  <a:pt x="355921" y="1423156"/>
                </a:lnTo>
                <a:lnTo>
                  <a:pt x="355921" y="1423548"/>
                </a:lnTo>
                <a:close/>
                <a:moveTo>
                  <a:pt x="376098" y="1408347"/>
                </a:moveTo>
                <a:lnTo>
                  <a:pt x="370750" y="1412245"/>
                </a:lnTo>
                <a:lnTo>
                  <a:pt x="375023" y="1411256"/>
                </a:lnTo>
                <a:close/>
                <a:moveTo>
                  <a:pt x="421956" y="1365623"/>
                </a:moveTo>
                <a:lnTo>
                  <a:pt x="421765" y="1366161"/>
                </a:lnTo>
                <a:lnTo>
                  <a:pt x="421887" y="1366161"/>
                </a:lnTo>
                <a:close/>
                <a:moveTo>
                  <a:pt x="754553" y="1360575"/>
                </a:moveTo>
                <a:lnTo>
                  <a:pt x="754089" y="1361433"/>
                </a:lnTo>
                <a:lnTo>
                  <a:pt x="754431" y="1361125"/>
                </a:lnTo>
                <a:close/>
                <a:moveTo>
                  <a:pt x="1277973" y="1332923"/>
                </a:moveTo>
                <a:lnTo>
                  <a:pt x="1277944" y="1332936"/>
                </a:lnTo>
                <a:lnTo>
                  <a:pt x="1277949" y="1333139"/>
                </a:lnTo>
                <a:close/>
                <a:moveTo>
                  <a:pt x="1268556" y="1321066"/>
                </a:moveTo>
                <a:cubicBezTo>
                  <a:pt x="1268556" y="1322461"/>
                  <a:pt x="1268556" y="1323856"/>
                  <a:pt x="1268556" y="1325294"/>
                </a:cubicBezTo>
                <a:cubicBezTo>
                  <a:pt x="1267525" y="1325294"/>
                  <a:pt x="1266495" y="1325294"/>
                  <a:pt x="1265432" y="1325294"/>
                </a:cubicBezTo>
                <a:cubicBezTo>
                  <a:pt x="1265432" y="1330409"/>
                  <a:pt x="1265432" y="1335525"/>
                  <a:pt x="1265432" y="1340795"/>
                </a:cubicBezTo>
                <a:lnTo>
                  <a:pt x="1265476" y="1340714"/>
                </a:lnTo>
                <a:lnTo>
                  <a:pt x="1265476" y="1325877"/>
                </a:lnTo>
                <a:cubicBezTo>
                  <a:pt x="1266507" y="1325877"/>
                  <a:pt x="1267538" y="1325877"/>
                  <a:pt x="1268600" y="1325877"/>
                </a:cubicBezTo>
                <a:cubicBezTo>
                  <a:pt x="1268600" y="1324482"/>
                  <a:pt x="1268600" y="1323086"/>
                  <a:pt x="1268600" y="1321649"/>
                </a:cubicBezTo>
                <a:cubicBezTo>
                  <a:pt x="1270147" y="1321649"/>
                  <a:pt x="1271693" y="1321649"/>
                  <a:pt x="1273286" y="1321649"/>
                </a:cubicBezTo>
                <a:lnTo>
                  <a:pt x="1273227" y="1321066"/>
                </a:lnTo>
                <a:close/>
                <a:moveTo>
                  <a:pt x="827891" y="1291474"/>
                </a:moveTo>
                <a:lnTo>
                  <a:pt x="822601" y="1291544"/>
                </a:lnTo>
                <a:lnTo>
                  <a:pt x="818272" y="1292220"/>
                </a:lnTo>
                <a:lnTo>
                  <a:pt x="827891" y="1292047"/>
                </a:lnTo>
                <a:close/>
                <a:moveTo>
                  <a:pt x="856397" y="1288691"/>
                </a:moveTo>
                <a:lnTo>
                  <a:pt x="865903" y="1290590"/>
                </a:lnTo>
                <a:lnTo>
                  <a:pt x="859999" y="1288752"/>
                </a:lnTo>
                <a:close/>
                <a:moveTo>
                  <a:pt x="834694" y="1288572"/>
                </a:moveTo>
                <a:lnTo>
                  <a:pt x="828038" y="1288654"/>
                </a:lnTo>
                <a:lnTo>
                  <a:pt x="828038" y="1289214"/>
                </a:lnTo>
                <a:close/>
                <a:moveTo>
                  <a:pt x="229746" y="1191418"/>
                </a:moveTo>
                <a:lnTo>
                  <a:pt x="227402" y="1191947"/>
                </a:lnTo>
                <a:lnTo>
                  <a:pt x="229315" y="1191947"/>
                </a:lnTo>
                <a:cubicBezTo>
                  <a:pt x="229315" y="1192877"/>
                  <a:pt x="229315" y="1193807"/>
                  <a:pt x="229315" y="1194765"/>
                </a:cubicBezTo>
                <a:lnTo>
                  <a:pt x="231321" y="1194765"/>
                </a:lnTo>
                <a:lnTo>
                  <a:pt x="229746" y="1194236"/>
                </a:lnTo>
                <a:cubicBezTo>
                  <a:pt x="229746" y="1193306"/>
                  <a:pt x="229746" y="1192376"/>
                  <a:pt x="229746" y="1191418"/>
                </a:cubicBezTo>
                <a:close/>
                <a:moveTo>
                  <a:pt x="215687" y="1187190"/>
                </a:moveTo>
                <a:lnTo>
                  <a:pt x="215198" y="1187720"/>
                </a:lnTo>
                <a:lnTo>
                  <a:pt x="215256" y="1187720"/>
                </a:lnTo>
                <a:cubicBezTo>
                  <a:pt x="215256" y="1189115"/>
                  <a:pt x="215256" y="1190510"/>
                  <a:pt x="215256" y="1191947"/>
                </a:cubicBezTo>
                <a:lnTo>
                  <a:pt x="222721" y="1191947"/>
                </a:lnTo>
                <a:lnTo>
                  <a:pt x="215687" y="1191418"/>
                </a:lnTo>
                <a:cubicBezTo>
                  <a:pt x="215687" y="1190023"/>
                  <a:pt x="215687" y="1188628"/>
                  <a:pt x="215687" y="1187190"/>
                </a:cubicBezTo>
                <a:close/>
                <a:moveTo>
                  <a:pt x="1279678" y="1082356"/>
                </a:moveTo>
                <a:lnTo>
                  <a:pt x="1271680" y="1084589"/>
                </a:lnTo>
                <a:lnTo>
                  <a:pt x="1282181" y="1082544"/>
                </a:lnTo>
                <a:close/>
                <a:moveTo>
                  <a:pt x="117703" y="941507"/>
                </a:moveTo>
                <a:lnTo>
                  <a:pt x="112587" y="941985"/>
                </a:lnTo>
                <a:lnTo>
                  <a:pt x="112565" y="942333"/>
                </a:lnTo>
                <a:lnTo>
                  <a:pt x="115665" y="941837"/>
                </a:lnTo>
                <a:close/>
                <a:moveTo>
                  <a:pt x="144268" y="939395"/>
                </a:moveTo>
                <a:lnTo>
                  <a:pt x="143354" y="939580"/>
                </a:lnTo>
                <a:lnTo>
                  <a:pt x="144077" y="939739"/>
                </a:lnTo>
                <a:close/>
                <a:moveTo>
                  <a:pt x="162575" y="933530"/>
                </a:moveTo>
                <a:lnTo>
                  <a:pt x="161704" y="935101"/>
                </a:lnTo>
                <a:lnTo>
                  <a:pt x="170045" y="933585"/>
                </a:lnTo>
                <a:close/>
                <a:moveTo>
                  <a:pt x="1321645" y="918415"/>
                </a:moveTo>
                <a:lnTo>
                  <a:pt x="1321534" y="920177"/>
                </a:lnTo>
                <a:lnTo>
                  <a:pt x="1321740" y="918415"/>
                </a:lnTo>
                <a:close/>
                <a:moveTo>
                  <a:pt x="1319333" y="915183"/>
                </a:moveTo>
                <a:lnTo>
                  <a:pt x="1318544" y="918029"/>
                </a:lnTo>
                <a:lnTo>
                  <a:pt x="1318702" y="918029"/>
                </a:lnTo>
                <a:close/>
                <a:moveTo>
                  <a:pt x="1326355" y="907109"/>
                </a:moveTo>
                <a:lnTo>
                  <a:pt x="1326355" y="910983"/>
                </a:lnTo>
                <a:lnTo>
                  <a:pt x="1325831" y="911101"/>
                </a:lnTo>
                <a:lnTo>
                  <a:pt x="1326426" y="911369"/>
                </a:lnTo>
                <a:cubicBezTo>
                  <a:pt x="1326426" y="909974"/>
                  <a:pt x="1326426" y="908579"/>
                  <a:pt x="1326426" y="907141"/>
                </a:cubicBezTo>
                <a:close/>
                <a:moveTo>
                  <a:pt x="1328144" y="892192"/>
                </a:moveTo>
                <a:lnTo>
                  <a:pt x="1327667" y="893446"/>
                </a:lnTo>
                <a:lnTo>
                  <a:pt x="1327989" y="893049"/>
                </a:lnTo>
                <a:close/>
                <a:moveTo>
                  <a:pt x="49605" y="887420"/>
                </a:moveTo>
                <a:lnTo>
                  <a:pt x="48549" y="891229"/>
                </a:lnTo>
                <a:lnTo>
                  <a:pt x="49956" y="887420"/>
                </a:lnTo>
                <a:close/>
                <a:moveTo>
                  <a:pt x="1332266" y="883369"/>
                </a:moveTo>
                <a:lnTo>
                  <a:pt x="1329479" y="884207"/>
                </a:lnTo>
                <a:lnTo>
                  <a:pt x="1329509" y="884816"/>
                </a:lnTo>
                <a:lnTo>
                  <a:pt x="1329551" y="884594"/>
                </a:lnTo>
                <a:close/>
                <a:moveTo>
                  <a:pt x="1555987" y="821766"/>
                </a:moveTo>
                <a:lnTo>
                  <a:pt x="1555987" y="822201"/>
                </a:lnTo>
                <a:lnTo>
                  <a:pt x="1556081" y="822189"/>
                </a:lnTo>
                <a:close/>
                <a:moveTo>
                  <a:pt x="1565360" y="810928"/>
                </a:moveTo>
                <a:lnTo>
                  <a:pt x="1564871" y="811809"/>
                </a:lnTo>
                <a:lnTo>
                  <a:pt x="1567314" y="810928"/>
                </a:lnTo>
                <a:close/>
                <a:moveTo>
                  <a:pt x="1563797" y="810928"/>
                </a:moveTo>
                <a:lnTo>
                  <a:pt x="1556762" y="814736"/>
                </a:lnTo>
                <a:lnTo>
                  <a:pt x="1563797" y="812197"/>
                </a:lnTo>
                <a:close/>
                <a:moveTo>
                  <a:pt x="265833" y="806020"/>
                </a:moveTo>
                <a:lnTo>
                  <a:pt x="263704" y="809861"/>
                </a:lnTo>
                <a:lnTo>
                  <a:pt x="263704" y="816750"/>
                </a:lnTo>
                <a:lnTo>
                  <a:pt x="264113" y="816565"/>
                </a:lnTo>
                <a:cubicBezTo>
                  <a:pt x="264048" y="815315"/>
                  <a:pt x="263984" y="814065"/>
                  <a:pt x="263918" y="812777"/>
                </a:cubicBezTo>
                <a:close/>
                <a:moveTo>
                  <a:pt x="263774" y="779374"/>
                </a:moveTo>
                <a:lnTo>
                  <a:pt x="263704" y="783086"/>
                </a:lnTo>
                <a:cubicBezTo>
                  <a:pt x="263961" y="783987"/>
                  <a:pt x="264219" y="784888"/>
                  <a:pt x="264484" y="785816"/>
                </a:cubicBezTo>
                <a:cubicBezTo>
                  <a:pt x="265299" y="788846"/>
                  <a:pt x="265316" y="791337"/>
                  <a:pt x="265265" y="794448"/>
                </a:cubicBezTo>
                <a:cubicBezTo>
                  <a:pt x="265103" y="797155"/>
                  <a:pt x="265022" y="798508"/>
                  <a:pt x="265217" y="799730"/>
                </a:cubicBezTo>
                <a:lnTo>
                  <a:pt x="266556" y="803466"/>
                </a:lnTo>
                <a:lnTo>
                  <a:pt x="267237" y="801063"/>
                </a:lnTo>
                <a:cubicBezTo>
                  <a:pt x="266721" y="800598"/>
                  <a:pt x="266206" y="800133"/>
                  <a:pt x="265675" y="799654"/>
                </a:cubicBezTo>
                <a:cubicBezTo>
                  <a:pt x="265601" y="797718"/>
                  <a:pt x="265617" y="795778"/>
                  <a:pt x="265675" y="793841"/>
                </a:cubicBezTo>
                <a:close/>
                <a:moveTo>
                  <a:pt x="260988" y="770061"/>
                </a:moveTo>
                <a:lnTo>
                  <a:pt x="260988" y="771364"/>
                </a:lnTo>
                <a:lnTo>
                  <a:pt x="263497" y="777263"/>
                </a:lnTo>
                <a:lnTo>
                  <a:pt x="262551" y="770061"/>
                </a:lnTo>
                <a:cubicBezTo>
                  <a:pt x="262035" y="770061"/>
                  <a:pt x="261520" y="770061"/>
                  <a:pt x="260988" y="770061"/>
                </a:cubicBezTo>
                <a:close/>
                <a:moveTo>
                  <a:pt x="157888" y="651686"/>
                </a:moveTo>
                <a:lnTo>
                  <a:pt x="157415" y="651764"/>
                </a:lnTo>
                <a:lnTo>
                  <a:pt x="160373" y="652274"/>
                </a:lnTo>
                <a:close/>
                <a:moveTo>
                  <a:pt x="267237" y="426537"/>
                </a:moveTo>
                <a:lnTo>
                  <a:pt x="267237" y="427619"/>
                </a:lnTo>
                <a:cubicBezTo>
                  <a:pt x="268274" y="427791"/>
                  <a:pt x="269311" y="427961"/>
                  <a:pt x="270380" y="428137"/>
                </a:cubicBezTo>
                <a:lnTo>
                  <a:pt x="273548" y="428680"/>
                </a:lnTo>
                <a:close/>
                <a:moveTo>
                  <a:pt x="37605" y="359270"/>
                </a:moveTo>
                <a:lnTo>
                  <a:pt x="37103" y="361533"/>
                </a:lnTo>
                <a:lnTo>
                  <a:pt x="37605" y="361382"/>
                </a:lnTo>
                <a:close/>
                <a:moveTo>
                  <a:pt x="52477" y="337570"/>
                </a:moveTo>
                <a:lnTo>
                  <a:pt x="47288" y="342340"/>
                </a:lnTo>
                <a:lnTo>
                  <a:pt x="45805" y="345093"/>
                </a:lnTo>
                <a:close/>
                <a:moveTo>
                  <a:pt x="104291" y="336166"/>
                </a:moveTo>
                <a:lnTo>
                  <a:pt x="103776" y="337559"/>
                </a:lnTo>
                <a:lnTo>
                  <a:pt x="108925" y="336166"/>
                </a:lnTo>
                <a:close/>
                <a:moveTo>
                  <a:pt x="1309237" y="322954"/>
                </a:moveTo>
                <a:lnTo>
                  <a:pt x="1309180" y="330559"/>
                </a:lnTo>
                <a:lnTo>
                  <a:pt x="1309237" y="330520"/>
                </a:lnTo>
                <a:close/>
                <a:moveTo>
                  <a:pt x="1308964" y="317715"/>
                </a:moveTo>
                <a:lnTo>
                  <a:pt x="1309237" y="318569"/>
                </a:lnTo>
                <a:lnTo>
                  <a:pt x="1309237" y="317838"/>
                </a:lnTo>
                <a:close/>
                <a:moveTo>
                  <a:pt x="1310087" y="313153"/>
                </a:moveTo>
                <a:lnTo>
                  <a:pt x="1307609" y="313473"/>
                </a:lnTo>
                <a:lnTo>
                  <a:pt x="1308045" y="314836"/>
                </a:lnTo>
                <a:close/>
                <a:moveTo>
                  <a:pt x="1318544" y="312064"/>
                </a:moveTo>
                <a:lnTo>
                  <a:pt x="1316298" y="312353"/>
                </a:lnTo>
                <a:lnTo>
                  <a:pt x="1318544" y="312205"/>
                </a:lnTo>
                <a:close/>
                <a:moveTo>
                  <a:pt x="1084622" y="267674"/>
                </a:moveTo>
                <a:lnTo>
                  <a:pt x="1084227" y="268378"/>
                </a:lnTo>
                <a:cubicBezTo>
                  <a:pt x="1082679" y="268378"/>
                  <a:pt x="1081133" y="268378"/>
                  <a:pt x="1079540" y="268378"/>
                </a:cubicBezTo>
                <a:lnTo>
                  <a:pt x="1079603" y="268477"/>
                </a:lnTo>
                <a:lnTo>
                  <a:pt x="1084192" y="268477"/>
                </a:lnTo>
                <a:close/>
                <a:moveTo>
                  <a:pt x="956410" y="266968"/>
                </a:moveTo>
                <a:lnTo>
                  <a:pt x="957576" y="267083"/>
                </a:lnTo>
                <a:lnTo>
                  <a:pt x="957576" y="269776"/>
                </a:lnTo>
                <a:lnTo>
                  <a:pt x="957694" y="269787"/>
                </a:lnTo>
                <a:cubicBezTo>
                  <a:pt x="957694" y="268857"/>
                  <a:pt x="957694" y="267927"/>
                  <a:pt x="957694" y="266968"/>
                </a:cubicBezTo>
                <a:close/>
                <a:moveTo>
                  <a:pt x="1089372" y="259220"/>
                </a:moveTo>
                <a:lnTo>
                  <a:pt x="1085856" y="265479"/>
                </a:lnTo>
                <a:lnTo>
                  <a:pt x="1088878" y="261431"/>
                </a:lnTo>
                <a:close/>
                <a:moveTo>
                  <a:pt x="1018517" y="223356"/>
                </a:moveTo>
                <a:lnTo>
                  <a:pt x="1013866" y="226190"/>
                </a:lnTo>
                <a:lnTo>
                  <a:pt x="1013024" y="227709"/>
                </a:lnTo>
                <a:lnTo>
                  <a:pt x="1017055" y="224692"/>
                </a:lnTo>
                <a:close/>
                <a:moveTo>
                  <a:pt x="850645" y="220099"/>
                </a:moveTo>
                <a:lnTo>
                  <a:pt x="850897" y="221488"/>
                </a:lnTo>
                <a:cubicBezTo>
                  <a:pt x="851086" y="222545"/>
                  <a:pt x="851275" y="223602"/>
                  <a:pt x="851470" y="224692"/>
                </a:cubicBezTo>
                <a:lnTo>
                  <a:pt x="852860" y="224692"/>
                </a:lnTo>
                <a:close/>
                <a:moveTo>
                  <a:pt x="1155019" y="35"/>
                </a:moveTo>
                <a:cubicBezTo>
                  <a:pt x="1161775" y="275"/>
                  <a:pt x="1168415" y="1783"/>
                  <a:pt x="1174829" y="4853"/>
                </a:cubicBezTo>
                <a:cubicBezTo>
                  <a:pt x="1176343" y="5231"/>
                  <a:pt x="1177858" y="5609"/>
                  <a:pt x="1179418" y="5998"/>
                </a:cubicBezTo>
                <a:cubicBezTo>
                  <a:pt x="1189392" y="9487"/>
                  <a:pt x="1196322" y="14392"/>
                  <a:pt x="1201385" y="22997"/>
                </a:cubicBezTo>
                <a:cubicBezTo>
                  <a:pt x="1206849" y="35244"/>
                  <a:pt x="1206940" y="49865"/>
                  <a:pt x="1201678" y="62191"/>
                </a:cubicBezTo>
                <a:cubicBezTo>
                  <a:pt x="1200594" y="64241"/>
                  <a:pt x="1199461" y="66271"/>
                  <a:pt x="1198261" y="68268"/>
                </a:cubicBezTo>
                <a:cubicBezTo>
                  <a:pt x="1197423" y="69721"/>
                  <a:pt x="1196586" y="71175"/>
                  <a:pt x="1195723" y="72672"/>
                </a:cubicBezTo>
                <a:cubicBezTo>
                  <a:pt x="1194659" y="73980"/>
                  <a:pt x="1194659" y="73980"/>
                  <a:pt x="1193575" y="75314"/>
                </a:cubicBezTo>
                <a:cubicBezTo>
                  <a:pt x="1192544" y="75314"/>
                  <a:pt x="1191512" y="75314"/>
                  <a:pt x="1190450" y="75314"/>
                </a:cubicBezTo>
                <a:cubicBezTo>
                  <a:pt x="1190128" y="76651"/>
                  <a:pt x="1189806" y="77988"/>
                  <a:pt x="1189474" y="79366"/>
                </a:cubicBezTo>
                <a:cubicBezTo>
                  <a:pt x="1187326" y="83769"/>
                  <a:pt x="1187326" y="83769"/>
                  <a:pt x="1182445" y="85707"/>
                </a:cubicBezTo>
                <a:cubicBezTo>
                  <a:pt x="1180962" y="85998"/>
                  <a:pt x="1179480" y="86289"/>
                  <a:pt x="1177953" y="86588"/>
                </a:cubicBezTo>
                <a:cubicBezTo>
                  <a:pt x="1177953" y="87518"/>
                  <a:pt x="1177953" y="88448"/>
                  <a:pt x="1177953" y="89406"/>
                </a:cubicBezTo>
                <a:cubicBezTo>
                  <a:pt x="1175369" y="91088"/>
                  <a:pt x="1172720" y="92688"/>
                  <a:pt x="1170045" y="94251"/>
                </a:cubicBezTo>
                <a:cubicBezTo>
                  <a:pt x="1154651" y="104199"/>
                  <a:pt x="1148918" y="116979"/>
                  <a:pt x="1143806" y="132828"/>
                </a:cubicBezTo>
                <a:cubicBezTo>
                  <a:pt x="1142095" y="137144"/>
                  <a:pt x="1140989" y="138617"/>
                  <a:pt x="1137338" y="141548"/>
                </a:cubicBezTo>
                <a:cubicBezTo>
                  <a:pt x="1136166" y="144148"/>
                  <a:pt x="1134992" y="146751"/>
                  <a:pt x="1133970" y="149403"/>
                </a:cubicBezTo>
                <a:cubicBezTo>
                  <a:pt x="1132069" y="154334"/>
                  <a:pt x="1130006" y="159210"/>
                  <a:pt x="1127965" y="164095"/>
                </a:cubicBezTo>
                <a:cubicBezTo>
                  <a:pt x="1126897" y="166664"/>
                  <a:pt x="1125830" y="169233"/>
                  <a:pt x="1124762" y="171802"/>
                </a:cubicBezTo>
                <a:cubicBezTo>
                  <a:pt x="1122961" y="176134"/>
                  <a:pt x="1121160" y="180466"/>
                  <a:pt x="1119359" y="184798"/>
                </a:cubicBezTo>
                <a:cubicBezTo>
                  <a:pt x="1116567" y="191508"/>
                  <a:pt x="1113778" y="198220"/>
                  <a:pt x="1111014" y="204941"/>
                </a:cubicBezTo>
                <a:cubicBezTo>
                  <a:pt x="1110590" y="205970"/>
                  <a:pt x="1110165" y="206999"/>
                  <a:pt x="1109729" y="208059"/>
                </a:cubicBezTo>
                <a:cubicBezTo>
                  <a:pt x="1108615" y="210762"/>
                  <a:pt x="1107505" y="213466"/>
                  <a:pt x="1106395" y="216170"/>
                </a:cubicBezTo>
                <a:cubicBezTo>
                  <a:pt x="1104320" y="220956"/>
                  <a:pt x="1103283" y="223349"/>
                  <a:pt x="1102147" y="224810"/>
                </a:cubicBezTo>
                <a:lnTo>
                  <a:pt x="1098261" y="227262"/>
                </a:lnTo>
                <a:lnTo>
                  <a:pt x="1098367" y="238475"/>
                </a:lnTo>
                <a:cubicBezTo>
                  <a:pt x="1098025" y="239757"/>
                  <a:pt x="1097684" y="241038"/>
                  <a:pt x="1097331" y="242358"/>
                </a:cubicBezTo>
                <a:cubicBezTo>
                  <a:pt x="1096958" y="243711"/>
                  <a:pt x="1096585" y="245064"/>
                  <a:pt x="1096201" y="246458"/>
                </a:cubicBezTo>
                <a:cubicBezTo>
                  <a:pt x="1093302" y="257363"/>
                  <a:pt x="1090901" y="268062"/>
                  <a:pt x="1089440" y="279206"/>
                </a:cubicBezTo>
                <a:cubicBezTo>
                  <a:pt x="1088878" y="282569"/>
                  <a:pt x="1088878" y="282569"/>
                  <a:pt x="1087316" y="283978"/>
                </a:cubicBezTo>
                <a:cubicBezTo>
                  <a:pt x="1087070" y="286587"/>
                  <a:pt x="1086924" y="289205"/>
                  <a:pt x="1086822" y="291822"/>
                </a:cubicBezTo>
                <a:cubicBezTo>
                  <a:pt x="1086756" y="293408"/>
                  <a:pt x="1086691" y="294993"/>
                  <a:pt x="1086623" y="296625"/>
                </a:cubicBezTo>
                <a:cubicBezTo>
                  <a:pt x="1086562" y="298294"/>
                  <a:pt x="1086501" y="299962"/>
                  <a:pt x="1086437" y="301681"/>
                </a:cubicBezTo>
                <a:cubicBezTo>
                  <a:pt x="1086336" y="304192"/>
                  <a:pt x="1086336" y="304192"/>
                  <a:pt x="1086233" y="306754"/>
                </a:cubicBezTo>
                <a:lnTo>
                  <a:pt x="1086007" y="312619"/>
                </a:lnTo>
                <a:lnTo>
                  <a:pt x="1087470" y="320554"/>
                </a:lnTo>
                <a:cubicBezTo>
                  <a:pt x="1089648" y="325409"/>
                  <a:pt x="1093111" y="329799"/>
                  <a:pt x="1098285" y="334611"/>
                </a:cubicBezTo>
                <a:cubicBezTo>
                  <a:pt x="1100424" y="336130"/>
                  <a:pt x="1100424" y="336130"/>
                  <a:pt x="1102607" y="337679"/>
                </a:cubicBezTo>
                <a:cubicBezTo>
                  <a:pt x="1104334" y="338951"/>
                  <a:pt x="1104334" y="338951"/>
                  <a:pt x="1106095" y="340248"/>
                </a:cubicBezTo>
                <a:cubicBezTo>
                  <a:pt x="1106095" y="341178"/>
                  <a:pt x="1106095" y="342108"/>
                  <a:pt x="1106095" y="343066"/>
                </a:cubicBezTo>
                <a:cubicBezTo>
                  <a:pt x="1107127" y="343183"/>
                  <a:pt x="1108158" y="343299"/>
                  <a:pt x="1109220" y="343419"/>
                </a:cubicBezTo>
                <a:cubicBezTo>
                  <a:pt x="1115473" y="344829"/>
                  <a:pt x="1120724" y="347416"/>
                  <a:pt x="1126403" y="350112"/>
                </a:cubicBezTo>
                <a:cubicBezTo>
                  <a:pt x="1128207" y="350926"/>
                  <a:pt x="1130012" y="351740"/>
                  <a:pt x="1131871" y="352579"/>
                </a:cubicBezTo>
                <a:cubicBezTo>
                  <a:pt x="1133159" y="353160"/>
                  <a:pt x="1134448" y="353741"/>
                  <a:pt x="1135776" y="354340"/>
                </a:cubicBezTo>
                <a:cubicBezTo>
                  <a:pt x="1135776" y="355270"/>
                  <a:pt x="1135776" y="356200"/>
                  <a:pt x="1135776" y="357158"/>
                </a:cubicBezTo>
                <a:cubicBezTo>
                  <a:pt x="1148107" y="360029"/>
                  <a:pt x="1158679" y="359101"/>
                  <a:pt x="1170143" y="354340"/>
                </a:cubicBezTo>
                <a:cubicBezTo>
                  <a:pt x="1172366" y="353468"/>
                  <a:pt x="1172366" y="353468"/>
                  <a:pt x="1174634" y="352579"/>
                </a:cubicBezTo>
                <a:cubicBezTo>
                  <a:pt x="1180354" y="349689"/>
                  <a:pt x="1185568" y="346355"/>
                  <a:pt x="1190890" y="342907"/>
                </a:cubicBezTo>
                <a:cubicBezTo>
                  <a:pt x="1195169" y="340228"/>
                  <a:pt x="1199557" y="337821"/>
                  <a:pt x="1204021" y="335404"/>
                </a:cubicBezTo>
                <a:cubicBezTo>
                  <a:pt x="1211989" y="330886"/>
                  <a:pt x="1217509" y="325766"/>
                  <a:pt x="1223255" y="319110"/>
                </a:cubicBezTo>
                <a:cubicBezTo>
                  <a:pt x="1224447" y="317947"/>
                  <a:pt x="1225639" y="316784"/>
                  <a:pt x="1226868" y="315587"/>
                </a:cubicBezTo>
                <a:cubicBezTo>
                  <a:pt x="1229855" y="311593"/>
                  <a:pt x="1230852" y="308240"/>
                  <a:pt x="1231859" y="303559"/>
                </a:cubicBezTo>
                <a:cubicBezTo>
                  <a:pt x="1232628" y="300790"/>
                  <a:pt x="1232628" y="300790"/>
                  <a:pt x="1234178" y="298059"/>
                </a:cubicBezTo>
                <a:cubicBezTo>
                  <a:pt x="1235964" y="294761"/>
                  <a:pt x="1236623" y="291807"/>
                  <a:pt x="1237314" y="288195"/>
                </a:cubicBezTo>
                <a:cubicBezTo>
                  <a:pt x="1239360" y="278571"/>
                  <a:pt x="1242414" y="272733"/>
                  <a:pt x="1249811" y="265559"/>
                </a:cubicBezTo>
                <a:cubicBezTo>
                  <a:pt x="1250842" y="265559"/>
                  <a:pt x="1251873" y="265559"/>
                  <a:pt x="1252935" y="265559"/>
                </a:cubicBezTo>
                <a:cubicBezTo>
                  <a:pt x="1252935" y="264629"/>
                  <a:pt x="1252935" y="263699"/>
                  <a:pt x="1252935" y="262741"/>
                </a:cubicBezTo>
                <a:cubicBezTo>
                  <a:pt x="1265591" y="253427"/>
                  <a:pt x="1280762" y="251648"/>
                  <a:pt x="1296675" y="252876"/>
                </a:cubicBezTo>
                <a:cubicBezTo>
                  <a:pt x="1300535" y="253563"/>
                  <a:pt x="1303901" y="254478"/>
                  <a:pt x="1307609" y="255695"/>
                </a:cubicBezTo>
                <a:cubicBezTo>
                  <a:pt x="1307609" y="256625"/>
                  <a:pt x="1307609" y="257555"/>
                  <a:pt x="1307609" y="258513"/>
                </a:cubicBezTo>
                <a:cubicBezTo>
                  <a:pt x="1309021" y="258619"/>
                  <a:pt x="1310432" y="258723"/>
                  <a:pt x="1311887" y="258832"/>
                </a:cubicBezTo>
                <a:cubicBezTo>
                  <a:pt x="1319573" y="260476"/>
                  <a:pt x="1322149" y="264416"/>
                  <a:pt x="1326715" y="269969"/>
                </a:cubicBezTo>
                <a:cubicBezTo>
                  <a:pt x="1334402" y="281220"/>
                  <a:pt x="1336114" y="294839"/>
                  <a:pt x="1334165" y="307836"/>
                </a:cubicBezTo>
                <a:cubicBezTo>
                  <a:pt x="1332176" y="311898"/>
                  <a:pt x="1332176" y="311898"/>
                  <a:pt x="1329479" y="314882"/>
                </a:cubicBezTo>
                <a:cubicBezTo>
                  <a:pt x="1327417" y="314882"/>
                  <a:pt x="1325355" y="314882"/>
                  <a:pt x="1323231" y="314882"/>
                </a:cubicBezTo>
                <a:cubicBezTo>
                  <a:pt x="1323231" y="315812"/>
                  <a:pt x="1323231" y="316742"/>
                  <a:pt x="1323231" y="317700"/>
                </a:cubicBezTo>
                <a:lnTo>
                  <a:pt x="1322774" y="317838"/>
                </a:lnTo>
                <a:lnTo>
                  <a:pt x="1323295" y="317838"/>
                </a:lnTo>
                <a:cubicBezTo>
                  <a:pt x="1323295" y="316907"/>
                  <a:pt x="1323295" y="315977"/>
                  <a:pt x="1323295" y="315019"/>
                </a:cubicBezTo>
                <a:cubicBezTo>
                  <a:pt x="1324842" y="315019"/>
                  <a:pt x="1326388" y="315019"/>
                  <a:pt x="1327982" y="315019"/>
                </a:cubicBezTo>
                <a:cubicBezTo>
                  <a:pt x="1325845" y="321328"/>
                  <a:pt x="1322753" y="323742"/>
                  <a:pt x="1317047" y="327702"/>
                </a:cubicBezTo>
                <a:cubicBezTo>
                  <a:pt x="1316531" y="329097"/>
                  <a:pt x="1316016" y="330492"/>
                  <a:pt x="1315484" y="331930"/>
                </a:cubicBezTo>
                <a:cubicBezTo>
                  <a:pt x="1312599" y="332959"/>
                  <a:pt x="1312599" y="332959"/>
                  <a:pt x="1309139" y="333603"/>
                </a:cubicBezTo>
                <a:cubicBezTo>
                  <a:pt x="1307993" y="333827"/>
                  <a:pt x="1306847" y="334050"/>
                  <a:pt x="1305666" y="334280"/>
                </a:cubicBezTo>
                <a:cubicBezTo>
                  <a:pt x="1304783" y="334434"/>
                  <a:pt x="1303899" y="334589"/>
                  <a:pt x="1302988" y="334748"/>
                </a:cubicBezTo>
                <a:lnTo>
                  <a:pt x="1305905" y="332775"/>
                </a:lnTo>
                <a:lnTo>
                  <a:pt x="1304485" y="333202"/>
                </a:lnTo>
                <a:cubicBezTo>
                  <a:pt x="1302987" y="334640"/>
                  <a:pt x="1302987" y="334640"/>
                  <a:pt x="1301459" y="336108"/>
                </a:cubicBezTo>
                <a:cubicBezTo>
                  <a:pt x="1298237" y="338839"/>
                  <a:pt x="1298237" y="338839"/>
                  <a:pt x="1291989" y="338839"/>
                </a:cubicBezTo>
                <a:cubicBezTo>
                  <a:pt x="1291473" y="340234"/>
                  <a:pt x="1290957" y="341629"/>
                  <a:pt x="1290426" y="343066"/>
                </a:cubicBezTo>
                <a:cubicBezTo>
                  <a:pt x="1288879" y="343415"/>
                  <a:pt x="1287333" y="343764"/>
                  <a:pt x="1285740" y="344123"/>
                </a:cubicBezTo>
                <a:cubicBezTo>
                  <a:pt x="1266905" y="348491"/>
                  <a:pt x="1249005" y="369098"/>
                  <a:pt x="1237314" y="382525"/>
                </a:cubicBezTo>
                <a:cubicBezTo>
                  <a:pt x="1235678" y="385783"/>
                  <a:pt x="1234122" y="389075"/>
                  <a:pt x="1232628" y="392389"/>
                </a:cubicBezTo>
                <a:cubicBezTo>
                  <a:pt x="1231317" y="394515"/>
                  <a:pt x="1229981" y="396629"/>
                  <a:pt x="1228625" y="398731"/>
                </a:cubicBezTo>
                <a:cubicBezTo>
                  <a:pt x="1221457" y="410300"/>
                  <a:pt x="1219465" y="421836"/>
                  <a:pt x="1222822" y="434798"/>
                </a:cubicBezTo>
                <a:cubicBezTo>
                  <a:pt x="1229360" y="453710"/>
                  <a:pt x="1244088" y="472467"/>
                  <a:pt x="1260746" y="485398"/>
                </a:cubicBezTo>
                <a:cubicBezTo>
                  <a:pt x="1264961" y="487349"/>
                  <a:pt x="1264961" y="487349"/>
                  <a:pt x="1268556" y="488216"/>
                </a:cubicBezTo>
                <a:cubicBezTo>
                  <a:pt x="1268556" y="489146"/>
                  <a:pt x="1268556" y="490076"/>
                  <a:pt x="1268556" y="491034"/>
                </a:cubicBezTo>
                <a:cubicBezTo>
                  <a:pt x="1288790" y="497071"/>
                  <a:pt x="1319055" y="498555"/>
                  <a:pt x="1338852" y="489625"/>
                </a:cubicBezTo>
                <a:cubicBezTo>
                  <a:pt x="1341711" y="489213"/>
                  <a:pt x="1344575" y="488837"/>
                  <a:pt x="1347444" y="488480"/>
                </a:cubicBezTo>
                <a:cubicBezTo>
                  <a:pt x="1355372" y="487345"/>
                  <a:pt x="1362033" y="485390"/>
                  <a:pt x="1369362" y="482513"/>
                </a:cubicBezTo>
                <a:cubicBezTo>
                  <a:pt x="1375665" y="480318"/>
                  <a:pt x="1382189" y="479322"/>
                  <a:pt x="1388840" y="478351"/>
                </a:cubicBezTo>
                <a:cubicBezTo>
                  <a:pt x="1388840" y="477421"/>
                  <a:pt x="1388840" y="476492"/>
                  <a:pt x="1388840" y="475533"/>
                </a:cubicBezTo>
                <a:cubicBezTo>
                  <a:pt x="1391083" y="474821"/>
                  <a:pt x="1393329" y="474118"/>
                  <a:pt x="1395576" y="473419"/>
                </a:cubicBezTo>
                <a:cubicBezTo>
                  <a:pt x="1396827" y="473027"/>
                  <a:pt x="1398077" y="472635"/>
                  <a:pt x="1399365" y="472230"/>
                </a:cubicBezTo>
                <a:cubicBezTo>
                  <a:pt x="1402899" y="471305"/>
                  <a:pt x="1402899" y="471305"/>
                  <a:pt x="1407585" y="471305"/>
                </a:cubicBezTo>
                <a:cubicBezTo>
                  <a:pt x="1408101" y="469910"/>
                  <a:pt x="1408616" y="468515"/>
                  <a:pt x="1409147" y="467078"/>
                </a:cubicBezTo>
                <a:cubicBezTo>
                  <a:pt x="1412388" y="465580"/>
                  <a:pt x="1412388" y="465580"/>
                  <a:pt x="1416470" y="464259"/>
                </a:cubicBezTo>
                <a:cubicBezTo>
                  <a:pt x="1424029" y="461705"/>
                  <a:pt x="1431130" y="458955"/>
                  <a:pt x="1437949" y="455011"/>
                </a:cubicBezTo>
                <a:cubicBezTo>
                  <a:pt x="1442765" y="452574"/>
                  <a:pt x="1447553" y="451394"/>
                  <a:pt x="1452887" y="450167"/>
                </a:cubicBezTo>
                <a:cubicBezTo>
                  <a:pt x="1452887" y="449237"/>
                  <a:pt x="1452887" y="448307"/>
                  <a:pt x="1452887" y="447349"/>
                </a:cubicBezTo>
                <a:cubicBezTo>
                  <a:pt x="1453714" y="446944"/>
                  <a:pt x="1454541" y="446539"/>
                  <a:pt x="1455394" y="446122"/>
                </a:cubicBezTo>
                <a:cubicBezTo>
                  <a:pt x="1459151" y="444278"/>
                  <a:pt x="1462902" y="442422"/>
                  <a:pt x="1466653" y="440567"/>
                </a:cubicBezTo>
                <a:cubicBezTo>
                  <a:pt x="1467955" y="439930"/>
                  <a:pt x="1469256" y="439293"/>
                  <a:pt x="1470598" y="438637"/>
                </a:cubicBezTo>
                <a:cubicBezTo>
                  <a:pt x="1471852" y="438016"/>
                  <a:pt x="1473105" y="437393"/>
                  <a:pt x="1474397" y="436752"/>
                </a:cubicBezTo>
                <a:cubicBezTo>
                  <a:pt x="1475550" y="436184"/>
                  <a:pt x="1476703" y="435616"/>
                  <a:pt x="1477892" y="435030"/>
                </a:cubicBezTo>
                <a:cubicBezTo>
                  <a:pt x="1480966" y="433279"/>
                  <a:pt x="1483173" y="431373"/>
                  <a:pt x="1485691" y="429029"/>
                </a:cubicBezTo>
                <a:cubicBezTo>
                  <a:pt x="1486737" y="428575"/>
                  <a:pt x="1487781" y="428121"/>
                  <a:pt x="1488858" y="427653"/>
                </a:cubicBezTo>
                <a:cubicBezTo>
                  <a:pt x="1492438" y="425977"/>
                  <a:pt x="1493705" y="424453"/>
                  <a:pt x="1495943" y="421454"/>
                </a:cubicBezTo>
                <a:cubicBezTo>
                  <a:pt x="1507114" y="407544"/>
                  <a:pt x="1519758" y="393513"/>
                  <a:pt x="1538608" y="388338"/>
                </a:cubicBezTo>
                <a:cubicBezTo>
                  <a:pt x="1541025" y="388250"/>
                  <a:pt x="1541025" y="388250"/>
                  <a:pt x="1543490" y="388161"/>
                </a:cubicBezTo>
                <a:cubicBezTo>
                  <a:pt x="1545535" y="387984"/>
                  <a:pt x="1545535" y="387984"/>
                  <a:pt x="1547621" y="387804"/>
                </a:cubicBezTo>
                <a:cubicBezTo>
                  <a:pt x="1560659" y="387094"/>
                  <a:pt x="1568716" y="390117"/>
                  <a:pt x="1579418" y="396617"/>
                </a:cubicBezTo>
                <a:cubicBezTo>
                  <a:pt x="1581361" y="397687"/>
                  <a:pt x="1581361" y="397687"/>
                  <a:pt x="1583342" y="398780"/>
                </a:cubicBezTo>
                <a:cubicBezTo>
                  <a:pt x="1593703" y="405068"/>
                  <a:pt x="1598513" y="412459"/>
                  <a:pt x="1601288" y="423392"/>
                </a:cubicBezTo>
                <a:cubicBezTo>
                  <a:pt x="1603295" y="436596"/>
                  <a:pt x="1603517" y="449033"/>
                  <a:pt x="1594484" y="460159"/>
                </a:cubicBezTo>
                <a:cubicBezTo>
                  <a:pt x="1588468" y="466462"/>
                  <a:pt x="1582607" y="471150"/>
                  <a:pt x="1574732" y="475533"/>
                </a:cubicBezTo>
                <a:cubicBezTo>
                  <a:pt x="1573862" y="476043"/>
                  <a:pt x="1572993" y="476553"/>
                  <a:pt x="1572097" y="477078"/>
                </a:cubicBezTo>
                <a:cubicBezTo>
                  <a:pt x="1566828" y="478935"/>
                  <a:pt x="1561641" y="478744"/>
                  <a:pt x="1556066" y="478737"/>
                </a:cubicBezTo>
                <a:cubicBezTo>
                  <a:pt x="1553587" y="478765"/>
                  <a:pt x="1551109" y="478795"/>
                  <a:pt x="1548631" y="478825"/>
                </a:cubicBezTo>
                <a:cubicBezTo>
                  <a:pt x="1544751" y="478857"/>
                  <a:pt x="1540871" y="478880"/>
                  <a:pt x="1536991" y="478889"/>
                </a:cubicBezTo>
                <a:cubicBezTo>
                  <a:pt x="1516714" y="478693"/>
                  <a:pt x="1516714" y="478693"/>
                  <a:pt x="1498188" y="485398"/>
                </a:cubicBezTo>
                <a:cubicBezTo>
                  <a:pt x="1496062" y="486488"/>
                  <a:pt x="1496062" y="486488"/>
                  <a:pt x="1493892" y="487600"/>
                </a:cubicBezTo>
                <a:cubicBezTo>
                  <a:pt x="1492733" y="488268"/>
                  <a:pt x="1491573" y="488937"/>
                  <a:pt x="1490377" y="489625"/>
                </a:cubicBezTo>
                <a:cubicBezTo>
                  <a:pt x="1484304" y="493012"/>
                  <a:pt x="1478212" y="495675"/>
                  <a:pt x="1471650" y="498185"/>
                </a:cubicBezTo>
                <a:cubicBezTo>
                  <a:pt x="1467148" y="500054"/>
                  <a:pt x="1463242" y="502632"/>
                  <a:pt x="1459135" y="505127"/>
                </a:cubicBezTo>
                <a:cubicBezTo>
                  <a:pt x="1456968" y="506120"/>
                  <a:pt x="1454786" y="507086"/>
                  <a:pt x="1452594" y="508033"/>
                </a:cubicBezTo>
                <a:cubicBezTo>
                  <a:pt x="1444148" y="511772"/>
                  <a:pt x="1435969" y="515903"/>
                  <a:pt x="1427795" y="520100"/>
                </a:cubicBezTo>
                <a:cubicBezTo>
                  <a:pt x="1425784" y="521114"/>
                  <a:pt x="1425784" y="521114"/>
                  <a:pt x="1423733" y="522148"/>
                </a:cubicBezTo>
                <a:cubicBezTo>
                  <a:pt x="1422478" y="522798"/>
                  <a:pt x="1421223" y="523449"/>
                  <a:pt x="1419929" y="524118"/>
                </a:cubicBezTo>
                <a:cubicBezTo>
                  <a:pt x="1418794" y="524701"/>
                  <a:pt x="1417658" y="525283"/>
                  <a:pt x="1416487" y="525883"/>
                </a:cubicBezTo>
                <a:cubicBezTo>
                  <a:pt x="1413349" y="527646"/>
                  <a:pt x="1413349" y="527646"/>
                  <a:pt x="1412271" y="531902"/>
                </a:cubicBezTo>
                <a:cubicBezTo>
                  <a:pt x="1407205" y="535203"/>
                  <a:pt x="1402819" y="536744"/>
                  <a:pt x="1396650" y="537539"/>
                </a:cubicBezTo>
                <a:cubicBezTo>
                  <a:pt x="1396650" y="538469"/>
                  <a:pt x="1396650" y="539399"/>
                  <a:pt x="1396650" y="540357"/>
                </a:cubicBezTo>
                <a:cubicBezTo>
                  <a:pt x="1395609" y="540735"/>
                  <a:pt x="1394568" y="541113"/>
                  <a:pt x="1393495" y="541502"/>
                </a:cubicBezTo>
                <a:cubicBezTo>
                  <a:pt x="1381840" y="545973"/>
                  <a:pt x="1372279" y="551715"/>
                  <a:pt x="1362284" y="558678"/>
                </a:cubicBezTo>
                <a:cubicBezTo>
                  <a:pt x="1360170" y="560088"/>
                  <a:pt x="1358055" y="561497"/>
                  <a:pt x="1355937" y="562905"/>
                </a:cubicBezTo>
                <a:cubicBezTo>
                  <a:pt x="1348556" y="567937"/>
                  <a:pt x="1341292" y="573085"/>
                  <a:pt x="1334165" y="578406"/>
                </a:cubicBezTo>
                <a:cubicBezTo>
                  <a:pt x="1332697" y="579472"/>
                  <a:pt x="1332697" y="579472"/>
                  <a:pt x="1331200" y="580559"/>
                </a:cubicBezTo>
                <a:cubicBezTo>
                  <a:pt x="1325067" y="585430"/>
                  <a:pt x="1323406" y="589771"/>
                  <a:pt x="1322175" y="596793"/>
                </a:cubicBezTo>
                <a:cubicBezTo>
                  <a:pt x="1321669" y="599545"/>
                  <a:pt x="1321669" y="599545"/>
                  <a:pt x="1320106" y="602363"/>
                </a:cubicBezTo>
                <a:cubicBezTo>
                  <a:pt x="1318419" y="618189"/>
                  <a:pt x="1322416" y="632767"/>
                  <a:pt x="1328015" y="647640"/>
                </a:cubicBezTo>
                <a:cubicBezTo>
                  <a:pt x="1331267" y="656625"/>
                  <a:pt x="1333170" y="666179"/>
                  <a:pt x="1332604" y="675643"/>
                </a:cubicBezTo>
                <a:cubicBezTo>
                  <a:pt x="1333634" y="675643"/>
                  <a:pt x="1334665" y="675643"/>
                  <a:pt x="1335727" y="675643"/>
                </a:cubicBezTo>
                <a:cubicBezTo>
                  <a:pt x="1337571" y="680632"/>
                  <a:pt x="1337591" y="684795"/>
                  <a:pt x="1337741" y="690059"/>
                </a:cubicBezTo>
                <a:cubicBezTo>
                  <a:pt x="1337826" y="692114"/>
                  <a:pt x="1337913" y="694168"/>
                  <a:pt x="1338003" y="696222"/>
                </a:cubicBezTo>
                <a:cubicBezTo>
                  <a:pt x="1338142" y="699444"/>
                  <a:pt x="1338266" y="702664"/>
                  <a:pt x="1338340" y="705887"/>
                </a:cubicBezTo>
                <a:cubicBezTo>
                  <a:pt x="1338372" y="720474"/>
                  <a:pt x="1338372" y="720474"/>
                  <a:pt x="1345277" y="733245"/>
                </a:cubicBezTo>
                <a:cubicBezTo>
                  <a:pt x="1350822" y="737861"/>
                  <a:pt x="1355921" y="739823"/>
                  <a:pt x="1363162" y="741612"/>
                </a:cubicBezTo>
                <a:cubicBezTo>
                  <a:pt x="1370672" y="743533"/>
                  <a:pt x="1377197" y="745750"/>
                  <a:pt x="1384154" y="748922"/>
                </a:cubicBezTo>
                <a:cubicBezTo>
                  <a:pt x="1387833" y="749898"/>
                  <a:pt x="1387833" y="749898"/>
                  <a:pt x="1391476" y="750419"/>
                </a:cubicBezTo>
                <a:cubicBezTo>
                  <a:pt x="1393499" y="750747"/>
                  <a:pt x="1393499" y="750747"/>
                  <a:pt x="1395564" y="751080"/>
                </a:cubicBezTo>
                <a:cubicBezTo>
                  <a:pt x="1397648" y="751407"/>
                  <a:pt x="1397648" y="751407"/>
                  <a:pt x="1399775" y="751740"/>
                </a:cubicBezTo>
                <a:cubicBezTo>
                  <a:pt x="1401810" y="752111"/>
                  <a:pt x="1401810" y="752111"/>
                  <a:pt x="1403887" y="752489"/>
                </a:cubicBezTo>
                <a:cubicBezTo>
                  <a:pt x="1424247" y="756131"/>
                  <a:pt x="1444708" y="756350"/>
                  <a:pt x="1465383" y="755969"/>
                </a:cubicBezTo>
                <a:cubicBezTo>
                  <a:pt x="1467019" y="755945"/>
                  <a:pt x="1468654" y="755921"/>
                  <a:pt x="1470339" y="755897"/>
                </a:cubicBezTo>
                <a:cubicBezTo>
                  <a:pt x="1480128" y="755450"/>
                  <a:pt x="1487899" y="752933"/>
                  <a:pt x="1496809" y="749313"/>
                </a:cubicBezTo>
                <a:cubicBezTo>
                  <a:pt x="1502876" y="746888"/>
                  <a:pt x="1509049" y="745091"/>
                  <a:pt x="1515371" y="743285"/>
                </a:cubicBezTo>
                <a:cubicBezTo>
                  <a:pt x="1515371" y="742356"/>
                  <a:pt x="1515371" y="741425"/>
                  <a:pt x="1515371" y="740467"/>
                </a:cubicBezTo>
                <a:cubicBezTo>
                  <a:pt x="1522710" y="737103"/>
                  <a:pt x="1529583" y="737106"/>
                  <a:pt x="1537632" y="737120"/>
                </a:cubicBezTo>
                <a:cubicBezTo>
                  <a:pt x="1538960" y="737122"/>
                  <a:pt x="1540289" y="737124"/>
                  <a:pt x="1541657" y="737127"/>
                </a:cubicBezTo>
                <a:cubicBezTo>
                  <a:pt x="1555502" y="737372"/>
                  <a:pt x="1564314" y="740697"/>
                  <a:pt x="1574732" y="748922"/>
                </a:cubicBezTo>
                <a:cubicBezTo>
                  <a:pt x="1586507" y="762822"/>
                  <a:pt x="1590347" y="775219"/>
                  <a:pt x="1588791" y="792608"/>
                </a:cubicBezTo>
                <a:cubicBezTo>
                  <a:pt x="1587728" y="797050"/>
                  <a:pt x="1586468" y="801261"/>
                  <a:pt x="1584105" y="805291"/>
                </a:cubicBezTo>
                <a:cubicBezTo>
                  <a:pt x="1583074" y="805756"/>
                  <a:pt x="1582043" y="806221"/>
                  <a:pt x="1580981" y="806700"/>
                </a:cubicBezTo>
                <a:cubicBezTo>
                  <a:pt x="1580240" y="807892"/>
                  <a:pt x="1579499" y="809083"/>
                  <a:pt x="1578735" y="810311"/>
                </a:cubicBezTo>
                <a:cubicBezTo>
                  <a:pt x="1577930" y="811445"/>
                  <a:pt x="1577124" y="812579"/>
                  <a:pt x="1576295" y="813746"/>
                </a:cubicBezTo>
                <a:lnTo>
                  <a:pt x="1571652" y="813746"/>
                </a:lnTo>
                <a:lnTo>
                  <a:pt x="1571785" y="814106"/>
                </a:lnTo>
                <a:cubicBezTo>
                  <a:pt x="1572816" y="814571"/>
                  <a:pt x="1573846" y="815036"/>
                  <a:pt x="1574909" y="815515"/>
                </a:cubicBezTo>
                <a:cubicBezTo>
                  <a:pt x="1572126" y="818758"/>
                  <a:pt x="1569968" y="820871"/>
                  <a:pt x="1565463" y="821839"/>
                </a:cubicBezTo>
                <a:lnTo>
                  <a:pt x="1562085" y="822101"/>
                </a:lnTo>
                <a:lnTo>
                  <a:pt x="1551301" y="825020"/>
                </a:lnTo>
                <a:cubicBezTo>
                  <a:pt x="1551301" y="825950"/>
                  <a:pt x="1551301" y="826880"/>
                  <a:pt x="1551301" y="827838"/>
                </a:cubicBezTo>
                <a:cubicBezTo>
                  <a:pt x="1526697" y="828735"/>
                  <a:pt x="1507496" y="825036"/>
                  <a:pt x="1485380" y="815007"/>
                </a:cubicBezTo>
                <a:cubicBezTo>
                  <a:pt x="1468723" y="807743"/>
                  <a:pt x="1449749" y="809144"/>
                  <a:pt x="1431603" y="808726"/>
                </a:cubicBezTo>
                <a:cubicBezTo>
                  <a:pt x="1429115" y="808665"/>
                  <a:pt x="1426627" y="808604"/>
                  <a:pt x="1424140" y="808542"/>
                </a:cubicBezTo>
                <a:cubicBezTo>
                  <a:pt x="1418101" y="808392"/>
                  <a:pt x="1412062" y="808249"/>
                  <a:pt x="1406023" y="808109"/>
                </a:cubicBezTo>
                <a:cubicBezTo>
                  <a:pt x="1406023" y="809040"/>
                  <a:pt x="1406023" y="809970"/>
                  <a:pt x="1406023" y="810928"/>
                </a:cubicBezTo>
                <a:cubicBezTo>
                  <a:pt x="1404716" y="811118"/>
                  <a:pt x="1404716" y="811118"/>
                  <a:pt x="1403383" y="811311"/>
                </a:cubicBezTo>
                <a:cubicBezTo>
                  <a:pt x="1372054" y="815110"/>
                  <a:pt x="1372054" y="815110"/>
                  <a:pt x="1345442" y="828907"/>
                </a:cubicBezTo>
                <a:cubicBezTo>
                  <a:pt x="1338843" y="837605"/>
                  <a:pt x="1338313" y="846434"/>
                  <a:pt x="1337875" y="856639"/>
                </a:cubicBezTo>
                <a:cubicBezTo>
                  <a:pt x="1337815" y="857805"/>
                  <a:pt x="1337754" y="858970"/>
                  <a:pt x="1337692" y="860171"/>
                </a:cubicBezTo>
                <a:cubicBezTo>
                  <a:pt x="1337547" y="863016"/>
                  <a:pt x="1337417" y="865861"/>
                  <a:pt x="1337290" y="868706"/>
                </a:cubicBezTo>
                <a:cubicBezTo>
                  <a:pt x="1336258" y="868706"/>
                  <a:pt x="1335228" y="868706"/>
                  <a:pt x="1334165" y="868706"/>
                </a:cubicBezTo>
                <a:lnTo>
                  <a:pt x="1334165" y="870034"/>
                </a:lnTo>
                <a:lnTo>
                  <a:pt x="1334237" y="869093"/>
                </a:lnTo>
                <a:cubicBezTo>
                  <a:pt x="1334753" y="869093"/>
                  <a:pt x="1335268" y="869093"/>
                  <a:pt x="1335800" y="869093"/>
                </a:cubicBezTo>
                <a:cubicBezTo>
                  <a:pt x="1335884" y="871559"/>
                  <a:pt x="1335944" y="874025"/>
                  <a:pt x="1335995" y="876491"/>
                </a:cubicBezTo>
                <a:cubicBezTo>
                  <a:pt x="1336030" y="877865"/>
                  <a:pt x="1336067" y="879238"/>
                  <a:pt x="1336105" y="880653"/>
                </a:cubicBezTo>
                <a:cubicBezTo>
                  <a:pt x="1335800" y="884594"/>
                  <a:pt x="1335800" y="884594"/>
                  <a:pt x="1334294" y="887271"/>
                </a:cubicBezTo>
                <a:cubicBezTo>
                  <a:pt x="1332567" y="890428"/>
                  <a:pt x="1331982" y="892964"/>
                  <a:pt x="1331455" y="896440"/>
                </a:cubicBezTo>
                <a:cubicBezTo>
                  <a:pt x="1331267" y="897605"/>
                  <a:pt x="1331080" y="898769"/>
                  <a:pt x="1330887" y="899969"/>
                </a:cubicBezTo>
                <a:cubicBezTo>
                  <a:pt x="1330704" y="901174"/>
                  <a:pt x="1330521" y="902378"/>
                  <a:pt x="1330332" y="903618"/>
                </a:cubicBezTo>
                <a:cubicBezTo>
                  <a:pt x="1329968" y="906013"/>
                  <a:pt x="1329594" y="908405"/>
                  <a:pt x="1329209" y="910797"/>
                </a:cubicBezTo>
                <a:cubicBezTo>
                  <a:pt x="1329049" y="911853"/>
                  <a:pt x="1328889" y="912910"/>
                  <a:pt x="1328724" y="913998"/>
                </a:cubicBezTo>
                <a:cubicBezTo>
                  <a:pt x="1327933" y="917233"/>
                  <a:pt x="1326525" y="919703"/>
                  <a:pt x="1324865" y="922643"/>
                </a:cubicBezTo>
                <a:cubicBezTo>
                  <a:pt x="1323924" y="927743"/>
                  <a:pt x="1323282" y="932845"/>
                  <a:pt x="1322619" y="937979"/>
                </a:cubicBezTo>
                <a:lnTo>
                  <a:pt x="1318744" y="944961"/>
                </a:lnTo>
                <a:lnTo>
                  <a:pt x="1318544" y="946213"/>
                </a:lnTo>
                <a:cubicBezTo>
                  <a:pt x="1318360" y="949234"/>
                  <a:pt x="1318271" y="952260"/>
                  <a:pt x="1318251" y="955285"/>
                </a:cubicBezTo>
                <a:cubicBezTo>
                  <a:pt x="1318218" y="957637"/>
                  <a:pt x="1318218" y="957637"/>
                  <a:pt x="1318184" y="960036"/>
                </a:cubicBezTo>
                <a:cubicBezTo>
                  <a:pt x="1318624" y="965530"/>
                  <a:pt x="1319569" y="969724"/>
                  <a:pt x="1324024" y="973660"/>
                </a:cubicBezTo>
                <a:cubicBezTo>
                  <a:pt x="1327197" y="976583"/>
                  <a:pt x="1327950" y="979494"/>
                  <a:pt x="1329284" y="983382"/>
                </a:cubicBezTo>
                <a:cubicBezTo>
                  <a:pt x="1331875" y="990106"/>
                  <a:pt x="1334445" y="993582"/>
                  <a:pt x="1340414" y="998354"/>
                </a:cubicBezTo>
                <a:cubicBezTo>
                  <a:pt x="1342397" y="1000564"/>
                  <a:pt x="1344347" y="1002798"/>
                  <a:pt x="1346272" y="1005048"/>
                </a:cubicBezTo>
                <a:cubicBezTo>
                  <a:pt x="1360055" y="1020713"/>
                  <a:pt x="1376247" y="1031879"/>
                  <a:pt x="1394716" y="1042740"/>
                </a:cubicBezTo>
                <a:cubicBezTo>
                  <a:pt x="1397172" y="1044228"/>
                  <a:pt x="1399581" y="1045779"/>
                  <a:pt x="1401953" y="1047374"/>
                </a:cubicBezTo>
                <a:cubicBezTo>
                  <a:pt x="1410065" y="1052802"/>
                  <a:pt x="1417529" y="1056366"/>
                  <a:pt x="1427197" y="1059061"/>
                </a:cubicBezTo>
                <a:cubicBezTo>
                  <a:pt x="1431243" y="1060437"/>
                  <a:pt x="1434061" y="1061979"/>
                  <a:pt x="1437265" y="1064588"/>
                </a:cubicBezTo>
                <a:cubicBezTo>
                  <a:pt x="1437265" y="1065518"/>
                  <a:pt x="1437265" y="1066448"/>
                  <a:pt x="1437265" y="1067406"/>
                </a:cubicBezTo>
                <a:cubicBezTo>
                  <a:pt x="1439053" y="1067624"/>
                  <a:pt x="1439053" y="1067624"/>
                  <a:pt x="1440878" y="1067847"/>
                </a:cubicBezTo>
                <a:cubicBezTo>
                  <a:pt x="1445076" y="1068815"/>
                  <a:pt x="1445076" y="1068815"/>
                  <a:pt x="1447175" y="1070753"/>
                </a:cubicBezTo>
                <a:cubicBezTo>
                  <a:pt x="1450417" y="1073622"/>
                  <a:pt x="1453781" y="1075060"/>
                  <a:pt x="1457866" y="1076830"/>
                </a:cubicBezTo>
                <a:cubicBezTo>
                  <a:pt x="1459274" y="1077446"/>
                  <a:pt x="1460681" y="1078062"/>
                  <a:pt x="1462132" y="1078696"/>
                </a:cubicBezTo>
                <a:cubicBezTo>
                  <a:pt x="1463204" y="1079156"/>
                  <a:pt x="1464278" y="1079616"/>
                  <a:pt x="1465383" y="1080089"/>
                </a:cubicBezTo>
                <a:cubicBezTo>
                  <a:pt x="1465383" y="1081019"/>
                  <a:pt x="1465383" y="1081949"/>
                  <a:pt x="1465383" y="1082908"/>
                </a:cubicBezTo>
                <a:cubicBezTo>
                  <a:pt x="1466497" y="1083260"/>
                  <a:pt x="1467611" y="1083612"/>
                  <a:pt x="1468758" y="1083975"/>
                </a:cubicBezTo>
                <a:cubicBezTo>
                  <a:pt x="1473648" y="1085905"/>
                  <a:pt x="1477426" y="1088296"/>
                  <a:pt x="1481688" y="1091187"/>
                </a:cubicBezTo>
                <a:cubicBezTo>
                  <a:pt x="1483204" y="1092193"/>
                  <a:pt x="1484721" y="1093200"/>
                  <a:pt x="1486283" y="1094236"/>
                </a:cubicBezTo>
                <a:cubicBezTo>
                  <a:pt x="1489170" y="1096185"/>
                  <a:pt x="1492029" y="1098166"/>
                  <a:pt x="1494869" y="1100171"/>
                </a:cubicBezTo>
                <a:cubicBezTo>
                  <a:pt x="1510181" y="1107906"/>
                  <a:pt x="1527080" y="1109898"/>
                  <a:pt x="1544335" y="1109518"/>
                </a:cubicBezTo>
                <a:cubicBezTo>
                  <a:pt x="1579932" y="1108798"/>
                  <a:pt x="1579932" y="1108798"/>
                  <a:pt x="1593477" y="1119900"/>
                </a:cubicBezTo>
                <a:cubicBezTo>
                  <a:pt x="1600636" y="1127255"/>
                  <a:pt x="1604889" y="1135120"/>
                  <a:pt x="1605975" y="1144913"/>
                </a:cubicBezTo>
                <a:cubicBezTo>
                  <a:pt x="1607006" y="1144913"/>
                  <a:pt x="1608036" y="1144913"/>
                  <a:pt x="1609099" y="1144913"/>
                </a:cubicBezTo>
                <a:cubicBezTo>
                  <a:pt x="1609227" y="1148907"/>
                  <a:pt x="1609319" y="1152897"/>
                  <a:pt x="1609392" y="1156892"/>
                </a:cubicBezTo>
                <a:cubicBezTo>
                  <a:pt x="1609451" y="1158565"/>
                  <a:pt x="1609451" y="1158565"/>
                  <a:pt x="1609511" y="1160272"/>
                </a:cubicBezTo>
                <a:cubicBezTo>
                  <a:pt x="1609621" y="1168378"/>
                  <a:pt x="1607970" y="1174108"/>
                  <a:pt x="1604412" y="1181553"/>
                </a:cubicBezTo>
                <a:cubicBezTo>
                  <a:pt x="1603354" y="1184367"/>
                  <a:pt x="1602306" y="1187183"/>
                  <a:pt x="1601288" y="1190009"/>
                </a:cubicBezTo>
                <a:cubicBezTo>
                  <a:pt x="1600257" y="1190009"/>
                  <a:pt x="1599226" y="1190009"/>
                  <a:pt x="1598164" y="1190009"/>
                </a:cubicBezTo>
                <a:cubicBezTo>
                  <a:pt x="1597842" y="1190910"/>
                  <a:pt x="1597520" y="1191810"/>
                  <a:pt x="1597187" y="1192739"/>
                </a:cubicBezTo>
                <a:cubicBezTo>
                  <a:pt x="1596479" y="1193698"/>
                  <a:pt x="1595770" y="1194657"/>
                  <a:pt x="1595040" y="1195645"/>
                </a:cubicBezTo>
                <a:cubicBezTo>
                  <a:pt x="1591916" y="1196115"/>
                  <a:pt x="1588791" y="1196585"/>
                  <a:pt x="1585667" y="1197055"/>
                </a:cubicBezTo>
                <a:cubicBezTo>
                  <a:pt x="1583871" y="1199826"/>
                  <a:pt x="1583871" y="1199826"/>
                  <a:pt x="1582543" y="1202691"/>
                </a:cubicBezTo>
                <a:cubicBezTo>
                  <a:pt x="1575997" y="1204710"/>
                  <a:pt x="1569266" y="1204360"/>
                  <a:pt x="1562431" y="1204365"/>
                </a:cubicBezTo>
                <a:cubicBezTo>
                  <a:pt x="1561196" y="1204382"/>
                  <a:pt x="1559962" y="1204399"/>
                  <a:pt x="1558690" y="1204417"/>
                </a:cubicBezTo>
                <a:cubicBezTo>
                  <a:pt x="1543339" y="1204452"/>
                  <a:pt x="1531981" y="1199267"/>
                  <a:pt x="1521102" y="1189585"/>
                </a:cubicBezTo>
                <a:cubicBezTo>
                  <a:pt x="1515403" y="1183953"/>
                  <a:pt x="1510116" y="1178123"/>
                  <a:pt x="1505022" y="1172041"/>
                </a:cubicBezTo>
                <a:cubicBezTo>
                  <a:pt x="1493200" y="1158177"/>
                  <a:pt x="1475492" y="1147115"/>
                  <a:pt x="1457573" y="1140686"/>
                </a:cubicBezTo>
                <a:cubicBezTo>
                  <a:pt x="1457573" y="1139755"/>
                  <a:pt x="1457573" y="1138826"/>
                  <a:pt x="1457573" y="1137867"/>
                </a:cubicBezTo>
                <a:cubicBezTo>
                  <a:pt x="1456059" y="1137693"/>
                  <a:pt x="1454544" y="1137518"/>
                  <a:pt x="1452985" y="1137339"/>
                </a:cubicBezTo>
                <a:cubicBezTo>
                  <a:pt x="1451406" y="1137048"/>
                  <a:pt x="1449827" y="1136758"/>
                  <a:pt x="1448200" y="1136458"/>
                </a:cubicBezTo>
                <a:cubicBezTo>
                  <a:pt x="1447685" y="1135528"/>
                  <a:pt x="1447169" y="1134598"/>
                  <a:pt x="1446638" y="1133640"/>
                </a:cubicBezTo>
                <a:cubicBezTo>
                  <a:pt x="1444091" y="1132586"/>
                  <a:pt x="1441535" y="1131550"/>
                  <a:pt x="1438937" y="1130601"/>
                </a:cubicBezTo>
                <a:cubicBezTo>
                  <a:pt x="1435668" y="1129399"/>
                  <a:pt x="1432469" y="1128095"/>
                  <a:pt x="1429260" y="1126770"/>
                </a:cubicBezTo>
                <a:cubicBezTo>
                  <a:pt x="1423389" y="1124389"/>
                  <a:pt x="1417431" y="1122349"/>
                  <a:pt x="1411393" y="1120340"/>
                </a:cubicBezTo>
                <a:cubicBezTo>
                  <a:pt x="1404143" y="1117867"/>
                  <a:pt x="1397842" y="1115090"/>
                  <a:pt x="1391427" y="1111191"/>
                </a:cubicBezTo>
                <a:cubicBezTo>
                  <a:pt x="1388139" y="1109274"/>
                  <a:pt x="1384723" y="1108010"/>
                  <a:pt x="1381029" y="1106865"/>
                </a:cubicBezTo>
                <a:cubicBezTo>
                  <a:pt x="1381029" y="1105934"/>
                  <a:pt x="1381029" y="1105004"/>
                  <a:pt x="1381029" y="1104046"/>
                </a:cubicBezTo>
                <a:cubicBezTo>
                  <a:pt x="1379773" y="1103901"/>
                  <a:pt x="1378516" y="1103755"/>
                  <a:pt x="1377221" y="1103605"/>
                </a:cubicBezTo>
                <a:cubicBezTo>
                  <a:pt x="1370425" y="1102422"/>
                  <a:pt x="1364120" y="1100465"/>
                  <a:pt x="1357597" y="1098409"/>
                </a:cubicBezTo>
                <a:cubicBezTo>
                  <a:pt x="1355761" y="1097857"/>
                  <a:pt x="1353924" y="1097304"/>
                  <a:pt x="1352032" y="1096736"/>
                </a:cubicBezTo>
                <a:cubicBezTo>
                  <a:pt x="1350776" y="1096358"/>
                  <a:pt x="1349519" y="1095980"/>
                  <a:pt x="1348225" y="1095590"/>
                </a:cubicBezTo>
                <a:cubicBezTo>
                  <a:pt x="1348225" y="1094661"/>
                  <a:pt x="1348225" y="1093730"/>
                  <a:pt x="1348225" y="1092772"/>
                </a:cubicBezTo>
                <a:cubicBezTo>
                  <a:pt x="1344616" y="1092307"/>
                  <a:pt x="1341007" y="1091842"/>
                  <a:pt x="1337290" y="1091363"/>
                </a:cubicBezTo>
                <a:cubicBezTo>
                  <a:pt x="1337290" y="1090433"/>
                  <a:pt x="1337290" y="1089503"/>
                  <a:pt x="1337290" y="1088544"/>
                </a:cubicBezTo>
                <a:cubicBezTo>
                  <a:pt x="1334438" y="1088327"/>
                  <a:pt x="1334438" y="1088327"/>
                  <a:pt x="1331529" y="1088104"/>
                </a:cubicBezTo>
                <a:lnTo>
                  <a:pt x="1323297" y="1086611"/>
                </a:lnTo>
                <a:lnTo>
                  <a:pt x="1323297" y="1087618"/>
                </a:lnTo>
                <a:cubicBezTo>
                  <a:pt x="1322139" y="1087517"/>
                  <a:pt x="1320982" y="1087415"/>
                  <a:pt x="1319789" y="1087310"/>
                </a:cubicBezTo>
                <a:cubicBezTo>
                  <a:pt x="1300429" y="1085771"/>
                  <a:pt x="1281330" y="1084680"/>
                  <a:pt x="1262375" y="1089028"/>
                </a:cubicBezTo>
                <a:lnTo>
                  <a:pt x="1258728" y="1088205"/>
                </a:lnTo>
                <a:lnTo>
                  <a:pt x="1246964" y="1091489"/>
                </a:lnTo>
                <a:cubicBezTo>
                  <a:pt x="1237239" y="1097222"/>
                  <a:pt x="1228703" y="1103434"/>
                  <a:pt x="1223224" y="1112865"/>
                </a:cubicBezTo>
                <a:cubicBezTo>
                  <a:pt x="1220867" y="1116643"/>
                  <a:pt x="1217262" y="1119317"/>
                  <a:pt x="1213883" y="1122366"/>
                </a:cubicBezTo>
                <a:cubicBezTo>
                  <a:pt x="1213428" y="1123469"/>
                  <a:pt x="1212973" y="1124572"/>
                  <a:pt x="1212505" y="1125708"/>
                </a:cubicBezTo>
                <a:cubicBezTo>
                  <a:pt x="1210449" y="1130067"/>
                  <a:pt x="1207984" y="1132315"/>
                  <a:pt x="1204180" y="1135561"/>
                </a:cubicBezTo>
                <a:cubicBezTo>
                  <a:pt x="1202879" y="1136695"/>
                  <a:pt x="1201578" y="1137829"/>
                  <a:pt x="1200238" y="1138999"/>
                </a:cubicBezTo>
                <a:cubicBezTo>
                  <a:pt x="1197504" y="1141343"/>
                  <a:pt x="1194765" y="1143684"/>
                  <a:pt x="1192025" y="1146022"/>
                </a:cubicBezTo>
                <a:cubicBezTo>
                  <a:pt x="1181899" y="1154869"/>
                  <a:pt x="1174983" y="1161763"/>
                  <a:pt x="1173945" y="1174749"/>
                </a:cubicBezTo>
                <a:cubicBezTo>
                  <a:pt x="1173902" y="1177369"/>
                  <a:pt x="1173905" y="1179990"/>
                  <a:pt x="1173950" y="1182610"/>
                </a:cubicBezTo>
                <a:cubicBezTo>
                  <a:pt x="1173963" y="1183981"/>
                  <a:pt x="1173975" y="1185352"/>
                  <a:pt x="1173989" y="1186765"/>
                </a:cubicBezTo>
                <a:cubicBezTo>
                  <a:pt x="1174321" y="1197573"/>
                  <a:pt x="1176809" y="1205883"/>
                  <a:pt x="1182640" y="1215374"/>
                </a:cubicBezTo>
                <a:cubicBezTo>
                  <a:pt x="1183703" y="1217509"/>
                  <a:pt x="1184746" y="1219652"/>
                  <a:pt x="1185764" y="1221804"/>
                </a:cubicBezTo>
                <a:cubicBezTo>
                  <a:pt x="1186271" y="1222812"/>
                  <a:pt x="1186779" y="1223821"/>
                  <a:pt x="1187301" y="1224859"/>
                </a:cubicBezTo>
                <a:cubicBezTo>
                  <a:pt x="1188431" y="1227137"/>
                  <a:pt x="1189517" y="1229433"/>
                  <a:pt x="1190573" y="1231740"/>
                </a:cubicBezTo>
                <a:cubicBezTo>
                  <a:pt x="1194650" y="1240409"/>
                  <a:pt x="1199581" y="1247688"/>
                  <a:pt x="1205925" y="1255163"/>
                </a:cubicBezTo>
                <a:cubicBezTo>
                  <a:pt x="1208103" y="1257757"/>
                  <a:pt x="1210188" y="1260417"/>
                  <a:pt x="1212174" y="1263134"/>
                </a:cubicBezTo>
                <a:cubicBezTo>
                  <a:pt x="1218757" y="1272043"/>
                  <a:pt x="1225157" y="1277324"/>
                  <a:pt x="1235556" y="1282538"/>
                </a:cubicBezTo>
                <a:cubicBezTo>
                  <a:pt x="1236652" y="1283161"/>
                  <a:pt x="1237747" y="1283784"/>
                  <a:pt x="1238876" y="1284426"/>
                </a:cubicBezTo>
                <a:cubicBezTo>
                  <a:pt x="1238876" y="1285356"/>
                  <a:pt x="1238876" y="1286287"/>
                  <a:pt x="1238876" y="1287245"/>
                </a:cubicBezTo>
                <a:cubicBezTo>
                  <a:pt x="1239988" y="1287383"/>
                  <a:pt x="1241099" y="1287521"/>
                  <a:pt x="1242245" y="1287663"/>
                </a:cubicBezTo>
                <a:cubicBezTo>
                  <a:pt x="1253043" y="1290072"/>
                  <a:pt x="1264916" y="1297690"/>
                  <a:pt x="1271681" y="1305565"/>
                </a:cubicBezTo>
                <a:lnTo>
                  <a:pt x="1271742" y="1306172"/>
                </a:lnTo>
                <a:lnTo>
                  <a:pt x="1278525" y="1315767"/>
                </a:lnTo>
                <a:cubicBezTo>
                  <a:pt x="1279797" y="1319398"/>
                  <a:pt x="1280365" y="1323346"/>
                  <a:pt x="1281097" y="1327286"/>
                </a:cubicBezTo>
                <a:cubicBezTo>
                  <a:pt x="1281916" y="1337121"/>
                  <a:pt x="1281807" y="1346176"/>
                  <a:pt x="1277973" y="1355470"/>
                </a:cubicBezTo>
                <a:lnTo>
                  <a:pt x="1277460" y="1347025"/>
                </a:lnTo>
                <a:lnTo>
                  <a:pt x="1273531" y="1357991"/>
                </a:lnTo>
                <a:cubicBezTo>
                  <a:pt x="1270940" y="1361892"/>
                  <a:pt x="1267521" y="1365435"/>
                  <a:pt x="1263870" y="1368980"/>
                </a:cubicBezTo>
                <a:cubicBezTo>
                  <a:pt x="1258351" y="1372929"/>
                  <a:pt x="1253850" y="1376026"/>
                  <a:pt x="1246686" y="1376026"/>
                </a:cubicBezTo>
                <a:cubicBezTo>
                  <a:pt x="1246686" y="1376956"/>
                  <a:pt x="1246686" y="1377886"/>
                  <a:pt x="1246686" y="1378844"/>
                </a:cubicBezTo>
                <a:cubicBezTo>
                  <a:pt x="1241676" y="1379009"/>
                  <a:pt x="1236665" y="1379109"/>
                  <a:pt x="1231651" y="1379196"/>
                </a:cubicBezTo>
                <a:cubicBezTo>
                  <a:pt x="1230240" y="1379244"/>
                  <a:pt x="1228828" y="1379291"/>
                  <a:pt x="1227373" y="1379340"/>
                </a:cubicBezTo>
                <a:cubicBezTo>
                  <a:pt x="1218287" y="1379460"/>
                  <a:pt x="1213363" y="1378568"/>
                  <a:pt x="1206071" y="1373207"/>
                </a:cubicBezTo>
                <a:cubicBezTo>
                  <a:pt x="1204751" y="1372742"/>
                  <a:pt x="1203430" y="1372277"/>
                  <a:pt x="1202069" y="1371798"/>
                </a:cubicBezTo>
                <a:cubicBezTo>
                  <a:pt x="1193777" y="1368730"/>
                  <a:pt x="1188124" y="1363294"/>
                  <a:pt x="1184104" y="1356176"/>
                </a:cubicBezTo>
                <a:cubicBezTo>
                  <a:pt x="1180965" y="1349259"/>
                  <a:pt x="1178852" y="1342590"/>
                  <a:pt x="1177270" y="1335247"/>
                </a:cubicBezTo>
                <a:cubicBezTo>
                  <a:pt x="1175525" y="1327352"/>
                  <a:pt x="1172911" y="1320677"/>
                  <a:pt x="1169002" y="1313464"/>
                </a:cubicBezTo>
                <a:cubicBezTo>
                  <a:pt x="1166989" y="1309737"/>
                  <a:pt x="1165215" y="1305976"/>
                  <a:pt x="1163504" y="1302130"/>
                </a:cubicBezTo>
                <a:cubicBezTo>
                  <a:pt x="1163013" y="1301027"/>
                  <a:pt x="1162521" y="1299924"/>
                  <a:pt x="1162015" y="1298788"/>
                </a:cubicBezTo>
                <a:cubicBezTo>
                  <a:pt x="1160770" y="1295700"/>
                  <a:pt x="1160770" y="1295700"/>
                  <a:pt x="1160111" y="1292656"/>
                </a:cubicBezTo>
                <a:cubicBezTo>
                  <a:pt x="1159345" y="1289507"/>
                  <a:pt x="1159345" y="1289507"/>
                  <a:pt x="1154522" y="1287245"/>
                </a:cubicBezTo>
                <a:cubicBezTo>
                  <a:pt x="1153465" y="1284902"/>
                  <a:pt x="1152426" y="1282552"/>
                  <a:pt x="1151398" y="1280199"/>
                </a:cubicBezTo>
                <a:cubicBezTo>
                  <a:pt x="1149056" y="1276983"/>
                  <a:pt x="1146686" y="1273874"/>
                  <a:pt x="1144173" y="1270774"/>
                </a:cubicBezTo>
                <a:cubicBezTo>
                  <a:pt x="1143477" y="1269912"/>
                  <a:pt x="1142782" y="1269049"/>
                  <a:pt x="1142065" y="1268160"/>
                </a:cubicBezTo>
                <a:cubicBezTo>
                  <a:pt x="1139981" y="1265589"/>
                  <a:pt x="1137880" y="1263029"/>
                  <a:pt x="1135776" y="1260470"/>
                </a:cubicBezTo>
                <a:cubicBezTo>
                  <a:pt x="1134647" y="1259076"/>
                  <a:pt x="1133517" y="1257683"/>
                  <a:pt x="1132353" y="1256247"/>
                </a:cubicBezTo>
                <a:cubicBezTo>
                  <a:pt x="1126291" y="1249045"/>
                  <a:pt x="1121408" y="1244606"/>
                  <a:pt x="1112344" y="1240741"/>
                </a:cubicBezTo>
                <a:cubicBezTo>
                  <a:pt x="1110285" y="1239698"/>
                  <a:pt x="1108234" y="1238642"/>
                  <a:pt x="1106193" y="1237570"/>
                </a:cubicBezTo>
                <a:cubicBezTo>
                  <a:pt x="1104615" y="1236756"/>
                  <a:pt x="1103036" y="1235942"/>
                  <a:pt x="1101409" y="1235104"/>
                </a:cubicBezTo>
                <a:cubicBezTo>
                  <a:pt x="1101409" y="1233708"/>
                  <a:pt x="1101409" y="1232313"/>
                  <a:pt x="1101409" y="1230876"/>
                </a:cubicBezTo>
                <a:cubicBezTo>
                  <a:pt x="1089553" y="1230876"/>
                  <a:pt x="1077697" y="1230876"/>
                  <a:pt x="1065480" y="1230876"/>
                </a:cubicBezTo>
                <a:cubicBezTo>
                  <a:pt x="1064965" y="1232271"/>
                  <a:pt x="1064450" y="1233666"/>
                  <a:pt x="1063919" y="1235104"/>
                </a:cubicBezTo>
                <a:cubicBezTo>
                  <a:pt x="1062372" y="1235104"/>
                  <a:pt x="1060826" y="1235104"/>
                  <a:pt x="1059232" y="1235104"/>
                </a:cubicBezTo>
                <a:cubicBezTo>
                  <a:pt x="1059232" y="1236033"/>
                  <a:pt x="1059232" y="1236964"/>
                  <a:pt x="1059232" y="1237922"/>
                </a:cubicBezTo>
                <a:cubicBezTo>
                  <a:pt x="1052964" y="1240850"/>
                  <a:pt x="1046842" y="1243613"/>
                  <a:pt x="1040194" y="1245761"/>
                </a:cubicBezTo>
                <a:cubicBezTo>
                  <a:pt x="1036552" y="1246941"/>
                  <a:pt x="1033682" y="1248088"/>
                  <a:pt x="1030333" y="1249901"/>
                </a:cubicBezTo>
                <a:cubicBezTo>
                  <a:pt x="1025129" y="1252717"/>
                  <a:pt x="1019615" y="1254371"/>
                  <a:pt x="1013931" y="1256242"/>
                </a:cubicBezTo>
                <a:cubicBezTo>
                  <a:pt x="1009870" y="1257688"/>
                  <a:pt x="1008221" y="1258277"/>
                  <a:pt x="1005925" y="1261615"/>
                </a:cubicBezTo>
                <a:cubicBezTo>
                  <a:pt x="1005474" y="1262632"/>
                  <a:pt x="1005023" y="1263649"/>
                  <a:pt x="1004558" y="1264697"/>
                </a:cubicBezTo>
                <a:cubicBezTo>
                  <a:pt x="1004030" y="1265774"/>
                  <a:pt x="1003503" y="1266852"/>
                  <a:pt x="1002959" y="1267961"/>
                </a:cubicBezTo>
                <a:cubicBezTo>
                  <a:pt x="1001408" y="1271808"/>
                  <a:pt x="1000922" y="1274896"/>
                  <a:pt x="1000653" y="1278965"/>
                </a:cubicBezTo>
                <a:cubicBezTo>
                  <a:pt x="1000303" y="1284158"/>
                  <a:pt x="999467" y="1289055"/>
                  <a:pt x="998297" y="1294137"/>
                </a:cubicBezTo>
                <a:cubicBezTo>
                  <a:pt x="996204" y="1304306"/>
                  <a:pt x="996129" y="1314460"/>
                  <a:pt x="996162" y="1324765"/>
                </a:cubicBezTo>
                <a:cubicBezTo>
                  <a:pt x="996163" y="1325782"/>
                  <a:pt x="996163" y="1326799"/>
                  <a:pt x="996164" y="1327846"/>
                </a:cubicBezTo>
                <a:cubicBezTo>
                  <a:pt x="996263" y="1353742"/>
                  <a:pt x="1001081" y="1378188"/>
                  <a:pt x="1007780" y="1403329"/>
                </a:cubicBezTo>
                <a:cubicBezTo>
                  <a:pt x="1008163" y="1404772"/>
                  <a:pt x="1008546" y="1406215"/>
                  <a:pt x="1008940" y="1407701"/>
                </a:cubicBezTo>
                <a:cubicBezTo>
                  <a:pt x="1009316" y="1409030"/>
                  <a:pt x="1009693" y="1410360"/>
                  <a:pt x="1010080" y="1411730"/>
                </a:cubicBezTo>
                <a:cubicBezTo>
                  <a:pt x="1010409" y="1412900"/>
                  <a:pt x="1010737" y="1414071"/>
                  <a:pt x="1011075" y="1415277"/>
                </a:cubicBezTo>
                <a:cubicBezTo>
                  <a:pt x="1012501" y="1418612"/>
                  <a:pt x="1014136" y="1420168"/>
                  <a:pt x="1017055" y="1422530"/>
                </a:cubicBezTo>
                <a:cubicBezTo>
                  <a:pt x="1018770" y="1425162"/>
                  <a:pt x="1018770" y="1425162"/>
                  <a:pt x="1020277" y="1427991"/>
                </a:cubicBezTo>
                <a:cubicBezTo>
                  <a:pt x="1020778" y="1428917"/>
                  <a:pt x="1021280" y="1429844"/>
                  <a:pt x="1021796" y="1430798"/>
                </a:cubicBezTo>
                <a:cubicBezTo>
                  <a:pt x="1023303" y="1433804"/>
                  <a:pt x="1023303" y="1433804"/>
                  <a:pt x="1024579" y="1437239"/>
                </a:cubicBezTo>
                <a:cubicBezTo>
                  <a:pt x="1026915" y="1441803"/>
                  <a:pt x="1030098" y="1444534"/>
                  <a:pt x="1034043" y="1448072"/>
                </a:cubicBezTo>
                <a:lnTo>
                  <a:pt x="1043782" y="1464320"/>
                </a:lnTo>
                <a:lnTo>
                  <a:pt x="1050458" y="1472189"/>
                </a:lnTo>
                <a:cubicBezTo>
                  <a:pt x="1051737" y="1475181"/>
                  <a:pt x="1052277" y="1478513"/>
                  <a:pt x="1052926" y="1482370"/>
                </a:cubicBezTo>
                <a:cubicBezTo>
                  <a:pt x="1053325" y="1487224"/>
                  <a:pt x="1053364" y="1492038"/>
                  <a:pt x="1053316" y="1496903"/>
                </a:cubicBezTo>
                <a:cubicBezTo>
                  <a:pt x="1053328" y="1498142"/>
                  <a:pt x="1053340" y="1499382"/>
                  <a:pt x="1053352" y="1500660"/>
                </a:cubicBezTo>
                <a:cubicBezTo>
                  <a:pt x="1053348" y="1501856"/>
                  <a:pt x="1053344" y="1503052"/>
                  <a:pt x="1053341" y="1504285"/>
                </a:cubicBezTo>
                <a:cubicBezTo>
                  <a:pt x="1053336" y="1505355"/>
                  <a:pt x="1053333" y="1506426"/>
                  <a:pt x="1053329" y="1507529"/>
                </a:cubicBezTo>
                <a:cubicBezTo>
                  <a:pt x="1052876" y="1510927"/>
                  <a:pt x="1051672" y="1513237"/>
                  <a:pt x="1049801" y="1516192"/>
                </a:cubicBezTo>
                <a:lnTo>
                  <a:pt x="1047312" y="1516192"/>
                </a:lnTo>
                <a:lnTo>
                  <a:pt x="1043611" y="1522585"/>
                </a:lnTo>
                <a:cubicBezTo>
                  <a:pt x="1035301" y="1529631"/>
                  <a:pt x="1035301" y="1529631"/>
                  <a:pt x="1029552" y="1529631"/>
                </a:cubicBezTo>
                <a:cubicBezTo>
                  <a:pt x="1029294" y="1530503"/>
                  <a:pt x="1029036" y="1531375"/>
                  <a:pt x="1028771" y="1532273"/>
                </a:cubicBezTo>
                <a:cubicBezTo>
                  <a:pt x="1025795" y="1536076"/>
                  <a:pt x="1022970" y="1536733"/>
                  <a:pt x="1018013" y="1537640"/>
                </a:cubicBezTo>
                <a:cubicBezTo>
                  <a:pt x="1005216" y="1539038"/>
                  <a:pt x="992573" y="1539816"/>
                  <a:pt x="981126" y="1533859"/>
                </a:cubicBezTo>
                <a:cubicBezTo>
                  <a:pt x="979840" y="1533226"/>
                  <a:pt x="978553" y="1532594"/>
                  <a:pt x="977227" y="1531943"/>
                </a:cubicBezTo>
                <a:cubicBezTo>
                  <a:pt x="965286" y="1525877"/>
                  <a:pt x="959626" y="1520520"/>
                  <a:pt x="955376" y="1508751"/>
                </a:cubicBezTo>
                <a:cubicBezTo>
                  <a:pt x="954571" y="1505674"/>
                  <a:pt x="954571" y="1505674"/>
                  <a:pt x="954571" y="1500037"/>
                </a:cubicBezTo>
                <a:cubicBezTo>
                  <a:pt x="953539" y="1500037"/>
                  <a:pt x="952508" y="1500037"/>
                  <a:pt x="951446" y="1500037"/>
                </a:cubicBezTo>
                <a:cubicBezTo>
                  <a:pt x="951361" y="1495986"/>
                  <a:pt x="951299" y="1491935"/>
                  <a:pt x="951251" y="1487883"/>
                </a:cubicBezTo>
                <a:cubicBezTo>
                  <a:pt x="951224" y="1486744"/>
                  <a:pt x="951198" y="1485605"/>
                  <a:pt x="951171" y="1484431"/>
                </a:cubicBezTo>
                <a:cubicBezTo>
                  <a:pt x="951110" y="1477657"/>
                  <a:pt x="952093" y="1472660"/>
                  <a:pt x="954571" y="1466216"/>
                </a:cubicBezTo>
                <a:cubicBezTo>
                  <a:pt x="954867" y="1462451"/>
                  <a:pt x="955016" y="1458876"/>
                  <a:pt x="954961" y="1455118"/>
                </a:cubicBezTo>
                <a:cubicBezTo>
                  <a:pt x="954951" y="1454080"/>
                  <a:pt x="954942" y="1453042"/>
                  <a:pt x="954932" y="1451972"/>
                </a:cubicBezTo>
                <a:cubicBezTo>
                  <a:pt x="954606" y="1435235"/>
                  <a:pt x="952568" y="1419050"/>
                  <a:pt x="945099" y="1403594"/>
                </a:cubicBezTo>
                <a:cubicBezTo>
                  <a:pt x="943714" y="1400177"/>
                  <a:pt x="943046" y="1397128"/>
                  <a:pt x="942366" y="1393553"/>
                </a:cubicBezTo>
                <a:cubicBezTo>
                  <a:pt x="940837" y="1386134"/>
                  <a:pt x="937840" y="1379609"/>
                  <a:pt x="934451" y="1372734"/>
                </a:cubicBezTo>
                <a:cubicBezTo>
                  <a:pt x="932701" y="1368980"/>
                  <a:pt x="932701" y="1368980"/>
                  <a:pt x="931974" y="1365754"/>
                </a:cubicBezTo>
                <a:cubicBezTo>
                  <a:pt x="931699" y="1364958"/>
                  <a:pt x="931422" y="1364162"/>
                  <a:pt x="931138" y="1363343"/>
                </a:cubicBezTo>
                <a:cubicBezTo>
                  <a:pt x="929592" y="1362878"/>
                  <a:pt x="928045" y="1362413"/>
                  <a:pt x="926452" y="1361933"/>
                </a:cubicBezTo>
                <a:cubicBezTo>
                  <a:pt x="921830" y="1355261"/>
                  <a:pt x="920323" y="1348382"/>
                  <a:pt x="918641" y="1340795"/>
                </a:cubicBezTo>
                <a:cubicBezTo>
                  <a:pt x="918133" y="1338914"/>
                  <a:pt x="917616" y="1337034"/>
                  <a:pt x="917079" y="1335158"/>
                </a:cubicBezTo>
                <a:cubicBezTo>
                  <a:pt x="916048" y="1335158"/>
                  <a:pt x="915018" y="1335158"/>
                  <a:pt x="913955" y="1335158"/>
                </a:cubicBezTo>
                <a:cubicBezTo>
                  <a:pt x="913329" y="1333718"/>
                  <a:pt x="912703" y="1332277"/>
                  <a:pt x="912057" y="1330793"/>
                </a:cubicBezTo>
                <a:cubicBezTo>
                  <a:pt x="909497" y="1325424"/>
                  <a:pt x="906114" y="1320822"/>
                  <a:pt x="902142" y="1316222"/>
                </a:cubicBezTo>
                <a:cubicBezTo>
                  <a:pt x="901465" y="1315432"/>
                  <a:pt x="900788" y="1314642"/>
                  <a:pt x="900091" y="1313828"/>
                </a:cubicBezTo>
                <a:cubicBezTo>
                  <a:pt x="893705" y="1306618"/>
                  <a:pt x="886350" y="1301049"/>
                  <a:pt x="878026" y="1295700"/>
                </a:cubicBezTo>
                <a:cubicBezTo>
                  <a:pt x="876595" y="1294594"/>
                  <a:pt x="876595" y="1294594"/>
                  <a:pt x="875134" y="1293465"/>
                </a:cubicBezTo>
                <a:lnTo>
                  <a:pt x="869869" y="1291826"/>
                </a:lnTo>
                <a:lnTo>
                  <a:pt x="862384" y="1291327"/>
                </a:lnTo>
                <a:cubicBezTo>
                  <a:pt x="856441" y="1290067"/>
                  <a:pt x="850461" y="1290346"/>
                  <a:pt x="844390" y="1290461"/>
                </a:cubicBezTo>
                <a:cubicBezTo>
                  <a:pt x="842453" y="1290480"/>
                  <a:pt x="842453" y="1290480"/>
                  <a:pt x="840476" y="1290500"/>
                </a:cubicBezTo>
                <a:cubicBezTo>
                  <a:pt x="837322" y="1290532"/>
                  <a:pt x="834169" y="1290583"/>
                  <a:pt x="831015" y="1290637"/>
                </a:cubicBezTo>
                <a:cubicBezTo>
                  <a:pt x="831015" y="1291568"/>
                  <a:pt x="831015" y="1292498"/>
                  <a:pt x="831015" y="1293456"/>
                </a:cubicBezTo>
                <a:cubicBezTo>
                  <a:pt x="826519" y="1294808"/>
                  <a:pt x="822922" y="1295235"/>
                  <a:pt x="818225" y="1295570"/>
                </a:cubicBezTo>
                <a:lnTo>
                  <a:pt x="796774" y="1297671"/>
                </a:lnTo>
                <a:lnTo>
                  <a:pt x="783646" y="1305736"/>
                </a:lnTo>
                <a:cubicBezTo>
                  <a:pt x="776915" y="1312506"/>
                  <a:pt x="772692" y="1318638"/>
                  <a:pt x="769263" y="1327143"/>
                </a:cubicBezTo>
                <a:cubicBezTo>
                  <a:pt x="767116" y="1332340"/>
                  <a:pt x="767116" y="1332340"/>
                  <a:pt x="764797" y="1334360"/>
                </a:cubicBezTo>
                <a:lnTo>
                  <a:pt x="757875" y="1353503"/>
                </a:lnTo>
                <a:lnTo>
                  <a:pt x="755676" y="1367455"/>
                </a:lnTo>
                <a:lnTo>
                  <a:pt x="750558" y="1399690"/>
                </a:lnTo>
                <a:lnTo>
                  <a:pt x="753057" y="1411256"/>
                </a:lnTo>
                <a:cubicBezTo>
                  <a:pt x="753057" y="1413117"/>
                  <a:pt x="753057" y="1414976"/>
                  <a:pt x="753057" y="1416893"/>
                </a:cubicBezTo>
                <a:cubicBezTo>
                  <a:pt x="754087" y="1416893"/>
                  <a:pt x="755119" y="1416893"/>
                  <a:pt x="756181" y="1416893"/>
                </a:cubicBezTo>
                <a:cubicBezTo>
                  <a:pt x="759348" y="1422607"/>
                  <a:pt x="758101" y="1429902"/>
                  <a:pt x="758133" y="1436182"/>
                </a:cubicBezTo>
                <a:cubicBezTo>
                  <a:pt x="758182" y="1438458"/>
                  <a:pt x="758182" y="1438458"/>
                  <a:pt x="758231" y="1440781"/>
                </a:cubicBezTo>
                <a:cubicBezTo>
                  <a:pt x="758283" y="1450271"/>
                  <a:pt x="758174" y="1458360"/>
                  <a:pt x="750713" y="1465704"/>
                </a:cubicBezTo>
                <a:cubicBezTo>
                  <a:pt x="749940" y="1466193"/>
                  <a:pt x="749167" y="1466681"/>
                  <a:pt x="748370" y="1467185"/>
                </a:cubicBezTo>
                <a:cubicBezTo>
                  <a:pt x="743665" y="1470047"/>
                  <a:pt x="743665" y="1470047"/>
                  <a:pt x="741633" y="1473526"/>
                </a:cubicBezTo>
                <a:cubicBezTo>
                  <a:pt x="737793" y="1477248"/>
                  <a:pt x="733582" y="1477483"/>
                  <a:pt x="728154" y="1478343"/>
                </a:cubicBezTo>
                <a:cubicBezTo>
                  <a:pt x="724855" y="1478778"/>
                  <a:pt x="724855" y="1478778"/>
                  <a:pt x="721814" y="1480308"/>
                </a:cubicBezTo>
                <a:cubicBezTo>
                  <a:pt x="717303" y="1480523"/>
                  <a:pt x="712854" y="1480634"/>
                  <a:pt x="708341" y="1480661"/>
                </a:cubicBezTo>
                <a:cubicBezTo>
                  <a:pt x="707118" y="1480690"/>
                  <a:pt x="705896" y="1480719"/>
                  <a:pt x="704637" y="1480748"/>
                </a:cubicBezTo>
                <a:cubicBezTo>
                  <a:pt x="690446" y="1480834"/>
                  <a:pt x="679632" y="1476246"/>
                  <a:pt x="668507" y="1468418"/>
                </a:cubicBezTo>
                <a:cubicBezTo>
                  <a:pt x="662823" y="1463224"/>
                  <a:pt x="661745" y="1456995"/>
                  <a:pt x="660178" y="1450027"/>
                </a:cubicBezTo>
                <a:cubicBezTo>
                  <a:pt x="659725" y="1446589"/>
                  <a:pt x="659725" y="1446589"/>
                  <a:pt x="657767" y="1445078"/>
                </a:cubicBezTo>
                <a:cubicBezTo>
                  <a:pt x="656859" y="1433686"/>
                  <a:pt x="655965" y="1419178"/>
                  <a:pt x="663369" y="1409390"/>
                </a:cubicBezTo>
                <a:cubicBezTo>
                  <a:pt x="666078" y="1406601"/>
                  <a:pt x="668921" y="1404013"/>
                  <a:pt x="671826" y="1401392"/>
                </a:cubicBezTo>
                <a:cubicBezTo>
                  <a:pt x="675197" y="1397623"/>
                  <a:pt x="677125" y="1394916"/>
                  <a:pt x="678075" y="1390118"/>
                </a:cubicBezTo>
                <a:cubicBezTo>
                  <a:pt x="680137" y="1389653"/>
                  <a:pt x="682199" y="1389188"/>
                  <a:pt x="684323" y="1388709"/>
                </a:cubicBezTo>
                <a:cubicBezTo>
                  <a:pt x="684643" y="1387232"/>
                  <a:pt x="684964" y="1385755"/>
                  <a:pt x="685293" y="1384233"/>
                </a:cubicBezTo>
                <a:cubicBezTo>
                  <a:pt x="685718" y="1382290"/>
                  <a:pt x="686144" y="1380347"/>
                  <a:pt x="686569" y="1378404"/>
                </a:cubicBezTo>
                <a:cubicBezTo>
                  <a:pt x="686885" y="1376945"/>
                  <a:pt x="686885" y="1376945"/>
                  <a:pt x="687207" y="1375456"/>
                </a:cubicBezTo>
                <a:cubicBezTo>
                  <a:pt x="688115" y="1371315"/>
                  <a:pt x="689090" y="1367353"/>
                  <a:pt x="690572" y="1363343"/>
                </a:cubicBezTo>
                <a:cubicBezTo>
                  <a:pt x="692411" y="1350128"/>
                  <a:pt x="692374" y="1336672"/>
                  <a:pt x="692495" y="1323376"/>
                </a:cubicBezTo>
                <a:cubicBezTo>
                  <a:pt x="692524" y="1320586"/>
                  <a:pt x="692574" y="1317796"/>
                  <a:pt x="692625" y="1315006"/>
                </a:cubicBezTo>
                <a:cubicBezTo>
                  <a:pt x="692853" y="1300589"/>
                  <a:pt x="692853" y="1300589"/>
                  <a:pt x="687447" y="1287245"/>
                </a:cubicBezTo>
                <a:cubicBezTo>
                  <a:pt x="685901" y="1286780"/>
                  <a:pt x="684354" y="1286315"/>
                  <a:pt x="682761" y="1285835"/>
                </a:cubicBezTo>
                <a:cubicBezTo>
                  <a:pt x="680876" y="1283743"/>
                  <a:pt x="680876" y="1283743"/>
                  <a:pt x="678954" y="1281608"/>
                </a:cubicBezTo>
                <a:cubicBezTo>
                  <a:pt x="674854" y="1277278"/>
                  <a:pt x="674356" y="1276958"/>
                  <a:pt x="668702" y="1275971"/>
                </a:cubicBezTo>
                <a:cubicBezTo>
                  <a:pt x="666619" y="1274092"/>
                  <a:pt x="664536" y="1272213"/>
                  <a:pt x="662454" y="1270334"/>
                </a:cubicBezTo>
                <a:cubicBezTo>
                  <a:pt x="658341" y="1268566"/>
                  <a:pt x="658341" y="1268566"/>
                  <a:pt x="654643" y="1267516"/>
                </a:cubicBezTo>
                <a:cubicBezTo>
                  <a:pt x="654643" y="1266585"/>
                  <a:pt x="654643" y="1265656"/>
                  <a:pt x="654643" y="1264697"/>
                </a:cubicBezTo>
                <a:cubicBezTo>
                  <a:pt x="653161" y="1264581"/>
                  <a:pt x="651679" y="1264465"/>
                  <a:pt x="650152" y="1264345"/>
                </a:cubicBezTo>
                <a:cubicBezTo>
                  <a:pt x="642318" y="1263373"/>
                  <a:pt x="635297" y="1260465"/>
                  <a:pt x="628087" y="1257651"/>
                </a:cubicBezTo>
                <a:cubicBezTo>
                  <a:pt x="628087" y="1256721"/>
                  <a:pt x="628087" y="1255791"/>
                  <a:pt x="628087" y="1254833"/>
                </a:cubicBezTo>
                <a:cubicBezTo>
                  <a:pt x="627108" y="1254662"/>
                  <a:pt x="626129" y="1254491"/>
                  <a:pt x="625121" y="1254315"/>
                </a:cubicBezTo>
                <a:cubicBezTo>
                  <a:pt x="623845" y="1254079"/>
                  <a:pt x="622568" y="1253843"/>
                  <a:pt x="621252" y="1253600"/>
                </a:cubicBezTo>
                <a:cubicBezTo>
                  <a:pt x="619984" y="1253371"/>
                  <a:pt x="618716" y="1253142"/>
                  <a:pt x="617409" y="1252906"/>
                </a:cubicBezTo>
                <a:cubicBezTo>
                  <a:pt x="614027" y="1252014"/>
                  <a:pt x="614027" y="1252014"/>
                  <a:pt x="610904" y="1249196"/>
                </a:cubicBezTo>
                <a:cubicBezTo>
                  <a:pt x="592259" y="1248653"/>
                  <a:pt x="578635" y="1260869"/>
                  <a:pt x="565739" y="1271742"/>
                </a:cubicBezTo>
                <a:cubicBezTo>
                  <a:pt x="558808" y="1277725"/>
                  <a:pt x="552763" y="1283983"/>
                  <a:pt x="546924" y="1290829"/>
                </a:cubicBezTo>
                <a:cubicBezTo>
                  <a:pt x="545838" y="1292087"/>
                  <a:pt x="544753" y="1293346"/>
                  <a:pt x="543635" y="1294643"/>
                </a:cubicBezTo>
                <a:cubicBezTo>
                  <a:pt x="542650" y="1295813"/>
                  <a:pt x="541666" y="1296983"/>
                  <a:pt x="540651" y="1298188"/>
                </a:cubicBezTo>
                <a:cubicBezTo>
                  <a:pt x="537294" y="1301526"/>
                  <a:pt x="533978" y="1303337"/>
                  <a:pt x="529673" y="1305565"/>
                </a:cubicBezTo>
                <a:cubicBezTo>
                  <a:pt x="527599" y="1308478"/>
                  <a:pt x="527599" y="1308478"/>
                  <a:pt x="526549" y="1311202"/>
                </a:cubicBezTo>
                <a:cubicBezTo>
                  <a:pt x="525518" y="1311202"/>
                  <a:pt x="524487" y="1311202"/>
                  <a:pt x="523425" y="1311202"/>
                </a:cubicBezTo>
                <a:cubicBezTo>
                  <a:pt x="523360" y="1311986"/>
                  <a:pt x="523296" y="1312771"/>
                  <a:pt x="523230" y="1313580"/>
                </a:cubicBezTo>
                <a:cubicBezTo>
                  <a:pt x="521863" y="1316839"/>
                  <a:pt x="521863" y="1316839"/>
                  <a:pt x="517732" y="1319739"/>
                </a:cubicBezTo>
                <a:cubicBezTo>
                  <a:pt x="511111" y="1324565"/>
                  <a:pt x="506875" y="1330731"/>
                  <a:pt x="502239" y="1337096"/>
                </a:cubicBezTo>
                <a:cubicBezTo>
                  <a:pt x="500512" y="1339427"/>
                  <a:pt x="498785" y="1341757"/>
                  <a:pt x="497058" y="1344087"/>
                </a:cubicBezTo>
                <a:cubicBezTo>
                  <a:pt x="495827" y="1345760"/>
                  <a:pt x="495827" y="1345760"/>
                  <a:pt x="494572" y="1347465"/>
                </a:cubicBezTo>
                <a:cubicBezTo>
                  <a:pt x="492366" y="1350414"/>
                  <a:pt x="490094" y="1353304"/>
                  <a:pt x="487776" y="1356181"/>
                </a:cubicBezTo>
                <a:cubicBezTo>
                  <a:pt x="484805" y="1359972"/>
                  <a:pt x="482865" y="1363193"/>
                  <a:pt x="481248" y="1367571"/>
                </a:cubicBezTo>
                <a:cubicBezTo>
                  <a:pt x="480216" y="1367571"/>
                  <a:pt x="479186" y="1367571"/>
                  <a:pt x="478123" y="1367571"/>
                </a:cubicBezTo>
                <a:cubicBezTo>
                  <a:pt x="477963" y="1368558"/>
                  <a:pt x="477801" y="1369547"/>
                  <a:pt x="477635" y="1370565"/>
                </a:cubicBezTo>
                <a:cubicBezTo>
                  <a:pt x="475602" y="1378236"/>
                  <a:pt x="471952" y="1383371"/>
                  <a:pt x="465626" y="1388709"/>
                </a:cubicBezTo>
                <a:cubicBezTo>
                  <a:pt x="462272" y="1392748"/>
                  <a:pt x="462272" y="1392748"/>
                  <a:pt x="461233" y="1397340"/>
                </a:cubicBezTo>
                <a:cubicBezTo>
                  <a:pt x="460030" y="1401461"/>
                  <a:pt x="458298" y="1404501"/>
                  <a:pt x="455765" y="1408086"/>
                </a:cubicBezTo>
                <a:cubicBezTo>
                  <a:pt x="442829" y="1428603"/>
                  <a:pt x="441572" y="1454548"/>
                  <a:pt x="439070" y="1477490"/>
                </a:cubicBezTo>
                <a:cubicBezTo>
                  <a:pt x="437524" y="1477955"/>
                  <a:pt x="435977" y="1478420"/>
                  <a:pt x="434384" y="1478899"/>
                </a:cubicBezTo>
                <a:cubicBezTo>
                  <a:pt x="433739" y="1479916"/>
                  <a:pt x="433095" y="1480933"/>
                  <a:pt x="432431" y="1481982"/>
                </a:cubicBezTo>
                <a:cubicBezTo>
                  <a:pt x="428860" y="1487159"/>
                  <a:pt x="424291" y="1490903"/>
                  <a:pt x="418763" y="1494401"/>
                </a:cubicBezTo>
                <a:cubicBezTo>
                  <a:pt x="417731" y="1494401"/>
                  <a:pt x="416701" y="1494401"/>
                  <a:pt x="415639" y="1494401"/>
                </a:cubicBezTo>
                <a:cubicBezTo>
                  <a:pt x="415639" y="1495330"/>
                  <a:pt x="415639" y="1496260"/>
                  <a:pt x="415639" y="1497219"/>
                </a:cubicBezTo>
                <a:cubicBezTo>
                  <a:pt x="412546" y="1497684"/>
                  <a:pt x="409453" y="1498149"/>
                  <a:pt x="406265" y="1498628"/>
                </a:cubicBezTo>
                <a:cubicBezTo>
                  <a:pt x="406265" y="1499559"/>
                  <a:pt x="406265" y="1500488"/>
                  <a:pt x="406265" y="1501447"/>
                </a:cubicBezTo>
                <a:cubicBezTo>
                  <a:pt x="395955" y="1501447"/>
                  <a:pt x="385645" y="1501447"/>
                  <a:pt x="375023" y="1501447"/>
                </a:cubicBezTo>
                <a:lnTo>
                  <a:pt x="375023" y="1499438"/>
                </a:lnTo>
                <a:lnTo>
                  <a:pt x="374964" y="1499436"/>
                </a:lnTo>
                <a:lnTo>
                  <a:pt x="373179" y="1498628"/>
                </a:lnTo>
                <a:lnTo>
                  <a:pt x="365650" y="1498628"/>
                </a:lnTo>
                <a:lnTo>
                  <a:pt x="363134" y="1494087"/>
                </a:lnTo>
                <a:lnTo>
                  <a:pt x="362171" y="1493651"/>
                </a:lnTo>
                <a:cubicBezTo>
                  <a:pt x="361656" y="1492722"/>
                  <a:pt x="361140" y="1491791"/>
                  <a:pt x="360609" y="1490833"/>
                </a:cubicBezTo>
                <a:cubicBezTo>
                  <a:pt x="361640" y="1490833"/>
                  <a:pt x="362671" y="1490833"/>
                  <a:pt x="363733" y="1490833"/>
                </a:cubicBezTo>
                <a:lnTo>
                  <a:pt x="363733" y="1489980"/>
                </a:lnTo>
                <a:lnTo>
                  <a:pt x="348467" y="1481717"/>
                </a:lnTo>
                <a:lnTo>
                  <a:pt x="343872" y="1461078"/>
                </a:lnTo>
                <a:lnTo>
                  <a:pt x="343656" y="1463649"/>
                </a:lnTo>
                <a:cubicBezTo>
                  <a:pt x="343541" y="1465230"/>
                  <a:pt x="343541" y="1465230"/>
                  <a:pt x="343424" y="1466842"/>
                </a:cubicBezTo>
                <a:cubicBezTo>
                  <a:pt x="342908" y="1466842"/>
                  <a:pt x="342393" y="1466842"/>
                  <a:pt x="341861" y="1466842"/>
                </a:cubicBezTo>
                <a:cubicBezTo>
                  <a:pt x="340987" y="1449564"/>
                  <a:pt x="340999" y="1434331"/>
                  <a:pt x="354143" y="1420549"/>
                </a:cubicBezTo>
                <a:cubicBezTo>
                  <a:pt x="360765" y="1414011"/>
                  <a:pt x="367631" y="1407790"/>
                  <a:pt x="376229" y="1403427"/>
                </a:cubicBezTo>
                <a:lnTo>
                  <a:pt x="379491" y="1404408"/>
                </a:lnTo>
                <a:lnTo>
                  <a:pt x="379710" y="1404210"/>
                </a:lnTo>
                <a:cubicBezTo>
                  <a:pt x="380290" y="1402902"/>
                  <a:pt x="380290" y="1402902"/>
                  <a:pt x="380882" y="1401568"/>
                </a:cubicBezTo>
                <a:cubicBezTo>
                  <a:pt x="383675" y="1397284"/>
                  <a:pt x="387587" y="1395610"/>
                  <a:pt x="392207" y="1392936"/>
                </a:cubicBezTo>
                <a:lnTo>
                  <a:pt x="399542" y="1386774"/>
                </a:lnTo>
                <a:lnTo>
                  <a:pt x="405485" y="1378917"/>
                </a:lnTo>
                <a:cubicBezTo>
                  <a:pt x="408065" y="1375974"/>
                  <a:pt x="410029" y="1372774"/>
                  <a:pt x="412008" y="1369481"/>
                </a:cubicBezTo>
                <a:cubicBezTo>
                  <a:pt x="414759" y="1365166"/>
                  <a:pt x="417963" y="1361131"/>
                  <a:pt x="421130" y="1357057"/>
                </a:cubicBezTo>
                <a:cubicBezTo>
                  <a:pt x="423073" y="1354140"/>
                  <a:pt x="423985" y="1351767"/>
                  <a:pt x="424676" y="1348443"/>
                </a:cubicBezTo>
                <a:lnTo>
                  <a:pt x="427275" y="1348443"/>
                </a:lnTo>
                <a:lnTo>
                  <a:pt x="428135" y="1345727"/>
                </a:lnTo>
                <a:cubicBezTo>
                  <a:pt x="429370" y="1341828"/>
                  <a:pt x="430645" y="1338666"/>
                  <a:pt x="432822" y="1335158"/>
                </a:cubicBezTo>
                <a:cubicBezTo>
                  <a:pt x="433853" y="1335158"/>
                  <a:pt x="434884" y="1335158"/>
                  <a:pt x="435946" y="1335158"/>
                </a:cubicBezTo>
                <a:cubicBezTo>
                  <a:pt x="436526" y="1333385"/>
                  <a:pt x="437106" y="1331613"/>
                  <a:pt x="437704" y="1329786"/>
                </a:cubicBezTo>
                <a:cubicBezTo>
                  <a:pt x="440162" y="1323132"/>
                  <a:pt x="443602" y="1317301"/>
                  <a:pt x="447394" y="1311196"/>
                </a:cubicBezTo>
                <a:cubicBezTo>
                  <a:pt x="456493" y="1296485"/>
                  <a:pt x="463325" y="1281864"/>
                  <a:pt x="469287" y="1265964"/>
                </a:cubicBezTo>
                <a:cubicBezTo>
                  <a:pt x="474589" y="1252134"/>
                  <a:pt x="474589" y="1252134"/>
                  <a:pt x="478178" y="1246787"/>
                </a:cubicBezTo>
                <a:cubicBezTo>
                  <a:pt x="481232" y="1240246"/>
                  <a:pt x="480204" y="1232766"/>
                  <a:pt x="480179" y="1225768"/>
                </a:cubicBezTo>
                <a:cubicBezTo>
                  <a:pt x="480174" y="1222894"/>
                  <a:pt x="480210" y="1220023"/>
                  <a:pt x="480250" y="1217149"/>
                </a:cubicBezTo>
                <a:cubicBezTo>
                  <a:pt x="480260" y="1199291"/>
                  <a:pt x="476718" y="1187768"/>
                  <a:pt x="462972" y="1174827"/>
                </a:cubicBezTo>
                <a:cubicBezTo>
                  <a:pt x="461148" y="1173192"/>
                  <a:pt x="459312" y="1171566"/>
                  <a:pt x="457468" y="1169949"/>
                </a:cubicBezTo>
                <a:cubicBezTo>
                  <a:pt x="451412" y="1164522"/>
                  <a:pt x="445876" y="1158660"/>
                  <a:pt x="440657" y="1152570"/>
                </a:cubicBezTo>
                <a:cubicBezTo>
                  <a:pt x="430474" y="1140786"/>
                  <a:pt x="418230" y="1128998"/>
                  <a:pt x="403142" y="1122366"/>
                </a:cubicBezTo>
                <a:cubicBezTo>
                  <a:pt x="402626" y="1121436"/>
                  <a:pt x="402110" y="1120506"/>
                  <a:pt x="401579" y="1119547"/>
                </a:cubicBezTo>
                <a:cubicBezTo>
                  <a:pt x="390472" y="1115326"/>
                  <a:pt x="375918" y="1114217"/>
                  <a:pt x="364564" y="1118209"/>
                </a:cubicBezTo>
                <a:cubicBezTo>
                  <a:pt x="362278" y="1119428"/>
                  <a:pt x="360026" y="1120704"/>
                  <a:pt x="357822" y="1122041"/>
                </a:cubicBezTo>
                <a:cubicBezTo>
                  <a:pt x="354521" y="1123884"/>
                  <a:pt x="351862" y="1124582"/>
                  <a:pt x="348077" y="1125273"/>
                </a:cubicBezTo>
                <a:cubicBezTo>
                  <a:pt x="341765" y="1126696"/>
                  <a:pt x="339382" y="1128619"/>
                  <a:pt x="334408" y="1132230"/>
                </a:cubicBezTo>
                <a:cubicBezTo>
                  <a:pt x="332284" y="1132909"/>
                  <a:pt x="330131" y="1133519"/>
                  <a:pt x="327964" y="1134080"/>
                </a:cubicBezTo>
                <a:cubicBezTo>
                  <a:pt x="309975" y="1139067"/>
                  <a:pt x="290592" y="1152117"/>
                  <a:pt x="279734" y="1166051"/>
                </a:cubicBezTo>
                <a:cubicBezTo>
                  <a:pt x="277929" y="1169534"/>
                  <a:pt x="277929" y="1169534"/>
                  <a:pt x="276609" y="1173098"/>
                </a:cubicBezTo>
                <a:cubicBezTo>
                  <a:pt x="272413" y="1180804"/>
                  <a:pt x="269322" y="1184144"/>
                  <a:pt x="260988" y="1188599"/>
                </a:cubicBezTo>
                <a:cubicBezTo>
                  <a:pt x="259988" y="1189435"/>
                  <a:pt x="258987" y="1190271"/>
                  <a:pt x="257956" y="1191132"/>
                </a:cubicBezTo>
                <a:lnTo>
                  <a:pt x="243805" y="1196629"/>
                </a:lnTo>
                <a:lnTo>
                  <a:pt x="243805" y="1194236"/>
                </a:lnTo>
                <a:lnTo>
                  <a:pt x="240288" y="1194765"/>
                </a:lnTo>
                <a:lnTo>
                  <a:pt x="243374" y="1194765"/>
                </a:lnTo>
                <a:lnTo>
                  <a:pt x="243374" y="1196797"/>
                </a:lnTo>
                <a:lnTo>
                  <a:pt x="243805" y="1196629"/>
                </a:lnTo>
                <a:lnTo>
                  <a:pt x="243805" y="1197055"/>
                </a:lnTo>
                <a:lnTo>
                  <a:pt x="243374" y="1197055"/>
                </a:lnTo>
                <a:lnTo>
                  <a:pt x="243374" y="1197584"/>
                </a:lnTo>
                <a:lnTo>
                  <a:pt x="241319" y="1197595"/>
                </a:lnTo>
                <a:lnTo>
                  <a:pt x="238009" y="1198881"/>
                </a:lnTo>
                <a:cubicBezTo>
                  <a:pt x="231012" y="1199584"/>
                  <a:pt x="223620" y="1198927"/>
                  <a:pt x="215687" y="1198464"/>
                </a:cubicBezTo>
                <a:lnTo>
                  <a:pt x="215687" y="1197734"/>
                </a:lnTo>
                <a:lnTo>
                  <a:pt x="213936" y="1197744"/>
                </a:lnTo>
                <a:cubicBezTo>
                  <a:pt x="210570" y="1197584"/>
                  <a:pt x="210570" y="1197584"/>
                  <a:pt x="207446" y="1196175"/>
                </a:cubicBezTo>
                <a:lnTo>
                  <a:pt x="207822" y="1195610"/>
                </a:lnTo>
                <a:lnTo>
                  <a:pt x="184737" y="1180936"/>
                </a:lnTo>
                <a:cubicBezTo>
                  <a:pt x="180258" y="1172216"/>
                  <a:pt x="179226" y="1164355"/>
                  <a:pt x="179270" y="1154866"/>
                </a:cubicBezTo>
                <a:cubicBezTo>
                  <a:pt x="179233" y="1153260"/>
                  <a:pt x="179233" y="1153260"/>
                  <a:pt x="179194" y="1151621"/>
                </a:cubicBezTo>
                <a:cubicBezTo>
                  <a:pt x="179182" y="1139523"/>
                  <a:pt x="183658" y="1128837"/>
                  <a:pt x="193195" y="1120065"/>
                </a:cubicBezTo>
                <a:cubicBezTo>
                  <a:pt x="204265" y="1110959"/>
                  <a:pt x="215062" y="1110626"/>
                  <a:pt x="229551" y="1110299"/>
                </a:cubicBezTo>
                <a:cubicBezTo>
                  <a:pt x="240132" y="1110024"/>
                  <a:pt x="250506" y="1109652"/>
                  <a:pt x="260988" y="1108274"/>
                </a:cubicBezTo>
                <a:cubicBezTo>
                  <a:pt x="260988" y="1107344"/>
                  <a:pt x="260988" y="1106413"/>
                  <a:pt x="260988" y="1105455"/>
                </a:cubicBezTo>
                <a:cubicBezTo>
                  <a:pt x="261953" y="1105078"/>
                  <a:pt x="262918" y="1104699"/>
                  <a:pt x="263911" y="1104310"/>
                </a:cubicBezTo>
                <a:cubicBezTo>
                  <a:pt x="272903" y="1100557"/>
                  <a:pt x="279802" y="1096307"/>
                  <a:pt x="286995" y="1090185"/>
                </a:cubicBezTo>
                <a:cubicBezTo>
                  <a:pt x="290956" y="1086897"/>
                  <a:pt x="295114" y="1083955"/>
                  <a:pt x="299358" y="1080970"/>
                </a:cubicBezTo>
                <a:cubicBezTo>
                  <a:pt x="306613" y="1075692"/>
                  <a:pt x="312234" y="1070023"/>
                  <a:pt x="317762" y="1063272"/>
                </a:cubicBezTo>
                <a:cubicBezTo>
                  <a:pt x="320349" y="1060360"/>
                  <a:pt x="320349" y="1060360"/>
                  <a:pt x="325035" y="1057542"/>
                </a:cubicBezTo>
                <a:cubicBezTo>
                  <a:pt x="329912" y="1045734"/>
                  <a:pt x="327928" y="1035103"/>
                  <a:pt x="325328" y="1023104"/>
                </a:cubicBezTo>
                <a:cubicBezTo>
                  <a:pt x="325069" y="1021831"/>
                  <a:pt x="324811" y="1020559"/>
                  <a:pt x="324544" y="1019247"/>
                </a:cubicBezTo>
                <a:cubicBezTo>
                  <a:pt x="322876" y="1011407"/>
                  <a:pt x="320562" y="1004340"/>
                  <a:pt x="317225" y="996945"/>
                </a:cubicBezTo>
                <a:cubicBezTo>
                  <a:pt x="316619" y="995541"/>
                  <a:pt x="316013" y="994137"/>
                  <a:pt x="315388" y="992690"/>
                </a:cubicBezTo>
                <a:cubicBezTo>
                  <a:pt x="306307" y="972561"/>
                  <a:pt x="298931" y="959343"/>
                  <a:pt x="276232" y="950666"/>
                </a:cubicBezTo>
                <a:cubicBezTo>
                  <a:pt x="274810" y="950127"/>
                  <a:pt x="273388" y="949587"/>
                  <a:pt x="271923" y="949031"/>
                </a:cubicBezTo>
                <a:cubicBezTo>
                  <a:pt x="270129" y="948244"/>
                  <a:pt x="270129" y="948244"/>
                  <a:pt x="268299" y="947441"/>
                </a:cubicBezTo>
                <a:cubicBezTo>
                  <a:pt x="247071" y="938140"/>
                  <a:pt x="222259" y="939051"/>
                  <a:pt x="199187" y="938991"/>
                </a:cubicBezTo>
                <a:cubicBezTo>
                  <a:pt x="197383" y="938984"/>
                  <a:pt x="195579" y="938978"/>
                  <a:pt x="193719" y="938971"/>
                </a:cubicBezTo>
                <a:cubicBezTo>
                  <a:pt x="192010" y="938974"/>
                  <a:pt x="190300" y="938977"/>
                  <a:pt x="188539" y="938980"/>
                </a:cubicBezTo>
                <a:cubicBezTo>
                  <a:pt x="187000" y="938981"/>
                  <a:pt x="185460" y="938983"/>
                  <a:pt x="183874" y="938985"/>
                </a:cubicBezTo>
                <a:cubicBezTo>
                  <a:pt x="180148" y="939150"/>
                  <a:pt x="177092" y="939720"/>
                  <a:pt x="173509" y="940576"/>
                </a:cubicBezTo>
                <a:cubicBezTo>
                  <a:pt x="169458" y="940674"/>
                  <a:pt x="165452" y="940710"/>
                  <a:pt x="161403" y="940664"/>
                </a:cubicBezTo>
                <a:cubicBezTo>
                  <a:pt x="160314" y="940658"/>
                  <a:pt x="159224" y="940651"/>
                  <a:pt x="158102" y="940645"/>
                </a:cubicBezTo>
                <a:lnTo>
                  <a:pt x="150875" y="940583"/>
                </a:lnTo>
                <a:lnTo>
                  <a:pt x="148425" y="940717"/>
                </a:lnTo>
                <a:lnTo>
                  <a:pt x="149617" y="940995"/>
                </a:lnTo>
                <a:cubicBezTo>
                  <a:pt x="149617" y="941459"/>
                  <a:pt x="149617" y="941924"/>
                  <a:pt x="149617" y="942404"/>
                </a:cubicBezTo>
                <a:cubicBezTo>
                  <a:pt x="148630" y="942558"/>
                  <a:pt x="147643" y="942712"/>
                  <a:pt x="146627" y="942871"/>
                </a:cubicBezTo>
                <a:cubicBezTo>
                  <a:pt x="134541" y="944804"/>
                  <a:pt x="122553" y="947081"/>
                  <a:pt x="110564" y="949449"/>
                </a:cubicBezTo>
                <a:lnTo>
                  <a:pt x="111283" y="946205"/>
                </a:lnTo>
                <a:lnTo>
                  <a:pt x="101652" y="956078"/>
                </a:lnTo>
                <a:cubicBezTo>
                  <a:pt x="99870" y="957260"/>
                  <a:pt x="99870" y="957260"/>
                  <a:pt x="98052" y="958467"/>
                </a:cubicBezTo>
                <a:cubicBezTo>
                  <a:pt x="75683" y="972989"/>
                  <a:pt x="75683" y="972989"/>
                  <a:pt x="67286" y="972989"/>
                </a:cubicBezTo>
                <a:cubicBezTo>
                  <a:pt x="67286" y="973918"/>
                  <a:pt x="67286" y="974848"/>
                  <a:pt x="67286" y="975807"/>
                </a:cubicBezTo>
                <a:cubicBezTo>
                  <a:pt x="55713" y="979519"/>
                  <a:pt x="43549" y="980689"/>
                  <a:pt x="31942" y="976423"/>
                </a:cubicBezTo>
                <a:cubicBezTo>
                  <a:pt x="19953" y="970870"/>
                  <a:pt x="10774" y="964932"/>
                  <a:pt x="5673" y="953419"/>
                </a:cubicBezTo>
                <a:cubicBezTo>
                  <a:pt x="4801" y="950441"/>
                  <a:pt x="4801" y="950441"/>
                  <a:pt x="4801" y="944804"/>
                </a:cubicBezTo>
                <a:cubicBezTo>
                  <a:pt x="3770" y="944804"/>
                  <a:pt x="2739" y="944804"/>
                  <a:pt x="1676" y="944804"/>
                </a:cubicBezTo>
                <a:cubicBezTo>
                  <a:pt x="-34" y="940174"/>
                  <a:pt x="-41" y="936720"/>
                  <a:pt x="17" y="931857"/>
                </a:cubicBezTo>
                <a:cubicBezTo>
                  <a:pt x="31" y="930325"/>
                  <a:pt x="45" y="928794"/>
                  <a:pt x="59" y="927216"/>
                </a:cubicBezTo>
                <a:cubicBezTo>
                  <a:pt x="78" y="926044"/>
                  <a:pt x="96" y="924873"/>
                  <a:pt x="115" y="923666"/>
                </a:cubicBezTo>
                <a:cubicBezTo>
                  <a:pt x="1145" y="923666"/>
                  <a:pt x="2176" y="923666"/>
                  <a:pt x="3238" y="923666"/>
                </a:cubicBezTo>
                <a:cubicBezTo>
                  <a:pt x="3238" y="921805"/>
                  <a:pt x="3238" y="919945"/>
                  <a:pt x="3238" y="918029"/>
                </a:cubicBezTo>
                <a:cubicBezTo>
                  <a:pt x="4270" y="918029"/>
                  <a:pt x="5300" y="918029"/>
                  <a:pt x="6363" y="918029"/>
                </a:cubicBezTo>
                <a:cubicBezTo>
                  <a:pt x="6459" y="916314"/>
                  <a:pt x="6556" y="914599"/>
                  <a:pt x="6656" y="912832"/>
                </a:cubicBezTo>
                <a:cubicBezTo>
                  <a:pt x="7542" y="906455"/>
                  <a:pt x="10104" y="903750"/>
                  <a:pt x="15736" y="899709"/>
                </a:cubicBezTo>
                <a:lnTo>
                  <a:pt x="17243" y="898894"/>
                </a:lnTo>
                <a:lnTo>
                  <a:pt x="16800" y="898694"/>
                </a:lnTo>
                <a:lnTo>
                  <a:pt x="24988" y="894101"/>
                </a:lnTo>
                <a:lnTo>
                  <a:pt x="26768" y="892399"/>
                </a:lnTo>
                <a:cubicBezTo>
                  <a:pt x="28282" y="891122"/>
                  <a:pt x="29038" y="890483"/>
                  <a:pt x="30198" y="890164"/>
                </a:cubicBezTo>
                <a:lnTo>
                  <a:pt x="32204" y="890054"/>
                </a:lnTo>
                <a:lnTo>
                  <a:pt x="38914" y="886291"/>
                </a:lnTo>
                <a:cubicBezTo>
                  <a:pt x="47169" y="885770"/>
                  <a:pt x="55396" y="885800"/>
                  <a:pt x="63664" y="886011"/>
                </a:cubicBezTo>
                <a:lnTo>
                  <a:pt x="63664" y="886531"/>
                </a:lnTo>
                <a:lnTo>
                  <a:pt x="70784" y="886647"/>
                </a:lnTo>
                <a:cubicBezTo>
                  <a:pt x="74787" y="887000"/>
                  <a:pt x="77233" y="887948"/>
                  <a:pt x="82126" y="889845"/>
                </a:cubicBezTo>
                <a:cubicBezTo>
                  <a:pt x="92427" y="893791"/>
                  <a:pt x="103139" y="893710"/>
                  <a:pt x="114149" y="892663"/>
                </a:cubicBezTo>
                <a:cubicBezTo>
                  <a:pt x="115696" y="891733"/>
                  <a:pt x="117242" y="890803"/>
                  <a:pt x="118836" y="889845"/>
                </a:cubicBezTo>
                <a:cubicBezTo>
                  <a:pt x="123097" y="888850"/>
                  <a:pt x="127325" y="887944"/>
                  <a:pt x="131626" y="887114"/>
                </a:cubicBezTo>
                <a:cubicBezTo>
                  <a:pt x="139750" y="885542"/>
                  <a:pt x="147376" y="883653"/>
                  <a:pt x="155116" y="880913"/>
                </a:cubicBezTo>
                <a:cubicBezTo>
                  <a:pt x="158498" y="879775"/>
                  <a:pt x="161861" y="879076"/>
                  <a:pt x="165406" y="878483"/>
                </a:cubicBezTo>
                <a:cubicBezTo>
                  <a:pt x="170342" y="877655"/>
                  <a:pt x="172265" y="876971"/>
                  <a:pt x="176634" y="874343"/>
                </a:cubicBezTo>
                <a:cubicBezTo>
                  <a:pt x="179863" y="873335"/>
                  <a:pt x="183123" y="872404"/>
                  <a:pt x="186397" y="871524"/>
                </a:cubicBezTo>
                <a:cubicBezTo>
                  <a:pt x="189107" y="870786"/>
                  <a:pt x="189107" y="870786"/>
                  <a:pt x="191871" y="870033"/>
                </a:cubicBezTo>
                <a:cubicBezTo>
                  <a:pt x="195731" y="869023"/>
                  <a:pt x="199587" y="868093"/>
                  <a:pt x="203483" y="867208"/>
                </a:cubicBezTo>
                <a:cubicBezTo>
                  <a:pt x="208339" y="866199"/>
                  <a:pt x="208339" y="866199"/>
                  <a:pt x="211001" y="861660"/>
                </a:cubicBezTo>
                <a:cubicBezTo>
                  <a:pt x="214174" y="860102"/>
                  <a:pt x="214174" y="860102"/>
                  <a:pt x="218031" y="858577"/>
                </a:cubicBezTo>
                <a:cubicBezTo>
                  <a:pt x="236068" y="850629"/>
                  <a:pt x="245199" y="840442"/>
                  <a:pt x="254740" y="825020"/>
                </a:cubicBezTo>
                <a:cubicBezTo>
                  <a:pt x="255771" y="823625"/>
                  <a:pt x="256802" y="822230"/>
                  <a:pt x="257864" y="820792"/>
                </a:cubicBezTo>
                <a:cubicBezTo>
                  <a:pt x="258359" y="817506"/>
                  <a:pt x="258359" y="817506"/>
                  <a:pt x="258318" y="813810"/>
                </a:cubicBezTo>
                <a:cubicBezTo>
                  <a:pt x="258338" y="812388"/>
                  <a:pt x="258358" y="810967"/>
                  <a:pt x="258378" y="809502"/>
                </a:cubicBezTo>
                <a:cubicBezTo>
                  <a:pt x="258382" y="807965"/>
                  <a:pt x="258385" y="806429"/>
                  <a:pt x="258389" y="804845"/>
                </a:cubicBezTo>
                <a:cubicBezTo>
                  <a:pt x="258399" y="803258"/>
                  <a:pt x="258410" y="801671"/>
                  <a:pt x="258420" y="800036"/>
                </a:cubicBezTo>
                <a:cubicBezTo>
                  <a:pt x="258436" y="796670"/>
                  <a:pt x="258443" y="793305"/>
                  <a:pt x="258443" y="789939"/>
                </a:cubicBezTo>
                <a:cubicBezTo>
                  <a:pt x="258450" y="784823"/>
                  <a:pt x="258506" y="779709"/>
                  <a:pt x="258566" y="774594"/>
                </a:cubicBezTo>
                <a:cubicBezTo>
                  <a:pt x="258575" y="771319"/>
                  <a:pt x="258581" y="768045"/>
                  <a:pt x="258584" y="764771"/>
                </a:cubicBezTo>
                <a:cubicBezTo>
                  <a:pt x="258618" y="762495"/>
                  <a:pt x="258618" y="762495"/>
                  <a:pt x="258652" y="760174"/>
                </a:cubicBezTo>
                <a:cubicBezTo>
                  <a:pt x="258586" y="750030"/>
                  <a:pt x="256266" y="742584"/>
                  <a:pt x="251616" y="733421"/>
                </a:cubicBezTo>
                <a:cubicBezTo>
                  <a:pt x="250163" y="729605"/>
                  <a:pt x="248880" y="725752"/>
                  <a:pt x="247613" y="721883"/>
                </a:cubicBezTo>
                <a:cubicBezTo>
                  <a:pt x="245789" y="716328"/>
                  <a:pt x="243913" y="710939"/>
                  <a:pt x="241291" y="705644"/>
                </a:cubicBezTo>
                <a:cubicBezTo>
                  <a:pt x="238691" y="700096"/>
                  <a:pt x="238136" y="695685"/>
                  <a:pt x="237557" y="689735"/>
                </a:cubicBezTo>
                <a:cubicBezTo>
                  <a:pt x="244977" y="685507"/>
                  <a:pt x="244977" y="685507"/>
                  <a:pt x="248492" y="685507"/>
                </a:cubicBezTo>
                <a:cubicBezTo>
                  <a:pt x="248492" y="684112"/>
                  <a:pt x="248492" y="682717"/>
                  <a:pt x="248492" y="681279"/>
                </a:cubicBezTo>
                <a:cubicBezTo>
                  <a:pt x="245914" y="680815"/>
                  <a:pt x="243337" y="680350"/>
                  <a:pt x="240681" y="679870"/>
                </a:cubicBezTo>
                <a:cubicBezTo>
                  <a:pt x="240681" y="678940"/>
                  <a:pt x="240681" y="678010"/>
                  <a:pt x="240681" y="677052"/>
                </a:cubicBezTo>
                <a:cubicBezTo>
                  <a:pt x="239827" y="676917"/>
                  <a:pt x="238973" y="676783"/>
                  <a:pt x="238094" y="676645"/>
                </a:cubicBezTo>
                <a:cubicBezTo>
                  <a:pt x="233442" y="675371"/>
                  <a:pt x="229939" y="673242"/>
                  <a:pt x="225841" y="670886"/>
                </a:cubicBezTo>
                <a:cubicBezTo>
                  <a:pt x="217808" y="666564"/>
                  <a:pt x="210635" y="664241"/>
                  <a:pt x="201531" y="662508"/>
                </a:cubicBezTo>
                <a:cubicBezTo>
                  <a:pt x="196896" y="661541"/>
                  <a:pt x="192682" y="660199"/>
                  <a:pt x="188252" y="658644"/>
                </a:cubicBezTo>
                <a:lnTo>
                  <a:pt x="182431" y="657327"/>
                </a:lnTo>
                <a:lnTo>
                  <a:pt x="182431" y="657613"/>
                </a:lnTo>
                <a:cubicBezTo>
                  <a:pt x="170575" y="657148"/>
                  <a:pt x="158718" y="656683"/>
                  <a:pt x="146503" y="656204"/>
                </a:cubicBezTo>
                <a:cubicBezTo>
                  <a:pt x="146503" y="657133"/>
                  <a:pt x="146503" y="658064"/>
                  <a:pt x="146503" y="659022"/>
                </a:cubicBezTo>
                <a:cubicBezTo>
                  <a:pt x="134359" y="662326"/>
                  <a:pt x="123013" y="663700"/>
                  <a:pt x="110378" y="663778"/>
                </a:cubicBezTo>
                <a:cubicBezTo>
                  <a:pt x="108435" y="663806"/>
                  <a:pt x="108435" y="663806"/>
                  <a:pt x="106453" y="663836"/>
                </a:cubicBezTo>
                <a:cubicBezTo>
                  <a:pt x="105231" y="663828"/>
                  <a:pt x="104009" y="663820"/>
                  <a:pt x="102751" y="663811"/>
                </a:cubicBezTo>
                <a:cubicBezTo>
                  <a:pt x="101117" y="663804"/>
                  <a:pt x="101117" y="663804"/>
                  <a:pt x="99449" y="663797"/>
                </a:cubicBezTo>
                <a:cubicBezTo>
                  <a:pt x="95696" y="663097"/>
                  <a:pt x="94265" y="661615"/>
                  <a:pt x="91828" y="659022"/>
                </a:cubicBezTo>
                <a:cubicBezTo>
                  <a:pt x="93890" y="659022"/>
                  <a:pt x="95953" y="659022"/>
                  <a:pt x="98077" y="659022"/>
                </a:cubicBezTo>
                <a:cubicBezTo>
                  <a:pt x="98077" y="659952"/>
                  <a:pt x="98077" y="660882"/>
                  <a:pt x="98077" y="661841"/>
                </a:cubicBezTo>
                <a:cubicBezTo>
                  <a:pt x="108735" y="662045"/>
                  <a:pt x="114063" y="662148"/>
                  <a:pt x="119023" y="661357"/>
                </a:cubicBezTo>
                <a:lnTo>
                  <a:pt x="119536" y="661197"/>
                </a:lnTo>
                <a:lnTo>
                  <a:pt x="109853" y="661639"/>
                </a:lnTo>
                <a:cubicBezTo>
                  <a:pt x="108764" y="661632"/>
                  <a:pt x="107675" y="661626"/>
                  <a:pt x="106552" y="661619"/>
                </a:cubicBezTo>
                <a:cubicBezTo>
                  <a:pt x="103877" y="661603"/>
                  <a:pt x="101203" y="661577"/>
                  <a:pt x="98528" y="661550"/>
                </a:cubicBezTo>
                <a:cubicBezTo>
                  <a:pt x="98528" y="660620"/>
                  <a:pt x="98528" y="659691"/>
                  <a:pt x="98528" y="658732"/>
                </a:cubicBezTo>
                <a:cubicBezTo>
                  <a:pt x="95435" y="658267"/>
                  <a:pt x="92342" y="657802"/>
                  <a:pt x="89155" y="657323"/>
                </a:cubicBezTo>
                <a:cubicBezTo>
                  <a:pt x="89155" y="656393"/>
                  <a:pt x="89155" y="655462"/>
                  <a:pt x="89155" y="654504"/>
                </a:cubicBezTo>
                <a:cubicBezTo>
                  <a:pt x="87790" y="653978"/>
                  <a:pt x="87790" y="653978"/>
                  <a:pt x="86397" y="653442"/>
                </a:cubicBezTo>
                <a:cubicBezTo>
                  <a:pt x="82415" y="651438"/>
                  <a:pt x="80039" y="649232"/>
                  <a:pt x="77049" y="646137"/>
                </a:cubicBezTo>
                <a:cubicBezTo>
                  <a:pt x="75611" y="644679"/>
                  <a:pt x="75611" y="644679"/>
                  <a:pt x="74145" y="643192"/>
                </a:cubicBezTo>
                <a:cubicBezTo>
                  <a:pt x="71972" y="640412"/>
                  <a:pt x="71972" y="640412"/>
                  <a:pt x="71972" y="636185"/>
                </a:cubicBezTo>
                <a:cubicBezTo>
                  <a:pt x="70941" y="636185"/>
                  <a:pt x="69910" y="636185"/>
                  <a:pt x="68848" y="636185"/>
                </a:cubicBezTo>
                <a:cubicBezTo>
                  <a:pt x="64250" y="621928"/>
                  <a:pt x="64695" y="609404"/>
                  <a:pt x="70410" y="595317"/>
                </a:cubicBezTo>
                <a:cubicBezTo>
                  <a:pt x="73096" y="591142"/>
                  <a:pt x="76144" y="587574"/>
                  <a:pt x="79782" y="584043"/>
                </a:cubicBezTo>
                <a:cubicBezTo>
                  <a:pt x="81205" y="582594"/>
                  <a:pt x="81205" y="582594"/>
                  <a:pt x="82656" y="581115"/>
                </a:cubicBezTo>
                <a:cubicBezTo>
                  <a:pt x="91488" y="574027"/>
                  <a:pt x="105133" y="571806"/>
                  <a:pt x="116694" y="572323"/>
                </a:cubicBezTo>
                <a:cubicBezTo>
                  <a:pt x="131556" y="574113"/>
                  <a:pt x="142046" y="580551"/>
                  <a:pt x="152031" y="590385"/>
                </a:cubicBezTo>
                <a:cubicBezTo>
                  <a:pt x="162272" y="600009"/>
                  <a:pt x="176992" y="605062"/>
                  <a:pt x="191474" y="605886"/>
                </a:cubicBezTo>
                <a:cubicBezTo>
                  <a:pt x="196845" y="606192"/>
                  <a:pt x="201203" y="606463"/>
                  <a:pt x="206314" y="608000"/>
                </a:cubicBezTo>
                <a:cubicBezTo>
                  <a:pt x="206314" y="608930"/>
                  <a:pt x="206314" y="609860"/>
                  <a:pt x="206314" y="610818"/>
                </a:cubicBezTo>
                <a:cubicBezTo>
                  <a:pt x="215689" y="610902"/>
                  <a:pt x="225058" y="610898"/>
                  <a:pt x="234433" y="610818"/>
                </a:cubicBezTo>
                <a:cubicBezTo>
                  <a:pt x="236112" y="610813"/>
                  <a:pt x="237791" y="610808"/>
                  <a:pt x="239522" y="610802"/>
                </a:cubicBezTo>
                <a:cubicBezTo>
                  <a:pt x="251005" y="610364"/>
                  <a:pt x="259257" y="606564"/>
                  <a:pt x="268799" y="600954"/>
                </a:cubicBezTo>
                <a:cubicBezTo>
                  <a:pt x="269770" y="600416"/>
                  <a:pt x="270740" y="599879"/>
                  <a:pt x="271740" y="599325"/>
                </a:cubicBezTo>
                <a:cubicBezTo>
                  <a:pt x="279452" y="594430"/>
                  <a:pt x="281420" y="587464"/>
                  <a:pt x="284420" y="579816"/>
                </a:cubicBezTo>
                <a:cubicBezTo>
                  <a:pt x="286047" y="576075"/>
                  <a:pt x="287725" y="572353"/>
                  <a:pt x="289399" y="568630"/>
                </a:cubicBezTo>
                <a:cubicBezTo>
                  <a:pt x="294095" y="558121"/>
                  <a:pt x="299004" y="547070"/>
                  <a:pt x="293958" y="535838"/>
                </a:cubicBezTo>
                <a:cubicBezTo>
                  <a:pt x="292436" y="533533"/>
                  <a:pt x="290781" y="531301"/>
                  <a:pt x="289107" y="529084"/>
                </a:cubicBezTo>
                <a:cubicBezTo>
                  <a:pt x="289107" y="528153"/>
                  <a:pt x="289107" y="527223"/>
                  <a:pt x="289107" y="526265"/>
                </a:cubicBezTo>
                <a:cubicBezTo>
                  <a:pt x="287560" y="525800"/>
                  <a:pt x="286014" y="525335"/>
                  <a:pt x="284420" y="524856"/>
                </a:cubicBezTo>
                <a:cubicBezTo>
                  <a:pt x="283905" y="523461"/>
                  <a:pt x="283389" y="522066"/>
                  <a:pt x="282858" y="520628"/>
                </a:cubicBezTo>
                <a:cubicBezTo>
                  <a:pt x="280750" y="518590"/>
                  <a:pt x="280750" y="518590"/>
                  <a:pt x="277977" y="516577"/>
                </a:cubicBezTo>
                <a:cubicBezTo>
                  <a:pt x="273591" y="513232"/>
                  <a:pt x="269227" y="509874"/>
                  <a:pt x="264925" y="506443"/>
                </a:cubicBezTo>
                <a:cubicBezTo>
                  <a:pt x="253596" y="497433"/>
                  <a:pt x="242132" y="488987"/>
                  <a:pt x="229746" y="481170"/>
                </a:cubicBezTo>
                <a:cubicBezTo>
                  <a:pt x="226846" y="479266"/>
                  <a:pt x="223950" y="477358"/>
                  <a:pt x="221057" y="475445"/>
                </a:cubicBezTo>
                <a:cubicBezTo>
                  <a:pt x="218227" y="473594"/>
                  <a:pt x="215396" y="471744"/>
                  <a:pt x="212563" y="469896"/>
                </a:cubicBezTo>
                <a:cubicBezTo>
                  <a:pt x="211351" y="469102"/>
                  <a:pt x="210138" y="468309"/>
                  <a:pt x="208889" y="467491"/>
                </a:cubicBezTo>
                <a:cubicBezTo>
                  <a:pt x="202848" y="463599"/>
                  <a:pt x="196732" y="459888"/>
                  <a:pt x="190406" y="456382"/>
                </a:cubicBezTo>
                <a:cubicBezTo>
                  <a:pt x="189263" y="455748"/>
                  <a:pt x="188119" y="455114"/>
                  <a:pt x="186942" y="454460"/>
                </a:cubicBezTo>
                <a:cubicBezTo>
                  <a:pt x="184648" y="453196"/>
                  <a:pt x="182348" y="451941"/>
                  <a:pt x="180041" y="450696"/>
                </a:cubicBezTo>
                <a:cubicBezTo>
                  <a:pt x="177292" y="449185"/>
                  <a:pt x="174612" y="447571"/>
                  <a:pt x="171948" y="445940"/>
                </a:cubicBezTo>
                <a:cubicBezTo>
                  <a:pt x="171948" y="445009"/>
                  <a:pt x="171948" y="444079"/>
                  <a:pt x="171948" y="443121"/>
                </a:cubicBezTo>
                <a:cubicBezTo>
                  <a:pt x="170804" y="442985"/>
                  <a:pt x="169660" y="442848"/>
                  <a:pt x="168482" y="442708"/>
                </a:cubicBezTo>
                <a:cubicBezTo>
                  <a:pt x="163547" y="441576"/>
                  <a:pt x="161063" y="439897"/>
                  <a:pt x="157107" y="437044"/>
                </a:cubicBezTo>
                <a:cubicBezTo>
                  <a:pt x="149345" y="431895"/>
                  <a:pt x="141843" y="429626"/>
                  <a:pt x="132559" y="427510"/>
                </a:cubicBezTo>
                <a:cubicBezTo>
                  <a:pt x="128067" y="426168"/>
                  <a:pt x="126607" y="425060"/>
                  <a:pt x="123522" y="421983"/>
                </a:cubicBezTo>
                <a:cubicBezTo>
                  <a:pt x="118310" y="419033"/>
                  <a:pt x="114076" y="418794"/>
                  <a:pt x="107986" y="418730"/>
                </a:cubicBezTo>
                <a:cubicBezTo>
                  <a:pt x="106174" y="418694"/>
                  <a:pt x="104362" y="418659"/>
                  <a:pt x="102494" y="418622"/>
                </a:cubicBezTo>
                <a:cubicBezTo>
                  <a:pt x="98715" y="418573"/>
                  <a:pt x="94936" y="418529"/>
                  <a:pt x="91157" y="418490"/>
                </a:cubicBezTo>
                <a:cubicBezTo>
                  <a:pt x="78470" y="418231"/>
                  <a:pt x="65485" y="417940"/>
                  <a:pt x="55277" y="410445"/>
                </a:cubicBezTo>
                <a:cubicBezTo>
                  <a:pt x="54084" y="409137"/>
                  <a:pt x="52893" y="407829"/>
                  <a:pt x="51665" y="406481"/>
                </a:cubicBezTo>
                <a:cubicBezTo>
                  <a:pt x="49752" y="404480"/>
                  <a:pt x="47831" y="402483"/>
                  <a:pt x="45904" y="400492"/>
                </a:cubicBezTo>
                <a:cubicBezTo>
                  <a:pt x="44996" y="399526"/>
                  <a:pt x="44088" y="398559"/>
                  <a:pt x="43152" y="397564"/>
                </a:cubicBezTo>
                <a:cubicBezTo>
                  <a:pt x="40865" y="395062"/>
                  <a:pt x="40865" y="395062"/>
                  <a:pt x="37605" y="393798"/>
                </a:cubicBezTo>
                <a:lnTo>
                  <a:pt x="38995" y="368712"/>
                </a:lnTo>
                <a:lnTo>
                  <a:pt x="38666" y="369724"/>
                </a:lnTo>
                <a:cubicBezTo>
                  <a:pt x="37003" y="374506"/>
                  <a:pt x="36202" y="379113"/>
                  <a:pt x="35542" y="384081"/>
                </a:cubicBezTo>
                <a:cubicBezTo>
                  <a:pt x="30313" y="376119"/>
                  <a:pt x="31188" y="366593"/>
                  <a:pt x="33326" y="357791"/>
                </a:cubicBezTo>
                <a:cubicBezTo>
                  <a:pt x="37176" y="347767"/>
                  <a:pt x="44536" y="340769"/>
                  <a:pt x="52725" y="333349"/>
                </a:cubicBezTo>
                <a:lnTo>
                  <a:pt x="55222" y="334475"/>
                </a:lnTo>
                <a:lnTo>
                  <a:pt x="56222" y="333347"/>
                </a:lnTo>
                <a:lnTo>
                  <a:pt x="55871" y="333347"/>
                </a:lnTo>
                <a:lnTo>
                  <a:pt x="56346" y="333207"/>
                </a:lnTo>
                <a:lnTo>
                  <a:pt x="56351" y="333202"/>
                </a:lnTo>
                <a:lnTo>
                  <a:pt x="56365" y="333202"/>
                </a:lnTo>
                <a:lnTo>
                  <a:pt x="79571" y="326360"/>
                </a:lnTo>
                <a:cubicBezTo>
                  <a:pt x="87782" y="326037"/>
                  <a:pt x="96164" y="327572"/>
                  <a:pt x="104297" y="330529"/>
                </a:cubicBezTo>
                <a:lnTo>
                  <a:pt x="107170" y="334417"/>
                </a:lnTo>
                <a:lnTo>
                  <a:pt x="109366" y="336046"/>
                </a:lnTo>
                <a:lnTo>
                  <a:pt x="109463" y="336020"/>
                </a:lnTo>
                <a:lnTo>
                  <a:pt x="109463" y="336118"/>
                </a:lnTo>
                <a:lnTo>
                  <a:pt x="115226" y="340394"/>
                </a:lnTo>
                <a:lnTo>
                  <a:pt x="114010" y="340120"/>
                </a:lnTo>
                <a:lnTo>
                  <a:pt x="133285" y="357423"/>
                </a:lnTo>
                <a:cubicBezTo>
                  <a:pt x="142471" y="373187"/>
                  <a:pt x="155564" y="382744"/>
                  <a:pt x="173509" y="389571"/>
                </a:cubicBezTo>
                <a:cubicBezTo>
                  <a:pt x="176254" y="390785"/>
                  <a:pt x="178988" y="392017"/>
                  <a:pt x="181711" y="393270"/>
                </a:cubicBezTo>
                <a:cubicBezTo>
                  <a:pt x="182964" y="393833"/>
                  <a:pt x="184216" y="394396"/>
                  <a:pt x="185507" y="394976"/>
                </a:cubicBezTo>
                <a:cubicBezTo>
                  <a:pt x="187897" y="396058"/>
                  <a:pt x="190281" y="397151"/>
                  <a:pt x="192658" y="398257"/>
                </a:cubicBezTo>
                <a:cubicBezTo>
                  <a:pt x="193749" y="398762"/>
                  <a:pt x="194841" y="399267"/>
                  <a:pt x="195966" y="399788"/>
                </a:cubicBezTo>
                <a:cubicBezTo>
                  <a:pt x="196912" y="400231"/>
                  <a:pt x="197858" y="400674"/>
                  <a:pt x="198833" y="401131"/>
                </a:cubicBezTo>
                <a:cubicBezTo>
                  <a:pt x="201808" y="402326"/>
                  <a:pt x="204701" y="403032"/>
                  <a:pt x="207877" y="403663"/>
                </a:cubicBezTo>
                <a:cubicBezTo>
                  <a:pt x="207877" y="404593"/>
                  <a:pt x="207877" y="405523"/>
                  <a:pt x="207877" y="406481"/>
                </a:cubicBezTo>
                <a:cubicBezTo>
                  <a:pt x="221233" y="411377"/>
                  <a:pt x="234752" y="415503"/>
                  <a:pt x="248492" y="419428"/>
                </a:cubicBezTo>
                <a:cubicBezTo>
                  <a:pt x="250298" y="419947"/>
                  <a:pt x="252104" y="420466"/>
                  <a:pt x="253965" y="421000"/>
                </a:cubicBezTo>
                <a:cubicBezTo>
                  <a:pt x="258388" y="422270"/>
                  <a:pt x="262812" y="423537"/>
                  <a:pt x="267237" y="424801"/>
                </a:cubicBezTo>
                <a:lnTo>
                  <a:pt x="267237" y="426451"/>
                </a:lnTo>
                <a:lnTo>
                  <a:pt x="288701" y="429217"/>
                </a:lnTo>
                <a:cubicBezTo>
                  <a:pt x="288701" y="430147"/>
                  <a:pt x="288701" y="431078"/>
                  <a:pt x="288701" y="432036"/>
                </a:cubicBezTo>
                <a:cubicBezTo>
                  <a:pt x="301487" y="433472"/>
                  <a:pt x="314148" y="433662"/>
                  <a:pt x="327010" y="433628"/>
                </a:cubicBezTo>
                <a:cubicBezTo>
                  <a:pt x="330502" y="433621"/>
                  <a:pt x="333994" y="433628"/>
                  <a:pt x="337486" y="433637"/>
                </a:cubicBezTo>
                <a:cubicBezTo>
                  <a:pt x="339734" y="433637"/>
                  <a:pt x="341982" y="433635"/>
                  <a:pt x="344229" y="433632"/>
                </a:cubicBezTo>
                <a:cubicBezTo>
                  <a:pt x="347246" y="433630"/>
                  <a:pt x="347246" y="433630"/>
                  <a:pt x="350323" y="433627"/>
                </a:cubicBezTo>
                <a:cubicBezTo>
                  <a:pt x="355445" y="433459"/>
                  <a:pt x="360220" y="432915"/>
                  <a:pt x="365245" y="432036"/>
                </a:cubicBezTo>
                <a:lnTo>
                  <a:pt x="360797" y="433759"/>
                </a:lnTo>
                <a:lnTo>
                  <a:pt x="365650" y="433257"/>
                </a:lnTo>
                <a:cubicBezTo>
                  <a:pt x="366166" y="431861"/>
                  <a:pt x="366682" y="430466"/>
                  <a:pt x="367213" y="429029"/>
                </a:cubicBezTo>
                <a:cubicBezTo>
                  <a:pt x="369854" y="427628"/>
                  <a:pt x="372501" y="426234"/>
                  <a:pt x="375188" y="424906"/>
                </a:cubicBezTo>
                <a:cubicBezTo>
                  <a:pt x="390245" y="417204"/>
                  <a:pt x="397438" y="403183"/>
                  <a:pt x="404704" y="389571"/>
                </a:cubicBezTo>
                <a:cubicBezTo>
                  <a:pt x="405219" y="389105"/>
                  <a:pt x="405734" y="388641"/>
                  <a:pt x="406265" y="388161"/>
                </a:cubicBezTo>
                <a:cubicBezTo>
                  <a:pt x="406663" y="382152"/>
                  <a:pt x="406555" y="376125"/>
                  <a:pt x="406559" y="370106"/>
                </a:cubicBezTo>
                <a:cubicBezTo>
                  <a:pt x="406578" y="368412"/>
                  <a:pt x="406597" y="366718"/>
                  <a:pt x="406617" y="364973"/>
                </a:cubicBezTo>
                <a:cubicBezTo>
                  <a:pt x="406620" y="363344"/>
                  <a:pt x="406622" y="361715"/>
                  <a:pt x="406626" y="360038"/>
                </a:cubicBezTo>
                <a:cubicBezTo>
                  <a:pt x="406632" y="358541"/>
                  <a:pt x="406638" y="357045"/>
                  <a:pt x="406645" y="355503"/>
                </a:cubicBezTo>
                <a:cubicBezTo>
                  <a:pt x="406264" y="351503"/>
                  <a:pt x="405326" y="349318"/>
                  <a:pt x="403142" y="345885"/>
                </a:cubicBezTo>
                <a:cubicBezTo>
                  <a:pt x="402583" y="343484"/>
                  <a:pt x="402067" y="341075"/>
                  <a:pt x="401579" y="338663"/>
                </a:cubicBezTo>
                <a:cubicBezTo>
                  <a:pt x="399365" y="330323"/>
                  <a:pt x="395538" y="323370"/>
                  <a:pt x="390938" y="315939"/>
                </a:cubicBezTo>
                <a:cubicBezTo>
                  <a:pt x="390290" y="314890"/>
                  <a:pt x="389642" y="313842"/>
                  <a:pt x="388976" y="312762"/>
                </a:cubicBezTo>
                <a:cubicBezTo>
                  <a:pt x="385623" y="307500"/>
                  <a:pt x="382070" y="302607"/>
                  <a:pt x="377934" y="297817"/>
                </a:cubicBezTo>
                <a:cubicBezTo>
                  <a:pt x="373788" y="292978"/>
                  <a:pt x="371423" y="288111"/>
                  <a:pt x="368775" y="282470"/>
                </a:cubicBezTo>
                <a:cubicBezTo>
                  <a:pt x="366035" y="278585"/>
                  <a:pt x="362994" y="274937"/>
                  <a:pt x="359890" y="271284"/>
                </a:cubicBezTo>
                <a:cubicBezTo>
                  <a:pt x="359059" y="270296"/>
                  <a:pt x="358230" y="269307"/>
                  <a:pt x="357374" y="268288"/>
                </a:cubicBezTo>
                <a:cubicBezTo>
                  <a:pt x="351312" y="261177"/>
                  <a:pt x="344882" y="254704"/>
                  <a:pt x="337533" y="248649"/>
                </a:cubicBezTo>
                <a:cubicBezTo>
                  <a:pt x="336767" y="247896"/>
                  <a:pt x="336002" y="247144"/>
                  <a:pt x="335214" y="246369"/>
                </a:cubicBezTo>
                <a:cubicBezTo>
                  <a:pt x="332597" y="243963"/>
                  <a:pt x="332597" y="243963"/>
                  <a:pt x="327085" y="242571"/>
                </a:cubicBezTo>
                <a:cubicBezTo>
                  <a:pt x="309670" y="236923"/>
                  <a:pt x="296614" y="222751"/>
                  <a:pt x="288785" y="207968"/>
                </a:cubicBezTo>
                <a:cubicBezTo>
                  <a:pt x="286673" y="202851"/>
                  <a:pt x="286348" y="197968"/>
                  <a:pt x="286373" y="192544"/>
                </a:cubicBezTo>
                <a:cubicBezTo>
                  <a:pt x="286377" y="191437"/>
                  <a:pt x="286381" y="190330"/>
                  <a:pt x="286385" y="189190"/>
                </a:cubicBezTo>
                <a:cubicBezTo>
                  <a:pt x="286881" y="178340"/>
                  <a:pt x="291581" y="171728"/>
                  <a:pt x="300042" y="164095"/>
                </a:cubicBezTo>
                <a:cubicBezTo>
                  <a:pt x="301386" y="162752"/>
                  <a:pt x="301386" y="162752"/>
                  <a:pt x="302757" y="161381"/>
                </a:cubicBezTo>
                <a:cubicBezTo>
                  <a:pt x="312597" y="152504"/>
                  <a:pt x="325185" y="152675"/>
                  <a:pt x="338411" y="152293"/>
                </a:cubicBezTo>
                <a:cubicBezTo>
                  <a:pt x="350839" y="152463"/>
                  <a:pt x="359094" y="154554"/>
                  <a:pt x="368482" y="161893"/>
                </a:cubicBezTo>
                <a:cubicBezTo>
                  <a:pt x="369609" y="163085"/>
                  <a:pt x="370737" y="164277"/>
                  <a:pt x="371899" y="165505"/>
                </a:cubicBezTo>
                <a:cubicBezTo>
                  <a:pt x="372962" y="166522"/>
                  <a:pt x="374026" y="167539"/>
                  <a:pt x="375121" y="168587"/>
                </a:cubicBezTo>
                <a:cubicBezTo>
                  <a:pt x="381050" y="176351"/>
                  <a:pt x="384520" y="184328"/>
                  <a:pt x="384982" y="193777"/>
                </a:cubicBezTo>
                <a:cubicBezTo>
                  <a:pt x="385464" y="201192"/>
                  <a:pt x="387638" y="207607"/>
                  <a:pt x="390352" y="214563"/>
                </a:cubicBezTo>
                <a:cubicBezTo>
                  <a:pt x="390934" y="216079"/>
                  <a:pt x="390934" y="216079"/>
                  <a:pt x="391529" y="217626"/>
                </a:cubicBezTo>
                <a:cubicBezTo>
                  <a:pt x="394082" y="223926"/>
                  <a:pt x="397412" y="228969"/>
                  <a:pt x="401579" y="234556"/>
                </a:cubicBezTo>
                <a:cubicBezTo>
                  <a:pt x="401579" y="235952"/>
                  <a:pt x="401579" y="237347"/>
                  <a:pt x="401579" y="238784"/>
                </a:cubicBezTo>
                <a:cubicBezTo>
                  <a:pt x="402884" y="239263"/>
                  <a:pt x="402884" y="239263"/>
                  <a:pt x="404215" y="239753"/>
                </a:cubicBezTo>
                <a:cubicBezTo>
                  <a:pt x="410099" y="242765"/>
                  <a:pt x="414395" y="246733"/>
                  <a:pt x="417811" y="251996"/>
                </a:cubicBezTo>
                <a:cubicBezTo>
                  <a:pt x="420462" y="255897"/>
                  <a:pt x="423407" y="258959"/>
                  <a:pt x="426866" y="262300"/>
                </a:cubicBezTo>
                <a:cubicBezTo>
                  <a:pt x="435101" y="270407"/>
                  <a:pt x="442641" y="278936"/>
                  <a:pt x="450097" y="287628"/>
                </a:cubicBezTo>
                <a:cubicBezTo>
                  <a:pt x="453081" y="291117"/>
                  <a:pt x="453081" y="291117"/>
                  <a:pt x="457425" y="293920"/>
                </a:cubicBezTo>
                <a:cubicBezTo>
                  <a:pt x="458585" y="294792"/>
                  <a:pt x="459745" y="295664"/>
                  <a:pt x="460940" y="296562"/>
                </a:cubicBezTo>
                <a:cubicBezTo>
                  <a:pt x="460940" y="297957"/>
                  <a:pt x="460940" y="299352"/>
                  <a:pt x="460940" y="300790"/>
                </a:cubicBezTo>
                <a:cubicBezTo>
                  <a:pt x="465063" y="302782"/>
                  <a:pt x="468862" y="304133"/>
                  <a:pt x="473437" y="305018"/>
                </a:cubicBezTo>
                <a:cubicBezTo>
                  <a:pt x="473437" y="305947"/>
                  <a:pt x="473437" y="306877"/>
                  <a:pt x="473437" y="307836"/>
                </a:cubicBezTo>
                <a:cubicBezTo>
                  <a:pt x="475581" y="308519"/>
                  <a:pt x="477730" y="309193"/>
                  <a:pt x="479881" y="309862"/>
                </a:cubicBezTo>
                <a:cubicBezTo>
                  <a:pt x="481077" y="310237"/>
                  <a:pt x="482273" y="310614"/>
                  <a:pt x="483505" y="311001"/>
                </a:cubicBezTo>
                <a:cubicBezTo>
                  <a:pt x="505448" y="316843"/>
                  <a:pt x="527690" y="314359"/>
                  <a:pt x="548419" y="306427"/>
                </a:cubicBezTo>
                <a:cubicBezTo>
                  <a:pt x="549548" y="305998"/>
                  <a:pt x="550678" y="305569"/>
                  <a:pt x="551842" y="305127"/>
                </a:cubicBezTo>
                <a:cubicBezTo>
                  <a:pt x="555376" y="303227"/>
                  <a:pt x="557584" y="300980"/>
                  <a:pt x="560232" y="298148"/>
                </a:cubicBezTo>
                <a:cubicBezTo>
                  <a:pt x="561137" y="297192"/>
                  <a:pt x="562041" y="296236"/>
                  <a:pt x="562972" y="295252"/>
                </a:cubicBezTo>
                <a:cubicBezTo>
                  <a:pt x="564755" y="293274"/>
                  <a:pt x="566459" y="291237"/>
                  <a:pt x="568086" y="289152"/>
                </a:cubicBezTo>
                <a:cubicBezTo>
                  <a:pt x="568813" y="288342"/>
                  <a:pt x="569539" y="287532"/>
                  <a:pt x="570289" y="286697"/>
                </a:cubicBezTo>
                <a:cubicBezTo>
                  <a:pt x="571319" y="286697"/>
                  <a:pt x="572350" y="286697"/>
                  <a:pt x="573413" y="286697"/>
                </a:cubicBezTo>
                <a:cubicBezTo>
                  <a:pt x="577408" y="276984"/>
                  <a:pt x="577197" y="267284"/>
                  <a:pt x="577220" y="257016"/>
                </a:cubicBezTo>
                <a:cubicBezTo>
                  <a:pt x="577227" y="255625"/>
                  <a:pt x="577227" y="255625"/>
                  <a:pt x="577235" y="254206"/>
                </a:cubicBezTo>
                <a:cubicBezTo>
                  <a:pt x="577257" y="237553"/>
                  <a:pt x="574604" y="222055"/>
                  <a:pt x="569443" y="206049"/>
                </a:cubicBezTo>
                <a:cubicBezTo>
                  <a:pt x="568726" y="203553"/>
                  <a:pt x="568726" y="203553"/>
                  <a:pt x="568726" y="200735"/>
                </a:cubicBezTo>
                <a:cubicBezTo>
                  <a:pt x="567695" y="200735"/>
                  <a:pt x="566664" y="200735"/>
                  <a:pt x="565602" y="200735"/>
                </a:cubicBezTo>
                <a:cubicBezTo>
                  <a:pt x="563274" y="195295"/>
                  <a:pt x="561092" y="190108"/>
                  <a:pt x="559549" y="184441"/>
                </a:cubicBezTo>
                <a:cubicBezTo>
                  <a:pt x="555572" y="173477"/>
                  <a:pt x="547043" y="167105"/>
                  <a:pt x="537484" y="159867"/>
                </a:cubicBezTo>
                <a:cubicBezTo>
                  <a:pt x="533579" y="156609"/>
                  <a:pt x="533579" y="156609"/>
                  <a:pt x="531235" y="154230"/>
                </a:cubicBezTo>
                <a:cubicBezTo>
                  <a:pt x="531235" y="153301"/>
                  <a:pt x="531235" y="152371"/>
                  <a:pt x="531235" y="151412"/>
                </a:cubicBezTo>
                <a:cubicBezTo>
                  <a:pt x="529689" y="150947"/>
                  <a:pt x="528143" y="150482"/>
                  <a:pt x="526549" y="150003"/>
                </a:cubicBezTo>
                <a:cubicBezTo>
                  <a:pt x="519904" y="137298"/>
                  <a:pt x="519105" y="120357"/>
                  <a:pt x="524304" y="107198"/>
                </a:cubicBezTo>
                <a:cubicBezTo>
                  <a:pt x="529443" y="97376"/>
                  <a:pt x="535781" y="90193"/>
                  <a:pt x="547052" y="85972"/>
                </a:cubicBezTo>
                <a:cubicBezTo>
                  <a:pt x="559924" y="81835"/>
                  <a:pt x="575221" y="79746"/>
                  <a:pt x="588460" y="83538"/>
                </a:cubicBezTo>
                <a:cubicBezTo>
                  <a:pt x="601643" y="89713"/>
                  <a:pt x="611835" y="99450"/>
                  <a:pt x="617152" y="111954"/>
                </a:cubicBezTo>
                <a:cubicBezTo>
                  <a:pt x="617935" y="116052"/>
                  <a:pt x="617954" y="120024"/>
                  <a:pt x="617884" y="124175"/>
                </a:cubicBezTo>
                <a:cubicBezTo>
                  <a:pt x="617896" y="125307"/>
                  <a:pt x="617906" y="126440"/>
                  <a:pt x="617917" y="127607"/>
                </a:cubicBezTo>
                <a:cubicBezTo>
                  <a:pt x="617963" y="132394"/>
                  <a:pt x="617938" y="137181"/>
                  <a:pt x="617919" y="141969"/>
                </a:cubicBezTo>
                <a:cubicBezTo>
                  <a:pt x="617899" y="160184"/>
                  <a:pt x="619422" y="175572"/>
                  <a:pt x="630625" y="191311"/>
                </a:cubicBezTo>
                <a:cubicBezTo>
                  <a:pt x="633753" y="195891"/>
                  <a:pt x="636431" y="199900"/>
                  <a:pt x="637850" y="205139"/>
                </a:cubicBezTo>
                <a:cubicBezTo>
                  <a:pt x="638615" y="209623"/>
                  <a:pt x="638615" y="209623"/>
                  <a:pt x="643708" y="212009"/>
                </a:cubicBezTo>
                <a:cubicBezTo>
                  <a:pt x="645380" y="214563"/>
                  <a:pt x="645380" y="214563"/>
                  <a:pt x="647027" y="217645"/>
                </a:cubicBezTo>
                <a:cubicBezTo>
                  <a:pt x="652549" y="227016"/>
                  <a:pt x="660443" y="235696"/>
                  <a:pt x="670264" y="241603"/>
                </a:cubicBezTo>
                <a:cubicBezTo>
                  <a:pt x="670264" y="242532"/>
                  <a:pt x="670264" y="243462"/>
                  <a:pt x="670264" y="244421"/>
                </a:cubicBezTo>
                <a:cubicBezTo>
                  <a:pt x="672036" y="244857"/>
                  <a:pt x="673808" y="245293"/>
                  <a:pt x="675634" y="245742"/>
                </a:cubicBezTo>
                <a:cubicBezTo>
                  <a:pt x="681199" y="247239"/>
                  <a:pt x="681199" y="247239"/>
                  <a:pt x="682761" y="248649"/>
                </a:cubicBezTo>
                <a:cubicBezTo>
                  <a:pt x="704487" y="252065"/>
                  <a:pt x="732606" y="256402"/>
                  <a:pt x="752092" y="245076"/>
                </a:cubicBezTo>
                <a:cubicBezTo>
                  <a:pt x="754252" y="243599"/>
                  <a:pt x="756372" y="242073"/>
                  <a:pt x="758433" y="240485"/>
                </a:cubicBezTo>
                <a:cubicBezTo>
                  <a:pt x="760867" y="238784"/>
                  <a:pt x="760867" y="238784"/>
                  <a:pt x="763991" y="238784"/>
                </a:cubicBezTo>
                <a:cubicBezTo>
                  <a:pt x="764647" y="237296"/>
                  <a:pt x="764647" y="237296"/>
                  <a:pt x="765315" y="235778"/>
                </a:cubicBezTo>
                <a:cubicBezTo>
                  <a:pt x="767151" y="231659"/>
                  <a:pt x="769030" y="227557"/>
                  <a:pt x="770923" y="223459"/>
                </a:cubicBezTo>
                <a:cubicBezTo>
                  <a:pt x="771608" y="221966"/>
                  <a:pt x="772292" y="220472"/>
                  <a:pt x="772998" y="218934"/>
                </a:cubicBezTo>
                <a:cubicBezTo>
                  <a:pt x="774429" y="215885"/>
                  <a:pt x="775968" y="212878"/>
                  <a:pt x="777562" y="209895"/>
                </a:cubicBezTo>
                <a:cubicBezTo>
                  <a:pt x="787607" y="185732"/>
                  <a:pt x="788559" y="149501"/>
                  <a:pt x="781175" y="124637"/>
                </a:cubicBezTo>
                <a:cubicBezTo>
                  <a:pt x="780144" y="124637"/>
                  <a:pt x="779113" y="124637"/>
                  <a:pt x="778051" y="124637"/>
                </a:cubicBezTo>
                <a:cubicBezTo>
                  <a:pt x="768501" y="110080"/>
                  <a:pt x="762898" y="96653"/>
                  <a:pt x="767116" y="79542"/>
                </a:cubicBezTo>
                <a:cubicBezTo>
                  <a:pt x="772286" y="69057"/>
                  <a:pt x="781456" y="58252"/>
                  <a:pt x="793379" y="54000"/>
                </a:cubicBezTo>
                <a:cubicBezTo>
                  <a:pt x="808369" y="49250"/>
                  <a:pt x="826058" y="49579"/>
                  <a:pt x="840688" y="55503"/>
                </a:cubicBezTo>
                <a:cubicBezTo>
                  <a:pt x="845183" y="57759"/>
                  <a:pt x="848037" y="60575"/>
                  <a:pt x="851470" y="64040"/>
                </a:cubicBezTo>
                <a:cubicBezTo>
                  <a:pt x="852721" y="65272"/>
                  <a:pt x="852721" y="65272"/>
                  <a:pt x="853997" y="66529"/>
                </a:cubicBezTo>
                <a:cubicBezTo>
                  <a:pt x="858396" y="71505"/>
                  <a:pt x="860490" y="76640"/>
                  <a:pt x="861488" y="82057"/>
                </a:cubicBezTo>
                <a:lnTo>
                  <a:pt x="861937" y="90492"/>
                </a:lnTo>
                <a:lnTo>
                  <a:pt x="863826" y="100715"/>
                </a:lnTo>
                <a:cubicBezTo>
                  <a:pt x="862141" y="107853"/>
                  <a:pt x="859866" y="114857"/>
                  <a:pt x="857577" y="121853"/>
                </a:cubicBezTo>
                <a:cubicBezTo>
                  <a:pt x="857062" y="121853"/>
                  <a:pt x="856547" y="121853"/>
                  <a:pt x="856015" y="121853"/>
                </a:cubicBezTo>
                <a:cubicBezTo>
                  <a:pt x="855731" y="120401"/>
                  <a:pt x="855731" y="120401"/>
                  <a:pt x="855442" y="118919"/>
                </a:cubicBezTo>
                <a:lnTo>
                  <a:pt x="855417" y="118798"/>
                </a:lnTo>
                <a:lnTo>
                  <a:pt x="856157" y="124637"/>
                </a:lnTo>
                <a:lnTo>
                  <a:pt x="850623" y="134701"/>
                </a:lnTo>
                <a:lnTo>
                  <a:pt x="851325" y="135968"/>
                </a:lnTo>
                <a:cubicBezTo>
                  <a:pt x="850851" y="137246"/>
                  <a:pt x="850376" y="138525"/>
                  <a:pt x="849886" y="139843"/>
                </a:cubicBezTo>
                <a:cubicBezTo>
                  <a:pt x="848171" y="144505"/>
                  <a:pt x="847798" y="148002"/>
                  <a:pt x="847786" y="152889"/>
                </a:cubicBezTo>
                <a:cubicBezTo>
                  <a:pt x="847779" y="154500"/>
                  <a:pt x="847773" y="156109"/>
                  <a:pt x="847767" y="157768"/>
                </a:cubicBezTo>
                <a:cubicBezTo>
                  <a:pt x="847782" y="159468"/>
                  <a:pt x="847796" y="161167"/>
                  <a:pt x="847810" y="162919"/>
                </a:cubicBezTo>
                <a:cubicBezTo>
                  <a:pt x="847821" y="165546"/>
                  <a:pt x="847821" y="165546"/>
                  <a:pt x="847832" y="168227"/>
                </a:cubicBezTo>
                <a:cubicBezTo>
                  <a:pt x="847980" y="181934"/>
                  <a:pt x="849003" y="195419"/>
                  <a:pt x="850903" y="209013"/>
                </a:cubicBezTo>
                <a:lnTo>
                  <a:pt x="852880" y="224692"/>
                </a:lnTo>
                <a:lnTo>
                  <a:pt x="854595" y="224692"/>
                </a:lnTo>
                <a:cubicBezTo>
                  <a:pt x="855086" y="225542"/>
                  <a:pt x="855577" y="226392"/>
                  <a:pt x="856083" y="227268"/>
                </a:cubicBezTo>
                <a:cubicBezTo>
                  <a:pt x="862358" y="237839"/>
                  <a:pt x="866924" y="242785"/>
                  <a:pt x="879588" y="247239"/>
                </a:cubicBezTo>
                <a:cubicBezTo>
                  <a:pt x="881642" y="248025"/>
                  <a:pt x="883692" y="248817"/>
                  <a:pt x="885739" y="249618"/>
                </a:cubicBezTo>
                <a:cubicBezTo>
                  <a:pt x="887318" y="250227"/>
                  <a:pt x="888897" y="250838"/>
                  <a:pt x="890523" y="251467"/>
                </a:cubicBezTo>
                <a:cubicBezTo>
                  <a:pt x="890523" y="252397"/>
                  <a:pt x="890523" y="253327"/>
                  <a:pt x="890523" y="254285"/>
                </a:cubicBezTo>
                <a:cubicBezTo>
                  <a:pt x="900347" y="257061"/>
                  <a:pt x="910127" y="259425"/>
                  <a:pt x="920203" y="261332"/>
                </a:cubicBezTo>
                <a:cubicBezTo>
                  <a:pt x="920203" y="261796"/>
                  <a:pt x="920203" y="262262"/>
                  <a:pt x="920203" y="262741"/>
                </a:cubicBezTo>
                <a:cubicBezTo>
                  <a:pt x="917111" y="262741"/>
                  <a:pt x="914018" y="262741"/>
                  <a:pt x="910831" y="262741"/>
                </a:cubicBezTo>
                <a:lnTo>
                  <a:pt x="910831" y="262864"/>
                </a:lnTo>
                <a:lnTo>
                  <a:pt x="927993" y="264177"/>
                </a:lnTo>
                <a:lnTo>
                  <a:pt x="939273" y="265285"/>
                </a:lnTo>
                <a:lnTo>
                  <a:pt x="940456" y="265191"/>
                </a:lnTo>
                <a:cubicBezTo>
                  <a:pt x="962552" y="263054"/>
                  <a:pt x="974979" y="255295"/>
                  <a:pt x="991622" y="242329"/>
                </a:cubicBezTo>
                <a:lnTo>
                  <a:pt x="1000803" y="236505"/>
                </a:lnTo>
                <a:lnTo>
                  <a:pt x="999806" y="236055"/>
                </a:lnTo>
                <a:cubicBezTo>
                  <a:pt x="1000902" y="234997"/>
                  <a:pt x="1001997" y="233941"/>
                  <a:pt x="1003126" y="232851"/>
                </a:cubicBezTo>
                <a:cubicBezTo>
                  <a:pt x="1012364" y="223880"/>
                  <a:pt x="1021184" y="214752"/>
                  <a:pt x="1029487" y="205052"/>
                </a:cubicBezTo>
                <a:lnTo>
                  <a:pt x="1029872" y="206442"/>
                </a:lnTo>
                <a:lnTo>
                  <a:pt x="1031614" y="203719"/>
                </a:lnTo>
                <a:cubicBezTo>
                  <a:pt x="1033221" y="199204"/>
                  <a:pt x="1035713" y="196017"/>
                  <a:pt x="1038924" y="192280"/>
                </a:cubicBezTo>
                <a:cubicBezTo>
                  <a:pt x="1039956" y="191815"/>
                  <a:pt x="1040987" y="191349"/>
                  <a:pt x="1042049" y="190870"/>
                </a:cubicBezTo>
                <a:cubicBezTo>
                  <a:pt x="1043161" y="188473"/>
                  <a:pt x="1043161" y="188473"/>
                  <a:pt x="1044294" y="186026"/>
                </a:cubicBezTo>
                <a:cubicBezTo>
                  <a:pt x="1046735" y="181006"/>
                  <a:pt x="1046735" y="181006"/>
                  <a:pt x="1051422" y="178188"/>
                </a:cubicBezTo>
                <a:cubicBezTo>
                  <a:pt x="1052553" y="175286"/>
                  <a:pt x="1052553" y="175286"/>
                  <a:pt x="1052984" y="172551"/>
                </a:cubicBezTo>
                <a:cubicBezTo>
                  <a:pt x="1054014" y="172551"/>
                  <a:pt x="1055046" y="172551"/>
                  <a:pt x="1056108" y="172551"/>
                </a:cubicBezTo>
                <a:cubicBezTo>
                  <a:pt x="1057139" y="169295"/>
                  <a:pt x="1058170" y="166040"/>
                  <a:pt x="1059232" y="162686"/>
                </a:cubicBezTo>
                <a:cubicBezTo>
                  <a:pt x="1060263" y="162686"/>
                  <a:pt x="1061295" y="162686"/>
                  <a:pt x="1062357" y="162686"/>
                </a:cubicBezTo>
                <a:cubicBezTo>
                  <a:pt x="1062755" y="161484"/>
                  <a:pt x="1062755" y="161484"/>
                  <a:pt x="1063162" y="160258"/>
                </a:cubicBezTo>
                <a:cubicBezTo>
                  <a:pt x="1065716" y="152917"/>
                  <a:pt x="1068813" y="146686"/>
                  <a:pt x="1073292" y="140138"/>
                </a:cubicBezTo>
                <a:cubicBezTo>
                  <a:pt x="1074322" y="140138"/>
                  <a:pt x="1075353" y="140138"/>
                  <a:pt x="1076415" y="140138"/>
                </a:cubicBezTo>
                <a:cubicBezTo>
                  <a:pt x="1079808" y="132748"/>
                  <a:pt x="1082509" y="125160"/>
                  <a:pt x="1085294" y="117569"/>
                </a:cubicBezTo>
                <a:cubicBezTo>
                  <a:pt x="1085972" y="116181"/>
                  <a:pt x="1086651" y="114793"/>
                  <a:pt x="1087350" y="113363"/>
                </a:cubicBezTo>
                <a:cubicBezTo>
                  <a:pt x="1089671" y="112666"/>
                  <a:pt x="1089671" y="112666"/>
                  <a:pt x="1092037" y="111954"/>
                </a:cubicBezTo>
                <a:cubicBezTo>
                  <a:pt x="1092230" y="110879"/>
                  <a:pt x="1092423" y="109803"/>
                  <a:pt x="1092623" y="108695"/>
                </a:cubicBezTo>
                <a:cubicBezTo>
                  <a:pt x="1093599" y="104908"/>
                  <a:pt x="1093599" y="104908"/>
                  <a:pt x="1096723" y="100680"/>
                </a:cubicBezTo>
                <a:cubicBezTo>
                  <a:pt x="1097207" y="99140"/>
                  <a:pt x="1097689" y="97599"/>
                  <a:pt x="1098188" y="96013"/>
                </a:cubicBezTo>
                <a:cubicBezTo>
                  <a:pt x="1099847" y="90815"/>
                  <a:pt x="1099847" y="90815"/>
                  <a:pt x="1102288" y="87029"/>
                </a:cubicBezTo>
                <a:cubicBezTo>
                  <a:pt x="1106061" y="79186"/>
                  <a:pt x="1107564" y="69424"/>
                  <a:pt x="1104534" y="61222"/>
                </a:cubicBezTo>
                <a:cubicBezTo>
                  <a:pt x="1104409" y="59341"/>
                  <a:pt x="1104366" y="57454"/>
                  <a:pt x="1104381" y="55569"/>
                </a:cubicBezTo>
                <a:cubicBezTo>
                  <a:pt x="1104386" y="54501"/>
                  <a:pt x="1104391" y="53434"/>
                  <a:pt x="1104397" y="52335"/>
                </a:cubicBezTo>
                <a:cubicBezTo>
                  <a:pt x="1104410" y="51228"/>
                  <a:pt x="1104423" y="50120"/>
                  <a:pt x="1104436" y="48979"/>
                </a:cubicBezTo>
                <a:cubicBezTo>
                  <a:pt x="1104443" y="47856"/>
                  <a:pt x="1104451" y="46733"/>
                  <a:pt x="1104457" y="45575"/>
                </a:cubicBezTo>
                <a:cubicBezTo>
                  <a:pt x="1104476" y="42805"/>
                  <a:pt x="1104504" y="40035"/>
                  <a:pt x="1104534" y="37265"/>
                </a:cubicBezTo>
                <a:cubicBezTo>
                  <a:pt x="1105565" y="37265"/>
                  <a:pt x="1106596" y="37265"/>
                  <a:pt x="1107658" y="37265"/>
                </a:cubicBezTo>
                <a:cubicBezTo>
                  <a:pt x="1107561" y="34562"/>
                  <a:pt x="1107561" y="34562"/>
                  <a:pt x="1107463" y="31805"/>
                </a:cubicBezTo>
                <a:cubicBezTo>
                  <a:pt x="1107353" y="28733"/>
                  <a:pt x="1107353" y="28733"/>
                  <a:pt x="1107658" y="25991"/>
                </a:cubicBezTo>
                <a:cubicBezTo>
                  <a:pt x="1108689" y="25062"/>
                  <a:pt x="1109720" y="24131"/>
                  <a:pt x="1110782" y="23173"/>
                </a:cubicBezTo>
                <a:cubicBezTo>
                  <a:pt x="1111104" y="22156"/>
                  <a:pt x="1111427" y="21138"/>
                  <a:pt x="1111759" y="20091"/>
                </a:cubicBezTo>
                <a:cubicBezTo>
                  <a:pt x="1116393" y="11539"/>
                  <a:pt x="1124927" y="6390"/>
                  <a:pt x="1134507" y="2828"/>
                </a:cubicBezTo>
                <a:cubicBezTo>
                  <a:pt x="1141389" y="825"/>
                  <a:pt x="1148262" y="-204"/>
                  <a:pt x="1155019" y="35"/>
                </a:cubicBezTo>
                <a:close/>
              </a:path>
            </a:pathLst>
          </a:custGeom>
          <a:solidFill>
            <a:schemeClr val="accent3"/>
          </a:solidFill>
          <a:ln w="2232" cap="flat">
            <a:noFill/>
            <a:prstDash val="solid"/>
            <a:miter/>
          </a:ln>
          <a:effectLst>
            <a:innerShdw blurRad="63500" dist="190500" dir="8100000">
              <a:schemeClr val="accent3">
                <a:lumMod val="75000"/>
                <a:alpha val="50000"/>
              </a:schemeClr>
            </a:innerShdw>
          </a:effectLst>
        </p:spPr>
        <p:txBody>
          <a:bodyPr wrap="squar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91" name="Oval 290">
            <a:extLst>
              <a:ext uri="{FF2B5EF4-FFF2-40B4-BE49-F238E27FC236}">
                <a16:creationId xmlns:a16="http://schemas.microsoft.com/office/drawing/2014/main" id="{33FEAD6A-7A9A-E6F3-0791-BE274A116288}"/>
              </a:ext>
            </a:extLst>
          </p:cNvPr>
          <p:cNvSpPr/>
          <p:nvPr/>
        </p:nvSpPr>
        <p:spPr>
          <a:xfrm>
            <a:off x="3458189" y="3281506"/>
            <a:ext cx="96793" cy="96793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92" name="Oval 291">
            <a:extLst>
              <a:ext uri="{FF2B5EF4-FFF2-40B4-BE49-F238E27FC236}">
                <a16:creationId xmlns:a16="http://schemas.microsoft.com/office/drawing/2014/main" id="{E048BD81-250F-B585-B3B7-FEAAB46EAB5F}"/>
              </a:ext>
            </a:extLst>
          </p:cNvPr>
          <p:cNvSpPr/>
          <p:nvPr/>
        </p:nvSpPr>
        <p:spPr>
          <a:xfrm>
            <a:off x="3587401" y="3366258"/>
            <a:ext cx="96793" cy="96793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93" name="Oval 292">
            <a:extLst>
              <a:ext uri="{FF2B5EF4-FFF2-40B4-BE49-F238E27FC236}">
                <a16:creationId xmlns:a16="http://schemas.microsoft.com/office/drawing/2014/main" id="{32882E6B-8B2C-4402-206D-127F8A676343}"/>
              </a:ext>
            </a:extLst>
          </p:cNvPr>
          <p:cNvSpPr/>
          <p:nvPr/>
        </p:nvSpPr>
        <p:spPr>
          <a:xfrm>
            <a:off x="3493618" y="3523950"/>
            <a:ext cx="75769" cy="75769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94" name="Oval 293">
            <a:extLst>
              <a:ext uri="{FF2B5EF4-FFF2-40B4-BE49-F238E27FC236}">
                <a16:creationId xmlns:a16="http://schemas.microsoft.com/office/drawing/2014/main" id="{645EC6BA-0F07-5D33-EDE8-860770DE4FFD}"/>
              </a:ext>
            </a:extLst>
          </p:cNvPr>
          <p:cNvSpPr/>
          <p:nvPr/>
        </p:nvSpPr>
        <p:spPr>
          <a:xfrm>
            <a:off x="3695771" y="3506583"/>
            <a:ext cx="96793" cy="96793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95" name="Oval 294">
            <a:extLst>
              <a:ext uri="{FF2B5EF4-FFF2-40B4-BE49-F238E27FC236}">
                <a16:creationId xmlns:a16="http://schemas.microsoft.com/office/drawing/2014/main" id="{E73126C6-55BF-F5AA-8B83-6D24439610FA}"/>
              </a:ext>
            </a:extLst>
          </p:cNvPr>
          <p:cNvSpPr/>
          <p:nvPr/>
        </p:nvSpPr>
        <p:spPr>
          <a:xfrm>
            <a:off x="3727031" y="3305125"/>
            <a:ext cx="65532" cy="65532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96" name="Free-form: Shape 295">
            <a:extLst>
              <a:ext uri="{FF2B5EF4-FFF2-40B4-BE49-F238E27FC236}">
                <a16:creationId xmlns:a16="http://schemas.microsoft.com/office/drawing/2014/main" id="{716B6D38-9446-E552-BBEA-9D8318F5E156}"/>
              </a:ext>
            </a:extLst>
          </p:cNvPr>
          <p:cNvSpPr/>
          <p:nvPr/>
        </p:nvSpPr>
        <p:spPr>
          <a:xfrm>
            <a:off x="6504045" y="3815677"/>
            <a:ext cx="744826" cy="151965"/>
          </a:xfrm>
          <a:custGeom>
            <a:avLst/>
            <a:gdLst>
              <a:gd name="csX0" fmla="*/ 0 w 1020019"/>
              <a:gd name="csY0" fmla="*/ 0 h 228600"/>
              <a:gd name="csX1" fmla="*/ 892656 w 1020019"/>
              <a:gd name="csY1" fmla="*/ 0 h 228600"/>
              <a:gd name="csX2" fmla="*/ 1020019 w 1020019"/>
              <a:gd name="csY2" fmla="*/ 228600 h 228600"/>
              <a:gd name="csX3" fmla="*/ 65128 w 1020019"/>
              <a:gd name="csY3" fmla="*/ 228600 h 228600"/>
              <a:gd name="csX4" fmla="*/ 0 w 1020019"/>
              <a:gd name="csY4" fmla="*/ 0 h 22860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020019" h="228600">
                <a:moveTo>
                  <a:pt x="0" y="0"/>
                </a:moveTo>
                <a:lnTo>
                  <a:pt x="892656" y="0"/>
                </a:lnTo>
                <a:lnTo>
                  <a:pt x="1020019" y="228600"/>
                </a:lnTo>
                <a:lnTo>
                  <a:pt x="65128" y="2286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97" name="Free-form: Shape 296">
            <a:extLst>
              <a:ext uri="{FF2B5EF4-FFF2-40B4-BE49-F238E27FC236}">
                <a16:creationId xmlns:a16="http://schemas.microsoft.com/office/drawing/2014/main" id="{C985C87E-B9DC-03AF-44EF-5961B565E516}"/>
              </a:ext>
            </a:extLst>
          </p:cNvPr>
          <p:cNvSpPr/>
          <p:nvPr/>
        </p:nvSpPr>
        <p:spPr>
          <a:xfrm>
            <a:off x="6595884" y="4130553"/>
            <a:ext cx="856070" cy="205101"/>
          </a:xfrm>
          <a:custGeom>
            <a:avLst/>
            <a:gdLst>
              <a:gd name="csX0" fmla="*/ 0 w 1020019"/>
              <a:gd name="csY0" fmla="*/ 0 h 228600"/>
              <a:gd name="csX1" fmla="*/ 892656 w 1020019"/>
              <a:gd name="csY1" fmla="*/ 0 h 228600"/>
              <a:gd name="csX2" fmla="*/ 1020019 w 1020019"/>
              <a:gd name="csY2" fmla="*/ 228600 h 228600"/>
              <a:gd name="csX3" fmla="*/ 65128 w 1020019"/>
              <a:gd name="csY3" fmla="*/ 228600 h 228600"/>
              <a:gd name="csX4" fmla="*/ 0 w 1020019"/>
              <a:gd name="csY4" fmla="*/ 0 h 228600"/>
              <a:gd name="csX0" fmla="*/ 0 w 1020019"/>
              <a:gd name="csY0" fmla="*/ 0 h 230815"/>
              <a:gd name="csX1" fmla="*/ 892656 w 1020019"/>
              <a:gd name="csY1" fmla="*/ 0 h 230815"/>
              <a:gd name="csX2" fmla="*/ 1020019 w 1020019"/>
              <a:gd name="csY2" fmla="*/ 228600 h 230815"/>
              <a:gd name="csX3" fmla="*/ 67512 w 1020019"/>
              <a:gd name="csY3" fmla="*/ 230815 h 230815"/>
              <a:gd name="csX4" fmla="*/ 0 w 1020019"/>
              <a:gd name="csY4" fmla="*/ 0 h 230815"/>
              <a:gd name="csX0" fmla="*/ 0 w 1036702"/>
              <a:gd name="csY0" fmla="*/ 0 h 230815"/>
              <a:gd name="csX1" fmla="*/ 892656 w 1036702"/>
              <a:gd name="csY1" fmla="*/ 0 h 230815"/>
              <a:gd name="csX2" fmla="*/ 1036702 w 1036702"/>
              <a:gd name="csY2" fmla="*/ 226385 h 230815"/>
              <a:gd name="csX3" fmla="*/ 67512 w 1036702"/>
              <a:gd name="csY3" fmla="*/ 230815 h 230815"/>
              <a:gd name="csX4" fmla="*/ 0 w 1036702"/>
              <a:gd name="csY4" fmla="*/ 0 h 23081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036702" h="230815">
                <a:moveTo>
                  <a:pt x="0" y="0"/>
                </a:moveTo>
                <a:lnTo>
                  <a:pt x="892656" y="0"/>
                </a:lnTo>
                <a:lnTo>
                  <a:pt x="1036702" y="226385"/>
                </a:lnTo>
                <a:lnTo>
                  <a:pt x="67512" y="23081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98" name="Oval 297">
            <a:extLst>
              <a:ext uri="{FF2B5EF4-FFF2-40B4-BE49-F238E27FC236}">
                <a16:creationId xmlns:a16="http://schemas.microsoft.com/office/drawing/2014/main" id="{163FAEAD-01C8-70DF-FF47-AB839E309D98}"/>
              </a:ext>
            </a:extLst>
          </p:cNvPr>
          <p:cNvSpPr/>
          <p:nvPr/>
        </p:nvSpPr>
        <p:spPr>
          <a:xfrm>
            <a:off x="6082600" y="5769755"/>
            <a:ext cx="717698" cy="104135"/>
          </a:xfrm>
          <a:prstGeom prst="ellipse">
            <a:avLst/>
          </a:prstGeom>
          <a:solidFill>
            <a:schemeClr val="tx1">
              <a:alpha val="6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99" name="Oval 298">
            <a:extLst>
              <a:ext uri="{FF2B5EF4-FFF2-40B4-BE49-F238E27FC236}">
                <a16:creationId xmlns:a16="http://schemas.microsoft.com/office/drawing/2014/main" id="{2132495F-F63F-7647-2EBD-3882565FC2A0}"/>
              </a:ext>
            </a:extLst>
          </p:cNvPr>
          <p:cNvSpPr/>
          <p:nvPr/>
        </p:nvSpPr>
        <p:spPr>
          <a:xfrm>
            <a:off x="1333348" y="5769755"/>
            <a:ext cx="717698" cy="104135"/>
          </a:xfrm>
          <a:prstGeom prst="ellipse">
            <a:avLst/>
          </a:prstGeom>
          <a:solidFill>
            <a:schemeClr val="tx1">
              <a:alpha val="6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00" name="Oval 299">
            <a:extLst>
              <a:ext uri="{FF2B5EF4-FFF2-40B4-BE49-F238E27FC236}">
                <a16:creationId xmlns:a16="http://schemas.microsoft.com/office/drawing/2014/main" id="{0349A5E4-AD61-633F-D828-B2DECAB88983}"/>
              </a:ext>
            </a:extLst>
          </p:cNvPr>
          <p:cNvSpPr/>
          <p:nvPr/>
        </p:nvSpPr>
        <p:spPr>
          <a:xfrm>
            <a:off x="9596923" y="5769755"/>
            <a:ext cx="717698" cy="104135"/>
          </a:xfrm>
          <a:prstGeom prst="ellipse">
            <a:avLst/>
          </a:prstGeom>
          <a:solidFill>
            <a:schemeClr val="tx1">
              <a:alpha val="6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01" name="Oval 300">
            <a:extLst>
              <a:ext uri="{FF2B5EF4-FFF2-40B4-BE49-F238E27FC236}">
                <a16:creationId xmlns:a16="http://schemas.microsoft.com/office/drawing/2014/main" id="{D0BBB1DA-1292-F573-0CF7-E42552D0E4C1}"/>
              </a:ext>
            </a:extLst>
          </p:cNvPr>
          <p:cNvSpPr/>
          <p:nvPr/>
        </p:nvSpPr>
        <p:spPr>
          <a:xfrm>
            <a:off x="2519125" y="5769755"/>
            <a:ext cx="717698" cy="104135"/>
          </a:xfrm>
          <a:prstGeom prst="ellipse">
            <a:avLst/>
          </a:prstGeom>
          <a:solidFill>
            <a:schemeClr val="tx1">
              <a:alpha val="6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02" name="Oval 301">
            <a:extLst>
              <a:ext uri="{FF2B5EF4-FFF2-40B4-BE49-F238E27FC236}">
                <a16:creationId xmlns:a16="http://schemas.microsoft.com/office/drawing/2014/main" id="{3768CEED-225E-B4C0-0C9F-97BD44E0B23F}"/>
              </a:ext>
            </a:extLst>
          </p:cNvPr>
          <p:cNvSpPr/>
          <p:nvPr/>
        </p:nvSpPr>
        <p:spPr>
          <a:xfrm>
            <a:off x="8209237" y="5241377"/>
            <a:ext cx="593138" cy="104135"/>
          </a:xfrm>
          <a:prstGeom prst="ellipse">
            <a:avLst/>
          </a:prstGeom>
          <a:solidFill>
            <a:schemeClr val="tx1">
              <a:alpha val="6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03" name="Free-form: Shape 302">
            <a:extLst>
              <a:ext uri="{FF2B5EF4-FFF2-40B4-BE49-F238E27FC236}">
                <a16:creationId xmlns:a16="http://schemas.microsoft.com/office/drawing/2014/main" id="{B8BA78D0-7318-043C-50DF-1117FE6E8122}"/>
              </a:ext>
            </a:extLst>
          </p:cNvPr>
          <p:cNvSpPr/>
          <p:nvPr/>
        </p:nvSpPr>
        <p:spPr>
          <a:xfrm>
            <a:off x="8286049" y="4465386"/>
            <a:ext cx="476450" cy="847024"/>
          </a:xfrm>
          <a:custGeom>
            <a:avLst/>
            <a:gdLst>
              <a:gd name="csX0" fmla="*/ 581793 w 697572"/>
              <a:gd name="csY0" fmla="*/ 1234401 h 1240128"/>
              <a:gd name="csX1" fmla="*/ 577427 w 697572"/>
              <a:gd name="csY1" fmla="*/ 1234156 h 1240128"/>
              <a:gd name="csX2" fmla="*/ 559133 w 697572"/>
              <a:gd name="csY2" fmla="*/ 1230909 h 1240128"/>
              <a:gd name="csX3" fmla="*/ 516706 w 697572"/>
              <a:gd name="csY3" fmla="*/ 1235117 h 1240128"/>
              <a:gd name="csX4" fmla="*/ 475244 w 697572"/>
              <a:gd name="csY4" fmla="*/ 1237506 h 1240128"/>
              <a:gd name="csX5" fmla="*/ 371154 w 697572"/>
              <a:gd name="csY5" fmla="*/ 1239428 h 1240128"/>
              <a:gd name="csX6" fmla="*/ 276813 w 697572"/>
              <a:gd name="csY6" fmla="*/ 1237654 h 1240128"/>
              <a:gd name="csX7" fmla="*/ 268212 w 697572"/>
              <a:gd name="csY7" fmla="*/ 1237635 h 1240128"/>
              <a:gd name="csX8" fmla="*/ 262072 w 697572"/>
              <a:gd name="csY8" fmla="*/ 1237523 h 1240128"/>
              <a:gd name="csX9" fmla="*/ 195111 w 697572"/>
              <a:gd name="csY9" fmla="*/ 1232775 h 1240128"/>
              <a:gd name="csX10" fmla="*/ 145060 w 697572"/>
              <a:gd name="csY10" fmla="*/ 1230076 h 1240128"/>
              <a:gd name="csX11" fmla="*/ 114933 w 697572"/>
              <a:gd name="csY11" fmla="*/ 1225832 h 1240128"/>
              <a:gd name="csX12" fmla="*/ 72642 w 697572"/>
              <a:gd name="csY12" fmla="*/ 1220237 h 1240128"/>
              <a:gd name="csX13" fmla="*/ 10894 w 697572"/>
              <a:gd name="csY13" fmla="*/ 1205737 h 1240128"/>
              <a:gd name="csX14" fmla="*/ 5856 w 697572"/>
              <a:gd name="csY14" fmla="*/ 1202799 h 1240128"/>
              <a:gd name="csX15" fmla="*/ 40 w 697572"/>
              <a:gd name="csY15" fmla="*/ 1174450 h 1240128"/>
              <a:gd name="csX16" fmla="*/ 19831 w 697572"/>
              <a:gd name="csY16" fmla="*/ 1118410 h 1240128"/>
              <a:gd name="csX17" fmla="*/ 22004 w 697572"/>
              <a:gd name="csY17" fmla="*/ 1107240 h 1240128"/>
              <a:gd name="csX18" fmla="*/ 25947 w 697572"/>
              <a:gd name="csY18" fmla="*/ 1038650 h 1240128"/>
              <a:gd name="csX19" fmla="*/ 58234 w 697572"/>
              <a:gd name="csY19" fmla="*/ 988567 h 1240128"/>
              <a:gd name="csX20" fmla="*/ 118645 w 697572"/>
              <a:gd name="csY20" fmla="*/ 928298 h 1240128"/>
              <a:gd name="csX21" fmla="*/ 126320 w 697572"/>
              <a:gd name="csY21" fmla="*/ 892015 h 1240128"/>
              <a:gd name="csX22" fmla="*/ 120345 w 697572"/>
              <a:gd name="csY22" fmla="*/ 872258 h 1240128"/>
              <a:gd name="csX23" fmla="*/ 125668 w 697572"/>
              <a:gd name="csY23" fmla="*/ 861640 h 1240128"/>
              <a:gd name="csX24" fmla="*/ 154237 w 697572"/>
              <a:gd name="csY24" fmla="*/ 850716 h 1240128"/>
              <a:gd name="csX25" fmla="*/ 170248 w 697572"/>
              <a:gd name="csY25" fmla="*/ 836767 h 1240128"/>
              <a:gd name="csX26" fmla="*/ 187840 w 697572"/>
              <a:gd name="csY26" fmla="*/ 796341 h 1240128"/>
              <a:gd name="csX27" fmla="*/ 209346 w 697572"/>
              <a:gd name="csY27" fmla="*/ 743126 h 1240128"/>
              <a:gd name="csX28" fmla="*/ 210630 w 697572"/>
              <a:gd name="csY28" fmla="*/ 737219 h 1240128"/>
              <a:gd name="csX29" fmla="*/ 213836 w 697572"/>
              <a:gd name="csY29" fmla="*/ 720505 h 1240128"/>
              <a:gd name="csX30" fmla="*/ 227791 w 697572"/>
              <a:gd name="csY30" fmla="*/ 667353 h 1240128"/>
              <a:gd name="csX31" fmla="*/ 241013 w 697572"/>
              <a:gd name="csY31" fmla="*/ 599151 h 1240128"/>
              <a:gd name="csX32" fmla="*/ 247322 w 697572"/>
              <a:gd name="csY32" fmla="*/ 542242 h 1240128"/>
              <a:gd name="csX33" fmla="*/ 247948 w 697572"/>
              <a:gd name="csY33" fmla="*/ 499296 h 1240128"/>
              <a:gd name="csX34" fmla="*/ 247577 w 697572"/>
              <a:gd name="csY34" fmla="*/ 470384 h 1240128"/>
              <a:gd name="csX35" fmla="*/ 238877 w 697572"/>
              <a:gd name="csY35" fmla="*/ 460987 h 1240128"/>
              <a:gd name="csX36" fmla="*/ 222040 w 697572"/>
              <a:gd name="csY36" fmla="*/ 458353 h 1240128"/>
              <a:gd name="csX37" fmla="*/ 172193 w 697572"/>
              <a:gd name="csY37" fmla="*/ 433714 h 1240128"/>
              <a:gd name="csX38" fmla="*/ 168410 w 697572"/>
              <a:gd name="csY38" fmla="*/ 396591 h 1240128"/>
              <a:gd name="csX39" fmla="*/ 209826 w 697572"/>
              <a:gd name="csY39" fmla="*/ 367773 h 1240128"/>
              <a:gd name="csX40" fmla="*/ 250732 w 697572"/>
              <a:gd name="csY40" fmla="*/ 355208 h 1240128"/>
              <a:gd name="csX41" fmla="*/ 258289 w 697572"/>
              <a:gd name="csY41" fmla="*/ 350426 h 1240128"/>
              <a:gd name="csX42" fmla="*/ 233274 w 697572"/>
              <a:gd name="csY42" fmla="*/ 333513 h 1240128"/>
              <a:gd name="csX43" fmla="*/ 229677 w 697572"/>
              <a:gd name="csY43" fmla="*/ 333922 h 1240128"/>
              <a:gd name="csX44" fmla="*/ 230149 w 697572"/>
              <a:gd name="csY44" fmla="*/ 332979 h 1240128"/>
              <a:gd name="csX45" fmla="*/ 227053 w 697572"/>
              <a:gd name="csY45" fmla="*/ 327076 h 1240128"/>
              <a:gd name="csX46" fmla="*/ 196769 w 697572"/>
              <a:gd name="csY46" fmla="*/ 291380 h 1240128"/>
              <a:gd name="csX47" fmla="*/ 184389 w 697572"/>
              <a:gd name="csY47" fmla="*/ 264042 h 1240128"/>
              <a:gd name="csX48" fmla="*/ 180630 w 697572"/>
              <a:gd name="csY48" fmla="*/ 257839 h 1240128"/>
              <a:gd name="csX49" fmla="*/ 176231 w 697572"/>
              <a:gd name="csY49" fmla="*/ 250643 h 1240128"/>
              <a:gd name="csX50" fmla="*/ 170073 w 697572"/>
              <a:gd name="csY50" fmla="*/ 146723 h 1240128"/>
              <a:gd name="csX51" fmla="*/ 180929 w 697572"/>
              <a:gd name="csY51" fmla="*/ 114280 h 1240128"/>
              <a:gd name="csX52" fmla="*/ 180839 w 697572"/>
              <a:gd name="csY52" fmla="*/ 101501 h 1240128"/>
              <a:gd name="csX53" fmla="*/ 233536 w 697572"/>
              <a:gd name="csY53" fmla="*/ 39653 h 1240128"/>
              <a:gd name="csX54" fmla="*/ 347618 w 697572"/>
              <a:gd name="csY54" fmla="*/ 35 h 1240128"/>
              <a:gd name="csX55" fmla="*/ 437139 w 697572"/>
              <a:gd name="csY55" fmla="*/ 22396 h 1240128"/>
              <a:gd name="csX56" fmla="*/ 529052 w 697572"/>
              <a:gd name="csY56" fmla="*/ 131093 h 1240128"/>
              <a:gd name="csX57" fmla="*/ 518497 w 697572"/>
              <a:gd name="csY57" fmla="*/ 271517 h 1240128"/>
              <a:gd name="csX58" fmla="*/ 500808 w 697572"/>
              <a:gd name="csY58" fmla="*/ 287385 h 1240128"/>
              <a:gd name="csX59" fmla="*/ 472948 w 697572"/>
              <a:gd name="csY59" fmla="*/ 323290 h 1240128"/>
              <a:gd name="csX60" fmla="*/ 469385 w 697572"/>
              <a:gd name="csY60" fmla="*/ 331565 h 1240128"/>
              <a:gd name="csX61" fmla="*/ 468293 w 697572"/>
              <a:gd name="csY61" fmla="*/ 331320 h 1240128"/>
              <a:gd name="csX62" fmla="*/ 459542 w 697572"/>
              <a:gd name="csY62" fmla="*/ 338942 h 1240128"/>
              <a:gd name="csX63" fmla="*/ 458492 w 697572"/>
              <a:gd name="csY63" fmla="*/ 338671 h 1240128"/>
              <a:gd name="csX64" fmla="*/ 436978 w 697572"/>
              <a:gd name="csY64" fmla="*/ 352226 h 1240128"/>
              <a:gd name="csX65" fmla="*/ 472329 w 697572"/>
              <a:gd name="csY65" fmla="*/ 362890 h 1240128"/>
              <a:gd name="csX66" fmla="*/ 523779 w 697572"/>
              <a:gd name="csY66" fmla="*/ 391962 h 1240128"/>
              <a:gd name="csX67" fmla="*/ 527344 w 697572"/>
              <a:gd name="csY67" fmla="*/ 430096 h 1240128"/>
              <a:gd name="csX68" fmla="*/ 504112 w 697572"/>
              <a:gd name="csY68" fmla="*/ 449628 h 1240128"/>
              <a:gd name="csX69" fmla="*/ 459430 w 697572"/>
              <a:gd name="csY69" fmla="*/ 461116 h 1240128"/>
              <a:gd name="csX70" fmla="*/ 446666 w 697572"/>
              <a:gd name="csY70" fmla="*/ 474229 h 1240128"/>
              <a:gd name="csX71" fmla="*/ 449133 w 697572"/>
              <a:gd name="csY71" fmla="*/ 531639 h 1240128"/>
              <a:gd name="csX72" fmla="*/ 454546 w 697572"/>
              <a:gd name="csY72" fmla="*/ 588688 h 1240128"/>
              <a:gd name="csX73" fmla="*/ 466126 w 697572"/>
              <a:gd name="csY73" fmla="*/ 649736 h 1240128"/>
              <a:gd name="csX74" fmla="*/ 512154 w 697572"/>
              <a:gd name="csY74" fmla="*/ 794006 h 1240128"/>
              <a:gd name="csX75" fmla="*/ 525763 w 697572"/>
              <a:gd name="csY75" fmla="*/ 834323 h 1240128"/>
              <a:gd name="csX76" fmla="*/ 530555 w 697572"/>
              <a:gd name="csY76" fmla="*/ 845114 h 1240128"/>
              <a:gd name="csX77" fmla="*/ 554424 w 697572"/>
              <a:gd name="csY77" fmla="*/ 856618 h 1240128"/>
              <a:gd name="csX78" fmla="*/ 572880 w 697572"/>
              <a:gd name="csY78" fmla="*/ 862546 h 1240128"/>
              <a:gd name="csX79" fmla="*/ 578643 w 697572"/>
              <a:gd name="csY79" fmla="*/ 880396 h 1240128"/>
              <a:gd name="csX80" fmla="*/ 572188 w 697572"/>
              <a:gd name="csY80" fmla="*/ 899820 h 1240128"/>
              <a:gd name="csX81" fmla="*/ 582698 w 697572"/>
              <a:gd name="csY81" fmla="*/ 930382 h 1240128"/>
              <a:gd name="csX82" fmla="*/ 604747 w 697572"/>
              <a:gd name="csY82" fmla="*/ 960852 h 1240128"/>
              <a:gd name="csX83" fmla="*/ 613863 w 697572"/>
              <a:gd name="csY83" fmla="*/ 968311 h 1240128"/>
              <a:gd name="csX84" fmla="*/ 629435 w 697572"/>
              <a:gd name="csY84" fmla="*/ 981186 h 1240128"/>
              <a:gd name="csX85" fmla="*/ 633611 w 697572"/>
              <a:gd name="csY85" fmla="*/ 985609 h 1240128"/>
              <a:gd name="csX86" fmla="*/ 673790 w 697572"/>
              <a:gd name="csY86" fmla="*/ 1049348 h 1240128"/>
              <a:gd name="csX87" fmla="*/ 675873 w 697572"/>
              <a:gd name="csY87" fmla="*/ 1092839 h 1240128"/>
              <a:gd name="csX88" fmla="*/ 681668 w 697572"/>
              <a:gd name="csY88" fmla="*/ 1129292 h 1240128"/>
              <a:gd name="csX89" fmla="*/ 697338 w 697572"/>
              <a:gd name="csY89" fmla="*/ 1196079 h 1240128"/>
              <a:gd name="csX90" fmla="*/ 690637 w 697572"/>
              <a:gd name="csY90" fmla="*/ 1205035 h 1240128"/>
              <a:gd name="csX91" fmla="*/ 639777 w 697572"/>
              <a:gd name="csY91" fmla="*/ 1217994 h 1240128"/>
              <a:gd name="csX92" fmla="*/ 587072 w 697572"/>
              <a:gd name="csY92" fmla="*/ 1227761 h 1240128"/>
              <a:gd name="csX93" fmla="*/ 581793 w 697572"/>
              <a:gd name="csY93" fmla="*/ 1234401 h 1240128"/>
              <a:gd name="csX94" fmla="*/ 357446 w 697572"/>
              <a:gd name="csY94" fmla="*/ 903795 h 1240128"/>
              <a:gd name="csX95" fmla="*/ 344445 w 697572"/>
              <a:gd name="csY95" fmla="*/ 903795 h 1240128"/>
              <a:gd name="csX96" fmla="*/ 349212 w 697572"/>
              <a:gd name="csY96" fmla="*/ 950515 h 1240128"/>
              <a:gd name="csX97" fmla="*/ 349538 w 697572"/>
              <a:gd name="csY97" fmla="*/ 1069392 h 1240128"/>
              <a:gd name="csX98" fmla="*/ 349415 w 697572"/>
              <a:gd name="csY98" fmla="*/ 1108925 h 1240128"/>
              <a:gd name="csX99" fmla="*/ 647726 w 697572"/>
              <a:gd name="csY99" fmla="*/ 1089872 h 1240128"/>
              <a:gd name="csX100" fmla="*/ 647654 w 697572"/>
              <a:gd name="csY100" fmla="*/ 1076267 h 1240128"/>
              <a:gd name="csX101" fmla="*/ 610267 w 697572"/>
              <a:gd name="csY101" fmla="*/ 994126 h 1240128"/>
              <a:gd name="csX102" fmla="*/ 571459 w 697572"/>
              <a:gd name="csY102" fmla="*/ 956568 h 1240128"/>
              <a:gd name="csX103" fmla="*/ 541653 w 697572"/>
              <a:gd name="csY103" fmla="*/ 901544 h 1240128"/>
              <a:gd name="csX104" fmla="*/ 539477 w 697572"/>
              <a:gd name="csY104" fmla="*/ 895908 h 1240128"/>
              <a:gd name="csX105" fmla="*/ 357446 w 697572"/>
              <a:gd name="csY105" fmla="*/ 903795 h 1240128"/>
              <a:gd name="csX106" fmla="*/ 300108 w 697572"/>
              <a:gd name="csY106" fmla="*/ 85260 h 1240128"/>
              <a:gd name="csX107" fmla="*/ 290213 w 697572"/>
              <a:gd name="csY107" fmla="*/ 127888 h 1240128"/>
              <a:gd name="csX108" fmla="*/ 331056 w 697572"/>
              <a:gd name="csY108" fmla="*/ 214168 h 1240128"/>
              <a:gd name="csX109" fmla="*/ 424717 w 697572"/>
              <a:gd name="csY109" fmla="*/ 245160 h 1240128"/>
              <a:gd name="csX110" fmla="*/ 496752 w 697572"/>
              <a:gd name="csY110" fmla="*/ 141256 h 1240128"/>
              <a:gd name="csX111" fmla="*/ 390320 w 697572"/>
              <a:gd name="csY111" fmla="*/ 43995 h 1240128"/>
              <a:gd name="csX112" fmla="*/ 300108 w 697572"/>
              <a:gd name="csY112" fmla="*/ 85260 h 1240128"/>
              <a:gd name="csX113" fmla="*/ 343360 w 697572"/>
              <a:gd name="csY113" fmla="*/ 634332 h 1240128"/>
              <a:gd name="csX114" fmla="*/ 340877 w 697572"/>
              <a:gd name="csY114" fmla="*/ 732259 h 1240128"/>
              <a:gd name="csX115" fmla="*/ 338360 w 697572"/>
              <a:gd name="csY115" fmla="*/ 810538 h 1240128"/>
              <a:gd name="csX116" fmla="*/ 337115 w 697572"/>
              <a:gd name="csY116" fmla="*/ 817736 h 1240128"/>
              <a:gd name="csX117" fmla="*/ 336516 w 697572"/>
              <a:gd name="csY117" fmla="*/ 863022 h 1240128"/>
              <a:gd name="csX118" fmla="*/ 343436 w 697572"/>
              <a:gd name="csY118" fmla="*/ 864027 h 1240128"/>
              <a:gd name="csX119" fmla="*/ 406718 w 697572"/>
              <a:gd name="csY119" fmla="*/ 862982 h 1240128"/>
              <a:gd name="csX120" fmla="*/ 456888 w 697572"/>
              <a:gd name="csY120" fmla="*/ 861794 h 1240128"/>
              <a:gd name="csX121" fmla="*/ 495873 w 697572"/>
              <a:gd name="csY121" fmla="*/ 863963 h 1240128"/>
              <a:gd name="csX122" fmla="*/ 509286 w 697572"/>
              <a:gd name="csY122" fmla="*/ 863595 h 1240128"/>
              <a:gd name="csX123" fmla="*/ 516956 w 697572"/>
              <a:gd name="csY123" fmla="*/ 856791 h 1240128"/>
              <a:gd name="csX124" fmla="*/ 513920 w 697572"/>
              <a:gd name="csY124" fmla="*/ 848709 h 1240128"/>
              <a:gd name="csX125" fmla="*/ 506683 w 697572"/>
              <a:gd name="csY125" fmla="*/ 839054 h 1240128"/>
              <a:gd name="csX126" fmla="*/ 488629 w 697572"/>
              <a:gd name="csY126" fmla="*/ 799037 h 1240128"/>
              <a:gd name="csX127" fmla="*/ 456922 w 697572"/>
              <a:gd name="csY127" fmla="*/ 696297 h 1240128"/>
              <a:gd name="csX128" fmla="*/ 441346 w 697572"/>
              <a:gd name="csY128" fmla="*/ 619885 h 1240128"/>
              <a:gd name="csX129" fmla="*/ 435963 w 697572"/>
              <a:gd name="csY129" fmla="*/ 582529 h 1240128"/>
              <a:gd name="csX130" fmla="*/ 429497 w 697572"/>
              <a:gd name="csY130" fmla="*/ 521990 h 1240128"/>
              <a:gd name="csX131" fmla="*/ 426887 w 697572"/>
              <a:gd name="csY131" fmla="*/ 471989 h 1240128"/>
              <a:gd name="csX132" fmla="*/ 413744 w 697572"/>
              <a:gd name="csY132" fmla="*/ 461077 h 1240128"/>
              <a:gd name="csX133" fmla="*/ 353573 w 697572"/>
              <a:gd name="csY133" fmla="*/ 461120 h 1240128"/>
              <a:gd name="csX134" fmla="*/ 344160 w 697572"/>
              <a:gd name="csY134" fmla="*/ 462286 h 1240128"/>
              <a:gd name="csX135" fmla="*/ 343404 w 697572"/>
              <a:gd name="csY135" fmla="*/ 469192 h 1240128"/>
              <a:gd name="csX136" fmla="*/ 343469 w 697572"/>
              <a:gd name="csY136" fmla="*/ 574797 h 1240128"/>
              <a:gd name="csX137" fmla="*/ 345522 w 697572"/>
              <a:gd name="csY137" fmla="*/ 591669 h 1240128"/>
              <a:gd name="csX138" fmla="*/ 343360 w 697572"/>
              <a:gd name="csY138" fmla="*/ 634332 h 1240128"/>
              <a:gd name="csX139" fmla="*/ 416946 w 697572"/>
              <a:gd name="csY139" fmla="*/ 385943 h 1240128"/>
              <a:gd name="csX140" fmla="*/ 401091 w 697572"/>
              <a:gd name="csY140" fmla="*/ 387162 h 1240128"/>
              <a:gd name="csX141" fmla="*/ 369218 w 697572"/>
              <a:gd name="csY141" fmla="*/ 387708 h 1240128"/>
              <a:gd name="csX142" fmla="*/ 351833 w 697572"/>
              <a:gd name="csY142" fmla="*/ 398991 h 1240128"/>
              <a:gd name="csX143" fmla="*/ 349778 w 697572"/>
              <a:gd name="csY143" fmla="*/ 426021 h 1240128"/>
              <a:gd name="csX144" fmla="*/ 361839 w 697572"/>
              <a:gd name="csY144" fmla="*/ 426538 h 1240128"/>
              <a:gd name="csX145" fmla="*/ 455022 w 697572"/>
              <a:gd name="csY145" fmla="*/ 426922 h 1240128"/>
              <a:gd name="csX146" fmla="*/ 481958 w 697572"/>
              <a:gd name="csY146" fmla="*/ 426527 h 1240128"/>
              <a:gd name="csX147" fmla="*/ 499817 w 697572"/>
              <a:gd name="csY147" fmla="*/ 419888 h 1240128"/>
              <a:gd name="csX148" fmla="*/ 499439 w 697572"/>
              <a:gd name="csY148" fmla="*/ 400719 h 1240128"/>
              <a:gd name="csX149" fmla="*/ 468062 w 697572"/>
              <a:gd name="csY149" fmla="*/ 387775 h 1240128"/>
              <a:gd name="csX150" fmla="*/ 416946 w 697572"/>
              <a:gd name="csY150" fmla="*/ 385943 h 1240128"/>
              <a:gd name="csX151" fmla="*/ 636802 w 697572"/>
              <a:gd name="csY151" fmla="*/ 1190940 h 1240128"/>
              <a:gd name="csX152" fmla="*/ 666492 w 697572"/>
              <a:gd name="csY152" fmla="*/ 1184186 h 1240128"/>
              <a:gd name="csX153" fmla="*/ 674465 w 697572"/>
              <a:gd name="csY153" fmla="*/ 1170880 h 1240128"/>
              <a:gd name="csX154" fmla="*/ 662462 w 697572"/>
              <a:gd name="csY154" fmla="*/ 1141464 h 1240128"/>
              <a:gd name="csX155" fmla="*/ 645564 w 697572"/>
              <a:gd name="csY155" fmla="*/ 1131937 h 1240128"/>
              <a:gd name="csX156" fmla="*/ 627387 w 697572"/>
              <a:gd name="csY156" fmla="*/ 1133618 h 1240128"/>
              <a:gd name="csX157" fmla="*/ 583917 w 697572"/>
              <a:gd name="csY157" fmla="*/ 1139222 h 1240128"/>
              <a:gd name="csX158" fmla="*/ 543741 w 697572"/>
              <a:gd name="csY158" fmla="*/ 1141869 h 1240128"/>
              <a:gd name="csX159" fmla="*/ 512146 w 697572"/>
              <a:gd name="csY159" fmla="*/ 1144418 h 1240128"/>
              <a:gd name="csX160" fmla="*/ 447711 w 697572"/>
              <a:gd name="csY160" fmla="*/ 1148973 h 1240128"/>
              <a:gd name="csX161" fmla="*/ 351979 w 697572"/>
              <a:gd name="csY161" fmla="*/ 1149200 h 1240128"/>
              <a:gd name="csX162" fmla="*/ 338443 w 697572"/>
              <a:gd name="csY162" fmla="*/ 1150040 h 1240128"/>
              <a:gd name="csX163" fmla="*/ 338451 w 697572"/>
              <a:gd name="csY163" fmla="*/ 1190780 h 1240128"/>
              <a:gd name="csX164" fmla="*/ 351082 w 697572"/>
              <a:gd name="csY164" fmla="*/ 1207015 h 1240128"/>
              <a:gd name="csX165" fmla="*/ 358298 w 697572"/>
              <a:gd name="csY165" fmla="*/ 1208094 h 1240128"/>
              <a:gd name="csX166" fmla="*/ 521229 w 697572"/>
              <a:gd name="csY166" fmla="*/ 1205646 h 1240128"/>
              <a:gd name="csX167" fmla="*/ 523675 w 697572"/>
              <a:gd name="csY167" fmla="*/ 1205490 h 1240128"/>
              <a:gd name="csX168" fmla="*/ 580423 w 697572"/>
              <a:gd name="csY168" fmla="*/ 1198350 h 1240128"/>
              <a:gd name="csX169" fmla="*/ 636802 w 697572"/>
              <a:gd name="csY169" fmla="*/ 1190940 h 124012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</a:cxnLst>
            <a:rect l="l" t="t" r="r" b="b"/>
            <a:pathLst>
              <a:path w="697572" h="1240128">
                <a:moveTo>
                  <a:pt x="581793" y="1234401"/>
                </a:moveTo>
                <a:cubicBezTo>
                  <a:pt x="580693" y="1234661"/>
                  <a:pt x="579594" y="1234922"/>
                  <a:pt x="577427" y="1234156"/>
                </a:cubicBezTo>
                <a:cubicBezTo>
                  <a:pt x="571216" y="1227899"/>
                  <a:pt x="564912" y="1230441"/>
                  <a:pt x="559133" y="1230909"/>
                </a:cubicBezTo>
                <a:cubicBezTo>
                  <a:pt x="544971" y="1232056"/>
                  <a:pt x="530869" y="1233971"/>
                  <a:pt x="516706" y="1235117"/>
                </a:cubicBezTo>
                <a:cubicBezTo>
                  <a:pt x="502910" y="1236232"/>
                  <a:pt x="489077" y="1237097"/>
                  <a:pt x="475244" y="1237506"/>
                </a:cubicBezTo>
                <a:cubicBezTo>
                  <a:pt x="440539" y="1238535"/>
                  <a:pt x="405696" y="1241458"/>
                  <a:pt x="371154" y="1239428"/>
                </a:cubicBezTo>
                <a:cubicBezTo>
                  <a:pt x="339645" y="1237575"/>
                  <a:pt x="308239" y="1238753"/>
                  <a:pt x="276813" y="1237654"/>
                </a:cubicBezTo>
                <a:cubicBezTo>
                  <a:pt x="273949" y="1237553"/>
                  <a:pt x="271079" y="1237652"/>
                  <a:pt x="268212" y="1237635"/>
                </a:cubicBezTo>
                <a:cubicBezTo>
                  <a:pt x="266165" y="1237623"/>
                  <a:pt x="264111" y="1237668"/>
                  <a:pt x="262072" y="1237523"/>
                </a:cubicBezTo>
                <a:cubicBezTo>
                  <a:pt x="239751" y="1235944"/>
                  <a:pt x="217441" y="1234201"/>
                  <a:pt x="195111" y="1232775"/>
                </a:cubicBezTo>
                <a:cubicBezTo>
                  <a:pt x="178437" y="1231710"/>
                  <a:pt x="161712" y="1231378"/>
                  <a:pt x="145060" y="1230076"/>
                </a:cubicBezTo>
                <a:cubicBezTo>
                  <a:pt x="134969" y="1229287"/>
                  <a:pt x="124987" y="1227177"/>
                  <a:pt x="114933" y="1225832"/>
                </a:cubicBezTo>
                <a:cubicBezTo>
                  <a:pt x="100834" y="1223946"/>
                  <a:pt x="86554" y="1223022"/>
                  <a:pt x="72642" y="1220237"/>
                </a:cubicBezTo>
                <a:cubicBezTo>
                  <a:pt x="51920" y="1216091"/>
                  <a:pt x="31443" y="1210723"/>
                  <a:pt x="10894" y="1205737"/>
                </a:cubicBezTo>
                <a:cubicBezTo>
                  <a:pt x="9027" y="1205284"/>
                  <a:pt x="6196" y="1204140"/>
                  <a:pt x="5856" y="1202799"/>
                </a:cubicBezTo>
                <a:cubicBezTo>
                  <a:pt x="3474" y="1193418"/>
                  <a:pt x="-438" y="1183796"/>
                  <a:pt x="40" y="1174450"/>
                </a:cubicBezTo>
                <a:cubicBezTo>
                  <a:pt x="1079" y="1154149"/>
                  <a:pt x="9757" y="1135843"/>
                  <a:pt x="19831" y="1118410"/>
                </a:cubicBezTo>
                <a:cubicBezTo>
                  <a:pt x="21968" y="1114713"/>
                  <a:pt x="22970" y="1111858"/>
                  <a:pt x="22004" y="1107240"/>
                </a:cubicBezTo>
                <a:cubicBezTo>
                  <a:pt x="17168" y="1084118"/>
                  <a:pt x="17717" y="1061168"/>
                  <a:pt x="25947" y="1038650"/>
                </a:cubicBezTo>
                <a:cubicBezTo>
                  <a:pt x="32954" y="1019481"/>
                  <a:pt x="44478" y="1003118"/>
                  <a:pt x="58234" y="988567"/>
                </a:cubicBezTo>
                <a:cubicBezTo>
                  <a:pt x="77769" y="967902"/>
                  <a:pt x="97978" y="947832"/>
                  <a:pt x="118645" y="928298"/>
                </a:cubicBezTo>
                <a:cubicBezTo>
                  <a:pt x="130104" y="917467"/>
                  <a:pt x="131835" y="905961"/>
                  <a:pt x="126320" y="892015"/>
                </a:cubicBezTo>
                <a:cubicBezTo>
                  <a:pt x="123798" y="885637"/>
                  <a:pt x="122123" y="878904"/>
                  <a:pt x="120345" y="872258"/>
                </a:cubicBezTo>
                <a:cubicBezTo>
                  <a:pt x="119029" y="867341"/>
                  <a:pt x="120162" y="863613"/>
                  <a:pt x="125668" y="861640"/>
                </a:cubicBezTo>
                <a:cubicBezTo>
                  <a:pt x="135266" y="858201"/>
                  <a:pt x="144535" y="853788"/>
                  <a:pt x="154237" y="850716"/>
                </a:cubicBezTo>
                <a:cubicBezTo>
                  <a:pt x="161882" y="848296"/>
                  <a:pt x="167110" y="843897"/>
                  <a:pt x="170248" y="836767"/>
                </a:cubicBezTo>
                <a:cubicBezTo>
                  <a:pt x="176168" y="823316"/>
                  <a:pt x="182193" y="809907"/>
                  <a:pt x="187840" y="796341"/>
                </a:cubicBezTo>
                <a:cubicBezTo>
                  <a:pt x="195194" y="778679"/>
                  <a:pt x="202250" y="760894"/>
                  <a:pt x="209346" y="743126"/>
                </a:cubicBezTo>
                <a:cubicBezTo>
                  <a:pt x="210083" y="741280"/>
                  <a:pt x="210252" y="739200"/>
                  <a:pt x="210630" y="737219"/>
                </a:cubicBezTo>
                <a:cubicBezTo>
                  <a:pt x="211694" y="731645"/>
                  <a:pt x="212425" y="725987"/>
                  <a:pt x="213836" y="720505"/>
                </a:cubicBezTo>
                <a:cubicBezTo>
                  <a:pt x="218406" y="702764"/>
                  <a:pt x="223811" y="685219"/>
                  <a:pt x="227791" y="667353"/>
                </a:cubicBezTo>
                <a:cubicBezTo>
                  <a:pt x="232826" y="644755"/>
                  <a:pt x="237367" y="622009"/>
                  <a:pt x="241013" y="599151"/>
                </a:cubicBezTo>
                <a:cubicBezTo>
                  <a:pt x="244018" y="580319"/>
                  <a:pt x="246001" y="561272"/>
                  <a:pt x="247322" y="542242"/>
                </a:cubicBezTo>
                <a:cubicBezTo>
                  <a:pt x="248312" y="527975"/>
                  <a:pt x="246344" y="513451"/>
                  <a:pt x="247948" y="499296"/>
                </a:cubicBezTo>
                <a:cubicBezTo>
                  <a:pt x="249066" y="489432"/>
                  <a:pt x="247923" y="480014"/>
                  <a:pt x="247577" y="470384"/>
                </a:cubicBezTo>
                <a:cubicBezTo>
                  <a:pt x="247364" y="464453"/>
                  <a:pt x="245121" y="461397"/>
                  <a:pt x="238877" y="460987"/>
                </a:cubicBezTo>
                <a:cubicBezTo>
                  <a:pt x="233224" y="460615"/>
                  <a:pt x="227461" y="459920"/>
                  <a:pt x="222040" y="458353"/>
                </a:cubicBezTo>
                <a:cubicBezTo>
                  <a:pt x="203991" y="453134"/>
                  <a:pt x="185737" y="448229"/>
                  <a:pt x="172193" y="433714"/>
                </a:cubicBezTo>
                <a:cubicBezTo>
                  <a:pt x="162702" y="423544"/>
                  <a:pt x="160887" y="408134"/>
                  <a:pt x="168410" y="396591"/>
                </a:cubicBezTo>
                <a:cubicBezTo>
                  <a:pt x="178294" y="381428"/>
                  <a:pt x="193736" y="373793"/>
                  <a:pt x="209826" y="367773"/>
                </a:cubicBezTo>
                <a:cubicBezTo>
                  <a:pt x="223159" y="362784"/>
                  <a:pt x="237124" y="359493"/>
                  <a:pt x="250732" y="355208"/>
                </a:cubicBezTo>
                <a:cubicBezTo>
                  <a:pt x="253085" y="354467"/>
                  <a:pt x="255058" y="352518"/>
                  <a:pt x="258289" y="350426"/>
                </a:cubicBezTo>
                <a:cubicBezTo>
                  <a:pt x="250173" y="342610"/>
                  <a:pt x="241833" y="337880"/>
                  <a:pt x="233274" y="333513"/>
                </a:cubicBezTo>
                <a:cubicBezTo>
                  <a:pt x="232377" y="333055"/>
                  <a:pt x="230890" y="333758"/>
                  <a:pt x="229677" y="333922"/>
                </a:cubicBezTo>
                <a:cubicBezTo>
                  <a:pt x="229677" y="333922"/>
                  <a:pt x="230323" y="333834"/>
                  <a:pt x="230149" y="332979"/>
                </a:cubicBezTo>
                <a:cubicBezTo>
                  <a:pt x="229023" y="330409"/>
                  <a:pt x="228502" y="328059"/>
                  <a:pt x="227053" y="327076"/>
                </a:cubicBezTo>
                <a:cubicBezTo>
                  <a:pt x="213615" y="317962"/>
                  <a:pt x="204643" y="305332"/>
                  <a:pt x="196769" y="291380"/>
                </a:cubicBezTo>
                <a:cubicBezTo>
                  <a:pt x="191792" y="282564"/>
                  <a:pt x="185421" y="274665"/>
                  <a:pt x="184389" y="264042"/>
                </a:cubicBezTo>
                <a:cubicBezTo>
                  <a:pt x="184179" y="261874"/>
                  <a:pt x="181925" y="259908"/>
                  <a:pt x="180630" y="257839"/>
                </a:cubicBezTo>
                <a:cubicBezTo>
                  <a:pt x="179137" y="255454"/>
                  <a:pt x="177317" y="253204"/>
                  <a:pt x="176231" y="250643"/>
                </a:cubicBezTo>
                <a:cubicBezTo>
                  <a:pt x="161865" y="216749"/>
                  <a:pt x="159606" y="182060"/>
                  <a:pt x="170073" y="146723"/>
                </a:cubicBezTo>
                <a:cubicBezTo>
                  <a:pt x="173311" y="135795"/>
                  <a:pt x="177248" y="125074"/>
                  <a:pt x="180929" y="114280"/>
                </a:cubicBezTo>
                <a:cubicBezTo>
                  <a:pt x="182396" y="109981"/>
                  <a:pt x="183922" y="105742"/>
                  <a:pt x="180839" y="101501"/>
                </a:cubicBezTo>
                <a:cubicBezTo>
                  <a:pt x="192473" y="75833"/>
                  <a:pt x="211344" y="56271"/>
                  <a:pt x="233536" y="39653"/>
                </a:cubicBezTo>
                <a:cubicBezTo>
                  <a:pt x="267321" y="14353"/>
                  <a:pt x="305621" y="873"/>
                  <a:pt x="347618" y="35"/>
                </a:cubicBezTo>
                <a:cubicBezTo>
                  <a:pt x="379125" y="-593"/>
                  <a:pt x="409214" y="7172"/>
                  <a:pt x="437139" y="22396"/>
                </a:cubicBezTo>
                <a:cubicBezTo>
                  <a:pt x="481844" y="46766"/>
                  <a:pt x="514077" y="82116"/>
                  <a:pt x="529052" y="131093"/>
                </a:cubicBezTo>
                <a:cubicBezTo>
                  <a:pt x="543544" y="178495"/>
                  <a:pt x="541630" y="225548"/>
                  <a:pt x="518497" y="271517"/>
                </a:cubicBezTo>
                <a:cubicBezTo>
                  <a:pt x="511428" y="277096"/>
                  <a:pt x="503848" y="281136"/>
                  <a:pt x="500808" y="287385"/>
                </a:cubicBezTo>
                <a:cubicBezTo>
                  <a:pt x="493932" y="301522"/>
                  <a:pt x="483805" y="312513"/>
                  <a:pt x="472948" y="323290"/>
                </a:cubicBezTo>
                <a:cubicBezTo>
                  <a:pt x="470972" y="325253"/>
                  <a:pt x="470533" y="328767"/>
                  <a:pt x="469385" y="331565"/>
                </a:cubicBezTo>
                <a:cubicBezTo>
                  <a:pt x="469385" y="331565"/>
                  <a:pt x="469172" y="331584"/>
                  <a:pt x="468293" y="331320"/>
                </a:cubicBezTo>
                <a:cubicBezTo>
                  <a:pt x="461937" y="330836"/>
                  <a:pt x="458618" y="332772"/>
                  <a:pt x="459542" y="338942"/>
                </a:cubicBezTo>
                <a:cubicBezTo>
                  <a:pt x="459542" y="338942"/>
                  <a:pt x="459473" y="338913"/>
                  <a:pt x="458492" y="338671"/>
                </a:cubicBezTo>
                <a:cubicBezTo>
                  <a:pt x="450936" y="342653"/>
                  <a:pt x="440712" y="341355"/>
                  <a:pt x="436978" y="352226"/>
                </a:cubicBezTo>
                <a:cubicBezTo>
                  <a:pt x="449178" y="355911"/>
                  <a:pt x="460733" y="359469"/>
                  <a:pt x="472329" y="362890"/>
                </a:cubicBezTo>
                <a:cubicBezTo>
                  <a:pt x="491728" y="368613"/>
                  <a:pt x="510182" y="375784"/>
                  <a:pt x="523779" y="391962"/>
                </a:cubicBezTo>
                <a:cubicBezTo>
                  <a:pt x="535849" y="406326"/>
                  <a:pt x="534845" y="420076"/>
                  <a:pt x="527344" y="430096"/>
                </a:cubicBezTo>
                <a:cubicBezTo>
                  <a:pt x="521323" y="438139"/>
                  <a:pt x="513928" y="445333"/>
                  <a:pt x="504112" y="449628"/>
                </a:cubicBezTo>
                <a:cubicBezTo>
                  <a:pt x="489776" y="455901"/>
                  <a:pt x="475173" y="460486"/>
                  <a:pt x="459430" y="461116"/>
                </a:cubicBezTo>
                <a:cubicBezTo>
                  <a:pt x="448415" y="461557"/>
                  <a:pt x="446384" y="463369"/>
                  <a:pt x="446666" y="474229"/>
                </a:cubicBezTo>
                <a:cubicBezTo>
                  <a:pt x="447164" y="493376"/>
                  <a:pt x="447839" y="512533"/>
                  <a:pt x="449133" y="531639"/>
                </a:cubicBezTo>
                <a:cubicBezTo>
                  <a:pt x="450424" y="550696"/>
                  <a:pt x="451783" y="569809"/>
                  <a:pt x="454546" y="588688"/>
                </a:cubicBezTo>
                <a:cubicBezTo>
                  <a:pt x="457543" y="609164"/>
                  <a:pt x="462165" y="629403"/>
                  <a:pt x="466126" y="649736"/>
                </a:cubicBezTo>
                <a:cubicBezTo>
                  <a:pt x="475845" y="699621"/>
                  <a:pt x="493414" y="746980"/>
                  <a:pt x="512154" y="794006"/>
                </a:cubicBezTo>
                <a:cubicBezTo>
                  <a:pt x="517387" y="807138"/>
                  <a:pt x="525145" y="819463"/>
                  <a:pt x="525763" y="834323"/>
                </a:cubicBezTo>
                <a:cubicBezTo>
                  <a:pt x="525919" y="838081"/>
                  <a:pt x="527739" y="843335"/>
                  <a:pt x="530555" y="845114"/>
                </a:cubicBezTo>
                <a:cubicBezTo>
                  <a:pt x="537981" y="849801"/>
                  <a:pt x="546243" y="853278"/>
                  <a:pt x="554424" y="856618"/>
                </a:cubicBezTo>
                <a:cubicBezTo>
                  <a:pt x="560391" y="859054"/>
                  <a:pt x="567041" y="859887"/>
                  <a:pt x="572880" y="862546"/>
                </a:cubicBezTo>
                <a:cubicBezTo>
                  <a:pt x="581470" y="866458"/>
                  <a:pt x="582467" y="871415"/>
                  <a:pt x="578643" y="880396"/>
                </a:cubicBezTo>
                <a:cubicBezTo>
                  <a:pt x="575969" y="886677"/>
                  <a:pt x="572900" y="893182"/>
                  <a:pt x="572188" y="899820"/>
                </a:cubicBezTo>
                <a:cubicBezTo>
                  <a:pt x="570960" y="911271"/>
                  <a:pt x="576506" y="920944"/>
                  <a:pt x="582698" y="930382"/>
                </a:cubicBezTo>
                <a:cubicBezTo>
                  <a:pt x="589569" y="940856"/>
                  <a:pt x="600933" y="947930"/>
                  <a:pt x="604747" y="960852"/>
                </a:cubicBezTo>
                <a:cubicBezTo>
                  <a:pt x="605684" y="964030"/>
                  <a:pt x="610294" y="967128"/>
                  <a:pt x="613863" y="968311"/>
                </a:cubicBezTo>
                <a:cubicBezTo>
                  <a:pt x="620963" y="970665"/>
                  <a:pt x="625924" y="974774"/>
                  <a:pt x="629435" y="981186"/>
                </a:cubicBezTo>
                <a:cubicBezTo>
                  <a:pt x="630381" y="982913"/>
                  <a:pt x="631977" y="984459"/>
                  <a:pt x="633611" y="985609"/>
                </a:cubicBezTo>
                <a:cubicBezTo>
                  <a:pt x="655878" y="1001272"/>
                  <a:pt x="668032" y="1023762"/>
                  <a:pt x="673790" y="1049348"/>
                </a:cubicBezTo>
                <a:cubicBezTo>
                  <a:pt x="676936" y="1063327"/>
                  <a:pt x="679769" y="1077802"/>
                  <a:pt x="675873" y="1092839"/>
                </a:cubicBezTo>
                <a:cubicBezTo>
                  <a:pt x="672677" y="1105174"/>
                  <a:pt x="673042" y="1116963"/>
                  <a:pt x="681668" y="1129292"/>
                </a:cubicBezTo>
                <a:cubicBezTo>
                  <a:pt x="695321" y="1148802"/>
                  <a:pt x="698550" y="1172235"/>
                  <a:pt x="697338" y="1196079"/>
                </a:cubicBezTo>
                <a:cubicBezTo>
                  <a:pt x="697087" y="1201014"/>
                  <a:pt x="694979" y="1203886"/>
                  <a:pt x="690637" y="1205035"/>
                </a:cubicBezTo>
                <a:cubicBezTo>
                  <a:pt x="673723" y="1209511"/>
                  <a:pt x="656856" y="1214241"/>
                  <a:pt x="639777" y="1217994"/>
                </a:cubicBezTo>
                <a:cubicBezTo>
                  <a:pt x="622334" y="1221827"/>
                  <a:pt x="604691" y="1224790"/>
                  <a:pt x="587072" y="1227761"/>
                </a:cubicBezTo>
                <a:cubicBezTo>
                  <a:pt x="582708" y="1228497"/>
                  <a:pt x="581724" y="1230736"/>
                  <a:pt x="581793" y="1234401"/>
                </a:cubicBezTo>
                <a:moveTo>
                  <a:pt x="357446" y="903795"/>
                </a:moveTo>
                <a:cubicBezTo>
                  <a:pt x="353141" y="903795"/>
                  <a:pt x="348835" y="903795"/>
                  <a:pt x="344445" y="903795"/>
                </a:cubicBezTo>
                <a:cubicBezTo>
                  <a:pt x="346169" y="920562"/>
                  <a:pt x="347908" y="935520"/>
                  <a:pt x="349212" y="950515"/>
                </a:cubicBezTo>
                <a:cubicBezTo>
                  <a:pt x="352656" y="990125"/>
                  <a:pt x="351941" y="1029743"/>
                  <a:pt x="349538" y="1069392"/>
                </a:cubicBezTo>
                <a:cubicBezTo>
                  <a:pt x="348759" y="1082241"/>
                  <a:pt x="349415" y="1095176"/>
                  <a:pt x="349415" y="1108925"/>
                </a:cubicBezTo>
                <a:cubicBezTo>
                  <a:pt x="449467" y="1111953"/>
                  <a:pt x="548509" y="1104712"/>
                  <a:pt x="647726" y="1089872"/>
                </a:cubicBezTo>
                <a:cubicBezTo>
                  <a:pt x="647726" y="1084313"/>
                  <a:pt x="648180" y="1080225"/>
                  <a:pt x="647654" y="1076267"/>
                </a:cubicBezTo>
                <a:cubicBezTo>
                  <a:pt x="643515" y="1045124"/>
                  <a:pt x="633172" y="1016714"/>
                  <a:pt x="610267" y="994126"/>
                </a:cubicBezTo>
                <a:cubicBezTo>
                  <a:pt x="597451" y="981485"/>
                  <a:pt x="584392" y="969090"/>
                  <a:pt x="571459" y="956568"/>
                </a:cubicBezTo>
                <a:cubicBezTo>
                  <a:pt x="555751" y="941359"/>
                  <a:pt x="544836" y="923558"/>
                  <a:pt x="541653" y="901544"/>
                </a:cubicBezTo>
                <a:cubicBezTo>
                  <a:pt x="541430" y="900007"/>
                  <a:pt x="540528" y="898570"/>
                  <a:pt x="539477" y="895908"/>
                </a:cubicBezTo>
                <a:cubicBezTo>
                  <a:pt x="479736" y="901652"/>
                  <a:pt x="419815" y="904536"/>
                  <a:pt x="357446" y="903795"/>
                </a:cubicBezTo>
                <a:moveTo>
                  <a:pt x="300108" y="85260"/>
                </a:moveTo>
                <a:cubicBezTo>
                  <a:pt x="293656" y="98745"/>
                  <a:pt x="289202" y="113094"/>
                  <a:pt x="290213" y="127888"/>
                </a:cubicBezTo>
                <a:cubicBezTo>
                  <a:pt x="292527" y="161736"/>
                  <a:pt x="304185" y="191723"/>
                  <a:pt x="331056" y="214168"/>
                </a:cubicBezTo>
                <a:cubicBezTo>
                  <a:pt x="358172" y="236816"/>
                  <a:pt x="388435" y="249934"/>
                  <a:pt x="424717" y="245160"/>
                </a:cubicBezTo>
                <a:cubicBezTo>
                  <a:pt x="468593" y="239387"/>
                  <a:pt x="509574" y="203365"/>
                  <a:pt x="496752" y="141256"/>
                </a:cubicBezTo>
                <a:cubicBezTo>
                  <a:pt x="487021" y="94124"/>
                  <a:pt x="447261" y="51874"/>
                  <a:pt x="390320" y="43995"/>
                </a:cubicBezTo>
                <a:cubicBezTo>
                  <a:pt x="353241" y="38865"/>
                  <a:pt x="321136" y="48750"/>
                  <a:pt x="300108" y="85260"/>
                </a:cubicBezTo>
                <a:moveTo>
                  <a:pt x="343360" y="634332"/>
                </a:moveTo>
                <a:cubicBezTo>
                  <a:pt x="342539" y="666975"/>
                  <a:pt x="341785" y="699619"/>
                  <a:pt x="340877" y="732259"/>
                </a:cubicBezTo>
                <a:cubicBezTo>
                  <a:pt x="340151" y="758355"/>
                  <a:pt x="339265" y="784447"/>
                  <a:pt x="338360" y="810538"/>
                </a:cubicBezTo>
                <a:cubicBezTo>
                  <a:pt x="338277" y="812948"/>
                  <a:pt x="337465" y="815325"/>
                  <a:pt x="337115" y="817736"/>
                </a:cubicBezTo>
                <a:cubicBezTo>
                  <a:pt x="334935" y="832710"/>
                  <a:pt x="336026" y="847647"/>
                  <a:pt x="336516" y="863022"/>
                </a:cubicBezTo>
                <a:cubicBezTo>
                  <a:pt x="339537" y="863479"/>
                  <a:pt x="341490" y="864053"/>
                  <a:pt x="343436" y="864027"/>
                </a:cubicBezTo>
                <a:cubicBezTo>
                  <a:pt x="364531" y="863739"/>
                  <a:pt x="385626" y="863422"/>
                  <a:pt x="406718" y="862982"/>
                </a:cubicBezTo>
                <a:cubicBezTo>
                  <a:pt x="423444" y="862634"/>
                  <a:pt x="440168" y="861675"/>
                  <a:pt x="456888" y="861794"/>
                </a:cubicBezTo>
                <a:cubicBezTo>
                  <a:pt x="469887" y="861886"/>
                  <a:pt x="482872" y="863302"/>
                  <a:pt x="495873" y="863963"/>
                </a:cubicBezTo>
                <a:cubicBezTo>
                  <a:pt x="500358" y="864191"/>
                  <a:pt x="505108" y="864773"/>
                  <a:pt x="509286" y="863595"/>
                </a:cubicBezTo>
                <a:cubicBezTo>
                  <a:pt x="512346" y="862732"/>
                  <a:pt x="515714" y="859703"/>
                  <a:pt x="516956" y="856791"/>
                </a:cubicBezTo>
                <a:cubicBezTo>
                  <a:pt x="517783" y="854851"/>
                  <a:pt x="515475" y="851192"/>
                  <a:pt x="513920" y="848709"/>
                </a:cubicBezTo>
                <a:cubicBezTo>
                  <a:pt x="511791" y="845308"/>
                  <a:pt x="508393" y="842606"/>
                  <a:pt x="506683" y="839054"/>
                </a:cubicBezTo>
                <a:cubicBezTo>
                  <a:pt x="500331" y="825864"/>
                  <a:pt x="493224" y="812855"/>
                  <a:pt x="488629" y="799037"/>
                </a:cubicBezTo>
                <a:cubicBezTo>
                  <a:pt x="477322" y="765031"/>
                  <a:pt x="466537" y="730814"/>
                  <a:pt x="456922" y="696297"/>
                </a:cubicBezTo>
                <a:cubicBezTo>
                  <a:pt x="449953" y="671276"/>
                  <a:pt x="443477" y="646020"/>
                  <a:pt x="441346" y="619885"/>
                </a:cubicBezTo>
                <a:cubicBezTo>
                  <a:pt x="440327" y="607371"/>
                  <a:pt x="437466" y="595018"/>
                  <a:pt x="435963" y="582529"/>
                </a:cubicBezTo>
                <a:cubicBezTo>
                  <a:pt x="433539" y="562380"/>
                  <a:pt x="431154" y="542212"/>
                  <a:pt x="429497" y="521990"/>
                </a:cubicBezTo>
                <a:cubicBezTo>
                  <a:pt x="428135" y="505363"/>
                  <a:pt x="428437" y="488593"/>
                  <a:pt x="426887" y="471989"/>
                </a:cubicBezTo>
                <a:cubicBezTo>
                  <a:pt x="425874" y="461140"/>
                  <a:pt x="424983" y="461120"/>
                  <a:pt x="413744" y="461077"/>
                </a:cubicBezTo>
                <a:cubicBezTo>
                  <a:pt x="393687" y="461000"/>
                  <a:pt x="373630" y="461011"/>
                  <a:pt x="353573" y="461120"/>
                </a:cubicBezTo>
                <a:cubicBezTo>
                  <a:pt x="350472" y="461137"/>
                  <a:pt x="347374" y="461869"/>
                  <a:pt x="344160" y="462286"/>
                </a:cubicBezTo>
                <a:cubicBezTo>
                  <a:pt x="343828" y="465198"/>
                  <a:pt x="343406" y="467195"/>
                  <a:pt x="343404" y="469192"/>
                </a:cubicBezTo>
                <a:cubicBezTo>
                  <a:pt x="343360" y="504394"/>
                  <a:pt x="343267" y="539596"/>
                  <a:pt x="343469" y="574797"/>
                </a:cubicBezTo>
                <a:cubicBezTo>
                  <a:pt x="343501" y="580426"/>
                  <a:pt x="345652" y="586065"/>
                  <a:pt x="345522" y="591669"/>
                </a:cubicBezTo>
                <a:cubicBezTo>
                  <a:pt x="345214" y="605082"/>
                  <a:pt x="344131" y="618478"/>
                  <a:pt x="343360" y="634332"/>
                </a:cubicBezTo>
                <a:moveTo>
                  <a:pt x="416946" y="385943"/>
                </a:moveTo>
                <a:cubicBezTo>
                  <a:pt x="411661" y="386365"/>
                  <a:pt x="406384" y="387006"/>
                  <a:pt x="401091" y="387162"/>
                </a:cubicBezTo>
                <a:cubicBezTo>
                  <a:pt x="390470" y="387477"/>
                  <a:pt x="379841" y="387447"/>
                  <a:pt x="369218" y="387708"/>
                </a:cubicBezTo>
                <a:cubicBezTo>
                  <a:pt x="361167" y="387906"/>
                  <a:pt x="354429" y="391368"/>
                  <a:pt x="351833" y="398991"/>
                </a:cubicBezTo>
                <a:cubicBezTo>
                  <a:pt x="348989" y="407342"/>
                  <a:pt x="347050" y="416214"/>
                  <a:pt x="349778" y="426021"/>
                </a:cubicBezTo>
                <a:cubicBezTo>
                  <a:pt x="353876" y="426204"/>
                  <a:pt x="357857" y="426517"/>
                  <a:pt x="361839" y="426538"/>
                </a:cubicBezTo>
                <a:cubicBezTo>
                  <a:pt x="392900" y="426701"/>
                  <a:pt x="423961" y="426826"/>
                  <a:pt x="455022" y="426922"/>
                </a:cubicBezTo>
                <a:cubicBezTo>
                  <a:pt x="464013" y="426950"/>
                  <a:pt x="473106" y="427654"/>
                  <a:pt x="481958" y="426527"/>
                </a:cubicBezTo>
                <a:cubicBezTo>
                  <a:pt x="488144" y="425740"/>
                  <a:pt x="494821" y="423501"/>
                  <a:pt x="499817" y="419888"/>
                </a:cubicBezTo>
                <a:cubicBezTo>
                  <a:pt x="507869" y="414066"/>
                  <a:pt x="507286" y="406755"/>
                  <a:pt x="499439" y="400719"/>
                </a:cubicBezTo>
                <a:cubicBezTo>
                  <a:pt x="490179" y="393597"/>
                  <a:pt x="479486" y="388885"/>
                  <a:pt x="468062" y="387775"/>
                </a:cubicBezTo>
                <a:cubicBezTo>
                  <a:pt x="451873" y="386202"/>
                  <a:pt x="435520" y="386321"/>
                  <a:pt x="416946" y="385943"/>
                </a:cubicBezTo>
                <a:moveTo>
                  <a:pt x="636802" y="1190940"/>
                </a:moveTo>
                <a:cubicBezTo>
                  <a:pt x="646709" y="1188723"/>
                  <a:pt x="656705" y="1186841"/>
                  <a:pt x="666492" y="1184186"/>
                </a:cubicBezTo>
                <a:cubicBezTo>
                  <a:pt x="674710" y="1181958"/>
                  <a:pt x="676989" y="1178509"/>
                  <a:pt x="674465" y="1170880"/>
                </a:cubicBezTo>
                <a:cubicBezTo>
                  <a:pt x="671144" y="1160843"/>
                  <a:pt x="667026" y="1151009"/>
                  <a:pt x="662462" y="1141464"/>
                </a:cubicBezTo>
                <a:cubicBezTo>
                  <a:pt x="659273" y="1134795"/>
                  <a:pt x="653671" y="1130908"/>
                  <a:pt x="645564" y="1131937"/>
                </a:cubicBezTo>
                <a:cubicBezTo>
                  <a:pt x="639532" y="1132703"/>
                  <a:pt x="633423" y="1132867"/>
                  <a:pt x="627387" y="1133618"/>
                </a:cubicBezTo>
                <a:cubicBezTo>
                  <a:pt x="612888" y="1135421"/>
                  <a:pt x="598449" y="1137770"/>
                  <a:pt x="583917" y="1139222"/>
                </a:cubicBezTo>
                <a:cubicBezTo>
                  <a:pt x="570571" y="1140557"/>
                  <a:pt x="557130" y="1140930"/>
                  <a:pt x="543741" y="1141869"/>
                </a:cubicBezTo>
                <a:cubicBezTo>
                  <a:pt x="533202" y="1142610"/>
                  <a:pt x="522682" y="1143623"/>
                  <a:pt x="512146" y="1144418"/>
                </a:cubicBezTo>
                <a:cubicBezTo>
                  <a:pt x="490671" y="1146038"/>
                  <a:pt x="469214" y="1148450"/>
                  <a:pt x="447711" y="1148973"/>
                </a:cubicBezTo>
                <a:cubicBezTo>
                  <a:pt x="415817" y="1149749"/>
                  <a:pt x="383891" y="1149136"/>
                  <a:pt x="351979" y="1149200"/>
                </a:cubicBezTo>
                <a:cubicBezTo>
                  <a:pt x="347698" y="1149209"/>
                  <a:pt x="343419" y="1149717"/>
                  <a:pt x="338443" y="1150040"/>
                </a:cubicBezTo>
                <a:cubicBezTo>
                  <a:pt x="338443" y="1164651"/>
                  <a:pt x="338413" y="1177715"/>
                  <a:pt x="338451" y="1190780"/>
                </a:cubicBezTo>
                <a:cubicBezTo>
                  <a:pt x="338490" y="1204031"/>
                  <a:pt x="338512" y="1204062"/>
                  <a:pt x="351082" y="1207015"/>
                </a:cubicBezTo>
                <a:cubicBezTo>
                  <a:pt x="353445" y="1207570"/>
                  <a:pt x="355895" y="1208128"/>
                  <a:pt x="358298" y="1208094"/>
                </a:cubicBezTo>
                <a:cubicBezTo>
                  <a:pt x="412608" y="1207329"/>
                  <a:pt x="466919" y="1206484"/>
                  <a:pt x="521229" y="1205646"/>
                </a:cubicBezTo>
                <a:cubicBezTo>
                  <a:pt x="522045" y="1205634"/>
                  <a:pt x="522865" y="1205591"/>
                  <a:pt x="523675" y="1205490"/>
                </a:cubicBezTo>
                <a:cubicBezTo>
                  <a:pt x="542593" y="1203123"/>
                  <a:pt x="561519" y="1200820"/>
                  <a:pt x="580423" y="1198350"/>
                </a:cubicBezTo>
                <a:cubicBezTo>
                  <a:pt x="598523" y="1195985"/>
                  <a:pt x="616599" y="1193446"/>
                  <a:pt x="636802" y="1190940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1227" cap="flat">
            <a:solidFill>
              <a:srgbClr val="CDD9DF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04" name="Free-form: Shape 303">
            <a:extLst>
              <a:ext uri="{FF2B5EF4-FFF2-40B4-BE49-F238E27FC236}">
                <a16:creationId xmlns:a16="http://schemas.microsoft.com/office/drawing/2014/main" id="{11D8944D-287E-E3E5-AC74-4C34663A4EEB}"/>
              </a:ext>
            </a:extLst>
          </p:cNvPr>
          <p:cNvSpPr/>
          <p:nvPr/>
        </p:nvSpPr>
        <p:spPr>
          <a:xfrm>
            <a:off x="8563148" y="5313968"/>
            <a:ext cx="18902" cy="1998"/>
          </a:xfrm>
          <a:custGeom>
            <a:avLst/>
            <a:gdLst>
              <a:gd name="csX0" fmla="*/ 0 w 27674"/>
              <a:gd name="csY0" fmla="*/ 2915 h 2925"/>
              <a:gd name="csX1" fmla="*/ 27675 w 27674"/>
              <a:gd name="csY1" fmla="*/ 1550 h 2925"/>
              <a:gd name="csX2" fmla="*/ 0 w 27674"/>
              <a:gd name="csY2" fmla="*/ 2915 h 292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27674" h="2925">
                <a:moveTo>
                  <a:pt x="0" y="2915"/>
                </a:moveTo>
                <a:cubicBezTo>
                  <a:pt x="8211" y="-1939"/>
                  <a:pt x="17625" y="498"/>
                  <a:pt x="27675" y="1550"/>
                </a:cubicBezTo>
                <a:cubicBezTo>
                  <a:pt x="19225" y="2593"/>
                  <a:pt x="10029" y="2999"/>
                  <a:pt x="0" y="2915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05" name="Free-form: Shape 304">
            <a:extLst>
              <a:ext uri="{FF2B5EF4-FFF2-40B4-BE49-F238E27FC236}">
                <a16:creationId xmlns:a16="http://schemas.microsoft.com/office/drawing/2014/main" id="{4DFAF0F9-8B4A-3AF9-EC9D-AC141D7BFC50}"/>
              </a:ext>
            </a:extLst>
          </p:cNvPr>
          <p:cNvSpPr/>
          <p:nvPr/>
        </p:nvSpPr>
        <p:spPr>
          <a:xfrm>
            <a:off x="8511113" y="5315094"/>
            <a:ext cx="12297" cy="770"/>
          </a:xfrm>
          <a:custGeom>
            <a:avLst/>
            <a:gdLst>
              <a:gd name="csX0" fmla="*/ 0 w 18003"/>
              <a:gd name="csY0" fmla="*/ 1050 h 1128"/>
              <a:gd name="csX1" fmla="*/ 18004 w 18003"/>
              <a:gd name="csY1" fmla="*/ 93 h 1128"/>
              <a:gd name="csX2" fmla="*/ 0 w 18003"/>
              <a:gd name="csY2" fmla="*/ 1050 h 112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8003" h="1128">
                <a:moveTo>
                  <a:pt x="0" y="1050"/>
                </a:moveTo>
                <a:cubicBezTo>
                  <a:pt x="5276" y="182"/>
                  <a:pt x="11306" y="-189"/>
                  <a:pt x="18004" y="93"/>
                </a:cubicBezTo>
                <a:cubicBezTo>
                  <a:pt x="12699" y="1013"/>
                  <a:pt x="6726" y="1280"/>
                  <a:pt x="0" y="1050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06" name="Free-form: Shape 305">
            <a:extLst>
              <a:ext uri="{FF2B5EF4-FFF2-40B4-BE49-F238E27FC236}">
                <a16:creationId xmlns:a16="http://schemas.microsoft.com/office/drawing/2014/main" id="{F367AA0C-559F-E092-DA9F-C0FC7AF1EC0D}"/>
              </a:ext>
            </a:extLst>
          </p:cNvPr>
          <p:cNvSpPr/>
          <p:nvPr/>
        </p:nvSpPr>
        <p:spPr>
          <a:xfrm>
            <a:off x="8600178" y="4691614"/>
            <a:ext cx="5783" cy="5354"/>
          </a:xfrm>
          <a:custGeom>
            <a:avLst/>
            <a:gdLst>
              <a:gd name="csX0" fmla="*/ 473 w 8466"/>
              <a:gd name="csY0" fmla="*/ 7839 h 7838"/>
              <a:gd name="csX1" fmla="*/ 8466 w 8466"/>
              <a:gd name="csY1" fmla="*/ 61 h 7838"/>
              <a:gd name="csX2" fmla="*/ 473 w 8466"/>
              <a:gd name="csY2" fmla="*/ 7839 h 783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66" h="7838">
                <a:moveTo>
                  <a:pt x="473" y="7839"/>
                </a:moveTo>
                <a:cubicBezTo>
                  <a:pt x="-1298" y="1550"/>
                  <a:pt x="2020" y="-386"/>
                  <a:pt x="8466" y="61"/>
                </a:cubicBezTo>
                <a:cubicBezTo>
                  <a:pt x="6730" y="2845"/>
                  <a:pt x="4026" y="5401"/>
                  <a:pt x="473" y="7839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07" name="Free-form: Shape 306">
            <a:extLst>
              <a:ext uri="{FF2B5EF4-FFF2-40B4-BE49-F238E27FC236}">
                <a16:creationId xmlns:a16="http://schemas.microsoft.com/office/drawing/2014/main" id="{3AE655A9-8307-AE89-7944-0909A2D5F745}"/>
              </a:ext>
            </a:extLst>
          </p:cNvPr>
          <p:cNvSpPr/>
          <p:nvPr/>
        </p:nvSpPr>
        <p:spPr>
          <a:xfrm>
            <a:off x="8450582" y="5313428"/>
            <a:ext cx="5792" cy="680"/>
          </a:xfrm>
          <a:custGeom>
            <a:avLst/>
            <a:gdLst>
              <a:gd name="csX0" fmla="*/ 0 w 8480"/>
              <a:gd name="csY0" fmla="*/ 896 h 996"/>
              <a:gd name="csX1" fmla="*/ 8480 w 8480"/>
              <a:gd name="csY1" fmla="*/ 110 h 996"/>
              <a:gd name="csX2" fmla="*/ 0 w 8480"/>
              <a:gd name="csY2" fmla="*/ 896 h 99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80" h="996">
                <a:moveTo>
                  <a:pt x="0" y="896"/>
                </a:moveTo>
                <a:cubicBezTo>
                  <a:pt x="2285" y="115"/>
                  <a:pt x="5130" y="-182"/>
                  <a:pt x="8480" y="110"/>
                </a:cubicBezTo>
                <a:cubicBezTo>
                  <a:pt x="6177" y="927"/>
                  <a:pt x="3368" y="1153"/>
                  <a:pt x="0" y="896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08" name="Free-form: Shape 307">
            <a:extLst>
              <a:ext uri="{FF2B5EF4-FFF2-40B4-BE49-F238E27FC236}">
                <a16:creationId xmlns:a16="http://schemas.microsoft.com/office/drawing/2014/main" id="{53ACA190-C946-3532-48F8-4A227EAA5159}"/>
              </a:ext>
            </a:extLst>
          </p:cNvPr>
          <p:cNvSpPr/>
          <p:nvPr/>
        </p:nvSpPr>
        <p:spPr>
          <a:xfrm>
            <a:off x="8766018" y="5284247"/>
            <a:ext cx="840" cy="4547"/>
          </a:xfrm>
          <a:custGeom>
            <a:avLst/>
            <a:gdLst>
              <a:gd name="csX0" fmla="*/ 132 w 1229"/>
              <a:gd name="csY0" fmla="*/ 6659 h 6658"/>
              <a:gd name="csX1" fmla="*/ 1107 w 1229"/>
              <a:gd name="csY1" fmla="*/ 0 h 6658"/>
              <a:gd name="csX2" fmla="*/ 132 w 1229"/>
              <a:gd name="csY2" fmla="*/ 6659 h 665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229" h="6658">
                <a:moveTo>
                  <a:pt x="132" y="6659"/>
                </a:moveTo>
                <a:cubicBezTo>
                  <a:pt x="-219" y="4616"/>
                  <a:pt x="139" y="2560"/>
                  <a:pt x="1107" y="0"/>
                </a:cubicBezTo>
                <a:cubicBezTo>
                  <a:pt x="1425" y="1879"/>
                  <a:pt x="1133" y="4263"/>
                  <a:pt x="132" y="6659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09" name="Free-form: Shape 308">
            <a:extLst>
              <a:ext uri="{FF2B5EF4-FFF2-40B4-BE49-F238E27FC236}">
                <a16:creationId xmlns:a16="http://schemas.microsoft.com/office/drawing/2014/main" id="{67645798-B903-82E0-BDBF-54D8B28E972B}"/>
              </a:ext>
            </a:extLst>
          </p:cNvPr>
          <p:cNvSpPr/>
          <p:nvPr/>
        </p:nvSpPr>
        <p:spPr>
          <a:xfrm>
            <a:off x="8692103" y="5306552"/>
            <a:ext cx="2588" cy="931"/>
          </a:xfrm>
          <a:custGeom>
            <a:avLst/>
            <a:gdLst>
              <a:gd name="csX0" fmla="*/ 0 w 3788"/>
              <a:gd name="csY0" fmla="*/ 1364 h 1364"/>
              <a:gd name="csX1" fmla="*/ 3788 w 3788"/>
              <a:gd name="csY1" fmla="*/ 0 h 1364"/>
              <a:gd name="csX2" fmla="*/ 0 w 3788"/>
              <a:gd name="csY2" fmla="*/ 1364 h 136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788" h="1364">
                <a:moveTo>
                  <a:pt x="0" y="1364"/>
                </a:moveTo>
                <a:cubicBezTo>
                  <a:pt x="856" y="517"/>
                  <a:pt x="2126" y="39"/>
                  <a:pt x="3788" y="0"/>
                </a:cubicBezTo>
                <a:cubicBezTo>
                  <a:pt x="2925" y="870"/>
                  <a:pt x="1670" y="1303"/>
                  <a:pt x="0" y="1364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10" name="Free-form: Shape 309">
            <a:extLst>
              <a:ext uri="{FF2B5EF4-FFF2-40B4-BE49-F238E27FC236}">
                <a16:creationId xmlns:a16="http://schemas.microsoft.com/office/drawing/2014/main" id="{B61D3FBA-1A5F-F352-C126-726F08EC1FD0}"/>
              </a:ext>
            </a:extLst>
          </p:cNvPr>
          <p:cNvSpPr/>
          <p:nvPr/>
        </p:nvSpPr>
        <p:spPr>
          <a:xfrm>
            <a:off x="8393362" y="5310152"/>
            <a:ext cx="2726" cy="566"/>
          </a:xfrm>
          <a:custGeom>
            <a:avLst/>
            <a:gdLst>
              <a:gd name="csX0" fmla="*/ 0 w 3990"/>
              <a:gd name="csY0" fmla="*/ 719 h 829"/>
              <a:gd name="csX1" fmla="*/ 3990 w 3990"/>
              <a:gd name="csY1" fmla="*/ 119 h 829"/>
              <a:gd name="csX2" fmla="*/ 0 w 3990"/>
              <a:gd name="csY2" fmla="*/ 719 h 82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990" h="829">
                <a:moveTo>
                  <a:pt x="0" y="719"/>
                </a:moveTo>
                <a:cubicBezTo>
                  <a:pt x="982" y="66"/>
                  <a:pt x="2323" y="-163"/>
                  <a:pt x="3990" y="119"/>
                </a:cubicBezTo>
                <a:cubicBezTo>
                  <a:pt x="2998" y="800"/>
                  <a:pt x="1678" y="972"/>
                  <a:pt x="0" y="719"/>
                </a:cubicBezTo>
                <a:close/>
              </a:path>
            </a:pathLst>
          </a:custGeom>
          <a:solidFill>
            <a:srgbClr val="959DA0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11" name="Free-form: Shape 310">
            <a:extLst>
              <a:ext uri="{FF2B5EF4-FFF2-40B4-BE49-F238E27FC236}">
                <a16:creationId xmlns:a16="http://schemas.microsoft.com/office/drawing/2014/main" id="{81C43DCE-F02C-8784-BF6D-8F55EACCB8FF}"/>
              </a:ext>
            </a:extLst>
          </p:cNvPr>
          <p:cNvSpPr/>
          <p:nvPr/>
        </p:nvSpPr>
        <p:spPr>
          <a:xfrm>
            <a:off x="8624965" y="5313405"/>
            <a:ext cx="2659" cy="775"/>
          </a:xfrm>
          <a:custGeom>
            <a:avLst/>
            <a:gdLst>
              <a:gd name="csX0" fmla="*/ 0 w 3893"/>
              <a:gd name="csY0" fmla="*/ 1133 h 1135"/>
              <a:gd name="csX1" fmla="*/ 3893 w 3893"/>
              <a:gd name="csY1" fmla="*/ 7 h 1135"/>
              <a:gd name="csX2" fmla="*/ 0 w 3893"/>
              <a:gd name="csY2" fmla="*/ 1133 h 113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893" h="1135">
                <a:moveTo>
                  <a:pt x="0" y="1133"/>
                </a:moveTo>
                <a:cubicBezTo>
                  <a:pt x="902" y="349"/>
                  <a:pt x="2213" y="-60"/>
                  <a:pt x="3893" y="7"/>
                </a:cubicBezTo>
                <a:cubicBezTo>
                  <a:pt x="2978" y="825"/>
                  <a:pt x="1693" y="1167"/>
                  <a:pt x="0" y="1133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12" name="Free-form: Shape 311">
            <a:extLst>
              <a:ext uri="{FF2B5EF4-FFF2-40B4-BE49-F238E27FC236}">
                <a16:creationId xmlns:a16="http://schemas.microsoft.com/office/drawing/2014/main" id="{3F989242-6443-2B40-2B88-DDD0C2CA5103}"/>
              </a:ext>
            </a:extLst>
          </p:cNvPr>
          <p:cNvSpPr/>
          <p:nvPr/>
        </p:nvSpPr>
        <p:spPr>
          <a:xfrm>
            <a:off x="8515408" y="4780274"/>
            <a:ext cx="123846" cy="275447"/>
          </a:xfrm>
          <a:custGeom>
            <a:avLst/>
            <a:gdLst>
              <a:gd name="csX0" fmla="*/ 7554 w 181323"/>
              <a:gd name="csY0" fmla="*/ 172079 h 403282"/>
              <a:gd name="csX1" fmla="*/ 9716 w 181323"/>
              <a:gd name="csY1" fmla="*/ 130641 h 403282"/>
              <a:gd name="csX2" fmla="*/ 7663 w 181323"/>
              <a:gd name="csY2" fmla="*/ 113770 h 403282"/>
              <a:gd name="csX3" fmla="*/ 7598 w 181323"/>
              <a:gd name="csY3" fmla="*/ 8165 h 403282"/>
              <a:gd name="csX4" fmla="*/ 8353 w 181323"/>
              <a:gd name="csY4" fmla="*/ 1259 h 403282"/>
              <a:gd name="csX5" fmla="*/ 17767 w 181323"/>
              <a:gd name="csY5" fmla="*/ 93 h 403282"/>
              <a:gd name="csX6" fmla="*/ 77938 w 181323"/>
              <a:gd name="csY6" fmla="*/ 50 h 403282"/>
              <a:gd name="csX7" fmla="*/ 91081 w 181323"/>
              <a:gd name="csY7" fmla="*/ 10962 h 403282"/>
              <a:gd name="csX8" fmla="*/ 93691 w 181323"/>
              <a:gd name="csY8" fmla="*/ 60963 h 403282"/>
              <a:gd name="csX9" fmla="*/ 100157 w 181323"/>
              <a:gd name="csY9" fmla="*/ 121501 h 403282"/>
              <a:gd name="csX10" fmla="*/ 105540 w 181323"/>
              <a:gd name="csY10" fmla="*/ 158857 h 403282"/>
              <a:gd name="csX11" fmla="*/ 121116 w 181323"/>
              <a:gd name="csY11" fmla="*/ 235269 h 403282"/>
              <a:gd name="csX12" fmla="*/ 152823 w 181323"/>
              <a:gd name="csY12" fmla="*/ 338010 h 403282"/>
              <a:gd name="csX13" fmla="*/ 170877 w 181323"/>
              <a:gd name="csY13" fmla="*/ 378027 h 403282"/>
              <a:gd name="csX14" fmla="*/ 178114 w 181323"/>
              <a:gd name="csY14" fmla="*/ 387682 h 403282"/>
              <a:gd name="csX15" fmla="*/ 181150 w 181323"/>
              <a:gd name="csY15" fmla="*/ 395764 h 403282"/>
              <a:gd name="csX16" fmla="*/ 173480 w 181323"/>
              <a:gd name="csY16" fmla="*/ 402568 h 403282"/>
              <a:gd name="csX17" fmla="*/ 160067 w 181323"/>
              <a:gd name="csY17" fmla="*/ 402936 h 403282"/>
              <a:gd name="csX18" fmla="*/ 121081 w 181323"/>
              <a:gd name="csY18" fmla="*/ 400766 h 403282"/>
              <a:gd name="csX19" fmla="*/ 70912 w 181323"/>
              <a:gd name="csY19" fmla="*/ 401955 h 403282"/>
              <a:gd name="csX20" fmla="*/ 7630 w 181323"/>
              <a:gd name="csY20" fmla="*/ 402999 h 403282"/>
              <a:gd name="csX21" fmla="*/ 710 w 181323"/>
              <a:gd name="csY21" fmla="*/ 401995 h 403282"/>
              <a:gd name="csX22" fmla="*/ 1308 w 181323"/>
              <a:gd name="csY22" fmla="*/ 356708 h 403282"/>
              <a:gd name="csX23" fmla="*/ 2554 w 181323"/>
              <a:gd name="csY23" fmla="*/ 349510 h 403282"/>
              <a:gd name="csX24" fmla="*/ 5071 w 181323"/>
              <a:gd name="csY24" fmla="*/ 271231 h 403282"/>
              <a:gd name="csX25" fmla="*/ 7554 w 181323"/>
              <a:gd name="csY25" fmla="*/ 172079 h 403282"/>
              <a:gd name="csX26" fmla="*/ 98286 w 181323"/>
              <a:gd name="csY26" fmla="*/ 163566 h 403282"/>
              <a:gd name="csX27" fmla="*/ 83497 w 181323"/>
              <a:gd name="csY27" fmla="*/ 8289 h 403282"/>
              <a:gd name="csX28" fmla="*/ 15161 w 181323"/>
              <a:gd name="csY28" fmla="*/ 9148 h 403282"/>
              <a:gd name="csX29" fmla="*/ 15058 w 181323"/>
              <a:gd name="csY29" fmla="*/ 137939 h 403282"/>
              <a:gd name="csX30" fmla="*/ 12252 w 181323"/>
              <a:gd name="csY30" fmla="*/ 266862 h 403282"/>
              <a:gd name="csX31" fmla="*/ 7068 w 181323"/>
              <a:gd name="csY31" fmla="*/ 395996 h 403282"/>
              <a:gd name="csX32" fmla="*/ 171647 w 181323"/>
              <a:gd name="csY32" fmla="*/ 395996 h 403282"/>
              <a:gd name="csX33" fmla="*/ 119950 w 181323"/>
              <a:gd name="csY33" fmla="*/ 259496 h 403282"/>
              <a:gd name="csX34" fmla="*/ 98286 w 181323"/>
              <a:gd name="csY34" fmla="*/ 163566 h 40328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</a:cxnLst>
            <a:rect l="l" t="t" r="r" b="b"/>
            <a:pathLst>
              <a:path w="181323" h="403282">
                <a:moveTo>
                  <a:pt x="7554" y="172079"/>
                </a:moveTo>
                <a:cubicBezTo>
                  <a:pt x="8325" y="157451"/>
                  <a:pt x="9408" y="144055"/>
                  <a:pt x="9716" y="130641"/>
                </a:cubicBezTo>
                <a:cubicBezTo>
                  <a:pt x="9846" y="125037"/>
                  <a:pt x="7695" y="119399"/>
                  <a:pt x="7663" y="113770"/>
                </a:cubicBezTo>
                <a:cubicBezTo>
                  <a:pt x="7461" y="78569"/>
                  <a:pt x="7554" y="43367"/>
                  <a:pt x="7598" y="8165"/>
                </a:cubicBezTo>
                <a:cubicBezTo>
                  <a:pt x="7600" y="6167"/>
                  <a:pt x="8022" y="4170"/>
                  <a:pt x="8353" y="1259"/>
                </a:cubicBezTo>
                <a:cubicBezTo>
                  <a:pt x="11568" y="842"/>
                  <a:pt x="14666" y="109"/>
                  <a:pt x="17767" y="93"/>
                </a:cubicBezTo>
                <a:cubicBezTo>
                  <a:pt x="37824" y="-17"/>
                  <a:pt x="57881" y="-27"/>
                  <a:pt x="77938" y="50"/>
                </a:cubicBezTo>
                <a:cubicBezTo>
                  <a:pt x="89177" y="93"/>
                  <a:pt x="90068" y="113"/>
                  <a:pt x="91081" y="10962"/>
                </a:cubicBezTo>
                <a:cubicBezTo>
                  <a:pt x="92631" y="27565"/>
                  <a:pt x="92329" y="44335"/>
                  <a:pt x="93691" y="60963"/>
                </a:cubicBezTo>
                <a:cubicBezTo>
                  <a:pt x="95348" y="81184"/>
                  <a:pt x="97732" y="101353"/>
                  <a:pt x="100157" y="121501"/>
                </a:cubicBezTo>
                <a:cubicBezTo>
                  <a:pt x="101660" y="133990"/>
                  <a:pt x="104521" y="146343"/>
                  <a:pt x="105540" y="158857"/>
                </a:cubicBezTo>
                <a:cubicBezTo>
                  <a:pt x="107671" y="184993"/>
                  <a:pt x="114147" y="210249"/>
                  <a:pt x="121116" y="235269"/>
                </a:cubicBezTo>
                <a:cubicBezTo>
                  <a:pt x="130731" y="269786"/>
                  <a:pt x="141516" y="304004"/>
                  <a:pt x="152823" y="338010"/>
                </a:cubicBezTo>
                <a:cubicBezTo>
                  <a:pt x="157418" y="351828"/>
                  <a:pt x="164524" y="364837"/>
                  <a:pt x="170877" y="378027"/>
                </a:cubicBezTo>
                <a:cubicBezTo>
                  <a:pt x="172587" y="381579"/>
                  <a:pt x="175985" y="384280"/>
                  <a:pt x="178114" y="387682"/>
                </a:cubicBezTo>
                <a:cubicBezTo>
                  <a:pt x="179669" y="390165"/>
                  <a:pt x="181977" y="393824"/>
                  <a:pt x="181150" y="395764"/>
                </a:cubicBezTo>
                <a:cubicBezTo>
                  <a:pt x="179907" y="398676"/>
                  <a:pt x="176540" y="401705"/>
                  <a:pt x="173480" y="402568"/>
                </a:cubicBezTo>
                <a:cubicBezTo>
                  <a:pt x="169302" y="403746"/>
                  <a:pt x="164551" y="403164"/>
                  <a:pt x="160067" y="402936"/>
                </a:cubicBezTo>
                <a:cubicBezTo>
                  <a:pt x="147066" y="402274"/>
                  <a:pt x="134081" y="400859"/>
                  <a:pt x="121081" y="400766"/>
                </a:cubicBezTo>
                <a:cubicBezTo>
                  <a:pt x="104362" y="400647"/>
                  <a:pt x="87638" y="401607"/>
                  <a:pt x="70912" y="401955"/>
                </a:cubicBezTo>
                <a:cubicBezTo>
                  <a:pt x="49820" y="402394"/>
                  <a:pt x="28725" y="402712"/>
                  <a:pt x="7630" y="402999"/>
                </a:cubicBezTo>
                <a:cubicBezTo>
                  <a:pt x="5684" y="403026"/>
                  <a:pt x="3731" y="402452"/>
                  <a:pt x="710" y="401995"/>
                </a:cubicBezTo>
                <a:cubicBezTo>
                  <a:pt x="219" y="386620"/>
                  <a:pt x="-871" y="371682"/>
                  <a:pt x="1308" y="356708"/>
                </a:cubicBezTo>
                <a:cubicBezTo>
                  <a:pt x="1659" y="354298"/>
                  <a:pt x="2471" y="351920"/>
                  <a:pt x="2554" y="349510"/>
                </a:cubicBezTo>
                <a:cubicBezTo>
                  <a:pt x="3459" y="323419"/>
                  <a:pt x="4345" y="297328"/>
                  <a:pt x="5071" y="271231"/>
                </a:cubicBezTo>
                <a:cubicBezTo>
                  <a:pt x="5979" y="238591"/>
                  <a:pt x="6733" y="205947"/>
                  <a:pt x="7554" y="172079"/>
                </a:cubicBezTo>
                <a:moveTo>
                  <a:pt x="98286" y="163566"/>
                </a:moveTo>
                <a:cubicBezTo>
                  <a:pt x="89288" y="112116"/>
                  <a:pt x="86355" y="60033"/>
                  <a:pt x="83497" y="8289"/>
                </a:cubicBezTo>
                <a:cubicBezTo>
                  <a:pt x="65606" y="5845"/>
                  <a:pt x="24110" y="6470"/>
                  <a:pt x="15161" y="9148"/>
                </a:cubicBezTo>
                <a:cubicBezTo>
                  <a:pt x="15161" y="52045"/>
                  <a:pt x="15527" y="94996"/>
                  <a:pt x="15058" y="137939"/>
                </a:cubicBezTo>
                <a:cubicBezTo>
                  <a:pt x="14587" y="180919"/>
                  <a:pt x="13597" y="223900"/>
                  <a:pt x="12252" y="266862"/>
                </a:cubicBezTo>
                <a:cubicBezTo>
                  <a:pt x="10912" y="309638"/>
                  <a:pt x="8849" y="352391"/>
                  <a:pt x="7068" y="395996"/>
                </a:cubicBezTo>
                <a:cubicBezTo>
                  <a:pt x="62774" y="395996"/>
                  <a:pt x="116821" y="395996"/>
                  <a:pt x="171647" y="395996"/>
                </a:cubicBezTo>
                <a:cubicBezTo>
                  <a:pt x="148550" y="352016"/>
                  <a:pt x="132566" y="306307"/>
                  <a:pt x="119950" y="259496"/>
                </a:cubicBezTo>
                <a:cubicBezTo>
                  <a:pt x="111608" y="228543"/>
                  <a:pt x="105493" y="196989"/>
                  <a:pt x="98286" y="163566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13" name="Free-form: Shape 312">
            <a:extLst>
              <a:ext uri="{FF2B5EF4-FFF2-40B4-BE49-F238E27FC236}">
                <a16:creationId xmlns:a16="http://schemas.microsoft.com/office/drawing/2014/main" id="{3A781613-59C3-4B44-5270-93B96D99BA3C}"/>
              </a:ext>
            </a:extLst>
          </p:cNvPr>
          <p:cNvSpPr/>
          <p:nvPr/>
        </p:nvSpPr>
        <p:spPr>
          <a:xfrm>
            <a:off x="8517203" y="5238403"/>
            <a:ext cx="230181" cy="52128"/>
          </a:xfrm>
          <a:custGeom>
            <a:avLst/>
            <a:gdLst>
              <a:gd name="csX0" fmla="*/ 297312 w 337008"/>
              <a:gd name="csY0" fmla="*/ 59188 h 76321"/>
              <a:gd name="csX1" fmla="*/ 241991 w 337008"/>
              <a:gd name="csY1" fmla="*/ 66577 h 76321"/>
              <a:gd name="csX2" fmla="*/ 185243 w 337008"/>
              <a:gd name="csY2" fmla="*/ 73717 h 76321"/>
              <a:gd name="csX3" fmla="*/ 182797 w 337008"/>
              <a:gd name="csY3" fmla="*/ 73873 h 76321"/>
              <a:gd name="csX4" fmla="*/ 19866 w 337008"/>
              <a:gd name="csY4" fmla="*/ 76320 h 76321"/>
              <a:gd name="csX5" fmla="*/ 12650 w 337008"/>
              <a:gd name="csY5" fmla="*/ 75242 h 76321"/>
              <a:gd name="csX6" fmla="*/ 19 w 337008"/>
              <a:gd name="csY6" fmla="*/ 59006 h 76321"/>
              <a:gd name="csX7" fmla="*/ 11 w 337008"/>
              <a:gd name="csY7" fmla="*/ 18266 h 76321"/>
              <a:gd name="csX8" fmla="*/ 13547 w 337008"/>
              <a:gd name="csY8" fmla="*/ 17427 h 76321"/>
              <a:gd name="csX9" fmla="*/ 109279 w 337008"/>
              <a:gd name="csY9" fmla="*/ 17200 h 76321"/>
              <a:gd name="csX10" fmla="*/ 173714 w 337008"/>
              <a:gd name="csY10" fmla="*/ 12645 h 76321"/>
              <a:gd name="csX11" fmla="*/ 205309 w 337008"/>
              <a:gd name="csY11" fmla="*/ 10096 h 76321"/>
              <a:gd name="csX12" fmla="*/ 245485 w 337008"/>
              <a:gd name="csY12" fmla="*/ 7449 h 76321"/>
              <a:gd name="csX13" fmla="*/ 288955 w 337008"/>
              <a:gd name="csY13" fmla="*/ 1844 h 76321"/>
              <a:gd name="csX14" fmla="*/ 307132 w 337008"/>
              <a:gd name="csY14" fmla="*/ 164 h 76321"/>
              <a:gd name="csX15" fmla="*/ 324030 w 337008"/>
              <a:gd name="csY15" fmla="*/ 9691 h 76321"/>
              <a:gd name="csX16" fmla="*/ 336033 w 337008"/>
              <a:gd name="csY16" fmla="*/ 39107 h 76321"/>
              <a:gd name="csX17" fmla="*/ 328060 w 337008"/>
              <a:gd name="csY17" fmla="*/ 52413 h 76321"/>
              <a:gd name="csX18" fmla="*/ 297312 w 337008"/>
              <a:gd name="csY18" fmla="*/ 59188 h 76321"/>
              <a:gd name="csX19" fmla="*/ 207688 w 337008"/>
              <a:gd name="csY19" fmla="*/ 64284 h 76321"/>
              <a:gd name="csX20" fmla="*/ 330050 w 337008"/>
              <a:gd name="csY20" fmla="*/ 45606 h 76321"/>
              <a:gd name="csX21" fmla="*/ 317356 w 337008"/>
              <a:gd name="csY21" fmla="*/ 11297 h 76321"/>
              <a:gd name="csX22" fmla="*/ 304170 w 337008"/>
              <a:gd name="csY22" fmla="*/ 5545 h 76321"/>
              <a:gd name="csX23" fmla="*/ 273851 w 337008"/>
              <a:gd name="csY23" fmla="*/ 10014 h 76321"/>
              <a:gd name="csX24" fmla="*/ 163935 w 337008"/>
              <a:gd name="csY24" fmla="*/ 20274 h 76321"/>
              <a:gd name="csX25" fmla="*/ 17973 w 337008"/>
              <a:gd name="csY25" fmla="*/ 22950 h 76321"/>
              <a:gd name="csX26" fmla="*/ 7372 w 337008"/>
              <a:gd name="csY26" fmla="*/ 23601 h 76321"/>
              <a:gd name="csX27" fmla="*/ 7372 w 337008"/>
              <a:gd name="csY27" fmla="*/ 67898 h 76321"/>
              <a:gd name="csX28" fmla="*/ 207688 w 337008"/>
              <a:gd name="csY28" fmla="*/ 64284 h 7632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</a:cxnLst>
            <a:rect l="l" t="t" r="r" b="b"/>
            <a:pathLst>
              <a:path w="337008" h="76321">
                <a:moveTo>
                  <a:pt x="297312" y="59188"/>
                </a:moveTo>
                <a:cubicBezTo>
                  <a:pt x="278167" y="61672"/>
                  <a:pt x="260091" y="64212"/>
                  <a:pt x="241991" y="66577"/>
                </a:cubicBezTo>
                <a:cubicBezTo>
                  <a:pt x="223087" y="69047"/>
                  <a:pt x="204161" y="71350"/>
                  <a:pt x="185243" y="73717"/>
                </a:cubicBezTo>
                <a:cubicBezTo>
                  <a:pt x="184433" y="73818"/>
                  <a:pt x="183613" y="73861"/>
                  <a:pt x="182797" y="73873"/>
                </a:cubicBezTo>
                <a:cubicBezTo>
                  <a:pt x="128487" y="74710"/>
                  <a:pt x="74176" y="75556"/>
                  <a:pt x="19866" y="76320"/>
                </a:cubicBezTo>
                <a:cubicBezTo>
                  <a:pt x="17463" y="76354"/>
                  <a:pt x="15013" y="75797"/>
                  <a:pt x="12650" y="75242"/>
                </a:cubicBezTo>
                <a:cubicBezTo>
                  <a:pt x="80" y="72288"/>
                  <a:pt x="58" y="72258"/>
                  <a:pt x="19" y="59006"/>
                </a:cubicBezTo>
                <a:cubicBezTo>
                  <a:pt x="-19" y="45942"/>
                  <a:pt x="11" y="32877"/>
                  <a:pt x="11" y="18266"/>
                </a:cubicBezTo>
                <a:cubicBezTo>
                  <a:pt x="4987" y="17944"/>
                  <a:pt x="9266" y="17435"/>
                  <a:pt x="13547" y="17427"/>
                </a:cubicBezTo>
                <a:cubicBezTo>
                  <a:pt x="45459" y="17362"/>
                  <a:pt x="77385" y="17975"/>
                  <a:pt x="109279" y="17200"/>
                </a:cubicBezTo>
                <a:cubicBezTo>
                  <a:pt x="130782" y="16677"/>
                  <a:pt x="152239" y="14265"/>
                  <a:pt x="173714" y="12645"/>
                </a:cubicBezTo>
                <a:cubicBezTo>
                  <a:pt x="184250" y="11850"/>
                  <a:pt x="194770" y="10836"/>
                  <a:pt x="205309" y="10096"/>
                </a:cubicBezTo>
                <a:cubicBezTo>
                  <a:pt x="218698" y="9156"/>
                  <a:pt x="232139" y="8783"/>
                  <a:pt x="245485" y="7449"/>
                </a:cubicBezTo>
                <a:cubicBezTo>
                  <a:pt x="260017" y="5997"/>
                  <a:pt x="274456" y="3648"/>
                  <a:pt x="288955" y="1844"/>
                </a:cubicBezTo>
                <a:cubicBezTo>
                  <a:pt x="294991" y="1094"/>
                  <a:pt x="301100" y="930"/>
                  <a:pt x="307132" y="164"/>
                </a:cubicBezTo>
                <a:cubicBezTo>
                  <a:pt x="315239" y="-865"/>
                  <a:pt x="320841" y="3022"/>
                  <a:pt x="324030" y="9691"/>
                </a:cubicBezTo>
                <a:cubicBezTo>
                  <a:pt x="328594" y="19236"/>
                  <a:pt x="332712" y="29070"/>
                  <a:pt x="336033" y="39107"/>
                </a:cubicBezTo>
                <a:cubicBezTo>
                  <a:pt x="338557" y="46735"/>
                  <a:pt x="336278" y="50185"/>
                  <a:pt x="328060" y="52413"/>
                </a:cubicBezTo>
                <a:cubicBezTo>
                  <a:pt x="318273" y="55068"/>
                  <a:pt x="308277" y="56950"/>
                  <a:pt x="297312" y="59188"/>
                </a:cubicBezTo>
                <a:moveTo>
                  <a:pt x="207688" y="64284"/>
                </a:moveTo>
                <a:cubicBezTo>
                  <a:pt x="248681" y="60632"/>
                  <a:pt x="289317" y="54812"/>
                  <a:pt x="330050" y="45606"/>
                </a:cubicBezTo>
                <a:cubicBezTo>
                  <a:pt x="327603" y="32443"/>
                  <a:pt x="323777" y="21532"/>
                  <a:pt x="317356" y="11297"/>
                </a:cubicBezTo>
                <a:cubicBezTo>
                  <a:pt x="313908" y="5803"/>
                  <a:pt x="310145" y="4465"/>
                  <a:pt x="304170" y="5545"/>
                </a:cubicBezTo>
                <a:cubicBezTo>
                  <a:pt x="294121" y="7361"/>
                  <a:pt x="284007" y="9006"/>
                  <a:pt x="273851" y="10014"/>
                </a:cubicBezTo>
                <a:cubicBezTo>
                  <a:pt x="237233" y="13650"/>
                  <a:pt x="200632" y="17661"/>
                  <a:pt x="163935" y="20274"/>
                </a:cubicBezTo>
                <a:cubicBezTo>
                  <a:pt x="115360" y="23734"/>
                  <a:pt x="66701" y="25937"/>
                  <a:pt x="17973" y="22950"/>
                </a:cubicBezTo>
                <a:cubicBezTo>
                  <a:pt x="14492" y="22737"/>
                  <a:pt x="10959" y="23361"/>
                  <a:pt x="7372" y="23601"/>
                </a:cubicBezTo>
                <a:cubicBezTo>
                  <a:pt x="7372" y="38609"/>
                  <a:pt x="7372" y="52361"/>
                  <a:pt x="7372" y="67898"/>
                </a:cubicBezTo>
                <a:cubicBezTo>
                  <a:pt x="74001" y="69806"/>
                  <a:pt x="139746" y="71025"/>
                  <a:pt x="207688" y="64284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14" name="Free-form: Shape 313">
            <a:extLst>
              <a:ext uri="{FF2B5EF4-FFF2-40B4-BE49-F238E27FC236}">
                <a16:creationId xmlns:a16="http://schemas.microsoft.com/office/drawing/2014/main" id="{624CFAF4-00B2-962C-A814-36573A990AB5}"/>
              </a:ext>
            </a:extLst>
          </p:cNvPr>
          <p:cNvSpPr/>
          <p:nvPr/>
        </p:nvSpPr>
        <p:spPr>
          <a:xfrm>
            <a:off x="8521308" y="5077303"/>
            <a:ext cx="207269" cy="145956"/>
          </a:xfrm>
          <a:custGeom>
            <a:avLst/>
            <a:gdLst>
              <a:gd name="csX0" fmla="*/ 14160 w 303463"/>
              <a:gd name="csY0" fmla="*/ 7889 h 213695"/>
              <a:gd name="csX1" fmla="*/ 195033 w 303463"/>
              <a:gd name="csY1" fmla="*/ 0 h 213695"/>
              <a:gd name="csX2" fmla="*/ 197208 w 303463"/>
              <a:gd name="csY2" fmla="*/ 5635 h 213695"/>
              <a:gd name="csX3" fmla="*/ 227014 w 303463"/>
              <a:gd name="csY3" fmla="*/ 60660 h 213695"/>
              <a:gd name="csX4" fmla="*/ 265823 w 303463"/>
              <a:gd name="csY4" fmla="*/ 98217 h 213695"/>
              <a:gd name="csX5" fmla="*/ 303210 w 303463"/>
              <a:gd name="csY5" fmla="*/ 180358 h 213695"/>
              <a:gd name="csX6" fmla="*/ 303282 w 303463"/>
              <a:gd name="csY6" fmla="*/ 193964 h 213695"/>
              <a:gd name="csX7" fmla="*/ 4971 w 303463"/>
              <a:gd name="csY7" fmla="*/ 213017 h 213695"/>
              <a:gd name="csX8" fmla="*/ 5093 w 303463"/>
              <a:gd name="csY8" fmla="*/ 173484 h 213695"/>
              <a:gd name="csX9" fmla="*/ 4767 w 303463"/>
              <a:gd name="csY9" fmla="*/ 54607 h 213695"/>
              <a:gd name="csX10" fmla="*/ 0 w 303463"/>
              <a:gd name="csY10" fmla="*/ 7887 h 213695"/>
              <a:gd name="csX11" fmla="*/ 14160 w 303463"/>
              <a:gd name="csY11" fmla="*/ 7889 h 21369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303463" h="213695">
                <a:moveTo>
                  <a:pt x="14160" y="7889"/>
                </a:moveTo>
                <a:cubicBezTo>
                  <a:pt x="75371" y="8627"/>
                  <a:pt x="135292" y="5744"/>
                  <a:pt x="195033" y="0"/>
                </a:cubicBezTo>
                <a:cubicBezTo>
                  <a:pt x="196084" y="2662"/>
                  <a:pt x="196986" y="4099"/>
                  <a:pt x="197208" y="5635"/>
                </a:cubicBezTo>
                <a:cubicBezTo>
                  <a:pt x="200391" y="27650"/>
                  <a:pt x="211307" y="45450"/>
                  <a:pt x="227014" y="60660"/>
                </a:cubicBezTo>
                <a:cubicBezTo>
                  <a:pt x="239947" y="73182"/>
                  <a:pt x="253006" y="85577"/>
                  <a:pt x="265823" y="98217"/>
                </a:cubicBezTo>
                <a:cubicBezTo>
                  <a:pt x="288727" y="120806"/>
                  <a:pt x="299071" y="149215"/>
                  <a:pt x="303210" y="180358"/>
                </a:cubicBezTo>
                <a:cubicBezTo>
                  <a:pt x="303735" y="184317"/>
                  <a:pt x="303282" y="188405"/>
                  <a:pt x="303282" y="193964"/>
                </a:cubicBezTo>
                <a:cubicBezTo>
                  <a:pt x="204065" y="208804"/>
                  <a:pt x="105022" y="216044"/>
                  <a:pt x="4971" y="213017"/>
                </a:cubicBezTo>
                <a:cubicBezTo>
                  <a:pt x="4971" y="199268"/>
                  <a:pt x="4314" y="186332"/>
                  <a:pt x="5093" y="173484"/>
                </a:cubicBezTo>
                <a:cubicBezTo>
                  <a:pt x="7497" y="133835"/>
                  <a:pt x="8211" y="94216"/>
                  <a:pt x="4767" y="54607"/>
                </a:cubicBezTo>
                <a:cubicBezTo>
                  <a:pt x="3464" y="39611"/>
                  <a:pt x="1725" y="24653"/>
                  <a:pt x="0" y="7887"/>
                </a:cubicBezTo>
                <a:cubicBezTo>
                  <a:pt x="4390" y="7887"/>
                  <a:pt x="8696" y="7887"/>
                  <a:pt x="14160" y="7889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15" name="Free-form: Shape 314">
            <a:extLst>
              <a:ext uri="{FF2B5EF4-FFF2-40B4-BE49-F238E27FC236}">
                <a16:creationId xmlns:a16="http://schemas.microsoft.com/office/drawing/2014/main" id="{70A0D6A3-C37A-2338-D159-ABA75AC93A59}"/>
              </a:ext>
            </a:extLst>
          </p:cNvPr>
          <p:cNvSpPr/>
          <p:nvPr/>
        </p:nvSpPr>
        <p:spPr>
          <a:xfrm>
            <a:off x="8484170" y="4494571"/>
            <a:ext cx="142796" cy="138929"/>
          </a:xfrm>
          <a:custGeom>
            <a:avLst/>
            <a:gdLst>
              <a:gd name="csX0" fmla="*/ 10475 w 209067"/>
              <a:gd name="csY0" fmla="*/ 41718 h 203406"/>
              <a:gd name="csX1" fmla="*/ 100250 w 209067"/>
              <a:gd name="csY1" fmla="*/ 1265 h 203406"/>
              <a:gd name="csX2" fmla="*/ 206681 w 209067"/>
              <a:gd name="csY2" fmla="*/ 98526 h 203406"/>
              <a:gd name="csX3" fmla="*/ 134647 w 209067"/>
              <a:gd name="csY3" fmla="*/ 202431 h 203406"/>
              <a:gd name="csX4" fmla="*/ 40986 w 209067"/>
              <a:gd name="csY4" fmla="*/ 171438 h 203406"/>
              <a:gd name="csX5" fmla="*/ 143 w 209067"/>
              <a:gd name="csY5" fmla="*/ 85158 h 203406"/>
              <a:gd name="csX6" fmla="*/ 10475 w 209067"/>
              <a:gd name="csY6" fmla="*/ 41718 h 20340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</a:cxnLst>
            <a:rect l="l" t="t" r="r" b="b"/>
            <a:pathLst>
              <a:path w="209067" h="203406">
                <a:moveTo>
                  <a:pt x="10475" y="41718"/>
                </a:moveTo>
                <a:cubicBezTo>
                  <a:pt x="31065" y="6021"/>
                  <a:pt x="63171" y="-3865"/>
                  <a:pt x="100250" y="1265"/>
                </a:cubicBezTo>
                <a:cubicBezTo>
                  <a:pt x="157191" y="9144"/>
                  <a:pt x="196951" y="51394"/>
                  <a:pt x="206681" y="98526"/>
                </a:cubicBezTo>
                <a:cubicBezTo>
                  <a:pt x="219504" y="160635"/>
                  <a:pt x="178523" y="196657"/>
                  <a:pt x="134647" y="202431"/>
                </a:cubicBezTo>
                <a:cubicBezTo>
                  <a:pt x="98365" y="207204"/>
                  <a:pt x="68101" y="194086"/>
                  <a:pt x="40986" y="171438"/>
                </a:cubicBezTo>
                <a:cubicBezTo>
                  <a:pt x="14115" y="148994"/>
                  <a:pt x="2457" y="119007"/>
                  <a:pt x="143" y="85158"/>
                </a:cubicBezTo>
                <a:cubicBezTo>
                  <a:pt x="-869" y="70364"/>
                  <a:pt x="3586" y="56015"/>
                  <a:pt x="10475" y="41718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16" name="Free-form: Shape 315">
            <a:extLst>
              <a:ext uri="{FF2B5EF4-FFF2-40B4-BE49-F238E27FC236}">
                <a16:creationId xmlns:a16="http://schemas.microsoft.com/office/drawing/2014/main" id="{EC9774F3-DCAC-58A5-4694-0DDE1EE3E622}"/>
              </a:ext>
            </a:extLst>
          </p:cNvPr>
          <p:cNvSpPr/>
          <p:nvPr/>
        </p:nvSpPr>
        <p:spPr>
          <a:xfrm>
            <a:off x="8524055" y="4728913"/>
            <a:ext cx="107321" cy="28231"/>
          </a:xfrm>
          <a:custGeom>
            <a:avLst/>
            <a:gdLst>
              <a:gd name="csX0" fmla="*/ 69625 w 157129"/>
              <a:gd name="csY0" fmla="*/ 0 h 41334"/>
              <a:gd name="csX1" fmla="*/ 119596 w 157129"/>
              <a:gd name="csY1" fmla="*/ 1945 h 41334"/>
              <a:gd name="csX2" fmla="*/ 150973 w 157129"/>
              <a:gd name="csY2" fmla="*/ 14889 h 41334"/>
              <a:gd name="csX3" fmla="*/ 151351 w 157129"/>
              <a:gd name="csY3" fmla="*/ 34058 h 41334"/>
              <a:gd name="csX4" fmla="*/ 133492 w 157129"/>
              <a:gd name="csY4" fmla="*/ 40697 h 41334"/>
              <a:gd name="csX5" fmla="*/ 106556 w 157129"/>
              <a:gd name="csY5" fmla="*/ 41092 h 41334"/>
              <a:gd name="csX6" fmla="*/ 13373 w 157129"/>
              <a:gd name="csY6" fmla="*/ 40708 h 41334"/>
              <a:gd name="csX7" fmla="*/ 1312 w 157129"/>
              <a:gd name="csY7" fmla="*/ 40191 h 41334"/>
              <a:gd name="csX8" fmla="*/ 3367 w 157129"/>
              <a:gd name="csY8" fmla="*/ 13162 h 41334"/>
              <a:gd name="csX9" fmla="*/ 20752 w 157129"/>
              <a:gd name="csY9" fmla="*/ 1879 h 41334"/>
              <a:gd name="csX10" fmla="*/ 52625 w 157129"/>
              <a:gd name="csY10" fmla="*/ 1332 h 41334"/>
              <a:gd name="csX11" fmla="*/ 69625 w 157129"/>
              <a:gd name="csY11" fmla="*/ 0 h 4133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157129" h="41334">
                <a:moveTo>
                  <a:pt x="69625" y="0"/>
                </a:moveTo>
                <a:cubicBezTo>
                  <a:pt x="87054" y="491"/>
                  <a:pt x="103407" y="373"/>
                  <a:pt x="119596" y="1945"/>
                </a:cubicBezTo>
                <a:cubicBezTo>
                  <a:pt x="131020" y="3055"/>
                  <a:pt x="141713" y="7767"/>
                  <a:pt x="150973" y="14889"/>
                </a:cubicBezTo>
                <a:cubicBezTo>
                  <a:pt x="158820" y="20925"/>
                  <a:pt x="159403" y="28236"/>
                  <a:pt x="151351" y="34058"/>
                </a:cubicBezTo>
                <a:cubicBezTo>
                  <a:pt x="146355" y="37671"/>
                  <a:pt x="139678" y="39910"/>
                  <a:pt x="133492" y="40697"/>
                </a:cubicBezTo>
                <a:cubicBezTo>
                  <a:pt x="124640" y="41824"/>
                  <a:pt x="115547" y="41120"/>
                  <a:pt x="106556" y="41092"/>
                </a:cubicBezTo>
                <a:cubicBezTo>
                  <a:pt x="75495" y="40996"/>
                  <a:pt x="44434" y="40872"/>
                  <a:pt x="13373" y="40708"/>
                </a:cubicBezTo>
                <a:cubicBezTo>
                  <a:pt x="9391" y="40687"/>
                  <a:pt x="5410" y="40374"/>
                  <a:pt x="1312" y="40191"/>
                </a:cubicBezTo>
                <a:cubicBezTo>
                  <a:pt x="-1416" y="30384"/>
                  <a:pt x="523" y="21512"/>
                  <a:pt x="3367" y="13162"/>
                </a:cubicBezTo>
                <a:cubicBezTo>
                  <a:pt x="5963" y="5538"/>
                  <a:pt x="12701" y="2077"/>
                  <a:pt x="20752" y="1879"/>
                </a:cubicBezTo>
                <a:cubicBezTo>
                  <a:pt x="31375" y="1617"/>
                  <a:pt x="42004" y="1647"/>
                  <a:pt x="52625" y="1332"/>
                </a:cubicBezTo>
                <a:cubicBezTo>
                  <a:pt x="57918" y="1176"/>
                  <a:pt x="63195" y="535"/>
                  <a:pt x="69625" y="0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17" name="Free-form: Shape 316">
            <a:extLst>
              <a:ext uri="{FF2B5EF4-FFF2-40B4-BE49-F238E27FC236}">
                <a16:creationId xmlns:a16="http://schemas.microsoft.com/office/drawing/2014/main" id="{80596B37-67B1-1400-CB71-64228F0DBD61}"/>
              </a:ext>
            </a:extLst>
          </p:cNvPr>
          <p:cNvSpPr/>
          <p:nvPr/>
        </p:nvSpPr>
        <p:spPr>
          <a:xfrm>
            <a:off x="8520236" y="4784889"/>
            <a:ext cx="112410" cy="265855"/>
          </a:xfrm>
          <a:custGeom>
            <a:avLst/>
            <a:gdLst>
              <a:gd name="csX0" fmla="*/ 91265 w 164579"/>
              <a:gd name="csY0" fmla="*/ 157878 h 389238"/>
              <a:gd name="csX1" fmla="*/ 112882 w 164579"/>
              <a:gd name="csY1" fmla="*/ 252738 h 389238"/>
              <a:gd name="csX2" fmla="*/ 164579 w 164579"/>
              <a:gd name="csY2" fmla="*/ 389238 h 389238"/>
              <a:gd name="csX3" fmla="*/ 0 w 164579"/>
              <a:gd name="csY3" fmla="*/ 389238 h 389238"/>
              <a:gd name="csX4" fmla="*/ 5184 w 164579"/>
              <a:gd name="csY4" fmla="*/ 260105 h 389238"/>
              <a:gd name="csX5" fmla="*/ 7989 w 164579"/>
              <a:gd name="csY5" fmla="*/ 131182 h 389238"/>
              <a:gd name="csX6" fmla="*/ 8093 w 164579"/>
              <a:gd name="csY6" fmla="*/ 2390 h 389238"/>
              <a:gd name="csX7" fmla="*/ 76429 w 164579"/>
              <a:gd name="csY7" fmla="*/ 1531 h 389238"/>
              <a:gd name="csX8" fmla="*/ 91265 w 164579"/>
              <a:gd name="csY8" fmla="*/ 157878 h 38923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</a:cxnLst>
            <a:rect l="l" t="t" r="r" b="b"/>
            <a:pathLst>
              <a:path w="164579" h="389238">
                <a:moveTo>
                  <a:pt x="91265" y="157878"/>
                </a:moveTo>
                <a:cubicBezTo>
                  <a:pt x="98425" y="190232"/>
                  <a:pt x="104539" y="221785"/>
                  <a:pt x="112882" y="252738"/>
                </a:cubicBezTo>
                <a:cubicBezTo>
                  <a:pt x="125498" y="299549"/>
                  <a:pt x="141482" y="345258"/>
                  <a:pt x="164579" y="389238"/>
                </a:cubicBezTo>
                <a:cubicBezTo>
                  <a:pt x="109753" y="389238"/>
                  <a:pt x="55706" y="389238"/>
                  <a:pt x="0" y="389238"/>
                </a:cubicBezTo>
                <a:cubicBezTo>
                  <a:pt x="1781" y="345633"/>
                  <a:pt x="3844" y="302880"/>
                  <a:pt x="5184" y="260105"/>
                </a:cubicBezTo>
                <a:cubicBezTo>
                  <a:pt x="6529" y="217143"/>
                  <a:pt x="7519" y="174162"/>
                  <a:pt x="7989" y="131182"/>
                </a:cubicBezTo>
                <a:cubicBezTo>
                  <a:pt x="8459" y="88239"/>
                  <a:pt x="8093" y="45287"/>
                  <a:pt x="8093" y="2390"/>
                </a:cubicBezTo>
                <a:cubicBezTo>
                  <a:pt x="17041" y="-288"/>
                  <a:pt x="58537" y="-913"/>
                  <a:pt x="76429" y="1531"/>
                </a:cubicBezTo>
                <a:cubicBezTo>
                  <a:pt x="79287" y="53276"/>
                  <a:pt x="82219" y="105359"/>
                  <a:pt x="91265" y="157878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18" name="Free-form: Shape 317">
            <a:extLst>
              <a:ext uri="{FF2B5EF4-FFF2-40B4-BE49-F238E27FC236}">
                <a16:creationId xmlns:a16="http://schemas.microsoft.com/office/drawing/2014/main" id="{E8512D5E-132B-712E-8A48-9CF605CA3041}"/>
              </a:ext>
            </a:extLst>
          </p:cNvPr>
          <p:cNvSpPr/>
          <p:nvPr/>
        </p:nvSpPr>
        <p:spPr>
          <a:xfrm>
            <a:off x="8522236" y="5241953"/>
            <a:ext cx="220393" cy="43851"/>
          </a:xfrm>
          <a:custGeom>
            <a:avLst/>
            <a:gdLst>
              <a:gd name="csX0" fmla="*/ 199184 w 322677"/>
              <a:gd name="csY0" fmla="*/ 59136 h 64202"/>
              <a:gd name="csX1" fmla="*/ 0 w 322677"/>
              <a:gd name="csY1" fmla="*/ 62697 h 64202"/>
              <a:gd name="csX2" fmla="*/ 0 w 322677"/>
              <a:gd name="csY2" fmla="*/ 18400 h 64202"/>
              <a:gd name="csX3" fmla="*/ 10601 w 322677"/>
              <a:gd name="csY3" fmla="*/ 17750 h 64202"/>
              <a:gd name="csX4" fmla="*/ 156563 w 322677"/>
              <a:gd name="csY4" fmla="*/ 15074 h 64202"/>
              <a:gd name="csX5" fmla="*/ 266479 w 322677"/>
              <a:gd name="csY5" fmla="*/ 4814 h 64202"/>
              <a:gd name="csX6" fmla="*/ 296798 w 322677"/>
              <a:gd name="csY6" fmla="*/ 344 h 64202"/>
              <a:gd name="csX7" fmla="*/ 309983 w 322677"/>
              <a:gd name="csY7" fmla="*/ 6097 h 64202"/>
              <a:gd name="csX8" fmla="*/ 322678 w 322677"/>
              <a:gd name="csY8" fmla="*/ 40406 h 64202"/>
              <a:gd name="csX9" fmla="*/ 199184 w 322677"/>
              <a:gd name="csY9" fmla="*/ 59136 h 6420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322677" h="64202">
                <a:moveTo>
                  <a:pt x="199184" y="59136"/>
                </a:moveTo>
                <a:cubicBezTo>
                  <a:pt x="132374" y="65824"/>
                  <a:pt x="66629" y="64605"/>
                  <a:pt x="0" y="62697"/>
                </a:cubicBezTo>
                <a:cubicBezTo>
                  <a:pt x="0" y="47160"/>
                  <a:pt x="0" y="33409"/>
                  <a:pt x="0" y="18400"/>
                </a:cubicBezTo>
                <a:cubicBezTo>
                  <a:pt x="3587" y="18160"/>
                  <a:pt x="7120" y="17536"/>
                  <a:pt x="10601" y="17750"/>
                </a:cubicBezTo>
                <a:cubicBezTo>
                  <a:pt x="59329" y="20736"/>
                  <a:pt x="107987" y="18533"/>
                  <a:pt x="156563" y="15074"/>
                </a:cubicBezTo>
                <a:cubicBezTo>
                  <a:pt x="193260" y="12461"/>
                  <a:pt x="229860" y="8449"/>
                  <a:pt x="266479" y="4814"/>
                </a:cubicBezTo>
                <a:cubicBezTo>
                  <a:pt x="276635" y="3806"/>
                  <a:pt x="286748" y="2160"/>
                  <a:pt x="296798" y="344"/>
                </a:cubicBezTo>
                <a:cubicBezTo>
                  <a:pt x="302773" y="-735"/>
                  <a:pt x="306536" y="602"/>
                  <a:pt x="309983" y="6097"/>
                </a:cubicBezTo>
                <a:cubicBezTo>
                  <a:pt x="316405" y="16331"/>
                  <a:pt x="320231" y="27243"/>
                  <a:pt x="322678" y="40406"/>
                </a:cubicBezTo>
                <a:cubicBezTo>
                  <a:pt x="281944" y="49611"/>
                  <a:pt x="241309" y="55431"/>
                  <a:pt x="199184" y="59136"/>
                </a:cubicBezTo>
                <a:close/>
              </a:path>
            </a:pathLst>
          </a:custGeom>
          <a:solidFill>
            <a:schemeClr val="bg1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19" name="Oval 318">
            <a:extLst>
              <a:ext uri="{FF2B5EF4-FFF2-40B4-BE49-F238E27FC236}">
                <a16:creationId xmlns:a16="http://schemas.microsoft.com/office/drawing/2014/main" id="{739DB3FD-DE79-A189-95C5-26ACDF29DDA6}"/>
              </a:ext>
            </a:extLst>
          </p:cNvPr>
          <p:cNvSpPr/>
          <p:nvPr/>
        </p:nvSpPr>
        <p:spPr>
          <a:xfrm>
            <a:off x="5113468" y="4913906"/>
            <a:ext cx="593138" cy="104135"/>
          </a:xfrm>
          <a:prstGeom prst="ellipse">
            <a:avLst/>
          </a:prstGeom>
          <a:solidFill>
            <a:schemeClr val="tx1">
              <a:alpha val="6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0" name="Free-form: Shape 319">
            <a:extLst>
              <a:ext uri="{FF2B5EF4-FFF2-40B4-BE49-F238E27FC236}">
                <a16:creationId xmlns:a16="http://schemas.microsoft.com/office/drawing/2014/main" id="{1DD0467D-A4C7-0A33-D4A1-F807A532403E}"/>
              </a:ext>
            </a:extLst>
          </p:cNvPr>
          <p:cNvSpPr/>
          <p:nvPr/>
        </p:nvSpPr>
        <p:spPr>
          <a:xfrm>
            <a:off x="5212134" y="4233255"/>
            <a:ext cx="433137" cy="770022"/>
          </a:xfrm>
          <a:custGeom>
            <a:avLst/>
            <a:gdLst>
              <a:gd name="csX0" fmla="*/ 581793 w 697572"/>
              <a:gd name="csY0" fmla="*/ 1234401 h 1240128"/>
              <a:gd name="csX1" fmla="*/ 577427 w 697572"/>
              <a:gd name="csY1" fmla="*/ 1234156 h 1240128"/>
              <a:gd name="csX2" fmla="*/ 559133 w 697572"/>
              <a:gd name="csY2" fmla="*/ 1230909 h 1240128"/>
              <a:gd name="csX3" fmla="*/ 516706 w 697572"/>
              <a:gd name="csY3" fmla="*/ 1235117 h 1240128"/>
              <a:gd name="csX4" fmla="*/ 475244 w 697572"/>
              <a:gd name="csY4" fmla="*/ 1237506 h 1240128"/>
              <a:gd name="csX5" fmla="*/ 371154 w 697572"/>
              <a:gd name="csY5" fmla="*/ 1239428 h 1240128"/>
              <a:gd name="csX6" fmla="*/ 276813 w 697572"/>
              <a:gd name="csY6" fmla="*/ 1237654 h 1240128"/>
              <a:gd name="csX7" fmla="*/ 268212 w 697572"/>
              <a:gd name="csY7" fmla="*/ 1237635 h 1240128"/>
              <a:gd name="csX8" fmla="*/ 262072 w 697572"/>
              <a:gd name="csY8" fmla="*/ 1237523 h 1240128"/>
              <a:gd name="csX9" fmla="*/ 195111 w 697572"/>
              <a:gd name="csY9" fmla="*/ 1232775 h 1240128"/>
              <a:gd name="csX10" fmla="*/ 145060 w 697572"/>
              <a:gd name="csY10" fmla="*/ 1230076 h 1240128"/>
              <a:gd name="csX11" fmla="*/ 114933 w 697572"/>
              <a:gd name="csY11" fmla="*/ 1225832 h 1240128"/>
              <a:gd name="csX12" fmla="*/ 72642 w 697572"/>
              <a:gd name="csY12" fmla="*/ 1220237 h 1240128"/>
              <a:gd name="csX13" fmla="*/ 10894 w 697572"/>
              <a:gd name="csY13" fmla="*/ 1205737 h 1240128"/>
              <a:gd name="csX14" fmla="*/ 5856 w 697572"/>
              <a:gd name="csY14" fmla="*/ 1202799 h 1240128"/>
              <a:gd name="csX15" fmla="*/ 40 w 697572"/>
              <a:gd name="csY15" fmla="*/ 1174450 h 1240128"/>
              <a:gd name="csX16" fmla="*/ 19831 w 697572"/>
              <a:gd name="csY16" fmla="*/ 1118410 h 1240128"/>
              <a:gd name="csX17" fmla="*/ 22004 w 697572"/>
              <a:gd name="csY17" fmla="*/ 1107240 h 1240128"/>
              <a:gd name="csX18" fmla="*/ 25947 w 697572"/>
              <a:gd name="csY18" fmla="*/ 1038650 h 1240128"/>
              <a:gd name="csX19" fmla="*/ 58234 w 697572"/>
              <a:gd name="csY19" fmla="*/ 988567 h 1240128"/>
              <a:gd name="csX20" fmla="*/ 118645 w 697572"/>
              <a:gd name="csY20" fmla="*/ 928298 h 1240128"/>
              <a:gd name="csX21" fmla="*/ 126320 w 697572"/>
              <a:gd name="csY21" fmla="*/ 892015 h 1240128"/>
              <a:gd name="csX22" fmla="*/ 120345 w 697572"/>
              <a:gd name="csY22" fmla="*/ 872258 h 1240128"/>
              <a:gd name="csX23" fmla="*/ 125668 w 697572"/>
              <a:gd name="csY23" fmla="*/ 861640 h 1240128"/>
              <a:gd name="csX24" fmla="*/ 154237 w 697572"/>
              <a:gd name="csY24" fmla="*/ 850716 h 1240128"/>
              <a:gd name="csX25" fmla="*/ 170248 w 697572"/>
              <a:gd name="csY25" fmla="*/ 836767 h 1240128"/>
              <a:gd name="csX26" fmla="*/ 187840 w 697572"/>
              <a:gd name="csY26" fmla="*/ 796341 h 1240128"/>
              <a:gd name="csX27" fmla="*/ 209346 w 697572"/>
              <a:gd name="csY27" fmla="*/ 743126 h 1240128"/>
              <a:gd name="csX28" fmla="*/ 210630 w 697572"/>
              <a:gd name="csY28" fmla="*/ 737219 h 1240128"/>
              <a:gd name="csX29" fmla="*/ 213836 w 697572"/>
              <a:gd name="csY29" fmla="*/ 720505 h 1240128"/>
              <a:gd name="csX30" fmla="*/ 227791 w 697572"/>
              <a:gd name="csY30" fmla="*/ 667353 h 1240128"/>
              <a:gd name="csX31" fmla="*/ 241013 w 697572"/>
              <a:gd name="csY31" fmla="*/ 599151 h 1240128"/>
              <a:gd name="csX32" fmla="*/ 247322 w 697572"/>
              <a:gd name="csY32" fmla="*/ 542242 h 1240128"/>
              <a:gd name="csX33" fmla="*/ 247948 w 697572"/>
              <a:gd name="csY33" fmla="*/ 499296 h 1240128"/>
              <a:gd name="csX34" fmla="*/ 247577 w 697572"/>
              <a:gd name="csY34" fmla="*/ 470384 h 1240128"/>
              <a:gd name="csX35" fmla="*/ 238877 w 697572"/>
              <a:gd name="csY35" fmla="*/ 460987 h 1240128"/>
              <a:gd name="csX36" fmla="*/ 222040 w 697572"/>
              <a:gd name="csY36" fmla="*/ 458353 h 1240128"/>
              <a:gd name="csX37" fmla="*/ 172193 w 697572"/>
              <a:gd name="csY37" fmla="*/ 433714 h 1240128"/>
              <a:gd name="csX38" fmla="*/ 168410 w 697572"/>
              <a:gd name="csY38" fmla="*/ 396591 h 1240128"/>
              <a:gd name="csX39" fmla="*/ 209826 w 697572"/>
              <a:gd name="csY39" fmla="*/ 367773 h 1240128"/>
              <a:gd name="csX40" fmla="*/ 250732 w 697572"/>
              <a:gd name="csY40" fmla="*/ 355208 h 1240128"/>
              <a:gd name="csX41" fmla="*/ 258289 w 697572"/>
              <a:gd name="csY41" fmla="*/ 350426 h 1240128"/>
              <a:gd name="csX42" fmla="*/ 233274 w 697572"/>
              <a:gd name="csY42" fmla="*/ 333513 h 1240128"/>
              <a:gd name="csX43" fmla="*/ 229677 w 697572"/>
              <a:gd name="csY43" fmla="*/ 333922 h 1240128"/>
              <a:gd name="csX44" fmla="*/ 230149 w 697572"/>
              <a:gd name="csY44" fmla="*/ 332979 h 1240128"/>
              <a:gd name="csX45" fmla="*/ 227053 w 697572"/>
              <a:gd name="csY45" fmla="*/ 327076 h 1240128"/>
              <a:gd name="csX46" fmla="*/ 196769 w 697572"/>
              <a:gd name="csY46" fmla="*/ 291380 h 1240128"/>
              <a:gd name="csX47" fmla="*/ 184389 w 697572"/>
              <a:gd name="csY47" fmla="*/ 264042 h 1240128"/>
              <a:gd name="csX48" fmla="*/ 180630 w 697572"/>
              <a:gd name="csY48" fmla="*/ 257839 h 1240128"/>
              <a:gd name="csX49" fmla="*/ 176231 w 697572"/>
              <a:gd name="csY49" fmla="*/ 250643 h 1240128"/>
              <a:gd name="csX50" fmla="*/ 170073 w 697572"/>
              <a:gd name="csY50" fmla="*/ 146723 h 1240128"/>
              <a:gd name="csX51" fmla="*/ 180929 w 697572"/>
              <a:gd name="csY51" fmla="*/ 114280 h 1240128"/>
              <a:gd name="csX52" fmla="*/ 180839 w 697572"/>
              <a:gd name="csY52" fmla="*/ 101501 h 1240128"/>
              <a:gd name="csX53" fmla="*/ 233536 w 697572"/>
              <a:gd name="csY53" fmla="*/ 39653 h 1240128"/>
              <a:gd name="csX54" fmla="*/ 347618 w 697572"/>
              <a:gd name="csY54" fmla="*/ 35 h 1240128"/>
              <a:gd name="csX55" fmla="*/ 437139 w 697572"/>
              <a:gd name="csY55" fmla="*/ 22396 h 1240128"/>
              <a:gd name="csX56" fmla="*/ 529052 w 697572"/>
              <a:gd name="csY56" fmla="*/ 131093 h 1240128"/>
              <a:gd name="csX57" fmla="*/ 518497 w 697572"/>
              <a:gd name="csY57" fmla="*/ 271517 h 1240128"/>
              <a:gd name="csX58" fmla="*/ 500808 w 697572"/>
              <a:gd name="csY58" fmla="*/ 287385 h 1240128"/>
              <a:gd name="csX59" fmla="*/ 472948 w 697572"/>
              <a:gd name="csY59" fmla="*/ 323290 h 1240128"/>
              <a:gd name="csX60" fmla="*/ 469385 w 697572"/>
              <a:gd name="csY60" fmla="*/ 331565 h 1240128"/>
              <a:gd name="csX61" fmla="*/ 468293 w 697572"/>
              <a:gd name="csY61" fmla="*/ 331320 h 1240128"/>
              <a:gd name="csX62" fmla="*/ 459542 w 697572"/>
              <a:gd name="csY62" fmla="*/ 338942 h 1240128"/>
              <a:gd name="csX63" fmla="*/ 458492 w 697572"/>
              <a:gd name="csY63" fmla="*/ 338671 h 1240128"/>
              <a:gd name="csX64" fmla="*/ 436978 w 697572"/>
              <a:gd name="csY64" fmla="*/ 352226 h 1240128"/>
              <a:gd name="csX65" fmla="*/ 472329 w 697572"/>
              <a:gd name="csY65" fmla="*/ 362890 h 1240128"/>
              <a:gd name="csX66" fmla="*/ 523779 w 697572"/>
              <a:gd name="csY66" fmla="*/ 391962 h 1240128"/>
              <a:gd name="csX67" fmla="*/ 527344 w 697572"/>
              <a:gd name="csY67" fmla="*/ 430096 h 1240128"/>
              <a:gd name="csX68" fmla="*/ 504112 w 697572"/>
              <a:gd name="csY68" fmla="*/ 449628 h 1240128"/>
              <a:gd name="csX69" fmla="*/ 459430 w 697572"/>
              <a:gd name="csY69" fmla="*/ 461116 h 1240128"/>
              <a:gd name="csX70" fmla="*/ 446666 w 697572"/>
              <a:gd name="csY70" fmla="*/ 474229 h 1240128"/>
              <a:gd name="csX71" fmla="*/ 449133 w 697572"/>
              <a:gd name="csY71" fmla="*/ 531639 h 1240128"/>
              <a:gd name="csX72" fmla="*/ 454546 w 697572"/>
              <a:gd name="csY72" fmla="*/ 588688 h 1240128"/>
              <a:gd name="csX73" fmla="*/ 466126 w 697572"/>
              <a:gd name="csY73" fmla="*/ 649736 h 1240128"/>
              <a:gd name="csX74" fmla="*/ 512154 w 697572"/>
              <a:gd name="csY74" fmla="*/ 794006 h 1240128"/>
              <a:gd name="csX75" fmla="*/ 525763 w 697572"/>
              <a:gd name="csY75" fmla="*/ 834323 h 1240128"/>
              <a:gd name="csX76" fmla="*/ 530555 w 697572"/>
              <a:gd name="csY76" fmla="*/ 845114 h 1240128"/>
              <a:gd name="csX77" fmla="*/ 554424 w 697572"/>
              <a:gd name="csY77" fmla="*/ 856618 h 1240128"/>
              <a:gd name="csX78" fmla="*/ 572880 w 697572"/>
              <a:gd name="csY78" fmla="*/ 862546 h 1240128"/>
              <a:gd name="csX79" fmla="*/ 578643 w 697572"/>
              <a:gd name="csY79" fmla="*/ 880396 h 1240128"/>
              <a:gd name="csX80" fmla="*/ 572188 w 697572"/>
              <a:gd name="csY80" fmla="*/ 899820 h 1240128"/>
              <a:gd name="csX81" fmla="*/ 582698 w 697572"/>
              <a:gd name="csY81" fmla="*/ 930382 h 1240128"/>
              <a:gd name="csX82" fmla="*/ 604747 w 697572"/>
              <a:gd name="csY82" fmla="*/ 960852 h 1240128"/>
              <a:gd name="csX83" fmla="*/ 613863 w 697572"/>
              <a:gd name="csY83" fmla="*/ 968311 h 1240128"/>
              <a:gd name="csX84" fmla="*/ 629435 w 697572"/>
              <a:gd name="csY84" fmla="*/ 981186 h 1240128"/>
              <a:gd name="csX85" fmla="*/ 633611 w 697572"/>
              <a:gd name="csY85" fmla="*/ 985609 h 1240128"/>
              <a:gd name="csX86" fmla="*/ 673790 w 697572"/>
              <a:gd name="csY86" fmla="*/ 1049348 h 1240128"/>
              <a:gd name="csX87" fmla="*/ 675873 w 697572"/>
              <a:gd name="csY87" fmla="*/ 1092839 h 1240128"/>
              <a:gd name="csX88" fmla="*/ 681668 w 697572"/>
              <a:gd name="csY88" fmla="*/ 1129292 h 1240128"/>
              <a:gd name="csX89" fmla="*/ 697338 w 697572"/>
              <a:gd name="csY89" fmla="*/ 1196079 h 1240128"/>
              <a:gd name="csX90" fmla="*/ 690637 w 697572"/>
              <a:gd name="csY90" fmla="*/ 1205035 h 1240128"/>
              <a:gd name="csX91" fmla="*/ 639777 w 697572"/>
              <a:gd name="csY91" fmla="*/ 1217994 h 1240128"/>
              <a:gd name="csX92" fmla="*/ 587072 w 697572"/>
              <a:gd name="csY92" fmla="*/ 1227761 h 1240128"/>
              <a:gd name="csX93" fmla="*/ 581793 w 697572"/>
              <a:gd name="csY93" fmla="*/ 1234401 h 1240128"/>
              <a:gd name="csX94" fmla="*/ 357446 w 697572"/>
              <a:gd name="csY94" fmla="*/ 903795 h 1240128"/>
              <a:gd name="csX95" fmla="*/ 344445 w 697572"/>
              <a:gd name="csY95" fmla="*/ 903795 h 1240128"/>
              <a:gd name="csX96" fmla="*/ 349212 w 697572"/>
              <a:gd name="csY96" fmla="*/ 950515 h 1240128"/>
              <a:gd name="csX97" fmla="*/ 349538 w 697572"/>
              <a:gd name="csY97" fmla="*/ 1069392 h 1240128"/>
              <a:gd name="csX98" fmla="*/ 349415 w 697572"/>
              <a:gd name="csY98" fmla="*/ 1108925 h 1240128"/>
              <a:gd name="csX99" fmla="*/ 647726 w 697572"/>
              <a:gd name="csY99" fmla="*/ 1089872 h 1240128"/>
              <a:gd name="csX100" fmla="*/ 647654 w 697572"/>
              <a:gd name="csY100" fmla="*/ 1076267 h 1240128"/>
              <a:gd name="csX101" fmla="*/ 610267 w 697572"/>
              <a:gd name="csY101" fmla="*/ 994126 h 1240128"/>
              <a:gd name="csX102" fmla="*/ 571459 w 697572"/>
              <a:gd name="csY102" fmla="*/ 956568 h 1240128"/>
              <a:gd name="csX103" fmla="*/ 541653 w 697572"/>
              <a:gd name="csY103" fmla="*/ 901544 h 1240128"/>
              <a:gd name="csX104" fmla="*/ 539477 w 697572"/>
              <a:gd name="csY104" fmla="*/ 895908 h 1240128"/>
              <a:gd name="csX105" fmla="*/ 357446 w 697572"/>
              <a:gd name="csY105" fmla="*/ 903795 h 1240128"/>
              <a:gd name="csX106" fmla="*/ 300108 w 697572"/>
              <a:gd name="csY106" fmla="*/ 85260 h 1240128"/>
              <a:gd name="csX107" fmla="*/ 290213 w 697572"/>
              <a:gd name="csY107" fmla="*/ 127888 h 1240128"/>
              <a:gd name="csX108" fmla="*/ 331056 w 697572"/>
              <a:gd name="csY108" fmla="*/ 214168 h 1240128"/>
              <a:gd name="csX109" fmla="*/ 424717 w 697572"/>
              <a:gd name="csY109" fmla="*/ 245160 h 1240128"/>
              <a:gd name="csX110" fmla="*/ 496752 w 697572"/>
              <a:gd name="csY110" fmla="*/ 141256 h 1240128"/>
              <a:gd name="csX111" fmla="*/ 390320 w 697572"/>
              <a:gd name="csY111" fmla="*/ 43995 h 1240128"/>
              <a:gd name="csX112" fmla="*/ 300108 w 697572"/>
              <a:gd name="csY112" fmla="*/ 85260 h 1240128"/>
              <a:gd name="csX113" fmla="*/ 343360 w 697572"/>
              <a:gd name="csY113" fmla="*/ 634332 h 1240128"/>
              <a:gd name="csX114" fmla="*/ 340877 w 697572"/>
              <a:gd name="csY114" fmla="*/ 732259 h 1240128"/>
              <a:gd name="csX115" fmla="*/ 338360 w 697572"/>
              <a:gd name="csY115" fmla="*/ 810538 h 1240128"/>
              <a:gd name="csX116" fmla="*/ 337115 w 697572"/>
              <a:gd name="csY116" fmla="*/ 817736 h 1240128"/>
              <a:gd name="csX117" fmla="*/ 336516 w 697572"/>
              <a:gd name="csY117" fmla="*/ 863022 h 1240128"/>
              <a:gd name="csX118" fmla="*/ 343436 w 697572"/>
              <a:gd name="csY118" fmla="*/ 864027 h 1240128"/>
              <a:gd name="csX119" fmla="*/ 406718 w 697572"/>
              <a:gd name="csY119" fmla="*/ 862982 h 1240128"/>
              <a:gd name="csX120" fmla="*/ 456888 w 697572"/>
              <a:gd name="csY120" fmla="*/ 861794 h 1240128"/>
              <a:gd name="csX121" fmla="*/ 495873 w 697572"/>
              <a:gd name="csY121" fmla="*/ 863963 h 1240128"/>
              <a:gd name="csX122" fmla="*/ 509286 w 697572"/>
              <a:gd name="csY122" fmla="*/ 863595 h 1240128"/>
              <a:gd name="csX123" fmla="*/ 516956 w 697572"/>
              <a:gd name="csY123" fmla="*/ 856791 h 1240128"/>
              <a:gd name="csX124" fmla="*/ 513920 w 697572"/>
              <a:gd name="csY124" fmla="*/ 848709 h 1240128"/>
              <a:gd name="csX125" fmla="*/ 506683 w 697572"/>
              <a:gd name="csY125" fmla="*/ 839054 h 1240128"/>
              <a:gd name="csX126" fmla="*/ 488629 w 697572"/>
              <a:gd name="csY126" fmla="*/ 799037 h 1240128"/>
              <a:gd name="csX127" fmla="*/ 456922 w 697572"/>
              <a:gd name="csY127" fmla="*/ 696297 h 1240128"/>
              <a:gd name="csX128" fmla="*/ 441346 w 697572"/>
              <a:gd name="csY128" fmla="*/ 619885 h 1240128"/>
              <a:gd name="csX129" fmla="*/ 435963 w 697572"/>
              <a:gd name="csY129" fmla="*/ 582529 h 1240128"/>
              <a:gd name="csX130" fmla="*/ 429497 w 697572"/>
              <a:gd name="csY130" fmla="*/ 521990 h 1240128"/>
              <a:gd name="csX131" fmla="*/ 426887 w 697572"/>
              <a:gd name="csY131" fmla="*/ 471989 h 1240128"/>
              <a:gd name="csX132" fmla="*/ 413744 w 697572"/>
              <a:gd name="csY132" fmla="*/ 461077 h 1240128"/>
              <a:gd name="csX133" fmla="*/ 353573 w 697572"/>
              <a:gd name="csY133" fmla="*/ 461120 h 1240128"/>
              <a:gd name="csX134" fmla="*/ 344160 w 697572"/>
              <a:gd name="csY134" fmla="*/ 462286 h 1240128"/>
              <a:gd name="csX135" fmla="*/ 343404 w 697572"/>
              <a:gd name="csY135" fmla="*/ 469192 h 1240128"/>
              <a:gd name="csX136" fmla="*/ 343469 w 697572"/>
              <a:gd name="csY136" fmla="*/ 574797 h 1240128"/>
              <a:gd name="csX137" fmla="*/ 345522 w 697572"/>
              <a:gd name="csY137" fmla="*/ 591669 h 1240128"/>
              <a:gd name="csX138" fmla="*/ 343360 w 697572"/>
              <a:gd name="csY138" fmla="*/ 634332 h 1240128"/>
              <a:gd name="csX139" fmla="*/ 416946 w 697572"/>
              <a:gd name="csY139" fmla="*/ 385943 h 1240128"/>
              <a:gd name="csX140" fmla="*/ 401091 w 697572"/>
              <a:gd name="csY140" fmla="*/ 387162 h 1240128"/>
              <a:gd name="csX141" fmla="*/ 369218 w 697572"/>
              <a:gd name="csY141" fmla="*/ 387708 h 1240128"/>
              <a:gd name="csX142" fmla="*/ 351833 w 697572"/>
              <a:gd name="csY142" fmla="*/ 398991 h 1240128"/>
              <a:gd name="csX143" fmla="*/ 349778 w 697572"/>
              <a:gd name="csY143" fmla="*/ 426021 h 1240128"/>
              <a:gd name="csX144" fmla="*/ 361839 w 697572"/>
              <a:gd name="csY144" fmla="*/ 426538 h 1240128"/>
              <a:gd name="csX145" fmla="*/ 455022 w 697572"/>
              <a:gd name="csY145" fmla="*/ 426922 h 1240128"/>
              <a:gd name="csX146" fmla="*/ 481958 w 697572"/>
              <a:gd name="csY146" fmla="*/ 426527 h 1240128"/>
              <a:gd name="csX147" fmla="*/ 499817 w 697572"/>
              <a:gd name="csY147" fmla="*/ 419888 h 1240128"/>
              <a:gd name="csX148" fmla="*/ 499439 w 697572"/>
              <a:gd name="csY148" fmla="*/ 400719 h 1240128"/>
              <a:gd name="csX149" fmla="*/ 468062 w 697572"/>
              <a:gd name="csY149" fmla="*/ 387775 h 1240128"/>
              <a:gd name="csX150" fmla="*/ 416946 w 697572"/>
              <a:gd name="csY150" fmla="*/ 385943 h 1240128"/>
              <a:gd name="csX151" fmla="*/ 636802 w 697572"/>
              <a:gd name="csY151" fmla="*/ 1190940 h 1240128"/>
              <a:gd name="csX152" fmla="*/ 666492 w 697572"/>
              <a:gd name="csY152" fmla="*/ 1184186 h 1240128"/>
              <a:gd name="csX153" fmla="*/ 674465 w 697572"/>
              <a:gd name="csY153" fmla="*/ 1170880 h 1240128"/>
              <a:gd name="csX154" fmla="*/ 662462 w 697572"/>
              <a:gd name="csY154" fmla="*/ 1141464 h 1240128"/>
              <a:gd name="csX155" fmla="*/ 645564 w 697572"/>
              <a:gd name="csY155" fmla="*/ 1131937 h 1240128"/>
              <a:gd name="csX156" fmla="*/ 627387 w 697572"/>
              <a:gd name="csY156" fmla="*/ 1133618 h 1240128"/>
              <a:gd name="csX157" fmla="*/ 583917 w 697572"/>
              <a:gd name="csY157" fmla="*/ 1139222 h 1240128"/>
              <a:gd name="csX158" fmla="*/ 543741 w 697572"/>
              <a:gd name="csY158" fmla="*/ 1141869 h 1240128"/>
              <a:gd name="csX159" fmla="*/ 512146 w 697572"/>
              <a:gd name="csY159" fmla="*/ 1144418 h 1240128"/>
              <a:gd name="csX160" fmla="*/ 447711 w 697572"/>
              <a:gd name="csY160" fmla="*/ 1148973 h 1240128"/>
              <a:gd name="csX161" fmla="*/ 351979 w 697572"/>
              <a:gd name="csY161" fmla="*/ 1149200 h 1240128"/>
              <a:gd name="csX162" fmla="*/ 338443 w 697572"/>
              <a:gd name="csY162" fmla="*/ 1150040 h 1240128"/>
              <a:gd name="csX163" fmla="*/ 338451 w 697572"/>
              <a:gd name="csY163" fmla="*/ 1190780 h 1240128"/>
              <a:gd name="csX164" fmla="*/ 351082 w 697572"/>
              <a:gd name="csY164" fmla="*/ 1207015 h 1240128"/>
              <a:gd name="csX165" fmla="*/ 358298 w 697572"/>
              <a:gd name="csY165" fmla="*/ 1208094 h 1240128"/>
              <a:gd name="csX166" fmla="*/ 521229 w 697572"/>
              <a:gd name="csY166" fmla="*/ 1205646 h 1240128"/>
              <a:gd name="csX167" fmla="*/ 523675 w 697572"/>
              <a:gd name="csY167" fmla="*/ 1205490 h 1240128"/>
              <a:gd name="csX168" fmla="*/ 580423 w 697572"/>
              <a:gd name="csY168" fmla="*/ 1198350 h 1240128"/>
              <a:gd name="csX169" fmla="*/ 636802 w 697572"/>
              <a:gd name="csY169" fmla="*/ 1190940 h 124012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</a:cxnLst>
            <a:rect l="l" t="t" r="r" b="b"/>
            <a:pathLst>
              <a:path w="697572" h="1240128">
                <a:moveTo>
                  <a:pt x="581793" y="1234401"/>
                </a:moveTo>
                <a:cubicBezTo>
                  <a:pt x="580693" y="1234661"/>
                  <a:pt x="579594" y="1234922"/>
                  <a:pt x="577427" y="1234156"/>
                </a:cubicBezTo>
                <a:cubicBezTo>
                  <a:pt x="571216" y="1227899"/>
                  <a:pt x="564912" y="1230441"/>
                  <a:pt x="559133" y="1230909"/>
                </a:cubicBezTo>
                <a:cubicBezTo>
                  <a:pt x="544971" y="1232056"/>
                  <a:pt x="530869" y="1233971"/>
                  <a:pt x="516706" y="1235117"/>
                </a:cubicBezTo>
                <a:cubicBezTo>
                  <a:pt x="502910" y="1236232"/>
                  <a:pt x="489077" y="1237097"/>
                  <a:pt x="475244" y="1237506"/>
                </a:cubicBezTo>
                <a:cubicBezTo>
                  <a:pt x="440539" y="1238535"/>
                  <a:pt x="405696" y="1241458"/>
                  <a:pt x="371154" y="1239428"/>
                </a:cubicBezTo>
                <a:cubicBezTo>
                  <a:pt x="339645" y="1237575"/>
                  <a:pt x="308239" y="1238753"/>
                  <a:pt x="276813" y="1237654"/>
                </a:cubicBezTo>
                <a:cubicBezTo>
                  <a:pt x="273949" y="1237553"/>
                  <a:pt x="271079" y="1237652"/>
                  <a:pt x="268212" y="1237635"/>
                </a:cubicBezTo>
                <a:cubicBezTo>
                  <a:pt x="266165" y="1237623"/>
                  <a:pt x="264111" y="1237668"/>
                  <a:pt x="262072" y="1237523"/>
                </a:cubicBezTo>
                <a:cubicBezTo>
                  <a:pt x="239751" y="1235944"/>
                  <a:pt x="217441" y="1234201"/>
                  <a:pt x="195111" y="1232775"/>
                </a:cubicBezTo>
                <a:cubicBezTo>
                  <a:pt x="178437" y="1231710"/>
                  <a:pt x="161712" y="1231378"/>
                  <a:pt x="145060" y="1230076"/>
                </a:cubicBezTo>
                <a:cubicBezTo>
                  <a:pt x="134969" y="1229287"/>
                  <a:pt x="124987" y="1227177"/>
                  <a:pt x="114933" y="1225832"/>
                </a:cubicBezTo>
                <a:cubicBezTo>
                  <a:pt x="100834" y="1223946"/>
                  <a:pt x="86554" y="1223022"/>
                  <a:pt x="72642" y="1220237"/>
                </a:cubicBezTo>
                <a:cubicBezTo>
                  <a:pt x="51920" y="1216091"/>
                  <a:pt x="31443" y="1210723"/>
                  <a:pt x="10894" y="1205737"/>
                </a:cubicBezTo>
                <a:cubicBezTo>
                  <a:pt x="9027" y="1205284"/>
                  <a:pt x="6196" y="1204140"/>
                  <a:pt x="5856" y="1202799"/>
                </a:cubicBezTo>
                <a:cubicBezTo>
                  <a:pt x="3474" y="1193418"/>
                  <a:pt x="-438" y="1183796"/>
                  <a:pt x="40" y="1174450"/>
                </a:cubicBezTo>
                <a:cubicBezTo>
                  <a:pt x="1079" y="1154149"/>
                  <a:pt x="9757" y="1135843"/>
                  <a:pt x="19831" y="1118410"/>
                </a:cubicBezTo>
                <a:cubicBezTo>
                  <a:pt x="21968" y="1114713"/>
                  <a:pt x="22970" y="1111858"/>
                  <a:pt x="22004" y="1107240"/>
                </a:cubicBezTo>
                <a:cubicBezTo>
                  <a:pt x="17168" y="1084118"/>
                  <a:pt x="17717" y="1061168"/>
                  <a:pt x="25947" y="1038650"/>
                </a:cubicBezTo>
                <a:cubicBezTo>
                  <a:pt x="32954" y="1019481"/>
                  <a:pt x="44478" y="1003118"/>
                  <a:pt x="58234" y="988567"/>
                </a:cubicBezTo>
                <a:cubicBezTo>
                  <a:pt x="77769" y="967902"/>
                  <a:pt x="97978" y="947832"/>
                  <a:pt x="118645" y="928298"/>
                </a:cubicBezTo>
                <a:cubicBezTo>
                  <a:pt x="130104" y="917467"/>
                  <a:pt x="131835" y="905961"/>
                  <a:pt x="126320" y="892015"/>
                </a:cubicBezTo>
                <a:cubicBezTo>
                  <a:pt x="123798" y="885637"/>
                  <a:pt x="122123" y="878904"/>
                  <a:pt x="120345" y="872258"/>
                </a:cubicBezTo>
                <a:cubicBezTo>
                  <a:pt x="119029" y="867341"/>
                  <a:pt x="120162" y="863613"/>
                  <a:pt x="125668" y="861640"/>
                </a:cubicBezTo>
                <a:cubicBezTo>
                  <a:pt x="135266" y="858201"/>
                  <a:pt x="144535" y="853788"/>
                  <a:pt x="154237" y="850716"/>
                </a:cubicBezTo>
                <a:cubicBezTo>
                  <a:pt x="161882" y="848296"/>
                  <a:pt x="167110" y="843897"/>
                  <a:pt x="170248" y="836767"/>
                </a:cubicBezTo>
                <a:cubicBezTo>
                  <a:pt x="176168" y="823316"/>
                  <a:pt x="182193" y="809907"/>
                  <a:pt x="187840" y="796341"/>
                </a:cubicBezTo>
                <a:cubicBezTo>
                  <a:pt x="195194" y="778679"/>
                  <a:pt x="202250" y="760894"/>
                  <a:pt x="209346" y="743126"/>
                </a:cubicBezTo>
                <a:cubicBezTo>
                  <a:pt x="210083" y="741280"/>
                  <a:pt x="210252" y="739200"/>
                  <a:pt x="210630" y="737219"/>
                </a:cubicBezTo>
                <a:cubicBezTo>
                  <a:pt x="211694" y="731645"/>
                  <a:pt x="212425" y="725987"/>
                  <a:pt x="213836" y="720505"/>
                </a:cubicBezTo>
                <a:cubicBezTo>
                  <a:pt x="218406" y="702764"/>
                  <a:pt x="223811" y="685219"/>
                  <a:pt x="227791" y="667353"/>
                </a:cubicBezTo>
                <a:cubicBezTo>
                  <a:pt x="232826" y="644755"/>
                  <a:pt x="237367" y="622009"/>
                  <a:pt x="241013" y="599151"/>
                </a:cubicBezTo>
                <a:cubicBezTo>
                  <a:pt x="244018" y="580319"/>
                  <a:pt x="246001" y="561272"/>
                  <a:pt x="247322" y="542242"/>
                </a:cubicBezTo>
                <a:cubicBezTo>
                  <a:pt x="248312" y="527975"/>
                  <a:pt x="246344" y="513451"/>
                  <a:pt x="247948" y="499296"/>
                </a:cubicBezTo>
                <a:cubicBezTo>
                  <a:pt x="249066" y="489432"/>
                  <a:pt x="247923" y="480014"/>
                  <a:pt x="247577" y="470384"/>
                </a:cubicBezTo>
                <a:cubicBezTo>
                  <a:pt x="247364" y="464453"/>
                  <a:pt x="245121" y="461397"/>
                  <a:pt x="238877" y="460987"/>
                </a:cubicBezTo>
                <a:cubicBezTo>
                  <a:pt x="233224" y="460615"/>
                  <a:pt x="227461" y="459920"/>
                  <a:pt x="222040" y="458353"/>
                </a:cubicBezTo>
                <a:cubicBezTo>
                  <a:pt x="203991" y="453134"/>
                  <a:pt x="185737" y="448229"/>
                  <a:pt x="172193" y="433714"/>
                </a:cubicBezTo>
                <a:cubicBezTo>
                  <a:pt x="162702" y="423544"/>
                  <a:pt x="160887" y="408134"/>
                  <a:pt x="168410" y="396591"/>
                </a:cubicBezTo>
                <a:cubicBezTo>
                  <a:pt x="178294" y="381428"/>
                  <a:pt x="193736" y="373793"/>
                  <a:pt x="209826" y="367773"/>
                </a:cubicBezTo>
                <a:cubicBezTo>
                  <a:pt x="223159" y="362784"/>
                  <a:pt x="237124" y="359493"/>
                  <a:pt x="250732" y="355208"/>
                </a:cubicBezTo>
                <a:cubicBezTo>
                  <a:pt x="253085" y="354467"/>
                  <a:pt x="255058" y="352518"/>
                  <a:pt x="258289" y="350426"/>
                </a:cubicBezTo>
                <a:cubicBezTo>
                  <a:pt x="250173" y="342610"/>
                  <a:pt x="241833" y="337880"/>
                  <a:pt x="233274" y="333513"/>
                </a:cubicBezTo>
                <a:cubicBezTo>
                  <a:pt x="232377" y="333055"/>
                  <a:pt x="230890" y="333758"/>
                  <a:pt x="229677" y="333922"/>
                </a:cubicBezTo>
                <a:cubicBezTo>
                  <a:pt x="229677" y="333922"/>
                  <a:pt x="230323" y="333834"/>
                  <a:pt x="230149" y="332979"/>
                </a:cubicBezTo>
                <a:cubicBezTo>
                  <a:pt x="229023" y="330409"/>
                  <a:pt x="228502" y="328059"/>
                  <a:pt x="227053" y="327076"/>
                </a:cubicBezTo>
                <a:cubicBezTo>
                  <a:pt x="213615" y="317962"/>
                  <a:pt x="204643" y="305332"/>
                  <a:pt x="196769" y="291380"/>
                </a:cubicBezTo>
                <a:cubicBezTo>
                  <a:pt x="191792" y="282564"/>
                  <a:pt x="185421" y="274665"/>
                  <a:pt x="184389" y="264042"/>
                </a:cubicBezTo>
                <a:cubicBezTo>
                  <a:pt x="184179" y="261874"/>
                  <a:pt x="181925" y="259908"/>
                  <a:pt x="180630" y="257839"/>
                </a:cubicBezTo>
                <a:cubicBezTo>
                  <a:pt x="179137" y="255454"/>
                  <a:pt x="177317" y="253204"/>
                  <a:pt x="176231" y="250643"/>
                </a:cubicBezTo>
                <a:cubicBezTo>
                  <a:pt x="161865" y="216749"/>
                  <a:pt x="159606" y="182060"/>
                  <a:pt x="170073" y="146723"/>
                </a:cubicBezTo>
                <a:cubicBezTo>
                  <a:pt x="173311" y="135795"/>
                  <a:pt x="177248" y="125074"/>
                  <a:pt x="180929" y="114280"/>
                </a:cubicBezTo>
                <a:cubicBezTo>
                  <a:pt x="182396" y="109981"/>
                  <a:pt x="183922" y="105742"/>
                  <a:pt x="180839" y="101501"/>
                </a:cubicBezTo>
                <a:cubicBezTo>
                  <a:pt x="192473" y="75833"/>
                  <a:pt x="211344" y="56271"/>
                  <a:pt x="233536" y="39653"/>
                </a:cubicBezTo>
                <a:cubicBezTo>
                  <a:pt x="267321" y="14353"/>
                  <a:pt x="305621" y="873"/>
                  <a:pt x="347618" y="35"/>
                </a:cubicBezTo>
                <a:cubicBezTo>
                  <a:pt x="379125" y="-593"/>
                  <a:pt x="409214" y="7172"/>
                  <a:pt x="437139" y="22396"/>
                </a:cubicBezTo>
                <a:cubicBezTo>
                  <a:pt x="481844" y="46766"/>
                  <a:pt x="514077" y="82116"/>
                  <a:pt x="529052" y="131093"/>
                </a:cubicBezTo>
                <a:cubicBezTo>
                  <a:pt x="543544" y="178495"/>
                  <a:pt x="541630" y="225548"/>
                  <a:pt x="518497" y="271517"/>
                </a:cubicBezTo>
                <a:cubicBezTo>
                  <a:pt x="511428" y="277096"/>
                  <a:pt x="503848" y="281136"/>
                  <a:pt x="500808" y="287385"/>
                </a:cubicBezTo>
                <a:cubicBezTo>
                  <a:pt x="493932" y="301522"/>
                  <a:pt x="483805" y="312513"/>
                  <a:pt x="472948" y="323290"/>
                </a:cubicBezTo>
                <a:cubicBezTo>
                  <a:pt x="470972" y="325253"/>
                  <a:pt x="470533" y="328767"/>
                  <a:pt x="469385" y="331565"/>
                </a:cubicBezTo>
                <a:cubicBezTo>
                  <a:pt x="469385" y="331565"/>
                  <a:pt x="469172" y="331584"/>
                  <a:pt x="468293" y="331320"/>
                </a:cubicBezTo>
                <a:cubicBezTo>
                  <a:pt x="461937" y="330836"/>
                  <a:pt x="458618" y="332772"/>
                  <a:pt x="459542" y="338942"/>
                </a:cubicBezTo>
                <a:cubicBezTo>
                  <a:pt x="459542" y="338942"/>
                  <a:pt x="459473" y="338913"/>
                  <a:pt x="458492" y="338671"/>
                </a:cubicBezTo>
                <a:cubicBezTo>
                  <a:pt x="450936" y="342653"/>
                  <a:pt x="440712" y="341355"/>
                  <a:pt x="436978" y="352226"/>
                </a:cubicBezTo>
                <a:cubicBezTo>
                  <a:pt x="449178" y="355911"/>
                  <a:pt x="460733" y="359469"/>
                  <a:pt x="472329" y="362890"/>
                </a:cubicBezTo>
                <a:cubicBezTo>
                  <a:pt x="491728" y="368613"/>
                  <a:pt x="510182" y="375784"/>
                  <a:pt x="523779" y="391962"/>
                </a:cubicBezTo>
                <a:cubicBezTo>
                  <a:pt x="535849" y="406326"/>
                  <a:pt x="534845" y="420076"/>
                  <a:pt x="527344" y="430096"/>
                </a:cubicBezTo>
                <a:cubicBezTo>
                  <a:pt x="521323" y="438139"/>
                  <a:pt x="513928" y="445333"/>
                  <a:pt x="504112" y="449628"/>
                </a:cubicBezTo>
                <a:cubicBezTo>
                  <a:pt x="489776" y="455901"/>
                  <a:pt x="475173" y="460486"/>
                  <a:pt x="459430" y="461116"/>
                </a:cubicBezTo>
                <a:cubicBezTo>
                  <a:pt x="448415" y="461557"/>
                  <a:pt x="446384" y="463369"/>
                  <a:pt x="446666" y="474229"/>
                </a:cubicBezTo>
                <a:cubicBezTo>
                  <a:pt x="447164" y="493376"/>
                  <a:pt x="447839" y="512533"/>
                  <a:pt x="449133" y="531639"/>
                </a:cubicBezTo>
                <a:cubicBezTo>
                  <a:pt x="450424" y="550696"/>
                  <a:pt x="451783" y="569809"/>
                  <a:pt x="454546" y="588688"/>
                </a:cubicBezTo>
                <a:cubicBezTo>
                  <a:pt x="457543" y="609164"/>
                  <a:pt x="462165" y="629403"/>
                  <a:pt x="466126" y="649736"/>
                </a:cubicBezTo>
                <a:cubicBezTo>
                  <a:pt x="475845" y="699621"/>
                  <a:pt x="493414" y="746980"/>
                  <a:pt x="512154" y="794006"/>
                </a:cubicBezTo>
                <a:cubicBezTo>
                  <a:pt x="517387" y="807138"/>
                  <a:pt x="525145" y="819463"/>
                  <a:pt x="525763" y="834323"/>
                </a:cubicBezTo>
                <a:cubicBezTo>
                  <a:pt x="525919" y="838081"/>
                  <a:pt x="527739" y="843335"/>
                  <a:pt x="530555" y="845114"/>
                </a:cubicBezTo>
                <a:cubicBezTo>
                  <a:pt x="537981" y="849801"/>
                  <a:pt x="546243" y="853278"/>
                  <a:pt x="554424" y="856618"/>
                </a:cubicBezTo>
                <a:cubicBezTo>
                  <a:pt x="560391" y="859054"/>
                  <a:pt x="567041" y="859887"/>
                  <a:pt x="572880" y="862546"/>
                </a:cubicBezTo>
                <a:cubicBezTo>
                  <a:pt x="581470" y="866458"/>
                  <a:pt x="582467" y="871415"/>
                  <a:pt x="578643" y="880396"/>
                </a:cubicBezTo>
                <a:cubicBezTo>
                  <a:pt x="575969" y="886677"/>
                  <a:pt x="572900" y="893182"/>
                  <a:pt x="572188" y="899820"/>
                </a:cubicBezTo>
                <a:cubicBezTo>
                  <a:pt x="570960" y="911271"/>
                  <a:pt x="576506" y="920944"/>
                  <a:pt x="582698" y="930382"/>
                </a:cubicBezTo>
                <a:cubicBezTo>
                  <a:pt x="589569" y="940856"/>
                  <a:pt x="600933" y="947930"/>
                  <a:pt x="604747" y="960852"/>
                </a:cubicBezTo>
                <a:cubicBezTo>
                  <a:pt x="605684" y="964030"/>
                  <a:pt x="610294" y="967128"/>
                  <a:pt x="613863" y="968311"/>
                </a:cubicBezTo>
                <a:cubicBezTo>
                  <a:pt x="620963" y="970665"/>
                  <a:pt x="625924" y="974774"/>
                  <a:pt x="629435" y="981186"/>
                </a:cubicBezTo>
                <a:cubicBezTo>
                  <a:pt x="630381" y="982913"/>
                  <a:pt x="631977" y="984459"/>
                  <a:pt x="633611" y="985609"/>
                </a:cubicBezTo>
                <a:cubicBezTo>
                  <a:pt x="655878" y="1001272"/>
                  <a:pt x="668032" y="1023762"/>
                  <a:pt x="673790" y="1049348"/>
                </a:cubicBezTo>
                <a:cubicBezTo>
                  <a:pt x="676936" y="1063327"/>
                  <a:pt x="679769" y="1077802"/>
                  <a:pt x="675873" y="1092839"/>
                </a:cubicBezTo>
                <a:cubicBezTo>
                  <a:pt x="672677" y="1105174"/>
                  <a:pt x="673042" y="1116963"/>
                  <a:pt x="681668" y="1129292"/>
                </a:cubicBezTo>
                <a:cubicBezTo>
                  <a:pt x="695321" y="1148802"/>
                  <a:pt x="698550" y="1172235"/>
                  <a:pt x="697338" y="1196079"/>
                </a:cubicBezTo>
                <a:cubicBezTo>
                  <a:pt x="697087" y="1201014"/>
                  <a:pt x="694979" y="1203886"/>
                  <a:pt x="690637" y="1205035"/>
                </a:cubicBezTo>
                <a:cubicBezTo>
                  <a:pt x="673723" y="1209511"/>
                  <a:pt x="656856" y="1214241"/>
                  <a:pt x="639777" y="1217994"/>
                </a:cubicBezTo>
                <a:cubicBezTo>
                  <a:pt x="622334" y="1221827"/>
                  <a:pt x="604691" y="1224790"/>
                  <a:pt x="587072" y="1227761"/>
                </a:cubicBezTo>
                <a:cubicBezTo>
                  <a:pt x="582708" y="1228497"/>
                  <a:pt x="581724" y="1230736"/>
                  <a:pt x="581793" y="1234401"/>
                </a:cubicBezTo>
                <a:moveTo>
                  <a:pt x="357446" y="903795"/>
                </a:moveTo>
                <a:cubicBezTo>
                  <a:pt x="353141" y="903795"/>
                  <a:pt x="348835" y="903795"/>
                  <a:pt x="344445" y="903795"/>
                </a:cubicBezTo>
                <a:cubicBezTo>
                  <a:pt x="346169" y="920562"/>
                  <a:pt x="347908" y="935520"/>
                  <a:pt x="349212" y="950515"/>
                </a:cubicBezTo>
                <a:cubicBezTo>
                  <a:pt x="352656" y="990125"/>
                  <a:pt x="351941" y="1029743"/>
                  <a:pt x="349538" y="1069392"/>
                </a:cubicBezTo>
                <a:cubicBezTo>
                  <a:pt x="348759" y="1082241"/>
                  <a:pt x="349415" y="1095176"/>
                  <a:pt x="349415" y="1108925"/>
                </a:cubicBezTo>
                <a:cubicBezTo>
                  <a:pt x="449467" y="1111953"/>
                  <a:pt x="548509" y="1104712"/>
                  <a:pt x="647726" y="1089872"/>
                </a:cubicBezTo>
                <a:cubicBezTo>
                  <a:pt x="647726" y="1084313"/>
                  <a:pt x="648180" y="1080225"/>
                  <a:pt x="647654" y="1076267"/>
                </a:cubicBezTo>
                <a:cubicBezTo>
                  <a:pt x="643515" y="1045124"/>
                  <a:pt x="633172" y="1016714"/>
                  <a:pt x="610267" y="994126"/>
                </a:cubicBezTo>
                <a:cubicBezTo>
                  <a:pt x="597451" y="981485"/>
                  <a:pt x="584392" y="969090"/>
                  <a:pt x="571459" y="956568"/>
                </a:cubicBezTo>
                <a:cubicBezTo>
                  <a:pt x="555751" y="941359"/>
                  <a:pt x="544836" y="923558"/>
                  <a:pt x="541653" y="901544"/>
                </a:cubicBezTo>
                <a:cubicBezTo>
                  <a:pt x="541430" y="900007"/>
                  <a:pt x="540528" y="898570"/>
                  <a:pt x="539477" y="895908"/>
                </a:cubicBezTo>
                <a:cubicBezTo>
                  <a:pt x="479736" y="901652"/>
                  <a:pt x="419815" y="904536"/>
                  <a:pt x="357446" y="903795"/>
                </a:cubicBezTo>
                <a:moveTo>
                  <a:pt x="300108" y="85260"/>
                </a:moveTo>
                <a:cubicBezTo>
                  <a:pt x="293656" y="98745"/>
                  <a:pt x="289202" y="113094"/>
                  <a:pt x="290213" y="127888"/>
                </a:cubicBezTo>
                <a:cubicBezTo>
                  <a:pt x="292527" y="161736"/>
                  <a:pt x="304185" y="191723"/>
                  <a:pt x="331056" y="214168"/>
                </a:cubicBezTo>
                <a:cubicBezTo>
                  <a:pt x="358172" y="236816"/>
                  <a:pt x="388435" y="249934"/>
                  <a:pt x="424717" y="245160"/>
                </a:cubicBezTo>
                <a:cubicBezTo>
                  <a:pt x="468593" y="239387"/>
                  <a:pt x="509574" y="203365"/>
                  <a:pt x="496752" y="141256"/>
                </a:cubicBezTo>
                <a:cubicBezTo>
                  <a:pt x="487021" y="94124"/>
                  <a:pt x="447261" y="51874"/>
                  <a:pt x="390320" y="43995"/>
                </a:cubicBezTo>
                <a:cubicBezTo>
                  <a:pt x="353241" y="38865"/>
                  <a:pt x="321136" y="48750"/>
                  <a:pt x="300108" y="85260"/>
                </a:cubicBezTo>
                <a:moveTo>
                  <a:pt x="343360" y="634332"/>
                </a:moveTo>
                <a:cubicBezTo>
                  <a:pt x="342539" y="666975"/>
                  <a:pt x="341785" y="699619"/>
                  <a:pt x="340877" y="732259"/>
                </a:cubicBezTo>
                <a:cubicBezTo>
                  <a:pt x="340151" y="758355"/>
                  <a:pt x="339265" y="784447"/>
                  <a:pt x="338360" y="810538"/>
                </a:cubicBezTo>
                <a:cubicBezTo>
                  <a:pt x="338277" y="812948"/>
                  <a:pt x="337465" y="815325"/>
                  <a:pt x="337115" y="817736"/>
                </a:cubicBezTo>
                <a:cubicBezTo>
                  <a:pt x="334935" y="832710"/>
                  <a:pt x="336026" y="847647"/>
                  <a:pt x="336516" y="863022"/>
                </a:cubicBezTo>
                <a:cubicBezTo>
                  <a:pt x="339537" y="863479"/>
                  <a:pt x="341490" y="864053"/>
                  <a:pt x="343436" y="864027"/>
                </a:cubicBezTo>
                <a:cubicBezTo>
                  <a:pt x="364531" y="863739"/>
                  <a:pt x="385626" y="863422"/>
                  <a:pt x="406718" y="862982"/>
                </a:cubicBezTo>
                <a:cubicBezTo>
                  <a:pt x="423444" y="862634"/>
                  <a:pt x="440168" y="861675"/>
                  <a:pt x="456888" y="861794"/>
                </a:cubicBezTo>
                <a:cubicBezTo>
                  <a:pt x="469887" y="861886"/>
                  <a:pt x="482872" y="863302"/>
                  <a:pt x="495873" y="863963"/>
                </a:cubicBezTo>
                <a:cubicBezTo>
                  <a:pt x="500358" y="864191"/>
                  <a:pt x="505108" y="864773"/>
                  <a:pt x="509286" y="863595"/>
                </a:cubicBezTo>
                <a:cubicBezTo>
                  <a:pt x="512346" y="862732"/>
                  <a:pt x="515714" y="859703"/>
                  <a:pt x="516956" y="856791"/>
                </a:cubicBezTo>
                <a:cubicBezTo>
                  <a:pt x="517783" y="854851"/>
                  <a:pt x="515475" y="851192"/>
                  <a:pt x="513920" y="848709"/>
                </a:cubicBezTo>
                <a:cubicBezTo>
                  <a:pt x="511791" y="845308"/>
                  <a:pt x="508393" y="842606"/>
                  <a:pt x="506683" y="839054"/>
                </a:cubicBezTo>
                <a:cubicBezTo>
                  <a:pt x="500331" y="825864"/>
                  <a:pt x="493224" y="812855"/>
                  <a:pt x="488629" y="799037"/>
                </a:cubicBezTo>
                <a:cubicBezTo>
                  <a:pt x="477322" y="765031"/>
                  <a:pt x="466537" y="730814"/>
                  <a:pt x="456922" y="696297"/>
                </a:cubicBezTo>
                <a:cubicBezTo>
                  <a:pt x="449953" y="671276"/>
                  <a:pt x="443477" y="646020"/>
                  <a:pt x="441346" y="619885"/>
                </a:cubicBezTo>
                <a:cubicBezTo>
                  <a:pt x="440327" y="607371"/>
                  <a:pt x="437466" y="595018"/>
                  <a:pt x="435963" y="582529"/>
                </a:cubicBezTo>
                <a:cubicBezTo>
                  <a:pt x="433539" y="562380"/>
                  <a:pt x="431154" y="542212"/>
                  <a:pt x="429497" y="521990"/>
                </a:cubicBezTo>
                <a:cubicBezTo>
                  <a:pt x="428135" y="505363"/>
                  <a:pt x="428437" y="488593"/>
                  <a:pt x="426887" y="471989"/>
                </a:cubicBezTo>
                <a:cubicBezTo>
                  <a:pt x="425874" y="461140"/>
                  <a:pt x="424983" y="461120"/>
                  <a:pt x="413744" y="461077"/>
                </a:cubicBezTo>
                <a:cubicBezTo>
                  <a:pt x="393687" y="461000"/>
                  <a:pt x="373630" y="461011"/>
                  <a:pt x="353573" y="461120"/>
                </a:cubicBezTo>
                <a:cubicBezTo>
                  <a:pt x="350472" y="461137"/>
                  <a:pt x="347374" y="461869"/>
                  <a:pt x="344160" y="462286"/>
                </a:cubicBezTo>
                <a:cubicBezTo>
                  <a:pt x="343828" y="465198"/>
                  <a:pt x="343406" y="467195"/>
                  <a:pt x="343404" y="469192"/>
                </a:cubicBezTo>
                <a:cubicBezTo>
                  <a:pt x="343360" y="504394"/>
                  <a:pt x="343267" y="539596"/>
                  <a:pt x="343469" y="574797"/>
                </a:cubicBezTo>
                <a:cubicBezTo>
                  <a:pt x="343501" y="580426"/>
                  <a:pt x="345652" y="586065"/>
                  <a:pt x="345522" y="591669"/>
                </a:cubicBezTo>
                <a:cubicBezTo>
                  <a:pt x="345214" y="605082"/>
                  <a:pt x="344131" y="618478"/>
                  <a:pt x="343360" y="634332"/>
                </a:cubicBezTo>
                <a:moveTo>
                  <a:pt x="416946" y="385943"/>
                </a:moveTo>
                <a:cubicBezTo>
                  <a:pt x="411661" y="386365"/>
                  <a:pt x="406384" y="387006"/>
                  <a:pt x="401091" y="387162"/>
                </a:cubicBezTo>
                <a:cubicBezTo>
                  <a:pt x="390470" y="387477"/>
                  <a:pt x="379841" y="387447"/>
                  <a:pt x="369218" y="387708"/>
                </a:cubicBezTo>
                <a:cubicBezTo>
                  <a:pt x="361167" y="387906"/>
                  <a:pt x="354429" y="391368"/>
                  <a:pt x="351833" y="398991"/>
                </a:cubicBezTo>
                <a:cubicBezTo>
                  <a:pt x="348989" y="407342"/>
                  <a:pt x="347050" y="416214"/>
                  <a:pt x="349778" y="426021"/>
                </a:cubicBezTo>
                <a:cubicBezTo>
                  <a:pt x="353876" y="426204"/>
                  <a:pt x="357857" y="426517"/>
                  <a:pt x="361839" y="426538"/>
                </a:cubicBezTo>
                <a:cubicBezTo>
                  <a:pt x="392900" y="426701"/>
                  <a:pt x="423961" y="426826"/>
                  <a:pt x="455022" y="426922"/>
                </a:cubicBezTo>
                <a:cubicBezTo>
                  <a:pt x="464013" y="426950"/>
                  <a:pt x="473106" y="427654"/>
                  <a:pt x="481958" y="426527"/>
                </a:cubicBezTo>
                <a:cubicBezTo>
                  <a:pt x="488144" y="425740"/>
                  <a:pt x="494821" y="423501"/>
                  <a:pt x="499817" y="419888"/>
                </a:cubicBezTo>
                <a:cubicBezTo>
                  <a:pt x="507869" y="414066"/>
                  <a:pt x="507286" y="406755"/>
                  <a:pt x="499439" y="400719"/>
                </a:cubicBezTo>
                <a:cubicBezTo>
                  <a:pt x="490179" y="393597"/>
                  <a:pt x="479486" y="388885"/>
                  <a:pt x="468062" y="387775"/>
                </a:cubicBezTo>
                <a:cubicBezTo>
                  <a:pt x="451873" y="386202"/>
                  <a:pt x="435520" y="386321"/>
                  <a:pt x="416946" y="385943"/>
                </a:cubicBezTo>
                <a:moveTo>
                  <a:pt x="636802" y="1190940"/>
                </a:moveTo>
                <a:cubicBezTo>
                  <a:pt x="646709" y="1188723"/>
                  <a:pt x="656705" y="1186841"/>
                  <a:pt x="666492" y="1184186"/>
                </a:cubicBezTo>
                <a:cubicBezTo>
                  <a:pt x="674710" y="1181958"/>
                  <a:pt x="676989" y="1178509"/>
                  <a:pt x="674465" y="1170880"/>
                </a:cubicBezTo>
                <a:cubicBezTo>
                  <a:pt x="671144" y="1160843"/>
                  <a:pt x="667026" y="1151009"/>
                  <a:pt x="662462" y="1141464"/>
                </a:cubicBezTo>
                <a:cubicBezTo>
                  <a:pt x="659273" y="1134795"/>
                  <a:pt x="653671" y="1130908"/>
                  <a:pt x="645564" y="1131937"/>
                </a:cubicBezTo>
                <a:cubicBezTo>
                  <a:pt x="639532" y="1132703"/>
                  <a:pt x="633423" y="1132867"/>
                  <a:pt x="627387" y="1133618"/>
                </a:cubicBezTo>
                <a:cubicBezTo>
                  <a:pt x="612888" y="1135421"/>
                  <a:pt x="598449" y="1137770"/>
                  <a:pt x="583917" y="1139222"/>
                </a:cubicBezTo>
                <a:cubicBezTo>
                  <a:pt x="570571" y="1140557"/>
                  <a:pt x="557130" y="1140930"/>
                  <a:pt x="543741" y="1141869"/>
                </a:cubicBezTo>
                <a:cubicBezTo>
                  <a:pt x="533202" y="1142610"/>
                  <a:pt x="522682" y="1143623"/>
                  <a:pt x="512146" y="1144418"/>
                </a:cubicBezTo>
                <a:cubicBezTo>
                  <a:pt x="490671" y="1146038"/>
                  <a:pt x="469214" y="1148450"/>
                  <a:pt x="447711" y="1148973"/>
                </a:cubicBezTo>
                <a:cubicBezTo>
                  <a:pt x="415817" y="1149749"/>
                  <a:pt x="383891" y="1149136"/>
                  <a:pt x="351979" y="1149200"/>
                </a:cubicBezTo>
                <a:cubicBezTo>
                  <a:pt x="347698" y="1149209"/>
                  <a:pt x="343419" y="1149717"/>
                  <a:pt x="338443" y="1150040"/>
                </a:cubicBezTo>
                <a:cubicBezTo>
                  <a:pt x="338443" y="1164651"/>
                  <a:pt x="338413" y="1177715"/>
                  <a:pt x="338451" y="1190780"/>
                </a:cubicBezTo>
                <a:cubicBezTo>
                  <a:pt x="338490" y="1204031"/>
                  <a:pt x="338512" y="1204062"/>
                  <a:pt x="351082" y="1207015"/>
                </a:cubicBezTo>
                <a:cubicBezTo>
                  <a:pt x="353445" y="1207570"/>
                  <a:pt x="355895" y="1208128"/>
                  <a:pt x="358298" y="1208094"/>
                </a:cubicBezTo>
                <a:cubicBezTo>
                  <a:pt x="412608" y="1207329"/>
                  <a:pt x="466919" y="1206484"/>
                  <a:pt x="521229" y="1205646"/>
                </a:cubicBezTo>
                <a:cubicBezTo>
                  <a:pt x="522045" y="1205634"/>
                  <a:pt x="522865" y="1205591"/>
                  <a:pt x="523675" y="1205490"/>
                </a:cubicBezTo>
                <a:cubicBezTo>
                  <a:pt x="542593" y="1203123"/>
                  <a:pt x="561519" y="1200820"/>
                  <a:pt x="580423" y="1198350"/>
                </a:cubicBezTo>
                <a:cubicBezTo>
                  <a:pt x="598523" y="1195985"/>
                  <a:pt x="616599" y="1193446"/>
                  <a:pt x="636802" y="1190940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1" name="Free-form: Shape 320">
            <a:extLst>
              <a:ext uri="{FF2B5EF4-FFF2-40B4-BE49-F238E27FC236}">
                <a16:creationId xmlns:a16="http://schemas.microsoft.com/office/drawing/2014/main" id="{2E48C4B0-5352-FF9C-B480-8BCB01EE1467}"/>
              </a:ext>
            </a:extLst>
          </p:cNvPr>
          <p:cNvSpPr/>
          <p:nvPr/>
        </p:nvSpPr>
        <p:spPr>
          <a:xfrm>
            <a:off x="5464042" y="5004693"/>
            <a:ext cx="17183" cy="1817"/>
          </a:xfrm>
          <a:custGeom>
            <a:avLst/>
            <a:gdLst>
              <a:gd name="csX0" fmla="*/ 0 w 27674"/>
              <a:gd name="csY0" fmla="*/ 2915 h 2925"/>
              <a:gd name="csX1" fmla="*/ 27675 w 27674"/>
              <a:gd name="csY1" fmla="*/ 1550 h 2925"/>
              <a:gd name="csX2" fmla="*/ 0 w 27674"/>
              <a:gd name="csY2" fmla="*/ 2915 h 292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27674" h="2925">
                <a:moveTo>
                  <a:pt x="0" y="2915"/>
                </a:moveTo>
                <a:cubicBezTo>
                  <a:pt x="8211" y="-1939"/>
                  <a:pt x="17625" y="498"/>
                  <a:pt x="27675" y="1550"/>
                </a:cubicBezTo>
                <a:cubicBezTo>
                  <a:pt x="19225" y="2593"/>
                  <a:pt x="10029" y="2999"/>
                  <a:pt x="0" y="2915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2" name="Free-form: Shape 321">
            <a:extLst>
              <a:ext uri="{FF2B5EF4-FFF2-40B4-BE49-F238E27FC236}">
                <a16:creationId xmlns:a16="http://schemas.microsoft.com/office/drawing/2014/main" id="{362036F4-C54D-B3E3-2F62-4696F63F5F3F}"/>
              </a:ext>
            </a:extLst>
          </p:cNvPr>
          <p:cNvSpPr/>
          <p:nvPr/>
        </p:nvSpPr>
        <p:spPr>
          <a:xfrm>
            <a:off x="5416738" y="5005717"/>
            <a:ext cx="11179" cy="700"/>
          </a:xfrm>
          <a:custGeom>
            <a:avLst/>
            <a:gdLst>
              <a:gd name="csX0" fmla="*/ 0 w 18003"/>
              <a:gd name="csY0" fmla="*/ 1050 h 1128"/>
              <a:gd name="csX1" fmla="*/ 18004 w 18003"/>
              <a:gd name="csY1" fmla="*/ 93 h 1128"/>
              <a:gd name="csX2" fmla="*/ 0 w 18003"/>
              <a:gd name="csY2" fmla="*/ 1050 h 112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8003" h="1128">
                <a:moveTo>
                  <a:pt x="0" y="1050"/>
                </a:moveTo>
                <a:cubicBezTo>
                  <a:pt x="5276" y="182"/>
                  <a:pt x="11306" y="-189"/>
                  <a:pt x="18004" y="93"/>
                </a:cubicBezTo>
                <a:cubicBezTo>
                  <a:pt x="12699" y="1013"/>
                  <a:pt x="6726" y="1280"/>
                  <a:pt x="0" y="1050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3" name="Free-form: Shape 322">
            <a:extLst>
              <a:ext uri="{FF2B5EF4-FFF2-40B4-BE49-F238E27FC236}">
                <a16:creationId xmlns:a16="http://schemas.microsoft.com/office/drawing/2014/main" id="{7BA59C5B-24B8-FD32-4C68-4C5FFA78A973}"/>
              </a:ext>
            </a:extLst>
          </p:cNvPr>
          <p:cNvSpPr/>
          <p:nvPr/>
        </p:nvSpPr>
        <p:spPr>
          <a:xfrm>
            <a:off x="5497705" y="4438917"/>
            <a:ext cx="5257" cy="4867"/>
          </a:xfrm>
          <a:custGeom>
            <a:avLst/>
            <a:gdLst>
              <a:gd name="csX0" fmla="*/ 473 w 8466"/>
              <a:gd name="csY0" fmla="*/ 7839 h 7838"/>
              <a:gd name="csX1" fmla="*/ 8466 w 8466"/>
              <a:gd name="csY1" fmla="*/ 61 h 7838"/>
              <a:gd name="csX2" fmla="*/ 473 w 8466"/>
              <a:gd name="csY2" fmla="*/ 7839 h 783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66" h="7838">
                <a:moveTo>
                  <a:pt x="473" y="7839"/>
                </a:moveTo>
                <a:cubicBezTo>
                  <a:pt x="-1298" y="1550"/>
                  <a:pt x="2020" y="-386"/>
                  <a:pt x="8466" y="61"/>
                </a:cubicBezTo>
                <a:cubicBezTo>
                  <a:pt x="6730" y="2845"/>
                  <a:pt x="4026" y="5401"/>
                  <a:pt x="473" y="7839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4" name="Free-form: Shape 323">
            <a:extLst>
              <a:ext uri="{FF2B5EF4-FFF2-40B4-BE49-F238E27FC236}">
                <a16:creationId xmlns:a16="http://schemas.microsoft.com/office/drawing/2014/main" id="{1E293644-5248-D282-0135-39981A90E84A}"/>
              </a:ext>
            </a:extLst>
          </p:cNvPr>
          <p:cNvSpPr/>
          <p:nvPr/>
        </p:nvSpPr>
        <p:spPr>
          <a:xfrm>
            <a:off x="5361709" y="5004203"/>
            <a:ext cx="5265" cy="618"/>
          </a:xfrm>
          <a:custGeom>
            <a:avLst/>
            <a:gdLst>
              <a:gd name="csX0" fmla="*/ 0 w 8480"/>
              <a:gd name="csY0" fmla="*/ 896 h 996"/>
              <a:gd name="csX1" fmla="*/ 8480 w 8480"/>
              <a:gd name="csY1" fmla="*/ 110 h 996"/>
              <a:gd name="csX2" fmla="*/ 0 w 8480"/>
              <a:gd name="csY2" fmla="*/ 896 h 99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80" h="996">
                <a:moveTo>
                  <a:pt x="0" y="896"/>
                </a:moveTo>
                <a:cubicBezTo>
                  <a:pt x="2285" y="115"/>
                  <a:pt x="5130" y="-182"/>
                  <a:pt x="8480" y="110"/>
                </a:cubicBezTo>
                <a:cubicBezTo>
                  <a:pt x="6177" y="927"/>
                  <a:pt x="3368" y="1153"/>
                  <a:pt x="0" y="896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5" name="Free-form: Shape 324">
            <a:extLst>
              <a:ext uri="{FF2B5EF4-FFF2-40B4-BE49-F238E27FC236}">
                <a16:creationId xmlns:a16="http://schemas.microsoft.com/office/drawing/2014/main" id="{4CC0794C-A71D-4D54-01DC-69BB70DD519F}"/>
              </a:ext>
            </a:extLst>
          </p:cNvPr>
          <p:cNvSpPr/>
          <p:nvPr/>
        </p:nvSpPr>
        <p:spPr>
          <a:xfrm>
            <a:off x="5648470" y="4977674"/>
            <a:ext cx="763" cy="4134"/>
          </a:xfrm>
          <a:custGeom>
            <a:avLst/>
            <a:gdLst>
              <a:gd name="csX0" fmla="*/ 132 w 1229"/>
              <a:gd name="csY0" fmla="*/ 6659 h 6658"/>
              <a:gd name="csX1" fmla="*/ 1107 w 1229"/>
              <a:gd name="csY1" fmla="*/ 0 h 6658"/>
              <a:gd name="csX2" fmla="*/ 132 w 1229"/>
              <a:gd name="csY2" fmla="*/ 6659 h 665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229" h="6658">
                <a:moveTo>
                  <a:pt x="132" y="6659"/>
                </a:moveTo>
                <a:cubicBezTo>
                  <a:pt x="-219" y="4616"/>
                  <a:pt x="139" y="2560"/>
                  <a:pt x="1107" y="0"/>
                </a:cubicBezTo>
                <a:cubicBezTo>
                  <a:pt x="1425" y="1879"/>
                  <a:pt x="1133" y="4263"/>
                  <a:pt x="132" y="6659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6" name="Free-form: Shape 325">
            <a:extLst>
              <a:ext uri="{FF2B5EF4-FFF2-40B4-BE49-F238E27FC236}">
                <a16:creationId xmlns:a16="http://schemas.microsoft.com/office/drawing/2014/main" id="{9AF4C157-4FCF-691B-77BC-E4F415537003}"/>
              </a:ext>
            </a:extLst>
          </p:cNvPr>
          <p:cNvSpPr/>
          <p:nvPr/>
        </p:nvSpPr>
        <p:spPr>
          <a:xfrm>
            <a:off x="5581274" y="4997951"/>
            <a:ext cx="2352" cy="847"/>
          </a:xfrm>
          <a:custGeom>
            <a:avLst/>
            <a:gdLst>
              <a:gd name="csX0" fmla="*/ 0 w 3788"/>
              <a:gd name="csY0" fmla="*/ 1364 h 1364"/>
              <a:gd name="csX1" fmla="*/ 3788 w 3788"/>
              <a:gd name="csY1" fmla="*/ 0 h 1364"/>
              <a:gd name="csX2" fmla="*/ 0 w 3788"/>
              <a:gd name="csY2" fmla="*/ 1364 h 136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788" h="1364">
                <a:moveTo>
                  <a:pt x="0" y="1364"/>
                </a:moveTo>
                <a:cubicBezTo>
                  <a:pt x="856" y="517"/>
                  <a:pt x="2126" y="39"/>
                  <a:pt x="3788" y="0"/>
                </a:cubicBezTo>
                <a:cubicBezTo>
                  <a:pt x="2925" y="870"/>
                  <a:pt x="1670" y="1303"/>
                  <a:pt x="0" y="1364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7" name="Free-form: Shape 326">
            <a:extLst>
              <a:ext uri="{FF2B5EF4-FFF2-40B4-BE49-F238E27FC236}">
                <a16:creationId xmlns:a16="http://schemas.microsoft.com/office/drawing/2014/main" id="{57B46914-B4E9-A156-27DA-7B693DA1CA12}"/>
              </a:ext>
            </a:extLst>
          </p:cNvPr>
          <p:cNvSpPr/>
          <p:nvPr/>
        </p:nvSpPr>
        <p:spPr>
          <a:xfrm>
            <a:off x="5309691" y="5001225"/>
            <a:ext cx="2478" cy="515"/>
          </a:xfrm>
          <a:custGeom>
            <a:avLst/>
            <a:gdLst>
              <a:gd name="csX0" fmla="*/ 0 w 3990"/>
              <a:gd name="csY0" fmla="*/ 719 h 829"/>
              <a:gd name="csX1" fmla="*/ 3990 w 3990"/>
              <a:gd name="csY1" fmla="*/ 119 h 829"/>
              <a:gd name="csX2" fmla="*/ 0 w 3990"/>
              <a:gd name="csY2" fmla="*/ 719 h 82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990" h="829">
                <a:moveTo>
                  <a:pt x="0" y="719"/>
                </a:moveTo>
                <a:cubicBezTo>
                  <a:pt x="982" y="66"/>
                  <a:pt x="2323" y="-163"/>
                  <a:pt x="3990" y="119"/>
                </a:cubicBezTo>
                <a:cubicBezTo>
                  <a:pt x="2998" y="800"/>
                  <a:pt x="1678" y="972"/>
                  <a:pt x="0" y="719"/>
                </a:cubicBezTo>
                <a:close/>
              </a:path>
            </a:pathLst>
          </a:custGeom>
          <a:solidFill>
            <a:srgbClr val="959DA0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8" name="Free-form: Shape 327">
            <a:extLst>
              <a:ext uri="{FF2B5EF4-FFF2-40B4-BE49-F238E27FC236}">
                <a16:creationId xmlns:a16="http://schemas.microsoft.com/office/drawing/2014/main" id="{01C6E935-2F1E-2607-1E16-5890E46AC12D}"/>
              </a:ext>
            </a:extLst>
          </p:cNvPr>
          <p:cNvSpPr/>
          <p:nvPr/>
        </p:nvSpPr>
        <p:spPr>
          <a:xfrm>
            <a:off x="5520239" y="5004181"/>
            <a:ext cx="2417" cy="705"/>
          </a:xfrm>
          <a:custGeom>
            <a:avLst/>
            <a:gdLst>
              <a:gd name="csX0" fmla="*/ 0 w 3893"/>
              <a:gd name="csY0" fmla="*/ 1133 h 1135"/>
              <a:gd name="csX1" fmla="*/ 3893 w 3893"/>
              <a:gd name="csY1" fmla="*/ 7 h 1135"/>
              <a:gd name="csX2" fmla="*/ 0 w 3893"/>
              <a:gd name="csY2" fmla="*/ 1133 h 113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893" h="1135">
                <a:moveTo>
                  <a:pt x="0" y="1133"/>
                </a:moveTo>
                <a:cubicBezTo>
                  <a:pt x="902" y="349"/>
                  <a:pt x="2213" y="-60"/>
                  <a:pt x="3893" y="7"/>
                </a:cubicBezTo>
                <a:cubicBezTo>
                  <a:pt x="2978" y="825"/>
                  <a:pt x="1693" y="1167"/>
                  <a:pt x="0" y="1133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9" name="Free-form: Shape 328">
            <a:extLst>
              <a:ext uri="{FF2B5EF4-FFF2-40B4-BE49-F238E27FC236}">
                <a16:creationId xmlns:a16="http://schemas.microsoft.com/office/drawing/2014/main" id="{A7F99BCA-07F9-6DFE-42D5-F3CB6118538D}"/>
              </a:ext>
            </a:extLst>
          </p:cNvPr>
          <p:cNvSpPr/>
          <p:nvPr/>
        </p:nvSpPr>
        <p:spPr>
          <a:xfrm>
            <a:off x="5420643" y="4519517"/>
            <a:ext cx="112588" cy="250407"/>
          </a:xfrm>
          <a:custGeom>
            <a:avLst/>
            <a:gdLst>
              <a:gd name="csX0" fmla="*/ 7554 w 181323"/>
              <a:gd name="csY0" fmla="*/ 172079 h 403282"/>
              <a:gd name="csX1" fmla="*/ 9716 w 181323"/>
              <a:gd name="csY1" fmla="*/ 130641 h 403282"/>
              <a:gd name="csX2" fmla="*/ 7663 w 181323"/>
              <a:gd name="csY2" fmla="*/ 113770 h 403282"/>
              <a:gd name="csX3" fmla="*/ 7598 w 181323"/>
              <a:gd name="csY3" fmla="*/ 8165 h 403282"/>
              <a:gd name="csX4" fmla="*/ 8353 w 181323"/>
              <a:gd name="csY4" fmla="*/ 1259 h 403282"/>
              <a:gd name="csX5" fmla="*/ 17767 w 181323"/>
              <a:gd name="csY5" fmla="*/ 93 h 403282"/>
              <a:gd name="csX6" fmla="*/ 77938 w 181323"/>
              <a:gd name="csY6" fmla="*/ 50 h 403282"/>
              <a:gd name="csX7" fmla="*/ 91081 w 181323"/>
              <a:gd name="csY7" fmla="*/ 10962 h 403282"/>
              <a:gd name="csX8" fmla="*/ 93691 w 181323"/>
              <a:gd name="csY8" fmla="*/ 60963 h 403282"/>
              <a:gd name="csX9" fmla="*/ 100157 w 181323"/>
              <a:gd name="csY9" fmla="*/ 121501 h 403282"/>
              <a:gd name="csX10" fmla="*/ 105540 w 181323"/>
              <a:gd name="csY10" fmla="*/ 158857 h 403282"/>
              <a:gd name="csX11" fmla="*/ 121116 w 181323"/>
              <a:gd name="csY11" fmla="*/ 235269 h 403282"/>
              <a:gd name="csX12" fmla="*/ 152823 w 181323"/>
              <a:gd name="csY12" fmla="*/ 338010 h 403282"/>
              <a:gd name="csX13" fmla="*/ 170877 w 181323"/>
              <a:gd name="csY13" fmla="*/ 378027 h 403282"/>
              <a:gd name="csX14" fmla="*/ 178114 w 181323"/>
              <a:gd name="csY14" fmla="*/ 387682 h 403282"/>
              <a:gd name="csX15" fmla="*/ 181150 w 181323"/>
              <a:gd name="csY15" fmla="*/ 395764 h 403282"/>
              <a:gd name="csX16" fmla="*/ 173480 w 181323"/>
              <a:gd name="csY16" fmla="*/ 402568 h 403282"/>
              <a:gd name="csX17" fmla="*/ 160067 w 181323"/>
              <a:gd name="csY17" fmla="*/ 402936 h 403282"/>
              <a:gd name="csX18" fmla="*/ 121081 w 181323"/>
              <a:gd name="csY18" fmla="*/ 400766 h 403282"/>
              <a:gd name="csX19" fmla="*/ 70912 w 181323"/>
              <a:gd name="csY19" fmla="*/ 401955 h 403282"/>
              <a:gd name="csX20" fmla="*/ 7630 w 181323"/>
              <a:gd name="csY20" fmla="*/ 402999 h 403282"/>
              <a:gd name="csX21" fmla="*/ 710 w 181323"/>
              <a:gd name="csY21" fmla="*/ 401995 h 403282"/>
              <a:gd name="csX22" fmla="*/ 1308 w 181323"/>
              <a:gd name="csY22" fmla="*/ 356708 h 403282"/>
              <a:gd name="csX23" fmla="*/ 2554 w 181323"/>
              <a:gd name="csY23" fmla="*/ 349510 h 403282"/>
              <a:gd name="csX24" fmla="*/ 5071 w 181323"/>
              <a:gd name="csY24" fmla="*/ 271231 h 403282"/>
              <a:gd name="csX25" fmla="*/ 7554 w 181323"/>
              <a:gd name="csY25" fmla="*/ 172079 h 403282"/>
              <a:gd name="csX26" fmla="*/ 98286 w 181323"/>
              <a:gd name="csY26" fmla="*/ 163566 h 403282"/>
              <a:gd name="csX27" fmla="*/ 83497 w 181323"/>
              <a:gd name="csY27" fmla="*/ 8289 h 403282"/>
              <a:gd name="csX28" fmla="*/ 15161 w 181323"/>
              <a:gd name="csY28" fmla="*/ 9148 h 403282"/>
              <a:gd name="csX29" fmla="*/ 15058 w 181323"/>
              <a:gd name="csY29" fmla="*/ 137939 h 403282"/>
              <a:gd name="csX30" fmla="*/ 12252 w 181323"/>
              <a:gd name="csY30" fmla="*/ 266862 h 403282"/>
              <a:gd name="csX31" fmla="*/ 7068 w 181323"/>
              <a:gd name="csY31" fmla="*/ 395996 h 403282"/>
              <a:gd name="csX32" fmla="*/ 171647 w 181323"/>
              <a:gd name="csY32" fmla="*/ 395996 h 403282"/>
              <a:gd name="csX33" fmla="*/ 119950 w 181323"/>
              <a:gd name="csY33" fmla="*/ 259496 h 403282"/>
              <a:gd name="csX34" fmla="*/ 98286 w 181323"/>
              <a:gd name="csY34" fmla="*/ 163566 h 40328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</a:cxnLst>
            <a:rect l="l" t="t" r="r" b="b"/>
            <a:pathLst>
              <a:path w="181323" h="403282">
                <a:moveTo>
                  <a:pt x="7554" y="172079"/>
                </a:moveTo>
                <a:cubicBezTo>
                  <a:pt x="8325" y="157451"/>
                  <a:pt x="9408" y="144055"/>
                  <a:pt x="9716" y="130641"/>
                </a:cubicBezTo>
                <a:cubicBezTo>
                  <a:pt x="9846" y="125037"/>
                  <a:pt x="7695" y="119399"/>
                  <a:pt x="7663" y="113770"/>
                </a:cubicBezTo>
                <a:cubicBezTo>
                  <a:pt x="7461" y="78569"/>
                  <a:pt x="7554" y="43367"/>
                  <a:pt x="7598" y="8165"/>
                </a:cubicBezTo>
                <a:cubicBezTo>
                  <a:pt x="7600" y="6167"/>
                  <a:pt x="8022" y="4170"/>
                  <a:pt x="8353" y="1259"/>
                </a:cubicBezTo>
                <a:cubicBezTo>
                  <a:pt x="11568" y="842"/>
                  <a:pt x="14666" y="109"/>
                  <a:pt x="17767" y="93"/>
                </a:cubicBezTo>
                <a:cubicBezTo>
                  <a:pt x="37824" y="-17"/>
                  <a:pt x="57881" y="-27"/>
                  <a:pt x="77938" y="50"/>
                </a:cubicBezTo>
                <a:cubicBezTo>
                  <a:pt x="89177" y="93"/>
                  <a:pt x="90068" y="113"/>
                  <a:pt x="91081" y="10962"/>
                </a:cubicBezTo>
                <a:cubicBezTo>
                  <a:pt x="92631" y="27565"/>
                  <a:pt x="92329" y="44335"/>
                  <a:pt x="93691" y="60963"/>
                </a:cubicBezTo>
                <a:cubicBezTo>
                  <a:pt x="95348" y="81184"/>
                  <a:pt x="97732" y="101353"/>
                  <a:pt x="100157" y="121501"/>
                </a:cubicBezTo>
                <a:cubicBezTo>
                  <a:pt x="101660" y="133990"/>
                  <a:pt x="104521" y="146343"/>
                  <a:pt x="105540" y="158857"/>
                </a:cubicBezTo>
                <a:cubicBezTo>
                  <a:pt x="107671" y="184993"/>
                  <a:pt x="114147" y="210249"/>
                  <a:pt x="121116" y="235269"/>
                </a:cubicBezTo>
                <a:cubicBezTo>
                  <a:pt x="130731" y="269786"/>
                  <a:pt x="141516" y="304004"/>
                  <a:pt x="152823" y="338010"/>
                </a:cubicBezTo>
                <a:cubicBezTo>
                  <a:pt x="157418" y="351828"/>
                  <a:pt x="164524" y="364837"/>
                  <a:pt x="170877" y="378027"/>
                </a:cubicBezTo>
                <a:cubicBezTo>
                  <a:pt x="172587" y="381579"/>
                  <a:pt x="175985" y="384280"/>
                  <a:pt x="178114" y="387682"/>
                </a:cubicBezTo>
                <a:cubicBezTo>
                  <a:pt x="179669" y="390165"/>
                  <a:pt x="181977" y="393824"/>
                  <a:pt x="181150" y="395764"/>
                </a:cubicBezTo>
                <a:cubicBezTo>
                  <a:pt x="179907" y="398676"/>
                  <a:pt x="176540" y="401705"/>
                  <a:pt x="173480" y="402568"/>
                </a:cubicBezTo>
                <a:cubicBezTo>
                  <a:pt x="169302" y="403746"/>
                  <a:pt x="164551" y="403164"/>
                  <a:pt x="160067" y="402936"/>
                </a:cubicBezTo>
                <a:cubicBezTo>
                  <a:pt x="147066" y="402274"/>
                  <a:pt x="134081" y="400859"/>
                  <a:pt x="121081" y="400766"/>
                </a:cubicBezTo>
                <a:cubicBezTo>
                  <a:pt x="104362" y="400647"/>
                  <a:pt x="87638" y="401607"/>
                  <a:pt x="70912" y="401955"/>
                </a:cubicBezTo>
                <a:cubicBezTo>
                  <a:pt x="49820" y="402394"/>
                  <a:pt x="28725" y="402712"/>
                  <a:pt x="7630" y="402999"/>
                </a:cubicBezTo>
                <a:cubicBezTo>
                  <a:pt x="5684" y="403026"/>
                  <a:pt x="3731" y="402452"/>
                  <a:pt x="710" y="401995"/>
                </a:cubicBezTo>
                <a:cubicBezTo>
                  <a:pt x="219" y="386620"/>
                  <a:pt x="-871" y="371682"/>
                  <a:pt x="1308" y="356708"/>
                </a:cubicBezTo>
                <a:cubicBezTo>
                  <a:pt x="1659" y="354298"/>
                  <a:pt x="2471" y="351920"/>
                  <a:pt x="2554" y="349510"/>
                </a:cubicBezTo>
                <a:cubicBezTo>
                  <a:pt x="3459" y="323419"/>
                  <a:pt x="4345" y="297328"/>
                  <a:pt x="5071" y="271231"/>
                </a:cubicBezTo>
                <a:cubicBezTo>
                  <a:pt x="5979" y="238591"/>
                  <a:pt x="6733" y="205947"/>
                  <a:pt x="7554" y="172079"/>
                </a:cubicBezTo>
                <a:moveTo>
                  <a:pt x="98286" y="163566"/>
                </a:moveTo>
                <a:cubicBezTo>
                  <a:pt x="89288" y="112116"/>
                  <a:pt x="86355" y="60033"/>
                  <a:pt x="83497" y="8289"/>
                </a:cubicBezTo>
                <a:cubicBezTo>
                  <a:pt x="65606" y="5845"/>
                  <a:pt x="24110" y="6470"/>
                  <a:pt x="15161" y="9148"/>
                </a:cubicBezTo>
                <a:cubicBezTo>
                  <a:pt x="15161" y="52045"/>
                  <a:pt x="15527" y="94996"/>
                  <a:pt x="15058" y="137939"/>
                </a:cubicBezTo>
                <a:cubicBezTo>
                  <a:pt x="14587" y="180919"/>
                  <a:pt x="13597" y="223900"/>
                  <a:pt x="12252" y="266862"/>
                </a:cubicBezTo>
                <a:cubicBezTo>
                  <a:pt x="10912" y="309638"/>
                  <a:pt x="8849" y="352391"/>
                  <a:pt x="7068" y="395996"/>
                </a:cubicBezTo>
                <a:cubicBezTo>
                  <a:pt x="62774" y="395996"/>
                  <a:pt x="116821" y="395996"/>
                  <a:pt x="171647" y="395996"/>
                </a:cubicBezTo>
                <a:cubicBezTo>
                  <a:pt x="148550" y="352016"/>
                  <a:pt x="132566" y="306307"/>
                  <a:pt x="119950" y="259496"/>
                </a:cubicBezTo>
                <a:cubicBezTo>
                  <a:pt x="111608" y="228543"/>
                  <a:pt x="105493" y="196989"/>
                  <a:pt x="98286" y="163566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0" name="Free-form: Shape 329">
            <a:extLst>
              <a:ext uri="{FF2B5EF4-FFF2-40B4-BE49-F238E27FC236}">
                <a16:creationId xmlns:a16="http://schemas.microsoft.com/office/drawing/2014/main" id="{90D63E88-5455-34FA-7507-7A203CA4E8CA}"/>
              </a:ext>
            </a:extLst>
          </p:cNvPr>
          <p:cNvSpPr/>
          <p:nvPr/>
        </p:nvSpPr>
        <p:spPr>
          <a:xfrm>
            <a:off x="5422274" y="4935998"/>
            <a:ext cx="209255" cy="47389"/>
          </a:xfrm>
          <a:custGeom>
            <a:avLst/>
            <a:gdLst>
              <a:gd name="csX0" fmla="*/ 297312 w 337008"/>
              <a:gd name="csY0" fmla="*/ 59188 h 76321"/>
              <a:gd name="csX1" fmla="*/ 241991 w 337008"/>
              <a:gd name="csY1" fmla="*/ 66577 h 76321"/>
              <a:gd name="csX2" fmla="*/ 185243 w 337008"/>
              <a:gd name="csY2" fmla="*/ 73717 h 76321"/>
              <a:gd name="csX3" fmla="*/ 182797 w 337008"/>
              <a:gd name="csY3" fmla="*/ 73873 h 76321"/>
              <a:gd name="csX4" fmla="*/ 19866 w 337008"/>
              <a:gd name="csY4" fmla="*/ 76320 h 76321"/>
              <a:gd name="csX5" fmla="*/ 12650 w 337008"/>
              <a:gd name="csY5" fmla="*/ 75242 h 76321"/>
              <a:gd name="csX6" fmla="*/ 19 w 337008"/>
              <a:gd name="csY6" fmla="*/ 59006 h 76321"/>
              <a:gd name="csX7" fmla="*/ 11 w 337008"/>
              <a:gd name="csY7" fmla="*/ 18266 h 76321"/>
              <a:gd name="csX8" fmla="*/ 13547 w 337008"/>
              <a:gd name="csY8" fmla="*/ 17427 h 76321"/>
              <a:gd name="csX9" fmla="*/ 109279 w 337008"/>
              <a:gd name="csY9" fmla="*/ 17200 h 76321"/>
              <a:gd name="csX10" fmla="*/ 173714 w 337008"/>
              <a:gd name="csY10" fmla="*/ 12645 h 76321"/>
              <a:gd name="csX11" fmla="*/ 205309 w 337008"/>
              <a:gd name="csY11" fmla="*/ 10096 h 76321"/>
              <a:gd name="csX12" fmla="*/ 245485 w 337008"/>
              <a:gd name="csY12" fmla="*/ 7449 h 76321"/>
              <a:gd name="csX13" fmla="*/ 288955 w 337008"/>
              <a:gd name="csY13" fmla="*/ 1844 h 76321"/>
              <a:gd name="csX14" fmla="*/ 307132 w 337008"/>
              <a:gd name="csY14" fmla="*/ 164 h 76321"/>
              <a:gd name="csX15" fmla="*/ 324030 w 337008"/>
              <a:gd name="csY15" fmla="*/ 9691 h 76321"/>
              <a:gd name="csX16" fmla="*/ 336033 w 337008"/>
              <a:gd name="csY16" fmla="*/ 39107 h 76321"/>
              <a:gd name="csX17" fmla="*/ 328060 w 337008"/>
              <a:gd name="csY17" fmla="*/ 52413 h 76321"/>
              <a:gd name="csX18" fmla="*/ 297312 w 337008"/>
              <a:gd name="csY18" fmla="*/ 59188 h 76321"/>
              <a:gd name="csX19" fmla="*/ 207688 w 337008"/>
              <a:gd name="csY19" fmla="*/ 64284 h 76321"/>
              <a:gd name="csX20" fmla="*/ 330050 w 337008"/>
              <a:gd name="csY20" fmla="*/ 45606 h 76321"/>
              <a:gd name="csX21" fmla="*/ 317356 w 337008"/>
              <a:gd name="csY21" fmla="*/ 11297 h 76321"/>
              <a:gd name="csX22" fmla="*/ 304170 w 337008"/>
              <a:gd name="csY22" fmla="*/ 5545 h 76321"/>
              <a:gd name="csX23" fmla="*/ 273851 w 337008"/>
              <a:gd name="csY23" fmla="*/ 10014 h 76321"/>
              <a:gd name="csX24" fmla="*/ 163935 w 337008"/>
              <a:gd name="csY24" fmla="*/ 20274 h 76321"/>
              <a:gd name="csX25" fmla="*/ 17973 w 337008"/>
              <a:gd name="csY25" fmla="*/ 22950 h 76321"/>
              <a:gd name="csX26" fmla="*/ 7372 w 337008"/>
              <a:gd name="csY26" fmla="*/ 23601 h 76321"/>
              <a:gd name="csX27" fmla="*/ 7372 w 337008"/>
              <a:gd name="csY27" fmla="*/ 67898 h 76321"/>
              <a:gd name="csX28" fmla="*/ 207688 w 337008"/>
              <a:gd name="csY28" fmla="*/ 64284 h 7632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</a:cxnLst>
            <a:rect l="l" t="t" r="r" b="b"/>
            <a:pathLst>
              <a:path w="337008" h="76321">
                <a:moveTo>
                  <a:pt x="297312" y="59188"/>
                </a:moveTo>
                <a:cubicBezTo>
                  <a:pt x="278167" y="61672"/>
                  <a:pt x="260091" y="64212"/>
                  <a:pt x="241991" y="66577"/>
                </a:cubicBezTo>
                <a:cubicBezTo>
                  <a:pt x="223087" y="69047"/>
                  <a:pt x="204161" y="71350"/>
                  <a:pt x="185243" y="73717"/>
                </a:cubicBezTo>
                <a:cubicBezTo>
                  <a:pt x="184433" y="73818"/>
                  <a:pt x="183613" y="73861"/>
                  <a:pt x="182797" y="73873"/>
                </a:cubicBezTo>
                <a:cubicBezTo>
                  <a:pt x="128487" y="74710"/>
                  <a:pt x="74176" y="75556"/>
                  <a:pt x="19866" y="76320"/>
                </a:cubicBezTo>
                <a:cubicBezTo>
                  <a:pt x="17463" y="76354"/>
                  <a:pt x="15013" y="75797"/>
                  <a:pt x="12650" y="75242"/>
                </a:cubicBezTo>
                <a:cubicBezTo>
                  <a:pt x="80" y="72288"/>
                  <a:pt x="58" y="72258"/>
                  <a:pt x="19" y="59006"/>
                </a:cubicBezTo>
                <a:cubicBezTo>
                  <a:pt x="-19" y="45942"/>
                  <a:pt x="11" y="32877"/>
                  <a:pt x="11" y="18266"/>
                </a:cubicBezTo>
                <a:cubicBezTo>
                  <a:pt x="4987" y="17944"/>
                  <a:pt x="9266" y="17435"/>
                  <a:pt x="13547" y="17427"/>
                </a:cubicBezTo>
                <a:cubicBezTo>
                  <a:pt x="45459" y="17362"/>
                  <a:pt x="77385" y="17975"/>
                  <a:pt x="109279" y="17200"/>
                </a:cubicBezTo>
                <a:cubicBezTo>
                  <a:pt x="130782" y="16677"/>
                  <a:pt x="152239" y="14265"/>
                  <a:pt x="173714" y="12645"/>
                </a:cubicBezTo>
                <a:cubicBezTo>
                  <a:pt x="184250" y="11850"/>
                  <a:pt x="194770" y="10836"/>
                  <a:pt x="205309" y="10096"/>
                </a:cubicBezTo>
                <a:cubicBezTo>
                  <a:pt x="218698" y="9156"/>
                  <a:pt x="232139" y="8783"/>
                  <a:pt x="245485" y="7449"/>
                </a:cubicBezTo>
                <a:cubicBezTo>
                  <a:pt x="260017" y="5997"/>
                  <a:pt x="274456" y="3648"/>
                  <a:pt x="288955" y="1844"/>
                </a:cubicBezTo>
                <a:cubicBezTo>
                  <a:pt x="294991" y="1094"/>
                  <a:pt x="301100" y="930"/>
                  <a:pt x="307132" y="164"/>
                </a:cubicBezTo>
                <a:cubicBezTo>
                  <a:pt x="315239" y="-865"/>
                  <a:pt x="320841" y="3022"/>
                  <a:pt x="324030" y="9691"/>
                </a:cubicBezTo>
                <a:cubicBezTo>
                  <a:pt x="328594" y="19236"/>
                  <a:pt x="332712" y="29070"/>
                  <a:pt x="336033" y="39107"/>
                </a:cubicBezTo>
                <a:cubicBezTo>
                  <a:pt x="338557" y="46735"/>
                  <a:pt x="336278" y="50185"/>
                  <a:pt x="328060" y="52413"/>
                </a:cubicBezTo>
                <a:cubicBezTo>
                  <a:pt x="318273" y="55068"/>
                  <a:pt x="308277" y="56950"/>
                  <a:pt x="297312" y="59188"/>
                </a:cubicBezTo>
                <a:moveTo>
                  <a:pt x="207688" y="64284"/>
                </a:moveTo>
                <a:cubicBezTo>
                  <a:pt x="248681" y="60632"/>
                  <a:pt x="289317" y="54812"/>
                  <a:pt x="330050" y="45606"/>
                </a:cubicBezTo>
                <a:cubicBezTo>
                  <a:pt x="327603" y="32443"/>
                  <a:pt x="323777" y="21532"/>
                  <a:pt x="317356" y="11297"/>
                </a:cubicBezTo>
                <a:cubicBezTo>
                  <a:pt x="313908" y="5803"/>
                  <a:pt x="310145" y="4465"/>
                  <a:pt x="304170" y="5545"/>
                </a:cubicBezTo>
                <a:cubicBezTo>
                  <a:pt x="294121" y="7361"/>
                  <a:pt x="284007" y="9006"/>
                  <a:pt x="273851" y="10014"/>
                </a:cubicBezTo>
                <a:cubicBezTo>
                  <a:pt x="237233" y="13650"/>
                  <a:pt x="200632" y="17661"/>
                  <a:pt x="163935" y="20274"/>
                </a:cubicBezTo>
                <a:cubicBezTo>
                  <a:pt x="115360" y="23734"/>
                  <a:pt x="66701" y="25937"/>
                  <a:pt x="17973" y="22950"/>
                </a:cubicBezTo>
                <a:cubicBezTo>
                  <a:pt x="14492" y="22737"/>
                  <a:pt x="10959" y="23361"/>
                  <a:pt x="7372" y="23601"/>
                </a:cubicBezTo>
                <a:cubicBezTo>
                  <a:pt x="7372" y="38609"/>
                  <a:pt x="7372" y="52361"/>
                  <a:pt x="7372" y="67898"/>
                </a:cubicBezTo>
                <a:cubicBezTo>
                  <a:pt x="74001" y="69806"/>
                  <a:pt x="139746" y="71025"/>
                  <a:pt x="207688" y="64284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1" name="Free-form: Shape 330">
            <a:extLst>
              <a:ext uri="{FF2B5EF4-FFF2-40B4-BE49-F238E27FC236}">
                <a16:creationId xmlns:a16="http://schemas.microsoft.com/office/drawing/2014/main" id="{33B0AA0E-BB2F-58B6-0971-7D3F2B5C3A96}"/>
              </a:ext>
            </a:extLst>
          </p:cNvPr>
          <p:cNvSpPr/>
          <p:nvPr/>
        </p:nvSpPr>
        <p:spPr>
          <a:xfrm>
            <a:off x="5426007" y="4789544"/>
            <a:ext cx="188426" cy="132688"/>
          </a:xfrm>
          <a:custGeom>
            <a:avLst/>
            <a:gdLst>
              <a:gd name="csX0" fmla="*/ 14160 w 303463"/>
              <a:gd name="csY0" fmla="*/ 7889 h 213695"/>
              <a:gd name="csX1" fmla="*/ 195033 w 303463"/>
              <a:gd name="csY1" fmla="*/ 0 h 213695"/>
              <a:gd name="csX2" fmla="*/ 197208 w 303463"/>
              <a:gd name="csY2" fmla="*/ 5635 h 213695"/>
              <a:gd name="csX3" fmla="*/ 227014 w 303463"/>
              <a:gd name="csY3" fmla="*/ 60660 h 213695"/>
              <a:gd name="csX4" fmla="*/ 265823 w 303463"/>
              <a:gd name="csY4" fmla="*/ 98217 h 213695"/>
              <a:gd name="csX5" fmla="*/ 303210 w 303463"/>
              <a:gd name="csY5" fmla="*/ 180358 h 213695"/>
              <a:gd name="csX6" fmla="*/ 303282 w 303463"/>
              <a:gd name="csY6" fmla="*/ 193964 h 213695"/>
              <a:gd name="csX7" fmla="*/ 4971 w 303463"/>
              <a:gd name="csY7" fmla="*/ 213017 h 213695"/>
              <a:gd name="csX8" fmla="*/ 5093 w 303463"/>
              <a:gd name="csY8" fmla="*/ 173484 h 213695"/>
              <a:gd name="csX9" fmla="*/ 4767 w 303463"/>
              <a:gd name="csY9" fmla="*/ 54607 h 213695"/>
              <a:gd name="csX10" fmla="*/ 0 w 303463"/>
              <a:gd name="csY10" fmla="*/ 7887 h 213695"/>
              <a:gd name="csX11" fmla="*/ 14160 w 303463"/>
              <a:gd name="csY11" fmla="*/ 7889 h 21369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303463" h="213695">
                <a:moveTo>
                  <a:pt x="14160" y="7889"/>
                </a:moveTo>
                <a:cubicBezTo>
                  <a:pt x="75371" y="8627"/>
                  <a:pt x="135292" y="5744"/>
                  <a:pt x="195033" y="0"/>
                </a:cubicBezTo>
                <a:cubicBezTo>
                  <a:pt x="196084" y="2662"/>
                  <a:pt x="196986" y="4099"/>
                  <a:pt x="197208" y="5635"/>
                </a:cubicBezTo>
                <a:cubicBezTo>
                  <a:pt x="200391" y="27650"/>
                  <a:pt x="211307" y="45450"/>
                  <a:pt x="227014" y="60660"/>
                </a:cubicBezTo>
                <a:cubicBezTo>
                  <a:pt x="239947" y="73182"/>
                  <a:pt x="253006" y="85577"/>
                  <a:pt x="265823" y="98217"/>
                </a:cubicBezTo>
                <a:cubicBezTo>
                  <a:pt x="288727" y="120806"/>
                  <a:pt x="299071" y="149215"/>
                  <a:pt x="303210" y="180358"/>
                </a:cubicBezTo>
                <a:cubicBezTo>
                  <a:pt x="303735" y="184317"/>
                  <a:pt x="303282" y="188405"/>
                  <a:pt x="303282" y="193964"/>
                </a:cubicBezTo>
                <a:cubicBezTo>
                  <a:pt x="204065" y="208804"/>
                  <a:pt x="105022" y="216044"/>
                  <a:pt x="4971" y="213017"/>
                </a:cubicBezTo>
                <a:cubicBezTo>
                  <a:pt x="4971" y="199268"/>
                  <a:pt x="4314" y="186332"/>
                  <a:pt x="5093" y="173484"/>
                </a:cubicBezTo>
                <a:cubicBezTo>
                  <a:pt x="7497" y="133835"/>
                  <a:pt x="8211" y="94216"/>
                  <a:pt x="4767" y="54607"/>
                </a:cubicBezTo>
                <a:cubicBezTo>
                  <a:pt x="3464" y="39611"/>
                  <a:pt x="1725" y="24653"/>
                  <a:pt x="0" y="7887"/>
                </a:cubicBezTo>
                <a:cubicBezTo>
                  <a:pt x="4390" y="7887"/>
                  <a:pt x="8696" y="7887"/>
                  <a:pt x="14160" y="7889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2" name="Free-form: Shape 331">
            <a:extLst>
              <a:ext uri="{FF2B5EF4-FFF2-40B4-BE49-F238E27FC236}">
                <a16:creationId xmlns:a16="http://schemas.microsoft.com/office/drawing/2014/main" id="{68287C02-BFF5-CB61-86C4-EBED0BF82C71}"/>
              </a:ext>
            </a:extLst>
          </p:cNvPr>
          <p:cNvSpPr/>
          <p:nvPr/>
        </p:nvSpPr>
        <p:spPr>
          <a:xfrm>
            <a:off x="5392245" y="4259788"/>
            <a:ext cx="129814" cy="126299"/>
          </a:xfrm>
          <a:custGeom>
            <a:avLst/>
            <a:gdLst>
              <a:gd name="csX0" fmla="*/ 10475 w 209067"/>
              <a:gd name="csY0" fmla="*/ 41718 h 203406"/>
              <a:gd name="csX1" fmla="*/ 100250 w 209067"/>
              <a:gd name="csY1" fmla="*/ 1265 h 203406"/>
              <a:gd name="csX2" fmla="*/ 206681 w 209067"/>
              <a:gd name="csY2" fmla="*/ 98526 h 203406"/>
              <a:gd name="csX3" fmla="*/ 134647 w 209067"/>
              <a:gd name="csY3" fmla="*/ 202431 h 203406"/>
              <a:gd name="csX4" fmla="*/ 40986 w 209067"/>
              <a:gd name="csY4" fmla="*/ 171438 h 203406"/>
              <a:gd name="csX5" fmla="*/ 143 w 209067"/>
              <a:gd name="csY5" fmla="*/ 85158 h 203406"/>
              <a:gd name="csX6" fmla="*/ 10475 w 209067"/>
              <a:gd name="csY6" fmla="*/ 41718 h 20340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</a:cxnLst>
            <a:rect l="l" t="t" r="r" b="b"/>
            <a:pathLst>
              <a:path w="209067" h="203406">
                <a:moveTo>
                  <a:pt x="10475" y="41718"/>
                </a:moveTo>
                <a:cubicBezTo>
                  <a:pt x="31065" y="6021"/>
                  <a:pt x="63171" y="-3865"/>
                  <a:pt x="100250" y="1265"/>
                </a:cubicBezTo>
                <a:cubicBezTo>
                  <a:pt x="157191" y="9144"/>
                  <a:pt x="196951" y="51394"/>
                  <a:pt x="206681" y="98526"/>
                </a:cubicBezTo>
                <a:cubicBezTo>
                  <a:pt x="219504" y="160635"/>
                  <a:pt x="178523" y="196657"/>
                  <a:pt x="134647" y="202431"/>
                </a:cubicBezTo>
                <a:cubicBezTo>
                  <a:pt x="98365" y="207204"/>
                  <a:pt x="68101" y="194086"/>
                  <a:pt x="40986" y="171438"/>
                </a:cubicBezTo>
                <a:cubicBezTo>
                  <a:pt x="14115" y="148994"/>
                  <a:pt x="2457" y="119007"/>
                  <a:pt x="143" y="85158"/>
                </a:cubicBezTo>
                <a:cubicBezTo>
                  <a:pt x="-869" y="70364"/>
                  <a:pt x="3586" y="56015"/>
                  <a:pt x="10475" y="41718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3" name="Free-form: Shape 332">
            <a:extLst>
              <a:ext uri="{FF2B5EF4-FFF2-40B4-BE49-F238E27FC236}">
                <a16:creationId xmlns:a16="http://schemas.microsoft.com/office/drawing/2014/main" id="{45FEE83A-D628-5AB4-038A-49C9A73107ED}"/>
              </a:ext>
            </a:extLst>
          </p:cNvPr>
          <p:cNvSpPr/>
          <p:nvPr/>
        </p:nvSpPr>
        <p:spPr>
          <a:xfrm>
            <a:off x="5428504" y="4472826"/>
            <a:ext cx="97564" cy="25665"/>
          </a:xfrm>
          <a:custGeom>
            <a:avLst/>
            <a:gdLst>
              <a:gd name="csX0" fmla="*/ 69625 w 157129"/>
              <a:gd name="csY0" fmla="*/ 0 h 41334"/>
              <a:gd name="csX1" fmla="*/ 119596 w 157129"/>
              <a:gd name="csY1" fmla="*/ 1945 h 41334"/>
              <a:gd name="csX2" fmla="*/ 150973 w 157129"/>
              <a:gd name="csY2" fmla="*/ 14889 h 41334"/>
              <a:gd name="csX3" fmla="*/ 151351 w 157129"/>
              <a:gd name="csY3" fmla="*/ 34058 h 41334"/>
              <a:gd name="csX4" fmla="*/ 133492 w 157129"/>
              <a:gd name="csY4" fmla="*/ 40697 h 41334"/>
              <a:gd name="csX5" fmla="*/ 106556 w 157129"/>
              <a:gd name="csY5" fmla="*/ 41092 h 41334"/>
              <a:gd name="csX6" fmla="*/ 13373 w 157129"/>
              <a:gd name="csY6" fmla="*/ 40708 h 41334"/>
              <a:gd name="csX7" fmla="*/ 1312 w 157129"/>
              <a:gd name="csY7" fmla="*/ 40191 h 41334"/>
              <a:gd name="csX8" fmla="*/ 3367 w 157129"/>
              <a:gd name="csY8" fmla="*/ 13162 h 41334"/>
              <a:gd name="csX9" fmla="*/ 20752 w 157129"/>
              <a:gd name="csY9" fmla="*/ 1879 h 41334"/>
              <a:gd name="csX10" fmla="*/ 52625 w 157129"/>
              <a:gd name="csY10" fmla="*/ 1332 h 41334"/>
              <a:gd name="csX11" fmla="*/ 69625 w 157129"/>
              <a:gd name="csY11" fmla="*/ 0 h 4133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157129" h="41334">
                <a:moveTo>
                  <a:pt x="69625" y="0"/>
                </a:moveTo>
                <a:cubicBezTo>
                  <a:pt x="87054" y="491"/>
                  <a:pt x="103407" y="373"/>
                  <a:pt x="119596" y="1945"/>
                </a:cubicBezTo>
                <a:cubicBezTo>
                  <a:pt x="131020" y="3055"/>
                  <a:pt x="141713" y="7767"/>
                  <a:pt x="150973" y="14889"/>
                </a:cubicBezTo>
                <a:cubicBezTo>
                  <a:pt x="158820" y="20925"/>
                  <a:pt x="159403" y="28236"/>
                  <a:pt x="151351" y="34058"/>
                </a:cubicBezTo>
                <a:cubicBezTo>
                  <a:pt x="146355" y="37671"/>
                  <a:pt x="139678" y="39910"/>
                  <a:pt x="133492" y="40697"/>
                </a:cubicBezTo>
                <a:cubicBezTo>
                  <a:pt x="124640" y="41824"/>
                  <a:pt x="115547" y="41120"/>
                  <a:pt x="106556" y="41092"/>
                </a:cubicBezTo>
                <a:cubicBezTo>
                  <a:pt x="75495" y="40996"/>
                  <a:pt x="44434" y="40872"/>
                  <a:pt x="13373" y="40708"/>
                </a:cubicBezTo>
                <a:cubicBezTo>
                  <a:pt x="9391" y="40687"/>
                  <a:pt x="5410" y="40374"/>
                  <a:pt x="1312" y="40191"/>
                </a:cubicBezTo>
                <a:cubicBezTo>
                  <a:pt x="-1416" y="30384"/>
                  <a:pt x="523" y="21512"/>
                  <a:pt x="3367" y="13162"/>
                </a:cubicBezTo>
                <a:cubicBezTo>
                  <a:pt x="5963" y="5538"/>
                  <a:pt x="12701" y="2077"/>
                  <a:pt x="20752" y="1879"/>
                </a:cubicBezTo>
                <a:cubicBezTo>
                  <a:pt x="31375" y="1617"/>
                  <a:pt x="42004" y="1647"/>
                  <a:pt x="52625" y="1332"/>
                </a:cubicBezTo>
                <a:cubicBezTo>
                  <a:pt x="57918" y="1176"/>
                  <a:pt x="63195" y="535"/>
                  <a:pt x="69625" y="0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4" name="Free-form: Shape 333">
            <a:extLst>
              <a:ext uri="{FF2B5EF4-FFF2-40B4-BE49-F238E27FC236}">
                <a16:creationId xmlns:a16="http://schemas.microsoft.com/office/drawing/2014/main" id="{F8DDB098-D709-C2CE-8D77-980A72F720D8}"/>
              </a:ext>
            </a:extLst>
          </p:cNvPr>
          <p:cNvSpPr/>
          <p:nvPr/>
        </p:nvSpPr>
        <p:spPr>
          <a:xfrm>
            <a:off x="5425031" y="4523713"/>
            <a:ext cx="102191" cy="241686"/>
          </a:xfrm>
          <a:custGeom>
            <a:avLst/>
            <a:gdLst>
              <a:gd name="csX0" fmla="*/ 91265 w 164579"/>
              <a:gd name="csY0" fmla="*/ 157878 h 389238"/>
              <a:gd name="csX1" fmla="*/ 112882 w 164579"/>
              <a:gd name="csY1" fmla="*/ 252738 h 389238"/>
              <a:gd name="csX2" fmla="*/ 164579 w 164579"/>
              <a:gd name="csY2" fmla="*/ 389238 h 389238"/>
              <a:gd name="csX3" fmla="*/ 0 w 164579"/>
              <a:gd name="csY3" fmla="*/ 389238 h 389238"/>
              <a:gd name="csX4" fmla="*/ 5184 w 164579"/>
              <a:gd name="csY4" fmla="*/ 260105 h 389238"/>
              <a:gd name="csX5" fmla="*/ 7989 w 164579"/>
              <a:gd name="csY5" fmla="*/ 131182 h 389238"/>
              <a:gd name="csX6" fmla="*/ 8093 w 164579"/>
              <a:gd name="csY6" fmla="*/ 2390 h 389238"/>
              <a:gd name="csX7" fmla="*/ 76429 w 164579"/>
              <a:gd name="csY7" fmla="*/ 1531 h 389238"/>
              <a:gd name="csX8" fmla="*/ 91265 w 164579"/>
              <a:gd name="csY8" fmla="*/ 157878 h 38923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</a:cxnLst>
            <a:rect l="l" t="t" r="r" b="b"/>
            <a:pathLst>
              <a:path w="164579" h="389238">
                <a:moveTo>
                  <a:pt x="91265" y="157878"/>
                </a:moveTo>
                <a:cubicBezTo>
                  <a:pt x="98425" y="190232"/>
                  <a:pt x="104539" y="221785"/>
                  <a:pt x="112882" y="252738"/>
                </a:cubicBezTo>
                <a:cubicBezTo>
                  <a:pt x="125498" y="299549"/>
                  <a:pt x="141482" y="345258"/>
                  <a:pt x="164579" y="389238"/>
                </a:cubicBezTo>
                <a:cubicBezTo>
                  <a:pt x="109753" y="389238"/>
                  <a:pt x="55706" y="389238"/>
                  <a:pt x="0" y="389238"/>
                </a:cubicBezTo>
                <a:cubicBezTo>
                  <a:pt x="1781" y="345633"/>
                  <a:pt x="3844" y="302880"/>
                  <a:pt x="5184" y="260105"/>
                </a:cubicBezTo>
                <a:cubicBezTo>
                  <a:pt x="6529" y="217143"/>
                  <a:pt x="7519" y="174162"/>
                  <a:pt x="7989" y="131182"/>
                </a:cubicBezTo>
                <a:cubicBezTo>
                  <a:pt x="8459" y="88239"/>
                  <a:pt x="8093" y="45287"/>
                  <a:pt x="8093" y="2390"/>
                </a:cubicBezTo>
                <a:cubicBezTo>
                  <a:pt x="17041" y="-288"/>
                  <a:pt x="58537" y="-913"/>
                  <a:pt x="76429" y="1531"/>
                </a:cubicBezTo>
                <a:cubicBezTo>
                  <a:pt x="79287" y="53276"/>
                  <a:pt x="82219" y="105359"/>
                  <a:pt x="91265" y="157878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5" name="Free-form: Shape 334">
            <a:extLst>
              <a:ext uri="{FF2B5EF4-FFF2-40B4-BE49-F238E27FC236}">
                <a16:creationId xmlns:a16="http://schemas.microsoft.com/office/drawing/2014/main" id="{7759F7B2-446A-7F6D-2818-6CC3ADAA1F3D}"/>
              </a:ext>
            </a:extLst>
          </p:cNvPr>
          <p:cNvSpPr/>
          <p:nvPr/>
        </p:nvSpPr>
        <p:spPr>
          <a:xfrm>
            <a:off x="5426850" y="4939226"/>
            <a:ext cx="200357" cy="39865"/>
          </a:xfrm>
          <a:custGeom>
            <a:avLst/>
            <a:gdLst>
              <a:gd name="csX0" fmla="*/ 199184 w 322677"/>
              <a:gd name="csY0" fmla="*/ 59136 h 64202"/>
              <a:gd name="csX1" fmla="*/ 0 w 322677"/>
              <a:gd name="csY1" fmla="*/ 62697 h 64202"/>
              <a:gd name="csX2" fmla="*/ 0 w 322677"/>
              <a:gd name="csY2" fmla="*/ 18400 h 64202"/>
              <a:gd name="csX3" fmla="*/ 10601 w 322677"/>
              <a:gd name="csY3" fmla="*/ 17750 h 64202"/>
              <a:gd name="csX4" fmla="*/ 156563 w 322677"/>
              <a:gd name="csY4" fmla="*/ 15074 h 64202"/>
              <a:gd name="csX5" fmla="*/ 266479 w 322677"/>
              <a:gd name="csY5" fmla="*/ 4814 h 64202"/>
              <a:gd name="csX6" fmla="*/ 296798 w 322677"/>
              <a:gd name="csY6" fmla="*/ 344 h 64202"/>
              <a:gd name="csX7" fmla="*/ 309983 w 322677"/>
              <a:gd name="csY7" fmla="*/ 6097 h 64202"/>
              <a:gd name="csX8" fmla="*/ 322678 w 322677"/>
              <a:gd name="csY8" fmla="*/ 40406 h 64202"/>
              <a:gd name="csX9" fmla="*/ 199184 w 322677"/>
              <a:gd name="csY9" fmla="*/ 59136 h 6420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322677" h="64202">
                <a:moveTo>
                  <a:pt x="199184" y="59136"/>
                </a:moveTo>
                <a:cubicBezTo>
                  <a:pt x="132374" y="65824"/>
                  <a:pt x="66629" y="64605"/>
                  <a:pt x="0" y="62697"/>
                </a:cubicBezTo>
                <a:cubicBezTo>
                  <a:pt x="0" y="47160"/>
                  <a:pt x="0" y="33409"/>
                  <a:pt x="0" y="18400"/>
                </a:cubicBezTo>
                <a:cubicBezTo>
                  <a:pt x="3587" y="18160"/>
                  <a:pt x="7120" y="17536"/>
                  <a:pt x="10601" y="17750"/>
                </a:cubicBezTo>
                <a:cubicBezTo>
                  <a:pt x="59329" y="20736"/>
                  <a:pt x="107987" y="18533"/>
                  <a:pt x="156563" y="15074"/>
                </a:cubicBezTo>
                <a:cubicBezTo>
                  <a:pt x="193260" y="12461"/>
                  <a:pt x="229860" y="8449"/>
                  <a:pt x="266479" y="4814"/>
                </a:cubicBezTo>
                <a:cubicBezTo>
                  <a:pt x="276635" y="3806"/>
                  <a:pt x="286748" y="2160"/>
                  <a:pt x="296798" y="344"/>
                </a:cubicBezTo>
                <a:cubicBezTo>
                  <a:pt x="302773" y="-735"/>
                  <a:pt x="306536" y="602"/>
                  <a:pt x="309983" y="6097"/>
                </a:cubicBezTo>
                <a:cubicBezTo>
                  <a:pt x="316405" y="16331"/>
                  <a:pt x="320231" y="27243"/>
                  <a:pt x="322678" y="40406"/>
                </a:cubicBezTo>
                <a:cubicBezTo>
                  <a:pt x="281944" y="49611"/>
                  <a:pt x="241309" y="55431"/>
                  <a:pt x="199184" y="59136"/>
                </a:cubicBezTo>
                <a:close/>
              </a:path>
            </a:pathLst>
          </a:custGeom>
          <a:solidFill>
            <a:schemeClr val="bg1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6" name="Oval 335">
            <a:extLst>
              <a:ext uri="{FF2B5EF4-FFF2-40B4-BE49-F238E27FC236}">
                <a16:creationId xmlns:a16="http://schemas.microsoft.com/office/drawing/2014/main" id="{F4D21DCC-D68E-D675-E9FF-7F570055869B}"/>
              </a:ext>
            </a:extLst>
          </p:cNvPr>
          <p:cNvSpPr/>
          <p:nvPr/>
        </p:nvSpPr>
        <p:spPr>
          <a:xfrm>
            <a:off x="6100301" y="5277097"/>
            <a:ext cx="593138" cy="104135"/>
          </a:xfrm>
          <a:prstGeom prst="ellipse">
            <a:avLst/>
          </a:prstGeom>
          <a:solidFill>
            <a:schemeClr val="tx1">
              <a:alpha val="6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7" name="Free-form: Shape 336">
            <a:extLst>
              <a:ext uri="{FF2B5EF4-FFF2-40B4-BE49-F238E27FC236}">
                <a16:creationId xmlns:a16="http://schemas.microsoft.com/office/drawing/2014/main" id="{D820A8D9-8B2C-15FF-8AA4-0D313DBC4E8D}"/>
              </a:ext>
            </a:extLst>
          </p:cNvPr>
          <p:cNvSpPr/>
          <p:nvPr/>
        </p:nvSpPr>
        <p:spPr>
          <a:xfrm>
            <a:off x="6177112" y="4501106"/>
            <a:ext cx="476450" cy="847024"/>
          </a:xfrm>
          <a:custGeom>
            <a:avLst/>
            <a:gdLst>
              <a:gd name="csX0" fmla="*/ 581793 w 697572"/>
              <a:gd name="csY0" fmla="*/ 1234401 h 1240128"/>
              <a:gd name="csX1" fmla="*/ 577427 w 697572"/>
              <a:gd name="csY1" fmla="*/ 1234156 h 1240128"/>
              <a:gd name="csX2" fmla="*/ 559133 w 697572"/>
              <a:gd name="csY2" fmla="*/ 1230909 h 1240128"/>
              <a:gd name="csX3" fmla="*/ 516706 w 697572"/>
              <a:gd name="csY3" fmla="*/ 1235117 h 1240128"/>
              <a:gd name="csX4" fmla="*/ 475244 w 697572"/>
              <a:gd name="csY4" fmla="*/ 1237506 h 1240128"/>
              <a:gd name="csX5" fmla="*/ 371154 w 697572"/>
              <a:gd name="csY5" fmla="*/ 1239428 h 1240128"/>
              <a:gd name="csX6" fmla="*/ 276813 w 697572"/>
              <a:gd name="csY6" fmla="*/ 1237654 h 1240128"/>
              <a:gd name="csX7" fmla="*/ 268212 w 697572"/>
              <a:gd name="csY7" fmla="*/ 1237635 h 1240128"/>
              <a:gd name="csX8" fmla="*/ 262072 w 697572"/>
              <a:gd name="csY8" fmla="*/ 1237523 h 1240128"/>
              <a:gd name="csX9" fmla="*/ 195111 w 697572"/>
              <a:gd name="csY9" fmla="*/ 1232775 h 1240128"/>
              <a:gd name="csX10" fmla="*/ 145060 w 697572"/>
              <a:gd name="csY10" fmla="*/ 1230076 h 1240128"/>
              <a:gd name="csX11" fmla="*/ 114933 w 697572"/>
              <a:gd name="csY11" fmla="*/ 1225832 h 1240128"/>
              <a:gd name="csX12" fmla="*/ 72642 w 697572"/>
              <a:gd name="csY12" fmla="*/ 1220237 h 1240128"/>
              <a:gd name="csX13" fmla="*/ 10894 w 697572"/>
              <a:gd name="csY13" fmla="*/ 1205737 h 1240128"/>
              <a:gd name="csX14" fmla="*/ 5856 w 697572"/>
              <a:gd name="csY14" fmla="*/ 1202799 h 1240128"/>
              <a:gd name="csX15" fmla="*/ 40 w 697572"/>
              <a:gd name="csY15" fmla="*/ 1174450 h 1240128"/>
              <a:gd name="csX16" fmla="*/ 19831 w 697572"/>
              <a:gd name="csY16" fmla="*/ 1118410 h 1240128"/>
              <a:gd name="csX17" fmla="*/ 22004 w 697572"/>
              <a:gd name="csY17" fmla="*/ 1107240 h 1240128"/>
              <a:gd name="csX18" fmla="*/ 25947 w 697572"/>
              <a:gd name="csY18" fmla="*/ 1038650 h 1240128"/>
              <a:gd name="csX19" fmla="*/ 58234 w 697572"/>
              <a:gd name="csY19" fmla="*/ 988567 h 1240128"/>
              <a:gd name="csX20" fmla="*/ 118645 w 697572"/>
              <a:gd name="csY20" fmla="*/ 928298 h 1240128"/>
              <a:gd name="csX21" fmla="*/ 126320 w 697572"/>
              <a:gd name="csY21" fmla="*/ 892015 h 1240128"/>
              <a:gd name="csX22" fmla="*/ 120345 w 697572"/>
              <a:gd name="csY22" fmla="*/ 872258 h 1240128"/>
              <a:gd name="csX23" fmla="*/ 125668 w 697572"/>
              <a:gd name="csY23" fmla="*/ 861640 h 1240128"/>
              <a:gd name="csX24" fmla="*/ 154237 w 697572"/>
              <a:gd name="csY24" fmla="*/ 850716 h 1240128"/>
              <a:gd name="csX25" fmla="*/ 170248 w 697572"/>
              <a:gd name="csY25" fmla="*/ 836767 h 1240128"/>
              <a:gd name="csX26" fmla="*/ 187840 w 697572"/>
              <a:gd name="csY26" fmla="*/ 796341 h 1240128"/>
              <a:gd name="csX27" fmla="*/ 209346 w 697572"/>
              <a:gd name="csY27" fmla="*/ 743126 h 1240128"/>
              <a:gd name="csX28" fmla="*/ 210630 w 697572"/>
              <a:gd name="csY28" fmla="*/ 737219 h 1240128"/>
              <a:gd name="csX29" fmla="*/ 213836 w 697572"/>
              <a:gd name="csY29" fmla="*/ 720505 h 1240128"/>
              <a:gd name="csX30" fmla="*/ 227791 w 697572"/>
              <a:gd name="csY30" fmla="*/ 667353 h 1240128"/>
              <a:gd name="csX31" fmla="*/ 241013 w 697572"/>
              <a:gd name="csY31" fmla="*/ 599151 h 1240128"/>
              <a:gd name="csX32" fmla="*/ 247322 w 697572"/>
              <a:gd name="csY32" fmla="*/ 542242 h 1240128"/>
              <a:gd name="csX33" fmla="*/ 247948 w 697572"/>
              <a:gd name="csY33" fmla="*/ 499296 h 1240128"/>
              <a:gd name="csX34" fmla="*/ 247577 w 697572"/>
              <a:gd name="csY34" fmla="*/ 470384 h 1240128"/>
              <a:gd name="csX35" fmla="*/ 238877 w 697572"/>
              <a:gd name="csY35" fmla="*/ 460987 h 1240128"/>
              <a:gd name="csX36" fmla="*/ 222040 w 697572"/>
              <a:gd name="csY36" fmla="*/ 458353 h 1240128"/>
              <a:gd name="csX37" fmla="*/ 172193 w 697572"/>
              <a:gd name="csY37" fmla="*/ 433714 h 1240128"/>
              <a:gd name="csX38" fmla="*/ 168410 w 697572"/>
              <a:gd name="csY38" fmla="*/ 396591 h 1240128"/>
              <a:gd name="csX39" fmla="*/ 209826 w 697572"/>
              <a:gd name="csY39" fmla="*/ 367773 h 1240128"/>
              <a:gd name="csX40" fmla="*/ 250732 w 697572"/>
              <a:gd name="csY40" fmla="*/ 355208 h 1240128"/>
              <a:gd name="csX41" fmla="*/ 258289 w 697572"/>
              <a:gd name="csY41" fmla="*/ 350426 h 1240128"/>
              <a:gd name="csX42" fmla="*/ 233274 w 697572"/>
              <a:gd name="csY42" fmla="*/ 333513 h 1240128"/>
              <a:gd name="csX43" fmla="*/ 229677 w 697572"/>
              <a:gd name="csY43" fmla="*/ 333922 h 1240128"/>
              <a:gd name="csX44" fmla="*/ 230149 w 697572"/>
              <a:gd name="csY44" fmla="*/ 332979 h 1240128"/>
              <a:gd name="csX45" fmla="*/ 227053 w 697572"/>
              <a:gd name="csY45" fmla="*/ 327076 h 1240128"/>
              <a:gd name="csX46" fmla="*/ 196769 w 697572"/>
              <a:gd name="csY46" fmla="*/ 291380 h 1240128"/>
              <a:gd name="csX47" fmla="*/ 184389 w 697572"/>
              <a:gd name="csY47" fmla="*/ 264042 h 1240128"/>
              <a:gd name="csX48" fmla="*/ 180630 w 697572"/>
              <a:gd name="csY48" fmla="*/ 257839 h 1240128"/>
              <a:gd name="csX49" fmla="*/ 176231 w 697572"/>
              <a:gd name="csY49" fmla="*/ 250643 h 1240128"/>
              <a:gd name="csX50" fmla="*/ 170073 w 697572"/>
              <a:gd name="csY50" fmla="*/ 146723 h 1240128"/>
              <a:gd name="csX51" fmla="*/ 180929 w 697572"/>
              <a:gd name="csY51" fmla="*/ 114280 h 1240128"/>
              <a:gd name="csX52" fmla="*/ 180839 w 697572"/>
              <a:gd name="csY52" fmla="*/ 101501 h 1240128"/>
              <a:gd name="csX53" fmla="*/ 233536 w 697572"/>
              <a:gd name="csY53" fmla="*/ 39653 h 1240128"/>
              <a:gd name="csX54" fmla="*/ 347618 w 697572"/>
              <a:gd name="csY54" fmla="*/ 35 h 1240128"/>
              <a:gd name="csX55" fmla="*/ 437139 w 697572"/>
              <a:gd name="csY55" fmla="*/ 22396 h 1240128"/>
              <a:gd name="csX56" fmla="*/ 529052 w 697572"/>
              <a:gd name="csY56" fmla="*/ 131093 h 1240128"/>
              <a:gd name="csX57" fmla="*/ 518497 w 697572"/>
              <a:gd name="csY57" fmla="*/ 271517 h 1240128"/>
              <a:gd name="csX58" fmla="*/ 500808 w 697572"/>
              <a:gd name="csY58" fmla="*/ 287385 h 1240128"/>
              <a:gd name="csX59" fmla="*/ 472948 w 697572"/>
              <a:gd name="csY59" fmla="*/ 323290 h 1240128"/>
              <a:gd name="csX60" fmla="*/ 469385 w 697572"/>
              <a:gd name="csY60" fmla="*/ 331565 h 1240128"/>
              <a:gd name="csX61" fmla="*/ 468293 w 697572"/>
              <a:gd name="csY61" fmla="*/ 331320 h 1240128"/>
              <a:gd name="csX62" fmla="*/ 459542 w 697572"/>
              <a:gd name="csY62" fmla="*/ 338942 h 1240128"/>
              <a:gd name="csX63" fmla="*/ 458492 w 697572"/>
              <a:gd name="csY63" fmla="*/ 338671 h 1240128"/>
              <a:gd name="csX64" fmla="*/ 436978 w 697572"/>
              <a:gd name="csY64" fmla="*/ 352226 h 1240128"/>
              <a:gd name="csX65" fmla="*/ 472329 w 697572"/>
              <a:gd name="csY65" fmla="*/ 362890 h 1240128"/>
              <a:gd name="csX66" fmla="*/ 523779 w 697572"/>
              <a:gd name="csY66" fmla="*/ 391962 h 1240128"/>
              <a:gd name="csX67" fmla="*/ 527344 w 697572"/>
              <a:gd name="csY67" fmla="*/ 430096 h 1240128"/>
              <a:gd name="csX68" fmla="*/ 504112 w 697572"/>
              <a:gd name="csY68" fmla="*/ 449628 h 1240128"/>
              <a:gd name="csX69" fmla="*/ 459430 w 697572"/>
              <a:gd name="csY69" fmla="*/ 461116 h 1240128"/>
              <a:gd name="csX70" fmla="*/ 446666 w 697572"/>
              <a:gd name="csY70" fmla="*/ 474229 h 1240128"/>
              <a:gd name="csX71" fmla="*/ 449133 w 697572"/>
              <a:gd name="csY71" fmla="*/ 531639 h 1240128"/>
              <a:gd name="csX72" fmla="*/ 454546 w 697572"/>
              <a:gd name="csY72" fmla="*/ 588688 h 1240128"/>
              <a:gd name="csX73" fmla="*/ 466126 w 697572"/>
              <a:gd name="csY73" fmla="*/ 649736 h 1240128"/>
              <a:gd name="csX74" fmla="*/ 512154 w 697572"/>
              <a:gd name="csY74" fmla="*/ 794006 h 1240128"/>
              <a:gd name="csX75" fmla="*/ 525763 w 697572"/>
              <a:gd name="csY75" fmla="*/ 834323 h 1240128"/>
              <a:gd name="csX76" fmla="*/ 530555 w 697572"/>
              <a:gd name="csY76" fmla="*/ 845114 h 1240128"/>
              <a:gd name="csX77" fmla="*/ 554424 w 697572"/>
              <a:gd name="csY77" fmla="*/ 856618 h 1240128"/>
              <a:gd name="csX78" fmla="*/ 572880 w 697572"/>
              <a:gd name="csY78" fmla="*/ 862546 h 1240128"/>
              <a:gd name="csX79" fmla="*/ 578643 w 697572"/>
              <a:gd name="csY79" fmla="*/ 880396 h 1240128"/>
              <a:gd name="csX80" fmla="*/ 572188 w 697572"/>
              <a:gd name="csY80" fmla="*/ 899820 h 1240128"/>
              <a:gd name="csX81" fmla="*/ 582698 w 697572"/>
              <a:gd name="csY81" fmla="*/ 930382 h 1240128"/>
              <a:gd name="csX82" fmla="*/ 604747 w 697572"/>
              <a:gd name="csY82" fmla="*/ 960852 h 1240128"/>
              <a:gd name="csX83" fmla="*/ 613863 w 697572"/>
              <a:gd name="csY83" fmla="*/ 968311 h 1240128"/>
              <a:gd name="csX84" fmla="*/ 629435 w 697572"/>
              <a:gd name="csY84" fmla="*/ 981186 h 1240128"/>
              <a:gd name="csX85" fmla="*/ 633611 w 697572"/>
              <a:gd name="csY85" fmla="*/ 985609 h 1240128"/>
              <a:gd name="csX86" fmla="*/ 673790 w 697572"/>
              <a:gd name="csY86" fmla="*/ 1049348 h 1240128"/>
              <a:gd name="csX87" fmla="*/ 675873 w 697572"/>
              <a:gd name="csY87" fmla="*/ 1092839 h 1240128"/>
              <a:gd name="csX88" fmla="*/ 681668 w 697572"/>
              <a:gd name="csY88" fmla="*/ 1129292 h 1240128"/>
              <a:gd name="csX89" fmla="*/ 697338 w 697572"/>
              <a:gd name="csY89" fmla="*/ 1196079 h 1240128"/>
              <a:gd name="csX90" fmla="*/ 690637 w 697572"/>
              <a:gd name="csY90" fmla="*/ 1205035 h 1240128"/>
              <a:gd name="csX91" fmla="*/ 639777 w 697572"/>
              <a:gd name="csY91" fmla="*/ 1217994 h 1240128"/>
              <a:gd name="csX92" fmla="*/ 587072 w 697572"/>
              <a:gd name="csY92" fmla="*/ 1227761 h 1240128"/>
              <a:gd name="csX93" fmla="*/ 581793 w 697572"/>
              <a:gd name="csY93" fmla="*/ 1234401 h 1240128"/>
              <a:gd name="csX94" fmla="*/ 357446 w 697572"/>
              <a:gd name="csY94" fmla="*/ 903795 h 1240128"/>
              <a:gd name="csX95" fmla="*/ 344445 w 697572"/>
              <a:gd name="csY95" fmla="*/ 903795 h 1240128"/>
              <a:gd name="csX96" fmla="*/ 349212 w 697572"/>
              <a:gd name="csY96" fmla="*/ 950515 h 1240128"/>
              <a:gd name="csX97" fmla="*/ 349538 w 697572"/>
              <a:gd name="csY97" fmla="*/ 1069392 h 1240128"/>
              <a:gd name="csX98" fmla="*/ 349415 w 697572"/>
              <a:gd name="csY98" fmla="*/ 1108925 h 1240128"/>
              <a:gd name="csX99" fmla="*/ 647726 w 697572"/>
              <a:gd name="csY99" fmla="*/ 1089872 h 1240128"/>
              <a:gd name="csX100" fmla="*/ 647654 w 697572"/>
              <a:gd name="csY100" fmla="*/ 1076267 h 1240128"/>
              <a:gd name="csX101" fmla="*/ 610267 w 697572"/>
              <a:gd name="csY101" fmla="*/ 994126 h 1240128"/>
              <a:gd name="csX102" fmla="*/ 571459 w 697572"/>
              <a:gd name="csY102" fmla="*/ 956568 h 1240128"/>
              <a:gd name="csX103" fmla="*/ 541653 w 697572"/>
              <a:gd name="csY103" fmla="*/ 901544 h 1240128"/>
              <a:gd name="csX104" fmla="*/ 539477 w 697572"/>
              <a:gd name="csY104" fmla="*/ 895908 h 1240128"/>
              <a:gd name="csX105" fmla="*/ 357446 w 697572"/>
              <a:gd name="csY105" fmla="*/ 903795 h 1240128"/>
              <a:gd name="csX106" fmla="*/ 300108 w 697572"/>
              <a:gd name="csY106" fmla="*/ 85260 h 1240128"/>
              <a:gd name="csX107" fmla="*/ 290213 w 697572"/>
              <a:gd name="csY107" fmla="*/ 127888 h 1240128"/>
              <a:gd name="csX108" fmla="*/ 331056 w 697572"/>
              <a:gd name="csY108" fmla="*/ 214168 h 1240128"/>
              <a:gd name="csX109" fmla="*/ 424717 w 697572"/>
              <a:gd name="csY109" fmla="*/ 245160 h 1240128"/>
              <a:gd name="csX110" fmla="*/ 496752 w 697572"/>
              <a:gd name="csY110" fmla="*/ 141256 h 1240128"/>
              <a:gd name="csX111" fmla="*/ 390320 w 697572"/>
              <a:gd name="csY111" fmla="*/ 43995 h 1240128"/>
              <a:gd name="csX112" fmla="*/ 300108 w 697572"/>
              <a:gd name="csY112" fmla="*/ 85260 h 1240128"/>
              <a:gd name="csX113" fmla="*/ 343360 w 697572"/>
              <a:gd name="csY113" fmla="*/ 634332 h 1240128"/>
              <a:gd name="csX114" fmla="*/ 340877 w 697572"/>
              <a:gd name="csY114" fmla="*/ 732259 h 1240128"/>
              <a:gd name="csX115" fmla="*/ 338360 w 697572"/>
              <a:gd name="csY115" fmla="*/ 810538 h 1240128"/>
              <a:gd name="csX116" fmla="*/ 337115 w 697572"/>
              <a:gd name="csY116" fmla="*/ 817736 h 1240128"/>
              <a:gd name="csX117" fmla="*/ 336516 w 697572"/>
              <a:gd name="csY117" fmla="*/ 863022 h 1240128"/>
              <a:gd name="csX118" fmla="*/ 343436 w 697572"/>
              <a:gd name="csY118" fmla="*/ 864027 h 1240128"/>
              <a:gd name="csX119" fmla="*/ 406718 w 697572"/>
              <a:gd name="csY119" fmla="*/ 862982 h 1240128"/>
              <a:gd name="csX120" fmla="*/ 456888 w 697572"/>
              <a:gd name="csY120" fmla="*/ 861794 h 1240128"/>
              <a:gd name="csX121" fmla="*/ 495873 w 697572"/>
              <a:gd name="csY121" fmla="*/ 863963 h 1240128"/>
              <a:gd name="csX122" fmla="*/ 509286 w 697572"/>
              <a:gd name="csY122" fmla="*/ 863595 h 1240128"/>
              <a:gd name="csX123" fmla="*/ 516956 w 697572"/>
              <a:gd name="csY123" fmla="*/ 856791 h 1240128"/>
              <a:gd name="csX124" fmla="*/ 513920 w 697572"/>
              <a:gd name="csY124" fmla="*/ 848709 h 1240128"/>
              <a:gd name="csX125" fmla="*/ 506683 w 697572"/>
              <a:gd name="csY125" fmla="*/ 839054 h 1240128"/>
              <a:gd name="csX126" fmla="*/ 488629 w 697572"/>
              <a:gd name="csY126" fmla="*/ 799037 h 1240128"/>
              <a:gd name="csX127" fmla="*/ 456922 w 697572"/>
              <a:gd name="csY127" fmla="*/ 696297 h 1240128"/>
              <a:gd name="csX128" fmla="*/ 441346 w 697572"/>
              <a:gd name="csY128" fmla="*/ 619885 h 1240128"/>
              <a:gd name="csX129" fmla="*/ 435963 w 697572"/>
              <a:gd name="csY129" fmla="*/ 582529 h 1240128"/>
              <a:gd name="csX130" fmla="*/ 429497 w 697572"/>
              <a:gd name="csY130" fmla="*/ 521990 h 1240128"/>
              <a:gd name="csX131" fmla="*/ 426887 w 697572"/>
              <a:gd name="csY131" fmla="*/ 471989 h 1240128"/>
              <a:gd name="csX132" fmla="*/ 413744 w 697572"/>
              <a:gd name="csY132" fmla="*/ 461077 h 1240128"/>
              <a:gd name="csX133" fmla="*/ 353573 w 697572"/>
              <a:gd name="csY133" fmla="*/ 461120 h 1240128"/>
              <a:gd name="csX134" fmla="*/ 344160 w 697572"/>
              <a:gd name="csY134" fmla="*/ 462286 h 1240128"/>
              <a:gd name="csX135" fmla="*/ 343404 w 697572"/>
              <a:gd name="csY135" fmla="*/ 469192 h 1240128"/>
              <a:gd name="csX136" fmla="*/ 343469 w 697572"/>
              <a:gd name="csY136" fmla="*/ 574797 h 1240128"/>
              <a:gd name="csX137" fmla="*/ 345522 w 697572"/>
              <a:gd name="csY137" fmla="*/ 591669 h 1240128"/>
              <a:gd name="csX138" fmla="*/ 343360 w 697572"/>
              <a:gd name="csY138" fmla="*/ 634332 h 1240128"/>
              <a:gd name="csX139" fmla="*/ 416946 w 697572"/>
              <a:gd name="csY139" fmla="*/ 385943 h 1240128"/>
              <a:gd name="csX140" fmla="*/ 401091 w 697572"/>
              <a:gd name="csY140" fmla="*/ 387162 h 1240128"/>
              <a:gd name="csX141" fmla="*/ 369218 w 697572"/>
              <a:gd name="csY141" fmla="*/ 387708 h 1240128"/>
              <a:gd name="csX142" fmla="*/ 351833 w 697572"/>
              <a:gd name="csY142" fmla="*/ 398991 h 1240128"/>
              <a:gd name="csX143" fmla="*/ 349778 w 697572"/>
              <a:gd name="csY143" fmla="*/ 426021 h 1240128"/>
              <a:gd name="csX144" fmla="*/ 361839 w 697572"/>
              <a:gd name="csY144" fmla="*/ 426538 h 1240128"/>
              <a:gd name="csX145" fmla="*/ 455022 w 697572"/>
              <a:gd name="csY145" fmla="*/ 426922 h 1240128"/>
              <a:gd name="csX146" fmla="*/ 481958 w 697572"/>
              <a:gd name="csY146" fmla="*/ 426527 h 1240128"/>
              <a:gd name="csX147" fmla="*/ 499817 w 697572"/>
              <a:gd name="csY147" fmla="*/ 419888 h 1240128"/>
              <a:gd name="csX148" fmla="*/ 499439 w 697572"/>
              <a:gd name="csY148" fmla="*/ 400719 h 1240128"/>
              <a:gd name="csX149" fmla="*/ 468062 w 697572"/>
              <a:gd name="csY149" fmla="*/ 387775 h 1240128"/>
              <a:gd name="csX150" fmla="*/ 416946 w 697572"/>
              <a:gd name="csY150" fmla="*/ 385943 h 1240128"/>
              <a:gd name="csX151" fmla="*/ 636802 w 697572"/>
              <a:gd name="csY151" fmla="*/ 1190940 h 1240128"/>
              <a:gd name="csX152" fmla="*/ 666492 w 697572"/>
              <a:gd name="csY152" fmla="*/ 1184186 h 1240128"/>
              <a:gd name="csX153" fmla="*/ 674465 w 697572"/>
              <a:gd name="csY153" fmla="*/ 1170880 h 1240128"/>
              <a:gd name="csX154" fmla="*/ 662462 w 697572"/>
              <a:gd name="csY154" fmla="*/ 1141464 h 1240128"/>
              <a:gd name="csX155" fmla="*/ 645564 w 697572"/>
              <a:gd name="csY155" fmla="*/ 1131937 h 1240128"/>
              <a:gd name="csX156" fmla="*/ 627387 w 697572"/>
              <a:gd name="csY156" fmla="*/ 1133618 h 1240128"/>
              <a:gd name="csX157" fmla="*/ 583917 w 697572"/>
              <a:gd name="csY157" fmla="*/ 1139222 h 1240128"/>
              <a:gd name="csX158" fmla="*/ 543741 w 697572"/>
              <a:gd name="csY158" fmla="*/ 1141869 h 1240128"/>
              <a:gd name="csX159" fmla="*/ 512146 w 697572"/>
              <a:gd name="csY159" fmla="*/ 1144418 h 1240128"/>
              <a:gd name="csX160" fmla="*/ 447711 w 697572"/>
              <a:gd name="csY160" fmla="*/ 1148973 h 1240128"/>
              <a:gd name="csX161" fmla="*/ 351979 w 697572"/>
              <a:gd name="csY161" fmla="*/ 1149200 h 1240128"/>
              <a:gd name="csX162" fmla="*/ 338443 w 697572"/>
              <a:gd name="csY162" fmla="*/ 1150040 h 1240128"/>
              <a:gd name="csX163" fmla="*/ 338451 w 697572"/>
              <a:gd name="csY163" fmla="*/ 1190780 h 1240128"/>
              <a:gd name="csX164" fmla="*/ 351082 w 697572"/>
              <a:gd name="csY164" fmla="*/ 1207015 h 1240128"/>
              <a:gd name="csX165" fmla="*/ 358298 w 697572"/>
              <a:gd name="csY165" fmla="*/ 1208094 h 1240128"/>
              <a:gd name="csX166" fmla="*/ 521229 w 697572"/>
              <a:gd name="csY166" fmla="*/ 1205646 h 1240128"/>
              <a:gd name="csX167" fmla="*/ 523675 w 697572"/>
              <a:gd name="csY167" fmla="*/ 1205490 h 1240128"/>
              <a:gd name="csX168" fmla="*/ 580423 w 697572"/>
              <a:gd name="csY168" fmla="*/ 1198350 h 1240128"/>
              <a:gd name="csX169" fmla="*/ 636802 w 697572"/>
              <a:gd name="csY169" fmla="*/ 1190940 h 124012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</a:cxnLst>
            <a:rect l="l" t="t" r="r" b="b"/>
            <a:pathLst>
              <a:path w="697572" h="1240128">
                <a:moveTo>
                  <a:pt x="581793" y="1234401"/>
                </a:moveTo>
                <a:cubicBezTo>
                  <a:pt x="580693" y="1234661"/>
                  <a:pt x="579594" y="1234922"/>
                  <a:pt x="577427" y="1234156"/>
                </a:cubicBezTo>
                <a:cubicBezTo>
                  <a:pt x="571216" y="1227899"/>
                  <a:pt x="564912" y="1230441"/>
                  <a:pt x="559133" y="1230909"/>
                </a:cubicBezTo>
                <a:cubicBezTo>
                  <a:pt x="544971" y="1232056"/>
                  <a:pt x="530869" y="1233971"/>
                  <a:pt x="516706" y="1235117"/>
                </a:cubicBezTo>
                <a:cubicBezTo>
                  <a:pt x="502910" y="1236232"/>
                  <a:pt x="489077" y="1237097"/>
                  <a:pt x="475244" y="1237506"/>
                </a:cubicBezTo>
                <a:cubicBezTo>
                  <a:pt x="440539" y="1238535"/>
                  <a:pt x="405696" y="1241458"/>
                  <a:pt x="371154" y="1239428"/>
                </a:cubicBezTo>
                <a:cubicBezTo>
                  <a:pt x="339645" y="1237575"/>
                  <a:pt x="308239" y="1238753"/>
                  <a:pt x="276813" y="1237654"/>
                </a:cubicBezTo>
                <a:cubicBezTo>
                  <a:pt x="273949" y="1237553"/>
                  <a:pt x="271079" y="1237652"/>
                  <a:pt x="268212" y="1237635"/>
                </a:cubicBezTo>
                <a:cubicBezTo>
                  <a:pt x="266165" y="1237623"/>
                  <a:pt x="264111" y="1237668"/>
                  <a:pt x="262072" y="1237523"/>
                </a:cubicBezTo>
                <a:cubicBezTo>
                  <a:pt x="239751" y="1235944"/>
                  <a:pt x="217441" y="1234201"/>
                  <a:pt x="195111" y="1232775"/>
                </a:cubicBezTo>
                <a:cubicBezTo>
                  <a:pt x="178437" y="1231710"/>
                  <a:pt x="161712" y="1231378"/>
                  <a:pt x="145060" y="1230076"/>
                </a:cubicBezTo>
                <a:cubicBezTo>
                  <a:pt x="134969" y="1229287"/>
                  <a:pt x="124987" y="1227177"/>
                  <a:pt x="114933" y="1225832"/>
                </a:cubicBezTo>
                <a:cubicBezTo>
                  <a:pt x="100834" y="1223946"/>
                  <a:pt x="86554" y="1223022"/>
                  <a:pt x="72642" y="1220237"/>
                </a:cubicBezTo>
                <a:cubicBezTo>
                  <a:pt x="51920" y="1216091"/>
                  <a:pt x="31443" y="1210723"/>
                  <a:pt x="10894" y="1205737"/>
                </a:cubicBezTo>
                <a:cubicBezTo>
                  <a:pt x="9027" y="1205284"/>
                  <a:pt x="6196" y="1204140"/>
                  <a:pt x="5856" y="1202799"/>
                </a:cubicBezTo>
                <a:cubicBezTo>
                  <a:pt x="3474" y="1193418"/>
                  <a:pt x="-438" y="1183796"/>
                  <a:pt x="40" y="1174450"/>
                </a:cubicBezTo>
                <a:cubicBezTo>
                  <a:pt x="1079" y="1154149"/>
                  <a:pt x="9757" y="1135843"/>
                  <a:pt x="19831" y="1118410"/>
                </a:cubicBezTo>
                <a:cubicBezTo>
                  <a:pt x="21968" y="1114713"/>
                  <a:pt x="22970" y="1111858"/>
                  <a:pt x="22004" y="1107240"/>
                </a:cubicBezTo>
                <a:cubicBezTo>
                  <a:pt x="17168" y="1084118"/>
                  <a:pt x="17717" y="1061168"/>
                  <a:pt x="25947" y="1038650"/>
                </a:cubicBezTo>
                <a:cubicBezTo>
                  <a:pt x="32954" y="1019481"/>
                  <a:pt x="44478" y="1003118"/>
                  <a:pt x="58234" y="988567"/>
                </a:cubicBezTo>
                <a:cubicBezTo>
                  <a:pt x="77769" y="967902"/>
                  <a:pt x="97978" y="947832"/>
                  <a:pt x="118645" y="928298"/>
                </a:cubicBezTo>
                <a:cubicBezTo>
                  <a:pt x="130104" y="917467"/>
                  <a:pt x="131835" y="905961"/>
                  <a:pt x="126320" y="892015"/>
                </a:cubicBezTo>
                <a:cubicBezTo>
                  <a:pt x="123798" y="885637"/>
                  <a:pt x="122123" y="878904"/>
                  <a:pt x="120345" y="872258"/>
                </a:cubicBezTo>
                <a:cubicBezTo>
                  <a:pt x="119029" y="867341"/>
                  <a:pt x="120162" y="863613"/>
                  <a:pt x="125668" y="861640"/>
                </a:cubicBezTo>
                <a:cubicBezTo>
                  <a:pt x="135266" y="858201"/>
                  <a:pt x="144535" y="853788"/>
                  <a:pt x="154237" y="850716"/>
                </a:cubicBezTo>
                <a:cubicBezTo>
                  <a:pt x="161882" y="848296"/>
                  <a:pt x="167110" y="843897"/>
                  <a:pt x="170248" y="836767"/>
                </a:cubicBezTo>
                <a:cubicBezTo>
                  <a:pt x="176168" y="823316"/>
                  <a:pt x="182193" y="809907"/>
                  <a:pt x="187840" y="796341"/>
                </a:cubicBezTo>
                <a:cubicBezTo>
                  <a:pt x="195194" y="778679"/>
                  <a:pt x="202250" y="760894"/>
                  <a:pt x="209346" y="743126"/>
                </a:cubicBezTo>
                <a:cubicBezTo>
                  <a:pt x="210083" y="741280"/>
                  <a:pt x="210252" y="739200"/>
                  <a:pt x="210630" y="737219"/>
                </a:cubicBezTo>
                <a:cubicBezTo>
                  <a:pt x="211694" y="731645"/>
                  <a:pt x="212425" y="725987"/>
                  <a:pt x="213836" y="720505"/>
                </a:cubicBezTo>
                <a:cubicBezTo>
                  <a:pt x="218406" y="702764"/>
                  <a:pt x="223811" y="685219"/>
                  <a:pt x="227791" y="667353"/>
                </a:cubicBezTo>
                <a:cubicBezTo>
                  <a:pt x="232826" y="644755"/>
                  <a:pt x="237367" y="622009"/>
                  <a:pt x="241013" y="599151"/>
                </a:cubicBezTo>
                <a:cubicBezTo>
                  <a:pt x="244018" y="580319"/>
                  <a:pt x="246001" y="561272"/>
                  <a:pt x="247322" y="542242"/>
                </a:cubicBezTo>
                <a:cubicBezTo>
                  <a:pt x="248312" y="527975"/>
                  <a:pt x="246344" y="513451"/>
                  <a:pt x="247948" y="499296"/>
                </a:cubicBezTo>
                <a:cubicBezTo>
                  <a:pt x="249066" y="489432"/>
                  <a:pt x="247923" y="480014"/>
                  <a:pt x="247577" y="470384"/>
                </a:cubicBezTo>
                <a:cubicBezTo>
                  <a:pt x="247364" y="464453"/>
                  <a:pt x="245121" y="461397"/>
                  <a:pt x="238877" y="460987"/>
                </a:cubicBezTo>
                <a:cubicBezTo>
                  <a:pt x="233224" y="460615"/>
                  <a:pt x="227461" y="459920"/>
                  <a:pt x="222040" y="458353"/>
                </a:cubicBezTo>
                <a:cubicBezTo>
                  <a:pt x="203991" y="453134"/>
                  <a:pt x="185737" y="448229"/>
                  <a:pt x="172193" y="433714"/>
                </a:cubicBezTo>
                <a:cubicBezTo>
                  <a:pt x="162702" y="423544"/>
                  <a:pt x="160887" y="408134"/>
                  <a:pt x="168410" y="396591"/>
                </a:cubicBezTo>
                <a:cubicBezTo>
                  <a:pt x="178294" y="381428"/>
                  <a:pt x="193736" y="373793"/>
                  <a:pt x="209826" y="367773"/>
                </a:cubicBezTo>
                <a:cubicBezTo>
                  <a:pt x="223159" y="362784"/>
                  <a:pt x="237124" y="359493"/>
                  <a:pt x="250732" y="355208"/>
                </a:cubicBezTo>
                <a:cubicBezTo>
                  <a:pt x="253085" y="354467"/>
                  <a:pt x="255058" y="352518"/>
                  <a:pt x="258289" y="350426"/>
                </a:cubicBezTo>
                <a:cubicBezTo>
                  <a:pt x="250173" y="342610"/>
                  <a:pt x="241833" y="337880"/>
                  <a:pt x="233274" y="333513"/>
                </a:cubicBezTo>
                <a:cubicBezTo>
                  <a:pt x="232377" y="333055"/>
                  <a:pt x="230890" y="333758"/>
                  <a:pt x="229677" y="333922"/>
                </a:cubicBezTo>
                <a:cubicBezTo>
                  <a:pt x="229677" y="333922"/>
                  <a:pt x="230323" y="333834"/>
                  <a:pt x="230149" y="332979"/>
                </a:cubicBezTo>
                <a:cubicBezTo>
                  <a:pt x="229023" y="330409"/>
                  <a:pt x="228502" y="328059"/>
                  <a:pt x="227053" y="327076"/>
                </a:cubicBezTo>
                <a:cubicBezTo>
                  <a:pt x="213615" y="317962"/>
                  <a:pt x="204643" y="305332"/>
                  <a:pt x="196769" y="291380"/>
                </a:cubicBezTo>
                <a:cubicBezTo>
                  <a:pt x="191792" y="282564"/>
                  <a:pt x="185421" y="274665"/>
                  <a:pt x="184389" y="264042"/>
                </a:cubicBezTo>
                <a:cubicBezTo>
                  <a:pt x="184179" y="261874"/>
                  <a:pt x="181925" y="259908"/>
                  <a:pt x="180630" y="257839"/>
                </a:cubicBezTo>
                <a:cubicBezTo>
                  <a:pt x="179137" y="255454"/>
                  <a:pt x="177317" y="253204"/>
                  <a:pt x="176231" y="250643"/>
                </a:cubicBezTo>
                <a:cubicBezTo>
                  <a:pt x="161865" y="216749"/>
                  <a:pt x="159606" y="182060"/>
                  <a:pt x="170073" y="146723"/>
                </a:cubicBezTo>
                <a:cubicBezTo>
                  <a:pt x="173311" y="135795"/>
                  <a:pt x="177248" y="125074"/>
                  <a:pt x="180929" y="114280"/>
                </a:cubicBezTo>
                <a:cubicBezTo>
                  <a:pt x="182396" y="109981"/>
                  <a:pt x="183922" y="105742"/>
                  <a:pt x="180839" y="101501"/>
                </a:cubicBezTo>
                <a:cubicBezTo>
                  <a:pt x="192473" y="75833"/>
                  <a:pt x="211344" y="56271"/>
                  <a:pt x="233536" y="39653"/>
                </a:cubicBezTo>
                <a:cubicBezTo>
                  <a:pt x="267321" y="14353"/>
                  <a:pt x="305621" y="873"/>
                  <a:pt x="347618" y="35"/>
                </a:cubicBezTo>
                <a:cubicBezTo>
                  <a:pt x="379125" y="-593"/>
                  <a:pt x="409214" y="7172"/>
                  <a:pt x="437139" y="22396"/>
                </a:cubicBezTo>
                <a:cubicBezTo>
                  <a:pt x="481844" y="46766"/>
                  <a:pt x="514077" y="82116"/>
                  <a:pt x="529052" y="131093"/>
                </a:cubicBezTo>
                <a:cubicBezTo>
                  <a:pt x="543544" y="178495"/>
                  <a:pt x="541630" y="225548"/>
                  <a:pt x="518497" y="271517"/>
                </a:cubicBezTo>
                <a:cubicBezTo>
                  <a:pt x="511428" y="277096"/>
                  <a:pt x="503848" y="281136"/>
                  <a:pt x="500808" y="287385"/>
                </a:cubicBezTo>
                <a:cubicBezTo>
                  <a:pt x="493932" y="301522"/>
                  <a:pt x="483805" y="312513"/>
                  <a:pt x="472948" y="323290"/>
                </a:cubicBezTo>
                <a:cubicBezTo>
                  <a:pt x="470972" y="325253"/>
                  <a:pt x="470533" y="328767"/>
                  <a:pt x="469385" y="331565"/>
                </a:cubicBezTo>
                <a:cubicBezTo>
                  <a:pt x="469385" y="331565"/>
                  <a:pt x="469172" y="331584"/>
                  <a:pt x="468293" y="331320"/>
                </a:cubicBezTo>
                <a:cubicBezTo>
                  <a:pt x="461937" y="330836"/>
                  <a:pt x="458618" y="332772"/>
                  <a:pt x="459542" y="338942"/>
                </a:cubicBezTo>
                <a:cubicBezTo>
                  <a:pt x="459542" y="338942"/>
                  <a:pt x="459473" y="338913"/>
                  <a:pt x="458492" y="338671"/>
                </a:cubicBezTo>
                <a:cubicBezTo>
                  <a:pt x="450936" y="342653"/>
                  <a:pt x="440712" y="341355"/>
                  <a:pt x="436978" y="352226"/>
                </a:cubicBezTo>
                <a:cubicBezTo>
                  <a:pt x="449178" y="355911"/>
                  <a:pt x="460733" y="359469"/>
                  <a:pt x="472329" y="362890"/>
                </a:cubicBezTo>
                <a:cubicBezTo>
                  <a:pt x="491728" y="368613"/>
                  <a:pt x="510182" y="375784"/>
                  <a:pt x="523779" y="391962"/>
                </a:cubicBezTo>
                <a:cubicBezTo>
                  <a:pt x="535849" y="406326"/>
                  <a:pt x="534845" y="420076"/>
                  <a:pt x="527344" y="430096"/>
                </a:cubicBezTo>
                <a:cubicBezTo>
                  <a:pt x="521323" y="438139"/>
                  <a:pt x="513928" y="445333"/>
                  <a:pt x="504112" y="449628"/>
                </a:cubicBezTo>
                <a:cubicBezTo>
                  <a:pt x="489776" y="455901"/>
                  <a:pt x="475173" y="460486"/>
                  <a:pt x="459430" y="461116"/>
                </a:cubicBezTo>
                <a:cubicBezTo>
                  <a:pt x="448415" y="461557"/>
                  <a:pt x="446384" y="463369"/>
                  <a:pt x="446666" y="474229"/>
                </a:cubicBezTo>
                <a:cubicBezTo>
                  <a:pt x="447164" y="493376"/>
                  <a:pt x="447839" y="512533"/>
                  <a:pt x="449133" y="531639"/>
                </a:cubicBezTo>
                <a:cubicBezTo>
                  <a:pt x="450424" y="550696"/>
                  <a:pt x="451783" y="569809"/>
                  <a:pt x="454546" y="588688"/>
                </a:cubicBezTo>
                <a:cubicBezTo>
                  <a:pt x="457543" y="609164"/>
                  <a:pt x="462165" y="629403"/>
                  <a:pt x="466126" y="649736"/>
                </a:cubicBezTo>
                <a:cubicBezTo>
                  <a:pt x="475845" y="699621"/>
                  <a:pt x="493414" y="746980"/>
                  <a:pt x="512154" y="794006"/>
                </a:cubicBezTo>
                <a:cubicBezTo>
                  <a:pt x="517387" y="807138"/>
                  <a:pt x="525145" y="819463"/>
                  <a:pt x="525763" y="834323"/>
                </a:cubicBezTo>
                <a:cubicBezTo>
                  <a:pt x="525919" y="838081"/>
                  <a:pt x="527739" y="843335"/>
                  <a:pt x="530555" y="845114"/>
                </a:cubicBezTo>
                <a:cubicBezTo>
                  <a:pt x="537981" y="849801"/>
                  <a:pt x="546243" y="853278"/>
                  <a:pt x="554424" y="856618"/>
                </a:cubicBezTo>
                <a:cubicBezTo>
                  <a:pt x="560391" y="859054"/>
                  <a:pt x="567041" y="859887"/>
                  <a:pt x="572880" y="862546"/>
                </a:cubicBezTo>
                <a:cubicBezTo>
                  <a:pt x="581470" y="866458"/>
                  <a:pt x="582467" y="871415"/>
                  <a:pt x="578643" y="880396"/>
                </a:cubicBezTo>
                <a:cubicBezTo>
                  <a:pt x="575969" y="886677"/>
                  <a:pt x="572900" y="893182"/>
                  <a:pt x="572188" y="899820"/>
                </a:cubicBezTo>
                <a:cubicBezTo>
                  <a:pt x="570960" y="911271"/>
                  <a:pt x="576506" y="920944"/>
                  <a:pt x="582698" y="930382"/>
                </a:cubicBezTo>
                <a:cubicBezTo>
                  <a:pt x="589569" y="940856"/>
                  <a:pt x="600933" y="947930"/>
                  <a:pt x="604747" y="960852"/>
                </a:cubicBezTo>
                <a:cubicBezTo>
                  <a:pt x="605684" y="964030"/>
                  <a:pt x="610294" y="967128"/>
                  <a:pt x="613863" y="968311"/>
                </a:cubicBezTo>
                <a:cubicBezTo>
                  <a:pt x="620963" y="970665"/>
                  <a:pt x="625924" y="974774"/>
                  <a:pt x="629435" y="981186"/>
                </a:cubicBezTo>
                <a:cubicBezTo>
                  <a:pt x="630381" y="982913"/>
                  <a:pt x="631977" y="984459"/>
                  <a:pt x="633611" y="985609"/>
                </a:cubicBezTo>
                <a:cubicBezTo>
                  <a:pt x="655878" y="1001272"/>
                  <a:pt x="668032" y="1023762"/>
                  <a:pt x="673790" y="1049348"/>
                </a:cubicBezTo>
                <a:cubicBezTo>
                  <a:pt x="676936" y="1063327"/>
                  <a:pt x="679769" y="1077802"/>
                  <a:pt x="675873" y="1092839"/>
                </a:cubicBezTo>
                <a:cubicBezTo>
                  <a:pt x="672677" y="1105174"/>
                  <a:pt x="673042" y="1116963"/>
                  <a:pt x="681668" y="1129292"/>
                </a:cubicBezTo>
                <a:cubicBezTo>
                  <a:pt x="695321" y="1148802"/>
                  <a:pt x="698550" y="1172235"/>
                  <a:pt x="697338" y="1196079"/>
                </a:cubicBezTo>
                <a:cubicBezTo>
                  <a:pt x="697087" y="1201014"/>
                  <a:pt x="694979" y="1203886"/>
                  <a:pt x="690637" y="1205035"/>
                </a:cubicBezTo>
                <a:cubicBezTo>
                  <a:pt x="673723" y="1209511"/>
                  <a:pt x="656856" y="1214241"/>
                  <a:pt x="639777" y="1217994"/>
                </a:cubicBezTo>
                <a:cubicBezTo>
                  <a:pt x="622334" y="1221827"/>
                  <a:pt x="604691" y="1224790"/>
                  <a:pt x="587072" y="1227761"/>
                </a:cubicBezTo>
                <a:cubicBezTo>
                  <a:pt x="582708" y="1228497"/>
                  <a:pt x="581724" y="1230736"/>
                  <a:pt x="581793" y="1234401"/>
                </a:cubicBezTo>
                <a:moveTo>
                  <a:pt x="357446" y="903795"/>
                </a:moveTo>
                <a:cubicBezTo>
                  <a:pt x="353141" y="903795"/>
                  <a:pt x="348835" y="903795"/>
                  <a:pt x="344445" y="903795"/>
                </a:cubicBezTo>
                <a:cubicBezTo>
                  <a:pt x="346169" y="920562"/>
                  <a:pt x="347908" y="935520"/>
                  <a:pt x="349212" y="950515"/>
                </a:cubicBezTo>
                <a:cubicBezTo>
                  <a:pt x="352656" y="990125"/>
                  <a:pt x="351941" y="1029743"/>
                  <a:pt x="349538" y="1069392"/>
                </a:cubicBezTo>
                <a:cubicBezTo>
                  <a:pt x="348759" y="1082241"/>
                  <a:pt x="349415" y="1095176"/>
                  <a:pt x="349415" y="1108925"/>
                </a:cubicBezTo>
                <a:cubicBezTo>
                  <a:pt x="449467" y="1111953"/>
                  <a:pt x="548509" y="1104712"/>
                  <a:pt x="647726" y="1089872"/>
                </a:cubicBezTo>
                <a:cubicBezTo>
                  <a:pt x="647726" y="1084313"/>
                  <a:pt x="648180" y="1080225"/>
                  <a:pt x="647654" y="1076267"/>
                </a:cubicBezTo>
                <a:cubicBezTo>
                  <a:pt x="643515" y="1045124"/>
                  <a:pt x="633172" y="1016714"/>
                  <a:pt x="610267" y="994126"/>
                </a:cubicBezTo>
                <a:cubicBezTo>
                  <a:pt x="597451" y="981485"/>
                  <a:pt x="584392" y="969090"/>
                  <a:pt x="571459" y="956568"/>
                </a:cubicBezTo>
                <a:cubicBezTo>
                  <a:pt x="555751" y="941359"/>
                  <a:pt x="544836" y="923558"/>
                  <a:pt x="541653" y="901544"/>
                </a:cubicBezTo>
                <a:cubicBezTo>
                  <a:pt x="541430" y="900007"/>
                  <a:pt x="540528" y="898570"/>
                  <a:pt x="539477" y="895908"/>
                </a:cubicBezTo>
                <a:cubicBezTo>
                  <a:pt x="479736" y="901652"/>
                  <a:pt x="419815" y="904536"/>
                  <a:pt x="357446" y="903795"/>
                </a:cubicBezTo>
                <a:moveTo>
                  <a:pt x="300108" y="85260"/>
                </a:moveTo>
                <a:cubicBezTo>
                  <a:pt x="293656" y="98745"/>
                  <a:pt x="289202" y="113094"/>
                  <a:pt x="290213" y="127888"/>
                </a:cubicBezTo>
                <a:cubicBezTo>
                  <a:pt x="292527" y="161736"/>
                  <a:pt x="304185" y="191723"/>
                  <a:pt x="331056" y="214168"/>
                </a:cubicBezTo>
                <a:cubicBezTo>
                  <a:pt x="358172" y="236816"/>
                  <a:pt x="388435" y="249934"/>
                  <a:pt x="424717" y="245160"/>
                </a:cubicBezTo>
                <a:cubicBezTo>
                  <a:pt x="468593" y="239387"/>
                  <a:pt x="509574" y="203365"/>
                  <a:pt x="496752" y="141256"/>
                </a:cubicBezTo>
                <a:cubicBezTo>
                  <a:pt x="487021" y="94124"/>
                  <a:pt x="447261" y="51874"/>
                  <a:pt x="390320" y="43995"/>
                </a:cubicBezTo>
                <a:cubicBezTo>
                  <a:pt x="353241" y="38865"/>
                  <a:pt x="321136" y="48750"/>
                  <a:pt x="300108" y="85260"/>
                </a:cubicBezTo>
                <a:moveTo>
                  <a:pt x="343360" y="634332"/>
                </a:moveTo>
                <a:cubicBezTo>
                  <a:pt x="342539" y="666975"/>
                  <a:pt x="341785" y="699619"/>
                  <a:pt x="340877" y="732259"/>
                </a:cubicBezTo>
                <a:cubicBezTo>
                  <a:pt x="340151" y="758355"/>
                  <a:pt x="339265" y="784447"/>
                  <a:pt x="338360" y="810538"/>
                </a:cubicBezTo>
                <a:cubicBezTo>
                  <a:pt x="338277" y="812948"/>
                  <a:pt x="337465" y="815325"/>
                  <a:pt x="337115" y="817736"/>
                </a:cubicBezTo>
                <a:cubicBezTo>
                  <a:pt x="334935" y="832710"/>
                  <a:pt x="336026" y="847647"/>
                  <a:pt x="336516" y="863022"/>
                </a:cubicBezTo>
                <a:cubicBezTo>
                  <a:pt x="339537" y="863479"/>
                  <a:pt x="341490" y="864053"/>
                  <a:pt x="343436" y="864027"/>
                </a:cubicBezTo>
                <a:cubicBezTo>
                  <a:pt x="364531" y="863739"/>
                  <a:pt x="385626" y="863422"/>
                  <a:pt x="406718" y="862982"/>
                </a:cubicBezTo>
                <a:cubicBezTo>
                  <a:pt x="423444" y="862634"/>
                  <a:pt x="440168" y="861675"/>
                  <a:pt x="456888" y="861794"/>
                </a:cubicBezTo>
                <a:cubicBezTo>
                  <a:pt x="469887" y="861886"/>
                  <a:pt x="482872" y="863302"/>
                  <a:pt x="495873" y="863963"/>
                </a:cubicBezTo>
                <a:cubicBezTo>
                  <a:pt x="500358" y="864191"/>
                  <a:pt x="505108" y="864773"/>
                  <a:pt x="509286" y="863595"/>
                </a:cubicBezTo>
                <a:cubicBezTo>
                  <a:pt x="512346" y="862732"/>
                  <a:pt x="515714" y="859703"/>
                  <a:pt x="516956" y="856791"/>
                </a:cubicBezTo>
                <a:cubicBezTo>
                  <a:pt x="517783" y="854851"/>
                  <a:pt x="515475" y="851192"/>
                  <a:pt x="513920" y="848709"/>
                </a:cubicBezTo>
                <a:cubicBezTo>
                  <a:pt x="511791" y="845308"/>
                  <a:pt x="508393" y="842606"/>
                  <a:pt x="506683" y="839054"/>
                </a:cubicBezTo>
                <a:cubicBezTo>
                  <a:pt x="500331" y="825864"/>
                  <a:pt x="493224" y="812855"/>
                  <a:pt x="488629" y="799037"/>
                </a:cubicBezTo>
                <a:cubicBezTo>
                  <a:pt x="477322" y="765031"/>
                  <a:pt x="466537" y="730814"/>
                  <a:pt x="456922" y="696297"/>
                </a:cubicBezTo>
                <a:cubicBezTo>
                  <a:pt x="449953" y="671276"/>
                  <a:pt x="443477" y="646020"/>
                  <a:pt x="441346" y="619885"/>
                </a:cubicBezTo>
                <a:cubicBezTo>
                  <a:pt x="440327" y="607371"/>
                  <a:pt x="437466" y="595018"/>
                  <a:pt x="435963" y="582529"/>
                </a:cubicBezTo>
                <a:cubicBezTo>
                  <a:pt x="433539" y="562380"/>
                  <a:pt x="431154" y="542212"/>
                  <a:pt x="429497" y="521990"/>
                </a:cubicBezTo>
                <a:cubicBezTo>
                  <a:pt x="428135" y="505363"/>
                  <a:pt x="428437" y="488593"/>
                  <a:pt x="426887" y="471989"/>
                </a:cubicBezTo>
                <a:cubicBezTo>
                  <a:pt x="425874" y="461140"/>
                  <a:pt x="424983" y="461120"/>
                  <a:pt x="413744" y="461077"/>
                </a:cubicBezTo>
                <a:cubicBezTo>
                  <a:pt x="393687" y="461000"/>
                  <a:pt x="373630" y="461011"/>
                  <a:pt x="353573" y="461120"/>
                </a:cubicBezTo>
                <a:cubicBezTo>
                  <a:pt x="350472" y="461137"/>
                  <a:pt x="347374" y="461869"/>
                  <a:pt x="344160" y="462286"/>
                </a:cubicBezTo>
                <a:cubicBezTo>
                  <a:pt x="343828" y="465198"/>
                  <a:pt x="343406" y="467195"/>
                  <a:pt x="343404" y="469192"/>
                </a:cubicBezTo>
                <a:cubicBezTo>
                  <a:pt x="343360" y="504394"/>
                  <a:pt x="343267" y="539596"/>
                  <a:pt x="343469" y="574797"/>
                </a:cubicBezTo>
                <a:cubicBezTo>
                  <a:pt x="343501" y="580426"/>
                  <a:pt x="345652" y="586065"/>
                  <a:pt x="345522" y="591669"/>
                </a:cubicBezTo>
                <a:cubicBezTo>
                  <a:pt x="345214" y="605082"/>
                  <a:pt x="344131" y="618478"/>
                  <a:pt x="343360" y="634332"/>
                </a:cubicBezTo>
                <a:moveTo>
                  <a:pt x="416946" y="385943"/>
                </a:moveTo>
                <a:cubicBezTo>
                  <a:pt x="411661" y="386365"/>
                  <a:pt x="406384" y="387006"/>
                  <a:pt x="401091" y="387162"/>
                </a:cubicBezTo>
                <a:cubicBezTo>
                  <a:pt x="390470" y="387477"/>
                  <a:pt x="379841" y="387447"/>
                  <a:pt x="369218" y="387708"/>
                </a:cubicBezTo>
                <a:cubicBezTo>
                  <a:pt x="361167" y="387906"/>
                  <a:pt x="354429" y="391368"/>
                  <a:pt x="351833" y="398991"/>
                </a:cubicBezTo>
                <a:cubicBezTo>
                  <a:pt x="348989" y="407342"/>
                  <a:pt x="347050" y="416214"/>
                  <a:pt x="349778" y="426021"/>
                </a:cubicBezTo>
                <a:cubicBezTo>
                  <a:pt x="353876" y="426204"/>
                  <a:pt x="357857" y="426517"/>
                  <a:pt x="361839" y="426538"/>
                </a:cubicBezTo>
                <a:cubicBezTo>
                  <a:pt x="392900" y="426701"/>
                  <a:pt x="423961" y="426826"/>
                  <a:pt x="455022" y="426922"/>
                </a:cubicBezTo>
                <a:cubicBezTo>
                  <a:pt x="464013" y="426950"/>
                  <a:pt x="473106" y="427654"/>
                  <a:pt x="481958" y="426527"/>
                </a:cubicBezTo>
                <a:cubicBezTo>
                  <a:pt x="488144" y="425740"/>
                  <a:pt x="494821" y="423501"/>
                  <a:pt x="499817" y="419888"/>
                </a:cubicBezTo>
                <a:cubicBezTo>
                  <a:pt x="507869" y="414066"/>
                  <a:pt x="507286" y="406755"/>
                  <a:pt x="499439" y="400719"/>
                </a:cubicBezTo>
                <a:cubicBezTo>
                  <a:pt x="490179" y="393597"/>
                  <a:pt x="479486" y="388885"/>
                  <a:pt x="468062" y="387775"/>
                </a:cubicBezTo>
                <a:cubicBezTo>
                  <a:pt x="451873" y="386202"/>
                  <a:pt x="435520" y="386321"/>
                  <a:pt x="416946" y="385943"/>
                </a:cubicBezTo>
                <a:moveTo>
                  <a:pt x="636802" y="1190940"/>
                </a:moveTo>
                <a:cubicBezTo>
                  <a:pt x="646709" y="1188723"/>
                  <a:pt x="656705" y="1186841"/>
                  <a:pt x="666492" y="1184186"/>
                </a:cubicBezTo>
                <a:cubicBezTo>
                  <a:pt x="674710" y="1181958"/>
                  <a:pt x="676989" y="1178509"/>
                  <a:pt x="674465" y="1170880"/>
                </a:cubicBezTo>
                <a:cubicBezTo>
                  <a:pt x="671144" y="1160843"/>
                  <a:pt x="667026" y="1151009"/>
                  <a:pt x="662462" y="1141464"/>
                </a:cubicBezTo>
                <a:cubicBezTo>
                  <a:pt x="659273" y="1134795"/>
                  <a:pt x="653671" y="1130908"/>
                  <a:pt x="645564" y="1131937"/>
                </a:cubicBezTo>
                <a:cubicBezTo>
                  <a:pt x="639532" y="1132703"/>
                  <a:pt x="633423" y="1132867"/>
                  <a:pt x="627387" y="1133618"/>
                </a:cubicBezTo>
                <a:cubicBezTo>
                  <a:pt x="612888" y="1135421"/>
                  <a:pt x="598449" y="1137770"/>
                  <a:pt x="583917" y="1139222"/>
                </a:cubicBezTo>
                <a:cubicBezTo>
                  <a:pt x="570571" y="1140557"/>
                  <a:pt x="557130" y="1140930"/>
                  <a:pt x="543741" y="1141869"/>
                </a:cubicBezTo>
                <a:cubicBezTo>
                  <a:pt x="533202" y="1142610"/>
                  <a:pt x="522682" y="1143623"/>
                  <a:pt x="512146" y="1144418"/>
                </a:cubicBezTo>
                <a:cubicBezTo>
                  <a:pt x="490671" y="1146038"/>
                  <a:pt x="469214" y="1148450"/>
                  <a:pt x="447711" y="1148973"/>
                </a:cubicBezTo>
                <a:cubicBezTo>
                  <a:pt x="415817" y="1149749"/>
                  <a:pt x="383891" y="1149136"/>
                  <a:pt x="351979" y="1149200"/>
                </a:cubicBezTo>
                <a:cubicBezTo>
                  <a:pt x="347698" y="1149209"/>
                  <a:pt x="343419" y="1149717"/>
                  <a:pt x="338443" y="1150040"/>
                </a:cubicBezTo>
                <a:cubicBezTo>
                  <a:pt x="338443" y="1164651"/>
                  <a:pt x="338413" y="1177715"/>
                  <a:pt x="338451" y="1190780"/>
                </a:cubicBezTo>
                <a:cubicBezTo>
                  <a:pt x="338490" y="1204031"/>
                  <a:pt x="338512" y="1204062"/>
                  <a:pt x="351082" y="1207015"/>
                </a:cubicBezTo>
                <a:cubicBezTo>
                  <a:pt x="353445" y="1207570"/>
                  <a:pt x="355895" y="1208128"/>
                  <a:pt x="358298" y="1208094"/>
                </a:cubicBezTo>
                <a:cubicBezTo>
                  <a:pt x="412608" y="1207329"/>
                  <a:pt x="466919" y="1206484"/>
                  <a:pt x="521229" y="1205646"/>
                </a:cubicBezTo>
                <a:cubicBezTo>
                  <a:pt x="522045" y="1205634"/>
                  <a:pt x="522865" y="1205591"/>
                  <a:pt x="523675" y="1205490"/>
                </a:cubicBezTo>
                <a:cubicBezTo>
                  <a:pt x="542593" y="1203123"/>
                  <a:pt x="561519" y="1200820"/>
                  <a:pt x="580423" y="1198350"/>
                </a:cubicBezTo>
                <a:cubicBezTo>
                  <a:pt x="598523" y="1195985"/>
                  <a:pt x="616599" y="1193446"/>
                  <a:pt x="636802" y="1190940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8" name="Free-form: Shape 337">
            <a:extLst>
              <a:ext uri="{FF2B5EF4-FFF2-40B4-BE49-F238E27FC236}">
                <a16:creationId xmlns:a16="http://schemas.microsoft.com/office/drawing/2014/main" id="{A4F3D11C-83FC-29D4-B383-E555503B6C1E}"/>
              </a:ext>
            </a:extLst>
          </p:cNvPr>
          <p:cNvSpPr/>
          <p:nvPr/>
        </p:nvSpPr>
        <p:spPr>
          <a:xfrm>
            <a:off x="6425636" y="5313968"/>
            <a:ext cx="18902" cy="1998"/>
          </a:xfrm>
          <a:custGeom>
            <a:avLst/>
            <a:gdLst>
              <a:gd name="csX0" fmla="*/ 0 w 27674"/>
              <a:gd name="csY0" fmla="*/ 2915 h 2925"/>
              <a:gd name="csX1" fmla="*/ 27675 w 27674"/>
              <a:gd name="csY1" fmla="*/ 1550 h 2925"/>
              <a:gd name="csX2" fmla="*/ 0 w 27674"/>
              <a:gd name="csY2" fmla="*/ 2915 h 292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27674" h="2925">
                <a:moveTo>
                  <a:pt x="0" y="2915"/>
                </a:moveTo>
                <a:cubicBezTo>
                  <a:pt x="8211" y="-1939"/>
                  <a:pt x="17625" y="498"/>
                  <a:pt x="27675" y="1550"/>
                </a:cubicBezTo>
                <a:cubicBezTo>
                  <a:pt x="19225" y="2593"/>
                  <a:pt x="10029" y="2999"/>
                  <a:pt x="0" y="2915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9" name="Free-form: Shape 338">
            <a:extLst>
              <a:ext uri="{FF2B5EF4-FFF2-40B4-BE49-F238E27FC236}">
                <a16:creationId xmlns:a16="http://schemas.microsoft.com/office/drawing/2014/main" id="{FC3B1F37-13DE-696B-2516-3F31567E2D25}"/>
              </a:ext>
            </a:extLst>
          </p:cNvPr>
          <p:cNvSpPr/>
          <p:nvPr/>
        </p:nvSpPr>
        <p:spPr>
          <a:xfrm>
            <a:off x="6373601" y="5315094"/>
            <a:ext cx="12297" cy="770"/>
          </a:xfrm>
          <a:custGeom>
            <a:avLst/>
            <a:gdLst>
              <a:gd name="csX0" fmla="*/ 0 w 18003"/>
              <a:gd name="csY0" fmla="*/ 1050 h 1128"/>
              <a:gd name="csX1" fmla="*/ 18004 w 18003"/>
              <a:gd name="csY1" fmla="*/ 93 h 1128"/>
              <a:gd name="csX2" fmla="*/ 0 w 18003"/>
              <a:gd name="csY2" fmla="*/ 1050 h 112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8003" h="1128">
                <a:moveTo>
                  <a:pt x="0" y="1050"/>
                </a:moveTo>
                <a:cubicBezTo>
                  <a:pt x="5276" y="182"/>
                  <a:pt x="11306" y="-189"/>
                  <a:pt x="18004" y="93"/>
                </a:cubicBezTo>
                <a:cubicBezTo>
                  <a:pt x="12699" y="1013"/>
                  <a:pt x="6726" y="1280"/>
                  <a:pt x="0" y="1050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0" name="Free-form: Shape 339">
            <a:extLst>
              <a:ext uri="{FF2B5EF4-FFF2-40B4-BE49-F238E27FC236}">
                <a16:creationId xmlns:a16="http://schemas.microsoft.com/office/drawing/2014/main" id="{5003D089-AC9C-F6C2-FBF4-880881127190}"/>
              </a:ext>
            </a:extLst>
          </p:cNvPr>
          <p:cNvSpPr/>
          <p:nvPr/>
        </p:nvSpPr>
        <p:spPr>
          <a:xfrm>
            <a:off x="6462665" y="4691614"/>
            <a:ext cx="5783" cy="5354"/>
          </a:xfrm>
          <a:custGeom>
            <a:avLst/>
            <a:gdLst>
              <a:gd name="csX0" fmla="*/ 473 w 8466"/>
              <a:gd name="csY0" fmla="*/ 7839 h 7838"/>
              <a:gd name="csX1" fmla="*/ 8466 w 8466"/>
              <a:gd name="csY1" fmla="*/ 61 h 7838"/>
              <a:gd name="csX2" fmla="*/ 473 w 8466"/>
              <a:gd name="csY2" fmla="*/ 7839 h 783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66" h="7838">
                <a:moveTo>
                  <a:pt x="473" y="7839"/>
                </a:moveTo>
                <a:cubicBezTo>
                  <a:pt x="-1298" y="1550"/>
                  <a:pt x="2020" y="-386"/>
                  <a:pt x="8466" y="61"/>
                </a:cubicBezTo>
                <a:cubicBezTo>
                  <a:pt x="6730" y="2845"/>
                  <a:pt x="4026" y="5401"/>
                  <a:pt x="473" y="7839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1" name="Free-form: Shape 340">
            <a:extLst>
              <a:ext uri="{FF2B5EF4-FFF2-40B4-BE49-F238E27FC236}">
                <a16:creationId xmlns:a16="http://schemas.microsoft.com/office/drawing/2014/main" id="{50119FF9-48A3-E65D-219A-83E0DB72B5AF}"/>
              </a:ext>
            </a:extLst>
          </p:cNvPr>
          <p:cNvSpPr/>
          <p:nvPr/>
        </p:nvSpPr>
        <p:spPr>
          <a:xfrm>
            <a:off x="6313069" y="5313428"/>
            <a:ext cx="5792" cy="680"/>
          </a:xfrm>
          <a:custGeom>
            <a:avLst/>
            <a:gdLst>
              <a:gd name="csX0" fmla="*/ 0 w 8480"/>
              <a:gd name="csY0" fmla="*/ 896 h 996"/>
              <a:gd name="csX1" fmla="*/ 8480 w 8480"/>
              <a:gd name="csY1" fmla="*/ 110 h 996"/>
              <a:gd name="csX2" fmla="*/ 0 w 8480"/>
              <a:gd name="csY2" fmla="*/ 896 h 99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80" h="996">
                <a:moveTo>
                  <a:pt x="0" y="896"/>
                </a:moveTo>
                <a:cubicBezTo>
                  <a:pt x="2285" y="115"/>
                  <a:pt x="5130" y="-182"/>
                  <a:pt x="8480" y="110"/>
                </a:cubicBezTo>
                <a:cubicBezTo>
                  <a:pt x="6177" y="927"/>
                  <a:pt x="3368" y="1153"/>
                  <a:pt x="0" y="896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2" name="Free-form: Shape 341">
            <a:extLst>
              <a:ext uri="{FF2B5EF4-FFF2-40B4-BE49-F238E27FC236}">
                <a16:creationId xmlns:a16="http://schemas.microsoft.com/office/drawing/2014/main" id="{28738C2F-0C67-2758-C50F-EB41047A6166}"/>
              </a:ext>
            </a:extLst>
          </p:cNvPr>
          <p:cNvSpPr/>
          <p:nvPr/>
        </p:nvSpPr>
        <p:spPr>
          <a:xfrm>
            <a:off x="6628506" y="5284247"/>
            <a:ext cx="840" cy="4547"/>
          </a:xfrm>
          <a:custGeom>
            <a:avLst/>
            <a:gdLst>
              <a:gd name="csX0" fmla="*/ 132 w 1229"/>
              <a:gd name="csY0" fmla="*/ 6659 h 6658"/>
              <a:gd name="csX1" fmla="*/ 1107 w 1229"/>
              <a:gd name="csY1" fmla="*/ 0 h 6658"/>
              <a:gd name="csX2" fmla="*/ 132 w 1229"/>
              <a:gd name="csY2" fmla="*/ 6659 h 665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229" h="6658">
                <a:moveTo>
                  <a:pt x="132" y="6659"/>
                </a:moveTo>
                <a:cubicBezTo>
                  <a:pt x="-219" y="4616"/>
                  <a:pt x="139" y="2560"/>
                  <a:pt x="1107" y="0"/>
                </a:cubicBezTo>
                <a:cubicBezTo>
                  <a:pt x="1425" y="1879"/>
                  <a:pt x="1133" y="4263"/>
                  <a:pt x="132" y="6659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3" name="Free-form: Shape 342">
            <a:extLst>
              <a:ext uri="{FF2B5EF4-FFF2-40B4-BE49-F238E27FC236}">
                <a16:creationId xmlns:a16="http://schemas.microsoft.com/office/drawing/2014/main" id="{A371F314-8C18-9566-AAAC-31582428300B}"/>
              </a:ext>
            </a:extLst>
          </p:cNvPr>
          <p:cNvSpPr/>
          <p:nvPr/>
        </p:nvSpPr>
        <p:spPr>
          <a:xfrm>
            <a:off x="6554590" y="5306552"/>
            <a:ext cx="2588" cy="931"/>
          </a:xfrm>
          <a:custGeom>
            <a:avLst/>
            <a:gdLst>
              <a:gd name="csX0" fmla="*/ 0 w 3788"/>
              <a:gd name="csY0" fmla="*/ 1364 h 1364"/>
              <a:gd name="csX1" fmla="*/ 3788 w 3788"/>
              <a:gd name="csY1" fmla="*/ 0 h 1364"/>
              <a:gd name="csX2" fmla="*/ 0 w 3788"/>
              <a:gd name="csY2" fmla="*/ 1364 h 136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788" h="1364">
                <a:moveTo>
                  <a:pt x="0" y="1364"/>
                </a:moveTo>
                <a:cubicBezTo>
                  <a:pt x="856" y="517"/>
                  <a:pt x="2126" y="39"/>
                  <a:pt x="3788" y="0"/>
                </a:cubicBezTo>
                <a:cubicBezTo>
                  <a:pt x="2925" y="870"/>
                  <a:pt x="1670" y="1303"/>
                  <a:pt x="0" y="1364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4" name="Free-form: Shape 343">
            <a:extLst>
              <a:ext uri="{FF2B5EF4-FFF2-40B4-BE49-F238E27FC236}">
                <a16:creationId xmlns:a16="http://schemas.microsoft.com/office/drawing/2014/main" id="{39A52486-7E07-D552-5784-2DA4683BECCD}"/>
              </a:ext>
            </a:extLst>
          </p:cNvPr>
          <p:cNvSpPr/>
          <p:nvPr/>
        </p:nvSpPr>
        <p:spPr>
          <a:xfrm>
            <a:off x="6255850" y="5310152"/>
            <a:ext cx="2726" cy="566"/>
          </a:xfrm>
          <a:custGeom>
            <a:avLst/>
            <a:gdLst>
              <a:gd name="csX0" fmla="*/ 0 w 3990"/>
              <a:gd name="csY0" fmla="*/ 719 h 829"/>
              <a:gd name="csX1" fmla="*/ 3990 w 3990"/>
              <a:gd name="csY1" fmla="*/ 119 h 829"/>
              <a:gd name="csX2" fmla="*/ 0 w 3990"/>
              <a:gd name="csY2" fmla="*/ 719 h 82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990" h="829">
                <a:moveTo>
                  <a:pt x="0" y="719"/>
                </a:moveTo>
                <a:cubicBezTo>
                  <a:pt x="982" y="66"/>
                  <a:pt x="2323" y="-163"/>
                  <a:pt x="3990" y="119"/>
                </a:cubicBezTo>
                <a:cubicBezTo>
                  <a:pt x="2998" y="800"/>
                  <a:pt x="1678" y="972"/>
                  <a:pt x="0" y="719"/>
                </a:cubicBezTo>
                <a:close/>
              </a:path>
            </a:pathLst>
          </a:custGeom>
          <a:solidFill>
            <a:srgbClr val="959DA0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5" name="Free-form: Shape 344">
            <a:extLst>
              <a:ext uri="{FF2B5EF4-FFF2-40B4-BE49-F238E27FC236}">
                <a16:creationId xmlns:a16="http://schemas.microsoft.com/office/drawing/2014/main" id="{34828C4C-2860-BE62-3FA9-C3158810ACC8}"/>
              </a:ext>
            </a:extLst>
          </p:cNvPr>
          <p:cNvSpPr/>
          <p:nvPr/>
        </p:nvSpPr>
        <p:spPr>
          <a:xfrm>
            <a:off x="6487452" y="5313405"/>
            <a:ext cx="2659" cy="775"/>
          </a:xfrm>
          <a:custGeom>
            <a:avLst/>
            <a:gdLst>
              <a:gd name="csX0" fmla="*/ 0 w 3893"/>
              <a:gd name="csY0" fmla="*/ 1133 h 1135"/>
              <a:gd name="csX1" fmla="*/ 3893 w 3893"/>
              <a:gd name="csY1" fmla="*/ 7 h 1135"/>
              <a:gd name="csX2" fmla="*/ 0 w 3893"/>
              <a:gd name="csY2" fmla="*/ 1133 h 113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3893" h="1135">
                <a:moveTo>
                  <a:pt x="0" y="1133"/>
                </a:moveTo>
                <a:cubicBezTo>
                  <a:pt x="902" y="349"/>
                  <a:pt x="2213" y="-60"/>
                  <a:pt x="3893" y="7"/>
                </a:cubicBezTo>
                <a:cubicBezTo>
                  <a:pt x="2978" y="825"/>
                  <a:pt x="1693" y="1167"/>
                  <a:pt x="0" y="1133"/>
                </a:cubicBezTo>
                <a:close/>
              </a:path>
            </a:pathLst>
          </a:custGeom>
          <a:solidFill>
            <a:schemeClr val="bg1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6" name="Free-form: Shape 345">
            <a:extLst>
              <a:ext uri="{FF2B5EF4-FFF2-40B4-BE49-F238E27FC236}">
                <a16:creationId xmlns:a16="http://schemas.microsoft.com/office/drawing/2014/main" id="{E48FA7B1-DB1E-3318-B894-81BE75D2DE07}"/>
              </a:ext>
            </a:extLst>
          </p:cNvPr>
          <p:cNvSpPr/>
          <p:nvPr/>
        </p:nvSpPr>
        <p:spPr>
          <a:xfrm>
            <a:off x="6377896" y="4780274"/>
            <a:ext cx="123846" cy="275447"/>
          </a:xfrm>
          <a:custGeom>
            <a:avLst/>
            <a:gdLst>
              <a:gd name="csX0" fmla="*/ 7554 w 181323"/>
              <a:gd name="csY0" fmla="*/ 172079 h 403282"/>
              <a:gd name="csX1" fmla="*/ 9716 w 181323"/>
              <a:gd name="csY1" fmla="*/ 130641 h 403282"/>
              <a:gd name="csX2" fmla="*/ 7663 w 181323"/>
              <a:gd name="csY2" fmla="*/ 113770 h 403282"/>
              <a:gd name="csX3" fmla="*/ 7598 w 181323"/>
              <a:gd name="csY3" fmla="*/ 8165 h 403282"/>
              <a:gd name="csX4" fmla="*/ 8353 w 181323"/>
              <a:gd name="csY4" fmla="*/ 1259 h 403282"/>
              <a:gd name="csX5" fmla="*/ 17767 w 181323"/>
              <a:gd name="csY5" fmla="*/ 93 h 403282"/>
              <a:gd name="csX6" fmla="*/ 77938 w 181323"/>
              <a:gd name="csY6" fmla="*/ 50 h 403282"/>
              <a:gd name="csX7" fmla="*/ 91081 w 181323"/>
              <a:gd name="csY7" fmla="*/ 10962 h 403282"/>
              <a:gd name="csX8" fmla="*/ 93691 w 181323"/>
              <a:gd name="csY8" fmla="*/ 60963 h 403282"/>
              <a:gd name="csX9" fmla="*/ 100157 w 181323"/>
              <a:gd name="csY9" fmla="*/ 121501 h 403282"/>
              <a:gd name="csX10" fmla="*/ 105540 w 181323"/>
              <a:gd name="csY10" fmla="*/ 158857 h 403282"/>
              <a:gd name="csX11" fmla="*/ 121116 w 181323"/>
              <a:gd name="csY11" fmla="*/ 235269 h 403282"/>
              <a:gd name="csX12" fmla="*/ 152823 w 181323"/>
              <a:gd name="csY12" fmla="*/ 338010 h 403282"/>
              <a:gd name="csX13" fmla="*/ 170877 w 181323"/>
              <a:gd name="csY13" fmla="*/ 378027 h 403282"/>
              <a:gd name="csX14" fmla="*/ 178114 w 181323"/>
              <a:gd name="csY14" fmla="*/ 387682 h 403282"/>
              <a:gd name="csX15" fmla="*/ 181150 w 181323"/>
              <a:gd name="csY15" fmla="*/ 395764 h 403282"/>
              <a:gd name="csX16" fmla="*/ 173480 w 181323"/>
              <a:gd name="csY16" fmla="*/ 402568 h 403282"/>
              <a:gd name="csX17" fmla="*/ 160067 w 181323"/>
              <a:gd name="csY17" fmla="*/ 402936 h 403282"/>
              <a:gd name="csX18" fmla="*/ 121081 w 181323"/>
              <a:gd name="csY18" fmla="*/ 400766 h 403282"/>
              <a:gd name="csX19" fmla="*/ 70912 w 181323"/>
              <a:gd name="csY19" fmla="*/ 401955 h 403282"/>
              <a:gd name="csX20" fmla="*/ 7630 w 181323"/>
              <a:gd name="csY20" fmla="*/ 402999 h 403282"/>
              <a:gd name="csX21" fmla="*/ 710 w 181323"/>
              <a:gd name="csY21" fmla="*/ 401995 h 403282"/>
              <a:gd name="csX22" fmla="*/ 1308 w 181323"/>
              <a:gd name="csY22" fmla="*/ 356708 h 403282"/>
              <a:gd name="csX23" fmla="*/ 2554 w 181323"/>
              <a:gd name="csY23" fmla="*/ 349510 h 403282"/>
              <a:gd name="csX24" fmla="*/ 5071 w 181323"/>
              <a:gd name="csY24" fmla="*/ 271231 h 403282"/>
              <a:gd name="csX25" fmla="*/ 7554 w 181323"/>
              <a:gd name="csY25" fmla="*/ 172079 h 403282"/>
              <a:gd name="csX26" fmla="*/ 98286 w 181323"/>
              <a:gd name="csY26" fmla="*/ 163566 h 403282"/>
              <a:gd name="csX27" fmla="*/ 83497 w 181323"/>
              <a:gd name="csY27" fmla="*/ 8289 h 403282"/>
              <a:gd name="csX28" fmla="*/ 15161 w 181323"/>
              <a:gd name="csY28" fmla="*/ 9148 h 403282"/>
              <a:gd name="csX29" fmla="*/ 15058 w 181323"/>
              <a:gd name="csY29" fmla="*/ 137939 h 403282"/>
              <a:gd name="csX30" fmla="*/ 12252 w 181323"/>
              <a:gd name="csY30" fmla="*/ 266862 h 403282"/>
              <a:gd name="csX31" fmla="*/ 7068 w 181323"/>
              <a:gd name="csY31" fmla="*/ 395996 h 403282"/>
              <a:gd name="csX32" fmla="*/ 171647 w 181323"/>
              <a:gd name="csY32" fmla="*/ 395996 h 403282"/>
              <a:gd name="csX33" fmla="*/ 119950 w 181323"/>
              <a:gd name="csY33" fmla="*/ 259496 h 403282"/>
              <a:gd name="csX34" fmla="*/ 98286 w 181323"/>
              <a:gd name="csY34" fmla="*/ 163566 h 40328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</a:cxnLst>
            <a:rect l="l" t="t" r="r" b="b"/>
            <a:pathLst>
              <a:path w="181323" h="403282">
                <a:moveTo>
                  <a:pt x="7554" y="172079"/>
                </a:moveTo>
                <a:cubicBezTo>
                  <a:pt x="8325" y="157451"/>
                  <a:pt x="9408" y="144055"/>
                  <a:pt x="9716" y="130641"/>
                </a:cubicBezTo>
                <a:cubicBezTo>
                  <a:pt x="9846" y="125037"/>
                  <a:pt x="7695" y="119399"/>
                  <a:pt x="7663" y="113770"/>
                </a:cubicBezTo>
                <a:cubicBezTo>
                  <a:pt x="7461" y="78569"/>
                  <a:pt x="7554" y="43367"/>
                  <a:pt x="7598" y="8165"/>
                </a:cubicBezTo>
                <a:cubicBezTo>
                  <a:pt x="7600" y="6167"/>
                  <a:pt x="8022" y="4170"/>
                  <a:pt x="8353" y="1259"/>
                </a:cubicBezTo>
                <a:cubicBezTo>
                  <a:pt x="11568" y="842"/>
                  <a:pt x="14666" y="109"/>
                  <a:pt x="17767" y="93"/>
                </a:cubicBezTo>
                <a:cubicBezTo>
                  <a:pt x="37824" y="-17"/>
                  <a:pt x="57881" y="-27"/>
                  <a:pt x="77938" y="50"/>
                </a:cubicBezTo>
                <a:cubicBezTo>
                  <a:pt x="89177" y="93"/>
                  <a:pt x="90068" y="113"/>
                  <a:pt x="91081" y="10962"/>
                </a:cubicBezTo>
                <a:cubicBezTo>
                  <a:pt x="92631" y="27565"/>
                  <a:pt x="92329" y="44335"/>
                  <a:pt x="93691" y="60963"/>
                </a:cubicBezTo>
                <a:cubicBezTo>
                  <a:pt x="95348" y="81184"/>
                  <a:pt x="97732" y="101353"/>
                  <a:pt x="100157" y="121501"/>
                </a:cubicBezTo>
                <a:cubicBezTo>
                  <a:pt x="101660" y="133990"/>
                  <a:pt x="104521" y="146343"/>
                  <a:pt x="105540" y="158857"/>
                </a:cubicBezTo>
                <a:cubicBezTo>
                  <a:pt x="107671" y="184993"/>
                  <a:pt x="114147" y="210249"/>
                  <a:pt x="121116" y="235269"/>
                </a:cubicBezTo>
                <a:cubicBezTo>
                  <a:pt x="130731" y="269786"/>
                  <a:pt x="141516" y="304004"/>
                  <a:pt x="152823" y="338010"/>
                </a:cubicBezTo>
                <a:cubicBezTo>
                  <a:pt x="157418" y="351828"/>
                  <a:pt x="164524" y="364837"/>
                  <a:pt x="170877" y="378027"/>
                </a:cubicBezTo>
                <a:cubicBezTo>
                  <a:pt x="172587" y="381579"/>
                  <a:pt x="175985" y="384280"/>
                  <a:pt x="178114" y="387682"/>
                </a:cubicBezTo>
                <a:cubicBezTo>
                  <a:pt x="179669" y="390165"/>
                  <a:pt x="181977" y="393824"/>
                  <a:pt x="181150" y="395764"/>
                </a:cubicBezTo>
                <a:cubicBezTo>
                  <a:pt x="179907" y="398676"/>
                  <a:pt x="176540" y="401705"/>
                  <a:pt x="173480" y="402568"/>
                </a:cubicBezTo>
                <a:cubicBezTo>
                  <a:pt x="169302" y="403746"/>
                  <a:pt x="164551" y="403164"/>
                  <a:pt x="160067" y="402936"/>
                </a:cubicBezTo>
                <a:cubicBezTo>
                  <a:pt x="147066" y="402274"/>
                  <a:pt x="134081" y="400859"/>
                  <a:pt x="121081" y="400766"/>
                </a:cubicBezTo>
                <a:cubicBezTo>
                  <a:pt x="104362" y="400647"/>
                  <a:pt x="87638" y="401607"/>
                  <a:pt x="70912" y="401955"/>
                </a:cubicBezTo>
                <a:cubicBezTo>
                  <a:pt x="49820" y="402394"/>
                  <a:pt x="28725" y="402712"/>
                  <a:pt x="7630" y="402999"/>
                </a:cubicBezTo>
                <a:cubicBezTo>
                  <a:pt x="5684" y="403026"/>
                  <a:pt x="3731" y="402452"/>
                  <a:pt x="710" y="401995"/>
                </a:cubicBezTo>
                <a:cubicBezTo>
                  <a:pt x="219" y="386620"/>
                  <a:pt x="-871" y="371682"/>
                  <a:pt x="1308" y="356708"/>
                </a:cubicBezTo>
                <a:cubicBezTo>
                  <a:pt x="1659" y="354298"/>
                  <a:pt x="2471" y="351920"/>
                  <a:pt x="2554" y="349510"/>
                </a:cubicBezTo>
                <a:cubicBezTo>
                  <a:pt x="3459" y="323419"/>
                  <a:pt x="4345" y="297328"/>
                  <a:pt x="5071" y="271231"/>
                </a:cubicBezTo>
                <a:cubicBezTo>
                  <a:pt x="5979" y="238591"/>
                  <a:pt x="6733" y="205947"/>
                  <a:pt x="7554" y="172079"/>
                </a:cubicBezTo>
                <a:moveTo>
                  <a:pt x="98286" y="163566"/>
                </a:moveTo>
                <a:cubicBezTo>
                  <a:pt x="89288" y="112116"/>
                  <a:pt x="86355" y="60033"/>
                  <a:pt x="83497" y="8289"/>
                </a:cubicBezTo>
                <a:cubicBezTo>
                  <a:pt x="65606" y="5845"/>
                  <a:pt x="24110" y="6470"/>
                  <a:pt x="15161" y="9148"/>
                </a:cubicBezTo>
                <a:cubicBezTo>
                  <a:pt x="15161" y="52045"/>
                  <a:pt x="15527" y="94996"/>
                  <a:pt x="15058" y="137939"/>
                </a:cubicBezTo>
                <a:cubicBezTo>
                  <a:pt x="14587" y="180919"/>
                  <a:pt x="13597" y="223900"/>
                  <a:pt x="12252" y="266862"/>
                </a:cubicBezTo>
                <a:cubicBezTo>
                  <a:pt x="10912" y="309638"/>
                  <a:pt x="8849" y="352391"/>
                  <a:pt x="7068" y="395996"/>
                </a:cubicBezTo>
                <a:cubicBezTo>
                  <a:pt x="62774" y="395996"/>
                  <a:pt x="116821" y="395996"/>
                  <a:pt x="171647" y="395996"/>
                </a:cubicBezTo>
                <a:cubicBezTo>
                  <a:pt x="148550" y="352016"/>
                  <a:pt x="132566" y="306307"/>
                  <a:pt x="119950" y="259496"/>
                </a:cubicBezTo>
                <a:cubicBezTo>
                  <a:pt x="111608" y="228543"/>
                  <a:pt x="105493" y="196989"/>
                  <a:pt x="98286" y="163566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7" name="Free-form: Shape 346">
            <a:extLst>
              <a:ext uri="{FF2B5EF4-FFF2-40B4-BE49-F238E27FC236}">
                <a16:creationId xmlns:a16="http://schemas.microsoft.com/office/drawing/2014/main" id="{595ADA50-66F5-A462-6AF4-4E50DAADEAA8}"/>
              </a:ext>
            </a:extLst>
          </p:cNvPr>
          <p:cNvSpPr/>
          <p:nvPr/>
        </p:nvSpPr>
        <p:spPr>
          <a:xfrm>
            <a:off x="6379690" y="5238403"/>
            <a:ext cx="230181" cy="52128"/>
          </a:xfrm>
          <a:custGeom>
            <a:avLst/>
            <a:gdLst>
              <a:gd name="csX0" fmla="*/ 297312 w 337008"/>
              <a:gd name="csY0" fmla="*/ 59188 h 76321"/>
              <a:gd name="csX1" fmla="*/ 241991 w 337008"/>
              <a:gd name="csY1" fmla="*/ 66577 h 76321"/>
              <a:gd name="csX2" fmla="*/ 185243 w 337008"/>
              <a:gd name="csY2" fmla="*/ 73717 h 76321"/>
              <a:gd name="csX3" fmla="*/ 182797 w 337008"/>
              <a:gd name="csY3" fmla="*/ 73873 h 76321"/>
              <a:gd name="csX4" fmla="*/ 19866 w 337008"/>
              <a:gd name="csY4" fmla="*/ 76320 h 76321"/>
              <a:gd name="csX5" fmla="*/ 12650 w 337008"/>
              <a:gd name="csY5" fmla="*/ 75242 h 76321"/>
              <a:gd name="csX6" fmla="*/ 19 w 337008"/>
              <a:gd name="csY6" fmla="*/ 59006 h 76321"/>
              <a:gd name="csX7" fmla="*/ 11 w 337008"/>
              <a:gd name="csY7" fmla="*/ 18266 h 76321"/>
              <a:gd name="csX8" fmla="*/ 13547 w 337008"/>
              <a:gd name="csY8" fmla="*/ 17427 h 76321"/>
              <a:gd name="csX9" fmla="*/ 109279 w 337008"/>
              <a:gd name="csY9" fmla="*/ 17200 h 76321"/>
              <a:gd name="csX10" fmla="*/ 173714 w 337008"/>
              <a:gd name="csY10" fmla="*/ 12645 h 76321"/>
              <a:gd name="csX11" fmla="*/ 205309 w 337008"/>
              <a:gd name="csY11" fmla="*/ 10096 h 76321"/>
              <a:gd name="csX12" fmla="*/ 245485 w 337008"/>
              <a:gd name="csY12" fmla="*/ 7449 h 76321"/>
              <a:gd name="csX13" fmla="*/ 288955 w 337008"/>
              <a:gd name="csY13" fmla="*/ 1844 h 76321"/>
              <a:gd name="csX14" fmla="*/ 307132 w 337008"/>
              <a:gd name="csY14" fmla="*/ 164 h 76321"/>
              <a:gd name="csX15" fmla="*/ 324030 w 337008"/>
              <a:gd name="csY15" fmla="*/ 9691 h 76321"/>
              <a:gd name="csX16" fmla="*/ 336033 w 337008"/>
              <a:gd name="csY16" fmla="*/ 39107 h 76321"/>
              <a:gd name="csX17" fmla="*/ 328060 w 337008"/>
              <a:gd name="csY17" fmla="*/ 52413 h 76321"/>
              <a:gd name="csX18" fmla="*/ 297312 w 337008"/>
              <a:gd name="csY18" fmla="*/ 59188 h 76321"/>
              <a:gd name="csX19" fmla="*/ 207688 w 337008"/>
              <a:gd name="csY19" fmla="*/ 64284 h 76321"/>
              <a:gd name="csX20" fmla="*/ 330050 w 337008"/>
              <a:gd name="csY20" fmla="*/ 45606 h 76321"/>
              <a:gd name="csX21" fmla="*/ 317356 w 337008"/>
              <a:gd name="csY21" fmla="*/ 11297 h 76321"/>
              <a:gd name="csX22" fmla="*/ 304170 w 337008"/>
              <a:gd name="csY22" fmla="*/ 5545 h 76321"/>
              <a:gd name="csX23" fmla="*/ 273851 w 337008"/>
              <a:gd name="csY23" fmla="*/ 10014 h 76321"/>
              <a:gd name="csX24" fmla="*/ 163935 w 337008"/>
              <a:gd name="csY24" fmla="*/ 20274 h 76321"/>
              <a:gd name="csX25" fmla="*/ 17973 w 337008"/>
              <a:gd name="csY25" fmla="*/ 22950 h 76321"/>
              <a:gd name="csX26" fmla="*/ 7372 w 337008"/>
              <a:gd name="csY26" fmla="*/ 23601 h 76321"/>
              <a:gd name="csX27" fmla="*/ 7372 w 337008"/>
              <a:gd name="csY27" fmla="*/ 67898 h 76321"/>
              <a:gd name="csX28" fmla="*/ 207688 w 337008"/>
              <a:gd name="csY28" fmla="*/ 64284 h 7632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</a:cxnLst>
            <a:rect l="l" t="t" r="r" b="b"/>
            <a:pathLst>
              <a:path w="337008" h="76321">
                <a:moveTo>
                  <a:pt x="297312" y="59188"/>
                </a:moveTo>
                <a:cubicBezTo>
                  <a:pt x="278167" y="61672"/>
                  <a:pt x="260091" y="64212"/>
                  <a:pt x="241991" y="66577"/>
                </a:cubicBezTo>
                <a:cubicBezTo>
                  <a:pt x="223087" y="69047"/>
                  <a:pt x="204161" y="71350"/>
                  <a:pt x="185243" y="73717"/>
                </a:cubicBezTo>
                <a:cubicBezTo>
                  <a:pt x="184433" y="73818"/>
                  <a:pt x="183613" y="73861"/>
                  <a:pt x="182797" y="73873"/>
                </a:cubicBezTo>
                <a:cubicBezTo>
                  <a:pt x="128487" y="74710"/>
                  <a:pt x="74176" y="75556"/>
                  <a:pt x="19866" y="76320"/>
                </a:cubicBezTo>
                <a:cubicBezTo>
                  <a:pt x="17463" y="76354"/>
                  <a:pt x="15013" y="75797"/>
                  <a:pt x="12650" y="75242"/>
                </a:cubicBezTo>
                <a:cubicBezTo>
                  <a:pt x="80" y="72288"/>
                  <a:pt x="58" y="72258"/>
                  <a:pt x="19" y="59006"/>
                </a:cubicBezTo>
                <a:cubicBezTo>
                  <a:pt x="-19" y="45942"/>
                  <a:pt x="11" y="32877"/>
                  <a:pt x="11" y="18266"/>
                </a:cubicBezTo>
                <a:cubicBezTo>
                  <a:pt x="4987" y="17944"/>
                  <a:pt x="9266" y="17435"/>
                  <a:pt x="13547" y="17427"/>
                </a:cubicBezTo>
                <a:cubicBezTo>
                  <a:pt x="45459" y="17362"/>
                  <a:pt x="77385" y="17975"/>
                  <a:pt x="109279" y="17200"/>
                </a:cubicBezTo>
                <a:cubicBezTo>
                  <a:pt x="130782" y="16677"/>
                  <a:pt x="152239" y="14265"/>
                  <a:pt x="173714" y="12645"/>
                </a:cubicBezTo>
                <a:cubicBezTo>
                  <a:pt x="184250" y="11850"/>
                  <a:pt x="194770" y="10836"/>
                  <a:pt x="205309" y="10096"/>
                </a:cubicBezTo>
                <a:cubicBezTo>
                  <a:pt x="218698" y="9156"/>
                  <a:pt x="232139" y="8783"/>
                  <a:pt x="245485" y="7449"/>
                </a:cubicBezTo>
                <a:cubicBezTo>
                  <a:pt x="260017" y="5997"/>
                  <a:pt x="274456" y="3648"/>
                  <a:pt x="288955" y="1844"/>
                </a:cubicBezTo>
                <a:cubicBezTo>
                  <a:pt x="294991" y="1094"/>
                  <a:pt x="301100" y="930"/>
                  <a:pt x="307132" y="164"/>
                </a:cubicBezTo>
                <a:cubicBezTo>
                  <a:pt x="315239" y="-865"/>
                  <a:pt x="320841" y="3022"/>
                  <a:pt x="324030" y="9691"/>
                </a:cubicBezTo>
                <a:cubicBezTo>
                  <a:pt x="328594" y="19236"/>
                  <a:pt x="332712" y="29070"/>
                  <a:pt x="336033" y="39107"/>
                </a:cubicBezTo>
                <a:cubicBezTo>
                  <a:pt x="338557" y="46735"/>
                  <a:pt x="336278" y="50185"/>
                  <a:pt x="328060" y="52413"/>
                </a:cubicBezTo>
                <a:cubicBezTo>
                  <a:pt x="318273" y="55068"/>
                  <a:pt x="308277" y="56950"/>
                  <a:pt x="297312" y="59188"/>
                </a:cubicBezTo>
                <a:moveTo>
                  <a:pt x="207688" y="64284"/>
                </a:moveTo>
                <a:cubicBezTo>
                  <a:pt x="248681" y="60632"/>
                  <a:pt x="289317" y="54812"/>
                  <a:pt x="330050" y="45606"/>
                </a:cubicBezTo>
                <a:cubicBezTo>
                  <a:pt x="327603" y="32443"/>
                  <a:pt x="323777" y="21532"/>
                  <a:pt x="317356" y="11297"/>
                </a:cubicBezTo>
                <a:cubicBezTo>
                  <a:pt x="313908" y="5803"/>
                  <a:pt x="310145" y="4465"/>
                  <a:pt x="304170" y="5545"/>
                </a:cubicBezTo>
                <a:cubicBezTo>
                  <a:pt x="294121" y="7361"/>
                  <a:pt x="284007" y="9006"/>
                  <a:pt x="273851" y="10014"/>
                </a:cubicBezTo>
                <a:cubicBezTo>
                  <a:pt x="237233" y="13650"/>
                  <a:pt x="200632" y="17661"/>
                  <a:pt x="163935" y="20274"/>
                </a:cubicBezTo>
                <a:cubicBezTo>
                  <a:pt x="115360" y="23734"/>
                  <a:pt x="66701" y="25937"/>
                  <a:pt x="17973" y="22950"/>
                </a:cubicBezTo>
                <a:cubicBezTo>
                  <a:pt x="14492" y="22737"/>
                  <a:pt x="10959" y="23361"/>
                  <a:pt x="7372" y="23601"/>
                </a:cubicBezTo>
                <a:cubicBezTo>
                  <a:pt x="7372" y="38609"/>
                  <a:pt x="7372" y="52361"/>
                  <a:pt x="7372" y="67898"/>
                </a:cubicBezTo>
                <a:cubicBezTo>
                  <a:pt x="74001" y="69806"/>
                  <a:pt x="139746" y="71025"/>
                  <a:pt x="207688" y="64284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8" name="Free-form: Shape 347">
            <a:extLst>
              <a:ext uri="{FF2B5EF4-FFF2-40B4-BE49-F238E27FC236}">
                <a16:creationId xmlns:a16="http://schemas.microsoft.com/office/drawing/2014/main" id="{C9502C82-7450-CE4B-9383-240E2C9D7429}"/>
              </a:ext>
            </a:extLst>
          </p:cNvPr>
          <p:cNvSpPr/>
          <p:nvPr/>
        </p:nvSpPr>
        <p:spPr>
          <a:xfrm>
            <a:off x="6383796" y="5077303"/>
            <a:ext cx="207269" cy="145956"/>
          </a:xfrm>
          <a:custGeom>
            <a:avLst/>
            <a:gdLst>
              <a:gd name="csX0" fmla="*/ 14160 w 303463"/>
              <a:gd name="csY0" fmla="*/ 7889 h 213695"/>
              <a:gd name="csX1" fmla="*/ 195033 w 303463"/>
              <a:gd name="csY1" fmla="*/ 0 h 213695"/>
              <a:gd name="csX2" fmla="*/ 197208 w 303463"/>
              <a:gd name="csY2" fmla="*/ 5635 h 213695"/>
              <a:gd name="csX3" fmla="*/ 227014 w 303463"/>
              <a:gd name="csY3" fmla="*/ 60660 h 213695"/>
              <a:gd name="csX4" fmla="*/ 265823 w 303463"/>
              <a:gd name="csY4" fmla="*/ 98217 h 213695"/>
              <a:gd name="csX5" fmla="*/ 303210 w 303463"/>
              <a:gd name="csY5" fmla="*/ 180358 h 213695"/>
              <a:gd name="csX6" fmla="*/ 303282 w 303463"/>
              <a:gd name="csY6" fmla="*/ 193964 h 213695"/>
              <a:gd name="csX7" fmla="*/ 4971 w 303463"/>
              <a:gd name="csY7" fmla="*/ 213017 h 213695"/>
              <a:gd name="csX8" fmla="*/ 5093 w 303463"/>
              <a:gd name="csY8" fmla="*/ 173484 h 213695"/>
              <a:gd name="csX9" fmla="*/ 4767 w 303463"/>
              <a:gd name="csY9" fmla="*/ 54607 h 213695"/>
              <a:gd name="csX10" fmla="*/ 0 w 303463"/>
              <a:gd name="csY10" fmla="*/ 7887 h 213695"/>
              <a:gd name="csX11" fmla="*/ 14160 w 303463"/>
              <a:gd name="csY11" fmla="*/ 7889 h 21369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303463" h="213695">
                <a:moveTo>
                  <a:pt x="14160" y="7889"/>
                </a:moveTo>
                <a:cubicBezTo>
                  <a:pt x="75371" y="8627"/>
                  <a:pt x="135292" y="5744"/>
                  <a:pt x="195033" y="0"/>
                </a:cubicBezTo>
                <a:cubicBezTo>
                  <a:pt x="196084" y="2662"/>
                  <a:pt x="196986" y="4099"/>
                  <a:pt x="197208" y="5635"/>
                </a:cubicBezTo>
                <a:cubicBezTo>
                  <a:pt x="200391" y="27650"/>
                  <a:pt x="211307" y="45450"/>
                  <a:pt x="227014" y="60660"/>
                </a:cubicBezTo>
                <a:cubicBezTo>
                  <a:pt x="239947" y="73182"/>
                  <a:pt x="253006" y="85577"/>
                  <a:pt x="265823" y="98217"/>
                </a:cubicBezTo>
                <a:cubicBezTo>
                  <a:pt x="288727" y="120806"/>
                  <a:pt x="299071" y="149215"/>
                  <a:pt x="303210" y="180358"/>
                </a:cubicBezTo>
                <a:cubicBezTo>
                  <a:pt x="303735" y="184317"/>
                  <a:pt x="303282" y="188405"/>
                  <a:pt x="303282" y="193964"/>
                </a:cubicBezTo>
                <a:cubicBezTo>
                  <a:pt x="204065" y="208804"/>
                  <a:pt x="105022" y="216044"/>
                  <a:pt x="4971" y="213017"/>
                </a:cubicBezTo>
                <a:cubicBezTo>
                  <a:pt x="4971" y="199268"/>
                  <a:pt x="4314" y="186332"/>
                  <a:pt x="5093" y="173484"/>
                </a:cubicBezTo>
                <a:cubicBezTo>
                  <a:pt x="7497" y="133835"/>
                  <a:pt x="8211" y="94216"/>
                  <a:pt x="4767" y="54607"/>
                </a:cubicBezTo>
                <a:cubicBezTo>
                  <a:pt x="3464" y="39611"/>
                  <a:pt x="1725" y="24653"/>
                  <a:pt x="0" y="7887"/>
                </a:cubicBezTo>
                <a:cubicBezTo>
                  <a:pt x="4390" y="7887"/>
                  <a:pt x="8696" y="7887"/>
                  <a:pt x="14160" y="7889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9" name="Free-form: Shape 348">
            <a:extLst>
              <a:ext uri="{FF2B5EF4-FFF2-40B4-BE49-F238E27FC236}">
                <a16:creationId xmlns:a16="http://schemas.microsoft.com/office/drawing/2014/main" id="{C248A38F-05DE-6044-C191-B985F07A11CF}"/>
              </a:ext>
            </a:extLst>
          </p:cNvPr>
          <p:cNvSpPr/>
          <p:nvPr/>
        </p:nvSpPr>
        <p:spPr>
          <a:xfrm>
            <a:off x="6346658" y="4494571"/>
            <a:ext cx="142796" cy="138929"/>
          </a:xfrm>
          <a:custGeom>
            <a:avLst/>
            <a:gdLst>
              <a:gd name="csX0" fmla="*/ 10475 w 209067"/>
              <a:gd name="csY0" fmla="*/ 41718 h 203406"/>
              <a:gd name="csX1" fmla="*/ 100250 w 209067"/>
              <a:gd name="csY1" fmla="*/ 1265 h 203406"/>
              <a:gd name="csX2" fmla="*/ 206681 w 209067"/>
              <a:gd name="csY2" fmla="*/ 98526 h 203406"/>
              <a:gd name="csX3" fmla="*/ 134647 w 209067"/>
              <a:gd name="csY3" fmla="*/ 202431 h 203406"/>
              <a:gd name="csX4" fmla="*/ 40986 w 209067"/>
              <a:gd name="csY4" fmla="*/ 171438 h 203406"/>
              <a:gd name="csX5" fmla="*/ 143 w 209067"/>
              <a:gd name="csY5" fmla="*/ 85158 h 203406"/>
              <a:gd name="csX6" fmla="*/ 10475 w 209067"/>
              <a:gd name="csY6" fmla="*/ 41718 h 20340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</a:cxnLst>
            <a:rect l="l" t="t" r="r" b="b"/>
            <a:pathLst>
              <a:path w="209067" h="203406">
                <a:moveTo>
                  <a:pt x="10475" y="41718"/>
                </a:moveTo>
                <a:cubicBezTo>
                  <a:pt x="31065" y="6021"/>
                  <a:pt x="63171" y="-3865"/>
                  <a:pt x="100250" y="1265"/>
                </a:cubicBezTo>
                <a:cubicBezTo>
                  <a:pt x="157191" y="9144"/>
                  <a:pt x="196951" y="51394"/>
                  <a:pt x="206681" y="98526"/>
                </a:cubicBezTo>
                <a:cubicBezTo>
                  <a:pt x="219504" y="160635"/>
                  <a:pt x="178523" y="196657"/>
                  <a:pt x="134647" y="202431"/>
                </a:cubicBezTo>
                <a:cubicBezTo>
                  <a:pt x="98365" y="207204"/>
                  <a:pt x="68101" y="194086"/>
                  <a:pt x="40986" y="171438"/>
                </a:cubicBezTo>
                <a:cubicBezTo>
                  <a:pt x="14115" y="148994"/>
                  <a:pt x="2457" y="119007"/>
                  <a:pt x="143" y="85158"/>
                </a:cubicBezTo>
                <a:cubicBezTo>
                  <a:pt x="-869" y="70364"/>
                  <a:pt x="3586" y="56015"/>
                  <a:pt x="10475" y="41718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0" name="Free-form: Shape 349">
            <a:extLst>
              <a:ext uri="{FF2B5EF4-FFF2-40B4-BE49-F238E27FC236}">
                <a16:creationId xmlns:a16="http://schemas.microsoft.com/office/drawing/2014/main" id="{E94977C4-C699-DBF7-6A33-B58BE96445D5}"/>
              </a:ext>
            </a:extLst>
          </p:cNvPr>
          <p:cNvSpPr/>
          <p:nvPr/>
        </p:nvSpPr>
        <p:spPr>
          <a:xfrm>
            <a:off x="6386543" y="4728913"/>
            <a:ext cx="107321" cy="28231"/>
          </a:xfrm>
          <a:custGeom>
            <a:avLst/>
            <a:gdLst>
              <a:gd name="csX0" fmla="*/ 69625 w 157129"/>
              <a:gd name="csY0" fmla="*/ 0 h 41334"/>
              <a:gd name="csX1" fmla="*/ 119596 w 157129"/>
              <a:gd name="csY1" fmla="*/ 1945 h 41334"/>
              <a:gd name="csX2" fmla="*/ 150973 w 157129"/>
              <a:gd name="csY2" fmla="*/ 14889 h 41334"/>
              <a:gd name="csX3" fmla="*/ 151351 w 157129"/>
              <a:gd name="csY3" fmla="*/ 34058 h 41334"/>
              <a:gd name="csX4" fmla="*/ 133492 w 157129"/>
              <a:gd name="csY4" fmla="*/ 40697 h 41334"/>
              <a:gd name="csX5" fmla="*/ 106556 w 157129"/>
              <a:gd name="csY5" fmla="*/ 41092 h 41334"/>
              <a:gd name="csX6" fmla="*/ 13373 w 157129"/>
              <a:gd name="csY6" fmla="*/ 40708 h 41334"/>
              <a:gd name="csX7" fmla="*/ 1312 w 157129"/>
              <a:gd name="csY7" fmla="*/ 40191 h 41334"/>
              <a:gd name="csX8" fmla="*/ 3367 w 157129"/>
              <a:gd name="csY8" fmla="*/ 13162 h 41334"/>
              <a:gd name="csX9" fmla="*/ 20752 w 157129"/>
              <a:gd name="csY9" fmla="*/ 1879 h 41334"/>
              <a:gd name="csX10" fmla="*/ 52625 w 157129"/>
              <a:gd name="csY10" fmla="*/ 1332 h 41334"/>
              <a:gd name="csX11" fmla="*/ 69625 w 157129"/>
              <a:gd name="csY11" fmla="*/ 0 h 4133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157129" h="41334">
                <a:moveTo>
                  <a:pt x="69625" y="0"/>
                </a:moveTo>
                <a:cubicBezTo>
                  <a:pt x="87054" y="491"/>
                  <a:pt x="103407" y="373"/>
                  <a:pt x="119596" y="1945"/>
                </a:cubicBezTo>
                <a:cubicBezTo>
                  <a:pt x="131020" y="3055"/>
                  <a:pt x="141713" y="7767"/>
                  <a:pt x="150973" y="14889"/>
                </a:cubicBezTo>
                <a:cubicBezTo>
                  <a:pt x="158820" y="20925"/>
                  <a:pt x="159403" y="28236"/>
                  <a:pt x="151351" y="34058"/>
                </a:cubicBezTo>
                <a:cubicBezTo>
                  <a:pt x="146355" y="37671"/>
                  <a:pt x="139678" y="39910"/>
                  <a:pt x="133492" y="40697"/>
                </a:cubicBezTo>
                <a:cubicBezTo>
                  <a:pt x="124640" y="41824"/>
                  <a:pt x="115547" y="41120"/>
                  <a:pt x="106556" y="41092"/>
                </a:cubicBezTo>
                <a:cubicBezTo>
                  <a:pt x="75495" y="40996"/>
                  <a:pt x="44434" y="40872"/>
                  <a:pt x="13373" y="40708"/>
                </a:cubicBezTo>
                <a:cubicBezTo>
                  <a:pt x="9391" y="40687"/>
                  <a:pt x="5410" y="40374"/>
                  <a:pt x="1312" y="40191"/>
                </a:cubicBezTo>
                <a:cubicBezTo>
                  <a:pt x="-1416" y="30384"/>
                  <a:pt x="523" y="21512"/>
                  <a:pt x="3367" y="13162"/>
                </a:cubicBezTo>
                <a:cubicBezTo>
                  <a:pt x="5963" y="5538"/>
                  <a:pt x="12701" y="2077"/>
                  <a:pt x="20752" y="1879"/>
                </a:cubicBezTo>
                <a:cubicBezTo>
                  <a:pt x="31375" y="1617"/>
                  <a:pt x="42004" y="1647"/>
                  <a:pt x="52625" y="1332"/>
                </a:cubicBezTo>
                <a:cubicBezTo>
                  <a:pt x="57918" y="1176"/>
                  <a:pt x="63195" y="535"/>
                  <a:pt x="69625" y="0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1" name="Free-form: Shape 350">
            <a:extLst>
              <a:ext uri="{FF2B5EF4-FFF2-40B4-BE49-F238E27FC236}">
                <a16:creationId xmlns:a16="http://schemas.microsoft.com/office/drawing/2014/main" id="{D068E41D-EE97-18A3-2A51-4F1C16B51154}"/>
              </a:ext>
            </a:extLst>
          </p:cNvPr>
          <p:cNvSpPr/>
          <p:nvPr/>
        </p:nvSpPr>
        <p:spPr>
          <a:xfrm>
            <a:off x="6382724" y="4784889"/>
            <a:ext cx="112410" cy="265855"/>
          </a:xfrm>
          <a:custGeom>
            <a:avLst/>
            <a:gdLst>
              <a:gd name="csX0" fmla="*/ 91265 w 164579"/>
              <a:gd name="csY0" fmla="*/ 157878 h 389238"/>
              <a:gd name="csX1" fmla="*/ 112882 w 164579"/>
              <a:gd name="csY1" fmla="*/ 252738 h 389238"/>
              <a:gd name="csX2" fmla="*/ 164579 w 164579"/>
              <a:gd name="csY2" fmla="*/ 389238 h 389238"/>
              <a:gd name="csX3" fmla="*/ 0 w 164579"/>
              <a:gd name="csY3" fmla="*/ 389238 h 389238"/>
              <a:gd name="csX4" fmla="*/ 5184 w 164579"/>
              <a:gd name="csY4" fmla="*/ 260105 h 389238"/>
              <a:gd name="csX5" fmla="*/ 7989 w 164579"/>
              <a:gd name="csY5" fmla="*/ 131182 h 389238"/>
              <a:gd name="csX6" fmla="*/ 8093 w 164579"/>
              <a:gd name="csY6" fmla="*/ 2390 h 389238"/>
              <a:gd name="csX7" fmla="*/ 76429 w 164579"/>
              <a:gd name="csY7" fmla="*/ 1531 h 389238"/>
              <a:gd name="csX8" fmla="*/ 91265 w 164579"/>
              <a:gd name="csY8" fmla="*/ 157878 h 38923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</a:cxnLst>
            <a:rect l="l" t="t" r="r" b="b"/>
            <a:pathLst>
              <a:path w="164579" h="389238">
                <a:moveTo>
                  <a:pt x="91265" y="157878"/>
                </a:moveTo>
                <a:cubicBezTo>
                  <a:pt x="98425" y="190232"/>
                  <a:pt x="104539" y="221785"/>
                  <a:pt x="112882" y="252738"/>
                </a:cubicBezTo>
                <a:cubicBezTo>
                  <a:pt x="125498" y="299549"/>
                  <a:pt x="141482" y="345258"/>
                  <a:pt x="164579" y="389238"/>
                </a:cubicBezTo>
                <a:cubicBezTo>
                  <a:pt x="109753" y="389238"/>
                  <a:pt x="55706" y="389238"/>
                  <a:pt x="0" y="389238"/>
                </a:cubicBezTo>
                <a:cubicBezTo>
                  <a:pt x="1781" y="345633"/>
                  <a:pt x="3844" y="302880"/>
                  <a:pt x="5184" y="260105"/>
                </a:cubicBezTo>
                <a:cubicBezTo>
                  <a:pt x="6529" y="217143"/>
                  <a:pt x="7519" y="174162"/>
                  <a:pt x="7989" y="131182"/>
                </a:cubicBezTo>
                <a:cubicBezTo>
                  <a:pt x="8459" y="88239"/>
                  <a:pt x="8093" y="45287"/>
                  <a:pt x="8093" y="2390"/>
                </a:cubicBezTo>
                <a:cubicBezTo>
                  <a:pt x="17041" y="-288"/>
                  <a:pt x="58537" y="-913"/>
                  <a:pt x="76429" y="1531"/>
                </a:cubicBezTo>
                <a:cubicBezTo>
                  <a:pt x="79287" y="53276"/>
                  <a:pt x="82219" y="105359"/>
                  <a:pt x="91265" y="157878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2" name="Free-form: Shape 351">
            <a:extLst>
              <a:ext uri="{FF2B5EF4-FFF2-40B4-BE49-F238E27FC236}">
                <a16:creationId xmlns:a16="http://schemas.microsoft.com/office/drawing/2014/main" id="{86CFDE22-2FC3-D5AB-480C-D9FAA1B29C4B}"/>
              </a:ext>
            </a:extLst>
          </p:cNvPr>
          <p:cNvSpPr/>
          <p:nvPr/>
        </p:nvSpPr>
        <p:spPr>
          <a:xfrm>
            <a:off x="6384724" y="5241953"/>
            <a:ext cx="220393" cy="43851"/>
          </a:xfrm>
          <a:custGeom>
            <a:avLst/>
            <a:gdLst>
              <a:gd name="csX0" fmla="*/ 199184 w 322677"/>
              <a:gd name="csY0" fmla="*/ 59136 h 64202"/>
              <a:gd name="csX1" fmla="*/ 0 w 322677"/>
              <a:gd name="csY1" fmla="*/ 62697 h 64202"/>
              <a:gd name="csX2" fmla="*/ 0 w 322677"/>
              <a:gd name="csY2" fmla="*/ 18400 h 64202"/>
              <a:gd name="csX3" fmla="*/ 10601 w 322677"/>
              <a:gd name="csY3" fmla="*/ 17750 h 64202"/>
              <a:gd name="csX4" fmla="*/ 156563 w 322677"/>
              <a:gd name="csY4" fmla="*/ 15074 h 64202"/>
              <a:gd name="csX5" fmla="*/ 266479 w 322677"/>
              <a:gd name="csY5" fmla="*/ 4814 h 64202"/>
              <a:gd name="csX6" fmla="*/ 296798 w 322677"/>
              <a:gd name="csY6" fmla="*/ 344 h 64202"/>
              <a:gd name="csX7" fmla="*/ 309983 w 322677"/>
              <a:gd name="csY7" fmla="*/ 6097 h 64202"/>
              <a:gd name="csX8" fmla="*/ 322678 w 322677"/>
              <a:gd name="csY8" fmla="*/ 40406 h 64202"/>
              <a:gd name="csX9" fmla="*/ 199184 w 322677"/>
              <a:gd name="csY9" fmla="*/ 59136 h 6420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322677" h="64202">
                <a:moveTo>
                  <a:pt x="199184" y="59136"/>
                </a:moveTo>
                <a:cubicBezTo>
                  <a:pt x="132374" y="65824"/>
                  <a:pt x="66629" y="64605"/>
                  <a:pt x="0" y="62697"/>
                </a:cubicBezTo>
                <a:cubicBezTo>
                  <a:pt x="0" y="47160"/>
                  <a:pt x="0" y="33409"/>
                  <a:pt x="0" y="18400"/>
                </a:cubicBezTo>
                <a:cubicBezTo>
                  <a:pt x="3587" y="18160"/>
                  <a:pt x="7120" y="17536"/>
                  <a:pt x="10601" y="17750"/>
                </a:cubicBezTo>
                <a:cubicBezTo>
                  <a:pt x="59329" y="20736"/>
                  <a:pt x="107987" y="18533"/>
                  <a:pt x="156563" y="15074"/>
                </a:cubicBezTo>
                <a:cubicBezTo>
                  <a:pt x="193260" y="12461"/>
                  <a:pt x="229860" y="8449"/>
                  <a:pt x="266479" y="4814"/>
                </a:cubicBezTo>
                <a:cubicBezTo>
                  <a:pt x="276635" y="3806"/>
                  <a:pt x="286748" y="2160"/>
                  <a:pt x="296798" y="344"/>
                </a:cubicBezTo>
                <a:cubicBezTo>
                  <a:pt x="302773" y="-735"/>
                  <a:pt x="306536" y="602"/>
                  <a:pt x="309983" y="6097"/>
                </a:cubicBezTo>
                <a:cubicBezTo>
                  <a:pt x="316405" y="16331"/>
                  <a:pt x="320231" y="27243"/>
                  <a:pt x="322678" y="40406"/>
                </a:cubicBezTo>
                <a:cubicBezTo>
                  <a:pt x="281944" y="49611"/>
                  <a:pt x="241309" y="55431"/>
                  <a:pt x="199184" y="59136"/>
                </a:cubicBezTo>
                <a:close/>
              </a:path>
            </a:pathLst>
          </a:custGeom>
          <a:solidFill>
            <a:schemeClr val="bg1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3" name="Free-form: Shape 352">
            <a:extLst>
              <a:ext uri="{FF2B5EF4-FFF2-40B4-BE49-F238E27FC236}">
                <a16:creationId xmlns:a16="http://schemas.microsoft.com/office/drawing/2014/main" id="{488DBD49-E44B-C5E3-C42E-013E95D63996}"/>
              </a:ext>
            </a:extLst>
          </p:cNvPr>
          <p:cNvSpPr/>
          <p:nvPr/>
        </p:nvSpPr>
        <p:spPr>
          <a:xfrm>
            <a:off x="6187355" y="4344418"/>
            <a:ext cx="557648" cy="1497715"/>
          </a:xfrm>
          <a:custGeom>
            <a:avLst/>
            <a:gdLst>
              <a:gd name="csX0" fmla="*/ 898754 w 1315852"/>
              <a:gd name="csY0" fmla="*/ 1637125 h 3212801"/>
              <a:gd name="csX1" fmla="*/ 900426 w 1315852"/>
              <a:gd name="csY1" fmla="*/ 1643802 h 3212801"/>
              <a:gd name="csX2" fmla="*/ 903549 w 1315852"/>
              <a:gd name="csY2" fmla="*/ 1709345 h 3212801"/>
              <a:gd name="csX3" fmla="*/ 908512 w 1315852"/>
              <a:gd name="csY3" fmla="*/ 1750739 h 3212801"/>
              <a:gd name="csX4" fmla="*/ 911839 w 1315852"/>
              <a:gd name="csY4" fmla="*/ 1783999 h 3212801"/>
              <a:gd name="csX5" fmla="*/ 919775 w 1315852"/>
              <a:gd name="csY5" fmla="*/ 1846044 h 3212801"/>
              <a:gd name="csX6" fmla="*/ 928724 w 1315852"/>
              <a:gd name="csY6" fmla="*/ 1912212 h 3212801"/>
              <a:gd name="csX7" fmla="*/ 943556 w 1315852"/>
              <a:gd name="csY7" fmla="*/ 1998602 h 3212801"/>
              <a:gd name="csX8" fmla="*/ 967918 w 1315852"/>
              <a:gd name="csY8" fmla="*/ 2121455 h 3212801"/>
              <a:gd name="csX9" fmla="*/ 988236 w 1315852"/>
              <a:gd name="csY9" fmla="*/ 2216813 h 3212801"/>
              <a:gd name="csX10" fmla="*/ 1028961 w 1315852"/>
              <a:gd name="csY10" fmla="*/ 2386212 h 3212801"/>
              <a:gd name="csX11" fmla="*/ 1055369 w 1315852"/>
              <a:gd name="csY11" fmla="*/ 2485963 h 3212801"/>
              <a:gd name="csX12" fmla="*/ 1069125 w 1315852"/>
              <a:gd name="csY12" fmla="*/ 2501571 h 3212801"/>
              <a:gd name="csX13" fmla="*/ 1104775 w 1315852"/>
              <a:gd name="csY13" fmla="*/ 2517672 h 3212801"/>
              <a:gd name="csX14" fmla="*/ 1117910 w 1315852"/>
              <a:gd name="csY14" fmla="*/ 2527831 h 3212801"/>
              <a:gd name="csX15" fmla="*/ 1122737 w 1315852"/>
              <a:gd name="csY15" fmla="*/ 2552282 h 3212801"/>
              <a:gd name="csX16" fmla="*/ 1114779 w 1315852"/>
              <a:gd name="csY16" fmla="*/ 2570125 h 3212801"/>
              <a:gd name="csX17" fmla="*/ 1114207 w 1315852"/>
              <a:gd name="csY17" fmla="*/ 2618225 h 3212801"/>
              <a:gd name="csX18" fmla="*/ 1148150 w 1315852"/>
              <a:gd name="csY18" fmla="*/ 2663984 h 3212801"/>
              <a:gd name="csX19" fmla="*/ 1206600 w 1315852"/>
              <a:gd name="csY19" fmla="*/ 2720256 h 3212801"/>
              <a:gd name="csX20" fmla="*/ 1275524 w 1315852"/>
              <a:gd name="csY20" fmla="*/ 2850317 h 3212801"/>
              <a:gd name="csX21" fmla="*/ 1277353 w 1315852"/>
              <a:gd name="csY21" fmla="*/ 2897326 h 3212801"/>
              <a:gd name="csX22" fmla="*/ 1271355 w 1315852"/>
              <a:gd name="csY22" fmla="*/ 2935725 h 3212801"/>
              <a:gd name="csX23" fmla="*/ 1274691 w 1315852"/>
              <a:gd name="csY23" fmla="*/ 2954335 h 3212801"/>
              <a:gd name="csX24" fmla="*/ 1301797 w 1315852"/>
              <a:gd name="csY24" fmla="*/ 3028744 h 3212801"/>
              <a:gd name="csX25" fmla="*/ 1311943 w 1315852"/>
              <a:gd name="csY25" fmla="*/ 3082025 h 3212801"/>
              <a:gd name="csX26" fmla="*/ 1315801 w 1315852"/>
              <a:gd name="csY26" fmla="*/ 3133440 h 3212801"/>
              <a:gd name="csX27" fmla="*/ 1307182 w 1315852"/>
              <a:gd name="csY27" fmla="*/ 3146201 h 3212801"/>
              <a:gd name="csX28" fmla="*/ 1280933 w 1315852"/>
              <a:gd name="csY28" fmla="*/ 3155733 h 3212801"/>
              <a:gd name="csX29" fmla="*/ 1169576 w 1315852"/>
              <a:gd name="csY29" fmla="*/ 3181105 h 3212801"/>
              <a:gd name="csX30" fmla="*/ 1098129 w 1315852"/>
              <a:gd name="csY30" fmla="*/ 3192005 h 3212801"/>
              <a:gd name="csX31" fmla="*/ 1025959 w 1315852"/>
              <a:gd name="csY31" fmla="*/ 3198069 h 3212801"/>
              <a:gd name="csX32" fmla="*/ 969161 w 1315852"/>
              <a:gd name="csY32" fmla="*/ 3203391 h 3212801"/>
              <a:gd name="csX33" fmla="*/ 966367 w 1315852"/>
              <a:gd name="csY33" fmla="*/ 3203587 h 3212801"/>
              <a:gd name="csX34" fmla="*/ 890991 w 1315852"/>
              <a:gd name="csY34" fmla="*/ 3206415 h 3212801"/>
              <a:gd name="csX35" fmla="*/ 786197 w 1315852"/>
              <a:gd name="csY35" fmla="*/ 3209641 h 3212801"/>
              <a:gd name="csX36" fmla="*/ 618254 w 1315852"/>
              <a:gd name="csY36" fmla="*/ 3211234 h 3212801"/>
              <a:gd name="csX37" fmla="*/ 506392 w 1315852"/>
              <a:gd name="csY37" fmla="*/ 3209195 h 3212801"/>
              <a:gd name="csX38" fmla="*/ 443638 w 1315852"/>
              <a:gd name="csY38" fmla="*/ 3206415 h 3212801"/>
              <a:gd name="csX39" fmla="*/ 389301 w 1315852"/>
              <a:gd name="csY39" fmla="*/ 3203597 h 3212801"/>
              <a:gd name="csX40" fmla="*/ 305884 w 1315852"/>
              <a:gd name="csY40" fmla="*/ 3197747 h 3212801"/>
              <a:gd name="csX41" fmla="*/ 216151 w 1315852"/>
              <a:gd name="csY41" fmla="*/ 3186940 h 3212801"/>
              <a:gd name="csX42" fmla="*/ 141593 w 1315852"/>
              <a:gd name="csY42" fmla="*/ 3177824 h 3212801"/>
              <a:gd name="csX43" fmla="*/ 44929 w 1315852"/>
              <a:gd name="csY43" fmla="*/ 3157176 h 3212801"/>
              <a:gd name="csX44" fmla="*/ 10154 w 1315852"/>
              <a:gd name="csY44" fmla="*/ 3146750 h 3212801"/>
              <a:gd name="csX45" fmla="*/ 112 w 1315852"/>
              <a:gd name="csY45" fmla="*/ 3132149 h 3212801"/>
              <a:gd name="csX46" fmla="*/ 5263 w 1315852"/>
              <a:gd name="csY46" fmla="*/ 3080960 h 3212801"/>
              <a:gd name="csX47" fmla="*/ 13758 w 1315852"/>
              <a:gd name="csY47" fmla="*/ 3031612 h 3212801"/>
              <a:gd name="csX48" fmla="*/ 40996 w 1315852"/>
              <a:gd name="csY48" fmla="*/ 2960204 h 3212801"/>
              <a:gd name="csX49" fmla="*/ 43510 w 1315852"/>
              <a:gd name="csY49" fmla="*/ 2944616 h 3212801"/>
              <a:gd name="csX50" fmla="*/ 36916 w 1315852"/>
              <a:gd name="csY50" fmla="*/ 2875457 h 3212801"/>
              <a:gd name="csX51" fmla="*/ 46646 w 1315852"/>
              <a:gd name="csY51" fmla="*/ 2827778 h 3212801"/>
              <a:gd name="csX52" fmla="*/ 108895 w 1315852"/>
              <a:gd name="csY52" fmla="*/ 2723307 h 3212801"/>
              <a:gd name="csX53" fmla="*/ 188375 w 1315852"/>
              <a:gd name="csY53" fmla="*/ 2646399 h 3212801"/>
              <a:gd name="csX54" fmla="*/ 211535 w 1315852"/>
              <a:gd name="csY54" fmla="*/ 2605867 h 3212801"/>
              <a:gd name="csX55" fmla="*/ 205182 w 1315852"/>
              <a:gd name="csY55" fmla="*/ 2571418 h 3212801"/>
              <a:gd name="csX56" fmla="*/ 196651 w 1315852"/>
              <a:gd name="csY56" fmla="*/ 2557085 h 3212801"/>
              <a:gd name="csX57" fmla="*/ 209021 w 1315852"/>
              <a:gd name="csY57" fmla="*/ 2521560 h 3212801"/>
              <a:gd name="csX58" fmla="*/ 245764 w 1315852"/>
              <a:gd name="csY58" fmla="*/ 2504395 h 3212801"/>
              <a:gd name="csX59" fmla="*/ 263769 w 1315852"/>
              <a:gd name="csY59" fmla="*/ 2485128 h 3212801"/>
              <a:gd name="csX60" fmla="*/ 300045 w 1315852"/>
              <a:gd name="csY60" fmla="*/ 2354726 h 3212801"/>
              <a:gd name="csX61" fmla="*/ 326003 w 1315852"/>
              <a:gd name="csY61" fmla="*/ 2249117 h 3212801"/>
              <a:gd name="csX62" fmla="*/ 359250 w 1315852"/>
              <a:gd name="csY62" fmla="*/ 2092493 h 3212801"/>
              <a:gd name="csX63" fmla="*/ 378011 w 1315852"/>
              <a:gd name="csY63" fmla="*/ 1995496 h 3212801"/>
              <a:gd name="csX64" fmla="*/ 390230 w 1315852"/>
              <a:gd name="csY64" fmla="*/ 1915745 h 3212801"/>
              <a:gd name="csX65" fmla="*/ 400702 w 1315852"/>
              <a:gd name="csY65" fmla="*/ 1851249 h 3212801"/>
              <a:gd name="csX66" fmla="*/ 406954 w 1315852"/>
              <a:gd name="csY66" fmla="*/ 1788916 h 3212801"/>
              <a:gd name="csX67" fmla="*/ 412016 w 1315852"/>
              <a:gd name="csY67" fmla="*/ 1747526 h 3212801"/>
              <a:gd name="csX68" fmla="*/ 415185 w 1315852"/>
              <a:gd name="csY68" fmla="*/ 1712850 h 3212801"/>
              <a:gd name="csX69" fmla="*/ 418197 w 1315852"/>
              <a:gd name="csY69" fmla="*/ 1651507 h 3212801"/>
              <a:gd name="csX70" fmla="*/ 423324 w 1315852"/>
              <a:gd name="csY70" fmla="*/ 1583479 h 3212801"/>
              <a:gd name="csX71" fmla="*/ 426059 w 1315852"/>
              <a:gd name="csY71" fmla="*/ 1477299 h 3212801"/>
              <a:gd name="csX72" fmla="*/ 424204 w 1315852"/>
              <a:gd name="csY72" fmla="*/ 1473415 h 3212801"/>
              <a:gd name="csX73" fmla="*/ 390769 w 1315852"/>
              <a:gd name="csY73" fmla="*/ 1470003 h 3212801"/>
              <a:gd name="csX74" fmla="*/ 327487 w 1315852"/>
              <a:gd name="csY74" fmla="*/ 1460760 h 3212801"/>
              <a:gd name="csX75" fmla="*/ 289037 w 1315852"/>
              <a:gd name="csY75" fmla="*/ 1410705 h 3212801"/>
              <a:gd name="csX76" fmla="*/ 292610 w 1315852"/>
              <a:gd name="csY76" fmla="*/ 1374826 h 3212801"/>
              <a:gd name="csX77" fmla="*/ 335365 w 1315852"/>
              <a:gd name="csY77" fmla="*/ 1319956 h 3212801"/>
              <a:gd name="csX78" fmla="*/ 358966 w 1315852"/>
              <a:gd name="csY78" fmla="*/ 1286091 h 3212801"/>
              <a:gd name="csX79" fmla="*/ 390267 w 1315852"/>
              <a:gd name="csY79" fmla="*/ 1239202 h 3212801"/>
              <a:gd name="csX80" fmla="*/ 435898 w 1315852"/>
              <a:gd name="csY80" fmla="*/ 1202610 h 3212801"/>
              <a:gd name="csX81" fmla="*/ 443089 w 1315852"/>
              <a:gd name="csY81" fmla="*/ 1186662 h 3212801"/>
              <a:gd name="csX82" fmla="*/ 443336 w 1315852"/>
              <a:gd name="csY82" fmla="*/ 1174100 h 3212801"/>
              <a:gd name="csX83" fmla="*/ 432713 w 1315852"/>
              <a:gd name="csY83" fmla="*/ 1161284 h 3212801"/>
              <a:gd name="csX84" fmla="*/ 406712 w 1315852"/>
              <a:gd name="csY84" fmla="*/ 1151413 h 3212801"/>
              <a:gd name="csX85" fmla="*/ 399212 w 1315852"/>
              <a:gd name="csY85" fmla="*/ 1135845 h 3212801"/>
              <a:gd name="csX86" fmla="*/ 409719 w 1315852"/>
              <a:gd name="csY86" fmla="*/ 1113213 h 3212801"/>
              <a:gd name="csX87" fmla="*/ 414650 w 1315852"/>
              <a:gd name="csY87" fmla="*/ 1091062 h 3212801"/>
              <a:gd name="csX88" fmla="*/ 402048 w 1315852"/>
              <a:gd name="csY88" fmla="*/ 1042520 h 3212801"/>
              <a:gd name="csX89" fmla="*/ 366526 w 1315852"/>
              <a:gd name="csY89" fmla="*/ 932054 h 3212801"/>
              <a:gd name="csX90" fmla="*/ 304855 w 1315852"/>
              <a:gd name="csY90" fmla="*/ 733506 h 3212801"/>
              <a:gd name="csX91" fmla="*/ 273722 w 1315852"/>
              <a:gd name="csY91" fmla="*/ 639312 h 3212801"/>
              <a:gd name="csX92" fmla="*/ 242525 w 1315852"/>
              <a:gd name="csY92" fmla="*/ 527843 h 3212801"/>
              <a:gd name="csX93" fmla="*/ 245838 w 1315852"/>
              <a:gd name="csY93" fmla="*/ 485521 h 3212801"/>
              <a:gd name="csX94" fmla="*/ 258319 w 1315852"/>
              <a:gd name="csY94" fmla="*/ 473233 h 3212801"/>
              <a:gd name="csX95" fmla="*/ 291527 w 1315852"/>
              <a:gd name="csY95" fmla="*/ 463336 h 3212801"/>
              <a:gd name="csX96" fmla="*/ 373160 w 1315852"/>
              <a:gd name="csY96" fmla="*/ 454842 h 3212801"/>
              <a:gd name="csX97" fmla="*/ 427480 w 1315852"/>
              <a:gd name="csY97" fmla="*/ 451758 h 3212801"/>
              <a:gd name="csX98" fmla="*/ 477998 w 1315852"/>
              <a:gd name="csY98" fmla="*/ 447870 h 3212801"/>
              <a:gd name="csX99" fmla="*/ 479585 w 1315852"/>
              <a:gd name="csY99" fmla="*/ 442932 h 3212801"/>
              <a:gd name="csX100" fmla="*/ 488907 w 1315852"/>
              <a:gd name="csY100" fmla="*/ 421401 h 3212801"/>
              <a:gd name="csX101" fmla="*/ 492315 w 1315852"/>
              <a:gd name="csY101" fmla="*/ 409196 h 3212801"/>
              <a:gd name="csX102" fmla="*/ 498582 w 1315852"/>
              <a:gd name="csY102" fmla="*/ 396231 h 3212801"/>
              <a:gd name="csX103" fmla="*/ 531424 w 1315852"/>
              <a:gd name="csY103" fmla="*/ 365066 h 3212801"/>
              <a:gd name="csX104" fmla="*/ 567201 w 1315852"/>
              <a:gd name="csY104" fmla="*/ 305069 h 3212801"/>
              <a:gd name="csX105" fmla="*/ 580157 w 1315852"/>
              <a:gd name="csY105" fmla="*/ 281885 h 3212801"/>
              <a:gd name="csX106" fmla="*/ 575177 w 1315852"/>
              <a:gd name="csY106" fmla="*/ 258759 h 3212801"/>
              <a:gd name="csX107" fmla="*/ 472048 w 1315852"/>
              <a:gd name="csY107" fmla="*/ 283266 h 3212801"/>
              <a:gd name="csX108" fmla="*/ 473659 w 1315852"/>
              <a:gd name="csY108" fmla="*/ 112243 h 3212801"/>
              <a:gd name="csX109" fmla="*/ 487139 w 1315852"/>
              <a:gd name="csY109" fmla="*/ 114763 h 3212801"/>
              <a:gd name="csX110" fmla="*/ 569608 w 1315852"/>
              <a:gd name="csY110" fmla="*/ 140735 h 3212801"/>
              <a:gd name="csX111" fmla="*/ 585180 w 1315852"/>
              <a:gd name="csY111" fmla="*/ 124742 h 3212801"/>
              <a:gd name="csX112" fmla="*/ 563868 w 1315852"/>
              <a:gd name="csY112" fmla="*/ 70080 h 3212801"/>
              <a:gd name="csX113" fmla="*/ 546041 w 1315852"/>
              <a:gd name="csY113" fmla="*/ 26021 h 3212801"/>
              <a:gd name="csX114" fmla="*/ 568462 w 1315852"/>
              <a:gd name="csY114" fmla="*/ 18986 h 3212801"/>
              <a:gd name="csX115" fmla="*/ 637623 w 1315852"/>
              <a:gd name="csY115" fmla="*/ 2731 h 3212801"/>
              <a:gd name="csX116" fmla="*/ 692817 w 1315852"/>
              <a:gd name="csY116" fmla="*/ 4346 h 3212801"/>
              <a:gd name="csX117" fmla="*/ 759126 w 1315852"/>
              <a:gd name="csY117" fmla="*/ 20739 h 3212801"/>
              <a:gd name="csX118" fmla="*/ 774460 w 1315852"/>
              <a:gd name="csY118" fmla="*/ 24289 h 3212801"/>
              <a:gd name="csX119" fmla="*/ 751608 w 1315852"/>
              <a:gd name="csY119" fmla="*/ 81205 h 3212801"/>
              <a:gd name="csX120" fmla="*/ 731002 w 1315852"/>
              <a:gd name="csY120" fmla="*/ 141135 h 3212801"/>
              <a:gd name="csX121" fmla="*/ 749917 w 1315852"/>
              <a:gd name="csY121" fmla="*/ 137732 h 3212801"/>
              <a:gd name="csX122" fmla="*/ 836197 w 1315852"/>
              <a:gd name="csY122" fmla="*/ 114792 h 3212801"/>
              <a:gd name="csX123" fmla="*/ 843209 w 1315852"/>
              <a:gd name="csY123" fmla="*/ 113433 h 3212801"/>
              <a:gd name="csX124" fmla="*/ 844400 w 1315852"/>
              <a:gd name="csY124" fmla="*/ 119435 h 3212801"/>
              <a:gd name="csX125" fmla="*/ 847390 w 1315852"/>
              <a:gd name="csY125" fmla="*/ 232672 h 3212801"/>
              <a:gd name="csX126" fmla="*/ 850015 w 1315852"/>
              <a:gd name="csY126" fmla="*/ 261773 h 3212801"/>
              <a:gd name="csX127" fmla="*/ 850085 w 1315852"/>
              <a:gd name="csY127" fmla="*/ 280220 h 3212801"/>
              <a:gd name="csX128" fmla="*/ 815285 w 1315852"/>
              <a:gd name="csY128" fmla="*/ 272127 h 3212801"/>
              <a:gd name="csX129" fmla="*/ 757181 w 1315852"/>
              <a:gd name="csY129" fmla="*/ 257455 h 3212801"/>
              <a:gd name="csX130" fmla="*/ 732939 w 1315852"/>
              <a:gd name="csY130" fmla="*/ 263859 h 3212801"/>
              <a:gd name="csX131" fmla="*/ 739871 w 1315852"/>
              <a:gd name="csY131" fmla="*/ 279988 h 3212801"/>
              <a:gd name="csX132" fmla="*/ 725900 w 1315852"/>
              <a:gd name="csY132" fmla="*/ 292074 h 3212801"/>
              <a:gd name="csX133" fmla="*/ 747132 w 1315852"/>
              <a:gd name="csY133" fmla="*/ 298017 h 3212801"/>
              <a:gd name="csX134" fmla="*/ 768268 w 1315852"/>
              <a:gd name="csY134" fmla="*/ 327815 h 3212801"/>
              <a:gd name="csX135" fmla="*/ 785901 w 1315852"/>
              <a:gd name="csY135" fmla="*/ 362862 h 3212801"/>
              <a:gd name="csX136" fmla="*/ 798627 w 1315852"/>
              <a:gd name="csY136" fmla="*/ 374591 h 3212801"/>
              <a:gd name="csX137" fmla="*/ 815580 w 1315852"/>
              <a:gd name="csY137" fmla="*/ 387899 h 3212801"/>
              <a:gd name="csX138" fmla="*/ 813282 w 1315852"/>
              <a:gd name="csY138" fmla="*/ 390947 h 3212801"/>
              <a:gd name="csX139" fmla="*/ 776501 w 1315852"/>
              <a:gd name="csY139" fmla="*/ 393213 h 3212801"/>
              <a:gd name="csX140" fmla="*/ 702336 w 1315852"/>
              <a:gd name="csY140" fmla="*/ 381496 h 3212801"/>
              <a:gd name="csX141" fmla="*/ 662021 w 1315852"/>
              <a:gd name="csY141" fmla="*/ 378921 h 3212801"/>
              <a:gd name="csX142" fmla="*/ 651111 w 1315852"/>
              <a:gd name="csY142" fmla="*/ 386942 h 3212801"/>
              <a:gd name="csX143" fmla="*/ 648295 w 1315852"/>
              <a:gd name="csY143" fmla="*/ 437069 h 3212801"/>
              <a:gd name="csX144" fmla="*/ 659561 w 1315852"/>
              <a:gd name="csY144" fmla="*/ 448907 h 3212801"/>
              <a:gd name="csX145" fmla="*/ 799805 w 1315852"/>
              <a:gd name="csY145" fmla="*/ 449022 h 3212801"/>
              <a:gd name="csX146" fmla="*/ 811083 w 1315852"/>
              <a:gd name="csY146" fmla="*/ 439581 h 3212801"/>
              <a:gd name="csX147" fmla="*/ 817945 w 1315852"/>
              <a:gd name="csY147" fmla="*/ 425008 h 3212801"/>
              <a:gd name="csX148" fmla="*/ 828609 w 1315852"/>
              <a:gd name="csY148" fmla="*/ 403122 h 3212801"/>
              <a:gd name="csX149" fmla="*/ 838374 w 1315852"/>
              <a:gd name="csY149" fmla="*/ 406435 h 3212801"/>
              <a:gd name="csX150" fmla="*/ 844275 w 1315852"/>
              <a:gd name="csY150" fmla="*/ 430561 h 3212801"/>
              <a:gd name="csX151" fmla="*/ 865761 w 1315852"/>
              <a:gd name="csY151" fmla="*/ 447068 h 3212801"/>
              <a:gd name="csX152" fmla="*/ 885673 w 1315852"/>
              <a:gd name="csY152" fmla="*/ 449965 h 3212801"/>
              <a:gd name="csX153" fmla="*/ 904428 w 1315852"/>
              <a:gd name="csY153" fmla="*/ 454230 h 3212801"/>
              <a:gd name="csX154" fmla="*/ 930689 w 1315852"/>
              <a:gd name="csY154" fmla="*/ 457318 h 3212801"/>
              <a:gd name="csX155" fmla="*/ 1036296 w 1315852"/>
              <a:gd name="csY155" fmla="*/ 485877 h 3212801"/>
              <a:gd name="csX156" fmla="*/ 1076027 w 1315852"/>
              <a:gd name="csY156" fmla="*/ 535212 h 3212801"/>
              <a:gd name="csX157" fmla="*/ 1075403 w 1315852"/>
              <a:gd name="csY157" fmla="*/ 578208 h 3212801"/>
              <a:gd name="csX158" fmla="*/ 1028317 w 1315852"/>
              <a:gd name="csY158" fmla="*/ 728867 h 3212801"/>
              <a:gd name="csX159" fmla="*/ 983498 w 1315852"/>
              <a:gd name="csY159" fmla="*/ 858331 h 3212801"/>
              <a:gd name="csX160" fmla="*/ 948940 w 1315852"/>
              <a:gd name="csY160" fmla="*/ 961698 h 3212801"/>
              <a:gd name="csX161" fmla="*/ 911066 w 1315852"/>
              <a:gd name="csY161" fmla="*/ 1087385 h 3212801"/>
              <a:gd name="csX162" fmla="*/ 910828 w 1315852"/>
              <a:gd name="csY162" fmla="*/ 1098086 h 3212801"/>
              <a:gd name="csX163" fmla="*/ 911498 w 1315852"/>
              <a:gd name="csY163" fmla="*/ 1130209 h 3212801"/>
              <a:gd name="csX164" fmla="*/ 905716 w 1315852"/>
              <a:gd name="csY164" fmla="*/ 1140786 h 3212801"/>
              <a:gd name="csX165" fmla="*/ 904041 w 1315852"/>
              <a:gd name="csY165" fmla="*/ 1171694 h 3212801"/>
              <a:gd name="csX166" fmla="*/ 929797 w 1315852"/>
              <a:gd name="csY166" fmla="*/ 1202854 h 3212801"/>
              <a:gd name="csX167" fmla="*/ 956714 w 1315852"/>
              <a:gd name="csY167" fmla="*/ 1270749 h 3212801"/>
              <a:gd name="csX168" fmla="*/ 960074 w 1315852"/>
              <a:gd name="csY168" fmla="*/ 1289888 h 3212801"/>
              <a:gd name="csX169" fmla="*/ 975795 w 1315852"/>
              <a:gd name="csY169" fmla="*/ 1308746 h 3212801"/>
              <a:gd name="csX170" fmla="*/ 1002397 w 1315852"/>
              <a:gd name="csY170" fmla="*/ 1326635 h 3212801"/>
              <a:gd name="csX171" fmla="*/ 1018686 w 1315852"/>
              <a:gd name="csY171" fmla="*/ 1435905 h 3212801"/>
              <a:gd name="csX172" fmla="*/ 996257 w 1315852"/>
              <a:gd name="csY172" fmla="*/ 1454107 h 3212801"/>
              <a:gd name="csX173" fmla="*/ 970849 w 1315852"/>
              <a:gd name="csY173" fmla="*/ 1461303 h 3212801"/>
              <a:gd name="csX174" fmla="*/ 917943 w 1315852"/>
              <a:gd name="csY174" fmla="*/ 1464461 h 3212801"/>
              <a:gd name="csX175" fmla="*/ 905433 w 1315852"/>
              <a:gd name="csY175" fmla="*/ 1465358 h 3212801"/>
              <a:gd name="csX176" fmla="*/ 897863 w 1315852"/>
              <a:gd name="csY176" fmla="*/ 1474014 h 3212801"/>
              <a:gd name="csX177" fmla="*/ 897812 w 1315852"/>
              <a:gd name="csY177" fmla="*/ 1475415 h 3212801"/>
              <a:gd name="csX178" fmla="*/ 895549 w 1315852"/>
              <a:gd name="csY178" fmla="*/ 1519988 h 3212801"/>
              <a:gd name="csX179" fmla="*/ 895093 w 1315852"/>
              <a:gd name="csY179" fmla="*/ 1566174 h 3212801"/>
              <a:gd name="csX180" fmla="*/ 898754 w 1315852"/>
              <a:gd name="csY180" fmla="*/ 1637125 h 3212801"/>
              <a:gd name="csX181" fmla="*/ 654604 w 1315852"/>
              <a:gd name="csY181" fmla="*/ 2329281 h 3212801"/>
              <a:gd name="csX182" fmla="*/ 650429 w 1315852"/>
              <a:gd name="csY182" fmla="*/ 2271391 h 3212801"/>
              <a:gd name="csX183" fmla="*/ 648148 w 1315852"/>
              <a:gd name="csY183" fmla="*/ 2289942 h 3212801"/>
              <a:gd name="csX184" fmla="*/ 648156 w 1315852"/>
              <a:gd name="csY184" fmla="*/ 2367948 h 3212801"/>
              <a:gd name="csX185" fmla="*/ 655577 w 1315852"/>
              <a:gd name="csY185" fmla="*/ 2381454 h 3212801"/>
              <a:gd name="csX186" fmla="*/ 655485 w 1315852"/>
              <a:gd name="csY186" fmla="*/ 2404945 h 3212801"/>
              <a:gd name="csX187" fmla="*/ 651805 w 1315852"/>
              <a:gd name="csY187" fmla="*/ 2455510 h 3212801"/>
              <a:gd name="csX188" fmla="*/ 650902 w 1315852"/>
              <a:gd name="csY188" fmla="*/ 2395333 h 3212801"/>
              <a:gd name="csX189" fmla="*/ 649248 w 1315852"/>
              <a:gd name="csY189" fmla="*/ 2386025 h 3212801"/>
              <a:gd name="csX190" fmla="*/ 645333 w 1315852"/>
              <a:gd name="csY190" fmla="*/ 2386512 h 3212801"/>
              <a:gd name="csX191" fmla="*/ 645333 w 1315852"/>
              <a:gd name="csY191" fmla="*/ 2399858 h 3212801"/>
              <a:gd name="csX192" fmla="*/ 645232 w 1315852"/>
              <a:gd name="csY192" fmla="*/ 2471367 h 3212801"/>
              <a:gd name="csX193" fmla="*/ 643489 w 1315852"/>
              <a:gd name="csY193" fmla="*/ 2486535 h 3212801"/>
              <a:gd name="csX194" fmla="*/ 662548 w 1315852"/>
              <a:gd name="csY194" fmla="*/ 2510760 h 3212801"/>
              <a:gd name="csX195" fmla="*/ 942625 w 1315852"/>
              <a:gd name="csY195" fmla="*/ 2507990 h 3212801"/>
              <a:gd name="csX196" fmla="*/ 997309 w 1315852"/>
              <a:gd name="csY196" fmla="*/ 2507928 h 3212801"/>
              <a:gd name="csX197" fmla="*/ 1012693 w 1315852"/>
              <a:gd name="csY197" fmla="*/ 2507237 h 3212801"/>
              <a:gd name="csX198" fmla="*/ 1010948 w 1315852"/>
              <a:gd name="csY198" fmla="*/ 2493054 h 3212801"/>
              <a:gd name="csX199" fmla="*/ 982017 w 1315852"/>
              <a:gd name="csY199" fmla="*/ 2386719 h 3212801"/>
              <a:gd name="csX200" fmla="*/ 955543 w 1315852"/>
              <a:gd name="csY200" fmla="*/ 2275604 h 3212801"/>
              <a:gd name="csX201" fmla="*/ 922638 w 1315852"/>
              <a:gd name="csY201" fmla="*/ 2125997 h 3212801"/>
              <a:gd name="csX202" fmla="*/ 897474 w 1315852"/>
              <a:gd name="csY202" fmla="*/ 1994858 h 3212801"/>
              <a:gd name="csX203" fmla="*/ 878061 w 1315852"/>
              <a:gd name="csY203" fmla="*/ 1878280 h 3212801"/>
              <a:gd name="csX204" fmla="*/ 866965 w 1315852"/>
              <a:gd name="csY204" fmla="*/ 1791411 h 3212801"/>
              <a:gd name="csX205" fmla="*/ 863902 w 1315852"/>
              <a:gd name="csY205" fmla="*/ 1755335 h 3212801"/>
              <a:gd name="csX206" fmla="*/ 855983 w 1315852"/>
              <a:gd name="csY206" fmla="*/ 1677866 h 3212801"/>
              <a:gd name="csX207" fmla="*/ 852873 w 1315852"/>
              <a:gd name="csY207" fmla="*/ 1578685 h 3212801"/>
              <a:gd name="csX208" fmla="*/ 851635 w 1315852"/>
              <a:gd name="csY208" fmla="*/ 1535546 h 3212801"/>
              <a:gd name="csX209" fmla="*/ 850039 w 1315852"/>
              <a:gd name="csY209" fmla="*/ 1484182 h 3212801"/>
              <a:gd name="csX210" fmla="*/ 848486 w 1315852"/>
              <a:gd name="csY210" fmla="*/ 1472876 h 3212801"/>
              <a:gd name="csX211" fmla="*/ 832070 w 1315852"/>
              <a:gd name="csY211" fmla="*/ 1472888 h 3212801"/>
              <a:gd name="csX212" fmla="*/ 676784 w 1315852"/>
              <a:gd name="csY212" fmla="*/ 1475691 h 3212801"/>
              <a:gd name="csX213" fmla="*/ 662172 w 1315852"/>
              <a:gd name="csY213" fmla="*/ 1490031 h 3212801"/>
              <a:gd name="csX214" fmla="*/ 662153 w 1315852"/>
              <a:gd name="csY214" fmla="*/ 1497041 h 3212801"/>
              <a:gd name="csX215" fmla="*/ 659832 w 1315852"/>
              <a:gd name="csY215" fmla="*/ 1642548 h 3212801"/>
              <a:gd name="csX216" fmla="*/ 656544 w 1315852"/>
              <a:gd name="csY216" fmla="*/ 1761338 h 3212801"/>
              <a:gd name="csX217" fmla="*/ 654344 w 1315852"/>
              <a:gd name="csY217" fmla="*/ 1943296 h 3212801"/>
              <a:gd name="csX218" fmla="*/ 651002 w 1315852"/>
              <a:gd name="csY218" fmla="*/ 2137811 h 3212801"/>
              <a:gd name="csX219" fmla="*/ 650933 w 1315852"/>
              <a:gd name="csY219" fmla="*/ 2240168 h 3212801"/>
              <a:gd name="csX220" fmla="*/ 651273 w 1315852"/>
              <a:gd name="csY220" fmla="*/ 2249880 h 3212801"/>
              <a:gd name="csX221" fmla="*/ 658332 w 1315852"/>
              <a:gd name="csY221" fmla="*/ 2258024 h 3212801"/>
              <a:gd name="csX222" fmla="*/ 654604 w 1315852"/>
              <a:gd name="csY222" fmla="*/ 2329281 h 3212801"/>
              <a:gd name="csX223" fmla="*/ 999154 w 1315852"/>
              <a:gd name="csY223" fmla="*/ 2930680 h 3212801"/>
              <a:gd name="csX224" fmla="*/ 1224400 w 1315852"/>
              <a:gd name="csY224" fmla="*/ 2904672 h 3212801"/>
              <a:gd name="csX225" fmla="*/ 1225778 w 1315852"/>
              <a:gd name="csY225" fmla="*/ 2893948 h 3212801"/>
              <a:gd name="csX226" fmla="*/ 1197990 w 1315852"/>
              <a:gd name="csY226" fmla="*/ 2788499 h 3212801"/>
              <a:gd name="csX227" fmla="*/ 1156721 w 1315852"/>
              <a:gd name="csY227" fmla="*/ 2737429 h 3212801"/>
              <a:gd name="csX228" fmla="*/ 1096512 w 1315852"/>
              <a:gd name="csY228" fmla="*/ 2674794 h 3212801"/>
              <a:gd name="csX229" fmla="*/ 1056842 w 1315852"/>
              <a:gd name="csY229" fmla="*/ 2584575 h 3212801"/>
              <a:gd name="csX230" fmla="*/ 1055233 w 1315852"/>
              <a:gd name="csY230" fmla="*/ 2579758 h 3212801"/>
              <a:gd name="csX231" fmla="*/ 1017950 w 1315852"/>
              <a:gd name="csY231" fmla="*/ 2581956 h 3212801"/>
              <a:gd name="csX232" fmla="*/ 785764 w 1315852"/>
              <a:gd name="csY232" fmla="*/ 2595473 h 3212801"/>
              <a:gd name="csX233" fmla="*/ 665238 w 1315852"/>
              <a:gd name="csY233" fmla="*/ 2597498 h 3212801"/>
              <a:gd name="csX234" fmla="*/ 654332 w 1315852"/>
              <a:gd name="csY234" fmla="*/ 2598673 h 3212801"/>
              <a:gd name="csX235" fmla="*/ 653026 w 1315852"/>
              <a:gd name="csY235" fmla="*/ 2935427 h 3212801"/>
              <a:gd name="csX236" fmla="*/ 999154 w 1315852"/>
              <a:gd name="csY236" fmla="*/ 2930680 h 3212801"/>
              <a:gd name="csX237" fmla="*/ 947894 w 1315852"/>
              <a:gd name="csY237" fmla="*/ 3022480 h 3212801"/>
              <a:gd name="csX238" fmla="*/ 854096 w 1315852"/>
              <a:gd name="csY238" fmla="*/ 3026952 h 3212801"/>
              <a:gd name="csX239" fmla="*/ 676076 w 1315852"/>
              <a:gd name="csY239" fmla="*/ 3027217 h 3212801"/>
              <a:gd name="csX240" fmla="*/ 657155 w 1315852"/>
              <a:gd name="csY240" fmla="*/ 3027217 h 3212801"/>
              <a:gd name="csX241" fmla="*/ 650929 w 1315852"/>
              <a:gd name="csY241" fmla="*/ 3130009 h 3212801"/>
              <a:gd name="csX242" fmla="*/ 662475 w 1315852"/>
              <a:gd name="csY242" fmla="*/ 3131016 h 3212801"/>
              <a:gd name="csX243" fmla="*/ 775955 w 1315852"/>
              <a:gd name="csY243" fmla="*/ 3134982 h 3212801"/>
              <a:gd name="csX244" fmla="*/ 1061598 w 1315852"/>
              <a:gd name="csY244" fmla="*/ 3125377 h 3212801"/>
              <a:gd name="csX245" fmla="*/ 1249397 w 1315852"/>
              <a:gd name="csY245" fmla="*/ 3093967 h 3212801"/>
              <a:gd name="csX246" fmla="*/ 1262842 w 1315852"/>
              <a:gd name="csY246" fmla="*/ 3089764 h 3212801"/>
              <a:gd name="csX247" fmla="*/ 1244253 w 1315852"/>
              <a:gd name="csY247" fmla="*/ 3014005 h 3212801"/>
              <a:gd name="csX248" fmla="*/ 1237768 w 1315852"/>
              <a:gd name="csY248" fmla="*/ 3003206 h 3212801"/>
              <a:gd name="csX249" fmla="*/ 1217957 w 1315852"/>
              <a:gd name="csY249" fmla="*/ 2993424 h 3212801"/>
              <a:gd name="csX250" fmla="*/ 1163725 w 1315852"/>
              <a:gd name="csY250" fmla="*/ 3000119 h 3212801"/>
              <a:gd name="csX251" fmla="*/ 947894 w 1315852"/>
              <a:gd name="csY251" fmla="*/ 3022480 h 3212801"/>
              <a:gd name="csX252" fmla="*/ 784197 w 1315852"/>
              <a:gd name="csY252" fmla="*/ 1352777 h 3212801"/>
              <a:gd name="csX253" fmla="*/ 730991 w 1315852"/>
              <a:gd name="csY253" fmla="*/ 1354793 h 3212801"/>
              <a:gd name="csX254" fmla="*/ 676320 w 1315852"/>
              <a:gd name="csY254" fmla="*/ 1356902 h 3212801"/>
              <a:gd name="csX255" fmla="*/ 671906 w 1315852"/>
              <a:gd name="csY255" fmla="*/ 1418933 h 3212801"/>
              <a:gd name="csX256" fmla="*/ 685797 w 1315852"/>
              <a:gd name="csY256" fmla="*/ 1418917 h 3212801"/>
              <a:gd name="csX257" fmla="*/ 953300 w 1315852"/>
              <a:gd name="csY257" fmla="*/ 1410383 h 3212801"/>
              <a:gd name="csX258" fmla="*/ 968586 w 1315852"/>
              <a:gd name="csY258" fmla="*/ 1408564 h 3212801"/>
              <a:gd name="csX259" fmla="*/ 980375 w 1315852"/>
              <a:gd name="csY259" fmla="*/ 1394590 h 3212801"/>
              <a:gd name="csX260" fmla="*/ 965591 w 1315852"/>
              <a:gd name="csY260" fmla="*/ 1364447 h 3212801"/>
              <a:gd name="csX261" fmla="*/ 910211 w 1315852"/>
              <a:gd name="csY261" fmla="*/ 1348103 h 3212801"/>
              <a:gd name="csX262" fmla="*/ 784197 w 1315852"/>
              <a:gd name="csY262" fmla="*/ 1352777 h 3212801"/>
              <a:gd name="csX263" fmla="*/ 648129 w 1315852"/>
              <a:gd name="csY263" fmla="*/ 615881 h 3212801"/>
              <a:gd name="csX264" fmla="*/ 650869 w 1315852"/>
              <a:gd name="csY264" fmla="*/ 664591 h 3212801"/>
              <a:gd name="csX265" fmla="*/ 653223 w 1315852"/>
              <a:gd name="csY265" fmla="*/ 746994 h 3212801"/>
              <a:gd name="csX266" fmla="*/ 656163 w 1315852"/>
              <a:gd name="csY266" fmla="*/ 830737 h 3212801"/>
              <a:gd name="csX267" fmla="*/ 658740 w 1315852"/>
              <a:gd name="csY267" fmla="*/ 903281 h 3212801"/>
              <a:gd name="csX268" fmla="*/ 662209 w 1315852"/>
              <a:gd name="csY268" fmla="*/ 1019226 h 3212801"/>
              <a:gd name="csX269" fmla="*/ 665088 w 1315852"/>
              <a:gd name="csY269" fmla="*/ 1081942 h 3212801"/>
              <a:gd name="csX270" fmla="*/ 674628 w 1315852"/>
              <a:gd name="csY270" fmla="*/ 1090643 h 3212801"/>
              <a:gd name="csX271" fmla="*/ 762289 w 1315852"/>
              <a:gd name="csY271" fmla="*/ 1085865 h 3212801"/>
              <a:gd name="csX272" fmla="*/ 853046 w 1315852"/>
              <a:gd name="csY272" fmla="*/ 1082948 h 3212801"/>
              <a:gd name="csX273" fmla="*/ 854448 w 1315852"/>
              <a:gd name="csY273" fmla="*/ 1082924 h 3212801"/>
              <a:gd name="csX274" fmla="*/ 866364 w 1315852"/>
              <a:gd name="csY274" fmla="*/ 1074839 h 3212801"/>
              <a:gd name="csX275" fmla="*/ 891726 w 1315852"/>
              <a:gd name="csY275" fmla="*/ 1006797 h 3212801"/>
              <a:gd name="csX276" fmla="*/ 913720 w 1315852"/>
              <a:gd name="csY276" fmla="*/ 939278 h 3212801"/>
              <a:gd name="csX277" fmla="*/ 953952 w 1315852"/>
              <a:gd name="csY277" fmla="*/ 826060 h 3212801"/>
              <a:gd name="csX278" fmla="*/ 988796 w 1315852"/>
              <a:gd name="csY278" fmla="*/ 727233 h 3212801"/>
              <a:gd name="csX279" fmla="*/ 1036110 w 1315852"/>
              <a:gd name="csY279" fmla="*/ 592920 h 3212801"/>
              <a:gd name="csX280" fmla="*/ 1043677 w 1315852"/>
              <a:gd name="csY280" fmla="*/ 542152 h 3212801"/>
              <a:gd name="csX281" fmla="*/ 1030884 w 1315852"/>
              <a:gd name="csY281" fmla="*/ 517222 h 3212801"/>
              <a:gd name="csX282" fmla="*/ 1009162 w 1315852"/>
              <a:gd name="csY282" fmla="*/ 507963 h 3212801"/>
              <a:gd name="csX283" fmla="*/ 931266 w 1315852"/>
              <a:gd name="csY283" fmla="*/ 493552 h 3212801"/>
              <a:gd name="csX284" fmla="*/ 880100 w 1315852"/>
              <a:gd name="csY284" fmla="*/ 488348 h 3212801"/>
              <a:gd name="csX285" fmla="*/ 835610 w 1315852"/>
              <a:gd name="csY285" fmla="*/ 485330 h 3212801"/>
              <a:gd name="csX286" fmla="*/ 755014 w 1315852"/>
              <a:gd name="csY286" fmla="*/ 480162 h 3212801"/>
              <a:gd name="csX287" fmla="*/ 657249 w 1315852"/>
              <a:gd name="csY287" fmla="*/ 482686 h 3212801"/>
              <a:gd name="csX288" fmla="*/ 643184 w 1315852"/>
              <a:gd name="csY288" fmla="*/ 500211 h 3212801"/>
              <a:gd name="csX289" fmla="*/ 645220 w 1315852"/>
              <a:gd name="csY289" fmla="*/ 511112 h 3212801"/>
              <a:gd name="csX290" fmla="*/ 648129 w 1315852"/>
              <a:gd name="csY290" fmla="*/ 615881 h 3212801"/>
              <a:gd name="csX291" fmla="*/ 886495 w 1315852"/>
              <a:gd name="csY291" fmla="*/ 1207714 h 3212801"/>
              <a:gd name="csX292" fmla="*/ 881380 w 1315852"/>
              <a:gd name="csY292" fmla="*/ 1202980 h 3212801"/>
              <a:gd name="csX293" fmla="*/ 866913 w 1315852"/>
              <a:gd name="csY293" fmla="*/ 1175042 h 3212801"/>
              <a:gd name="csX294" fmla="*/ 866482 w 1315852"/>
              <a:gd name="csY294" fmla="*/ 1156869 h 3212801"/>
              <a:gd name="csX295" fmla="*/ 856429 w 1315852"/>
              <a:gd name="csY295" fmla="*/ 1147458 h 3212801"/>
              <a:gd name="csX296" fmla="*/ 790615 w 1315852"/>
              <a:gd name="csY296" fmla="*/ 1147813 h 3212801"/>
              <a:gd name="csX297" fmla="*/ 718484 w 1315852"/>
              <a:gd name="csY297" fmla="*/ 1153058 h 3212801"/>
              <a:gd name="csX298" fmla="*/ 671232 w 1315852"/>
              <a:gd name="csY298" fmla="*/ 1156034 h 3212801"/>
              <a:gd name="csX299" fmla="*/ 664146 w 1315852"/>
              <a:gd name="csY299" fmla="*/ 1168443 h 3212801"/>
              <a:gd name="csX300" fmla="*/ 667611 w 1315852"/>
              <a:gd name="csY300" fmla="*/ 1187354 h 3212801"/>
              <a:gd name="csX301" fmla="*/ 667803 w 1315852"/>
              <a:gd name="csY301" fmla="*/ 1283992 h 3212801"/>
              <a:gd name="csX302" fmla="*/ 683140 w 1315852"/>
              <a:gd name="csY302" fmla="*/ 1298850 h 3212801"/>
              <a:gd name="csX303" fmla="*/ 736011 w 1315852"/>
              <a:gd name="csY303" fmla="*/ 1296220 h 3212801"/>
              <a:gd name="csX304" fmla="*/ 830893 w 1315852"/>
              <a:gd name="csY304" fmla="*/ 1293324 h 3212801"/>
              <a:gd name="csX305" fmla="*/ 833691 w 1315852"/>
              <a:gd name="csY305" fmla="*/ 1293213 h 3212801"/>
              <a:gd name="csX306" fmla="*/ 903014 w 1315852"/>
              <a:gd name="csY306" fmla="*/ 1287831 h 3212801"/>
              <a:gd name="csX307" fmla="*/ 917225 w 1315852"/>
              <a:gd name="csY307" fmla="*/ 1271856 h 3212801"/>
              <a:gd name="csX308" fmla="*/ 886495 w 1315852"/>
              <a:gd name="csY308" fmla="*/ 1207714 h 321280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  <a:cxn ang="0">
                <a:pos x="csX170" y="csY170"/>
              </a:cxn>
              <a:cxn ang="0">
                <a:pos x="csX171" y="csY171"/>
              </a:cxn>
              <a:cxn ang="0">
                <a:pos x="csX172" y="csY172"/>
              </a:cxn>
              <a:cxn ang="0">
                <a:pos x="csX173" y="csY173"/>
              </a:cxn>
              <a:cxn ang="0">
                <a:pos x="csX174" y="csY174"/>
              </a:cxn>
              <a:cxn ang="0">
                <a:pos x="csX175" y="csY175"/>
              </a:cxn>
              <a:cxn ang="0">
                <a:pos x="csX176" y="csY176"/>
              </a:cxn>
              <a:cxn ang="0">
                <a:pos x="csX177" y="csY177"/>
              </a:cxn>
              <a:cxn ang="0">
                <a:pos x="csX178" y="csY178"/>
              </a:cxn>
              <a:cxn ang="0">
                <a:pos x="csX179" y="csY179"/>
              </a:cxn>
              <a:cxn ang="0">
                <a:pos x="csX180" y="csY180"/>
              </a:cxn>
              <a:cxn ang="0">
                <a:pos x="csX181" y="csY181"/>
              </a:cxn>
              <a:cxn ang="0">
                <a:pos x="csX182" y="csY182"/>
              </a:cxn>
              <a:cxn ang="0">
                <a:pos x="csX183" y="csY183"/>
              </a:cxn>
              <a:cxn ang="0">
                <a:pos x="csX184" y="csY184"/>
              </a:cxn>
              <a:cxn ang="0">
                <a:pos x="csX185" y="csY185"/>
              </a:cxn>
              <a:cxn ang="0">
                <a:pos x="csX186" y="csY186"/>
              </a:cxn>
              <a:cxn ang="0">
                <a:pos x="csX187" y="csY187"/>
              </a:cxn>
              <a:cxn ang="0">
                <a:pos x="csX188" y="csY188"/>
              </a:cxn>
              <a:cxn ang="0">
                <a:pos x="csX189" y="csY189"/>
              </a:cxn>
              <a:cxn ang="0">
                <a:pos x="csX190" y="csY190"/>
              </a:cxn>
              <a:cxn ang="0">
                <a:pos x="csX191" y="csY191"/>
              </a:cxn>
              <a:cxn ang="0">
                <a:pos x="csX192" y="csY192"/>
              </a:cxn>
              <a:cxn ang="0">
                <a:pos x="csX193" y="csY193"/>
              </a:cxn>
              <a:cxn ang="0">
                <a:pos x="csX194" y="csY194"/>
              </a:cxn>
              <a:cxn ang="0">
                <a:pos x="csX195" y="csY195"/>
              </a:cxn>
              <a:cxn ang="0">
                <a:pos x="csX196" y="csY196"/>
              </a:cxn>
              <a:cxn ang="0">
                <a:pos x="csX197" y="csY197"/>
              </a:cxn>
              <a:cxn ang="0">
                <a:pos x="csX198" y="csY198"/>
              </a:cxn>
              <a:cxn ang="0">
                <a:pos x="csX199" y="csY199"/>
              </a:cxn>
              <a:cxn ang="0">
                <a:pos x="csX200" y="csY200"/>
              </a:cxn>
              <a:cxn ang="0">
                <a:pos x="csX201" y="csY201"/>
              </a:cxn>
              <a:cxn ang="0">
                <a:pos x="csX202" y="csY202"/>
              </a:cxn>
              <a:cxn ang="0">
                <a:pos x="csX203" y="csY203"/>
              </a:cxn>
              <a:cxn ang="0">
                <a:pos x="csX204" y="csY204"/>
              </a:cxn>
              <a:cxn ang="0">
                <a:pos x="csX205" y="csY205"/>
              </a:cxn>
              <a:cxn ang="0">
                <a:pos x="csX206" y="csY206"/>
              </a:cxn>
              <a:cxn ang="0">
                <a:pos x="csX207" y="csY207"/>
              </a:cxn>
              <a:cxn ang="0">
                <a:pos x="csX208" y="csY208"/>
              </a:cxn>
              <a:cxn ang="0">
                <a:pos x="csX209" y="csY209"/>
              </a:cxn>
              <a:cxn ang="0">
                <a:pos x="csX210" y="csY210"/>
              </a:cxn>
              <a:cxn ang="0">
                <a:pos x="csX211" y="csY211"/>
              </a:cxn>
              <a:cxn ang="0">
                <a:pos x="csX212" y="csY212"/>
              </a:cxn>
              <a:cxn ang="0">
                <a:pos x="csX213" y="csY213"/>
              </a:cxn>
              <a:cxn ang="0">
                <a:pos x="csX214" y="csY214"/>
              </a:cxn>
              <a:cxn ang="0">
                <a:pos x="csX215" y="csY215"/>
              </a:cxn>
              <a:cxn ang="0">
                <a:pos x="csX216" y="csY216"/>
              </a:cxn>
              <a:cxn ang="0">
                <a:pos x="csX217" y="csY217"/>
              </a:cxn>
              <a:cxn ang="0">
                <a:pos x="csX218" y="csY218"/>
              </a:cxn>
              <a:cxn ang="0">
                <a:pos x="csX219" y="csY219"/>
              </a:cxn>
              <a:cxn ang="0">
                <a:pos x="csX220" y="csY220"/>
              </a:cxn>
              <a:cxn ang="0">
                <a:pos x="csX221" y="csY221"/>
              </a:cxn>
              <a:cxn ang="0">
                <a:pos x="csX222" y="csY222"/>
              </a:cxn>
              <a:cxn ang="0">
                <a:pos x="csX223" y="csY223"/>
              </a:cxn>
              <a:cxn ang="0">
                <a:pos x="csX224" y="csY224"/>
              </a:cxn>
              <a:cxn ang="0">
                <a:pos x="csX225" y="csY225"/>
              </a:cxn>
              <a:cxn ang="0">
                <a:pos x="csX226" y="csY226"/>
              </a:cxn>
              <a:cxn ang="0">
                <a:pos x="csX227" y="csY227"/>
              </a:cxn>
              <a:cxn ang="0">
                <a:pos x="csX228" y="csY228"/>
              </a:cxn>
              <a:cxn ang="0">
                <a:pos x="csX229" y="csY229"/>
              </a:cxn>
              <a:cxn ang="0">
                <a:pos x="csX230" y="csY230"/>
              </a:cxn>
              <a:cxn ang="0">
                <a:pos x="csX231" y="csY231"/>
              </a:cxn>
              <a:cxn ang="0">
                <a:pos x="csX232" y="csY232"/>
              </a:cxn>
              <a:cxn ang="0">
                <a:pos x="csX233" y="csY233"/>
              </a:cxn>
              <a:cxn ang="0">
                <a:pos x="csX234" y="csY234"/>
              </a:cxn>
              <a:cxn ang="0">
                <a:pos x="csX235" y="csY235"/>
              </a:cxn>
              <a:cxn ang="0">
                <a:pos x="csX236" y="csY236"/>
              </a:cxn>
              <a:cxn ang="0">
                <a:pos x="csX237" y="csY237"/>
              </a:cxn>
              <a:cxn ang="0">
                <a:pos x="csX238" y="csY238"/>
              </a:cxn>
              <a:cxn ang="0">
                <a:pos x="csX239" y="csY239"/>
              </a:cxn>
              <a:cxn ang="0">
                <a:pos x="csX240" y="csY240"/>
              </a:cxn>
              <a:cxn ang="0">
                <a:pos x="csX241" y="csY241"/>
              </a:cxn>
              <a:cxn ang="0">
                <a:pos x="csX242" y="csY242"/>
              </a:cxn>
              <a:cxn ang="0">
                <a:pos x="csX243" y="csY243"/>
              </a:cxn>
              <a:cxn ang="0">
                <a:pos x="csX244" y="csY244"/>
              </a:cxn>
              <a:cxn ang="0">
                <a:pos x="csX245" y="csY245"/>
              </a:cxn>
              <a:cxn ang="0">
                <a:pos x="csX246" y="csY246"/>
              </a:cxn>
              <a:cxn ang="0">
                <a:pos x="csX247" y="csY247"/>
              </a:cxn>
              <a:cxn ang="0">
                <a:pos x="csX248" y="csY248"/>
              </a:cxn>
              <a:cxn ang="0">
                <a:pos x="csX249" y="csY249"/>
              </a:cxn>
              <a:cxn ang="0">
                <a:pos x="csX250" y="csY250"/>
              </a:cxn>
              <a:cxn ang="0">
                <a:pos x="csX251" y="csY251"/>
              </a:cxn>
              <a:cxn ang="0">
                <a:pos x="csX252" y="csY252"/>
              </a:cxn>
              <a:cxn ang="0">
                <a:pos x="csX253" y="csY253"/>
              </a:cxn>
              <a:cxn ang="0">
                <a:pos x="csX254" y="csY254"/>
              </a:cxn>
              <a:cxn ang="0">
                <a:pos x="csX255" y="csY255"/>
              </a:cxn>
              <a:cxn ang="0">
                <a:pos x="csX256" y="csY256"/>
              </a:cxn>
              <a:cxn ang="0">
                <a:pos x="csX257" y="csY257"/>
              </a:cxn>
              <a:cxn ang="0">
                <a:pos x="csX258" y="csY258"/>
              </a:cxn>
              <a:cxn ang="0">
                <a:pos x="csX259" y="csY259"/>
              </a:cxn>
              <a:cxn ang="0">
                <a:pos x="csX260" y="csY260"/>
              </a:cxn>
              <a:cxn ang="0">
                <a:pos x="csX261" y="csY261"/>
              </a:cxn>
              <a:cxn ang="0">
                <a:pos x="csX262" y="csY262"/>
              </a:cxn>
              <a:cxn ang="0">
                <a:pos x="csX263" y="csY263"/>
              </a:cxn>
              <a:cxn ang="0">
                <a:pos x="csX264" y="csY264"/>
              </a:cxn>
              <a:cxn ang="0">
                <a:pos x="csX265" y="csY265"/>
              </a:cxn>
              <a:cxn ang="0">
                <a:pos x="csX266" y="csY266"/>
              </a:cxn>
              <a:cxn ang="0">
                <a:pos x="csX267" y="csY267"/>
              </a:cxn>
              <a:cxn ang="0">
                <a:pos x="csX268" y="csY268"/>
              </a:cxn>
              <a:cxn ang="0">
                <a:pos x="csX269" y="csY269"/>
              </a:cxn>
              <a:cxn ang="0">
                <a:pos x="csX270" y="csY270"/>
              </a:cxn>
              <a:cxn ang="0">
                <a:pos x="csX271" y="csY271"/>
              </a:cxn>
              <a:cxn ang="0">
                <a:pos x="csX272" y="csY272"/>
              </a:cxn>
              <a:cxn ang="0">
                <a:pos x="csX273" y="csY273"/>
              </a:cxn>
              <a:cxn ang="0">
                <a:pos x="csX274" y="csY274"/>
              </a:cxn>
              <a:cxn ang="0">
                <a:pos x="csX275" y="csY275"/>
              </a:cxn>
              <a:cxn ang="0">
                <a:pos x="csX276" y="csY276"/>
              </a:cxn>
              <a:cxn ang="0">
                <a:pos x="csX277" y="csY277"/>
              </a:cxn>
              <a:cxn ang="0">
                <a:pos x="csX278" y="csY278"/>
              </a:cxn>
              <a:cxn ang="0">
                <a:pos x="csX279" y="csY279"/>
              </a:cxn>
              <a:cxn ang="0">
                <a:pos x="csX280" y="csY280"/>
              </a:cxn>
              <a:cxn ang="0">
                <a:pos x="csX281" y="csY281"/>
              </a:cxn>
              <a:cxn ang="0">
                <a:pos x="csX282" y="csY282"/>
              </a:cxn>
              <a:cxn ang="0">
                <a:pos x="csX283" y="csY283"/>
              </a:cxn>
              <a:cxn ang="0">
                <a:pos x="csX284" y="csY284"/>
              </a:cxn>
              <a:cxn ang="0">
                <a:pos x="csX285" y="csY285"/>
              </a:cxn>
              <a:cxn ang="0">
                <a:pos x="csX286" y="csY286"/>
              </a:cxn>
              <a:cxn ang="0">
                <a:pos x="csX287" y="csY287"/>
              </a:cxn>
              <a:cxn ang="0">
                <a:pos x="csX288" y="csY288"/>
              </a:cxn>
              <a:cxn ang="0">
                <a:pos x="csX289" y="csY289"/>
              </a:cxn>
              <a:cxn ang="0">
                <a:pos x="csX290" y="csY290"/>
              </a:cxn>
              <a:cxn ang="0">
                <a:pos x="csX291" y="csY291"/>
              </a:cxn>
              <a:cxn ang="0">
                <a:pos x="csX292" y="csY292"/>
              </a:cxn>
              <a:cxn ang="0">
                <a:pos x="csX293" y="csY293"/>
              </a:cxn>
              <a:cxn ang="0">
                <a:pos x="csX294" y="csY294"/>
              </a:cxn>
              <a:cxn ang="0">
                <a:pos x="csX295" y="csY295"/>
              </a:cxn>
              <a:cxn ang="0">
                <a:pos x="csX296" y="csY296"/>
              </a:cxn>
              <a:cxn ang="0">
                <a:pos x="csX297" y="csY297"/>
              </a:cxn>
              <a:cxn ang="0">
                <a:pos x="csX298" y="csY298"/>
              </a:cxn>
              <a:cxn ang="0">
                <a:pos x="csX299" y="csY299"/>
              </a:cxn>
              <a:cxn ang="0">
                <a:pos x="csX300" y="csY300"/>
              </a:cxn>
              <a:cxn ang="0">
                <a:pos x="csX301" y="csY301"/>
              </a:cxn>
              <a:cxn ang="0">
                <a:pos x="csX302" y="csY302"/>
              </a:cxn>
              <a:cxn ang="0">
                <a:pos x="csX303" y="csY303"/>
              </a:cxn>
              <a:cxn ang="0">
                <a:pos x="csX304" y="csY304"/>
              </a:cxn>
              <a:cxn ang="0">
                <a:pos x="csX305" y="csY305"/>
              </a:cxn>
              <a:cxn ang="0">
                <a:pos x="csX306" y="csY306"/>
              </a:cxn>
              <a:cxn ang="0">
                <a:pos x="csX307" y="csY307"/>
              </a:cxn>
              <a:cxn ang="0">
                <a:pos x="csX308" y="csY308"/>
              </a:cxn>
            </a:cxnLst>
            <a:rect l="l" t="t" r="r" b="b"/>
            <a:pathLst>
              <a:path w="1315852" h="3212801">
                <a:moveTo>
                  <a:pt x="898754" y="1637125"/>
                </a:moveTo>
                <a:cubicBezTo>
                  <a:pt x="899614" y="1640179"/>
                  <a:pt x="900338" y="1641975"/>
                  <a:pt x="900426" y="1643802"/>
                </a:cubicBezTo>
                <a:cubicBezTo>
                  <a:pt x="901475" y="1665651"/>
                  <a:pt x="902040" y="1687530"/>
                  <a:pt x="903549" y="1709345"/>
                </a:cubicBezTo>
                <a:cubicBezTo>
                  <a:pt x="904508" y="1723191"/>
                  <a:pt x="906945" y="1736929"/>
                  <a:pt x="908512" y="1750739"/>
                </a:cubicBezTo>
                <a:cubicBezTo>
                  <a:pt x="909768" y="1761809"/>
                  <a:pt x="910504" y="1772940"/>
                  <a:pt x="911839" y="1783999"/>
                </a:cubicBezTo>
                <a:cubicBezTo>
                  <a:pt x="914339" y="1804698"/>
                  <a:pt x="917061" y="1825371"/>
                  <a:pt x="919775" y="1846044"/>
                </a:cubicBezTo>
                <a:cubicBezTo>
                  <a:pt x="922673" y="1868112"/>
                  <a:pt x="925267" y="1890230"/>
                  <a:pt x="928724" y="1912212"/>
                </a:cubicBezTo>
                <a:cubicBezTo>
                  <a:pt x="933262" y="1941073"/>
                  <a:pt x="938122" y="1969897"/>
                  <a:pt x="943556" y="1998602"/>
                </a:cubicBezTo>
                <a:cubicBezTo>
                  <a:pt x="951321" y="2039621"/>
                  <a:pt x="959572" y="2080549"/>
                  <a:pt x="967918" y="2121455"/>
                </a:cubicBezTo>
                <a:cubicBezTo>
                  <a:pt x="974414" y="2153298"/>
                  <a:pt x="980861" y="2185166"/>
                  <a:pt x="988236" y="2216813"/>
                </a:cubicBezTo>
                <a:cubicBezTo>
                  <a:pt x="1001417" y="2273372"/>
                  <a:pt x="1015007" y="2329839"/>
                  <a:pt x="1028961" y="2386212"/>
                </a:cubicBezTo>
                <a:cubicBezTo>
                  <a:pt x="1037223" y="2419597"/>
                  <a:pt x="1046464" y="2452740"/>
                  <a:pt x="1055369" y="2485963"/>
                </a:cubicBezTo>
                <a:cubicBezTo>
                  <a:pt x="1057341" y="2493320"/>
                  <a:pt x="1060485" y="2498788"/>
                  <a:pt x="1069125" y="2501571"/>
                </a:cubicBezTo>
                <a:cubicBezTo>
                  <a:pt x="1081467" y="2505544"/>
                  <a:pt x="1093147" y="2511758"/>
                  <a:pt x="1104775" y="2517672"/>
                </a:cubicBezTo>
                <a:cubicBezTo>
                  <a:pt x="1109642" y="2520148"/>
                  <a:pt x="1114279" y="2523752"/>
                  <a:pt x="1117910" y="2527831"/>
                </a:cubicBezTo>
                <a:cubicBezTo>
                  <a:pt x="1124099" y="2534784"/>
                  <a:pt x="1126976" y="2542950"/>
                  <a:pt x="1122737" y="2552282"/>
                </a:cubicBezTo>
                <a:cubicBezTo>
                  <a:pt x="1120041" y="2558217"/>
                  <a:pt x="1118208" y="2564666"/>
                  <a:pt x="1114779" y="2570125"/>
                </a:cubicBezTo>
                <a:cubicBezTo>
                  <a:pt x="1104671" y="2586210"/>
                  <a:pt x="1107442" y="2602158"/>
                  <a:pt x="1114207" y="2618225"/>
                </a:cubicBezTo>
                <a:cubicBezTo>
                  <a:pt x="1121782" y="2636214"/>
                  <a:pt x="1134908" y="2650364"/>
                  <a:pt x="1148150" y="2663984"/>
                </a:cubicBezTo>
                <a:cubicBezTo>
                  <a:pt x="1166992" y="2683364"/>
                  <a:pt x="1187718" y="2700911"/>
                  <a:pt x="1206600" y="2720256"/>
                </a:cubicBezTo>
                <a:cubicBezTo>
                  <a:pt x="1242228" y="2756756"/>
                  <a:pt x="1266941" y="2799706"/>
                  <a:pt x="1275524" y="2850317"/>
                </a:cubicBezTo>
                <a:cubicBezTo>
                  <a:pt x="1278084" y="2865409"/>
                  <a:pt x="1281110" y="2880935"/>
                  <a:pt x="1277353" y="2897326"/>
                </a:cubicBezTo>
                <a:cubicBezTo>
                  <a:pt x="1274514" y="2909711"/>
                  <a:pt x="1274674" y="2923014"/>
                  <a:pt x="1271355" y="2935725"/>
                </a:cubicBezTo>
                <a:cubicBezTo>
                  <a:pt x="1269750" y="2941870"/>
                  <a:pt x="1270927" y="2948063"/>
                  <a:pt x="1274691" y="2954335"/>
                </a:cubicBezTo>
                <a:cubicBezTo>
                  <a:pt x="1288477" y="2977303"/>
                  <a:pt x="1297024" y="3002358"/>
                  <a:pt x="1301797" y="3028744"/>
                </a:cubicBezTo>
                <a:cubicBezTo>
                  <a:pt x="1305016" y="3046537"/>
                  <a:pt x="1309526" y="3064135"/>
                  <a:pt x="1311943" y="3082025"/>
                </a:cubicBezTo>
                <a:cubicBezTo>
                  <a:pt x="1314240" y="3099026"/>
                  <a:pt x="1314491" y="3116299"/>
                  <a:pt x="1315801" y="3133440"/>
                </a:cubicBezTo>
                <a:cubicBezTo>
                  <a:pt x="1316312" y="3140137"/>
                  <a:pt x="1313007" y="3144001"/>
                  <a:pt x="1307182" y="3146201"/>
                </a:cubicBezTo>
                <a:cubicBezTo>
                  <a:pt x="1298468" y="3149492"/>
                  <a:pt x="1289929" y="3153581"/>
                  <a:pt x="1280933" y="3155733"/>
                </a:cubicBezTo>
                <a:cubicBezTo>
                  <a:pt x="1243908" y="3164594"/>
                  <a:pt x="1206866" y="3173472"/>
                  <a:pt x="1169576" y="3181105"/>
                </a:cubicBezTo>
                <a:cubicBezTo>
                  <a:pt x="1145999" y="3185932"/>
                  <a:pt x="1122051" y="3189224"/>
                  <a:pt x="1098129" y="3192005"/>
                </a:cubicBezTo>
                <a:cubicBezTo>
                  <a:pt x="1074162" y="3194791"/>
                  <a:pt x="1050013" y="3195993"/>
                  <a:pt x="1025959" y="3198069"/>
                </a:cubicBezTo>
                <a:cubicBezTo>
                  <a:pt x="1007015" y="3199703"/>
                  <a:pt x="988093" y="3201610"/>
                  <a:pt x="969161" y="3203391"/>
                </a:cubicBezTo>
                <a:cubicBezTo>
                  <a:pt x="968232" y="3203478"/>
                  <a:pt x="967299" y="3203552"/>
                  <a:pt x="966367" y="3203587"/>
                </a:cubicBezTo>
                <a:cubicBezTo>
                  <a:pt x="941242" y="3204545"/>
                  <a:pt x="916121" y="3205640"/>
                  <a:pt x="890991" y="3206415"/>
                </a:cubicBezTo>
                <a:cubicBezTo>
                  <a:pt x="856053" y="3207494"/>
                  <a:pt x="820973" y="3206720"/>
                  <a:pt x="786197" y="3209641"/>
                </a:cubicBezTo>
                <a:cubicBezTo>
                  <a:pt x="730188" y="3214346"/>
                  <a:pt x="674133" y="3212833"/>
                  <a:pt x="618254" y="3211234"/>
                </a:cubicBezTo>
                <a:cubicBezTo>
                  <a:pt x="580962" y="3210166"/>
                  <a:pt x="543663" y="3210429"/>
                  <a:pt x="506392" y="3209195"/>
                </a:cubicBezTo>
                <a:cubicBezTo>
                  <a:pt x="485466" y="3208502"/>
                  <a:pt x="464553" y="3207412"/>
                  <a:pt x="443638" y="3206415"/>
                </a:cubicBezTo>
                <a:cubicBezTo>
                  <a:pt x="425522" y="3205552"/>
                  <a:pt x="407401" y="3204739"/>
                  <a:pt x="389301" y="3203597"/>
                </a:cubicBezTo>
                <a:cubicBezTo>
                  <a:pt x="361481" y="3201842"/>
                  <a:pt x="333617" y="3200446"/>
                  <a:pt x="305884" y="3197747"/>
                </a:cubicBezTo>
                <a:cubicBezTo>
                  <a:pt x="275907" y="3194830"/>
                  <a:pt x="246063" y="3190549"/>
                  <a:pt x="216151" y="3186940"/>
                </a:cubicBezTo>
                <a:cubicBezTo>
                  <a:pt x="191288" y="3183939"/>
                  <a:pt x="166206" y="3182205"/>
                  <a:pt x="141593" y="3177824"/>
                </a:cubicBezTo>
                <a:cubicBezTo>
                  <a:pt x="109171" y="3172054"/>
                  <a:pt x="77055" y="3164497"/>
                  <a:pt x="44929" y="3157176"/>
                </a:cubicBezTo>
                <a:cubicBezTo>
                  <a:pt x="33156" y="3154493"/>
                  <a:pt x="21711" y="3150349"/>
                  <a:pt x="10154" y="3146750"/>
                </a:cubicBezTo>
                <a:cubicBezTo>
                  <a:pt x="3067" y="3144544"/>
                  <a:pt x="-715" y="3140051"/>
                  <a:pt x="112" y="3132149"/>
                </a:cubicBezTo>
                <a:cubicBezTo>
                  <a:pt x="1898" y="3115092"/>
                  <a:pt x="2952" y="3097941"/>
                  <a:pt x="5263" y="3080960"/>
                </a:cubicBezTo>
                <a:cubicBezTo>
                  <a:pt x="7512" y="3064431"/>
                  <a:pt x="11458" y="3048135"/>
                  <a:pt x="13758" y="3031612"/>
                </a:cubicBezTo>
                <a:cubicBezTo>
                  <a:pt x="17373" y="3005647"/>
                  <a:pt x="28643" y="2982695"/>
                  <a:pt x="40996" y="2960204"/>
                </a:cubicBezTo>
                <a:cubicBezTo>
                  <a:pt x="43921" y="2954879"/>
                  <a:pt x="44978" y="2950688"/>
                  <a:pt x="43510" y="2944616"/>
                </a:cubicBezTo>
                <a:cubicBezTo>
                  <a:pt x="38022" y="2921926"/>
                  <a:pt x="34351" y="2898766"/>
                  <a:pt x="36916" y="2875457"/>
                </a:cubicBezTo>
                <a:cubicBezTo>
                  <a:pt x="38685" y="2859391"/>
                  <a:pt x="42237" y="2843358"/>
                  <a:pt x="46646" y="2827778"/>
                </a:cubicBezTo>
                <a:cubicBezTo>
                  <a:pt x="58040" y="2787514"/>
                  <a:pt x="79014" y="2752619"/>
                  <a:pt x="108895" y="2723307"/>
                </a:cubicBezTo>
                <a:cubicBezTo>
                  <a:pt x="135212" y="2697491"/>
                  <a:pt x="162086" y="2672243"/>
                  <a:pt x="188375" y="2646399"/>
                </a:cubicBezTo>
                <a:cubicBezTo>
                  <a:pt x="199778" y="2635188"/>
                  <a:pt x="207849" y="2622209"/>
                  <a:pt x="211535" y="2605867"/>
                </a:cubicBezTo>
                <a:cubicBezTo>
                  <a:pt x="214510" y="2592678"/>
                  <a:pt x="211592" y="2582100"/>
                  <a:pt x="205182" y="2571418"/>
                </a:cubicBezTo>
                <a:cubicBezTo>
                  <a:pt x="202318" y="2566645"/>
                  <a:pt x="198777" y="2562163"/>
                  <a:pt x="196651" y="2557085"/>
                </a:cubicBezTo>
                <a:cubicBezTo>
                  <a:pt x="190347" y="2542031"/>
                  <a:pt x="194717" y="2529077"/>
                  <a:pt x="209021" y="2521560"/>
                </a:cubicBezTo>
                <a:cubicBezTo>
                  <a:pt x="220978" y="2515277"/>
                  <a:pt x="233317" y="2509655"/>
                  <a:pt x="245764" y="2504395"/>
                </a:cubicBezTo>
                <a:cubicBezTo>
                  <a:pt x="254856" y="2500554"/>
                  <a:pt x="261020" y="2495272"/>
                  <a:pt x="263769" y="2485128"/>
                </a:cubicBezTo>
                <a:cubicBezTo>
                  <a:pt x="275569" y="2441581"/>
                  <a:pt x="288425" y="2398319"/>
                  <a:pt x="300045" y="2354726"/>
                </a:cubicBezTo>
                <a:cubicBezTo>
                  <a:pt x="309381" y="2319703"/>
                  <a:pt x="318110" y="2284492"/>
                  <a:pt x="326003" y="2249117"/>
                </a:cubicBezTo>
                <a:cubicBezTo>
                  <a:pt x="337625" y="2197029"/>
                  <a:pt x="348457" y="2144762"/>
                  <a:pt x="359250" y="2092493"/>
                </a:cubicBezTo>
                <a:cubicBezTo>
                  <a:pt x="365909" y="2060243"/>
                  <a:pt x="372293" y="2027924"/>
                  <a:pt x="378011" y="1995496"/>
                </a:cubicBezTo>
                <a:cubicBezTo>
                  <a:pt x="382679" y="1969018"/>
                  <a:pt x="386061" y="1942315"/>
                  <a:pt x="390230" y="1915745"/>
                </a:cubicBezTo>
                <a:cubicBezTo>
                  <a:pt x="393606" y="1894227"/>
                  <a:pt x="397846" y="1872831"/>
                  <a:pt x="400702" y="1851249"/>
                </a:cubicBezTo>
                <a:cubicBezTo>
                  <a:pt x="403440" y="1830558"/>
                  <a:pt x="404754" y="1809683"/>
                  <a:pt x="406954" y="1788916"/>
                </a:cubicBezTo>
                <a:cubicBezTo>
                  <a:pt x="408419" y="1775096"/>
                  <a:pt x="410485" y="1761340"/>
                  <a:pt x="412016" y="1747526"/>
                </a:cubicBezTo>
                <a:cubicBezTo>
                  <a:pt x="413295" y="1735991"/>
                  <a:pt x="414503" y="1724431"/>
                  <a:pt x="415185" y="1712850"/>
                </a:cubicBezTo>
                <a:cubicBezTo>
                  <a:pt x="416387" y="1692414"/>
                  <a:pt x="416884" y="1671935"/>
                  <a:pt x="418197" y="1651507"/>
                </a:cubicBezTo>
                <a:cubicBezTo>
                  <a:pt x="419655" y="1628814"/>
                  <a:pt x="422378" y="1606186"/>
                  <a:pt x="423324" y="1583479"/>
                </a:cubicBezTo>
                <a:cubicBezTo>
                  <a:pt x="424797" y="1548109"/>
                  <a:pt x="425243" y="1512695"/>
                  <a:pt x="426059" y="1477299"/>
                </a:cubicBezTo>
                <a:cubicBezTo>
                  <a:pt x="426077" y="1476493"/>
                  <a:pt x="425310" y="1475668"/>
                  <a:pt x="424204" y="1473415"/>
                </a:cubicBezTo>
                <a:cubicBezTo>
                  <a:pt x="413635" y="1472358"/>
                  <a:pt x="402157" y="1471516"/>
                  <a:pt x="390769" y="1470003"/>
                </a:cubicBezTo>
                <a:cubicBezTo>
                  <a:pt x="369635" y="1467195"/>
                  <a:pt x="348419" y="1464707"/>
                  <a:pt x="327487" y="1460760"/>
                </a:cubicBezTo>
                <a:cubicBezTo>
                  <a:pt x="305605" y="1456634"/>
                  <a:pt x="286603" y="1433026"/>
                  <a:pt x="289037" y="1410705"/>
                </a:cubicBezTo>
                <a:cubicBezTo>
                  <a:pt x="290343" y="1398733"/>
                  <a:pt x="289247" y="1386137"/>
                  <a:pt x="292610" y="1374826"/>
                </a:cubicBezTo>
                <a:cubicBezTo>
                  <a:pt x="299584" y="1351367"/>
                  <a:pt x="313866" y="1331810"/>
                  <a:pt x="335365" y="1319956"/>
                </a:cubicBezTo>
                <a:cubicBezTo>
                  <a:pt x="349736" y="1312032"/>
                  <a:pt x="355513" y="1300196"/>
                  <a:pt x="358966" y="1286091"/>
                </a:cubicBezTo>
                <a:cubicBezTo>
                  <a:pt x="363751" y="1266546"/>
                  <a:pt x="376163" y="1252003"/>
                  <a:pt x="390267" y="1239202"/>
                </a:cubicBezTo>
                <a:cubicBezTo>
                  <a:pt x="404675" y="1226125"/>
                  <a:pt x="421167" y="1215364"/>
                  <a:pt x="435898" y="1202610"/>
                </a:cubicBezTo>
                <a:cubicBezTo>
                  <a:pt x="439929" y="1199120"/>
                  <a:pt x="441515" y="1192282"/>
                  <a:pt x="443089" y="1186662"/>
                </a:cubicBezTo>
                <a:cubicBezTo>
                  <a:pt x="444184" y="1182756"/>
                  <a:pt x="443471" y="1178302"/>
                  <a:pt x="443336" y="1174100"/>
                </a:cubicBezTo>
                <a:cubicBezTo>
                  <a:pt x="443002" y="1163708"/>
                  <a:pt x="442564" y="1164032"/>
                  <a:pt x="432713" y="1161284"/>
                </a:cubicBezTo>
                <a:cubicBezTo>
                  <a:pt x="423812" y="1158801"/>
                  <a:pt x="415102" y="1155322"/>
                  <a:pt x="406712" y="1151413"/>
                </a:cubicBezTo>
                <a:cubicBezTo>
                  <a:pt x="398571" y="1147621"/>
                  <a:pt x="396617" y="1143812"/>
                  <a:pt x="399212" y="1135845"/>
                </a:cubicBezTo>
                <a:cubicBezTo>
                  <a:pt x="401786" y="1127943"/>
                  <a:pt x="404616" y="1119485"/>
                  <a:pt x="409719" y="1113213"/>
                </a:cubicBezTo>
                <a:cubicBezTo>
                  <a:pt x="415540" y="1106060"/>
                  <a:pt x="416443" y="1098866"/>
                  <a:pt x="414650" y="1091062"/>
                </a:cubicBezTo>
                <a:cubicBezTo>
                  <a:pt x="410906" y="1074773"/>
                  <a:pt x="407015" y="1058465"/>
                  <a:pt x="402048" y="1042520"/>
                </a:cubicBezTo>
                <a:cubicBezTo>
                  <a:pt x="390546" y="1005592"/>
                  <a:pt x="378091" y="968962"/>
                  <a:pt x="366526" y="932054"/>
                </a:cubicBezTo>
                <a:cubicBezTo>
                  <a:pt x="345804" y="865923"/>
                  <a:pt x="325665" y="799609"/>
                  <a:pt x="304855" y="733506"/>
                </a:cubicBezTo>
                <a:cubicBezTo>
                  <a:pt x="294926" y="701966"/>
                  <a:pt x="283362" y="670934"/>
                  <a:pt x="273722" y="639312"/>
                </a:cubicBezTo>
                <a:cubicBezTo>
                  <a:pt x="262471" y="602404"/>
                  <a:pt x="251509" y="565342"/>
                  <a:pt x="242525" y="527843"/>
                </a:cubicBezTo>
                <a:cubicBezTo>
                  <a:pt x="239293" y="514353"/>
                  <a:pt x="237774" y="498828"/>
                  <a:pt x="245838" y="485521"/>
                </a:cubicBezTo>
                <a:cubicBezTo>
                  <a:pt x="248810" y="480617"/>
                  <a:pt x="253278" y="475342"/>
                  <a:pt x="258319" y="473233"/>
                </a:cubicBezTo>
                <a:cubicBezTo>
                  <a:pt x="268936" y="468788"/>
                  <a:pt x="280185" y="464871"/>
                  <a:pt x="291527" y="463336"/>
                </a:cubicBezTo>
                <a:cubicBezTo>
                  <a:pt x="318626" y="459667"/>
                  <a:pt x="345903" y="457192"/>
                  <a:pt x="373160" y="454842"/>
                </a:cubicBezTo>
                <a:cubicBezTo>
                  <a:pt x="391221" y="453285"/>
                  <a:pt x="409382" y="452934"/>
                  <a:pt x="427480" y="451758"/>
                </a:cubicBezTo>
                <a:cubicBezTo>
                  <a:pt x="444131" y="450676"/>
                  <a:pt x="460757" y="449212"/>
                  <a:pt x="477998" y="447870"/>
                </a:cubicBezTo>
                <a:cubicBezTo>
                  <a:pt x="478532" y="446298"/>
                  <a:pt x="479654" y="444590"/>
                  <a:pt x="479585" y="442932"/>
                </a:cubicBezTo>
                <a:cubicBezTo>
                  <a:pt x="479223" y="434201"/>
                  <a:pt x="480208" y="426475"/>
                  <a:pt x="488907" y="421401"/>
                </a:cubicBezTo>
                <a:cubicBezTo>
                  <a:pt x="493200" y="418897"/>
                  <a:pt x="494755" y="414446"/>
                  <a:pt x="492315" y="409196"/>
                </a:cubicBezTo>
                <a:cubicBezTo>
                  <a:pt x="489226" y="402552"/>
                  <a:pt x="492501" y="398939"/>
                  <a:pt x="498582" y="396231"/>
                </a:cubicBezTo>
                <a:cubicBezTo>
                  <a:pt x="513139" y="389749"/>
                  <a:pt x="523218" y="378073"/>
                  <a:pt x="531424" y="365066"/>
                </a:cubicBezTo>
                <a:cubicBezTo>
                  <a:pt x="543844" y="345378"/>
                  <a:pt x="555388" y="325136"/>
                  <a:pt x="567201" y="305069"/>
                </a:cubicBezTo>
                <a:cubicBezTo>
                  <a:pt x="571692" y="297440"/>
                  <a:pt x="576215" y="289801"/>
                  <a:pt x="580157" y="281885"/>
                </a:cubicBezTo>
                <a:cubicBezTo>
                  <a:pt x="585924" y="270307"/>
                  <a:pt x="585466" y="269028"/>
                  <a:pt x="575177" y="258759"/>
                </a:cubicBezTo>
                <a:cubicBezTo>
                  <a:pt x="540669" y="263385"/>
                  <a:pt x="508449" y="279582"/>
                  <a:pt x="472048" y="283266"/>
                </a:cubicBezTo>
                <a:cubicBezTo>
                  <a:pt x="468926" y="225961"/>
                  <a:pt x="477230" y="170326"/>
                  <a:pt x="473659" y="112243"/>
                </a:cubicBezTo>
                <a:cubicBezTo>
                  <a:pt x="479647" y="113333"/>
                  <a:pt x="483524" y="113631"/>
                  <a:pt x="487139" y="114763"/>
                </a:cubicBezTo>
                <a:cubicBezTo>
                  <a:pt x="514644" y="123375"/>
                  <a:pt x="541992" y="132503"/>
                  <a:pt x="569608" y="140735"/>
                </a:cubicBezTo>
                <a:cubicBezTo>
                  <a:pt x="584612" y="145208"/>
                  <a:pt x="590199" y="139652"/>
                  <a:pt x="585180" y="124742"/>
                </a:cubicBezTo>
                <a:cubicBezTo>
                  <a:pt x="578949" y="106227"/>
                  <a:pt x="571109" y="88251"/>
                  <a:pt x="563868" y="70080"/>
                </a:cubicBezTo>
                <a:cubicBezTo>
                  <a:pt x="558214" y="55891"/>
                  <a:pt x="552416" y="41758"/>
                  <a:pt x="546041" y="26021"/>
                </a:cubicBezTo>
                <a:cubicBezTo>
                  <a:pt x="554662" y="23284"/>
                  <a:pt x="561452" y="20680"/>
                  <a:pt x="568462" y="18986"/>
                </a:cubicBezTo>
                <a:cubicBezTo>
                  <a:pt x="591481" y="13422"/>
                  <a:pt x="614656" y="8495"/>
                  <a:pt x="637623" y="2731"/>
                </a:cubicBezTo>
                <a:cubicBezTo>
                  <a:pt x="656287" y="-1953"/>
                  <a:pt x="674559" y="-81"/>
                  <a:pt x="692817" y="4346"/>
                </a:cubicBezTo>
                <a:cubicBezTo>
                  <a:pt x="714944" y="9710"/>
                  <a:pt x="737021" y="15284"/>
                  <a:pt x="759126" y="20739"/>
                </a:cubicBezTo>
                <a:cubicBezTo>
                  <a:pt x="763594" y="21842"/>
                  <a:pt x="768092" y="22819"/>
                  <a:pt x="774460" y="24289"/>
                </a:cubicBezTo>
                <a:cubicBezTo>
                  <a:pt x="766727" y="43585"/>
                  <a:pt x="759317" y="62457"/>
                  <a:pt x="751608" y="81205"/>
                </a:cubicBezTo>
                <a:cubicBezTo>
                  <a:pt x="743947" y="99838"/>
                  <a:pt x="734803" y="117984"/>
                  <a:pt x="731002" y="141135"/>
                </a:cubicBezTo>
                <a:cubicBezTo>
                  <a:pt x="739490" y="139636"/>
                  <a:pt x="744805" y="139073"/>
                  <a:pt x="749917" y="137732"/>
                </a:cubicBezTo>
                <a:cubicBezTo>
                  <a:pt x="778702" y="130182"/>
                  <a:pt x="807436" y="122435"/>
                  <a:pt x="836197" y="114792"/>
                </a:cubicBezTo>
                <a:cubicBezTo>
                  <a:pt x="838352" y="114219"/>
                  <a:pt x="840584" y="113934"/>
                  <a:pt x="843209" y="113433"/>
                </a:cubicBezTo>
                <a:cubicBezTo>
                  <a:pt x="843710" y="115876"/>
                  <a:pt x="844352" y="117648"/>
                  <a:pt x="844400" y="119435"/>
                </a:cubicBezTo>
                <a:cubicBezTo>
                  <a:pt x="845405" y="157181"/>
                  <a:pt x="846208" y="194932"/>
                  <a:pt x="847390" y="232672"/>
                </a:cubicBezTo>
                <a:cubicBezTo>
                  <a:pt x="847695" y="242389"/>
                  <a:pt x="849334" y="252058"/>
                  <a:pt x="850015" y="261773"/>
                </a:cubicBezTo>
                <a:cubicBezTo>
                  <a:pt x="850401" y="267273"/>
                  <a:pt x="850085" y="272822"/>
                  <a:pt x="850085" y="280220"/>
                </a:cubicBezTo>
                <a:cubicBezTo>
                  <a:pt x="837463" y="277293"/>
                  <a:pt x="826347" y="274822"/>
                  <a:pt x="815285" y="272127"/>
                </a:cubicBezTo>
                <a:cubicBezTo>
                  <a:pt x="795873" y="267398"/>
                  <a:pt x="776299" y="263181"/>
                  <a:pt x="757181" y="257455"/>
                </a:cubicBezTo>
                <a:cubicBezTo>
                  <a:pt x="747363" y="254515"/>
                  <a:pt x="739983" y="255620"/>
                  <a:pt x="732939" y="263859"/>
                </a:cubicBezTo>
                <a:cubicBezTo>
                  <a:pt x="735150" y="269003"/>
                  <a:pt x="737509" y="274491"/>
                  <a:pt x="739871" y="279988"/>
                </a:cubicBezTo>
                <a:cubicBezTo>
                  <a:pt x="735196" y="284033"/>
                  <a:pt x="730592" y="288016"/>
                  <a:pt x="725900" y="292074"/>
                </a:cubicBezTo>
                <a:cubicBezTo>
                  <a:pt x="731987" y="302329"/>
                  <a:pt x="739718" y="300546"/>
                  <a:pt x="747132" y="298017"/>
                </a:cubicBezTo>
                <a:cubicBezTo>
                  <a:pt x="758463" y="305429"/>
                  <a:pt x="762190" y="317570"/>
                  <a:pt x="768268" y="327815"/>
                </a:cubicBezTo>
                <a:cubicBezTo>
                  <a:pt x="774924" y="339037"/>
                  <a:pt x="780217" y="351080"/>
                  <a:pt x="785901" y="362862"/>
                </a:cubicBezTo>
                <a:cubicBezTo>
                  <a:pt x="788639" y="368539"/>
                  <a:pt x="792017" y="372441"/>
                  <a:pt x="798627" y="374591"/>
                </a:cubicBezTo>
                <a:cubicBezTo>
                  <a:pt x="809488" y="378123"/>
                  <a:pt x="810054" y="379498"/>
                  <a:pt x="815580" y="387899"/>
                </a:cubicBezTo>
                <a:cubicBezTo>
                  <a:pt x="814864" y="388896"/>
                  <a:pt x="814194" y="390825"/>
                  <a:pt x="813282" y="390947"/>
                </a:cubicBezTo>
                <a:cubicBezTo>
                  <a:pt x="801085" y="392587"/>
                  <a:pt x="788983" y="395969"/>
                  <a:pt x="776501" y="393213"/>
                </a:cubicBezTo>
                <a:cubicBezTo>
                  <a:pt x="752021" y="387807"/>
                  <a:pt x="727631" y="382034"/>
                  <a:pt x="702336" y="381496"/>
                </a:cubicBezTo>
                <a:cubicBezTo>
                  <a:pt x="688886" y="381209"/>
                  <a:pt x="675464" y="379722"/>
                  <a:pt x="662021" y="378921"/>
                </a:cubicBezTo>
                <a:cubicBezTo>
                  <a:pt x="656307" y="378581"/>
                  <a:pt x="651557" y="380270"/>
                  <a:pt x="651111" y="386942"/>
                </a:cubicBezTo>
                <a:cubicBezTo>
                  <a:pt x="649994" y="403641"/>
                  <a:pt x="648739" y="420346"/>
                  <a:pt x="648295" y="437069"/>
                </a:cubicBezTo>
                <a:cubicBezTo>
                  <a:pt x="648034" y="446937"/>
                  <a:pt x="650047" y="448870"/>
                  <a:pt x="659561" y="448907"/>
                </a:cubicBezTo>
                <a:cubicBezTo>
                  <a:pt x="706308" y="449089"/>
                  <a:pt x="753056" y="448964"/>
                  <a:pt x="799805" y="449022"/>
                </a:cubicBezTo>
                <a:cubicBezTo>
                  <a:pt x="806377" y="449030"/>
                  <a:pt x="809905" y="446744"/>
                  <a:pt x="811083" y="439581"/>
                </a:cubicBezTo>
                <a:cubicBezTo>
                  <a:pt x="811941" y="434369"/>
                  <a:pt x="814063" y="427618"/>
                  <a:pt x="817945" y="425008"/>
                </a:cubicBezTo>
                <a:cubicBezTo>
                  <a:pt x="826399" y="419324"/>
                  <a:pt x="828426" y="411596"/>
                  <a:pt x="828609" y="403122"/>
                </a:cubicBezTo>
                <a:cubicBezTo>
                  <a:pt x="833858" y="400461"/>
                  <a:pt x="837181" y="402725"/>
                  <a:pt x="838374" y="406435"/>
                </a:cubicBezTo>
                <a:cubicBezTo>
                  <a:pt x="840905" y="414312"/>
                  <a:pt x="843515" y="422394"/>
                  <a:pt x="844275" y="430561"/>
                </a:cubicBezTo>
                <a:cubicBezTo>
                  <a:pt x="845704" y="445903"/>
                  <a:pt x="850511" y="450005"/>
                  <a:pt x="865761" y="447068"/>
                </a:cubicBezTo>
                <a:cubicBezTo>
                  <a:pt x="872626" y="445746"/>
                  <a:pt x="878915" y="445539"/>
                  <a:pt x="885673" y="449965"/>
                </a:cubicBezTo>
                <a:cubicBezTo>
                  <a:pt x="890708" y="453263"/>
                  <a:pt x="898041" y="453271"/>
                  <a:pt x="904428" y="454230"/>
                </a:cubicBezTo>
                <a:cubicBezTo>
                  <a:pt x="913142" y="455538"/>
                  <a:pt x="921904" y="456741"/>
                  <a:pt x="930689" y="457318"/>
                </a:cubicBezTo>
                <a:cubicBezTo>
                  <a:pt x="967829" y="459759"/>
                  <a:pt x="1003019" y="469066"/>
                  <a:pt x="1036296" y="485877"/>
                </a:cubicBezTo>
                <a:cubicBezTo>
                  <a:pt x="1057129" y="496401"/>
                  <a:pt x="1071673" y="512633"/>
                  <a:pt x="1076027" y="535212"/>
                </a:cubicBezTo>
                <a:cubicBezTo>
                  <a:pt x="1078694" y="549043"/>
                  <a:pt x="1078298" y="564366"/>
                  <a:pt x="1075403" y="578208"/>
                </a:cubicBezTo>
                <a:cubicBezTo>
                  <a:pt x="1064597" y="629873"/>
                  <a:pt x="1044688" y="678854"/>
                  <a:pt x="1028317" y="728867"/>
                </a:cubicBezTo>
                <a:cubicBezTo>
                  <a:pt x="1014112" y="772262"/>
                  <a:pt x="998310" y="815132"/>
                  <a:pt x="983498" y="858331"/>
                </a:cubicBezTo>
                <a:cubicBezTo>
                  <a:pt x="971714" y="892697"/>
                  <a:pt x="959865" y="927055"/>
                  <a:pt x="948940" y="961698"/>
                </a:cubicBezTo>
                <a:cubicBezTo>
                  <a:pt x="935780" y="1003426"/>
                  <a:pt x="923502" y="1045433"/>
                  <a:pt x="911066" y="1087385"/>
                </a:cubicBezTo>
                <a:cubicBezTo>
                  <a:pt x="910087" y="1090688"/>
                  <a:pt x="910738" y="1094511"/>
                  <a:pt x="910828" y="1098086"/>
                </a:cubicBezTo>
                <a:cubicBezTo>
                  <a:pt x="911096" y="1108800"/>
                  <a:pt x="911984" y="1119535"/>
                  <a:pt x="911498" y="1130209"/>
                </a:cubicBezTo>
                <a:cubicBezTo>
                  <a:pt x="911333" y="1133841"/>
                  <a:pt x="908325" y="1137771"/>
                  <a:pt x="905716" y="1140786"/>
                </a:cubicBezTo>
                <a:cubicBezTo>
                  <a:pt x="896689" y="1151217"/>
                  <a:pt x="895625" y="1160669"/>
                  <a:pt x="904041" y="1171694"/>
                </a:cubicBezTo>
                <a:cubicBezTo>
                  <a:pt x="912211" y="1182398"/>
                  <a:pt x="921368" y="1192341"/>
                  <a:pt x="929797" y="1202854"/>
                </a:cubicBezTo>
                <a:cubicBezTo>
                  <a:pt x="945705" y="1222696"/>
                  <a:pt x="952969" y="1246039"/>
                  <a:pt x="956714" y="1270749"/>
                </a:cubicBezTo>
                <a:cubicBezTo>
                  <a:pt x="957687" y="1277170"/>
                  <a:pt x="957779" y="1283963"/>
                  <a:pt x="960074" y="1289888"/>
                </a:cubicBezTo>
                <a:cubicBezTo>
                  <a:pt x="963075" y="1297631"/>
                  <a:pt x="967750" y="1304358"/>
                  <a:pt x="975795" y="1308746"/>
                </a:cubicBezTo>
                <a:cubicBezTo>
                  <a:pt x="985143" y="1313846"/>
                  <a:pt x="994116" y="1319926"/>
                  <a:pt x="1002397" y="1326635"/>
                </a:cubicBezTo>
                <a:cubicBezTo>
                  <a:pt x="1030424" y="1349343"/>
                  <a:pt x="1038408" y="1401530"/>
                  <a:pt x="1018686" y="1435905"/>
                </a:cubicBezTo>
                <a:cubicBezTo>
                  <a:pt x="1013500" y="1444943"/>
                  <a:pt x="1005098" y="1450152"/>
                  <a:pt x="996257" y="1454107"/>
                </a:cubicBezTo>
                <a:cubicBezTo>
                  <a:pt x="988281" y="1457674"/>
                  <a:pt x="979503" y="1460398"/>
                  <a:pt x="970849" y="1461303"/>
                </a:cubicBezTo>
                <a:cubicBezTo>
                  <a:pt x="953296" y="1463139"/>
                  <a:pt x="935587" y="1463487"/>
                  <a:pt x="917943" y="1464461"/>
                </a:cubicBezTo>
                <a:cubicBezTo>
                  <a:pt x="913762" y="1464691"/>
                  <a:pt x="909478" y="1464482"/>
                  <a:pt x="905433" y="1465358"/>
                </a:cubicBezTo>
                <a:cubicBezTo>
                  <a:pt x="901150" y="1466287"/>
                  <a:pt x="897709" y="1468792"/>
                  <a:pt x="897863" y="1474014"/>
                </a:cubicBezTo>
                <a:cubicBezTo>
                  <a:pt x="897877" y="1474480"/>
                  <a:pt x="897822" y="1474948"/>
                  <a:pt x="897812" y="1475415"/>
                </a:cubicBezTo>
                <a:cubicBezTo>
                  <a:pt x="897511" y="1490282"/>
                  <a:pt x="898056" y="1504999"/>
                  <a:pt x="895549" y="1519988"/>
                </a:cubicBezTo>
                <a:cubicBezTo>
                  <a:pt x="893039" y="1534995"/>
                  <a:pt x="894597" y="1550763"/>
                  <a:pt x="895093" y="1566174"/>
                </a:cubicBezTo>
                <a:cubicBezTo>
                  <a:pt x="895841" y="1589420"/>
                  <a:pt x="897215" y="1612646"/>
                  <a:pt x="898754" y="1637125"/>
                </a:cubicBezTo>
                <a:moveTo>
                  <a:pt x="654604" y="2329281"/>
                </a:moveTo>
                <a:cubicBezTo>
                  <a:pt x="652015" y="2310116"/>
                  <a:pt x="655822" y="2290495"/>
                  <a:pt x="650429" y="2271391"/>
                </a:cubicBezTo>
                <a:cubicBezTo>
                  <a:pt x="648307" y="2277580"/>
                  <a:pt x="648156" y="2283761"/>
                  <a:pt x="648148" y="2289942"/>
                </a:cubicBezTo>
                <a:cubicBezTo>
                  <a:pt x="648117" y="2315944"/>
                  <a:pt x="648093" y="2341946"/>
                  <a:pt x="648156" y="2367948"/>
                </a:cubicBezTo>
                <a:cubicBezTo>
                  <a:pt x="648168" y="2372820"/>
                  <a:pt x="646633" y="2378876"/>
                  <a:pt x="655577" y="2381454"/>
                </a:cubicBezTo>
                <a:cubicBezTo>
                  <a:pt x="655560" y="2389285"/>
                  <a:pt x="655756" y="2397123"/>
                  <a:pt x="655485" y="2404945"/>
                </a:cubicBezTo>
                <a:cubicBezTo>
                  <a:pt x="654880" y="2422378"/>
                  <a:pt x="654042" y="2439804"/>
                  <a:pt x="651805" y="2455510"/>
                </a:cubicBezTo>
                <a:cubicBezTo>
                  <a:pt x="651527" y="2435450"/>
                  <a:pt x="651319" y="2415390"/>
                  <a:pt x="650902" y="2395333"/>
                </a:cubicBezTo>
                <a:cubicBezTo>
                  <a:pt x="650837" y="2392220"/>
                  <a:pt x="649823" y="2389127"/>
                  <a:pt x="649248" y="2386025"/>
                </a:cubicBezTo>
                <a:cubicBezTo>
                  <a:pt x="647943" y="2386187"/>
                  <a:pt x="646638" y="2386350"/>
                  <a:pt x="645333" y="2386512"/>
                </a:cubicBezTo>
                <a:cubicBezTo>
                  <a:pt x="645333" y="2390961"/>
                  <a:pt x="645334" y="2395409"/>
                  <a:pt x="645333" y="2399858"/>
                </a:cubicBezTo>
                <a:cubicBezTo>
                  <a:pt x="645326" y="2423694"/>
                  <a:pt x="645418" y="2447532"/>
                  <a:pt x="645232" y="2471367"/>
                </a:cubicBezTo>
                <a:cubicBezTo>
                  <a:pt x="645193" y="2476432"/>
                  <a:pt x="644504" y="2481563"/>
                  <a:pt x="643489" y="2486535"/>
                </a:cubicBezTo>
                <a:cubicBezTo>
                  <a:pt x="639304" y="2507036"/>
                  <a:pt x="642157" y="2510950"/>
                  <a:pt x="662548" y="2510760"/>
                </a:cubicBezTo>
                <a:cubicBezTo>
                  <a:pt x="755908" y="2509888"/>
                  <a:pt x="849266" y="2508878"/>
                  <a:pt x="942625" y="2507990"/>
                </a:cubicBezTo>
                <a:cubicBezTo>
                  <a:pt x="960852" y="2507816"/>
                  <a:pt x="979082" y="2508002"/>
                  <a:pt x="997309" y="2507928"/>
                </a:cubicBezTo>
                <a:cubicBezTo>
                  <a:pt x="1001871" y="2507910"/>
                  <a:pt x="1006430" y="2507531"/>
                  <a:pt x="1012693" y="2507237"/>
                </a:cubicBezTo>
                <a:cubicBezTo>
                  <a:pt x="1012056" y="2501789"/>
                  <a:pt x="1012084" y="2497264"/>
                  <a:pt x="1010948" y="2493054"/>
                </a:cubicBezTo>
                <a:cubicBezTo>
                  <a:pt x="1001379" y="2457588"/>
                  <a:pt x="991103" y="2422306"/>
                  <a:pt x="982017" y="2386719"/>
                </a:cubicBezTo>
                <a:cubicBezTo>
                  <a:pt x="972598" y="2349832"/>
                  <a:pt x="963965" y="2312735"/>
                  <a:pt x="955543" y="2275604"/>
                </a:cubicBezTo>
                <a:cubicBezTo>
                  <a:pt x="944249" y="2225808"/>
                  <a:pt x="933022" y="2175988"/>
                  <a:pt x="922638" y="2125997"/>
                </a:cubicBezTo>
                <a:cubicBezTo>
                  <a:pt x="913587" y="2082421"/>
                  <a:pt x="905382" y="2038659"/>
                  <a:pt x="897474" y="1994858"/>
                </a:cubicBezTo>
                <a:cubicBezTo>
                  <a:pt x="890476" y="1956093"/>
                  <a:pt x="883980" y="1917224"/>
                  <a:pt x="878061" y="1878280"/>
                </a:cubicBezTo>
                <a:cubicBezTo>
                  <a:pt x="873675" y="1849428"/>
                  <a:pt x="870415" y="1820399"/>
                  <a:pt x="866965" y="1791411"/>
                </a:cubicBezTo>
                <a:cubicBezTo>
                  <a:pt x="865539" y="1779434"/>
                  <a:pt x="865114" y="1767342"/>
                  <a:pt x="863902" y="1755335"/>
                </a:cubicBezTo>
                <a:cubicBezTo>
                  <a:pt x="861296" y="1729506"/>
                  <a:pt x="857509" y="1703754"/>
                  <a:pt x="855983" y="1677866"/>
                </a:cubicBezTo>
                <a:cubicBezTo>
                  <a:pt x="854037" y="1644859"/>
                  <a:pt x="853904" y="1611748"/>
                  <a:pt x="852873" y="1578685"/>
                </a:cubicBezTo>
                <a:cubicBezTo>
                  <a:pt x="852423" y="1564271"/>
                  <a:pt x="849465" y="1549523"/>
                  <a:pt x="851635" y="1535546"/>
                </a:cubicBezTo>
                <a:cubicBezTo>
                  <a:pt x="854359" y="1517991"/>
                  <a:pt x="850206" y="1501278"/>
                  <a:pt x="850039" y="1484182"/>
                </a:cubicBezTo>
                <a:cubicBezTo>
                  <a:pt x="850005" y="1480667"/>
                  <a:pt x="849101" y="1477161"/>
                  <a:pt x="848486" y="1472876"/>
                </a:cubicBezTo>
                <a:cubicBezTo>
                  <a:pt x="842279" y="1472876"/>
                  <a:pt x="837173" y="1472798"/>
                  <a:pt x="832070" y="1472888"/>
                </a:cubicBezTo>
                <a:cubicBezTo>
                  <a:pt x="780308" y="1473806"/>
                  <a:pt x="728546" y="1474749"/>
                  <a:pt x="676784" y="1475691"/>
                </a:cubicBezTo>
                <a:cubicBezTo>
                  <a:pt x="663422" y="1475935"/>
                  <a:pt x="662442" y="1476899"/>
                  <a:pt x="662172" y="1490031"/>
                </a:cubicBezTo>
                <a:cubicBezTo>
                  <a:pt x="662124" y="1492367"/>
                  <a:pt x="662222" y="1494706"/>
                  <a:pt x="662153" y="1497041"/>
                </a:cubicBezTo>
                <a:cubicBezTo>
                  <a:pt x="660720" y="1545521"/>
                  <a:pt x="663794" y="1593996"/>
                  <a:pt x="659832" y="1642548"/>
                </a:cubicBezTo>
                <a:cubicBezTo>
                  <a:pt x="656616" y="1681972"/>
                  <a:pt x="657530" y="1721730"/>
                  <a:pt x="656544" y="1761338"/>
                </a:cubicBezTo>
                <a:cubicBezTo>
                  <a:pt x="655035" y="1821971"/>
                  <a:pt x="657667" y="1882583"/>
                  <a:pt x="654344" y="1943296"/>
                </a:cubicBezTo>
                <a:cubicBezTo>
                  <a:pt x="650802" y="2008002"/>
                  <a:pt x="651715" y="2072959"/>
                  <a:pt x="651002" y="2137811"/>
                </a:cubicBezTo>
                <a:cubicBezTo>
                  <a:pt x="650627" y="2171926"/>
                  <a:pt x="650929" y="2206049"/>
                  <a:pt x="650933" y="2240168"/>
                </a:cubicBezTo>
                <a:cubicBezTo>
                  <a:pt x="650933" y="2243439"/>
                  <a:pt x="650161" y="2247032"/>
                  <a:pt x="651273" y="2249880"/>
                </a:cubicBezTo>
                <a:cubicBezTo>
                  <a:pt x="652187" y="2252220"/>
                  <a:pt x="655368" y="2253675"/>
                  <a:pt x="658332" y="2258024"/>
                </a:cubicBezTo>
                <a:cubicBezTo>
                  <a:pt x="657587" y="2282352"/>
                  <a:pt x="656842" y="2306679"/>
                  <a:pt x="654604" y="2329281"/>
                </a:cubicBezTo>
                <a:moveTo>
                  <a:pt x="999154" y="2930680"/>
                </a:moveTo>
                <a:cubicBezTo>
                  <a:pt x="1074430" y="2924379"/>
                  <a:pt x="1149252" y="2914341"/>
                  <a:pt x="1224400" y="2904672"/>
                </a:cubicBezTo>
                <a:cubicBezTo>
                  <a:pt x="1224983" y="2900287"/>
                  <a:pt x="1225723" y="2897124"/>
                  <a:pt x="1225778" y="2893948"/>
                </a:cubicBezTo>
                <a:cubicBezTo>
                  <a:pt x="1226437" y="2856188"/>
                  <a:pt x="1218943" y="2820187"/>
                  <a:pt x="1197990" y="2788499"/>
                </a:cubicBezTo>
                <a:cubicBezTo>
                  <a:pt x="1185967" y="2770315"/>
                  <a:pt x="1171427" y="2753616"/>
                  <a:pt x="1156721" y="2737429"/>
                </a:cubicBezTo>
                <a:cubicBezTo>
                  <a:pt x="1137254" y="2716002"/>
                  <a:pt x="1115793" y="2696376"/>
                  <a:pt x="1096512" y="2674794"/>
                </a:cubicBezTo>
                <a:cubicBezTo>
                  <a:pt x="1073694" y="2649251"/>
                  <a:pt x="1056484" y="2620624"/>
                  <a:pt x="1056842" y="2584575"/>
                </a:cubicBezTo>
                <a:cubicBezTo>
                  <a:pt x="1056854" y="2583302"/>
                  <a:pt x="1056015" y="2582020"/>
                  <a:pt x="1055233" y="2579758"/>
                </a:cubicBezTo>
                <a:cubicBezTo>
                  <a:pt x="1042855" y="2580471"/>
                  <a:pt x="1030372" y="2580868"/>
                  <a:pt x="1017950" y="2581956"/>
                </a:cubicBezTo>
                <a:cubicBezTo>
                  <a:pt x="940684" y="2588728"/>
                  <a:pt x="863326" y="2593894"/>
                  <a:pt x="785764" y="2595473"/>
                </a:cubicBezTo>
                <a:cubicBezTo>
                  <a:pt x="745592" y="2596290"/>
                  <a:pt x="705413" y="2596778"/>
                  <a:pt x="665238" y="2597498"/>
                </a:cubicBezTo>
                <a:cubicBezTo>
                  <a:pt x="661698" y="2597562"/>
                  <a:pt x="658168" y="2598244"/>
                  <a:pt x="654332" y="2598673"/>
                </a:cubicBezTo>
                <a:cubicBezTo>
                  <a:pt x="664449" y="2711162"/>
                  <a:pt x="659668" y="2822547"/>
                  <a:pt x="653026" y="2935427"/>
                </a:cubicBezTo>
                <a:cubicBezTo>
                  <a:pt x="768837" y="2937973"/>
                  <a:pt x="882730" y="2939028"/>
                  <a:pt x="999154" y="2930680"/>
                </a:cubicBezTo>
                <a:moveTo>
                  <a:pt x="947894" y="3022480"/>
                </a:moveTo>
                <a:cubicBezTo>
                  <a:pt x="916629" y="3024040"/>
                  <a:pt x="885376" y="3026565"/>
                  <a:pt x="854096" y="3026952"/>
                </a:cubicBezTo>
                <a:cubicBezTo>
                  <a:pt x="794764" y="3027687"/>
                  <a:pt x="735417" y="3027198"/>
                  <a:pt x="676076" y="3027217"/>
                </a:cubicBezTo>
                <a:cubicBezTo>
                  <a:pt x="670121" y="3027219"/>
                  <a:pt x="664166" y="3027217"/>
                  <a:pt x="657155" y="3027217"/>
                </a:cubicBezTo>
                <a:cubicBezTo>
                  <a:pt x="655529" y="3062293"/>
                  <a:pt x="651846" y="3095886"/>
                  <a:pt x="650929" y="3130009"/>
                </a:cubicBezTo>
                <a:cubicBezTo>
                  <a:pt x="656057" y="3130467"/>
                  <a:pt x="659260" y="3130899"/>
                  <a:pt x="662475" y="3131016"/>
                </a:cubicBezTo>
                <a:cubicBezTo>
                  <a:pt x="700300" y="3132391"/>
                  <a:pt x="738118" y="3134111"/>
                  <a:pt x="775955" y="3134982"/>
                </a:cubicBezTo>
                <a:cubicBezTo>
                  <a:pt x="871340" y="3137178"/>
                  <a:pt x="966589" y="3135038"/>
                  <a:pt x="1061598" y="3125377"/>
                </a:cubicBezTo>
                <a:cubicBezTo>
                  <a:pt x="1124889" y="3118941"/>
                  <a:pt x="1187609" y="3109276"/>
                  <a:pt x="1249397" y="3093967"/>
                </a:cubicBezTo>
                <a:cubicBezTo>
                  <a:pt x="1253752" y="3092888"/>
                  <a:pt x="1257981" y="3091298"/>
                  <a:pt x="1262842" y="3089764"/>
                </a:cubicBezTo>
                <a:cubicBezTo>
                  <a:pt x="1259040" y="3062969"/>
                  <a:pt x="1254881" y="3037707"/>
                  <a:pt x="1244253" y="3014005"/>
                </a:cubicBezTo>
                <a:cubicBezTo>
                  <a:pt x="1242547" y="3010201"/>
                  <a:pt x="1239948" y="3006798"/>
                  <a:pt x="1237768" y="3003206"/>
                </a:cubicBezTo>
                <a:cubicBezTo>
                  <a:pt x="1233239" y="2995743"/>
                  <a:pt x="1227131" y="2992138"/>
                  <a:pt x="1217957" y="2993424"/>
                </a:cubicBezTo>
                <a:cubicBezTo>
                  <a:pt x="1199921" y="2995951"/>
                  <a:pt x="1181756" y="2997558"/>
                  <a:pt x="1163725" y="3000119"/>
                </a:cubicBezTo>
                <a:cubicBezTo>
                  <a:pt x="1092925" y="3010176"/>
                  <a:pt x="1021883" y="3017834"/>
                  <a:pt x="947894" y="3022480"/>
                </a:cubicBezTo>
                <a:moveTo>
                  <a:pt x="784197" y="1352777"/>
                </a:moveTo>
                <a:cubicBezTo>
                  <a:pt x="766462" y="1353462"/>
                  <a:pt x="748731" y="1354287"/>
                  <a:pt x="730991" y="1354793"/>
                </a:cubicBezTo>
                <a:cubicBezTo>
                  <a:pt x="712981" y="1355307"/>
                  <a:pt x="694940" y="1355183"/>
                  <a:pt x="676320" y="1356902"/>
                </a:cubicBezTo>
                <a:cubicBezTo>
                  <a:pt x="674799" y="1378289"/>
                  <a:pt x="673393" y="1398039"/>
                  <a:pt x="671906" y="1418933"/>
                </a:cubicBezTo>
                <a:cubicBezTo>
                  <a:pt x="677552" y="1418933"/>
                  <a:pt x="681678" y="1419046"/>
                  <a:pt x="685797" y="1418917"/>
                </a:cubicBezTo>
                <a:cubicBezTo>
                  <a:pt x="774966" y="1416107"/>
                  <a:pt x="864134" y="1413293"/>
                  <a:pt x="953300" y="1410383"/>
                </a:cubicBezTo>
                <a:cubicBezTo>
                  <a:pt x="958412" y="1410216"/>
                  <a:pt x="963542" y="1409471"/>
                  <a:pt x="968586" y="1408564"/>
                </a:cubicBezTo>
                <a:cubicBezTo>
                  <a:pt x="978218" y="1406833"/>
                  <a:pt x="980261" y="1404383"/>
                  <a:pt x="980375" y="1394590"/>
                </a:cubicBezTo>
                <a:cubicBezTo>
                  <a:pt x="980521" y="1382101"/>
                  <a:pt x="976026" y="1371666"/>
                  <a:pt x="965591" y="1364447"/>
                </a:cubicBezTo>
                <a:cubicBezTo>
                  <a:pt x="948967" y="1352947"/>
                  <a:pt x="930599" y="1347277"/>
                  <a:pt x="910211" y="1348103"/>
                </a:cubicBezTo>
                <a:cubicBezTo>
                  <a:pt x="869142" y="1349769"/>
                  <a:pt x="828062" y="1351175"/>
                  <a:pt x="784197" y="1352777"/>
                </a:cubicBezTo>
                <a:moveTo>
                  <a:pt x="648129" y="615881"/>
                </a:moveTo>
                <a:cubicBezTo>
                  <a:pt x="649058" y="632117"/>
                  <a:pt x="650192" y="648345"/>
                  <a:pt x="650869" y="664591"/>
                </a:cubicBezTo>
                <a:cubicBezTo>
                  <a:pt x="652013" y="692034"/>
                  <a:pt x="650274" y="719448"/>
                  <a:pt x="653223" y="746994"/>
                </a:cubicBezTo>
                <a:cubicBezTo>
                  <a:pt x="656187" y="774679"/>
                  <a:pt x="652958" y="802766"/>
                  <a:pt x="656163" y="830737"/>
                </a:cubicBezTo>
                <a:cubicBezTo>
                  <a:pt x="658910" y="854709"/>
                  <a:pt x="656763" y="879007"/>
                  <a:pt x="658740" y="903281"/>
                </a:cubicBezTo>
                <a:cubicBezTo>
                  <a:pt x="661875" y="941767"/>
                  <a:pt x="661060" y="980568"/>
                  <a:pt x="662209" y="1019226"/>
                </a:cubicBezTo>
                <a:cubicBezTo>
                  <a:pt x="662831" y="1040143"/>
                  <a:pt x="663923" y="1061048"/>
                  <a:pt x="665088" y="1081942"/>
                </a:cubicBezTo>
                <a:cubicBezTo>
                  <a:pt x="665498" y="1089302"/>
                  <a:pt x="668166" y="1091025"/>
                  <a:pt x="674628" y="1090643"/>
                </a:cubicBezTo>
                <a:cubicBezTo>
                  <a:pt x="703841" y="1088916"/>
                  <a:pt x="733054" y="1087111"/>
                  <a:pt x="762289" y="1085865"/>
                </a:cubicBezTo>
                <a:cubicBezTo>
                  <a:pt x="792528" y="1084574"/>
                  <a:pt x="822793" y="1083894"/>
                  <a:pt x="853046" y="1082948"/>
                </a:cubicBezTo>
                <a:cubicBezTo>
                  <a:pt x="853513" y="1082934"/>
                  <a:pt x="853981" y="1082919"/>
                  <a:pt x="854448" y="1082924"/>
                </a:cubicBezTo>
                <a:cubicBezTo>
                  <a:pt x="860299" y="1082998"/>
                  <a:pt x="864379" y="1080055"/>
                  <a:pt x="866364" y="1074839"/>
                </a:cubicBezTo>
                <a:cubicBezTo>
                  <a:pt x="874977" y="1052218"/>
                  <a:pt x="883766" y="1029650"/>
                  <a:pt x="891726" y="1006797"/>
                </a:cubicBezTo>
                <a:cubicBezTo>
                  <a:pt x="899510" y="984448"/>
                  <a:pt x="905967" y="961638"/>
                  <a:pt x="913720" y="939278"/>
                </a:cubicBezTo>
                <a:cubicBezTo>
                  <a:pt x="926840" y="901438"/>
                  <a:pt x="940566" y="863808"/>
                  <a:pt x="953952" y="826060"/>
                </a:cubicBezTo>
                <a:cubicBezTo>
                  <a:pt x="965626" y="793139"/>
                  <a:pt x="977165" y="760170"/>
                  <a:pt x="988796" y="727233"/>
                </a:cubicBezTo>
                <a:cubicBezTo>
                  <a:pt x="1004602" y="682474"/>
                  <a:pt x="1020729" y="637825"/>
                  <a:pt x="1036110" y="592920"/>
                </a:cubicBezTo>
                <a:cubicBezTo>
                  <a:pt x="1041693" y="576621"/>
                  <a:pt x="1044731" y="559627"/>
                  <a:pt x="1043677" y="542152"/>
                </a:cubicBezTo>
                <a:cubicBezTo>
                  <a:pt x="1043059" y="531887"/>
                  <a:pt x="1040345" y="522522"/>
                  <a:pt x="1030884" y="517222"/>
                </a:cubicBezTo>
                <a:cubicBezTo>
                  <a:pt x="1024045" y="513391"/>
                  <a:pt x="1016699" y="510004"/>
                  <a:pt x="1009162" y="507963"/>
                </a:cubicBezTo>
                <a:cubicBezTo>
                  <a:pt x="983620" y="501048"/>
                  <a:pt x="957981" y="494740"/>
                  <a:pt x="931266" y="493552"/>
                </a:cubicBezTo>
                <a:cubicBezTo>
                  <a:pt x="914169" y="492791"/>
                  <a:pt x="897177" y="489870"/>
                  <a:pt x="880100" y="488348"/>
                </a:cubicBezTo>
                <a:cubicBezTo>
                  <a:pt x="865298" y="487029"/>
                  <a:pt x="850441" y="486332"/>
                  <a:pt x="835610" y="485330"/>
                </a:cubicBezTo>
                <a:cubicBezTo>
                  <a:pt x="808745" y="483516"/>
                  <a:pt x="781896" y="480471"/>
                  <a:pt x="755014" y="480162"/>
                </a:cubicBezTo>
                <a:cubicBezTo>
                  <a:pt x="722439" y="479789"/>
                  <a:pt x="689836" y="481665"/>
                  <a:pt x="657249" y="482686"/>
                </a:cubicBezTo>
                <a:cubicBezTo>
                  <a:pt x="646583" y="483021"/>
                  <a:pt x="641424" y="489596"/>
                  <a:pt x="643184" y="500211"/>
                </a:cubicBezTo>
                <a:cubicBezTo>
                  <a:pt x="643789" y="503860"/>
                  <a:pt x="645104" y="507461"/>
                  <a:pt x="645220" y="511112"/>
                </a:cubicBezTo>
                <a:cubicBezTo>
                  <a:pt x="646298" y="545100"/>
                  <a:pt x="647185" y="579094"/>
                  <a:pt x="648129" y="615881"/>
                </a:cubicBezTo>
                <a:moveTo>
                  <a:pt x="886495" y="1207714"/>
                </a:moveTo>
                <a:cubicBezTo>
                  <a:pt x="884805" y="1206106"/>
                  <a:pt x="883380" y="1203949"/>
                  <a:pt x="881380" y="1202980"/>
                </a:cubicBezTo>
                <a:cubicBezTo>
                  <a:pt x="869508" y="1197225"/>
                  <a:pt x="866866" y="1186901"/>
                  <a:pt x="866913" y="1175042"/>
                </a:cubicBezTo>
                <a:cubicBezTo>
                  <a:pt x="866937" y="1168979"/>
                  <a:pt x="867225" y="1162853"/>
                  <a:pt x="866482" y="1156869"/>
                </a:cubicBezTo>
                <a:cubicBezTo>
                  <a:pt x="865810" y="1151447"/>
                  <a:pt x="863028" y="1147406"/>
                  <a:pt x="856429" y="1147458"/>
                </a:cubicBezTo>
                <a:cubicBezTo>
                  <a:pt x="834490" y="1147630"/>
                  <a:pt x="812519" y="1146897"/>
                  <a:pt x="790615" y="1147813"/>
                </a:cubicBezTo>
                <a:cubicBezTo>
                  <a:pt x="766540" y="1148819"/>
                  <a:pt x="742532" y="1151353"/>
                  <a:pt x="718484" y="1153058"/>
                </a:cubicBezTo>
                <a:cubicBezTo>
                  <a:pt x="702742" y="1154174"/>
                  <a:pt x="686965" y="1154817"/>
                  <a:pt x="671232" y="1156034"/>
                </a:cubicBezTo>
                <a:cubicBezTo>
                  <a:pt x="662945" y="1156675"/>
                  <a:pt x="661657" y="1159923"/>
                  <a:pt x="664146" y="1168443"/>
                </a:cubicBezTo>
                <a:cubicBezTo>
                  <a:pt x="665938" y="1174575"/>
                  <a:pt x="667544" y="1181027"/>
                  <a:pt x="667611" y="1187354"/>
                </a:cubicBezTo>
                <a:cubicBezTo>
                  <a:pt x="667956" y="1219564"/>
                  <a:pt x="667704" y="1251779"/>
                  <a:pt x="667803" y="1283992"/>
                </a:cubicBezTo>
                <a:cubicBezTo>
                  <a:pt x="667847" y="1297938"/>
                  <a:pt x="668871" y="1299219"/>
                  <a:pt x="683140" y="1298850"/>
                </a:cubicBezTo>
                <a:cubicBezTo>
                  <a:pt x="700774" y="1298393"/>
                  <a:pt x="718378" y="1296854"/>
                  <a:pt x="736011" y="1296220"/>
                </a:cubicBezTo>
                <a:cubicBezTo>
                  <a:pt x="767632" y="1295083"/>
                  <a:pt x="799265" y="1294272"/>
                  <a:pt x="830893" y="1293324"/>
                </a:cubicBezTo>
                <a:cubicBezTo>
                  <a:pt x="831826" y="1293296"/>
                  <a:pt x="832761" y="1293286"/>
                  <a:pt x="833691" y="1293213"/>
                </a:cubicBezTo>
                <a:cubicBezTo>
                  <a:pt x="856797" y="1291390"/>
                  <a:pt x="879886" y="1289299"/>
                  <a:pt x="903014" y="1287831"/>
                </a:cubicBezTo>
                <a:cubicBezTo>
                  <a:pt x="916073" y="1287002"/>
                  <a:pt x="919042" y="1284797"/>
                  <a:pt x="917225" y="1271856"/>
                </a:cubicBezTo>
                <a:cubicBezTo>
                  <a:pt x="913886" y="1248076"/>
                  <a:pt x="908472" y="1225007"/>
                  <a:pt x="886495" y="1207714"/>
                </a:cubicBezTo>
                <a:close/>
              </a:path>
            </a:pathLst>
          </a:custGeom>
          <a:solidFill>
            <a:srgbClr val="CDD9DF"/>
          </a:solidFill>
          <a:ln w="1401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4" name="Free-form: Shape 353">
            <a:extLst>
              <a:ext uri="{FF2B5EF4-FFF2-40B4-BE49-F238E27FC236}">
                <a16:creationId xmlns:a16="http://schemas.microsoft.com/office/drawing/2014/main" id="{F1646C5A-C268-B0B0-125A-61F38DEF8C28}"/>
              </a:ext>
            </a:extLst>
          </p:cNvPr>
          <p:cNvSpPr/>
          <p:nvPr/>
        </p:nvSpPr>
        <p:spPr>
          <a:xfrm>
            <a:off x="6465700" y="4524772"/>
            <a:ext cx="61317" cy="24570"/>
          </a:xfrm>
          <a:custGeom>
            <a:avLst/>
            <a:gdLst>
              <a:gd name="csX0" fmla="*/ 94424 w 144688"/>
              <a:gd name="csY0" fmla="*/ 9299 h 52707"/>
              <a:gd name="csX1" fmla="*/ 121261 w 144688"/>
              <a:gd name="csY1" fmla="*/ 16460 h 52707"/>
              <a:gd name="csX2" fmla="*/ 143563 w 144688"/>
              <a:gd name="csY2" fmla="*/ 43347 h 52707"/>
              <a:gd name="csX3" fmla="*/ 144689 w 144688"/>
              <a:gd name="csY3" fmla="*/ 52708 h 52707"/>
              <a:gd name="csX4" fmla="*/ 349 w 144688"/>
              <a:gd name="csY4" fmla="*/ 52708 h 52707"/>
              <a:gd name="csX5" fmla="*/ 738 w 144688"/>
              <a:gd name="csY5" fmla="*/ 572 h 52707"/>
              <a:gd name="csX6" fmla="*/ 94424 w 144688"/>
              <a:gd name="csY6" fmla="*/ 9299 h 5270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</a:cxnLst>
            <a:rect l="l" t="t" r="r" b="b"/>
            <a:pathLst>
              <a:path w="144688" h="52707">
                <a:moveTo>
                  <a:pt x="94424" y="9299"/>
                </a:moveTo>
                <a:cubicBezTo>
                  <a:pt x="104138" y="11826"/>
                  <a:pt x="112739" y="14007"/>
                  <a:pt x="121261" y="16460"/>
                </a:cubicBezTo>
                <a:cubicBezTo>
                  <a:pt x="134742" y="20340"/>
                  <a:pt x="143121" y="28544"/>
                  <a:pt x="143563" y="43347"/>
                </a:cubicBezTo>
                <a:cubicBezTo>
                  <a:pt x="143645" y="46090"/>
                  <a:pt x="144206" y="48818"/>
                  <a:pt x="144689" y="52708"/>
                </a:cubicBezTo>
                <a:cubicBezTo>
                  <a:pt x="96675" y="52708"/>
                  <a:pt x="49316" y="52708"/>
                  <a:pt x="349" y="52708"/>
                </a:cubicBezTo>
                <a:cubicBezTo>
                  <a:pt x="-379" y="35695"/>
                  <a:pt x="172" y="18742"/>
                  <a:pt x="738" y="572"/>
                </a:cubicBezTo>
                <a:cubicBezTo>
                  <a:pt x="32910" y="-1712"/>
                  <a:pt x="63133" y="3179"/>
                  <a:pt x="94424" y="9299"/>
                </a:cubicBezTo>
                <a:close/>
              </a:path>
            </a:pathLst>
          </a:custGeom>
          <a:solidFill>
            <a:srgbClr val="FBFCFB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5" name="Free-form: Shape 354">
            <a:extLst>
              <a:ext uri="{FF2B5EF4-FFF2-40B4-BE49-F238E27FC236}">
                <a16:creationId xmlns:a16="http://schemas.microsoft.com/office/drawing/2014/main" id="{9404B952-073E-94E4-585B-1AF443AC2F8C}"/>
              </a:ext>
            </a:extLst>
          </p:cNvPr>
          <p:cNvSpPr/>
          <p:nvPr/>
        </p:nvSpPr>
        <p:spPr>
          <a:xfrm>
            <a:off x="6464217" y="5035220"/>
            <a:ext cx="149086" cy="475360"/>
          </a:xfrm>
          <a:custGeom>
            <a:avLst/>
            <a:gdLst>
              <a:gd name="csX0" fmla="*/ 0 w 351791"/>
              <a:gd name="csY0" fmla="*/ 975370 h 1019713"/>
              <a:gd name="csX1" fmla="*/ 2187 w 351791"/>
              <a:gd name="csY1" fmla="*/ 923083 h 1019713"/>
              <a:gd name="csX2" fmla="*/ 2287 w 351791"/>
              <a:gd name="csY2" fmla="*/ 897079 h 1019713"/>
              <a:gd name="csX3" fmla="*/ 2799 w 351791"/>
              <a:gd name="csY3" fmla="*/ 849144 h 1019713"/>
              <a:gd name="csX4" fmla="*/ 5052 w 351791"/>
              <a:gd name="csY4" fmla="*/ 773650 h 1019713"/>
              <a:gd name="csX5" fmla="*/ 7113 w 351791"/>
              <a:gd name="csY5" fmla="*/ 630071 h 1019713"/>
              <a:gd name="csX6" fmla="*/ 9133 w 351791"/>
              <a:gd name="csY6" fmla="*/ 528600 h 1019713"/>
              <a:gd name="csX7" fmla="*/ 9163 w 351791"/>
              <a:gd name="csY7" fmla="*/ 497413 h 1019713"/>
              <a:gd name="csX8" fmla="*/ 11812 w 351791"/>
              <a:gd name="csY8" fmla="*/ 379910 h 1019713"/>
              <a:gd name="csX9" fmla="*/ 12024 w 351791"/>
              <a:gd name="csY9" fmla="*/ 348726 h 1019713"/>
              <a:gd name="csX10" fmla="*/ 14645 w 351791"/>
              <a:gd name="csY10" fmla="*/ 239691 h 1019713"/>
              <a:gd name="csX11" fmla="*/ 14784 w 351791"/>
              <a:gd name="csY11" fmla="*/ 214091 h 1019713"/>
              <a:gd name="csX12" fmla="*/ 17570 w 351791"/>
              <a:gd name="csY12" fmla="*/ 88165 h 1019713"/>
              <a:gd name="csX13" fmla="*/ 17615 w 351791"/>
              <a:gd name="csY13" fmla="*/ 37421 h 1019713"/>
              <a:gd name="csX14" fmla="*/ 18182 w 351791"/>
              <a:gd name="csY14" fmla="*/ 15484 h 1019713"/>
              <a:gd name="csX15" fmla="*/ 22091 w 351791"/>
              <a:gd name="csY15" fmla="*/ 2787 h 1019713"/>
              <a:gd name="csX16" fmla="*/ 54703 w 351791"/>
              <a:gd name="csY16" fmla="*/ 2968 h 1019713"/>
              <a:gd name="csX17" fmla="*/ 102677 w 351791"/>
              <a:gd name="csY17" fmla="*/ 2086 h 1019713"/>
              <a:gd name="csX18" fmla="*/ 175262 w 351791"/>
              <a:gd name="csY18" fmla="*/ 0 h 1019713"/>
              <a:gd name="csX19" fmla="*/ 189022 w 351791"/>
              <a:gd name="csY19" fmla="*/ 1595 h 1019713"/>
              <a:gd name="csX20" fmla="*/ 190628 w 351791"/>
              <a:gd name="csY20" fmla="*/ 112461 h 1019713"/>
              <a:gd name="csX21" fmla="*/ 191584 w 351791"/>
              <a:gd name="csY21" fmla="*/ 129605 h 1019713"/>
              <a:gd name="csX22" fmla="*/ 193429 w 351791"/>
              <a:gd name="csY22" fmla="*/ 173943 h 1019713"/>
              <a:gd name="csX23" fmla="*/ 194215 w 351791"/>
              <a:gd name="csY23" fmla="*/ 182908 h 1019713"/>
              <a:gd name="csX24" fmla="*/ 196316 w 351791"/>
              <a:gd name="csY24" fmla="*/ 215902 h 1019713"/>
              <a:gd name="csX25" fmla="*/ 196980 w 351791"/>
              <a:gd name="csY25" fmla="*/ 222182 h 1019713"/>
              <a:gd name="csX26" fmla="*/ 198972 w 351791"/>
              <a:gd name="csY26" fmla="*/ 249680 h 1019713"/>
              <a:gd name="csX27" fmla="*/ 199949 w 351791"/>
              <a:gd name="csY27" fmla="*/ 258553 h 1019713"/>
              <a:gd name="csX28" fmla="*/ 201912 w 351791"/>
              <a:gd name="csY28" fmla="*/ 280418 h 1019713"/>
              <a:gd name="csX29" fmla="*/ 202686 w 351791"/>
              <a:gd name="csY29" fmla="*/ 286632 h 1019713"/>
              <a:gd name="csX30" fmla="*/ 204600 w 351791"/>
              <a:gd name="csY30" fmla="*/ 308453 h 1019713"/>
              <a:gd name="csX31" fmla="*/ 205443 w 351791"/>
              <a:gd name="csY31" fmla="*/ 314650 h 1019713"/>
              <a:gd name="csX32" fmla="*/ 207431 w 351791"/>
              <a:gd name="csY32" fmla="*/ 333707 h 1019713"/>
              <a:gd name="csX33" fmla="*/ 208345 w 351791"/>
              <a:gd name="csY33" fmla="*/ 339842 h 1019713"/>
              <a:gd name="csX34" fmla="*/ 210218 w 351791"/>
              <a:gd name="csY34" fmla="*/ 356144 h 1019713"/>
              <a:gd name="csX35" fmla="*/ 211157 w 351791"/>
              <a:gd name="csY35" fmla="*/ 362375 h 1019713"/>
              <a:gd name="csX36" fmla="*/ 215820 w 351791"/>
              <a:gd name="csY36" fmla="*/ 398224 h 1019713"/>
              <a:gd name="csX37" fmla="*/ 216821 w 351791"/>
              <a:gd name="csY37" fmla="*/ 404425 h 1019713"/>
              <a:gd name="csX38" fmla="*/ 224187 w 351791"/>
              <a:gd name="csY38" fmla="*/ 451440 h 1019713"/>
              <a:gd name="csX39" fmla="*/ 225295 w 351791"/>
              <a:gd name="csY39" fmla="*/ 457691 h 1019713"/>
              <a:gd name="csX40" fmla="*/ 226831 w 351791"/>
              <a:gd name="csY40" fmla="*/ 468268 h 1019713"/>
              <a:gd name="csX41" fmla="*/ 228069 w 351791"/>
              <a:gd name="csY41" fmla="*/ 474360 h 1019713"/>
              <a:gd name="csX42" fmla="*/ 229778 w 351791"/>
              <a:gd name="csY42" fmla="*/ 485181 h 1019713"/>
              <a:gd name="csX43" fmla="*/ 230932 w 351791"/>
              <a:gd name="csY43" fmla="*/ 491348 h 1019713"/>
              <a:gd name="csX44" fmla="*/ 238095 w 351791"/>
              <a:gd name="csY44" fmla="*/ 532855 h 1019713"/>
              <a:gd name="csX45" fmla="*/ 239424 w 351791"/>
              <a:gd name="csY45" fmla="*/ 539021 h 1019713"/>
              <a:gd name="csX46" fmla="*/ 252120 w 351791"/>
              <a:gd name="csY46" fmla="*/ 605725 h 1019713"/>
              <a:gd name="csX47" fmla="*/ 253460 w 351791"/>
              <a:gd name="csY47" fmla="*/ 611945 h 1019713"/>
              <a:gd name="csX48" fmla="*/ 258622 w 351791"/>
              <a:gd name="csY48" fmla="*/ 639154 h 1019713"/>
              <a:gd name="csX49" fmla="*/ 285765 w 351791"/>
              <a:gd name="csY49" fmla="*/ 762817 h 1019713"/>
              <a:gd name="csX50" fmla="*/ 287284 w 351791"/>
              <a:gd name="csY50" fmla="*/ 768970 h 1019713"/>
              <a:gd name="csX51" fmla="*/ 351792 w 351791"/>
              <a:gd name="csY51" fmla="*/ 1017474 h 1019713"/>
              <a:gd name="csX52" fmla="*/ 308062 w 351791"/>
              <a:gd name="csY52" fmla="*/ 1016918 h 1019713"/>
              <a:gd name="csX53" fmla="*/ 241358 w 351791"/>
              <a:gd name="csY53" fmla="*/ 1016276 h 1019713"/>
              <a:gd name="csX54" fmla="*/ 229231 w 351791"/>
              <a:gd name="csY54" fmla="*/ 1017881 h 1019713"/>
              <a:gd name="csX55" fmla="*/ 0 w 351791"/>
              <a:gd name="csY55" fmla="*/ 1019714 h 1019713"/>
              <a:gd name="csX56" fmla="*/ 0 w 351791"/>
              <a:gd name="csY56" fmla="*/ 975370 h 101971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</a:cxnLst>
            <a:rect l="l" t="t" r="r" b="b"/>
            <a:pathLst>
              <a:path w="351791" h="1019713">
                <a:moveTo>
                  <a:pt x="0" y="975370"/>
                </a:moveTo>
                <a:cubicBezTo>
                  <a:pt x="743" y="957941"/>
                  <a:pt x="1582" y="940516"/>
                  <a:pt x="2187" y="923083"/>
                </a:cubicBezTo>
                <a:cubicBezTo>
                  <a:pt x="2458" y="915260"/>
                  <a:pt x="2262" y="907422"/>
                  <a:pt x="2287" y="897079"/>
                </a:cubicBezTo>
                <a:cubicBezTo>
                  <a:pt x="2463" y="879425"/>
                  <a:pt x="2631" y="864284"/>
                  <a:pt x="2799" y="849144"/>
                </a:cubicBezTo>
                <a:cubicBezTo>
                  <a:pt x="3544" y="824817"/>
                  <a:pt x="4289" y="800489"/>
                  <a:pt x="5052" y="773650"/>
                </a:cubicBezTo>
                <a:cubicBezTo>
                  <a:pt x="5751" y="724115"/>
                  <a:pt x="6432" y="677093"/>
                  <a:pt x="7113" y="630071"/>
                </a:cubicBezTo>
                <a:cubicBezTo>
                  <a:pt x="7598" y="596560"/>
                  <a:pt x="8084" y="563050"/>
                  <a:pt x="9133" y="528600"/>
                </a:cubicBezTo>
                <a:cubicBezTo>
                  <a:pt x="9465" y="518010"/>
                  <a:pt x="9234" y="508360"/>
                  <a:pt x="9163" y="497413"/>
                </a:cubicBezTo>
                <a:cubicBezTo>
                  <a:pt x="9957" y="457690"/>
                  <a:pt x="10592" y="419261"/>
                  <a:pt x="11812" y="379910"/>
                </a:cubicBezTo>
                <a:cubicBezTo>
                  <a:pt x="12221" y="369334"/>
                  <a:pt x="12045" y="359680"/>
                  <a:pt x="12024" y="348726"/>
                </a:cubicBezTo>
                <a:cubicBezTo>
                  <a:pt x="12813" y="311813"/>
                  <a:pt x="13446" y="276201"/>
                  <a:pt x="14645" y="239691"/>
                </a:cubicBezTo>
                <a:cubicBezTo>
                  <a:pt x="15021" y="230992"/>
                  <a:pt x="14832" y="223190"/>
                  <a:pt x="14784" y="214091"/>
                </a:cubicBezTo>
                <a:cubicBezTo>
                  <a:pt x="15615" y="171575"/>
                  <a:pt x="16305" y="130355"/>
                  <a:pt x="17570" y="88165"/>
                </a:cubicBezTo>
                <a:cubicBezTo>
                  <a:pt x="17924" y="71015"/>
                  <a:pt x="17703" y="54835"/>
                  <a:pt x="17615" y="37421"/>
                </a:cubicBezTo>
                <a:cubicBezTo>
                  <a:pt x="17715" y="29569"/>
                  <a:pt x="17682" y="22951"/>
                  <a:pt x="18182" y="15484"/>
                </a:cubicBezTo>
                <a:cubicBezTo>
                  <a:pt x="19427" y="10639"/>
                  <a:pt x="20141" y="6642"/>
                  <a:pt x="22091" y="2787"/>
                </a:cubicBezTo>
                <a:cubicBezTo>
                  <a:pt x="33455" y="2760"/>
                  <a:pt x="43581" y="2592"/>
                  <a:pt x="54703" y="2968"/>
                </a:cubicBezTo>
                <a:cubicBezTo>
                  <a:pt x="70921" y="2997"/>
                  <a:pt x="86144" y="2480"/>
                  <a:pt x="102677" y="2086"/>
                </a:cubicBezTo>
                <a:cubicBezTo>
                  <a:pt x="127444" y="1303"/>
                  <a:pt x="150901" y="399"/>
                  <a:pt x="175262" y="0"/>
                </a:cubicBezTo>
                <a:cubicBezTo>
                  <a:pt x="180415" y="388"/>
                  <a:pt x="184664" y="270"/>
                  <a:pt x="189022" y="1595"/>
                </a:cubicBezTo>
                <a:cubicBezTo>
                  <a:pt x="189796" y="39233"/>
                  <a:pt x="190459" y="75430"/>
                  <a:pt x="190628" y="112461"/>
                </a:cubicBezTo>
                <a:cubicBezTo>
                  <a:pt x="190659" y="118310"/>
                  <a:pt x="191185" y="123324"/>
                  <a:pt x="191584" y="129605"/>
                </a:cubicBezTo>
                <a:cubicBezTo>
                  <a:pt x="192268" y="145024"/>
                  <a:pt x="193079" y="159176"/>
                  <a:pt x="193429" y="173943"/>
                </a:cubicBezTo>
                <a:cubicBezTo>
                  <a:pt x="193407" y="176938"/>
                  <a:pt x="193846" y="179318"/>
                  <a:pt x="194215" y="182908"/>
                </a:cubicBezTo>
                <a:cubicBezTo>
                  <a:pt x="195008" y="194551"/>
                  <a:pt x="195871" y="204983"/>
                  <a:pt x="196316" y="215902"/>
                </a:cubicBezTo>
                <a:cubicBezTo>
                  <a:pt x="196287" y="217918"/>
                  <a:pt x="196676" y="219447"/>
                  <a:pt x="196980" y="222182"/>
                </a:cubicBezTo>
                <a:cubicBezTo>
                  <a:pt x="197737" y="231943"/>
                  <a:pt x="198578" y="240498"/>
                  <a:pt x="198972" y="249680"/>
                </a:cubicBezTo>
                <a:cubicBezTo>
                  <a:pt x="199023" y="252674"/>
                  <a:pt x="199521" y="255040"/>
                  <a:pt x="199949" y="258553"/>
                </a:cubicBezTo>
                <a:cubicBezTo>
                  <a:pt x="200695" y="266443"/>
                  <a:pt x="201512" y="273186"/>
                  <a:pt x="201912" y="280418"/>
                </a:cubicBezTo>
                <a:cubicBezTo>
                  <a:pt x="201915" y="282431"/>
                  <a:pt x="202335" y="283954"/>
                  <a:pt x="202686" y="286632"/>
                </a:cubicBezTo>
                <a:cubicBezTo>
                  <a:pt x="203420" y="294511"/>
                  <a:pt x="204221" y="301235"/>
                  <a:pt x="204600" y="308453"/>
                </a:cubicBezTo>
                <a:cubicBezTo>
                  <a:pt x="204617" y="310478"/>
                  <a:pt x="205056" y="312010"/>
                  <a:pt x="205443" y="314650"/>
                </a:cubicBezTo>
                <a:cubicBezTo>
                  <a:pt x="206209" y="321575"/>
                  <a:pt x="207026" y="327392"/>
                  <a:pt x="207431" y="333707"/>
                </a:cubicBezTo>
                <a:cubicBezTo>
                  <a:pt x="207477" y="335726"/>
                  <a:pt x="207935" y="337248"/>
                  <a:pt x="208345" y="339842"/>
                </a:cubicBezTo>
                <a:cubicBezTo>
                  <a:pt x="209075" y="345825"/>
                  <a:pt x="209853" y="350735"/>
                  <a:pt x="210218" y="356144"/>
                </a:cubicBezTo>
                <a:cubicBezTo>
                  <a:pt x="210268" y="358165"/>
                  <a:pt x="210732" y="359689"/>
                  <a:pt x="211157" y="362375"/>
                </a:cubicBezTo>
                <a:cubicBezTo>
                  <a:pt x="212820" y="374932"/>
                  <a:pt x="214522" y="386326"/>
                  <a:pt x="215820" y="398224"/>
                </a:cubicBezTo>
                <a:cubicBezTo>
                  <a:pt x="215896" y="400245"/>
                  <a:pt x="216376" y="401761"/>
                  <a:pt x="216821" y="404425"/>
                </a:cubicBezTo>
                <a:cubicBezTo>
                  <a:pt x="219381" y="420620"/>
                  <a:pt x="221974" y="435667"/>
                  <a:pt x="224187" y="451440"/>
                </a:cubicBezTo>
                <a:cubicBezTo>
                  <a:pt x="224310" y="453633"/>
                  <a:pt x="224814" y="455099"/>
                  <a:pt x="225295" y="457691"/>
                </a:cubicBezTo>
                <a:cubicBezTo>
                  <a:pt x="225916" y="461722"/>
                  <a:pt x="226560" y="464628"/>
                  <a:pt x="226831" y="468268"/>
                </a:cubicBezTo>
                <a:cubicBezTo>
                  <a:pt x="227002" y="470469"/>
                  <a:pt x="227545" y="471935"/>
                  <a:pt x="228069" y="474360"/>
                </a:cubicBezTo>
                <a:cubicBezTo>
                  <a:pt x="228757" y="478435"/>
                  <a:pt x="229465" y="481551"/>
                  <a:pt x="229778" y="485181"/>
                </a:cubicBezTo>
                <a:cubicBezTo>
                  <a:pt x="229895" y="487205"/>
                  <a:pt x="230405" y="488717"/>
                  <a:pt x="230932" y="491348"/>
                </a:cubicBezTo>
                <a:cubicBezTo>
                  <a:pt x="233462" y="505758"/>
                  <a:pt x="235976" y="519047"/>
                  <a:pt x="238095" y="532855"/>
                </a:cubicBezTo>
                <a:cubicBezTo>
                  <a:pt x="238266" y="534884"/>
                  <a:pt x="238832" y="536393"/>
                  <a:pt x="239424" y="539021"/>
                </a:cubicBezTo>
                <a:cubicBezTo>
                  <a:pt x="243794" y="561754"/>
                  <a:pt x="248139" y="583369"/>
                  <a:pt x="252120" y="605725"/>
                </a:cubicBezTo>
                <a:cubicBezTo>
                  <a:pt x="252314" y="607922"/>
                  <a:pt x="252872" y="609379"/>
                  <a:pt x="253460" y="611945"/>
                </a:cubicBezTo>
                <a:cubicBezTo>
                  <a:pt x="255190" y="621757"/>
                  <a:pt x="256700" y="630501"/>
                  <a:pt x="258622" y="639154"/>
                </a:cubicBezTo>
                <a:cubicBezTo>
                  <a:pt x="267724" y="680139"/>
                  <a:pt x="276939" y="721098"/>
                  <a:pt x="285765" y="762817"/>
                </a:cubicBezTo>
                <a:cubicBezTo>
                  <a:pt x="286023" y="765009"/>
                  <a:pt x="286629" y="766448"/>
                  <a:pt x="287284" y="768970"/>
                </a:cubicBezTo>
                <a:cubicBezTo>
                  <a:pt x="306160" y="852474"/>
                  <a:pt x="325237" y="934833"/>
                  <a:pt x="351792" y="1017474"/>
                </a:cubicBezTo>
                <a:cubicBezTo>
                  <a:pt x="335905" y="1017474"/>
                  <a:pt x="322480" y="1017474"/>
                  <a:pt x="308062" y="1016918"/>
                </a:cubicBezTo>
                <a:cubicBezTo>
                  <a:pt x="285165" y="1016306"/>
                  <a:pt x="263261" y="1016166"/>
                  <a:pt x="241358" y="1016276"/>
                </a:cubicBezTo>
                <a:cubicBezTo>
                  <a:pt x="237751" y="1016294"/>
                  <a:pt x="234149" y="1017408"/>
                  <a:pt x="229231" y="1017881"/>
                </a:cubicBezTo>
                <a:cubicBezTo>
                  <a:pt x="152375" y="1018399"/>
                  <a:pt x="76832" y="1019051"/>
                  <a:pt x="0" y="1019714"/>
                </a:cubicBezTo>
                <a:cubicBezTo>
                  <a:pt x="0" y="1004040"/>
                  <a:pt x="0" y="989705"/>
                  <a:pt x="0" y="975370"/>
                </a:cubicBezTo>
                <a:close/>
              </a:path>
            </a:pathLst>
          </a:custGeom>
          <a:solidFill>
            <a:srgbClr val="FEFEFD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6" name="Free-form: Shape 355">
            <a:extLst>
              <a:ext uri="{FF2B5EF4-FFF2-40B4-BE49-F238E27FC236}">
                <a16:creationId xmlns:a16="http://schemas.microsoft.com/office/drawing/2014/main" id="{D99294CD-C74D-4D93-932F-654B15B60125}"/>
              </a:ext>
            </a:extLst>
          </p:cNvPr>
          <p:cNvSpPr/>
          <p:nvPr/>
        </p:nvSpPr>
        <p:spPr>
          <a:xfrm>
            <a:off x="6464102" y="5547027"/>
            <a:ext cx="242745" cy="166660"/>
          </a:xfrm>
          <a:custGeom>
            <a:avLst/>
            <a:gdLst>
              <a:gd name="csX0" fmla="*/ 344821 w 572791"/>
              <a:gd name="csY0" fmla="*/ 351014 h 357509"/>
              <a:gd name="csX1" fmla="*/ 0 w 572791"/>
              <a:gd name="csY1" fmla="*/ 355669 h 357509"/>
              <a:gd name="csX2" fmla="*/ 1306 w 572791"/>
              <a:gd name="csY2" fmla="*/ 18915 h 357509"/>
              <a:gd name="csX3" fmla="*/ 12212 w 572791"/>
              <a:gd name="csY3" fmla="*/ 17740 h 357509"/>
              <a:gd name="csX4" fmla="*/ 132738 w 572791"/>
              <a:gd name="csY4" fmla="*/ 15715 h 357509"/>
              <a:gd name="csX5" fmla="*/ 364924 w 572791"/>
              <a:gd name="csY5" fmla="*/ 2198 h 357509"/>
              <a:gd name="csX6" fmla="*/ 402207 w 572791"/>
              <a:gd name="csY6" fmla="*/ 0 h 357509"/>
              <a:gd name="csX7" fmla="*/ 403816 w 572791"/>
              <a:gd name="csY7" fmla="*/ 4817 h 357509"/>
              <a:gd name="csX8" fmla="*/ 443486 w 572791"/>
              <a:gd name="csY8" fmla="*/ 95035 h 357509"/>
              <a:gd name="csX9" fmla="*/ 503695 w 572791"/>
              <a:gd name="csY9" fmla="*/ 157671 h 357509"/>
              <a:gd name="csX10" fmla="*/ 544964 w 572791"/>
              <a:gd name="csY10" fmla="*/ 208741 h 357509"/>
              <a:gd name="csX11" fmla="*/ 572752 w 572791"/>
              <a:gd name="csY11" fmla="*/ 314190 h 357509"/>
              <a:gd name="csX12" fmla="*/ 571373 w 572791"/>
              <a:gd name="csY12" fmla="*/ 324914 h 357509"/>
              <a:gd name="csX13" fmla="*/ 344821 w 572791"/>
              <a:gd name="csY13" fmla="*/ 351014 h 35750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</a:cxnLst>
            <a:rect l="l" t="t" r="r" b="b"/>
            <a:pathLst>
              <a:path w="572791" h="357509">
                <a:moveTo>
                  <a:pt x="344821" y="351014"/>
                </a:moveTo>
                <a:cubicBezTo>
                  <a:pt x="229704" y="359270"/>
                  <a:pt x="115810" y="358215"/>
                  <a:pt x="0" y="355669"/>
                </a:cubicBezTo>
                <a:cubicBezTo>
                  <a:pt x="6641" y="242789"/>
                  <a:pt x="11423" y="131403"/>
                  <a:pt x="1306" y="18915"/>
                </a:cubicBezTo>
                <a:cubicBezTo>
                  <a:pt x="5142" y="18486"/>
                  <a:pt x="8671" y="17803"/>
                  <a:pt x="12212" y="17740"/>
                </a:cubicBezTo>
                <a:cubicBezTo>
                  <a:pt x="52386" y="17019"/>
                  <a:pt x="92565" y="16532"/>
                  <a:pt x="132738" y="15715"/>
                </a:cubicBezTo>
                <a:cubicBezTo>
                  <a:pt x="210300" y="14136"/>
                  <a:pt x="287658" y="8969"/>
                  <a:pt x="364924" y="2198"/>
                </a:cubicBezTo>
                <a:cubicBezTo>
                  <a:pt x="377346" y="1110"/>
                  <a:pt x="389829" y="713"/>
                  <a:pt x="402207" y="0"/>
                </a:cubicBezTo>
                <a:cubicBezTo>
                  <a:pt x="402989" y="2261"/>
                  <a:pt x="403828" y="3543"/>
                  <a:pt x="403816" y="4817"/>
                </a:cubicBezTo>
                <a:cubicBezTo>
                  <a:pt x="403458" y="40866"/>
                  <a:pt x="420668" y="69493"/>
                  <a:pt x="443486" y="95035"/>
                </a:cubicBezTo>
                <a:cubicBezTo>
                  <a:pt x="462767" y="116618"/>
                  <a:pt x="484228" y="136244"/>
                  <a:pt x="503695" y="157671"/>
                </a:cubicBezTo>
                <a:cubicBezTo>
                  <a:pt x="518401" y="173858"/>
                  <a:pt x="532941" y="190557"/>
                  <a:pt x="544964" y="208741"/>
                </a:cubicBezTo>
                <a:cubicBezTo>
                  <a:pt x="565917" y="240429"/>
                  <a:pt x="573411" y="276430"/>
                  <a:pt x="572752" y="314190"/>
                </a:cubicBezTo>
                <a:cubicBezTo>
                  <a:pt x="572696" y="317365"/>
                  <a:pt x="571957" y="320529"/>
                  <a:pt x="571373" y="324914"/>
                </a:cubicBezTo>
                <a:cubicBezTo>
                  <a:pt x="496226" y="334583"/>
                  <a:pt x="421404" y="344621"/>
                  <a:pt x="344821" y="351014"/>
                </a:cubicBezTo>
                <a:close/>
              </a:path>
            </a:pathLst>
          </a:custGeom>
          <a:solidFill>
            <a:srgbClr val="FEFEFD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7" name="Free-form: Shape 356">
            <a:extLst>
              <a:ext uri="{FF2B5EF4-FFF2-40B4-BE49-F238E27FC236}">
                <a16:creationId xmlns:a16="http://schemas.microsoft.com/office/drawing/2014/main" id="{A159B710-F566-A307-9DC9-D298E287DAE7}"/>
              </a:ext>
            </a:extLst>
          </p:cNvPr>
          <p:cNvSpPr/>
          <p:nvPr/>
        </p:nvSpPr>
        <p:spPr>
          <a:xfrm>
            <a:off x="6463213" y="5739747"/>
            <a:ext cx="259324" cy="66477"/>
          </a:xfrm>
          <a:custGeom>
            <a:avLst/>
            <a:gdLst>
              <a:gd name="csX0" fmla="*/ 298270 w 611913"/>
              <a:gd name="csY0" fmla="*/ 29215 h 142602"/>
              <a:gd name="csX1" fmla="*/ 512796 w 611913"/>
              <a:gd name="csY1" fmla="*/ 6951 h 142602"/>
              <a:gd name="csX2" fmla="*/ 567029 w 611913"/>
              <a:gd name="csY2" fmla="*/ 256 h 142602"/>
              <a:gd name="csX3" fmla="*/ 586840 w 611913"/>
              <a:gd name="csY3" fmla="*/ 10038 h 142602"/>
              <a:gd name="csX4" fmla="*/ 593324 w 611913"/>
              <a:gd name="csY4" fmla="*/ 20837 h 142602"/>
              <a:gd name="csX5" fmla="*/ 611914 w 611913"/>
              <a:gd name="csY5" fmla="*/ 96596 h 142602"/>
              <a:gd name="csX6" fmla="*/ 598468 w 611913"/>
              <a:gd name="csY6" fmla="*/ 100799 h 142602"/>
              <a:gd name="csX7" fmla="*/ 410669 w 611913"/>
              <a:gd name="csY7" fmla="*/ 132209 h 142602"/>
              <a:gd name="csX8" fmla="*/ 125026 w 611913"/>
              <a:gd name="csY8" fmla="*/ 141814 h 142602"/>
              <a:gd name="csX9" fmla="*/ 11546 w 611913"/>
              <a:gd name="csY9" fmla="*/ 137848 h 142602"/>
              <a:gd name="csX10" fmla="*/ 0 w 611913"/>
              <a:gd name="csY10" fmla="*/ 136841 h 142602"/>
              <a:gd name="csX11" fmla="*/ 6226 w 611913"/>
              <a:gd name="csY11" fmla="*/ 34049 h 142602"/>
              <a:gd name="csX12" fmla="*/ 25148 w 611913"/>
              <a:gd name="csY12" fmla="*/ 34049 h 142602"/>
              <a:gd name="csX13" fmla="*/ 203168 w 611913"/>
              <a:gd name="csY13" fmla="*/ 33784 h 142602"/>
              <a:gd name="csX14" fmla="*/ 298270 w 611913"/>
              <a:gd name="csY14" fmla="*/ 29215 h 14260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</a:cxnLst>
            <a:rect l="l" t="t" r="r" b="b"/>
            <a:pathLst>
              <a:path w="611913" h="142602">
                <a:moveTo>
                  <a:pt x="298270" y="29215"/>
                </a:moveTo>
                <a:cubicBezTo>
                  <a:pt x="370954" y="24666"/>
                  <a:pt x="441996" y="17008"/>
                  <a:pt x="512796" y="6951"/>
                </a:cubicBezTo>
                <a:cubicBezTo>
                  <a:pt x="530827" y="4390"/>
                  <a:pt x="548992" y="2783"/>
                  <a:pt x="567029" y="256"/>
                </a:cubicBezTo>
                <a:cubicBezTo>
                  <a:pt x="576202" y="-1030"/>
                  <a:pt x="582311" y="2575"/>
                  <a:pt x="586840" y="10038"/>
                </a:cubicBezTo>
                <a:cubicBezTo>
                  <a:pt x="589020" y="13630"/>
                  <a:pt x="591618" y="17033"/>
                  <a:pt x="593324" y="20837"/>
                </a:cubicBezTo>
                <a:cubicBezTo>
                  <a:pt x="603952" y="44539"/>
                  <a:pt x="608111" y="69801"/>
                  <a:pt x="611914" y="96596"/>
                </a:cubicBezTo>
                <a:cubicBezTo>
                  <a:pt x="607052" y="98130"/>
                  <a:pt x="602824" y="99720"/>
                  <a:pt x="598468" y="100799"/>
                </a:cubicBezTo>
                <a:cubicBezTo>
                  <a:pt x="536680" y="116108"/>
                  <a:pt x="473961" y="125773"/>
                  <a:pt x="410669" y="132209"/>
                </a:cubicBezTo>
                <a:cubicBezTo>
                  <a:pt x="315660" y="141870"/>
                  <a:pt x="220411" y="144010"/>
                  <a:pt x="125026" y="141814"/>
                </a:cubicBezTo>
                <a:cubicBezTo>
                  <a:pt x="87189" y="140943"/>
                  <a:pt x="49371" y="139223"/>
                  <a:pt x="11546" y="137848"/>
                </a:cubicBezTo>
                <a:cubicBezTo>
                  <a:pt x="8331" y="137731"/>
                  <a:pt x="5128" y="137299"/>
                  <a:pt x="0" y="136841"/>
                </a:cubicBezTo>
                <a:cubicBezTo>
                  <a:pt x="917" y="102718"/>
                  <a:pt x="4600" y="69125"/>
                  <a:pt x="6226" y="34049"/>
                </a:cubicBezTo>
                <a:cubicBezTo>
                  <a:pt x="13237" y="34049"/>
                  <a:pt x="19192" y="34051"/>
                  <a:pt x="25148" y="34049"/>
                </a:cubicBezTo>
                <a:cubicBezTo>
                  <a:pt x="84488" y="34030"/>
                  <a:pt x="143836" y="34519"/>
                  <a:pt x="203168" y="33784"/>
                </a:cubicBezTo>
                <a:cubicBezTo>
                  <a:pt x="234447" y="33397"/>
                  <a:pt x="265701" y="30872"/>
                  <a:pt x="298270" y="29215"/>
                </a:cubicBezTo>
                <a:close/>
              </a:path>
            </a:pathLst>
          </a:custGeom>
          <a:solidFill>
            <a:srgbClr val="FEFDFB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8" name="Free-form: Shape 357">
            <a:extLst>
              <a:ext uri="{FF2B5EF4-FFF2-40B4-BE49-F238E27FC236}">
                <a16:creationId xmlns:a16="http://schemas.microsoft.com/office/drawing/2014/main" id="{161A2713-EC00-3C2B-A16B-69EF420373E3}"/>
              </a:ext>
            </a:extLst>
          </p:cNvPr>
          <p:cNvSpPr/>
          <p:nvPr/>
        </p:nvSpPr>
        <p:spPr>
          <a:xfrm>
            <a:off x="6472103" y="4972828"/>
            <a:ext cx="130728" cy="33077"/>
          </a:xfrm>
          <a:custGeom>
            <a:avLst/>
            <a:gdLst>
              <a:gd name="csX0" fmla="*/ 113686 w 308472"/>
              <a:gd name="csY0" fmla="*/ 4708 h 70954"/>
              <a:gd name="csX1" fmla="*/ 238304 w 308472"/>
              <a:gd name="csY1" fmla="*/ 79 h 70954"/>
              <a:gd name="csX2" fmla="*/ 293684 w 308472"/>
              <a:gd name="csY2" fmla="*/ 16423 h 70954"/>
              <a:gd name="csX3" fmla="*/ 308469 w 308472"/>
              <a:gd name="csY3" fmla="*/ 46566 h 70954"/>
              <a:gd name="csX4" fmla="*/ 296679 w 308472"/>
              <a:gd name="csY4" fmla="*/ 60539 h 70954"/>
              <a:gd name="csX5" fmla="*/ 281393 w 308472"/>
              <a:gd name="csY5" fmla="*/ 62359 h 70954"/>
              <a:gd name="csX6" fmla="*/ 13891 w 308472"/>
              <a:gd name="csY6" fmla="*/ 70892 h 70954"/>
              <a:gd name="csX7" fmla="*/ 0 w 308472"/>
              <a:gd name="csY7" fmla="*/ 70909 h 70954"/>
              <a:gd name="csX8" fmla="*/ 4414 w 308472"/>
              <a:gd name="csY8" fmla="*/ 8877 h 70954"/>
              <a:gd name="csX9" fmla="*/ 59085 w 308472"/>
              <a:gd name="csY9" fmla="*/ 6769 h 70954"/>
              <a:gd name="csX10" fmla="*/ 113686 w 308472"/>
              <a:gd name="csY10" fmla="*/ 4708 h 7095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</a:cxnLst>
            <a:rect l="l" t="t" r="r" b="b"/>
            <a:pathLst>
              <a:path w="308472" h="70954">
                <a:moveTo>
                  <a:pt x="113686" y="4708"/>
                </a:moveTo>
                <a:cubicBezTo>
                  <a:pt x="156156" y="3151"/>
                  <a:pt x="197235" y="1744"/>
                  <a:pt x="238304" y="79"/>
                </a:cubicBezTo>
                <a:cubicBezTo>
                  <a:pt x="258693" y="-748"/>
                  <a:pt x="277061" y="4922"/>
                  <a:pt x="293684" y="16423"/>
                </a:cubicBezTo>
                <a:cubicBezTo>
                  <a:pt x="304119" y="23641"/>
                  <a:pt x="308615" y="34077"/>
                  <a:pt x="308469" y="46566"/>
                </a:cubicBezTo>
                <a:cubicBezTo>
                  <a:pt x="308355" y="56359"/>
                  <a:pt x="306312" y="58808"/>
                  <a:pt x="296679" y="60539"/>
                </a:cubicBezTo>
                <a:cubicBezTo>
                  <a:pt x="291635" y="61446"/>
                  <a:pt x="286506" y="62192"/>
                  <a:pt x="281393" y="62359"/>
                </a:cubicBezTo>
                <a:cubicBezTo>
                  <a:pt x="192228" y="65269"/>
                  <a:pt x="103059" y="68083"/>
                  <a:pt x="13891" y="70892"/>
                </a:cubicBezTo>
                <a:cubicBezTo>
                  <a:pt x="9772" y="71022"/>
                  <a:pt x="5645" y="70909"/>
                  <a:pt x="0" y="70909"/>
                </a:cubicBezTo>
                <a:cubicBezTo>
                  <a:pt x="1487" y="50015"/>
                  <a:pt x="2892" y="30265"/>
                  <a:pt x="4414" y="8877"/>
                </a:cubicBezTo>
                <a:cubicBezTo>
                  <a:pt x="23034" y="7159"/>
                  <a:pt x="41075" y="7283"/>
                  <a:pt x="59085" y="6769"/>
                </a:cubicBezTo>
                <a:cubicBezTo>
                  <a:pt x="76825" y="6262"/>
                  <a:pt x="94556" y="5438"/>
                  <a:pt x="113686" y="4708"/>
                </a:cubicBezTo>
                <a:close/>
              </a:path>
            </a:pathLst>
          </a:custGeom>
          <a:solidFill>
            <a:srgbClr val="FEFDFB"/>
          </a:solidFill>
          <a:ln w="1401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9" name="Free-form: Shape 358">
            <a:extLst>
              <a:ext uri="{FF2B5EF4-FFF2-40B4-BE49-F238E27FC236}">
                <a16:creationId xmlns:a16="http://schemas.microsoft.com/office/drawing/2014/main" id="{64A9EE40-EF9A-E397-3C77-B15A157B5257}"/>
              </a:ext>
            </a:extLst>
          </p:cNvPr>
          <p:cNvSpPr/>
          <p:nvPr/>
        </p:nvSpPr>
        <p:spPr>
          <a:xfrm>
            <a:off x="6464260" y="4572461"/>
            <a:ext cx="162064" cy="275701"/>
          </a:xfrm>
          <a:custGeom>
            <a:avLst/>
            <a:gdLst>
              <a:gd name="csX0" fmla="*/ 14188 w 382415"/>
              <a:gd name="csY0" fmla="*/ 447946 h 591415"/>
              <a:gd name="csX1" fmla="*/ 12298 w 382415"/>
              <a:gd name="csY1" fmla="*/ 381038 h 591415"/>
              <a:gd name="csX2" fmla="*/ 11200 w 382415"/>
              <a:gd name="csY2" fmla="*/ 363835 h 591415"/>
              <a:gd name="csX3" fmla="*/ 9378 w 382415"/>
              <a:gd name="csY3" fmla="*/ 305508 h 591415"/>
              <a:gd name="csX4" fmla="*/ 8516 w 382415"/>
              <a:gd name="csY4" fmla="*/ 296482 h 591415"/>
              <a:gd name="csX5" fmla="*/ 6728 w 382415"/>
              <a:gd name="csY5" fmla="*/ 223958 h 591415"/>
              <a:gd name="csX6" fmla="*/ 5645 w 382415"/>
              <a:gd name="csY6" fmla="*/ 206735 h 591415"/>
              <a:gd name="csX7" fmla="*/ 3964 w 382415"/>
              <a:gd name="csY7" fmla="*/ 137053 h 591415"/>
              <a:gd name="csX8" fmla="*/ 2902 w 382415"/>
              <a:gd name="csY8" fmla="*/ 122565 h 591415"/>
              <a:gd name="csX9" fmla="*/ 1011 w 382415"/>
              <a:gd name="csY9" fmla="*/ 47301 h 591415"/>
              <a:gd name="csX10" fmla="*/ 20 w 382415"/>
              <a:gd name="csY10" fmla="*/ 32821 h 591415"/>
              <a:gd name="csX11" fmla="*/ 512 w 382415"/>
              <a:gd name="csY11" fmla="*/ 4394 h 591415"/>
              <a:gd name="csX12" fmla="*/ 2417 w 382415"/>
              <a:gd name="csY12" fmla="*/ 1592 h 591415"/>
              <a:gd name="csX13" fmla="*/ 115794 w 382415"/>
              <a:gd name="csY13" fmla="*/ 4 h 591415"/>
              <a:gd name="csX14" fmla="*/ 162265 w 382415"/>
              <a:gd name="csY14" fmla="*/ 2117 h 591415"/>
              <a:gd name="csX15" fmla="*/ 168630 w 382415"/>
              <a:gd name="csY15" fmla="*/ 1773 h 591415"/>
              <a:gd name="csX16" fmla="*/ 314663 w 382415"/>
              <a:gd name="csY16" fmla="*/ 18731 h 591415"/>
              <a:gd name="csX17" fmla="*/ 367127 w 382415"/>
              <a:gd name="csY17" fmla="*/ 32924 h 591415"/>
              <a:gd name="csX18" fmla="*/ 382384 w 382415"/>
              <a:gd name="csY18" fmla="*/ 56466 h 591415"/>
              <a:gd name="csX19" fmla="*/ 368394 w 382415"/>
              <a:gd name="csY19" fmla="*/ 120544 h 591415"/>
              <a:gd name="csX20" fmla="*/ 314675 w 382415"/>
              <a:gd name="csY20" fmla="*/ 270961 h 591415"/>
              <a:gd name="csX21" fmla="*/ 213644 w 382415"/>
              <a:gd name="csY21" fmla="*/ 563667 h 591415"/>
              <a:gd name="csX22" fmla="*/ 205897 w 382415"/>
              <a:gd name="csY22" fmla="*/ 585758 h 591415"/>
              <a:gd name="csX23" fmla="*/ 138249 w 382415"/>
              <a:gd name="csY23" fmla="*/ 587362 h 591415"/>
              <a:gd name="csX24" fmla="*/ 118197 w 382415"/>
              <a:gd name="csY24" fmla="*/ 588344 h 591415"/>
              <a:gd name="csX25" fmla="*/ 59707 w 382415"/>
              <a:gd name="csY25" fmla="*/ 590000 h 591415"/>
              <a:gd name="csX26" fmla="*/ 42516 w 382415"/>
              <a:gd name="csY26" fmla="*/ 591416 h 591415"/>
              <a:gd name="csX27" fmla="*/ 20811 w 382415"/>
              <a:gd name="csY27" fmla="*/ 591416 h 591415"/>
              <a:gd name="csX28" fmla="*/ 17902 w 382415"/>
              <a:gd name="csY28" fmla="*/ 546518 h 591415"/>
              <a:gd name="csX29" fmla="*/ 16779 w 382415"/>
              <a:gd name="csY29" fmla="*/ 526538 h 591415"/>
              <a:gd name="csX30" fmla="*/ 15163 w 382415"/>
              <a:gd name="csY30" fmla="*/ 459741 h 591415"/>
              <a:gd name="csX31" fmla="*/ 14188 w 382415"/>
              <a:gd name="csY31" fmla="*/ 447946 h 59141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</a:cxnLst>
            <a:rect l="l" t="t" r="r" b="b"/>
            <a:pathLst>
              <a:path w="382415" h="591415">
                <a:moveTo>
                  <a:pt x="14188" y="447946"/>
                </a:moveTo>
                <a:cubicBezTo>
                  <a:pt x="13448" y="426344"/>
                  <a:pt x="12708" y="404741"/>
                  <a:pt x="12298" y="381038"/>
                </a:cubicBezTo>
                <a:cubicBezTo>
                  <a:pt x="12152" y="373904"/>
                  <a:pt x="11676" y="368869"/>
                  <a:pt x="11200" y="363835"/>
                </a:cubicBezTo>
                <a:cubicBezTo>
                  <a:pt x="10498" y="345020"/>
                  <a:pt x="9796" y="326206"/>
                  <a:pt x="9378" y="305508"/>
                </a:cubicBezTo>
                <a:cubicBezTo>
                  <a:pt x="9280" y="301244"/>
                  <a:pt x="8898" y="298863"/>
                  <a:pt x="8516" y="296482"/>
                </a:cubicBezTo>
                <a:cubicBezTo>
                  <a:pt x="7809" y="273008"/>
                  <a:pt x="7102" y="249535"/>
                  <a:pt x="6728" y="223958"/>
                </a:cubicBezTo>
                <a:cubicBezTo>
                  <a:pt x="6589" y="216815"/>
                  <a:pt x="6117" y="211775"/>
                  <a:pt x="5645" y="206735"/>
                </a:cubicBezTo>
                <a:cubicBezTo>
                  <a:pt x="4976" y="184187"/>
                  <a:pt x="4307" y="161639"/>
                  <a:pt x="3964" y="137053"/>
                </a:cubicBezTo>
                <a:cubicBezTo>
                  <a:pt x="3828" y="130865"/>
                  <a:pt x="3365" y="126715"/>
                  <a:pt x="2902" y="122565"/>
                </a:cubicBezTo>
                <a:cubicBezTo>
                  <a:pt x="2158" y="98167"/>
                  <a:pt x="1414" y="73768"/>
                  <a:pt x="1011" y="47301"/>
                </a:cubicBezTo>
                <a:cubicBezTo>
                  <a:pt x="908" y="41095"/>
                  <a:pt x="464" y="36958"/>
                  <a:pt x="20" y="32821"/>
                </a:cubicBezTo>
                <a:cubicBezTo>
                  <a:pt x="-19" y="23766"/>
                  <a:pt x="-59" y="14711"/>
                  <a:pt x="512" y="4394"/>
                </a:cubicBezTo>
                <a:cubicBezTo>
                  <a:pt x="1883" y="2894"/>
                  <a:pt x="2314" y="2381"/>
                  <a:pt x="2417" y="1592"/>
                </a:cubicBezTo>
                <a:cubicBezTo>
                  <a:pt x="40209" y="1024"/>
                  <a:pt x="78000" y="223"/>
                  <a:pt x="115794" y="4"/>
                </a:cubicBezTo>
                <a:cubicBezTo>
                  <a:pt x="130708" y="-82"/>
                  <a:pt x="145630" y="1128"/>
                  <a:pt x="162265" y="2117"/>
                </a:cubicBezTo>
                <a:cubicBezTo>
                  <a:pt x="165531" y="2247"/>
                  <a:pt x="167081" y="2010"/>
                  <a:pt x="168630" y="1773"/>
                </a:cubicBezTo>
                <a:cubicBezTo>
                  <a:pt x="217325" y="7297"/>
                  <a:pt x="266121" y="12088"/>
                  <a:pt x="314663" y="18731"/>
                </a:cubicBezTo>
                <a:cubicBezTo>
                  <a:pt x="332471" y="21168"/>
                  <a:pt x="349777" y="27666"/>
                  <a:pt x="367127" y="32924"/>
                </a:cubicBezTo>
                <a:cubicBezTo>
                  <a:pt x="378391" y="36339"/>
                  <a:pt x="382842" y="44413"/>
                  <a:pt x="382384" y="56466"/>
                </a:cubicBezTo>
                <a:cubicBezTo>
                  <a:pt x="381538" y="78749"/>
                  <a:pt x="375716" y="99822"/>
                  <a:pt x="368394" y="120544"/>
                </a:cubicBezTo>
                <a:cubicBezTo>
                  <a:pt x="350655" y="170742"/>
                  <a:pt x="332173" y="220680"/>
                  <a:pt x="314675" y="270961"/>
                </a:cubicBezTo>
                <a:cubicBezTo>
                  <a:pt x="280751" y="368444"/>
                  <a:pt x="247300" y="466091"/>
                  <a:pt x="213644" y="563667"/>
                </a:cubicBezTo>
                <a:cubicBezTo>
                  <a:pt x="211232" y="570661"/>
                  <a:pt x="208750" y="577629"/>
                  <a:pt x="205897" y="585758"/>
                </a:cubicBezTo>
                <a:cubicBezTo>
                  <a:pt x="184079" y="586417"/>
                  <a:pt x="162247" y="587077"/>
                  <a:pt x="138249" y="587362"/>
                </a:cubicBezTo>
                <a:cubicBezTo>
                  <a:pt x="130120" y="587439"/>
                  <a:pt x="124159" y="587891"/>
                  <a:pt x="118197" y="588344"/>
                </a:cubicBezTo>
                <a:cubicBezTo>
                  <a:pt x="99397" y="589004"/>
                  <a:pt x="80596" y="589663"/>
                  <a:pt x="59707" y="590000"/>
                </a:cubicBezTo>
                <a:cubicBezTo>
                  <a:pt x="52584" y="590258"/>
                  <a:pt x="47550" y="590837"/>
                  <a:pt x="42516" y="591416"/>
                </a:cubicBezTo>
                <a:cubicBezTo>
                  <a:pt x="35565" y="591416"/>
                  <a:pt x="28614" y="591416"/>
                  <a:pt x="20811" y="591416"/>
                </a:cubicBezTo>
                <a:cubicBezTo>
                  <a:pt x="16891" y="577297"/>
                  <a:pt x="18678" y="562841"/>
                  <a:pt x="17902" y="546518"/>
                </a:cubicBezTo>
                <a:cubicBezTo>
                  <a:pt x="17764" y="538425"/>
                  <a:pt x="17271" y="532482"/>
                  <a:pt x="16779" y="526538"/>
                </a:cubicBezTo>
                <a:cubicBezTo>
                  <a:pt x="16131" y="504937"/>
                  <a:pt x="15482" y="483336"/>
                  <a:pt x="15163" y="459741"/>
                </a:cubicBezTo>
                <a:cubicBezTo>
                  <a:pt x="15057" y="454480"/>
                  <a:pt x="14622" y="451213"/>
                  <a:pt x="14188" y="447946"/>
                </a:cubicBezTo>
                <a:close/>
              </a:path>
            </a:pathLst>
          </a:custGeom>
          <a:solidFill>
            <a:srgbClr val="FEFEFD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60" name="Free-form: Shape 359">
            <a:extLst>
              <a:ext uri="{FF2B5EF4-FFF2-40B4-BE49-F238E27FC236}">
                <a16:creationId xmlns:a16="http://schemas.microsoft.com/office/drawing/2014/main" id="{C694C463-2204-9F3A-1022-985272E58807}"/>
              </a:ext>
            </a:extLst>
          </p:cNvPr>
          <p:cNvSpPr/>
          <p:nvPr/>
        </p:nvSpPr>
        <p:spPr>
          <a:xfrm>
            <a:off x="6472448" y="4883173"/>
            <a:ext cx="100308" cy="62743"/>
          </a:xfrm>
          <a:custGeom>
            <a:avLst/>
            <a:gdLst>
              <a:gd name="csX0" fmla="*/ 105130 w 236692"/>
              <a:gd name="csY0" fmla="*/ 130054 h 134592"/>
              <a:gd name="csX1" fmla="*/ 4609 w 236692"/>
              <a:gd name="csY1" fmla="*/ 134592 h 134592"/>
              <a:gd name="csX2" fmla="*/ 3775 w 236692"/>
              <a:gd name="csY2" fmla="*/ 121667 h 134592"/>
              <a:gd name="csX3" fmla="*/ 3868 w 236692"/>
              <a:gd name="csY3" fmla="*/ 51573 h 134592"/>
              <a:gd name="csX4" fmla="*/ 0 w 236692"/>
              <a:gd name="csY4" fmla="*/ 9673 h 134592"/>
              <a:gd name="csX5" fmla="*/ 184850 w 236692"/>
              <a:gd name="csY5" fmla="*/ 471 h 134592"/>
              <a:gd name="csX6" fmla="*/ 185564 w 236692"/>
              <a:gd name="csY6" fmla="*/ 15071 h 134592"/>
              <a:gd name="csX7" fmla="*/ 204819 w 236692"/>
              <a:gd name="csY7" fmla="*/ 54944 h 134592"/>
              <a:gd name="csX8" fmla="*/ 236693 w 236692"/>
              <a:gd name="csY8" fmla="*/ 123534 h 134592"/>
              <a:gd name="csX9" fmla="*/ 170865 w 236692"/>
              <a:gd name="csY9" fmla="*/ 126995 h 134592"/>
              <a:gd name="csX10" fmla="*/ 105130 w 236692"/>
              <a:gd name="csY10" fmla="*/ 130054 h 13459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</a:cxnLst>
            <a:rect l="l" t="t" r="r" b="b"/>
            <a:pathLst>
              <a:path w="236692" h="134592">
                <a:moveTo>
                  <a:pt x="105130" y="130054"/>
                </a:moveTo>
                <a:cubicBezTo>
                  <a:pt x="71180" y="131586"/>
                  <a:pt x="38558" y="133059"/>
                  <a:pt x="4609" y="134592"/>
                </a:cubicBezTo>
                <a:cubicBezTo>
                  <a:pt x="4277" y="129680"/>
                  <a:pt x="3770" y="125673"/>
                  <a:pt x="3775" y="121667"/>
                </a:cubicBezTo>
                <a:cubicBezTo>
                  <a:pt x="3800" y="98301"/>
                  <a:pt x="4430" y="74923"/>
                  <a:pt x="3868" y="51573"/>
                </a:cubicBezTo>
                <a:cubicBezTo>
                  <a:pt x="3536" y="37759"/>
                  <a:pt x="1384" y="23989"/>
                  <a:pt x="0" y="9673"/>
                </a:cubicBezTo>
                <a:cubicBezTo>
                  <a:pt x="9728" y="5925"/>
                  <a:pt x="156314" y="-2008"/>
                  <a:pt x="184850" y="471"/>
                </a:cubicBezTo>
                <a:cubicBezTo>
                  <a:pt x="185096" y="5177"/>
                  <a:pt x="185626" y="10128"/>
                  <a:pt x="185564" y="15071"/>
                </a:cubicBezTo>
                <a:cubicBezTo>
                  <a:pt x="185359" y="31609"/>
                  <a:pt x="191283" y="44787"/>
                  <a:pt x="204819" y="54944"/>
                </a:cubicBezTo>
                <a:cubicBezTo>
                  <a:pt x="227073" y="71641"/>
                  <a:pt x="235149" y="95272"/>
                  <a:pt x="236693" y="123534"/>
                </a:cubicBezTo>
                <a:cubicBezTo>
                  <a:pt x="214423" y="127191"/>
                  <a:pt x="192555" y="125928"/>
                  <a:pt x="170865" y="126995"/>
                </a:cubicBezTo>
                <a:cubicBezTo>
                  <a:pt x="149400" y="128051"/>
                  <a:pt x="127929" y="128999"/>
                  <a:pt x="105130" y="130054"/>
                </a:cubicBezTo>
                <a:close/>
              </a:path>
            </a:pathLst>
          </a:custGeom>
          <a:solidFill>
            <a:srgbClr val="FEFDFB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61" name="Free-form: Shape 360">
            <a:extLst>
              <a:ext uri="{FF2B5EF4-FFF2-40B4-BE49-F238E27FC236}">
                <a16:creationId xmlns:a16="http://schemas.microsoft.com/office/drawing/2014/main" id="{8A12296D-D504-FF74-770D-74014419C7D9}"/>
              </a:ext>
            </a:extLst>
          </p:cNvPr>
          <p:cNvSpPr/>
          <p:nvPr/>
        </p:nvSpPr>
        <p:spPr>
          <a:xfrm>
            <a:off x="1469831" y="4560318"/>
            <a:ext cx="593502" cy="1281815"/>
          </a:xfrm>
          <a:custGeom>
            <a:avLst/>
            <a:gdLst>
              <a:gd name="csX0" fmla="*/ 576414 w 768725"/>
              <a:gd name="csY0" fmla="*/ 893042 h 1509319"/>
              <a:gd name="csX1" fmla="*/ 613047 w 768725"/>
              <a:gd name="csY1" fmla="*/ 1059329 h 1509319"/>
              <a:gd name="csX2" fmla="*/ 623337 w 768725"/>
              <a:gd name="csY2" fmla="*/ 1071825 h 1509319"/>
              <a:gd name="csX3" fmla="*/ 639863 w 768725"/>
              <a:gd name="csY3" fmla="*/ 1079946 h 1509319"/>
              <a:gd name="csX4" fmla="*/ 652266 w 768725"/>
              <a:gd name="csY4" fmla="*/ 1109045 h 1509319"/>
              <a:gd name="csX5" fmla="*/ 645501 w 768725"/>
              <a:gd name="csY5" fmla="*/ 1127466 h 1509319"/>
              <a:gd name="csX6" fmla="*/ 645547 w 768725"/>
              <a:gd name="csY6" fmla="*/ 1144138 h 1509319"/>
              <a:gd name="csX7" fmla="*/ 664589 w 768725"/>
              <a:gd name="csY7" fmla="*/ 1175322 h 1509319"/>
              <a:gd name="csX8" fmla="*/ 712015 w 768725"/>
              <a:gd name="csY8" fmla="*/ 1225118 h 1509319"/>
              <a:gd name="csX9" fmla="*/ 744465 w 768725"/>
              <a:gd name="csY9" fmla="*/ 1300385 h 1509319"/>
              <a:gd name="csX10" fmla="*/ 743270 w 768725"/>
              <a:gd name="csY10" fmla="*/ 1350524 h 1509319"/>
              <a:gd name="csX11" fmla="*/ 745429 w 768725"/>
              <a:gd name="csY11" fmla="*/ 1363274 h 1509319"/>
              <a:gd name="csX12" fmla="*/ 768672 w 768725"/>
              <a:gd name="csY12" fmla="*/ 1456512 h 1509319"/>
              <a:gd name="csX13" fmla="*/ 758521 w 768725"/>
              <a:gd name="csY13" fmla="*/ 1472434 h 1509319"/>
              <a:gd name="csX14" fmla="*/ 730455 w 768725"/>
              <a:gd name="csY14" fmla="*/ 1481228 h 1509319"/>
              <a:gd name="csX15" fmla="*/ 594867 w 768725"/>
              <a:gd name="csY15" fmla="*/ 1502210 h 1509319"/>
              <a:gd name="csX16" fmla="*/ 320018 w 768725"/>
              <a:gd name="csY16" fmla="*/ 1508300 h 1509319"/>
              <a:gd name="csX17" fmla="*/ 186464 w 768725"/>
              <a:gd name="csY17" fmla="*/ 1501258 h 1509319"/>
              <a:gd name="csX18" fmla="*/ 26582 w 768725"/>
              <a:gd name="csY18" fmla="*/ 1477021 h 1509319"/>
              <a:gd name="csX19" fmla="*/ 3929 w 768725"/>
              <a:gd name="csY19" fmla="*/ 1465652 h 1509319"/>
              <a:gd name="csX20" fmla="*/ 18 w 768725"/>
              <a:gd name="csY20" fmla="*/ 1456203 h 1509319"/>
              <a:gd name="csX21" fmla="*/ 4393 w 768725"/>
              <a:gd name="csY21" fmla="*/ 1417235 h 1509319"/>
              <a:gd name="csX22" fmla="*/ 19158 w 768725"/>
              <a:gd name="csY22" fmla="*/ 1370678 h 1509319"/>
              <a:gd name="csX23" fmla="*/ 23255 w 768725"/>
              <a:gd name="csY23" fmla="*/ 1342388 h 1509319"/>
              <a:gd name="csX24" fmla="*/ 38705 w 768725"/>
              <a:gd name="csY24" fmla="*/ 1247261 h 1509319"/>
              <a:gd name="csX25" fmla="*/ 58454 w 768725"/>
              <a:gd name="csY25" fmla="*/ 1220807 h 1509319"/>
              <a:gd name="csX26" fmla="*/ 103638 w 768725"/>
              <a:gd name="csY26" fmla="*/ 1175667 h 1509319"/>
              <a:gd name="csX27" fmla="*/ 122996 w 768725"/>
              <a:gd name="csY27" fmla="*/ 1146131 h 1509319"/>
              <a:gd name="csX28" fmla="*/ 122689 w 768725"/>
              <a:gd name="csY28" fmla="*/ 1128316 h 1509319"/>
              <a:gd name="csX29" fmla="*/ 116576 w 768725"/>
              <a:gd name="csY29" fmla="*/ 1113575 h 1509319"/>
              <a:gd name="csX30" fmla="*/ 127479 w 768725"/>
              <a:gd name="csY30" fmla="*/ 1081076 h 1509319"/>
              <a:gd name="csX31" fmla="*/ 137480 w 768725"/>
              <a:gd name="csY31" fmla="*/ 1076482 h 1509319"/>
              <a:gd name="csX32" fmla="*/ 157312 w 768725"/>
              <a:gd name="csY32" fmla="*/ 1053855 h 1509319"/>
              <a:gd name="csX33" fmla="*/ 178876 w 768725"/>
              <a:gd name="csY33" fmla="*/ 958120 h 1509319"/>
              <a:gd name="csX34" fmla="*/ 210165 w 768725"/>
              <a:gd name="csY34" fmla="*/ 781849 h 1509319"/>
              <a:gd name="csX35" fmla="*/ 223295 w 768725"/>
              <a:gd name="csY35" fmla="*/ 674755 h 1509319"/>
              <a:gd name="csX36" fmla="*/ 231121 w 768725"/>
              <a:gd name="csY36" fmla="*/ 564636 h 1509319"/>
              <a:gd name="csX37" fmla="*/ 235173 w 768725"/>
              <a:gd name="csY37" fmla="*/ 453038 h 1509319"/>
              <a:gd name="csX38" fmla="*/ 235001 w 768725"/>
              <a:gd name="csY38" fmla="*/ 443215 h 1509319"/>
              <a:gd name="csX39" fmla="*/ 224321 w 768725"/>
              <a:gd name="csY39" fmla="*/ 428479 h 1509319"/>
              <a:gd name="csX40" fmla="*/ 204712 w 768725"/>
              <a:gd name="csY40" fmla="*/ 418450 h 1509319"/>
              <a:gd name="csX41" fmla="*/ 184069 w 768725"/>
              <a:gd name="csY41" fmla="*/ 366060 h 1509319"/>
              <a:gd name="csX42" fmla="*/ 206519 w 768725"/>
              <a:gd name="csY42" fmla="*/ 338181 h 1509319"/>
              <a:gd name="csX43" fmla="*/ 226643 w 768725"/>
              <a:gd name="csY43" fmla="*/ 329113 h 1509319"/>
              <a:gd name="csX44" fmla="*/ 232085 w 768725"/>
              <a:gd name="csY44" fmla="*/ 311135 h 1509319"/>
              <a:gd name="csX45" fmla="*/ 221280 w 768725"/>
              <a:gd name="csY45" fmla="*/ 299552 h 1509319"/>
              <a:gd name="csX46" fmla="*/ 173478 w 768725"/>
              <a:gd name="csY46" fmla="*/ 230303 h 1509319"/>
              <a:gd name="csX47" fmla="*/ 141864 w 768725"/>
              <a:gd name="csY47" fmla="*/ 95780 h 1509319"/>
              <a:gd name="csX48" fmla="*/ 137158 w 768725"/>
              <a:gd name="csY48" fmla="*/ 37107 h 1509319"/>
              <a:gd name="csX49" fmla="*/ 148750 w 768725"/>
              <a:gd name="csY49" fmla="*/ 22335 h 1509319"/>
              <a:gd name="csX50" fmla="*/ 236982 w 768725"/>
              <a:gd name="csY50" fmla="*/ 7640 h 1509319"/>
              <a:gd name="csX51" fmla="*/ 246862 w 768725"/>
              <a:gd name="csY51" fmla="*/ 7580 h 1509319"/>
              <a:gd name="csX52" fmla="*/ 261473 w 768725"/>
              <a:gd name="csY52" fmla="*/ 86763 h 1509319"/>
              <a:gd name="csX53" fmla="*/ 306246 w 768725"/>
              <a:gd name="csY53" fmla="*/ 83559 h 1509319"/>
              <a:gd name="csX54" fmla="*/ 306960 w 768725"/>
              <a:gd name="csY54" fmla="*/ 71087 h 1509319"/>
              <a:gd name="csX55" fmla="*/ 306724 w 768725"/>
              <a:gd name="csY55" fmla="*/ 19491 h 1509319"/>
              <a:gd name="csX56" fmla="*/ 319581 w 768725"/>
              <a:gd name="csY56" fmla="*/ 4733 h 1509319"/>
              <a:gd name="csX57" fmla="*/ 430956 w 768725"/>
              <a:gd name="csY57" fmla="*/ 2070 h 1509319"/>
              <a:gd name="csX58" fmla="*/ 437066 w 768725"/>
              <a:gd name="csY58" fmla="*/ 2646 h 1509319"/>
              <a:gd name="csX59" fmla="*/ 460335 w 768725"/>
              <a:gd name="csY59" fmla="*/ 24205 h 1509319"/>
              <a:gd name="csX60" fmla="*/ 463579 w 768725"/>
              <a:gd name="csY60" fmla="*/ 62081 h 1509319"/>
              <a:gd name="csX61" fmla="*/ 463652 w 768725"/>
              <a:gd name="csY61" fmla="*/ 82953 h 1509319"/>
              <a:gd name="csX62" fmla="*/ 507205 w 768725"/>
              <a:gd name="csY62" fmla="*/ 85553 h 1509319"/>
              <a:gd name="csX63" fmla="*/ 513271 w 768725"/>
              <a:gd name="csY63" fmla="*/ 61890 h 1509319"/>
              <a:gd name="csX64" fmla="*/ 520203 w 768725"/>
              <a:gd name="csY64" fmla="*/ 18323 h 1509319"/>
              <a:gd name="csX65" fmla="*/ 534008 w 768725"/>
              <a:gd name="csY65" fmla="*/ 7785 h 1509319"/>
              <a:gd name="csX66" fmla="*/ 595925 w 768725"/>
              <a:gd name="csY66" fmla="*/ 16407 h 1509319"/>
              <a:gd name="csX67" fmla="*/ 619972 w 768725"/>
              <a:gd name="csY67" fmla="*/ 21156 h 1509319"/>
              <a:gd name="csX68" fmla="*/ 631161 w 768725"/>
              <a:gd name="csY68" fmla="*/ 36134 h 1509319"/>
              <a:gd name="csX69" fmla="*/ 628140 w 768725"/>
              <a:gd name="csY69" fmla="*/ 85104 h 1509319"/>
              <a:gd name="csX70" fmla="*/ 613954 w 768725"/>
              <a:gd name="csY70" fmla="*/ 179618 h 1509319"/>
              <a:gd name="csX71" fmla="*/ 586196 w 768725"/>
              <a:gd name="csY71" fmla="*/ 256886 h 1509319"/>
              <a:gd name="csX72" fmla="*/ 554619 w 768725"/>
              <a:gd name="csY72" fmla="*/ 295312 h 1509319"/>
              <a:gd name="csX73" fmla="*/ 538601 w 768725"/>
              <a:gd name="csY73" fmla="*/ 315001 h 1509319"/>
              <a:gd name="csX74" fmla="*/ 542630 w 768725"/>
              <a:gd name="csY74" fmla="*/ 326199 h 1509319"/>
              <a:gd name="csX75" fmla="*/ 560240 w 768725"/>
              <a:gd name="csY75" fmla="*/ 334912 h 1509319"/>
              <a:gd name="csX76" fmla="*/ 586933 w 768725"/>
              <a:gd name="csY76" fmla="*/ 371800 h 1509319"/>
              <a:gd name="csX77" fmla="*/ 563039 w 768725"/>
              <a:gd name="csY77" fmla="*/ 418184 h 1509319"/>
              <a:gd name="csX78" fmla="*/ 545522 w 768725"/>
              <a:gd name="csY78" fmla="*/ 427008 h 1509319"/>
              <a:gd name="csX79" fmla="*/ 535507 w 768725"/>
              <a:gd name="csY79" fmla="*/ 440667 h 1509319"/>
              <a:gd name="csX80" fmla="*/ 536723 w 768725"/>
              <a:gd name="csY80" fmla="*/ 537651 h 1509319"/>
              <a:gd name="csX81" fmla="*/ 539820 w 768725"/>
              <a:gd name="csY81" fmla="*/ 595237 h 1509319"/>
              <a:gd name="csX82" fmla="*/ 553105 w 768725"/>
              <a:gd name="csY82" fmla="*/ 746727 h 1509319"/>
              <a:gd name="csX83" fmla="*/ 576414 w 768725"/>
              <a:gd name="csY83" fmla="*/ 893042 h 1509319"/>
              <a:gd name="csX84" fmla="*/ 500356 w 768725"/>
              <a:gd name="csY84" fmla="*/ 473996 h 1509319"/>
              <a:gd name="csX85" fmla="*/ 499749 w 768725"/>
              <a:gd name="csY85" fmla="*/ 463598 h 1509319"/>
              <a:gd name="csX86" fmla="*/ 392525 w 768725"/>
              <a:gd name="csY86" fmla="*/ 471627 h 1509319"/>
              <a:gd name="csX87" fmla="*/ 392518 w 768725"/>
              <a:gd name="csY87" fmla="*/ 482742 h 1509319"/>
              <a:gd name="csX88" fmla="*/ 390814 w 768725"/>
              <a:gd name="csY88" fmla="*/ 596913 h 1509319"/>
              <a:gd name="csX89" fmla="*/ 385953 w 768725"/>
              <a:gd name="csY89" fmla="*/ 788374 h 1509319"/>
              <a:gd name="csX90" fmla="*/ 383485 w 768725"/>
              <a:gd name="csY90" fmla="*/ 884103 h 1509319"/>
              <a:gd name="csX91" fmla="*/ 380173 w 768725"/>
              <a:gd name="csY91" fmla="*/ 1035109 h 1509319"/>
              <a:gd name="csX92" fmla="*/ 378826 w 768725"/>
              <a:gd name="csY92" fmla="*/ 1068199 h 1509319"/>
              <a:gd name="csX93" fmla="*/ 380180 w 768725"/>
              <a:gd name="csY93" fmla="*/ 1074648 h 1509319"/>
              <a:gd name="csX94" fmla="*/ 446854 w 768725"/>
              <a:gd name="csY94" fmla="*/ 1074654 h 1509319"/>
              <a:gd name="csX95" fmla="*/ 513191 w 768725"/>
              <a:gd name="csY95" fmla="*/ 1074731 h 1509319"/>
              <a:gd name="csX96" fmla="*/ 580317 w 768725"/>
              <a:gd name="csY96" fmla="*/ 1075095 h 1509319"/>
              <a:gd name="csX97" fmla="*/ 500356 w 768725"/>
              <a:gd name="csY97" fmla="*/ 473996 h 1509319"/>
              <a:gd name="csX98" fmla="*/ 459731 w 768725"/>
              <a:gd name="csY98" fmla="*/ 1135086 h 1509319"/>
              <a:gd name="csX99" fmla="*/ 383756 w 768725"/>
              <a:gd name="csY99" fmla="*/ 1135086 h 1509319"/>
              <a:gd name="csX100" fmla="*/ 387612 w 768725"/>
              <a:gd name="csY100" fmla="*/ 1242590 h 1509319"/>
              <a:gd name="csX101" fmla="*/ 383907 w 768725"/>
              <a:gd name="csY101" fmla="*/ 1351330 h 1509319"/>
              <a:gd name="csX102" fmla="*/ 707112 w 768725"/>
              <a:gd name="csY102" fmla="*/ 1330559 h 1509319"/>
              <a:gd name="csX103" fmla="*/ 686366 w 768725"/>
              <a:gd name="csY103" fmla="*/ 1251637 h 1509319"/>
              <a:gd name="csX104" fmla="*/ 639403 w 768725"/>
              <a:gd name="csY104" fmla="*/ 1199952 h 1509319"/>
              <a:gd name="csX105" fmla="*/ 606292 w 768725"/>
              <a:gd name="csY105" fmla="*/ 1135508 h 1509319"/>
              <a:gd name="csX106" fmla="*/ 602971 w 768725"/>
              <a:gd name="csY106" fmla="*/ 1123400 h 1509319"/>
              <a:gd name="csX107" fmla="*/ 591474 w 768725"/>
              <a:gd name="csY107" fmla="*/ 1124633 h 1509319"/>
              <a:gd name="csX108" fmla="*/ 530551 w 768725"/>
              <a:gd name="csY108" fmla="*/ 1130880 h 1509319"/>
              <a:gd name="csX109" fmla="*/ 459731 w 768725"/>
              <a:gd name="csY109" fmla="*/ 1135086 h 1509319"/>
              <a:gd name="csX110" fmla="*/ 469505 w 768725"/>
              <a:gd name="csY110" fmla="*/ 116252 h 1509319"/>
              <a:gd name="csX111" fmla="*/ 443782 w 768725"/>
              <a:gd name="csY111" fmla="*/ 114911 h 1509319"/>
              <a:gd name="csX112" fmla="*/ 430007 w 768725"/>
              <a:gd name="csY112" fmla="*/ 99878 h 1509319"/>
              <a:gd name="csX113" fmla="*/ 429331 w 768725"/>
              <a:gd name="csY113" fmla="*/ 69197 h 1509319"/>
              <a:gd name="csX114" fmla="*/ 426333 w 768725"/>
              <a:gd name="csY114" fmla="*/ 34606 h 1509319"/>
              <a:gd name="csX115" fmla="*/ 377548 w 768725"/>
              <a:gd name="csY115" fmla="*/ 34613 h 1509319"/>
              <a:gd name="csX116" fmla="*/ 368004 w 768725"/>
              <a:gd name="csY116" fmla="*/ 44529 h 1509319"/>
              <a:gd name="csX117" fmla="*/ 366185 w 768725"/>
              <a:gd name="csY117" fmla="*/ 76343 h 1509319"/>
              <a:gd name="csX118" fmla="*/ 379384 w 768725"/>
              <a:gd name="csY118" fmla="*/ 206619 h 1509319"/>
              <a:gd name="csX119" fmla="*/ 390997 w 768725"/>
              <a:gd name="csY119" fmla="*/ 277965 h 1509319"/>
              <a:gd name="csX120" fmla="*/ 394040 w 768725"/>
              <a:gd name="csY120" fmla="*/ 305053 h 1509319"/>
              <a:gd name="csX121" fmla="*/ 501758 w 768725"/>
              <a:gd name="csY121" fmla="*/ 304814 h 1509319"/>
              <a:gd name="csX122" fmla="*/ 510340 w 768725"/>
              <a:gd name="csY122" fmla="*/ 299427 h 1509319"/>
              <a:gd name="csX123" fmla="*/ 526940 w 768725"/>
              <a:gd name="csY123" fmla="*/ 279822 h 1509319"/>
              <a:gd name="csX124" fmla="*/ 576920 w 768725"/>
              <a:gd name="csY124" fmla="*/ 192342 h 1509319"/>
              <a:gd name="csX125" fmla="*/ 594042 w 768725"/>
              <a:gd name="csY125" fmla="*/ 74918 h 1509319"/>
              <a:gd name="csX126" fmla="*/ 594159 w 768725"/>
              <a:gd name="csY126" fmla="*/ 49195 h 1509319"/>
              <a:gd name="csX127" fmla="*/ 554791 w 768725"/>
              <a:gd name="csY127" fmla="*/ 42552 h 1509319"/>
              <a:gd name="csX128" fmla="*/ 552461 w 768725"/>
              <a:gd name="csY128" fmla="*/ 55598 h 1509319"/>
              <a:gd name="csX129" fmla="*/ 544678 w 768725"/>
              <a:gd name="csY129" fmla="*/ 102721 h 1509319"/>
              <a:gd name="csX130" fmla="*/ 525701 w 768725"/>
              <a:gd name="csY130" fmla="*/ 118186 h 1509319"/>
              <a:gd name="csX131" fmla="*/ 469505 w 768725"/>
              <a:gd name="csY131" fmla="*/ 116252 h 1509319"/>
              <a:gd name="csX132" fmla="*/ 513928 w 768725"/>
              <a:gd name="csY132" fmla="*/ 1403203 h 1509319"/>
              <a:gd name="csX133" fmla="*/ 379322 w 768725"/>
              <a:gd name="csY133" fmla="*/ 1404000 h 1509319"/>
              <a:gd name="csX134" fmla="*/ 379322 w 768725"/>
              <a:gd name="csY134" fmla="*/ 1460424 h 1509319"/>
              <a:gd name="csX135" fmla="*/ 726554 w 768725"/>
              <a:gd name="csY135" fmla="*/ 1439225 h 1509319"/>
              <a:gd name="csX136" fmla="*/ 721089 w 768725"/>
              <a:gd name="csY136" fmla="*/ 1397750 h 1509319"/>
              <a:gd name="csX137" fmla="*/ 697967 w 768725"/>
              <a:gd name="csY137" fmla="*/ 1385046 h 1509319"/>
              <a:gd name="csX138" fmla="*/ 619039 w 768725"/>
              <a:gd name="csY138" fmla="*/ 1395892 h 1509319"/>
              <a:gd name="csX139" fmla="*/ 513928 w 768725"/>
              <a:gd name="csY139" fmla="*/ 1403203 h 1509319"/>
              <a:gd name="csX140" fmla="*/ 462814 w 768725"/>
              <a:gd name="csY140" fmla="*/ 375981 h 1509319"/>
              <a:gd name="csX141" fmla="*/ 538992 w 768725"/>
              <a:gd name="csY141" fmla="*/ 375736 h 1509319"/>
              <a:gd name="csX142" fmla="*/ 551835 w 768725"/>
              <a:gd name="csY142" fmla="*/ 373923 h 1509319"/>
              <a:gd name="csX143" fmla="*/ 539689 w 768725"/>
              <a:gd name="csY143" fmla="*/ 356085 h 1509319"/>
              <a:gd name="csX144" fmla="*/ 521074 w 768725"/>
              <a:gd name="csY144" fmla="*/ 344186 h 1509319"/>
              <a:gd name="csX145" fmla="*/ 503789 w 768725"/>
              <a:gd name="csY145" fmla="*/ 339280 h 1509319"/>
              <a:gd name="csX146" fmla="*/ 404270 w 768725"/>
              <a:gd name="csY146" fmla="*/ 339994 h 1509319"/>
              <a:gd name="csX147" fmla="*/ 393081 w 768725"/>
              <a:gd name="csY147" fmla="*/ 340868 h 1509319"/>
              <a:gd name="csX148" fmla="*/ 395001 w 768725"/>
              <a:gd name="csY148" fmla="*/ 375976 h 1509319"/>
              <a:gd name="csX149" fmla="*/ 462814 w 768725"/>
              <a:gd name="csY149" fmla="*/ 375981 h 150931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</a:cxnLst>
            <a:rect l="l" t="t" r="r" b="b"/>
            <a:pathLst>
              <a:path w="768725" h="1509319">
                <a:moveTo>
                  <a:pt x="576414" y="893042"/>
                </a:moveTo>
                <a:cubicBezTo>
                  <a:pt x="588806" y="949146"/>
                  <a:pt x="601091" y="1004202"/>
                  <a:pt x="613047" y="1059329"/>
                </a:cubicBezTo>
                <a:cubicBezTo>
                  <a:pt x="614432" y="1065716"/>
                  <a:pt x="617736" y="1069332"/>
                  <a:pt x="623337" y="1071825"/>
                </a:cubicBezTo>
                <a:cubicBezTo>
                  <a:pt x="628942" y="1074320"/>
                  <a:pt x="634521" y="1076938"/>
                  <a:pt x="639863" y="1079946"/>
                </a:cubicBezTo>
                <a:cubicBezTo>
                  <a:pt x="650944" y="1086186"/>
                  <a:pt x="655598" y="1096871"/>
                  <a:pt x="652266" y="1109045"/>
                </a:cubicBezTo>
                <a:cubicBezTo>
                  <a:pt x="650545" y="1115333"/>
                  <a:pt x="647953" y="1121401"/>
                  <a:pt x="645501" y="1127466"/>
                </a:cubicBezTo>
                <a:cubicBezTo>
                  <a:pt x="643225" y="1133097"/>
                  <a:pt x="643438" y="1138435"/>
                  <a:pt x="645547" y="1144138"/>
                </a:cubicBezTo>
                <a:cubicBezTo>
                  <a:pt x="649868" y="1155821"/>
                  <a:pt x="655892" y="1166306"/>
                  <a:pt x="664589" y="1175322"/>
                </a:cubicBezTo>
                <a:cubicBezTo>
                  <a:pt x="680503" y="1191819"/>
                  <a:pt x="696298" y="1208434"/>
                  <a:pt x="712015" y="1225118"/>
                </a:cubicBezTo>
                <a:cubicBezTo>
                  <a:pt x="731931" y="1246258"/>
                  <a:pt x="740856" y="1272032"/>
                  <a:pt x="744465" y="1300385"/>
                </a:cubicBezTo>
                <a:cubicBezTo>
                  <a:pt x="746614" y="1317273"/>
                  <a:pt x="744537" y="1333855"/>
                  <a:pt x="743270" y="1350524"/>
                </a:cubicBezTo>
                <a:cubicBezTo>
                  <a:pt x="742916" y="1355183"/>
                  <a:pt x="743079" y="1358990"/>
                  <a:pt x="745429" y="1363274"/>
                </a:cubicBezTo>
                <a:cubicBezTo>
                  <a:pt x="761335" y="1392276"/>
                  <a:pt x="766719" y="1423956"/>
                  <a:pt x="768672" y="1456512"/>
                </a:cubicBezTo>
                <a:cubicBezTo>
                  <a:pt x="769161" y="1464651"/>
                  <a:pt x="766327" y="1469951"/>
                  <a:pt x="758521" y="1472434"/>
                </a:cubicBezTo>
                <a:cubicBezTo>
                  <a:pt x="749176" y="1475406"/>
                  <a:pt x="739961" y="1478919"/>
                  <a:pt x="730455" y="1481228"/>
                </a:cubicBezTo>
                <a:cubicBezTo>
                  <a:pt x="685866" y="1492058"/>
                  <a:pt x="640613" y="1498445"/>
                  <a:pt x="594867" y="1502210"/>
                </a:cubicBezTo>
                <a:cubicBezTo>
                  <a:pt x="503351" y="1509743"/>
                  <a:pt x="411695" y="1510364"/>
                  <a:pt x="320018" y="1508300"/>
                </a:cubicBezTo>
                <a:cubicBezTo>
                  <a:pt x="275466" y="1507297"/>
                  <a:pt x="230913" y="1504582"/>
                  <a:pt x="186464" y="1501258"/>
                </a:cubicBezTo>
                <a:cubicBezTo>
                  <a:pt x="132610" y="1497231"/>
                  <a:pt x="79072" y="1490389"/>
                  <a:pt x="26582" y="1477021"/>
                </a:cubicBezTo>
                <a:cubicBezTo>
                  <a:pt x="18195" y="1474885"/>
                  <a:pt x="9735" y="1472585"/>
                  <a:pt x="3929" y="1465652"/>
                </a:cubicBezTo>
                <a:cubicBezTo>
                  <a:pt x="1807" y="1463117"/>
                  <a:pt x="-213" y="1459275"/>
                  <a:pt x="18" y="1456203"/>
                </a:cubicBezTo>
                <a:cubicBezTo>
                  <a:pt x="995" y="1443177"/>
                  <a:pt x="2714" y="1430200"/>
                  <a:pt x="4393" y="1417235"/>
                </a:cubicBezTo>
                <a:cubicBezTo>
                  <a:pt x="6515" y="1400846"/>
                  <a:pt x="11310" y="1385118"/>
                  <a:pt x="19158" y="1370678"/>
                </a:cubicBezTo>
                <a:cubicBezTo>
                  <a:pt x="24205" y="1361393"/>
                  <a:pt x="24576" y="1352443"/>
                  <a:pt x="23255" y="1342388"/>
                </a:cubicBezTo>
                <a:cubicBezTo>
                  <a:pt x="18901" y="1309218"/>
                  <a:pt x="21603" y="1276876"/>
                  <a:pt x="38705" y="1247261"/>
                </a:cubicBezTo>
                <a:cubicBezTo>
                  <a:pt x="44179" y="1237783"/>
                  <a:pt x="50956" y="1228786"/>
                  <a:pt x="58454" y="1220807"/>
                </a:cubicBezTo>
                <a:cubicBezTo>
                  <a:pt x="73024" y="1205299"/>
                  <a:pt x="88543" y="1190683"/>
                  <a:pt x="103638" y="1175667"/>
                </a:cubicBezTo>
                <a:cubicBezTo>
                  <a:pt x="112161" y="1167189"/>
                  <a:pt x="118801" y="1157513"/>
                  <a:pt x="122996" y="1146131"/>
                </a:cubicBezTo>
                <a:cubicBezTo>
                  <a:pt x="125249" y="1140016"/>
                  <a:pt x="125488" y="1134282"/>
                  <a:pt x="122689" y="1128316"/>
                </a:cubicBezTo>
                <a:cubicBezTo>
                  <a:pt x="120431" y="1123504"/>
                  <a:pt x="118446" y="1118553"/>
                  <a:pt x="116576" y="1113575"/>
                </a:cubicBezTo>
                <a:cubicBezTo>
                  <a:pt x="111153" y="1099133"/>
                  <a:pt x="114404" y="1089299"/>
                  <a:pt x="127479" y="1081076"/>
                </a:cubicBezTo>
                <a:cubicBezTo>
                  <a:pt x="130563" y="1079137"/>
                  <a:pt x="134000" y="1077564"/>
                  <a:pt x="137480" y="1076482"/>
                </a:cubicBezTo>
                <a:cubicBezTo>
                  <a:pt x="148800" y="1072962"/>
                  <a:pt x="154794" y="1065351"/>
                  <a:pt x="157312" y="1053855"/>
                </a:cubicBezTo>
                <a:cubicBezTo>
                  <a:pt x="164312" y="1021900"/>
                  <a:pt x="172752" y="990234"/>
                  <a:pt x="178876" y="958120"/>
                </a:cubicBezTo>
                <a:cubicBezTo>
                  <a:pt x="190055" y="899504"/>
                  <a:pt x="200649" y="840756"/>
                  <a:pt x="210165" y="781849"/>
                </a:cubicBezTo>
                <a:cubicBezTo>
                  <a:pt x="215898" y="746366"/>
                  <a:pt x="219868" y="710550"/>
                  <a:pt x="223295" y="674755"/>
                </a:cubicBezTo>
                <a:cubicBezTo>
                  <a:pt x="226801" y="638133"/>
                  <a:pt x="229185" y="601381"/>
                  <a:pt x="231121" y="564636"/>
                </a:cubicBezTo>
                <a:cubicBezTo>
                  <a:pt x="233079" y="527469"/>
                  <a:pt x="233899" y="490241"/>
                  <a:pt x="235173" y="453038"/>
                </a:cubicBezTo>
                <a:cubicBezTo>
                  <a:pt x="235285" y="449770"/>
                  <a:pt x="235108" y="446488"/>
                  <a:pt x="235001" y="443215"/>
                </a:cubicBezTo>
                <a:cubicBezTo>
                  <a:pt x="234761" y="435907"/>
                  <a:pt x="231291" y="431283"/>
                  <a:pt x="224321" y="428479"/>
                </a:cubicBezTo>
                <a:cubicBezTo>
                  <a:pt x="217531" y="425747"/>
                  <a:pt x="210873" y="422395"/>
                  <a:pt x="204712" y="418450"/>
                </a:cubicBezTo>
                <a:cubicBezTo>
                  <a:pt x="187562" y="407468"/>
                  <a:pt x="179141" y="385623"/>
                  <a:pt x="184069" y="366060"/>
                </a:cubicBezTo>
                <a:cubicBezTo>
                  <a:pt x="187270" y="353354"/>
                  <a:pt x="195406" y="344379"/>
                  <a:pt x="206519" y="338181"/>
                </a:cubicBezTo>
                <a:cubicBezTo>
                  <a:pt x="212922" y="334611"/>
                  <a:pt x="219930" y="332132"/>
                  <a:pt x="226643" y="329113"/>
                </a:cubicBezTo>
                <a:cubicBezTo>
                  <a:pt x="236636" y="324620"/>
                  <a:pt x="238185" y="320246"/>
                  <a:pt x="232085" y="311135"/>
                </a:cubicBezTo>
                <a:cubicBezTo>
                  <a:pt x="229169" y="306779"/>
                  <a:pt x="225643" y="302195"/>
                  <a:pt x="221280" y="299552"/>
                </a:cubicBezTo>
                <a:cubicBezTo>
                  <a:pt x="194874" y="283553"/>
                  <a:pt x="183766" y="257401"/>
                  <a:pt x="173478" y="230303"/>
                </a:cubicBezTo>
                <a:cubicBezTo>
                  <a:pt x="156973" y="186824"/>
                  <a:pt x="146078" y="142097"/>
                  <a:pt x="141864" y="95780"/>
                </a:cubicBezTo>
                <a:cubicBezTo>
                  <a:pt x="140086" y="76240"/>
                  <a:pt x="138323" y="56689"/>
                  <a:pt x="137158" y="37107"/>
                </a:cubicBezTo>
                <a:cubicBezTo>
                  <a:pt x="136482" y="25735"/>
                  <a:pt x="137408" y="24372"/>
                  <a:pt x="148750" y="22335"/>
                </a:cubicBezTo>
                <a:cubicBezTo>
                  <a:pt x="178094" y="17065"/>
                  <a:pt x="207551" y="12418"/>
                  <a:pt x="236982" y="7640"/>
                </a:cubicBezTo>
                <a:cubicBezTo>
                  <a:pt x="239748" y="7191"/>
                  <a:pt x="242650" y="7580"/>
                  <a:pt x="246862" y="7580"/>
                </a:cubicBezTo>
                <a:cubicBezTo>
                  <a:pt x="255824" y="32568"/>
                  <a:pt x="255201" y="59502"/>
                  <a:pt x="261473" y="86763"/>
                </a:cubicBezTo>
                <a:cubicBezTo>
                  <a:pt x="276122" y="85715"/>
                  <a:pt x="290587" y="84680"/>
                  <a:pt x="306246" y="83559"/>
                </a:cubicBezTo>
                <a:cubicBezTo>
                  <a:pt x="306524" y="78935"/>
                  <a:pt x="306966" y="75011"/>
                  <a:pt x="306960" y="71087"/>
                </a:cubicBezTo>
                <a:cubicBezTo>
                  <a:pt x="306936" y="53888"/>
                  <a:pt x="306633" y="36688"/>
                  <a:pt x="306724" y="19491"/>
                </a:cubicBezTo>
                <a:cubicBezTo>
                  <a:pt x="306789" y="7258"/>
                  <a:pt x="307148" y="6664"/>
                  <a:pt x="319581" y="4733"/>
                </a:cubicBezTo>
                <a:cubicBezTo>
                  <a:pt x="356571" y="-1011"/>
                  <a:pt x="393735" y="-1048"/>
                  <a:pt x="430956" y="2070"/>
                </a:cubicBezTo>
                <a:cubicBezTo>
                  <a:pt x="432994" y="2241"/>
                  <a:pt x="435026" y="2485"/>
                  <a:pt x="437066" y="2646"/>
                </a:cubicBezTo>
                <a:cubicBezTo>
                  <a:pt x="455684" y="4122"/>
                  <a:pt x="457626" y="5472"/>
                  <a:pt x="460335" y="24205"/>
                </a:cubicBezTo>
                <a:cubicBezTo>
                  <a:pt x="462146" y="36727"/>
                  <a:pt x="462770" y="49435"/>
                  <a:pt x="463579" y="62081"/>
                </a:cubicBezTo>
                <a:cubicBezTo>
                  <a:pt x="463995" y="68573"/>
                  <a:pt x="463652" y="75113"/>
                  <a:pt x="463652" y="82953"/>
                </a:cubicBezTo>
                <a:cubicBezTo>
                  <a:pt x="478793" y="83857"/>
                  <a:pt x="492851" y="84696"/>
                  <a:pt x="507205" y="85553"/>
                </a:cubicBezTo>
                <a:cubicBezTo>
                  <a:pt x="512102" y="78145"/>
                  <a:pt x="511920" y="69770"/>
                  <a:pt x="513271" y="61890"/>
                </a:cubicBezTo>
                <a:cubicBezTo>
                  <a:pt x="515756" y="47397"/>
                  <a:pt x="517439" y="32758"/>
                  <a:pt x="520203" y="18323"/>
                </a:cubicBezTo>
                <a:cubicBezTo>
                  <a:pt x="522330" y="7216"/>
                  <a:pt x="522926" y="6539"/>
                  <a:pt x="534008" y="7785"/>
                </a:cubicBezTo>
                <a:cubicBezTo>
                  <a:pt x="554709" y="10113"/>
                  <a:pt x="575316" y="13322"/>
                  <a:pt x="595925" y="16407"/>
                </a:cubicBezTo>
                <a:cubicBezTo>
                  <a:pt x="604001" y="17616"/>
                  <a:pt x="612093" y="19051"/>
                  <a:pt x="619972" y="21156"/>
                </a:cubicBezTo>
                <a:cubicBezTo>
                  <a:pt x="628887" y="23538"/>
                  <a:pt x="631496" y="26848"/>
                  <a:pt x="631161" y="36134"/>
                </a:cubicBezTo>
                <a:cubicBezTo>
                  <a:pt x="630572" y="52475"/>
                  <a:pt x="629765" y="68840"/>
                  <a:pt x="628140" y="85104"/>
                </a:cubicBezTo>
                <a:cubicBezTo>
                  <a:pt x="624968" y="116827"/>
                  <a:pt x="621618" y="148545"/>
                  <a:pt x="613954" y="179618"/>
                </a:cubicBezTo>
                <a:cubicBezTo>
                  <a:pt x="607361" y="206344"/>
                  <a:pt x="597791" y="231950"/>
                  <a:pt x="586196" y="256886"/>
                </a:cubicBezTo>
                <a:cubicBezTo>
                  <a:pt x="578940" y="272491"/>
                  <a:pt x="568647" y="285371"/>
                  <a:pt x="554619" y="295312"/>
                </a:cubicBezTo>
                <a:cubicBezTo>
                  <a:pt x="547467" y="300381"/>
                  <a:pt x="541673" y="306562"/>
                  <a:pt x="538601" y="315001"/>
                </a:cubicBezTo>
                <a:cubicBezTo>
                  <a:pt x="536802" y="319945"/>
                  <a:pt x="537533" y="323761"/>
                  <a:pt x="542630" y="326199"/>
                </a:cubicBezTo>
                <a:cubicBezTo>
                  <a:pt x="548539" y="329025"/>
                  <a:pt x="554513" y="331748"/>
                  <a:pt x="560240" y="334912"/>
                </a:cubicBezTo>
                <a:cubicBezTo>
                  <a:pt x="574874" y="342998"/>
                  <a:pt x="586216" y="353688"/>
                  <a:pt x="586933" y="371800"/>
                </a:cubicBezTo>
                <a:cubicBezTo>
                  <a:pt x="587721" y="391697"/>
                  <a:pt x="581146" y="407998"/>
                  <a:pt x="563039" y="418184"/>
                </a:cubicBezTo>
                <a:cubicBezTo>
                  <a:pt x="557338" y="421391"/>
                  <a:pt x="551634" y="424825"/>
                  <a:pt x="545522" y="427008"/>
                </a:cubicBezTo>
                <a:cubicBezTo>
                  <a:pt x="538690" y="429449"/>
                  <a:pt x="535443" y="433770"/>
                  <a:pt x="535507" y="440667"/>
                </a:cubicBezTo>
                <a:cubicBezTo>
                  <a:pt x="535813" y="472997"/>
                  <a:pt x="535953" y="505332"/>
                  <a:pt x="536723" y="537651"/>
                </a:cubicBezTo>
                <a:cubicBezTo>
                  <a:pt x="537181" y="556862"/>
                  <a:pt x="538274" y="576081"/>
                  <a:pt x="539820" y="595237"/>
                </a:cubicBezTo>
                <a:cubicBezTo>
                  <a:pt x="543897" y="645768"/>
                  <a:pt x="546950" y="696441"/>
                  <a:pt x="553105" y="746727"/>
                </a:cubicBezTo>
                <a:cubicBezTo>
                  <a:pt x="559060" y="795370"/>
                  <a:pt x="568372" y="843602"/>
                  <a:pt x="576414" y="893042"/>
                </a:cubicBezTo>
                <a:moveTo>
                  <a:pt x="500356" y="473996"/>
                </a:moveTo>
                <a:cubicBezTo>
                  <a:pt x="500146" y="470396"/>
                  <a:pt x="499936" y="466797"/>
                  <a:pt x="499749" y="463598"/>
                </a:cubicBezTo>
                <a:cubicBezTo>
                  <a:pt x="463731" y="466295"/>
                  <a:pt x="428548" y="468929"/>
                  <a:pt x="392525" y="471627"/>
                </a:cubicBezTo>
                <a:cubicBezTo>
                  <a:pt x="392525" y="475456"/>
                  <a:pt x="392570" y="479099"/>
                  <a:pt x="392518" y="482742"/>
                </a:cubicBezTo>
                <a:cubicBezTo>
                  <a:pt x="391977" y="520799"/>
                  <a:pt x="391669" y="558862"/>
                  <a:pt x="390814" y="596913"/>
                </a:cubicBezTo>
                <a:cubicBezTo>
                  <a:pt x="389379" y="660737"/>
                  <a:pt x="387596" y="724554"/>
                  <a:pt x="385953" y="788374"/>
                </a:cubicBezTo>
                <a:cubicBezTo>
                  <a:pt x="385132" y="820284"/>
                  <a:pt x="384217" y="852191"/>
                  <a:pt x="383485" y="884103"/>
                </a:cubicBezTo>
                <a:cubicBezTo>
                  <a:pt x="382329" y="934437"/>
                  <a:pt x="381336" y="984775"/>
                  <a:pt x="380173" y="1035109"/>
                </a:cubicBezTo>
                <a:cubicBezTo>
                  <a:pt x="379918" y="1046143"/>
                  <a:pt x="379172" y="1057166"/>
                  <a:pt x="378826" y="1068199"/>
                </a:cubicBezTo>
                <a:cubicBezTo>
                  <a:pt x="378768" y="1070073"/>
                  <a:pt x="379592" y="1071975"/>
                  <a:pt x="380180" y="1074648"/>
                </a:cubicBezTo>
                <a:cubicBezTo>
                  <a:pt x="402724" y="1074648"/>
                  <a:pt x="424789" y="1074626"/>
                  <a:pt x="446854" y="1074654"/>
                </a:cubicBezTo>
                <a:cubicBezTo>
                  <a:pt x="468967" y="1074682"/>
                  <a:pt x="491084" y="1075062"/>
                  <a:pt x="513191" y="1074731"/>
                </a:cubicBezTo>
                <a:cubicBezTo>
                  <a:pt x="535020" y="1074404"/>
                  <a:pt x="556890" y="1078397"/>
                  <a:pt x="580317" y="1075095"/>
                </a:cubicBezTo>
                <a:cubicBezTo>
                  <a:pt x="530688" y="877741"/>
                  <a:pt x="498514" y="679261"/>
                  <a:pt x="500356" y="473996"/>
                </a:cubicBezTo>
                <a:moveTo>
                  <a:pt x="459731" y="1135086"/>
                </a:moveTo>
                <a:cubicBezTo>
                  <a:pt x="434501" y="1135086"/>
                  <a:pt x="409270" y="1135086"/>
                  <a:pt x="383756" y="1135086"/>
                </a:cubicBezTo>
                <a:cubicBezTo>
                  <a:pt x="385145" y="1171037"/>
                  <a:pt x="387590" y="1206813"/>
                  <a:pt x="387612" y="1242590"/>
                </a:cubicBezTo>
                <a:cubicBezTo>
                  <a:pt x="387634" y="1278699"/>
                  <a:pt x="385252" y="1314810"/>
                  <a:pt x="383907" y="1351330"/>
                </a:cubicBezTo>
                <a:cubicBezTo>
                  <a:pt x="493016" y="1355954"/>
                  <a:pt x="600298" y="1349068"/>
                  <a:pt x="707112" y="1330559"/>
                </a:cubicBezTo>
                <a:cubicBezTo>
                  <a:pt x="710922" y="1301049"/>
                  <a:pt x="703971" y="1274394"/>
                  <a:pt x="686366" y="1251637"/>
                </a:cubicBezTo>
                <a:cubicBezTo>
                  <a:pt x="672164" y="1233278"/>
                  <a:pt x="655625" y="1216649"/>
                  <a:pt x="639403" y="1199952"/>
                </a:cubicBezTo>
                <a:cubicBezTo>
                  <a:pt x="621690" y="1181720"/>
                  <a:pt x="611031" y="1160243"/>
                  <a:pt x="606292" y="1135508"/>
                </a:cubicBezTo>
                <a:cubicBezTo>
                  <a:pt x="605546" y="1131614"/>
                  <a:pt x="604205" y="1127833"/>
                  <a:pt x="602971" y="1123400"/>
                </a:cubicBezTo>
                <a:cubicBezTo>
                  <a:pt x="598647" y="1123864"/>
                  <a:pt x="595062" y="1124258"/>
                  <a:pt x="591474" y="1124633"/>
                </a:cubicBezTo>
                <a:cubicBezTo>
                  <a:pt x="571170" y="1126753"/>
                  <a:pt x="550896" y="1129262"/>
                  <a:pt x="530551" y="1130880"/>
                </a:cubicBezTo>
                <a:cubicBezTo>
                  <a:pt x="507752" y="1132694"/>
                  <a:pt x="484887" y="1133699"/>
                  <a:pt x="459731" y="1135086"/>
                </a:cubicBezTo>
                <a:moveTo>
                  <a:pt x="469505" y="116252"/>
                </a:moveTo>
                <a:cubicBezTo>
                  <a:pt x="460926" y="115846"/>
                  <a:pt x="452288" y="115932"/>
                  <a:pt x="443782" y="114911"/>
                </a:cubicBezTo>
                <a:cubicBezTo>
                  <a:pt x="433023" y="113619"/>
                  <a:pt x="430601" y="110848"/>
                  <a:pt x="430007" y="99878"/>
                </a:cubicBezTo>
                <a:cubicBezTo>
                  <a:pt x="429457" y="89668"/>
                  <a:pt x="429903" y="79404"/>
                  <a:pt x="429331" y="69197"/>
                </a:cubicBezTo>
                <a:cubicBezTo>
                  <a:pt x="428702" y="57943"/>
                  <a:pt x="427414" y="46725"/>
                  <a:pt x="426333" y="34606"/>
                </a:cubicBezTo>
                <a:cubicBezTo>
                  <a:pt x="409217" y="34606"/>
                  <a:pt x="393383" y="34593"/>
                  <a:pt x="377548" y="34613"/>
                </a:cubicBezTo>
                <a:cubicBezTo>
                  <a:pt x="370973" y="34621"/>
                  <a:pt x="368175" y="37880"/>
                  <a:pt x="368004" y="44529"/>
                </a:cubicBezTo>
                <a:cubicBezTo>
                  <a:pt x="367731" y="55142"/>
                  <a:pt x="366531" y="65729"/>
                  <a:pt x="366185" y="76343"/>
                </a:cubicBezTo>
                <a:cubicBezTo>
                  <a:pt x="364748" y="120348"/>
                  <a:pt x="372586" y="163440"/>
                  <a:pt x="379384" y="206619"/>
                </a:cubicBezTo>
                <a:cubicBezTo>
                  <a:pt x="383132" y="230420"/>
                  <a:pt x="387281" y="254159"/>
                  <a:pt x="390997" y="277965"/>
                </a:cubicBezTo>
                <a:cubicBezTo>
                  <a:pt x="392356" y="286668"/>
                  <a:pt x="392988" y="295485"/>
                  <a:pt x="394040" y="305053"/>
                </a:cubicBezTo>
                <a:cubicBezTo>
                  <a:pt x="430625" y="305053"/>
                  <a:pt x="466194" y="305182"/>
                  <a:pt x="501758" y="304814"/>
                </a:cubicBezTo>
                <a:cubicBezTo>
                  <a:pt x="504672" y="304784"/>
                  <a:pt x="508099" y="301870"/>
                  <a:pt x="510340" y="299427"/>
                </a:cubicBezTo>
                <a:cubicBezTo>
                  <a:pt x="516125" y="293119"/>
                  <a:pt x="520822" y="285749"/>
                  <a:pt x="526940" y="279822"/>
                </a:cubicBezTo>
                <a:cubicBezTo>
                  <a:pt x="552103" y="255447"/>
                  <a:pt x="566819" y="225104"/>
                  <a:pt x="576920" y="192342"/>
                </a:cubicBezTo>
                <a:cubicBezTo>
                  <a:pt x="588690" y="154165"/>
                  <a:pt x="590063" y="114309"/>
                  <a:pt x="594042" y="74918"/>
                </a:cubicBezTo>
                <a:cubicBezTo>
                  <a:pt x="594852" y="66901"/>
                  <a:pt x="594159" y="58731"/>
                  <a:pt x="594159" y="49195"/>
                </a:cubicBezTo>
                <a:cubicBezTo>
                  <a:pt x="581125" y="46996"/>
                  <a:pt x="568493" y="44864"/>
                  <a:pt x="554791" y="42552"/>
                </a:cubicBezTo>
                <a:cubicBezTo>
                  <a:pt x="553857" y="47762"/>
                  <a:pt x="553099" y="51670"/>
                  <a:pt x="552461" y="55598"/>
                </a:cubicBezTo>
                <a:cubicBezTo>
                  <a:pt x="549905" y="71314"/>
                  <a:pt x="547903" y="87144"/>
                  <a:pt x="544678" y="102721"/>
                </a:cubicBezTo>
                <a:cubicBezTo>
                  <a:pt x="542363" y="113902"/>
                  <a:pt x="537010" y="118223"/>
                  <a:pt x="525701" y="118186"/>
                </a:cubicBezTo>
                <a:cubicBezTo>
                  <a:pt x="507730" y="118128"/>
                  <a:pt x="489762" y="117027"/>
                  <a:pt x="469505" y="116252"/>
                </a:cubicBezTo>
                <a:moveTo>
                  <a:pt x="513928" y="1403203"/>
                </a:moveTo>
                <a:cubicBezTo>
                  <a:pt x="469441" y="1403467"/>
                  <a:pt x="424955" y="1403730"/>
                  <a:pt x="379322" y="1404000"/>
                </a:cubicBezTo>
                <a:cubicBezTo>
                  <a:pt x="379322" y="1423089"/>
                  <a:pt x="379322" y="1440883"/>
                  <a:pt x="379322" y="1460424"/>
                </a:cubicBezTo>
                <a:cubicBezTo>
                  <a:pt x="496078" y="1471584"/>
                  <a:pt x="611510" y="1462301"/>
                  <a:pt x="726554" y="1439225"/>
                </a:cubicBezTo>
                <a:cubicBezTo>
                  <a:pt x="728615" y="1424350"/>
                  <a:pt x="725601" y="1410872"/>
                  <a:pt x="721089" y="1397750"/>
                </a:cubicBezTo>
                <a:cubicBezTo>
                  <a:pt x="717269" y="1386638"/>
                  <a:pt x="709802" y="1383286"/>
                  <a:pt x="697967" y="1385046"/>
                </a:cubicBezTo>
                <a:cubicBezTo>
                  <a:pt x="671697" y="1388954"/>
                  <a:pt x="645454" y="1393360"/>
                  <a:pt x="619039" y="1395892"/>
                </a:cubicBezTo>
                <a:cubicBezTo>
                  <a:pt x="584863" y="1399168"/>
                  <a:pt x="550531" y="1400815"/>
                  <a:pt x="513928" y="1403203"/>
                </a:cubicBezTo>
                <a:moveTo>
                  <a:pt x="462814" y="375981"/>
                </a:moveTo>
                <a:cubicBezTo>
                  <a:pt x="488207" y="375927"/>
                  <a:pt x="513601" y="375954"/>
                  <a:pt x="538992" y="375736"/>
                </a:cubicBezTo>
                <a:cubicBezTo>
                  <a:pt x="543170" y="375700"/>
                  <a:pt x="547338" y="374587"/>
                  <a:pt x="551835" y="373923"/>
                </a:cubicBezTo>
                <a:cubicBezTo>
                  <a:pt x="550780" y="364535"/>
                  <a:pt x="545320" y="360090"/>
                  <a:pt x="539689" y="356085"/>
                </a:cubicBezTo>
                <a:cubicBezTo>
                  <a:pt x="533696" y="351821"/>
                  <a:pt x="527145" y="348349"/>
                  <a:pt x="521074" y="344186"/>
                </a:cubicBezTo>
                <a:cubicBezTo>
                  <a:pt x="515783" y="340559"/>
                  <a:pt x="510232" y="339198"/>
                  <a:pt x="503789" y="339280"/>
                </a:cubicBezTo>
                <a:cubicBezTo>
                  <a:pt x="470618" y="339700"/>
                  <a:pt x="437443" y="339744"/>
                  <a:pt x="404270" y="339994"/>
                </a:cubicBezTo>
                <a:cubicBezTo>
                  <a:pt x="400758" y="340021"/>
                  <a:pt x="397250" y="340529"/>
                  <a:pt x="393081" y="340868"/>
                </a:cubicBezTo>
                <a:cubicBezTo>
                  <a:pt x="393653" y="352908"/>
                  <a:pt x="392145" y="363845"/>
                  <a:pt x="395001" y="375976"/>
                </a:cubicBezTo>
                <a:cubicBezTo>
                  <a:pt x="417133" y="375976"/>
                  <a:pt x="438745" y="375976"/>
                  <a:pt x="462814" y="375981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62" name="Free-form: Shape 361">
            <a:extLst>
              <a:ext uri="{FF2B5EF4-FFF2-40B4-BE49-F238E27FC236}">
                <a16:creationId xmlns:a16="http://schemas.microsoft.com/office/drawing/2014/main" id="{11EB7793-B1C9-EFDF-1C8A-05E6648ED62F}"/>
              </a:ext>
            </a:extLst>
          </p:cNvPr>
          <p:cNvSpPr/>
          <p:nvPr/>
        </p:nvSpPr>
        <p:spPr>
          <a:xfrm>
            <a:off x="1762307" y="4954036"/>
            <a:ext cx="155564" cy="520442"/>
          </a:xfrm>
          <a:custGeom>
            <a:avLst/>
            <a:gdLst>
              <a:gd name="csX0" fmla="*/ 121535 w 201493"/>
              <a:gd name="csY0" fmla="*/ 11562 h 612813"/>
              <a:gd name="csX1" fmla="*/ 201493 w 201493"/>
              <a:gd name="csY1" fmla="*/ 611498 h 612813"/>
              <a:gd name="csX2" fmla="*/ 134368 w 201493"/>
              <a:gd name="csY2" fmla="*/ 611133 h 612813"/>
              <a:gd name="csX3" fmla="*/ 68030 w 201493"/>
              <a:gd name="csY3" fmla="*/ 611056 h 612813"/>
              <a:gd name="csX4" fmla="*/ 1357 w 201493"/>
              <a:gd name="csY4" fmla="*/ 611050 h 612813"/>
              <a:gd name="csX5" fmla="*/ 3 w 201493"/>
              <a:gd name="csY5" fmla="*/ 604601 h 612813"/>
              <a:gd name="csX6" fmla="*/ 1350 w 201493"/>
              <a:gd name="csY6" fmla="*/ 571511 h 612813"/>
              <a:gd name="csX7" fmla="*/ 4661 w 201493"/>
              <a:gd name="csY7" fmla="*/ 420505 h 612813"/>
              <a:gd name="csX8" fmla="*/ 7130 w 201493"/>
              <a:gd name="csY8" fmla="*/ 324777 h 612813"/>
              <a:gd name="csX9" fmla="*/ 11991 w 201493"/>
              <a:gd name="csY9" fmla="*/ 133315 h 612813"/>
              <a:gd name="csX10" fmla="*/ 13695 w 201493"/>
              <a:gd name="csY10" fmla="*/ 19144 h 612813"/>
              <a:gd name="csX11" fmla="*/ 13702 w 201493"/>
              <a:gd name="csY11" fmla="*/ 8029 h 612813"/>
              <a:gd name="csX12" fmla="*/ 120926 w 201493"/>
              <a:gd name="csY12" fmla="*/ 0 h 612813"/>
              <a:gd name="csX13" fmla="*/ 121535 w 201493"/>
              <a:gd name="csY13" fmla="*/ 11562 h 61281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</a:cxnLst>
            <a:rect l="l" t="t" r="r" b="b"/>
            <a:pathLst>
              <a:path w="201493" h="612813">
                <a:moveTo>
                  <a:pt x="121535" y="11562"/>
                </a:moveTo>
                <a:cubicBezTo>
                  <a:pt x="119691" y="215664"/>
                  <a:pt x="151865" y="414144"/>
                  <a:pt x="201493" y="611498"/>
                </a:cubicBezTo>
                <a:cubicBezTo>
                  <a:pt x="178066" y="614799"/>
                  <a:pt x="156197" y="610806"/>
                  <a:pt x="134368" y="611133"/>
                </a:cubicBezTo>
                <a:cubicBezTo>
                  <a:pt x="112261" y="611465"/>
                  <a:pt x="90143" y="611084"/>
                  <a:pt x="68030" y="611056"/>
                </a:cubicBezTo>
                <a:cubicBezTo>
                  <a:pt x="45965" y="611028"/>
                  <a:pt x="23900" y="611050"/>
                  <a:pt x="1357" y="611050"/>
                </a:cubicBezTo>
                <a:cubicBezTo>
                  <a:pt x="769" y="608377"/>
                  <a:pt x="-56" y="606475"/>
                  <a:pt x="3" y="604601"/>
                </a:cubicBezTo>
                <a:cubicBezTo>
                  <a:pt x="349" y="593568"/>
                  <a:pt x="1095" y="582545"/>
                  <a:pt x="1350" y="571511"/>
                </a:cubicBezTo>
                <a:cubicBezTo>
                  <a:pt x="2513" y="521177"/>
                  <a:pt x="3506" y="470839"/>
                  <a:pt x="4661" y="420505"/>
                </a:cubicBezTo>
                <a:cubicBezTo>
                  <a:pt x="5393" y="388594"/>
                  <a:pt x="6308" y="356686"/>
                  <a:pt x="7130" y="324777"/>
                </a:cubicBezTo>
                <a:cubicBezTo>
                  <a:pt x="8772" y="260956"/>
                  <a:pt x="10555" y="197140"/>
                  <a:pt x="11991" y="133315"/>
                </a:cubicBezTo>
                <a:cubicBezTo>
                  <a:pt x="12846" y="95264"/>
                  <a:pt x="13154" y="57201"/>
                  <a:pt x="13695" y="19144"/>
                </a:cubicBezTo>
                <a:cubicBezTo>
                  <a:pt x="13746" y="15501"/>
                  <a:pt x="13702" y="11858"/>
                  <a:pt x="13702" y="8029"/>
                </a:cubicBezTo>
                <a:cubicBezTo>
                  <a:pt x="49725" y="5331"/>
                  <a:pt x="84908" y="2697"/>
                  <a:pt x="120926" y="0"/>
                </a:cubicBezTo>
                <a:cubicBezTo>
                  <a:pt x="121113" y="3199"/>
                  <a:pt x="121323" y="6798"/>
                  <a:pt x="121535" y="11562"/>
                </a:cubicBezTo>
                <a:close/>
              </a:path>
            </a:pathLst>
          </a:custGeom>
          <a:solidFill>
            <a:srgbClr val="FDFDFD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63" name="Free-form: Shape 362">
            <a:extLst>
              <a:ext uri="{FF2B5EF4-FFF2-40B4-BE49-F238E27FC236}">
                <a16:creationId xmlns:a16="http://schemas.microsoft.com/office/drawing/2014/main" id="{0C0AFEC0-8BFC-9CE6-77B5-986529826ABE}"/>
              </a:ext>
            </a:extLst>
          </p:cNvPr>
          <p:cNvSpPr/>
          <p:nvPr/>
        </p:nvSpPr>
        <p:spPr>
          <a:xfrm>
            <a:off x="1766115" y="5514385"/>
            <a:ext cx="250431" cy="194755"/>
          </a:xfrm>
          <a:custGeom>
            <a:avLst/>
            <a:gdLst>
              <a:gd name="csX0" fmla="*/ 77135 w 324367"/>
              <a:gd name="csY0" fmla="*/ 11670 h 229322"/>
              <a:gd name="csX1" fmla="*/ 146795 w 324367"/>
              <a:gd name="csY1" fmla="*/ 7480 h 229322"/>
              <a:gd name="csX2" fmla="*/ 207718 w 324367"/>
              <a:gd name="csY2" fmla="*/ 1232 h 229322"/>
              <a:gd name="csX3" fmla="*/ 219215 w 324367"/>
              <a:gd name="csY3" fmla="*/ 0 h 229322"/>
              <a:gd name="csX4" fmla="*/ 222536 w 324367"/>
              <a:gd name="csY4" fmla="*/ 12108 h 229322"/>
              <a:gd name="csX5" fmla="*/ 255647 w 324367"/>
              <a:gd name="csY5" fmla="*/ 76552 h 229322"/>
              <a:gd name="csX6" fmla="*/ 302610 w 324367"/>
              <a:gd name="csY6" fmla="*/ 128236 h 229322"/>
              <a:gd name="csX7" fmla="*/ 323355 w 324367"/>
              <a:gd name="csY7" fmla="*/ 207159 h 229322"/>
              <a:gd name="csX8" fmla="*/ 151 w 324367"/>
              <a:gd name="csY8" fmla="*/ 227930 h 229322"/>
              <a:gd name="csX9" fmla="*/ 3855 w 324367"/>
              <a:gd name="csY9" fmla="*/ 119190 h 229322"/>
              <a:gd name="csX10" fmla="*/ 0 w 324367"/>
              <a:gd name="csY10" fmla="*/ 11685 h 229322"/>
              <a:gd name="csX11" fmla="*/ 77135 w 324367"/>
              <a:gd name="csY11" fmla="*/ 11670 h 22932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324367" h="229322">
                <a:moveTo>
                  <a:pt x="77135" y="11670"/>
                </a:moveTo>
                <a:cubicBezTo>
                  <a:pt x="101131" y="10299"/>
                  <a:pt x="123996" y="9293"/>
                  <a:pt x="146795" y="7480"/>
                </a:cubicBezTo>
                <a:cubicBezTo>
                  <a:pt x="167139" y="5862"/>
                  <a:pt x="187413" y="3352"/>
                  <a:pt x="207718" y="1232"/>
                </a:cubicBezTo>
                <a:cubicBezTo>
                  <a:pt x="211305" y="858"/>
                  <a:pt x="214891" y="464"/>
                  <a:pt x="219215" y="0"/>
                </a:cubicBezTo>
                <a:cubicBezTo>
                  <a:pt x="220448" y="4433"/>
                  <a:pt x="221789" y="8213"/>
                  <a:pt x="222536" y="12108"/>
                </a:cubicBezTo>
                <a:cubicBezTo>
                  <a:pt x="227274" y="36843"/>
                  <a:pt x="237933" y="58320"/>
                  <a:pt x="255647" y="76552"/>
                </a:cubicBezTo>
                <a:cubicBezTo>
                  <a:pt x="271868" y="93249"/>
                  <a:pt x="288407" y="109878"/>
                  <a:pt x="302610" y="128236"/>
                </a:cubicBezTo>
                <a:cubicBezTo>
                  <a:pt x="320215" y="150993"/>
                  <a:pt x="327166" y="177648"/>
                  <a:pt x="323355" y="207159"/>
                </a:cubicBezTo>
                <a:cubicBezTo>
                  <a:pt x="216542" y="225668"/>
                  <a:pt x="109259" y="232554"/>
                  <a:pt x="151" y="227930"/>
                </a:cubicBezTo>
                <a:cubicBezTo>
                  <a:pt x="1495" y="191410"/>
                  <a:pt x="3878" y="155299"/>
                  <a:pt x="3855" y="119190"/>
                </a:cubicBezTo>
                <a:cubicBezTo>
                  <a:pt x="3834" y="83413"/>
                  <a:pt x="1388" y="47637"/>
                  <a:pt x="0" y="11685"/>
                </a:cubicBezTo>
                <a:cubicBezTo>
                  <a:pt x="25514" y="11685"/>
                  <a:pt x="50744" y="11685"/>
                  <a:pt x="77135" y="11670"/>
                </a:cubicBezTo>
                <a:close/>
              </a:path>
            </a:pathLst>
          </a:custGeom>
          <a:solidFill>
            <a:srgbClr val="FDFEFE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64" name="Free-form: Shape 363">
            <a:extLst>
              <a:ext uri="{FF2B5EF4-FFF2-40B4-BE49-F238E27FC236}">
                <a16:creationId xmlns:a16="http://schemas.microsoft.com/office/drawing/2014/main" id="{F0FC9F43-E13A-A6AF-DF83-A54D919E5BF7}"/>
              </a:ext>
            </a:extLst>
          </p:cNvPr>
          <p:cNvSpPr/>
          <p:nvPr/>
        </p:nvSpPr>
        <p:spPr>
          <a:xfrm>
            <a:off x="1752416" y="4589704"/>
            <a:ext cx="176355" cy="229704"/>
          </a:xfrm>
          <a:custGeom>
            <a:avLst/>
            <a:gdLst>
              <a:gd name="csX0" fmla="*/ 104636 w 228422"/>
              <a:gd name="csY0" fmla="*/ 81707 h 270473"/>
              <a:gd name="csX1" fmla="*/ 159689 w 228422"/>
              <a:gd name="csY1" fmla="*/ 83584 h 270473"/>
              <a:gd name="csX2" fmla="*/ 178665 w 228422"/>
              <a:gd name="csY2" fmla="*/ 68119 h 270473"/>
              <a:gd name="csX3" fmla="*/ 186448 w 228422"/>
              <a:gd name="csY3" fmla="*/ 20996 h 270473"/>
              <a:gd name="csX4" fmla="*/ 188779 w 228422"/>
              <a:gd name="csY4" fmla="*/ 7950 h 270473"/>
              <a:gd name="csX5" fmla="*/ 228146 w 228422"/>
              <a:gd name="csY5" fmla="*/ 14593 h 270473"/>
              <a:gd name="csX6" fmla="*/ 228030 w 228422"/>
              <a:gd name="csY6" fmla="*/ 40316 h 270473"/>
              <a:gd name="csX7" fmla="*/ 210907 w 228422"/>
              <a:gd name="csY7" fmla="*/ 157740 h 270473"/>
              <a:gd name="csX8" fmla="*/ 160928 w 228422"/>
              <a:gd name="csY8" fmla="*/ 245220 h 270473"/>
              <a:gd name="csX9" fmla="*/ 144327 w 228422"/>
              <a:gd name="csY9" fmla="*/ 264825 h 270473"/>
              <a:gd name="csX10" fmla="*/ 135745 w 228422"/>
              <a:gd name="csY10" fmla="*/ 270212 h 270473"/>
              <a:gd name="csX11" fmla="*/ 28028 w 228422"/>
              <a:gd name="csY11" fmla="*/ 270451 h 270473"/>
              <a:gd name="csX12" fmla="*/ 24984 w 228422"/>
              <a:gd name="csY12" fmla="*/ 243363 h 270473"/>
              <a:gd name="csX13" fmla="*/ 13372 w 228422"/>
              <a:gd name="csY13" fmla="*/ 172017 h 270473"/>
              <a:gd name="csX14" fmla="*/ 172 w 228422"/>
              <a:gd name="csY14" fmla="*/ 41741 h 270473"/>
              <a:gd name="csX15" fmla="*/ 1991 w 228422"/>
              <a:gd name="csY15" fmla="*/ 9927 h 270473"/>
              <a:gd name="csX16" fmla="*/ 11535 w 228422"/>
              <a:gd name="csY16" fmla="*/ 11 h 270473"/>
              <a:gd name="csX17" fmla="*/ 60320 w 228422"/>
              <a:gd name="csY17" fmla="*/ 4 h 270473"/>
              <a:gd name="csX18" fmla="*/ 63319 w 228422"/>
              <a:gd name="csY18" fmla="*/ 34595 h 270473"/>
              <a:gd name="csX19" fmla="*/ 63995 w 228422"/>
              <a:gd name="csY19" fmla="*/ 65276 h 270473"/>
              <a:gd name="csX20" fmla="*/ 77770 w 228422"/>
              <a:gd name="csY20" fmla="*/ 80309 h 270473"/>
              <a:gd name="csX21" fmla="*/ 104636 w 228422"/>
              <a:gd name="csY21" fmla="*/ 81707 h 27047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</a:cxnLst>
            <a:rect l="l" t="t" r="r" b="b"/>
            <a:pathLst>
              <a:path w="228422" h="270473">
                <a:moveTo>
                  <a:pt x="104636" y="81707"/>
                </a:moveTo>
                <a:cubicBezTo>
                  <a:pt x="123750" y="82425"/>
                  <a:pt x="141717" y="83526"/>
                  <a:pt x="159689" y="83584"/>
                </a:cubicBezTo>
                <a:cubicBezTo>
                  <a:pt x="170998" y="83621"/>
                  <a:pt x="176351" y="79300"/>
                  <a:pt x="178665" y="68119"/>
                </a:cubicBezTo>
                <a:cubicBezTo>
                  <a:pt x="181890" y="52542"/>
                  <a:pt x="183892" y="36712"/>
                  <a:pt x="186448" y="20996"/>
                </a:cubicBezTo>
                <a:cubicBezTo>
                  <a:pt x="187087" y="17068"/>
                  <a:pt x="187844" y="13160"/>
                  <a:pt x="188779" y="7950"/>
                </a:cubicBezTo>
                <a:cubicBezTo>
                  <a:pt x="202480" y="10262"/>
                  <a:pt x="215113" y="12394"/>
                  <a:pt x="228146" y="14593"/>
                </a:cubicBezTo>
                <a:cubicBezTo>
                  <a:pt x="228146" y="24129"/>
                  <a:pt x="228839" y="32299"/>
                  <a:pt x="228030" y="40316"/>
                </a:cubicBezTo>
                <a:cubicBezTo>
                  <a:pt x="224051" y="79707"/>
                  <a:pt x="222678" y="119563"/>
                  <a:pt x="210907" y="157740"/>
                </a:cubicBezTo>
                <a:cubicBezTo>
                  <a:pt x="200806" y="190502"/>
                  <a:pt x="186090" y="220845"/>
                  <a:pt x="160928" y="245220"/>
                </a:cubicBezTo>
                <a:cubicBezTo>
                  <a:pt x="154810" y="251147"/>
                  <a:pt x="150112" y="258517"/>
                  <a:pt x="144327" y="264825"/>
                </a:cubicBezTo>
                <a:cubicBezTo>
                  <a:pt x="142086" y="267268"/>
                  <a:pt x="138659" y="270182"/>
                  <a:pt x="135745" y="270212"/>
                </a:cubicBezTo>
                <a:cubicBezTo>
                  <a:pt x="100181" y="270580"/>
                  <a:pt x="64612" y="270451"/>
                  <a:pt x="28028" y="270451"/>
                </a:cubicBezTo>
                <a:cubicBezTo>
                  <a:pt x="26976" y="260883"/>
                  <a:pt x="26343" y="252066"/>
                  <a:pt x="24984" y="243363"/>
                </a:cubicBezTo>
                <a:cubicBezTo>
                  <a:pt x="21268" y="219557"/>
                  <a:pt x="17119" y="195818"/>
                  <a:pt x="13372" y="172017"/>
                </a:cubicBezTo>
                <a:cubicBezTo>
                  <a:pt x="6574" y="128838"/>
                  <a:pt x="-1265" y="85746"/>
                  <a:pt x="172" y="41741"/>
                </a:cubicBezTo>
                <a:cubicBezTo>
                  <a:pt x="518" y="31127"/>
                  <a:pt x="1719" y="20540"/>
                  <a:pt x="1991" y="9927"/>
                </a:cubicBezTo>
                <a:cubicBezTo>
                  <a:pt x="2163" y="3278"/>
                  <a:pt x="4961" y="19"/>
                  <a:pt x="11535" y="11"/>
                </a:cubicBezTo>
                <a:cubicBezTo>
                  <a:pt x="27370" y="-9"/>
                  <a:pt x="43205" y="4"/>
                  <a:pt x="60320" y="4"/>
                </a:cubicBezTo>
                <a:cubicBezTo>
                  <a:pt x="61401" y="12123"/>
                  <a:pt x="62689" y="23341"/>
                  <a:pt x="63319" y="34595"/>
                </a:cubicBezTo>
                <a:cubicBezTo>
                  <a:pt x="63890" y="44802"/>
                  <a:pt x="63444" y="55066"/>
                  <a:pt x="63995" y="65276"/>
                </a:cubicBezTo>
                <a:cubicBezTo>
                  <a:pt x="64588" y="76246"/>
                  <a:pt x="67011" y="79017"/>
                  <a:pt x="77770" y="80309"/>
                </a:cubicBezTo>
                <a:cubicBezTo>
                  <a:pt x="86275" y="81330"/>
                  <a:pt x="94914" y="81244"/>
                  <a:pt x="104636" y="81707"/>
                </a:cubicBezTo>
                <a:close/>
              </a:path>
            </a:pathLst>
          </a:custGeom>
          <a:solidFill>
            <a:srgbClr val="FDFDFD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65" name="Free-form: Shape 364">
            <a:extLst>
              <a:ext uri="{FF2B5EF4-FFF2-40B4-BE49-F238E27FC236}">
                <a16:creationId xmlns:a16="http://schemas.microsoft.com/office/drawing/2014/main" id="{6C941EC7-B5E6-E3E8-98CB-3C3431E72C01}"/>
              </a:ext>
            </a:extLst>
          </p:cNvPr>
          <p:cNvSpPr/>
          <p:nvPr/>
        </p:nvSpPr>
        <p:spPr>
          <a:xfrm>
            <a:off x="1762691" y="5736217"/>
            <a:ext cx="268594" cy="68395"/>
          </a:xfrm>
          <a:custGeom>
            <a:avLst/>
            <a:gdLst>
              <a:gd name="csX0" fmla="*/ 135775 w 347893"/>
              <a:gd name="csY0" fmla="*/ 18580 h 80534"/>
              <a:gd name="csX1" fmla="*/ 239717 w 347893"/>
              <a:gd name="csY1" fmla="*/ 11288 h 80534"/>
              <a:gd name="csX2" fmla="*/ 318645 w 347893"/>
              <a:gd name="csY2" fmla="*/ 442 h 80534"/>
              <a:gd name="csX3" fmla="*/ 341767 w 347893"/>
              <a:gd name="csY3" fmla="*/ 13145 h 80534"/>
              <a:gd name="csX4" fmla="*/ 347232 w 347893"/>
              <a:gd name="csY4" fmla="*/ 54621 h 80534"/>
              <a:gd name="csX5" fmla="*/ 0 w 347893"/>
              <a:gd name="csY5" fmla="*/ 75820 h 80534"/>
              <a:gd name="csX6" fmla="*/ 0 w 347893"/>
              <a:gd name="csY6" fmla="*/ 19396 h 80534"/>
              <a:gd name="csX7" fmla="*/ 135775 w 347893"/>
              <a:gd name="csY7" fmla="*/ 18580 h 8053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</a:cxnLst>
            <a:rect l="l" t="t" r="r" b="b"/>
            <a:pathLst>
              <a:path w="347893" h="80534">
                <a:moveTo>
                  <a:pt x="135775" y="18580"/>
                </a:moveTo>
                <a:cubicBezTo>
                  <a:pt x="171209" y="16211"/>
                  <a:pt x="205541" y="14564"/>
                  <a:pt x="239717" y="11288"/>
                </a:cubicBezTo>
                <a:cubicBezTo>
                  <a:pt x="266132" y="8756"/>
                  <a:pt x="292375" y="4350"/>
                  <a:pt x="318645" y="442"/>
                </a:cubicBezTo>
                <a:cubicBezTo>
                  <a:pt x="330480" y="-1319"/>
                  <a:pt x="337947" y="2033"/>
                  <a:pt x="341767" y="13145"/>
                </a:cubicBezTo>
                <a:cubicBezTo>
                  <a:pt x="346279" y="26268"/>
                  <a:pt x="349293" y="39746"/>
                  <a:pt x="347232" y="54621"/>
                </a:cubicBezTo>
                <a:cubicBezTo>
                  <a:pt x="232188" y="77697"/>
                  <a:pt x="116756" y="86979"/>
                  <a:pt x="0" y="75820"/>
                </a:cubicBezTo>
                <a:cubicBezTo>
                  <a:pt x="0" y="56279"/>
                  <a:pt x="0" y="38485"/>
                  <a:pt x="0" y="19396"/>
                </a:cubicBezTo>
                <a:cubicBezTo>
                  <a:pt x="45633" y="19126"/>
                  <a:pt x="90119" y="18862"/>
                  <a:pt x="135775" y="18580"/>
                </a:cubicBezTo>
                <a:close/>
              </a:path>
            </a:pathLst>
          </a:custGeom>
          <a:solidFill>
            <a:srgbClr val="FCFDFD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66" name="Free-form: Shape 365">
            <a:extLst>
              <a:ext uri="{FF2B5EF4-FFF2-40B4-BE49-F238E27FC236}">
                <a16:creationId xmlns:a16="http://schemas.microsoft.com/office/drawing/2014/main" id="{546F681D-CB0F-1816-759E-D33ABFB28935}"/>
              </a:ext>
            </a:extLst>
          </p:cNvPr>
          <p:cNvSpPr/>
          <p:nvPr/>
        </p:nvSpPr>
        <p:spPr>
          <a:xfrm>
            <a:off x="1773314" y="4848454"/>
            <a:ext cx="122568" cy="31169"/>
          </a:xfrm>
          <a:custGeom>
            <a:avLst/>
            <a:gdLst>
              <a:gd name="csX0" fmla="*/ 68505 w 158754"/>
              <a:gd name="csY0" fmla="*/ 36702 h 36701"/>
              <a:gd name="csX1" fmla="*/ 1920 w 158754"/>
              <a:gd name="csY1" fmla="*/ 36699 h 36701"/>
              <a:gd name="csX2" fmla="*/ 0 w 158754"/>
              <a:gd name="csY2" fmla="*/ 1592 h 36701"/>
              <a:gd name="csX3" fmla="*/ 11189 w 158754"/>
              <a:gd name="csY3" fmla="*/ 718 h 36701"/>
              <a:gd name="csX4" fmla="*/ 110708 w 158754"/>
              <a:gd name="csY4" fmla="*/ 3 h 36701"/>
              <a:gd name="csX5" fmla="*/ 127993 w 158754"/>
              <a:gd name="csY5" fmla="*/ 4910 h 36701"/>
              <a:gd name="csX6" fmla="*/ 146608 w 158754"/>
              <a:gd name="csY6" fmla="*/ 16808 h 36701"/>
              <a:gd name="csX7" fmla="*/ 158755 w 158754"/>
              <a:gd name="csY7" fmla="*/ 34647 h 36701"/>
              <a:gd name="csX8" fmla="*/ 145911 w 158754"/>
              <a:gd name="csY8" fmla="*/ 36459 h 36701"/>
              <a:gd name="csX9" fmla="*/ 68505 w 158754"/>
              <a:gd name="csY9" fmla="*/ 36702 h 3670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158754" h="36701">
                <a:moveTo>
                  <a:pt x="68505" y="36702"/>
                </a:moveTo>
                <a:cubicBezTo>
                  <a:pt x="45664" y="36699"/>
                  <a:pt x="24052" y="36699"/>
                  <a:pt x="1920" y="36699"/>
                </a:cubicBezTo>
                <a:cubicBezTo>
                  <a:pt x="-935" y="24569"/>
                  <a:pt x="572" y="13631"/>
                  <a:pt x="0" y="1592"/>
                </a:cubicBezTo>
                <a:cubicBezTo>
                  <a:pt x="4169" y="1253"/>
                  <a:pt x="7677" y="744"/>
                  <a:pt x="11189" y="718"/>
                </a:cubicBezTo>
                <a:cubicBezTo>
                  <a:pt x="44362" y="468"/>
                  <a:pt x="77538" y="423"/>
                  <a:pt x="110708" y="3"/>
                </a:cubicBezTo>
                <a:cubicBezTo>
                  <a:pt x="117152" y="-78"/>
                  <a:pt x="122702" y="1282"/>
                  <a:pt x="127993" y="4910"/>
                </a:cubicBezTo>
                <a:cubicBezTo>
                  <a:pt x="134065" y="9072"/>
                  <a:pt x="140615" y="12545"/>
                  <a:pt x="146608" y="16808"/>
                </a:cubicBezTo>
                <a:cubicBezTo>
                  <a:pt x="152239" y="20814"/>
                  <a:pt x="157699" y="25259"/>
                  <a:pt x="158755" y="34647"/>
                </a:cubicBezTo>
                <a:cubicBezTo>
                  <a:pt x="154257" y="35310"/>
                  <a:pt x="150089" y="36424"/>
                  <a:pt x="145911" y="36459"/>
                </a:cubicBezTo>
                <a:cubicBezTo>
                  <a:pt x="120520" y="36677"/>
                  <a:pt x="95126" y="36650"/>
                  <a:pt x="68505" y="36702"/>
                </a:cubicBezTo>
                <a:close/>
              </a:path>
            </a:pathLst>
          </a:custGeom>
          <a:solidFill>
            <a:srgbClr val="FBFCFB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67" name="Free-form: Shape 366">
            <a:extLst>
              <a:ext uri="{FF2B5EF4-FFF2-40B4-BE49-F238E27FC236}">
                <a16:creationId xmlns:a16="http://schemas.microsoft.com/office/drawing/2014/main" id="{159BE1D3-AF19-DB89-175D-94A566F5F36E}"/>
              </a:ext>
            </a:extLst>
          </p:cNvPr>
          <p:cNvSpPr/>
          <p:nvPr/>
        </p:nvSpPr>
        <p:spPr>
          <a:xfrm>
            <a:off x="9733407" y="4560318"/>
            <a:ext cx="593502" cy="1281815"/>
          </a:xfrm>
          <a:custGeom>
            <a:avLst/>
            <a:gdLst>
              <a:gd name="csX0" fmla="*/ 576414 w 768725"/>
              <a:gd name="csY0" fmla="*/ 893042 h 1509319"/>
              <a:gd name="csX1" fmla="*/ 613047 w 768725"/>
              <a:gd name="csY1" fmla="*/ 1059329 h 1509319"/>
              <a:gd name="csX2" fmla="*/ 623337 w 768725"/>
              <a:gd name="csY2" fmla="*/ 1071825 h 1509319"/>
              <a:gd name="csX3" fmla="*/ 639863 w 768725"/>
              <a:gd name="csY3" fmla="*/ 1079946 h 1509319"/>
              <a:gd name="csX4" fmla="*/ 652266 w 768725"/>
              <a:gd name="csY4" fmla="*/ 1109045 h 1509319"/>
              <a:gd name="csX5" fmla="*/ 645501 w 768725"/>
              <a:gd name="csY5" fmla="*/ 1127466 h 1509319"/>
              <a:gd name="csX6" fmla="*/ 645547 w 768725"/>
              <a:gd name="csY6" fmla="*/ 1144138 h 1509319"/>
              <a:gd name="csX7" fmla="*/ 664589 w 768725"/>
              <a:gd name="csY7" fmla="*/ 1175322 h 1509319"/>
              <a:gd name="csX8" fmla="*/ 712015 w 768725"/>
              <a:gd name="csY8" fmla="*/ 1225118 h 1509319"/>
              <a:gd name="csX9" fmla="*/ 744465 w 768725"/>
              <a:gd name="csY9" fmla="*/ 1300385 h 1509319"/>
              <a:gd name="csX10" fmla="*/ 743270 w 768725"/>
              <a:gd name="csY10" fmla="*/ 1350524 h 1509319"/>
              <a:gd name="csX11" fmla="*/ 745429 w 768725"/>
              <a:gd name="csY11" fmla="*/ 1363274 h 1509319"/>
              <a:gd name="csX12" fmla="*/ 768672 w 768725"/>
              <a:gd name="csY12" fmla="*/ 1456512 h 1509319"/>
              <a:gd name="csX13" fmla="*/ 758521 w 768725"/>
              <a:gd name="csY13" fmla="*/ 1472434 h 1509319"/>
              <a:gd name="csX14" fmla="*/ 730455 w 768725"/>
              <a:gd name="csY14" fmla="*/ 1481228 h 1509319"/>
              <a:gd name="csX15" fmla="*/ 594867 w 768725"/>
              <a:gd name="csY15" fmla="*/ 1502210 h 1509319"/>
              <a:gd name="csX16" fmla="*/ 320018 w 768725"/>
              <a:gd name="csY16" fmla="*/ 1508300 h 1509319"/>
              <a:gd name="csX17" fmla="*/ 186464 w 768725"/>
              <a:gd name="csY17" fmla="*/ 1501258 h 1509319"/>
              <a:gd name="csX18" fmla="*/ 26582 w 768725"/>
              <a:gd name="csY18" fmla="*/ 1477021 h 1509319"/>
              <a:gd name="csX19" fmla="*/ 3929 w 768725"/>
              <a:gd name="csY19" fmla="*/ 1465652 h 1509319"/>
              <a:gd name="csX20" fmla="*/ 18 w 768725"/>
              <a:gd name="csY20" fmla="*/ 1456203 h 1509319"/>
              <a:gd name="csX21" fmla="*/ 4393 w 768725"/>
              <a:gd name="csY21" fmla="*/ 1417235 h 1509319"/>
              <a:gd name="csX22" fmla="*/ 19158 w 768725"/>
              <a:gd name="csY22" fmla="*/ 1370678 h 1509319"/>
              <a:gd name="csX23" fmla="*/ 23255 w 768725"/>
              <a:gd name="csY23" fmla="*/ 1342388 h 1509319"/>
              <a:gd name="csX24" fmla="*/ 38705 w 768725"/>
              <a:gd name="csY24" fmla="*/ 1247261 h 1509319"/>
              <a:gd name="csX25" fmla="*/ 58454 w 768725"/>
              <a:gd name="csY25" fmla="*/ 1220807 h 1509319"/>
              <a:gd name="csX26" fmla="*/ 103638 w 768725"/>
              <a:gd name="csY26" fmla="*/ 1175667 h 1509319"/>
              <a:gd name="csX27" fmla="*/ 122996 w 768725"/>
              <a:gd name="csY27" fmla="*/ 1146131 h 1509319"/>
              <a:gd name="csX28" fmla="*/ 122689 w 768725"/>
              <a:gd name="csY28" fmla="*/ 1128316 h 1509319"/>
              <a:gd name="csX29" fmla="*/ 116576 w 768725"/>
              <a:gd name="csY29" fmla="*/ 1113575 h 1509319"/>
              <a:gd name="csX30" fmla="*/ 127479 w 768725"/>
              <a:gd name="csY30" fmla="*/ 1081076 h 1509319"/>
              <a:gd name="csX31" fmla="*/ 137480 w 768725"/>
              <a:gd name="csY31" fmla="*/ 1076482 h 1509319"/>
              <a:gd name="csX32" fmla="*/ 157312 w 768725"/>
              <a:gd name="csY32" fmla="*/ 1053855 h 1509319"/>
              <a:gd name="csX33" fmla="*/ 178876 w 768725"/>
              <a:gd name="csY33" fmla="*/ 958120 h 1509319"/>
              <a:gd name="csX34" fmla="*/ 210165 w 768725"/>
              <a:gd name="csY34" fmla="*/ 781849 h 1509319"/>
              <a:gd name="csX35" fmla="*/ 223295 w 768725"/>
              <a:gd name="csY35" fmla="*/ 674755 h 1509319"/>
              <a:gd name="csX36" fmla="*/ 231121 w 768725"/>
              <a:gd name="csY36" fmla="*/ 564636 h 1509319"/>
              <a:gd name="csX37" fmla="*/ 235173 w 768725"/>
              <a:gd name="csY37" fmla="*/ 453038 h 1509319"/>
              <a:gd name="csX38" fmla="*/ 235001 w 768725"/>
              <a:gd name="csY38" fmla="*/ 443215 h 1509319"/>
              <a:gd name="csX39" fmla="*/ 224321 w 768725"/>
              <a:gd name="csY39" fmla="*/ 428479 h 1509319"/>
              <a:gd name="csX40" fmla="*/ 204712 w 768725"/>
              <a:gd name="csY40" fmla="*/ 418450 h 1509319"/>
              <a:gd name="csX41" fmla="*/ 184069 w 768725"/>
              <a:gd name="csY41" fmla="*/ 366060 h 1509319"/>
              <a:gd name="csX42" fmla="*/ 206519 w 768725"/>
              <a:gd name="csY42" fmla="*/ 338181 h 1509319"/>
              <a:gd name="csX43" fmla="*/ 226643 w 768725"/>
              <a:gd name="csY43" fmla="*/ 329113 h 1509319"/>
              <a:gd name="csX44" fmla="*/ 232085 w 768725"/>
              <a:gd name="csY44" fmla="*/ 311135 h 1509319"/>
              <a:gd name="csX45" fmla="*/ 221280 w 768725"/>
              <a:gd name="csY45" fmla="*/ 299552 h 1509319"/>
              <a:gd name="csX46" fmla="*/ 173478 w 768725"/>
              <a:gd name="csY46" fmla="*/ 230303 h 1509319"/>
              <a:gd name="csX47" fmla="*/ 141864 w 768725"/>
              <a:gd name="csY47" fmla="*/ 95780 h 1509319"/>
              <a:gd name="csX48" fmla="*/ 137158 w 768725"/>
              <a:gd name="csY48" fmla="*/ 37107 h 1509319"/>
              <a:gd name="csX49" fmla="*/ 148750 w 768725"/>
              <a:gd name="csY49" fmla="*/ 22335 h 1509319"/>
              <a:gd name="csX50" fmla="*/ 236982 w 768725"/>
              <a:gd name="csY50" fmla="*/ 7640 h 1509319"/>
              <a:gd name="csX51" fmla="*/ 246862 w 768725"/>
              <a:gd name="csY51" fmla="*/ 7580 h 1509319"/>
              <a:gd name="csX52" fmla="*/ 261473 w 768725"/>
              <a:gd name="csY52" fmla="*/ 86763 h 1509319"/>
              <a:gd name="csX53" fmla="*/ 306246 w 768725"/>
              <a:gd name="csY53" fmla="*/ 83559 h 1509319"/>
              <a:gd name="csX54" fmla="*/ 306960 w 768725"/>
              <a:gd name="csY54" fmla="*/ 71087 h 1509319"/>
              <a:gd name="csX55" fmla="*/ 306724 w 768725"/>
              <a:gd name="csY55" fmla="*/ 19491 h 1509319"/>
              <a:gd name="csX56" fmla="*/ 319581 w 768725"/>
              <a:gd name="csY56" fmla="*/ 4733 h 1509319"/>
              <a:gd name="csX57" fmla="*/ 430956 w 768725"/>
              <a:gd name="csY57" fmla="*/ 2070 h 1509319"/>
              <a:gd name="csX58" fmla="*/ 437066 w 768725"/>
              <a:gd name="csY58" fmla="*/ 2646 h 1509319"/>
              <a:gd name="csX59" fmla="*/ 460335 w 768725"/>
              <a:gd name="csY59" fmla="*/ 24205 h 1509319"/>
              <a:gd name="csX60" fmla="*/ 463579 w 768725"/>
              <a:gd name="csY60" fmla="*/ 62081 h 1509319"/>
              <a:gd name="csX61" fmla="*/ 463652 w 768725"/>
              <a:gd name="csY61" fmla="*/ 82953 h 1509319"/>
              <a:gd name="csX62" fmla="*/ 507205 w 768725"/>
              <a:gd name="csY62" fmla="*/ 85553 h 1509319"/>
              <a:gd name="csX63" fmla="*/ 513271 w 768725"/>
              <a:gd name="csY63" fmla="*/ 61890 h 1509319"/>
              <a:gd name="csX64" fmla="*/ 520203 w 768725"/>
              <a:gd name="csY64" fmla="*/ 18323 h 1509319"/>
              <a:gd name="csX65" fmla="*/ 534008 w 768725"/>
              <a:gd name="csY65" fmla="*/ 7785 h 1509319"/>
              <a:gd name="csX66" fmla="*/ 595925 w 768725"/>
              <a:gd name="csY66" fmla="*/ 16407 h 1509319"/>
              <a:gd name="csX67" fmla="*/ 619972 w 768725"/>
              <a:gd name="csY67" fmla="*/ 21156 h 1509319"/>
              <a:gd name="csX68" fmla="*/ 631161 w 768725"/>
              <a:gd name="csY68" fmla="*/ 36134 h 1509319"/>
              <a:gd name="csX69" fmla="*/ 628140 w 768725"/>
              <a:gd name="csY69" fmla="*/ 85104 h 1509319"/>
              <a:gd name="csX70" fmla="*/ 613954 w 768725"/>
              <a:gd name="csY70" fmla="*/ 179618 h 1509319"/>
              <a:gd name="csX71" fmla="*/ 586196 w 768725"/>
              <a:gd name="csY71" fmla="*/ 256886 h 1509319"/>
              <a:gd name="csX72" fmla="*/ 554619 w 768725"/>
              <a:gd name="csY72" fmla="*/ 295312 h 1509319"/>
              <a:gd name="csX73" fmla="*/ 538601 w 768725"/>
              <a:gd name="csY73" fmla="*/ 315001 h 1509319"/>
              <a:gd name="csX74" fmla="*/ 542630 w 768725"/>
              <a:gd name="csY74" fmla="*/ 326199 h 1509319"/>
              <a:gd name="csX75" fmla="*/ 560240 w 768725"/>
              <a:gd name="csY75" fmla="*/ 334912 h 1509319"/>
              <a:gd name="csX76" fmla="*/ 586933 w 768725"/>
              <a:gd name="csY76" fmla="*/ 371800 h 1509319"/>
              <a:gd name="csX77" fmla="*/ 563039 w 768725"/>
              <a:gd name="csY77" fmla="*/ 418184 h 1509319"/>
              <a:gd name="csX78" fmla="*/ 545522 w 768725"/>
              <a:gd name="csY78" fmla="*/ 427008 h 1509319"/>
              <a:gd name="csX79" fmla="*/ 535507 w 768725"/>
              <a:gd name="csY79" fmla="*/ 440667 h 1509319"/>
              <a:gd name="csX80" fmla="*/ 536723 w 768725"/>
              <a:gd name="csY80" fmla="*/ 537651 h 1509319"/>
              <a:gd name="csX81" fmla="*/ 539820 w 768725"/>
              <a:gd name="csY81" fmla="*/ 595237 h 1509319"/>
              <a:gd name="csX82" fmla="*/ 553105 w 768725"/>
              <a:gd name="csY82" fmla="*/ 746727 h 1509319"/>
              <a:gd name="csX83" fmla="*/ 576414 w 768725"/>
              <a:gd name="csY83" fmla="*/ 893042 h 1509319"/>
              <a:gd name="csX84" fmla="*/ 500356 w 768725"/>
              <a:gd name="csY84" fmla="*/ 473996 h 1509319"/>
              <a:gd name="csX85" fmla="*/ 499749 w 768725"/>
              <a:gd name="csY85" fmla="*/ 463598 h 1509319"/>
              <a:gd name="csX86" fmla="*/ 392525 w 768725"/>
              <a:gd name="csY86" fmla="*/ 471627 h 1509319"/>
              <a:gd name="csX87" fmla="*/ 392518 w 768725"/>
              <a:gd name="csY87" fmla="*/ 482742 h 1509319"/>
              <a:gd name="csX88" fmla="*/ 390814 w 768725"/>
              <a:gd name="csY88" fmla="*/ 596913 h 1509319"/>
              <a:gd name="csX89" fmla="*/ 385953 w 768725"/>
              <a:gd name="csY89" fmla="*/ 788374 h 1509319"/>
              <a:gd name="csX90" fmla="*/ 383485 w 768725"/>
              <a:gd name="csY90" fmla="*/ 884103 h 1509319"/>
              <a:gd name="csX91" fmla="*/ 380173 w 768725"/>
              <a:gd name="csY91" fmla="*/ 1035109 h 1509319"/>
              <a:gd name="csX92" fmla="*/ 378826 w 768725"/>
              <a:gd name="csY92" fmla="*/ 1068199 h 1509319"/>
              <a:gd name="csX93" fmla="*/ 380180 w 768725"/>
              <a:gd name="csY93" fmla="*/ 1074648 h 1509319"/>
              <a:gd name="csX94" fmla="*/ 446854 w 768725"/>
              <a:gd name="csY94" fmla="*/ 1074654 h 1509319"/>
              <a:gd name="csX95" fmla="*/ 513191 w 768725"/>
              <a:gd name="csY95" fmla="*/ 1074731 h 1509319"/>
              <a:gd name="csX96" fmla="*/ 580317 w 768725"/>
              <a:gd name="csY96" fmla="*/ 1075095 h 1509319"/>
              <a:gd name="csX97" fmla="*/ 500356 w 768725"/>
              <a:gd name="csY97" fmla="*/ 473996 h 1509319"/>
              <a:gd name="csX98" fmla="*/ 459731 w 768725"/>
              <a:gd name="csY98" fmla="*/ 1135086 h 1509319"/>
              <a:gd name="csX99" fmla="*/ 383756 w 768725"/>
              <a:gd name="csY99" fmla="*/ 1135086 h 1509319"/>
              <a:gd name="csX100" fmla="*/ 387612 w 768725"/>
              <a:gd name="csY100" fmla="*/ 1242590 h 1509319"/>
              <a:gd name="csX101" fmla="*/ 383907 w 768725"/>
              <a:gd name="csY101" fmla="*/ 1351330 h 1509319"/>
              <a:gd name="csX102" fmla="*/ 707112 w 768725"/>
              <a:gd name="csY102" fmla="*/ 1330559 h 1509319"/>
              <a:gd name="csX103" fmla="*/ 686366 w 768725"/>
              <a:gd name="csY103" fmla="*/ 1251637 h 1509319"/>
              <a:gd name="csX104" fmla="*/ 639403 w 768725"/>
              <a:gd name="csY104" fmla="*/ 1199952 h 1509319"/>
              <a:gd name="csX105" fmla="*/ 606292 w 768725"/>
              <a:gd name="csY105" fmla="*/ 1135508 h 1509319"/>
              <a:gd name="csX106" fmla="*/ 602971 w 768725"/>
              <a:gd name="csY106" fmla="*/ 1123400 h 1509319"/>
              <a:gd name="csX107" fmla="*/ 591474 w 768725"/>
              <a:gd name="csY107" fmla="*/ 1124633 h 1509319"/>
              <a:gd name="csX108" fmla="*/ 530551 w 768725"/>
              <a:gd name="csY108" fmla="*/ 1130880 h 1509319"/>
              <a:gd name="csX109" fmla="*/ 459731 w 768725"/>
              <a:gd name="csY109" fmla="*/ 1135086 h 1509319"/>
              <a:gd name="csX110" fmla="*/ 469505 w 768725"/>
              <a:gd name="csY110" fmla="*/ 116252 h 1509319"/>
              <a:gd name="csX111" fmla="*/ 443782 w 768725"/>
              <a:gd name="csY111" fmla="*/ 114911 h 1509319"/>
              <a:gd name="csX112" fmla="*/ 430007 w 768725"/>
              <a:gd name="csY112" fmla="*/ 99878 h 1509319"/>
              <a:gd name="csX113" fmla="*/ 429331 w 768725"/>
              <a:gd name="csY113" fmla="*/ 69197 h 1509319"/>
              <a:gd name="csX114" fmla="*/ 426333 w 768725"/>
              <a:gd name="csY114" fmla="*/ 34606 h 1509319"/>
              <a:gd name="csX115" fmla="*/ 377548 w 768725"/>
              <a:gd name="csY115" fmla="*/ 34613 h 1509319"/>
              <a:gd name="csX116" fmla="*/ 368004 w 768725"/>
              <a:gd name="csY116" fmla="*/ 44529 h 1509319"/>
              <a:gd name="csX117" fmla="*/ 366185 w 768725"/>
              <a:gd name="csY117" fmla="*/ 76343 h 1509319"/>
              <a:gd name="csX118" fmla="*/ 379384 w 768725"/>
              <a:gd name="csY118" fmla="*/ 206619 h 1509319"/>
              <a:gd name="csX119" fmla="*/ 390997 w 768725"/>
              <a:gd name="csY119" fmla="*/ 277965 h 1509319"/>
              <a:gd name="csX120" fmla="*/ 394040 w 768725"/>
              <a:gd name="csY120" fmla="*/ 305053 h 1509319"/>
              <a:gd name="csX121" fmla="*/ 501758 w 768725"/>
              <a:gd name="csY121" fmla="*/ 304814 h 1509319"/>
              <a:gd name="csX122" fmla="*/ 510340 w 768725"/>
              <a:gd name="csY122" fmla="*/ 299427 h 1509319"/>
              <a:gd name="csX123" fmla="*/ 526940 w 768725"/>
              <a:gd name="csY123" fmla="*/ 279822 h 1509319"/>
              <a:gd name="csX124" fmla="*/ 576920 w 768725"/>
              <a:gd name="csY124" fmla="*/ 192342 h 1509319"/>
              <a:gd name="csX125" fmla="*/ 594042 w 768725"/>
              <a:gd name="csY125" fmla="*/ 74918 h 1509319"/>
              <a:gd name="csX126" fmla="*/ 594159 w 768725"/>
              <a:gd name="csY126" fmla="*/ 49195 h 1509319"/>
              <a:gd name="csX127" fmla="*/ 554791 w 768725"/>
              <a:gd name="csY127" fmla="*/ 42552 h 1509319"/>
              <a:gd name="csX128" fmla="*/ 552461 w 768725"/>
              <a:gd name="csY128" fmla="*/ 55598 h 1509319"/>
              <a:gd name="csX129" fmla="*/ 544678 w 768725"/>
              <a:gd name="csY129" fmla="*/ 102721 h 1509319"/>
              <a:gd name="csX130" fmla="*/ 525701 w 768725"/>
              <a:gd name="csY130" fmla="*/ 118186 h 1509319"/>
              <a:gd name="csX131" fmla="*/ 469505 w 768725"/>
              <a:gd name="csY131" fmla="*/ 116252 h 1509319"/>
              <a:gd name="csX132" fmla="*/ 513928 w 768725"/>
              <a:gd name="csY132" fmla="*/ 1403203 h 1509319"/>
              <a:gd name="csX133" fmla="*/ 379322 w 768725"/>
              <a:gd name="csY133" fmla="*/ 1404000 h 1509319"/>
              <a:gd name="csX134" fmla="*/ 379322 w 768725"/>
              <a:gd name="csY134" fmla="*/ 1460424 h 1509319"/>
              <a:gd name="csX135" fmla="*/ 726554 w 768725"/>
              <a:gd name="csY135" fmla="*/ 1439225 h 1509319"/>
              <a:gd name="csX136" fmla="*/ 721089 w 768725"/>
              <a:gd name="csY136" fmla="*/ 1397750 h 1509319"/>
              <a:gd name="csX137" fmla="*/ 697967 w 768725"/>
              <a:gd name="csY137" fmla="*/ 1385046 h 1509319"/>
              <a:gd name="csX138" fmla="*/ 619039 w 768725"/>
              <a:gd name="csY138" fmla="*/ 1395892 h 1509319"/>
              <a:gd name="csX139" fmla="*/ 513928 w 768725"/>
              <a:gd name="csY139" fmla="*/ 1403203 h 1509319"/>
              <a:gd name="csX140" fmla="*/ 462814 w 768725"/>
              <a:gd name="csY140" fmla="*/ 375981 h 1509319"/>
              <a:gd name="csX141" fmla="*/ 538992 w 768725"/>
              <a:gd name="csY141" fmla="*/ 375736 h 1509319"/>
              <a:gd name="csX142" fmla="*/ 551835 w 768725"/>
              <a:gd name="csY142" fmla="*/ 373923 h 1509319"/>
              <a:gd name="csX143" fmla="*/ 539689 w 768725"/>
              <a:gd name="csY143" fmla="*/ 356085 h 1509319"/>
              <a:gd name="csX144" fmla="*/ 521074 w 768725"/>
              <a:gd name="csY144" fmla="*/ 344186 h 1509319"/>
              <a:gd name="csX145" fmla="*/ 503789 w 768725"/>
              <a:gd name="csY145" fmla="*/ 339280 h 1509319"/>
              <a:gd name="csX146" fmla="*/ 404270 w 768725"/>
              <a:gd name="csY146" fmla="*/ 339994 h 1509319"/>
              <a:gd name="csX147" fmla="*/ 393081 w 768725"/>
              <a:gd name="csY147" fmla="*/ 340868 h 1509319"/>
              <a:gd name="csX148" fmla="*/ 395001 w 768725"/>
              <a:gd name="csY148" fmla="*/ 375976 h 1509319"/>
              <a:gd name="csX149" fmla="*/ 462814 w 768725"/>
              <a:gd name="csY149" fmla="*/ 375981 h 150931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</a:cxnLst>
            <a:rect l="l" t="t" r="r" b="b"/>
            <a:pathLst>
              <a:path w="768725" h="1509319">
                <a:moveTo>
                  <a:pt x="576414" y="893042"/>
                </a:moveTo>
                <a:cubicBezTo>
                  <a:pt x="588806" y="949146"/>
                  <a:pt x="601091" y="1004202"/>
                  <a:pt x="613047" y="1059329"/>
                </a:cubicBezTo>
                <a:cubicBezTo>
                  <a:pt x="614432" y="1065716"/>
                  <a:pt x="617736" y="1069332"/>
                  <a:pt x="623337" y="1071825"/>
                </a:cubicBezTo>
                <a:cubicBezTo>
                  <a:pt x="628942" y="1074320"/>
                  <a:pt x="634521" y="1076938"/>
                  <a:pt x="639863" y="1079946"/>
                </a:cubicBezTo>
                <a:cubicBezTo>
                  <a:pt x="650944" y="1086186"/>
                  <a:pt x="655598" y="1096871"/>
                  <a:pt x="652266" y="1109045"/>
                </a:cubicBezTo>
                <a:cubicBezTo>
                  <a:pt x="650545" y="1115333"/>
                  <a:pt x="647953" y="1121401"/>
                  <a:pt x="645501" y="1127466"/>
                </a:cubicBezTo>
                <a:cubicBezTo>
                  <a:pt x="643225" y="1133097"/>
                  <a:pt x="643438" y="1138435"/>
                  <a:pt x="645547" y="1144138"/>
                </a:cubicBezTo>
                <a:cubicBezTo>
                  <a:pt x="649868" y="1155821"/>
                  <a:pt x="655892" y="1166306"/>
                  <a:pt x="664589" y="1175322"/>
                </a:cubicBezTo>
                <a:cubicBezTo>
                  <a:pt x="680503" y="1191819"/>
                  <a:pt x="696298" y="1208434"/>
                  <a:pt x="712015" y="1225118"/>
                </a:cubicBezTo>
                <a:cubicBezTo>
                  <a:pt x="731931" y="1246258"/>
                  <a:pt x="740856" y="1272032"/>
                  <a:pt x="744465" y="1300385"/>
                </a:cubicBezTo>
                <a:cubicBezTo>
                  <a:pt x="746614" y="1317273"/>
                  <a:pt x="744537" y="1333855"/>
                  <a:pt x="743270" y="1350524"/>
                </a:cubicBezTo>
                <a:cubicBezTo>
                  <a:pt x="742916" y="1355183"/>
                  <a:pt x="743079" y="1358990"/>
                  <a:pt x="745429" y="1363274"/>
                </a:cubicBezTo>
                <a:cubicBezTo>
                  <a:pt x="761335" y="1392276"/>
                  <a:pt x="766719" y="1423956"/>
                  <a:pt x="768672" y="1456512"/>
                </a:cubicBezTo>
                <a:cubicBezTo>
                  <a:pt x="769161" y="1464651"/>
                  <a:pt x="766327" y="1469951"/>
                  <a:pt x="758521" y="1472434"/>
                </a:cubicBezTo>
                <a:cubicBezTo>
                  <a:pt x="749176" y="1475406"/>
                  <a:pt x="739961" y="1478919"/>
                  <a:pt x="730455" y="1481228"/>
                </a:cubicBezTo>
                <a:cubicBezTo>
                  <a:pt x="685866" y="1492058"/>
                  <a:pt x="640613" y="1498445"/>
                  <a:pt x="594867" y="1502210"/>
                </a:cubicBezTo>
                <a:cubicBezTo>
                  <a:pt x="503351" y="1509743"/>
                  <a:pt x="411695" y="1510364"/>
                  <a:pt x="320018" y="1508300"/>
                </a:cubicBezTo>
                <a:cubicBezTo>
                  <a:pt x="275466" y="1507297"/>
                  <a:pt x="230913" y="1504582"/>
                  <a:pt x="186464" y="1501258"/>
                </a:cubicBezTo>
                <a:cubicBezTo>
                  <a:pt x="132610" y="1497231"/>
                  <a:pt x="79072" y="1490389"/>
                  <a:pt x="26582" y="1477021"/>
                </a:cubicBezTo>
                <a:cubicBezTo>
                  <a:pt x="18195" y="1474885"/>
                  <a:pt x="9735" y="1472585"/>
                  <a:pt x="3929" y="1465652"/>
                </a:cubicBezTo>
                <a:cubicBezTo>
                  <a:pt x="1807" y="1463117"/>
                  <a:pt x="-213" y="1459275"/>
                  <a:pt x="18" y="1456203"/>
                </a:cubicBezTo>
                <a:cubicBezTo>
                  <a:pt x="995" y="1443177"/>
                  <a:pt x="2714" y="1430200"/>
                  <a:pt x="4393" y="1417235"/>
                </a:cubicBezTo>
                <a:cubicBezTo>
                  <a:pt x="6515" y="1400846"/>
                  <a:pt x="11310" y="1385118"/>
                  <a:pt x="19158" y="1370678"/>
                </a:cubicBezTo>
                <a:cubicBezTo>
                  <a:pt x="24205" y="1361393"/>
                  <a:pt x="24576" y="1352443"/>
                  <a:pt x="23255" y="1342388"/>
                </a:cubicBezTo>
                <a:cubicBezTo>
                  <a:pt x="18901" y="1309218"/>
                  <a:pt x="21603" y="1276876"/>
                  <a:pt x="38705" y="1247261"/>
                </a:cubicBezTo>
                <a:cubicBezTo>
                  <a:pt x="44179" y="1237783"/>
                  <a:pt x="50956" y="1228786"/>
                  <a:pt x="58454" y="1220807"/>
                </a:cubicBezTo>
                <a:cubicBezTo>
                  <a:pt x="73024" y="1205299"/>
                  <a:pt x="88543" y="1190683"/>
                  <a:pt x="103638" y="1175667"/>
                </a:cubicBezTo>
                <a:cubicBezTo>
                  <a:pt x="112161" y="1167189"/>
                  <a:pt x="118801" y="1157513"/>
                  <a:pt x="122996" y="1146131"/>
                </a:cubicBezTo>
                <a:cubicBezTo>
                  <a:pt x="125249" y="1140016"/>
                  <a:pt x="125488" y="1134282"/>
                  <a:pt x="122689" y="1128316"/>
                </a:cubicBezTo>
                <a:cubicBezTo>
                  <a:pt x="120431" y="1123504"/>
                  <a:pt x="118446" y="1118553"/>
                  <a:pt x="116576" y="1113575"/>
                </a:cubicBezTo>
                <a:cubicBezTo>
                  <a:pt x="111153" y="1099133"/>
                  <a:pt x="114404" y="1089299"/>
                  <a:pt x="127479" y="1081076"/>
                </a:cubicBezTo>
                <a:cubicBezTo>
                  <a:pt x="130563" y="1079137"/>
                  <a:pt x="134000" y="1077564"/>
                  <a:pt x="137480" y="1076482"/>
                </a:cubicBezTo>
                <a:cubicBezTo>
                  <a:pt x="148800" y="1072962"/>
                  <a:pt x="154794" y="1065351"/>
                  <a:pt x="157312" y="1053855"/>
                </a:cubicBezTo>
                <a:cubicBezTo>
                  <a:pt x="164312" y="1021900"/>
                  <a:pt x="172752" y="990234"/>
                  <a:pt x="178876" y="958120"/>
                </a:cubicBezTo>
                <a:cubicBezTo>
                  <a:pt x="190055" y="899504"/>
                  <a:pt x="200649" y="840756"/>
                  <a:pt x="210165" y="781849"/>
                </a:cubicBezTo>
                <a:cubicBezTo>
                  <a:pt x="215898" y="746366"/>
                  <a:pt x="219868" y="710550"/>
                  <a:pt x="223295" y="674755"/>
                </a:cubicBezTo>
                <a:cubicBezTo>
                  <a:pt x="226801" y="638133"/>
                  <a:pt x="229185" y="601381"/>
                  <a:pt x="231121" y="564636"/>
                </a:cubicBezTo>
                <a:cubicBezTo>
                  <a:pt x="233079" y="527469"/>
                  <a:pt x="233899" y="490241"/>
                  <a:pt x="235173" y="453038"/>
                </a:cubicBezTo>
                <a:cubicBezTo>
                  <a:pt x="235285" y="449770"/>
                  <a:pt x="235108" y="446488"/>
                  <a:pt x="235001" y="443215"/>
                </a:cubicBezTo>
                <a:cubicBezTo>
                  <a:pt x="234761" y="435907"/>
                  <a:pt x="231291" y="431283"/>
                  <a:pt x="224321" y="428479"/>
                </a:cubicBezTo>
                <a:cubicBezTo>
                  <a:pt x="217531" y="425747"/>
                  <a:pt x="210873" y="422395"/>
                  <a:pt x="204712" y="418450"/>
                </a:cubicBezTo>
                <a:cubicBezTo>
                  <a:pt x="187562" y="407468"/>
                  <a:pt x="179141" y="385623"/>
                  <a:pt x="184069" y="366060"/>
                </a:cubicBezTo>
                <a:cubicBezTo>
                  <a:pt x="187270" y="353354"/>
                  <a:pt x="195406" y="344379"/>
                  <a:pt x="206519" y="338181"/>
                </a:cubicBezTo>
                <a:cubicBezTo>
                  <a:pt x="212922" y="334611"/>
                  <a:pt x="219930" y="332132"/>
                  <a:pt x="226643" y="329113"/>
                </a:cubicBezTo>
                <a:cubicBezTo>
                  <a:pt x="236636" y="324620"/>
                  <a:pt x="238185" y="320246"/>
                  <a:pt x="232085" y="311135"/>
                </a:cubicBezTo>
                <a:cubicBezTo>
                  <a:pt x="229169" y="306779"/>
                  <a:pt x="225643" y="302195"/>
                  <a:pt x="221280" y="299552"/>
                </a:cubicBezTo>
                <a:cubicBezTo>
                  <a:pt x="194874" y="283553"/>
                  <a:pt x="183766" y="257401"/>
                  <a:pt x="173478" y="230303"/>
                </a:cubicBezTo>
                <a:cubicBezTo>
                  <a:pt x="156973" y="186824"/>
                  <a:pt x="146078" y="142097"/>
                  <a:pt x="141864" y="95780"/>
                </a:cubicBezTo>
                <a:cubicBezTo>
                  <a:pt x="140086" y="76240"/>
                  <a:pt x="138323" y="56689"/>
                  <a:pt x="137158" y="37107"/>
                </a:cubicBezTo>
                <a:cubicBezTo>
                  <a:pt x="136482" y="25735"/>
                  <a:pt x="137408" y="24372"/>
                  <a:pt x="148750" y="22335"/>
                </a:cubicBezTo>
                <a:cubicBezTo>
                  <a:pt x="178094" y="17065"/>
                  <a:pt x="207551" y="12418"/>
                  <a:pt x="236982" y="7640"/>
                </a:cubicBezTo>
                <a:cubicBezTo>
                  <a:pt x="239748" y="7191"/>
                  <a:pt x="242650" y="7580"/>
                  <a:pt x="246862" y="7580"/>
                </a:cubicBezTo>
                <a:cubicBezTo>
                  <a:pt x="255824" y="32568"/>
                  <a:pt x="255201" y="59502"/>
                  <a:pt x="261473" y="86763"/>
                </a:cubicBezTo>
                <a:cubicBezTo>
                  <a:pt x="276122" y="85715"/>
                  <a:pt x="290587" y="84680"/>
                  <a:pt x="306246" y="83559"/>
                </a:cubicBezTo>
                <a:cubicBezTo>
                  <a:pt x="306524" y="78935"/>
                  <a:pt x="306966" y="75011"/>
                  <a:pt x="306960" y="71087"/>
                </a:cubicBezTo>
                <a:cubicBezTo>
                  <a:pt x="306936" y="53888"/>
                  <a:pt x="306633" y="36688"/>
                  <a:pt x="306724" y="19491"/>
                </a:cubicBezTo>
                <a:cubicBezTo>
                  <a:pt x="306789" y="7258"/>
                  <a:pt x="307148" y="6664"/>
                  <a:pt x="319581" y="4733"/>
                </a:cubicBezTo>
                <a:cubicBezTo>
                  <a:pt x="356571" y="-1011"/>
                  <a:pt x="393735" y="-1048"/>
                  <a:pt x="430956" y="2070"/>
                </a:cubicBezTo>
                <a:cubicBezTo>
                  <a:pt x="432994" y="2241"/>
                  <a:pt x="435026" y="2485"/>
                  <a:pt x="437066" y="2646"/>
                </a:cubicBezTo>
                <a:cubicBezTo>
                  <a:pt x="455684" y="4122"/>
                  <a:pt x="457626" y="5472"/>
                  <a:pt x="460335" y="24205"/>
                </a:cubicBezTo>
                <a:cubicBezTo>
                  <a:pt x="462146" y="36727"/>
                  <a:pt x="462770" y="49435"/>
                  <a:pt x="463579" y="62081"/>
                </a:cubicBezTo>
                <a:cubicBezTo>
                  <a:pt x="463995" y="68573"/>
                  <a:pt x="463652" y="75113"/>
                  <a:pt x="463652" y="82953"/>
                </a:cubicBezTo>
                <a:cubicBezTo>
                  <a:pt x="478793" y="83857"/>
                  <a:pt x="492851" y="84696"/>
                  <a:pt x="507205" y="85553"/>
                </a:cubicBezTo>
                <a:cubicBezTo>
                  <a:pt x="512102" y="78145"/>
                  <a:pt x="511920" y="69770"/>
                  <a:pt x="513271" y="61890"/>
                </a:cubicBezTo>
                <a:cubicBezTo>
                  <a:pt x="515756" y="47397"/>
                  <a:pt x="517439" y="32758"/>
                  <a:pt x="520203" y="18323"/>
                </a:cubicBezTo>
                <a:cubicBezTo>
                  <a:pt x="522330" y="7216"/>
                  <a:pt x="522926" y="6539"/>
                  <a:pt x="534008" y="7785"/>
                </a:cubicBezTo>
                <a:cubicBezTo>
                  <a:pt x="554709" y="10113"/>
                  <a:pt x="575316" y="13322"/>
                  <a:pt x="595925" y="16407"/>
                </a:cubicBezTo>
                <a:cubicBezTo>
                  <a:pt x="604001" y="17616"/>
                  <a:pt x="612093" y="19051"/>
                  <a:pt x="619972" y="21156"/>
                </a:cubicBezTo>
                <a:cubicBezTo>
                  <a:pt x="628887" y="23538"/>
                  <a:pt x="631496" y="26848"/>
                  <a:pt x="631161" y="36134"/>
                </a:cubicBezTo>
                <a:cubicBezTo>
                  <a:pt x="630572" y="52475"/>
                  <a:pt x="629765" y="68840"/>
                  <a:pt x="628140" y="85104"/>
                </a:cubicBezTo>
                <a:cubicBezTo>
                  <a:pt x="624968" y="116827"/>
                  <a:pt x="621618" y="148545"/>
                  <a:pt x="613954" y="179618"/>
                </a:cubicBezTo>
                <a:cubicBezTo>
                  <a:pt x="607361" y="206344"/>
                  <a:pt x="597791" y="231950"/>
                  <a:pt x="586196" y="256886"/>
                </a:cubicBezTo>
                <a:cubicBezTo>
                  <a:pt x="578940" y="272491"/>
                  <a:pt x="568647" y="285371"/>
                  <a:pt x="554619" y="295312"/>
                </a:cubicBezTo>
                <a:cubicBezTo>
                  <a:pt x="547467" y="300381"/>
                  <a:pt x="541673" y="306562"/>
                  <a:pt x="538601" y="315001"/>
                </a:cubicBezTo>
                <a:cubicBezTo>
                  <a:pt x="536802" y="319945"/>
                  <a:pt x="537533" y="323761"/>
                  <a:pt x="542630" y="326199"/>
                </a:cubicBezTo>
                <a:cubicBezTo>
                  <a:pt x="548539" y="329025"/>
                  <a:pt x="554513" y="331748"/>
                  <a:pt x="560240" y="334912"/>
                </a:cubicBezTo>
                <a:cubicBezTo>
                  <a:pt x="574874" y="342998"/>
                  <a:pt x="586216" y="353688"/>
                  <a:pt x="586933" y="371800"/>
                </a:cubicBezTo>
                <a:cubicBezTo>
                  <a:pt x="587721" y="391697"/>
                  <a:pt x="581146" y="407998"/>
                  <a:pt x="563039" y="418184"/>
                </a:cubicBezTo>
                <a:cubicBezTo>
                  <a:pt x="557338" y="421391"/>
                  <a:pt x="551634" y="424825"/>
                  <a:pt x="545522" y="427008"/>
                </a:cubicBezTo>
                <a:cubicBezTo>
                  <a:pt x="538690" y="429449"/>
                  <a:pt x="535443" y="433770"/>
                  <a:pt x="535507" y="440667"/>
                </a:cubicBezTo>
                <a:cubicBezTo>
                  <a:pt x="535813" y="472997"/>
                  <a:pt x="535953" y="505332"/>
                  <a:pt x="536723" y="537651"/>
                </a:cubicBezTo>
                <a:cubicBezTo>
                  <a:pt x="537181" y="556862"/>
                  <a:pt x="538274" y="576081"/>
                  <a:pt x="539820" y="595237"/>
                </a:cubicBezTo>
                <a:cubicBezTo>
                  <a:pt x="543897" y="645768"/>
                  <a:pt x="546950" y="696441"/>
                  <a:pt x="553105" y="746727"/>
                </a:cubicBezTo>
                <a:cubicBezTo>
                  <a:pt x="559060" y="795370"/>
                  <a:pt x="568372" y="843602"/>
                  <a:pt x="576414" y="893042"/>
                </a:cubicBezTo>
                <a:moveTo>
                  <a:pt x="500356" y="473996"/>
                </a:moveTo>
                <a:cubicBezTo>
                  <a:pt x="500146" y="470396"/>
                  <a:pt x="499936" y="466797"/>
                  <a:pt x="499749" y="463598"/>
                </a:cubicBezTo>
                <a:cubicBezTo>
                  <a:pt x="463731" y="466295"/>
                  <a:pt x="428548" y="468929"/>
                  <a:pt x="392525" y="471627"/>
                </a:cubicBezTo>
                <a:cubicBezTo>
                  <a:pt x="392525" y="475456"/>
                  <a:pt x="392570" y="479099"/>
                  <a:pt x="392518" y="482742"/>
                </a:cubicBezTo>
                <a:cubicBezTo>
                  <a:pt x="391977" y="520799"/>
                  <a:pt x="391669" y="558862"/>
                  <a:pt x="390814" y="596913"/>
                </a:cubicBezTo>
                <a:cubicBezTo>
                  <a:pt x="389379" y="660737"/>
                  <a:pt x="387596" y="724554"/>
                  <a:pt x="385953" y="788374"/>
                </a:cubicBezTo>
                <a:cubicBezTo>
                  <a:pt x="385132" y="820284"/>
                  <a:pt x="384217" y="852191"/>
                  <a:pt x="383485" y="884103"/>
                </a:cubicBezTo>
                <a:cubicBezTo>
                  <a:pt x="382329" y="934437"/>
                  <a:pt x="381336" y="984775"/>
                  <a:pt x="380173" y="1035109"/>
                </a:cubicBezTo>
                <a:cubicBezTo>
                  <a:pt x="379918" y="1046143"/>
                  <a:pt x="379172" y="1057166"/>
                  <a:pt x="378826" y="1068199"/>
                </a:cubicBezTo>
                <a:cubicBezTo>
                  <a:pt x="378768" y="1070073"/>
                  <a:pt x="379592" y="1071975"/>
                  <a:pt x="380180" y="1074648"/>
                </a:cubicBezTo>
                <a:cubicBezTo>
                  <a:pt x="402724" y="1074648"/>
                  <a:pt x="424789" y="1074626"/>
                  <a:pt x="446854" y="1074654"/>
                </a:cubicBezTo>
                <a:cubicBezTo>
                  <a:pt x="468967" y="1074682"/>
                  <a:pt x="491084" y="1075062"/>
                  <a:pt x="513191" y="1074731"/>
                </a:cubicBezTo>
                <a:cubicBezTo>
                  <a:pt x="535020" y="1074404"/>
                  <a:pt x="556890" y="1078397"/>
                  <a:pt x="580317" y="1075095"/>
                </a:cubicBezTo>
                <a:cubicBezTo>
                  <a:pt x="530688" y="877741"/>
                  <a:pt x="498514" y="679261"/>
                  <a:pt x="500356" y="473996"/>
                </a:cubicBezTo>
                <a:moveTo>
                  <a:pt x="459731" y="1135086"/>
                </a:moveTo>
                <a:cubicBezTo>
                  <a:pt x="434501" y="1135086"/>
                  <a:pt x="409270" y="1135086"/>
                  <a:pt x="383756" y="1135086"/>
                </a:cubicBezTo>
                <a:cubicBezTo>
                  <a:pt x="385145" y="1171037"/>
                  <a:pt x="387590" y="1206813"/>
                  <a:pt x="387612" y="1242590"/>
                </a:cubicBezTo>
                <a:cubicBezTo>
                  <a:pt x="387634" y="1278699"/>
                  <a:pt x="385252" y="1314810"/>
                  <a:pt x="383907" y="1351330"/>
                </a:cubicBezTo>
                <a:cubicBezTo>
                  <a:pt x="493016" y="1355954"/>
                  <a:pt x="600298" y="1349068"/>
                  <a:pt x="707112" y="1330559"/>
                </a:cubicBezTo>
                <a:cubicBezTo>
                  <a:pt x="710922" y="1301049"/>
                  <a:pt x="703971" y="1274394"/>
                  <a:pt x="686366" y="1251637"/>
                </a:cubicBezTo>
                <a:cubicBezTo>
                  <a:pt x="672164" y="1233278"/>
                  <a:pt x="655625" y="1216649"/>
                  <a:pt x="639403" y="1199952"/>
                </a:cubicBezTo>
                <a:cubicBezTo>
                  <a:pt x="621690" y="1181720"/>
                  <a:pt x="611031" y="1160243"/>
                  <a:pt x="606292" y="1135508"/>
                </a:cubicBezTo>
                <a:cubicBezTo>
                  <a:pt x="605546" y="1131614"/>
                  <a:pt x="604205" y="1127833"/>
                  <a:pt x="602971" y="1123400"/>
                </a:cubicBezTo>
                <a:cubicBezTo>
                  <a:pt x="598647" y="1123864"/>
                  <a:pt x="595062" y="1124258"/>
                  <a:pt x="591474" y="1124633"/>
                </a:cubicBezTo>
                <a:cubicBezTo>
                  <a:pt x="571170" y="1126753"/>
                  <a:pt x="550896" y="1129262"/>
                  <a:pt x="530551" y="1130880"/>
                </a:cubicBezTo>
                <a:cubicBezTo>
                  <a:pt x="507752" y="1132694"/>
                  <a:pt x="484887" y="1133699"/>
                  <a:pt x="459731" y="1135086"/>
                </a:cubicBezTo>
                <a:moveTo>
                  <a:pt x="469505" y="116252"/>
                </a:moveTo>
                <a:cubicBezTo>
                  <a:pt x="460926" y="115846"/>
                  <a:pt x="452288" y="115932"/>
                  <a:pt x="443782" y="114911"/>
                </a:cubicBezTo>
                <a:cubicBezTo>
                  <a:pt x="433023" y="113619"/>
                  <a:pt x="430601" y="110848"/>
                  <a:pt x="430007" y="99878"/>
                </a:cubicBezTo>
                <a:cubicBezTo>
                  <a:pt x="429457" y="89668"/>
                  <a:pt x="429903" y="79404"/>
                  <a:pt x="429331" y="69197"/>
                </a:cubicBezTo>
                <a:cubicBezTo>
                  <a:pt x="428702" y="57943"/>
                  <a:pt x="427414" y="46725"/>
                  <a:pt x="426333" y="34606"/>
                </a:cubicBezTo>
                <a:cubicBezTo>
                  <a:pt x="409217" y="34606"/>
                  <a:pt x="393383" y="34593"/>
                  <a:pt x="377548" y="34613"/>
                </a:cubicBezTo>
                <a:cubicBezTo>
                  <a:pt x="370973" y="34621"/>
                  <a:pt x="368175" y="37880"/>
                  <a:pt x="368004" y="44529"/>
                </a:cubicBezTo>
                <a:cubicBezTo>
                  <a:pt x="367731" y="55142"/>
                  <a:pt x="366531" y="65729"/>
                  <a:pt x="366185" y="76343"/>
                </a:cubicBezTo>
                <a:cubicBezTo>
                  <a:pt x="364748" y="120348"/>
                  <a:pt x="372586" y="163440"/>
                  <a:pt x="379384" y="206619"/>
                </a:cubicBezTo>
                <a:cubicBezTo>
                  <a:pt x="383132" y="230420"/>
                  <a:pt x="387281" y="254159"/>
                  <a:pt x="390997" y="277965"/>
                </a:cubicBezTo>
                <a:cubicBezTo>
                  <a:pt x="392356" y="286668"/>
                  <a:pt x="392988" y="295485"/>
                  <a:pt x="394040" y="305053"/>
                </a:cubicBezTo>
                <a:cubicBezTo>
                  <a:pt x="430625" y="305053"/>
                  <a:pt x="466194" y="305182"/>
                  <a:pt x="501758" y="304814"/>
                </a:cubicBezTo>
                <a:cubicBezTo>
                  <a:pt x="504672" y="304784"/>
                  <a:pt x="508099" y="301870"/>
                  <a:pt x="510340" y="299427"/>
                </a:cubicBezTo>
                <a:cubicBezTo>
                  <a:pt x="516125" y="293119"/>
                  <a:pt x="520822" y="285749"/>
                  <a:pt x="526940" y="279822"/>
                </a:cubicBezTo>
                <a:cubicBezTo>
                  <a:pt x="552103" y="255447"/>
                  <a:pt x="566819" y="225104"/>
                  <a:pt x="576920" y="192342"/>
                </a:cubicBezTo>
                <a:cubicBezTo>
                  <a:pt x="588690" y="154165"/>
                  <a:pt x="590063" y="114309"/>
                  <a:pt x="594042" y="74918"/>
                </a:cubicBezTo>
                <a:cubicBezTo>
                  <a:pt x="594852" y="66901"/>
                  <a:pt x="594159" y="58731"/>
                  <a:pt x="594159" y="49195"/>
                </a:cubicBezTo>
                <a:cubicBezTo>
                  <a:pt x="581125" y="46996"/>
                  <a:pt x="568493" y="44864"/>
                  <a:pt x="554791" y="42552"/>
                </a:cubicBezTo>
                <a:cubicBezTo>
                  <a:pt x="553857" y="47762"/>
                  <a:pt x="553099" y="51670"/>
                  <a:pt x="552461" y="55598"/>
                </a:cubicBezTo>
                <a:cubicBezTo>
                  <a:pt x="549905" y="71314"/>
                  <a:pt x="547903" y="87144"/>
                  <a:pt x="544678" y="102721"/>
                </a:cubicBezTo>
                <a:cubicBezTo>
                  <a:pt x="542363" y="113902"/>
                  <a:pt x="537010" y="118223"/>
                  <a:pt x="525701" y="118186"/>
                </a:cubicBezTo>
                <a:cubicBezTo>
                  <a:pt x="507730" y="118128"/>
                  <a:pt x="489762" y="117027"/>
                  <a:pt x="469505" y="116252"/>
                </a:cubicBezTo>
                <a:moveTo>
                  <a:pt x="513928" y="1403203"/>
                </a:moveTo>
                <a:cubicBezTo>
                  <a:pt x="469441" y="1403467"/>
                  <a:pt x="424955" y="1403730"/>
                  <a:pt x="379322" y="1404000"/>
                </a:cubicBezTo>
                <a:cubicBezTo>
                  <a:pt x="379322" y="1423089"/>
                  <a:pt x="379322" y="1440883"/>
                  <a:pt x="379322" y="1460424"/>
                </a:cubicBezTo>
                <a:cubicBezTo>
                  <a:pt x="496078" y="1471584"/>
                  <a:pt x="611510" y="1462301"/>
                  <a:pt x="726554" y="1439225"/>
                </a:cubicBezTo>
                <a:cubicBezTo>
                  <a:pt x="728615" y="1424350"/>
                  <a:pt x="725601" y="1410872"/>
                  <a:pt x="721089" y="1397750"/>
                </a:cubicBezTo>
                <a:cubicBezTo>
                  <a:pt x="717269" y="1386638"/>
                  <a:pt x="709802" y="1383286"/>
                  <a:pt x="697967" y="1385046"/>
                </a:cubicBezTo>
                <a:cubicBezTo>
                  <a:pt x="671697" y="1388954"/>
                  <a:pt x="645454" y="1393360"/>
                  <a:pt x="619039" y="1395892"/>
                </a:cubicBezTo>
                <a:cubicBezTo>
                  <a:pt x="584863" y="1399168"/>
                  <a:pt x="550531" y="1400815"/>
                  <a:pt x="513928" y="1403203"/>
                </a:cubicBezTo>
                <a:moveTo>
                  <a:pt x="462814" y="375981"/>
                </a:moveTo>
                <a:cubicBezTo>
                  <a:pt x="488207" y="375927"/>
                  <a:pt x="513601" y="375954"/>
                  <a:pt x="538992" y="375736"/>
                </a:cubicBezTo>
                <a:cubicBezTo>
                  <a:pt x="543170" y="375700"/>
                  <a:pt x="547338" y="374587"/>
                  <a:pt x="551835" y="373923"/>
                </a:cubicBezTo>
                <a:cubicBezTo>
                  <a:pt x="550780" y="364535"/>
                  <a:pt x="545320" y="360090"/>
                  <a:pt x="539689" y="356085"/>
                </a:cubicBezTo>
                <a:cubicBezTo>
                  <a:pt x="533696" y="351821"/>
                  <a:pt x="527145" y="348349"/>
                  <a:pt x="521074" y="344186"/>
                </a:cubicBezTo>
                <a:cubicBezTo>
                  <a:pt x="515783" y="340559"/>
                  <a:pt x="510232" y="339198"/>
                  <a:pt x="503789" y="339280"/>
                </a:cubicBezTo>
                <a:cubicBezTo>
                  <a:pt x="470618" y="339700"/>
                  <a:pt x="437443" y="339744"/>
                  <a:pt x="404270" y="339994"/>
                </a:cubicBezTo>
                <a:cubicBezTo>
                  <a:pt x="400758" y="340021"/>
                  <a:pt x="397250" y="340529"/>
                  <a:pt x="393081" y="340868"/>
                </a:cubicBezTo>
                <a:cubicBezTo>
                  <a:pt x="393653" y="352908"/>
                  <a:pt x="392145" y="363845"/>
                  <a:pt x="395001" y="375976"/>
                </a:cubicBezTo>
                <a:cubicBezTo>
                  <a:pt x="417133" y="375976"/>
                  <a:pt x="438745" y="375976"/>
                  <a:pt x="462814" y="375981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68" name="Free-form: Shape 367">
            <a:extLst>
              <a:ext uri="{FF2B5EF4-FFF2-40B4-BE49-F238E27FC236}">
                <a16:creationId xmlns:a16="http://schemas.microsoft.com/office/drawing/2014/main" id="{23628402-89F9-AC59-7A92-7E5070816EBC}"/>
              </a:ext>
            </a:extLst>
          </p:cNvPr>
          <p:cNvSpPr/>
          <p:nvPr/>
        </p:nvSpPr>
        <p:spPr>
          <a:xfrm>
            <a:off x="10025882" y="4954036"/>
            <a:ext cx="155564" cy="520442"/>
          </a:xfrm>
          <a:custGeom>
            <a:avLst/>
            <a:gdLst>
              <a:gd name="csX0" fmla="*/ 121535 w 201493"/>
              <a:gd name="csY0" fmla="*/ 11562 h 612813"/>
              <a:gd name="csX1" fmla="*/ 201493 w 201493"/>
              <a:gd name="csY1" fmla="*/ 611498 h 612813"/>
              <a:gd name="csX2" fmla="*/ 134368 w 201493"/>
              <a:gd name="csY2" fmla="*/ 611133 h 612813"/>
              <a:gd name="csX3" fmla="*/ 68030 w 201493"/>
              <a:gd name="csY3" fmla="*/ 611056 h 612813"/>
              <a:gd name="csX4" fmla="*/ 1357 w 201493"/>
              <a:gd name="csY4" fmla="*/ 611050 h 612813"/>
              <a:gd name="csX5" fmla="*/ 3 w 201493"/>
              <a:gd name="csY5" fmla="*/ 604601 h 612813"/>
              <a:gd name="csX6" fmla="*/ 1350 w 201493"/>
              <a:gd name="csY6" fmla="*/ 571511 h 612813"/>
              <a:gd name="csX7" fmla="*/ 4661 w 201493"/>
              <a:gd name="csY7" fmla="*/ 420505 h 612813"/>
              <a:gd name="csX8" fmla="*/ 7130 w 201493"/>
              <a:gd name="csY8" fmla="*/ 324777 h 612813"/>
              <a:gd name="csX9" fmla="*/ 11991 w 201493"/>
              <a:gd name="csY9" fmla="*/ 133315 h 612813"/>
              <a:gd name="csX10" fmla="*/ 13695 w 201493"/>
              <a:gd name="csY10" fmla="*/ 19144 h 612813"/>
              <a:gd name="csX11" fmla="*/ 13702 w 201493"/>
              <a:gd name="csY11" fmla="*/ 8029 h 612813"/>
              <a:gd name="csX12" fmla="*/ 120926 w 201493"/>
              <a:gd name="csY12" fmla="*/ 0 h 612813"/>
              <a:gd name="csX13" fmla="*/ 121535 w 201493"/>
              <a:gd name="csY13" fmla="*/ 11562 h 61281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</a:cxnLst>
            <a:rect l="l" t="t" r="r" b="b"/>
            <a:pathLst>
              <a:path w="201493" h="612813">
                <a:moveTo>
                  <a:pt x="121535" y="11562"/>
                </a:moveTo>
                <a:cubicBezTo>
                  <a:pt x="119691" y="215664"/>
                  <a:pt x="151865" y="414144"/>
                  <a:pt x="201493" y="611498"/>
                </a:cubicBezTo>
                <a:cubicBezTo>
                  <a:pt x="178066" y="614799"/>
                  <a:pt x="156197" y="610806"/>
                  <a:pt x="134368" y="611133"/>
                </a:cubicBezTo>
                <a:cubicBezTo>
                  <a:pt x="112261" y="611465"/>
                  <a:pt x="90143" y="611084"/>
                  <a:pt x="68030" y="611056"/>
                </a:cubicBezTo>
                <a:cubicBezTo>
                  <a:pt x="45965" y="611028"/>
                  <a:pt x="23900" y="611050"/>
                  <a:pt x="1357" y="611050"/>
                </a:cubicBezTo>
                <a:cubicBezTo>
                  <a:pt x="769" y="608377"/>
                  <a:pt x="-56" y="606475"/>
                  <a:pt x="3" y="604601"/>
                </a:cubicBezTo>
                <a:cubicBezTo>
                  <a:pt x="349" y="593568"/>
                  <a:pt x="1095" y="582545"/>
                  <a:pt x="1350" y="571511"/>
                </a:cubicBezTo>
                <a:cubicBezTo>
                  <a:pt x="2513" y="521177"/>
                  <a:pt x="3506" y="470839"/>
                  <a:pt x="4661" y="420505"/>
                </a:cubicBezTo>
                <a:cubicBezTo>
                  <a:pt x="5393" y="388594"/>
                  <a:pt x="6308" y="356686"/>
                  <a:pt x="7130" y="324777"/>
                </a:cubicBezTo>
                <a:cubicBezTo>
                  <a:pt x="8772" y="260956"/>
                  <a:pt x="10555" y="197140"/>
                  <a:pt x="11991" y="133315"/>
                </a:cubicBezTo>
                <a:cubicBezTo>
                  <a:pt x="12846" y="95264"/>
                  <a:pt x="13154" y="57201"/>
                  <a:pt x="13695" y="19144"/>
                </a:cubicBezTo>
                <a:cubicBezTo>
                  <a:pt x="13746" y="15501"/>
                  <a:pt x="13702" y="11858"/>
                  <a:pt x="13702" y="8029"/>
                </a:cubicBezTo>
                <a:cubicBezTo>
                  <a:pt x="49725" y="5331"/>
                  <a:pt x="84908" y="2697"/>
                  <a:pt x="120926" y="0"/>
                </a:cubicBezTo>
                <a:cubicBezTo>
                  <a:pt x="121113" y="3199"/>
                  <a:pt x="121323" y="6798"/>
                  <a:pt x="121535" y="11562"/>
                </a:cubicBezTo>
                <a:close/>
              </a:path>
            </a:pathLst>
          </a:custGeom>
          <a:solidFill>
            <a:srgbClr val="FDFDFD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69" name="Free-form: Shape 368">
            <a:extLst>
              <a:ext uri="{FF2B5EF4-FFF2-40B4-BE49-F238E27FC236}">
                <a16:creationId xmlns:a16="http://schemas.microsoft.com/office/drawing/2014/main" id="{7E488B1A-3E92-226E-1B24-C70D4C81A0CE}"/>
              </a:ext>
            </a:extLst>
          </p:cNvPr>
          <p:cNvSpPr/>
          <p:nvPr/>
        </p:nvSpPr>
        <p:spPr>
          <a:xfrm>
            <a:off x="10029690" y="5514385"/>
            <a:ext cx="250431" cy="194755"/>
          </a:xfrm>
          <a:custGeom>
            <a:avLst/>
            <a:gdLst>
              <a:gd name="csX0" fmla="*/ 77135 w 324367"/>
              <a:gd name="csY0" fmla="*/ 11670 h 229322"/>
              <a:gd name="csX1" fmla="*/ 146795 w 324367"/>
              <a:gd name="csY1" fmla="*/ 7480 h 229322"/>
              <a:gd name="csX2" fmla="*/ 207718 w 324367"/>
              <a:gd name="csY2" fmla="*/ 1232 h 229322"/>
              <a:gd name="csX3" fmla="*/ 219215 w 324367"/>
              <a:gd name="csY3" fmla="*/ 0 h 229322"/>
              <a:gd name="csX4" fmla="*/ 222536 w 324367"/>
              <a:gd name="csY4" fmla="*/ 12108 h 229322"/>
              <a:gd name="csX5" fmla="*/ 255647 w 324367"/>
              <a:gd name="csY5" fmla="*/ 76552 h 229322"/>
              <a:gd name="csX6" fmla="*/ 302610 w 324367"/>
              <a:gd name="csY6" fmla="*/ 128236 h 229322"/>
              <a:gd name="csX7" fmla="*/ 323355 w 324367"/>
              <a:gd name="csY7" fmla="*/ 207159 h 229322"/>
              <a:gd name="csX8" fmla="*/ 151 w 324367"/>
              <a:gd name="csY8" fmla="*/ 227930 h 229322"/>
              <a:gd name="csX9" fmla="*/ 3855 w 324367"/>
              <a:gd name="csY9" fmla="*/ 119190 h 229322"/>
              <a:gd name="csX10" fmla="*/ 0 w 324367"/>
              <a:gd name="csY10" fmla="*/ 11685 h 229322"/>
              <a:gd name="csX11" fmla="*/ 77135 w 324367"/>
              <a:gd name="csY11" fmla="*/ 11670 h 22932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324367" h="229322">
                <a:moveTo>
                  <a:pt x="77135" y="11670"/>
                </a:moveTo>
                <a:cubicBezTo>
                  <a:pt x="101131" y="10299"/>
                  <a:pt x="123996" y="9293"/>
                  <a:pt x="146795" y="7480"/>
                </a:cubicBezTo>
                <a:cubicBezTo>
                  <a:pt x="167139" y="5862"/>
                  <a:pt x="187413" y="3352"/>
                  <a:pt x="207718" y="1232"/>
                </a:cubicBezTo>
                <a:cubicBezTo>
                  <a:pt x="211305" y="858"/>
                  <a:pt x="214891" y="464"/>
                  <a:pt x="219215" y="0"/>
                </a:cubicBezTo>
                <a:cubicBezTo>
                  <a:pt x="220448" y="4433"/>
                  <a:pt x="221789" y="8213"/>
                  <a:pt x="222536" y="12108"/>
                </a:cubicBezTo>
                <a:cubicBezTo>
                  <a:pt x="227274" y="36843"/>
                  <a:pt x="237933" y="58320"/>
                  <a:pt x="255647" y="76552"/>
                </a:cubicBezTo>
                <a:cubicBezTo>
                  <a:pt x="271868" y="93249"/>
                  <a:pt x="288407" y="109878"/>
                  <a:pt x="302610" y="128236"/>
                </a:cubicBezTo>
                <a:cubicBezTo>
                  <a:pt x="320215" y="150993"/>
                  <a:pt x="327166" y="177648"/>
                  <a:pt x="323355" y="207159"/>
                </a:cubicBezTo>
                <a:cubicBezTo>
                  <a:pt x="216542" y="225668"/>
                  <a:pt x="109259" y="232554"/>
                  <a:pt x="151" y="227930"/>
                </a:cubicBezTo>
                <a:cubicBezTo>
                  <a:pt x="1495" y="191410"/>
                  <a:pt x="3878" y="155299"/>
                  <a:pt x="3855" y="119190"/>
                </a:cubicBezTo>
                <a:cubicBezTo>
                  <a:pt x="3834" y="83413"/>
                  <a:pt x="1388" y="47637"/>
                  <a:pt x="0" y="11685"/>
                </a:cubicBezTo>
                <a:cubicBezTo>
                  <a:pt x="25514" y="11685"/>
                  <a:pt x="50744" y="11685"/>
                  <a:pt x="77135" y="11670"/>
                </a:cubicBezTo>
                <a:close/>
              </a:path>
            </a:pathLst>
          </a:custGeom>
          <a:solidFill>
            <a:srgbClr val="FDFEFE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70" name="Free-form: Shape 369">
            <a:extLst>
              <a:ext uri="{FF2B5EF4-FFF2-40B4-BE49-F238E27FC236}">
                <a16:creationId xmlns:a16="http://schemas.microsoft.com/office/drawing/2014/main" id="{88AB5A11-EEDD-8D5E-B6DB-03CAE8114BF0}"/>
              </a:ext>
            </a:extLst>
          </p:cNvPr>
          <p:cNvSpPr/>
          <p:nvPr/>
        </p:nvSpPr>
        <p:spPr>
          <a:xfrm>
            <a:off x="10015991" y="4589704"/>
            <a:ext cx="176355" cy="229704"/>
          </a:xfrm>
          <a:custGeom>
            <a:avLst/>
            <a:gdLst>
              <a:gd name="csX0" fmla="*/ 104636 w 228422"/>
              <a:gd name="csY0" fmla="*/ 81707 h 270473"/>
              <a:gd name="csX1" fmla="*/ 159689 w 228422"/>
              <a:gd name="csY1" fmla="*/ 83584 h 270473"/>
              <a:gd name="csX2" fmla="*/ 178665 w 228422"/>
              <a:gd name="csY2" fmla="*/ 68119 h 270473"/>
              <a:gd name="csX3" fmla="*/ 186448 w 228422"/>
              <a:gd name="csY3" fmla="*/ 20996 h 270473"/>
              <a:gd name="csX4" fmla="*/ 188779 w 228422"/>
              <a:gd name="csY4" fmla="*/ 7950 h 270473"/>
              <a:gd name="csX5" fmla="*/ 228146 w 228422"/>
              <a:gd name="csY5" fmla="*/ 14593 h 270473"/>
              <a:gd name="csX6" fmla="*/ 228030 w 228422"/>
              <a:gd name="csY6" fmla="*/ 40316 h 270473"/>
              <a:gd name="csX7" fmla="*/ 210907 w 228422"/>
              <a:gd name="csY7" fmla="*/ 157740 h 270473"/>
              <a:gd name="csX8" fmla="*/ 160928 w 228422"/>
              <a:gd name="csY8" fmla="*/ 245220 h 270473"/>
              <a:gd name="csX9" fmla="*/ 144327 w 228422"/>
              <a:gd name="csY9" fmla="*/ 264825 h 270473"/>
              <a:gd name="csX10" fmla="*/ 135745 w 228422"/>
              <a:gd name="csY10" fmla="*/ 270212 h 270473"/>
              <a:gd name="csX11" fmla="*/ 28028 w 228422"/>
              <a:gd name="csY11" fmla="*/ 270451 h 270473"/>
              <a:gd name="csX12" fmla="*/ 24984 w 228422"/>
              <a:gd name="csY12" fmla="*/ 243363 h 270473"/>
              <a:gd name="csX13" fmla="*/ 13372 w 228422"/>
              <a:gd name="csY13" fmla="*/ 172017 h 270473"/>
              <a:gd name="csX14" fmla="*/ 172 w 228422"/>
              <a:gd name="csY14" fmla="*/ 41741 h 270473"/>
              <a:gd name="csX15" fmla="*/ 1991 w 228422"/>
              <a:gd name="csY15" fmla="*/ 9927 h 270473"/>
              <a:gd name="csX16" fmla="*/ 11535 w 228422"/>
              <a:gd name="csY16" fmla="*/ 11 h 270473"/>
              <a:gd name="csX17" fmla="*/ 60320 w 228422"/>
              <a:gd name="csY17" fmla="*/ 4 h 270473"/>
              <a:gd name="csX18" fmla="*/ 63319 w 228422"/>
              <a:gd name="csY18" fmla="*/ 34595 h 270473"/>
              <a:gd name="csX19" fmla="*/ 63995 w 228422"/>
              <a:gd name="csY19" fmla="*/ 65276 h 270473"/>
              <a:gd name="csX20" fmla="*/ 77770 w 228422"/>
              <a:gd name="csY20" fmla="*/ 80309 h 270473"/>
              <a:gd name="csX21" fmla="*/ 104636 w 228422"/>
              <a:gd name="csY21" fmla="*/ 81707 h 27047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</a:cxnLst>
            <a:rect l="l" t="t" r="r" b="b"/>
            <a:pathLst>
              <a:path w="228422" h="270473">
                <a:moveTo>
                  <a:pt x="104636" y="81707"/>
                </a:moveTo>
                <a:cubicBezTo>
                  <a:pt x="123750" y="82425"/>
                  <a:pt x="141717" y="83526"/>
                  <a:pt x="159689" y="83584"/>
                </a:cubicBezTo>
                <a:cubicBezTo>
                  <a:pt x="170998" y="83621"/>
                  <a:pt x="176351" y="79300"/>
                  <a:pt x="178665" y="68119"/>
                </a:cubicBezTo>
                <a:cubicBezTo>
                  <a:pt x="181890" y="52542"/>
                  <a:pt x="183892" y="36712"/>
                  <a:pt x="186448" y="20996"/>
                </a:cubicBezTo>
                <a:cubicBezTo>
                  <a:pt x="187087" y="17068"/>
                  <a:pt x="187844" y="13160"/>
                  <a:pt x="188779" y="7950"/>
                </a:cubicBezTo>
                <a:cubicBezTo>
                  <a:pt x="202480" y="10262"/>
                  <a:pt x="215113" y="12394"/>
                  <a:pt x="228146" y="14593"/>
                </a:cubicBezTo>
                <a:cubicBezTo>
                  <a:pt x="228146" y="24129"/>
                  <a:pt x="228839" y="32299"/>
                  <a:pt x="228030" y="40316"/>
                </a:cubicBezTo>
                <a:cubicBezTo>
                  <a:pt x="224051" y="79707"/>
                  <a:pt x="222678" y="119563"/>
                  <a:pt x="210907" y="157740"/>
                </a:cubicBezTo>
                <a:cubicBezTo>
                  <a:pt x="200806" y="190502"/>
                  <a:pt x="186090" y="220845"/>
                  <a:pt x="160928" y="245220"/>
                </a:cubicBezTo>
                <a:cubicBezTo>
                  <a:pt x="154810" y="251147"/>
                  <a:pt x="150112" y="258517"/>
                  <a:pt x="144327" y="264825"/>
                </a:cubicBezTo>
                <a:cubicBezTo>
                  <a:pt x="142086" y="267268"/>
                  <a:pt x="138659" y="270182"/>
                  <a:pt x="135745" y="270212"/>
                </a:cubicBezTo>
                <a:cubicBezTo>
                  <a:pt x="100181" y="270580"/>
                  <a:pt x="64612" y="270451"/>
                  <a:pt x="28028" y="270451"/>
                </a:cubicBezTo>
                <a:cubicBezTo>
                  <a:pt x="26976" y="260883"/>
                  <a:pt x="26343" y="252066"/>
                  <a:pt x="24984" y="243363"/>
                </a:cubicBezTo>
                <a:cubicBezTo>
                  <a:pt x="21268" y="219557"/>
                  <a:pt x="17119" y="195818"/>
                  <a:pt x="13372" y="172017"/>
                </a:cubicBezTo>
                <a:cubicBezTo>
                  <a:pt x="6574" y="128838"/>
                  <a:pt x="-1265" y="85746"/>
                  <a:pt x="172" y="41741"/>
                </a:cubicBezTo>
                <a:cubicBezTo>
                  <a:pt x="518" y="31127"/>
                  <a:pt x="1719" y="20540"/>
                  <a:pt x="1991" y="9927"/>
                </a:cubicBezTo>
                <a:cubicBezTo>
                  <a:pt x="2163" y="3278"/>
                  <a:pt x="4961" y="19"/>
                  <a:pt x="11535" y="11"/>
                </a:cubicBezTo>
                <a:cubicBezTo>
                  <a:pt x="27370" y="-9"/>
                  <a:pt x="43205" y="4"/>
                  <a:pt x="60320" y="4"/>
                </a:cubicBezTo>
                <a:cubicBezTo>
                  <a:pt x="61401" y="12123"/>
                  <a:pt x="62689" y="23341"/>
                  <a:pt x="63319" y="34595"/>
                </a:cubicBezTo>
                <a:cubicBezTo>
                  <a:pt x="63890" y="44802"/>
                  <a:pt x="63444" y="55066"/>
                  <a:pt x="63995" y="65276"/>
                </a:cubicBezTo>
                <a:cubicBezTo>
                  <a:pt x="64588" y="76246"/>
                  <a:pt x="67011" y="79017"/>
                  <a:pt x="77770" y="80309"/>
                </a:cubicBezTo>
                <a:cubicBezTo>
                  <a:pt x="86275" y="81330"/>
                  <a:pt x="94914" y="81244"/>
                  <a:pt x="104636" y="81707"/>
                </a:cubicBezTo>
                <a:close/>
              </a:path>
            </a:pathLst>
          </a:custGeom>
          <a:solidFill>
            <a:srgbClr val="FDFDFD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71" name="Free-form: Shape 370">
            <a:extLst>
              <a:ext uri="{FF2B5EF4-FFF2-40B4-BE49-F238E27FC236}">
                <a16:creationId xmlns:a16="http://schemas.microsoft.com/office/drawing/2014/main" id="{CA4CFA36-68FF-607F-913E-1F78DC8116A8}"/>
              </a:ext>
            </a:extLst>
          </p:cNvPr>
          <p:cNvSpPr/>
          <p:nvPr/>
        </p:nvSpPr>
        <p:spPr>
          <a:xfrm>
            <a:off x="10026266" y="5736217"/>
            <a:ext cx="268594" cy="68395"/>
          </a:xfrm>
          <a:custGeom>
            <a:avLst/>
            <a:gdLst>
              <a:gd name="csX0" fmla="*/ 135775 w 347893"/>
              <a:gd name="csY0" fmla="*/ 18580 h 80534"/>
              <a:gd name="csX1" fmla="*/ 239717 w 347893"/>
              <a:gd name="csY1" fmla="*/ 11288 h 80534"/>
              <a:gd name="csX2" fmla="*/ 318645 w 347893"/>
              <a:gd name="csY2" fmla="*/ 442 h 80534"/>
              <a:gd name="csX3" fmla="*/ 341767 w 347893"/>
              <a:gd name="csY3" fmla="*/ 13145 h 80534"/>
              <a:gd name="csX4" fmla="*/ 347232 w 347893"/>
              <a:gd name="csY4" fmla="*/ 54621 h 80534"/>
              <a:gd name="csX5" fmla="*/ 0 w 347893"/>
              <a:gd name="csY5" fmla="*/ 75820 h 80534"/>
              <a:gd name="csX6" fmla="*/ 0 w 347893"/>
              <a:gd name="csY6" fmla="*/ 19396 h 80534"/>
              <a:gd name="csX7" fmla="*/ 135775 w 347893"/>
              <a:gd name="csY7" fmla="*/ 18580 h 8053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</a:cxnLst>
            <a:rect l="l" t="t" r="r" b="b"/>
            <a:pathLst>
              <a:path w="347893" h="80534">
                <a:moveTo>
                  <a:pt x="135775" y="18580"/>
                </a:moveTo>
                <a:cubicBezTo>
                  <a:pt x="171209" y="16211"/>
                  <a:pt x="205541" y="14564"/>
                  <a:pt x="239717" y="11288"/>
                </a:cubicBezTo>
                <a:cubicBezTo>
                  <a:pt x="266132" y="8756"/>
                  <a:pt x="292375" y="4350"/>
                  <a:pt x="318645" y="442"/>
                </a:cubicBezTo>
                <a:cubicBezTo>
                  <a:pt x="330480" y="-1319"/>
                  <a:pt x="337947" y="2033"/>
                  <a:pt x="341767" y="13145"/>
                </a:cubicBezTo>
                <a:cubicBezTo>
                  <a:pt x="346279" y="26268"/>
                  <a:pt x="349293" y="39746"/>
                  <a:pt x="347232" y="54621"/>
                </a:cubicBezTo>
                <a:cubicBezTo>
                  <a:pt x="232188" y="77697"/>
                  <a:pt x="116756" y="86979"/>
                  <a:pt x="0" y="75820"/>
                </a:cubicBezTo>
                <a:cubicBezTo>
                  <a:pt x="0" y="56279"/>
                  <a:pt x="0" y="38485"/>
                  <a:pt x="0" y="19396"/>
                </a:cubicBezTo>
                <a:cubicBezTo>
                  <a:pt x="45633" y="19126"/>
                  <a:pt x="90119" y="18862"/>
                  <a:pt x="135775" y="18580"/>
                </a:cubicBezTo>
                <a:close/>
              </a:path>
            </a:pathLst>
          </a:custGeom>
          <a:solidFill>
            <a:srgbClr val="FCFDFD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72" name="Free-form: Shape 371">
            <a:extLst>
              <a:ext uri="{FF2B5EF4-FFF2-40B4-BE49-F238E27FC236}">
                <a16:creationId xmlns:a16="http://schemas.microsoft.com/office/drawing/2014/main" id="{A849D167-4A49-4CFE-1D98-547CBA35FCF4}"/>
              </a:ext>
            </a:extLst>
          </p:cNvPr>
          <p:cNvSpPr/>
          <p:nvPr/>
        </p:nvSpPr>
        <p:spPr>
          <a:xfrm>
            <a:off x="10036889" y="4848454"/>
            <a:ext cx="122568" cy="31169"/>
          </a:xfrm>
          <a:custGeom>
            <a:avLst/>
            <a:gdLst>
              <a:gd name="csX0" fmla="*/ 68505 w 158754"/>
              <a:gd name="csY0" fmla="*/ 36702 h 36701"/>
              <a:gd name="csX1" fmla="*/ 1920 w 158754"/>
              <a:gd name="csY1" fmla="*/ 36699 h 36701"/>
              <a:gd name="csX2" fmla="*/ 0 w 158754"/>
              <a:gd name="csY2" fmla="*/ 1592 h 36701"/>
              <a:gd name="csX3" fmla="*/ 11189 w 158754"/>
              <a:gd name="csY3" fmla="*/ 718 h 36701"/>
              <a:gd name="csX4" fmla="*/ 110708 w 158754"/>
              <a:gd name="csY4" fmla="*/ 3 h 36701"/>
              <a:gd name="csX5" fmla="*/ 127993 w 158754"/>
              <a:gd name="csY5" fmla="*/ 4910 h 36701"/>
              <a:gd name="csX6" fmla="*/ 146608 w 158754"/>
              <a:gd name="csY6" fmla="*/ 16808 h 36701"/>
              <a:gd name="csX7" fmla="*/ 158755 w 158754"/>
              <a:gd name="csY7" fmla="*/ 34647 h 36701"/>
              <a:gd name="csX8" fmla="*/ 145911 w 158754"/>
              <a:gd name="csY8" fmla="*/ 36459 h 36701"/>
              <a:gd name="csX9" fmla="*/ 68505 w 158754"/>
              <a:gd name="csY9" fmla="*/ 36702 h 3670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158754" h="36701">
                <a:moveTo>
                  <a:pt x="68505" y="36702"/>
                </a:moveTo>
                <a:cubicBezTo>
                  <a:pt x="45664" y="36699"/>
                  <a:pt x="24052" y="36699"/>
                  <a:pt x="1920" y="36699"/>
                </a:cubicBezTo>
                <a:cubicBezTo>
                  <a:pt x="-935" y="24569"/>
                  <a:pt x="572" y="13631"/>
                  <a:pt x="0" y="1592"/>
                </a:cubicBezTo>
                <a:cubicBezTo>
                  <a:pt x="4169" y="1253"/>
                  <a:pt x="7677" y="744"/>
                  <a:pt x="11189" y="718"/>
                </a:cubicBezTo>
                <a:cubicBezTo>
                  <a:pt x="44362" y="468"/>
                  <a:pt x="77538" y="423"/>
                  <a:pt x="110708" y="3"/>
                </a:cubicBezTo>
                <a:cubicBezTo>
                  <a:pt x="117152" y="-78"/>
                  <a:pt x="122702" y="1282"/>
                  <a:pt x="127993" y="4910"/>
                </a:cubicBezTo>
                <a:cubicBezTo>
                  <a:pt x="134065" y="9072"/>
                  <a:pt x="140615" y="12545"/>
                  <a:pt x="146608" y="16808"/>
                </a:cubicBezTo>
                <a:cubicBezTo>
                  <a:pt x="152239" y="20814"/>
                  <a:pt x="157699" y="25259"/>
                  <a:pt x="158755" y="34647"/>
                </a:cubicBezTo>
                <a:cubicBezTo>
                  <a:pt x="154257" y="35310"/>
                  <a:pt x="150089" y="36424"/>
                  <a:pt x="145911" y="36459"/>
                </a:cubicBezTo>
                <a:cubicBezTo>
                  <a:pt x="120520" y="36677"/>
                  <a:pt x="95126" y="36650"/>
                  <a:pt x="68505" y="36702"/>
                </a:cubicBezTo>
                <a:close/>
              </a:path>
            </a:pathLst>
          </a:custGeom>
          <a:solidFill>
            <a:srgbClr val="FBFCFB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73" name="Free-form: Shape 372">
            <a:extLst>
              <a:ext uri="{FF2B5EF4-FFF2-40B4-BE49-F238E27FC236}">
                <a16:creationId xmlns:a16="http://schemas.microsoft.com/office/drawing/2014/main" id="{A3739D8E-4133-7534-4B23-319E92559DDB}"/>
              </a:ext>
            </a:extLst>
          </p:cNvPr>
          <p:cNvSpPr/>
          <p:nvPr/>
        </p:nvSpPr>
        <p:spPr>
          <a:xfrm>
            <a:off x="2614169" y="4575871"/>
            <a:ext cx="634942" cy="1266262"/>
          </a:xfrm>
          <a:custGeom>
            <a:avLst/>
            <a:gdLst>
              <a:gd name="csX0" fmla="*/ 703087 w 763849"/>
              <a:gd name="csY0" fmla="*/ 1241174 h 1523340"/>
              <a:gd name="csX1" fmla="*/ 732932 w 763849"/>
              <a:gd name="csY1" fmla="*/ 1359634 h 1523340"/>
              <a:gd name="csX2" fmla="*/ 735544 w 763849"/>
              <a:gd name="csY2" fmla="*/ 1377287 h 1523340"/>
              <a:gd name="csX3" fmla="*/ 756764 w 763849"/>
              <a:gd name="csY3" fmla="*/ 1458577 h 1523340"/>
              <a:gd name="csX4" fmla="*/ 757108 w 763849"/>
              <a:gd name="csY4" fmla="*/ 1465940 h 1523340"/>
              <a:gd name="csX5" fmla="*/ 744215 w 763849"/>
              <a:gd name="csY5" fmla="*/ 1488332 h 1523340"/>
              <a:gd name="csX6" fmla="*/ 712781 w 763849"/>
              <a:gd name="csY6" fmla="*/ 1498472 h 1523340"/>
              <a:gd name="csX7" fmla="*/ 625540 w 763849"/>
              <a:gd name="csY7" fmla="*/ 1511981 h 1523340"/>
              <a:gd name="csX8" fmla="*/ 488540 w 763849"/>
              <a:gd name="csY8" fmla="*/ 1522029 h 1523340"/>
              <a:gd name="csX9" fmla="*/ 306789 w 763849"/>
              <a:gd name="csY9" fmla="*/ 1523231 h 1523340"/>
              <a:gd name="csX10" fmla="*/ 200103 w 763849"/>
              <a:gd name="csY10" fmla="*/ 1518579 h 1523340"/>
              <a:gd name="csX11" fmla="*/ 31607 w 763849"/>
              <a:gd name="csY11" fmla="*/ 1493880 h 1523340"/>
              <a:gd name="csX12" fmla="*/ 5860 w 763849"/>
              <a:gd name="csY12" fmla="*/ 1482933 h 1523340"/>
              <a:gd name="csX13" fmla="*/ 32 w 763849"/>
              <a:gd name="csY13" fmla="*/ 1471774 h 1523340"/>
              <a:gd name="csX14" fmla="*/ 21295 w 763849"/>
              <a:gd name="csY14" fmla="*/ 1378237 h 1523340"/>
              <a:gd name="csX15" fmla="*/ 23169 w 763849"/>
              <a:gd name="csY15" fmla="*/ 1364271 h 1523340"/>
              <a:gd name="csX16" fmla="*/ 23871 w 763849"/>
              <a:gd name="csY16" fmla="*/ 1303132 h 1523340"/>
              <a:gd name="csX17" fmla="*/ 59740 w 763849"/>
              <a:gd name="csY17" fmla="*/ 1234649 h 1523340"/>
              <a:gd name="csX18" fmla="*/ 98899 w 763849"/>
              <a:gd name="csY18" fmla="*/ 1195619 h 1523340"/>
              <a:gd name="csX19" fmla="*/ 131493 w 763849"/>
              <a:gd name="csY19" fmla="*/ 1127593 h 1523340"/>
              <a:gd name="csX20" fmla="*/ 108213 w 763849"/>
              <a:gd name="csY20" fmla="*/ 1058723 h 1523340"/>
              <a:gd name="csX21" fmla="*/ 74370 w 763849"/>
              <a:gd name="csY21" fmla="*/ 1024929 h 1523340"/>
              <a:gd name="csX22" fmla="*/ 68137 w 763849"/>
              <a:gd name="csY22" fmla="*/ 987550 h 1523340"/>
              <a:gd name="csX23" fmla="*/ 86420 w 763849"/>
              <a:gd name="csY23" fmla="*/ 941991 h 1523340"/>
              <a:gd name="csX24" fmla="*/ 97082 w 763849"/>
              <a:gd name="csY24" fmla="*/ 828037 h 1523340"/>
              <a:gd name="csX25" fmla="*/ 61782 w 763849"/>
              <a:gd name="csY25" fmla="*/ 696973 h 1523340"/>
              <a:gd name="csX26" fmla="*/ 26901 w 763849"/>
              <a:gd name="csY26" fmla="*/ 547868 h 1523340"/>
              <a:gd name="csX27" fmla="*/ 20221 w 763849"/>
              <a:gd name="csY27" fmla="*/ 479529 h 1523340"/>
              <a:gd name="csX28" fmla="*/ 40808 w 763849"/>
              <a:gd name="csY28" fmla="*/ 334388 h 1523340"/>
              <a:gd name="csX29" fmla="*/ 65171 w 763849"/>
              <a:gd name="csY29" fmla="*/ 263707 h 1523340"/>
              <a:gd name="csX30" fmla="*/ 142827 w 763849"/>
              <a:gd name="csY30" fmla="*/ 171003 h 1523340"/>
              <a:gd name="csX31" fmla="*/ 172290 w 763849"/>
              <a:gd name="csY31" fmla="*/ 155872 h 1523340"/>
              <a:gd name="csX32" fmla="*/ 189008 w 763849"/>
              <a:gd name="csY32" fmla="*/ 148158 h 1523340"/>
              <a:gd name="csX33" fmla="*/ 212828 w 763849"/>
              <a:gd name="csY33" fmla="*/ 126123 h 1523340"/>
              <a:gd name="csX34" fmla="*/ 217217 w 763849"/>
              <a:gd name="csY34" fmla="*/ 118740 h 1523340"/>
              <a:gd name="csX35" fmla="*/ 253000 w 763849"/>
              <a:gd name="csY35" fmla="*/ 88998 h 1523340"/>
              <a:gd name="csX36" fmla="*/ 322085 w 763849"/>
              <a:gd name="csY36" fmla="*/ 72193 h 1523340"/>
              <a:gd name="csX37" fmla="*/ 330478 w 763849"/>
              <a:gd name="csY37" fmla="*/ 70387 h 1523340"/>
              <a:gd name="csX38" fmla="*/ 388016 w 763849"/>
              <a:gd name="csY38" fmla="*/ 35457 h 1523340"/>
              <a:gd name="csX39" fmla="*/ 421527 w 763849"/>
              <a:gd name="csY39" fmla="*/ 0 h 1523340"/>
              <a:gd name="csX40" fmla="*/ 424538 w 763849"/>
              <a:gd name="csY40" fmla="*/ 10833 h 1523340"/>
              <a:gd name="csX41" fmla="*/ 436339 w 763849"/>
              <a:gd name="csY41" fmla="*/ 121836 h 1523340"/>
              <a:gd name="csX42" fmla="*/ 449983 w 763849"/>
              <a:gd name="csY42" fmla="*/ 141450 h 1523340"/>
              <a:gd name="csX43" fmla="*/ 503299 w 763849"/>
              <a:gd name="csY43" fmla="*/ 169290 h 1523340"/>
              <a:gd name="csX44" fmla="*/ 551461 w 763849"/>
              <a:gd name="csY44" fmla="*/ 203111 h 1523340"/>
              <a:gd name="csX45" fmla="*/ 588803 w 763849"/>
              <a:gd name="csY45" fmla="*/ 252797 h 1523340"/>
              <a:gd name="csX46" fmla="*/ 634209 w 763849"/>
              <a:gd name="csY46" fmla="*/ 327081 h 1523340"/>
              <a:gd name="csX47" fmla="*/ 697923 w 763849"/>
              <a:gd name="csY47" fmla="*/ 384157 h 1523340"/>
              <a:gd name="csX48" fmla="*/ 729658 w 763849"/>
              <a:gd name="csY48" fmla="*/ 407288 h 1523340"/>
              <a:gd name="csX49" fmla="*/ 763354 w 763849"/>
              <a:gd name="csY49" fmla="*/ 471325 h 1523340"/>
              <a:gd name="csX50" fmla="*/ 757092 w 763849"/>
              <a:gd name="csY50" fmla="*/ 527116 h 1523340"/>
              <a:gd name="csX51" fmla="*/ 720673 w 763849"/>
              <a:gd name="csY51" fmla="*/ 570023 h 1523340"/>
              <a:gd name="csX52" fmla="*/ 704918 w 763849"/>
              <a:gd name="csY52" fmla="*/ 581294 h 1523340"/>
              <a:gd name="csX53" fmla="*/ 671960 w 763849"/>
              <a:gd name="csY53" fmla="*/ 595325 h 1523340"/>
              <a:gd name="csX54" fmla="*/ 633021 w 763849"/>
              <a:gd name="csY54" fmla="*/ 591397 h 1523340"/>
              <a:gd name="csX55" fmla="*/ 580696 w 763849"/>
              <a:gd name="csY55" fmla="*/ 556742 h 1523340"/>
              <a:gd name="csX56" fmla="*/ 545415 w 763849"/>
              <a:gd name="csY56" fmla="*/ 524617 h 1523340"/>
              <a:gd name="csX57" fmla="*/ 518889 w 763849"/>
              <a:gd name="csY57" fmla="*/ 516179 h 1523340"/>
              <a:gd name="csX58" fmla="*/ 472309 w 763849"/>
              <a:gd name="csY58" fmla="*/ 517812 h 1523340"/>
              <a:gd name="csX59" fmla="*/ 415953 w 763849"/>
              <a:gd name="csY59" fmla="*/ 517245 h 1523340"/>
              <a:gd name="csX60" fmla="*/ 403392 w 763849"/>
              <a:gd name="csY60" fmla="*/ 516539 h 1523340"/>
              <a:gd name="csX61" fmla="*/ 407957 w 763849"/>
              <a:gd name="csY61" fmla="*/ 542045 h 1523340"/>
              <a:gd name="csX62" fmla="*/ 434134 w 763849"/>
              <a:gd name="csY62" fmla="*/ 583349 h 1523340"/>
              <a:gd name="csX63" fmla="*/ 524267 w 763849"/>
              <a:gd name="csY63" fmla="*/ 683922 h 1523340"/>
              <a:gd name="csX64" fmla="*/ 614317 w 763849"/>
              <a:gd name="csY64" fmla="*/ 786085 h 1523340"/>
              <a:gd name="csX65" fmla="*/ 669590 w 763849"/>
              <a:gd name="csY65" fmla="*/ 921089 h 1523340"/>
              <a:gd name="csX66" fmla="*/ 647360 w 763849"/>
              <a:gd name="csY66" fmla="*/ 1057245 h 1523340"/>
              <a:gd name="csX67" fmla="*/ 627872 w 763849"/>
              <a:gd name="csY67" fmla="*/ 1102111 h 1523340"/>
              <a:gd name="csX68" fmla="*/ 642300 w 763849"/>
              <a:gd name="csY68" fmla="*/ 1175941 h 1523340"/>
              <a:gd name="csX69" fmla="*/ 668829 w 763849"/>
              <a:gd name="csY69" fmla="*/ 1206449 h 1523340"/>
              <a:gd name="csX70" fmla="*/ 703087 w 763849"/>
              <a:gd name="csY70" fmla="*/ 1241174 h 1523340"/>
              <a:gd name="csX71" fmla="*/ 648750 w 763849"/>
              <a:gd name="csY71" fmla="*/ 562343 h 1523340"/>
              <a:gd name="csX72" fmla="*/ 674049 w 763849"/>
              <a:gd name="csY72" fmla="*/ 562834 h 1523340"/>
              <a:gd name="csX73" fmla="*/ 660781 w 763849"/>
              <a:gd name="csY73" fmla="*/ 550178 h 1523340"/>
              <a:gd name="csX74" fmla="*/ 650911 w 763849"/>
              <a:gd name="csY74" fmla="*/ 534051 h 1523340"/>
              <a:gd name="csX75" fmla="*/ 660724 w 763849"/>
              <a:gd name="csY75" fmla="*/ 537605 h 1523340"/>
              <a:gd name="csX76" fmla="*/ 688133 w 763849"/>
              <a:gd name="csY76" fmla="*/ 543363 h 1523340"/>
              <a:gd name="csX77" fmla="*/ 731514 w 763849"/>
              <a:gd name="csY77" fmla="*/ 510767 h 1523340"/>
              <a:gd name="csX78" fmla="*/ 733611 w 763849"/>
              <a:gd name="csY78" fmla="*/ 466905 h 1523340"/>
              <a:gd name="csX79" fmla="*/ 708076 w 763849"/>
              <a:gd name="csY79" fmla="*/ 425975 h 1523340"/>
              <a:gd name="csX80" fmla="*/ 667538 w 763849"/>
              <a:gd name="csY80" fmla="*/ 398254 h 1523340"/>
              <a:gd name="csX81" fmla="*/ 601016 w 763849"/>
              <a:gd name="csY81" fmla="*/ 332127 h 1523340"/>
              <a:gd name="csX82" fmla="*/ 565354 w 763849"/>
              <a:gd name="csY82" fmla="*/ 270526 h 1523340"/>
              <a:gd name="csX83" fmla="*/ 490657 w 763849"/>
              <a:gd name="csY83" fmla="*/ 195121 h 1523340"/>
              <a:gd name="csX84" fmla="*/ 432834 w 763849"/>
              <a:gd name="csY84" fmla="*/ 165243 h 1523340"/>
              <a:gd name="csX85" fmla="*/ 407594 w 763849"/>
              <a:gd name="csY85" fmla="*/ 127852 h 1523340"/>
              <a:gd name="csX86" fmla="*/ 405020 w 763849"/>
              <a:gd name="csY86" fmla="*/ 69029 h 1523340"/>
              <a:gd name="csX87" fmla="*/ 403638 w 763849"/>
              <a:gd name="csY87" fmla="*/ 58130 h 1523340"/>
              <a:gd name="csX88" fmla="*/ 349776 w 763849"/>
              <a:gd name="csY88" fmla="*/ 133259 h 1523340"/>
              <a:gd name="csX89" fmla="*/ 326975 w 763849"/>
              <a:gd name="csY89" fmla="*/ 159669 h 1523340"/>
              <a:gd name="csX90" fmla="*/ 240374 w 763849"/>
              <a:gd name="csY90" fmla="*/ 221714 h 1523340"/>
              <a:gd name="csX91" fmla="*/ 171637 w 763849"/>
              <a:gd name="csY91" fmla="*/ 309087 h 1523340"/>
              <a:gd name="csX92" fmla="*/ 138048 w 763849"/>
              <a:gd name="csY92" fmla="*/ 516954 h 1523340"/>
              <a:gd name="csX93" fmla="*/ 163889 w 763849"/>
              <a:gd name="csY93" fmla="*/ 641780 h 1523340"/>
              <a:gd name="csX94" fmla="*/ 204800 w 763849"/>
              <a:gd name="csY94" fmla="*/ 787055 h 1523340"/>
              <a:gd name="csX95" fmla="*/ 218549 w 763849"/>
              <a:gd name="csY95" fmla="*/ 949545 h 1523340"/>
              <a:gd name="csX96" fmla="*/ 191487 w 763849"/>
              <a:gd name="csY96" fmla="*/ 1033064 h 1523340"/>
              <a:gd name="csX97" fmla="*/ 188729 w 763849"/>
              <a:gd name="csY97" fmla="*/ 1039835 h 1523340"/>
              <a:gd name="csX98" fmla="*/ 221417 w 763849"/>
              <a:gd name="csY98" fmla="*/ 1040799 h 1523340"/>
              <a:gd name="csX99" fmla="*/ 348895 w 763849"/>
              <a:gd name="csY99" fmla="*/ 1046759 h 1523340"/>
              <a:gd name="csX100" fmla="*/ 545369 w 763849"/>
              <a:gd name="csY100" fmla="*/ 1044456 h 1523340"/>
              <a:gd name="csX101" fmla="*/ 612424 w 763849"/>
              <a:gd name="csY101" fmla="*/ 1037365 h 1523340"/>
              <a:gd name="csX102" fmla="*/ 623169 w 763849"/>
              <a:gd name="csY102" fmla="*/ 1028873 h 1523340"/>
              <a:gd name="csX103" fmla="*/ 638508 w 763849"/>
              <a:gd name="csY103" fmla="*/ 959599 h 1523340"/>
              <a:gd name="csX104" fmla="*/ 609213 w 763849"/>
              <a:gd name="csY104" fmla="*/ 842075 h 1523340"/>
              <a:gd name="csX105" fmla="*/ 529367 w 763849"/>
              <a:gd name="csY105" fmla="*/ 735065 h 1523340"/>
              <a:gd name="csX106" fmla="*/ 403792 w 763849"/>
              <a:gd name="csY106" fmla="*/ 596993 h 1523340"/>
              <a:gd name="csX107" fmla="*/ 344708 w 763849"/>
              <a:gd name="csY107" fmla="*/ 511366 h 1523340"/>
              <a:gd name="csX108" fmla="*/ 324464 w 763849"/>
              <a:gd name="csY108" fmla="*/ 380084 h 1523340"/>
              <a:gd name="csX109" fmla="*/ 327688 w 763849"/>
              <a:gd name="csY109" fmla="*/ 373535 h 1523340"/>
              <a:gd name="csX110" fmla="*/ 330334 w 763849"/>
              <a:gd name="csY110" fmla="*/ 373641 h 1523340"/>
              <a:gd name="csX111" fmla="*/ 334272 w 763849"/>
              <a:gd name="csY111" fmla="*/ 384645 h 1523340"/>
              <a:gd name="csX112" fmla="*/ 365260 w 763849"/>
              <a:gd name="csY112" fmla="*/ 453955 h 1523340"/>
              <a:gd name="csX113" fmla="*/ 408246 w 763849"/>
              <a:gd name="csY113" fmla="*/ 483592 h 1523340"/>
              <a:gd name="csX114" fmla="*/ 464529 w 763849"/>
              <a:gd name="csY114" fmla="*/ 486187 h 1523340"/>
              <a:gd name="csX115" fmla="*/ 511119 w 763849"/>
              <a:gd name="csY115" fmla="*/ 484308 h 1523340"/>
              <a:gd name="csX116" fmla="*/ 567913 w 763849"/>
              <a:gd name="csY116" fmla="*/ 503736 h 1523340"/>
              <a:gd name="csX117" fmla="*/ 607611 w 763849"/>
              <a:gd name="csY117" fmla="*/ 540326 h 1523340"/>
              <a:gd name="csX118" fmla="*/ 648750 w 763849"/>
              <a:gd name="csY118" fmla="*/ 562343 h 1523340"/>
              <a:gd name="csX119" fmla="*/ 462594 w 763849"/>
              <a:gd name="csY119" fmla="*/ 1369008 h 1523340"/>
              <a:gd name="csX120" fmla="*/ 510357 w 763849"/>
              <a:gd name="csY120" fmla="*/ 1366345 h 1523340"/>
              <a:gd name="csX121" fmla="*/ 549434 w 763849"/>
              <a:gd name="csY121" fmla="*/ 1362956 h 1523340"/>
              <a:gd name="csX122" fmla="*/ 632369 w 763849"/>
              <a:gd name="csY122" fmla="*/ 1354439 h 1523340"/>
              <a:gd name="csX123" fmla="*/ 697252 w 763849"/>
              <a:gd name="csY123" fmla="*/ 1346424 h 1523340"/>
              <a:gd name="csX124" fmla="*/ 676674 w 763849"/>
              <a:gd name="csY124" fmla="*/ 1266396 h 1523340"/>
              <a:gd name="csX125" fmla="*/ 646594 w 763849"/>
              <a:gd name="csY125" fmla="*/ 1234108 h 1523340"/>
              <a:gd name="csX126" fmla="*/ 612063 w 763849"/>
              <a:gd name="csY126" fmla="*/ 1194382 h 1523340"/>
              <a:gd name="csX127" fmla="*/ 591616 w 763849"/>
              <a:gd name="csY127" fmla="*/ 1111541 h 1523340"/>
              <a:gd name="csX128" fmla="*/ 594320 w 763849"/>
              <a:gd name="csY128" fmla="*/ 1089609 h 1523340"/>
              <a:gd name="csX129" fmla="*/ 578634 w 763849"/>
              <a:gd name="csY129" fmla="*/ 1089642 h 1523340"/>
              <a:gd name="csX130" fmla="*/ 443931 w 763849"/>
              <a:gd name="csY130" fmla="*/ 1096700 h 1523340"/>
              <a:gd name="csX131" fmla="*/ 403417 w 763849"/>
              <a:gd name="csY131" fmla="*/ 1097156 h 1523340"/>
              <a:gd name="csX132" fmla="*/ 388348 w 763849"/>
              <a:gd name="csY132" fmla="*/ 1111502 h 1523340"/>
              <a:gd name="csX133" fmla="*/ 385048 w 763849"/>
              <a:gd name="csY133" fmla="*/ 1176431 h 1523340"/>
              <a:gd name="csX134" fmla="*/ 377687 w 763849"/>
              <a:gd name="csY134" fmla="*/ 1308672 h 1523340"/>
              <a:gd name="csX135" fmla="*/ 376823 w 763849"/>
              <a:gd name="csY135" fmla="*/ 1320897 h 1523340"/>
              <a:gd name="csX136" fmla="*/ 376781 w 763849"/>
              <a:gd name="csY136" fmla="*/ 1366151 h 1523340"/>
              <a:gd name="csX137" fmla="*/ 462594 w 763849"/>
              <a:gd name="csY137" fmla="*/ 1369008 h 1523340"/>
              <a:gd name="csX138" fmla="*/ 648494 w 763849"/>
              <a:gd name="csY138" fmla="*/ 1463981 h 1523340"/>
              <a:gd name="csX139" fmla="*/ 718746 w 763849"/>
              <a:gd name="csY139" fmla="*/ 1451892 h 1523340"/>
              <a:gd name="csX140" fmla="*/ 711827 w 763849"/>
              <a:gd name="csY140" fmla="*/ 1416835 h 1523340"/>
              <a:gd name="csX141" fmla="*/ 685812 w 763849"/>
              <a:gd name="csY141" fmla="*/ 1398502 h 1523340"/>
              <a:gd name="csX142" fmla="*/ 680924 w 763849"/>
              <a:gd name="csY142" fmla="*/ 1398973 h 1523340"/>
              <a:gd name="csX143" fmla="*/ 598278 w 763849"/>
              <a:gd name="csY143" fmla="*/ 1409218 h 1523340"/>
              <a:gd name="csX144" fmla="*/ 474765 w 763849"/>
              <a:gd name="csY144" fmla="*/ 1417945 h 1523340"/>
              <a:gd name="csX145" fmla="*/ 385143 w 763849"/>
              <a:gd name="csY145" fmla="*/ 1418978 h 1523340"/>
              <a:gd name="csX146" fmla="*/ 376639 w 763849"/>
              <a:gd name="csY146" fmla="*/ 1419613 h 1523340"/>
              <a:gd name="csX147" fmla="*/ 376639 w 763849"/>
              <a:gd name="csY147" fmla="*/ 1473939 h 1523340"/>
              <a:gd name="csX148" fmla="*/ 382089 w 763849"/>
              <a:gd name="csY148" fmla="*/ 1474854 h 1523340"/>
              <a:gd name="csX149" fmla="*/ 449536 w 763849"/>
              <a:gd name="csY149" fmla="*/ 1476855 h 1523340"/>
              <a:gd name="csX150" fmla="*/ 559930 w 763849"/>
              <a:gd name="csY150" fmla="*/ 1474307 h 1523340"/>
              <a:gd name="csX151" fmla="*/ 648494 w 763849"/>
              <a:gd name="csY151" fmla="*/ 1463981 h 152334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</a:cxnLst>
            <a:rect l="l" t="t" r="r" b="b"/>
            <a:pathLst>
              <a:path w="763849" h="1523340">
                <a:moveTo>
                  <a:pt x="703087" y="1241174"/>
                </a:moveTo>
                <a:cubicBezTo>
                  <a:pt x="732418" y="1276379"/>
                  <a:pt x="738825" y="1316526"/>
                  <a:pt x="732932" y="1359634"/>
                </a:cubicBezTo>
                <a:cubicBezTo>
                  <a:pt x="732067" y="1365959"/>
                  <a:pt x="732453" y="1371428"/>
                  <a:pt x="735544" y="1377287"/>
                </a:cubicBezTo>
                <a:cubicBezTo>
                  <a:pt x="748937" y="1402675"/>
                  <a:pt x="755318" y="1430010"/>
                  <a:pt x="756764" y="1458577"/>
                </a:cubicBezTo>
                <a:cubicBezTo>
                  <a:pt x="756887" y="1461031"/>
                  <a:pt x="756895" y="1463494"/>
                  <a:pt x="757108" y="1465940"/>
                </a:cubicBezTo>
                <a:cubicBezTo>
                  <a:pt x="758375" y="1480486"/>
                  <a:pt x="757802" y="1482498"/>
                  <a:pt x="744215" y="1488332"/>
                </a:cubicBezTo>
                <a:cubicBezTo>
                  <a:pt x="734126" y="1492664"/>
                  <a:pt x="723536" y="1496562"/>
                  <a:pt x="712781" y="1498472"/>
                </a:cubicBezTo>
                <a:cubicBezTo>
                  <a:pt x="683814" y="1503617"/>
                  <a:pt x="654674" y="1507832"/>
                  <a:pt x="625540" y="1511981"/>
                </a:cubicBezTo>
                <a:cubicBezTo>
                  <a:pt x="580114" y="1518449"/>
                  <a:pt x="534395" y="1521481"/>
                  <a:pt x="488540" y="1522029"/>
                </a:cubicBezTo>
                <a:cubicBezTo>
                  <a:pt x="427958" y="1522752"/>
                  <a:pt x="367367" y="1523658"/>
                  <a:pt x="306789" y="1523231"/>
                </a:cubicBezTo>
                <a:cubicBezTo>
                  <a:pt x="271215" y="1522980"/>
                  <a:pt x="235625" y="1520833"/>
                  <a:pt x="200103" y="1518579"/>
                </a:cubicBezTo>
                <a:cubicBezTo>
                  <a:pt x="143289" y="1514974"/>
                  <a:pt x="86915" y="1507766"/>
                  <a:pt x="31607" y="1493880"/>
                </a:cubicBezTo>
                <a:cubicBezTo>
                  <a:pt x="22666" y="1491635"/>
                  <a:pt x="14297" y="1486920"/>
                  <a:pt x="5860" y="1482933"/>
                </a:cubicBezTo>
                <a:cubicBezTo>
                  <a:pt x="1433" y="1480841"/>
                  <a:pt x="-262" y="1476934"/>
                  <a:pt x="32" y="1471774"/>
                </a:cubicBezTo>
                <a:cubicBezTo>
                  <a:pt x="1880" y="1439401"/>
                  <a:pt x="3993" y="1407192"/>
                  <a:pt x="21295" y="1378237"/>
                </a:cubicBezTo>
                <a:cubicBezTo>
                  <a:pt x="23526" y="1374504"/>
                  <a:pt x="23666" y="1368858"/>
                  <a:pt x="23169" y="1364271"/>
                </a:cubicBezTo>
                <a:cubicBezTo>
                  <a:pt x="20957" y="1343833"/>
                  <a:pt x="20482" y="1323540"/>
                  <a:pt x="23871" y="1303132"/>
                </a:cubicBezTo>
                <a:cubicBezTo>
                  <a:pt x="28332" y="1276267"/>
                  <a:pt x="41045" y="1253887"/>
                  <a:pt x="59740" y="1234649"/>
                </a:cubicBezTo>
                <a:cubicBezTo>
                  <a:pt x="72582" y="1221434"/>
                  <a:pt x="85657" y="1208434"/>
                  <a:pt x="98899" y="1195619"/>
                </a:cubicBezTo>
                <a:cubicBezTo>
                  <a:pt x="118216" y="1176926"/>
                  <a:pt x="130484" y="1154702"/>
                  <a:pt x="131493" y="1127593"/>
                </a:cubicBezTo>
                <a:cubicBezTo>
                  <a:pt x="132448" y="1101948"/>
                  <a:pt x="127125" y="1077868"/>
                  <a:pt x="108213" y="1058723"/>
                </a:cubicBezTo>
                <a:cubicBezTo>
                  <a:pt x="97010" y="1047381"/>
                  <a:pt x="85438" y="1036399"/>
                  <a:pt x="74370" y="1024929"/>
                </a:cubicBezTo>
                <a:cubicBezTo>
                  <a:pt x="63868" y="1014043"/>
                  <a:pt x="62267" y="1001475"/>
                  <a:pt x="68137" y="987550"/>
                </a:cubicBezTo>
                <a:cubicBezTo>
                  <a:pt x="74493" y="972473"/>
                  <a:pt x="80703" y="957319"/>
                  <a:pt x="86420" y="941991"/>
                </a:cubicBezTo>
                <a:cubicBezTo>
                  <a:pt x="100218" y="905001"/>
                  <a:pt x="99441" y="866690"/>
                  <a:pt x="97082" y="828037"/>
                </a:cubicBezTo>
                <a:cubicBezTo>
                  <a:pt x="94260" y="781809"/>
                  <a:pt x="76370" y="739899"/>
                  <a:pt x="61782" y="696973"/>
                </a:cubicBezTo>
                <a:cubicBezTo>
                  <a:pt x="45282" y="648419"/>
                  <a:pt x="33285" y="598770"/>
                  <a:pt x="26901" y="547868"/>
                </a:cubicBezTo>
                <a:cubicBezTo>
                  <a:pt x="24054" y="525160"/>
                  <a:pt x="21110" y="502364"/>
                  <a:pt x="20221" y="479529"/>
                </a:cubicBezTo>
                <a:cubicBezTo>
                  <a:pt x="18293" y="430013"/>
                  <a:pt x="26126" y="381610"/>
                  <a:pt x="40808" y="334388"/>
                </a:cubicBezTo>
                <a:cubicBezTo>
                  <a:pt x="48208" y="310588"/>
                  <a:pt x="55162" y="286441"/>
                  <a:pt x="65171" y="263707"/>
                </a:cubicBezTo>
                <a:cubicBezTo>
                  <a:pt x="81946" y="225606"/>
                  <a:pt x="106517" y="193071"/>
                  <a:pt x="142827" y="171003"/>
                </a:cubicBezTo>
                <a:cubicBezTo>
                  <a:pt x="152238" y="165283"/>
                  <a:pt x="162401" y="160787"/>
                  <a:pt x="172290" y="155872"/>
                </a:cubicBezTo>
                <a:cubicBezTo>
                  <a:pt x="177784" y="153142"/>
                  <a:pt x="183393" y="150635"/>
                  <a:pt x="189008" y="148158"/>
                </a:cubicBezTo>
                <a:cubicBezTo>
                  <a:pt x="199487" y="143534"/>
                  <a:pt x="207598" y="136426"/>
                  <a:pt x="212828" y="126123"/>
                </a:cubicBezTo>
                <a:cubicBezTo>
                  <a:pt x="214121" y="123575"/>
                  <a:pt x="215966" y="121304"/>
                  <a:pt x="217217" y="118740"/>
                </a:cubicBezTo>
                <a:cubicBezTo>
                  <a:pt x="224688" y="103433"/>
                  <a:pt x="237053" y="93440"/>
                  <a:pt x="253000" y="88998"/>
                </a:cubicBezTo>
                <a:cubicBezTo>
                  <a:pt x="275818" y="82642"/>
                  <a:pt x="299033" y="77711"/>
                  <a:pt x="322085" y="72193"/>
                </a:cubicBezTo>
                <a:cubicBezTo>
                  <a:pt x="324867" y="71527"/>
                  <a:pt x="327694" y="71045"/>
                  <a:pt x="330478" y="70387"/>
                </a:cubicBezTo>
                <a:cubicBezTo>
                  <a:pt x="364731" y="62297"/>
                  <a:pt x="364569" y="62151"/>
                  <a:pt x="388016" y="35457"/>
                </a:cubicBezTo>
                <a:cubicBezTo>
                  <a:pt x="398189" y="23875"/>
                  <a:pt x="409180" y="13010"/>
                  <a:pt x="421527" y="0"/>
                </a:cubicBezTo>
                <a:cubicBezTo>
                  <a:pt x="423000" y="5190"/>
                  <a:pt x="424219" y="7961"/>
                  <a:pt x="424538" y="10833"/>
                </a:cubicBezTo>
                <a:cubicBezTo>
                  <a:pt x="428638" y="47817"/>
                  <a:pt x="433030" y="84779"/>
                  <a:pt x="436339" y="121836"/>
                </a:cubicBezTo>
                <a:cubicBezTo>
                  <a:pt x="437236" y="131893"/>
                  <a:pt x="441545" y="137271"/>
                  <a:pt x="449983" y="141450"/>
                </a:cubicBezTo>
                <a:cubicBezTo>
                  <a:pt x="467954" y="150348"/>
                  <a:pt x="486187" y="158915"/>
                  <a:pt x="503299" y="169290"/>
                </a:cubicBezTo>
                <a:cubicBezTo>
                  <a:pt x="520041" y="179441"/>
                  <a:pt x="535883" y="191197"/>
                  <a:pt x="551461" y="203111"/>
                </a:cubicBezTo>
                <a:cubicBezTo>
                  <a:pt x="568416" y="216079"/>
                  <a:pt x="579195" y="234146"/>
                  <a:pt x="588803" y="252797"/>
                </a:cubicBezTo>
                <a:cubicBezTo>
                  <a:pt x="602134" y="278677"/>
                  <a:pt x="616556" y="303835"/>
                  <a:pt x="634209" y="327081"/>
                </a:cubicBezTo>
                <a:cubicBezTo>
                  <a:pt x="651797" y="350241"/>
                  <a:pt x="673980" y="368103"/>
                  <a:pt x="697923" y="384157"/>
                </a:cubicBezTo>
                <a:cubicBezTo>
                  <a:pt x="708787" y="391441"/>
                  <a:pt x="719007" y="399678"/>
                  <a:pt x="729658" y="407288"/>
                </a:cubicBezTo>
                <a:cubicBezTo>
                  <a:pt x="751657" y="423004"/>
                  <a:pt x="761259" y="445265"/>
                  <a:pt x="763354" y="471325"/>
                </a:cubicBezTo>
                <a:cubicBezTo>
                  <a:pt x="764877" y="490275"/>
                  <a:pt x="762919" y="509064"/>
                  <a:pt x="757092" y="527116"/>
                </a:cubicBezTo>
                <a:cubicBezTo>
                  <a:pt x="750932" y="546198"/>
                  <a:pt x="738296" y="560266"/>
                  <a:pt x="720673" y="570023"/>
                </a:cubicBezTo>
                <a:cubicBezTo>
                  <a:pt x="715048" y="573138"/>
                  <a:pt x="709487" y="576825"/>
                  <a:pt x="704918" y="581294"/>
                </a:cubicBezTo>
                <a:cubicBezTo>
                  <a:pt x="695625" y="590383"/>
                  <a:pt x="684728" y="595697"/>
                  <a:pt x="671960" y="595325"/>
                </a:cubicBezTo>
                <a:cubicBezTo>
                  <a:pt x="658939" y="594945"/>
                  <a:pt x="645743" y="594018"/>
                  <a:pt x="633021" y="591397"/>
                </a:cubicBezTo>
                <a:cubicBezTo>
                  <a:pt x="611233" y="586907"/>
                  <a:pt x="595034" y="572939"/>
                  <a:pt x="580696" y="556742"/>
                </a:cubicBezTo>
                <a:cubicBezTo>
                  <a:pt x="570081" y="544750"/>
                  <a:pt x="559052" y="533306"/>
                  <a:pt x="545415" y="524617"/>
                </a:cubicBezTo>
                <a:cubicBezTo>
                  <a:pt x="537261" y="519422"/>
                  <a:pt x="528551" y="515996"/>
                  <a:pt x="518889" y="516179"/>
                </a:cubicBezTo>
                <a:cubicBezTo>
                  <a:pt x="503357" y="516473"/>
                  <a:pt x="487839" y="517663"/>
                  <a:pt x="472309" y="517812"/>
                </a:cubicBezTo>
                <a:cubicBezTo>
                  <a:pt x="453527" y="517993"/>
                  <a:pt x="434738" y="517514"/>
                  <a:pt x="415953" y="517245"/>
                </a:cubicBezTo>
                <a:cubicBezTo>
                  <a:pt x="411976" y="517189"/>
                  <a:pt x="408003" y="516808"/>
                  <a:pt x="403392" y="516539"/>
                </a:cubicBezTo>
                <a:cubicBezTo>
                  <a:pt x="401207" y="526363"/>
                  <a:pt x="404857" y="534293"/>
                  <a:pt x="407957" y="542045"/>
                </a:cubicBezTo>
                <a:cubicBezTo>
                  <a:pt x="414092" y="557387"/>
                  <a:pt x="423168" y="571042"/>
                  <a:pt x="434134" y="583349"/>
                </a:cubicBezTo>
                <a:cubicBezTo>
                  <a:pt x="464083" y="616959"/>
                  <a:pt x="493980" y="650618"/>
                  <a:pt x="524267" y="683922"/>
                </a:cubicBezTo>
                <a:cubicBezTo>
                  <a:pt x="554818" y="717518"/>
                  <a:pt x="588291" y="748619"/>
                  <a:pt x="614317" y="786085"/>
                </a:cubicBezTo>
                <a:cubicBezTo>
                  <a:pt x="642656" y="826881"/>
                  <a:pt x="663974" y="871159"/>
                  <a:pt x="669590" y="921089"/>
                </a:cubicBezTo>
                <a:cubicBezTo>
                  <a:pt x="674894" y="968240"/>
                  <a:pt x="669774" y="1014226"/>
                  <a:pt x="647360" y="1057245"/>
                </a:cubicBezTo>
                <a:cubicBezTo>
                  <a:pt x="639830" y="1071697"/>
                  <a:pt x="630533" y="1085565"/>
                  <a:pt x="627872" y="1102111"/>
                </a:cubicBezTo>
                <a:cubicBezTo>
                  <a:pt x="623640" y="1128439"/>
                  <a:pt x="626183" y="1153784"/>
                  <a:pt x="642300" y="1175941"/>
                </a:cubicBezTo>
                <a:cubicBezTo>
                  <a:pt x="650201" y="1186801"/>
                  <a:pt x="659595" y="1196636"/>
                  <a:pt x="668829" y="1206449"/>
                </a:cubicBezTo>
                <a:cubicBezTo>
                  <a:pt x="679770" y="1218075"/>
                  <a:pt x="691267" y="1229177"/>
                  <a:pt x="703087" y="1241174"/>
                </a:cubicBezTo>
                <a:moveTo>
                  <a:pt x="648750" y="562343"/>
                </a:moveTo>
                <a:cubicBezTo>
                  <a:pt x="656729" y="562558"/>
                  <a:pt x="664698" y="567407"/>
                  <a:pt x="674049" y="562834"/>
                </a:cubicBezTo>
                <a:cubicBezTo>
                  <a:pt x="668990" y="558037"/>
                  <a:pt x="664729" y="554259"/>
                  <a:pt x="660781" y="550178"/>
                </a:cubicBezTo>
                <a:cubicBezTo>
                  <a:pt x="656713" y="545973"/>
                  <a:pt x="651493" y="542363"/>
                  <a:pt x="650911" y="534051"/>
                </a:cubicBezTo>
                <a:cubicBezTo>
                  <a:pt x="654940" y="535536"/>
                  <a:pt x="657753" y="536907"/>
                  <a:pt x="660724" y="537605"/>
                </a:cubicBezTo>
                <a:cubicBezTo>
                  <a:pt x="669824" y="539743"/>
                  <a:pt x="678915" y="542853"/>
                  <a:pt x="688133" y="543363"/>
                </a:cubicBezTo>
                <a:cubicBezTo>
                  <a:pt x="712019" y="544686"/>
                  <a:pt x="726964" y="534053"/>
                  <a:pt x="731514" y="510767"/>
                </a:cubicBezTo>
                <a:cubicBezTo>
                  <a:pt x="734296" y="496535"/>
                  <a:pt x="734146" y="481511"/>
                  <a:pt x="733611" y="466905"/>
                </a:cubicBezTo>
                <a:cubicBezTo>
                  <a:pt x="732951" y="448863"/>
                  <a:pt x="723348" y="435653"/>
                  <a:pt x="708076" y="425975"/>
                </a:cubicBezTo>
                <a:cubicBezTo>
                  <a:pt x="694258" y="417218"/>
                  <a:pt x="681056" y="407489"/>
                  <a:pt x="667538" y="398254"/>
                </a:cubicBezTo>
                <a:cubicBezTo>
                  <a:pt x="641278" y="380314"/>
                  <a:pt x="617580" y="359743"/>
                  <a:pt x="601016" y="332127"/>
                </a:cubicBezTo>
                <a:cubicBezTo>
                  <a:pt x="588810" y="311778"/>
                  <a:pt x="576093" y="291645"/>
                  <a:pt x="565354" y="270526"/>
                </a:cubicBezTo>
                <a:cubicBezTo>
                  <a:pt x="548401" y="237186"/>
                  <a:pt x="523821" y="212104"/>
                  <a:pt x="490657" y="195121"/>
                </a:cubicBezTo>
                <a:cubicBezTo>
                  <a:pt x="471346" y="185231"/>
                  <a:pt x="452394" y="174606"/>
                  <a:pt x="432834" y="165243"/>
                </a:cubicBezTo>
                <a:cubicBezTo>
                  <a:pt x="416725" y="157532"/>
                  <a:pt x="408325" y="145526"/>
                  <a:pt x="407594" y="127852"/>
                </a:cubicBezTo>
                <a:cubicBezTo>
                  <a:pt x="406783" y="108242"/>
                  <a:pt x="405935" y="88634"/>
                  <a:pt x="405020" y="69029"/>
                </a:cubicBezTo>
                <a:cubicBezTo>
                  <a:pt x="404882" y="66067"/>
                  <a:pt x="404287" y="63127"/>
                  <a:pt x="403638" y="58130"/>
                </a:cubicBezTo>
                <a:cubicBezTo>
                  <a:pt x="381792" y="82321"/>
                  <a:pt x="361650" y="104820"/>
                  <a:pt x="349776" y="133259"/>
                </a:cubicBezTo>
                <a:cubicBezTo>
                  <a:pt x="345032" y="144621"/>
                  <a:pt x="337822" y="153814"/>
                  <a:pt x="326975" y="159669"/>
                </a:cubicBezTo>
                <a:cubicBezTo>
                  <a:pt x="295461" y="176681"/>
                  <a:pt x="266610" y="197333"/>
                  <a:pt x="240374" y="221714"/>
                </a:cubicBezTo>
                <a:cubicBezTo>
                  <a:pt x="212881" y="247263"/>
                  <a:pt x="188313" y="275340"/>
                  <a:pt x="171637" y="309087"/>
                </a:cubicBezTo>
                <a:cubicBezTo>
                  <a:pt x="139180" y="374765"/>
                  <a:pt x="129692" y="444532"/>
                  <a:pt x="138048" y="516954"/>
                </a:cubicBezTo>
                <a:cubicBezTo>
                  <a:pt x="142936" y="559318"/>
                  <a:pt x="152518" y="600762"/>
                  <a:pt x="163889" y="641780"/>
                </a:cubicBezTo>
                <a:cubicBezTo>
                  <a:pt x="177329" y="690261"/>
                  <a:pt x="191989" y="738413"/>
                  <a:pt x="204800" y="787055"/>
                </a:cubicBezTo>
                <a:cubicBezTo>
                  <a:pt x="218820" y="840287"/>
                  <a:pt x="228587" y="894088"/>
                  <a:pt x="218549" y="949545"/>
                </a:cubicBezTo>
                <a:cubicBezTo>
                  <a:pt x="213279" y="978659"/>
                  <a:pt x="207130" y="1007359"/>
                  <a:pt x="191487" y="1033064"/>
                </a:cubicBezTo>
                <a:cubicBezTo>
                  <a:pt x="190499" y="1034686"/>
                  <a:pt x="190018" y="1036618"/>
                  <a:pt x="188729" y="1039835"/>
                </a:cubicBezTo>
                <a:cubicBezTo>
                  <a:pt x="200470" y="1040170"/>
                  <a:pt x="210952" y="1040298"/>
                  <a:pt x="221417" y="1040799"/>
                </a:cubicBezTo>
                <a:cubicBezTo>
                  <a:pt x="263912" y="1042835"/>
                  <a:pt x="306390" y="1046436"/>
                  <a:pt x="348895" y="1046759"/>
                </a:cubicBezTo>
                <a:cubicBezTo>
                  <a:pt x="414380" y="1047258"/>
                  <a:pt x="479896" y="1046092"/>
                  <a:pt x="545369" y="1044456"/>
                </a:cubicBezTo>
                <a:cubicBezTo>
                  <a:pt x="567764" y="1043897"/>
                  <a:pt x="590066" y="1039744"/>
                  <a:pt x="612424" y="1037365"/>
                </a:cubicBezTo>
                <a:cubicBezTo>
                  <a:pt x="617948" y="1036777"/>
                  <a:pt x="621342" y="1034139"/>
                  <a:pt x="623169" y="1028873"/>
                </a:cubicBezTo>
                <a:cubicBezTo>
                  <a:pt x="630975" y="1006370"/>
                  <a:pt x="637026" y="983472"/>
                  <a:pt x="638508" y="959599"/>
                </a:cubicBezTo>
                <a:cubicBezTo>
                  <a:pt x="641131" y="917363"/>
                  <a:pt x="628970" y="878727"/>
                  <a:pt x="609213" y="842075"/>
                </a:cubicBezTo>
                <a:cubicBezTo>
                  <a:pt x="587874" y="802491"/>
                  <a:pt x="559403" y="768169"/>
                  <a:pt x="529367" y="735065"/>
                </a:cubicBezTo>
                <a:cubicBezTo>
                  <a:pt x="487563" y="688992"/>
                  <a:pt x="445474" y="643176"/>
                  <a:pt x="403792" y="596993"/>
                </a:cubicBezTo>
                <a:cubicBezTo>
                  <a:pt x="380393" y="571066"/>
                  <a:pt x="360083" y="542922"/>
                  <a:pt x="344708" y="511366"/>
                </a:cubicBezTo>
                <a:cubicBezTo>
                  <a:pt x="324385" y="469655"/>
                  <a:pt x="317321" y="425966"/>
                  <a:pt x="324464" y="380084"/>
                </a:cubicBezTo>
                <a:cubicBezTo>
                  <a:pt x="324821" y="377789"/>
                  <a:pt x="326581" y="375713"/>
                  <a:pt x="327688" y="373535"/>
                </a:cubicBezTo>
                <a:cubicBezTo>
                  <a:pt x="328570" y="373570"/>
                  <a:pt x="329452" y="373606"/>
                  <a:pt x="330334" y="373641"/>
                </a:cubicBezTo>
                <a:cubicBezTo>
                  <a:pt x="331649" y="377308"/>
                  <a:pt x="333001" y="380963"/>
                  <a:pt x="334272" y="384645"/>
                </a:cubicBezTo>
                <a:cubicBezTo>
                  <a:pt x="342569" y="408660"/>
                  <a:pt x="351164" y="432573"/>
                  <a:pt x="365260" y="453955"/>
                </a:cubicBezTo>
                <a:cubicBezTo>
                  <a:pt x="375537" y="469544"/>
                  <a:pt x="388811" y="481767"/>
                  <a:pt x="408246" y="483592"/>
                </a:cubicBezTo>
                <a:cubicBezTo>
                  <a:pt x="426928" y="485346"/>
                  <a:pt x="445757" y="486037"/>
                  <a:pt x="464529" y="486187"/>
                </a:cubicBezTo>
                <a:cubicBezTo>
                  <a:pt x="480053" y="486311"/>
                  <a:pt x="495582" y="484792"/>
                  <a:pt x="511119" y="484308"/>
                </a:cubicBezTo>
                <a:cubicBezTo>
                  <a:pt x="532443" y="483644"/>
                  <a:pt x="551690" y="490014"/>
                  <a:pt x="567913" y="503736"/>
                </a:cubicBezTo>
                <a:cubicBezTo>
                  <a:pt x="581642" y="515348"/>
                  <a:pt x="594604" y="527888"/>
                  <a:pt x="607611" y="540326"/>
                </a:cubicBezTo>
                <a:cubicBezTo>
                  <a:pt x="618811" y="551038"/>
                  <a:pt x="631177" y="559300"/>
                  <a:pt x="648750" y="562343"/>
                </a:cubicBezTo>
                <a:moveTo>
                  <a:pt x="462594" y="1369008"/>
                </a:moveTo>
                <a:cubicBezTo>
                  <a:pt x="478517" y="1368137"/>
                  <a:pt x="494449" y="1367429"/>
                  <a:pt x="510357" y="1366345"/>
                </a:cubicBezTo>
                <a:cubicBezTo>
                  <a:pt x="523399" y="1365456"/>
                  <a:pt x="536424" y="1364247"/>
                  <a:pt x="549434" y="1362956"/>
                </a:cubicBezTo>
                <a:cubicBezTo>
                  <a:pt x="577089" y="1360213"/>
                  <a:pt x="604749" y="1357503"/>
                  <a:pt x="632369" y="1354439"/>
                </a:cubicBezTo>
                <a:cubicBezTo>
                  <a:pt x="653805" y="1352062"/>
                  <a:pt x="675183" y="1349170"/>
                  <a:pt x="697252" y="1346424"/>
                </a:cubicBezTo>
                <a:cubicBezTo>
                  <a:pt x="701148" y="1316348"/>
                  <a:pt x="695768" y="1289474"/>
                  <a:pt x="676674" y="1266396"/>
                </a:cubicBezTo>
                <a:cubicBezTo>
                  <a:pt x="667313" y="1255080"/>
                  <a:pt x="656878" y="1244625"/>
                  <a:pt x="646594" y="1234108"/>
                </a:cubicBezTo>
                <a:cubicBezTo>
                  <a:pt x="634298" y="1221533"/>
                  <a:pt x="621353" y="1209623"/>
                  <a:pt x="612063" y="1194382"/>
                </a:cubicBezTo>
                <a:cubicBezTo>
                  <a:pt x="596511" y="1168867"/>
                  <a:pt x="588079" y="1141707"/>
                  <a:pt x="591616" y="1111541"/>
                </a:cubicBezTo>
                <a:cubicBezTo>
                  <a:pt x="592450" y="1104432"/>
                  <a:pt x="593365" y="1097332"/>
                  <a:pt x="594320" y="1089609"/>
                </a:cubicBezTo>
                <a:cubicBezTo>
                  <a:pt x="588294" y="1089609"/>
                  <a:pt x="583452" y="1089392"/>
                  <a:pt x="578634" y="1089642"/>
                </a:cubicBezTo>
                <a:cubicBezTo>
                  <a:pt x="533732" y="1091976"/>
                  <a:pt x="488841" y="1094525"/>
                  <a:pt x="443931" y="1096700"/>
                </a:cubicBezTo>
                <a:cubicBezTo>
                  <a:pt x="430451" y="1097353"/>
                  <a:pt x="416923" y="1097005"/>
                  <a:pt x="403417" y="1097156"/>
                </a:cubicBezTo>
                <a:cubicBezTo>
                  <a:pt x="389337" y="1097313"/>
                  <a:pt x="388961" y="1097850"/>
                  <a:pt x="388348" y="1111502"/>
                </a:cubicBezTo>
                <a:cubicBezTo>
                  <a:pt x="387375" y="1133151"/>
                  <a:pt x="386231" y="1154793"/>
                  <a:pt x="385048" y="1176431"/>
                </a:cubicBezTo>
                <a:cubicBezTo>
                  <a:pt x="382637" y="1220514"/>
                  <a:pt x="380158" y="1264593"/>
                  <a:pt x="377687" y="1308672"/>
                </a:cubicBezTo>
                <a:cubicBezTo>
                  <a:pt x="377458" y="1312751"/>
                  <a:pt x="376852" y="1316821"/>
                  <a:pt x="376823" y="1320897"/>
                </a:cubicBezTo>
                <a:cubicBezTo>
                  <a:pt x="376717" y="1335880"/>
                  <a:pt x="376781" y="1350864"/>
                  <a:pt x="376781" y="1366151"/>
                </a:cubicBezTo>
                <a:cubicBezTo>
                  <a:pt x="404707" y="1370397"/>
                  <a:pt x="432477" y="1369351"/>
                  <a:pt x="462594" y="1369008"/>
                </a:cubicBezTo>
                <a:moveTo>
                  <a:pt x="648494" y="1463981"/>
                </a:moveTo>
                <a:cubicBezTo>
                  <a:pt x="671329" y="1460052"/>
                  <a:pt x="694163" y="1456122"/>
                  <a:pt x="718746" y="1451892"/>
                </a:cubicBezTo>
                <a:cubicBezTo>
                  <a:pt x="716257" y="1439067"/>
                  <a:pt x="714578" y="1427816"/>
                  <a:pt x="711827" y="1416835"/>
                </a:cubicBezTo>
                <a:cubicBezTo>
                  <a:pt x="707611" y="1400009"/>
                  <a:pt x="703502" y="1397423"/>
                  <a:pt x="685812" y="1398502"/>
                </a:cubicBezTo>
                <a:cubicBezTo>
                  <a:pt x="684179" y="1398602"/>
                  <a:pt x="682547" y="1398768"/>
                  <a:pt x="680924" y="1398973"/>
                </a:cubicBezTo>
                <a:cubicBezTo>
                  <a:pt x="653380" y="1402446"/>
                  <a:pt x="625911" y="1406752"/>
                  <a:pt x="598278" y="1409218"/>
                </a:cubicBezTo>
                <a:cubicBezTo>
                  <a:pt x="557171" y="1412886"/>
                  <a:pt x="515983" y="1415946"/>
                  <a:pt x="474765" y="1417945"/>
                </a:cubicBezTo>
                <a:cubicBezTo>
                  <a:pt x="444944" y="1419391"/>
                  <a:pt x="415021" y="1418680"/>
                  <a:pt x="385143" y="1418978"/>
                </a:cubicBezTo>
                <a:cubicBezTo>
                  <a:pt x="382419" y="1419005"/>
                  <a:pt x="379697" y="1419376"/>
                  <a:pt x="376639" y="1419613"/>
                </a:cubicBezTo>
                <a:cubicBezTo>
                  <a:pt x="376639" y="1438152"/>
                  <a:pt x="376639" y="1455909"/>
                  <a:pt x="376639" y="1473939"/>
                </a:cubicBezTo>
                <a:cubicBezTo>
                  <a:pt x="378971" y="1474343"/>
                  <a:pt x="380523" y="1474802"/>
                  <a:pt x="382089" y="1474854"/>
                </a:cubicBezTo>
                <a:cubicBezTo>
                  <a:pt x="404571" y="1475605"/>
                  <a:pt x="427058" y="1476986"/>
                  <a:pt x="449536" y="1476855"/>
                </a:cubicBezTo>
                <a:cubicBezTo>
                  <a:pt x="486344" y="1476639"/>
                  <a:pt x="523207" y="1476480"/>
                  <a:pt x="559930" y="1474307"/>
                </a:cubicBezTo>
                <a:cubicBezTo>
                  <a:pt x="588839" y="1472596"/>
                  <a:pt x="617570" y="1467884"/>
                  <a:pt x="648494" y="1463981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74" name="Free-form: Shape 373">
            <a:extLst>
              <a:ext uri="{FF2B5EF4-FFF2-40B4-BE49-F238E27FC236}">
                <a16:creationId xmlns:a16="http://schemas.microsoft.com/office/drawing/2014/main" id="{2E0B2E1A-1997-4A28-B3AC-9223E6B290FE}"/>
              </a:ext>
            </a:extLst>
          </p:cNvPr>
          <p:cNvSpPr/>
          <p:nvPr/>
        </p:nvSpPr>
        <p:spPr>
          <a:xfrm>
            <a:off x="2726533" y="4624191"/>
            <a:ext cx="497702" cy="821885"/>
          </a:xfrm>
          <a:custGeom>
            <a:avLst/>
            <a:gdLst>
              <a:gd name="csX0" fmla="*/ 512604 w 598747"/>
              <a:gd name="csY0" fmla="*/ 503918 h 988745"/>
              <a:gd name="csX1" fmla="*/ 472435 w 598747"/>
              <a:gd name="csY1" fmla="*/ 482196 h 988745"/>
              <a:gd name="csX2" fmla="*/ 432737 w 598747"/>
              <a:gd name="csY2" fmla="*/ 445605 h 988745"/>
              <a:gd name="csX3" fmla="*/ 375943 w 598747"/>
              <a:gd name="csY3" fmla="*/ 426178 h 988745"/>
              <a:gd name="csX4" fmla="*/ 329354 w 598747"/>
              <a:gd name="csY4" fmla="*/ 428057 h 988745"/>
              <a:gd name="csX5" fmla="*/ 273070 w 598747"/>
              <a:gd name="csY5" fmla="*/ 425461 h 988745"/>
              <a:gd name="csX6" fmla="*/ 230084 w 598747"/>
              <a:gd name="csY6" fmla="*/ 395825 h 988745"/>
              <a:gd name="csX7" fmla="*/ 199097 w 598747"/>
              <a:gd name="csY7" fmla="*/ 326515 h 988745"/>
              <a:gd name="csX8" fmla="*/ 195158 w 598747"/>
              <a:gd name="csY8" fmla="*/ 315511 h 988745"/>
              <a:gd name="csX9" fmla="*/ 192512 w 598747"/>
              <a:gd name="csY9" fmla="*/ 315405 h 988745"/>
              <a:gd name="csX10" fmla="*/ 189288 w 598747"/>
              <a:gd name="csY10" fmla="*/ 321954 h 988745"/>
              <a:gd name="csX11" fmla="*/ 209532 w 598747"/>
              <a:gd name="csY11" fmla="*/ 453235 h 988745"/>
              <a:gd name="csX12" fmla="*/ 268616 w 598747"/>
              <a:gd name="csY12" fmla="*/ 538863 h 988745"/>
              <a:gd name="csX13" fmla="*/ 394191 w 598747"/>
              <a:gd name="csY13" fmla="*/ 676935 h 988745"/>
              <a:gd name="csX14" fmla="*/ 474037 w 598747"/>
              <a:gd name="csY14" fmla="*/ 783945 h 988745"/>
              <a:gd name="csX15" fmla="*/ 503332 w 598747"/>
              <a:gd name="csY15" fmla="*/ 901469 h 988745"/>
              <a:gd name="csX16" fmla="*/ 487993 w 598747"/>
              <a:gd name="csY16" fmla="*/ 970743 h 988745"/>
              <a:gd name="csX17" fmla="*/ 477248 w 598747"/>
              <a:gd name="csY17" fmla="*/ 979235 h 988745"/>
              <a:gd name="csX18" fmla="*/ 410194 w 598747"/>
              <a:gd name="csY18" fmla="*/ 986326 h 988745"/>
              <a:gd name="csX19" fmla="*/ 213720 w 598747"/>
              <a:gd name="csY19" fmla="*/ 988629 h 988745"/>
              <a:gd name="csX20" fmla="*/ 86242 w 598747"/>
              <a:gd name="csY20" fmla="*/ 982669 h 988745"/>
              <a:gd name="csX21" fmla="*/ 53553 w 598747"/>
              <a:gd name="csY21" fmla="*/ 981705 h 988745"/>
              <a:gd name="csX22" fmla="*/ 56311 w 598747"/>
              <a:gd name="csY22" fmla="*/ 974933 h 988745"/>
              <a:gd name="csX23" fmla="*/ 83373 w 598747"/>
              <a:gd name="csY23" fmla="*/ 891414 h 988745"/>
              <a:gd name="csX24" fmla="*/ 69625 w 598747"/>
              <a:gd name="csY24" fmla="*/ 728925 h 988745"/>
              <a:gd name="csX25" fmla="*/ 28713 w 598747"/>
              <a:gd name="csY25" fmla="*/ 583650 h 988745"/>
              <a:gd name="csX26" fmla="*/ 2872 w 598747"/>
              <a:gd name="csY26" fmla="*/ 458823 h 988745"/>
              <a:gd name="csX27" fmla="*/ 36461 w 598747"/>
              <a:gd name="csY27" fmla="*/ 250957 h 988745"/>
              <a:gd name="csX28" fmla="*/ 105198 w 598747"/>
              <a:gd name="csY28" fmla="*/ 163584 h 988745"/>
              <a:gd name="csX29" fmla="*/ 191800 w 598747"/>
              <a:gd name="csY29" fmla="*/ 101539 h 988745"/>
              <a:gd name="csX30" fmla="*/ 214600 w 598747"/>
              <a:gd name="csY30" fmla="*/ 75129 h 988745"/>
              <a:gd name="csX31" fmla="*/ 268462 w 598747"/>
              <a:gd name="csY31" fmla="*/ 0 h 988745"/>
              <a:gd name="csX32" fmla="*/ 269844 w 598747"/>
              <a:gd name="csY32" fmla="*/ 10898 h 988745"/>
              <a:gd name="csX33" fmla="*/ 272418 w 598747"/>
              <a:gd name="csY33" fmla="*/ 69722 h 988745"/>
              <a:gd name="csX34" fmla="*/ 297658 w 598747"/>
              <a:gd name="csY34" fmla="*/ 107113 h 988745"/>
              <a:gd name="csX35" fmla="*/ 355481 w 598747"/>
              <a:gd name="csY35" fmla="*/ 136991 h 988745"/>
              <a:gd name="csX36" fmla="*/ 430178 w 598747"/>
              <a:gd name="csY36" fmla="*/ 212396 h 988745"/>
              <a:gd name="csX37" fmla="*/ 465840 w 598747"/>
              <a:gd name="csY37" fmla="*/ 273997 h 988745"/>
              <a:gd name="csX38" fmla="*/ 532362 w 598747"/>
              <a:gd name="csY38" fmla="*/ 340124 h 988745"/>
              <a:gd name="csX39" fmla="*/ 572901 w 598747"/>
              <a:gd name="csY39" fmla="*/ 367845 h 988745"/>
              <a:gd name="csX40" fmla="*/ 598436 w 598747"/>
              <a:gd name="csY40" fmla="*/ 408775 h 988745"/>
              <a:gd name="csX41" fmla="*/ 596339 w 598747"/>
              <a:gd name="csY41" fmla="*/ 452637 h 988745"/>
              <a:gd name="csX42" fmla="*/ 552957 w 598747"/>
              <a:gd name="csY42" fmla="*/ 485233 h 988745"/>
              <a:gd name="csX43" fmla="*/ 525548 w 598747"/>
              <a:gd name="csY43" fmla="*/ 479475 h 988745"/>
              <a:gd name="csX44" fmla="*/ 515736 w 598747"/>
              <a:gd name="csY44" fmla="*/ 475921 h 988745"/>
              <a:gd name="csX45" fmla="*/ 525605 w 598747"/>
              <a:gd name="csY45" fmla="*/ 492048 h 988745"/>
              <a:gd name="csX46" fmla="*/ 538873 w 598747"/>
              <a:gd name="csY46" fmla="*/ 504704 h 988745"/>
              <a:gd name="csX47" fmla="*/ 512604 w 598747"/>
              <a:gd name="csY47" fmla="*/ 503918 h 988745"/>
              <a:gd name="csX48" fmla="*/ 332072 w 598747"/>
              <a:gd name="csY48" fmla="*/ 218143 h 988745"/>
              <a:gd name="csX49" fmla="*/ 334388 w 598747"/>
              <a:gd name="csY49" fmla="*/ 226400 h 988745"/>
              <a:gd name="csX50" fmla="*/ 372370 w 598747"/>
              <a:gd name="csY50" fmla="*/ 254505 h 988745"/>
              <a:gd name="csX51" fmla="*/ 405258 w 598747"/>
              <a:gd name="csY51" fmla="*/ 252089 h 988745"/>
              <a:gd name="csX52" fmla="*/ 409167 w 598747"/>
              <a:gd name="csY52" fmla="*/ 244359 h 988745"/>
              <a:gd name="csX53" fmla="*/ 396364 w 598747"/>
              <a:gd name="csY53" fmla="*/ 219471 h 988745"/>
              <a:gd name="csX54" fmla="*/ 365755 w 598747"/>
              <a:gd name="csY54" fmla="*/ 195821 h 988745"/>
              <a:gd name="csX55" fmla="*/ 333572 w 598747"/>
              <a:gd name="csY55" fmla="*/ 188536 h 988745"/>
              <a:gd name="csX56" fmla="*/ 322931 w 598747"/>
              <a:gd name="csY56" fmla="*/ 190843 h 988745"/>
              <a:gd name="csX57" fmla="*/ 329041 w 598747"/>
              <a:gd name="csY57" fmla="*/ 203001 h 988745"/>
              <a:gd name="csX58" fmla="*/ 332072 w 598747"/>
              <a:gd name="csY58" fmla="*/ 218143 h 98874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</a:cxnLst>
            <a:rect l="l" t="t" r="r" b="b"/>
            <a:pathLst>
              <a:path w="598747" h="988745">
                <a:moveTo>
                  <a:pt x="512604" y="503918"/>
                </a:moveTo>
                <a:cubicBezTo>
                  <a:pt x="496002" y="501170"/>
                  <a:pt x="483635" y="492907"/>
                  <a:pt x="472435" y="482196"/>
                </a:cubicBezTo>
                <a:cubicBezTo>
                  <a:pt x="459429" y="469758"/>
                  <a:pt x="446467" y="457218"/>
                  <a:pt x="432737" y="445605"/>
                </a:cubicBezTo>
                <a:cubicBezTo>
                  <a:pt x="416514" y="431883"/>
                  <a:pt x="397267" y="425513"/>
                  <a:pt x="375943" y="426178"/>
                </a:cubicBezTo>
                <a:cubicBezTo>
                  <a:pt x="360407" y="426662"/>
                  <a:pt x="344877" y="428180"/>
                  <a:pt x="329354" y="428057"/>
                </a:cubicBezTo>
                <a:cubicBezTo>
                  <a:pt x="310581" y="427907"/>
                  <a:pt x="291752" y="427215"/>
                  <a:pt x="273070" y="425461"/>
                </a:cubicBezTo>
                <a:cubicBezTo>
                  <a:pt x="253636" y="423637"/>
                  <a:pt x="240361" y="411413"/>
                  <a:pt x="230084" y="395825"/>
                </a:cubicBezTo>
                <a:cubicBezTo>
                  <a:pt x="215988" y="374443"/>
                  <a:pt x="207393" y="350530"/>
                  <a:pt x="199097" y="326515"/>
                </a:cubicBezTo>
                <a:cubicBezTo>
                  <a:pt x="197825" y="322833"/>
                  <a:pt x="196473" y="319178"/>
                  <a:pt x="195158" y="315511"/>
                </a:cubicBezTo>
                <a:cubicBezTo>
                  <a:pt x="194276" y="315475"/>
                  <a:pt x="193394" y="315440"/>
                  <a:pt x="192512" y="315405"/>
                </a:cubicBezTo>
                <a:cubicBezTo>
                  <a:pt x="191405" y="317583"/>
                  <a:pt x="189646" y="319659"/>
                  <a:pt x="189288" y="321954"/>
                </a:cubicBezTo>
                <a:cubicBezTo>
                  <a:pt x="182145" y="367836"/>
                  <a:pt x="189209" y="411525"/>
                  <a:pt x="209532" y="453235"/>
                </a:cubicBezTo>
                <a:cubicBezTo>
                  <a:pt x="224908" y="484792"/>
                  <a:pt x="245217" y="512936"/>
                  <a:pt x="268616" y="538863"/>
                </a:cubicBezTo>
                <a:cubicBezTo>
                  <a:pt x="310298" y="585046"/>
                  <a:pt x="352387" y="630861"/>
                  <a:pt x="394191" y="676935"/>
                </a:cubicBezTo>
                <a:cubicBezTo>
                  <a:pt x="424227" y="710039"/>
                  <a:pt x="452698" y="744360"/>
                  <a:pt x="474037" y="783945"/>
                </a:cubicBezTo>
                <a:cubicBezTo>
                  <a:pt x="493795" y="820596"/>
                  <a:pt x="505956" y="859233"/>
                  <a:pt x="503332" y="901469"/>
                </a:cubicBezTo>
                <a:cubicBezTo>
                  <a:pt x="501850" y="925342"/>
                  <a:pt x="495799" y="948239"/>
                  <a:pt x="487993" y="970743"/>
                </a:cubicBezTo>
                <a:cubicBezTo>
                  <a:pt x="486166" y="976009"/>
                  <a:pt x="482772" y="978647"/>
                  <a:pt x="477248" y="979235"/>
                </a:cubicBezTo>
                <a:cubicBezTo>
                  <a:pt x="454890" y="981614"/>
                  <a:pt x="432589" y="985767"/>
                  <a:pt x="410194" y="986326"/>
                </a:cubicBezTo>
                <a:cubicBezTo>
                  <a:pt x="344720" y="987961"/>
                  <a:pt x="279205" y="989128"/>
                  <a:pt x="213720" y="988629"/>
                </a:cubicBezTo>
                <a:cubicBezTo>
                  <a:pt x="171215" y="988306"/>
                  <a:pt x="128736" y="984705"/>
                  <a:pt x="86242" y="982669"/>
                </a:cubicBezTo>
                <a:cubicBezTo>
                  <a:pt x="75776" y="982167"/>
                  <a:pt x="65294" y="982040"/>
                  <a:pt x="53553" y="981705"/>
                </a:cubicBezTo>
                <a:cubicBezTo>
                  <a:pt x="54842" y="978488"/>
                  <a:pt x="55323" y="976556"/>
                  <a:pt x="56311" y="974933"/>
                </a:cubicBezTo>
                <a:cubicBezTo>
                  <a:pt x="71955" y="949229"/>
                  <a:pt x="78103" y="920529"/>
                  <a:pt x="83373" y="891414"/>
                </a:cubicBezTo>
                <a:cubicBezTo>
                  <a:pt x="93411" y="835958"/>
                  <a:pt x="83645" y="782156"/>
                  <a:pt x="69625" y="728925"/>
                </a:cubicBezTo>
                <a:cubicBezTo>
                  <a:pt x="56813" y="680283"/>
                  <a:pt x="42153" y="632130"/>
                  <a:pt x="28713" y="583650"/>
                </a:cubicBezTo>
                <a:cubicBezTo>
                  <a:pt x="17342" y="542631"/>
                  <a:pt x="7760" y="501188"/>
                  <a:pt x="2872" y="458823"/>
                </a:cubicBezTo>
                <a:cubicBezTo>
                  <a:pt x="-5484" y="386401"/>
                  <a:pt x="4005" y="316635"/>
                  <a:pt x="36461" y="250957"/>
                </a:cubicBezTo>
                <a:cubicBezTo>
                  <a:pt x="53137" y="217210"/>
                  <a:pt x="77705" y="189133"/>
                  <a:pt x="105198" y="163584"/>
                </a:cubicBezTo>
                <a:cubicBezTo>
                  <a:pt x="131434" y="139203"/>
                  <a:pt x="160285" y="118551"/>
                  <a:pt x="191800" y="101539"/>
                </a:cubicBezTo>
                <a:cubicBezTo>
                  <a:pt x="202646" y="95684"/>
                  <a:pt x="209856" y="86491"/>
                  <a:pt x="214600" y="75129"/>
                </a:cubicBezTo>
                <a:cubicBezTo>
                  <a:pt x="226474" y="46689"/>
                  <a:pt x="246616" y="24191"/>
                  <a:pt x="268462" y="0"/>
                </a:cubicBezTo>
                <a:cubicBezTo>
                  <a:pt x="269111" y="4997"/>
                  <a:pt x="269706" y="7937"/>
                  <a:pt x="269844" y="10898"/>
                </a:cubicBezTo>
                <a:cubicBezTo>
                  <a:pt x="270760" y="30504"/>
                  <a:pt x="271607" y="50112"/>
                  <a:pt x="272418" y="69722"/>
                </a:cubicBezTo>
                <a:cubicBezTo>
                  <a:pt x="273150" y="87396"/>
                  <a:pt x="281549" y="99401"/>
                  <a:pt x="297658" y="107113"/>
                </a:cubicBezTo>
                <a:cubicBezTo>
                  <a:pt x="317218" y="116476"/>
                  <a:pt x="336170" y="127101"/>
                  <a:pt x="355481" y="136991"/>
                </a:cubicBezTo>
                <a:cubicBezTo>
                  <a:pt x="388645" y="153974"/>
                  <a:pt x="413226" y="179056"/>
                  <a:pt x="430178" y="212396"/>
                </a:cubicBezTo>
                <a:cubicBezTo>
                  <a:pt x="440917" y="233515"/>
                  <a:pt x="453634" y="253647"/>
                  <a:pt x="465840" y="273997"/>
                </a:cubicBezTo>
                <a:cubicBezTo>
                  <a:pt x="482404" y="301613"/>
                  <a:pt x="506102" y="322183"/>
                  <a:pt x="532362" y="340124"/>
                </a:cubicBezTo>
                <a:cubicBezTo>
                  <a:pt x="545881" y="349359"/>
                  <a:pt x="559082" y="359088"/>
                  <a:pt x="572901" y="367845"/>
                </a:cubicBezTo>
                <a:cubicBezTo>
                  <a:pt x="588172" y="377523"/>
                  <a:pt x="597775" y="390733"/>
                  <a:pt x="598436" y="408775"/>
                </a:cubicBezTo>
                <a:cubicBezTo>
                  <a:pt x="598970" y="423381"/>
                  <a:pt x="599120" y="438404"/>
                  <a:pt x="596339" y="452637"/>
                </a:cubicBezTo>
                <a:cubicBezTo>
                  <a:pt x="591789" y="475923"/>
                  <a:pt x="576843" y="486555"/>
                  <a:pt x="552957" y="485233"/>
                </a:cubicBezTo>
                <a:cubicBezTo>
                  <a:pt x="543740" y="484722"/>
                  <a:pt x="534648" y="481613"/>
                  <a:pt x="525548" y="479475"/>
                </a:cubicBezTo>
                <a:cubicBezTo>
                  <a:pt x="522577" y="478776"/>
                  <a:pt x="519764" y="477405"/>
                  <a:pt x="515736" y="475921"/>
                </a:cubicBezTo>
                <a:cubicBezTo>
                  <a:pt x="516318" y="484233"/>
                  <a:pt x="521537" y="487842"/>
                  <a:pt x="525605" y="492048"/>
                </a:cubicBezTo>
                <a:cubicBezTo>
                  <a:pt x="529554" y="496129"/>
                  <a:pt x="533815" y="499907"/>
                  <a:pt x="538873" y="504704"/>
                </a:cubicBezTo>
                <a:cubicBezTo>
                  <a:pt x="529522" y="509277"/>
                  <a:pt x="521553" y="504428"/>
                  <a:pt x="512604" y="503918"/>
                </a:cubicBezTo>
                <a:moveTo>
                  <a:pt x="332072" y="218143"/>
                </a:moveTo>
                <a:cubicBezTo>
                  <a:pt x="332837" y="220898"/>
                  <a:pt x="333478" y="223695"/>
                  <a:pt x="334388" y="226400"/>
                </a:cubicBezTo>
                <a:cubicBezTo>
                  <a:pt x="341073" y="246268"/>
                  <a:pt x="351614" y="254460"/>
                  <a:pt x="372370" y="254505"/>
                </a:cubicBezTo>
                <a:cubicBezTo>
                  <a:pt x="383333" y="254529"/>
                  <a:pt x="394312" y="253121"/>
                  <a:pt x="405258" y="252089"/>
                </a:cubicBezTo>
                <a:cubicBezTo>
                  <a:pt x="409961" y="251646"/>
                  <a:pt x="411340" y="248568"/>
                  <a:pt x="409167" y="244359"/>
                </a:cubicBezTo>
                <a:cubicBezTo>
                  <a:pt x="404885" y="236068"/>
                  <a:pt x="400139" y="227985"/>
                  <a:pt x="396364" y="219471"/>
                </a:cubicBezTo>
                <a:cubicBezTo>
                  <a:pt x="390350" y="205908"/>
                  <a:pt x="379963" y="198663"/>
                  <a:pt x="365755" y="195821"/>
                </a:cubicBezTo>
                <a:cubicBezTo>
                  <a:pt x="354973" y="193665"/>
                  <a:pt x="344291" y="191003"/>
                  <a:pt x="333572" y="188536"/>
                </a:cubicBezTo>
                <a:cubicBezTo>
                  <a:pt x="329511" y="187602"/>
                  <a:pt x="325579" y="187007"/>
                  <a:pt x="322931" y="190843"/>
                </a:cubicBezTo>
                <a:cubicBezTo>
                  <a:pt x="325138" y="195129"/>
                  <a:pt x="327613" y="198884"/>
                  <a:pt x="329041" y="203001"/>
                </a:cubicBezTo>
                <a:cubicBezTo>
                  <a:pt x="330500" y="207204"/>
                  <a:pt x="330929" y="211764"/>
                  <a:pt x="332072" y="218143"/>
                </a:cubicBezTo>
                <a:close/>
              </a:path>
            </a:pathLst>
          </a:custGeom>
          <a:solidFill>
            <a:srgbClr val="FEFEFE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75" name="Free-form: Shape 374">
            <a:extLst>
              <a:ext uri="{FF2B5EF4-FFF2-40B4-BE49-F238E27FC236}">
                <a16:creationId xmlns:a16="http://schemas.microsoft.com/office/drawing/2014/main" id="{267948B7-D9E9-F6AD-3167-DA2F6425F060}"/>
              </a:ext>
            </a:extLst>
          </p:cNvPr>
          <p:cNvSpPr/>
          <p:nvPr/>
        </p:nvSpPr>
        <p:spPr>
          <a:xfrm>
            <a:off x="2927350" y="5481526"/>
            <a:ext cx="267393" cy="232628"/>
          </a:xfrm>
          <a:custGeom>
            <a:avLst/>
            <a:gdLst>
              <a:gd name="csX0" fmla="*/ 84645 w 321679"/>
              <a:gd name="csY0" fmla="*/ 279507 h 279857"/>
              <a:gd name="csX1" fmla="*/ 19 w 321679"/>
              <a:gd name="csY1" fmla="*/ 276629 h 279857"/>
              <a:gd name="csX2" fmla="*/ 61 w 321679"/>
              <a:gd name="csY2" fmla="*/ 231376 h 279857"/>
              <a:gd name="csX3" fmla="*/ 925 w 321679"/>
              <a:gd name="csY3" fmla="*/ 219150 h 279857"/>
              <a:gd name="csX4" fmla="*/ 8286 w 321679"/>
              <a:gd name="csY4" fmla="*/ 86910 h 279857"/>
              <a:gd name="csX5" fmla="*/ 11586 w 321679"/>
              <a:gd name="csY5" fmla="*/ 21981 h 279857"/>
              <a:gd name="csX6" fmla="*/ 26655 w 321679"/>
              <a:gd name="csY6" fmla="*/ 7635 h 279857"/>
              <a:gd name="csX7" fmla="*/ 67169 w 321679"/>
              <a:gd name="csY7" fmla="*/ 7178 h 279857"/>
              <a:gd name="csX8" fmla="*/ 201872 w 321679"/>
              <a:gd name="csY8" fmla="*/ 121 h 279857"/>
              <a:gd name="csX9" fmla="*/ 217558 w 321679"/>
              <a:gd name="csY9" fmla="*/ 87 h 279857"/>
              <a:gd name="csX10" fmla="*/ 214854 w 321679"/>
              <a:gd name="csY10" fmla="*/ 22019 h 279857"/>
              <a:gd name="csX11" fmla="*/ 235301 w 321679"/>
              <a:gd name="csY11" fmla="*/ 104861 h 279857"/>
              <a:gd name="csX12" fmla="*/ 269832 w 321679"/>
              <a:gd name="csY12" fmla="*/ 144587 h 279857"/>
              <a:gd name="csX13" fmla="*/ 299912 w 321679"/>
              <a:gd name="csY13" fmla="*/ 176874 h 279857"/>
              <a:gd name="csX14" fmla="*/ 320491 w 321679"/>
              <a:gd name="csY14" fmla="*/ 256903 h 279857"/>
              <a:gd name="csX15" fmla="*/ 255607 w 321679"/>
              <a:gd name="csY15" fmla="*/ 264918 h 279857"/>
              <a:gd name="csX16" fmla="*/ 172672 w 321679"/>
              <a:gd name="csY16" fmla="*/ 273435 h 279857"/>
              <a:gd name="csX17" fmla="*/ 133595 w 321679"/>
              <a:gd name="csY17" fmla="*/ 276823 h 279857"/>
              <a:gd name="csX18" fmla="*/ 84645 w 321679"/>
              <a:gd name="csY18" fmla="*/ 279507 h 27985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</a:cxnLst>
            <a:rect l="l" t="t" r="r" b="b"/>
            <a:pathLst>
              <a:path w="321679" h="279857">
                <a:moveTo>
                  <a:pt x="84645" y="279507"/>
                </a:moveTo>
                <a:cubicBezTo>
                  <a:pt x="55716" y="279830"/>
                  <a:pt x="27945" y="280875"/>
                  <a:pt x="19" y="276629"/>
                </a:cubicBezTo>
                <a:cubicBezTo>
                  <a:pt x="19" y="261343"/>
                  <a:pt x="-45" y="246359"/>
                  <a:pt x="61" y="231376"/>
                </a:cubicBezTo>
                <a:cubicBezTo>
                  <a:pt x="90" y="227299"/>
                  <a:pt x="696" y="223229"/>
                  <a:pt x="925" y="219150"/>
                </a:cubicBezTo>
                <a:cubicBezTo>
                  <a:pt x="3396" y="175071"/>
                  <a:pt x="5876" y="130992"/>
                  <a:pt x="8286" y="86910"/>
                </a:cubicBezTo>
                <a:cubicBezTo>
                  <a:pt x="9469" y="65271"/>
                  <a:pt x="10613" y="43630"/>
                  <a:pt x="11586" y="21981"/>
                </a:cubicBezTo>
                <a:cubicBezTo>
                  <a:pt x="12199" y="8328"/>
                  <a:pt x="12576" y="7792"/>
                  <a:pt x="26655" y="7635"/>
                </a:cubicBezTo>
                <a:cubicBezTo>
                  <a:pt x="40161" y="7484"/>
                  <a:pt x="53689" y="7831"/>
                  <a:pt x="67169" y="7178"/>
                </a:cubicBezTo>
                <a:cubicBezTo>
                  <a:pt x="112079" y="5004"/>
                  <a:pt x="156970" y="2455"/>
                  <a:pt x="201872" y="121"/>
                </a:cubicBezTo>
                <a:cubicBezTo>
                  <a:pt x="206690" y="-130"/>
                  <a:pt x="211533" y="87"/>
                  <a:pt x="217558" y="87"/>
                </a:cubicBezTo>
                <a:cubicBezTo>
                  <a:pt x="216603" y="7811"/>
                  <a:pt x="215688" y="14910"/>
                  <a:pt x="214854" y="22019"/>
                </a:cubicBezTo>
                <a:cubicBezTo>
                  <a:pt x="211318" y="52185"/>
                  <a:pt x="219749" y="79345"/>
                  <a:pt x="235301" y="104861"/>
                </a:cubicBezTo>
                <a:cubicBezTo>
                  <a:pt x="244591" y="120102"/>
                  <a:pt x="257536" y="132012"/>
                  <a:pt x="269832" y="144587"/>
                </a:cubicBezTo>
                <a:cubicBezTo>
                  <a:pt x="280116" y="155103"/>
                  <a:pt x="290551" y="165559"/>
                  <a:pt x="299912" y="176874"/>
                </a:cubicBezTo>
                <a:cubicBezTo>
                  <a:pt x="319006" y="199953"/>
                  <a:pt x="324386" y="226827"/>
                  <a:pt x="320491" y="256903"/>
                </a:cubicBezTo>
                <a:cubicBezTo>
                  <a:pt x="298421" y="259649"/>
                  <a:pt x="277043" y="262541"/>
                  <a:pt x="255607" y="264918"/>
                </a:cubicBezTo>
                <a:cubicBezTo>
                  <a:pt x="227987" y="267981"/>
                  <a:pt x="200327" y="270692"/>
                  <a:pt x="172672" y="273435"/>
                </a:cubicBezTo>
                <a:cubicBezTo>
                  <a:pt x="159662" y="274725"/>
                  <a:pt x="146637" y="275935"/>
                  <a:pt x="133595" y="276823"/>
                </a:cubicBezTo>
                <a:cubicBezTo>
                  <a:pt x="117688" y="277907"/>
                  <a:pt x="101755" y="278616"/>
                  <a:pt x="84645" y="279507"/>
                </a:cubicBezTo>
                <a:close/>
              </a:path>
            </a:pathLst>
          </a:custGeom>
          <a:solidFill>
            <a:srgbClr val="FDFEFE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76" name="Free-form: Shape 375">
            <a:extLst>
              <a:ext uri="{FF2B5EF4-FFF2-40B4-BE49-F238E27FC236}">
                <a16:creationId xmlns:a16="http://schemas.microsoft.com/office/drawing/2014/main" id="{165D0483-B5F9-6A11-66D9-C30575C806F7}"/>
              </a:ext>
            </a:extLst>
          </p:cNvPr>
          <p:cNvSpPr/>
          <p:nvPr/>
        </p:nvSpPr>
        <p:spPr>
          <a:xfrm>
            <a:off x="2927247" y="5738187"/>
            <a:ext cx="284373" cy="65313"/>
          </a:xfrm>
          <a:custGeom>
            <a:avLst/>
            <a:gdLst>
              <a:gd name="csX0" fmla="*/ 270798 w 342106"/>
              <a:gd name="csY0" fmla="*/ 65953 h 78573"/>
              <a:gd name="csX1" fmla="*/ 183290 w 342106"/>
              <a:gd name="csY1" fmla="*/ 76017 h 78573"/>
              <a:gd name="csX2" fmla="*/ 72897 w 342106"/>
              <a:gd name="csY2" fmla="*/ 78565 h 78573"/>
              <a:gd name="csX3" fmla="*/ 5450 w 342106"/>
              <a:gd name="csY3" fmla="*/ 76564 h 78573"/>
              <a:gd name="csX4" fmla="*/ 0 w 342106"/>
              <a:gd name="csY4" fmla="*/ 75649 h 78573"/>
              <a:gd name="csX5" fmla="*/ 0 w 342106"/>
              <a:gd name="csY5" fmla="*/ 21324 h 78573"/>
              <a:gd name="csX6" fmla="*/ 8504 w 342106"/>
              <a:gd name="csY6" fmla="*/ 20688 h 78573"/>
              <a:gd name="csX7" fmla="*/ 98126 w 342106"/>
              <a:gd name="csY7" fmla="*/ 19655 h 78573"/>
              <a:gd name="csX8" fmla="*/ 221639 w 342106"/>
              <a:gd name="csY8" fmla="*/ 10929 h 78573"/>
              <a:gd name="csX9" fmla="*/ 304285 w 342106"/>
              <a:gd name="csY9" fmla="*/ 683 h 78573"/>
              <a:gd name="csX10" fmla="*/ 309173 w 342106"/>
              <a:gd name="csY10" fmla="*/ 212 h 78573"/>
              <a:gd name="csX11" fmla="*/ 335187 w 342106"/>
              <a:gd name="csY11" fmla="*/ 18545 h 78573"/>
              <a:gd name="csX12" fmla="*/ 342106 w 342106"/>
              <a:gd name="csY12" fmla="*/ 53602 h 78573"/>
              <a:gd name="csX13" fmla="*/ 270798 w 342106"/>
              <a:gd name="csY13" fmla="*/ 65953 h 7857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</a:cxnLst>
            <a:rect l="l" t="t" r="r" b="b"/>
            <a:pathLst>
              <a:path w="342106" h="78573">
                <a:moveTo>
                  <a:pt x="270798" y="65953"/>
                </a:moveTo>
                <a:cubicBezTo>
                  <a:pt x="240931" y="69594"/>
                  <a:pt x="212199" y="74306"/>
                  <a:pt x="183290" y="76017"/>
                </a:cubicBezTo>
                <a:cubicBezTo>
                  <a:pt x="146568" y="78191"/>
                  <a:pt x="109704" y="78349"/>
                  <a:pt x="72897" y="78565"/>
                </a:cubicBezTo>
                <a:cubicBezTo>
                  <a:pt x="50419" y="78697"/>
                  <a:pt x="27931" y="77315"/>
                  <a:pt x="5450" y="76564"/>
                </a:cubicBezTo>
                <a:cubicBezTo>
                  <a:pt x="3884" y="76512"/>
                  <a:pt x="2332" y="76053"/>
                  <a:pt x="0" y="75649"/>
                </a:cubicBezTo>
                <a:cubicBezTo>
                  <a:pt x="0" y="57619"/>
                  <a:pt x="0" y="39863"/>
                  <a:pt x="0" y="21324"/>
                </a:cubicBezTo>
                <a:cubicBezTo>
                  <a:pt x="3058" y="21086"/>
                  <a:pt x="5779" y="20715"/>
                  <a:pt x="8504" y="20688"/>
                </a:cubicBezTo>
                <a:cubicBezTo>
                  <a:pt x="38382" y="20390"/>
                  <a:pt x="68305" y="21101"/>
                  <a:pt x="98126" y="19655"/>
                </a:cubicBezTo>
                <a:cubicBezTo>
                  <a:pt x="139343" y="17657"/>
                  <a:pt x="180532" y="14597"/>
                  <a:pt x="221639" y="10929"/>
                </a:cubicBezTo>
                <a:cubicBezTo>
                  <a:pt x="249272" y="8463"/>
                  <a:pt x="276741" y="4156"/>
                  <a:pt x="304285" y="683"/>
                </a:cubicBezTo>
                <a:cubicBezTo>
                  <a:pt x="305908" y="478"/>
                  <a:pt x="307539" y="312"/>
                  <a:pt x="309173" y="212"/>
                </a:cubicBezTo>
                <a:cubicBezTo>
                  <a:pt x="326863" y="-867"/>
                  <a:pt x="330972" y="1719"/>
                  <a:pt x="335187" y="18545"/>
                </a:cubicBezTo>
                <a:cubicBezTo>
                  <a:pt x="337939" y="29526"/>
                  <a:pt x="339618" y="40777"/>
                  <a:pt x="342106" y="53602"/>
                </a:cubicBezTo>
                <a:cubicBezTo>
                  <a:pt x="317523" y="57833"/>
                  <a:pt x="294689" y="61762"/>
                  <a:pt x="270798" y="65953"/>
                </a:cubicBezTo>
                <a:close/>
              </a:path>
            </a:pathLst>
          </a:custGeom>
          <a:solidFill>
            <a:srgbClr val="FCFCFC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77" name="Free-form: Shape 376">
            <a:extLst>
              <a:ext uri="{FF2B5EF4-FFF2-40B4-BE49-F238E27FC236}">
                <a16:creationId xmlns:a16="http://schemas.microsoft.com/office/drawing/2014/main" id="{8B70F6E0-664D-81C1-AA59-BA8B58215C8B}"/>
              </a:ext>
            </a:extLst>
          </p:cNvPr>
          <p:cNvSpPr/>
          <p:nvPr/>
        </p:nvSpPr>
        <p:spPr>
          <a:xfrm>
            <a:off x="2994966" y="4780331"/>
            <a:ext cx="72517" cy="55415"/>
          </a:xfrm>
          <a:custGeom>
            <a:avLst/>
            <a:gdLst>
              <a:gd name="csX0" fmla="*/ 9010 w 87239"/>
              <a:gd name="csY0" fmla="*/ 29316 h 66665"/>
              <a:gd name="csX1" fmla="*/ 6110 w 87239"/>
              <a:gd name="csY1" fmla="*/ 15162 h 66665"/>
              <a:gd name="csX2" fmla="*/ 0 w 87239"/>
              <a:gd name="csY2" fmla="*/ 3003 h 66665"/>
              <a:gd name="csX3" fmla="*/ 10641 w 87239"/>
              <a:gd name="csY3" fmla="*/ 697 h 66665"/>
              <a:gd name="csX4" fmla="*/ 42824 w 87239"/>
              <a:gd name="csY4" fmla="*/ 7981 h 66665"/>
              <a:gd name="csX5" fmla="*/ 73433 w 87239"/>
              <a:gd name="csY5" fmla="*/ 31631 h 66665"/>
              <a:gd name="csX6" fmla="*/ 86236 w 87239"/>
              <a:gd name="csY6" fmla="*/ 56519 h 66665"/>
              <a:gd name="csX7" fmla="*/ 82327 w 87239"/>
              <a:gd name="csY7" fmla="*/ 64249 h 66665"/>
              <a:gd name="csX8" fmla="*/ 49439 w 87239"/>
              <a:gd name="csY8" fmla="*/ 66665 h 66665"/>
              <a:gd name="csX9" fmla="*/ 11457 w 87239"/>
              <a:gd name="csY9" fmla="*/ 38560 h 66665"/>
              <a:gd name="csX10" fmla="*/ 9010 w 87239"/>
              <a:gd name="csY10" fmla="*/ 29316 h 6666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</a:cxnLst>
            <a:rect l="l" t="t" r="r" b="b"/>
            <a:pathLst>
              <a:path w="87239" h="66665">
                <a:moveTo>
                  <a:pt x="9010" y="29316"/>
                </a:moveTo>
                <a:cubicBezTo>
                  <a:pt x="7998" y="23924"/>
                  <a:pt x="7568" y="19365"/>
                  <a:pt x="6110" y="15162"/>
                </a:cubicBezTo>
                <a:cubicBezTo>
                  <a:pt x="4682" y="11044"/>
                  <a:pt x="2207" y="7289"/>
                  <a:pt x="0" y="3003"/>
                </a:cubicBezTo>
                <a:cubicBezTo>
                  <a:pt x="2648" y="-833"/>
                  <a:pt x="6580" y="-238"/>
                  <a:pt x="10641" y="697"/>
                </a:cubicBezTo>
                <a:cubicBezTo>
                  <a:pt x="21360" y="3163"/>
                  <a:pt x="32042" y="5825"/>
                  <a:pt x="42824" y="7981"/>
                </a:cubicBezTo>
                <a:cubicBezTo>
                  <a:pt x="57032" y="10823"/>
                  <a:pt x="67419" y="18068"/>
                  <a:pt x="73433" y="31631"/>
                </a:cubicBezTo>
                <a:cubicBezTo>
                  <a:pt x="77208" y="40146"/>
                  <a:pt x="81954" y="48228"/>
                  <a:pt x="86236" y="56519"/>
                </a:cubicBezTo>
                <a:cubicBezTo>
                  <a:pt x="88409" y="60728"/>
                  <a:pt x="87030" y="63806"/>
                  <a:pt x="82327" y="64249"/>
                </a:cubicBezTo>
                <a:cubicBezTo>
                  <a:pt x="71381" y="65282"/>
                  <a:pt x="60402" y="66689"/>
                  <a:pt x="49439" y="66665"/>
                </a:cubicBezTo>
                <a:cubicBezTo>
                  <a:pt x="28683" y="66620"/>
                  <a:pt x="18142" y="58428"/>
                  <a:pt x="11457" y="38560"/>
                </a:cubicBezTo>
                <a:cubicBezTo>
                  <a:pt x="10547" y="35855"/>
                  <a:pt x="9906" y="33058"/>
                  <a:pt x="9010" y="29316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78" name="Oval 377">
            <a:extLst>
              <a:ext uri="{FF2B5EF4-FFF2-40B4-BE49-F238E27FC236}">
                <a16:creationId xmlns:a16="http://schemas.microsoft.com/office/drawing/2014/main" id="{9AD15483-CC0D-3948-BAF7-0F961C3DAE16}"/>
              </a:ext>
            </a:extLst>
          </p:cNvPr>
          <p:cNvSpPr/>
          <p:nvPr/>
        </p:nvSpPr>
        <p:spPr>
          <a:xfrm>
            <a:off x="3726251" y="5721700"/>
            <a:ext cx="739960" cy="152189"/>
          </a:xfrm>
          <a:prstGeom prst="ellipse">
            <a:avLst/>
          </a:prstGeom>
          <a:solidFill>
            <a:schemeClr val="tx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79" name="Free-form: Shape 378">
            <a:extLst>
              <a:ext uri="{FF2B5EF4-FFF2-40B4-BE49-F238E27FC236}">
                <a16:creationId xmlns:a16="http://schemas.microsoft.com/office/drawing/2014/main" id="{408080FC-7CF7-99A7-17C4-E244936D9BAF}"/>
              </a:ext>
            </a:extLst>
          </p:cNvPr>
          <p:cNvSpPr/>
          <p:nvPr/>
        </p:nvSpPr>
        <p:spPr>
          <a:xfrm>
            <a:off x="3806215" y="4420123"/>
            <a:ext cx="650203" cy="1414846"/>
          </a:xfrm>
          <a:custGeom>
            <a:avLst/>
            <a:gdLst>
              <a:gd name="csX0" fmla="*/ 466852 w 715223"/>
              <a:gd name="csY0" fmla="*/ 229083 h 1556330"/>
              <a:gd name="csX1" fmla="*/ 462328 w 715223"/>
              <a:gd name="csY1" fmla="*/ 242604 h 1556330"/>
              <a:gd name="csX2" fmla="*/ 496944 w 715223"/>
              <a:gd name="csY2" fmla="*/ 204739 h 1556330"/>
              <a:gd name="csX3" fmla="*/ 534359 w 715223"/>
              <a:gd name="csY3" fmla="*/ 270960 h 1556330"/>
              <a:gd name="csX4" fmla="*/ 540589 w 715223"/>
              <a:gd name="csY4" fmla="*/ 445986 h 1556330"/>
              <a:gd name="csX5" fmla="*/ 509727 w 715223"/>
              <a:gd name="csY5" fmla="*/ 496924 h 1556330"/>
              <a:gd name="csX6" fmla="*/ 505366 w 715223"/>
              <a:gd name="csY6" fmla="*/ 511893 h 1556330"/>
              <a:gd name="csX7" fmla="*/ 501982 w 715223"/>
              <a:gd name="csY7" fmla="*/ 530377 h 1556330"/>
              <a:gd name="csX8" fmla="*/ 505678 w 715223"/>
              <a:gd name="csY8" fmla="*/ 556455 h 1556330"/>
              <a:gd name="csX9" fmla="*/ 526115 w 715223"/>
              <a:gd name="csY9" fmla="*/ 591784 h 1556330"/>
              <a:gd name="csX10" fmla="*/ 541579 w 715223"/>
              <a:gd name="csY10" fmla="*/ 612264 h 1556330"/>
              <a:gd name="csX11" fmla="*/ 569572 w 715223"/>
              <a:gd name="csY11" fmla="*/ 643441 h 1556330"/>
              <a:gd name="csX12" fmla="*/ 555234 w 715223"/>
              <a:gd name="csY12" fmla="*/ 688473 h 1556330"/>
              <a:gd name="csX13" fmla="*/ 513278 w 715223"/>
              <a:gd name="csY13" fmla="*/ 700556 h 1556330"/>
              <a:gd name="csX14" fmla="*/ 488559 w 715223"/>
              <a:gd name="csY14" fmla="*/ 702821 h 1556330"/>
              <a:gd name="csX15" fmla="*/ 488544 w 715223"/>
              <a:gd name="csY15" fmla="*/ 718085 h 1556330"/>
              <a:gd name="csX16" fmla="*/ 526561 w 715223"/>
              <a:gd name="csY16" fmla="*/ 1010212 h 1556330"/>
              <a:gd name="csX17" fmla="*/ 569986 w 715223"/>
              <a:gd name="csY17" fmla="*/ 1153317 h 1556330"/>
              <a:gd name="csX18" fmla="*/ 587389 w 715223"/>
              <a:gd name="csY18" fmla="*/ 1172173 h 1556330"/>
              <a:gd name="csX19" fmla="*/ 606286 w 715223"/>
              <a:gd name="csY19" fmla="*/ 1180891 h 1556330"/>
              <a:gd name="csX20" fmla="*/ 613400 w 715223"/>
              <a:gd name="csY20" fmla="*/ 1204260 h 1556330"/>
              <a:gd name="csX21" fmla="*/ 605350 w 715223"/>
              <a:gd name="csY21" fmla="*/ 1216760 h 1556330"/>
              <a:gd name="csX22" fmla="*/ 600268 w 715223"/>
              <a:gd name="csY22" fmla="*/ 1220273 h 1556330"/>
              <a:gd name="csX23" fmla="*/ 610574 w 715223"/>
              <a:gd name="csY23" fmla="*/ 1258750 h 1556330"/>
              <a:gd name="csX24" fmla="*/ 672371 w 715223"/>
              <a:gd name="csY24" fmla="*/ 1319810 h 1556330"/>
              <a:gd name="csX25" fmla="*/ 675494 w 715223"/>
              <a:gd name="csY25" fmla="*/ 1323366 h 1556330"/>
              <a:gd name="csX26" fmla="*/ 692949 w 715223"/>
              <a:gd name="csY26" fmla="*/ 1396068 h 1556330"/>
              <a:gd name="csX27" fmla="*/ 690628 w 715223"/>
              <a:gd name="csY27" fmla="*/ 1414117 h 1556330"/>
              <a:gd name="csX28" fmla="*/ 695588 w 715223"/>
              <a:gd name="csY28" fmla="*/ 1421035 h 1556330"/>
              <a:gd name="csX29" fmla="*/ 694353 w 715223"/>
              <a:gd name="csY29" fmla="*/ 1425190 h 1556330"/>
              <a:gd name="csX30" fmla="*/ 689106 w 715223"/>
              <a:gd name="csY30" fmla="*/ 1428714 h 1556330"/>
              <a:gd name="csX31" fmla="*/ 695093 w 715223"/>
              <a:gd name="csY31" fmla="*/ 1428433 h 1556330"/>
              <a:gd name="csX32" fmla="*/ 697643 w 715223"/>
              <a:gd name="csY32" fmla="*/ 1432864 h 1556330"/>
              <a:gd name="csX33" fmla="*/ 698207 w 715223"/>
              <a:gd name="csY33" fmla="*/ 1441988 h 1556330"/>
              <a:gd name="csX34" fmla="*/ 715183 w 715223"/>
              <a:gd name="csY34" fmla="*/ 1508752 h 1556330"/>
              <a:gd name="csX35" fmla="*/ 701540 w 715223"/>
              <a:gd name="csY35" fmla="*/ 1526524 h 1556330"/>
              <a:gd name="csX36" fmla="*/ 581715 w 715223"/>
              <a:gd name="csY36" fmla="*/ 1548559 h 1556330"/>
              <a:gd name="csX37" fmla="*/ 522168 w 715223"/>
              <a:gd name="csY37" fmla="*/ 1553543 h 1556330"/>
              <a:gd name="csX38" fmla="*/ 450008 w 715223"/>
              <a:gd name="csY38" fmla="*/ 1556019 h 1556330"/>
              <a:gd name="csX39" fmla="*/ 245169 w 715223"/>
              <a:gd name="csY39" fmla="*/ 1553749 h 1556330"/>
              <a:gd name="csX40" fmla="*/ 221854 w 715223"/>
              <a:gd name="csY40" fmla="*/ 1553306 h 1556330"/>
              <a:gd name="csX41" fmla="*/ 168405 w 715223"/>
              <a:gd name="csY41" fmla="*/ 1548828 h 1556330"/>
              <a:gd name="csX42" fmla="*/ 126970 w 715223"/>
              <a:gd name="csY42" fmla="*/ 1546091 h 1556330"/>
              <a:gd name="csX43" fmla="*/ 104053 w 715223"/>
              <a:gd name="csY43" fmla="*/ 1542912 h 1556330"/>
              <a:gd name="csX44" fmla="*/ 65625 w 715223"/>
              <a:gd name="csY44" fmla="*/ 1536401 h 1556330"/>
              <a:gd name="csX45" fmla="*/ 10909 w 715223"/>
              <a:gd name="csY45" fmla="*/ 1524010 h 1556330"/>
              <a:gd name="csX46" fmla="*/ 8 w 715223"/>
              <a:gd name="csY46" fmla="*/ 1509263 h 1556330"/>
              <a:gd name="csX47" fmla="*/ 21158 w 715223"/>
              <a:gd name="csY47" fmla="*/ 1433611 h 1556330"/>
              <a:gd name="csX48" fmla="*/ 23462 w 715223"/>
              <a:gd name="csY48" fmla="*/ 1418658 h 1556330"/>
              <a:gd name="csX49" fmla="*/ 19643 w 715223"/>
              <a:gd name="csY49" fmla="*/ 1382324 h 1556330"/>
              <a:gd name="csX50" fmla="*/ 49060 w 715223"/>
              <a:gd name="csY50" fmla="*/ 1311832 h 1556330"/>
              <a:gd name="csX51" fmla="*/ 109176 w 715223"/>
              <a:gd name="csY51" fmla="*/ 1254078 h 1556330"/>
              <a:gd name="csX52" fmla="*/ 118319 w 715223"/>
              <a:gd name="csY52" fmla="*/ 1214801 h 1556330"/>
              <a:gd name="csX53" fmla="*/ 113082 w 715223"/>
              <a:gd name="csY53" fmla="*/ 1201084 h 1556330"/>
              <a:gd name="csX54" fmla="*/ 120417 w 715223"/>
              <a:gd name="csY54" fmla="*/ 1183950 h 1556330"/>
              <a:gd name="csX55" fmla="*/ 135209 w 715223"/>
              <a:gd name="csY55" fmla="*/ 1178138 h 1556330"/>
              <a:gd name="csX56" fmla="*/ 156535 w 715223"/>
              <a:gd name="csY56" fmla="*/ 1156396 h 1556330"/>
              <a:gd name="csX57" fmla="*/ 185647 w 715223"/>
              <a:gd name="csY57" fmla="*/ 1061682 h 1556330"/>
              <a:gd name="csX58" fmla="*/ 201074 w 715223"/>
              <a:gd name="csY58" fmla="*/ 1005093 h 1556330"/>
              <a:gd name="csX59" fmla="*/ 213864 w 715223"/>
              <a:gd name="csY59" fmla="*/ 943040 h 1556330"/>
              <a:gd name="csX60" fmla="*/ 223580 w 715223"/>
              <a:gd name="csY60" fmla="*/ 884167 h 1556330"/>
              <a:gd name="csX61" fmla="*/ 228827 w 715223"/>
              <a:gd name="csY61" fmla="*/ 839382 h 1556330"/>
              <a:gd name="csX62" fmla="*/ 233251 w 715223"/>
              <a:gd name="csY62" fmla="*/ 794539 h 1556330"/>
              <a:gd name="csX63" fmla="*/ 233413 w 715223"/>
              <a:gd name="csY63" fmla="*/ 708554 h 1556330"/>
              <a:gd name="csX64" fmla="*/ 232253 w 715223"/>
              <a:gd name="csY64" fmla="*/ 699181 h 1556330"/>
              <a:gd name="csX65" fmla="*/ 192775 w 715223"/>
              <a:gd name="csY65" fmla="*/ 693131 h 1556330"/>
              <a:gd name="csX66" fmla="*/ 166222 w 715223"/>
              <a:gd name="csY66" fmla="*/ 684229 h 1556330"/>
              <a:gd name="csX67" fmla="*/ 153485 w 715223"/>
              <a:gd name="csY67" fmla="*/ 649704 h 1556330"/>
              <a:gd name="csX68" fmla="*/ 179302 w 715223"/>
              <a:gd name="csY68" fmla="*/ 621006 h 1556330"/>
              <a:gd name="csX69" fmla="*/ 192182 w 715223"/>
              <a:gd name="csY69" fmla="*/ 601675 h 1556330"/>
              <a:gd name="csX70" fmla="*/ 204894 w 715223"/>
              <a:gd name="csY70" fmla="*/ 583417 h 1556330"/>
              <a:gd name="csX71" fmla="*/ 233213 w 715223"/>
              <a:gd name="csY71" fmla="*/ 564393 h 1556330"/>
              <a:gd name="csX72" fmla="*/ 229725 w 715223"/>
              <a:gd name="csY72" fmla="*/ 538177 h 1556330"/>
              <a:gd name="csX73" fmla="*/ 218771 w 715223"/>
              <a:gd name="csY73" fmla="*/ 532633 h 1556330"/>
              <a:gd name="csX74" fmla="*/ 215183 w 715223"/>
              <a:gd name="csY74" fmla="*/ 521568 h 1556330"/>
              <a:gd name="csX75" fmla="*/ 223368 w 715223"/>
              <a:gd name="csY75" fmla="*/ 508901 h 1556330"/>
              <a:gd name="csX76" fmla="*/ 218372 w 715223"/>
              <a:gd name="csY76" fmla="*/ 498135 h 1556330"/>
              <a:gd name="csX77" fmla="*/ 181440 w 715223"/>
              <a:gd name="csY77" fmla="*/ 432308 h 1556330"/>
              <a:gd name="csX78" fmla="*/ 167535 w 715223"/>
              <a:gd name="csY78" fmla="*/ 349841 h 1556330"/>
              <a:gd name="csX79" fmla="*/ 193488 w 715223"/>
              <a:gd name="csY79" fmla="*/ 262518 h 1556330"/>
              <a:gd name="csX80" fmla="*/ 237748 w 715223"/>
              <a:gd name="csY80" fmla="*/ 190690 h 1556330"/>
              <a:gd name="csX81" fmla="*/ 309459 w 715223"/>
              <a:gd name="csY81" fmla="*/ 102623 h 1556330"/>
              <a:gd name="csX82" fmla="*/ 310459 w 715223"/>
              <a:gd name="csY82" fmla="*/ 78521 h 1556330"/>
              <a:gd name="csX83" fmla="*/ 300267 w 715223"/>
              <a:gd name="csY83" fmla="*/ 57856 h 1556330"/>
              <a:gd name="csX84" fmla="*/ 332242 w 715223"/>
              <a:gd name="csY84" fmla="*/ 4422 h 1556330"/>
              <a:gd name="csX85" fmla="*/ 384904 w 715223"/>
              <a:gd name="csY85" fmla="*/ 5551 h 1556330"/>
              <a:gd name="csX86" fmla="*/ 409773 w 715223"/>
              <a:gd name="csY86" fmla="*/ 26778 h 1556330"/>
              <a:gd name="csX87" fmla="*/ 407026 w 715223"/>
              <a:gd name="csY87" fmla="*/ 46052 h 1556330"/>
              <a:gd name="csX88" fmla="*/ 402771 w 715223"/>
              <a:gd name="csY88" fmla="*/ 30951 h 1556330"/>
              <a:gd name="csX89" fmla="*/ 397038 w 715223"/>
              <a:gd name="csY89" fmla="*/ 30361 h 1556330"/>
              <a:gd name="csX90" fmla="*/ 360694 w 715223"/>
              <a:gd name="csY90" fmla="*/ 22760 h 1556330"/>
              <a:gd name="csX91" fmla="*/ 351669 w 715223"/>
              <a:gd name="csY91" fmla="*/ 31736 h 1556330"/>
              <a:gd name="csX92" fmla="*/ 351426 w 715223"/>
              <a:gd name="csY92" fmla="*/ 43987 h 1556330"/>
              <a:gd name="csX93" fmla="*/ 390968 w 715223"/>
              <a:gd name="csY93" fmla="*/ 68762 h 1556330"/>
              <a:gd name="csX94" fmla="*/ 401770 w 715223"/>
              <a:gd name="csY94" fmla="*/ 59025 h 1556330"/>
              <a:gd name="csX95" fmla="*/ 409619 w 715223"/>
              <a:gd name="csY95" fmla="*/ 55786 h 1556330"/>
              <a:gd name="csX96" fmla="*/ 410427 w 715223"/>
              <a:gd name="csY96" fmla="*/ 64256 h 1556330"/>
              <a:gd name="csX97" fmla="*/ 399453 w 715223"/>
              <a:gd name="csY97" fmla="*/ 81811 h 1556330"/>
              <a:gd name="csX98" fmla="*/ 399346 w 715223"/>
              <a:gd name="csY98" fmla="*/ 98083 h 1556330"/>
              <a:gd name="csX99" fmla="*/ 471592 w 715223"/>
              <a:gd name="csY99" fmla="*/ 180524 h 1556330"/>
              <a:gd name="csX100" fmla="*/ 473550 w 715223"/>
              <a:gd name="csY100" fmla="*/ 200923 h 1556330"/>
              <a:gd name="csX101" fmla="*/ 463677 w 715223"/>
              <a:gd name="csY101" fmla="*/ 223311 h 1556330"/>
              <a:gd name="csX102" fmla="*/ 466852 w 715223"/>
              <a:gd name="csY102" fmla="*/ 229083 h 1556330"/>
              <a:gd name="csX103" fmla="*/ 474186 w 715223"/>
              <a:gd name="csY103" fmla="*/ 928382 h 1556330"/>
              <a:gd name="csX104" fmla="*/ 459927 w 715223"/>
              <a:gd name="csY104" fmla="*/ 817790 h 1556330"/>
              <a:gd name="csX105" fmla="*/ 456025 w 715223"/>
              <a:gd name="csY105" fmla="*/ 706469 h 1556330"/>
              <a:gd name="csX106" fmla="*/ 366863 w 715223"/>
              <a:gd name="csY106" fmla="*/ 710754 h 1556330"/>
              <a:gd name="csX107" fmla="*/ 366159 w 715223"/>
              <a:gd name="csY107" fmla="*/ 719219 h 1556330"/>
              <a:gd name="csX108" fmla="*/ 364159 w 715223"/>
              <a:gd name="csY108" fmla="*/ 834581 h 1556330"/>
              <a:gd name="csX109" fmla="*/ 361633 w 715223"/>
              <a:gd name="csY109" fmla="*/ 940117 h 1556330"/>
              <a:gd name="csX110" fmla="*/ 358313 w 715223"/>
              <a:gd name="csY110" fmla="*/ 1053005 h 1556330"/>
              <a:gd name="csX111" fmla="*/ 358081 w 715223"/>
              <a:gd name="csY111" fmla="*/ 1057912 h 1556330"/>
              <a:gd name="csX112" fmla="*/ 353706 w 715223"/>
              <a:gd name="csY112" fmla="*/ 1164570 h 1556330"/>
              <a:gd name="csX113" fmla="*/ 354951 w 715223"/>
              <a:gd name="csY113" fmla="*/ 1172547 h 1556330"/>
              <a:gd name="csX114" fmla="*/ 540959 w 715223"/>
              <a:gd name="csY114" fmla="*/ 1175972 h 1556330"/>
              <a:gd name="csX115" fmla="*/ 474186 w 715223"/>
              <a:gd name="csY115" fmla="*/ 928382 h 1556330"/>
              <a:gd name="csX116" fmla="*/ 513768 w 715223"/>
              <a:gd name="csY116" fmla="*/ 1417676 h 1556330"/>
              <a:gd name="csX117" fmla="*/ 519822 w 715223"/>
              <a:gd name="csY117" fmla="*/ 1416700 h 1556330"/>
              <a:gd name="csX118" fmla="*/ 632041 w 715223"/>
              <a:gd name="csY118" fmla="*/ 1406122 h 1556330"/>
              <a:gd name="csX119" fmla="*/ 665040 w 715223"/>
              <a:gd name="csY119" fmla="*/ 1400634 h 1556330"/>
              <a:gd name="csX120" fmla="*/ 665677 w 715223"/>
              <a:gd name="csY120" fmla="*/ 1396126 h 1556330"/>
              <a:gd name="csX121" fmla="*/ 665529 w 715223"/>
              <a:gd name="csY121" fmla="*/ 1389994 h 1556330"/>
              <a:gd name="csX122" fmla="*/ 623046 w 715223"/>
              <a:gd name="csY122" fmla="*/ 1306238 h 1556330"/>
              <a:gd name="csX123" fmla="*/ 596015 w 715223"/>
              <a:gd name="csY123" fmla="*/ 1281285 h 1556330"/>
              <a:gd name="csX124" fmla="*/ 567683 w 715223"/>
              <a:gd name="csY124" fmla="*/ 1220059 h 1556330"/>
              <a:gd name="csX125" fmla="*/ 540273 w 715223"/>
              <a:gd name="csY125" fmla="*/ 1220129 h 1556330"/>
              <a:gd name="csX126" fmla="*/ 424010 w 715223"/>
              <a:gd name="csY126" fmla="*/ 1226781 h 1556330"/>
              <a:gd name="csX127" fmla="*/ 357832 w 715223"/>
              <a:gd name="csY127" fmla="*/ 1229178 h 1556330"/>
              <a:gd name="csX128" fmla="*/ 352386 w 715223"/>
              <a:gd name="csY128" fmla="*/ 1230616 h 1556330"/>
              <a:gd name="csX129" fmla="*/ 355852 w 715223"/>
              <a:gd name="csY129" fmla="*/ 1324222 h 1556330"/>
              <a:gd name="csX130" fmla="*/ 352930 w 715223"/>
              <a:gd name="csY130" fmla="*/ 1417867 h 1556330"/>
              <a:gd name="csX131" fmla="*/ 513768 w 715223"/>
              <a:gd name="csY131" fmla="*/ 1417676 h 1556330"/>
              <a:gd name="csX132" fmla="*/ 387930 w 715223"/>
              <a:gd name="csY132" fmla="*/ 499741 h 1556330"/>
              <a:gd name="csX133" fmla="*/ 456529 w 715223"/>
              <a:gd name="csY133" fmla="*/ 496826 h 1556330"/>
              <a:gd name="csX134" fmla="*/ 482355 w 715223"/>
              <a:gd name="csY134" fmla="*/ 485095 h 1556330"/>
              <a:gd name="csX135" fmla="*/ 528016 w 715223"/>
              <a:gd name="csY135" fmla="*/ 374829 h 1556330"/>
              <a:gd name="csX136" fmla="*/ 501375 w 715223"/>
              <a:gd name="csY136" fmla="*/ 261643 h 1556330"/>
              <a:gd name="csX137" fmla="*/ 493534 w 715223"/>
              <a:gd name="csY137" fmla="*/ 249818 h 1556330"/>
              <a:gd name="csX138" fmla="*/ 485920 w 715223"/>
              <a:gd name="csY138" fmla="*/ 260010 h 1556330"/>
              <a:gd name="csX139" fmla="*/ 453305 w 715223"/>
              <a:gd name="csY139" fmla="*/ 310523 h 1556330"/>
              <a:gd name="csX140" fmla="*/ 433678 w 715223"/>
              <a:gd name="csY140" fmla="*/ 338672 h 1556330"/>
              <a:gd name="csX141" fmla="*/ 403713 w 715223"/>
              <a:gd name="csY141" fmla="*/ 343710 h 1556330"/>
              <a:gd name="csX142" fmla="*/ 396427 w 715223"/>
              <a:gd name="csY142" fmla="*/ 315612 h 1556330"/>
              <a:gd name="csX143" fmla="*/ 399663 w 715223"/>
              <a:gd name="csY143" fmla="*/ 309000 h 1556330"/>
              <a:gd name="csX144" fmla="*/ 452097 w 715223"/>
              <a:gd name="csY144" fmla="*/ 200770 h 1556330"/>
              <a:gd name="csX145" fmla="*/ 450118 w 715223"/>
              <a:gd name="csY145" fmla="*/ 180596 h 1556330"/>
              <a:gd name="csX146" fmla="*/ 376545 w 715223"/>
              <a:gd name="csY146" fmla="*/ 105525 h 1556330"/>
              <a:gd name="csX147" fmla="*/ 368791 w 715223"/>
              <a:gd name="csY147" fmla="*/ 101653 h 1556330"/>
              <a:gd name="csX148" fmla="*/ 366449 w 715223"/>
              <a:gd name="csY148" fmla="*/ 144676 h 1556330"/>
              <a:gd name="csX149" fmla="*/ 365447 w 715223"/>
              <a:gd name="csY149" fmla="*/ 183946 h 1556330"/>
              <a:gd name="csX150" fmla="*/ 364738 w 715223"/>
              <a:gd name="csY150" fmla="*/ 298022 h 1556330"/>
              <a:gd name="csX151" fmla="*/ 373865 w 715223"/>
              <a:gd name="csY151" fmla="*/ 430096 h 1556330"/>
              <a:gd name="csX152" fmla="*/ 381088 w 715223"/>
              <a:gd name="csY152" fmla="*/ 492169 h 1556330"/>
              <a:gd name="csX153" fmla="*/ 387930 w 715223"/>
              <a:gd name="csY153" fmla="*/ 499741 h 1556330"/>
              <a:gd name="csX154" fmla="*/ 455850 w 715223"/>
              <a:gd name="csY154" fmla="*/ 1521476 h 1556330"/>
              <a:gd name="csX155" fmla="*/ 685121 w 715223"/>
              <a:gd name="csY155" fmla="*/ 1496509 h 1556330"/>
              <a:gd name="csX156" fmla="*/ 672999 w 715223"/>
              <a:gd name="csY156" fmla="*/ 1456665 h 1556330"/>
              <a:gd name="csX157" fmla="*/ 660009 w 715223"/>
              <a:gd name="csY157" fmla="*/ 1450249 h 1556330"/>
              <a:gd name="csX158" fmla="*/ 633248 w 715223"/>
              <a:gd name="csY158" fmla="*/ 1453589 h 1556330"/>
              <a:gd name="csX159" fmla="*/ 451131 w 715223"/>
              <a:gd name="csY159" fmla="*/ 1467458 h 1556330"/>
              <a:gd name="csX160" fmla="*/ 362719 w 715223"/>
              <a:gd name="csY160" fmla="*/ 1467934 h 1556330"/>
              <a:gd name="csX161" fmla="*/ 349983 w 715223"/>
              <a:gd name="csY161" fmla="*/ 1467936 h 1556330"/>
              <a:gd name="csX162" fmla="*/ 352220 w 715223"/>
              <a:gd name="csY162" fmla="*/ 1519140 h 1556330"/>
              <a:gd name="csX163" fmla="*/ 455850 w 715223"/>
              <a:gd name="csY163" fmla="*/ 1521476 h 1556330"/>
              <a:gd name="csX164" fmla="*/ 368682 w 715223"/>
              <a:gd name="csY164" fmla="*/ 544846 h 1556330"/>
              <a:gd name="csX165" fmla="*/ 363600 w 715223"/>
              <a:gd name="csY165" fmla="*/ 605633 h 1556330"/>
              <a:gd name="csX166" fmla="*/ 496351 w 715223"/>
              <a:gd name="csY166" fmla="*/ 601466 h 1556330"/>
              <a:gd name="csX167" fmla="*/ 485068 w 715223"/>
              <a:gd name="csY167" fmla="*/ 579288 h 1556330"/>
              <a:gd name="csX168" fmla="*/ 466524 w 715223"/>
              <a:gd name="csY168" fmla="*/ 541026 h 1556330"/>
              <a:gd name="csX169" fmla="*/ 465000 w 715223"/>
              <a:gd name="csY169" fmla="*/ 536289 h 1556330"/>
              <a:gd name="csX170" fmla="*/ 451328 w 715223"/>
              <a:gd name="csY170" fmla="*/ 536316 h 1556330"/>
              <a:gd name="csX171" fmla="*/ 390140 w 715223"/>
              <a:gd name="csY171" fmla="*/ 538979 h 1556330"/>
              <a:gd name="csX172" fmla="*/ 374215 w 715223"/>
              <a:gd name="csY172" fmla="*/ 539303 h 1556330"/>
              <a:gd name="csX173" fmla="*/ 368682 w 715223"/>
              <a:gd name="csY173" fmla="*/ 544846 h 1556330"/>
              <a:gd name="csX174" fmla="*/ 453915 w 715223"/>
              <a:gd name="csY174" fmla="*/ 635267 h 1556330"/>
              <a:gd name="csX175" fmla="*/ 374200 w 715223"/>
              <a:gd name="csY175" fmla="*/ 639402 h 1556330"/>
              <a:gd name="csX176" fmla="*/ 374200 w 715223"/>
              <a:gd name="csY176" fmla="*/ 673206 h 1556330"/>
              <a:gd name="csX177" fmla="*/ 386639 w 715223"/>
              <a:gd name="csY177" fmla="*/ 673718 h 1556330"/>
              <a:gd name="csX178" fmla="*/ 521198 w 715223"/>
              <a:gd name="csY178" fmla="*/ 668541 h 1556330"/>
              <a:gd name="csX179" fmla="*/ 534198 w 715223"/>
              <a:gd name="csY179" fmla="*/ 665521 h 1556330"/>
              <a:gd name="csX180" fmla="*/ 538413 w 715223"/>
              <a:gd name="csY180" fmla="*/ 652526 h 1556330"/>
              <a:gd name="csX181" fmla="*/ 529377 w 715223"/>
              <a:gd name="csY181" fmla="*/ 642895 h 1556330"/>
              <a:gd name="csX182" fmla="*/ 502829 w 715223"/>
              <a:gd name="csY182" fmla="*/ 634808 h 1556330"/>
              <a:gd name="csX183" fmla="*/ 453915 w 715223"/>
              <a:gd name="csY183" fmla="*/ 635267 h 155633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  <a:cxn ang="0">
                <a:pos x="csX170" y="csY170"/>
              </a:cxn>
              <a:cxn ang="0">
                <a:pos x="csX171" y="csY171"/>
              </a:cxn>
              <a:cxn ang="0">
                <a:pos x="csX172" y="csY172"/>
              </a:cxn>
              <a:cxn ang="0">
                <a:pos x="csX173" y="csY173"/>
              </a:cxn>
              <a:cxn ang="0">
                <a:pos x="csX174" y="csY174"/>
              </a:cxn>
              <a:cxn ang="0">
                <a:pos x="csX175" y="csY175"/>
              </a:cxn>
              <a:cxn ang="0">
                <a:pos x="csX176" y="csY176"/>
              </a:cxn>
              <a:cxn ang="0">
                <a:pos x="csX177" y="csY177"/>
              </a:cxn>
              <a:cxn ang="0">
                <a:pos x="csX178" y="csY178"/>
              </a:cxn>
              <a:cxn ang="0">
                <a:pos x="csX179" y="csY179"/>
              </a:cxn>
              <a:cxn ang="0">
                <a:pos x="csX180" y="csY180"/>
              </a:cxn>
              <a:cxn ang="0">
                <a:pos x="csX181" y="csY181"/>
              </a:cxn>
              <a:cxn ang="0">
                <a:pos x="csX182" y="csY182"/>
              </a:cxn>
              <a:cxn ang="0">
                <a:pos x="csX183" y="csY183"/>
              </a:cxn>
            </a:cxnLst>
            <a:rect l="l" t="t" r="r" b="b"/>
            <a:pathLst>
              <a:path w="715223" h="1556330">
                <a:moveTo>
                  <a:pt x="466852" y="229083"/>
                </a:moveTo>
                <a:cubicBezTo>
                  <a:pt x="465344" y="233590"/>
                  <a:pt x="463836" y="238097"/>
                  <a:pt x="462328" y="242604"/>
                </a:cubicBezTo>
                <a:cubicBezTo>
                  <a:pt x="476604" y="232528"/>
                  <a:pt x="484219" y="216936"/>
                  <a:pt x="496944" y="204739"/>
                </a:cubicBezTo>
                <a:cubicBezTo>
                  <a:pt x="511903" y="225901"/>
                  <a:pt x="524807" y="247414"/>
                  <a:pt x="534359" y="270960"/>
                </a:cubicBezTo>
                <a:cubicBezTo>
                  <a:pt x="557740" y="328591"/>
                  <a:pt x="560223" y="386926"/>
                  <a:pt x="540589" y="445986"/>
                </a:cubicBezTo>
                <a:cubicBezTo>
                  <a:pt x="534197" y="465215"/>
                  <a:pt x="524450" y="482672"/>
                  <a:pt x="509727" y="496924"/>
                </a:cubicBezTo>
                <a:cubicBezTo>
                  <a:pt x="505277" y="501232"/>
                  <a:pt x="502734" y="505157"/>
                  <a:pt x="505366" y="511893"/>
                </a:cubicBezTo>
                <a:cubicBezTo>
                  <a:pt x="507828" y="518196"/>
                  <a:pt x="505953" y="524402"/>
                  <a:pt x="501982" y="530377"/>
                </a:cubicBezTo>
                <a:cubicBezTo>
                  <a:pt x="495613" y="539961"/>
                  <a:pt x="496865" y="548901"/>
                  <a:pt x="505678" y="556455"/>
                </a:cubicBezTo>
                <a:cubicBezTo>
                  <a:pt x="516748" y="565943"/>
                  <a:pt x="523694" y="577557"/>
                  <a:pt x="526115" y="591784"/>
                </a:cubicBezTo>
                <a:cubicBezTo>
                  <a:pt x="527758" y="601445"/>
                  <a:pt x="532593" y="608029"/>
                  <a:pt x="541579" y="612264"/>
                </a:cubicBezTo>
                <a:cubicBezTo>
                  <a:pt x="555150" y="618662"/>
                  <a:pt x="564081" y="629523"/>
                  <a:pt x="569572" y="643441"/>
                </a:cubicBezTo>
                <a:cubicBezTo>
                  <a:pt x="576413" y="660776"/>
                  <a:pt x="570996" y="678245"/>
                  <a:pt x="555234" y="688473"/>
                </a:cubicBezTo>
                <a:cubicBezTo>
                  <a:pt x="542486" y="696746"/>
                  <a:pt x="528127" y="699474"/>
                  <a:pt x="513278" y="700556"/>
                </a:cubicBezTo>
                <a:cubicBezTo>
                  <a:pt x="505590" y="701115"/>
                  <a:pt x="497922" y="701952"/>
                  <a:pt x="488559" y="702821"/>
                </a:cubicBezTo>
                <a:cubicBezTo>
                  <a:pt x="488559" y="708552"/>
                  <a:pt x="488653" y="713320"/>
                  <a:pt x="488544" y="718085"/>
                </a:cubicBezTo>
                <a:cubicBezTo>
                  <a:pt x="486284" y="817406"/>
                  <a:pt x="502313" y="914319"/>
                  <a:pt x="526561" y="1010212"/>
                </a:cubicBezTo>
                <a:cubicBezTo>
                  <a:pt x="538799" y="1058612"/>
                  <a:pt x="553050" y="1106345"/>
                  <a:pt x="569986" y="1153317"/>
                </a:cubicBezTo>
                <a:cubicBezTo>
                  <a:pt x="573328" y="1162590"/>
                  <a:pt x="578279" y="1168740"/>
                  <a:pt x="587389" y="1172173"/>
                </a:cubicBezTo>
                <a:cubicBezTo>
                  <a:pt x="593869" y="1174616"/>
                  <a:pt x="600289" y="1177449"/>
                  <a:pt x="606286" y="1180891"/>
                </a:cubicBezTo>
                <a:cubicBezTo>
                  <a:pt x="617185" y="1187146"/>
                  <a:pt x="618776" y="1192931"/>
                  <a:pt x="613400" y="1204260"/>
                </a:cubicBezTo>
                <a:cubicBezTo>
                  <a:pt x="611475" y="1208315"/>
                  <a:pt x="609140" y="1212177"/>
                  <a:pt x="605350" y="1216760"/>
                </a:cubicBezTo>
                <a:cubicBezTo>
                  <a:pt x="602514" y="1218347"/>
                  <a:pt x="600399" y="1219189"/>
                  <a:pt x="600268" y="1220273"/>
                </a:cubicBezTo>
                <a:cubicBezTo>
                  <a:pt x="598551" y="1234430"/>
                  <a:pt x="599473" y="1247881"/>
                  <a:pt x="610574" y="1258750"/>
                </a:cubicBezTo>
                <a:cubicBezTo>
                  <a:pt x="631265" y="1279009"/>
                  <a:pt x="651790" y="1299438"/>
                  <a:pt x="672371" y="1319810"/>
                </a:cubicBezTo>
                <a:cubicBezTo>
                  <a:pt x="673495" y="1320922"/>
                  <a:pt x="674892" y="1321987"/>
                  <a:pt x="675494" y="1323366"/>
                </a:cubicBezTo>
                <a:cubicBezTo>
                  <a:pt x="685626" y="1346558"/>
                  <a:pt x="694775" y="1370031"/>
                  <a:pt x="692949" y="1396068"/>
                </a:cubicBezTo>
                <a:cubicBezTo>
                  <a:pt x="692525" y="1402108"/>
                  <a:pt x="691276" y="1408087"/>
                  <a:pt x="690628" y="1414117"/>
                </a:cubicBezTo>
                <a:cubicBezTo>
                  <a:pt x="690241" y="1417713"/>
                  <a:pt x="691290" y="1420628"/>
                  <a:pt x="695588" y="1421035"/>
                </a:cubicBezTo>
                <a:cubicBezTo>
                  <a:pt x="695527" y="1422155"/>
                  <a:pt x="695467" y="1423274"/>
                  <a:pt x="694353" y="1425190"/>
                </a:cubicBezTo>
                <a:cubicBezTo>
                  <a:pt x="691901" y="1426894"/>
                  <a:pt x="690503" y="1427804"/>
                  <a:pt x="689106" y="1428714"/>
                </a:cubicBezTo>
                <a:cubicBezTo>
                  <a:pt x="691101" y="1428620"/>
                  <a:pt x="693098" y="1428527"/>
                  <a:pt x="695093" y="1428433"/>
                </a:cubicBezTo>
                <a:cubicBezTo>
                  <a:pt x="695976" y="1429430"/>
                  <a:pt x="696859" y="1430427"/>
                  <a:pt x="697643" y="1432864"/>
                </a:cubicBezTo>
                <a:cubicBezTo>
                  <a:pt x="697724" y="1436887"/>
                  <a:pt x="697087" y="1439912"/>
                  <a:pt x="698207" y="1441988"/>
                </a:cubicBezTo>
                <a:cubicBezTo>
                  <a:pt x="709464" y="1462853"/>
                  <a:pt x="715798" y="1484864"/>
                  <a:pt x="715183" y="1508752"/>
                </a:cubicBezTo>
                <a:cubicBezTo>
                  <a:pt x="714863" y="1521166"/>
                  <a:pt x="713458" y="1523372"/>
                  <a:pt x="701540" y="1526524"/>
                </a:cubicBezTo>
                <a:cubicBezTo>
                  <a:pt x="662165" y="1536936"/>
                  <a:pt x="622006" y="1543243"/>
                  <a:pt x="581715" y="1548559"/>
                </a:cubicBezTo>
                <a:cubicBezTo>
                  <a:pt x="561988" y="1551162"/>
                  <a:pt x="542052" y="1552457"/>
                  <a:pt x="522168" y="1553543"/>
                </a:cubicBezTo>
                <a:cubicBezTo>
                  <a:pt x="498138" y="1554856"/>
                  <a:pt x="474063" y="1556013"/>
                  <a:pt x="450008" y="1556019"/>
                </a:cubicBezTo>
                <a:cubicBezTo>
                  <a:pt x="381724" y="1556035"/>
                  <a:pt x="313415" y="1557550"/>
                  <a:pt x="245169" y="1553749"/>
                </a:cubicBezTo>
                <a:cubicBezTo>
                  <a:pt x="237413" y="1553317"/>
                  <a:pt x="229596" y="1553867"/>
                  <a:pt x="221854" y="1553306"/>
                </a:cubicBezTo>
                <a:cubicBezTo>
                  <a:pt x="204023" y="1552015"/>
                  <a:pt x="186231" y="1550202"/>
                  <a:pt x="168405" y="1548828"/>
                </a:cubicBezTo>
                <a:cubicBezTo>
                  <a:pt x="154605" y="1547764"/>
                  <a:pt x="140762" y="1547242"/>
                  <a:pt x="126970" y="1546091"/>
                </a:cubicBezTo>
                <a:cubicBezTo>
                  <a:pt x="119295" y="1545451"/>
                  <a:pt x="111668" y="1544132"/>
                  <a:pt x="104053" y="1542912"/>
                </a:cubicBezTo>
                <a:cubicBezTo>
                  <a:pt x="91223" y="1540858"/>
                  <a:pt x="78344" y="1539011"/>
                  <a:pt x="65625" y="1536401"/>
                </a:cubicBezTo>
                <a:cubicBezTo>
                  <a:pt x="47307" y="1532642"/>
                  <a:pt x="29006" y="1528694"/>
                  <a:pt x="10909" y="1524010"/>
                </a:cubicBezTo>
                <a:cubicBezTo>
                  <a:pt x="744" y="1521379"/>
                  <a:pt x="119" y="1519620"/>
                  <a:pt x="8" y="1509263"/>
                </a:cubicBezTo>
                <a:cubicBezTo>
                  <a:pt x="-283" y="1482004"/>
                  <a:pt x="7525" y="1456906"/>
                  <a:pt x="21158" y="1433611"/>
                </a:cubicBezTo>
                <a:cubicBezTo>
                  <a:pt x="24128" y="1428537"/>
                  <a:pt x="25100" y="1424162"/>
                  <a:pt x="23462" y="1418658"/>
                </a:cubicBezTo>
                <a:cubicBezTo>
                  <a:pt x="19938" y="1406814"/>
                  <a:pt x="19145" y="1394638"/>
                  <a:pt x="19643" y="1382324"/>
                </a:cubicBezTo>
                <a:cubicBezTo>
                  <a:pt x="20741" y="1355171"/>
                  <a:pt x="29461" y="1331114"/>
                  <a:pt x="49060" y="1311832"/>
                </a:cubicBezTo>
                <a:cubicBezTo>
                  <a:pt x="68866" y="1292344"/>
                  <a:pt x="89102" y="1273294"/>
                  <a:pt x="109176" y="1254078"/>
                </a:cubicBezTo>
                <a:cubicBezTo>
                  <a:pt x="120788" y="1242961"/>
                  <a:pt x="123122" y="1229673"/>
                  <a:pt x="118319" y="1214801"/>
                </a:cubicBezTo>
                <a:cubicBezTo>
                  <a:pt x="116817" y="1210150"/>
                  <a:pt x="114697" y="1205702"/>
                  <a:pt x="113082" y="1201084"/>
                </a:cubicBezTo>
                <a:cubicBezTo>
                  <a:pt x="109606" y="1191147"/>
                  <a:pt x="110855" y="1188189"/>
                  <a:pt x="120417" y="1183950"/>
                </a:cubicBezTo>
                <a:cubicBezTo>
                  <a:pt x="125262" y="1181801"/>
                  <a:pt x="130109" y="1179394"/>
                  <a:pt x="135209" y="1178138"/>
                </a:cubicBezTo>
                <a:cubicBezTo>
                  <a:pt x="146972" y="1175241"/>
                  <a:pt x="153194" y="1166910"/>
                  <a:pt x="156535" y="1156396"/>
                </a:cubicBezTo>
                <a:cubicBezTo>
                  <a:pt x="166535" y="1124919"/>
                  <a:pt x="176229" y="1093339"/>
                  <a:pt x="185647" y="1061682"/>
                </a:cubicBezTo>
                <a:cubicBezTo>
                  <a:pt x="191222" y="1042945"/>
                  <a:pt x="196570" y="1024108"/>
                  <a:pt x="201074" y="1005093"/>
                </a:cubicBezTo>
                <a:cubicBezTo>
                  <a:pt x="205941" y="984550"/>
                  <a:pt x="210000" y="963801"/>
                  <a:pt x="213864" y="943040"/>
                </a:cubicBezTo>
                <a:cubicBezTo>
                  <a:pt x="217503" y="923489"/>
                  <a:pt x="220701" y="903846"/>
                  <a:pt x="223580" y="884167"/>
                </a:cubicBezTo>
                <a:cubicBezTo>
                  <a:pt x="225754" y="869301"/>
                  <a:pt x="227195" y="854324"/>
                  <a:pt x="228827" y="839382"/>
                </a:cubicBezTo>
                <a:cubicBezTo>
                  <a:pt x="230459" y="824446"/>
                  <a:pt x="232880" y="809515"/>
                  <a:pt x="233251" y="794539"/>
                </a:cubicBezTo>
                <a:cubicBezTo>
                  <a:pt x="233961" y="765893"/>
                  <a:pt x="233499" y="737217"/>
                  <a:pt x="233413" y="708554"/>
                </a:cubicBezTo>
                <a:cubicBezTo>
                  <a:pt x="233404" y="705465"/>
                  <a:pt x="232667" y="702378"/>
                  <a:pt x="232253" y="699181"/>
                </a:cubicBezTo>
                <a:cubicBezTo>
                  <a:pt x="218443" y="697138"/>
                  <a:pt x="205461" y="695831"/>
                  <a:pt x="192775" y="693131"/>
                </a:cubicBezTo>
                <a:cubicBezTo>
                  <a:pt x="183686" y="691197"/>
                  <a:pt x="174549" y="688305"/>
                  <a:pt x="166222" y="684229"/>
                </a:cubicBezTo>
                <a:cubicBezTo>
                  <a:pt x="151266" y="676909"/>
                  <a:pt x="147247" y="664789"/>
                  <a:pt x="153485" y="649704"/>
                </a:cubicBezTo>
                <a:cubicBezTo>
                  <a:pt x="158693" y="637111"/>
                  <a:pt x="168160" y="628190"/>
                  <a:pt x="179302" y="621006"/>
                </a:cubicBezTo>
                <a:cubicBezTo>
                  <a:pt x="186548" y="616334"/>
                  <a:pt x="191317" y="611105"/>
                  <a:pt x="192182" y="601675"/>
                </a:cubicBezTo>
                <a:cubicBezTo>
                  <a:pt x="192878" y="594094"/>
                  <a:pt x="197099" y="587626"/>
                  <a:pt x="204894" y="583417"/>
                </a:cubicBezTo>
                <a:cubicBezTo>
                  <a:pt x="214873" y="578030"/>
                  <a:pt x="224643" y="571774"/>
                  <a:pt x="233213" y="564393"/>
                </a:cubicBezTo>
                <a:cubicBezTo>
                  <a:pt x="242623" y="556289"/>
                  <a:pt x="240441" y="544193"/>
                  <a:pt x="229725" y="538177"/>
                </a:cubicBezTo>
                <a:cubicBezTo>
                  <a:pt x="226159" y="536176"/>
                  <a:pt x="222483" y="534351"/>
                  <a:pt x="218771" y="532633"/>
                </a:cubicBezTo>
                <a:cubicBezTo>
                  <a:pt x="213503" y="530196"/>
                  <a:pt x="212651" y="526226"/>
                  <a:pt x="215183" y="521568"/>
                </a:cubicBezTo>
                <a:cubicBezTo>
                  <a:pt x="217485" y="517332"/>
                  <a:pt x="220405" y="513432"/>
                  <a:pt x="223368" y="508901"/>
                </a:cubicBezTo>
                <a:cubicBezTo>
                  <a:pt x="221781" y="505376"/>
                  <a:pt x="220809" y="501165"/>
                  <a:pt x="218372" y="498135"/>
                </a:cubicBezTo>
                <a:cubicBezTo>
                  <a:pt x="202366" y="478231"/>
                  <a:pt x="190774" y="455961"/>
                  <a:pt x="181440" y="432308"/>
                </a:cubicBezTo>
                <a:cubicBezTo>
                  <a:pt x="170959" y="405748"/>
                  <a:pt x="164933" y="378186"/>
                  <a:pt x="167535" y="349841"/>
                </a:cubicBezTo>
                <a:cubicBezTo>
                  <a:pt x="170341" y="319265"/>
                  <a:pt x="179208" y="289917"/>
                  <a:pt x="193488" y="262518"/>
                </a:cubicBezTo>
                <a:cubicBezTo>
                  <a:pt x="206512" y="237529"/>
                  <a:pt x="220831" y="213359"/>
                  <a:pt x="237748" y="190690"/>
                </a:cubicBezTo>
                <a:cubicBezTo>
                  <a:pt x="260421" y="160310"/>
                  <a:pt x="282602" y="129592"/>
                  <a:pt x="309459" y="102623"/>
                </a:cubicBezTo>
                <a:cubicBezTo>
                  <a:pt x="316627" y="95424"/>
                  <a:pt x="316261" y="87541"/>
                  <a:pt x="310459" y="78521"/>
                </a:cubicBezTo>
                <a:cubicBezTo>
                  <a:pt x="306309" y="72071"/>
                  <a:pt x="301695" y="65150"/>
                  <a:pt x="300267" y="57856"/>
                </a:cubicBezTo>
                <a:cubicBezTo>
                  <a:pt x="295286" y="32423"/>
                  <a:pt x="314502" y="10133"/>
                  <a:pt x="332242" y="4422"/>
                </a:cubicBezTo>
                <a:cubicBezTo>
                  <a:pt x="349540" y="-1148"/>
                  <a:pt x="367530" y="-2176"/>
                  <a:pt x="384904" y="5551"/>
                </a:cubicBezTo>
                <a:cubicBezTo>
                  <a:pt x="395271" y="10161"/>
                  <a:pt x="403310" y="17760"/>
                  <a:pt x="409773" y="26778"/>
                </a:cubicBezTo>
                <a:cubicBezTo>
                  <a:pt x="415168" y="34307"/>
                  <a:pt x="413749" y="41584"/>
                  <a:pt x="407026" y="46052"/>
                </a:cubicBezTo>
                <a:cubicBezTo>
                  <a:pt x="405624" y="40964"/>
                  <a:pt x="404503" y="35849"/>
                  <a:pt x="402771" y="30951"/>
                </a:cubicBezTo>
                <a:cubicBezTo>
                  <a:pt x="401450" y="27216"/>
                  <a:pt x="399383" y="28477"/>
                  <a:pt x="397038" y="30361"/>
                </a:cubicBezTo>
                <a:cubicBezTo>
                  <a:pt x="384440" y="15986"/>
                  <a:pt x="377037" y="14494"/>
                  <a:pt x="360694" y="22760"/>
                </a:cubicBezTo>
                <a:cubicBezTo>
                  <a:pt x="353707" y="22767"/>
                  <a:pt x="352275" y="27176"/>
                  <a:pt x="351669" y="31736"/>
                </a:cubicBezTo>
                <a:cubicBezTo>
                  <a:pt x="351136" y="35760"/>
                  <a:pt x="351383" y="39899"/>
                  <a:pt x="351426" y="43987"/>
                </a:cubicBezTo>
                <a:cubicBezTo>
                  <a:pt x="351648" y="64919"/>
                  <a:pt x="372389" y="78115"/>
                  <a:pt x="390968" y="68762"/>
                </a:cubicBezTo>
                <a:cubicBezTo>
                  <a:pt x="395158" y="66653"/>
                  <a:pt x="398534" y="62629"/>
                  <a:pt x="401770" y="59025"/>
                </a:cubicBezTo>
                <a:cubicBezTo>
                  <a:pt x="404045" y="56491"/>
                  <a:pt x="405661" y="53409"/>
                  <a:pt x="409619" y="55786"/>
                </a:cubicBezTo>
                <a:cubicBezTo>
                  <a:pt x="413544" y="58145"/>
                  <a:pt x="412176" y="61347"/>
                  <a:pt x="410427" y="64256"/>
                </a:cubicBezTo>
                <a:cubicBezTo>
                  <a:pt x="406872" y="70170"/>
                  <a:pt x="403244" y="76046"/>
                  <a:pt x="399453" y="81811"/>
                </a:cubicBezTo>
                <a:cubicBezTo>
                  <a:pt x="394663" y="89097"/>
                  <a:pt x="394382" y="94032"/>
                  <a:pt x="399346" y="98083"/>
                </a:cubicBezTo>
                <a:cubicBezTo>
                  <a:pt x="428062" y="121519"/>
                  <a:pt x="450822" y="150083"/>
                  <a:pt x="471592" y="180524"/>
                </a:cubicBezTo>
                <a:cubicBezTo>
                  <a:pt x="476398" y="187569"/>
                  <a:pt x="476844" y="193688"/>
                  <a:pt x="473550" y="200923"/>
                </a:cubicBezTo>
                <a:cubicBezTo>
                  <a:pt x="470171" y="208346"/>
                  <a:pt x="467091" y="215905"/>
                  <a:pt x="463677" y="223311"/>
                </a:cubicBezTo>
                <a:cubicBezTo>
                  <a:pt x="461993" y="226965"/>
                  <a:pt x="462995" y="228697"/>
                  <a:pt x="466852" y="229083"/>
                </a:cubicBezTo>
                <a:moveTo>
                  <a:pt x="474186" y="928382"/>
                </a:moveTo>
                <a:cubicBezTo>
                  <a:pt x="469297" y="891529"/>
                  <a:pt x="462961" y="854794"/>
                  <a:pt x="459927" y="817790"/>
                </a:cubicBezTo>
                <a:cubicBezTo>
                  <a:pt x="456905" y="780939"/>
                  <a:pt x="457197" y="743817"/>
                  <a:pt x="456025" y="706469"/>
                </a:cubicBezTo>
                <a:cubicBezTo>
                  <a:pt x="425780" y="707923"/>
                  <a:pt x="396554" y="709327"/>
                  <a:pt x="366863" y="710754"/>
                </a:cubicBezTo>
                <a:cubicBezTo>
                  <a:pt x="366546" y="714450"/>
                  <a:pt x="366201" y="716832"/>
                  <a:pt x="366159" y="719219"/>
                </a:cubicBezTo>
                <a:cubicBezTo>
                  <a:pt x="365479" y="757672"/>
                  <a:pt x="364935" y="796129"/>
                  <a:pt x="364159" y="834581"/>
                </a:cubicBezTo>
                <a:cubicBezTo>
                  <a:pt x="363450" y="869762"/>
                  <a:pt x="362581" y="904941"/>
                  <a:pt x="361633" y="940117"/>
                </a:cubicBezTo>
                <a:cubicBezTo>
                  <a:pt x="360619" y="977749"/>
                  <a:pt x="359431" y="1015376"/>
                  <a:pt x="358313" y="1053005"/>
                </a:cubicBezTo>
                <a:cubicBezTo>
                  <a:pt x="358265" y="1054641"/>
                  <a:pt x="358149" y="1056276"/>
                  <a:pt x="358081" y="1057912"/>
                </a:cubicBezTo>
                <a:cubicBezTo>
                  <a:pt x="356598" y="1093463"/>
                  <a:pt x="355081" y="1129014"/>
                  <a:pt x="353706" y="1164570"/>
                </a:cubicBezTo>
                <a:cubicBezTo>
                  <a:pt x="353604" y="1167221"/>
                  <a:pt x="354516" y="1169911"/>
                  <a:pt x="354951" y="1172547"/>
                </a:cubicBezTo>
                <a:cubicBezTo>
                  <a:pt x="416984" y="1173689"/>
                  <a:pt x="478158" y="1174816"/>
                  <a:pt x="540959" y="1175972"/>
                </a:cubicBezTo>
                <a:cubicBezTo>
                  <a:pt x="513162" y="1094194"/>
                  <a:pt x="489081" y="1013598"/>
                  <a:pt x="474186" y="928382"/>
                </a:cubicBezTo>
                <a:moveTo>
                  <a:pt x="513768" y="1417676"/>
                </a:moveTo>
                <a:cubicBezTo>
                  <a:pt x="515785" y="1417344"/>
                  <a:pt x="517792" y="1416889"/>
                  <a:pt x="519822" y="1416700"/>
                </a:cubicBezTo>
                <a:cubicBezTo>
                  <a:pt x="557234" y="1413220"/>
                  <a:pt x="594682" y="1410089"/>
                  <a:pt x="632041" y="1406122"/>
                </a:cubicBezTo>
                <a:cubicBezTo>
                  <a:pt x="643122" y="1404945"/>
                  <a:pt x="654730" y="1405292"/>
                  <a:pt x="665040" y="1400634"/>
                </a:cubicBezTo>
                <a:cubicBezTo>
                  <a:pt x="665352" y="1398517"/>
                  <a:pt x="665651" y="1397324"/>
                  <a:pt x="665677" y="1396126"/>
                </a:cubicBezTo>
                <a:cubicBezTo>
                  <a:pt x="665722" y="1394084"/>
                  <a:pt x="665674" y="1392032"/>
                  <a:pt x="665529" y="1389994"/>
                </a:cubicBezTo>
                <a:cubicBezTo>
                  <a:pt x="663118" y="1356121"/>
                  <a:pt x="650063" y="1327787"/>
                  <a:pt x="623046" y="1306238"/>
                </a:cubicBezTo>
                <a:cubicBezTo>
                  <a:pt x="613485" y="1298611"/>
                  <a:pt x="605001" y="1289635"/>
                  <a:pt x="596015" y="1281285"/>
                </a:cubicBezTo>
                <a:cubicBezTo>
                  <a:pt x="578506" y="1265018"/>
                  <a:pt x="567837" y="1245446"/>
                  <a:pt x="567683" y="1220059"/>
                </a:cubicBezTo>
                <a:cubicBezTo>
                  <a:pt x="558046" y="1220059"/>
                  <a:pt x="549136" y="1219649"/>
                  <a:pt x="540273" y="1220129"/>
                </a:cubicBezTo>
                <a:cubicBezTo>
                  <a:pt x="501512" y="1222229"/>
                  <a:pt x="462775" y="1224768"/>
                  <a:pt x="424010" y="1226781"/>
                </a:cubicBezTo>
                <a:cubicBezTo>
                  <a:pt x="401969" y="1227926"/>
                  <a:pt x="379889" y="1228330"/>
                  <a:pt x="357832" y="1229178"/>
                </a:cubicBezTo>
                <a:cubicBezTo>
                  <a:pt x="355938" y="1229251"/>
                  <a:pt x="354076" y="1230151"/>
                  <a:pt x="352386" y="1230616"/>
                </a:cubicBezTo>
                <a:cubicBezTo>
                  <a:pt x="353642" y="1262222"/>
                  <a:pt x="355769" y="1293219"/>
                  <a:pt x="355852" y="1324222"/>
                </a:cubicBezTo>
                <a:cubicBezTo>
                  <a:pt x="355936" y="1355438"/>
                  <a:pt x="353988" y="1386659"/>
                  <a:pt x="352930" y="1417867"/>
                </a:cubicBezTo>
                <a:cubicBezTo>
                  <a:pt x="406069" y="1417867"/>
                  <a:pt x="458771" y="1417867"/>
                  <a:pt x="513768" y="1417676"/>
                </a:cubicBezTo>
                <a:moveTo>
                  <a:pt x="387930" y="499741"/>
                </a:moveTo>
                <a:cubicBezTo>
                  <a:pt x="410797" y="498777"/>
                  <a:pt x="433665" y="497860"/>
                  <a:pt x="456529" y="496826"/>
                </a:cubicBezTo>
                <a:cubicBezTo>
                  <a:pt x="466656" y="496369"/>
                  <a:pt x="475418" y="493371"/>
                  <a:pt x="482355" y="485095"/>
                </a:cubicBezTo>
                <a:cubicBezTo>
                  <a:pt x="509188" y="453083"/>
                  <a:pt x="525387" y="416636"/>
                  <a:pt x="528016" y="374829"/>
                </a:cubicBezTo>
                <a:cubicBezTo>
                  <a:pt x="530547" y="334558"/>
                  <a:pt x="520095" y="297041"/>
                  <a:pt x="501375" y="261643"/>
                </a:cubicBezTo>
                <a:cubicBezTo>
                  <a:pt x="499379" y="257869"/>
                  <a:pt x="496654" y="254482"/>
                  <a:pt x="493534" y="249818"/>
                </a:cubicBezTo>
                <a:cubicBezTo>
                  <a:pt x="490233" y="254212"/>
                  <a:pt x="487883" y="256986"/>
                  <a:pt x="485920" y="260010"/>
                </a:cubicBezTo>
                <a:cubicBezTo>
                  <a:pt x="475010" y="276824"/>
                  <a:pt x="464300" y="293767"/>
                  <a:pt x="453305" y="310523"/>
                </a:cubicBezTo>
                <a:cubicBezTo>
                  <a:pt x="447028" y="320089"/>
                  <a:pt x="440916" y="329858"/>
                  <a:pt x="433678" y="338672"/>
                </a:cubicBezTo>
                <a:cubicBezTo>
                  <a:pt x="425909" y="348131"/>
                  <a:pt x="413084" y="349691"/>
                  <a:pt x="403713" y="343710"/>
                </a:cubicBezTo>
                <a:cubicBezTo>
                  <a:pt x="394358" y="337739"/>
                  <a:pt x="391675" y="327526"/>
                  <a:pt x="396427" y="315612"/>
                </a:cubicBezTo>
                <a:cubicBezTo>
                  <a:pt x="397334" y="313339"/>
                  <a:pt x="398595" y="311210"/>
                  <a:pt x="399663" y="309000"/>
                </a:cubicBezTo>
                <a:cubicBezTo>
                  <a:pt x="417094" y="272900"/>
                  <a:pt x="434331" y="236704"/>
                  <a:pt x="452097" y="200770"/>
                </a:cubicBezTo>
                <a:cubicBezTo>
                  <a:pt x="455910" y="193060"/>
                  <a:pt x="455310" y="187173"/>
                  <a:pt x="450118" y="180596"/>
                </a:cubicBezTo>
                <a:cubicBezTo>
                  <a:pt x="428273" y="152922"/>
                  <a:pt x="405805" y="125901"/>
                  <a:pt x="376545" y="105525"/>
                </a:cubicBezTo>
                <a:cubicBezTo>
                  <a:pt x="374483" y="104089"/>
                  <a:pt x="372013" y="103239"/>
                  <a:pt x="368791" y="101653"/>
                </a:cubicBezTo>
                <a:cubicBezTo>
                  <a:pt x="367942" y="116965"/>
                  <a:pt x="367019" y="130814"/>
                  <a:pt x="366449" y="144676"/>
                </a:cubicBezTo>
                <a:cubicBezTo>
                  <a:pt x="365912" y="157758"/>
                  <a:pt x="365593" y="170854"/>
                  <a:pt x="365447" y="183946"/>
                </a:cubicBezTo>
                <a:cubicBezTo>
                  <a:pt x="365020" y="221975"/>
                  <a:pt x="363367" y="260055"/>
                  <a:pt x="364738" y="298022"/>
                </a:cubicBezTo>
                <a:cubicBezTo>
                  <a:pt x="366329" y="342101"/>
                  <a:pt x="370336" y="386106"/>
                  <a:pt x="373865" y="430096"/>
                </a:cubicBezTo>
                <a:cubicBezTo>
                  <a:pt x="375530" y="450849"/>
                  <a:pt x="378387" y="471514"/>
                  <a:pt x="381088" y="492169"/>
                </a:cubicBezTo>
                <a:cubicBezTo>
                  <a:pt x="381433" y="494807"/>
                  <a:pt x="384102" y="497143"/>
                  <a:pt x="387930" y="499741"/>
                </a:cubicBezTo>
                <a:moveTo>
                  <a:pt x="455850" y="1521476"/>
                </a:moveTo>
                <a:cubicBezTo>
                  <a:pt x="533043" y="1519612"/>
                  <a:pt x="609810" y="1514084"/>
                  <a:pt x="685121" y="1496509"/>
                </a:cubicBezTo>
                <a:cubicBezTo>
                  <a:pt x="683922" y="1481705"/>
                  <a:pt x="679199" y="1467708"/>
                  <a:pt x="672999" y="1456665"/>
                </a:cubicBezTo>
                <a:cubicBezTo>
                  <a:pt x="669933" y="1451203"/>
                  <a:pt x="666057" y="1449329"/>
                  <a:pt x="660009" y="1450249"/>
                </a:cubicBezTo>
                <a:cubicBezTo>
                  <a:pt x="651125" y="1451601"/>
                  <a:pt x="642144" y="1452308"/>
                  <a:pt x="633248" y="1453589"/>
                </a:cubicBezTo>
                <a:cubicBezTo>
                  <a:pt x="572852" y="1462289"/>
                  <a:pt x="511993" y="1465134"/>
                  <a:pt x="451131" y="1467458"/>
                </a:cubicBezTo>
                <a:cubicBezTo>
                  <a:pt x="421697" y="1468582"/>
                  <a:pt x="392192" y="1467837"/>
                  <a:pt x="362719" y="1467934"/>
                </a:cubicBezTo>
                <a:cubicBezTo>
                  <a:pt x="358386" y="1467948"/>
                  <a:pt x="354052" y="1467936"/>
                  <a:pt x="349983" y="1467936"/>
                </a:cubicBezTo>
                <a:cubicBezTo>
                  <a:pt x="347592" y="1485362"/>
                  <a:pt x="348606" y="1509458"/>
                  <a:pt x="352220" y="1519140"/>
                </a:cubicBezTo>
                <a:cubicBezTo>
                  <a:pt x="385617" y="1519916"/>
                  <a:pt x="419507" y="1520703"/>
                  <a:pt x="455850" y="1521476"/>
                </a:cubicBezTo>
                <a:moveTo>
                  <a:pt x="368682" y="544846"/>
                </a:moveTo>
                <a:cubicBezTo>
                  <a:pt x="374258" y="564891"/>
                  <a:pt x="370074" y="584394"/>
                  <a:pt x="363600" y="605633"/>
                </a:cubicBezTo>
                <a:cubicBezTo>
                  <a:pt x="408859" y="604212"/>
                  <a:pt x="452263" y="602850"/>
                  <a:pt x="496351" y="601466"/>
                </a:cubicBezTo>
                <a:cubicBezTo>
                  <a:pt x="496109" y="591095"/>
                  <a:pt x="491408" y="584247"/>
                  <a:pt x="485068" y="579288"/>
                </a:cubicBezTo>
                <a:cubicBezTo>
                  <a:pt x="472414" y="569391"/>
                  <a:pt x="466934" y="556602"/>
                  <a:pt x="466524" y="541026"/>
                </a:cubicBezTo>
                <a:cubicBezTo>
                  <a:pt x="466485" y="539528"/>
                  <a:pt x="465591" y="538053"/>
                  <a:pt x="465000" y="536289"/>
                </a:cubicBezTo>
                <a:cubicBezTo>
                  <a:pt x="460209" y="536289"/>
                  <a:pt x="455761" y="536132"/>
                  <a:pt x="451328" y="536316"/>
                </a:cubicBezTo>
                <a:cubicBezTo>
                  <a:pt x="430930" y="537159"/>
                  <a:pt x="410538" y="538137"/>
                  <a:pt x="390140" y="538979"/>
                </a:cubicBezTo>
                <a:cubicBezTo>
                  <a:pt x="384834" y="539198"/>
                  <a:pt x="379484" y="538790"/>
                  <a:pt x="374215" y="539303"/>
                </a:cubicBezTo>
                <a:cubicBezTo>
                  <a:pt x="372259" y="539494"/>
                  <a:pt x="370480" y="541498"/>
                  <a:pt x="368682" y="544846"/>
                </a:cubicBezTo>
                <a:moveTo>
                  <a:pt x="453915" y="635267"/>
                </a:moveTo>
                <a:cubicBezTo>
                  <a:pt x="427589" y="636632"/>
                  <a:pt x="401262" y="637998"/>
                  <a:pt x="374200" y="639402"/>
                </a:cubicBezTo>
                <a:cubicBezTo>
                  <a:pt x="374200" y="651578"/>
                  <a:pt x="374200" y="661970"/>
                  <a:pt x="374200" y="673206"/>
                </a:cubicBezTo>
                <a:cubicBezTo>
                  <a:pt x="378672" y="673406"/>
                  <a:pt x="382666" y="673863"/>
                  <a:pt x="386639" y="673718"/>
                </a:cubicBezTo>
                <a:cubicBezTo>
                  <a:pt x="431495" y="672082"/>
                  <a:pt x="476352" y="670422"/>
                  <a:pt x="521198" y="668541"/>
                </a:cubicBezTo>
                <a:cubicBezTo>
                  <a:pt x="525584" y="668357"/>
                  <a:pt x="530162" y="667254"/>
                  <a:pt x="534198" y="665521"/>
                </a:cubicBezTo>
                <a:cubicBezTo>
                  <a:pt x="540213" y="662938"/>
                  <a:pt x="541802" y="658194"/>
                  <a:pt x="538413" y="652526"/>
                </a:cubicBezTo>
                <a:cubicBezTo>
                  <a:pt x="536192" y="648813"/>
                  <a:pt x="532979" y="645251"/>
                  <a:pt x="529377" y="642895"/>
                </a:cubicBezTo>
                <a:cubicBezTo>
                  <a:pt x="521426" y="637695"/>
                  <a:pt x="512576" y="634669"/>
                  <a:pt x="502829" y="634808"/>
                </a:cubicBezTo>
                <a:cubicBezTo>
                  <a:pt x="487311" y="635030"/>
                  <a:pt x="471791" y="635092"/>
                  <a:pt x="453915" y="635267"/>
                </a:cubicBezTo>
                <a:close/>
              </a:path>
            </a:pathLst>
          </a:custGeom>
          <a:solidFill>
            <a:srgbClr val="CDD9DF"/>
          </a:solidFill>
          <a:ln w="12700" cap="flat">
            <a:solidFill>
              <a:srgbClr val="CDD9DF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80" name="Free-form: Shape 379">
            <a:extLst>
              <a:ext uri="{FF2B5EF4-FFF2-40B4-BE49-F238E27FC236}">
                <a16:creationId xmlns:a16="http://schemas.microsoft.com/office/drawing/2014/main" id="{86280A60-D92C-1520-5A6C-AD9013E67B16}"/>
              </a:ext>
            </a:extLst>
          </p:cNvPr>
          <p:cNvSpPr/>
          <p:nvPr/>
        </p:nvSpPr>
        <p:spPr>
          <a:xfrm>
            <a:off x="3797877" y="4413403"/>
            <a:ext cx="665488" cy="1428730"/>
          </a:xfrm>
          <a:custGeom>
            <a:avLst/>
            <a:gdLst>
              <a:gd name="csX0" fmla="*/ 406842 w 732037"/>
              <a:gd name="csY0" fmla="*/ 38347 h 1571603"/>
              <a:gd name="csX1" fmla="*/ 411944 w 732037"/>
              <a:gd name="csY1" fmla="*/ 38343 h 1571603"/>
              <a:gd name="csX2" fmla="*/ 416198 w 732037"/>
              <a:gd name="csY2" fmla="*/ 53444 h 1571603"/>
              <a:gd name="csX3" fmla="*/ 418945 w 732037"/>
              <a:gd name="csY3" fmla="*/ 34170 h 1571603"/>
              <a:gd name="csX4" fmla="*/ 394077 w 732037"/>
              <a:gd name="csY4" fmla="*/ 12943 h 1571603"/>
              <a:gd name="csX5" fmla="*/ 341415 w 732037"/>
              <a:gd name="csY5" fmla="*/ 11814 h 1571603"/>
              <a:gd name="csX6" fmla="*/ 309440 w 732037"/>
              <a:gd name="csY6" fmla="*/ 65249 h 1571603"/>
              <a:gd name="csX7" fmla="*/ 319632 w 732037"/>
              <a:gd name="csY7" fmla="*/ 85914 h 1571603"/>
              <a:gd name="csX8" fmla="*/ 318632 w 732037"/>
              <a:gd name="csY8" fmla="*/ 110015 h 1571603"/>
              <a:gd name="csX9" fmla="*/ 246921 w 732037"/>
              <a:gd name="csY9" fmla="*/ 198083 h 1571603"/>
              <a:gd name="csX10" fmla="*/ 202660 w 732037"/>
              <a:gd name="csY10" fmla="*/ 269911 h 1571603"/>
              <a:gd name="csX11" fmla="*/ 176707 w 732037"/>
              <a:gd name="csY11" fmla="*/ 357233 h 1571603"/>
              <a:gd name="csX12" fmla="*/ 190612 w 732037"/>
              <a:gd name="csY12" fmla="*/ 439700 h 1571603"/>
              <a:gd name="csX13" fmla="*/ 227544 w 732037"/>
              <a:gd name="csY13" fmla="*/ 505527 h 1571603"/>
              <a:gd name="csX14" fmla="*/ 232541 w 732037"/>
              <a:gd name="csY14" fmla="*/ 516294 h 1571603"/>
              <a:gd name="csX15" fmla="*/ 224356 w 732037"/>
              <a:gd name="csY15" fmla="*/ 528960 h 1571603"/>
              <a:gd name="csX16" fmla="*/ 227944 w 732037"/>
              <a:gd name="csY16" fmla="*/ 540026 h 1571603"/>
              <a:gd name="csX17" fmla="*/ 238897 w 732037"/>
              <a:gd name="csY17" fmla="*/ 545570 h 1571603"/>
              <a:gd name="csX18" fmla="*/ 242386 w 732037"/>
              <a:gd name="csY18" fmla="*/ 571785 h 1571603"/>
              <a:gd name="csX19" fmla="*/ 214067 w 732037"/>
              <a:gd name="csY19" fmla="*/ 590809 h 1571603"/>
              <a:gd name="csX20" fmla="*/ 201355 w 732037"/>
              <a:gd name="csY20" fmla="*/ 609067 h 1571603"/>
              <a:gd name="csX21" fmla="*/ 188474 w 732037"/>
              <a:gd name="csY21" fmla="*/ 628398 h 1571603"/>
              <a:gd name="csX22" fmla="*/ 162658 w 732037"/>
              <a:gd name="csY22" fmla="*/ 657096 h 1571603"/>
              <a:gd name="csX23" fmla="*/ 175395 w 732037"/>
              <a:gd name="csY23" fmla="*/ 691621 h 1571603"/>
              <a:gd name="csX24" fmla="*/ 201948 w 732037"/>
              <a:gd name="csY24" fmla="*/ 700523 h 1571603"/>
              <a:gd name="csX25" fmla="*/ 241426 w 732037"/>
              <a:gd name="csY25" fmla="*/ 706574 h 1571603"/>
              <a:gd name="csX26" fmla="*/ 242586 w 732037"/>
              <a:gd name="csY26" fmla="*/ 715946 h 1571603"/>
              <a:gd name="csX27" fmla="*/ 242424 w 732037"/>
              <a:gd name="csY27" fmla="*/ 801932 h 1571603"/>
              <a:gd name="csX28" fmla="*/ 238000 w 732037"/>
              <a:gd name="csY28" fmla="*/ 846774 h 1571603"/>
              <a:gd name="csX29" fmla="*/ 232752 w 732037"/>
              <a:gd name="csY29" fmla="*/ 891559 h 1571603"/>
              <a:gd name="csX30" fmla="*/ 223037 w 732037"/>
              <a:gd name="csY30" fmla="*/ 950433 h 1571603"/>
              <a:gd name="csX31" fmla="*/ 210247 w 732037"/>
              <a:gd name="csY31" fmla="*/ 1012485 h 1571603"/>
              <a:gd name="csX32" fmla="*/ 194820 w 732037"/>
              <a:gd name="csY32" fmla="*/ 1069074 h 1571603"/>
              <a:gd name="csX33" fmla="*/ 165707 w 732037"/>
              <a:gd name="csY33" fmla="*/ 1163788 h 1571603"/>
              <a:gd name="csX34" fmla="*/ 144382 w 732037"/>
              <a:gd name="csY34" fmla="*/ 1185530 h 1571603"/>
              <a:gd name="csX35" fmla="*/ 129590 w 732037"/>
              <a:gd name="csY35" fmla="*/ 1191342 h 1571603"/>
              <a:gd name="csX36" fmla="*/ 122255 w 732037"/>
              <a:gd name="csY36" fmla="*/ 1208476 h 1571603"/>
              <a:gd name="csX37" fmla="*/ 127491 w 732037"/>
              <a:gd name="csY37" fmla="*/ 1222193 h 1571603"/>
              <a:gd name="csX38" fmla="*/ 118348 w 732037"/>
              <a:gd name="csY38" fmla="*/ 1261470 h 1571603"/>
              <a:gd name="csX39" fmla="*/ 58232 w 732037"/>
              <a:gd name="csY39" fmla="*/ 1319224 h 1571603"/>
              <a:gd name="csX40" fmla="*/ 28815 w 732037"/>
              <a:gd name="csY40" fmla="*/ 1389717 h 1571603"/>
              <a:gd name="csX41" fmla="*/ 32634 w 732037"/>
              <a:gd name="csY41" fmla="*/ 1426050 h 1571603"/>
              <a:gd name="csX42" fmla="*/ 30331 w 732037"/>
              <a:gd name="csY42" fmla="*/ 1441003 h 1571603"/>
              <a:gd name="csX43" fmla="*/ 9180 w 732037"/>
              <a:gd name="csY43" fmla="*/ 1516655 h 1571603"/>
              <a:gd name="csX44" fmla="*/ 20082 w 732037"/>
              <a:gd name="csY44" fmla="*/ 1531402 h 1571603"/>
              <a:gd name="csX45" fmla="*/ 74798 w 732037"/>
              <a:gd name="csY45" fmla="*/ 1543794 h 1571603"/>
              <a:gd name="csX46" fmla="*/ 113225 w 732037"/>
              <a:gd name="csY46" fmla="*/ 1550305 h 1571603"/>
              <a:gd name="csX47" fmla="*/ 136142 w 732037"/>
              <a:gd name="csY47" fmla="*/ 1553484 h 1571603"/>
              <a:gd name="csX48" fmla="*/ 177578 w 732037"/>
              <a:gd name="csY48" fmla="*/ 1556220 h 1571603"/>
              <a:gd name="csX49" fmla="*/ 231027 w 732037"/>
              <a:gd name="csY49" fmla="*/ 1560698 h 1571603"/>
              <a:gd name="csX50" fmla="*/ 254342 w 732037"/>
              <a:gd name="csY50" fmla="*/ 1561142 h 1571603"/>
              <a:gd name="csX51" fmla="*/ 459180 w 732037"/>
              <a:gd name="csY51" fmla="*/ 1563411 h 1571603"/>
              <a:gd name="csX52" fmla="*/ 531340 w 732037"/>
              <a:gd name="csY52" fmla="*/ 1560936 h 1571603"/>
              <a:gd name="csX53" fmla="*/ 590888 w 732037"/>
              <a:gd name="csY53" fmla="*/ 1555951 h 1571603"/>
              <a:gd name="csX54" fmla="*/ 710712 w 732037"/>
              <a:gd name="csY54" fmla="*/ 1533916 h 1571603"/>
              <a:gd name="csX55" fmla="*/ 724356 w 732037"/>
              <a:gd name="csY55" fmla="*/ 1516144 h 1571603"/>
              <a:gd name="csX56" fmla="*/ 707380 w 732037"/>
              <a:gd name="csY56" fmla="*/ 1449380 h 1571603"/>
              <a:gd name="csX57" fmla="*/ 707050 w 732037"/>
              <a:gd name="csY57" fmla="*/ 1440881 h 1571603"/>
              <a:gd name="csX58" fmla="*/ 731479 w 732037"/>
              <a:gd name="csY58" fmla="*/ 1500017 h 1571603"/>
              <a:gd name="csX59" fmla="*/ 731163 w 732037"/>
              <a:gd name="csY59" fmla="*/ 1513759 h 1571603"/>
              <a:gd name="csX60" fmla="*/ 731650 w 732037"/>
              <a:gd name="csY60" fmla="*/ 1521766 h 1571603"/>
              <a:gd name="csX61" fmla="*/ 721896 w 732037"/>
              <a:gd name="csY61" fmla="*/ 1537319 h 1571603"/>
              <a:gd name="csX62" fmla="*/ 657740 w 732037"/>
              <a:gd name="csY62" fmla="*/ 1553265 h 1571603"/>
              <a:gd name="csX63" fmla="*/ 507791 w 732037"/>
              <a:gd name="csY63" fmla="*/ 1568943 h 1571603"/>
              <a:gd name="csX64" fmla="*/ 264676 w 732037"/>
              <a:gd name="csY64" fmla="*/ 1569724 h 1571603"/>
              <a:gd name="csX65" fmla="*/ 82743 w 732037"/>
              <a:gd name="csY65" fmla="*/ 1553254 h 1571603"/>
              <a:gd name="csX66" fmla="*/ 17072 w 732037"/>
              <a:gd name="csY66" fmla="*/ 1538153 h 1571603"/>
              <a:gd name="csX67" fmla="*/ 275 w 732037"/>
              <a:gd name="csY67" fmla="*/ 1513030 h 1571603"/>
              <a:gd name="csX68" fmla="*/ 20923 w 732037"/>
              <a:gd name="csY68" fmla="*/ 1441861 h 1571603"/>
              <a:gd name="csX69" fmla="*/ 23045 w 732037"/>
              <a:gd name="csY69" fmla="*/ 1423105 h 1571603"/>
              <a:gd name="csX70" fmla="*/ 30564 w 732037"/>
              <a:gd name="csY70" fmla="*/ 1346289 h 1571603"/>
              <a:gd name="csX71" fmla="*/ 71350 w 732037"/>
              <a:gd name="csY71" fmla="*/ 1295039 h 1571603"/>
              <a:gd name="csX72" fmla="*/ 112257 w 732037"/>
              <a:gd name="csY72" fmla="*/ 1255093 h 1571603"/>
              <a:gd name="csX73" fmla="*/ 115864 w 732037"/>
              <a:gd name="csY73" fmla="*/ 1217271 h 1571603"/>
              <a:gd name="csX74" fmla="*/ 112256 w 732037"/>
              <a:gd name="csY74" fmla="*/ 1210870 h 1571603"/>
              <a:gd name="csX75" fmla="*/ 121141 w 732037"/>
              <a:gd name="csY75" fmla="*/ 1186548 h 1571603"/>
              <a:gd name="csX76" fmla="*/ 136571 w 732037"/>
              <a:gd name="csY76" fmla="*/ 1179850 h 1571603"/>
              <a:gd name="csX77" fmla="*/ 158281 w 732037"/>
              <a:gd name="csY77" fmla="*/ 1157879 h 1571603"/>
              <a:gd name="csX78" fmla="*/ 187986 w 732037"/>
              <a:gd name="csY78" fmla="*/ 1059736 h 1571603"/>
              <a:gd name="csX79" fmla="*/ 217119 w 732037"/>
              <a:gd name="csY79" fmla="*/ 938896 h 1571603"/>
              <a:gd name="csX80" fmla="*/ 225792 w 732037"/>
              <a:gd name="csY80" fmla="*/ 893236 h 1571603"/>
              <a:gd name="csX81" fmla="*/ 226150 w 732037"/>
              <a:gd name="csY81" fmla="*/ 887970 h 1571603"/>
              <a:gd name="csX82" fmla="*/ 230782 w 732037"/>
              <a:gd name="csY82" fmla="*/ 853969 h 1571603"/>
              <a:gd name="csX83" fmla="*/ 230786 w 732037"/>
              <a:gd name="csY83" fmla="*/ 848558 h 1571603"/>
              <a:gd name="csX84" fmla="*/ 233315 w 732037"/>
              <a:gd name="csY84" fmla="*/ 824438 h 1571603"/>
              <a:gd name="csX85" fmla="*/ 233199 w 732037"/>
              <a:gd name="csY85" fmla="*/ 819050 h 1571603"/>
              <a:gd name="csX86" fmla="*/ 235848 w 732037"/>
              <a:gd name="csY86" fmla="*/ 782380 h 1571603"/>
              <a:gd name="csX87" fmla="*/ 237465 w 732037"/>
              <a:gd name="csY87" fmla="*/ 719113 h 1571603"/>
              <a:gd name="csX88" fmla="*/ 233057 w 732037"/>
              <a:gd name="csY88" fmla="*/ 713160 h 1571603"/>
              <a:gd name="csX89" fmla="*/ 203056 w 732037"/>
              <a:gd name="csY89" fmla="*/ 708405 h 1571603"/>
              <a:gd name="csX90" fmla="*/ 169628 w 732037"/>
              <a:gd name="csY90" fmla="*/ 698106 h 1571603"/>
              <a:gd name="csX91" fmla="*/ 153237 w 732037"/>
              <a:gd name="csY91" fmla="*/ 659111 h 1571603"/>
              <a:gd name="csX92" fmla="*/ 178365 w 732037"/>
              <a:gd name="csY92" fmla="*/ 626008 h 1571603"/>
              <a:gd name="csX93" fmla="*/ 191885 w 732037"/>
              <a:gd name="csY93" fmla="*/ 617513 h 1571603"/>
              <a:gd name="csX94" fmla="*/ 193681 w 732037"/>
              <a:gd name="csY94" fmla="*/ 610098 h 1571603"/>
              <a:gd name="csX95" fmla="*/ 213301 w 732037"/>
              <a:gd name="csY95" fmla="*/ 579885 h 1571603"/>
              <a:gd name="csX96" fmla="*/ 229635 w 732037"/>
              <a:gd name="csY96" fmla="*/ 571429 h 1571603"/>
              <a:gd name="csX97" fmla="*/ 237351 w 732037"/>
              <a:gd name="csY97" fmla="*/ 565882 h 1571603"/>
              <a:gd name="csX98" fmla="*/ 233673 w 732037"/>
              <a:gd name="csY98" fmla="*/ 550926 h 1571603"/>
              <a:gd name="csX99" fmla="*/ 226799 w 732037"/>
              <a:gd name="csY99" fmla="*/ 548359 h 1571603"/>
              <a:gd name="csX100" fmla="*/ 218639 w 732037"/>
              <a:gd name="csY100" fmla="*/ 522664 h 1571603"/>
              <a:gd name="csX101" fmla="*/ 218264 w 732037"/>
              <a:gd name="csY101" fmla="*/ 505463 h 1571603"/>
              <a:gd name="csX102" fmla="*/ 181762 w 732037"/>
              <a:gd name="csY102" fmla="*/ 437574 h 1571603"/>
              <a:gd name="csX103" fmla="*/ 185971 w 732037"/>
              <a:gd name="csY103" fmla="*/ 289069 h 1571603"/>
              <a:gd name="csX104" fmla="*/ 253787 w 732037"/>
              <a:gd name="csY104" fmla="*/ 175580 h 1571603"/>
              <a:gd name="csX105" fmla="*/ 309639 w 732037"/>
              <a:gd name="csY105" fmla="*/ 108695 h 1571603"/>
              <a:gd name="csX106" fmla="*/ 318061 w 732037"/>
              <a:gd name="csY106" fmla="*/ 98855 h 1571603"/>
              <a:gd name="csX107" fmla="*/ 304967 w 732037"/>
              <a:gd name="csY107" fmla="*/ 70056 h 1571603"/>
              <a:gd name="csX108" fmla="*/ 317012 w 732037"/>
              <a:gd name="csY108" fmla="*/ 19436 h 1571603"/>
              <a:gd name="csX109" fmla="*/ 415542 w 732037"/>
              <a:gd name="csY109" fmla="*/ 18221 h 1571603"/>
              <a:gd name="csX110" fmla="*/ 423203 w 732037"/>
              <a:gd name="csY110" fmla="*/ 82660 h 1571603"/>
              <a:gd name="csX111" fmla="*/ 413361 w 732037"/>
              <a:gd name="csY111" fmla="*/ 97975 h 1571603"/>
              <a:gd name="csX112" fmla="*/ 421654 w 732037"/>
              <a:gd name="csY112" fmla="*/ 106676 h 1571603"/>
              <a:gd name="csX113" fmla="*/ 487032 w 732037"/>
              <a:gd name="csY113" fmla="*/ 184632 h 1571603"/>
              <a:gd name="csX114" fmla="*/ 489213 w 732037"/>
              <a:gd name="csY114" fmla="*/ 208238 h 1571603"/>
              <a:gd name="csX115" fmla="*/ 476520 w 732037"/>
              <a:gd name="csY115" fmla="*/ 235738 h 1571603"/>
              <a:gd name="csX116" fmla="*/ 472850 w 732037"/>
              <a:gd name="csY116" fmla="*/ 230703 h 1571603"/>
              <a:gd name="csX117" fmla="*/ 482723 w 732037"/>
              <a:gd name="csY117" fmla="*/ 208315 h 1571603"/>
              <a:gd name="csX118" fmla="*/ 480764 w 732037"/>
              <a:gd name="csY118" fmla="*/ 187916 h 1571603"/>
              <a:gd name="csX119" fmla="*/ 408519 w 732037"/>
              <a:gd name="csY119" fmla="*/ 105475 h 1571603"/>
              <a:gd name="csX120" fmla="*/ 408625 w 732037"/>
              <a:gd name="csY120" fmla="*/ 89203 h 1571603"/>
              <a:gd name="csX121" fmla="*/ 419600 w 732037"/>
              <a:gd name="csY121" fmla="*/ 71648 h 1571603"/>
              <a:gd name="csX122" fmla="*/ 418792 w 732037"/>
              <a:gd name="csY122" fmla="*/ 63179 h 1571603"/>
              <a:gd name="csX123" fmla="*/ 410943 w 732037"/>
              <a:gd name="csY123" fmla="*/ 66417 h 1571603"/>
              <a:gd name="csX124" fmla="*/ 400140 w 732037"/>
              <a:gd name="csY124" fmla="*/ 76155 h 1571603"/>
              <a:gd name="csX125" fmla="*/ 360599 w 732037"/>
              <a:gd name="csY125" fmla="*/ 51379 h 1571603"/>
              <a:gd name="csX126" fmla="*/ 360842 w 732037"/>
              <a:gd name="csY126" fmla="*/ 39128 h 1571603"/>
              <a:gd name="csX127" fmla="*/ 369470 w 732037"/>
              <a:gd name="csY127" fmla="*/ 30960 h 1571603"/>
              <a:gd name="csX128" fmla="*/ 365613 w 732037"/>
              <a:gd name="csY128" fmla="*/ 49108 h 1571603"/>
              <a:gd name="csX129" fmla="*/ 389468 w 732037"/>
              <a:gd name="csY129" fmla="*/ 71608 h 1571603"/>
              <a:gd name="csX130" fmla="*/ 408822 w 732037"/>
              <a:gd name="csY130" fmla="*/ 46613 h 1571603"/>
              <a:gd name="csX131" fmla="*/ 406842 w 732037"/>
              <a:gd name="csY131" fmla="*/ 38347 h 157160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</a:cxnLst>
            <a:rect l="l" t="t" r="r" b="b"/>
            <a:pathLst>
              <a:path w="732037" h="1571603">
                <a:moveTo>
                  <a:pt x="406842" y="38347"/>
                </a:moveTo>
                <a:cubicBezTo>
                  <a:pt x="408555" y="35869"/>
                  <a:pt x="410622" y="34608"/>
                  <a:pt x="411944" y="38343"/>
                </a:cubicBezTo>
                <a:cubicBezTo>
                  <a:pt x="413676" y="43242"/>
                  <a:pt x="414797" y="48356"/>
                  <a:pt x="416198" y="53444"/>
                </a:cubicBezTo>
                <a:cubicBezTo>
                  <a:pt x="422922" y="48977"/>
                  <a:pt x="424340" y="41699"/>
                  <a:pt x="418945" y="34170"/>
                </a:cubicBezTo>
                <a:cubicBezTo>
                  <a:pt x="412483" y="25152"/>
                  <a:pt x="404444" y="17554"/>
                  <a:pt x="394077" y="12943"/>
                </a:cubicBezTo>
                <a:cubicBezTo>
                  <a:pt x="376702" y="5216"/>
                  <a:pt x="358713" y="6244"/>
                  <a:pt x="341415" y="11814"/>
                </a:cubicBezTo>
                <a:cubicBezTo>
                  <a:pt x="323675" y="17525"/>
                  <a:pt x="304459" y="39816"/>
                  <a:pt x="309440" y="65249"/>
                </a:cubicBezTo>
                <a:cubicBezTo>
                  <a:pt x="310868" y="72543"/>
                  <a:pt x="315482" y="79463"/>
                  <a:pt x="319632" y="85914"/>
                </a:cubicBezTo>
                <a:cubicBezTo>
                  <a:pt x="325434" y="94933"/>
                  <a:pt x="325800" y="102817"/>
                  <a:pt x="318632" y="110015"/>
                </a:cubicBezTo>
                <a:cubicBezTo>
                  <a:pt x="291775" y="136984"/>
                  <a:pt x="269594" y="167702"/>
                  <a:pt x="246921" y="198083"/>
                </a:cubicBezTo>
                <a:cubicBezTo>
                  <a:pt x="230003" y="220751"/>
                  <a:pt x="215685" y="244921"/>
                  <a:pt x="202660" y="269911"/>
                </a:cubicBezTo>
                <a:cubicBezTo>
                  <a:pt x="188381" y="297309"/>
                  <a:pt x="179513" y="326657"/>
                  <a:pt x="176707" y="357233"/>
                </a:cubicBezTo>
                <a:cubicBezTo>
                  <a:pt x="174106" y="385578"/>
                  <a:pt x="180131" y="413140"/>
                  <a:pt x="190612" y="439700"/>
                </a:cubicBezTo>
                <a:cubicBezTo>
                  <a:pt x="199946" y="463353"/>
                  <a:pt x="211538" y="485623"/>
                  <a:pt x="227544" y="505527"/>
                </a:cubicBezTo>
                <a:cubicBezTo>
                  <a:pt x="229982" y="508558"/>
                  <a:pt x="230954" y="512768"/>
                  <a:pt x="232541" y="516294"/>
                </a:cubicBezTo>
                <a:cubicBezTo>
                  <a:pt x="229578" y="520824"/>
                  <a:pt x="226658" y="524724"/>
                  <a:pt x="224356" y="528960"/>
                </a:cubicBezTo>
                <a:cubicBezTo>
                  <a:pt x="221823" y="533618"/>
                  <a:pt x="222675" y="537588"/>
                  <a:pt x="227944" y="540026"/>
                </a:cubicBezTo>
                <a:cubicBezTo>
                  <a:pt x="231656" y="541743"/>
                  <a:pt x="235331" y="543568"/>
                  <a:pt x="238897" y="545570"/>
                </a:cubicBezTo>
                <a:cubicBezTo>
                  <a:pt x="249613" y="551585"/>
                  <a:pt x="251795" y="563681"/>
                  <a:pt x="242386" y="571785"/>
                </a:cubicBezTo>
                <a:cubicBezTo>
                  <a:pt x="233816" y="579166"/>
                  <a:pt x="224045" y="585423"/>
                  <a:pt x="214067" y="590809"/>
                </a:cubicBezTo>
                <a:cubicBezTo>
                  <a:pt x="206271" y="595018"/>
                  <a:pt x="202051" y="601487"/>
                  <a:pt x="201355" y="609067"/>
                </a:cubicBezTo>
                <a:cubicBezTo>
                  <a:pt x="200489" y="618497"/>
                  <a:pt x="195720" y="623726"/>
                  <a:pt x="188474" y="628398"/>
                </a:cubicBezTo>
                <a:cubicBezTo>
                  <a:pt x="177332" y="635582"/>
                  <a:pt x="167866" y="644503"/>
                  <a:pt x="162658" y="657096"/>
                </a:cubicBezTo>
                <a:cubicBezTo>
                  <a:pt x="156420" y="672181"/>
                  <a:pt x="160439" y="684301"/>
                  <a:pt x="175395" y="691621"/>
                </a:cubicBezTo>
                <a:cubicBezTo>
                  <a:pt x="183722" y="695697"/>
                  <a:pt x="192859" y="698589"/>
                  <a:pt x="201948" y="700523"/>
                </a:cubicBezTo>
                <a:cubicBezTo>
                  <a:pt x="214634" y="703224"/>
                  <a:pt x="227616" y="704530"/>
                  <a:pt x="241426" y="706574"/>
                </a:cubicBezTo>
                <a:cubicBezTo>
                  <a:pt x="241839" y="709770"/>
                  <a:pt x="242576" y="712857"/>
                  <a:pt x="242586" y="715946"/>
                </a:cubicBezTo>
                <a:cubicBezTo>
                  <a:pt x="242672" y="744610"/>
                  <a:pt x="243133" y="773285"/>
                  <a:pt x="242424" y="801932"/>
                </a:cubicBezTo>
                <a:cubicBezTo>
                  <a:pt x="242053" y="816907"/>
                  <a:pt x="239631" y="831838"/>
                  <a:pt x="238000" y="846774"/>
                </a:cubicBezTo>
                <a:cubicBezTo>
                  <a:pt x="236368" y="861717"/>
                  <a:pt x="234927" y="876693"/>
                  <a:pt x="232752" y="891559"/>
                </a:cubicBezTo>
                <a:cubicBezTo>
                  <a:pt x="229873" y="911238"/>
                  <a:pt x="226675" y="930882"/>
                  <a:pt x="223037" y="950433"/>
                </a:cubicBezTo>
                <a:cubicBezTo>
                  <a:pt x="219173" y="971193"/>
                  <a:pt x="215113" y="991942"/>
                  <a:pt x="210247" y="1012485"/>
                </a:cubicBezTo>
                <a:cubicBezTo>
                  <a:pt x="205743" y="1031500"/>
                  <a:pt x="200395" y="1050337"/>
                  <a:pt x="194820" y="1069074"/>
                </a:cubicBezTo>
                <a:cubicBezTo>
                  <a:pt x="185401" y="1100731"/>
                  <a:pt x="175708" y="1132311"/>
                  <a:pt x="165707" y="1163788"/>
                </a:cubicBezTo>
                <a:cubicBezTo>
                  <a:pt x="162367" y="1174302"/>
                  <a:pt x="156145" y="1182634"/>
                  <a:pt x="144382" y="1185530"/>
                </a:cubicBezTo>
                <a:cubicBezTo>
                  <a:pt x="139281" y="1186787"/>
                  <a:pt x="134434" y="1189193"/>
                  <a:pt x="129590" y="1191342"/>
                </a:cubicBezTo>
                <a:cubicBezTo>
                  <a:pt x="120028" y="1195581"/>
                  <a:pt x="118779" y="1198539"/>
                  <a:pt x="122255" y="1208476"/>
                </a:cubicBezTo>
                <a:cubicBezTo>
                  <a:pt x="123870" y="1213094"/>
                  <a:pt x="125990" y="1217542"/>
                  <a:pt x="127491" y="1222193"/>
                </a:cubicBezTo>
                <a:cubicBezTo>
                  <a:pt x="132294" y="1237066"/>
                  <a:pt x="129961" y="1250353"/>
                  <a:pt x="118348" y="1261470"/>
                </a:cubicBezTo>
                <a:cubicBezTo>
                  <a:pt x="98275" y="1280686"/>
                  <a:pt x="78038" y="1299737"/>
                  <a:pt x="58232" y="1319224"/>
                </a:cubicBezTo>
                <a:cubicBezTo>
                  <a:pt x="38634" y="1338507"/>
                  <a:pt x="29913" y="1362564"/>
                  <a:pt x="28815" y="1389717"/>
                </a:cubicBezTo>
                <a:cubicBezTo>
                  <a:pt x="28318" y="1402031"/>
                  <a:pt x="29110" y="1414206"/>
                  <a:pt x="32634" y="1426050"/>
                </a:cubicBezTo>
                <a:cubicBezTo>
                  <a:pt x="34273" y="1431554"/>
                  <a:pt x="33300" y="1435929"/>
                  <a:pt x="30331" y="1441003"/>
                </a:cubicBezTo>
                <a:cubicBezTo>
                  <a:pt x="16698" y="1464298"/>
                  <a:pt x="8890" y="1489397"/>
                  <a:pt x="9180" y="1516655"/>
                </a:cubicBezTo>
                <a:cubicBezTo>
                  <a:pt x="9291" y="1527012"/>
                  <a:pt x="9917" y="1528771"/>
                  <a:pt x="20082" y="1531402"/>
                </a:cubicBezTo>
                <a:cubicBezTo>
                  <a:pt x="38179" y="1536086"/>
                  <a:pt x="56480" y="1540035"/>
                  <a:pt x="74798" y="1543794"/>
                </a:cubicBezTo>
                <a:cubicBezTo>
                  <a:pt x="87517" y="1546403"/>
                  <a:pt x="100396" y="1548250"/>
                  <a:pt x="113225" y="1550305"/>
                </a:cubicBezTo>
                <a:cubicBezTo>
                  <a:pt x="120841" y="1551524"/>
                  <a:pt x="128467" y="1552843"/>
                  <a:pt x="136142" y="1553484"/>
                </a:cubicBezTo>
                <a:cubicBezTo>
                  <a:pt x="149934" y="1554635"/>
                  <a:pt x="163778" y="1555156"/>
                  <a:pt x="177578" y="1556220"/>
                </a:cubicBezTo>
                <a:cubicBezTo>
                  <a:pt x="195403" y="1557595"/>
                  <a:pt x="213196" y="1559407"/>
                  <a:pt x="231027" y="1560698"/>
                </a:cubicBezTo>
                <a:cubicBezTo>
                  <a:pt x="238768" y="1561259"/>
                  <a:pt x="246585" y="1560709"/>
                  <a:pt x="254342" y="1561142"/>
                </a:cubicBezTo>
                <a:cubicBezTo>
                  <a:pt x="322588" y="1564942"/>
                  <a:pt x="390896" y="1563427"/>
                  <a:pt x="459180" y="1563411"/>
                </a:cubicBezTo>
                <a:cubicBezTo>
                  <a:pt x="483236" y="1563406"/>
                  <a:pt x="507311" y="1562248"/>
                  <a:pt x="531340" y="1560936"/>
                </a:cubicBezTo>
                <a:cubicBezTo>
                  <a:pt x="551225" y="1559849"/>
                  <a:pt x="571160" y="1558554"/>
                  <a:pt x="590888" y="1555951"/>
                </a:cubicBezTo>
                <a:cubicBezTo>
                  <a:pt x="631179" y="1550635"/>
                  <a:pt x="671338" y="1544328"/>
                  <a:pt x="710712" y="1533916"/>
                </a:cubicBezTo>
                <a:cubicBezTo>
                  <a:pt x="722630" y="1530764"/>
                  <a:pt x="724036" y="1528558"/>
                  <a:pt x="724356" y="1516144"/>
                </a:cubicBezTo>
                <a:cubicBezTo>
                  <a:pt x="724970" y="1492256"/>
                  <a:pt x="718637" y="1470245"/>
                  <a:pt x="707380" y="1449380"/>
                </a:cubicBezTo>
                <a:cubicBezTo>
                  <a:pt x="706259" y="1447304"/>
                  <a:pt x="706896" y="1444279"/>
                  <a:pt x="707050" y="1440881"/>
                </a:cubicBezTo>
                <a:cubicBezTo>
                  <a:pt x="722747" y="1457101"/>
                  <a:pt x="728653" y="1477963"/>
                  <a:pt x="731479" y="1500017"/>
                </a:cubicBezTo>
                <a:cubicBezTo>
                  <a:pt x="731992" y="1504029"/>
                  <a:pt x="731781" y="1508135"/>
                  <a:pt x="731163" y="1513759"/>
                </a:cubicBezTo>
                <a:cubicBezTo>
                  <a:pt x="730831" y="1517468"/>
                  <a:pt x="731241" y="1519618"/>
                  <a:pt x="731650" y="1521766"/>
                </a:cubicBezTo>
                <a:cubicBezTo>
                  <a:pt x="733191" y="1529956"/>
                  <a:pt x="730165" y="1535242"/>
                  <a:pt x="721896" y="1537319"/>
                </a:cubicBezTo>
                <a:cubicBezTo>
                  <a:pt x="700520" y="1542690"/>
                  <a:pt x="679367" y="1549248"/>
                  <a:pt x="657740" y="1553265"/>
                </a:cubicBezTo>
                <a:cubicBezTo>
                  <a:pt x="608220" y="1562464"/>
                  <a:pt x="558146" y="1566701"/>
                  <a:pt x="507791" y="1568943"/>
                </a:cubicBezTo>
                <a:cubicBezTo>
                  <a:pt x="426738" y="1572552"/>
                  <a:pt x="345677" y="1572161"/>
                  <a:pt x="264676" y="1569724"/>
                </a:cubicBezTo>
                <a:cubicBezTo>
                  <a:pt x="203800" y="1567891"/>
                  <a:pt x="142882" y="1563907"/>
                  <a:pt x="82743" y="1553254"/>
                </a:cubicBezTo>
                <a:cubicBezTo>
                  <a:pt x="60647" y="1549341"/>
                  <a:pt x="38739" y="1544032"/>
                  <a:pt x="17072" y="1538153"/>
                </a:cubicBezTo>
                <a:cubicBezTo>
                  <a:pt x="1381" y="1533894"/>
                  <a:pt x="-938" y="1529341"/>
                  <a:pt x="275" y="1513030"/>
                </a:cubicBezTo>
                <a:cubicBezTo>
                  <a:pt x="2146" y="1487871"/>
                  <a:pt x="7321" y="1463566"/>
                  <a:pt x="20923" y="1441861"/>
                </a:cubicBezTo>
                <a:cubicBezTo>
                  <a:pt x="24812" y="1435656"/>
                  <a:pt x="24566" y="1429699"/>
                  <a:pt x="23045" y="1423105"/>
                </a:cubicBezTo>
                <a:cubicBezTo>
                  <a:pt x="16952" y="1396684"/>
                  <a:pt x="19689" y="1370924"/>
                  <a:pt x="30564" y="1346289"/>
                </a:cubicBezTo>
                <a:cubicBezTo>
                  <a:pt x="39621" y="1325774"/>
                  <a:pt x="54481" y="1309709"/>
                  <a:pt x="71350" y="1295039"/>
                </a:cubicBezTo>
                <a:cubicBezTo>
                  <a:pt x="85712" y="1282550"/>
                  <a:pt x="99164" y="1268932"/>
                  <a:pt x="112257" y="1255093"/>
                </a:cubicBezTo>
                <a:cubicBezTo>
                  <a:pt x="122891" y="1243852"/>
                  <a:pt x="124955" y="1230879"/>
                  <a:pt x="115864" y="1217271"/>
                </a:cubicBezTo>
                <a:cubicBezTo>
                  <a:pt x="114506" y="1215239"/>
                  <a:pt x="113304" y="1213078"/>
                  <a:pt x="112256" y="1210870"/>
                </a:cubicBezTo>
                <a:cubicBezTo>
                  <a:pt x="106526" y="1198808"/>
                  <a:pt x="109052" y="1191969"/>
                  <a:pt x="121141" y="1186548"/>
                </a:cubicBezTo>
                <a:cubicBezTo>
                  <a:pt x="126274" y="1184246"/>
                  <a:pt x="131201" y="1180803"/>
                  <a:pt x="136571" y="1179850"/>
                </a:cubicBezTo>
                <a:cubicBezTo>
                  <a:pt x="149372" y="1177579"/>
                  <a:pt x="154892" y="1168948"/>
                  <a:pt x="158281" y="1157879"/>
                </a:cubicBezTo>
                <a:cubicBezTo>
                  <a:pt x="168288" y="1125194"/>
                  <a:pt x="179178" y="1092742"/>
                  <a:pt x="187986" y="1059736"/>
                </a:cubicBezTo>
                <a:cubicBezTo>
                  <a:pt x="198666" y="1019713"/>
                  <a:pt x="207813" y="979272"/>
                  <a:pt x="217119" y="938896"/>
                </a:cubicBezTo>
                <a:cubicBezTo>
                  <a:pt x="220491" y="924267"/>
                  <a:pt x="222410" y="909302"/>
                  <a:pt x="225792" y="893236"/>
                </a:cubicBezTo>
                <a:cubicBezTo>
                  <a:pt x="226444" y="890644"/>
                  <a:pt x="226297" y="889307"/>
                  <a:pt x="226150" y="887970"/>
                </a:cubicBezTo>
                <a:cubicBezTo>
                  <a:pt x="227450" y="877085"/>
                  <a:pt x="228750" y="866198"/>
                  <a:pt x="230782" y="853969"/>
                </a:cubicBezTo>
                <a:cubicBezTo>
                  <a:pt x="231271" y="851270"/>
                  <a:pt x="231029" y="849914"/>
                  <a:pt x="230786" y="848558"/>
                </a:cubicBezTo>
                <a:cubicBezTo>
                  <a:pt x="231390" y="840967"/>
                  <a:pt x="231993" y="833375"/>
                  <a:pt x="233315" y="824438"/>
                </a:cubicBezTo>
                <a:cubicBezTo>
                  <a:pt x="233755" y="821744"/>
                  <a:pt x="233477" y="820397"/>
                  <a:pt x="233199" y="819050"/>
                </a:cubicBezTo>
                <a:cubicBezTo>
                  <a:pt x="233786" y="807422"/>
                  <a:pt x="234374" y="795794"/>
                  <a:pt x="235848" y="782380"/>
                </a:cubicBezTo>
                <a:cubicBezTo>
                  <a:pt x="237047" y="760099"/>
                  <a:pt x="237488" y="739606"/>
                  <a:pt x="237465" y="719113"/>
                </a:cubicBezTo>
                <a:cubicBezTo>
                  <a:pt x="237463" y="717127"/>
                  <a:pt x="234595" y="715144"/>
                  <a:pt x="233057" y="713160"/>
                </a:cubicBezTo>
                <a:cubicBezTo>
                  <a:pt x="223043" y="711630"/>
                  <a:pt x="212881" y="710731"/>
                  <a:pt x="203056" y="708405"/>
                </a:cubicBezTo>
                <a:cubicBezTo>
                  <a:pt x="191716" y="705720"/>
                  <a:pt x="180144" y="702931"/>
                  <a:pt x="169628" y="698106"/>
                </a:cubicBezTo>
                <a:cubicBezTo>
                  <a:pt x="154505" y="691164"/>
                  <a:pt x="148867" y="675179"/>
                  <a:pt x="153237" y="659111"/>
                </a:cubicBezTo>
                <a:cubicBezTo>
                  <a:pt x="157196" y="644561"/>
                  <a:pt x="166649" y="634454"/>
                  <a:pt x="178365" y="626008"/>
                </a:cubicBezTo>
                <a:cubicBezTo>
                  <a:pt x="182258" y="623202"/>
                  <a:pt x="186579" y="620992"/>
                  <a:pt x="191885" y="617513"/>
                </a:cubicBezTo>
                <a:cubicBezTo>
                  <a:pt x="194882" y="614532"/>
                  <a:pt x="197062" y="612583"/>
                  <a:pt x="193681" y="610098"/>
                </a:cubicBezTo>
                <a:cubicBezTo>
                  <a:pt x="193381" y="595591"/>
                  <a:pt x="202034" y="586776"/>
                  <a:pt x="213301" y="579885"/>
                </a:cubicBezTo>
                <a:cubicBezTo>
                  <a:pt x="218517" y="576695"/>
                  <a:pt x="224270" y="574393"/>
                  <a:pt x="229635" y="571429"/>
                </a:cubicBezTo>
                <a:cubicBezTo>
                  <a:pt x="232401" y="569901"/>
                  <a:pt x="235344" y="568225"/>
                  <a:pt x="237351" y="565882"/>
                </a:cubicBezTo>
                <a:cubicBezTo>
                  <a:pt x="243193" y="559063"/>
                  <a:pt x="242021" y="554779"/>
                  <a:pt x="233673" y="550926"/>
                </a:cubicBezTo>
                <a:cubicBezTo>
                  <a:pt x="231458" y="549904"/>
                  <a:pt x="229049" y="549314"/>
                  <a:pt x="226799" y="548359"/>
                </a:cubicBezTo>
                <a:cubicBezTo>
                  <a:pt x="215108" y="543398"/>
                  <a:pt x="211118" y="532802"/>
                  <a:pt x="218639" y="522664"/>
                </a:cubicBezTo>
                <a:cubicBezTo>
                  <a:pt x="223647" y="515913"/>
                  <a:pt x="222661" y="511633"/>
                  <a:pt x="218264" y="505463"/>
                </a:cubicBezTo>
                <a:cubicBezTo>
                  <a:pt x="203255" y="484407"/>
                  <a:pt x="190650" y="461993"/>
                  <a:pt x="181762" y="437574"/>
                </a:cubicBezTo>
                <a:cubicBezTo>
                  <a:pt x="163530" y="387483"/>
                  <a:pt x="165826" y="338057"/>
                  <a:pt x="185971" y="289069"/>
                </a:cubicBezTo>
                <a:cubicBezTo>
                  <a:pt x="202921" y="247851"/>
                  <a:pt x="226229" y="210377"/>
                  <a:pt x="253787" y="175580"/>
                </a:cubicBezTo>
                <a:cubicBezTo>
                  <a:pt x="271814" y="152817"/>
                  <a:pt x="290973" y="130951"/>
                  <a:pt x="309639" y="108695"/>
                </a:cubicBezTo>
                <a:cubicBezTo>
                  <a:pt x="312744" y="104993"/>
                  <a:pt x="315922" y="101352"/>
                  <a:pt x="318061" y="98855"/>
                </a:cubicBezTo>
                <a:cubicBezTo>
                  <a:pt x="313257" y="88362"/>
                  <a:pt x="308695" y="79376"/>
                  <a:pt x="304967" y="70056"/>
                </a:cubicBezTo>
                <a:cubicBezTo>
                  <a:pt x="297146" y="50504"/>
                  <a:pt x="303366" y="33481"/>
                  <a:pt x="317012" y="19436"/>
                </a:cubicBezTo>
                <a:cubicBezTo>
                  <a:pt x="344741" y="-9105"/>
                  <a:pt x="393463" y="-3345"/>
                  <a:pt x="415542" y="18221"/>
                </a:cubicBezTo>
                <a:cubicBezTo>
                  <a:pt x="429559" y="31914"/>
                  <a:pt x="438373" y="56968"/>
                  <a:pt x="423203" y="82660"/>
                </a:cubicBezTo>
                <a:cubicBezTo>
                  <a:pt x="420306" y="87568"/>
                  <a:pt x="417047" y="92262"/>
                  <a:pt x="413361" y="97975"/>
                </a:cubicBezTo>
                <a:cubicBezTo>
                  <a:pt x="416167" y="100932"/>
                  <a:pt x="418781" y="103940"/>
                  <a:pt x="421654" y="106676"/>
                </a:cubicBezTo>
                <a:cubicBezTo>
                  <a:pt x="446372" y="130213"/>
                  <a:pt x="467902" y="156374"/>
                  <a:pt x="487032" y="184632"/>
                </a:cubicBezTo>
                <a:cubicBezTo>
                  <a:pt x="492374" y="192525"/>
                  <a:pt x="493990" y="199495"/>
                  <a:pt x="489213" y="208238"/>
                </a:cubicBezTo>
                <a:cubicBezTo>
                  <a:pt x="484525" y="216819"/>
                  <a:pt x="481033" y="226053"/>
                  <a:pt x="476520" y="235738"/>
                </a:cubicBezTo>
                <a:cubicBezTo>
                  <a:pt x="472168" y="236089"/>
                  <a:pt x="471165" y="234358"/>
                  <a:pt x="472850" y="230703"/>
                </a:cubicBezTo>
                <a:cubicBezTo>
                  <a:pt x="476263" y="223297"/>
                  <a:pt x="479344" y="215738"/>
                  <a:pt x="482723" y="208315"/>
                </a:cubicBezTo>
                <a:cubicBezTo>
                  <a:pt x="486016" y="201080"/>
                  <a:pt x="485571" y="194961"/>
                  <a:pt x="480764" y="187916"/>
                </a:cubicBezTo>
                <a:cubicBezTo>
                  <a:pt x="459995" y="157475"/>
                  <a:pt x="437234" y="128912"/>
                  <a:pt x="408519" y="105475"/>
                </a:cubicBezTo>
                <a:cubicBezTo>
                  <a:pt x="403555" y="101425"/>
                  <a:pt x="403835" y="96489"/>
                  <a:pt x="408625" y="89203"/>
                </a:cubicBezTo>
                <a:cubicBezTo>
                  <a:pt x="412416" y="83438"/>
                  <a:pt x="416045" y="77562"/>
                  <a:pt x="419600" y="71648"/>
                </a:cubicBezTo>
                <a:cubicBezTo>
                  <a:pt x="421349" y="68739"/>
                  <a:pt x="422717" y="65537"/>
                  <a:pt x="418792" y="63179"/>
                </a:cubicBezTo>
                <a:cubicBezTo>
                  <a:pt x="414834" y="60801"/>
                  <a:pt x="413218" y="63883"/>
                  <a:pt x="410943" y="66417"/>
                </a:cubicBezTo>
                <a:cubicBezTo>
                  <a:pt x="407706" y="70022"/>
                  <a:pt x="404330" y="74045"/>
                  <a:pt x="400140" y="76155"/>
                </a:cubicBezTo>
                <a:cubicBezTo>
                  <a:pt x="381561" y="85507"/>
                  <a:pt x="360821" y="72312"/>
                  <a:pt x="360599" y="51379"/>
                </a:cubicBezTo>
                <a:cubicBezTo>
                  <a:pt x="360556" y="47292"/>
                  <a:pt x="360308" y="43152"/>
                  <a:pt x="360842" y="39128"/>
                </a:cubicBezTo>
                <a:cubicBezTo>
                  <a:pt x="361447" y="34568"/>
                  <a:pt x="362880" y="30159"/>
                  <a:pt x="369470" y="30960"/>
                </a:cubicBezTo>
                <a:cubicBezTo>
                  <a:pt x="368501" y="37551"/>
                  <a:pt x="365745" y="43300"/>
                  <a:pt x="365613" y="49108"/>
                </a:cubicBezTo>
                <a:cubicBezTo>
                  <a:pt x="365328" y="61659"/>
                  <a:pt x="377498" y="72522"/>
                  <a:pt x="389468" y="71608"/>
                </a:cubicBezTo>
                <a:cubicBezTo>
                  <a:pt x="401478" y="70690"/>
                  <a:pt x="410127" y="59637"/>
                  <a:pt x="408822" y="46613"/>
                </a:cubicBezTo>
                <a:cubicBezTo>
                  <a:pt x="408542" y="43819"/>
                  <a:pt x="407521" y="41100"/>
                  <a:pt x="406842" y="38347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81" name="Free-form: Shape 380">
            <a:extLst>
              <a:ext uri="{FF2B5EF4-FFF2-40B4-BE49-F238E27FC236}">
                <a16:creationId xmlns:a16="http://schemas.microsoft.com/office/drawing/2014/main" id="{71F58D24-B041-55F4-AE93-863C044BB8EC}"/>
              </a:ext>
            </a:extLst>
          </p:cNvPr>
          <p:cNvSpPr/>
          <p:nvPr/>
        </p:nvSpPr>
        <p:spPr>
          <a:xfrm>
            <a:off x="4351299" y="5526794"/>
            <a:ext cx="91545" cy="184495"/>
          </a:xfrm>
          <a:custGeom>
            <a:avLst/>
            <a:gdLst>
              <a:gd name="csX0" fmla="*/ 96534 w 100699"/>
              <a:gd name="csY0" fmla="*/ 202912 h 202945"/>
              <a:gd name="csX1" fmla="*/ 91036 w 100699"/>
              <a:gd name="csY1" fmla="*/ 196780 h 202945"/>
              <a:gd name="csX2" fmla="*/ 93357 w 100699"/>
              <a:gd name="csY2" fmla="*/ 178731 h 202945"/>
              <a:gd name="csX3" fmla="*/ 75903 w 100699"/>
              <a:gd name="csY3" fmla="*/ 106029 h 202945"/>
              <a:gd name="csX4" fmla="*/ 72780 w 100699"/>
              <a:gd name="csY4" fmla="*/ 102473 h 202945"/>
              <a:gd name="csX5" fmla="*/ 10982 w 100699"/>
              <a:gd name="csY5" fmla="*/ 41414 h 202945"/>
              <a:gd name="csX6" fmla="*/ 676 w 100699"/>
              <a:gd name="csY6" fmla="*/ 2936 h 202945"/>
              <a:gd name="csX7" fmla="*/ 5198 w 100699"/>
              <a:gd name="csY7" fmla="*/ 0 h 202945"/>
              <a:gd name="csX8" fmla="*/ 15435 w 100699"/>
              <a:gd name="csY8" fmla="*/ 35855 h 202945"/>
              <a:gd name="csX9" fmla="*/ 44498 w 100699"/>
              <a:gd name="csY9" fmla="*/ 63833 h 202945"/>
              <a:gd name="csX10" fmla="*/ 81385 w 100699"/>
              <a:gd name="csY10" fmla="*/ 106005 h 202945"/>
              <a:gd name="csX11" fmla="*/ 98950 w 100699"/>
              <a:gd name="csY11" fmla="*/ 190063 h 202945"/>
              <a:gd name="csX12" fmla="*/ 96534 w 100699"/>
              <a:gd name="csY12" fmla="*/ 202912 h 20294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</a:cxnLst>
            <a:rect l="l" t="t" r="r" b="b"/>
            <a:pathLst>
              <a:path w="100699" h="202945">
                <a:moveTo>
                  <a:pt x="96534" y="202912"/>
                </a:moveTo>
                <a:cubicBezTo>
                  <a:pt x="91699" y="203291"/>
                  <a:pt x="90650" y="200377"/>
                  <a:pt x="91036" y="196780"/>
                </a:cubicBezTo>
                <a:cubicBezTo>
                  <a:pt x="91685" y="190750"/>
                  <a:pt x="92933" y="184771"/>
                  <a:pt x="93357" y="178731"/>
                </a:cubicBezTo>
                <a:cubicBezTo>
                  <a:pt x="95183" y="152694"/>
                  <a:pt x="86034" y="129222"/>
                  <a:pt x="75903" y="106029"/>
                </a:cubicBezTo>
                <a:cubicBezTo>
                  <a:pt x="75300" y="104650"/>
                  <a:pt x="73904" y="103585"/>
                  <a:pt x="72780" y="102473"/>
                </a:cubicBezTo>
                <a:cubicBezTo>
                  <a:pt x="52199" y="82101"/>
                  <a:pt x="31673" y="61673"/>
                  <a:pt x="10982" y="41414"/>
                </a:cubicBezTo>
                <a:cubicBezTo>
                  <a:pt x="-119" y="30544"/>
                  <a:pt x="-1041" y="17093"/>
                  <a:pt x="676" y="2936"/>
                </a:cubicBezTo>
                <a:cubicBezTo>
                  <a:pt x="808" y="1852"/>
                  <a:pt x="2922" y="1010"/>
                  <a:pt x="5198" y="0"/>
                </a:cubicBezTo>
                <a:cubicBezTo>
                  <a:pt x="2043" y="13772"/>
                  <a:pt x="5665" y="25821"/>
                  <a:pt x="15435" y="35855"/>
                </a:cubicBezTo>
                <a:cubicBezTo>
                  <a:pt x="24811" y="45486"/>
                  <a:pt x="35301" y="54047"/>
                  <a:pt x="44498" y="63833"/>
                </a:cubicBezTo>
                <a:cubicBezTo>
                  <a:pt x="57293" y="77447"/>
                  <a:pt x="70760" y="90773"/>
                  <a:pt x="81385" y="106005"/>
                </a:cubicBezTo>
                <a:cubicBezTo>
                  <a:pt x="98896" y="131109"/>
                  <a:pt x="103759" y="159808"/>
                  <a:pt x="98950" y="190063"/>
                </a:cubicBezTo>
                <a:cubicBezTo>
                  <a:pt x="98311" y="194082"/>
                  <a:pt x="97697" y="198105"/>
                  <a:pt x="96534" y="202912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82" name="Free-form: Shape 381">
            <a:extLst>
              <a:ext uri="{FF2B5EF4-FFF2-40B4-BE49-F238E27FC236}">
                <a16:creationId xmlns:a16="http://schemas.microsoft.com/office/drawing/2014/main" id="{99A51642-7EF2-1BFA-5539-0D344F659DF6}"/>
              </a:ext>
            </a:extLst>
          </p:cNvPr>
          <p:cNvSpPr/>
          <p:nvPr/>
        </p:nvSpPr>
        <p:spPr>
          <a:xfrm>
            <a:off x="4010015" y="5062758"/>
            <a:ext cx="3739" cy="60936"/>
          </a:xfrm>
          <a:custGeom>
            <a:avLst/>
            <a:gdLst>
              <a:gd name="csX0" fmla="*/ 0 w 4113"/>
              <a:gd name="csY0" fmla="*/ 0 h 67029"/>
              <a:gd name="csX1" fmla="*/ 4113 w 4113"/>
              <a:gd name="csY1" fmla="*/ 4824 h 67029"/>
              <a:gd name="csX2" fmla="*/ 2662 w 4113"/>
              <a:gd name="csY2" fmla="*/ 67030 h 67029"/>
              <a:gd name="csX3" fmla="*/ 631 w 4113"/>
              <a:gd name="csY3" fmla="*/ 55883 h 67029"/>
              <a:gd name="csX4" fmla="*/ 0 w 4113"/>
              <a:gd name="csY4" fmla="*/ 0 h 6702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4113" h="67029">
                <a:moveTo>
                  <a:pt x="0" y="0"/>
                </a:moveTo>
                <a:cubicBezTo>
                  <a:pt x="1242" y="855"/>
                  <a:pt x="4111" y="2838"/>
                  <a:pt x="4113" y="4824"/>
                </a:cubicBezTo>
                <a:cubicBezTo>
                  <a:pt x="4135" y="25317"/>
                  <a:pt x="3695" y="45810"/>
                  <a:pt x="2662" y="67030"/>
                </a:cubicBezTo>
                <a:cubicBezTo>
                  <a:pt x="1483" y="63799"/>
                  <a:pt x="680" y="59846"/>
                  <a:pt x="631" y="55883"/>
                </a:cubicBezTo>
                <a:cubicBezTo>
                  <a:pt x="404" y="37633"/>
                  <a:pt x="388" y="19381"/>
                  <a:pt x="0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83" name="Free-form: Shape 382">
            <a:extLst>
              <a:ext uri="{FF2B5EF4-FFF2-40B4-BE49-F238E27FC236}">
                <a16:creationId xmlns:a16="http://schemas.microsoft.com/office/drawing/2014/main" id="{D93EC7C7-EE6F-39C8-42B7-35E9F645675F}"/>
              </a:ext>
            </a:extLst>
          </p:cNvPr>
          <p:cNvSpPr/>
          <p:nvPr/>
        </p:nvSpPr>
        <p:spPr>
          <a:xfrm>
            <a:off x="4462404" y="5790558"/>
            <a:ext cx="1060" cy="5803"/>
          </a:xfrm>
          <a:custGeom>
            <a:avLst/>
            <a:gdLst>
              <a:gd name="csX0" fmla="*/ 1130 w 1165"/>
              <a:gd name="csY0" fmla="*/ 6385 h 6384"/>
              <a:gd name="csX1" fmla="*/ 49 w 1165"/>
              <a:gd name="csY1" fmla="*/ 0 h 6384"/>
              <a:gd name="csX2" fmla="*/ 1130 w 1165"/>
              <a:gd name="csY2" fmla="*/ 6385 h 638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165" h="6384">
                <a:moveTo>
                  <a:pt x="1130" y="6385"/>
                </a:moveTo>
                <a:cubicBezTo>
                  <a:pt x="260" y="4748"/>
                  <a:pt x="-149" y="2599"/>
                  <a:pt x="49" y="0"/>
                </a:cubicBezTo>
                <a:cubicBezTo>
                  <a:pt x="969" y="1658"/>
                  <a:pt x="1279" y="3765"/>
                  <a:pt x="1130" y="6385"/>
                </a:cubicBezTo>
                <a:close/>
              </a:path>
            </a:pathLst>
          </a:custGeom>
          <a:solidFill>
            <a:srgbClr val="939B9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84" name="Free-form: Shape 383">
            <a:extLst>
              <a:ext uri="{FF2B5EF4-FFF2-40B4-BE49-F238E27FC236}">
                <a16:creationId xmlns:a16="http://schemas.microsoft.com/office/drawing/2014/main" id="{BC194898-7985-B2C0-1D7B-71B9CC96EAD8}"/>
              </a:ext>
            </a:extLst>
          </p:cNvPr>
          <p:cNvSpPr/>
          <p:nvPr/>
        </p:nvSpPr>
        <p:spPr>
          <a:xfrm>
            <a:off x="4432675" y="5716463"/>
            <a:ext cx="5440" cy="2491"/>
          </a:xfrm>
          <a:custGeom>
            <a:avLst/>
            <a:gdLst>
              <a:gd name="csX0" fmla="*/ 5985 w 5984"/>
              <a:gd name="csY0" fmla="*/ 1832 h 2740"/>
              <a:gd name="csX1" fmla="*/ 0 w 5984"/>
              <a:gd name="csY1" fmla="*/ 2740 h 2740"/>
              <a:gd name="csX2" fmla="*/ 4930 w 5984"/>
              <a:gd name="csY2" fmla="*/ 0 h 2740"/>
              <a:gd name="csX3" fmla="*/ 5985 w 5984"/>
              <a:gd name="csY3" fmla="*/ 1832 h 274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</a:cxnLst>
            <a:rect l="l" t="t" r="r" b="b"/>
            <a:pathLst>
              <a:path w="5984" h="2740">
                <a:moveTo>
                  <a:pt x="5985" y="1832"/>
                </a:moveTo>
                <a:cubicBezTo>
                  <a:pt x="3992" y="2553"/>
                  <a:pt x="1996" y="2646"/>
                  <a:pt x="0" y="2740"/>
                </a:cubicBezTo>
                <a:cubicBezTo>
                  <a:pt x="1398" y="1830"/>
                  <a:pt x="2796" y="920"/>
                  <a:pt x="4930" y="0"/>
                </a:cubicBezTo>
                <a:cubicBezTo>
                  <a:pt x="5772" y="394"/>
                  <a:pt x="5877" y="799"/>
                  <a:pt x="5985" y="1832"/>
                </a:cubicBezTo>
                <a:close/>
              </a:path>
            </a:pathLst>
          </a:custGeom>
          <a:solidFill>
            <a:srgbClr val="8E9395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85" name="Free-form: Shape 384">
            <a:extLst>
              <a:ext uri="{FF2B5EF4-FFF2-40B4-BE49-F238E27FC236}">
                <a16:creationId xmlns:a16="http://schemas.microsoft.com/office/drawing/2014/main" id="{B5E98FDF-C02E-ADF3-6768-8AF27B34B012}"/>
              </a:ext>
            </a:extLst>
          </p:cNvPr>
          <p:cNvSpPr/>
          <p:nvPr/>
        </p:nvSpPr>
        <p:spPr>
          <a:xfrm>
            <a:off x="3972788" y="4968578"/>
            <a:ext cx="2645" cy="5625"/>
          </a:xfrm>
          <a:custGeom>
            <a:avLst/>
            <a:gdLst>
              <a:gd name="csX0" fmla="*/ 815 w 2910"/>
              <a:gd name="csY0" fmla="*/ 0 h 6187"/>
              <a:gd name="csX1" fmla="*/ 113 w 2910"/>
              <a:gd name="csY1" fmla="*/ 6187 h 6187"/>
              <a:gd name="csX2" fmla="*/ 815 w 2910"/>
              <a:gd name="csY2" fmla="*/ 0 h 618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2910" h="6187">
                <a:moveTo>
                  <a:pt x="815" y="0"/>
                </a:moveTo>
                <a:cubicBezTo>
                  <a:pt x="4660" y="1891"/>
                  <a:pt x="2480" y="3840"/>
                  <a:pt x="113" y="6187"/>
                </a:cubicBezTo>
                <a:cubicBezTo>
                  <a:pt x="-172" y="4565"/>
                  <a:pt x="89" y="2579"/>
                  <a:pt x="815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86" name="Free-form: Shape 385">
            <a:extLst>
              <a:ext uri="{FF2B5EF4-FFF2-40B4-BE49-F238E27FC236}">
                <a16:creationId xmlns:a16="http://schemas.microsoft.com/office/drawing/2014/main" id="{E8877946-0846-4B29-8756-77FFD0F74C2F}"/>
              </a:ext>
            </a:extLst>
          </p:cNvPr>
          <p:cNvSpPr/>
          <p:nvPr/>
        </p:nvSpPr>
        <p:spPr>
          <a:xfrm>
            <a:off x="4007203" y="5185152"/>
            <a:ext cx="770" cy="3664"/>
          </a:xfrm>
          <a:custGeom>
            <a:avLst/>
            <a:gdLst>
              <a:gd name="csX0" fmla="*/ 106 w 847"/>
              <a:gd name="csY0" fmla="*/ 0 h 4030"/>
              <a:gd name="csX1" fmla="*/ 732 w 847"/>
              <a:gd name="csY1" fmla="*/ 4031 h 4030"/>
              <a:gd name="csX2" fmla="*/ 106 w 847"/>
              <a:gd name="csY2" fmla="*/ 0 h 403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7" h="4030">
                <a:moveTo>
                  <a:pt x="106" y="0"/>
                </a:moveTo>
                <a:cubicBezTo>
                  <a:pt x="770" y="990"/>
                  <a:pt x="1013" y="2346"/>
                  <a:pt x="732" y="4031"/>
                </a:cubicBezTo>
                <a:cubicBezTo>
                  <a:pt x="34" y="3029"/>
                  <a:pt x="-141" y="1697"/>
                  <a:pt x="106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87" name="Free-form: Shape 386">
            <a:extLst>
              <a:ext uri="{FF2B5EF4-FFF2-40B4-BE49-F238E27FC236}">
                <a16:creationId xmlns:a16="http://schemas.microsoft.com/office/drawing/2014/main" id="{B8F20BA6-004B-08F0-F111-9734E02C8FDE}"/>
              </a:ext>
            </a:extLst>
          </p:cNvPr>
          <p:cNvSpPr/>
          <p:nvPr/>
        </p:nvSpPr>
        <p:spPr>
          <a:xfrm>
            <a:off x="4002879" y="5220946"/>
            <a:ext cx="703" cy="3631"/>
          </a:xfrm>
          <a:custGeom>
            <a:avLst/>
            <a:gdLst>
              <a:gd name="csX0" fmla="*/ 195 w 774"/>
              <a:gd name="csY0" fmla="*/ 0 h 3994"/>
              <a:gd name="csX1" fmla="*/ 575 w 774"/>
              <a:gd name="csY1" fmla="*/ 3994 h 3994"/>
              <a:gd name="csX2" fmla="*/ 195 w 774"/>
              <a:gd name="csY2" fmla="*/ 0 h 399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774" h="3994">
                <a:moveTo>
                  <a:pt x="195" y="0"/>
                </a:moveTo>
                <a:cubicBezTo>
                  <a:pt x="794" y="1011"/>
                  <a:pt x="941" y="2348"/>
                  <a:pt x="575" y="3994"/>
                </a:cubicBezTo>
                <a:cubicBezTo>
                  <a:pt x="-44" y="2978"/>
                  <a:pt x="-151" y="1652"/>
                  <a:pt x="195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88" name="Free-form: Shape 387">
            <a:extLst>
              <a:ext uri="{FF2B5EF4-FFF2-40B4-BE49-F238E27FC236}">
                <a16:creationId xmlns:a16="http://schemas.microsoft.com/office/drawing/2014/main" id="{EF32BB4B-B91B-B830-8BAD-9BA09419D5FB}"/>
              </a:ext>
            </a:extLst>
          </p:cNvPr>
          <p:cNvSpPr/>
          <p:nvPr/>
        </p:nvSpPr>
        <p:spPr>
          <a:xfrm>
            <a:off x="4009456" y="5158342"/>
            <a:ext cx="787" cy="3631"/>
          </a:xfrm>
          <a:custGeom>
            <a:avLst/>
            <a:gdLst>
              <a:gd name="csX0" fmla="*/ 71 w 865"/>
              <a:gd name="csY0" fmla="*/ 0 h 3995"/>
              <a:gd name="csX1" fmla="*/ 783 w 865"/>
              <a:gd name="csY1" fmla="*/ 3996 h 3995"/>
              <a:gd name="csX2" fmla="*/ 71 w 865"/>
              <a:gd name="csY2" fmla="*/ 0 h 399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65" h="3995">
                <a:moveTo>
                  <a:pt x="71" y="0"/>
                </a:moveTo>
                <a:cubicBezTo>
                  <a:pt x="740" y="963"/>
                  <a:pt x="1018" y="2311"/>
                  <a:pt x="783" y="3996"/>
                </a:cubicBezTo>
                <a:cubicBezTo>
                  <a:pt x="73" y="3017"/>
                  <a:pt x="-124" y="1701"/>
                  <a:pt x="71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89" name="Free-form: Shape 388">
            <a:extLst>
              <a:ext uri="{FF2B5EF4-FFF2-40B4-BE49-F238E27FC236}">
                <a16:creationId xmlns:a16="http://schemas.microsoft.com/office/drawing/2014/main" id="{F25B15F7-5A5B-AF41-AE34-6E20432D9BF7}"/>
              </a:ext>
            </a:extLst>
          </p:cNvPr>
          <p:cNvSpPr/>
          <p:nvPr/>
        </p:nvSpPr>
        <p:spPr>
          <a:xfrm>
            <a:off x="4127760" y="5062368"/>
            <a:ext cx="170236" cy="426821"/>
          </a:xfrm>
          <a:custGeom>
            <a:avLst/>
            <a:gdLst>
              <a:gd name="csX0" fmla="*/ 120604 w 187260"/>
              <a:gd name="csY0" fmla="*/ 222968 h 469503"/>
              <a:gd name="csX1" fmla="*/ 187261 w 187260"/>
              <a:gd name="csY1" fmla="*/ 469503 h 469503"/>
              <a:gd name="csX2" fmla="*/ 1253 w 187260"/>
              <a:gd name="csY2" fmla="*/ 466078 h 469503"/>
              <a:gd name="csX3" fmla="*/ 8 w 187260"/>
              <a:gd name="csY3" fmla="*/ 458101 h 469503"/>
              <a:gd name="csX4" fmla="*/ 4383 w 187260"/>
              <a:gd name="csY4" fmla="*/ 351443 h 469503"/>
              <a:gd name="csX5" fmla="*/ 4615 w 187260"/>
              <a:gd name="csY5" fmla="*/ 346536 h 469503"/>
              <a:gd name="csX6" fmla="*/ 7935 w 187260"/>
              <a:gd name="csY6" fmla="*/ 233648 h 469503"/>
              <a:gd name="csX7" fmla="*/ 10461 w 187260"/>
              <a:gd name="csY7" fmla="*/ 128112 h 469503"/>
              <a:gd name="csX8" fmla="*/ 12461 w 187260"/>
              <a:gd name="csY8" fmla="*/ 12750 h 469503"/>
              <a:gd name="csX9" fmla="*/ 13165 w 187260"/>
              <a:gd name="csY9" fmla="*/ 4285 h 469503"/>
              <a:gd name="csX10" fmla="*/ 102327 w 187260"/>
              <a:gd name="csY10" fmla="*/ 0 h 469503"/>
              <a:gd name="csX11" fmla="*/ 106229 w 187260"/>
              <a:gd name="csY11" fmla="*/ 111321 h 469503"/>
              <a:gd name="csX12" fmla="*/ 120604 w 187260"/>
              <a:gd name="csY12" fmla="*/ 222968 h 46950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</a:cxnLst>
            <a:rect l="l" t="t" r="r" b="b"/>
            <a:pathLst>
              <a:path w="187260" h="469503">
                <a:moveTo>
                  <a:pt x="120604" y="222968"/>
                </a:moveTo>
                <a:cubicBezTo>
                  <a:pt x="135383" y="307129"/>
                  <a:pt x="159464" y="387725"/>
                  <a:pt x="187261" y="469503"/>
                </a:cubicBezTo>
                <a:cubicBezTo>
                  <a:pt x="124460" y="468347"/>
                  <a:pt x="63286" y="467220"/>
                  <a:pt x="1253" y="466078"/>
                </a:cubicBezTo>
                <a:cubicBezTo>
                  <a:pt x="818" y="463442"/>
                  <a:pt x="-95" y="460752"/>
                  <a:pt x="8" y="458101"/>
                </a:cubicBezTo>
                <a:cubicBezTo>
                  <a:pt x="1383" y="422545"/>
                  <a:pt x="2900" y="386994"/>
                  <a:pt x="4383" y="351443"/>
                </a:cubicBezTo>
                <a:cubicBezTo>
                  <a:pt x="4451" y="349807"/>
                  <a:pt x="4566" y="348172"/>
                  <a:pt x="4615" y="346536"/>
                </a:cubicBezTo>
                <a:cubicBezTo>
                  <a:pt x="5732" y="308907"/>
                  <a:pt x="6921" y="271280"/>
                  <a:pt x="7935" y="233648"/>
                </a:cubicBezTo>
                <a:cubicBezTo>
                  <a:pt x="8883" y="198472"/>
                  <a:pt x="9752" y="163293"/>
                  <a:pt x="10461" y="128112"/>
                </a:cubicBezTo>
                <a:cubicBezTo>
                  <a:pt x="11237" y="89660"/>
                  <a:pt x="11781" y="51204"/>
                  <a:pt x="12461" y="12750"/>
                </a:cubicBezTo>
                <a:cubicBezTo>
                  <a:pt x="12503" y="10363"/>
                  <a:pt x="12848" y="7981"/>
                  <a:pt x="13165" y="4285"/>
                </a:cubicBezTo>
                <a:cubicBezTo>
                  <a:pt x="42856" y="2858"/>
                  <a:pt x="72082" y="1454"/>
                  <a:pt x="102327" y="0"/>
                </a:cubicBezTo>
                <a:cubicBezTo>
                  <a:pt x="103499" y="37348"/>
                  <a:pt x="103207" y="74470"/>
                  <a:pt x="106229" y="111321"/>
                </a:cubicBezTo>
                <a:cubicBezTo>
                  <a:pt x="109263" y="148326"/>
                  <a:pt x="115599" y="185060"/>
                  <a:pt x="120604" y="222968"/>
                </a:cubicBezTo>
                <a:close/>
              </a:path>
            </a:pathLst>
          </a:custGeom>
          <a:solidFill>
            <a:srgbClr val="FDFDFD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90" name="Free-form: Shape 389">
            <a:extLst>
              <a:ext uri="{FF2B5EF4-FFF2-40B4-BE49-F238E27FC236}">
                <a16:creationId xmlns:a16="http://schemas.microsoft.com/office/drawing/2014/main" id="{3661CCA0-D3E5-D636-6351-E3614336D1A4}"/>
              </a:ext>
            </a:extLst>
          </p:cNvPr>
          <p:cNvSpPr/>
          <p:nvPr/>
        </p:nvSpPr>
        <p:spPr>
          <a:xfrm>
            <a:off x="4126567" y="5529120"/>
            <a:ext cx="284824" cy="179974"/>
          </a:xfrm>
          <a:custGeom>
            <a:avLst/>
            <a:gdLst>
              <a:gd name="csX0" fmla="*/ 160234 w 313306"/>
              <a:gd name="csY0" fmla="*/ 197876 h 197971"/>
              <a:gd name="csX1" fmla="*/ 544 w 313306"/>
              <a:gd name="csY1" fmla="*/ 197972 h 197971"/>
              <a:gd name="csX2" fmla="*/ 3466 w 313306"/>
              <a:gd name="csY2" fmla="*/ 104326 h 197971"/>
              <a:gd name="csX3" fmla="*/ 0 w 313306"/>
              <a:gd name="csY3" fmla="*/ 10720 h 197971"/>
              <a:gd name="csX4" fmla="*/ 5445 w 313306"/>
              <a:gd name="csY4" fmla="*/ 9282 h 197971"/>
              <a:gd name="csX5" fmla="*/ 71623 w 313306"/>
              <a:gd name="csY5" fmla="*/ 6885 h 197971"/>
              <a:gd name="csX6" fmla="*/ 187887 w 313306"/>
              <a:gd name="csY6" fmla="*/ 233 h 197971"/>
              <a:gd name="csX7" fmla="*/ 215297 w 313306"/>
              <a:gd name="csY7" fmla="*/ 163 h 197971"/>
              <a:gd name="csX8" fmla="*/ 243629 w 313306"/>
              <a:gd name="csY8" fmla="*/ 61389 h 197971"/>
              <a:gd name="csX9" fmla="*/ 270660 w 313306"/>
              <a:gd name="csY9" fmla="*/ 86342 h 197971"/>
              <a:gd name="csX10" fmla="*/ 313142 w 313306"/>
              <a:gd name="csY10" fmla="*/ 170098 h 197971"/>
              <a:gd name="csX11" fmla="*/ 313291 w 313306"/>
              <a:gd name="csY11" fmla="*/ 176231 h 197971"/>
              <a:gd name="csX12" fmla="*/ 312654 w 313306"/>
              <a:gd name="csY12" fmla="*/ 180738 h 197971"/>
              <a:gd name="csX13" fmla="*/ 279655 w 313306"/>
              <a:gd name="csY13" fmla="*/ 186226 h 197971"/>
              <a:gd name="csX14" fmla="*/ 167436 w 313306"/>
              <a:gd name="csY14" fmla="*/ 196805 h 197971"/>
              <a:gd name="csX15" fmla="*/ 160234 w 313306"/>
              <a:gd name="csY15" fmla="*/ 197876 h 19797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</a:cxnLst>
            <a:rect l="l" t="t" r="r" b="b"/>
            <a:pathLst>
              <a:path w="313306" h="197971">
                <a:moveTo>
                  <a:pt x="160234" y="197876"/>
                </a:moveTo>
                <a:cubicBezTo>
                  <a:pt x="106384" y="197972"/>
                  <a:pt x="53682" y="197972"/>
                  <a:pt x="544" y="197972"/>
                </a:cubicBezTo>
                <a:cubicBezTo>
                  <a:pt x="1602" y="166763"/>
                  <a:pt x="3550" y="135542"/>
                  <a:pt x="3466" y="104326"/>
                </a:cubicBezTo>
                <a:cubicBezTo>
                  <a:pt x="3383" y="73323"/>
                  <a:pt x="1255" y="42326"/>
                  <a:pt x="0" y="10720"/>
                </a:cubicBezTo>
                <a:cubicBezTo>
                  <a:pt x="1689" y="10255"/>
                  <a:pt x="3551" y="9355"/>
                  <a:pt x="5445" y="9282"/>
                </a:cubicBezTo>
                <a:cubicBezTo>
                  <a:pt x="27503" y="8435"/>
                  <a:pt x="49582" y="8030"/>
                  <a:pt x="71623" y="6885"/>
                </a:cubicBezTo>
                <a:cubicBezTo>
                  <a:pt x="110388" y="4872"/>
                  <a:pt x="149126" y="2333"/>
                  <a:pt x="187887" y="233"/>
                </a:cubicBezTo>
                <a:cubicBezTo>
                  <a:pt x="196749" y="-247"/>
                  <a:pt x="205660" y="163"/>
                  <a:pt x="215297" y="163"/>
                </a:cubicBezTo>
                <a:cubicBezTo>
                  <a:pt x="215450" y="25550"/>
                  <a:pt x="226120" y="45122"/>
                  <a:pt x="243629" y="61389"/>
                </a:cubicBezTo>
                <a:cubicBezTo>
                  <a:pt x="252615" y="69739"/>
                  <a:pt x="261099" y="78715"/>
                  <a:pt x="270660" y="86342"/>
                </a:cubicBezTo>
                <a:cubicBezTo>
                  <a:pt x="297676" y="107892"/>
                  <a:pt x="310731" y="136225"/>
                  <a:pt x="313142" y="170098"/>
                </a:cubicBezTo>
                <a:cubicBezTo>
                  <a:pt x="313287" y="172136"/>
                  <a:pt x="313335" y="174188"/>
                  <a:pt x="313291" y="176231"/>
                </a:cubicBezTo>
                <a:cubicBezTo>
                  <a:pt x="313265" y="177429"/>
                  <a:pt x="312966" y="178621"/>
                  <a:pt x="312654" y="180738"/>
                </a:cubicBezTo>
                <a:cubicBezTo>
                  <a:pt x="302343" y="185396"/>
                  <a:pt x="290736" y="185049"/>
                  <a:pt x="279655" y="186226"/>
                </a:cubicBezTo>
                <a:cubicBezTo>
                  <a:pt x="242295" y="190193"/>
                  <a:pt x="204847" y="193324"/>
                  <a:pt x="167436" y="196805"/>
                </a:cubicBezTo>
                <a:cubicBezTo>
                  <a:pt x="165405" y="196994"/>
                  <a:pt x="163399" y="197449"/>
                  <a:pt x="160234" y="197876"/>
                </a:cubicBezTo>
                <a:close/>
              </a:path>
            </a:pathLst>
          </a:custGeom>
          <a:solidFill>
            <a:srgbClr val="FDFEFE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91" name="Free-form: Shape 390">
            <a:extLst>
              <a:ext uri="{FF2B5EF4-FFF2-40B4-BE49-F238E27FC236}">
                <a16:creationId xmlns:a16="http://schemas.microsoft.com/office/drawing/2014/main" id="{D4400AAB-DE38-0D98-7C0D-E10916AE8FE3}"/>
              </a:ext>
            </a:extLst>
          </p:cNvPr>
          <p:cNvSpPr/>
          <p:nvPr/>
        </p:nvSpPr>
        <p:spPr>
          <a:xfrm>
            <a:off x="4137310" y="4512536"/>
            <a:ext cx="149260" cy="361842"/>
          </a:xfrm>
          <a:custGeom>
            <a:avLst/>
            <a:gdLst>
              <a:gd name="csX0" fmla="*/ 22609 w 164186"/>
              <a:gd name="csY0" fmla="*/ 398026 h 398026"/>
              <a:gd name="csX1" fmla="*/ 16884 w 164186"/>
              <a:gd name="csY1" fmla="*/ 390515 h 398026"/>
              <a:gd name="csX2" fmla="*/ 9661 w 164186"/>
              <a:gd name="csY2" fmla="*/ 328443 h 398026"/>
              <a:gd name="csX3" fmla="*/ 534 w 164186"/>
              <a:gd name="csY3" fmla="*/ 196369 h 398026"/>
              <a:gd name="csX4" fmla="*/ 1243 w 164186"/>
              <a:gd name="csY4" fmla="*/ 82293 h 398026"/>
              <a:gd name="csX5" fmla="*/ 2245 w 164186"/>
              <a:gd name="csY5" fmla="*/ 43023 h 398026"/>
              <a:gd name="csX6" fmla="*/ 4587 w 164186"/>
              <a:gd name="csY6" fmla="*/ 0 h 398026"/>
              <a:gd name="csX7" fmla="*/ 12341 w 164186"/>
              <a:gd name="csY7" fmla="*/ 3872 h 398026"/>
              <a:gd name="csX8" fmla="*/ 85914 w 164186"/>
              <a:gd name="csY8" fmla="*/ 78943 h 398026"/>
              <a:gd name="csX9" fmla="*/ 87893 w 164186"/>
              <a:gd name="csY9" fmla="*/ 99117 h 398026"/>
              <a:gd name="csX10" fmla="*/ 35459 w 164186"/>
              <a:gd name="csY10" fmla="*/ 207346 h 398026"/>
              <a:gd name="csX11" fmla="*/ 32223 w 164186"/>
              <a:gd name="csY11" fmla="*/ 213959 h 398026"/>
              <a:gd name="csX12" fmla="*/ 39509 w 164186"/>
              <a:gd name="csY12" fmla="*/ 242056 h 398026"/>
              <a:gd name="csX13" fmla="*/ 69474 w 164186"/>
              <a:gd name="csY13" fmla="*/ 237019 h 398026"/>
              <a:gd name="csX14" fmla="*/ 89101 w 164186"/>
              <a:gd name="csY14" fmla="*/ 208870 h 398026"/>
              <a:gd name="csX15" fmla="*/ 121716 w 164186"/>
              <a:gd name="csY15" fmla="*/ 158357 h 398026"/>
              <a:gd name="csX16" fmla="*/ 129330 w 164186"/>
              <a:gd name="csY16" fmla="*/ 148165 h 398026"/>
              <a:gd name="csX17" fmla="*/ 137171 w 164186"/>
              <a:gd name="csY17" fmla="*/ 159989 h 398026"/>
              <a:gd name="csX18" fmla="*/ 163812 w 164186"/>
              <a:gd name="csY18" fmla="*/ 273175 h 398026"/>
              <a:gd name="csX19" fmla="*/ 118151 w 164186"/>
              <a:gd name="csY19" fmla="*/ 383442 h 398026"/>
              <a:gd name="csX20" fmla="*/ 92325 w 164186"/>
              <a:gd name="csY20" fmla="*/ 395173 h 398026"/>
              <a:gd name="csX21" fmla="*/ 22609 w 164186"/>
              <a:gd name="csY21" fmla="*/ 398026 h 39802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</a:cxnLst>
            <a:rect l="l" t="t" r="r" b="b"/>
            <a:pathLst>
              <a:path w="164186" h="398026">
                <a:moveTo>
                  <a:pt x="22609" y="398026"/>
                </a:moveTo>
                <a:cubicBezTo>
                  <a:pt x="19898" y="395489"/>
                  <a:pt x="17229" y="393154"/>
                  <a:pt x="16884" y="390515"/>
                </a:cubicBezTo>
                <a:cubicBezTo>
                  <a:pt x="14183" y="369861"/>
                  <a:pt x="11326" y="349196"/>
                  <a:pt x="9661" y="328443"/>
                </a:cubicBezTo>
                <a:cubicBezTo>
                  <a:pt x="6132" y="284452"/>
                  <a:pt x="2125" y="240448"/>
                  <a:pt x="534" y="196369"/>
                </a:cubicBezTo>
                <a:cubicBezTo>
                  <a:pt x="-837" y="158401"/>
                  <a:pt x="816" y="120322"/>
                  <a:pt x="1243" y="82293"/>
                </a:cubicBezTo>
                <a:cubicBezTo>
                  <a:pt x="1389" y="69201"/>
                  <a:pt x="1708" y="56105"/>
                  <a:pt x="2245" y="43023"/>
                </a:cubicBezTo>
                <a:cubicBezTo>
                  <a:pt x="2815" y="29160"/>
                  <a:pt x="3738" y="15312"/>
                  <a:pt x="4587" y="0"/>
                </a:cubicBezTo>
                <a:cubicBezTo>
                  <a:pt x="7809" y="1586"/>
                  <a:pt x="10279" y="2436"/>
                  <a:pt x="12341" y="3872"/>
                </a:cubicBezTo>
                <a:cubicBezTo>
                  <a:pt x="41601" y="24248"/>
                  <a:pt x="64069" y="51269"/>
                  <a:pt x="85914" y="78943"/>
                </a:cubicBezTo>
                <a:cubicBezTo>
                  <a:pt x="91106" y="85520"/>
                  <a:pt x="91706" y="91406"/>
                  <a:pt x="87893" y="99117"/>
                </a:cubicBezTo>
                <a:cubicBezTo>
                  <a:pt x="70127" y="135051"/>
                  <a:pt x="52890" y="171246"/>
                  <a:pt x="35459" y="207346"/>
                </a:cubicBezTo>
                <a:cubicBezTo>
                  <a:pt x="34391" y="209557"/>
                  <a:pt x="33130" y="211686"/>
                  <a:pt x="32223" y="213959"/>
                </a:cubicBezTo>
                <a:cubicBezTo>
                  <a:pt x="27471" y="225873"/>
                  <a:pt x="30154" y="236086"/>
                  <a:pt x="39509" y="242056"/>
                </a:cubicBezTo>
                <a:cubicBezTo>
                  <a:pt x="48880" y="248038"/>
                  <a:pt x="61705" y="246477"/>
                  <a:pt x="69474" y="237019"/>
                </a:cubicBezTo>
                <a:cubicBezTo>
                  <a:pt x="76712" y="228205"/>
                  <a:pt x="82824" y="218436"/>
                  <a:pt x="89101" y="208870"/>
                </a:cubicBezTo>
                <a:cubicBezTo>
                  <a:pt x="100096" y="192114"/>
                  <a:pt x="110806" y="175170"/>
                  <a:pt x="121716" y="158357"/>
                </a:cubicBezTo>
                <a:cubicBezTo>
                  <a:pt x="123679" y="155333"/>
                  <a:pt x="126029" y="152559"/>
                  <a:pt x="129330" y="148165"/>
                </a:cubicBezTo>
                <a:cubicBezTo>
                  <a:pt x="132450" y="152828"/>
                  <a:pt x="135175" y="156216"/>
                  <a:pt x="137171" y="159989"/>
                </a:cubicBezTo>
                <a:cubicBezTo>
                  <a:pt x="155891" y="195388"/>
                  <a:pt x="166343" y="232905"/>
                  <a:pt x="163812" y="273175"/>
                </a:cubicBezTo>
                <a:cubicBezTo>
                  <a:pt x="161183" y="314982"/>
                  <a:pt x="144984" y="351430"/>
                  <a:pt x="118151" y="383442"/>
                </a:cubicBezTo>
                <a:cubicBezTo>
                  <a:pt x="111214" y="391718"/>
                  <a:pt x="102452" y="394716"/>
                  <a:pt x="92325" y="395173"/>
                </a:cubicBezTo>
                <a:cubicBezTo>
                  <a:pt x="69461" y="396207"/>
                  <a:pt x="46593" y="397123"/>
                  <a:pt x="22609" y="398026"/>
                </a:cubicBezTo>
                <a:close/>
              </a:path>
            </a:pathLst>
          </a:custGeom>
          <a:solidFill>
            <a:srgbClr val="FCFDFD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92" name="Free-form: Shape 391">
            <a:extLst>
              <a:ext uri="{FF2B5EF4-FFF2-40B4-BE49-F238E27FC236}">
                <a16:creationId xmlns:a16="http://schemas.microsoft.com/office/drawing/2014/main" id="{0F028AEE-5477-BCE8-BB54-653B07C0ED4A}"/>
              </a:ext>
            </a:extLst>
          </p:cNvPr>
          <p:cNvSpPr/>
          <p:nvPr/>
        </p:nvSpPr>
        <p:spPr>
          <a:xfrm>
            <a:off x="4123203" y="5738327"/>
            <a:ext cx="305850" cy="64961"/>
          </a:xfrm>
          <a:custGeom>
            <a:avLst/>
            <a:gdLst>
              <a:gd name="csX0" fmla="*/ 105937 w 336434"/>
              <a:gd name="csY0" fmla="*/ 71458 h 71457"/>
              <a:gd name="csX1" fmla="*/ 3534 w 336434"/>
              <a:gd name="csY1" fmla="*/ 69115 h 71457"/>
              <a:gd name="csX2" fmla="*/ 1296 w 336434"/>
              <a:gd name="csY2" fmla="*/ 17910 h 71457"/>
              <a:gd name="csX3" fmla="*/ 14032 w 336434"/>
              <a:gd name="csY3" fmla="*/ 17908 h 71457"/>
              <a:gd name="csX4" fmla="*/ 102444 w 336434"/>
              <a:gd name="csY4" fmla="*/ 17433 h 71457"/>
              <a:gd name="csX5" fmla="*/ 284561 w 336434"/>
              <a:gd name="csY5" fmla="*/ 3564 h 71457"/>
              <a:gd name="csX6" fmla="*/ 311323 w 336434"/>
              <a:gd name="csY6" fmla="*/ 224 h 71457"/>
              <a:gd name="csX7" fmla="*/ 324313 w 336434"/>
              <a:gd name="csY7" fmla="*/ 6639 h 71457"/>
              <a:gd name="csX8" fmla="*/ 336434 w 336434"/>
              <a:gd name="csY8" fmla="*/ 46484 h 71457"/>
              <a:gd name="csX9" fmla="*/ 105937 w 336434"/>
              <a:gd name="csY9" fmla="*/ 71458 h 7145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336434" h="71457">
                <a:moveTo>
                  <a:pt x="105937" y="71458"/>
                </a:moveTo>
                <a:cubicBezTo>
                  <a:pt x="70820" y="70678"/>
                  <a:pt x="36930" y="69891"/>
                  <a:pt x="3534" y="69115"/>
                </a:cubicBezTo>
                <a:cubicBezTo>
                  <a:pt x="-81" y="59433"/>
                  <a:pt x="-1094" y="35337"/>
                  <a:pt x="1296" y="17910"/>
                </a:cubicBezTo>
                <a:cubicBezTo>
                  <a:pt x="5366" y="17910"/>
                  <a:pt x="9699" y="17923"/>
                  <a:pt x="14032" y="17908"/>
                </a:cubicBezTo>
                <a:cubicBezTo>
                  <a:pt x="43505" y="17812"/>
                  <a:pt x="73011" y="18557"/>
                  <a:pt x="102444" y="17433"/>
                </a:cubicBezTo>
                <a:cubicBezTo>
                  <a:pt x="163306" y="15109"/>
                  <a:pt x="224166" y="12264"/>
                  <a:pt x="284561" y="3564"/>
                </a:cubicBezTo>
                <a:cubicBezTo>
                  <a:pt x="293458" y="2283"/>
                  <a:pt x="302438" y="1575"/>
                  <a:pt x="311323" y="224"/>
                </a:cubicBezTo>
                <a:cubicBezTo>
                  <a:pt x="317371" y="-696"/>
                  <a:pt x="321247" y="1177"/>
                  <a:pt x="324313" y="6639"/>
                </a:cubicBezTo>
                <a:cubicBezTo>
                  <a:pt x="330512" y="17683"/>
                  <a:pt x="335236" y="31679"/>
                  <a:pt x="336434" y="46484"/>
                </a:cubicBezTo>
                <a:cubicBezTo>
                  <a:pt x="261124" y="64059"/>
                  <a:pt x="184356" y="69587"/>
                  <a:pt x="105937" y="71458"/>
                </a:cubicBezTo>
                <a:close/>
              </a:path>
            </a:pathLst>
          </a:custGeom>
          <a:solidFill>
            <a:srgbClr val="FCFCFC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93" name="Free-form: Shape 392">
            <a:extLst>
              <a:ext uri="{FF2B5EF4-FFF2-40B4-BE49-F238E27FC236}">
                <a16:creationId xmlns:a16="http://schemas.microsoft.com/office/drawing/2014/main" id="{0C9BED66-5839-8939-95EE-E086630A0FB8}"/>
              </a:ext>
            </a:extLst>
          </p:cNvPr>
          <p:cNvSpPr/>
          <p:nvPr/>
        </p:nvSpPr>
        <p:spPr>
          <a:xfrm>
            <a:off x="4136760" y="4907603"/>
            <a:ext cx="120683" cy="63097"/>
          </a:xfrm>
          <a:custGeom>
            <a:avLst/>
            <a:gdLst>
              <a:gd name="csX0" fmla="*/ 5051 w 132751"/>
              <a:gd name="csY0" fmla="*/ 7534 h 69406"/>
              <a:gd name="csX1" fmla="*/ 10615 w 132751"/>
              <a:gd name="csY1" fmla="*/ 3077 h 69406"/>
              <a:gd name="csX2" fmla="*/ 26541 w 132751"/>
              <a:gd name="csY2" fmla="*/ 2752 h 69406"/>
              <a:gd name="csX3" fmla="*/ 87728 w 132751"/>
              <a:gd name="csY3" fmla="*/ 89 h 69406"/>
              <a:gd name="csX4" fmla="*/ 101400 w 132751"/>
              <a:gd name="csY4" fmla="*/ 62 h 69406"/>
              <a:gd name="csX5" fmla="*/ 102924 w 132751"/>
              <a:gd name="csY5" fmla="*/ 4800 h 69406"/>
              <a:gd name="csX6" fmla="*/ 121469 w 132751"/>
              <a:gd name="csY6" fmla="*/ 43062 h 69406"/>
              <a:gd name="csX7" fmla="*/ 132751 w 132751"/>
              <a:gd name="csY7" fmla="*/ 65240 h 69406"/>
              <a:gd name="csX8" fmla="*/ 0 w 132751"/>
              <a:gd name="csY8" fmla="*/ 69406 h 69406"/>
              <a:gd name="csX9" fmla="*/ 5051 w 132751"/>
              <a:gd name="csY9" fmla="*/ 7534 h 6940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132751" h="69406">
                <a:moveTo>
                  <a:pt x="5051" y="7534"/>
                </a:moveTo>
                <a:cubicBezTo>
                  <a:pt x="6880" y="5272"/>
                  <a:pt x="8659" y="3268"/>
                  <a:pt x="10615" y="3077"/>
                </a:cubicBezTo>
                <a:cubicBezTo>
                  <a:pt x="15884" y="2564"/>
                  <a:pt x="21234" y="2972"/>
                  <a:pt x="26541" y="2752"/>
                </a:cubicBezTo>
                <a:cubicBezTo>
                  <a:pt x="46938" y="1911"/>
                  <a:pt x="67330" y="933"/>
                  <a:pt x="87728" y="89"/>
                </a:cubicBezTo>
                <a:cubicBezTo>
                  <a:pt x="92161" y="-94"/>
                  <a:pt x="96609" y="62"/>
                  <a:pt x="101400" y="62"/>
                </a:cubicBezTo>
                <a:cubicBezTo>
                  <a:pt x="101991" y="1827"/>
                  <a:pt x="102885" y="3302"/>
                  <a:pt x="102924" y="4800"/>
                </a:cubicBezTo>
                <a:cubicBezTo>
                  <a:pt x="103334" y="20376"/>
                  <a:pt x="108815" y="33165"/>
                  <a:pt x="121469" y="43062"/>
                </a:cubicBezTo>
                <a:cubicBezTo>
                  <a:pt x="127809" y="48021"/>
                  <a:pt x="132509" y="54869"/>
                  <a:pt x="132751" y="65240"/>
                </a:cubicBezTo>
                <a:cubicBezTo>
                  <a:pt x="88663" y="66624"/>
                  <a:pt x="45259" y="67986"/>
                  <a:pt x="0" y="69406"/>
                </a:cubicBezTo>
                <a:cubicBezTo>
                  <a:pt x="6474" y="48167"/>
                  <a:pt x="10658" y="28665"/>
                  <a:pt x="5051" y="7534"/>
                </a:cubicBezTo>
                <a:close/>
              </a:path>
            </a:pathLst>
          </a:custGeom>
          <a:solidFill>
            <a:srgbClr val="FBFCFB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94" name="Free-form: Shape 393">
            <a:extLst>
              <a:ext uri="{FF2B5EF4-FFF2-40B4-BE49-F238E27FC236}">
                <a16:creationId xmlns:a16="http://schemas.microsoft.com/office/drawing/2014/main" id="{6E2048C2-FC17-7867-D95B-2400FD7B7F70}"/>
              </a:ext>
            </a:extLst>
          </p:cNvPr>
          <p:cNvSpPr/>
          <p:nvPr/>
        </p:nvSpPr>
        <p:spPr>
          <a:xfrm>
            <a:off x="4146397" y="4997217"/>
            <a:ext cx="150878" cy="35402"/>
          </a:xfrm>
          <a:custGeom>
            <a:avLst/>
            <a:gdLst>
              <a:gd name="csX0" fmla="*/ 80894 w 165965"/>
              <a:gd name="csY0" fmla="*/ 440 h 38942"/>
              <a:gd name="csX1" fmla="*/ 128629 w 165965"/>
              <a:gd name="csY1" fmla="*/ 5 h 38942"/>
              <a:gd name="csX2" fmla="*/ 155177 w 165965"/>
              <a:gd name="csY2" fmla="*/ 8091 h 38942"/>
              <a:gd name="csX3" fmla="*/ 164213 w 165965"/>
              <a:gd name="csY3" fmla="*/ 17723 h 38942"/>
              <a:gd name="csX4" fmla="*/ 159998 w 165965"/>
              <a:gd name="csY4" fmla="*/ 30717 h 38942"/>
              <a:gd name="csX5" fmla="*/ 146998 w 165965"/>
              <a:gd name="csY5" fmla="*/ 33737 h 38942"/>
              <a:gd name="csX6" fmla="*/ 12439 w 165965"/>
              <a:gd name="csY6" fmla="*/ 38914 h 38942"/>
              <a:gd name="csX7" fmla="*/ 0 w 165965"/>
              <a:gd name="csY7" fmla="*/ 38402 h 38942"/>
              <a:gd name="csX8" fmla="*/ 0 w 165965"/>
              <a:gd name="csY8" fmla="*/ 4598 h 38942"/>
              <a:gd name="csX9" fmla="*/ 80894 w 165965"/>
              <a:gd name="csY9" fmla="*/ 440 h 3894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165965" h="38942">
                <a:moveTo>
                  <a:pt x="80894" y="440"/>
                </a:moveTo>
                <a:cubicBezTo>
                  <a:pt x="97591" y="288"/>
                  <a:pt x="113111" y="227"/>
                  <a:pt x="128629" y="5"/>
                </a:cubicBezTo>
                <a:cubicBezTo>
                  <a:pt x="138376" y="-135"/>
                  <a:pt x="147226" y="2891"/>
                  <a:pt x="155177" y="8091"/>
                </a:cubicBezTo>
                <a:cubicBezTo>
                  <a:pt x="158779" y="10447"/>
                  <a:pt x="161992" y="14009"/>
                  <a:pt x="164213" y="17723"/>
                </a:cubicBezTo>
                <a:cubicBezTo>
                  <a:pt x="167602" y="23390"/>
                  <a:pt x="166013" y="28134"/>
                  <a:pt x="159998" y="30717"/>
                </a:cubicBezTo>
                <a:cubicBezTo>
                  <a:pt x="155963" y="32450"/>
                  <a:pt x="151384" y="33554"/>
                  <a:pt x="146998" y="33737"/>
                </a:cubicBezTo>
                <a:cubicBezTo>
                  <a:pt x="102152" y="35619"/>
                  <a:pt x="57295" y="37279"/>
                  <a:pt x="12439" y="38914"/>
                </a:cubicBezTo>
                <a:cubicBezTo>
                  <a:pt x="8467" y="39059"/>
                  <a:pt x="4472" y="38602"/>
                  <a:pt x="0" y="38402"/>
                </a:cubicBezTo>
                <a:cubicBezTo>
                  <a:pt x="0" y="27166"/>
                  <a:pt x="0" y="16774"/>
                  <a:pt x="0" y="4598"/>
                </a:cubicBezTo>
                <a:cubicBezTo>
                  <a:pt x="27063" y="3194"/>
                  <a:pt x="53389" y="1829"/>
                  <a:pt x="80894" y="440"/>
                </a:cubicBezTo>
                <a:close/>
              </a:path>
            </a:pathLst>
          </a:custGeom>
          <a:solidFill>
            <a:srgbClr val="FBFCFB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95" name="Free-form: Shape 394">
            <a:extLst>
              <a:ext uri="{FF2B5EF4-FFF2-40B4-BE49-F238E27FC236}">
                <a16:creationId xmlns:a16="http://schemas.microsoft.com/office/drawing/2014/main" id="{22F9B159-20AA-75C4-1833-93434324996C}"/>
              </a:ext>
            </a:extLst>
          </p:cNvPr>
          <p:cNvSpPr/>
          <p:nvPr/>
        </p:nvSpPr>
        <p:spPr>
          <a:xfrm>
            <a:off x="4130248" y="4436393"/>
            <a:ext cx="39402" cy="42156"/>
          </a:xfrm>
          <a:custGeom>
            <a:avLst/>
            <a:gdLst>
              <a:gd name="csX0" fmla="*/ 40602 w 43343"/>
              <a:gd name="csY0" fmla="*/ 12465 h 46372"/>
              <a:gd name="csX1" fmla="*/ 43214 w 43343"/>
              <a:gd name="csY1" fmla="*/ 21324 h 46372"/>
              <a:gd name="csX2" fmla="*/ 23859 w 43343"/>
              <a:gd name="csY2" fmla="*/ 46319 h 46372"/>
              <a:gd name="csX3" fmla="*/ 5 w 43343"/>
              <a:gd name="csY3" fmla="*/ 23820 h 46372"/>
              <a:gd name="csX4" fmla="*/ 4855 w 43343"/>
              <a:gd name="csY4" fmla="*/ 5679 h 46372"/>
              <a:gd name="csX5" fmla="*/ 40602 w 43343"/>
              <a:gd name="csY5" fmla="*/ 12465 h 4637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</a:cxnLst>
            <a:rect l="l" t="t" r="r" b="b"/>
            <a:pathLst>
              <a:path w="43343" h="46372">
                <a:moveTo>
                  <a:pt x="40602" y="12465"/>
                </a:moveTo>
                <a:cubicBezTo>
                  <a:pt x="41913" y="15811"/>
                  <a:pt x="42933" y="18530"/>
                  <a:pt x="43214" y="21324"/>
                </a:cubicBezTo>
                <a:cubicBezTo>
                  <a:pt x="44519" y="34348"/>
                  <a:pt x="35870" y="45401"/>
                  <a:pt x="23859" y="46319"/>
                </a:cubicBezTo>
                <a:cubicBezTo>
                  <a:pt x="11890" y="47233"/>
                  <a:pt x="-280" y="36371"/>
                  <a:pt x="5" y="23820"/>
                </a:cubicBezTo>
                <a:cubicBezTo>
                  <a:pt x="136" y="18011"/>
                  <a:pt x="2893" y="12263"/>
                  <a:pt x="4855" y="5679"/>
                </a:cubicBezTo>
                <a:cubicBezTo>
                  <a:pt x="20601" y="-3403"/>
                  <a:pt x="28004" y="-1910"/>
                  <a:pt x="40602" y="12465"/>
                </a:cubicBezTo>
                <a:close/>
              </a:path>
            </a:pathLst>
          </a:custGeom>
          <a:solidFill>
            <a:srgbClr val="FBFCFB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96" name="Oval 395">
            <a:extLst>
              <a:ext uri="{FF2B5EF4-FFF2-40B4-BE49-F238E27FC236}">
                <a16:creationId xmlns:a16="http://schemas.microsoft.com/office/drawing/2014/main" id="{F1659EDB-8D00-3452-758A-A9B02F3E0002}"/>
              </a:ext>
            </a:extLst>
          </p:cNvPr>
          <p:cNvSpPr/>
          <p:nvPr/>
        </p:nvSpPr>
        <p:spPr>
          <a:xfrm>
            <a:off x="7268607" y="5721700"/>
            <a:ext cx="739960" cy="152189"/>
          </a:xfrm>
          <a:prstGeom prst="ellipse">
            <a:avLst/>
          </a:prstGeom>
          <a:solidFill>
            <a:schemeClr val="tx1">
              <a:alpha val="6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97" name="Free-form: Shape 396">
            <a:extLst>
              <a:ext uri="{FF2B5EF4-FFF2-40B4-BE49-F238E27FC236}">
                <a16:creationId xmlns:a16="http://schemas.microsoft.com/office/drawing/2014/main" id="{BFBDF6B7-5317-08A1-DC44-B4BC74D10626}"/>
              </a:ext>
            </a:extLst>
          </p:cNvPr>
          <p:cNvSpPr/>
          <p:nvPr/>
        </p:nvSpPr>
        <p:spPr>
          <a:xfrm>
            <a:off x="7348570" y="4420123"/>
            <a:ext cx="650203" cy="1414846"/>
          </a:xfrm>
          <a:custGeom>
            <a:avLst/>
            <a:gdLst>
              <a:gd name="csX0" fmla="*/ 466852 w 715223"/>
              <a:gd name="csY0" fmla="*/ 229083 h 1556330"/>
              <a:gd name="csX1" fmla="*/ 462328 w 715223"/>
              <a:gd name="csY1" fmla="*/ 242604 h 1556330"/>
              <a:gd name="csX2" fmla="*/ 496944 w 715223"/>
              <a:gd name="csY2" fmla="*/ 204739 h 1556330"/>
              <a:gd name="csX3" fmla="*/ 534359 w 715223"/>
              <a:gd name="csY3" fmla="*/ 270960 h 1556330"/>
              <a:gd name="csX4" fmla="*/ 540589 w 715223"/>
              <a:gd name="csY4" fmla="*/ 445986 h 1556330"/>
              <a:gd name="csX5" fmla="*/ 509727 w 715223"/>
              <a:gd name="csY5" fmla="*/ 496924 h 1556330"/>
              <a:gd name="csX6" fmla="*/ 505366 w 715223"/>
              <a:gd name="csY6" fmla="*/ 511893 h 1556330"/>
              <a:gd name="csX7" fmla="*/ 501982 w 715223"/>
              <a:gd name="csY7" fmla="*/ 530377 h 1556330"/>
              <a:gd name="csX8" fmla="*/ 505678 w 715223"/>
              <a:gd name="csY8" fmla="*/ 556455 h 1556330"/>
              <a:gd name="csX9" fmla="*/ 526115 w 715223"/>
              <a:gd name="csY9" fmla="*/ 591784 h 1556330"/>
              <a:gd name="csX10" fmla="*/ 541579 w 715223"/>
              <a:gd name="csY10" fmla="*/ 612264 h 1556330"/>
              <a:gd name="csX11" fmla="*/ 569572 w 715223"/>
              <a:gd name="csY11" fmla="*/ 643441 h 1556330"/>
              <a:gd name="csX12" fmla="*/ 555234 w 715223"/>
              <a:gd name="csY12" fmla="*/ 688473 h 1556330"/>
              <a:gd name="csX13" fmla="*/ 513278 w 715223"/>
              <a:gd name="csY13" fmla="*/ 700556 h 1556330"/>
              <a:gd name="csX14" fmla="*/ 488559 w 715223"/>
              <a:gd name="csY14" fmla="*/ 702821 h 1556330"/>
              <a:gd name="csX15" fmla="*/ 488544 w 715223"/>
              <a:gd name="csY15" fmla="*/ 718085 h 1556330"/>
              <a:gd name="csX16" fmla="*/ 526561 w 715223"/>
              <a:gd name="csY16" fmla="*/ 1010212 h 1556330"/>
              <a:gd name="csX17" fmla="*/ 569986 w 715223"/>
              <a:gd name="csY17" fmla="*/ 1153317 h 1556330"/>
              <a:gd name="csX18" fmla="*/ 587389 w 715223"/>
              <a:gd name="csY18" fmla="*/ 1172173 h 1556330"/>
              <a:gd name="csX19" fmla="*/ 606286 w 715223"/>
              <a:gd name="csY19" fmla="*/ 1180891 h 1556330"/>
              <a:gd name="csX20" fmla="*/ 613400 w 715223"/>
              <a:gd name="csY20" fmla="*/ 1204260 h 1556330"/>
              <a:gd name="csX21" fmla="*/ 605350 w 715223"/>
              <a:gd name="csY21" fmla="*/ 1216760 h 1556330"/>
              <a:gd name="csX22" fmla="*/ 600268 w 715223"/>
              <a:gd name="csY22" fmla="*/ 1220273 h 1556330"/>
              <a:gd name="csX23" fmla="*/ 610574 w 715223"/>
              <a:gd name="csY23" fmla="*/ 1258750 h 1556330"/>
              <a:gd name="csX24" fmla="*/ 672371 w 715223"/>
              <a:gd name="csY24" fmla="*/ 1319810 h 1556330"/>
              <a:gd name="csX25" fmla="*/ 675494 w 715223"/>
              <a:gd name="csY25" fmla="*/ 1323366 h 1556330"/>
              <a:gd name="csX26" fmla="*/ 692949 w 715223"/>
              <a:gd name="csY26" fmla="*/ 1396068 h 1556330"/>
              <a:gd name="csX27" fmla="*/ 690628 w 715223"/>
              <a:gd name="csY27" fmla="*/ 1414117 h 1556330"/>
              <a:gd name="csX28" fmla="*/ 695588 w 715223"/>
              <a:gd name="csY28" fmla="*/ 1421035 h 1556330"/>
              <a:gd name="csX29" fmla="*/ 694353 w 715223"/>
              <a:gd name="csY29" fmla="*/ 1425190 h 1556330"/>
              <a:gd name="csX30" fmla="*/ 689106 w 715223"/>
              <a:gd name="csY30" fmla="*/ 1428714 h 1556330"/>
              <a:gd name="csX31" fmla="*/ 695093 w 715223"/>
              <a:gd name="csY31" fmla="*/ 1428433 h 1556330"/>
              <a:gd name="csX32" fmla="*/ 697643 w 715223"/>
              <a:gd name="csY32" fmla="*/ 1432864 h 1556330"/>
              <a:gd name="csX33" fmla="*/ 698207 w 715223"/>
              <a:gd name="csY33" fmla="*/ 1441988 h 1556330"/>
              <a:gd name="csX34" fmla="*/ 715183 w 715223"/>
              <a:gd name="csY34" fmla="*/ 1508752 h 1556330"/>
              <a:gd name="csX35" fmla="*/ 701540 w 715223"/>
              <a:gd name="csY35" fmla="*/ 1526524 h 1556330"/>
              <a:gd name="csX36" fmla="*/ 581715 w 715223"/>
              <a:gd name="csY36" fmla="*/ 1548559 h 1556330"/>
              <a:gd name="csX37" fmla="*/ 522168 w 715223"/>
              <a:gd name="csY37" fmla="*/ 1553543 h 1556330"/>
              <a:gd name="csX38" fmla="*/ 450008 w 715223"/>
              <a:gd name="csY38" fmla="*/ 1556019 h 1556330"/>
              <a:gd name="csX39" fmla="*/ 245169 w 715223"/>
              <a:gd name="csY39" fmla="*/ 1553749 h 1556330"/>
              <a:gd name="csX40" fmla="*/ 221854 w 715223"/>
              <a:gd name="csY40" fmla="*/ 1553306 h 1556330"/>
              <a:gd name="csX41" fmla="*/ 168405 w 715223"/>
              <a:gd name="csY41" fmla="*/ 1548828 h 1556330"/>
              <a:gd name="csX42" fmla="*/ 126970 w 715223"/>
              <a:gd name="csY42" fmla="*/ 1546091 h 1556330"/>
              <a:gd name="csX43" fmla="*/ 104053 w 715223"/>
              <a:gd name="csY43" fmla="*/ 1542912 h 1556330"/>
              <a:gd name="csX44" fmla="*/ 65625 w 715223"/>
              <a:gd name="csY44" fmla="*/ 1536401 h 1556330"/>
              <a:gd name="csX45" fmla="*/ 10909 w 715223"/>
              <a:gd name="csY45" fmla="*/ 1524010 h 1556330"/>
              <a:gd name="csX46" fmla="*/ 8 w 715223"/>
              <a:gd name="csY46" fmla="*/ 1509263 h 1556330"/>
              <a:gd name="csX47" fmla="*/ 21158 w 715223"/>
              <a:gd name="csY47" fmla="*/ 1433611 h 1556330"/>
              <a:gd name="csX48" fmla="*/ 23462 w 715223"/>
              <a:gd name="csY48" fmla="*/ 1418658 h 1556330"/>
              <a:gd name="csX49" fmla="*/ 19643 w 715223"/>
              <a:gd name="csY49" fmla="*/ 1382324 h 1556330"/>
              <a:gd name="csX50" fmla="*/ 49060 w 715223"/>
              <a:gd name="csY50" fmla="*/ 1311832 h 1556330"/>
              <a:gd name="csX51" fmla="*/ 109176 w 715223"/>
              <a:gd name="csY51" fmla="*/ 1254078 h 1556330"/>
              <a:gd name="csX52" fmla="*/ 118319 w 715223"/>
              <a:gd name="csY52" fmla="*/ 1214801 h 1556330"/>
              <a:gd name="csX53" fmla="*/ 113082 w 715223"/>
              <a:gd name="csY53" fmla="*/ 1201084 h 1556330"/>
              <a:gd name="csX54" fmla="*/ 120417 w 715223"/>
              <a:gd name="csY54" fmla="*/ 1183950 h 1556330"/>
              <a:gd name="csX55" fmla="*/ 135209 w 715223"/>
              <a:gd name="csY55" fmla="*/ 1178138 h 1556330"/>
              <a:gd name="csX56" fmla="*/ 156535 w 715223"/>
              <a:gd name="csY56" fmla="*/ 1156396 h 1556330"/>
              <a:gd name="csX57" fmla="*/ 185647 w 715223"/>
              <a:gd name="csY57" fmla="*/ 1061682 h 1556330"/>
              <a:gd name="csX58" fmla="*/ 201074 w 715223"/>
              <a:gd name="csY58" fmla="*/ 1005093 h 1556330"/>
              <a:gd name="csX59" fmla="*/ 213864 w 715223"/>
              <a:gd name="csY59" fmla="*/ 943040 h 1556330"/>
              <a:gd name="csX60" fmla="*/ 223580 w 715223"/>
              <a:gd name="csY60" fmla="*/ 884167 h 1556330"/>
              <a:gd name="csX61" fmla="*/ 228827 w 715223"/>
              <a:gd name="csY61" fmla="*/ 839382 h 1556330"/>
              <a:gd name="csX62" fmla="*/ 233251 w 715223"/>
              <a:gd name="csY62" fmla="*/ 794539 h 1556330"/>
              <a:gd name="csX63" fmla="*/ 233413 w 715223"/>
              <a:gd name="csY63" fmla="*/ 708554 h 1556330"/>
              <a:gd name="csX64" fmla="*/ 232253 w 715223"/>
              <a:gd name="csY64" fmla="*/ 699181 h 1556330"/>
              <a:gd name="csX65" fmla="*/ 192775 w 715223"/>
              <a:gd name="csY65" fmla="*/ 693131 h 1556330"/>
              <a:gd name="csX66" fmla="*/ 166222 w 715223"/>
              <a:gd name="csY66" fmla="*/ 684229 h 1556330"/>
              <a:gd name="csX67" fmla="*/ 153485 w 715223"/>
              <a:gd name="csY67" fmla="*/ 649704 h 1556330"/>
              <a:gd name="csX68" fmla="*/ 179302 w 715223"/>
              <a:gd name="csY68" fmla="*/ 621006 h 1556330"/>
              <a:gd name="csX69" fmla="*/ 192182 w 715223"/>
              <a:gd name="csY69" fmla="*/ 601675 h 1556330"/>
              <a:gd name="csX70" fmla="*/ 204894 w 715223"/>
              <a:gd name="csY70" fmla="*/ 583417 h 1556330"/>
              <a:gd name="csX71" fmla="*/ 233213 w 715223"/>
              <a:gd name="csY71" fmla="*/ 564393 h 1556330"/>
              <a:gd name="csX72" fmla="*/ 229725 w 715223"/>
              <a:gd name="csY72" fmla="*/ 538177 h 1556330"/>
              <a:gd name="csX73" fmla="*/ 218771 w 715223"/>
              <a:gd name="csY73" fmla="*/ 532633 h 1556330"/>
              <a:gd name="csX74" fmla="*/ 215183 w 715223"/>
              <a:gd name="csY74" fmla="*/ 521568 h 1556330"/>
              <a:gd name="csX75" fmla="*/ 223368 w 715223"/>
              <a:gd name="csY75" fmla="*/ 508901 h 1556330"/>
              <a:gd name="csX76" fmla="*/ 218372 w 715223"/>
              <a:gd name="csY76" fmla="*/ 498135 h 1556330"/>
              <a:gd name="csX77" fmla="*/ 181440 w 715223"/>
              <a:gd name="csY77" fmla="*/ 432308 h 1556330"/>
              <a:gd name="csX78" fmla="*/ 167535 w 715223"/>
              <a:gd name="csY78" fmla="*/ 349841 h 1556330"/>
              <a:gd name="csX79" fmla="*/ 193488 w 715223"/>
              <a:gd name="csY79" fmla="*/ 262518 h 1556330"/>
              <a:gd name="csX80" fmla="*/ 237748 w 715223"/>
              <a:gd name="csY80" fmla="*/ 190690 h 1556330"/>
              <a:gd name="csX81" fmla="*/ 309459 w 715223"/>
              <a:gd name="csY81" fmla="*/ 102623 h 1556330"/>
              <a:gd name="csX82" fmla="*/ 310459 w 715223"/>
              <a:gd name="csY82" fmla="*/ 78521 h 1556330"/>
              <a:gd name="csX83" fmla="*/ 300267 w 715223"/>
              <a:gd name="csY83" fmla="*/ 57856 h 1556330"/>
              <a:gd name="csX84" fmla="*/ 332242 w 715223"/>
              <a:gd name="csY84" fmla="*/ 4422 h 1556330"/>
              <a:gd name="csX85" fmla="*/ 384904 w 715223"/>
              <a:gd name="csY85" fmla="*/ 5551 h 1556330"/>
              <a:gd name="csX86" fmla="*/ 409773 w 715223"/>
              <a:gd name="csY86" fmla="*/ 26778 h 1556330"/>
              <a:gd name="csX87" fmla="*/ 407026 w 715223"/>
              <a:gd name="csY87" fmla="*/ 46052 h 1556330"/>
              <a:gd name="csX88" fmla="*/ 402771 w 715223"/>
              <a:gd name="csY88" fmla="*/ 30951 h 1556330"/>
              <a:gd name="csX89" fmla="*/ 397038 w 715223"/>
              <a:gd name="csY89" fmla="*/ 30361 h 1556330"/>
              <a:gd name="csX90" fmla="*/ 360694 w 715223"/>
              <a:gd name="csY90" fmla="*/ 22760 h 1556330"/>
              <a:gd name="csX91" fmla="*/ 351669 w 715223"/>
              <a:gd name="csY91" fmla="*/ 31736 h 1556330"/>
              <a:gd name="csX92" fmla="*/ 351426 w 715223"/>
              <a:gd name="csY92" fmla="*/ 43987 h 1556330"/>
              <a:gd name="csX93" fmla="*/ 390968 w 715223"/>
              <a:gd name="csY93" fmla="*/ 68762 h 1556330"/>
              <a:gd name="csX94" fmla="*/ 401770 w 715223"/>
              <a:gd name="csY94" fmla="*/ 59025 h 1556330"/>
              <a:gd name="csX95" fmla="*/ 409619 w 715223"/>
              <a:gd name="csY95" fmla="*/ 55786 h 1556330"/>
              <a:gd name="csX96" fmla="*/ 410427 w 715223"/>
              <a:gd name="csY96" fmla="*/ 64256 h 1556330"/>
              <a:gd name="csX97" fmla="*/ 399453 w 715223"/>
              <a:gd name="csY97" fmla="*/ 81811 h 1556330"/>
              <a:gd name="csX98" fmla="*/ 399346 w 715223"/>
              <a:gd name="csY98" fmla="*/ 98083 h 1556330"/>
              <a:gd name="csX99" fmla="*/ 471592 w 715223"/>
              <a:gd name="csY99" fmla="*/ 180524 h 1556330"/>
              <a:gd name="csX100" fmla="*/ 473550 w 715223"/>
              <a:gd name="csY100" fmla="*/ 200923 h 1556330"/>
              <a:gd name="csX101" fmla="*/ 463677 w 715223"/>
              <a:gd name="csY101" fmla="*/ 223311 h 1556330"/>
              <a:gd name="csX102" fmla="*/ 466852 w 715223"/>
              <a:gd name="csY102" fmla="*/ 229083 h 1556330"/>
              <a:gd name="csX103" fmla="*/ 474186 w 715223"/>
              <a:gd name="csY103" fmla="*/ 928382 h 1556330"/>
              <a:gd name="csX104" fmla="*/ 459927 w 715223"/>
              <a:gd name="csY104" fmla="*/ 817790 h 1556330"/>
              <a:gd name="csX105" fmla="*/ 456025 w 715223"/>
              <a:gd name="csY105" fmla="*/ 706469 h 1556330"/>
              <a:gd name="csX106" fmla="*/ 366863 w 715223"/>
              <a:gd name="csY106" fmla="*/ 710754 h 1556330"/>
              <a:gd name="csX107" fmla="*/ 366159 w 715223"/>
              <a:gd name="csY107" fmla="*/ 719219 h 1556330"/>
              <a:gd name="csX108" fmla="*/ 364159 w 715223"/>
              <a:gd name="csY108" fmla="*/ 834581 h 1556330"/>
              <a:gd name="csX109" fmla="*/ 361633 w 715223"/>
              <a:gd name="csY109" fmla="*/ 940117 h 1556330"/>
              <a:gd name="csX110" fmla="*/ 358313 w 715223"/>
              <a:gd name="csY110" fmla="*/ 1053005 h 1556330"/>
              <a:gd name="csX111" fmla="*/ 358081 w 715223"/>
              <a:gd name="csY111" fmla="*/ 1057912 h 1556330"/>
              <a:gd name="csX112" fmla="*/ 353706 w 715223"/>
              <a:gd name="csY112" fmla="*/ 1164570 h 1556330"/>
              <a:gd name="csX113" fmla="*/ 354951 w 715223"/>
              <a:gd name="csY113" fmla="*/ 1172547 h 1556330"/>
              <a:gd name="csX114" fmla="*/ 540959 w 715223"/>
              <a:gd name="csY114" fmla="*/ 1175972 h 1556330"/>
              <a:gd name="csX115" fmla="*/ 474186 w 715223"/>
              <a:gd name="csY115" fmla="*/ 928382 h 1556330"/>
              <a:gd name="csX116" fmla="*/ 513768 w 715223"/>
              <a:gd name="csY116" fmla="*/ 1417676 h 1556330"/>
              <a:gd name="csX117" fmla="*/ 519822 w 715223"/>
              <a:gd name="csY117" fmla="*/ 1416700 h 1556330"/>
              <a:gd name="csX118" fmla="*/ 632041 w 715223"/>
              <a:gd name="csY118" fmla="*/ 1406122 h 1556330"/>
              <a:gd name="csX119" fmla="*/ 665040 w 715223"/>
              <a:gd name="csY119" fmla="*/ 1400634 h 1556330"/>
              <a:gd name="csX120" fmla="*/ 665677 w 715223"/>
              <a:gd name="csY120" fmla="*/ 1396126 h 1556330"/>
              <a:gd name="csX121" fmla="*/ 665529 w 715223"/>
              <a:gd name="csY121" fmla="*/ 1389994 h 1556330"/>
              <a:gd name="csX122" fmla="*/ 623046 w 715223"/>
              <a:gd name="csY122" fmla="*/ 1306238 h 1556330"/>
              <a:gd name="csX123" fmla="*/ 596015 w 715223"/>
              <a:gd name="csY123" fmla="*/ 1281285 h 1556330"/>
              <a:gd name="csX124" fmla="*/ 567683 w 715223"/>
              <a:gd name="csY124" fmla="*/ 1220059 h 1556330"/>
              <a:gd name="csX125" fmla="*/ 540273 w 715223"/>
              <a:gd name="csY125" fmla="*/ 1220129 h 1556330"/>
              <a:gd name="csX126" fmla="*/ 424010 w 715223"/>
              <a:gd name="csY126" fmla="*/ 1226781 h 1556330"/>
              <a:gd name="csX127" fmla="*/ 357832 w 715223"/>
              <a:gd name="csY127" fmla="*/ 1229178 h 1556330"/>
              <a:gd name="csX128" fmla="*/ 352386 w 715223"/>
              <a:gd name="csY128" fmla="*/ 1230616 h 1556330"/>
              <a:gd name="csX129" fmla="*/ 355852 w 715223"/>
              <a:gd name="csY129" fmla="*/ 1324222 h 1556330"/>
              <a:gd name="csX130" fmla="*/ 352930 w 715223"/>
              <a:gd name="csY130" fmla="*/ 1417867 h 1556330"/>
              <a:gd name="csX131" fmla="*/ 513768 w 715223"/>
              <a:gd name="csY131" fmla="*/ 1417676 h 1556330"/>
              <a:gd name="csX132" fmla="*/ 387930 w 715223"/>
              <a:gd name="csY132" fmla="*/ 499741 h 1556330"/>
              <a:gd name="csX133" fmla="*/ 456529 w 715223"/>
              <a:gd name="csY133" fmla="*/ 496826 h 1556330"/>
              <a:gd name="csX134" fmla="*/ 482355 w 715223"/>
              <a:gd name="csY134" fmla="*/ 485095 h 1556330"/>
              <a:gd name="csX135" fmla="*/ 528016 w 715223"/>
              <a:gd name="csY135" fmla="*/ 374829 h 1556330"/>
              <a:gd name="csX136" fmla="*/ 501375 w 715223"/>
              <a:gd name="csY136" fmla="*/ 261643 h 1556330"/>
              <a:gd name="csX137" fmla="*/ 493534 w 715223"/>
              <a:gd name="csY137" fmla="*/ 249818 h 1556330"/>
              <a:gd name="csX138" fmla="*/ 485920 w 715223"/>
              <a:gd name="csY138" fmla="*/ 260010 h 1556330"/>
              <a:gd name="csX139" fmla="*/ 453305 w 715223"/>
              <a:gd name="csY139" fmla="*/ 310523 h 1556330"/>
              <a:gd name="csX140" fmla="*/ 433678 w 715223"/>
              <a:gd name="csY140" fmla="*/ 338672 h 1556330"/>
              <a:gd name="csX141" fmla="*/ 403713 w 715223"/>
              <a:gd name="csY141" fmla="*/ 343710 h 1556330"/>
              <a:gd name="csX142" fmla="*/ 396427 w 715223"/>
              <a:gd name="csY142" fmla="*/ 315612 h 1556330"/>
              <a:gd name="csX143" fmla="*/ 399663 w 715223"/>
              <a:gd name="csY143" fmla="*/ 309000 h 1556330"/>
              <a:gd name="csX144" fmla="*/ 452097 w 715223"/>
              <a:gd name="csY144" fmla="*/ 200770 h 1556330"/>
              <a:gd name="csX145" fmla="*/ 450118 w 715223"/>
              <a:gd name="csY145" fmla="*/ 180596 h 1556330"/>
              <a:gd name="csX146" fmla="*/ 376545 w 715223"/>
              <a:gd name="csY146" fmla="*/ 105525 h 1556330"/>
              <a:gd name="csX147" fmla="*/ 368791 w 715223"/>
              <a:gd name="csY147" fmla="*/ 101653 h 1556330"/>
              <a:gd name="csX148" fmla="*/ 366449 w 715223"/>
              <a:gd name="csY148" fmla="*/ 144676 h 1556330"/>
              <a:gd name="csX149" fmla="*/ 365447 w 715223"/>
              <a:gd name="csY149" fmla="*/ 183946 h 1556330"/>
              <a:gd name="csX150" fmla="*/ 364738 w 715223"/>
              <a:gd name="csY150" fmla="*/ 298022 h 1556330"/>
              <a:gd name="csX151" fmla="*/ 373865 w 715223"/>
              <a:gd name="csY151" fmla="*/ 430096 h 1556330"/>
              <a:gd name="csX152" fmla="*/ 381088 w 715223"/>
              <a:gd name="csY152" fmla="*/ 492169 h 1556330"/>
              <a:gd name="csX153" fmla="*/ 387930 w 715223"/>
              <a:gd name="csY153" fmla="*/ 499741 h 1556330"/>
              <a:gd name="csX154" fmla="*/ 455850 w 715223"/>
              <a:gd name="csY154" fmla="*/ 1521476 h 1556330"/>
              <a:gd name="csX155" fmla="*/ 685121 w 715223"/>
              <a:gd name="csY155" fmla="*/ 1496509 h 1556330"/>
              <a:gd name="csX156" fmla="*/ 672999 w 715223"/>
              <a:gd name="csY156" fmla="*/ 1456665 h 1556330"/>
              <a:gd name="csX157" fmla="*/ 660009 w 715223"/>
              <a:gd name="csY157" fmla="*/ 1450249 h 1556330"/>
              <a:gd name="csX158" fmla="*/ 633248 w 715223"/>
              <a:gd name="csY158" fmla="*/ 1453589 h 1556330"/>
              <a:gd name="csX159" fmla="*/ 451131 w 715223"/>
              <a:gd name="csY159" fmla="*/ 1467458 h 1556330"/>
              <a:gd name="csX160" fmla="*/ 362719 w 715223"/>
              <a:gd name="csY160" fmla="*/ 1467934 h 1556330"/>
              <a:gd name="csX161" fmla="*/ 349983 w 715223"/>
              <a:gd name="csY161" fmla="*/ 1467936 h 1556330"/>
              <a:gd name="csX162" fmla="*/ 352220 w 715223"/>
              <a:gd name="csY162" fmla="*/ 1519140 h 1556330"/>
              <a:gd name="csX163" fmla="*/ 455850 w 715223"/>
              <a:gd name="csY163" fmla="*/ 1521476 h 1556330"/>
              <a:gd name="csX164" fmla="*/ 368682 w 715223"/>
              <a:gd name="csY164" fmla="*/ 544846 h 1556330"/>
              <a:gd name="csX165" fmla="*/ 363600 w 715223"/>
              <a:gd name="csY165" fmla="*/ 605633 h 1556330"/>
              <a:gd name="csX166" fmla="*/ 496351 w 715223"/>
              <a:gd name="csY166" fmla="*/ 601466 h 1556330"/>
              <a:gd name="csX167" fmla="*/ 485068 w 715223"/>
              <a:gd name="csY167" fmla="*/ 579288 h 1556330"/>
              <a:gd name="csX168" fmla="*/ 466524 w 715223"/>
              <a:gd name="csY168" fmla="*/ 541026 h 1556330"/>
              <a:gd name="csX169" fmla="*/ 465000 w 715223"/>
              <a:gd name="csY169" fmla="*/ 536289 h 1556330"/>
              <a:gd name="csX170" fmla="*/ 451328 w 715223"/>
              <a:gd name="csY170" fmla="*/ 536316 h 1556330"/>
              <a:gd name="csX171" fmla="*/ 390140 w 715223"/>
              <a:gd name="csY171" fmla="*/ 538979 h 1556330"/>
              <a:gd name="csX172" fmla="*/ 374215 w 715223"/>
              <a:gd name="csY172" fmla="*/ 539303 h 1556330"/>
              <a:gd name="csX173" fmla="*/ 368682 w 715223"/>
              <a:gd name="csY173" fmla="*/ 544846 h 1556330"/>
              <a:gd name="csX174" fmla="*/ 453915 w 715223"/>
              <a:gd name="csY174" fmla="*/ 635267 h 1556330"/>
              <a:gd name="csX175" fmla="*/ 374200 w 715223"/>
              <a:gd name="csY175" fmla="*/ 639402 h 1556330"/>
              <a:gd name="csX176" fmla="*/ 374200 w 715223"/>
              <a:gd name="csY176" fmla="*/ 673206 h 1556330"/>
              <a:gd name="csX177" fmla="*/ 386639 w 715223"/>
              <a:gd name="csY177" fmla="*/ 673718 h 1556330"/>
              <a:gd name="csX178" fmla="*/ 521198 w 715223"/>
              <a:gd name="csY178" fmla="*/ 668541 h 1556330"/>
              <a:gd name="csX179" fmla="*/ 534198 w 715223"/>
              <a:gd name="csY179" fmla="*/ 665521 h 1556330"/>
              <a:gd name="csX180" fmla="*/ 538413 w 715223"/>
              <a:gd name="csY180" fmla="*/ 652526 h 1556330"/>
              <a:gd name="csX181" fmla="*/ 529377 w 715223"/>
              <a:gd name="csY181" fmla="*/ 642895 h 1556330"/>
              <a:gd name="csX182" fmla="*/ 502829 w 715223"/>
              <a:gd name="csY182" fmla="*/ 634808 h 1556330"/>
              <a:gd name="csX183" fmla="*/ 453915 w 715223"/>
              <a:gd name="csY183" fmla="*/ 635267 h 155633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  <a:cxn ang="0">
                <a:pos x="csX170" y="csY170"/>
              </a:cxn>
              <a:cxn ang="0">
                <a:pos x="csX171" y="csY171"/>
              </a:cxn>
              <a:cxn ang="0">
                <a:pos x="csX172" y="csY172"/>
              </a:cxn>
              <a:cxn ang="0">
                <a:pos x="csX173" y="csY173"/>
              </a:cxn>
              <a:cxn ang="0">
                <a:pos x="csX174" y="csY174"/>
              </a:cxn>
              <a:cxn ang="0">
                <a:pos x="csX175" y="csY175"/>
              </a:cxn>
              <a:cxn ang="0">
                <a:pos x="csX176" y="csY176"/>
              </a:cxn>
              <a:cxn ang="0">
                <a:pos x="csX177" y="csY177"/>
              </a:cxn>
              <a:cxn ang="0">
                <a:pos x="csX178" y="csY178"/>
              </a:cxn>
              <a:cxn ang="0">
                <a:pos x="csX179" y="csY179"/>
              </a:cxn>
              <a:cxn ang="0">
                <a:pos x="csX180" y="csY180"/>
              </a:cxn>
              <a:cxn ang="0">
                <a:pos x="csX181" y="csY181"/>
              </a:cxn>
              <a:cxn ang="0">
                <a:pos x="csX182" y="csY182"/>
              </a:cxn>
              <a:cxn ang="0">
                <a:pos x="csX183" y="csY183"/>
              </a:cxn>
            </a:cxnLst>
            <a:rect l="l" t="t" r="r" b="b"/>
            <a:pathLst>
              <a:path w="715223" h="1556330">
                <a:moveTo>
                  <a:pt x="466852" y="229083"/>
                </a:moveTo>
                <a:cubicBezTo>
                  <a:pt x="465344" y="233590"/>
                  <a:pt x="463836" y="238097"/>
                  <a:pt x="462328" y="242604"/>
                </a:cubicBezTo>
                <a:cubicBezTo>
                  <a:pt x="476604" y="232528"/>
                  <a:pt x="484219" y="216936"/>
                  <a:pt x="496944" y="204739"/>
                </a:cubicBezTo>
                <a:cubicBezTo>
                  <a:pt x="511903" y="225901"/>
                  <a:pt x="524807" y="247414"/>
                  <a:pt x="534359" y="270960"/>
                </a:cubicBezTo>
                <a:cubicBezTo>
                  <a:pt x="557740" y="328591"/>
                  <a:pt x="560223" y="386926"/>
                  <a:pt x="540589" y="445986"/>
                </a:cubicBezTo>
                <a:cubicBezTo>
                  <a:pt x="534197" y="465215"/>
                  <a:pt x="524450" y="482672"/>
                  <a:pt x="509727" y="496924"/>
                </a:cubicBezTo>
                <a:cubicBezTo>
                  <a:pt x="505277" y="501232"/>
                  <a:pt x="502734" y="505157"/>
                  <a:pt x="505366" y="511893"/>
                </a:cubicBezTo>
                <a:cubicBezTo>
                  <a:pt x="507828" y="518196"/>
                  <a:pt x="505953" y="524402"/>
                  <a:pt x="501982" y="530377"/>
                </a:cubicBezTo>
                <a:cubicBezTo>
                  <a:pt x="495613" y="539961"/>
                  <a:pt x="496865" y="548901"/>
                  <a:pt x="505678" y="556455"/>
                </a:cubicBezTo>
                <a:cubicBezTo>
                  <a:pt x="516748" y="565943"/>
                  <a:pt x="523694" y="577557"/>
                  <a:pt x="526115" y="591784"/>
                </a:cubicBezTo>
                <a:cubicBezTo>
                  <a:pt x="527758" y="601445"/>
                  <a:pt x="532593" y="608029"/>
                  <a:pt x="541579" y="612264"/>
                </a:cubicBezTo>
                <a:cubicBezTo>
                  <a:pt x="555150" y="618662"/>
                  <a:pt x="564081" y="629523"/>
                  <a:pt x="569572" y="643441"/>
                </a:cubicBezTo>
                <a:cubicBezTo>
                  <a:pt x="576413" y="660776"/>
                  <a:pt x="570996" y="678245"/>
                  <a:pt x="555234" y="688473"/>
                </a:cubicBezTo>
                <a:cubicBezTo>
                  <a:pt x="542486" y="696746"/>
                  <a:pt x="528127" y="699474"/>
                  <a:pt x="513278" y="700556"/>
                </a:cubicBezTo>
                <a:cubicBezTo>
                  <a:pt x="505590" y="701115"/>
                  <a:pt x="497922" y="701952"/>
                  <a:pt x="488559" y="702821"/>
                </a:cubicBezTo>
                <a:cubicBezTo>
                  <a:pt x="488559" y="708552"/>
                  <a:pt x="488653" y="713320"/>
                  <a:pt x="488544" y="718085"/>
                </a:cubicBezTo>
                <a:cubicBezTo>
                  <a:pt x="486284" y="817406"/>
                  <a:pt x="502313" y="914319"/>
                  <a:pt x="526561" y="1010212"/>
                </a:cubicBezTo>
                <a:cubicBezTo>
                  <a:pt x="538799" y="1058612"/>
                  <a:pt x="553050" y="1106345"/>
                  <a:pt x="569986" y="1153317"/>
                </a:cubicBezTo>
                <a:cubicBezTo>
                  <a:pt x="573328" y="1162590"/>
                  <a:pt x="578279" y="1168740"/>
                  <a:pt x="587389" y="1172173"/>
                </a:cubicBezTo>
                <a:cubicBezTo>
                  <a:pt x="593869" y="1174616"/>
                  <a:pt x="600289" y="1177449"/>
                  <a:pt x="606286" y="1180891"/>
                </a:cubicBezTo>
                <a:cubicBezTo>
                  <a:pt x="617185" y="1187146"/>
                  <a:pt x="618776" y="1192931"/>
                  <a:pt x="613400" y="1204260"/>
                </a:cubicBezTo>
                <a:cubicBezTo>
                  <a:pt x="611475" y="1208315"/>
                  <a:pt x="609140" y="1212177"/>
                  <a:pt x="605350" y="1216760"/>
                </a:cubicBezTo>
                <a:cubicBezTo>
                  <a:pt x="602514" y="1218347"/>
                  <a:pt x="600399" y="1219189"/>
                  <a:pt x="600268" y="1220273"/>
                </a:cubicBezTo>
                <a:cubicBezTo>
                  <a:pt x="598551" y="1234430"/>
                  <a:pt x="599473" y="1247881"/>
                  <a:pt x="610574" y="1258750"/>
                </a:cubicBezTo>
                <a:cubicBezTo>
                  <a:pt x="631265" y="1279009"/>
                  <a:pt x="651790" y="1299438"/>
                  <a:pt x="672371" y="1319810"/>
                </a:cubicBezTo>
                <a:cubicBezTo>
                  <a:pt x="673495" y="1320922"/>
                  <a:pt x="674892" y="1321987"/>
                  <a:pt x="675494" y="1323366"/>
                </a:cubicBezTo>
                <a:cubicBezTo>
                  <a:pt x="685626" y="1346558"/>
                  <a:pt x="694775" y="1370031"/>
                  <a:pt x="692949" y="1396068"/>
                </a:cubicBezTo>
                <a:cubicBezTo>
                  <a:pt x="692525" y="1402108"/>
                  <a:pt x="691276" y="1408087"/>
                  <a:pt x="690628" y="1414117"/>
                </a:cubicBezTo>
                <a:cubicBezTo>
                  <a:pt x="690241" y="1417713"/>
                  <a:pt x="691290" y="1420628"/>
                  <a:pt x="695588" y="1421035"/>
                </a:cubicBezTo>
                <a:cubicBezTo>
                  <a:pt x="695527" y="1422155"/>
                  <a:pt x="695467" y="1423274"/>
                  <a:pt x="694353" y="1425190"/>
                </a:cubicBezTo>
                <a:cubicBezTo>
                  <a:pt x="691901" y="1426894"/>
                  <a:pt x="690503" y="1427804"/>
                  <a:pt x="689106" y="1428714"/>
                </a:cubicBezTo>
                <a:cubicBezTo>
                  <a:pt x="691101" y="1428620"/>
                  <a:pt x="693098" y="1428527"/>
                  <a:pt x="695093" y="1428433"/>
                </a:cubicBezTo>
                <a:cubicBezTo>
                  <a:pt x="695976" y="1429430"/>
                  <a:pt x="696859" y="1430427"/>
                  <a:pt x="697643" y="1432864"/>
                </a:cubicBezTo>
                <a:cubicBezTo>
                  <a:pt x="697724" y="1436887"/>
                  <a:pt x="697087" y="1439912"/>
                  <a:pt x="698207" y="1441988"/>
                </a:cubicBezTo>
                <a:cubicBezTo>
                  <a:pt x="709464" y="1462853"/>
                  <a:pt x="715798" y="1484864"/>
                  <a:pt x="715183" y="1508752"/>
                </a:cubicBezTo>
                <a:cubicBezTo>
                  <a:pt x="714863" y="1521166"/>
                  <a:pt x="713458" y="1523372"/>
                  <a:pt x="701540" y="1526524"/>
                </a:cubicBezTo>
                <a:cubicBezTo>
                  <a:pt x="662165" y="1536936"/>
                  <a:pt x="622006" y="1543243"/>
                  <a:pt x="581715" y="1548559"/>
                </a:cubicBezTo>
                <a:cubicBezTo>
                  <a:pt x="561988" y="1551162"/>
                  <a:pt x="542052" y="1552457"/>
                  <a:pt x="522168" y="1553543"/>
                </a:cubicBezTo>
                <a:cubicBezTo>
                  <a:pt x="498138" y="1554856"/>
                  <a:pt x="474063" y="1556013"/>
                  <a:pt x="450008" y="1556019"/>
                </a:cubicBezTo>
                <a:cubicBezTo>
                  <a:pt x="381724" y="1556035"/>
                  <a:pt x="313415" y="1557550"/>
                  <a:pt x="245169" y="1553749"/>
                </a:cubicBezTo>
                <a:cubicBezTo>
                  <a:pt x="237413" y="1553317"/>
                  <a:pt x="229596" y="1553867"/>
                  <a:pt x="221854" y="1553306"/>
                </a:cubicBezTo>
                <a:cubicBezTo>
                  <a:pt x="204023" y="1552015"/>
                  <a:pt x="186231" y="1550202"/>
                  <a:pt x="168405" y="1548828"/>
                </a:cubicBezTo>
                <a:cubicBezTo>
                  <a:pt x="154605" y="1547764"/>
                  <a:pt x="140762" y="1547242"/>
                  <a:pt x="126970" y="1546091"/>
                </a:cubicBezTo>
                <a:cubicBezTo>
                  <a:pt x="119295" y="1545451"/>
                  <a:pt x="111668" y="1544132"/>
                  <a:pt x="104053" y="1542912"/>
                </a:cubicBezTo>
                <a:cubicBezTo>
                  <a:pt x="91223" y="1540858"/>
                  <a:pt x="78344" y="1539011"/>
                  <a:pt x="65625" y="1536401"/>
                </a:cubicBezTo>
                <a:cubicBezTo>
                  <a:pt x="47307" y="1532642"/>
                  <a:pt x="29006" y="1528694"/>
                  <a:pt x="10909" y="1524010"/>
                </a:cubicBezTo>
                <a:cubicBezTo>
                  <a:pt x="744" y="1521379"/>
                  <a:pt x="119" y="1519620"/>
                  <a:pt x="8" y="1509263"/>
                </a:cubicBezTo>
                <a:cubicBezTo>
                  <a:pt x="-283" y="1482004"/>
                  <a:pt x="7525" y="1456906"/>
                  <a:pt x="21158" y="1433611"/>
                </a:cubicBezTo>
                <a:cubicBezTo>
                  <a:pt x="24128" y="1428537"/>
                  <a:pt x="25100" y="1424162"/>
                  <a:pt x="23462" y="1418658"/>
                </a:cubicBezTo>
                <a:cubicBezTo>
                  <a:pt x="19938" y="1406814"/>
                  <a:pt x="19145" y="1394638"/>
                  <a:pt x="19643" y="1382324"/>
                </a:cubicBezTo>
                <a:cubicBezTo>
                  <a:pt x="20741" y="1355171"/>
                  <a:pt x="29461" y="1331114"/>
                  <a:pt x="49060" y="1311832"/>
                </a:cubicBezTo>
                <a:cubicBezTo>
                  <a:pt x="68866" y="1292344"/>
                  <a:pt x="89102" y="1273294"/>
                  <a:pt x="109176" y="1254078"/>
                </a:cubicBezTo>
                <a:cubicBezTo>
                  <a:pt x="120788" y="1242961"/>
                  <a:pt x="123122" y="1229673"/>
                  <a:pt x="118319" y="1214801"/>
                </a:cubicBezTo>
                <a:cubicBezTo>
                  <a:pt x="116817" y="1210150"/>
                  <a:pt x="114697" y="1205702"/>
                  <a:pt x="113082" y="1201084"/>
                </a:cubicBezTo>
                <a:cubicBezTo>
                  <a:pt x="109606" y="1191147"/>
                  <a:pt x="110855" y="1188189"/>
                  <a:pt x="120417" y="1183950"/>
                </a:cubicBezTo>
                <a:cubicBezTo>
                  <a:pt x="125262" y="1181801"/>
                  <a:pt x="130109" y="1179394"/>
                  <a:pt x="135209" y="1178138"/>
                </a:cubicBezTo>
                <a:cubicBezTo>
                  <a:pt x="146972" y="1175241"/>
                  <a:pt x="153194" y="1166910"/>
                  <a:pt x="156535" y="1156396"/>
                </a:cubicBezTo>
                <a:cubicBezTo>
                  <a:pt x="166535" y="1124919"/>
                  <a:pt x="176229" y="1093339"/>
                  <a:pt x="185647" y="1061682"/>
                </a:cubicBezTo>
                <a:cubicBezTo>
                  <a:pt x="191222" y="1042945"/>
                  <a:pt x="196570" y="1024108"/>
                  <a:pt x="201074" y="1005093"/>
                </a:cubicBezTo>
                <a:cubicBezTo>
                  <a:pt x="205941" y="984550"/>
                  <a:pt x="210000" y="963801"/>
                  <a:pt x="213864" y="943040"/>
                </a:cubicBezTo>
                <a:cubicBezTo>
                  <a:pt x="217503" y="923489"/>
                  <a:pt x="220701" y="903846"/>
                  <a:pt x="223580" y="884167"/>
                </a:cubicBezTo>
                <a:cubicBezTo>
                  <a:pt x="225754" y="869301"/>
                  <a:pt x="227195" y="854324"/>
                  <a:pt x="228827" y="839382"/>
                </a:cubicBezTo>
                <a:cubicBezTo>
                  <a:pt x="230459" y="824446"/>
                  <a:pt x="232880" y="809515"/>
                  <a:pt x="233251" y="794539"/>
                </a:cubicBezTo>
                <a:cubicBezTo>
                  <a:pt x="233961" y="765893"/>
                  <a:pt x="233499" y="737217"/>
                  <a:pt x="233413" y="708554"/>
                </a:cubicBezTo>
                <a:cubicBezTo>
                  <a:pt x="233404" y="705465"/>
                  <a:pt x="232667" y="702378"/>
                  <a:pt x="232253" y="699181"/>
                </a:cubicBezTo>
                <a:cubicBezTo>
                  <a:pt x="218443" y="697138"/>
                  <a:pt x="205461" y="695831"/>
                  <a:pt x="192775" y="693131"/>
                </a:cubicBezTo>
                <a:cubicBezTo>
                  <a:pt x="183686" y="691197"/>
                  <a:pt x="174549" y="688305"/>
                  <a:pt x="166222" y="684229"/>
                </a:cubicBezTo>
                <a:cubicBezTo>
                  <a:pt x="151266" y="676909"/>
                  <a:pt x="147247" y="664789"/>
                  <a:pt x="153485" y="649704"/>
                </a:cubicBezTo>
                <a:cubicBezTo>
                  <a:pt x="158693" y="637111"/>
                  <a:pt x="168160" y="628190"/>
                  <a:pt x="179302" y="621006"/>
                </a:cubicBezTo>
                <a:cubicBezTo>
                  <a:pt x="186548" y="616334"/>
                  <a:pt x="191317" y="611105"/>
                  <a:pt x="192182" y="601675"/>
                </a:cubicBezTo>
                <a:cubicBezTo>
                  <a:pt x="192878" y="594094"/>
                  <a:pt x="197099" y="587626"/>
                  <a:pt x="204894" y="583417"/>
                </a:cubicBezTo>
                <a:cubicBezTo>
                  <a:pt x="214873" y="578030"/>
                  <a:pt x="224643" y="571774"/>
                  <a:pt x="233213" y="564393"/>
                </a:cubicBezTo>
                <a:cubicBezTo>
                  <a:pt x="242623" y="556289"/>
                  <a:pt x="240441" y="544193"/>
                  <a:pt x="229725" y="538177"/>
                </a:cubicBezTo>
                <a:cubicBezTo>
                  <a:pt x="226159" y="536176"/>
                  <a:pt x="222483" y="534351"/>
                  <a:pt x="218771" y="532633"/>
                </a:cubicBezTo>
                <a:cubicBezTo>
                  <a:pt x="213503" y="530196"/>
                  <a:pt x="212651" y="526226"/>
                  <a:pt x="215183" y="521568"/>
                </a:cubicBezTo>
                <a:cubicBezTo>
                  <a:pt x="217485" y="517332"/>
                  <a:pt x="220405" y="513432"/>
                  <a:pt x="223368" y="508901"/>
                </a:cubicBezTo>
                <a:cubicBezTo>
                  <a:pt x="221781" y="505376"/>
                  <a:pt x="220809" y="501165"/>
                  <a:pt x="218372" y="498135"/>
                </a:cubicBezTo>
                <a:cubicBezTo>
                  <a:pt x="202366" y="478231"/>
                  <a:pt x="190774" y="455961"/>
                  <a:pt x="181440" y="432308"/>
                </a:cubicBezTo>
                <a:cubicBezTo>
                  <a:pt x="170959" y="405748"/>
                  <a:pt x="164933" y="378186"/>
                  <a:pt x="167535" y="349841"/>
                </a:cubicBezTo>
                <a:cubicBezTo>
                  <a:pt x="170341" y="319265"/>
                  <a:pt x="179208" y="289917"/>
                  <a:pt x="193488" y="262518"/>
                </a:cubicBezTo>
                <a:cubicBezTo>
                  <a:pt x="206512" y="237529"/>
                  <a:pt x="220831" y="213359"/>
                  <a:pt x="237748" y="190690"/>
                </a:cubicBezTo>
                <a:cubicBezTo>
                  <a:pt x="260421" y="160310"/>
                  <a:pt x="282602" y="129592"/>
                  <a:pt x="309459" y="102623"/>
                </a:cubicBezTo>
                <a:cubicBezTo>
                  <a:pt x="316627" y="95424"/>
                  <a:pt x="316261" y="87541"/>
                  <a:pt x="310459" y="78521"/>
                </a:cubicBezTo>
                <a:cubicBezTo>
                  <a:pt x="306309" y="72071"/>
                  <a:pt x="301695" y="65150"/>
                  <a:pt x="300267" y="57856"/>
                </a:cubicBezTo>
                <a:cubicBezTo>
                  <a:pt x="295286" y="32423"/>
                  <a:pt x="314502" y="10133"/>
                  <a:pt x="332242" y="4422"/>
                </a:cubicBezTo>
                <a:cubicBezTo>
                  <a:pt x="349540" y="-1148"/>
                  <a:pt x="367530" y="-2176"/>
                  <a:pt x="384904" y="5551"/>
                </a:cubicBezTo>
                <a:cubicBezTo>
                  <a:pt x="395271" y="10161"/>
                  <a:pt x="403310" y="17760"/>
                  <a:pt x="409773" y="26778"/>
                </a:cubicBezTo>
                <a:cubicBezTo>
                  <a:pt x="415168" y="34307"/>
                  <a:pt x="413749" y="41584"/>
                  <a:pt x="407026" y="46052"/>
                </a:cubicBezTo>
                <a:cubicBezTo>
                  <a:pt x="405624" y="40964"/>
                  <a:pt x="404503" y="35849"/>
                  <a:pt x="402771" y="30951"/>
                </a:cubicBezTo>
                <a:cubicBezTo>
                  <a:pt x="401450" y="27216"/>
                  <a:pt x="399383" y="28477"/>
                  <a:pt x="397038" y="30361"/>
                </a:cubicBezTo>
                <a:cubicBezTo>
                  <a:pt x="384440" y="15986"/>
                  <a:pt x="377037" y="14494"/>
                  <a:pt x="360694" y="22760"/>
                </a:cubicBezTo>
                <a:cubicBezTo>
                  <a:pt x="353707" y="22767"/>
                  <a:pt x="352275" y="27176"/>
                  <a:pt x="351669" y="31736"/>
                </a:cubicBezTo>
                <a:cubicBezTo>
                  <a:pt x="351136" y="35760"/>
                  <a:pt x="351383" y="39899"/>
                  <a:pt x="351426" y="43987"/>
                </a:cubicBezTo>
                <a:cubicBezTo>
                  <a:pt x="351648" y="64919"/>
                  <a:pt x="372389" y="78115"/>
                  <a:pt x="390968" y="68762"/>
                </a:cubicBezTo>
                <a:cubicBezTo>
                  <a:pt x="395158" y="66653"/>
                  <a:pt x="398534" y="62629"/>
                  <a:pt x="401770" y="59025"/>
                </a:cubicBezTo>
                <a:cubicBezTo>
                  <a:pt x="404045" y="56491"/>
                  <a:pt x="405661" y="53409"/>
                  <a:pt x="409619" y="55786"/>
                </a:cubicBezTo>
                <a:cubicBezTo>
                  <a:pt x="413544" y="58145"/>
                  <a:pt x="412176" y="61347"/>
                  <a:pt x="410427" y="64256"/>
                </a:cubicBezTo>
                <a:cubicBezTo>
                  <a:pt x="406872" y="70170"/>
                  <a:pt x="403244" y="76046"/>
                  <a:pt x="399453" y="81811"/>
                </a:cubicBezTo>
                <a:cubicBezTo>
                  <a:pt x="394663" y="89097"/>
                  <a:pt x="394382" y="94032"/>
                  <a:pt x="399346" y="98083"/>
                </a:cubicBezTo>
                <a:cubicBezTo>
                  <a:pt x="428062" y="121519"/>
                  <a:pt x="450822" y="150083"/>
                  <a:pt x="471592" y="180524"/>
                </a:cubicBezTo>
                <a:cubicBezTo>
                  <a:pt x="476398" y="187569"/>
                  <a:pt x="476844" y="193688"/>
                  <a:pt x="473550" y="200923"/>
                </a:cubicBezTo>
                <a:cubicBezTo>
                  <a:pt x="470171" y="208346"/>
                  <a:pt x="467091" y="215905"/>
                  <a:pt x="463677" y="223311"/>
                </a:cubicBezTo>
                <a:cubicBezTo>
                  <a:pt x="461993" y="226965"/>
                  <a:pt x="462995" y="228697"/>
                  <a:pt x="466852" y="229083"/>
                </a:cubicBezTo>
                <a:moveTo>
                  <a:pt x="474186" y="928382"/>
                </a:moveTo>
                <a:cubicBezTo>
                  <a:pt x="469297" y="891529"/>
                  <a:pt x="462961" y="854794"/>
                  <a:pt x="459927" y="817790"/>
                </a:cubicBezTo>
                <a:cubicBezTo>
                  <a:pt x="456905" y="780939"/>
                  <a:pt x="457197" y="743817"/>
                  <a:pt x="456025" y="706469"/>
                </a:cubicBezTo>
                <a:cubicBezTo>
                  <a:pt x="425780" y="707923"/>
                  <a:pt x="396554" y="709327"/>
                  <a:pt x="366863" y="710754"/>
                </a:cubicBezTo>
                <a:cubicBezTo>
                  <a:pt x="366546" y="714450"/>
                  <a:pt x="366201" y="716832"/>
                  <a:pt x="366159" y="719219"/>
                </a:cubicBezTo>
                <a:cubicBezTo>
                  <a:pt x="365479" y="757672"/>
                  <a:pt x="364935" y="796129"/>
                  <a:pt x="364159" y="834581"/>
                </a:cubicBezTo>
                <a:cubicBezTo>
                  <a:pt x="363450" y="869762"/>
                  <a:pt x="362581" y="904941"/>
                  <a:pt x="361633" y="940117"/>
                </a:cubicBezTo>
                <a:cubicBezTo>
                  <a:pt x="360619" y="977749"/>
                  <a:pt x="359431" y="1015376"/>
                  <a:pt x="358313" y="1053005"/>
                </a:cubicBezTo>
                <a:cubicBezTo>
                  <a:pt x="358265" y="1054641"/>
                  <a:pt x="358149" y="1056276"/>
                  <a:pt x="358081" y="1057912"/>
                </a:cubicBezTo>
                <a:cubicBezTo>
                  <a:pt x="356598" y="1093463"/>
                  <a:pt x="355081" y="1129014"/>
                  <a:pt x="353706" y="1164570"/>
                </a:cubicBezTo>
                <a:cubicBezTo>
                  <a:pt x="353604" y="1167221"/>
                  <a:pt x="354516" y="1169911"/>
                  <a:pt x="354951" y="1172547"/>
                </a:cubicBezTo>
                <a:cubicBezTo>
                  <a:pt x="416984" y="1173689"/>
                  <a:pt x="478158" y="1174816"/>
                  <a:pt x="540959" y="1175972"/>
                </a:cubicBezTo>
                <a:cubicBezTo>
                  <a:pt x="513162" y="1094194"/>
                  <a:pt x="489081" y="1013598"/>
                  <a:pt x="474186" y="928382"/>
                </a:cubicBezTo>
                <a:moveTo>
                  <a:pt x="513768" y="1417676"/>
                </a:moveTo>
                <a:cubicBezTo>
                  <a:pt x="515785" y="1417344"/>
                  <a:pt x="517792" y="1416889"/>
                  <a:pt x="519822" y="1416700"/>
                </a:cubicBezTo>
                <a:cubicBezTo>
                  <a:pt x="557234" y="1413220"/>
                  <a:pt x="594682" y="1410089"/>
                  <a:pt x="632041" y="1406122"/>
                </a:cubicBezTo>
                <a:cubicBezTo>
                  <a:pt x="643122" y="1404945"/>
                  <a:pt x="654730" y="1405292"/>
                  <a:pt x="665040" y="1400634"/>
                </a:cubicBezTo>
                <a:cubicBezTo>
                  <a:pt x="665352" y="1398517"/>
                  <a:pt x="665651" y="1397324"/>
                  <a:pt x="665677" y="1396126"/>
                </a:cubicBezTo>
                <a:cubicBezTo>
                  <a:pt x="665722" y="1394084"/>
                  <a:pt x="665674" y="1392032"/>
                  <a:pt x="665529" y="1389994"/>
                </a:cubicBezTo>
                <a:cubicBezTo>
                  <a:pt x="663118" y="1356121"/>
                  <a:pt x="650063" y="1327787"/>
                  <a:pt x="623046" y="1306238"/>
                </a:cubicBezTo>
                <a:cubicBezTo>
                  <a:pt x="613485" y="1298611"/>
                  <a:pt x="605001" y="1289635"/>
                  <a:pt x="596015" y="1281285"/>
                </a:cubicBezTo>
                <a:cubicBezTo>
                  <a:pt x="578506" y="1265018"/>
                  <a:pt x="567837" y="1245446"/>
                  <a:pt x="567683" y="1220059"/>
                </a:cubicBezTo>
                <a:cubicBezTo>
                  <a:pt x="558046" y="1220059"/>
                  <a:pt x="549136" y="1219649"/>
                  <a:pt x="540273" y="1220129"/>
                </a:cubicBezTo>
                <a:cubicBezTo>
                  <a:pt x="501512" y="1222229"/>
                  <a:pt x="462775" y="1224768"/>
                  <a:pt x="424010" y="1226781"/>
                </a:cubicBezTo>
                <a:cubicBezTo>
                  <a:pt x="401969" y="1227926"/>
                  <a:pt x="379889" y="1228330"/>
                  <a:pt x="357832" y="1229178"/>
                </a:cubicBezTo>
                <a:cubicBezTo>
                  <a:pt x="355938" y="1229251"/>
                  <a:pt x="354076" y="1230151"/>
                  <a:pt x="352386" y="1230616"/>
                </a:cubicBezTo>
                <a:cubicBezTo>
                  <a:pt x="353642" y="1262222"/>
                  <a:pt x="355769" y="1293219"/>
                  <a:pt x="355852" y="1324222"/>
                </a:cubicBezTo>
                <a:cubicBezTo>
                  <a:pt x="355936" y="1355438"/>
                  <a:pt x="353988" y="1386659"/>
                  <a:pt x="352930" y="1417867"/>
                </a:cubicBezTo>
                <a:cubicBezTo>
                  <a:pt x="406069" y="1417867"/>
                  <a:pt x="458771" y="1417867"/>
                  <a:pt x="513768" y="1417676"/>
                </a:cubicBezTo>
                <a:moveTo>
                  <a:pt x="387930" y="499741"/>
                </a:moveTo>
                <a:cubicBezTo>
                  <a:pt x="410797" y="498777"/>
                  <a:pt x="433665" y="497860"/>
                  <a:pt x="456529" y="496826"/>
                </a:cubicBezTo>
                <a:cubicBezTo>
                  <a:pt x="466656" y="496369"/>
                  <a:pt x="475418" y="493371"/>
                  <a:pt x="482355" y="485095"/>
                </a:cubicBezTo>
                <a:cubicBezTo>
                  <a:pt x="509188" y="453083"/>
                  <a:pt x="525387" y="416636"/>
                  <a:pt x="528016" y="374829"/>
                </a:cubicBezTo>
                <a:cubicBezTo>
                  <a:pt x="530547" y="334558"/>
                  <a:pt x="520095" y="297041"/>
                  <a:pt x="501375" y="261643"/>
                </a:cubicBezTo>
                <a:cubicBezTo>
                  <a:pt x="499379" y="257869"/>
                  <a:pt x="496654" y="254482"/>
                  <a:pt x="493534" y="249818"/>
                </a:cubicBezTo>
                <a:cubicBezTo>
                  <a:pt x="490233" y="254212"/>
                  <a:pt x="487883" y="256986"/>
                  <a:pt x="485920" y="260010"/>
                </a:cubicBezTo>
                <a:cubicBezTo>
                  <a:pt x="475010" y="276824"/>
                  <a:pt x="464300" y="293767"/>
                  <a:pt x="453305" y="310523"/>
                </a:cubicBezTo>
                <a:cubicBezTo>
                  <a:pt x="447028" y="320089"/>
                  <a:pt x="440916" y="329858"/>
                  <a:pt x="433678" y="338672"/>
                </a:cubicBezTo>
                <a:cubicBezTo>
                  <a:pt x="425909" y="348131"/>
                  <a:pt x="413084" y="349691"/>
                  <a:pt x="403713" y="343710"/>
                </a:cubicBezTo>
                <a:cubicBezTo>
                  <a:pt x="394358" y="337739"/>
                  <a:pt x="391675" y="327526"/>
                  <a:pt x="396427" y="315612"/>
                </a:cubicBezTo>
                <a:cubicBezTo>
                  <a:pt x="397334" y="313339"/>
                  <a:pt x="398595" y="311210"/>
                  <a:pt x="399663" y="309000"/>
                </a:cubicBezTo>
                <a:cubicBezTo>
                  <a:pt x="417094" y="272900"/>
                  <a:pt x="434331" y="236704"/>
                  <a:pt x="452097" y="200770"/>
                </a:cubicBezTo>
                <a:cubicBezTo>
                  <a:pt x="455910" y="193060"/>
                  <a:pt x="455310" y="187173"/>
                  <a:pt x="450118" y="180596"/>
                </a:cubicBezTo>
                <a:cubicBezTo>
                  <a:pt x="428273" y="152922"/>
                  <a:pt x="405805" y="125901"/>
                  <a:pt x="376545" y="105525"/>
                </a:cubicBezTo>
                <a:cubicBezTo>
                  <a:pt x="374483" y="104089"/>
                  <a:pt x="372013" y="103239"/>
                  <a:pt x="368791" y="101653"/>
                </a:cubicBezTo>
                <a:cubicBezTo>
                  <a:pt x="367942" y="116965"/>
                  <a:pt x="367019" y="130814"/>
                  <a:pt x="366449" y="144676"/>
                </a:cubicBezTo>
                <a:cubicBezTo>
                  <a:pt x="365912" y="157758"/>
                  <a:pt x="365593" y="170854"/>
                  <a:pt x="365447" y="183946"/>
                </a:cubicBezTo>
                <a:cubicBezTo>
                  <a:pt x="365020" y="221975"/>
                  <a:pt x="363367" y="260055"/>
                  <a:pt x="364738" y="298022"/>
                </a:cubicBezTo>
                <a:cubicBezTo>
                  <a:pt x="366329" y="342101"/>
                  <a:pt x="370336" y="386106"/>
                  <a:pt x="373865" y="430096"/>
                </a:cubicBezTo>
                <a:cubicBezTo>
                  <a:pt x="375530" y="450849"/>
                  <a:pt x="378387" y="471514"/>
                  <a:pt x="381088" y="492169"/>
                </a:cubicBezTo>
                <a:cubicBezTo>
                  <a:pt x="381433" y="494807"/>
                  <a:pt x="384102" y="497143"/>
                  <a:pt x="387930" y="499741"/>
                </a:cubicBezTo>
                <a:moveTo>
                  <a:pt x="455850" y="1521476"/>
                </a:moveTo>
                <a:cubicBezTo>
                  <a:pt x="533043" y="1519612"/>
                  <a:pt x="609810" y="1514084"/>
                  <a:pt x="685121" y="1496509"/>
                </a:cubicBezTo>
                <a:cubicBezTo>
                  <a:pt x="683922" y="1481705"/>
                  <a:pt x="679199" y="1467708"/>
                  <a:pt x="672999" y="1456665"/>
                </a:cubicBezTo>
                <a:cubicBezTo>
                  <a:pt x="669933" y="1451203"/>
                  <a:pt x="666057" y="1449329"/>
                  <a:pt x="660009" y="1450249"/>
                </a:cubicBezTo>
                <a:cubicBezTo>
                  <a:pt x="651125" y="1451601"/>
                  <a:pt x="642144" y="1452308"/>
                  <a:pt x="633248" y="1453589"/>
                </a:cubicBezTo>
                <a:cubicBezTo>
                  <a:pt x="572852" y="1462289"/>
                  <a:pt x="511993" y="1465134"/>
                  <a:pt x="451131" y="1467458"/>
                </a:cubicBezTo>
                <a:cubicBezTo>
                  <a:pt x="421697" y="1468582"/>
                  <a:pt x="392192" y="1467837"/>
                  <a:pt x="362719" y="1467934"/>
                </a:cubicBezTo>
                <a:cubicBezTo>
                  <a:pt x="358386" y="1467948"/>
                  <a:pt x="354052" y="1467936"/>
                  <a:pt x="349983" y="1467936"/>
                </a:cubicBezTo>
                <a:cubicBezTo>
                  <a:pt x="347592" y="1485362"/>
                  <a:pt x="348606" y="1509458"/>
                  <a:pt x="352220" y="1519140"/>
                </a:cubicBezTo>
                <a:cubicBezTo>
                  <a:pt x="385617" y="1519916"/>
                  <a:pt x="419507" y="1520703"/>
                  <a:pt x="455850" y="1521476"/>
                </a:cubicBezTo>
                <a:moveTo>
                  <a:pt x="368682" y="544846"/>
                </a:moveTo>
                <a:cubicBezTo>
                  <a:pt x="374258" y="564891"/>
                  <a:pt x="370074" y="584394"/>
                  <a:pt x="363600" y="605633"/>
                </a:cubicBezTo>
                <a:cubicBezTo>
                  <a:pt x="408859" y="604212"/>
                  <a:pt x="452263" y="602850"/>
                  <a:pt x="496351" y="601466"/>
                </a:cubicBezTo>
                <a:cubicBezTo>
                  <a:pt x="496109" y="591095"/>
                  <a:pt x="491408" y="584247"/>
                  <a:pt x="485068" y="579288"/>
                </a:cubicBezTo>
                <a:cubicBezTo>
                  <a:pt x="472414" y="569391"/>
                  <a:pt x="466934" y="556602"/>
                  <a:pt x="466524" y="541026"/>
                </a:cubicBezTo>
                <a:cubicBezTo>
                  <a:pt x="466485" y="539528"/>
                  <a:pt x="465591" y="538053"/>
                  <a:pt x="465000" y="536289"/>
                </a:cubicBezTo>
                <a:cubicBezTo>
                  <a:pt x="460209" y="536289"/>
                  <a:pt x="455761" y="536132"/>
                  <a:pt x="451328" y="536316"/>
                </a:cubicBezTo>
                <a:cubicBezTo>
                  <a:pt x="430930" y="537159"/>
                  <a:pt x="410538" y="538137"/>
                  <a:pt x="390140" y="538979"/>
                </a:cubicBezTo>
                <a:cubicBezTo>
                  <a:pt x="384834" y="539198"/>
                  <a:pt x="379484" y="538790"/>
                  <a:pt x="374215" y="539303"/>
                </a:cubicBezTo>
                <a:cubicBezTo>
                  <a:pt x="372259" y="539494"/>
                  <a:pt x="370480" y="541498"/>
                  <a:pt x="368682" y="544846"/>
                </a:cubicBezTo>
                <a:moveTo>
                  <a:pt x="453915" y="635267"/>
                </a:moveTo>
                <a:cubicBezTo>
                  <a:pt x="427589" y="636632"/>
                  <a:pt x="401262" y="637998"/>
                  <a:pt x="374200" y="639402"/>
                </a:cubicBezTo>
                <a:cubicBezTo>
                  <a:pt x="374200" y="651578"/>
                  <a:pt x="374200" y="661970"/>
                  <a:pt x="374200" y="673206"/>
                </a:cubicBezTo>
                <a:cubicBezTo>
                  <a:pt x="378672" y="673406"/>
                  <a:pt x="382666" y="673863"/>
                  <a:pt x="386639" y="673718"/>
                </a:cubicBezTo>
                <a:cubicBezTo>
                  <a:pt x="431495" y="672082"/>
                  <a:pt x="476352" y="670422"/>
                  <a:pt x="521198" y="668541"/>
                </a:cubicBezTo>
                <a:cubicBezTo>
                  <a:pt x="525584" y="668357"/>
                  <a:pt x="530162" y="667254"/>
                  <a:pt x="534198" y="665521"/>
                </a:cubicBezTo>
                <a:cubicBezTo>
                  <a:pt x="540213" y="662938"/>
                  <a:pt x="541802" y="658194"/>
                  <a:pt x="538413" y="652526"/>
                </a:cubicBezTo>
                <a:cubicBezTo>
                  <a:pt x="536192" y="648813"/>
                  <a:pt x="532979" y="645251"/>
                  <a:pt x="529377" y="642895"/>
                </a:cubicBezTo>
                <a:cubicBezTo>
                  <a:pt x="521426" y="637695"/>
                  <a:pt x="512576" y="634669"/>
                  <a:pt x="502829" y="634808"/>
                </a:cubicBezTo>
                <a:cubicBezTo>
                  <a:pt x="487311" y="635030"/>
                  <a:pt x="471791" y="635092"/>
                  <a:pt x="453915" y="635267"/>
                </a:cubicBezTo>
                <a:close/>
              </a:path>
            </a:pathLst>
          </a:custGeom>
          <a:solidFill>
            <a:srgbClr val="CDD9DF"/>
          </a:solidFill>
          <a:ln w="12700" cap="flat">
            <a:solidFill>
              <a:srgbClr val="CDD9DF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98" name="Free-form: Shape 397">
            <a:extLst>
              <a:ext uri="{FF2B5EF4-FFF2-40B4-BE49-F238E27FC236}">
                <a16:creationId xmlns:a16="http://schemas.microsoft.com/office/drawing/2014/main" id="{13567033-497E-C653-9280-27295F9A7B91}"/>
              </a:ext>
            </a:extLst>
          </p:cNvPr>
          <p:cNvSpPr/>
          <p:nvPr/>
        </p:nvSpPr>
        <p:spPr>
          <a:xfrm>
            <a:off x="7340232" y="4413403"/>
            <a:ext cx="665488" cy="1428730"/>
          </a:xfrm>
          <a:custGeom>
            <a:avLst/>
            <a:gdLst>
              <a:gd name="csX0" fmla="*/ 406842 w 732037"/>
              <a:gd name="csY0" fmla="*/ 38347 h 1571603"/>
              <a:gd name="csX1" fmla="*/ 411944 w 732037"/>
              <a:gd name="csY1" fmla="*/ 38343 h 1571603"/>
              <a:gd name="csX2" fmla="*/ 416198 w 732037"/>
              <a:gd name="csY2" fmla="*/ 53444 h 1571603"/>
              <a:gd name="csX3" fmla="*/ 418945 w 732037"/>
              <a:gd name="csY3" fmla="*/ 34170 h 1571603"/>
              <a:gd name="csX4" fmla="*/ 394077 w 732037"/>
              <a:gd name="csY4" fmla="*/ 12943 h 1571603"/>
              <a:gd name="csX5" fmla="*/ 341415 w 732037"/>
              <a:gd name="csY5" fmla="*/ 11814 h 1571603"/>
              <a:gd name="csX6" fmla="*/ 309440 w 732037"/>
              <a:gd name="csY6" fmla="*/ 65249 h 1571603"/>
              <a:gd name="csX7" fmla="*/ 319632 w 732037"/>
              <a:gd name="csY7" fmla="*/ 85914 h 1571603"/>
              <a:gd name="csX8" fmla="*/ 318632 w 732037"/>
              <a:gd name="csY8" fmla="*/ 110015 h 1571603"/>
              <a:gd name="csX9" fmla="*/ 246921 w 732037"/>
              <a:gd name="csY9" fmla="*/ 198083 h 1571603"/>
              <a:gd name="csX10" fmla="*/ 202660 w 732037"/>
              <a:gd name="csY10" fmla="*/ 269911 h 1571603"/>
              <a:gd name="csX11" fmla="*/ 176707 w 732037"/>
              <a:gd name="csY11" fmla="*/ 357233 h 1571603"/>
              <a:gd name="csX12" fmla="*/ 190612 w 732037"/>
              <a:gd name="csY12" fmla="*/ 439700 h 1571603"/>
              <a:gd name="csX13" fmla="*/ 227544 w 732037"/>
              <a:gd name="csY13" fmla="*/ 505527 h 1571603"/>
              <a:gd name="csX14" fmla="*/ 232541 w 732037"/>
              <a:gd name="csY14" fmla="*/ 516294 h 1571603"/>
              <a:gd name="csX15" fmla="*/ 224356 w 732037"/>
              <a:gd name="csY15" fmla="*/ 528960 h 1571603"/>
              <a:gd name="csX16" fmla="*/ 227944 w 732037"/>
              <a:gd name="csY16" fmla="*/ 540026 h 1571603"/>
              <a:gd name="csX17" fmla="*/ 238897 w 732037"/>
              <a:gd name="csY17" fmla="*/ 545570 h 1571603"/>
              <a:gd name="csX18" fmla="*/ 242386 w 732037"/>
              <a:gd name="csY18" fmla="*/ 571785 h 1571603"/>
              <a:gd name="csX19" fmla="*/ 214067 w 732037"/>
              <a:gd name="csY19" fmla="*/ 590809 h 1571603"/>
              <a:gd name="csX20" fmla="*/ 201355 w 732037"/>
              <a:gd name="csY20" fmla="*/ 609067 h 1571603"/>
              <a:gd name="csX21" fmla="*/ 188474 w 732037"/>
              <a:gd name="csY21" fmla="*/ 628398 h 1571603"/>
              <a:gd name="csX22" fmla="*/ 162658 w 732037"/>
              <a:gd name="csY22" fmla="*/ 657096 h 1571603"/>
              <a:gd name="csX23" fmla="*/ 175395 w 732037"/>
              <a:gd name="csY23" fmla="*/ 691621 h 1571603"/>
              <a:gd name="csX24" fmla="*/ 201948 w 732037"/>
              <a:gd name="csY24" fmla="*/ 700523 h 1571603"/>
              <a:gd name="csX25" fmla="*/ 241426 w 732037"/>
              <a:gd name="csY25" fmla="*/ 706574 h 1571603"/>
              <a:gd name="csX26" fmla="*/ 242586 w 732037"/>
              <a:gd name="csY26" fmla="*/ 715946 h 1571603"/>
              <a:gd name="csX27" fmla="*/ 242424 w 732037"/>
              <a:gd name="csY27" fmla="*/ 801932 h 1571603"/>
              <a:gd name="csX28" fmla="*/ 238000 w 732037"/>
              <a:gd name="csY28" fmla="*/ 846774 h 1571603"/>
              <a:gd name="csX29" fmla="*/ 232752 w 732037"/>
              <a:gd name="csY29" fmla="*/ 891559 h 1571603"/>
              <a:gd name="csX30" fmla="*/ 223037 w 732037"/>
              <a:gd name="csY30" fmla="*/ 950433 h 1571603"/>
              <a:gd name="csX31" fmla="*/ 210247 w 732037"/>
              <a:gd name="csY31" fmla="*/ 1012485 h 1571603"/>
              <a:gd name="csX32" fmla="*/ 194820 w 732037"/>
              <a:gd name="csY32" fmla="*/ 1069074 h 1571603"/>
              <a:gd name="csX33" fmla="*/ 165707 w 732037"/>
              <a:gd name="csY33" fmla="*/ 1163788 h 1571603"/>
              <a:gd name="csX34" fmla="*/ 144382 w 732037"/>
              <a:gd name="csY34" fmla="*/ 1185530 h 1571603"/>
              <a:gd name="csX35" fmla="*/ 129590 w 732037"/>
              <a:gd name="csY35" fmla="*/ 1191342 h 1571603"/>
              <a:gd name="csX36" fmla="*/ 122255 w 732037"/>
              <a:gd name="csY36" fmla="*/ 1208476 h 1571603"/>
              <a:gd name="csX37" fmla="*/ 127491 w 732037"/>
              <a:gd name="csY37" fmla="*/ 1222193 h 1571603"/>
              <a:gd name="csX38" fmla="*/ 118348 w 732037"/>
              <a:gd name="csY38" fmla="*/ 1261470 h 1571603"/>
              <a:gd name="csX39" fmla="*/ 58232 w 732037"/>
              <a:gd name="csY39" fmla="*/ 1319224 h 1571603"/>
              <a:gd name="csX40" fmla="*/ 28815 w 732037"/>
              <a:gd name="csY40" fmla="*/ 1389717 h 1571603"/>
              <a:gd name="csX41" fmla="*/ 32634 w 732037"/>
              <a:gd name="csY41" fmla="*/ 1426050 h 1571603"/>
              <a:gd name="csX42" fmla="*/ 30331 w 732037"/>
              <a:gd name="csY42" fmla="*/ 1441003 h 1571603"/>
              <a:gd name="csX43" fmla="*/ 9180 w 732037"/>
              <a:gd name="csY43" fmla="*/ 1516655 h 1571603"/>
              <a:gd name="csX44" fmla="*/ 20082 w 732037"/>
              <a:gd name="csY44" fmla="*/ 1531402 h 1571603"/>
              <a:gd name="csX45" fmla="*/ 74798 w 732037"/>
              <a:gd name="csY45" fmla="*/ 1543794 h 1571603"/>
              <a:gd name="csX46" fmla="*/ 113225 w 732037"/>
              <a:gd name="csY46" fmla="*/ 1550305 h 1571603"/>
              <a:gd name="csX47" fmla="*/ 136142 w 732037"/>
              <a:gd name="csY47" fmla="*/ 1553484 h 1571603"/>
              <a:gd name="csX48" fmla="*/ 177578 w 732037"/>
              <a:gd name="csY48" fmla="*/ 1556220 h 1571603"/>
              <a:gd name="csX49" fmla="*/ 231027 w 732037"/>
              <a:gd name="csY49" fmla="*/ 1560698 h 1571603"/>
              <a:gd name="csX50" fmla="*/ 254342 w 732037"/>
              <a:gd name="csY50" fmla="*/ 1561142 h 1571603"/>
              <a:gd name="csX51" fmla="*/ 459180 w 732037"/>
              <a:gd name="csY51" fmla="*/ 1563411 h 1571603"/>
              <a:gd name="csX52" fmla="*/ 531340 w 732037"/>
              <a:gd name="csY52" fmla="*/ 1560936 h 1571603"/>
              <a:gd name="csX53" fmla="*/ 590888 w 732037"/>
              <a:gd name="csY53" fmla="*/ 1555951 h 1571603"/>
              <a:gd name="csX54" fmla="*/ 710712 w 732037"/>
              <a:gd name="csY54" fmla="*/ 1533916 h 1571603"/>
              <a:gd name="csX55" fmla="*/ 724356 w 732037"/>
              <a:gd name="csY55" fmla="*/ 1516144 h 1571603"/>
              <a:gd name="csX56" fmla="*/ 707380 w 732037"/>
              <a:gd name="csY56" fmla="*/ 1449380 h 1571603"/>
              <a:gd name="csX57" fmla="*/ 707050 w 732037"/>
              <a:gd name="csY57" fmla="*/ 1440881 h 1571603"/>
              <a:gd name="csX58" fmla="*/ 731479 w 732037"/>
              <a:gd name="csY58" fmla="*/ 1500017 h 1571603"/>
              <a:gd name="csX59" fmla="*/ 731163 w 732037"/>
              <a:gd name="csY59" fmla="*/ 1513759 h 1571603"/>
              <a:gd name="csX60" fmla="*/ 731650 w 732037"/>
              <a:gd name="csY60" fmla="*/ 1521766 h 1571603"/>
              <a:gd name="csX61" fmla="*/ 721896 w 732037"/>
              <a:gd name="csY61" fmla="*/ 1537319 h 1571603"/>
              <a:gd name="csX62" fmla="*/ 657740 w 732037"/>
              <a:gd name="csY62" fmla="*/ 1553265 h 1571603"/>
              <a:gd name="csX63" fmla="*/ 507791 w 732037"/>
              <a:gd name="csY63" fmla="*/ 1568943 h 1571603"/>
              <a:gd name="csX64" fmla="*/ 264676 w 732037"/>
              <a:gd name="csY64" fmla="*/ 1569724 h 1571603"/>
              <a:gd name="csX65" fmla="*/ 82743 w 732037"/>
              <a:gd name="csY65" fmla="*/ 1553254 h 1571603"/>
              <a:gd name="csX66" fmla="*/ 17072 w 732037"/>
              <a:gd name="csY66" fmla="*/ 1538153 h 1571603"/>
              <a:gd name="csX67" fmla="*/ 275 w 732037"/>
              <a:gd name="csY67" fmla="*/ 1513030 h 1571603"/>
              <a:gd name="csX68" fmla="*/ 20923 w 732037"/>
              <a:gd name="csY68" fmla="*/ 1441861 h 1571603"/>
              <a:gd name="csX69" fmla="*/ 23045 w 732037"/>
              <a:gd name="csY69" fmla="*/ 1423105 h 1571603"/>
              <a:gd name="csX70" fmla="*/ 30564 w 732037"/>
              <a:gd name="csY70" fmla="*/ 1346289 h 1571603"/>
              <a:gd name="csX71" fmla="*/ 71350 w 732037"/>
              <a:gd name="csY71" fmla="*/ 1295039 h 1571603"/>
              <a:gd name="csX72" fmla="*/ 112257 w 732037"/>
              <a:gd name="csY72" fmla="*/ 1255093 h 1571603"/>
              <a:gd name="csX73" fmla="*/ 115864 w 732037"/>
              <a:gd name="csY73" fmla="*/ 1217271 h 1571603"/>
              <a:gd name="csX74" fmla="*/ 112256 w 732037"/>
              <a:gd name="csY74" fmla="*/ 1210870 h 1571603"/>
              <a:gd name="csX75" fmla="*/ 121141 w 732037"/>
              <a:gd name="csY75" fmla="*/ 1186548 h 1571603"/>
              <a:gd name="csX76" fmla="*/ 136571 w 732037"/>
              <a:gd name="csY76" fmla="*/ 1179850 h 1571603"/>
              <a:gd name="csX77" fmla="*/ 158281 w 732037"/>
              <a:gd name="csY77" fmla="*/ 1157879 h 1571603"/>
              <a:gd name="csX78" fmla="*/ 187986 w 732037"/>
              <a:gd name="csY78" fmla="*/ 1059736 h 1571603"/>
              <a:gd name="csX79" fmla="*/ 217119 w 732037"/>
              <a:gd name="csY79" fmla="*/ 938896 h 1571603"/>
              <a:gd name="csX80" fmla="*/ 225792 w 732037"/>
              <a:gd name="csY80" fmla="*/ 893236 h 1571603"/>
              <a:gd name="csX81" fmla="*/ 226150 w 732037"/>
              <a:gd name="csY81" fmla="*/ 887970 h 1571603"/>
              <a:gd name="csX82" fmla="*/ 230782 w 732037"/>
              <a:gd name="csY82" fmla="*/ 853969 h 1571603"/>
              <a:gd name="csX83" fmla="*/ 230786 w 732037"/>
              <a:gd name="csY83" fmla="*/ 848558 h 1571603"/>
              <a:gd name="csX84" fmla="*/ 233315 w 732037"/>
              <a:gd name="csY84" fmla="*/ 824438 h 1571603"/>
              <a:gd name="csX85" fmla="*/ 233199 w 732037"/>
              <a:gd name="csY85" fmla="*/ 819050 h 1571603"/>
              <a:gd name="csX86" fmla="*/ 235848 w 732037"/>
              <a:gd name="csY86" fmla="*/ 782380 h 1571603"/>
              <a:gd name="csX87" fmla="*/ 237465 w 732037"/>
              <a:gd name="csY87" fmla="*/ 719113 h 1571603"/>
              <a:gd name="csX88" fmla="*/ 233057 w 732037"/>
              <a:gd name="csY88" fmla="*/ 713160 h 1571603"/>
              <a:gd name="csX89" fmla="*/ 203056 w 732037"/>
              <a:gd name="csY89" fmla="*/ 708405 h 1571603"/>
              <a:gd name="csX90" fmla="*/ 169628 w 732037"/>
              <a:gd name="csY90" fmla="*/ 698106 h 1571603"/>
              <a:gd name="csX91" fmla="*/ 153237 w 732037"/>
              <a:gd name="csY91" fmla="*/ 659111 h 1571603"/>
              <a:gd name="csX92" fmla="*/ 178365 w 732037"/>
              <a:gd name="csY92" fmla="*/ 626008 h 1571603"/>
              <a:gd name="csX93" fmla="*/ 191885 w 732037"/>
              <a:gd name="csY93" fmla="*/ 617513 h 1571603"/>
              <a:gd name="csX94" fmla="*/ 193681 w 732037"/>
              <a:gd name="csY94" fmla="*/ 610098 h 1571603"/>
              <a:gd name="csX95" fmla="*/ 213301 w 732037"/>
              <a:gd name="csY95" fmla="*/ 579885 h 1571603"/>
              <a:gd name="csX96" fmla="*/ 229635 w 732037"/>
              <a:gd name="csY96" fmla="*/ 571429 h 1571603"/>
              <a:gd name="csX97" fmla="*/ 237351 w 732037"/>
              <a:gd name="csY97" fmla="*/ 565882 h 1571603"/>
              <a:gd name="csX98" fmla="*/ 233673 w 732037"/>
              <a:gd name="csY98" fmla="*/ 550926 h 1571603"/>
              <a:gd name="csX99" fmla="*/ 226799 w 732037"/>
              <a:gd name="csY99" fmla="*/ 548359 h 1571603"/>
              <a:gd name="csX100" fmla="*/ 218639 w 732037"/>
              <a:gd name="csY100" fmla="*/ 522664 h 1571603"/>
              <a:gd name="csX101" fmla="*/ 218264 w 732037"/>
              <a:gd name="csY101" fmla="*/ 505463 h 1571603"/>
              <a:gd name="csX102" fmla="*/ 181762 w 732037"/>
              <a:gd name="csY102" fmla="*/ 437574 h 1571603"/>
              <a:gd name="csX103" fmla="*/ 185971 w 732037"/>
              <a:gd name="csY103" fmla="*/ 289069 h 1571603"/>
              <a:gd name="csX104" fmla="*/ 253787 w 732037"/>
              <a:gd name="csY104" fmla="*/ 175580 h 1571603"/>
              <a:gd name="csX105" fmla="*/ 309639 w 732037"/>
              <a:gd name="csY105" fmla="*/ 108695 h 1571603"/>
              <a:gd name="csX106" fmla="*/ 318061 w 732037"/>
              <a:gd name="csY106" fmla="*/ 98855 h 1571603"/>
              <a:gd name="csX107" fmla="*/ 304967 w 732037"/>
              <a:gd name="csY107" fmla="*/ 70056 h 1571603"/>
              <a:gd name="csX108" fmla="*/ 317012 w 732037"/>
              <a:gd name="csY108" fmla="*/ 19436 h 1571603"/>
              <a:gd name="csX109" fmla="*/ 415542 w 732037"/>
              <a:gd name="csY109" fmla="*/ 18221 h 1571603"/>
              <a:gd name="csX110" fmla="*/ 423203 w 732037"/>
              <a:gd name="csY110" fmla="*/ 82660 h 1571603"/>
              <a:gd name="csX111" fmla="*/ 413361 w 732037"/>
              <a:gd name="csY111" fmla="*/ 97975 h 1571603"/>
              <a:gd name="csX112" fmla="*/ 421654 w 732037"/>
              <a:gd name="csY112" fmla="*/ 106676 h 1571603"/>
              <a:gd name="csX113" fmla="*/ 487032 w 732037"/>
              <a:gd name="csY113" fmla="*/ 184632 h 1571603"/>
              <a:gd name="csX114" fmla="*/ 489213 w 732037"/>
              <a:gd name="csY114" fmla="*/ 208238 h 1571603"/>
              <a:gd name="csX115" fmla="*/ 476520 w 732037"/>
              <a:gd name="csY115" fmla="*/ 235738 h 1571603"/>
              <a:gd name="csX116" fmla="*/ 472850 w 732037"/>
              <a:gd name="csY116" fmla="*/ 230703 h 1571603"/>
              <a:gd name="csX117" fmla="*/ 482723 w 732037"/>
              <a:gd name="csY117" fmla="*/ 208315 h 1571603"/>
              <a:gd name="csX118" fmla="*/ 480764 w 732037"/>
              <a:gd name="csY118" fmla="*/ 187916 h 1571603"/>
              <a:gd name="csX119" fmla="*/ 408519 w 732037"/>
              <a:gd name="csY119" fmla="*/ 105475 h 1571603"/>
              <a:gd name="csX120" fmla="*/ 408625 w 732037"/>
              <a:gd name="csY120" fmla="*/ 89203 h 1571603"/>
              <a:gd name="csX121" fmla="*/ 419600 w 732037"/>
              <a:gd name="csY121" fmla="*/ 71648 h 1571603"/>
              <a:gd name="csX122" fmla="*/ 418792 w 732037"/>
              <a:gd name="csY122" fmla="*/ 63179 h 1571603"/>
              <a:gd name="csX123" fmla="*/ 410943 w 732037"/>
              <a:gd name="csY123" fmla="*/ 66417 h 1571603"/>
              <a:gd name="csX124" fmla="*/ 400140 w 732037"/>
              <a:gd name="csY124" fmla="*/ 76155 h 1571603"/>
              <a:gd name="csX125" fmla="*/ 360599 w 732037"/>
              <a:gd name="csY125" fmla="*/ 51379 h 1571603"/>
              <a:gd name="csX126" fmla="*/ 360842 w 732037"/>
              <a:gd name="csY126" fmla="*/ 39128 h 1571603"/>
              <a:gd name="csX127" fmla="*/ 369470 w 732037"/>
              <a:gd name="csY127" fmla="*/ 30960 h 1571603"/>
              <a:gd name="csX128" fmla="*/ 365613 w 732037"/>
              <a:gd name="csY128" fmla="*/ 49108 h 1571603"/>
              <a:gd name="csX129" fmla="*/ 389468 w 732037"/>
              <a:gd name="csY129" fmla="*/ 71608 h 1571603"/>
              <a:gd name="csX130" fmla="*/ 408822 w 732037"/>
              <a:gd name="csY130" fmla="*/ 46613 h 1571603"/>
              <a:gd name="csX131" fmla="*/ 406842 w 732037"/>
              <a:gd name="csY131" fmla="*/ 38347 h 157160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</a:cxnLst>
            <a:rect l="l" t="t" r="r" b="b"/>
            <a:pathLst>
              <a:path w="732037" h="1571603">
                <a:moveTo>
                  <a:pt x="406842" y="38347"/>
                </a:moveTo>
                <a:cubicBezTo>
                  <a:pt x="408555" y="35869"/>
                  <a:pt x="410622" y="34608"/>
                  <a:pt x="411944" y="38343"/>
                </a:cubicBezTo>
                <a:cubicBezTo>
                  <a:pt x="413676" y="43242"/>
                  <a:pt x="414797" y="48356"/>
                  <a:pt x="416198" y="53444"/>
                </a:cubicBezTo>
                <a:cubicBezTo>
                  <a:pt x="422922" y="48977"/>
                  <a:pt x="424340" y="41699"/>
                  <a:pt x="418945" y="34170"/>
                </a:cubicBezTo>
                <a:cubicBezTo>
                  <a:pt x="412483" y="25152"/>
                  <a:pt x="404444" y="17554"/>
                  <a:pt x="394077" y="12943"/>
                </a:cubicBezTo>
                <a:cubicBezTo>
                  <a:pt x="376702" y="5216"/>
                  <a:pt x="358713" y="6244"/>
                  <a:pt x="341415" y="11814"/>
                </a:cubicBezTo>
                <a:cubicBezTo>
                  <a:pt x="323675" y="17525"/>
                  <a:pt x="304459" y="39816"/>
                  <a:pt x="309440" y="65249"/>
                </a:cubicBezTo>
                <a:cubicBezTo>
                  <a:pt x="310868" y="72543"/>
                  <a:pt x="315482" y="79463"/>
                  <a:pt x="319632" y="85914"/>
                </a:cubicBezTo>
                <a:cubicBezTo>
                  <a:pt x="325434" y="94933"/>
                  <a:pt x="325800" y="102817"/>
                  <a:pt x="318632" y="110015"/>
                </a:cubicBezTo>
                <a:cubicBezTo>
                  <a:pt x="291775" y="136984"/>
                  <a:pt x="269594" y="167702"/>
                  <a:pt x="246921" y="198083"/>
                </a:cubicBezTo>
                <a:cubicBezTo>
                  <a:pt x="230003" y="220751"/>
                  <a:pt x="215685" y="244921"/>
                  <a:pt x="202660" y="269911"/>
                </a:cubicBezTo>
                <a:cubicBezTo>
                  <a:pt x="188381" y="297309"/>
                  <a:pt x="179513" y="326657"/>
                  <a:pt x="176707" y="357233"/>
                </a:cubicBezTo>
                <a:cubicBezTo>
                  <a:pt x="174106" y="385578"/>
                  <a:pt x="180131" y="413140"/>
                  <a:pt x="190612" y="439700"/>
                </a:cubicBezTo>
                <a:cubicBezTo>
                  <a:pt x="199946" y="463353"/>
                  <a:pt x="211538" y="485623"/>
                  <a:pt x="227544" y="505527"/>
                </a:cubicBezTo>
                <a:cubicBezTo>
                  <a:pt x="229982" y="508558"/>
                  <a:pt x="230954" y="512768"/>
                  <a:pt x="232541" y="516294"/>
                </a:cubicBezTo>
                <a:cubicBezTo>
                  <a:pt x="229578" y="520824"/>
                  <a:pt x="226658" y="524724"/>
                  <a:pt x="224356" y="528960"/>
                </a:cubicBezTo>
                <a:cubicBezTo>
                  <a:pt x="221823" y="533618"/>
                  <a:pt x="222675" y="537588"/>
                  <a:pt x="227944" y="540026"/>
                </a:cubicBezTo>
                <a:cubicBezTo>
                  <a:pt x="231656" y="541743"/>
                  <a:pt x="235331" y="543568"/>
                  <a:pt x="238897" y="545570"/>
                </a:cubicBezTo>
                <a:cubicBezTo>
                  <a:pt x="249613" y="551585"/>
                  <a:pt x="251795" y="563681"/>
                  <a:pt x="242386" y="571785"/>
                </a:cubicBezTo>
                <a:cubicBezTo>
                  <a:pt x="233816" y="579166"/>
                  <a:pt x="224045" y="585423"/>
                  <a:pt x="214067" y="590809"/>
                </a:cubicBezTo>
                <a:cubicBezTo>
                  <a:pt x="206271" y="595018"/>
                  <a:pt x="202051" y="601487"/>
                  <a:pt x="201355" y="609067"/>
                </a:cubicBezTo>
                <a:cubicBezTo>
                  <a:pt x="200489" y="618497"/>
                  <a:pt x="195720" y="623726"/>
                  <a:pt x="188474" y="628398"/>
                </a:cubicBezTo>
                <a:cubicBezTo>
                  <a:pt x="177332" y="635582"/>
                  <a:pt x="167866" y="644503"/>
                  <a:pt x="162658" y="657096"/>
                </a:cubicBezTo>
                <a:cubicBezTo>
                  <a:pt x="156420" y="672181"/>
                  <a:pt x="160439" y="684301"/>
                  <a:pt x="175395" y="691621"/>
                </a:cubicBezTo>
                <a:cubicBezTo>
                  <a:pt x="183722" y="695697"/>
                  <a:pt x="192859" y="698589"/>
                  <a:pt x="201948" y="700523"/>
                </a:cubicBezTo>
                <a:cubicBezTo>
                  <a:pt x="214634" y="703224"/>
                  <a:pt x="227616" y="704530"/>
                  <a:pt x="241426" y="706574"/>
                </a:cubicBezTo>
                <a:cubicBezTo>
                  <a:pt x="241839" y="709770"/>
                  <a:pt x="242576" y="712857"/>
                  <a:pt x="242586" y="715946"/>
                </a:cubicBezTo>
                <a:cubicBezTo>
                  <a:pt x="242672" y="744610"/>
                  <a:pt x="243133" y="773285"/>
                  <a:pt x="242424" y="801932"/>
                </a:cubicBezTo>
                <a:cubicBezTo>
                  <a:pt x="242053" y="816907"/>
                  <a:pt x="239631" y="831838"/>
                  <a:pt x="238000" y="846774"/>
                </a:cubicBezTo>
                <a:cubicBezTo>
                  <a:pt x="236368" y="861717"/>
                  <a:pt x="234927" y="876693"/>
                  <a:pt x="232752" y="891559"/>
                </a:cubicBezTo>
                <a:cubicBezTo>
                  <a:pt x="229873" y="911238"/>
                  <a:pt x="226675" y="930882"/>
                  <a:pt x="223037" y="950433"/>
                </a:cubicBezTo>
                <a:cubicBezTo>
                  <a:pt x="219173" y="971193"/>
                  <a:pt x="215113" y="991942"/>
                  <a:pt x="210247" y="1012485"/>
                </a:cubicBezTo>
                <a:cubicBezTo>
                  <a:pt x="205743" y="1031500"/>
                  <a:pt x="200395" y="1050337"/>
                  <a:pt x="194820" y="1069074"/>
                </a:cubicBezTo>
                <a:cubicBezTo>
                  <a:pt x="185401" y="1100731"/>
                  <a:pt x="175708" y="1132311"/>
                  <a:pt x="165707" y="1163788"/>
                </a:cubicBezTo>
                <a:cubicBezTo>
                  <a:pt x="162367" y="1174302"/>
                  <a:pt x="156145" y="1182634"/>
                  <a:pt x="144382" y="1185530"/>
                </a:cubicBezTo>
                <a:cubicBezTo>
                  <a:pt x="139281" y="1186787"/>
                  <a:pt x="134434" y="1189193"/>
                  <a:pt x="129590" y="1191342"/>
                </a:cubicBezTo>
                <a:cubicBezTo>
                  <a:pt x="120028" y="1195581"/>
                  <a:pt x="118779" y="1198539"/>
                  <a:pt x="122255" y="1208476"/>
                </a:cubicBezTo>
                <a:cubicBezTo>
                  <a:pt x="123870" y="1213094"/>
                  <a:pt x="125990" y="1217542"/>
                  <a:pt x="127491" y="1222193"/>
                </a:cubicBezTo>
                <a:cubicBezTo>
                  <a:pt x="132294" y="1237066"/>
                  <a:pt x="129961" y="1250353"/>
                  <a:pt x="118348" y="1261470"/>
                </a:cubicBezTo>
                <a:cubicBezTo>
                  <a:pt x="98275" y="1280686"/>
                  <a:pt x="78038" y="1299737"/>
                  <a:pt x="58232" y="1319224"/>
                </a:cubicBezTo>
                <a:cubicBezTo>
                  <a:pt x="38634" y="1338507"/>
                  <a:pt x="29913" y="1362564"/>
                  <a:pt x="28815" y="1389717"/>
                </a:cubicBezTo>
                <a:cubicBezTo>
                  <a:pt x="28318" y="1402031"/>
                  <a:pt x="29110" y="1414206"/>
                  <a:pt x="32634" y="1426050"/>
                </a:cubicBezTo>
                <a:cubicBezTo>
                  <a:pt x="34273" y="1431554"/>
                  <a:pt x="33300" y="1435929"/>
                  <a:pt x="30331" y="1441003"/>
                </a:cubicBezTo>
                <a:cubicBezTo>
                  <a:pt x="16698" y="1464298"/>
                  <a:pt x="8890" y="1489397"/>
                  <a:pt x="9180" y="1516655"/>
                </a:cubicBezTo>
                <a:cubicBezTo>
                  <a:pt x="9291" y="1527012"/>
                  <a:pt x="9917" y="1528771"/>
                  <a:pt x="20082" y="1531402"/>
                </a:cubicBezTo>
                <a:cubicBezTo>
                  <a:pt x="38179" y="1536086"/>
                  <a:pt x="56480" y="1540035"/>
                  <a:pt x="74798" y="1543794"/>
                </a:cubicBezTo>
                <a:cubicBezTo>
                  <a:pt x="87517" y="1546403"/>
                  <a:pt x="100396" y="1548250"/>
                  <a:pt x="113225" y="1550305"/>
                </a:cubicBezTo>
                <a:cubicBezTo>
                  <a:pt x="120841" y="1551524"/>
                  <a:pt x="128467" y="1552843"/>
                  <a:pt x="136142" y="1553484"/>
                </a:cubicBezTo>
                <a:cubicBezTo>
                  <a:pt x="149934" y="1554635"/>
                  <a:pt x="163778" y="1555156"/>
                  <a:pt x="177578" y="1556220"/>
                </a:cubicBezTo>
                <a:cubicBezTo>
                  <a:pt x="195403" y="1557595"/>
                  <a:pt x="213196" y="1559407"/>
                  <a:pt x="231027" y="1560698"/>
                </a:cubicBezTo>
                <a:cubicBezTo>
                  <a:pt x="238768" y="1561259"/>
                  <a:pt x="246585" y="1560709"/>
                  <a:pt x="254342" y="1561142"/>
                </a:cubicBezTo>
                <a:cubicBezTo>
                  <a:pt x="322588" y="1564942"/>
                  <a:pt x="390896" y="1563427"/>
                  <a:pt x="459180" y="1563411"/>
                </a:cubicBezTo>
                <a:cubicBezTo>
                  <a:pt x="483236" y="1563406"/>
                  <a:pt x="507311" y="1562248"/>
                  <a:pt x="531340" y="1560936"/>
                </a:cubicBezTo>
                <a:cubicBezTo>
                  <a:pt x="551225" y="1559849"/>
                  <a:pt x="571160" y="1558554"/>
                  <a:pt x="590888" y="1555951"/>
                </a:cubicBezTo>
                <a:cubicBezTo>
                  <a:pt x="631179" y="1550635"/>
                  <a:pt x="671338" y="1544328"/>
                  <a:pt x="710712" y="1533916"/>
                </a:cubicBezTo>
                <a:cubicBezTo>
                  <a:pt x="722630" y="1530764"/>
                  <a:pt x="724036" y="1528558"/>
                  <a:pt x="724356" y="1516144"/>
                </a:cubicBezTo>
                <a:cubicBezTo>
                  <a:pt x="724970" y="1492256"/>
                  <a:pt x="718637" y="1470245"/>
                  <a:pt x="707380" y="1449380"/>
                </a:cubicBezTo>
                <a:cubicBezTo>
                  <a:pt x="706259" y="1447304"/>
                  <a:pt x="706896" y="1444279"/>
                  <a:pt x="707050" y="1440881"/>
                </a:cubicBezTo>
                <a:cubicBezTo>
                  <a:pt x="722747" y="1457101"/>
                  <a:pt x="728653" y="1477963"/>
                  <a:pt x="731479" y="1500017"/>
                </a:cubicBezTo>
                <a:cubicBezTo>
                  <a:pt x="731992" y="1504029"/>
                  <a:pt x="731781" y="1508135"/>
                  <a:pt x="731163" y="1513759"/>
                </a:cubicBezTo>
                <a:cubicBezTo>
                  <a:pt x="730831" y="1517468"/>
                  <a:pt x="731241" y="1519618"/>
                  <a:pt x="731650" y="1521766"/>
                </a:cubicBezTo>
                <a:cubicBezTo>
                  <a:pt x="733191" y="1529956"/>
                  <a:pt x="730165" y="1535242"/>
                  <a:pt x="721896" y="1537319"/>
                </a:cubicBezTo>
                <a:cubicBezTo>
                  <a:pt x="700520" y="1542690"/>
                  <a:pt x="679367" y="1549248"/>
                  <a:pt x="657740" y="1553265"/>
                </a:cubicBezTo>
                <a:cubicBezTo>
                  <a:pt x="608220" y="1562464"/>
                  <a:pt x="558146" y="1566701"/>
                  <a:pt x="507791" y="1568943"/>
                </a:cubicBezTo>
                <a:cubicBezTo>
                  <a:pt x="426738" y="1572552"/>
                  <a:pt x="345677" y="1572161"/>
                  <a:pt x="264676" y="1569724"/>
                </a:cubicBezTo>
                <a:cubicBezTo>
                  <a:pt x="203800" y="1567891"/>
                  <a:pt x="142882" y="1563907"/>
                  <a:pt x="82743" y="1553254"/>
                </a:cubicBezTo>
                <a:cubicBezTo>
                  <a:pt x="60647" y="1549341"/>
                  <a:pt x="38739" y="1544032"/>
                  <a:pt x="17072" y="1538153"/>
                </a:cubicBezTo>
                <a:cubicBezTo>
                  <a:pt x="1381" y="1533894"/>
                  <a:pt x="-938" y="1529341"/>
                  <a:pt x="275" y="1513030"/>
                </a:cubicBezTo>
                <a:cubicBezTo>
                  <a:pt x="2146" y="1487871"/>
                  <a:pt x="7321" y="1463566"/>
                  <a:pt x="20923" y="1441861"/>
                </a:cubicBezTo>
                <a:cubicBezTo>
                  <a:pt x="24812" y="1435656"/>
                  <a:pt x="24566" y="1429699"/>
                  <a:pt x="23045" y="1423105"/>
                </a:cubicBezTo>
                <a:cubicBezTo>
                  <a:pt x="16952" y="1396684"/>
                  <a:pt x="19689" y="1370924"/>
                  <a:pt x="30564" y="1346289"/>
                </a:cubicBezTo>
                <a:cubicBezTo>
                  <a:pt x="39621" y="1325774"/>
                  <a:pt x="54481" y="1309709"/>
                  <a:pt x="71350" y="1295039"/>
                </a:cubicBezTo>
                <a:cubicBezTo>
                  <a:pt x="85712" y="1282550"/>
                  <a:pt x="99164" y="1268932"/>
                  <a:pt x="112257" y="1255093"/>
                </a:cubicBezTo>
                <a:cubicBezTo>
                  <a:pt x="122891" y="1243852"/>
                  <a:pt x="124955" y="1230879"/>
                  <a:pt x="115864" y="1217271"/>
                </a:cubicBezTo>
                <a:cubicBezTo>
                  <a:pt x="114506" y="1215239"/>
                  <a:pt x="113304" y="1213078"/>
                  <a:pt x="112256" y="1210870"/>
                </a:cubicBezTo>
                <a:cubicBezTo>
                  <a:pt x="106526" y="1198808"/>
                  <a:pt x="109052" y="1191969"/>
                  <a:pt x="121141" y="1186548"/>
                </a:cubicBezTo>
                <a:cubicBezTo>
                  <a:pt x="126274" y="1184246"/>
                  <a:pt x="131201" y="1180803"/>
                  <a:pt x="136571" y="1179850"/>
                </a:cubicBezTo>
                <a:cubicBezTo>
                  <a:pt x="149372" y="1177579"/>
                  <a:pt x="154892" y="1168948"/>
                  <a:pt x="158281" y="1157879"/>
                </a:cubicBezTo>
                <a:cubicBezTo>
                  <a:pt x="168288" y="1125194"/>
                  <a:pt x="179178" y="1092742"/>
                  <a:pt x="187986" y="1059736"/>
                </a:cubicBezTo>
                <a:cubicBezTo>
                  <a:pt x="198666" y="1019713"/>
                  <a:pt x="207813" y="979272"/>
                  <a:pt x="217119" y="938896"/>
                </a:cubicBezTo>
                <a:cubicBezTo>
                  <a:pt x="220491" y="924267"/>
                  <a:pt x="222410" y="909302"/>
                  <a:pt x="225792" y="893236"/>
                </a:cubicBezTo>
                <a:cubicBezTo>
                  <a:pt x="226444" y="890644"/>
                  <a:pt x="226297" y="889307"/>
                  <a:pt x="226150" y="887970"/>
                </a:cubicBezTo>
                <a:cubicBezTo>
                  <a:pt x="227450" y="877085"/>
                  <a:pt x="228750" y="866198"/>
                  <a:pt x="230782" y="853969"/>
                </a:cubicBezTo>
                <a:cubicBezTo>
                  <a:pt x="231271" y="851270"/>
                  <a:pt x="231029" y="849914"/>
                  <a:pt x="230786" y="848558"/>
                </a:cubicBezTo>
                <a:cubicBezTo>
                  <a:pt x="231390" y="840967"/>
                  <a:pt x="231993" y="833375"/>
                  <a:pt x="233315" y="824438"/>
                </a:cubicBezTo>
                <a:cubicBezTo>
                  <a:pt x="233755" y="821744"/>
                  <a:pt x="233477" y="820397"/>
                  <a:pt x="233199" y="819050"/>
                </a:cubicBezTo>
                <a:cubicBezTo>
                  <a:pt x="233786" y="807422"/>
                  <a:pt x="234374" y="795794"/>
                  <a:pt x="235848" y="782380"/>
                </a:cubicBezTo>
                <a:cubicBezTo>
                  <a:pt x="237047" y="760099"/>
                  <a:pt x="237488" y="739606"/>
                  <a:pt x="237465" y="719113"/>
                </a:cubicBezTo>
                <a:cubicBezTo>
                  <a:pt x="237463" y="717127"/>
                  <a:pt x="234595" y="715144"/>
                  <a:pt x="233057" y="713160"/>
                </a:cubicBezTo>
                <a:cubicBezTo>
                  <a:pt x="223043" y="711630"/>
                  <a:pt x="212881" y="710731"/>
                  <a:pt x="203056" y="708405"/>
                </a:cubicBezTo>
                <a:cubicBezTo>
                  <a:pt x="191716" y="705720"/>
                  <a:pt x="180144" y="702931"/>
                  <a:pt x="169628" y="698106"/>
                </a:cubicBezTo>
                <a:cubicBezTo>
                  <a:pt x="154505" y="691164"/>
                  <a:pt x="148867" y="675179"/>
                  <a:pt x="153237" y="659111"/>
                </a:cubicBezTo>
                <a:cubicBezTo>
                  <a:pt x="157196" y="644561"/>
                  <a:pt x="166649" y="634454"/>
                  <a:pt x="178365" y="626008"/>
                </a:cubicBezTo>
                <a:cubicBezTo>
                  <a:pt x="182258" y="623202"/>
                  <a:pt x="186579" y="620992"/>
                  <a:pt x="191885" y="617513"/>
                </a:cubicBezTo>
                <a:cubicBezTo>
                  <a:pt x="194882" y="614532"/>
                  <a:pt x="197062" y="612583"/>
                  <a:pt x="193681" y="610098"/>
                </a:cubicBezTo>
                <a:cubicBezTo>
                  <a:pt x="193381" y="595591"/>
                  <a:pt x="202034" y="586776"/>
                  <a:pt x="213301" y="579885"/>
                </a:cubicBezTo>
                <a:cubicBezTo>
                  <a:pt x="218517" y="576695"/>
                  <a:pt x="224270" y="574393"/>
                  <a:pt x="229635" y="571429"/>
                </a:cubicBezTo>
                <a:cubicBezTo>
                  <a:pt x="232401" y="569901"/>
                  <a:pt x="235344" y="568225"/>
                  <a:pt x="237351" y="565882"/>
                </a:cubicBezTo>
                <a:cubicBezTo>
                  <a:pt x="243193" y="559063"/>
                  <a:pt x="242021" y="554779"/>
                  <a:pt x="233673" y="550926"/>
                </a:cubicBezTo>
                <a:cubicBezTo>
                  <a:pt x="231458" y="549904"/>
                  <a:pt x="229049" y="549314"/>
                  <a:pt x="226799" y="548359"/>
                </a:cubicBezTo>
                <a:cubicBezTo>
                  <a:pt x="215108" y="543398"/>
                  <a:pt x="211118" y="532802"/>
                  <a:pt x="218639" y="522664"/>
                </a:cubicBezTo>
                <a:cubicBezTo>
                  <a:pt x="223647" y="515913"/>
                  <a:pt x="222661" y="511633"/>
                  <a:pt x="218264" y="505463"/>
                </a:cubicBezTo>
                <a:cubicBezTo>
                  <a:pt x="203255" y="484407"/>
                  <a:pt x="190650" y="461993"/>
                  <a:pt x="181762" y="437574"/>
                </a:cubicBezTo>
                <a:cubicBezTo>
                  <a:pt x="163530" y="387483"/>
                  <a:pt x="165826" y="338057"/>
                  <a:pt x="185971" y="289069"/>
                </a:cubicBezTo>
                <a:cubicBezTo>
                  <a:pt x="202921" y="247851"/>
                  <a:pt x="226229" y="210377"/>
                  <a:pt x="253787" y="175580"/>
                </a:cubicBezTo>
                <a:cubicBezTo>
                  <a:pt x="271814" y="152817"/>
                  <a:pt x="290973" y="130951"/>
                  <a:pt x="309639" y="108695"/>
                </a:cubicBezTo>
                <a:cubicBezTo>
                  <a:pt x="312744" y="104993"/>
                  <a:pt x="315922" y="101352"/>
                  <a:pt x="318061" y="98855"/>
                </a:cubicBezTo>
                <a:cubicBezTo>
                  <a:pt x="313257" y="88362"/>
                  <a:pt x="308695" y="79376"/>
                  <a:pt x="304967" y="70056"/>
                </a:cubicBezTo>
                <a:cubicBezTo>
                  <a:pt x="297146" y="50504"/>
                  <a:pt x="303366" y="33481"/>
                  <a:pt x="317012" y="19436"/>
                </a:cubicBezTo>
                <a:cubicBezTo>
                  <a:pt x="344741" y="-9105"/>
                  <a:pt x="393463" y="-3345"/>
                  <a:pt x="415542" y="18221"/>
                </a:cubicBezTo>
                <a:cubicBezTo>
                  <a:pt x="429559" y="31914"/>
                  <a:pt x="438373" y="56968"/>
                  <a:pt x="423203" y="82660"/>
                </a:cubicBezTo>
                <a:cubicBezTo>
                  <a:pt x="420306" y="87568"/>
                  <a:pt x="417047" y="92262"/>
                  <a:pt x="413361" y="97975"/>
                </a:cubicBezTo>
                <a:cubicBezTo>
                  <a:pt x="416167" y="100932"/>
                  <a:pt x="418781" y="103940"/>
                  <a:pt x="421654" y="106676"/>
                </a:cubicBezTo>
                <a:cubicBezTo>
                  <a:pt x="446372" y="130213"/>
                  <a:pt x="467902" y="156374"/>
                  <a:pt x="487032" y="184632"/>
                </a:cubicBezTo>
                <a:cubicBezTo>
                  <a:pt x="492374" y="192525"/>
                  <a:pt x="493990" y="199495"/>
                  <a:pt x="489213" y="208238"/>
                </a:cubicBezTo>
                <a:cubicBezTo>
                  <a:pt x="484525" y="216819"/>
                  <a:pt x="481033" y="226053"/>
                  <a:pt x="476520" y="235738"/>
                </a:cubicBezTo>
                <a:cubicBezTo>
                  <a:pt x="472168" y="236089"/>
                  <a:pt x="471165" y="234358"/>
                  <a:pt x="472850" y="230703"/>
                </a:cubicBezTo>
                <a:cubicBezTo>
                  <a:pt x="476263" y="223297"/>
                  <a:pt x="479344" y="215738"/>
                  <a:pt x="482723" y="208315"/>
                </a:cubicBezTo>
                <a:cubicBezTo>
                  <a:pt x="486016" y="201080"/>
                  <a:pt x="485571" y="194961"/>
                  <a:pt x="480764" y="187916"/>
                </a:cubicBezTo>
                <a:cubicBezTo>
                  <a:pt x="459995" y="157475"/>
                  <a:pt x="437234" y="128912"/>
                  <a:pt x="408519" y="105475"/>
                </a:cubicBezTo>
                <a:cubicBezTo>
                  <a:pt x="403555" y="101425"/>
                  <a:pt x="403835" y="96489"/>
                  <a:pt x="408625" y="89203"/>
                </a:cubicBezTo>
                <a:cubicBezTo>
                  <a:pt x="412416" y="83438"/>
                  <a:pt x="416045" y="77562"/>
                  <a:pt x="419600" y="71648"/>
                </a:cubicBezTo>
                <a:cubicBezTo>
                  <a:pt x="421349" y="68739"/>
                  <a:pt x="422717" y="65537"/>
                  <a:pt x="418792" y="63179"/>
                </a:cubicBezTo>
                <a:cubicBezTo>
                  <a:pt x="414834" y="60801"/>
                  <a:pt x="413218" y="63883"/>
                  <a:pt x="410943" y="66417"/>
                </a:cubicBezTo>
                <a:cubicBezTo>
                  <a:pt x="407706" y="70022"/>
                  <a:pt x="404330" y="74045"/>
                  <a:pt x="400140" y="76155"/>
                </a:cubicBezTo>
                <a:cubicBezTo>
                  <a:pt x="381561" y="85507"/>
                  <a:pt x="360821" y="72312"/>
                  <a:pt x="360599" y="51379"/>
                </a:cubicBezTo>
                <a:cubicBezTo>
                  <a:pt x="360556" y="47292"/>
                  <a:pt x="360308" y="43152"/>
                  <a:pt x="360842" y="39128"/>
                </a:cubicBezTo>
                <a:cubicBezTo>
                  <a:pt x="361447" y="34568"/>
                  <a:pt x="362880" y="30159"/>
                  <a:pt x="369470" y="30960"/>
                </a:cubicBezTo>
                <a:cubicBezTo>
                  <a:pt x="368501" y="37551"/>
                  <a:pt x="365745" y="43300"/>
                  <a:pt x="365613" y="49108"/>
                </a:cubicBezTo>
                <a:cubicBezTo>
                  <a:pt x="365328" y="61659"/>
                  <a:pt x="377498" y="72522"/>
                  <a:pt x="389468" y="71608"/>
                </a:cubicBezTo>
                <a:cubicBezTo>
                  <a:pt x="401478" y="70690"/>
                  <a:pt x="410127" y="59637"/>
                  <a:pt x="408822" y="46613"/>
                </a:cubicBezTo>
                <a:cubicBezTo>
                  <a:pt x="408542" y="43819"/>
                  <a:pt x="407521" y="41100"/>
                  <a:pt x="406842" y="38347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99" name="Free-form: Shape 398">
            <a:extLst>
              <a:ext uri="{FF2B5EF4-FFF2-40B4-BE49-F238E27FC236}">
                <a16:creationId xmlns:a16="http://schemas.microsoft.com/office/drawing/2014/main" id="{642116B2-C8AD-BECC-23B1-F1B2E4A32C11}"/>
              </a:ext>
            </a:extLst>
          </p:cNvPr>
          <p:cNvSpPr/>
          <p:nvPr/>
        </p:nvSpPr>
        <p:spPr>
          <a:xfrm>
            <a:off x="7893655" y="5526794"/>
            <a:ext cx="91545" cy="184495"/>
          </a:xfrm>
          <a:custGeom>
            <a:avLst/>
            <a:gdLst>
              <a:gd name="csX0" fmla="*/ 96534 w 100699"/>
              <a:gd name="csY0" fmla="*/ 202912 h 202945"/>
              <a:gd name="csX1" fmla="*/ 91036 w 100699"/>
              <a:gd name="csY1" fmla="*/ 196780 h 202945"/>
              <a:gd name="csX2" fmla="*/ 93357 w 100699"/>
              <a:gd name="csY2" fmla="*/ 178731 h 202945"/>
              <a:gd name="csX3" fmla="*/ 75903 w 100699"/>
              <a:gd name="csY3" fmla="*/ 106029 h 202945"/>
              <a:gd name="csX4" fmla="*/ 72780 w 100699"/>
              <a:gd name="csY4" fmla="*/ 102473 h 202945"/>
              <a:gd name="csX5" fmla="*/ 10982 w 100699"/>
              <a:gd name="csY5" fmla="*/ 41414 h 202945"/>
              <a:gd name="csX6" fmla="*/ 676 w 100699"/>
              <a:gd name="csY6" fmla="*/ 2936 h 202945"/>
              <a:gd name="csX7" fmla="*/ 5198 w 100699"/>
              <a:gd name="csY7" fmla="*/ 0 h 202945"/>
              <a:gd name="csX8" fmla="*/ 15435 w 100699"/>
              <a:gd name="csY8" fmla="*/ 35855 h 202945"/>
              <a:gd name="csX9" fmla="*/ 44498 w 100699"/>
              <a:gd name="csY9" fmla="*/ 63833 h 202945"/>
              <a:gd name="csX10" fmla="*/ 81385 w 100699"/>
              <a:gd name="csY10" fmla="*/ 106005 h 202945"/>
              <a:gd name="csX11" fmla="*/ 98950 w 100699"/>
              <a:gd name="csY11" fmla="*/ 190063 h 202945"/>
              <a:gd name="csX12" fmla="*/ 96534 w 100699"/>
              <a:gd name="csY12" fmla="*/ 202912 h 20294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</a:cxnLst>
            <a:rect l="l" t="t" r="r" b="b"/>
            <a:pathLst>
              <a:path w="100699" h="202945">
                <a:moveTo>
                  <a:pt x="96534" y="202912"/>
                </a:moveTo>
                <a:cubicBezTo>
                  <a:pt x="91699" y="203291"/>
                  <a:pt x="90650" y="200377"/>
                  <a:pt x="91036" y="196780"/>
                </a:cubicBezTo>
                <a:cubicBezTo>
                  <a:pt x="91685" y="190750"/>
                  <a:pt x="92933" y="184771"/>
                  <a:pt x="93357" y="178731"/>
                </a:cubicBezTo>
                <a:cubicBezTo>
                  <a:pt x="95183" y="152694"/>
                  <a:pt x="86034" y="129222"/>
                  <a:pt x="75903" y="106029"/>
                </a:cubicBezTo>
                <a:cubicBezTo>
                  <a:pt x="75300" y="104650"/>
                  <a:pt x="73904" y="103585"/>
                  <a:pt x="72780" y="102473"/>
                </a:cubicBezTo>
                <a:cubicBezTo>
                  <a:pt x="52199" y="82101"/>
                  <a:pt x="31673" y="61673"/>
                  <a:pt x="10982" y="41414"/>
                </a:cubicBezTo>
                <a:cubicBezTo>
                  <a:pt x="-119" y="30544"/>
                  <a:pt x="-1041" y="17093"/>
                  <a:pt x="676" y="2936"/>
                </a:cubicBezTo>
                <a:cubicBezTo>
                  <a:pt x="808" y="1852"/>
                  <a:pt x="2922" y="1010"/>
                  <a:pt x="5198" y="0"/>
                </a:cubicBezTo>
                <a:cubicBezTo>
                  <a:pt x="2043" y="13772"/>
                  <a:pt x="5665" y="25821"/>
                  <a:pt x="15435" y="35855"/>
                </a:cubicBezTo>
                <a:cubicBezTo>
                  <a:pt x="24811" y="45486"/>
                  <a:pt x="35301" y="54047"/>
                  <a:pt x="44498" y="63833"/>
                </a:cubicBezTo>
                <a:cubicBezTo>
                  <a:pt x="57293" y="77447"/>
                  <a:pt x="70760" y="90773"/>
                  <a:pt x="81385" y="106005"/>
                </a:cubicBezTo>
                <a:cubicBezTo>
                  <a:pt x="98896" y="131109"/>
                  <a:pt x="103759" y="159808"/>
                  <a:pt x="98950" y="190063"/>
                </a:cubicBezTo>
                <a:cubicBezTo>
                  <a:pt x="98311" y="194082"/>
                  <a:pt x="97697" y="198105"/>
                  <a:pt x="96534" y="202912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0" name="Free-form: Shape 399">
            <a:extLst>
              <a:ext uri="{FF2B5EF4-FFF2-40B4-BE49-F238E27FC236}">
                <a16:creationId xmlns:a16="http://schemas.microsoft.com/office/drawing/2014/main" id="{26F01548-A853-971A-3F73-EB34192AACE1}"/>
              </a:ext>
            </a:extLst>
          </p:cNvPr>
          <p:cNvSpPr/>
          <p:nvPr/>
        </p:nvSpPr>
        <p:spPr>
          <a:xfrm>
            <a:off x="7552370" y="5062758"/>
            <a:ext cx="3739" cy="60936"/>
          </a:xfrm>
          <a:custGeom>
            <a:avLst/>
            <a:gdLst>
              <a:gd name="csX0" fmla="*/ 0 w 4113"/>
              <a:gd name="csY0" fmla="*/ 0 h 67029"/>
              <a:gd name="csX1" fmla="*/ 4113 w 4113"/>
              <a:gd name="csY1" fmla="*/ 4824 h 67029"/>
              <a:gd name="csX2" fmla="*/ 2662 w 4113"/>
              <a:gd name="csY2" fmla="*/ 67030 h 67029"/>
              <a:gd name="csX3" fmla="*/ 631 w 4113"/>
              <a:gd name="csY3" fmla="*/ 55883 h 67029"/>
              <a:gd name="csX4" fmla="*/ 0 w 4113"/>
              <a:gd name="csY4" fmla="*/ 0 h 6702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4113" h="67029">
                <a:moveTo>
                  <a:pt x="0" y="0"/>
                </a:moveTo>
                <a:cubicBezTo>
                  <a:pt x="1242" y="855"/>
                  <a:pt x="4111" y="2838"/>
                  <a:pt x="4113" y="4824"/>
                </a:cubicBezTo>
                <a:cubicBezTo>
                  <a:pt x="4135" y="25317"/>
                  <a:pt x="3695" y="45810"/>
                  <a:pt x="2662" y="67030"/>
                </a:cubicBezTo>
                <a:cubicBezTo>
                  <a:pt x="1483" y="63799"/>
                  <a:pt x="680" y="59846"/>
                  <a:pt x="631" y="55883"/>
                </a:cubicBezTo>
                <a:cubicBezTo>
                  <a:pt x="404" y="37633"/>
                  <a:pt x="388" y="19381"/>
                  <a:pt x="0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1" name="Free-form: Shape 400">
            <a:extLst>
              <a:ext uri="{FF2B5EF4-FFF2-40B4-BE49-F238E27FC236}">
                <a16:creationId xmlns:a16="http://schemas.microsoft.com/office/drawing/2014/main" id="{402F9E97-B1D3-3EC4-0F52-646E89E494EA}"/>
              </a:ext>
            </a:extLst>
          </p:cNvPr>
          <p:cNvSpPr/>
          <p:nvPr/>
        </p:nvSpPr>
        <p:spPr>
          <a:xfrm>
            <a:off x="8004760" y="5790558"/>
            <a:ext cx="1060" cy="5803"/>
          </a:xfrm>
          <a:custGeom>
            <a:avLst/>
            <a:gdLst>
              <a:gd name="csX0" fmla="*/ 1130 w 1165"/>
              <a:gd name="csY0" fmla="*/ 6385 h 6384"/>
              <a:gd name="csX1" fmla="*/ 49 w 1165"/>
              <a:gd name="csY1" fmla="*/ 0 h 6384"/>
              <a:gd name="csX2" fmla="*/ 1130 w 1165"/>
              <a:gd name="csY2" fmla="*/ 6385 h 638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165" h="6384">
                <a:moveTo>
                  <a:pt x="1130" y="6385"/>
                </a:moveTo>
                <a:cubicBezTo>
                  <a:pt x="260" y="4748"/>
                  <a:pt x="-149" y="2599"/>
                  <a:pt x="49" y="0"/>
                </a:cubicBezTo>
                <a:cubicBezTo>
                  <a:pt x="969" y="1658"/>
                  <a:pt x="1279" y="3765"/>
                  <a:pt x="1130" y="6385"/>
                </a:cubicBezTo>
                <a:close/>
              </a:path>
            </a:pathLst>
          </a:custGeom>
          <a:solidFill>
            <a:srgbClr val="939B9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2" name="Free-form: Shape 401">
            <a:extLst>
              <a:ext uri="{FF2B5EF4-FFF2-40B4-BE49-F238E27FC236}">
                <a16:creationId xmlns:a16="http://schemas.microsoft.com/office/drawing/2014/main" id="{6D34BF6C-F77B-9E68-EF71-F1B6167FC6CC}"/>
              </a:ext>
            </a:extLst>
          </p:cNvPr>
          <p:cNvSpPr/>
          <p:nvPr/>
        </p:nvSpPr>
        <p:spPr>
          <a:xfrm>
            <a:off x="7975031" y="5716463"/>
            <a:ext cx="5440" cy="2491"/>
          </a:xfrm>
          <a:custGeom>
            <a:avLst/>
            <a:gdLst>
              <a:gd name="csX0" fmla="*/ 5985 w 5984"/>
              <a:gd name="csY0" fmla="*/ 1832 h 2740"/>
              <a:gd name="csX1" fmla="*/ 0 w 5984"/>
              <a:gd name="csY1" fmla="*/ 2740 h 2740"/>
              <a:gd name="csX2" fmla="*/ 4930 w 5984"/>
              <a:gd name="csY2" fmla="*/ 0 h 2740"/>
              <a:gd name="csX3" fmla="*/ 5985 w 5984"/>
              <a:gd name="csY3" fmla="*/ 1832 h 274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</a:cxnLst>
            <a:rect l="l" t="t" r="r" b="b"/>
            <a:pathLst>
              <a:path w="5984" h="2740">
                <a:moveTo>
                  <a:pt x="5985" y="1832"/>
                </a:moveTo>
                <a:cubicBezTo>
                  <a:pt x="3992" y="2553"/>
                  <a:pt x="1996" y="2646"/>
                  <a:pt x="0" y="2740"/>
                </a:cubicBezTo>
                <a:cubicBezTo>
                  <a:pt x="1398" y="1830"/>
                  <a:pt x="2796" y="920"/>
                  <a:pt x="4930" y="0"/>
                </a:cubicBezTo>
                <a:cubicBezTo>
                  <a:pt x="5772" y="394"/>
                  <a:pt x="5877" y="799"/>
                  <a:pt x="5985" y="1832"/>
                </a:cubicBezTo>
                <a:close/>
              </a:path>
            </a:pathLst>
          </a:custGeom>
          <a:solidFill>
            <a:srgbClr val="8E9395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3" name="Free-form: Shape 402">
            <a:extLst>
              <a:ext uri="{FF2B5EF4-FFF2-40B4-BE49-F238E27FC236}">
                <a16:creationId xmlns:a16="http://schemas.microsoft.com/office/drawing/2014/main" id="{15850399-43B4-63F8-3A24-CB360987EB88}"/>
              </a:ext>
            </a:extLst>
          </p:cNvPr>
          <p:cNvSpPr/>
          <p:nvPr/>
        </p:nvSpPr>
        <p:spPr>
          <a:xfrm>
            <a:off x="7549558" y="5185152"/>
            <a:ext cx="770" cy="3664"/>
          </a:xfrm>
          <a:custGeom>
            <a:avLst/>
            <a:gdLst>
              <a:gd name="csX0" fmla="*/ 106 w 847"/>
              <a:gd name="csY0" fmla="*/ 0 h 4030"/>
              <a:gd name="csX1" fmla="*/ 732 w 847"/>
              <a:gd name="csY1" fmla="*/ 4031 h 4030"/>
              <a:gd name="csX2" fmla="*/ 106 w 847"/>
              <a:gd name="csY2" fmla="*/ 0 h 403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47" h="4030">
                <a:moveTo>
                  <a:pt x="106" y="0"/>
                </a:moveTo>
                <a:cubicBezTo>
                  <a:pt x="770" y="990"/>
                  <a:pt x="1013" y="2346"/>
                  <a:pt x="732" y="4031"/>
                </a:cubicBezTo>
                <a:cubicBezTo>
                  <a:pt x="34" y="3029"/>
                  <a:pt x="-141" y="1697"/>
                  <a:pt x="106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4" name="Free-form: Shape 403">
            <a:extLst>
              <a:ext uri="{FF2B5EF4-FFF2-40B4-BE49-F238E27FC236}">
                <a16:creationId xmlns:a16="http://schemas.microsoft.com/office/drawing/2014/main" id="{94939D65-0616-D2F3-9E39-8345FA27283C}"/>
              </a:ext>
            </a:extLst>
          </p:cNvPr>
          <p:cNvSpPr/>
          <p:nvPr/>
        </p:nvSpPr>
        <p:spPr>
          <a:xfrm>
            <a:off x="7545234" y="5220946"/>
            <a:ext cx="703" cy="3631"/>
          </a:xfrm>
          <a:custGeom>
            <a:avLst/>
            <a:gdLst>
              <a:gd name="csX0" fmla="*/ 195 w 774"/>
              <a:gd name="csY0" fmla="*/ 0 h 3994"/>
              <a:gd name="csX1" fmla="*/ 575 w 774"/>
              <a:gd name="csY1" fmla="*/ 3994 h 3994"/>
              <a:gd name="csX2" fmla="*/ 195 w 774"/>
              <a:gd name="csY2" fmla="*/ 0 h 399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774" h="3994">
                <a:moveTo>
                  <a:pt x="195" y="0"/>
                </a:moveTo>
                <a:cubicBezTo>
                  <a:pt x="794" y="1011"/>
                  <a:pt x="941" y="2348"/>
                  <a:pt x="575" y="3994"/>
                </a:cubicBezTo>
                <a:cubicBezTo>
                  <a:pt x="-44" y="2978"/>
                  <a:pt x="-151" y="1652"/>
                  <a:pt x="195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5" name="Free-form: Shape 404">
            <a:extLst>
              <a:ext uri="{FF2B5EF4-FFF2-40B4-BE49-F238E27FC236}">
                <a16:creationId xmlns:a16="http://schemas.microsoft.com/office/drawing/2014/main" id="{3D13B24A-6DB8-D3A9-2B58-DF33C32AE47B}"/>
              </a:ext>
            </a:extLst>
          </p:cNvPr>
          <p:cNvSpPr/>
          <p:nvPr/>
        </p:nvSpPr>
        <p:spPr>
          <a:xfrm>
            <a:off x="7551812" y="5158342"/>
            <a:ext cx="787" cy="3631"/>
          </a:xfrm>
          <a:custGeom>
            <a:avLst/>
            <a:gdLst>
              <a:gd name="csX0" fmla="*/ 71 w 865"/>
              <a:gd name="csY0" fmla="*/ 0 h 3995"/>
              <a:gd name="csX1" fmla="*/ 783 w 865"/>
              <a:gd name="csY1" fmla="*/ 3996 h 3995"/>
              <a:gd name="csX2" fmla="*/ 71 w 865"/>
              <a:gd name="csY2" fmla="*/ 0 h 399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865" h="3995">
                <a:moveTo>
                  <a:pt x="71" y="0"/>
                </a:moveTo>
                <a:cubicBezTo>
                  <a:pt x="740" y="963"/>
                  <a:pt x="1018" y="2311"/>
                  <a:pt x="783" y="3996"/>
                </a:cubicBezTo>
                <a:cubicBezTo>
                  <a:pt x="73" y="3017"/>
                  <a:pt x="-124" y="1701"/>
                  <a:pt x="71" y="0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6" name="Free-form: Shape 405">
            <a:extLst>
              <a:ext uri="{FF2B5EF4-FFF2-40B4-BE49-F238E27FC236}">
                <a16:creationId xmlns:a16="http://schemas.microsoft.com/office/drawing/2014/main" id="{03B0D8F2-AB3D-74E9-0A0E-15B2F4FCBB41}"/>
              </a:ext>
            </a:extLst>
          </p:cNvPr>
          <p:cNvSpPr/>
          <p:nvPr/>
        </p:nvSpPr>
        <p:spPr>
          <a:xfrm>
            <a:off x="7670115" y="5062368"/>
            <a:ext cx="170236" cy="426821"/>
          </a:xfrm>
          <a:custGeom>
            <a:avLst/>
            <a:gdLst>
              <a:gd name="csX0" fmla="*/ 120604 w 187260"/>
              <a:gd name="csY0" fmla="*/ 222968 h 469503"/>
              <a:gd name="csX1" fmla="*/ 187261 w 187260"/>
              <a:gd name="csY1" fmla="*/ 469503 h 469503"/>
              <a:gd name="csX2" fmla="*/ 1253 w 187260"/>
              <a:gd name="csY2" fmla="*/ 466078 h 469503"/>
              <a:gd name="csX3" fmla="*/ 8 w 187260"/>
              <a:gd name="csY3" fmla="*/ 458101 h 469503"/>
              <a:gd name="csX4" fmla="*/ 4383 w 187260"/>
              <a:gd name="csY4" fmla="*/ 351443 h 469503"/>
              <a:gd name="csX5" fmla="*/ 4615 w 187260"/>
              <a:gd name="csY5" fmla="*/ 346536 h 469503"/>
              <a:gd name="csX6" fmla="*/ 7935 w 187260"/>
              <a:gd name="csY6" fmla="*/ 233648 h 469503"/>
              <a:gd name="csX7" fmla="*/ 10461 w 187260"/>
              <a:gd name="csY7" fmla="*/ 128112 h 469503"/>
              <a:gd name="csX8" fmla="*/ 12461 w 187260"/>
              <a:gd name="csY8" fmla="*/ 12750 h 469503"/>
              <a:gd name="csX9" fmla="*/ 13165 w 187260"/>
              <a:gd name="csY9" fmla="*/ 4285 h 469503"/>
              <a:gd name="csX10" fmla="*/ 102327 w 187260"/>
              <a:gd name="csY10" fmla="*/ 0 h 469503"/>
              <a:gd name="csX11" fmla="*/ 106229 w 187260"/>
              <a:gd name="csY11" fmla="*/ 111321 h 469503"/>
              <a:gd name="csX12" fmla="*/ 120604 w 187260"/>
              <a:gd name="csY12" fmla="*/ 222968 h 46950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</a:cxnLst>
            <a:rect l="l" t="t" r="r" b="b"/>
            <a:pathLst>
              <a:path w="187260" h="469503">
                <a:moveTo>
                  <a:pt x="120604" y="222968"/>
                </a:moveTo>
                <a:cubicBezTo>
                  <a:pt x="135383" y="307129"/>
                  <a:pt x="159464" y="387725"/>
                  <a:pt x="187261" y="469503"/>
                </a:cubicBezTo>
                <a:cubicBezTo>
                  <a:pt x="124460" y="468347"/>
                  <a:pt x="63286" y="467220"/>
                  <a:pt x="1253" y="466078"/>
                </a:cubicBezTo>
                <a:cubicBezTo>
                  <a:pt x="818" y="463442"/>
                  <a:pt x="-95" y="460752"/>
                  <a:pt x="8" y="458101"/>
                </a:cubicBezTo>
                <a:cubicBezTo>
                  <a:pt x="1383" y="422545"/>
                  <a:pt x="2900" y="386994"/>
                  <a:pt x="4383" y="351443"/>
                </a:cubicBezTo>
                <a:cubicBezTo>
                  <a:pt x="4451" y="349807"/>
                  <a:pt x="4566" y="348172"/>
                  <a:pt x="4615" y="346536"/>
                </a:cubicBezTo>
                <a:cubicBezTo>
                  <a:pt x="5732" y="308907"/>
                  <a:pt x="6921" y="271280"/>
                  <a:pt x="7935" y="233648"/>
                </a:cubicBezTo>
                <a:cubicBezTo>
                  <a:pt x="8883" y="198472"/>
                  <a:pt x="9752" y="163293"/>
                  <a:pt x="10461" y="128112"/>
                </a:cubicBezTo>
                <a:cubicBezTo>
                  <a:pt x="11237" y="89660"/>
                  <a:pt x="11781" y="51204"/>
                  <a:pt x="12461" y="12750"/>
                </a:cubicBezTo>
                <a:cubicBezTo>
                  <a:pt x="12503" y="10363"/>
                  <a:pt x="12848" y="7981"/>
                  <a:pt x="13165" y="4285"/>
                </a:cubicBezTo>
                <a:cubicBezTo>
                  <a:pt x="42856" y="2858"/>
                  <a:pt x="72082" y="1454"/>
                  <a:pt x="102327" y="0"/>
                </a:cubicBezTo>
                <a:cubicBezTo>
                  <a:pt x="103499" y="37348"/>
                  <a:pt x="103207" y="74470"/>
                  <a:pt x="106229" y="111321"/>
                </a:cubicBezTo>
                <a:cubicBezTo>
                  <a:pt x="109263" y="148326"/>
                  <a:pt x="115599" y="185060"/>
                  <a:pt x="120604" y="222968"/>
                </a:cubicBezTo>
                <a:close/>
              </a:path>
            </a:pathLst>
          </a:custGeom>
          <a:solidFill>
            <a:srgbClr val="FDFDFD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7" name="Free-form: Shape 406">
            <a:extLst>
              <a:ext uri="{FF2B5EF4-FFF2-40B4-BE49-F238E27FC236}">
                <a16:creationId xmlns:a16="http://schemas.microsoft.com/office/drawing/2014/main" id="{81C33D6B-C06C-AAFF-C073-9F96D22A96A0}"/>
              </a:ext>
            </a:extLst>
          </p:cNvPr>
          <p:cNvSpPr/>
          <p:nvPr/>
        </p:nvSpPr>
        <p:spPr>
          <a:xfrm>
            <a:off x="7668922" y="5529120"/>
            <a:ext cx="284824" cy="179974"/>
          </a:xfrm>
          <a:custGeom>
            <a:avLst/>
            <a:gdLst>
              <a:gd name="csX0" fmla="*/ 160234 w 313306"/>
              <a:gd name="csY0" fmla="*/ 197876 h 197971"/>
              <a:gd name="csX1" fmla="*/ 544 w 313306"/>
              <a:gd name="csY1" fmla="*/ 197972 h 197971"/>
              <a:gd name="csX2" fmla="*/ 3466 w 313306"/>
              <a:gd name="csY2" fmla="*/ 104326 h 197971"/>
              <a:gd name="csX3" fmla="*/ 0 w 313306"/>
              <a:gd name="csY3" fmla="*/ 10720 h 197971"/>
              <a:gd name="csX4" fmla="*/ 5445 w 313306"/>
              <a:gd name="csY4" fmla="*/ 9282 h 197971"/>
              <a:gd name="csX5" fmla="*/ 71623 w 313306"/>
              <a:gd name="csY5" fmla="*/ 6885 h 197971"/>
              <a:gd name="csX6" fmla="*/ 187887 w 313306"/>
              <a:gd name="csY6" fmla="*/ 233 h 197971"/>
              <a:gd name="csX7" fmla="*/ 215297 w 313306"/>
              <a:gd name="csY7" fmla="*/ 163 h 197971"/>
              <a:gd name="csX8" fmla="*/ 243629 w 313306"/>
              <a:gd name="csY8" fmla="*/ 61389 h 197971"/>
              <a:gd name="csX9" fmla="*/ 270660 w 313306"/>
              <a:gd name="csY9" fmla="*/ 86342 h 197971"/>
              <a:gd name="csX10" fmla="*/ 313142 w 313306"/>
              <a:gd name="csY10" fmla="*/ 170098 h 197971"/>
              <a:gd name="csX11" fmla="*/ 313291 w 313306"/>
              <a:gd name="csY11" fmla="*/ 176231 h 197971"/>
              <a:gd name="csX12" fmla="*/ 312654 w 313306"/>
              <a:gd name="csY12" fmla="*/ 180738 h 197971"/>
              <a:gd name="csX13" fmla="*/ 279655 w 313306"/>
              <a:gd name="csY13" fmla="*/ 186226 h 197971"/>
              <a:gd name="csX14" fmla="*/ 167436 w 313306"/>
              <a:gd name="csY14" fmla="*/ 196805 h 197971"/>
              <a:gd name="csX15" fmla="*/ 160234 w 313306"/>
              <a:gd name="csY15" fmla="*/ 197876 h 19797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</a:cxnLst>
            <a:rect l="l" t="t" r="r" b="b"/>
            <a:pathLst>
              <a:path w="313306" h="197971">
                <a:moveTo>
                  <a:pt x="160234" y="197876"/>
                </a:moveTo>
                <a:cubicBezTo>
                  <a:pt x="106384" y="197972"/>
                  <a:pt x="53682" y="197972"/>
                  <a:pt x="544" y="197972"/>
                </a:cubicBezTo>
                <a:cubicBezTo>
                  <a:pt x="1602" y="166763"/>
                  <a:pt x="3550" y="135542"/>
                  <a:pt x="3466" y="104326"/>
                </a:cubicBezTo>
                <a:cubicBezTo>
                  <a:pt x="3383" y="73323"/>
                  <a:pt x="1255" y="42326"/>
                  <a:pt x="0" y="10720"/>
                </a:cubicBezTo>
                <a:cubicBezTo>
                  <a:pt x="1689" y="10255"/>
                  <a:pt x="3551" y="9355"/>
                  <a:pt x="5445" y="9282"/>
                </a:cubicBezTo>
                <a:cubicBezTo>
                  <a:pt x="27503" y="8435"/>
                  <a:pt x="49582" y="8030"/>
                  <a:pt x="71623" y="6885"/>
                </a:cubicBezTo>
                <a:cubicBezTo>
                  <a:pt x="110388" y="4872"/>
                  <a:pt x="149126" y="2333"/>
                  <a:pt x="187887" y="233"/>
                </a:cubicBezTo>
                <a:cubicBezTo>
                  <a:pt x="196749" y="-247"/>
                  <a:pt x="205660" y="163"/>
                  <a:pt x="215297" y="163"/>
                </a:cubicBezTo>
                <a:cubicBezTo>
                  <a:pt x="215450" y="25550"/>
                  <a:pt x="226120" y="45122"/>
                  <a:pt x="243629" y="61389"/>
                </a:cubicBezTo>
                <a:cubicBezTo>
                  <a:pt x="252615" y="69739"/>
                  <a:pt x="261099" y="78715"/>
                  <a:pt x="270660" y="86342"/>
                </a:cubicBezTo>
                <a:cubicBezTo>
                  <a:pt x="297676" y="107892"/>
                  <a:pt x="310731" y="136225"/>
                  <a:pt x="313142" y="170098"/>
                </a:cubicBezTo>
                <a:cubicBezTo>
                  <a:pt x="313287" y="172136"/>
                  <a:pt x="313335" y="174188"/>
                  <a:pt x="313291" y="176231"/>
                </a:cubicBezTo>
                <a:cubicBezTo>
                  <a:pt x="313265" y="177429"/>
                  <a:pt x="312966" y="178621"/>
                  <a:pt x="312654" y="180738"/>
                </a:cubicBezTo>
                <a:cubicBezTo>
                  <a:pt x="302343" y="185396"/>
                  <a:pt x="290736" y="185049"/>
                  <a:pt x="279655" y="186226"/>
                </a:cubicBezTo>
                <a:cubicBezTo>
                  <a:pt x="242295" y="190193"/>
                  <a:pt x="204847" y="193324"/>
                  <a:pt x="167436" y="196805"/>
                </a:cubicBezTo>
                <a:cubicBezTo>
                  <a:pt x="165405" y="196994"/>
                  <a:pt x="163399" y="197449"/>
                  <a:pt x="160234" y="197876"/>
                </a:cubicBezTo>
                <a:close/>
              </a:path>
            </a:pathLst>
          </a:custGeom>
          <a:solidFill>
            <a:srgbClr val="FDFEFE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8" name="Free-form: Shape 407">
            <a:extLst>
              <a:ext uri="{FF2B5EF4-FFF2-40B4-BE49-F238E27FC236}">
                <a16:creationId xmlns:a16="http://schemas.microsoft.com/office/drawing/2014/main" id="{7ABAE530-D2E1-C45D-ECF3-4E7BEE74A41F}"/>
              </a:ext>
            </a:extLst>
          </p:cNvPr>
          <p:cNvSpPr/>
          <p:nvPr/>
        </p:nvSpPr>
        <p:spPr>
          <a:xfrm>
            <a:off x="7679665" y="4512536"/>
            <a:ext cx="149260" cy="361842"/>
          </a:xfrm>
          <a:custGeom>
            <a:avLst/>
            <a:gdLst>
              <a:gd name="csX0" fmla="*/ 22609 w 164186"/>
              <a:gd name="csY0" fmla="*/ 398026 h 398026"/>
              <a:gd name="csX1" fmla="*/ 16884 w 164186"/>
              <a:gd name="csY1" fmla="*/ 390515 h 398026"/>
              <a:gd name="csX2" fmla="*/ 9661 w 164186"/>
              <a:gd name="csY2" fmla="*/ 328443 h 398026"/>
              <a:gd name="csX3" fmla="*/ 534 w 164186"/>
              <a:gd name="csY3" fmla="*/ 196369 h 398026"/>
              <a:gd name="csX4" fmla="*/ 1243 w 164186"/>
              <a:gd name="csY4" fmla="*/ 82293 h 398026"/>
              <a:gd name="csX5" fmla="*/ 2245 w 164186"/>
              <a:gd name="csY5" fmla="*/ 43023 h 398026"/>
              <a:gd name="csX6" fmla="*/ 4587 w 164186"/>
              <a:gd name="csY6" fmla="*/ 0 h 398026"/>
              <a:gd name="csX7" fmla="*/ 12341 w 164186"/>
              <a:gd name="csY7" fmla="*/ 3872 h 398026"/>
              <a:gd name="csX8" fmla="*/ 85914 w 164186"/>
              <a:gd name="csY8" fmla="*/ 78943 h 398026"/>
              <a:gd name="csX9" fmla="*/ 87893 w 164186"/>
              <a:gd name="csY9" fmla="*/ 99117 h 398026"/>
              <a:gd name="csX10" fmla="*/ 35459 w 164186"/>
              <a:gd name="csY10" fmla="*/ 207346 h 398026"/>
              <a:gd name="csX11" fmla="*/ 32223 w 164186"/>
              <a:gd name="csY11" fmla="*/ 213959 h 398026"/>
              <a:gd name="csX12" fmla="*/ 39509 w 164186"/>
              <a:gd name="csY12" fmla="*/ 242056 h 398026"/>
              <a:gd name="csX13" fmla="*/ 69474 w 164186"/>
              <a:gd name="csY13" fmla="*/ 237019 h 398026"/>
              <a:gd name="csX14" fmla="*/ 89101 w 164186"/>
              <a:gd name="csY14" fmla="*/ 208870 h 398026"/>
              <a:gd name="csX15" fmla="*/ 121716 w 164186"/>
              <a:gd name="csY15" fmla="*/ 158357 h 398026"/>
              <a:gd name="csX16" fmla="*/ 129330 w 164186"/>
              <a:gd name="csY16" fmla="*/ 148165 h 398026"/>
              <a:gd name="csX17" fmla="*/ 137171 w 164186"/>
              <a:gd name="csY17" fmla="*/ 159989 h 398026"/>
              <a:gd name="csX18" fmla="*/ 163812 w 164186"/>
              <a:gd name="csY18" fmla="*/ 273175 h 398026"/>
              <a:gd name="csX19" fmla="*/ 118151 w 164186"/>
              <a:gd name="csY19" fmla="*/ 383442 h 398026"/>
              <a:gd name="csX20" fmla="*/ 92325 w 164186"/>
              <a:gd name="csY20" fmla="*/ 395173 h 398026"/>
              <a:gd name="csX21" fmla="*/ 22609 w 164186"/>
              <a:gd name="csY21" fmla="*/ 398026 h 39802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</a:cxnLst>
            <a:rect l="l" t="t" r="r" b="b"/>
            <a:pathLst>
              <a:path w="164186" h="398026">
                <a:moveTo>
                  <a:pt x="22609" y="398026"/>
                </a:moveTo>
                <a:cubicBezTo>
                  <a:pt x="19898" y="395489"/>
                  <a:pt x="17229" y="393154"/>
                  <a:pt x="16884" y="390515"/>
                </a:cubicBezTo>
                <a:cubicBezTo>
                  <a:pt x="14183" y="369861"/>
                  <a:pt x="11326" y="349196"/>
                  <a:pt x="9661" y="328443"/>
                </a:cubicBezTo>
                <a:cubicBezTo>
                  <a:pt x="6132" y="284452"/>
                  <a:pt x="2125" y="240448"/>
                  <a:pt x="534" y="196369"/>
                </a:cubicBezTo>
                <a:cubicBezTo>
                  <a:pt x="-837" y="158401"/>
                  <a:pt x="816" y="120322"/>
                  <a:pt x="1243" y="82293"/>
                </a:cubicBezTo>
                <a:cubicBezTo>
                  <a:pt x="1389" y="69201"/>
                  <a:pt x="1708" y="56105"/>
                  <a:pt x="2245" y="43023"/>
                </a:cubicBezTo>
                <a:cubicBezTo>
                  <a:pt x="2815" y="29160"/>
                  <a:pt x="3738" y="15312"/>
                  <a:pt x="4587" y="0"/>
                </a:cubicBezTo>
                <a:cubicBezTo>
                  <a:pt x="7809" y="1586"/>
                  <a:pt x="10279" y="2436"/>
                  <a:pt x="12341" y="3872"/>
                </a:cubicBezTo>
                <a:cubicBezTo>
                  <a:pt x="41601" y="24248"/>
                  <a:pt x="64069" y="51269"/>
                  <a:pt x="85914" y="78943"/>
                </a:cubicBezTo>
                <a:cubicBezTo>
                  <a:pt x="91106" y="85520"/>
                  <a:pt x="91706" y="91406"/>
                  <a:pt x="87893" y="99117"/>
                </a:cubicBezTo>
                <a:cubicBezTo>
                  <a:pt x="70127" y="135051"/>
                  <a:pt x="52890" y="171246"/>
                  <a:pt x="35459" y="207346"/>
                </a:cubicBezTo>
                <a:cubicBezTo>
                  <a:pt x="34391" y="209557"/>
                  <a:pt x="33130" y="211686"/>
                  <a:pt x="32223" y="213959"/>
                </a:cubicBezTo>
                <a:cubicBezTo>
                  <a:pt x="27471" y="225873"/>
                  <a:pt x="30154" y="236086"/>
                  <a:pt x="39509" y="242056"/>
                </a:cubicBezTo>
                <a:cubicBezTo>
                  <a:pt x="48880" y="248038"/>
                  <a:pt x="61705" y="246477"/>
                  <a:pt x="69474" y="237019"/>
                </a:cubicBezTo>
                <a:cubicBezTo>
                  <a:pt x="76712" y="228205"/>
                  <a:pt x="82824" y="218436"/>
                  <a:pt x="89101" y="208870"/>
                </a:cubicBezTo>
                <a:cubicBezTo>
                  <a:pt x="100096" y="192114"/>
                  <a:pt x="110806" y="175170"/>
                  <a:pt x="121716" y="158357"/>
                </a:cubicBezTo>
                <a:cubicBezTo>
                  <a:pt x="123679" y="155333"/>
                  <a:pt x="126029" y="152559"/>
                  <a:pt x="129330" y="148165"/>
                </a:cubicBezTo>
                <a:cubicBezTo>
                  <a:pt x="132450" y="152828"/>
                  <a:pt x="135175" y="156216"/>
                  <a:pt x="137171" y="159989"/>
                </a:cubicBezTo>
                <a:cubicBezTo>
                  <a:pt x="155891" y="195388"/>
                  <a:pt x="166343" y="232905"/>
                  <a:pt x="163812" y="273175"/>
                </a:cubicBezTo>
                <a:cubicBezTo>
                  <a:pt x="161183" y="314982"/>
                  <a:pt x="144984" y="351430"/>
                  <a:pt x="118151" y="383442"/>
                </a:cubicBezTo>
                <a:cubicBezTo>
                  <a:pt x="111214" y="391718"/>
                  <a:pt x="102452" y="394716"/>
                  <a:pt x="92325" y="395173"/>
                </a:cubicBezTo>
                <a:cubicBezTo>
                  <a:pt x="69461" y="396207"/>
                  <a:pt x="46593" y="397123"/>
                  <a:pt x="22609" y="398026"/>
                </a:cubicBezTo>
                <a:close/>
              </a:path>
            </a:pathLst>
          </a:custGeom>
          <a:solidFill>
            <a:srgbClr val="FCFDFD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9" name="Free-form: Shape 408">
            <a:extLst>
              <a:ext uri="{FF2B5EF4-FFF2-40B4-BE49-F238E27FC236}">
                <a16:creationId xmlns:a16="http://schemas.microsoft.com/office/drawing/2014/main" id="{688CAAB0-EB53-1213-CCC4-9F255B1B4AA5}"/>
              </a:ext>
            </a:extLst>
          </p:cNvPr>
          <p:cNvSpPr/>
          <p:nvPr/>
        </p:nvSpPr>
        <p:spPr>
          <a:xfrm>
            <a:off x="7665559" y="5738327"/>
            <a:ext cx="305850" cy="64961"/>
          </a:xfrm>
          <a:custGeom>
            <a:avLst/>
            <a:gdLst>
              <a:gd name="csX0" fmla="*/ 105937 w 336434"/>
              <a:gd name="csY0" fmla="*/ 71458 h 71457"/>
              <a:gd name="csX1" fmla="*/ 3534 w 336434"/>
              <a:gd name="csY1" fmla="*/ 69115 h 71457"/>
              <a:gd name="csX2" fmla="*/ 1296 w 336434"/>
              <a:gd name="csY2" fmla="*/ 17910 h 71457"/>
              <a:gd name="csX3" fmla="*/ 14032 w 336434"/>
              <a:gd name="csY3" fmla="*/ 17908 h 71457"/>
              <a:gd name="csX4" fmla="*/ 102444 w 336434"/>
              <a:gd name="csY4" fmla="*/ 17433 h 71457"/>
              <a:gd name="csX5" fmla="*/ 284561 w 336434"/>
              <a:gd name="csY5" fmla="*/ 3564 h 71457"/>
              <a:gd name="csX6" fmla="*/ 311323 w 336434"/>
              <a:gd name="csY6" fmla="*/ 224 h 71457"/>
              <a:gd name="csX7" fmla="*/ 324313 w 336434"/>
              <a:gd name="csY7" fmla="*/ 6639 h 71457"/>
              <a:gd name="csX8" fmla="*/ 336434 w 336434"/>
              <a:gd name="csY8" fmla="*/ 46484 h 71457"/>
              <a:gd name="csX9" fmla="*/ 105937 w 336434"/>
              <a:gd name="csY9" fmla="*/ 71458 h 7145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336434" h="71457">
                <a:moveTo>
                  <a:pt x="105937" y="71458"/>
                </a:moveTo>
                <a:cubicBezTo>
                  <a:pt x="70820" y="70678"/>
                  <a:pt x="36930" y="69891"/>
                  <a:pt x="3534" y="69115"/>
                </a:cubicBezTo>
                <a:cubicBezTo>
                  <a:pt x="-81" y="59433"/>
                  <a:pt x="-1094" y="35337"/>
                  <a:pt x="1296" y="17910"/>
                </a:cubicBezTo>
                <a:cubicBezTo>
                  <a:pt x="5366" y="17910"/>
                  <a:pt x="9699" y="17923"/>
                  <a:pt x="14032" y="17908"/>
                </a:cubicBezTo>
                <a:cubicBezTo>
                  <a:pt x="43505" y="17812"/>
                  <a:pt x="73011" y="18557"/>
                  <a:pt x="102444" y="17433"/>
                </a:cubicBezTo>
                <a:cubicBezTo>
                  <a:pt x="163306" y="15109"/>
                  <a:pt x="224166" y="12264"/>
                  <a:pt x="284561" y="3564"/>
                </a:cubicBezTo>
                <a:cubicBezTo>
                  <a:pt x="293458" y="2283"/>
                  <a:pt x="302438" y="1575"/>
                  <a:pt x="311323" y="224"/>
                </a:cubicBezTo>
                <a:cubicBezTo>
                  <a:pt x="317371" y="-696"/>
                  <a:pt x="321247" y="1177"/>
                  <a:pt x="324313" y="6639"/>
                </a:cubicBezTo>
                <a:cubicBezTo>
                  <a:pt x="330512" y="17683"/>
                  <a:pt x="335236" y="31679"/>
                  <a:pt x="336434" y="46484"/>
                </a:cubicBezTo>
                <a:cubicBezTo>
                  <a:pt x="261124" y="64059"/>
                  <a:pt x="184356" y="69587"/>
                  <a:pt x="105937" y="71458"/>
                </a:cubicBezTo>
                <a:close/>
              </a:path>
            </a:pathLst>
          </a:custGeom>
          <a:solidFill>
            <a:srgbClr val="FCFCFC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10" name="Free-form: Shape 409">
            <a:extLst>
              <a:ext uri="{FF2B5EF4-FFF2-40B4-BE49-F238E27FC236}">
                <a16:creationId xmlns:a16="http://schemas.microsoft.com/office/drawing/2014/main" id="{693BD25E-2C9F-33FC-602C-DB66B2640FE3}"/>
              </a:ext>
            </a:extLst>
          </p:cNvPr>
          <p:cNvSpPr/>
          <p:nvPr/>
        </p:nvSpPr>
        <p:spPr>
          <a:xfrm>
            <a:off x="7679116" y="4907603"/>
            <a:ext cx="120683" cy="63097"/>
          </a:xfrm>
          <a:custGeom>
            <a:avLst/>
            <a:gdLst>
              <a:gd name="csX0" fmla="*/ 5051 w 132751"/>
              <a:gd name="csY0" fmla="*/ 7534 h 69406"/>
              <a:gd name="csX1" fmla="*/ 10615 w 132751"/>
              <a:gd name="csY1" fmla="*/ 3077 h 69406"/>
              <a:gd name="csX2" fmla="*/ 26541 w 132751"/>
              <a:gd name="csY2" fmla="*/ 2752 h 69406"/>
              <a:gd name="csX3" fmla="*/ 87728 w 132751"/>
              <a:gd name="csY3" fmla="*/ 89 h 69406"/>
              <a:gd name="csX4" fmla="*/ 101400 w 132751"/>
              <a:gd name="csY4" fmla="*/ 62 h 69406"/>
              <a:gd name="csX5" fmla="*/ 102924 w 132751"/>
              <a:gd name="csY5" fmla="*/ 4800 h 69406"/>
              <a:gd name="csX6" fmla="*/ 121469 w 132751"/>
              <a:gd name="csY6" fmla="*/ 43062 h 69406"/>
              <a:gd name="csX7" fmla="*/ 132751 w 132751"/>
              <a:gd name="csY7" fmla="*/ 65240 h 69406"/>
              <a:gd name="csX8" fmla="*/ 0 w 132751"/>
              <a:gd name="csY8" fmla="*/ 69406 h 69406"/>
              <a:gd name="csX9" fmla="*/ 5051 w 132751"/>
              <a:gd name="csY9" fmla="*/ 7534 h 6940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132751" h="69406">
                <a:moveTo>
                  <a:pt x="5051" y="7534"/>
                </a:moveTo>
                <a:cubicBezTo>
                  <a:pt x="6880" y="5272"/>
                  <a:pt x="8659" y="3268"/>
                  <a:pt x="10615" y="3077"/>
                </a:cubicBezTo>
                <a:cubicBezTo>
                  <a:pt x="15884" y="2564"/>
                  <a:pt x="21234" y="2972"/>
                  <a:pt x="26541" y="2752"/>
                </a:cubicBezTo>
                <a:cubicBezTo>
                  <a:pt x="46938" y="1911"/>
                  <a:pt x="67330" y="933"/>
                  <a:pt x="87728" y="89"/>
                </a:cubicBezTo>
                <a:cubicBezTo>
                  <a:pt x="92161" y="-94"/>
                  <a:pt x="96609" y="62"/>
                  <a:pt x="101400" y="62"/>
                </a:cubicBezTo>
                <a:cubicBezTo>
                  <a:pt x="101991" y="1827"/>
                  <a:pt x="102885" y="3302"/>
                  <a:pt x="102924" y="4800"/>
                </a:cubicBezTo>
                <a:cubicBezTo>
                  <a:pt x="103334" y="20376"/>
                  <a:pt x="108815" y="33165"/>
                  <a:pt x="121469" y="43062"/>
                </a:cubicBezTo>
                <a:cubicBezTo>
                  <a:pt x="127809" y="48021"/>
                  <a:pt x="132509" y="54869"/>
                  <a:pt x="132751" y="65240"/>
                </a:cubicBezTo>
                <a:cubicBezTo>
                  <a:pt x="88663" y="66624"/>
                  <a:pt x="45259" y="67986"/>
                  <a:pt x="0" y="69406"/>
                </a:cubicBezTo>
                <a:cubicBezTo>
                  <a:pt x="6474" y="48167"/>
                  <a:pt x="10658" y="28665"/>
                  <a:pt x="5051" y="7534"/>
                </a:cubicBezTo>
                <a:close/>
              </a:path>
            </a:pathLst>
          </a:custGeom>
          <a:solidFill>
            <a:srgbClr val="FBFCFB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11" name="Free-form: Shape 410">
            <a:extLst>
              <a:ext uri="{FF2B5EF4-FFF2-40B4-BE49-F238E27FC236}">
                <a16:creationId xmlns:a16="http://schemas.microsoft.com/office/drawing/2014/main" id="{B7A75EE9-6E08-B2D2-86BE-6F0164B07066}"/>
              </a:ext>
            </a:extLst>
          </p:cNvPr>
          <p:cNvSpPr/>
          <p:nvPr/>
        </p:nvSpPr>
        <p:spPr>
          <a:xfrm>
            <a:off x="7688752" y="4997217"/>
            <a:ext cx="150878" cy="35402"/>
          </a:xfrm>
          <a:custGeom>
            <a:avLst/>
            <a:gdLst>
              <a:gd name="csX0" fmla="*/ 80894 w 165965"/>
              <a:gd name="csY0" fmla="*/ 440 h 38942"/>
              <a:gd name="csX1" fmla="*/ 128629 w 165965"/>
              <a:gd name="csY1" fmla="*/ 5 h 38942"/>
              <a:gd name="csX2" fmla="*/ 155177 w 165965"/>
              <a:gd name="csY2" fmla="*/ 8091 h 38942"/>
              <a:gd name="csX3" fmla="*/ 164213 w 165965"/>
              <a:gd name="csY3" fmla="*/ 17723 h 38942"/>
              <a:gd name="csX4" fmla="*/ 159998 w 165965"/>
              <a:gd name="csY4" fmla="*/ 30717 h 38942"/>
              <a:gd name="csX5" fmla="*/ 146998 w 165965"/>
              <a:gd name="csY5" fmla="*/ 33737 h 38942"/>
              <a:gd name="csX6" fmla="*/ 12439 w 165965"/>
              <a:gd name="csY6" fmla="*/ 38914 h 38942"/>
              <a:gd name="csX7" fmla="*/ 0 w 165965"/>
              <a:gd name="csY7" fmla="*/ 38402 h 38942"/>
              <a:gd name="csX8" fmla="*/ 0 w 165965"/>
              <a:gd name="csY8" fmla="*/ 4598 h 38942"/>
              <a:gd name="csX9" fmla="*/ 80894 w 165965"/>
              <a:gd name="csY9" fmla="*/ 440 h 3894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165965" h="38942">
                <a:moveTo>
                  <a:pt x="80894" y="440"/>
                </a:moveTo>
                <a:cubicBezTo>
                  <a:pt x="97591" y="288"/>
                  <a:pt x="113111" y="227"/>
                  <a:pt x="128629" y="5"/>
                </a:cubicBezTo>
                <a:cubicBezTo>
                  <a:pt x="138376" y="-135"/>
                  <a:pt x="147226" y="2891"/>
                  <a:pt x="155177" y="8091"/>
                </a:cubicBezTo>
                <a:cubicBezTo>
                  <a:pt x="158779" y="10447"/>
                  <a:pt x="161992" y="14009"/>
                  <a:pt x="164213" y="17723"/>
                </a:cubicBezTo>
                <a:cubicBezTo>
                  <a:pt x="167602" y="23390"/>
                  <a:pt x="166013" y="28134"/>
                  <a:pt x="159998" y="30717"/>
                </a:cubicBezTo>
                <a:cubicBezTo>
                  <a:pt x="155963" y="32450"/>
                  <a:pt x="151384" y="33554"/>
                  <a:pt x="146998" y="33737"/>
                </a:cubicBezTo>
                <a:cubicBezTo>
                  <a:pt x="102152" y="35619"/>
                  <a:pt x="57295" y="37279"/>
                  <a:pt x="12439" y="38914"/>
                </a:cubicBezTo>
                <a:cubicBezTo>
                  <a:pt x="8467" y="39059"/>
                  <a:pt x="4472" y="38602"/>
                  <a:pt x="0" y="38402"/>
                </a:cubicBezTo>
                <a:cubicBezTo>
                  <a:pt x="0" y="27166"/>
                  <a:pt x="0" y="16774"/>
                  <a:pt x="0" y="4598"/>
                </a:cubicBezTo>
                <a:cubicBezTo>
                  <a:pt x="27063" y="3194"/>
                  <a:pt x="53389" y="1829"/>
                  <a:pt x="80894" y="440"/>
                </a:cubicBezTo>
                <a:close/>
              </a:path>
            </a:pathLst>
          </a:custGeom>
          <a:solidFill>
            <a:srgbClr val="FBFCFB"/>
          </a:solidFill>
          <a:ln w="1227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12" name="Free-form: Shape 411">
            <a:extLst>
              <a:ext uri="{FF2B5EF4-FFF2-40B4-BE49-F238E27FC236}">
                <a16:creationId xmlns:a16="http://schemas.microsoft.com/office/drawing/2014/main" id="{D0F31ED0-5E80-BA40-FA34-3E0F82F2F6B6}"/>
              </a:ext>
            </a:extLst>
          </p:cNvPr>
          <p:cNvSpPr/>
          <p:nvPr/>
        </p:nvSpPr>
        <p:spPr>
          <a:xfrm>
            <a:off x="7672603" y="4436393"/>
            <a:ext cx="39402" cy="42156"/>
          </a:xfrm>
          <a:custGeom>
            <a:avLst/>
            <a:gdLst>
              <a:gd name="csX0" fmla="*/ 40602 w 43343"/>
              <a:gd name="csY0" fmla="*/ 12465 h 46372"/>
              <a:gd name="csX1" fmla="*/ 43214 w 43343"/>
              <a:gd name="csY1" fmla="*/ 21324 h 46372"/>
              <a:gd name="csX2" fmla="*/ 23859 w 43343"/>
              <a:gd name="csY2" fmla="*/ 46319 h 46372"/>
              <a:gd name="csX3" fmla="*/ 5 w 43343"/>
              <a:gd name="csY3" fmla="*/ 23820 h 46372"/>
              <a:gd name="csX4" fmla="*/ 4855 w 43343"/>
              <a:gd name="csY4" fmla="*/ 5679 h 46372"/>
              <a:gd name="csX5" fmla="*/ 40602 w 43343"/>
              <a:gd name="csY5" fmla="*/ 12465 h 4637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</a:cxnLst>
            <a:rect l="l" t="t" r="r" b="b"/>
            <a:pathLst>
              <a:path w="43343" h="46372">
                <a:moveTo>
                  <a:pt x="40602" y="12465"/>
                </a:moveTo>
                <a:cubicBezTo>
                  <a:pt x="41913" y="15811"/>
                  <a:pt x="42933" y="18530"/>
                  <a:pt x="43214" y="21324"/>
                </a:cubicBezTo>
                <a:cubicBezTo>
                  <a:pt x="44519" y="34348"/>
                  <a:pt x="35870" y="45401"/>
                  <a:pt x="23859" y="46319"/>
                </a:cubicBezTo>
                <a:cubicBezTo>
                  <a:pt x="11890" y="47233"/>
                  <a:pt x="-280" y="36371"/>
                  <a:pt x="5" y="23820"/>
                </a:cubicBezTo>
                <a:cubicBezTo>
                  <a:pt x="136" y="18011"/>
                  <a:pt x="2893" y="12263"/>
                  <a:pt x="4855" y="5679"/>
                </a:cubicBezTo>
                <a:cubicBezTo>
                  <a:pt x="20601" y="-3403"/>
                  <a:pt x="28004" y="-1910"/>
                  <a:pt x="40602" y="12465"/>
                </a:cubicBezTo>
                <a:close/>
              </a:path>
            </a:pathLst>
          </a:custGeom>
          <a:solidFill>
            <a:srgbClr val="FBFCFB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13" name="Oval 412">
            <a:extLst>
              <a:ext uri="{FF2B5EF4-FFF2-40B4-BE49-F238E27FC236}">
                <a16:creationId xmlns:a16="http://schemas.microsoft.com/office/drawing/2014/main" id="{6BE80E94-B980-A847-ED47-B04B8A90A780}"/>
              </a:ext>
            </a:extLst>
          </p:cNvPr>
          <p:cNvSpPr/>
          <p:nvPr/>
        </p:nvSpPr>
        <p:spPr>
          <a:xfrm>
            <a:off x="4896567" y="5769755"/>
            <a:ext cx="717698" cy="104135"/>
          </a:xfrm>
          <a:prstGeom prst="ellipse">
            <a:avLst/>
          </a:prstGeom>
          <a:solidFill>
            <a:schemeClr val="tx1">
              <a:alpha val="6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14" name="Free-form: Shape 413">
            <a:extLst>
              <a:ext uri="{FF2B5EF4-FFF2-40B4-BE49-F238E27FC236}">
                <a16:creationId xmlns:a16="http://schemas.microsoft.com/office/drawing/2014/main" id="{C89CA19E-3EF0-9397-B0D2-3CC72D31C25A}"/>
              </a:ext>
            </a:extLst>
          </p:cNvPr>
          <p:cNvSpPr/>
          <p:nvPr/>
        </p:nvSpPr>
        <p:spPr>
          <a:xfrm flipH="1">
            <a:off x="5030450" y="4344418"/>
            <a:ext cx="557648" cy="1497715"/>
          </a:xfrm>
          <a:custGeom>
            <a:avLst/>
            <a:gdLst>
              <a:gd name="csX0" fmla="*/ 96263 w 729419"/>
              <a:gd name="csY0" fmla="*/ 2076207 h 2076207"/>
              <a:gd name="csX1" fmla="*/ 63862 w 729419"/>
              <a:gd name="csY1" fmla="*/ 2065388 h 2076207"/>
              <a:gd name="csX2" fmla="*/ 16555 w 729419"/>
              <a:gd name="csY2" fmla="*/ 2050152 h 2076207"/>
              <a:gd name="csX3" fmla="*/ 15 w 729419"/>
              <a:gd name="csY3" fmla="*/ 2023802 h 2076207"/>
              <a:gd name="csX4" fmla="*/ 18368 w 729419"/>
              <a:gd name="csY4" fmla="*/ 1940709 h 2076207"/>
              <a:gd name="csX5" fmla="*/ 22139 w 729419"/>
              <a:gd name="csY5" fmla="*/ 1907268 h 2076207"/>
              <a:gd name="csX6" fmla="*/ 57941 w 729419"/>
              <a:gd name="csY6" fmla="*/ 1774163 h 2076207"/>
              <a:gd name="csX7" fmla="*/ 102478 w 729419"/>
              <a:gd name="csY7" fmla="*/ 1720275 h 2076207"/>
              <a:gd name="csX8" fmla="*/ 108579 w 729419"/>
              <a:gd name="csY8" fmla="*/ 1650967 h 2076207"/>
              <a:gd name="csX9" fmla="*/ 115628 w 729419"/>
              <a:gd name="csY9" fmla="*/ 1625405 h 2076207"/>
              <a:gd name="csX10" fmla="*/ 156323 w 729419"/>
              <a:gd name="csY10" fmla="*/ 1560181 h 2076207"/>
              <a:gd name="csX11" fmla="*/ 199424 w 729419"/>
              <a:gd name="csY11" fmla="*/ 1364729 h 2076207"/>
              <a:gd name="csX12" fmla="*/ 216779 w 729419"/>
              <a:gd name="csY12" fmla="*/ 1219490 h 2076207"/>
              <a:gd name="csX13" fmla="*/ 229755 w 729419"/>
              <a:gd name="csY13" fmla="*/ 1099357 h 2076207"/>
              <a:gd name="csX14" fmla="*/ 232707 w 729419"/>
              <a:gd name="csY14" fmla="*/ 1056423 h 2076207"/>
              <a:gd name="csX15" fmla="*/ 235622 w 729419"/>
              <a:gd name="csY15" fmla="*/ 952675 h 2076207"/>
              <a:gd name="csX16" fmla="*/ 235445 w 729419"/>
              <a:gd name="csY16" fmla="*/ 780278 h 2076207"/>
              <a:gd name="csX17" fmla="*/ 214544 w 729419"/>
              <a:gd name="csY17" fmla="*/ 756435 h 2076207"/>
              <a:gd name="csX18" fmla="*/ 172569 w 729419"/>
              <a:gd name="csY18" fmla="*/ 742582 h 2076207"/>
              <a:gd name="csX19" fmla="*/ 168784 w 729419"/>
              <a:gd name="csY19" fmla="*/ 669116 h 2076207"/>
              <a:gd name="csX20" fmla="*/ 191657 w 729419"/>
              <a:gd name="csY20" fmla="*/ 630765 h 2076207"/>
              <a:gd name="csX21" fmla="*/ 208150 w 729419"/>
              <a:gd name="csY21" fmla="*/ 609084 h 2076207"/>
              <a:gd name="csX22" fmla="*/ 216756 w 729419"/>
              <a:gd name="csY22" fmla="*/ 558673 h 2076207"/>
              <a:gd name="csX23" fmla="*/ 209092 w 729419"/>
              <a:gd name="csY23" fmla="*/ 521540 h 2076207"/>
              <a:gd name="csX24" fmla="*/ 204683 w 729419"/>
              <a:gd name="csY24" fmla="*/ 474024 h 2076207"/>
              <a:gd name="csX25" fmla="*/ 115483 w 729419"/>
              <a:gd name="csY25" fmla="*/ 213499 h 2076207"/>
              <a:gd name="csX26" fmla="*/ 102909 w 729419"/>
              <a:gd name="csY26" fmla="*/ 182297 h 2076207"/>
              <a:gd name="csX27" fmla="*/ 104315 w 729419"/>
              <a:gd name="csY27" fmla="*/ 163968 h 2076207"/>
              <a:gd name="csX28" fmla="*/ 122444 w 729419"/>
              <a:gd name="csY28" fmla="*/ 160805 h 2076207"/>
              <a:gd name="csX29" fmla="*/ 170283 w 729419"/>
              <a:gd name="csY29" fmla="*/ 187783 h 2076207"/>
              <a:gd name="csX30" fmla="*/ 180938 w 729419"/>
              <a:gd name="csY30" fmla="*/ 195322 h 2076207"/>
              <a:gd name="csX31" fmla="*/ 221419 w 729419"/>
              <a:gd name="csY31" fmla="*/ 138058 h 2076207"/>
              <a:gd name="csX32" fmla="*/ 294099 w 729419"/>
              <a:gd name="csY32" fmla="*/ 91372 h 2076207"/>
              <a:gd name="csX33" fmla="*/ 302307 w 729419"/>
              <a:gd name="csY33" fmla="*/ 76560 h 2076207"/>
              <a:gd name="csX34" fmla="*/ 320284 w 729419"/>
              <a:gd name="csY34" fmla="*/ 8414 h 2076207"/>
              <a:gd name="csX35" fmla="*/ 324784 w 729419"/>
              <a:gd name="csY35" fmla="*/ 946 h 2076207"/>
              <a:gd name="csX36" fmla="*/ 399212 w 729419"/>
              <a:gd name="csY36" fmla="*/ 0 h 2076207"/>
              <a:gd name="csX37" fmla="*/ 425980 w 729419"/>
              <a:gd name="csY37" fmla="*/ 78301 h 2076207"/>
              <a:gd name="csX38" fmla="*/ 431861 w 729419"/>
              <a:gd name="csY38" fmla="*/ 90312 h 2076207"/>
              <a:gd name="csX39" fmla="*/ 540349 w 729419"/>
              <a:gd name="csY39" fmla="*/ 187946 h 2076207"/>
              <a:gd name="csX40" fmla="*/ 545555 w 729419"/>
              <a:gd name="csY40" fmla="*/ 197828 h 2076207"/>
              <a:gd name="csX41" fmla="*/ 587318 w 729419"/>
              <a:gd name="csY41" fmla="*/ 171260 h 2076207"/>
              <a:gd name="csX42" fmla="*/ 601503 w 729419"/>
              <a:gd name="csY42" fmla="*/ 163707 h 2076207"/>
              <a:gd name="csX43" fmla="*/ 625254 w 729419"/>
              <a:gd name="csY43" fmla="*/ 163123 h 2076207"/>
              <a:gd name="csX44" fmla="*/ 625468 w 729419"/>
              <a:gd name="csY44" fmla="*/ 187579 h 2076207"/>
              <a:gd name="csX45" fmla="*/ 597543 w 729419"/>
              <a:gd name="csY45" fmla="*/ 251872 h 2076207"/>
              <a:gd name="csX46" fmla="*/ 531831 w 729419"/>
              <a:gd name="csY46" fmla="*/ 442689 h 2076207"/>
              <a:gd name="csX47" fmla="*/ 519888 w 729419"/>
              <a:gd name="csY47" fmla="*/ 501474 h 2076207"/>
              <a:gd name="csX48" fmla="*/ 522506 w 729419"/>
              <a:gd name="csY48" fmla="*/ 525086 h 2076207"/>
              <a:gd name="csX49" fmla="*/ 516235 w 729419"/>
              <a:gd name="csY49" fmla="*/ 555946 h 2076207"/>
              <a:gd name="csX50" fmla="*/ 521332 w 729419"/>
              <a:gd name="csY50" fmla="*/ 610676 h 2076207"/>
              <a:gd name="csX51" fmla="*/ 541382 w 729419"/>
              <a:gd name="csY51" fmla="*/ 642597 h 2076207"/>
              <a:gd name="csX52" fmla="*/ 557031 w 729419"/>
              <a:gd name="csY52" fmla="*/ 667949 h 2076207"/>
              <a:gd name="csX53" fmla="*/ 553994 w 729419"/>
              <a:gd name="csY53" fmla="*/ 744146 h 2076207"/>
              <a:gd name="csX54" fmla="*/ 508215 w 729419"/>
              <a:gd name="csY54" fmla="*/ 758841 h 2076207"/>
              <a:gd name="csX55" fmla="*/ 497442 w 729419"/>
              <a:gd name="csY55" fmla="*/ 771256 h 2076207"/>
              <a:gd name="csX56" fmla="*/ 493005 w 729419"/>
              <a:gd name="csY56" fmla="*/ 922055 h 2076207"/>
              <a:gd name="csX57" fmla="*/ 502900 w 729419"/>
              <a:gd name="csY57" fmla="*/ 1114191 h 2076207"/>
              <a:gd name="csX58" fmla="*/ 508800 w 729419"/>
              <a:gd name="csY58" fmla="*/ 1205474 h 2076207"/>
              <a:gd name="csX59" fmla="*/ 522952 w 729419"/>
              <a:gd name="csY59" fmla="*/ 1320065 h 2076207"/>
              <a:gd name="csX60" fmla="*/ 554682 w 729419"/>
              <a:gd name="csY60" fmla="*/ 1501203 h 2076207"/>
              <a:gd name="csX61" fmla="*/ 576958 w 729419"/>
              <a:gd name="csY61" fmla="*/ 1593963 h 2076207"/>
              <a:gd name="csX62" fmla="*/ 595349 w 729419"/>
              <a:gd name="csY62" fmla="*/ 1613498 h 2076207"/>
              <a:gd name="csX63" fmla="*/ 613936 w 729419"/>
              <a:gd name="csY63" fmla="*/ 1624058 h 2076207"/>
              <a:gd name="csX64" fmla="*/ 620938 w 729419"/>
              <a:gd name="csY64" fmla="*/ 1652071 h 2076207"/>
              <a:gd name="csX65" fmla="*/ 630805 w 729419"/>
              <a:gd name="csY65" fmla="*/ 1721702 h 2076207"/>
              <a:gd name="csX66" fmla="*/ 685830 w 729419"/>
              <a:gd name="csY66" fmla="*/ 1792915 h 2076207"/>
              <a:gd name="csX67" fmla="*/ 708904 w 729419"/>
              <a:gd name="csY67" fmla="*/ 1890290 h 2076207"/>
              <a:gd name="csX68" fmla="*/ 716580 w 729419"/>
              <a:gd name="csY68" fmla="*/ 1951136 h 2076207"/>
              <a:gd name="csX69" fmla="*/ 729397 w 729419"/>
              <a:gd name="csY69" fmla="*/ 2030261 h 2076207"/>
              <a:gd name="csX70" fmla="*/ 714212 w 729419"/>
              <a:gd name="csY70" fmla="*/ 2049544 h 2076207"/>
              <a:gd name="csX71" fmla="*/ 645428 w 729419"/>
              <a:gd name="csY71" fmla="*/ 2070825 h 2076207"/>
              <a:gd name="csX72" fmla="*/ 635822 w 729419"/>
              <a:gd name="csY72" fmla="*/ 2075145 h 2076207"/>
              <a:gd name="csX73" fmla="*/ 588428 w 729419"/>
              <a:gd name="csY73" fmla="*/ 2075144 h 2076207"/>
              <a:gd name="csX74" fmla="*/ 590041 w 729419"/>
              <a:gd name="csY74" fmla="*/ 2071383 h 2076207"/>
              <a:gd name="csX75" fmla="*/ 667788 w 729419"/>
              <a:gd name="csY75" fmla="*/ 2056852 h 2076207"/>
              <a:gd name="csX76" fmla="*/ 706629 w 729419"/>
              <a:gd name="csY76" fmla="*/ 2044290 h 2076207"/>
              <a:gd name="csX77" fmla="*/ 702674 w 729419"/>
              <a:gd name="csY77" fmla="*/ 2041581 h 2076207"/>
              <a:gd name="csX78" fmla="*/ 544974 w 729419"/>
              <a:gd name="csY78" fmla="*/ 2071274 h 2076207"/>
              <a:gd name="csX79" fmla="*/ 538352 w 729419"/>
              <a:gd name="csY79" fmla="*/ 2076207 h 2076207"/>
              <a:gd name="csX80" fmla="*/ 96263 w 729419"/>
              <a:gd name="csY80" fmla="*/ 2076207 h 2076207"/>
              <a:gd name="csX81" fmla="*/ 489970 w 729419"/>
              <a:gd name="csY81" fmla="*/ 152208 h 2076207"/>
              <a:gd name="csX82" fmla="*/ 490754 w 729419"/>
              <a:gd name="csY82" fmla="*/ 152592 h 2076207"/>
              <a:gd name="csX83" fmla="*/ 489489 w 729419"/>
              <a:gd name="csY83" fmla="*/ 149547 h 2076207"/>
              <a:gd name="csX84" fmla="*/ 393621 w 729419"/>
              <a:gd name="csY84" fmla="*/ 99259 h 2076207"/>
              <a:gd name="csX85" fmla="*/ 390419 w 729419"/>
              <a:gd name="csY85" fmla="*/ 18568 h 2076207"/>
              <a:gd name="csX86" fmla="*/ 334131 w 729419"/>
              <a:gd name="csY86" fmla="*/ 24327 h 2076207"/>
              <a:gd name="csX87" fmla="*/ 344678 w 729419"/>
              <a:gd name="csY87" fmla="*/ 101259 h 2076207"/>
              <a:gd name="csX88" fmla="*/ 298854 w 729419"/>
              <a:gd name="csY88" fmla="*/ 114003 h 2076207"/>
              <a:gd name="csX89" fmla="*/ 237456 w 729419"/>
              <a:gd name="csY89" fmla="*/ 154340 h 2076207"/>
              <a:gd name="csX90" fmla="*/ 240382 w 729419"/>
              <a:gd name="csY90" fmla="*/ 154035 h 2076207"/>
              <a:gd name="csX91" fmla="*/ 262731 w 729419"/>
              <a:gd name="csY91" fmla="*/ 170426 h 2076207"/>
              <a:gd name="csX92" fmla="*/ 279169 w 729419"/>
              <a:gd name="csY92" fmla="*/ 193173 h 2076207"/>
              <a:gd name="csX93" fmla="*/ 327717 w 729419"/>
              <a:gd name="csY93" fmla="*/ 188556 h 2076207"/>
              <a:gd name="csX94" fmla="*/ 348052 w 729419"/>
              <a:gd name="csY94" fmla="*/ 156919 h 2076207"/>
              <a:gd name="csX95" fmla="*/ 380330 w 729419"/>
              <a:gd name="csY95" fmla="*/ 156483 h 2076207"/>
              <a:gd name="csX96" fmla="*/ 408490 w 729419"/>
              <a:gd name="csY96" fmla="*/ 195400 h 2076207"/>
              <a:gd name="csX97" fmla="*/ 445346 w 729419"/>
              <a:gd name="csY97" fmla="*/ 197582 h 2076207"/>
              <a:gd name="csX98" fmla="*/ 464798 w 729419"/>
              <a:gd name="csY98" fmla="*/ 174107 h 2076207"/>
              <a:gd name="csX99" fmla="*/ 489970 w 729419"/>
              <a:gd name="csY99" fmla="*/ 152208 h 2076207"/>
              <a:gd name="csX100" fmla="*/ 140694 w 729419"/>
              <a:gd name="csY100" fmla="*/ 201837 h 2076207"/>
              <a:gd name="csX101" fmla="*/ 139834 w 729419"/>
              <a:gd name="csY101" fmla="*/ 201482 h 2076207"/>
              <a:gd name="csX102" fmla="*/ 140812 w 729419"/>
              <a:gd name="csY102" fmla="*/ 204941 h 2076207"/>
              <a:gd name="csX103" fmla="*/ 144631 w 729419"/>
              <a:gd name="csY103" fmla="*/ 217811 h 2076207"/>
              <a:gd name="csX104" fmla="*/ 201241 w 729419"/>
              <a:gd name="csY104" fmla="*/ 373387 h 2076207"/>
              <a:gd name="csX105" fmla="*/ 235971 w 729419"/>
              <a:gd name="csY105" fmla="*/ 504451 h 2076207"/>
              <a:gd name="csX106" fmla="*/ 247475 w 729419"/>
              <a:gd name="csY106" fmla="*/ 513241 h 2076207"/>
              <a:gd name="csX107" fmla="*/ 289066 w 729419"/>
              <a:gd name="csY107" fmla="*/ 511170 h 2076207"/>
              <a:gd name="csX108" fmla="*/ 378229 w 729419"/>
              <a:gd name="csY108" fmla="*/ 511084 h 2076207"/>
              <a:gd name="csX109" fmla="*/ 470850 w 729419"/>
              <a:gd name="csY109" fmla="*/ 516341 h 2076207"/>
              <a:gd name="csX110" fmla="*/ 492933 w 729419"/>
              <a:gd name="csY110" fmla="*/ 497969 h 2076207"/>
              <a:gd name="csX111" fmla="*/ 557617 w 729419"/>
              <a:gd name="csY111" fmla="*/ 280398 h 2076207"/>
              <a:gd name="csX112" fmla="*/ 588788 w 729419"/>
              <a:gd name="csY112" fmla="*/ 200385 h 2076207"/>
              <a:gd name="csX113" fmla="*/ 530958 w 729419"/>
              <a:gd name="csY113" fmla="*/ 232968 h 2076207"/>
              <a:gd name="csX114" fmla="*/ 483823 w 729419"/>
              <a:gd name="csY114" fmla="*/ 190364 h 2076207"/>
              <a:gd name="csX115" fmla="*/ 466649 w 729419"/>
              <a:gd name="csY115" fmla="*/ 209061 h 2076207"/>
              <a:gd name="csX116" fmla="*/ 399941 w 729419"/>
              <a:gd name="csY116" fmla="*/ 216988 h 2076207"/>
              <a:gd name="csX117" fmla="*/ 363018 w 729419"/>
              <a:gd name="csY117" fmla="*/ 179615 h 2076207"/>
              <a:gd name="csX118" fmla="*/ 308839 w 729419"/>
              <a:gd name="csY118" fmla="*/ 227846 h 2076207"/>
              <a:gd name="csX119" fmla="*/ 245077 w 729419"/>
              <a:gd name="csY119" fmla="*/ 192402 h 2076207"/>
              <a:gd name="csX120" fmla="*/ 242829 w 729419"/>
              <a:gd name="csY120" fmla="*/ 198815 h 2076207"/>
              <a:gd name="csX121" fmla="*/ 168452 w 729419"/>
              <a:gd name="csY121" fmla="*/ 219348 h 2076207"/>
              <a:gd name="csX122" fmla="*/ 140694 w 729419"/>
              <a:gd name="csY122" fmla="*/ 201837 h 2076207"/>
              <a:gd name="csX123" fmla="*/ 259999 w 729419"/>
              <a:gd name="csY123" fmla="*/ 966699 h 2076207"/>
              <a:gd name="csX124" fmla="*/ 257072 w 729419"/>
              <a:gd name="csY124" fmla="*/ 1070424 h 2076207"/>
              <a:gd name="csX125" fmla="*/ 251372 w 729419"/>
              <a:gd name="csY125" fmla="*/ 1157618 h 2076207"/>
              <a:gd name="csX126" fmla="*/ 232677 w 729419"/>
              <a:gd name="csY126" fmla="*/ 1320279 h 2076207"/>
              <a:gd name="csX127" fmla="*/ 209182 w 729419"/>
              <a:gd name="csY127" fmla="*/ 1468667 h 2076207"/>
              <a:gd name="csX128" fmla="*/ 175302 w 729419"/>
              <a:gd name="csY128" fmla="*/ 1616623 h 2076207"/>
              <a:gd name="csX129" fmla="*/ 182769 w 729419"/>
              <a:gd name="csY129" fmla="*/ 1629786 h 2076207"/>
              <a:gd name="csX130" fmla="*/ 212156 w 729419"/>
              <a:gd name="csY130" fmla="*/ 1632656 h 2076207"/>
              <a:gd name="csX131" fmla="*/ 351295 w 729419"/>
              <a:gd name="csY131" fmla="*/ 1632801 h 2076207"/>
              <a:gd name="csX132" fmla="*/ 376150 w 729419"/>
              <a:gd name="csY132" fmla="*/ 1608307 h 2076207"/>
              <a:gd name="csX133" fmla="*/ 373450 w 729419"/>
              <a:gd name="csY133" fmla="*/ 1457291 h 2076207"/>
              <a:gd name="csX134" fmla="*/ 370936 w 729419"/>
              <a:gd name="csY134" fmla="*/ 1342736 h 2076207"/>
              <a:gd name="csX135" fmla="*/ 368328 w 729419"/>
              <a:gd name="csY135" fmla="*/ 1203878 h 2076207"/>
              <a:gd name="csX136" fmla="*/ 367836 w 729419"/>
              <a:gd name="csY136" fmla="*/ 813478 h 2076207"/>
              <a:gd name="csX137" fmla="*/ 365240 w 729419"/>
              <a:gd name="csY137" fmla="*/ 773243 h 2076207"/>
              <a:gd name="csX138" fmla="*/ 353084 w 729419"/>
              <a:gd name="csY138" fmla="*/ 762083 h 2076207"/>
              <a:gd name="csX139" fmla="*/ 280966 w 729419"/>
              <a:gd name="csY139" fmla="*/ 759855 h 2076207"/>
              <a:gd name="csX140" fmla="*/ 259965 w 729419"/>
              <a:gd name="csY140" fmla="*/ 779553 h 2076207"/>
              <a:gd name="csX141" fmla="*/ 262341 w 729419"/>
              <a:gd name="csY141" fmla="*/ 856275 h 2076207"/>
              <a:gd name="csX142" fmla="*/ 259999 w 729419"/>
              <a:gd name="csY142" fmla="*/ 966699 h 2076207"/>
              <a:gd name="csX143" fmla="*/ 55556 w 729419"/>
              <a:gd name="csY143" fmla="*/ 1835827 h 2076207"/>
              <a:gd name="csX144" fmla="*/ 49393 w 729419"/>
              <a:gd name="csY144" fmla="*/ 1878155 h 2076207"/>
              <a:gd name="csX145" fmla="*/ 73949 w 729419"/>
              <a:gd name="csY145" fmla="*/ 1905781 h 2076207"/>
              <a:gd name="csX146" fmla="*/ 110073 w 729419"/>
              <a:gd name="csY146" fmla="*/ 1909068 h 2076207"/>
              <a:gd name="csX147" fmla="*/ 224745 w 729419"/>
              <a:gd name="csY147" fmla="*/ 1921652 h 2076207"/>
              <a:gd name="csX148" fmla="*/ 347327 w 729419"/>
              <a:gd name="csY148" fmla="*/ 1924778 h 2076207"/>
              <a:gd name="csX149" fmla="*/ 363345 w 729419"/>
              <a:gd name="csY149" fmla="*/ 1923293 h 2076207"/>
              <a:gd name="csX150" fmla="*/ 373787 w 729419"/>
              <a:gd name="csY150" fmla="*/ 1911200 h 2076207"/>
              <a:gd name="csX151" fmla="*/ 376623 w 729419"/>
              <a:gd name="csY151" fmla="*/ 1696741 h 2076207"/>
              <a:gd name="csX152" fmla="*/ 360437 w 729419"/>
              <a:gd name="csY152" fmla="*/ 1681289 h 2076207"/>
              <a:gd name="csX153" fmla="*/ 263503 w 729419"/>
              <a:gd name="csY153" fmla="*/ 1678179 h 2076207"/>
              <a:gd name="csX154" fmla="*/ 160381 w 729419"/>
              <a:gd name="csY154" fmla="*/ 1670405 h 2076207"/>
              <a:gd name="csX155" fmla="*/ 143321 w 729419"/>
              <a:gd name="csY155" fmla="*/ 1685538 h 2076207"/>
              <a:gd name="csX156" fmla="*/ 124769 w 729419"/>
              <a:gd name="csY156" fmla="*/ 1738195 h 2076207"/>
              <a:gd name="csX157" fmla="*/ 90593 w 729419"/>
              <a:gd name="csY157" fmla="*/ 1779570 h 2076207"/>
              <a:gd name="csX158" fmla="*/ 55556 w 729419"/>
              <a:gd name="csY158" fmla="*/ 1835827 h 2076207"/>
              <a:gd name="csX159" fmla="*/ 378900 w 729419"/>
              <a:gd name="csY159" fmla="*/ 2007280 h 2076207"/>
              <a:gd name="csX160" fmla="*/ 378887 w 729419"/>
              <a:gd name="csY160" fmla="*/ 1995127 h 2076207"/>
              <a:gd name="csX161" fmla="*/ 359084 w 729419"/>
              <a:gd name="csY161" fmla="*/ 1975964 h 2076207"/>
              <a:gd name="csX162" fmla="*/ 247288 w 729419"/>
              <a:gd name="csY162" fmla="*/ 1973305 h 2076207"/>
              <a:gd name="csX163" fmla="*/ 201692 w 729419"/>
              <a:gd name="csY163" fmla="*/ 1970275 h 2076207"/>
              <a:gd name="csX164" fmla="*/ 57962 w 729419"/>
              <a:gd name="csY164" fmla="*/ 1952648 h 2076207"/>
              <a:gd name="csX165" fmla="*/ 39194 w 729419"/>
              <a:gd name="csY165" fmla="*/ 1963552 h 2076207"/>
              <a:gd name="csX166" fmla="*/ 30066 w 729419"/>
              <a:gd name="csY166" fmla="*/ 2006631 h 2076207"/>
              <a:gd name="csX167" fmla="*/ 40232 w 729419"/>
              <a:gd name="csY167" fmla="*/ 2019486 h 2076207"/>
              <a:gd name="csX168" fmla="*/ 238186 w 729419"/>
              <a:gd name="csY168" fmla="*/ 2046096 h 2076207"/>
              <a:gd name="csX169" fmla="*/ 342155 w 729419"/>
              <a:gd name="csY169" fmla="*/ 2046441 h 2076207"/>
              <a:gd name="csX170" fmla="*/ 378900 w 729419"/>
              <a:gd name="csY170" fmla="*/ 2007280 h 2076207"/>
              <a:gd name="csX171" fmla="*/ 310220 w 729419"/>
              <a:gd name="csY171" fmla="*/ 554288 h 2076207"/>
              <a:gd name="csX172" fmla="*/ 259136 w 729419"/>
              <a:gd name="csY172" fmla="*/ 556881 h 2076207"/>
              <a:gd name="csX173" fmla="*/ 249085 w 729419"/>
              <a:gd name="csY173" fmla="*/ 567981 h 2076207"/>
              <a:gd name="csX174" fmla="*/ 249141 w 729419"/>
              <a:gd name="csY174" fmla="*/ 605644 h 2076207"/>
              <a:gd name="csX175" fmla="*/ 262628 w 729419"/>
              <a:gd name="csY175" fmla="*/ 605627 h 2076207"/>
              <a:gd name="csX176" fmla="*/ 369608 w 729419"/>
              <a:gd name="csY176" fmla="*/ 603027 h 2076207"/>
              <a:gd name="csX177" fmla="*/ 463931 w 729419"/>
              <a:gd name="csY177" fmla="*/ 605146 h 2076207"/>
              <a:gd name="csX178" fmla="*/ 478113 w 729419"/>
              <a:gd name="csY178" fmla="*/ 595843 h 2076207"/>
              <a:gd name="csX179" fmla="*/ 478796 w 729419"/>
              <a:gd name="csY179" fmla="*/ 556832 h 2076207"/>
              <a:gd name="csX180" fmla="*/ 310220 w 729419"/>
              <a:gd name="csY180" fmla="*/ 554288 h 2076207"/>
              <a:gd name="csX181" fmla="*/ 348836 w 729419"/>
              <a:gd name="csY181" fmla="*/ 684115 h 2076207"/>
              <a:gd name="csX182" fmla="*/ 281333 w 729419"/>
              <a:gd name="csY182" fmla="*/ 683313 h 2076207"/>
              <a:gd name="csX183" fmla="*/ 212728 w 729419"/>
              <a:gd name="csY183" fmla="*/ 681931 h 2076207"/>
              <a:gd name="csX184" fmla="*/ 187283 w 729419"/>
              <a:gd name="csY184" fmla="*/ 689555 h 2076207"/>
              <a:gd name="csX185" fmla="*/ 186163 w 729419"/>
              <a:gd name="csY185" fmla="*/ 718266 h 2076207"/>
              <a:gd name="csX186" fmla="*/ 209894 w 729419"/>
              <a:gd name="csY186" fmla="*/ 726798 h 2076207"/>
              <a:gd name="csX187" fmla="*/ 334814 w 729419"/>
              <a:gd name="csY187" fmla="*/ 732494 h 2076207"/>
              <a:gd name="csX188" fmla="*/ 364856 w 729419"/>
              <a:gd name="csY188" fmla="*/ 707963 h 2076207"/>
              <a:gd name="csX189" fmla="*/ 348836 w 729419"/>
              <a:gd name="csY189" fmla="*/ 684115 h 2076207"/>
              <a:gd name="csX190" fmla="*/ 298865 w 729419"/>
              <a:gd name="csY190" fmla="*/ 621954 h 2076207"/>
              <a:gd name="csX191" fmla="*/ 251619 w 729419"/>
              <a:gd name="csY191" fmla="*/ 622133 h 2076207"/>
              <a:gd name="csX192" fmla="*/ 214459 w 729419"/>
              <a:gd name="csY192" fmla="*/ 636230 h 2076207"/>
              <a:gd name="csX193" fmla="*/ 221436 w 729419"/>
              <a:gd name="csY193" fmla="*/ 654205 h 2076207"/>
              <a:gd name="csX194" fmla="*/ 272412 w 729419"/>
              <a:gd name="csY194" fmla="*/ 657250 h 2076207"/>
              <a:gd name="csX195" fmla="*/ 349094 w 729419"/>
              <a:gd name="csY195" fmla="*/ 659282 h 2076207"/>
              <a:gd name="csX196" fmla="*/ 362996 w 729419"/>
              <a:gd name="csY196" fmla="*/ 644234 h 2076207"/>
              <a:gd name="csX197" fmla="*/ 348472 w 729419"/>
              <a:gd name="csY197" fmla="*/ 624649 h 2076207"/>
              <a:gd name="csX198" fmla="*/ 298865 w 729419"/>
              <a:gd name="csY198" fmla="*/ 621954 h 2076207"/>
              <a:gd name="csX199" fmla="*/ 227796 w 729419"/>
              <a:gd name="csY199" fmla="*/ 528000 h 2076207"/>
              <a:gd name="csX200" fmla="*/ 241009 w 729419"/>
              <a:gd name="csY200" fmla="*/ 545897 h 2076207"/>
              <a:gd name="csX201" fmla="*/ 282607 w 729419"/>
              <a:gd name="csY201" fmla="*/ 543480 h 2076207"/>
              <a:gd name="csX202" fmla="*/ 354213 w 729419"/>
              <a:gd name="csY202" fmla="*/ 543384 h 2076207"/>
              <a:gd name="csX203" fmla="*/ 365334 w 729419"/>
              <a:gd name="csY203" fmla="*/ 533397 h 2076207"/>
              <a:gd name="csX204" fmla="*/ 354531 w 729419"/>
              <a:gd name="csY204" fmla="*/ 521620 h 2076207"/>
              <a:gd name="csX205" fmla="*/ 259169 w 729419"/>
              <a:gd name="csY205" fmla="*/ 521978 h 2076207"/>
              <a:gd name="csX206" fmla="*/ 227796 w 729419"/>
              <a:gd name="csY206" fmla="*/ 528000 h 2076207"/>
              <a:gd name="csX207" fmla="*/ 508068 w 729419"/>
              <a:gd name="csY207" fmla="*/ 190710 h 2076207"/>
              <a:gd name="csX208" fmla="*/ 521293 w 729419"/>
              <a:gd name="csY208" fmla="*/ 205907 h 2076207"/>
              <a:gd name="csX209" fmla="*/ 525175 w 729419"/>
              <a:gd name="csY209" fmla="*/ 202985 h 2076207"/>
              <a:gd name="csX210" fmla="*/ 500276 w 729419"/>
              <a:gd name="csY210" fmla="*/ 160640 h 2076207"/>
              <a:gd name="csX211" fmla="*/ 497122 w 729419"/>
              <a:gd name="csY211" fmla="*/ 162007 h 2076207"/>
              <a:gd name="csX212" fmla="*/ 508068 w 729419"/>
              <a:gd name="csY212" fmla="*/ 190710 h 2076207"/>
              <a:gd name="csX213" fmla="*/ 215522 w 729419"/>
              <a:gd name="csY213" fmla="*/ 197296 h 2076207"/>
              <a:gd name="csX214" fmla="*/ 234029 w 729419"/>
              <a:gd name="csY214" fmla="*/ 162725 h 2076207"/>
              <a:gd name="csX215" fmla="*/ 229000 w 729419"/>
              <a:gd name="csY215" fmla="*/ 159902 h 2076207"/>
              <a:gd name="csX216" fmla="*/ 204824 w 729419"/>
              <a:gd name="csY216" fmla="*/ 199677 h 2076207"/>
              <a:gd name="csX217" fmla="*/ 207990 w 729419"/>
              <a:gd name="csY217" fmla="*/ 202198 h 2076207"/>
              <a:gd name="csX218" fmla="*/ 215522 w 729419"/>
              <a:gd name="csY218" fmla="*/ 197296 h 2076207"/>
              <a:gd name="csX219" fmla="*/ 484400 w 729419"/>
              <a:gd name="csY219" fmla="*/ 863693 h 2076207"/>
              <a:gd name="csX220" fmla="*/ 484400 w 729419"/>
              <a:gd name="csY220" fmla="*/ 896678 h 2076207"/>
              <a:gd name="csX221" fmla="*/ 486181 w 729419"/>
              <a:gd name="csY221" fmla="*/ 896585 h 2076207"/>
              <a:gd name="csX222" fmla="*/ 486181 w 729419"/>
              <a:gd name="csY222" fmla="*/ 795289 h 2076207"/>
              <a:gd name="csX223" fmla="*/ 484406 w 729419"/>
              <a:gd name="csY223" fmla="*/ 795283 h 2076207"/>
              <a:gd name="csX224" fmla="*/ 484400 w 729419"/>
              <a:gd name="csY224" fmla="*/ 863693 h 2076207"/>
              <a:gd name="csX225" fmla="*/ 720241 w 729419"/>
              <a:gd name="csY225" fmla="*/ 2030666 h 2076207"/>
              <a:gd name="csX226" fmla="*/ 721175 w 729419"/>
              <a:gd name="csY226" fmla="*/ 2029733 h 2076207"/>
              <a:gd name="csX227" fmla="*/ 720241 w 729419"/>
              <a:gd name="csY227" fmla="*/ 2030666 h 2076207"/>
              <a:gd name="csX228" fmla="*/ 715702 w 729419"/>
              <a:gd name="csY228" fmla="*/ 2037051 h 2076207"/>
              <a:gd name="csX229" fmla="*/ 715702 w 729419"/>
              <a:gd name="csY229" fmla="*/ 2037051 h 2076207"/>
              <a:gd name="csX230" fmla="*/ 709953 w 729419"/>
              <a:gd name="csY230" fmla="*/ 2040017 h 2076207"/>
              <a:gd name="csX231" fmla="*/ 710209 w 729419"/>
              <a:gd name="csY231" fmla="*/ 2039597 h 2076207"/>
              <a:gd name="csX232" fmla="*/ 709953 w 729419"/>
              <a:gd name="csY232" fmla="*/ 2040017 h 2076207"/>
              <a:gd name="csX0" fmla="*/ 96263 w 729419"/>
              <a:gd name="csY0" fmla="*/ 2076207 h 2076207"/>
              <a:gd name="csX1" fmla="*/ 63862 w 729419"/>
              <a:gd name="csY1" fmla="*/ 2065388 h 2076207"/>
              <a:gd name="csX2" fmla="*/ 16555 w 729419"/>
              <a:gd name="csY2" fmla="*/ 2050152 h 2076207"/>
              <a:gd name="csX3" fmla="*/ 15 w 729419"/>
              <a:gd name="csY3" fmla="*/ 2023802 h 2076207"/>
              <a:gd name="csX4" fmla="*/ 18368 w 729419"/>
              <a:gd name="csY4" fmla="*/ 1940709 h 2076207"/>
              <a:gd name="csX5" fmla="*/ 22139 w 729419"/>
              <a:gd name="csY5" fmla="*/ 1907268 h 2076207"/>
              <a:gd name="csX6" fmla="*/ 57941 w 729419"/>
              <a:gd name="csY6" fmla="*/ 1774163 h 2076207"/>
              <a:gd name="csX7" fmla="*/ 102478 w 729419"/>
              <a:gd name="csY7" fmla="*/ 1720275 h 2076207"/>
              <a:gd name="csX8" fmla="*/ 108579 w 729419"/>
              <a:gd name="csY8" fmla="*/ 1650967 h 2076207"/>
              <a:gd name="csX9" fmla="*/ 115628 w 729419"/>
              <a:gd name="csY9" fmla="*/ 1625405 h 2076207"/>
              <a:gd name="csX10" fmla="*/ 156323 w 729419"/>
              <a:gd name="csY10" fmla="*/ 1560181 h 2076207"/>
              <a:gd name="csX11" fmla="*/ 199424 w 729419"/>
              <a:gd name="csY11" fmla="*/ 1364729 h 2076207"/>
              <a:gd name="csX12" fmla="*/ 216779 w 729419"/>
              <a:gd name="csY12" fmla="*/ 1219490 h 2076207"/>
              <a:gd name="csX13" fmla="*/ 229755 w 729419"/>
              <a:gd name="csY13" fmla="*/ 1099357 h 2076207"/>
              <a:gd name="csX14" fmla="*/ 232707 w 729419"/>
              <a:gd name="csY14" fmla="*/ 1056423 h 2076207"/>
              <a:gd name="csX15" fmla="*/ 235622 w 729419"/>
              <a:gd name="csY15" fmla="*/ 952675 h 2076207"/>
              <a:gd name="csX16" fmla="*/ 235445 w 729419"/>
              <a:gd name="csY16" fmla="*/ 780278 h 2076207"/>
              <a:gd name="csX17" fmla="*/ 214544 w 729419"/>
              <a:gd name="csY17" fmla="*/ 756435 h 2076207"/>
              <a:gd name="csX18" fmla="*/ 172569 w 729419"/>
              <a:gd name="csY18" fmla="*/ 742582 h 2076207"/>
              <a:gd name="csX19" fmla="*/ 168784 w 729419"/>
              <a:gd name="csY19" fmla="*/ 669116 h 2076207"/>
              <a:gd name="csX20" fmla="*/ 191657 w 729419"/>
              <a:gd name="csY20" fmla="*/ 630765 h 2076207"/>
              <a:gd name="csX21" fmla="*/ 208150 w 729419"/>
              <a:gd name="csY21" fmla="*/ 609084 h 2076207"/>
              <a:gd name="csX22" fmla="*/ 216756 w 729419"/>
              <a:gd name="csY22" fmla="*/ 558673 h 2076207"/>
              <a:gd name="csX23" fmla="*/ 209092 w 729419"/>
              <a:gd name="csY23" fmla="*/ 521540 h 2076207"/>
              <a:gd name="csX24" fmla="*/ 204683 w 729419"/>
              <a:gd name="csY24" fmla="*/ 474024 h 2076207"/>
              <a:gd name="csX25" fmla="*/ 115483 w 729419"/>
              <a:gd name="csY25" fmla="*/ 213499 h 2076207"/>
              <a:gd name="csX26" fmla="*/ 102909 w 729419"/>
              <a:gd name="csY26" fmla="*/ 182297 h 2076207"/>
              <a:gd name="csX27" fmla="*/ 104315 w 729419"/>
              <a:gd name="csY27" fmla="*/ 163968 h 2076207"/>
              <a:gd name="csX28" fmla="*/ 122444 w 729419"/>
              <a:gd name="csY28" fmla="*/ 160805 h 2076207"/>
              <a:gd name="csX29" fmla="*/ 170283 w 729419"/>
              <a:gd name="csY29" fmla="*/ 187783 h 2076207"/>
              <a:gd name="csX30" fmla="*/ 180938 w 729419"/>
              <a:gd name="csY30" fmla="*/ 195322 h 2076207"/>
              <a:gd name="csX31" fmla="*/ 221419 w 729419"/>
              <a:gd name="csY31" fmla="*/ 138058 h 2076207"/>
              <a:gd name="csX32" fmla="*/ 294099 w 729419"/>
              <a:gd name="csY32" fmla="*/ 91372 h 2076207"/>
              <a:gd name="csX33" fmla="*/ 302307 w 729419"/>
              <a:gd name="csY33" fmla="*/ 76560 h 2076207"/>
              <a:gd name="csX34" fmla="*/ 320284 w 729419"/>
              <a:gd name="csY34" fmla="*/ 8414 h 2076207"/>
              <a:gd name="csX35" fmla="*/ 324784 w 729419"/>
              <a:gd name="csY35" fmla="*/ 946 h 2076207"/>
              <a:gd name="csX36" fmla="*/ 399212 w 729419"/>
              <a:gd name="csY36" fmla="*/ 0 h 2076207"/>
              <a:gd name="csX37" fmla="*/ 425980 w 729419"/>
              <a:gd name="csY37" fmla="*/ 78301 h 2076207"/>
              <a:gd name="csX38" fmla="*/ 431861 w 729419"/>
              <a:gd name="csY38" fmla="*/ 90312 h 2076207"/>
              <a:gd name="csX39" fmla="*/ 540349 w 729419"/>
              <a:gd name="csY39" fmla="*/ 187946 h 2076207"/>
              <a:gd name="csX40" fmla="*/ 545555 w 729419"/>
              <a:gd name="csY40" fmla="*/ 197828 h 2076207"/>
              <a:gd name="csX41" fmla="*/ 587318 w 729419"/>
              <a:gd name="csY41" fmla="*/ 171260 h 2076207"/>
              <a:gd name="csX42" fmla="*/ 601503 w 729419"/>
              <a:gd name="csY42" fmla="*/ 163707 h 2076207"/>
              <a:gd name="csX43" fmla="*/ 625254 w 729419"/>
              <a:gd name="csY43" fmla="*/ 163123 h 2076207"/>
              <a:gd name="csX44" fmla="*/ 625468 w 729419"/>
              <a:gd name="csY44" fmla="*/ 187579 h 2076207"/>
              <a:gd name="csX45" fmla="*/ 597543 w 729419"/>
              <a:gd name="csY45" fmla="*/ 251872 h 2076207"/>
              <a:gd name="csX46" fmla="*/ 531831 w 729419"/>
              <a:gd name="csY46" fmla="*/ 442689 h 2076207"/>
              <a:gd name="csX47" fmla="*/ 519888 w 729419"/>
              <a:gd name="csY47" fmla="*/ 501474 h 2076207"/>
              <a:gd name="csX48" fmla="*/ 522506 w 729419"/>
              <a:gd name="csY48" fmla="*/ 525086 h 2076207"/>
              <a:gd name="csX49" fmla="*/ 516235 w 729419"/>
              <a:gd name="csY49" fmla="*/ 555946 h 2076207"/>
              <a:gd name="csX50" fmla="*/ 521332 w 729419"/>
              <a:gd name="csY50" fmla="*/ 610676 h 2076207"/>
              <a:gd name="csX51" fmla="*/ 541382 w 729419"/>
              <a:gd name="csY51" fmla="*/ 642597 h 2076207"/>
              <a:gd name="csX52" fmla="*/ 557031 w 729419"/>
              <a:gd name="csY52" fmla="*/ 667949 h 2076207"/>
              <a:gd name="csX53" fmla="*/ 553994 w 729419"/>
              <a:gd name="csY53" fmla="*/ 744146 h 2076207"/>
              <a:gd name="csX54" fmla="*/ 508215 w 729419"/>
              <a:gd name="csY54" fmla="*/ 758841 h 2076207"/>
              <a:gd name="csX55" fmla="*/ 497442 w 729419"/>
              <a:gd name="csY55" fmla="*/ 771256 h 2076207"/>
              <a:gd name="csX56" fmla="*/ 493005 w 729419"/>
              <a:gd name="csY56" fmla="*/ 922055 h 2076207"/>
              <a:gd name="csX57" fmla="*/ 502900 w 729419"/>
              <a:gd name="csY57" fmla="*/ 1114191 h 2076207"/>
              <a:gd name="csX58" fmla="*/ 508800 w 729419"/>
              <a:gd name="csY58" fmla="*/ 1205474 h 2076207"/>
              <a:gd name="csX59" fmla="*/ 522952 w 729419"/>
              <a:gd name="csY59" fmla="*/ 1320065 h 2076207"/>
              <a:gd name="csX60" fmla="*/ 554682 w 729419"/>
              <a:gd name="csY60" fmla="*/ 1501203 h 2076207"/>
              <a:gd name="csX61" fmla="*/ 576958 w 729419"/>
              <a:gd name="csY61" fmla="*/ 1593963 h 2076207"/>
              <a:gd name="csX62" fmla="*/ 595349 w 729419"/>
              <a:gd name="csY62" fmla="*/ 1613498 h 2076207"/>
              <a:gd name="csX63" fmla="*/ 613936 w 729419"/>
              <a:gd name="csY63" fmla="*/ 1624058 h 2076207"/>
              <a:gd name="csX64" fmla="*/ 620938 w 729419"/>
              <a:gd name="csY64" fmla="*/ 1652071 h 2076207"/>
              <a:gd name="csX65" fmla="*/ 630805 w 729419"/>
              <a:gd name="csY65" fmla="*/ 1721702 h 2076207"/>
              <a:gd name="csX66" fmla="*/ 685830 w 729419"/>
              <a:gd name="csY66" fmla="*/ 1792915 h 2076207"/>
              <a:gd name="csX67" fmla="*/ 708904 w 729419"/>
              <a:gd name="csY67" fmla="*/ 1890290 h 2076207"/>
              <a:gd name="csX68" fmla="*/ 716580 w 729419"/>
              <a:gd name="csY68" fmla="*/ 1951136 h 2076207"/>
              <a:gd name="csX69" fmla="*/ 729397 w 729419"/>
              <a:gd name="csY69" fmla="*/ 2030261 h 2076207"/>
              <a:gd name="csX70" fmla="*/ 714212 w 729419"/>
              <a:gd name="csY70" fmla="*/ 2049544 h 2076207"/>
              <a:gd name="csX71" fmla="*/ 645428 w 729419"/>
              <a:gd name="csY71" fmla="*/ 2070825 h 2076207"/>
              <a:gd name="csX72" fmla="*/ 635822 w 729419"/>
              <a:gd name="csY72" fmla="*/ 2075145 h 2076207"/>
              <a:gd name="csX73" fmla="*/ 588428 w 729419"/>
              <a:gd name="csY73" fmla="*/ 2075144 h 2076207"/>
              <a:gd name="csX74" fmla="*/ 590041 w 729419"/>
              <a:gd name="csY74" fmla="*/ 2071383 h 2076207"/>
              <a:gd name="csX75" fmla="*/ 667788 w 729419"/>
              <a:gd name="csY75" fmla="*/ 2056852 h 2076207"/>
              <a:gd name="csX76" fmla="*/ 706629 w 729419"/>
              <a:gd name="csY76" fmla="*/ 2044290 h 2076207"/>
              <a:gd name="csX77" fmla="*/ 702674 w 729419"/>
              <a:gd name="csY77" fmla="*/ 2041581 h 2076207"/>
              <a:gd name="csX78" fmla="*/ 544974 w 729419"/>
              <a:gd name="csY78" fmla="*/ 2071274 h 2076207"/>
              <a:gd name="csX79" fmla="*/ 538352 w 729419"/>
              <a:gd name="csY79" fmla="*/ 2076207 h 2076207"/>
              <a:gd name="csX80" fmla="*/ 96263 w 729419"/>
              <a:gd name="csY80" fmla="*/ 2076207 h 2076207"/>
              <a:gd name="csX81" fmla="*/ 489970 w 729419"/>
              <a:gd name="csY81" fmla="*/ 152208 h 2076207"/>
              <a:gd name="csX82" fmla="*/ 490754 w 729419"/>
              <a:gd name="csY82" fmla="*/ 152592 h 2076207"/>
              <a:gd name="csX83" fmla="*/ 489489 w 729419"/>
              <a:gd name="csY83" fmla="*/ 149547 h 2076207"/>
              <a:gd name="csX84" fmla="*/ 393621 w 729419"/>
              <a:gd name="csY84" fmla="*/ 99259 h 2076207"/>
              <a:gd name="csX85" fmla="*/ 390419 w 729419"/>
              <a:gd name="csY85" fmla="*/ 18568 h 2076207"/>
              <a:gd name="csX86" fmla="*/ 334131 w 729419"/>
              <a:gd name="csY86" fmla="*/ 24327 h 2076207"/>
              <a:gd name="csX87" fmla="*/ 344678 w 729419"/>
              <a:gd name="csY87" fmla="*/ 101259 h 2076207"/>
              <a:gd name="csX88" fmla="*/ 298854 w 729419"/>
              <a:gd name="csY88" fmla="*/ 114003 h 2076207"/>
              <a:gd name="csX89" fmla="*/ 237456 w 729419"/>
              <a:gd name="csY89" fmla="*/ 154340 h 2076207"/>
              <a:gd name="csX90" fmla="*/ 240382 w 729419"/>
              <a:gd name="csY90" fmla="*/ 154035 h 2076207"/>
              <a:gd name="csX91" fmla="*/ 262731 w 729419"/>
              <a:gd name="csY91" fmla="*/ 170426 h 2076207"/>
              <a:gd name="csX92" fmla="*/ 279169 w 729419"/>
              <a:gd name="csY92" fmla="*/ 193173 h 2076207"/>
              <a:gd name="csX93" fmla="*/ 327717 w 729419"/>
              <a:gd name="csY93" fmla="*/ 188556 h 2076207"/>
              <a:gd name="csX94" fmla="*/ 348052 w 729419"/>
              <a:gd name="csY94" fmla="*/ 156919 h 2076207"/>
              <a:gd name="csX95" fmla="*/ 380330 w 729419"/>
              <a:gd name="csY95" fmla="*/ 156483 h 2076207"/>
              <a:gd name="csX96" fmla="*/ 408490 w 729419"/>
              <a:gd name="csY96" fmla="*/ 195400 h 2076207"/>
              <a:gd name="csX97" fmla="*/ 445346 w 729419"/>
              <a:gd name="csY97" fmla="*/ 197582 h 2076207"/>
              <a:gd name="csX98" fmla="*/ 464798 w 729419"/>
              <a:gd name="csY98" fmla="*/ 174107 h 2076207"/>
              <a:gd name="csX99" fmla="*/ 489970 w 729419"/>
              <a:gd name="csY99" fmla="*/ 152208 h 2076207"/>
              <a:gd name="csX100" fmla="*/ 140694 w 729419"/>
              <a:gd name="csY100" fmla="*/ 201837 h 2076207"/>
              <a:gd name="csX101" fmla="*/ 139834 w 729419"/>
              <a:gd name="csY101" fmla="*/ 201482 h 2076207"/>
              <a:gd name="csX102" fmla="*/ 140812 w 729419"/>
              <a:gd name="csY102" fmla="*/ 204941 h 2076207"/>
              <a:gd name="csX103" fmla="*/ 144631 w 729419"/>
              <a:gd name="csY103" fmla="*/ 217811 h 2076207"/>
              <a:gd name="csX104" fmla="*/ 201241 w 729419"/>
              <a:gd name="csY104" fmla="*/ 373387 h 2076207"/>
              <a:gd name="csX105" fmla="*/ 235971 w 729419"/>
              <a:gd name="csY105" fmla="*/ 504451 h 2076207"/>
              <a:gd name="csX106" fmla="*/ 247475 w 729419"/>
              <a:gd name="csY106" fmla="*/ 513241 h 2076207"/>
              <a:gd name="csX107" fmla="*/ 289066 w 729419"/>
              <a:gd name="csY107" fmla="*/ 511170 h 2076207"/>
              <a:gd name="csX108" fmla="*/ 378229 w 729419"/>
              <a:gd name="csY108" fmla="*/ 511084 h 2076207"/>
              <a:gd name="csX109" fmla="*/ 470850 w 729419"/>
              <a:gd name="csY109" fmla="*/ 516341 h 2076207"/>
              <a:gd name="csX110" fmla="*/ 492933 w 729419"/>
              <a:gd name="csY110" fmla="*/ 497969 h 2076207"/>
              <a:gd name="csX111" fmla="*/ 557617 w 729419"/>
              <a:gd name="csY111" fmla="*/ 280398 h 2076207"/>
              <a:gd name="csX112" fmla="*/ 588788 w 729419"/>
              <a:gd name="csY112" fmla="*/ 200385 h 2076207"/>
              <a:gd name="csX113" fmla="*/ 530958 w 729419"/>
              <a:gd name="csY113" fmla="*/ 232968 h 2076207"/>
              <a:gd name="csX114" fmla="*/ 483823 w 729419"/>
              <a:gd name="csY114" fmla="*/ 190364 h 2076207"/>
              <a:gd name="csX115" fmla="*/ 466649 w 729419"/>
              <a:gd name="csY115" fmla="*/ 209061 h 2076207"/>
              <a:gd name="csX116" fmla="*/ 399941 w 729419"/>
              <a:gd name="csY116" fmla="*/ 216988 h 2076207"/>
              <a:gd name="csX117" fmla="*/ 363018 w 729419"/>
              <a:gd name="csY117" fmla="*/ 179615 h 2076207"/>
              <a:gd name="csX118" fmla="*/ 308839 w 729419"/>
              <a:gd name="csY118" fmla="*/ 227846 h 2076207"/>
              <a:gd name="csX119" fmla="*/ 245077 w 729419"/>
              <a:gd name="csY119" fmla="*/ 192402 h 2076207"/>
              <a:gd name="csX120" fmla="*/ 242829 w 729419"/>
              <a:gd name="csY120" fmla="*/ 198815 h 2076207"/>
              <a:gd name="csX121" fmla="*/ 168452 w 729419"/>
              <a:gd name="csY121" fmla="*/ 219348 h 2076207"/>
              <a:gd name="csX122" fmla="*/ 140694 w 729419"/>
              <a:gd name="csY122" fmla="*/ 201837 h 2076207"/>
              <a:gd name="csX123" fmla="*/ 259999 w 729419"/>
              <a:gd name="csY123" fmla="*/ 966699 h 2076207"/>
              <a:gd name="csX124" fmla="*/ 257072 w 729419"/>
              <a:gd name="csY124" fmla="*/ 1070424 h 2076207"/>
              <a:gd name="csX125" fmla="*/ 251372 w 729419"/>
              <a:gd name="csY125" fmla="*/ 1157618 h 2076207"/>
              <a:gd name="csX126" fmla="*/ 232677 w 729419"/>
              <a:gd name="csY126" fmla="*/ 1320279 h 2076207"/>
              <a:gd name="csX127" fmla="*/ 209182 w 729419"/>
              <a:gd name="csY127" fmla="*/ 1468667 h 2076207"/>
              <a:gd name="csX128" fmla="*/ 175302 w 729419"/>
              <a:gd name="csY128" fmla="*/ 1616623 h 2076207"/>
              <a:gd name="csX129" fmla="*/ 182769 w 729419"/>
              <a:gd name="csY129" fmla="*/ 1629786 h 2076207"/>
              <a:gd name="csX130" fmla="*/ 212156 w 729419"/>
              <a:gd name="csY130" fmla="*/ 1632656 h 2076207"/>
              <a:gd name="csX131" fmla="*/ 351295 w 729419"/>
              <a:gd name="csY131" fmla="*/ 1632801 h 2076207"/>
              <a:gd name="csX132" fmla="*/ 376150 w 729419"/>
              <a:gd name="csY132" fmla="*/ 1608307 h 2076207"/>
              <a:gd name="csX133" fmla="*/ 373450 w 729419"/>
              <a:gd name="csY133" fmla="*/ 1457291 h 2076207"/>
              <a:gd name="csX134" fmla="*/ 370936 w 729419"/>
              <a:gd name="csY134" fmla="*/ 1342736 h 2076207"/>
              <a:gd name="csX135" fmla="*/ 368328 w 729419"/>
              <a:gd name="csY135" fmla="*/ 1203878 h 2076207"/>
              <a:gd name="csX136" fmla="*/ 367836 w 729419"/>
              <a:gd name="csY136" fmla="*/ 813478 h 2076207"/>
              <a:gd name="csX137" fmla="*/ 365240 w 729419"/>
              <a:gd name="csY137" fmla="*/ 773243 h 2076207"/>
              <a:gd name="csX138" fmla="*/ 353084 w 729419"/>
              <a:gd name="csY138" fmla="*/ 762083 h 2076207"/>
              <a:gd name="csX139" fmla="*/ 280966 w 729419"/>
              <a:gd name="csY139" fmla="*/ 759855 h 2076207"/>
              <a:gd name="csX140" fmla="*/ 259965 w 729419"/>
              <a:gd name="csY140" fmla="*/ 779553 h 2076207"/>
              <a:gd name="csX141" fmla="*/ 262341 w 729419"/>
              <a:gd name="csY141" fmla="*/ 856275 h 2076207"/>
              <a:gd name="csX142" fmla="*/ 259999 w 729419"/>
              <a:gd name="csY142" fmla="*/ 966699 h 2076207"/>
              <a:gd name="csX143" fmla="*/ 55556 w 729419"/>
              <a:gd name="csY143" fmla="*/ 1835827 h 2076207"/>
              <a:gd name="csX144" fmla="*/ 49393 w 729419"/>
              <a:gd name="csY144" fmla="*/ 1878155 h 2076207"/>
              <a:gd name="csX145" fmla="*/ 73949 w 729419"/>
              <a:gd name="csY145" fmla="*/ 1905781 h 2076207"/>
              <a:gd name="csX146" fmla="*/ 110073 w 729419"/>
              <a:gd name="csY146" fmla="*/ 1909068 h 2076207"/>
              <a:gd name="csX147" fmla="*/ 224745 w 729419"/>
              <a:gd name="csY147" fmla="*/ 1921652 h 2076207"/>
              <a:gd name="csX148" fmla="*/ 347327 w 729419"/>
              <a:gd name="csY148" fmla="*/ 1924778 h 2076207"/>
              <a:gd name="csX149" fmla="*/ 363345 w 729419"/>
              <a:gd name="csY149" fmla="*/ 1923293 h 2076207"/>
              <a:gd name="csX150" fmla="*/ 373787 w 729419"/>
              <a:gd name="csY150" fmla="*/ 1911200 h 2076207"/>
              <a:gd name="csX151" fmla="*/ 376623 w 729419"/>
              <a:gd name="csY151" fmla="*/ 1696741 h 2076207"/>
              <a:gd name="csX152" fmla="*/ 360437 w 729419"/>
              <a:gd name="csY152" fmla="*/ 1681289 h 2076207"/>
              <a:gd name="csX153" fmla="*/ 263503 w 729419"/>
              <a:gd name="csY153" fmla="*/ 1678179 h 2076207"/>
              <a:gd name="csX154" fmla="*/ 160381 w 729419"/>
              <a:gd name="csY154" fmla="*/ 1670405 h 2076207"/>
              <a:gd name="csX155" fmla="*/ 143321 w 729419"/>
              <a:gd name="csY155" fmla="*/ 1685538 h 2076207"/>
              <a:gd name="csX156" fmla="*/ 124769 w 729419"/>
              <a:gd name="csY156" fmla="*/ 1738195 h 2076207"/>
              <a:gd name="csX157" fmla="*/ 90593 w 729419"/>
              <a:gd name="csY157" fmla="*/ 1779570 h 2076207"/>
              <a:gd name="csX158" fmla="*/ 55556 w 729419"/>
              <a:gd name="csY158" fmla="*/ 1835827 h 2076207"/>
              <a:gd name="csX159" fmla="*/ 378900 w 729419"/>
              <a:gd name="csY159" fmla="*/ 2007280 h 2076207"/>
              <a:gd name="csX160" fmla="*/ 378887 w 729419"/>
              <a:gd name="csY160" fmla="*/ 1995127 h 2076207"/>
              <a:gd name="csX161" fmla="*/ 359084 w 729419"/>
              <a:gd name="csY161" fmla="*/ 1975964 h 2076207"/>
              <a:gd name="csX162" fmla="*/ 247288 w 729419"/>
              <a:gd name="csY162" fmla="*/ 1973305 h 2076207"/>
              <a:gd name="csX163" fmla="*/ 201692 w 729419"/>
              <a:gd name="csY163" fmla="*/ 1970275 h 2076207"/>
              <a:gd name="csX164" fmla="*/ 57962 w 729419"/>
              <a:gd name="csY164" fmla="*/ 1952648 h 2076207"/>
              <a:gd name="csX165" fmla="*/ 39194 w 729419"/>
              <a:gd name="csY165" fmla="*/ 1963552 h 2076207"/>
              <a:gd name="csX166" fmla="*/ 30066 w 729419"/>
              <a:gd name="csY166" fmla="*/ 2006631 h 2076207"/>
              <a:gd name="csX167" fmla="*/ 40232 w 729419"/>
              <a:gd name="csY167" fmla="*/ 2019486 h 2076207"/>
              <a:gd name="csX168" fmla="*/ 238186 w 729419"/>
              <a:gd name="csY168" fmla="*/ 2046096 h 2076207"/>
              <a:gd name="csX169" fmla="*/ 342155 w 729419"/>
              <a:gd name="csY169" fmla="*/ 2046441 h 2076207"/>
              <a:gd name="csX170" fmla="*/ 378900 w 729419"/>
              <a:gd name="csY170" fmla="*/ 2007280 h 2076207"/>
              <a:gd name="csX171" fmla="*/ 310220 w 729419"/>
              <a:gd name="csY171" fmla="*/ 554288 h 2076207"/>
              <a:gd name="csX172" fmla="*/ 259136 w 729419"/>
              <a:gd name="csY172" fmla="*/ 556881 h 2076207"/>
              <a:gd name="csX173" fmla="*/ 249085 w 729419"/>
              <a:gd name="csY173" fmla="*/ 567981 h 2076207"/>
              <a:gd name="csX174" fmla="*/ 249141 w 729419"/>
              <a:gd name="csY174" fmla="*/ 605644 h 2076207"/>
              <a:gd name="csX175" fmla="*/ 262628 w 729419"/>
              <a:gd name="csY175" fmla="*/ 605627 h 2076207"/>
              <a:gd name="csX176" fmla="*/ 369608 w 729419"/>
              <a:gd name="csY176" fmla="*/ 603027 h 2076207"/>
              <a:gd name="csX177" fmla="*/ 463931 w 729419"/>
              <a:gd name="csY177" fmla="*/ 605146 h 2076207"/>
              <a:gd name="csX178" fmla="*/ 478113 w 729419"/>
              <a:gd name="csY178" fmla="*/ 595843 h 2076207"/>
              <a:gd name="csX179" fmla="*/ 478796 w 729419"/>
              <a:gd name="csY179" fmla="*/ 556832 h 2076207"/>
              <a:gd name="csX180" fmla="*/ 310220 w 729419"/>
              <a:gd name="csY180" fmla="*/ 554288 h 2076207"/>
              <a:gd name="csX181" fmla="*/ 348836 w 729419"/>
              <a:gd name="csY181" fmla="*/ 684115 h 2076207"/>
              <a:gd name="csX182" fmla="*/ 281333 w 729419"/>
              <a:gd name="csY182" fmla="*/ 683313 h 2076207"/>
              <a:gd name="csX183" fmla="*/ 212728 w 729419"/>
              <a:gd name="csY183" fmla="*/ 681931 h 2076207"/>
              <a:gd name="csX184" fmla="*/ 187283 w 729419"/>
              <a:gd name="csY184" fmla="*/ 689555 h 2076207"/>
              <a:gd name="csX185" fmla="*/ 186163 w 729419"/>
              <a:gd name="csY185" fmla="*/ 718266 h 2076207"/>
              <a:gd name="csX186" fmla="*/ 209894 w 729419"/>
              <a:gd name="csY186" fmla="*/ 726798 h 2076207"/>
              <a:gd name="csX187" fmla="*/ 334814 w 729419"/>
              <a:gd name="csY187" fmla="*/ 732494 h 2076207"/>
              <a:gd name="csX188" fmla="*/ 364856 w 729419"/>
              <a:gd name="csY188" fmla="*/ 707963 h 2076207"/>
              <a:gd name="csX189" fmla="*/ 348836 w 729419"/>
              <a:gd name="csY189" fmla="*/ 684115 h 2076207"/>
              <a:gd name="csX190" fmla="*/ 298865 w 729419"/>
              <a:gd name="csY190" fmla="*/ 621954 h 2076207"/>
              <a:gd name="csX191" fmla="*/ 251619 w 729419"/>
              <a:gd name="csY191" fmla="*/ 622133 h 2076207"/>
              <a:gd name="csX192" fmla="*/ 214459 w 729419"/>
              <a:gd name="csY192" fmla="*/ 636230 h 2076207"/>
              <a:gd name="csX193" fmla="*/ 221436 w 729419"/>
              <a:gd name="csY193" fmla="*/ 654205 h 2076207"/>
              <a:gd name="csX194" fmla="*/ 272412 w 729419"/>
              <a:gd name="csY194" fmla="*/ 657250 h 2076207"/>
              <a:gd name="csX195" fmla="*/ 349094 w 729419"/>
              <a:gd name="csY195" fmla="*/ 659282 h 2076207"/>
              <a:gd name="csX196" fmla="*/ 362996 w 729419"/>
              <a:gd name="csY196" fmla="*/ 644234 h 2076207"/>
              <a:gd name="csX197" fmla="*/ 348472 w 729419"/>
              <a:gd name="csY197" fmla="*/ 624649 h 2076207"/>
              <a:gd name="csX198" fmla="*/ 298865 w 729419"/>
              <a:gd name="csY198" fmla="*/ 621954 h 2076207"/>
              <a:gd name="csX199" fmla="*/ 227796 w 729419"/>
              <a:gd name="csY199" fmla="*/ 528000 h 2076207"/>
              <a:gd name="csX200" fmla="*/ 241009 w 729419"/>
              <a:gd name="csY200" fmla="*/ 545897 h 2076207"/>
              <a:gd name="csX201" fmla="*/ 282607 w 729419"/>
              <a:gd name="csY201" fmla="*/ 543480 h 2076207"/>
              <a:gd name="csX202" fmla="*/ 354213 w 729419"/>
              <a:gd name="csY202" fmla="*/ 543384 h 2076207"/>
              <a:gd name="csX203" fmla="*/ 365334 w 729419"/>
              <a:gd name="csY203" fmla="*/ 533397 h 2076207"/>
              <a:gd name="csX204" fmla="*/ 354531 w 729419"/>
              <a:gd name="csY204" fmla="*/ 521620 h 2076207"/>
              <a:gd name="csX205" fmla="*/ 259169 w 729419"/>
              <a:gd name="csY205" fmla="*/ 521978 h 2076207"/>
              <a:gd name="csX206" fmla="*/ 227796 w 729419"/>
              <a:gd name="csY206" fmla="*/ 528000 h 2076207"/>
              <a:gd name="csX207" fmla="*/ 508068 w 729419"/>
              <a:gd name="csY207" fmla="*/ 190710 h 2076207"/>
              <a:gd name="csX208" fmla="*/ 521293 w 729419"/>
              <a:gd name="csY208" fmla="*/ 205907 h 2076207"/>
              <a:gd name="csX209" fmla="*/ 525175 w 729419"/>
              <a:gd name="csY209" fmla="*/ 202985 h 2076207"/>
              <a:gd name="csX210" fmla="*/ 500276 w 729419"/>
              <a:gd name="csY210" fmla="*/ 160640 h 2076207"/>
              <a:gd name="csX211" fmla="*/ 497122 w 729419"/>
              <a:gd name="csY211" fmla="*/ 162007 h 2076207"/>
              <a:gd name="csX212" fmla="*/ 508068 w 729419"/>
              <a:gd name="csY212" fmla="*/ 190710 h 2076207"/>
              <a:gd name="csX213" fmla="*/ 215522 w 729419"/>
              <a:gd name="csY213" fmla="*/ 197296 h 2076207"/>
              <a:gd name="csX214" fmla="*/ 234029 w 729419"/>
              <a:gd name="csY214" fmla="*/ 162725 h 2076207"/>
              <a:gd name="csX215" fmla="*/ 229000 w 729419"/>
              <a:gd name="csY215" fmla="*/ 159902 h 2076207"/>
              <a:gd name="csX216" fmla="*/ 204824 w 729419"/>
              <a:gd name="csY216" fmla="*/ 199677 h 2076207"/>
              <a:gd name="csX217" fmla="*/ 207990 w 729419"/>
              <a:gd name="csY217" fmla="*/ 202198 h 2076207"/>
              <a:gd name="csX218" fmla="*/ 215522 w 729419"/>
              <a:gd name="csY218" fmla="*/ 197296 h 2076207"/>
              <a:gd name="csX219" fmla="*/ 484400 w 729419"/>
              <a:gd name="csY219" fmla="*/ 863693 h 2076207"/>
              <a:gd name="csX220" fmla="*/ 484400 w 729419"/>
              <a:gd name="csY220" fmla="*/ 896678 h 2076207"/>
              <a:gd name="csX221" fmla="*/ 486181 w 729419"/>
              <a:gd name="csY221" fmla="*/ 896585 h 2076207"/>
              <a:gd name="csX222" fmla="*/ 486181 w 729419"/>
              <a:gd name="csY222" fmla="*/ 795289 h 2076207"/>
              <a:gd name="csX223" fmla="*/ 484400 w 729419"/>
              <a:gd name="csY223" fmla="*/ 863693 h 2076207"/>
              <a:gd name="csX224" fmla="*/ 720241 w 729419"/>
              <a:gd name="csY224" fmla="*/ 2030666 h 2076207"/>
              <a:gd name="csX225" fmla="*/ 721175 w 729419"/>
              <a:gd name="csY225" fmla="*/ 2029733 h 2076207"/>
              <a:gd name="csX226" fmla="*/ 720241 w 729419"/>
              <a:gd name="csY226" fmla="*/ 2030666 h 2076207"/>
              <a:gd name="csX227" fmla="*/ 715702 w 729419"/>
              <a:gd name="csY227" fmla="*/ 2037051 h 2076207"/>
              <a:gd name="csX228" fmla="*/ 715702 w 729419"/>
              <a:gd name="csY228" fmla="*/ 2037051 h 2076207"/>
              <a:gd name="csX229" fmla="*/ 709953 w 729419"/>
              <a:gd name="csY229" fmla="*/ 2040017 h 2076207"/>
              <a:gd name="csX230" fmla="*/ 710209 w 729419"/>
              <a:gd name="csY230" fmla="*/ 2039597 h 2076207"/>
              <a:gd name="csX231" fmla="*/ 709953 w 729419"/>
              <a:gd name="csY231" fmla="*/ 2040017 h 2076207"/>
              <a:gd name="csX0" fmla="*/ 96263 w 729419"/>
              <a:gd name="csY0" fmla="*/ 2076207 h 2076207"/>
              <a:gd name="csX1" fmla="*/ 63862 w 729419"/>
              <a:gd name="csY1" fmla="*/ 2065388 h 2076207"/>
              <a:gd name="csX2" fmla="*/ 16555 w 729419"/>
              <a:gd name="csY2" fmla="*/ 2050152 h 2076207"/>
              <a:gd name="csX3" fmla="*/ 15 w 729419"/>
              <a:gd name="csY3" fmla="*/ 2023802 h 2076207"/>
              <a:gd name="csX4" fmla="*/ 18368 w 729419"/>
              <a:gd name="csY4" fmla="*/ 1940709 h 2076207"/>
              <a:gd name="csX5" fmla="*/ 22139 w 729419"/>
              <a:gd name="csY5" fmla="*/ 1907268 h 2076207"/>
              <a:gd name="csX6" fmla="*/ 57941 w 729419"/>
              <a:gd name="csY6" fmla="*/ 1774163 h 2076207"/>
              <a:gd name="csX7" fmla="*/ 102478 w 729419"/>
              <a:gd name="csY7" fmla="*/ 1720275 h 2076207"/>
              <a:gd name="csX8" fmla="*/ 108579 w 729419"/>
              <a:gd name="csY8" fmla="*/ 1650967 h 2076207"/>
              <a:gd name="csX9" fmla="*/ 115628 w 729419"/>
              <a:gd name="csY9" fmla="*/ 1625405 h 2076207"/>
              <a:gd name="csX10" fmla="*/ 156323 w 729419"/>
              <a:gd name="csY10" fmla="*/ 1560181 h 2076207"/>
              <a:gd name="csX11" fmla="*/ 199424 w 729419"/>
              <a:gd name="csY11" fmla="*/ 1364729 h 2076207"/>
              <a:gd name="csX12" fmla="*/ 216779 w 729419"/>
              <a:gd name="csY12" fmla="*/ 1219490 h 2076207"/>
              <a:gd name="csX13" fmla="*/ 229755 w 729419"/>
              <a:gd name="csY13" fmla="*/ 1099357 h 2076207"/>
              <a:gd name="csX14" fmla="*/ 232707 w 729419"/>
              <a:gd name="csY14" fmla="*/ 1056423 h 2076207"/>
              <a:gd name="csX15" fmla="*/ 235622 w 729419"/>
              <a:gd name="csY15" fmla="*/ 952675 h 2076207"/>
              <a:gd name="csX16" fmla="*/ 235445 w 729419"/>
              <a:gd name="csY16" fmla="*/ 780278 h 2076207"/>
              <a:gd name="csX17" fmla="*/ 214544 w 729419"/>
              <a:gd name="csY17" fmla="*/ 756435 h 2076207"/>
              <a:gd name="csX18" fmla="*/ 172569 w 729419"/>
              <a:gd name="csY18" fmla="*/ 742582 h 2076207"/>
              <a:gd name="csX19" fmla="*/ 168784 w 729419"/>
              <a:gd name="csY19" fmla="*/ 669116 h 2076207"/>
              <a:gd name="csX20" fmla="*/ 191657 w 729419"/>
              <a:gd name="csY20" fmla="*/ 630765 h 2076207"/>
              <a:gd name="csX21" fmla="*/ 208150 w 729419"/>
              <a:gd name="csY21" fmla="*/ 609084 h 2076207"/>
              <a:gd name="csX22" fmla="*/ 216756 w 729419"/>
              <a:gd name="csY22" fmla="*/ 558673 h 2076207"/>
              <a:gd name="csX23" fmla="*/ 209092 w 729419"/>
              <a:gd name="csY23" fmla="*/ 521540 h 2076207"/>
              <a:gd name="csX24" fmla="*/ 204683 w 729419"/>
              <a:gd name="csY24" fmla="*/ 474024 h 2076207"/>
              <a:gd name="csX25" fmla="*/ 115483 w 729419"/>
              <a:gd name="csY25" fmla="*/ 213499 h 2076207"/>
              <a:gd name="csX26" fmla="*/ 102909 w 729419"/>
              <a:gd name="csY26" fmla="*/ 182297 h 2076207"/>
              <a:gd name="csX27" fmla="*/ 104315 w 729419"/>
              <a:gd name="csY27" fmla="*/ 163968 h 2076207"/>
              <a:gd name="csX28" fmla="*/ 122444 w 729419"/>
              <a:gd name="csY28" fmla="*/ 160805 h 2076207"/>
              <a:gd name="csX29" fmla="*/ 170283 w 729419"/>
              <a:gd name="csY29" fmla="*/ 187783 h 2076207"/>
              <a:gd name="csX30" fmla="*/ 180938 w 729419"/>
              <a:gd name="csY30" fmla="*/ 195322 h 2076207"/>
              <a:gd name="csX31" fmla="*/ 221419 w 729419"/>
              <a:gd name="csY31" fmla="*/ 138058 h 2076207"/>
              <a:gd name="csX32" fmla="*/ 294099 w 729419"/>
              <a:gd name="csY32" fmla="*/ 91372 h 2076207"/>
              <a:gd name="csX33" fmla="*/ 302307 w 729419"/>
              <a:gd name="csY33" fmla="*/ 76560 h 2076207"/>
              <a:gd name="csX34" fmla="*/ 320284 w 729419"/>
              <a:gd name="csY34" fmla="*/ 8414 h 2076207"/>
              <a:gd name="csX35" fmla="*/ 324784 w 729419"/>
              <a:gd name="csY35" fmla="*/ 946 h 2076207"/>
              <a:gd name="csX36" fmla="*/ 399212 w 729419"/>
              <a:gd name="csY36" fmla="*/ 0 h 2076207"/>
              <a:gd name="csX37" fmla="*/ 425980 w 729419"/>
              <a:gd name="csY37" fmla="*/ 78301 h 2076207"/>
              <a:gd name="csX38" fmla="*/ 431861 w 729419"/>
              <a:gd name="csY38" fmla="*/ 90312 h 2076207"/>
              <a:gd name="csX39" fmla="*/ 540349 w 729419"/>
              <a:gd name="csY39" fmla="*/ 187946 h 2076207"/>
              <a:gd name="csX40" fmla="*/ 545555 w 729419"/>
              <a:gd name="csY40" fmla="*/ 197828 h 2076207"/>
              <a:gd name="csX41" fmla="*/ 587318 w 729419"/>
              <a:gd name="csY41" fmla="*/ 171260 h 2076207"/>
              <a:gd name="csX42" fmla="*/ 601503 w 729419"/>
              <a:gd name="csY42" fmla="*/ 163707 h 2076207"/>
              <a:gd name="csX43" fmla="*/ 625254 w 729419"/>
              <a:gd name="csY43" fmla="*/ 163123 h 2076207"/>
              <a:gd name="csX44" fmla="*/ 625468 w 729419"/>
              <a:gd name="csY44" fmla="*/ 187579 h 2076207"/>
              <a:gd name="csX45" fmla="*/ 597543 w 729419"/>
              <a:gd name="csY45" fmla="*/ 251872 h 2076207"/>
              <a:gd name="csX46" fmla="*/ 531831 w 729419"/>
              <a:gd name="csY46" fmla="*/ 442689 h 2076207"/>
              <a:gd name="csX47" fmla="*/ 519888 w 729419"/>
              <a:gd name="csY47" fmla="*/ 501474 h 2076207"/>
              <a:gd name="csX48" fmla="*/ 522506 w 729419"/>
              <a:gd name="csY48" fmla="*/ 525086 h 2076207"/>
              <a:gd name="csX49" fmla="*/ 516235 w 729419"/>
              <a:gd name="csY49" fmla="*/ 555946 h 2076207"/>
              <a:gd name="csX50" fmla="*/ 521332 w 729419"/>
              <a:gd name="csY50" fmla="*/ 610676 h 2076207"/>
              <a:gd name="csX51" fmla="*/ 541382 w 729419"/>
              <a:gd name="csY51" fmla="*/ 642597 h 2076207"/>
              <a:gd name="csX52" fmla="*/ 557031 w 729419"/>
              <a:gd name="csY52" fmla="*/ 667949 h 2076207"/>
              <a:gd name="csX53" fmla="*/ 553994 w 729419"/>
              <a:gd name="csY53" fmla="*/ 744146 h 2076207"/>
              <a:gd name="csX54" fmla="*/ 508215 w 729419"/>
              <a:gd name="csY54" fmla="*/ 758841 h 2076207"/>
              <a:gd name="csX55" fmla="*/ 497442 w 729419"/>
              <a:gd name="csY55" fmla="*/ 771256 h 2076207"/>
              <a:gd name="csX56" fmla="*/ 493005 w 729419"/>
              <a:gd name="csY56" fmla="*/ 922055 h 2076207"/>
              <a:gd name="csX57" fmla="*/ 502900 w 729419"/>
              <a:gd name="csY57" fmla="*/ 1114191 h 2076207"/>
              <a:gd name="csX58" fmla="*/ 508800 w 729419"/>
              <a:gd name="csY58" fmla="*/ 1205474 h 2076207"/>
              <a:gd name="csX59" fmla="*/ 522952 w 729419"/>
              <a:gd name="csY59" fmla="*/ 1320065 h 2076207"/>
              <a:gd name="csX60" fmla="*/ 554682 w 729419"/>
              <a:gd name="csY60" fmla="*/ 1501203 h 2076207"/>
              <a:gd name="csX61" fmla="*/ 576958 w 729419"/>
              <a:gd name="csY61" fmla="*/ 1593963 h 2076207"/>
              <a:gd name="csX62" fmla="*/ 595349 w 729419"/>
              <a:gd name="csY62" fmla="*/ 1613498 h 2076207"/>
              <a:gd name="csX63" fmla="*/ 613936 w 729419"/>
              <a:gd name="csY63" fmla="*/ 1624058 h 2076207"/>
              <a:gd name="csX64" fmla="*/ 620938 w 729419"/>
              <a:gd name="csY64" fmla="*/ 1652071 h 2076207"/>
              <a:gd name="csX65" fmla="*/ 630805 w 729419"/>
              <a:gd name="csY65" fmla="*/ 1721702 h 2076207"/>
              <a:gd name="csX66" fmla="*/ 685830 w 729419"/>
              <a:gd name="csY66" fmla="*/ 1792915 h 2076207"/>
              <a:gd name="csX67" fmla="*/ 708904 w 729419"/>
              <a:gd name="csY67" fmla="*/ 1890290 h 2076207"/>
              <a:gd name="csX68" fmla="*/ 716580 w 729419"/>
              <a:gd name="csY68" fmla="*/ 1951136 h 2076207"/>
              <a:gd name="csX69" fmla="*/ 729397 w 729419"/>
              <a:gd name="csY69" fmla="*/ 2030261 h 2076207"/>
              <a:gd name="csX70" fmla="*/ 714212 w 729419"/>
              <a:gd name="csY70" fmla="*/ 2049544 h 2076207"/>
              <a:gd name="csX71" fmla="*/ 645428 w 729419"/>
              <a:gd name="csY71" fmla="*/ 2070825 h 2076207"/>
              <a:gd name="csX72" fmla="*/ 635822 w 729419"/>
              <a:gd name="csY72" fmla="*/ 2075145 h 2076207"/>
              <a:gd name="csX73" fmla="*/ 588428 w 729419"/>
              <a:gd name="csY73" fmla="*/ 2075144 h 2076207"/>
              <a:gd name="csX74" fmla="*/ 590041 w 729419"/>
              <a:gd name="csY74" fmla="*/ 2071383 h 2076207"/>
              <a:gd name="csX75" fmla="*/ 667788 w 729419"/>
              <a:gd name="csY75" fmla="*/ 2056852 h 2076207"/>
              <a:gd name="csX76" fmla="*/ 706629 w 729419"/>
              <a:gd name="csY76" fmla="*/ 2044290 h 2076207"/>
              <a:gd name="csX77" fmla="*/ 702674 w 729419"/>
              <a:gd name="csY77" fmla="*/ 2041581 h 2076207"/>
              <a:gd name="csX78" fmla="*/ 544974 w 729419"/>
              <a:gd name="csY78" fmla="*/ 2071274 h 2076207"/>
              <a:gd name="csX79" fmla="*/ 538352 w 729419"/>
              <a:gd name="csY79" fmla="*/ 2076207 h 2076207"/>
              <a:gd name="csX80" fmla="*/ 96263 w 729419"/>
              <a:gd name="csY80" fmla="*/ 2076207 h 2076207"/>
              <a:gd name="csX81" fmla="*/ 489970 w 729419"/>
              <a:gd name="csY81" fmla="*/ 152208 h 2076207"/>
              <a:gd name="csX82" fmla="*/ 490754 w 729419"/>
              <a:gd name="csY82" fmla="*/ 152592 h 2076207"/>
              <a:gd name="csX83" fmla="*/ 489489 w 729419"/>
              <a:gd name="csY83" fmla="*/ 149547 h 2076207"/>
              <a:gd name="csX84" fmla="*/ 393621 w 729419"/>
              <a:gd name="csY84" fmla="*/ 99259 h 2076207"/>
              <a:gd name="csX85" fmla="*/ 390419 w 729419"/>
              <a:gd name="csY85" fmla="*/ 18568 h 2076207"/>
              <a:gd name="csX86" fmla="*/ 334131 w 729419"/>
              <a:gd name="csY86" fmla="*/ 24327 h 2076207"/>
              <a:gd name="csX87" fmla="*/ 344678 w 729419"/>
              <a:gd name="csY87" fmla="*/ 101259 h 2076207"/>
              <a:gd name="csX88" fmla="*/ 298854 w 729419"/>
              <a:gd name="csY88" fmla="*/ 114003 h 2076207"/>
              <a:gd name="csX89" fmla="*/ 237456 w 729419"/>
              <a:gd name="csY89" fmla="*/ 154340 h 2076207"/>
              <a:gd name="csX90" fmla="*/ 240382 w 729419"/>
              <a:gd name="csY90" fmla="*/ 154035 h 2076207"/>
              <a:gd name="csX91" fmla="*/ 262731 w 729419"/>
              <a:gd name="csY91" fmla="*/ 170426 h 2076207"/>
              <a:gd name="csX92" fmla="*/ 279169 w 729419"/>
              <a:gd name="csY92" fmla="*/ 193173 h 2076207"/>
              <a:gd name="csX93" fmla="*/ 327717 w 729419"/>
              <a:gd name="csY93" fmla="*/ 188556 h 2076207"/>
              <a:gd name="csX94" fmla="*/ 348052 w 729419"/>
              <a:gd name="csY94" fmla="*/ 156919 h 2076207"/>
              <a:gd name="csX95" fmla="*/ 380330 w 729419"/>
              <a:gd name="csY95" fmla="*/ 156483 h 2076207"/>
              <a:gd name="csX96" fmla="*/ 408490 w 729419"/>
              <a:gd name="csY96" fmla="*/ 195400 h 2076207"/>
              <a:gd name="csX97" fmla="*/ 445346 w 729419"/>
              <a:gd name="csY97" fmla="*/ 197582 h 2076207"/>
              <a:gd name="csX98" fmla="*/ 464798 w 729419"/>
              <a:gd name="csY98" fmla="*/ 174107 h 2076207"/>
              <a:gd name="csX99" fmla="*/ 489970 w 729419"/>
              <a:gd name="csY99" fmla="*/ 152208 h 2076207"/>
              <a:gd name="csX100" fmla="*/ 140694 w 729419"/>
              <a:gd name="csY100" fmla="*/ 201837 h 2076207"/>
              <a:gd name="csX101" fmla="*/ 139834 w 729419"/>
              <a:gd name="csY101" fmla="*/ 201482 h 2076207"/>
              <a:gd name="csX102" fmla="*/ 140812 w 729419"/>
              <a:gd name="csY102" fmla="*/ 204941 h 2076207"/>
              <a:gd name="csX103" fmla="*/ 144631 w 729419"/>
              <a:gd name="csY103" fmla="*/ 217811 h 2076207"/>
              <a:gd name="csX104" fmla="*/ 201241 w 729419"/>
              <a:gd name="csY104" fmla="*/ 373387 h 2076207"/>
              <a:gd name="csX105" fmla="*/ 235971 w 729419"/>
              <a:gd name="csY105" fmla="*/ 504451 h 2076207"/>
              <a:gd name="csX106" fmla="*/ 247475 w 729419"/>
              <a:gd name="csY106" fmla="*/ 513241 h 2076207"/>
              <a:gd name="csX107" fmla="*/ 289066 w 729419"/>
              <a:gd name="csY107" fmla="*/ 511170 h 2076207"/>
              <a:gd name="csX108" fmla="*/ 378229 w 729419"/>
              <a:gd name="csY108" fmla="*/ 511084 h 2076207"/>
              <a:gd name="csX109" fmla="*/ 470850 w 729419"/>
              <a:gd name="csY109" fmla="*/ 516341 h 2076207"/>
              <a:gd name="csX110" fmla="*/ 492933 w 729419"/>
              <a:gd name="csY110" fmla="*/ 497969 h 2076207"/>
              <a:gd name="csX111" fmla="*/ 557617 w 729419"/>
              <a:gd name="csY111" fmla="*/ 280398 h 2076207"/>
              <a:gd name="csX112" fmla="*/ 588788 w 729419"/>
              <a:gd name="csY112" fmla="*/ 200385 h 2076207"/>
              <a:gd name="csX113" fmla="*/ 530958 w 729419"/>
              <a:gd name="csY113" fmla="*/ 232968 h 2076207"/>
              <a:gd name="csX114" fmla="*/ 483823 w 729419"/>
              <a:gd name="csY114" fmla="*/ 190364 h 2076207"/>
              <a:gd name="csX115" fmla="*/ 466649 w 729419"/>
              <a:gd name="csY115" fmla="*/ 209061 h 2076207"/>
              <a:gd name="csX116" fmla="*/ 399941 w 729419"/>
              <a:gd name="csY116" fmla="*/ 216988 h 2076207"/>
              <a:gd name="csX117" fmla="*/ 363018 w 729419"/>
              <a:gd name="csY117" fmla="*/ 179615 h 2076207"/>
              <a:gd name="csX118" fmla="*/ 308839 w 729419"/>
              <a:gd name="csY118" fmla="*/ 227846 h 2076207"/>
              <a:gd name="csX119" fmla="*/ 245077 w 729419"/>
              <a:gd name="csY119" fmla="*/ 192402 h 2076207"/>
              <a:gd name="csX120" fmla="*/ 242829 w 729419"/>
              <a:gd name="csY120" fmla="*/ 198815 h 2076207"/>
              <a:gd name="csX121" fmla="*/ 168452 w 729419"/>
              <a:gd name="csY121" fmla="*/ 219348 h 2076207"/>
              <a:gd name="csX122" fmla="*/ 140694 w 729419"/>
              <a:gd name="csY122" fmla="*/ 201837 h 2076207"/>
              <a:gd name="csX123" fmla="*/ 259999 w 729419"/>
              <a:gd name="csY123" fmla="*/ 966699 h 2076207"/>
              <a:gd name="csX124" fmla="*/ 257072 w 729419"/>
              <a:gd name="csY124" fmla="*/ 1070424 h 2076207"/>
              <a:gd name="csX125" fmla="*/ 251372 w 729419"/>
              <a:gd name="csY125" fmla="*/ 1157618 h 2076207"/>
              <a:gd name="csX126" fmla="*/ 232677 w 729419"/>
              <a:gd name="csY126" fmla="*/ 1320279 h 2076207"/>
              <a:gd name="csX127" fmla="*/ 209182 w 729419"/>
              <a:gd name="csY127" fmla="*/ 1468667 h 2076207"/>
              <a:gd name="csX128" fmla="*/ 175302 w 729419"/>
              <a:gd name="csY128" fmla="*/ 1616623 h 2076207"/>
              <a:gd name="csX129" fmla="*/ 182769 w 729419"/>
              <a:gd name="csY129" fmla="*/ 1629786 h 2076207"/>
              <a:gd name="csX130" fmla="*/ 212156 w 729419"/>
              <a:gd name="csY130" fmla="*/ 1632656 h 2076207"/>
              <a:gd name="csX131" fmla="*/ 351295 w 729419"/>
              <a:gd name="csY131" fmla="*/ 1632801 h 2076207"/>
              <a:gd name="csX132" fmla="*/ 376150 w 729419"/>
              <a:gd name="csY132" fmla="*/ 1608307 h 2076207"/>
              <a:gd name="csX133" fmla="*/ 373450 w 729419"/>
              <a:gd name="csY133" fmla="*/ 1457291 h 2076207"/>
              <a:gd name="csX134" fmla="*/ 370936 w 729419"/>
              <a:gd name="csY134" fmla="*/ 1342736 h 2076207"/>
              <a:gd name="csX135" fmla="*/ 368328 w 729419"/>
              <a:gd name="csY135" fmla="*/ 1203878 h 2076207"/>
              <a:gd name="csX136" fmla="*/ 367836 w 729419"/>
              <a:gd name="csY136" fmla="*/ 813478 h 2076207"/>
              <a:gd name="csX137" fmla="*/ 365240 w 729419"/>
              <a:gd name="csY137" fmla="*/ 773243 h 2076207"/>
              <a:gd name="csX138" fmla="*/ 353084 w 729419"/>
              <a:gd name="csY138" fmla="*/ 762083 h 2076207"/>
              <a:gd name="csX139" fmla="*/ 280966 w 729419"/>
              <a:gd name="csY139" fmla="*/ 759855 h 2076207"/>
              <a:gd name="csX140" fmla="*/ 259965 w 729419"/>
              <a:gd name="csY140" fmla="*/ 779553 h 2076207"/>
              <a:gd name="csX141" fmla="*/ 262341 w 729419"/>
              <a:gd name="csY141" fmla="*/ 856275 h 2076207"/>
              <a:gd name="csX142" fmla="*/ 259999 w 729419"/>
              <a:gd name="csY142" fmla="*/ 966699 h 2076207"/>
              <a:gd name="csX143" fmla="*/ 55556 w 729419"/>
              <a:gd name="csY143" fmla="*/ 1835827 h 2076207"/>
              <a:gd name="csX144" fmla="*/ 49393 w 729419"/>
              <a:gd name="csY144" fmla="*/ 1878155 h 2076207"/>
              <a:gd name="csX145" fmla="*/ 73949 w 729419"/>
              <a:gd name="csY145" fmla="*/ 1905781 h 2076207"/>
              <a:gd name="csX146" fmla="*/ 110073 w 729419"/>
              <a:gd name="csY146" fmla="*/ 1909068 h 2076207"/>
              <a:gd name="csX147" fmla="*/ 224745 w 729419"/>
              <a:gd name="csY147" fmla="*/ 1921652 h 2076207"/>
              <a:gd name="csX148" fmla="*/ 347327 w 729419"/>
              <a:gd name="csY148" fmla="*/ 1924778 h 2076207"/>
              <a:gd name="csX149" fmla="*/ 363345 w 729419"/>
              <a:gd name="csY149" fmla="*/ 1923293 h 2076207"/>
              <a:gd name="csX150" fmla="*/ 373787 w 729419"/>
              <a:gd name="csY150" fmla="*/ 1911200 h 2076207"/>
              <a:gd name="csX151" fmla="*/ 376623 w 729419"/>
              <a:gd name="csY151" fmla="*/ 1696741 h 2076207"/>
              <a:gd name="csX152" fmla="*/ 360437 w 729419"/>
              <a:gd name="csY152" fmla="*/ 1681289 h 2076207"/>
              <a:gd name="csX153" fmla="*/ 263503 w 729419"/>
              <a:gd name="csY153" fmla="*/ 1678179 h 2076207"/>
              <a:gd name="csX154" fmla="*/ 160381 w 729419"/>
              <a:gd name="csY154" fmla="*/ 1670405 h 2076207"/>
              <a:gd name="csX155" fmla="*/ 143321 w 729419"/>
              <a:gd name="csY155" fmla="*/ 1685538 h 2076207"/>
              <a:gd name="csX156" fmla="*/ 124769 w 729419"/>
              <a:gd name="csY156" fmla="*/ 1738195 h 2076207"/>
              <a:gd name="csX157" fmla="*/ 90593 w 729419"/>
              <a:gd name="csY157" fmla="*/ 1779570 h 2076207"/>
              <a:gd name="csX158" fmla="*/ 55556 w 729419"/>
              <a:gd name="csY158" fmla="*/ 1835827 h 2076207"/>
              <a:gd name="csX159" fmla="*/ 378900 w 729419"/>
              <a:gd name="csY159" fmla="*/ 2007280 h 2076207"/>
              <a:gd name="csX160" fmla="*/ 378887 w 729419"/>
              <a:gd name="csY160" fmla="*/ 1995127 h 2076207"/>
              <a:gd name="csX161" fmla="*/ 359084 w 729419"/>
              <a:gd name="csY161" fmla="*/ 1975964 h 2076207"/>
              <a:gd name="csX162" fmla="*/ 247288 w 729419"/>
              <a:gd name="csY162" fmla="*/ 1973305 h 2076207"/>
              <a:gd name="csX163" fmla="*/ 201692 w 729419"/>
              <a:gd name="csY163" fmla="*/ 1970275 h 2076207"/>
              <a:gd name="csX164" fmla="*/ 57962 w 729419"/>
              <a:gd name="csY164" fmla="*/ 1952648 h 2076207"/>
              <a:gd name="csX165" fmla="*/ 39194 w 729419"/>
              <a:gd name="csY165" fmla="*/ 1963552 h 2076207"/>
              <a:gd name="csX166" fmla="*/ 30066 w 729419"/>
              <a:gd name="csY166" fmla="*/ 2006631 h 2076207"/>
              <a:gd name="csX167" fmla="*/ 40232 w 729419"/>
              <a:gd name="csY167" fmla="*/ 2019486 h 2076207"/>
              <a:gd name="csX168" fmla="*/ 238186 w 729419"/>
              <a:gd name="csY168" fmla="*/ 2046096 h 2076207"/>
              <a:gd name="csX169" fmla="*/ 342155 w 729419"/>
              <a:gd name="csY169" fmla="*/ 2046441 h 2076207"/>
              <a:gd name="csX170" fmla="*/ 378900 w 729419"/>
              <a:gd name="csY170" fmla="*/ 2007280 h 2076207"/>
              <a:gd name="csX171" fmla="*/ 310220 w 729419"/>
              <a:gd name="csY171" fmla="*/ 554288 h 2076207"/>
              <a:gd name="csX172" fmla="*/ 259136 w 729419"/>
              <a:gd name="csY172" fmla="*/ 556881 h 2076207"/>
              <a:gd name="csX173" fmla="*/ 249085 w 729419"/>
              <a:gd name="csY173" fmla="*/ 567981 h 2076207"/>
              <a:gd name="csX174" fmla="*/ 249141 w 729419"/>
              <a:gd name="csY174" fmla="*/ 605644 h 2076207"/>
              <a:gd name="csX175" fmla="*/ 262628 w 729419"/>
              <a:gd name="csY175" fmla="*/ 605627 h 2076207"/>
              <a:gd name="csX176" fmla="*/ 369608 w 729419"/>
              <a:gd name="csY176" fmla="*/ 603027 h 2076207"/>
              <a:gd name="csX177" fmla="*/ 463931 w 729419"/>
              <a:gd name="csY177" fmla="*/ 605146 h 2076207"/>
              <a:gd name="csX178" fmla="*/ 478113 w 729419"/>
              <a:gd name="csY178" fmla="*/ 595843 h 2076207"/>
              <a:gd name="csX179" fmla="*/ 478796 w 729419"/>
              <a:gd name="csY179" fmla="*/ 556832 h 2076207"/>
              <a:gd name="csX180" fmla="*/ 310220 w 729419"/>
              <a:gd name="csY180" fmla="*/ 554288 h 2076207"/>
              <a:gd name="csX181" fmla="*/ 348836 w 729419"/>
              <a:gd name="csY181" fmla="*/ 684115 h 2076207"/>
              <a:gd name="csX182" fmla="*/ 281333 w 729419"/>
              <a:gd name="csY182" fmla="*/ 683313 h 2076207"/>
              <a:gd name="csX183" fmla="*/ 212728 w 729419"/>
              <a:gd name="csY183" fmla="*/ 681931 h 2076207"/>
              <a:gd name="csX184" fmla="*/ 187283 w 729419"/>
              <a:gd name="csY184" fmla="*/ 689555 h 2076207"/>
              <a:gd name="csX185" fmla="*/ 186163 w 729419"/>
              <a:gd name="csY185" fmla="*/ 718266 h 2076207"/>
              <a:gd name="csX186" fmla="*/ 209894 w 729419"/>
              <a:gd name="csY186" fmla="*/ 726798 h 2076207"/>
              <a:gd name="csX187" fmla="*/ 334814 w 729419"/>
              <a:gd name="csY187" fmla="*/ 732494 h 2076207"/>
              <a:gd name="csX188" fmla="*/ 364856 w 729419"/>
              <a:gd name="csY188" fmla="*/ 707963 h 2076207"/>
              <a:gd name="csX189" fmla="*/ 348836 w 729419"/>
              <a:gd name="csY189" fmla="*/ 684115 h 2076207"/>
              <a:gd name="csX190" fmla="*/ 298865 w 729419"/>
              <a:gd name="csY190" fmla="*/ 621954 h 2076207"/>
              <a:gd name="csX191" fmla="*/ 251619 w 729419"/>
              <a:gd name="csY191" fmla="*/ 622133 h 2076207"/>
              <a:gd name="csX192" fmla="*/ 214459 w 729419"/>
              <a:gd name="csY192" fmla="*/ 636230 h 2076207"/>
              <a:gd name="csX193" fmla="*/ 221436 w 729419"/>
              <a:gd name="csY193" fmla="*/ 654205 h 2076207"/>
              <a:gd name="csX194" fmla="*/ 272412 w 729419"/>
              <a:gd name="csY194" fmla="*/ 657250 h 2076207"/>
              <a:gd name="csX195" fmla="*/ 349094 w 729419"/>
              <a:gd name="csY195" fmla="*/ 659282 h 2076207"/>
              <a:gd name="csX196" fmla="*/ 362996 w 729419"/>
              <a:gd name="csY196" fmla="*/ 644234 h 2076207"/>
              <a:gd name="csX197" fmla="*/ 348472 w 729419"/>
              <a:gd name="csY197" fmla="*/ 624649 h 2076207"/>
              <a:gd name="csX198" fmla="*/ 298865 w 729419"/>
              <a:gd name="csY198" fmla="*/ 621954 h 2076207"/>
              <a:gd name="csX199" fmla="*/ 227796 w 729419"/>
              <a:gd name="csY199" fmla="*/ 528000 h 2076207"/>
              <a:gd name="csX200" fmla="*/ 241009 w 729419"/>
              <a:gd name="csY200" fmla="*/ 545897 h 2076207"/>
              <a:gd name="csX201" fmla="*/ 282607 w 729419"/>
              <a:gd name="csY201" fmla="*/ 543480 h 2076207"/>
              <a:gd name="csX202" fmla="*/ 354213 w 729419"/>
              <a:gd name="csY202" fmla="*/ 543384 h 2076207"/>
              <a:gd name="csX203" fmla="*/ 365334 w 729419"/>
              <a:gd name="csY203" fmla="*/ 533397 h 2076207"/>
              <a:gd name="csX204" fmla="*/ 354531 w 729419"/>
              <a:gd name="csY204" fmla="*/ 521620 h 2076207"/>
              <a:gd name="csX205" fmla="*/ 259169 w 729419"/>
              <a:gd name="csY205" fmla="*/ 521978 h 2076207"/>
              <a:gd name="csX206" fmla="*/ 227796 w 729419"/>
              <a:gd name="csY206" fmla="*/ 528000 h 2076207"/>
              <a:gd name="csX207" fmla="*/ 508068 w 729419"/>
              <a:gd name="csY207" fmla="*/ 190710 h 2076207"/>
              <a:gd name="csX208" fmla="*/ 521293 w 729419"/>
              <a:gd name="csY208" fmla="*/ 205907 h 2076207"/>
              <a:gd name="csX209" fmla="*/ 525175 w 729419"/>
              <a:gd name="csY209" fmla="*/ 202985 h 2076207"/>
              <a:gd name="csX210" fmla="*/ 500276 w 729419"/>
              <a:gd name="csY210" fmla="*/ 160640 h 2076207"/>
              <a:gd name="csX211" fmla="*/ 497122 w 729419"/>
              <a:gd name="csY211" fmla="*/ 162007 h 2076207"/>
              <a:gd name="csX212" fmla="*/ 508068 w 729419"/>
              <a:gd name="csY212" fmla="*/ 190710 h 2076207"/>
              <a:gd name="csX213" fmla="*/ 215522 w 729419"/>
              <a:gd name="csY213" fmla="*/ 197296 h 2076207"/>
              <a:gd name="csX214" fmla="*/ 234029 w 729419"/>
              <a:gd name="csY214" fmla="*/ 162725 h 2076207"/>
              <a:gd name="csX215" fmla="*/ 229000 w 729419"/>
              <a:gd name="csY215" fmla="*/ 159902 h 2076207"/>
              <a:gd name="csX216" fmla="*/ 204824 w 729419"/>
              <a:gd name="csY216" fmla="*/ 199677 h 2076207"/>
              <a:gd name="csX217" fmla="*/ 207990 w 729419"/>
              <a:gd name="csY217" fmla="*/ 202198 h 2076207"/>
              <a:gd name="csX218" fmla="*/ 215522 w 729419"/>
              <a:gd name="csY218" fmla="*/ 197296 h 2076207"/>
              <a:gd name="csX219" fmla="*/ 484400 w 729419"/>
              <a:gd name="csY219" fmla="*/ 863693 h 2076207"/>
              <a:gd name="csX220" fmla="*/ 484400 w 729419"/>
              <a:gd name="csY220" fmla="*/ 896678 h 2076207"/>
              <a:gd name="csX221" fmla="*/ 486181 w 729419"/>
              <a:gd name="csY221" fmla="*/ 896585 h 2076207"/>
              <a:gd name="csX222" fmla="*/ 486181 w 729419"/>
              <a:gd name="csY222" fmla="*/ 795289 h 2076207"/>
              <a:gd name="csX223" fmla="*/ 720241 w 729419"/>
              <a:gd name="csY223" fmla="*/ 2030666 h 2076207"/>
              <a:gd name="csX224" fmla="*/ 721175 w 729419"/>
              <a:gd name="csY224" fmla="*/ 2029733 h 2076207"/>
              <a:gd name="csX225" fmla="*/ 720241 w 729419"/>
              <a:gd name="csY225" fmla="*/ 2030666 h 2076207"/>
              <a:gd name="csX226" fmla="*/ 715702 w 729419"/>
              <a:gd name="csY226" fmla="*/ 2037051 h 2076207"/>
              <a:gd name="csX227" fmla="*/ 715702 w 729419"/>
              <a:gd name="csY227" fmla="*/ 2037051 h 2076207"/>
              <a:gd name="csX228" fmla="*/ 709953 w 729419"/>
              <a:gd name="csY228" fmla="*/ 2040017 h 2076207"/>
              <a:gd name="csX229" fmla="*/ 710209 w 729419"/>
              <a:gd name="csY229" fmla="*/ 2039597 h 2076207"/>
              <a:gd name="csX230" fmla="*/ 709953 w 729419"/>
              <a:gd name="csY230" fmla="*/ 2040017 h 2076207"/>
              <a:gd name="csX0" fmla="*/ 96263 w 729419"/>
              <a:gd name="csY0" fmla="*/ 2076207 h 2076207"/>
              <a:gd name="csX1" fmla="*/ 63862 w 729419"/>
              <a:gd name="csY1" fmla="*/ 2065388 h 2076207"/>
              <a:gd name="csX2" fmla="*/ 16555 w 729419"/>
              <a:gd name="csY2" fmla="*/ 2050152 h 2076207"/>
              <a:gd name="csX3" fmla="*/ 15 w 729419"/>
              <a:gd name="csY3" fmla="*/ 2023802 h 2076207"/>
              <a:gd name="csX4" fmla="*/ 18368 w 729419"/>
              <a:gd name="csY4" fmla="*/ 1940709 h 2076207"/>
              <a:gd name="csX5" fmla="*/ 22139 w 729419"/>
              <a:gd name="csY5" fmla="*/ 1907268 h 2076207"/>
              <a:gd name="csX6" fmla="*/ 57941 w 729419"/>
              <a:gd name="csY6" fmla="*/ 1774163 h 2076207"/>
              <a:gd name="csX7" fmla="*/ 102478 w 729419"/>
              <a:gd name="csY7" fmla="*/ 1720275 h 2076207"/>
              <a:gd name="csX8" fmla="*/ 108579 w 729419"/>
              <a:gd name="csY8" fmla="*/ 1650967 h 2076207"/>
              <a:gd name="csX9" fmla="*/ 115628 w 729419"/>
              <a:gd name="csY9" fmla="*/ 1625405 h 2076207"/>
              <a:gd name="csX10" fmla="*/ 156323 w 729419"/>
              <a:gd name="csY10" fmla="*/ 1560181 h 2076207"/>
              <a:gd name="csX11" fmla="*/ 199424 w 729419"/>
              <a:gd name="csY11" fmla="*/ 1364729 h 2076207"/>
              <a:gd name="csX12" fmla="*/ 216779 w 729419"/>
              <a:gd name="csY12" fmla="*/ 1219490 h 2076207"/>
              <a:gd name="csX13" fmla="*/ 229755 w 729419"/>
              <a:gd name="csY13" fmla="*/ 1099357 h 2076207"/>
              <a:gd name="csX14" fmla="*/ 232707 w 729419"/>
              <a:gd name="csY14" fmla="*/ 1056423 h 2076207"/>
              <a:gd name="csX15" fmla="*/ 235622 w 729419"/>
              <a:gd name="csY15" fmla="*/ 952675 h 2076207"/>
              <a:gd name="csX16" fmla="*/ 235445 w 729419"/>
              <a:gd name="csY16" fmla="*/ 780278 h 2076207"/>
              <a:gd name="csX17" fmla="*/ 214544 w 729419"/>
              <a:gd name="csY17" fmla="*/ 756435 h 2076207"/>
              <a:gd name="csX18" fmla="*/ 172569 w 729419"/>
              <a:gd name="csY18" fmla="*/ 742582 h 2076207"/>
              <a:gd name="csX19" fmla="*/ 168784 w 729419"/>
              <a:gd name="csY19" fmla="*/ 669116 h 2076207"/>
              <a:gd name="csX20" fmla="*/ 191657 w 729419"/>
              <a:gd name="csY20" fmla="*/ 630765 h 2076207"/>
              <a:gd name="csX21" fmla="*/ 208150 w 729419"/>
              <a:gd name="csY21" fmla="*/ 609084 h 2076207"/>
              <a:gd name="csX22" fmla="*/ 216756 w 729419"/>
              <a:gd name="csY22" fmla="*/ 558673 h 2076207"/>
              <a:gd name="csX23" fmla="*/ 209092 w 729419"/>
              <a:gd name="csY23" fmla="*/ 521540 h 2076207"/>
              <a:gd name="csX24" fmla="*/ 204683 w 729419"/>
              <a:gd name="csY24" fmla="*/ 474024 h 2076207"/>
              <a:gd name="csX25" fmla="*/ 115483 w 729419"/>
              <a:gd name="csY25" fmla="*/ 213499 h 2076207"/>
              <a:gd name="csX26" fmla="*/ 102909 w 729419"/>
              <a:gd name="csY26" fmla="*/ 182297 h 2076207"/>
              <a:gd name="csX27" fmla="*/ 104315 w 729419"/>
              <a:gd name="csY27" fmla="*/ 163968 h 2076207"/>
              <a:gd name="csX28" fmla="*/ 122444 w 729419"/>
              <a:gd name="csY28" fmla="*/ 160805 h 2076207"/>
              <a:gd name="csX29" fmla="*/ 170283 w 729419"/>
              <a:gd name="csY29" fmla="*/ 187783 h 2076207"/>
              <a:gd name="csX30" fmla="*/ 180938 w 729419"/>
              <a:gd name="csY30" fmla="*/ 195322 h 2076207"/>
              <a:gd name="csX31" fmla="*/ 221419 w 729419"/>
              <a:gd name="csY31" fmla="*/ 138058 h 2076207"/>
              <a:gd name="csX32" fmla="*/ 294099 w 729419"/>
              <a:gd name="csY32" fmla="*/ 91372 h 2076207"/>
              <a:gd name="csX33" fmla="*/ 302307 w 729419"/>
              <a:gd name="csY33" fmla="*/ 76560 h 2076207"/>
              <a:gd name="csX34" fmla="*/ 320284 w 729419"/>
              <a:gd name="csY34" fmla="*/ 8414 h 2076207"/>
              <a:gd name="csX35" fmla="*/ 324784 w 729419"/>
              <a:gd name="csY35" fmla="*/ 946 h 2076207"/>
              <a:gd name="csX36" fmla="*/ 399212 w 729419"/>
              <a:gd name="csY36" fmla="*/ 0 h 2076207"/>
              <a:gd name="csX37" fmla="*/ 425980 w 729419"/>
              <a:gd name="csY37" fmla="*/ 78301 h 2076207"/>
              <a:gd name="csX38" fmla="*/ 431861 w 729419"/>
              <a:gd name="csY38" fmla="*/ 90312 h 2076207"/>
              <a:gd name="csX39" fmla="*/ 540349 w 729419"/>
              <a:gd name="csY39" fmla="*/ 187946 h 2076207"/>
              <a:gd name="csX40" fmla="*/ 545555 w 729419"/>
              <a:gd name="csY40" fmla="*/ 197828 h 2076207"/>
              <a:gd name="csX41" fmla="*/ 587318 w 729419"/>
              <a:gd name="csY41" fmla="*/ 171260 h 2076207"/>
              <a:gd name="csX42" fmla="*/ 601503 w 729419"/>
              <a:gd name="csY42" fmla="*/ 163707 h 2076207"/>
              <a:gd name="csX43" fmla="*/ 625254 w 729419"/>
              <a:gd name="csY43" fmla="*/ 163123 h 2076207"/>
              <a:gd name="csX44" fmla="*/ 625468 w 729419"/>
              <a:gd name="csY44" fmla="*/ 187579 h 2076207"/>
              <a:gd name="csX45" fmla="*/ 597543 w 729419"/>
              <a:gd name="csY45" fmla="*/ 251872 h 2076207"/>
              <a:gd name="csX46" fmla="*/ 531831 w 729419"/>
              <a:gd name="csY46" fmla="*/ 442689 h 2076207"/>
              <a:gd name="csX47" fmla="*/ 519888 w 729419"/>
              <a:gd name="csY47" fmla="*/ 501474 h 2076207"/>
              <a:gd name="csX48" fmla="*/ 522506 w 729419"/>
              <a:gd name="csY48" fmla="*/ 525086 h 2076207"/>
              <a:gd name="csX49" fmla="*/ 516235 w 729419"/>
              <a:gd name="csY49" fmla="*/ 555946 h 2076207"/>
              <a:gd name="csX50" fmla="*/ 521332 w 729419"/>
              <a:gd name="csY50" fmla="*/ 610676 h 2076207"/>
              <a:gd name="csX51" fmla="*/ 541382 w 729419"/>
              <a:gd name="csY51" fmla="*/ 642597 h 2076207"/>
              <a:gd name="csX52" fmla="*/ 557031 w 729419"/>
              <a:gd name="csY52" fmla="*/ 667949 h 2076207"/>
              <a:gd name="csX53" fmla="*/ 553994 w 729419"/>
              <a:gd name="csY53" fmla="*/ 744146 h 2076207"/>
              <a:gd name="csX54" fmla="*/ 508215 w 729419"/>
              <a:gd name="csY54" fmla="*/ 758841 h 2076207"/>
              <a:gd name="csX55" fmla="*/ 497442 w 729419"/>
              <a:gd name="csY55" fmla="*/ 771256 h 2076207"/>
              <a:gd name="csX56" fmla="*/ 493005 w 729419"/>
              <a:gd name="csY56" fmla="*/ 922055 h 2076207"/>
              <a:gd name="csX57" fmla="*/ 502900 w 729419"/>
              <a:gd name="csY57" fmla="*/ 1114191 h 2076207"/>
              <a:gd name="csX58" fmla="*/ 508800 w 729419"/>
              <a:gd name="csY58" fmla="*/ 1205474 h 2076207"/>
              <a:gd name="csX59" fmla="*/ 522952 w 729419"/>
              <a:gd name="csY59" fmla="*/ 1320065 h 2076207"/>
              <a:gd name="csX60" fmla="*/ 554682 w 729419"/>
              <a:gd name="csY60" fmla="*/ 1501203 h 2076207"/>
              <a:gd name="csX61" fmla="*/ 576958 w 729419"/>
              <a:gd name="csY61" fmla="*/ 1593963 h 2076207"/>
              <a:gd name="csX62" fmla="*/ 595349 w 729419"/>
              <a:gd name="csY62" fmla="*/ 1613498 h 2076207"/>
              <a:gd name="csX63" fmla="*/ 613936 w 729419"/>
              <a:gd name="csY63" fmla="*/ 1624058 h 2076207"/>
              <a:gd name="csX64" fmla="*/ 620938 w 729419"/>
              <a:gd name="csY64" fmla="*/ 1652071 h 2076207"/>
              <a:gd name="csX65" fmla="*/ 630805 w 729419"/>
              <a:gd name="csY65" fmla="*/ 1721702 h 2076207"/>
              <a:gd name="csX66" fmla="*/ 685830 w 729419"/>
              <a:gd name="csY66" fmla="*/ 1792915 h 2076207"/>
              <a:gd name="csX67" fmla="*/ 708904 w 729419"/>
              <a:gd name="csY67" fmla="*/ 1890290 h 2076207"/>
              <a:gd name="csX68" fmla="*/ 716580 w 729419"/>
              <a:gd name="csY68" fmla="*/ 1951136 h 2076207"/>
              <a:gd name="csX69" fmla="*/ 729397 w 729419"/>
              <a:gd name="csY69" fmla="*/ 2030261 h 2076207"/>
              <a:gd name="csX70" fmla="*/ 714212 w 729419"/>
              <a:gd name="csY70" fmla="*/ 2049544 h 2076207"/>
              <a:gd name="csX71" fmla="*/ 645428 w 729419"/>
              <a:gd name="csY71" fmla="*/ 2070825 h 2076207"/>
              <a:gd name="csX72" fmla="*/ 635822 w 729419"/>
              <a:gd name="csY72" fmla="*/ 2075145 h 2076207"/>
              <a:gd name="csX73" fmla="*/ 588428 w 729419"/>
              <a:gd name="csY73" fmla="*/ 2075144 h 2076207"/>
              <a:gd name="csX74" fmla="*/ 590041 w 729419"/>
              <a:gd name="csY74" fmla="*/ 2071383 h 2076207"/>
              <a:gd name="csX75" fmla="*/ 667788 w 729419"/>
              <a:gd name="csY75" fmla="*/ 2056852 h 2076207"/>
              <a:gd name="csX76" fmla="*/ 706629 w 729419"/>
              <a:gd name="csY76" fmla="*/ 2044290 h 2076207"/>
              <a:gd name="csX77" fmla="*/ 702674 w 729419"/>
              <a:gd name="csY77" fmla="*/ 2041581 h 2076207"/>
              <a:gd name="csX78" fmla="*/ 544974 w 729419"/>
              <a:gd name="csY78" fmla="*/ 2071274 h 2076207"/>
              <a:gd name="csX79" fmla="*/ 538352 w 729419"/>
              <a:gd name="csY79" fmla="*/ 2076207 h 2076207"/>
              <a:gd name="csX80" fmla="*/ 96263 w 729419"/>
              <a:gd name="csY80" fmla="*/ 2076207 h 2076207"/>
              <a:gd name="csX81" fmla="*/ 489970 w 729419"/>
              <a:gd name="csY81" fmla="*/ 152208 h 2076207"/>
              <a:gd name="csX82" fmla="*/ 490754 w 729419"/>
              <a:gd name="csY82" fmla="*/ 152592 h 2076207"/>
              <a:gd name="csX83" fmla="*/ 489489 w 729419"/>
              <a:gd name="csY83" fmla="*/ 149547 h 2076207"/>
              <a:gd name="csX84" fmla="*/ 393621 w 729419"/>
              <a:gd name="csY84" fmla="*/ 99259 h 2076207"/>
              <a:gd name="csX85" fmla="*/ 390419 w 729419"/>
              <a:gd name="csY85" fmla="*/ 18568 h 2076207"/>
              <a:gd name="csX86" fmla="*/ 334131 w 729419"/>
              <a:gd name="csY86" fmla="*/ 24327 h 2076207"/>
              <a:gd name="csX87" fmla="*/ 344678 w 729419"/>
              <a:gd name="csY87" fmla="*/ 101259 h 2076207"/>
              <a:gd name="csX88" fmla="*/ 298854 w 729419"/>
              <a:gd name="csY88" fmla="*/ 114003 h 2076207"/>
              <a:gd name="csX89" fmla="*/ 237456 w 729419"/>
              <a:gd name="csY89" fmla="*/ 154340 h 2076207"/>
              <a:gd name="csX90" fmla="*/ 240382 w 729419"/>
              <a:gd name="csY90" fmla="*/ 154035 h 2076207"/>
              <a:gd name="csX91" fmla="*/ 262731 w 729419"/>
              <a:gd name="csY91" fmla="*/ 170426 h 2076207"/>
              <a:gd name="csX92" fmla="*/ 279169 w 729419"/>
              <a:gd name="csY92" fmla="*/ 193173 h 2076207"/>
              <a:gd name="csX93" fmla="*/ 327717 w 729419"/>
              <a:gd name="csY93" fmla="*/ 188556 h 2076207"/>
              <a:gd name="csX94" fmla="*/ 348052 w 729419"/>
              <a:gd name="csY94" fmla="*/ 156919 h 2076207"/>
              <a:gd name="csX95" fmla="*/ 380330 w 729419"/>
              <a:gd name="csY95" fmla="*/ 156483 h 2076207"/>
              <a:gd name="csX96" fmla="*/ 408490 w 729419"/>
              <a:gd name="csY96" fmla="*/ 195400 h 2076207"/>
              <a:gd name="csX97" fmla="*/ 445346 w 729419"/>
              <a:gd name="csY97" fmla="*/ 197582 h 2076207"/>
              <a:gd name="csX98" fmla="*/ 464798 w 729419"/>
              <a:gd name="csY98" fmla="*/ 174107 h 2076207"/>
              <a:gd name="csX99" fmla="*/ 489970 w 729419"/>
              <a:gd name="csY99" fmla="*/ 152208 h 2076207"/>
              <a:gd name="csX100" fmla="*/ 140694 w 729419"/>
              <a:gd name="csY100" fmla="*/ 201837 h 2076207"/>
              <a:gd name="csX101" fmla="*/ 139834 w 729419"/>
              <a:gd name="csY101" fmla="*/ 201482 h 2076207"/>
              <a:gd name="csX102" fmla="*/ 140812 w 729419"/>
              <a:gd name="csY102" fmla="*/ 204941 h 2076207"/>
              <a:gd name="csX103" fmla="*/ 144631 w 729419"/>
              <a:gd name="csY103" fmla="*/ 217811 h 2076207"/>
              <a:gd name="csX104" fmla="*/ 201241 w 729419"/>
              <a:gd name="csY104" fmla="*/ 373387 h 2076207"/>
              <a:gd name="csX105" fmla="*/ 235971 w 729419"/>
              <a:gd name="csY105" fmla="*/ 504451 h 2076207"/>
              <a:gd name="csX106" fmla="*/ 247475 w 729419"/>
              <a:gd name="csY106" fmla="*/ 513241 h 2076207"/>
              <a:gd name="csX107" fmla="*/ 289066 w 729419"/>
              <a:gd name="csY107" fmla="*/ 511170 h 2076207"/>
              <a:gd name="csX108" fmla="*/ 378229 w 729419"/>
              <a:gd name="csY108" fmla="*/ 511084 h 2076207"/>
              <a:gd name="csX109" fmla="*/ 470850 w 729419"/>
              <a:gd name="csY109" fmla="*/ 516341 h 2076207"/>
              <a:gd name="csX110" fmla="*/ 492933 w 729419"/>
              <a:gd name="csY110" fmla="*/ 497969 h 2076207"/>
              <a:gd name="csX111" fmla="*/ 557617 w 729419"/>
              <a:gd name="csY111" fmla="*/ 280398 h 2076207"/>
              <a:gd name="csX112" fmla="*/ 588788 w 729419"/>
              <a:gd name="csY112" fmla="*/ 200385 h 2076207"/>
              <a:gd name="csX113" fmla="*/ 530958 w 729419"/>
              <a:gd name="csY113" fmla="*/ 232968 h 2076207"/>
              <a:gd name="csX114" fmla="*/ 483823 w 729419"/>
              <a:gd name="csY114" fmla="*/ 190364 h 2076207"/>
              <a:gd name="csX115" fmla="*/ 466649 w 729419"/>
              <a:gd name="csY115" fmla="*/ 209061 h 2076207"/>
              <a:gd name="csX116" fmla="*/ 399941 w 729419"/>
              <a:gd name="csY116" fmla="*/ 216988 h 2076207"/>
              <a:gd name="csX117" fmla="*/ 363018 w 729419"/>
              <a:gd name="csY117" fmla="*/ 179615 h 2076207"/>
              <a:gd name="csX118" fmla="*/ 308839 w 729419"/>
              <a:gd name="csY118" fmla="*/ 227846 h 2076207"/>
              <a:gd name="csX119" fmla="*/ 245077 w 729419"/>
              <a:gd name="csY119" fmla="*/ 192402 h 2076207"/>
              <a:gd name="csX120" fmla="*/ 242829 w 729419"/>
              <a:gd name="csY120" fmla="*/ 198815 h 2076207"/>
              <a:gd name="csX121" fmla="*/ 168452 w 729419"/>
              <a:gd name="csY121" fmla="*/ 219348 h 2076207"/>
              <a:gd name="csX122" fmla="*/ 140694 w 729419"/>
              <a:gd name="csY122" fmla="*/ 201837 h 2076207"/>
              <a:gd name="csX123" fmla="*/ 259999 w 729419"/>
              <a:gd name="csY123" fmla="*/ 966699 h 2076207"/>
              <a:gd name="csX124" fmla="*/ 257072 w 729419"/>
              <a:gd name="csY124" fmla="*/ 1070424 h 2076207"/>
              <a:gd name="csX125" fmla="*/ 251372 w 729419"/>
              <a:gd name="csY125" fmla="*/ 1157618 h 2076207"/>
              <a:gd name="csX126" fmla="*/ 232677 w 729419"/>
              <a:gd name="csY126" fmla="*/ 1320279 h 2076207"/>
              <a:gd name="csX127" fmla="*/ 209182 w 729419"/>
              <a:gd name="csY127" fmla="*/ 1468667 h 2076207"/>
              <a:gd name="csX128" fmla="*/ 175302 w 729419"/>
              <a:gd name="csY128" fmla="*/ 1616623 h 2076207"/>
              <a:gd name="csX129" fmla="*/ 182769 w 729419"/>
              <a:gd name="csY129" fmla="*/ 1629786 h 2076207"/>
              <a:gd name="csX130" fmla="*/ 212156 w 729419"/>
              <a:gd name="csY130" fmla="*/ 1632656 h 2076207"/>
              <a:gd name="csX131" fmla="*/ 351295 w 729419"/>
              <a:gd name="csY131" fmla="*/ 1632801 h 2076207"/>
              <a:gd name="csX132" fmla="*/ 376150 w 729419"/>
              <a:gd name="csY132" fmla="*/ 1608307 h 2076207"/>
              <a:gd name="csX133" fmla="*/ 373450 w 729419"/>
              <a:gd name="csY133" fmla="*/ 1457291 h 2076207"/>
              <a:gd name="csX134" fmla="*/ 370936 w 729419"/>
              <a:gd name="csY134" fmla="*/ 1342736 h 2076207"/>
              <a:gd name="csX135" fmla="*/ 368328 w 729419"/>
              <a:gd name="csY135" fmla="*/ 1203878 h 2076207"/>
              <a:gd name="csX136" fmla="*/ 367836 w 729419"/>
              <a:gd name="csY136" fmla="*/ 813478 h 2076207"/>
              <a:gd name="csX137" fmla="*/ 365240 w 729419"/>
              <a:gd name="csY137" fmla="*/ 773243 h 2076207"/>
              <a:gd name="csX138" fmla="*/ 353084 w 729419"/>
              <a:gd name="csY138" fmla="*/ 762083 h 2076207"/>
              <a:gd name="csX139" fmla="*/ 280966 w 729419"/>
              <a:gd name="csY139" fmla="*/ 759855 h 2076207"/>
              <a:gd name="csX140" fmla="*/ 259965 w 729419"/>
              <a:gd name="csY140" fmla="*/ 779553 h 2076207"/>
              <a:gd name="csX141" fmla="*/ 262341 w 729419"/>
              <a:gd name="csY141" fmla="*/ 856275 h 2076207"/>
              <a:gd name="csX142" fmla="*/ 259999 w 729419"/>
              <a:gd name="csY142" fmla="*/ 966699 h 2076207"/>
              <a:gd name="csX143" fmla="*/ 55556 w 729419"/>
              <a:gd name="csY143" fmla="*/ 1835827 h 2076207"/>
              <a:gd name="csX144" fmla="*/ 49393 w 729419"/>
              <a:gd name="csY144" fmla="*/ 1878155 h 2076207"/>
              <a:gd name="csX145" fmla="*/ 73949 w 729419"/>
              <a:gd name="csY145" fmla="*/ 1905781 h 2076207"/>
              <a:gd name="csX146" fmla="*/ 110073 w 729419"/>
              <a:gd name="csY146" fmla="*/ 1909068 h 2076207"/>
              <a:gd name="csX147" fmla="*/ 224745 w 729419"/>
              <a:gd name="csY147" fmla="*/ 1921652 h 2076207"/>
              <a:gd name="csX148" fmla="*/ 347327 w 729419"/>
              <a:gd name="csY148" fmla="*/ 1924778 h 2076207"/>
              <a:gd name="csX149" fmla="*/ 363345 w 729419"/>
              <a:gd name="csY149" fmla="*/ 1923293 h 2076207"/>
              <a:gd name="csX150" fmla="*/ 373787 w 729419"/>
              <a:gd name="csY150" fmla="*/ 1911200 h 2076207"/>
              <a:gd name="csX151" fmla="*/ 376623 w 729419"/>
              <a:gd name="csY151" fmla="*/ 1696741 h 2076207"/>
              <a:gd name="csX152" fmla="*/ 360437 w 729419"/>
              <a:gd name="csY152" fmla="*/ 1681289 h 2076207"/>
              <a:gd name="csX153" fmla="*/ 263503 w 729419"/>
              <a:gd name="csY153" fmla="*/ 1678179 h 2076207"/>
              <a:gd name="csX154" fmla="*/ 160381 w 729419"/>
              <a:gd name="csY154" fmla="*/ 1670405 h 2076207"/>
              <a:gd name="csX155" fmla="*/ 143321 w 729419"/>
              <a:gd name="csY155" fmla="*/ 1685538 h 2076207"/>
              <a:gd name="csX156" fmla="*/ 124769 w 729419"/>
              <a:gd name="csY156" fmla="*/ 1738195 h 2076207"/>
              <a:gd name="csX157" fmla="*/ 90593 w 729419"/>
              <a:gd name="csY157" fmla="*/ 1779570 h 2076207"/>
              <a:gd name="csX158" fmla="*/ 55556 w 729419"/>
              <a:gd name="csY158" fmla="*/ 1835827 h 2076207"/>
              <a:gd name="csX159" fmla="*/ 378900 w 729419"/>
              <a:gd name="csY159" fmla="*/ 2007280 h 2076207"/>
              <a:gd name="csX160" fmla="*/ 378887 w 729419"/>
              <a:gd name="csY160" fmla="*/ 1995127 h 2076207"/>
              <a:gd name="csX161" fmla="*/ 359084 w 729419"/>
              <a:gd name="csY161" fmla="*/ 1975964 h 2076207"/>
              <a:gd name="csX162" fmla="*/ 247288 w 729419"/>
              <a:gd name="csY162" fmla="*/ 1973305 h 2076207"/>
              <a:gd name="csX163" fmla="*/ 201692 w 729419"/>
              <a:gd name="csY163" fmla="*/ 1970275 h 2076207"/>
              <a:gd name="csX164" fmla="*/ 57962 w 729419"/>
              <a:gd name="csY164" fmla="*/ 1952648 h 2076207"/>
              <a:gd name="csX165" fmla="*/ 39194 w 729419"/>
              <a:gd name="csY165" fmla="*/ 1963552 h 2076207"/>
              <a:gd name="csX166" fmla="*/ 30066 w 729419"/>
              <a:gd name="csY166" fmla="*/ 2006631 h 2076207"/>
              <a:gd name="csX167" fmla="*/ 40232 w 729419"/>
              <a:gd name="csY167" fmla="*/ 2019486 h 2076207"/>
              <a:gd name="csX168" fmla="*/ 238186 w 729419"/>
              <a:gd name="csY168" fmla="*/ 2046096 h 2076207"/>
              <a:gd name="csX169" fmla="*/ 342155 w 729419"/>
              <a:gd name="csY169" fmla="*/ 2046441 h 2076207"/>
              <a:gd name="csX170" fmla="*/ 378900 w 729419"/>
              <a:gd name="csY170" fmla="*/ 2007280 h 2076207"/>
              <a:gd name="csX171" fmla="*/ 310220 w 729419"/>
              <a:gd name="csY171" fmla="*/ 554288 h 2076207"/>
              <a:gd name="csX172" fmla="*/ 259136 w 729419"/>
              <a:gd name="csY172" fmla="*/ 556881 h 2076207"/>
              <a:gd name="csX173" fmla="*/ 249085 w 729419"/>
              <a:gd name="csY173" fmla="*/ 567981 h 2076207"/>
              <a:gd name="csX174" fmla="*/ 249141 w 729419"/>
              <a:gd name="csY174" fmla="*/ 605644 h 2076207"/>
              <a:gd name="csX175" fmla="*/ 262628 w 729419"/>
              <a:gd name="csY175" fmla="*/ 605627 h 2076207"/>
              <a:gd name="csX176" fmla="*/ 369608 w 729419"/>
              <a:gd name="csY176" fmla="*/ 603027 h 2076207"/>
              <a:gd name="csX177" fmla="*/ 463931 w 729419"/>
              <a:gd name="csY177" fmla="*/ 605146 h 2076207"/>
              <a:gd name="csX178" fmla="*/ 478113 w 729419"/>
              <a:gd name="csY178" fmla="*/ 595843 h 2076207"/>
              <a:gd name="csX179" fmla="*/ 478796 w 729419"/>
              <a:gd name="csY179" fmla="*/ 556832 h 2076207"/>
              <a:gd name="csX180" fmla="*/ 310220 w 729419"/>
              <a:gd name="csY180" fmla="*/ 554288 h 2076207"/>
              <a:gd name="csX181" fmla="*/ 348836 w 729419"/>
              <a:gd name="csY181" fmla="*/ 684115 h 2076207"/>
              <a:gd name="csX182" fmla="*/ 281333 w 729419"/>
              <a:gd name="csY182" fmla="*/ 683313 h 2076207"/>
              <a:gd name="csX183" fmla="*/ 212728 w 729419"/>
              <a:gd name="csY183" fmla="*/ 681931 h 2076207"/>
              <a:gd name="csX184" fmla="*/ 187283 w 729419"/>
              <a:gd name="csY184" fmla="*/ 689555 h 2076207"/>
              <a:gd name="csX185" fmla="*/ 186163 w 729419"/>
              <a:gd name="csY185" fmla="*/ 718266 h 2076207"/>
              <a:gd name="csX186" fmla="*/ 209894 w 729419"/>
              <a:gd name="csY186" fmla="*/ 726798 h 2076207"/>
              <a:gd name="csX187" fmla="*/ 334814 w 729419"/>
              <a:gd name="csY187" fmla="*/ 732494 h 2076207"/>
              <a:gd name="csX188" fmla="*/ 364856 w 729419"/>
              <a:gd name="csY188" fmla="*/ 707963 h 2076207"/>
              <a:gd name="csX189" fmla="*/ 348836 w 729419"/>
              <a:gd name="csY189" fmla="*/ 684115 h 2076207"/>
              <a:gd name="csX190" fmla="*/ 298865 w 729419"/>
              <a:gd name="csY190" fmla="*/ 621954 h 2076207"/>
              <a:gd name="csX191" fmla="*/ 251619 w 729419"/>
              <a:gd name="csY191" fmla="*/ 622133 h 2076207"/>
              <a:gd name="csX192" fmla="*/ 214459 w 729419"/>
              <a:gd name="csY192" fmla="*/ 636230 h 2076207"/>
              <a:gd name="csX193" fmla="*/ 221436 w 729419"/>
              <a:gd name="csY193" fmla="*/ 654205 h 2076207"/>
              <a:gd name="csX194" fmla="*/ 272412 w 729419"/>
              <a:gd name="csY194" fmla="*/ 657250 h 2076207"/>
              <a:gd name="csX195" fmla="*/ 349094 w 729419"/>
              <a:gd name="csY195" fmla="*/ 659282 h 2076207"/>
              <a:gd name="csX196" fmla="*/ 362996 w 729419"/>
              <a:gd name="csY196" fmla="*/ 644234 h 2076207"/>
              <a:gd name="csX197" fmla="*/ 348472 w 729419"/>
              <a:gd name="csY197" fmla="*/ 624649 h 2076207"/>
              <a:gd name="csX198" fmla="*/ 298865 w 729419"/>
              <a:gd name="csY198" fmla="*/ 621954 h 2076207"/>
              <a:gd name="csX199" fmla="*/ 227796 w 729419"/>
              <a:gd name="csY199" fmla="*/ 528000 h 2076207"/>
              <a:gd name="csX200" fmla="*/ 241009 w 729419"/>
              <a:gd name="csY200" fmla="*/ 545897 h 2076207"/>
              <a:gd name="csX201" fmla="*/ 282607 w 729419"/>
              <a:gd name="csY201" fmla="*/ 543480 h 2076207"/>
              <a:gd name="csX202" fmla="*/ 354213 w 729419"/>
              <a:gd name="csY202" fmla="*/ 543384 h 2076207"/>
              <a:gd name="csX203" fmla="*/ 365334 w 729419"/>
              <a:gd name="csY203" fmla="*/ 533397 h 2076207"/>
              <a:gd name="csX204" fmla="*/ 354531 w 729419"/>
              <a:gd name="csY204" fmla="*/ 521620 h 2076207"/>
              <a:gd name="csX205" fmla="*/ 259169 w 729419"/>
              <a:gd name="csY205" fmla="*/ 521978 h 2076207"/>
              <a:gd name="csX206" fmla="*/ 227796 w 729419"/>
              <a:gd name="csY206" fmla="*/ 528000 h 2076207"/>
              <a:gd name="csX207" fmla="*/ 508068 w 729419"/>
              <a:gd name="csY207" fmla="*/ 190710 h 2076207"/>
              <a:gd name="csX208" fmla="*/ 521293 w 729419"/>
              <a:gd name="csY208" fmla="*/ 205907 h 2076207"/>
              <a:gd name="csX209" fmla="*/ 525175 w 729419"/>
              <a:gd name="csY209" fmla="*/ 202985 h 2076207"/>
              <a:gd name="csX210" fmla="*/ 500276 w 729419"/>
              <a:gd name="csY210" fmla="*/ 160640 h 2076207"/>
              <a:gd name="csX211" fmla="*/ 497122 w 729419"/>
              <a:gd name="csY211" fmla="*/ 162007 h 2076207"/>
              <a:gd name="csX212" fmla="*/ 508068 w 729419"/>
              <a:gd name="csY212" fmla="*/ 190710 h 2076207"/>
              <a:gd name="csX213" fmla="*/ 215522 w 729419"/>
              <a:gd name="csY213" fmla="*/ 197296 h 2076207"/>
              <a:gd name="csX214" fmla="*/ 234029 w 729419"/>
              <a:gd name="csY214" fmla="*/ 162725 h 2076207"/>
              <a:gd name="csX215" fmla="*/ 229000 w 729419"/>
              <a:gd name="csY215" fmla="*/ 159902 h 2076207"/>
              <a:gd name="csX216" fmla="*/ 204824 w 729419"/>
              <a:gd name="csY216" fmla="*/ 199677 h 2076207"/>
              <a:gd name="csX217" fmla="*/ 207990 w 729419"/>
              <a:gd name="csY217" fmla="*/ 202198 h 2076207"/>
              <a:gd name="csX218" fmla="*/ 215522 w 729419"/>
              <a:gd name="csY218" fmla="*/ 197296 h 2076207"/>
              <a:gd name="csX219" fmla="*/ 484400 w 729419"/>
              <a:gd name="csY219" fmla="*/ 896678 h 2076207"/>
              <a:gd name="csX220" fmla="*/ 486181 w 729419"/>
              <a:gd name="csY220" fmla="*/ 896585 h 2076207"/>
              <a:gd name="csX221" fmla="*/ 486181 w 729419"/>
              <a:gd name="csY221" fmla="*/ 795289 h 2076207"/>
              <a:gd name="csX222" fmla="*/ 720241 w 729419"/>
              <a:gd name="csY222" fmla="*/ 2030666 h 2076207"/>
              <a:gd name="csX223" fmla="*/ 721175 w 729419"/>
              <a:gd name="csY223" fmla="*/ 2029733 h 2076207"/>
              <a:gd name="csX224" fmla="*/ 720241 w 729419"/>
              <a:gd name="csY224" fmla="*/ 2030666 h 2076207"/>
              <a:gd name="csX225" fmla="*/ 715702 w 729419"/>
              <a:gd name="csY225" fmla="*/ 2037051 h 2076207"/>
              <a:gd name="csX226" fmla="*/ 715702 w 729419"/>
              <a:gd name="csY226" fmla="*/ 2037051 h 2076207"/>
              <a:gd name="csX227" fmla="*/ 709953 w 729419"/>
              <a:gd name="csY227" fmla="*/ 2040017 h 2076207"/>
              <a:gd name="csX228" fmla="*/ 710209 w 729419"/>
              <a:gd name="csY228" fmla="*/ 2039597 h 2076207"/>
              <a:gd name="csX229" fmla="*/ 709953 w 729419"/>
              <a:gd name="csY229" fmla="*/ 2040017 h 2076207"/>
              <a:gd name="csX0" fmla="*/ 96263 w 729419"/>
              <a:gd name="csY0" fmla="*/ 2076207 h 2076207"/>
              <a:gd name="csX1" fmla="*/ 63862 w 729419"/>
              <a:gd name="csY1" fmla="*/ 2065388 h 2076207"/>
              <a:gd name="csX2" fmla="*/ 16555 w 729419"/>
              <a:gd name="csY2" fmla="*/ 2050152 h 2076207"/>
              <a:gd name="csX3" fmla="*/ 15 w 729419"/>
              <a:gd name="csY3" fmla="*/ 2023802 h 2076207"/>
              <a:gd name="csX4" fmla="*/ 18368 w 729419"/>
              <a:gd name="csY4" fmla="*/ 1940709 h 2076207"/>
              <a:gd name="csX5" fmla="*/ 22139 w 729419"/>
              <a:gd name="csY5" fmla="*/ 1907268 h 2076207"/>
              <a:gd name="csX6" fmla="*/ 57941 w 729419"/>
              <a:gd name="csY6" fmla="*/ 1774163 h 2076207"/>
              <a:gd name="csX7" fmla="*/ 102478 w 729419"/>
              <a:gd name="csY7" fmla="*/ 1720275 h 2076207"/>
              <a:gd name="csX8" fmla="*/ 108579 w 729419"/>
              <a:gd name="csY8" fmla="*/ 1650967 h 2076207"/>
              <a:gd name="csX9" fmla="*/ 115628 w 729419"/>
              <a:gd name="csY9" fmla="*/ 1625405 h 2076207"/>
              <a:gd name="csX10" fmla="*/ 156323 w 729419"/>
              <a:gd name="csY10" fmla="*/ 1560181 h 2076207"/>
              <a:gd name="csX11" fmla="*/ 199424 w 729419"/>
              <a:gd name="csY11" fmla="*/ 1364729 h 2076207"/>
              <a:gd name="csX12" fmla="*/ 216779 w 729419"/>
              <a:gd name="csY12" fmla="*/ 1219490 h 2076207"/>
              <a:gd name="csX13" fmla="*/ 229755 w 729419"/>
              <a:gd name="csY13" fmla="*/ 1099357 h 2076207"/>
              <a:gd name="csX14" fmla="*/ 232707 w 729419"/>
              <a:gd name="csY14" fmla="*/ 1056423 h 2076207"/>
              <a:gd name="csX15" fmla="*/ 235622 w 729419"/>
              <a:gd name="csY15" fmla="*/ 952675 h 2076207"/>
              <a:gd name="csX16" fmla="*/ 235445 w 729419"/>
              <a:gd name="csY16" fmla="*/ 780278 h 2076207"/>
              <a:gd name="csX17" fmla="*/ 214544 w 729419"/>
              <a:gd name="csY17" fmla="*/ 756435 h 2076207"/>
              <a:gd name="csX18" fmla="*/ 172569 w 729419"/>
              <a:gd name="csY18" fmla="*/ 742582 h 2076207"/>
              <a:gd name="csX19" fmla="*/ 168784 w 729419"/>
              <a:gd name="csY19" fmla="*/ 669116 h 2076207"/>
              <a:gd name="csX20" fmla="*/ 191657 w 729419"/>
              <a:gd name="csY20" fmla="*/ 630765 h 2076207"/>
              <a:gd name="csX21" fmla="*/ 208150 w 729419"/>
              <a:gd name="csY21" fmla="*/ 609084 h 2076207"/>
              <a:gd name="csX22" fmla="*/ 216756 w 729419"/>
              <a:gd name="csY22" fmla="*/ 558673 h 2076207"/>
              <a:gd name="csX23" fmla="*/ 209092 w 729419"/>
              <a:gd name="csY23" fmla="*/ 521540 h 2076207"/>
              <a:gd name="csX24" fmla="*/ 204683 w 729419"/>
              <a:gd name="csY24" fmla="*/ 474024 h 2076207"/>
              <a:gd name="csX25" fmla="*/ 115483 w 729419"/>
              <a:gd name="csY25" fmla="*/ 213499 h 2076207"/>
              <a:gd name="csX26" fmla="*/ 102909 w 729419"/>
              <a:gd name="csY26" fmla="*/ 182297 h 2076207"/>
              <a:gd name="csX27" fmla="*/ 104315 w 729419"/>
              <a:gd name="csY27" fmla="*/ 163968 h 2076207"/>
              <a:gd name="csX28" fmla="*/ 122444 w 729419"/>
              <a:gd name="csY28" fmla="*/ 160805 h 2076207"/>
              <a:gd name="csX29" fmla="*/ 170283 w 729419"/>
              <a:gd name="csY29" fmla="*/ 187783 h 2076207"/>
              <a:gd name="csX30" fmla="*/ 180938 w 729419"/>
              <a:gd name="csY30" fmla="*/ 195322 h 2076207"/>
              <a:gd name="csX31" fmla="*/ 221419 w 729419"/>
              <a:gd name="csY31" fmla="*/ 138058 h 2076207"/>
              <a:gd name="csX32" fmla="*/ 294099 w 729419"/>
              <a:gd name="csY32" fmla="*/ 91372 h 2076207"/>
              <a:gd name="csX33" fmla="*/ 302307 w 729419"/>
              <a:gd name="csY33" fmla="*/ 76560 h 2076207"/>
              <a:gd name="csX34" fmla="*/ 320284 w 729419"/>
              <a:gd name="csY34" fmla="*/ 8414 h 2076207"/>
              <a:gd name="csX35" fmla="*/ 324784 w 729419"/>
              <a:gd name="csY35" fmla="*/ 946 h 2076207"/>
              <a:gd name="csX36" fmla="*/ 399212 w 729419"/>
              <a:gd name="csY36" fmla="*/ 0 h 2076207"/>
              <a:gd name="csX37" fmla="*/ 425980 w 729419"/>
              <a:gd name="csY37" fmla="*/ 78301 h 2076207"/>
              <a:gd name="csX38" fmla="*/ 431861 w 729419"/>
              <a:gd name="csY38" fmla="*/ 90312 h 2076207"/>
              <a:gd name="csX39" fmla="*/ 540349 w 729419"/>
              <a:gd name="csY39" fmla="*/ 187946 h 2076207"/>
              <a:gd name="csX40" fmla="*/ 545555 w 729419"/>
              <a:gd name="csY40" fmla="*/ 197828 h 2076207"/>
              <a:gd name="csX41" fmla="*/ 587318 w 729419"/>
              <a:gd name="csY41" fmla="*/ 171260 h 2076207"/>
              <a:gd name="csX42" fmla="*/ 601503 w 729419"/>
              <a:gd name="csY42" fmla="*/ 163707 h 2076207"/>
              <a:gd name="csX43" fmla="*/ 625254 w 729419"/>
              <a:gd name="csY43" fmla="*/ 163123 h 2076207"/>
              <a:gd name="csX44" fmla="*/ 625468 w 729419"/>
              <a:gd name="csY44" fmla="*/ 187579 h 2076207"/>
              <a:gd name="csX45" fmla="*/ 597543 w 729419"/>
              <a:gd name="csY45" fmla="*/ 251872 h 2076207"/>
              <a:gd name="csX46" fmla="*/ 531831 w 729419"/>
              <a:gd name="csY46" fmla="*/ 442689 h 2076207"/>
              <a:gd name="csX47" fmla="*/ 519888 w 729419"/>
              <a:gd name="csY47" fmla="*/ 501474 h 2076207"/>
              <a:gd name="csX48" fmla="*/ 522506 w 729419"/>
              <a:gd name="csY48" fmla="*/ 525086 h 2076207"/>
              <a:gd name="csX49" fmla="*/ 516235 w 729419"/>
              <a:gd name="csY49" fmla="*/ 555946 h 2076207"/>
              <a:gd name="csX50" fmla="*/ 521332 w 729419"/>
              <a:gd name="csY50" fmla="*/ 610676 h 2076207"/>
              <a:gd name="csX51" fmla="*/ 541382 w 729419"/>
              <a:gd name="csY51" fmla="*/ 642597 h 2076207"/>
              <a:gd name="csX52" fmla="*/ 557031 w 729419"/>
              <a:gd name="csY52" fmla="*/ 667949 h 2076207"/>
              <a:gd name="csX53" fmla="*/ 553994 w 729419"/>
              <a:gd name="csY53" fmla="*/ 744146 h 2076207"/>
              <a:gd name="csX54" fmla="*/ 508215 w 729419"/>
              <a:gd name="csY54" fmla="*/ 758841 h 2076207"/>
              <a:gd name="csX55" fmla="*/ 497442 w 729419"/>
              <a:gd name="csY55" fmla="*/ 771256 h 2076207"/>
              <a:gd name="csX56" fmla="*/ 493005 w 729419"/>
              <a:gd name="csY56" fmla="*/ 922055 h 2076207"/>
              <a:gd name="csX57" fmla="*/ 502900 w 729419"/>
              <a:gd name="csY57" fmla="*/ 1114191 h 2076207"/>
              <a:gd name="csX58" fmla="*/ 508800 w 729419"/>
              <a:gd name="csY58" fmla="*/ 1205474 h 2076207"/>
              <a:gd name="csX59" fmla="*/ 522952 w 729419"/>
              <a:gd name="csY59" fmla="*/ 1320065 h 2076207"/>
              <a:gd name="csX60" fmla="*/ 554682 w 729419"/>
              <a:gd name="csY60" fmla="*/ 1501203 h 2076207"/>
              <a:gd name="csX61" fmla="*/ 576958 w 729419"/>
              <a:gd name="csY61" fmla="*/ 1593963 h 2076207"/>
              <a:gd name="csX62" fmla="*/ 595349 w 729419"/>
              <a:gd name="csY62" fmla="*/ 1613498 h 2076207"/>
              <a:gd name="csX63" fmla="*/ 613936 w 729419"/>
              <a:gd name="csY63" fmla="*/ 1624058 h 2076207"/>
              <a:gd name="csX64" fmla="*/ 620938 w 729419"/>
              <a:gd name="csY64" fmla="*/ 1652071 h 2076207"/>
              <a:gd name="csX65" fmla="*/ 630805 w 729419"/>
              <a:gd name="csY65" fmla="*/ 1721702 h 2076207"/>
              <a:gd name="csX66" fmla="*/ 685830 w 729419"/>
              <a:gd name="csY66" fmla="*/ 1792915 h 2076207"/>
              <a:gd name="csX67" fmla="*/ 708904 w 729419"/>
              <a:gd name="csY67" fmla="*/ 1890290 h 2076207"/>
              <a:gd name="csX68" fmla="*/ 716580 w 729419"/>
              <a:gd name="csY68" fmla="*/ 1951136 h 2076207"/>
              <a:gd name="csX69" fmla="*/ 729397 w 729419"/>
              <a:gd name="csY69" fmla="*/ 2030261 h 2076207"/>
              <a:gd name="csX70" fmla="*/ 714212 w 729419"/>
              <a:gd name="csY70" fmla="*/ 2049544 h 2076207"/>
              <a:gd name="csX71" fmla="*/ 645428 w 729419"/>
              <a:gd name="csY71" fmla="*/ 2070825 h 2076207"/>
              <a:gd name="csX72" fmla="*/ 635822 w 729419"/>
              <a:gd name="csY72" fmla="*/ 2075145 h 2076207"/>
              <a:gd name="csX73" fmla="*/ 588428 w 729419"/>
              <a:gd name="csY73" fmla="*/ 2075144 h 2076207"/>
              <a:gd name="csX74" fmla="*/ 590041 w 729419"/>
              <a:gd name="csY74" fmla="*/ 2071383 h 2076207"/>
              <a:gd name="csX75" fmla="*/ 667788 w 729419"/>
              <a:gd name="csY75" fmla="*/ 2056852 h 2076207"/>
              <a:gd name="csX76" fmla="*/ 706629 w 729419"/>
              <a:gd name="csY76" fmla="*/ 2044290 h 2076207"/>
              <a:gd name="csX77" fmla="*/ 702674 w 729419"/>
              <a:gd name="csY77" fmla="*/ 2041581 h 2076207"/>
              <a:gd name="csX78" fmla="*/ 544974 w 729419"/>
              <a:gd name="csY78" fmla="*/ 2071274 h 2076207"/>
              <a:gd name="csX79" fmla="*/ 538352 w 729419"/>
              <a:gd name="csY79" fmla="*/ 2076207 h 2076207"/>
              <a:gd name="csX80" fmla="*/ 96263 w 729419"/>
              <a:gd name="csY80" fmla="*/ 2076207 h 2076207"/>
              <a:gd name="csX81" fmla="*/ 489970 w 729419"/>
              <a:gd name="csY81" fmla="*/ 152208 h 2076207"/>
              <a:gd name="csX82" fmla="*/ 490754 w 729419"/>
              <a:gd name="csY82" fmla="*/ 152592 h 2076207"/>
              <a:gd name="csX83" fmla="*/ 489489 w 729419"/>
              <a:gd name="csY83" fmla="*/ 149547 h 2076207"/>
              <a:gd name="csX84" fmla="*/ 393621 w 729419"/>
              <a:gd name="csY84" fmla="*/ 99259 h 2076207"/>
              <a:gd name="csX85" fmla="*/ 390419 w 729419"/>
              <a:gd name="csY85" fmla="*/ 18568 h 2076207"/>
              <a:gd name="csX86" fmla="*/ 334131 w 729419"/>
              <a:gd name="csY86" fmla="*/ 24327 h 2076207"/>
              <a:gd name="csX87" fmla="*/ 344678 w 729419"/>
              <a:gd name="csY87" fmla="*/ 101259 h 2076207"/>
              <a:gd name="csX88" fmla="*/ 298854 w 729419"/>
              <a:gd name="csY88" fmla="*/ 114003 h 2076207"/>
              <a:gd name="csX89" fmla="*/ 237456 w 729419"/>
              <a:gd name="csY89" fmla="*/ 154340 h 2076207"/>
              <a:gd name="csX90" fmla="*/ 240382 w 729419"/>
              <a:gd name="csY90" fmla="*/ 154035 h 2076207"/>
              <a:gd name="csX91" fmla="*/ 262731 w 729419"/>
              <a:gd name="csY91" fmla="*/ 170426 h 2076207"/>
              <a:gd name="csX92" fmla="*/ 279169 w 729419"/>
              <a:gd name="csY92" fmla="*/ 193173 h 2076207"/>
              <a:gd name="csX93" fmla="*/ 327717 w 729419"/>
              <a:gd name="csY93" fmla="*/ 188556 h 2076207"/>
              <a:gd name="csX94" fmla="*/ 348052 w 729419"/>
              <a:gd name="csY94" fmla="*/ 156919 h 2076207"/>
              <a:gd name="csX95" fmla="*/ 380330 w 729419"/>
              <a:gd name="csY95" fmla="*/ 156483 h 2076207"/>
              <a:gd name="csX96" fmla="*/ 408490 w 729419"/>
              <a:gd name="csY96" fmla="*/ 195400 h 2076207"/>
              <a:gd name="csX97" fmla="*/ 445346 w 729419"/>
              <a:gd name="csY97" fmla="*/ 197582 h 2076207"/>
              <a:gd name="csX98" fmla="*/ 464798 w 729419"/>
              <a:gd name="csY98" fmla="*/ 174107 h 2076207"/>
              <a:gd name="csX99" fmla="*/ 489970 w 729419"/>
              <a:gd name="csY99" fmla="*/ 152208 h 2076207"/>
              <a:gd name="csX100" fmla="*/ 140694 w 729419"/>
              <a:gd name="csY100" fmla="*/ 201837 h 2076207"/>
              <a:gd name="csX101" fmla="*/ 139834 w 729419"/>
              <a:gd name="csY101" fmla="*/ 201482 h 2076207"/>
              <a:gd name="csX102" fmla="*/ 140812 w 729419"/>
              <a:gd name="csY102" fmla="*/ 204941 h 2076207"/>
              <a:gd name="csX103" fmla="*/ 144631 w 729419"/>
              <a:gd name="csY103" fmla="*/ 217811 h 2076207"/>
              <a:gd name="csX104" fmla="*/ 201241 w 729419"/>
              <a:gd name="csY104" fmla="*/ 373387 h 2076207"/>
              <a:gd name="csX105" fmla="*/ 235971 w 729419"/>
              <a:gd name="csY105" fmla="*/ 504451 h 2076207"/>
              <a:gd name="csX106" fmla="*/ 247475 w 729419"/>
              <a:gd name="csY106" fmla="*/ 513241 h 2076207"/>
              <a:gd name="csX107" fmla="*/ 289066 w 729419"/>
              <a:gd name="csY107" fmla="*/ 511170 h 2076207"/>
              <a:gd name="csX108" fmla="*/ 378229 w 729419"/>
              <a:gd name="csY108" fmla="*/ 511084 h 2076207"/>
              <a:gd name="csX109" fmla="*/ 470850 w 729419"/>
              <a:gd name="csY109" fmla="*/ 516341 h 2076207"/>
              <a:gd name="csX110" fmla="*/ 492933 w 729419"/>
              <a:gd name="csY110" fmla="*/ 497969 h 2076207"/>
              <a:gd name="csX111" fmla="*/ 557617 w 729419"/>
              <a:gd name="csY111" fmla="*/ 280398 h 2076207"/>
              <a:gd name="csX112" fmla="*/ 588788 w 729419"/>
              <a:gd name="csY112" fmla="*/ 200385 h 2076207"/>
              <a:gd name="csX113" fmla="*/ 530958 w 729419"/>
              <a:gd name="csY113" fmla="*/ 232968 h 2076207"/>
              <a:gd name="csX114" fmla="*/ 483823 w 729419"/>
              <a:gd name="csY114" fmla="*/ 190364 h 2076207"/>
              <a:gd name="csX115" fmla="*/ 466649 w 729419"/>
              <a:gd name="csY115" fmla="*/ 209061 h 2076207"/>
              <a:gd name="csX116" fmla="*/ 399941 w 729419"/>
              <a:gd name="csY116" fmla="*/ 216988 h 2076207"/>
              <a:gd name="csX117" fmla="*/ 363018 w 729419"/>
              <a:gd name="csY117" fmla="*/ 179615 h 2076207"/>
              <a:gd name="csX118" fmla="*/ 308839 w 729419"/>
              <a:gd name="csY118" fmla="*/ 227846 h 2076207"/>
              <a:gd name="csX119" fmla="*/ 245077 w 729419"/>
              <a:gd name="csY119" fmla="*/ 192402 h 2076207"/>
              <a:gd name="csX120" fmla="*/ 242829 w 729419"/>
              <a:gd name="csY120" fmla="*/ 198815 h 2076207"/>
              <a:gd name="csX121" fmla="*/ 168452 w 729419"/>
              <a:gd name="csY121" fmla="*/ 219348 h 2076207"/>
              <a:gd name="csX122" fmla="*/ 140694 w 729419"/>
              <a:gd name="csY122" fmla="*/ 201837 h 2076207"/>
              <a:gd name="csX123" fmla="*/ 259999 w 729419"/>
              <a:gd name="csY123" fmla="*/ 966699 h 2076207"/>
              <a:gd name="csX124" fmla="*/ 257072 w 729419"/>
              <a:gd name="csY124" fmla="*/ 1070424 h 2076207"/>
              <a:gd name="csX125" fmla="*/ 251372 w 729419"/>
              <a:gd name="csY125" fmla="*/ 1157618 h 2076207"/>
              <a:gd name="csX126" fmla="*/ 232677 w 729419"/>
              <a:gd name="csY126" fmla="*/ 1320279 h 2076207"/>
              <a:gd name="csX127" fmla="*/ 209182 w 729419"/>
              <a:gd name="csY127" fmla="*/ 1468667 h 2076207"/>
              <a:gd name="csX128" fmla="*/ 175302 w 729419"/>
              <a:gd name="csY128" fmla="*/ 1616623 h 2076207"/>
              <a:gd name="csX129" fmla="*/ 182769 w 729419"/>
              <a:gd name="csY129" fmla="*/ 1629786 h 2076207"/>
              <a:gd name="csX130" fmla="*/ 212156 w 729419"/>
              <a:gd name="csY130" fmla="*/ 1632656 h 2076207"/>
              <a:gd name="csX131" fmla="*/ 351295 w 729419"/>
              <a:gd name="csY131" fmla="*/ 1632801 h 2076207"/>
              <a:gd name="csX132" fmla="*/ 376150 w 729419"/>
              <a:gd name="csY132" fmla="*/ 1608307 h 2076207"/>
              <a:gd name="csX133" fmla="*/ 373450 w 729419"/>
              <a:gd name="csY133" fmla="*/ 1457291 h 2076207"/>
              <a:gd name="csX134" fmla="*/ 370936 w 729419"/>
              <a:gd name="csY134" fmla="*/ 1342736 h 2076207"/>
              <a:gd name="csX135" fmla="*/ 368328 w 729419"/>
              <a:gd name="csY135" fmla="*/ 1203878 h 2076207"/>
              <a:gd name="csX136" fmla="*/ 367836 w 729419"/>
              <a:gd name="csY136" fmla="*/ 813478 h 2076207"/>
              <a:gd name="csX137" fmla="*/ 365240 w 729419"/>
              <a:gd name="csY137" fmla="*/ 773243 h 2076207"/>
              <a:gd name="csX138" fmla="*/ 353084 w 729419"/>
              <a:gd name="csY138" fmla="*/ 762083 h 2076207"/>
              <a:gd name="csX139" fmla="*/ 280966 w 729419"/>
              <a:gd name="csY139" fmla="*/ 759855 h 2076207"/>
              <a:gd name="csX140" fmla="*/ 259965 w 729419"/>
              <a:gd name="csY140" fmla="*/ 779553 h 2076207"/>
              <a:gd name="csX141" fmla="*/ 262341 w 729419"/>
              <a:gd name="csY141" fmla="*/ 856275 h 2076207"/>
              <a:gd name="csX142" fmla="*/ 259999 w 729419"/>
              <a:gd name="csY142" fmla="*/ 966699 h 2076207"/>
              <a:gd name="csX143" fmla="*/ 55556 w 729419"/>
              <a:gd name="csY143" fmla="*/ 1835827 h 2076207"/>
              <a:gd name="csX144" fmla="*/ 49393 w 729419"/>
              <a:gd name="csY144" fmla="*/ 1878155 h 2076207"/>
              <a:gd name="csX145" fmla="*/ 73949 w 729419"/>
              <a:gd name="csY145" fmla="*/ 1905781 h 2076207"/>
              <a:gd name="csX146" fmla="*/ 110073 w 729419"/>
              <a:gd name="csY146" fmla="*/ 1909068 h 2076207"/>
              <a:gd name="csX147" fmla="*/ 224745 w 729419"/>
              <a:gd name="csY147" fmla="*/ 1921652 h 2076207"/>
              <a:gd name="csX148" fmla="*/ 347327 w 729419"/>
              <a:gd name="csY148" fmla="*/ 1924778 h 2076207"/>
              <a:gd name="csX149" fmla="*/ 363345 w 729419"/>
              <a:gd name="csY149" fmla="*/ 1923293 h 2076207"/>
              <a:gd name="csX150" fmla="*/ 373787 w 729419"/>
              <a:gd name="csY150" fmla="*/ 1911200 h 2076207"/>
              <a:gd name="csX151" fmla="*/ 376623 w 729419"/>
              <a:gd name="csY151" fmla="*/ 1696741 h 2076207"/>
              <a:gd name="csX152" fmla="*/ 360437 w 729419"/>
              <a:gd name="csY152" fmla="*/ 1681289 h 2076207"/>
              <a:gd name="csX153" fmla="*/ 263503 w 729419"/>
              <a:gd name="csY153" fmla="*/ 1678179 h 2076207"/>
              <a:gd name="csX154" fmla="*/ 160381 w 729419"/>
              <a:gd name="csY154" fmla="*/ 1670405 h 2076207"/>
              <a:gd name="csX155" fmla="*/ 143321 w 729419"/>
              <a:gd name="csY155" fmla="*/ 1685538 h 2076207"/>
              <a:gd name="csX156" fmla="*/ 124769 w 729419"/>
              <a:gd name="csY156" fmla="*/ 1738195 h 2076207"/>
              <a:gd name="csX157" fmla="*/ 90593 w 729419"/>
              <a:gd name="csY157" fmla="*/ 1779570 h 2076207"/>
              <a:gd name="csX158" fmla="*/ 55556 w 729419"/>
              <a:gd name="csY158" fmla="*/ 1835827 h 2076207"/>
              <a:gd name="csX159" fmla="*/ 378900 w 729419"/>
              <a:gd name="csY159" fmla="*/ 2007280 h 2076207"/>
              <a:gd name="csX160" fmla="*/ 378887 w 729419"/>
              <a:gd name="csY160" fmla="*/ 1995127 h 2076207"/>
              <a:gd name="csX161" fmla="*/ 359084 w 729419"/>
              <a:gd name="csY161" fmla="*/ 1975964 h 2076207"/>
              <a:gd name="csX162" fmla="*/ 247288 w 729419"/>
              <a:gd name="csY162" fmla="*/ 1973305 h 2076207"/>
              <a:gd name="csX163" fmla="*/ 201692 w 729419"/>
              <a:gd name="csY163" fmla="*/ 1970275 h 2076207"/>
              <a:gd name="csX164" fmla="*/ 57962 w 729419"/>
              <a:gd name="csY164" fmla="*/ 1952648 h 2076207"/>
              <a:gd name="csX165" fmla="*/ 39194 w 729419"/>
              <a:gd name="csY165" fmla="*/ 1963552 h 2076207"/>
              <a:gd name="csX166" fmla="*/ 30066 w 729419"/>
              <a:gd name="csY166" fmla="*/ 2006631 h 2076207"/>
              <a:gd name="csX167" fmla="*/ 40232 w 729419"/>
              <a:gd name="csY167" fmla="*/ 2019486 h 2076207"/>
              <a:gd name="csX168" fmla="*/ 238186 w 729419"/>
              <a:gd name="csY168" fmla="*/ 2046096 h 2076207"/>
              <a:gd name="csX169" fmla="*/ 342155 w 729419"/>
              <a:gd name="csY169" fmla="*/ 2046441 h 2076207"/>
              <a:gd name="csX170" fmla="*/ 378900 w 729419"/>
              <a:gd name="csY170" fmla="*/ 2007280 h 2076207"/>
              <a:gd name="csX171" fmla="*/ 310220 w 729419"/>
              <a:gd name="csY171" fmla="*/ 554288 h 2076207"/>
              <a:gd name="csX172" fmla="*/ 259136 w 729419"/>
              <a:gd name="csY172" fmla="*/ 556881 h 2076207"/>
              <a:gd name="csX173" fmla="*/ 249085 w 729419"/>
              <a:gd name="csY173" fmla="*/ 567981 h 2076207"/>
              <a:gd name="csX174" fmla="*/ 249141 w 729419"/>
              <a:gd name="csY174" fmla="*/ 605644 h 2076207"/>
              <a:gd name="csX175" fmla="*/ 262628 w 729419"/>
              <a:gd name="csY175" fmla="*/ 605627 h 2076207"/>
              <a:gd name="csX176" fmla="*/ 369608 w 729419"/>
              <a:gd name="csY176" fmla="*/ 603027 h 2076207"/>
              <a:gd name="csX177" fmla="*/ 463931 w 729419"/>
              <a:gd name="csY177" fmla="*/ 605146 h 2076207"/>
              <a:gd name="csX178" fmla="*/ 478113 w 729419"/>
              <a:gd name="csY178" fmla="*/ 595843 h 2076207"/>
              <a:gd name="csX179" fmla="*/ 478796 w 729419"/>
              <a:gd name="csY179" fmla="*/ 556832 h 2076207"/>
              <a:gd name="csX180" fmla="*/ 310220 w 729419"/>
              <a:gd name="csY180" fmla="*/ 554288 h 2076207"/>
              <a:gd name="csX181" fmla="*/ 348836 w 729419"/>
              <a:gd name="csY181" fmla="*/ 684115 h 2076207"/>
              <a:gd name="csX182" fmla="*/ 281333 w 729419"/>
              <a:gd name="csY182" fmla="*/ 683313 h 2076207"/>
              <a:gd name="csX183" fmla="*/ 212728 w 729419"/>
              <a:gd name="csY183" fmla="*/ 681931 h 2076207"/>
              <a:gd name="csX184" fmla="*/ 187283 w 729419"/>
              <a:gd name="csY184" fmla="*/ 689555 h 2076207"/>
              <a:gd name="csX185" fmla="*/ 186163 w 729419"/>
              <a:gd name="csY185" fmla="*/ 718266 h 2076207"/>
              <a:gd name="csX186" fmla="*/ 209894 w 729419"/>
              <a:gd name="csY186" fmla="*/ 726798 h 2076207"/>
              <a:gd name="csX187" fmla="*/ 334814 w 729419"/>
              <a:gd name="csY187" fmla="*/ 732494 h 2076207"/>
              <a:gd name="csX188" fmla="*/ 364856 w 729419"/>
              <a:gd name="csY188" fmla="*/ 707963 h 2076207"/>
              <a:gd name="csX189" fmla="*/ 348836 w 729419"/>
              <a:gd name="csY189" fmla="*/ 684115 h 2076207"/>
              <a:gd name="csX190" fmla="*/ 298865 w 729419"/>
              <a:gd name="csY190" fmla="*/ 621954 h 2076207"/>
              <a:gd name="csX191" fmla="*/ 251619 w 729419"/>
              <a:gd name="csY191" fmla="*/ 622133 h 2076207"/>
              <a:gd name="csX192" fmla="*/ 214459 w 729419"/>
              <a:gd name="csY192" fmla="*/ 636230 h 2076207"/>
              <a:gd name="csX193" fmla="*/ 221436 w 729419"/>
              <a:gd name="csY193" fmla="*/ 654205 h 2076207"/>
              <a:gd name="csX194" fmla="*/ 272412 w 729419"/>
              <a:gd name="csY194" fmla="*/ 657250 h 2076207"/>
              <a:gd name="csX195" fmla="*/ 349094 w 729419"/>
              <a:gd name="csY195" fmla="*/ 659282 h 2076207"/>
              <a:gd name="csX196" fmla="*/ 362996 w 729419"/>
              <a:gd name="csY196" fmla="*/ 644234 h 2076207"/>
              <a:gd name="csX197" fmla="*/ 348472 w 729419"/>
              <a:gd name="csY197" fmla="*/ 624649 h 2076207"/>
              <a:gd name="csX198" fmla="*/ 298865 w 729419"/>
              <a:gd name="csY198" fmla="*/ 621954 h 2076207"/>
              <a:gd name="csX199" fmla="*/ 227796 w 729419"/>
              <a:gd name="csY199" fmla="*/ 528000 h 2076207"/>
              <a:gd name="csX200" fmla="*/ 241009 w 729419"/>
              <a:gd name="csY200" fmla="*/ 545897 h 2076207"/>
              <a:gd name="csX201" fmla="*/ 282607 w 729419"/>
              <a:gd name="csY201" fmla="*/ 543480 h 2076207"/>
              <a:gd name="csX202" fmla="*/ 354213 w 729419"/>
              <a:gd name="csY202" fmla="*/ 543384 h 2076207"/>
              <a:gd name="csX203" fmla="*/ 365334 w 729419"/>
              <a:gd name="csY203" fmla="*/ 533397 h 2076207"/>
              <a:gd name="csX204" fmla="*/ 354531 w 729419"/>
              <a:gd name="csY204" fmla="*/ 521620 h 2076207"/>
              <a:gd name="csX205" fmla="*/ 259169 w 729419"/>
              <a:gd name="csY205" fmla="*/ 521978 h 2076207"/>
              <a:gd name="csX206" fmla="*/ 227796 w 729419"/>
              <a:gd name="csY206" fmla="*/ 528000 h 2076207"/>
              <a:gd name="csX207" fmla="*/ 508068 w 729419"/>
              <a:gd name="csY207" fmla="*/ 190710 h 2076207"/>
              <a:gd name="csX208" fmla="*/ 521293 w 729419"/>
              <a:gd name="csY208" fmla="*/ 205907 h 2076207"/>
              <a:gd name="csX209" fmla="*/ 525175 w 729419"/>
              <a:gd name="csY209" fmla="*/ 202985 h 2076207"/>
              <a:gd name="csX210" fmla="*/ 500276 w 729419"/>
              <a:gd name="csY210" fmla="*/ 160640 h 2076207"/>
              <a:gd name="csX211" fmla="*/ 497122 w 729419"/>
              <a:gd name="csY211" fmla="*/ 162007 h 2076207"/>
              <a:gd name="csX212" fmla="*/ 508068 w 729419"/>
              <a:gd name="csY212" fmla="*/ 190710 h 2076207"/>
              <a:gd name="csX213" fmla="*/ 215522 w 729419"/>
              <a:gd name="csY213" fmla="*/ 197296 h 2076207"/>
              <a:gd name="csX214" fmla="*/ 234029 w 729419"/>
              <a:gd name="csY214" fmla="*/ 162725 h 2076207"/>
              <a:gd name="csX215" fmla="*/ 229000 w 729419"/>
              <a:gd name="csY215" fmla="*/ 159902 h 2076207"/>
              <a:gd name="csX216" fmla="*/ 204824 w 729419"/>
              <a:gd name="csY216" fmla="*/ 199677 h 2076207"/>
              <a:gd name="csX217" fmla="*/ 207990 w 729419"/>
              <a:gd name="csY217" fmla="*/ 202198 h 2076207"/>
              <a:gd name="csX218" fmla="*/ 215522 w 729419"/>
              <a:gd name="csY218" fmla="*/ 197296 h 2076207"/>
              <a:gd name="csX219" fmla="*/ 484400 w 729419"/>
              <a:gd name="csY219" fmla="*/ 896678 h 2076207"/>
              <a:gd name="csX220" fmla="*/ 486181 w 729419"/>
              <a:gd name="csY220" fmla="*/ 896585 h 2076207"/>
              <a:gd name="csX221" fmla="*/ 486181 w 729419"/>
              <a:gd name="csY221" fmla="*/ 795289 h 2076207"/>
              <a:gd name="csX222" fmla="*/ 720241 w 729419"/>
              <a:gd name="csY222" fmla="*/ 2030666 h 2076207"/>
              <a:gd name="csX223" fmla="*/ 721175 w 729419"/>
              <a:gd name="csY223" fmla="*/ 2029733 h 2076207"/>
              <a:gd name="csX224" fmla="*/ 720241 w 729419"/>
              <a:gd name="csY224" fmla="*/ 2030666 h 2076207"/>
              <a:gd name="csX225" fmla="*/ 715702 w 729419"/>
              <a:gd name="csY225" fmla="*/ 2037051 h 2076207"/>
              <a:gd name="csX226" fmla="*/ 715702 w 729419"/>
              <a:gd name="csY226" fmla="*/ 2037051 h 2076207"/>
              <a:gd name="csX0" fmla="*/ 96263 w 729419"/>
              <a:gd name="csY0" fmla="*/ 2076207 h 2091729"/>
              <a:gd name="csX1" fmla="*/ 63862 w 729419"/>
              <a:gd name="csY1" fmla="*/ 2065388 h 2091729"/>
              <a:gd name="csX2" fmla="*/ 16555 w 729419"/>
              <a:gd name="csY2" fmla="*/ 2050152 h 2091729"/>
              <a:gd name="csX3" fmla="*/ 15 w 729419"/>
              <a:gd name="csY3" fmla="*/ 2023802 h 2091729"/>
              <a:gd name="csX4" fmla="*/ 18368 w 729419"/>
              <a:gd name="csY4" fmla="*/ 1940709 h 2091729"/>
              <a:gd name="csX5" fmla="*/ 22139 w 729419"/>
              <a:gd name="csY5" fmla="*/ 1907268 h 2091729"/>
              <a:gd name="csX6" fmla="*/ 57941 w 729419"/>
              <a:gd name="csY6" fmla="*/ 1774163 h 2091729"/>
              <a:gd name="csX7" fmla="*/ 102478 w 729419"/>
              <a:gd name="csY7" fmla="*/ 1720275 h 2091729"/>
              <a:gd name="csX8" fmla="*/ 108579 w 729419"/>
              <a:gd name="csY8" fmla="*/ 1650967 h 2091729"/>
              <a:gd name="csX9" fmla="*/ 115628 w 729419"/>
              <a:gd name="csY9" fmla="*/ 1625405 h 2091729"/>
              <a:gd name="csX10" fmla="*/ 156323 w 729419"/>
              <a:gd name="csY10" fmla="*/ 1560181 h 2091729"/>
              <a:gd name="csX11" fmla="*/ 199424 w 729419"/>
              <a:gd name="csY11" fmla="*/ 1364729 h 2091729"/>
              <a:gd name="csX12" fmla="*/ 216779 w 729419"/>
              <a:gd name="csY12" fmla="*/ 1219490 h 2091729"/>
              <a:gd name="csX13" fmla="*/ 229755 w 729419"/>
              <a:gd name="csY13" fmla="*/ 1099357 h 2091729"/>
              <a:gd name="csX14" fmla="*/ 232707 w 729419"/>
              <a:gd name="csY14" fmla="*/ 1056423 h 2091729"/>
              <a:gd name="csX15" fmla="*/ 235622 w 729419"/>
              <a:gd name="csY15" fmla="*/ 952675 h 2091729"/>
              <a:gd name="csX16" fmla="*/ 235445 w 729419"/>
              <a:gd name="csY16" fmla="*/ 780278 h 2091729"/>
              <a:gd name="csX17" fmla="*/ 214544 w 729419"/>
              <a:gd name="csY17" fmla="*/ 756435 h 2091729"/>
              <a:gd name="csX18" fmla="*/ 172569 w 729419"/>
              <a:gd name="csY18" fmla="*/ 742582 h 2091729"/>
              <a:gd name="csX19" fmla="*/ 168784 w 729419"/>
              <a:gd name="csY19" fmla="*/ 669116 h 2091729"/>
              <a:gd name="csX20" fmla="*/ 191657 w 729419"/>
              <a:gd name="csY20" fmla="*/ 630765 h 2091729"/>
              <a:gd name="csX21" fmla="*/ 208150 w 729419"/>
              <a:gd name="csY21" fmla="*/ 609084 h 2091729"/>
              <a:gd name="csX22" fmla="*/ 216756 w 729419"/>
              <a:gd name="csY22" fmla="*/ 558673 h 2091729"/>
              <a:gd name="csX23" fmla="*/ 209092 w 729419"/>
              <a:gd name="csY23" fmla="*/ 521540 h 2091729"/>
              <a:gd name="csX24" fmla="*/ 204683 w 729419"/>
              <a:gd name="csY24" fmla="*/ 474024 h 2091729"/>
              <a:gd name="csX25" fmla="*/ 115483 w 729419"/>
              <a:gd name="csY25" fmla="*/ 213499 h 2091729"/>
              <a:gd name="csX26" fmla="*/ 102909 w 729419"/>
              <a:gd name="csY26" fmla="*/ 182297 h 2091729"/>
              <a:gd name="csX27" fmla="*/ 104315 w 729419"/>
              <a:gd name="csY27" fmla="*/ 163968 h 2091729"/>
              <a:gd name="csX28" fmla="*/ 122444 w 729419"/>
              <a:gd name="csY28" fmla="*/ 160805 h 2091729"/>
              <a:gd name="csX29" fmla="*/ 170283 w 729419"/>
              <a:gd name="csY29" fmla="*/ 187783 h 2091729"/>
              <a:gd name="csX30" fmla="*/ 180938 w 729419"/>
              <a:gd name="csY30" fmla="*/ 195322 h 2091729"/>
              <a:gd name="csX31" fmla="*/ 221419 w 729419"/>
              <a:gd name="csY31" fmla="*/ 138058 h 2091729"/>
              <a:gd name="csX32" fmla="*/ 294099 w 729419"/>
              <a:gd name="csY32" fmla="*/ 91372 h 2091729"/>
              <a:gd name="csX33" fmla="*/ 302307 w 729419"/>
              <a:gd name="csY33" fmla="*/ 76560 h 2091729"/>
              <a:gd name="csX34" fmla="*/ 320284 w 729419"/>
              <a:gd name="csY34" fmla="*/ 8414 h 2091729"/>
              <a:gd name="csX35" fmla="*/ 324784 w 729419"/>
              <a:gd name="csY35" fmla="*/ 946 h 2091729"/>
              <a:gd name="csX36" fmla="*/ 399212 w 729419"/>
              <a:gd name="csY36" fmla="*/ 0 h 2091729"/>
              <a:gd name="csX37" fmla="*/ 425980 w 729419"/>
              <a:gd name="csY37" fmla="*/ 78301 h 2091729"/>
              <a:gd name="csX38" fmla="*/ 431861 w 729419"/>
              <a:gd name="csY38" fmla="*/ 90312 h 2091729"/>
              <a:gd name="csX39" fmla="*/ 540349 w 729419"/>
              <a:gd name="csY39" fmla="*/ 187946 h 2091729"/>
              <a:gd name="csX40" fmla="*/ 545555 w 729419"/>
              <a:gd name="csY40" fmla="*/ 197828 h 2091729"/>
              <a:gd name="csX41" fmla="*/ 587318 w 729419"/>
              <a:gd name="csY41" fmla="*/ 171260 h 2091729"/>
              <a:gd name="csX42" fmla="*/ 601503 w 729419"/>
              <a:gd name="csY42" fmla="*/ 163707 h 2091729"/>
              <a:gd name="csX43" fmla="*/ 625254 w 729419"/>
              <a:gd name="csY43" fmla="*/ 163123 h 2091729"/>
              <a:gd name="csX44" fmla="*/ 625468 w 729419"/>
              <a:gd name="csY44" fmla="*/ 187579 h 2091729"/>
              <a:gd name="csX45" fmla="*/ 597543 w 729419"/>
              <a:gd name="csY45" fmla="*/ 251872 h 2091729"/>
              <a:gd name="csX46" fmla="*/ 531831 w 729419"/>
              <a:gd name="csY46" fmla="*/ 442689 h 2091729"/>
              <a:gd name="csX47" fmla="*/ 519888 w 729419"/>
              <a:gd name="csY47" fmla="*/ 501474 h 2091729"/>
              <a:gd name="csX48" fmla="*/ 522506 w 729419"/>
              <a:gd name="csY48" fmla="*/ 525086 h 2091729"/>
              <a:gd name="csX49" fmla="*/ 516235 w 729419"/>
              <a:gd name="csY49" fmla="*/ 555946 h 2091729"/>
              <a:gd name="csX50" fmla="*/ 521332 w 729419"/>
              <a:gd name="csY50" fmla="*/ 610676 h 2091729"/>
              <a:gd name="csX51" fmla="*/ 541382 w 729419"/>
              <a:gd name="csY51" fmla="*/ 642597 h 2091729"/>
              <a:gd name="csX52" fmla="*/ 557031 w 729419"/>
              <a:gd name="csY52" fmla="*/ 667949 h 2091729"/>
              <a:gd name="csX53" fmla="*/ 553994 w 729419"/>
              <a:gd name="csY53" fmla="*/ 744146 h 2091729"/>
              <a:gd name="csX54" fmla="*/ 508215 w 729419"/>
              <a:gd name="csY54" fmla="*/ 758841 h 2091729"/>
              <a:gd name="csX55" fmla="*/ 497442 w 729419"/>
              <a:gd name="csY55" fmla="*/ 771256 h 2091729"/>
              <a:gd name="csX56" fmla="*/ 493005 w 729419"/>
              <a:gd name="csY56" fmla="*/ 922055 h 2091729"/>
              <a:gd name="csX57" fmla="*/ 502900 w 729419"/>
              <a:gd name="csY57" fmla="*/ 1114191 h 2091729"/>
              <a:gd name="csX58" fmla="*/ 508800 w 729419"/>
              <a:gd name="csY58" fmla="*/ 1205474 h 2091729"/>
              <a:gd name="csX59" fmla="*/ 522952 w 729419"/>
              <a:gd name="csY59" fmla="*/ 1320065 h 2091729"/>
              <a:gd name="csX60" fmla="*/ 554682 w 729419"/>
              <a:gd name="csY60" fmla="*/ 1501203 h 2091729"/>
              <a:gd name="csX61" fmla="*/ 576958 w 729419"/>
              <a:gd name="csY61" fmla="*/ 1593963 h 2091729"/>
              <a:gd name="csX62" fmla="*/ 595349 w 729419"/>
              <a:gd name="csY62" fmla="*/ 1613498 h 2091729"/>
              <a:gd name="csX63" fmla="*/ 613936 w 729419"/>
              <a:gd name="csY63" fmla="*/ 1624058 h 2091729"/>
              <a:gd name="csX64" fmla="*/ 620938 w 729419"/>
              <a:gd name="csY64" fmla="*/ 1652071 h 2091729"/>
              <a:gd name="csX65" fmla="*/ 630805 w 729419"/>
              <a:gd name="csY65" fmla="*/ 1721702 h 2091729"/>
              <a:gd name="csX66" fmla="*/ 685830 w 729419"/>
              <a:gd name="csY66" fmla="*/ 1792915 h 2091729"/>
              <a:gd name="csX67" fmla="*/ 708904 w 729419"/>
              <a:gd name="csY67" fmla="*/ 1890290 h 2091729"/>
              <a:gd name="csX68" fmla="*/ 716580 w 729419"/>
              <a:gd name="csY68" fmla="*/ 1951136 h 2091729"/>
              <a:gd name="csX69" fmla="*/ 729397 w 729419"/>
              <a:gd name="csY69" fmla="*/ 2030261 h 2091729"/>
              <a:gd name="csX70" fmla="*/ 714212 w 729419"/>
              <a:gd name="csY70" fmla="*/ 2049544 h 2091729"/>
              <a:gd name="csX71" fmla="*/ 645428 w 729419"/>
              <a:gd name="csY71" fmla="*/ 2070825 h 2091729"/>
              <a:gd name="csX72" fmla="*/ 635822 w 729419"/>
              <a:gd name="csY72" fmla="*/ 2075145 h 2091729"/>
              <a:gd name="csX73" fmla="*/ 588428 w 729419"/>
              <a:gd name="csY73" fmla="*/ 2075144 h 2091729"/>
              <a:gd name="csX74" fmla="*/ 590041 w 729419"/>
              <a:gd name="csY74" fmla="*/ 2071383 h 2091729"/>
              <a:gd name="csX75" fmla="*/ 667788 w 729419"/>
              <a:gd name="csY75" fmla="*/ 2056852 h 2091729"/>
              <a:gd name="csX76" fmla="*/ 706629 w 729419"/>
              <a:gd name="csY76" fmla="*/ 2044290 h 2091729"/>
              <a:gd name="csX77" fmla="*/ 702674 w 729419"/>
              <a:gd name="csY77" fmla="*/ 2041581 h 2091729"/>
              <a:gd name="csX78" fmla="*/ 544974 w 729419"/>
              <a:gd name="csY78" fmla="*/ 2071274 h 2091729"/>
              <a:gd name="csX79" fmla="*/ 538352 w 729419"/>
              <a:gd name="csY79" fmla="*/ 2076207 h 2091729"/>
              <a:gd name="csX80" fmla="*/ 96263 w 729419"/>
              <a:gd name="csY80" fmla="*/ 2076207 h 2091729"/>
              <a:gd name="csX81" fmla="*/ 489970 w 729419"/>
              <a:gd name="csY81" fmla="*/ 152208 h 2091729"/>
              <a:gd name="csX82" fmla="*/ 490754 w 729419"/>
              <a:gd name="csY82" fmla="*/ 152592 h 2091729"/>
              <a:gd name="csX83" fmla="*/ 489489 w 729419"/>
              <a:gd name="csY83" fmla="*/ 149547 h 2091729"/>
              <a:gd name="csX84" fmla="*/ 393621 w 729419"/>
              <a:gd name="csY84" fmla="*/ 99259 h 2091729"/>
              <a:gd name="csX85" fmla="*/ 390419 w 729419"/>
              <a:gd name="csY85" fmla="*/ 18568 h 2091729"/>
              <a:gd name="csX86" fmla="*/ 334131 w 729419"/>
              <a:gd name="csY86" fmla="*/ 24327 h 2091729"/>
              <a:gd name="csX87" fmla="*/ 344678 w 729419"/>
              <a:gd name="csY87" fmla="*/ 101259 h 2091729"/>
              <a:gd name="csX88" fmla="*/ 298854 w 729419"/>
              <a:gd name="csY88" fmla="*/ 114003 h 2091729"/>
              <a:gd name="csX89" fmla="*/ 237456 w 729419"/>
              <a:gd name="csY89" fmla="*/ 154340 h 2091729"/>
              <a:gd name="csX90" fmla="*/ 240382 w 729419"/>
              <a:gd name="csY90" fmla="*/ 154035 h 2091729"/>
              <a:gd name="csX91" fmla="*/ 262731 w 729419"/>
              <a:gd name="csY91" fmla="*/ 170426 h 2091729"/>
              <a:gd name="csX92" fmla="*/ 279169 w 729419"/>
              <a:gd name="csY92" fmla="*/ 193173 h 2091729"/>
              <a:gd name="csX93" fmla="*/ 327717 w 729419"/>
              <a:gd name="csY93" fmla="*/ 188556 h 2091729"/>
              <a:gd name="csX94" fmla="*/ 348052 w 729419"/>
              <a:gd name="csY94" fmla="*/ 156919 h 2091729"/>
              <a:gd name="csX95" fmla="*/ 380330 w 729419"/>
              <a:gd name="csY95" fmla="*/ 156483 h 2091729"/>
              <a:gd name="csX96" fmla="*/ 408490 w 729419"/>
              <a:gd name="csY96" fmla="*/ 195400 h 2091729"/>
              <a:gd name="csX97" fmla="*/ 445346 w 729419"/>
              <a:gd name="csY97" fmla="*/ 197582 h 2091729"/>
              <a:gd name="csX98" fmla="*/ 464798 w 729419"/>
              <a:gd name="csY98" fmla="*/ 174107 h 2091729"/>
              <a:gd name="csX99" fmla="*/ 489970 w 729419"/>
              <a:gd name="csY99" fmla="*/ 152208 h 2091729"/>
              <a:gd name="csX100" fmla="*/ 140694 w 729419"/>
              <a:gd name="csY100" fmla="*/ 201837 h 2091729"/>
              <a:gd name="csX101" fmla="*/ 139834 w 729419"/>
              <a:gd name="csY101" fmla="*/ 201482 h 2091729"/>
              <a:gd name="csX102" fmla="*/ 140812 w 729419"/>
              <a:gd name="csY102" fmla="*/ 204941 h 2091729"/>
              <a:gd name="csX103" fmla="*/ 144631 w 729419"/>
              <a:gd name="csY103" fmla="*/ 217811 h 2091729"/>
              <a:gd name="csX104" fmla="*/ 201241 w 729419"/>
              <a:gd name="csY104" fmla="*/ 373387 h 2091729"/>
              <a:gd name="csX105" fmla="*/ 235971 w 729419"/>
              <a:gd name="csY105" fmla="*/ 504451 h 2091729"/>
              <a:gd name="csX106" fmla="*/ 247475 w 729419"/>
              <a:gd name="csY106" fmla="*/ 513241 h 2091729"/>
              <a:gd name="csX107" fmla="*/ 289066 w 729419"/>
              <a:gd name="csY107" fmla="*/ 511170 h 2091729"/>
              <a:gd name="csX108" fmla="*/ 378229 w 729419"/>
              <a:gd name="csY108" fmla="*/ 511084 h 2091729"/>
              <a:gd name="csX109" fmla="*/ 470850 w 729419"/>
              <a:gd name="csY109" fmla="*/ 516341 h 2091729"/>
              <a:gd name="csX110" fmla="*/ 492933 w 729419"/>
              <a:gd name="csY110" fmla="*/ 497969 h 2091729"/>
              <a:gd name="csX111" fmla="*/ 557617 w 729419"/>
              <a:gd name="csY111" fmla="*/ 280398 h 2091729"/>
              <a:gd name="csX112" fmla="*/ 588788 w 729419"/>
              <a:gd name="csY112" fmla="*/ 200385 h 2091729"/>
              <a:gd name="csX113" fmla="*/ 530958 w 729419"/>
              <a:gd name="csY113" fmla="*/ 232968 h 2091729"/>
              <a:gd name="csX114" fmla="*/ 483823 w 729419"/>
              <a:gd name="csY114" fmla="*/ 190364 h 2091729"/>
              <a:gd name="csX115" fmla="*/ 466649 w 729419"/>
              <a:gd name="csY115" fmla="*/ 209061 h 2091729"/>
              <a:gd name="csX116" fmla="*/ 399941 w 729419"/>
              <a:gd name="csY116" fmla="*/ 216988 h 2091729"/>
              <a:gd name="csX117" fmla="*/ 363018 w 729419"/>
              <a:gd name="csY117" fmla="*/ 179615 h 2091729"/>
              <a:gd name="csX118" fmla="*/ 308839 w 729419"/>
              <a:gd name="csY118" fmla="*/ 227846 h 2091729"/>
              <a:gd name="csX119" fmla="*/ 245077 w 729419"/>
              <a:gd name="csY119" fmla="*/ 192402 h 2091729"/>
              <a:gd name="csX120" fmla="*/ 242829 w 729419"/>
              <a:gd name="csY120" fmla="*/ 198815 h 2091729"/>
              <a:gd name="csX121" fmla="*/ 168452 w 729419"/>
              <a:gd name="csY121" fmla="*/ 219348 h 2091729"/>
              <a:gd name="csX122" fmla="*/ 140694 w 729419"/>
              <a:gd name="csY122" fmla="*/ 201837 h 2091729"/>
              <a:gd name="csX123" fmla="*/ 259999 w 729419"/>
              <a:gd name="csY123" fmla="*/ 966699 h 2091729"/>
              <a:gd name="csX124" fmla="*/ 257072 w 729419"/>
              <a:gd name="csY124" fmla="*/ 1070424 h 2091729"/>
              <a:gd name="csX125" fmla="*/ 251372 w 729419"/>
              <a:gd name="csY125" fmla="*/ 1157618 h 2091729"/>
              <a:gd name="csX126" fmla="*/ 232677 w 729419"/>
              <a:gd name="csY126" fmla="*/ 1320279 h 2091729"/>
              <a:gd name="csX127" fmla="*/ 209182 w 729419"/>
              <a:gd name="csY127" fmla="*/ 1468667 h 2091729"/>
              <a:gd name="csX128" fmla="*/ 175302 w 729419"/>
              <a:gd name="csY128" fmla="*/ 1616623 h 2091729"/>
              <a:gd name="csX129" fmla="*/ 182769 w 729419"/>
              <a:gd name="csY129" fmla="*/ 1629786 h 2091729"/>
              <a:gd name="csX130" fmla="*/ 212156 w 729419"/>
              <a:gd name="csY130" fmla="*/ 1632656 h 2091729"/>
              <a:gd name="csX131" fmla="*/ 351295 w 729419"/>
              <a:gd name="csY131" fmla="*/ 1632801 h 2091729"/>
              <a:gd name="csX132" fmla="*/ 376150 w 729419"/>
              <a:gd name="csY132" fmla="*/ 1608307 h 2091729"/>
              <a:gd name="csX133" fmla="*/ 373450 w 729419"/>
              <a:gd name="csY133" fmla="*/ 1457291 h 2091729"/>
              <a:gd name="csX134" fmla="*/ 370936 w 729419"/>
              <a:gd name="csY134" fmla="*/ 1342736 h 2091729"/>
              <a:gd name="csX135" fmla="*/ 368328 w 729419"/>
              <a:gd name="csY135" fmla="*/ 1203878 h 2091729"/>
              <a:gd name="csX136" fmla="*/ 367836 w 729419"/>
              <a:gd name="csY136" fmla="*/ 813478 h 2091729"/>
              <a:gd name="csX137" fmla="*/ 365240 w 729419"/>
              <a:gd name="csY137" fmla="*/ 773243 h 2091729"/>
              <a:gd name="csX138" fmla="*/ 353084 w 729419"/>
              <a:gd name="csY138" fmla="*/ 762083 h 2091729"/>
              <a:gd name="csX139" fmla="*/ 280966 w 729419"/>
              <a:gd name="csY139" fmla="*/ 759855 h 2091729"/>
              <a:gd name="csX140" fmla="*/ 259965 w 729419"/>
              <a:gd name="csY140" fmla="*/ 779553 h 2091729"/>
              <a:gd name="csX141" fmla="*/ 262341 w 729419"/>
              <a:gd name="csY141" fmla="*/ 856275 h 2091729"/>
              <a:gd name="csX142" fmla="*/ 259999 w 729419"/>
              <a:gd name="csY142" fmla="*/ 966699 h 2091729"/>
              <a:gd name="csX143" fmla="*/ 55556 w 729419"/>
              <a:gd name="csY143" fmla="*/ 1835827 h 2091729"/>
              <a:gd name="csX144" fmla="*/ 49393 w 729419"/>
              <a:gd name="csY144" fmla="*/ 1878155 h 2091729"/>
              <a:gd name="csX145" fmla="*/ 73949 w 729419"/>
              <a:gd name="csY145" fmla="*/ 1905781 h 2091729"/>
              <a:gd name="csX146" fmla="*/ 110073 w 729419"/>
              <a:gd name="csY146" fmla="*/ 1909068 h 2091729"/>
              <a:gd name="csX147" fmla="*/ 224745 w 729419"/>
              <a:gd name="csY147" fmla="*/ 1921652 h 2091729"/>
              <a:gd name="csX148" fmla="*/ 347327 w 729419"/>
              <a:gd name="csY148" fmla="*/ 1924778 h 2091729"/>
              <a:gd name="csX149" fmla="*/ 363345 w 729419"/>
              <a:gd name="csY149" fmla="*/ 1923293 h 2091729"/>
              <a:gd name="csX150" fmla="*/ 373787 w 729419"/>
              <a:gd name="csY150" fmla="*/ 1911200 h 2091729"/>
              <a:gd name="csX151" fmla="*/ 376623 w 729419"/>
              <a:gd name="csY151" fmla="*/ 1696741 h 2091729"/>
              <a:gd name="csX152" fmla="*/ 360437 w 729419"/>
              <a:gd name="csY152" fmla="*/ 1681289 h 2091729"/>
              <a:gd name="csX153" fmla="*/ 263503 w 729419"/>
              <a:gd name="csY153" fmla="*/ 1678179 h 2091729"/>
              <a:gd name="csX154" fmla="*/ 160381 w 729419"/>
              <a:gd name="csY154" fmla="*/ 1670405 h 2091729"/>
              <a:gd name="csX155" fmla="*/ 143321 w 729419"/>
              <a:gd name="csY155" fmla="*/ 1685538 h 2091729"/>
              <a:gd name="csX156" fmla="*/ 124769 w 729419"/>
              <a:gd name="csY156" fmla="*/ 1738195 h 2091729"/>
              <a:gd name="csX157" fmla="*/ 90593 w 729419"/>
              <a:gd name="csY157" fmla="*/ 1779570 h 2091729"/>
              <a:gd name="csX158" fmla="*/ 55556 w 729419"/>
              <a:gd name="csY158" fmla="*/ 1835827 h 2091729"/>
              <a:gd name="csX159" fmla="*/ 378900 w 729419"/>
              <a:gd name="csY159" fmla="*/ 2007280 h 2091729"/>
              <a:gd name="csX160" fmla="*/ 378887 w 729419"/>
              <a:gd name="csY160" fmla="*/ 1995127 h 2091729"/>
              <a:gd name="csX161" fmla="*/ 359084 w 729419"/>
              <a:gd name="csY161" fmla="*/ 1975964 h 2091729"/>
              <a:gd name="csX162" fmla="*/ 247288 w 729419"/>
              <a:gd name="csY162" fmla="*/ 1973305 h 2091729"/>
              <a:gd name="csX163" fmla="*/ 201692 w 729419"/>
              <a:gd name="csY163" fmla="*/ 1970275 h 2091729"/>
              <a:gd name="csX164" fmla="*/ 57962 w 729419"/>
              <a:gd name="csY164" fmla="*/ 1952648 h 2091729"/>
              <a:gd name="csX165" fmla="*/ 39194 w 729419"/>
              <a:gd name="csY165" fmla="*/ 1963552 h 2091729"/>
              <a:gd name="csX166" fmla="*/ 30066 w 729419"/>
              <a:gd name="csY166" fmla="*/ 2006631 h 2091729"/>
              <a:gd name="csX167" fmla="*/ 40232 w 729419"/>
              <a:gd name="csY167" fmla="*/ 2019486 h 2091729"/>
              <a:gd name="csX168" fmla="*/ 238186 w 729419"/>
              <a:gd name="csY168" fmla="*/ 2046096 h 2091729"/>
              <a:gd name="csX169" fmla="*/ 342155 w 729419"/>
              <a:gd name="csY169" fmla="*/ 2046441 h 2091729"/>
              <a:gd name="csX170" fmla="*/ 378900 w 729419"/>
              <a:gd name="csY170" fmla="*/ 2007280 h 2091729"/>
              <a:gd name="csX171" fmla="*/ 310220 w 729419"/>
              <a:gd name="csY171" fmla="*/ 554288 h 2091729"/>
              <a:gd name="csX172" fmla="*/ 259136 w 729419"/>
              <a:gd name="csY172" fmla="*/ 556881 h 2091729"/>
              <a:gd name="csX173" fmla="*/ 249085 w 729419"/>
              <a:gd name="csY173" fmla="*/ 567981 h 2091729"/>
              <a:gd name="csX174" fmla="*/ 249141 w 729419"/>
              <a:gd name="csY174" fmla="*/ 605644 h 2091729"/>
              <a:gd name="csX175" fmla="*/ 262628 w 729419"/>
              <a:gd name="csY175" fmla="*/ 605627 h 2091729"/>
              <a:gd name="csX176" fmla="*/ 369608 w 729419"/>
              <a:gd name="csY176" fmla="*/ 603027 h 2091729"/>
              <a:gd name="csX177" fmla="*/ 463931 w 729419"/>
              <a:gd name="csY177" fmla="*/ 605146 h 2091729"/>
              <a:gd name="csX178" fmla="*/ 478113 w 729419"/>
              <a:gd name="csY178" fmla="*/ 595843 h 2091729"/>
              <a:gd name="csX179" fmla="*/ 478796 w 729419"/>
              <a:gd name="csY179" fmla="*/ 556832 h 2091729"/>
              <a:gd name="csX180" fmla="*/ 310220 w 729419"/>
              <a:gd name="csY180" fmla="*/ 554288 h 2091729"/>
              <a:gd name="csX181" fmla="*/ 348836 w 729419"/>
              <a:gd name="csY181" fmla="*/ 684115 h 2091729"/>
              <a:gd name="csX182" fmla="*/ 281333 w 729419"/>
              <a:gd name="csY182" fmla="*/ 683313 h 2091729"/>
              <a:gd name="csX183" fmla="*/ 212728 w 729419"/>
              <a:gd name="csY183" fmla="*/ 681931 h 2091729"/>
              <a:gd name="csX184" fmla="*/ 187283 w 729419"/>
              <a:gd name="csY184" fmla="*/ 689555 h 2091729"/>
              <a:gd name="csX185" fmla="*/ 186163 w 729419"/>
              <a:gd name="csY185" fmla="*/ 718266 h 2091729"/>
              <a:gd name="csX186" fmla="*/ 209894 w 729419"/>
              <a:gd name="csY186" fmla="*/ 726798 h 2091729"/>
              <a:gd name="csX187" fmla="*/ 334814 w 729419"/>
              <a:gd name="csY187" fmla="*/ 732494 h 2091729"/>
              <a:gd name="csX188" fmla="*/ 364856 w 729419"/>
              <a:gd name="csY188" fmla="*/ 707963 h 2091729"/>
              <a:gd name="csX189" fmla="*/ 348836 w 729419"/>
              <a:gd name="csY189" fmla="*/ 684115 h 2091729"/>
              <a:gd name="csX190" fmla="*/ 298865 w 729419"/>
              <a:gd name="csY190" fmla="*/ 621954 h 2091729"/>
              <a:gd name="csX191" fmla="*/ 251619 w 729419"/>
              <a:gd name="csY191" fmla="*/ 622133 h 2091729"/>
              <a:gd name="csX192" fmla="*/ 214459 w 729419"/>
              <a:gd name="csY192" fmla="*/ 636230 h 2091729"/>
              <a:gd name="csX193" fmla="*/ 221436 w 729419"/>
              <a:gd name="csY193" fmla="*/ 654205 h 2091729"/>
              <a:gd name="csX194" fmla="*/ 272412 w 729419"/>
              <a:gd name="csY194" fmla="*/ 657250 h 2091729"/>
              <a:gd name="csX195" fmla="*/ 349094 w 729419"/>
              <a:gd name="csY195" fmla="*/ 659282 h 2091729"/>
              <a:gd name="csX196" fmla="*/ 362996 w 729419"/>
              <a:gd name="csY196" fmla="*/ 644234 h 2091729"/>
              <a:gd name="csX197" fmla="*/ 348472 w 729419"/>
              <a:gd name="csY197" fmla="*/ 624649 h 2091729"/>
              <a:gd name="csX198" fmla="*/ 298865 w 729419"/>
              <a:gd name="csY198" fmla="*/ 621954 h 2091729"/>
              <a:gd name="csX199" fmla="*/ 227796 w 729419"/>
              <a:gd name="csY199" fmla="*/ 528000 h 2091729"/>
              <a:gd name="csX200" fmla="*/ 241009 w 729419"/>
              <a:gd name="csY200" fmla="*/ 545897 h 2091729"/>
              <a:gd name="csX201" fmla="*/ 282607 w 729419"/>
              <a:gd name="csY201" fmla="*/ 543480 h 2091729"/>
              <a:gd name="csX202" fmla="*/ 354213 w 729419"/>
              <a:gd name="csY202" fmla="*/ 543384 h 2091729"/>
              <a:gd name="csX203" fmla="*/ 365334 w 729419"/>
              <a:gd name="csY203" fmla="*/ 533397 h 2091729"/>
              <a:gd name="csX204" fmla="*/ 354531 w 729419"/>
              <a:gd name="csY204" fmla="*/ 521620 h 2091729"/>
              <a:gd name="csX205" fmla="*/ 259169 w 729419"/>
              <a:gd name="csY205" fmla="*/ 521978 h 2091729"/>
              <a:gd name="csX206" fmla="*/ 227796 w 729419"/>
              <a:gd name="csY206" fmla="*/ 528000 h 2091729"/>
              <a:gd name="csX207" fmla="*/ 508068 w 729419"/>
              <a:gd name="csY207" fmla="*/ 190710 h 2091729"/>
              <a:gd name="csX208" fmla="*/ 521293 w 729419"/>
              <a:gd name="csY208" fmla="*/ 205907 h 2091729"/>
              <a:gd name="csX209" fmla="*/ 525175 w 729419"/>
              <a:gd name="csY209" fmla="*/ 202985 h 2091729"/>
              <a:gd name="csX210" fmla="*/ 500276 w 729419"/>
              <a:gd name="csY210" fmla="*/ 160640 h 2091729"/>
              <a:gd name="csX211" fmla="*/ 497122 w 729419"/>
              <a:gd name="csY211" fmla="*/ 162007 h 2091729"/>
              <a:gd name="csX212" fmla="*/ 508068 w 729419"/>
              <a:gd name="csY212" fmla="*/ 190710 h 2091729"/>
              <a:gd name="csX213" fmla="*/ 215522 w 729419"/>
              <a:gd name="csY213" fmla="*/ 197296 h 2091729"/>
              <a:gd name="csX214" fmla="*/ 234029 w 729419"/>
              <a:gd name="csY214" fmla="*/ 162725 h 2091729"/>
              <a:gd name="csX215" fmla="*/ 229000 w 729419"/>
              <a:gd name="csY215" fmla="*/ 159902 h 2091729"/>
              <a:gd name="csX216" fmla="*/ 204824 w 729419"/>
              <a:gd name="csY216" fmla="*/ 199677 h 2091729"/>
              <a:gd name="csX217" fmla="*/ 207990 w 729419"/>
              <a:gd name="csY217" fmla="*/ 202198 h 2091729"/>
              <a:gd name="csX218" fmla="*/ 215522 w 729419"/>
              <a:gd name="csY218" fmla="*/ 197296 h 2091729"/>
              <a:gd name="csX219" fmla="*/ 484400 w 729419"/>
              <a:gd name="csY219" fmla="*/ 896678 h 2091729"/>
              <a:gd name="csX220" fmla="*/ 486181 w 729419"/>
              <a:gd name="csY220" fmla="*/ 896585 h 2091729"/>
              <a:gd name="csX221" fmla="*/ 486181 w 729419"/>
              <a:gd name="csY221" fmla="*/ 795289 h 2091729"/>
              <a:gd name="csX222" fmla="*/ 720241 w 729419"/>
              <a:gd name="csY222" fmla="*/ 2030666 h 2091729"/>
              <a:gd name="csX223" fmla="*/ 721175 w 729419"/>
              <a:gd name="csY223" fmla="*/ 2029733 h 2091729"/>
              <a:gd name="csX224" fmla="*/ 720241 w 729419"/>
              <a:gd name="csY224" fmla="*/ 2030666 h 2091729"/>
              <a:gd name="csX225" fmla="*/ 715702 w 729419"/>
              <a:gd name="csY225" fmla="*/ 2037051 h 2091729"/>
              <a:gd name="csX226" fmla="*/ 715702 w 729419"/>
              <a:gd name="csY226" fmla="*/ 2037051 h 2091729"/>
              <a:gd name="csX0" fmla="*/ 96263 w 729419"/>
              <a:gd name="csY0" fmla="*/ 2076207 h 2102400"/>
              <a:gd name="csX1" fmla="*/ 63862 w 729419"/>
              <a:gd name="csY1" fmla="*/ 2065388 h 2102400"/>
              <a:gd name="csX2" fmla="*/ 16555 w 729419"/>
              <a:gd name="csY2" fmla="*/ 2050152 h 2102400"/>
              <a:gd name="csX3" fmla="*/ 15 w 729419"/>
              <a:gd name="csY3" fmla="*/ 2023802 h 2102400"/>
              <a:gd name="csX4" fmla="*/ 18368 w 729419"/>
              <a:gd name="csY4" fmla="*/ 1940709 h 2102400"/>
              <a:gd name="csX5" fmla="*/ 22139 w 729419"/>
              <a:gd name="csY5" fmla="*/ 1907268 h 2102400"/>
              <a:gd name="csX6" fmla="*/ 57941 w 729419"/>
              <a:gd name="csY6" fmla="*/ 1774163 h 2102400"/>
              <a:gd name="csX7" fmla="*/ 102478 w 729419"/>
              <a:gd name="csY7" fmla="*/ 1720275 h 2102400"/>
              <a:gd name="csX8" fmla="*/ 108579 w 729419"/>
              <a:gd name="csY8" fmla="*/ 1650967 h 2102400"/>
              <a:gd name="csX9" fmla="*/ 115628 w 729419"/>
              <a:gd name="csY9" fmla="*/ 1625405 h 2102400"/>
              <a:gd name="csX10" fmla="*/ 156323 w 729419"/>
              <a:gd name="csY10" fmla="*/ 1560181 h 2102400"/>
              <a:gd name="csX11" fmla="*/ 199424 w 729419"/>
              <a:gd name="csY11" fmla="*/ 1364729 h 2102400"/>
              <a:gd name="csX12" fmla="*/ 216779 w 729419"/>
              <a:gd name="csY12" fmla="*/ 1219490 h 2102400"/>
              <a:gd name="csX13" fmla="*/ 229755 w 729419"/>
              <a:gd name="csY13" fmla="*/ 1099357 h 2102400"/>
              <a:gd name="csX14" fmla="*/ 232707 w 729419"/>
              <a:gd name="csY14" fmla="*/ 1056423 h 2102400"/>
              <a:gd name="csX15" fmla="*/ 235622 w 729419"/>
              <a:gd name="csY15" fmla="*/ 952675 h 2102400"/>
              <a:gd name="csX16" fmla="*/ 235445 w 729419"/>
              <a:gd name="csY16" fmla="*/ 780278 h 2102400"/>
              <a:gd name="csX17" fmla="*/ 214544 w 729419"/>
              <a:gd name="csY17" fmla="*/ 756435 h 2102400"/>
              <a:gd name="csX18" fmla="*/ 172569 w 729419"/>
              <a:gd name="csY18" fmla="*/ 742582 h 2102400"/>
              <a:gd name="csX19" fmla="*/ 168784 w 729419"/>
              <a:gd name="csY19" fmla="*/ 669116 h 2102400"/>
              <a:gd name="csX20" fmla="*/ 191657 w 729419"/>
              <a:gd name="csY20" fmla="*/ 630765 h 2102400"/>
              <a:gd name="csX21" fmla="*/ 208150 w 729419"/>
              <a:gd name="csY21" fmla="*/ 609084 h 2102400"/>
              <a:gd name="csX22" fmla="*/ 216756 w 729419"/>
              <a:gd name="csY22" fmla="*/ 558673 h 2102400"/>
              <a:gd name="csX23" fmla="*/ 209092 w 729419"/>
              <a:gd name="csY23" fmla="*/ 521540 h 2102400"/>
              <a:gd name="csX24" fmla="*/ 204683 w 729419"/>
              <a:gd name="csY24" fmla="*/ 474024 h 2102400"/>
              <a:gd name="csX25" fmla="*/ 115483 w 729419"/>
              <a:gd name="csY25" fmla="*/ 213499 h 2102400"/>
              <a:gd name="csX26" fmla="*/ 102909 w 729419"/>
              <a:gd name="csY26" fmla="*/ 182297 h 2102400"/>
              <a:gd name="csX27" fmla="*/ 104315 w 729419"/>
              <a:gd name="csY27" fmla="*/ 163968 h 2102400"/>
              <a:gd name="csX28" fmla="*/ 122444 w 729419"/>
              <a:gd name="csY28" fmla="*/ 160805 h 2102400"/>
              <a:gd name="csX29" fmla="*/ 170283 w 729419"/>
              <a:gd name="csY29" fmla="*/ 187783 h 2102400"/>
              <a:gd name="csX30" fmla="*/ 180938 w 729419"/>
              <a:gd name="csY30" fmla="*/ 195322 h 2102400"/>
              <a:gd name="csX31" fmla="*/ 221419 w 729419"/>
              <a:gd name="csY31" fmla="*/ 138058 h 2102400"/>
              <a:gd name="csX32" fmla="*/ 294099 w 729419"/>
              <a:gd name="csY32" fmla="*/ 91372 h 2102400"/>
              <a:gd name="csX33" fmla="*/ 302307 w 729419"/>
              <a:gd name="csY33" fmla="*/ 76560 h 2102400"/>
              <a:gd name="csX34" fmla="*/ 320284 w 729419"/>
              <a:gd name="csY34" fmla="*/ 8414 h 2102400"/>
              <a:gd name="csX35" fmla="*/ 324784 w 729419"/>
              <a:gd name="csY35" fmla="*/ 946 h 2102400"/>
              <a:gd name="csX36" fmla="*/ 399212 w 729419"/>
              <a:gd name="csY36" fmla="*/ 0 h 2102400"/>
              <a:gd name="csX37" fmla="*/ 425980 w 729419"/>
              <a:gd name="csY37" fmla="*/ 78301 h 2102400"/>
              <a:gd name="csX38" fmla="*/ 431861 w 729419"/>
              <a:gd name="csY38" fmla="*/ 90312 h 2102400"/>
              <a:gd name="csX39" fmla="*/ 540349 w 729419"/>
              <a:gd name="csY39" fmla="*/ 187946 h 2102400"/>
              <a:gd name="csX40" fmla="*/ 545555 w 729419"/>
              <a:gd name="csY40" fmla="*/ 197828 h 2102400"/>
              <a:gd name="csX41" fmla="*/ 587318 w 729419"/>
              <a:gd name="csY41" fmla="*/ 171260 h 2102400"/>
              <a:gd name="csX42" fmla="*/ 601503 w 729419"/>
              <a:gd name="csY42" fmla="*/ 163707 h 2102400"/>
              <a:gd name="csX43" fmla="*/ 625254 w 729419"/>
              <a:gd name="csY43" fmla="*/ 163123 h 2102400"/>
              <a:gd name="csX44" fmla="*/ 625468 w 729419"/>
              <a:gd name="csY44" fmla="*/ 187579 h 2102400"/>
              <a:gd name="csX45" fmla="*/ 597543 w 729419"/>
              <a:gd name="csY45" fmla="*/ 251872 h 2102400"/>
              <a:gd name="csX46" fmla="*/ 531831 w 729419"/>
              <a:gd name="csY46" fmla="*/ 442689 h 2102400"/>
              <a:gd name="csX47" fmla="*/ 519888 w 729419"/>
              <a:gd name="csY47" fmla="*/ 501474 h 2102400"/>
              <a:gd name="csX48" fmla="*/ 522506 w 729419"/>
              <a:gd name="csY48" fmla="*/ 525086 h 2102400"/>
              <a:gd name="csX49" fmla="*/ 516235 w 729419"/>
              <a:gd name="csY49" fmla="*/ 555946 h 2102400"/>
              <a:gd name="csX50" fmla="*/ 521332 w 729419"/>
              <a:gd name="csY50" fmla="*/ 610676 h 2102400"/>
              <a:gd name="csX51" fmla="*/ 541382 w 729419"/>
              <a:gd name="csY51" fmla="*/ 642597 h 2102400"/>
              <a:gd name="csX52" fmla="*/ 557031 w 729419"/>
              <a:gd name="csY52" fmla="*/ 667949 h 2102400"/>
              <a:gd name="csX53" fmla="*/ 553994 w 729419"/>
              <a:gd name="csY53" fmla="*/ 744146 h 2102400"/>
              <a:gd name="csX54" fmla="*/ 508215 w 729419"/>
              <a:gd name="csY54" fmla="*/ 758841 h 2102400"/>
              <a:gd name="csX55" fmla="*/ 497442 w 729419"/>
              <a:gd name="csY55" fmla="*/ 771256 h 2102400"/>
              <a:gd name="csX56" fmla="*/ 493005 w 729419"/>
              <a:gd name="csY56" fmla="*/ 922055 h 2102400"/>
              <a:gd name="csX57" fmla="*/ 502900 w 729419"/>
              <a:gd name="csY57" fmla="*/ 1114191 h 2102400"/>
              <a:gd name="csX58" fmla="*/ 508800 w 729419"/>
              <a:gd name="csY58" fmla="*/ 1205474 h 2102400"/>
              <a:gd name="csX59" fmla="*/ 522952 w 729419"/>
              <a:gd name="csY59" fmla="*/ 1320065 h 2102400"/>
              <a:gd name="csX60" fmla="*/ 554682 w 729419"/>
              <a:gd name="csY60" fmla="*/ 1501203 h 2102400"/>
              <a:gd name="csX61" fmla="*/ 576958 w 729419"/>
              <a:gd name="csY61" fmla="*/ 1593963 h 2102400"/>
              <a:gd name="csX62" fmla="*/ 595349 w 729419"/>
              <a:gd name="csY62" fmla="*/ 1613498 h 2102400"/>
              <a:gd name="csX63" fmla="*/ 613936 w 729419"/>
              <a:gd name="csY63" fmla="*/ 1624058 h 2102400"/>
              <a:gd name="csX64" fmla="*/ 620938 w 729419"/>
              <a:gd name="csY64" fmla="*/ 1652071 h 2102400"/>
              <a:gd name="csX65" fmla="*/ 630805 w 729419"/>
              <a:gd name="csY65" fmla="*/ 1721702 h 2102400"/>
              <a:gd name="csX66" fmla="*/ 685830 w 729419"/>
              <a:gd name="csY66" fmla="*/ 1792915 h 2102400"/>
              <a:gd name="csX67" fmla="*/ 708904 w 729419"/>
              <a:gd name="csY67" fmla="*/ 1890290 h 2102400"/>
              <a:gd name="csX68" fmla="*/ 716580 w 729419"/>
              <a:gd name="csY68" fmla="*/ 1951136 h 2102400"/>
              <a:gd name="csX69" fmla="*/ 729397 w 729419"/>
              <a:gd name="csY69" fmla="*/ 2030261 h 2102400"/>
              <a:gd name="csX70" fmla="*/ 714212 w 729419"/>
              <a:gd name="csY70" fmla="*/ 2049544 h 2102400"/>
              <a:gd name="csX71" fmla="*/ 645428 w 729419"/>
              <a:gd name="csY71" fmla="*/ 2070825 h 2102400"/>
              <a:gd name="csX72" fmla="*/ 635822 w 729419"/>
              <a:gd name="csY72" fmla="*/ 2075145 h 2102400"/>
              <a:gd name="csX73" fmla="*/ 588428 w 729419"/>
              <a:gd name="csY73" fmla="*/ 2075144 h 2102400"/>
              <a:gd name="csX74" fmla="*/ 590041 w 729419"/>
              <a:gd name="csY74" fmla="*/ 2071383 h 2102400"/>
              <a:gd name="csX75" fmla="*/ 667788 w 729419"/>
              <a:gd name="csY75" fmla="*/ 2056852 h 2102400"/>
              <a:gd name="csX76" fmla="*/ 706629 w 729419"/>
              <a:gd name="csY76" fmla="*/ 2044290 h 2102400"/>
              <a:gd name="csX77" fmla="*/ 702674 w 729419"/>
              <a:gd name="csY77" fmla="*/ 2041581 h 2102400"/>
              <a:gd name="csX78" fmla="*/ 544974 w 729419"/>
              <a:gd name="csY78" fmla="*/ 2071274 h 2102400"/>
              <a:gd name="csX79" fmla="*/ 538352 w 729419"/>
              <a:gd name="csY79" fmla="*/ 2076207 h 2102400"/>
              <a:gd name="csX80" fmla="*/ 96263 w 729419"/>
              <a:gd name="csY80" fmla="*/ 2076207 h 2102400"/>
              <a:gd name="csX81" fmla="*/ 489970 w 729419"/>
              <a:gd name="csY81" fmla="*/ 152208 h 2102400"/>
              <a:gd name="csX82" fmla="*/ 490754 w 729419"/>
              <a:gd name="csY82" fmla="*/ 152592 h 2102400"/>
              <a:gd name="csX83" fmla="*/ 489489 w 729419"/>
              <a:gd name="csY83" fmla="*/ 149547 h 2102400"/>
              <a:gd name="csX84" fmla="*/ 393621 w 729419"/>
              <a:gd name="csY84" fmla="*/ 99259 h 2102400"/>
              <a:gd name="csX85" fmla="*/ 390419 w 729419"/>
              <a:gd name="csY85" fmla="*/ 18568 h 2102400"/>
              <a:gd name="csX86" fmla="*/ 334131 w 729419"/>
              <a:gd name="csY86" fmla="*/ 24327 h 2102400"/>
              <a:gd name="csX87" fmla="*/ 344678 w 729419"/>
              <a:gd name="csY87" fmla="*/ 101259 h 2102400"/>
              <a:gd name="csX88" fmla="*/ 298854 w 729419"/>
              <a:gd name="csY88" fmla="*/ 114003 h 2102400"/>
              <a:gd name="csX89" fmla="*/ 237456 w 729419"/>
              <a:gd name="csY89" fmla="*/ 154340 h 2102400"/>
              <a:gd name="csX90" fmla="*/ 240382 w 729419"/>
              <a:gd name="csY90" fmla="*/ 154035 h 2102400"/>
              <a:gd name="csX91" fmla="*/ 262731 w 729419"/>
              <a:gd name="csY91" fmla="*/ 170426 h 2102400"/>
              <a:gd name="csX92" fmla="*/ 279169 w 729419"/>
              <a:gd name="csY92" fmla="*/ 193173 h 2102400"/>
              <a:gd name="csX93" fmla="*/ 327717 w 729419"/>
              <a:gd name="csY93" fmla="*/ 188556 h 2102400"/>
              <a:gd name="csX94" fmla="*/ 348052 w 729419"/>
              <a:gd name="csY94" fmla="*/ 156919 h 2102400"/>
              <a:gd name="csX95" fmla="*/ 380330 w 729419"/>
              <a:gd name="csY95" fmla="*/ 156483 h 2102400"/>
              <a:gd name="csX96" fmla="*/ 408490 w 729419"/>
              <a:gd name="csY96" fmla="*/ 195400 h 2102400"/>
              <a:gd name="csX97" fmla="*/ 445346 w 729419"/>
              <a:gd name="csY97" fmla="*/ 197582 h 2102400"/>
              <a:gd name="csX98" fmla="*/ 464798 w 729419"/>
              <a:gd name="csY98" fmla="*/ 174107 h 2102400"/>
              <a:gd name="csX99" fmla="*/ 489970 w 729419"/>
              <a:gd name="csY99" fmla="*/ 152208 h 2102400"/>
              <a:gd name="csX100" fmla="*/ 140694 w 729419"/>
              <a:gd name="csY100" fmla="*/ 201837 h 2102400"/>
              <a:gd name="csX101" fmla="*/ 139834 w 729419"/>
              <a:gd name="csY101" fmla="*/ 201482 h 2102400"/>
              <a:gd name="csX102" fmla="*/ 140812 w 729419"/>
              <a:gd name="csY102" fmla="*/ 204941 h 2102400"/>
              <a:gd name="csX103" fmla="*/ 144631 w 729419"/>
              <a:gd name="csY103" fmla="*/ 217811 h 2102400"/>
              <a:gd name="csX104" fmla="*/ 201241 w 729419"/>
              <a:gd name="csY104" fmla="*/ 373387 h 2102400"/>
              <a:gd name="csX105" fmla="*/ 235971 w 729419"/>
              <a:gd name="csY105" fmla="*/ 504451 h 2102400"/>
              <a:gd name="csX106" fmla="*/ 247475 w 729419"/>
              <a:gd name="csY106" fmla="*/ 513241 h 2102400"/>
              <a:gd name="csX107" fmla="*/ 289066 w 729419"/>
              <a:gd name="csY107" fmla="*/ 511170 h 2102400"/>
              <a:gd name="csX108" fmla="*/ 378229 w 729419"/>
              <a:gd name="csY108" fmla="*/ 511084 h 2102400"/>
              <a:gd name="csX109" fmla="*/ 470850 w 729419"/>
              <a:gd name="csY109" fmla="*/ 516341 h 2102400"/>
              <a:gd name="csX110" fmla="*/ 492933 w 729419"/>
              <a:gd name="csY110" fmla="*/ 497969 h 2102400"/>
              <a:gd name="csX111" fmla="*/ 557617 w 729419"/>
              <a:gd name="csY111" fmla="*/ 280398 h 2102400"/>
              <a:gd name="csX112" fmla="*/ 588788 w 729419"/>
              <a:gd name="csY112" fmla="*/ 200385 h 2102400"/>
              <a:gd name="csX113" fmla="*/ 530958 w 729419"/>
              <a:gd name="csY113" fmla="*/ 232968 h 2102400"/>
              <a:gd name="csX114" fmla="*/ 483823 w 729419"/>
              <a:gd name="csY114" fmla="*/ 190364 h 2102400"/>
              <a:gd name="csX115" fmla="*/ 466649 w 729419"/>
              <a:gd name="csY115" fmla="*/ 209061 h 2102400"/>
              <a:gd name="csX116" fmla="*/ 399941 w 729419"/>
              <a:gd name="csY116" fmla="*/ 216988 h 2102400"/>
              <a:gd name="csX117" fmla="*/ 363018 w 729419"/>
              <a:gd name="csY117" fmla="*/ 179615 h 2102400"/>
              <a:gd name="csX118" fmla="*/ 308839 w 729419"/>
              <a:gd name="csY118" fmla="*/ 227846 h 2102400"/>
              <a:gd name="csX119" fmla="*/ 245077 w 729419"/>
              <a:gd name="csY119" fmla="*/ 192402 h 2102400"/>
              <a:gd name="csX120" fmla="*/ 242829 w 729419"/>
              <a:gd name="csY120" fmla="*/ 198815 h 2102400"/>
              <a:gd name="csX121" fmla="*/ 168452 w 729419"/>
              <a:gd name="csY121" fmla="*/ 219348 h 2102400"/>
              <a:gd name="csX122" fmla="*/ 140694 w 729419"/>
              <a:gd name="csY122" fmla="*/ 201837 h 2102400"/>
              <a:gd name="csX123" fmla="*/ 259999 w 729419"/>
              <a:gd name="csY123" fmla="*/ 966699 h 2102400"/>
              <a:gd name="csX124" fmla="*/ 257072 w 729419"/>
              <a:gd name="csY124" fmla="*/ 1070424 h 2102400"/>
              <a:gd name="csX125" fmla="*/ 251372 w 729419"/>
              <a:gd name="csY125" fmla="*/ 1157618 h 2102400"/>
              <a:gd name="csX126" fmla="*/ 232677 w 729419"/>
              <a:gd name="csY126" fmla="*/ 1320279 h 2102400"/>
              <a:gd name="csX127" fmla="*/ 209182 w 729419"/>
              <a:gd name="csY127" fmla="*/ 1468667 h 2102400"/>
              <a:gd name="csX128" fmla="*/ 175302 w 729419"/>
              <a:gd name="csY128" fmla="*/ 1616623 h 2102400"/>
              <a:gd name="csX129" fmla="*/ 182769 w 729419"/>
              <a:gd name="csY129" fmla="*/ 1629786 h 2102400"/>
              <a:gd name="csX130" fmla="*/ 212156 w 729419"/>
              <a:gd name="csY130" fmla="*/ 1632656 h 2102400"/>
              <a:gd name="csX131" fmla="*/ 351295 w 729419"/>
              <a:gd name="csY131" fmla="*/ 1632801 h 2102400"/>
              <a:gd name="csX132" fmla="*/ 376150 w 729419"/>
              <a:gd name="csY132" fmla="*/ 1608307 h 2102400"/>
              <a:gd name="csX133" fmla="*/ 373450 w 729419"/>
              <a:gd name="csY133" fmla="*/ 1457291 h 2102400"/>
              <a:gd name="csX134" fmla="*/ 370936 w 729419"/>
              <a:gd name="csY134" fmla="*/ 1342736 h 2102400"/>
              <a:gd name="csX135" fmla="*/ 368328 w 729419"/>
              <a:gd name="csY135" fmla="*/ 1203878 h 2102400"/>
              <a:gd name="csX136" fmla="*/ 367836 w 729419"/>
              <a:gd name="csY136" fmla="*/ 813478 h 2102400"/>
              <a:gd name="csX137" fmla="*/ 365240 w 729419"/>
              <a:gd name="csY137" fmla="*/ 773243 h 2102400"/>
              <a:gd name="csX138" fmla="*/ 353084 w 729419"/>
              <a:gd name="csY138" fmla="*/ 762083 h 2102400"/>
              <a:gd name="csX139" fmla="*/ 280966 w 729419"/>
              <a:gd name="csY139" fmla="*/ 759855 h 2102400"/>
              <a:gd name="csX140" fmla="*/ 259965 w 729419"/>
              <a:gd name="csY140" fmla="*/ 779553 h 2102400"/>
              <a:gd name="csX141" fmla="*/ 262341 w 729419"/>
              <a:gd name="csY141" fmla="*/ 856275 h 2102400"/>
              <a:gd name="csX142" fmla="*/ 259999 w 729419"/>
              <a:gd name="csY142" fmla="*/ 966699 h 2102400"/>
              <a:gd name="csX143" fmla="*/ 55556 w 729419"/>
              <a:gd name="csY143" fmla="*/ 1835827 h 2102400"/>
              <a:gd name="csX144" fmla="*/ 49393 w 729419"/>
              <a:gd name="csY144" fmla="*/ 1878155 h 2102400"/>
              <a:gd name="csX145" fmla="*/ 73949 w 729419"/>
              <a:gd name="csY145" fmla="*/ 1905781 h 2102400"/>
              <a:gd name="csX146" fmla="*/ 110073 w 729419"/>
              <a:gd name="csY146" fmla="*/ 1909068 h 2102400"/>
              <a:gd name="csX147" fmla="*/ 224745 w 729419"/>
              <a:gd name="csY147" fmla="*/ 1921652 h 2102400"/>
              <a:gd name="csX148" fmla="*/ 347327 w 729419"/>
              <a:gd name="csY148" fmla="*/ 1924778 h 2102400"/>
              <a:gd name="csX149" fmla="*/ 363345 w 729419"/>
              <a:gd name="csY149" fmla="*/ 1923293 h 2102400"/>
              <a:gd name="csX150" fmla="*/ 373787 w 729419"/>
              <a:gd name="csY150" fmla="*/ 1911200 h 2102400"/>
              <a:gd name="csX151" fmla="*/ 376623 w 729419"/>
              <a:gd name="csY151" fmla="*/ 1696741 h 2102400"/>
              <a:gd name="csX152" fmla="*/ 360437 w 729419"/>
              <a:gd name="csY152" fmla="*/ 1681289 h 2102400"/>
              <a:gd name="csX153" fmla="*/ 263503 w 729419"/>
              <a:gd name="csY153" fmla="*/ 1678179 h 2102400"/>
              <a:gd name="csX154" fmla="*/ 160381 w 729419"/>
              <a:gd name="csY154" fmla="*/ 1670405 h 2102400"/>
              <a:gd name="csX155" fmla="*/ 143321 w 729419"/>
              <a:gd name="csY155" fmla="*/ 1685538 h 2102400"/>
              <a:gd name="csX156" fmla="*/ 124769 w 729419"/>
              <a:gd name="csY156" fmla="*/ 1738195 h 2102400"/>
              <a:gd name="csX157" fmla="*/ 90593 w 729419"/>
              <a:gd name="csY157" fmla="*/ 1779570 h 2102400"/>
              <a:gd name="csX158" fmla="*/ 55556 w 729419"/>
              <a:gd name="csY158" fmla="*/ 1835827 h 2102400"/>
              <a:gd name="csX159" fmla="*/ 378900 w 729419"/>
              <a:gd name="csY159" fmla="*/ 2007280 h 2102400"/>
              <a:gd name="csX160" fmla="*/ 378887 w 729419"/>
              <a:gd name="csY160" fmla="*/ 1995127 h 2102400"/>
              <a:gd name="csX161" fmla="*/ 359084 w 729419"/>
              <a:gd name="csY161" fmla="*/ 1975964 h 2102400"/>
              <a:gd name="csX162" fmla="*/ 247288 w 729419"/>
              <a:gd name="csY162" fmla="*/ 1973305 h 2102400"/>
              <a:gd name="csX163" fmla="*/ 201692 w 729419"/>
              <a:gd name="csY163" fmla="*/ 1970275 h 2102400"/>
              <a:gd name="csX164" fmla="*/ 57962 w 729419"/>
              <a:gd name="csY164" fmla="*/ 1952648 h 2102400"/>
              <a:gd name="csX165" fmla="*/ 39194 w 729419"/>
              <a:gd name="csY165" fmla="*/ 1963552 h 2102400"/>
              <a:gd name="csX166" fmla="*/ 30066 w 729419"/>
              <a:gd name="csY166" fmla="*/ 2006631 h 2102400"/>
              <a:gd name="csX167" fmla="*/ 40232 w 729419"/>
              <a:gd name="csY167" fmla="*/ 2019486 h 2102400"/>
              <a:gd name="csX168" fmla="*/ 238186 w 729419"/>
              <a:gd name="csY168" fmla="*/ 2046096 h 2102400"/>
              <a:gd name="csX169" fmla="*/ 342155 w 729419"/>
              <a:gd name="csY169" fmla="*/ 2046441 h 2102400"/>
              <a:gd name="csX170" fmla="*/ 378900 w 729419"/>
              <a:gd name="csY170" fmla="*/ 2007280 h 2102400"/>
              <a:gd name="csX171" fmla="*/ 310220 w 729419"/>
              <a:gd name="csY171" fmla="*/ 554288 h 2102400"/>
              <a:gd name="csX172" fmla="*/ 259136 w 729419"/>
              <a:gd name="csY172" fmla="*/ 556881 h 2102400"/>
              <a:gd name="csX173" fmla="*/ 249085 w 729419"/>
              <a:gd name="csY173" fmla="*/ 567981 h 2102400"/>
              <a:gd name="csX174" fmla="*/ 249141 w 729419"/>
              <a:gd name="csY174" fmla="*/ 605644 h 2102400"/>
              <a:gd name="csX175" fmla="*/ 262628 w 729419"/>
              <a:gd name="csY175" fmla="*/ 605627 h 2102400"/>
              <a:gd name="csX176" fmla="*/ 369608 w 729419"/>
              <a:gd name="csY176" fmla="*/ 603027 h 2102400"/>
              <a:gd name="csX177" fmla="*/ 463931 w 729419"/>
              <a:gd name="csY177" fmla="*/ 605146 h 2102400"/>
              <a:gd name="csX178" fmla="*/ 478113 w 729419"/>
              <a:gd name="csY178" fmla="*/ 595843 h 2102400"/>
              <a:gd name="csX179" fmla="*/ 478796 w 729419"/>
              <a:gd name="csY179" fmla="*/ 556832 h 2102400"/>
              <a:gd name="csX180" fmla="*/ 310220 w 729419"/>
              <a:gd name="csY180" fmla="*/ 554288 h 2102400"/>
              <a:gd name="csX181" fmla="*/ 348836 w 729419"/>
              <a:gd name="csY181" fmla="*/ 684115 h 2102400"/>
              <a:gd name="csX182" fmla="*/ 281333 w 729419"/>
              <a:gd name="csY182" fmla="*/ 683313 h 2102400"/>
              <a:gd name="csX183" fmla="*/ 212728 w 729419"/>
              <a:gd name="csY183" fmla="*/ 681931 h 2102400"/>
              <a:gd name="csX184" fmla="*/ 187283 w 729419"/>
              <a:gd name="csY184" fmla="*/ 689555 h 2102400"/>
              <a:gd name="csX185" fmla="*/ 186163 w 729419"/>
              <a:gd name="csY185" fmla="*/ 718266 h 2102400"/>
              <a:gd name="csX186" fmla="*/ 209894 w 729419"/>
              <a:gd name="csY186" fmla="*/ 726798 h 2102400"/>
              <a:gd name="csX187" fmla="*/ 334814 w 729419"/>
              <a:gd name="csY187" fmla="*/ 732494 h 2102400"/>
              <a:gd name="csX188" fmla="*/ 364856 w 729419"/>
              <a:gd name="csY188" fmla="*/ 707963 h 2102400"/>
              <a:gd name="csX189" fmla="*/ 348836 w 729419"/>
              <a:gd name="csY189" fmla="*/ 684115 h 2102400"/>
              <a:gd name="csX190" fmla="*/ 298865 w 729419"/>
              <a:gd name="csY190" fmla="*/ 621954 h 2102400"/>
              <a:gd name="csX191" fmla="*/ 251619 w 729419"/>
              <a:gd name="csY191" fmla="*/ 622133 h 2102400"/>
              <a:gd name="csX192" fmla="*/ 214459 w 729419"/>
              <a:gd name="csY192" fmla="*/ 636230 h 2102400"/>
              <a:gd name="csX193" fmla="*/ 221436 w 729419"/>
              <a:gd name="csY193" fmla="*/ 654205 h 2102400"/>
              <a:gd name="csX194" fmla="*/ 272412 w 729419"/>
              <a:gd name="csY194" fmla="*/ 657250 h 2102400"/>
              <a:gd name="csX195" fmla="*/ 349094 w 729419"/>
              <a:gd name="csY195" fmla="*/ 659282 h 2102400"/>
              <a:gd name="csX196" fmla="*/ 362996 w 729419"/>
              <a:gd name="csY196" fmla="*/ 644234 h 2102400"/>
              <a:gd name="csX197" fmla="*/ 348472 w 729419"/>
              <a:gd name="csY197" fmla="*/ 624649 h 2102400"/>
              <a:gd name="csX198" fmla="*/ 298865 w 729419"/>
              <a:gd name="csY198" fmla="*/ 621954 h 2102400"/>
              <a:gd name="csX199" fmla="*/ 227796 w 729419"/>
              <a:gd name="csY199" fmla="*/ 528000 h 2102400"/>
              <a:gd name="csX200" fmla="*/ 241009 w 729419"/>
              <a:gd name="csY200" fmla="*/ 545897 h 2102400"/>
              <a:gd name="csX201" fmla="*/ 282607 w 729419"/>
              <a:gd name="csY201" fmla="*/ 543480 h 2102400"/>
              <a:gd name="csX202" fmla="*/ 354213 w 729419"/>
              <a:gd name="csY202" fmla="*/ 543384 h 2102400"/>
              <a:gd name="csX203" fmla="*/ 365334 w 729419"/>
              <a:gd name="csY203" fmla="*/ 533397 h 2102400"/>
              <a:gd name="csX204" fmla="*/ 354531 w 729419"/>
              <a:gd name="csY204" fmla="*/ 521620 h 2102400"/>
              <a:gd name="csX205" fmla="*/ 259169 w 729419"/>
              <a:gd name="csY205" fmla="*/ 521978 h 2102400"/>
              <a:gd name="csX206" fmla="*/ 227796 w 729419"/>
              <a:gd name="csY206" fmla="*/ 528000 h 2102400"/>
              <a:gd name="csX207" fmla="*/ 508068 w 729419"/>
              <a:gd name="csY207" fmla="*/ 190710 h 2102400"/>
              <a:gd name="csX208" fmla="*/ 521293 w 729419"/>
              <a:gd name="csY208" fmla="*/ 205907 h 2102400"/>
              <a:gd name="csX209" fmla="*/ 525175 w 729419"/>
              <a:gd name="csY209" fmla="*/ 202985 h 2102400"/>
              <a:gd name="csX210" fmla="*/ 500276 w 729419"/>
              <a:gd name="csY210" fmla="*/ 160640 h 2102400"/>
              <a:gd name="csX211" fmla="*/ 497122 w 729419"/>
              <a:gd name="csY211" fmla="*/ 162007 h 2102400"/>
              <a:gd name="csX212" fmla="*/ 508068 w 729419"/>
              <a:gd name="csY212" fmla="*/ 190710 h 2102400"/>
              <a:gd name="csX213" fmla="*/ 215522 w 729419"/>
              <a:gd name="csY213" fmla="*/ 197296 h 2102400"/>
              <a:gd name="csX214" fmla="*/ 234029 w 729419"/>
              <a:gd name="csY214" fmla="*/ 162725 h 2102400"/>
              <a:gd name="csX215" fmla="*/ 229000 w 729419"/>
              <a:gd name="csY215" fmla="*/ 159902 h 2102400"/>
              <a:gd name="csX216" fmla="*/ 204824 w 729419"/>
              <a:gd name="csY216" fmla="*/ 199677 h 2102400"/>
              <a:gd name="csX217" fmla="*/ 207990 w 729419"/>
              <a:gd name="csY217" fmla="*/ 202198 h 2102400"/>
              <a:gd name="csX218" fmla="*/ 215522 w 729419"/>
              <a:gd name="csY218" fmla="*/ 197296 h 2102400"/>
              <a:gd name="csX219" fmla="*/ 484400 w 729419"/>
              <a:gd name="csY219" fmla="*/ 896678 h 2102400"/>
              <a:gd name="csX220" fmla="*/ 486181 w 729419"/>
              <a:gd name="csY220" fmla="*/ 896585 h 2102400"/>
              <a:gd name="csX221" fmla="*/ 486181 w 729419"/>
              <a:gd name="csY221" fmla="*/ 795289 h 2102400"/>
              <a:gd name="csX222" fmla="*/ 720241 w 729419"/>
              <a:gd name="csY222" fmla="*/ 2030666 h 2102400"/>
              <a:gd name="csX223" fmla="*/ 721175 w 729419"/>
              <a:gd name="csY223" fmla="*/ 2029733 h 2102400"/>
              <a:gd name="csX224" fmla="*/ 720241 w 729419"/>
              <a:gd name="csY224" fmla="*/ 2030666 h 2102400"/>
              <a:gd name="csX225" fmla="*/ 715702 w 729419"/>
              <a:gd name="csY225" fmla="*/ 2037051 h 2102400"/>
              <a:gd name="csX226" fmla="*/ 715702 w 729419"/>
              <a:gd name="csY226" fmla="*/ 2037051 h 2102400"/>
              <a:gd name="csX0" fmla="*/ 96263 w 729419"/>
              <a:gd name="csY0" fmla="*/ 2076207 h 2076207"/>
              <a:gd name="csX1" fmla="*/ 63862 w 729419"/>
              <a:gd name="csY1" fmla="*/ 2065388 h 2076207"/>
              <a:gd name="csX2" fmla="*/ 16555 w 729419"/>
              <a:gd name="csY2" fmla="*/ 2050152 h 2076207"/>
              <a:gd name="csX3" fmla="*/ 15 w 729419"/>
              <a:gd name="csY3" fmla="*/ 2023802 h 2076207"/>
              <a:gd name="csX4" fmla="*/ 18368 w 729419"/>
              <a:gd name="csY4" fmla="*/ 1940709 h 2076207"/>
              <a:gd name="csX5" fmla="*/ 22139 w 729419"/>
              <a:gd name="csY5" fmla="*/ 1907268 h 2076207"/>
              <a:gd name="csX6" fmla="*/ 57941 w 729419"/>
              <a:gd name="csY6" fmla="*/ 1774163 h 2076207"/>
              <a:gd name="csX7" fmla="*/ 102478 w 729419"/>
              <a:gd name="csY7" fmla="*/ 1720275 h 2076207"/>
              <a:gd name="csX8" fmla="*/ 108579 w 729419"/>
              <a:gd name="csY8" fmla="*/ 1650967 h 2076207"/>
              <a:gd name="csX9" fmla="*/ 115628 w 729419"/>
              <a:gd name="csY9" fmla="*/ 1625405 h 2076207"/>
              <a:gd name="csX10" fmla="*/ 156323 w 729419"/>
              <a:gd name="csY10" fmla="*/ 1560181 h 2076207"/>
              <a:gd name="csX11" fmla="*/ 199424 w 729419"/>
              <a:gd name="csY11" fmla="*/ 1364729 h 2076207"/>
              <a:gd name="csX12" fmla="*/ 216779 w 729419"/>
              <a:gd name="csY12" fmla="*/ 1219490 h 2076207"/>
              <a:gd name="csX13" fmla="*/ 229755 w 729419"/>
              <a:gd name="csY13" fmla="*/ 1099357 h 2076207"/>
              <a:gd name="csX14" fmla="*/ 232707 w 729419"/>
              <a:gd name="csY14" fmla="*/ 1056423 h 2076207"/>
              <a:gd name="csX15" fmla="*/ 235622 w 729419"/>
              <a:gd name="csY15" fmla="*/ 952675 h 2076207"/>
              <a:gd name="csX16" fmla="*/ 235445 w 729419"/>
              <a:gd name="csY16" fmla="*/ 780278 h 2076207"/>
              <a:gd name="csX17" fmla="*/ 214544 w 729419"/>
              <a:gd name="csY17" fmla="*/ 756435 h 2076207"/>
              <a:gd name="csX18" fmla="*/ 172569 w 729419"/>
              <a:gd name="csY18" fmla="*/ 742582 h 2076207"/>
              <a:gd name="csX19" fmla="*/ 168784 w 729419"/>
              <a:gd name="csY19" fmla="*/ 669116 h 2076207"/>
              <a:gd name="csX20" fmla="*/ 191657 w 729419"/>
              <a:gd name="csY20" fmla="*/ 630765 h 2076207"/>
              <a:gd name="csX21" fmla="*/ 208150 w 729419"/>
              <a:gd name="csY21" fmla="*/ 609084 h 2076207"/>
              <a:gd name="csX22" fmla="*/ 216756 w 729419"/>
              <a:gd name="csY22" fmla="*/ 558673 h 2076207"/>
              <a:gd name="csX23" fmla="*/ 209092 w 729419"/>
              <a:gd name="csY23" fmla="*/ 521540 h 2076207"/>
              <a:gd name="csX24" fmla="*/ 204683 w 729419"/>
              <a:gd name="csY24" fmla="*/ 474024 h 2076207"/>
              <a:gd name="csX25" fmla="*/ 115483 w 729419"/>
              <a:gd name="csY25" fmla="*/ 213499 h 2076207"/>
              <a:gd name="csX26" fmla="*/ 102909 w 729419"/>
              <a:gd name="csY26" fmla="*/ 182297 h 2076207"/>
              <a:gd name="csX27" fmla="*/ 104315 w 729419"/>
              <a:gd name="csY27" fmla="*/ 163968 h 2076207"/>
              <a:gd name="csX28" fmla="*/ 122444 w 729419"/>
              <a:gd name="csY28" fmla="*/ 160805 h 2076207"/>
              <a:gd name="csX29" fmla="*/ 170283 w 729419"/>
              <a:gd name="csY29" fmla="*/ 187783 h 2076207"/>
              <a:gd name="csX30" fmla="*/ 180938 w 729419"/>
              <a:gd name="csY30" fmla="*/ 195322 h 2076207"/>
              <a:gd name="csX31" fmla="*/ 221419 w 729419"/>
              <a:gd name="csY31" fmla="*/ 138058 h 2076207"/>
              <a:gd name="csX32" fmla="*/ 294099 w 729419"/>
              <a:gd name="csY32" fmla="*/ 91372 h 2076207"/>
              <a:gd name="csX33" fmla="*/ 302307 w 729419"/>
              <a:gd name="csY33" fmla="*/ 76560 h 2076207"/>
              <a:gd name="csX34" fmla="*/ 320284 w 729419"/>
              <a:gd name="csY34" fmla="*/ 8414 h 2076207"/>
              <a:gd name="csX35" fmla="*/ 324784 w 729419"/>
              <a:gd name="csY35" fmla="*/ 946 h 2076207"/>
              <a:gd name="csX36" fmla="*/ 399212 w 729419"/>
              <a:gd name="csY36" fmla="*/ 0 h 2076207"/>
              <a:gd name="csX37" fmla="*/ 425980 w 729419"/>
              <a:gd name="csY37" fmla="*/ 78301 h 2076207"/>
              <a:gd name="csX38" fmla="*/ 431861 w 729419"/>
              <a:gd name="csY38" fmla="*/ 90312 h 2076207"/>
              <a:gd name="csX39" fmla="*/ 540349 w 729419"/>
              <a:gd name="csY39" fmla="*/ 187946 h 2076207"/>
              <a:gd name="csX40" fmla="*/ 545555 w 729419"/>
              <a:gd name="csY40" fmla="*/ 197828 h 2076207"/>
              <a:gd name="csX41" fmla="*/ 587318 w 729419"/>
              <a:gd name="csY41" fmla="*/ 171260 h 2076207"/>
              <a:gd name="csX42" fmla="*/ 601503 w 729419"/>
              <a:gd name="csY42" fmla="*/ 163707 h 2076207"/>
              <a:gd name="csX43" fmla="*/ 625254 w 729419"/>
              <a:gd name="csY43" fmla="*/ 163123 h 2076207"/>
              <a:gd name="csX44" fmla="*/ 625468 w 729419"/>
              <a:gd name="csY44" fmla="*/ 187579 h 2076207"/>
              <a:gd name="csX45" fmla="*/ 597543 w 729419"/>
              <a:gd name="csY45" fmla="*/ 251872 h 2076207"/>
              <a:gd name="csX46" fmla="*/ 531831 w 729419"/>
              <a:gd name="csY46" fmla="*/ 442689 h 2076207"/>
              <a:gd name="csX47" fmla="*/ 519888 w 729419"/>
              <a:gd name="csY47" fmla="*/ 501474 h 2076207"/>
              <a:gd name="csX48" fmla="*/ 522506 w 729419"/>
              <a:gd name="csY48" fmla="*/ 525086 h 2076207"/>
              <a:gd name="csX49" fmla="*/ 516235 w 729419"/>
              <a:gd name="csY49" fmla="*/ 555946 h 2076207"/>
              <a:gd name="csX50" fmla="*/ 521332 w 729419"/>
              <a:gd name="csY50" fmla="*/ 610676 h 2076207"/>
              <a:gd name="csX51" fmla="*/ 541382 w 729419"/>
              <a:gd name="csY51" fmla="*/ 642597 h 2076207"/>
              <a:gd name="csX52" fmla="*/ 557031 w 729419"/>
              <a:gd name="csY52" fmla="*/ 667949 h 2076207"/>
              <a:gd name="csX53" fmla="*/ 553994 w 729419"/>
              <a:gd name="csY53" fmla="*/ 744146 h 2076207"/>
              <a:gd name="csX54" fmla="*/ 508215 w 729419"/>
              <a:gd name="csY54" fmla="*/ 758841 h 2076207"/>
              <a:gd name="csX55" fmla="*/ 497442 w 729419"/>
              <a:gd name="csY55" fmla="*/ 771256 h 2076207"/>
              <a:gd name="csX56" fmla="*/ 493005 w 729419"/>
              <a:gd name="csY56" fmla="*/ 922055 h 2076207"/>
              <a:gd name="csX57" fmla="*/ 502900 w 729419"/>
              <a:gd name="csY57" fmla="*/ 1114191 h 2076207"/>
              <a:gd name="csX58" fmla="*/ 508800 w 729419"/>
              <a:gd name="csY58" fmla="*/ 1205474 h 2076207"/>
              <a:gd name="csX59" fmla="*/ 522952 w 729419"/>
              <a:gd name="csY59" fmla="*/ 1320065 h 2076207"/>
              <a:gd name="csX60" fmla="*/ 554682 w 729419"/>
              <a:gd name="csY60" fmla="*/ 1501203 h 2076207"/>
              <a:gd name="csX61" fmla="*/ 576958 w 729419"/>
              <a:gd name="csY61" fmla="*/ 1593963 h 2076207"/>
              <a:gd name="csX62" fmla="*/ 595349 w 729419"/>
              <a:gd name="csY62" fmla="*/ 1613498 h 2076207"/>
              <a:gd name="csX63" fmla="*/ 613936 w 729419"/>
              <a:gd name="csY63" fmla="*/ 1624058 h 2076207"/>
              <a:gd name="csX64" fmla="*/ 620938 w 729419"/>
              <a:gd name="csY64" fmla="*/ 1652071 h 2076207"/>
              <a:gd name="csX65" fmla="*/ 630805 w 729419"/>
              <a:gd name="csY65" fmla="*/ 1721702 h 2076207"/>
              <a:gd name="csX66" fmla="*/ 685830 w 729419"/>
              <a:gd name="csY66" fmla="*/ 1792915 h 2076207"/>
              <a:gd name="csX67" fmla="*/ 708904 w 729419"/>
              <a:gd name="csY67" fmla="*/ 1890290 h 2076207"/>
              <a:gd name="csX68" fmla="*/ 716580 w 729419"/>
              <a:gd name="csY68" fmla="*/ 1951136 h 2076207"/>
              <a:gd name="csX69" fmla="*/ 729397 w 729419"/>
              <a:gd name="csY69" fmla="*/ 2030261 h 2076207"/>
              <a:gd name="csX70" fmla="*/ 714212 w 729419"/>
              <a:gd name="csY70" fmla="*/ 2049544 h 2076207"/>
              <a:gd name="csX71" fmla="*/ 645428 w 729419"/>
              <a:gd name="csY71" fmla="*/ 2070825 h 2076207"/>
              <a:gd name="csX72" fmla="*/ 635822 w 729419"/>
              <a:gd name="csY72" fmla="*/ 2075145 h 2076207"/>
              <a:gd name="csX73" fmla="*/ 588428 w 729419"/>
              <a:gd name="csY73" fmla="*/ 2075144 h 2076207"/>
              <a:gd name="csX74" fmla="*/ 590041 w 729419"/>
              <a:gd name="csY74" fmla="*/ 2071383 h 2076207"/>
              <a:gd name="csX75" fmla="*/ 667788 w 729419"/>
              <a:gd name="csY75" fmla="*/ 2056852 h 2076207"/>
              <a:gd name="csX76" fmla="*/ 706629 w 729419"/>
              <a:gd name="csY76" fmla="*/ 2044290 h 2076207"/>
              <a:gd name="csX77" fmla="*/ 702674 w 729419"/>
              <a:gd name="csY77" fmla="*/ 2041581 h 2076207"/>
              <a:gd name="csX78" fmla="*/ 544974 w 729419"/>
              <a:gd name="csY78" fmla="*/ 2071274 h 2076207"/>
              <a:gd name="csX79" fmla="*/ 96263 w 729419"/>
              <a:gd name="csY79" fmla="*/ 2076207 h 2076207"/>
              <a:gd name="csX80" fmla="*/ 489970 w 729419"/>
              <a:gd name="csY80" fmla="*/ 152208 h 2076207"/>
              <a:gd name="csX81" fmla="*/ 490754 w 729419"/>
              <a:gd name="csY81" fmla="*/ 152592 h 2076207"/>
              <a:gd name="csX82" fmla="*/ 489489 w 729419"/>
              <a:gd name="csY82" fmla="*/ 149547 h 2076207"/>
              <a:gd name="csX83" fmla="*/ 393621 w 729419"/>
              <a:gd name="csY83" fmla="*/ 99259 h 2076207"/>
              <a:gd name="csX84" fmla="*/ 390419 w 729419"/>
              <a:gd name="csY84" fmla="*/ 18568 h 2076207"/>
              <a:gd name="csX85" fmla="*/ 334131 w 729419"/>
              <a:gd name="csY85" fmla="*/ 24327 h 2076207"/>
              <a:gd name="csX86" fmla="*/ 344678 w 729419"/>
              <a:gd name="csY86" fmla="*/ 101259 h 2076207"/>
              <a:gd name="csX87" fmla="*/ 298854 w 729419"/>
              <a:gd name="csY87" fmla="*/ 114003 h 2076207"/>
              <a:gd name="csX88" fmla="*/ 237456 w 729419"/>
              <a:gd name="csY88" fmla="*/ 154340 h 2076207"/>
              <a:gd name="csX89" fmla="*/ 240382 w 729419"/>
              <a:gd name="csY89" fmla="*/ 154035 h 2076207"/>
              <a:gd name="csX90" fmla="*/ 262731 w 729419"/>
              <a:gd name="csY90" fmla="*/ 170426 h 2076207"/>
              <a:gd name="csX91" fmla="*/ 279169 w 729419"/>
              <a:gd name="csY91" fmla="*/ 193173 h 2076207"/>
              <a:gd name="csX92" fmla="*/ 327717 w 729419"/>
              <a:gd name="csY92" fmla="*/ 188556 h 2076207"/>
              <a:gd name="csX93" fmla="*/ 348052 w 729419"/>
              <a:gd name="csY93" fmla="*/ 156919 h 2076207"/>
              <a:gd name="csX94" fmla="*/ 380330 w 729419"/>
              <a:gd name="csY94" fmla="*/ 156483 h 2076207"/>
              <a:gd name="csX95" fmla="*/ 408490 w 729419"/>
              <a:gd name="csY95" fmla="*/ 195400 h 2076207"/>
              <a:gd name="csX96" fmla="*/ 445346 w 729419"/>
              <a:gd name="csY96" fmla="*/ 197582 h 2076207"/>
              <a:gd name="csX97" fmla="*/ 464798 w 729419"/>
              <a:gd name="csY97" fmla="*/ 174107 h 2076207"/>
              <a:gd name="csX98" fmla="*/ 489970 w 729419"/>
              <a:gd name="csY98" fmla="*/ 152208 h 2076207"/>
              <a:gd name="csX99" fmla="*/ 140694 w 729419"/>
              <a:gd name="csY99" fmla="*/ 201837 h 2076207"/>
              <a:gd name="csX100" fmla="*/ 139834 w 729419"/>
              <a:gd name="csY100" fmla="*/ 201482 h 2076207"/>
              <a:gd name="csX101" fmla="*/ 140812 w 729419"/>
              <a:gd name="csY101" fmla="*/ 204941 h 2076207"/>
              <a:gd name="csX102" fmla="*/ 144631 w 729419"/>
              <a:gd name="csY102" fmla="*/ 217811 h 2076207"/>
              <a:gd name="csX103" fmla="*/ 201241 w 729419"/>
              <a:gd name="csY103" fmla="*/ 373387 h 2076207"/>
              <a:gd name="csX104" fmla="*/ 235971 w 729419"/>
              <a:gd name="csY104" fmla="*/ 504451 h 2076207"/>
              <a:gd name="csX105" fmla="*/ 247475 w 729419"/>
              <a:gd name="csY105" fmla="*/ 513241 h 2076207"/>
              <a:gd name="csX106" fmla="*/ 289066 w 729419"/>
              <a:gd name="csY106" fmla="*/ 511170 h 2076207"/>
              <a:gd name="csX107" fmla="*/ 378229 w 729419"/>
              <a:gd name="csY107" fmla="*/ 511084 h 2076207"/>
              <a:gd name="csX108" fmla="*/ 470850 w 729419"/>
              <a:gd name="csY108" fmla="*/ 516341 h 2076207"/>
              <a:gd name="csX109" fmla="*/ 492933 w 729419"/>
              <a:gd name="csY109" fmla="*/ 497969 h 2076207"/>
              <a:gd name="csX110" fmla="*/ 557617 w 729419"/>
              <a:gd name="csY110" fmla="*/ 280398 h 2076207"/>
              <a:gd name="csX111" fmla="*/ 588788 w 729419"/>
              <a:gd name="csY111" fmla="*/ 200385 h 2076207"/>
              <a:gd name="csX112" fmla="*/ 530958 w 729419"/>
              <a:gd name="csY112" fmla="*/ 232968 h 2076207"/>
              <a:gd name="csX113" fmla="*/ 483823 w 729419"/>
              <a:gd name="csY113" fmla="*/ 190364 h 2076207"/>
              <a:gd name="csX114" fmla="*/ 466649 w 729419"/>
              <a:gd name="csY114" fmla="*/ 209061 h 2076207"/>
              <a:gd name="csX115" fmla="*/ 399941 w 729419"/>
              <a:gd name="csY115" fmla="*/ 216988 h 2076207"/>
              <a:gd name="csX116" fmla="*/ 363018 w 729419"/>
              <a:gd name="csY116" fmla="*/ 179615 h 2076207"/>
              <a:gd name="csX117" fmla="*/ 308839 w 729419"/>
              <a:gd name="csY117" fmla="*/ 227846 h 2076207"/>
              <a:gd name="csX118" fmla="*/ 245077 w 729419"/>
              <a:gd name="csY118" fmla="*/ 192402 h 2076207"/>
              <a:gd name="csX119" fmla="*/ 242829 w 729419"/>
              <a:gd name="csY119" fmla="*/ 198815 h 2076207"/>
              <a:gd name="csX120" fmla="*/ 168452 w 729419"/>
              <a:gd name="csY120" fmla="*/ 219348 h 2076207"/>
              <a:gd name="csX121" fmla="*/ 140694 w 729419"/>
              <a:gd name="csY121" fmla="*/ 201837 h 2076207"/>
              <a:gd name="csX122" fmla="*/ 259999 w 729419"/>
              <a:gd name="csY122" fmla="*/ 966699 h 2076207"/>
              <a:gd name="csX123" fmla="*/ 257072 w 729419"/>
              <a:gd name="csY123" fmla="*/ 1070424 h 2076207"/>
              <a:gd name="csX124" fmla="*/ 251372 w 729419"/>
              <a:gd name="csY124" fmla="*/ 1157618 h 2076207"/>
              <a:gd name="csX125" fmla="*/ 232677 w 729419"/>
              <a:gd name="csY125" fmla="*/ 1320279 h 2076207"/>
              <a:gd name="csX126" fmla="*/ 209182 w 729419"/>
              <a:gd name="csY126" fmla="*/ 1468667 h 2076207"/>
              <a:gd name="csX127" fmla="*/ 175302 w 729419"/>
              <a:gd name="csY127" fmla="*/ 1616623 h 2076207"/>
              <a:gd name="csX128" fmla="*/ 182769 w 729419"/>
              <a:gd name="csY128" fmla="*/ 1629786 h 2076207"/>
              <a:gd name="csX129" fmla="*/ 212156 w 729419"/>
              <a:gd name="csY129" fmla="*/ 1632656 h 2076207"/>
              <a:gd name="csX130" fmla="*/ 351295 w 729419"/>
              <a:gd name="csY130" fmla="*/ 1632801 h 2076207"/>
              <a:gd name="csX131" fmla="*/ 376150 w 729419"/>
              <a:gd name="csY131" fmla="*/ 1608307 h 2076207"/>
              <a:gd name="csX132" fmla="*/ 373450 w 729419"/>
              <a:gd name="csY132" fmla="*/ 1457291 h 2076207"/>
              <a:gd name="csX133" fmla="*/ 370936 w 729419"/>
              <a:gd name="csY133" fmla="*/ 1342736 h 2076207"/>
              <a:gd name="csX134" fmla="*/ 368328 w 729419"/>
              <a:gd name="csY134" fmla="*/ 1203878 h 2076207"/>
              <a:gd name="csX135" fmla="*/ 367836 w 729419"/>
              <a:gd name="csY135" fmla="*/ 813478 h 2076207"/>
              <a:gd name="csX136" fmla="*/ 365240 w 729419"/>
              <a:gd name="csY136" fmla="*/ 773243 h 2076207"/>
              <a:gd name="csX137" fmla="*/ 353084 w 729419"/>
              <a:gd name="csY137" fmla="*/ 762083 h 2076207"/>
              <a:gd name="csX138" fmla="*/ 280966 w 729419"/>
              <a:gd name="csY138" fmla="*/ 759855 h 2076207"/>
              <a:gd name="csX139" fmla="*/ 259965 w 729419"/>
              <a:gd name="csY139" fmla="*/ 779553 h 2076207"/>
              <a:gd name="csX140" fmla="*/ 262341 w 729419"/>
              <a:gd name="csY140" fmla="*/ 856275 h 2076207"/>
              <a:gd name="csX141" fmla="*/ 259999 w 729419"/>
              <a:gd name="csY141" fmla="*/ 966699 h 2076207"/>
              <a:gd name="csX142" fmla="*/ 55556 w 729419"/>
              <a:gd name="csY142" fmla="*/ 1835827 h 2076207"/>
              <a:gd name="csX143" fmla="*/ 49393 w 729419"/>
              <a:gd name="csY143" fmla="*/ 1878155 h 2076207"/>
              <a:gd name="csX144" fmla="*/ 73949 w 729419"/>
              <a:gd name="csY144" fmla="*/ 1905781 h 2076207"/>
              <a:gd name="csX145" fmla="*/ 110073 w 729419"/>
              <a:gd name="csY145" fmla="*/ 1909068 h 2076207"/>
              <a:gd name="csX146" fmla="*/ 224745 w 729419"/>
              <a:gd name="csY146" fmla="*/ 1921652 h 2076207"/>
              <a:gd name="csX147" fmla="*/ 347327 w 729419"/>
              <a:gd name="csY147" fmla="*/ 1924778 h 2076207"/>
              <a:gd name="csX148" fmla="*/ 363345 w 729419"/>
              <a:gd name="csY148" fmla="*/ 1923293 h 2076207"/>
              <a:gd name="csX149" fmla="*/ 373787 w 729419"/>
              <a:gd name="csY149" fmla="*/ 1911200 h 2076207"/>
              <a:gd name="csX150" fmla="*/ 376623 w 729419"/>
              <a:gd name="csY150" fmla="*/ 1696741 h 2076207"/>
              <a:gd name="csX151" fmla="*/ 360437 w 729419"/>
              <a:gd name="csY151" fmla="*/ 1681289 h 2076207"/>
              <a:gd name="csX152" fmla="*/ 263503 w 729419"/>
              <a:gd name="csY152" fmla="*/ 1678179 h 2076207"/>
              <a:gd name="csX153" fmla="*/ 160381 w 729419"/>
              <a:gd name="csY153" fmla="*/ 1670405 h 2076207"/>
              <a:gd name="csX154" fmla="*/ 143321 w 729419"/>
              <a:gd name="csY154" fmla="*/ 1685538 h 2076207"/>
              <a:gd name="csX155" fmla="*/ 124769 w 729419"/>
              <a:gd name="csY155" fmla="*/ 1738195 h 2076207"/>
              <a:gd name="csX156" fmla="*/ 90593 w 729419"/>
              <a:gd name="csY156" fmla="*/ 1779570 h 2076207"/>
              <a:gd name="csX157" fmla="*/ 55556 w 729419"/>
              <a:gd name="csY157" fmla="*/ 1835827 h 2076207"/>
              <a:gd name="csX158" fmla="*/ 378900 w 729419"/>
              <a:gd name="csY158" fmla="*/ 2007280 h 2076207"/>
              <a:gd name="csX159" fmla="*/ 378887 w 729419"/>
              <a:gd name="csY159" fmla="*/ 1995127 h 2076207"/>
              <a:gd name="csX160" fmla="*/ 359084 w 729419"/>
              <a:gd name="csY160" fmla="*/ 1975964 h 2076207"/>
              <a:gd name="csX161" fmla="*/ 247288 w 729419"/>
              <a:gd name="csY161" fmla="*/ 1973305 h 2076207"/>
              <a:gd name="csX162" fmla="*/ 201692 w 729419"/>
              <a:gd name="csY162" fmla="*/ 1970275 h 2076207"/>
              <a:gd name="csX163" fmla="*/ 57962 w 729419"/>
              <a:gd name="csY163" fmla="*/ 1952648 h 2076207"/>
              <a:gd name="csX164" fmla="*/ 39194 w 729419"/>
              <a:gd name="csY164" fmla="*/ 1963552 h 2076207"/>
              <a:gd name="csX165" fmla="*/ 30066 w 729419"/>
              <a:gd name="csY165" fmla="*/ 2006631 h 2076207"/>
              <a:gd name="csX166" fmla="*/ 40232 w 729419"/>
              <a:gd name="csY166" fmla="*/ 2019486 h 2076207"/>
              <a:gd name="csX167" fmla="*/ 238186 w 729419"/>
              <a:gd name="csY167" fmla="*/ 2046096 h 2076207"/>
              <a:gd name="csX168" fmla="*/ 342155 w 729419"/>
              <a:gd name="csY168" fmla="*/ 2046441 h 2076207"/>
              <a:gd name="csX169" fmla="*/ 378900 w 729419"/>
              <a:gd name="csY169" fmla="*/ 2007280 h 2076207"/>
              <a:gd name="csX170" fmla="*/ 310220 w 729419"/>
              <a:gd name="csY170" fmla="*/ 554288 h 2076207"/>
              <a:gd name="csX171" fmla="*/ 259136 w 729419"/>
              <a:gd name="csY171" fmla="*/ 556881 h 2076207"/>
              <a:gd name="csX172" fmla="*/ 249085 w 729419"/>
              <a:gd name="csY172" fmla="*/ 567981 h 2076207"/>
              <a:gd name="csX173" fmla="*/ 249141 w 729419"/>
              <a:gd name="csY173" fmla="*/ 605644 h 2076207"/>
              <a:gd name="csX174" fmla="*/ 262628 w 729419"/>
              <a:gd name="csY174" fmla="*/ 605627 h 2076207"/>
              <a:gd name="csX175" fmla="*/ 369608 w 729419"/>
              <a:gd name="csY175" fmla="*/ 603027 h 2076207"/>
              <a:gd name="csX176" fmla="*/ 463931 w 729419"/>
              <a:gd name="csY176" fmla="*/ 605146 h 2076207"/>
              <a:gd name="csX177" fmla="*/ 478113 w 729419"/>
              <a:gd name="csY177" fmla="*/ 595843 h 2076207"/>
              <a:gd name="csX178" fmla="*/ 478796 w 729419"/>
              <a:gd name="csY178" fmla="*/ 556832 h 2076207"/>
              <a:gd name="csX179" fmla="*/ 310220 w 729419"/>
              <a:gd name="csY179" fmla="*/ 554288 h 2076207"/>
              <a:gd name="csX180" fmla="*/ 348836 w 729419"/>
              <a:gd name="csY180" fmla="*/ 684115 h 2076207"/>
              <a:gd name="csX181" fmla="*/ 281333 w 729419"/>
              <a:gd name="csY181" fmla="*/ 683313 h 2076207"/>
              <a:gd name="csX182" fmla="*/ 212728 w 729419"/>
              <a:gd name="csY182" fmla="*/ 681931 h 2076207"/>
              <a:gd name="csX183" fmla="*/ 187283 w 729419"/>
              <a:gd name="csY183" fmla="*/ 689555 h 2076207"/>
              <a:gd name="csX184" fmla="*/ 186163 w 729419"/>
              <a:gd name="csY184" fmla="*/ 718266 h 2076207"/>
              <a:gd name="csX185" fmla="*/ 209894 w 729419"/>
              <a:gd name="csY185" fmla="*/ 726798 h 2076207"/>
              <a:gd name="csX186" fmla="*/ 334814 w 729419"/>
              <a:gd name="csY186" fmla="*/ 732494 h 2076207"/>
              <a:gd name="csX187" fmla="*/ 364856 w 729419"/>
              <a:gd name="csY187" fmla="*/ 707963 h 2076207"/>
              <a:gd name="csX188" fmla="*/ 348836 w 729419"/>
              <a:gd name="csY188" fmla="*/ 684115 h 2076207"/>
              <a:gd name="csX189" fmla="*/ 298865 w 729419"/>
              <a:gd name="csY189" fmla="*/ 621954 h 2076207"/>
              <a:gd name="csX190" fmla="*/ 251619 w 729419"/>
              <a:gd name="csY190" fmla="*/ 622133 h 2076207"/>
              <a:gd name="csX191" fmla="*/ 214459 w 729419"/>
              <a:gd name="csY191" fmla="*/ 636230 h 2076207"/>
              <a:gd name="csX192" fmla="*/ 221436 w 729419"/>
              <a:gd name="csY192" fmla="*/ 654205 h 2076207"/>
              <a:gd name="csX193" fmla="*/ 272412 w 729419"/>
              <a:gd name="csY193" fmla="*/ 657250 h 2076207"/>
              <a:gd name="csX194" fmla="*/ 349094 w 729419"/>
              <a:gd name="csY194" fmla="*/ 659282 h 2076207"/>
              <a:gd name="csX195" fmla="*/ 362996 w 729419"/>
              <a:gd name="csY195" fmla="*/ 644234 h 2076207"/>
              <a:gd name="csX196" fmla="*/ 348472 w 729419"/>
              <a:gd name="csY196" fmla="*/ 624649 h 2076207"/>
              <a:gd name="csX197" fmla="*/ 298865 w 729419"/>
              <a:gd name="csY197" fmla="*/ 621954 h 2076207"/>
              <a:gd name="csX198" fmla="*/ 227796 w 729419"/>
              <a:gd name="csY198" fmla="*/ 528000 h 2076207"/>
              <a:gd name="csX199" fmla="*/ 241009 w 729419"/>
              <a:gd name="csY199" fmla="*/ 545897 h 2076207"/>
              <a:gd name="csX200" fmla="*/ 282607 w 729419"/>
              <a:gd name="csY200" fmla="*/ 543480 h 2076207"/>
              <a:gd name="csX201" fmla="*/ 354213 w 729419"/>
              <a:gd name="csY201" fmla="*/ 543384 h 2076207"/>
              <a:gd name="csX202" fmla="*/ 365334 w 729419"/>
              <a:gd name="csY202" fmla="*/ 533397 h 2076207"/>
              <a:gd name="csX203" fmla="*/ 354531 w 729419"/>
              <a:gd name="csY203" fmla="*/ 521620 h 2076207"/>
              <a:gd name="csX204" fmla="*/ 259169 w 729419"/>
              <a:gd name="csY204" fmla="*/ 521978 h 2076207"/>
              <a:gd name="csX205" fmla="*/ 227796 w 729419"/>
              <a:gd name="csY205" fmla="*/ 528000 h 2076207"/>
              <a:gd name="csX206" fmla="*/ 508068 w 729419"/>
              <a:gd name="csY206" fmla="*/ 190710 h 2076207"/>
              <a:gd name="csX207" fmla="*/ 521293 w 729419"/>
              <a:gd name="csY207" fmla="*/ 205907 h 2076207"/>
              <a:gd name="csX208" fmla="*/ 525175 w 729419"/>
              <a:gd name="csY208" fmla="*/ 202985 h 2076207"/>
              <a:gd name="csX209" fmla="*/ 500276 w 729419"/>
              <a:gd name="csY209" fmla="*/ 160640 h 2076207"/>
              <a:gd name="csX210" fmla="*/ 497122 w 729419"/>
              <a:gd name="csY210" fmla="*/ 162007 h 2076207"/>
              <a:gd name="csX211" fmla="*/ 508068 w 729419"/>
              <a:gd name="csY211" fmla="*/ 190710 h 2076207"/>
              <a:gd name="csX212" fmla="*/ 215522 w 729419"/>
              <a:gd name="csY212" fmla="*/ 197296 h 2076207"/>
              <a:gd name="csX213" fmla="*/ 234029 w 729419"/>
              <a:gd name="csY213" fmla="*/ 162725 h 2076207"/>
              <a:gd name="csX214" fmla="*/ 229000 w 729419"/>
              <a:gd name="csY214" fmla="*/ 159902 h 2076207"/>
              <a:gd name="csX215" fmla="*/ 204824 w 729419"/>
              <a:gd name="csY215" fmla="*/ 199677 h 2076207"/>
              <a:gd name="csX216" fmla="*/ 207990 w 729419"/>
              <a:gd name="csY216" fmla="*/ 202198 h 2076207"/>
              <a:gd name="csX217" fmla="*/ 215522 w 729419"/>
              <a:gd name="csY217" fmla="*/ 197296 h 2076207"/>
              <a:gd name="csX218" fmla="*/ 484400 w 729419"/>
              <a:gd name="csY218" fmla="*/ 896678 h 2076207"/>
              <a:gd name="csX219" fmla="*/ 486181 w 729419"/>
              <a:gd name="csY219" fmla="*/ 896585 h 2076207"/>
              <a:gd name="csX220" fmla="*/ 486181 w 729419"/>
              <a:gd name="csY220" fmla="*/ 795289 h 2076207"/>
              <a:gd name="csX221" fmla="*/ 720241 w 729419"/>
              <a:gd name="csY221" fmla="*/ 2030666 h 2076207"/>
              <a:gd name="csX222" fmla="*/ 721175 w 729419"/>
              <a:gd name="csY222" fmla="*/ 2029733 h 2076207"/>
              <a:gd name="csX223" fmla="*/ 720241 w 729419"/>
              <a:gd name="csY223" fmla="*/ 2030666 h 2076207"/>
              <a:gd name="csX224" fmla="*/ 715702 w 729419"/>
              <a:gd name="csY224" fmla="*/ 2037051 h 2076207"/>
              <a:gd name="csX225" fmla="*/ 715702 w 729419"/>
              <a:gd name="csY225" fmla="*/ 2037051 h 2076207"/>
              <a:gd name="csX0" fmla="*/ 96263 w 748195"/>
              <a:gd name="csY0" fmla="*/ 2076207 h 2076207"/>
              <a:gd name="csX1" fmla="*/ 63862 w 748195"/>
              <a:gd name="csY1" fmla="*/ 2065388 h 2076207"/>
              <a:gd name="csX2" fmla="*/ 16555 w 748195"/>
              <a:gd name="csY2" fmla="*/ 2050152 h 2076207"/>
              <a:gd name="csX3" fmla="*/ 15 w 748195"/>
              <a:gd name="csY3" fmla="*/ 2023802 h 2076207"/>
              <a:gd name="csX4" fmla="*/ 18368 w 748195"/>
              <a:gd name="csY4" fmla="*/ 1940709 h 2076207"/>
              <a:gd name="csX5" fmla="*/ 22139 w 748195"/>
              <a:gd name="csY5" fmla="*/ 1907268 h 2076207"/>
              <a:gd name="csX6" fmla="*/ 57941 w 748195"/>
              <a:gd name="csY6" fmla="*/ 1774163 h 2076207"/>
              <a:gd name="csX7" fmla="*/ 102478 w 748195"/>
              <a:gd name="csY7" fmla="*/ 1720275 h 2076207"/>
              <a:gd name="csX8" fmla="*/ 108579 w 748195"/>
              <a:gd name="csY8" fmla="*/ 1650967 h 2076207"/>
              <a:gd name="csX9" fmla="*/ 115628 w 748195"/>
              <a:gd name="csY9" fmla="*/ 1625405 h 2076207"/>
              <a:gd name="csX10" fmla="*/ 156323 w 748195"/>
              <a:gd name="csY10" fmla="*/ 1560181 h 2076207"/>
              <a:gd name="csX11" fmla="*/ 199424 w 748195"/>
              <a:gd name="csY11" fmla="*/ 1364729 h 2076207"/>
              <a:gd name="csX12" fmla="*/ 216779 w 748195"/>
              <a:gd name="csY12" fmla="*/ 1219490 h 2076207"/>
              <a:gd name="csX13" fmla="*/ 229755 w 748195"/>
              <a:gd name="csY13" fmla="*/ 1099357 h 2076207"/>
              <a:gd name="csX14" fmla="*/ 232707 w 748195"/>
              <a:gd name="csY14" fmla="*/ 1056423 h 2076207"/>
              <a:gd name="csX15" fmla="*/ 235622 w 748195"/>
              <a:gd name="csY15" fmla="*/ 952675 h 2076207"/>
              <a:gd name="csX16" fmla="*/ 235445 w 748195"/>
              <a:gd name="csY16" fmla="*/ 780278 h 2076207"/>
              <a:gd name="csX17" fmla="*/ 214544 w 748195"/>
              <a:gd name="csY17" fmla="*/ 756435 h 2076207"/>
              <a:gd name="csX18" fmla="*/ 172569 w 748195"/>
              <a:gd name="csY18" fmla="*/ 742582 h 2076207"/>
              <a:gd name="csX19" fmla="*/ 168784 w 748195"/>
              <a:gd name="csY19" fmla="*/ 669116 h 2076207"/>
              <a:gd name="csX20" fmla="*/ 191657 w 748195"/>
              <a:gd name="csY20" fmla="*/ 630765 h 2076207"/>
              <a:gd name="csX21" fmla="*/ 208150 w 748195"/>
              <a:gd name="csY21" fmla="*/ 609084 h 2076207"/>
              <a:gd name="csX22" fmla="*/ 216756 w 748195"/>
              <a:gd name="csY22" fmla="*/ 558673 h 2076207"/>
              <a:gd name="csX23" fmla="*/ 209092 w 748195"/>
              <a:gd name="csY23" fmla="*/ 521540 h 2076207"/>
              <a:gd name="csX24" fmla="*/ 204683 w 748195"/>
              <a:gd name="csY24" fmla="*/ 474024 h 2076207"/>
              <a:gd name="csX25" fmla="*/ 115483 w 748195"/>
              <a:gd name="csY25" fmla="*/ 213499 h 2076207"/>
              <a:gd name="csX26" fmla="*/ 102909 w 748195"/>
              <a:gd name="csY26" fmla="*/ 182297 h 2076207"/>
              <a:gd name="csX27" fmla="*/ 104315 w 748195"/>
              <a:gd name="csY27" fmla="*/ 163968 h 2076207"/>
              <a:gd name="csX28" fmla="*/ 122444 w 748195"/>
              <a:gd name="csY28" fmla="*/ 160805 h 2076207"/>
              <a:gd name="csX29" fmla="*/ 170283 w 748195"/>
              <a:gd name="csY29" fmla="*/ 187783 h 2076207"/>
              <a:gd name="csX30" fmla="*/ 180938 w 748195"/>
              <a:gd name="csY30" fmla="*/ 195322 h 2076207"/>
              <a:gd name="csX31" fmla="*/ 221419 w 748195"/>
              <a:gd name="csY31" fmla="*/ 138058 h 2076207"/>
              <a:gd name="csX32" fmla="*/ 294099 w 748195"/>
              <a:gd name="csY32" fmla="*/ 91372 h 2076207"/>
              <a:gd name="csX33" fmla="*/ 302307 w 748195"/>
              <a:gd name="csY33" fmla="*/ 76560 h 2076207"/>
              <a:gd name="csX34" fmla="*/ 320284 w 748195"/>
              <a:gd name="csY34" fmla="*/ 8414 h 2076207"/>
              <a:gd name="csX35" fmla="*/ 324784 w 748195"/>
              <a:gd name="csY35" fmla="*/ 946 h 2076207"/>
              <a:gd name="csX36" fmla="*/ 399212 w 748195"/>
              <a:gd name="csY36" fmla="*/ 0 h 2076207"/>
              <a:gd name="csX37" fmla="*/ 425980 w 748195"/>
              <a:gd name="csY37" fmla="*/ 78301 h 2076207"/>
              <a:gd name="csX38" fmla="*/ 431861 w 748195"/>
              <a:gd name="csY38" fmla="*/ 90312 h 2076207"/>
              <a:gd name="csX39" fmla="*/ 540349 w 748195"/>
              <a:gd name="csY39" fmla="*/ 187946 h 2076207"/>
              <a:gd name="csX40" fmla="*/ 545555 w 748195"/>
              <a:gd name="csY40" fmla="*/ 197828 h 2076207"/>
              <a:gd name="csX41" fmla="*/ 587318 w 748195"/>
              <a:gd name="csY41" fmla="*/ 171260 h 2076207"/>
              <a:gd name="csX42" fmla="*/ 601503 w 748195"/>
              <a:gd name="csY42" fmla="*/ 163707 h 2076207"/>
              <a:gd name="csX43" fmla="*/ 625254 w 748195"/>
              <a:gd name="csY43" fmla="*/ 163123 h 2076207"/>
              <a:gd name="csX44" fmla="*/ 625468 w 748195"/>
              <a:gd name="csY44" fmla="*/ 187579 h 2076207"/>
              <a:gd name="csX45" fmla="*/ 597543 w 748195"/>
              <a:gd name="csY45" fmla="*/ 251872 h 2076207"/>
              <a:gd name="csX46" fmla="*/ 531831 w 748195"/>
              <a:gd name="csY46" fmla="*/ 442689 h 2076207"/>
              <a:gd name="csX47" fmla="*/ 519888 w 748195"/>
              <a:gd name="csY47" fmla="*/ 501474 h 2076207"/>
              <a:gd name="csX48" fmla="*/ 522506 w 748195"/>
              <a:gd name="csY48" fmla="*/ 525086 h 2076207"/>
              <a:gd name="csX49" fmla="*/ 516235 w 748195"/>
              <a:gd name="csY49" fmla="*/ 555946 h 2076207"/>
              <a:gd name="csX50" fmla="*/ 521332 w 748195"/>
              <a:gd name="csY50" fmla="*/ 610676 h 2076207"/>
              <a:gd name="csX51" fmla="*/ 541382 w 748195"/>
              <a:gd name="csY51" fmla="*/ 642597 h 2076207"/>
              <a:gd name="csX52" fmla="*/ 557031 w 748195"/>
              <a:gd name="csY52" fmla="*/ 667949 h 2076207"/>
              <a:gd name="csX53" fmla="*/ 553994 w 748195"/>
              <a:gd name="csY53" fmla="*/ 744146 h 2076207"/>
              <a:gd name="csX54" fmla="*/ 508215 w 748195"/>
              <a:gd name="csY54" fmla="*/ 758841 h 2076207"/>
              <a:gd name="csX55" fmla="*/ 497442 w 748195"/>
              <a:gd name="csY55" fmla="*/ 771256 h 2076207"/>
              <a:gd name="csX56" fmla="*/ 493005 w 748195"/>
              <a:gd name="csY56" fmla="*/ 922055 h 2076207"/>
              <a:gd name="csX57" fmla="*/ 502900 w 748195"/>
              <a:gd name="csY57" fmla="*/ 1114191 h 2076207"/>
              <a:gd name="csX58" fmla="*/ 508800 w 748195"/>
              <a:gd name="csY58" fmla="*/ 1205474 h 2076207"/>
              <a:gd name="csX59" fmla="*/ 522952 w 748195"/>
              <a:gd name="csY59" fmla="*/ 1320065 h 2076207"/>
              <a:gd name="csX60" fmla="*/ 554682 w 748195"/>
              <a:gd name="csY60" fmla="*/ 1501203 h 2076207"/>
              <a:gd name="csX61" fmla="*/ 576958 w 748195"/>
              <a:gd name="csY61" fmla="*/ 1593963 h 2076207"/>
              <a:gd name="csX62" fmla="*/ 595349 w 748195"/>
              <a:gd name="csY62" fmla="*/ 1613498 h 2076207"/>
              <a:gd name="csX63" fmla="*/ 613936 w 748195"/>
              <a:gd name="csY63" fmla="*/ 1624058 h 2076207"/>
              <a:gd name="csX64" fmla="*/ 620938 w 748195"/>
              <a:gd name="csY64" fmla="*/ 1652071 h 2076207"/>
              <a:gd name="csX65" fmla="*/ 630805 w 748195"/>
              <a:gd name="csY65" fmla="*/ 1721702 h 2076207"/>
              <a:gd name="csX66" fmla="*/ 685830 w 748195"/>
              <a:gd name="csY66" fmla="*/ 1792915 h 2076207"/>
              <a:gd name="csX67" fmla="*/ 708904 w 748195"/>
              <a:gd name="csY67" fmla="*/ 1890290 h 2076207"/>
              <a:gd name="csX68" fmla="*/ 716580 w 748195"/>
              <a:gd name="csY68" fmla="*/ 1951136 h 2076207"/>
              <a:gd name="csX69" fmla="*/ 729397 w 748195"/>
              <a:gd name="csY69" fmla="*/ 2030261 h 2076207"/>
              <a:gd name="csX70" fmla="*/ 714212 w 748195"/>
              <a:gd name="csY70" fmla="*/ 2049544 h 2076207"/>
              <a:gd name="csX71" fmla="*/ 645428 w 748195"/>
              <a:gd name="csY71" fmla="*/ 2070825 h 2076207"/>
              <a:gd name="csX72" fmla="*/ 635822 w 748195"/>
              <a:gd name="csY72" fmla="*/ 2075145 h 2076207"/>
              <a:gd name="csX73" fmla="*/ 588428 w 748195"/>
              <a:gd name="csY73" fmla="*/ 2075144 h 2076207"/>
              <a:gd name="csX74" fmla="*/ 590041 w 748195"/>
              <a:gd name="csY74" fmla="*/ 2071383 h 2076207"/>
              <a:gd name="csX75" fmla="*/ 667788 w 748195"/>
              <a:gd name="csY75" fmla="*/ 2056852 h 2076207"/>
              <a:gd name="csX76" fmla="*/ 706629 w 748195"/>
              <a:gd name="csY76" fmla="*/ 2044290 h 2076207"/>
              <a:gd name="csX77" fmla="*/ 702674 w 748195"/>
              <a:gd name="csY77" fmla="*/ 2041581 h 2076207"/>
              <a:gd name="csX78" fmla="*/ 96263 w 748195"/>
              <a:gd name="csY78" fmla="*/ 2076207 h 2076207"/>
              <a:gd name="csX79" fmla="*/ 489970 w 748195"/>
              <a:gd name="csY79" fmla="*/ 152208 h 2076207"/>
              <a:gd name="csX80" fmla="*/ 490754 w 748195"/>
              <a:gd name="csY80" fmla="*/ 152592 h 2076207"/>
              <a:gd name="csX81" fmla="*/ 489489 w 748195"/>
              <a:gd name="csY81" fmla="*/ 149547 h 2076207"/>
              <a:gd name="csX82" fmla="*/ 393621 w 748195"/>
              <a:gd name="csY82" fmla="*/ 99259 h 2076207"/>
              <a:gd name="csX83" fmla="*/ 390419 w 748195"/>
              <a:gd name="csY83" fmla="*/ 18568 h 2076207"/>
              <a:gd name="csX84" fmla="*/ 334131 w 748195"/>
              <a:gd name="csY84" fmla="*/ 24327 h 2076207"/>
              <a:gd name="csX85" fmla="*/ 344678 w 748195"/>
              <a:gd name="csY85" fmla="*/ 101259 h 2076207"/>
              <a:gd name="csX86" fmla="*/ 298854 w 748195"/>
              <a:gd name="csY86" fmla="*/ 114003 h 2076207"/>
              <a:gd name="csX87" fmla="*/ 237456 w 748195"/>
              <a:gd name="csY87" fmla="*/ 154340 h 2076207"/>
              <a:gd name="csX88" fmla="*/ 240382 w 748195"/>
              <a:gd name="csY88" fmla="*/ 154035 h 2076207"/>
              <a:gd name="csX89" fmla="*/ 262731 w 748195"/>
              <a:gd name="csY89" fmla="*/ 170426 h 2076207"/>
              <a:gd name="csX90" fmla="*/ 279169 w 748195"/>
              <a:gd name="csY90" fmla="*/ 193173 h 2076207"/>
              <a:gd name="csX91" fmla="*/ 327717 w 748195"/>
              <a:gd name="csY91" fmla="*/ 188556 h 2076207"/>
              <a:gd name="csX92" fmla="*/ 348052 w 748195"/>
              <a:gd name="csY92" fmla="*/ 156919 h 2076207"/>
              <a:gd name="csX93" fmla="*/ 380330 w 748195"/>
              <a:gd name="csY93" fmla="*/ 156483 h 2076207"/>
              <a:gd name="csX94" fmla="*/ 408490 w 748195"/>
              <a:gd name="csY94" fmla="*/ 195400 h 2076207"/>
              <a:gd name="csX95" fmla="*/ 445346 w 748195"/>
              <a:gd name="csY95" fmla="*/ 197582 h 2076207"/>
              <a:gd name="csX96" fmla="*/ 464798 w 748195"/>
              <a:gd name="csY96" fmla="*/ 174107 h 2076207"/>
              <a:gd name="csX97" fmla="*/ 489970 w 748195"/>
              <a:gd name="csY97" fmla="*/ 152208 h 2076207"/>
              <a:gd name="csX98" fmla="*/ 140694 w 748195"/>
              <a:gd name="csY98" fmla="*/ 201837 h 2076207"/>
              <a:gd name="csX99" fmla="*/ 139834 w 748195"/>
              <a:gd name="csY99" fmla="*/ 201482 h 2076207"/>
              <a:gd name="csX100" fmla="*/ 140812 w 748195"/>
              <a:gd name="csY100" fmla="*/ 204941 h 2076207"/>
              <a:gd name="csX101" fmla="*/ 144631 w 748195"/>
              <a:gd name="csY101" fmla="*/ 217811 h 2076207"/>
              <a:gd name="csX102" fmla="*/ 201241 w 748195"/>
              <a:gd name="csY102" fmla="*/ 373387 h 2076207"/>
              <a:gd name="csX103" fmla="*/ 235971 w 748195"/>
              <a:gd name="csY103" fmla="*/ 504451 h 2076207"/>
              <a:gd name="csX104" fmla="*/ 247475 w 748195"/>
              <a:gd name="csY104" fmla="*/ 513241 h 2076207"/>
              <a:gd name="csX105" fmla="*/ 289066 w 748195"/>
              <a:gd name="csY105" fmla="*/ 511170 h 2076207"/>
              <a:gd name="csX106" fmla="*/ 378229 w 748195"/>
              <a:gd name="csY106" fmla="*/ 511084 h 2076207"/>
              <a:gd name="csX107" fmla="*/ 470850 w 748195"/>
              <a:gd name="csY107" fmla="*/ 516341 h 2076207"/>
              <a:gd name="csX108" fmla="*/ 492933 w 748195"/>
              <a:gd name="csY108" fmla="*/ 497969 h 2076207"/>
              <a:gd name="csX109" fmla="*/ 557617 w 748195"/>
              <a:gd name="csY109" fmla="*/ 280398 h 2076207"/>
              <a:gd name="csX110" fmla="*/ 588788 w 748195"/>
              <a:gd name="csY110" fmla="*/ 200385 h 2076207"/>
              <a:gd name="csX111" fmla="*/ 530958 w 748195"/>
              <a:gd name="csY111" fmla="*/ 232968 h 2076207"/>
              <a:gd name="csX112" fmla="*/ 483823 w 748195"/>
              <a:gd name="csY112" fmla="*/ 190364 h 2076207"/>
              <a:gd name="csX113" fmla="*/ 466649 w 748195"/>
              <a:gd name="csY113" fmla="*/ 209061 h 2076207"/>
              <a:gd name="csX114" fmla="*/ 399941 w 748195"/>
              <a:gd name="csY114" fmla="*/ 216988 h 2076207"/>
              <a:gd name="csX115" fmla="*/ 363018 w 748195"/>
              <a:gd name="csY115" fmla="*/ 179615 h 2076207"/>
              <a:gd name="csX116" fmla="*/ 308839 w 748195"/>
              <a:gd name="csY116" fmla="*/ 227846 h 2076207"/>
              <a:gd name="csX117" fmla="*/ 245077 w 748195"/>
              <a:gd name="csY117" fmla="*/ 192402 h 2076207"/>
              <a:gd name="csX118" fmla="*/ 242829 w 748195"/>
              <a:gd name="csY118" fmla="*/ 198815 h 2076207"/>
              <a:gd name="csX119" fmla="*/ 168452 w 748195"/>
              <a:gd name="csY119" fmla="*/ 219348 h 2076207"/>
              <a:gd name="csX120" fmla="*/ 140694 w 748195"/>
              <a:gd name="csY120" fmla="*/ 201837 h 2076207"/>
              <a:gd name="csX121" fmla="*/ 259999 w 748195"/>
              <a:gd name="csY121" fmla="*/ 966699 h 2076207"/>
              <a:gd name="csX122" fmla="*/ 257072 w 748195"/>
              <a:gd name="csY122" fmla="*/ 1070424 h 2076207"/>
              <a:gd name="csX123" fmla="*/ 251372 w 748195"/>
              <a:gd name="csY123" fmla="*/ 1157618 h 2076207"/>
              <a:gd name="csX124" fmla="*/ 232677 w 748195"/>
              <a:gd name="csY124" fmla="*/ 1320279 h 2076207"/>
              <a:gd name="csX125" fmla="*/ 209182 w 748195"/>
              <a:gd name="csY125" fmla="*/ 1468667 h 2076207"/>
              <a:gd name="csX126" fmla="*/ 175302 w 748195"/>
              <a:gd name="csY126" fmla="*/ 1616623 h 2076207"/>
              <a:gd name="csX127" fmla="*/ 182769 w 748195"/>
              <a:gd name="csY127" fmla="*/ 1629786 h 2076207"/>
              <a:gd name="csX128" fmla="*/ 212156 w 748195"/>
              <a:gd name="csY128" fmla="*/ 1632656 h 2076207"/>
              <a:gd name="csX129" fmla="*/ 351295 w 748195"/>
              <a:gd name="csY129" fmla="*/ 1632801 h 2076207"/>
              <a:gd name="csX130" fmla="*/ 376150 w 748195"/>
              <a:gd name="csY130" fmla="*/ 1608307 h 2076207"/>
              <a:gd name="csX131" fmla="*/ 373450 w 748195"/>
              <a:gd name="csY131" fmla="*/ 1457291 h 2076207"/>
              <a:gd name="csX132" fmla="*/ 370936 w 748195"/>
              <a:gd name="csY132" fmla="*/ 1342736 h 2076207"/>
              <a:gd name="csX133" fmla="*/ 368328 w 748195"/>
              <a:gd name="csY133" fmla="*/ 1203878 h 2076207"/>
              <a:gd name="csX134" fmla="*/ 367836 w 748195"/>
              <a:gd name="csY134" fmla="*/ 813478 h 2076207"/>
              <a:gd name="csX135" fmla="*/ 365240 w 748195"/>
              <a:gd name="csY135" fmla="*/ 773243 h 2076207"/>
              <a:gd name="csX136" fmla="*/ 353084 w 748195"/>
              <a:gd name="csY136" fmla="*/ 762083 h 2076207"/>
              <a:gd name="csX137" fmla="*/ 280966 w 748195"/>
              <a:gd name="csY137" fmla="*/ 759855 h 2076207"/>
              <a:gd name="csX138" fmla="*/ 259965 w 748195"/>
              <a:gd name="csY138" fmla="*/ 779553 h 2076207"/>
              <a:gd name="csX139" fmla="*/ 262341 w 748195"/>
              <a:gd name="csY139" fmla="*/ 856275 h 2076207"/>
              <a:gd name="csX140" fmla="*/ 259999 w 748195"/>
              <a:gd name="csY140" fmla="*/ 966699 h 2076207"/>
              <a:gd name="csX141" fmla="*/ 55556 w 748195"/>
              <a:gd name="csY141" fmla="*/ 1835827 h 2076207"/>
              <a:gd name="csX142" fmla="*/ 49393 w 748195"/>
              <a:gd name="csY142" fmla="*/ 1878155 h 2076207"/>
              <a:gd name="csX143" fmla="*/ 73949 w 748195"/>
              <a:gd name="csY143" fmla="*/ 1905781 h 2076207"/>
              <a:gd name="csX144" fmla="*/ 110073 w 748195"/>
              <a:gd name="csY144" fmla="*/ 1909068 h 2076207"/>
              <a:gd name="csX145" fmla="*/ 224745 w 748195"/>
              <a:gd name="csY145" fmla="*/ 1921652 h 2076207"/>
              <a:gd name="csX146" fmla="*/ 347327 w 748195"/>
              <a:gd name="csY146" fmla="*/ 1924778 h 2076207"/>
              <a:gd name="csX147" fmla="*/ 363345 w 748195"/>
              <a:gd name="csY147" fmla="*/ 1923293 h 2076207"/>
              <a:gd name="csX148" fmla="*/ 373787 w 748195"/>
              <a:gd name="csY148" fmla="*/ 1911200 h 2076207"/>
              <a:gd name="csX149" fmla="*/ 376623 w 748195"/>
              <a:gd name="csY149" fmla="*/ 1696741 h 2076207"/>
              <a:gd name="csX150" fmla="*/ 360437 w 748195"/>
              <a:gd name="csY150" fmla="*/ 1681289 h 2076207"/>
              <a:gd name="csX151" fmla="*/ 263503 w 748195"/>
              <a:gd name="csY151" fmla="*/ 1678179 h 2076207"/>
              <a:gd name="csX152" fmla="*/ 160381 w 748195"/>
              <a:gd name="csY152" fmla="*/ 1670405 h 2076207"/>
              <a:gd name="csX153" fmla="*/ 143321 w 748195"/>
              <a:gd name="csY153" fmla="*/ 1685538 h 2076207"/>
              <a:gd name="csX154" fmla="*/ 124769 w 748195"/>
              <a:gd name="csY154" fmla="*/ 1738195 h 2076207"/>
              <a:gd name="csX155" fmla="*/ 90593 w 748195"/>
              <a:gd name="csY155" fmla="*/ 1779570 h 2076207"/>
              <a:gd name="csX156" fmla="*/ 55556 w 748195"/>
              <a:gd name="csY156" fmla="*/ 1835827 h 2076207"/>
              <a:gd name="csX157" fmla="*/ 378900 w 748195"/>
              <a:gd name="csY157" fmla="*/ 2007280 h 2076207"/>
              <a:gd name="csX158" fmla="*/ 378887 w 748195"/>
              <a:gd name="csY158" fmla="*/ 1995127 h 2076207"/>
              <a:gd name="csX159" fmla="*/ 359084 w 748195"/>
              <a:gd name="csY159" fmla="*/ 1975964 h 2076207"/>
              <a:gd name="csX160" fmla="*/ 247288 w 748195"/>
              <a:gd name="csY160" fmla="*/ 1973305 h 2076207"/>
              <a:gd name="csX161" fmla="*/ 201692 w 748195"/>
              <a:gd name="csY161" fmla="*/ 1970275 h 2076207"/>
              <a:gd name="csX162" fmla="*/ 57962 w 748195"/>
              <a:gd name="csY162" fmla="*/ 1952648 h 2076207"/>
              <a:gd name="csX163" fmla="*/ 39194 w 748195"/>
              <a:gd name="csY163" fmla="*/ 1963552 h 2076207"/>
              <a:gd name="csX164" fmla="*/ 30066 w 748195"/>
              <a:gd name="csY164" fmla="*/ 2006631 h 2076207"/>
              <a:gd name="csX165" fmla="*/ 40232 w 748195"/>
              <a:gd name="csY165" fmla="*/ 2019486 h 2076207"/>
              <a:gd name="csX166" fmla="*/ 238186 w 748195"/>
              <a:gd name="csY166" fmla="*/ 2046096 h 2076207"/>
              <a:gd name="csX167" fmla="*/ 342155 w 748195"/>
              <a:gd name="csY167" fmla="*/ 2046441 h 2076207"/>
              <a:gd name="csX168" fmla="*/ 378900 w 748195"/>
              <a:gd name="csY168" fmla="*/ 2007280 h 2076207"/>
              <a:gd name="csX169" fmla="*/ 310220 w 748195"/>
              <a:gd name="csY169" fmla="*/ 554288 h 2076207"/>
              <a:gd name="csX170" fmla="*/ 259136 w 748195"/>
              <a:gd name="csY170" fmla="*/ 556881 h 2076207"/>
              <a:gd name="csX171" fmla="*/ 249085 w 748195"/>
              <a:gd name="csY171" fmla="*/ 567981 h 2076207"/>
              <a:gd name="csX172" fmla="*/ 249141 w 748195"/>
              <a:gd name="csY172" fmla="*/ 605644 h 2076207"/>
              <a:gd name="csX173" fmla="*/ 262628 w 748195"/>
              <a:gd name="csY173" fmla="*/ 605627 h 2076207"/>
              <a:gd name="csX174" fmla="*/ 369608 w 748195"/>
              <a:gd name="csY174" fmla="*/ 603027 h 2076207"/>
              <a:gd name="csX175" fmla="*/ 463931 w 748195"/>
              <a:gd name="csY175" fmla="*/ 605146 h 2076207"/>
              <a:gd name="csX176" fmla="*/ 478113 w 748195"/>
              <a:gd name="csY176" fmla="*/ 595843 h 2076207"/>
              <a:gd name="csX177" fmla="*/ 478796 w 748195"/>
              <a:gd name="csY177" fmla="*/ 556832 h 2076207"/>
              <a:gd name="csX178" fmla="*/ 310220 w 748195"/>
              <a:gd name="csY178" fmla="*/ 554288 h 2076207"/>
              <a:gd name="csX179" fmla="*/ 348836 w 748195"/>
              <a:gd name="csY179" fmla="*/ 684115 h 2076207"/>
              <a:gd name="csX180" fmla="*/ 281333 w 748195"/>
              <a:gd name="csY180" fmla="*/ 683313 h 2076207"/>
              <a:gd name="csX181" fmla="*/ 212728 w 748195"/>
              <a:gd name="csY181" fmla="*/ 681931 h 2076207"/>
              <a:gd name="csX182" fmla="*/ 187283 w 748195"/>
              <a:gd name="csY182" fmla="*/ 689555 h 2076207"/>
              <a:gd name="csX183" fmla="*/ 186163 w 748195"/>
              <a:gd name="csY183" fmla="*/ 718266 h 2076207"/>
              <a:gd name="csX184" fmla="*/ 209894 w 748195"/>
              <a:gd name="csY184" fmla="*/ 726798 h 2076207"/>
              <a:gd name="csX185" fmla="*/ 334814 w 748195"/>
              <a:gd name="csY185" fmla="*/ 732494 h 2076207"/>
              <a:gd name="csX186" fmla="*/ 364856 w 748195"/>
              <a:gd name="csY186" fmla="*/ 707963 h 2076207"/>
              <a:gd name="csX187" fmla="*/ 348836 w 748195"/>
              <a:gd name="csY187" fmla="*/ 684115 h 2076207"/>
              <a:gd name="csX188" fmla="*/ 298865 w 748195"/>
              <a:gd name="csY188" fmla="*/ 621954 h 2076207"/>
              <a:gd name="csX189" fmla="*/ 251619 w 748195"/>
              <a:gd name="csY189" fmla="*/ 622133 h 2076207"/>
              <a:gd name="csX190" fmla="*/ 214459 w 748195"/>
              <a:gd name="csY190" fmla="*/ 636230 h 2076207"/>
              <a:gd name="csX191" fmla="*/ 221436 w 748195"/>
              <a:gd name="csY191" fmla="*/ 654205 h 2076207"/>
              <a:gd name="csX192" fmla="*/ 272412 w 748195"/>
              <a:gd name="csY192" fmla="*/ 657250 h 2076207"/>
              <a:gd name="csX193" fmla="*/ 349094 w 748195"/>
              <a:gd name="csY193" fmla="*/ 659282 h 2076207"/>
              <a:gd name="csX194" fmla="*/ 362996 w 748195"/>
              <a:gd name="csY194" fmla="*/ 644234 h 2076207"/>
              <a:gd name="csX195" fmla="*/ 348472 w 748195"/>
              <a:gd name="csY195" fmla="*/ 624649 h 2076207"/>
              <a:gd name="csX196" fmla="*/ 298865 w 748195"/>
              <a:gd name="csY196" fmla="*/ 621954 h 2076207"/>
              <a:gd name="csX197" fmla="*/ 227796 w 748195"/>
              <a:gd name="csY197" fmla="*/ 528000 h 2076207"/>
              <a:gd name="csX198" fmla="*/ 241009 w 748195"/>
              <a:gd name="csY198" fmla="*/ 545897 h 2076207"/>
              <a:gd name="csX199" fmla="*/ 282607 w 748195"/>
              <a:gd name="csY199" fmla="*/ 543480 h 2076207"/>
              <a:gd name="csX200" fmla="*/ 354213 w 748195"/>
              <a:gd name="csY200" fmla="*/ 543384 h 2076207"/>
              <a:gd name="csX201" fmla="*/ 365334 w 748195"/>
              <a:gd name="csY201" fmla="*/ 533397 h 2076207"/>
              <a:gd name="csX202" fmla="*/ 354531 w 748195"/>
              <a:gd name="csY202" fmla="*/ 521620 h 2076207"/>
              <a:gd name="csX203" fmla="*/ 259169 w 748195"/>
              <a:gd name="csY203" fmla="*/ 521978 h 2076207"/>
              <a:gd name="csX204" fmla="*/ 227796 w 748195"/>
              <a:gd name="csY204" fmla="*/ 528000 h 2076207"/>
              <a:gd name="csX205" fmla="*/ 508068 w 748195"/>
              <a:gd name="csY205" fmla="*/ 190710 h 2076207"/>
              <a:gd name="csX206" fmla="*/ 521293 w 748195"/>
              <a:gd name="csY206" fmla="*/ 205907 h 2076207"/>
              <a:gd name="csX207" fmla="*/ 525175 w 748195"/>
              <a:gd name="csY207" fmla="*/ 202985 h 2076207"/>
              <a:gd name="csX208" fmla="*/ 500276 w 748195"/>
              <a:gd name="csY208" fmla="*/ 160640 h 2076207"/>
              <a:gd name="csX209" fmla="*/ 497122 w 748195"/>
              <a:gd name="csY209" fmla="*/ 162007 h 2076207"/>
              <a:gd name="csX210" fmla="*/ 508068 w 748195"/>
              <a:gd name="csY210" fmla="*/ 190710 h 2076207"/>
              <a:gd name="csX211" fmla="*/ 215522 w 748195"/>
              <a:gd name="csY211" fmla="*/ 197296 h 2076207"/>
              <a:gd name="csX212" fmla="*/ 234029 w 748195"/>
              <a:gd name="csY212" fmla="*/ 162725 h 2076207"/>
              <a:gd name="csX213" fmla="*/ 229000 w 748195"/>
              <a:gd name="csY213" fmla="*/ 159902 h 2076207"/>
              <a:gd name="csX214" fmla="*/ 204824 w 748195"/>
              <a:gd name="csY214" fmla="*/ 199677 h 2076207"/>
              <a:gd name="csX215" fmla="*/ 207990 w 748195"/>
              <a:gd name="csY215" fmla="*/ 202198 h 2076207"/>
              <a:gd name="csX216" fmla="*/ 215522 w 748195"/>
              <a:gd name="csY216" fmla="*/ 197296 h 2076207"/>
              <a:gd name="csX217" fmla="*/ 484400 w 748195"/>
              <a:gd name="csY217" fmla="*/ 896678 h 2076207"/>
              <a:gd name="csX218" fmla="*/ 486181 w 748195"/>
              <a:gd name="csY218" fmla="*/ 896585 h 2076207"/>
              <a:gd name="csX219" fmla="*/ 486181 w 748195"/>
              <a:gd name="csY219" fmla="*/ 795289 h 2076207"/>
              <a:gd name="csX220" fmla="*/ 720241 w 748195"/>
              <a:gd name="csY220" fmla="*/ 2030666 h 2076207"/>
              <a:gd name="csX221" fmla="*/ 721175 w 748195"/>
              <a:gd name="csY221" fmla="*/ 2029733 h 2076207"/>
              <a:gd name="csX222" fmla="*/ 720241 w 748195"/>
              <a:gd name="csY222" fmla="*/ 2030666 h 2076207"/>
              <a:gd name="csX223" fmla="*/ 715702 w 748195"/>
              <a:gd name="csY223" fmla="*/ 2037051 h 2076207"/>
              <a:gd name="csX224" fmla="*/ 715702 w 748195"/>
              <a:gd name="csY224" fmla="*/ 2037051 h 2076207"/>
              <a:gd name="csX0" fmla="*/ 96263 w 748195"/>
              <a:gd name="csY0" fmla="*/ 2076207 h 2076207"/>
              <a:gd name="csX1" fmla="*/ 63862 w 748195"/>
              <a:gd name="csY1" fmla="*/ 2065388 h 2076207"/>
              <a:gd name="csX2" fmla="*/ 16555 w 748195"/>
              <a:gd name="csY2" fmla="*/ 2050152 h 2076207"/>
              <a:gd name="csX3" fmla="*/ 15 w 748195"/>
              <a:gd name="csY3" fmla="*/ 2023802 h 2076207"/>
              <a:gd name="csX4" fmla="*/ 18368 w 748195"/>
              <a:gd name="csY4" fmla="*/ 1940709 h 2076207"/>
              <a:gd name="csX5" fmla="*/ 22139 w 748195"/>
              <a:gd name="csY5" fmla="*/ 1907268 h 2076207"/>
              <a:gd name="csX6" fmla="*/ 57941 w 748195"/>
              <a:gd name="csY6" fmla="*/ 1774163 h 2076207"/>
              <a:gd name="csX7" fmla="*/ 102478 w 748195"/>
              <a:gd name="csY7" fmla="*/ 1720275 h 2076207"/>
              <a:gd name="csX8" fmla="*/ 108579 w 748195"/>
              <a:gd name="csY8" fmla="*/ 1650967 h 2076207"/>
              <a:gd name="csX9" fmla="*/ 115628 w 748195"/>
              <a:gd name="csY9" fmla="*/ 1625405 h 2076207"/>
              <a:gd name="csX10" fmla="*/ 156323 w 748195"/>
              <a:gd name="csY10" fmla="*/ 1560181 h 2076207"/>
              <a:gd name="csX11" fmla="*/ 199424 w 748195"/>
              <a:gd name="csY11" fmla="*/ 1364729 h 2076207"/>
              <a:gd name="csX12" fmla="*/ 216779 w 748195"/>
              <a:gd name="csY12" fmla="*/ 1219490 h 2076207"/>
              <a:gd name="csX13" fmla="*/ 229755 w 748195"/>
              <a:gd name="csY13" fmla="*/ 1099357 h 2076207"/>
              <a:gd name="csX14" fmla="*/ 232707 w 748195"/>
              <a:gd name="csY14" fmla="*/ 1056423 h 2076207"/>
              <a:gd name="csX15" fmla="*/ 235622 w 748195"/>
              <a:gd name="csY15" fmla="*/ 952675 h 2076207"/>
              <a:gd name="csX16" fmla="*/ 235445 w 748195"/>
              <a:gd name="csY16" fmla="*/ 780278 h 2076207"/>
              <a:gd name="csX17" fmla="*/ 214544 w 748195"/>
              <a:gd name="csY17" fmla="*/ 756435 h 2076207"/>
              <a:gd name="csX18" fmla="*/ 172569 w 748195"/>
              <a:gd name="csY18" fmla="*/ 742582 h 2076207"/>
              <a:gd name="csX19" fmla="*/ 168784 w 748195"/>
              <a:gd name="csY19" fmla="*/ 669116 h 2076207"/>
              <a:gd name="csX20" fmla="*/ 191657 w 748195"/>
              <a:gd name="csY20" fmla="*/ 630765 h 2076207"/>
              <a:gd name="csX21" fmla="*/ 208150 w 748195"/>
              <a:gd name="csY21" fmla="*/ 609084 h 2076207"/>
              <a:gd name="csX22" fmla="*/ 216756 w 748195"/>
              <a:gd name="csY22" fmla="*/ 558673 h 2076207"/>
              <a:gd name="csX23" fmla="*/ 209092 w 748195"/>
              <a:gd name="csY23" fmla="*/ 521540 h 2076207"/>
              <a:gd name="csX24" fmla="*/ 204683 w 748195"/>
              <a:gd name="csY24" fmla="*/ 474024 h 2076207"/>
              <a:gd name="csX25" fmla="*/ 115483 w 748195"/>
              <a:gd name="csY25" fmla="*/ 213499 h 2076207"/>
              <a:gd name="csX26" fmla="*/ 102909 w 748195"/>
              <a:gd name="csY26" fmla="*/ 182297 h 2076207"/>
              <a:gd name="csX27" fmla="*/ 104315 w 748195"/>
              <a:gd name="csY27" fmla="*/ 163968 h 2076207"/>
              <a:gd name="csX28" fmla="*/ 122444 w 748195"/>
              <a:gd name="csY28" fmla="*/ 160805 h 2076207"/>
              <a:gd name="csX29" fmla="*/ 170283 w 748195"/>
              <a:gd name="csY29" fmla="*/ 187783 h 2076207"/>
              <a:gd name="csX30" fmla="*/ 180938 w 748195"/>
              <a:gd name="csY30" fmla="*/ 195322 h 2076207"/>
              <a:gd name="csX31" fmla="*/ 221419 w 748195"/>
              <a:gd name="csY31" fmla="*/ 138058 h 2076207"/>
              <a:gd name="csX32" fmla="*/ 294099 w 748195"/>
              <a:gd name="csY32" fmla="*/ 91372 h 2076207"/>
              <a:gd name="csX33" fmla="*/ 302307 w 748195"/>
              <a:gd name="csY33" fmla="*/ 76560 h 2076207"/>
              <a:gd name="csX34" fmla="*/ 320284 w 748195"/>
              <a:gd name="csY34" fmla="*/ 8414 h 2076207"/>
              <a:gd name="csX35" fmla="*/ 324784 w 748195"/>
              <a:gd name="csY35" fmla="*/ 946 h 2076207"/>
              <a:gd name="csX36" fmla="*/ 399212 w 748195"/>
              <a:gd name="csY36" fmla="*/ 0 h 2076207"/>
              <a:gd name="csX37" fmla="*/ 425980 w 748195"/>
              <a:gd name="csY37" fmla="*/ 78301 h 2076207"/>
              <a:gd name="csX38" fmla="*/ 431861 w 748195"/>
              <a:gd name="csY38" fmla="*/ 90312 h 2076207"/>
              <a:gd name="csX39" fmla="*/ 540349 w 748195"/>
              <a:gd name="csY39" fmla="*/ 187946 h 2076207"/>
              <a:gd name="csX40" fmla="*/ 545555 w 748195"/>
              <a:gd name="csY40" fmla="*/ 197828 h 2076207"/>
              <a:gd name="csX41" fmla="*/ 587318 w 748195"/>
              <a:gd name="csY41" fmla="*/ 171260 h 2076207"/>
              <a:gd name="csX42" fmla="*/ 601503 w 748195"/>
              <a:gd name="csY42" fmla="*/ 163707 h 2076207"/>
              <a:gd name="csX43" fmla="*/ 625254 w 748195"/>
              <a:gd name="csY43" fmla="*/ 163123 h 2076207"/>
              <a:gd name="csX44" fmla="*/ 625468 w 748195"/>
              <a:gd name="csY44" fmla="*/ 187579 h 2076207"/>
              <a:gd name="csX45" fmla="*/ 597543 w 748195"/>
              <a:gd name="csY45" fmla="*/ 251872 h 2076207"/>
              <a:gd name="csX46" fmla="*/ 531831 w 748195"/>
              <a:gd name="csY46" fmla="*/ 442689 h 2076207"/>
              <a:gd name="csX47" fmla="*/ 519888 w 748195"/>
              <a:gd name="csY47" fmla="*/ 501474 h 2076207"/>
              <a:gd name="csX48" fmla="*/ 522506 w 748195"/>
              <a:gd name="csY48" fmla="*/ 525086 h 2076207"/>
              <a:gd name="csX49" fmla="*/ 516235 w 748195"/>
              <a:gd name="csY49" fmla="*/ 555946 h 2076207"/>
              <a:gd name="csX50" fmla="*/ 521332 w 748195"/>
              <a:gd name="csY50" fmla="*/ 610676 h 2076207"/>
              <a:gd name="csX51" fmla="*/ 541382 w 748195"/>
              <a:gd name="csY51" fmla="*/ 642597 h 2076207"/>
              <a:gd name="csX52" fmla="*/ 557031 w 748195"/>
              <a:gd name="csY52" fmla="*/ 667949 h 2076207"/>
              <a:gd name="csX53" fmla="*/ 553994 w 748195"/>
              <a:gd name="csY53" fmla="*/ 744146 h 2076207"/>
              <a:gd name="csX54" fmla="*/ 508215 w 748195"/>
              <a:gd name="csY54" fmla="*/ 758841 h 2076207"/>
              <a:gd name="csX55" fmla="*/ 497442 w 748195"/>
              <a:gd name="csY55" fmla="*/ 771256 h 2076207"/>
              <a:gd name="csX56" fmla="*/ 493005 w 748195"/>
              <a:gd name="csY56" fmla="*/ 922055 h 2076207"/>
              <a:gd name="csX57" fmla="*/ 502900 w 748195"/>
              <a:gd name="csY57" fmla="*/ 1114191 h 2076207"/>
              <a:gd name="csX58" fmla="*/ 508800 w 748195"/>
              <a:gd name="csY58" fmla="*/ 1205474 h 2076207"/>
              <a:gd name="csX59" fmla="*/ 522952 w 748195"/>
              <a:gd name="csY59" fmla="*/ 1320065 h 2076207"/>
              <a:gd name="csX60" fmla="*/ 554682 w 748195"/>
              <a:gd name="csY60" fmla="*/ 1501203 h 2076207"/>
              <a:gd name="csX61" fmla="*/ 576958 w 748195"/>
              <a:gd name="csY61" fmla="*/ 1593963 h 2076207"/>
              <a:gd name="csX62" fmla="*/ 595349 w 748195"/>
              <a:gd name="csY62" fmla="*/ 1613498 h 2076207"/>
              <a:gd name="csX63" fmla="*/ 613936 w 748195"/>
              <a:gd name="csY63" fmla="*/ 1624058 h 2076207"/>
              <a:gd name="csX64" fmla="*/ 620938 w 748195"/>
              <a:gd name="csY64" fmla="*/ 1652071 h 2076207"/>
              <a:gd name="csX65" fmla="*/ 630805 w 748195"/>
              <a:gd name="csY65" fmla="*/ 1721702 h 2076207"/>
              <a:gd name="csX66" fmla="*/ 685830 w 748195"/>
              <a:gd name="csY66" fmla="*/ 1792915 h 2076207"/>
              <a:gd name="csX67" fmla="*/ 708904 w 748195"/>
              <a:gd name="csY67" fmla="*/ 1890290 h 2076207"/>
              <a:gd name="csX68" fmla="*/ 716580 w 748195"/>
              <a:gd name="csY68" fmla="*/ 1951136 h 2076207"/>
              <a:gd name="csX69" fmla="*/ 729397 w 748195"/>
              <a:gd name="csY69" fmla="*/ 2030261 h 2076207"/>
              <a:gd name="csX70" fmla="*/ 714212 w 748195"/>
              <a:gd name="csY70" fmla="*/ 2049544 h 2076207"/>
              <a:gd name="csX71" fmla="*/ 645428 w 748195"/>
              <a:gd name="csY71" fmla="*/ 2070825 h 2076207"/>
              <a:gd name="csX72" fmla="*/ 635822 w 748195"/>
              <a:gd name="csY72" fmla="*/ 2075145 h 2076207"/>
              <a:gd name="csX73" fmla="*/ 588428 w 748195"/>
              <a:gd name="csY73" fmla="*/ 2075144 h 2076207"/>
              <a:gd name="csX74" fmla="*/ 667788 w 748195"/>
              <a:gd name="csY74" fmla="*/ 2056852 h 2076207"/>
              <a:gd name="csX75" fmla="*/ 706629 w 748195"/>
              <a:gd name="csY75" fmla="*/ 2044290 h 2076207"/>
              <a:gd name="csX76" fmla="*/ 702674 w 748195"/>
              <a:gd name="csY76" fmla="*/ 2041581 h 2076207"/>
              <a:gd name="csX77" fmla="*/ 96263 w 748195"/>
              <a:gd name="csY77" fmla="*/ 2076207 h 2076207"/>
              <a:gd name="csX78" fmla="*/ 489970 w 748195"/>
              <a:gd name="csY78" fmla="*/ 152208 h 2076207"/>
              <a:gd name="csX79" fmla="*/ 490754 w 748195"/>
              <a:gd name="csY79" fmla="*/ 152592 h 2076207"/>
              <a:gd name="csX80" fmla="*/ 489489 w 748195"/>
              <a:gd name="csY80" fmla="*/ 149547 h 2076207"/>
              <a:gd name="csX81" fmla="*/ 393621 w 748195"/>
              <a:gd name="csY81" fmla="*/ 99259 h 2076207"/>
              <a:gd name="csX82" fmla="*/ 390419 w 748195"/>
              <a:gd name="csY82" fmla="*/ 18568 h 2076207"/>
              <a:gd name="csX83" fmla="*/ 334131 w 748195"/>
              <a:gd name="csY83" fmla="*/ 24327 h 2076207"/>
              <a:gd name="csX84" fmla="*/ 344678 w 748195"/>
              <a:gd name="csY84" fmla="*/ 101259 h 2076207"/>
              <a:gd name="csX85" fmla="*/ 298854 w 748195"/>
              <a:gd name="csY85" fmla="*/ 114003 h 2076207"/>
              <a:gd name="csX86" fmla="*/ 237456 w 748195"/>
              <a:gd name="csY86" fmla="*/ 154340 h 2076207"/>
              <a:gd name="csX87" fmla="*/ 240382 w 748195"/>
              <a:gd name="csY87" fmla="*/ 154035 h 2076207"/>
              <a:gd name="csX88" fmla="*/ 262731 w 748195"/>
              <a:gd name="csY88" fmla="*/ 170426 h 2076207"/>
              <a:gd name="csX89" fmla="*/ 279169 w 748195"/>
              <a:gd name="csY89" fmla="*/ 193173 h 2076207"/>
              <a:gd name="csX90" fmla="*/ 327717 w 748195"/>
              <a:gd name="csY90" fmla="*/ 188556 h 2076207"/>
              <a:gd name="csX91" fmla="*/ 348052 w 748195"/>
              <a:gd name="csY91" fmla="*/ 156919 h 2076207"/>
              <a:gd name="csX92" fmla="*/ 380330 w 748195"/>
              <a:gd name="csY92" fmla="*/ 156483 h 2076207"/>
              <a:gd name="csX93" fmla="*/ 408490 w 748195"/>
              <a:gd name="csY93" fmla="*/ 195400 h 2076207"/>
              <a:gd name="csX94" fmla="*/ 445346 w 748195"/>
              <a:gd name="csY94" fmla="*/ 197582 h 2076207"/>
              <a:gd name="csX95" fmla="*/ 464798 w 748195"/>
              <a:gd name="csY95" fmla="*/ 174107 h 2076207"/>
              <a:gd name="csX96" fmla="*/ 489970 w 748195"/>
              <a:gd name="csY96" fmla="*/ 152208 h 2076207"/>
              <a:gd name="csX97" fmla="*/ 140694 w 748195"/>
              <a:gd name="csY97" fmla="*/ 201837 h 2076207"/>
              <a:gd name="csX98" fmla="*/ 139834 w 748195"/>
              <a:gd name="csY98" fmla="*/ 201482 h 2076207"/>
              <a:gd name="csX99" fmla="*/ 140812 w 748195"/>
              <a:gd name="csY99" fmla="*/ 204941 h 2076207"/>
              <a:gd name="csX100" fmla="*/ 144631 w 748195"/>
              <a:gd name="csY100" fmla="*/ 217811 h 2076207"/>
              <a:gd name="csX101" fmla="*/ 201241 w 748195"/>
              <a:gd name="csY101" fmla="*/ 373387 h 2076207"/>
              <a:gd name="csX102" fmla="*/ 235971 w 748195"/>
              <a:gd name="csY102" fmla="*/ 504451 h 2076207"/>
              <a:gd name="csX103" fmla="*/ 247475 w 748195"/>
              <a:gd name="csY103" fmla="*/ 513241 h 2076207"/>
              <a:gd name="csX104" fmla="*/ 289066 w 748195"/>
              <a:gd name="csY104" fmla="*/ 511170 h 2076207"/>
              <a:gd name="csX105" fmla="*/ 378229 w 748195"/>
              <a:gd name="csY105" fmla="*/ 511084 h 2076207"/>
              <a:gd name="csX106" fmla="*/ 470850 w 748195"/>
              <a:gd name="csY106" fmla="*/ 516341 h 2076207"/>
              <a:gd name="csX107" fmla="*/ 492933 w 748195"/>
              <a:gd name="csY107" fmla="*/ 497969 h 2076207"/>
              <a:gd name="csX108" fmla="*/ 557617 w 748195"/>
              <a:gd name="csY108" fmla="*/ 280398 h 2076207"/>
              <a:gd name="csX109" fmla="*/ 588788 w 748195"/>
              <a:gd name="csY109" fmla="*/ 200385 h 2076207"/>
              <a:gd name="csX110" fmla="*/ 530958 w 748195"/>
              <a:gd name="csY110" fmla="*/ 232968 h 2076207"/>
              <a:gd name="csX111" fmla="*/ 483823 w 748195"/>
              <a:gd name="csY111" fmla="*/ 190364 h 2076207"/>
              <a:gd name="csX112" fmla="*/ 466649 w 748195"/>
              <a:gd name="csY112" fmla="*/ 209061 h 2076207"/>
              <a:gd name="csX113" fmla="*/ 399941 w 748195"/>
              <a:gd name="csY113" fmla="*/ 216988 h 2076207"/>
              <a:gd name="csX114" fmla="*/ 363018 w 748195"/>
              <a:gd name="csY114" fmla="*/ 179615 h 2076207"/>
              <a:gd name="csX115" fmla="*/ 308839 w 748195"/>
              <a:gd name="csY115" fmla="*/ 227846 h 2076207"/>
              <a:gd name="csX116" fmla="*/ 245077 w 748195"/>
              <a:gd name="csY116" fmla="*/ 192402 h 2076207"/>
              <a:gd name="csX117" fmla="*/ 242829 w 748195"/>
              <a:gd name="csY117" fmla="*/ 198815 h 2076207"/>
              <a:gd name="csX118" fmla="*/ 168452 w 748195"/>
              <a:gd name="csY118" fmla="*/ 219348 h 2076207"/>
              <a:gd name="csX119" fmla="*/ 140694 w 748195"/>
              <a:gd name="csY119" fmla="*/ 201837 h 2076207"/>
              <a:gd name="csX120" fmla="*/ 259999 w 748195"/>
              <a:gd name="csY120" fmla="*/ 966699 h 2076207"/>
              <a:gd name="csX121" fmla="*/ 257072 w 748195"/>
              <a:gd name="csY121" fmla="*/ 1070424 h 2076207"/>
              <a:gd name="csX122" fmla="*/ 251372 w 748195"/>
              <a:gd name="csY122" fmla="*/ 1157618 h 2076207"/>
              <a:gd name="csX123" fmla="*/ 232677 w 748195"/>
              <a:gd name="csY123" fmla="*/ 1320279 h 2076207"/>
              <a:gd name="csX124" fmla="*/ 209182 w 748195"/>
              <a:gd name="csY124" fmla="*/ 1468667 h 2076207"/>
              <a:gd name="csX125" fmla="*/ 175302 w 748195"/>
              <a:gd name="csY125" fmla="*/ 1616623 h 2076207"/>
              <a:gd name="csX126" fmla="*/ 182769 w 748195"/>
              <a:gd name="csY126" fmla="*/ 1629786 h 2076207"/>
              <a:gd name="csX127" fmla="*/ 212156 w 748195"/>
              <a:gd name="csY127" fmla="*/ 1632656 h 2076207"/>
              <a:gd name="csX128" fmla="*/ 351295 w 748195"/>
              <a:gd name="csY128" fmla="*/ 1632801 h 2076207"/>
              <a:gd name="csX129" fmla="*/ 376150 w 748195"/>
              <a:gd name="csY129" fmla="*/ 1608307 h 2076207"/>
              <a:gd name="csX130" fmla="*/ 373450 w 748195"/>
              <a:gd name="csY130" fmla="*/ 1457291 h 2076207"/>
              <a:gd name="csX131" fmla="*/ 370936 w 748195"/>
              <a:gd name="csY131" fmla="*/ 1342736 h 2076207"/>
              <a:gd name="csX132" fmla="*/ 368328 w 748195"/>
              <a:gd name="csY132" fmla="*/ 1203878 h 2076207"/>
              <a:gd name="csX133" fmla="*/ 367836 w 748195"/>
              <a:gd name="csY133" fmla="*/ 813478 h 2076207"/>
              <a:gd name="csX134" fmla="*/ 365240 w 748195"/>
              <a:gd name="csY134" fmla="*/ 773243 h 2076207"/>
              <a:gd name="csX135" fmla="*/ 353084 w 748195"/>
              <a:gd name="csY135" fmla="*/ 762083 h 2076207"/>
              <a:gd name="csX136" fmla="*/ 280966 w 748195"/>
              <a:gd name="csY136" fmla="*/ 759855 h 2076207"/>
              <a:gd name="csX137" fmla="*/ 259965 w 748195"/>
              <a:gd name="csY137" fmla="*/ 779553 h 2076207"/>
              <a:gd name="csX138" fmla="*/ 262341 w 748195"/>
              <a:gd name="csY138" fmla="*/ 856275 h 2076207"/>
              <a:gd name="csX139" fmla="*/ 259999 w 748195"/>
              <a:gd name="csY139" fmla="*/ 966699 h 2076207"/>
              <a:gd name="csX140" fmla="*/ 55556 w 748195"/>
              <a:gd name="csY140" fmla="*/ 1835827 h 2076207"/>
              <a:gd name="csX141" fmla="*/ 49393 w 748195"/>
              <a:gd name="csY141" fmla="*/ 1878155 h 2076207"/>
              <a:gd name="csX142" fmla="*/ 73949 w 748195"/>
              <a:gd name="csY142" fmla="*/ 1905781 h 2076207"/>
              <a:gd name="csX143" fmla="*/ 110073 w 748195"/>
              <a:gd name="csY143" fmla="*/ 1909068 h 2076207"/>
              <a:gd name="csX144" fmla="*/ 224745 w 748195"/>
              <a:gd name="csY144" fmla="*/ 1921652 h 2076207"/>
              <a:gd name="csX145" fmla="*/ 347327 w 748195"/>
              <a:gd name="csY145" fmla="*/ 1924778 h 2076207"/>
              <a:gd name="csX146" fmla="*/ 363345 w 748195"/>
              <a:gd name="csY146" fmla="*/ 1923293 h 2076207"/>
              <a:gd name="csX147" fmla="*/ 373787 w 748195"/>
              <a:gd name="csY147" fmla="*/ 1911200 h 2076207"/>
              <a:gd name="csX148" fmla="*/ 376623 w 748195"/>
              <a:gd name="csY148" fmla="*/ 1696741 h 2076207"/>
              <a:gd name="csX149" fmla="*/ 360437 w 748195"/>
              <a:gd name="csY149" fmla="*/ 1681289 h 2076207"/>
              <a:gd name="csX150" fmla="*/ 263503 w 748195"/>
              <a:gd name="csY150" fmla="*/ 1678179 h 2076207"/>
              <a:gd name="csX151" fmla="*/ 160381 w 748195"/>
              <a:gd name="csY151" fmla="*/ 1670405 h 2076207"/>
              <a:gd name="csX152" fmla="*/ 143321 w 748195"/>
              <a:gd name="csY152" fmla="*/ 1685538 h 2076207"/>
              <a:gd name="csX153" fmla="*/ 124769 w 748195"/>
              <a:gd name="csY153" fmla="*/ 1738195 h 2076207"/>
              <a:gd name="csX154" fmla="*/ 90593 w 748195"/>
              <a:gd name="csY154" fmla="*/ 1779570 h 2076207"/>
              <a:gd name="csX155" fmla="*/ 55556 w 748195"/>
              <a:gd name="csY155" fmla="*/ 1835827 h 2076207"/>
              <a:gd name="csX156" fmla="*/ 378900 w 748195"/>
              <a:gd name="csY156" fmla="*/ 2007280 h 2076207"/>
              <a:gd name="csX157" fmla="*/ 378887 w 748195"/>
              <a:gd name="csY157" fmla="*/ 1995127 h 2076207"/>
              <a:gd name="csX158" fmla="*/ 359084 w 748195"/>
              <a:gd name="csY158" fmla="*/ 1975964 h 2076207"/>
              <a:gd name="csX159" fmla="*/ 247288 w 748195"/>
              <a:gd name="csY159" fmla="*/ 1973305 h 2076207"/>
              <a:gd name="csX160" fmla="*/ 201692 w 748195"/>
              <a:gd name="csY160" fmla="*/ 1970275 h 2076207"/>
              <a:gd name="csX161" fmla="*/ 57962 w 748195"/>
              <a:gd name="csY161" fmla="*/ 1952648 h 2076207"/>
              <a:gd name="csX162" fmla="*/ 39194 w 748195"/>
              <a:gd name="csY162" fmla="*/ 1963552 h 2076207"/>
              <a:gd name="csX163" fmla="*/ 30066 w 748195"/>
              <a:gd name="csY163" fmla="*/ 2006631 h 2076207"/>
              <a:gd name="csX164" fmla="*/ 40232 w 748195"/>
              <a:gd name="csY164" fmla="*/ 2019486 h 2076207"/>
              <a:gd name="csX165" fmla="*/ 238186 w 748195"/>
              <a:gd name="csY165" fmla="*/ 2046096 h 2076207"/>
              <a:gd name="csX166" fmla="*/ 342155 w 748195"/>
              <a:gd name="csY166" fmla="*/ 2046441 h 2076207"/>
              <a:gd name="csX167" fmla="*/ 378900 w 748195"/>
              <a:gd name="csY167" fmla="*/ 2007280 h 2076207"/>
              <a:gd name="csX168" fmla="*/ 310220 w 748195"/>
              <a:gd name="csY168" fmla="*/ 554288 h 2076207"/>
              <a:gd name="csX169" fmla="*/ 259136 w 748195"/>
              <a:gd name="csY169" fmla="*/ 556881 h 2076207"/>
              <a:gd name="csX170" fmla="*/ 249085 w 748195"/>
              <a:gd name="csY170" fmla="*/ 567981 h 2076207"/>
              <a:gd name="csX171" fmla="*/ 249141 w 748195"/>
              <a:gd name="csY171" fmla="*/ 605644 h 2076207"/>
              <a:gd name="csX172" fmla="*/ 262628 w 748195"/>
              <a:gd name="csY172" fmla="*/ 605627 h 2076207"/>
              <a:gd name="csX173" fmla="*/ 369608 w 748195"/>
              <a:gd name="csY173" fmla="*/ 603027 h 2076207"/>
              <a:gd name="csX174" fmla="*/ 463931 w 748195"/>
              <a:gd name="csY174" fmla="*/ 605146 h 2076207"/>
              <a:gd name="csX175" fmla="*/ 478113 w 748195"/>
              <a:gd name="csY175" fmla="*/ 595843 h 2076207"/>
              <a:gd name="csX176" fmla="*/ 478796 w 748195"/>
              <a:gd name="csY176" fmla="*/ 556832 h 2076207"/>
              <a:gd name="csX177" fmla="*/ 310220 w 748195"/>
              <a:gd name="csY177" fmla="*/ 554288 h 2076207"/>
              <a:gd name="csX178" fmla="*/ 348836 w 748195"/>
              <a:gd name="csY178" fmla="*/ 684115 h 2076207"/>
              <a:gd name="csX179" fmla="*/ 281333 w 748195"/>
              <a:gd name="csY179" fmla="*/ 683313 h 2076207"/>
              <a:gd name="csX180" fmla="*/ 212728 w 748195"/>
              <a:gd name="csY180" fmla="*/ 681931 h 2076207"/>
              <a:gd name="csX181" fmla="*/ 187283 w 748195"/>
              <a:gd name="csY181" fmla="*/ 689555 h 2076207"/>
              <a:gd name="csX182" fmla="*/ 186163 w 748195"/>
              <a:gd name="csY182" fmla="*/ 718266 h 2076207"/>
              <a:gd name="csX183" fmla="*/ 209894 w 748195"/>
              <a:gd name="csY183" fmla="*/ 726798 h 2076207"/>
              <a:gd name="csX184" fmla="*/ 334814 w 748195"/>
              <a:gd name="csY184" fmla="*/ 732494 h 2076207"/>
              <a:gd name="csX185" fmla="*/ 364856 w 748195"/>
              <a:gd name="csY185" fmla="*/ 707963 h 2076207"/>
              <a:gd name="csX186" fmla="*/ 348836 w 748195"/>
              <a:gd name="csY186" fmla="*/ 684115 h 2076207"/>
              <a:gd name="csX187" fmla="*/ 298865 w 748195"/>
              <a:gd name="csY187" fmla="*/ 621954 h 2076207"/>
              <a:gd name="csX188" fmla="*/ 251619 w 748195"/>
              <a:gd name="csY188" fmla="*/ 622133 h 2076207"/>
              <a:gd name="csX189" fmla="*/ 214459 w 748195"/>
              <a:gd name="csY189" fmla="*/ 636230 h 2076207"/>
              <a:gd name="csX190" fmla="*/ 221436 w 748195"/>
              <a:gd name="csY190" fmla="*/ 654205 h 2076207"/>
              <a:gd name="csX191" fmla="*/ 272412 w 748195"/>
              <a:gd name="csY191" fmla="*/ 657250 h 2076207"/>
              <a:gd name="csX192" fmla="*/ 349094 w 748195"/>
              <a:gd name="csY192" fmla="*/ 659282 h 2076207"/>
              <a:gd name="csX193" fmla="*/ 362996 w 748195"/>
              <a:gd name="csY193" fmla="*/ 644234 h 2076207"/>
              <a:gd name="csX194" fmla="*/ 348472 w 748195"/>
              <a:gd name="csY194" fmla="*/ 624649 h 2076207"/>
              <a:gd name="csX195" fmla="*/ 298865 w 748195"/>
              <a:gd name="csY195" fmla="*/ 621954 h 2076207"/>
              <a:gd name="csX196" fmla="*/ 227796 w 748195"/>
              <a:gd name="csY196" fmla="*/ 528000 h 2076207"/>
              <a:gd name="csX197" fmla="*/ 241009 w 748195"/>
              <a:gd name="csY197" fmla="*/ 545897 h 2076207"/>
              <a:gd name="csX198" fmla="*/ 282607 w 748195"/>
              <a:gd name="csY198" fmla="*/ 543480 h 2076207"/>
              <a:gd name="csX199" fmla="*/ 354213 w 748195"/>
              <a:gd name="csY199" fmla="*/ 543384 h 2076207"/>
              <a:gd name="csX200" fmla="*/ 365334 w 748195"/>
              <a:gd name="csY200" fmla="*/ 533397 h 2076207"/>
              <a:gd name="csX201" fmla="*/ 354531 w 748195"/>
              <a:gd name="csY201" fmla="*/ 521620 h 2076207"/>
              <a:gd name="csX202" fmla="*/ 259169 w 748195"/>
              <a:gd name="csY202" fmla="*/ 521978 h 2076207"/>
              <a:gd name="csX203" fmla="*/ 227796 w 748195"/>
              <a:gd name="csY203" fmla="*/ 528000 h 2076207"/>
              <a:gd name="csX204" fmla="*/ 508068 w 748195"/>
              <a:gd name="csY204" fmla="*/ 190710 h 2076207"/>
              <a:gd name="csX205" fmla="*/ 521293 w 748195"/>
              <a:gd name="csY205" fmla="*/ 205907 h 2076207"/>
              <a:gd name="csX206" fmla="*/ 525175 w 748195"/>
              <a:gd name="csY206" fmla="*/ 202985 h 2076207"/>
              <a:gd name="csX207" fmla="*/ 500276 w 748195"/>
              <a:gd name="csY207" fmla="*/ 160640 h 2076207"/>
              <a:gd name="csX208" fmla="*/ 497122 w 748195"/>
              <a:gd name="csY208" fmla="*/ 162007 h 2076207"/>
              <a:gd name="csX209" fmla="*/ 508068 w 748195"/>
              <a:gd name="csY209" fmla="*/ 190710 h 2076207"/>
              <a:gd name="csX210" fmla="*/ 215522 w 748195"/>
              <a:gd name="csY210" fmla="*/ 197296 h 2076207"/>
              <a:gd name="csX211" fmla="*/ 234029 w 748195"/>
              <a:gd name="csY211" fmla="*/ 162725 h 2076207"/>
              <a:gd name="csX212" fmla="*/ 229000 w 748195"/>
              <a:gd name="csY212" fmla="*/ 159902 h 2076207"/>
              <a:gd name="csX213" fmla="*/ 204824 w 748195"/>
              <a:gd name="csY213" fmla="*/ 199677 h 2076207"/>
              <a:gd name="csX214" fmla="*/ 207990 w 748195"/>
              <a:gd name="csY214" fmla="*/ 202198 h 2076207"/>
              <a:gd name="csX215" fmla="*/ 215522 w 748195"/>
              <a:gd name="csY215" fmla="*/ 197296 h 2076207"/>
              <a:gd name="csX216" fmla="*/ 484400 w 748195"/>
              <a:gd name="csY216" fmla="*/ 896678 h 2076207"/>
              <a:gd name="csX217" fmla="*/ 486181 w 748195"/>
              <a:gd name="csY217" fmla="*/ 896585 h 2076207"/>
              <a:gd name="csX218" fmla="*/ 486181 w 748195"/>
              <a:gd name="csY218" fmla="*/ 795289 h 2076207"/>
              <a:gd name="csX219" fmla="*/ 720241 w 748195"/>
              <a:gd name="csY219" fmla="*/ 2030666 h 2076207"/>
              <a:gd name="csX220" fmla="*/ 721175 w 748195"/>
              <a:gd name="csY220" fmla="*/ 2029733 h 2076207"/>
              <a:gd name="csX221" fmla="*/ 720241 w 748195"/>
              <a:gd name="csY221" fmla="*/ 2030666 h 2076207"/>
              <a:gd name="csX222" fmla="*/ 715702 w 748195"/>
              <a:gd name="csY222" fmla="*/ 2037051 h 2076207"/>
              <a:gd name="csX223" fmla="*/ 715702 w 748195"/>
              <a:gd name="csY223" fmla="*/ 2037051 h 2076207"/>
              <a:gd name="csX0" fmla="*/ 96263 w 748195"/>
              <a:gd name="csY0" fmla="*/ 2076207 h 2076207"/>
              <a:gd name="csX1" fmla="*/ 63862 w 748195"/>
              <a:gd name="csY1" fmla="*/ 2065388 h 2076207"/>
              <a:gd name="csX2" fmla="*/ 16555 w 748195"/>
              <a:gd name="csY2" fmla="*/ 2050152 h 2076207"/>
              <a:gd name="csX3" fmla="*/ 15 w 748195"/>
              <a:gd name="csY3" fmla="*/ 2023802 h 2076207"/>
              <a:gd name="csX4" fmla="*/ 18368 w 748195"/>
              <a:gd name="csY4" fmla="*/ 1940709 h 2076207"/>
              <a:gd name="csX5" fmla="*/ 22139 w 748195"/>
              <a:gd name="csY5" fmla="*/ 1907268 h 2076207"/>
              <a:gd name="csX6" fmla="*/ 57941 w 748195"/>
              <a:gd name="csY6" fmla="*/ 1774163 h 2076207"/>
              <a:gd name="csX7" fmla="*/ 102478 w 748195"/>
              <a:gd name="csY7" fmla="*/ 1720275 h 2076207"/>
              <a:gd name="csX8" fmla="*/ 108579 w 748195"/>
              <a:gd name="csY8" fmla="*/ 1650967 h 2076207"/>
              <a:gd name="csX9" fmla="*/ 115628 w 748195"/>
              <a:gd name="csY9" fmla="*/ 1625405 h 2076207"/>
              <a:gd name="csX10" fmla="*/ 156323 w 748195"/>
              <a:gd name="csY10" fmla="*/ 1560181 h 2076207"/>
              <a:gd name="csX11" fmla="*/ 199424 w 748195"/>
              <a:gd name="csY11" fmla="*/ 1364729 h 2076207"/>
              <a:gd name="csX12" fmla="*/ 216779 w 748195"/>
              <a:gd name="csY12" fmla="*/ 1219490 h 2076207"/>
              <a:gd name="csX13" fmla="*/ 229755 w 748195"/>
              <a:gd name="csY13" fmla="*/ 1099357 h 2076207"/>
              <a:gd name="csX14" fmla="*/ 232707 w 748195"/>
              <a:gd name="csY14" fmla="*/ 1056423 h 2076207"/>
              <a:gd name="csX15" fmla="*/ 235622 w 748195"/>
              <a:gd name="csY15" fmla="*/ 952675 h 2076207"/>
              <a:gd name="csX16" fmla="*/ 235445 w 748195"/>
              <a:gd name="csY16" fmla="*/ 780278 h 2076207"/>
              <a:gd name="csX17" fmla="*/ 214544 w 748195"/>
              <a:gd name="csY17" fmla="*/ 756435 h 2076207"/>
              <a:gd name="csX18" fmla="*/ 172569 w 748195"/>
              <a:gd name="csY18" fmla="*/ 742582 h 2076207"/>
              <a:gd name="csX19" fmla="*/ 168784 w 748195"/>
              <a:gd name="csY19" fmla="*/ 669116 h 2076207"/>
              <a:gd name="csX20" fmla="*/ 191657 w 748195"/>
              <a:gd name="csY20" fmla="*/ 630765 h 2076207"/>
              <a:gd name="csX21" fmla="*/ 208150 w 748195"/>
              <a:gd name="csY21" fmla="*/ 609084 h 2076207"/>
              <a:gd name="csX22" fmla="*/ 216756 w 748195"/>
              <a:gd name="csY22" fmla="*/ 558673 h 2076207"/>
              <a:gd name="csX23" fmla="*/ 209092 w 748195"/>
              <a:gd name="csY23" fmla="*/ 521540 h 2076207"/>
              <a:gd name="csX24" fmla="*/ 204683 w 748195"/>
              <a:gd name="csY24" fmla="*/ 474024 h 2076207"/>
              <a:gd name="csX25" fmla="*/ 115483 w 748195"/>
              <a:gd name="csY25" fmla="*/ 213499 h 2076207"/>
              <a:gd name="csX26" fmla="*/ 102909 w 748195"/>
              <a:gd name="csY26" fmla="*/ 182297 h 2076207"/>
              <a:gd name="csX27" fmla="*/ 104315 w 748195"/>
              <a:gd name="csY27" fmla="*/ 163968 h 2076207"/>
              <a:gd name="csX28" fmla="*/ 122444 w 748195"/>
              <a:gd name="csY28" fmla="*/ 160805 h 2076207"/>
              <a:gd name="csX29" fmla="*/ 170283 w 748195"/>
              <a:gd name="csY29" fmla="*/ 187783 h 2076207"/>
              <a:gd name="csX30" fmla="*/ 180938 w 748195"/>
              <a:gd name="csY30" fmla="*/ 195322 h 2076207"/>
              <a:gd name="csX31" fmla="*/ 221419 w 748195"/>
              <a:gd name="csY31" fmla="*/ 138058 h 2076207"/>
              <a:gd name="csX32" fmla="*/ 294099 w 748195"/>
              <a:gd name="csY32" fmla="*/ 91372 h 2076207"/>
              <a:gd name="csX33" fmla="*/ 302307 w 748195"/>
              <a:gd name="csY33" fmla="*/ 76560 h 2076207"/>
              <a:gd name="csX34" fmla="*/ 320284 w 748195"/>
              <a:gd name="csY34" fmla="*/ 8414 h 2076207"/>
              <a:gd name="csX35" fmla="*/ 324784 w 748195"/>
              <a:gd name="csY35" fmla="*/ 946 h 2076207"/>
              <a:gd name="csX36" fmla="*/ 399212 w 748195"/>
              <a:gd name="csY36" fmla="*/ 0 h 2076207"/>
              <a:gd name="csX37" fmla="*/ 425980 w 748195"/>
              <a:gd name="csY37" fmla="*/ 78301 h 2076207"/>
              <a:gd name="csX38" fmla="*/ 431861 w 748195"/>
              <a:gd name="csY38" fmla="*/ 90312 h 2076207"/>
              <a:gd name="csX39" fmla="*/ 540349 w 748195"/>
              <a:gd name="csY39" fmla="*/ 187946 h 2076207"/>
              <a:gd name="csX40" fmla="*/ 545555 w 748195"/>
              <a:gd name="csY40" fmla="*/ 197828 h 2076207"/>
              <a:gd name="csX41" fmla="*/ 587318 w 748195"/>
              <a:gd name="csY41" fmla="*/ 171260 h 2076207"/>
              <a:gd name="csX42" fmla="*/ 601503 w 748195"/>
              <a:gd name="csY42" fmla="*/ 163707 h 2076207"/>
              <a:gd name="csX43" fmla="*/ 625254 w 748195"/>
              <a:gd name="csY43" fmla="*/ 163123 h 2076207"/>
              <a:gd name="csX44" fmla="*/ 625468 w 748195"/>
              <a:gd name="csY44" fmla="*/ 187579 h 2076207"/>
              <a:gd name="csX45" fmla="*/ 597543 w 748195"/>
              <a:gd name="csY45" fmla="*/ 251872 h 2076207"/>
              <a:gd name="csX46" fmla="*/ 531831 w 748195"/>
              <a:gd name="csY46" fmla="*/ 442689 h 2076207"/>
              <a:gd name="csX47" fmla="*/ 519888 w 748195"/>
              <a:gd name="csY47" fmla="*/ 501474 h 2076207"/>
              <a:gd name="csX48" fmla="*/ 522506 w 748195"/>
              <a:gd name="csY48" fmla="*/ 525086 h 2076207"/>
              <a:gd name="csX49" fmla="*/ 516235 w 748195"/>
              <a:gd name="csY49" fmla="*/ 555946 h 2076207"/>
              <a:gd name="csX50" fmla="*/ 521332 w 748195"/>
              <a:gd name="csY50" fmla="*/ 610676 h 2076207"/>
              <a:gd name="csX51" fmla="*/ 541382 w 748195"/>
              <a:gd name="csY51" fmla="*/ 642597 h 2076207"/>
              <a:gd name="csX52" fmla="*/ 557031 w 748195"/>
              <a:gd name="csY52" fmla="*/ 667949 h 2076207"/>
              <a:gd name="csX53" fmla="*/ 553994 w 748195"/>
              <a:gd name="csY53" fmla="*/ 744146 h 2076207"/>
              <a:gd name="csX54" fmla="*/ 508215 w 748195"/>
              <a:gd name="csY54" fmla="*/ 758841 h 2076207"/>
              <a:gd name="csX55" fmla="*/ 497442 w 748195"/>
              <a:gd name="csY55" fmla="*/ 771256 h 2076207"/>
              <a:gd name="csX56" fmla="*/ 493005 w 748195"/>
              <a:gd name="csY56" fmla="*/ 922055 h 2076207"/>
              <a:gd name="csX57" fmla="*/ 502900 w 748195"/>
              <a:gd name="csY57" fmla="*/ 1114191 h 2076207"/>
              <a:gd name="csX58" fmla="*/ 508800 w 748195"/>
              <a:gd name="csY58" fmla="*/ 1205474 h 2076207"/>
              <a:gd name="csX59" fmla="*/ 522952 w 748195"/>
              <a:gd name="csY59" fmla="*/ 1320065 h 2076207"/>
              <a:gd name="csX60" fmla="*/ 554682 w 748195"/>
              <a:gd name="csY60" fmla="*/ 1501203 h 2076207"/>
              <a:gd name="csX61" fmla="*/ 576958 w 748195"/>
              <a:gd name="csY61" fmla="*/ 1593963 h 2076207"/>
              <a:gd name="csX62" fmla="*/ 595349 w 748195"/>
              <a:gd name="csY62" fmla="*/ 1613498 h 2076207"/>
              <a:gd name="csX63" fmla="*/ 613936 w 748195"/>
              <a:gd name="csY63" fmla="*/ 1624058 h 2076207"/>
              <a:gd name="csX64" fmla="*/ 620938 w 748195"/>
              <a:gd name="csY64" fmla="*/ 1652071 h 2076207"/>
              <a:gd name="csX65" fmla="*/ 630805 w 748195"/>
              <a:gd name="csY65" fmla="*/ 1721702 h 2076207"/>
              <a:gd name="csX66" fmla="*/ 685830 w 748195"/>
              <a:gd name="csY66" fmla="*/ 1792915 h 2076207"/>
              <a:gd name="csX67" fmla="*/ 708904 w 748195"/>
              <a:gd name="csY67" fmla="*/ 1890290 h 2076207"/>
              <a:gd name="csX68" fmla="*/ 716580 w 748195"/>
              <a:gd name="csY68" fmla="*/ 1951136 h 2076207"/>
              <a:gd name="csX69" fmla="*/ 729397 w 748195"/>
              <a:gd name="csY69" fmla="*/ 2030261 h 2076207"/>
              <a:gd name="csX70" fmla="*/ 714212 w 748195"/>
              <a:gd name="csY70" fmla="*/ 2049544 h 2076207"/>
              <a:gd name="csX71" fmla="*/ 645428 w 748195"/>
              <a:gd name="csY71" fmla="*/ 2070825 h 2076207"/>
              <a:gd name="csX72" fmla="*/ 588428 w 748195"/>
              <a:gd name="csY72" fmla="*/ 2075144 h 2076207"/>
              <a:gd name="csX73" fmla="*/ 667788 w 748195"/>
              <a:gd name="csY73" fmla="*/ 2056852 h 2076207"/>
              <a:gd name="csX74" fmla="*/ 706629 w 748195"/>
              <a:gd name="csY74" fmla="*/ 2044290 h 2076207"/>
              <a:gd name="csX75" fmla="*/ 702674 w 748195"/>
              <a:gd name="csY75" fmla="*/ 2041581 h 2076207"/>
              <a:gd name="csX76" fmla="*/ 96263 w 748195"/>
              <a:gd name="csY76" fmla="*/ 2076207 h 2076207"/>
              <a:gd name="csX77" fmla="*/ 489970 w 748195"/>
              <a:gd name="csY77" fmla="*/ 152208 h 2076207"/>
              <a:gd name="csX78" fmla="*/ 490754 w 748195"/>
              <a:gd name="csY78" fmla="*/ 152592 h 2076207"/>
              <a:gd name="csX79" fmla="*/ 489489 w 748195"/>
              <a:gd name="csY79" fmla="*/ 149547 h 2076207"/>
              <a:gd name="csX80" fmla="*/ 393621 w 748195"/>
              <a:gd name="csY80" fmla="*/ 99259 h 2076207"/>
              <a:gd name="csX81" fmla="*/ 390419 w 748195"/>
              <a:gd name="csY81" fmla="*/ 18568 h 2076207"/>
              <a:gd name="csX82" fmla="*/ 334131 w 748195"/>
              <a:gd name="csY82" fmla="*/ 24327 h 2076207"/>
              <a:gd name="csX83" fmla="*/ 344678 w 748195"/>
              <a:gd name="csY83" fmla="*/ 101259 h 2076207"/>
              <a:gd name="csX84" fmla="*/ 298854 w 748195"/>
              <a:gd name="csY84" fmla="*/ 114003 h 2076207"/>
              <a:gd name="csX85" fmla="*/ 237456 w 748195"/>
              <a:gd name="csY85" fmla="*/ 154340 h 2076207"/>
              <a:gd name="csX86" fmla="*/ 240382 w 748195"/>
              <a:gd name="csY86" fmla="*/ 154035 h 2076207"/>
              <a:gd name="csX87" fmla="*/ 262731 w 748195"/>
              <a:gd name="csY87" fmla="*/ 170426 h 2076207"/>
              <a:gd name="csX88" fmla="*/ 279169 w 748195"/>
              <a:gd name="csY88" fmla="*/ 193173 h 2076207"/>
              <a:gd name="csX89" fmla="*/ 327717 w 748195"/>
              <a:gd name="csY89" fmla="*/ 188556 h 2076207"/>
              <a:gd name="csX90" fmla="*/ 348052 w 748195"/>
              <a:gd name="csY90" fmla="*/ 156919 h 2076207"/>
              <a:gd name="csX91" fmla="*/ 380330 w 748195"/>
              <a:gd name="csY91" fmla="*/ 156483 h 2076207"/>
              <a:gd name="csX92" fmla="*/ 408490 w 748195"/>
              <a:gd name="csY92" fmla="*/ 195400 h 2076207"/>
              <a:gd name="csX93" fmla="*/ 445346 w 748195"/>
              <a:gd name="csY93" fmla="*/ 197582 h 2076207"/>
              <a:gd name="csX94" fmla="*/ 464798 w 748195"/>
              <a:gd name="csY94" fmla="*/ 174107 h 2076207"/>
              <a:gd name="csX95" fmla="*/ 489970 w 748195"/>
              <a:gd name="csY95" fmla="*/ 152208 h 2076207"/>
              <a:gd name="csX96" fmla="*/ 140694 w 748195"/>
              <a:gd name="csY96" fmla="*/ 201837 h 2076207"/>
              <a:gd name="csX97" fmla="*/ 139834 w 748195"/>
              <a:gd name="csY97" fmla="*/ 201482 h 2076207"/>
              <a:gd name="csX98" fmla="*/ 140812 w 748195"/>
              <a:gd name="csY98" fmla="*/ 204941 h 2076207"/>
              <a:gd name="csX99" fmla="*/ 144631 w 748195"/>
              <a:gd name="csY99" fmla="*/ 217811 h 2076207"/>
              <a:gd name="csX100" fmla="*/ 201241 w 748195"/>
              <a:gd name="csY100" fmla="*/ 373387 h 2076207"/>
              <a:gd name="csX101" fmla="*/ 235971 w 748195"/>
              <a:gd name="csY101" fmla="*/ 504451 h 2076207"/>
              <a:gd name="csX102" fmla="*/ 247475 w 748195"/>
              <a:gd name="csY102" fmla="*/ 513241 h 2076207"/>
              <a:gd name="csX103" fmla="*/ 289066 w 748195"/>
              <a:gd name="csY103" fmla="*/ 511170 h 2076207"/>
              <a:gd name="csX104" fmla="*/ 378229 w 748195"/>
              <a:gd name="csY104" fmla="*/ 511084 h 2076207"/>
              <a:gd name="csX105" fmla="*/ 470850 w 748195"/>
              <a:gd name="csY105" fmla="*/ 516341 h 2076207"/>
              <a:gd name="csX106" fmla="*/ 492933 w 748195"/>
              <a:gd name="csY106" fmla="*/ 497969 h 2076207"/>
              <a:gd name="csX107" fmla="*/ 557617 w 748195"/>
              <a:gd name="csY107" fmla="*/ 280398 h 2076207"/>
              <a:gd name="csX108" fmla="*/ 588788 w 748195"/>
              <a:gd name="csY108" fmla="*/ 200385 h 2076207"/>
              <a:gd name="csX109" fmla="*/ 530958 w 748195"/>
              <a:gd name="csY109" fmla="*/ 232968 h 2076207"/>
              <a:gd name="csX110" fmla="*/ 483823 w 748195"/>
              <a:gd name="csY110" fmla="*/ 190364 h 2076207"/>
              <a:gd name="csX111" fmla="*/ 466649 w 748195"/>
              <a:gd name="csY111" fmla="*/ 209061 h 2076207"/>
              <a:gd name="csX112" fmla="*/ 399941 w 748195"/>
              <a:gd name="csY112" fmla="*/ 216988 h 2076207"/>
              <a:gd name="csX113" fmla="*/ 363018 w 748195"/>
              <a:gd name="csY113" fmla="*/ 179615 h 2076207"/>
              <a:gd name="csX114" fmla="*/ 308839 w 748195"/>
              <a:gd name="csY114" fmla="*/ 227846 h 2076207"/>
              <a:gd name="csX115" fmla="*/ 245077 w 748195"/>
              <a:gd name="csY115" fmla="*/ 192402 h 2076207"/>
              <a:gd name="csX116" fmla="*/ 242829 w 748195"/>
              <a:gd name="csY116" fmla="*/ 198815 h 2076207"/>
              <a:gd name="csX117" fmla="*/ 168452 w 748195"/>
              <a:gd name="csY117" fmla="*/ 219348 h 2076207"/>
              <a:gd name="csX118" fmla="*/ 140694 w 748195"/>
              <a:gd name="csY118" fmla="*/ 201837 h 2076207"/>
              <a:gd name="csX119" fmla="*/ 259999 w 748195"/>
              <a:gd name="csY119" fmla="*/ 966699 h 2076207"/>
              <a:gd name="csX120" fmla="*/ 257072 w 748195"/>
              <a:gd name="csY120" fmla="*/ 1070424 h 2076207"/>
              <a:gd name="csX121" fmla="*/ 251372 w 748195"/>
              <a:gd name="csY121" fmla="*/ 1157618 h 2076207"/>
              <a:gd name="csX122" fmla="*/ 232677 w 748195"/>
              <a:gd name="csY122" fmla="*/ 1320279 h 2076207"/>
              <a:gd name="csX123" fmla="*/ 209182 w 748195"/>
              <a:gd name="csY123" fmla="*/ 1468667 h 2076207"/>
              <a:gd name="csX124" fmla="*/ 175302 w 748195"/>
              <a:gd name="csY124" fmla="*/ 1616623 h 2076207"/>
              <a:gd name="csX125" fmla="*/ 182769 w 748195"/>
              <a:gd name="csY125" fmla="*/ 1629786 h 2076207"/>
              <a:gd name="csX126" fmla="*/ 212156 w 748195"/>
              <a:gd name="csY126" fmla="*/ 1632656 h 2076207"/>
              <a:gd name="csX127" fmla="*/ 351295 w 748195"/>
              <a:gd name="csY127" fmla="*/ 1632801 h 2076207"/>
              <a:gd name="csX128" fmla="*/ 376150 w 748195"/>
              <a:gd name="csY128" fmla="*/ 1608307 h 2076207"/>
              <a:gd name="csX129" fmla="*/ 373450 w 748195"/>
              <a:gd name="csY129" fmla="*/ 1457291 h 2076207"/>
              <a:gd name="csX130" fmla="*/ 370936 w 748195"/>
              <a:gd name="csY130" fmla="*/ 1342736 h 2076207"/>
              <a:gd name="csX131" fmla="*/ 368328 w 748195"/>
              <a:gd name="csY131" fmla="*/ 1203878 h 2076207"/>
              <a:gd name="csX132" fmla="*/ 367836 w 748195"/>
              <a:gd name="csY132" fmla="*/ 813478 h 2076207"/>
              <a:gd name="csX133" fmla="*/ 365240 w 748195"/>
              <a:gd name="csY133" fmla="*/ 773243 h 2076207"/>
              <a:gd name="csX134" fmla="*/ 353084 w 748195"/>
              <a:gd name="csY134" fmla="*/ 762083 h 2076207"/>
              <a:gd name="csX135" fmla="*/ 280966 w 748195"/>
              <a:gd name="csY135" fmla="*/ 759855 h 2076207"/>
              <a:gd name="csX136" fmla="*/ 259965 w 748195"/>
              <a:gd name="csY136" fmla="*/ 779553 h 2076207"/>
              <a:gd name="csX137" fmla="*/ 262341 w 748195"/>
              <a:gd name="csY137" fmla="*/ 856275 h 2076207"/>
              <a:gd name="csX138" fmla="*/ 259999 w 748195"/>
              <a:gd name="csY138" fmla="*/ 966699 h 2076207"/>
              <a:gd name="csX139" fmla="*/ 55556 w 748195"/>
              <a:gd name="csY139" fmla="*/ 1835827 h 2076207"/>
              <a:gd name="csX140" fmla="*/ 49393 w 748195"/>
              <a:gd name="csY140" fmla="*/ 1878155 h 2076207"/>
              <a:gd name="csX141" fmla="*/ 73949 w 748195"/>
              <a:gd name="csY141" fmla="*/ 1905781 h 2076207"/>
              <a:gd name="csX142" fmla="*/ 110073 w 748195"/>
              <a:gd name="csY142" fmla="*/ 1909068 h 2076207"/>
              <a:gd name="csX143" fmla="*/ 224745 w 748195"/>
              <a:gd name="csY143" fmla="*/ 1921652 h 2076207"/>
              <a:gd name="csX144" fmla="*/ 347327 w 748195"/>
              <a:gd name="csY144" fmla="*/ 1924778 h 2076207"/>
              <a:gd name="csX145" fmla="*/ 363345 w 748195"/>
              <a:gd name="csY145" fmla="*/ 1923293 h 2076207"/>
              <a:gd name="csX146" fmla="*/ 373787 w 748195"/>
              <a:gd name="csY146" fmla="*/ 1911200 h 2076207"/>
              <a:gd name="csX147" fmla="*/ 376623 w 748195"/>
              <a:gd name="csY147" fmla="*/ 1696741 h 2076207"/>
              <a:gd name="csX148" fmla="*/ 360437 w 748195"/>
              <a:gd name="csY148" fmla="*/ 1681289 h 2076207"/>
              <a:gd name="csX149" fmla="*/ 263503 w 748195"/>
              <a:gd name="csY149" fmla="*/ 1678179 h 2076207"/>
              <a:gd name="csX150" fmla="*/ 160381 w 748195"/>
              <a:gd name="csY150" fmla="*/ 1670405 h 2076207"/>
              <a:gd name="csX151" fmla="*/ 143321 w 748195"/>
              <a:gd name="csY151" fmla="*/ 1685538 h 2076207"/>
              <a:gd name="csX152" fmla="*/ 124769 w 748195"/>
              <a:gd name="csY152" fmla="*/ 1738195 h 2076207"/>
              <a:gd name="csX153" fmla="*/ 90593 w 748195"/>
              <a:gd name="csY153" fmla="*/ 1779570 h 2076207"/>
              <a:gd name="csX154" fmla="*/ 55556 w 748195"/>
              <a:gd name="csY154" fmla="*/ 1835827 h 2076207"/>
              <a:gd name="csX155" fmla="*/ 378900 w 748195"/>
              <a:gd name="csY155" fmla="*/ 2007280 h 2076207"/>
              <a:gd name="csX156" fmla="*/ 378887 w 748195"/>
              <a:gd name="csY156" fmla="*/ 1995127 h 2076207"/>
              <a:gd name="csX157" fmla="*/ 359084 w 748195"/>
              <a:gd name="csY157" fmla="*/ 1975964 h 2076207"/>
              <a:gd name="csX158" fmla="*/ 247288 w 748195"/>
              <a:gd name="csY158" fmla="*/ 1973305 h 2076207"/>
              <a:gd name="csX159" fmla="*/ 201692 w 748195"/>
              <a:gd name="csY159" fmla="*/ 1970275 h 2076207"/>
              <a:gd name="csX160" fmla="*/ 57962 w 748195"/>
              <a:gd name="csY160" fmla="*/ 1952648 h 2076207"/>
              <a:gd name="csX161" fmla="*/ 39194 w 748195"/>
              <a:gd name="csY161" fmla="*/ 1963552 h 2076207"/>
              <a:gd name="csX162" fmla="*/ 30066 w 748195"/>
              <a:gd name="csY162" fmla="*/ 2006631 h 2076207"/>
              <a:gd name="csX163" fmla="*/ 40232 w 748195"/>
              <a:gd name="csY163" fmla="*/ 2019486 h 2076207"/>
              <a:gd name="csX164" fmla="*/ 238186 w 748195"/>
              <a:gd name="csY164" fmla="*/ 2046096 h 2076207"/>
              <a:gd name="csX165" fmla="*/ 342155 w 748195"/>
              <a:gd name="csY165" fmla="*/ 2046441 h 2076207"/>
              <a:gd name="csX166" fmla="*/ 378900 w 748195"/>
              <a:gd name="csY166" fmla="*/ 2007280 h 2076207"/>
              <a:gd name="csX167" fmla="*/ 310220 w 748195"/>
              <a:gd name="csY167" fmla="*/ 554288 h 2076207"/>
              <a:gd name="csX168" fmla="*/ 259136 w 748195"/>
              <a:gd name="csY168" fmla="*/ 556881 h 2076207"/>
              <a:gd name="csX169" fmla="*/ 249085 w 748195"/>
              <a:gd name="csY169" fmla="*/ 567981 h 2076207"/>
              <a:gd name="csX170" fmla="*/ 249141 w 748195"/>
              <a:gd name="csY170" fmla="*/ 605644 h 2076207"/>
              <a:gd name="csX171" fmla="*/ 262628 w 748195"/>
              <a:gd name="csY171" fmla="*/ 605627 h 2076207"/>
              <a:gd name="csX172" fmla="*/ 369608 w 748195"/>
              <a:gd name="csY172" fmla="*/ 603027 h 2076207"/>
              <a:gd name="csX173" fmla="*/ 463931 w 748195"/>
              <a:gd name="csY173" fmla="*/ 605146 h 2076207"/>
              <a:gd name="csX174" fmla="*/ 478113 w 748195"/>
              <a:gd name="csY174" fmla="*/ 595843 h 2076207"/>
              <a:gd name="csX175" fmla="*/ 478796 w 748195"/>
              <a:gd name="csY175" fmla="*/ 556832 h 2076207"/>
              <a:gd name="csX176" fmla="*/ 310220 w 748195"/>
              <a:gd name="csY176" fmla="*/ 554288 h 2076207"/>
              <a:gd name="csX177" fmla="*/ 348836 w 748195"/>
              <a:gd name="csY177" fmla="*/ 684115 h 2076207"/>
              <a:gd name="csX178" fmla="*/ 281333 w 748195"/>
              <a:gd name="csY178" fmla="*/ 683313 h 2076207"/>
              <a:gd name="csX179" fmla="*/ 212728 w 748195"/>
              <a:gd name="csY179" fmla="*/ 681931 h 2076207"/>
              <a:gd name="csX180" fmla="*/ 187283 w 748195"/>
              <a:gd name="csY180" fmla="*/ 689555 h 2076207"/>
              <a:gd name="csX181" fmla="*/ 186163 w 748195"/>
              <a:gd name="csY181" fmla="*/ 718266 h 2076207"/>
              <a:gd name="csX182" fmla="*/ 209894 w 748195"/>
              <a:gd name="csY182" fmla="*/ 726798 h 2076207"/>
              <a:gd name="csX183" fmla="*/ 334814 w 748195"/>
              <a:gd name="csY183" fmla="*/ 732494 h 2076207"/>
              <a:gd name="csX184" fmla="*/ 364856 w 748195"/>
              <a:gd name="csY184" fmla="*/ 707963 h 2076207"/>
              <a:gd name="csX185" fmla="*/ 348836 w 748195"/>
              <a:gd name="csY185" fmla="*/ 684115 h 2076207"/>
              <a:gd name="csX186" fmla="*/ 298865 w 748195"/>
              <a:gd name="csY186" fmla="*/ 621954 h 2076207"/>
              <a:gd name="csX187" fmla="*/ 251619 w 748195"/>
              <a:gd name="csY187" fmla="*/ 622133 h 2076207"/>
              <a:gd name="csX188" fmla="*/ 214459 w 748195"/>
              <a:gd name="csY188" fmla="*/ 636230 h 2076207"/>
              <a:gd name="csX189" fmla="*/ 221436 w 748195"/>
              <a:gd name="csY189" fmla="*/ 654205 h 2076207"/>
              <a:gd name="csX190" fmla="*/ 272412 w 748195"/>
              <a:gd name="csY190" fmla="*/ 657250 h 2076207"/>
              <a:gd name="csX191" fmla="*/ 349094 w 748195"/>
              <a:gd name="csY191" fmla="*/ 659282 h 2076207"/>
              <a:gd name="csX192" fmla="*/ 362996 w 748195"/>
              <a:gd name="csY192" fmla="*/ 644234 h 2076207"/>
              <a:gd name="csX193" fmla="*/ 348472 w 748195"/>
              <a:gd name="csY193" fmla="*/ 624649 h 2076207"/>
              <a:gd name="csX194" fmla="*/ 298865 w 748195"/>
              <a:gd name="csY194" fmla="*/ 621954 h 2076207"/>
              <a:gd name="csX195" fmla="*/ 227796 w 748195"/>
              <a:gd name="csY195" fmla="*/ 528000 h 2076207"/>
              <a:gd name="csX196" fmla="*/ 241009 w 748195"/>
              <a:gd name="csY196" fmla="*/ 545897 h 2076207"/>
              <a:gd name="csX197" fmla="*/ 282607 w 748195"/>
              <a:gd name="csY197" fmla="*/ 543480 h 2076207"/>
              <a:gd name="csX198" fmla="*/ 354213 w 748195"/>
              <a:gd name="csY198" fmla="*/ 543384 h 2076207"/>
              <a:gd name="csX199" fmla="*/ 365334 w 748195"/>
              <a:gd name="csY199" fmla="*/ 533397 h 2076207"/>
              <a:gd name="csX200" fmla="*/ 354531 w 748195"/>
              <a:gd name="csY200" fmla="*/ 521620 h 2076207"/>
              <a:gd name="csX201" fmla="*/ 259169 w 748195"/>
              <a:gd name="csY201" fmla="*/ 521978 h 2076207"/>
              <a:gd name="csX202" fmla="*/ 227796 w 748195"/>
              <a:gd name="csY202" fmla="*/ 528000 h 2076207"/>
              <a:gd name="csX203" fmla="*/ 508068 w 748195"/>
              <a:gd name="csY203" fmla="*/ 190710 h 2076207"/>
              <a:gd name="csX204" fmla="*/ 521293 w 748195"/>
              <a:gd name="csY204" fmla="*/ 205907 h 2076207"/>
              <a:gd name="csX205" fmla="*/ 525175 w 748195"/>
              <a:gd name="csY205" fmla="*/ 202985 h 2076207"/>
              <a:gd name="csX206" fmla="*/ 500276 w 748195"/>
              <a:gd name="csY206" fmla="*/ 160640 h 2076207"/>
              <a:gd name="csX207" fmla="*/ 497122 w 748195"/>
              <a:gd name="csY207" fmla="*/ 162007 h 2076207"/>
              <a:gd name="csX208" fmla="*/ 508068 w 748195"/>
              <a:gd name="csY208" fmla="*/ 190710 h 2076207"/>
              <a:gd name="csX209" fmla="*/ 215522 w 748195"/>
              <a:gd name="csY209" fmla="*/ 197296 h 2076207"/>
              <a:gd name="csX210" fmla="*/ 234029 w 748195"/>
              <a:gd name="csY210" fmla="*/ 162725 h 2076207"/>
              <a:gd name="csX211" fmla="*/ 229000 w 748195"/>
              <a:gd name="csY211" fmla="*/ 159902 h 2076207"/>
              <a:gd name="csX212" fmla="*/ 204824 w 748195"/>
              <a:gd name="csY212" fmla="*/ 199677 h 2076207"/>
              <a:gd name="csX213" fmla="*/ 207990 w 748195"/>
              <a:gd name="csY213" fmla="*/ 202198 h 2076207"/>
              <a:gd name="csX214" fmla="*/ 215522 w 748195"/>
              <a:gd name="csY214" fmla="*/ 197296 h 2076207"/>
              <a:gd name="csX215" fmla="*/ 484400 w 748195"/>
              <a:gd name="csY215" fmla="*/ 896678 h 2076207"/>
              <a:gd name="csX216" fmla="*/ 486181 w 748195"/>
              <a:gd name="csY216" fmla="*/ 896585 h 2076207"/>
              <a:gd name="csX217" fmla="*/ 486181 w 748195"/>
              <a:gd name="csY217" fmla="*/ 795289 h 2076207"/>
              <a:gd name="csX218" fmla="*/ 720241 w 748195"/>
              <a:gd name="csY218" fmla="*/ 2030666 h 2076207"/>
              <a:gd name="csX219" fmla="*/ 721175 w 748195"/>
              <a:gd name="csY219" fmla="*/ 2029733 h 2076207"/>
              <a:gd name="csX220" fmla="*/ 720241 w 748195"/>
              <a:gd name="csY220" fmla="*/ 2030666 h 2076207"/>
              <a:gd name="csX221" fmla="*/ 715702 w 748195"/>
              <a:gd name="csY221" fmla="*/ 2037051 h 2076207"/>
              <a:gd name="csX222" fmla="*/ 715702 w 748195"/>
              <a:gd name="csY222" fmla="*/ 2037051 h 2076207"/>
              <a:gd name="csX0" fmla="*/ 96263 w 748195"/>
              <a:gd name="csY0" fmla="*/ 2076207 h 2076207"/>
              <a:gd name="csX1" fmla="*/ 63862 w 748195"/>
              <a:gd name="csY1" fmla="*/ 2065388 h 2076207"/>
              <a:gd name="csX2" fmla="*/ 16555 w 748195"/>
              <a:gd name="csY2" fmla="*/ 2050152 h 2076207"/>
              <a:gd name="csX3" fmla="*/ 15 w 748195"/>
              <a:gd name="csY3" fmla="*/ 2023802 h 2076207"/>
              <a:gd name="csX4" fmla="*/ 18368 w 748195"/>
              <a:gd name="csY4" fmla="*/ 1940709 h 2076207"/>
              <a:gd name="csX5" fmla="*/ 22139 w 748195"/>
              <a:gd name="csY5" fmla="*/ 1907268 h 2076207"/>
              <a:gd name="csX6" fmla="*/ 57941 w 748195"/>
              <a:gd name="csY6" fmla="*/ 1774163 h 2076207"/>
              <a:gd name="csX7" fmla="*/ 102478 w 748195"/>
              <a:gd name="csY7" fmla="*/ 1720275 h 2076207"/>
              <a:gd name="csX8" fmla="*/ 108579 w 748195"/>
              <a:gd name="csY8" fmla="*/ 1650967 h 2076207"/>
              <a:gd name="csX9" fmla="*/ 115628 w 748195"/>
              <a:gd name="csY9" fmla="*/ 1625405 h 2076207"/>
              <a:gd name="csX10" fmla="*/ 156323 w 748195"/>
              <a:gd name="csY10" fmla="*/ 1560181 h 2076207"/>
              <a:gd name="csX11" fmla="*/ 199424 w 748195"/>
              <a:gd name="csY11" fmla="*/ 1364729 h 2076207"/>
              <a:gd name="csX12" fmla="*/ 216779 w 748195"/>
              <a:gd name="csY12" fmla="*/ 1219490 h 2076207"/>
              <a:gd name="csX13" fmla="*/ 229755 w 748195"/>
              <a:gd name="csY13" fmla="*/ 1099357 h 2076207"/>
              <a:gd name="csX14" fmla="*/ 232707 w 748195"/>
              <a:gd name="csY14" fmla="*/ 1056423 h 2076207"/>
              <a:gd name="csX15" fmla="*/ 235622 w 748195"/>
              <a:gd name="csY15" fmla="*/ 952675 h 2076207"/>
              <a:gd name="csX16" fmla="*/ 235445 w 748195"/>
              <a:gd name="csY16" fmla="*/ 780278 h 2076207"/>
              <a:gd name="csX17" fmla="*/ 214544 w 748195"/>
              <a:gd name="csY17" fmla="*/ 756435 h 2076207"/>
              <a:gd name="csX18" fmla="*/ 172569 w 748195"/>
              <a:gd name="csY18" fmla="*/ 742582 h 2076207"/>
              <a:gd name="csX19" fmla="*/ 168784 w 748195"/>
              <a:gd name="csY19" fmla="*/ 669116 h 2076207"/>
              <a:gd name="csX20" fmla="*/ 191657 w 748195"/>
              <a:gd name="csY20" fmla="*/ 630765 h 2076207"/>
              <a:gd name="csX21" fmla="*/ 208150 w 748195"/>
              <a:gd name="csY21" fmla="*/ 609084 h 2076207"/>
              <a:gd name="csX22" fmla="*/ 216756 w 748195"/>
              <a:gd name="csY22" fmla="*/ 558673 h 2076207"/>
              <a:gd name="csX23" fmla="*/ 209092 w 748195"/>
              <a:gd name="csY23" fmla="*/ 521540 h 2076207"/>
              <a:gd name="csX24" fmla="*/ 204683 w 748195"/>
              <a:gd name="csY24" fmla="*/ 474024 h 2076207"/>
              <a:gd name="csX25" fmla="*/ 115483 w 748195"/>
              <a:gd name="csY25" fmla="*/ 213499 h 2076207"/>
              <a:gd name="csX26" fmla="*/ 102909 w 748195"/>
              <a:gd name="csY26" fmla="*/ 182297 h 2076207"/>
              <a:gd name="csX27" fmla="*/ 104315 w 748195"/>
              <a:gd name="csY27" fmla="*/ 163968 h 2076207"/>
              <a:gd name="csX28" fmla="*/ 122444 w 748195"/>
              <a:gd name="csY28" fmla="*/ 160805 h 2076207"/>
              <a:gd name="csX29" fmla="*/ 170283 w 748195"/>
              <a:gd name="csY29" fmla="*/ 187783 h 2076207"/>
              <a:gd name="csX30" fmla="*/ 180938 w 748195"/>
              <a:gd name="csY30" fmla="*/ 195322 h 2076207"/>
              <a:gd name="csX31" fmla="*/ 221419 w 748195"/>
              <a:gd name="csY31" fmla="*/ 138058 h 2076207"/>
              <a:gd name="csX32" fmla="*/ 294099 w 748195"/>
              <a:gd name="csY32" fmla="*/ 91372 h 2076207"/>
              <a:gd name="csX33" fmla="*/ 302307 w 748195"/>
              <a:gd name="csY33" fmla="*/ 76560 h 2076207"/>
              <a:gd name="csX34" fmla="*/ 320284 w 748195"/>
              <a:gd name="csY34" fmla="*/ 8414 h 2076207"/>
              <a:gd name="csX35" fmla="*/ 324784 w 748195"/>
              <a:gd name="csY35" fmla="*/ 946 h 2076207"/>
              <a:gd name="csX36" fmla="*/ 399212 w 748195"/>
              <a:gd name="csY36" fmla="*/ 0 h 2076207"/>
              <a:gd name="csX37" fmla="*/ 425980 w 748195"/>
              <a:gd name="csY37" fmla="*/ 78301 h 2076207"/>
              <a:gd name="csX38" fmla="*/ 431861 w 748195"/>
              <a:gd name="csY38" fmla="*/ 90312 h 2076207"/>
              <a:gd name="csX39" fmla="*/ 540349 w 748195"/>
              <a:gd name="csY39" fmla="*/ 187946 h 2076207"/>
              <a:gd name="csX40" fmla="*/ 545555 w 748195"/>
              <a:gd name="csY40" fmla="*/ 197828 h 2076207"/>
              <a:gd name="csX41" fmla="*/ 587318 w 748195"/>
              <a:gd name="csY41" fmla="*/ 171260 h 2076207"/>
              <a:gd name="csX42" fmla="*/ 601503 w 748195"/>
              <a:gd name="csY42" fmla="*/ 163707 h 2076207"/>
              <a:gd name="csX43" fmla="*/ 625254 w 748195"/>
              <a:gd name="csY43" fmla="*/ 163123 h 2076207"/>
              <a:gd name="csX44" fmla="*/ 625468 w 748195"/>
              <a:gd name="csY44" fmla="*/ 187579 h 2076207"/>
              <a:gd name="csX45" fmla="*/ 597543 w 748195"/>
              <a:gd name="csY45" fmla="*/ 251872 h 2076207"/>
              <a:gd name="csX46" fmla="*/ 531831 w 748195"/>
              <a:gd name="csY46" fmla="*/ 442689 h 2076207"/>
              <a:gd name="csX47" fmla="*/ 519888 w 748195"/>
              <a:gd name="csY47" fmla="*/ 501474 h 2076207"/>
              <a:gd name="csX48" fmla="*/ 522506 w 748195"/>
              <a:gd name="csY48" fmla="*/ 525086 h 2076207"/>
              <a:gd name="csX49" fmla="*/ 516235 w 748195"/>
              <a:gd name="csY49" fmla="*/ 555946 h 2076207"/>
              <a:gd name="csX50" fmla="*/ 521332 w 748195"/>
              <a:gd name="csY50" fmla="*/ 610676 h 2076207"/>
              <a:gd name="csX51" fmla="*/ 541382 w 748195"/>
              <a:gd name="csY51" fmla="*/ 642597 h 2076207"/>
              <a:gd name="csX52" fmla="*/ 557031 w 748195"/>
              <a:gd name="csY52" fmla="*/ 667949 h 2076207"/>
              <a:gd name="csX53" fmla="*/ 553994 w 748195"/>
              <a:gd name="csY53" fmla="*/ 744146 h 2076207"/>
              <a:gd name="csX54" fmla="*/ 508215 w 748195"/>
              <a:gd name="csY54" fmla="*/ 758841 h 2076207"/>
              <a:gd name="csX55" fmla="*/ 497442 w 748195"/>
              <a:gd name="csY55" fmla="*/ 771256 h 2076207"/>
              <a:gd name="csX56" fmla="*/ 493005 w 748195"/>
              <a:gd name="csY56" fmla="*/ 922055 h 2076207"/>
              <a:gd name="csX57" fmla="*/ 502900 w 748195"/>
              <a:gd name="csY57" fmla="*/ 1114191 h 2076207"/>
              <a:gd name="csX58" fmla="*/ 508800 w 748195"/>
              <a:gd name="csY58" fmla="*/ 1205474 h 2076207"/>
              <a:gd name="csX59" fmla="*/ 522952 w 748195"/>
              <a:gd name="csY59" fmla="*/ 1320065 h 2076207"/>
              <a:gd name="csX60" fmla="*/ 554682 w 748195"/>
              <a:gd name="csY60" fmla="*/ 1501203 h 2076207"/>
              <a:gd name="csX61" fmla="*/ 576958 w 748195"/>
              <a:gd name="csY61" fmla="*/ 1593963 h 2076207"/>
              <a:gd name="csX62" fmla="*/ 595349 w 748195"/>
              <a:gd name="csY62" fmla="*/ 1613498 h 2076207"/>
              <a:gd name="csX63" fmla="*/ 613936 w 748195"/>
              <a:gd name="csY63" fmla="*/ 1624058 h 2076207"/>
              <a:gd name="csX64" fmla="*/ 620938 w 748195"/>
              <a:gd name="csY64" fmla="*/ 1652071 h 2076207"/>
              <a:gd name="csX65" fmla="*/ 630805 w 748195"/>
              <a:gd name="csY65" fmla="*/ 1721702 h 2076207"/>
              <a:gd name="csX66" fmla="*/ 685830 w 748195"/>
              <a:gd name="csY66" fmla="*/ 1792915 h 2076207"/>
              <a:gd name="csX67" fmla="*/ 708904 w 748195"/>
              <a:gd name="csY67" fmla="*/ 1890290 h 2076207"/>
              <a:gd name="csX68" fmla="*/ 716580 w 748195"/>
              <a:gd name="csY68" fmla="*/ 1951136 h 2076207"/>
              <a:gd name="csX69" fmla="*/ 729397 w 748195"/>
              <a:gd name="csY69" fmla="*/ 2030261 h 2076207"/>
              <a:gd name="csX70" fmla="*/ 714212 w 748195"/>
              <a:gd name="csY70" fmla="*/ 2049544 h 2076207"/>
              <a:gd name="csX71" fmla="*/ 645428 w 748195"/>
              <a:gd name="csY71" fmla="*/ 2070825 h 2076207"/>
              <a:gd name="csX72" fmla="*/ 667788 w 748195"/>
              <a:gd name="csY72" fmla="*/ 2056852 h 2076207"/>
              <a:gd name="csX73" fmla="*/ 706629 w 748195"/>
              <a:gd name="csY73" fmla="*/ 2044290 h 2076207"/>
              <a:gd name="csX74" fmla="*/ 702674 w 748195"/>
              <a:gd name="csY74" fmla="*/ 2041581 h 2076207"/>
              <a:gd name="csX75" fmla="*/ 96263 w 748195"/>
              <a:gd name="csY75" fmla="*/ 2076207 h 2076207"/>
              <a:gd name="csX76" fmla="*/ 489970 w 748195"/>
              <a:gd name="csY76" fmla="*/ 152208 h 2076207"/>
              <a:gd name="csX77" fmla="*/ 490754 w 748195"/>
              <a:gd name="csY77" fmla="*/ 152592 h 2076207"/>
              <a:gd name="csX78" fmla="*/ 489489 w 748195"/>
              <a:gd name="csY78" fmla="*/ 149547 h 2076207"/>
              <a:gd name="csX79" fmla="*/ 393621 w 748195"/>
              <a:gd name="csY79" fmla="*/ 99259 h 2076207"/>
              <a:gd name="csX80" fmla="*/ 390419 w 748195"/>
              <a:gd name="csY80" fmla="*/ 18568 h 2076207"/>
              <a:gd name="csX81" fmla="*/ 334131 w 748195"/>
              <a:gd name="csY81" fmla="*/ 24327 h 2076207"/>
              <a:gd name="csX82" fmla="*/ 344678 w 748195"/>
              <a:gd name="csY82" fmla="*/ 101259 h 2076207"/>
              <a:gd name="csX83" fmla="*/ 298854 w 748195"/>
              <a:gd name="csY83" fmla="*/ 114003 h 2076207"/>
              <a:gd name="csX84" fmla="*/ 237456 w 748195"/>
              <a:gd name="csY84" fmla="*/ 154340 h 2076207"/>
              <a:gd name="csX85" fmla="*/ 240382 w 748195"/>
              <a:gd name="csY85" fmla="*/ 154035 h 2076207"/>
              <a:gd name="csX86" fmla="*/ 262731 w 748195"/>
              <a:gd name="csY86" fmla="*/ 170426 h 2076207"/>
              <a:gd name="csX87" fmla="*/ 279169 w 748195"/>
              <a:gd name="csY87" fmla="*/ 193173 h 2076207"/>
              <a:gd name="csX88" fmla="*/ 327717 w 748195"/>
              <a:gd name="csY88" fmla="*/ 188556 h 2076207"/>
              <a:gd name="csX89" fmla="*/ 348052 w 748195"/>
              <a:gd name="csY89" fmla="*/ 156919 h 2076207"/>
              <a:gd name="csX90" fmla="*/ 380330 w 748195"/>
              <a:gd name="csY90" fmla="*/ 156483 h 2076207"/>
              <a:gd name="csX91" fmla="*/ 408490 w 748195"/>
              <a:gd name="csY91" fmla="*/ 195400 h 2076207"/>
              <a:gd name="csX92" fmla="*/ 445346 w 748195"/>
              <a:gd name="csY92" fmla="*/ 197582 h 2076207"/>
              <a:gd name="csX93" fmla="*/ 464798 w 748195"/>
              <a:gd name="csY93" fmla="*/ 174107 h 2076207"/>
              <a:gd name="csX94" fmla="*/ 489970 w 748195"/>
              <a:gd name="csY94" fmla="*/ 152208 h 2076207"/>
              <a:gd name="csX95" fmla="*/ 140694 w 748195"/>
              <a:gd name="csY95" fmla="*/ 201837 h 2076207"/>
              <a:gd name="csX96" fmla="*/ 139834 w 748195"/>
              <a:gd name="csY96" fmla="*/ 201482 h 2076207"/>
              <a:gd name="csX97" fmla="*/ 140812 w 748195"/>
              <a:gd name="csY97" fmla="*/ 204941 h 2076207"/>
              <a:gd name="csX98" fmla="*/ 144631 w 748195"/>
              <a:gd name="csY98" fmla="*/ 217811 h 2076207"/>
              <a:gd name="csX99" fmla="*/ 201241 w 748195"/>
              <a:gd name="csY99" fmla="*/ 373387 h 2076207"/>
              <a:gd name="csX100" fmla="*/ 235971 w 748195"/>
              <a:gd name="csY100" fmla="*/ 504451 h 2076207"/>
              <a:gd name="csX101" fmla="*/ 247475 w 748195"/>
              <a:gd name="csY101" fmla="*/ 513241 h 2076207"/>
              <a:gd name="csX102" fmla="*/ 289066 w 748195"/>
              <a:gd name="csY102" fmla="*/ 511170 h 2076207"/>
              <a:gd name="csX103" fmla="*/ 378229 w 748195"/>
              <a:gd name="csY103" fmla="*/ 511084 h 2076207"/>
              <a:gd name="csX104" fmla="*/ 470850 w 748195"/>
              <a:gd name="csY104" fmla="*/ 516341 h 2076207"/>
              <a:gd name="csX105" fmla="*/ 492933 w 748195"/>
              <a:gd name="csY105" fmla="*/ 497969 h 2076207"/>
              <a:gd name="csX106" fmla="*/ 557617 w 748195"/>
              <a:gd name="csY106" fmla="*/ 280398 h 2076207"/>
              <a:gd name="csX107" fmla="*/ 588788 w 748195"/>
              <a:gd name="csY107" fmla="*/ 200385 h 2076207"/>
              <a:gd name="csX108" fmla="*/ 530958 w 748195"/>
              <a:gd name="csY108" fmla="*/ 232968 h 2076207"/>
              <a:gd name="csX109" fmla="*/ 483823 w 748195"/>
              <a:gd name="csY109" fmla="*/ 190364 h 2076207"/>
              <a:gd name="csX110" fmla="*/ 466649 w 748195"/>
              <a:gd name="csY110" fmla="*/ 209061 h 2076207"/>
              <a:gd name="csX111" fmla="*/ 399941 w 748195"/>
              <a:gd name="csY111" fmla="*/ 216988 h 2076207"/>
              <a:gd name="csX112" fmla="*/ 363018 w 748195"/>
              <a:gd name="csY112" fmla="*/ 179615 h 2076207"/>
              <a:gd name="csX113" fmla="*/ 308839 w 748195"/>
              <a:gd name="csY113" fmla="*/ 227846 h 2076207"/>
              <a:gd name="csX114" fmla="*/ 245077 w 748195"/>
              <a:gd name="csY114" fmla="*/ 192402 h 2076207"/>
              <a:gd name="csX115" fmla="*/ 242829 w 748195"/>
              <a:gd name="csY115" fmla="*/ 198815 h 2076207"/>
              <a:gd name="csX116" fmla="*/ 168452 w 748195"/>
              <a:gd name="csY116" fmla="*/ 219348 h 2076207"/>
              <a:gd name="csX117" fmla="*/ 140694 w 748195"/>
              <a:gd name="csY117" fmla="*/ 201837 h 2076207"/>
              <a:gd name="csX118" fmla="*/ 259999 w 748195"/>
              <a:gd name="csY118" fmla="*/ 966699 h 2076207"/>
              <a:gd name="csX119" fmla="*/ 257072 w 748195"/>
              <a:gd name="csY119" fmla="*/ 1070424 h 2076207"/>
              <a:gd name="csX120" fmla="*/ 251372 w 748195"/>
              <a:gd name="csY120" fmla="*/ 1157618 h 2076207"/>
              <a:gd name="csX121" fmla="*/ 232677 w 748195"/>
              <a:gd name="csY121" fmla="*/ 1320279 h 2076207"/>
              <a:gd name="csX122" fmla="*/ 209182 w 748195"/>
              <a:gd name="csY122" fmla="*/ 1468667 h 2076207"/>
              <a:gd name="csX123" fmla="*/ 175302 w 748195"/>
              <a:gd name="csY123" fmla="*/ 1616623 h 2076207"/>
              <a:gd name="csX124" fmla="*/ 182769 w 748195"/>
              <a:gd name="csY124" fmla="*/ 1629786 h 2076207"/>
              <a:gd name="csX125" fmla="*/ 212156 w 748195"/>
              <a:gd name="csY125" fmla="*/ 1632656 h 2076207"/>
              <a:gd name="csX126" fmla="*/ 351295 w 748195"/>
              <a:gd name="csY126" fmla="*/ 1632801 h 2076207"/>
              <a:gd name="csX127" fmla="*/ 376150 w 748195"/>
              <a:gd name="csY127" fmla="*/ 1608307 h 2076207"/>
              <a:gd name="csX128" fmla="*/ 373450 w 748195"/>
              <a:gd name="csY128" fmla="*/ 1457291 h 2076207"/>
              <a:gd name="csX129" fmla="*/ 370936 w 748195"/>
              <a:gd name="csY129" fmla="*/ 1342736 h 2076207"/>
              <a:gd name="csX130" fmla="*/ 368328 w 748195"/>
              <a:gd name="csY130" fmla="*/ 1203878 h 2076207"/>
              <a:gd name="csX131" fmla="*/ 367836 w 748195"/>
              <a:gd name="csY131" fmla="*/ 813478 h 2076207"/>
              <a:gd name="csX132" fmla="*/ 365240 w 748195"/>
              <a:gd name="csY132" fmla="*/ 773243 h 2076207"/>
              <a:gd name="csX133" fmla="*/ 353084 w 748195"/>
              <a:gd name="csY133" fmla="*/ 762083 h 2076207"/>
              <a:gd name="csX134" fmla="*/ 280966 w 748195"/>
              <a:gd name="csY134" fmla="*/ 759855 h 2076207"/>
              <a:gd name="csX135" fmla="*/ 259965 w 748195"/>
              <a:gd name="csY135" fmla="*/ 779553 h 2076207"/>
              <a:gd name="csX136" fmla="*/ 262341 w 748195"/>
              <a:gd name="csY136" fmla="*/ 856275 h 2076207"/>
              <a:gd name="csX137" fmla="*/ 259999 w 748195"/>
              <a:gd name="csY137" fmla="*/ 966699 h 2076207"/>
              <a:gd name="csX138" fmla="*/ 55556 w 748195"/>
              <a:gd name="csY138" fmla="*/ 1835827 h 2076207"/>
              <a:gd name="csX139" fmla="*/ 49393 w 748195"/>
              <a:gd name="csY139" fmla="*/ 1878155 h 2076207"/>
              <a:gd name="csX140" fmla="*/ 73949 w 748195"/>
              <a:gd name="csY140" fmla="*/ 1905781 h 2076207"/>
              <a:gd name="csX141" fmla="*/ 110073 w 748195"/>
              <a:gd name="csY141" fmla="*/ 1909068 h 2076207"/>
              <a:gd name="csX142" fmla="*/ 224745 w 748195"/>
              <a:gd name="csY142" fmla="*/ 1921652 h 2076207"/>
              <a:gd name="csX143" fmla="*/ 347327 w 748195"/>
              <a:gd name="csY143" fmla="*/ 1924778 h 2076207"/>
              <a:gd name="csX144" fmla="*/ 363345 w 748195"/>
              <a:gd name="csY144" fmla="*/ 1923293 h 2076207"/>
              <a:gd name="csX145" fmla="*/ 373787 w 748195"/>
              <a:gd name="csY145" fmla="*/ 1911200 h 2076207"/>
              <a:gd name="csX146" fmla="*/ 376623 w 748195"/>
              <a:gd name="csY146" fmla="*/ 1696741 h 2076207"/>
              <a:gd name="csX147" fmla="*/ 360437 w 748195"/>
              <a:gd name="csY147" fmla="*/ 1681289 h 2076207"/>
              <a:gd name="csX148" fmla="*/ 263503 w 748195"/>
              <a:gd name="csY148" fmla="*/ 1678179 h 2076207"/>
              <a:gd name="csX149" fmla="*/ 160381 w 748195"/>
              <a:gd name="csY149" fmla="*/ 1670405 h 2076207"/>
              <a:gd name="csX150" fmla="*/ 143321 w 748195"/>
              <a:gd name="csY150" fmla="*/ 1685538 h 2076207"/>
              <a:gd name="csX151" fmla="*/ 124769 w 748195"/>
              <a:gd name="csY151" fmla="*/ 1738195 h 2076207"/>
              <a:gd name="csX152" fmla="*/ 90593 w 748195"/>
              <a:gd name="csY152" fmla="*/ 1779570 h 2076207"/>
              <a:gd name="csX153" fmla="*/ 55556 w 748195"/>
              <a:gd name="csY153" fmla="*/ 1835827 h 2076207"/>
              <a:gd name="csX154" fmla="*/ 378900 w 748195"/>
              <a:gd name="csY154" fmla="*/ 2007280 h 2076207"/>
              <a:gd name="csX155" fmla="*/ 378887 w 748195"/>
              <a:gd name="csY155" fmla="*/ 1995127 h 2076207"/>
              <a:gd name="csX156" fmla="*/ 359084 w 748195"/>
              <a:gd name="csY156" fmla="*/ 1975964 h 2076207"/>
              <a:gd name="csX157" fmla="*/ 247288 w 748195"/>
              <a:gd name="csY157" fmla="*/ 1973305 h 2076207"/>
              <a:gd name="csX158" fmla="*/ 201692 w 748195"/>
              <a:gd name="csY158" fmla="*/ 1970275 h 2076207"/>
              <a:gd name="csX159" fmla="*/ 57962 w 748195"/>
              <a:gd name="csY159" fmla="*/ 1952648 h 2076207"/>
              <a:gd name="csX160" fmla="*/ 39194 w 748195"/>
              <a:gd name="csY160" fmla="*/ 1963552 h 2076207"/>
              <a:gd name="csX161" fmla="*/ 30066 w 748195"/>
              <a:gd name="csY161" fmla="*/ 2006631 h 2076207"/>
              <a:gd name="csX162" fmla="*/ 40232 w 748195"/>
              <a:gd name="csY162" fmla="*/ 2019486 h 2076207"/>
              <a:gd name="csX163" fmla="*/ 238186 w 748195"/>
              <a:gd name="csY163" fmla="*/ 2046096 h 2076207"/>
              <a:gd name="csX164" fmla="*/ 342155 w 748195"/>
              <a:gd name="csY164" fmla="*/ 2046441 h 2076207"/>
              <a:gd name="csX165" fmla="*/ 378900 w 748195"/>
              <a:gd name="csY165" fmla="*/ 2007280 h 2076207"/>
              <a:gd name="csX166" fmla="*/ 310220 w 748195"/>
              <a:gd name="csY166" fmla="*/ 554288 h 2076207"/>
              <a:gd name="csX167" fmla="*/ 259136 w 748195"/>
              <a:gd name="csY167" fmla="*/ 556881 h 2076207"/>
              <a:gd name="csX168" fmla="*/ 249085 w 748195"/>
              <a:gd name="csY168" fmla="*/ 567981 h 2076207"/>
              <a:gd name="csX169" fmla="*/ 249141 w 748195"/>
              <a:gd name="csY169" fmla="*/ 605644 h 2076207"/>
              <a:gd name="csX170" fmla="*/ 262628 w 748195"/>
              <a:gd name="csY170" fmla="*/ 605627 h 2076207"/>
              <a:gd name="csX171" fmla="*/ 369608 w 748195"/>
              <a:gd name="csY171" fmla="*/ 603027 h 2076207"/>
              <a:gd name="csX172" fmla="*/ 463931 w 748195"/>
              <a:gd name="csY172" fmla="*/ 605146 h 2076207"/>
              <a:gd name="csX173" fmla="*/ 478113 w 748195"/>
              <a:gd name="csY173" fmla="*/ 595843 h 2076207"/>
              <a:gd name="csX174" fmla="*/ 478796 w 748195"/>
              <a:gd name="csY174" fmla="*/ 556832 h 2076207"/>
              <a:gd name="csX175" fmla="*/ 310220 w 748195"/>
              <a:gd name="csY175" fmla="*/ 554288 h 2076207"/>
              <a:gd name="csX176" fmla="*/ 348836 w 748195"/>
              <a:gd name="csY176" fmla="*/ 684115 h 2076207"/>
              <a:gd name="csX177" fmla="*/ 281333 w 748195"/>
              <a:gd name="csY177" fmla="*/ 683313 h 2076207"/>
              <a:gd name="csX178" fmla="*/ 212728 w 748195"/>
              <a:gd name="csY178" fmla="*/ 681931 h 2076207"/>
              <a:gd name="csX179" fmla="*/ 187283 w 748195"/>
              <a:gd name="csY179" fmla="*/ 689555 h 2076207"/>
              <a:gd name="csX180" fmla="*/ 186163 w 748195"/>
              <a:gd name="csY180" fmla="*/ 718266 h 2076207"/>
              <a:gd name="csX181" fmla="*/ 209894 w 748195"/>
              <a:gd name="csY181" fmla="*/ 726798 h 2076207"/>
              <a:gd name="csX182" fmla="*/ 334814 w 748195"/>
              <a:gd name="csY182" fmla="*/ 732494 h 2076207"/>
              <a:gd name="csX183" fmla="*/ 364856 w 748195"/>
              <a:gd name="csY183" fmla="*/ 707963 h 2076207"/>
              <a:gd name="csX184" fmla="*/ 348836 w 748195"/>
              <a:gd name="csY184" fmla="*/ 684115 h 2076207"/>
              <a:gd name="csX185" fmla="*/ 298865 w 748195"/>
              <a:gd name="csY185" fmla="*/ 621954 h 2076207"/>
              <a:gd name="csX186" fmla="*/ 251619 w 748195"/>
              <a:gd name="csY186" fmla="*/ 622133 h 2076207"/>
              <a:gd name="csX187" fmla="*/ 214459 w 748195"/>
              <a:gd name="csY187" fmla="*/ 636230 h 2076207"/>
              <a:gd name="csX188" fmla="*/ 221436 w 748195"/>
              <a:gd name="csY188" fmla="*/ 654205 h 2076207"/>
              <a:gd name="csX189" fmla="*/ 272412 w 748195"/>
              <a:gd name="csY189" fmla="*/ 657250 h 2076207"/>
              <a:gd name="csX190" fmla="*/ 349094 w 748195"/>
              <a:gd name="csY190" fmla="*/ 659282 h 2076207"/>
              <a:gd name="csX191" fmla="*/ 362996 w 748195"/>
              <a:gd name="csY191" fmla="*/ 644234 h 2076207"/>
              <a:gd name="csX192" fmla="*/ 348472 w 748195"/>
              <a:gd name="csY192" fmla="*/ 624649 h 2076207"/>
              <a:gd name="csX193" fmla="*/ 298865 w 748195"/>
              <a:gd name="csY193" fmla="*/ 621954 h 2076207"/>
              <a:gd name="csX194" fmla="*/ 227796 w 748195"/>
              <a:gd name="csY194" fmla="*/ 528000 h 2076207"/>
              <a:gd name="csX195" fmla="*/ 241009 w 748195"/>
              <a:gd name="csY195" fmla="*/ 545897 h 2076207"/>
              <a:gd name="csX196" fmla="*/ 282607 w 748195"/>
              <a:gd name="csY196" fmla="*/ 543480 h 2076207"/>
              <a:gd name="csX197" fmla="*/ 354213 w 748195"/>
              <a:gd name="csY197" fmla="*/ 543384 h 2076207"/>
              <a:gd name="csX198" fmla="*/ 365334 w 748195"/>
              <a:gd name="csY198" fmla="*/ 533397 h 2076207"/>
              <a:gd name="csX199" fmla="*/ 354531 w 748195"/>
              <a:gd name="csY199" fmla="*/ 521620 h 2076207"/>
              <a:gd name="csX200" fmla="*/ 259169 w 748195"/>
              <a:gd name="csY200" fmla="*/ 521978 h 2076207"/>
              <a:gd name="csX201" fmla="*/ 227796 w 748195"/>
              <a:gd name="csY201" fmla="*/ 528000 h 2076207"/>
              <a:gd name="csX202" fmla="*/ 508068 w 748195"/>
              <a:gd name="csY202" fmla="*/ 190710 h 2076207"/>
              <a:gd name="csX203" fmla="*/ 521293 w 748195"/>
              <a:gd name="csY203" fmla="*/ 205907 h 2076207"/>
              <a:gd name="csX204" fmla="*/ 525175 w 748195"/>
              <a:gd name="csY204" fmla="*/ 202985 h 2076207"/>
              <a:gd name="csX205" fmla="*/ 500276 w 748195"/>
              <a:gd name="csY205" fmla="*/ 160640 h 2076207"/>
              <a:gd name="csX206" fmla="*/ 497122 w 748195"/>
              <a:gd name="csY206" fmla="*/ 162007 h 2076207"/>
              <a:gd name="csX207" fmla="*/ 508068 w 748195"/>
              <a:gd name="csY207" fmla="*/ 190710 h 2076207"/>
              <a:gd name="csX208" fmla="*/ 215522 w 748195"/>
              <a:gd name="csY208" fmla="*/ 197296 h 2076207"/>
              <a:gd name="csX209" fmla="*/ 234029 w 748195"/>
              <a:gd name="csY209" fmla="*/ 162725 h 2076207"/>
              <a:gd name="csX210" fmla="*/ 229000 w 748195"/>
              <a:gd name="csY210" fmla="*/ 159902 h 2076207"/>
              <a:gd name="csX211" fmla="*/ 204824 w 748195"/>
              <a:gd name="csY211" fmla="*/ 199677 h 2076207"/>
              <a:gd name="csX212" fmla="*/ 207990 w 748195"/>
              <a:gd name="csY212" fmla="*/ 202198 h 2076207"/>
              <a:gd name="csX213" fmla="*/ 215522 w 748195"/>
              <a:gd name="csY213" fmla="*/ 197296 h 2076207"/>
              <a:gd name="csX214" fmla="*/ 484400 w 748195"/>
              <a:gd name="csY214" fmla="*/ 896678 h 2076207"/>
              <a:gd name="csX215" fmla="*/ 486181 w 748195"/>
              <a:gd name="csY215" fmla="*/ 896585 h 2076207"/>
              <a:gd name="csX216" fmla="*/ 486181 w 748195"/>
              <a:gd name="csY216" fmla="*/ 795289 h 2076207"/>
              <a:gd name="csX217" fmla="*/ 720241 w 748195"/>
              <a:gd name="csY217" fmla="*/ 2030666 h 2076207"/>
              <a:gd name="csX218" fmla="*/ 721175 w 748195"/>
              <a:gd name="csY218" fmla="*/ 2029733 h 2076207"/>
              <a:gd name="csX219" fmla="*/ 720241 w 748195"/>
              <a:gd name="csY219" fmla="*/ 2030666 h 2076207"/>
              <a:gd name="csX220" fmla="*/ 715702 w 748195"/>
              <a:gd name="csY220" fmla="*/ 2037051 h 2076207"/>
              <a:gd name="csX221" fmla="*/ 715702 w 748195"/>
              <a:gd name="csY221" fmla="*/ 2037051 h 2076207"/>
              <a:gd name="csX0" fmla="*/ 96263 w 748195"/>
              <a:gd name="csY0" fmla="*/ 2076207 h 2076207"/>
              <a:gd name="csX1" fmla="*/ 63862 w 748195"/>
              <a:gd name="csY1" fmla="*/ 2065388 h 2076207"/>
              <a:gd name="csX2" fmla="*/ 16555 w 748195"/>
              <a:gd name="csY2" fmla="*/ 2050152 h 2076207"/>
              <a:gd name="csX3" fmla="*/ 15 w 748195"/>
              <a:gd name="csY3" fmla="*/ 2023802 h 2076207"/>
              <a:gd name="csX4" fmla="*/ 18368 w 748195"/>
              <a:gd name="csY4" fmla="*/ 1940709 h 2076207"/>
              <a:gd name="csX5" fmla="*/ 22139 w 748195"/>
              <a:gd name="csY5" fmla="*/ 1907268 h 2076207"/>
              <a:gd name="csX6" fmla="*/ 57941 w 748195"/>
              <a:gd name="csY6" fmla="*/ 1774163 h 2076207"/>
              <a:gd name="csX7" fmla="*/ 102478 w 748195"/>
              <a:gd name="csY7" fmla="*/ 1720275 h 2076207"/>
              <a:gd name="csX8" fmla="*/ 108579 w 748195"/>
              <a:gd name="csY8" fmla="*/ 1650967 h 2076207"/>
              <a:gd name="csX9" fmla="*/ 115628 w 748195"/>
              <a:gd name="csY9" fmla="*/ 1625405 h 2076207"/>
              <a:gd name="csX10" fmla="*/ 156323 w 748195"/>
              <a:gd name="csY10" fmla="*/ 1560181 h 2076207"/>
              <a:gd name="csX11" fmla="*/ 199424 w 748195"/>
              <a:gd name="csY11" fmla="*/ 1364729 h 2076207"/>
              <a:gd name="csX12" fmla="*/ 216779 w 748195"/>
              <a:gd name="csY12" fmla="*/ 1219490 h 2076207"/>
              <a:gd name="csX13" fmla="*/ 229755 w 748195"/>
              <a:gd name="csY13" fmla="*/ 1099357 h 2076207"/>
              <a:gd name="csX14" fmla="*/ 232707 w 748195"/>
              <a:gd name="csY14" fmla="*/ 1056423 h 2076207"/>
              <a:gd name="csX15" fmla="*/ 235622 w 748195"/>
              <a:gd name="csY15" fmla="*/ 952675 h 2076207"/>
              <a:gd name="csX16" fmla="*/ 235445 w 748195"/>
              <a:gd name="csY16" fmla="*/ 780278 h 2076207"/>
              <a:gd name="csX17" fmla="*/ 214544 w 748195"/>
              <a:gd name="csY17" fmla="*/ 756435 h 2076207"/>
              <a:gd name="csX18" fmla="*/ 172569 w 748195"/>
              <a:gd name="csY18" fmla="*/ 742582 h 2076207"/>
              <a:gd name="csX19" fmla="*/ 168784 w 748195"/>
              <a:gd name="csY19" fmla="*/ 669116 h 2076207"/>
              <a:gd name="csX20" fmla="*/ 191657 w 748195"/>
              <a:gd name="csY20" fmla="*/ 630765 h 2076207"/>
              <a:gd name="csX21" fmla="*/ 208150 w 748195"/>
              <a:gd name="csY21" fmla="*/ 609084 h 2076207"/>
              <a:gd name="csX22" fmla="*/ 216756 w 748195"/>
              <a:gd name="csY22" fmla="*/ 558673 h 2076207"/>
              <a:gd name="csX23" fmla="*/ 209092 w 748195"/>
              <a:gd name="csY23" fmla="*/ 521540 h 2076207"/>
              <a:gd name="csX24" fmla="*/ 204683 w 748195"/>
              <a:gd name="csY24" fmla="*/ 474024 h 2076207"/>
              <a:gd name="csX25" fmla="*/ 115483 w 748195"/>
              <a:gd name="csY25" fmla="*/ 213499 h 2076207"/>
              <a:gd name="csX26" fmla="*/ 102909 w 748195"/>
              <a:gd name="csY26" fmla="*/ 182297 h 2076207"/>
              <a:gd name="csX27" fmla="*/ 104315 w 748195"/>
              <a:gd name="csY27" fmla="*/ 163968 h 2076207"/>
              <a:gd name="csX28" fmla="*/ 122444 w 748195"/>
              <a:gd name="csY28" fmla="*/ 160805 h 2076207"/>
              <a:gd name="csX29" fmla="*/ 170283 w 748195"/>
              <a:gd name="csY29" fmla="*/ 187783 h 2076207"/>
              <a:gd name="csX30" fmla="*/ 180938 w 748195"/>
              <a:gd name="csY30" fmla="*/ 195322 h 2076207"/>
              <a:gd name="csX31" fmla="*/ 221419 w 748195"/>
              <a:gd name="csY31" fmla="*/ 138058 h 2076207"/>
              <a:gd name="csX32" fmla="*/ 294099 w 748195"/>
              <a:gd name="csY32" fmla="*/ 91372 h 2076207"/>
              <a:gd name="csX33" fmla="*/ 302307 w 748195"/>
              <a:gd name="csY33" fmla="*/ 76560 h 2076207"/>
              <a:gd name="csX34" fmla="*/ 320284 w 748195"/>
              <a:gd name="csY34" fmla="*/ 8414 h 2076207"/>
              <a:gd name="csX35" fmla="*/ 324784 w 748195"/>
              <a:gd name="csY35" fmla="*/ 946 h 2076207"/>
              <a:gd name="csX36" fmla="*/ 399212 w 748195"/>
              <a:gd name="csY36" fmla="*/ 0 h 2076207"/>
              <a:gd name="csX37" fmla="*/ 425980 w 748195"/>
              <a:gd name="csY37" fmla="*/ 78301 h 2076207"/>
              <a:gd name="csX38" fmla="*/ 431861 w 748195"/>
              <a:gd name="csY38" fmla="*/ 90312 h 2076207"/>
              <a:gd name="csX39" fmla="*/ 540349 w 748195"/>
              <a:gd name="csY39" fmla="*/ 187946 h 2076207"/>
              <a:gd name="csX40" fmla="*/ 545555 w 748195"/>
              <a:gd name="csY40" fmla="*/ 197828 h 2076207"/>
              <a:gd name="csX41" fmla="*/ 587318 w 748195"/>
              <a:gd name="csY41" fmla="*/ 171260 h 2076207"/>
              <a:gd name="csX42" fmla="*/ 601503 w 748195"/>
              <a:gd name="csY42" fmla="*/ 163707 h 2076207"/>
              <a:gd name="csX43" fmla="*/ 625254 w 748195"/>
              <a:gd name="csY43" fmla="*/ 163123 h 2076207"/>
              <a:gd name="csX44" fmla="*/ 625468 w 748195"/>
              <a:gd name="csY44" fmla="*/ 187579 h 2076207"/>
              <a:gd name="csX45" fmla="*/ 597543 w 748195"/>
              <a:gd name="csY45" fmla="*/ 251872 h 2076207"/>
              <a:gd name="csX46" fmla="*/ 531831 w 748195"/>
              <a:gd name="csY46" fmla="*/ 442689 h 2076207"/>
              <a:gd name="csX47" fmla="*/ 519888 w 748195"/>
              <a:gd name="csY47" fmla="*/ 501474 h 2076207"/>
              <a:gd name="csX48" fmla="*/ 522506 w 748195"/>
              <a:gd name="csY48" fmla="*/ 525086 h 2076207"/>
              <a:gd name="csX49" fmla="*/ 516235 w 748195"/>
              <a:gd name="csY49" fmla="*/ 555946 h 2076207"/>
              <a:gd name="csX50" fmla="*/ 521332 w 748195"/>
              <a:gd name="csY50" fmla="*/ 610676 h 2076207"/>
              <a:gd name="csX51" fmla="*/ 541382 w 748195"/>
              <a:gd name="csY51" fmla="*/ 642597 h 2076207"/>
              <a:gd name="csX52" fmla="*/ 557031 w 748195"/>
              <a:gd name="csY52" fmla="*/ 667949 h 2076207"/>
              <a:gd name="csX53" fmla="*/ 553994 w 748195"/>
              <a:gd name="csY53" fmla="*/ 744146 h 2076207"/>
              <a:gd name="csX54" fmla="*/ 508215 w 748195"/>
              <a:gd name="csY54" fmla="*/ 758841 h 2076207"/>
              <a:gd name="csX55" fmla="*/ 497442 w 748195"/>
              <a:gd name="csY55" fmla="*/ 771256 h 2076207"/>
              <a:gd name="csX56" fmla="*/ 493005 w 748195"/>
              <a:gd name="csY56" fmla="*/ 922055 h 2076207"/>
              <a:gd name="csX57" fmla="*/ 502900 w 748195"/>
              <a:gd name="csY57" fmla="*/ 1114191 h 2076207"/>
              <a:gd name="csX58" fmla="*/ 508800 w 748195"/>
              <a:gd name="csY58" fmla="*/ 1205474 h 2076207"/>
              <a:gd name="csX59" fmla="*/ 522952 w 748195"/>
              <a:gd name="csY59" fmla="*/ 1320065 h 2076207"/>
              <a:gd name="csX60" fmla="*/ 554682 w 748195"/>
              <a:gd name="csY60" fmla="*/ 1501203 h 2076207"/>
              <a:gd name="csX61" fmla="*/ 576958 w 748195"/>
              <a:gd name="csY61" fmla="*/ 1593963 h 2076207"/>
              <a:gd name="csX62" fmla="*/ 595349 w 748195"/>
              <a:gd name="csY62" fmla="*/ 1613498 h 2076207"/>
              <a:gd name="csX63" fmla="*/ 613936 w 748195"/>
              <a:gd name="csY63" fmla="*/ 1624058 h 2076207"/>
              <a:gd name="csX64" fmla="*/ 620938 w 748195"/>
              <a:gd name="csY64" fmla="*/ 1652071 h 2076207"/>
              <a:gd name="csX65" fmla="*/ 630805 w 748195"/>
              <a:gd name="csY65" fmla="*/ 1721702 h 2076207"/>
              <a:gd name="csX66" fmla="*/ 685830 w 748195"/>
              <a:gd name="csY66" fmla="*/ 1792915 h 2076207"/>
              <a:gd name="csX67" fmla="*/ 708904 w 748195"/>
              <a:gd name="csY67" fmla="*/ 1890290 h 2076207"/>
              <a:gd name="csX68" fmla="*/ 716580 w 748195"/>
              <a:gd name="csY68" fmla="*/ 1951136 h 2076207"/>
              <a:gd name="csX69" fmla="*/ 729397 w 748195"/>
              <a:gd name="csY69" fmla="*/ 2030261 h 2076207"/>
              <a:gd name="csX70" fmla="*/ 714212 w 748195"/>
              <a:gd name="csY70" fmla="*/ 2049544 h 2076207"/>
              <a:gd name="csX71" fmla="*/ 667788 w 748195"/>
              <a:gd name="csY71" fmla="*/ 2056852 h 2076207"/>
              <a:gd name="csX72" fmla="*/ 706629 w 748195"/>
              <a:gd name="csY72" fmla="*/ 2044290 h 2076207"/>
              <a:gd name="csX73" fmla="*/ 702674 w 748195"/>
              <a:gd name="csY73" fmla="*/ 2041581 h 2076207"/>
              <a:gd name="csX74" fmla="*/ 96263 w 748195"/>
              <a:gd name="csY74" fmla="*/ 2076207 h 2076207"/>
              <a:gd name="csX75" fmla="*/ 489970 w 748195"/>
              <a:gd name="csY75" fmla="*/ 152208 h 2076207"/>
              <a:gd name="csX76" fmla="*/ 490754 w 748195"/>
              <a:gd name="csY76" fmla="*/ 152592 h 2076207"/>
              <a:gd name="csX77" fmla="*/ 489489 w 748195"/>
              <a:gd name="csY77" fmla="*/ 149547 h 2076207"/>
              <a:gd name="csX78" fmla="*/ 393621 w 748195"/>
              <a:gd name="csY78" fmla="*/ 99259 h 2076207"/>
              <a:gd name="csX79" fmla="*/ 390419 w 748195"/>
              <a:gd name="csY79" fmla="*/ 18568 h 2076207"/>
              <a:gd name="csX80" fmla="*/ 334131 w 748195"/>
              <a:gd name="csY80" fmla="*/ 24327 h 2076207"/>
              <a:gd name="csX81" fmla="*/ 344678 w 748195"/>
              <a:gd name="csY81" fmla="*/ 101259 h 2076207"/>
              <a:gd name="csX82" fmla="*/ 298854 w 748195"/>
              <a:gd name="csY82" fmla="*/ 114003 h 2076207"/>
              <a:gd name="csX83" fmla="*/ 237456 w 748195"/>
              <a:gd name="csY83" fmla="*/ 154340 h 2076207"/>
              <a:gd name="csX84" fmla="*/ 240382 w 748195"/>
              <a:gd name="csY84" fmla="*/ 154035 h 2076207"/>
              <a:gd name="csX85" fmla="*/ 262731 w 748195"/>
              <a:gd name="csY85" fmla="*/ 170426 h 2076207"/>
              <a:gd name="csX86" fmla="*/ 279169 w 748195"/>
              <a:gd name="csY86" fmla="*/ 193173 h 2076207"/>
              <a:gd name="csX87" fmla="*/ 327717 w 748195"/>
              <a:gd name="csY87" fmla="*/ 188556 h 2076207"/>
              <a:gd name="csX88" fmla="*/ 348052 w 748195"/>
              <a:gd name="csY88" fmla="*/ 156919 h 2076207"/>
              <a:gd name="csX89" fmla="*/ 380330 w 748195"/>
              <a:gd name="csY89" fmla="*/ 156483 h 2076207"/>
              <a:gd name="csX90" fmla="*/ 408490 w 748195"/>
              <a:gd name="csY90" fmla="*/ 195400 h 2076207"/>
              <a:gd name="csX91" fmla="*/ 445346 w 748195"/>
              <a:gd name="csY91" fmla="*/ 197582 h 2076207"/>
              <a:gd name="csX92" fmla="*/ 464798 w 748195"/>
              <a:gd name="csY92" fmla="*/ 174107 h 2076207"/>
              <a:gd name="csX93" fmla="*/ 489970 w 748195"/>
              <a:gd name="csY93" fmla="*/ 152208 h 2076207"/>
              <a:gd name="csX94" fmla="*/ 140694 w 748195"/>
              <a:gd name="csY94" fmla="*/ 201837 h 2076207"/>
              <a:gd name="csX95" fmla="*/ 139834 w 748195"/>
              <a:gd name="csY95" fmla="*/ 201482 h 2076207"/>
              <a:gd name="csX96" fmla="*/ 140812 w 748195"/>
              <a:gd name="csY96" fmla="*/ 204941 h 2076207"/>
              <a:gd name="csX97" fmla="*/ 144631 w 748195"/>
              <a:gd name="csY97" fmla="*/ 217811 h 2076207"/>
              <a:gd name="csX98" fmla="*/ 201241 w 748195"/>
              <a:gd name="csY98" fmla="*/ 373387 h 2076207"/>
              <a:gd name="csX99" fmla="*/ 235971 w 748195"/>
              <a:gd name="csY99" fmla="*/ 504451 h 2076207"/>
              <a:gd name="csX100" fmla="*/ 247475 w 748195"/>
              <a:gd name="csY100" fmla="*/ 513241 h 2076207"/>
              <a:gd name="csX101" fmla="*/ 289066 w 748195"/>
              <a:gd name="csY101" fmla="*/ 511170 h 2076207"/>
              <a:gd name="csX102" fmla="*/ 378229 w 748195"/>
              <a:gd name="csY102" fmla="*/ 511084 h 2076207"/>
              <a:gd name="csX103" fmla="*/ 470850 w 748195"/>
              <a:gd name="csY103" fmla="*/ 516341 h 2076207"/>
              <a:gd name="csX104" fmla="*/ 492933 w 748195"/>
              <a:gd name="csY104" fmla="*/ 497969 h 2076207"/>
              <a:gd name="csX105" fmla="*/ 557617 w 748195"/>
              <a:gd name="csY105" fmla="*/ 280398 h 2076207"/>
              <a:gd name="csX106" fmla="*/ 588788 w 748195"/>
              <a:gd name="csY106" fmla="*/ 200385 h 2076207"/>
              <a:gd name="csX107" fmla="*/ 530958 w 748195"/>
              <a:gd name="csY107" fmla="*/ 232968 h 2076207"/>
              <a:gd name="csX108" fmla="*/ 483823 w 748195"/>
              <a:gd name="csY108" fmla="*/ 190364 h 2076207"/>
              <a:gd name="csX109" fmla="*/ 466649 w 748195"/>
              <a:gd name="csY109" fmla="*/ 209061 h 2076207"/>
              <a:gd name="csX110" fmla="*/ 399941 w 748195"/>
              <a:gd name="csY110" fmla="*/ 216988 h 2076207"/>
              <a:gd name="csX111" fmla="*/ 363018 w 748195"/>
              <a:gd name="csY111" fmla="*/ 179615 h 2076207"/>
              <a:gd name="csX112" fmla="*/ 308839 w 748195"/>
              <a:gd name="csY112" fmla="*/ 227846 h 2076207"/>
              <a:gd name="csX113" fmla="*/ 245077 w 748195"/>
              <a:gd name="csY113" fmla="*/ 192402 h 2076207"/>
              <a:gd name="csX114" fmla="*/ 242829 w 748195"/>
              <a:gd name="csY114" fmla="*/ 198815 h 2076207"/>
              <a:gd name="csX115" fmla="*/ 168452 w 748195"/>
              <a:gd name="csY115" fmla="*/ 219348 h 2076207"/>
              <a:gd name="csX116" fmla="*/ 140694 w 748195"/>
              <a:gd name="csY116" fmla="*/ 201837 h 2076207"/>
              <a:gd name="csX117" fmla="*/ 259999 w 748195"/>
              <a:gd name="csY117" fmla="*/ 966699 h 2076207"/>
              <a:gd name="csX118" fmla="*/ 257072 w 748195"/>
              <a:gd name="csY118" fmla="*/ 1070424 h 2076207"/>
              <a:gd name="csX119" fmla="*/ 251372 w 748195"/>
              <a:gd name="csY119" fmla="*/ 1157618 h 2076207"/>
              <a:gd name="csX120" fmla="*/ 232677 w 748195"/>
              <a:gd name="csY120" fmla="*/ 1320279 h 2076207"/>
              <a:gd name="csX121" fmla="*/ 209182 w 748195"/>
              <a:gd name="csY121" fmla="*/ 1468667 h 2076207"/>
              <a:gd name="csX122" fmla="*/ 175302 w 748195"/>
              <a:gd name="csY122" fmla="*/ 1616623 h 2076207"/>
              <a:gd name="csX123" fmla="*/ 182769 w 748195"/>
              <a:gd name="csY123" fmla="*/ 1629786 h 2076207"/>
              <a:gd name="csX124" fmla="*/ 212156 w 748195"/>
              <a:gd name="csY124" fmla="*/ 1632656 h 2076207"/>
              <a:gd name="csX125" fmla="*/ 351295 w 748195"/>
              <a:gd name="csY125" fmla="*/ 1632801 h 2076207"/>
              <a:gd name="csX126" fmla="*/ 376150 w 748195"/>
              <a:gd name="csY126" fmla="*/ 1608307 h 2076207"/>
              <a:gd name="csX127" fmla="*/ 373450 w 748195"/>
              <a:gd name="csY127" fmla="*/ 1457291 h 2076207"/>
              <a:gd name="csX128" fmla="*/ 370936 w 748195"/>
              <a:gd name="csY128" fmla="*/ 1342736 h 2076207"/>
              <a:gd name="csX129" fmla="*/ 368328 w 748195"/>
              <a:gd name="csY129" fmla="*/ 1203878 h 2076207"/>
              <a:gd name="csX130" fmla="*/ 367836 w 748195"/>
              <a:gd name="csY130" fmla="*/ 813478 h 2076207"/>
              <a:gd name="csX131" fmla="*/ 365240 w 748195"/>
              <a:gd name="csY131" fmla="*/ 773243 h 2076207"/>
              <a:gd name="csX132" fmla="*/ 353084 w 748195"/>
              <a:gd name="csY132" fmla="*/ 762083 h 2076207"/>
              <a:gd name="csX133" fmla="*/ 280966 w 748195"/>
              <a:gd name="csY133" fmla="*/ 759855 h 2076207"/>
              <a:gd name="csX134" fmla="*/ 259965 w 748195"/>
              <a:gd name="csY134" fmla="*/ 779553 h 2076207"/>
              <a:gd name="csX135" fmla="*/ 262341 w 748195"/>
              <a:gd name="csY135" fmla="*/ 856275 h 2076207"/>
              <a:gd name="csX136" fmla="*/ 259999 w 748195"/>
              <a:gd name="csY136" fmla="*/ 966699 h 2076207"/>
              <a:gd name="csX137" fmla="*/ 55556 w 748195"/>
              <a:gd name="csY137" fmla="*/ 1835827 h 2076207"/>
              <a:gd name="csX138" fmla="*/ 49393 w 748195"/>
              <a:gd name="csY138" fmla="*/ 1878155 h 2076207"/>
              <a:gd name="csX139" fmla="*/ 73949 w 748195"/>
              <a:gd name="csY139" fmla="*/ 1905781 h 2076207"/>
              <a:gd name="csX140" fmla="*/ 110073 w 748195"/>
              <a:gd name="csY140" fmla="*/ 1909068 h 2076207"/>
              <a:gd name="csX141" fmla="*/ 224745 w 748195"/>
              <a:gd name="csY141" fmla="*/ 1921652 h 2076207"/>
              <a:gd name="csX142" fmla="*/ 347327 w 748195"/>
              <a:gd name="csY142" fmla="*/ 1924778 h 2076207"/>
              <a:gd name="csX143" fmla="*/ 363345 w 748195"/>
              <a:gd name="csY143" fmla="*/ 1923293 h 2076207"/>
              <a:gd name="csX144" fmla="*/ 373787 w 748195"/>
              <a:gd name="csY144" fmla="*/ 1911200 h 2076207"/>
              <a:gd name="csX145" fmla="*/ 376623 w 748195"/>
              <a:gd name="csY145" fmla="*/ 1696741 h 2076207"/>
              <a:gd name="csX146" fmla="*/ 360437 w 748195"/>
              <a:gd name="csY146" fmla="*/ 1681289 h 2076207"/>
              <a:gd name="csX147" fmla="*/ 263503 w 748195"/>
              <a:gd name="csY147" fmla="*/ 1678179 h 2076207"/>
              <a:gd name="csX148" fmla="*/ 160381 w 748195"/>
              <a:gd name="csY148" fmla="*/ 1670405 h 2076207"/>
              <a:gd name="csX149" fmla="*/ 143321 w 748195"/>
              <a:gd name="csY149" fmla="*/ 1685538 h 2076207"/>
              <a:gd name="csX150" fmla="*/ 124769 w 748195"/>
              <a:gd name="csY150" fmla="*/ 1738195 h 2076207"/>
              <a:gd name="csX151" fmla="*/ 90593 w 748195"/>
              <a:gd name="csY151" fmla="*/ 1779570 h 2076207"/>
              <a:gd name="csX152" fmla="*/ 55556 w 748195"/>
              <a:gd name="csY152" fmla="*/ 1835827 h 2076207"/>
              <a:gd name="csX153" fmla="*/ 378900 w 748195"/>
              <a:gd name="csY153" fmla="*/ 2007280 h 2076207"/>
              <a:gd name="csX154" fmla="*/ 378887 w 748195"/>
              <a:gd name="csY154" fmla="*/ 1995127 h 2076207"/>
              <a:gd name="csX155" fmla="*/ 359084 w 748195"/>
              <a:gd name="csY155" fmla="*/ 1975964 h 2076207"/>
              <a:gd name="csX156" fmla="*/ 247288 w 748195"/>
              <a:gd name="csY156" fmla="*/ 1973305 h 2076207"/>
              <a:gd name="csX157" fmla="*/ 201692 w 748195"/>
              <a:gd name="csY157" fmla="*/ 1970275 h 2076207"/>
              <a:gd name="csX158" fmla="*/ 57962 w 748195"/>
              <a:gd name="csY158" fmla="*/ 1952648 h 2076207"/>
              <a:gd name="csX159" fmla="*/ 39194 w 748195"/>
              <a:gd name="csY159" fmla="*/ 1963552 h 2076207"/>
              <a:gd name="csX160" fmla="*/ 30066 w 748195"/>
              <a:gd name="csY160" fmla="*/ 2006631 h 2076207"/>
              <a:gd name="csX161" fmla="*/ 40232 w 748195"/>
              <a:gd name="csY161" fmla="*/ 2019486 h 2076207"/>
              <a:gd name="csX162" fmla="*/ 238186 w 748195"/>
              <a:gd name="csY162" fmla="*/ 2046096 h 2076207"/>
              <a:gd name="csX163" fmla="*/ 342155 w 748195"/>
              <a:gd name="csY163" fmla="*/ 2046441 h 2076207"/>
              <a:gd name="csX164" fmla="*/ 378900 w 748195"/>
              <a:gd name="csY164" fmla="*/ 2007280 h 2076207"/>
              <a:gd name="csX165" fmla="*/ 310220 w 748195"/>
              <a:gd name="csY165" fmla="*/ 554288 h 2076207"/>
              <a:gd name="csX166" fmla="*/ 259136 w 748195"/>
              <a:gd name="csY166" fmla="*/ 556881 h 2076207"/>
              <a:gd name="csX167" fmla="*/ 249085 w 748195"/>
              <a:gd name="csY167" fmla="*/ 567981 h 2076207"/>
              <a:gd name="csX168" fmla="*/ 249141 w 748195"/>
              <a:gd name="csY168" fmla="*/ 605644 h 2076207"/>
              <a:gd name="csX169" fmla="*/ 262628 w 748195"/>
              <a:gd name="csY169" fmla="*/ 605627 h 2076207"/>
              <a:gd name="csX170" fmla="*/ 369608 w 748195"/>
              <a:gd name="csY170" fmla="*/ 603027 h 2076207"/>
              <a:gd name="csX171" fmla="*/ 463931 w 748195"/>
              <a:gd name="csY171" fmla="*/ 605146 h 2076207"/>
              <a:gd name="csX172" fmla="*/ 478113 w 748195"/>
              <a:gd name="csY172" fmla="*/ 595843 h 2076207"/>
              <a:gd name="csX173" fmla="*/ 478796 w 748195"/>
              <a:gd name="csY173" fmla="*/ 556832 h 2076207"/>
              <a:gd name="csX174" fmla="*/ 310220 w 748195"/>
              <a:gd name="csY174" fmla="*/ 554288 h 2076207"/>
              <a:gd name="csX175" fmla="*/ 348836 w 748195"/>
              <a:gd name="csY175" fmla="*/ 684115 h 2076207"/>
              <a:gd name="csX176" fmla="*/ 281333 w 748195"/>
              <a:gd name="csY176" fmla="*/ 683313 h 2076207"/>
              <a:gd name="csX177" fmla="*/ 212728 w 748195"/>
              <a:gd name="csY177" fmla="*/ 681931 h 2076207"/>
              <a:gd name="csX178" fmla="*/ 187283 w 748195"/>
              <a:gd name="csY178" fmla="*/ 689555 h 2076207"/>
              <a:gd name="csX179" fmla="*/ 186163 w 748195"/>
              <a:gd name="csY179" fmla="*/ 718266 h 2076207"/>
              <a:gd name="csX180" fmla="*/ 209894 w 748195"/>
              <a:gd name="csY180" fmla="*/ 726798 h 2076207"/>
              <a:gd name="csX181" fmla="*/ 334814 w 748195"/>
              <a:gd name="csY181" fmla="*/ 732494 h 2076207"/>
              <a:gd name="csX182" fmla="*/ 364856 w 748195"/>
              <a:gd name="csY182" fmla="*/ 707963 h 2076207"/>
              <a:gd name="csX183" fmla="*/ 348836 w 748195"/>
              <a:gd name="csY183" fmla="*/ 684115 h 2076207"/>
              <a:gd name="csX184" fmla="*/ 298865 w 748195"/>
              <a:gd name="csY184" fmla="*/ 621954 h 2076207"/>
              <a:gd name="csX185" fmla="*/ 251619 w 748195"/>
              <a:gd name="csY185" fmla="*/ 622133 h 2076207"/>
              <a:gd name="csX186" fmla="*/ 214459 w 748195"/>
              <a:gd name="csY186" fmla="*/ 636230 h 2076207"/>
              <a:gd name="csX187" fmla="*/ 221436 w 748195"/>
              <a:gd name="csY187" fmla="*/ 654205 h 2076207"/>
              <a:gd name="csX188" fmla="*/ 272412 w 748195"/>
              <a:gd name="csY188" fmla="*/ 657250 h 2076207"/>
              <a:gd name="csX189" fmla="*/ 349094 w 748195"/>
              <a:gd name="csY189" fmla="*/ 659282 h 2076207"/>
              <a:gd name="csX190" fmla="*/ 362996 w 748195"/>
              <a:gd name="csY190" fmla="*/ 644234 h 2076207"/>
              <a:gd name="csX191" fmla="*/ 348472 w 748195"/>
              <a:gd name="csY191" fmla="*/ 624649 h 2076207"/>
              <a:gd name="csX192" fmla="*/ 298865 w 748195"/>
              <a:gd name="csY192" fmla="*/ 621954 h 2076207"/>
              <a:gd name="csX193" fmla="*/ 227796 w 748195"/>
              <a:gd name="csY193" fmla="*/ 528000 h 2076207"/>
              <a:gd name="csX194" fmla="*/ 241009 w 748195"/>
              <a:gd name="csY194" fmla="*/ 545897 h 2076207"/>
              <a:gd name="csX195" fmla="*/ 282607 w 748195"/>
              <a:gd name="csY195" fmla="*/ 543480 h 2076207"/>
              <a:gd name="csX196" fmla="*/ 354213 w 748195"/>
              <a:gd name="csY196" fmla="*/ 543384 h 2076207"/>
              <a:gd name="csX197" fmla="*/ 365334 w 748195"/>
              <a:gd name="csY197" fmla="*/ 533397 h 2076207"/>
              <a:gd name="csX198" fmla="*/ 354531 w 748195"/>
              <a:gd name="csY198" fmla="*/ 521620 h 2076207"/>
              <a:gd name="csX199" fmla="*/ 259169 w 748195"/>
              <a:gd name="csY199" fmla="*/ 521978 h 2076207"/>
              <a:gd name="csX200" fmla="*/ 227796 w 748195"/>
              <a:gd name="csY200" fmla="*/ 528000 h 2076207"/>
              <a:gd name="csX201" fmla="*/ 508068 w 748195"/>
              <a:gd name="csY201" fmla="*/ 190710 h 2076207"/>
              <a:gd name="csX202" fmla="*/ 521293 w 748195"/>
              <a:gd name="csY202" fmla="*/ 205907 h 2076207"/>
              <a:gd name="csX203" fmla="*/ 525175 w 748195"/>
              <a:gd name="csY203" fmla="*/ 202985 h 2076207"/>
              <a:gd name="csX204" fmla="*/ 500276 w 748195"/>
              <a:gd name="csY204" fmla="*/ 160640 h 2076207"/>
              <a:gd name="csX205" fmla="*/ 497122 w 748195"/>
              <a:gd name="csY205" fmla="*/ 162007 h 2076207"/>
              <a:gd name="csX206" fmla="*/ 508068 w 748195"/>
              <a:gd name="csY206" fmla="*/ 190710 h 2076207"/>
              <a:gd name="csX207" fmla="*/ 215522 w 748195"/>
              <a:gd name="csY207" fmla="*/ 197296 h 2076207"/>
              <a:gd name="csX208" fmla="*/ 234029 w 748195"/>
              <a:gd name="csY208" fmla="*/ 162725 h 2076207"/>
              <a:gd name="csX209" fmla="*/ 229000 w 748195"/>
              <a:gd name="csY209" fmla="*/ 159902 h 2076207"/>
              <a:gd name="csX210" fmla="*/ 204824 w 748195"/>
              <a:gd name="csY210" fmla="*/ 199677 h 2076207"/>
              <a:gd name="csX211" fmla="*/ 207990 w 748195"/>
              <a:gd name="csY211" fmla="*/ 202198 h 2076207"/>
              <a:gd name="csX212" fmla="*/ 215522 w 748195"/>
              <a:gd name="csY212" fmla="*/ 197296 h 2076207"/>
              <a:gd name="csX213" fmla="*/ 484400 w 748195"/>
              <a:gd name="csY213" fmla="*/ 896678 h 2076207"/>
              <a:gd name="csX214" fmla="*/ 486181 w 748195"/>
              <a:gd name="csY214" fmla="*/ 896585 h 2076207"/>
              <a:gd name="csX215" fmla="*/ 486181 w 748195"/>
              <a:gd name="csY215" fmla="*/ 795289 h 2076207"/>
              <a:gd name="csX216" fmla="*/ 720241 w 748195"/>
              <a:gd name="csY216" fmla="*/ 2030666 h 2076207"/>
              <a:gd name="csX217" fmla="*/ 721175 w 748195"/>
              <a:gd name="csY217" fmla="*/ 2029733 h 2076207"/>
              <a:gd name="csX218" fmla="*/ 720241 w 748195"/>
              <a:gd name="csY218" fmla="*/ 2030666 h 2076207"/>
              <a:gd name="csX219" fmla="*/ 715702 w 748195"/>
              <a:gd name="csY219" fmla="*/ 2037051 h 2076207"/>
              <a:gd name="csX220" fmla="*/ 715702 w 748195"/>
              <a:gd name="csY220" fmla="*/ 2037051 h 2076207"/>
              <a:gd name="csX0" fmla="*/ 96263 w 748195"/>
              <a:gd name="csY0" fmla="*/ 2076207 h 2076207"/>
              <a:gd name="csX1" fmla="*/ 63862 w 748195"/>
              <a:gd name="csY1" fmla="*/ 2065388 h 2076207"/>
              <a:gd name="csX2" fmla="*/ 16555 w 748195"/>
              <a:gd name="csY2" fmla="*/ 2050152 h 2076207"/>
              <a:gd name="csX3" fmla="*/ 15 w 748195"/>
              <a:gd name="csY3" fmla="*/ 2023802 h 2076207"/>
              <a:gd name="csX4" fmla="*/ 18368 w 748195"/>
              <a:gd name="csY4" fmla="*/ 1940709 h 2076207"/>
              <a:gd name="csX5" fmla="*/ 22139 w 748195"/>
              <a:gd name="csY5" fmla="*/ 1907268 h 2076207"/>
              <a:gd name="csX6" fmla="*/ 57941 w 748195"/>
              <a:gd name="csY6" fmla="*/ 1774163 h 2076207"/>
              <a:gd name="csX7" fmla="*/ 102478 w 748195"/>
              <a:gd name="csY7" fmla="*/ 1720275 h 2076207"/>
              <a:gd name="csX8" fmla="*/ 108579 w 748195"/>
              <a:gd name="csY8" fmla="*/ 1650967 h 2076207"/>
              <a:gd name="csX9" fmla="*/ 115628 w 748195"/>
              <a:gd name="csY9" fmla="*/ 1625405 h 2076207"/>
              <a:gd name="csX10" fmla="*/ 156323 w 748195"/>
              <a:gd name="csY10" fmla="*/ 1560181 h 2076207"/>
              <a:gd name="csX11" fmla="*/ 199424 w 748195"/>
              <a:gd name="csY11" fmla="*/ 1364729 h 2076207"/>
              <a:gd name="csX12" fmla="*/ 216779 w 748195"/>
              <a:gd name="csY12" fmla="*/ 1219490 h 2076207"/>
              <a:gd name="csX13" fmla="*/ 229755 w 748195"/>
              <a:gd name="csY13" fmla="*/ 1099357 h 2076207"/>
              <a:gd name="csX14" fmla="*/ 232707 w 748195"/>
              <a:gd name="csY14" fmla="*/ 1056423 h 2076207"/>
              <a:gd name="csX15" fmla="*/ 235622 w 748195"/>
              <a:gd name="csY15" fmla="*/ 952675 h 2076207"/>
              <a:gd name="csX16" fmla="*/ 235445 w 748195"/>
              <a:gd name="csY16" fmla="*/ 780278 h 2076207"/>
              <a:gd name="csX17" fmla="*/ 214544 w 748195"/>
              <a:gd name="csY17" fmla="*/ 756435 h 2076207"/>
              <a:gd name="csX18" fmla="*/ 172569 w 748195"/>
              <a:gd name="csY18" fmla="*/ 742582 h 2076207"/>
              <a:gd name="csX19" fmla="*/ 168784 w 748195"/>
              <a:gd name="csY19" fmla="*/ 669116 h 2076207"/>
              <a:gd name="csX20" fmla="*/ 191657 w 748195"/>
              <a:gd name="csY20" fmla="*/ 630765 h 2076207"/>
              <a:gd name="csX21" fmla="*/ 208150 w 748195"/>
              <a:gd name="csY21" fmla="*/ 609084 h 2076207"/>
              <a:gd name="csX22" fmla="*/ 216756 w 748195"/>
              <a:gd name="csY22" fmla="*/ 558673 h 2076207"/>
              <a:gd name="csX23" fmla="*/ 209092 w 748195"/>
              <a:gd name="csY23" fmla="*/ 521540 h 2076207"/>
              <a:gd name="csX24" fmla="*/ 204683 w 748195"/>
              <a:gd name="csY24" fmla="*/ 474024 h 2076207"/>
              <a:gd name="csX25" fmla="*/ 115483 w 748195"/>
              <a:gd name="csY25" fmla="*/ 213499 h 2076207"/>
              <a:gd name="csX26" fmla="*/ 102909 w 748195"/>
              <a:gd name="csY26" fmla="*/ 182297 h 2076207"/>
              <a:gd name="csX27" fmla="*/ 104315 w 748195"/>
              <a:gd name="csY27" fmla="*/ 163968 h 2076207"/>
              <a:gd name="csX28" fmla="*/ 122444 w 748195"/>
              <a:gd name="csY28" fmla="*/ 160805 h 2076207"/>
              <a:gd name="csX29" fmla="*/ 170283 w 748195"/>
              <a:gd name="csY29" fmla="*/ 187783 h 2076207"/>
              <a:gd name="csX30" fmla="*/ 180938 w 748195"/>
              <a:gd name="csY30" fmla="*/ 195322 h 2076207"/>
              <a:gd name="csX31" fmla="*/ 221419 w 748195"/>
              <a:gd name="csY31" fmla="*/ 138058 h 2076207"/>
              <a:gd name="csX32" fmla="*/ 294099 w 748195"/>
              <a:gd name="csY32" fmla="*/ 91372 h 2076207"/>
              <a:gd name="csX33" fmla="*/ 302307 w 748195"/>
              <a:gd name="csY33" fmla="*/ 76560 h 2076207"/>
              <a:gd name="csX34" fmla="*/ 320284 w 748195"/>
              <a:gd name="csY34" fmla="*/ 8414 h 2076207"/>
              <a:gd name="csX35" fmla="*/ 324784 w 748195"/>
              <a:gd name="csY35" fmla="*/ 946 h 2076207"/>
              <a:gd name="csX36" fmla="*/ 399212 w 748195"/>
              <a:gd name="csY36" fmla="*/ 0 h 2076207"/>
              <a:gd name="csX37" fmla="*/ 425980 w 748195"/>
              <a:gd name="csY37" fmla="*/ 78301 h 2076207"/>
              <a:gd name="csX38" fmla="*/ 431861 w 748195"/>
              <a:gd name="csY38" fmla="*/ 90312 h 2076207"/>
              <a:gd name="csX39" fmla="*/ 540349 w 748195"/>
              <a:gd name="csY39" fmla="*/ 187946 h 2076207"/>
              <a:gd name="csX40" fmla="*/ 545555 w 748195"/>
              <a:gd name="csY40" fmla="*/ 197828 h 2076207"/>
              <a:gd name="csX41" fmla="*/ 587318 w 748195"/>
              <a:gd name="csY41" fmla="*/ 171260 h 2076207"/>
              <a:gd name="csX42" fmla="*/ 601503 w 748195"/>
              <a:gd name="csY42" fmla="*/ 163707 h 2076207"/>
              <a:gd name="csX43" fmla="*/ 625254 w 748195"/>
              <a:gd name="csY43" fmla="*/ 163123 h 2076207"/>
              <a:gd name="csX44" fmla="*/ 625468 w 748195"/>
              <a:gd name="csY44" fmla="*/ 187579 h 2076207"/>
              <a:gd name="csX45" fmla="*/ 597543 w 748195"/>
              <a:gd name="csY45" fmla="*/ 251872 h 2076207"/>
              <a:gd name="csX46" fmla="*/ 531831 w 748195"/>
              <a:gd name="csY46" fmla="*/ 442689 h 2076207"/>
              <a:gd name="csX47" fmla="*/ 519888 w 748195"/>
              <a:gd name="csY47" fmla="*/ 501474 h 2076207"/>
              <a:gd name="csX48" fmla="*/ 522506 w 748195"/>
              <a:gd name="csY48" fmla="*/ 525086 h 2076207"/>
              <a:gd name="csX49" fmla="*/ 516235 w 748195"/>
              <a:gd name="csY49" fmla="*/ 555946 h 2076207"/>
              <a:gd name="csX50" fmla="*/ 521332 w 748195"/>
              <a:gd name="csY50" fmla="*/ 610676 h 2076207"/>
              <a:gd name="csX51" fmla="*/ 541382 w 748195"/>
              <a:gd name="csY51" fmla="*/ 642597 h 2076207"/>
              <a:gd name="csX52" fmla="*/ 557031 w 748195"/>
              <a:gd name="csY52" fmla="*/ 667949 h 2076207"/>
              <a:gd name="csX53" fmla="*/ 553994 w 748195"/>
              <a:gd name="csY53" fmla="*/ 744146 h 2076207"/>
              <a:gd name="csX54" fmla="*/ 508215 w 748195"/>
              <a:gd name="csY54" fmla="*/ 758841 h 2076207"/>
              <a:gd name="csX55" fmla="*/ 497442 w 748195"/>
              <a:gd name="csY55" fmla="*/ 771256 h 2076207"/>
              <a:gd name="csX56" fmla="*/ 493005 w 748195"/>
              <a:gd name="csY56" fmla="*/ 922055 h 2076207"/>
              <a:gd name="csX57" fmla="*/ 502900 w 748195"/>
              <a:gd name="csY57" fmla="*/ 1114191 h 2076207"/>
              <a:gd name="csX58" fmla="*/ 508800 w 748195"/>
              <a:gd name="csY58" fmla="*/ 1205474 h 2076207"/>
              <a:gd name="csX59" fmla="*/ 522952 w 748195"/>
              <a:gd name="csY59" fmla="*/ 1320065 h 2076207"/>
              <a:gd name="csX60" fmla="*/ 554682 w 748195"/>
              <a:gd name="csY60" fmla="*/ 1501203 h 2076207"/>
              <a:gd name="csX61" fmla="*/ 576958 w 748195"/>
              <a:gd name="csY61" fmla="*/ 1593963 h 2076207"/>
              <a:gd name="csX62" fmla="*/ 595349 w 748195"/>
              <a:gd name="csY62" fmla="*/ 1613498 h 2076207"/>
              <a:gd name="csX63" fmla="*/ 613936 w 748195"/>
              <a:gd name="csY63" fmla="*/ 1624058 h 2076207"/>
              <a:gd name="csX64" fmla="*/ 620938 w 748195"/>
              <a:gd name="csY64" fmla="*/ 1652071 h 2076207"/>
              <a:gd name="csX65" fmla="*/ 630805 w 748195"/>
              <a:gd name="csY65" fmla="*/ 1721702 h 2076207"/>
              <a:gd name="csX66" fmla="*/ 685830 w 748195"/>
              <a:gd name="csY66" fmla="*/ 1792915 h 2076207"/>
              <a:gd name="csX67" fmla="*/ 708904 w 748195"/>
              <a:gd name="csY67" fmla="*/ 1890290 h 2076207"/>
              <a:gd name="csX68" fmla="*/ 716580 w 748195"/>
              <a:gd name="csY68" fmla="*/ 1951136 h 2076207"/>
              <a:gd name="csX69" fmla="*/ 729397 w 748195"/>
              <a:gd name="csY69" fmla="*/ 2030261 h 2076207"/>
              <a:gd name="csX70" fmla="*/ 714212 w 748195"/>
              <a:gd name="csY70" fmla="*/ 2049544 h 2076207"/>
              <a:gd name="csX71" fmla="*/ 706629 w 748195"/>
              <a:gd name="csY71" fmla="*/ 2044290 h 2076207"/>
              <a:gd name="csX72" fmla="*/ 702674 w 748195"/>
              <a:gd name="csY72" fmla="*/ 2041581 h 2076207"/>
              <a:gd name="csX73" fmla="*/ 96263 w 748195"/>
              <a:gd name="csY73" fmla="*/ 2076207 h 2076207"/>
              <a:gd name="csX74" fmla="*/ 489970 w 748195"/>
              <a:gd name="csY74" fmla="*/ 152208 h 2076207"/>
              <a:gd name="csX75" fmla="*/ 490754 w 748195"/>
              <a:gd name="csY75" fmla="*/ 152592 h 2076207"/>
              <a:gd name="csX76" fmla="*/ 489489 w 748195"/>
              <a:gd name="csY76" fmla="*/ 149547 h 2076207"/>
              <a:gd name="csX77" fmla="*/ 393621 w 748195"/>
              <a:gd name="csY77" fmla="*/ 99259 h 2076207"/>
              <a:gd name="csX78" fmla="*/ 390419 w 748195"/>
              <a:gd name="csY78" fmla="*/ 18568 h 2076207"/>
              <a:gd name="csX79" fmla="*/ 334131 w 748195"/>
              <a:gd name="csY79" fmla="*/ 24327 h 2076207"/>
              <a:gd name="csX80" fmla="*/ 344678 w 748195"/>
              <a:gd name="csY80" fmla="*/ 101259 h 2076207"/>
              <a:gd name="csX81" fmla="*/ 298854 w 748195"/>
              <a:gd name="csY81" fmla="*/ 114003 h 2076207"/>
              <a:gd name="csX82" fmla="*/ 237456 w 748195"/>
              <a:gd name="csY82" fmla="*/ 154340 h 2076207"/>
              <a:gd name="csX83" fmla="*/ 240382 w 748195"/>
              <a:gd name="csY83" fmla="*/ 154035 h 2076207"/>
              <a:gd name="csX84" fmla="*/ 262731 w 748195"/>
              <a:gd name="csY84" fmla="*/ 170426 h 2076207"/>
              <a:gd name="csX85" fmla="*/ 279169 w 748195"/>
              <a:gd name="csY85" fmla="*/ 193173 h 2076207"/>
              <a:gd name="csX86" fmla="*/ 327717 w 748195"/>
              <a:gd name="csY86" fmla="*/ 188556 h 2076207"/>
              <a:gd name="csX87" fmla="*/ 348052 w 748195"/>
              <a:gd name="csY87" fmla="*/ 156919 h 2076207"/>
              <a:gd name="csX88" fmla="*/ 380330 w 748195"/>
              <a:gd name="csY88" fmla="*/ 156483 h 2076207"/>
              <a:gd name="csX89" fmla="*/ 408490 w 748195"/>
              <a:gd name="csY89" fmla="*/ 195400 h 2076207"/>
              <a:gd name="csX90" fmla="*/ 445346 w 748195"/>
              <a:gd name="csY90" fmla="*/ 197582 h 2076207"/>
              <a:gd name="csX91" fmla="*/ 464798 w 748195"/>
              <a:gd name="csY91" fmla="*/ 174107 h 2076207"/>
              <a:gd name="csX92" fmla="*/ 489970 w 748195"/>
              <a:gd name="csY92" fmla="*/ 152208 h 2076207"/>
              <a:gd name="csX93" fmla="*/ 140694 w 748195"/>
              <a:gd name="csY93" fmla="*/ 201837 h 2076207"/>
              <a:gd name="csX94" fmla="*/ 139834 w 748195"/>
              <a:gd name="csY94" fmla="*/ 201482 h 2076207"/>
              <a:gd name="csX95" fmla="*/ 140812 w 748195"/>
              <a:gd name="csY95" fmla="*/ 204941 h 2076207"/>
              <a:gd name="csX96" fmla="*/ 144631 w 748195"/>
              <a:gd name="csY96" fmla="*/ 217811 h 2076207"/>
              <a:gd name="csX97" fmla="*/ 201241 w 748195"/>
              <a:gd name="csY97" fmla="*/ 373387 h 2076207"/>
              <a:gd name="csX98" fmla="*/ 235971 w 748195"/>
              <a:gd name="csY98" fmla="*/ 504451 h 2076207"/>
              <a:gd name="csX99" fmla="*/ 247475 w 748195"/>
              <a:gd name="csY99" fmla="*/ 513241 h 2076207"/>
              <a:gd name="csX100" fmla="*/ 289066 w 748195"/>
              <a:gd name="csY100" fmla="*/ 511170 h 2076207"/>
              <a:gd name="csX101" fmla="*/ 378229 w 748195"/>
              <a:gd name="csY101" fmla="*/ 511084 h 2076207"/>
              <a:gd name="csX102" fmla="*/ 470850 w 748195"/>
              <a:gd name="csY102" fmla="*/ 516341 h 2076207"/>
              <a:gd name="csX103" fmla="*/ 492933 w 748195"/>
              <a:gd name="csY103" fmla="*/ 497969 h 2076207"/>
              <a:gd name="csX104" fmla="*/ 557617 w 748195"/>
              <a:gd name="csY104" fmla="*/ 280398 h 2076207"/>
              <a:gd name="csX105" fmla="*/ 588788 w 748195"/>
              <a:gd name="csY105" fmla="*/ 200385 h 2076207"/>
              <a:gd name="csX106" fmla="*/ 530958 w 748195"/>
              <a:gd name="csY106" fmla="*/ 232968 h 2076207"/>
              <a:gd name="csX107" fmla="*/ 483823 w 748195"/>
              <a:gd name="csY107" fmla="*/ 190364 h 2076207"/>
              <a:gd name="csX108" fmla="*/ 466649 w 748195"/>
              <a:gd name="csY108" fmla="*/ 209061 h 2076207"/>
              <a:gd name="csX109" fmla="*/ 399941 w 748195"/>
              <a:gd name="csY109" fmla="*/ 216988 h 2076207"/>
              <a:gd name="csX110" fmla="*/ 363018 w 748195"/>
              <a:gd name="csY110" fmla="*/ 179615 h 2076207"/>
              <a:gd name="csX111" fmla="*/ 308839 w 748195"/>
              <a:gd name="csY111" fmla="*/ 227846 h 2076207"/>
              <a:gd name="csX112" fmla="*/ 245077 w 748195"/>
              <a:gd name="csY112" fmla="*/ 192402 h 2076207"/>
              <a:gd name="csX113" fmla="*/ 242829 w 748195"/>
              <a:gd name="csY113" fmla="*/ 198815 h 2076207"/>
              <a:gd name="csX114" fmla="*/ 168452 w 748195"/>
              <a:gd name="csY114" fmla="*/ 219348 h 2076207"/>
              <a:gd name="csX115" fmla="*/ 140694 w 748195"/>
              <a:gd name="csY115" fmla="*/ 201837 h 2076207"/>
              <a:gd name="csX116" fmla="*/ 259999 w 748195"/>
              <a:gd name="csY116" fmla="*/ 966699 h 2076207"/>
              <a:gd name="csX117" fmla="*/ 257072 w 748195"/>
              <a:gd name="csY117" fmla="*/ 1070424 h 2076207"/>
              <a:gd name="csX118" fmla="*/ 251372 w 748195"/>
              <a:gd name="csY118" fmla="*/ 1157618 h 2076207"/>
              <a:gd name="csX119" fmla="*/ 232677 w 748195"/>
              <a:gd name="csY119" fmla="*/ 1320279 h 2076207"/>
              <a:gd name="csX120" fmla="*/ 209182 w 748195"/>
              <a:gd name="csY120" fmla="*/ 1468667 h 2076207"/>
              <a:gd name="csX121" fmla="*/ 175302 w 748195"/>
              <a:gd name="csY121" fmla="*/ 1616623 h 2076207"/>
              <a:gd name="csX122" fmla="*/ 182769 w 748195"/>
              <a:gd name="csY122" fmla="*/ 1629786 h 2076207"/>
              <a:gd name="csX123" fmla="*/ 212156 w 748195"/>
              <a:gd name="csY123" fmla="*/ 1632656 h 2076207"/>
              <a:gd name="csX124" fmla="*/ 351295 w 748195"/>
              <a:gd name="csY124" fmla="*/ 1632801 h 2076207"/>
              <a:gd name="csX125" fmla="*/ 376150 w 748195"/>
              <a:gd name="csY125" fmla="*/ 1608307 h 2076207"/>
              <a:gd name="csX126" fmla="*/ 373450 w 748195"/>
              <a:gd name="csY126" fmla="*/ 1457291 h 2076207"/>
              <a:gd name="csX127" fmla="*/ 370936 w 748195"/>
              <a:gd name="csY127" fmla="*/ 1342736 h 2076207"/>
              <a:gd name="csX128" fmla="*/ 368328 w 748195"/>
              <a:gd name="csY128" fmla="*/ 1203878 h 2076207"/>
              <a:gd name="csX129" fmla="*/ 367836 w 748195"/>
              <a:gd name="csY129" fmla="*/ 813478 h 2076207"/>
              <a:gd name="csX130" fmla="*/ 365240 w 748195"/>
              <a:gd name="csY130" fmla="*/ 773243 h 2076207"/>
              <a:gd name="csX131" fmla="*/ 353084 w 748195"/>
              <a:gd name="csY131" fmla="*/ 762083 h 2076207"/>
              <a:gd name="csX132" fmla="*/ 280966 w 748195"/>
              <a:gd name="csY132" fmla="*/ 759855 h 2076207"/>
              <a:gd name="csX133" fmla="*/ 259965 w 748195"/>
              <a:gd name="csY133" fmla="*/ 779553 h 2076207"/>
              <a:gd name="csX134" fmla="*/ 262341 w 748195"/>
              <a:gd name="csY134" fmla="*/ 856275 h 2076207"/>
              <a:gd name="csX135" fmla="*/ 259999 w 748195"/>
              <a:gd name="csY135" fmla="*/ 966699 h 2076207"/>
              <a:gd name="csX136" fmla="*/ 55556 w 748195"/>
              <a:gd name="csY136" fmla="*/ 1835827 h 2076207"/>
              <a:gd name="csX137" fmla="*/ 49393 w 748195"/>
              <a:gd name="csY137" fmla="*/ 1878155 h 2076207"/>
              <a:gd name="csX138" fmla="*/ 73949 w 748195"/>
              <a:gd name="csY138" fmla="*/ 1905781 h 2076207"/>
              <a:gd name="csX139" fmla="*/ 110073 w 748195"/>
              <a:gd name="csY139" fmla="*/ 1909068 h 2076207"/>
              <a:gd name="csX140" fmla="*/ 224745 w 748195"/>
              <a:gd name="csY140" fmla="*/ 1921652 h 2076207"/>
              <a:gd name="csX141" fmla="*/ 347327 w 748195"/>
              <a:gd name="csY141" fmla="*/ 1924778 h 2076207"/>
              <a:gd name="csX142" fmla="*/ 363345 w 748195"/>
              <a:gd name="csY142" fmla="*/ 1923293 h 2076207"/>
              <a:gd name="csX143" fmla="*/ 373787 w 748195"/>
              <a:gd name="csY143" fmla="*/ 1911200 h 2076207"/>
              <a:gd name="csX144" fmla="*/ 376623 w 748195"/>
              <a:gd name="csY144" fmla="*/ 1696741 h 2076207"/>
              <a:gd name="csX145" fmla="*/ 360437 w 748195"/>
              <a:gd name="csY145" fmla="*/ 1681289 h 2076207"/>
              <a:gd name="csX146" fmla="*/ 263503 w 748195"/>
              <a:gd name="csY146" fmla="*/ 1678179 h 2076207"/>
              <a:gd name="csX147" fmla="*/ 160381 w 748195"/>
              <a:gd name="csY147" fmla="*/ 1670405 h 2076207"/>
              <a:gd name="csX148" fmla="*/ 143321 w 748195"/>
              <a:gd name="csY148" fmla="*/ 1685538 h 2076207"/>
              <a:gd name="csX149" fmla="*/ 124769 w 748195"/>
              <a:gd name="csY149" fmla="*/ 1738195 h 2076207"/>
              <a:gd name="csX150" fmla="*/ 90593 w 748195"/>
              <a:gd name="csY150" fmla="*/ 1779570 h 2076207"/>
              <a:gd name="csX151" fmla="*/ 55556 w 748195"/>
              <a:gd name="csY151" fmla="*/ 1835827 h 2076207"/>
              <a:gd name="csX152" fmla="*/ 378900 w 748195"/>
              <a:gd name="csY152" fmla="*/ 2007280 h 2076207"/>
              <a:gd name="csX153" fmla="*/ 378887 w 748195"/>
              <a:gd name="csY153" fmla="*/ 1995127 h 2076207"/>
              <a:gd name="csX154" fmla="*/ 359084 w 748195"/>
              <a:gd name="csY154" fmla="*/ 1975964 h 2076207"/>
              <a:gd name="csX155" fmla="*/ 247288 w 748195"/>
              <a:gd name="csY155" fmla="*/ 1973305 h 2076207"/>
              <a:gd name="csX156" fmla="*/ 201692 w 748195"/>
              <a:gd name="csY156" fmla="*/ 1970275 h 2076207"/>
              <a:gd name="csX157" fmla="*/ 57962 w 748195"/>
              <a:gd name="csY157" fmla="*/ 1952648 h 2076207"/>
              <a:gd name="csX158" fmla="*/ 39194 w 748195"/>
              <a:gd name="csY158" fmla="*/ 1963552 h 2076207"/>
              <a:gd name="csX159" fmla="*/ 30066 w 748195"/>
              <a:gd name="csY159" fmla="*/ 2006631 h 2076207"/>
              <a:gd name="csX160" fmla="*/ 40232 w 748195"/>
              <a:gd name="csY160" fmla="*/ 2019486 h 2076207"/>
              <a:gd name="csX161" fmla="*/ 238186 w 748195"/>
              <a:gd name="csY161" fmla="*/ 2046096 h 2076207"/>
              <a:gd name="csX162" fmla="*/ 342155 w 748195"/>
              <a:gd name="csY162" fmla="*/ 2046441 h 2076207"/>
              <a:gd name="csX163" fmla="*/ 378900 w 748195"/>
              <a:gd name="csY163" fmla="*/ 2007280 h 2076207"/>
              <a:gd name="csX164" fmla="*/ 310220 w 748195"/>
              <a:gd name="csY164" fmla="*/ 554288 h 2076207"/>
              <a:gd name="csX165" fmla="*/ 259136 w 748195"/>
              <a:gd name="csY165" fmla="*/ 556881 h 2076207"/>
              <a:gd name="csX166" fmla="*/ 249085 w 748195"/>
              <a:gd name="csY166" fmla="*/ 567981 h 2076207"/>
              <a:gd name="csX167" fmla="*/ 249141 w 748195"/>
              <a:gd name="csY167" fmla="*/ 605644 h 2076207"/>
              <a:gd name="csX168" fmla="*/ 262628 w 748195"/>
              <a:gd name="csY168" fmla="*/ 605627 h 2076207"/>
              <a:gd name="csX169" fmla="*/ 369608 w 748195"/>
              <a:gd name="csY169" fmla="*/ 603027 h 2076207"/>
              <a:gd name="csX170" fmla="*/ 463931 w 748195"/>
              <a:gd name="csY170" fmla="*/ 605146 h 2076207"/>
              <a:gd name="csX171" fmla="*/ 478113 w 748195"/>
              <a:gd name="csY171" fmla="*/ 595843 h 2076207"/>
              <a:gd name="csX172" fmla="*/ 478796 w 748195"/>
              <a:gd name="csY172" fmla="*/ 556832 h 2076207"/>
              <a:gd name="csX173" fmla="*/ 310220 w 748195"/>
              <a:gd name="csY173" fmla="*/ 554288 h 2076207"/>
              <a:gd name="csX174" fmla="*/ 348836 w 748195"/>
              <a:gd name="csY174" fmla="*/ 684115 h 2076207"/>
              <a:gd name="csX175" fmla="*/ 281333 w 748195"/>
              <a:gd name="csY175" fmla="*/ 683313 h 2076207"/>
              <a:gd name="csX176" fmla="*/ 212728 w 748195"/>
              <a:gd name="csY176" fmla="*/ 681931 h 2076207"/>
              <a:gd name="csX177" fmla="*/ 187283 w 748195"/>
              <a:gd name="csY177" fmla="*/ 689555 h 2076207"/>
              <a:gd name="csX178" fmla="*/ 186163 w 748195"/>
              <a:gd name="csY178" fmla="*/ 718266 h 2076207"/>
              <a:gd name="csX179" fmla="*/ 209894 w 748195"/>
              <a:gd name="csY179" fmla="*/ 726798 h 2076207"/>
              <a:gd name="csX180" fmla="*/ 334814 w 748195"/>
              <a:gd name="csY180" fmla="*/ 732494 h 2076207"/>
              <a:gd name="csX181" fmla="*/ 364856 w 748195"/>
              <a:gd name="csY181" fmla="*/ 707963 h 2076207"/>
              <a:gd name="csX182" fmla="*/ 348836 w 748195"/>
              <a:gd name="csY182" fmla="*/ 684115 h 2076207"/>
              <a:gd name="csX183" fmla="*/ 298865 w 748195"/>
              <a:gd name="csY183" fmla="*/ 621954 h 2076207"/>
              <a:gd name="csX184" fmla="*/ 251619 w 748195"/>
              <a:gd name="csY184" fmla="*/ 622133 h 2076207"/>
              <a:gd name="csX185" fmla="*/ 214459 w 748195"/>
              <a:gd name="csY185" fmla="*/ 636230 h 2076207"/>
              <a:gd name="csX186" fmla="*/ 221436 w 748195"/>
              <a:gd name="csY186" fmla="*/ 654205 h 2076207"/>
              <a:gd name="csX187" fmla="*/ 272412 w 748195"/>
              <a:gd name="csY187" fmla="*/ 657250 h 2076207"/>
              <a:gd name="csX188" fmla="*/ 349094 w 748195"/>
              <a:gd name="csY188" fmla="*/ 659282 h 2076207"/>
              <a:gd name="csX189" fmla="*/ 362996 w 748195"/>
              <a:gd name="csY189" fmla="*/ 644234 h 2076207"/>
              <a:gd name="csX190" fmla="*/ 348472 w 748195"/>
              <a:gd name="csY190" fmla="*/ 624649 h 2076207"/>
              <a:gd name="csX191" fmla="*/ 298865 w 748195"/>
              <a:gd name="csY191" fmla="*/ 621954 h 2076207"/>
              <a:gd name="csX192" fmla="*/ 227796 w 748195"/>
              <a:gd name="csY192" fmla="*/ 528000 h 2076207"/>
              <a:gd name="csX193" fmla="*/ 241009 w 748195"/>
              <a:gd name="csY193" fmla="*/ 545897 h 2076207"/>
              <a:gd name="csX194" fmla="*/ 282607 w 748195"/>
              <a:gd name="csY194" fmla="*/ 543480 h 2076207"/>
              <a:gd name="csX195" fmla="*/ 354213 w 748195"/>
              <a:gd name="csY195" fmla="*/ 543384 h 2076207"/>
              <a:gd name="csX196" fmla="*/ 365334 w 748195"/>
              <a:gd name="csY196" fmla="*/ 533397 h 2076207"/>
              <a:gd name="csX197" fmla="*/ 354531 w 748195"/>
              <a:gd name="csY197" fmla="*/ 521620 h 2076207"/>
              <a:gd name="csX198" fmla="*/ 259169 w 748195"/>
              <a:gd name="csY198" fmla="*/ 521978 h 2076207"/>
              <a:gd name="csX199" fmla="*/ 227796 w 748195"/>
              <a:gd name="csY199" fmla="*/ 528000 h 2076207"/>
              <a:gd name="csX200" fmla="*/ 508068 w 748195"/>
              <a:gd name="csY200" fmla="*/ 190710 h 2076207"/>
              <a:gd name="csX201" fmla="*/ 521293 w 748195"/>
              <a:gd name="csY201" fmla="*/ 205907 h 2076207"/>
              <a:gd name="csX202" fmla="*/ 525175 w 748195"/>
              <a:gd name="csY202" fmla="*/ 202985 h 2076207"/>
              <a:gd name="csX203" fmla="*/ 500276 w 748195"/>
              <a:gd name="csY203" fmla="*/ 160640 h 2076207"/>
              <a:gd name="csX204" fmla="*/ 497122 w 748195"/>
              <a:gd name="csY204" fmla="*/ 162007 h 2076207"/>
              <a:gd name="csX205" fmla="*/ 508068 w 748195"/>
              <a:gd name="csY205" fmla="*/ 190710 h 2076207"/>
              <a:gd name="csX206" fmla="*/ 215522 w 748195"/>
              <a:gd name="csY206" fmla="*/ 197296 h 2076207"/>
              <a:gd name="csX207" fmla="*/ 234029 w 748195"/>
              <a:gd name="csY207" fmla="*/ 162725 h 2076207"/>
              <a:gd name="csX208" fmla="*/ 229000 w 748195"/>
              <a:gd name="csY208" fmla="*/ 159902 h 2076207"/>
              <a:gd name="csX209" fmla="*/ 204824 w 748195"/>
              <a:gd name="csY209" fmla="*/ 199677 h 2076207"/>
              <a:gd name="csX210" fmla="*/ 207990 w 748195"/>
              <a:gd name="csY210" fmla="*/ 202198 h 2076207"/>
              <a:gd name="csX211" fmla="*/ 215522 w 748195"/>
              <a:gd name="csY211" fmla="*/ 197296 h 2076207"/>
              <a:gd name="csX212" fmla="*/ 484400 w 748195"/>
              <a:gd name="csY212" fmla="*/ 896678 h 2076207"/>
              <a:gd name="csX213" fmla="*/ 486181 w 748195"/>
              <a:gd name="csY213" fmla="*/ 896585 h 2076207"/>
              <a:gd name="csX214" fmla="*/ 486181 w 748195"/>
              <a:gd name="csY214" fmla="*/ 795289 h 2076207"/>
              <a:gd name="csX215" fmla="*/ 720241 w 748195"/>
              <a:gd name="csY215" fmla="*/ 2030666 h 2076207"/>
              <a:gd name="csX216" fmla="*/ 721175 w 748195"/>
              <a:gd name="csY216" fmla="*/ 2029733 h 2076207"/>
              <a:gd name="csX217" fmla="*/ 720241 w 748195"/>
              <a:gd name="csY217" fmla="*/ 2030666 h 2076207"/>
              <a:gd name="csX218" fmla="*/ 715702 w 748195"/>
              <a:gd name="csY218" fmla="*/ 2037051 h 2076207"/>
              <a:gd name="csX219" fmla="*/ 715702 w 748195"/>
              <a:gd name="csY219" fmla="*/ 2037051 h 2076207"/>
              <a:gd name="csX0" fmla="*/ 96263 w 729414"/>
              <a:gd name="csY0" fmla="*/ 2076207 h 2076207"/>
              <a:gd name="csX1" fmla="*/ 63862 w 729414"/>
              <a:gd name="csY1" fmla="*/ 2065388 h 2076207"/>
              <a:gd name="csX2" fmla="*/ 16555 w 729414"/>
              <a:gd name="csY2" fmla="*/ 2050152 h 2076207"/>
              <a:gd name="csX3" fmla="*/ 15 w 729414"/>
              <a:gd name="csY3" fmla="*/ 2023802 h 2076207"/>
              <a:gd name="csX4" fmla="*/ 18368 w 729414"/>
              <a:gd name="csY4" fmla="*/ 1940709 h 2076207"/>
              <a:gd name="csX5" fmla="*/ 22139 w 729414"/>
              <a:gd name="csY5" fmla="*/ 1907268 h 2076207"/>
              <a:gd name="csX6" fmla="*/ 57941 w 729414"/>
              <a:gd name="csY6" fmla="*/ 1774163 h 2076207"/>
              <a:gd name="csX7" fmla="*/ 102478 w 729414"/>
              <a:gd name="csY7" fmla="*/ 1720275 h 2076207"/>
              <a:gd name="csX8" fmla="*/ 108579 w 729414"/>
              <a:gd name="csY8" fmla="*/ 1650967 h 2076207"/>
              <a:gd name="csX9" fmla="*/ 115628 w 729414"/>
              <a:gd name="csY9" fmla="*/ 1625405 h 2076207"/>
              <a:gd name="csX10" fmla="*/ 156323 w 729414"/>
              <a:gd name="csY10" fmla="*/ 1560181 h 2076207"/>
              <a:gd name="csX11" fmla="*/ 199424 w 729414"/>
              <a:gd name="csY11" fmla="*/ 1364729 h 2076207"/>
              <a:gd name="csX12" fmla="*/ 216779 w 729414"/>
              <a:gd name="csY12" fmla="*/ 1219490 h 2076207"/>
              <a:gd name="csX13" fmla="*/ 229755 w 729414"/>
              <a:gd name="csY13" fmla="*/ 1099357 h 2076207"/>
              <a:gd name="csX14" fmla="*/ 232707 w 729414"/>
              <a:gd name="csY14" fmla="*/ 1056423 h 2076207"/>
              <a:gd name="csX15" fmla="*/ 235622 w 729414"/>
              <a:gd name="csY15" fmla="*/ 952675 h 2076207"/>
              <a:gd name="csX16" fmla="*/ 235445 w 729414"/>
              <a:gd name="csY16" fmla="*/ 780278 h 2076207"/>
              <a:gd name="csX17" fmla="*/ 214544 w 729414"/>
              <a:gd name="csY17" fmla="*/ 756435 h 2076207"/>
              <a:gd name="csX18" fmla="*/ 172569 w 729414"/>
              <a:gd name="csY18" fmla="*/ 742582 h 2076207"/>
              <a:gd name="csX19" fmla="*/ 168784 w 729414"/>
              <a:gd name="csY19" fmla="*/ 669116 h 2076207"/>
              <a:gd name="csX20" fmla="*/ 191657 w 729414"/>
              <a:gd name="csY20" fmla="*/ 630765 h 2076207"/>
              <a:gd name="csX21" fmla="*/ 208150 w 729414"/>
              <a:gd name="csY21" fmla="*/ 609084 h 2076207"/>
              <a:gd name="csX22" fmla="*/ 216756 w 729414"/>
              <a:gd name="csY22" fmla="*/ 558673 h 2076207"/>
              <a:gd name="csX23" fmla="*/ 209092 w 729414"/>
              <a:gd name="csY23" fmla="*/ 521540 h 2076207"/>
              <a:gd name="csX24" fmla="*/ 204683 w 729414"/>
              <a:gd name="csY24" fmla="*/ 474024 h 2076207"/>
              <a:gd name="csX25" fmla="*/ 115483 w 729414"/>
              <a:gd name="csY25" fmla="*/ 213499 h 2076207"/>
              <a:gd name="csX26" fmla="*/ 102909 w 729414"/>
              <a:gd name="csY26" fmla="*/ 182297 h 2076207"/>
              <a:gd name="csX27" fmla="*/ 104315 w 729414"/>
              <a:gd name="csY27" fmla="*/ 163968 h 2076207"/>
              <a:gd name="csX28" fmla="*/ 122444 w 729414"/>
              <a:gd name="csY28" fmla="*/ 160805 h 2076207"/>
              <a:gd name="csX29" fmla="*/ 170283 w 729414"/>
              <a:gd name="csY29" fmla="*/ 187783 h 2076207"/>
              <a:gd name="csX30" fmla="*/ 180938 w 729414"/>
              <a:gd name="csY30" fmla="*/ 195322 h 2076207"/>
              <a:gd name="csX31" fmla="*/ 221419 w 729414"/>
              <a:gd name="csY31" fmla="*/ 138058 h 2076207"/>
              <a:gd name="csX32" fmla="*/ 294099 w 729414"/>
              <a:gd name="csY32" fmla="*/ 91372 h 2076207"/>
              <a:gd name="csX33" fmla="*/ 302307 w 729414"/>
              <a:gd name="csY33" fmla="*/ 76560 h 2076207"/>
              <a:gd name="csX34" fmla="*/ 320284 w 729414"/>
              <a:gd name="csY34" fmla="*/ 8414 h 2076207"/>
              <a:gd name="csX35" fmla="*/ 324784 w 729414"/>
              <a:gd name="csY35" fmla="*/ 946 h 2076207"/>
              <a:gd name="csX36" fmla="*/ 399212 w 729414"/>
              <a:gd name="csY36" fmla="*/ 0 h 2076207"/>
              <a:gd name="csX37" fmla="*/ 425980 w 729414"/>
              <a:gd name="csY37" fmla="*/ 78301 h 2076207"/>
              <a:gd name="csX38" fmla="*/ 431861 w 729414"/>
              <a:gd name="csY38" fmla="*/ 90312 h 2076207"/>
              <a:gd name="csX39" fmla="*/ 540349 w 729414"/>
              <a:gd name="csY39" fmla="*/ 187946 h 2076207"/>
              <a:gd name="csX40" fmla="*/ 545555 w 729414"/>
              <a:gd name="csY40" fmla="*/ 197828 h 2076207"/>
              <a:gd name="csX41" fmla="*/ 587318 w 729414"/>
              <a:gd name="csY41" fmla="*/ 171260 h 2076207"/>
              <a:gd name="csX42" fmla="*/ 601503 w 729414"/>
              <a:gd name="csY42" fmla="*/ 163707 h 2076207"/>
              <a:gd name="csX43" fmla="*/ 625254 w 729414"/>
              <a:gd name="csY43" fmla="*/ 163123 h 2076207"/>
              <a:gd name="csX44" fmla="*/ 625468 w 729414"/>
              <a:gd name="csY44" fmla="*/ 187579 h 2076207"/>
              <a:gd name="csX45" fmla="*/ 597543 w 729414"/>
              <a:gd name="csY45" fmla="*/ 251872 h 2076207"/>
              <a:gd name="csX46" fmla="*/ 531831 w 729414"/>
              <a:gd name="csY46" fmla="*/ 442689 h 2076207"/>
              <a:gd name="csX47" fmla="*/ 519888 w 729414"/>
              <a:gd name="csY47" fmla="*/ 501474 h 2076207"/>
              <a:gd name="csX48" fmla="*/ 522506 w 729414"/>
              <a:gd name="csY48" fmla="*/ 525086 h 2076207"/>
              <a:gd name="csX49" fmla="*/ 516235 w 729414"/>
              <a:gd name="csY49" fmla="*/ 555946 h 2076207"/>
              <a:gd name="csX50" fmla="*/ 521332 w 729414"/>
              <a:gd name="csY50" fmla="*/ 610676 h 2076207"/>
              <a:gd name="csX51" fmla="*/ 541382 w 729414"/>
              <a:gd name="csY51" fmla="*/ 642597 h 2076207"/>
              <a:gd name="csX52" fmla="*/ 557031 w 729414"/>
              <a:gd name="csY52" fmla="*/ 667949 h 2076207"/>
              <a:gd name="csX53" fmla="*/ 553994 w 729414"/>
              <a:gd name="csY53" fmla="*/ 744146 h 2076207"/>
              <a:gd name="csX54" fmla="*/ 508215 w 729414"/>
              <a:gd name="csY54" fmla="*/ 758841 h 2076207"/>
              <a:gd name="csX55" fmla="*/ 497442 w 729414"/>
              <a:gd name="csY55" fmla="*/ 771256 h 2076207"/>
              <a:gd name="csX56" fmla="*/ 493005 w 729414"/>
              <a:gd name="csY56" fmla="*/ 922055 h 2076207"/>
              <a:gd name="csX57" fmla="*/ 502900 w 729414"/>
              <a:gd name="csY57" fmla="*/ 1114191 h 2076207"/>
              <a:gd name="csX58" fmla="*/ 508800 w 729414"/>
              <a:gd name="csY58" fmla="*/ 1205474 h 2076207"/>
              <a:gd name="csX59" fmla="*/ 522952 w 729414"/>
              <a:gd name="csY59" fmla="*/ 1320065 h 2076207"/>
              <a:gd name="csX60" fmla="*/ 554682 w 729414"/>
              <a:gd name="csY60" fmla="*/ 1501203 h 2076207"/>
              <a:gd name="csX61" fmla="*/ 576958 w 729414"/>
              <a:gd name="csY61" fmla="*/ 1593963 h 2076207"/>
              <a:gd name="csX62" fmla="*/ 595349 w 729414"/>
              <a:gd name="csY62" fmla="*/ 1613498 h 2076207"/>
              <a:gd name="csX63" fmla="*/ 613936 w 729414"/>
              <a:gd name="csY63" fmla="*/ 1624058 h 2076207"/>
              <a:gd name="csX64" fmla="*/ 620938 w 729414"/>
              <a:gd name="csY64" fmla="*/ 1652071 h 2076207"/>
              <a:gd name="csX65" fmla="*/ 630805 w 729414"/>
              <a:gd name="csY65" fmla="*/ 1721702 h 2076207"/>
              <a:gd name="csX66" fmla="*/ 685830 w 729414"/>
              <a:gd name="csY66" fmla="*/ 1792915 h 2076207"/>
              <a:gd name="csX67" fmla="*/ 708904 w 729414"/>
              <a:gd name="csY67" fmla="*/ 1890290 h 2076207"/>
              <a:gd name="csX68" fmla="*/ 716580 w 729414"/>
              <a:gd name="csY68" fmla="*/ 1951136 h 2076207"/>
              <a:gd name="csX69" fmla="*/ 729397 w 729414"/>
              <a:gd name="csY69" fmla="*/ 2030261 h 2076207"/>
              <a:gd name="csX70" fmla="*/ 714212 w 729414"/>
              <a:gd name="csY70" fmla="*/ 2049544 h 2076207"/>
              <a:gd name="csX71" fmla="*/ 706629 w 729414"/>
              <a:gd name="csY71" fmla="*/ 2044290 h 2076207"/>
              <a:gd name="csX72" fmla="*/ 96263 w 729414"/>
              <a:gd name="csY72" fmla="*/ 2076207 h 2076207"/>
              <a:gd name="csX73" fmla="*/ 489970 w 729414"/>
              <a:gd name="csY73" fmla="*/ 152208 h 2076207"/>
              <a:gd name="csX74" fmla="*/ 490754 w 729414"/>
              <a:gd name="csY74" fmla="*/ 152592 h 2076207"/>
              <a:gd name="csX75" fmla="*/ 489489 w 729414"/>
              <a:gd name="csY75" fmla="*/ 149547 h 2076207"/>
              <a:gd name="csX76" fmla="*/ 393621 w 729414"/>
              <a:gd name="csY76" fmla="*/ 99259 h 2076207"/>
              <a:gd name="csX77" fmla="*/ 390419 w 729414"/>
              <a:gd name="csY77" fmla="*/ 18568 h 2076207"/>
              <a:gd name="csX78" fmla="*/ 334131 w 729414"/>
              <a:gd name="csY78" fmla="*/ 24327 h 2076207"/>
              <a:gd name="csX79" fmla="*/ 344678 w 729414"/>
              <a:gd name="csY79" fmla="*/ 101259 h 2076207"/>
              <a:gd name="csX80" fmla="*/ 298854 w 729414"/>
              <a:gd name="csY80" fmla="*/ 114003 h 2076207"/>
              <a:gd name="csX81" fmla="*/ 237456 w 729414"/>
              <a:gd name="csY81" fmla="*/ 154340 h 2076207"/>
              <a:gd name="csX82" fmla="*/ 240382 w 729414"/>
              <a:gd name="csY82" fmla="*/ 154035 h 2076207"/>
              <a:gd name="csX83" fmla="*/ 262731 w 729414"/>
              <a:gd name="csY83" fmla="*/ 170426 h 2076207"/>
              <a:gd name="csX84" fmla="*/ 279169 w 729414"/>
              <a:gd name="csY84" fmla="*/ 193173 h 2076207"/>
              <a:gd name="csX85" fmla="*/ 327717 w 729414"/>
              <a:gd name="csY85" fmla="*/ 188556 h 2076207"/>
              <a:gd name="csX86" fmla="*/ 348052 w 729414"/>
              <a:gd name="csY86" fmla="*/ 156919 h 2076207"/>
              <a:gd name="csX87" fmla="*/ 380330 w 729414"/>
              <a:gd name="csY87" fmla="*/ 156483 h 2076207"/>
              <a:gd name="csX88" fmla="*/ 408490 w 729414"/>
              <a:gd name="csY88" fmla="*/ 195400 h 2076207"/>
              <a:gd name="csX89" fmla="*/ 445346 w 729414"/>
              <a:gd name="csY89" fmla="*/ 197582 h 2076207"/>
              <a:gd name="csX90" fmla="*/ 464798 w 729414"/>
              <a:gd name="csY90" fmla="*/ 174107 h 2076207"/>
              <a:gd name="csX91" fmla="*/ 489970 w 729414"/>
              <a:gd name="csY91" fmla="*/ 152208 h 2076207"/>
              <a:gd name="csX92" fmla="*/ 140694 w 729414"/>
              <a:gd name="csY92" fmla="*/ 201837 h 2076207"/>
              <a:gd name="csX93" fmla="*/ 139834 w 729414"/>
              <a:gd name="csY93" fmla="*/ 201482 h 2076207"/>
              <a:gd name="csX94" fmla="*/ 140812 w 729414"/>
              <a:gd name="csY94" fmla="*/ 204941 h 2076207"/>
              <a:gd name="csX95" fmla="*/ 144631 w 729414"/>
              <a:gd name="csY95" fmla="*/ 217811 h 2076207"/>
              <a:gd name="csX96" fmla="*/ 201241 w 729414"/>
              <a:gd name="csY96" fmla="*/ 373387 h 2076207"/>
              <a:gd name="csX97" fmla="*/ 235971 w 729414"/>
              <a:gd name="csY97" fmla="*/ 504451 h 2076207"/>
              <a:gd name="csX98" fmla="*/ 247475 w 729414"/>
              <a:gd name="csY98" fmla="*/ 513241 h 2076207"/>
              <a:gd name="csX99" fmla="*/ 289066 w 729414"/>
              <a:gd name="csY99" fmla="*/ 511170 h 2076207"/>
              <a:gd name="csX100" fmla="*/ 378229 w 729414"/>
              <a:gd name="csY100" fmla="*/ 511084 h 2076207"/>
              <a:gd name="csX101" fmla="*/ 470850 w 729414"/>
              <a:gd name="csY101" fmla="*/ 516341 h 2076207"/>
              <a:gd name="csX102" fmla="*/ 492933 w 729414"/>
              <a:gd name="csY102" fmla="*/ 497969 h 2076207"/>
              <a:gd name="csX103" fmla="*/ 557617 w 729414"/>
              <a:gd name="csY103" fmla="*/ 280398 h 2076207"/>
              <a:gd name="csX104" fmla="*/ 588788 w 729414"/>
              <a:gd name="csY104" fmla="*/ 200385 h 2076207"/>
              <a:gd name="csX105" fmla="*/ 530958 w 729414"/>
              <a:gd name="csY105" fmla="*/ 232968 h 2076207"/>
              <a:gd name="csX106" fmla="*/ 483823 w 729414"/>
              <a:gd name="csY106" fmla="*/ 190364 h 2076207"/>
              <a:gd name="csX107" fmla="*/ 466649 w 729414"/>
              <a:gd name="csY107" fmla="*/ 209061 h 2076207"/>
              <a:gd name="csX108" fmla="*/ 399941 w 729414"/>
              <a:gd name="csY108" fmla="*/ 216988 h 2076207"/>
              <a:gd name="csX109" fmla="*/ 363018 w 729414"/>
              <a:gd name="csY109" fmla="*/ 179615 h 2076207"/>
              <a:gd name="csX110" fmla="*/ 308839 w 729414"/>
              <a:gd name="csY110" fmla="*/ 227846 h 2076207"/>
              <a:gd name="csX111" fmla="*/ 245077 w 729414"/>
              <a:gd name="csY111" fmla="*/ 192402 h 2076207"/>
              <a:gd name="csX112" fmla="*/ 242829 w 729414"/>
              <a:gd name="csY112" fmla="*/ 198815 h 2076207"/>
              <a:gd name="csX113" fmla="*/ 168452 w 729414"/>
              <a:gd name="csY113" fmla="*/ 219348 h 2076207"/>
              <a:gd name="csX114" fmla="*/ 140694 w 729414"/>
              <a:gd name="csY114" fmla="*/ 201837 h 2076207"/>
              <a:gd name="csX115" fmla="*/ 259999 w 729414"/>
              <a:gd name="csY115" fmla="*/ 966699 h 2076207"/>
              <a:gd name="csX116" fmla="*/ 257072 w 729414"/>
              <a:gd name="csY116" fmla="*/ 1070424 h 2076207"/>
              <a:gd name="csX117" fmla="*/ 251372 w 729414"/>
              <a:gd name="csY117" fmla="*/ 1157618 h 2076207"/>
              <a:gd name="csX118" fmla="*/ 232677 w 729414"/>
              <a:gd name="csY118" fmla="*/ 1320279 h 2076207"/>
              <a:gd name="csX119" fmla="*/ 209182 w 729414"/>
              <a:gd name="csY119" fmla="*/ 1468667 h 2076207"/>
              <a:gd name="csX120" fmla="*/ 175302 w 729414"/>
              <a:gd name="csY120" fmla="*/ 1616623 h 2076207"/>
              <a:gd name="csX121" fmla="*/ 182769 w 729414"/>
              <a:gd name="csY121" fmla="*/ 1629786 h 2076207"/>
              <a:gd name="csX122" fmla="*/ 212156 w 729414"/>
              <a:gd name="csY122" fmla="*/ 1632656 h 2076207"/>
              <a:gd name="csX123" fmla="*/ 351295 w 729414"/>
              <a:gd name="csY123" fmla="*/ 1632801 h 2076207"/>
              <a:gd name="csX124" fmla="*/ 376150 w 729414"/>
              <a:gd name="csY124" fmla="*/ 1608307 h 2076207"/>
              <a:gd name="csX125" fmla="*/ 373450 w 729414"/>
              <a:gd name="csY125" fmla="*/ 1457291 h 2076207"/>
              <a:gd name="csX126" fmla="*/ 370936 w 729414"/>
              <a:gd name="csY126" fmla="*/ 1342736 h 2076207"/>
              <a:gd name="csX127" fmla="*/ 368328 w 729414"/>
              <a:gd name="csY127" fmla="*/ 1203878 h 2076207"/>
              <a:gd name="csX128" fmla="*/ 367836 w 729414"/>
              <a:gd name="csY128" fmla="*/ 813478 h 2076207"/>
              <a:gd name="csX129" fmla="*/ 365240 w 729414"/>
              <a:gd name="csY129" fmla="*/ 773243 h 2076207"/>
              <a:gd name="csX130" fmla="*/ 353084 w 729414"/>
              <a:gd name="csY130" fmla="*/ 762083 h 2076207"/>
              <a:gd name="csX131" fmla="*/ 280966 w 729414"/>
              <a:gd name="csY131" fmla="*/ 759855 h 2076207"/>
              <a:gd name="csX132" fmla="*/ 259965 w 729414"/>
              <a:gd name="csY132" fmla="*/ 779553 h 2076207"/>
              <a:gd name="csX133" fmla="*/ 262341 w 729414"/>
              <a:gd name="csY133" fmla="*/ 856275 h 2076207"/>
              <a:gd name="csX134" fmla="*/ 259999 w 729414"/>
              <a:gd name="csY134" fmla="*/ 966699 h 2076207"/>
              <a:gd name="csX135" fmla="*/ 55556 w 729414"/>
              <a:gd name="csY135" fmla="*/ 1835827 h 2076207"/>
              <a:gd name="csX136" fmla="*/ 49393 w 729414"/>
              <a:gd name="csY136" fmla="*/ 1878155 h 2076207"/>
              <a:gd name="csX137" fmla="*/ 73949 w 729414"/>
              <a:gd name="csY137" fmla="*/ 1905781 h 2076207"/>
              <a:gd name="csX138" fmla="*/ 110073 w 729414"/>
              <a:gd name="csY138" fmla="*/ 1909068 h 2076207"/>
              <a:gd name="csX139" fmla="*/ 224745 w 729414"/>
              <a:gd name="csY139" fmla="*/ 1921652 h 2076207"/>
              <a:gd name="csX140" fmla="*/ 347327 w 729414"/>
              <a:gd name="csY140" fmla="*/ 1924778 h 2076207"/>
              <a:gd name="csX141" fmla="*/ 363345 w 729414"/>
              <a:gd name="csY141" fmla="*/ 1923293 h 2076207"/>
              <a:gd name="csX142" fmla="*/ 373787 w 729414"/>
              <a:gd name="csY142" fmla="*/ 1911200 h 2076207"/>
              <a:gd name="csX143" fmla="*/ 376623 w 729414"/>
              <a:gd name="csY143" fmla="*/ 1696741 h 2076207"/>
              <a:gd name="csX144" fmla="*/ 360437 w 729414"/>
              <a:gd name="csY144" fmla="*/ 1681289 h 2076207"/>
              <a:gd name="csX145" fmla="*/ 263503 w 729414"/>
              <a:gd name="csY145" fmla="*/ 1678179 h 2076207"/>
              <a:gd name="csX146" fmla="*/ 160381 w 729414"/>
              <a:gd name="csY146" fmla="*/ 1670405 h 2076207"/>
              <a:gd name="csX147" fmla="*/ 143321 w 729414"/>
              <a:gd name="csY147" fmla="*/ 1685538 h 2076207"/>
              <a:gd name="csX148" fmla="*/ 124769 w 729414"/>
              <a:gd name="csY148" fmla="*/ 1738195 h 2076207"/>
              <a:gd name="csX149" fmla="*/ 90593 w 729414"/>
              <a:gd name="csY149" fmla="*/ 1779570 h 2076207"/>
              <a:gd name="csX150" fmla="*/ 55556 w 729414"/>
              <a:gd name="csY150" fmla="*/ 1835827 h 2076207"/>
              <a:gd name="csX151" fmla="*/ 378900 w 729414"/>
              <a:gd name="csY151" fmla="*/ 2007280 h 2076207"/>
              <a:gd name="csX152" fmla="*/ 378887 w 729414"/>
              <a:gd name="csY152" fmla="*/ 1995127 h 2076207"/>
              <a:gd name="csX153" fmla="*/ 359084 w 729414"/>
              <a:gd name="csY153" fmla="*/ 1975964 h 2076207"/>
              <a:gd name="csX154" fmla="*/ 247288 w 729414"/>
              <a:gd name="csY154" fmla="*/ 1973305 h 2076207"/>
              <a:gd name="csX155" fmla="*/ 201692 w 729414"/>
              <a:gd name="csY155" fmla="*/ 1970275 h 2076207"/>
              <a:gd name="csX156" fmla="*/ 57962 w 729414"/>
              <a:gd name="csY156" fmla="*/ 1952648 h 2076207"/>
              <a:gd name="csX157" fmla="*/ 39194 w 729414"/>
              <a:gd name="csY157" fmla="*/ 1963552 h 2076207"/>
              <a:gd name="csX158" fmla="*/ 30066 w 729414"/>
              <a:gd name="csY158" fmla="*/ 2006631 h 2076207"/>
              <a:gd name="csX159" fmla="*/ 40232 w 729414"/>
              <a:gd name="csY159" fmla="*/ 2019486 h 2076207"/>
              <a:gd name="csX160" fmla="*/ 238186 w 729414"/>
              <a:gd name="csY160" fmla="*/ 2046096 h 2076207"/>
              <a:gd name="csX161" fmla="*/ 342155 w 729414"/>
              <a:gd name="csY161" fmla="*/ 2046441 h 2076207"/>
              <a:gd name="csX162" fmla="*/ 378900 w 729414"/>
              <a:gd name="csY162" fmla="*/ 2007280 h 2076207"/>
              <a:gd name="csX163" fmla="*/ 310220 w 729414"/>
              <a:gd name="csY163" fmla="*/ 554288 h 2076207"/>
              <a:gd name="csX164" fmla="*/ 259136 w 729414"/>
              <a:gd name="csY164" fmla="*/ 556881 h 2076207"/>
              <a:gd name="csX165" fmla="*/ 249085 w 729414"/>
              <a:gd name="csY165" fmla="*/ 567981 h 2076207"/>
              <a:gd name="csX166" fmla="*/ 249141 w 729414"/>
              <a:gd name="csY166" fmla="*/ 605644 h 2076207"/>
              <a:gd name="csX167" fmla="*/ 262628 w 729414"/>
              <a:gd name="csY167" fmla="*/ 605627 h 2076207"/>
              <a:gd name="csX168" fmla="*/ 369608 w 729414"/>
              <a:gd name="csY168" fmla="*/ 603027 h 2076207"/>
              <a:gd name="csX169" fmla="*/ 463931 w 729414"/>
              <a:gd name="csY169" fmla="*/ 605146 h 2076207"/>
              <a:gd name="csX170" fmla="*/ 478113 w 729414"/>
              <a:gd name="csY170" fmla="*/ 595843 h 2076207"/>
              <a:gd name="csX171" fmla="*/ 478796 w 729414"/>
              <a:gd name="csY171" fmla="*/ 556832 h 2076207"/>
              <a:gd name="csX172" fmla="*/ 310220 w 729414"/>
              <a:gd name="csY172" fmla="*/ 554288 h 2076207"/>
              <a:gd name="csX173" fmla="*/ 348836 w 729414"/>
              <a:gd name="csY173" fmla="*/ 684115 h 2076207"/>
              <a:gd name="csX174" fmla="*/ 281333 w 729414"/>
              <a:gd name="csY174" fmla="*/ 683313 h 2076207"/>
              <a:gd name="csX175" fmla="*/ 212728 w 729414"/>
              <a:gd name="csY175" fmla="*/ 681931 h 2076207"/>
              <a:gd name="csX176" fmla="*/ 187283 w 729414"/>
              <a:gd name="csY176" fmla="*/ 689555 h 2076207"/>
              <a:gd name="csX177" fmla="*/ 186163 w 729414"/>
              <a:gd name="csY177" fmla="*/ 718266 h 2076207"/>
              <a:gd name="csX178" fmla="*/ 209894 w 729414"/>
              <a:gd name="csY178" fmla="*/ 726798 h 2076207"/>
              <a:gd name="csX179" fmla="*/ 334814 w 729414"/>
              <a:gd name="csY179" fmla="*/ 732494 h 2076207"/>
              <a:gd name="csX180" fmla="*/ 364856 w 729414"/>
              <a:gd name="csY180" fmla="*/ 707963 h 2076207"/>
              <a:gd name="csX181" fmla="*/ 348836 w 729414"/>
              <a:gd name="csY181" fmla="*/ 684115 h 2076207"/>
              <a:gd name="csX182" fmla="*/ 298865 w 729414"/>
              <a:gd name="csY182" fmla="*/ 621954 h 2076207"/>
              <a:gd name="csX183" fmla="*/ 251619 w 729414"/>
              <a:gd name="csY183" fmla="*/ 622133 h 2076207"/>
              <a:gd name="csX184" fmla="*/ 214459 w 729414"/>
              <a:gd name="csY184" fmla="*/ 636230 h 2076207"/>
              <a:gd name="csX185" fmla="*/ 221436 w 729414"/>
              <a:gd name="csY185" fmla="*/ 654205 h 2076207"/>
              <a:gd name="csX186" fmla="*/ 272412 w 729414"/>
              <a:gd name="csY186" fmla="*/ 657250 h 2076207"/>
              <a:gd name="csX187" fmla="*/ 349094 w 729414"/>
              <a:gd name="csY187" fmla="*/ 659282 h 2076207"/>
              <a:gd name="csX188" fmla="*/ 362996 w 729414"/>
              <a:gd name="csY188" fmla="*/ 644234 h 2076207"/>
              <a:gd name="csX189" fmla="*/ 348472 w 729414"/>
              <a:gd name="csY189" fmla="*/ 624649 h 2076207"/>
              <a:gd name="csX190" fmla="*/ 298865 w 729414"/>
              <a:gd name="csY190" fmla="*/ 621954 h 2076207"/>
              <a:gd name="csX191" fmla="*/ 227796 w 729414"/>
              <a:gd name="csY191" fmla="*/ 528000 h 2076207"/>
              <a:gd name="csX192" fmla="*/ 241009 w 729414"/>
              <a:gd name="csY192" fmla="*/ 545897 h 2076207"/>
              <a:gd name="csX193" fmla="*/ 282607 w 729414"/>
              <a:gd name="csY193" fmla="*/ 543480 h 2076207"/>
              <a:gd name="csX194" fmla="*/ 354213 w 729414"/>
              <a:gd name="csY194" fmla="*/ 543384 h 2076207"/>
              <a:gd name="csX195" fmla="*/ 365334 w 729414"/>
              <a:gd name="csY195" fmla="*/ 533397 h 2076207"/>
              <a:gd name="csX196" fmla="*/ 354531 w 729414"/>
              <a:gd name="csY196" fmla="*/ 521620 h 2076207"/>
              <a:gd name="csX197" fmla="*/ 259169 w 729414"/>
              <a:gd name="csY197" fmla="*/ 521978 h 2076207"/>
              <a:gd name="csX198" fmla="*/ 227796 w 729414"/>
              <a:gd name="csY198" fmla="*/ 528000 h 2076207"/>
              <a:gd name="csX199" fmla="*/ 508068 w 729414"/>
              <a:gd name="csY199" fmla="*/ 190710 h 2076207"/>
              <a:gd name="csX200" fmla="*/ 521293 w 729414"/>
              <a:gd name="csY200" fmla="*/ 205907 h 2076207"/>
              <a:gd name="csX201" fmla="*/ 525175 w 729414"/>
              <a:gd name="csY201" fmla="*/ 202985 h 2076207"/>
              <a:gd name="csX202" fmla="*/ 500276 w 729414"/>
              <a:gd name="csY202" fmla="*/ 160640 h 2076207"/>
              <a:gd name="csX203" fmla="*/ 497122 w 729414"/>
              <a:gd name="csY203" fmla="*/ 162007 h 2076207"/>
              <a:gd name="csX204" fmla="*/ 508068 w 729414"/>
              <a:gd name="csY204" fmla="*/ 190710 h 2076207"/>
              <a:gd name="csX205" fmla="*/ 215522 w 729414"/>
              <a:gd name="csY205" fmla="*/ 197296 h 2076207"/>
              <a:gd name="csX206" fmla="*/ 234029 w 729414"/>
              <a:gd name="csY206" fmla="*/ 162725 h 2076207"/>
              <a:gd name="csX207" fmla="*/ 229000 w 729414"/>
              <a:gd name="csY207" fmla="*/ 159902 h 2076207"/>
              <a:gd name="csX208" fmla="*/ 204824 w 729414"/>
              <a:gd name="csY208" fmla="*/ 199677 h 2076207"/>
              <a:gd name="csX209" fmla="*/ 207990 w 729414"/>
              <a:gd name="csY209" fmla="*/ 202198 h 2076207"/>
              <a:gd name="csX210" fmla="*/ 215522 w 729414"/>
              <a:gd name="csY210" fmla="*/ 197296 h 2076207"/>
              <a:gd name="csX211" fmla="*/ 484400 w 729414"/>
              <a:gd name="csY211" fmla="*/ 896678 h 2076207"/>
              <a:gd name="csX212" fmla="*/ 486181 w 729414"/>
              <a:gd name="csY212" fmla="*/ 896585 h 2076207"/>
              <a:gd name="csX213" fmla="*/ 486181 w 729414"/>
              <a:gd name="csY213" fmla="*/ 795289 h 2076207"/>
              <a:gd name="csX214" fmla="*/ 720241 w 729414"/>
              <a:gd name="csY214" fmla="*/ 2030666 h 2076207"/>
              <a:gd name="csX215" fmla="*/ 721175 w 729414"/>
              <a:gd name="csY215" fmla="*/ 2029733 h 2076207"/>
              <a:gd name="csX216" fmla="*/ 720241 w 729414"/>
              <a:gd name="csY216" fmla="*/ 2030666 h 2076207"/>
              <a:gd name="csX217" fmla="*/ 715702 w 729414"/>
              <a:gd name="csY217" fmla="*/ 2037051 h 2076207"/>
              <a:gd name="csX218" fmla="*/ 715702 w 729414"/>
              <a:gd name="csY218" fmla="*/ 2037051 h 2076207"/>
              <a:gd name="csX0" fmla="*/ 96263 w 765535"/>
              <a:gd name="csY0" fmla="*/ 2076207 h 2076207"/>
              <a:gd name="csX1" fmla="*/ 63862 w 765535"/>
              <a:gd name="csY1" fmla="*/ 2065388 h 2076207"/>
              <a:gd name="csX2" fmla="*/ 16555 w 765535"/>
              <a:gd name="csY2" fmla="*/ 2050152 h 2076207"/>
              <a:gd name="csX3" fmla="*/ 15 w 765535"/>
              <a:gd name="csY3" fmla="*/ 2023802 h 2076207"/>
              <a:gd name="csX4" fmla="*/ 18368 w 765535"/>
              <a:gd name="csY4" fmla="*/ 1940709 h 2076207"/>
              <a:gd name="csX5" fmla="*/ 22139 w 765535"/>
              <a:gd name="csY5" fmla="*/ 1907268 h 2076207"/>
              <a:gd name="csX6" fmla="*/ 57941 w 765535"/>
              <a:gd name="csY6" fmla="*/ 1774163 h 2076207"/>
              <a:gd name="csX7" fmla="*/ 102478 w 765535"/>
              <a:gd name="csY7" fmla="*/ 1720275 h 2076207"/>
              <a:gd name="csX8" fmla="*/ 108579 w 765535"/>
              <a:gd name="csY8" fmla="*/ 1650967 h 2076207"/>
              <a:gd name="csX9" fmla="*/ 115628 w 765535"/>
              <a:gd name="csY9" fmla="*/ 1625405 h 2076207"/>
              <a:gd name="csX10" fmla="*/ 156323 w 765535"/>
              <a:gd name="csY10" fmla="*/ 1560181 h 2076207"/>
              <a:gd name="csX11" fmla="*/ 199424 w 765535"/>
              <a:gd name="csY11" fmla="*/ 1364729 h 2076207"/>
              <a:gd name="csX12" fmla="*/ 216779 w 765535"/>
              <a:gd name="csY12" fmla="*/ 1219490 h 2076207"/>
              <a:gd name="csX13" fmla="*/ 229755 w 765535"/>
              <a:gd name="csY13" fmla="*/ 1099357 h 2076207"/>
              <a:gd name="csX14" fmla="*/ 232707 w 765535"/>
              <a:gd name="csY14" fmla="*/ 1056423 h 2076207"/>
              <a:gd name="csX15" fmla="*/ 235622 w 765535"/>
              <a:gd name="csY15" fmla="*/ 952675 h 2076207"/>
              <a:gd name="csX16" fmla="*/ 235445 w 765535"/>
              <a:gd name="csY16" fmla="*/ 780278 h 2076207"/>
              <a:gd name="csX17" fmla="*/ 214544 w 765535"/>
              <a:gd name="csY17" fmla="*/ 756435 h 2076207"/>
              <a:gd name="csX18" fmla="*/ 172569 w 765535"/>
              <a:gd name="csY18" fmla="*/ 742582 h 2076207"/>
              <a:gd name="csX19" fmla="*/ 168784 w 765535"/>
              <a:gd name="csY19" fmla="*/ 669116 h 2076207"/>
              <a:gd name="csX20" fmla="*/ 191657 w 765535"/>
              <a:gd name="csY20" fmla="*/ 630765 h 2076207"/>
              <a:gd name="csX21" fmla="*/ 208150 w 765535"/>
              <a:gd name="csY21" fmla="*/ 609084 h 2076207"/>
              <a:gd name="csX22" fmla="*/ 216756 w 765535"/>
              <a:gd name="csY22" fmla="*/ 558673 h 2076207"/>
              <a:gd name="csX23" fmla="*/ 209092 w 765535"/>
              <a:gd name="csY23" fmla="*/ 521540 h 2076207"/>
              <a:gd name="csX24" fmla="*/ 204683 w 765535"/>
              <a:gd name="csY24" fmla="*/ 474024 h 2076207"/>
              <a:gd name="csX25" fmla="*/ 115483 w 765535"/>
              <a:gd name="csY25" fmla="*/ 213499 h 2076207"/>
              <a:gd name="csX26" fmla="*/ 102909 w 765535"/>
              <a:gd name="csY26" fmla="*/ 182297 h 2076207"/>
              <a:gd name="csX27" fmla="*/ 104315 w 765535"/>
              <a:gd name="csY27" fmla="*/ 163968 h 2076207"/>
              <a:gd name="csX28" fmla="*/ 122444 w 765535"/>
              <a:gd name="csY28" fmla="*/ 160805 h 2076207"/>
              <a:gd name="csX29" fmla="*/ 170283 w 765535"/>
              <a:gd name="csY29" fmla="*/ 187783 h 2076207"/>
              <a:gd name="csX30" fmla="*/ 180938 w 765535"/>
              <a:gd name="csY30" fmla="*/ 195322 h 2076207"/>
              <a:gd name="csX31" fmla="*/ 221419 w 765535"/>
              <a:gd name="csY31" fmla="*/ 138058 h 2076207"/>
              <a:gd name="csX32" fmla="*/ 294099 w 765535"/>
              <a:gd name="csY32" fmla="*/ 91372 h 2076207"/>
              <a:gd name="csX33" fmla="*/ 302307 w 765535"/>
              <a:gd name="csY33" fmla="*/ 76560 h 2076207"/>
              <a:gd name="csX34" fmla="*/ 320284 w 765535"/>
              <a:gd name="csY34" fmla="*/ 8414 h 2076207"/>
              <a:gd name="csX35" fmla="*/ 324784 w 765535"/>
              <a:gd name="csY35" fmla="*/ 946 h 2076207"/>
              <a:gd name="csX36" fmla="*/ 399212 w 765535"/>
              <a:gd name="csY36" fmla="*/ 0 h 2076207"/>
              <a:gd name="csX37" fmla="*/ 425980 w 765535"/>
              <a:gd name="csY37" fmla="*/ 78301 h 2076207"/>
              <a:gd name="csX38" fmla="*/ 431861 w 765535"/>
              <a:gd name="csY38" fmla="*/ 90312 h 2076207"/>
              <a:gd name="csX39" fmla="*/ 540349 w 765535"/>
              <a:gd name="csY39" fmla="*/ 187946 h 2076207"/>
              <a:gd name="csX40" fmla="*/ 545555 w 765535"/>
              <a:gd name="csY40" fmla="*/ 197828 h 2076207"/>
              <a:gd name="csX41" fmla="*/ 587318 w 765535"/>
              <a:gd name="csY41" fmla="*/ 171260 h 2076207"/>
              <a:gd name="csX42" fmla="*/ 601503 w 765535"/>
              <a:gd name="csY42" fmla="*/ 163707 h 2076207"/>
              <a:gd name="csX43" fmla="*/ 625254 w 765535"/>
              <a:gd name="csY43" fmla="*/ 163123 h 2076207"/>
              <a:gd name="csX44" fmla="*/ 625468 w 765535"/>
              <a:gd name="csY44" fmla="*/ 187579 h 2076207"/>
              <a:gd name="csX45" fmla="*/ 597543 w 765535"/>
              <a:gd name="csY45" fmla="*/ 251872 h 2076207"/>
              <a:gd name="csX46" fmla="*/ 531831 w 765535"/>
              <a:gd name="csY46" fmla="*/ 442689 h 2076207"/>
              <a:gd name="csX47" fmla="*/ 519888 w 765535"/>
              <a:gd name="csY47" fmla="*/ 501474 h 2076207"/>
              <a:gd name="csX48" fmla="*/ 522506 w 765535"/>
              <a:gd name="csY48" fmla="*/ 525086 h 2076207"/>
              <a:gd name="csX49" fmla="*/ 516235 w 765535"/>
              <a:gd name="csY49" fmla="*/ 555946 h 2076207"/>
              <a:gd name="csX50" fmla="*/ 521332 w 765535"/>
              <a:gd name="csY50" fmla="*/ 610676 h 2076207"/>
              <a:gd name="csX51" fmla="*/ 541382 w 765535"/>
              <a:gd name="csY51" fmla="*/ 642597 h 2076207"/>
              <a:gd name="csX52" fmla="*/ 557031 w 765535"/>
              <a:gd name="csY52" fmla="*/ 667949 h 2076207"/>
              <a:gd name="csX53" fmla="*/ 553994 w 765535"/>
              <a:gd name="csY53" fmla="*/ 744146 h 2076207"/>
              <a:gd name="csX54" fmla="*/ 508215 w 765535"/>
              <a:gd name="csY54" fmla="*/ 758841 h 2076207"/>
              <a:gd name="csX55" fmla="*/ 497442 w 765535"/>
              <a:gd name="csY55" fmla="*/ 771256 h 2076207"/>
              <a:gd name="csX56" fmla="*/ 493005 w 765535"/>
              <a:gd name="csY56" fmla="*/ 922055 h 2076207"/>
              <a:gd name="csX57" fmla="*/ 502900 w 765535"/>
              <a:gd name="csY57" fmla="*/ 1114191 h 2076207"/>
              <a:gd name="csX58" fmla="*/ 508800 w 765535"/>
              <a:gd name="csY58" fmla="*/ 1205474 h 2076207"/>
              <a:gd name="csX59" fmla="*/ 522952 w 765535"/>
              <a:gd name="csY59" fmla="*/ 1320065 h 2076207"/>
              <a:gd name="csX60" fmla="*/ 554682 w 765535"/>
              <a:gd name="csY60" fmla="*/ 1501203 h 2076207"/>
              <a:gd name="csX61" fmla="*/ 576958 w 765535"/>
              <a:gd name="csY61" fmla="*/ 1593963 h 2076207"/>
              <a:gd name="csX62" fmla="*/ 595349 w 765535"/>
              <a:gd name="csY62" fmla="*/ 1613498 h 2076207"/>
              <a:gd name="csX63" fmla="*/ 613936 w 765535"/>
              <a:gd name="csY63" fmla="*/ 1624058 h 2076207"/>
              <a:gd name="csX64" fmla="*/ 620938 w 765535"/>
              <a:gd name="csY64" fmla="*/ 1652071 h 2076207"/>
              <a:gd name="csX65" fmla="*/ 630805 w 765535"/>
              <a:gd name="csY65" fmla="*/ 1721702 h 2076207"/>
              <a:gd name="csX66" fmla="*/ 685830 w 765535"/>
              <a:gd name="csY66" fmla="*/ 1792915 h 2076207"/>
              <a:gd name="csX67" fmla="*/ 708904 w 765535"/>
              <a:gd name="csY67" fmla="*/ 1890290 h 2076207"/>
              <a:gd name="csX68" fmla="*/ 716580 w 765535"/>
              <a:gd name="csY68" fmla="*/ 1951136 h 2076207"/>
              <a:gd name="csX69" fmla="*/ 729397 w 765535"/>
              <a:gd name="csY69" fmla="*/ 2030261 h 2076207"/>
              <a:gd name="csX70" fmla="*/ 714212 w 765535"/>
              <a:gd name="csY70" fmla="*/ 2049544 h 2076207"/>
              <a:gd name="csX71" fmla="*/ 96263 w 765535"/>
              <a:gd name="csY71" fmla="*/ 2076207 h 2076207"/>
              <a:gd name="csX72" fmla="*/ 489970 w 765535"/>
              <a:gd name="csY72" fmla="*/ 152208 h 2076207"/>
              <a:gd name="csX73" fmla="*/ 490754 w 765535"/>
              <a:gd name="csY73" fmla="*/ 152592 h 2076207"/>
              <a:gd name="csX74" fmla="*/ 489489 w 765535"/>
              <a:gd name="csY74" fmla="*/ 149547 h 2076207"/>
              <a:gd name="csX75" fmla="*/ 393621 w 765535"/>
              <a:gd name="csY75" fmla="*/ 99259 h 2076207"/>
              <a:gd name="csX76" fmla="*/ 390419 w 765535"/>
              <a:gd name="csY76" fmla="*/ 18568 h 2076207"/>
              <a:gd name="csX77" fmla="*/ 334131 w 765535"/>
              <a:gd name="csY77" fmla="*/ 24327 h 2076207"/>
              <a:gd name="csX78" fmla="*/ 344678 w 765535"/>
              <a:gd name="csY78" fmla="*/ 101259 h 2076207"/>
              <a:gd name="csX79" fmla="*/ 298854 w 765535"/>
              <a:gd name="csY79" fmla="*/ 114003 h 2076207"/>
              <a:gd name="csX80" fmla="*/ 237456 w 765535"/>
              <a:gd name="csY80" fmla="*/ 154340 h 2076207"/>
              <a:gd name="csX81" fmla="*/ 240382 w 765535"/>
              <a:gd name="csY81" fmla="*/ 154035 h 2076207"/>
              <a:gd name="csX82" fmla="*/ 262731 w 765535"/>
              <a:gd name="csY82" fmla="*/ 170426 h 2076207"/>
              <a:gd name="csX83" fmla="*/ 279169 w 765535"/>
              <a:gd name="csY83" fmla="*/ 193173 h 2076207"/>
              <a:gd name="csX84" fmla="*/ 327717 w 765535"/>
              <a:gd name="csY84" fmla="*/ 188556 h 2076207"/>
              <a:gd name="csX85" fmla="*/ 348052 w 765535"/>
              <a:gd name="csY85" fmla="*/ 156919 h 2076207"/>
              <a:gd name="csX86" fmla="*/ 380330 w 765535"/>
              <a:gd name="csY86" fmla="*/ 156483 h 2076207"/>
              <a:gd name="csX87" fmla="*/ 408490 w 765535"/>
              <a:gd name="csY87" fmla="*/ 195400 h 2076207"/>
              <a:gd name="csX88" fmla="*/ 445346 w 765535"/>
              <a:gd name="csY88" fmla="*/ 197582 h 2076207"/>
              <a:gd name="csX89" fmla="*/ 464798 w 765535"/>
              <a:gd name="csY89" fmla="*/ 174107 h 2076207"/>
              <a:gd name="csX90" fmla="*/ 489970 w 765535"/>
              <a:gd name="csY90" fmla="*/ 152208 h 2076207"/>
              <a:gd name="csX91" fmla="*/ 140694 w 765535"/>
              <a:gd name="csY91" fmla="*/ 201837 h 2076207"/>
              <a:gd name="csX92" fmla="*/ 139834 w 765535"/>
              <a:gd name="csY92" fmla="*/ 201482 h 2076207"/>
              <a:gd name="csX93" fmla="*/ 140812 w 765535"/>
              <a:gd name="csY93" fmla="*/ 204941 h 2076207"/>
              <a:gd name="csX94" fmla="*/ 144631 w 765535"/>
              <a:gd name="csY94" fmla="*/ 217811 h 2076207"/>
              <a:gd name="csX95" fmla="*/ 201241 w 765535"/>
              <a:gd name="csY95" fmla="*/ 373387 h 2076207"/>
              <a:gd name="csX96" fmla="*/ 235971 w 765535"/>
              <a:gd name="csY96" fmla="*/ 504451 h 2076207"/>
              <a:gd name="csX97" fmla="*/ 247475 w 765535"/>
              <a:gd name="csY97" fmla="*/ 513241 h 2076207"/>
              <a:gd name="csX98" fmla="*/ 289066 w 765535"/>
              <a:gd name="csY98" fmla="*/ 511170 h 2076207"/>
              <a:gd name="csX99" fmla="*/ 378229 w 765535"/>
              <a:gd name="csY99" fmla="*/ 511084 h 2076207"/>
              <a:gd name="csX100" fmla="*/ 470850 w 765535"/>
              <a:gd name="csY100" fmla="*/ 516341 h 2076207"/>
              <a:gd name="csX101" fmla="*/ 492933 w 765535"/>
              <a:gd name="csY101" fmla="*/ 497969 h 2076207"/>
              <a:gd name="csX102" fmla="*/ 557617 w 765535"/>
              <a:gd name="csY102" fmla="*/ 280398 h 2076207"/>
              <a:gd name="csX103" fmla="*/ 588788 w 765535"/>
              <a:gd name="csY103" fmla="*/ 200385 h 2076207"/>
              <a:gd name="csX104" fmla="*/ 530958 w 765535"/>
              <a:gd name="csY104" fmla="*/ 232968 h 2076207"/>
              <a:gd name="csX105" fmla="*/ 483823 w 765535"/>
              <a:gd name="csY105" fmla="*/ 190364 h 2076207"/>
              <a:gd name="csX106" fmla="*/ 466649 w 765535"/>
              <a:gd name="csY106" fmla="*/ 209061 h 2076207"/>
              <a:gd name="csX107" fmla="*/ 399941 w 765535"/>
              <a:gd name="csY107" fmla="*/ 216988 h 2076207"/>
              <a:gd name="csX108" fmla="*/ 363018 w 765535"/>
              <a:gd name="csY108" fmla="*/ 179615 h 2076207"/>
              <a:gd name="csX109" fmla="*/ 308839 w 765535"/>
              <a:gd name="csY109" fmla="*/ 227846 h 2076207"/>
              <a:gd name="csX110" fmla="*/ 245077 w 765535"/>
              <a:gd name="csY110" fmla="*/ 192402 h 2076207"/>
              <a:gd name="csX111" fmla="*/ 242829 w 765535"/>
              <a:gd name="csY111" fmla="*/ 198815 h 2076207"/>
              <a:gd name="csX112" fmla="*/ 168452 w 765535"/>
              <a:gd name="csY112" fmla="*/ 219348 h 2076207"/>
              <a:gd name="csX113" fmla="*/ 140694 w 765535"/>
              <a:gd name="csY113" fmla="*/ 201837 h 2076207"/>
              <a:gd name="csX114" fmla="*/ 259999 w 765535"/>
              <a:gd name="csY114" fmla="*/ 966699 h 2076207"/>
              <a:gd name="csX115" fmla="*/ 257072 w 765535"/>
              <a:gd name="csY115" fmla="*/ 1070424 h 2076207"/>
              <a:gd name="csX116" fmla="*/ 251372 w 765535"/>
              <a:gd name="csY116" fmla="*/ 1157618 h 2076207"/>
              <a:gd name="csX117" fmla="*/ 232677 w 765535"/>
              <a:gd name="csY117" fmla="*/ 1320279 h 2076207"/>
              <a:gd name="csX118" fmla="*/ 209182 w 765535"/>
              <a:gd name="csY118" fmla="*/ 1468667 h 2076207"/>
              <a:gd name="csX119" fmla="*/ 175302 w 765535"/>
              <a:gd name="csY119" fmla="*/ 1616623 h 2076207"/>
              <a:gd name="csX120" fmla="*/ 182769 w 765535"/>
              <a:gd name="csY120" fmla="*/ 1629786 h 2076207"/>
              <a:gd name="csX121" fmla="*/ 212156 w 765535"/>
              <a:gd name="csY121" fmla="*/ 1632656 h 2076207"/>
              <a:gd name="csX122" fmla="*/ 351295 w 765535"/>
              <a:gd name="csY122" fmla="*/ 1632801 h 2076207"/>
              <a:gd name="csX123" fmla="*/ 376150 w 765535"/>
              <a:gd name="csY123" fmla="*/ 1608307 h 2076207"/>
              <a:gd name="csX124" fmla="*/ 373450 w 765535"/>
              <a:gd name="csY124" fmla="*/ 1457291 h 2076207"/>
              <a:gd name="csX125" fmla="*/ 370936 w 765535"/>
              <a:gd name="csY125" fmla="*/ 1342736 h 2076207"/>
              <a:gd name="csX126" fmla="*/ 368328 w 765535"/>
              <a:gd name="csY126" fmla="*/ 1203878 h 2076207"/>
              <a:gd name="csX127" fmla="*/ 367836 w 765535"/>
              <a:gd name="csY127" fmla="*/ 813478 h 2076207"/>
              <a:gd name="csX128" fmla="*/ 365240 w 765535"/>
              <a:gd name="csY128" fmla="*/ 773243 h 2076207"/>
              <a:gd name="csX129" fmla="*/ 353084 w 765535"/>
              <a:gd name="csY129" fmla="*/ 762083 h 2076207"/>
              <a:gd name="csX130" fmla="*/ 280966 w 765535"/>
              <a:gd name="csY130" fmla="*/ 759855 h 2076207"/>
              <a:gd name="csX131" fmla="*/ 259965 w 765535"/>
              <a:gd name="csY131" fmla="*/ 779553 h 2076207"/>
              <a:gd name="csX132" fmla="*/ 262341 w 765535"/>
              <a:gd name="csY132" fmla="*/ 856275 h 2076207"/>
              <a:gd name="csX133" fmla="*/ 259999 w 765535"/>
              <a:gd name="csY133" fmla="*/ 966699 h 2076207"/>
              <a:gd name="csX134" fmla="*/ 55556 w 765535"/>
              <a:gd name="csY134" fmla="*/ 1835827 h 2076207"/>
              <a:gd name="csX135" fmla="*/ 49393 w 765535"/>
              <a:gd name="csY135" fmla="*/ 1878155 h 2076207"/>
              <a:gd name="csX136" fmla="*/ 73949 w 765535"/>
              <a:gd name="csY136" fmla="*/ 1905781 h 2076207"/>
              <a:gd name="csX137" fmla="*/ 110073 w 765535"/>
              <a:gd name="csY137" fmla="*/ 1909068 h 2076207"/>
              <a:gd name="csX138" fmla="*/ 224745 w 765535"/>
              <a:gd name="csY138" fmla="*/ 1921652 h 2076207"/>
              <a:gd name="csX139" fmla="*/ 347327 w 765535"/>
              <a:gd name="csY139" fmla="*/ 1924778 h 2076207"/>
              <a:gd name="csX140" fmla="*/ 363345 w 765535"/>
              <a:gd name="csY140" fmla="*/ 1923293 h 2076207"/>
              <a:gd name="csX141" fmla="*/ 373787 w 765535"/>
              <a:gd name="csY141" fmla="*/ 1911200 h 2076207"/>
              <a:gd name="csX142" fmla="*/ 376623 w 765535"/>
              <a:gd name="csY142" fmla="*/ 1696741 h 2076207"/>
              <a:gd name="csX143" fmla="*/ 360437 w 765535"/>
              <a:gd name="csY143" fmla="*/ 1681289 h 2076207"/>
              <a:gd name="csX144" fmla="*/ 263503 w 765535"/>
              <a:gd name="csY144" fmla="*/ 1678179 h 2076207"/>
              <a:gd name="csX145" fmla="*/ 160381 w 765535"/>
              <a:gd name="csY145" fmla="*/ 1670405 h 2076207"/>
              <a:gd name="csX146" fmla="*/ 143321 w 765535"/>
              <a:gd name="csY146" fmla="*/ 1685538 h 2076207"/>
              <a:gd name="csX147" fmla="*/ 124769 w 765535"/>
              <a:gd name="csY147" fmla="*/ 1738195 h 2076207"/>
              <a:gd name="csX148" fmla="*/ 90593 w 765535"/>
              <a:gd name="csY148" fmla="*/ 1779570 h 2076207"/>
              <a:gd name="csX149" fmla="*/ 55556 w 765535"/>
              <a:gd name="csY149" fmla="*/ 1835827 h 2076207"/>
              <a:gd name="csX150" fmla="*/ 378900 w 765535"/>
              <a:gd name="csY150" fmla="*/ 2007280 h 2076207"/>
              <a:gd name="csX151" fmla="*/ 378887 w 765535"/>
              <a:gd name="csY151" fmla="*/ 1995127 h 2076207"/>
              <a:gd name="csX152" fmla="*/ 359084 w 765535"/>
              <a:gd name="csY152" fmla="*/ 1975964 h 2076207"/>
              <a:gd name="csX153" fmla="*/ 247288 w 765535"/>
              <a:gd name="csY153" fmla="*/ 1973305 h 2076207"/>
              <a:gd name="csX154" fmla="*/ 201692 w 765535"/>
              <a:gd name="csY154" fmla="*/ 1970275 h 2076207"/>
              <a:gd name="csX155" fmla="*/ 57962 w 765535"/>
              <a:gd name="csY155" fmla="*/ 1952648 h 2076207"/>
              <a:gd name="csX156" fmla="*/ 39194 w 765535"/>
              <a:gd name="csY156" fmla="*/ 1963552 h 2076207"/>
              <a:gd name="csX157" fmla="*/ 30066 w 765535"/>
              <a:gd name="csY157" fmla="*/ 2006631 h 2076207"/>
              <a:gd name="csX158" fmla="*/ 40232 w 765535"/>
              <a:gd name="csY158" fmla="*/ 2019486 h 2076207"/>
              <a:gd name="csX159" fmla="*/ 238186 w 765535"/>
              <a:gd name="csY159" fmla="*/ 2046096 h 2076207"/>
              <a:gd name="csX160" fmla="*/ 342155 w 765535"/>
              <a:gd name="csY160" fmla="*/ 2046441 h 2076207"/>
              <a:gd name="csX161" fmla="*/ 378900 w 765535"/>
              <a:gd name="csY161" fmla="*/ 2007280 h 2076207"/>
              <a:gd name="csX162" fmla="*/ 310220 w 765535"/>
              <a:gd name="csY162" fmla="*/ 554288 h 2076207"/>
              <a:gd name="csX163" fmla="*/ 259136 w 765535"/>
              <a:gd name="csY163" fmla="*/ 556881 h 2076207"/>
              <a:gd name="csX164" fmla="*/ 249085 w 765535"/>
              <a:gd name="csY164" fmla="*/ 567981 h 2076207"/>
              <a:gd name="csX165" fmla="*/ 249141 w 765535"/>
              <a:gd name="csY165" fmla="*/ 605644 h 2076207"/>
              <a:gd name="csX166" fmla="*/ 262628 w 765535"/>
              <a:gd name="csY166" fmla="*/ 605627 h 2076207"/>
              <a:gd name="csX167" fmla="*/ 369608 w 765535"/>
              <a:gd name="csY167" fmla="*/ 603027 h 2076207"/>
              <a:gd name="csX168" fmla="*/ 463931 w 765535"/>
              <a:gd name="csY168" fmla="*/ 605146 h 2076207"/>
              <a:gd name="csX169" fmla="*/ 478113 w 765535"/>
              <a:gd name="csY169" fmla="*/ 595843 h 2076207"/>
              <a:gd name="csX170" fmla="*/ 478796 w 765535"/>
              <a:gd name="csY170" fmla="*/ 556832 h 2076207"/>
              <a:gd name="csX171" fmla="*/ 310220 w 765535"/>
              <a:gd name="csY171" fmla="*/ 554288 h 2076207"/>
              <a:gd name="csX172" fmla="*/ 348836 w 765535"/>
              <a:gd name="csY172" fmla="*/ 684115 h 2076207"/>
              <a:gd name="csX173" fmla="*/ 281333 w 765535"/>
              <a:gd name="csY173" fmla="*/ 683313 h 2076207"/>
              <a:gd name="csX174" fmla="*/ 212728 w 765535"/>
              <a:gd name="csY174" fmla="*/ 681931 h 2076207"/>
              <a:gd name="csX175" fmla="*/ 187283 w 765535"/>
              <a:gd name="csY175" fmla="*/ 689555 h 2076207"/>
              <a:gd name="csX176" fmla="*/ 186163 w 765535"/>
              <a:gd name="csY176" fmla="*/ 718266 h 2076207"/>
              <a:gd name="csX177" fmla="*/ 209894 w 765535"/>
              <a:gd name="csY177" fmla="*/ 726798 h 2076207"/>
              <a:gd name="csX178" fmla="*/ 334814 w 765535"/>
              <a:gd name="csY178" fmla="*/ 732494 h 2076207"/>
              <a:gd name="csX179" fmla="*/ 364856 w 765535"/>
              <a:gd name="csY179" fmla="*/ 707963 h 2076207"/>
              <a:gd name="csX180" fmla="*/ 348836 w 765535"/>
              <a:gd name="csY180" fmla="*/ 684115 h 2076207"/>
              <a:gd name="csX181" fmla="*/ 298865 w 765535"/>
              <a:gd name="csY181" fmla="*/ 621954 h 2076207"/>
              <a:gd name="csX182" fmla="*/ 251619 w 765535"/>
              <a:gd name="csY182" fmla="*/ 622133 h 2076207"/>
              <a:gd name="csX183" fmla="*/ 214459 w 765535"/>
              <a:gd name="csY183" fmla="*/ 636230 h 2076207"/>
              <a:gd name="csX184" fmla="*/ 221436 w 765535"/>
              <a:gd name="csY184" fmla="*/ 654205 h 2076207"/>
              <a:gd name="csX185" fmla="*/ 272412 w 765535"/>
              <a:gd name="csY185" fmla="*/ 657250 h 2076207"/>
              <a:gd name="csX186" fmla="*/ 349094 w 765535"/>
              <a:gd name="csY186" fmla="*/ 659282 h 2076207"/>
              <a:gd name="csX187" fmla="*/ 362996 w 765535"/>
              <a:gd name="csY187" fmla="*/ 644234 h 2076207"/>
              <a:gd name="csX188" fmla="*/ 348472 w 765535"/>
              <a:gd name="csY188" fmla="*/ 624649 h 2076207"/>
              <a:gd name="csX189" fmla="*/ 298865 w 765535"/>
              <a:gd name="csY189" fmla="*/ 621954 h 2076207"/>
              <a:gd name="csX190" fmla="*/ 227796 w 765535"/>
              <a:gd name="csY190" fmla="*/ 528000 h 2076207"/>
              <a:gd name="csX191" fmla="*/ 241009 w 765535"/>
              <a:gd name="csY191" fmla="*/ 545897 h 2076207"/>
              <a:gd name="csX192" fmla="*/ 282607 w 765535"/>
              <a:gd name="csY192" fmla="*/ 543480 h 2076207"/>
              <a:gd name="csX193" fmla="*/ 354213 w 765535"/>
              <a:gd name="csY193" fmla="*/ 543384 h 2076207"/>
              <a:gd name="csX194" fmla="*/ 365334 w 765535"/>
              <a:gd name="csY194" fmla="*/ 533397 h 2076207"/>
              <a:gd name="csX195" fmla="*/ 354531 w 765535"/>
              <a:gd name="csY195" fmla="*/ 521620 h 2076207"/>
              <a:gd name="csX196" fmla="*/ 259169 w 765535"/>
              <a:gd name="csY196" fmla="*/ 521978 h 2076207"/>
              <a:gd name="csX197" fmla="*/ 227796 w 765535"/>
              <a:gd name="csY197" fmla="*/ 528000 h 2076207"/>
              <a:gd name="csX198" fmla="*/ 508068 w 765535"/>
              <a:gd name="csY198" fmla="*/ 190710 h 2076207"/>
              <a:gd name="csX199" fmla="*/ 521293 w 765535"/>
              <a:gd name="csY199" fmla="*/ 205907 h 2076207"/>
              <a:gd name="csX200" fmla="*/ 525175 w 765535"/>
              <a:gd name="csY200" fmla="*/ 202985 h 2076207"/>
              <a:gd name="csX201" fmla="*/ 500276 w 765535"/>
              <a:gd name="csY201" fmla="*/ 160640 h 2076207"/>
              <a:gd name="csX202" fmla="*/ 497122 w 765535"/>
              <a:gd name="csY202" fmla="*/ 162007 h 2076207"/>
              <a:gd name="csX203" fmla="*/ 508068 w 765535"/>
              <a:gd name="csY203" fmla="*/ 190710 h 2076207"/>
              <a:gd name="csX204" fmla="*/ 215522 w 765535"/>
              <a:gd name="csY204" fmla="*/ 197296 h 2076207"/>
              <a:gd name="csX205" fmla="*/ 234029 w 765535"/>
              <a:gd name="csY205" fmla="*/ 162725 h 2076207"/>
              <a:gd name="csX206" fmla="*/ 229000 w 765535"/>
              <a:gd name="csY206" fmla="*/ 159902 h 2076207"/>
              <a:gd name="csX207" fmla="*/ 204824 w 765535"/>
              <a:gd name="csY207" fmla="*/ 199677 h 2076207"/>
              <a:gd name="csX208" fmla="*/ 207990 w 765535"/>
              <a:gd name="csY208" fmla="*/ 202198 h 2076207"/>
              <a:gd name="csX209" fmla="*/ 215522 w 765535"/>
              <a:gd name="csY209" fmla="*/ 197296 h 2076207"/>
              <a:gd name="csX210" fmla="*/ 484400 w 765535"/>
              <a:gd name="csY210" fmla="*/ 896678 h 2076207"/>
              <a:gd name="csX211" fmla="*/ 486181 w 765535"/>
              <a:gd name="csY211" fmla="*/ 896585 h 2076207"/>
              <a:gd name="csX212" fmla="*/ 486181 w 765535"/>
              <a:gd name="csY212" fmla="*/ 795289 h 2076207"/>
              <a:gd name="csX213" fmla="*/ 720241 w 765535"/>
              <a:gd name="csY213" fmla="*/ 2030666 h 2076207"/>
              <a:gd name="csX214" fmla="*/ 721175 w 765535"/>
              <a:gd name="csY214" fmla="*/ 2029733 h 2076207"/>
              <a:gd name="csX215" fmla="*/ 720241 w 765535"/>
              <a:gd name="csY215" fmla="*/ 2030666 h 2076207"/>
              <a:gd name="csX216" fmla="*/ 715702 w 765535"/>
              <a:gd name="csY216" fmla="*/ 2037051 h 2076207"/>
              <a:gd name="csX217" fmla="*/ 715702 w 765535"/>
              <a:gd name="csY217" fmla="*/ 2037051 h 2076207"/>
              <a:gd name="csX0" fmla="*/ 96263 w 733006"/>
              <a:gd name="csY0" fmla="*/ 2076207 h 2076207"/>
              <a:gd name="csX1" fmla="*/ 63862 w 733006"/>
              <a:gd name="csY1" fmla="*/ 2065388 h 2076207"/>
              <a:gd name="csX2" fmla="*/ 16555 w 733006"/>
              <a:gd name="csY2" fmla="*/ 2050152 h 2076207"/>
              <a:gd name="csX3" fmla="*/ 15 w 733006"/>
              <a:gd name="csY3" fmla="*/ 2023802 h 2076207"/>
              <a:gd name="csX4" fmla="*/ 18368 w 733006"/>
              <a:gd name="csY4" fmla="*/ 1940709 h 2076207"/>
              <a:gd name="csX5" fmla="*/ 22139 w 733006"/>
              <a:gd name="csY5" fmla="*/ 1907268 h 2076207"/>
              <a:gd name="csX6" fmla="*/ 57941 w 733006"/>
              <a:gd name="csY6" fmla="*/ 1774163 h 2076207"/>
              <a:gd name="csX7" fmla="*/ 102478 w 733006"/>
              <a:gd name="csY7" fmla="*/ 1720275 h 2076207"/>
              <a:gd name="csX8" fmla="*/ 108579 w 733006"/>
              <a:gd name="csY8" fmla="*/ 1650967 h 2076207"/>
              <a:gd name="csX9" fmla="*/ 115628 w 733006"/>
              <a:gd name="csY9" fmla="*/ 1625405 h 2076207"/>
              <a:gd name="csX10" fmla="*/ 156323 w 733006"/>
              <a:gd name="csY10" fmla="*/ 1560181 h 2076207"/>
              <a:gd name="csX11" fmla="*/ 199424 w 733006"/>
              <a:gd name="csY11" fmla="*/ 1364729 h 2076207"/>
              <a:gd name="csX12" fmla="*/ 216779 w 733006"/>
              <a:gd name="csY12" fmla="*/ 1219490 h 2076207"/>
              <a:gd name="csX13" fmla="*/ 229755 w 733006"/>
              <a:gd name="csY13" fmla="*/ 1099357 h 2076207"/>
              <a:gd name="csX14" fmla="*/ 232707 w 733006"/>
              <a:gd name="csY14" fmla="*/ 1056423 h 2076207"/>
              <a:gd name="csX15" fmla="*/ 235622 w 733006"/>
              <a:gd name="csY15" fmla="*/ 952675 h 2076207"/>
              <a:gd name="csX16" fmla="*/ 235445 w 733006"/>
              <a:gd name="csY16" fmla="*/ 780278 h 2076207"/>
              <a:gd name="csX17" fmla="*/ 214544 w 733006"/>
              <a:gd name="csY17" fmla="*/ 756435 h 2076207"/>
              <a:gd name="csX18" fmla="*/ 172569 w 733006"/>
              <a:gd name="csY18" fmla="*/ 742582 h 2076207"/>
              <a:gd name="csX19" fmla="*/ 168784 w 733006"/>
              <a:gd name="csY19" fmla="*/ 669116 h 2076207"/>
              <a:gd name="csX20" fmla="*/ 191657 w 733006"/>
              <a:gd name="csY20" fmla="*/ 630765 h 2076207"/>
              <a:gd name="csX21" fmla="*/ 208150 w 733006"/>
              <a:gd name="csY21" fmla="*/ 609084 h 2076207"/>
              <a:gd name="csX22" fmla="*/ 216756 w 733006"/>
              <a:gd name="csY22" fmla="*/ 558673 h 2076207"/>
              <a:gd name="csX23" fmla="*/ 209092 w 733006"/>
              <a:gd name="csY23" fmla="*/ 521540 h 2076207"/>
              <a:gd name="csX24" fmla="*/ 204683 w 733006"/>
              <a:gd name="csY24" fmla="*/ 474024 h 2076207"/>
              <a:gd name="csX25" fmla="*/ 115483 w 733006"/>
              <a:gd name="csY25" fmla="*/ 213499 h 2076207"/>
              <a:gd name="csX26" fmla="*/ 102909 w 733006"/>
              <a:gd name="csY26" fmla="*/ 182297 h 2076207"/>
              <a:gd name="csX27" fmla="*/ 104315 w 733006"/>
              <a:gd name="csY27" fmla="*/ 163968 h 2076207"/>
              <a:gd name="csX28" fmla="*/ 122444 w 733006"/>
              <a:gd name="csY28" fmla="*/ 160805 h 2076207"/>
              <a:gd name="csX29" fmla="*/ 170283 w 733006"/>
              <a:gd name="csY29" fmla="*/ 187783 h 2076207"/>
              <a:gd name="csX30" fmla="*/ 180938 w 733006"/>
              <a:gd name="csY30" fmla="*/ 195322 h 2076207"/>
              <a:gd name="csX31" fmla="*/ 221419 w 733006"/>
              <a:gd name="csY31" fmla="*/ 138058 h 2076207"/>
              <a:gd name="csX32" fmla="*/ 294099 w 733006"/>
              <a:gd name="csY32" fmla="*/ 91372 h 2076207"/>
              <a:gd name="csX33" fmla="*/ 302307 w 733006"/>
              <a:gd name="csY33" fmla="*/ 76560 h 2076207"/>
              <a:gd name="csX34" fmla="*/ 320284 w 733006"/>
              <a:gd name="csY34" fmla="*/ 8414 h 2076207"/>
              <a:gd name="csX35" fmla="*/ 324784 w 733006"/>
              <a:gd name="csY35" fmla="*/ 946 h 2076207"/>
              <a:gd name="csX36" fmla="*/ 399212 w 733006"/>
              <a:gd name="csY36" fmla="*/ 0 h 2076207"/>
              <a:gd name="csX37" fmla="*/ 425980 w 733006"/>
              <a:gd name="csY37" fmla="*/ 78301 h 2076207"/>
              <a:gd name="csX38" fmla="*/ 431861 w 733006"/>
              <a:gd name="csY38" fmla="*/ 90312 h 2076207"/>
              <a:gd name="csX39" fmla="*/ 540349 w 733006"/>
              <a:gd name="csY39" fmla="*/ 187946 h 2076207"/>
              <a:gd name="csX40" fmla="*/ 545555 w 733006"/>
              <a:gd name="csY40" fmla="*/ 197828 h 2076207"/>
              <a:gd name="csX41" fmla="*/ 587318 w 733006"/>
              <a:gd name="csY41" fmla="*/ 171260 h 2076207"/>
              <a:gd name="csX42" fmla="*/ 601503 w 733006"/>
              <a:gd name="csY42" fmla="*/ 163707 h 2076207"/>
              <a:gd name="csX43" fmla="*/ 625254 w 733006"/>
              <a:gd name="csY43" fmla="*/ 163123 h 2076207"/>
              <a:gd name="csX44" fmla="*/ 625468 w 733006"/>
              <a:gd name="csY44" fmla="*/ 187579 h 2076207"/>
              <a:gd name="csX45" fmla="*/ 597543 w 733006"/>
              <a:gd name="csY45" fmla="*/ 251872 h 2076207"/>
              <a:gd name="csX46" fmla="*/ 531831 w 733006"/>
              <a:gd name="csY46" fmla="*/ 442689 h 2076207"/>
              <a:gd name="csX47" fmla="*/ 519888 w 733006"/>
              <a:gd name="csY47" fmla="*/ 501474 h 2076207"/>
              <a:gd name="csX48" fmla="*/ 522506 w 733006"/>
              <a:gd name="csY48" fmla="*/ 525086 h 2076207"/>
              <a:gd name="csX49" fmla="*/ 516235 w 733006"/>
              <a:gd name="csY49" fmla="*/ 555946 h 2076207"/>
              <a:gd name="csX50" fmla="*/ 521332 w 733006"/>
              <a:gd name="csY50" fmla="*/ 610676 h 2076207"/>
              <a:gd name="csX51" fmla="*/ 541382 w 733006"/>
              <a:gd name="csY51" fmla="*/ 642597 h 2076207"/>
              <a:gd name="csX52" fmla="*/ 557031 w 733006"/>
              <a:gd name="csY52" fmla="*/ 667949 h 2076207"/>
              <a:gd name="csX53" fmla="*/ 553994 w 733006"/>
              <a:gd name="csY53" fmla="*/ 744146 h 2076207"/>
              <a:gd name="csX54" fmla="*/ 508215 w 733006"/>
              <a:gd name="csY54" fmla="*/ 758841 h 2076207"/>
              <a:gd name="csX55" fmla="*/ 497442 w 733006"/>
              <a:gd name="csY55" fmla="*/ 771256 h 2076207"/>
              <a:gd name="csX56" fmla="*/ 493005 w 733006"/>
              <a:gd name="csY56" fmla="*/ 922055 h 2076207"/>
              <a:gd name="csX57" fmla="*/ 502900 w 733006"/>
              <a:gd name="csY57" fmla="*/ 1114191 h 2076207"/>
              <a:gd name="csX58" fmla="*/ 508800 w 733006"/>
              <a:gd name="csY58" fmla="*/ 1205474 h 2076207"/>
              <a:gd name="csX59" fmla="*/ 522952 w 733006"/>
              <a:gd name="csY59" fmla="*/ 1320065 h 2076207"/>
              <a:gd name="csX60" fmla="*/ 554682 w 733006"/>
              <a:gd name="csY60" fmla="*/ 1501203 h 2076207"/>
              <a:gd name="csX61" fmla="*/ 576958 w 733006"/>
              <a:gd name="csY61" fmla="*/ 1593963 h 2076207"/>
              <a:gd name="csX62" fmla="*/ 595349 w 733006"/>
              <a:gd name="csY62" fmla="*/ 1613498 h 2076207"/>
              <a:gd name="csX63" fmla="*/ 613936 w 733006"/>
              <a:gd name="csY63" fmla="*/ 1624058 h 2076207"/>
              <a:gd name="csX64" fmla="*/ 620938 w 733006"/>
              <a:gd name="csY64" fmla="*/ 1652071 h 2076207"/>
              <a:gd name="csX65" fmla="*/ 630805 w 733006"/>
              <a:gd name="csY65" fmla="*/ 1721702 h 2076207"/>
              <a:gd name="csX66" fmla="*/ 685830 w 733006"/>
              <a:gd name="csY66" fmla="*/ 1792915 h 2076207"/>
              <a:gd name="csX67" fmla="*/ 708904 w 733006"/>
              <a:gd name="csY67" fmla="*/ 1890290 h 2076207"/>
              <a:gd name="csX68" fmla="*/ 716580 w 733006"/>
              <a:gd name="csY68" fmla="*/ 1951136 h 2076207"/>
              <a:gd name="csX69" fmla="*/ 729397 w 733006"/>
              <a:gd name="csY69" fmla="*/ 2030261 h 2076207"/>
              <a:gd name="csX70" fmla="*/ 714212 w 733006"/>
              <a:gd name="csY70" fmla="*/ 2049544 h 2076207"/>
              <a:gd name="csX71" fmla="*/ 96263 w 733006"/>
              <a:gd name="csY71" fmla="*/ 2076207 h 2076207"/>
              <a:gd name="csX72" fmla="*/ 489970 w 733006"/>
              <a:gd name="csY72" fmla="*/ 152208 h 2076207"/>
              <a:gd name="csX73" fmla="*/ 490754 w 733006"/>
              <a:gd name="csY73" fmla="*/ 152592 h 2076207"/>
              <a:gd name="csX74" fmla="*/ 489489 w 733006"/>
              <a:gd name="csY74" fmla="*/ 149547 h 2076207"/>
              <a:gd name="csX75" fmla="*/ 393621 w 733006"/>
              <a:gd name="csY75" fmla="*/ 99259 h 2076207"/>
              <a:gd name="csX76" fmla="*/ 390419 w 733006"/>
              <a:gd name="csY76" fmla="*/ 18568 h 2076207"/>
              <a:gd name="csX77" fmla="*/ 334131 w 733006"/>
              <a:gd name="csY77" fmla="*/ 24327 h 2076207"/>
              <a:gd name="csX78" fmla="*/ 344678 w 733006"/>
              <a:gd name="csY78" fmla="*/ 101259 h 2076207"/>
              <a:gd name="csX79" fmla="*/ 298854 w 733006"/>
              <a:gd name="csY79" fmla="*/ 114003 h 2076207"/>
              <a:gd name="csX80" fmla="*/ 237456 w 733006"/>
              <a:gd name="csY80" fmla="*/ 154340 h 2076207"/>
              <a:gd name="csX81" fmla="*/ 240382 w 733006"/>
              <a:gd name="csY81" fmla="*/ 154035 h 2076207"/>
              <a:gd name="csX82" fmla="*/ 262731 w 733006"/>
              <a:gd name="csY82" fmla="*/ 170426 h 2076207"/>
              <a:gd name="csX83" fmla="*/ 279169 w 733006"/>
              <a:gd name="csY83" fmla="*/ 193173 h 2076207"/>
              <a:gd name="csX84" fmla="*/ 327717 w 733006"/>
              <a:gd name="csY84" fmla="*/ 188556 h 2076207"/>
              <a:gd name="csX85" fmla="*/ 348052 w 733006"/>
              <a:gd name="csY85" fmla="*/ 156919 h 2076207"/>
              <a:gd name="csX86" fmla="*/ 380330 w 733006"/>
              <a:gd name="csY86" fmla="*/ 156483 h 2076207"/>
              <a:gd name="csX87" fmla="*/ 408490 w 733006"/>
              <a:gd name="csY87" fmla="*/ 195400 h 2076207"/>
              <a:gd name="csX88" fmla="*/ 445346 w 733006"/>
              <a:gd name="csY88" fmla="*/ 197582 h 2076207"/>
              <a:gd name="csX89" fmla="*/ 464798 w 733006"/>
              <a:gd name="csY89" fmla="*/ 174107 h 2076207"/>
              <a:gd name="csX90" fmla="*/ 489970 w 733006"/>
              <a:gd name="csY90" fmla="*/ 152208 h 2076207"/>
              <a:gd name="csX91" fmla="*/ 140694 w 733006"/>
              <a:gd name="csY91" fmla="*/ 201837 h 2076207"/>
              <a:gd name="csX92" fmla="*/ 139834 w 733006"/>
              <a:gd name="csY92" fmla="*/ 201482 h 2076207"/>
              <a:gd name="csX93" fmla="*/ 140812 w 733006"/>
              <a:gd name="csY93" fmla="*/ 204941 h 2076207"/>
              <a:gd name="csX94" fmla="*/ 144631 w 733006"/>
              <a:gd name="csY94" fmla="*/ 217811 h 2076207"/>
              <a:gd name="csX95" fmla="*/ 201241 w 733006"/>
              <a:gd name="csY95" fmla="*/ 373387 h 2076207"/>
              <a:gd name="csX96" fmla="*/ 235971 w 733006"/>
              <a:gd name="csY96" fmla="*/ 504451 h 2076207"/>
              <a:gd name="csX97" fmla="*/ 247475 w 733006"/>
              <a:gd name="csY97" fmla="*/ 513241 h 2076207"/>
              <a:gd name="csX98" fmla="*/ 289066 w 733006"/>
              <a:gd name="csY98" fmla="*/ 511170 h 2076207"/>
              <a:gd name="csX99" fmla="*/ 378229 w 733006"/>
              <a:gd name="csY99" fmla="*/ 511084 h 2076207"/>
              <a:gd name="csX100" fmla="*/ 470850 w 733006"/>
              <a:gd name="csY100" fmla="*/ 516341 h 2076207"/>
              <a:gd name="csX101" fmla="*/ 492933 w 733006"/>
              <a:gd name="csY101" fmla="*/ 497969 h 2076207"/>
              <a:gd name="csX102" fmla="*/ 557617 w 733006"/>
              <a:gd name="csY102" fmla="*/ 280398 h 2076207"/>
              <a:gd name="csX103" fmla="*/ 588788 w 733006"/>
              <a:gd name="csY103" fmla="*/ 200385 h 2076207"/>
              <a:gd name="csX104" fmla="*/ 530958 w 733006"/>
              <a:gd name="csY104" fmla="*/ 232968 h 2076207"/>
              <a:gd name="csX105" fmla="*/ 483823 w 733006"/>
              <a:gd name="csY105" fmla="*/ 190364 h 2076207"/>
              <a:gd name="csX106" fmla="*/ 466649 w 733006"/>
              <a:gd name="csY106" fmla="*/ 209061 h 2076207"/>
              <a:gd name="csX107" fmla="*/ 399941 w 733006"/>
              <a:gd name="csY107" fmla="*/ 216988 h 2076207"/>
              <a:gd name="csX108" fmla="*/ 363018 w 733006"/>
              <a:gd name="csY108" fmla="*/ 179615 h 2076207"/>
              <a:gd name="csX109" fmla="*/ 308839 w 733006"/>
              <a:gd name="csY109" fmla="*/ 227846 h 2076207"/>
              <a:gd name="csX110" fmla="*/ 245077 w 733006"/>
              <a:gd name="csY110" fmla="*/ 192402 h 2076207"/>
              <a:gd name="csX111" fmla="*/ 242829 w 733006"/>
              <a:gd name="csY111" fmla="*/ 198815 h 2076207"/>
              <a:gd name="csX112" fmla="*/ 168452 w 733006"/>
              <a:gd name="csY112" fmla="*/ 219348 h 2076207"/>
              <a:gd name="csX113" fmla="*/ 140694 w 733006"/>
              <a:gd name="csY113" fmla="*/ 201837 h 2076207"/>
              <a:gd name="csX114" fmla="*/ 259999 w 733006"/>
              <a:gd name="csY114" fmla="*/ 966699 h 2076207"/>
              <a:gd name="csX115" fmla="*/ 257072 w 733006"/>
              <a:gd name="csY115" fmla="*/ 1070424 h 2076207"/>
              <a:gd name="csX116" fmla="*/ 251372 w 733006"/>
              <a:gd name="csY116" fmla="*/ 1157618 h 2076207"/>
              <a:gd name="csX117" fmla="*/ 232677 w 733006"/>
              <a:gd name="csY117" fmla="*/ 1320279 h 2076207"/>
              <a:gd name="csX118" fmla="*/ 209182 w 733006"/>
              <a:gd name="csY118" fmla="*/ 1468667 h 2076207"/>
              <a:gd name="csX119" fmla="*/ 175302 w 733006"/>
              <a:gd name="csY119" fmla="*/ 1616623 h 2076207"/>
              <a:gd name="csX120" fmla="*/ 182769 w 733006"/>
              <a:gd name="csY120" fmla="*/ 1629786 h 2076207"/>
              <a:gd name="csX121" fmla="*/ 212156 w 733006"/>
              <a:gd name="csY121" fmla="*/ 1632656 h 2076207"/>
              <a:gd name="csX122" fmla="*/ 351295 w 733006"/>
              <a:gd name="csY122" fmla="*/ 1632801 h 2076207"/>
              <a:gd name="csX123" fmla="*/ 376150 w 733006"/>
              <a:gd name="csY123" fmla="*/ 1608307 h 2076207"/>
              <a:gd name="csX124" fmla="*/ 373450 w 733006"/>
              <a:gd name="csY124" fmla="*/ 1457291 h 2076207"/>
              <a:gd name="csX125" fmla="*/ 370936 w 733006"/>
              <a:gd name="csY125" fmla="*/ 1342736 h 2076207"/>
              <a:gd name="csX126" fmla="*/ 368328 w 733006"/>
              <a:gd name="csY126" fmla="*/ 1203878 h 2076207"/>
              <a:gd name="csX127" fmla="*/ 367836 w 733006"/>
              <a:gd name="csY127" fmla="*/ 813478 h 2076207"/>
              <a:gd name="csX128" fmla="*/ 365240 w 733006"/>
              <a:gd name="csY128" fmla="*/ 773243 h 2076207"/>
              <a:gd name="csX129" fmla="*/ 353084 w 733006"/>
              <a:gd name="csY129" fmla="*/ 762083 h 2076207"/>
              <a:gd name="csX130" fmla="*/ 280966 w 733006"/>
              <a:gd name="csY130" fmla="*/ 759855 h 2076207"/>
              <a:gd name="csX131" fmla="*/ 259965 w 733006"/>
              <a:gd name="csY131" fmla="*/ 779553 h 2076207"/>
              <a:gd name="csX132" fmla="*/ 262341 w 733006"/>
              <a:gd name="csY132" fmla="*/ 856275 h 2076207"/>
              <a:gd name="csX133" fmla="*/ 259999 w 733006"/>
              <a:gd name="csY133" fmla="*/ 966699 h 2076207"/>
              <a:gd name="csX134" fmla="*/ 55556 w 733006"/>
              <a:gd name="csY134" fmla="*/ 1835827 h 2076207"/>
              <a:gd name="csX135" fmla="*/ 49393 w 733006"/>
              <a:gd name="csY135" fmla="*/ 1878155 h 2076207"/>
              <a:gd name="csX136" fmla="*/ 73949 w 733006"/>
              <a:gd name="csY136" fmla="*/ 1905781 h 2076207"/>
              <a:gd name="csX137" fmla="*/ 110073 w 733006"/>
              <a:gd name="csY137" fmla="*/ 1909068 h 2076207"/>
              <a:gd name="csX138" fmla="*/ 224745 w 733006"/>
              <a:gd name="csY138" fmla="*/ 1921652 h 2076207"/>
              <a:gd name="csX139" fmla="*/ 347327 w 733006"/>
              <a:gd name="csY139" fmla="*/ 1924778 h 2076207"/>
              <a:gd name="csX140" fmla="*/ 363345 w 733006"/>
              <a:gd name="csY140" fmla="*/ 1923293 h 2076207"/>
              <a:gd name="csX141" fmla="*/ 373787 w 733006"/>
              <a:gd name="csY141" fmla="*/ 1911200 h 2076207"/>
              <a:gd name="csX142" fmla="*/ 376623 w 733006"/>
              <a:gd name="csY142" fmla="*/ 1696741 h 2076207"/>
              <a:gd name="csX143" fmla="*/ 360437 w 733006"/>
              <a:gd name="csY143" fmla="*/ 1681289 h 2076207"/>
              <a:gd name="csX144" fmla="*/ 263503 w 733006"/>
              <a:gd name="csY144" fmla="*/ 1678179 h 2076207"/>
              <a:gd name="csX145" fmla="*/ 160381 w 733006"/>
              <a:gd name="csY145" fmla="*/ 1670405 h 2076207"/>
              <a:gd name="csX146" fmla="*/ 143321 w 733006"/>
              <a:gd name="csY146" fmla="*/ 1685538 h 2076207"/>
              <a:gd name="csX147" fmla="*/ 124769 w 733006"/>
              <a:gd name="csY147" fmla="*/ 1738195 h 2076207"/>
              <a:gd name="csX148" fmla="*/ 90593 w 733006"/>
              <a:gd name="csY148" fmla="*/ 1779570 h 2076207"/>
              <a:gd name="csX149" fmla="*/ 55556 w 733006"/>
              <a:gd name="csY149" fmla="*/ 1835827 h 2076207"/>
              <a:gd name="csX150" fmla="*/ 378900 w 733006"/>
              <a:gd name="csY150" fmla="*/ 2007280 h 2076207"/>
              <a:gd name="csX151" fmla="*/ 378887 w 733006"/>
              <a:gd name="csY151" fmla="*/ 1995127 h 2076207"/>
              <a:gd name="csX152" fmla="*/ 359084 w 733006"/>
              <a:gd name="csY152" fmla="*/ 1975964 h 2076207"/>
              <a:gd name="csX153" fmla="*/ 247288 w 733006"/>
              <a:gd name="csY153" fmla="*/ 1973305 h 2076207"/>
              <a:gd name="csX154" fmla="*/ 201692 w 733006"/>
              <a:gd name="csY154" fmla="*/ 1970275 h 2076207"/>
              <a:gd name="csX155" fmla="*/ 57962 w 733006"/>
              <a:gd name="csY155" fmla="*/ 1952648 h 2076207"/>
              <a:gd name="csX156" fmla="*/ 39194 w 733006"/>
              <a:gd name="csY156" fmla="*/ 1963552 h 2076207"/>
              <a:gd name="csX157" fmla="*/ 30066 w 733006"/>
              <a:gd name="csY157" fmla="*/ 2006631 h 2076207"/>
              <a:gd name="csX158" fmla="*/ 40232 w 733006"/>
              <a:gd name="csY158" fmla="*/ 2019486 h 2076207"/>
              <a:gd name="csX159" fmla="*/ 238186 w 733006"/>
              <a:gd name="csY159" fmla="*/ 2046096 h 2076207"/>
              <a:gd name="csX160" fmla="*/ 342155 w 733006"/>
              <a:gd name="csY160" fmla="*/ 2046441 h 2076207"/>
              <a:gd name="csX161" fmla="*/ 378900 w 733006"/>
              <a:gd name="csY161" fmla="*/ 2007280 h 2076207"/>
              <a:gd name="csX162" fmla="*/ 310220 w 733006"/>
              <a:gd name="csY162" fmla="*/ 554288 h 2076207"/>
              <a:gd name="csX163" fmla="*/ 259136 w 733006"/>
              <a:gd name="csY163" fmla="*/ 556881 h 2076207"/>
              <a:gd name="csX164" fmla="*/ 249085 w 733006"/>
              <a:gd name="csY164" fmla="*/ 567981 h 2076207"/>
              <a:gd name="csX165" fmla="*/ 249141 w 733006"/>
              <a:gd name="csY165" fmla="*/ 605644 h 2076207"/>
              <a:gd name="csX166" fmla="*/ 262628 w 733006"/>
              <a:gd name="csY166" fmla="*/ 605627 h 2076207"/>
              <a:gd name="csX167" fmla="*/ 369608 w 733006"/>
              <a:gd name="csY167" fmla="*/ 603027 h 2076207"/>
              <a:gd name="csX168" fmla="*/ 463931 w 733006"/>
              <a:gd name="csY168" fmla="*/ 605146 h 2076207"/>
              <a:gd name="csX169" fmla="*/ 478113 w 733006"/>
              <a:gd name="csY169" fmla="*/ 595843 h 2076207"/>
              <a:gd name="csX170" fmla="*/ 478796 w 733006"/>
              <a:gd name="csY170" fmla="*/ 556832 h 2076207"/>
              <a:gd name="csX171" fmla="*/ 310220 w 733006"/>
              <a:gd name="csY171" fmla="*/ 554288 h 2076207"/>
              <a:gd name="csX172" fmla="*/ 348836 w 733006"/>
              <a:gd name="csY172" fmla="*/ 684115 h 2076207"/>
              <a:gd name="csX173" fmla="*/ 281333 w 733006"/>
              <a:gd name="csY173" fmla="*/ 683313 h 2076207"/>
              <a:gd name="csX174" fmla="*/ 212728 w 733006"/>
              <a:gd name="csY174" fmla="*/ 681931 h 2076207"/>
              <a:gd name="csX175" fmla="*/ 187283 w 733006"/>
              <a:gd name="csY175" fmla="*/ 689555 h 2076207"/>
              <a:gd name="csX176" fmla="*/ 186163 w 733006"/>
              <a:gd name="csY176" fmla="*/ 718266 h 2076207"/>
              <a:gd name="csX177" fmla="*/ 209894 w 733006"/>
              <a:gd name="csY177" fmla="*/ 726798 h 2076207"/>
              <a:gd name="csX178" fmla="*/ 334814 w 733006"/>
              <a:gd name="csY178" fmla="*/ 732494 h 2076207"/>
              <a:gd name="csX179" fmla="*/ 364856 w 733006"/>
              <a:gd name="csY179" fmla="*/ 707963 h 2076207"/>
              <a:gd name="csX180" fmla="*/ 348836 w 733006"/>
              <a:gd name="csY180" fmla="*/ 684115 h 2076207"/>
              <a:gd name="csX181" fmla="*/ 298865 w 733006"/>
              <a:gd name="csY181" fmla="*/ 621954 h 2076207"/>
              <a:gd name="csX182" fmla="*/ 251619 w 733006"/>
              <a:gd name="csY182" fmla="*/ 622133 h 2076207"/>
              <a:gd name="csX183" fmla="*/ 214459 w 733006"/>
              <a:gd name="csY183" fmla="*/ 636230 h 2076207"/>
              <a:gd name="csX184" fmla="*/ 221436 w 733006"/>
              <a:gd name="csY184" fmla="*/ 654205 h 2076207"/>
              <a:gd name="csX185" fmla="*/ 272412 w 733006"/>
              <a:gd name="csY185" fmla="*/ 657250 h 2076207"/>
              <a:gd name="csX186" fmla="*/ 349094 w 733006"/>
              <a:gd name="csY186" fmla="*/ 659282 h 2076207"/>
              <a:gd name="csX187" fmla="*/ 362996 w 733006"/>
              <a:gd name="csY187" fmla="*/ 644234 h 2076207"/>
              <a:gd name="csX188" fmla="*/ 348472 w 733006"/>
              <a:gd name="csY188" fmla="*/ 624649 h 2076207"/>
              <a:gd name="csX189" fmla="*/ 298865 w 733006"/>
              <a:gd name="csY189" fmla="*/ 621954 h 2076207"/>
              <a:gd name="csX190" fmla="*/ 227796 w 733006"/>
              <a:gd name="csY190" fmla="*/ 528000 h 2076207"/>
              <a:gd name="csX191" fmla="*/ 241009 w 733006"/>
              <a:gd name="csY191" fmla="*/ 545897 h 2076207"/>
              <a:gd name="csX192" fmla="*/ 282607 w 733006"/>
              <a:gd name="csY192" fmla="*/ 543480 h 2076207"/>
              <a:gd name="csX193" fmla="*/ 354213 w 733006"/>
              <a:gd name="csY193" fmla="*/ 543384 h 2076207"/>
              <a:gd name="csX194" fmla="*/ 365334 w 733006"/>
              <a:gd name="csY194" fmla="*/ 533397 h 2076207"/>
              <a:gd name="csX195" fmla="*/ 354531 w 733006"/>
              <a:gd name="csY195" fmla="*/ 521620 h 2076207"/>
              <a:gd name="csX196" fmla="*/ 259169 w 733006"/>
              <a:gd name="csY196" fmla="*/ 521978 h 2076207"/>
              <a:gd name="csX197" fmla="*/ 227796 w 733006"/>
              <a:gd name="csY197" fmla="*/ 528000 h 2076207"/>
              <a:gd name="csX198" fmla="*/ 508068 w 733006"/>
              <a:gd name="csY198" fmla="*/ 190710 h 2076207"/>
              <a:gd name="csX199" fmla="*/ 521293 w 733006"/>
              <a:gd name="csY199" fmla="*/ 205907 h 2076207"/>
              <a:gd name="csX200" fmla="*/ 525175 w 733006"/>
              <a:gd name="csY200" fmla="*/ 202985 h 2076207"/>
              <a:gd name="csX201" fmla="*/ 500276 w 733006"/>
              <a:gd name="csY201" fmla="*/ 160640 h 2076207"/>
              <a:gd name="csX202" fmla="*/ 497122 w 733006"/>
              <a:gd name="csY202" fmla="*/ 162007 h 2076207"/>
              <a:gd name="csX203" fmla="*/ 508068 w 733006"/>
              <a:gd name="csY203" fmla="*/ 190710 h 2076207"/>
              <a:gd name="csX204" fmla="*/ 215522 w 733006"/>
              <a:gd name="csY204" fmla="*/ 197296 h 2076207"/>
              <a:gd name="csX205" fmla="*/ 234029 w 733006"/>
              <a:gd name="csY205" fmla="*/ 162725 h 2076207"/>
              <a:gd name="csX206" fmla="*/ 229000 w 733006"/>
              <a:gd name="csY206" fmla="*/ 159902 h 2076207"/>
              <a:gd name="csX207" fmla="*/ 204824 w 733006"/>
              <a:gd name="csY207" fmla="*/ 199677 h 2076207"/>
              <a:gd name="csX208" fmla="*/ 207990 w 733006"/>
              <a:gd name="csY208" fmla="*/ 202198 h 2076207"/>
              <a:gd name="csX209" fmla="*/ 215522 w 733006"/>
              <a:gd name="csY209" fmla="*/ 197296 h 2076207"/>
              <a:gd name="csX210" fmla="*/ 484400 w 733006"/>
              <a:gd name="csY210" fmla="*/ 896678 h 2076207"/>
              <a:gd name="csX211" fmla="*/ 486181 w 733006"/>
              <a:gd name="csY211" fmla="*/ 896585 h 2076207"/>
              <a:gd name="csX212" fmla="*/ 486181 w 733006"/>
              <a:gd name="csY212" fmla="*/ 795289 h 2076207"/>
              <a:gd name="csX213" fmla="*/ 720241 w 733006"/>
              <a:gd name="csY213" fmla="*/ 2030666 h 2076207"/>
              <a:gd name="csX214" fmla="*/ 721175 w 733006"/>
              <a:gd name="csY214" fmla="*/ 2029733 h 2076207"/>
              <a:gd name="csX215" fmla="*/ 720241 w 733006"/>
              <a:gd name="csY215" fmla="*/ 2030666 h 2076207"/>
              <a:gd name="csX216" fmla="*/ 715702 w 733006"/>
              <a:gd name="csY216" fmla="*/ 2037051 h 2076207"/>
              <a:gd name="csX217" fmla="*/ 715702 w 733006"/>
              <a:gd name="csY217" fmla="*/ 2037051 h 2076207"/>
              <a:gd name="csX0" fmla="*/ 96263 w 733006"/>
              <a:gd name="csY0" fmla="*/ 2076207 h 2084524"/>
              <a:gd name="csX1" fmla="*/ 63862 w 733006"/>
              <a:gd name="csY1" fmla="*/ 2065388 h 2084524"/>
              <a:gd name="csX2" fmla="*/ 16555 w 733006"/>
              <a:gd name="csY2" fmla="*/ 2050152 h 2084524"/>
              <a:gd name="csX3" fmla="*/ 15 w 733006"/>
              <a:gd name="csY3" fmla="*/ 2023802 h 2084524"/>
              <a:gd name="csX4" fmla="*/ 18368 w 733006"/>
              <a:gd name="csY4" fmla="*/ 1940709 h 2084524"/>
              <a:gd name="csX5" fmla="*/ 22139 w 733006"/>
              <a:gd name="csY5" fmla="*/ 1907268 h 2084524"/>
              <a:gd name="csX6" fmla="*/ 57941 w 733006"/>
              <a:gd name="csY6" fmla="*/ 1774163 h 2084524"/>
              <a:gd name="csX7" fmla="*/ 102478 w 733006"/>
              <a:gd name="csY7" fmla="*/ 1720275 h 2084524"/>
              <a:gd name="csX8" fmla="*/ 108579 w 733006"/>
              <a:gd name="csY8" fmla="*/ 1650967 h 2084524"/>
              <a:gd name="csX9" fmla="*/ 115628 w 733006"/>
              <a:gd name="csY9" fmla="*/ 1625405 h 2084524"/>
              <a:gd name="csX10" fmla="*/ 156323 w 733006"/>
              <a:gd name="csY10" fmla="*/ 1560181 h 2084524"/>
              <a:gd name="csX11" fmla="*/ 199424 w 733006"/>
              <a:gd name="csY11" fmla="*/ 1364729 h 2084524"/>
              <a:gd name="csX12" fmla="*/ 216779 w 733006"/>
              <a:gd name="csY12" fmla="*/ 1219490 h 2084524"/>
              <a:gd name="csX13" fmla="*/ 229755 w 733006"/>
              <a:gd name="csY13" fmla="*/ 1099357 h 2084524"/>
              <a:gd name="csX14" fmla="*/ 232707 w 733006"/>
              <a:gd name="csY14" fmla="*/ 1056423 h 2084524"/>
              <a:gd name="csX15" fmla="*/ 235622 w 733006"/>
              <a:gd name="csY15" fmla="*/ 952675 h 2084524"/>
              <a:gd name="csX16" fmla="*/ 235445 w 733006"/>
              <a:gd name="csY16" fmla="*/ 780278 h 2084524"/>
              <a:gd name="csX17" fmla="*/ 214544 w 733006"/>
              <a:gd name="csY17" fmla="*/ 756435 h 2084524"/>
              <a:gd name="csX18" fmla="*/ 172569 w 733006"/>
              <a:gd name="csY18" fmla="*/ 742582 h 2084524"/>
              <a:gd name="csX19" fmla="*/ 168784 w 733006"/>
              <a:gd name="csY19" fmla="*/ 669116 h 2084524"/>
              <a:gd name="csX20" fmla="*/ 191657 w 733006"/>
              <a:gd name="csY20" fmla="*/ 630765 h 2084524"/>
              <a:gd name="csX21" fmla="*/ 208150 w 733006"/>
              <a:gd name="csY21" fmla="*/ 609084 h 2084524"/>
              <a:gd name="csX22" fmla="*/ 216756 w 733006"/>
              <a:gd name="csY22" fmla="*/ 558673 h 2084524"/>
              <a:gd name="csX23" fmla="*/ 209092 w 733006"/>
              <a:gd name="csY23" fmla="*/ 521540 h 2084524"/>
              <a:gd name="csX24" fmla="*/ 204683 w 733006"/>
              <a:gd name="csY24" fmla="*/ 474024 h 2084524"/>
              <a:gd name="csX25" fmla="*/ 115483 w 733006"/>
              <a:gd name="csY25" fmla="*/ 213499 h 2084524"/>
              <a:gd name="csX26" fmla="*/ 102909 w 733006"/>
              <a:gd name="csY26" fmla="*/ 182297 h 2084524"/>
              <a:gd name="csX27" fmla="*/ 104315 w 733006"/>
              <a:gd name="csY27" fmla="*/ 163968 h 2084524"/>
              <a:gd name="csX28" fmla="*/ 122444 w 733006"/>
              <a:gd name="csY28" fmla="*/ 160805 h 2084524"/>
              <a:gd name="csX29" fmla="*/ 170283 w 733006"/>
              <a:gd name="csY29" fmla="*/ 187783 h 2084524"/>
              <a:gd name="csX30" fmla="*/ 180938 w 733006"/>
              <a:gd name="csY30" fmla="*/ 195322 h 2084524"/>
              <a:gd name="csX31" fmla="*/ 221419 w 733006"/>
              <a:gd name="csY31" fmla="*/ 138058 h 2084524"/>
              <a:gd name="csX32" fmla="*/ 294099 w 733006"/>
              <a:gd name="csY32" fmla="*/ 91372 h 2084524"/>
              <a:gd name="csX33" fmla="*/ 302307 w 733006"/>
              <a:gd name="csY33" fmla="*/ 76560 h 2084524"/>
              <a:gd name="csX34" fmla="*/ 320284 w 733006"/>
              <a:gd name="csY34" fmla="*/ 8414 h 2084524"/>
              <a:gd name="csX35" fmla="*/ 324784 w 733006"/>
              <a:gd name="csY35" fmla="*/ 946 h 2084524"/>
              <a:gd name="csX36" fmla="*/ 399212 w 733006"/>
              <a:gd name="csY36" fmla="*/ 0 h 2084524"/>
              <a:gd name="csX37" fmla="*/ 425980 w 733006"/>
              <a:gd name="csY37" fmla="*/ 78301 h 2084524"/>
              <a:gd name="csX38" fmla="*/ 431861 w 733006"/>
              <a:gd name="csY38" fmla="*/ 90312 h 2084524"/>
              <a:gd name="csX39" fmla="*/ 540349 w 733006"/>
              <a:gd name="csY39" fmla="*/ 187946 h 2084524"/>
              <a:gd name="csX40" fmla="*/ 545555 w 733006"/>
              <a:gd name="csY40" fmla="*/ 197828 h 2084524"/>
              <a:gd name="csX41" fmla="*/ 587318 w 733006"/>
              <a:gd name="csY41" fmla="*/ 171260 h 2084524"/>
              <a:gd name="csX42" fmla="*/ 601503 w 733006"/>
              <a:gd name="csY42" fmla="*/ 163707 h 2084524"/>
              <a:gd name="csX43" fmla="*/ 625254 w 733006"/>
              <a:gd name="csY43" fmla="*/ 163123 h 2084524"/>
              <a:gd name="csX44" fmla="*/ 625468 w 733006"/>
              <a:gd name="csY44" fmla="*/ 187579 h 2084524"/>
              <a:gd name="csX45" fmla="*/ 597543 w 733006"/>
              <a:gd name="csY45" fmla="*/ 251872 h 2084524"/>
              <a:gd name="csX46" fmla="*/ 531831 w 733006"/>
              <a:gd name="csY46" fmla="*/ 442689 h 2084524"/>
              <a:gd name="csX47" fmla="*/ 519888 w 733006"/>
              <a:gd name="csY47" fmla="*/ 501474 h 2084524"/>
              <a:gd name="csX48" fmla="*/ 522506 w 733006"/>
              <a:gd name="csY48" fmla="*/ 525086 h 2084524"/>
              <a:gd name="csX49" fmla="*/ 516235 w 733006"/>
              <a:gd name="csY49" fmla="*/ 555946 h 2084524"/>
              <a:gd name="csX50" fmla="*/ 521332 w 733006"/>
              <a:gd name="csY50" fmla="*/ 610676 h 2084524"/>
              <a:gd name="csX51" fmla="*/ 541382 w 733006"/>
              <a:gd name="csY51" fmla="*/ 642597 h 2084524"/>
              <a:gd name="csX52" fmla="*/ 557031 w 733006"/>
              <a:gd name="csY52" fmla="*/ 667949 h 2084524"/>
              <a:gd name="csX53" fmla="*/ 553994 w 733006"/>
              <a:gd name="csY53" fmla="*/ 744146 h 2084524"/>
              <a:gd name="csX54" fmla="*/ 508215 w 733006"/>
              <a:gd name="csY54" fmla="*/ 758841 h 2084524"/>
              <a:gd name="csX55" fmla="*/ 497442 w 733006"/>
              <a:gd name="csY55" fmla="*/ 771256 h 2084524"/>
              <a:gd name="csX56" fmla="*/ 493005 w 733006"/>
              <a:gd name="csY56" fmla="*/ 922055 h 2084524"/>
              <a:gd name="csX57" fmla="*/ 502900 w 733006"/>
              <a:gd name="csY57" fmla="*/ 1114191 h 2084524"/>
              <a:gd name="csX58" fmla="*/ 508800 w 733006"/>
              <a:gd name="csY58" fmla="*/ 1205474 h 2084524"/>
              <a:gd name="csX59" fmla="*/ 522952 w 733006"/>
              <a:gd name="csY59" fmla="*/ 1320065 h 2084524"/>
              <a:gd name="csX60" fmla="*/ 554682 w 733006"/>
              <a:gd name="csY60" fmla="*/ 1501203 h 2084524"/>
              <a:gd name="csX61" fmla="*/ 576958 w 733006"/>
              <a:gd name="csY61" fmla="*/ 1593963 h 2084524"/>
              <a:gd name="csX62" fmla="*/ 595349 w 733006"/>
              <a:gd name="csY62" fmla="*/ 1613498 h 2084524"/>
              <a:gd name="csX63" fmla="*/ 613936 w 733006"/>
              <a:gd name="csY63" fmla="*/ 1624058 h 2084524"/>
              <a:gd name="csX64" fmla="*/ 620938 w 733006"/>
              <a:gd name="csY64" fmla="*/ 1652071 h 2084524"/>
              <a:gd name="csX65" fmla="*/ 630805 w 733006"/>
              <a:gd name="csY65" fmla="*/ 1721702 h 2084524"/>
              <a:gd name="csX66" fmla="*/ 685830 w 733006"/>
              <a:gd name="csY66" fmla="*/ 1792915 h 2084524"/>
              <a:gd name="csX67" fmla="*/ 708904 w 733006"/>
              <a:gd name="csY67" fmla="*/ 1890290 h 2084524"/>
              <a:gd name="csX68" fmla="*/ 716580 w 733006"/>
              <a:gd name="csY68" fmla="*/ 1951136 h 2084524"/>
              <a:gd name="csX69" fmla="*/ 729397 w 733006"/>
              <a:gd name="csY69" fmla="*/ 2030261 h 2084524"/>
              <a:gd name="csX70" fmla="*/ 714212 w 733006"/>
              <a:gd name="csY70" fmla="*/ 2049544 h 2084524"/>
              <a:gd name="csX71" fmla="*/ 96263 w 733006"/>
              <a:gd name="csY71" fmla="*/ 2076207 h 2084524"/>
              <a:gd name="csX72" fmla="*/ 489970 w 733006"/>
              <a:gd name="csY72" fmla="*/ 152208 h 2084524"/>
              <a:gd name="csX73" fmla="*/ 490754 w 733006"/>
              <a:gd name="csY73" fmla="*/ 152592 h 2084524"/>
              <a:gd name="csX74" fmla="*/ 489489 w 733006"/>
              <a:gd name="csY74" fmla="*/ 149547 h 2084524"/>
              <a:gd name="csX75" fmla="*/ 393621 w 733006"/>
              <a:gd name="csY75" fmla="*/ 99259 h 2084524"/>
              <a:gd name="csX76" fmla="*/ 390419 w 733006"/>
              <a:gd name="csY76" fmla="*/ 18568 h 2084524"/>
              <a:gd name="csX77" fmla="*/ 334131 w 733006"/>
              <a:gd name="csY77" fmla="*/ 24327 h 2084524"/>
              <a:gd name="csX78" fmla="*/ 344678 w 733006"/>
              <a:gd name="csY78" fmla="*/ 101259 h 2084524"/>
              <a:gd name="csX79" fmla="*/ 298854 w 733006"/>
              <a:gd name="csY79" fmla="*/ 114003 h 2084524"/>
              <a:gd name="csX80" fmla="*/ 237456 w 733006"/>
              <a:gd name="csY80" fmla="*/ 154340 h 2084524"/>
              <a:gd name="csX81" fmla="*/ 240382 w 733006"/>
              <a:gd name="csY81" fmla="*/ 154035 h 2084524"/>
              <a:gd name="csX82" fmla="*/ 262731 w 733006"/>
              <a:gd name="csY82" fmla="*/ 170426 h 2084524"/>
              <a:gd name="csX83" fmla="*/ 279169 w 733006"/>
              <a:gd name="csY83" fmla="*/ 193173 h 2084524"/>
              <a:gd name="csX84" fmla="*/ 327717 w 733006"/>
              <a:gd name="csY84" fmla="*/ 188556 h 2084524"/>
              <a:gd name="csX85" fmla="*/ 348052 w 733006"/>
              <a:gd name="csY85" fmla="*/ 156919 h 2084524"/>
              <a:gd name="csX86" fmla="*/ 380330 w 733006"/>
              <a:gd name="csY86" fmla="*/ 156483 h 2084524"/>
              <a:gd name="csX87" fmla="*/ 408490 w 733006"/>
              <a:gd name="csY87" fmla="*/ 195400 h 2084524"/>
              <a:gd name="csX88" fmla="*/ 445346 w 733006"/>
              <a:gd name="csY88" fmla="*/ 197582 h 2084524"/>
              <a:gd name="csX89" fmla="*/ 464798 w 733006"/>
              <a:gd name="csY89" fmla="*/ 174107 h 2084524"/>
              <a:gd name="csX90" fmla="*/ 489970 w 733006"/>
              <a:gd name="csY90" fmla="*/ 152208 h 2084524"/>
              <a:gd name="csX91" fmla="*/ 140694 w 733006"/>
              <a:gd name="csY91" fmla="*/ 201837 h 2084524"/>
              <a:gd name="csX92" fmla="*/ 139834 w 733006"/>
              <a:gd name="csY92" fmla="*/ 201482 h 2084524"/>
              <a:gd name="csX93" fmla="*/ 140812 w 733006"/>
              <a:gd name="csY93" fmla="*/ 204941 h 2084524"/>
              <a:gd name="csX94" fmla="*/ 144631 w 733006"/>
              <a:gd name="csY94" fmla="*/ 217811 h 2084524"/>
              <a:gd name="csX95" fmla="*/ 201241 w 733006"/>
              <a:gd name="csY95" fmla="*/ 373387 h 2084524"/>
              <a:gd name="csX96" fmla="*/ 235971 w 733006"/>
              <a:gd name="csY96" fmla="*/ 504451 h 2084524"/>
              <a:gd name="csX97" fmla="*/ 247475 w 733006"/>
              <a:gd name="csY97" fmla="*/ 513241 h 2084524"/>
              <a:gd name="csX98" fmla="*/ 289066 w 733006"/>
              <a:gd name="csY98" fmla="*/ 511170 h 2084524"/>
              <a:gd name="csX99" fmla="*/ 378229 w 733006"/>
              <a:gd name="csY99" fmla="*/ 511084 h 2084524"/>
              <a:gd name="csX100" fmla="*/ 470850 w 733006"/>
              <a:gd name="csY100" fmla="*/ 516341 h 2084524"/>
              <a:gd name="csX101" fmla="*/ 492933 w 733006"/>
              <a:gd name="csY101" fmla="*/ 497969 h 2084524"/>
              <a:gd name="csX102" fmla="*/ 557617 w 733006"/>
              <a:gd name="csY102" fmla="*/ 280398 h 2084524"/>
              <a:gd name="csX103" fmla="*/ 588788 w 733006"/>
              <a:gd name="csY103" fmla="*/ 200385 h 2084524"/>
              <a:gd name="csX104" fmla="*/ 530958 w 733006"/>
              <a:gd name="csY104" fmla="*/ 232968 h 2084524"/>
              <a:gd name="csX105" fmla="*/ 483823 w 733006"/>
              <a:gd name="csY105" fmla="*/ 190364 h 2084524"/>
              <a:gd name="csX106" fmla="*/ 466649 w 733006"/>
              <a:gd name="csY106" fmla="*/ 209061 h 2084524"/>
              <a:gd name="csX107" fmla="*/ 399941 w 733006"/>
              <a:gd name="csY107" fmla="*/ 216988 h 2084524"/>
              <a:gd name="csX108" fmla="*/ 363018 w 733006"/>
              <a:gd name="csY108" fmla="*/ 179615 h 2084524"/>
              <a:gd name="csX109" fmla="*/ 308839 w 733006"/>
              <a:gd name="csY109" fmla="*/ 227846 h 2084524"/>
              <a:gd name="csX110" fmla="*/ 245077 w 733006"/>
              <a:gd name="csY110" fmla="*/ 192402 h 2084524"/>
              <a:gd name="csX111" fmla="*/ 242829 w 733006"/>
              <a:gd name="csY111" fmla="*/ 198815 h 2084524"/>
              <a:gd name="csX112" fmla="*/ 168452 w 733006"/>
              <a:gd name="csY112" fmla="*/ 219348 h 2084524"/>
              <a:gd name="csX113" fmla="*/ 140694 w 733006"/>
              <a:gd name="csY113" fmla="*/ 201837 h 2084524"/>
              <a:gd name="csX114" fmla="*/ 259999 w 733006"/>
              <a:gd name="csY114" fmla="*/ 966699 h 2084524"/>
              <a:gd name="csX115" fmla="*/ 257072 w 733006"/>
              <a:gd name="csY115" fmla="*/ 1070424 h 2084524"/>
              <a:gd name="csX116" fmla="*/ 251372 w 733006"/>
              <a:gd name="csY116" fmla="*/ 1157618 h 2084524"/>
              <a:gd name="csX117" fmla="*/ 232677 w 733006"/>
              <a:gd name="csY117" fmla="*/ 1320279 h 2084524"/>
              <a:gd name="csX118" fmla="*/ 209182 w 733006"/>
              <a:gd name="csY118" fmla="*/ 1468667 h 2084524"/>
              <a:gd name="csX119" fmla="*/ 175302 w 733006"/>
              <a:gd name="csY119" fmla="*/ 1616623 h 2084524"/>
              <a:gd name="csX120" fmla="*/ 182769 w 733006"/>
              <a:gd name="csY120" fmla="*/ 1629786 h 2084524"/>
              <a:gd name="csX121" fmla="*/ 212156 w 733006"/>
              <a:gd name="csY121" fmla="*/ 1632656 h 2084524"/>
              <a:gd name="csX122" fmla="*/ 351295 w 733006"/>
              <a:gd name="csY122" fmla="*/ 1632801 h 2084524"/>
              <a:gd name="csX123" fmla="*/ 376150 w 733006"/>
              <a:gd name="csY123" fmla="*/ 1608307 h 2084524"/>
              <a:gd name="csX124" fmla="*/ 373450 w 733006"/>
              <a:gd name="csY124" fmla="*/ 1457291 h 2084524"/>
              <a:gd name="csX125" fmla="*/ 370936 w 733006"/>
              <a:gd name="csY125" fmla="*/ 1342736 h 2084524"/>
              <a:gd name="csX126" fmla="*/ 368328 w 733006"/>
              <a:gd name="csY126" fmla="*/ 1203878 h 2084524"/>
              <a:gd name="csX127" fmla="*/ 367836 w 733006"/>
              <a:gd name="csY127" fmla="*/ 813478 h 2084524"/>
              <a:gd name="csX128" fmla="*/ 365240 w 733006"/>
              <a:gd name="csY128" fmla="*/ 773243 h 2084524"/>
              <a:gd name="csX129" fmla="*/ 353084 w 733006"/>
              <a:gd name="csY129" fmla="*/ 762083 h 2084524"/>
              <a:gd name="csX130" fmla="*/ 280966 w 733006"/>
              <a:gd name="csY130" fmla="*/ 759855 h 2084524"/>
              <a:gd name="csX131" fmla="*/ 259965 w 733006"/>
              <a:gd name="csY131" fmla="*/ 779553 h 2084524"/>
              <a:gd name="csX132" fmla="*/ 262341 w 733006"/>
              <a:gd name="csY132" fmla="*/ 856275 h 2084524"/>
              <a:gd name="csX133" fmla="*/ 259999 w 733006"/>
              <a:gd name="csY133" fmla="*/ 966699 h 2084524"/>
              <a:gd name="csX134" fmla="*/ 55556 w 733006"/>
              <a:gd name="csY134" fmla="*/ 1835827 h 2084524"/>
              <a:gd name="csX135" fmla="*/ 49393 w 733006"/>
              <a:gd name="csY135" fmla="*/ 1878155 h 2084524"/>
              <a:gd name="csX136" fmla="*/ 73949 w 733006"/>
              <a:gd name="csY136" fmla="*/ 1905781 h 2084524"/>
              <a:gd name="csX137" fmla="*/ 110073 w 733006"/>
              <a:gd name="csY137" fmla="*/ 1909068 h 2084524"/>
              <a:gd name="csX138" fmla="*/ 224745 w 733006"/>
              <a:gd name="csY138" fmla="*/ 1921652 h 2084524"/>
              <a:gd name="csX139" fmla="*/ 347327 w 733006"/>
              <a:gd name="csY139" fmla="*/ 1924778 h 2084524"/>
              <a:gd name="csX140" fmla="*/ 363345 w 733006"/>
              <a:gd name="csY140" fmla="*/ 1923293 h 2084524"/>
              <a:gd name="csX141" fmla="*/ 373787 w 733006"/>
              <a:gd name="csY141" fmla="*/ 1911200 h 2084524"/>
              <a:gd name="csX142" fmla="*/ 376623 w 733006"/>
              <a:gd name="csY142" fmla="*/ 1696741 h 2084524"/>
              <a:gd name="csX143" fmla="*/ 360437 w 733006"/>
              <a:gd name="csY143" fmla="*/ 1681289 h 2084524"/>
              <a:gd name="csX144" fmla="*/ 263503 w 733006"/>
              <a:gd name="csY144" fmla="*/ 1678179 h 2084524"/>
              <a:gd name="csX145" fmla="*/ 160381 w 733006"/>
              <a:gd name="csY145" fmla="*/ 1670405 h 2084524"/>
              <a:gd name="csX146" fmla="*/ 143321 w 733006"/>
              <a:gd name="csY146" fmla="*/ 1685538 h 2084524"/>
              <a:gd name="csX147" fmla="*/ 124769 w 733006"/>
              <a:gd name="csY147" fmla="*/ 1738195 h 2084524"/>
              <a:gd name="csX148" fmla="*/ 90593 w 733006"/>
              <a:gd name="csY148" fmla="*/ 1779570 h 2084524"/>
              <a:gd name="csX149" fmla="*/ 55556 w 733006"/>
              <a:gd name="csY149" fmla="*/ 1835827 h 2084524"/>
              <a:gd name="csX150" fmla="*/ 378900 w 733006"/>
              <a:gd name="csY150" fmla="*/ 2007280 h 2084524"/>
              <a:gd name="csX151" fmla="*/ 378887 w 733006"/>
              <a:gd name="csY151" fmla="*/ 1995127 h 2084524"/>
              <a:gd name="csX152" fmla="*/ 359084 w 733006"/>
              <a:gd name="csY152" fmla="*/ 1975964 h 2084524"/>
              <a:gd name="csX153" fmla="*/ 247288 w 733006"/>
              <a:gd name="csY153" fmla="*/ 1973305 h 2084524"/>
              <a:gd name="csX154" fmla="*/ 201692 w 733006"/>
              <a:gd name="csY154" fmla="*/ 1970275 h 2084524"/>
              <a:gd name="csX155" fmla="*/ 57962 w 733006"/>
              <a:gd name="csY155" fmla="*/ 1952648 h 2084524"/>
              <a:gd name="csX156" fmla="*/ 39194 w 733006"/>
              <a:gd name="csY156" fmla="*/ 1963552 h 2084524"/>
              <a:gd name="csX157" fmla="*/ 30066 w 733006"/>
              <a:gd name="csY157" fmla="*/ 2006631 h 2084524"/>
              <a:gd name="csX158" fmla="*/ 40232 w 733006"/>
              <a:gd name="csY158" fmla="*/ 2019486 h 2084524"/>
              <a:gd name="csX159" fmla="*/ 238186 w 733006"/>
              <a:gd name="csY159" fmla="*/ 2046096 h 2084524"/>
              <a:gd name="csX160" fmla="*/ 342155 w 733006"/>
              <a:gd name="csY160" fmla="*/ 2046441 h 2084524"/>
              <a:gd name="csX161" fmla="*/ 378900 w 733006"/>
              <a:gd name="csY161" fmla="*/ 2007280 h 2084524"/>
              <a:gd name="csX162" fmla="*/ 310220 w 733006"/>
              <a:gd name="csY162" fmla="*/ 554288 h 2084524"/>
              <a:gd name="csX163" fmla="*/ 259136 w 733006"/>
              <a:gd name="csY163" fmla="*/ 556881 h 2084524"/>
              <a:gd name="csX164" fmla="*/ 249085 w 733006"/>
              <a:gd name="csY164" fmla="*/ 567981 h 2084524"/>
              <a:gd name="csX165" fmla="*/ 249141 w 733006"/>
              <a:gd name="csY165" fmla="*/ 605644 h 2084524"/>
              <a:gd name="csX166" fmla="*/ 262628 w 733006"/>
              <a:gd name="csY166" fmla="*/ 605627 h 2084524"/>
              <a:gd name="csX167" fmla="*/ 369608 w 733006"/>
              <a:gd name="csY167" fmla="*/ 603027 h 2084524"/>
              <a:gd name="csX168" fmla="*/ 463931 w 733006"/>
              <a:gd name="csY168" fmla="*/ 605146 h 2084524"/>
              <a:gd name="csX169" fmla="*/ 478113 w 733006"/>
              <a:gd name="csY169" fmla="*/ 595843 h 2084524"/>
              <a:gd name="csX170" fmla="*/ 478796 w 733006"/>
              <a:gd name="csY170" fmla="*/ 556832 h 2084524"/>
              <a:gd name="csX171" fmla="*/ 310220 w 733006"/>
              <a:gd name="csY171" fmla="*/ 554288 h 2084524"/>
              <a:gd name="csX172" fmla="*/ 348836 w 733006"/>
              <a:gd name="csY172" fmla="*/ 684115 h 2084524"/>
              <a:gd name="csX173" fmla="*/ 281333 w 733006"/>
              <a:gd name="csY173" fmla="*/ 683313 h 2084524"/>
              <a:gd name="csX174" fmla="*/ 212728 w 733006"/>
              <a:gd name="csY174" fmla="*/ 681931 h 2084524"/>
              <a:gd name="csX175" fmla="*/ 187283 w 733006"/>
              <a:gd name="csY175" fmla="*/ 689555 h 2084524"/>
              <a:gd name="csX176" fmla="*/ 186163 w 733006"/>
              <a:gd name="csY176" fmla="*/ 718266 h 2084524"/>
              <a:gd name="csX177" fmla="*/ 209894 w 733006"/>
              <a:gd name="csY177" fmla="*/ 726798 h 2084524"/>
              <a:gd name="csX178" fmla="*/ 334814 w 733006"/>
              <a:gd name="csY178" fmla="*/ 732494 h 2084524"/>
              <a:gd name="csX179" fmla="*/ 364856 w 733006"/>
              <a:gd name="csY179" fmla="*/ 707963 h 2084524"/>
              <a:gd name="csX180" fmla="*/ 348836 w 733006"/>
              <a:gd name="csY180" fmla="*/ 684115 h 2084524"/>
              <a:gd name="csX181" fmla="*/ 298865 w 733006"/>
              <a:gd name="csY181" fmla="*/ 621954 h 2084524"/>
              <a:gd name="csX182" fmla="*/ 251619 w 733006"/>
              <a:gd name="csY182" fmla="*/ 622133 h 2084524"/>
              <a:gd name="csX183" fmla="*/ 214459 w 733006"/>
              <a:gd name="csY183" fmla="*/ 636230 h 2084524"/>
              <a:gd name="csX184" fmla="*/ 221436 w 733006"/>
              <a:gd name="csY184" fmla="*/ 654205 h 2084524"/>
              <a:gd name="csX185" fmla="*/ 272412 w 733006"/>
              <a:gd name="csY185" fmla="*/ 657250 h 2084524"/>
              <a:gd name="csX186" fmla="*/ 349094 w 733006"/>
              <a:gd name="csY186" fmla="*/ 659282 h 2084524"/>
              <a:gd name="csX187" fmla="*/ 362996 w 733006"/>
              <a:gd name="csY187" fmla="*/ 644234 h 2084524"/>
              <a:gd name="csX188" fmla="*/ 348472 w 733006"/>
              <a:gd name="csY188" fmla="*/ 624649 h 2084524"/>
              <a:gd name="csX189" fmla="*/ 298865 w 733006"/>
              <a:gd name="csY189" fmla="*/ 621954 h 2084524"/>
              <a:gd name="csX190" fmla="*/ 227796 w 733006"/>
              <a:gd name="csY190" fmla="*/ 528000 h 2084524"/>
              <a:gd name="csX191" fmla="*/ 241009 w 733006"/>
              <a:gd name="csY191" fmla="*/ 545897 h 2084524"/>
              <a:gd name="csX192" fmla="*/ 282607 w 733006"/>
              <a:gd name="csY192" fmla="*/ 543480 h 2084524"/>
              <a:gd name="csX193" fmla="*/ 354213 w 733006"/>
              <a:gd name="csY193" fmla="*/ 543384 h 2084524"/>
              <a:gd name="csX194" fmla="*/ 365334 w 733006"/>
              <a:gd name="csY194" fmla="*/ 533397 h 2084524"/>
              <a:gd name="csX195" fmla="*/ 354531 w 733006"/>
              <a:gd name="csY195" fmla="*/ 521620 h 2084524"/>
              <a:gd name="csX196" fmla="*/ 259169 w 733006"/>
              <a:gd name="csY196" fmla="*/ 521978 h 2084524"/>
              <a:gd name="csX197" fmla="*/ 227796 w 733006"/>
              <a:gd name="csY197" fmla="*/ 528000 h 2084524"/>
              <a:gd name="csX198" fmla="*/ 508068 w 733006"/>
              <a:gd name="csY198" fmla="*/ 190710 h 2084524"/>
              <a:gd name="csX199" fmla="*/ 521293 w 733006"/>
              <a:gd name="csY199" fmla="*/ 205907 h 2084524"/>
              <a:gd name="csX200" fmla="*/ 525175 w 733006"/>
              <a:gd name="csY200" fmla="*/ 202985 h 2084524"/>
              <a:gd name="csX201" fmla="*/ 500276 w 733006"/>
              <a:gd name="csY201" fmla="*/ 160640 h 2084524"/>
              <a:gd name="csX202" fmla="*/ 497122 w 733006"/>
              <a:gd name="csY202" fmla="*/ 162007 h 2084524"/>
              <a:gd name="csX203" fmla="*/ 508068 w 733006"/>
              <a:gd name="csY203" fmla="*/ 190710 h 2084524"/>
              <a:gd name="csX204" fmla="*/ 215522 w 733006"/>
              <a:gd name="csY204" fmla="*/ 197296 h 2084524"/>
              <a:gd name="csX205" fmla="*/ 234029 w 733006"/>
              <a:gd name="csY205" fmla="*/ 162725 h 2084524"/>
              <a:gd name="csX206" fmla="*/ 229000 w 733006"/>
              <a:gd name="csY206" fmla="*/ 159902 h 2084524"/>
              <a:gd name="csX207" fmla="*/ 204824 w 733006"/>
              <a:gd name="csY207" fmla="*/ 199677 h 2084524"/>
              <a:gd name="csX208" fmla="*/ 207990 w 733006"/>
              <a:gd name="csY208" fmla="*/ 202198 h 2084524"/>
              <a:gd name="csX209" fmla="*/ 215522 w 733006"/>
              <a:gd name="csY209" fmla="*/ 197296 h 2084524"/>
              <a:gd name="csX210" fmla="*/ 484400 w 733006"/>
              <a:gd name="csY210" fmla="*/ 896678 h 2084524"/>
              <a:gd name="csX211" fmla="*/ 486181 w 733006"/>
              <a:gd name="csY211" fmla="*/ 896585 h 2084524"/>
              <a:gd name="csX212" fmla="*/ 486181 w 733006"/>
              <a:gd name="csY212" fmla="*/ 795289 h 2084524"/>
              <a:gd name="csX213" fmla="*/ 720241 w 733006"/>
              <a:gd name="csY213" fmla="*/ 2030666 h 2084524"/>
              <a:gd name="csX214" fmla="*/ 721175 w 733006"/>
              <a:gd name="csY214" fmla="*/ 2029733 h 2084524"/>
              <a:gd name="csX215" fmla="*/ 720241 w 733006"/>
              <a:gd name="csY215" fmla="*/ 2030666 h 2084524"/>
              <a:gd name="csX216" fmla="*/ 715702 w 733006"/>
              <a:gd name="csY216" fmla="*/ 2037051 h 2084524"/>
              <a:gd name="csX217" fmla="*/ 715702 w 733006"/>
              <a:gd name="csY217" fmla="*/ 2037051 h 2084524"/>
              <a:gd name="csX0" fmla="*/ 96263 w 733006"/>
              <a:gd name="csY0" fmla="*/ 2076207 h 2095135"/>
              <a:gd name="csX1" fmla="*/ 63862 w 733006"/>
              <a:gd name="csY1" fmla="*/ 2065388 h 2095135"/>
              <a:gd name="csX2" fmla="*/ 16555 w 733006"/>
              <a:gd name="csY2" fmla="*/ 2050152 h 2095135"/>
              <a:gd name="csX3" fmla="*/ 15 w 733006"/>
              <a:gd name="csY3" fmla="*/ 2023802 h 2095135"/>
              <a:gd name="csX4" fmla="*/ 18368 w 733006"/>
              <a:gd name="csY4" fmla="*/ 1940709 h 2095135"/>
              <a:gd name="csX5" fmla="*/ 22139 w 733006"/>
              <a:gd name="csY5" fmla="*/ 1907268 h 2095135"/>
              <a:gd name="csX6" fmla="*/ 57941 w 733006"/>
              <a:gd name="csY6" fmla="*/ 1774163 h 2095135"/>
              <a:gd name="csX7" fmla="*/ 102478 w 733006"/>
              <a:gd name="csY7" fmla="*/ 1720275 h 2095135"/>
              <a:gd name="csX8" fmla="*/ 108579 w 733006"/>
              <a:gd name="csY8" fmla="*/ 1650967 h 2095135"/>
              <a:gd name="csX9" fmla="*/ 115628 w 733006"/>
              <a:gd name="csY9" fmla="*/ 1625405 h 2095135"/>
              <a:gd name="csX10" fmla="*/ 156323 w 733006"/>
              <a:gd name="csY10" fmla="*/ 1560181 h 2095135"/>
              <a:gd name="csX11" fmla="*/ 199424 w 733006"/>
              <a:gd name="csY11" fmla="*/ 1364729 h 2095135"/>
              <a:gd name="csX12" fmla="*/ 216779 w 733006"/>
              <a:gd name="csY12" fmla="*/ 1219490 h 2095135"/>
              <a:gd name="csX13" fmla="*/ 229755 w 733006"/>
              <a:gd name="csY13" fmla="*/ 1099357 h 2095135"/>
              <a:gd name="csX14" fmla="*/ 232707 w 733006"/>
              <a:gd name="csY14" fmla="*/ 1056423 h 2095135"/>
              <a:gd name="csX15" fmla="*/ 235622 w 733006"/>
              <a:gd name="csY15" fmla="*/ 952675 h 2095135"/>
              <a:gd name="csX16" fmla="*/ 235445 w 733006"/>
              <a:gd name="csY16" fmla="*/ 780278 h 2095135"/>
              <a:gd name="csX17" fmla="*/ 214544 w 733006"/>
              <a:gd name="csY17" fmla="*/ 756435 h 2095135"/>
              <a:gd name="csX18" fmla="*/ 172569 w 733006"/>
              <a:gd name="csY18" fmla="*/ 742582 h 2095135"/>
              <a:gd name="csX19" fmla="*/ 168784 w 733006"/>
              <a:gd name="csY19" fmla="*/ 669116 h 2095135"/>
              <a:gd name="csX20" fmla="*/ 191657 w 733006"/>
              <a:gd name="csY20" fmla="*/ 630765 h 2095135"/>
              <a:gd name="csX21" fmla="*/ 208150 w 733006"/>
              <a:gd name="csY21" fmla="*/ 609084 h 2095135"/>
              <a:gd name="csX22" fmla="*/ 216756 w 733006"/>
              <a:gd name="csY22" fmla="*/ 558673 h 2095135"/>
              <a:gd name="csX23" fmla="*/ 209092 w 733006"/>
              <a:gd name="csY23" fmla="*/ 521540 h 2095135"/>
              <a:gd name="csX24" fmla="*/ 204683 w 733006"/>
              <a:gd name="csY24" fmla="*/ 474024 h 2095135"/>
              <a:gd name="csX25" fmla="*/ 115483 w 733006"/>
              <a:gd name="csY25" fmla="*/ 213499 h 2095135"/>
              <a:gd name="csX26" fmla="*/ 102909 w 733006"/>
              <a:gd name="csY26" fmla="*/ 182297 h 2095135"/>
              <a:gd name="csX27" fmla="*/ 104315 w 733006"/>
              <a:gd name="csY27" fmla="*/ 163968 h 2095135"/>
              <a:gd name="csX28" fmla="*/ 122444 w 733006"/>
              <a:gd name="csY28" fmla="*/ 160805 h 2095135"/>
              <a:gd name="csX29" fmla="*/ 170283 w 733006"/>
              <a:gd name="csY29" fmla="*/ 187783 h 2095135"/>
              <a:gd name="csX30" fmla="*/ 180938 w 733006"/>
              <a:gd name="csY30" fmla="*/ 195322 h 2095135"/>
              <a:gd name="csX31" fmla="*/ 221419 w 733006"/>
              <a:gd name="csY31" fmla="*/ 138058 h 2095135"/>
              <a:gd name="csX32" fmla="*/ 294099 w 733006"/>
              <a:gd name="csY32" fmla="*/ 91372 h 2095135"/>
              <a:gd name="csX33" fmla="*/ 302307 w 733006"/>
              <a:gd name="csY33" fmla="*/ 76560 h 2095135"/>
              <a:gd name="csX34" fmla="*/ 320284 w 733006"/>
              <a:gd name="csY34" fmla="*/ 8414 h 2095135"/>
              <a:gd name="csX35" fmla="*/ 324784 w 733006"/>
              <a:gd name="csY35" fmla="*/ 946 h 2095135"/>
              <a:gd name="csX36" fmla="*/ 399212 w 733006"/>
              <a:gd name="csY36" fmla="*/ 0 h 2095135"/>
              <a:gd name="csX37" fmla="*/ 425980 w 733006"/>
              <a:gd name="csY37" fmla="*/ 78301 h 2095135"/>
              <a:gd name="csX38" fmla="*/ 431861 w 733006"/>
              <a:gd name="csY38" fmla="*/ 90312 h 2095135"/>
              <a:gd name="csX39" fmla="*/ 540349 w 733006"/>
              <a:gd name="csY39" fmla="*/ 187946 h 2095135"/>
              <a:gd name="csX40" fmla="*/ 545555 w 733006"/>
              <a:gd name="csY40" fmla="*/ 197828 h 2095135"/>
              <a:gd name="csX41" fmla="*/ 587318 w 733006"/>
              <a:gd name="csY41" fmla="*/ 171260 h 2095135"/>
              <a:gd name="csX42" fmla="*/ 601503 w 733006"/>
              <a:gd name="csY42" fmla="*/ 163707 h 2095135"/>
              <a:gd name="csX43" fmla="*/ 625254 w 733006"/>
              <a:gd name="csY43" fmla="*/ 163123 h 2095135"/>
              <a:gd name="csX44" fmla="*/ 625468 w 733006"/>
              <a:gd name="csY44" fmla="*/ 187579 h 2095135"/>
              <a:gd name="csX45" fmla="*/ 597543 w 733006"/>
              <a:gd name="csY45" fmla="*/ 251872 h 2095135"/>
              <a:gd name="csX46" fmla="*/ 531831 w 733006"/>
              <a:gd name="csY46" fmla="*/ 442689 h 2095135"/>
              <a:gd name="csX47" fmla="*/ 519888 w 733006"/>
              <a:gd name="csY47" fmla="*/ 501474 h 2095135"/>
              <a:gd name="csX48" fmla="*/ 522506 w 733006"/>
              <a:gd name="csY48" fmla="*/ 525086 h 2095135"/>
              <a:gd name="csX49" fmla="*/ 516235 w 733006"/>
              <a:gd name="csY49" fmla="*/ 555946 h 2095135"/>
              <a:gd name="csX50" fmla="*/ 521332 w 733006"/>
              <a:gd name="csY50" fmla="*/ 610676 h 2095135"/>
              <a:gd name="csX51" fmla="*/ 541382 w 733006"/>
              <a:gd name="csY51" fmla="*/ 642597 h 2095135"/>
              <a:gd name="csX52" fmla="*/ 557031 w 733006"/>
              <a:gd name="csY52" fmla="*/ 667949 h 2095135"/>
              <a:gd name="csX53" fmla="*/ 553994 w 733006"/>
              <a:gd name="csY53" fmla="*/ 744146 h 2095135"/>
              <a:gd name="csX54" fmla="*/ 508215 w 733006"/>
              <a:gd name="csY54" fmla="*/ 758841 h 2095135"/>
              <a:gd name="csX55" fmla="*/ 497442 w 733006"/>
              <a:gd name="csY55" fmla="*/ 771256 h 2095135"/>
              <a:gd name="csX56" fmla="*/ 493005 w 733006"/>
              <a:gd name="csY56" fmla="*/ 922055 h 2095135"/>
              <a:gd name="csX57" fmla="*/ 502900 w 733006"/>
              <a:gd name="csY57" fmla="*/ 1114191 h 2095135"/>
              <a:gd name="csX58" fmla="*/ 508800 w 733006"/>
              <a:gd name="csY58" fmla="*/ 1205474 h 2095135"/>
              <a:gd name="csX59" fmla="*/ 522952 w 733006"/>
              <a:gd name="csY59" fmla="*/ 1320065 h 2095135"/>
              <a:gd name="csX60" fmla="*/ 554682 w 733006"/>
              <a:gd name="csY60" fmla="*/ 1501203 h 2095135"/>
              <a:gd name="csX61" fmla="*/ 576958 w 733006"/>
              <a:gd name="csY61" fmla="*/ 1593963 h 2095135"/>
              <a:gd name="csX62" fmla="*/ 595349 w 733006"/>
              <a:gd name="csY62" fmla="*/ 1613498 h 2095135"/>
              <a:gd name="csX63" fmla="*/ 613936 w 733006"/>
              <a:gd name="csY63" fmla="*/ 1624058 h 2095135"/>
              <a:gd name="csX64" fmla="*/ 620938 w 733006"/>
              <a:gd name="csY64" fmla="*/ 1652071 h 2095135"/>
              <a:gd name="csX65" fmla="*/ 630805 w 733006"/>
              <a:gd name="csY65" fmla="*/ 1721702 h 2095135"/>
              <a:gd name="csX66" fmla="*/ 685830 w 733006"/>
              <a:gd name="csY66" fmla="*/ 1792915 h 2095135"/>
              <a:gd name="csX67" fmla="*/ 708904 w 733006"/>
              <a:gd name="csY67" fmla="*/ 1890290 h 2095135"/>
              <a:gd name="csX68" fmla="*/ 716580 w 733006"/>
              <a:gd name="csY68" fmla="*/ 1951136 h 2095135"/>
              <a:gd name="csX69" fmla="*/ 729397 w 733006"/>
              <a:gd name="csY69" fmla="*/ 2030261 h 2095135"/>
              <a:gd name="csX70" fmla="*/ 714212 w 733006"/>
              <a:gd name="csY70" fmla="*/ 2049544 h 2095135"/>
              <a:gd name="csX71" fmla="*/ 96263 w 733006"/>
              <a:gd name="csY71" fmla="*/ 2076207 h 2095135"/>
              <a:gd name="csX72" fmla="*/ 489970 w 733006"/>
              <a:gd name="csY72" fmla="*/ 152208 h 2095135"/>
              <a:gd name="csX73" fmla="*/ 490754 w 733006"/>
              <a:gd name="csY73" fmla="*/ 152592 h 2095135"/>
              <a:gd name="csX74" fmla="*/ 489489 w 733006"/>
              <a:gd name="csY74" fmla="*/ 149547 h 2095135"/>
              <a:gd name="csX75" fmla="*/ 393621 w 733006"/>
              <a:gd name="csY75" fmla="*/ 99259 h 2095135"/>
              <a:gd name="csX76" fmla="*/ 390419 w 733006"/>
              <a:gd name="csY76" fmla="*/ 18568 h 2095135"/>
              <a:gd name="csX77" fmla="*/ 334131 w 733006"/>
              <a:gd name="csY77" fmla="*/ 24327 h 2095135"/>
              <a:gd name="csX78" fmla="*/ 344678 w 733006"/>
              <a:gd name="csY78" fmla="*/ 101259 h 2095135"/>
              <a:gd name="csX79" fmla="*/ 298854 w 733006"/>
              <a:gd name="csY79" fmla="*/ 114003 h 2095135"/>
              <a:gd name="csX80" fmla="*/ 237456 w 733006"/>
              <a:gd name="csY80" fmla="*/ 154340 h 2095135"/>
              <a:gd name="csX81" fmla="*/ 240382 w 733006"/>
              <a:gd name="csY81" fmla="*/ 154035 h 2095135"/>
              <a:gd name="csX82" fmla="*/ 262731 w 733006"/>
              <a:gd name="csY82" fmla="*/ 170426 h 2095135"/>
              <a:gd name="csX83" fmla="*/ 279169 w 733006"/>
              <a:gd name="csY83" fmla="*/ 193173 h 2095135"/>
              <a:gd name="csX84" fmla="*/ 327717 w 733006"/>
              <a:gd name="csY84" fmla="*/ 188556 h 2095135"/>
              <a:gd name="csX85" fmla="*/ 348052 w 733006"/>
              <a:gd name="csY85" fmla="*/ 156919 h 2095135"/>
              <a:gd name="csX86" fmla="*/ 380330 w 733006"/>
              <a:gd name="csY86" fmla="*/ 156483 h 2095135"/>
              <a:gd name="csX87" fmla="*/ 408490 w 733006"/>
              <a:gd name="csY87" fmla="*/ 195400 h 2095135"/>
              <a:gd name="csX88" fmla="*/ 445346 w 733006"/>
              <a:gd name="csY88" fmla="*/ 197582 h 2095135"/>
              <a:gd name="csX89" fmla="*/ 464798 w 733006"/>
              <a:gd name="csY89" fmla="*/ 174107 h 2095135"/>
              <a:gd name="csX90" fmla="*/ 489970 w 733006"/>
              <a:gd name="csY90" fmla="*/ 152208 h 2095135"/>
              <a:gd name="csX91" fmla="*/ 140694 w 733006"/>
              <a:gd name="csY91" fmla="*/ 201837 h 2095135"/>
              <a:gd name="csX92" fmla="*/ 139834 w 733006"/>
              <a:gd name="csY92" fmla="*/ 201482 h 2095135"/>
              <a:gd name="csX93" fmla="*/ 140812 w 733006"/>
              <a:gd name="csY93" fmla="*/ 204941 h 2095135"/>
              <a:gd name="csX94" fmla="*/ 144631 w 733006"/>
              <a:gd name="csY94" fmla="*/ 217811 h 2095135"/>
              <a:gd name="csX95" fmla="*/ 201241 w 733006"/>
              <a:gd name="csY95" fmla="*/ 373387 h 2095135"/>
              <a:gd name="csX96" fmla="*/ 235971 w 733006"/>
              <a:gd name="csY96" fmla="*/ 504451 h 2095135"/>
              <a:gd name="csX97" fmla="*/ 247475 w 733006"/>
              <a:gd name="csY97" fmla="*/ 513241 h 2095135"/>
              <a:gd name="csX98" fmla="*/ 289066 w 733006"/>
              <a:gd name="csY98" fmla="*/ 511170 h 2095135"/>
              <a:gd name="csX99" fmla="*/ 378229 w 733006"/>
              <a:gd name="csY99" fmla="*/ 511084 h 2095135"/>
              <a:gd name="csX100" fmla="*/ 470850 w 733006"/>
              <a:gd name="csY100" fmla="*/ 516341 h 2095135"/>
              <a:gd name="csX101" fmla="*/ 492933 w 733006"/>
              <a:gd name="csY101" fmla="*/ 497969 h 2095135"/>
              <a:gd name="csX102" fmla="*/ 557617 w 733006"/>
              <a:gd name="csY102" fmla="*/ 280398 h 2095135"/>
              <a:gd name="csX103" fmla="*/ 588788 w 733006"/>
              <a:gd name="csY103" fmla="*/ 200385 h 2095135"/>
              <a:gd name="csX104" fmla="*/ 530958 w 733006"/>
              <a:gd name="csY104" fmla="*/ 232968 h 2095135"/>
              <a:gd name="csX105" fmla="*/ 483823 w 733006"/>
              <a:gd name="csY105" fmla="*/ 190364 h 2095135"/>
              <a:gd name="csX106" fmla="*/ 466649 w 733006"/>
              <a:gd name="csY106" fmla="*/ 209061 h 2095135"/>
              <a:gd name="csX107" fmla="*/ 399941 w 733006"/>
              <a:gd name="csY107" fmla="*/ 216988 h 2095135"/>
              <a:gd name="csX108" fmla="*/ 363018 w 733006"/>
              <a:gd name="csY108" fmla="*/ 179615 h 2095135"/>
              <a:gd name="csX109" fmla="*/ 308839 w 733006"/>
              <a:gd name="csY109" fmla="*/ 227846 h 2095135"/>
              <a:gd name="csX110" fmla="*/ 245077 w 733006"/>
              <a:gd name="csY110" fmla="*/ 192402 h 2095135"/>
              <a:gd name="csX111" fmla="*/ 242829 w 733006"/>
              <a:gd name="csY111" fmla="*/ 198815 h 2095135"/>
              <a:gd name="csX112" fmla="*/ 168452 w 733006"/>
              <a:gd name="csY112" fmla="*/ 219348 h 2095135"/>
              <a:gd name="csX113" fmla="*/ 140694 w 733006"/>
              <a:gd name="csY113" fmla="*/ 201837 h 2095135"/>
              <a:gd name="csX114" fmla="*/ 259999 w 733006"/>
              <a:gd name="csY114" fmla="*/ 966699 h 2095135"/>
              <a:gd name="csX115" fmla="*/ 257072 w 733006"/>
              <a:gd name="csY115" fmla="*/ 1070424 h 2095135"/>
              <a:gd name="csX116" fmla="*/ 251372 w 733006"/>
              <a:gd name="csY116" fmla="*/ 1157618 h 2095135"/>
              <a:gd name="csX117" fmla="*/ 232677 w 733006"/>
              <a:gd name="csY117" fmla="*/ 1320279 h 2095135"/>
              <a:gd name="csX118" fmla="*/ 209182 w 733006"/>
              <a:gd name="csY118" fmla="*/ 1468667 h 2095135"/>
              <a:gd name="csX119" fmla="*/ 175302 w 733006"/>
              <a:gd name="csY119" fmla="*/ 1616623 h 2095135"/>
              <a:gd name="csX120" fmla="*/ 182769 w 733006"/>
              <a:gd name="csY120" fmla="*/ 1629786 h 2095135"/>
              <a:gd name="csX121" fmla="*/ 212156 w 733006"/>
              <a:gd name="csY121" fmla="*/ 1632656 h 2095135"/>
              <a:gd name="csX122" fmla="*/ 351295 w 733006"/>
              <a:gd name="csY122" fmla="*/ 1632801 h 2095135"/>
              <a:gd name="csX123" fmla="*/ 376150 w 733006"/>
              <a:gd name="csY123" fmla="*/ 1608307 h 2095135"/>
              <a:gd name="csX124" fmla="*/ 373450 w 733006"/>
              <a:gd name="csY124" fmla="*/ 1457291 h 2095135"/>
              <a:gd name="csX125" fmla="*/ 370936 w 733006"/>
              <a:gd name="csY125" fmla="*/ 1342736 h 2095135"/>
              <a:gd name="csX126" fmla="*/ 368328 w 733006"/>
              <a:gd name="csY126" fmla="*/ 1203878 h 2095135"/>
              <a:gd name="csX127" fmla="*/ 367836 w 733006"/>
              <a:gd name="csY127" fmla="*/ 813478 h 2095135"/>
              <a:gd name="csX128" fmla="*/ 365240 w 733006"/>
              <a:gd name="csY128" fmla="*/ 773243 h 2095135"/>
              <a:gd name="csX129" fmla="*/ 353084 w 733006"/>
              <a:gd name="csY129" fmla="*/ 762083 h 2095135"/>
              <a:gd name="csX130" fmla="*/ 280966 w 733006"/>
              <a:gd name="csY130" fmla="*/ 759855 h 2095135"/>
              <a:gd name="csX131" fmla="*/ 259965 w 733006"/>
              <a:gd name="csY131" fmla="*/ 779553 h 2095135"/>
              <a:gd name="csX132" fmla="*/ 262341 w 733006"/>
              <a:gd name="csY132" fmla="*/ 856275 h 2095135"/>
              <a:gd name="csX133" fmla="*/ 259999 w 733006"/>
              <a:gd name="csY133" fmla="*/ 966699 h 2095135"/>
              <a:gd name="csX134" fmla="*/ 55556 w 733006"/>
              <a:gd name="csY134" fmla="*/ 1835827 h 2095135"/>
              <a:gd name="csX135" fmla="*/ 49393 w 733006"/>
              <a:gd name="csY135" fmla="*/ 1878155 h 2095135"/>
              <a:gd name="csX136" fmla="*/ 73949 w 733006"/>
              <a:gd name="csY136" fmla="*/ 1905781 h 2095135"/>
              <a:gd name="csX137" fmla="*/ 110073 w 733006"/>
              <a:gd name="csY137" fmla="*/ 1909068 h 2095135"/>
              <a:gd name="csX138" fmla="*/ 224745 w 733006"/>
              <a:gd name="csY138" fmla="*/ 1921652 h 2095135"/>
              <a:gd name="csX139" fmla="*/ 347327 w 733006"/>
              <a:gd name="csY139" fmla="*/ 1924778 h 2095135"/>
              <a:gd name="csX140" fmla="*/ 363345 w 733006"/>
              <a:gd name="csY140" fmla="*/ 1923293 h 2095135"/>
              <a:gd name="csX141" fmla="*/ 373787 w 733006"/>
              <a:gd name="csY141" fmla="*/ 1911200 h 2095135"/>
              <a:gd name="csX142" fmla="*/ 376623 w 733006"/>
              <a:gd name="csY142" fmla="*/ 1696741 h 2095135"/>
              <a:gd name="csX143" fmla="*/ 360437 w 733006"/>
              <a:gd name="csY143" fmla="*/ 1681289 h 2095135"/>
              <a:gd name="csX144" fmla="*/ 263503 w 733006"/>
              <a:gd name="csY144" fmla="*/ 1678179 h 2095135"/>
              <a:gd name="csX145" fmla="*/ 160381 w 733006"/>
              <a:gd name="csY145" fmla="*/ 1670405 h 2095135"/>
              <a:gd name="csX146" fmla="*/ 143321 w 733006"/>
              <a:gd name="csY146" fmla="*/ 1685538 h 2095135"/>
              <a:gd name="csX147" fmla="*/ 124769 w 733006"/>
              <a:gd name="csY147" fmla="*/ 1738195 h 2095135"/>
              <a:gd name="csX148" fmla="*/ 90593 w 733006"/>
              <a:gd name="csY148" fmla="*/ 1779570 h 2095135"/>
              <a:gd name="csX149" fmla="*/ 55556 w 733006"/>
              <a:gd name="csY149" fmla="*/ 1835827 h 2095135"/>
              <a:gd name="csX150" fmla="*/ 378900 w 733006"/>
              <a:gd name="csY150" fmla="*/ 2007280 h 2095135"/>
              <a:gd name="csX151" fmla="*/ 378887 w 733006"/>
              <a:gd name="csY151" fmla="*/ 1995127 h 2095135"/>
              <a:gd name="csX152" fmla="*/ 359084 w 733006"/>
              <a:gd name="csY152" fmla="*/ 1975964 h 2095135"/>
              <a:gd name="csX153" fmla="*/ 247288 w 733006"/>
              <a:gd name="csY153" fmla="*/ 1973305 h 2095135"/>
              <a:gd name="csX154" fmla="*/ 201692 w 733006"/>
              <a:gd name="csY154" fmla="*/ 1970275 h 2095135"/>
              <a:gd name="csX155" fmla="*/ 57962 w 733006"/>
              <a:gd name="csY155" fmla="*/ 1952648 h 2095135"/>
              <a:gd name="csX156" fmla="*/ 39194 w 733006"/>
              <a:gd name="csY156" fmla="*/ 1963552 h 2095135"/>
              <a:gd name="csX157" fmla="*/ 30066 w 733006"/>
              <a:gd name="csY157" fmla="*/ 2006631 h 2095135"/>
              <a:gd name="csX158" fmla="*/ 40232 w 733006"/>
              <a:gd name="csY158" fmla="*/ 2019486 h 2095135"/>
              <a:gd name="csX159" fmla="*/ 238186 w 733006"/>
              <a:gd name="csY159" fmla="*/ 2046096 h 2095135"/>
              <a:gd name="csX160" fmla="*/ 342155 w 733006"/>
              <a:gd name="csY160" fmla="*/ 2046441 h 2095135"/>
              <a:gd name="csX161" fmla="*/ 378900 w 733006"/>
              <a:gd name="csY161" fmla="*/ 2007280 h 2095135"/>
              <a:gd name="csX162" fmla="*/ 310220 w 733006"/>
              <a:gd name="csY162" fmla="*/ 554288 h 2095135"/>
              <a:gd name="csX163" fmla="*/ 259136 w 733006"/>
              <a:gd name="csY163" fmla="*/ 556881 h 2095135"/>
              <a:gd name="csX164" fmla="*/ 249085 w 733006"/>
              <a:gd name="csY164" fmla="*/ 567981 h 2095135"/>
              <a:gd name="csX165" fmla="*/ 249141 w 733006"/>
              <a:gd name="csY165" fmla="*/ 605644 h 2095135"/>
              <a:gd name="csX166" fmla="*/ 262628 w 733006"/>
              <a:gd name="csY166" fmla="*/ 605627 h 2095135"/>
              <a:gd name="csX167" fmla="*/ 369608 w 733006"/>
              <a:gd name="csY167" fmla="*/ 603027 h 2095135"/>
              <a:gd name="csX168" fmla="*/ 463931 w 733006"/>
              <a:gd name="csY168" fmla="*/ 605146 h 2095135"/>
              <a:gd name="csX169" fmla="*/ 478113 w 733006"/>
              <a:gd name="csY169" fmla="*/ 595843 h 2095135"/>
              <a:gd name="csX170" fmla="*/ 478796 w 733006"/>
              <a:gd name="csY170" fmla="*/ 556832 h 2095135"/>
              <a:gd name="csX171" fmla="*/ 310220 w 733006"/>
              <a:gd name="csY171" fmla="*/ 554288 h 2095135"/>
              <a:gd name="csX172" fmla="*/ 348836 w 733006"/>
              <a:gd name="csY172" fmla="*/ 684115 h 2095135"/>
              <a:gd name="csX173" fmla="*/ 281333 w 733006"/>
              <a:gd name="csY173" fmla="*/ 683313 h 2095135"/>
              <a:gd name="csX174" fmla="*/ 212728 w 733006"/>
              <a:gd name="csY174" fmla="*/ 681931 h 2095135"/>
              <a:gd name="csX175" fmla="*/ 187283 w 733006"/>
              <a:gd name="csY175" fmla="*/ 689555 h 2095135"/>
              <a:gd name="csX176" fmla="*/ 186163 w 733006"/>
              <a:gd name="csY176" fmla="*/ 718266 h 2095135"/>
              <a:gd name="csX177" fmla="*/ 209894 w 733006"/>
              <a:gd name="csY177" fmla="*/ 726798 h 2095135"/>
              <a:gd name="csX178" fmla="*/ 334814 w 733006"/>
              <a:gd name="csY178" fmla="*/ 732494 h 2095135"/>
              <a:gd name="csX179" fmla="*/ 364856 w 733006"/>
              <a:gd name="csY179" fmla="*/ 707963 h 2095135"/>
              <a:gd name="csX180" fmla="*/ 348836 w 733006"/>
              <a:gd name="csY180" fmla="*/ 684115 h 2095135"/>
              <a:gd name="csX181" fmla="*/ 298865 w 733006"/>
              <a:gd name="csY181" fmla="*/ 621954 h 2095135"/>
              <a:gd name="csX182" fmla="*/ 251619 w 733006"/>
              <a:gd name="csY182" fmla="*/ 622133 h 2095135"/>
              <a:gd name="csX183" fmla="*/ 214459 w 733006"/>
              <a:gd name="csY183" fmla="*/ 636230 h 2095135"/>
              <a:gd name="csX184" fmla="*/ 221436 w 733006"/>
              <a:gd name="csY184" fmla="*/ 654205 h 2095135"/>
              <a:gd name="csX185" fmla="*/ 272412 w 733006"/>
              <a:gd name="csY185" fmla="*/ 657250 h 2095135"/>
              <a:gd name="csX186" fmla="*/ 349094 w 733006"/>
              <a:gd name="csY186" fmla="*/ 659282 h 2095135"/>
              <a:gd name="csX187" fmla="*/ 362996 w 733006"/>
              <a:gd name="csY187" fmla="*/ 644234 h 2095135"/>
              <a:gd name="csX188" fmla="*/ 348472 w 733006"/>
              <a:gd name="csY188" fmla="*/ 624649 h 2095135"/>
              <a:gd name="csX189" fmla="*/ 298865 w 733006"/>
              <a:gd name="csY189" fmla="*/ 621954 h 2095135"/>
              <a:gd name="csX190" fmla="*/ 227796 w 733006"/>
              <a:gd name="csY190" fmla="*/ 528000 h 2095135"/>
              <a:gd name="csX191" fmla="*/ 241009 w 733006"/>
              <a:gd name="csY191" fmla="*/ 545897 h 2095135"/>
              <a:gd name="csX192" fmla="*/ 282607 w 733006"/>
              <a:gd name="csY192" fmla="*/ 543480 h 2095135"/>
              <a:gd name="csX193" fmla="*/ 354213 w 733006"/>
              <a:gd name="csY193" fmla="*/ 543384 h 2095135"/>
              <a:gd name="csX194" fmla="*/ 365334 w 733006"/>
              <a:gd name="csY194" fmla="*/ 533397 h 2095135"/>
              <a:gd name="csX195" fmla="*/ 354531 w 733006"/>
              <a:gd name="csY195" fmla="*/ 521620 h 2095135"/>
              <a:gd name="csX196" fmla="*/ 259169 w 733006"/>
              <a:gd name="csY196" fmla="*/ 521978 h 2095135"/>
              <a:gd name="csX197" fmla="*/ 227796 w 733006"/>
              <a:gd name="csY197" fmla="*/ 528000 h 2095135"/>
              <a:gd name="csX198" fmla="*/ 508068 w 733006"/>
              <a:gd name="csY198" fmla="*/ 190710 h 2095135"/>
              <a:gd name="csX199" fmla="*/ 521293 w 733006"/>
              <a:gd name="csY199" fmla="*/ 205907 h 2095135"/>
              <a:gd name="csX200" fmla="*/ 525175 w 733006"/>
              <a:gd name="csY200" fmla="*/ 202985 h 2095135"/>
              <a:gd name="csX201" fmla="*/ 500276 w 733006"/>
              <a:gd name="csY201" fmla="*/ 160640 h 2095135"/>
              <a:gd name="csX202" fmla="*/ 497122 w 733006"/>
              <a:gd name="csY202" fmla="*/ 162007 h 2095135"/>
              <a:gd name="csX203" fmla="*/ 508068 w 733006"/>
              <a:gd name="csY203" fmla="*/ 190710 h 2095135"/>
              <a:gd name="csX204" fmla="*/ 215522 w 733006"/>
              <a:gd name="csY204" fmla="*/ 197296 h 2095135"/>
              <a:gd name="csX205" fmla="*/ 234029 w 733006"/>
              <a:gd name="csY205" fmla="*/ 162725 h 2095135"/>
              <a:gd name="csX206" fmla="*/ 229000 w 733006"/>
              <a:gd name="csY206" fmla="*/ 159902 h 2095135"/>
              <a:gd name="csX207" fmla="*/ 204824 w 733006"/>
              <a:gd name="csY207" fmla="*/ 199677 h 2095135"/>
              <a:gd name="csX208" fmla="*/ 207990 w 733006"/>
              <a:gd name="csY208" fmla="*/ 202198 h 2095135"/>
              <a:gd name="csX209" fmla="*/ 215522 w 733006"/>
              <a:gd name="csY209" fmla="*/ 197296 h 2095135"/>
              <a:gd name="csX210" fmla="*/ 484400 w 733006"/>
              <a:gd name="csY210" fmla="*/ 896678 h 2095135"/>
              <a:gd name="csX211" fmla="*/ 486181 w 733006"/>
              <a:gd name="csY211" fmla="*/ 896585 h 2095135"/>
              <a:gd name="csX212" fmla="*/ 486181 w 733006"/>
              <a:gd name="csY212" fmla="*/ 795289 h 2095135"/>
              <a:gd name="csX213" fmla="*/ 720241 w 733006"/>
              <a:gd name="csY213" fmla="*/ 2030666 h 2095135"/>
              <a:gd name="csX214" fmla="*/ 721175 w 733006"/>
              <a:gd name="csY214" fmla="*/ 2029733 h 2095135"/>
              <a:gd name="csX215" fmla="*/ 720241 w 733006"/>
              <a:gd name="csY215" fmla="*/ 2030666 h 2095135"/>
              <a:gd name="csX216" fmla="*/ 715702 w 733006"/>
              <a:gd name="csY216" fmla="*/ 2037051 h 2095135"/>
              <a:gd name="csX217" fmla="*/ 715702 w 733006"/>
              <a:gd name="csY217" fmla="*/ 2037051 h 2095135"/>
              <a:gd name="csX0" fmla="*/ 96263 w 733006"/>
              <a:gd name="csY0" fmla="*/ 2076207 h 2095135"/>
              <a:gd name="csX1" fmla="*/ 63862 w 733006"/>
              <a:gd name="csY1" fmla="*/ 2065388 h 2095135"/>
              <a:gd name="csX2" fmla="*/ 16555 w 733006"/>
              <a:gd name="csY2" fmla="*/ 2050152 h 2095135"/>
              <a:gd name="csX3" fmla="*/ 15 w 733006"/>
              <a:gd name="csY3" fmla="*/ 2023802 h 2095135"/>
              <a:gd name="csX4" fmla="*/ 18368 w 733006"/>
              <a:gd name="csY4" fmla="*/ 1940709 h 2095135"/>
              <a:gd name="csX5" fmla="*/ 22139 w 733006"/>
              <a:gd name="csY5" fmla="*/ 1907268 h 2095135"/>
              <a:gd name="csX6" fmla="*/ 57941 w 733006"/>
              <a:gd name="csY6" fmla="*/ 1774163 h 2095135"/>
              <a:gd name="csX7" fmla="*/ 102478 w 733006"/>
              <a:gd name="csY7" fmla="*/ 1720275 h 2095135"/>
              <a:gd name="csX8" fmla="*/ 108579 w 733006"/>
              <a:gd name="csY8" fmla="*/ 1650967 h 2095135"/>
              <a:gd name="csX9" fmla="*/ 115628 w 733006"/>
              <a:gd name="csY9" fmla="*/ 1625405 h 2095135"/>
              <a:gd name="csX10" fmla="*/ 156323 w 733006"/>
              <a:gd name="csY10" fmla="*/ 1560181 h 2095135"/>
              <a:gd name="csX11" fmla="*/ 199424 w 733006"/>
              <a:gd name="csY11" fmla="*/ 1364729 h 2095135"/>
              <a:gd name="csX12" fmla="*/ 216779 w 733006"/>
              <a:gd name="csY12" fmla="*/ 1219490 h 2095135"/>
              <a:gd name="csX13" fmla="*/ 229755 w 733006"/>
              <a:gd name="csY13" fmla="*/ 1099357 h 2095135"/>
              <a:gd name="csX14" fmla="*/ 232707 w 733006"/>
              <a:gd name="csY14" fmla="*/ 1056423 h 2095135"/>
              <a:gd name="csX15" fmla="*/ 235622 w 733006"/>
              <a:gd name="csY15" fmla="*/ 952675 h 2095135"/>
              <a:gd name="csX16" fmla="*/ 235445 w 733006"/>
              <a:gd name="csY16" fmla="*/ 780278 h 2095135"/>
              <a:gd name="csX17" fmla="*/ 214544 w 733006"/>
              <a:gd name="csY17" fmla="*/ 756435 h 2095135"/>
              <a:gd name="csX18" fmla="*/ 172569 w 733006"/>
              <a:gd name="csY18" fmla="*/ 742582 h 2095135"/>
              <a:gd name="csX19" fmla="*/ 168784 w 733006"/>
              <a:gd name="csY19" fmla="*/ 669116 h 2095135"/>
              <a:gd name="csX20" fmla="*/ 191657 w 733006"/>
              <a:gd name="csY20" fmla="*/ 630765 h 2095135"/>
              <a:gd name="csX21" fmla="*/ 208150 w 733006"/>
              <a:gd name="csY21" fmla="*/ 609084 h 2095135"/>
              <a:gd name="csX22" fmla="*/ 216756 w 733006"/>
              <a:gd name="csY22" fmla="*/ 558673 h 2095135"/>
              <a:gd name="csX23" fmla="*/ 209092 w 733006"/>
              <a:gd name="csY23" fmla="*/ 521540 h 2095135"/>
              <a:gd name="csX24" fmla="*/ 204683 w 733006"/>
              <a:gd name="csY24" fmla="*/ 474024 h 2095135"/>
              <a:gd name="csX25" fmla="*/ 115483 w 733006"/>
              <a:gd name="csY25" fmla="*/ 213499 h 2095135"/>
              <a:gd name="csX26" fmla="*/ 102909 w 733006"/>
              <a:gd name="csY26" fmla="*/ 182297 h 2095135"/>
              <a:gd name="csX27" fmla="*/ 104315 w 733006"/>
              <a:gd name="csY27" fmla="*/ 163968 h 2095135"/>
              <a:gd name="csX28" fmla="*/ 122444 w 733006"/>
              <a:gd name="csY28" fmla="*/ 160805 h 2095135"/>
              <a:gd name="csX29" fmla="*/ 170283 w 733006"/>
              <a:gd name="csY29" fmla="*/ 187783 h 2095135"/>
              <a:gd name="csX30" fmla="*/ 180938 w 733006"/>
              <a:gd name="csY30" fmla="*/ 195322 h 2095135"/>
              <a:gd name="csX31" fmla="*/ 221419 w 733006"/>
              <a:gd name="csY31" fmla="*/ 138058 h 2095135"/>
              <a:gd name="csX32" fmla="*/ 294099 w 733006"/>
              <a:gd name="csY32" fmla="*/ 91372 h 2095135"/>
              <a:gd name="csX33" fmla="*/ 302307 w 733006"/>
              <a:gd name="csY33" fmla="*/ 76560 h 2095135"/>
              <a:gd name="csX34" fmla="*/ 320284 w 733006"/>
              <a:gd name="csY34" fmla="*/ 8414 h 2095135"/>
              <a:gd name="csX35" fmla="*/ 324784 w 733006"/>
              <a:gd name="csY35" fmla="*/ 946 h 2095135"/>
              <a:gd name="csX36" fmla="*/ 399212 w 733006"/>
              <a:gd name="csY36" fmla="*/ 0 h 2095135"/>
              <a:gd name="csX37" fmla="*/ 425980 w 733006"/>
              <a:gd name="csY37" fmla="*/ 78301 h 2095135"/>
              <a:gd name="csX38" fmla="*/ 431861 w 733006"/>
              <a:gd name="csY38" fmla="*/ 90312 h 2095135"/>
              <a:gd name="csX39" fmla="*/ 540349 w 733006"/>
              <a:gd name="csY39" fmla="*/ 187946 h 2095135"/>
              <a:gd name="csX40" fmla="*/ 545555 w 733006"/>
              <a:gd name="csY40" fmla="*/ 197828 h 2095135"/>
              <a:gd name="csX41" fmla="*/ 587318 w 733006"/>
              <a:gd name="csY41" fmla="*/ 171260 h 2095135"/>
              <a:gd name="csX42" fmla="*/ 601503 w 733006"/>
              <a:gd name="csY42" fmla="*/ 163707 h 2095135"/>
              <a:gd name="csX43" fmla="*/ 625254 w 733006"/>
              <a:gd name="csY43" fmla="*/ 163123 h 2095135"/>
              <a:gd name="csX44" fmla="*/ 625468 w 733006"/>
              <a:gd name="csY44" fmla="*/ 187579 h 2095135"/>
              <a:gd name="csX45" fmla="*/ 597543 w 733006"/>
              <a:gd name="csY45" fmla="*/ 251872 h 2095135"/>
              <a:gd name="csX46" fmla="*/ 531831 w 733006"/>
              <a:gd name="csY46" fmla="*/ 442689 h 2095135"/>
              <a:gd name="csX47" fmla="*/ 519888 w 733006"/>
              <a:gd name="csY47" fmla="*/ 501474 h 2095135"/>
              <a:gd name="csX48" fmla="*/ 522506 w 733006"/>
              <a:gd name="csY48" fmla="*/ 525086 h 2095135"/>
              <a:gd name="csX49" fmla="*/ 516235 w 733006"/>
              <a:gd name="csY49" fmla="*/ 555946 h 2095135"/>
              <a:gd name="csX50" fmla="*/ 521332 w 733006"/>
              <a:gd name="csY50" fmla="*/ 610676 h 2095135"/>
              <a:gd name="csX51" fmla="*/ 541382 w 733006"/>
              <a:gd name="csY51" fmla="*/ 642597 h 2095135"/>
              <a:gd name="csX52" fmla="*/ 557031 w 733006"/>
              <a:gd name="csY52" fmla="*/ 667949 h 2095135"/>
              <a:gd name="csX53" fmla="*/ 553994 w 733006"/>
              <a:gd name="csY53" fmla="*/ 744146 h 2095135"/>
              <a:gd name="csX54" fmla="*/ 508215 w 733006"/>
              <a:gd name="csY54" fmla="*/ 758841 h 2095135"/>
              <a:gd name="csX55" fmla="*/ 497442 w 733006"/>
              <a:gd name="csY55" fmla="*/ 771256 h 2095135"/>
              <a:gd name="csX56" fmla="*/ 493005 w 733006"/>
              <a:gd name="csY56" fmla="*/ 922055 h 2095135"/>
              <a:gd name="csX57" fmla="*/ 502900 w 733006"/>
              <a:gd name="csY57" fmla="*/ 1114191 h 2095135"/>
              <a:gd name="csX58" fmla="*/ 508800 w 733006"/>
              <a:gd name="csY58" fmla="*/ 1205474 h 2095135"/>
              <a:gd name="csX59" fmla="*/ 522952 w 733006"/>
              <a:gd name="csY59" fmla="*/ 1320065 h 2095135"/>
              <a:gd name="csX60" fmla="*/ 554682 w 733006"/>
              <a:gd name="csY60" fmla="*/ 1501203 h 2095135"/>
              <a:gd name="csX61" fmla="*/ 576958 w 733006"/>
              <a:gd name="csY61" fmla="*/ 1593963 h 2095135"/>
              <a:gd name="csX62" fmla="*/ 595349 w 733006"/>
              <a:gd name="csY62" fmla="*/ 1613498 h 2095135"/>
              <a:gd name="csX63" fmla="*/ 613936 w 733006"/>
              <a:gd name="csY63" fmla="*/ 1624058 h 2095135"/>
              <a:gd name="csX64" fmla="*/ 620938 w 733006"/>
              <a:gd name="csY64" fmla="*/ 1652071 h 2095135"/>
              <a:gd name="csX65" fmla="*/ 630805 w 733006"/>
              <a:gd name="csY65" fmla="*/ 1721702 h 2095135"/>
              <a:gd name="csX66" fmla="*/ 685830 w 733006"/>
              <a:gd name="csY66" fmla="*/ 1792915 h 2095135"/>
              <a:gd name="csX67" fmla="*/ 708904 w 733006"/>
              <a:gd name="csY67" fmla="*/ 1890290 h 2095135"/>
              <a:gd name="csX68" fmla="*/ 716580 w 733006"/>
              <a:gd name="csY68" fmla="*/ 1951136 h 2095135"/>
              <a:gd name="csX69" fmla="*/ 729397 w 733006"/>
              <a:gd name="csY69" fmla="*/ 2030261 h 2095135"/>
              <a:gd name="csX70" fmla="*/ 714212 w 733006"/>
              <a:gd name="csY70" fmla="*/ 2049544 h 2095135"/>
              <a:gd name="csX71" fmla="*/ 96263 w 733006"/>
              <a:gd name="csY71" fmla="*/ 2076207 h 2095135"/>
              <a:gd name="csX72" fmla="*/ 489970 w 733006"/>
              <a:gd name="csY72" fmla="*/ 152208 h 2095135"/>
              <a:gd name="csX73" fmla="*/ 490754 w 733006"/>
              <a:gd name="csY73" fmla="*/ 152592 h 2095135"/>
              <a:gd name="csX74" fmla="*/ 489489 w 733006"/>
              <a:gd name="csY74" fmla="*/ 149547 h 2095135"/>
              <a:gd name="csX75" fmla="*/ 393621 w 733006"/>
              <a:gd name="csY75" fmla="*/ 99259 h 2095135"/>
              <a:gd name="csX76" fmla="*/ 390419 w 733006"/>
              <a:gd name="csY76" fmla="*/ 18568 h 2095135"/>
              <a:gd name="csX77" fmla="*/ 334131 w 733006"/>
              <a:gd name="csY77" fmla="*/ 24327 h 2095135"/>
              <a:gd name="csX78" fmla="*/ 344678 w 733006"/>
              <a:gd name="csY78" fmla="*/ 101259 h 2095135"/>
              <a:gd name="csX79" fmla="*/ 298854 w 733006"/>
              <a:gd name="csY79" fmla="*/ 114003 h 2095135"/>
              <a:gd name="csX80" fmla="*/ 237456 w 733006"/>
              <a:gd name="csY80" fmla="*/ 154340 h 2095135"/>
              <a:gd name="csX81" fmla="*/ 240382 w 733006"/>
              <a:gd name="csY81" fmla="*/ 154035 h 2095135"/>
              <a:gd name="csX82" fmla="*/ 262731 w 733006"/>
              <a:gd name="csY82" fmla="*/ 170426 h 2095135"/>
              <a:gd name="csX83" fmla="*/ 279169 w 733006"/>
              <a:gd name="csY83" fmla="*/ 193173 h 2095135"/>
              <a:gd name="csX84" fmla="*/ 327717 w 733006"/>
              <a:gd name="csY84" fmla="*/ 188556 h 2095135"/>
              <a:gd name="csX85" fmla="*/ 348052 w 733006"/>
              <a:gd name="csY85" fmla="*/ 156919 h 2095135"/>
              <a:gd name="csX86" fmla="*/ 380330 w 733006"/>
              <a:gd name="csY86" fmla="*/ 156483 h 2095135"/>
              <a:gd name="csX87" fmla="*/ 408490 w 733006"/>
              <a:gd name="csY87" fmla="*/ 195400 h 2095135"/>
              <a:gd name="csX88" fmla="*/ 445346 w 733006"/>
              <a:gd name="csY88" fmla="*/ 197582 h 2095135"/>
              <a:gd name="csX89" fmla="*/ 464798 w 733006"/>
              <a:gd name="csY89" fmla="*/ 174107 h 2095135"/>
              <a:gd name="csX90" fmla="*/ 489970 w 733006"/>
              <a:gd name="csY90" fmla="*/ 152208 h 2095135"/>
              <a:gd name="csX91" fmla="*/ 140694 w 733006"/>
              <a:gd name="csY91" fmla="*/ 201837 h 2095135"/>
              <a:gd name="csX92" fmla="*/ 139834 w 733006"/>
              <a:gd name="csY92" fmla="*/ 201482 h 2095135"/>
              <a:gd name="csX93" fmla="*/ 140812 w 733006"/>
              <a:gd name="csY93" fmla="*/ 204941 h 2095135"/>
              <a:gd name="csX94" fmla="*/ 144631 w 733006"/>
              <a:gd name="csY94" fmla="*/ 217811 h 2095135"/>
              <a:gd name="csX95" fmla="*/ 201241 w 733006"/>
              <a:gd name="csY95" fmla="*/ 373387 h 2095135"/>
              <a:gd name="csX96" fmla="*/ 235971 w 733006"/>
              <a:gd name="csY96" fmla="*/ 504451 h 2095135"/>
              <a:gd name="csX97" fmla="*/ 247475 w 733006"/>
              <a:gd name="csY97" fmla="*/ 513241 h 2095135"/>
              <a:gd name="csX98" fmla="*/ 289066 w 733006"/>
              <a:gd name="csY98" fmla="*/ 511170 h 2095135"/>
              <a:gd name="csX99" fmla="*/ 378229 w 733006"/>
              <a:gd name="csY99" fmla="*/ 511084 h 2095135"/>
              <a:gd name="csX100" fmla="*/ 470850 w 733006"/>
              <a:gd name="csY100" fmla="*/ 516341 h 2095135"/>
              <a:gd name="csX101" fmla="*/ 492933 w 733006"/>
              <a:gd name="csY101" fmla="*/ 497969 h 2095135"/>
              <a:gd name="csX102" fmla="*/ 557617 w 733006"/>
              <a:gd name="csY102" fmla="*/ 280398 h 2095135"/>
              <a:gd name="csX103" fmla="*/ 588788 w 733006"/>
              <a:gd name="csY103" fmla="*/ 200385 h 2095135"/>
              <a:gd name="csX104" fmla="*/ 530958 w 733006"/>
              <a:gd name="csY104" fmla="*/ 232968 h 2095135"/>
              <a:gd name="csX105" fmla="*/ 483823 w 733006"/>
              <a:gd name="csY105" fmla="*/ 190364 h 2095135"/>
              <a:gd name="csX106" fmla="*/ 466649 w 733006"/>
              <a:gd name="csY106" fmla="*/ 209061 h 2095135"/>
              <a:gd name="csX107" fmla="*/ 399941 w 733006"/>
              <a:gd name="csY107" fmla="*/ 216988 h 2095135"/>
              <a:gd name="csX108" fmla="*/ 363018 w 733006"/>
              <a:gd name="csY108" fmla="*/ 179615 h 2095135"/>
              <a:gd name="csX109" fmla="*/ 308839 w 733006"/>
              <a:gd name="csY109" fmla="*/ 227846 h 2095135"/>
              <a:gd name="csX110" fmla="*/ 245077 w 733006"/>
              <a:gd name="csY110" fmla="*/ 192402 h 2095135"/>
              <a:gd name="csX111" fmla="*/ 242829 w 733006"/>
              <a:gd name="csY111" fmla="*/ 198815 h 2095135"/>
              <a:gd name="csX112" fmla="*/ 168452 w 733006"/>
              <a:gd name="csY112" fmla="*/ 219348 h 2095135"/>
              <a:gd name="csX113" fmla="*/ 140694 w 733006"/>
              <a:gd name="csY113" fmla="*/ 201837 h 2095135"/>
              <a:gd name="csX114" fmla="*/ 259999 w 733006"/>
              <a:gd name="csY114" fmla="*/ 966699 h 2095135"/>
              <a:gd name="csX115" fmla="*/ 257072 w 733006"/>
              <a:gd name="csY115" fmla="*/ 1070424 h 2095135"/>
              <a:gd name="csX116" fmla="*/ 251372 w 733006"/>
              <a:gd name="csY116" fmla="*/ 1157618 h 2095135"/>
              <a:gd name="csX117" fmla="*/ 232677 w 733006"/>
              <a:gd name="csY117" fmla="*/ 1320279 h 2095135"/>
              <a:gd name="csX118" fmla="*/ 209182 w 733006"/>
              <a:gd name="csY118" fmla="*/ 1468667 h 2095135"/>
              <a:gd name="csX119" fmla="*/ 175302 w 733006"/>
              <a:gd name="csY119" fmla="*/ 1616623 h 2095135"/>
              <a:gd name="csX120" fmla="*/ 182769 w 733006"/>
              <a:gd name="csY120" fmla="*/ 1629786 h 2095135"/>
              <a:gd name="csX121" fmla="*/ 212156 w 733006"/>
              <a:gd name="csY121" fmla="*/ 1632656 h 2095135"/>
              <a:gd name="csX122" fmla="*/ 351295 w 733006"/>
              <a:gd name="csY122" fmla="*/ 1632801 h 2095135"/>
              <a:gd name="csX123" fmla="*/ 376150 w 733006"/>
              <a:gd name="csY123" fmla="*/ 1608307 h 2095135"/>
              <a:gd name="csX124" fmla="*/ 373450 w 733006"/>
              <a:gd name="csY124" fmla="*/ 1457291 h 2095135"/>
              <a:gd name="csX125" fmla="*/ 370936 w 733006"/>
              <a:gd name="csY125" fmla="*/ 1342736 h 2095135"/>
              <a:gd name="csX126" fmla="*/ 368328 w 733006"/>
              <a:gd name="csY126" fmla="*/ 1203878 h 2095135"/>
              <a:gd name="csX127" fmla="*/ 367836 w 733006"/>
              <a:gd name="csY127" fmla="*/ 813478 h 2095135"/>
              <a:gd name="csX128" fmla="*/ 365240 w 733006"/>
              <a:gd name="csY128" fmla="*/ 773243 h 2095135"/>
              <a:gd name="csX129" fmla="*/ 353084 w 733006"/>
              <a:gd name="csY129" fmla="*/ 762083 h 2095135"/>
              <a:gd name="csX130" fmla="*/ 280966 w 733006"/>
              <a:gd name="csY130" fmla="*/ 759855 h 2095135"/>
              <a:gd name="csX131" fmla="*/ 259965 w 733006"/>
              <a:gd name="csY131" fmla="*/ 779553 h 2095135"/>
              <a:gd name="csX132" fmla="*/ 262341 w 733006"/>
              <a:gd name="csY132" fmla="*/ 856275 h 2095135"/>
              <a:gd name="csX133" fmla="*/ 259999 w 733006"/>
              <a:gd name="csY133" fmla="*/ 966699 h 2095135"/>
              <a:gd name="csX134" fmla="*/ 55556 w 733006"/>
              <a:gd name="csY134" fmla="*/ 1835827 h 2095135"/>
              <a:gd name="csX135" fmla="*/ 49393 w 733006"/>
              <a:gd name="csY135" fmla="*/ 1878155 h 2095135"/>
              <a:gd name="csX136" fmla="*/ 73949 w 733006"/>
              <a:gd name="csY136" fmla="*/ 1905781 h 2095135"/>
              <a:gd name="csX137" fmla="*/ 110073 w 733006"/>
              <a:gd name="csY137" fmla="*/ 1909068 h 2095135"/>
              <a:gd name="csX138" fmla="*/ 224745 w 733006"/>
              <a:gd name="csY138" fmla="*/ 1921652 h 2095135"/>
              <a:gd name="csX139" fmla="*/ 347327 w 733006"/>
              <a:gd name="csY139" fmla="*/ 1924778 h 2095135"/>
              <a:gd name="csX140" fmla="*/ 363345 w 733006"/>
              <a:gd name="csY140" fmla="*/ 1923293 h 2095135"/>
              <a:gd name="csX141" fmla="*/ 373787 w 733006"/>
              <a:gd name="csY141" fmla="*/ 1911200 h 2095135"/>
              <a:gd name="csX142" fmla="*/ 376623 w 733006"/>
              <a:gd name="csY142" fmla="*/ 1696741 h 2095135"/>
              <a:gd name="csX143" fmla="*/ 360437 w 733006"/>
              <a:gd name="csY143" fmla="*/ 1681289 h 2095135"/>
              <a:gd name="csX144" fmla="*/ 263503 w 733006"/>
              <a:gd name="csY144" fmla="*/ 1678179 h 2095135"/>
              <a:gd name="csX145" fmla="*/ 160381 w 733006"/>
              <a:gd name="csY145" fmla="*/ 1670405 h 2095135"/>
              <a:gd name="csX146" fmla="*/ 143321 w 733006"/>
              <a:gd name="csY146" fmla="*/ 1685538 h 2095135"/>
              <a:gd name="csX147" fmla="*/ 124769 w 733006"/>
              <a:gd name="csY147" fmla="*/ 1738195 h 2095135"/>
              <a:gd name="csX148" fmla="*/ 90593 w 733006"/>
              <a:gd name="csY148" fmla="*/ 1779570 h 2095135"/>
              <a:gd name="csX149" fmla="*/ 55556 w 733006"/>
              <a:gd name="csY149" fmla="*/ 1835827 h 2095135"/>
              <a:gd name="csX150" fmla="*/ 378900 w 733006"/>
              <a:gd name="csY150" fmla="*/ 2007280 h 2095135"/>
              <a:gd name="csX151" fmla="*/ 378887 w 733006"/>
              <a:gd name="csY151" fmla="*/ 1995127 h 2095135"/>
              <a:gd name="csX152" fmla="*/ 359084 w 733006"/>
              <a:gd name="csY152" fmla="*/ 1975964 h 2095135"/>
              <a:gd name="csX153" fmla="*/ 247288 w 733006"/>
              <a:gd name="csY153" fmla="*/ 1973305 h 2095135"/>
              <a:gd name="csX154" fmla="*/ 201692 w 733006"/>
              <a:gd name="csY154" fmla="*/ 1970275 h 2095135"/>
              <a:gd name="csX155" fmla="*/ 57962 w 733006"/>
              <a:gd name="csY155" fmla="*/ 1952648 h 2095135"/>
              <a:gd name="csX156" fmla="*/ 39194 w 733006"/>
              <a:gd name="csY156" fmla="*/ 1963552 h 2095135"/>
              <a:gd name="csX157" fmla="*/ 30066 w 733006"/>
              <a:gd name="csY157" fmla="*/ 2006631 h 2095135"/>
              <a:gd name="csX158" fmla="*/ 40232 w 733006"/>
              <a:gd name="csY158" fmla="*/ 2019486 h 2095135"/>
              <a:gd name="csX159" fmla="*/ 238186 w 733006"/>
              <a:gd name="csY159" fmla="*/ 2046096 h 2095135"/>
              <a:gd name="csX160" fmla="*/ 342155 w 733006"/>
              <a:gd name="csY160" fmla="*/ 2046441 h 2095135"/>
              <a:gd name="csX161" fmla="*/ 378900 w 733006"/>
              <a:gd name="csY161" fmla="*/ 2007280 h 2095135"/>
              <a:gd name="csX162" fmla="*/ 310220 w 733006"/>
              <a:gd name="csY162" fmla="*/ 554288 h 2095135"/>
              <a:gd name="csX163" fmla="*/ 259136 w 733006"/>
              <a:gd name="csY163" fmla="*/ 556881 h 2095135"/>
              <a:gd name="csX164" fmla="*/ 249085 w 733006"/>
              <a:gd name="csY164" fmla="*/ 567981 h 2095135"/>
              <a:gd name="csX165" fmla="*/ 249141 w 733006"/>
              <a:gd name="csY165" fmla="*/ 605644 h 2095135"/>
              <a:gd name="csX166" fmla="*/ 262628 w 733006"/>
              <a:gd name="csY166" fmla="*/ 605627 h 2095135"/>
              <a:gd name="csX167" fmla="*/ 369608 w 733006"/>
              <a:gd name="csY167" fmla="*/ 603027 h 2095135"/>
              <a:gd name="csX168" fmla="*/ 463931 w 733006"/>
              <a:gd name="csY168" fmla="*/ 605146 h 2095135"/>
              <a:gd name="csX169" fmla="*/ 478113 w 733006"/>
              <a:gd name="csY169" fmla="*/ 595843 h 2095135"/>
              <a:gd name="csX170" fmla="*/ 478796 w 733006"/>
              <a:gd name="csY170" fmla="*/ 556832 h 2095135"/>
              <a:gd name="csX171" fmla="*/ 310220 w 733006"/>
              <a:gd name="csY171" fmla="*/ 554288 h 2095135"/>
              <a:gd name="csX172" fmla="*/ 348836 w 733006"/>
              <a:gd name="csY172" fmla="*/ 684115 h 2095135"/>
              <a:gd name="csX173" fmla="*/ 281333 w 733006"/>
              <a:gd name="csY173" fmla="*/ 683313 h 2095135"/>
              <a:gd name="csX174" fmla="*/ 212728 w 733006"/>
              <a:gd name="csY174" fmla="*/ 681931 h 2095135"/>
              <a:gd name="csX175" fmla="*/ 187283 w 733006"/>
              <a:gd name="csY175" fmla="*/ 689555 h 2095135"/>
              <a:gd name="csX176" fmla="*/ 186163 w 733006"/>
              <a:gd name="csY176" fmla="*/ 718266 h 2095135"/>
              <a:gd name="csX177" fmla="*/ 209894 w 733006"/>
              <a:gd name="csY177" fmla="*/ 726798 h 2095135"/>
              <a:gd name="csX178" fmla="*/ 334814 w 733006"/>
              <a:gd name="csY178" fmla="*/ 732494 h 2095135"/>
              <a:gd name="csX179" fmla="*/ 364856 w 733006"/>
              <a:gd name="csY179" fmla="*/ 707963 h 2095135"/>
              <a:gd name="csX180" fmla="*/ 348836 w 733006"/>
              <a:gd name="csY180" fmla="*/ 684115 h 2095135"/>
              <a:gd name="csX181" fmla="*/ 298865 w 733006"/>
              <a:gd name="csY181" fmla="*/ 621954 h 2095135"/>
              <a:gd name="csX182" fmla="*/ 251619 w 733006"/>
              <a:gd name="csY182" fmla="*/ 622133 h 2095135"/>
              <a:gd name="csX183" fmla="*/ 214459 w 733006"/>
              <a:gd name="csY183" fmla="*/ 636230 h 2095135"/>
              <a:gd name="csX184" fmla="*/ 221436 w 733006"/>
              <a:gd name="csY184" fmla="*/ 654205 h 2095135"/>
              <a:gd name="csX185" fmla="*/ 272412 w 733006"/>
              <a:gd name="csY185" fmla="*/ 657250 h 2095135"/>
              <a:gd name="csX186" fmla="*/ 349094 w 733006"/>
              <a:gd name="csY186" fmla="*/ 659282 h 2095135"/>
              <a:gd name="csX187" fmla="*/ 362996 w 733006"/>
              <a:gd name="csY187" fmla="*/ 644234 h 2095135"/>
              <a:gd name="csX188" fmla="*/ 348472 w 733006"/>
              <a:gd name="csY188" fmla="*/ 624649 h 2095135"/>
              <a:gd name="csX189" fmla="*/ 298865 w 733006"/>
              <a:gd name="csY189" fmla="*/ 621954 h 2095135"/>
              <a:gd name="csX190" fmla="*/ 227796 w 733006"/>
              <a:gd name="csY190" fmla="*/ 528000 h 2095135"/>
              <a:gd name="csX191" fmla="*/ 241009 w 733006"/>
              <a:gd name="csY191" fmla="*/ 545897 h 2095135"/>
              <a:gd name="csX192" fmla="*/ 282607 w 733006"/>
              <a:gd name="csY192" fmla="*/ 543480 h 2095135"/>
              <a:gd name="csX193" fmla="*/ 354213 w 733006"/>
              <a:gd name="csY193" fmla="*/ 543384 h 2095135"/>
              <a:gd name="csX194" fmla="*/ 365334 w 733006"/>
              <a:gd name="csY194" fmla="*/ 533397 h 2095135"/>
              <a:gd name="csX195" fmla="*/ 354531 w 733006"/>
              <a:gd name="csY195" fmla="*/ 521620 h 2095135"/>
              <a:gd name="csX196" fmla="*/ 259169 w 733006"/>
              <a:gd name="csY196" fmla="*/ 521978 h 2095135"/>
              <a:gd name="csX197" fmla="*/ 227796 w 733006"/>
              <a:gd name="csY197" fmla="*/ 528000 h 2095135"/>
              <a:gd name="csX198" fmla="*/ 508068 w 733006"/>
              <a:gd name="csY198" fmla="*/ 190710 h 2095135"/>
              <a:gd name="csX199" fmla="*/ 521293 w 733006"/>
              <a:gd name="csY199" fmla="*/ 205907 h 2095135"/>
              <a:gd name="csX200" fmla="*/ 525175 w 733006"/>
              <a:gd name="csY200" fmla="*/ 202985 h 2095135"/>
              <a:gd name="csX201" fmla="*/ 500276 w 733006"/>
              <a:gd name="csY201" fmla="*/ 160640 h 2095135"/>
              <a:gd name="csX202" fmla="*/ 497122 w 733006"/>
              <a:gd name="csY202" fmla="*/ 162007 h 2095135"/>
              <a:gd name="csX203" fmla="*/ 508068 w 733006"/>
              <a:gd name="csY203" fmla="*/ 190710 h 2095135"/>
              <a:gd name="csX204" fmla="*/ 215522 w 733006"/>
              <a:gd name="csY204" fmla="*/ 197296 h 2095135"/>
              <a:gd name="csX205" fmla="*/ 234029 w 733006"/>
              <a:gd name="csY205" fmla="*/ 162725 h 2095135"/>
              <a:gd name="csX206" fmla="*/ 229000 w 733006"/>
              <a:gd name="csY206" fmla="*/ 159902 h 2095135"/>
              <a:gd name="csX207" fmla="*/ 204824 w 733006"/>
              <a:gd name="csY207" fmla="*/ 199677 h 2095135"/>
              <a:gd name="csX208" fmla="*/ 207990 w 733006"/>
              <a:gd name="csY208" fmla="*/ 202198 h 2095135"/>
              <a:gd name="csX209" fmla="*/ 215522 w 733006"/>
              <a:gd name="csY209" fmla="*/ 197296 h 2095135"/>
              <a:gd name="csX210" fmla="*/ 484400 w 733006"/>
              <a:gd name="csY210" fmla="*/ 896678 h 2095135"/>
              <a:gd name="csX211" fmla="*/ 486181 w 733006"/>
              <a:gd name="csY211" fmla="*/ 896585 h 2095135"/>
              <a:gd name="csX212" fmla="*/ 486181 w 733006"/>
              <a:gd name="csY212" fmla="*/ 795289 h 2095135"/>
              <a:gd name="csX213" fmla="*/ 720241 w 733006"/>
              <a:gd name="csY213" fmla="*/ 2030666 h 2095135"/>
              <a:gd name="csX214" fmla="*/ 721175 w 733006"/>
              <a:gd name="csY214" fmla="*/ 2029733 h 2095135"/>
              <a:gd name="csX215" fmla="*/ 720241 w 733006"/>
              <a:gd name="csY215" fmla="*/ 2030666 h 2095135"/>
              <a:gd name="csX216" fmla="*/ 715702 w 733006"/>
              <a:gd name="csY216" fmla="*/ 2037051 h 2095135"/>
              <a:gd name="csX217" fmla="*/ 715702 w 733006"/>
              <a:gd name="csY217" fmla="*/ 2037051 h 2095135"/>
              <a:gd name="csX0" fmla="*/ 96263 w 733006"/>
              <a:gd name="csY0" fmla="*/ 2076207 h 2095135"/>
              <a:gd name="csX1" fmla="*/ 63862 w 733006"/>
              <a:gd name="csY1" fmla="*/ 2065388 h 2095135"/>
              <a:gd name="csX2" fmla="*/ 16555 w 733006"/>
              <a:gd name="csY2" fmla="*/ 2050152 h 2095135"/>
              <a:gd name="csX3" fmla="*/ 15 w 733006"/>
              <a:gd name="csY3" fmla="*/ 2023802 h 2095135"/>
              <a:gd name="csX4" fmla="*/ 18368 w 733006"/>
              <a:gd name="csY4" fmla="*/ 1940709 h 2095135"/>
              <a:gd name="csX5" fmla="*/ 22139 w 733006"/>
              <a:gd name="csY5" fmla="*/ 1907268 h 2095135"/>
              <a:gd name="csX6" fmla="*/ 57941 w 733006"/>
              <a:gd name="csY6" fmla="*/ 1774163 h 2095135"/>
              <a:gd name="csX7" fmla="*/ 102478 w 733006"/>
              <a:gd name="csY7" fmla="*/ 1720275 h 2095135"/>
              <a:gd name="csX8" fmla="*/ 108579 w 733006"/>
              <a:gd name="csY8" fmla="*/ 1650967 h 2095135"/>
              <a:gd name="csX9" fmla="*/ 115628 w 733006"/>
              <a:gd name="csY9" fmla="*/ 1625405 h 2095135"/>
              <a:gd name="csX10" fmla="*/ 156323 w 733006"/>
              <a:gd name="csY10" fmla="*/ 1560181 h 2095135"/>
              <a:gd name="csX11" fmla="*/ 199424 w 733006"/>
              <a:gd name="csY11" fmla="*/ 1364729 h 2095135"/>
              <a:gd name="csX12" fmla="*/ 216779 w 733006"/>
              <a:gd name="csY12" fmla="*/ 1219490 h 2095135"/>
              <a:gd name="csX13" fmla="*/ 229755 w 733006"/>
              <a:gd name="csY13" fmla="*/ 1099357 h 2095135"/>
              <a:gd name="csX14" fmla="*/ 232707 w 733006"/>
              <a:gd name="csY14" fmla="*/ 1056423 h 2095135"/>
              <a:gd name="csX15" fmla="*/ 235622 w 733006"/>
              <a:gd name="csY15" fmla="*/ 952675 h 2095135"/>
              <a:gd name="csX16" fmla="*/ 235445 w 733006"/>
              <a:gd name="csY16" fmla="*/ 780278 h 2095135"/>
              <a:gd name="csX17" fmla="*/ 214544 w 733006"/>
              <a:gd name="csY17" fmla="*/ 756435 h 2095135"/>
              <a:gd name="csX18" fmla="*/ 172569 w 733006"/>
              <a:gd name="csY18" fmla="*/ 742582 h 2095135"/>
              <a:gd name="csX19" fmla="*/ 168784 w 733006"/>
              <a:gd name="csY19" fmla="*/ 669116 h 2095135"/>
              <a:gd name="csX20" fmla="*/ 191657 w 733006"/>
              <a:gd name="csY20" fmla="*/ 630765 h 2095135"/>
              <a:gd name="csX21" fmla="*/ 208150 w 733006"/>
              <a:gd name="csY21" fmla="*/ 609084 h 2095135"/>
              <a:gd name="csX22" fmla="*/ 216756 w 733006"/>
              <a:gd name="csY22" fmla="*/ 558673 h 2095135"/>
              <a:gd name="csX23" fmla="*/ 209092 w 733006"/>
              <a:gd name="csY23" fmla="*/ 521540 h 2095135"/>
              <a:gd name="csX24" fmla="*/ 204683 w 733006"/>
              <a:gd name="csY24" fmla="*/ 474024 h 2095135"/>
              <a:gd name="csX25" fmla="*/ 115483 w 733006"/>
              <a:gd name="csY25" fmla="*/ 213499 h 2095135"/>
              <a:gd name="csX26" fmla="*/ 102909 w 733006"/>
              <a:gd name="csY26" fmla="*/ 182297 h 2095135"/>
              <a:gd name="csX27" fmla="*/ 104315 w 733006"/>
              <a:gd name="csY27" fmla="*/ 163968 h 2095135"/>
              <a:gd name="csX28" fmla="*/ 122444 w 733006"/>
              <a:gd name="csY28" fmla="*/ 160805 h 2095135"/>
              <a:gd name="csX29" fmla="*/ 170283 w 733006"/>
              <a:gd name="csY29" fmla="*/ 187783 h 2095135"/>
              <a:gd name="csX30" fmla="*/ 180938 w 733006"/>
              <a:gd name="csY30" fmla="*/ 195322 h 2095135"/>
              <a:gd name="csX31" fmla="*/ 221419 w 733006"/>
              <a:gd name="csY31" fmla="*/ 138058 h 2095135"/>
              <a:gd name="csX32" fmla="*/ 294099 w 733006"/>
              <a:gd name="csY32" fmla="*/ 91372 h 2095135"/>
              <a:gd name="csX33" fmla="*/ 302307 w 733006"/>
              <a:gd name="csY33" fmla="*/ 76560 h 2095135"/>
              <a:gd name="csX34" fmla="*/ 320284 w 733006"/>
              <a:gd name="csY34" fmla="*/ 8414 h 2095135"/>
              <a:gd name="csX35" fmla="*/ 324784 w 733006"/>
              <a:gd name="csY35" fmla="*/ 946 h 2095135"/>
              <a:gd name="csX36" fmla="*/ 399212 w 733006"/>
              <a:gd name="csY36" fmla="*/ 0 h 2095135"/>
              <a:gd name="csX37" fmla="*/ 425980 w 733006"/>
              <a:gd name="csY37" fmla="*/ 78301 h 2095135"/>
              <a:gd name="csX38" fmla="*/ 431861 w 733006"/>
              <a:gd name="csY38" fmla="*/ 90312 h 2095135"/>
              <a:gd name="csX39" fmla="*/ 540349 w 733006"/>
              <a:gd name="csY39" fmla="*/ 187946 h 2095135"/>
              <a:gd name="csX40" fmla="*/ 545555 w 733006"/>
              <a:gd name="csY40" fmla="*/ 197828 h 2095135"/>
              <a:gd name="csX41" fmla="*/ 587318 w 733006"/>
              <a:gd name="csY41" fmla="*/ 171260 h 2095135"/>
              <a:gd name="csX42" fmla="*/ 601503 w 733006"/>
              <a:gd name="csY42" fmla="*/ 163707 h 2095135"/>
              <a:gd name="csX43" fmla="*/ 625254 w 733006"/>
              <a:gd name="csY43" fmla="*/ 163123 h 2095135"/>
              <a:gd name="csX44" fmla="*/ 625468 w 733006"/>
              <a:gd name="csY44" fmla="*/ 187579 h 2095135"/>
              <a:gd name="csX45" fmla="*/ 597543 w 733006"/>
              <a:gd name="csY45" fmla="*/ 251872 h 2095135"/>
              <a:gd name="csX46" fmla="*/ 531831 w 733006"/>
              <a:gd name="csY46" fmla="*/ 442689 h 2095135"/>
              <a:gd name="csX47" fmla="*/ 519888 w 733006"/>
              <a:gd name="csY47" fmla="*/ 501474 h 2095135"/>
              <a:gd name="csX48" fmla="*/ 522506 w 733006"/>
              <a:gd name="csY48" fmla="*/ 525086 h 2095135"/>
              <a:gd name="csX49" fmla="*/ 516235 w 733006"/>
              <a:gd name="csY49" fmla="*/ 555946 h 2095135"/>
              <a:gd name="csX50" fmla="*/ 521332 w 733006"/>
              <a:gd name="csY50" fmla="*/ 610676 h 2095135"/>
              <a:gd name="csX51" fmla="*/ 541382 w 733006"/>
              <a:gd name="csY51" fmla="*/ 642597 h 2095135"/>
              <a:gd name="csX52" fmla="*/ 557031 w 733006"/>
              <a:gd name="csY52" fmla="*/ 667949 h 2095135"/>
              <a:gd name="csX53" fmla="*/ 553994 w 733006"/>
              <a:gd name="csY53" fmla="*/ 744146 h 2095135"/>
              <a:gd name="csX54" fmla="*/ 508215 w 733006"/>
              <a:gd name="csY54" fmla="*/ 758841 h 2095135"/>
              <a:gd name="csX55" fmla="*/ 497442 w 733006"/>
              <a:gd name="csY55" fmla="*/ 771256 h 2095135"/>
              <a:gd name="csX56" fmla="*/ 493005 w 733006"/>
              <a:gd name="csY56" fmla="*/ 922055 h 2095135"/>
              <a:gd name="csX57" fmla="*/ 502900 w 733006"/>
              <a:gd name="csY57" fmla="*/ 1114191 h 2095135"/>
              <a:gd name="csX58" fmla="*/ 508800 w 733006"/>
              <a:gd name="csY58" fmla="*/ 1205474 h 2095135"/>
              <a:gd name="csX59" fmla="*/ 522952 w 733006"/>
              <a:gd name="csY59" fmla="*/ 1320065 h 2095135"/>
              <a:gd name="csX60" fmla="*/ 554682 w 733006"/>
              <a:gd name="csY60" fmla="*/ 1501203 h 2095135"/>
              <a:gd name="csX61" fmla="*/ 576958 w 733006"/>
              <a:gd name="csY61" fmla="*/ 1593963 h 2095135"/>
              <a:gd name="csX62" fmla="*/ 595349 w 733006"/>
              <a:gd name="csY62" fmla="*/ 1613498 h 2095135"/>
              <a:gd name="csX63" fmla="*/ 613936 w 733006"/>
              <a:gd name="csY63" fmla="*/ 1624058 h 2095135"/>
              <a:gd name="csX64" fmla="*/ 620938 w 733006"/>
              <a:gd name="csY64" fmla="*/ 1652071 h 2095135"/>
              <a:gd name="csX65" fmla="*/ 630805 w 733006"/>
              <a:gd name="csY65" fmla="*/ 1721702 h 2095135"/>
              <a:gd name="csX66" fmla="*/ 685830 w 733006"/>
              <a:gd name="csY66" fmla="*/ 1792915 h 2095135"/>
              <a:gd name="csX67" fmla="*/ 708904 w 733006"/>
              <a:gd name="csY67" fmla="*/ 1890290 h 2095135"/>
              <a:gd name="csX68" fmla="*/ 716580 w 733006"/>
              <a:gd name="csY68" fmla="*/ 1951136 h 2095135"/>
              <a:gd name="csX69" fmla="*/ 729397 w 733006"/>
              <a:gd name="csY69" fmla="*/ 2030261 h 2095135"/>
              <a:gd name="csX70" fmla="*/ 714212 w 733006"/>
              <a:gd name="csY70" fmla="*/ 2049544 h 2095135"/>
              <a:gd name="csX71" fmla="*/ 96263 w 733006"/>
              <a:gd name="csY71" fmla="*/ 2076207 h 2095135"/>
              <a:gd name="csX72" fmla="*/ 489970 w 733006"/>
              <a:gd name="csY72" fmla="*/ 152208 h 2095135"/>
              <a:gd name="csX73" fmla="*/ 490754 w 733006"/>
              <a:gd name="csY73" fmla="*/ 152592 h 2095135"/>
              <a:gd name="csX74" fmla="*/ 489489 w 733006"/>
              <a:gd name="csY74" fmla="*/ 149547 h 2095135"/>
              <a:gd name="csX75" fmla="*/ 393621 w 733006"/>
              <a:gd name="csY75" fmla="*/ 99259 h 2095135"/>
              <a:gd name="csX76" fmla="*/ 390419 w 733006"/>
              <a:gd name="csY76" fmla="*/ 18568 h 2095135"/>
              <a:gd name="csX77" fmla="*/ 334131 w 733006"/>
              <a:gd name="csY77" fmla="*/ 24327 h 2095135"/>
              <a:gd name="csX78" fmla="*/ 344678 w 733006"/>
              <a:gd name="csY78" fmla="*/ 101259 h 2095135"/>
              <a:gd name="csX79" fmla="*/ 298854 w 733006"/>
              <a:gd name="csY79" fmla="*/ 114003 h 2095135"/>
              <a:gd name="csX80" fmla="*/ 237456 w 733006"/>
              <a:gd name="csY80" fmla="*/ 154340 h 2095135"/>
              <a:gd name="csX81" fmla="*/ 240382 w 733006"/>
              <a:gd name="csY81" fmla="*/ 154035 h 2095135"/>
              <a:gd name="csX82" fmla="*/ 262731 w 733006"/>
              <a:gd name="csY82" fmla="*/ 170426 h 2095135"/>
              <a:gd name="csX83" fmla="*/ 279169 w 733006"/>
              <a:gd name="csY83" fmla="*/ 193173 h 2095135"/>
              <a:gd name="csX84" fmla="*/ 327717 w 733006"/>
              <a:gd name="csY84" fmla="*/ 188556 h 2095135"/>
              <a:gd name="csX85" fmla="*/ 348052 w 733006"/>
              <a:gd name="csY85" fmla="*/ 156919 h 2095135"/>
              <a:gd name="csX86" fmla="*/ 380330 w 733006"/>
              <a:gd name="csY86" fmla="*/ 156483 h 2095135"/>
              <a:gd name="csX87" fmla="*/ 408490 w 733006"/>
              <a:gd name="csY87" fmla="*/ 195400 h 2095135"/>
              <a:gd name="csX88" fmla="*/ 445346 w 733006"/>
              <a:gd name="csY88" fmla="*/ 197582 h 2095135"/>
              <a:gd name="csX89" fmla="*/ 464798 w 733006"/>
              <a:gd name="csY89" fmla="*/ 174107 h 2095135"/>
              <a:gd name="csX90" fmla="*/ 489970 w 733006"/>
              <a:gd name="csY90" fmla="*/ 152208 h 2095135"/>
              <a:gd name="csX91" fmla="*/ 140694 w 733006"/>
              <a:gd name="csY91" fmla="*/ 201837 h 2095135"/>
              <a:gd name="csX92" fmla="*/ 139834 w 733006"/>
              <a:gd name="csY92" fmla="*/ 201482 h 2095135"/>
              <a:gd name="csX93" fmla="*/ 140812 w 733006"/>
              <a:gd name="csY93" fmla="*/ 204941 h 2095135"/>
              <a:gd name="csX94" fmla="*/ 144631 w 733006"/>
              <a:gd name="csY94" fmla="*/ 217811 h 2095135"/>
              <a:gd name="csX95" fmla="*/ 201241 w 733006"/>
              <a:gd name="csY95" fmla="*/ 373387 h 2095135"/>
              <a:gd name="csX96" fmla="*/ 235971 w 733006"/>
              <a:gd name="csY96" fmla="*/ 504451 h 2095135"/>
              <a:gd name="csX97" fmla="*/ 247475 w 733006"/>
              <a:gd name="csY97" fmla="*/ 513241 h 2095135"/>
              <a:gd name="csX98" fmla="*/ 289066 w 733006"/>
              <a:gd name="csY98" fmla="*/ 511170 h 2095135"/>
              <a:gd name="csX99" fmla="*/ 378229 w 733006"/>
              <a:gd name="csY99" fmla="*/ 511084 h 2095135"/>
              <a:gd name="csX100" fmla="*/ 470850 w 733006"/>
              <a:gd name="csY100" fmla="*/ 516341 h 2095135"/>
              <a:gd name="csX101" fmla="*/ 492933 w 733006"/>
              <a:gd name="csY101" fmla="*/ 497969 h 2095135"/>
              <a:gd name="csX102" fmla="*/ 557617 w 733006"/>
              <a:gd name="csY102" fmla="*/ 280398 h 2095135"/>
              <a:gd name="csX103" fmla="*/ 588788 w 733006"/>
              <a:gd name="csY103" fmla="*/ 200385 h 2095135"/>
              <a:gd name="csX104" fmla="*/ 530958 w 733006"/>
              <a:gd name="csY104" fmla="*/ 232968 h 2095135"/>
              <a:gd name="csX105" fmla="*/ 483823 w 733006"/>
              <a:gd name="csY105" fmla="*/ 190364 h 2095135"/>
              <a:gd name="csX106" fmla="*/ 466649 w 733006"/>
              <a:gd name="csY106" fmla="*/ 209061 h 2095135"/>
              <a:gd name="csX107" fmla="*/ 399941 w 733006"/>
              <a:gd name="csY107" fmla="*/ 216988 h 2095135"/>
              <a:gd name="csX108" fmla="*/ 363018 w 733006"/>
              <a:gd name="csY108" fmla="*/ 179615 h 2095135"/>
              <a:gd name="csX109" fmla="*/ 308839 w 733006"/>
              <a:gd name="csY109" fmla="*/ 227846 h 2095135"/>
              <a:gd name="csX110" fmla="*/ 245077 w 733006"/>
              <a:gd name="csY110" fmla="*/ 192402 h 2095135"/>
              <a:gd name="csX111" fmla="*/ 242829 w 733006"/>
              <a:gd name="csY111" fmla="*/ 198815 h 2095135"/>
              <a:gd name="csX112" fmla="*/ 168452 w 733006"/>
              <a:gd name="csY112" fmla="*/ 219348 h 2095135"/>
              <a:gd name="csX113" fmla="*/ 140694 w 733006"/>
              <a:gd name="csY113" fmla="*/ 201837 h 2095135"/>
              <a:gd name="csX114" fmla="*/ 259999 w 733006"/>
              <a:gd name="csY114" fmla="*/ 966699 h 2095135"/>
              <a:gd name="csX115" fmla="*/ 257072 w 733006"/>
              <a:gd name="csY115" fmla="*/ 1070424 h 2095135"/>
              <a:gd name="csX116" fmla="*/ 251372 w 733006"/>
              <a:gd name="csY116" fmla="*/ 1157618 h 2095135"/>
              <a:gd name="csX117" fmla="*/ 232677 w 733006"/>
              <a:gd name="csY117" fmla="*/ 1320279 h 2095135"/>
              <a:gd name="csX118" fmla="*/ 209182 w 733006"/>
              <a:gd name="csY118" fmla="*/ 1468667 h 2095135"/>
              <a:gd name="csX119" fmla="*/ 175302 w 733006"/>
              <a:gd name="csY119" fmla="*/ 1616623 h 2095135"/>
              <a:gd name="csX120" fmla="*/ 182769 w 733006"/>
              <a:gd name="csY120" fmla="*/ 1629786 h 2095135"/>
              <a:gd name="csX121" fmla="*/ 212156 w 733006"/>
              <a:gd name="csY121" fmla="*/ 1632656 h 2095135"/>
              <a:gd name="csX122" fmla="*/ 351295 w 733006"/>
              <a:gd name="csY122" fmla="*/ 1632801 h 2095135"/>
              <a:gd name="csX123" fmla="*/ 376150 w 733006"/>
              <a:gd name="csY123" fmla="*/ 1608307 h 2095135"/>
              <a:gd name="csX124" fmla="*/ 373450 w 733006"/>
              <a:gd name="csY124" fmla="*/ 1457291 h 2095135"/>
              <a:gd name="csX125" fmla="*/ 370936 w 733006"/>
              <a:gd name="csY125" fmla="*/ 1342736 h 2095135"/>
              <a:gd name="csX126" fmla="*/ 368328 w 733006"/>
              <a:gd name="csY126" fmla="*/ 1203878 h 2095135"/>
              <a:gd name="csX127" fmla="*/ 367836 w 733006"/>
              <a:gd name="csY127" fmla="*/ 813478 h 2095135"/>
              <a:gd name="csX128" fmla="*/ 365240 w 733006"/>
              <a:gd name="csY128" fmla="*/ 773243 h 2095135"/>
              <a:gd name="csX129" fmla="*/ 353084 w 733006"/>
              <a:gd name="csY129" fmla="*/ 762083 h 2095135"/>
              <a:gd name="csX130" fmla="*/ 280966 w 733006"/>
              <a:gd name="csY130" fmla="*/ 759855 h 2095135"/>
              <a:gd name="csX131" fmla="*/ 259965 w 733006"/>
              <a:gd name="csY131" fmla="*/ 779553 h 2095135"/>
              <a:gd name="csX132" fmla="*/ 262341 w 733006"/>
              <a:gd name="csY132" fmla="*/ 856275 h 2095135"/>
              <a:gd name="csX133" fmla="*/ 259999 w 733006"/>
              <a:gd name="csY133" fmla="*/ 966699 h 2095135"/>
              <a:gd name="csX134" fmla="*/ 55556 w 733006"/>
              <a:gd name="csY134" fmla="*/ 1835827 h 2095135"/>
              <a:gd name="csX135" fmla="*/ 49393 w 733006"/>
              <a:gd name="csY135" fmla="*/ 1878155 h 2095135"/>
              <a:gd name="csX136" fmla="*/ 73949 w 733006"/>
              <a:gd name="csY136" fmla="*/ 1905781 h 2095135"/>
              <a:gd name="csX137" fmla="*/ 110073 w 733006"/>
              <a:gd name="csY137" fmla="*/ 1909068 h 2095135"/>
              <a:gd name="csX138" fmla="*/ 224745 w 733006"/>
              <a:gd name="csY138" fmla="*/ 1921652 h 2095135"/>
              <a:gd name="csX139" fmla="*/ 347327 w 733006"/>
              <a:gd name="csY139" fmla="*/ 1924778 h 2095135"/>
              <a:gd name="csX140" fmla="*/ 363345 w 733006"/>
              <a:gd name="csY140" fmla="*/ 1923293 h 2095135"/>
              <a:gd name="csX141" fmla="*/ 373787 w 733006"/>
              <a:gd name="csY141" fmla="*/ 1911200 h 2095135"/>
              <a:gd name="csX142" fmla="*/ 376623 w 733006"/>
              <a:gd name="csY142" fmla="*/ 1696741 h 2095135"/>
              <a:gd name="csX143" fmla="*/ 360437 w 733006"/>
              <a:gd name="csY143" fmla="*/ 1681289 h 2095135"/>
              <a:gd name="csX144" fmla="*/ 263503 w 733006"/>
              <a:gd name="csY144" fmla="*/ 1678179 h 2095135"/>
              <a:gd name="csX145" fmla="*/ 160381 w 733006"/>
              <a:gd name="csY145" fmla="*/ 1670405 h 2095135"/>
              <a:gd name="csX146" fmla="*/ 143321 w 733006"/>
              <a:gd name="csY146" fmla="*/ 1685538 h 2095135"/>
              <a:gd name="csX147" fmla="*/ 124769 w 733006"/>
              <a:gd name="csY147" fmla="*/ 1738195 h 2095135"/>
              <a:gd name="csX148" fmla="*/ 90593 w 733006"/>
              <a:gd name="csY148" fmla="*/ 1779570 h 2095135"/>
              <a:gd name="csX149" fmla="*/ 55556 w 733006"/>
              <a:gd name="csY149" fmla="*/ 1835827 h 2095135"/>
              <a:gd name="csX150" fmla="*/ 378900 w 733006"/>
              <a:gd name="csY150" fmla="*/ 2007280 h 2095135"/>
              <a:gd name="csX151" fmla="*/ 378887 w 733006"/>
              <a:gd name="csY151" fmla="*/ 1995127 h 2095135"/>
              <a:gd name="csX152" fmla="*/ 359084 w 733006"/>
              <a:gd name="csY152" fmla="*/ 1975964 h 2095135"/>
              <a:gd name="csX153" fmla="*/ 247288 w 733006"/>
              <a:gd name="csY153" fmla="*/ 1973305 h 2095135"/>
              <a:gd name="csX154" fmla="*/ 201692 w 733006"/>
              <a:gd name="csY154" fmla="*/ 1970275 h 2095135"/>
              <a:gd name="csX155" fmla="*/ 57962 w 733006"/>
              <a:gd name="csY155" fmla="*/ 1952648 h 2095135"/>
              <a:gd name="csX156" fmla="*/ 39194 w 733006"/>
              <a:gd name="csY156" fmla="*/ 1963552 h 2095135"/>
              <a:gd name="csX157" fmla="*/ 30066 w 733006"/>
              <a:gd name="csY157" fmla="*/ 2006631 h 2095135"/>
              <a:gd name="csX158" fmla="*/ 40232 w 733006"/>
              <a:gd name="csY158" fmla="*/ 2019486 h 2095135"/>
              <a:gd name="csX159" fmla="*/ 238186 w 733006"/>
              <a:gd name="csY159" fmla="*/ 2046096 h 2095135"/>
              <a:gd name="csX160" fmla="*/ 342155 w 733006"/>
              <a:gd name="csY160" fmla="*/ 2046441 h 2095135"/>
              <a:gd name="csX161" fmla="*/ 378900 w 733006"/>
              <a:gd name="csY161" fmla="*/ 2007280 h 2095135"/>
              <a:gd name="csX162" fmla="*/ 310220 w 733006"/>
              <a:gd name="csY162" fmla="*/ 554288 h 2095135"/>
              <a:gd name="csX163" fmla="*/ 259136 w 733006"/>
              <a:gd name="csY163" fmla="*/ 556881 h 2095135"/>
              <a:gd name="csX164" fmla="*/ 249085 w 733006"/>
              <a:gd name="csY164" fmla="*/ 567981 h 2095135"/>
              <a:gd name="csX165" fmla="*/ 249141 w 733006"/>
              <a:gd name="csY165" fmla="*/ 605644 h 2095135"/>
              <a:gd name="csX166" fmla="*/ 262628 w 733006"/>
              <a:gd name="csY166" fmla="*/ 605627 h 2095135"/>
              <a:gd name="csX167" fmla="*/ 369608 w 733006"/>
              <a:gd name="csY167" fmla="*/ 603027 h 2095135"/>
              <a:gd name="csX168" fmla="*/ 463931 w 733006"/>
              <a:gd name="csY168" fmla="*/ 605146 h 2095135"/>
              <a:gd name="csX169" fmla="*/ 478113 w 733006"/>
              <a:gd name="csY169" fmla="*/ 595843 h 2095135"/>
              <a:gd name="csX170" fmla="*/ 478796 w 733006"/>
              <a:gd name="csY170" fmla="*/ 556832 h 2095135"/>
              <a:gd name="csX171" fmla="*/ 310220 w 733006"/>
              <a:gd name="csY171" fmla="*/ 554288 h 2095135"/>
              <a:gd name="csX172" fmla="*/ 348836 w 733006"/>
              <a:gd name="csY172" fmla="*/ 684115 h 2095135"/>
              <a:gd name="csX173" fmla="*/ 281333 w 733006"/>
              <a:gd name="csY173" fmla="*/ 683313 h 2095135"/>
              <a:gd name="csX174" fmla="*/ 212728 w 733006"/>
              <a:gd name="csY174" fmla="*/ 681931 h 2095135"/>
              <a:gd name="csX175" fmla="*/ 187283 w 733006"/>
              <a:gd name="csY175" fmla="*/ 689555 h 2095135"/>
              <a:gd name="csX176" fmla="*/ 186163 w 733006"/>
              <a:gd name="csY176" fmla="*/ 718266 h 2095135"/>
              <a:gd name="csX177" fmla="*/ 209894 w 733006"/>
              <a:gd name="csY177" fmla="*/ 726798 h 2095135"/>
              <a:gd name="csX178" fmla="*/ 334814 w 733006"/>
              <a:gd name="csY178" fmla="*/ 732494 h 2095135"/>
              <a:gd name="csX179" fmla="*/ 364856 w 733006"/>
              <a:gd name="csY179" fmla="*/ 707963 h 2095135"/>
              <a:gd name="csX180" fmla="*/ 348836 w 733006"/>
              <a:gd name="csY180" fmla="*/ 684115 h 2095135"/>
              <a:gd name="csX181" fmla="*/ 298865 w 733006"/>
              <a:gd name="csY181" fmla="*/ 621954 h 2095135"/>
              <a:gd name="csX182" fmla="*/ 251619 w 733006"/>
              <a:gd name="csY182" fmla="*/ 622133 h 2095135"/>
              <a:gd name="csX183" fmla="*/ 214459 w 733006"/>
              <a:gd name="csY183" fmla="*/ 636230 h 2095135"/>
              <a:gd name="csX184" fmla="*/ 221436 w 733006"/>
              <a:gd name="csY184" fmla="*/ 654205 h 2095135"/>
              <a:gd name="csX185" fmla="*/ 272412 w 733006"/>
              <a:gd name="csY185" fmla="*/ 657250 h 2095135"/>
              <a:gd name="csX186" fmla="*/ 349094 w 733006"/>
              <a:gd name="csY186" fmla="*/ 659282 h 2095135"/>
              <a:gd name="csX187" fmla="*/ 362996 w 733006"/>
              <a:gd name="csY187" fmla="*/ 644234 h 2095135"/>
              <a:gd name="csX188" fmla="*/ 348472 w 733006"/>
              <a:gd name="csY188" fmla="*/ 624649 h 2095135"/>
              <a:gd name="csX189" fmla="*/ 298865 w 733006"/>
              <a:gd name="csY189" fmla="*/ 621954 h 2095135"/>
              <a:gd name="csX190" fmla="*/ 227796 w 733006"/>
              <a:gd name="csY190" fmla="*/ 528000 h 2095135"/>
              <a:gd name="csX191" fmla="*/ 241009 w 733006"/>
              <a:gd name="csY191" fmla="*/ 545897 h 2095135"/>
              <a:gd name="csX192" fmla="*/ 282607 w 733006"/>
              <a:gd name="csY192" fmla="*/ 543480 h 2095135"/>
              <a:gd name="csX193" fmla="*/ 354213 w 733006"/>
              <a:gd name="csY193" fmla="*/ 543384 h 2095135"/>
              <a:gd name="csX194" fmla="*/ 365334 w 733006"/>
              <a:gd name="csY194" fmla="*/ 533397 h 2095135"/>
              <a:gd name="csX195" fmla="*/ 354531 w 733006"/>
              <a:gd name="csY195" fmla="*/ 521620 h 2095135"/>
              <a:gd name="csX196" fmla="*/ 259169 w 733006"/>
              <a:gd name="csY196" fmla="*/ 521978 h 2095135"/>
              <a:gd name="csX197" fmla="*/ 227796 w 733006"/>
              <a:gd name="csY197" fmla="*/ 528000 h 2095135"/>
              <a:gd name="csX198" fmla="*/ 508068 w 733006"/>
              <a:gd name="csY198" fmla="*/ 190710 h 2095135"/>
              <a:gd name="csX199" fmla="*/ 521293 w 733006"/>
              <a:gd name="csY199" fmla="*/ 205907 h 2095135"/>
              <a:gd name="csX200" fmla="*/ 525175 w 733006"/>
              <a:gd name="csY200" fmla="*/ 202985 h 2095135"/>
              <a:gd name="csX201" fmla="*/ 500276 w 733006"/>
              <a:gd name="csY201" fmla="*/ 160640 h 2095135"/>
              <a:gd name="csX202" fmla="*/ 497122 w 733006"/>
              <a:gd name="csY202" fmla="*/ 162007 h 2095135"/>
              <a:gd name="csX203" fmla="*/ 508068 w 733006"/>
              <a:gd name="csY203" fmla="*/ 190710 h 2095135"/>
              <a:gd name="csX204" fmla="*/ 215522 w 733006"/>
              <a:gd name="csY204" fmla="*/ 197296 h 2095135"/>
              <a:gd name="csX205" fmla="*/ 234029 w 733006"/>
              <a:gd name="csY205" fmla="*/ 162725 h 2095135"/>
              <a:gd name="csX206" fmla="*/ 229000 w 733006"/>
              <a:gd name="csY206" fmla="*/ 159902 h 2095135"/>
              <a:gd name="csX207" fmla="*/ 204824 w 733006"/>
              <a:gd name="csY207" fmla="*/ 199677 h 2095135"/>
              <a:gd name="csX208" fmla="*/ 207990 w 733006"/>
              <a:gd name="csY208" fmla="*/ 202198 h 2095135"/>
              <a:gd name="csX209" fmla="*/ 215522 w 733006"/>
              <a:gd name="csY209" fmla="*/ 197296 h 2095135"/>
              <a:gd name="csX210" fmla="*/ 484400 w 733006"/>
              <a:gd name="csY210" fmla="*/ 896678 h 2095135"/>
              <a:gd name="csX211" fmla="*/ 486181 w 733006"/>
              <a:gd name="csY211" fmla="*/ 896585 h 2095135"/>
              <a:gd name="csX212" fmla="*/ 486181 w 733006"/>
              <a:gd name="csY212" fmla="*/ 795289 h 2095135"/>
              <a:gd name="csX213" fmla="*/ 720241 w 733006"/>
              <a:gd name="csY213" fmla="*/ 2030666 h 2095135"/>
              <a:gd name="csX214" fmla="*/ 721175 w 733006"/>
              <a:gd name="csY214" fmla="*/ 2029733 h 2095135"/>
              <a:gd name="csX215" fmla="*/ 720241 w 733006"/>
              <a:gd name="csY215" fmla="*/ 2030666 h 2095135"/>
              <a:gd name="csX0" fmla="*/ 96263 w 733006"/>
              <a:gd name="csY0" fmla="*/ 2076207 h 2095135"/>
              <a:gd name="csX1" fmla="*/ 63862 w 733006"/>
              <a:gd name="csY1" fmla="*/ 2065388 h 2095135"/>
              <a:gd name="csX2" fmla="*/ 16555 w 733006"/>
              <a:gd name="csY2" fmla="*/ 2050152 h 2095135"/>
              <a:gd name="csX3" fmla="*/ 15 w 733006"/>
              <a:gd name="csY3" fmla="*/ 2023802 h 2095135"/>
              <a:gd name="csX4" fmla="*/ 18368 w 733006"/>
              <a:gd name="csY4" fmla="*/ 1940709 h 2095135"/>
              <a:gd name="csX5" fmla="*/ 22139 w 733006"/>
              <a:gd name="csY5" fmla="*/ 1907268 h 2095135"/>
              <a:gd name="csX6" fmla="*/ 57941 w 733006"/>
              <a:gd name="csY6" fmla="*/ 1774163 h 2095135"/>
              <a:gd name="csX7" fmla="*/ 102478 w 733006"/>
              <a:gd name="csY7" fmla="*/ 1720275 h 2095135"/>
              <a:gd name="csX8" fmla="*/ 108579 w 733006"/>
              <a:gd name="csY8" fmla="*/ 1650967 h 2095135"/>
              <a:gd name="csX9" fmla="*/ 115628 w 733006"/>
              <a:gd name="csY9" fmla="*/ 1625405 h 2095135"/>
              <a:gd name="csX10" fmla="*/ 156323 w 733006"/>
              <a:gd name="csY10" fmla="*/ 1560181 h 2095135"/>
              <a:gd name="csX11" fmla="*/ 199424 w 733006"/>
              <a:gd name="csY11" fmla="*/ 1364729 h 2095135"/>
              <a:gd name="csX12" fmla="*/ 216779 w 733006"/>
              <a:gd name="csY12" fmla="*/ 1219490 h 2095135"/>
              <a:gd name="csX13" fmla="*/ 229755 w 733006"/>
              <a:gd name="csY13" fmla="*/ 1099357 h 2095135"/>
              <a:gd name="csX14" fmla="*/ 232707 w 733006"/>
              <a:gd name="csY14" fmla="*/ 1056423 h 2095135"/>
              <a:gd name="csX15" fmla="*/ 235622 w 733006"/>
              <a:gd name="csY15" fmla="*/ 952675 h 2095135"/>
              <a:gd name="csX16" fmla="*/ 235445 w 733006"/>
              <a:gd name="csY16" fmla="*/ 780278 h 2095135"/>
              <a:gd name="csX17" fmla="*/ 214544 w 733006"/>
              <a:gd name="csY17" fmla="*/ 756435 h 2095135"/>
              <a:gd name="csX18" fmla="*/ 172569 w 733006"/>
              <a:gd name="csY18" fmla="*/ 742582 h 2095135"/>
              <a:gd name="csX19" fmla="*/ 168784 w 733006"/>
              <a:gd name="csY19" fmla="*/ 669116 h 2095135"/>
              <a:gd name="csX20" fmla="*/ 191657 w 733006"/>
              <a:gd name="csY20" fmla="*/ 630765 h 2095135"/>
              <a:gd name="csX21" fmla="*/ 208150 w 733006"/>
              <a:gd name="csY21" fmla="*/ 609084 h 2095135"/>
              <a:gd name="csX22" fmla="*/ 216756 w 733006"/>
              <a:gd name="csY22" fmla="*/ 558673 h 2095135"/>
              <a:gd name="csX23" fmla="*/ 209092 w 733006"/>
              <a:gd name="csY23" fmla="*/ 521540 h 2095135"/>
              <a:gd name="csX24" fmla="*/ 204683 w 733006"/>
              <a:gd name="csY24" fmla="*/ 474024 h 2095135"/>
              <a:gd name="csX25" fmla="*/ 115483 w 733006"/>
              <a:gd name="csY25" fmla="*/ 213499 h 2095135"/>
              <a:gd name="csX26" fmla="*/ 102909 w 733006"/>
              <a:gd name="csY26" fmla="*/ 182297 h 2095135"/>
              <a:gd name="csX27" fmla="*/ 104315 w 733006"/>
              <a:gd name="csY27" fmla="*/ 163968 h 2095135"/>
              <a:gd name="csX28" fmla="*/ 122444 w 733006"/>
              <a:gd name="csY28" fmla="*/ 160805 h 2095135"/>
              <a:gd name="csX29" fmla="*/ 170283 w 733006"/>
              <a:gd name="csY29" fmla="*/ 187783 h 2095135"/>
              <a:gd name="csX30" fmla="*/ 180938 w 733006"/>
              <a:gd name="csY30" fmla="*/ 195322 h 2095135"/>
              <a:gd name="csX31" fmla="*/ 221419 w 733006"/>
              <a:gd name="csY31" fmla="*/ 138058 h 2095135"/>
              <a:gd name="csX32" fmla="*/ 294099 w 733006"/>
              <a:gd name="csY32" fmla="*/ 91372 h 2095135"/>
              <a:gd name="csX33" fmla="*/ 302307 w 733006"/>
              <a:gd name="csY33" fmla="*/ 76560 h 2095135"/>
              <a:gd name="csX34" fmla="*/ 320284 w 733006"/>
              <a:gd name="csY34" fmla="*/ 8414 h 2095135"/>
              <a:gd name="csX35" fmla="*/ 324784 w 733006"/>
              <a:gd name="csY35" fmla="*/ 946 h 2095135"/>
              <a:gd name="csX36" fmla="*/ 399212 w 733006"/>
              <a:gd name="csY36" fmla="*/ 0 h 2095135"/>
              <a:gd name="csX37" fmla="*/ 425980 w 733006"/>
              <a:gd name="csY37" fmla="*/ 78301 h 2095135"/>
              <a:gd name="csX38" fmla="*/ 431861 w 733006"/>
              <a:gd name="csY38" fmla="*/ 90312 h 2095135"/>
              <a:gd name="csX39" fmla="*/ 540349 w 733006"/>
              <a:gd name="csY39" fmla="*/ 187946 h 2095135"/>
              <a:gd name="csX40" fmla="*/ 545555 w 733006"/>
              <a:gd name="csY40" fmla="*/ 197828 h 2095135"/>
              <a:gd name="csX41" fmla="*/ 587318 w 733006"/>
              <a:gd name="csY41" fmla="*/ 171260 h 2095135"/>
              <a:gd name="csX42" fmla="*/ 601503 w 733006"/>
              <a:gd name="csY42" fmla="*/ 163707 h 2095135"/>
              <a:gd name="csX43" fmla="*/ 625254 w 733006"/>
              <a:gd name="csY43" fmla="*/ 163123 h 2095135"/>
              <a:gd name="csX44" fmla="*/ 625468 w 733006"/>
              <a:gd name="csY44" fmla="*/ 187579 h 2095135"/>
              <a:gd name="csX45" fmla="*/ 597543 w 733006"/>
              <a:gd name="csY45" fmla="*/ 251872 h 2095135"/>
              <a:gd name="csX46" fmla="*/ 531831 w 733006"/>
              <a:gd name="csY46" fmla="*/ 442689 h 2095135"/>
              <a:gd name="csX47" fmla="*/ 519888 w 733006"/>
              <a:gd name="csY47" fmla="*/ 501474 h 2095135"/>
              <a:gd name="csX48" fmla="*/ 522506 w 733006"/>
              <a:gd name="csY48" fmla="*/ 525086 h 2095135"/>
              <a:gd name="csX49" fmla="*/ 516235 w 733006"/>
              <a:gd name="csY49" fmla="*/ 555946 h 2095135"/>
              <a:gd name="csX50" fmla="*/ 521332 w 733006"/>
              <a:gd name="csY50" fmla="*/ 610676 h 2095135"/>
              <a:gd name="csX51" fmla="*/ 541382 w 733006"/>
              <a:gd name="csY51" fmla="*/ 642597 h 2095135"/>
              <a:gd name="csX52" fmla="*/ 557031 w 733006"/>
              <a:gd name="csY52" fmla="*/ 667949 h 2095135"/>
              <a:gd name="csX53" fmla="*/ 553994 w 733006"/>
              <a:gd name="csY53" fmla="*/ 744146 h 2095135"/>
              <a:gd name="csX54" fmla="*/ 508215 w 733006"/>
              <a:gd name="csY54" fmla="*/ 758841 h 2095135"/>
              <a:gd name="csX55" fmla="*/ 497442 w 733006"/>
              <a:gd name="csY55" fmla="*/ 771256 h 2095135"/>
              <a:gd name="csX56" fmla="*/ 493005 w 733006"/>
              <a:gd name="csY56" fmla="*/ 922055 h 2095135"/>
              <a:gd name="csX57" fmla="*/ 502900 w 733006"/>
              <a:gd name="csY57" fmla="*/ 1114191 h 2095135"/>
              <a:gd name="csX58" fmla="*/ 508800 w 733006"/>
              <a:gd name="csY58" fmla="*/ 1205474 h 2095135"/>
              <a:gd name="csX59" fmla="*/ 522952 w 733006"/>
              <a:gd name="csY59" fmla="*/ 1320065 h 2095135"/>
              <a:gd name="csX60" fmla="*/ 554682 w 733006"/>
              <a:gd name="csY60" fmla="*/ 1501203 h 2095135"/>
              <a:gd name="csX61" fmla="*/ 576958 w 733006"/>
              <a:gd name="csY61" fmla="*/ 1593963 h 2095135"/>
              <a:gd name="csX62" fmla="*/ 595349 w 733006"/>
              <a:gd name="csY62" fmla="*/ 1613498 h 2095135"/>
              <a:gd name="csX63" fmla="*/ 613936 w 733006"/>
              <a:gd name="csY63" fmla="*/ 1624058 h 2095135"/>
              <a:gd name="csX64" fmla="*/ 620938 w 733006"/>
              <a:gd name="csY64" fmla="*/ 1652071 h 2095135"/>
              <a:gd name="csX65" fmla="*/ 630805 w 733006"/>
              <a:gd name="csY65" fmla="*/ 1721702 h 2095135"/>
              <a:gd name="csX66" fmla="*/ 685830 w 733006"/>
              <a:gd name="csY66" fmla="*/ 1792915 h 2095135"/>
              <a:gd name="csX67" fmla="*/ 708904 w 733006"/>
              <a:gd name="csY67" fmla="*/ 1890290 h 2095135"/>
              <a:gd name="csX68" fmla="*/ 716580 w 733006"/>
              <a:gd name="csY68" fmla="*/ 1951136 h 2095135"/>
              <a:gd name="csX69" fmla="*/ 729397 w 733006"/>
              <a:gd name="csY69" fmla="*/ 2030261 h 2095135"/>
              <a:gd name="csX70" fmla="*/ 714212 w 733006"/>
              <a:gd name="csY70" fmla="*/ 2049544 h 2095135"/>
              <a:gd name="csX71" fmla="*/ 96263 w 733006"/>
              <a:gd name="csY71" fmla="*/ 2076207 h 2095135"/>
              <a:gd name="csX72" fmla="*/ 489970 w 733006"/>
              <a:gd name="csY72" fmla="*/ 152208 h 2095135"/>
              <a:gd name="csX73" fmla="*/ 490754 w 733006"/>
              <a:gd name="csY73" fmla="*/ 152592 h 2095135"/>
              <a:gd name="csX74" fmla="*/ 489489 w 733006"/>
              <a:gd name="csY74" fmla="*/ 149547 h 2095135"/>
              <a:gd name="csX75" fmla="*/ 393621 w 733006"/>
              <a:gd name="csY75" fmla="*/ 99259 h 2095135"/>
              <a:gd name="csX76" fmla="*/ 390419 w 733006"/>
              <a:gd name="csY76" fmla="*/ 18568 h 2095135"/>
              <a:gd name="csX77" fmla="*/ 334131 w 733006"/>
              <a:gd name="csY77" fmla="*/ 24327 h 2095135"/>
              <a:gd name="csX78" fmla="*/ 344678 w 733006"/>
              <a:gd name="csY78" fmla="*/ 101259 h 2095135"/>
              <a:gd name="csX79" fmla="*/ 298854 w 733006"/>
              <a:gd name="csY79" fmla="*/ 114003 h 2095135"/>
              <a:gd name="csX80" fmla="*/ 237456 w 733006"/>
              <a:gd name="csY80" fmla="*/ 154340 h 2095135"/>
              <a:gd name="csX81" fmla="*/ 240382 w 733006"/>
              <a:gd name="csY81" fmla="*/ 154035 h 2095135"/>
              <a:gd name="csX82" fmla="*/ 262731 w 733006"/>
              <a:gd name="csY82" fmla="*/ 170426 h 2095135"/>
              <a:gd name="csX83" fmla="*/ 279169 w 733006"/>
              <a:gd name="csY83" fmla="*/ 193173 h 2095135"/>
              <a:gd name="csX84" fmla="*/ 327717 w 733006"/>
              <a:gd name="csY84" fmla="*/ 188556 h 2095135"/>
              <a:gd name="csX85" fmla="*/ 348052 w 733006"/>
              <a:gd name="csY85" fmla="*/ 156919 h 2095135"/>
              <a:gd name="csX86" fmla="*/ 380330 w 733006"/>
              <a:gd name="csY86" fmla="*/ 156483 h 2095135"/>
              <a:gd name="csX87" fmla="*/ 408490 w 733006"/>
              <a:gd name="csY87" fmla="*/ 195400 h 2095135"/>
              <a:gd name="csX88" fmla="*/ 445346 w 733006"/>
              <a:gd name="csY88" fmla="*/ 197582 h 2095135"/>
              <a:gd name="csX89" fmla="*/ 464798 w 733006"/>
              <a:gd name="csY89" fmla="*/ 174107 h 2095135"/>
              <a:gd name="csX90" fmla="*/ 489970 w 733006"/>
              <a:gd name="csY90" fmla="*/ 152208 h 2095135"/>
              <a:gd name="csX91" fmla="*/ 140694 w 733006"/>
              <a:gd name="csY91" fmla="*/ 201837 h 2095135"/>
              <a:gd name="csX92" fmla="*/ 139834 w 733006"/>
              <a:gd name="csY92" fmla="*/ 201482 h 2095135"/>
              <a:gd name="csX93" fmla="*/ 140812 w 733006"/>
              <a:gd name="csY93" fmla="*/ 204941 h 2095135"/>
              <a:gd name="csX94" fmla="*/ 144631 w 733006"/>
              <a:gd name="csY94" fmla="*/ 217811 h 2095135"/>
              <a:gd name="csX95" fmla="*/ 201241 w 733006"/>
              <a:gd name="csY95" fmla="*/ 373387 h 2095135"/>
              <a:gd name="csX96" fmla="*/ 235971 w 733006"/>
              <a:gd name="csY96" fmla="*/ 504451 h 2095135"/>
              <a:gd name="csX97" fmla="*/ 247475 w 733006"/>
              <a:gd name="csY97" fmla="*/ 513241 h 2095135"/>
              <a:gd name="csX98" fmla="*/ 289066 w 733006"/>
              <a:gd name="csY98" fmla="*/ 511170 h 2095135"/>
              <a:gd name="csX99" fmla="*/ 378229 w 733006"/>
              <a:gd name="csY99" fmla="*/ 511084 h 2095135"/>
              <a:gd name="csX100" fmla="*/ 470850 w 733006"/>
              <a:gd name="csY100" fmla="*/ 516341 h 2095135"/>
              <a:gd name="csX101" fmla="*/ 492933 w 733006"/>
              <a:gd name="csY101" fmla="*/ 497969 h 2095135"/>
              <a:gd name="csX102" fmla="*/ 557617 w 733006"/>
              <a:gd name="csY102" fmla="*/ 280398 h 2095135"/>
              <a:gd name="csX103" fmla="*/ 588788 w 733006"/>
              <a:gd name="csY103" fmla="*/ 200385 h 2095135"/>
              <a:gd name="csX104" fmla="*/ 530958 w 733006"/>
              <a:gd name="csY104" fmla="*/ 232968 h 2095135"/>
              <a:gd name="csX105" fmla="*/ 483823 w 733006"/>
              <a:gd name="csY105" fmla="*/ 190364 h 2095135"/>
              <a:gd name="csX106" fmla="*/ 466649 w 733006"/>
              <a:gd name="csY106" fmla="*/ 209061 h 2095135"/>
              <a:gd name="csX107" fmla="*/ 399941 w 733006"/>
              <a:gd name="csY107" fmla="*/ 216988 h 2095135"/>
              <a:gd name="csX108" fmla="*/ 363018 w 733006"/>
              <a:gd name="csY108" fmla="*/ 179615 h 2095135"/>
              <a:gd name="csX109" fmla="*/ 308839 w 733006"/>
              <a:gd name="csY109" fmla="*/ 227846 h 2095135"/>
              <a:gd name="csX110" fmla="*/ 245077 w 733006"/>
              <a:gd name="csY110" fmla="*/ 192402 h 2095135"/>
              <a:gd name="csX111" fmla="*/ 242829 w 733006"/>
              <a:gd name="csY111" fmla="*/ 198815 h 2095135"/>
              <a:gd name="csX112" fmla="*/ 168452 w 733006"/>
              <a:gd name="csY112" fmla="*/ 219348 h 2095135"/>
              <a:gd name="csX113" fmla="*/ 140694 w 733006"/>
              <a:gd name="csY113" fmla="*/ 201837 h 2095135"/>
              <a:gd name="csX114" fmla="*/ 259999 w 733006"/>
              <a:gd name="csY114" fmla="*/ 966699 h 2095135"/>
              <a:gd name="csX115" fmla="*/ 257072 w 733006"/>
              <a:gd name="csY115" fmla="*/ 1070424 h 2095135"/>
              <a:gd name="csX116" fmla="*/ 251372 w 733006"/>
              <a:gd name="csY116" fmla="*/ 1157618 h 2095135"/>
              <a:gd name="csX117" fmla="*/ 232677 w 733006"/>
              <a:gd name="csY117" fmla="*/ 1320279 h 2095135"/>
              <a:gd name="csX118" fmla="*/ 209182 w 733006"/>
              <a:gd name="csY118" fmla="*/ 1468667 h 2095135"/>
              <a:gd name="csX119" fmla="*/ 175302 w 733006"/>
              <a:gd name="csY119" fmla="*/ 1616623 h 2095135"/>
              <a:gd name="csX120" fmla="*/ 182769 w 733006"/>
              <a:gd name="csY120" fmla="*/ 1629786 h 2095135"/>
              <a:gd name="csX121" fmla="*/ 212156 w 733006"/>
              <a:gd name="csY121" fmla="*/ 1632656 h 2095135"/>
              <a:gd name="csX122" fmla="*/ 351295 w 733006"/>
              <a:gd name="csY122" fmla="*/ 1632801 h 2095135"/>
              <a:gd name="csX123" fmla="*/ 376150 w 733006"/>
              <a:gd name="csY123" fmla="*/ 1608307 h 2095135"/>
              <a:gd name="csX124" fmla="*/ 373450 w 733006"/>
              <a:gd name="csY124" fmla="*/ 1457291 h 2095135"/>
              <a:gd name="csX125" fmla="*/ 370936 w 733006"/>
              <a:gd name="csY125" fmla="*/ 1342736 h 2095135"/>
              <a:gd name="csX126" fmla="*/ 368328 w 733006"/>
              <a:gd name="csY126" fmla="*/ 1203878 h 2095135"/>
              <a:gd name="csX127" fmla="*/ 367836 w 733006"/>
              <a:gd name="csY127" fmla="*/ 813478 h 2095135"/>
              <a:gd name="csX128" fmla="*/ 365240 w 733006"/>
              <a:gd name="csY128" fmla="*/ 773243 h 2095135"/>
              <a:gd name="csX129" fmla="*/ 353084 w 733006"/>
              <a:gd name="csY129" fmla="*/ 762083 h 2095135"/>
              <a:gd name="csX130" fmla="*/ 280966 w 733006"/>
              <a:gd name="csY130" fmla="*/ 759855 h 2095135"/>
              <a:gd name="csX131" fmla="*/ 259965 w 733006"/>
              <a:gd name="csY131" fmla="*/ 779553 h 2095135"/>
              <a:gd name="csX132" fmla="*/ 262341 w 733006"/>
              <a:gd name="csY132" fmla="*/ 856275 h 2095135"/>
              <a:gd name="csX133" fmla="*/ 259999 w 733006"/>
              <a:gd name="csY133" fmla="*/ 966699 h 2095135"/>
              <a:gd name="csX134" fmla="*/ 55556 w 733006"/>
              <a:gd name="csY134" fmla="*/ 1835827 h 2095135"/>
              <a:gd name="csX135" fmla="*/ 49393 w 733006"/>
              <a:gd name="csY135" fmla="*/ 1878155 h 2095135"/>
              <a:gd name="csX136" fmla="*/ 73949 w 733006"/>
              <a:gd name="csY136" fmla="*/ 1905781 h 2095135"/>
              <a:gd name="csX137" fmla="*/ 110073 w 733006"/>
              <a:gd name="csY137" fmla="*/ 1909068 h 2095135"/>
              <a:gd name="csX138" fmla="*/ 224745 w 733006"/>
              <a:gd name="csY138" fmla="*/ 1921652 h 2095135"/>
              <a:gd name="csX139" fmla="*/ 347327 w 733006"/>
              <a:gd name="csY139" fmla="*/ 1924778 h 2095135"/>
              <a:gd name="csX140" fmla="*/ 363345 w 733006"/>
              <a:gd name="csY140" fmla="*/ 1923293 h 2095135"/>
              <a:gd name="csX141" fmla="*/ 373787 w 733006"/>
              <a:gd name="csY141" fmla="*/ 1911200 h 2095135"/>
              <a:gd name="csX142" fmla="*/ 376623 w 733006"/>
              <a:gd name="csY142" fmla="*/ 1696741 h 2095135"/>
              <a:gd name="csX143" fmla="*/ 360437 w 733006"/>
              <a:gd name="csY143" fmla="*/ 1681289 h 2095135"/>
              <a:gd name="csX144" fmla="*/ 263503 w 733006"/>
              <a:gd name="csY144" fmla="*/ 1678179 h 2095135"/>
              <a:gd name="csX145" fmla="*/ 160381 w 733006"/>
              <a:gd name="csY145" fmla="*/ 1670405 h 2095135"/>
              <a:gd name="csX146" fmla="*/ 143321 w 733006"/>
              <a:gd name="csY146" fmla="*/ 1685538 h 2095135"/>
              <a:gd name="csX147" fmla="*/ 124769 w 733006"/>
              <a:gd name="csY147" fmla="*/ 1738195 h 2095135"/>
              <a:gd name="csX148" fmla="*/ 90593 w 733006"/>
              <a:gd name="csY148" fmla="*/ 1779570 h 2095135"/>
              <a:gd name="csX149" fmla="*/ 55556 w 733006"/>
              <a:gd name="csY149" fmla="*/ 1835827 h 2095135"/>
              <a:gd name="csX150" fmla="*/ 378900 w 733006"/>
              <a:gd name="csY150" fmla="*/ 2007280 h 2095135"/>
              <a:gd name="csX151" fmla="*/ 378887 w 733006"/>
              <a:gd name="csY151" fmla="*/ 1995127 h 2095135"/>
              <a:gd name="csX152" fmla="*/ 359084 w 733006"/>
              <a:gd name="csY152" fmla="*/ 1975964 h 2095135"/>
              <a:gd name="csX153" fmla="*/ 247288 w 733006"/>
              <a:gd name="csY153" fmla="*/ 1973305 h 2095135"/>
              <a:gd name="csX154" fmla="*/ 201692 w 733006"/>
              <a:gd name="csY154" fmla="*/ 1970275 h 2095135"/>
              <a:gd name="csX155" fmla="*/ 57962 w 733006"/>
              <a:gd name="csY155" fmla="*/ 1952648 h 2095135"/>
              <a:gd name="csX156" fmla="*/ 39194 w 733006"/>
              <a:gd name="csY156" fmla="*/ 1963552 h 2095135"/>
              <a:gd name="csX157" fmla="*/ 30066 w 733006"/>
              <a:gd name="csY157" fmla="*/ 2006631 h 2095135"/>
              <a:gd name="csX158" fmla="*/ 40232 w 733006"/>
              <a:gd name="csY158" fmla="*/ 2019486 h 2095135"/>
              <a:gd name="csX159" fmla="*/ 238186 w 733006"/>
              <a:gd name="csY159" fmla="*/ 2046096 h 2095135"/>
              <a:gd name="csX160" fmla="*/ 342155 w 733006"/>
              <a:gd name="csY160" fmla="*/ 2046441 h 2095135"/>
              <a:gd name="csX161" fmla="*/ 378900 w 733006"/>
              <a:gd name="csY161" fmla="*/ 2007280 h 2095135"/>
              <a:gd name="csX162" fmla="*/ 310220 w 733006"/>
              <a:gd name="csY162" fmla="*/ 554288 h 2095135"/>
              <a:gd name="csX163" fmla="*/ 259136 w 733006"/>
              <a:gd name="csY163" fmla="*/ 556881 h 2095135"/>
              <a:gd name="csX164" fmla="*/ 249085 w 733006"/>
              <a:gd name="csY164" fmla="*/ 567981 h 2095135"/>
              <a:gd name="csX165" fmla="*/ 249141 w 733006"/>
              <a:gd name="csY165" fmla="*/ 605644 h 2095135"/>
              <a:gd name="csX166" fmla="*/ 262628 w 733006"/>
              <a:gd name="csY166" fmla="*/ 605627 h 2095135"/>
              <a:gd name="csX167" fmla="*/ 369608 w 733006"/>
              <a:gd name="csY167" fmla="*/ 603027 h 2095135"/>
              <a:gd name="csX168" fmla="*/ 463931 w 733006"/>
              <a:gd name="csY168" fmla="*/ 605146 h 2095135"/>
              <a:gd name="csX169" fmla="*/ 478113 w 733006"/>
              <a:gd name="csY169" fmla="*/ 595843 h 2095135"/>
              <a:gd name="csX170" fmla="*/ 478796 w 733006"/>
              <a:gd name="csY170" fmla="*/ 556832 h 2095135"/>
              <a:gd name="csX171" fmla="*/ 310220 w 733006"/>
              <a:gd name="csY171" fmla="*/ 554288 h 2095135"/>
              <a:gd name="csX172" fmla="*/ 348836 w 733006"/>
              <a:gd name="csY172" fmla="*/ 684115 h 2095135"/>
              <a:gd name="csX173" fmla="*/ 281333 w 733006"/>
              <a:gd name="csY173" fmla="*/ 683313 h 2095135"/>
              <a:gd name="csX174" fmla="*/ 212728 w 733006"/>
              <a:gd name="csY174" fmla="*/ 681931 h 2095135"/>
              <a:gd name="csX175" fmla="*/ 187283 w 733006"/>
              <a:gd name="csY175" fmla="*/ 689555 h 2095135"/>
              <a:gd name="csX176" fmla="*/ 186163 w 733006"/>
              <a:gd name="csY176" fmla="*/ 718266 h 2095135"/>
              <a:gd name="csX177" fmla="*/ 209894 w 733006"/>
              <a:gd name="csY177" fmla="*/ 726798 h 2095135"/>
              <a:gd name="csX178" fmla="*/ 334814 w 733006"/>
              <a:gd name="csY178" fmla="*/ 732494 h 2095135"/>
              <a:gd name="csX179" fmla="*/ 364856 w 733006"/>
              <a:gd name="csY179" fmla="*/ 707963 h 2095135"/>
              <a:gd name="csX180" fmla="*/ 348836 w 733006"/>
              <a:gd name="csY180" fmla="*/ 684115 h 2095135"/>
              <a:gd name="csX181" fmla="*/ 298865 w 733006"/>
              <a:gd name="csY181" fmla="*/ 621954 h 2095135"/>
              <a:gd name="csX182" fmla="*/ 251619 w 733006"/>
              <a:gd name="csY182" fmla="*/ 622133 h 2095135"/>
              <a:gd name="csX183" fmla="*/ 214459 w 733006"/>
              <a:gd name="csY183" fmla="*/ 636230 h 2095135"/>
              <a:gd name="csX184" fmla="*/ 221436 w 733006"/>
              <a:gd name="csY184" fmla="*/ 654205 h 2095135"/>
              <a:gd name="csX185" fmla="*/ 272412 w 733006"/>
              <a:gd name="csY185" fmla="*/ 657250 h 2095135"/>
              <a:gd name="csX186" fmla="*/ 349094 w 733006"/>
              <a:gd name="csY186" fmla="*/ 659282 h 2095135"/>
              <a:gd name="csX187" fmla="*/ 362996 w 733006"/>
              <a:gd name="csY187" fmla="*/ 644234 h 2095135"/>
              <a:gd name="csX188" fmla="*/ 348472 w 733006"/>
              <a:gd name="csY188" fmla="*/ 624649 h 2095135"/>
              <a:gd name="csX189" fmla="*/ 298865 w 733006"/>
              <a:gd name="csY189" fmla="*/ 621954 h 2095135"/>
              <a:gd name="csX190" fmla="*/ 227796 w 733006"/>
              <a:gd name="csY190" fmla="*/ 528000 h 2095135"/>
              <a:gd name="csX191" fmla="*/ 241009 w 733006"/>
              <a:gd name="csY191" fmla="*/ 545897 h 2095135"/>
              <a:gd name="csX192" fmla="*/ 282607 w 733006"/>
              <a:gd name="csY192" fmla="*/ 543480 h 2095135"/>
              <a:gd name="csX193" fmla="*/ 354213 w 733006"/>
              <a:gd name="csY193" fmla="*/ 543384 h 2095135"/>
              <a:gd name="csX194" fmla="*/ 365334 w 733006"/>
              <a:gd name="csY194" fmla="*/ 533397 h 2095135"/>
              <a:gd name="csX195" fmla="*/ 354531 w 733006"/>
              <a:gd name="csY195" fmla="*/ 521620 h 2095135"/>
              <a:gd name="csX196" fmla="*/ 259169 w 733006"/>
              <a:gd name="csY196" fmla="*/ 521978 h 2095135"/>
              <a:gd name="csX197" fmla="*/ 227796 w 733006"/>
              <a:gd name="csY197" fmla="*/ 528000 h 2095135"/>
              <a:gd name="csX198" fmla="*/ 508068 w 733006"/>
              <a:gd name="csY198" fmla="*/ 190710 h 2095135"/>
              <a:gd name="csX199" fmla="*/ 521293 w 733006"/>
              <a:gd name="csY199" fmla="*/ 205907 h 2095135"/>
              <a:gd name="csX200" fmla="*/ 525175 w 733006"/>
              <a:gd name="csY200" fmla="*/ 202985 h 2095135"/>
              <a:gd name="csX201" fmla="*/ 500276 w 733006"/>
              <a:gd name="csY201" fmla="*/ 160640 h 2095135"/>
              <a:gd name="csX202" fmla="*/ 497122 w 733006"/>
              <a:gd name="csY202" fmla="*/ 162007 h 2095135"/>
              <a:gd name="csX203" fmla="*/ 508068 w 733006"/>
              <a:gd name="csY203" fmla="*/ 190710 h 2095135"/>
              <a:gd name="csX204" fmla="*/ 215522 w 733006"/>
              <a:gd name="csY204" fmla="*/ 197296 h 2095135"/>
              <a:gd name="csX205" fmla="*/ 234029 w 733006"/>
              <a:gd name="csY205" fmla="*/ 162725 h 2095135"/>
              <a:gd name="csX206" fmla="*/ 229000 w 733006"/>
              <a:gd name="csY206" fmla="*/ 159902 h 2095135"/>
              <a:gd name="csX207" fmla="*/ 204824 w 733006"/>
              <a:gd name="csY207" fmla="*/ 199677 h 2095135"/>
              <a:gd name="csX208" fmla="*/ 207990 w 733006"/>
              <a:gd name="csY208" fmla="*/ 202198 h 2095135"/>
              <a:gd name="csX209" fmla="*/ 215522 w 733006"/>
              <a:gd name="csY209" fmla="*/ 197296 h 2095135"/>
              <a:gd name="csX210" fmla="*/ 484400 w 733006"/>
              <a:gd name="csY210" fmla="*/ 896678 h 2095135"/>
              <a:gd name="csX211" fmla="*/ 486181 w 733006"/>
              <a:gd name="csY211" fmla="*/ 896585 h 2095135"/>
              <a:gd name="csX212" fmla="*/ 486181 w 733006"/>
              <a:gd name="csY212" fmla="*/ 795289 h 2095135"/>
              <a:gd name="csX213" fmla="*/ 720241 w 733006"/>
              <a:gd name="csY213" fmla="*/ 2030666 h 2095135"/>
              <a:gd name="csX214" fmla="*/ 721175 w 733006"/>
              <a:gd name="csY214" fmla="*/ 2029733 h 2095135"/>
              <a:gd name="csX0" fmla="*/ 96263 w 733006"/>
              <a:gd name="csY0" fmla="*/ 2076207 h 2095135"/>
              <a:gd name="csX1" fmla="*/ 63862 w 733006"/>
              <a:gd name="csY1" fmla="*/ 2065388 h 2095135"/>
              <a:gd name="csX2" fmla="*/ 16555 w 733006"/>
              <a:gd name="csY2" fmla="*/ 2050152 h 2095135"/>
              <a:gd name="csX3" fmla="*/ 15 w 733006"/>
              <a:gd name="csY3" fmla="*/ 2023802 h 2095135"/>
              <a:gd name="csX4" fmla="*/ 18368 w 733006"/>
              <a:gd name="csY4" fmla="*/ 1940709 h 2095135"/>
              <a:gd name="csX5" fmla="*/ 22139 w 733006"/>
              <a:gd name="csY5" fmla="*/ 1907268 h 2095135"/>
              <a:gd name="csX6" fmla="*/ 57941 w 733006"/>
              <a:gd name="csY6" fmla="*/ 1774163 h 2095135"/>
              <a:gd name="csX7" fmla="*/ 102478 w 733006"/>
              <a:gd name="csY7" fmla="*/ 1720275 h 2095135"/>
              <a:gd name="csX8" fmla="*/ 108579 w 733006"/>
              <a:gd name="csY8" fmla="*/ 1650967 h 2095135"/>
              <a:gd name="csX9" fmla="*/ 115628 w 733006"/>
              <a:gd name="csY9" fmla="*/ 1625405 h 2095135"/>
              <a:gd name="csX10" fmla="*/ 156323 w 733006"/>
              <a:gd name="csY10" fmla="*/ 1560181 h 2095135"/>
              <a:gd name="csX11" fmla="*/ 199424 w 733006"/>
              <a:gd name="csY11" fmla="*/ 1364729 h 2095135"/>
              <a:gd name="csX12" fmla="*/ 216779 w 733006"/>
              <a:gd name="csY12" fmla="*/ 1219490 h 2095135"/>
              <a:gd name="csX13" fmla="*/ 229755 w 733006"/>
              <a:gd name="csY13" fmla="*/ 1099357 h 2095135"/>
              <a:gd name="csX14" fmla="*/ 232707 w 733006"/>
              <a:gd name="csY14" fmla="*/ 1056423 h 2095135"/>
              <a:gd name="csX15" fmla="*/ 235622 w 733006"/>
              <a:gd name="csY15" fmla="*/ 952675 h 2095135"/>
              <a:gd name="csX16" fmla="*/ 235445 w 733006"/>
              <a:gd name="csY16" fmla="*/ 780278 h 2095135"/>
              <a:gd name="csX17" fmla="*/ 214544 w 733006"/>
              <a:gd name="csY17" fmla="*/ 756435 h 2095135"/>
              <a:gd name="csX18" fmla="*/ 172569 w 733006"/>
              <a:gd name="csY18" fmla="*/ 742582 h 2095135"/>
              <a:gd name="csX19" fmla="*/ 168784 w 733006"/>
              <a:gd name="csY19" fmla="*/ 669116 h 2095135"/>
              <a:gd name="csX20" fmla="*/ 191657 w 733006"/>
              <a:gd name="csY20" fmla="*/ 630765 h 2095135"/>
              <a:gd name="csX21" fmla="*/ 208150 w 733006"/>
              <a:gd name="csY21" fmla="*/ 609084 h 2095135"/>
              <a:gd name="csX22" fmla="*/ 216756 w 733006"/>
              <a:gd name="csY22" fmla="*/ 558673 h 2095135"/>
              <a:gd name="csX23" fmla="*/ 209092 w 733006"/>
              <a:gd name="csY23" fmla="*/ 521540 h 2095135"/>
              <a:gd name="csX24" fmla="*/ 204683 w 733006"/>
              <a:gd name="csY24" fmla="*/ 474024 h 2095135"/>
              <a:gd name="csX25" fmla="*/ 115483 w 733006"/>
              <a:gd name="csY25" fmla="*/ 213499 h 2095135"/>
              <a:gd name="csX26" fmla="*/ 102909 w 733006"/>
              <a:gd name="csY26" fmla="*/ 182297 h 2095135"/>
              <a:gd name="csX27" fmla="*/ 104315 w 733006"/>
              <a:gd name="csY27" fmla="*/ 163968 h 2095135"/>
              <a:gd name="csX28" fmla="*/ 122444 w 733006"/>
              <a:gd name="csY28" fmla="*/ 160805 h 2095135"/>
              <a:gd name="csX29" fmla="*/ 170283 w 733006"/>
              <a:gd name="csY29" fmla="*/ 187783 h 2095135"/>
              <a:gd name="csX30" fmla="*/ 180938 w 733006"/>
              <a:gd name="csY30" fmla="*/ 195322 h 2095135"/>
              <a:gd name="csX31" fmla="*/ 221419 w 733006"/>
              <a:gd name="csY31" fmla="*/ 138058 h 2095135"/>
              <a:gd name="csX32" fmla="*/ 294099 w 733006"/>
              <a:gd name="csY32" fmla="*/ 91372 h 2095135"/>
              <a:gd name="csX33" fmla="*/ 302307 w 733006"/>
              <a:gd name="csY33" fmla="*/ 76560 h 2095135"/>
              <a:gd name="csX34" fmla="*/ 320284 w 733006"/>
              <a:gd name="csY34" fmla="*/ 8414 h 2095135"/>
              <a:gd name="csX35" fmla="*/ 324784 w 733006"/>
              <a:gd name="csY35" fmla="*/ 946 h 2095135"/>
              <a:gd name="csX36" fmla="*/ 399212 w 733006"/>
              <a:gd name="csY36" fmla="*/ 0 h 2095135"/>
              <a:gd name="csX37" fmla="*/ 425980 w 733006"/>
              <a:gd name="csY37" fmla="*/ 78301 h 2095135"/>
              <a:gd name="csX38" fmla="*/ 431861 w 733006"/>
              <a:gd name="csY38" fmla="*/ 90312 h 2095135"/>
              <a:gd name="csX39" fmla="*/ 540349 w 733006"/>
              <a:gd name="csY39" fmla="*/ 187946 h 2095135"/>
              <a:gd name="csX40" fmla="*/ 545555 w 733006"/>
              <a:gd name="csY40" fmla="*/ 197828 h 2095135"/>
              <a:gd name="csX41" fmla="*/ 587318 w 733006"/>
              <a:gd name="csY41" fmla="*/ 171260 h 2095135"/>
              <a:gd name="csX42" fmla="*/ 601503 w 733006"/>
              <a:gd name="csY42" fmla="*/ 163707 h 2095135"/>
              <a:gd name="csX43" fmla="*/ 625254 w 733006"/>
              <a:gd name="csY43" fmla="*/ 163123 h 2095135"/>
              <a:gd name="csX44" fmla="*/ 625468 w 733006"/>
              <a:gd name="csY44" fmla="*/ 187579 h 2095135"/>
              <a:gd name="csX45" fmla="*/ 597543 w 733006"/>
              <a:gd name="csY45" fmla="*/ 251872 h 2095135"/>
              <a:gd name="csX46" fmla="*/ 531831 w 733006"/>
              <a:gd name="csY46" fmla="*/ 442689 h 2095135"/>
              <a:gd name="csX47" fmla="*/ 519888 w 733006"/>
              <a:gd name="csY47" fmla="*/ 501474 h 2095135"/>
              <a:gd name="csX48" fmla="*/ 522506 w 733006"/>
              <a:gd name="csY48" fmla="*/ 525086 h 2095135"/>
              <a:gd name="csX49" fmla="*/ 516235 w 733006"/>
              <a:gd name="csY49" fmla="*/ 555946 h 2095135"/>
              <a:gd name="csX50" fmla="*/ 521332 w 733006"/>
              <a:gd name="csY50" fmla="*/ 610676 h 2095135"/>
              <a:gd name="csX51" fmla="*/ 541382 w 733006"/>
              <a:gd name="csY51" fmla="*/ 642597 h 2095135"/>
              <a:gd name="csX52" fmla="*/ 557031 w 733006"/>
              <a:gd name="csY52" fmla="*/ 667949 h 2095135"/>
              <a:gd name="csX53" fmla="*/ 553994 w 733006"/>
              <a:gd name="csY53" fmla="*/ 744146 h 2095135"/>
              <a:gd name="csX54" fmla="*/ 508215 w 733006"/>
              <a:gd name="csY54" fmla="*/ 758841 h 2095135"/>
              <a:gd name="csX55" fmla="*/ 497442 w 733006"/>
              <a:gd name="csY55" fmla="*/ 771256 h 2095135"/>
              <a:gd name="csX56" fmla="*/ 493005 w 733006"/>
              <a:gd name="csY56" fmla="*/ 922055 h 2095135"/>
              <a:gd name="csX57" fmla="*/ 502900 w 733006"/>
              <a:gd name="csY57" fmla="*/ 1114191 h 2095135"/>
              <a:gd name="csX58" fmla="*/ 508800 w 733006"/>
              <a:gd name="csY58" fmla="*/ 1205474 h 2095135"/>
              <a:gd name="csX59" fmla="*/ 522952 w 733006"/>
              <a:gd name="csY59" fmla="*/ 1320065 h 2095135"/>
              <a:gd name="csX60" fmla="*/ 554682 w 733006"/>
              <a:gd name="csY60" fmla="*/ 1501203 h 2095135"/>
              <a:gd name="csX61" fmla="*/ 576958 w 733006"/>
              <a:gd name="csY61" fmla="*/ 1593963 h 2095135"/>
              <a:gd name="csX62" fmla="*/ 595349 w 733006"/>
              <a:gd name="csY62" fmla="*/ 1613498 h 2095135"/>
              <a:gd name="csX63" fmla="*/ 613936 w 733006"/>
              <a:gd name="csY63" fmla="*/ 1624058 h 2095135"/>
              <a:gd name="csX64" fmla="*/ 620938 w 733006"/>
              <a:gd name="csY64" fmla="*/ 1652071 h 2095135"/>
              <a:gd name="csX65" fmla="*/ 630805 w 733006"/>
              <a:gd name="csY65" fmla="*/ 1721702 h 2095135"/>
              <a:gd name="csX66" fmla="*/ 685830 w 733006"/>
              <a:gd name="csY66" fmla="*/ 1792915 h 2095135"/>
              <a:gd name="csX67" fmla="*/ 708904 w 733006"/>
              <a:gd name="csY67" fmla="*/ 1890290 h 2095135"/>
              <a:gd name="csX68" fmla="*/ 716580 w 733006"/>
              <a:gd name="csY68" fmla="*/ 1951136 h 2095135"/>
              <a:gd name="csX69" fmla="*/ 729397 w 733006"/>
              <a:gd name="csY69" fmla="*/ 2030261 h 2095135"/>
              <a:gd name="csX70" fmla="*/ 714212 w 733006"/>
              <a:gd name="csY70" fmla="*/ 2049544 h 2095135"/>
              <a:gd name="csX71" fmla="*/ 96263 w 733006"/>
              <a:gd name="csY71" fmla="*/ 2076207 h 2095135"/>
              <a:gd name="csX72" fmla="*/ 489970 w 733006"/>
              <a:gd name="csY72" fmla="*/ 152208 h 2095135"/>
              <a:gd name="csX73" fmla="*/ 490754 w 733006"/>
              <a:gd name="csY73" fmla="*/ 152592 h 2095135"/>
              <a:gd name="csX74" fmla="*/ 489489 w 733006"/>
              <a:gd name="csY74" fmla="*/ 149547 h 2095135"/>
              <a:gd name="csX75" fmla="*/ 393621 w 733006"/>
              <a:gd name="csY75" fmla="*/ 99259 h 2095135"/>
              <a:gd name="csX76" fmla="*/ 390419 w 733006"/>
              <a:gd name="csY76" fmla="*/ 18568 h 2095135"/>
              <a:gd name="csX77" fmla="*/ 334131 w 733006"/>
              <a:gd name="csY77" fmla="*/ 24327 h 2095135"/>
              <a:gd name="csX78" fmla="*/ 344678 w 733006"/>
              <a:gd name="csY78" fmla="*/ 101259 h 2095135"/>
              <a:gd name="csX79" fmla="*/ 298854 w 733006"/>
              <a:gd name="csY79" fmla="*/ 114003 h 2095135"/>
              <a:gd name="csX80" fmla="*/ 237456 w 733006"/>
              <a:gd name="csY80" fmla="*/ 154340 h 2095135"/>
              <a:gd name="csX81" fmla="*/ 240382 w 733006"/>
              <a:gd name="csY81" fmla="*/ 154035 h 2095135"/>
              <a:gd name="csX82" fmla="*/ 262731 w 733006"/>
              <a:gd name="csY82" fmla="*/ 170426 h 2095135"/>
              <a:gd name="csX83" fmla="*/ 279169 w 733006"/>
              <a:gd name="csY83" fmla="*/ 193173 h 2095135"/>
              <a:gd name="csX84" fmla="*/ 327717 w 733006"/>
              <a:gd name="csY84" fmla="*/ 188556 h 2095135"/>
              <a:gd name="csX85" fmla="*/ 348052 w 733006"/>
              <a:gd name="csY85" fmla="*/ 156919 h 2095135"/>
              <a:gd name="csX86" fmla="*/ 380330 w 733006"/>
              <a:gd name="csY86" fmla="*/ 156483 h 2095135"/>
              <a:gd name="csX87" fmla="*/ 408490 w 733006"/>
              <a:gd name="csY87" fmla="*/ 195400 h 2095135"/>
              <a:gd name="csX88" fmla="*/ 445346 w 733006"/>
              <a:gd name="csY88" fmla="*/ 197582 h 2095135"/>
              <a:gd name="csX89" fmla="*/ 464798 w 733006"/>
              <a:gd name="csY89" fmla="*/ 174107 h 2095135"/>
              <a:gd name="csX90" fmla="*/ 489970 w 733006"/>
              <a:gd name="csY90" fmla="*/ 152208 h 2095135"/>
              <a:gd name="csX91" fmla="*/ 140694 w 733006"/>
              <a:gd name="csY91" fmla="*/ 201837 h 2095135"/>
              <a:gd name="csX92" fmla="*/ 139834 w 733006"/>
              <a:gd name="csY92" fmla="*/ 201482 h 2095135"/>
              <a:gd name="csX93" fmla="*/ 140812 w 733006"/>
              <a:gd name="csY93" fmla="*/ 204941 h 2095135"/>
              <a:gd name="csX94" fmla="*/ 144631 w 733006"/>
              <a:gd name="csY94" fmla="*/ 217811 h 2095135"/>
              <a:gd name="csX95" fmla="*/ 201241 w 733006"/>
              <a:gd name="csY95" fmla="*/ 373387 h 2095135"/>
              <a:gd name="csX96" fmla="*/ 235971 w 733006"/>
              <a:gd name="csY96" fmla="*/ 504451 h 2095135"/>
              <a:gd name="csX97" fmla="*/ 247475 w 733006"/>
              <a:gd name="csY97" fmla="*/ 513241 h 2095135"/>
              <a:gd name="csX98" fmla="*/ 289066 w 733006"/>
              <a:gd name="csY98" fmla="*/ 511170 h 2095135"/>
              <a:gd name="csX99" fmla="*/ 378229 w 733006"/>
              <a:gd name="csY99" fmla="*/ 511084 h 2095135"/>
              <a:gd name="csX100" fmla="*/ 470850 w 733006"/>
              <a:gd name="csY100" fmla="*/ 516341 h 2095135"/>
              <a:gd name="csX101" fmla="*/ 492933 w 733006"/>
              <a:gd name="csY101" fmla="*/ 497969 h 2095135"/>
              <a:gd name="csX102" fmla="*/ 557617 w 733006"/>
              <a:gd name="csY102" fmla="*/ 280398 h 2095135"/>
              <a:gd name="csX103" fmla="*/ 588788 w 733006"/>
              <a:gd name="csY103" fmla="*/ 200385 h 2095135"/>
              <a:gd name="csX104" fmla="*/ 530958 w 733006"/>
              <a:gd name="csY104" fmla="*/ 232968 h 2095135"/>
              <a:gd name="csX105" fmla="*/ 483823 w 733006"/>
              <a:gd name="csY105" fmla="*/ 190364 h 2095135"/>
              <a:gd name="csX106" fmla="*/ 466649 w 733006"/>
              <a:gd name="csY106" fmla="*/ 209061 h 2095135"/>
              <a:gd name="csX107" fmla="*/ 399941 w 733006"/>
              <a:gd name="csY107" fmla="*/ 216988 h 2095135"/>
              <a:gd name="csX108" fmla="*/ 363018 w 733006"/>
              <a:gd name="csY108" fmla="*/ 179615 h 2095135"/>
              <a:gd name="csX109" fmla="*/ 308839 w 733006"/>
              <a:gd name="csY109" fmla="*/ 227846 h 2095135"/>
              <a:gd name="csX110" fmla="*/ 245077 w 733006"/>
              <a:gd name="csY110" fmla="*/ 192402 h 2095135"/>
              <a:gd name="csX111" fmla="*/ 242829 w 733006"/>
              <a:gd name="csY111" fmla="*/ 198815 h 2095135"/>
              <a:gd name="csX112" fmla="*/ 168452 w 733006"/>
              <a:gd name="csY112" fmla="*/ 219348 h 2095135"/>
              <a:gd name="csX113" fmla="*/ 140694 w 733006"/>
              <a:gd name="csY113" fmla="*/ 201837 h 2095135"/>
              <a:gd name="csX114" fmla="*/ 259999 w 733006"/>
              <a:gd name="csY114" fmla="*/ 966699 h 2095135"/>
              <a:gd name="csX115" fmla="*/ 257072 w 733006"/>
              <a:gd name="csY115" fmla="*/ 1070424 h 2095135"/>
              <a:gd name="csX116" fmla="*/ 251372 w 733006"/>
              <a:gd name="csY116" fmla="*/ 1157618 h 2095135"/>
              <a:gd name="csX117" fmla="*/ 232677 w 733006"/>
              <a:gd name="csY117" fmla="*/ 1320279 h 2095135"/>
              <a:gd name="csX118" fmla="*/ 209182 w 733006"/>
              <a:gd name="csY118" fmla="*/ 1468667 h 2095135"/>
              <a:gd name="csX119" fmla="*/ 175302 w 733006"/>
              <a:gd name="csY119" fmla="*/ 1616623 h 2095135"/>
              <a:gd name="csX120" fmla="*/ 182769 w 733006"/>
              <a:gd name="csY120" fmla="*/ 1629786 h 2095135"/>
              <a:gd name="csX121" fmla="*/ 212156 w 733006"/>
              <a:gd name="csY121" fmla="*/ 1632656 h 2095135"/>
              <a:gd name="csX122" fmla="*/ 351295 w 733006"/>
              <a:gd name="csY122" fmla="*/ 1632801 h 2095135"/>
              <a:gd name="csX123" fmla="*/ 376150 w 733006"/>
              <a:gd name="csY123" fmla="*/ 1608307 h 2095135"/>
              <a:gd name="csX124" fmla="*/ 373450 w 733006"/>
              <a:gd name="csY124" fmla="*/ 1457291 h 2095135"/>
              <a:gd name="csX125" fmla="*/ 370936 w 733006"/>
              <a:gd name="csY125" fmla="*/ 1342736 h 2095135"/>
              <a:gd name="csX126" fmla="*/ 368328 w 733006"/>
              <a:gd name="csY126" fmla="*/ 1203878 h 2095135"/>
              <a:gd name="csX127" fmla="*/ 367836 w 733006"/>
              <a:gd name="csY127" fmla="*/ 813478 h 2095135"/>
              <a:gd name="csX128" fmla="*/ 365240 w 733006"/>
              <a:gd name="csY128" fmla="*/ 773243 h 2095135"/>
              <a:gd name="csX129" fmla="*/ 353084 w 733006"/>
              <a:gd name="csY129" fmla="*/ 762083 h 2095135"/>
              <a:gd name="csX130" fmla="*/ 280966 w 733006"/>
              <a:gd name="csY130" fmla="*/ 759855 h 2095135"/>
              <a:gd name="csX131" fmla="*/ 259965 w 733006"/>
              <a:gd name="csY131" fmla="*/ 779553 h 2095135"/>
              <a:gd name="csX132" fmla="*/ 262341 w 733006"/>
              <a:gd name="csY132" fmla="*/ 856275 h 2095135"/>
              <a:gd name="csX133" fmla="*/ 259999 w 733006"/>
              <a:gd name="csY133" fmla="*/ 966699 h 2095135"/>
              <a:gd name="csX134" fmla="*/ 55556 w 733006"/>
              <a:gd name="csY134" fmla="*/ 1835827 h 2095135"/>
              <a:gd name="csX135" fmla="*/ 49393 w 733006"/>
              <a:gd name="csY135" fmla="*/ 1878155 h 2095135"/>
              <a:gd name="csX136" fmla="*/ 73949 w 733006"/>
              <a:gd name="csY136" fmla="*/ 1905781 h 2095135"/>
              <a:gd name="csX137" fmla="*/ 110073 w 733006"/>
              <a:gd name="csY137" fmla="*/ 1909068 h 2095135"/>
              <a:gd name="csX138" fmla="*/ 224745 w 733006"/>
              <a:gd name="csY138" fmla="*/ 1921652 h 2095135"/>
              <a:gd name="csX139" fmla="*/ 347327 w 733006"/>
              <a:gd name="csY139" fmla="*/ 1924778 h 2095135"/>
              <a:gd name="csX140" fmla="*/ 363345 w 733006"/>
              <a:gd name="csY140" fmla="*/ 1923293 h 2095135"/>
              <a:gd name="csX141" fmla="*/ 373787 w 733006"/>
              <a:gd name="csY141" fmla="*/ 1911200 h 2095135"/>
              <a:gd name="csX142" fmla="*/ 376623 w 733006"/>
              <a:gd name="csY142" fmla="*/ 1696741 h 2095135"/>
              <a:gd name="csX143" fmla="*/ 360437 w 733006"/>
              <a:gd name="csY143" fmla="*/ 1681289 h 2095135"/>
              <a:gd name="csX144" fmla="*/ 263503 w 733006"/>
              <a:gd name="csY144" fmla="*/ 1678179 h 2095135"/>
              <a:gd name="csX145" fmla="*/ 160381 w 733006"/>
              <a:gd name="csY145" fmla="*/ 1670405 h 2095135"/>
              <a:gd name="csX146" fmla="*/ 143321 w 733006"/>
              <a:gd name="csY146" fmla="*/ 1685538 h 2095135"/>
              <a:gd name="csX147" fmla="*/ 124769 w 733006"/>
              <a:gd name="csY147" fmla="*/ 1738195 h 2095135"/>
              <a:gd name="csX148" fmla="*/ 90593 w 733006"/>
              <a:gd name="csY148" fmla="*/ 1779570 h 2095135"/>
              <a:gd name="csX149" fmla="*/ 55556 w 733006"/>
              <a:gd name="csY149" fmla="*/ 1835827 h 2095135"/>
              <a:gd name="csX150" fmla="*/ 378900 w 733006"/>
              <a:gd name="csY150" fmla="*/ 2007280 h 2095135"/>
              <a:gd name="csX151" fmla="*/ 378887 w 733006"/>
              <a:gd name="csY151" fmla="*/ 1995127 h 2095135"/>
              <a:gd name="csX152" fmla="*/ 359084 w 733006"/>
              <a:gd name="csY152" fmla="*/ 1975964 h 2095135"/>
              <a:gd name="csX153" fmla="*/ 247288 w 733006"/>
              <a:gd name="csY153" fmla="*/ 1973305 h 2095135"/>
              <a:gd name="csX154" fmla="*/ 201692 w 733006"/>
              <a:gd name="csY154" fmla="*/ 1970275 h 2095135"/>
              <a:gd name="csX155" fmla="*/ 57962 w 733006"/>
              <a:gd name="csY155" fmla="*/ 1952648 h 2095135"/>
              <a:gd name="csX156" fmla="*/ 39194 w 733006"/>
              <a:gd name="csY156" fmla="*/ 1963552 h 2095135"/>
              <a:gd name="csX157" fmla="*/ 30066 w 733006"/>
              <a:gd name="csY157" fmla="*/ 2006631 h 2095135"/>
              <a:gd name="csX158" fmla="*/ 40232 w 733006"/>
              <a:gd name="csY158" fmla="*/ 2019486 h 2095135"/>
              <a:gd name="csX159" fmla="*/ 238186 w 733006"/>
              <a:gd name="csY159" fmla="*/ 2046096 h 2095135"/>
              <a:gd name="csX160" fmla="*/ 342155 w 733006"/>
              <a:gd name="csY160" fmla="*/ 2046441 h 2095135"/>
              <a:gd name="csX161" fmla="*/ 378900 w 733006"/>
              <a:gd name="csY161" fmla="*/ 2007280 h 2095135"/>
              <a:gd name="csX162" fmla="*/ 310220 w 733006"/>
              <a:gd name="csY162" fmla="*/ 554288 h 2095135"/>
              <a:gd name="csX163" fmla="*/ 259136 w 733006"/>
              <a:gd name="csY163" fmla="*/ 556881 h 2095135"/>
              <a:gd name="csX164" fmla="*/ 249085 w 733006"/>
              <a:gd name="csY164" fmla="*/ 567981 h 2095135"/>
              <a:gd name="csX165" fmla="*/ 249141 w 733006"/>
              <a:gd name="csY165" fmla="*/ 605644 h 2095135"/>
              <a:gd name="csX166" fmla="*/ 262628 w 733006"/>
              <a:gd name="csY166" fmla="*/ 605627 h 2095135"/>
              <a:gd name="csX167" fmla="*/ 369608 w 733006"/>
              <a:gd name="csY167" fmla="*/ 603027 h 2095135"/>
              <a:gd name="csX168" fmla="*/ 463931 w 733006"/>
              <a:gd name="csY168" fmla="*/ 605146 h 2095135"/>
              <a:gd name="csX169" fmla="*/ 478113 w 733006"/>
              <a:gd name="csY169" fmla="*/ 595843 h 2095135"/>
              <a:gd name="csX170" fmla="*/ 478796 w 733006"/>
              <a:gd name="csY170" fmla="*/ 556832 h 2095135"/>
              <a:gd name="csX171" fmla="*/ 310220 w 733006"/>
              <a:gd name="csY171" fmla="*/ 554288 h 2095135"/>
              <a:gd name="csX172" fmla="*/ 348836 w 733006"/>
              <a:gd name="csY172" fmla="*/ 684115 h 2095135"/>
              <a:gd name="csX173" fmla="*/ 281333 w 733006"/>
              <a:gd name="csY173" fmla="*/ 683313 h 2095135"/>
              <a:gd name="csX174" fmla="*/ 212728 w 733006"/>
              <a:gd name="csY174" fmla="*/ 681931 h 2095135"/>
              <a:gd name="csX175" fmla="*/ 187283 w 733006"/>
              <a:gd name="csY175" fmla="*/ 689555 h 2095135"/>
              <a:gd name="csX176" fmla="*/ 186163 w 733006"/>
              <a:gd name="csY176" fmla="*/ 718266 h 2095135"/>
              <a:gd name="csX177" fmla="*/ 209894 w 733006"/>
              <a:gd name="csY177" fmla="*/ 726798 h 2095135"/>
              <a:gd name="csX178" fmla="*/ 334814 w 733006"/>
              <a:gd name="csY178" fmla="*/ 732494 h 2095135"/>
              <a:gd name="csX179" fmla="*/ 364856 w 733006"/>
              <a:gd name="csY179" fmla="*/ 707963 h 2095135"/>
              <a:gd name="csX180" fmla="*/ 348836 w 733006"/>
              <a:gd name="csY180" fmla="*/ 684115 h 2095135"/>
              <a:gd name="csX181" fmla="*/ 298865 w 733006"/>
              <a:gd name="csY181" fmla="*/ 621954 h 2095135"/>
              <a:gd name="csX182" fmla="*/ 251619 w 733006"/>
              <a:gd name="csY182" fmla="*/ 622133 h 2095135"/>
              <a:gd name="csX183" fmla="*/ 214459 w 733006"/>
              <a:gd name="csY183" fmla="*/ 636230 h 2095135"/>
              <a:gd name="csX184" fmla="*/ 221436 w 733006"/>
              <a:gd name="csY184" fmla="*/ 654205 h 2095135"/>
              <a:gd name="csX185" fmla="*/ 272412 w 733006"/>
              <a:gd name="csY185" fmla="*/ 657250 h 2095135"/>
              <a:gd name="csX186" fmla="*/ 349094 w 733006"/>
              <a:gd name="csY186" fmla="*/ 659282 h 2095135"/>
              <a:gd name="csX187" fmla="*/ 362996 w 733006"/>
              <a:gd name="csY187" fmla="*/ 644234 h 2095135"/>
              <a:gd name="csX188" fmla="*/ 348472 w 733006"/>
              <a:gd name="csY188" fmla="*/ 624649 h 2095135"/>
              <a:gd name="csX189" fmla="*/ 298865 w 733006"/>
              <a:gd name="csY189" fmla="*/ 621954 h 2095135"/>
              <a:gd name="csX190" fmla="*/ 227796 w 733006"/>
              <a:gd name="csY190" fmla="*/ 528000 h 2095135"/>
              <a:gd name="csX191" fmla="*/ 241009 w 733006"/>
              <a:gd name="csY191" fmla="*/ 545897 h 2095135"/>
              <a:gd name="csX192" fmla="*/ 282607 w 733006"/>
              <a:gd name="csY192" fmla="*/ 543480 h 2095135"/>
              <a:gd name="csX193" fmla="*/ 354213 w 733006"/>
              <a:gd name="csY193" fmla="*/ 543384 h 2095135"/>
              <a:gd name="csX194" fmla="*/ 365334 w 733006"/>
              <a:gd name="csY194" fmla="*/ 533397 h 2095135"/>
              <a:gd name="csX195" fmla="*/ 354531 w 733006"/>
              <a:gd name="csY195" fmla="*/ 521620 h 2095135"/>
              <a:gd name="csX196" fmla="*/ 259169 w 733006"/>
              <a:gd name="csY196" fmla="*/ 521978 h 2095135"/>
              <a:gd name="csX197" fmla="*/ 227796 w 733006"/>
              <a:gd name="csY197" fmla="*/ 528000 h 2095135"/>
              <a:gd name="csX198" fmla="*/ 508068 w 733006"/>
              <a:gd name="csY198" fmla="*/ 190710 h 2095135"/>
              <a:gd name="csX199" fmla="*/ 521293 w 733006"/>
              <a:gd name="csY199" fmla="*/ 205907 h 2095135"/>
              <a:gd name="csX200" fmla="*/ 525175 w 733006"/>
              <a:gd name="csY200" fmla="*/ 202985 h 2095135"/>
              <a:gd name="csX201" fmla="*/ 500276 w 733006"/>
              <a:gd name="csY201" fmla="*/ 160640 h 2095135"/>
              <a:gd name="csX202" fmla="*/ 497122 w 733006"/>
              <a:gd name="csY202" fmla="*/ 162007 h 2095135"/>
              <a:gd name="csX203" fmla="*/ 508068 w 733006"/>
              <a:gd name="csY203" fmla="*/ 190710 h 2095135"/>
              <a:gd name="csX204" fmla="*/ 215522 w 733006"/>
              <a:gd name="csY204" fmla="*/ 197296 h 2095135"/>
              <a:gd name="csX205" fmla="*/ 234029 w 733006"/>
              <a:gd name="csY205" fmla="*/ 162725 h 2095135"/>
              <a:gd name="csX206" fmla="*/ 229000 w 733006"/>
              <a:gd name="csY206" fmla="*/ 159902 h 2095135"/>
              <a:gd name="csX207" fmla="*/ 204824 w 733006"/>
              <a:gd name="csY207" fmla="*/ 199677 h 2095135"/>
              <a:gd name="csX208" fmla="*/ 207990 w 733006"/>
              <a:gd name="csY208" fmla="*/ 202198 h 2095135"/>
              <a:gd name="csX209" fmla="*/ 215522 w 733006"/>
              <a:gd name="csY209" fmla="*/ 197296 h 2095135"/>
              <a:gd name="csX210" fmla="*/ 484400 w 733006"/>
              <a:gd name="csY210" fmla="*/ 896678 h 2095135"/>
              <a:gd name="csX211" fmla="*/ 486181 w 733006"/>
              <a:gd name="csY211" fmla="*/ 896585 h 2095135"/>
              <a:gd name="csX212" fmla="*/ 486181 w 733006"/>
              <a:gd name="csY212" fmla="*/ 795289 h 2095135"/>
              <a:gd name="csX0" fmla="*/ 96263 w 733006"/>
              <a:gd name="csY0" fmla="*/ 2076207 h 2099709"/>
              <a:gd name="csX1" fmla="*/ 63862 w 733006"/>
              <a:gd name="csY1" fmla="*/ 2065388 h 2099709"/>
              <a:gd name="csX2" fmla="*/ 16555 w 733006"/>
              <a:gd name="csY2" fmla="*/ 2050152 h 2099709"/>
              <a:gd name="csX3" fmla="*/ 15 w 733006"/>
              <a:gd name="csY3" fmla="*/ 2023802 h 2099709"/>
              <a:gd name="csX4" fmla="*/ 18368 w 733006"/>
              <a:gd name="csY4" fmla="*/ 1940709 h 2099709"/>
              <a:gd name="csX5" fmla="*/ 22139 w 733006"/>
              <a:gd name="csY5" fmla="*/ 1907268 h 2099709"/>
              <a:gd name="csX6" fmla="*/ 57941 w 733006"/>
              <a:gd name="csY6" fmla="*/ 1774163 h 2099709"/>
              <a:gd name="csX7" fmla="*/ 102478 w 733006"/>
              <a:gd name="csY7" fmla="*/ 1720275 h 2099709"/>
              <a:gd name="csX8" fmla="*/ 108579 w 733006"/>
              <a:gd name="csY8" fmla="*/ 1650967 h 2099709"/>
              <a:gd name="csX9" fmla="*/ 115628 w 733006"/>
              <a:gd name="csY9" fmla="*/ 1625405 h 2099709"/>
              <a:gd name="csX10" fmla="*/ 156323 w 733006"/>
              <a:gd name="csY10" fmla="*/ 1560181 h 2099709"/>
              <a:gd name="csX11" fmla="*/ 199424 w 733006"/>
              <a:gd name="csY11" fmla="*/ 1364729 h 2099709"/>
              <a:gd name="csX12" fmla="*/ 216779 w 733006"/>
              <a:gd name="csY12" fmla="*/ 1219490 h 2099709"/>
              <a:gd name="csX13" fmla="*/ 229755 w 733006"/>
              <a:gd name="csY13" fmla="*/ 1099357 h 2099709"/>
              <a:gd name="csX14" fmla="*/ 232707 w 733006"/>
              <a:gd name="csY14" fmla="*/ 1056423 h 2099709"/>
              <a:gd name="csX15" fmla="*/ 235622 w 733006"/>
              <a:gd name="csY15" fmla="*/ 952675 h 2099709"/>
              <a:gd name="csX16" fmla="*/ 235445 w 733006"/>
              <a:gd name="csY16" fmla="*/ 780278 h 2099709"/>
              <a:gd name="csX17" fmla="*/ 214544 w 733006"/>
              <a:gd name="csY17" fmla="*/ 756435 h 2099709"/>
              <a:gd name="csX18" fmla="*/ 172569 w 733006"/>
              <a:gd name="csY18" fmla="*/ 742582 h 2099709"/>
              <a:gd name="csX19" fmla="*/ 168784 w 733006"/>
              <a:gd name="csY19" fmla="*/ 669116 h 2099709"/>
              <a:gd name="csX20" fmla="*/ 191657 w 733006"/>
              <a:gd name="csY20" fmla="*/ 630765 h 2099709"/>
              <a:gd name="csX21" fmla="*/ 208150 w 733006"/>
              <a:gd name="csY21" fmla="*/ 609084 h 2099709"/>
              <a:gd name="csX22" fmla="*/ 216756 w 733006"/>
              <a:gd name="csY22" fmla="*/ 558673 h 2099709"/>
              <a:gd name="csX23" fmla="*/ 209092 w 733006"/>
              <a:gd name="csY23" fmla="*/ 521540 h 2099709"/>
              <a:gd name="csX24" fmla="*/ 204683 w 733006"/>
              <a:gd name="csY24" fmla="*/ 474024 h 2099709"/>
              <a:gd name="csX25" fmla="*/ 115483 w 733006"/>
              <a:gd name="csY25" fmla="*/ 213499 h 2099709"/>
              <a:gd name="csX26" fmla="*/ 102909 w 733006"/>
              <a:gd name="csY26" fmla="*/ 182297 h 2099709"/>
              <a:gd name="csX27" fmla="*/ 104315 w 733006"/>
              <a:gd name="csY27" fmla="*/ 163968 h 2099709"/>
              <a:gd name="csX28" fmla="*/ 122444 w 733006"/>
              <a:gd name="csY28" fmla="*/ 160805 h 2099709"/>
              <a:gd name="csX29" fmla="*/ 170283 w 733006"/>
              <a:gd name="csY29" fmla="*/ 187783 h 2099709"/>
              <a:gd name="csX30" fmla="*/ 180938 w 733006"/>
              <a:gd name="csY30" fmla="*/ 195322 h 2099709"/>
              <a:gd name="csX31" fmla="*/ 221419 w 733006"/>
              <a:gd name="csY31" fmla="*/ 138058 h 2099709"/>
              <a:gd name="csX32" fmla="*/ 294099 w 733006"/>
              <a:gd name="csY32" fmla="*/ 91372 h 2099709"/>
              <a:gd name="csX33" fmla="*/ 302307 w 733006"/>
              <a:gd name="csY33" fmla="*/ 76560 h 2099709"/>
              <a:gd name="csX34" fmla="*/ 320284 w 733006"/>
              <a:gd name="csY34" fmla="*/ 8414 h 2099709"/>
              <a:gd name="csX35" fmla="*/ 324784 w 733006"/>
              <a:gd name="csY35" fmla="*/ 946 h 2099709"/>
              <a:gd name="csX36" fmla="*/ 399212 w 733006"/>
              <a:gd name="csY36" fmla="*/ 0 h 2099709"/>
              <a:gd name="csX37" fmla="*/ 425980 w 733006"/>
              <a:gd name="csY37" fmla="*/ 78301 h 2099709"/>
              <a:gd name="csX38" fmla="*/ 431861 w 733006"/>
              <a:gd name="csY38" fmla="*/ 90312 h 2099709"/>
              <a:gd name="csX39" fmla="*/ 540349 w 733006"/>
              <a:gd name="csY39" fmla="*/ 187946 h 2099709"/>
              <a:gd name="csX40" fmla="*/ 545555 w 733006"/>
              <a:gd name="csY40" fmla="*/ 197828 h 2099709"/>
              <a:gd name="csX41" fmla="*/ 587318 w 733006"/>
              <a:gd name="csY41" fmla="*/ 171260 h 2099709"/>
              <a:gd name="csX42" fmla="*/ 601503 w 733006"/>
              <a:gd name="csY42" fmla="*/ 163707 h 2099709"/>
              <a:gd name="csX43" fmla="*/ 625254 w 733006"/>
              <a:gd name="csY43" fmla="*/ 163123 h 2099709"/>
              <a:gd name="csX44" fmla="*/ 625468 w 733006"/>
              <a:gd name="csY44" fmla="*/ 187579 h 2099709"/>
              <a:gd name="csX45" fmla="*/ 597543 w 733006"/>
              <a:gd name="csY45" fmla="*/ 251872 h 2099709"/>
              <a:gd name="csX46" fmla="*/ 531831 w 733006"/>
              <a:gd name="csY46" fmla="*/ 442689 h 2099709"/>
              <a:gd name="csX47" fmla="*/ 519888 w 733006"/>
              <a:gd name="csY47" fmla="*/ 501474 h 2099709"/>
              <a:gd name="csX48" fmla="*/ 522506 w 733006"/>
              <a:gd name="csY48" fmla="*/ 525086 h 2099709"/>
              <a:gd name="csX49" fmla="*/ 516235 w 733006"/>
              <a:gd name="csY49" fmla="*/ 555946 h 2099709"/>
              <a:gd name="csX50" fmla="*/ 521332 w 733006"/>
              <a:gd name="csY50" fmla="*/ 610676 h 2099709"/>
              <a:gd name="csX51" fmla="*/ 541382 w 733006"/>
              <a:gd name="csY51" fmla="*/ 642597 h 2099709"/>
              <a:gd name="csX52" fmla="*/ 557031 w 733006"/>
              <a:gd name="csY52" fmla="*/ 667949 h 2099709"/>
              <a:gd name="csX53" fmla="*/ 553994 w 733006"/>
              <a:gd name="csY53" fmla="*/ 744146 h 2099709"/>
              <a:gd name="csX54" fmla="*/ 508215 w 733006"/>
              <a:gd name="csY54" fmla="*/ 758841 h 2099709"/>
              <a:gd name="csX55" fmla="*/ 497442 w 733006"/>
              <a:gd name="csY55" fmla="*/ 771256 h 2099709"/>
              <a:gd name="csX56" fmla="*/ 493005 w 733006"/>
              <a:gd name="csY56" fmla="*/ 922055 h 2099709"/>
              <a:gd name="csX57" fmla="*/ 502900 w 733006"/>
              <a:gd name="csY57" fmla="*/ 1114191 h 2099709"/>
              <a:gd name="csX58" fmla="*/ 508800 w 733006"/>
              <a:gd name="csY58" fmla="*/ 1205474 h 2099709"/>
              <a:gd name="csX59" fmla="*/ 522952 w 733006"/>
              <a:gd name="csY59" fmla="*/ 1320065 h 2099709"/>
              <a:gd name="csX60" fmla="*/ 554682 w 733006"/>
              <a:gd name="csY60" fmla="*/ 1501203 h 2099709"/>
              <a:gd name="csX61" fmla="*/ 576958 w 733006"/>
              <a:gd name="csY61" fmla="*/ 1593963 h 2099709"/>
              <a:gd name="csX62" fmla="*/ 595349 w 733006"/>
              <a:gd name="csY62" fmla="*/ 1613498 h 2099709"/>
              <a:gd name="csX63" fmla="*/ 613936 w 733006"/>
              <a:gd name="csY63" fmla="*/ 1624058 h 2099709"/>
              <a:gd name="csX64" fmla="*/ 620938 w 733006"/>
              <a:gd name="csY64" fmla="*/ 1652071 h 2099709"/>
              <a:gd name="csX65" fmla="*/ 630805 w 733006"/>
              <a:gd name="csY65" fmla="*/ 1721702 h 2099709"/>
              <a:gd name="csX66" fmla="*/ 685830 w 733006"/>
              <a:gd name="csY66" fmla="*/ 1792915 h 2099709"/>
              <a:gd name="csX67" fmla="*/ 708904 w 733006"/>
              <a:gd name="csY67" fmla="*/ 1890290 h 2099709"/>
              <a:gd name="csX68" fmla="*/ 716580 w 733006"/>
              <a:gd name="csY68" fmla="*/ 1951136 h 2099709"/>
              <a:gd name="csX69" fmla="*/ 729397 w 733006"/>
              <a:gd name="csY69" fmla="*/ 2030261 h 2099709"/>
              <a:gd name="csX70" fmla="*/ 714212 w 733006"/>
              <a:gd name="csY70" fmla="*/ 2059069 h 2099709"/>
              <a:gd name="csX71" fmla="*/ 96263 w 733006"/>
              <a:gd name="csY71" fmla="*/ 2076207 h 2099709"/>
              <a:gd name="csX72" fmla="*/ 489970 w 733006"/>
              <a:gd name="csY72" fmla="*/ 152208 h 2099709"/>
              <a:gd name="csX73" fmla="*/ 490754 w 733006"/>
              <a:gd name="csY73" fmla="*/ 152592 h 2099709"/>
              <a:gd name="csX74" fmla="*/ 489489 w 733006"/>
              <a:gd name="csY74" fmla="*/ 149547 h 2099709"/>
              <a:gd name="csX75" fmla="*/ 393621 w 733006"/>
              <a:gd name="csY75" fmla="*/ 99259 h 2099709"/>
              <a:gd name="csX76" fmla="*/ 390419 w 733006"/>
              <a:gd name="csY76" fmla="*/ 18568 h 2099709"/>
              <a:gd name="csX77" fmla="*/ 334131 w 733006"/>
              <a:gd name="csY77" fmla="*/ 24327 h 2099709"/>
              <a:gd name="csX78" fmla="*/ 344678 w 733006"/>
              <a:gd name="csY78" fmla="*/ 101259 h 2099709"/>
              <a:gd name="csX79" fmla="*/ 298854 w 733006"/>
              <a:gd name="csY79" fmla="*/ 114003 h 2099709"/>
              <a:gd name="csX80" fmla="*/ 237456 w 733006"/>
              <a:gd name="csY80" fmla="*/ 154340 h 2099709"/>
              <a:gd name="csX81" fmla="*/ 240382 w 733006"/>
              <a:gd name="csY81" fmla="*/ 154035 h 2099709"/>
              <a:gd name="csX82" fmla="*/ 262731 w 733006"/>
              <a:gd name="csY82" fmla="*/ 170426 h 2099709"/>
              <a:gd name="csX83" fmla="*/ 279169 w 733006"/>
              <a:gd name="csY83" fmla="*/ 193173 h 2099709"/>
              <a:gd name="csX84" fmla="*/ 327717 w 733006"/>
              <a:gd name="csY84" fmla="*/ 188556 h 2099709"/>
              <a:gd name="csX85" fmla="*/ 348052 w 733006"/>
              <a:gd name="csY85" fmla="*/ 156919 h 2099709"/>
              <a:gd name="csX86" fmla="*/ 380330 w 733006"/>
              <a:gd name="csY86" fmla="*/ 156483 h 2099709"/>
              <a:gd name="csX87" fmla="*/ 408490 w 733006"/>
              <a:gd name="csY87" fmla="*/ 195400 h 2099709"/>
              <a:gd name="csX88" fmla="*/ 445346 w 733006"/>
              <a:gd name="csY88" fmla="*/ 197582 h 2099709"/>
              <a:gd name="csX89" fmla="*/ 464798 w 733006"/>
              <a:gd name="csY89" fmla="*/ 174107 h 2099709"/>
              <a:gd name="csX90" fmla="*/ 489970 w 733006"/>
              <a:gd name="csY90" fmla="*/ 152208 h 2099709"/>
              <a:gd name="csX91" fmla="*/ 140694 w 733006"/>
              <a:gd name="csY91" fmla="*/ 201837 h 2099709"/>
              <a:gd name="csX92" fmla="*/ 139834 w 733006"/>
              <a:gd name="csY92" fmla="*/ 201482 h 2099709"/>
              <a:gd name="csX93" fmla="*/ 140812 w 733006"/>
              <a:gd name="csY93" fmla="*/ 204941 h 2099709"/>
              <a:gd name="csX94" fmla="*/ 144631 w 733006"/>
              <a:gd name="csY94" fmla="*/ 217811 h 2099709"/>
              <a:gd name="csX95" fmla="*/ 201241 w 733006"/>
              <a:gd name="csY95" fmla="*/ 373387 h 2099709"/>
              <a:gd name="csX96" fmla="*/ 235971 w 733006"/>
              <a:gd name="csY96" fmla="*/ 504451 h 2099709"/>
              <a:gd name="csX97" fmla="*/ 247475 w 733006"/>
              <a:gd name="csY97" fmla="*/ 513241 h 2099709"/>
              <a:gd name="csX98" fmla="*/ 289066 w 733006"/>
              <a:gd name="csY98" fmla="*/ 511170 h 2099709"/>
              <a:gd name="csX99" fmla="*/ 378229 w 733006"/>
              <a:gd name="csY99" fmla="*/ 511084 h 2099709"/>
              <a:gd name="csX100" fmla="*/ 470850 w 733006"/>
              <a:gd name="csY100" fmla="*/ 516341 h 2099709"/>
              <a:gd name="csX101" fmla="*/ 492933 w 733006"/>
              <a:gd name="csY101" fmla="*/ 497969 h 2099709"/>
              <a:gd name="csX102" fmla="*/ 557617 w 733006"/>
              <a:gd name="csY102" fmla="*/ 280398 h 2099709"/>
              <a:gd name="csX103" fmla="*/ 588788 w 733006"/>
              <a:gd name="csY103" fmla="*/ 200385 h 2099709"/>
              <a:gd name="csX104" fmla="*/ 530958 w 733006"/>
              <a:gd name="csY104" fmla="*/ 232968 h 2099709"/>
              <a:gd name="csX105" fmla="*/ 483823 w 733006"/>
              <a:gd name="csY105" fmla="*/ 190364 h 2099709"/>
              <a:gd name="csX106" fmla="*/ 466649 w 733006"/>
              <a:gd name="csY106" fmla="*/ 209061 h 2099709"/>
              <a:gd name="csX107" fmla="*/ 399941 w 733006"/>
              <a:gd name="csY107" fmla="*/ 216988 h 2099709"/>
              <a:gd name="csX108" fmla="*/ 363018 w 733006"/>
              <a:gd name="csY108" fmla="*/ 179615 h 2099709"/>
              <a:gd name="csX109" fmla="*/ 308839 w 733006"/>
              <a:gd name="csY109" fmla="*/ 227846 h 2099709"/>
              <a:gd name="csX110" fmla="*/ 245077 w 733006"/>
              <a:gd name="csY110" fmla="*/ 192402 h 2099709"/>
              <a:gd name="csX111" fmla="*/ 242829 w 733006"/>
              <a:gd name="csY111" fmla="*/ 198815 h 2099709"/>
              <a:gd name="csX112" fmla="*/ 168452 w 733006"/>
              <a:gd name="csY112" fmla="*/ 219348 h 2099709"/>
              <a:gd name="csX113" fmla="*/ 140694 w 733006"/>
              <a:gd name="csY113" fmla="*/ 201837 h 2099709"/>
              <a:gd name="csX114" fmla="*/ 259999 w 733006"/>
              <a:gd name="csY114" fmla="*/ 966699 h 2099709"/>
              <a:gd name="csX115" fmla="*/ 257072 w 733006"/>
              <a:gd name="csY115" fmla="*/ 1070424 h 2099709"/>
              <a:gd name="csX116" fmla="*/ 251372 w 733006"/>
              <a:gd name="csY116" fmla="*/ 1157618 h 2099709"/>
              <a:gd name="csX117" fmla="*/ 232677 w 733006"/>
              <a:gd name="csY117" fmla="*/ 1320279 h 2099709"/>
              <a:gd name="csX118" fmla="*/ 209182 w 733006"/>
              <a:gd name="csY118" fmla="*/ 1468667 h 2099709"/>
              <a:gd name="csX119" fmla="*/ 175302 w 733006"/>
              <a:gd name="csY119" fmla="*/ 1616623 h 2099709"/>
              <a:gd name="csX120" fmla="*/ 182769 w 733006"/>
              <a:gd name="csY120" fmla="*/ 1629786 h 2099709"/>
              <a:gd name="csX121" fmla="*/ 212156 w 733006"/>
              <a:gd name="csY121" fmla="*/ 1632656 h 2099709"/>
              <a:gd name="csX122" fmla="*/ 351295 w 733006"/>
              <a:gd name="csY122" fmla="*/ 1632801 h 2099709"/>
              <a:gd name="csX123" fmla="*/ 376150 w 733006"/>
              <a:gd name="csY123" fmla="*/ 1608307 h 2099709"/>
              <a:gd name="csX124" fmla="*/ 373450 w 733006"/>
              <a:gd name="csY124" fmla="*/ 1457291 h 2099709"/>
              <a:gd name="csX125" fmla="*/ 370936 w 733006"/>
              <a:gd name="csY125" fmla="*/ 1342736 h 2099709"/>
              <a:gd name="csX126" fmla="*/ 368328 w 733006"/>
              <a:gd name="csY126" fmla="*/ 1203878 h 2099709"/>
              <a:gd name="csX127" fmla="*/ 367836 w 733006"/>
              <a:gd name="csY127" fmla="*/ 813478 h 2099709"/>
              <a:gd name="csX128" fmla="*/ 365240 w 733006"/>
              <a:gd name="csY128" fmla="*/ 773243 h 2099709"/>
              <a:gd name="csX129" fmla="*/ 353084 w 733006"/>
              <a:gd name="csY129" fmla="*/ 762083 h 2099709"/>
              <a:gd name="csX130" fmla="*/ 280966 w 733006"/>
              <a:gd name="csY130" fmla="*/ 759855 h 2099709"/>
              <a:gd name="csX131" fmla="*/ 259965 w 733006"/>
              <a:gd name="csY131" fmla="*/ 779553 h 2099709"/>
              <a:gd name="csX132" fmla="*/ 262341 w 733006"/>
              <a:gd name="csY132" fmla="*/ 856275 h 2099709"/>
              <a:gd name="csX133" fmla="*/ 259999 w 733006"/>
              <a:gd name="csY133" fmla="*/ 966699 h 2099709"/>
              <a:gd name="csX134" fmla="*/ 55556 w 733006"/>
              <a:gd name="csY134" fmla="*/ 1835827 h 2099709"/>
              <a:gd name="csX135" fmla="*/ 49393 w 733006"/>
              <a:gd name="csY135" fmla="*/ 1878155 h 2099709"/>
              <a:gd name="csX136" fmla="*/ 73949 w 733006"/>
              <a:gd name="csY136" fmla="*/ 1905781 h 2099709"/>
              <a:gd name="csX137" fmla="*/ 110073 w 733006"/>
              <a:gd name="csY137" fmla="*/ 1909068 h 2099709"/>
              <a:gd name="csX138" fmla="*/ 224745 w 733006"/>
              <a:gd name="csY138" fmla="*/ 1921652 h 2099709"/>
              <a:gd name="csX139" fmla="*/ 347327 w 733006"/>
              <a:gd name="csY139" fmla="*/ 1924778 h 2099709"/>
              <a:gd name="csX140" fmla="*/ 363345 w 733006"/>
              <a:gd name="csY140" fmla="*/ 1923293 h 2099709"/>
              <a:gd name="csX141" fmla="*/ 373787 w 733006"/>
              <a:gd name="csY141" fmla="*/ 1911200 h 2099709"/>
              <a:gd name="csX142" fmla="*/ 376623 w 733006"/>
              <a:gd name="csY142" fmla="*/ 1696741 h 2099709"/>
              <a:gd name="csX143" fmla="*/ 360437 w 733006"/>
              <a:gd name="csY143" fmla="*/ 1681289 h 2099709"/>
              <a:gd name="csX144" fmla="*/ 263503 w 733006"/>
              <a:gd name="csY144" fmla="*/ 1678179 h 2099709"/>
              <a:gd name="csX145" fmla="*/ 160381 w 733006"/>
              <a:gd name="csY145" fmla="*/ 1670405 h 2099709"/>
              <a:gd name="csX146" fmla="*/ 143321 w 733006"/>
              <a:gd name="csY146" fmla="*/ 1685538 h 2099709"/>
              <a:gd name="csX147" fmla="*/ 124769 w 733006"/>
              <a:gd name="csY147" fmla="*/ 1738195 h 2099709"/>
              <a:gd name="csX148" fmla="*/ 90593 w 733006"/>
              <a:gd name="csY148" fmla="*/ 1779570 h 2099709"/>
              <a:gd name="csX149" fmla="*/ 55556 w 733006"/>
              <a:gd name="csY149" fmla="*/ 1835827 h 2099709"/>
              <a:gd name="csX150" fmla="*/ 378900 w 733006"/>
              <a:gd name="csY150" fmla="*/ 2007280 h 2099709"/>
              <a:gd name="csX151" fmla="*/ 378887 w 733006"/>
              <a:gd name="csY151" fmla="*/ 1995127 h 2099709"/>
              <a:gd name="csX152" fmla="*/ 359084 w 733006"/>
              <a:gd name="csY152" fmla="*/ 1975964 h 2099709"/>
              <a:gd name="csX153" fmla="*/ 247288 w 733006"/>
              <a:gd name="csY153" fmla="*/ 1973305 h 2099709"/>
              <a:gd name="csX154" fmla="*/ 201692 w 733006"/>
              <a:gd name="csY154" fmla="*/ 1970275 h 2099709"/>
              <a:gd name="csX155" fmla="*/ 57962 w 733006"/>
              <a:gd name="csY155" fmla="*/ 1952648 h 2099709"/>
              <a:gd name="csX156" fmla="*/ 39194 w 733006"/>
              <a:gd name="csY156" fmla="*/ 1963552 h 2099709"/>
              <a:gd name="csX157" fmla="*/ 30066 w 733006"/>
              <a:gd name="csY157" fmla="*/ 2006631 h 2099709"/>
              <a:gd name="csX158" fmla="*/ 40232 w 733006"/>
              <a:gd name="csY158" fmla="*/ 2019486 h 2099709"/>
              <a:gd name="csX159" fmla="*/ 238186 w 733006"/>
              <a:gd name="csY159" fmla="*/ 2046096 h 2099709"/>
              <a:gd name="csX160" fmla="*/ 342155 w 733006"/>
              <a:gd name="csY160" fmla="*/ 2046441 h 2099709"/>
              <a:gd name="csX161" fmla="*/ 378900 w 733006"/>
              <a:gd name="csY161" fmla="*/ 2007280 h 2099709"/>
              <a:gd name="csX162" fmla="*/ 310220 w 733006"/>
              <a:gd name="csY162" fmla="*/ 554288 h 2099709"/>
              <a:gd name="csX163" fmla="*/ 259136 w 733006"/>
              <a:gd name="csY163" fmla="*/ 556881 h 2099709"/>
              <a:gd name="csX164" fmla="*/ 249085 w 733006"/>
              <a:gd name="csY164" fmla="*/ 567981 h 2099709"/>
              <a:gd name="csX165" fmla="*/ 249141 w 733006"/>
              <a:gd name="csY165" fmla="*/ 605644 h 2099709"/>
              <a:gd name="csX166" fmla="*/ 262628 w 733006"/>
              <a:gd name="csY166" fmla="*/ 605627 h 2099709"/>
              <a:gd name="csX167" fmla="*/ 369608 w 733006"/>
              <a:gd name="csY167" fmla="*/ 603027 h 2099709"/>
              <a:gd name="csX168" fmla="*/ 463931 w 733006"/>
              <a:gd name="csY168" fmla="*/ 605146 h 2099709"/>
              <a:gd name="csX169" fmla="*/ 478113 w 733006"/>
              <a:gd name="csY169" fmla="*/ 595843 h 2099709"/>
              <a:gd name="csX170" fmla="*/ 478796 w 733006"/>
              <a:gd name="csY170" fmla="*/ 556832 h 2099709"/>
              <a:gd name="csX171" fmla="*/ 310220 w 733006"/>
              <a:gd name="csY171" fmla="*/ 554288 h 2099709"/>
              <a:gd name="csX172" fmla="*/ 348836 w 733006"/>
              <a:gd name="csY172" fmla="*/ 684115 h 2099709"/>
              <a:gd name="csX173" fmla="*/ 281333 w 733006"/>
              <a:gd name="csY173" fmla="*/ 683313 h 2099709"/>
              <a:gd name="csX174" fmla="*/ 212728 w 733006"/>
              <a:gd name="csY174" fmla="*/ 681931 h 2099709"/>
              <a:gd name="csX175" fmla="*/ 187283 w 733006"/>
              <a:gd name="csY175" fmla="*/ 689555 h 2099709"/>
              <a:gd name="csX176" fmla="*/ 186163 w 733006"/>
              <a:gd name="csY176" fmla="*/ 718266 h 2099709"/>
              <a:gd name="csX177" fmla="*/ 209894 w 733006"/>
              <a:gd name="csY177" fmla="*/ 726798 h 2099709"/>
              <a:gd name="csX178" fmla="*/ 334814 w 733006"/>
              <a:gd name="csY178" fmla="*/ 732494 h 2099709"/>
              <a:gd name="csX179" fmla="*/ 364856 w 733006"/>
              <a:gd name="csY179" fmla="*/ 707963 h 2099709"/>
              <a:gd name="csX180" fmla="*/ 348836 w 733006"/>
              <a:gd name="csY180" fmla="*/ 684115 h 2099709"/>
              <a:gd name="csX181" fmla="*/ 298865 w 733006"/>
              <a:gd name="csY181" fmla="*/ 621954 h 2099709"/>
              <a:gd name="csX182" fmla="*/ 251619 w 733006"/>
              <a:gd name="csY182" fmla="*/ 622133 h 2099709"/>
              <a:gd name="csX183" fmla="*/ 214459 w 733006"/>
              <a:gd name="csY183" fmla="*/ 636230 h 2099709"/>
              <a:gd name="csX184" fmla="*/ 221436 w 733006"/>
              <a:gd name="csY184" fmla="*/ 654205 h 2099709"/>
              <a:gd name="csX185" fmla="*/ 272412 w 733006"/>
              <a:gd name="csY185" fmla="*/ 657250 h 2099709"/>
              <a:gd name="csX186" fmla="*/ 349094 w 733006"/>
              <a:gd name="csY186" fmla="*/ 659282 h 2099709"/>
              <a:gd name="csX187" fmla="*/ 362996 w 733006"/>
              <a:gd name="csY187" fmla="*/ 644234 h 2099709"/>
              <a:gd name="csX188" fmla="*/ 348472 w 733006"/>
              <a:gd name="csY188" fmla="*/ 624649 h 2099709"/>
              <a:gd name="csX189" fmla="*/ 298865 w 733006"/>
              <a:gd name="csY189" fmla="*/ 621954 h 2099709"/>
              <a:gd name="csX190" fmla="*/ 227796 w 733006"/>
              <a:gd name="csY190" fmla="*/ 528000 h 2099709"/>
              <a:gd name="csX191" fmla="*/ 241009 w 733006"/>
              <a:gd name="csY191" fmla="*/ 545897 h 2099709"/>
              <a:gd name="csX192" fmla="*/ 282607 w 733006"/>
              <a:gd name="csY192" fmla="*/ 543480 h 2099709"/>
              <a:gd name="csX193" fmla="*/ 354213 w 733006"/>
              <a:gd name="csY193" fmla="*/ 543384 h 2099709"/>
              <a:gd name="csX194" fmla="*/ 365334 w 733006"/>
              <a:gd name="csY194" fmla="*/ 533397 h 2099709"/>
              <a:gd name="csX195" fmla="*/ 354531 w 733006"/>
              <a:gd name="csY195" fmla="*/ 521620 h 2099709"/>
              <a:gd name="csX196" fmla="*/ 259169 w 733006"/>
              <a:gd name="csY196" fmla="*/ 521978 h 2099709"/>
              <a:gd name="csX197" fmla="*/ 227796 w 733006"/>
              <a:gd name="csY197" fmla="*/ 528000 h 2099709"/>
              <a:gd name="csX198" fmla="*/ 508068 w 733006"/>
              <a:gd name="csY198" fmla="*/ 190710 h 2099709"/>
              <a:gd name="csX199" fmla="*/ 521293 w 733006"/>
              <a:gd name="csY199" fmla="*/ 205907 h 2099709"/>
              <a:gd name="csX200" fmla="*/ 525175 w 733006"/>
              <a:gd name="csY200" fmla="*/ 202985 h 2099709"/>
              <a:gd name="csX201" fmla="*/ 500276 w 733006"/>
              <a:gd name="csY201" fmla="*/ 160640 h 2099709"/>
              <a:gd name="csX202" fmla="*/ 497122 w 733006"/>
              <a:gd name="csY202" fmla="*/ 162007 h 2099709"/>
              <a:gd name="csX203" fmla="*/ 508068 w 733006"/>
              <a:gd name="csY203" fmla="*/ 190710 h 2099709"/>
              <a:gd name="csX204" fmla="*/ 215522 w 733006"/>
              <a:gd name="csY204" fmla="*/ 197296 h 2099709"/>
              <a:gd name="csX205" fmla="*/ 234029 w 733006"/>
              <a:gd name="csY205" fmla="*/ 162725 h 2099709"/>
              <a:gd name="csX206" fmla="*/ 229000 w 733006"/>
              <a:gd name="csY206" fmla="*/ 159902 h 2099709"/>
              <a:gd name="csX207" fmla="*/ 204824 w 733006"/>
              <a:gd name="csY207" fmla="*/ 199677 h 2099709"/>
              <a:gd name="csX208" fmla="*/ 207990 w 733006"/>
              <a:gd name="csY208" fmla="*/ 202198 h 2099709"/>
              <a:gd name="csX209" fmla="*/ 215522 w 733006"/>
              <a:gd name="csY209" fmla="*/ 197296 h 2099709"/>
              <a:gd name="csX210" fmla="*/ 484400 w 733006"/>
              <a:gd name="csY210" fmla="*/ 896678 h 2099709"/>
              <a:gd name="csX211" fmla="*/ 486181 w 733006"/>
              <a:gd name="csY211" fmla="*/ 896585 h 2099709"/>
              <a:gd name="csX212" fmla="*/ 486181 w 733006"/>
              <a:gd name="csY212" fmla="*/ 795289 h 2099709"/>
              <a:gd name="csX0" fmla="*/ 96263 w 733006"/>
              <a:gd name="csY0" fmla="*/ 2076207 h 2091287"/>
              <a:gd name="csX1" fmla="*/ 63862 w 733006"/>
              <a:gd name="csY1" fmla="*/ 2065388 h 2091287"/>
              <a:gd name="csX2" fmla="*/ 16555 w 733006"/>
              <a:gd name="csY2" fmla="*/ 2050152 h 2091287"/>
              <a:gd name="csX3" fmla="*/ 15 w 733006"/>
              <a:gd name="csY3" fmla="*/ 2023802 h 2091287"/>
              <a:gd name="csX4" fmla="*/ 18368 w 733006"/>
              <a:gd name="csY4" fmla="*/ 1940709 h 2091287"/>
              <a:gd name="csX5" fmla="*/ 22139 w 733006"/>
              <a:gd name="csY5" fmla="*/ 1907268 h 2091287"/>
              <a:gd name="csX6" fmla="*/ 57941 w 733006"/>
              <a:gd name="csY6" fmla="*/ 1774163 h 2091287"/>
              <a:gd name="csX7" fmla="*/ 102478 w 733006"/>
              <a:gd name="csY7" fmla="*/ 1720275 h 2091287"/>
              <a:gd name="csX8" fmla="*/ 108579 w 733006"/>
              <a:gd name="csY8" fmla="*/ 1650967 h 2091287"/>
              <a:gd name="csX9" fmla="*/ 115628 w 733006"/>
              <a:gd name="csY9" fmla="*/ 1625405 h 2091287"/>
              <a:gd name="csX10" fmla="*/ 156323 w 733006"/>
              <a:gd name="csY10" fmla="*/ 1560181 h 2091287"/>
              <a:gd name="csX11" fmla="*/ 199424 w 733006"/>
              <a:gd name="csY11" fmla="*/ 1364729 h 2091287"/>
              <a:gd name="csX12" fmla="*/ 216779 w 733006"/>
              <a:gd name="csY12" fmla="*/ 1219490 h 2091287"/>
              <a:gd name="csX13" fmla="*/ 229755 w 733006"/>
              <a:gd name="csY13" fmla="*/ 1099357 h 2091287"/>
              <a:gd name="csX14" fmla="*/ 232707 w 733006"/>
              <a:gd name="csY14" fmla="*/ 1056423 h 2091287"/>
              <a:gd name="csX15" fmla="*/ 235622 w 733006"/>
              <a:gd name="csY15" fmla="*/ 952675 h 2091287"/>
              <a:gd name="csX16" fmla="*/ 235445 w 733006"/>
              <a:gd name="csY16" fmla="*/ 780278 h 2091287"/>
              <a:gd name="csX17" fmla="*/ 214544 w 733006"/>
              <a:gd name="csY17" fmla="*/ 756435 h 2091287"/>
              <a:gd name="csX18" fmla="*/ 172569 w 733006"/>
              <a:gd name="csY18" fmla="*/ 742582 h 2091287"/>
              <a:gd name="csX19" fmla="*/ 168784 w 733006"/>
              <a:gd name="csY19" fmla="*/ 669116 h 2091287"/>
              <a:gd name="csX20" fmla="*/ 191657 w 733006"/>
              <a:gd name="csY20" fmla="*/ 630765 h 2091287"/>
              <a:gd name="csX21" fmla="*/ 208150 w 733006"/>
              <a:gd name="csY21" fmla="*/ 609084 h 2091287"/>
              <a:gd name="csX22" fmla="*/ 216756 w 733006"/>
              <a:gd name="csY22" fmla="*/ 558673 h 2091287"/>
              <a:gd name="csX23" fmla="*/ 209092 w 733006"/>
              <a:gd name="csY23" fmla="*/ 521540 h 2091287"/>
              <a:gd name="csX24" fmla="*/ 204683 w 733006"/>
              <a:gd name="csY24" fmla="*/ 474024 h 2091287"/>
              <a:gd name="csX25" fmla="*/ 115483 w 733006"/>
              <a:gd name="csY25" fmla="*/ 213499 h 2091287"/>
              <a:gd name="csX26" fmla="*/ 102909 w 733006"/>
              <a:gd name="csY26" fmla="*/ 182297 h 2091287"/>
              <a:gd name="csX27" fmla="*/ 104315 w 733006"/>
              <a:gd name="csY27" fmla="*/ 163968 h 2091287"/>
              <a:gd name="csX28" fmla="*/ 122444 w 733006"/>
              <a:gd name="csY28" fmla="*/ 160805 h 2091287"/>
              <a:gd name="csX29" fmla="*/ 170283 w 733006"/>
              <a:gd name="csY29" fmla="*/ 187783 h 2091287"/>
              <a:gd name="csX30" fmla="*/ 180938 w 733006"/>
              <a:gd name="csY30" fmla="*/ 195322 h 2091287"/>
              <a:gd name="csX31" fmla="*/ 221419 w 733006"/>
              <a:gd name="csY31" fmla="*/ 138058 h 2091287"/>
              <a:gd name="csX32" fmla="*/ 294099 w 733006"/>
              <a:gd name="csY32" fmla="*/ 91372 h 2091287"/>
              <a:gd name="csX33" fmla="*/ 302307 w 733006"/>
              <a:gd name="csY33" fmla="*/ 76560 h 2091287"/>
              <a:gd name="csX34" fmla="*/ 320284 w 733006"/>
              <a:gd name="csY34" fmla="*/ 8414 h 2091287"/>
              <a:gd name="csX35" fmla="*/ 324784 w 733006"/>
              <a:gd name="csY35" fmla="*/ 946 h 2091287"/>
              <a:gd name="csX36" fmla="*/ 399212 w 733006"/>
              <a:gd name="csY36" fmla="*/ 0 h 2091287"/>
              <a:gd name="csX37" fmla="*/ 425980 w 733006"/>
              <a:gd name="csY37" fmla="*/ 78301 h 2091287"/>
              <a:gd name="csX38" fmla="*/ 431861 w 733006"/>
              <a:gd name="csY38" fmla="*/ 90312 h 2091287"/>
              <a:gd name="csX39" fmla="*/ 540349 w 733006"/>
              <a:gd name="csY39" fmla="*/ 187946 h 2091287"/>
              <a:gd name="csX40" fmla="*/ 545555 w 733006"/>
              <a:gd name="csY40" fmla="*/ 197828 h 2091287"/>
              <a:gd name="csX41" fmla="*/ 587318 w 733006"/>
              <a:gd name="csY41" fmla="*/ 171260 h 2091287"/>
              <a:gd name="csX42" fmla="*/ 601503 w 733006"/>
              <a:gd name="csY42" fmla="*/ 163707 h 2091287"/>
              <a:gd name="csX43" fmla="*/ 625254 w 733006"/>
              <a:gd name="csY43" fmla="*/ 163123 h 2091287"/>
              <a:gd name="csX44" fmla="*/ 625468 w 733006"/>
              <a:gd name="csY44" fmla="*/ 187579 h 2091287"/>
              <a:gd name="csX45" fmla="*/ 597543 w 733006"/>
              <a:gd name="csY45" fmla="*/ 251872 h 2091287"/>
              <a:gd name="csX46" fmla="*/ 531831 w 733006"/>
              <a:gd name="csY46" fmla="*/ 442689 h 2091287"/>
              <a:gd name="csX47" fmla="*/ 519888 w 733006"/>
              <a:gd name="csY47" fmla="*/ 501474 h 2091287"/>
              <a:gd name="csX48" fmla="*/ 522506 w 733006"/>
              <a:gd name="csY48" fmla="*/ 525086 h 2091287"/>
              <a:gd name="csX49" fmla="*/ 516235 w 733006"/>
              <a:gd name="csY49" fmla="*/ 555946 h 2091287"/>
              <a:gd name="csX50" fmla="*/ 521332 w 733006"/>
              <a:gd name="csY50" fmla="*/ 610676 h 2091287"/>
              <a:gd name="csX51" fmla="*/ 541382 w 733006"/>
              <a:gd name="csY51" fmla="*/ 642597 h 2091287"/>
              <a:gd name="csX52" fmla="*/ 557031 w 733006"/>
              <a:gd name="csY52" fmla="*/ 667949 h 2091287"/>
              <a:gd name="csX53" fmla="*/ 553994 w 733006"/>
              <a:gd name="csY53" fmla="*/ 744146 h 2091287"/>
              <a:gd name="csX54" fmla="*/ 508215 w 733006"/>
              <a:gd name="csY54" fmla="*/ 758841 h 2091287"/>
              <a:gd name="csX55" fmla="*/ 497442 w 733006"/>
              <a:gd name="csY55" fmla="*/ 771256 h 2091287"/>
              <a:gd name="csX56" fmla="*/ 493005 w 733006"/>
              <a:gd name="csY56" fmla="*/ 922055 h 2091287"/>
              <a:gd name="csX57" fmla="*/ 502900 w 733006"/>
              <a:gd name="csY57" fmla="*/ 1114191 h 2091287"/>
              <a:gd name="csX58" fmla="*/ 508800 w 733006"/>
              <a:gd name="csY58" fmla="*/ 1205474 h 2091287"/>
              <a:gd name="csX59" fmla="*/ 522952 w 733006"/>
              <a:gd name="csY59" fmla="*/ 1320065 h 2091287"/>
              <a:gd name="csX60" fmla="*/ 554682 w 733006"/>
              <a:gd name="csY60" fmla="*/ 1501203 h 2091287"/>
              <a:gd name="csX61" fmla="*/ 576958 w 733006"/>
              <a:gd name="csY61" fmla="*/ 1593963 h 2091287"/>
              <a:gd name="csX62" fmla="*/ 595349 w 733006"/>
              <a:gd name="csY62" fmla="*/ 1613498 h 2091287"/>
              <a:gd name="csX63" fmla="*/ 613936 w 733006"/>
              <a:gd name="csY63" fmla="*/ 1624058 h 2091287"/>
              <a:gd name="csX64" fmla="*/ 620938 w 733006"/>
              <a:gd name="csY64" fmla="*/ 1652071 h 2091287"/>
              <a:gd name="csX65" fmla="*/ 630805 w 733006"/>
              <a:gd name="csY65" fmla="*/ 1721702 h 2091287"/>
              <a:gd name="csX66" fmla="*/ 685830 w 733006"/>
              <a:gd name="csY66" fmla="*/ 1792915 h 2091287"/>
              <a:gd name="csX67" fmla="*/ 708904 w 733006"/>
              <a:gd name="csY67" fmla="*/ 1890290 h 2091287"/>
              <a:gd name="csX68" fmla="*/ 716580 w 733006"/>
              <a:gd name="csY68" fmla="*/ 1951136 h 2091287"/>
              <a:gd name="csX69" fmla="*/ 729397 w 733006"/>
              <a:gd name="csY69" fmla="*/ 2030261 h 2091287"/>
              <a:gd name="csX70" fmla="*/ 714212 w 733006"/>
              <a:gd name="csY70" fmla="*/ 2059069 h 2091287"/>
              <a:gd name="csX71" fmla="*/ 96263 w 733006"/>
              <a:gd name="csY71" fmla="*/ 2076207 h 2091287"/>
              <a:gd name="csX72" fmla="*/ 489970 w 733006"/>
              <a:gd name="csY72" fmla="*/ 152208 h 2091287"/>
              <a:gd name="csX73" fmla="*/ 490754 w 733006"/>
              <a:gd name="csY73" fmla="*/ 152592 h 2091287"/>
              <a:gd name="csX74" fmla="*/ 489489 w 733006"/>
              <a:gd name="csY74" fmla="*/ 149547 h 2091287"/>
              <a:gd name="csX75" fmla="*/ 393621 w 733006"/>
              <a:gd name="csY75" fmla="*/ 99259 h 2091287"/>
              <a:gd name="csX76" fmla="*/ 390419 w 733006"/>
              <a:gd name="csY76" fmla="*/ 18568 h 2091287"/>
              <a:gd name="csX77" fmla="*/ 334131 w 733006"/>
              <a:gd name="csY77" fmla="*/ 24327 h 2091287"/>
              <a:gd name="csX78" fmla="*/ 344678 w 733006"/>
              <a:gd name="csY78" fmla="*/ 101259 h 2091287"/>
              <a:gd name="csX79" fmla="*/ 298854 w 733006"/>
              <a:gd name="csY79" fmla="*/ 114003 h 2091287"/>
              <a:gd name="csX80" fmla="*/ 237456 w 733006"/>
              <a:gd name="csY80" fmla="*/ 154340 h 2091287"/>
              <a:gd name="csX81" fmla="*/ 240382 w 733006"/>
              <a:gd name="csY81" fmla="*/ 154035 h 2091287"/>
              <a:gd name="csX82" fmla="*/ 262731 w 733006"/>
              <a:gd name="csY82" fmla="*/ 170426 h 2091287"/>
              <a:gd name="csX83" fmla="*/ 279169 w 733006"/>
              <a:gd name="csY83" fmla="*/ 193173 h 2091287"/>
              <a:gd name="csX84" fmla="*/ 327717 w 733006"/>
              <a:gd name="csY84" fmla="*/ 188556 h 2091287"/>
              <a:gd name="csX85" fmla="*/ 348052 w 733006"/>
              <a:gd name="csY85" fmla="*/ 156919 h 2091287"/>
              <a:gd name="csX86" fmla="*/ 380330 w 733006"/>
              <a:gd name="csY86" fmla="*/ 156483 h 2091287"/>
              <a:gd name="csX87" fmla="*/ 408490 w 733006"/>
              <a:gd name="csY87" fmla="*/ 195400 h 2091287"/>
              <a:gd name="csX88" fmla="*/ 445346 w 733006"/>
              <a:gd name="csY88" fmla="*/ 197582 h 2091287"/>
              <a:gd name="csX89" fmla="*/ 464798 w 733006"/>
              <a:gd name="csY89" fmla="*/ 174107 h 2091287"/>
              <a:gd name="csX90" fmla="*/ 489970 w 733006"/>
              <a:gd name="csY90" fmla="*/ 152208 h 2091287"/>
              <a:gd name="csX91" fmla="*/ 140694 w 733006"/>
              <a:gd name="csY91" fmla="*/ 201837 h 2091287"/>
              <a:gd name="csX92" fmla="*/ 139834 w 733006"/>
              <a:gd name="csY92" fmla="*/ 201482 h 2091287"/>
              <a:gd name="csX93" fmla="*/ 140812 w 733006"/>
              <a:gd name="csY93" fmla="*/ 204941 h 2091287"/>
              <a:gd name="csX94" fmla="*/ 144631 w 733006"/>
              <a:gd name="csY94" fmla="*/ 217811 h 2091287"/>
              <a:gd name="csX95" fmla="*/ 201241 w 733006"/>
              <a:gd name="csY95" fmla="*/ 373387 h 2091287"/>
              <a:gd name="csX96" fmla="*/ 235971 w 733006"/>
              <a:gd name="csY96" fmla="*/ 504451 h 2091287"/>
              <a:gd name="csX97" fmla="*/ 247475 w 733006"/>
              <a:gd name="csY97" fmla="*/ 513241 h 2091287"/>
              <a:gd name="csX98" fmla="*/ 289066 w 733006"/>
              <a:gd name="csY98" fmla="*/ 511170 h 2091287"/>
              <a:gd name="csX99" fmla="*/ 378229 w 733006"/>
              <a:gd name="csY99" fmla="*/ 511084 h 2091287"/>
              <a:gd name="csX100" fmla="*/ 470850 w 733006"/>
              <a:gd name="csY100" fmla="*/ 516341 h 2091287"/>
              <a:gd name="csX101" fmla="*/ 492933 w 733006"/>
              <a:gd name="csY101" fmla="*/ 497969 h 2091287"/>
              <a:gd name="csX102" fmla="*/ 557617 w 733006"/>
              <a:gd name="csY102" fmla="*/ 280398 h 2091287"/>
              <a:gd name="csX103" fmla="*/ 588788 w 733006"/>
              <a:gd name="csY103" fmla="*/ 200385 h 2091287"/>
              <a:gd name="csX104" fmla="*/ 530958 w 733006"/>
              <a:gd name="csY104" fmla="*/ 232968 h 2091287"/>
              <a:gd name="csX105" fmla="*/ 483823 w 733006"/>
              <a:gd name="csY105" fmla="*/ 190364 h 2091287"/>
              <a:gd name="csX106" fmla="*/ 466649 w 733006"/>
              <a:gd name="csY106" fmla="*/ 209061 h 2091287"/>
              <a:gd name="csX107" fmla="*/ 399941 w 733006"/>
              <a:gd name="csY107" fmla="*/ 216988 h 2091287"/>
              <a:gd name="csX108" fmla="*/ 363018 w 733006"/>
              <a:gd name="csY108" fmla="*/ 179615 h 2091287"/>
              <a:gd name="csX109" fmla="*/ 308839 w 733006"/>
              <a:gd name="csY109" fmla="*/ 227846 h 2091287"/>
              <a:gd name="csX110" fmla="*/ 245077 w 733006"/>
              <a:gd name="csY110" fmla="*/ 192402 h 2091287"/>
              <a:gd name="csX111" fmla="*/ 242829 w 733006"/>
              <a:gd name="csY111" fmla="*/ 198815 h 2091287"/>
              <a:gd name="csX112" fmla="*/ 168452 w 733006"/>
              <a:gd name="csY112" fmla="*/ 219348 h 2091287"/>
              <a:gd name="csX113" fmla="*/ 140694 w 733006"/>
              <a:gd name="csY113" fmla="*/ 201837 h 2091287"/>
              <a:gd name="csX114" fmla="*/ 259999 w 733006"/>
              <a:gd name="csY114" fmla="*/ 966699 h 2091287"/>
              <a:gd name="csX115" fmla="*/ 257072 w 733006"/>
              <a:gd name="csY115" fmla="*/ 1070424 h 2091287"/>
              <a:gd name="csX116" fmla="*/ 251372 w 733006"/>
              <a:gd name="csY116" fmla="*/ 1157618 h 2091287"/>
              <a:gd name="csX117" fmla="*/ 232677 w 733006"/>
              <a:gd name="csY117" fmla="*/ 1320279 h 2091287"/>
              <a:gd name="csX118" fmla="*/ 209182 w 733006"/>
              <a:gd name="csY118" fmla="*/ 1468667 h 2091287"/>
              <a:gd name="csX119" fmla="*/ 175302 w 733006"/>
              <a:gd name="csY119" fmla="*/ 1616623 h 2091287"/>
              <a:gd name="csX120" fmla="*/ 182769 w 733006"/>
              <a:gd name="csY120" fmla="*/ 1629786 h 2091287"/>
              <a:gd name="csX121" fmla="*/ 212156 w 733006"/>
              <a:gd name="csY121" fmla="*/ 1632656 h 2091287"/>
              <a:gd name="csX122" fmla="*/ 351295 w 733006"/>
              <a:gd name="csY122" fmla="*/ 1632801 h 2091287"/>
              <a:gd name="csX123" fmla="*/ 376150 w 733006"/>
              <a:gd name="csY123" fmla="*/ 1608307 h 2091287"/>
              <a:gd name="csX124" fmla="*/ 373450 w 733006"/>
              <a:gd name="csY124" fmla="*/ 1457291 h 2091287"/>
              <a:gd name="csX125" fmla="*/ 370936 w 733006"/>
              <a:gd name="csY125" fmla="*/ 1342736 h 2091287"/>
              <a:gd name="csX126" fmla="*/ 368328 w 733006"/>
              <a:gd name="csY126" fmla="*/ 1203878 h 2091287"/>
              <a:gd name="csX127" fmla="*/ 367836 w 733006"/>
              <a:gd name="csY127" fmla="*/ 813478 h 2091287"/>
              <a:gd name="csX128" fmla="*/ 365240 w 733006"/>
              <a:gd name="csY128" fmla="*/ 773243 h 2091287"/>
              <a:gd name="csX129" fmla="*/ 353084 w 733006"/>
              <a:gd name="csY129" fmla="*/ 762083 h 2091287"/>
              <a:gd name="csX130" fmla="*/ 280966 w 733006"/>
              <a:gd name="csY130" fmla="*/ 759855 h 2091287"/>
              <a:gd name="csX131" fmla="*/ 259965 w 733006"/>
              <a:gd name="csY131" fmla="*/ 779553 h 2091287"/>
              <a:gd name="csX132" fmla="*/ 262341 w 733006"/>
              <a:gd name="csY132" fmla="*/ 856275 h 2091287"/>
              <a:gd name="csX133" fmla="*/ 259999 w 733006"/>
              <a:gd name="csY133" fmla="*/ 966699 h 2091287"/>
              <a:gd name="csX134" fmla="*/ 55556 w 733006"/>
              <a:gd name="csY134" fmla="*/ 1835827 h 2091287"/>
              <a:gd name="csX135" fmla="*/ 49393 w 733006"/>
              <a:gd name="csY135" fmla="*/ 1878155 h 2091287"/>
              <a:gd name="csX136" fmla="*/ 73949 w 733006"/>
              <a:gd name="csY136" fmla="*/ 1905781 h 2091287"/>
              <a:gd name="csX137" fmla="*/ 110073 w 733006"/>
              <a:gd name="csY137" fmla="*/ 1909068 h 2091287"/>
              <a:gd name="csX138" fmla="*/ 224745 w 733006"/>
              <a:gd name="csY138" fmla="*/ 1921652 h 2091287"/>
              <a:gd name="csX139" fmla="*/ 347327 w 733006"/>
              <a:gd name="csY139" fmla="*/ 1924778 h 2091287"/>
              <a:gd name="csX140" fmla="*/ 363345 w 733006"/>
              <a:gd name="csY140" fmla="*/ 1923293 h 2091287"/>
              <a:gd name="csX141" fmla="*/ 373787 w 733006"/>
              <a:gd name="csY141" fmla="*/ 1911200 h 2091287"/>
              <a:gd name="csX142" fmla="*/ 376623 w 733006"/>
              <a:gd name="csY142" fmla="*/ 1696741 h 2091287"/>
              <a:gd name="csX143" fmla="*/ 360437 w 733006"/>
              <a:gd name="csY143" fmla="*/ 1681289 h 2091287"/>
              <a:gd name="csX144" fmla="*/ 263503 w 733006"/>
              <a:gd name="csY144" fmla="*/ 1678179 h 2091287"/>
              <a:gd name="csX145" fmla="*/ 160381 w 733006"/>
              <a:gd name="csY145" fmla="*/ 1670405 h 2091287"/>
              <a:gd name="csX146" fmla="*/ 143321 w 733006"/>
              <a:gd name="csY146" fmla="*/ 1685538 h 2091287"/>
              <a:gd name="csX147" fmla="*/ 124769 w 733006"/>
              <a:gd name="csY147" fmla="*/ 1738195 h 2091287"/>
              <a:gd name="csX148" fmla="*/ 90593 w 733006"/>
              <a:gd name="csY148" fmla="*/ 1779570 h 2091287"/>
              <a:gd name="csX149" fmla="*/ 55556 w 733006"/>
              <a:gd name="csY149" fmla="*/ 1835827 h 2091287"/>
              <a:gd name="csX150" fmla="*/ 378900 w 733006"/>
              <a:gd name="csY150" fmla="*/ 2007280 h 2091287"/>
              <a:gd name="csX151" fmla="*/ 378887 w 733006"/>
              <a:gd name="csY151" fmla="*/ 1995127 h 2091287"/>
              <a:gd name="csX152" fmla="*/ 359084 w 733006"/>
              <a:gd name="csY152" fmla="*/ 1975964 h 2091287"/>
              <a:gd name="csX153" fmla="*/ 247288 w 733006"/>
              <a:gd name="csY153" fmla="*/ 1973305 h 2091287"/>
              <a:gd name="csX154" fmla="*/ 201692 w 733006"/>
              <a:gd name="csY154" fmla="*/ 1970275 h 2091287"/>
              <a:gd name="csX155" fmla="*/ 57962 w 733006"/>
              <a:gd name="csY155" fmla="*/ 1952648 h 2091287"/>
              <a:gd name="csX156" fmla="*/ 39194 w 733006"/>
              <a:gd name="csY156" fmla="*/ 1963552 h 2091287"/>
              <a:gd name="csX157" fmla="*/ 30066 w 733006"/>
              <a:gd name="csY157" fmla="*/ 2006631 h 2091287"/>
              <a:gd name="csX158" fmla="*/ 40232 w 733006"/>
              <a:gd name="csY158" fmla="*/ 2019486 h 2091287"/>
              <a:gd name="csX159" fmla="*/ 238186 w 733006"/>
              <a:gd name="csY159" fmla="*/ 2046096 h 2091287"/>
              <a:gd name="csX160" fmla="*/ 342155 w 733006"/>
              <a:gd name="csY160" fmla="*/ 2046441 h 2091287"/>
              <a:gd name="csX161" fmla="*/ 378900 w 733006"/>
              <a:gd name="csY161" fmla="*/ 2007280 h 2091287"/>
              <a:gd name="csX162" fmla="*/ 310220 w 733006"/>
              <a:gd name="csY162" fmla="*/ 554288 h 2091287"/>
              <a:gd name="csX163" fmla="*/ 259136 w 733006"/>
              <a:gd name="csY163" fmla="*/ 556881 h 2091287"/>
              <a:gd name="csX164" fmla="*/ 249085 w 733006"/>
              <a:gd name="csY164" fmla="*/ 567981 h 2091287"/>
              <a:gd name="csX165" fmla="*/ 249141 w 733006"/>
              <a:gd name="csY165" fmla="*/ 605644 h 2091287"/>
              <a:gd name="csX166" fmla="*/ 262628 w 733006"/>
              <a:gd name="csY166" fmla="*/ 605627 h 2091287"/>
              <a:gd name="csX167" fmla="*/ 369608 w 733006"/>
              <a:gd name="csY167" fmla="*/ 603027 h 2091287"/>
              <a:gd name="csX168" fmla="*/ 463931 w 733006"/>
              <a:gd name="csY168" fmla="*/ 605146 h 2091287"/>
              <a:gd name="csX169" fmla="*/ 478113 w 733006"/>
              <a:gd name="csY169" fmla="*/ 595843 h 2091287"/>
              <a:gd name="csX170" fmla="*/ 478796 w 733006"/>
              <a:gd name="csY170" fmla="*/ 556832 h 2091287"/>
              <a:gd name="csX171" fmla="*/ 310220 w 733006"/>
              <a:gd name="csY171" fmla="*/ 554288 h 2091287"/>
              <a:gd name="csX172" fmla="*/ 348836 w 733006"/>
              <a:gd name="csY172" fmla="*/ 684115 h 2091287"/>
              <a:gd name="csX173" fmla="*/ 281333 w 733006"/>
              <a:gd name="csY173" fmla="*/ 683313 h 2091287"/>
              <a:gd name="csX174" fmla="*/ 212728 w 733006"/>
              <a:gd name="csY174" fmla="*/ 681931 h 2091287"/>
              <a:gd name="csX175" fmla="*/ 187283 w 733006"/>
              <a:gd name="csY175" fmla="*/ 689555 h 2091287"/>
              <a:gd name="csX176" fmla="*/ 186163 w 733006"/>
              <a:gd name="csY176" fmla="*/ 718266 h 2091287"/>
              <a:gd name="csX177" fmla="*/ 209894 w 733006"/>
              <a:gd name="csY177" fmla="*/ 726798 h 2091287"/>
              <a:gd name="csX178" fmla="*/ 334814 w 733006"/>
              <a:gd name="csY178" fmla="*/ 732494 h 2091287"/>
              <a:gd name="csX179" fmla="*/ 364856 w 733006"/>
              <a:gd name="csY179" fmla="*/ 707963 h 2091287"/>
              <a:gd name="csX180" fmla="*/ 348836 w 733006"/>
              <a:gd name="csY180" fmla="*/ 684115 h 2091287"/>
              <a:gd name="csX181" fmla="*/ 298865 w 733006"/>
              <a:gd name="csY181" fmla="*/ 621954 h 2091287"/>
              <a:gd name="csX182" fmla="*/ 251619 w 733006"/>
              <a:gd name="csY182" fmla="*/ 622133 h 2091287"/>
              <a:gd name="csX183" fmla="*/ 214459 w 733006"/>
              <a:gd name="csY183" fmla="*/ 636230 h 2091287"/>
              <a:gd name="csX184" fmla="*/ 221436 w 733006"/>
              <a:gd name="csY184" fmla="*/ 654205 h 2091287"/>
              <a:gd name="csX185" fmla="*/ 272412 w 733006"/>
              <a:gd name="csY185" fmla="*/ 657250 h 2091287"/>
              <a:gd name="csX186" fmla="*/ 349094 w 733006"/>
              <a:gd name="csY186" fmla="*/ 659282 h 2091287"/>
              <a:gd name="csX187" fmla="*/ 362996 w 733006"/>
              <a:gd name="csY187" fmla="*/ 644234 h 2091287"/>
              <a:gd name="csX188" fmla="*/ 348472 w 733006"/>
              <a:gd name="csY188" fmla="*/ 624649 h 2091287"/>
              <a:gd name="csX189" fmla="*/ 298865 w 733006"/>
              <a:gd name="csY189" fmla="*/ 621954 h 2091287"/>
              <a:gd name="csX190" fmla="*/ 227796 w 733006"/>
              <a:gd name="csY190" fmla="*/ 528000 h 2091287"/>
              <a:gd name="csX191" fmla="*/ 241009 w 733006"/>
              <a:gd name="csY191" fmla="*/ 545897 h 2091287"/>
              <a:gd name="csX192" fmla="*/ 282607 w 733006"/>
              <a:gd name="csY192" fmla="*/ 543480 h 2091287"/>
              <a:gd name="csX193" fmla="*/ 354213 w 733006"/>
              <a:gd name="csY193" fmla="*/ 543384 h 2091287"/>
              <a:gd name="csX194" fmla="*/ 365334 w 733006"/>
              <a:gd name="csY194" fmla="*/ 533397 h 2091287"/>
              <a:gd name="csX195" fmla="*/ 354531 w 733006"/>
              <a:gd name="csY195" fmla="*/ 521620 h 2091287"/>
              <a:gd name="csX196" fmla="*/ 259169 w 733006"/>
              <a:gd name="csY196" fmla="*/ 521978 h 2091287"/>
              <a:gd name="csX197" fmla="*/ 227796 w 733006"/>
              <a:gd name="csY197" fmla="*/ 528000 h 2091287"/>
              <a:gd name="csX198" fmla="*/ 508068 w 733006"/>
              <a:gd name="csY198" fmla="*/ 190710 h 2091287"/>
              <a:gd name="csX199" fmla="*/ 521293 w 733006"/>
              <a:gd name="csY199" fmla="*/ 205907 h 2091287"/>
              <a:gd name="csX200" fmla="*/ 525175 w 733006"/>
              <a:gd name="csY200" fmla="*/ 202985 h 2091287"/>
              <a:gd name="csX201" fmla="*/ 500276 w 733006"/>
              <a:gd name="csY201" fmla="*/ 160640 h 2091287"/>
              <a:gd name="csX202" fmla="*/ 497122 w 733006"/>
              <a:gd name="csY202" fmla="*/ 162007 h 2091287"/>
              <a:gd name="csX203" fmla="*/ 508068 w 733006"/>
              <a:gd name="csY203" fmla="*/ 190710 h 2091287"/>
              <a:gd name="csX204" fmla="*/ 215522 w 733006"/>
              <a:gd name="csY204" fmla="*/ 197296 h 2091287"/>
              <a:gd name="csX205" fmla="*/ 234029 w 733006"/>
              <a:gd name="csY205" fmla="*/ 162725 h 2091287"/>
              <a:gd name="csX206" fmla="*/ 229000 w 733006"/>
              <a:gd name="csY206" fmla="*/ 159902 h 2091287"/>
              <a:gd name="csX207" fmla="*/ 204824 w 733006"/>
              <a:gd name="csY207" fmla="*/ 199677 h 2091287"/>
              <a:gd name="csX208" fmla="*/ 207990 w 733006"/>
              <a:gd name="csY208" fmla="*/ 202198 h 2091287"/>
              <a:gd name="csX209" fmla="*/ 215522 w 733006"/>
              <a:gd name="csY209" fmla="*/ 197296 h 2091287"/>
              <a:gd name="csX210" fmla="*/ 484400 w 733006"/>
              <a:gd name="csY210" fmla="*/ 896678 h 2091287"/>
              <a:gd name="csX211" fmla="*/ 486181 w 733006"/>
              <a:gd name="csY211" fmla="*/ 896585 h 2091287"/>
              <a:gd name="csX212" fmla="*/ 486181 w 733006"/>
              <a:gd name="csY212" fmla="*/ 795289 h 2091287"/>
              <a:gd name="csX0" fmla="*/ 96263 w 733006"/>
              <a:gd name="csY0" fmla="*/ 2076207 h 2092038"/>
              <a:gd name="csX1" fmla="*/ 63862 w 733006"/>
              <a:gd name="csY1" fmla="*/ 2065388 h 2092038"/>
              <a:gd name="csX2" fmla="*/ 16555 w 733006"/>
              <a:gd name="csY2" fmla="*/ 2050152 h 2092038"/>
              <a:gd name="csX3" fmla="*/ 15 w 733006"/>
              <a:gd name="csY3" fmla="*/ 2023802 h 2092038"/>
              <a:gd name="csX4" fmla="*/ 18368 w 733006"/>
              <a:gd name="csY4" fmla="*/ 1940709 h 2092038"/>
              <a:gd name="csX5" fmla="*/ 22139 w 733006"/>
              <a:gd name="csY5" fmla="*/ 1907268 h 2092038"/>
              <a:gd name="csX6" fmla="*/ 57941 w 733006"/>
              <a:gd name="csY6" fmla="*/ 1774163 h 2092038"/>
              <a:gd name="csX7" fmla="*/ 102478 w 733006"/>
              <a:gd name="csY7" fmla="*/ 1720275 h 2092038"/>
              <a:gd name="csX8" fmla="*/ 108579 w 733006"/>
              <a:gd name="csY8" fmla="*/ 1650967 h 2092038"/>
              <a:gd name="csX9" fmla="*/ 115628 w 733006"/>
              <a:gd name="csY9" fmla="*/ 1625405 h 2092038"/>
              <a:gd name="csX10" fmla="*/ 156323 w 733006"/>
              <a:gd name="csY10" fmla="*/ 1560181 h 2092038"/>
              <a:gd name="csX11" fmla="*/ 199424 w 733006"/>
              <a:gd name="csY11" fmla="*/ 1364729 h 2092038"/>
              <a:gd name="csX12" fmla="*/ 216779 w 733006"/>
              <a:gd name="csY12" fmla="*/ 1219490 h 2092038"/>
              <a:gd name="csX13" fmla="*/ 229755 w 733006"/>
              <a:gd name="csY13" fmla="*/ 1099357 h 2092038"/>
              <a:gd name="csX14" fmla="*/ 232707 w 733006"/>
              <a:gd name="csY14" fmla="*/ 1056423 h 2092038"/>
              <a:gd name="csX15" fmla="*/ 235622 w 733006"/>
              <a:gd name="csY15" fmla="*/ 952675 h 2092038"/>
              <a:gd name="csX16" fmla="*/ 235445 w 733006"/>
              <a:gd name="csY16" fmla="*/ 780278 h 2092038"/>
              <a:gd name="csX17" fmla="*/ 214544 w 733006"/>
              <a:gd name="csY17" fmla="*/ 756435 h 2092038"/>
              <a:gd name="csX18" fmla="*/ 172569 w 733006"/>
              <a:gd name="csY18" fmla="*/ 742582 h 2092038"/>
              <a:gd name="csX19" fmla="*/ 168784 w 733006"/>
              <a:gd name="csY19" fmla="*/ 669116 h 2092038"/>
              <a:gd name="csX20" fmla="*/ 191657 w 733006"/>
              <a:gd name="csY20" fmla="*/ 630765 h 2092038"/>
              <a:gd name="csX21" fmla="*/ 208150 w 733006"/>
              <a:gd name="csY21" fmla="*/ 609084 h 2092038"/>
              <a:gd name="csX22" fmla="*/ 216756 w 733006"/>
              <a:gd name="csY22" fmla="*/ 558673 h 2092038"/>
              <a:gd name="csX23" fmla="*/ 209092 w 733006"/>
              <a:gd name="csY23" fmla="*/ 521540 h 2092038"/>
              <a:gd name="csX24" fmla="*/ 204683 w 733006"/>
              <a:gd name="csY24" fmla="*/ 474024 h 2092038"/>
              <a:gd name="csX25" fmla="*/ 115483 w 733006"/>
              <a:gd name="csY25" fmla="*/ 213499 h 2092038"/>
              <a:gd name="csX26" fmla="*/ 102909 w 733006"/>
              <a:gd name="csY26" fmla="*/ 182297 h 2092038"/>
              <a:gd name="csX27" fmla="*/ 104315 w 733006"/>
              <a:gd name="csY27" fmla="*/ 163968 h 2092038"/>
              <a:gd name="csX28" fmla="*/ 122444 w 733006"/>
              <a:gd name="csY28" fmla="*/ 160805 h 2092038"/>
              <a:gd name="csX29" fmla="*/ 170283 w 733006"/>
              <a:gd name="csY29" fmla="*/ 187783 h 2092038"/>
              <a:gd name="csX30" fmla="*/ 180938 w 733006"/>
              <a:gd name="csY30" fmla="*/ 195322 h 2092038"/>
              <a:gd name="csX31" fmla="*/ 221419 w 733006"/>
              <a:gd name="csY31" fmla="*/ 138058 h 2092038"/>
              <a:gd name="csX32" fmla="*/ 294099 w 733006"/>
              <a:gd name="csY32" fmla="*/ 91372 h 2092038"/>
              <a:gd name="csX33" fmla="*/ 302307 w 733006"/>
              <a:gd name="csY33" fmla="*/ 76560 h 2092038"/>
              <a:gd name="csX34" fmla="*/ 320284 w 733006"/>
              <a:gd name="csY34" fmla="*/ 8414 h 2092038"/>
              <a:gd name="csX35" fmla="*/ 324784 w 733006"/>
              <a:gd name="csY35" fmla="*/ 946 h 2092038"/>
              <a:gd name="csX36" fmla="*/ 399212 w 733006"/>
              <a:gd name="csY36" fmla="*/ 0 h 2092038"/>
              <a:gd name="csX37" fmla="*/ 425980 w 733006"/>
              <a:gd name="csY37" fmla="*/ 78301 h 2092038"/>
              <a:gd name="csX38" fmla="*/ 431861 w 733006"/>
              <a:gd name="csY38" fmla="*/ 90312 h 2092038"/>
              <a:gd name="csX39" fmla="*/ 540349 w 733006"/>
              <a:gd name="csY39" fmla="*/ 187946 h 2092038"/>
              <a:gd name="csX40" fmla="*/ 545555 w 733006"/>
              <a:gd name="csY40" fmla="*/ 197828 h 2092038"/>
              <a:gd name="csX41" fmla="*/ 587318 w 733006"/>
              <a:gd name="csY41" fmla="*/ 171260 h 2092038"/>
              <a:gd name="csX42" fmla="*/ 601503 w 733006"/>
              <a:gd name="csY42" fmla="*/ 163707 h 2092038"/>
              <a:gd name="csX43" fmla="*/ 625254 w 733006"/>
              <a:gd name="csY43" fmla="*/ 163123 h 2092038"/>
              <a:gd name="csX44" fmla="*/ 625468 w 733006"/>
              <a:gd name="csY44" fmla="*/ 187579 h 2092038"/>
              <a:gd name="csX45" fmla="*/ 597543 w 733006"/>
              <a:gd name="csY45" fmla="*/ 251872 h 2092038"/>
              <a:gd name="csX46" fmla="*/ 531831 w 733006"/>
              <a:gd name="csY46" fmla="*/ 442689 h 2092038"/>
              <a:gd name="csX47" fmla="*/ 519888 w 733006"/>
              <a:gd name="csY47" fmla="*/ 501474 h 2092038"/>
              <a:gd name="csX48" fmla="*/ 522506 w 733006"/>
              <a:gd name="csY48" fmla="*/ 525086 h 2092038"/>
              <a:gd name="csX49" fmla="*/ 516235 w 733006"/>
              <a:gd name="csY49" fmla="*/ 555946 h 2092038"/>
              <a:gd name="csX50" fmla="*/ 521332 w 733006"/>
              <a:gd name="csY50" fmla="*/ 610676 h 2092038"/>
              <a:gd name="csX51" fmla="*/ 541382 w 733006"/>
              <a:gd name="csY51" fmla="*/ 642597 h 2092038"/>
              <a:gd name="csX52" fmla="*/ 557031 w 733006"/>
              <a:gd name="csY52" fmla="*/ 667949 h 2092038"/>
              <a:gd name="csX53" fmla="*/ 553994 w 733006"/>
              <a:gd name="csY53" fmla="*/ 744146 h 2092038"/>
              <a:gd name="csX54" fmla="*/ 508215 w 733006"/>
              <a:gd name="csY54" fmla="*/ 758841 h 2092038"/>
              <a:gd name="csX55" fmla="*/ 497442 w 733006"/>
              <a:gd name="csY55" fmla="*/ 771256 h 2092038"/>
              <a:gd name="csX56" fmla="*/ 493005 w 733006"/>
              <a:gd name="csY56" fmla="*/ 922055 h 2092038"/>
              <a:gd name="csX57" fmla="*/ 502900 w 733006"/>
              <a:gd name="csY57" fmla="*/ 1114191 h 2092038"/>
              <a:gd name="csX58" fmla="*/ 508800 w 733006"/>
              <a:gd name="csY58" fmla="*/ 1205474 h 2092038"/>
              <a:gd name="csX59" fmla="*/ 522952 w 733006"/>
              <a:gd name="csY59" fmla="*/ 1320065 h 2092038"/>
              <a:gd name="csX60" fmla="*/ 554682 w 733006"/>
              <a:gd name="csY60" fmla="*/ 1501203 h 2092038"/>
              <a:gd name="csX61" fmla="*/ 576958 w 733006"/>
              <a:gd name="csY61" fmla="*/ 1593963 h 2092038"/>
              <a:gd name="csX62" fmla="*/ 595349 w 733006"/>
              <a:gd name="csY62" fmla="*/ 1613498 h 2092038"/>
              <a:gd name="csX63" fmla="*/ 613936 w 733006"/>
              <a:gd name="csY63" fmla="*/ 1624058 h 2092038"/>
              <a:gd name="csX64" fmla="*/ 620938 w 733006"/>
              <a:gd name="csY64" fmla="*/ 1652071 h 2092038"/>
              <a:gd name="csX65" fmla="*/ 630805 w 733006"/>
              <a:gd name="csY65" fmla="*/ 1721702 h 2092038"/>
              <a:gd name="csX66" fmla="*/ 685830 w 733006"/>
              <a:gd name="csY66" fmla="*/ 1792915 h 2092038"/>
              <a:gd name="csX67" fmla="*/ 708904 w 733006"/>
              <a:gd name="csY67" fmla="*/ 1890290 h 2092038"/>
              <a:gd name="csX68" fmla="*/ 716580 w 733006"/>
              <a:gd name="csY68" fmla="*/ 1951136 h 2092038"/>
              <a:gd name="csX69" fmla="*/ 729397 w 733006"/>
              <a:gd name="csY69" fmla="*/ 2030261 h 2092038"/>
              <a:gd name="csX70" fmla="*/ 714212 w 733006"/>
              <a:gd name="csY70" fmla="*/ 2059069 h 2092038"/>
              <a:gd name="csX71" fmla="*/ 96263 w 733006"/>
              <a:gd name="csY71" fmla="*/ 2076207 h 2092038"/>
              <a:gd name="csX72" fmla="*/ 489970 w 733006"/>
              <a:gd name="csY72" fmla="*/ 152208 h 2092038"/>
              <a:gd name="csX73" fmla="*/ 490754 w 733006"/>
              <a:gd name="csY73" fmla="*/ 152592 h 2092038"/>
              <a:gd name="csX74" fmla="*/ 489489 w 733006"/>
              <a:gd name="csY74" fmla="*/ 149547 h 2092038"/>
              <a:gd name="csX75" fmla="*/ 393621 w 733006"/>
              <a:gd name="csY75" fmla="*/ 99259 h 2092038"/>
              <a:gd name="csX76" fmla="*/ 390419 w 733006"/>
              <a:gd name="csY76" fmla="*/ 18568 h 2092038"/>
              <a:gd name="csX77" fmla="*/ 334131 w 733006"/>
              <a:gd name="csY77" fmla="*/ 24327 h 2092038"/>
              <a:gd name="csX78" fmla="*/ 344678 w 733006"/>
              <a:gd name="csY78" fmla="*/ 101259 h 2092038"/>
              <a:gd name="csX79" fmla="*/ 298854 w 733006"/>
              <a:gd name="csY79" fmla="*/ 114003 h 2092038"/>
              <a:gd name="csX80" fmla="*/ 237456 w 733006"/>
              <a:gd name="csY80" fmla="*/ 154340 h 2092038"/>
              <a:gd name="csX81" fmla="*/ 240382 w 733006"/>
              <a:gd name="csY81" fmla="*/ 154035 h 2092038"/>
              <a:gd name="csX82" fmla="*/ 262731 w 733006"/>
              <a:gd name="csY82" fmla="*/ 170426 h 2092038"/>
              <a:gd name="csX83" fmla="*/ 279169 w 733006"/>
              <a:gd name="csY83" fmla="*/ 193173 h 2092038"/>
              <a:gd name="csX84" fmla="*/ 327717 w 733006"/>
              <a:gd name="csY84" fmla="*/ 188556 h 2092038"/>
              <a:gd name="csX85" fmla="*/ 348052 w 733006"/>
              <a:gd name="csY85" fmla="*/ 156919 h 2092038"/>
              <a:gd name="csX86" fmla="*/ 380330 w 733006"/>
              <a:gd name="csY86" fmla="*/ 156483 h 2092038"/>
              <a:gd name="csX87" fmla="*/ 408490 w 733006"/>
              <a:gd name="csY87" fmla="*/ 195400 h 2092038"/>
              <a:gd name="csX88" fmla="*/ 445346 w 733006"/>
              <a:gd name="csY88" fmla="*/ 197582 h 2092038"/>
              <a:gd name="csX89" fmla="*/ 464798 w 733006"/>
              <a:gd name="csY89" fmla="*/ 174107 h 2092038"/>
              <a:gd name="csX90" fmla="*/ 489970 w 733006"/>
              <a:gd name="csY90" fmla="*/ 152208 h 2092038"/>
              <a:gd name="csX91" fmla="*/ 140694 w 733006"/>
              <a:gd name="csY91" fmla="*/ 201837 h 2092038"/>
              <a:gd name="csX92" fmla="*/ 139834 w 733006"/>
              <a:gd name="csY92" fmla="*/ 201482 h 2092038"/>
              <a:gd name="csX93" fmla="*/ 140812 w 733006"/>
              <a:gd name="csY93" fmla="*/ 204941 h 2092038"/>
              <a:gd name="csX94" fmla="*/ 144631 w 733006"/>
              <a:gd name="csY94" fmla="*/ 217811 h 2092038"/>
              <a:gd name="csX95" fmla="*/ 201241 w 733006"/>
              <a:gd name="csY95" fmla="*/ 373387 h 2092038"/>
              <a:gd name="csX96" fmla="*/ 235971 w 733006"/>
              <a:gd name="csY96" fmla="*/ 504451 h 2092038"/>
              <a:gd name="csX97" fmla="*/ 247475 w 733006"/>
              <a:gd name="csY97" fmla="*/ 513241 h 2092038"/>
              <a:gd name="csX98" fmla="*/ 289066 w 733006"/>
              <a:gd name="csY98" fmla="*/ 511170 h 2092038"/>
              <a:gd name="csX99" fmla="*/ 378229 w 733006"/>
              <a:gd name="csY99" fmla="*/ 511084 h 2092038"/>
              <a:gd name="csX100" fmla="*/ 470850 w 733006"/>
              <a:gd name="csY100" fmla="*/ 516341 h 2092038"/>
              <a:gd name="csX101" fmla="*/ 492933 w 733006"/>
              <a:gd name="csY101" fmla="*/ 497969 h 2092038"/>
              <a:gd name="csX102" fmla="*/ 557617 w 733006"/>
              <a:gd name="csY102" fmla="*/ 280398 h 2092038"/>
              <a:gd name="csX103" fmla="*/ 588788 w 733006"/>
              <a:gd name="csY103" fmla="*/ 200385 h 2092038"/>
              <a:gd name="csX104" fmla="*/ 530958 w 733006"/>
              <a:gd name="csY104" fmla="*/ 232968 h 2092038"/>
              <a:gd name="csX105" fmla="*/ 483823 w 733006"/>
              <a:gd name="csY105" fmla="*/ 190364 h 2092038"/>
              <a:gd name="csX106" fmla="*/ 466649 w 733006"/>
              <a:gd name="csY106" fmla="*/ 209061 h 2092038"/>
              <a:gd name="csX107" fmla="*/ 399941 w 733006"/>
              <a:gd name="csY107" fmla="*/ 216988 h 2092038"/>
              <a:gd name="csX108" fmla="*/ 363018 w 733006"/>
              <a:gd name="csY108" fmla="*/ 179615 h 2092038"/>
              <a:gd name="csX109" fmla="*/ 308839 w 733006"/>
              <a:gd name="csY109" fmla="*/ 227846 h 2092038"/>
              <a:gd name="csX110" fmla="*/ 245077 w 733006"/>
              <a:gd name="csY110" fmla="*/ 192402 h 2092038"/>
              <a:gd name="csX111" fmla="*/ 242829 w 733006"/>
              <a:gd name="csY111" fmla="*/ 198815 h 2092038"/>
              <a:gd name="csX112" fmla="*/ 168452 w 733006"/>
              <a:gd name="csY112" fmla="*/ 219348 h 2092038"/>
              <a:gd name="csX113" fmla="*/ 140694 w 733006"/>
              <a:gd name="csY113" fmla="*/ 201837 h 2092038"/>
              <a:gd name="csX114" fmla="*/ 259999 w 733006"/>
              <a:gd name="csY114" fmla="*/ 966699 h 2092038"/>
              <a:gd name="csX115" fmla="*/ 257072 w 733006"/>
              <a:gd name="csY115" fmla="*/ 1070424 h 2092038"/>
              <a:gd name="csX116" fmla="*/ 251372 w 733006"/>
              <a:gd name="csY116" fmla="*/ 1157618 h 2092038"/>
              <a:gd name="csX117" fmla="*/ 232677 w 733006"/>
              <a:gd name="csY117" fmla="*/ 1320279 h 2092038"/>
              <a:gd name="csX118" fmla="*/ 209182 w 733006"/>
              <a:gd name="csY118" fmla="*/ 1468667 h 2092038"/>
              <a:gd name="csX119" fmla="*/ 175302 w 733006"/>
              <a:gd name="csY119" fmla="*/ 1616623 h 2092038"/>
              <a:gd name="csX120" fmla="*/ 182769 w 733006"/>
              <a:gd name="csY120" fmla="*/ 1629786 h 2092038"/>
              <a:gd name="csX121" fmla="*/ 212156 w 733006"/>
              <a:gd name="csY121" fmla="*/ 1632656 h 2092038"/>
              <a:gd name="csX122" fmla="*/ 351295 w 733006"/>
              <a:gd name="csY122" fmla="*/ 1632801 h 2092038"/>
              <a:gd name="csX123" fmla="*/ 376150 w 733006"/>
              <a:gd name="csY123" fmla="*/ 1608307 h 2092038"/>
              <a:gd name="csX124" fmla="*/ 373450 w 733006"/>
              <a:gd name="csY124" fmla="*/ 1457291 h 2092038"/>
              <a:gd name="csX125" fmla="*/ 370936 w 733006"/>
              <a:gd name="csY125" fmla="*/ 1342736 h 2092038"/>
              <a:gd name="csX126" fmla="*/ 368328 w 733006"/>
              <a:gd name="csY126" fmla="*/ 1203878 h 2092038"/>
              <a:gd name="csX127" fmla="*/ 367836 w 733006"/>
              <a:gd name="csY127" fmla="*/ 813478 h 2092038"/>
              <a:gd name="csX128" fmla="*/ 365240 w 733006"/>
              <a:gd name="csY128" fmla="*/ 773243 h 2092038"/>
              <a:gd name="csX129" fmla="*/ 353084 w 733006"/>
              <a:gd name="csY129" fmla="*/ 762083 h 2092038"/>
              <a:gd name="csX130" fmla="*/ 280966 w 733006"/>
              <a:gd name="csY130" fmla="*/ 759855 h 2092038"/>
              <a:gd name="csX131" fmla="*/ 259965 w 733006"/>
              <a:gd name="csY131" fmla="*/ 779553 h 2092038"/>
              <a:gd name="csX132" fmla="*/ 262341 w 733006"/>
              <a:gd name="csY132" fmla="*/ 856275 h 2092038"/>
              <a:gd name="csX133" fmla="*/ 259999 w 733006"/>
              <a:gd name="csY133" fmla="*/ 966699 h 2092038"/>
              <a:gd name="csX134" fmla="*/ 55556 w 733006"/>
              <a:gd name="csY134" fmla="*/ 1835827 h 2092038"/>
              <a:gd name="csX135" fmla="*/ 49393 w 733006"/>
              <a:gd name="csY135" fmla="*/ 1878155 h 2092038"/>
              <a:gd name="csX136" fmla="*/ 73949 w 733006"/>
              <a:gd name="csY136" fmla="*/ 1905781 h 2092038"/>
              <a:gd name="csX137" fmla="*/ 110073 w 733006"/>
              <a:gd name="csY137" fmla="*/ 1909068 h 2092038"/>
              <a:gd name="csX138" fmla="*/ 224745 w 733006"/>
              <a:gd name="csY138" fmla="*/ 1921652 h 2092038"/>
              <a:gd name="csX139" fmla="*/ 347327 w 733006"/>
              <a:gd name="csY139" fmla="*/ 1924778 h 2092038"/>
              <a:gd name="csX140" fmla="*/ 363345 w 733006"/>
              <a:gd name="csY140" fmla="*/ 1923293 h 2092038"/>
              <a:gd name="csX141" fmla="*/ 373787 w 733006"/>
              <a:gd name="csY141" fmla="*/ 1911200 h 2092038"/>
              <a:gd name="csX142" fmla="*/ 376623 w 733006"/>
              <a:gd name="csY142" fmla="*/ 1696741 h 2092038"/>
              <a:gd name="csX143" fmla="*/ 360437 w 733006"/>
              <a:gd name="csY143" fmla="*/ 1681289 h 2092038"/>
              <a:gd name="csX144" fmla="*/ 263503 w 733006"/>
              <a:gd name="csY144" fmla="*/ 1678179 h 2092038"/>
              <a:gd name="csX145" fmla="*/ 160381 w 733006"/>
              <a:gd name="csY145" fmla="*/ 1670405 h 2092038"/>
              <a:gd name="csX146" fmla="*/ 143321 w 733006"/>
              <a:gd name="csY146" fmla="*/ 1685538 h 2092038"/>
              <a:gd name="csX147" fmla="*/ 124769 w 733006"/>
              <a:gd name="csY147" fmla="*/ 1738195 h 2092038"/>
              <a:gd name="csX148" fmla="*/ 90593 w 733006"/>
              <a:gd name="csY148" fmla="*/ 1779570 h 2092038"/>
              <a:gd name="csX149" fmla="*/ 55556 w 733006"/>
              <a:gd name="csY149" fmla="*/ 1835827 h 2092038"/>
              <a:gd name="csX150" fmla="*/ 378900 w 733006"/>
              <a:gd name="csY150" fmla="*/ 2007280 h 2092038"/>
              <a:gd name="csX151" fmla="*/ 378887 w 733006"/>
              <a:gd name="csY151" fmla="*/ 1995127 h 2092038"/>
              <a:gd name="csX152" fmla="*/ 359084 w 733006"/>
              <a:gd name="csY152" fmla="*/ 1975964 h 2092038"/>
              <a:gd name="csX153" fmla="*/ 247288 w 733006"/>
              <a:gd name="csY153" fmla="*/ 1973305 h 2092038"/>
              <a:gd name="csX154" fmla="*/ 201692 w 733006"/>
              <a:gd name="csY154" fmla="*/ 1970275 h 2092038"/>
              <a:gd name="csX155" fmla="*/ 57962 w 733006"/>
              <a:gd name="csY155" fmla="*/ 1952648 h 2092038"/>
              <a:gd name="csX156" fmla="*/ 39194 w 733006"/>
              <a:gd name="csY156" fmla="*/ 1963552 h 2092038"/>
              <a:gd name="csX157" fmla="*/ 30066 w 733006"/>
              <a:gd name="csY157" fmla="*/ 2006631 h 2092038"/>
              <a:gd name="csX158" fmla="*/ 40232 w 733006"/>
              <a:gd name="csY158" fmla="*/ 2019486 h 2092038"/>
              <a:gd name="csX159" fmla="*/ 238186 w 733006"/>
              <a:gd name="csY159" fmla="*/ 2046096 h 2092038"/>
              <a:gd name="csX160" fmla="*/ 342155 w 733006"/>
              <a:gd name="csY160" fmla="*/ 2046441 h 2092038"/>
              <a:gd name="csX161" fmla="*/ 378900 w 733006"/>
              <a:gd name="csY161" fmla="*/ 2007280 h 2092038"/>
              <a:gd name="csX162" fmla="*/ 310220 w 733006"/>
              <a:gd name="csY162" fmla="*/ 554288 h 2092038"/>
              <a:gd name="csX163" fmla="*/ 259136 w 733006"/>
              <a:gd name="csY163" fmla="*/ 556881 h 2092038"/>
              <a:gd name="csX164" fmla="*/ 249085 w 733006"/>
              <a:gd name="csY164" fmla="*/ 567981 h 2092038"/>
              <a:gd name="csX165" fmla="*/ 249141 w 733006"/>
              <a:gd name="csY165" fmla="*/ 605644 h 2092038"/>
              <a:gd name="csX166" fmla="*/ 262628 w 733006"/>
              <a:gd name="csY166" fmla="*/ 605627 h 2092038"/>
              <a:gd name="csX167" fmla="*/ 369608 w 733006"/>
              <a:gd name="csY167" fmla="*/ 603027 h 2092038"/>
              <a:gd name="csX168" fmla="*/ 463931 w 733006"/>
              <a:gd name="csY168" fmla="*/ 605146 h 2092038"/>
              <a:gd name="csX169" fmla="*/ 478113 w 733006"/>
              <a:gd name="csY169" fmla="*/ 595843 h 2092038"/>
              <a:gd name="csX170" fmla="*/ 478796 w 733006"/>
              <a:gd name="csY170" fmla="*/ 556832 h 2092038"/>
              <a:gd name="csX171" fmla="*/ 310220 w 733006"/>
              <a:gd name="csY171" fmla="*/ 554288 h 2092038"/>
              <a:gd name="csX172" fmla="*/ 348836 w 733006"/>
              <a:gd name="csY172" fmla="*/ 684115 h 2092038"/>
              <a:gd name="csX173" fmla="*/ 281333 w 733006"/>
              <a:gd name="csY173" fmla="*/ 683313 h 2092038"/>
              <a:gd name="csX174" fmla="*/ 212728 w 733006"/>
              <a:gd name="csY174" fmla="*/ 681931 h 2092038"/>
              <a:gd name="csX175" fmla="*/ 187283 w 733006"/>
              <a:gd name="csY175" fmla="*/ 689555 h 2092038"/>
              <a:gd name="csX176" fmla="*/ 186163 w 733006"/>
              <a:gd name="csY176" fmla="*/ 718266 h 2092038"/>
              <a:gd name="csX177" fmla="*/ 209894 w 733006"/>
              <a:gd name="csY177" fmla="*/ 726798 h 2092038"/>
              <a:gd name="csX178" fmla="*/ 334814 w 733006"/>
              <a:gd name="csY178" fmla="*/ 732494 h 2092038"/>
              <a:gd name="csX179" fmla="*/ 364856 w 733006"/>
              <a:gd name="csY179" fmla="*/ 707963 h 2092038"/>
              <a:gd name="csX180" fmla="*/ 348836 w 733006"/>
              <a:gd name="csY180" fmla="*/ 684115 h 2092038"/>
              <a:gd name="csX181" fmla="*/ 298865 w 733006"/>
              <a:gd name="csY181" fmla="*/ 621954 h 2092038"/>
              <a:gd name="csX182" fmla="*/ 251619 w 733006"/>
              <a:gd name="csY182" fmla="*/ 622133 h 2092038"/>
              <a:gd name="csX183" fmla="*/ 214459 w 733006"/>
              <a:gd name="csY183" fmla="*/ 636230 h 2092038"/>
              <a:gd name="csX184" fmla="*/ 221436 w 733006"/>
              <a:gd name="csY184" fmla="*/ 654205 h 2092038"/>
              <a:gd name="csX185" fmla="*/ 272412 w 733006"/>
              <a:gd name="csY185" fmla="*/ 657250 h 2092038"/>
              <a:gd name="csX186" fmla="*/ 349094 w 733006"/>
              <a:gd name="csY186" fmla="*/ 659282 h 2092038"/>
              <a:gd name="csX187" fmla="*/ 362996 w 733006"/>
              <a:gd name="csY187" fmla="*/ 644234 h 2092038"/>
              <a:gd name="csX188" fmla="*/ 348472 w 733006"/>
              <a:gd name="csY188" fmla="*/ 624649 h 2092038"/>
              <a:gd name="csX189" fmla="*/ 298865 w 733006"/>
              <a:gd name="csY189" fmla="*/ 621954 h 2092038"/>
              <a:gd name="csX190" fmla="*/ 227796 w 733006"/>
              <a:gd name="csY190" fmla="*/ 528000 h 2092038"/>
              <a:gd name="csX191" fmla="*/ 241009 w 733006"/>
              <a:gd name="csY191" fmla="*/ 545897 h 2092038"/>
              <a:gd name="csX192" fmla="*/ 282607 w 733006"/>
              <a:gd name="csY192" fmla="*/ 543480 h 2092038"/>
              <a:gd name="csX193" fmla="*/ 354213 w 733006"/>
              <a:gd name="csY193" fmla="*/ 543384 h 2092038"/>
              <a:gd name="csX194" fmla="*/ 365334 w 733006"/>
              <a:gd name="csY194" fmla="*/ 533397 h 2092038"/>
              <a:gd name="csX195" fmla="*/ 354531 w 733006"/>
              <a:gd name="csY195" fmla="*/ 521620 h 2092038"/>
              <a:gd name="csX196" fmla="*/ 259169 w 733006"/>
              <a:gd name="csY196" fmla="*/ 521978 h 2092038"/>
              <a:gd name="csX197" fmla="*/ 227796 w 733006"/>
              <a:gd name="csY197" fmla="*/ 528000 h 2092038"/>
              <a:gd name="csX198" fmla="*/ 508068 w 733006"/>
              <a:gd name="csY198" fmla="*/ 190710 h 2092038"/>
              <a:gd name="csX199" fmla="*/ 521293 w 733006"/>
              <a:gd name="csY199" fmla="*/ 205907 h 2092038"/>
              <a:gd name="csX200" fmla="*/ 525175 w 733006"/>
              <a:gd name="csY200" fmla="*/ 202985 h 2092038"/>
              <a:gd name="csX201" fmla="*/ 500276 w 733006"/>
              <a:gd name="csY201" fmla="*/ 160640 h 2092038"/>
              <a:gd name="csX202" fmla="*/ 497122 w 733006"/>
              <a:gd name="csY202" fmla="*/ 162007 h 2092038"/>
              <a:gd name="csX203" fmla="*/ 508068 w 733006"/>
              <a:gd name="csY203" fmla="*/ 190710 h 2092038"/>
              <a:gd name="csX204" fmla="*/ 215522 w 733006"/>
              <a:gd name="csY204" fmla="*/ 197296 h 2092038"/>
              <a:gd name="csX205" fmla="*/ 234029 w 733006"/>
              <a:gd name="csY205" fmla="*/ 162725 h 2092038"/>
              <a:gd name="csX206" fmla="*/ 229000 w 733006"/>
              <a:gd name="csY206" fmla="*/ 159902 h 2092038"/>
              <a:gd name="csX207" fmla="*/ 204824 w 733006"/>
              <a:gd name="csY207" fmla="*/ 199677 h 2092038"/>
              <a:gd name="csX208" fmla="*/ 207990 w 733006"/>
              <a:gd name="csY208" fmla="*/ 202198 h 2092038"/>
              <a:gd name="csX209" fmla="*/ 215522 w 733006"/>
              <a:gd name="csY209" fmla="*/ 197296 h 2092038"/>
              <a:gd name="csX210" fmla="*/ 484400 w 733006"/>
              <a:gd name="csY210" fmla="*/ 896678 h 2092038"/>
              <a:gd name="csX211" fmla="*/ 486181 w 733006"/>
              <a:gd name="csY211" fmla="*/ 896585 h 2092038"/>
              <a:gd name="csX212" fmla="*/ 486181 w 733006"/>
              <a:gd name="csY212" fmla="*/ 795289 h 2092038"/>
              <a:gd name="csX0" fmla="*/ 96263 w 733006"/>
              <a:gd name="csY0" fmla="*/ 2076207 h 2092038"/>
              <a:gd name="csX1" fmla="*/ 63862 w 733006"/>
              <a:gd name="csY1" fmla="*/ 2065388 h 2092038"/>
              <a:gd name="csX2" fmla="*/ 16555 w 733006"/>
              <a:gd name="csY2" fmla="*/ 2050152 h 2092038"/>
              <a:gd name="csX3" fmla="*/ 15 w 733006"/>
              <a:gd name="csY3" fmla="*/ 2023802 h 2092038"/>
              <a:gd name="csX4" fmla="*/ 18368 w 733006"/>
              <a:gd name="csY4" fmla="*/ 1940709 h 2092038"/>
              <a:gd name="csX5" fmla="*/ 22139 w 733006"/>
              <a:gd name="csY5" fmla="*/ 1907268 h 2092038"/>
              <a:gd name="csX6" fmla="*/ 57941 w 733006"/>
              <a:gd name="csY6" fmla="*/ 1774163 h 2092038"/>
              <a:gd name="csX7" fmla="*/ 102478 w 733006"/>
              <a:gd name="csY7" fmla="*/ 1720275 h 2092038"/>
              <a:gd name="csX8" fmla="*/ 108579 w 733006"/>
              <a:gd name="csY8" fmla="*/ 1650967 h 2092038"/>
              <a:gd name="csX9" fmla="*/ 115628 w 733006"/>
              <a:gd name="csY9" fmla="*/ 1625405 h 2092038"/>
              <a:gd name="csX10" fmla="*/ 156323 w 733006"/>
              <a:gd name="csY10" fmla="*/ 1560181 h 2092038"/>
              <a:gd name="csX11" fmla="*/ 199424 w 733006"/>
              <a:gd name="csY11" fmla="*/ 1364729 h 2092038"/>
              <a:gd name="csX12" fmla="*/ 216779 w 733006"/>
              <a:gd name="csY12" fmla="*/ 1219490 h 2092038"/>
              <a:gd name="csX13" fmla="*/ 229755 w 733006"/>
              <a:gd name="csY13" fmla="*/ 1099357 h 2092038"/>
              <a:gd name="csX14" fmla="*/ 232707 w 733006"/>
              <a:gd name="csY14" fmla="*/ 1056423 h 2092038"/>
              <a:gd name="csX15" fmla="*/ 235622 w 733006"/>
              <a:gd name="csY15" fmla="*/ 952675 h 2092038"/>
              <a:gd name="csX16" fmla="*/ 235445 w 733006"/>
              <a:gd name="csY16" fmla="*/ 780278 h 2092038"/>
              <a:gd name="csX17" fmla="*/ 214544 w 733006"/>
              <a:gd name="csY17" fmla="*/ 756435 h 2092038"/>
              <a:gd name="csX18" fmla="*/ 172569 w 733006"/>
              <a:gd name="csY18" fmla="*/ 742582 h 2092038"/>
              <a:gd name="csX19" fmla="*/ 168784 w 733006"/>
              <a:gd name="csY19" fmla="*/ 669116 h 2092038"/>
              <a:gd name="csX20" fmla="*/ 191657 w 733006"/>
              <a:gd name="csY20" fmla="*/ 630765 h 2092038"/>
              <a:gd name="csX21" fmla="*/ 208150 w 733006"/>
              <a:gd name="csY21" fmla="*/ 609084 h 2092038"/>
              <a:gd name="csX22" fmla="*/ 216756 w 733006"/>
              <a:gd name="csY22" fmla="*/ 558673 h 2092038"/>
              <a:gd name="csX23" fmla="*/ 209092 w 733006"/>
              <a:gd name="csY23" fmla="*/ 521540 h 2092038"/>
              <a:gd name="csX24" fmla="*/ 204683 w 733006"/>
              <a:gd name="csY24" fmla="*/ 474024 h 2092038"/>
              <a:gd name="csX25" fmla="*/ 115483 w 733006"/>
              <a:gd name="csY25" fmla="*/ 213499 h 2092038"/>
              <a:gd name="csX26" fmla="*/ 102909 w 733006"/>
              <a:gd name="csY26" fmla="*/ 182297 h 2092038"/>
              <a:gd name="csX27" fmla="*/ 104315 w 733006"/>
              <a:gd name="csY27" fmla="*/ 163968 h 2092038"/>
              <a:gd name="csX28" fmla="*/ 122444 w 733006"/>
              <a:gd name="csY28" fmla="*/ 160805 h 2092038"/>
              <a:gd name="csX29" fmla="*/ 170283 w 733006"/>
              <a:gd name="csY29" fmla="*/ 187783 h 2092038"/>
              <a:gd name="csX30" fmla="*/ 180938 w 733006"/>
              <a:gd name="csY30" fmla="*/ 195322 h 2092038"/>
              <a:gd name="csX31" fmla="*/ 221419 w 733006"/>
              <a:gd name="csY31" fmla="*/ 138058 h 2092038"/>
              <a:gd name="csX32" fmla="*/ 294099 w 733006"/>
              <a:gd name="csY32" fmla="*/ 91372 h 2092038"/>
              <a:gd name="csX33" fmla="*/ 302307 w 733006"/>
              <a:gd name="csY33" fmla="*/ 76560 h 2092038"/>
              <a:gd name="csX34" fmla="*/ 320284 w 733006"/>
              <a:gd name="csY34" fmla="*/ 8414 h 2092038"/>
              <a:gd name="csX35" fmla="*/ 324784 w 733006"/>
              <a:gd name="csY35" fmla="*/ 946 h 2092038"/>
              <a:gd name="csX36" fmla="*/ 399212 w 733006"/>
              <a:gd name="csY36" fmla="*/ 0 h 2092038"/>
              <a:gd name="csX37" fmla="*/ 425980 w 733006"/>
              <a:gd name="csY37" fmla="*/ 78301 h 2092038"/>
              <a:gd name="csX38" fmla="*/ 431861 w 733006"/>
              <a:gd name="csY38" fmla="*/ 90312 h 2092038"/>
              <a:gd name="csX39" fmla="*/ 540349 w 733006"/>
              <a:gd name="csY39" fmla="*/ 187946 h 2092038"/>
              <a:gd name="csX40" fmla="*/ 545555 w 733006"/>
              <a:gd name="csY40" fmla="*/ 197828 h 2092038"/>
              <a:gd name="csX41" fmla="*/ 587318 w 733006"/>
              <a:gd name="csY41" fmla="*/ 171260 h 2092038"/>
              <a:gd name="csX42" fmla="*/ 601503 w 733006"/>
              <a:gd name="csY42" fmla="*/ 163707 h 2092038"/>
              <a:gd name="csX43" fmla="*/ 625254 w 733006"/>
              <a:gd name="csY43" fmla="*/ 163123 h 2092038"/>
              <a:gd name="csX44" fmla="*/ 625468 w 733006"/>
              <a:gd name="csY44" fmla="*/ 187579 h 2092038"/>
              <a:gd name="csX45" fmla="*/ 597543 w 733006"/>
              <a:gd name="csY45" fmla="*/ 251872 h 2092038"/>
              <a:gd name="csX46" fmla="*/ 531831 w 733006"/>
              <a:gd name="csY46" fmla="*/ 442689 h 2092038"/>
              <a:gd name="csX47" fmla="*/ 519888 w 733006"/>
              <a:gd name="csY47" fmla="*/ 501474 h 2092038"/>
              <a:gd name="csX48" fmla="*/ 522506 w 733006"/>
              <a:gd name="csY48" fmla="*/ 525086 h 2092038"/>
              <a:gd name="csX49" fmla="*/ 516235 w 733006"/>
              <a:gd name="csY49" fmla="*/ 555946 h 2092038"/>
              <a:gd name="csX50" fmla="*/ 521332 w 733006"/>
              <a:gd name="csY50" fmla="*/ 610676 h 2092038"/>
              <a:gd name="csX51" fmla="*/ 541382 w 733006"/>
              <a:gd name="csY51" fmla="*/ 642597 h 2092038"/>
              <a:gd name="csX52" fmla="*/ 557031 w 733006"/>
              <a:gd name="csY52" fmla="*/ 667949 h 2092038"/>
              <a:gd name="csX53" fmla="*/ 553994 w 733006"/>
              <a:gd name="csY53" fmla="*/ 744146 h 2092038"/>
              <a:gd name="csX54" fmla="*/ 508215 w 733006"/>
              <a:gd name="csY54" fmla="*/ 758841 h 2092038"/>
              <a:gd name="csX55" fmla="*/ 497442 w 733006"/>
              <a:gd name="csY55" fmla="*/ 771256 h 2092038"/>
              <a:gd name="csX56" fmla="*/ 493005 w 733006"/>
              <a:gd name="csY56" fmla="*/ 922055 h 2092038"/>
              <a:gd name="csX57" fmla="*/ 502900 w 733006"/>
              <a:gd name="csY57" fmla="*/ 1114191 h 2092038"/>
              <a:gd name="csX58" fmla="*/ 508800 w 733006"/>
              <a:gd name="csY58" fmla="*/ 1205474 h 2092038"/>
              <a:gd name="csX59" fmla="*/ 522952 w 733006"/>
              <a:gd name="csY59" fmla="*/ 1320065 h 2092038"/>
              <a:gd name="csX60" fmla="*/ 554682 w 733006"/>
              <a:gd name="csY60" fmla="*/ 1501203 h 2092038"/>
              <a:gd name="csX61" fmla="*/ 576958 w 733006"/>
              <a:gd name="csY61" fmla="*/ 1593963 h 2092038"/>
              <a:gd name="csX62" fmla="*/ 595349 w 733006"/>
              <a:gd name="csY62" fmla="*/ 1613498 h 2092038"/>
              <a:gd name="csX63" fmla="*/ 613936 w 733006"/>
              <a:gd name="csY63" fmla="*/ 1624058 h 2092038"/>
              <a:gd name="csX64" fmla="*/ 620938 w 733006"/>
              <a:gd name="csY64" fmla="*/ 1652071 h 2092038"/>
              <a:gd name="csX65" fmla="*/ 630805 w 733006"/>
              <a:gd name="csY65" fmla="*/ 1721702 h 2092038"/>
              <a:gd name="csX66" fmla="*/ 685830 w 733006"/>
              <a:gd name="csY66" fmla="*/ 1792915 h 2092038"/>
              <a:gd name="csX67" fmla="*/ 708904 w 733006"/>
              <a:gd name="csY67" fmla="*/ 1890290 h 2092038"/>
              <a:gd name="csX68" fmla="*/ 716580 w 733006"/>
              <a:gd name="csY68" fmla="*/ 1951136 h 2092038"/>
              <a:gd name="csX69" fmla="*/ 729397 w 733006"/>
              <a:gd name="csY69" fmla="*/ 2030261 h 2092038"/>
              <a:gd name="csX70" fmla="*/ 714212 w 733006"/>
              <a:gd name="csY70" fmla="*/ 2059069 h 2092038"/>
              <a:gd name="csX71" fmla="*/ 96263 w 733006"/>
              <a:gd name="csY71" fmla="*/ 2076207 h 2092038"/>
              <a:gd name="csX72" fmla="*/ 489970 w 733006"/>
              <a:gd name="csY72" fmla="*/ 152208 h 2092038"/>
              <a:gd name="csX73" fmla="*/ 490754 w 733006"/>
              <a:gd name="csY73" fmla="*/ 152592 h 2092038"/>
              <a:gd name="csX74" fmla="*/ 489489 w 733006"/>
              <a:gd name="csY74" fmla="*/ 149547 h 2092038"/>
              <a:gd name="csX75" fmla="*/ 393621 w 733006"/>
              <a:gd name="csY75" fmla="*/ 99259 h 2092038"/>
              <a:gd name="csX76" fmla="*/ 390419 w 733006"/>
              <a:gd name="csY76" fmla="*/ 18568 h 2092038"/>
              <a:gd name="csX77" fmla="*/ 334131 w 733006"/>
              <a:gd name="csY77" fmla="*/ 24327 h 2092038"/>
              <a:gd name="csX78" fmla="*/ 344678 w 733006"/>
              <a:gd name="csY78" fmla="*/ 101259 h 2092038"/>
              <a:gd name="csX79" fmla="*/ 298854 w 733006"/>
              <a:gd name="csY79" fmla="*/ 114003 h 2092038"/>
              <a:gd name="csX80" fmla="*/ 237456 w 733006"/>
              <a:gd name="csY80" fmla="*/ 154340 h 2092038"/>
              <a:gd name="csX81" fmla="*/ 240382 w 733006"/>
              <a:gd name="csY81" fmla="*/ 154035 h 2092038"/>
              <a:gd name="csX82" fmla="*/ 262731 w 733006"/>
              <a:gd name="csY82" fmla="*/ 170426 h 2092038"/>
              <a:gd name="csX83" fmla="*/ 279169 w 733006"/>
              <a:gd name="csY83" fmla="*/ 193173 h 2092038"/>
              <a:gd name="csX84" fmla="*/ 327717 w 733006"/>
              <a:gd name="csY84" fmla="*/ 188556 h 2092038"/>
              <a:gd name="csX85" fmla="*/ 348052 w 733006"/>
              <a:gd name="csY85" fmla="*/ 156919 h 2092038"/>
              <a:gd name="csX86" fmla="*/ 380330 w 733006"/>
              <a:gd name="csY86" fmla="*/ 156483 h 2092038"/>
              <a:gd name="csX87" fmla="*/ 408490 w 733006"/>
              <a:gd name="csY87" fmla="*/ 195400 h 2092038"/>
              <a:gd name="csX88" fmla="*/ 445346 w 733006"/>
              <a:gd name="csY88" fmla="*/ 197582 h 2092038"/>
              <a:gd name="csX89" fmla="*/ 464798 w 733006"/>
              <a:gd name="csY89" fmla="*/ 174107 h 2092038"/>
              <a:gd name="csX90" fmla="*/ 489970 w 733006"/>
              <a:gd name="csY90" fmla="*/ 152208 h 2092038"/>
              <a:gd name="csX91" fmla="*/ 140694 w 733006"/>
              <a:gd name="csY91" fmla="*/ 201837 h 2092038"/>
              <a:gd name="csX92" fmla="*/ 139834 w 733006"/>
              <a:gd name="csY92" fmla="*/ 201482 h 2092038"/>
              <a:gd name="csX93" fmla="*/ 140812 w 733006"/>
              <a:gd name="csY93" fmla="*/ 204941 h 2092038"/>
              <a:gd name="csX94" fmla="*/ 144631 w 733006"/>
              <a:gd name="csY94" fmla="*/ 217811 h 2092038"/>
              <a:gd name="csX95" fmla="*/ 201241 w 733006"/>
              <a:gd name="csY95" fmla="*/ 373387 h 2092038"/>
              <a:gd name="csX96" fmla="*/ 235971 w 733006"/>
              <a:gd name="csY96" fmla="*/ 504451 h 2092038"/>
              <a:gd name="csX97" fmla="*/ 247475 w 733006"/>
              <a:gd name="csY97" fmla="*/ 513241 h 2092038"/>
              <a:gd name="csX98" fmla="*/ 289066 w 733006"/>
              <a:gd name="csY98" fmla="*/ 511170 h 2092038"/>
              <a:gd name="csX99" fmla="*/ 378229 w 733006"/>
              <a:gd name="csY99" fmla="*/ 511084 h 2092038"/>
              <a:gd name="csX100" fmla="*/ 470850 w 733006"/>
              <a:gd name="csY100" fmla="*/ 516341 h 2092038"/>
              <a:gd name="csX101" fmla="*/ 492933 w 733006"/>
              <a:gd name="csY101" fmla="*/ 497969 h 2092038"/>
              <a:gd name="csX102" fmla="*/ 557617 w 733006"/>
              <a:gd name="csY102" fmla="*/ 280398 h 2092038"/>
              <a:gd name="csX103" fmla="*/ 588788 w 733006"/>
              <a:gd name="csY103" fmla="*/ 200385 h 2092038"/>
              <a:gd name="csX104" fmla="*/ 530958 w 733006"/>
              <a:gd name="csY104" fmla="*/ 232968 h 2092038"/>
              <a:gd name="csX105" fmla="*/ 483823 w 733006"/>
              <a:gd name="csY105" fmla="*/ 190364 h 2092038"/>
              <a:gd name="csX106" fmla="*/ 466649 w 733006"/>
              <a:gd name="csY106" fmla="*/ 209061 h 2092038"/>
              <a:gd name="csX107" fmla="*/ 399941 w 733006"/>
              <a:gd name="csY107" fmla="*/ 216988 h 2092038"/>
              <a:gd name="csX108" fmla="*/ 363018 w 733006"/>
              <a:gd name="csY108" fmla="*/ 179615 h 2092038"/>
              <a:gd name="csX109" fmla="*/ 308839 w 733006"/>
              <a:gd name="csY109" fmla="*/ 227846 h 2092038"/>
              <a:gd name="csX110" fmla="*/ 245077 w 733006"/>
              <a:gd name="csY110" fmla="*/ 192402 h 2092038"/>
              <a:gd name="csX111" fmla="*/ 242829 w 733006"/>
              <a:gd name="csY111" fmla="*/ 198815 h 2092038"/>
              <a:gd name="csX112" fmla="*/ 168452 w 733006"/>
              <a:gd name="csY112" fmla="*/ 219348 h 2092038"/>
              <a:gd name="csX113" fmla="*/ 140694 w 733006"/>
              <a:gd name="csY113" fmla="*/ 201837 h 2092038"/>
              <a:gd name="csX114" fmla="*/ 259999 w 733006"/>
              <a:gd name="csY114" fmla="*/ 966699 h 2092038"/>
              <a:gd name="csX115" fmla="*/ 257072 w 733006"/>
              <a:gd name="csY115" fmla="*/ 1070424 h 2092038"/>
              <a:gd name="csX116" fmla="*/ 251372 w 733006"/>
              <a:gd name="csY116" fmla="*/ 1157618 h 2092038"/>
              <a:gd name="csX117" fmla="*/ 232677 w 733006"/>
              <a:gd name="csY117" fmla="*/ 1320279 h 2092038"/>
              <a:gd name="csX118" fmla="*/ 209182 w 733006"/>
              <a:gd name="csY118" fmla="*/ 1468667 h 2092038"/>
              <a:gd name="csX119" fmla="*/ 175302 w 733006"/>
              <a:gd name="csY119" fmla="*/ 1616623 h 2092038"/>
              <a:gd name="csX120" fmla="*/ 182769 w 733006"/>
              <a:gd name="csY120" fmla="*/ 1629786 h 2092038"/>
              <a:gd name="csX121" fmla="*/ 212156 w 733006"/>
              <a:gd name="csY121" fmla="*/ 1632656 h 2092038"/>
              <a:gd name="csX122" fmla="*/ 351295 w 733006"/>
              <a:gd name="csY122" fmla="*/ 1632801 h 2092038"/>
              <a:gd name="csX123" fmla="*/ 376150 w 733006"/>
              <a:gd name="csY123" fmla="*/ 1608307 h 2092038"/>
              <a:gd name="csX124" fmla="*/ 373450 w 733006"/>
              <a:gd name="csY124" fmla="*/ 1457291 h 2092038"/>
              <a:gd name="csX125" fmla="*/ 370936 w 733006"/>
              <a:gd name="csY125" fmla="*/ 1342736 h 2092038"/>
              <a:gd name="csX126" fmla="*/ 368328 w 733006"/>
              <a:gd name="csY126" fmla="*/ 1203878 h 2092038"/>
              <a:gd name="csX127" fmla="*/ 367836 w 733006"/>
              <a:gd name="csY127" fmla="*/ 813478 h 2092038"/>
              <a:gd name="csX128" fmla="*/ 365240 w 733006"/>
              <a:gd name="csY128" fmla="*/ 773243 h 2092038"/>
              <a:gd name="csX129" fmla="*/ 353084 w 733006"/>
              <a:gd name="csY129" fmla="*/ 762083 h 2092038"/>
              <a:gd name="csX130" fmla="*/ 280966 w 733006"/>
              <a:gd name="csY130" fmla="*/ 759855 h 2092038"/>
              <a:gd name="csX131" fmla="*/ 259965 w 733006"/>
              <a:gd name="csY131" fmla="*/ 779553 h 2092038"/>
              <a:gd name="csX132" fmla="*/ 262341 w 733006"/>
              <a:gd name="csY132" fmla="*/ 856275 h 2092038"/>
              <a:gd name="csX133" fmla="*/ 259999 w 733006"/>
              <a:gd name="csY133" fmla="*/ 966699 h 2092038"/>
              <a:gd name="csX134" fmla="*/ 55556 w 733006"/>
              <a:gd name="csY134" fmla="*/ 1835827 h 2092038"/>
              <a:gd name="csX135" fmla="*/ 49393 w 733006"/>
              <a:gd name="csY135" fmla="*/ 1878155 h 2092038"/>
              <a:gd name="csX136" fmla="*/ 73949 w 733006"/>
              <a:gd name="csY136" fmla="*/ 1905781 h 2092038"/>
              <a:gd name="csX137" fmla="*/ 110073 w 733006"/>
              <a:gd name="csY137" fmla="*/ 1909068 h 2092038"/>
              <a:gd name="csX138" fmla="*/ 224745 w 733006"/>
              <a:gd name="csY138" fmla="*/ 1921652 h 2092038"/>
              <a:gd name="csX139" fmla="*/ 347327 w 733006"/>
              <a:gd name="csY139" fmla="*/ 1924778 h 2092038"/>
              <a:gd name="csX140" fmla="*/ 363345 w 733006"/>
              <a:gd name="csY140" fmla="*/ 1923293 h 2092038"/>
              <a:gd name="csX141" fmla="*/ 373787 w 733006"/>
              <a:gd name="csY141" fmla="*/ 1911200 h 2092038"/>
              <a:gd name="csX142" fmla="*/ 376623 w 733006"/>
              <a:gd name="csY142" fmla="*/ 1696741 h 2092038"/>
              <a:gd name="csX143" fmla="*/ 360437 w 733006"/>
              <a:gd name="csY143" fmla="*/ 1681289 h 2092038"/>
              <a:gd name="csX144" fmla="*/ 263503 w 733006"/>
              <a:gd name="csY144" fmla="*/ 1678179 h 2092038"/>
              <a:gd name="csX145" fmla="*/ 160381 w 733006"/>
              <a:gd name="csY145" fmla="*/ 1670405 h 2092038"/>
              <a:gd name="csX146" fmla="*/ 143321 w 733006"/>
              <a:gd name="csY146" fmla="*/ 1685538 h 2092038"/>
              <a:gd name="csX147" fmla="*/ 124769 w 733006"/>
              <a:gd name="csY147" fmla="*/ 1738195 h 2092038"/>
              <a:gd name="csX148" fmla="*/ 90593 w 733006"/>
              <a:gd name="csY148" fmla="*/ 1779570 h 2092038"/>
              <a:gd name="csX149" fmla="*/ 55556 w 733006"/>
              <a:gd name="csY149" fmla="*/ 1835827 h 2092038"/>
              <a:gd name="csX150" fmla="*/ 378900 w 733006"/>
              <a:gd name="csY150" fmla="*/ 2007280 h 2092038"/>
              <a:gd name="csX151" fmla="*/ 378887 w 733006"/>
              <a:gd name="csY151" fmla="*/ 1995127 h 2092038"/>
              <a:gd name="csX152" fmla="*/ 359084 w 733006"/>
              <a:gd name="csY152" fmla="*/ 1975964 h 2092038"/>
              <a:gd name="csX153" fmla="*/ 247288 w 733006"/>
              <a:gd name="csY153" fmla="*/ 1973305 h 2092038"/>
              <a:gd name="csX154" fmla="*/ 201692 w 733006"/>
              <a:gd name="csY154" fmla="*/ 1970275 h 2092038"/>
              <a:gd name="csX155" fmla="*/ 57962 w 733006"/>
              <a:gd name="csY155" fmla="*/ 1952648 h 2092038"/>
              <a:gd name="csX156" fmla="*/ 39194 w 733006"/>
              <a:gd name="csY156" fmla="*/ 1963552 h 2092038"/>
              <a:gd name="csX157" fmla="*/ 30066 w 733006"/>
              <a:gd name="csY157" fmla="*/ 2006631 h 2092038"/>
              <a:gd name="csX158" fmla="*/ 40232 w 733006"/>
              <a:gd name="csY158" fmla="*/ 2019486 h 2092038"/>
              <a:gd name="csX159" fmla="*/ 238186 w 733006"/>
              <a:gd name="csY159" fmla="*/ 2046096 h 2092038"/>
              <a:gd name="csX160" fmla="*/ 342155 w 733006"/>
              <a:gd name="csY160" fmla="*/ 2046441 h 2092038"/>
              <a:gd name="csX161" fmla="*/ 378900 w 733006"/>
              <a:gd name="csY161" fmla="*/ 2007280 h 2092038"/>
              <a:gd name="csX162" fmla="*/ 310220 w 733006"/>
              <a:gd name="csY162" fmla="*/ 554288 h 2092038"/>
              <a:gd name="csX163" fmla="*/ 259136 w 733006"/>
              <a:gd name="csY163" fmla="*/ 556881 h 2092038"/>
              <a:gd name="csX164" fmla="*/ 249085 w 733006"/>
              <a:gd name="csY164" fmla="*/ 567981 h 2092038"/>
              <a:gd name="csX165" fmla="*/ 249141 w 733006"/>
              <a:gd name="csY165" fmla="*/ 605644 h 2092038"/>
              <a:gd name="csX166" fmla="*/ 262628 w 733006"/>
              <a:gd name="csY166" fmla="*/ 605627 h 2092038"/>
              <a:gd name="csX167" fmla="*/ 369608 w 733006"/>
              <a:gd name="csY167" fmla="*/ 603027 h 2092038"/>
              <a:gd name="csX168" fmla="*/ 463931 w 733006"/>
              <a:gd name="csY168" fmla="*/ 605146 h 2092038"/>
              <a:gd name="csX169" fmla="*/ 478113 w 733006"/>
              <a:gd name="csY169" fmla="*/ 595843 h 2092038"/>
              <a:gd name="csX170" fmla="*/ 478796 w 733006"/>
              <a:gd name="csY170" fmla="*/ 556832 h 2092038"/>
              <a:gd name="csX171" fmla="*/ 310220 w 733006"/>
              <a:gd name="csY171" fmla="*/ 554288 h 2092038"/>
              <a:gd name="csX172" fmla="*/ 348836 w 733006"/>
              <a:gd name="csY172" fmla="*/ 684115 h 2092038"/>
              <a:gd name="csX173" fmla="*/ 281333 w 733006"/>
              <a:gd name="csY173" fmla="*/ 683313 h 2092038"/>
              <a:gd name="csX174" fmla="*/ 212728 w 733006"/>
              <a:gd name="csY174" fmla="*/ 681931 h 2092038"/>
              <a:gd name="csX175" fmla="*/ 187283 w 733006"/>
              <a:gd name="csY175" fmla="*/ 689555 h 2092038"/>
              <a:gd name="csX176" fmla="*/ 186163 w 733006"/>
              <a:gd name="csY176" fmla="*/ 718266 h 2092038"/>
              <a:gd name="csX177" fmla="*/ 209894 w 733006"/>
              <a:gd name="csY177" fmla="*/ 726798 h 2092038"/>
              <a:gd name="csX178" fmla="*/ 334814 w 733006"/>
              <a:gd name="csY178" fmla="*/ 732494 h 2092038"/>
              <a:gd name="csX179" fmla="*/ 364856 w 733006"/>
              <a:gd name="csY179" fmla="*/ 707963 h 2092038"/>
              <a:gd name="csX180" fmla="*/ 348836 w 733006"/>
              <a:gd name="csY180" fmla="*/ 684115 h 2092038"/>
              <a:gd name="csX181" fmla="*/ 298865 w 733006"/>
              <a:gd name="csY181" fmla="*/ 621954 h 2092038"/>
              <a:gd name="csX182" fmla="*/ 251619 w 733006"/>
              <a:gd name="csY182" fmla="*/ 622133 h 2092038"/>
              <a:gd name="csX183" fmla="*/ 214459 w 733006"/>
              <a:gd name="csY183" fmla="*/ 636230 h 2092038"/>
              <a:gd name="csX184" fmla="*/ 221436 w 733006"/>
              <a:gd name="csY184" fmla="*/ 654205 h 2092038"/>
              <a:gd name="csX185" fmla="*/ 272412 w 733006"/>
              <a:gd name="csY185" fmla="*/ 657250 h 2092038"/>
              <a:gd name="csX186" fmla="*/ 349094 w 733006"/>
              <a:gd name="csY186" fmla="*/ 659282 h 2092038"/>
              <a:gd name="csX187" fmla="*/ 362996 w 733006"/>
              <a:gd name="csY187" fmla="*/ 644234 h 2092038"/>
              <a:gd name="csX188" fmla="*/ 348472 w 733006"/>
              <a:gd name="csY188" fmla="*/ 624649 h 2092038"/>
              <a:gd name="csX189" fmla="*/ 298865 w 733006"/>
              <a:gd name="csY189" fmla="*/ 621954 h 2092038"/>
              <a:gd name="csX190" fmla="*/ 227796 w 733006"/>
              <a:gd name="csY190" fmla="*/ 528000 h 2092038"/>
              <a:gd name="csX191" fmla="*/ 241009 w 733006"/>
              <a:gd name="csY191" fmla="*/ 545897 h 2092038"/>
              <a:gd name="csX192" fmla="*/ 282607 w 733006"/>
              <a:gd name="csY192" fmla="*/ 543480 h 2092038"/>
              <a:gd name="csX193" fmla="*/ 354213 w 733006"/>
              <a:gd name="csY193" fmla="*/ 543384 h 2092038"/>
              <a:gd name="csX194" fmla="*/ 365334 w 733006"/>
              <a:gd name="csY194" fmla="*/ 533397 h 2092038"/>
              <a:gd name="csX195" fmla="*/ 354531 w 733006"/>
              <a:gd name="csY195" fmla="*/ 521620 h 2092038"/>
              <a:gd name="csX196" fmla="*/ 259169 w 733006"/>
              <a:gd name="csY196" fmla="*/ 521978 h 2092038"/>
              <a:gd name="csX197" fmla="*/ 227796 w 733006"/>
              <a:gd name="csY197" fmla="*/ 528000 h 2092038"/>
              <a:gd name="csX198" fmla="*/ 508068 w 733006"/>
              <a:gd name="csY198" fmla="*/ 190710 h 2092038"/>
              <a:gd name="csX199" fmla="*/ 521293 w 733006"/>
              <a:gd name="csY199" fmla="*/ 205907 h 2092038"/>
              <a:gd name="csX200" fmla="*/ 525175 w 733006"/>
              <a:gd name="csY200" fmla="*/ 202985 h 2092038"/>
              <a:gd name="csX201" fmla="*/ 500276 w 733006"/>
              <a:gd name="csY201" fmla="*/ 160640 h 2092038"/>
              <a:gd name="csX202" fmla="*/ 497122 w 733006"/>
              <a:gd name="csY202" fmla="*/ 162007 h 2092038"/>
              <a:gd name="csX203" fmla="*/ 508068 w 733006"/>
              <a:gd name="csY203" fmla="*/ 190710 h 2092038"/>
              <a:gd name="csX204" fmla="*/ 215522 w 733006"/>
              <a:gd name="csY204" fmla="*/ 197296 h 2092038"/>
              <a:gd name="csX205" fmla="*/ 234029 w 733006"/>
              <a:gd name="csY205" fmla="*/ 162725 h 2092038"/>
              <a:gd name="csX206" fmla="*/ 229000 w 733006"/>
              <a:gd name="csY206" fmla="*/ 159902 h 2092038"/>
              <a:gd name="csX207" fmla="*/ 204824 w 733006"/>
              <a:gd name="csY207" fmla="*/ 199677 h 2092038"/>
              <a:gd name="csX208" fmla="*/ 207990 w 733006"/>
              <a:gd name="csY208" fmla="*/ 202198 h 2092038"/>
              <a:gd name="csX209" fmla="*/ 215522 w 733006"/>
              <a:gd name="csY209" fmla="*/ 197296 h 2092038"/>
              <a:gd name="csX210" fmla="*/ 484400 w 733006"/>
              <a:gd name="csY210" fmla="*/ 896678 h 2092038"/>
              <a:gd name="csX211" fmla="*/ 486181 w 733006"/>
              <a:gd name="csY211" fmla="*/ 896585 h 209203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  <a:cxn ang="0">
                <a:pos x="csX170" y="csY170"/>
              </a:cxn>
              <a:cxn ang="0">
                <a:pos x="csX171" y="csY171"/>
              </a:cxn>
              <a:cxn ang="0">
                <a:pos x="csX172" y="csY172"/>
              </a:cxn>
              <a:cxn ang="0">
                <a:pos x="csX173" y="csY173"/>
              </a:cxn>
              <a:cxn ang="0">
                <a:pos x="csX174" y="csY174"/>
              </a:cxn>
              <a:cxn ang="0">
                <a:pos x="csX175" y="csY175"/>
              </a:cxn>
              <a:cxn ang="0">
                <a:pos x="csX176" y="csY176"/>
              </a:cxn>
              <a:cxn ang="0">
                <a:pos x="csX177" y="csY177"/>
              </a:cxn>
              <a:cxn ang="0">
                <a:pos x="csX178" y="csY178"/>
              </a:cxn>
              <a:cxn ang="0">
                <a:pos x="csX179" y="csY179"/>
              </a:cxn>
              <a:cxn ang="0">
                <a:pos x="csX180" y="csY180"/>
              </a:cxn>
              <a:cxn ang="0">
                <a:pos x="csX181" y="csY181"/>
              </a:cxn>
              <a:cxn ang="0">
                <a:pos x="csX182" y="csY182"/>
              </a:cxn>
              <a:cxn ang="0">
                <a:pos x="csX183" y="csY183"/>
              </a:cxn>
              <a:cxn ang="0">
                <a:pos x="csX184" y="csY184"/>
              </a:cxn>
              <a:cxn ang="0">
                <a:pos x="csX185" y="csY185"/>
              </a:cxn>
              <a:cxn ang="0">
                <a:pos x="csX186" y="csY186"/>
              </a:cxn>
              <a:cxn ang="0">
                <a:pos x="csX187" y="csY187"/>
              </a:cxn>
              <a:cxn ang="0">
                <a:pos x="csX188" y="csY188"/>
              </a:cxn>
              <a:cxn ang="0">
                <a:pos x="csX189" y="csY189"/>
              </a:cxn>
              <a:cxn ang="0">
                <a:pos x="csX190" y="csY190"/>
              </a:cxn>
              <a:cxn ang="0">
                <a:pos x="csX191" y="csY191"/>
              </a:cxn>
              <a:cxn ang="0">
                <a:pos x="csX192" y="csY192"/>
              </a:cxn>
              <a:cxn ang="0">
                <a:pos x="csX193" y="csY193"/>
              </a:cxn>
              <a:cxn ang="0">
                <a:pos x="csX194" y="csY194"/>
              </a:cxn>
              <a:cxn ang="0">
                <a:pos x="csX195" y="csY195"/>
              </a:cxn>
              <a:cxn ang="0">
                <a:pos x="csX196" y="csY196"/>
              </a:cxn>
              <a:cxn ang="0">
                <a:pos x="csX197" y="csY197"/>
              </a:cxn>
              <a:cxn ang="0">
                <a:pos x="csX198" y="csY198"/>
              </a:cxn>
              <a:cxn ang="0">
                <a:pos x="csX199" y="csY199"/>
              </a:cxn>
              <a:cxn ang="0">
                <a:pos x="csX200" y="csY200"/>
              </a:cxn>
              <a:cxn ang="0">
                <a:pos x="csX201" y="csY201"/>
              </a:cxn>
              <a:cxn ang="0">
                <a:pos x="csX202" y="csY202"/>
              </a:cxn>
              <a:cxn ang="0">
                <a:pos x="csX203" y="csY203"/>
              </a:cxn>
              <a:cxn ang="0">
                <a:pos x="csX204" y="csY204"/>
              </a:cxn>
              <a:cxn ang="0">
                <a:pos x="csX205" y="csY205"/>
              </a:cxn>
              <a:cxn ang="0">
                <a:pos x="csX206" y="csY206"/>
              </a:cxn>
              <a:cxn ang="0">
                <a:pos x="csX207" y="csY207"/>
              </a:cxn>
              <a:cxn ang="0">
                <a:pos x="csX208" y="csY208"/>
              </a:cxn>
              <a:cxn ang="0">
                <a:pos x="csX209" y="csY209"/>
              </a:cxn>
              <a:cxn ang="0">
                <a:pos x="csX210" y="csY210"/>
              </a:cxn>
              <a:cxn ang="0">
                <a:pos x="csX211" y="csY211"/>
              </a:cxn>
            </a:cxnLst>
            <a:rect l="l" t="t" r="r" b="b"/>
            <a:pathLst>
              <a:path w="733006" h="2092038">
                <a:moveTo>
                  <a:pt x="96263" y="2076207"/>
                </a:moveTo>
                <a:cubicBezTo>
                  <a:pt x="84622" y="2072588"/>
                  <a:pt x="74304" y="2068797"/>
                  <a:pt x="63862" y="2065388"/>
                </a:cubicBezTo>
                <a:cubicBezTo>
                  <a:pt x="48109" y="2060246"/>
                  <a:pt x="32006" y="2056058"/>
                  <a:pt x="16555" y="2050152"/>
                </a:cubicBezTo>
                <a:cubicBezTo>
                  <a:pt x="5209" y="2045814"/>
                  <a:pt x="-330" y="2037145"/>
                  <a:pt x="15" y="2023802"/>
                </a:cubicBezTo>
                <a:cubicBezTo>
                  <a:pt x="765" y="1994802"/>
                  <a:pt x="4044" y="1967023"/>
                  <a:pt x="18368" y="1940709"/>
                </a:cubicBezTo>
                <a:cubicBezTo>
                  <a:pt x="23362" y="1931533"/>
                  <a:pt x="23064" y="1918361"/>
                  <a:pt x="22139" y="1907268"/>
                </a:cubicBezTo>
                <a:cubicBezTo>
                  <a:pt x="18065" y="1858417"/>
                  <a:pt x="26015" y="1813128"/>
                  <a:pt x="57941" y="1774163"/>
                </a:cubicBezTo>
                <a:cubicBezTo>
                  <a:pt x="72712" y="1756135"/>
                  <a:pt x="88476" y="1738872"/>
                  <a:pt x="102478" y="1720275"/>
                </a:cubicBezTo>
                <a:cubicBezTo>
                  <a:pt x="118580" y="1698889"/>
                  <a:pt x="125626" y="1676081"/>
                  <a:pt x="108579" y="1650967"/>
                </a:cubicBezTo>
                <a:cubicBezTo>
                  <a:pt x="101716" y="1640856"/>
                  <a:pt x="106464" y="1629113"/>
                  <a:pt x="115628" y="1625405"/>
                </a:cubicBezTo>
                <a:cubicBezTo>
                  <a:pt x="145731" y="1613224"/>
                  <a:pt x="150205" y="1585698"/>
                  <a:pt x="156323" y="1560181"/>
                </a:cubicBezTo>
                <a:cubicBezTo>
                  <a:pt x="171878" y="1495304"/>
                  <a:pt x="187443" y="1430322"/>
                  <a:pt x="199424" y="1364729"/>
                </a:cubicBezTo>
                <a:cubicBezTo>
                  <a:pt x="208169" y="1316855"/>
                  <a:pt x="211328" y="1267955"/>
                  <a:pt x="216779" y="1219490"/>
                </a:cubicBezTo>
                <a:cubicBezTo>
                  <a:pt x="221281" y="1179465"/>
                  <a:pt x="225637" y="1139423"/>
                  <a:pt x="229755" y="1099357"/>
                </a:cubicBezTo>
                <a:cubicBezTo>
                  <a:pt x="231222" y="1085094"/>
                  <a:pt x="232195" y="1070753"/>
                  <a:pt x="232707" y="1056423"/>
                </a:cubicBezTo>
                <a:cubicBezTo>
                  <a:pt x="233940" y="1021849"/>
                  <a:pt x="235378" y="987264"/>
                  <a:pt x="235622" y="952675"/>
                </a:cubicBezTo>
                <a:cubicBezTo>
                  <a:pt x="236027" y="895212"/>
                  <a:pt x="235593" y="837744"/>
                  <a:pt x="235445" y="780278"/>
                </a:cubicBezTo>
                <a:cubicBezTo>
                  <a:pt x="235394" y="760454"/>
                  <a:pt x="234309" y="760517"/>
                  <a:pt x="214544" y="756435"/>
                </a:cubicBezTo>
                <a:cubicBezTo>
                  <a:pt x="200172" y="753466"/>
                  <a:pt x="185446" y="749377"/>
                  <a:pt x="172569" y="742582"/>
                </a:cubicBezTo>
                <a:cubicBezTo>
                  <a:pt x="144482" y="727762"/>
                  <a:pt x="142615" y="693725"/>
                  <a:pt x="168784" y="669116"/>
                </a:cubicBezTo>
                <a:cubicBezTo>
                  <a:pt x="180480" y="658118"/>
                  <a:pt x="190377" y="648461"/>
                  <a:pt x="191657" y="630765"/>
                </a:cubicBezTo>
                <a:cubicBezTo>
                  <a:pt x="192214" y="623073"/>
                  <a:pt x="200977" y="614427"/>
                  <a:pt x="208150" y="609084"/>
                </a:cubicBezTo>
                <a:cubicBezTo>
                  <a:pt x="222906" y="598094"/>
                  <a:pt x="228637" y="573234"/>
                  <a:pt x="216756" y="558673"/>
                </a:cubicBezTo>
                <a:cubicBezTo>
                  <a:pt x="207342" y="547135"/>
                  <a:pt x="206480" y="536349"/>
                  <a:pt x="209092" y="521540"/>
                </a:cubicBezTo>
                <a:cubicBezTo>
                  <a:pt x="211760" y="506404"/>
                  <a:pt x="207878" y="489633"/>
                  <a:pt x="204683" y="474024"/>
                </a:cubicBezTo>
                <a:cubicBezTo>
                  <a:pt x="186129" y="383394"/>
                  <a:pt x="153540" y="297499"/>
                  <a:pt x="115483" y="213499"/>
                </a:cubicBezTo>
                <a:cubicBezTo>
                  <a:pt x="110852" y="203278"/>
                  <a:pt x="105956" y="193025"/>
                  <a:pt x="102909" y="182297"/>
                </a:cubicBezTo>
                <a:cubicBezTo>
                  <a:pt x="101269" y="176526"/>
                  <a:pt x="100978" y="167554"/>
                  <a:pt x="104315" y="163968"/>
                </a:cubicBezTo>
                <a:cubicBezTo>
                  <a:pt x="107766" y="160259"/>
                  <a:pt x="117669" y="158539"/>
                  <a:pt x="122444" y="160805"/>
                </a:cubicBezTo>
                <a:cubicBezTo>
                  <a:pt x="138944" y="168636"/>
                  <a:pt x="154489" y="178499"/>
                  <a:pt x="170283" y="187783"/>
                </a:cubicBezTo>
                <a:cubicBezTo>
                  <a:pt x="174481" y="190250"/>
                  <a:pt x="178270" y="193414"/>
                  <a:pt x="180938" y="195322"/>
                </a:cubicBezTo>
                <a:cubicBezTo>
                  <a:pt x="194562" y="175763"/>
                  <a:pt x="206327" y="155469"/>
                  <a:pt x="221419" y="138058"/>
                </a:cubicBezTo>
                <a:cubicBezTo>
                  <a:pt x="240743" y="115763"/>
                  <a:pt x="265109" y="99467"/>
                  <a:pt x="294099" y="91372"/>
                </a:cubicBezTo>
                <a:cubicBezTo>
                  <a:pt x="302124" y="89131"/>
                  <a:pt x="305271" y="84852"/>
                  <a:pt x="302307" y="76560"/>
                </a:cubicBezTo>
                <a:cubicBezTo>
                  <a:pt x="292733" y="49783"/>
                  <a:pt x="299732" y="27331"/>
                  <a:pt x="320284" y="8414"/>
                </a:cubicBezTo>
                <a:cubicBezTo>
                  <a:pt x="322179" y="6669"/>
                  <a:pt x="323302" y="4085"/>
                  <a:pt x="324784" y="946"/>
                </a:cubicBezTo>
                <a:cubicBezTo>
                  <a:pt x="349171" y="0"/>
                  <a:pt x="373558" y="0"/>
                  <a:pt x="399212" y="0"/>
                </a:cubicBezTo>
                <a:cubicBezTo>
                  <a:pt x="426476" y="20404"/>
                  <a:pt x="437031" y="45903"/>
                  <a:pt x="425980" y="78301"/>
                </a:cubicBezTo>
                <a:cubicBezTo>
                  <a:pt x="423801" y="84690"/>
                  <a:pt x="424928" y="88239"/>
                  <a:pt x="431861" y="90312"/>
                </a:cubicBezTo>
                <a:cubicBezTo>
                  <a:pt x="483382" y="105720"/>
                  <a:pt x="518342" y="139660"/>
                  <a:pt x="540349" y="187946"/>
                </a:cubicBezTo>
                <a:cubicBezTo>
                  <a:pt x="541642" y="190784"/>
                  <a:pt x="543251" y="193478"/>
                  <a:pt x="545555" y="197828"/>
                </a:cubicBezTo>
                <a:lnTo>
                  <a:pt x="587318" y="171260"/>
                </a:lnTo>
                <a:cubicBezTo>
                  <a:pt x="591878" y="168403"/>
                  <a:pt x="596472" y="164665"/>
                  <a:pt x="601503" y="163707"/>
                </a:cubicBezTo>
                <a:cubicBezTo>
                  <a:pt x="609371" y="162208"/>
                  <a:pt x="619646" y="159555"/>
                  <a:pt x="625254" y="163123"/>
                </a:cubicBezTo>
                <a:cubicBezTo>
                  <a:pt x="634332" y="168899"/>
                  <a:pt x="629055" y="179274"/>
                  <a:pt x="625468" y="187579"/>
                </a:cubicBezTo>
                <a:cubicBezTo>
                  <a:pt x="616205" y="209030"/>
                  <a:pt x="606562" y="230320"/>
                  <a:pt x="597543" y="251872"/>
                </a:cubicBezTo>
                <a:cubicBezTo>
                  <a:pt x="571520" y="314052"/>
                  <a:pt x="547757" y="377046"/>
                  <a:pt x="531831" y="442689"/>
                </a:cubicBezTo>
                <a:cubicBezTo>
                  <a:pt x="527117" y="462116"/>
                  <a:pt x="522945" y="481733"/>
                  <a:pt x="519888" y="501474"/>
                </a:cubicBezTo>
                <a:cubicBezTo>
                  <a:pt x="518711" y="509073"/>
                  <a:pt x="520088" y="517665"/>
                  <a:pt x="522506" y="525086"/>
                </a:cubicBezTo>
                <a:cubicBezTo>
                  <a:pt x="526398" y="537038"/>
                  <a:pt x="525185" y="546687"/>
                  <a:pt x="516235" y="555946"/>
                </a:cubicBezTo>
                <a:cubicBezTo>
                  <a:pt x="498902" y="573877"/>
                  <a:pt x="501328" y="596490"/>
                  <a:pt x="521332" y="610676"/>
                </a:cubicBezTo>
                <a:cubicBezTo>
                  <a:pt x="532355" y="618492"/>
                  <a:pt x="539977" y="628449"/>
                  <a:pt x="541382" y="642597"/>
                </a:cubicBezTo>
                <a:cubicBezTo>
                  <a:pt x="542451" y="653366"/>
                  <a:pt x="548191" y="661148"/>
                  <a:pt x="557031" y="667949"/>
                </a:cubicBezTo>
                <a:cubicBezTo>
                  <a:pt x="583453" y="688277"/>
                  <a:pt x="588691" y="725427"/>
                  <a:pt x="553994" y="744146"/>
                </a:cubicBezTo>
                <a:cubicBezTo>
                  <a:pt x="540107" y="751637"/>
                  <a:pt x="523756" y="754889"/>
                  <a:pt x="508215" y="758841"/>
                </a:cubicBezTo>
                <a:cubicBezTo>
                  <a:pt x="500805" y="760726"/>
                  <a:pt x="497665" y="763405"/>
                  <a:pt x="497442" y="771256"/>
                </a:cubicBezTo>
                <a:cubicBezTo>
                  <a:pt x="496012" y="821532"/>
                  <a:pt x="492028" y="871838"/>
                  <a:pt x="493005" y="922055"/>
                </a:cubicBezTo>
                <a:cubicBezTo>
                  <a:pt x="494253" y="986140"/>
                  <a:pt x="499320" y="1050155"/>
                  <a:pt x="502900" y="1114191"/>
                </a:cubicBezTo>
                <a:cubicBezTo>
                  <a:pt x="504603" y="1144637"/>
                  <a:pt x="505797" y="1175148"/>
                  <a:pt x="508800" y="1205474"/>
                </a:cubicBezTo>
                <a:cubicBezTo>
                  <a:pt x="512592" y="1243768"/>
                  <a:pt x="516901" y="1282076"/>
                  <a:pt x="522952" y="1320065"/>
                </a:cubicBezTo>
                <a:cubicBezTo>
                  <a:pt x="532594" y="1380596"/>
                  <a:pt x="543267" y="1440980"/>
                  <a:pt x="554682" y="1501203"/>
                </a:cubicBezTo>
                <a:cubicBezTo>
                  <a:pt x="560600" y="1532428"/>
                  <a:pt x="568175" y="1563425"/>
                  <a:pt x="576958" y="1593963"/>
                </a:cubicBezTo>
                <a:cubicBezTo>
                  <a:pt x="579170" y="1601655"/>
                  <a:pt x="588378" y="1607829"/>
                  <a:pt x="595349" y="1613498"/>
                </a:cubicBezTo>
                <a:cubicBezTo>
                  <a:pt x="600799" y="1617931"/>
                  <a:pt x="608289" y="1619804"/>
                  <a:pt x="613936" y="1624058"/>
                </a:cubicBezTo>
                <a:cubicBezTo>
                  <a:pt x="623433" y="1631212"/>
                  <a:pt x="627187" y="1639642"/>
                  <a:pt x="620938" y="1652071"/>
                </a:cubicBezTo>
                <a:cubicBezTo>
                  <a:pt x="606287" y="1681209"/>
                  <a:pt x="609918" y="1697027"/>
                  <a:pt x="630805" y="1721702"/>
                </a:cubicBezTo>
                <a:cubicBezTo>
                  <a:pt x="650178" y="1744588"/>
                  <a:pt x="669167" y="1768040"/>
                  <a:pt x="685830" y="1792915"/>
                </a:cubicBezTo>
                <a:cubicBezTo>
                  <a:pt x="705320" y="1822011"/>
                  <a:pt x="711650" y="1855198"/>
                  <a:pt x="708904" y="1890290"/>
                </a:cubicBezTo>
                <a:cubicBezTo>
                  <a:pt x="707288" y="1910935"/>
                  <a:pt x="700766" y="1942639"/>
                  <a:pt x="716580" y="1951136"/>
                </a:cubicBezTo>
                <a:cubicBezTo>
                  <a:pt x="724392" y="1976483"/>
                  <a:pt x="727122" y="2003652"/>
                  <a:pt x="729397" y="2030261"/>
                </a:cubicBezTo>
                <a:cubicBezTo>
                  <a:pt x="729925" y="2036427"/>
                  <a:pt x="743534" y="2056174"/>
                  <a:pt x="714212" y="2059069"/>
                </a:cubicBezTo>
                <a:cubicBezTo>
                  <a:pt x="561064" y="2100066"/>
                  <a:pt x="334540" y="2099227"/>
                  <a:pt x="96263" y="2076207"/>
                </a:cubicBezTo>
                <a:moveTo>
                  <a:pt x="489970" y="152208"/>
                </a:moveTo>
                <a:lnTo>
                  <a:pt x="490754" y="152592"/>
                </a:lnTo>
                <a:cubicBezTo>
                  <a:pt x="490404" y="152187"/>
                  <a:pt x="490054" y="151782"/>
                  <a:pt x="489489" y="149547"/>
                </a:cubicBezTo>
                <a:cubicBezTo>
                  <a:pt x="463400" y="121956"/>
                  <a:pt x="429823" y="108227"/>
                  <a:pt x="393621" y="99259"/>
                </a:cubicBezTo>
                <a:cubicBezTo>
                  <a:pt x="416086" y="61028"/>
                  <a:pt x="414929" y="37233"/>
                  <a:pt x="390419" y="18568"/>
                </a:cubicBezTo>
                <a:cubicBezTo>
                  <a:pt x="373896" y="5985"/>
                  <a:pt x="349634" y="8467"/>
                  <a:pt x="334131" y="24327"/>
                </a:cubicBezTo>
                <a:cubicBezTo>
                  <a:pt x="312288" y="46673"/>
                  <a:pt x="314608" y="63885"/>
                  <a:pt x="344678" y="101259"/>
                </a:cubicBezTo>
                <a:cubicBezTo>
                  <a:pt x="329276" y="105420"/>
                  <a:pt x="313421" y="108117"/>
                  <a:pt x="298854" y="114003"/>
                </a:cubicBezTo>
                <a:cubicBezTo>
                  <a:pt x="276159" y="123172"/>
                  <a:pt x="253379" y="133071"/>
                  <a:pt x="237456" y="154340"/>
                </a:cubicBezTo>
                <a:cubicBezTo>
                  <a:pt x="237723" y="154250"/>
                  <a:pt x="237990" y="154159"/>
                  <a:pt x="240382" y="154035"/>
                </a:cubicBezTo>
                <a:cubicBezTo>
                  <a:pt x="252637" y="152964"/>
                  <a:pt x="257233" y="162164"/>
                  <a:pt x="262731" y="170426"/>
                </a:cubicBezTo>
                <a:cubicBezTo>
                  <a:pt x="267919" y="178225"/>
                  <a:pt x="272568" y="186734"/>
                  <a:pt x="279169" y="193173"/>
                </a:cubicBezTo>
                <a:cubicBezTo>
                  <a:pt x="294554" y="208182"/>
                  <a:pt x="315173" y="206011"/>
                  <a:pt x="327717" y="188556"/>
                </a:cubicBezTo>
                <a:cubicBezTo>
                  <a:pt x="335023" y="178390"/>
                  <a:pt x="341313" y="167493"/>
                  <a:pt x="348052" y="156919"/>
                </a:cubicBezTo>
                <a:cubicBezTo>
                  <a:pt x="360173" y="137899"/>
                  <a:pt x="367728" y="137921"/>
                  <a:pt x="380330" y="156483"/>
                </a:cubicBezTo>
                <a:cubicBezTo>
                  <a:pt x="389331" y="169741"/>
                  <a:pt x="397761" y="183648"/>
                  <a:pt x="408490" y="195400"/>
                </a:cubicBezTo>
                <a:cubicBezTo>
                  <a:pt x="419907" y="207908"/>
                  <a:pt x="432311" y="208318"/>
                  <a:pt x="445346" y="197582"/>
                </a:cubicBezTo>
                <a:cubicBezTo>
                  <a:pt x="453059" y="191228"/>
                  <a:pt x="458941" y="182413"/>
                  <a:pt x="464798" y="174107"/>
                </a:cubicBezTo>
                <a:cubicBezTo>
                  <a:pt x="471492" y="164615"/>
                  <a:pt x="476269" y="153399"/>
                  <a:pt x="489970" y="152208"/>
                </a:cubicBezTo>
                <a:moveTo>
                  <a:pt x="140694" y="201837"/>
                </a:moveTo>
                <a:lnTo>
                  <a:pt x="139834" y="201482"/>
                </a:lnTo>
                <a:cubicBezTo>
                  <a:pt x="140167" y="201940"/>
                  <a:pt x="140499" y="202398"/>
                  <a:pt x="140812" y="204941"/>
                </a:cubicBezTo>
                <a:cubicBezTo>
                  <a:pt x="142073" y="209235"/>
                  <a:pt x="143094" y="213618"/>
                  <a:pt x="144631" y="217811"/>
                </a:cubicBezTo>
                <a:cubicBezTo>
                  <a:pt x="163630" y="269630"/>
                  <a:pt x="184359" y="320889"/>
                  <a:pt x="201241" y="373387"/>
                </a:cubicBezTo>
                <a:cubicBezTo>
                  <a:pt x="215057" y="416348"/>
                  <a:pt x="224086" y="460838"/>
                  <a:pt x="235971" y="504451"/>
                </a:cubicBezTo>
                <a:cubicBezTo>
                  <a:pt x="237017" y="508291"/>
                  <a:pt x="243450" y="513153"/>
                  <a:pt x="247475" y="513241"/>
                </a:cubicBezTo>
                <a:cubicBezTo>
                  <a:pt x="261316" y="513543"/>
                  <a:pt x="275190" y="511373"/>
                  <a:pt x="289066" y="511170"/>
                </a:cubicBezTo>
                <a:cubicBezTo>
                  <a:pt x="318784" y="510736"/>
                  <a:pt x="348532" y="510226"/>
                  <a:pt x="378229" y="511084"/>
                </a:cubicBezTo>
                <a:cubicBezTo>
                  <a:pt x="409129" y="511977"/>
                  <a:pt x="440005" y="514145"/>
                  <a:pt x="470850" y="516341"/>
                </a:cubicBezTo>
                <a:cubicBezTo>
                  <a:pt x="488515" y="517598"/>
                  <a:pt x="488581" y="517383"/>
                  <a:pt x="492933" y="497969"/>
                </a:cubicBezTo>
                <a:cubicBezTo>
                  <a:pt x="509517" y="423981"/>
                  <a:pt x="529141" y="350878"/>
                  <a:pt x="557617" y="280398"/>
                </a:cubicBezTo>
                <a:cubicBezTo>
                  <a:pt x="568115" y="254415"/>
                  <a:pt x="577983" y="228177"/>
                  <a:pt x="588788" y="200385"/>
                </a:cubicBezTo>
                <a:cubicBezTo>
                  <a:pt x="568882" y="211746"/>
                  <a:pt x="556897" y="233442"/>
                  <a:pt x="530958" y="232968"/>
                </a:cubicBezTo>
                <a:cubicBezTo>
                  <a:pt x="501919" y="232437"/>
                  <a:pt x="492615" y="212474"/>
                  <a:pt x="483823" y="190364"/>
                </a:cubicBezTo>
                <a:cubicBezTo>
                  <a:pt x="477516" y="197154"/>
                  <a:pt x="471372" y="202589"/>
                  <a:pt x="466649" y="209061"/>
                </a:cubicBezTo>
                <a:cubicBezTo>
                  <a:pt x="449398" y="232702"/>
                  <a:pt x="420396" y="235708"/>
                  <a:pt x="399941" y="216988"/>
                </a:cubicBezTo>
                <a:cubicBezTo>
                  <a:pt x="387278" y="205398"/>
                  <a:pt x="375741" y="192577"/>
                  <a:pt x="363018" y="179615"/>
                </a:cubicBezTo>
                <a:cubicBezTo>
                  <a:pt x="350255" y="200356"/>
                  <a:pt x="336990" y="223707"/>
                  <a:pt x="308839" y="227846"/>
                </a:cubicBezTo>
                <a:cubicBezTo>
                  <a:pt x="280122" y="232067"/>
                  <a:pt x="262039" y="213088"/>
                  <a:pt x="245077" y="192402"/>
                </a:cubicBezTo>
                <a:cubicBezTo>
                  <a:pt x="244011" y="195470"/>
                  <a:pt x="243549" y="197200"/>
                  <a:pt x="242829" y="198815"/>
                </a:cubicBezTo>
                <a:cubicBezTo>
                  <a:pt x="227987" y="232132"/>
                  <a:pt x="198552" y="240117"/>
                  <a:pt x="168452" y="219348"/>
                </a:cubicBezTo>
                <a:cubicBezTo>
                  <a:pt x="159660" y="213282"/>
                  <a:pt x="150196" y="208189"/>
                  <a:pt x="140694" y="201837"/>
                </a:cubicBezTo>
                <a:moveTo>
                  <a:pt x="259999" y="966699"/>
                </a:moveTo>
                <a:cubicBezTo>
                  <a:pt x="259066" y="1001276"/>
                  <a:pt x="258555" y="1035871"/>
                  <a:pt x="257072" y="1070424"/>
                </a:cubicBezTo>
                <a:cubicBezTo>
                  <a:pt x="255822" y="1099520"/>
                  <a:pt x="254332" y="1128659"/>
                  <a:pt x="251372" y="1157618"/>
                </a:cubicBezTo>
                <a:cubicBezTo>
                  <a:pt x="245822" y="1211910"/>
                  <a:pt x="239941" y="1266195"/>
                  <a:pt x="232677" y="1320279"/>
                </a:cubicBezTo>
                <a:cubicBezTo>
                  <a:pt x="226012" y="1369906"/>
                  <a:pt x="218692" y="1419525"/>
                  <a:pt x="209182" y="1468667"/>
                </a:cubicBezTo>
                <a:cubicBezTo>
                  <a:pt x="199574" y="1518317"/>
                  <a:pt x="187234" y="1567453"/>
                  <a:pt x="175302" y="1616623"/>
                </a:cubicBezTo>
                <a:cubicBezTo>
                  <a:pt x="173247" y="1625091"/>
                  <a:pt x="175038" y="1628715"/>
                  <a:pt x="182769" y="1629786"/>
                </a:cubicBezTo>
                <a:cubicBezTo>
                  <a:pt x="192516" y="1631137"/>
                  <a:pt x="202351" y="1632591"/>
                  <a:pt x="212156" y="1632656"/>
                </a:cubicBezTo>
                <a:lnTo>
                  <a:pt x="351295" y="1632801"/>
                </a:lnTo>
                <a:cubicBezTo>
                  <a:pt x="371086" y="1632783"/>
                  <a:pt x="376419" y="1627831"/>
                  <a:pt x="376150" y="1608307"/>
                </a:cubicBezTo>
                <a:cubicBezTo>
                  <a:pt x="375456" y="1557965"/>
                  <a:pt x="374444" y="1507628"/>
                  <a:pt x="373450" y="1457291"/>
                </a:cubicBezTo>
                <a:cubicBezTo>
                  <a:pt x="372695" y="1419104"/>
                  <a:pt x="371725" y="1380922"/>
                  <a:pt x="370936" y="1342736"/>
                </a:cubicBezTo>
                <a:cubicBezTo>
                  <a:pt x="369980" y="1296451"/>
                  <a:pt x="368481" y="1250167"/>
                  <a:pt x="368328" y="1203878"/>
                </a:cubicBezTo>
                <a:cubicBezTo>
                  <a:pt x="367898" y="1073746"/>
                  <a:pt x="368114" y="943611"/>
                  <a:pt x="367836" y="813478"/>
                </a:cubicBezTo>
                <a:cubicBezTo>
                  <a:pt x="367808" y="800064"/>
                  <a:pt x="366292" y="786643"/>
                  <a:pt x="365240" y="773243"/>
                </a:cubicBezTo>
                <a:cubicBezTo>
                  <a:pt x="364669" y="765967"/>
                  <a:pt x="361177" y="762219"/>
                  <a:pt x="353084" y="762083"/>
                </a:cubicBezTo>
                <a:cubicBezTo>
                  <a:pt x="329039" y="761680"/>
                  <a:pt x="305010" y="760323"/>
                  <a:pt x="280966" y="759855"/>
                </a:cubicBezTo>
                <a:cubicBezTo>
                  <a:pt x="262974" y="759505"/>
                  <a:pt x="259584" y="762728"/>
                  <a:pt x="259965" y="779553"/>
                </a:cubicBezTo>
                <a:cubicBezTo>
                  <a:pt x="260545" y="805134"/>
                  <a:pt x="262417" y="830704"/>
                  <a:pt x="262341" y="856275"/>
                </a:cubicBezTo>
                <a:cubicBezTo>
                  <a:pt x="262235" y="892209"/>
                  <a:pt x="260847" y="928139"/>
                  <a:pt x="259999" y="966699"/>
                </a:cubicBezTo>
                <a:moveTo>
                  <a:pt x="55556" y="1835827"/>
                </a:moveTo>
                <a:cubicBezTo>
                  <a:pt x="53401" y="1849932"/>
                  <a:pt x="49990" y="1863984"/>
                  <a:pt x="49393" y="1878155"/>
                </a:cubicBezTo>
                <a:cubicBezTo>
                  <a:pt x="48549" y="1898208"/>
                  <a:pt x="54196" y="1903667"/>
                  <a:pt x="73949" y="1905781"/>
                </a:cubicBezTo>
                <a:cubicBezTo>
                  <a:pt x="85970" y="1907068"/>
                  <a:pt x="98058" y="1907739"/>
                  <a:pt x="110073" y="1909068"/>
                </a:cubicBezTo>
                <a:cubicBezTo>
                  <a:pt x="148299" y="1913297"/>
                  <a:pt x="186412" y="1919134"/>
                  <a:pt x="224745" y="1921652"/>
                </a:cubicBezTo>
                <a:cubicBezTo>
                  <a:pt x="265500" y="1924329"/>
                  <a:pt x="306455" y="1923995"/>
                  <a:pt x="347327" y="1924778"/>
                </a:cubicBezTo>
                <a:cubicBezTo>
                  <a:pt x="352654" y="1924880"/>
                  <a:pt x="357999" y="1923751"/>
                  <a:pt x="363345" y="1923293"/>
                </a:cubicBezTo>
                <a:cubicBezTo>
                  <a:pt x="370812" y="1922652"/>
                  <a:pt x="373724" y="1919361"/>
                  <a:pt x="373787" y="1911200"/>
                </a:cubicBezTo>
                <a:cubicBezTo>
                  <a:pt x="374339" y="1839709"/>
                  <a:pt x="375066" y="1768215"/>
                  <a:pt x="376623" y="1696741"/>
                </a:cubicBezTo>
                <a:cubicBezTo>
                  <a:pt x="376910" y="1683555"/>
                  <a:pt x="372147" y="1681381"/>
                  <a:pt x="360437" y="1681289"/>
                </a:cubicBezTo>
                <a:cubicBezTo>
                  <a:pt x="328117" y="1681033"/>
                  <a:pt x="295777" y="1679974"/>
                  <a:pt x="263503" y="1678179"/>
                </a:cubicBezTo>
                <a:cubicBezTo>
                  <a:pt x="229090" y="1676266"/>
                  <a:pt x="194719" y="1673423"/>
                  <a:pt x="160381" y="1670405"/>
                </a:cubicBezTo>
                <a:cubicBezTo>
                  <a:pt x="148387" y="1669350"/>
                  <a:pt x="145963" y="1675505"/>
                  <a:pt x="143321" y="1685538"/>
                </a:cubicBezTo>
                <a:cubicBezTo>
                  <a:pt x="138582" y="1703537"/>
                  <a:pt x="133802" y="1722215"/>
                  <a:pt x="124769" y="1738195"/>
                </a:cubicBezTo>
                <a:cubicBezTo>
                  <a:pt x="116109" y="1753517"/>
                  <a:pt x="101000" y="1765040"/>
                  <a:pt x="90593" y="1779570"/>
                </a:cubicBezTo>
                <a:cubicBezTo>
                  <a:pt x="78162" y="1796924"/>
                  <a:pt x="67717" y="1815700"/>
                  <a:pt x="55556" y="1835827"/>
                </a:cubicBezTo>
                <a:moveTo>
                  <a:pt x="378900" y="2007280"/>
                </a:moveTo>
                <a:cubicBezTo>
                  <a:pt x="378896" y="2003229"/>
                  <a:pt x="378901" y="1999178"/>
                  <a:pt x="378887" y="1995127"/>
                </a:cubicBezTo>
                <a:cubicBezTo>
                  <a:pt x="378824" y="1976033"/>
                  <a:pt x="378817" y="1976317"/>
                  <a:pt x="359084" y="1975964"/>
                </a:cubicBezTo>
                <a:lnTo>
                  <a:pt x="247288" y="1973305"/>
                </a:lnTo>
                <a:cubicBezTo>
                  <a:pt x="232069" y="1972838"/>
                  <a:pt x="216796" y="1972093"/>
                  <a:pt x="201692" y="1970275"/>
                </a:cubicBezTo>
                <a:lnTo>
                  <a:pt x="57962" y="1952648"/>
                </a:lnTo>
                <a:cubicBezTo>
                  <a:pt x="51898" y="1952011"/>
                  <a:pt x="41206" y="1958134"/>
                  <a:pt x="39194" y="1963552"/>
                </a:cubicBezTo>
                <a:cubicBezTo>
                  <a:pt x="34138" y="1977168"/>
                  <a:pt x="32687" y="1992148"/>
                  <a:pt x="30066" y="2006631"/>
                </a:cubicBezTo>
                <a:cubicBezTo>
                  <a:pt x="28649" y="2014460"/>
                  <a:pt x="32955" y="2017729"/>
                  <a:pt x="40232" y="2019486"/>
                </a:cubicBezTo>
                <a:cubicBezTo>
                  <a:pt x="105307" y="2035198"/>
                  <a:pt x="171489" y="2043035"/>
                  <a:pt x="238186" y="2046096"/>
                </a:cubicBezTo>
                <a:cubicBezTo>
                  <a:pt x="272775" y="2047683"/>
                  <a:pt x="307494" y="2046505"/>
                  <a:pt x="342155" y="2046441"/>
                </a:cubicBezTo>
                <a:cubicBezTo>
                  <a:pt x="378858" y="2046373"/>
                  <a:pt x="378858" y="2046303"/>
                  <a:pt x="378900" y="2007280"/>
                </a:cubicBezTo>
                <a:moveTo>
                  <a:pt x="310220" y="554288"/>
                </a:moveTo>
                <a:lnTo>
                  <a:pt x="259136" y="556881"/>
                </a:lnTo>
                <a:cubicBezTo>
                  <a:pt x="251446" y="557144"/>
                  <a:pt x="248963" y="560888"/>
                  <a:pt x="249085" y="567981"/>
                </a:cubicBezTo>
                <a:cubicBezTo>
                  <a:pt x="249291" y="580007"/>
                  <a:pt x="249141" y="592039"/>
                  <a:pt x="249141" y="605644"/>
                </a:cubicBezTo>
                <a:cubicBezTo>
                  <a:pt x="252942" y="605644"/>
                  <a:pt x="257788" y="605750"/>
                  <a:pt x="262628" y="605627"/>
                </a:cubicBezTo>
                <a:cubicBezTo>
                  <a:pt x="298288" y="604718"/>
                  <a:pt x="333947" y="603084"/>
                  <a:pt x="369608" y="603027"/>
                </a:cubicBezTo>
                <a:cubicBezTo>
                  <a:pt x="401047" y="602977"/>
                  <a:pt x="432489" y="605109"/>
                  <a:pt x="463931" y="605146"/>
                </a:cubicBezTo>
                <a:cubicBezTo>
                  <a:pt x="468882" y="605152"/>
                  <a:pt x="477522" y="599724"/>
                  <a:pt x="478113" y="595843"/>
                </a:cubicBezTo>
                <a:cubicBezTo>
                  <a:pt x="479968" y="583658"/>
                  <a:pt x="478796" y="571012"/>
                  <a:pt x="478796" y="556832"/>
                </a:cubicBezTo>
                <a:lnTo>
                  <a:pt x="310220" y="554288"/>
                </a:lnTo>
                <a:moveTo>
                  <a:pt x="348836" y="684115"/>
                </a:moveTo>
                <a:lnTo>
                  <a:pt x="281333" y="683313"/>
                </a:lnTo>
                <a:cubicBezTo>
                  <a:pt x="258459" y="682880"/>
                  <a:pt x="235573" y="681397"/>
                  <a:pt x="212728" y="681931"/>
                </a:cubicBezTo>
                <a:cubicBezTo>
                  <a:pt x="204151" y="682132"/>
                  <a:pt x="195144" y="685643"/>
                  <a:pt x="187283" y="689555"/>
                </a:cubicBezTo>
                <a:cubicBezTo>
                  <a:pt x="176092" y="695122"/>
                  <a:pt x="175412" y="711787"/>
                  <a:pt x="186163" y="718266"/>
                </a:cubicBezTo>
                <a:cubicBezTo>
                  <a:pt x="193268" y="722548"/>
                  <a:pt x="201790" y="726298"/>
                  <a:pt x="209894" y="726798"/>
                </a:cubicBezTo>
                <a:cubicBezTo>
                  <a:pt x="251494" y="729369"/>
                  <a:pt x="293151" y="731218"/>
                  <a:pt x="334814" y="732494"/>
                </a:cubicBezTo>
                <a:cubicBezTo>
                  <a:pt x="360875" y="733292"/>
                  <a:pt x="360845" y="732630"/>
                  <a:pt x="364856" y="707963"/>
                </a:cubicBezTo>
                <a:cubicBezTo>
                  <a:pt x="366759" y="696261"/>
                  <a:pt x="364119" y="687361"/>
                  <a:pt x="348836" y="684115"/>
                </a:cubicBezTo>
                <a:moveTo>
                  <a:pt x="298865" y="621954"/>
                </a:moveTo>
                <a:cubicBezTo>
                  <a:pt x="283113" y="621947"/>
                  <a:pt x="267325" y="621283"/>
                  <a:pt x="251619" y="622133"/>
                </a:cubicBezTo>
                <a:cubicBezTo>
                  <a:pt x="238016" y="622869"/>
                  <a:pt x="223730" y="622855"/>
                  <a:pt x="214459" y="636230"/>
                </a:cubicBezTo>
                <a:cubicBezTo>
                  <a:pt x="208245" y="645195"/>
                  <a:pt x="210589" y="653121"/>
                  <a:pt x="221436" y="654205"/>
                </a:cubicBezTo>
                <a:cubicBezTo>
                  <a:pt x="238362" y="655895"/>
                  <a:pt x="255402" y="656613"/>
                  <a:pt x="272412" y="657250"/>
                </a:cubicBezTo>
                <a:cubicBezTo>
                  <a:pt x="297964" y="658207"/>
                  <a:pt x="323529" y="659053"/>
                  <a:pt x="349094" y="659282"/>
                </a:cubicBezTo>
                <a:cubicBezTo>
                  <a:pt x="358195" y="659363"/>
                  <a:pt x="363477" y="655246"/>
                  <a:pt x="362996" y="644234"/>
                </a:cubicBezTo>
                <a:cubicBezTo>
                  <a:pt x="362527" y="633519"/>
                  <a:pt x="361239" y="625376"/>
                  <a:pt x="348472" y="624649"/>
                </a:cubicBezTo>
                <a:lnTo>
                  <a:pt x="298865" y="621954"/>
                </a:lnTo>
                <a:moveTo>
                  <a:pt x="227796" y="528000"/>
                </a:moveTo>
                <a:cubicBezTo>
                  <a:pt x="224777" y="540795"/>
                  <a:pt x="228095" y="545993"/>
                  <a:pt x="241009" y="545897"/>
                </a:cubicBezTo>
                <a:cubicBezTo>
                  <a:pt x="254880" y="545792"/>
                  <a:pt x="268730" y="543734"/>
                  <a:pt x="282607" y="543480"/>
                </a:cubicBezTo>
                <a:cubicBezTo>
                  <a:pt x="306469" y="543043"/>
                  <a:pt x="330344" y="543266"/>
                  <a:pt x="354213" y="543384"/>
                </a:cubicBezTo>
                <a:cubicBezTo>
                  <a:pt x="361191" y="543419"/>
                  <a:pt x="365298" y="541242"/>
                  <a:pt x="365334" y="533397"/>
                </a:cubicBezTo>
                <a:cubicBezTo>
                  <a:pt x="365369" y="525778"/>
                  <a:pt x="362988" y="521561"/>
                  <a:pt x="354531" y="521620"/>
                </a:cubicBezTo>
                <a:lnTo>
                  <a:pt x="259169" y="521978"/>
                </a:lnTo>
                <a:cubicBezTo>
                  <a:pt x="249027" y="522159"/>
                  <a:pt x="238927" y="524679"/>
                  <a:pt x="227796" y="528000"/>
                </a:cubicBezTo>
                <a:moveTo>
                  <a:pt x="508068" y="190710"/>
                </a:moveTo>
                <a:lnTo>
                  <a:pt x="521293" y="205907"/>
                </a:lnTo>
                <a:lnTo>
                  <a:pt x="525175" y="202985"/>
                </a:lnTo>
                <a:cubicBezTo>
                  <a:pt x="522014" y="185953"/>
                  <a:pt x="510916" y="173426"/>
                  <a:pt x="500276" y="160640"/>
                </a:cubicBezTo>
                <a:lnTo>
                  <a:pt x="497122" y="162007"/>
                </a:lnTo>
                <a:cubicBezTo>
                  <a:pt x="500457" y="170983"/>
                  <a:pt x="503791" y="179959"/>
                  <a:pt x="508068" y="190710"/>
                </a:cubicBezTo>
                <a:moveTo>
                  <a:pt x="215522" y="197296"/>
                </a:moveTo>
                <a:lnTo>
                  <a:pt x="234029" y="162725"/>
                </a:lnTo>
                <a:lnTo>
                  <a:pt x="229000" y="159902"/>
                </a:lnTo>
                <a:lnTo>
                  <a:pt x="204824" y="199677"/>
                </a:lnTo>
                <a:lnTo>
                  <a:pt x="207990" y="202198"/>
                </a:lnTo>
                <a:cubicBezTo>
                  <a:pt x="210047" y="201020"/>
                  <a:pt x="212104" y="199843"/>
                  <a:pt x="215522" y="197296"/>
                </a:cubicBezTo>
                <a:moveTo>
                  <a:pt x="484400" y="896678"/>
                </a:moveTo>
                <a:lnTo>
                  <a:pt x="486181" y="896585"/>
                </a:lnTo>
              </a:path>
            </a:pathLst>
          </a:custGeom>
          <a:solidFill>
            <a:srgbClr val="CCD6DA"/>
          </a:solidFill>
          <a:ln w="2699" cap="flat">
            <a:solidFill>
              <a:srgbClr val="CDD9DF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15" name="Free-form: Shape 414">
            <a:extLst>
              <a:ext uri="{FF2B5EF4-FFF2-40B4-BE49-F238E27FC236}">
                <a16:creationId xmlns:a16="http://schemas.microsoft.com/office/drawing/2014/main" id="{76B250C5-515A-6056-F64D-905A6182115C}"/>
              </a:ext>
            </a:extLst>
          </p:cNvPr>
          <p:cNvSpPr/>
          <p:nvPr/>
        </p:nvSpPr>
        <p:spPr>
          <a:xfrm flipH="1">
            <a:off x="5301929" y="4888388"/>
            <a:ext cx="153404" cy="625011"/>
          </a:xfrm>
          <a:custGeom>
            <a:avLst/>
            <a:gdLst>
              <a:gd name="csX0" fmla="*/ 85488 w 201644"/>
              <a:gd name="csY0" fmla="*/ 205555 h 873028"/>
              <a:gd name="csX1" fmla="*/ 87827 w 201644"/>
              <a:gd name="csY1" fmla="*/ 96444 h 873028"/>
              <a:gd name="csX2" fmla="*/ 85450 w 201644"/>
              <a:gd name="csY2" fmla="*/ 19723 h 873028"/>
              <a:gd name="csX3" fmla="*/ 106451 w 201644"/>
              <a:gd name="csY3" fmla="*/ 25 h 873028"/>
              <a:gd name="csX4" fmla="*/ 178569 w 201644"/>
              <a:gd name="csY4" fmla="*/ 2252 h 873028"/>
              <a:gd name="csX5" fmla="*/ 190725 w 201644"/>
              <a:gd name="csY5" fmla="*/ 13413 h 873028"/>
              <a:gd name="csX6" fmla="*/ 193322 w 201644"/>
              <a:gd name="csY6" fmla="*/ 53648 h 873028"/>
              <a:gd name="csX7" fmla="*/ 193813 w 201644"/>
              <a:gd name="csY7" fmla="*/ 444048 h 873028"/>
              <a:gd name="csX8" fmla="*/ 196421 w 201644"/>
              <a:gd name="csY8" fmla="*/ 582906 h 873028"/>
              <a:gd name="csX9" fmla="*/ 198935 w 201644"/>
              <a:gd name="csY9" fmla="*/ 697460 h 873028"/>
              <a:gd name="csX10" fmla="*/ 201635 w 201644"/>
              <a:gd name="csY10" fmla="*/ 848476 h 873028"/>
              <a:gd name="csX11" fmla="*/ 176780 w 201644"/>
              <a:gd name="csY11" fmla="*/ 872971 h 873028"/>
              <a:gd name="csX12" fmla="*/ 37642 w 201644"/>
              <a:gd name="csY12" fmla="*/ 872825 h 873028"/>
              <a:gd name="csX13" fmla="*/ 8254 w 201644"/>
              <a:gd name="csY13" fmla="*/ 869956 h 873028"/>
              <a:gd name="csX14" fmla="*/ 787 w 201644"/>
              <a:gd name="csY14" fmla="*/ 856792 h 873028"/>
              <a:gd name="csX15" fmla="*/ 34667 w 201644"/>
              <a:gd name="csY15" fmla="*/ 708837 h 873028"/>
              <a:gd name="csX16" fmla="*/ 58163 w 201644"/>
              <a:gd name="csY16" fmla="*/ 560448 h 873028"/>
              <a:gd name="csX17" fmla="*/ 76857 w 201644"/>
              <a:gd name="csY17" fmla="*/ 397787 h 873028"/>
              <a:gd name="csX18" fmla="*/ 82557 w 201644"/>
              <a:gd name="csY18" fmla="*/ 310594 h 873028"/>
              <a:gd name="csX19" fmla="*/ 85488 w 201644"/>
              <a:gd name="csY19" fmla="*/ 205555 h 87302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</a:cxnLst>
            <a:rect l="l" t="t" r="r" b="b"/>
            <a:pathLst>
              <a:path w="201644" h="873028">
                <a:moveTo>
                  <a:pt x="85488" y="205555"/>
                </a:moveTo>
                <a:cubicBezTo>
                  <a:pt x="86332" y="168309"/>
                  <a:pt x="87720" y="132378"/>
                  <a:pt x="87827" y="96444"/>
                </a:cubicBezTo>
                <a:cubicBezTo>
                  <a:pt x="87903" y="70874"/>
                  <a:pt x="86030" y="45303"/>
                  <a:pt x="85450" y="19723"/>
                </a:cubicBezTo>
                <a:cubicBezTo>
                  <a:pt x="85069" y="2897"/>
                  <a:pt x="88460" y="-326"/>
                  <a:pt x="106451" y="25"/>
                </a:cubicBezTo>
                <a:cubicBezTo>
                  <a:pt x="130496" y="493"/>
                  <a:pt x="154524" y="1849"/>
                  <a:pt x="178569" y="2252"/>
                </a:cubicBezTo>
                <a:cubicBezTo>
                  <a:pt x="186663" y="2388"/>
                  <a:pt x="190154" y="6137"/>
                  <a:pt x="190725" y="13413"/>
                </a:cubicBezTo>
                <a:cubicBezTo>
                  <a:pt x="191778" y="26813"/>
                  <a:pt x="193293" y="40233"/>
                  <a:pt x="193322" y="53648"/>
                </a:cubicBezTo>
                <a:cubicBezTo>
                  <a:pt x="193599" y="183781"/>
                  <a:pt x="193383" y="313915"/>
                  <a:pt x="193813" y="444048"/>
                </a:cubicBezTo>
                <a:cubicBezTo>
                  <a:pt x="193967" y="490336"/>
                  <a:pt x="195465" y="536621"/>
                  <a:pt x="196421" y="582906"/>
                </a:cubicBezTo>
                <a:cubicBezTo>
                  <a:pt x="197210" y="621092"/>
                  <a:pt x="198181" y="659274"/>
                  <a:pt x="198935" y="697460"/>
                </a:cubicBezTo>
                <a:cubicBezTo>
                  <a:pt x="199930" y="747797"/>
                  <a:pt x="200941" y="798134"/>
                  <a:pt x="201635" y="848476"/>
                </a:cubicBezTo>
                <a:cubicBezTo>
                  <a:pt x="201904" y="868001"/>
                  <a:pt x="196572" y="872953"/>
                  <a:pt x="176780" y="872971"/>
                </a:cubicBezTo>
                <a:cubicBezTo>
                  <a:pt x="130401" y="873012"/>
                  <a:pt x="84020" y="873131"/>
                  <a:pt x="37642" y="872825"/>
                </a:cubicBezTo>
                <a:cubicBezTo>
                  <a:pt x="27836" y="872761"/>
                  <a:pt x="18001" y="871306"/>
                  <a:pt x="8254" y="869956"/>
                </a:cubicBezTo>
                <a:cubicBezTo>
                  <a:pt x="524" y="868885"/>
                  <a:pt x="-1268" y="865260"/>
                  <a:pt x="787" y="856792"/>
                </a:cubicBezTo>
                <a:cubicBezTo>
                  <a:pt x="12720" y="807623"/>
                  <a:pt x="25059" y="758486"/>
                  <a:pt x="34667" y="708837"/>
                </a:cubicBezTo>
                <a:cubicBezTo>
                  <a:pt x="44177" y="659694"/>
                  <a:pt x="51498" y="610075"/>
                  <a:pt x="58163" y="560448"/>
                </a:cubicBezTo>
                <a:cubicBezTo>
                  <a:pt x="65426" y="506364"/>
                  <a:pt x="71307" y="452080"/>
                  <a:pt x="76857" y="397787"/>
                </a:cubicBezTo>
                <a:cubicBezTo>
                  <a:pt x="79817" y="368829"/>
                  <a:pt x="81308" y="339690"/>
                  <a:pt x="82557" y="310594"/>
                </a:cubicBezTo>
                <a:cubicBezTo>
                  <a:pt x="84040" y="276041"/>
                  <a:pt x="84552" y="241446"/>
                  <a:pt x="85488" y="205555"/>
                </a:cubicBezTo>
                <a:close/>
              </a:path>
            </a:pathLst>
          </a:custGeom>
          <a:solidFill>
            <a:schemeClr val="bg1"/>
          </a:solidFill>
          <a:ln w="2699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16" name="Free-form: Shape 415">
            <a:extLst>
              <a:ext uri="{FF2B5EF4-FFF2-40B4-BE49-F238E27FC236}">
                <a16:creationId xmlns:a16="http://schemas.microsoft.com/office/drawing/2014/main" id="{68A1EA7D-B13B-BA5D-A3FA-982DB0CCC4B7}"/>
              </a:ext>
            </a:extLst>
          </p:cNvPr>
          <p:cNvSpPr/>
          <p:nvPr/>
        </p:nvSpPr>
        <p:spPr>
          <a:xfrm flipH="1">
            <a:off x="5137393" y="4465793"/>
            <a:ext cx="172350" cy="248589"/>
          </a:xfrm>
          <a:custGeom>
            <a:avLst/>
            <a:gdLst>
              <a:gd name="csX0" fmla="*/ 778 w 226548"/>
              <a:gd name="csY0" fmla="*/ 0 h 337161"/>
              <a:gd name="csX1" fmla="*/ 37702 w 226548"/>
              <a:gd name="csY1" fmla="*/ 37373 h 337161"/>
              <a:gd name="csX2" fmla="*/ 104410 w 226548"/>
              <a:gd name="csY2" fmla="*/ 29446 h 337161"/>
              <a:gd name="csX3" fmla="*/ 121584 w 226548"/>
              <a:gd name="csY3" fmla="*/ 10749 h 337161"/>
              <a:gd name="csX4" fmla="*/ 168719 w 226548"/>
              <a:gd name="csY4" fmla="*/ 53353 h 337161"/>
              <a:gd name="csX5" fmla="*/ 226548 w 226548"/>
              <a:gd name="csY5" fmla="*/ 20770 h 337161"/>
              <a:gd name="csX6" fmla="*/ 195378 w 226548"/>
              <a:gd name="csY6" fmla="*/ 100783 h 337161"/>
              <a:gd name="csX7" fmla="*/ 130693 w 226548"/>
              <a:gd name="csY7" fmla="*/ 318354 h 337161"/>
              <a:gd name="csX8" fmla="*/ 108611 w 226548"/>
              <a:gd name="csY8" fmla="*/ 336726 h 337161"/>
              <a:gd name="csX9" fmla="*/ 15990 w 226548"/>
              <a:gd name="csY9" fmla="*/ 331469 h 337161"/>
              <a:gd name="csX10" fmla="*/ 0 w 226548"/>
              <a:gd name="csY10" fmla="*/ 331485 h 337161"/>
              <a:gd name="csX11" fmla="*/ 0 w 226548"/>
              <a:gd name="csY11" fmla="*/ 1107 h 33716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226548" h="337161">
                <a:moveTo>
                  <a:pt x="778" y="0"/>
                </a:moveTo>
                <a:cubicBezTo>
                  <a:pt x="13501" y="12962"/>
                  <a:pt x="25038" y="25783"/>
                  <a:pt x="37702" y="37373"/>
                </a:cubicBezTo>
                <a:cubicBezTo>
                  <a:pt x="58156" y="56093"/>
                  <a:pt x="87159" y="53087"/>
                  <a:pt x="104410" y="29446"/>
                </a:cubicBezTo>
                <a:cubicBezTo>
                  <a:pt x="109133" y="22974"/>
                  <a:pt x="115276" y="17539"/>
                  <a:pt x="121584" y="10749"/>
                </a:cubicBezTo>
                <a:cubicBezTo>
                  <a:pt x="130376" y="32859"/>
                  <a:pt x="139680" y="52822"/>
                  <a:pt x="168719" y="53353"/>
                </a:cubicBezTo>
                <a:cubicBezTo>
                  <a:pt x="194658" y="53827"/>
                  <a:pt x="206643" y="32131"/>
                  <a:pt x="226548" y="20770"/>
                </a:cubicBezTo>
                <a:cubicBezTo>
                  <a:pt x="215744" y="48562"/>
                  <a:pt x="205876" y="74800"/>
                  <a:pt x="195378" y="100783"/>
                </a:cubicBezTo>
                <a:cubicBezTo>
                  <a:pt x="166902" y="171263"/>
                  <a:pt x="147278" y="244366"/>
                  <a:pt x="130693" y="318354"/>
                </a:cubicBezTo>
                <a:cubicBezTo>
                  <a:pt x="126342" y="337768"/>
                  <a:pt x="126276" y="337983"/>
                  <a:pt x="108611" y="336726"/>
                </a:cubicBezTo>
                <a:cubicBezTo>
                  <a:pt x="77766" y="334530"/>
                  <a:pt x="46890" y="332362"/>
                  <a:pt x="15990" y="331469"/>
                </a:cubicBezTo>
                <a:lnTo>
                  <a:pt x="0" y="331485"/>
                </a:lnTo>
                <a:lnTo>
                  <a:pt x="0" y="1107"/>
                </a:lnTo>
                <a:close/>
              </a:path>
            </a:pathLst>
          </a:custGeom>
          <a:solidFill>
            <a:srgbClr val="CCD6DA"/>
          </a:solidFill>
          <a:ln w="2699" cap="flat">
            <a:noFill/>
            <a:prstDash val="solid"/>
            <a:miter/>
          </a:ln>
        </p:spPr>
        <p:txBody>
          <a:bodyPr wrap="squar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17" name="Free-form: Shape 416">
            <a:extLst>
              <a:ext uri="{FF2B5EF4-FFF2-40B4-BE49-F238E27FC236}">
                <a16:creationId xmlns:a16="http://schemas.microsoft.com/office/drawing/2014/main" id="{E4C4C59E-EB60-14CB-6ABF-FF6680DD1408}"/>
              </a:ext>
            </a:extLst>
          </p:cNvPr>
          <p:cNvSpPr/>
          <p:nvPr/>
        </p:nvSpPr>
        <p:spPr>
          <a:xfrm flipH="1">
            <a:off x="5301566" y="5540195"/>
            <a:ext cx="249017" cy="182198"/>
          </a:xfrm>
          <a:custGeom>
            <a:avLst/>
            <a:gdLst>
              <a:gd name="csX0" fmla="*/ 6671 w 327322"/>
              <a:gd name="csY0" fmla="*/ 164556 h 254497"/>
              <a:gd name="csX1" fmla="*/ 41280 w 327322"/>
              <a:gd name="csY1" fmla="*/ 109282 h 254497"/>
              <a:gd name="csX2" fmla="*/ 75457 w 327322"/>
              <a:gd name="csY2" fmla="*/ 67908 h 254497"/>
              <a:gd name="csX3" fmla="*/ 94008 w 327322"/>
              <a:gd name="csY3" fmla="*/ 15251 h 254497"/>
              <a:gd name="csX4" fmla="*/ 111068 w 327322"/>
              <a:gd name="csY4" fmla="*/ 117 h 254497"/>
              <a:gd name="csX5" fmla="*/ 214190 w 327322"/>
              <a:gd name="csY5" fmla="*/ 7891 h 254497"/>
              <a:gd name="csX6" fmla="*/ 311124 w 327322"/>
              <a:gd name="csY6" fmla="*/ 11001 h 254497"/>
              <a:gd name="csX7" fmla="*/ 327310 w 327322"/>
              <a:gd name="csY7" fmla="*/ 26454 h 254497"/>
              <a:gd name="csX8" fmla="*/ 324474 w 327322"/>
              <a:gd name="csY8" fmla="*/ 240912 h 254497"/>
              <a:gd name="csX9" fmla="*/ 314032 w 327322"/>
              <a:gd name="csY9" fmla="*/ 253005 h 254497"/>
              <a:gd name="csX10" fmla="*/ 298014 w 327322"/>
              <a:gd name="csY10" fmla="*/ 254491 h 254497"/>
              <a:gd name="csX11" fmla="*/ 175432 w 327322"/>
              <a:gd name="csY11" fmla="*/ 251365 h 254497"/>
              <a:gd name="csX12" fmla="*/ 60761 w 327322"/>
              <a:gd name="csY12" fmla="*/ 238781 h 254497"/>
              <a:gd name="csX13" fmla="*/ 24636 w 327322"/>
              <a:gd name="csY13" fmla="*/ 235494 h 254497"/>
              <a:gd name="csX14" fmla="*/ 80 w 327322"/>
              <a:gd name="csY14" fmla="*/ 207868 h 254497"/>
              <a:gd name="csX15" fmla="*/ 6671 w 327322"/>
              <a:gd name="csY15" fmla="*/ 164556 h 25449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</a:cxnLst>
            <a:rect l="l" t="t" r="r" b="b"/>
            <a:pathLst>
              <a:path w="327322" h="254497">
                <a:moveTo>
                  <a:pt x="6671" y="164556"/>
                </a:moveTo>
                <a:cubicBezTo>
                  <a:pt x="18404" y="145412"/>
                  <a:pt x="28850" y="126637"/>
                  <a:pt x="41280" y="109282"/>
                </a:cubicBezTo>
                <a:cubicBezTo>
                  <a:pt x="51687" y="94752"/>
                  <a:pt x="66796" y="83230"/>
                  <a:pt x="75457" y="67908"/>
                </a:cubicBezTo>
                <a:cubicBezTo>
                  <a:pt x="84489" y="51927"/>
                  <a:pt x="89269" y="33249"/>
                  <a:pt x="94008" y="15251"/>
                </a:cubicBezTo>
                <a:cubicBezTo>
                  <a:pt x="96650" y="5217"/>
                  <a:pt x="99074" y="-938"/>
                  <a:pt x="111068" y="117"/>
                </a:cubicBezTo>
                <a:cubicBezTo>
                  <a:pt x="145406" y="3136"/>
                  <a:pt x="179777" y="5978"/>
                  <a:pt x="214190" y="7891"/>
                </a:cubicBezTo>
                <a:cubicBezTo>
                  <a:pt x="246464" y="9686"/>
                  <a:pt x="278804" y="10746"/>
                  <a:pt x="311124" y="11001"/>
                </a:cubicBezTo>
                <a:cubicBezTo>
                  <a:pt x="322834" y="11094"/>
                  <a:pt x="327597" y="13267"/>
                  <a:pt x="327310" y="26454"/>
                </a:cubicBezTo>
                <a:cubicBezTo>
                  <a:pt x="325754" y="97927"/>
                  <a:pt x="325026" y="169421"/>
                  <a:pt x="324474" y="240912"/>
                </a:cubicBezTo>
                <a:cubicBezTo>
                  <a:pt x="324411" y="249073"/>
                  <a:pt x="321499" y="252364"/>
                  <a:pt x="314032" y="253005"/>
                </a:cubicBezTo>
                <a:cubicBezTo>
                  <a:pt x="308686" y="253463"/>
                  <a:pt x="303341" y="254593"/>
                  <a:pt x="298014" y="254491"/>
                </a:cubicBezTo>
                <a:cubicBezTo>
                  <a:pt x="257142" y="253707"/>
                  <a:pt x="216187" y="254041"/>
                  <a:pt x="175432" y="251365"/>
                </a:cubicBezTo>
                <a:cubicBezTo>
                  <a:pt x="137099" y="248847"/>
                  <a:pt x="98986" y="243009"/>
                  <a:pt x="60761" y="238781"/>
                </a:cubicBezTo>
                <a:cubicBezTo>
                  <a:pt x="48745" y="237452"/>
                  <a:pt x="36657" y="236780"/>
                  <a:pt x="24636" y="235494"/>
                </a:cubicBezTo>
                <a:cubicBezTo>
                  <a:pt x="4883" y="233380"/>
                  <a:pt x="-764" y="227920"/>
                  <a:pt x="80" y="207868"/>
                </a:cubicBezTo>
                <a:cubicBezTo>
                  <a:pt x="677" y="193697"/>
                  <a:pt x="4088" y="179644"/>
                  <a:pt x="6671" y="164556"/>
                </a:cubicBezTo>
                <a:close/>
              </a:path>
            </a:pathLst>
          </a:custGeom>
          <a:solidFill>
            <a:schemeClr val="bg1"/>
          </a:solidFill>
          <a:ln w="2699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18" name="Free-form: Shape 417">
            <a:extLst>
              <a:ext uri="{FF2B5EF4-FFF2-40B4-BE49-F238E27FC236}">
                <a16:creationId xmlns:a16="http://schemas.microsoft.com/office/drawing/2014/main" id="{B046C27A-6837-E319-CF98-CF9E6C2D5B81}"/>
              </a:ext>
            </a:extLst>
          </p:cNvPr>
          <p:cNvSpPr/>
          <p:nvPr/>
        </p:nvSpPr>
        <p:spPr>
          <a:xfrm flipH="1">
            <a:off x="5299843" y="5742308"/>
            <a:ext cx="265587" cy="67524"/>
          </a:xfrm>
          <a:custGeom>
            <a:avLst/>
            <a:gdLst>
              <a:gd name="csX0" fmla="*/ 349104 w 349103"/>
              <a:gd name="csY0" fmla="*/ 55996 h 94319"/>
              <a:gd name="csX1" fmla="*/ 312357 w 349103"/>
              <a:gd name="csY1" fmla="*/ 93839 h 94319"/>
              <a:gd name="csX2" fmla="*/ 208388 w 349103"/>
              <a:gd name="csY2" fmla="*/ 93494 h 94319"/>
              <a:gd name="csX3" fmla="*/ 10435 w 349103"/>
              <a:gd name="csY3" fmla="*/ 66884 h 94319"/>
              <a:gd name="csX4" fmla="*/ 269 w 349103"/>
              <a:gd name="csY4" fmla="*/ 54029 h 94319"/>
              <a:gd name="csX5" fmla="*/ 9397 w 349103"/>
              <a:gd name="csY5" fmla="*/ 10950 h 94319"/>
              <a:gd name="csX6" fmla="*/ 28165 w 349103"/>
              <a:gd name="csY6" fmla="*/ 46 h 94319"/>
              <a:gd name="csX7" fmla="*/ 171895 w 349103"/>
              <a:gd name="csY7" fmla="*/ 17673 h 94319"/>
              <a:gd name="csX8" fmla="*/ 217491 w 349103"/>
              <a:gd name="csY8" fmla="*/ 20703 h 94319"/>
              <a:gd name="csX9" fmla="*/ 329287 w 349103"/>
              <a:gd name="csY9" fmla="*/ 23362 h 94319"/>
              <a:gd name="csX10" fmla="*/ 349090 w 349103"/>
              <a:gd name="csY10" fmla="*/ 42524 h 94319"/>
              <a:gd name="csX11" fmla="*/ 349104 w 349103"/>
              <a:gd name="csY11" fmla="*/ 55996 h 9431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349103" h="94319">
                <a:moveTo>
                  <a:pt x="349104" y="55996"/>
                </a:moveTo>
                <a:cubicBezTo>
                  <a:pt x="349060" y="93701"/>
                  <a:pt x="349061" y="93771"/>
                  <a:pt x="312357" y="93839"/>
                </a:cubicBezTo>
                <a:cubicBezTo>
                  <a:pt x="277697" y="93903"/>
                  <a:pt x="242977" y="95081"/>
                  <a:pt x="208388" y="93494"/>
                </a:cubicBezTo>
                <a:cubicBezTo>
                  <a:pt x="141692" y="90433"/>
                  <a:pt x="75510" y="82596"/>
                  <a:pt x="10435" y="66884"/>
                </a:cubicBezTo>
                <a:cubicBezTo>
                  <a:pt x="3157" y="65127"/>
                  <a:pt x="-1148" y="61858"/>
                  <a:pt x="269" y="54029"/>
                </a:cubicBezTo>
                <a:cubicBezTo>
                  <a:pt x="2890" y="39546"/>
                  <a:pt x="4341" y="24565"/>
                  <a:pt x="9397" y="10950"/>
                </a:cubicBezTo>
                <a:cubicBezTo>
                  <a:pt x="11408" y="5532"/>
                  <a:pt x="22101" y="-591"/>
                  <a:pt x="28165" y="46"/>
                </a:cubicBezTo>
                <a:cubicBezTo>
                  <a:pt x="76162" y="5087"/>
                  <a:pt x="123969" y="11902"/>
                  <a:pt x="171895" y="17673"/>
                </a:cubicBezTo>
                <a:cubicBezTo>
                  <a:pt x="186999" y="19491"/>
                  <a:pt x="202271" y="20235"/>
                  <a:pt x="217491" y="20703"/>
                </a:cubicBezTo>
                <a:cubicBezTo>
                  <a:pt x="254748" y="21848"/>
                  <a:pt x="292017" y="22695"/>
                  <a:pt x="329287" y="23362"/>
                </a:cubicBezTo>
                <a:cubicBezTo>
                  <a:pt x="349020" y="23715"/>
                  <a:pt x="349026" y="23431"/>
                  <a:pt x="349090" y="42524"/>
                </a:cubicBezTo>
                <a:cubicBezTo>
                  <a:pt x="349103" y="46576"/>
                  <a:pt x="349099" y="50627"/>
                  <a:pt x="349104" y="55996"/>
                </a:cubicBezTo>
                <a:close/>
              </a:path>
            </a:pathLst>
          </a:custGeom>
          <a:solidFill>
            <a:schemeClr val="bg1"/>
          </a:solidFill>
          <a:ln w="2699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19" name="Free-form: Shape 418">
            <a:extLst>
              <a:ext uri="{FF2B5EF4-FFF2-40B4-BE49-F238E27FC236}">
                <a16:creationId xmlns:a16="http://schemas.microsoft.com/office/drawing/2014/main" id="{C0AE6CF4-EC8A-D501-04ED-56222F51090D}"/>
              </a:ext>
            </a:extLst>
          </p:cNvPr>
          <p:cNvSpPr/>
          <p:nvPr/>
        </p:nvSpPr>
        <p:spPr>
          <a:xfrm flipH="1">
            <a:off x="5215567" y="4351975"/>
            <a:ext cx="191239" cy="139371"/>
          </a:xfrm>
          <a:custGeom>
            <a:avLst/>
            <a:gdLst>
              <a:gd name="csX0" fmla="*/ 0 w 251376"/>
              <a:gd name="csY0" fmla="*/ 143557 h 194676"/>
              <a:gd name="csX1" fmla="*/ 60552 w 251376"/>
              <a:gd name="csY1" fmla="*/ 103445 h 194676"/>
              <a:gd name="csX2" fmla="*/ 106376 w 251376"/>
              <a:gd name="csY2" fmla="*/ 90701 h 194676"/>
              <a:gd name="csX3" fmla="*/ 95829 w 251376"/>
              <a:gd name="csY3" fmla="*/ 13769 h 194676"/>
              <a:gd name="csX4" fmla="*/ 152117 w 251376"/>
              <a:gd name="csY4" fmla="*/ 8010 h 194676"/>
              <a:gd name="csX5" fmla="*/ 155319 w 251376"/>
              <a:gd name="csY5" fmla="*/ 88701 h 194676"/>
              <a:gd name="csX6" fmla="*/ 251288 w 251376"/>
              <a:gd name="csY6" fmla="*/ 139911 h 194676"/>
              <a:gd name="csX7" fmla="*/ 251376 w 251376"/>
              <a:gd name="csY7" fmla="*/ 140847 h 194676"/>
              <a:gd name="csX8" fmla="*/ 226496 w 251376"/>
              <a:gd name="csY8" fmla="*/ 163548 h 194676"/>
              <a:gd name="csX9" fmla="*/ 207044 w 251376"/>
              <a:gd name="csY9" fmla="*/ 187024 h 194676"/>
              <a:gd name="csX10" fmla="*/ 170188 w 251376"/>
              <a:gd name="csY10" fmla="*/ 184842 h 194676"/>
              <a:gd name="csX11" fmla="*/ 142028 w 251376"/>
              <a:gd name="csY11" fmla="*/ 145925 h 194676"/>
              <a:gd name="csX12" fmla="*/ 109750 w 251376"/>
              <a:gd name="csY12" fmla="*/ 146361 h 194676"/>
              <a:gd name="csX13" fmla="*/ 89415 w 251376"/>
              <a:gd name="csY13" fmla="*/ 177998 h 194676"/>
              <a:gd name="csX14" fmla="*/ 40867 w 251376"/>
              <a:gd name="csY14" fmla="*/ 182615 h 194676"/>
              <a:gd name="csX15" fmla="*/ 24429 w 251376"/>
              <a:gd name="csY15" fmla="*/ 159868 h 194676"/>
              <a:gd name="csX16" fmla="*/ 1027 w 251376"/>
              <a:gd name="csY16" fmla="*/ 143506 h 194676"/>
              <a:gd name="csX17" fmla="*/ 0 w 251376"/>
              <a:gd name="csY17" fmla="*/ 143557 h 19467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</a:cxnLst>
            <a:rect l="l" t="t" r="r" b="b"/>
            <a:pathLst>
              <a:path w="251376" h="194676">
                <a:moveTo>
                  <a:pt x="0" y="143557"/>
                </a:moveTo>
                <a:cubicBezTo>
                  <a:pt x="15077" y="122513"/>
                  <a:pt x="37857" y="112614"/>
                  <a:pt x="60552" y="103445"/>
                </a:cubicBezTo>
                <a:cubicBezTo>
                  <a:pt x="75119" y="97559"/>
                  <a:pt x="90974" y="94861"/>
                  <a:pt x="106376" y="90701"/>
                </a:cubicBezTo>
                <a:cubicBezTo>
                  <a:pt x="76306" y="53327"/>
                  <a:pt x="73986" y="36115"/>
                  <a:pt x="95829" y="13769"/>
                </a:cubicBezTo>
                <a:cubicBezTo>
                  <a:pt x="111332" y="-2091"/>
                  <a:pt x="135594" y="-4573"/>
                  <a:pt x="152117" y="8010"/>
                </a:cubicBezTo>
                <a:cubicBezTo>
                  <a:pt x="176627" y="26675"/>
                  <a:pt x="177784" y="50470"/>
                  <a:pt x="155319" y="88701"/>
                </a:cubicBezTo>
                <a:cubicBezTo>
                  <a:pt x="191521" y="97669"/>
                  <a:pt x="225098" y="111398"/>
                  <a:pt x="251288" y="139911"/>
                </a:cubicBezTo>
                <a:cubicBezTo>
                  <a:pt x="251389" y="140832"/>
                  <a:pt x="251376" y="140847"/>
                  <a:pt x="251376" y="140847"/>
                </a:cubicBezTo>
                <a:cubicBezTo>
                  <a:pt x="237967" y="142841"/>
                  <a:pt x="233190" y="154057"/>
                  <a:pt x="226496" y="163548"/>
                </a:cubicBezTo>
                <a:cubicBezTo>
                  <a:pt x="220639" y="171855"/>
                  <a:pt x="214757" y="180670"/>
                  <a:pt x="207044" y="187024"/>
                </a:cubicBezTo>
                <a:cubicBezTo>
                  <a:pt x="194009" y="197760"/>
                  <a:pt x="181605" y="197350"/>
                  <a:pt x="170188" y="184842"/>
                </a:cubicBezTo>
                <a:cubicBezTo>
                  <a:pt x="159459" y="173090"/>
                  <a:pt x="151029" y="159183"/>
                  <a:pt x="142028" y="145925"/>
                </a:cubicBezTo>
                <a:cubicBezTo>
                  <a:pt x="129426" y="127363"/>
                  <a:pt x="121871" y="127341"/>
                  <a:pt x="109750" y="146361"/>
                </a:cubicBezTo>
                <a:cubicBezTo>
                  <a:pt x="103011" y="156935"/>
                  <a:pt x="96721" y="167832"/>
                  <a:pt x="89415" y="177998"/>
                </a:cubicBezTo>
                <a:cubicBezTo>
                  <a:pt x="76871" y="195453"/>
                  <a:pt x="56252" y="197624"/>
                  <a:pt x="40867" y="182615"/>
                </a:cubicBezTo>
                <a:cubicBezTo>
                  <a:pt x="34266" y="176176"/>
                  <a:pt x="29617" y="167667"/>
                  <a:pt x="24429" y="159868"/>
                </a:cubicBezTo>
                <a:cubicBezTo>
                  <a:pt x="18931" y="151605"/>
                  <a:pt x="14335" y="142406"/>
                  <a:pt x="1027" y="143506"/>
                </a:cubicBezTo>
                <a:cubicBezTo>
                  <a:pt x="-26" y="143536"/>
                  <a:pt x="0" y="143557"/>
                  <a:pt x="0" y="143557"/>
                </a:cubicBezTo>
                <a:close/>
              </a:path>
            </a:pathLst>
          </a:custGeom>
          <a:solidFill>
            <a:srgbClr val="FCFCFB"/>
          </a:solidFill>
          <a:ln w="2699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20" name="Free-form: Shape 419">
            <a:extLst>
              <a:ext uri="{FF2B5EF4-FFF2-40B4-BE49-F238E27FC236}">
                <a16:creationId xmlns:a16="http://schemas.microsoft.com/office/drawing/2014/main" id="{55FD3773-B2CA-5084-AB47-45BC8711D939}"/>
              </a:ext>
            </a:extLst>
          </p:cNvPr>
          <p:cNvSpPr/>
          <p:nvPr/>
        </p:nvSpPr>
        <p:spPr>
          <a:xfrm flipH="1">
            <a:off x="5311921" y="4741235"/>
            <a:ext cx="86686" cy="45131"/>
          </a:xfrm>
          <a:custGeom>
            <a:avLst/>
            <a:gdLst>
              <a:gd name="csX0" fmla="*/ 62457 w 230080"/>
              <a:gd name="csY0" fmla="*/ 0 h 51402"/>
              <a:gd name="csX1" fmla="*/ 229715 w 230080"/>
              <a:gd name="csY1" fmla="*/ 2548 h 51402"/>
              <a:gd name="csX2" fmla="*/ 229033 w 230080"/>
              <a:gd name="csY2" fmla="*/ 41559 h 51402"/>
              <a:gd name="csX3" fmla="*/ 214851 w 230080"/>
              <a:gd name="csY3" fmla="*/ 50862 h 51402"/>
              <a:gd name="csX4" fmla="*/ 120527 w 230080"/>
              <a:gd name="csY4" fmla="*/ 48743 h 51402"/>
              <a:gd name="csX5" fmla="*/ 13547 w 230080"/>
              <a:gd name="csY5" fmla="*/ 51342 h 51402"/>
              <a:gd name="csX6" fmla="*/ 61 w 230080"/>
              <a:gd name="csY6" fmla="*/ 51359 h 51402"/>
              <a:gd name="csX7" fmla="*/ 4 w 230080"/>
              <a:gd name="csY7" fmla="*/ 13697 h 51402"/>
              <a:gd name="csX8" fmla="*/ 10055 w 230080"/>
              <a:gd name="csY8" fmla="*/ 2596 h 51402"/>
              <a:gd name="csX9" fmla="*/ 62457 w 230080"/>
              <a:gd name="csY9" fmla="*/ 0 h 5140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230080" h="51402">
                <a:moveTo>
                  <a:pt x="62457" y="0"/>
                </a:moveTo>
                <a:cubicBezTo>
                  <a:pt x="118516" y="838"/>
                  <a:pt x="173258" y="1679"/>
                  <a:pt x="229715" y="2548"/>
                </a:cubicBezTo>
                <a:cubicBezTo>
                  <a:pt x="229715" y="16728"/>
                  <a:pt x="230888" y="29374"/>
                  <a:pt x="229033" y="41559"/>
                </a:cubicBezTo>
                <a:cubicBezTo>
                  <a:pt x="228442" y="45440"/>
                  <a:pt x="219802" y="50868"/>
                  <a:pt x="214851" y="50862"/>
                </a:cubicBezTo>
                <a:cubicBezTo>
                  <a:pt x="183409" y="50825"/>
                  <a:pt x="151967" y="48693"/>
                  <a:pt x="120527" y="48743"/>
                </a:cubicBezTo>
                <a:cubicBezTo>
                  <a:pt x="84866" y="48800"/>
                  <a:pt x="49208" y="50434"/>
                  <a:pt x="13547" y="51342"/>
                </a:cubicBezTo>
                <a:cubicBezTo>
                  <a:pt x="8707" y="51466"/>
                  <a:pt x="3861" y="51359"/>
                  <a:pt x="61" y="51359"/>
                </a:cubicBezTo>
                <a:cubicBezTo>
                  <a:pt x="61" y="37755"/>
                  <a:pt x="210" y="25723"/>
                  <a:pt x="4" y="13697"/>
                </a:cubicBezTo>
                <a:cubicBezTo>
                  <a:pt x="-117" y="6604"/>
                  <a:pt x="2365" y="2860"/>
                  <a:pt x="10055" y="2596"/>
                </a:cubicBezTo>
                <a:cubicBezTo>
                  <a:pt x="27093" y="2012"/>
                  <a:pt x="44112" y="901"/>
                  <a:pt x="62457" y="0"/>
                </a:cubicBezTo>
                <a:close/>
              </a:path>
            </a:pathLst>
          </a:custGeom>
          <a:solidFill>
            <a:srgbClr val="FCFCFB"/>
          </a:solidFill>
          <a:ln w="2699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21" name="Free-form: Shape 420">
            <a:extLst>
              <a:ext uri="{FF2B5EF4-FFF2-40B4-BE49-F238E27FC236}">
                <a16:creationId xmlns:a16="http://schemas.microsoft.com/office/drawing/2014/main" id="{A96FF60B-AE43-BF61-692A-BB5809F0F8AF}"/>
              </a:ext>
            </a:extLst>
          </p:cNvPr>
          <p:cNvSpPr/>
          <p:nvPr/>
        </p:nvSpPr>
        <p:spPr>
          <a:xfrm flipH="1">
            <a:off x="5310112" y="4832537"/>
            <a:ext cx="142202" cy="36415"/>
          </a:xfrm>
          <a:custGeom>
            <a:avLst/>
            <a:gdLst>
              <a:gd name="csX0" fmla="*/ 171523 w 186920"/>
              <a:gd name="csY0" fmla="*/ 2414 h 50865"/>
              <a:gd name="csX1" fmla="*/ 186375 w 186920"/>
              <a:gd name="csY1" fmla="*/ 26146 h 50865"/>
              <a:gd name="csX2" fmla="*/ 156333 w 186920"/>
              <a:gd name="csY2" fmla="*/ 50678 h 50865"/>
              <a:gd name="csX3" fmla="*/ 31413 w 186920"/>
              <a:gd name="csY3" fmla="*/ 44982 h 50865"/>
              <a:gd name="csX4" fmla="*/ 7682 w 186920"/>
              <a:gd name="csY4" fmla="*/ 36449 h 50865"/>
              <a:gd name="csX5" fmla="*/ 8802 w 186920"/>
              <a:gd name="csY5" fmla="*/ 7738 h 50865"/>
              <a:gd name="csX6" fmla="*/ 34247 w 186920"/>
              <a:gd name="csY6" fmla="*/ 115 h 50865"/>
              <a:gd name="csX7" fmla="*/ 102852 w 186920"/>
              <a:gd name="csY7" fmla="*/ 1497 h 50865"/>
              <a:gd name="csX8" fmla="*/ 171523 w 186920"/>
              <a:gd name="csY8" fmla="*/ 2414 h 5086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</a:cxnLst>
            <a:rect l="l" t="t" r="r" b="b"/>
            <a:pathLst>
              <a:path w="186920" h="50865">
                <a:moveTo>
                  <a:pt x="171523" y="2414"/>
                </a:moveTo>
                <a:cubicBezTo>
                  <a:pt x="185638" y="5545"/>
                  <a:pt x="188278" y="14444"/>
                  <a:pt x="186375" y="26146"/>
                </a:cubicBezTo>
                <a:cubicBezTo>
                  <a:pt x="182364" y="50813"/>
                  <a:pt x="182394" y="51476"/>
                  <a:pt x="156333" y="50678"/>
                </a:cubicBezTo>
                <a:cubicBezTo>
                  <a:pt x="114670" y="49402"/>
                  <a:pt x="73013" y="47552"/>
                  <a:pt x="31413" y="44982"/>
                </a:cubicBezTo>
                <a:cubicBezTo>
                  <a:pt x="23309" y="44481"/>
                  <a:pt x="14787" y="40731"/>
                  <a:pt x="7682" y="36449"/>
                </a:cubicBezTo>
                <a:cubicBezTo>
                  <a:pt x="-3069" y="29971"/>
                  <a:pt x="-2389" y="13306"/>
                  <a:pt x="8802" y="7738"/>
                </a:cubicBezTo>
                <a:cubicBezTo>
                  <a:pt x="16663" y="3827"/>
                  <a:pt x="25670" y="315"/>
                  <a:pt x="34247" y="115"/>
                </a:cubicBezTo>
                <a:cubicBezTo>
                  <a:pt x="57092" y="-420"/>
                  <a:pt x="79978" y="1064"/>
                  <a:pt x="102852" y="1497"/>
                </a:cubicBezTo>
                <a:cubicBezTo>
                  <a:pt x="125350" y="1922"/>
                  <a:pt x="147854" y="2044"/>
                  <a:pt x="171523" y="2414"/>
                </a:cubicBezTo>
                <a:close/>
              </a:path>
            </a:pathLst>
          </a:custGeom>
          <a:solidFill>
            <a:srgbClr val="FCFCFB"/>
          </a:solidFill>
          <a:ln w="2699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22" name="Free-form: Shape 421">
            <a:extLst>
              <a:ext uri="{FF2B5EF4-FFF2-40B4-BE49-F238E27FC236}">
                <a16:creationId xmlns:a16="http://schemas.microsoft.com/office/drawing/2014/main" id="{72F8CC93-73AD-0AF8-BF00-DBD2C834B5E4}"/>
              </a:ext>
            </a:extLst>
          </p:cNvPr>
          <p:cNvSpPr/>
          <p:nvPr/>
        </p:nvSpPr>
        <p:spPr>
          <a:xfrm flipH="1">
            <a:off x="5311921" y="4789500"/>
            <a:ext cx="115601" cy="26906"/>
          </a:xfrm>
          <a:custGeom>
            <a:avLst/>
            <a:gdLst>
              <a:gd name="csX0" fmla="*/ 89107 w 151953"/>
              <a:gd name="csY0" fmla="*/ 252 h 37582"/>
              <a:gd name="csX1" fmla="*/ 137399 w 151953"/>
              <a:gd name="csY1" fmla="*/ 2948 h 37582"/>
              <a:gd name="csX2" fmla="*/ 151923 w 151953"/>
              <a:gd name="csY2" fmla="*/ 22533 h 37582"/>
              <a:gd name="csX3" fmla="*/ 138022 w 151953"/>
              <a:gd name="csY3" fmla="*/ 37581 h 37582"/>
              <a:gd name="csX4" fmla="*/ 61340 w 151953"/>
              <a:gd name="csY4" fmla="*/ 35549 h 37582"/>
              <a:gd name="csX5" fmla="*/ 10364 w 151953"/>
              <a:gd name="csY5" fmla="*/ 32504 h 37582"/>
              <a:gd name="csX6" fmla="*/ 3387 w 151953"/>
              <a:gd name="csY6" fmla="*/ 14529 h 37582"/>
              <a:gd name="csX7" fmla="*/ 40547 w 151953"/>
              <a:gd name="csY7" fmla="*/ 433 h 37582"/>
              <a:gd name="csX8" fmla="*/ 89107 w 151953"/>
              <a:gd name="csY8" fmla="*/ 252 h 3758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</a:cxnLst>
            <a:rect l="l" t="t" r="r" b="b"/>
            <a:pathLst>
              <a:path w="151953" h="37582">
                <a:moveTo>
                  <a:pt x="89107" y="252"/>
                </a:moveTo>
                <a:cubicBezTo>
                  <a:pt x="106080" y="1151"/>
                  <a:pt x="121739" y="2057"/>
                  <a:pt x="137399" y="2948"/>
                </a:cubicBezTo>
                <a:cubicBezTo>
                  <a:pt x="150166" y="3675"/>
                  <a:pt x="151455" y="11818"/>
                  <a:pt x="151923" y="22533"/>
                </a:cubicBezTo>
                <a:cubicBezTo>
                  <a:pt x="152405" y="33546"/>
                  <a:pt x="147123" y="37663"/>
                  <a:pt x="138022" y="37581"/>
                </a:cubicBezTo>
                <a:cubicBezTo>
                  <a:pt x="112456" y="37353"/>
                  <a:pt x="86891" y="36506"/>
                  <a:pt x="61340" y="35549"/>
                </a:cubicBezTo>
                <a:cubicBezTo>
                  <a:pt x="44330" y="34912"/>
                  <a:pt x="27290" y="34194"/>
                  <a:pt x="10364" y="32504"/>
                </a:cubicBezTo>
                <a:cubicBezTo>
                  <a:pt x="-484" y="31420"/>
                  <a:pt x="-2827" y="23494"/>
                  <a:pt x="3387" y="14529"/>
                </a:cubicBezTo>
                <a:cubicBezTo>
                  <a:pt x="12657" y="1154"/>
                  <a:pt x="26943" y="1169"/>
                  <a:pt x="40547" y="433"/>
                </a:cubicBezTo>
                <a:cubicBezTo>
                  <a:pt x="56253" y="-417"/>
                  <a:pt x="72041" y="246"/>
                  <a:pt x="89107" y="252"/>
                </a:cubicBezTo>
                <a:close/>
              </a:path>
            </a:pathLst>
          </a:custGeom>
          <a:solidFill>
            <a:srgbClr val="FCFCFB"/>
          </a:solidFill>
          <a:ln w="2699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23" name="Free-form: Shape 422">
            <a:extLst>
              <a:ext uri="{FF2B5EF4-FFF2-40B4-BE49-F238E27FC236}">
                <a16:creationId xmlns:a16="http://schemas.microsoft.com/office/drawing/2014/main" id="{9AE7DBFE-400C-66C7-58AD-FDDE284A8AD4}"/>
              </a:ext>
            </a:extLst>
          </p:cNvPr>
          <p:cNvSpPr/>
          <p:nvPr/>
        </p:nvSpPr>
        <p:spPr>
          <a:xfrm flipH="1">
            <a:off x="5310164" y="4717850"/>
            <a:ext cx="105252" cy="17381"/>
          </a:xfrm>
          <a:custGeom>
            <a:avLst/>
            <a:gdLst>
              <a:gd name="csX0" fmla="*/ 1318 w 138350"/>
              <a:gd name="csY0" fmla="*/ 5445 h 24278"/>
              <a:gd name="csX1" fmla="*/ 32185 w 138350"/>
              <a:gd name="csY1" fmla="*/ 359 h 24278"/>
              <a:gd name="csX2" fmla="*/ 127547 w 138350"/>
              <a:gd name="csY2" fmla="*/ 1 h 24278"/>
              <a:gd name="csX3" fmla="*/ 138350 w 138350"/>
              <a:gd name="csY3" fmla="*/ 11778 h 24278"/>
              <a:gd name="csX4" fmla="*/ 127229 w 138350"/>
              <a:gd name="csY4" fmla="*/ 21765 h 24278"/>
              <a:gd name="csX5" fmla="*/ 55623 w 138350"/>
              <a:gd name="csY5" fmla="*/ 21860 h 24278"/>
              <a:gd name="csX6" fmla="*/ 14025 w 138350"/>
              <a:gd name="csY6" fmla="*/ 24277 h 24278"/>
              <a:gd name="csX7" fmla="*/ 1318 w 138350"/>
              <a:gd name="csY7" fmla="*/ 5445 h 2427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</a:cxnLst>
            <a:rect l="l" t="t" r="r" b="b"/>
            <a:pathLst>
              <a:path w="138350" h="24278">
                <a:moveTo>
                  <a:pt x="1318" y="5445"/>
                </a:moveTo>
                <a:cubicBezTo>
                  <a:pt x="11943" y="3060"/>
                  <a:pt x="22043" y="540"/>
                  <a:pt x="32185" y="359"/>
                </a:cubicBezTo>
                <a:cubicBezTo>
                  <a:pt x="63964" y="-209"/>
                  <a:pt x="95760" y="221"/>
                  <a:pt x="127547" y="1"/>
                </a:cubicBezTo>
                <a:cubicBezTo>
                  <a:pt x="136004" y="-58"/>
                  <a:pt x="138385" y="4159"/>
                  <a:pt x="138350" y="11778"/>
                </a:cubicBezTo>
                <a:cubicBezTo>
                  <a:pt x="138314" y="19623"/>
                  <a:pt x="134207" y="21799"/>
                  <a:pt x="127229" y="21765"/>
                </a:cubicBezTo>
                <a:cubicBezTo>
                  <a:pt x="103360" y="21647"/>
                  <a:pt x="79485" y="21423"/>
                  <a:pt x="55623" y="21860"/>
                </a:cubicBezTo>
                <a:cubicBezTo>
                  <a:pt x="41746" y="22114"/>
                  <a:pt x="27896" y="24173"/>
                  <a:pt x="14025" y="24277"/>
                </a:cubicBezTo>
                <a:cubicBezTo>
                  <a:pt x="1111" y="24374"/>
                  <a:pt x="-2207" y="19176"/>
                  <a:pt x="1318" y="5445"/>
                </a:cubicBezTo>
                <a:close/>
              </a:path>
            </a:pathLst>
          </a:custGeom>
          <a:solidFill>
            <a:srgbClr val="FCFCFB"/>
          </a:solidFill>
          <a:ln w="2699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24" name="Free-form: Shape 423">
            <a:extLst>
              <a:ext uri="{FF2B5EF4-FFF2-40B4-BE49-F238E27FC236}">
                <a16:creationId xmlns:a16="http://schemas.microsoft.com/office/drawing/2014/main" id="{688D97A8-3CC3-BEAB-F766-E431F4D02F23}"/>
              </a:ext>
            </a:extLst>
          </p:cNvPr>
          <p:cNvSpPr/>
          <p:nvPr/>
        </p:nvSpPr>
        <p:spPr>
          <a:xfrm flipH="1">
            <a:off x="5188562" y="4459420"/>
            <a:ext cx="21342" cy="32407"/>
          </a:xfrm>
          <a:custGeom>
            <a:avLst/>
            <a:gdLst>
              <a:gd name="csX0" fmla="*/ 10475 w 28053"/>
              <a:gd name="csY0" fmla="*/ 29183 h 45267"/>
              <a:gd name="csX1" fmla="*/ 0 w 28053"/>
              <a:gd name="csY1" fmla="*/ 1367 h 45267"/>
              <a:gd name="csX2" fmla="*/ 3154 w 28053"/>
              <a:gd name="csY2" fmla="*/ 0 h 45267"/>
              <a:gd name="csX3" fmla="*/ 28053 w 28053"/>
              <a:gd name="csY3" fmla="*/ 42345 h 45267"/>
              <a:gd name="csX4" fmla="*/ 24171 w 28053"/>
              <a:gd name="csY4" fmla="*/ 45267 h 45267"/>
              <a:gd name="csX5" fmla="*/ 10475 w 28053"/>
              <a:gd name="csY5" fmla="*/ 29183 h 4526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</a:cxnLst>
            <a:rect l="l" t="t" r="r" b="b"/>
            <a:pathLst>
              <a:path w="28053" h="45267">
                <a:moveTo>
                  <a:pt x="10475" y="29183"/>
                </a:moveTo>
                <a:cubicBezTo>
                  <a:pt x="6669" y="19319"/>
                  <a:pt x="3335" y="10343"/>
                  <a:pt x="0" y="1367"/>
                </a:cubicBezTo>
                <a:cubicBezTo>
                  <a:pt x="1051" y="911"/>
                  <a:pt x="2102" y="456"/>
                  <a:pt x="3154" y="0"/>
                </a:cubicBezTo>
                <a:cubicBezTo>
                  <a:pt x="13794" y="12787"/>
                  <a:pt x="24893" y="25314"/>
                  <a:pt x="28053" y="42345"/>
                </a:cubicBezTo>
                <a:cubicBezTo>
                  <a:pt x="26759" y="43319"/>
                  <a:pt x="25465" y="44293"/>
                  <a:pt x="24171" y="45267"/>
                </a:cubicBezTo>
                <a:cubicBezTo>
                  <a:pt x="19762" y="40202"/>
                  <a:pt x="15354" y="35136"/>
                  <a:pt x="10475" y="29183"/>
                </a:cubicBezTo>
                <a:close/>
              </a:path>
            </a:pathLst>
          </a:custGeom>
          <a:solidFill>
            <a:srgbClr val="CCD6DA"/>
          </a:solidFill>
          <a:ln w="2699" cap="flat">
            <a:solidFill>
              <a:srgbClr val="CDD9DF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25" name="Free-form: Shape 424">
            <a:extLst>
              <a:ext uri="{FF2B5EF4-FFF2-40B4-BE49-F238E27FC236}">
                <a16:creationId xmlns:a16="http://schemas.microsoft.com/office/drawing/2014/main" id="{14E35919-581F-61C4-672B-B27EFB87F9C8}"/>
              </a:ext>
            </a:extLst>
          </p:cNvPr>
          <p:cNvSpPr/>
          <p:nvPr/>
        </p:nvSpPr>
        <p:spPr>
          <a:xfrm flipH="1">
            <a:off x="5410058" y="4458893"/>
            <a:ext cx="22217" cy="30279"/>
          </a:xfrm>
          <a:custGeom>
            <a:avLst/>
            <a:gdLst>
              <a:gd name="csX0" fmla="*/ 10018 w 29204"/>
              <a:gd name="csY0" fmla="*/ 38080 h 42295"/>
              <a:gd name="csX1" fmla="*/ 3166 w 29204"/>
              <a:gd name="csY1" fmla="*/ 42296 h 42295"/>
              <a:gd name="csX2" fmla="*/ 0 w 29204"/>
              <a:gd name="csY2" fmla="*/ 39775 h 42295"/>
              <a:gd name="csX3" fmla="*/ 24176 w 29204"/>
              <a:gd name="csY3" fmla="*/ 0 h 42295"/>
              <a:gd name="csX4" fmla="*/ 29205 w 29204"/>
              <a:gd name="csY4" fmla="*/ 2823 h 42295"/>
              <a:gd name="csX5" fmla="*/ 10018 w 29204"/>
              <a:gd name="csY5" fmla="*/ 38080 h 4229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</a:cxnLst>
            <a:rect l="l" t="t" r="r" b="b"/>
            <a:pathLst>
              <a:path w="29204" h="42295">
                <a:moveTo>
                  <a:pt x="10018" y="38080"/>
                </a:moveTo>
                <a:cubicBezTo>
                  <a:pt x="7280" y="39942"/>
                  <a:pt x="5223" y="41119"/>
                  <a:pt x="3166" y="42296"/>
                </a:cubicBezTo>
                <a:cubicBezTo>
                  <a:pt x="2111" y="41456"/>
                  <a:pt x="1056" y="40615"/>
                  <a:pt x="0" y="39775"/>
                </a:cubicBezTo>
                <a:cubicBezTo>
                  <a:pt x="8059" y="26517"/>
                  <a:pt x="16118" y="13258"/>
                  <a:pt x="24176" y="0"/>
                </a:cubicBezTo>
                <a:cubicBezTo>
                  <a:pt x="25853" y="941"/>
                  <a:pt x="27529" y="1882"/>
                  <a:pt x="29205" y="2823"/>
                </a:cubicBezTo>
                <a:cubicBezTo>
                  <a:pt x="23036" y="14347"/>
                  <a:pt x="16867" y="25871"/>
                  <a:pt x="10018" y="38080"/>
                </a:cubicBezTo>
                <a:close/>
              </a:path>
            </a:pathLst>
          </a:custGeom>
          <a:solidFill>
            <a:srgbClr val="FCFCFB"/>
          </a:solidFill>
          <a:ln w="2699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26" name="Free-form: Shape 425">
            <a:extLst>
              <a:ext uri="{FF2B5EF4-FFF2-40B4-BE49-F238E27FC236}">
                <a16:creationId xmlns:a16="http://schemas.microsoft.com/office/drawing/2014/main" id="{E552EFDE-1073-A4EB-A03E-738403181B33}"/>
              </a:ext>
            </a:extLst>
          </p:cNvPr>
          <p:cNvSpPr/>
          <p:nvPr/>
        </p:nvSpPr>
        <p:spPr>
          <a:xfrm flipH="1">
            <a:off x="5480857" y="4488660"/>
            <a:ext cx="860" cy="949"/>
          </a:xfrm>
          <a:custGeom>
            <a:avLst/>
            <a:gdLst>
              <a:gd name="csX0" fmla="*/ 1053 w 1130"/>
              <a:gd name="csY0" fmla="*/ 1326 h 1325"/>
              <a:gd name="csX1" fmla="*/ 0 w 1130"/>
              <a:gd name="csY1" fmla="*/ 0 h 1325"/>
              <a:gd name="csX2" fmla="*/ 1033 w 1130"/>
              <a:gd name="csY2" fmla="*/ 761 h 1325"/>
              <a:gd name="csX3" fmla="*/ 1053 w 1130"/>
              <a:gd name="csY3" fmla="*/ 1326 h 132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</a:cxnLst>
            <a:rect l="l" t="t" r="r" b="b"/>
            <a:pathLst>
              <a:path w="1130" h="1325">
                <a:moveTo>
                  <a:pt x="1053" y="1326"/>
                </a:moveTo>
                <a:cubicBezTo>
                  <a:pt x="665" y="916"/>
                  <a:pt x="333" y="458"/>
                  <a:pt x="0" y="0"/>
                </a:cubicBezTo>
                <a:cubicBezTo>
                  <a:pt x="287" y="118"/>
                  <a:pt x="574" y="236"/>
                  <a:pt x="1033" y="761"/>
                </a:cubicBezTo>
                <a:cubicBezTo>
                  <a:pt x="1206" y="1168"/>
                  <a:pt x="1108" y="1277"/>
                  <a:pt x="1053" y="1326"/>
                </a:cubicBezTo>
                <a:close/>
              </a:path>
            </a:pathLst>
          </a:custGeom>
          <a:solidFill>
            <a:srgbClr val="FCFCFB"/>
          </a:solidFill>
          <a:ln w="2699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27" name="Free-form: Shape 426">
            <a:extLst>
              <a:ext uri="{FF2B5EF4-FFF2-40B4-BE49-F238E27FC236}">
                <a16:creationId xmlns:a16="http://schemas.microsoft.com/office/drawing/2014/main" id="{ED4E3F06-5895-6626-8F9B-B8054F6F8E2A}"/>
              </a:ext>
            </a:extLst>
          </p:cNvPr>
          <p:cNvSpPr/>
          <p:nvPr/>
        </p:nvSpPr>
        <p:spPr>
          <a:xfrm flipH="1">
            <a:off x="5406831" y="4454726"/>
            <a:ext cx="332" cy="107"/>
          </a:xfrm>
          <a:custGeom>
            <a:avLst/>
            <a:gdLst>
              <a:gd name="csX0" fmla="*/ 434 w 437"/>
              <a:gd name="csY0" fmla="*/ 0 h 149"/>
              <a:gd name="csX1" fmla="*/ 46 w 437"/>
              <a:gd name="csY1" fmla="*/ 146 h 149"/>
              <a:gd name="csX2" fmla="*/ 434 w 437"/>
              <a:gd name="csY2" fmla="*/ 0 h 14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437" h="149">
                <a:moveTo>
                  <a:pt x="434" y="0"/>
                </a:moveTo>
                <a:cubicBezTo>
                  <a:pt x="157" y="78"/>
                  <a:pt x="-110" y="168"/>
                  <a:pt x="46" y="146"/>
                </a:cubicBezTo>
                <a:cubicBezTo>
                  <a:pt x="469" y="33"/>
                  <a:pt x="443" y="12"/>
                  <a:pt x="434" y="0"/>
                </a:cubicBezTo>
                <a:close/>
              </a:path>
            </a:pathLst>
          </a:custGeom>
          <a:solidFill>
            <a:srgbClr val="FCFCFB"/>
          </a:solidFill>
          <a:ln w="2699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28" name="Free-form: Shape 427">
            <a:extLst>
              <a:ext uri="{FF2B5EF4-FFF2-40B4-BE49-F238E27FC236}">
                <a16:creationId xmlns:a16="http://schemas.microsoft.com/office/drawing/2014/main" id="{A7CE64C2-4BB9-D569-DCB5-D6DA75600EB1}"/>
              </a:ext>
            </a:extLst>
          </p:cNvPr>
          <p:cNvSpPr/>
          <p:nvPr/>
        </p:nvSpPr>
        <p:spPr>
          <a:xfrm flipH="1">
            <a:off x="5214749" y="4452794"/>
            <a:ext cx="806" cy="864"/>
          </a:xfrm>
          <a:custGeom>
            <a:avLst/>
            <a:gdLst>
              <a:gd name="csX0" fmla="*/ 4 w 1059"/>
              <a:gd name="csY0" fmla="*/ 0 h 1207"/>
              <a:gd name="csX1" fmla="*/ 1060 w 1059"/>
              <a:gd name="csY1" fmla="*/ 1208 h 1207"/>
              <a:gd name="csX2" fmla="*/ 130 w 1059"/>
              <a:gd name="csY2" fmla="*/ 422 h 1207"/>
              <a:gd name="csX3" fmla="*/ 4 w 1059"/>
              <a:gd name="csY3" fmla="*/ 0 h 120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</a:cxnLst>
            <a:rect l="l" t="t" r="r" b="b"/>
            <a:pathLst>
              <a:path w="1059" h="1207">
                <a:moveTo>
                  <a:pt x="4" y="0"/>
                </a:moveTo>
                <a:cubicBezTo>
                  <a:pt x="360" y="398"/>
                  <a:pt x="710" y="803"/>
                  <a:pt x="1060" y="1208"/>
                </a:cubicBezTo>
                <a:cubicBezTo>
                  <a:pt x="798" y="1080"/>
                  <a:pt x="537" y="952"/>
                  <a:pt x="130" y="422"/>
                </a:cubicBezTo>
                <a:cubicBezTo>
                  <a:pt x="-16" y="21"/>
                  <a:pt x="-3" y="6"/>
                  <a:pt x="4" y="0"/>
                </a:cubicBezTo>
                <a:close/>
              </a:path>
            </a:pathLst>
          </a:custGeom>
          <a:solidFill>
            <a:srgbClr val="CCD6DA"/>
          </a:solidFill>
          <a:ln w="2699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29" name="Free-form: Shape 428">
            <a:extLst>
              <a:ext uri="{FF2B5EF4-FFF2-40B4-BE49-F238E27FC236}">
                <a16:creationId xmlns:a16="http://schemas.microsoft.com/office/drawing/2014/main" id="{3C04631D-B639-C7D1-89B0-88CBB9E06F60}"/>
              </a:ext>
            </a:extLst>
          </p:cNvPr>
          <p:cNvSpPr/>
          <p:nvPr/>
        </p:nvSpPr>
        <p:spPr>
          <a:xfrm flipH="1">
            <a:off x="5220134" y="4741235"/>
            <a:ext cx="86686" cy="45131"/>
          </a:xfrm>
          <a:custGeom>
            <a:avLst/>
            <a:gdLst>
              <a:gd name="csX0" fmla="*/ 62457 w 230080"/>
              <a:gd name="csY0" fmla="*/ 0 h 51402"/>
              <a:gd name="csX1" fmla="*/ 229715 w 230080"/>
              <a:gd name="csY1" fmla="*/ 2548 h 51402"/>
              <a:gd name="csX2" fmla="*/ 229033 w 230080"/>
              <a:gd name="csY2" fmla="*/ 41559 h 51402"/>
              <a:gd name="csX3" fmla="*/ 214851 w 230080"/>
              <a:gd name="csY3" fmla="*/ 50862 h 51402"/>
              <a:gd name="csX4" fmla="*/ 120527 w 230080"/>
              <a:gd name="csY4" fmla="*/ 48743 h 51402"/>
              <a:gd name="csX5" fmla="*/ 13547 w 230080"/>
              <a:gd name="csY5" fmla="*/ 51342 h 51402"/>
              <a:gd name="csX6" fmla="*/ 61 w 230080"/>
              <a:gd name="csY6" fmla="*/ 51359 h 51402"/>
              <a:gd name="csX7" fmla="*/ 4 w 230080"/>
              <a:gd name="csY7" fmla="*/ 13697 h 51402"/>
              <a:gd name="csX8" fmla="*/ 10055 w 230080"/>
              <a:gd name="csY8" fmla="*/ 2596 h 51402"/>
              <a:gd name="csX9" fmla="*/ 62457 w 230080"/>
              <a:gd name="csY9" fmla="*/ 0 h 5140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230080" h="51402">
                <a:moveTo>
                  <a:pt x="62457" y="0"/>
                </a:moveTo>
                <a:cubicBezTo>
                  <a:pt x="118516" y="838"/>
                  <a:pt x="173258" y="1679"/>
                  <a:pt x="229715" y="2548"/>
                </a:cubicBezTo>
                <a:cubicBezTo>
                  <a:pt x="229715" y="16728"/>
                  <a:pt x="230888" y="29374"/>
                  <a:pt x="229033" y="41559"/>
                </a:cubicBezTo>
                <a:cubicBezTo>
                  <a:pt x="228442" y="45440"/>
                  <a:pt x="219802" y="50868"/>
                  <a:pt x="214851" y="50862"/>
                </a:cubicBezTo>
                <a:cubicBezTo>
                  <a:pt x="183409" y="50825"/>
                  <a:pt x="151967" y="48693"/>
                  <a:pt x="120527" y="48743"/>
                </a:cubicBezTo>
                <a:cubicBezTo>
                  <a:pt x="84866" y="48800"/>
                  <a:pt x="49208" y="50434"/>
                  <a:pt x="13547" y="51342"/>
                </a:cubicBezTo>
                <a:cubicBezTo>
                  <a:pt x="8707" y="51466"/>
                  <a:pt x="3861" y="51359"/>
                  <a:pt x="61" y="51359"/>
                </a:cubicBezTo>
                <a:cubicBezTo>
                  <a:pt x="61" y="37755"/>
                  <a:pt x="210" y="25723"/>
                  <a:pt x="4" y="13697"/>
                </a:cubicBezTo>
                <a:cubicBezTo>
                  <a:pt x="-117" y="6604"/>
                  <a:pt x="2365" y="2860"/>
                  <a:pt x="10055" y="2596"/>
                </a:cubicBezTo>
                <a:cubicBezTo>
                  <a:pt x="27093" y="2012"/>
                  <a:pt x="44112" y="901"/>
                  <a:pt x="62457" y="0"/>
                </a:cubicBezTo>
                <a:close/>
              </a:path>
            </a:pathLst>
          </a:custGeom>
          <a:solidFill>
            <a:srgbClr val="CCD6DA"/>
          </a:solidFill>
          <a:ln w="2699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30" name="Free-form: Shape 429">
            <a:extLst>
              <a:ext uri="{FF2B5EF4-FFF2-40B4-BE49-F238E27FC236}">
                <a16:creationId xmlns:a16="http://schemas.microsoft.com/office/drawing/2014/main" id="{2A3BB256-7A0F-905B-4C6A-FE8BA81C57AE}"/>
              </a:ext>
            </a:extLst>
          </p:cNvPr>
          <p:cNvSpPr/>
          <p:nvPr/>
        </p:nvSpPr>
        <p:spPr>
          <a:xfrm>
            <a:off x="5306479" y="4465793"/>
            <a:ext cx="181158" cy="248589"/>
          </a:xfrm>
          <a:custGeom>
            <a:avLst/>
            <a:gdLst>
              <a:gd name="csX0" fmla="*/ 778 w 226548"/>
              <a:gd name="csY0" fmla="*/ 0 h 337161"/>
              <a:gd name="csX1" fmla="*/ 37702 w 226548"/>
              <a:gd name="csY1" fmla="*/ 37373 h 337161"/>
              <a:gd name="csX2" fmla="*/ 104410 w 226548"/>
              <a:gd name="csY2" fmla="*/ 29446 h 337161"/>
              <a:gd name="csX3" fmla="*/ 121584 w 226548"/>
              <a:gd name="csY3" fmla="*/ 10749 h 337161"/>
              <a:gd name="csX4" fmla="*/ 168719 w 226548"/>
              <a:gd name="csY4" fmla="*/ 53353 h 337161"/>
              <a:gd name="csX5" fmla="*/ 226548 w 226548"/>
              <a:gd name="csY5" fmla="*/ 20770 h 337161"/>
              <a:gd name="csX6" fmla="*/ 195378 w 226548"/>
              <a:gd name="csY6" fmla="*/ 100783 h 337161"/>
              <a:gd name="csX7" fmla="*/ 130693 w 226548"/>
              <a:gd name="csY7" fmla="*/ 318354 h 337161"/>
              <a:gd name="csX8" fmla="*/ 108611 w 226548"/>
              <a:gd name="csY8" fmla="*/ 336726 h 337161"/>
              <a:gd name="csX9" fmla="*/ 15990 w 226548"/>
              <a:gd name="csY9" fmla="*/ 331469 h 337161"/>
              <a:gd name="csX10" fmla="*/ 0 w 226548"/>
              <a:gd name="csY10" fmla="*/ 331485 h 337161"/>
              <a:gd name="csX11" fmla="*/ 0 w 226548"/>
              <a:gd name="csY11" fmla="*/ 1107 h 33716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226548" h="337161">
                <a:moveTo>
                  <a:pt x="778" y="0"/>
                </a:moveTo>
                <a:cubicBezTo>
                  <a:pt x="13501" y="12962"/>
                  <a:pt x="25038" y="25783"/>
                  <a:pt x="37702" y="37373"/>
                </a:cubicBezTo>
                <a:cubicBezTo>
                  <a:pt x="58156" y="56093"/>
                  <a:pt x="87159" y="53087"/>
                  <a:pt x="104410" y="29446"/>
                </a:cubicBezTo>
                <a:cubicBezTo>
                  <a:pt x="109133" y="22974"/>
                  <a:pt x="115276" y="17539"/>
                  <a:pt x="121584" y="10749"/>
                </a:cubicBezTo>
                <a:cubicBezTo>
                  <a:pt x="130376" y="32859"/>
                  <a:pt x="139680" y="52822"/>
                  <a:pt x="168719" y="53353"/>
                </a:cubicBezTo>
                <a:cubicBezTo>
                  <a:pt x="194658" y="53827"/>
                  <a:pt x="206643" y="32131"/>
                  <a:pt x="226548" y="20770"/>
                </a:cubicBezTo>
                <a:cubicBezTo>
                  <a:pt x="215744" y="48562"/>
                  <a:pt x="205876" y="74800"/>
                  <a:pt x="195378" y="100783"/>
                </a:cubicBezTo>
                <a:cubicBezTo>
                  <a:pt x="166902" y="171263"/>
                  <a:pt x="147278" y="244366"/>
                  <a:pt x="130693" y="318354"/>
                </a:cubicBezTo>
                <a:cubicBezTo>
                  <a:pt x="126342" y="337768"/>
                  <a:pt x="126276" y="337983"/>
                  <a:pt x="108611" y="336726"/>
                </a:cubicBezTo>
                <a:cubicBezTo>
                  <a:pt x="77766" y="334530"/>
                  <a:pt x="46890" y="332362"/>
                  <a:pt x="15990" y="331469"/>
                </a:cubicBezTo>
                <a:lnTo>
                  <a:pt x="0" y="331485"/>
                </a:lnTo>
                <a:lnTo>
                  <a:pt x="0" y="1107"/>
                </a:lnTo>
                <a:close/>
              </a:path>
            </a:pathLst>
          </a:custGeom>
          <a:solidFill>
            <a:schemeClr val="bg1"/>
          </a:solidFill>
          <a:ln w="2699" cap="flat">
            <a:noFill/>
            <a:prstDash val="solid"/>
            <a:miter/>
          </a:ln>
        </p:spPr>
        <p:txBody>
          <a:bodyPr wrap="squar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31" name="Free-form: Shape 430">
            <a:extLst>
              <a:ext uri="{FF2B5EF4-FFF2-40B4-BE49-F238E27FC236}">
                <a16:creationId xmlns:a16="http://schemas.microsoft.com/office/drawing/2014/main" id="{BD714962-AD92-D9F3-C0FB-C6F7F0672992}"/>
              </a:ext>
            </a:extLst>
          </p:cNvPr>
          <p:cNvSpPr/>
          <p:nvPr/>
        </p:nvSpPr>
        <p:spPr>
          <a:xfrm flipH="1">
            <a:off x="5215152" y="4352358"/>
            <a:ext cx="96348" cy="138988"/>
          </a:xfrm>
          <a:custGeom>
            <a:avLst/>
            <a:gdLst>
              <a:gd name="csX0" fmla="*/ 0 w 126645"/>
              <a:gd name="csY0" fmla="*/ 0 h 194142"/>
              <a:gd name="csX1" fmla="*/ 27386 w 126645"/>
              <a:gd name="csY1" fmla="*/ 7476 h 194142"/>
              <a:gd name="csX2" fmla="*/ 30588 w 126645"/>
              <a:gd name="csY2" fmla="*/ 88167 h 194142"/>
              <a:gd name="csX3" fmla="*/ 126557 w 126645"/>
              <a:gd name="csY3" fmla="*/ 139377 h 194142"/>
              <a:gd name="csX4" fmla="*/ 126645 w 126645"/>
              <a:gd name="csY4" fmla="*/ 140313 h 194142"/>
              <a:gd name="csX5" fmla="*/ 101765 w 126645"/>
              <a:gd name="csY5" fmla="*/ 163014 h 194142"/>
              <a:gd name="csX6" fmla="*/ 82313 w 126645"/>
              <a:gd name="csY6" fmla="*/ 186490 h 194142"/>
              <a:gd name="csX7" fmla="*/ 45457 w 126645"/>
              <a:gd name="csY7" fmla="*/ 184308 h 194142"/>
              <a:gd name="csX8" fmla="*/ 17297 w 126645"/>
              <a:gd name="csY8" fmla="*/ 145391 h 194142"/>
              <a:gd name="csX9" fmla="*/ 978 w 126645"/>
              <a:gd name="csY9" fmla="*/ 131516 h 194142"/>
              <a:gd name="csX10" fmla="*/ 0 w 126645"/>
              <a:gd name="csY10" fmla="*/ 132393 h 194142"/>
              <a:gd name="csX11" fmla="*/ 0 w 126645"/>
              <a:gd name="csY11" fmla="*/ 0 h 19414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126645" h="194142">
                <a:moveTo>
                  <a:pt x="0" y="0"/>
                </a:moveTo>
                <a:lnTo>
                  <a:pt x="27386" y="7476"/>
                </a:lnTo>
                <a:cubicBezTo>
                  <a:pt x="51896" y="26141"/>
                  <a:pt x="53053" y="49936"/>
                  <a:pt x="30588" y="88167"/>
                </a:cubicBezTo>
                <a:cubicBezTo>
                  <a:pt x="66790" y="97135"/>
                  <a:pt x="100367" y="110864"/>
                  <a:pt x="126557" y="139377"/>
                </a:cubicBezTo>
                <a:cubicBezTo>
                  <a:pt x="126658" y="140298"/>
                  <a:pt x="126645" y="140313"/>
                  <a:pt x="126645" y="140313"/>
                </a:cubicBezTo>
                <a:cubicBezTo>
                  <a:pt x="113236" y="142307"/>
                  <a:pt x="108459" y="153523"/>
                  <a:pt x="101765" y="163014"/>
                </a:cubicBezTo>
                <a:cubicBezTo>
                  <a:pt x="95908" y="171321"/>
                  <a:pt x="90026" y="180136"/>
                  <a:pt x="82313" y="186490"/>
                </a:cubicBezTo>
                <a:cubicBezTo>
                  <a:pt x="69278" y="197226"/>
                  <a:pt x="56874" y="196816"/>
                  <a:pt x="45457" y="184308"/>
                </a:cubicBezTo>
                <a:cubicBezTo>
                  <a:pt x="34728" y="172556"/>
                  <a:pt x="26298" y="158649"/>
                  <a:pt x="17297" y="145391"/>
                </a:cubicBezTo>
                <a:cubicBezTo>
                  <a:pt x="10996" y="136110"/>
                  <a:pt x="5957" y="131464"/>
                  <a:pt x="978" y="131516"/>
                </a:cubicBezTo>
                <a:lnTo>
                  <a:pt x="0" y="132393"/>
                </a:lnTo>
                <a:lnTo>
                  <a:pt x="0" y="0"/>
                </a:lnTo>
                <a:close/>
              </a:path>
            </a:pathLst>
          </a:custGeom>
          <a:solidFill>
            <a:srgbClr val="CCD6DA"/>
          </a:solidFill>
          <a:ln w="2699" cap="flat">
            <a:solidFill>
              <a:srgbClr val="CDD9DF"/>
            </a:solidFill>
            <a:prstDash val="solid"/>
            <a:miter/>
          </a:ln>
        </p:spPr>
        <p:txBody>
          <a:bodyPr wrap="squar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32" name="Oval 431">
            <a:extLst>
              <a:ext uri="{FF2B5EF4-FFF2-40B4-BE49-F238E27FC236}">
                <a16:creationId xmlns:a16="http://schemas.microsoft.com/office/drawing/2014/main" id="{EA743D8A-E576-A1E1-2BB8-6C1D13E46771}"/>
              </a:ext>
            </a:extLst>
          </p:cNvPr>
          <p:cNvSpPr/>
          <p:nvPr/>
        </p:nvSpPr>
        <p:spPr>
          <a:xfrm>
            <a:off x="8411243" y="5769755"/>
            <a:ext cx="717698" cy="104135"/>
          </a:xfrm>
          <a:prstGeom prst="ellipse">
            <a:avLst/>
          </a:prstGeom>
          <a:solidFill>
            <a:schemeClr val="tx1">
              <a:alpha val="6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33" name="Free-form: Shape 432">
            <a:extLst>
              <a:ext uri="{FF2B5EF4-FFF2-40B4-BE49-F238E27FC236}">
                <a16:creationId xmlns:a16="http://schemas.microsoft.com/office/drawing/2014/main" id="{A9ED811F-0822-637D-3F33-F23F92A7C7E7}"/>
              </a:ext>
            </a:extLst>
          </p:cNvPr>
          <p:cNvSpPr/>
          <p:nvPr/>
        </p:nvSpPr>
        <p:spPr>
          <a:xfrm>
            <a:off x="8506288" y="4575871"/>
            <a:ext cx="634942" cy="1266262"/>
          </a:xfrm>
          <a:custGeom>
            <a:avLst/>
            <a:gdLst>
              <a:gd name="csX0" fmla="*/ 703087 w 763849"/>
              <a:gd name="csY0" fmla="*/ 1241174 h 1523340"/>
              <a:gd name="csX1" fmla="*/ 732932 w 763849"/>
              <a:gd name="csY1" fmla="*/ 1359634 h 1523340"/>
              <a:gd name="csX2" fmla="*/ 735544 w 763849"/>
              <a:gd name="csY2" fmla="*/ 1377287 h 1523340"/>
              <a:gd name="csX3" fmla="*/ 756764 w 763849"/>
              <a:gd name="csY3" fmla="*/ 1458577 h 1523340"/>
              <a:gd name="csX4" fmla="*/ 757108 w 763849"/>
              <a:gd name="csY4" fmla="*/ 1465940 h 1523340"/>
              <a:gd name="csX5" fmla="*/ 744215 w 763849"/>
              <a:gd name="csY5" fmla="*/ 1488332 h 1523340"/>
              <a:gd name="csX6" fmla="*/ 712781 w 763849"/>
              <a:gd name="csY6" fmla="*/ 1498472 h 1523340"/>
              <a:gd name="csX7" fmla="*/ 625540 w 763849"/>
              <a:gd name="csY7" fmla="*/ 1511981 h 1523340"/>
              <a:gd name="csX8" fmla="*/ 488540 w 763849"/>
              <a:gd name="csY8" fmla="*/ 1522029 h 1523340"/>
              <a:gd name="csX9" fmla="*/ 306789 w 763849"/>
              <a:gd name="csY9" fmla="*/ 1523231 h 1523340"/>
              <a:gd name="csX10" fmla="*/ 200103 w 763849"/>
              <a:gd name="csY10" fmla="*/ 1518579 h 1523340"/>
              <a:gd name="csX11" fmla="*/ 31607 w 763849"/>
              <a:gd name="csY11" fmla="*/ 1493880 h 1523340"/>
              <a:gd name="csX12" fmla="*/ 5860 w 763849"/>
              <a:gd name="csY12" fmla="*/ 1482933 h 1523340"/>
              <a:gd name="csX13" fmla="*/ 32 w 763849"/>
              <a:gd name="csY13" fmla="*/ 1471774 h 1523340"/>
              <a:gd name="csX14" fmla="*/ 21295 w 763849"/>
              <a:gd name="csY14" fmla="*/ 1378237 h 1523340"/>
              <a:gd name="csX15" fmla="*/ 23169 w 763849"/>
              <a:gd name="csY15" fmla="*/ 1364271 h 1523340"/>
              <a:gd name="csX16" fmla="*/ 23871 w 763849"/>
              <a:gd name="csY16" fmla="*/ 1303132 h 1523340"/>
              <a:gd name="csX17" fmla="*/ 59740 w 763849"/>
              <a:gd name="csY17" fmla="*/ 1234649 h 1523340"/>
              <a:gd name="csX18" fmla="*/ 98899 w 763849"/>
              <a:gd name="csY18" fmla="*/ 1195619 h 1523340"/>
              <a:gd name="csX19" fmla="*/ 131493 w 763849"/>
              <a:gd name="csY19" fmla="*/ 1127593 h 1523340"/>
              <a:gd name="csX20" fmla="*/ 108213 w 763849"/>
              <a:gd name="csY20" fmla="*/ 1058723 h 1523340"/>
              <a:gd name="csX21" fmla="*/ 74370 w 763849"/>
              <a:gd name="csY21" fmla="*/ 1024929 h 1523340"/>
              <a:gd name="csX22" fmla="*/ 68137 w 763849"/>
              <a:gd name="csY22" fmla="*/ 987550 h 1523340"/>
              <a:gd name="csX23" fmla="*/ 86420 w 763849"/>
              <a:gd name="csY23" fmla="*/ 941991 h 1523340"/>
              <a:gd name="csX24" fmla="*/ 97082 w 763849"/>
              <a:gd name="csY24" fmla="*/ 828037 h 1523340"/>
              <a:gd name="csX25" fmla="*/ 61782 w 763849"/>
              <a:gd name="csY25" fmla="*/ 696973 h 1523340"/>
              <a:gd name="csX26" fmla="*/ 26901 w 763849"/>
              <a:gd name="csY26" fmla="*/ 547868 h 1523340"/>
              <a:gd name="csX27" fmla="*/ 20221 w 763849"/>
              <a:gd name="csY27" fmla="*/ 479529 h 1523340"/>
              <a:gd name="csX28" fmla="*/ 40808 w 763849"/>
              <a:gd name="csY28" fmla="*/ 334388 h 1523340"/>
              <a:gd name="csX29" fmla="*/ 65171 w 763849"/>
              <a:gd name="csY29" fmla="*/ 263707 h 1523340"/>
              <a:gd name="csX30" fmla="*/ 142827 w 763849"/>
              <a:gd name="csY30" fmla="*/ 171003 h 1523340"/>
              <a:gd name="csX31" fmla="*/ 172290 w 763849"/>
              <a:gd name="csY31" fmla="*/ 155872 h 1523340"/>
              <a:gd name="csX32" fmla="*/ 189008 w 763849"/>
              <a:gd name="csY32" fmla="*/ 148158 h 1523340"/>
              <a:gd name="csX33" fmla="*/ 212828 w 763849"/>
              <a:gd name="csY33" fmla="*/ 126123 h 1523340"/>
              <a:gd name="csX34" fmla="*/ 217217 w 763849"/>
              <a:gd name="csY34" fmla="*/ 118740 h 1523340"/>
              <a:gd name="csX35" fmla="*/ 253000 w 763849"/>
              <a:gd name="csY35" fmla="*/ 88998 h 1523340"/>
              <a:gd name="csX36" fmla="*/ 322085 w 763849"/>
              <a:gd name="csY36" fmla="*/ 72193 h 1523340"/>
              <a:gd name="csX37" fmla="*/ 330478 w 763849"/>
              <a:gd name="csY37" fmla="*/ 70387 h 1523340"/>
              <a:gd name="csX38" fmla="*/ 388016 w 763849"/>
              <a:gd name="csY38" fmla="*/ 35457 h 1523340"/>
              <a:gd name="csX39" fmla="*/ 421527 w 763849"/>
              <a:gd name="csY39" fmla="*/ 0 h 1523340"/>
              <a:gd name="csX40" fmla="*/ 424538 w 763849"/>
              <a:gd name="csY40" fmla="*/ 10833 h 1523340"/>
              <a:gd name="csX41" fmla="*/ 436339 w 763849"/>
              <a:gd name="csY41" fmla="*/ 121836 h 1523340"/>
              <a:gd name="csX42" fmla="*/ 449983 w 763849"/>
              <a:gd name="csY42" fmla="*/ 141450 h 1523340"/>
              <a:gd name="csX43" fmla="*/ 503299 w 763849"/>
              <a:gd name="csY43" fmla="*/ 169290 h 1523340"/>
              <a:gd name="csX44" fmla="*/ 551461 w 763849"/>
              <a:gd name="csY44" fmla="*/ 203111 h 1523340"/>
              <a:gd name="csX45" fmla="*/ 588803 w 763849"/>
              <a:gd name="csY45" fmla="*/ 252797 h 1523340"/>
              <a:gd name="csX46" fmla="*/ 634209 w 763849"/>
              <a:gd name="csY46" fmla="*/ 327081 h 1523340"/>
              <a:gd name="csX47" fmla="*/ 697923 w 763849"/>
              <a:gd name="csY47" fmla="*/ 384157 h 1523340"/>
              <a:gd name="csX48" fmla="*/ 729658 w 763849"/>
              <a:gd name="csY48" fmla="*/ 407288 h 1523340"/>
              <a:gd name="csX49" fmla="*/ 763354 w 763849"/>
              <a:gd name="csY49" fmla="*/ 471325 h 1523340"/>
              <a:gd name="csX50" fmla="*/ 757092 w 763849"/>
              <a:gd name="csY50" fmla="*/ 527116 h 1523340"/>
              <a:gd name="csX51" fmla="*/ 720673 w 763849"/>
              <a:gd name="csY51" fmla="*/ 570023 h 1523340"/>
              <a:gd name="csX52" fmla="*/ 704918 w 763849"/>
              <a:gd name="csY52" fmla="*/ 581294 h 1523340"/>
              <a:gd name="csX53" fmla="*/ 671960 w 763849"/>
              <a:gd name="csY53" fmla="*/ 595325 h 1523340"/>
              <a:gd name="csX54" fmla="*/ 633021 w 763849"/>
              <a:gd name="csY54" fmla="*/ 591397 h 1523340"/>
              <a:gd name="csX55" fmla="*/ 580696 w 763849"/>
              <a:gd name="csY55" fmla="*/ 556742 h 1523340"/>
              <a:gd name="csX56" fmla="*/ 545415 w 763849"/>
              <a:gd name="csY56" fmla="*/ 524617 h 1523340"/>
              <a:gd name="csX57" fmla="*/ 518889 w 763849"/>
              <a:gd name="csY57" fmla="*/ 516179 h 1523340"/>
              <a:gd name="csX58" fmla="*/ 472309 w 763849"/>
              <a:gd name="csY58" fmla="*/ 517812 h 1523340"/>
              <a:gd name="csX59" fmla="*/ 415953 w 763849"/>
              <a:gd name="csY59" fmla="*/ 517245 h 1523340"/>
              <a:gd name="csX60" fmla="*/ 403392 w 763849"/>
              <a:gd name="csY60" fmla="*/ 516539 h 1523340"/>
              <a:gd name="csX61" fmla="*/ 407957 w 763849"/>
              <a:gd name="csY61" fmla="*/ 542045 h 1523340"/>
              <a:gd name="csX62" fmla="*/ 434134 w 763849"/>
              <a:gd name="csY62" fmla="*/ 583349 h 1523340"/>
              <a:gd name="csX63" fmla="*/ 524267 w 763849"/>
              <a:gd name="csY63" fmla="*/ 683922 h 1523340"/>
              <a:gd name="csX64" fmla="*/ 614317 w 763849"/>
              <a:gd name="csY64" fmla="*/ 786085 h 1523340"/>
              <a:gd name="csX65" fmla="*/ 669590 w 763849"/>
              <a:gd name="csY65" fmla="*/ 921089 h 1523340"/>
              <a:gd name="csX66" fmla="*/ 647360 w 763849"/>
              <a:gd name="csY66" fmla="*/ 1057245 h 1523340"/>
              <a:gd name="csX67" fmla="*/ 627872 w 763849"/>
              <a:gd name="csY67" fmla="*/ 1102111 h 1523340"/>
              <a:gd name="csX68" fmla="*/ 642300 w 763849"/>
              <a:gd name="csY68" fmla="*/ 1175941 h 1523340"/>
              <a:gd name="csX69" fmla="*/ 668829 w 763849"/>
              <a:gd name="csY69" fmla="*/ 1206449 h 1523340"/>
              <a:gd name="csX70" fmla="*/ 703087 w 763849"/>
              <a:gd name="csY70" fmla="*/ 1241174 h 1523340"/>
              <a:gd name="csX71" fmla="*/ 648750 w 763849"/>
              <a:gd name="csY71" fmla="*/ 562343 h 1523340"/>
              <a:gd name="csX72" fmla="*/ 674049 w 763849"/>
              <a:gd name="csY72" fmla="*/ 562834 h 1523340"/>
              <a:gd name="csX73" fmla="*/ 660781 w 763849"/>
              <a:gd name="csY73" fmla="*/ 550178 h 1523340"/>
              <a:gd name="csX74" fmla="*/ 650911 w 763849"/>
              <a:gd name="csY74" fmla="*/ 534051 h 1523340"/>
              <a:gd name="csX75" fmla="*/ 660724 w 763849"/>
              <a:gd name="csY75" fmla="*/ 537605 h 1523340"/>
              <a:gd name="csX76" fmla="*/ 688133 w 763849"/>
              <a:gd name="csY76" fmla="*/ 543363 h 1523340"/>
              <a:gd name="csX77" fmla="*/ 731514 w 763849"/>
              <a:gd name="csY77" fmla="*/ 510767 h 1523340"/>
              <a:gd name="csX78" fmla="*/ 733611 w 763849"/>
              <a:gd name="csY78" fmla="*/ 466905 h 1523340"/>
              <a:gd name="csX79" fmla="*/ 708076 w 763849"/>
              <a:gd name="csY79" fmla="*/ 425975 h 1523340"/>
              <a:gd name="csX80" fmla="*/ 667538 w 763849"/>
              <a:gd name="csY80" fmla="*/ 398254 h 1523340"/>
              <a:gd name="csX81" fmla="*/ 601016 w 763849"/>
              <a:gd name="csY81" fmla="*/ 332127 h 1523340"/>
              <a:gd name="csX82" fmla="*/ 565354 w 763849"/>
              <a:gd name="csY82" fmla="*/ 270526 h 1523340"/>
              <a:gd name="csX83" fmla="*/ 490657 w 763849"/>
              <a:gd name="csY83" fmla="*/ 195121 h 1523340"/>
              <a:gd name="csX84" fmla="*/ 432834 w 763849"/>
              <a:gd name="csY84" fmla="*/ 165243 h 1523340"/>
              <a:gd name="csX85" fmla="*/ 407594 w 763849"/>
              <a:gd name="csY85" fmla="*/ 127852 h 1523340"/>
              <a:gd name="csX86" fmla="*/ 405020 w 763849"/>
              <a:gd name="csY86" fmla="*/ 69029 h 1523340"/>
              <a:gd name="csX87" fmla="*/ 403638 w 763849"/>
              <a:gd name="csY87" fmla="*/ 58130 h 1523340"/>
              <a:gd name="csX88" fmla="*/ 349776 w 763849"/>
              <a:gd name="csY88" fmla="*/ 133259 h 1523340"/>
              <a:gd name="csX89" fmla="*/ 326975 w 763849"/>
              <a:gd name="csY89" fmla="*/ 159669 h 1523340"/>
              <a:gd name="csX90" fmla="*/ 240374 w 763849"/>
              <a:gd name="csY90" fmla="*/ 221714 h 1523340"/>
              <a:gd name="csX91" fmla="*/ 171637 w 763849"/>
              <a:gd name="csY91" fmla="*/ 309087 h 1523340"/>
              <a:gd name="csX92" fmla="*/ 138048 w 763849"/>
              <a:gd name="csY92" fmla="*/ 516954 h 1523340"/>
              <a:gd name="csX93" fmla="*/ 163889 w 763849"/>
              <a:gd name="csY93" fmla="*/ 641780 h 1523340"/>
              <a:gd name="csX94" fmla="*/ 204800 w 763849"/>
              <a:gd name="csY94" fmla="*/ 787055 h 1523340"/>
              <a:gd name="csX95" fmla="*/ 218549 w 763849"/>
              <a:gd name="csY95" fmla="*/ 949545 h 1523340"/>
              <a:gd name="csX96" fmla="*/ 191487 w 763849"/>
              <a:gd name="csY96" fmla="*/ 1033064 h 1523340"/>
              <a:gd name="csX97" fmla="*/ 188729 w 763849"/>
              <a:gd name="csY97" fmla="*/ 1039835 h 1523340"/>
              <a:gd name="csX98" fmla="*/ 221417 w 763849"/>
              <a:gd name="csY98" fmla="*/ 1040799 h 1523340"/>
              <a:gd name="csX99" fmla="*/ 348895 w 763849"/>
              <a:gd name="csY99" fmla="*/ 1046759 h 1523340"/>
              <a:gd name="csX100" fmla="*/ 545369 w 763849"/>
              <a:gd name="csY100" fmla="*/ 1044456 h 1523340"/>
              <a:gd name="csX101" fmla="*/ 612424 w 763849"/>
              <a:gd name="csY101" fmla="*/ 1037365 h 1523340"/>
              <a:gd name="csX102" fmla="*/ 623169 w 763849"/>
              <a:gd name="csY102" fmla="*/ 1028873 h 1523340"/>
              <a:gd name="csX103" fmla="*/ 638508 w 763849"/>
              <a:gd name="csY103" fmla="*/ 959599 h 1523340"/>
              <a:gd name="csX104" fmla="*/ 609213 w 763849"/>
              <a:gd name="csY104" fmla="*/ 842075 h 1523340"/>
              <a:gd name="csX105" fmla="*/ 529367 w 763849"/>
              <a:gd name="csY105" fmla="*/ 735065 h 1523340"/>
              <a:gd name="csX106" fmla="*/ 403792 w 763849"/>
              <a:gd name="csY106" fmla="*/ 596993 h 1523340"/>
              <a:gd name="csX107" fmla="*/ 344708 w 763849"/>
              <a:gd name="csY107" fmla="*/ 511366 h 1523340"/>
              <a:gd name="csX108" fmla="*/ 324464 w 763849"/>
              <a:gd name="csY108" fmla="*/ 380084 h 1523340"/>
              <a:gd name="csX109" fmla="*/ 327688 w 763849"/>
              <a:gd name="csY109" fmla="*/ 373535 h 1523340"/>
              <a:gd name="csX110" fmla="*/ 330334 w 763849"/>
              <a:gd name="csY110" fmla="*/ 373641 h 1523340"/>
              <a:gd name="csX111" fmla="*/ 334272 w 763849"/>
              <a:gd name="csY111" fmla="*/ 384645 h 1523340"/>
              <a:gd name="csX112" fmla="*/ 365260 w 763849"/>
              <a:gd name="csY112" fmla="*/ 453955 h 1523340"/>
              <a:gd name="csX113" fmla="*/ 408246 w 763849"/>
              <a:gd name="csY113" fmla="*/ 483592 h 1523340"/>
              <a:gd name="csX114" fmla="*/ 464529 w 763849"/>
              <a:gd name="csY114" fmla="*/ 486187 h 1523340"/>
              <a:gd name="csX115" fmla="*/ 511119 w 763849"/>
              <a:gd name="csY115" fmla="*/ 484308 h 1523340"/>
              <a:gd name="csX116" fmla="*/ 567913 w 763849"/>
              <a:gd name="csY116" fmla="*/ 503736 h 1523340"/>
              <a:gd name="csX117" fmla="*/ 607611 w 763849"/>
              <a:gd name="csY117" fmla="*/ 540326 h 1523340"/>
              <a:gd name="csX118" fmla="*/ 648750 w 763849"/>
              <a:gd name="csY118" fmla="*/ 562343 h 1523340"/>
              <a:gd name="csX119" fmla="*/ 462594 w 763849"/>
              <a:gd name="csY119" fmla="*/ 1369008 h 1523340"/>
              <a:gd name="csX120" fmla="*/ 510357 w 763849"/>
              <a:gd name="csY120" fmla="*/ 1366345 h 1523340"/>
              <a:gd name="csX121" fmla="*/ 549434 w 763849"/>
              <a:gd name="csY121" fmla="*/ 1362956 h 1523340"/>
              <a:gd name="csX122" fmla="*/ 632369 w 763849"/>
              <a:gd name="csY122" fmla="*/ 1354439 h 1523340"/>
              <a:gd name="csX123" fmla="*/ 697252 w 763849"/>
              <a:gd name="csY123" fmla="*/ 1346424 h 1523340"/>
              <a:gd name="csX124" fmla="*/ 676674 w 763849"/>
              <a:gd name="csY124" fmla="*/ 1266396 h 1523340"/>
              <a:gd name="csX125" fmla="*/ 646594 w 763849"/>
              <a:gd name="csY125" fmla="*/ 1234108 h 1523340"/>
              <a:gd name="csX126" fmla="*/ 612063 w 763849"/>
              <a:gd name="csY126" fmla="*/ 1194382 h 1523340"/>
              <a:gd name="csX127" fmla="*/ 591616 w 763849"/>
              <a:gd name="csY127" fmla="*/ 1111541 h 1523340"/>
              <a:gd name="csX128" fmla="*/ 594320 w 763849"/>
              <a:gd name="csY128" fmla="*/ 1089609 h 1523340"/>
              <a:gd name="csX129" fmla="*/ 578634 w 763849"/>
              <a:gd name="csY129" fmla="*/ 1089642 h 1523340"/>
              <a:gd name="csX130" fmla="*/ 443931 w 763849"/>
              <a:gd name="csY130" fmla="*/ 1096700 h 1523340"/>
              <a:gd name="csX131" fmla="*/ 403417 w 763849"/>
              <a:gd name="csY131" fmla="*/ 1097156 h 1523340"/>
              <a:gd name="csX132" fmla="*/ 388348 w 763849"/>
              <a:gd name="csY132" fmla="*/ 1111502 h 1523340"/>
              <a:gd name="csX133" fmla="*/ 385048 w 763849"/>
              <a:gd name="csY133" fmla="*/ 1176431 h 1523340"/>
              <a:gd name="csX134" fmla="*/ 377687 w 763849"/>
              <a:gd name="csY134" fmla="*/ 1308672 h 1523340"/>
              <a:gd name="csX135" fmla="*/ 376823 w 763849"/>
              <a:gd name="csY135" fmla="*/ 1320897 h 1523340"/>
              <a:gd name="csX136" fmla="*/ 376781 w 763849"/>
              <a:gd name="csY136" fmla="*/ 1366151 h 1523340"/>
              <a:gd name="csX137" fmla="*/ 462594 w 763849"/>
              <a:gd name="csY137" fmla="*/ 1369008 h 1523340"/>
              <a:gd name="csX138" fmla="*/ 648494 w 763849"/>
              <a:gd name="csY138" fmla="*/ 1463981 h 1523340"/>
              <a:gd name="csX139" fmla="*/ 718746 w 763849"/>
              <a:gd name="csY139" fmla="*/ 1451892 h 1523340"/>
              <a:gd name="csX140" fmla="*/ 711827 w 763849"/>
              <a:gd name="csY140" fmla="*/ 1416835 h 1523340"/>
              <a:gd name="csX141" fmla="*/ 685812 w 763849"/>
              <a:gd name="csY141" fmla="*/ 1398502 h 1523340"/>
              <a:gd name="csX142" fmla="*/ 680924 w 763849"/>
              <a:gd name="csY142" fmla="*/ 1398973 h 1523340"/>
              <a:gd name="csX143" fmla="*/ 598278 w 763849"/>
              <a:gd name="csY143" fmla="*/ 1409218 h 1523340"/>
              <a:gd name="csX144" fmla="*/ 474765 w 763849"/>
              <a:gd name="csY144" fmla="*/ 1417945 h 1523340"/>
              <a:gd name="csX145" fmla="*/ 385143 w 763849"/>
              <a:gd name="csY145" fmla="*/ 1418978 h 1523340"/>
              <a:gd name="csX146" fmla="*/ 376639 w 763849"/>
              <a:gd name="csY146" fmla="*/ 1419613 h 1523340"/>
              <a:gd name="csX147" fmla="*/ 376639 w 763849"/>
              <a:gd name="csY147" fmla="*/ 1473939 h 1523340"/>
              <a:gd name="csX148" fmla="*/ 382089 w 763849"/>
              <a:gd name="csY148" fmla="*/ 1474854 h 1523340"/>
              <a:gd name="csX149" fmla="*/ 449536 w 763849"/>
              <a:gd name="csY149" fmla="*/ 1476855 h 1523340"/>
              <a:gd name="csX150" fmla="*/ 559930 w 763849"/>
              <a:gd name="csY150" fmla="*/ 1474307 h 1523340"/>
              <a:gd name="csX151" fmla="*/ 648494 w 763849"/>
              <a:gd name="csY151" fmla="*/ 1463981 h 152334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</a:cxnLst>
            <a:rect l="l" t="t" r="r" b="b"/>
            <a:pathLst>
              <a:path w="763849" h="1523340">
                <a:moveTo>
                  <a:pt x="703087" y="1241174"/>
                </a:moveTo>
                <a:cubicBezTo>
                  <a:pt x="732418" y="1276379"/>
                  <a:pt x="738825" y="1316526"/>
                  <a:pt x="732932" y="1359634"/>
                </a:cubicBezTo>
                <a:cubicBezTo>
                  <a:pt x="732067" y="1365959"/>
                  <a:pt x="732453" y="1371428"/>
                  <a:pt x="735544" y="1377287"/>
                </a:cubicBezTo>
                <a:cubicBezTo>
                  <a:pt x="748937" y="1402675"/>
                  <a:pt x="755318" y="1430010"/>
                  <a:pt x="756764" y="1458577"/>
                </a:cubicBezTo>
                <a:cubicBezTo>
                  <a:pt x="756887" y="1461031"/>
                  <a:pt x="756895" y="1463494"/>
                  <a:pt x="757108" y="1465940"/>
                </a:cubicBezTo>
                <a:cubicBezTo>
                  <a:pt x="758375" y="1480486"/>
                  <a:pt x="757802" y="1482498"/>
                  <a:pt x="744215" y="1488332"/>
                </a:cubicBezTo>
                <a:cubicBezTo>
                  <a:pt x="734126" y="1492664"/>
                  <a:pt x="723536" y="1496562"/>
                  <a:pt x="712781" y="1498472"/>
                </a:cubicBezTo>
                <a:cubicBezTo>
                  <a:pt x="683814" y="1503617"/>
                  <a:pt x="654674" y="1507832"/>
                  <a:pt x="625540" y="1511981"/>
                </a:cubicBezTo>
                <a:cubicBezTo>
                  <a:pt x="580114" y="1518449"/>
                  <a:pt x="534395" y="1521481"/>
                  <a:pt x="488540" y="1522029"/>
                </a:cubicBezTo>
                <a:cubicBezTo>
                  <a:pt x="427958" y="1522752"/>
                  <a:pt x="367367" y="1523658"/>
                  <a:pt x="306789" y="1523231"/>
                </a:cubicBezTo>
                <a:cubicBezTo>
                  <a:pt x="271215" y="1522980"/>
                  <a:pt x="235625" y="1520833"/>
                  <a:pt x="200103" y="1518579"/>
                </a:cubicBezTo>
                <a:cubicBezTo>
                  <a:pt x="143289" y="1514974"/>
                  <a:pt x="86915" y="1507766"/>
                  <a:pt x="31607" y="1493880"/>
                </a:cubicBezTo>
                <a:cubicBezTo>
                  <a:pt x="22666" y="1491635"/>
                  <a:pt x="14297" y="1486920"/>
                  <a:pt x="5860" y="1482933"/>
                </a:cubicBezTo>
                <a:cubicBezTo>
                  <a:pt x="1433" y="1480841"/>
                  <a:pt x="-262" y="1476934"/>
                  <a:pt x="32" y="1471774"/>
                </a:cubicBezTo>
                <a:cubicBezTo>
                  <a:pt x="1880" y="1439401"/>
                  <a:pt x="3993" y="1407192"/>
                  <a:pt x="21295" y="1378237"/>
                </a:cubicBezTo>
                <a:cubicBezTo>
                  <a:pt x="23526" y="1374504"/>
                  <a:pt x="23666" y="1368858"/>
                  <a:pt x="23169" y="1364271"/>
                </a:cubicBezTo>
                <a:cubicBezTo>
                  <a:pt x="20957" y="1343833"/>
                  <a:pt x="20482" y="1323540"/>
                  <a:pt x="23871" y="1303132"/>
                </a:cubicBezTo>
                <a:cubicBezTo>
                  <a:pt x="28332" y="1276267"/>
                  <a:pt x="41045" y="1253887"/>
                  <a:pt x="59740" y="1234649"/>
                </a:cubicBezTo>
                <a:cubicBezTo>
                  <a:pt x="72582" y="1221434"/>
                  <a:pt x="85657" y="1208434"/>
                  <a:pt x="98899" y="1195619"/>
                </a:cubicBezTo>
                <a:cubicBezTo>
                  <a:pt x="118216" y="1176926"/>
                  <a:pt x="130484" y="1154702"/>
                  <a:pt x="131493" y="1127593"/>
                </a:cubicBezTo>
                <a:cubicBezTo>
                  <a:pt x="132448" y="1101948"/>
                  <a:pt x="127125" y="1077868"/>
                  <a:pt x="108213" y="1058723"/>
                </a:cubicBezTo>
                <a:cubicBezTo>
                  <a:pt x="97010" y="1047381"/>
                  <a:pt x="85438" y="1036399"/>
                  <a:pt x="74370" y="1024929"/>
                </a:cubicBezTo>
                <a:cubicBezTo>
                  <a:pt x="63868" y="1014043"/>
                  <a:pt x="62267" y="1001475"/>
                  <a:pt x="68137" y="987550"/>
                </a:cubicBezTo>
                <a:cubicBezTo>
                  <a:pt x="74493" y="972473"/>
                  <a:pt x="80703" y="957319"/>
                  <a:pt x="86420" y="941991"/>
                </a:cubicBezTo>
                <a:cubicBezTo>
                  <a:pt x="100218" y="905001"/>
                  <a:pt x="99441" y="866690"/>
                  <a:pt x="97082" y="828037"/>
                </a:cubicBezTo>
                <a:cubicBezTo>
                  <a:pt x="94260" y="781809"/>
                  <a:pt x="76370" y="739899"/>
                  <a:pt x="61782" y="696973"/>
                </a:cubicBezTo>
                <a:cubicBezTo>
                  <a:pt x="45282" y="648419"/>
                  <a:pt x="33285" y="598770"/>
                  <a:pt x="26901" y="547868"/>
                </a:cubicBezTo>
                <a:cubicBezTo>
                  <a:pt x="24054" y="525160"/>
                  <a:pt x="21110" y="502364"/>
                  <a:pt x="20221" y="479529"/>
                </a:cubicBezTo>
                <a:cubicBezTo>
                  <a:pt x="18293" y="430013"/>
                  <a:pt x="26126" y="381610"/>
                  <a:pt x="40808" y="334388"/>
                </a:cubicBezTo>
                <a:cubicBezTo>
                  <a:pt x="48208" y="310588"/>
                  <a:pt x="55162" y="286441"/>
                  <a:pt x="65171" y="263707"/>
                </a:cubicBezTo>
                <a:cubicBezTo>
                  <a:pt x="81946" y="225606"/>
                  <a:pt x="106517" y="193071"/>
                  <a:pt x="142827" y="171003"/>
                </a:cubicBezTo>
                <a:cubicBezTo>
                  <a:pt x="152238" y="165283"/>
                  <a:pt x="162401" y="160787"/>
                  <a:pt x="172290" y="155872"/>
                </a:cubicBezTo>
                <a:cubicBezTo>
                  <a:pt x="177784" y="153142"/>
                  <a:pt x="183393" y="150635"/>
                  <a:pt x="189008" y="148158"/>
                </a:cubicBezTo>
                <a:cubicBezTo>
                  <a:pt x="199487" y="143534"/>
                  <a:pt x="207598" y="136426"/>
                  <a:pt x="212828" y="126123"/>
                </a:cubicBezTo>
                <a:cubicBezTo>
                  <a:pt x="214121" y="123575"/>
                  <a:pt x="215966" y="121304"/>
                  <a:pt x="217217" y="118740"/>
                </a:cubicBezTo>
                <a:cubicBezTo>
                  <a:pt x="224688" y="103433"/>
                  <a:pt x="237053" y="93440"/>
                  <a:pt x="253000" y="88998"/>
                </a:cubicBezTo>
                <a:cubicBezTo>
                  <a:pt x="275818" y="82642"/>
                  <a:pt x="299033" y="77711"/>
                  <a:pt x="322085" y="72193"/>
                </a:cubicBezTo>
                <a:cubicBezTo>
                  <a:pt x="324867" y="71527"/>
                  <a:pt x="327694" y="71045"/>
                  <a:pt x="330478" y="70387"/>
                </a:cubicBezTo>
                <a:cubicBezTo>
                  <a:pt x="364731" y="62297"/>
                  <a:pt x="364569" y="62151"/>
                  <a:pt x="388016" y="35457"/>
                </a:cubicBezTo>
                <a:cubicBezTo>
                  <a:pt x="398189" y="23875"/>
                  <a:pt x="409180" y="13010"/>
                  <a:pt x="421527" y="0"/>
                </a:cubicBezTo>
                <a:cubicBezTo>
                  <a:pt x="423000" y="5190"/>
                  <a:pt x="424219" y="7961"/>
                  <a:pt x="424538" y="10833"/>
                </a:cubicBezTo>
                <a:cubicBezTo>
                  <a:pt x="428638" y="47817"/>
                  <a:pt x="433030" y="84779"/>
                  <a:pt x="436339" y="121836"/>
                </a:cubicBezTo>
                <a:cubicBezTo>
                  <a:pt x="437236" y="131893"/>
                  <a:pt x="441545" y="137271"/>
                  <a:pt x="449983" y="141450"/>
                </a:cubicBezTo>
                <a:cubicBezTo>
                  <a:pt x="467954" y="150348"/>
                  <a:pt x="486187" y="158915"/>
                  <a:pt x="503299" y="169290"/>
                </a:cubicBezTo>
                <a:cubicBezTo>
                  <a:pt x="520041" y="179441"/>
                  <a:pt x="535883" y="191197"/>
                  <a:pt x="551461" y="203111"/>
                </a:cubicBezTo>
                <a:cubicBezTo>
                  <a:pt x="568416" y="216079"/>
                  <a:pt x="579195" y="234146"/>
                  <a:pt x="588803" y="252797"/>
                </a:cubicBezTo>
                <a:cubicBezTo>
                  <a:pt x="602134" y="278677"/>
                  <a:pt x="616556" y="303835"/>
                  <a:pt x="634209" y="327081"/>
                </a:cubicBezTo>
                <a:cubicBezTo>
                  <a:pt x="651797" y="350241"/>
                  <a:pt x="673980" y="368103"/>
                  <a:pt x="697923" y="384157"/>
                </a:cubicBezTo>
                <a:cubicBezTo>
                  <a:pt x="708787" y="391441"/>
                  <a:pt x="719007" y="399678"/>
                  <a:pt x="729658" y="407288"/>
                </a:cubicBezTo>
                <a:cubicBezTo>
                  <a:pt x="751657" y="423004"/>
                  <a:pt x="761259" y="445265"/>
                  <a:pt x="763354" y="471325"/>
                </a:cubicBezTo>
                <a:cubicBezTo>
                  <a:pt x="764877" y="490275"/>
                  <a:pt x="762919" y="509064"/>
                  <a:pt x="757092" y="527116"/>
                </a:cubicBezTo>
                <a:cubicBezTo>
                  <a:pt x="750932" y="546198"/>
                  <a:pt x="738296" y="560266"/>
                  <a:pt x="720673" y="570023"/>
                </a:cubicBezTo>
                <a:cubicBezTo>
                  <a:pt x="715048" y="573138"/>
                  <a:pt x="709487" y="576825"/>
                  <a:pt x="704918" y="581294"/>
                </a:cubicBezTo>
                <a:cubicBezTo>
                  <a:pt x="695625" y="590383"/>
                  <a:pt x="684728" y="595697"/>
                  <a:pt x="671960" y="595325"/>
                </a:cubicBezTo>
                <a:cubicBezTo>
                  <a:pt x="658939" y="594945"/>
                  <a:pt x="645743" y="594018"/>
                  <a:pt x="633021" y="591397"/>
                </a:cubicBezTo>
                <a:cubicBezTo>
                  <a:pt x="611233" y="586907"/>
                  <a:pt x="595034" y="572939"/>
                  <a:pt x="580696" y="556742"/>
                </a:cubicBezTo>
                <a:cubicBezTo>
                  <a:pt x="570081" y="544750"/>
                  <a:pt x="559052" y="533306"/>
                  <a:pt x="545415" y="524617"/>
                </a:cubicBezTo>
                <a:cubicBezTo>
                  <a:pt x="537261" y="519422"/>
                  <a:pt x="528551" y="515996"/>
                  <a:pt x="518889" y="516179"/>
                </a:cubicBezTo>
                <a:cubicBezTo>
                  <a:pt x="503357" y="516473"/>
                  <a:pt x="487839" y="517663"/>
                  <a:pt x="472309" y="517812"/>
                </a:cubicBezTo>
                <a:cubicBezTo>
                  <a:pt x="453527" y="517993"/>
                  <a:pt x="434738" y="517514"/>
                  <a:pt x="415953" y="517245"/>
                </a:cubicBezTo>
                <a:cubicBezTo>
                  <a:pt x="411976" y="517189"/>
                  <a:pt x="408003" y="516808"/>
                  <a:pt x="403392" y="516539"/>
                </a:cubicBezTo>
                <a:cubicBezTo>
                  <a:pt x="401207" y="526363"/>
                  <a:pt x="404857" y="534293"/>
                  <a:pt x="407957" y="542045"/>
                </a:cubicBezTo>
                <a:cubicBezTo>
                  <a:pt x="414092" y="557387"/>
                  <a:pt x="423168" y="571042"/>
                  <a:pt x="434134" y="583349"/>
                </a:cubicBezTo>
                <a:cubicBezTo>
                  <a:pt x="464083" y="616959"/>
                  <a:pt x="493980" y="650618"/>
                  <a:pt x="524267" y="683922"/>
                </a:cubicBezTo>
                <a:cubicBezTo>
                  <a:pt x="554818" y="717518"/>
                  <a:pt x="588291" y="748619"/>
                  <a:pt x="614317" y="786085"/>
                </a:cubicBezTo>
                <a:cubicBezTo>
                  <a:pt x="642656" y="826881"/>
                  <a:pt x="663974" y="871159"/>
                  <a:pt x="669590" y="921089"/>
                </a:cubicBezTo>
                <a:cubicBezTo>
                  <a:pt x="674894" y="968240"/>
                  <a:pt x="669774" y="1014226"/>
                  <a:pt x="647360" y="1057245"/>
                </a:cubicBezTo>
                <a:cubicBezTo>
                  <a:pt x="639830" y="1071697"/>
                  <a:pt x="630533" y="1085565"/>
                  <a:pt x="627872" y="1102111"/>
                </a:cubicBezTo>
                <a:cubicBezTo>
                  <a:pt x="623640" y="1128439"/>
                  <a:pt x="626183" y="1153784"/>
                  <a:pt x="642300" y="1175941"/>
                </a:cubicBezTo>
                <a:cubicBezTo>
                  <a:pt x="650201" y="1186801"/>
                  <a:pt x="659595" y="1196636"/>
                  <a:pt x="668829" y="1206449"/>
                </a:cubicBezTo>
                <a:cubicBezTo>
                  <a:pt x="679770" y="1218075"/>
                  <a:pt x="691267" y="1229177"/>
                  <a:pt x="703087" y="1241174"/>
                </a:cubicBezTo>
                <a:moveTo>
                  <a:pt x="648750" y="562343"/>
                </a:moveTo>
                <a:cubicBezTo>
                  <a:pt x="656729" y="562558"/>
                  <a:pt x="664698" y="567407"/>
                  <a:pt x="674049" y="562834"/>
                </a:cubicBezTo>
                <a:cubicBezTo>
                  <a:pt x="668990" y="558037"/>
                  <a:pt x="664729" y="554259"/>
                  <a:pt x="660781" y="550178"/>
                </a:cubicBezTo>
                <a:cubicBezTo>
                  <a:pt x="656713" y="545973"/>
                  <a:pt x="651493" y="542363"/>
                  <a:pt x="650911" y="534051"/>
                </a:cubicBezTo>
                <a:cubicBezTo>
                  <a:pt x="654940" y="535536"/>
                  <a:pt x="657753" y="536907"/>
                  <a:pt x="660724" y="537605"/>
                </a:cubicBezTo>
                <a:cubicBezTo>
                  <a:pt x="669824" y="539743"/>
                  <a:pt x="678915" y="542853"/>
                  <a:pt x="688133" y="543363"/>
                </a:cubicBezTo>
                <a:cubicBezTo>
                  <a:pt x="712019" y="544686"/>
                  <a:pt x="726964" y="534053"/>
                  <a:pt x="731514" y="510767"/>
                </a:cubicBezTo>
                <a:cubicBezTo>
                  <a:pt x="734296" y="496535"/>
                  <a:pt x="734146" y="481511"/>
                  <a:pt x="733611" y="466905"/>
                </a:cubicBezTo>
                <a:cubicBezTo>
                  <a:pt x="732951" y="448863"/>
                  <a:pt x="723348" y="435653"/>
                  <a:pt x="708076" y="425975"/>
                </a:cubicBezTo>
                <a:cubicBezTo>
                  <a:pt x="694258" y="417218"/>
                  <a:pt x="681056" y="407489"/>
                  <a:pt x="667538" y="398254"/>
                </a:cubicBezTo>
                <a:cubicBezTo>
                  <a:pt x="641278" y="380314"/>
                  <a:pt x="617580" y="359743"/>
                  <a:pt x="601016" y="332127"/>
                </a:cubicBezTo>
                <a:cubicBezTo>
                  <a:pt x="588810" y="311778"/>
                  <a:pt x="576093" y="291645"/>
                  <a:pt x="565354" y="270526"/>
                </a:cubicBezTo>
                <a:cubicBezTo>
                  <a:pt x="548401" y="237186"/>
                  <a:pt x="523821" y="212104"/>
                  <a:pt x="490657" y="195121"/>
                </a:cubicBezTo>
                <a:cubicBezTo>
                  <a:pt x="471346" y="185231"/>
                  <a:pt x="452394" y="174606"/>
                  <a:pt x="432834" y="165243"/>
                </a:cubicBezTo>
                <a:cubicBezTo>
                  <a:pt x="416725" y="157532"/>
                  <a:pt x="408325" y="145526"/>
                  <a:pt x="407594" y="127852"/>
                </a:cubicBezTo>
                <a:cubicBezTo>
                  <a:pt x="406783" y="108242"/>
                  <a:pt x="405935" y="88634"/>
                  <a:pt x="405020" y="69029"/>
                </a:cubicBezTo>
                <a:cubicBezTo>
                  <a:pt x="404882" y="66067"/>
                  <a:pt x="404287" y="63127"/>
                  <a:pt x="403638" y="58130"/>
                </a:cubicBezTo>
                <a:cubicBezTo>
                  <a:pt x="381792" y="82321"/>
                  <a:pt x="361650" y="104820"/>
                  <a:pt x="349776" y="133259"/>
                </a:cubicBezTo>
                <a:cubicBezTo>
                  <a:pt x="345032" y="144621"/>
                  <a:pt x="337822" y="153814"/>
                  <a:pt x="326975" y="159669"/>
                </a:cubicBezTo>
                <a:cubicBezTo>
                  <a:pt x="295461" y="176681"/>
                  <a:pt x="266610" y="197333"/>
                  <a:pt x="240374" y="221714"/>
                </a:cubicBezTo>
                <a:cubicBezTo>
                  <a:pt x="212881" y="247263"/>
                  <a:pt x="188313" y="275340"/>
                  <a:pt x="171637" y="309087"/>
                </a:cubicBezTo>
                <a:cubicBezTo>
                  <a:pt x="139180" y="374765"/>
                  <a:pt x="129692" y="444532"/>
                  <a:pt x="138048" y="516954"/>
                </a:cubicBezTo>
                <a:cubicBezTo>
                  <a:pt x="142936" y="559318"/>
                  <a:pt x="152518" y="600762"/>
                  <a:pt x="163889" y="641780"/>
                </a:cubicBezTo>
                <a:cubicBezTo>
                  <a:pt x="177329" y="690261"/>
                  <a:pt x="191989" y="738413"/>
                  <a:pt x="204800" y="787055"/>
                </a:cubicBezTo>
                <a:cubicBezTo>
                  <a:pt x="218820" y="840287"/>
                  <a:pt x="228587" y="894088"/>
                  <a:pt x="218549" y="949545"/>
                </a:cubicBezTo>
                <a:cubicBezTo>
                  <a:pt x="213279" y="978659"/>
                  <a:pt x="207130" y="1007359"/>
                  <a:pt x="191487" y="1033064"/>
                </a:cubicBezTo>
                <a:cubicBezTo>
                  <a:pt x="190499" y="1034686"/>
                  <a:pt x="190018" y="1036618"/>
                  <a:pt x="188729" y="1039835"/>
                </a:cubicBezTo>
                <a:cubicBezTo>
                  <a:pt x="200470" y="1040170"/>
                  <a:pt x="210952" y="1040298"/>
                  <a:pt x="221417" y="1040799"/>
                </a:cubicBezTo>
                <a:cubicBezTo>
                  <a:pt x="263912" y="1042835"/>
                  <a:pt x="306390" y="1046436"/>
                  <a:pt x="348895" y="1046759"/>
                </a:cubicBezTo>
                <a:cubicBezTo>
                  <a:pt x="414380" y="1047258"/>
                  <a:pt x="479896" y="1046092"/>
                  <a:pt x="545369" y="1044456"/>
                </a:cubicBezTo>
                <a:cubicBezTo>
                  <a:pt x="567764" y="1043897"/>
                  <a:pt x="590066" y="1039744"/>
                  <a:pt x="612424" y="1037365"/>
                </a:cubicBezTo>
                <a:cubicBezTo>
                  <a:pt x="617948" y="1036777"/>
                  <a:pt x="621342" y="1034139"/>
                  <a:pt x="623169" y="1028873"/>
                </a:cubicBezTo>
                <a:cubicBezTo>
                  <a:pt x="630975" y="1006370"/>
                  <a:pt x="637026" y="983472"/>
                  <a:pt x="638508" y="959599"/>
                </a:cubicBezTo>
                <a:cubicBezTo>
                  <a:pt x="641131" y="917363"/>
                  <a:pt x="628970" y="878727"/>
                  <a:pt x="609213" y="842075"/>
                </a:cubicBezTo>
                <a:cubicBezTo>
                  <a:pt x="587874" y="802491"/>
                  <a:pt x="559403" y="768169"/>
                  <a:pt x="529367" y="735065"/>
                </a:cubicBezTo>
                <a:cubicBezTo>
                  <a:pt x="487563" y="688992"/>
                  <a:pt x="445474" y="643176"/>
                  <a:pt x="403792" y="596993"/>
                </a:cubicBezTo>
                <a:cubicBezTo>
                  <a:pt x="380393" y="571066"/>
                  <a:pt x="360083" y="542922"/>
                  <a:pt x="344708" y="511366"/>
                </a:cubicBezTo>
                <a:cubicBezTo>
                  <a:pt x="324385" y="469655"/>
                  <a:pt x="317321" y="425966"/>
                  <a:pt x="324464" y="380084"/>
                </a:cubicBezTo>
                <a:cubicBezTo>
                  <a:pt x="324821" y="377789"/>
                  <a:pt x="326581" y="375713"/>
                  <a:pt x="327688" y="373535"/>
                </a:cubicBezTo>
                <a:cubicBezTo>
                  <a:pt x="328570" y="373570"/>
                  <a:pt x="329452" y="373606"/>
                  <a:pt x="330334" y="373641"/>
                </a:cubicBezTo>
                <a:cubicBezTo>
                  <a:pt x="331649" y="377308"/>
                  <a:pt x="333001" y="380963"/>
                  <a:pt x="334272" y="384645"/>
                </a:cubicBezTo>
                <a:cubicBezTo>
                  <a:pt x="342569" y="408660"/>
                  <a:pt x="351164" y="432573"/>
                  <a:pt x="365260" y="453955"/>
                </a:cubicBezTo>
                <a:cubicBezTo>
                  <a:pt x="375537" y="469544"/>
                  <a:pt x="388811" y="481767"/>
                  <a:pt x="408246" y="483592"/>
                </a:cubicBezTo>
                <a:cubicBezTo>
                  <a:pt x="426928" y="485346"/>
                  <a:pt x="445757" y="486037"/>
                  <a:pt x="464529" y="486187"/>
                </a:cubicBezTo>
                <a:cubicBezTo>
                  <a:pt x="480053" y="486311"/>
                  <a:pt x="495582" y="484792"/>
                  <a:pt x="511119" y="484308"/>
                </a:cubicBezTo>
                <a:cubicBezTo>
                  <a:pt x="532443" y="483644"/>
                  <a:pt x="551690" y="490014"/>
                  <a:pt x="567913" y="503736"/>
                </a:cubicBezTo>
                <a:cubicBezTo>
                  <a:pt x="581642" y="515348"/>
                  <a:pt x="594604" y="527888"/>
                  <a:pt x="607611" y="540326"/>
                </a:cubicBezTo>
                <a:cubicBezTo>
                  <a:pt x="618811" y="551038"/>
                  <a:pt x="631177" y="559300"/>
                  <a:pt x="648750" y="562343"/>
                </a:cubicBezTo>
                <a:moveTo>
                  <a:pt x="462594" y="1369008"/>
                </a:moveTo>
                <a:cubicBezTo>
                  <a:pt x="478517" y="1368137"/>
                  <a:pt x="494449" y="1367429"/>
                  <a:pt x="510357" y="1366345"/>
                </a:cubicBezTo>
                <a:cubicBezTo>
                  <a:pt x="523399" y="1365456"/>
                  <a:pt x="536424" y="1364247"/>
                  <a:pt x="549434" y="1362956"/>
                </a:cubicBezTo>
                <a:cubicBezTo>
                  <a:pt x="577089" y="1360213"/>
                  <a:pt x="604749" y="1357503"/>
                  <a:pt x="632369" y="1354439"/>
                </a:cubicBezTo>
                <a:cubicBezTo>
                  <a:pt x="653805" y="1352062"/>
                  <a:pt x="675183" y="1349170"/>
                  <a:pt x="697252" y="1346424"/>
                </a:cubicBezTo>
                <a:cubicBezTo>
                  <a:pt x="701148" y="1316348"/>
                  <a:pt x="695768" y="1289474"/>
                  <a:pt x="676674" y="1266396"/>
                </a:cubicBezTo>
                <a:cubicBezTo>
                  <a:pt x="667313" y="1255080"/>
                  <a:pt x="656878" y="1244625"/>
                  <a:pt x="646594" y="1234108"/>
                </a:cubicBezTo>
                <a:cubicBezTo>
                  <a:pt x="634298" y="1221533"/>
                  <a:pt x="621353" y="1209623"/>
                  <a:pt x="612063" y="1194382"/>
                </a:cubicBezTo>
                <a:cubicBezTo>
                  <a:pt x="596511" y="1168867"/>
                  <a:pt x="588079" y="1141707"/>
                  <a:pt x="591616" y="1111541"/>
                </a:cubicBezTo>
                <a:cubicBezTo>
                  <a:pt x="592450" y="1104432"/>
                  <a:pt x="593365" y="1097332"/>
                  <a:pt x="594320" y="1089609"/>
                </a:cubicBezTo>
                <a:cubicBezTo>
                  <a:pt x="588294" y="1089609"/>
                  <a:pt x="583452" y="1089392"/>
                  <a:pt x="578634" y="1089642"/>
                </a:cubicBezTo>
                <a:cubicBezTo>
                  <a:pt x="533732" y="1091976"/>
                  <a:pt x="488841" y="1094525"/>
                  <a:pt x="443931" y="1096700"/>
                </a:cubicBezTo>
                <a:cubicBezTo>
                  <a:pt x="430451" y="1097353"/>
                  <a:pt x="416923" y="1097005"/>
                  <a:pt x="403417" y="1097156"/>
                </a:cubicBezTo>
                <a:cubicBezTo>
                  <a:pt x="389337" y="1097313"/>
                  <a:pt x="388961" y="1097850"/>
                  <a:pt x="388348" y="1111502"/>
                </a:cubicBezTo>
                <a:cubicBezTo>
                  <a:pt x="387375" y="1133151"/>
                  <a:pt x="386231" y="1154793"/>
                  <a:pt x="385048" y="1176431"/>
                </a:cubicBezTo>
                <a:cubicBezTo>
                  <a:pt x="382637" y="1220514"/>
                  <a:pt x="380158" y="1264593"/>
                  <a:pt x="377687" y="1308672"/>
                </a:cubicBezTo>
                <a:cubicBezTo>
                  <a:pt x="377458" y="1312751"/>
                  <a:pt x="376852" y="1316821"/>
                  <a:pt x="376823" y="1320897"/>
                </a:cubicBezTo>
                <a:cubicBezTo>
                  <a:pt x="376717" y="1335880"/>
                  <a:pt x="376781" y="1350864"/>
                  <a:pt x="376781" y="1366151"/>
                </a:cubicBezTo>
                <a:cubicBezTo>
                  <a:pt x="404707" y="1370397"/>
                  <a:pt x="432477" y="1369351"/>
                  <a:pt x="462594" y="1369008"/>
                </a:cubicBezTo>
                <a:moveTo>
                  <a:pt x="648494" y="1463981"/>
                </a:moveTo>
                <a:cubicBezTo>
                  <a:pt x="671329" y="1460052"/>
                  <a:pt x="694163" y="1456122"/>
                  <a:pt x="718746" y="1451892"/>
                </a:cubicBezTo>
                <a:cubicBezTo>
                  <a:pt x="716257" y="1439067"/>
                  <a:pt x="714578" y="1427816"/>
                  <a:pt x="711827" y="1416835"/>
                </a:cubicBezTo>
                <a:cubicBezTo>
                  <a:pt x="707611" y="1400009"/>
                  <a:pt x="703502" y="1397423"/>
                  <a:pt x="685812" y="1398502"/>
                </a:cubicBezTo>
                <a:cubicBezTo>
                  <a:pt x="684179" y="1398602"/>
                  <a:pt x="682547" y="1398768"/>
                  <a:pt x="680924" y="1398973"/>
                </a:cubicBezTo>
                <a:cubicBezTo>
                  <a:pt x="653380" y="1402446"/>
                  <a:pt x="625911" y="1406752"/>
                  <a:pt x="598278" y="1409218"/>
                </a:cubicBezTo>
                <a:cubicBezTo>
                  <a:pt x="557171" y="1412886"/>
                  <a:pt x="515983" y="1415946"/>
                  <a:pt x="474765" y="1417945"/>
                </a:cubicBezTo>
                <a:cubicBezTo>
                  <a:pt x="444944" y="1419391"/>
                  <a:pt x="415021" y="1418680"/>
                  <a:pt x="385143" y="1418978"/>
                </a:cubicBezTo>
                <a:cubicBezTo>
                  <a:pt x="382419" y="1419005"/>
                  <a:pt x="379697" y="1419376"/>
                  <a:pt x="376639" y="1419613"/>
                </a:cubicBezTo>
                <a:cubicBezTo>
                  <a:pt x="376639" y="1438152"/>
                  <a:pt x="376639" y="1455909"/>
                  <a:pt x="376639" y="1473939"/>
                </a:cubicBezTo>
                <a:cubicBezTo>
                  <a:pt x="378971" y="1474343"/>
                  <a:pt x="380523" y="1474802"/>
                  <a:pt x="382089" y="1474854"/>
                </a:cubicBezTo>
                <a:cubicBezTo>
                  <a:pt x="404571" y="1475605"/>
                  <a:pt x="427058" y="1476986"/>
                  <a:pt x="449536" y="1476855"/>
                </a:cubicBezTo>
                <a:cubicBezTo>
                  <a:pt x="486344" y="1476639"/>
                  <a:pt x="523207" y="1476480"/>
                  <a:pt x="559930" y="1474307"/>
                </a:cubicBezTo>
                <a:cubicBezTo>
                  <a:pt x="588839" y="1472596"/>
                  <a:pt x="617570" y="1467884"/>
                  <a:pt x="648494" y="1463981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34" name="Free-form: Shape 433">
            <a:extLst>
              <a:ext uri="{FF2B5EF4-FFF2-40B4-BE49-F238E27FC236}">
                <a16:creationId xmlns:a16="http://schemas.microsoft.com/office/drawing/2014/main" id="{FE65880C-0EE7-087E-518E-32207ED40835}"/>
              </a:ext>
            </a:extLst>
          </p:cNvPr>
          <p:cNvSpPr/>
          <p:nvPr/>
        </p:nvSpPr>
        <p:spPr>
          <a:xfrm>
            <a:off x="8618651" y="4624191"/>
            <a:ext cx="497702" cy="821885"/>
          </a:xfrm>
          <a:custGeom>
            <a:avLst/>
            <a:gdLst>
              <a:gd name="csX0" fmla="*/ 512604 w 598747"/>
              <a:gd name="csY0" fmla="*/ 503918 h 988745"/>
              <a:gd name="csX1" fmla="*/ 472435 w 598747"/>
              <a:gd name="csY1" fmla="*/ 482196 h 988745"/>
              <a:gd name="csX2" fmla="*/ 432737 w 598747"/>
              <a:gd name="csY2" fmla="*/ 445605 h 988745"/>
              <a:gd name="csX3" fmla="*/ 375943 w 598747"/>
              <a:gd name="csY3" fmla="*/ 426178 h 988745"/>
              <a:gd name="csX4" fmla="*/ 329354 w 598747"/>
              <a:gd name="csY4" fmla="*/ 428057 h 988745"/>
              <a:gd name="csX5" fmla="*/ 273070 w 598747"/>
              <a:gd name="csY5" fmla="*/ 425461 h 988745"/>
              <a:gd name="csX6" fmla="*/ 230084 w 598747"/>
              <a:gd name="csY6" fmla="*/ 395825 h 988745"/>
              <a:gd name="csX7" fmla="*/ 199097 w 598747"/>
              <a:gd name="csY7" fmla="*/ 326515 h 988745"/>
              <a:gd name="csX8" fmla="*/ 195158 w 598747"/>
              <a:gd name="csY8" fmla="*/ 315511 h 988745"/>
              <a:gd name="csX9" fmla="*/ 192512 w 598747"/>
              <a:gd name="csY9" fmla="*/ 315405 h 988745"/>
              <a:gd name="csX10" fmla="*/ 189288 w 598747"/>
              <a:gd name="csY10" fmla="*/ 321954 h 988745"/>
              <a:gd name="csX11" fmla="*/ 209532 w 598747"/>
              <a:gd name="csY11" fmla="*/ 453235 h 988745"/>
              <a:gd name="csX12" fmla="*/ 268616 w 598747"/>
              <a:gd name="csY12" fmla="*/ 538863 h 988745"/>
              <a:gd name="csX13" fmla="*/ 394191 w 598747"/>
              <a:gd name="csY13" fmla="*/ 676935 h 988745"/>
              <a:gd name="csX14" fmla="*/ 474037 w 598747"/>
              <a:gd name="csY14" fmla="*/ 783945 h 988745"/>
              <a:gd name="csX15" fmla="*/ 503332 w 598747"/>
              <a:gd name="csY15" fmla="*/ 901469 h 988745"/>
              <a:gd name="csX16" fmla="*/ 487993 w 598747"/>
              <a:gd name="csY16" fmla="*/ 970743 h 988745"/>
              <a:gd name="csX17" fmla="*/ 477248 w 598747"/>
              <a:gd name="csY17" fmla="*/ 979235 h 988745"/>
              <a:gd name="csX18" fmla="*/ 410194 w 598747"/>
              <a:gd name="csY18" fmla="*/ 986326 h 988745"/>
              <a:gd name="csX19" fmla="*/ 213720 w 598747"/>
              <a:gd name="csY19" fmla="*/ 988629 h 988745"/>
              <a:gd name="csX20" fmla="*/ 86242 w 598747"/>
              <a:gd name="csY20" fmla="*/ 982669 h 988745"/>
              <a:gd name="csX21" fmla="*/ 53553 w 598747"/>
              <a:gd name="csY21" fmla="*/ 981705 h 988745"/>
              <a:gd name="csX22" fmla="*/ 56311 w 598747"/>
              <a:gd name="csY22" fmla="*/ 974933 h 988745"/>
              <a:gd name="csX23" fmla="*/ 83373 w 598747"/>
              <a:gd name="csY23" fmla="*/ 891414 h 988745"/>
              <a:gd name="csX24" fmla="*/ 69625 w 598747"/>
              <a:gd name="csY24" fmla="*/ 728925 h 988745"/>
              <a:gd name="csX25" fmla="*/ 28713 w 598747"/>
              <a:gd name="csY25" fmla="*/ 583650 h 988745"/>
              <a:gd name="csX26" fmla="*/ 2872 w 598747"/>
              <a:gd name="csY26" fmla="*/ 458823 h 988745"/>
              <a:gd name="csX27" fmla="*/ 36461 w 598747"/>
              <a:gd name="csY27" fmla="*/ 250957 h 988745"/>
              <a:gd name="csX28" fmla="*/ 105198 w 598747"/>
              <a:gd name="csY28" fmla="*/ 163584 h 988745"/>
              <a:gd name="csX29" fmla="*/ 191800 w 598747"/>
              <a:gd name="csY29" fmla="*/ 101539 h 988745"/>
              <a:gd name="csX30" fmla="*/ 214600 w 598747"/>
              <a:gd name="csY30" fmla="*/ 75129 h 988745"/>
              <a:gd name="csX31" fmla="*/ 268462 w 598747"/>
              <a:gd name="csY31" fmla="*/ 0 h 988745"/>
              <a:gd name="csX32" fmla="*/ 269844 w 598747"/>
              <a:gd name="csY32" fmla="*/ 10898 h 988745"/>
              <a:gd name="csX33" fmla="*/ 272418 w 598747"/>
              <a:gd name="csY33" fmla="*/ 69722 h 988745"/>
              <a:gd name="csX34" fmla="*/ 297658 w 598747"/>
              <a:gd name="csY34" fmla="*/ 107113 h 988745"/>
              <a:gd name="csX35" fmla="*/ 355481 w 598747"/>
              <a:gd name="csY35" fmla="*/ 136991 h 988745"/>
              <a:gd name="csX36" fmla="*/ 430178 w 598747"/>
              <a:gd name="csY36" fmla="*/ 212396 h 988745"/>
              <a:gd name="csX37" fmla="*/ 465840 w 598747"/>
              <a:gd name="csY37" fmla="*/ 273997 h 988745"/>
              <a:gd name="csX38" fmla="*/ 532362 w 598747"/>
              <a:gd name="csY38" fmla="*/ 340124 h 988745"/>
              <a:gd name="csX39" fmla="*/ 572901 w 598747"/>
              <a:gd name="csY39" fmla="*/ 367845 h 988745"/>
              <a:gd name="csX40" fmla="*/ 598436 w 598747"/>
              <a:gd name="csY40" fmla="*/ 408775 h 988745"/>
              <a:gd name="csX41" fmla="*/ 596339 w 598747"/>
              <a:gd name="csY41" fmla="*/ 452637 h 988745"/>
              <a:gd name="csX42" fmla="*/ 552957 w 598747"/>
              <a:gd name="csY42" fmla="*/ 485233 h 988745"/>
              <a:gd name="csX43" fmla="*/ 525548 w 598747"/>
              <a:gd name="csY43" fmla="*/ 479475 h 988745"/>
              <a:gd name="csX44" fmla="*/ 515736 w 598747"/>
              <a:gd name="csY44" fmla="*/ 475921 h 988745"/>
              <a:gd name="csX45" fmla="*/ 525605 w 598747"/>
              <a:gd name="csY45" fmla="*/ 492048 h 988745"/>
              <a:gd name="csX46" fmla="*/ 538873 w 598747"/>
              <a:gd name="csY46" fmla="*/ 504704 h 988745"/>
              <a:gd name="csX47" fmla="*/ 512604 w 598747"/>
              <a:gd name="csY47" fmla="*/ 503918 h 988745"/>
              <a:gd name="csX48" fmla="*/ 332072 w 598747"/>
              <a:gd name="csY48" fmla="*/ 218143 h 988745"/>
              <a:gd name="csX49" fmla="*/ 334388 w 598747"/>
              <a:gd name="csY49" fmla="*/ 226400 h 988745"/>
              <a:gd name="csX50" fmla="*/ 372370 w 598747"/>
              <a:gd name="csY50" fmla="*/ 254505 h 988745"/>
              <a:gd name="csX51" fmla="*/ 405258 w 598747"/>
              <a:gd name="csY51" fmla="*/ 252089 h 988745"/>
              <a:gd name="csX52" fmla="*/ 409167 w 598747"/>
              <a:gd name="csY52" fmla="*/ 244359 h 988745"/>
              <a:gd name="csX53" fmla="*/ 396364 w 598747"/>
              <a:gd name="csY53" fmla="*/ 219471 h 988745"/>
              <a:gd name="csX54" fmla="*/ 365755 w 598747"/>
              <a:gd name="csY54" fmla="*/ 195821 h 988745"/>
              <a:gd name="csX55" fmla="*/ 333572 w 598747"/>
              <a:gd name="csY55" fmla="*/ 188536 h 988745"/>
              <a:gd name="csX56" fmla="*/ 322931 w 598747"/>
              <a:gd name="csY56" fmla="*/ 190843 h 988745"/>
              <a:gd name="csX57" fmla="*/ 329041 w 598747"/>
              <a:gd name="csY57" fmla="*/ 203001 h 988745"/>
              <a:gd name="csX58" fmla="*/ 332072 w 598747"/>
              <a:gd name="csY58" fmla="*/ 218143 h 98874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</a:cxnLst>
            <a:rect l="l" t="t" r="r" b="b"/>
            <a:pathLst>
              <a:path w="598747" h="988745">
                <a:moveTo>
                  <a:pt x="512604" y="503918"/>
                </a:moveTo>
                <a:cubicBezTo>
                  <a:pt x="496002" y="501170"/>
                  <a:pt x="483635" y="492907"/>
                  <a:pt x="472435" y="482196"/>
                </a:cubicBezTo>
                <a:cubicBezTo>
                  <a:pt x="459429" y="469758"/>
                  <a:pt x="446467" y="457218"/>
                  <a:pt x="432737" y="445605"/>
                </a:cubicBezTo>
                <a:cubicBezTo>
                  <a:pt x="416514" y="431883"/>
                  <a:pt x="397267" y="425513"/>
                  <a:pt x="375943" y="426178"/>
                </a:cubicBezTo>
                <a:cubicBezTo>
                  <a:pt x="360407" y="426662"/>
                  <a:pt x="344877" y="428180"/>
                  <a:pt x="329354" y="428057"/>
                </a:cubicBezTo>
                <a:cubicBezTo>
                  <a:pt x="310581" y="427907"/>
                  <a:pt x="291752" y="427215"/>
                  <a:pt x="273070" y="425461"/>
                </a:cubicBezTo>
                <a:cubicBezTo>
                  <a:pt x="253636" y="423637"/>
                  <a:pt x="240361" y="411413"/>
                  <a:pt x="230084" y="395825"/>
                </a:cubicBezTo>
                <a:cubicBezTo>
                  <a:pt x="215988" y="374443"/>
                  <a:pt x="207393" y="350530"/>
                  <a:pt x="199097" y="326515"/>
                </a:cubicBezTo>
                <a:cubicBezTo>
                  <a:pt x="197825" y="322833"/>
                  <a:pt x="196473" y="319178"/>
                  <a:pt x="195158" y="315511"/>
                </a:cubicBezTo>
                <a:cubicBezTo>
                  <a:pt x="194276" y="315475"/>
                  <a:pt x="193394" y="315440"/>
                  <a:pt x="192512" y="315405"/>
                </a:cubicBezTo>
                <a:cubicBezTo>
                  <a:pt x="191405" y="317583"/>
                  <a:pt x="189646" y="319659"/>
                  <a:pt x="189288" y="321954"/>
                </a:cubicBezTo>
                <a:cubicBezTo>
                  <a:pt x="182145" y="367836"/>
                  <a:pt x="189209" y="411525"/>
                  <a:pt x="209532" y="453235"/>
                </a:cubicBezTo>
                <a:cubicBezTo>
                  <a:pt x="224908" y="484792"/>
                  <a:pt x="245217" y="512936"/>
                  <a:pt x="268616" y="538863"/>
                </a:cubicBezTo>
                <a:cubicBezTo>
                  <a:pt x="310298" y="585046"/>
                  <a:pt x="352387" y="630861"/>
                  <a:pt x="394191" y="676935"/>
                </a:cubicBezTo>
                <a:cubicBezTo>
                  <a:pt x="424227" y="710039"/>
                  <a:pt x="452698" y="744360"/>
                  <a:pt x="474037" y="783945"/>
                </a:cubicBezTo>
                <a:cubicBezTo>
                  <a:pt x="493795" y="820596"/>
                  <a:pt x="505956" y="859233"/>
                  <a:pt x="503332" y="901469"/>
                </a:cubicBezTo>
                <a:cubicBezTo>
                  <a:pt x="501850" y="925342"/>
                  <a:pt x="495799" y="948239"/>
                  <a:pt x="487993" y="970743"/>
                </a:cubicBezTo>
                <a:cubicBezTo>
                  <a:pt x="486166" y="976009"/>
                  <a:pt x="482772" y="978647"/>
                  <a:pt x="477248" y="979235"/>
                </a:cubicBezTo>
                <a:cubicBezTo>
                  <a:pt x="454890" y="981614"/>
                  <a:pt x="432589" y="985767"/>
                  <a:pt x="410194" y="986326"/>
                </a:cubicBezTo>
                <a:cubicBezTo>
                  <a:pt x="344720" y="987961"/>
                  <a:pt x="279205" y="989128"/>
                  <a:pt x="213720" y="988629"/>
                </a:cubicBezTo>
                <a:cubicBezTo>
                  <a:pt x="171215" y="988306"/>
                  <a:pt x="128736" y="984705"/>
                  <a:pt x="86242" y="982669"/>
                </a:cubicBezTo>
                <a:cubicBezTo>
                  <a:pt x="75776" y="982167"/>
                  <a:pt x="65294" y="982040"/>
                  <a:pt x="53553" y="981705"/>
                </a:cubicBezTo>
                <a:cubicBezTo>
                  <a:pt x="54842" y="978488"/>
                  <a:pt x="55323" y="976556"/>
                  <a:pt x="56311" y="974933"/>
                </a:cubicBezTo>
                <a:cubicBezTo>
                  <a:pt x="71955" y="949229"/>
                  <a:pt x="78103" y="920529"/>
                  <a:pt x="83373" y="891414"/>
                </a:cubicBezTo>
                <a:cubicBezTo>
                  <a:pt x="93411" y="835958"/>
                  <a:pt x="83645" y="782156"/>
                  <a:pt x="69625" y="728925"/>
                </a:cubicBezTo>
                <a:cubicBezTo>
                  <a:pt x="56813" y="680283"/>
                  <a:pt x="42153" y="632130"/>
                  <a:pt x="28713" y="583650"/>
                </a:cubicBezTo>
                <a:cubicBezTo>
                  <a:pt x="17342" y="542631"/>
                  <a:pt x="7760" y="501188"/>
                  <a:pt x="2872" y="458823"/>
                </a:cubicBezTo>
                <a:cubicBezTo>
                  <a:pt x="-5484" y="386401"/>
                  <a:pt x="4005" y="316635"/>
                  <a:pt x="36461" y="250957"/>
                </a:cubicBezTo>
                <a:cubicBezTo>
                  <a:pt x="53137" y="217210"/>
                  <a:pt x="77705" y="189133"/>
                  <a:pt x="105198" y="163584"/>
                </a:cubicBezTo>
                <a:cubicBezTo>
                  <a:pt x="131434" y="139203"/>
                  <a:pt x="160285" y="118551"/>
                  <a:pt x="191800" y="101539"/>
                </a:cubicBezTo>
                <a:cubicBezTo>
                  <a:pt x="202646" y="95684"/>
                  <a:pt x="209856" y="86491"/>
                  <a:pt x="214600" y="75129"/>
                </a:cubicBezTo>
                <a:cubicBezTo>
                  <a:pt x="226474" y="46689"/>
                  <a:pt x="246616" y="24191"/>
                  <a:pt x="268462" y="0"/>
                </a:cubicBezTo>
                <a:cubicBezTo>
                  <a:pt x="269111" y="4997"/>
                  <a:pt x="269706" y="7937"/>
                  <a:pt x="269844" y="10898"/>
                </a:cubicBezTo>
                <a:cubicBezTo>
                  <a:pt x="270760" y="30504"/>
                  <a:pt x="271607" y="50112"/>
                  <a:pt x="272418" y="69722"/>
                </a:cubicBezTo>
                <a:cubicBezTo>
                  <a:pt x="273150" y="87396"/>
                  <a:pt x="281549" y="99401"/>
                  <a:pt x="297658" y="107113"/>
                </a:cubicBezTo>
                <a:cubicBezTo>
                  <a:pt x="317218" y="116476"/>
                  <a:pt x="336170" y="127101"/>
                  <a:pt x="355481" y="136991"/>
                </a:cubicBezTo>
                <a:cubicBezTo>
                  <a:pt x="388645" y="153974"/>
                  <a:pt x="413226" y="179056"/>
                  <a:pt x="430178" y="212396"/>
                </a:cubicBezTo>
                <a:cubicBezTo>
                  <a:pt x="440917" y="233515"/>
                  <a:pt x="453634" y="253647"/>
                  <a:pt x="465840" y="273997"/>
                </a:cubicBezTo>
                <a:cubicBezTo>
                  <a:pt x="482404" y="301613"/>
                  <a:pt x="506102" y="322183"/>
                  <a:pt x="532362" y="340124"/>
                </a:cubicBezTo>
                <a:cubicBezTo>
                  <a:pt x="545881" y="349359"/>
                  <a:pt x="559082" y="359088"/>
                  <a:pt x="572901" y="367845"/>
                </a:cubicBezTo>
                <a:cubicBezTo>
                  <a:pt x="588172" y="377523"/>
                  <a:pt x="597775" y="390733"/>
                  <a:pt x="598436" y="408775"/>
                </a:cubicBezTo>
                <a:cubicBezTo>
                  <a:pt x="598970" y="423381"/>
                  <a:pt x="599120" y="438404"/>
                  <a:pt x="596339" y="452637"/>
                </a:cubicBezTo>
                <a:cubicBezTo>
                  <a:pt x="591789" y="475923"/>
                  <a:pt x="576843" y="486555"/>
                  <a:pt x="552957" y="485233"/>
                </a:cubicBezTo>
                <a:cubicBezTo>
                  <a:pt x="543740" y="484722"/>
                  <a:pt x="534648" y="481613"/>
                  <a:pt x="525548" y="479475"/>
                </a:cubicBezTo>
                <a:cubicBezTo>
                  <a:pt x="522577" y="478776"/>
                  <a:pt x="519764" y="477405"/>
                  <a:pt x="515736" y="475921"/>
                </a:cubicBezTo>
                <a:cubicBezTo>
                  <a:pt x="516318" y="484233"/>
                  <a:pt x="521537" y="487842"/>
                  <a:pt x="525605" y="492048"/>
                </a:cubicBezTo>
                <a:cubicBezTo>
                  <a:pt x="529554" y="496129"/>
                  <a:pt x="533815" y="499907"/>
                  <a:pt x="538873" y="504704"/>
                </a:cubicBezTo>
                <a:cubicBezTo>
                  <a:pt x="529522" y="509277"/>
                  <a:pt x="521553" y="504428"/>
                  <a:pt x="512604" y="503918"/>
                </a:cubicBezTo>
                <a:moveTo>
                  <a:pt x="332072" y="218143"/>
                </a:moveTo>
                <a:cubicBezTo>
                  <a:pt x="332837" y="220898"/>
                  <a:pt x="333478" y="223695"/>
                  <a:pt x="334388" y="226400"/>
                </a:cubicBezTo>
                <a:cubicBezTo>
                  <a:pt x="341073" y="246268"/>
                  <a:pt x="351614" y="254460"/>
                  <a:pt x="372370" y="254505"/>
                </a:cubicBezTo>
                <a:cubicBezTo>
                  <a:pt x="383333" y="254529"/>
                  <a:pt x="394312" y="253121"/>
                  <a:pt x="405258" y="252089"/>
                </a:cubicBezTo>
                <a:cubicBezTo>
                  <a:pt x="409961" y="251646"/>
                  <a:pt x="411340" y="248568"/>
                  <a:pt x="409167" y="244359"/>
                </a:cubicBezTo>
                <a:cubicBezTo>
                  <a:pt x="404885" y="236068"/>
                  <a:pt x="400139" y="227985"/>
                  <a:pt x="396364" y="219471"/>
                </a:cubicBezTo>
                <a:cubicBezTo>
                  <a:pt x="390350" y="205908"/>
                  <a:pt x="379963" y="198663"/>
                  <a:pt x="365755" y="195821"/>
                </a:cubicBezTo>
                <a:cubicBezTo>
                  <a:pt x="354973" y="193665"/>
                  <a:pt x="344291" y="191003"/>
                  <a:pt x="333572" y="188536"/>
                </a:cubicBezTo>
                <a:cubicBezTo>
                  <a:pt x="329511" y="187602"/>
                  <a:pt x="325579" y="187007"/>
                  <a:pt x="322931" y="190843"/>
                </a:cubicBezTo>
                <a:cubicBezTo>
                  <a:pt x="325138" y="195129"/>
                  <a:pt x="327613" y="198884"/>
                  <a:pt x="329041" y="203001"/>
                </a:cubicBezTo>
                <a:cubicBezTo>
                  <a:pt x="330500" y="207204"/>
                  <a:pt x="330929" y="211764"/>
                  <a:pt x="332072" y="218143"/>
                </a:cubicBezTo>
                <a:close/>
              </a:path>
            </a:pathLst>
          </a:custGeom>
          <a:solidFill>
            <a:srgbClr val="FEFEFE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35" name="Free-form: Shape 434">
            <a:extLst>
              <a:ext uri="{FF2B5EF4-FFF2-40B4-BE49-F238E27FC236}">
                <a16:creationId xmlns:a16="http://schemas.microsoft.com/office/drawing/2014/main" id="{E5BF2A14-00BE-BA72-E681-13865AA27A1C}"/>
              </a:ext>
            </a:extLst>
          </p:cNvPr>
          <p:cNvSpPr/>
          <p:nvPr/>
        </p:nvSpPr>
        <p:spPr>
          <a:xfrm>
            <a:off x="8819468" y="5481526"/>
            <a:ext cx="267393" cy="232628"/>
          </a:xfrm>
          <a:custGeom>
            <a:avLst/>
            <a:gdLst>
              <a:gd name="csX0" fmla="*/ 84645 w 321679"/>
              <a:gd name="csY0" fmla="*/ 279507 h 279857"/>
              <a:gd name="csX1" fmla="*/ 19 w 321679"/>
              <a:gd name="csY1" fmla="*/ 276629 h 279857"/>
              <a:gd name="csX2" fmla="*/ 61 w 321679"/>
              <a:gd name="csY2" fmla="*/ 231376 h 279857"/>
              <a:gd name="csX3" fmla="*/ 925 w 321679"/>
              <a:gd name="csY3" fmla="*/ 219150 h 279857"/>
              <a:gd name="csX4" fmla="*/ 8286 w 321679"/>
              <a:gd name="csY4" fmla="*/ 86910 h 279857"/>
              <a:gd name="csX5" fmla="*/ 11586 w 321679"/>
              <a:gd name="csY5" fmla="*/ 21981 h 279857"/>
              <a:gd name="csX6" fmla="*/ 26655 w 321679"/>
              <a:gd name="csY6" fmla="*/ 7635 h 279857"/>
              <a:gd name="csX7" fmla="*/ 67169 w 321679"/>
              <a:gd name="csY7" fmla="*/ 7178 h 279857"/>
              <a:gd name="csX8" fmla="*/ 201872 w 321679"/>
              <a:gd name="csY8" fmla="*/ 121 h 279857"/>
              <a:gd name="csX9" fmla="*/ 217558 w 321679"/>
              <a:gd name="csY9" fmla="*/ 87 h 279857"/>
              <a:gd name="csX10" fmla="*/ 214854 w 321679"/>
              <a:gd name="csY10" fmla="*/ 22019 h 279857"/>
              <a:gd name="csX11" fmla="*/ 235301 w 321679"/>
              <a:gd name="csY11" fmla="*/ 104861 h 279857"/>
              <a:gd name="csX12" fmla="*/ 269832 w 321679"/>
              <a:gd name="csY12" fmla="*/ 144587 h 279857"/>
              <a:gd name="csX13" fmla="*/ 299912 w 321679"/>
              <a:gd name="csY13" fmla="*/ 176874 h 279857"/>
              <a:gd name="csX14" fmla="*/ 320491 w 321679"/>
              <a:gd name="csY14" fmla="*/ 256903 h 279857"/>
              <a:gd name="csX15" fmla="*/ 255607 w 321679"/>
              <a:gd name="csY15" fmla="*/ 264918 h 279857"/>
              <a:gd name="csX16" fmla="*/ 172672 w 321679"/>
              <a:gd name="csY16" fmla="*/ 273435 h 279857"/>
              <a:gd name="csX17" fmla="*/ 133595 w 321679"/>
              <a:gd name="csY17" fmla="*/ 276823 h 279857"/>
              <a:gd name="csX18" fmla="*/ 84645 w 321679"/>
              <a:gd name="csY18" fmla="*/ 279507 h 27985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</a:cxnLst>
            <a:rect l="l" t="t" r="r" b="b"/>
            <a:pathLst>
              <a:path w="321679" h="279857">
                <a:moveTo>
                  <a:pt x="84645" y="279507"/>
                </a:moveTo>
                <a:cubicBezTo>
                  <a:pt x="55716" y="279830"/>
                  <a:pt x="27945" y="280875"/>
                  <a:pt x="19" y="276629"/>
                </a:cubicBezTo>
                <a:cubicBezTo>
                  <a:pt x="19" y="261343"/>
                  <a:pt x="-45" y="246359"/>
                  <a:pt x="61" y="231376"/>
                </a:cubicBezTo>
                <a:cubicBezTo>
                  <a:pt x="90" y="227299"/>
                  <a:pt x="696" y="223229"/>
                  <a:pt x="925" y="219150"/>
                </a:cubicBezTo>
                <a:cubicBezTo>
                  <a:pt x="3396" y="175071"/>
                  <a:pt x="5876" y="130992"/>
                  <a:pt x="8286" y="86910"/>
                </a:cubicBezTo>
                <a:cubicBezTo>
                  <a:pt x="9469" y="65271"/>
                  <a:pt x="10613" y="43630"/>
                  <a:pt x="11586" y="21981"/>
                </a:cubicBezTo>
                <a:cubicBezTo>
                  <a:pt x="12199" y="8328"/>
                  <a:pt x="12576" y="7792"/>
                  <a:pt x="26655" y="7635"/>
                </a:cubicBezTo>
                <a:cubicBezTo>
                  <a:pt x="40161" y="7484"/>
                  <a:pt x="53689" y="7831"/>
                  <a:pt x="67169" y="7178"/>
                </a:cubicBezTo>
                <a:cubicBezTo>
                  <a:pt x="112079" y="5004"/>
                  <a:pt x="156970" y="2455"/>
                  <a:pt x="201872" y="121"/>
                </a:cubicBezTo>
                <a:cubicBezTo>
                  <a:pt x="206690" y="-130"/>
                  <a:pt x="211533" y="87"/>
                  <a:pt x="217558" y="87"/>
                </a:cubicBezTo>
                <a:cubicBezTo>
                  <a:pt x="216603" y="7811"/>
                  <a:pt x="215688" y="14910"/>
                  <a:pt x="214854" y="22019"/>
                </a:cubicBezTo>
                <a:cubicBezTo>
                  <a:pt x="211318" y="52185"/>
                  <a:pt x="219749" y="79345"/>
                  <a:pt x="235301" y="104861"/>
                </a:cubicBezTo>
                <a:cubicBezTo>
                  <a:pt x="244591" y="120102"/>
                  <a:pt x="257536" y="132012"/>
                  <a:pt x="269832" y="144587"/>
                </a:cubicBezTo>
                <a:cubicBezTo>
                  <a:pt x="280116" y="155103"/>
                  <a:pt x="290551" y="165559"/>
                  <a:pt x="299912" y="176874"/>
                </a:cubicBezTo>
                <a:cubicBezTo>
                  <a:pt x="319006" y="199953"/>
                  <a:pt x="324386" y="226827"/>
                  <a:pt x="320491" y="256903"/>
                </a:cubicBezTo>
                <a:cubicBezTo>
                  <a:pt x="298421" y="259649"/>
                  <a:pt x="277043" y="262541"/>
                  <a:pt x="255607" y="264918"/>
                </a:cubicBezTo>
                <a:cubicBezTo>
                  <a:pt x="227987" y="267981"/>
                  <a:pt x="200327" y="270692"/>
                  <a:pt x="172672" y="273435"/>
                </a:cubicBezTo>
                <a:cubicBezTo>
                  <a:pt x="159662" y="274725"/>
                  <a:pt x="146637" y="275935"/>
                  <a:pt x="133595" y="276823"/>
                </a:cubicBezTo>
                <a:cubicBezTo>
                  <a:pt x="117688" y="277907"/>
                  <a:pt x="101755" y="278616"/>
                  <a:pt x="84645" y="279507"/>
                </a:cubicBezTo>
                <a:close/>
              </a:path>
            </a:pathLst>
          </a:custGeom>
          <a:solidFill>
            <a:srgbClr val="FDFEFE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36" name="Free-form: Shape 435">
            <a:extLst>
              <a:ext uri="{FF2B5EF4-FFF2-40B4-BE49-F238E27FC236}">
                <a16:creationId xmlns:a16="http://schemas.microsoft.com/office/drawing/2014/main" id="{8F0BCB7F-32C1-6975-2508-93D4E9F2B6C5}"/>
              </a:ext>
            </a:extLst>
          </p:cNvPr>
          <p:cNvSpPr/>
          <p:nvPr/>
        </p:nvSpPr>
        <p:spPr>
          <a:xfrm>
            <a:off x="8819365" y="5738187"/>
            <a:ext cx="284373" cy="65313"/>
          </a:xfrm>
          <a:custGeom>
            <a:avLst/>
            <a:gdLst>
              <a:gd name="csX0" fmla="*/ 270798 w 342106"/>
              <a:gd name="csY0" fmla="*/ 65953 h 78573"/>
              <a:gd name="csX1" fmla="*/ 183290 w 342106"/>
              <a:gd name="csY1" fmla="*/ 76017 h 78573"/>
              <a:gd name="csX2" fmla="*/ 72897 w 342106"/>
              <a:gd name="csY2" fmla="*/ 78565 h 78573"/>
              <a:gd name="csX3" fmla="*/ 5450 w 342106"/>
              <a:gd name="csY3" fmla="*/ 76564 h 78573"/>
              <a:gd name="csX4" fmla="*/ 0 w 342106"/>
              <a:gd name="csY4" fmla="*/ 75649 h 78573"/>
              <a:gd name="csX5" fmla="*/ 0 w 342106"/>
              <a:gd name="csY5" fmla="*/ 21324 h 78573"/>
              <a:gd name="csX6" fmla="*/ 8504 w 342106"/>
              <a:gd name="csY6" fmla="*/ 20688 h 78573"/>
              <a:gd name="csX7" fmla="*/ 98126 w 342106"/>
              <a:gd name="csY7" fmla="*/ 19655 h 78573"/>
              <a:gd name="csX8" fmla="*/ 221639 w 342106"/>
              <a:gd name="csY8" fmla="*/ 10929 h 78573"/>
              <a:gd name="csX9" fmla="*/ 304285 w 342106"/>
              <a:gd name="csY9" fmla="*/ 683 h 78573"/>
              <a:gd name="csX10" fmla="*/ 309173 w 342106"/>
              <a:gd name="csY10" fmla="*/ 212 h 78573"/>
              <a:gd name="csX11" fmla="*/ 335187 w 342106"/>
              <a:gd name="csY11" fmla="*/ 18545 h 78573"/>
              <a:gd name="csX12" fmla="*/ 342106 w 342106"/>
              <a:gd name="csY12" fmla="*/ 53602 h 78573"/>
              <a:gd name="csX13" fmla="*/ 270798 w 342106"/>
              <a:gd name="csY13" fmla="*/ 65953 h 7857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</a:cxnLst>
            <a:rect l="l" t="t" r="r" b="b"/>
            <a:pathLst>
              <a:path w="342106" h="78573">
                <a:moveTo>
                  <a:pt x="270798" y="65953"/>
                </a:moveTo>
                <a:cubicBezTo>
                  <a:pt x="240931" y="69594"/>
                  <a:pt x="212199" y="74306"/>
                  <a:pt x="183290" y="76017"/>
                </a:cubicBezTo>
                <a:cubicBezTo>
                  <a:pt x="146568" y="78191"/>
                  <a:pt x="109704" y="78349"/>
                  <a:pt x="72897" y="78565"/>
                </a:cubicBezTo>
                <a:cubicBezTo>
                  <a:pt x="50419" y="78697"/>
                  <a:pt x="27931" y="77315"/>
                  <a:pt x="5450" y="76564"/>
                </a:cubicBezTo>
                <a:cubicBezTo>
                  <a:pt x="3884" y="76512"/>
                  <a:pt x="2332" y="76053"/>
                  <a:pt x="0" y="75649"/>
                </a:cubicBezTo>
                <a:cubicBezTo>
                  <a:pt x="0" y="57619"/>
                  <a:pt x="0" y="39863"/>
                  <a:pt x="0" y="21324"/>
                </a:cubicBezTo>
                <a:cubicBezTo>
                  <a:pt x="3058" y="21086"/>
                  <a:pt x="5779" y="20715"/>
                  <a:pt x="8504" y="20688"/>
                </a:cubicBezTo>
                <a:cubicBezTo>
                  <a:pt x="38382" y="20390"/>
                  <a:pt x="68305" y="21101"/>
                  <a:pt x="98126" y="19655"/>
                </a:cubicBezTo>
                <a:cubicBezTo>
                  <a:pt x="139343" y="17657"/>
                  <a:pt x="180532" y="14597"/>
                  <a:pt x="221639" y="10929"/>
                </a:cubicBezTo>
                <a:cubicBezTo>
                  <a:pt x="249272" y="8463"/>
                  <a:pt x="276741" y="4156"/>
                  <a:pt x="304285" y="683"/>
                </a:cubicBezTo>
                <a:cubicBezTo>
                  <a:pt x="305908" y="478"/>
                  <a:pt x="307539" y="312"/>
                  <a:pt x="309173" y="212"/>
                </a:cubicBezTo>
                <a:cubicBezTo>
                  <a:pt x="326863" y="-867"/>
                  <a:pt x="330972" y="1719"/>
                  <a:pt x="335187" y="18545"/>
                </a:cubicBezTo>
                <a:cubicBezTo>
                  <a:pt x="337939" y="29526"/>
                  <a:pt x="339618" y="40777"/>
                  <a:pt x="342106" y="53602"/>
                </a:cubicBezTo>
                <a:cubicBezTo>
                  <a:pt x="317523" y="57833"/>
                  <a:pt x="294689" y="61762"/>
                  <a:pt x="270798" y="65953"/>
                </a:cubicBezTo>
                <a:close/>
              </a:path>
            </a:pathLst>
          </a:custGeom>
          <a:solidFill>
            <a:srgbClr val="FCFCFC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37" name="Free-form: Shape 436">
            <a:extLst>
              <a:ext uri="{FF2B5EF4-FFF2-40B4-BE49-F238E27FC236}">
                <a16:creationId xmlns:a16="http://schemas.microsoft.com/office/drawing/2014/main" id="{763DE4C2-A3E9-0BE2-D07F-D4662B082032}"/>
              </a:ext>
            </a:extLst>
          </p:cNvPr>
          <p:cNvSpPr/>
          <p:nvPr/>
        </p:nvSpPr>
        <p:spPr>
          <a:xfrm>
            <a:off x="8887084" y="4780331"/>
            <a:ext cx="72517" cy="55415"/>
          </a:xfrm>
          <a:custGeom>
            <a:avLst/>
            <a:gdLst>
              <a:gd name="csX0" fmla="*/ 9010 w 87239"/>
              <a:gd name="csY0" fmla="*/ 29316 h 66665"/>
              <a:gd name="csX1" fmla="*/ 6110 w 87239"/>
              <a:gd name="csY1" fmla="*/ 15162 h 66665"/>
              <a:gd name="csX2" fmla="*/ 0 w 87239"/>
              <a:gd name="csY2" fmla="*/ 3003 h 66665"/>
              <a:gd name="csX3" fmla="*/ 10641 w 87239"/>
              <a:gd name="csY3" fmla="*/ 697 h 66665"/>
              <a:gd name="csX4" fmla="*/ 42824 w 87239"/>
              <a:gd name="csY4" fmla="*/ 7981 h 66665"/>
              <a:gd name="csX5" fmla="*/ 73433 w 87239"/>
              <a:gd name="csY5" fmla="*/ 31631 h 66665"/>
              <a:gd name="csX6" fmla="*/ 86236 w 87239"/>
              <a:gd name="csY6" fmla="*/ 56519 h 66665"/>
              <a:gd name="csX7" fmla="*/ 82327 w 87239"/>
              <a:gd name="csY7" fmla="*/ 64249 h 66665"/>
              <a:gd name="csX8" fmla="*/ 49439 w 87239"/>
              <a:gd name="csY8" fmla="*/ 66665 h 66665"/>
              <a:gd name="csX9" fmla="*/ 11457 w 87239"/>
              <a:gd name="csY9" fmla="*/ 38560 h 66665"/>
              <a:gd name="csX10" fmla="*/ 9010 w 87239"/>
              <a:gd name="csY10" fmla="*/ 29316 h 6666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</a:cxnLst>
            <a:rect l="l" t="t" r="r" b="b"/>
            <a:pathLst>
              <a:path w="87239" h="66665">
                <a:moveTo>
                  <a:pt x="9010" y="29316"/>
                </a:moveTo>
                <a:cubicBezTo>
                  <a:pt x="7998" y="23924"/>
                  <a:pt x="7568" y="19365"/>
                  <a:pt x="6110" y="15162"/>
                </a:cubicBezTo>
                <a:cubicBezTo>
                  <a:pt x="4682" y="11044"/>
                  <a:pt x="2207" y="7289"/>
                  <a:pt x="0" y="3003"/>
                </a:cubicBezTo>
                <a:cubicBezTo>
                  <a:pt x="2648" y="-833"/>
                  <a:pt x="6580" y="-238"/>
                  <a:pt x="10641" y="697"/>
                </a:cubicBezTo>
                <a:cubicBezTo>
                  <a:pt x="21360" y="3163"/>
                  <a:pt x="32042" y="5825"/>
                  <a:pt x="42824" y="7981"/>
                </a:cubicBezTo>
                <a:cubicBezTo>
                  <a:pt x="57032" y="10823"/>
                  <a:pt x="67419" y="18068"/>
                  <a:pt x="73433" y="31631"/>
                </a:cubicBezTo>
                <a:cubicBezTo>
                  <a:pt x="77208" y="40146"/>
                  <a:pt x="81954" y="48228"/>
                  <a:pt x="86236" y="56519"/>
                </a:cubicBezTo>
                <a:cubicBezTo>
                  <a:pt x="88409" y="60728"/>
                  <a:pt x="87030" y="63806"/>
                  <a:pt x="82327" y="64249"/>
                </a:cubicBezTo>
                <a:cubicBezTo>
                  <a:pt x="71381" y="65282"/>
                  <a:pt x="60402" y="66689"/>
                  <a:pt x="49439" y="66665"/>
                </a:cubicBezTo>
                <a:cubicBezTo>
                  <a:pt x="28683" y="66620"/>
                  <a:pt x="18142" y="58428"/>
                  <a:pt x="11457" y="38560"/>
                </a:cubicBezTo>
                <a:cubicBezTo>
                  <a:pt x="10547" y="35855"/>
                  <a:pt x="9906" y="33058"/>
                  <a:pt x="9010" y="29316"/>
                </a:cubicBezTo>
                <a:close/>
              </a:path>
            </a:pathLst>
          </a:custGeom>
          <a:solidFill>
            <a:srgbClr val="CDD9DF"/>
          </a:solidFill>
          <a:ln w="1227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38" name="Oval 437">
            <a:extLst>
              <a:ext uri="{FF2B5EF4-FFF2-40B4-BE49-F238E27FC236}">
                <a16:creationId xmlns:a16="http://schemas.microsoft.com/office/drawing/2014/main" id="{63690505-5A18-2428-A325-82E728DE8D4D}"/>
              </a:ext>
            </a:extLst>
          </p:cNvPr>
          <p:cNvSpPr/>
          <p:nvPr/>
        </p:nvSpPr>
        <p:spPr>
          <a:xfrm>
            <a:off x="4541495" y="3795707"/>
            <a:ext cx="656485" cy="147620"/>
          </a:xfrm>
          <a:prstGeom prst="ellipse">
            <a:avLst/>
          </a:prstGeom>
          <a:solidFill>
            <a:schemeClr val="tx1">
              <a:alpha val="5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40" name="Oval 439">
            <a:extLst>
              <a:ext uri="{FF2B5EF4-FFF2-40B4-BE49-F238E27FC236}">
                <a16:creationId xmlns:a16="http://schemas.microsoft.com/office/drawing/2014/main" id="{8F165403-4F3D-D21B-7BB1-C6F5E25874E9}"/>
              </a:ext>
            </a:extLst>
          </p:cNvPr>
          <p:cNvSpPr/>
          <p:nvPr/>
        </p:nvSpPr>
        <p:spPr>
          <a:xfrm>
            <a:off x="7974302" y="3965390"/>
            <a:ext cx="722134" cy="162382"/>
          </a:xfrm>
          <a:prstGeom prst="ellipse">
            <a:avLst/>
          </a:prstGeom>
          <a:solidFill>
            <a:schemeClr val="tx1">
              <a:alpha val="5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41" name="Free-form: Shape 440">
            <a:extLst>
              <a:ext uri="{FF2B5EF4-FFF2-40B4-BE49-F238E27FC236}">
                <a16:creationId xmlns:a16="http://schemas.microsoft.com/office/drawing/2014/main" id="{143C5EF9-325A-A9D5-98DB-3DEB1BBF80D7}"/>
              </a:ext>
            </a:extLst>
          </p:cNvPr>
          <p:cNvSpPr/>
          <p:nvPr/>
        </p:nvSpPr>
        <p:spPr>
          <a:xfrm>
            <a:off x="7879725" y="3143382"/>
            <a:ext cx="968436" cy="925784"/>
          </a:xfrm>
          <a:custGeom>
            <a:avLst/>
            <a:gdLst>
              <a:gd name="csX0" fmla="*/ 401579 w 1609516"/>
              <a:gd name="csY0" fmla="*/ 1495809 h 1538630"/>
              <a:gd name="csX1" fmla="*/ 400190 w 1609516"/>
              <a:gd name="csY1" fmla="*/ 1496004 h 1538630"/>
              <a:gd name="csX2" fmla="*/ 401224 w 1609516"/>
              <a:gd name="csY2" fmla="*/ 1496470 h 1538630"/>
              <a:gd name="csX3" fmla="*/ 401224 w 1609516"/>
              <a:gd name="csY3" fmla="*/ 1498590 h 1538630"/>
              <a:gd name="csX4" fmla="*/ 401579 w 1609516"/>
              <a:gd name="csY4" fmla="*/ 1498628 h 1538630"/>
              <a:gd name="csX5" fmla="*/ 401579 w 1609516"/>
              <a:gd name="csY5" fmla="*/ 1495809 h 1538630"/>
              <a:gd name="csX6" fmla="*/ 368755 w 1609516"/>
              <a:gd name="csY6" fmla="*/ 1486512 h 1538630"/>
              <a:gd name="csX7" fmla="*/ 364089 w 1609516"/>
              <a:gd name="csY7" fmla="*/ 1487354 h 1538630"/>
              <a:gd name="csX8" fmla="*/ 364089 w 1609516"/>
              <a:gd name="csY8" fmla="*/ 1487908 h 1538630"/>
              <a:gd name="csX9" fmla="*/ 1049801 w 1609516"/>
              <a:gd name="csY9" fmla="*/ 1484562 h 1538630"/>
              <a:gd name="csX10" fmla="*/ 1046735 w 1609516"/>
              <a:gd name="csY10" fmla="*/ 1485945 h 1538630"/>
              <a:gd name="csX11" fmla="*/ 1046955 w 1609516"/>
              <a:gd name="csY11" fmla="*/ 1486045 h 1538630"/>
              <a:gd name="csX12" fmla="*/ 1049801 w 1609516"/>
              <a:gd name="csY12" fmla="*/ 1485188 h 1538630"/>
              <a:gd name="csX13" fmla="*/ 351234 w 1609516"/>
              <a:gd name="csY13" fmla="*/ 1444508 h 1538630"/>
              <a:gd name="csX14" fmla="*/ 351234 w 1609516"/>
              <a:gd name="csY14" fmla="*/ 1444997 h 1538630"/>
              <a:gd name="csX15" fmla="*/ 351592 w 1609516"/>
              <a:gd name="csY15" fmla="*/ 1445078 h 1538630"/>
              <a:gd name="csX16" fmla="*/ 351908 w 1609516"/>
              <a:gd name="csY16" fmla="*/ 1431206 h 1538630"/>
              <a:gd name="csX17" fmla="*/ 351234 w 1609516"/>
              <a:gd name="csY17" fmla="*/ 1431611 h 1538630"/>
              <a:gd name="csX18" fmla="*/ 351234 w 1609516"/>
              <a:gd name="csY18" fmla="*/ 1432274 h 1538630"/>
              <a:gd name="csX19" fmla="*/ 358162 w 1609516"/>
              <a:gd name="csY19" fmla="*/ 1421494 h 1538630"/>
              <a:gd name="csX20" fmla="*/ 355921 w 1609516"/>
              <a:gd name="csY20" fmla="*/ 1423156 h 1538630"/>
              <a:gd name="csX21" fmla="*/ 355921 w 1609516"/>
              <a:gd name="csY21" fmla="*/ 1423548 h 1538630"/>
              <a:gd name="csX22" fmla="*/ 376098 w 1609516"/>
              <a:gd name="csY22" fmla="*/ 1408347 h 1538630"/>
              <a:gd name="csX23" fmla="*/ 370750 w 1609516"/>
              <a:gd name="csY23" fmla="*/ 1412245 h 1538630"/>
              <a:gd name="csX24" fmla="*/ 375023 w 1609516"/>
              <a:gd name="csY24" fmla="*/ 1411256 h 1538630"/>
              <a:gd name="csX25" fmla="*/ 421956 w 1609516"/>
              <a:gd name="csY25" fmla="*/ 1365623 h 1538630"/>
              <a:gd name="csX26" fmla="*/ 421765 w 1609516"/>
              <a:gd name="csY26" fmla="*/ 1366161 h 1538630"/>
              <a:gd name="csX27" fmla="*/ 421887 w 1609516"/>
              <a:gd name="csY27" fmla="*/ 1366161 h 1538630"/>
              <a:gd name="csX28" fmla="*/ 754553 w 1609516"/>
              <a:gd name="csY28" fmla="*/ 1360575 h 1538630"/>
              <a:gd name="csX29" fmla="*/ 754089 w 1609516"/>
              <a:gd name="csY29" fmla="*/ 1361433 h 1538630"/>
              <a:gd name="csX30" fmla="*/ 754431 w 1609516"/>
              <a:gd name="csY30" fmla="*/ 1361125 h 1538630"/>
              <a:gd name="csX31" fmla="*/ 1277973 w 1609516"/>
              <a:gd name="csY31" fmla="*/ 1332923 h 1538630"/>
              <a:gd name="csX32" fmla="*/ 1277944 w 1609516"/>
              <a:gd name="csY32" fmla="*/ 1332936 h 1538630"/>
              <a:gd name="csX33" fmla="*/ 1277949 w 1609516"/>
              <a:gd name="csY33" fmla="*/ 1333139 h 1538630"/>
              <a:gd name="csX34" fmla="*/ 1268556 w 1609516"/>
              <a:gd name="csY34" fmla="*/ 1321066 h 1538630"/>
              <a:gd name="csX35" fmla="*/ 1268556 w 1609516"/>
              <a:gd name="csY35" fmla="*/ 1325294 h 1538630"/>
              <a:gd name="csX36" fmla="*/ 1265432 w 1609516"/>
              <a:gd name="csY36" fmla="*/ 1325294 h 1538630"/>
              <a:gd name="csX37" fmla="*/ 1265432 w 1609516"/>
              <a:gd name="csY37" fmla="*/ 1340795 h 1538630"/>
              <a:gd name="csX38" fmla="*/ 1265476 w 1609516"/>
              <a:gd name="csY38" fmla="*/ 1340714 h 1538630"/>
              <a:gd name="csX39" fmla="*/ 1265476 w 1609516"/>
              <a:gd name="csY39" fmla="*/ 1325877 h 1538630"/>
              <a:gd name="csX40" fmla="*/ 1268600 w 1609516"/>
              <a:gd name="csY40" fmla="*/ 1325877 h 1538630"/>
              <a:gd name="csX41" fmla="*/ 1268600 w 1609516"/>
              <a:gd name="csY41" fmla="*/ 1321649 h 1538630"/>
              <a:gd name="csX42" fmla="*/ 1273286 w 1609516"/>
              <a:gd name="csY42" fmla="*/ 1321649 h 1538630"/>
              <a:gd name="csX43" fmla="*/ 1273227 w 1609516"/>
              <a:gd name="csY43" fmla="*/ 1321066 h 1538630"/>
              <a:gd name="csX44" fmla="*/ 827891 w 1609516"/>
              <a:gd name="csY44" fmla="*/ 1291474 h 1538630"/>
              <a:gd name="csX45" fmla="*/ 822601 w 1609516"/>
              <a:gd name="csY45" fmla="*/ 1291544 h 1538630"/>
              <a:gd name="csX46" fmla="*/ 818272 w 1609516"/>
              <a:gd name="csY46" fmla="*/ 1292220 h 1538630"/>
              <a:gd name="csX47" fmla="*/ 827891 w 1609516"/>
              <a:gd name="csY47" fmla="*/ 1292047 h 1538630"/>
              <a:gd name="csX48" fmla="*/ 856397 w 1609516"/>
              <a:gd name="csY48" fmla="*/ 1288691 h 1538630"/>
              <a:gd name="csX49" fmla="*/ 865903 w 1609516"/>
              <a:gd name="csY49" fmla="*/ 1290590 h 1538630"/>
              <a:gd name="csX50" fmla="*/ 859999 w 1609516"/>
              <a:gd name="csY50" fmla="*/ 1288752 h 1538630"/>
              <a:gd name="csX51" fmla="*/ 834694 w 1609516"/>
              <a:gd name="csY51" fmla="*/ 1288572 h 1538630"/>
              <a:gd name="csX52" fmla="*/ 828038 w 1609516"/>
              <a:gd name="csY52" fmla="*/ 1288654 h 1538630"/>
              <a:gd name="csX53" fmla="*/ 828038 w 1609516"/>
              <a:gd name="csY53" fmla="*/ 1289214 h 1538630"/>
              <a:gd name="csX54" fmla="*/ 229746 w 1609516"/>
              <a:gd name="csY54" fmla="*/ 1191418 h 1538630"/>
              <a:gd name="csX55" fmla="*/ 227402 w 1609516"/>
              <a:gd name="csY55" fmla="*/ 1191947 h 1538630"/>
              <a:gd name="csX56" fmla="*/ 229315 w 1609516"/>
              <a:gd name="csY56" fmla="*/ 1191947 h 1538630"/>
              <a:gd name="csX57" fmla="*/ 229315 w 1609516"/>
              <a:gd name="csY57" fmla="*/ 1194765 h 1538630"/>
              <a:gd name="csX58" fmla="*/ 231321 w 1609516"/>
              <a:gd name="csY58" fmla="*/ 1194765 h 1538630"/>
              <a:gd name="csX59" fmla="*/ 229746 w 1609516"/>
              <a:gd name="csY59" fmla="*/ 1194236 h 1538630"/>
              <a:gd name="csX60" fmla="*/ 229746 w 1609516"/>
              <a:gd name="csY60" fmla="*/ 1191418 h 1538630"/>
              <a:gd name="csX61" fmla="*/ 215687 w 1609516"/>
              <a:gd name="csY61" fmla="*/ 1187190 h 1538630"/>
              <a:gd name="csX62" fmla="*/ 215198 w 1609516"/>
              <a:gd name="csY62" fmla="*/ 1187720 h 1538630"/>
              <a:gd name="csX63" fmla="*/ 215256 w 1609516"/>
              <a:gd name="csY63" fmla="*/ 1187720 h 1538630"/>
              <a:gd name="csX64" fmla="*/ 215256 w 1609516"/>
              <a:gd name="csY64" fmla="*/ 1191947 h 1538630"/>
              <a:gd name="csX65" fmla="*/ 222721 w 1609516"/>
              <a:gd name="csY65" fmla="*/ 1191947 h 1538630"/>
              <a:gd name="csX66" fmla="*/ 215687 w 1609516"/>
              <a:gd name="csY66" fmla="*/ 1191418 h 1538630"/>
              <a:gd name="csX67" fmla="*/ 215687 w 1609516"/>
              <a:gd name="csY67" fmla="*/ 1187190 h 1538630"/>
              <a:gd name="csX68" fmla="*/ 1279678 w 1609516"/>
              <a:gd name="csY68" fmla="*/ 1082356 h 1538630"/>
              <a:gd name="csX69" fmla="*/ 1271680 w 1609516"/>
              <a:gd name="csY69" fmla="*/ 1084589 h 1538630"/>
              <a:gd name="csX70" fmla="*/ 1282181 w 1609516"/>
              <a:gd name="csY70" fmla="*/ 1082544 h 1538630"/>
              <a:gd name="csX71" fmla="*/ 117703 w 1609516"/>
              <a:gd name="csY71" fmla="*/ 941507 h 1538630"/>
              <a:gd name="csX72" fmla="*/ 112587 w 1609516"/>
              <a:gd name="csY72" fmla="*/ 941985 h 1538630"/>
              <a:gd name="csX73" fmla="*/ 112565 w 1609516"/>
              <a:gd name="csY73" fmla="*/ 942333 h 1538630"/>
              <a:gd name="csX74" fmla="*/ 115665 w 1609516"/>
              <a:gd name="csY74" fmla="*/ 941837 h 1538630"/>
              <a:gd name="csX75" fmla="*/ 144268 w 1609516"/>
              <a:gd name="csY75" fmla="*/ 939395 h 1538630"/>
              <a:gd name="csX76" fmla="*/ 143354 w 1609516"/>
              <a:gd name="csY76" fmla="*/ 939580 h 1538630"/>
              <a:gd name="csX77" fmla="*/ 144077 w 1609516"/>
              <a:gd name="csY77" fmla="*/ 939739 h 1538630"/>
              <a:gd name="csX78" fmla="*/ 162575 w 1609516"/>
              <a:gd name="csY78" fmla="*/ 933530 h 1538630"/>
              <a:gd name="csX79" fmla="*/ 161704 w 1609516"/>
              <a:gd name="csY79" fmla="*/ 935101 h 1538630"/>
              <a:gd name="csX80" fmla="*/ 170045 w 1609516"/>
              <a:gd name="csY80" fmla="*/ 933585 h 1538630"/>
              <a:gd name="csX81" fmla="*/ 1321645 w 1609516"/>
              <a:gd name="csY81" fmla="*/ 918415 h 1538630"/>
              <a:gd name="csX82" fmla="*/ 1321534 w 1609516"/>
              <a:gd name="csY82" fmla="*/ 920177 h 1538630"/>
              <a:gd name="csX83" fmla="*/ 1321740 w 1609516"/>
              <a:gd name="csY83" fmla="*/ 918415 h 1538630"/>
              <a:gd name="csX84" fmla="*/ 1319333 w 1609516"/>
              <a:gd name="csY84" fmla="*/ 915183 h 1538630"/>
              <a:gd name="csX85" fmla="*/ 1318544 w 1609516"/>
              <a:gd name="csY85" fmla="*/ 918029 h 1538630"/>
              <a:gd name="csX86" fmla="*/ 1318702 w 1609516"/>
              <a:gd name="csY86" fmla="*/ 918029 h 1538630"/>
              <a:gd name="csX87" fmla="*/ 1326355 w 1609516"/>
              <a:gd name="csY87" fmla="*/ 907109 h 1538630"/>
              <a:gd name="csX88" fmla="*/ 1326355 w 1609516"/>
              <a:gd name="csY88" fmla="*/ 910983 h 1538630"/>
              <a:gd name="csX89" fmla="*/ 1325831 w 1609516"/>
              <a:gd name="csY89" fmla="*/ 911101 h 1538630"/>
              <a:gd name="csX90" fmla="*/ 1326426 w 1609516"/>
              <a:gd name="csY90" fmla="*/ 911369 h 1538630"/>
              <a:gd name="csX91" fmla="*/ 1326426 w 1609516"/>
              <a:gd name="csY91" fmla="*/ 907141 h 1538630"/>
              <a:gd name="csX92" fmla="*/ 1328144 w 1609516"/>
              <a:gd name="csY92" fmla="*/ 892192 h 1538630"/>
              <a:gd name="csX93" fmla="*/ 1327667 w 1609516"/>
              <a:gd name="csY93" fmla="*/ 893446 h 1538630"/>
              <a:gd name="csX94" fmla="*/ 1327989 w 1609516"/>
              <a:gd name="csY94" fmla="*/ 893049 h 1538630"/>
              <a:gd name="csX95" fmla="*/ 49605 w 1609516"/>
              <a:gd name="csY95" fmla="*/ 887420 h 1538630"/>
              <a:gd name="csX96" fmla="*/ 48549 w 1609516"/>
              <a:gd name="csY96" fmla="*/ 891229 h 1538630"/>
              <a:gd name="csX97" fmla="*/ 49956 w 1609516"/>
              <a:gd name="csY97" fmla="*/ 887420 h 1538630"/>
              <a:gd name="csX98" fmla="*/ 1332266 w 1609516"/>
              <a:gd name="csY98" fmla="*/ 883369 h 1538630"/>
              <a:gd name="csX99" fmla="*/ 1329479 w 1609516"/>
              <a:gd name="csY99" fmla="*/ 884207 h 1538630"/>
              <a:gd name="csX100" fmla="*/ 1329509 w 1609516"/>
              <a:gd name="csY100" fmla="*/ 884816 h 1538630"/>
              <a:gd name="csX101" fmla="*/ 1329551 w 1609516"/>
              <a:gd name="csY101" fmla="*/ 884594 h 1538630"/>
              <a:gd name="csX102" fmla="*/ 1555987 w 1609516"/>
              <a:gd name="csY102" fmla="*/ 821766 h 1538630"/>
              <a:gd name="csX103" fmla="*/ 1555987 w 1609516"/>
              <a:gd name="csY103" fmla="*/ 822201 h 1538630"/>
              <a:gd name="csX104" fmla="*/ 1556081 w 1609516"/>
              <a:gd name="csY104" fmla="*/ 822189 h 1538630"/>
              <a:gd name="csX105" fmla="*/ 1565360 w 1609516"/>
              <a:gd name="csY105" fmla="*/ 810928 h 1538630"/>
              <a:gd name="csX106" fmla="*/ 1564871 w 1609516"/>
              <a:gd name="csY106" fmla="*/ 811809 h 1538630"/>
              <a:gd name="csX107" fmla="*/ 1567314 w 1609516"/>
              <a:gd name="csY107" fmla="*/ 810928 h 1538630"/>
              <a:gd name="csX108" fmla="*/ 1563797 w 1609516"/>
              <a:gd name="csY108" fmla="*/ 810928 h 1538630"/>
              <a:gd name="csX109" fmla="*/ 1556762 w 1609516"/>
              <a:gd name="csY109" fmla="*/ 814736 h 1538630"/>
              <a:gd name="csX110" fmla="*/ 1563797 w 1609516"/>
              <a:gd name="csY110" fmla="*/ 812197 h 1538630"/>
              <a:gd name="csX111" fmla="*/ 265833 w 1609516"/>
              <a:gd name="csY111" fmla="*/ 806020 h 1538630"/>
              <a:gd name="csX112" fmla="*/ 263704 w 1609516"/>
              <a:gd name="csY112" fmla="*/ 809861 h 1538630"/>
              <a:gd name="csX113" fmla="*/ 263704 w 1609516"/>
              <a:gd name="csY113" fmla="*/ 816750 h 1538630"/>
              <a:gd name="csX114" fmla="*/ 264113 w 1609516"/>
              <a:gd name="csY114" fmla="*/ 816565 h 1538630"/>
              <a:gd name="csX115" fmla="*/ 263918 w 1609516"/>
              <a:gd name="csY115" fmla="*/ 812777 h 1538630"/>
              <a:gd name="csX116" fmla="*/ 263774 w 1609516"/>
              <a:gd name="csY116" fmla="*/ 779374 h 1538630"/>
              <a:gd name="csX117" fmla="*/ 263704 w 1609516"/>
              <a:gd name="csY117" fmla="*/ 783086 h 1538630"/>
              <a:gd name="csX118" fmla="*/ 264484 w 1609516"/>
              <a:gd name="csY118" fmla="*/ 785816 h 1538630"/>
              <a:gd name="csX119" fmla="*/ 265265 w 1609516"/>
              <a:gd name="csY119" fmla="*/ 794448 h 1538630"/>
              <a:gd name="csX120" fmla="*/ 265217 w 1609516"/>
              <a:gd name="csY120" fmla="*/ 799730 h 1538630"/>
              <a:gd name="csX121" fmla="*/ 266556 w 1609516"/>
              <a:gd name="csY121" fmla="*/ 803466 h 1538630"/>
              <a:gd name="csX122" fmla="*/ 267237 w 1609516"/>
              <a:gd name="csY122" fmla="*/ 801063 h 1538630"/>
              <a:gd name="csX123" fmla="*/ 265675 w 1609516"/>
              <a:gd name="csY123" fmla="*/ 799654 h 1538630"/>
              <a:gd name="csX124" fmla="*/ 265675 w 1609516"/>
              <a:gd name="csY124" fmla="*/ 793841 h 1538630"/>
              <a:gd name="csX125" fmla="*/ 260988 w 1609516"/>
              <a:gd name="csY125" fmla="*/ 770061 h 1538630"/>
              <a:gd name="csX126" fmla="*/ 260988 w 1609516"/>
              <a:gd name="csY126" fmla="*/ 771364 h 1538630"/>
              <a:gd name="csX127" fmla="*/ 263497 w 1609516"/>
              <a:gd name="csY127" fmla="*/ 777263 h 1538630"/>
              <a:gd name="csX128" fmla="*/ 262551 w 1609516"/>
              <a:gd name="csY128" fmla="*/ 770061 h 1538630"/>
              <a:gd name="csX129" fmla="*/ 260988 w 1609516"/>
              <a:gd name="csY129" fmla="*/ 770061 h 1538630"/>
              <a:gd name="csX130" fmla="*/ 157888 w 1609516"/>
              <a:gd name="csY130" fmla="*/ 651686 h 1538630"/>
              <a:gd name="csX131" fmla="*/ 157415 w 1609516"/>
              <a:gd name="csY131" fmla="*/ 651764 h 1538630"/>
              <a:gd name="csX132" fmla="*/ 160373 w 1609516"/>
              <a:gd name="csY132" fmla="*/ 652274 h 1538630"/>
              <a:gd name="csX133" fmla="*/ 267237 w 1609516"/>
              <a:gd name="csY133" fmla="*/ 426537 h 1538630"/>
              <a:gd name="csX134" fmla="*/ 267237 w 1609516"/>
              <a:gd name="csY134" fmla="*/ 427619 h 1538630"/>
              <a:gd name="csX135" fmla="*/ 270380 w 1609516"/>
              <a:gd name="csY135" fmla="*/ 428137 h 1538630"/>
              <a:gd name="csX136" fmla="*/ 273548 w 1609516"/>
              <a:gd name="csY136" fmla="*/ 428680 h 1538630"/>
              <a:gd name="csX137" fmla="*/ 37605 w 1609516"/>
              <a:gd name="csY137" fmla="*/ 359270 h 1538630"/>
              <a:gd name="csX138" fmla="*/ 37103 w 1609516"/>
              <a:gd name="csY138" fmla="*/ 361533 h 1538630"/>
              <a:gd name="csX139" fmla="*/ 37605 w 1609516"/>
              <a:gd name="csY139" fmla="*/ 361382 h 1538630"/>
              <a:gd name="csX140" fmla="*/ 52477 w 1609516"/>
              <a:gd name="csY140" fmla="*/ 337570 h 1538630"/>
              <a:gd name="csX141" fmla="*/ 47288 w 1609516"/>
              <a:gd name="csY141" fmla="*/ 342340 h 1538630"/>
              <a:gd name="csX142" fmla="*/ 45805 w 1609516"/>
              <a:gd name="csY142" fmla="*/ 345093 h 1538630"/>
              <a:gd name="csX143" fmla="*/ 104291 w 1609516"/>
              <a:gd name="csY143" fmla="*/ 336166 h 1538630"/>
              <a:gd name="csX144" fmla="*/ 103776 w 1609516"/>
              <a:gd name="csY144" fmla="*/ 337559 h 1538630"/>
              <a:gd name="csX145" fmla="*/ 108925 w 1609516"/>
              <a:gd name="csY145" fmla="*/ 336166 h 1538630"/>
              <a:gd name="csX146" fmla="*/ 1309237 w 1609516"/>
              <a:gd name="csY146" fmla="*/ 322954 h 1538630"/>
              <a:gd name="csX147" fmla="*/ 1309180 w 1609516"/>
              <a:gd name="csY147" fmla="*/ 330559 h 1538630"/>
              <a:gd name="csX148" fmla="*/ 1309237 w 1609516"/>
              <a:gd name="csY148" fmla="*/ 330520 h 1538630"/>
              <a:gd name="csX149" fmla="*/ 1308964 w 1609516"/>
              <a:gd name="csY149" fmla="*/ 317715 h 1538630"/>
              <a:gd name="csX150" fmla="*/ 1309237 w 1609516"/>
              <a:gd name="csY150" fmla="*/ 318569 h 1538630"/>
              <a:gd name="csX151" fmla="*/ 1309237 w 1609516"/>
              <a:gd name="csY151" fmla="*/ 317838 h 1538630"/>
              <a:gd name="csX152" fmla="*/ 1310087 w 1609516"/>
              <a:gd name="csY152" fmla="*/ 313153 h 1538630"/>
              <a:gd name="csX153" fmla="*/ 1307609 w 1609516"/>
              <a:gd name="csY153" fmla="*/ 313473 h 1538630"/>
              <a:gd name="csX154" fmla="*/ 1308045 w 1609516"/>
              <a:gd name="csY154" fmla="*/ 314836 h 1538630"/>
              <a:gd name="csX155" fmla="*/ 1318544 w 1609516"/>
              <a:gd name="csY155" fmla="*/ 312064 h 1538630"/>
              <a:gd name="csX156" fmla="*/ 1316298 w 1609516"/>
              <a:gd name="csY156" fmla="*/ 312353 h 1538630"/>
              <a:gd name="csX157" fmla="*/ 1318544 w 1609516"/>
              <a:gd name="csY157" fmla="*/ 312205 h 1538630"/>
              <a:gd name="csX158" fmla="*/ 1084622 w 1609516"/>
              <a:gd name="csY158" fmla="*/ 267674 h 1538630"/>
              <a:gd name="csX159" fmla="*/ 1084227 w 1609516"/>
              <a:gd name="csY159" fmla="*/ 268378 h 1538630"/>
              <a:gd name="csX160" fmla="*/ 1079540 w 1609516"/>
              <a:gd name="csY160" fmla="*/ 268378 h 1538630"/>
              <a:gd name="csX161" fmla="*/ 1079603 w 1609516"/>
              <a:gd name="csY161" fmla="*/ 268477 h 1538630"/>
              <a:gd name="csX162" fmla="*/ 1084192 w 1609516"/>
              <a:gd name="csY162" fmla="*/ 268477 h 1538630"/>
              <a:gd name="csX163" fmla="*/ 956410 w 1609516"/>
              <a:gd name="csY163" fmla="*/ 266968 h 1538630"/>
              <a:gd name="csX164" fmla="*/ 957576 w 1609516"/>
              <a:gd name="csY164" fmla="*/ 267083 h 1538630"/>
              <a:gd name="csX165" fmla="*/ 957576 w 1609516"/>
              <a:gd name="csY165" fmla="*/ 269776 h 1538630"/>
              <a:gd name="csX166" fmla="*/ 957694 w 1609516"/>
              <a:gd name="csY166" fmla="*/ 269787 h 1538630"/>
              <a:gd name="csX167" fmla="*/ 957694 w 1609516"/>
              <a:gd name="csY167" fmla="*/ 266968 h 1538630"/>
              <a:gd name="csX168" fmla="*/ 1089372 w 1609516"/>
              <a:gd name="csY168" fmla="*/ 259220 h 1538630"/>
              <a:gd name="csX169" fmla="*/ 1085856 w 1609516"/>
              <a:gd name="csY169" fmla="*/ 265479 h 1538630"/>
              <a:gd name="csX170" fmla="*/ 1088878 w 1609516"/>
              <a:gd name="csY170" fmla="*/ 261431 h 1538630"/>
              <a:gd name="csX171" fmla="*/ 1018517 w 1609516"/>
              <a:gd name="csY171" fmla="*/ 223356 h 1538630"/>
              <a:gd name="csX172" fmla="*/ 1013866 w 1609516"/>
              <a:gd name="csY172" fmla="*/ 226190 h 1538630"/>
              <a:gd name="csX173" fmla="*/ 1013024 w 1609516"/>
              <a:gd name="csY173" fmla="*/ 227709 h 1538630"/>
              <a:gd name="csX174" fmla="*/ 1017055 w 1609516"/>
              <a:gd name="csY174" fmla="*/ 224692 h 1538630"/>
              <a:gd name="csX175" fmla="*/ 850645 w 1609516"/>
              <a:gd name="csY175" fmla="*/ 220099 h 1538630"/>
              <a:gd name="csX176" fmla="*/ 850897 w 1609516"/>
              <a:gd name="csY176" fmla="*/ 221488 h 1538630"/>
              <a:gd name="csX177" fmla="*/ 851470 w 1609516"/>
              <a:gd name="csY177" fmla="*/ 224692 h 1538630"/>
              <a:gd name="csX178" fmla="*/ 852860 w 1609516"/>
              <a:gd name="csY178" fmla="*/ 224692 h 1538630"/>
              <a:gd name="csX179" fmla="*/ 1155019 w 1609516"/>
              <a:gd name="csY179" fmla="*/ 35 h 1538630"/>
              <a:gd name="csX180" fmla="*/ 1174829 w 1609516"/>
              <a:gd name="csY180" fmla="*/ 4853 h 1538630"/>
              <a:gd name="csX181" fmla="*/ 1179418 w 1609516"/>
              <a:gd name="csY181" fmla="*/ 5998 h 1538630"/>
              <a:gd name="csX182" fmla="*/ 1201385 w 1609516"/>
              <a:gd name="csY182" fmla="*/ 22997 h 1538630"/>
              <a:gd name="csX183" fmla="*/ 1201678 w 1609516"/>
              <a:gd name="csY183" fmla="*/ 62191 h 1538630"/>
              <a:gd name="csX184" fmla="*/ 1198261 w 1609516"/>
              <a:gd name="csY184" fmla="*/ 68268 h 1538630"/>
              <a:gd name="csX185" fmla="*/ 1195723 w 1609516"/>
              <a:gd name="csY185" fmla="*/ 72672 h 1538630"/>
              <a:gd name="csX186" fmla="*/ 1193575 w 1609516"/>
              <a:gd name="csY186" fmla="*/ 75314 h 1538630"/>
              <a:gd name="csX187" fmla="*/ 1190450 w 1609516"/>
              <a:gd name="csY187" fmla="*/ 75314 h 1538630"/>
              <a:gd name="csX188" fmla="*/ 1189474 w 1609516"/>
              <a:gd name="csY188" fmla="*/ 79366 h 1538630"/>
              <a:gd name="csX189" fmla="*/ 1182445 w 1609516"/>
              <a:gd name="csY189" fmla="*/ 85707 h 1538630"/>
              <a:gd name="csX190" fmla="*/ 1177953 w 1609516"/>
              <a:gd name="csY190" fmla="*/ 86588 h 1538630"/>
              <a:gd name="csX191" fmla="*/ 1177953 w 1609516"/>
              <a:gd name="csY191" fmla="*/ 89406 h 1538630"/>
              <a:gd name="csX192" fmla="*/ 1170045 w 1609516"/>
              <a:gd name="csY192" fmla="*/ 94251 h 1538630"/>
              <a:gd name="csX193" fmla="*/ 1143806 w 1609516"/>
              <a:gd name="csY193" fmla="*/ 132828 h 1538630"/>
              <a:gd name="csX194" fmla="*/ 1137338 w 1609516"/>
              <a:gd name="csY194" fmla="*/ 141548 h 1538630"/>
              <a:gd name="csX195" fmla="*/ 1133970 w 1609516"/>
              <a:gd name="csY195" fmla="*/ 149403 h 1538630"/>
              <a:gd name="csX196" fmla="*/ 1127965 w 1609516"/>
              <a:gd name="csY196" fmla="*/ 164095 h 1538630"/>
              <a:gd name="csX197" fmla="*/ 1124762 w 1609516"/>
              <a:gd name="csY197" fmla="*/ 171802 h 1538630"/>
              <a:gd name="csX198" fmla="*/ 1119359 w 1609516"/>
              <a:gd name="csY198" fmla="*/ 184798 h 1538630"/>
              <a:gd name="csX199" fmla="*/ 1111014 w 1609516"/>
              <a:gd name="csY199" fmla="*/ 204941 h 1538630"/>
              <a:gd name="csX200" fmla="*/ 1109729 w 1609516"/>
              <a:gd name="csY200" fmla="*/ 208059 h 1538630"/>
              <a:gd name="csX201" fmla="*/ 1106395 w 1609516"/>
              <a:gd name="csY201" fmla="*/ 216170 h 1538630"/>
              <a:gd name="csX202" fmla="*/ 1102147 w 1609516"/>
              <a:gd name="csY202" fmla="*/ 224810 h 1538630"/>
              <a:gd name="csX203" fmla="*/ 1098261 w 1609516"/>
              <a:gd name="csY203" fmla="*/ 227262 h 1538630"/>
              <a:gd name="csX204" fmla="*/ 1098367 w 1609516"/>
              <a:gd name="csY204" fmla="*/ 238475 h 1538630"/>
              <a:gd name="csX205" fmla="*/ 1097331 w 1609516"/>
              <a:gd name="csY205" fmla="*/ 242358 h 1538630"/>
              <a:gd name="csX206" fmla="*/ 1096201 w 1609516"/>
              <a:gd name="csY206" fmla="*/ 246458 h 1538630"/>
              <a:gd name="csX207" fmla="*/ 1089440 w 1609516"/>
              <a:gd name="csY207" fmla="*/ 279206 h 1538630"/>
              <a:gd name="csX208" fmla="*/ 1087316 w 1609516"/>
              <a:gd name="csY208" fmla="*/ 283978 h 1538630"/>
              <a:gd name="csX209" fmla="*/ 1086822 w 1609516"/>
              <a:gd name="csY209" fmla="*/ 291822 h 1538630"/>
              <a:gd name="csX210" fmla="*/ 1086623 w 1609516"/>
              <a:gd name="csY210" fmla="*/ 296625 h 1538630"/>
              <a:gd name="csX211" fmla="*/ 1086437 w 1609516"/>
              <a:gd name="csY211" fmla="*/ 301681 h 1538630"/>
              <a:gd name="csX212" fmla="*/ 1086233 w 1609516"/>
              <a:gd name="csY212" fmla="*/ 306754 h 1538630"/>
              <a:gd name="csX213" fmla="*/ 1086007 w 1609516"/>
              <a:gd name="csY213" fmla="*/ 312619 h 1538630"/>
              <a:gd name="csX214" fmla="*/ 1087470 w 1609516"/>
              <a:gd name="csY214" fmla="*/ 320554 h 1538630"/>
              <a:gd name="csX215" fmla="*/ 1098285 w 1609516"/>
              <a:gd name="csY215" fmla="*/ 334611 h 1538630"/>
              <a:gd name="csX216" fmla="*/ 1102607 w 1609516"/>
              <a:gd name="csY216" fmla="*/ 337679 h 1538630"/>
              <a:gd name="csX217" fmla="*/ 1106095 w 1609516"/>
              <a:gd name="csY217" fmla="*/ 340248 h 1538630"/>
              <a:gd name="csX218" fmla="*/ 1106095 w 1609516"/>
              <a:gd name="csY218" fmla="*/ 343066 h 1538630"/>
              <a:gd name="csX219" fmla="*/ 1109220 w 1609516"/>
              <a:gd name="csY219" fmla="*/ 343419 h 1538630"/>
              <a:gd name="csX220" fmla="*/ 1126403 w 1609516"/>
              <a:gd name="csY220" fmla="*/ 350112 h 1538630"/>
              <a:gd name="csX221" fmla="*/ 1131871 w 1609516"/>
              <a:gd name="csY221" fmla="*/ 352579 h 1538630"/>
              <a:gd name="csX222" fmla="*/ 1135776 w 1609516"/>
              <a:gd name="csY222" fmla="*/ 354340 h 1538630"/>
              <a:gd name="csX223" fmla="*/ 1135776 w 1609516"/>
              <a:gd name="csY223" fmla="*/ 357158 h 1538630"/>
              <a:gd name="csX224" fmla="*/ 1170143 w 1609516"/>
              <a:gd name="csY224" fmla="*/ 354340 h 1538630"/>
              <a:gd name="csX225" fmla="*/ 1174634 w 1609516"/>
              <a:gd name="csY225" fmla="*/ 352579 h 1538630"/>
              <a:gd name="csX226" fmla="*/ 1190890 w 1609516"/>
              <a:gd name="csY226" fmla="*/ 342907 h 1538630"/>
              <a:gd name="csX227" fmla="*/ 1204021 w 1609516"/>
              <a:gd name="csY227" fmla="*/ 335404 h 1538630"/>
              <a:gd name="csX228" fmla="*/ 1223255 w 1609516"/>
              <a:gd name="csY228" fmla="*/ 319110 h 1538630"/>
              <a:gd name="csX229" fmla="*/ 1226868 w 1609516"/>
              <a:gd name="csY229" fmla="*/ 315587 h 1538630"/>
              <a:gd name="csX230" fmla="*/ 1231859 w 1609516"/>
              <a:gd name="csY230" fmla="*/ 303559 h 1538630"/>
              <a:gd name="csX231" fmla="*/ 1234178 w 1609516"/>
              <a:gd name="csY231" fmla="*/ 298059 h 1538630"/>
              <a:gd name="csX232" fmla="*/ 1237314 w 1609516"/>
              <a:gd name="csY232" fmla="*/ 288195 h 1538630"/>
              <a:gd name="csX233" fmla="*/ 1249811 w 1609516"/>
              <a:gd name="csY233" fmla="*/ 265559 h 1538630"/>
              <a:gd name="csX234" fmla="*/ 1252935 w 1609516"/>
              <a:gd name="csY234" fmla="*/ 265559 h 1538630"/>
              <a:gd name="csX235" fmla="*/ 1252935 w 1609516"/>
              <a:gd name="csY235" fmla="*/ 262741 h 1538630"/>
              <a:gd name="csX236" fmla="*/ 1296675 w 1609516"/>
              <a:gd name="csY236" fmla="*/ 252876 h 1538630"/>
              <a:gd name="csX237" fmla="*/ 1307609 w 1609516"/>
              <a:gd name="csY237" fmla="*/ 255695 h 1538630"/>
              <a:gd name="csX238" fmla="*/ 1307609 w 1609516"/>
              <a:gd name="csY238" fmla="*/ 258513 h 1538630"/>
              <a:gd name="csX239" fmla="*/ 1311887 w 1609516"/>
              <a:gd name="csY239" fmla="*/ 258832 h 1538630"/>
              <a:gd name="csX240" fmla="*/ 1326715 w 1609516"/>
              <a:gd name="csY240" fmla="*/ 269969 h 1538630"/>
              <a:gd name="csX241" fmla="*/ 1334165 w 1609516"/>
              <a:gd name="csY241" fmla="*/ 307836 h 1538630"/>
              <a:gd name="csX242" fmla="*/ 1329479 w 1609516"/>
              <a:gd name="csY242" fmla="*/ 314882 h 1538630"/>
              <a:gd name="csX243" fmla="*/ 1323231 w 1609516"/>
              <a:gd name="csY243" fmla="*/ 314882 h 1538630"/>
              <a:gd name="csX244" fmla="*/ 1323231 w 1609516"/>
              <a:gd name="csY244" fmla="*/ 317700 h 1538630"/>
              <a:gd name="csX245" fmla="*/ 1322774 w 1609516"/>
              <a:gd name="csY245" fmla="*/ 317838 h 1538630"/>
              <a:gd name="csX246" fmla="*/ 1323295 w 1609516"/>
              <a:gd name="csY246" fmla="*/ 317838 h 1538630"/>
              <a:gd name="csX247" fmla="*/ 1323295 w 1609516"/>
              <a:gd name="csY247" fmla="*/ 315019 h 1538630"/>
              <a:gd name="csX248" fmla="*/ 1327982 w 1609516"/>
              <a:gd name="csY248" fmla="*/ 315019 h 1538630"/>
              <a:gd name="csX249" fmla="*/ 1317047 w 1609516"/>
              <a:gd name="csY249" fmla="*/ 327702 h 1538630"/>
              <a:gd name="csX250" fmla="*/ 1315484 w 1609516"/>
              <a:gd name="csY250" fmla="*/ 331930 h 1538630"/>
              <a:gd name="csX251" fmla="*/ 1309139 w 1609516"/>
              <a:gd name="csY251" fmla="*/ 333603 h 1538630"/>
              <a:gd name="csX252" fmla="*/ 1305666 w 1609516"/>
              <a:gd name="csY252" fmla="*/ 334280 h 1538630"/>
              <a:gd name="csX253" fmla="*/ 1302988 w 1609516"/>
              <a:gd name="csY253" fmla="*/ 334748 h 1538630"/>
              <a:gd name="csX254" fmla="*/ 1305905 w 1609516"/>
              <a:gd name="csY254" fmla="*/ 332775 h 1538630"/>
              <a:gd name="csX255" fmla="*/ 1304485 w 1609516"/>
              <a:gd name="csY255" fmla="*/ 333202 h 1538630"/>
              <a:gd name="csX256" fmla="*/ 1301459 w 1609516"/>
              <a:gd name="csY256" fmla="*/ 336108 h 1538630"/>
              <a:gd name="csX257" fmla="*/ 1291989 w 1609516"/>
              <a:gd name="csY257" fmla="*/ 338839 h 1538630"/>
              <a:gd name="csX258" fmla="*/ 1290426 w 1609516"/>
              <a:gd name="csY258" fmla="*/ 343066 h 1538630"/>
              <a:gd name="csX259" fmla="*/ 1285740 w 1609516"/>
              <a:gd name="csY259" fmla="*/ 344123 h 1538630"/>
              <a:gd name="csX260" fmla="*/ 1237314 w 1609516"/>
              <a:gd name="csY260" fmla="*/ 382525 h 1538630"/>
              <a:gd name="csX261" fmla="*/ 1232628 w 1609516"/>
              <a:gd name="csY261" fmla="*/ 392389 h 1538630"/>
              <a:gd name="csX262" fmla="*/ 1228625 w 1609516"/>
              <a:gd name="csY262" fmla="*/ 398731 h 1538630"/>
              <a:gd name="csX263" fmla="*/ 1222822 w 1609516"/>
              <a:gd name="csY263" fmla="*/ 434798 h 1538630"/>
              <a:gd name="csX264" fmla="*/ 1260746 w 1609516"/>
              <a:gd name="csY264" fmla="*/ 485398 h 1538630"/>
              <a:gd name="csX265" fmla="*/ 1268556 w 1609516"/>
              <a:gd name="csY265" fmla="*/ 488216 h 1538630"/>
              <a:gd name="csX266" fmla="*/ 1268556 w 1609516"/>
              <a:gd name="csY266" fmla="*/ 491034 h 1538630"/>
              <a:gd name="csX267" fmla="*/ 1338852 w 1609516"/>
              <a:gd name="csY267" fmla="*/ 489625 h 1538630"/>
              <a:gd name="csX268" fmla="*/ 1347444 w 1609516"/>
              <a:gd name="csY268" fmla="*/ 488480 h 1538630"/>
              <a:gd name="csX269" fmla="*/ 1369362 w 1609516"/>
              <a:gd name="csY269" fmla="*/ 482513 h 1538630"/>
              <a:gd name="csX270" fmla="*/ 1388840 w 1609516"/>
              <a:gd name="csY270" fmla="*/ 478351 h 1538630"/>
              <a:gd name="csX271" fmla="*/ 1388840 w 1609516"/>
              <a:gd name="csY271" fmla="*/ 475533 h 1538630"/>
              <a:gd name="csX272" fmla="*/ 1395576 w 1609516"/>
              <a:gd name="csY272" fmla="*/ 473419 h 1538630"/>
              <a:gd name="csX273" fmla="*/ 1399365 w 1609516"/>
              <a:gd name="csY273" fmla="*/ 472230 h 1538630"/>
              <a:gd name="csX274" fmla="*/ 1407585 w 1609516"/>
              <a:gd name="csY274" fmla="*/ 471305 h 1538630"/>
              <a:gd name="csX275" fmla="*/ 1409147 w 1609516"/>
              <a:gd name="csY275" fmla="*/ 467078 h 1538630"/>
              <a:gd name="csX276" fmla="*/ 1416470 w 1609516"/>
              <a:gd name="csY276" fmla="*/ 464259 h 1538630"/>
              <a:gd name="csX277" fmla="*/ 1437949 w 1609516"/>
              <a:gd name="csY277" fmla="*/ 455011 h 1538630"/>
              <a:gd name="csX278" fmla="*/ 1452887 w 1609516"/>
              <a:gd name="csY278" fmla="*/ 450167 h 1538630"/>
              <a:gd name="csX279" fmla="*/ 1452887 w 1609516"/>
              <a:gd name="csY279" fmla="*/ 447349 h 1538630"/>
              <a:gd name="csX280" fmla="*/ 1455394 w 1609516"/>
              <a:gd name="csY280" fmla="*/ 446122 h 1538630"/>
              <a:gd name="csX281" fmla="*/ 1466653 w 1609516"/>
              <a:gd name="csY281" fmla="*/ 440567 h 1538630"/>
              <a:gd name="csX282" fmla="*/ 1470598 w 1609516"/>
              <a:gd name="csY282" fmla="*/ 438637 h 1538630"/>
              <a:gd name="csX283" fmla="*/ 1474397 w 1609516"/>
              <a:gd name="csY283" fmla="*/ 436752 h 1538630"/>
              <a:gd name="csX284" fmla="*/ 1477892 w 1609516"/>
              <a:gd name="csY284" fmla="*/ 435030 h 1538630"/>
              <a:gd name="csX285" fmla="*/ 1485691 w 1609516"/>
              <a:gd name="csY285" fmla="*/ 429029 h 1538630"/>
              <a:gd name="csX286" fmla="*/ 1488858 w 1609516"/>
              <a:gd name="csY286" fmla="*/ 427653 h 1538630"/>
              <a:gd name="csX287" fmla="*/ 1495943 w 1609516"/>
              <a:gd name="csY287" fmla="*/ 421454 h 1538630"/>
              <a:gd name="csX288" fmla="*/ 1538608 w 1609516"/>
              <a:gd name="csY288" fmla="*/ 388338 h 1538630"/>
              <a:gd name="csX289" fmla="*/ 1543490 w 1609516"/>
              <a:gd name="csY289" fmla="*/ 388161 h 1538630"/>
              <a:gd name="csX290" fmla="*/ 1547621 w 1609516"/>
              <a:gd name="csY290" fmla="*/ 387804 h 1538630"/>
              <a:gd name="csX291" fmla="*/ 1579418 w 1609516"/>
              <a:gd name="csY291" fmla="*/ 396617 h 1538630"/>
              <a:gd name="csX292" fmla="*/ 1583342 w 1609516"/>
              <a:gd name="csY292" fmla="*/ 398780 h 1538630"/>
              <a:gd name="csX293" fmla="*/ 1601288 w 1609516"/>
              <a:gd name="csY293" fmla="*/ 423392 h 1538630"/>
              <a:gd name="csX294" fmla="*/ 1594484 w 1609516"/>
              <a:gd name="csY294" fmla="*/ 460159 h 1538630"/>
              <a:gd name="csX295" fmla="*/ 1574732 w 1609516"/>
              <a:gd name="csY295" fmla="*/ 475533 h 1538630"/>
              <a:gd name="csX296" fmla="*/ 1572097 w 1609516"/>
              <a:gd name="csY296" fmla="*/ 477078 h 1538630"/>
              <a:gd name="csX297" fmla="*/ 1556066 w 1609516"/>
              <a:gd name="csY297" fmla="*/ 478737 h 1538630"/>
              <a:gd name="csX298" fmla="*/ 1548631 w 1609516"/>
              <a:gd name="csY298" fmla="*/ 478825 h 1538630"/>
              <a:gd name="csX299" fmla="*/ 1536991 w 1609516"/>
              <a:gd name="csY299" fmla="*/ 478889 h 1538630"/>
              <a:gd name="csX300" fmla="*/ 1498188 w 1609516"/>
              <a:gd name="csY300" fmla="*/ 485398 h 1538630"/>
              <a:gd name="csX301" fmla="*/ 1493892 w 1609516"/>
              <a:gd name="csY301" fmla="*/ 487600 h 1538630"/>
              <a:gd name="csX302" fmla="*/ 1490377 w 1609516"/>
              <a:gd name="csY302" fmla="*/ 489625 h 1538630"/>
              <a:gd name="csX303" fmla="*/ 1471650 w 1609516"/>
              <a:gd name="csY303" fmla="*/ 498185 h 1538630"/>
              <a:gd name="csX304" fmla="*/ 1459135 w 1609516"/>
              <a:gd name="csY304" fmla="*/ 505127 h 1538630"/>
              <a:gd name="csX305" fmla="*/ 1452594 w 1609516"/>
              <a:gd name="csY305" fmla="*/ 508033 h 1538630"/>
              <a:gd name="csX306" fmla="*/ 1427795 w 1609516"/>
              <a:gd name="csY306" fmla="*/ 520100 h 1538630"/>
              <a:gd name="csX307" fmla="*/ 1423733 w 1609516"/>
              <a:gd name="csY307" fmla="*/ 522148 h 1538630"/>
              <a:gd name="csX308" fmla="*/ 1419929 w 1609516"/>
              <a:gd name="csY308" fmla="*/ 524118 h 1538630"/>
              <a:gd name="csX309" fmla="*/ 1416487 w 1609516"/>
              <a:gd name="csY309" fmla="*/ 525883 h 1538630"/>
              <a:gd name="csX310" fmla="*/ 1412271 w 1609516"/>
              <a:gd name="csY310" fmla="*/ 531902 h 1538630"/>
              <a:gd name="csX311" fmla="*/ 1396650 w 1609516"/>
              <a:gd name="csY311" fmla="*/ 537539 h 1538630"/>
              <a:gd name="csX312" fmla="*/ 1396650 w 1609516"/>
              <a:gd name="csY312" fmla="*/ 540357 h 1538630"/>
              <a:gd name="csX313" fmla="*/ 1393495 w 1609516"/>
              <a:gd name="csY313" fmla="*/ 541502 h 1538630"/>
              <a:gd name="csX314" fmla="*/ 1362284 w 1609516"/>
              <a:gd name="csY314" fmla="*/ 558678 h 1538630"/>
              <a:gd name="csX315" fmla="*/ 1355937 w 1609516"/>
              <a:gd name="csY315" fmla="*/ 562905 h 1538630"/>
              <a:gd name="csX316" fmla="*/ 1334165 w 1609516"/>
              <a:gd name="csY316" fmla="*/ 578406 h 1538630"/>
              <a:gd name="csX317" fmla="*/ 1331200 w 1609516"/>
              <a:gd name="csY317" fmla="*/ 580559 h 1538630"/>
              <a:gd name="csX318" fmla="*/ 1322175 w 1609516"/>
              <a:gd name="csY318" fmla="*/ 596793 h 1538630"/>
              <a:gd name="csX319" fmla="*/ 1320106 w 1609516"/>
              <a:gd name="csY319" fmla="*/ 602363 h 1538630"/>
              <a:gd name="csX320" fmla="*/ 1328015 w 1609516"/>
              <a:gd name="csY320" fmla="*/ 647640 h 1538630"/>
              <a:gd name="csX321" fmla="*/ 1332604 w 1609516"/>
              <a:gd name="csY321" fmla="*/ 675643 h 1538630"/>
              <a:gd name="csX322" fmla="*/ 1335727 w 1609516"/>
              <a:gd name="csY322" fmla="*/ 675643 h 1538630"/>
              <a:gd name="csX323" fmla="*/ 1337741 w 1609516"/>
              <a:gd name="csY323" fmla="*/ 690059 h 1538630"/>
              <a:gd name="csX324" fmla="*/ 1338003 w 1609516"/>
              <a:gd name="csY324" fmla="*/ 696222 h 1538630"/>
              <a:gd name="csX325" fmla="*/ 1338340 w 1609516"/>
              <a:gd name="csY325" fmla="*/ 705887 h 1538630"/>
              <a:gd name="csX326" fmla="*/ 1345277 w 1609516"/>
              <a:gd name="csY326" fmla="*/ 733245 h 1538630"/>
              <a:gd name="csX327" fmla="*/ 1363162 w 1609516"/>
              <a:gd name="csY327" fmla="*/ 741612 h 1538630"/>
              <a:gd name="csX328" fmla="*/ 1384154 w 1609516"/>
              <a:gd name="csY328" fmla="*/ 748922 h 1538630"/>
              <a:gd name="csX329" fmla="*/ 1391476 w 1609516"/>
              <a:gd name="csY329" fmla="*/ 750419 h 1538630"/>
              <a:gd name="csX330" fmla="*/ 1395564 w 1609516"/>
              <a:gd name="csY330" fmla="*/ 751080 h 1538630"/>
              <a:gd name="csX331" fmla="*/ 1399775 w 1609516"/>
              <a:gd name="csY331" fmla="*/ 751740 h 1538630"/>
              <a:gd name="csX332" fmla="*/ 1403887 w 1609516"/>
              <a:gd name="csY332" fmla="*/ 752489 h 1538630"/>
              <a:gd name="csX333" fmla="*/ 1465383 w 1609516"/>
              <a:gd name="csY333" fmla="*/ 755969 h 1538630"/>
              <a:gd name="csX334" fmla="*/ 1470339 w 1609516"/>
              <a:gd name="csY334" fmla="*/ 755897 h 1538630"/>
              <a:gd name="csX335" fmla="*/ 1496809 w 1609516"/>
              <a:gd name="csY335" fmla="*/ 749313 h 1538630"/>
              <a:gd name="csX336" fmla="*/ 1515371 w 1609516"/>
              <a:gd name="csY336" fmla="*/ 743285 h 1538630"/>
              <a:gd name="csX337" fmla="*/ 1515371 w 1609516"/>
              <a:gd name="csY337" fmla="*/ 740467 h 1538630"/>
              <a:gd name="csX338" fmla="*/ 1537632 w 1609516"/>
              <a:gd name="csY338" fmla="*/ 737120 h 1538630"/>
              <a:gd name="csX339" fmla="*/ 1541657 w 1609516"/>
              <a:gd name="csY339" fmla="*/ 737127 h 1538630"/>
              <a:gd name="csX340" fmla="*/ 1574732 w 1609516"/>
              <a:gd name="csY340" fmla="*/ 748922 h 1538630"/>
              <a:gd name="csX341" fmla="*/ 1588791 w 1609516"/>
              <a:gd name="csY341" fmla="*/ 792608 h 1538630"/>
              <a:gd name="csX342" fmla="*/ 1584105 w 1609516"/>
              <a:gd name="csY342" fmla="*/ 805291 h 1538630"/>
              <a:gd name="csX343" fmla="*/ 1580981 w 1609516"/>
              <a:gd name="csY343" fmla="*/ 806700 h 1538630"/>
              <a:gd name="csX344" fmla="*/ 1578735 w 1609516"/>
              <a:gd name="csY344" fmla="*/ 810311 h 1538630"/>
              <a:gd name="csX345" fmla="*/ 1576295 w 1609516"/>
              <a:gd name="csY345" fmla="*/ 813746 h 1538630"/>
              <a:gd name="csX346" fmla="*/ 1571652 w 1609516"/>
              <a:gd name="csY346" fmla="*/ 813746 h 1538630"/>
              <a:gd name="csX347" fmla="*/ 1571785 w 1609516"/>
              <a:gd name="csY347" fmla="*/ 814106 h 1538630"/>
              <a:gd name="csX348" fmla="*/ 1574909 w 1609516"/>
              <a:gd name="csY348" fmla="*/ 815515 h 1538630"/>
              <a:gd name="csX349" fmla="*/ 1565463 w 1609516"/>
              <a:gd name="csY349" fmla="*/ 821839 h 1538630"/>
              <a:gd name="csX350" fmla="*/ 1562085 w 1609516"/>
              <a:gd name="csY350" fmla="*/ 822101 h 1538630"/>
              <a:gd name="csX351" fmla="*/ 1551301 w 1609516"/>
              <a:gd name="csY351" fmla="*/ 825020 h 1538630"/>
              <a:gd name="csX352" fmla="*/ 1551301 w 1609516"/>
              <a:gd name="csY352" fmla="*/ 827838 h 1538630"/>
              <a:gd name="csX353" fmla="*/ 1485380 w 1609516"/>
              <a:gd name="csY353" fmla="*/ 815007 h 1538630"/>
              <a:gd name="csX354" fmla="*/ 1431603 w 1609516"/>
              <a:gd name="csY354" fmla="*/ 808726 h 1538630"/>
              <a:gd name="csX355" fmla="*/ 1424140 w 1609516"/>
              <a:gd name="csY355" fmla="*/ 808542 h 1538630"/>
              <a:gd name="csX356" fmla="*/ 1406023 w 1609516"/>
              <a:gd name="csY356" fmla="*/ 808109 h 1538630"/>
              <a:gd name="csX357" fmla="*/ 1406023 w 1609516"/>
              <a:gd name="csY357" fmla="*/ 810928 h 1538630"/>
              <a:gd name="csX358" fmla="*/ 1403383 w 1609516"/>
              <a:gd name="csY358" fmla="*/ 811311 h 1538630"/>
              <a:gd name="csX359" fmla="*/ 1345442 w 1609516"/>
              <a:gd name="csY359" fmla="*/ 828907 h 1538630"/>
              <a:gd name="csX360" fmla="*/ 1337875 w 1609516"/>
              <a:gd name="csY360" fmla="*/ 856639 h 1538630"/>
              <a:gd name="csX361" fmla="*/ 1337692 w 1609516"/>
              <a:gd name="csY361" fmla="*/ 860171 h 1538630"/>
              <a:gd name="csX362" fmla="*/ 1337290 w 1609516"/>
              <a:gd name="csY362" fmla="*/ 868706 h 1538630"/>
              <a:gd name="csX363" fmla="*/ 1334165 w 1609516"/>
              <a:gd name="csY363" fmla="*/ 868706 h 1538630"/>
              <a:gd name="csX364" fmla="*/ 1334165 w 1609516"/>
              <a:gd name="csY364" fmla="*/ 870034 h 1538630"/>
              <a:gd name="csX365" fmla="*/ 1334237 w 1609516"/>
              <a:gd name="csY365" fmla="*/ 869093 h 1538630"/>
              <a:gd name="csX366" fmla="*/ 1335800 w 1609516"/>
              <a:gd name="csY366" fmla="*/ 869093 h 1538630"/>
              <a:gd name="csX367" fmla="*/ 1335995 w 1609516"/>
              <a:gd name="csY367" fmla="*/ 876491 h 1538630"/>
              <a:gd name="csX368" fmla="*/ 1336105 w 1609516"/>
              <a:gd name="csY368" fmla="*/ 880653 h 1538630"/>
              <a:gd name="csX369" fmla="*/ 1334294 w 1609516"/>
              <a:gd name="csY369" fmla="*/ 887271 h 1538630"/>
              <a:gd name="csX370" fmla="*/ 1331455 w 1609516"/>
              <a:gd name="csY370" fmla="*/ 896440 h 1538630"/>
              <a:gd name="csX371" fmla="*/ 1330887 w 1609516"/>
              <a:gd name="csY371" fmla="*/ 899969 h 1538630"/>
              <a:gd name="csX372" fmla="*/ 1330332 w 1609516"/>
              <a:gd name="csY372" fmla="*/ 903618 h 1538630"/>
              <a:gd name="csX373" fmla="*/ 1329209 w 1609516"/>
              <a:gd name="csY373" fmla="*/ 910797 h 1538630"/>
              <a:gd name="csX374" fmla="*/ 1328724 w 1609516"/>
              <a:gd name="csY374" fmla="*/ 913998 h 1538630"/>
              <a:gd name="csX375" fmla="*/ 1324865 w 1609516"/>
              <a:gd name="csY375" fmla="*/ 922643 h 1538630"/>
              <a:gd name="csX376" fmla="*/ 1322619 w 1609516"/>
              <a:gd name="csY376" fmla="*/ 937979 h 1538630"/>
              <a:gd name="csX377" fmla="*/ 1318744 w 1609516"/>
              <a:gd name="csY377" fmla="*/ 944961 h 1538630"/>
              <a:gd name="csX378" fmla="*/ 1318544 w 1609516"/>
              <a:gd name="csY378" fmla="*/ 946213 h 1538630"/>
              <a:gd name="csX379" fmla="*/ 1318251 w 1609516"/>
              <a:gd name="csY379" fmla="*/ 955285 h 1538630"/>
              <a:gd name="csX380" fmla="*/ 1318184 w 1609516"/>
              <a:gd name="csY380" fmla="*/ 960036 h 1538630"/>
              <a:gd name="csX381" fmla="*/ 1324024 w 1609516"/>
              <a:gd name="csY381" fmla="*/ 973660 h 1538630"/>
              <a:gd name="csX382" fmla="*/ 1329284 w 1609516"/>
              <a:gd name="csY382" fmla="*/ 983382 h 1538630"/>
              <a:gd name="csX383" fmla="*/ 1340414 w 1609516"/>
              <a:gd name="csY383" fmla="*/ 998354 h 1538630"/>
              <a:gd name="csX384" fmla="*/ 1346272 w 1609516"/>
              <a:gd name="csY384" fmla="*/ 1005048 h 1538630"/>
              <a:gd name="csX385" fmla="*/ 1394716 w 1609516"/>
              <a:gd name="csY385" fmla="*/ 1042740 h 1538630"/>
              <a:gd name="csX386" fmla="*/ 1401953 w 1609516"/>
              <a:gd name="csY386" fmla="*/ 1047374 h 1538630"/>
              <a:gd name="csX387" fmla="*/ 1427197 w 1609516"/>
              <a:gd name="csY387" fmla="*/ 1059061 h 1538630"/>
              <a:gd name="csX388" fmla="*/ 1437265 w 1609516"/>
              <a:gd name="csY388" fmla="*/ 1064588 h 1538630"/>
              <a:gd name="csX389" fmla="*/ 1437265 w 1609516"/>
              <a:gd name="csY389" fmla="*/ 1067406 h 1538630"/>
              <a:gd name="csX390" fmla="*/ 1440878 w 1609516"/>
              <a:gd name="csY390" fmla="*/ 1067847 h 1538630"/>
              <a:gd name="csX391" fmla="*/ 1447175 w 1609516"/>
              <a:gd name="csY391" fmla="*/ 1070753 h 1538630"/>
              <a:gd name="csX392" fmla="*/ 1457866 w 1609516"/>
              <a:gd name="csY392" fmla="*/ 1076830 h 1538630"/>
              <a:gd name="csX393" fmla="*/ 1462132 w 1609516"/>
              <a:gd name="csY393" fmla="*/ 1078696 h 1538630"/>
              <a:gd name="csX394" fmla="*/ 1465383 w 1609516"/>
              <a:gd name="csY394" fmla="*/ 1080089 h 1538630"/>
              <a:gd name="csX395" fmla="*/ 1465383 w 1609516"/>
              <a:gd name="csY395" fmla="*/ 1082908 h 1538630"/>
              <a:gd name="csX396" fmla="*/ 1468758 w 1609516"/>
              <a:gd name="csY396" fmla="*/ 1083975 h 1538630"/>
              <a:gd name="csX397" fmla="*/ 1481688 w 1609516"/>
              <a:gd name="csY397" fmla="*/ 1091187 h 1538630"/>
              <a:gd name="csX398" fmla="*/ 1486283 w 1609516"/>
              <a:gd name="csY398" fmla="*/ 1094236 h 1538630"/>
              <a:gd name="csX399" fmla="*/ 1494869 w 1609516"/>
              <a:gd name="csY399" fmla="*/ 1100171 h 1538630"/>
              <a:gd name="csX400" fmla="*/ 1544335 w 1609516"/>
              <a:gd name="csY400" fmla="*/ 1109518 h 1538630"/>
              <a:gd name="csX401" fmla="*/ 1593477 w 1609516"/>
              <a:gd name="csY401" fmla="*/ 1119900 h 1538630"/>
              <a:gd name="csX402" fmla="*/ 1605975 w 1609516"/>
              <a:gd name="csY402" fmla="*/ 1144913 h 1538630"/>
              <a:gd name="csX403" fmla="*/ 1609099 w 1609516"/>
              <a:gd name="csY403" fmla="*/ 1144913 h 1538630"/>
              <a:gd name="csX404" fmla="*/ 1609392 w 1609516"/>
              <a:gd name="csY404" fmla="*/ 1156892 h 1538630"/>
              <a:gd name="csX405" fmla="*/ 1609511 w 1609516"/>
              <a:gd name="csY405" fmla="*/ 1160272 h 1538630"/>
              <a:gd name="csX406" fmla="*/ 1604412 w 1609516"/>
              <a:gd name="csY406" fmla="*/ 1181553 h 1538630"/>
              <a:gd name="csX407" fmla="*/ 1601288 w 1609516"/>
              <a:gd name="csY407" fmla="*/ 1190009 h 1538630"/>
              <a:gd name="csX408" fmla="*/ 1598164 w 1609516"/>
              <a:gd name="csY408" fmla="*/ 1190009 h 1538630"/>
              <a:gd name="csX409" fmla="*/ 1597187 w 1609516"/>
              <a:gd name="csY409" fmla="*/ 1192739 h 1538630"/>
              <a:gd name="csX410" fmla="*/ 1595040 w 1609516"/>
              <a:gd name="csY410" fmla="*/ 1195645 h 1538630"/>
              <a:gd name="csX411" fmla="*/ 1585667 w 1609516"/>
              <a:gd name="csY411" fmla="*/ 1197055 h 1538630"/>
              <a:gd name="csX412" fmla="*/ 1582543 w 1609516"/>
              <a:gd name="csY412" fmla="*/ 1202691 h 1538630"/>
              <a:gd name="csX413" fmla="*/ 1562431 w 1609516"/>
              <a:gd name="csY413" fmla="*/ 1204365 h 1538630"/>
              <a:gd name="csX414" fmla="*/ 1558690 w 1609516"/>
              <a:gd name="csY414" fmla="*/ 1204417 h 1538630"/>
              <a:gd name="csX415" fmla="*/ 1521102 w 1609516"/>
              <a:gd name="csY415" fmla="*/ 1189585 h 1538630"/>
              <a:gd name="csX416" fmla="*/ 1505022 w 1609516"/>
              <a:gd name="csY416" fmla="*/ 1172041 h 1538630"/>
              <a:gd name="csX417" fmla="*/ 1457573 w 1609516"/>
              <a:gd name="csY417" fmla="*/ 1140686 h 1538630"/>
              <a:gd name="csX418" fmla="*/ 1457573 w 1609516"/>
              <a:gd name="csY418" fmla="*/ 1137867 h 1538630"/>
              <a:gd name="csX419" fmla="*/ 1452985 w 1609516"/>
              <a:gd name="csY419" fmla="*/ 1137339 h 1538630"/>
              <a:gd name="csX420" fmla="*/ 1448200 w 1609516"/>
              <a:gd name="csY420" fmla="*/ 1136458 h 1538630"/>
              <a:gd name="csX421" fmla="*/ 1446638 w 1609516"/>
              <a:gd name="csY421" fmla="*/ 1133640 h 1538630"/>
              <a:gd name="csX422" fmla="*/ 1438937 w 1609516"/>
              <a:gd name="csY422" fmla="*/ 1130601 h 1538630"/>
              <a:gd name="csX423" fmla="*/ 1429260 w 1609516"/>
              <a:gd name="csY423" fmla="*/ 1126770 h 1538630"/>
              <a:gd name="csX424" fmla="*/ 1411393 w 1609516"/>
              <a:gd name="csY424" fmla="*/ 1120340 h 1538630"/>
              <a:gd name="csX425" fmla="*/ 1391427 w 1609516"/>
              <a:gd name="csY425" fmla="*/ 1111191 h 1538630"/>
              <a:gd name="csX426" fmla="*/ 1381029 w 1609516"/>
              <a:gd name="csY426" fmla="*/ 1106865 h 1538630"/>
              <a:gd name="csX427" fmla="*/ 1381029 w 1609516"/>
              <a:gd name="csY427" fmla="*/ 1104046 h 1538630"/>
              <a:gd name="csX428" fmla="*/ 1377221 w 1609516"/>
              <a:gd name="csY428" fmla="*/ 1103605 h 1538630"/>
              <a:gd name="csX429" fmla="*/ 1357597 w 1609516"/>
              <a:gd name="csY429" fmla="*/ 1098409 h 1538630"/>
              <a:gd name="csX430" fmla="*/ 1352032 w 1609516"/>
              <a:gd name="csY430" fmla="*/ 1096736 h 1538630"/>
              <a:gd name="csX431" fmla="*/ 1348225 w 1609516"/>
              <a:gd name="csY431" fmla="*/ 1095590 h 1538630"/>
              <a:gd name="csX432" fmla="*/ 1348225 w 1609516"/>
              <a:gd name="csY432" fmla="*/ 1092772 h 1538630"/>
              <a:gd name="csX433" fmla="*/ 1337290 w 1609516"/>
              <a:gd name="csY433" fmla="*/ 1091363 h 1538630"/>
              <a:gd name="csX434" fmla="*/ 1337290 w 1609516"/>
              <a:gd name="csY434" fmla="*/ 1088544 h 1538630"/>
              <a:gd name="csX435" fmla="*/ 1331529 w 1609516"/>
              <a:gd name="csY435" fmla="*/ 1088104 h 1538630"/>
              <a:gd name="csX436" fmla="*/ 1323297 w 1609516"/>
              <a:gd name="csY436" fmla="*/ 1086611 h 1538630"/>
              <a:gd name="csX437" fmla="*/ 1323297 w 1609516"/>
              <a:gd name="csY437" fmla="*/ 1087618 h 1538630"/>
              <a:gd name="csX438" fmla="*/ 1319789 w 1609516"/>
              <a:gd name="csY438" fmla="*/ 1087310 h 1538630"/>
              <a:gd name="csX439" fmla="*/ 1262375 w 1609516"/>
              <a:gd name="csY439" fmla="*/ 1089028 h 1538630"/>
              <a:gd name="csX440" fmla="*/ 1258728 w 1609516"/>
              <a:gd name="csY440" fmla="*/ 1088205 h 1538630"/>
              <a:gd name="csX441" fmla="*/ 1246964 w 1609516"/>
              <a:gd name="csY441" fmla="*/ 1091489 h 1538630"/>
              <a:gd name="csX442" fmla="*/ 1223224 w 1609516"/>
              <a:gd name="csY442" fmla="*/ 1112865 h 1538630"/>
              <a:gd name="csX443" fmla="*/ 1213883 w 1609516"/>
              <a:gd name="csY443" fmla="*/ 1122366 h 1538630"/>
              <a:gd name="csX444" fmla="*/ 1212505 w 1609516"/>
              <a:gd name="csY444" fmla="*/ 1125708 h 1538630"/>
              <a:gd name="csX445" fmla="*/ 1204180 w 1609516"/>
              <a:gd name="csY445" fmla="*/ 1135561 h 1538630"/>
              <a:gd name="csX446" fmla="*/ 1200238 w 1609516"/>
              <a:gd name="csY446" fmla="*/ 1138999 h 1538630"/>
              <a:gd name="csX447" fmla="*/ 1192025 w 1609516"/>
              <a:gd name="csY447" fmla="*/ 1146022 h 1538630"/>
              <a:gd name="csX448" fmla="*/ 1173945 w 1609516"/>
              <a:gd name="csY448" fmla="*/ 1174749 h 1538630"/>
              <a:gd name="csX449" fmla="*/ 1173950 w 1609516"/>
              <a:gd name="csY449" fmla="*/ 1182610 h 1538630"/>
              <a:gd name="csX450" fmla="*/ 1173989 w 1609516"/>
              <a:gd name="csY450" fmla="*/ 1186765 h 1538630"/>
              <a:gd name="csX451" fmla="*/ 1182640 w 1609516"/>
              <a:gd name="csY451" fmla="*/ 1215374 h 1538630"/>
              <a:gd name="csX452" fmla="*/ 1185764 w 1609516"/>
              <a:gd name="csY452" fmla="*/ 1221804 h 1538630"/>
              <a:gd name="csX453" fmla="*/ 1187301 w 1609516"/>
              <a:gd name="csY453" fmla="*/ 1224859 h 1538630"/>
              <a:gd name="csX454" fmla="*/ 1190573 w 1609516"/>
              <a:gd name="csY454" fmla="*/ 1231740 h 1538630"/>
              <a:gd name="csX455" fmla="*/ 1205925 w 1609516"/>
              <a:gd name="csY455" fmla="*/ 1255163 h 1538630"/>
              <a:gd name="csX456" fmla="*/ 1212174 w 1609516"/>
              <a:gd name="csY456" fmla="*/ 1263134 h 1538630"/>
              <a:gd name="csX457" fmla="*/ 1235556 w 1609516"/>
              <a:gd name="csY457" fmla="*/ 1282538 h 1538630"/>
              <a:gd name="csX458" fmla="*/ 1238876 w 1609516"/>
              <a:gd name="csY458" fmla="*/ 1284426 h 1538630"/>
              <a:gd name="csX459" fmla="*/ 1238876 w 1609516"/>
              <a:gd name="csY459" fmla="*/ 1287245 h 1538630"/>
              <a:gd name="csX460" fmla="*/ 1242245 w 1609516"/>
              <a:gd name="csY460" fmla="*/ 1287663 h 1538630"/>
              <a:gd name="csX461" fmla="*/ 1271681 w 1609516"/>
              <a:gd name="csY461" fmla="*/ 1305565 h 1538630"/>
              <a:gd name="csX462" fmla="*/ 1271742 w 1609516"/>
              <a:gd name="csY462" fmla="*/ 1306172 h 1538630"/>
              <a:gd name="csX463" fmla="*/ 1278525 w 1609516"/>
              <a:gd name="csY463" fmla="*/ 1315767 h 1538630"/>
              <a:gd name="csX464" fmla="*/ 1281097 w 1609516"/>
              <a:gd name="csY464" fmla="*/ 1327286 h 1538630"/>
              <a:gd name="csX465" fmla="*/ 1277973 w 1609516"/>
              <a:gd name="csY465" fmla="*/ 1355470 h 1538630"/>
              <a:gd name="csX466" fmla="*/ 1277460 w 1609516"/>
              <a:gd name="csY466" fmla="*/ 1347025 h 1538630"/>
              <a:gd name="csX467" fmla="*/ 1273531 w 1609516"/>
              <a:gd name="csY467" fmla="*/ 1357991 h 1538630"/>
              <a:gd name="csX468" fmla="*/ 1263870 w 1609516"/>
              <a:gd name="csY468" fmla="*/ 1368980 h 1538630"/>
              <a:gd name="csX469" fmla="*/ 1246686 w 1609516"/>
              <a:gd name="csY469" fmla="*/ 1376026 h 1538630"/>
              <a:gd name="csX470" fmla="*/ 1246686 w 1609516"/>
              <a:gd name="csY470" fmla="*/ 1378844 h 1538630"/>
              <a:gd name="csX471" fmla="*/ 1231651 w 1609516"/>
              <a:gd name="csY471" fmla="*/ 1379196 h 1538630"/>
              <a:gd name="csX472" fmla="*/ 1227373 w 1609516"/>
              <a:gd name="csY472" fmla="*/ 1379340 h 1538630"/>
              <a:gd name="csX473" fmla="*/ 1206071 w 1609516"/>
              <a:gd name="csY473" fmla="*/ 1373207 h 1538630"/>
              <a:gd name="csX474" fmla="*/ 1202069 w 1609516"/>
              <a:gd name="csY474" fmla="*/ 1371798 h 1538630"/>
              <a:gd name="csX475" fmla="*/ 1184104 w 1609516"/>
              <a:gd name="csY475" fmla="*/ 1356176 h 1538630"/>
              <a:gd name="csX476" fmla="*/ 1177270 w 1609516"/>
              <a:gd name="csY476" fmla="*/ 1335247 h 1538630"/>
              <a:gd name="csX477" fmla="*/ 1169002 w 1609516"/>
              <a:gd name="csY477" fmla="*/ 1313464 h 1538630"/>
              <a:gd name="csX478" fmla="*/ 1163504 w 1609516"/>
              <a:gd name="csY478" fmla="*/ 1302130 h 1538630"/>
              <a:gd name="csX479" fmla="*/ 1162015 w 1609516"/>
              <a:gd name="csY479" fmla="*/ 1298788 h 1538630"/>
              <a:gd name="csX480" fmla="*/ 1160111 w 1609516"/>
              <a:gd name="csY480" fmla="*/ 1292656 h 1538630"/>
              <a:gd name="csX481" fmla="*/ 1154522 w 1609516"/>
              <a:gd name="csY481" fmla="*/ 1287245 h 1538630"/>
              <a:gd name="csX482" fmla="*/ 1151398 w 1609516"/>
              <a:gd name="csY482" fmla="*/ 1280199 h 1538630"/>
              <a:gd name="csX483" fmla="*/ 1144173 w 1609516"/>
              <a:gd name="csY483" fmla="*/ 1270774 h 1538630"/>
              <a:gd name="csX484" fmla="*/ 1142065 w 1609516"/>
              <a:gd name="csY484" fmla="*/ 1268160 h 1538630"/>
              <a:gd name="csX485" fmla="*/ 1135776 w 1609516"/>
              <a:gd name="csY485" fmla="*/ 1260470 h 1538630"/>
              <a:gd name="csX486" fmla="*/ 1132353 w 1609516"/>
              <a:gd name="csY486" fmla="*/ 1256247 h 1538630"/>
              <a:gd name="csX487" fmla="*/ 1112344 w 1609516"/>
              <a:gd name="csY487" fmla="*/ 1240741 h 1538630"/>
              <a:gd name="csX488" fmla="*/ 1106193 w 1609516"/>
              <a:gd name="csY488" fmla="*/ 1237570 h 1538630"/>
              <a:gd name="csX489" fmla="*/ 1101409 w 1609516"/>
              <a:gd name="csY489" fmla="*/ 1235104 h 1538630"/>
              <a:gd name="csX490" fmla="*/ 1101409 w 1609516"/>
              <a:gd name="csY490" fmla="*/ 1230876 h 1538630"/>
              <a:gd name="csX491" fmla="*/ 1065480 w 1609516"/>
              <a:gd name="csY491" fmla="*/ 1230876 h 1538630"/>
              <a:gd name="csX492" fmla="*/ 1063919 w 1609516"/>
              <a:gd name="csY492" fmla="*/ 1235104 h 1538630"/>
              <a:gd name="csX493" fmla="*/ 1059232 w 1609516"/>
              <a:gd name="csY493" fmla="*/ 1235104 h 1538630"/>
              <a:gd name="csX494" fmla="*/ 1059232 w 1609516"/>
              <a:gd name="csY494" fmla="*/ 1237922 h 1538630"/>
              <a:gd name="csX495" fmla="*/ 1040194 w 1609516"/>
              <a:gd name="csY495" fmla="*/ 1245761 h 1538630"/>
              <a:gd name="csX496" fmla="*/ 1030333 w 1609516"/>
              <a:gd name="csY496" fmla="*/ 1249901 h 1538630"/>
              <a:gd name="csX497" fmla="*/ 1013931 w 1609516"/>
              <a:gd name="csY497" fmla="*/ 1256242 h 1538630"/>
              <a:gd name="csX498" fmla="*/ 1005925 w 1609516"/>
              <a:gd name="csY498" fmla="*/ 1261615 h 1538630"/>
              <a:gd name="csX499" fmla="*/ 1004558 w 1609516"/>
              <a:gd name="csY499" fmla="*/ 1264697 h 1538630"/>
              <a:gd name="csX500" fmla="*/ 1002959 w 1609516"/>
              <a:gd name="csY500" fmla="*/ 1267961 h 1538630"/>
              <a:gd name="csX501" fmla="*/ 1000653 w 1609516"/>
              <a:gd name="csY501" fmla="*/ 1278965 h 1538630"/>
              <a:gd name="csX502" fmla="*/ 998297 w 1609516"/>
              <a:gd name="csY502" fmla="*/ 1294137 h 1538630"/>
              <a:gd name="csX503" fmla="*/ 996162 w 1609516"/>
              <a:gd name="csY503" fmla="*/ 1324765 h 1538630"/>
              <a:gd name="csX504" fmla="*/ 996164 w 1609516"/>
              <a:gd name="csY504" fmla="*/ 1327846 h 1538630"/>
              <a:gd name="csX505" fmla="*/ 1007780 w 1609516"/>
              <a:gd name="csY505" fmla="*/ 1403329 h 1538630"/>
              <a:gd name="csX506" fmla="*/ 1008940 w 1609516"/>
              <a:gd name="csY506" fmla="*/ 1407701 h 1538630"/>
              <a:gd name="csX507" fmla="*/ 1010080 w 1609516"/>
              <a:gd name="csY507" fmla="*/ 1411730 h 1538630"/>
              <a:gd name="csX508" fmla="*/ 1011075 w 1609516"/>
              <a:gd name="csY508" fmla="*/ 1415277 h 1538630"/>
              <a:gd name="csX509" fmla="*/ 1017055 w 1609516"/>
              <a:gd name="csY509" fmla="*/ 1422530 h 1538630"/>
              <a:gd name="csX510" fmla="*/ 1020277 w 1609516"/>
              <a:gd name="csY510" fmla="*/ 1427991 h 1538630"/>
              <a:gd name="csX511" fmla="*/ 1021796 w 1609516"/>
              <a:gd name="csY511" fmla="*/ 1430798 h 1538630"/>
              <a:gd name="csX512" fmla="*/ 1024579 w 1609516"/>
              <a:gd name="csY512" fmla="*/ 1437239 h 1538630"/>
              <a:gd name="csX513" fmla="*/ 1034043 w 1609516"/>
              <a:gd name="csY513" fmla="*/ 1448072 h 1538630"/>
              <a:gd name="csX514" fmla="*/ 1043782 w 1609516"/>
              <a:gd name="csY514" fmla="*/ 1464320 h 1538630"/>
              <a:gd name="csX515" fmla="*/ 1050458 w 1609516"/>
              <a:gd name="csY515" fmla="*/ 1472189 h 1538630"/>
              <a:gd name="csX516" fmla="*/ 1052926 w 1609516"/>
              <a:gd name="csY516" fmla="*/ 1482370 h 1538630"/>
              <a:gd name="csX517" fmla="*/ 1053316 w 1609516"/>
              <a:gd name="csY517" fmla="*/ 1496903 h 1538630"/>
              <a:gd name="csX518" fmla="*/ 1053352 w 1609516"/>
              <a:gd name="csY518" fmla="*/ 1500660 h 1538630"/>
              <a:gd name="csX519" fmla="*/ 1053341 w 1609516"/>
              <a:gd name="csY519" fmla="*/ 1504285 h 1538630"/>
              <a:gd name="csX520" fmla="*/ 1053329 w 1609516"/>
              <a:gd name="csY520" fmla="*/ 1507529 h 1538630"/>
              <a:gd name="csX521" fmla="*/ 1049801 w 1609516"/>
              <a:gd name="csY521" fmla="*/ 1516192 h 1538630"/>
              <a:gd name="csX522" fmla="*/ 1047312 w 1609516"/>
              <a:gd name="csY522" fmla="*/ 1516192 h 1538630"/>
              <a:gd name="csX523" fmla="*/ 1043611 w 1609516"/>
              <a:gd name="csY523" fmla="*/ 1522585 h 1538630"/>
              <a:gd name="csX524" fmla="*/ 1029552 w 1609516"/>
              <a:gd name="csY524" fmla="*/ 1529631 h 1538630"/>
              <a:gd name="csX525" fmla="*/ 1028771 w 1609516"/>
              <a:gd name="csY525" fmla="*/ 1532273 h 1538630"/>
              <a:gd name="csX526" fmla="*/ 1018013 w 1609516"/>
              <a:gd name="csY526" fmla="*/ 1537640 h 1538630"/>
              <a:gd name="csX527" fmla="*/ 981126 w 1609516"/>
              <a:gd name="csY527" fmla="*/ 1533859 h 1538630"/>
              <a:gd name="csX528" fmla="*/ 977227 w 1609516"/>
              <a:gd name="csY528" fmla="*/ 1531943 h 1538630"/>
              <a:gd name="csX529" fmla="*/ 955376 w 1609516"/>
              <a:gd name="csY529" fmla="*/ 1508751 h 1538630"/>
              <a:gd name="csX530" fmla="*/ 954571 w 1609516"/>
              <a:gd name="csY530" fmla="*/ 1500037 h 1538630"/>
              <a:gd name="csX531" fmla="*/ 951446 w 1609516"/>
              <a:gd name="csY531" fmla="*/ 1500037 h 1538630"/>
              <a:gd name="csX532" fmla="*/ 951251 w 1609516"/>
              <a:gd name="csY532" fmla="*/ 1487883 h 1538630"/>
              <a:gd name="csX533" fmla="*/ 951171 w 1609516"/>
              <a:gd name="csY533" fmla="*/ 1484431 h 1538630"/>
              <a:gd name="csX534" fmla="*/ 954571 w 1609516"/>
              <a:gd name="csY534" fmla="*/ 1466216 h 1538630"/>
              <a:gd name="csX535" fmla="*/ 954961 w 1609516"/>
              <a:gd name="csY535" fmla="*/ 1455118 h 1538630"/>
              <a:gd name="csX536" fmla="*/ 954932 w 1609516"/>
              <a:gd name="csY536" fmla="*/ 1451972 h 1538630"/>
              <a:gd name="csX537" fmla="*/ 945099 w 1609516"/>
              <a:gd name="csY537" fmla="*/ 1403594 h 1538630"/>
              <a:gd name="csX538" fmla="*/ 942366 w 1609516"/>
              <a:gd name="csY538" fmla="*/ 1393553 h 1538630"/>
              <a:gd name="csX539" fmla="*/ 934451 w 1609516"/>
              <a:gd name="csY539" fmla="*/ 1372734 h 1538630"/>
              <a:gd name="csX540" fmla="*/ 931974 w 1609516"/>
              <a:gd name="csY540" fmla="*/ 1365754 h 1538630"/>
              <a:gd name="csX541" fmla="*/ 931138 w 1609516"/>
              <a:gd name="csY541" fmla="*/ 1363343 h 1538630"/>
              <a:gd name="csX542" fmla="*/ 926452 w 1609516"/>
              <a:gd name="csY542" fmla="*/ 1361933 h 1538630"/>
              <a:gd name="csX543" fmla="*/ 918641 w 1609516"/>
              <a:gd name="csY543" fmla="*/ 1340795 h 1538630"/>
              <a:gd name="csX544" fmla="*/ 917079 w 1609516"/>
              <a:gd name="csY544" fmla="*/ 1335158 h 1538630"/>
              <a:gd name="csX545" fmla="*/ 913955 w 1609516"/>
              <a:gd name="csY545" fmla="*/ 1335158 h 1538630"/>
              <a:gd name="csX546" fmla="*/ 912057 w 1609516"/>
              <a:gd name="csY546" fmla="*/ 1330793 h 1538630"/>
              <a:gd name="csX547" fmla="*/ 902142 w 1609516"/>
              <a:gd name="csY547" fmla="*/ 1316222 h 1538630"/>
              <a:gd name="csX548" fmla="*/ 900091 w 1609516"/>
              <a:gd name="csY548" fmla="*/ 1313828 h 1538630"/>
              <a:gd name="csX549" fmla="*/ 878026 w 1609516"/>
              <a:gd name="csY549" fmla="*/ 1295700 h 1538630"/>
              <a:gd name="csX550" fmla="*/ 875134 w 1609516"/>
              <a:gd name="csY550" fmla="*/ 1293465 h 1538630"/>
              <a:gd name="csX551" fmla="*/ 869869 w 1609516"/>
              <a:gd name="csY551" fmla="*/ 1291826 h 1538630"/>
              <a:gd name="csX552" fmla="*/ 862384 w 1609516"/>
              <a:gd name="csY552" fmla="*/ 1291327 h 1538630"/>
              <a:gd name="csX553" fmla="*/ 844390 w 1609516"/>
              <a:gd name="csY553" fmla="*/ 1290461 h 1538630"/>
              <a:gd name="csX554" fmla="*/ 840476 w 1609516"/>
              <a:gd name="csY554" fmla="*/ 1290500 h 1538630"/>
              <a:gd name="csX555" fmla="*/ 831015 w 1609516"/>
              <a:gd name="csY555" fmla="*/ 1290637 h 1538630"/>
              <a:gd name="csX556" fmla="*/ 831015 w 1609516"/>
              <a:gd name="csY556" fmla="*/ 1293456 h 1538630"/>
              <a:gd name="csX557" fmla="*/ 818225 w 1609516"/>
              <a:gd name="csY557" fmla="*/ 1295570 h 1538630"/>
              <a:gd name="csX558" fmla="*/ 796774 w 1609516"/>
              <a:gd name="csY558" fmla="*/ 1297671 h 1538630"/>
              <a:gd name="csX559" fmla="*/ 783646 w 1609516"/>
              <a:gd name="csY559" fmla="*/ 1305736 h 1538630"/>
              <a:gd name="csX560" fmla="*/ 769263 w 1609516"/>
              <a:gd name="csY560" fmla="*/ 1327143 h 1538630"/>
              <a:gd name="csX561" fmla="*/ 764797 w 1609516"/>
              <a:gd name="csY561" fmla="*/ 1334360 h 1538630"/>
              <a:gd name="csX562" fmla="*/ 757875 w 1609516"/>
              <a:gd name="csY562" fmla="*/ 1353503 h 1538630"/>
              <a:gd name="csX563" fmla="*/ 755676 w 1609516"/>
              <a:gd name="csY563" fmla="*/ 1367455 h 1538630"/>
              <a:gd name="csX564" fmla="*/ 750558 w 1609516"/>
              <a:gd name="csY564" fmla="*/ 1399690 h 1538630"/>
              <a:gd name="csX565" fmla="*/ 753057 w 1609516"/>
              <a:gd name="csY565" fmla="*/ 1411256 h 1538630"/>
              <a:gd name="csX566" fmla="*/ 753057 w 1609516"/>
              <a:gd name="csY566" fmla="*/ 1416893 h 1538630"/>
              <a:gd name="csX567" fmla="*/ 756181 w 1609516"/>
              <a:gd name="csY567" fmla="*/ 1416893 h 1538630"/>
              <a:gd name="csX568" fmla="*/ 758133 w 1609516"/>
              <a:gd name="csY568" fmla="*/ 1436182 h 1538630"/>
              <a:gd name="csX569" fmla="*/ 758231 w 1609516"/>
              <a:gd name="csY569" fmla="*/ 1440781 h 1538630"/>
              <a:gd name="csX570" fmla="*/ 750713 w 1609516"/>
              <a:gd name="csY570" fmla="*/ 1465704 h 1538630"/>
              <a:gd name="csX571" fmla="*/ 748370 w 1609516"/>
              <a:gd name="csY571" fmla="*/ 1467185 h 1538630"/>
              <a:gd name="csX572" fmla="*/ 741633 w 1609516"/>
              <a:gd name="csY572" fmla="*/ 1473526 h 1538630"/>
              <a:gd name="csX573" fmla="*/ 728154 w 1609516"/>
              <a:gd name="csY573" fmla="*/ 1478343 h 1538630"/>
              <a:gd name="csX574" fmla="*/ 721814 w 1609516"/>
              <a:gd name="csY574" fmla="*/ 1480308 h 1538630"/>
              <a:gd name="csX575" fmla="*/ 708341 w 1609516"/>
              <a:gd name="csY575" fmla="*/ 1480661 h 1538630"/>
              <a:gd name="csX576" fmla="*/ 704637 w 1609516"/>
              <a:gd name="csY576" fmla="*/ 1480748 h 1538630"/>
              <a:gd name="csX577" fmla="*/ 668507 w 1609516"/>
              <a:gd name="csY577" fmla="*/ 1468418 h 1538630"/>
              <a:gd name="csX578" fmla="*/ 660178 w 1609516"/>
              <a:gd name="csY578" fmla="*/ 1450027 h 1538630"/>
              <a:gd name="csX579" fmla="*/ 657767 w 1609516"/>
              <a:gd name="csY579" fmla="*/ 1445078 h 1538630"/>
              <a:gd name="csX580" fmla="*/ 663369 w 1609516"/>
              <a:gd name="csY580" fmla="*/ 1409390 h 1538630"/>
              <a:gd name="csX581" fmla="*/ 671826 w 1609516"/>
              <a:gd name="csY581" fmla="*/ 1401392 h 1538630"/>
              <a:gd name="csX582" fmla="*/ 678075 w 1609516"/>
              <a:gd name="csY582" fmla="*/ 1390118 h 1538630"/>
              <a:gd name="csX583" fmla="*/ 684323 w 1609516"/>
              <a:gd name="csY583" fmla="*/ 1388709 h 1538630"/>
              <a:gd name="csX584" fmla="*/ 685293 w 1609516"/>
              <a:gd name="csY584" fmla="*/ 1384233 h 1538630"/>
              <a:gd name="csX585" fmla="*/ 686569 w 1609516"/>
              <a:gd name="csY585" fmla="*/ 1378404 h 1538630"/>
              <a:gd name="csX586" fmla="*/ 687207 w 1609516"/>
              <a:gd name="csY586" fmla="*/ 1375456 h 1538630"/>
              <a:gd name="csX587" fmla="*/ 690572 w 1609516"/>
              <a:gd name="csY587" fmla="*/ 1363343 h 1538630"/>
              <a:gd name="csX588" fmla="*/ 692495 w 1609516"/>
              <a:gd name="csY588" fmla="*/ 1323376 h 1538630"/>
              <a:gd name="csX589" fmla="*/ 692625 w 1609516"/>
              <a:gd name="csY589" fmla="*/ 1315006 h 1538630"/>
              <a:gd name="csX590" fmla="*/ 687447 w 1609516"/>
              <a:gd name="csY590" fmla="*/ 1287245 h 1538630"/>
              <a:gd name="csX591" fmla="*/ 682761 w 1609516"/>
              <a:gd name="csY591" fmla="*/ 1285835 h 1538630"/>
              <a:gd name="csX592" fmla="*/ 678954 w 1609516"/>
              <a:gd name="csY592" fmla="*/ 1281608 h 1538630"/>
              <a:gd name="csX593" fmla="*/ 668702 w 1609516"/>
              <a:gd name="csY593" fmla="*/ 1275971 h 1538630"/>
              <a:gd name="csX594" fmla="*/ 662454 w 1609516"/>
              <a:gd name="csY594" fmla="*/ 1270334 h 1538630"/>
              <a:gd name="csX595" fmla="*/ 654643 w 1609516"/>
              <a:gd name="csY595" fmla="*/ 1267516 h 1538630"/>
              <a:gd name="csX596" fmla="*/ 654643 w 1609516"/>
              <a:gd name="csY596" fmla="*/ 1264697 h 1538630"/>
              <a:gd name="csX597" fmla="*/ 650152 w 1609516"/>
              <a:gd name="csY597" fmla="*/ 1264345 h 1538630"/>
              <a:gd name="csX598" fmla="*/ 628087 w 1609516"/>
              <a:gd name="csY598" fmla="*/ 1257651 h 1538630"/>
              <a:gd name="csX599" fmla="*/ 628087 w 1609516"/>
              <a:gd name="csY599" fmla="*/ 1254833 h 1538630"/>
              <a:gd name="csX600" fmla="*/ 625121 w 1609516"/>
              <a:gd name="csY600" fmla="*/ 1254315 h 1538630"/>
              <a:gd name="csX601" fmla="*/ 621252 w 1609516"/>
              <a:gd name="csY601" fmla="*/ 1253600 h 1538630"/>
              <a:gd name="csX602" fmla="*/ 617409 w 1609516"/>
              <a:gd name="csY602" fmla="*/ 1252906 h 1538630"/>
              <a:gd name="csX603" fmla="*/ 610904 w 1609516"/>
              <a:gd name="csY603" fmla="*/ 1249196 h 1538630"/>
              <a:gd name="csX604" fmla="*/ 565739 w 1609516"/>
              <a:gd name="csY604" fmla="*/ 1271742 h 1538630"/>
              <a:gd name="csX605" fmla="*/ 546924 w 1609516"/>
              <a:gd name="csY605" fmla="*/ 1290829 h 1538630"/>
              <a:gd name="csX606" fmla="*/ 543635 w 1609516"/>
              <a:gd name="csY606" fmla="*/ 1294643 h 1538630"/>
              <a:gd name="csX607" fmla="*/ 540651 w 1609516"/>
              <a:gd name="csY607" fmla="*/ 1298188 h 1538630"/>
              <a:gd name="csX608" fmla="*/ 529673 w 1609516"/>
              <a:gd name="csY608" fmla="*/ 1305565 h 1538630"/>
              <a:gd name="csX609" fmla="*/ 526549 w 1609516"/>
              <a:gd name="csY609" fmla="*/ 1311202 h 1538630"/>
              <a:gd name="csX610" fmla="*/ 523425 w 1609516"/>
              <a:gd name="csY610" fmla="*/ 1311202 h 1538630"/>
              <a:gd name="csX611" fmla="*/ 523230 w 1609516"/>
              <a:gd name="csY611" fmla="*/ 1313580 h 1538630"/>
              <a:gd name="csX612" fmla="*/ 517732 w 1609516"/>
              <a:gd name="csY612" fmla="*/ 1319739 h 1538630"/>
              <a:gd name="csX613" fmla="*/ 502239 w 1609516"/>
              <a:gd name="csY613" fmla="*/ 1337096 h 1538630"/>
              <a:gd name="csX614" fmla="*/ 497058 w 1609516"/>
              <a:gd name="csY614" fmla="*/ 1344087 h 1538630"/>
              <a:gd name="csX615" fmla="*/ 494572 w 1609516"/>
              <a:gd name="csY615" fmla="*/ 1347465 h 1538630"/>
              <a:gd name="csX616" fmla="*/ 487776 w 1609516"/>
              <a:gd name="csY616" fmla="*/ 1356181 h 1538630"/>
              <a:gd name="csX617" fmla="*/ 481248 w 1609516"/>
              <a:gd name="csY617" fmla="*/ 1367571 h 1538630"/>
              <a:gd name="csX618" fmla="*/ 478123 w 1609516"/>
              <a:gd name="csY618" fmla="*/ 1367571 h 1538630"/>
              <a:gd name="csX619" fmla="*/ 477635 w 1609516"/>
              <a:gd name="csY619" fmla="*/ 1370565 h 1538630"/>
              <a:gd name="csX620" fmla="*/ 465626 w 1609516"/>
              <a:gd name="csY620" fmla="*/ 1388709 h 1538630"/>
              <a:gd name="csX621" fmla="*/ 461233 w 1609516"/>
              <a:gd name="csY621" fmla="*/ 1397340 h 1538630"/>
              <a:gd name="csX622" fmla="*/ 455765 w 1609516"/>
              <a:gd name="csY622" fmla="*/ 1408086 h 1538630"/>
              <a:gd name="csX623" fmla="*/ 439070 w 1609516"/>
              <a:gd name="csY623" fmla="*/ 1477490 h 1538630"/>
              <a:gd name="csX624" fmla="*/ 434384 w 1609516"/>
              <a:gd name="csY624" fmla="*/ 1478899 h 1538630"/>
              <a:gd name="csX625" fmla="*/ 432431 w 1609516"/>
              <a:gd name="csY625" fmla="*/ 1481982 h 1538630"/>
              <a:gd name="csX626" fmla="*/ 418763 w 1609516"/>
              <a:gd name="csY626" fmla="*/ 1494401 h 1538630"/>
              <a:gd name="csX627" fmla="*/ 415639 w 1609516"/>
              <a:gd name="csY627" fmla="*/ 1494401 h 1538630"/>
              <a:gd name="csX628" fmla="*/ 415639 w 1609516"/>
              <a:gd name="csY628" fmla="*/ 1497219 h 1538630"/>
              <a:gd name="csX629" fmla="*/ 406265 w 1609516"/>
              <a:gd name="csY629" fmla="*/ 1498628 h 1538630"/>
              <a:gd name="csX630" fmla="*/ 406265 w 1609516"/>
              <a:gd name="csY630" fmla="*/ 1501447 h 1538630"/>
              <a:gd name="csX631" fmla="*/ 375023 w 1609516"/>
              <a:gd name="csY631" fmla="*/ 1501447 h 1538630"/>
              <a:gd name="csX632" fmla="*/ 375023 w 1609516"/>
              <a:gd name="csY632" fmla="*/ 1499438 h 1538630"/>
              <a:gd name="csX633" fmla="*/ 374964 w 1609516"/>
              <a:gd name="csY633" fmla="*/ 1499436 h 1538630"/>
              <a:gd name="csX634" fmla="*/ 373179 w 1609516"/>
              <a:gd name="csY634" fmla="*/ 1498628 h 1538630"/>
              <a:gd name="csX635" fmla="*/ 365650 w 1609516"/>
              <a:gd name="csY635" fmla="*/ 1498628 h 1538630"/>
              <a:gd name="csX636" fmla="*/ 363134 w 1609516"/>
              <a:gd name="csY636" fmla="*/ 1494087 h 1538630"/>
              <a:gd name="csX637" fmla="*/ 362171 w 1609516"/>
              <a:gd name="csY637" fmla="*/ 1493651 h 1538630"/>
              <a:gd name="csX638" fmla="*/ 360609 w 1609516"/>
              <a:gd name="csY638" fmla="*/ 1490833 h 1538630"/>
              <a:gd name="csX639" fmla="*/ 363733 w 1609516"/>
              <a:gd name="csY639" fmla="*/ 1490833 h 1538630"/>
              <a:gd name="csX640" fmla="*/ 363733 w 1609516"/>
              <a:gd name="csY640" fmla="*/ 1489980 h 1538630"/>
              <a:gd name="csX641" fmla="*/ 348467 w 1609516"/>
              <a:gd name="csY641" fmla="*/ 1481717 h 1538630"/>
              <a:gd name="csX642" fmla="*/ 343872 w 1609516"/>
              <a:gd name="csY642" fmla="*/ 1461078 h 1538630"/>
              <a:gd name="csX643" fmla="*/ 343656 w 1609516"/>
              <a:gd name="csY643" fmla="*/ 1463649 h 1538630"/>
              <a:gd name="csX644" fmla="*/ 343424 w 1609516"/>
              <a:gd name="csY644" fmla="*/ 1466842 h 1538630"/>
              <a:gd name="csX645" fmla="*/ 341861 w 1609516"/>
              <a:gd name="csY645" fmla="*/ 1466842 h 1538630"/>
              <a:gd name="csX646" fmla="*/ 354143 w 1609516"/>
              <a:gd name="csY646" fmla="*/ 1420549 h 1538630"/>
              <a:gd name="csX647" fmla="*/ 376229 w 1609516"/>
              <a:gd name="csY647" fmla="*/ 1403427 h 1538630"/>
              <a:gd name="csX648" fmla="*/ 379491 w 1609516"/>
              <a:gd name="csY648" fmla="*/ 1404408 h 1538630"/>
              <a:gd name="csX649" fmla="*/ 379710 w 1609516"/>
              <a:gd name="csY649" fmla="*/ 1404210 h 1538630"/>
              <a:gd name="csX650" fmla="*/ 380882 w 1609516"/>
              <a:gd name="csY650" fmla="*/ 1401568 h 1538630"/>
              <a:gd name="csX651" fmla="*/ 392207 w 1609516"/>
              <a:gd name="csY651" fmla="*/ 1392936 h 1538630"/>
              <a:gd name="csX652" fmla="*/ 399542 w 1609516"/>
              <a:gd name="csY652" fmla="*/ 1386774 h 1538630"/>
              <a:gd name="csX653" fmla="*/ 405485 w 1609516"/>
              <a:gd name="csY653" fmla="*/ 1378917 h 1538630"/>
              <a:gd name="csX654" fmla="*/ 412008 w 1609516"/>
              <a:gd name="csY654" fmla="*/ 1369481 h 1538630"/>
              <a:gd name="csX655" fmla="*/ 421130 w 1609516"/>
              <a:gd name="csY655" fmla="*/ 1357057 h 1538630"/>
              <a:gd name="csX656" fmla="*/ 424676 w 1609516"/>
              <a:gd name="csY656" fmla="*/ 1348443 h 1538630"/>
              <a:gd name="csX657" fmla="*/ 427275 w 1609516"/>
              <a:gd name="csY657" fmla="*/ 1348443 h 1538630"/>
              <a:gd name="csX658" fmla="*/ 428135 w 1609516"/>
              <a:gd name="csY658" fmla="*/ 1345727 h 1538630"/>
              <a:gd name="csX659" fmla="*/ 432822 w 1609516"/>
              <a:gd name="csY659" fmla="*/ 1335158 h 1538630"/>
              <a:gd name="csX660" fmla="*/ 435946 w 1609516"/>
              <a:gd name="csY660" fmla="*/ 1335158 h 1538630"/>
              <a:gd name="csX661" fmla="*/ 437704 w 1609516"/>
              <a:gd name="csY661" fmla="*/ 1329786 h 1538630"/>
              <a:gd name="csX662" fmla="*/ 447394 w 1609516"/>
              <a:gd name="csY662" fmla="*/ 1311196 h 1538630"/>
              <a:gd name="csX663" fmla="*/ 469287 w 1609516"/>
              <a:gd name="csY663" fmla="*/ 1265964 h 1538630"/>
              <a:gd name="csX664" fmla="*/ 478178 w 1609516"/>
              <a:gd name="csY664" fmla="*/ 1246787 h 1538630"/>
              <a:gd name="csX665" fmla="*/ 480179 w 1609516"/>
              <a:gd name="csY665" fmla="*/ 1225768 h 1538630"/>
              <a:gd name="csX666" fmla="*/ 480250 w 1609516"/>
              <a:gd name="csY666" fmla="*/ 1217149 h 1538630"/>
              <a:gd name="csX667" fmla="*/ 462972 w 1609516"/>
              <a:gd name="csY667" fmla="*/ 1174827 h 1538630"/>
              <a:gd name="csX668" fmla="*/ 457468 w 1609516"/>
              <a:gd name="csY668" fmla="*/ 1169949 h 1538630"/>
              <a:gd name="csX669" fmla="*/ 440657 w 1609516"/>
              <a:gd name="csY669" fmla="*/ 1152570 h 1538630"/>
              <a:gd name="csX670" fmla="*/ 403142 w 1609516"/>
              <a:gd name="csY670" fmla="*/ 1122366 h 1538630"/>
              <a:gd name="csX671" fmla="*/ 401579 w 1609516"/>
              <a:gd name="csY671" fmla="*/ 1119547 h 1538630"/>
              <a:gd name="csX672" fmla="*/ 364564 w 1609516"/>
              <a:gd name="csY672" fmla="*/ 1118209 h 1538630"/>
              <a:gd name="csX673" fmla="*/ 357822 w 1609516"/>
              <a:gd name="csY673" fmla="*/ 1122041 h 1538630"/>
              <a:gd name="csX674" fmla="*/ 348077 w 1609516"/>
              <a:gd name="csY674" fmla="*/ 1125273 h 1538630"/>
              <a:gd name="csX675" fmla="*/ 334408 w 1609516"/>
              <a:gd name="csY675" fmla="*/ 1132230 h 1538630"/>
              <a:gd name="csX676" fmla="*/ 327964 w 1609516"/>
              <a:gd name="csY676" fmla="*/ 1134080 h 1538630"/>
              <a:gd name="csX677" fmla="*/ 279734 w 1609516"/>
              <a:gd name="csY677" fmla="*/ 1166051 h 1538630"/>
              <a:gd name="csX678" fmla="*/ 276609 w 1609516"/>
              <a:gd name="csY678" fmla="*/ 1173098 h 1538630"/>
              <a:gd name="csX679" fmla="*/ 260988 w 1609516"/>
              <a:gd name="csY679" fmla="*/ 1188599 h 1538630"/>
              <a:gd name="csX680" fmla="*/ 257956 w 1609516"/>
              <a:gd name="csY680" fmla="*/ 1191132 h 1538630"/>
              <a:gd name="csX681" fmla="*/ 243805 w 1609516"/>
              <a:gd name="csY681" fmla="*/ 1196629 h 1538630"/>
              <a:gd name="csX682" fmla="*/ 243805 w 1609516"/>
              <a:gd name="csY682" fmla="*/ 1194236 h 1538630"/>
              <a:gd name="csX683" fmla="*/ 240288 w 1609516"/>
              <a:gd name="csY683" fmla="*/ 1194765 h 1538630"/>
              <a:gd name="csX684" fmla="*/ 243374 w 1609516"/>
              <a:gd name="csY684" fmla="*/ 1194765 h 1538630"/>
              <a:gd name="csX685" fmla="*/ 243374 w 1609516"/>
              <a:gd name="csY685" fmla="*/ 1196797 h 1538630"/>
              <a:gd name="csX686" fmla="*/ 243805 w 1609516"/>
              <a:gd name="csY686" fmla="*/ 1196629 h 1538630"/>
              <a:gd name="csX687" fmla="*/ 243805 w 1609516"/>
              <a:gd name="csY687" fmla="*/ 1197055 h 1538630"/>
              <a:gd name="csX688" fmla="*/ 243374 w 1609516"/>
              <a:gd name="csY688" fmla="*/ 1197055 h 1538630"/>
              <a:gd name="csX689" fmla="*/ 243374 w 1609516"/>
              <a:gd name="csY689" fmla="*/ 1197584 h 1538630"/>
              <a:gd name="csX690" fmla="*/ 241319 w 1609516"/>
              <a:gd name="csY690" fmla="*/ 1197595 h 1538630"/>
              <a:gd name="csX691" fmla="*/ 238009 w 1609516"/>
              <a:gd name="csY691" fmla="*/ 1198881 h 1538630"/>
              <a:gd name="csX692" fmla="*/ 215687 w 1609516"/>
              <a:gd name="csY692" fmla="*/ 1198464 h 1538630"/>
              <a:gd name="csX693" fmla="*/ 215687 w 1609516"/>
              <a:gd name="csY693" fmla="*/ 1197734 h 1538630"/>
              <a:gd name="csX694" fmla="*/ 213936 w 1609516"/>
              <a:gd name="csY694" fmla="*/ 1197744 h 1538630"/>
              <a:gd name="csX695" fmla="*/ 207446 w 1609516"/>
              <a:gd name="csY695" fmla="*/ 1196175 h 1538630"/>
              <a:gd name="csX696" fmla="*/ 207822 w 1609516"/>
              <a:gd name="csY696" fmla="*/ 1195610 h 1538630"/>
              <a:gd name="csX697" fmla="*/ 184737 w 1609516"/>
              <a:gd name="csY697" fmla="*/ 1180936 h 1538630"/>
              <a:gd name="csX698" fmla="*/ 179270 w 1609516"/>
              <a:gd name="csY698" fmla="*/ 1154866 h 1538630"/>
              <a:gd name="csX699" fmla="*/ 179194 w 1609516"/>
              <a:gd name="csY699" fmla="*/ 1151621 h 1538630"/>
              <a:gd name="csX700" fmla="*/ 193195 w 1609516"/>
              <a:gd name="csY700" fmla="*/ 1120065 h 1538630"/>
              <a:gd name="csX701" fmla="*/ 229551 w 1609516"/>
              <a:gd name="csY701" fmla="*/ 1110299 h 1538630"/>
              <a:gd name="csX702" fmla="*/ 260988 w 1609516"/>
              <a:gd name="csY702" fmla="*/ 1108274 h 1538630"/>
              <a:gd name="csX703" fmla="*/ 260988 w 1609516"/>
              <a:gd name="csY703" fmla="*/ 1105455 h 1538630"/>
              <a:gd name="csX704" fmla="*/ 263911 w 1609516"/>
              <a:gd name="csY704" fmla="*/ 1104310 h 1538630"/>
              <a:gd name="csX705" fmla="*/ 286995 w 1609516"/>
              <a:gd name="csY705" fmla="*/ 1090185 h 1538630"/>
              <a:gd name="csX706" fmla="*/ 299358 w 1609516"/>
              <a:gd name="csY706" fmla="*/ 1080970 h 1538630"/>
              <a:gd name="csX707" fmla="*/ 317762 w 1609516"/>
              <a:gd name="csY707" fmla="*/ 1063272 h 1538630"/>
              <a:gd name="csX708" fmla="*/ 325035 w 1609516"/>
              <a:gd name="csY708" fmla="*/ 1057542 h 1538630"/>
              <a:gd name="csX709" fmla="*/ 325328 w 1609516"/>
              <a:gd name="csY709" fmla="*/ 1023104 h 1538630"/>
              <a:gd name="csX710" fmla="*/ 324544 w 1609516"/>
              <a:gd name="csY710" fmla="*/ 1019247 h 1538630"/>
              <a:gd name="csX711" fmla="*/ 317225 w 1609516"/>
              <a:gd name="csY711" fmla="*/ 996945 h 1538630"/>
              <a:gd name="csX712" fmla="*/ 315388 w 1609516"/>
              <a:gd name="csY712" fmla="*/ 992690 h 1538630"/>
              <a:gd name="csX713" fmla="*/ 276232 w 1609516"/>
              <a:gd name="csY713" fmla="*/ 950666 h 1538630"/>
              <a:gd name="csX714" fmla="*/ 271923 w 1609516"/>
              <a:gd name="csY714" fmla="*/ 949031 h 1538630"/>
              <a:gd name="csX715" fmla="*/ 268299 w 1609516"/>
              <a:gd name="csY715" fmla="*/ 947441 h 1538630"/>
              <a:gd name="csX716" fmla="*/ 199187 w 1609516"/>
              <a:gd name="csY716" fmla="*/ 938991 h 1538630"/>
              <a:gd name="csX717" fmla="*/ 193719 w 1609516"/>
              <a:gd name="csY717" fmla="*/ 938971 h 1538630"/>
              <a:gd name="csX718" fmla="*/ 188539 w 1609516"/>
              <a:gd name="csY718" fmla="*/ 938980 h 1538630"/>
              <a:gd name="csX719" fmla="*/ 183874 w 1609516"/>
              <a:gd name="csY719" fmla="*/ 938985 h 1538630"/>
              <a:gd name="csX720" fmla="*/ 173509 w 1609516"/>
              <a:gd name="csY720" fmla="*/ 940576 h 1538630"/>
              <a:gd name="csX721" fmla="*/ 161403 w 1609516"/>
              <a:gd name="csY721" fmla="*/ 940664 h 1538630"/>
              <a:gd name="csX722" fmla="*/ 158102 w 1609516"/>
              <a:gd name="csY722" fmla="*/ 940645 h 1538630"/>
              <a:gd name="csX723" fmla="*/ 150875 w 1609516"/>
              <a:gd name="csY723" fmla="*/ 940583 h 1538630"/>
              <a:gd name="csX724" fmla="*/ 148425 w 1609516"/>
              <a:gd name="csY724" fmla="*/ 940717 h 1538630"/>
              <a:gd name="csX725" fmla="*/ 149617 w 1609516"/>
              <a:gd name="csY725" fmla="*/ 940995 h 1538630"/>
              <a:gd name="csX726" fmla="*/ 149617 w 1609516"/>
              <a:gd name="csY726" fmla="*/ 942404 h 1538630"/>
              <a:gd name="csX727" fmla="*/ 146627 w 1609516"/>
              <a:gd name="csY727" fmla="*/ 942871 h 1538630"/>
              <a:gd name="csX728" fmla="*/ 110564 w 1609516"/>
              <a:gd name="csY728" fmla="*/ 949449 h 1538630"/>
              <a:gd name="csX729" fmla="*/ 111283 w 1609516"/>
              <a:gd name="csY729" fmla="*/ 946205 h 1538630"/>
              <a:gd name="csX730" fmla="*/ 101652 w 1609516"/>
              <a:gd name="csY730" fmla="*/ 956078 h 1538630"/>
              <a:gd name="csX731" fmla="*/ 98052 w 1609516"/>
              <a:gd name="csY731" fmla="*/ 958467 h 1538630"/>
              <a:gd name="csX732" fmla="*/ 67286 w 1609516"/>
              <a:gd name="csY732" fmla="*/ 972989 h 1538630"/>
              <a:gd name="csX733" fmla="*/ 67286 w 1609516"/>
              <a:gd name="csY733" fmla="*/ 975807 h 1538630"/>
              <a:gd name="csX734" fmla="*/ 31942 w 1609516"/>
              <a:gd name="csY734" fmla="*/ 976423 h 1538630"/>
              <a:gd name="csX735" fmla="*/ 5673 w 1609516"/>
              <a:gd name="csY735" fmla="*/ 953419 h 1538630"/>
              <a:gd name="csX736" fmla="*/ 4801 w 1609516"/>
              <a:gd name="csY736" fmla="*/ 944804 h 1538630"/>
              <a:gd name="csX737" fmla="*/ 1676 w 1609516"/>
              <a:gd name="csY737" fmla="*/ 944804 h 1538630"/>
              <a:gd name="csX738" fmla="*/ 17 w 1609516"/>
              <a:gd name="csY738" fmla="*/ 931857 h 1538630"/>
              <a:gd name="csX739" fmla="*/ 59 w 1609516"/>
              <a:gd name="csY739" fmla="*/ 927216 h 1538630"/>
              <a:gd name="csX740" fmla="*/ 115 w 1609516"/>
              <a:gd name="csY740" fmla="*/ 923666 h 1538630"/>
              <a:gd name="csX741" fmla="*/ 3238 w 1609516"/>
              <a:gd name="csY741" fmla="*/ 923666 h 1538630"/>
              <a:gd name="csX742" fmla="*/ 3238 w 1609516"/>
              <a:gd name="csY742" fmla="*/ 918029 h 1538630"/>
              <a:gd name="csX743" fmla="*/ 6363 w 1609516"/>
              <a:gd name="csY743" fmla="*/ 918029 h 1538630"/>
              <a:gd name="csX744" fmla="*/ 6656 w 1609516"/>
              <a:gd name="csY744" fmla="*/ 912832 h 1538630"/>
              <a:gd name="csX745" fmla="*/ 15736 w 1609516"/>
              <a:gd name="csY745" fmla="*/ 899709 h 1538630"/>
              <a:gd name="csX746" fmla="*/ 17243 w 1609516"/>
              <a:gd name="csY746" fmla="*/ 898894 h 1538630"/>
              <a:gd name="csX747" fmla="*/ 16800 w 1609516"/>
              <a:gd name="csY747" fmla="*/ 898694 h 1538630"/>
              <a:gd name="csX748" fmla="*/ 24988 w 1609516"/>
              <a:gd name="csY748" fmla="*/ 894101 h 1538630"/>
              <a:gd name="csX749" fmla="*/ 26768 w 1609516"/>
              <a:gd name="csY749" fmla="*/ 892399 h 1538630"/>
              <a:gd name="csX750" fmla="*/ 30198 w 1609516"/>
              <a:gd name="csY750" fmla="*/ 890164 h 1538630"/>
              <a:gd name="csX751" fmla="*/ 32204 w 1609516"/>
              <a:gd name="csY751" fmla="*/ 890054 h 1538630"/>
              <a:gd name="csX752" fmla="*/ 38914 w 1609516"/>
              <a:gd name="csY752" fmla="*/ 886291 h 1538630"/>
              <a:gd name="csX753" fmla="*/ 63664 w 1609516"/>
              <a:gd name="csY753" fmla="*/ 886011 h 1538630"/>
              <a:gd name="csX754" fmla="*/ 63664 w 1609516"/>
              <a:gd name="csY754" fmla="*/ 886531 h 1538630"/>
              <a:gd name="csX755" fmla="*/ 70784 w 1609516"/>
              <a:gd name="csY755" fmla="*/ 886647 h 1538630"/>
              <a:gd name="csX756" fmla="*/ 82126 w 1609516"/>
              <a:gd name="csY756" fmla="*/ 889845 h 1538630"/>
              <a:gd name="csX757" fmla="*/ 114149 w 1609516"/>
              <a:gd name="csY757" fmla="*/ 892663 h 1538630"/>
              <a:gd name="csX758" fmla="*/ 118836 w 1609516"/>
              <a:gd name="csY758" fmla="*/ 889845 h 1538630"/>
              <a:gd name="csX759" fmla="*/ 131626 w 1609516"/>
              <a:gd name="csY759" fmla="*/ 887114 h 1538630"/>
              <a:gd name="csX760" fmla="*/ 155116 w 1609516"/>
              <a:gd name="csY760" fmla="*/ 880913 h 1538630"/>
              <a:gd name="csX761" fmla="*/ 165406 w 1609516"/>
              <a:gd name="csY761" fmla="*/ 878483 h 1538630"/>
              <a:gd name="csX762" fmla="*/ 176634 w 1609516"/>
              <a:gd name="csY762" fmla="*/ 874343 h 1538630"/>
              <a:gd name="csX763" fmla="*/ 186397 w 1609516"/>
              <a:gd name="csY763" fmla="*/ 871524 h 1538630"/>
              <a:gd name="csX764" fmla="*/ 191871 w 1609516"/>
              <a:gd name="csY764" fmla="*/ 870033 h 1538630"/>
              <a:gd name="csX765" fmla="*/ 203483 w 1609516"/>
              <a:gd name="csY765" fmla="*/ 867208 h 1538630"/>
              <a:gd name="csX766" fmla="*/ 211001 w 1609516"/>
              <a:gd name="csY766" fmla="*/ 861660 h 1538630"/>
              <a:gd name="csX767" fmla="*/ 218031 w 1609516"/>
              <a:gd name="csY767" fmla="*/ 858577 h 1538630"/>
              <a:gd name="csX768" fmla="*/ 254740 w 1609516"/>
              <a:gd name="csY768" fmla="*/ 825020 h 1538630"/>
              <a:gd name="csX769" fmla="*/ 257864 w 1609516"/>
              <a:gd name="csY769" fmla="*/ 820792 h 1538630"/>
              <a:gd name="csX770" fmla="*/ 258318 w 1609516"/>
              <a:gd name="csY770" fmla="*/ 813810 h 1538630"/>
              <a:gd name="csX771" fmla="*/ 258378 w 1609516"/>
              <a:gd name="csY771" fmla="*/ 809502 h 1538630"/>
              <a:gd name="csX772" fmla="*/ 258389 w 1609516"/>
              <a:gd name="csY772" fmla="*/ 804845 h 1538630"/>
              <a:gd name="csX773" fmla="*/ 258420 w 1609516"/>
              <a:gd name="csY773" fmla="*/ 800036 h 1538630"/>
              <a:gd name="csX774" fmla="*/ 258443 w 1609516"/>
              <a:gd name="csY774" fmla="*/ 789939 h 1538630"/>
              <a:gd name="csX775" fmla="*/ 258566 w 1609516"/>
              <a:gd name="csY775" fmla="*/ 774594 h 1538630"/>
              <a:gd name="csX776" fmla="*/ 258584 w 1609516"/>
              <a:gd name="csY776" fmla="*/ 764771 h 1538630"/>
              <a:gd name="csX777" fmla="*/ 258652 w 1609516"/>
              <a:gd name="csY777" fmla="*/ 760174 h 1538630"/>
              <a:gd name="csX778" fmla="*/ 251616 w 1609516"/>
              <a:gd name="csY778" fmla="*/ 733421 h 1538630"/>
              <a:gd name="csX779" fmla="*/ 247613 w 1609516"/>
              <a:gd name="csY779" fmla="*/ 721883 h 1538630"/>
              <a:gd name="csX780" fmla="*/ 241291 w 1609516"/>
              <a:gd name="csY780" fmla="*/ 705644 h 1538630"/>
              <a:gd name="csX781" fmla="*/ 237557 w 1609516"/>
              <a:gd name="csY781" fmla="*/ 689735 h 1538630"/>
              <a:gd name="csX782" fmla="*/ 248492 w 1609516"/>
              <a:gd name="csY782" fmla="*/ 685507 h 1538630"/>
              <a:gd name="csX783" fmla="*/ 248492 w 1609516"/>
              <a:gd name="csY783" fmla="*/ 681279 h 1538630"/>
              <a:gd name="csX784" fmla="*/ 240681 w 1609516"/>
              <a:gd name="csY784" fmla="*/ 679870 h 1538630"/>
              <a:gd name="csX785" fmla="*/ 240681 w 1609516"/>
              <a:gd name="csY785" fmla="*/ 677052 h 1538630"/>
              <a:gd name="csX786" fmla="*/ 238094 w 1609516"/>
              <a:gd name="csY786" fmla="*/ 676645 h 1538630"/>
              <a:gd name="csX787" fmla="*/ 225841 w 1609516"/>
              <a:gd name="csY787" fmla="*/ 670886 h 1538630"/>
              <a:gd name="csX788" fmla="*/ 201531 w 1609516"/>
              <a:gd name="csY788" fmla="*/ 662508 h 1538630"/>
              <a:gd name="csX789" fmla="*/ 188252 w 1609516"/>
              <a:gd name="csY789" fmla="*/ 658644 h 1538630"/>
              <a:gd name="csX790" fmla="*/ 182431 w 1609516"/>
              <a:gd name="csY790" fmla="*/ 657327 h 1538630"/>
              <a:gd name="csX791" fmla="*/ 182431 w 1609516"/>
              <a:gd name="csY791" fmla="*/ 657613 h 1538630"/>
              <a:gd name="csX792" fmla="*/ 146503 w 1609516"/>
              <a:gd name="csY792" fmla="*/ 656204 h 1538630"/>
              <a:gd name="csX793" fmla="*/ 146503 w 1609516"/>
              <a:gd name="csY793" fmla="*/ 659022 h 1538630"/>
              <a:gd name="csX794" fmla="*/ 110378 w 1609516"/>
              <a:gd name="csY794" fmla="*/ 663778 h 1538630"/>
              <a:gd name="csX795" fmla="*/ 106453 w 1609516"/>
              <a:gd name="csY795" fmla="*/ 663836 h 1538630"/>
              <a:gd name="csX796" fmla="*/ 102751 w 1609516"/>
              <a:gd name="csY796" fmla="*/ 663811 h 1538630"/>
              <a:gd name="csX797" fmla="*/ 99449 w 1609516"/>
              <a:gd name="csY797" fmla="*/ 663797 h 1538630"/>
              <a:gd name="csX798" fmla="*/ 91828 w 1609516"/>
              <a:gd name="csY798" fmla="*/ 659022 h 1538630"/>
              <a:gd name="csX799" fmla="*/ 98077 w 1609516"/>
              <a:gd name="csY799" fmla="*/ 659022 h 1538630"/>
              <a:gd name="csX800" fmla="*/ 98077 w 1609516"/>
              <a:gd name="csY800" fmla="*/ 661841 h 1538630"/>
              <a:gd name="csX801" fmla="*/ 119023 w 1609516"/>
              <a:gd name="csY801" fmla="*/ 661357 h 1538630"/>
              <a:gd name="csX802" fmla="*/ 119536 w 1609516"/>
              <a:gd name="csY802" fmla="*/ 661197 h 1538630"/>
              <a:gd name="csX803" fmla="*/ 109853 w 1609516"/>
              <a:gd name="csY803" fmla="*/ 661639 h 1538630"/>
              <a:gd name="csX804" fmla="*/ 106552 w 1609516"/>
              <a:gd name="csY804" fmla="*/ 661619 h 1538630"/>
              <a:gd name="csX805" fmla="*/ 98528 w 1609516"/>
              <a:gd name="csY805" fmla="*/ 661550 h 1538630"/>
              <a:gd name="csX806" fmla="*/ 98528 w 1609516"/>
              <a:gd name="csY806" fmla="*/ 658732 h 1538630"/>
              <a:gd name="csX807" fmla="*/ 89155 w 1609516"/>
              <a:gd name="csY807" fmla="*/ 657323 h 1538630"/>
              <a:gd name="csX808" fmla="*/ 89155 w 1609516"/>
              <a:gd name="csY808" fmla="*/ 654504 h 1538630"/>
              <a:gd name="csX809" fmla="*/ 86397 w 1609516"/>
              <a:gd name="csY809" fmla="*/ 653442 h 1538630"/>
              <a:gd name="csX810" fmla="*/ 77049 w 1609516"/>
              <a:gd name="csY810" fmla="*/ 646137 h 1538630"/>
              <a:gd name="csX811" fmla="*/ 74145 w 1609516"/>
              <a:gd name="csY811" fmla="*/ 643192 h 1538630"/>
              <a:gd name="csX812" fmla="*/ 71972 w 1609516"/>
              <a:gd name="csY812" fmla="*/ 636185 h 1538630"/>
              <a:gd name="csX813" fmla="*/ 68848 w 1609516"/>
              <a:gd name="csY813" fmla="*/ 636185 h 1538630"/>
              <a:gd name="csX814" fmla="*/ 70410 w 1609516"/>
              <a:gd name="csY814" fmla="*/ 595317 h 1538630"/>
              <a:gd name="csX815" fmla="*/ 79782 w 1609516"/>
              <a:gd name="csY815" fmla="*/ 584043 h 1538630"/>
              <a:gd name="csX816" fmla="*/ 82656 w 1609516"/>
              <a:gd name="csY816" fmla="*/ 581115 h 1538630"/>
              <a:gd name="csX817" fmla="*/ 116694 w 1609516"/>
              <a:gd name="csY817" fmla="*/ 572323 h 1538630"/>
              <a:gd name="csX818" fmla="*/ 152031 w 1609516"/>
              <a:gd name="csY818" fmla="*/ 590385 h 1538630"/>
              <a:gd name="csX819" fmla="*/ 191474 w 1609516"/>
              <a:gd name="csY819" fmla="*/ 605886 h 1538630"/>
              <a:gd name="csX820" fmla="*/ 206314 w 1609516"/>
              <a:gd name="csY820" fmla="*/ 608000 h 1538630"/>
              <a:gd name="csX821" fmla="*/ 206314 w 1609516"/>
              <a:gd name="csY821" fmla="*/ 610818 h 1538630"/>
              <a:gd name="csX822" fmla="*/ 234433 w 1609516"/>
              <a:gd name="csY822" fmla="*/ 610818 h 1538630"/>
              <a:gd name="csX823" fmla="*/ 239522 w 1609516"/>
              <a:gd name="csY823" fmla="*/ 610802 h 1538630"/>
              <a:gd name="csX824" fmla="*/ 268799 w 1609516"/>
              <a:gd name="csY824" fmla="*/ 600954 h 1538630"/>
              <a:gd name="csX825" fmla="*/ 271740 w 1609516"/>
              <a:gd name="csY825" fmla="*/ 599325 h 1538630"/>
              <a:gd name="csX826" fmla="*/ 284420 w 1609516"/>
              <a:gd name="csY826" fmla="*/ 579816 h 1538630"/>
              <a:gd name="csX827" fmla="*/ 289399 w 1609516"/>
              <a:gd name="csY827" fmla="*/ 568630 h 1538630"/>
              <a:gd name="csX828" fmla="*/ 293958 w 1609516"/>
              <a:gd name="csY828" fmla="*/ 535838 h 1538630"/>
              <a:gd name="csX829" fmla="*/ 289107 w 1609516"/>
              <a:gd name="csY829" fmla="*/ 529084 h 1538630"/>
              <a:gd name="csX830" fmla="*/ 289107 w 1609516"/>
              <a:gd name="csY830" fmla="*/ 526265 h 1538630"/>
              <a:gd name="csX831" fmla="*/ 284420 w 1609516"/>
              <a:gd name="csY831" fmla="*/ 524856 h 1538630"/>
              <a:gd name="csX832" fmla="*/ 282858 w 1609516"/>
              <a:gd name="csY832" fmla="*/ 520628 h 1538630"/>
              <a:gd name="csX833" fmla="*/ 277977 w 1609516"/>
              <a:gd name="csY833" fmla="*/ 516577 h 1538630"/>
              <a:gd name="csX834" fmla="*/ 264925 w 1609516"/>
              <a:gd name="csY834" fmla="*/ 506443 h 1538630"/>
              <a:gd name="csX835" fmla="*/ 229746 w 1609516"/>
              <a:gd name="csY835" fmla="*/ 481170 h 1538630"/>
              <a:gd name="csX836" fmla="*/ 221057 w 1609516"/>
              <a:gd name="csY836" fmla="*/ 475445 h 1538630"/>
              <a:gd name="csX837" fmla="*/ 212563 w 1609516"/>
              <a:gd name="csY837" fmla="*/ 469896 h 1538630"/>
              <a:gd name="csX838" fmla="*/ 208889 w 1609516"/>
              <a:gd name="csY838" fmla="*/ 467491 h 1538630"/>
              <a:gd name="csX839" fmla="*/ 190406 w 1609516"/>
              <a:gd name="csY839" fmla="*/ 456382 h 1538630"/>
              <a:gd name="csX840" fmla="*/ 186942 w 1609516"/>
              <a:gd name="csY840" fmla="*/ 454460 h 1538630"/>
              <a:gd name="csX841" fmla="*/ 180041 w 1609516"/>
              <a:gd name="csY841" fmla="*/ 450696 h 1538630"/>
              <a:gd name="csX842" fmla="*/ 171948 w 1609516"/>
              <a:gd name="csY842" fmla="*/ 445940 h 1538630"/>
              <a:gd name="csX843" fmla="*/ 171948 w 1609516"/>
              <a:gd name="csY843" fmla="*/ 443121 h 1538630"/>
              <a:gd name="csX844" fmla="*/ 168482 w 1609516"/>
              <a:gd name="csY844" fmla="*/ 442708 h 1538630"/>
              <a:gd name="csX845" fmla="*/ 157107 w 1609516"/>
              <a:gd name="csY845" fmla="*/ 437044 h 1538630"/>
              <a:gd name="csX846" fmla="*/ 132559 w 1609516"/>
              <a:gd name="csY846" fmla="*/ 427510 h 1538630"/>
              <a:gd name="csX847" fmla="*/ 123522 w 1609516"/>
              <a:gd name="csY847" fmla="*/ 421983 h 1538630"/>
              <a:gd name="csX848" fmla="*/ 107986 w 1609516"/>
              <a:gd name="csY848" fmla="*/ 418730 h 1538630"/>
              <a:gd name="csX849" fmla="*/ 102494 w 1609516"/>
              <a:gd name="csY849" fmla="*/ 418622 h 1538630"/>
              <a:gd name="csX850" fmla="*/ 91157 w 1609516"/>
              <a:gd name="csY850" fmla="*/ 418490 h 1538630"/>
              <a:gd name="csX851" fmla="*/ 55277 w 1609516"/>
              <a:gd name="csY851" fmla="*/ 410445 h 1538630"/>
              <a:gd name="csX852" fmla="*/ 51665 w 1609516"/>
              <a:gd name="csY852" fmla="*/ 406481 h 1538630"/>
              <a:gd name="csX853" fmla="*/ 45904 w 1609516"/>
              <a:gd name="csY853" fmla="*/ 400492 h 1538630"/>
              <a:gd name="csX854" fmla="*/ 43152 w 1609516"/>
              <a:gd name="csY854" fmla="*/ 397564 h 1538630"/>
              <a:gd name="csX855" fmla="*/ 37605 w 1609516"/>
              <a:gd name="csY855" fmla="*/ 393798 h 1538630"/>
              <a:gd name="csX856" fmla="*/ 38995 w 1609516"/>
              <a:gd name="csY856" fmla="*/ 368712 h 1538630"/>
              <a:gd name="csX857" fmla="*/ 38666 w 1609516"/>
              <a:gd name="csY857" fmla="*/ 369724 h 1538630"/>
              <a:gd name="csX858" fmla="*/ 35542 w 1609516"/>
              <a:gd name="csY858" fmla="*/ 384081 h 1538630"/>
              <a:gd name="csX859" fmla="*/ 33326 w 1609516"/>
              <a:gd name="csY859" fmla="*/ 357791 h 1538630"/>
              <a:gd name="csX860" fmla="*/ 52725 w 1609516"/>
              <a:gd name="csY860" fmla="*/ 333349 h 1538630"/>
              <a:gd name="csX861" fmla="*/ 55222 w 1609516"/>
              <a:gd name="csY861" fmla="*/ 334475 h 1538630"/>
              <a:gd name="csX862" fmla="*/ 56222 w 1609516"/>
              <a:gd name="csY862" fmla="*/ 333347 h 1538630"/>
              <a:gd name="csX863" fmla="*/ 55871 w 1609516"/>
              <a:gd name="csY863" fmla="*/ 333347 h 1538630"/>
              <a:gd name="csX864" fmla="*/ 56346 w 1609516"/>
              <a:gd name="csY864" fmla="*/ 333207 h 1538630"/>
              <a:gd name="csX865" fmla="*/ 56351 w 1609516"/>
              <a:gd name="csY865" fmla="*/ 333202 h 1538630"/>
              <a:gd name="csX866" fmla="*/ 56365 w 1609516"/>
              <a:gd name="csY866" fmla="*/ 333202 h 1538630"/>
              <a:gd name="csX867" fmla="*/ 79571 w 1609516"/>
              <a:gd name="csY867" fmla="*/ 326360 h 1538630"/>
              <a:gd name="csX868" fmla="*/ 104297 w 1609516"/>
              <a:gd name="csY868" fmla="*/ 330529 h 1538630"/>
              <a:gd name="csX869" fmla="*/ 107170 w 1609516"/>
              <a:gd name="csY869" fmla="*/ 334417 h 1538630"/>
              <a:gd name="csX870" fmla="*/ 109366 w 1609516"/>
              <a:gd name="csY870" fmla="*/ 336046 h 1538630"/>
              <a:gd name="csX871" fmla="*/ 109463 w 1609516"/>
              <a:gd name="csY871" fmla="*/ 336020 h 1538630"/>
              <a:gd name="csX872" fmla="*/ 109463 w 1609516"/>
              <a:gd name="csY872" fmla="*/ 336118 h 1538630"/>
              <a:gd name="csX873" fmla="*/ 115226 w 1609516"/>
              <a:gd name="csY873" fmla="*/ 340394 h 1538630"/>
              <a:gd name="csX874" fmla="*/ 114010 w 1609516"/>
              <a:gd name="csY874" fmla="*/ 340120 h 1538630"/>
              <a:gd name="csX875" fmla="*/ 133285 w 1609516"/>
              <a:gd name="csY875" fmla="*/ 357423 h 1538630"/>
              <a:gd name="csX876" fmla="*/ 173509 w 1609516"/>
              <a:gd name="csY876" fmla="*/ 389571 h 1538630"/>
              <a:gd name="csX877" fmla="*/ 181711 w 1609516"/>
              <a:gd name="csY877" fmla="*/ 393270 h 1538630"/>
              <a:gd name="csX878" fmla="*/ 185507 w 1609516"/>
              <a:gd name="csY878" fmla="*/ 394976 h 1538630"/>
              <a:gd name="csX879" fmla="*/ 192658 w 1609516"/>
              <a:gd name="csY879" fmla="*/ 398257 h 1538630"/>
              <a:gd name="csX880" fmla="*/ 195966 w 1609516"/>
              <a:gd name="csY880" fmla="*/ 399788 h 1538630"/>
              <a:gd name="csX881" fmla="*/ 198833 w 1609516"/>
              <a:gd name="csY881" fmla="*/ 401131 h 1538630"/>
              <a:gd name="csX882" fmla="*/ 207877 w 1609516"/>
              <a:gd name="csY882" fmla="*/ 403663 h 1538630"/>
              <a:gd name="csX883" fmla="*/ 207877 w 1609516"/>
              <a:gd name="csY883" fmla="*/ 406481 h 1538630"/>
              <a:gd name="csX884" fmla="*/ 248492 w 1609516"/>
              <a:gd name="csY884" fmla="*/ 419428 h 1538630"/>
              <a:gd name="csX885" fmla="*/ 253965 w 1609516"/>
              <a:gd name="csY885" fmla="*/ 421000 h 1538630"/>
              <a:gd name="csX886" fmla="*/ 267237 w 1609516"/>
              <a:gd name="csY886" fmla="*/ 424801 h 1538630"/>
              <a:gd name="csX887" fmla="*/ 267237 w 1609516"/>
              <a:gd name="csY887" fmla="*/ 426451 h 1538630"/>
              <a:gd name="csX888" fmla="*/ 288701 w 1609516"/>
              <a:gd name="csY888" fmla="*/ 429217 h 1538630"/>
              <a:gd name="csX889" fmla="*/ 288701 w 1609516"/>
              <a:gd name="csY889" fmla="*/ 432036 h 1538630"/>
              <a:gd name="csX890" fmla="*/ 327010 w 1609516"/>
              <a:gd name="csY890" fmla="*/ 433628 h 1538630"/>
              <a:gd name="csX891" fmla="*/ 337486 w 1609516"/>
              <a:gd name="csY891" fmla="*/ 433637 h 1538630"/>
              <a:gd name="csX892" fmla="*/ 344229 w 1609516"/>
              <a:gd name="csY892" fmla="*/ 433632 h 1538630"/>
              <a:gd name="csX893" fmla="*/ 350323 w 1609516"/>
              <a:gd name="csY893" fmla="*/ 433627 h 1538630"/>
              <a:gd name="csX894" fmla="*/ 365245 w 1609516"/>
              <a:gd name="csY894" fmla="*/ 432036 h 1538630"/>
              <a:gd name="csX895" fmla="*/ 360797 w 1609516"/>
              <a:gd name="csY895" fmla="*/ 433759 h 1538630"/>
              <a:gd name="csX896" fmla="*/ 365650 w 1609516"/>
              <a:gd name="csY896" fmla="*/ 433257 h 1538630"/>
              <a:gd name="csX897" fmla="*/ 367213 w 1609516"/>
              <a:gd name="csY897" fmla="*/ 429029 h 1538630"/>
              <a:gd name="csX898" fmla="*/ 375188 w 1609516"/>
              <a:gd name="csY898" fmla="*/ 424906 h 1538630"/>
              <a:gd name="csX899" fmla="*/ 404704 w 1609516"/>
              <a:gd name="csY899" fmla="*/ 389571 h 1538630"/>
              <a:gd name="csX900" fmla="*/ 406265 w 1609516"/>
              <a:gd name="csY900" fmla="*/ 388161 h 1538630"/>
              <a:gd name="csX901" fmla="*/ 406559 w 1609516"/>
              <a:gd name="csY901" fmla="*/ 370106 h 1538630"/>
              <a:gd name="csX902" fmla="*/ 406617 w 1609516"/>
              <a:gd name="csY902" fmla="*/ 364973 h 1538630"/>
              <a:gd name="csX903" fmla="*/ 406626 w 1609516"/>
              <a:gd name="csY903" fmla="*/ 360038 h 1538630"/>
              <a:gd name="csX904" fmla="*/ 406645 w 1609516"/>
              <a:gd name="csY904" fmla="*/ 355503 h 1538630"/>
              <a:gd name="csX905" fmla="*/ 403142 w 1609516"/>
              <a:gd name="csY905" fmla="*/ 345885 h 1538630"/>
              <a:gd name="csX906" fmla="*/ 401579 w 1609516"/>
              <a:gd name="csY906" fmla="*/ 338663 h 1538630"/>
              <a:gd name="csX907" fmla="*/ 390938 w 1609516"/>
              <a:gd name="csY907" fmla="*/ 315939 h 1538630"/>
              <a:gd name="csX908" fmla="*/ 388976 w 1609516"/>
              <a:gd name="csY908" fmla="*/ 312762 h 1538630"/>
              <a:gd name="csX909" fmla="*/ 377934 w 1609516"/>
              <a:gd name="csY909" fmla="*/ 297817 h 1538630"/>
              <a:gd name="csX910" fmla="*/ 368775 w 1609516"/>
              <a:gd name="csY910" fmla="*/ 282470 h 1538630"/>
              <a:gd name="csX911" fmla="*/ 359890 w 1609516"/>
              <a:gd name="csY911" fmla="*/ 271284 h 1538630"/>
              <a:gd name="csX912" fmla="*/ 357374 w 1609516"/>
              <a:gd name="csY912" fmla="*/ 268288 h 1538630"/>
              <a:gd name="csX913" fmla="*/ 337533 w 1609516"/>
              <a:gd name="csY913" fmla="*/ 248649 h 1538630"/>
              <a:gd name="csX914" fmla="*/ 335214 w 1609516"/>
              <a:gd name="csY914" fmla="*/ 246369 h 1538630"/>
              <a:gd name="csX915" fmla="*/ 327085 w 1609516"/>
              <a:gd name="csY915" fmla="*/ 242571 h 1538630"/>
              <a:gd name="csX916" fmla="*/ 288785 w 1609516"/>
              <a:gd name="csY916" fmla="*/ 207968 h 1538630"/>
              <a:gd name="csX917" fmla="*/ 286373 w 1609516"/>
              <a:gd name="csY917" fmla="*/ 192544 h 1538630"/>
              <a:gd name="csX918" fmla="*/ 286385 w 1609516"/>
              <a:gd name="csY918" fmla="*/ 189190 h 1538630"/>
              <a:gd name="csX919" fmla="*/ 300042 w 1609516"/>
              <a:gd name="csY919" fmla="*/ 164095 h 1538630"/>
              <a:gd name="csX920" fmla="*/ 302757 w 1609516"/>
              <a:gd name="csY920" fmla="*/ 161381 h 1538630"/>
              <a:gd name="csX921" fmla="*/ 338411 w 1609516"/>
              <a:gd name="csY921" fmla="*/ 152293 h 1538630"/>
              <a:gd name="csX922" fmla="*/ 368482 w 1609516"/>
              <a:gd name="csY922" fmla="*/ 161893 h 1538630"/>
              <a:gd name="csX923" fmla="*/ 371899 w 1609516"/>
              <a:gd name="csY923" fmla="*/ 165505 h 1538630"/>
              <a:gd name="csX924" fmla="*/ 375121 w 1609516"/>
              <a:gd name="csY924" fmla="*/ 168587 h 1538630"/>
              <a:gd name="csX925" fmla="*/ 384982 w 1609516"/>
              <a:gd name="csY925" fmla="*/ 193777 h 1538630"/>
              <a:gd name="csX926" fmla="*/ 390352 w 1609516"/>
              <a:gd name="csY926" fmla="*/ 214563 h 1538630"/>
              <a:gd name="csX927" fmla="*/ 391529 w 1609516"/>
              <a:gd name="csY927" fmla="*/ 217626 h 1538630"/>
              <a:gd name="csX928" fmla="*/ 401579 w 1609516"/>
              <a:gd name="csY928" fmla="*/ 234556 h 1538630"/>
              <a:gd name="csX929" fmla="*/ 401579 w 1609516"/>
              <a:gd name="csY929" fmla="*/ 238784 h 1538630"/>
              <a:gd name="csX930" fmla="*/ 404215 w 1609516"/>
              <a:gd name="csY930" fmla="*/ 239753 h 1538630"/>
              <a:gd name="csX931" fmla="*/ 417811 w 1609516"/>
              <a:gd name="csY931" fmla="*/ 251996 h 1538630"/>
              <a:gd name="csX932" fmla="*/ 426866 w 1609516"/>
              <a:gd name="csY932" fmla="*/ 262300 h 1538630"/>
              <a:gd name="csX933" fmla="*/ 450097 w 1609516"/>
              <a:gd name="csY933" fmla="*/ 287628 h 1538630"/>
              <a:gd name="csX934" fmla="*/ 457425 w 1609516"/>
              <a:gd name="csY934" fmla="*/ 293920 h 1538630"/>
              <a:gd name="csX935" fmla="*/ 460940 w 1609516"/>
              <a:gd name="csY935" fmla="*/ 296562 h 1538630"/>
              <a:gd name="csX936" fmla="*/ 460940 w 1609516"/>
              <a:gd name="csY936" fmla="*/ 300790 h 1538630"/>
              <a:gd name="csX937" fmla="*/ 473437 w 1609516"/>
              <a:gd name="csY937" fmla="*/ 305018 h 1538630"/>
              <a:gd name="csX938" fmla="*/ 473437 w 1609516"/>
              <a:gd name="csY938" fmla="*/ 307836 h 1538630"/>
              <a:gd name="csX939" fmla="*/ 479881 w 1609516"/>
              <a:gd name="csY939" fmla="*/ 309862 h 1538630"/>
              <a:gd name="csX940" fmla="*/ 483505 w 1609516"/>
              <a:gd name="csY940" fmla="*/ 311001 h 1538630"/>
              <a:gd name="csX941" fmla="*/ 548419 w 1609516"/>
              <a:gd name="csY941" fmla="*/ 306427 h 1538630"/>
              <a:gd name="csX942" fmla="*/ 551842 w 1609516"/>
              <a:gd name="csY942" fmla="*/ 305127 h 1538630"/>
              <a:gd name="csX943" fmla="*/ 560232 w 1609516"/>
              <a:gd name="csY943" fmla="*/ 298148 h 1538630"/>
              <a:gd name="csX944" fmla="*/ 562972 w 1609516"/>
              <a:gd name="csY944" fmla="*/ 295252 h 1538630"/>
              <a:gd name="csX945" fmla="*/ 568086 w 1609516"/>
              <a:gd name="csY945" fmla="*/ 289152 h 1538630"/>
              <a:gd name="csX946" fmla="*/ 570289 w 1609516"/>
              <a:gd name="csY946" fmla="*/ 286697 h 1538630"/>
              <a:gd name="csX947" fmla="*/ 573413 w 1609516"/>
              <a:gd name="csY947" fmla="*/ 286697 h 1538630"/>
              <a:gd name="csX948" fmla="*/ 577220 w 1609516"/>
              <a:gd name="csY948" fmla="*/ 257016 h 1538630"/>
              <a:gd name="csX949" fmla="*/ 577235 w 1609516"/>
              <a:gd name="csY949" fmla="*/ 254206 h 1538630"/>
              <a:gd name="csX950" fmla="*/ 569443 w 1609516"/>
              <a:gd name="csY950" fmla="*/ 206049 h 1538630"/>
              <a:gd name="csX951" fmla="*/ 568726 w 1609516"/>
              <a:gd name="csY951" fmla="*/ 200735 h 1538630"/>
              <a:gd name="csX952" fmla="*/ 565602 w 1609516"/>
              <a:gd name="csY952" fmla="*/ 200735 h 1538630"/>
              <a:gd name="csX953" fmla="*/ 559549 w 1609516"/>
              <a:gd name="csY953" fmla="*/ 184441 h 1538630"/>
              <a:gd name="csX954" fmla="*/ 537484 w 1609516"/>
              <a:gd name="csY954" fmla="*/ 159867 h 1538630"/>
              <a:gd name="csX955" fmla="*/ 531235 w 1609516"/>
              <a:gd name="csY955" fmla="*/ 154230 h 1538630"/>
              <a:gd name="csX956" fmla="*/ 531235 w 1609516"/>
              <a:gd name="csY956" fmla="*/ 151412 h 1538630"/>
              <a:gd name="csX957" fmla="*/ 526549 w 1609516"/>
              <a:gd name="csY957" fmla="*/ 150003 h 1538630"/>
              <a:gd name="csX958" fmla="*/ 524304 w 1609516"/>
              <a:gd name="csY958" fmla="*/ 107198 h 1538630"/>
              <a:gd name="csX959" fmla="*/ 547052 w 1609516"/>
              <a:gd name="csY959" fmla="*/ 85972 h 1538630"/>
              <a:gd name="csX960" fmla="*/ 588460 w 1609516"/>
              <a:gd name="csY960" fmla="*/ 83538 h 1538630"/>
              <a:gd name="csX961" fmla="*/ 617152 w 1609516"/>
              <a:gd name="csY961" fmla="*/ 111954 h 1538630"/>
              <a:gd name="csX962" fmla="*/ 617884 w 1609516"/>
              <a:gd name="csY962" fmla="*/ 124175 h 1538630"/>
              <a:gd name="csX963" fmla="*/ 617917 w 1609516"/>
              <a:gd name="csY963" fmla="*/ 127607 h 1538630"/>
              <a:gd name="csX964" fmla="*/ 617919 w 1609516"/>
              <a:gd name="csY964" fmla="*/ 141969 h 1538630"/>
              <a:gd name="csX965" fmla="*/ 630625 w 1609516"/>
              <a:gd name="csY965" fmla="*/ 191311 h 1538630"/>
              <a:gd name="csX966" fmla="*/ 637850 w 1609516"/>
              <a:gd name="csY966" fmla="*/ 205139 h 1538630"/>
              <a:gd name="csX967" fmla="*/ 643708 w 1609516"/>
              <a:gd name="csY967" fmla="*/ 212009 h 1538630"/>
              <a:gd name="csX968" fmla="*/ 647027 w 1609516"/>
              <a:gd name="csY968" fmla="*/ 217645 h 1538630"/>
              <a:gd name="csX969" fmla="*/ 670264 w 1609516"/>
              <a:gd name="csY969" fmla="*/ 241603 h 1538630"/>
              <a:gd name="csX970" fmla="*/ 670264 w 1609516"/>
              <a:gd name="csY970" fmla="*/ 244421 h 1538630"/>
              <a:gd name="csX971" fmla="*/ 675634 w 1609516"/>
              <a:gd name="csY971" fmla="*/ 245742 h 1538630"/>
              <a:gd name="csX972" fmla="*/ 682761 w 1609516"/>
              <a:gd name="csY972" fmla="*/ 248649 h 1538630"/>
              <a:gd name="csX973" fmla="*/ 752092 w 1609516"/>
              <a:gd name="csY973" fmla="*/ 245076 h 1538630"/>
              <a:gd name="csX974" fmla="*/ 758433 w 1609516"/>
              <a:gd name="csY974" fmla="*/ 240485 h 1538630"/>
              <a:gd name="csX975" fmla="*/ 763991 w 1609516"/>
              <a:gd name="csY975" fmla="*/ 238784 h 1538630"/>
              <a:gd name="csX976" fmla="*/ 765315 w 1609516"/>
              <a:gd name="csY976" fmla="*/ 235778 h 1538630"/>
              <a:gd name="csX977" fmla="*/ 770923 w 1609516"/>
              <a:gd name="csY977" fmla="*/ 223459 h 1538630"/>
              <a:gd name="csX978" fmla="*/ 772998 w 1609516"/>
              <a:gd name="csY978" fmla="*/ 218934 h 1538630"/>
              <a:gd name="csX979" fmla="*/ 777562 w 1609516"/>
              <a:gd name="csY979" fmla="*/ 209895 h 1538630"/>
              <a:gd name="csX980" fmla="*/ 781175 w 1609516"/>
              <a:gd name="csY980" fmla="*/ 124637 h 1538630"/>
              <a:gd name="csX981" fmla="*/ 778051 w 1609516"/>
              <a:gd name="csY981" fmla="*/ 124637 h 1538630"/>
              <a:gd name="csX982" fmla="*/ 767116 w 1609516"/>
              <a:gd name="csY982" fmla="*/ 79542 h 1538630"/>
              <a:gd name="csX983" fmla="*/ 793379 w 1609516"/>
              <a:gd name="csY983" fmla="*/ 54000 h 1538630"/>
              <a:gd name="csX984" fmla="*/ 840688 w 1609516"/>
              <a:gd name="csY984" fmla="*/ 55503 h 1538630"/>
              <a:gd name="csX985" fmla="*/ 851470 w 1609516"/>
              <a:gd name="csY985" fmla="*/ 64040 h 1538630"/>
              <a:gd name="csX986" fmla="*/ 853997 w 1609516"/>
              <a:gd name="csY986" fmla="*/ 66529 h 1538630"/>
              <a:gd name="csX987" fmla="*/ 861488 w 1609516"/>
              <a:gd name="csY987" fmla="*/ 82057 h 1538630"/>
              <a:gd name="csX988" fmla="*/ 861937 w 1609516"/>
              <a:gd name="csY988" fmla="*/ 90492 h 1538630"/>
              <a:gd name="csX989" fmla="*/ 863826 w 1609516"/>
              <a:gd name="csY989" fmla="*/ 100715 h 1538630"/>
              <a:gd name="csX990" fmla="*/ 857577 w 1609516"/>
              <a:gd name="csY990" fmla="*/ 121853 h 1538630"/>
              <a:gd name="csX991" fmla="*/ 856015 w 1609516"/>
              <a:gd name="csY991" fmla="*/ 121853 h 1538630"/>
              <a:gd name="csX992" fmla="*/ 855442 w 1609516"/>
              <a:gd name="csY992" fmla="*/ 118919 h 1538630"/>
              <a:gd name="csX993" fmla="*/ 855417 w 1609516"/>
              <a:gd name="csY993" fmla="*/ 118798 h 1538630"/>
              <a:gd name="csX994" fmla="*/ 856157 w 1609516"/>
              <a:gd name="csY994" fmla="*/ 124637 h 1538630"/>
              <a:gd name="csX995" fmla="*/ 850623 w 1609516"/>
              <a:gd name="csY995" fmla="*/ 134701 h 1538630"/>
              <a:gd name="csX996" fmla="*/ 851325 w 1609516"/>
              <a:gd name="csY996" fmla="*/ 135968 h 1538630"/>
              <a:gd name="csX997" fmla="*/ 849886 w 1609516"/>
              <a:gd name="csY997" fmla="*/ 139843 h 1538630"/>
              <a:gd name="csX998" fmla="*/ 847786 w 1609516"/>
              <a:gd name="csY998" fmla="*/ 152889 h 1538630"/>
              <a:gd name="csX999" fmla="*/ 847767 w 1609516"/>
              <a:gd name="csY999" fmla="*/ 157768 h 1538630"/>
              <a:gd name="csX1000" fmla="*/ 847810 w 1609516"/>
              <a:gd name="csY1000" fmla="*/ 162919 h 1538630"/>
              <a:gd name="csX1001" fmla="*/ 847832 w 1609516"/>
              <a:gd name="csY1001" fmla="*/ 168227 h 1538630"/>
              <a:gd name="csX1002" fmla="*/ 850903 w 1609516"/>
              <a:gd name="csY1002" fmla="*/ 209013 h 1538630"/>
              <a:gd name="csX1003" fmla="*/ 852880 w 1609516"/>
              <a:gd name="csY1003" fmla="*/ 224692 h 1538630"/>
              <a:gd name="csX1004" fmla="*/ 854595 w 1609516"/>
              <a:gd name="csY1004" fmla="*/ 224692 h 1538630"/>
              <a:gd name="csX1005" fmla="*/ 856083 w 1609516"/>
              <a:gd name="csY1005" fmla="*/ 227268 h 1538630"/>
              <a:gd name="csX1006" fmla="*/ 879588 w 1609516"/>
              <a:gd name="csY1006" fmla="*/ 247239 h 1538630"/>
              <a:gd name="csX1007" fmla="*/ 885739 w 1609516"/>
              <a:gd name="csY1007" fmla="*/ 249618 h 1538630"/>
              <a:gd name="csX1008" fmla="*/ 890523 w 1609516"/>
              <a:gd name="csY1008" fmla="*/ 251467 h 1538630"/>
              <a:gd name="csX1009" fmla="*/ 890523 w 1609516"/>
              <a:gd name="csY1009" fmla="*/ 254285 h 1538630"/>
              <a:gd name="csX1010" fmla="*/ 920203 w 1609516"/>
              <a:gd name="csY1010" fmla="*/ 261332 h 1538630"/>
              <a:gd name="csX1011" fmla="*/ 920203 w 1609516"/>
              <a:gd name="csY1011" fmla="*/ 262741 h 1538630"/>
              <a:gd name="csX1012" fmla="*/ 910831 w 1609516"/>
              <a:gd name="csY1012" fmla="*/ 262741 h 1538630"/>
              <a:gd name="csX1013" fmla="*/ 910831 w 1609516"/>
              <a:gd name="csY1013" fmla="*/ 262864 h 1538630"/>
              <a:gd name="csX1014" fmla="*/ 927993 w 1609516"/>
              <a:gd name="csY1014" fmla="*/ 264177 h 1538630"/>
              <a:gd name="csX1015" fmla="*/ 939273 w 1609516"/>
              <a:gd name="csY1015" fmla="*/ 265285 h 1538630"/>
              <a:gd name="csX1016" fmla="*/ 940456 w 1609516"/>
              <a:gd name="csY1016" fmla="*/ 265191 h 1538630"/>
              <a:gd name="csX1017" fmla="*/ 991622 w 1609516"/>
              <a:gd name="csY1017" fmla="*/ 242329 h 1538630"/>
              <a:gd name="csX1018" fmla="*/ 1000803 w 1609516"/>
              <a:gd name="csY1018" fmla="*/ 236505 h 1538630"/>
              <a:gd name="csX1019" fmla="*/ 999806 w 1609516"/>
              <a:gd name="csY1019" fmla="*/ 236055 h 1538630"/>
              <a:gd name="csX1020" fmla="*/ 1003126 w 1609516"/>
              <a:gd name="csY1020" fmla="*/ 232851 h 1538630"/>
              <a:gd name="csX1021" fmla="*/ 1029487 w 1609516"/>
              <a:gd name="csY1021" fmla="*/ 205052 h 1538630"/>
              <a:gd name="csX1022" fmla="*/ 1029872 w 1609516"/>
              <a:gd name="csY1022" fmla="*/ 206442 h 1538630"/>
              <a:gd name="csX1023" fmla="*/ 1031614 w 1609516"/>
              <a:gd name="csY1023" fmla="*/ 203719 h 1538630"/>
              <a:gd name="csX1024" fmla="*/ 1038924 w 1609516"/>
              <a:gd name="csY1024" fmla="*/ 192280 h 1538630"/>
              <a:gd name="csX1025" fmla="*/ 1042049 w 1609516"/>
              <a:gd name="csY1025" fmla="*/ 190870 h 1538630"/>
              <a:gd name="csX1026" fmla="*/ 1044294 w 1609516"/>
              <a:gd name="csY1026" fmla="*/ 186026 h 1538630"/>
              <a:gd name="csX1027" fmla="*/ 1051422 w 1609516"/>
              <a:gd name="csY1027" fmla="*/ 178188 h 1538630"/>
              <a:gd name="csX1028" fmla="*/ 1052984 w 1609516"/>
              <a:gd name="csY1028" fmla="*/ 172551 h 1538630"/>
              <a:gd name="csX1029" fmla="*/ 1056108 w 1609516"/>
              <a:gd name="csY1029" fmla="*/ 172551 h 1538630"/>
              <a:gd name="csX1030" fmla="*/ 1059232 w 1609516"/>
              <a:gd name="csY1030" fmla="*/ 162686 h 1538630"/>
              <a:gd name="csX1031" fmla="*/ 1062357 w 1609516"/>
              <a:gd name="csY1031" fmla="*/ 162686 h 1538630"/>
              <a:gd name="csX1032" fmla="*/ 1063162 w 1609516"/>
              <a:gd name="csY1032" fmla="*/ 160258 h 1538630"/>
              <a:gd name="csX1033" fmla="*/ 1073292 w 1609516"/>
              <a:gd name="csY1033" fmla="*/ 140138 h 1538630"/>
              <a:gd name="csX1034" fmla="*/ 1076415 w 1609516"/>
              <a:gd name="csY1034" fmla="*/ 140138 h 1538630"/>
              <a:gd name="csX1035" fmla="*/ 1085294 w 1609516"/>
              <a:gd name="csY1035" fmla="*/ 117569 h 1538630"/>
              <a:gd name="csX1036" fmla="*/ 1087350 w 1609516"/>
              <a:gd name="csY1036" fmla="*/ 113363 h 1538630"/>
              <a:gd name="csX1037" fmla="*/ 1092037 w 1609516"/>
              <a:gd name="csY1037" fmla="*/ 111954 h 1538630"/>
              <a:gd name="csX1038" fmla="*/ 1092623 w 1609516"/>
              <a:gd name="csY1038" fmla="*/ 108695 h 1538630"/>
              <a:gd name="csX1039" fmla="*/ 1096723 w 1609516"/>
              <a:gd name="csY1039" fmla="*/ 100680 h 1538630"/>
              <a:gd name="csX1040" fmla="*/ 1098188 w 1609516"/>
              <a:gd name="csY1040" fmla="*/ 96013 h 1538630"/>
              <a:gd name="csX1041" fmla="*/ 1102288 w 1609516"/>
              <a:gd name="csY1041" fmla="*/ 87029 h 1538630"/>
              <a:gd name="csX1042" fmla="*/ 1104534 w 1609516"/>
              <a:gd name="csY1042" fmla="*/ 61222 h 1538630"/>
              <a:gd name="csX1043" fmla="*/ 1104381 w 1609516"/>
              <a:gd name="csY1043" fmla="*/ 55569 h 1538630"/>
              <a:gd name="csX1044" fmla="*/ 1104397 w 1609516"/>
              <a:gd name="csY1044" fmla="*/ 52335 h 1538630"/>
              <a:gd name="csX1045" fmla="*/ 1104436 w 1609516"/>
              <a:gd name="csY1045" fmla="*/ 48979 h 1538630"/>
              <a:gd name="csX1046" fmla="*/ 1104457 w 1609516"/>
              <a:gd name="csY1046" fmla="*/ 45575 h 1538630"/>
              <a:gd name="csX1047" fmla="*/ 1104534 w 1609516"/>
              <a:gd name="csY1047" fmla="*/ 37265 h 1538630"/>
              <a:gd name="csX1048" fmla="*/ 1107658 w 1609516"/>
              <a:gd name="csY1048" fmla="*/ 37265 h 1538630"/>
              <a:gd name="csX1049" fmla="*/ 1107463 w 1609516"/>
              <a:gd name="csY1049" fmla="*/ 31805 h 1538630"/>
              <a:gd name="csX1050" fmla="*/ 1107658 w 1609516"/>
              <a:gd name="csY1050" fmla="*/ 25991 h 1538630"/>
              <a:gd name="csX1051" fmla="*/ 1110782 w 1609516"/>
              <a:gd name="csY1051" fmla="*/ 23173 h 1538630"/>
              <a:gd name="csX1052" fmla="*/ 1111759 w 1609516"/>
              <a:gd name="csY1052" fmla="*/ 20091 h 1538630"/>
              <a:gd name="csX1053" fmla="*/ 1134507 w 1609516"/>
              <a:gd name="csY1053" fmla="*/ 2828 h 1538630"/>
              <a:gd name="csX1054" fmla="*/ 1155019 w 1609516"/>
              <a:gd name="csY1054" fmla="*/ 35 h 153863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  <a:cxn ang="0">
                <a:pos x="csX170" y="csY170"/>
              </a:cxn>
              <a:cxn ang="0">
                <a:pos x="csX171" y="csY171"/>
              </a:cxn>
              <a:cxn ang="0">
                <a:pos x="csX172" y="csY172"/>
              </a:cxn>
              <a:cxn ang="0">
                <a:pos x="csX173" y="csY173"/>
              </a:cxn>
              <a:cxn ang="0">
                <a:pos x="csX174" y="csY174"/>
              </a:cxn>
              <a:cxn ang="0">
                <a:pos x="csX175" y="csY175"/>
              </a:cxn>
              <a:cxn ang="0">
                <a:pos x="csX176" y="csY176"/>
              </a:cxn>
              <a:cxn ang="0">
                <a:pos x="csX177" y="csY177"/>
              </a:cxn>
              <a:cxn ang="0">
                <a:pos x="csX178" y="csY178"/>
              </a:cxn>
              <a:cxn ang="0">
                <a:pos x="csX179" y="csY179"/>
              </a:cxn>
              <a:cxn ang="0">
                <a:pos x="csX180" y="csY180"/>
              </a:cxn>
              <a:cxn ang="0">
                <a:pos x="csX181" y="csY181"/>
              </a:cxn>
              <a:cxn ang="0">
                <a:pos x="csX182" y="csY182"/>
              </a:cxn>
              <a:cxn ang="0">
                <a:pos x="csX183" y="csY183"/>
              </a:cxn>
              <a:cxn ang="0">
                <a:pos x="csX184" y="csY184"/>
              </a:cxn>
              <a:cxn ang="0">
                <a:pos x="csX185" y="csY185"/>
              </a:cxn>
              <a:cxn ang="0">
                <a:pos x="csX186" y="csY186"/>
              </a:cxn>
              <a:cxn ang="0">
                <a:pos x="csX187" y="csY187"/>
              </a:cxn>
              <a:cxn ang="0">
                <a:pos x="csX188" y="csY188"/>
              </a:cxn>
              <a:cxn ang="0">
                <a:pos x="csX189" y="csY189"/>
              </a:cxn>
              <a:cxn ang="0">
                <a:pos x="csX190" y="csY190"/>
              </a:cxn>
              <a:cxn ang="0">
                <a:pos x="csX191" y="csY191"/>
              </a:cxn>
              <a:cxn ang="0">
                <a:pos x="csX192" y="csY192"/>
              </a:cxn>
              <a:cxn ang="0">
                <a:pos x="csX193" y="csY193"/>
              </a:cxn>
              <a:cxn ang="0">
                <a:pos x="csX194" y="csY194"/>
              </a:cxn>
              <a:cxn ang="0">
                <a:pos x="csX195" y="csY195"/>
              </a:cxn>
              <a:cxn ang="0">
                <a:pos x="csX196" y="csY196"/>
              </a:cxn>
              <a:cxn ang="0">
                <a:pos x="csX197" y="csY197"/>
              </a:cxn>
              <a:cxn ang="0">
                <a:pos x="csX198" y="csY198"/>
              </a:cxn>
              <a:cxn ang="0">
                <a:pos x="csX199" y="csY199"/>
              </a:cxn>
              <a:cxn ang="0">
                <a:pos x="csX200" y="csY200"/>
              </a:cxn>
              <a:cxn ang="0">
                <a:pos x="csX201" y="csY201"/>
              </a:cxn>
              <a:cxn ang="0">
                <a:pos x="csX202" y="csY202"/>
              </a:cxn>
              <a:cxn ang="0">
                <a:pos x="csX203" y="csY203"/>
              </a:cxn>
              <a:cxn ang="0">
                <a:pos x="csX204" y="csY204"/>
              </a:cxn>
              <a:cxn ang="0">
                <a:pos x="csX205" y="csY205"/>
              </a:cxn>
              <a:cxn ang="0">
                <a:pos x="csX206" y="csY206"/>
              </a:cxn>
              <a:cxn ang="0">
                <a:pos x="csX207" y="csY207"/>
              </a:cxn>
              <a:cxn ang="0">
                <a:pos x="csX208" y="csY208"/>
              </a:cxn>
              <a:cxn ang="0">
                <a:pos x="csX209" y="csY209"/>
              </a:cxn>
              <a:cxn ang="0">
                <a:pos x="csX210" y="csY210"/>
              </a:cxn>
              <a:cxn ang="0">
                <a:pos x="csX211" y="csY211"/>
              </a:cxn>
              <a:cxn ang="0">
                <a:pos x="csX212" y="csY212"/>
              </a:cxn>
              <a:cxn ang="0">
                <a:pos x="csX213" y="csY213"/>
              </a:cxn>
              <a:cxn ang="0">
                <a:pos x="csX214" y="csY214"/>
              </a:cxn>
              <a:cxn ang="0">
                <a:pos x="csX215" y="csY215"/>
              </a:cxn>
              <a:cxn ang="0">
                <a:pos x="csX216" y="csY216"/>
              </a:cxn>
              <a:cxn ang="0">
                <a:pos x="csX217" y="csY217"/>
              </a:cxn>
              <a:cxn ang="0">
                <a:pos x="csX218" y="csY218"/>
              </a:cxn>
              <a:cxn ang="0">
                <a:pos x="csX219" y="csY219"/>
              </a:cxn>
              <a:cxn ang="0">
                <a:pos x="csX220" y="csY220"/>
              </a:cxn>
              <a:cxn ang="0">
                <a:pos x="csX221" y="csY221"/>
              </a:cxn>
              <a:cxn ang="0">
                <a:pos x="csX222" y="csY222"/>
              </a:cxn>
              <a:cxn ang="0">
                <a:pos x="csX223" y="csY223"/>
              </a:cxn>
              <a:cxn ang="0">
                <a:pos x="csX224" y="csY224"/>
              </a:cxn>
              <a:cxn ang="0">
                <a:pos x="csX225" y="csY225"/>
              </a:cxn>
              <a:cxn ang="0">
                <a:pos x="csX226" y="csY226"/>
              </a:cxn>
              <a:cxn ang="0">
                <a:pos x="csX227" y="csY227"/>
              </a:cxn>
              <a:cxn ang="0">
                <a:pos x="csX228" y="csY228"/>
              </a:cxn>
              <a:cxn ang="0">
                <a:pos x="csX229" y="csY229"/>
              </a:cxn>
              <a:cxn ang="0">
                <a:pos x="csX230" y="csY230"/>
              </a:cxn>
              <a:cxn ang="0">
                <a:pos x="csX231" y="csY231"/>
              </a:cxn>
              <a:cxn ang="0">
                <a:pos x="csX232" y="csY232"/>
              </a:cxn>
              <a:cxn ang="0">
                <a:pos x="csX233" y="csY233"/>
              </a:cxn>
              <a:cxn ang="0">
                <a:pos x="csX234" y="csY234"/>
              </a:cxn>
              <a:cxn ang="0">
                <a:pos x="csX235" y="csY235"/>
              </a:cxn>
              <a:cxn ang="0">
                <a:pos x="csX236" y="csY236"/>
              </a:cxn>
              <a:cxn ang="0">
                <a:pos x="csX237" y="csY237"/>
              </a:cxn>
              <a:cxn ang="0">
                <a:pos x="csX238" y="csY238"/>
              </a:cxn>
              <a:cxn ang="0">
                <a:pos x="csX239" y="csY239"/>
              </a:cxn>
              <a:cxn ang="0">
                <a:pos x="csX240" y="csY240"/>
              </a:cxn>
              <a:cxn ang="0">
                <a:pos x="csX241" y="csY241"/>
              </a:cxn>
              <a:cxn ang="0">
                <a:pos x="csX242" y="csY242"/>
              </a:cxn>
              <a:cxn ang="0">
                <a:pos x="csX243" y="csY243"/>
              </a:cxn>
              <a:cxn ang="0">
                <a:pos x="csX244" y="csY244"/>
              </a:cxn>
              <a:cxn ang="0">
                <a:pos x="csX245" y="csY245"/>
              </a:cxn>
              <a:cxn ang="0">
                <a:pos x="csX246" y="csY246"/>
              </a:cxn>
              <a:cxn ang="0">
                <a:pos x="csX247" y="csY247"/>
              </a:cxn>
              <a:cxn ang="0">
                <a:pos x="csX248" y="csY248"/>
              </a:cxn>
              <a:cxn ang="0">
                <a:pos x="csX249" y="csY249"/>
              </a:cxn>
              <a:cxn ang="0">
                <a:pos x="csX250" y="csY250"/>
              </a:cxn>
              <a:cxn ang="0">
                <a:pos x="csX251" y="csY251"/>
              </a:cxn>
              <a:cxn ang="0">
                <a:pos x="csX252" y="csY252"/>
              </a:cxn>
              <a:cxn ang="0">
                <a:pos x="csX253" y="csY253"/>
              </a:cxn>
              <a:cxn ang="0">
                <a:pos x="csX254" y="csY254"/>
              </a:cxn>
              <a:cxn ang="0">
                <a:pos x="csX255" y="csY255"/>
              </a:cxn>
              <a:cxn ang="0">
                <a:pos x="csX256" y="csY256"/>
              </a:cxn>
              <a:cxn ang="0">
                <a:pos x="csX257" y="csY257"/>
              </a:cxn>
              <a:cxn ang="0">
                <a:pos x="csX258" y="csY258"/>
              </a:cxn>
              <a:cxn ang="0">
                <a:pos x="csX259" y="csY259"/>
              </a:cxn>
              <a:cxn ang="0">
                <a:pos x="csX260" y="csY260"/>
              </a:cxn>
              <a:cxn ang="0">
                <a:pos x="csX261" y="csY261"/>
              </a:cxn>
              <a:cxn ang="0">
                <a:pos x="csX262" y="csY262"/>
              </a:cxn>
              <a:cxn ang="0">
                <a:pos x="csX263" y="csY263"/>
              </a:cxn>
              <a:cxn ang="0">
                <a:pos x="csX264" y="csY264"/>
              </a:cxn>
              <a:cxn ang="0">
                <a:pos x="csX265" y="csY265"/>
              </a:cxn>
              <a:cxn ang="0">
                <a:pos x="csX266" y="csY266"/>
              </a:cxn>
              <a:cxn ang="0">
                <a:pos x="csX267" y="csY267"/>
              </a:cxn>
              <a:cxn ang="0">
                <a:pos x="csX268" y="csY268"/>
              </a:cxn>
              <a:cxn ang="0">
                <a:pos x="csX269" y="csY269"/>
              </a:cxn>
              <a:cxn ang="0">
                <a:pos x="csX270" y="csY270"/>
              </a:cxn>
              <a:cxn ang="0">
                <a:pos x="csX271" y="csY271"/>
              </a:cxn>
              <a:cxn ang="0">
                <a:pos x="csX272" y="csY272"/>
              </a:cxn>
              <a:cxn ang="0">
                <a:pos x="csX273" y="csY273"/>
              </a:cxn>
              <a:cxn ang="0">
                <a:pos x="csX274" y="csY274"/>
              </a:cxn>
              <a:cxn ang="0">
                <a:pos x="csX275" y="csY275"/>
              </a:cxn>
              <a:cxn ang="0">
                <a:pos x="csX276" y="csY276"/>
              </a:cxn>
              <a:cxn ang="0">
                <a:pos x="csX277" y="csY277"/>
              </a:cxn>
              <a:cxn ang="0">
                <a:pos x="csX278" y="csY278"/>
              </a:cxn>
              <a:cxn ang="0">
                <a:pos x="csX279" y="csY279"/>
              </a:cxn>
              <a:cxn ang="0">
                <a:pos x="csX280" y="csY280"/>
              </a:cxn>
              <a:cxn ang="0">
                <a:pos x="csX281" y="csY281"/>
              </a:cxn>
              <a:cxn ang="0">
                <a:pos x="csX282" y="csY282"/>
              </a:cxn>
              <a:cxn ang="0">
                <a:pos x="csX283" y="csY283"/>
              </a:cxn>
              <a:cxn ang="0">
                <a:pos x="csX284" y="csY284"/>
              </a:cxn>
              <a:cxn ang="0">
                <a:pos x="csX285" y="csY285"/>
              </a:cxn>
              <a:cxn ang="0">
                <a:pos x="csX286" y="csY286"/>
              </a:cxn>
              <a:cxn ang="0">
                <a:pos x="csX287" y="csY287"/>
              </a:cxn>
              <a:cxn ang="0">
                <a:pos x="csX288" y="csY288"/>
              </a:cxn>
              <a:cxn ang="0">
                <a:pos x="csX289" y="csY289"/>
              </a:cxn>
              <a:cxn ang="0">
                <a:pos x="csX290" y="csY290"/>
              </a:cxn>
              <a:cxn ang="0">
                <a:pos x="csX291" y="csY291"/>
              </a:cxn>
              <a:cxn ang="0">
                <a:pos x="csX292" y="csY292"/>
              </a:cxn>
              <a:cxn ang="0">
                <a:pos x="csX293" y="csY293"/>
              </a:cxn>
              <a:cxn ang="0">
                <a:pos x="csX294" y="csY294"/>
              </a:cxn>
              <a:cxn ang="0">
                <a:pos x="csX295" y="csY295"/>
              </a:cxn>
              <a:cxn ang="0">
                <a:pos x="csX296" y="csY296"/>
              </a:cxn>
              <a:cxn ang="0">
                <a:pos x="csX297" y="csY297"/>
              </a:cxn>
              <a:cxn ang="0">
                <a:pos x="csX298" y="csY298"/>
              </a:cxn>
              <a:cxn ang="0">
                <a:pos x="csX299" y="csY299"/>
              </a:cxn>
              <a:cxn ang="0">
                <a:pos x="csX300" y="csY300"/>
              </a:cxn>
              <a:cxn ang="0">
                <a:pos x="csX301" y="csY301"/>
              </a:cxn>
              <a:cxn ang="0">
                <a:pos x="csX302" y="csY302"/>
              </a:cxn>
              <a:cxn ang="0">
                <a:pos x="csX303" y="csY303"/>
              </a:cxn>
              <a:cxn ang="0">
                <a:pos x="csX304" y="csY304"/>
              </a:cxn>
              <a:cxn ang="0">
                <a:pos x="csX305" y="csY305"/>
              </a:cxn>
              <a:cxn ang="0">
                <a:pos x="csX306" y="csY306"/>
              </a:cxn>
              <a:cxn ang="0">
                <a:pos x="csX307" y="csY307"/>
              </a:cxn>
              <a:cxn ang="0">
                <a:pos x="csX308" y="csY308"/>
              </a:cxn>
              <a:cxn ang="0">
                <a:pos x="csX309" y="csY309"/>
              </a:cxn>
              <a:cxn ang="0">
                <a:pos x="csX310" y="csY310"/>
              </a:cxn>
              <a:cxn ang="0">
                <a:pos x="csX311" y="csY311"/>
              </a:cxn>
              <a:cxn ang="0">
                <a:pos x="csX312" y="csY312"/>
              </a:cxn>
              <a:cxn ang="0">
                <a:pos x="csX313" y="csY313"/>
              </a:cxn>
              <a:cxn ang="0">
                <a:pos x="csX314" y="csY314"/>
              </a:cxn>
              <a:cxn ang="0">
                <a:pos x="csX315" y="csY315"/>
              </a:cxn>
              <a:cxn ang="0">
                <a:pos x="csX316" y="csY316"/>
              </a:cxn>
              <a:cxn ang="0">
                <a:pos x="csX317" y="csY317"/>
              </a:cxn>
              <a:cxn ang="0">
                <a:pos x="csX318" y="csY318"/>
              </a:cxn>
              <a:cxn ang="0">
                <a:pos x="csX319" y="csY319"/>
              </a:cxn>
              <a:cxn ang="0">
                <a:pos x="csX320" y="csY320"/>
              </a:cxn>
              <a:cxn ang="0">
                <a:pos x="csX321" y="csY321"/>
              </a:cxn>
              <a:cxn ang="0">
                <a:pos x="csX322" y="csY322"/>
              </a:cxn>
              <a:cxn ang="0">
                <a:pos x="csX323" y="csY323"/>
              </a:cxn>
              <a:cxn ang="0">
                <a:pos x="csX324" y="csY324"/>
              </a:cxn>
              <a:cxn ang="0">
                <a:pos x="csX325" y="csY325"/>
              </a:cxn>
              <a:cxn ang="0">
                <a:pos x="csX326" y="csY326"/>
              </a:cxn>
              <a:cxn ang="0">
                <a:pos x="csX327" y="csY327"/>
              </a:cxn>
              <a:cxn ang="0">
                <a:pos x="csX328" y="csY328"/>
              </a:cxn>
              <a:cxn ang="0">
                <a:pos x="csX329" y="csY329"/>
              </a:cxn>
              <a:cxn ang="0">
                <a:pos x="csX330" y="csY330"/>
              </a:cxn>
              <a:cxn ang="0">
                <a:pos x="csX331" y="csY331"/>
              </a:cxn>
              <a:cxn ang="0">
                <a:pos x="csX332" y="csY332"/>
              </a:cxn>
              <a:cxn ang="0">
                <a:pos x="csX333" y="csY333"/>
              </a:cxn>
              <a:cxn ang="0">
                <a:pos x="csX334" y="csY334"/>
              </a:cxn>
              <a:cxn ang="0">
                <a:pos x="csX335" y="csY335"/>
              </a:cxn>
              <a:cxn ang="0">
                <a:pos x="csX336" y="csY336"/>
              </a:cxn>
              <a:cxn ang="0">
                <a:pos x="csX337" y="csY337"/>
              </a:cxn>
              <a:cxn ang="0">
                <a:pos x="csX338" y="csY338"/>
              </a:cxn>
              <a:cxn ang="0">
                <a:pos x="csX339" y="csY339"/>
              </a:cxn>
              <a:cxn ang="0">
                <a:pos x="csX340" y="csY340"/>
              </a:cxn>
              <a:cxn ang="0">
                <a:pos x="csX341" y="csY341"/>
              </a:cxn>
              <a:cxn ang="0">
                <a:pos x="csX342" y="csY342"/>
              </a:cxn>
              <a:cxn ang="0">
                <a:pos x="csX343" y="csY343"/>
              </a:cxn>
              <a:cxn ang="0">
                <a:pos x="csX344" y="csY344"/>
              </a:cxn>
              <a:cxn ang="0">
                <a:pos x="csX345" y="csY345"/>
              </a:cxn>
              <a:cxn ang="0">
                <a:pos x="csX346" y="csY346"/>
              </a:cxn>
              <a:cxn ang="0">
                <a:pos x="csX347" y="csY347"/>
              </a:cxn>
              <a:cxn ang="0">
                <a:pos x="csX348" y="csY348"/>
              </a:cxn>
              <a:cxn ang="0">
                <a:pos x="csX349" y="csY349"/>
              </a:cxn>
              <a:cxn ang="0">
                <a:pos x="csX350" y="csY350"/>
              </a:cxn>
              <a:cxn ang="0">
                <a:pos x="csX351" y="csY351"/>
              </a:cxn>
              <a:cxn ang="0">
                <a:pos x="csX352" y="csY352"/>
              </a:cxn>
              <a:cxn ang="0">
                <a:pos x="csX353" y="csY353"/>
              </a:cxn>
              <a:cxn ang="0">
                <a:pos x="csX354" y="csY354"/>
              </a:cxn>
              <a:cxn ang="0">
                <a:pos x="csX355" y="csY355"/>
              </a:cxn>
              <a:cxn ang="0">
                <a:pos x="csX356" y="csY356"/>
              </a:cxn>
              <a:cxn ang="0">
                <a:pos x="csX357" y="csY357"/>
              </a:cxn>
              <a:cxn ang="0">
                <a:pos x="csX358" y="csY358"/>
              </a:cxn>
              <a:cxn ang="0">
                <a:pos x="csX359" y="csY359"/>
              </a:cxn>
              <a:cxn ang="0">
                <a:pos x="csX360" y="csY360"/>
              </a:cxn>
              <a:cxn ang="0">
                <a:pos x="csX361" y="csY361"/>
              </a:cxn>
              <a:cxn ang="0">
                <a:pos x="csX362" y="csY362"/>
              </a:cxn>
              <a:cxn ang="0">
                <a:pos x="csX363" y="csY363"/>
              </a:cxn>
              <a:cxn ang="0">
                <a:pos x="csX364" y="csY364"/>
              </a:cxn>
              <a:cxn ang="0">
                <a:pos x="csX365" y="csY365"/>
              </a:cxn>
              <a:cxn ang="0">
                <a:pos x="csX366" y="csY366"/>
              </a:cxn>
              <a:cxn ang="0">
                <a:pos x="csX367" y="csY367"/>
              </a:cxn>
              <a:cxn ang="0">
                <a:pos x="csX368" y="csY368"/>
              </a:cxn>
              <a:cxn ang="0">
                <a:pos x="csX369" y="csY369"/>
              </a:cxn>
              <a:cxn ang="0">
                <a:pos x="csX370" y="csY370"/>
              </a:cxn>
              <a:cxn ang="0">
                <a:pos x="csX371" y="csY371"/>
              </a:cxn>
              <a:cxn ang="0">
                <a:pos x="csX372" y="csY372"/>
              </a:cxn>
              <a:cxn ang="0">
                <a:pos x="csX373" y="csY373"/>
              </a:cxn>
              <a:cxn ang="0">
                <a:pos x="csX374" y="csY374"/>
              </a:cxn>
              <a:cxn ang="0">
                <a:pos x="csX375" y="csY375"/>
              </a:cxn>
              <a:cxn ang="0">
                <a:pos x="csX376" y="csY376"/>
              </a:cxn>
              <a:cxn ang="0">
                <a:pos x="csX377" y="csY377"/>
              </a:cxn>
              <a:cxn ang="0">
                <a:pos x="csX378" y="csY378"/>
              </a:cxn>
              <a:cxn ang="0">
                <a:pos x="csX379" y="csY379"/>
              </a:cxn>
              <a:cxn ang="0">
                <a:pos x="csX380" y="csY380"/>
              </a:cxn>
              <a:cxn ang="0">
                <a:pos x="csX381" y="csY381"/>
              </a:cxn>
              <a:cxn ang="0">
                <a:pos x="csX382" y="csY382"/>
              </a:cxn>
              <a:cxn ang="0">
                <a:pos x="csX383" y="csY383"/>
              </a:cxn>
              <a:cxn ang="0">
                <a:pos x="csX384" y="csY384"/>
              </a:cxn>
              <a:cxn ang="0">
                <a:pos x="csX385" y="csY385"/>
              </a:cxn>
              <a:cxn ang="0">
                <a:pos x="csX386" y="csY386"/>
              </a:cxn>
              <a:cxn ang="0">
                <a:pos x="csX387" y="csY387"/>
              </a:cxn>
              <a:cxn ang="0">
                <a:pos x="csX388" y="csY388"/>
              </a:cxn>
              <a:cxn ang="0">
                <a:pos x="csX389" y="csY389"/>
              </a:cxn>
              <a:cxn ang="0">
                <a:pos x="csX390" y="csY390"/>
              </a:cxn>
              <a:cxn ang="0">
                <a:pos x="csX391" y="csY391"/>
              </a:cxn>
              <a:cxn ang="0">
                <a:pos x="csX392" y="csY392"/>
              </a:cxn>
              <a:cxn ang="0">
                <a:pos x="csX393" y="csY393"/>
              </a:cxn>
              <a:cxn ang="0">
                <a:pos x="csX394" y="csY394"/>
              </a:cxn>
              <a:cxn ang="0">
                <a:pos x="csX395" y="csY395"/>
              </a:cxn>
              <a:cxn ang="0">
                <a:pos x="csX396" y="csY396"/>
              </a:cxn>
              <a:cxn ang="0">
                <a:pos x="csX397" y="csY397"/>
              </a:cxn>
              <a:cxn ang="0">
                <a:pos x="csX398" y="csY398"/>
              </a:cxn>
              <a:cxn ang="0">
                <a:pos x="csX399" y="csY399"/>
              </a:cxn>
              <a:cxn ang="0">
                <a:pos x="csX400" y="csY400"/>
              </a:cxn>
              <a:cxn ang="0">
                <a:pos x="csX401" y="csY401"/>
              </a:cxn>
              <a:cxn ang="0">
                <a:pos x="csX402" y="csY402"/>
              </a:cxn>
              <a:cxn ang="0">
                <a:pos x="csX403" y="csY403"/>
              </a:cxn>
              <a:cxn ang="0">
                <a:pos x="csX404" y="csY404"/>
              </a:cxn>
              <a:cxn ang="0">
                <a:pos x="csX405" y="csY405"/>
              </a:cxn>
              <a:cxn ang="0">
                <a:pos x="csX406" y="csY406"/>
              </a:cxn>
              <a:cxn ang="0">
                <a:pos x="csX407" y="csY407"/>
              </a:cxn>
              <a:cxn ang="0">
                <a:pos x="csX408" y="csY408"/>
              </a:cxn>
              <a:cxn ang="0">
                <a:pos x="csX409" y="csY409"/>
              </a:cxn>
              <a:cxn ang="0">
                <a:pos x="csX410" y="csY410"/>
              </a:cxn>
              <a:cxn ang="0">
                <a:pos x="csX411" y="csY411"/>
              </a:cxn>
              <a:cxn ang="0">
                <a:pos x="csX412" y="csY412"/>
              </a:cxn>
              <a:cxn ang="0">
                <a:pos x="csX413" y="csY413"/>
              </a:cxn>
              <a:cxn ang="0">
                <a:pos x="csX414" y="csY414"/>
              </a:cxn>
              <a:cxn ang="0">
                <a:pos x="csX415" y="csY415"/>
              </a:cxn>
              <a:cxn ang="0">
                <a:pos x="csX416" y="csY416"/>
              </a:cxn>
              <a:cxn ang="0">
                <a:pos x="csX417" y="csY417"/>
              </a:cxn>
              <a:cxn ang="0">
                <a:pos x="csX418" y="csY418"/>
              </a:cxn>
              <a:cxn ang="0">
                <a:pos x="csX419" y="csY419"/>
              </a:cxn>
              <a:cxn ang="0">
                <a:pos x="csX420" y="csY420"/>
              </a:cxn>
              <a:cxn ang="0">
                <a:pos x="csX421" y="csY421"/>
              </a:cxn>
              <a:cxn ang="0">
                <a:pos x="csX422" y="csY422"/>
              </a:cxn>
              <a:cxn ang="0">
                <a:pos x="csX423" y="csY423"/>
              </a:cxn>
              <a:cxn ang="0">
                <a:pos x="csX424" y="csY424"/>
              </a:cxn>
              <a:cxn ang="0">
                <a:pos x="csX425" y="csY425"/>
              </a:cxn>
              <a:cxn ang="0">
                <a:pos x="csX426" y="csY426"/>
              </a:cxn>
              <a:cxn ang="0">
                <a:pos x="csX427" y="csY427"/>
              </a:cxn>
              <a:cxn ang="0">
                <a:pos x="csX428" y="csY428"/>
              </a:cxn>
              <a:cxn ang="0">
                <a:pos x="csX429" y="csY429"/>
              </a:cxn>
              <a:cxn ang="0">
                <a:pos x="csX430" y="csY430"/>
              </a:cxn>
              <a:cxn ang="0">
                <a:pos x="csX431" y="csY431"/>
              </a:cxn>
              <a:cxn ang="0">
                <a:pos x="csX432" y="csY432"/>
              </a:cxn>
              <a:cxn ang="0">
                <a:pos x="csX433" y="csY433"/>
              </a:cxn>
              <a:cxn ang="0">
                <a:pos x="csX434" y="csY434"/>
              </a:cxn>
              <a:cxn ang="0">
                <a:pos x="csX435" y="csY435"/>
              </a:cxn>
              <a:cxn ang="0">
                <a:pos x="csX436" y="csY436"/>
              </a:cxn>
              <a:cxn ang="0">
                <a:pos x="csX437" y="csY437"/>
              </a:cxn>
              <a:cxn ang="0">
                <a:pos x="csX438" y="csY438"/>
              </a:cxn>
              <a:cxn ang="0">
                <a:pos x="csX439" y="csY439"/>
              </a:cxn>
              <a:cxn ang="0">
                <a:pos x="csX440" y="csY440"/>
              </a:cxn>
              <a:cxn ang="0">
                <a:pos x="csX441" y="csY441"/>
              </a:cxn>
              <a:cxn ang="0">
                <a:pos x="csX442" y="csY442"/>
              </a:cxn>
              <a:cxn ang="0">
                <a:pos x="csX443" y="csY443"/>
              </a:cxn>
              <a:cxn ang="0">
                <a:pos x="csX444" y="csY444"/>
              </a:cxn>
              <a:cxn ang="0">
                <a:pos x="csX445" y="csY445"/>
              </a:cxn>
              <a:cxn ang="0">
                <a:pos x="csX446" y="csY446"/>
              </a:cxn>
              <a:cxn ang="0">
                <a:pos x="csX447" y="csY447"/>
              </a:cxn>
              <a:cxn ang="0">
                <a:pos x="csX448" y="csY448"/>
              </a:cxn>
              <a:cxn ang="0">
                <a:pos x="csX449" y="csY449"/>
              </a:cxn>
              <a:cxn ang="0">
                <a:pos x="csX450" y="csY450"/>
              </a:cxn>
              <a:cxn ang="0">
                <a:pos x="csX451" y="csY451"/>
              </a:cxn>
              <a:cxn ang="0">
                <a:pos x="csX452" y="csY452"/>
              </a:cxn>
              <a:cxn ang="0">
                <a:pos x="csX453" y="csY453"/>
              </a:cxn>
              <a:cxn ang="0">
                <a:pos x="csX454" y="csY454"/>
              </a:cxn>
              <a:cxn ang="0">
                <a:pos x="csX455" y="csY455"/>
              </a:cxn>
              <a:cxn ang="0">
                <a:pos x="csX456" y="csY456"/>
              </a:cxn>
              <a:cxn ang="0">
                <a:pos x="csX457" y="csY457"/>
              </a:cxn>
              <a:cxn ang="0">
                <a:pos x="csX458" y="csY458"/>
              </a:cxn>
              <a:cxn ang="0">
                <a:pos x="csX459" y="csY459"/>
              </a:cxn>
              <a:cxn ang="0">
                <a:pos x="csX460" y="csY460"/>
              </a:cxn>
              <a:cxn ang="0">
                <a:pos x="csX461" y="csY461"/>
              </a:cxn>
              <a:cxn ang="0">
                <a:pos x="csX462" y="csY462"/>
              </a:cxn>
              <a:cxn ang="0">
                <a:pos x="csX463" y="csY463"/>
              </a:cxn>
              <a:cxn ang="0">
                <a:pos x="csX464" y="csY464"/>
              </a:cxn>
              <a:cxn ang="0">
                <a:pos x="csX465" y="csY465"/>
              </a:cxn>
              <a:cxn ang="0">
                <a:pos x="csX466" y="csY466"/>
              </a:cxn>
              <a:cxn ang="0">
                <a:pos x="csX467" y="csY467"/>
              </a:cxn>
              <a:cxn ang="0">
                <a:pos x="csX468" y="csY468"/>
              </a:cxn>
              <a:cxn ang="0">
                <a:pos x="csX469" y="csY469"/>
              </a:cxn>
              <a:cxn ang="0">
                <a:pos x="csX470" y="csY470"/>
              </a:cxn>
              <a:cxn ang="0">
                <a:pos x="csX471" y="csY471"/>
              </a:cxn>
              <a:cxn ang="0">
                <a:pos x="csX472" y="csY472"/>
              </a:cxn>
              <a:cxn ang="0">
                <a:pos x="csX473" y="csY473"/>
              </a:cxn>
              <a:cxn ang="0">
                <a:pos x="csX474" y="csY474"/>
              </a:cxn>
              <a:cxn ang="0">
                <a:pos x="csX475" y="csY475"/>
              </a:cxn>
              <a:cxn ang="0">
                <a:pos x="csX476" y="csY476"/>
              </a:cxn>
              <a:cxn ang="0">
                <a:pos x="csX477" y="csY477"/>
              </a:cxn>
              <a:cxn ang="0">
                <a:pos x="csX478" y="csY478"/>
              </a:cxn>
              <a:cxn ang="0">
                <a:pos x="csX479" y="csY479"/>
              </a:cxn>
              <a:cxn ang="0">
                <a:pos x="csX480" y="csY480"/>
              </a:cxn>
              <a:cxn ang="0">
                <a:pos x="csX481" y="csY481"/>
              </a:cxn>
              <a:cxn ang="0">
                <a:pos x="csX482" y="csY482"/>
              </a:cxn>
              <a:cxn ang="0">
                <a:pos x="csX483" y="csY483"/>
              </a:cxn>
              <a:cxn ang="0">
                <a:pos x="csX484" y="csY484"/>
              </a:cxn>
              <a:cxn ang="0">
                <a:pos x="csX485" y="csY485"/>
              </a:cxn>
              <a:cxn ang="0">
                <a:pos x="csX486" y="csY486"/>
              </a:cxn>
              <a:cxn ang="0">
                <a:pos x="csX487" y="csY487"/>
              </a:cxn>
              <a:cxn ang="0">
                <a:pos x="csX488" y="csY488"/>
              </a:cxn>
              <a:cxn ang="0">
                <a:pos x="csX489" y="csY489"/>
              </a:cxn>
              <a:cxn ang="0">
                <a:pos x="csX490" y="csY490"/>
              </a:cxn>
              <a:cxn ang="0">
                <a:pos x="csX491" y="csY491"/>
              </a:cxn>
              <a:cxn ang="0">
                <a:pos x="csX492" y="csY492"/>
              </a:cxn>
              <a:cxn ang="0">
                <a:pos x="csX493" y="csY493"/>
              </a:cxn>
              <a:cxn ang="0">
                <a:pos x="csX494" y="csY494"/>
              </a:cxn>
              <a:cxn ang="0">
                <a:pos x="csX495" y="csY495"/>
              </a:cxn>
              <a:cxn ang="0">
                <a:pos x="csX496" y="csY496"/>
              </a:cxn>
              <a:cxn ang="0">
                <a:pos x="csX497" y="csY497"/>
              </a:cxn>
              <a:cxn ang="0">
                <a:pos x="csX498" y="csY498"/>
              </a:cxn>
              <a:cxn ang="0">
                <a:pos x="csX499" y="csY499"/>
              </a:cxn>
              <a:cxn ang="0">
                <a:pos x="csX500" y="csY500"/>
              </a:cxn>
              <a:cxn ang="0">
                <a:pos x="csX501" y="csY501"/>
              </a:cxn>
              <a:cxn ang="0">
                <a:pos x="csX502" y="csY502"/>
              </a:cxn>
              <a:cxn ang="0">
                <a:pos x="csX503" y="csY503"/>
              </a:cxn>
              <a:cxn ang="0">
                <a:pos x="csX504" y="csY504"/>
              </a:cxn>
              <a:cxn ang="0">
                <a:pos x="csX505" y="csY505"/>
              </a:cxn>
              <a:cxn ang="0">
                <a:pos x="csX506" y="csY506"/>
              </a:cxn>
              <a:cxn ang="0">
                <a:pos x="csX507" y="csY507"/>
              </a:cxn>
              <a:cxn ang="0">
                <a:pos x="csX508" y="csY508"/>
              </a:cxn>
              <a:cxn ang="0">
                <a:pos x="csX509" y="csY509"/>
              </a:cxn>
              <a:cxn ang="0">
                <a:pos x="csX510" y="csY510"/>
              </a:cxn>
              <a:cxn ang="0">
                <a:pos x="csX511" y="csY511"/>
              </a:cxn>
              <a:cxn ang="0">
                <a:pos x="csX512" y="csY512"/>
              </a:cxn>
              <a:cxn ang="0">
                <a:pos x="csX513" y="csY513"/>
              </a:cxn>
              <a:cxn ang="0">
                <a:pos x="csX514" y="csY514"/>
              </a:cxn>
              <a:cxn ang="0">
                <a:pos x="csX515" y="csY515"/>
              </a:cxn>
              <a:cxn ang="0">
                <a:pos x="csX516" y="csY516"/>
              </a:cxn>
              <a:cxn ang="0">
                <a:pos x="csX517" y="csY517"/>
              </a:cxn>
              <a:cxn ang="0">
                <a:pos x="csX518" y="csY518"/>
              </a:cxn>
              <a:cxn ang="0">
                <a:pos x="csX519" y="csY519"/>
              </a:cxn>
              <a:cxn ang="0">
                <a:pos x="csX520" y="csY520"/>
              </a:cxn>
              <a:cxn ang="0">
                <a:pos x="csX521" y="csY521"/>
              </a:cxn>
              <a:cxn ang="0">
                <a:pos x="csX522" y="csY522"/>
              </a:cxn>
              <a:cxn ang="0">
                <a:pos x="csX523" y="csY523"/>
              </a:cxn>
              <a:cxn ang="0">
                <a:pos x="csX524" y="csY524"/>
              </a:cxn>
              <a:cxn ang="0">
                <a:pos x="csX525" y="csY525"/>
              </a:cxn>
              <a:cxn ang="0">
                <a:pos x="csX526" y="csY526"/>
              </a:cxn>
              <a:cxn ang="0">
                <a:pos x="csX527" y="csY527"/>
              </a:cxn>
              <a:cxn ang="0">
                <a:pos x="csX528" y="csY528"/>
              </a:cxn>
              <a:cxn ang="0">
                <a:pos x="csX529" y="csY529"/>
              </a:cxn>
              <a:cxn ang="0">
                <a:pos x="csX530" y="csY530"/>
              </a:cxn>
              <a:cxn ang="0">
                <a:pos x="csX531" y="csY531"/>
              </a:cxn>
              <a:cxn ang="0">
                <a:pos x="csX532" y="csY532"/>
              </a:cxn>
              <a:cxn ang="0">
                <a:pos x="csX533" y="csY533"/>
              </a:cxn>
              <a:cxn ang="0">
                <a:pos x="csX534" y="csY534"/>
              </a:cxn>
              <a:cxn ang="0">
                <a:pos x="csX535" y="csY535"/>
              </a:cxn>
              <a:cxn ang="0">
                <a:pos x="csX536" y="csY536"/>
              </a:cxn>
              <a:cxn ang="0">
                <a:pos x="csX537" y="csY537"/>
              </a:cxn>
              <a:cxn ang="0">
                <a:pos x="csX538" y="csY538"/>
              </a:cxn>
              <a:cxn ang="0">
                <a:pos x="csX539" y="csY539"/>
              </a:cxn>
              <a:cxn ang="0">
                <a:pos x="csX540" y="csY540"/>
              </a:cxn>
              <a:cxn ang="0">
                <a:pos x="csX541" y="csY541"/>
              </a:cxn>
              <a:cxn ang="0">
                <a:pos x="csX542" y="csY542"/>
              </a:cxn>
              <a:cxn ang="0">
                <a:pos x="csX543" y="csY543"/>
              </a:cxn>
              <a:cxn ang="0">
                <a:pos x="csX544" y="csY544"/>
              </a:cxn>
              <a:cxn ang="0">
                <a:pos x="csX545" y="csY545"/>
              </a:cxn>
              <a:cxn ang="0">
                <a:pos x="csX546" y="csY546"/>
              </a:cxn>
              <a:cxn ang="0">
                <a:pos x="csX547" y="csY547"/>
              </a:cxn>
              <a:cxn ang="0">
                <a:pos x="csX548" y="csY548"/>
              </a:cxn>
              <a:cxn ang="0">
                <a:pos x="csX549" y="csY549"/>
              </a:cxn>
              <a:cxn ang="0">
                <a:pos x="csX550" y="csY550"/>
              </a:cxn>
              <a:cxn ang="0">
                <a:pos x="csX551" y="csY551"/>
              </a:cxn>
              <a:cxn ang="0">
                <a:pos x="csX552" y="csY552"/>
              </a:cxn>
              <a:cxn ang="0">
                <a:pos x="csX553" y="csY553"/>
              </a:cxn>
              <a:cxn ang="0">
                <a:pos x="csX554" y="csY554"/>
              </a:cxn>
              <a:cxn ang="0">
                <a:pos x="csX555" y="csY555"/>
              </a:cxn>
              <a:cxn ang="0">
                <a:pos x="csX556" y="csY556"/>
              </a:cxn>
              <a:cxn ang="0">
                <a:pos x="csX557" y="csY557"/>
              </a:cxn>
              <a:cxn ang="0">
                <a:pos x="csX558" y="csY558"/>
              </a:cxn>
              <a:cxn ang="0">
                <a:pos x="csX559" y="csY559"/>
              </a:cxn>
              <a:cxn ang="0">
                <a:pos x="csX560" y="csY560"/>
              </a:cxn>
              <a:cxn ang="0">
                <a:pos x="csX561" y="csY561"/>
              </a:cxn>
              <a:cxn ang="0">
                <a:pos x="csX562" y="csY562"/>
              </a:cxn>
              <a:cxn ang="0">
                <a:pos x="csX563" y="csY563"/>
              </a:cxn>
              <a:cxn ang="0">
                <a:pos x="csX564" y="csY564"/>
              </a:cxn>
              <a:cxn ang="0">
                <a:pos x="csX565" y="csY565"/>
              </a:cxn>
              <a:cxn ang="0">
                <a:pos x="csX566" y="csY566"/>
              </a:cxn>
              <a:cxn ang="0">
                <a:pos x="csX567" y="csY567"/>
              </a:cxn>
              <a:cxn ang="0">
                <a:pos x="csX568" y="csY568"/>
              </a:cxn>
              <a:cxn ang="0">
                <a:pos x="csX569" y="csY569"/>
              </a:cxn>
              <a:cxn ang="0">
                <a:pos x="csX570" y="csY570"/>
              </a:cxn>
              <a:cxn ang="0">
                <a:pos x="csX571" y="csY571"/>
              </a:cxn>
              <a:cxn ang="0">
                <a:pos x="csX572" y="csY572"/>
              </a:cxn>
              <a:cxn ang="0">
                <a:pos x="csX573" y="csY573"/>
              </a:cxn>
              <a:cxn ang="0">
                <a:pos x="csX574" y="csY574"/>
              </a:cxn>
              <a:cxn ang="0">
                <a:pos x="csX575" y="csY575"/>
              </a:cxn>
              <a:cxn ang="0">
                <a:pos x="csX576" y="csY576"/>
              </a:cxn>
              <a:cxn ang="0">
                <a:pos x="csX577" y="csY577"/>
              </a:cxn>
              <a:cxn ang="0">
                <a:pos x="csX578" y="csY578"/>
              </a:cxn>
              <a:cxn ang="0">
                <a:pos x="csX579" y="csY579"/>
              </a:cxn>
              <a:cxn ang="0">
                <a:pos x="csX580" y="csY580"/>
              </a:cxn>
              <a:cxn ang="0">
                <a:pos x="csX581" y="csY581"/>
              </a:cxn>
              <a:cxn ang="0">
                <a:pos x="csX582" y="csY582"/>
              </a:cxn>
              <a:cxn ang="0">
                <a:pos x="csX583" y="csY583"/>
              </a:cxn>
              <a:cxn ang="0">
                <a:pos x="csX584" y="csY584"/>
              </a:cxn>
              <a:cxn ang="0">
                <a:pos x="csX585" y="csY585"/>
              </a:cxn>
              <a:cxn ang="0">
                <a:pos x="csX586" y="csY586"/>
              </a:cxn>
              <a:cxn ang="0">
                <a:pos x="csX587" y="csY587"/>
              </a:cxn>
              <a:cxn ang="0">
                <a:pos x="csX588" y="csY588"/>
              </a:cxn>
              <a:cxn ang="0">
                <a:pos x="csX589" y="csY589"/>
              </a:cxn>
              <a:cxn ang="0">
                <a:pos x="csX590" y="csY590"/>
              </a:cxn>
              <a:cxn ang="0">
                <a:pos x="csX591" y="csY591"/>
              </a:cxn>
              <a:cxn ang="0">
                <a:pos x="csX592" y="csY592"/>
              </a:cxn>
              <a:cxn ang="0">
                <a:pos x="csX593" y="csY593"/>
              </a:cxn>
              <a:cxn ang="0">
                <a:pos x="csX594" y="csY594"/>
              </a:cxn>
              <a:cxn ang="0">
                <a:pos x="csX595" y="csY595"/>
              </a:cxn>
              <a:cxn ang="0">
                <a:pos x="csX596" y="csY596"/>
              </a:cxn>
              <a:cxn ang="0">
                <a:pos x="csX597" y="csY597"/>
              </a:cxn>
              <a:cxn ang="0">
                <a:pos x="csX598" y="csY598"/>
              </a:cxn>
              <a:cxn ang="0">
                <a:pos x="csX599" y="csY599"/>
              </a:cxn>
              <a:cxn ang="0">
                <a:pos x="csX600" y="csY600"/>
              </a:cxn>
              <a:cxn ang="0">
                <a:pos x="csX601" y="csY601"/>
              </a:cxn>
              <a:cxn ang="0">
                <a:pos x="csX602" y="csY602"/>
              </a:cxn>
              <a:cxn ang="0">
                <a:pos x="csX603" y="csY603"/>
              </a:cxn>
              <a:cxn ang="0">
                <a:pos x="csX604" y="csY604"/>
              </a:cxn>
              <a:cxn ang="0">
                <a:pos x="csX605" y="csY605"/>
              </a:cxn>
              <a:cxn ang="0">
                <a:pos x="csX606" y="csY606"/>
              </a:cxn>
              <a:cxn ang="0">
                <a:pos x="csX607" y="csY607"/>
              </a:cxn>
              <a:cxn ang="0">
                <a:pos x="csX608" y="csY608"/>
              </a:cxn>
              <a:cxn ang="0">
                <a:pos x="csX609" y="csY609"/>
              </a:cxn>
              <a:cxn ang="0">
                <a:pos x="csX610" y="csY610"/>
              </a:cxn>
              <a:cxn ang="0">
                <a:pos x="csX611" y="csY611"/>
              </a:cxn>
              <a:cxn ang="0">
                <a:pos x="csX612" y="csY612"/>
              </a:cxn>
              <a:cxn ang="0">
                <a:pos x="csX613" y="csY613"/>
              </a:cxn>
              <a:cxn ang="0">
                <a:pos x="csX614" y="csY614"/>
              </a:cxn>
              <a:cxn ang="0">
                <a:pos x="csX615" y="csY615"/>
              </a:cxn>
              <a:cxn ang="0">
                <a:pos x="csX616" y="csY616"/>
              </a:cxn>
              <a:cxn ang="0">
                <a:pos x="csX617" y="csY617"/>
              </a:cxn>
              <a:cxn ang="0">
                <a:pos x="csX618" y="csY618"/>
              </a:cxn>
              <a:cxn ang="0">
                <a:pos x="csX619" y="csY619"/>
              </a:cxn>
              <a:cxn ang="0">
                <a:pos x="csX620" y="csY620"/>
              </a:cxn>
              <a:cxn ang="0">
                <a:pos x="csX621" y="csY621"/>
              </a:cxn>
              <a:cxn ang="0">
                <a:pos x="csX622" y="csY622"/>
              </a:cxn>
              <a:cxn ang="0">
                <a:pos x="csX623" y="csY623"/>
              </a:cxn>
              <a:cxn ang="0">
                <a:pos x="csX624" y="csY624"/>
              </a:cxn>
              <a:cxn ang="0">
                <a:pos x="csX625" y="csY625"/>
              </a:cxn>
              <a:cxn ang="0">
                <a:pos x="csX626" y="csY626"/>
              </a:cxn>
              <a:cxn ang="0">
                <a:pos x="csX627" y="csY627"/>
              </a:cxn>
              <a:cxn ang="0">
                <a:pos x="csX628" y="csY628"/>
              </a:cxn>
              <a:cxn ang="0">
                <a:pos x="csX629" y="csY629"/>
              </a:cxn>
              <a:cxn ang="0">
                <a:pos x="csX630" y="csY630"/>
              </a:cxn>
              <a:cxn ang="0">
                <a:pos x="csX631" y="csY631"/>
              </a:cxn>
              <a:cxn ang="0">
                <a:pos x="csX632" y="csY632"/>
              </a:cxn>
              <a:cxn ang="0">
                <a:pos x="csX633" y="csY633"/>
              </a:cxn>
              <a:cxn ang="0">
                <a:pos x="csX634" y="csY634"/>
              </a:cxn>
              <a:cxn ang="0">
                <a:pos x="csX635" y="csY635"/>
              </a:cxn>
              <a:cxn ang="0">
                <a:pos x="csX636" y="csY636"/>
              </a:cxn>
              <a:cxn ang="0">
                <a:pos x="csX637" y="csY637"/>
              </a:cxn>
              <a:cxn ang="0">
                <a:pos x="csX638" y="csY638"/>
              </a:cxn>
              <a:cxn ang="0">
                <a:pos x="csX639" y="csY639"/>
              </a:cxn>
              <a:cxn ang="0">
                <a:pos x="csX640" y="csY640"/>
              </a:cxn>
              <a:cxn ang="0">
                <a:pos x="csX641" y="csY641"/>
              </a:cxn>
              <a:cxn ang="0">
                <a:pos x="csX642" y="csY642"/>
              </a:cxn>
              <a:cxn ang="0">
                <a:pos x="csX643" y="csY643"/>
              </a:cxn>
              <a:cxn ang="0">
                <a:pos x="csX644" y="csY644"/>
              </a:cxn>
              <a:cxn ang="0">
                <a:pos x="csX645" y="csY645"/>
              </a:cxn>
              <a:cxn ang="0">
                <a:pos x="csX646" y="csY646"/>
              </a:cxn>
              <a:cxn ang="0">
                <a:pos x="csX647" y="csY647"/>
              </a:cxn>
              <a:cxn ang="0">
                <a:pos x="csX648" y="csY648"/>
              </a:cxn>
              <a:cxn ang="0">
                <a:pos x="csX649" y="csY649"/>
              </a:cxn>
              <a:cxn ang="0">
                <a:pos x="csX650" y="csY650"/>
              </a:cxn>
              <a:cxn ang="0">
                <a:pos x="csX651" y="csY651"/>
              </a:cxn>
              <a:cxn ang="0">
                <a:pos x="csX652" y="csY652"/>
              </a:cxn>
              <a:cxn ang="0">
                <a:pos x="csX653" y="csY653"/>
              </a:cxn>
              <a:cxn ang="0">
                <a:pos x="csX654" y="csY654"/>
              </a:cxn>
              <a:cxn ang="0">
                <a:pos x="csX655" y="csY655"/>
              </a:cxn>
              <a:cxn ang="0">
                <a:pos x="csX656" y="csY656"/>
              </a:cxn>
              <a:cxn ang="0">
                <a:pos x="csX657" y="csY657"/>
              </a:cxn>
              <a:cxn ang="0">
                <a:pos x="csX658" y="csY658"/>
              </a:cxn>
              <a:cxn ang="0">
                <a:pos x="csX659" y="csY659"/>
              </a:cxn>
              <a:cxn ang="0">
                <a:pos x="csX660" y="csY660"/>
              </a:cxn>
              <a:cxn ang="0">
                <a:pos x="csX661" y="csY661"/>
              </a:cxn>
              <a:cxn ang="0">
                <a:pos x="csX662" y="csY662"/>
              </a:cxn>
              <a:cxn ang="0">
                <a:pos x="csX663" y="csY663"/>
              </a:cxn>
              <a:cxn ang="0">
                <a:pos x="csX664" y="csY664"/>
              </a:cxn>
              <a:cxn ang="0">
                <a:pos x="csX665" y="csY665"/>
              </a:cxn>
              <a:cxn ang="0">
                <a:pos x="csX666" y="csY666"/>
              </a:cxn>
              <a:cxn ang="0">
                <a:pos x="csX667" y="csY667"/>
              </a:cxn>
              <a:cxn ang="0">
                <a:pos x="csX668" y="csY668"/>
              </a:cxn>
              <a:cxn ang="0">
                <a:pos x="csX669" y="csY669"/>
              </a:cxn>
              <a:cxn ang="0">
                <a:pos x="csX670" y="csY670"/>
              </a:cxn>
              <a:cxn ang="0">
                <a:pos x="csX671" y="csY671"/>
              </a:cxn>
              <a:cxn ang="0">
                <a:pos x="csX672" y="csY672"/>
              </a:cxn>
              <a:cxn ang="0">
                <a:pos x="csX673" y="csY673"/>
              </a:cxn>
              <a:cxn ang="0">
                <a:pos x="csX674" y="csY674"/>
              </a:cxn>
              <a:cxn ang="0">
                <a:pos x="csX675" y="csY675"/>
              </a:cxn>
              <a:cxn ang="0">
                <a:pos x="csX676" y="csY676"/>
              </a:cxn>
              <a:cxn ang="0">
                <a:pos x="csX677" y="csY677"/>
              </a:cxn>
              <a:cxn ang="0">
                <a:pos x="csX678" y="csY678"/>
              </a:cxn>
              <a:cxn ang="0">
                <a:pos x="csX679" y="csY679"/>
              </a:cxn>
              <a:cxn ang="0">
                <a:pos x="csX680" y="csY680"/>
              </a:cxn>
              <a:cxn ang="0">
                <a:pos x="csX681" y="csY681"/>
              </a:cxn>
              <a:cxn ang="0">
                <a:pos x="csX682" y="csY682"/>
              </a:cxn>
              <a:cxn ang="0">
                <a:pos x="csX683" y="csY683"/>
              </a:cxn>
              <a:cxn ang="0">
                <a:pos x="csX684" y="csY684"/>
              </a:cxn>
              <a:cxn ang="0">
                <a:pos x="csX685" y="csY685"/>
              </a:cxn>
              <a:cxn ang="0">
                <a:pos x="csX686" y="csY686"/>
              </a:cxn>
              <a:cxn ang="0">
                <a:pos x="csX687" y="csY687"/>
              </a:cxn>
              <a:cxn ang="0">
                <a:pos x="csX688" y="csY688"/>
              </a:cxn>
              <a:cxn ang="0">
                <a:pos x="csX689" y="csY689"/>
              </a:cxn>
              <a:cxn ang="0">
                <a:pos x="csX690" y="csY690"/>
              </a:cxn>
              <a:cxn ang="0">
                <a:pos x="csX691" y="csY691"/>
              </a:cxn>
              <a:cxn ang="0">
                <a:pos x="csX692" y="csY692"/>
              </a:cxn>
              <a:cxn ang="0">
                <a:pos x="csX693" y="csY693"/>
              </a:cxn>
              <a:cxn ang="0">
                <a:pos x="csX694" y="csY694"/>
              </a:cxn>
              <a:cxn ang="0">
                <a:pos x="csX695" y="csY695"/>
              </a:cxn>
              <a:cxn ang="0">
                <a:pos x="csX696" y="csY696"/>
              </a:cxn>
              <a:cxn ang="0">
                <a:pos x="csX697" y="csY697"/>
              </a:cxn>
              <a:cxn ang="0">
                <a:pos x="csX698" y="csY698"/>
              </a:cxn>
              <a:cxn ang="0">
                <a:pos x="csX699" y="csY699"/>
              </a:cxn>
              <a:cxn ang="0">
                <a:pos x="csX700" y="csY700"/>
              </a:cxn>
              <a:cxn ang="0">
                <a:pos x="csX701" y="csY701"/>
              </a:cxn>
              <a:cxn ang="0">
                <a:pos x="csX702" y="csY702"/>
              </a:cxn>
              <a:cxn ang="0">
                <a:pos x="csX703" y="csY703"/>
              </a:cxn>
              <a:cxn ang="0">
                <a:pos x="csX704" y="csY704"/>
              </a:cxn>
              <a:cxn ang="0">
                <a:pos x="csX705" y="csY705"/>
              </a:cxn>
              <a:cxn ang="0">
                <a:pos x="csX706" y="csY706"/>
              </a:cxn>
              <a:cxn ang="0">
                <a:pos x="csX707" y="csY707"/>
              </a:cxn>
              <a:cxn ang="0">
                <a:pos x="csX708" y="csY708"/>
              </a:cxn>
              <a:cxn ang="0">
                <a:pos x="csX709" y="csY709"/>
              </a:cxn>
              <a:cxn ang="0">
                <a:pos x="csX710" y="csY710"/>
              </a:cxn>
              <a:cxn ang="0">
                <a:pos x="csX711" y="csY711"/>
              </a:cxn>
              <a:cxn ang="0">
                <a:pos x="csX712" y="csY712"/>
              </a:cxn>
              <a:cxn ang="0">
                <a:pos x="csX713" y="csY713"/>
              </a:cxn>
              <a:cxn ang="0">
                <a:pos x="csX714" y="csY714"/>
              </a:cxn>
              <a:cxn ang="0">
                <a:pos x="csX715" y="csY715"/>
              </a:cxn>
              <a:cxn ang="0">
                <a:pos x="csX716" y="csY716"/>
              </a:cxn>
              <a:cxn ang="0">
                <a:pos x="csX717" y="csY717"/>
              </a:cxn>
              <a:cxn ang="0">
                <a:pos x="csX718" y="csY718"/>
              </a:cxn>
              <a:cxn ang="0">
                <a:pos x="csX719" y="csY719"/>
              </a:cxn>
              <a:cxn ang="0">
                <a:pos x="csX720" y="csY720"/>
              </a:cxn>
              <a:cxn ang="0">
                <a:pos x="csX721" y="csY721"/>
              </a:cxn>
              <a:cxn ang="0">
                <a:pos x="csX722" y="csY722"/>
              </a:cxn>
              <a:cxn ang="0">
                <a:pos x="csX723" y="csY723"/>
              </a:cxn>
              <a:cxn ang="0">
                <a:pos x="csX724" y="csY724"/>
              </a:cxn>
              <a:cxn ang="0">
                <a:pos x="csX725" y="csY725"/>
              </a:cxn>
              <a:cxn ang="0">
                <a:pos x="csX726" y="csY726"/>
              </a:cxn>
              <a:cxn ang="0">
                <a:pos x="csX727" y="csY727"/>
              </a:cxn>
              <a:cxn ang="0">
                <a:pos x="csX728" y="csY728"/>
              </a:cxn>
              <a:cxn ang="0">
                <a:pos x="csX729" y="csY729"/>
              </a:cxn>
              <a:cxn ang="0">
                <a:pos x="csX730" y="csY730"/>
              </a:cxn>
              <a:cxn ang="0">
                <a:pos x="csX731" y="csY731"/>
              </a:cxn>
              <a:cxn ang="0">
                <a:pos x="csX732" y="csY732"/>
              </a:cxn>
              <a:cxn ang="0">
                <a:pos x="csX733" y="csY733"/>
              </a:cxn>
              <a:cxn ang="0">
                <a:pos x="csX734" y="csY734"/>
              </a:cxn>
              <a:cxn ang="0">
                <a:pos x="csX735" y="csY735"/>
              </a:cxn>
              <a:cxn ang="0">
                <a:pos x="csX736" y="csY736"/>
              </a:cxn>
              <a:cxn ang="0">
                <a:pos x="csX737" y="csY737"/>
              </a:cxn>
              <a:cxn ang="0">
                <a:pos x="csX738" y="csY738"/>
              </a:cxn>
              <a:cxn ang="0">
                <a:pos x="csX739" y="csY739"/>
              </a:cxn>
              <a:cxn ang="0">
                <a:pos x="csX740" y="csY740"/>
              </a:cxn>
              <a:cxn ang="0">
                <a:pos x="csX741" y="csY741"/>
              </a:cxn>
              <a:cxn ang="0">
                <a:pos x="csX742" y="csY742"/>
              </a:cxn>
              <a:cxn ang="0">
                <a:pos x="csX743" y="csY743"/>
              </a:cxn>
              <a:cxn ang="0">
                <a:pos x="csX744" y="csY744"/>
              </a:cxn>
              <a:cxn ang="0">
                <a:pos x="csX745" y="csY745"/>
              </a:cxn>
              <a:cxn ang="0">
                <a:pos x="csX746" y="csY746"/>
              </a:cxn>
              <a:cxn ang="0">
                <a:pos x="csX747" y="csY747"/>
              </a:cxn>
              <a:cxn ang="0">
                <a:pos x="csX748" y="csY748"/>
              </a:cxn>
              <a:cxn ang="0">
                <a:pos x="csX749" y="csY749"/>
              </a:cxn>
              <a:cxn ang="0">
                <a:pos x="csX750" y="csY750"/>
              </a:cxn>
              <a:cxn ang="0">
                <a:pos x="csX751" y="csY751"/>
              </a:cxn>
              <a:cxn ang="0">
                <a:pos x="csX752" y="csY752"/>
              </a:cxn>
              <a:cxn ang="0">
                <a:pos x="csX753" y="csY753"/>
              </a:cxn>
              <a:cxn ang="0">
                <a:pos x="csX754" y="csY754"/>
              </a:cxn>
              <a:cxn ang="0">
                <a:pos x="csX755" y="csY755"/>
              </a:cxn>
              <a:cxn ang="0">
                <a:pos x="csX756" y="csY756"/>
              </a:cxn>
              <a:cxn ang="0">
                <a:pos x="csX757" y="csY757"/>
              </a:cxn>
              <a:cxn ang="0">
                <a:pos x="csX758" y="csY758"/>
              </a:cxn>
              <a:cxn ang="0">
                <a:pos x="csX759" y="csY759"/>
              </a:cxn>
              <a:cxn ang="0">
                <a:pos x="csX760" y="csY760"/>
              </a:cxn>
              <a:cxn ang="0">
                <a:pos x="csX761" y="csY761"/>
              </a:cxn>
              <a:cxn ang="0">
                <a:pos x="csX762" y="csY762"/>
              </a:cxn>
              <a:cxn ang="0">
                <a:pos x="csX763" y="csY763"/>
              </a:cxn>
              <a:cxn ang="0">
                <a:pos x="csX764" y="csY764"/>
              </a:cxn>
              <a:cxn ang="0">
                <a:pos x="csX765" y="csY765"/>
              </a:cxn>
              <a:cxn ang="0">
                <a:pos x="csX766" y="csY766"/>
              </a:cxn>
              <a:cxn ang="0">
                <a:pos x="csX767" y="csY767"/>
              </a:cxn>
              <a:cxn ang="0">
                <a:pos x="csX768" y="csY768"/>
              </a:cxn>
              <a:cxn ang="0">
                <a:pos x="csX769" y="csY769"/>
              </a:cxn>
              <a:cxn ang="0">
                <a:pos x="csX770" y="csY770"/>
              </a:cxn>
              <a:cxn ang="0">
                <a:pos x="csX771" y="csY771"/>
              </a:cxn>
              <a:cxn ang="0">
                <a:pos x="csX772" y="csY772"/>
              </a:cxn>
              <a:cxn ang="0">
                <a:pos x="csX773" y="csY773"/>
              </a:cxn>
              <a:cxn ang="0">
                <a:pos x="csX774" y="csY774"/>
              </a:cxn>
              <a:cxn ang="0">
                <a:pos x="csX775" y="csY775"/>
              </a:cxn>
              <a:cxn ang="0">
                <a:pos x="csX776" y="csY776"/>
              </a:cxn>
              <a:cxn ang="0">
                <a:pos x="csX777" y="csY777"/>
              </a:cxn>
              <a:cxn ang="0">
                <a:pos x="csX778" y="csY778"/>
              </a:cxn>
              <a:cxn ang="0">
                <a:pos x="csX779" y="csY779"/>
              </a:cxn>
              <a:cxn ang="0">
                <a:pos x="csX780" y="csY780"/>
              </a:cxn>
              <a:cxn ang="0">
                <a:pos x="csX781" y="csY781"/>
              </a:cxn>
              <a:cxn ang="0">
                <a:pos x="csX782" y="csY782"/>
              </a:cxn>
              <a:cxn ang="0">
                <a:pos x="csX783" y="csY783"/>
              </a:cxn>
              <a:cxn ang="0">
                <a:pos x="csX784" y="csY784"/>
              </a:cxn>
              <a:cxn ang="0">
                <a:pos x="csX785" y="csY785"/>
              </a:cxn>
              <a:cxn ang="0">
                <a:pos x="csX786" y="csY786"/>
              </a:cxn>
              <a:cxn ang="0">
                <a:pos x="csX787" y="csY787"/>
              </a:cxn>
              <a:cxn ang="0">
                <a:pos x="csX788" y="csY788"/>
              </a:cxn>
              <a:cxn ang="0">
                <a:pos x="csX789" y="csY789"/>
              </a:cxn>
              <a:cxn ang="0">
                <a:pos x="csX790" y="csY790"/>
              </a:cxn>
              <a:cxn ang="0">
                <a:pos x="csX791" y="csY791"/>
              </a:cxn>
              <a:cxn ang="0">
                <a:pos x="csX792" y="csY792"/>
              </a:cxn>
              <a:cxn ang="0">
                <a:pos x="csX793" y="csY793"/>
              </a:cxn>
              <a:cxn ang="0">
                <a:pos x="csX794" y="csY794"/>
              </a:cxn>
              <a:cxn ang="0">
                <a:pos x="csX795" y="csY795"/>
              </a:cxn>
              <a:cxn ang="0">
                <a:pos x="csX796" y="csY796"/>
              </a:cxn>
              <a:cxn ang="0">
                <a:pos x="csX797" y="csY797"/>
              </a:cxn>
              <a:cxn ang="0">
                <a:pos x="csX798" y="csY798"/>
              </a:cxn>
              <a:cxn ang="0">
                <a:pos x="csX799" y="csY799"/>
              </a:cxn>
              <a:cxn ang="0">
                <a:pos x="csX800" y="csY800"/>
              </a:cxn>
              <a:cxn ang="0">
                <a:pos x="csX801" y="csY801"/>
              </a:cxn>
              <a:cxn ang="0">
                <a:pos x="csX802" y="csY802"/>
              </a:cxn>
              <a:cxn ang="0">
                <a:pos x="csX803" y="csY803"/>
              </a:cxn>
              <a:cxn ang="0">
                <a:pos x="csX804" y="csY804"/>
              </a:cxn>
              <a:cxn ang="0">
                <a:pos x="csX805" y="csY805"/>
              </a:cxn>
              <a:cxn ang="0">
                <a:pos x="csX806" y="csY806"/>
              </a:cxn>
              <a:cxn ang="0">
                <a:pos x="csX807" y="csY807"/>
              </a:cxn>
              <a:cxn ang="0">
                <a:pos x="csX808" y="csY808"/>
              </a:cxn>
              <a:cxn ang="0">
                <a:pos x="csX809" y="csY809"/>
              </a:cxn>
              <a:cxn ang="0">
                <a:pos x="csX810" y="csY810"/>
              </a:cxn>
              <a:cxn ang="0">
                <a:pos x="csX811" y="csY811"/>
              </a:cxn>
              <a:cxn ang="0">
                <a:pos x="csX812" y="csY812"/>
              </a:cxn>
              <a:cxn ang="0">
                <a:pos x="csX813" y="csY813"/>
              </a:cxn>
              <a:cxn ang="0">
                <a:pos x="csX814" y="csY814"/>
              </a:cxn>
              <a:cxn ang="0">
                <a:pos x="csX815" y="csY815"/>
              </a:cxn>
              <a:cxn ang="0">
                <a:pos x="csX816" y="csY816"/>
              </a:cxn>
              <a:cxn ang="0">
                <a:pos x="csX817" y="csY817"/>
              </a:cxn>
              <a:cxn ang="0">
                <a:pos x="csX818" y="csY818"/>
              </a:cxn>
              <a:cxn ang="0">
                <a:pos x="csX819" y="csY819"/>
              </a:cxn>
              <a:cxn ang="0">
                <a:pos x="csX820" y="csY820"/>
              </a:cxn>
              <a:cxn ang="0">
                <a:pos x="csX821" y="csY821"/>
              </a:cxn>
              <a:cxn ang="0">
                <a:pos x="csX822" y="csY822"/>
              </a:cxn>
              <a:cxn ang="0">
                <a:pos x="csX823" y="csY823"/>
              </a:cxn>
              <a:cxn ang="0">
                <a:pos x="csX824" y="csY824"/>
              </a:cxn>
              <a:cxn ang="0">
                <a:pos x="csX825" y="csY825"/>
              </a:cxn>
              <a:cxn ang="0">
                <a:pos x="csX826" y="csY826"/>
              </a:cxn>
              <a:cxn ang="0">
                <a:pos x="csX827" y="csY827"/>
              </a:cxn>
              <a:cxn ang="0">
                <a:pos x="csX828" y="csY828"/>
              </a:cxn>
              <a:cxn ang="0">
                <a:pos x="csX829" y="csY829"/>
              </a:cxn>
              <a:cxn ang="0">
                <a:pos x="csX830" y="csY830"/>
              </a:cxn>
              <a:cxn ang="0">
                <a:pos x="csX831" y="csY831"/>
              </a:cxn>
              <a:cxn ang="0">
                <a:pos x="csX832" y="csY832"/>
              </a:cxn>
              <a:cxn ang="0">
                <a:pos x="csX833" y="csY833"/>
              </a:cxn>
              <a:cxn ang="0">
                <a:pos x="csX834" y="csY834"/>
              </a:cxn>
              <a:cxn ang="0">
                <a:pos x="csX835" y="csY835"/>
              </a:cxn>
              <a:cxn ang="0">
                <a:pos x="csX836" y="csY836"/>
              </a:cxn>
              <a:cxn ang="0">
                <a:pos x="csX837" y="csY837"/>
              </a:cxn>
              <a:cxn ang="0">
                <a:pos x="csX838" y="csY838"/>
              </a:cxn>
              <a:cxn ang="0">
                <a:pos x="csX839" y="csY839"/>
              </a:cxn>
              <a:cxn ang="0">
                <a:pos x="csX840" y="csY840"/>
              </a:cxn>
              <a:cxn ang="0">
                <a:pos x="csX841" y="csY841"/>
              </a:cxn>
              <a:cxn ang="0">
                <a:pos x="csX842" y="csY842"/>
              </a:cxn>
              <a:cxn ang="0">
                <a:pos x="csX843" y="csY843"/>
              </a:cxn>
              <a:cxn ang="0">
                <a:pos x="csX844" y="csY844"/>
              </a:cxn>
              <a:cxn ang="0">
                <a:pos x="csX845" y="csY845"/>
              </a:cxn>
              <a:cxn ang="0">
                <a:pos x="csX846" y="csY846"/>
              </a:cxn>
              <a:cxn ang="0">
                <a:pos x="csX847" y="csY847"/>
              </a:cxn>
              <a:cxn ang="0">
                <a:pos x="csX848" y="csY848"/>
              </a:cxn>
              <a:cxn ang="0">
                <a:pos x="csX849" y="csY849"/>
              </a:cxn>
              <a:cxn ang="0">
                <a:pos x="csX850" y="csY850"/>
              </a:cxn>
              <a:cxn ang="0">
                <a:pos x="csX851" y="csY851"/>
              </a:cxn>
              <a:cxn ang="0">
                <a:pos x="csX852" y="csY852"/>
              </a:cxn>
              <a:cxn ang="0">
                <a:pos x="csX853" y="csY853"/>
              </a:cxn>
              <a:cxn ang="0">
                <a:pos x="csX854" y="csY854"/>
              </a:cxn>
              <a:cxn ang="0">
                <a:pos x="csX855" y="csY855"/>
              </a:cxn>
              <a:cxn ang="0">
                <a:pos x="csX856" y="csY856"/>
              </a:cxn>
              <a:cxn ang="0">
                <a:pos x="csX857" y="csY857"/>
              </a:cxn>
              <a:cxn ang="0">
                <a:pos x="csX858" y="csY858"/>
              </a:cxn>
              <a:cxn ang="0">
                <a:pos x="csX859" y="csY859"/>
              </a:cxn>
              <a:cxn ang="0">
                <a:pos x="csX860" y="csY860"/>
              </a:cxn>
              <a:cxn ang="0">
                <a:pos x="csX861" y="csY861"/>
              </a:cxn>
              <a:cxn ang="0">
                <a:pos x="csX862" y="csY862"/>
              </a:cxn>
              <a:cxn ang="0">
                <a:pos x="csX863" y="csY863"/>
              </a:cxn>
              <a:cxn ang="0">
                <a:pos x="csX864" y="csY864"/>
              </a:cxn>
              <a:cxn ang="0">
                <a:pos x="csX865" y="csY865"/>
              </a:cxn>
              <a:cxn ang="0">
                <a:pos x="csX866" y="csY866"/>
              </a:cxn>
              <a:cxn ang="0">
                <a:pos x="csX867" y="csY867"/>
              </a:cxn>
              <a:cxn ang="0">
                <a:pos x="csX868" y="csY868"/>
              </a:cxn>
              <a:cxn ang="0">
                <a:pos x="csX869" y="csY869"/>
              </a:cxn>
              <a:cxn ang="0">
                <a:pos x="csX870" y="csY870"/>
              </a:cxn>
              <a:cxn ang="0">
                <a:pos x="csX871" y="csY871"/>
              </a:cxn>
              <a:cxn ang="0">
                <a:pos x="csX872" y="csY872"/>
              </a:cxn>
              <a:cxn ang="0">
                <a:pos x="csX873" y="csY873"/>
              </a:cxn>
              <a:cxn ang="0">
                <a:pos x="csX874" y="csY874"/>
              </a:cxn>
              <a:cxn ang="0">
                <a:pos x="csX875" y="csY875"/>
              </a:cxn>
              <a:cxn ang="0">
                <a:pos x="csX876" y="csY876"/>
              </a:cxn>
              <a:cxn ang="0">
                <a:pos x="csX877" y="csY877"/>
              </a:cxn>
              <a:cxn ang="0">
                <a:pos x="csX878" y="csY878"/>
              </a:cxn>
              <a:cxn ang="0">
                <a:pos x="csX879" y="csY879"/>
              </a:cxn>
              <a:cxn ang="0">
                <a:pos x="csX880" y="csY880"/>
              </a:cxn>
              <a:cxn ang="0">
                <a:pos x="csX881" y="csY881"/>
              </a:cxn>
              <a:cxn ang="0">
                <a:pos x="csX882" y="csY882"/>
              </a:cxn>
              <a:cxn ang="0">
                <a:pos x="csX883" y="csY883"/>
              </a:cxn>
              <a:cxn ang="0">
                <a:pos x="csX884" y="csY884"/>
              </a:cxn>
              <a:cxn ang="0">
                <a:pos x="csX885" y="csY885"/>
              </a:cxn>
              <a:cxn ang="0">
                <a:pos x="csX886" y="csY886"/>
              </a:cxn>
              <a:cxn ang="0">
                <a:pos x="csX887" y="csY887"/>
              </a:cxn>
              <a:cxn ang="0">
                <a:pos x="csX888" y="csY888"/>
              </a:cxn>
              <a:cxn ang="0">
                <a:pos x="csX889" y="csY889"/>
              </a:cxn>
              <a:cxn ang="0">
                <a:pos x="csX890" y="csY890"/>
              </a:cxn>
              <a:cxn ang="0">
                <a:pos x="csX891" y="csY891"/>
              </a:cxn>
              <a:cxn ang="0">
                <a:pos x="csX892" y="csY892"/>
              </a:cxn>
              <a:cxn ang="0">
                <a:pos x="csX893" y="csY893"/>
              </a:cxn>
              <a:cxn ang="0">
                <a:pos x="csX894" y="csY894"/>
              </a:cxn>
              <a:cxn ang="0">
                <a:pos x="csX895" y="csY895"/>
              </a:cxn>
              <a:cxn ang="0">
                <a:pos x="csX896" y="csY896"/>
              </a:cxn>
              <a:cxn ang="0">
                <a:pos x="csX897" y="csY897"/>
              </a:cxn>
              <a:cxn ang="0">
                <a:pos x="csX898" y="csY898"/>
              </a:cxn>
              <a:cxn ang="0">
                <a:pos x="csX899" y="csY899"/>
              </a:cxn>
              <a:cxn ang="0">
                <a:pos x="csX900" y="csY900"/>
              </a:cxn>
              <a:cxn ang="0">
                <a:pos x="csX901" y="csY901"/>
              </a:cxn>
              <a:cxn ang="0">
                <a:pos x="csX902" y="csY902"/>
              </a:cxn>
              <a:cxn ang="0">
                <a:pos x="csX903" y="csY903"/>
              </a:cxn>
              <a:cxn ang="0">
                <a:pos x="csX904" y="csY904"/>
              </a:cxn>
              <a:cxn ang="0">
                <a:pos x="csX905" y="csY905"/>
              </a:cxn>
              <a:cxn ang="0">
                <a:pos x="csX906" y="csY906"/>
              </a:cxn>
              <a:cxn ang="0">
                <a:pos x="csX907" y="csY907"/>
              </a:cxn>
              <a:cxn ang="0">
                <a:pos x="csX908" y="csY908"/>
              </a:cxn>
              <a:cxn ang="0">
                <a:pos x="csX909" y="csY909"/>
              </a:cxn>
              <a:cxn ang="0">
                <a:pos x="csX910" y="csY910"/>
              </a:cxn>
              <a:cxn ang="0">
                <a:pos x="csX911" y="csY911"/>
              </a:cxn>
              <a:cxn ang="0">
                <a:pos x="csX912" y="csY912"/>
              </a:cxn>
              <a:cxn ang="0">
                <a:pos x="csX913" y="csY913"/>
              </a:cxn>
              <a:cxn ang="0">
                <a:pos x="csX914" y="csY914"/>
              </a:cxn>
              <a:cxn ang="0">
                <a:pos x="csX915" y="csY915"/>
              </a:cxn>
              <a:cxn ang="0">
                <a:pos x="csX916" y="csY916"/>
              </a:cxn>
              <a:cxn ang="0">
                <a:pos x="csX917" y="csY917"/>
              </a:cxn>
              <a:cxn ang="0">
                <a:pos x="csX918" y="csY918"/>
              </a:cxn>
              <a:cxn ang="0">
                <a:pos x="csX919" y="csY919"/>
              </a:cxn>
              <a:cxn ang="0">
                <a:pos x="csX920" y="csY920"/>
              </a:cxn>
              <a:cxn ang="0">
                <a:pos x="csX921" y="csY921"/>
              </a:cxn>
              <a:cxn ang="0">
                <a:pos x="csX922" y="csY922"/>
              </a:cxn>
              <a:cxn ang="0">
                <a:pos x="csX923" y="csY923"/>
              </a:cxn>
              <a:cxn ang="0">
                <a:pos x="csX924" y="csY924"/>
              </a:cxn>
              <a:cxn ang="0">
                <a:pos x="csX925" y="csY925"/>
              </a:cxn>
              <a:cxn ang="0">
                <a:pos x="csX926" y="csY926"/>
              </a:cxn>
              <a:cxn ang="0">
                <a:pos x="csX927" y="csY927"/>
              </a:cxn>
              <a:cxn ang="0">
                <a:pos x="csX928" y="csY928"/>
              </a:cxn>
              <a:cxn ang="0">
                <a:pos x="csX929" y="csY929"/>
              </a:cxn>
              <a:cxn ang="0">
                <a:pos x="csX930" y="csY930"/>
              </a:cxn>
              <a:cxn ang="0">
                <a:pos x="csX931" y="csY931"/>
              </a:cxn>
              <a:cxn ang="0">
                <a:pos x="csX932" y="csY932"/>
              </a:cxn>
              <a:cxn ang="0">
                <a:pos x="csX933" y="csY933"/>
              </a:cxn>
              <a:cxn ang="0">
                <a:pos x="csX934" y="csY934"/>
              </a:cxn>
              <a:cxn ang="0">
                <a:pos x="csX935" y="csY935"/>
              </a:cxn>
              <a:cxn ang="0">
                <a:pos x="csX936" y="csY936"/>
              </a:cxn>
              <a:cxn ang="0">
                <a:pos x="csX937" y="csY937"/>
              </a:cxn>
              <a:cxn ang="0">
                <a:pos x="csX938" y="csY938"/>
              </a:cxn>
              <a:cxn ang="0">
                <a:pos x="csX939" y="csY939"/>
              </a:cxn>
              <a:cxn ang="0">
                <a:pos x="csX940" y="csY940"/>
              </a:cxn>
              <a:cxn ang="0">
                <a:pos x="csX941" y="csY941"/>
              </a:cxn>
              <a:cxn ang="0">
                <a:pos x="csX942" y="csY942"/>
              </a:cxn>
              <a:cxn ang="0">
                <a:pos x="csX943" y="csY943"/>
              </a:cxn>
              <a:cxn ang="0">
                <a:pos x="csX944" y="csY944"/>
              </a:cxn>
              <a:cxn ang="0">
                <a:pos x="csX945" y="csY945"/>
              </a:cxn>
              <a:cxn ang="0">
                <a:pos x="csX946" y="csY946"/>
              </a:cxn>
              <a:cxn ang="0">
                <a:pos x="csX947" y="csY947"/>
              </a:cxn>
              <a:cxn ang="0">
                <a:pos x="csX948" y="csY948"/>
              </a:cxn>
              <a:cxn ang="0">
                <a:pos x="csX949" y="csY949"/>
              </a:cxn>
              <a:cxn ang="0">
                <a:pos x="csX950" y="csY950"/>
              </a:cxn>
              <a:cxn ang="0">
                <a:pos x="csX951" y="csY951"/>
              </a:cxn>
              <a:cxn ang="0">
                <a:pos x="csX952" y="csY952"/>
              </a:cxn>
              <a:cxn ang="0">
                <a:pos x="csX953" y="csY953"/>
              </a:cxn>
              <a:cxn ang="0">
                <a:pos x="csX954" y="csY954"/>
              </a:cxn>
              <a:cxn ang="0">
                <a:pos x="csX955" y="csY955"/>
              </a:cxn>
              <a:cxn ang="0">
                <a:pos x="csX956" y="csY956"/>
              </a:cxn>
              <a:cxn ang="0">
                <a:pos x="csX957" y="csY957"/>
              </a:cxn>
              <a:cxn ang="0">
                <a:pos x="csX958" y="csY958"/>
              </a:cxn>
              <a:cxn ang="0">
                <a:pos x="csX959" y="csY959"/>
              </a:cxn>
              <a:cxn ang="0">
                <a:pos x="csX960" y="csY960"/>
              </a:cxn>
              <a:cxn ang="0">
                <a:pos x="csX961" y="csY961"/>
              </a:cxn>
              <a:cxn ang="0">
                <a:pos x="csX962" y="csY962"/>
              </a:cxn>
              <a:cxn ang="0">
                <a:pos x="csX963" y="csY963"/>
              </a:cxn>
              <a:cxn ang="0">
                <a:pos x="csX964" y="csY964"/>
              </a:cxn>
              <a:cxn ang="0">
                <a:pos x="csX965" y="csY965"/>
              </a:cxn>
              <a:cxn ang="0">
                <a:pos x="csX966" y="csY966"/>
              </a:cxn>
              <a:cxn ang="0">
                <a:pos x="csX967" y="csY967"/>
              </a:cxn>
              <a:cxn ang="0">
                <a:pos x="csX968" y="csY968"/>
              </a:cxn>
              <a:cxn ang="0">
                <a:pos x="csX969" y="csY969"/>
              </a:cxn>
              <a:cxn ang="0">
                <a:pos x="csX970" y="csY970"/>
              </a:cxn>
              <a:cxn ang="0">
                <a:pos x="csX971" y="csY971"/>
              </a:cxn>
              <a:cxn ang="0">
                <a:pos x="csX972" y="csY972"/>
              </a:cxn>
              <a:cxn ang="0">
                <a:pos x="csX973" y="csY973"/>
              </a:cxn>
              <a:cxn ang="0">
                <a:pos x="csX974" y="csY974"/>
              </a:cxn>
              <a:cxn ang="0">
                <a:pos x="csX975" y="csY975"/>
              </a:cxn>
              <a:cxn ang="0">
                <a:pos x="csX976" y="csY976"/>
              </a:cxn>
              <a:cxn ang="0">
                <a:pos x="csX977" y="csY977"/>
              </a:cxn>
              <a:cxn ang="0">
                <a:pos x="csX978" y="csY978"/>
              </a:cxn>
              <a:cxn ang="0">
                <a:pos x="csX979" y="csY979"/>
              </a:cxn>
              <a:cxn ang="0">
                <a:pos x="csX980" y="csY980"/>
              </a:cxn>
              <a:cxn ang="0">
                <a:pos x="csX981" y="csY981"/>
              </a:cxn>
              <a:cxn ang="0">
                <a:pos x="csX982" y="csY982"/>
              </a:cxn>
              <a:cxn ang="0">
                <a:pos x="csX983" y="csY983"/>
              </a:cxn>
              <a:cxn ang="0">
                <a:pos x="csX984" y="csY984"/>
              </a:cxn>
              <a:cxn ang="0">
                <a:pos x="csX985" y="csY985"/>
              </a:cxn>
              <a:cxn ang="0">
                <a:pos x="csX986" y="csY986"/>
              </a:cxn>
              <a:cxn ang="0">
                <a:pos x="csX987" y="csY987"/>
              </a:cxn>
              <a:cxn ang="0">
                <a:pos x="csX988" y="csY988"/>
              </a:cxn>
              <a:cxn ang="0">
                <a:pos x="csX989" y="csY989"/>
              </a:cxn>
              <a:cxn ang="0">
                <a:pos x="csX990" y="csY990"/>
              </a:cxn>
              <a:cxn ang="0">
                <a:pos x="csX991" y="csY991"/>
              </a:cxn>
              <a:cxn ang="0">
                <a:pos x="csX992" y="csY992"/>
              </a:cxn>
              <a:cxn ang="0">
                <a:pos x="csX993" y="csY993"/>
              </a:cxn>
              <a:cxn ang="0">
                <a:pos x="csX994" y="csY994"/>
              </a:cxn>
              <a:cxn ang="0">
                <a:pos x="csX995" y="csY995"/>
              </a:cxn>
              <a:cxn ang="0">
                <a:pos x="csX996" y="csY996"/>
              </a:cxn>
              <a:cxn ang="0">
                <a:pos x="csX997" y="csY997"/>
              </a:cxn>
              <a:cxn ang="0">
                <a:pos x="csX998" y="csY998"/>
              </a:cxn>
              <a:cxn ang="0">
                <a:pos x="csX999" y="csY999"/>
              </a:cxn>
              <a:cxn ang="0">
                <a:pos x="csX1000" y="csY1000"/>
              </a:cxn>
              <a:cxn ang="0">
                <a:pos x="csX1001" y="csY1001"/>
              </a:cxn>
              <a:cxn ang="0">
                <a:pos x="csX1002" y="csY1002"/>
              </a:cxn>
              <a:cxn ang="0">
                <a:pos x="csX1003" y="csY1003"/>
              </a:cxn>
              <a:cxn ang="0">
                <a:pos x="csX1004" y="csY1004"/>
              </a:cxn>
              <a:cxn ang="0">
                <a:pos x="csX1005" y="csY1005"/>
              </a:cxn>
              <a:cxn ang="0">
                <a:pos x="csX1006" y="csY1006"/>
              </a:cxn>
              <a:cxn ang="0">
                <a:pos x="csX1007" y="csY1007"/>
              </a:cxn>
              <a:cxn ang="0">
                <a:pos x="csX1008" y="csY1008"/>
              </a:cxn>
              <a:cxn ang="0">
                <a:pos x="csX1009" y="csY1009"/>
              </a:cxn>
              <a:cxn ang="0">
                <a:pos x="csX1010" y="csY1010"/>
              </a:cxn>
              <a:cxn ang="0">
                <a:pos x="csX1011" y="csY1011"/>
              </a:cxn>
              <a:cxn ang="0">
                <a:pos x="csX1012" y="csY1012"/>
              </a:cxn>
              <a:cxn ang="0">
                <a:pos x="csX1013" y="csY1013"/>
              </a:cxn>
              <a:cxn ang="0">
                <a:pos x="csX1014" y="csY1014"/>
              </a:cxn>
              <a:cxn ang="0">
                <a:pos x="csX1015" y="csY1015"/>
              </a:cxn>
              <a:cxn ang="0">
                <a:pos x="csX1016" y="csY1016"/>
              </a:cxn>
              <a:cxn ang="0">
                <a:pos x="csX1017" y="csY1017"/>
              </a:cxn>
              <a:cxn ang="0">
                <a:pos x="csX1018" y="csY1018"/>
              </a:cxn>
              <a:cxn ang="0">
                <a:pos x="csX1019" y="csY1019"/>
              </a:cxn>
              <a:cxn ang="0">
                <a:pos x="csX1020" y="csY1020"/>
              </a:cxn>
              <a:cxn ang="0">
                <a:pos x="csX1021" y="csY1021"/>
              </a:cxn>
              <a:cxn ang="0">
                <a:pos x="csX1022" y="csY1022"/>
              </a:cxn>
              <a:cxn ang="0">
                <a:pos x="csX1023" y="csY1023"/>
              </a:cxn>
              <a:cxn ang="0">
                <a:pos x="csX1024" y="csY1024"/>
              </a:cxn>
              <a:cxn ang="0">
                <a:pos x="csX1025" y="csY1025"/>
              </a:cxn>
              <a:cxn ang="0">
                <a:pos x="csX1026" y="csY1026"/>
              </a:cxn>
              <a:cxn ang="0">
                <a:pos x="csX1027" y="csY1027"/>
              </a:cxn>
              <a:cxn ang="0">
                <a:pos x="csX1028" y="csY1028"/>
              </a:cxn>
              <a:cxn ang="0">
                <a:pos x="csX1029" y="csY1029"/>
              </a:cxn>
              <a:cxn ang="0">
                <a:pos x="csX1030" y="csY1030"/>
              </a:cxn>
              <a:cxn ang="0">
                <a:pos x="csX1031" y="csY1031"/>
              </a:cxn>
              <a:cxn ang="0">
                <a:pos x="csX1032" y="csY1032"/>
              </a:cxn>
              <a:cxn ang="0">
                <a:pos x="csX1033" y="csY1033"/>
              </a:cxn>
              <a:cxn ang="0">
                <a:pos x="csX1034" y="csY1034"/>
              </a:cxn>
              <a:cxn ang="0">
                <a:pos x="csX1035" y="csY1035"/>
              </a:cxn>
              <a:cxn ang="0">
                <a:pos x="csX1036" y="csY1036"/>
              </a:cxn>
              <a:cxn ang="0">
                <a:pos x="csX1037" y="csY1037"/>
              </a:cxn>
              <a:cxn ang="0">
                <a:pos x="csX1038" y="csY1038"/>
              </a:cxn>
              <a:cxn ang="0">
                <a:pos x="csX1039" y="csY1039"/>
              </a:cxn>
              <a:cxn ang="0">
                <a:pos x="csX1040" y="csY1040"/>
              </a:cxn>
              <a:cxn ang="0">
                <a:pos x="csX1041" y="csY1041"/>
              </a:cxn>
              <a:cxn ang="0">
                <a:pos x="csX1042" y="csY1042"/>
              </a:cxn>
              <a:cxn ang="0">
                <a:pos x="csX1043" y="csY1043"/>
              </a:cxn>
              <a:cxn ang="0">
                <a:pos x="csX1044" y="csY1044"/>
              </a:cxn>
              <a:cxn ang="0">
                <a:pos x="csX1045" y="csY1045"/>
              </a:cxn>
              <a:cxn ang="0">
                <a:pos x="csX1046" y="csY1046"/>
              </a:cxn>
              <a:cxn ang="0">
                <a:pos x="csX1047" y="csY1047"/>
              </a:cxn>
              <a:cxn ang="0">
                <a:pos x="csX1048" y="csY1048"/>
              </a:cxn>
              <a:cxn ang="0">
                <a:pos x="csX1049" y="csY1049"/>
              </a:cxn>
              <a:cxn ang="0">
                <a:pos x="csX1050" y="csY1050"/>
              </a:cxn>
              <a:cxn ang="0">
                <a:pos x="csX1051" y="csY1051"/>
              </a:cxn>
              <a:cxn ang="0">
                <a:pos x="csX1052" y="csY1052"/>
              </a:cxn>
              <a:cxn ang="0">
                <a:pos x="csX1053" y="csY1053"/>
              </a:cxn>
              <a:cxn ang="0">
                <a:pos x="csX1054" y="csY1054"/>
              </a:cxn>
            </a:cxnLst>
            <a:rect l="l" t="t" r="r" b="b"/>
            <a:pathLst>
              <a:path w="1609516" h="1538630">
                <a:moveTo>
                  <a:pt x="401579" y="1495809"/>
                </a:moveTo>
                <a:lnTo>
                  <a:pt x="400190" y="1496004"/>
                </a:lnTo>
                <a:lnTo>
                  <a:pt x="401224" y="1496470"/>
                </a:lnTo>
                <a:lnTo>
                  <a:pt x="401224" y="1498590"/>
                </a:lnTo>
                <a:lnTo>
                  <a:pt x="401579" y="1498628"/>
                </a:lnTo>
                <a:cubicBezTo>
                  <a:pt x="401579" y="1497698"/>
                  <a:pt x="401579" y="1496768"/>
                  <a:pt x="401579" y="1495809"/>
                </a:cubicBezTo>
                <a:close/>
                <a:moveTo>
                  <a:pt x="368755" y="1486512"/>
                </a:moveTo>
                <a:lnTo>
                  <a:pt x="364089" y="1487354"/>
                </a:lnTo>
                <a:lnTo>
                  <a:pt x="364089" y="1487908"/>
                </a:lnTo>
                <a:close/>
                <a:moveTo>
                  <a:pt x="1049801" y="1484562"/>
                </a:moveTo>
                <a:lnTo>
                  <a:pt x="1046735" y="1485945"/>
                </a:lnTo>
                <a:lnTo>
                  <a:pt x="1046955" y="1486045"/>
                </a:lnTo>
                <a:lnTo>
                  <a:pt x="1049801" y="1485188"/>
                </a:lnTo>
                <a:close/>
                <a:moveTo>
                  <a:pt x="351234" y="1444508"/>
                </a:moveTo>
                <a:lnTo>
                  <a:pt x="351234" y="1444997"/>
                </a:lnTo>
                <a:lnTo>
                  <a:pt x="351592" y="1445078"/>
                </a:lnTo>
                <a:close/>
                <a:moveTo>
                  <a:pt x="351908" y="1431206"/>
                </a:moveTo>
                <a:lnTo>
                  <a:pt x="351234" y="1431611"/>
                </a:lnTo>
                <a:lnTo>
                  <a:pt x="351234" y="1432274"/>
                </a:lnTo>
                <a:close/>
                <a:moveTo>
                  <a:pt x="358162" y="1421494"/>
                </a:moveTo>
                <a:lnTo>
                  <a:pt x="355921" y="1423156"/>
                </a:lnTo>
                <a:lnTo>
                  <a:pt x="355921" y="1423548"/>
                </a:lnTo>
                <a:close/>
                <a:moveTo>
                  <a:pt x="376098" y="1408347"/>
                </a:moveTo>
                <a:lnTo>
                  <a:pt x="370750" y="1412245"/>
                </a:lnTo>
                <a:lnTo>
                  <a:pt x="375023" y="1411256"/>
                </a:lnTo>
                <a:close/>
                <a:moveTo>
                  <a:pt x="421956" y="1365623"/>
                </a:moveTo>
                <a:lnTo>
                  <a:pt x="421765" y="1366161"/>
                </a:lnTo>
                <a:lnTo>
                  <a:pt x="421887" y="1366161"/>
                </a:lnTo>
                <a:close/>
                <a:moveTo>
                  <a:pt x="754553" y="1360575"/>
                </a:moveTo>
                <a:lnTo>
                  <a:pt x="754089" y="1361433"/>
                </a:lnTo>
                <a:lnTo>
                  <a:pt x="754431" y="1361125"/>
                </a:lnTo>
                <a:close/>
                <a:moveTo>
                  <a:pt x="1277973" y="1332923"/>
                </a:moveTo>
                <a:lnTo>
                  <a:pt x="1277944" y="1332936"/>
                </a:lnTo>
                <a:lnTo>
                  <a:pt x="1277949" y="1333139"/>
                </a:lnTo>
                <a:close/>
                <a:moveTo>
                  <a:pt x="1268556" y="1321066"/>
                </a:moveTo>
                <a:cubicBezTo>
                  <a:pt x="1268556" y="1322461"/>
                  <a:pt x="1268556" y="1323856"/>
                  <a:pt x="1268556" y="1325294"/>
                </a:cubicBezTo>
                <a:cubicBezTo>
                  <a:pt x="1267525" y="1325294"/>
                  <a:pt x="1266495" y="1325294"/>
                  <a:pt x="1265432" y="1325294"/>
                </a:cubicBezTo>
                <a:cubicBezTo>
                  <a:pt x="1265432" y="1330409"/>
                  <a:pt x="1265432" y="1335525"/>
                  <a:pt x="1265432" y="1340795"/>
                </a:cubicBezTo>
                <a:lnTo>
                  <a:pt x="1265476" y="1340714"/>
                </a:lnTo>
                <a:lnTo>
                  <a:pt x="1265476" y="1325877"/>
                </a:lnTo>
                <a:cubicBezTo>
                  <a:pt x="1266507" y="1325877"/>
                  <a:pt x="1267538" y="1325877"/>
                  <a:pt x="1268600" y="1325877"/>
                </a:cubicBezTo>
                <a:cubicBezTo>
                  <a:pt x="1268600" y="1324482"/>
                  <a:pt x="1268600" y="1323086"/>
                  <a:pt x="1268600" y="1321649"/>
                </a:cubicBezTo>
                <a:cubicBezTo>
                  <a:pt x="1270147" y="1321649"/>
                  <a:pt x="1271693" y="1321649"/>
                  <a:pt x="1273286" y="1321649"/>
                </a:cubicBezTo>
                <a:lnTo>
                  <a:pt x="1273227" y="1321066"/>
                </a:lnTo>
                <a:close/>
                <a:moveTo>
                  <a:pt x="827891" y="1291474"/>
                </a:moveTo>
                <a:lnTo>
                  <a:pt x="822601" y="1291544"/>
                </a:lnTo>
                <a:lnTo>
                  <a:pt x="818272" y="1292220"/>
                </a:lnTo>
                <a:lnTo>
                  <a:pt x="827891" y="1292047"/>
                </a:lnTo>
                <a:close/>
                <a:moveTo>
                  <a:pt x="856397" y="1288691"/>
                </a:moveTo>
                <a:lnTo>
                  <a:pt x="865903" y="1290590"/>
                </a:lnTo>
                <a:lnTo>
                  <a:pt x="859999" y="1288752"/>
                </a:lnTo>
                <a:close/>
                <a:moveTo>
                  <a:pt x="834694" y="1288572"/>
                </a:moveTo>
                <a:lnTo>
                  <a:pt x="828038" y="1288654"/>
                </a:lnTo>
                <a:lnTo>
                  <a:pt x="828038" y="1289214"/>
                </a:lnTo>
                <a:close/>
                <a:moveTo>
                  <a:pt x="229746" y="1191418"/>
                </a:moveTo>
                <a:lnTo>
                  <a:pt x="227402" y="1191947"/>
                </a:lnTo>
                <a:lnTo>
                  <a:pt x="229315" y="1191947"/>
                </a:lnTo>
                <a:cubicBezTo>
                  <a:pt x="229315" y="1192877"/>
                  <a:pt x="229315" y="1193807"/>
                  <a:pt x="229315" y="1194765"/>
                </a:cubicBezTo>
                <a:lnTo>
                  <a:pt x="231321" y="1194765"/>
                </a:lnTo>
                <a:lnTo>
                  <a:pt x="229746" y="1194236"/>
                </a:lnTo>
                <a:cubicBezTo>
                  <a:pt x="229746" y="1193306"/>
                  <a:pt x="229746" y="1192376"/>
                  <a:pt x="229746" y="1191418"/>
                </a:cubicBezTo>
                <a:close/>
                <a:moveTo>
                  <a:pt x="215687" y="1187190"/>
                </a:moveTo>
                <a:lnTo>
                  <a:pt x="215198" y="1187720"/>
                </a:lnTo>
                <a:lnTo>
                  <a:pt x="215256" y="1187720"/>
                </a:lnTo>
                <a:cubicBezTo>
                  <a:pt x="215256" y="1189115"/>
                  <a:pt x="215256" y="1190510"/>
                  <a:pt x="215256" y="1191947"/>
                </a:cubicBezTo>
                <a:lnTo>
                  <a:pt x="222721" y="1191947"/>
                </a:lnTo>
                <a:lnTo>
                  <a:pt x="215687" y="1191418"/>
                </a:lnTo>
                <a:cubicBezTo>
                  <a:pt x="215687" y="1190023"/>
                  <a:pt x="215687" y="1188628"/>
                  <a:pt x="215687" y="1187190"/>
                </a:cubicBezTo>
                <a:close/>
                <a:moveTo>
                  <a:pt x="1279678" y="1082356"/>
                </a:moveTo>
                <a:lnTo>
                  <a:pt x="1271680" y="1084589"/>
                </a:lnTo>
                <a:lnTo>
                  <a:pt x="1282181" y="1082544"/>
                </a:lnTo>
                <a:close/>
                <a:moveTo>
                  <a:pt x="117703" y="941507"/>
                </a:moveTo>
                <a:lnTo>
                  <a:pt x="112587" y="941985"/>
                </a:lnTo>
                <a:lnTo>
                  <a:pt x="112565" y="942333"/>
                </a:lnTo>
                <a:lnTo>
                  <a:pt x="115665" y="941837"/>
                </a:lnTo>
                <a:close/>
                <a:moveTo>
                  <a:pt x="144268" y="939395"/>
                </a:moveTo>
                <a:lnTo>
                  <a:pt x="143354" y="939580"/>
                </a:lnTo>
                <a:lnTo>
                  <a:pt x="144077" y="939739"/>
                </a:lnTo>
                <a:close/>
                <a:moveTo>
                  <a:pt x="162575" y="933530"/>
                </a:moveTo>
                <a:lnTo>
                  <a:pt x="161704" y="935101"/>
                </a:lnTo>
                <a:lnTo>
                  <a:pt x="170045" y="933585"/>
                </a:lnTo>
                <a:close/>
                <a:moveTo>
                  <a:pt x="1321645" y="918415"/>
                </a:moveTo>
                <a:lnTo>
                  <a:pt x="1321534" y="920177"/>
                </a:lnTo>
                <a:lnTo>
                  <a:pt x="1321740" y="918415"/>
                </a:lnTo>
                <a:close/>
                <a:moveTo>
                  <a:pt x="1319333" y="915183"/>
                </a:moveTo>
                <a:lnTo>
                  <a:pt x="1318544" y="918029"/>
                </a:lnTo>
                <a:lnTo>
                  <a:pt x="1318702" y="918029"/>
                </a:lnTo>
                <a:close/>
                <a:moveTo>
                  <a:pt x="1326355" y="907109"/>
                </a:moveTo>
                <a:lnTo>
                  <a:pt x="1326355" y="910983"/>
                </a:lnTo>
                <a:lnTo>
                  <a:pt x="1325831" y="911101"/>
                </a:lnTo>
                <a:lnTo>
                  <a:pt x="1326426" y="911369"/>
                </a:lnTo>
                <a:cubicBezTo>
                  <a:pt x="1326426" y="909974"/>
                  <a:pt x="1326426" y="908579"/>
                  <a:pt x="1326426" y="907141"/>
                </a:cubicBezTo>
                <a:close/>
                <a:moveTo>
                  <a:pt x="1328144" y="892192"/>
                </a:moveTo>
                <a:lnTo>
                  <a:pt x="1327667" y="893446"/>
                </a:lnTo>
                <a:lnTo>
                  <a:pt x="1327989" y="893049"/>
                </a:lnTo>
                <a:close/>
                <a:moveTo>
                  <a:pt x="49605" y="887420"/>
                </a:moveTo>
                <a:lnTo>
                  <a:pt x="48549" y="891229"/>
                </a:lnTo>
                <a:lnTo>
                  <a:pt x="49956" y="887420"/>
                </a:lnTo>
                <a:close/>
                <a:moveTo>
                  <a:pt x="1332266" y="883369"/>
                </a:moveTo>
                <a:lnTo>
                  <a:pt x="1329479" y="884207"/>
                </a:lnTo>
                <a:lnTo>
                  <a:pt x="1329509" y="884816"/>
                </a:lnTo>
                <a:lnTo>
                  <a:pt x="1329551" y="884594"/>
                </a:lnTo>
                <a:close/>
                <a:moveTo>
                  <a:pt x="1555987" y="821766"/>
                </a:moveTo>
                <a:lnTo>
                  <a:pt x="1555987" y="822201"/>
                </a:lnTo>
                <a:lnTo>
                  <a:pt x="1556081" y="822189"/>
                </a:lnTo>
                <a:close/>
                <a:moveTo>
                  <a:pt x="1565360" y="810928"/>
                </a:moveTo>
                <a:lnTo>
                  <a:pt x="1564871" y="811809"/>
                </a:lnTo>
                <a:lnTo>
                  <a:pt x="1567314" y="810928"/>
                </a:lnTo>
                <a:close/>
                <a:moveTo>
                  <a:pt x="1563797" y="810928"/>
                </a:moveTo>
                <a:lnTo>
                  <a:pt x="1556762" y="814736"/>
                </a:lnTo>
                <a:lnTo>
                  <a:pt x="1563797" y="812197"/>
                </a:lnTo>
                <a:close/>
                <a:moveTo>
                  <a:pt x="265833" y="806020"/>
                </a:moveTo>
                <a:lnTo>
                  <a:pt x="263704" y="809861"/>
                </a:lnTo>
                <a:lnTo>
                  <a:pt x="263704" y="816750"/>
                </a:lnTo>
                <a:lnTo>
                  <a:pt x="264113" y="816565"/>
                </a:lnTo>
                <a:cubicBezTo>
                  <a:pt x="264048" y="815315"/>
                  <a:pt x="263984" y="814065"/>
                  <a:pt x="263918" y="812777"/>
                </a:cubicBezTo>
                <a:close/>
                <a:moveTo>
                  <a:pt x="263774" y="779374"/>
                </a:moveTo>
                <a:lnTo>
                  <a:pt x="263704" y="783086"/>
                </a:lnTo>
                <a:cubicBezTo>
                  <a:pt x="263961" y="783987"/>
                  <a:pt x="264219" y="784888"/>
                  <a:pt x="264484" y="785816"/>
                </a:cubicBezTo>
                <a:cubicBezTo>
                  <a:pt x="265299" y="788846"/>
                  <a:pt x="265316" y="791337"/>
                  <a:pt x="265265" y="794448"/>
                </a:cubicBezTo>
                <a:cubicBezTo>
                  <a:pt x="265103" y="797155"/>
                  <a:pt x="265022" y="798508"/>
                  <a:pt x="265217" y="799730"/>
                </a:cubicBezTo>
                <a:lnTo>
                  <a:pt x="266556" y="803466"/>
                </a:lnTo>
                <a:lnTo>
                  <a:pt x="267237" y="801063"/>
                </a:lnTo>
                <a:cubicBezTo>
                  <a:pt x="266721" y="800598"/>
                  <a:pt x="266206" y="800133"/>
                  <a:pt x="265675" y="799654"/>
                </a:cubicBezTo>
                <a:cubicBezTo>
                  <a:pt x="265601" y="797718"/>
                  <a:pt x="265617" y="795778"/>
                  <a:pt x="265675" y="793841"/>
                </a:cubicBezTo>
                <a:close/>
                <a:moveTo>
                  <a:pt x="260988" y="770061"/>
                </a:moveTo>
                <a:lnTo>
                  <a:pt x="260988" y="771364"/>
                </a:lnTo>
                <a:lnTo>
                  <a:pt x="263497" y="777263"/>
                </a:lnTo>
                <a:lnTo>
                  <a:pt x="262551" y="770061"/>
                </a:lnTo>
                <a:cubicBezTo>
                  <a:pt x="262035" y="770061"/>
                  <a:pt x="261520" y="770061"/>
                  <a:pt x="260988" y="770061"/>
                </a:cubicBezTo>
                <a:close/>
                <a:moveTo>
                  <a:pt x="157888" y="651686"/>
                </a:moveTo>
                <a:lnTo>
                  <a:pt x="157415" y="651764"/>
                </a:lnTo>
                <a:lnTo>
                  <a:pt x="160373" y="652274"/>
                </a:lnTo>
                <a:close/>
                <a:moveTo>
                  <a:pt x="267237" y="426537"/>
                </a:moveTo>
                <a:lnTo>
                  <a:pt x="267237" y="427619"/>
                </a:lnTo>
                <a:cubicBezTo>
                  <a:pt x="268274" y="427791"/>
                  <a:pt x="269311" y="427961"/>
                  <a:pt x="270380" y="428137"/>
                </a:cubicBezTo>
                <a:lnTo>
                  <a:pt x="273548" y="428680"/>
                </a:lnTo>
                <a:close/>
                <a:moveTo>
                  <a:pt x="37605" y="359270"/>
                </a:moveTo>
                <a:lnTo>
                  <a:pt x="37103" y="361533"/>
                </a:lnTo>
                <a:lnTo>
                  <a:pt x="37605" y="361382"/>
                </a:lnTo>
                <a:close/>
                <a:moveTo>
                  <a:pt x="52477" y="337570"/>
                </a:moveTo>
                <a:lnTo>
                  <a:pt x="47288" y="342340"/>
                </a:lnTo>
                <a:lnTo>
                  <a:pt x="45805" y="345093"/>
                </a:lnTo>
                <a:close/>
                <a:moveTo>
                  <a:pt x="104291" y="336166"/>
                </a:moveTo>
                <a:lnTo>
                  <a:pt x="103776" y="337559"/>
                </a:lnTo>
                <a:lnTo>
                  <a:pt x="108925" y="336166"/>
                </a:lnTo>
                <a:close/>
                <a:moveTo>
                  <a:pt x="1309237" y="322954"/>
                </a:moveTo>
                <a:lnTo>
                  <a:pt x="1309180" y="330559"/>
                </a:lnTo>
                <a:lnTo>
                  <a:pt x="1309237" y="330520"/>
                </a:lnTo>
                <a:close/>
                <a:moveTo>
                  <a:pt x="1308964" y="317715"/>
                </a:moveTo>
                <a:lnTo>
                  <a:pt x="1309237" y="318569"/>
                </a:lnTo>
                <a:lnTo>
                  <a:pt x="1309237" y="317838"/>
                </a:lnTo>
                <a:close/>
                <a:moveTo>
                  <a:pt x="1310087" y="313153"/>
                </a:moveTo>
                <a:lnTo>
                  <a:pt x="1307609" y="313473"/>
                </a:lnTo>
                <a:lnTo>
                  <a:pt x="1308045" y="314836"/>
                </a:lnTo>
                <a:close/>
                <a:moveTo>
                  <a:pt x="1318544" y="312064"/>
                </a:moveTo>
                <a:lnTo>
                  <a:pt x="1316298" y="312353"/>
                </a:lnTo>
                <a:lnTo>
                  <a:pt x="1318544" y="312205"/>
                </a:lnTo>
                <a:close/>
                <a:moveTo>
                  <a:pt x="1084622" y="267674"/>
                </a:moveTo>
                <a:lnTo>
                  <a:pt x="1084227" y="268378"/>
                </a:lnTo>
                <a:cubicBezTo>
                  <a:pt x="1082679" y="268378"/>
                  <a:pt x="1081133" y="268378"/>
                  <a:pt x="1079540" y="268378"/>
                </a:cubicBezTo>
                <a:lnTo>
                  <a:pt x="1079603" y="268477"/>
                </a:lnTo>
                <a:lnTo>
                  <a:pt x="1084192" y="268477"/>
                </a:lnTo>
                <a:close/>
                <a:moveTo>
                  <a:pt x="956410" y="266968"/>
                </a:moveTo>
                <a:lnTo>
                  <a:pt x="957576" y="267083"/>
                </a:lnTo>
                <a:lnTo>
                  <a:pt x="957576" y="269776"/>
                </a:lnTo>
                <a:lnTo>
                  <a:pt x="957694" y="269787"/>
                </a:lnTo>
                <a:cubicBezTo>
                  <a:pt x="957694" y="268857"/>
                  <a:pt x="957694" y="267927"/>
                  <a:pt x="957694" y="266968"/>
                </a:cubicBezTo>
                <a:close/>
                <a:moveTo>
                  <a:pt x="1089372" y="259220"/>
                </a:moveTo>
                <a:lnTo>
                  <a:pt x="1085856" y="265479"/>
                </a:lnTo>
                <a:lnTo>
                  <a:pt x="1088878" y="261431"/>
                </a:lnTo>
                <a:close/>
                <a:moveTo>
                  <a:pt x="1018517" y="223356"/>
                </a:moveTo>
                <a:lnTo>
                  <a:pt x="1013866" y="226190"/>
                </a:lnTo>
                <a:lnTo>
                  <a:pt x="1013024" y="227709"/>
                </a:lnTo>
                <a:lnTo>
                  <a:pt x="1017055" y="224692"/>
                </a:lnTo>
                <a:close/>
                <a:moveTo>
                  <a:pt x="850645" y="220099"/>
                </a:moveTo>
                <a:lnTo>
                  <a:pt x="850897" y="221488"/>
                </a:lnTo>
                <a:cubicBezTo>
                  <a:pt x="851086" y="222545"/>
                  <a:pt x="851275" y="223602"/>
                  <a:pt x="851470" y="224692"/>
                </a:cubicBezTo>
                <a:lnTo>
                  <a:pt x="852860" y="224692"/>
                </a:lnTo>
                <a:close/>
                <a:moveTo>
                  <a:pt x="1155019" y="35"/>
                </a:moveTo>
                <a:cubicBezTo>
                  <a:pt x="1161775" y="275"/>
                  <a:pt x="1168415" y="1783"/>
                  <a:pt x="1174829" y="4853"/>
                </a:cubicBezTo>
                <a:cubicBezTo>
                  <a:pt x="1176343" y="5231"/>
                  <a:pt x="1177858" y="5609"/>
                  <a:pt x="1179418" y="5998"/>
                </a:cubicBezTo>
                <a:cubicBezTo>
                  <a:pt x="1189392" y="9487"/>
                  <a:pt x="1196322" y="14392"/>
                  <a:pt x="1201385" y="22997"/>
                </a:cubicBezTo>
                <a:cubicBezTo>
                  <a:pt x="1206849" y="35244"/>
                  <a:pt x="1206940" y="49865"/>
                  <a:pt x="1201678" y="62191"/>
                </a:cubicBezTo>
                <a:cubicBezTo>
                  <a:pt x="1200594" y="64241"/>
                  <a:pt x="1199461" y="66271"/>
                  <a:pt x="1198261" y="68268"/>
                </a:cubicBezTo>
                <a:cubicBezTo>
                  <a:pt x="1197423" y="69721"/>
                  <a:pt x="1196586" y="71175"/>
                  <a:pt x="1195723" y="72672"/>
                </a:cubicBezTo>
                <a:cubicBezTo>
                  <a:pt x="1194659" y="73980"/>
                  <a:pt x="1194659" y="73980"/>
                  <a:pt x="1193575" y="75314"/>
                </a:cubicBezTo>
                <a:cubicBezTo>
                  <a:pt x="1192544" y="75314"/>
                  <a:pt x="1191512" y="75314"/>
                  <a:pt x="1190450" y="75314"/>
                </a:cubicBezTo>
                <a:cubicBezTo>
                  <a:pt x="1190128" y="76651"/>
                  <a:pt x="1189806" y="77988"/>
                  <a:pt x="1189474" y="79366"/>
                </a:cubicBezTo>
                <a:cubicBezTo>
                  <a:pt x="1187326" y="83769"/>
                  <a:pt x="1187326" y="83769"/>
                  <a:pt x="1182445" y="85707"/>
                </a:cubicBezTo>
                <a:cubicBezTo>
                  <a:pt x="1180962" y="85998"/>
                  <a:pt x="1179480" y="86289"/>
                  <a:pt x="1177953" y="86588"/>
                </a:cubicBezTo>
                <a:cubicBezTo>
                  <a:pt x="1177953" y="87518"/>
                  <a:pt x="1177953" y="88448"/>
                  <a:pt x="1177953" y="89406"/>
                </a:cubicBezTo>
                <a:cubicBezTo>
                  <a:pt x="1175369" y="91088"/>
                  <a:pt x="1172720" y="92688"/>
                  <a:pt x="1170045" y="94251"/>
                </a:cubicBezTo>
                <a:cubicBezTo>
                  <a:pt x="1154651" y="104199"/>
                  <a:pt x="1148918" y="116979"/>
                  <a:pt x="1143806" y="132828"/>
                </a:cubicBezTo>
                <a:cubicBezTo>
                  <a:pt x="1142095" y="137144"/>
                  <a:pt x="1140989" y="138617"/>
                  <a:pt x="1137338" y="141548"/>
                </a:cubicBezTo>
                <a:cubicBezTo>
                  <a:pt x="1136166" y="144148"/>
                  <a:pt x="1134992" y="146751"/>
                  <a:pt x="1133970" y="149403"/>
                </a:cubicBezTo>
                <a:cubicBezTo>
                  <a:pt x="1132069" y="154334"/>
                  <a:pt x="1130006" y="159210"/>
                  <a:pt x="1127965" y="164095"/>
                </a:cubicBezTo>
                <a:cubicBezTo>
                  <a:pt x="1126897" y="166664"/>
                  <a:pt x="1125830" y="169233"/>
                  <a:pt x="1124762" y="171802"/>
                </a:cubicBezTo>
                <a:cubicBezTo>
                  <a:pt x="1122961" y="176134"/>
                  <a:pt x="1121160" y="180466"/>
                  <a:pt x="1119359" y="184798"/>
                </a:cubicBezTo>
                <a:cubicBezTo>
                  <a:pt x="1116567" y="191508"/>
                  <a:pt x="1113778" y="198220"/>
                  <a:pt x="1111014" y="204941"/>
                </a:cubicBezTo>
                <a:cubicBezTo>
                  <a:pt x="1110590" y="205970"/>
                  <a:pt x="1110165" y="206999"/>
                  <a:pt x="1109729" y="208059"/>
                </a:cubicBezTo>
                <a:cubicBezTo>
                  <a:pt x="1108615" y="210762"/>
                  <a:pt x="1107505" y="213466"/>
                  <a:pt x="1106395" y="216170"/>
                </a:cubicBezTo>
                <a:cubicBezTo>
                  <a:pt x="1104320" y="220956"/>
                  <a:pt x="1103283" y="223349"/>
                  <a:pt x="1102147" y="224810"/>
                </a:cubicBezTo>
                <a:lnTo>
                  <a:pt x="1098261" y="227262"/>
                </a:lnTo>
                <a:lnTo>
                  <a:pt x="1098367" y="238475"/>
                </a:lnTo>
                <a:cubicBezTo>
                  <a:pt x="1098025" y="239757"/>
                  <a:pt x="1097684" y="241038"/>
                  <a:pt x="1097331" y="242358"/>
                </a:cubicBezTo>
                <a:cubicBezTo>
                  <a:pt x="1096958" y="243711"/>
                  <a:pt x="1096585" y="245064"/>
                  <a:pt x="1096201" y="246458"/>
                </a:cubicBezTo>
                <a:cubicBezTo>
                  <a:pt x="1093302" y="257363"/>
                  <a:pt x="1090901" y="268062"/>
                  <a:pt x="1089440" y="279206"/>
                </a:cubicBezTo>
                <a:cubicBezTo>
                  <a:pt x="1088878" y="282569"/>
                  <a:pt x="1088878" y="282569"/>
                  <a:pt x="1087316" y="283978"/>
                </a:cubicBezTo>
                <a:cubicBezTo>
                  <a:pt x="1087070" y="286587"/>
                  <a:pt x="1086924" y="289205"/>
                  <a:pt x="1086822" y="291822"/>
                </a:cubicBezTo>
                <a:cubicBezTo>
                  <a:pt x="1086756" y="293408"/>
                  <a:pt x="1086691" y="294993"/>
                  <a:pt x="1086623" y="296625"/>
                </a:cubicBezTo>
                <a:cubicBezTo>
                  <a:pt x="1086562" y="298294"/>
                  <a:pt x="1086501" y="299962"/>
                  <a:pt x="1086437" y="301681"/>
                </a:cubicBezTo>
                <a:cubicBezTo>
                  <a:pt x="1086336" y="304192"/>
                  <a:pt x="1086336" y="304192"/>
                  <a:pt x="1086233" y="306754"/>
                </a:cubicBezTo>
                <a:lnTo>
                  <a:pt x="1086007" y="312619"/>
                </a:lnTo>
                <a:lnTo>
                  <a:pt x="1087470" y="320554"/>
                </a:lnTo>
                <a:cubicBezTo>
                  <a:pt x="1089648" y="325409"/>
                  <a:pt x="1093111" y="329799"/>
                  <a:pt x="1098285" y="334611"/>
                </a:cubicBezTo>
                <a:cubicBezTo>
                  <a:pt x="1100424" y="336130"/>
                  <a:pt x="1100424" y="336130"/>
                  <a:pt x="1102607" y="337679"/>
                </a:cubicBezTo>
                <a:cubicBezTo>
                  <a:pt x="1104334" y="338951"/>
                  <a:pt x="1104334" y="338951"/>
                  <a:pt x="1106095" y="340248"/>
                </a:cubicBezTo>
                <a:cubicBezTo>
                  <a:pt x="1106095" y="341178"/>
                  <a:pt x="1106095" y="342108"/>
                  <a:pt x="1106095" y="343066"/>
                </a:cubicBezTo>
                <a:cubicBezTo>
                  <a:pt x="1107127" y="343183"/>
                  <a:pt x="1108158" y="343299"/>
                  <a:pt x="1109220" y="343419"/>
                </a:cubicBezTo>
                <a:cubicBezTo>
                  <a:pt x="1115473" y="344829"/>
                  <a:pt x="1120724" y="347416"/>
                  <a:pt x="1126403" y="350112"/>
                </a:cubicBezTo>
                <a:cubicBezTo>
                  <a:pt x="1128207" y="350926"/>
                  <a:pt x="1130012" y="351740"/>
                  <a:pt x="1131871" y="352579"/>
                </a:cubicBezTo>
                <a:cubicBezTo>
                  <a:pt x="1133159" y="353160"/>
                  <a:pt x="1134448" y="353741"/>
                  <a:pt x="1135776" y="354340"/>
                </a:cubicBezTo>
                <a:cubicBezTo>
                  <a:pt x="1135776" y="355270"/>
                  <a:pt x="1135776" y="356200"/>
                  <a:pt x="1135776" y="357158"/>
                </a:cubicBezTo>
                <a:cubicBezTo>
                  <a:pt x="1148107" y="360029"/>
                  <a:pt x="1158679" y="359101"/>
                  <a:pt x="1170143" y="354340"/>
                </a:cubicBezTo>
                <a:cubicBezTo>
                  <a:pt x="1172366" y="353468"/>
                  <a:pt x="1172366" y="353468"/>
                  <a:pt x="1174634" y="352579"/>
                </a:cubicBezTo>
                <a:cubicBezTo>
                  <a:pt x="1180354" y="349689"/>
                  <a:pt x="1185568" y="346355"/>
                  <a:pt x="1190890" y="342907"/>
                </a:cubicBezTo>
                <a:cubicBezTo>
                  <a:pt x="1195169" y="340228"/>
                  <a:pt x="1199557" y="337821"/>
                  <a:pt x="1204021" y="335404"/>
                </a:cubicBezTo>
                <a:cubicBezTo>
                  <a:pt x="1211989" y="330886"/>
                  <a:pt x="1217509" y="325766"/>
                  <a:pt x="1223255" y="319110"/>
                </a:cubicBezTo>
                <a:cubicBezTo>
                  <a:pt x="1224447" y="317947"/>
                  <a:pt x="1225639" y="316784"/>
                  <a:pt x="1226868" y="315587"/>
                </a:cubicBezTo>
                <a:cubicBezTo>
                  <a:pt x="1229855" y="311593"/>
                  <a:pt x="1230852" y="308240"/>
                  <a:pt x="1231859" y="303559"/>
                </a:cubicBezTo>
                <a:cubicBezTo>
                  <a:pt x="1232628" y="300790"/>
                  <a:pt x="1232628" y="300790"/>
                  <a:pt x="1234178" y="298059"/>
                </a:cubicBezTo>
                <a:cubicBezTo>
                  <a:pt x="1235964" y="294761"/>
                  <a:pt x="1236623" y="291807"/>
                  <a:pt x="1237314" y="288195"/>
                </a:cubicBezTo>
                <a:cubicBezTo>
                  <a:pt x="1239360" y="278571"/>
                  <a:pt x="1242414" y="272733"/>
                  <a:pt x="1249811" y="265559"/>
                </a:cubicBezTo>
                <a:cubicBezTo>
                  <a:pt x="1250842" y="265559"/>
                  <a:pt x="1251873" y="265559"/>
                  <a:pt x="1252935" y="265559"/>
                </a:cubicBezTo>
                <a:cubicBezTo>
                  <a:pt x="1252935" y="264629"/>
                  <a:pt x="1252935" y="263699"/>
                  <a:pt x="1252935" y="262741"/>
                </a:cubicBezTo>
                <a:cubicBezTo>
                  <a:pt x="1265591" y="253427"/>
                  <a:pt x="1280762" y="251648"/>
                  <a:pt x="1296675" y="252876"/>
                </a:cubicBezTo>
                <a:cubicBezTo>
                  <a:pt x="1300535" y="253563"/>
                  <a:pt x="1303901" y="254478"/>
                  <a:pt x="1307609" y="255695"/>
                </a:cubicBezTo>
                <a:cubicBezTo>
                  <a:pt x="1307609" y="256625"/>
                  <a:pt x="1307609" y="257555"/>
                  <a:pt x="1307609" y="258513"/>
                </a:cubicBezTo>
                <a:cubicBezTo>
                  <a:pt x="1309021" y="258619"/>
                  <a:pt x="1310432" y="258723"/>
                  <a:pt x="1311887" y="258832"/>
                </a:cubicBezTo>
                <a:cubicBezTo>
                  <a:pt x="1319573" y="260476"/>
                  <a:pt x="1322149" y="264416"/>
                  <a:pt x="1326715" y="269969"/>
                </a:cubicBezTo>
                <a:cubicBezTo>
                  <a:pt x="1334402" y="281220"/>
                  <a:pt x="1336114" y="294839"/>
                  <a:pt x="1334165" y="307836"/>
                </a:cubicBezTo>
                <a:cubicBezTo>
                  <a:pt x="1332176" y="311898"/>
                  <a:pt x="1332176" y="311898"/>
                  <a:pt x="1329479" y="314882"/>
                </a:cubicBezTo>
                <a:cubicBezTo>
                  <a:pt x="1327417" y="314882"/>
                  <a:pt x="1325355" y="314882"/>
                  <a:pt x="1323231" y="314882"/>
                </a:cubicBezTo>
                <a:cubicBezTo>
                  <a:pt x="1323231" y="315812"/>
                  <a:pt x="1323231" y="316742"/>
                  <a:pt x="1323231" y="317700"/>
                </a:cubicBezTo>
                <a:lnTo>
                  <a:pt x="1322774" y="317838"/>
                </a:lnTo>
                <a:lnTo>
                  <a:pt x="1323295" y="317838"/>
                </a:lnTo>
                <a:cubicBezTo>
                  <a:pt x="1323295" y="316907"/>
                  <a:pt x="1323295" y="315977"/>
                  <a:pt x="1323295" y="315019"/>
                </a:cubicBezTo>
                <a:cubicBezTo>
                  <a:pt x="1324842" y="315019"/>
                  <a:pt x="1326388" y="315019"/>
                  <a:pt x="1327982" y="315019"/>
                </a:cubicBezTo>
                <a:cubicBezTo>
                  <a:pt x="1325845" y="321328"/>
                  <a:pt x="1322753" y="323742"/>
                  <a:pt x="1317047" y="327702"/>
                </a:cubicBezTo>
                <a:cubicBezTo>
                  <a:pt x="1316531" y="329097"/>
                  <a:pt x="1316016" y="330492"/>
                  <a:pt x="1315484" y="331930"/>
                </a:cubicBezTo>
                <a:cubicBezTo>
                  <a:pt x="1312599" y="332959"/>
                  <a:pt x="1312599" y="332959"/>
                  <a:pt x="1309139" y="333603"/>
                </a:cubicBezTo>
                <a:cubicBezTo>
                  <a:pt x="1307993" y="333827"/>
                  <a:pt x="1306847" y="334050"/>
                  <a:pt x="1305666" y="334280"/>
                </a:cubicBezTo>
                <a:cubicBezTo>
                  <a:pt x="1304783" y="334434"/>
                  <a:pt x="1303899" y="334589"/>
                  <a:pt x="1302988" y="334748"/>
                </a:cubicBezTo>
                <a:lnTo>
                  <a:pt x="1305905" y="332775"/>
                </a:lnTo>
                <a:lnTo>
                  <a:pt x="1304485" y="333202"/>
                </a:lnTo>
                <a:cubicBezTo>
                  <a:pt x="1302987" y="334640"/>
                  <a:pt x="1302987" y="334640"/>
                  <a:pt x="1301459" y="336108"/>
                </a:cubicBezTo>
                <a:cubicBezTo>
                  <a:pt x="1298237" y="338839"/>
                  <a:pt x="1298237" y="338839"/>
                  <a:pt x="1291989" y="338839"/>
                </a:cubicBezTo>
                <a:cubicBezTo>
                  <a:pt x="1291473" y="340234"/>
                  <a:pt x="1290957" y="341629"/>
                  <a:pt x="1290426" y="343066"/>
                </a:cubicBezTo>
                <a:cubicBezTo>
                  <a:pt x="1288879" y="343415"/>
                  <a:pt x="1287333" y="343764"/>
                  <a:pt x="1285740" y="344123"/>
                </a:cubicBezTo>
                <a:cubicBezTo>
                  <a:pt x="1266905" y="348491"/>
                  <a:pt x="1249005" y="369098"/>
                  <a:pt x="1237314" y="382525"/>
                </a:cubicBezTo>
                <a:cubicBezTo>
                  <a:pt x="1235678" y="385783"/>
                  <a:pt x="1234122" y="389075"/>
                  <a:pt x="1232628" y="392389"/>
                </a:cubicBezTo>
                <a:cubicBezTo>
                  <a:pt x="1231317" y="394515"/>
                  <a:pt x="1229981" y="396629"/>
                  <a:pt x="1228625" y="398731"/>
                </a:cubicBezTo>
                <a:cubicBezTo>
                  <a:pt x="1221457" y="410300"/>
                  <a:pt x="1219465" y="421836"/>
                  <a:pt x="1222822" y="434798"/>
                </a:cubicBezTo>
                <a:cubicBezTo>
                  <a:pt x="1229360" y="453710"/>
                  <a:pt x="1244088" y="472467"/>
                  <a:pt x="1260746" y="485398"/>
                </a:cubicBezTo>
                <a:cubicBezTo>
                  <a:pt x="1264961" y="487349"/>
                  <a:pt x="1264961" y="487349"/>
                  <a:pt x="1268556" y="488216"/>
                </a:cubicBezTo>
                <a:cubicBezTo>
                  <a:pt x="1268556" y="489146"/>
                  <a:pt x="1268556" y="490076"/>
                  <a:pt x="1268556" y="491034"/>
                </a:cubicBezTo>
                <a:cubicBezTo>
                  <a:pt x="1288790" y="497071"/>
                  <a:pt x="1319055" y="498555"/>
                  <a:pt x="1338852" y="489625"/>
                </a:cubicBezTo>
                <a:cubicBezTo>
                  <a:pt x="1341711" y="489213"/>
                  <a:pt x="1344575" y="488837"/>
                  <a:pt x="1347444" y="488480"/>
                </a:cubicBezTo>
                <a:cubicBezTo>
                  <a:pt x="1355372" y="487345"/>
                  <a:pt x="1362033" y="485390"/>
                  <a:pt x="1369362" y="482513"/>
                </a:cubicBezTo>
                <a:cubicBezTo>
                  <a:pt x="1375665" y="480318"/>
                  <a:pt x="1382189" y="479322"/>
                  <a:pt x="1388840" y="478351"/>
                </a:cubicBezTo>
                <a:cubicBezTo>
                  <a:pt x="1388840" y="477421"/>
                  <a:pt x="1388840" y="476492"/>
                  <a:pt x="1388840" y="475533"/>
                </a:cubicBezTo>
                <a:cubicBezTo>
                  <a:pt x="1391083" y="474821"/>
                  <a:pt x="1393329" y="474118"/>
                  <a:pt x="1395576" y="473419"/>
                </a:cubicBezTo>
                <a:cubicBezTo>
                  <a:pt x="1396827" y="473027"/>
                  <a:pt x="1398077" y="472635"/>
                  <a:pt x="1399365" y="472230"/>
                </a:cubicBezTo>
                <a:cubicBezTo>
                  <a:pt x="1402899" y="471305"/>
                  <a:pt x="1402899" y="471305"/>
                  <a:pt x="1407585" y="471305"/>
                </a:cubicBezTo>
                <a:cubicBezTo>
                  <a:pt x="1408101" y="469910"/>
                  <a:pt x="1408616" y="468515"/>
                  <a:pt x="1409147" y="467078"/>
                </a:cubicBezTo>
                <a:cubicBezTo>
                  <a:pt x="1412388" y="465580"/>
                  <a:pt x="1412388" y="465580"/>
                  <a:pt x="1416470" y="464259"/>
                </a:cubicBezTo>
                <a:cubicBezTo>
                  <a:pt x="1424029" y="461705"/>
                  <a:pt x="1431130" y="458955"/>
                  <a:pt x="1437949" y="455011"/>
                </a:cubicBezTo>
                <a:cubicBezTo>
                  <a:pt x="1442765" y="452574"/>
                  <a:pt x="1447553" y="451394"/>
                  <a:pt x="1452887" y="450167"/>
                </a:cubicBezTo>
                <a:cubicBezTo>
                  <a:pt x="1452887" y="449237"/>
                  <a:pt x="1452887" y="448307"/>
                  <a:pt x="1452887" y="447349"/>
                </a:cubicBezTo>
                <a:cubicBezTo>
                  <a:pt x="1453714" y="446944"/>
                  <a:pt x="1454541" y="446539"/>
                  <a:pt x="1455394" y="446122"/>
                </a:cubicBezTo>
                <a:cubicBezTo>
                  <a:pt x="1459151" y="444278"/>
                  <a:pt x="1462902" y="442422"/>
                  <a:pt x="1466653" y="440567"/>
                </a:cubicBezTo>
                <a:cubicBezTo>
                  <a:pt x="1467955" y="439930"/>
                  <a:pt x="1469256" y="439293"/>
                  <a:pt x="1470598" y="438637"/>
                </a:cubicBezTo>
                <a:cubicBezTo>
                  <a:pt x="1471852" y="438016"/>
                  <a:pt x="1473105" y="437393"/>
                  <a:pt x="1474397" y="436752"/>
                </a:cubicBezTo>
                <a:cubicBezTo>
                  <a:pt x="1475550" y="436184"/>
                  <a:pt x="1476703" y="435616"/>
                  <a:pt x="1477892" y="435030"/>
                </a:cubicBezTo>
                <a:cubicBezTo>
                  <a:pt x="1480966" y="433279"/>
                  <a:pt x="1483173" y="431373"/>
                  <a:pt x="1485691" y="429029"/>
                </a:cubicBezTo>
                <a:cubicBezTo>
                  <a:pt x="1486737" y="428575"/>
                  <a:pt x="1487781" y="428121"/>
                  <a:pt x="1488858" y="427653"/>
                </a:cubicBezTo>
                <a:cubicBezTo>
                  <a:pt x="1492438" y="425977"/>
                  <a:pt x="1493705" y="424453"/>
                  <a:pt x="1495943" y="421454"/>
                </a:cubicBezTo>
                <a:cubicBezTo>
                  <a:pt x="1507114" y="407544"/>
                  <a:pt x="1519758" y="393513"/>
                  <a:pt x="1538608" y="388338"/>
                </a:cubicBezTo>
                <a:cubicBezTo>
                  <a:pt x="1541025" y="388250"/>
                  <a:pt x="1541025" y="388250"/>
                  <a:pt x="1543490" y="388161"/>
                </a:cubicBezTo>
                <a:cubicBezTo>
                  <a:pt x="1545535" y="387984"/>
                  <a:pt x="1545535" y="387984"/>
                  <a:pt x="1547621" y="387804"/>
                </a:cubicBezTo>
                <a:cubicBezTo>
                  <a:pt x="1560659" y="387094"/>
                  <a:pt x="1568716" y="390117"/>
                  <a:pt x="1579418" y="396617"/>
                </a:cubicBezTo>
                <a:cubicBezTo>
                  <a:pt x="1581361" y="397687"/>
                  <a:pt x="1581361" y="397687"/>
                  <a:pt x="1583342" y="398780"/>
                </a:cubicBezTo>
                <a:cubicBezTo>
                  <a:pt x="1593703" y="405068"/>
                  <a:pt x="1598513" y="412459"/>
                  <a:pt x="1601288" y="423392"/>
                </a:cubicBezTo>
                <a:cubicBezTo>
                  <a:pt x="1603295" y="436596"/>
                  <a:pt x="1603517" y="449033"/>
                  <a:pt x="1594484" y="460159"/>
                </a:cubicBezTo>
                <a:cubicBezTo>
                  <a:pt x="1588468" y="466462"/>
                  <a:pt x="1582607" y="471150"/>
                  <a:pt x="1574732" y="475533"/>
                </a:cubicBezTo>
                <a:cubicBezTo>
                  <a:pt x="1573862" y="476043"/>
                  <a:pt x="1572993" y="476553"/>
                  <a:pt x="1572097" y="477078"/>
                </a:cubicBezTo>
                <a:cubicBezTo>
                  <a:pt x="1566828" y="478935"/>
                  <a:pt x="1561641" y="478744"/>
                  <a:pt x="1556066" y="478737"/>
                </a:cubicBezTo>
                <a:cubicBezTo>
                  <a:pt x="1553587" y="478765"/>
                  <a:pt x="1551109" y="478795"/>
                  <a:pt x="1548631" y="478825"/>
                </a:cubicBezTo>
                <a:cubicBezTo>
                  <a:pt x="1544751" y="478857"/>
                  <a:pt x="1540871" y="478880"/>
                  <a:pt x="1536991" y="478889"/>
                </a:cubicBezTo>
                <a:cubicBezTo>
                  <a:pt x="1516714" y="478693"/>
                  <a:pt x="1516714" y="478693"/>
                  <a:pt x="1498188" y="485398"/>
                </a:cubicBezTo>
                <a:cubicBezTo>
                  <a:pt x="1496062" y="486488"/>
                  <a:pt x="1496062" y="486488"/>
                  <a:pt x="1493892" y="487600"/>
                </a:cubicBezTo>
                <a:cubicBezTo>
                  <a:pt x="1492733" y="488268"/>
                  <a:pt x="1491573" y="488937"/>
                  <a:pt x="1490377" y="489625"/>
                </a:cubicBezTo>
                <a:cubicBezTo>
                  <a:pt x="1484304" y="493012"/>
                  <a:pt x="1478212" y="495675"/>
                  <a:pt x="1471650" y="498185"/>
                </a:cubicBezTo>
                <a:cubicBezTo>
                  <a:pt x="1467148" y="500054"/>
                  <a:pt x="1463242" y="502632"/>
                  <a:pt x="1459135" y="505127"/>
                </a:cubicBezTo>
                <a:cubicBezTo>
                  <a:pt x="1456968" y="506120"/>
                  <a:pt x="1454786" y="507086"/>
                  <a:pt x="1452594" y="508033"/>
                </a:cubicBezTo>
                <a:cubicBezTo>
                  <a:pt x="1444148" y="511772"/>
                  <a:pt x="1435969" y="515903"/>
                  <a:pt x="1427795" y="520100"/>
                </a:cubicBezTo>
                <a:cubicBezTo>
                  <a:pt x="1425784" y="521114"/>
                  <a:pt x="1425784" y="521114"/>
                  <a:pt x="1423733" y="522148"/>
                </a:cubicBezTo>
                <a:cubicBezTo>
                  <a:pt x="1422478" y="522798"/>
                  <a:pt x="1421223" y="523449"/>
                  <a:pt x="1419929" y="524118"/>
                </a:cubicBezTo>
                <a:cubicBezTo>
                  <a:pt x="1418794" y="524701"/>
                  <a:pt x="1417658" y="525283"/>
                  <a:pt x="1416487" y="525883"/>
                </a:cubicBezTo>
                <a:cubicBezTo>
                  <a:pt x="1413349" y="527646"/>
                  <a:pt x="1413349" y="527646"/>
                  <a:pt x="1412271" y="531902"/>
                </a:cubicBezTo>
                <a:cubicBezTo>
                  <a:pt x="1407205" y="535203"/>
                  <a:pt x="1402819" y="536744"/>
                  <a:pt x="1396650" y="537539"/>
                </a:cubicBezTo>
                <a:cubicBezTo>
                  <a:pt x="1396650" y="538469"/>
                  <a:pt x="1396650" y="539399"/>
                  <a:pt x="1396650" y="540357"/>
                </a:cubicBezTo>
                <a:cubicBezTo>
                  <a:pt x="1395609" y="540735"/>
                  <a:pt x="1394568" y="541113"/>
                  <a:pt x="1393495" y="541502"/>
                </a:cubicBezTo>
                <a:cubicBezTo>
                  <a:pt x="1381840" y="545973"/>
                  <a:pt x="1372279" y="551715"/>
                  <a:pt x="1362284" y="558678"/>
                </a:cubicBezTo>
                <a:cubicBezTo>
                  <a:pt x="1360170" y="560088"/>
                  <a:pt x="1358055" y="561497"/>
                  <a:pt x="1355937" y="562905"/>
                </a:cubicBezTo>
                <a:cubicBezTo>
                  <a:pt x="1348556" y="567937"/>
                  <a:pt x="1341292" y="573085"/>
                  <a:pt x="1334165" y="578406"/>
                </a:cubicBezTo>
                <a:cubicBezTo>
                  <a:pt x="1332697" y="579472"/>
                  <a:pt x="1332697" y="579472"/>
                  <a:pt x="1331200" y="580559"/>
                </a:cubicBezTo>
                <a:cubicBezTo>
                  <a:pt x="1325067" y="585430"/>
                  <a:pt x="1323406" y="589771"/>
                  <a:pt x="1322175" y="596793"/>
                </a:cubicBezTo>
                <a:cubicBezTo>
                  <a:pt x="1321669" y="599545"/>
                  <a:pt x="1321669" y="599545"/>
                  <a:pt x="1320106" y="602363"/>
                </a:cubicBezTo>
                <a:cubicBezTo>
                  <a:pt x="1318419" y="618189"/>
                  <a:pt x="1322416" y="632767"/>
                  <a:pt x="1328015" y="647640"/>
                </a:cubicBezTo>
                <a:cubicBezTo>
                  <a:pt x="1331267" y="656625"/>
                  <a:pt x="1333170" y="666179"/>
                  <a:pt x="1332604" y="675643"/>
                </a:cubicBezTo>
                <a:cubicBezTo>
                  <a:pt x="1333634" y="675643"/>
                  <a:pt x="1334665" y="675643"/>
                  <a:pt x="1335727" y="675643"/>
                </a:cubicBezTo>
                <a:cubicBezTo>
                  <a:pt x="1337571" y="680632"/>
                  <a:pt x="1337591" y="684795"/>
                  <a:pt x="1337741" y="690059"/>
                </a:cubicBezTo>
                <a:cubicBezTo>
                  <a:pt x="1337826" y="692114"/>
                  <a:pt x="1337913" y="694168"/>
                  <a:pt x="1338003" y="696222"/>
                </a:cubicBezTo>
                <a:cubicBezTo>
                  <a:pt x="1338142" y="699444"/>
                  <a:pt x="1338266" y="702664"/>
                  <a:pt x="1338340" y="705887"/>
                </a:cubicBezTo>
                <a:cubicBezTo>
                  <a:pt x="1338372" y="720474"/>
                  <a:pt x="1338372" y="720474"/>
                  <a:pt x="1345277" y="733245"/>
                </a:cubicBezTo>
                <a:cubicBezTo>
                  <a:pt x="1350822" y="737861"/>
                  <a:pt x="1355921" y="739823"/>
                  <a:pt x="1363162" y="741612"/>
                </a:cubicBezTo>
                <a:cubicBezTo>
                  <a:pt x="1370672" y="743533"/>
                  <a:pt x="1377197" y="745750"/>
                  <a:pt x="1384154" y="748922"/>
                </a:cubicBezTo>
                <a:cubicBezTo>
                  <a:pt x="1387833" y="749898"/>
                  <a:pt x="1387833" y="749898"/>
                  <a:pt x="1391476" y="750419"/>
                </a:cubicBezTo>
                <a:cubicBezTo>
                  <a:pt x="1393499" y="750747"/>
                  <a:pt x="1393499" y="750747"/>
                  <a:pt x="1395564" y="751080"/>
                </a:cubicBezTo>
                <a:cubicBezTo>
                  <a:pt x="1397648" y="751407"/>
                  <a:pt x="1397648" y="751407"/>
                  <a:pt x="1399775" y="751740"/>
                </a:cubicBezTo>
                <a:cubicBezTo>
                  <a:pt x="1401810" y="752111"/>
                  <a:pt x="1401810" y="752111"/>
                  <a:pt x="1403887" y="752489"/>
                </a:cubicBezTo>
                <a:cubicBezTo>
                  <a:pt x="1424247" y="756131"/>
                  <a:pt x="1444708" y="756350"/>
                  <a:pt x="1465383" y="755969"/>
                </a:cubicBezTo>
                <a:cubicBezTo>
                  <a:pt x="1467019" y="755945"/>
                  <a:pt x="1468654" y="755921"/>
                  <a:pt x="1470339" y="755897"/>
                </a:cubicBezTo>
                <a:cubicBezTo>
                  <a:pt x="1480128" y="755450"/>
                  <a:pt x="1487899" y="752933"/>
                  <a:pt x="1496809" y="749313"/>
                </a:cubicBezTo>
                <a:cubicBezTo>
                  <a:pt x="1502876" y="746888"/>
                  <a:pt x="1509049" y="745091"/>
                  <a:pt x="1515371" y="743285"/>
                </a:cubicBezTo>
                <a:cubicBezTo>
                  <a:pt x="1515371" y="742356"/>
                  <a:pt x="1515371" y="741425"/>
                  <a:pt x="1515371" y="740467"/>
                </a:cubicBezTo>
                <a:cubicBezTo>
                  <a:pt x="1522710" y="737103"/>
                  <a:pt x="1529583" y="737106"/>
                  <a:pt x="1537632" y="737120"/>
                </a:cubicBezTo>
                <a:cubicBezTo>
                  <a:pt x="1538960" y="737122"/>
                  <a:pt x="1540289" y="737124"/>
                  <a:pt x="1541657" y="737127"/>
                </a:cubicBezTo>
                <a:cubicBezTo>
                  <a:pt x="1555502" y="737372"/>
                  <a:pt x="1564314" y="740697"/>
                  <a:pt x="1574732" y="748922"/>
                </a:cubicBezTo>
                <a:cubicBezTo>
                  <a:pt x="1586507" y="762822"/>
                  <a:pt x="1590347" y="775219"/>
                  <a:pt x="1588791" y="792608"/>
                </a:cubicBezTo>
                <a:cubicBezTo>
                  <a:pt x="1587728" y="797050"/>
                  <a:pt x="1586468" y="801261"/>
                  <a:pt x="1584105" y="805291"/>
                </a:cubicBezTo>
                <a:cubicBezTo>
                  <a:pt x="1583074" y="805756"/>
                  <a:pt x="1582043" y="806221"/>
                  <a:pt x="1580981" y="806700"/>
                </a:cubicBezTo>
                <a:cubicBezTo>
                  <a:pt x="1580240" y="807892"/>
                  <a:pt x="1579499" y="809083"/>
                  <a:pt x="1578735" y="810311"/>
                </a:cubicBezTo>
                <a:cubicBezTo>
                  <a:pt x="1577930" y="811445"/>
                  <a:pt x="1577124" y="812579"/>
                  <a:pt x="1576295" y="813746"/>
                </a:cubicBezTo>
                <a:lnTo>
                  <a:pt x="1571652" y="813746"/>
                </a:lnTo>
                <a:lnTo>
                  <a:pt x="1571785" y="814106"/>
                </a:lnTo>
                <a:cubicBezTo>
                  <a:pt x="1572816" y="814571"/>
                  <a:pt x="1573846" y="815036"/>
                  <a:pt x="1574909" y="815515"/>
                </a:cubicBezTo>
                <a:cubicBezTo>
                  <a:pt x="1572126" y="818758"/>
                  <a:pt x="1569968" y="820871"/>
                  <a:pt x="1565463" y="821839"/>
                </a:cubicBezTo>
                <a:lnTo>
                  <a:pt x="1562085" y="822101"/>
                </a:lnTo>
                <a:lnTo>
                  <a:pt x="1551301" y="825020"/>
                </a:lnTo>
                <a:cubicBezTo>
                  <a:pt x="1551301" y="825950"/>
                  <a:pt x="1551301" y="826880"/>
                  <a:pt x="1551301" y="827838"/>
                </a:cubicBezTo>
                <a:cubicBezTo>
                  <a:pt x="1526697" y="828735"/>
                  <a:pt x="1507496" y="825036"/>
                  <a:pt x="1485380" y="815007"/>
                </a:cubicBezTo>
                <a:cubicBezTo>
                  <a:pt x="1468723" y="807743"/>
                  <a:pt x="1449749" y="809144"/>
                  <a:pt x="1431603" y="808726"/>
                </a:cubicBezTo>
                <a:cubicBezTo>
                  <a:pt x="1429115" y="808665"/>
                  <a:pt x="1426627" y="808604"/>
                  <a:pt x="1424140" y="808542"/>
                </a:cubicBezTo>
                <a:cubicBezTo>
                  <a:pt x="1418101" y="808392"/>
                  <a:pt x="1412062" y="808249"/>
                  <a:pt x="1406023" y="808109"/>
                </a:cubicBezTo>
                <a:cubicBezTo>
                  <a:pt x="1406023" y="809040"/>
                  <a:pt x="1406023" y="809970"/>
                  <a:pt x="1406023" y="810928"/>
                </a:cubicBezTo>
                <a:cubicBezTo>
                  <a:pt x="1404716" y="811118"/>
                  <a:pt x="1404716" y="811118"/>
                  <a:pt x="1403383" y="811311"/>
                </a:cubicBezTo>
                <a:cubicBezTo>
                  <a:pt x="1372054" y="815110"/>
                  <a:pt x="1372054" y="815110"/>
                  <a:pt x="1345442" y="828907"/>
                </a:cubicBezTo>
                <a:cubicBezTo>
                  <a:pt x="1338843" y="837605"/>
                  <a:pt x="1338313" y="846434"/>
                  <a:pt x="1337875" y="856639"/>
                </a:cubicBezTo>
                <a:cubicBezTo>
                  <a:pt x="1337815" y="857805"/>
                  <a:pt x="1337754" y="858970"/>
                  <a:pt x="1337692" y="860171"/>
                </a:cubicBezTo>
                <a:cubicBezTo>
                  <a:pt x="1337547" y="863016"/>
                  <a:pt x="1337417" y="865861"/>
                  <a:pt x="1337290" y="868706"/>
                </a:cubicBezTo>
                <a:cubicBezTo>
                  <a:pt x="1336258" y="868706"/>
                  <a:pt x="1335228" y="868706"/>
                  <a:pt x="1334165" y="868706"/>
                </a:cubicBezTo>
                <a:lnTo>
                  <a:pt x="1334165" y="870034"/>
                </a:lnTo>
                <a:lnTo>
                  <a:pt x="1334237" y="869093"/>
                </a:lnTo>
                <a:cubicBezTo>
                  <a:pt x="1334753" y="869093"/>
                  <a:pt x="1335268" y="869093"/>
                  <a:pt x="1335800" y="869093"/>
                </a:cubicBezTo>
                <a:cubicBezTo>
                  <a:pt x="1335884" y="871559"/>
                  <a:pt x="1335944" y="874025"/>
                  <a:pt x="1335995" y="876491"/>
                </a:cubicBezTo>
                <a:cubicBezTo>
                  <a:pt x="1336030" y="877865"/>
                  <a:pt x="1336067" y="879238"/>
                  <a:pt x="1336105" y="880653"/>
                </a:cubicBezTo>
                <a:cubicBezTo>
                  <a:pt x="1335800" y="884594"/>
                  <a:pt x="1335800" y="884594"/>
                  <a:pt x="1334294" y="887271"/>
                </a:cubicBezTo>
                <a:cubicBezTo>
                  <a:pt x="1332567" y="890428"/>
                  <a:pt x="1331982" y="892964"/>
                  <a:pt x="1331455" y="896440"/>
                </a:cubicBezTo>
                <a:cubicBezTo>
                  <a:pt x="1331267" y="897605"/>
                  <a:pt x="1331080" y="898769"/>
                  <a:pt x="1330887" y="899969"/>
                </a:cubicBezTo>
                <a:cubicBezTo>
                  <a:pt x="1330704" y="901174"/>
                  <a:pt x="1330521" y="902378"/>
                  <a:pt x="1330332" y="903618"/>
                </a:cubicBezTo>
                <a:cubicBezTo>
                  <a:pt x="1329968" y="906013"/>
                  <a:pt x="1329594" y="908405"/>
                  <a:pt x="1329209" y="910797"/>
                </a:cubicBezTo>
                <a:cubicBezTo>
                  <a:pt x="1329049" y="911853"/>
                  <a:pt x="1328889" y="912910"/>
                  <a:pt x="1328724" y="913998"/>
                </a:cubicBezTo>
                <a:cubicBezTo>
                  <a:pt x="1327933" y="917233"/>
                  <a:pt x="1326525" y="919703"/>
                  <a:pt x="1324865" y="922643"/>
                </a:cubicBezTo>
                <a:cubicBezTo>
                  <a:pt x="1323924" y="927743"/>
                  <a:pt x="1323282" y="932845"/>
                  <a:pt x="1322619" y="937979"/>
                </a:cubicBezTo>
                <a:lnTo>
                  <a:pt x="1318744" y="944961"/>
                </a:lnTo>
                <a:lnTo>
                  <a:pt x="1318544" y="946213"/>
                </a:lnTo>
                <a:cubicBezTo>
                  <a:pt x="1318360" y="949234"/>
                  <a:pt x="1318271" y="952260"/>
                  <a:pt x="1318251" y="955285"/>
                </a:cubicBezTo>
                <a:cubicBezTo>
                  <a:pt x="1318218" y="957637"/>
                  <a:pt x="1318218" y="957637"/>
                  <a:pt x="1318184" y="960036"/>
                </a:cubicBezTo>
                <a:cubicBezTo>
                  <a:pt x="1318624" y="965530"/>
                  <a:pt x="1319569" y="969724"/>
                  <a:pt x="1324024" y="973660"/>
                </a:cubicBezTo>
                <a:cubicBezTo>
                  <a:pt x="1327197" y="976583"/>
                  <a:pt x="1327950" y="979494"/>
                  <a:pt x="1329284" y="983382"/>
                </a:cubicBezTo>
                <a:cubicBezTo>
                  <a:pt x="1331875" y="990106"/>
                  <a:pt x="1334445" y="993582"/>
                  <a:pt x="1340414" y="998354"/>
                </a:cubicBezTo>
                <a:cubicBezTo>
                  <a:pt x="1342397" y="1000564"/>
                  <a:pt x="1344347" y="1002798"/>
                  <a:pt x="1346272" y="1005048"/>
                </a:cubicBezTo>
                <a:cubicBezTo>
                  <a:pt x="1360055" y="1020713"/>
                  <a:pt x="1376247" y="1031879"/>
                  <a:pt x="1394716" y="1042740"/>
                </a:cubicBezTo>
                <a:cubicBezTo>
                  <a:pt x="1397172" y="1044228"/>
                  <a:pt x="1399581" y="1045779"/>
                  <a:pt x="1401953" y="1047374"/>
                </a:cubicBezTo>
                <a:cubicBezTo>
                  <a:pt x="1410065" y="1052802"/>
                  <a:pt x="1417529" y="1056366"/>
                  <a:pt x="1427197" y="1059061"/>
                </a:cubicBezTo>
                <a:cubicBezTo>
                  <a:pt x="1431243" y="1060437"/>
                  <a:pt x="1434061" y="1061979"/>
                  <a:pt x="1437265" y="1064588"/>
                </a:cubicBezTo>
                <a:cubicBezTo>
                  <a:pt x="1437265" y="1065518"/>
                  <a:pt x="1437265" y="1066448"/>
                  <a:pt x="1437265" y="1067406"/>
                </a:cubicBezTo>
                <a:cubicBezTo>
                  <a:pt x="1439053" y="1067624"/>
                  <a:pt x="1439053" y="1067624"/>
                  <a:pt x="1440878" y="1067847"/>
                </a:cubicBezTo>
                <a:cubicBezTo>
                  <a:pt x="1445076" y="1068815"/>
                  <a:pt x="1445076" y="1068815"/>
                  <a:pt x="1447175" y="1070753"/>
                </a:cubicBezTo>
                <a:cubicBezTo>
                  <a:pt x="1450417" y="1073622"/>
                  <a:pt x="1453781" y="1075060"/>
                  <a:pt x="1457866" y="1076830"/>
                </a:cubicBezTo>
                <a:cubicBezTo>
                  <a:pt x="1459274" y="1077446"/>
                  <a:pt x="1460681" y="1078062"/>
                  <a:pt x="1462132" y="1078696"/>
                </a:cubicBezTo>
                <a:cubicBezTo>
                  <a:pt x="1463204" y="1079156"/>
                  <a:pt x="1464278" y="1079616"/>
                  <a:pt x="1465383" y="1080089"/>
                </a:cubicBezTo>
                <a:cubicBezTo>
                  <a:pt x="1465383" y="1081019"/>
                  <a:pt x="1465383" y="1081949"/>
                  <a:pt x="1465383" y="1082908"/>
                </a:cubicBezTo>
                <a:cubicBezTo>
                  <a:pt x="1466497" y="1083260"/>
                  <a:pt x="1467611" y="1083612"/>
                  <a:pt x="1468758" y="1083975"/>
                </a:cubicBezTo>
                <a:cubicBezTo>
                  <a:pt x="1473648" y="1085905"/>
                  <a:pt x="1477426" y="1088296"/>
                  <a:pt x="1481688" y="1091187"/>
                </a:cubicBezTo>
                <a:cubicBezTo>
                  <a:pt x="1483204" y="1092193"/>
                  <a:pt x="1484721" y="1093200"/>
                  <a:pt x="1486283" y="1094236"/>
                </a:cubicBezTo>
                <a:cubicBezTo>
                  <a:pt x="1489170" y="1096185"/>
                  <a:pt x="1492029" y="1098166"/>
                  <a:pt x="1494869" y="1100171"/>
                </a:cubicBezTo>
                <a:cubicBezTo>
                  <a:pt x="1510181" y="1107906"/>
                  <a:pt x="1527080" y="1109898"/>
                  <a:pt x="1544335" y="1109518"/>
                </a:cubicBezTo>
                <a:cubicBezTo>
                  <a:pt x="1579932" y="1108798"/>
                  <a:pt x="1579932" y="1108798"/>
                  <a:pt x="1593477" y="1119900"/>
                </a:cubicBezTo>
                <a:cubicBezTo>
                  <a:pt x="1600636" y="1127255"/>
                  <a:pt x="1604889" y="1135120"/>
                  <a:pt x="1605975" y="1144913"/>
                </a:cubicBezTo>
                <a:cubicBezTo>
                  <a:pt x="1607006" y="1144913"/>
                  <a:pt x="1608036" y="1144913"/>
                  <a:pt x="1609099" y="1144913"/>
                </a:cubicBezTo>
                <a:cubicBezTo>
                  <a:pt x="1609227" y="1148907"/>
                  <a:pt x="1609319" y="1152897"/>
                  <a:pt x="1609392" y="1156892"/>
                </a:cubicBezTo>
                <a:cubicBezTo>
                  <a:pt x="1609451" y="1158565"/>
                  <a:pt x="1609451" y="1158565"/>
                  <a:pt x="1609511" y="1160272"/>
                </a:cubicBezTo>
                <a:cubicBezTo>
                  <a:pt x="1609621" y="1168378"/>
                  <a:pt x="1607970" y="1174108"/>
                  <a:pt x="1604412" y="1181553"/>
                </a:cubicBezTo>
                <a:cubicBezTo>
                  <a:pt x="1603354" y="1184367"/>
                  <a:pt x="1602306" y="1187183"/>
                  <a:pt x="1601288" y="1190009"/>
                </a:cubicBezTo>
                <a:cubicBezTo>
                  <a:pt x="1600257" y="1190009"/>
                  <a:pt x="1599226" y="1190009"/>
                  <a:pt x="1598164" y="1190009"/>
                </a:cubicBezTo>
                <a:cubicBezTo>
                  <a:pt x="1597842" y="1190910"/>
                  <a:pt x="1597520" y="1191810"/>
                  <a:pt x="1597187" y="1192739"/>
                </a:cubicBezTo>
                <a:cubicBezTo>
                  <a:pt x="1596479" y="1193698"/>
                  <a:pt x="1595770" y="1194657"/>
                  <a:pt x="1595040" y="1195645"/>
                </a:cubicBezTo>
                <a:cubicBezTo>
                  <a:pt x="1591916" y="1196115"/>
                  <a:pt x="1588791" y="1196585"/>
                  <a:pt x="1585667" y="1197055"/>
                </a:cubicBezTo>
                <a:cubicBezTo>
                  <a:pt x="1583871" y="1199826"/>
                  <a:pt x="1583871" y="1199826"/>
                  <a:pt x="1582543" y="1202691"/>
                </a:cubicBezTo>
                <a:cubicBezTo>
                  <a:pt x="1575997" y="1204710"/>
                  <a:pt x="1569266" y="1204360"/>
                  <a:pt x="1562431" y="1204365"/>
                </a:cubicBezTo>
                <a:cubicBezTo>
                  <a:pt x="1561196" y="1204382"/>
                  <a:pt x="1559962" y="1204399"/>
                  <a:pt x="1558690" y="1204417"/>
                </a:cubicBezTo>
                <a:cubicBezTo>
                  <a:pt x="1543339" y="1204452"/>
                  <a:pt x="1531981" y="1199267"/>
                  <a:pt x="1521102" y="1189585"/>
                </a:cubicBezTo>
                <a:cubicBezTo>
                  <a:pt x="1515403" y="1183953"/>
                  <a:pt x="1510116" y="1178123"/>
                  <a:pt x="1505022" y="1172041"/>
                </a:cubicBezTo>
                <a:cubicBezTo>
                  <a:pt x="1493200" y="1158177"/>
                  <a:pt x="1475492" y="1147115"/>
                  <a:pt x="1457573" y="1140686"/>
                </a:cubicBezTo>
                <a:cubicBezTo>
                  <a:pt x="1457573" y="1139755"/>
                  <a:pt x="1457573" y="1138826"/>
                  <a:pt x="1457573" y="1137867"/>
                </a:cubicBezTo>
                <a:cubicBezTo>
                  <a:pt x="1456059" y="1137693"/>
                  <a:pt x="1454544" y="1137518"/>
                  <a:pt x="1452985" y="1137339"/>
                </a:cubicBezTo>
                <a:cubicBezTo>
                  <a:pt x="1451406" y="1137048"/>
                  <a:pt x="1449827" y="1136758"/>
                  <a:pt x="1448200" y="1136458"/>
                </a:cubicBezTo>
                <a:cubicBezTo>
                  <a:pt x="1447685" y="1135528"/>
                  <a:pt x="1447169" y="1134598"/>
                  <a:pt x="1446638" y="1133640"/>
                </a:cubicBezTo>
                <a:cubicBezTo>
                  <a:pt x="1444091" y="1132586"/>
                  <a:pt x="1441535" y="1131550"/>
                  <a:pt x="1438937" y="1130601"/>
                </a:cubicBezTo>
                <a:cubicBezTo>
                  <a:pt x="1435668" y="1129399"/>
                  <a:pt x="1432469" y="1128095"/>
                  <a:pt x="1429260" y="1126770"/>
                </a:cubicBezTo>
                <a:cubicBezTo>
                  <a:pt x="1423389" y="1124389"/>
                  <a:pt x="1417431" y="1122349"/>
                  <a:pt x="1411393" y="1120340"/>
                </a:cubicBezTo>
                <a:cubicBezTo>
                  <a:pt x="1404143" y="1117867"/>
                  <a:pt x="1397842" y="1115090"/>
                  <a:pt x="1391427" y="1111191"/>
                </a:cubicBezTo>
                <a:cubicBezTo>
                  <a:pt x="1388139" y="1109274"/>
                  <a:pt x="1384723" y="1108010"/>
                  <a:pt x="1381029" y="1106865"/>
                </a:cubicBezTo>
                <a:cubicBezTo>
                  <a:pt x="1381029" y="1105934"/>
                  <a:pt x="1381029" y="1105004"/>
                  <a:pt x="1381029" y="1104046"/>
                </a:cubicBezTo>
                <a:cubicBezTo>
                  <a:pt x="1379773" y="1103901"/>
                  <a:pt x="1378516" y="1103755"/>
                  <a:pt x="1377221" y="1103605"/>
                </a:cubicBezTo>
                <a:cubicBezTo>
                  <a:pt x="1370425" y="1102422"/>
                  <a:pt x="1364120" y="1100465"/>
                  <a:pt x="1357597" y="1098409"/>
                </a:cubicBezTo>
                <a:cubicBezTo>
                  <a:pt x="1355761" y="1097857"/>
                  <a:pt x="1353924" y="1097304"/>
                  <a:pt x="1352032" y="1096736"/>
                </a:cubicBezTo>
                <a:cubicBezTo>
                  <a:pt x="1350776" y="1096358"/>
                  <a:pt x="1349519" y="1095980"/>
                  <a:pt x="1348225" y="1095590"/>
                </a:cubicBezTo>
                <a:cubicBezTo>
                  <a:pt x="1348225" y="1094661"/>
                  <a:pt x="1348225" y="1093730"/>
                  <a:pt x="1348225" y="1092772"/>
                </a:cubicBezTo>
                <a:cubicBezTo>
                  <a:pt x="1344616" y="1092307"/>
                  <a:pt x="1341007" y="1091842"/>
                  <a:pt x="1337290" y="1091363"/>
                </a:cubicBezTo>
                <a:cubicBezTo>
                  <a:pt x="1337290" y="1090433"/>
                  <a:pt x="1337290" y="1089503"/>
                  <a:pt x="1337290" y="1088544"/>
                </a:cubicBezTo>
                <a:cubicBezTo>
                  <a:pt x="1334438" y="1088327"/>
                  <a:pt x="1334438" y="1088327"/>
                  <a:pt x="1331529" y="1088104"/>
                </a:cubicBezTo>
                <a:lnTo>
                  <a:pt x="1323297" y="1086611"/>
                </a:lnTo>
                <a:lnTo>
                  <a:pt x="1323297" y="1087618"/>
                </a:lnTo>
                <a:cubicBezTo>
                  <a:pt x="1322139" y="1087517"/>
                  <a:pt x="1320982" y="1087415"/>
                  <a:pt x="1319789" y="1087310"/>
                </a:cubicBezTo>
                <a:cubicBezTo>
                  <a:pt x="1300429" y="1085771"/>
                  <a:pt x="1281330" y="1084680"/>
                  <a:pt x="1262375" y="1089028"/>
                </a:cubicBezTo>
                <a:lnTo>
                  <a:pt x="1258728" y="1088205"/>
                </a:lnTo>
                <a:lnTo>
                  <a:pt x="1246964" y="1091489"/>
                </a:lnTo>
                <a:cubicBezTo>
                  <a:pt x="1237239" y="1097222"/>
                  <a:pt x="1228703" y="1103434"/>
                  <a:pt x="1223224" y="1112865"/>
                </a:cubicBezTo>
                <a:cubicBezTo>
                  <a:pt x="1220867" y="1116643"/>
                  <a:pt x="1217262" y="1119317"/>
                  <a:pt x="1213883" y="1122366"/>
                </a:cubicBezTo>
                <a:cubicBezTo>
                  <a:pt x="1213428" y="1123469"/>
                  <a:pt x="1212973" y="1124572"/>
                  <a:pt x="1212505" y="1125708"/>
                </a:cubicBezTo>
                <a:cubicBezTo>
                  <a:pt x="1210449" y="1130067"/>
                  <a:pt x="1207984" y="1132315"/>
                  <a:pt x="1204180" y="1135561"/>
                </a:cubicBezTo>
                <a:cubicBezTo>
                  <a:pt x="1202879" y="1136695"/>
                  <a:pt x="1201578" y="1137829"/>
                  <a:pt x="1200238" y="1138999"/>
                </a:cubicBezTo>
                <a:cubicBezTo>
                  <a:pt x="1197504" y="1141343"/>
                  <a:pt x="1194765" y="1143684"/>
                  <a:pt x="1192025" y="1146022"/>
                </a:cubicBezTo>
                <a:cubicBezTo>
                  <a:pt x="1181899" y="1154869"/>
                  <a:pt x="1174983" y="1161763"/>
                  <a:pt x="1173945" y="1174749"/>
                </a:cubicBezTo>
                <a:cubicBezTo>
                  <a:pt x="1173902" y="1177369"/>
                  <a:pt x="1173905" y="1179990"/>
                  <a:pt x="1173950" y="1182610"/>
                </a:cubicBezTo>
                <a:cubicBezTo>
                  <a:pt x="1173963" y="1183981"/>
                  <a:pt x="1173975" y="1185352"/>
                  <a:pt x="1173989" y="1186765"/>
                </a:cubicBezTo>
                <a:cubicBezTo>
                  <a:pt x="1174321" y="1197573"/>
                  <a:pt x="1176809" y="1205883"/>
                  <a:pt x="1182640" y="1215374"/>
                </a:cubicBezTo>
                <a:cubicBezTo>
                  <a:pt x="1183703" y="1217509"/>
                  <a:pt x="1184746" y="1219652"/>
                  <a:pt x="1185764" y="1221804"/>
                </a:cubicBezTo>
                <a:cubicBezTo>
                  <a:pt x="1186271" y="1222812"/>
                  <a:pt x="1186779" y="1223821"/>
                  <a:pt x="1187301" y="1224859"/>
                </a:cubicBezTo>
                <a:cubicBezTo>
                  <a:pt x="1188431" y="1227137"/>
                  <a:pt x="1189517" y="1229433"/>
                  <a:pt x="1190573" y="1231740"/>
                </a:cubicBezTo>
                <a:cubicBezTo>
                  <a:pt x="1194650" y="1240409"/>
                  <a:pt x="1199581" y="1247688"/>
                  <a:pt x="1205925" y="1255163"/>
                </a:cubicBezTo>
                <a:cubicBezTo>
                  <a:pt x="1208103" y="1257757"/>
                  <a:pt x="1210188" y="1260417"/>
                  <a:pt x="1212174" y="1263134"/>
                </a:cubicBezTo>
                <a:cubicBezTo>
                  <a:pt x="1218757" y="1272043"/>
                  <a:pt x="1225157" y="1277324"/>
                  <a:pt x="1235556" y="1282538"/>
                </a:cubicBezTo>
                <a:cubicBezTo>
                  <a:pt x="1236652" y="1283161"/>
                  <a:pt x="1237747" y="1283784"/>
                  <a:pt x="1238876" y="1284426"/>
                </a:cubicBezTo>
                <a:cubicBezTo>
                  <a:pt x="1238876" y="1285356"/>
                  <a:pt x="1238876" y="1286287"/>
                  <a:pt x="1238876" y="1287245"/>
                </a:cubicBezTo>
                <a:cubicBezTo>
                  <a:pt x="1239988" y="1287383"/>
                  <a:pt x="1241099" y="1287521"/>
                  <a:pt x="1242245" y="1287663"/>
                </a:cubicBezTo>
                <a:cubicBezTo>
                  <a:pt x="1253043" y="1290072"/>
                  <a:pt x="1264916" y="1297690"/>
                  <a:pt x="1271681" y="1305565"/>
                </a:cubicBezTo>
                <a:lnTo>
                  <a:pt x="1271742" y="1306172"/>
                </a:lnTo>
                <a:lnTo>
                  <a:pt x="1278525" y="1315767"/>
                </a:lnTo>
                <a:cubicBezTo>
                  <a:pt x="1279797" y="1319398"/>
                  <a:pt x="1280365" y="1323346"/>
                  <a:pt x="1281097" y="1327286"/>
                </a:cubicBezTo>
                <a:cubicBezTo>
                  <a:pt x="1281916" y="1337121"/>
                  <a:pt x="1281807" y="1346176"/>
                  <a:pt x="1277973" y="1355470"/>
                </a:cubicBezTo>
                <a:lnTo>
                  <a:pt x="1277460" y="1347025"/>
                </a:lnTo>
                <a:lnTo>
                  <a:pt x="1273531" y="1357991"/>
                </a:lnTo>
                <a:cubicBezTo>
                  <a:pt x="1270940" y="1361892"/>
                  <a:pt x="1267521" y="1365435"/>
                  <a:pt x="1263870" y="1368980"/>
                </a:cubicBezTo>
                <a:cubicBezTo>
                  <a:pt x="1258351" y="1372929"/>
                  <a:pt x="1253850" y="1376026"/>
                  <a:pt x="1246686" y="1376026"/>
                </a:cubicBezTo>
                <a:cubicBezTo>
                  <a:pt x="1246686" y="1376956"/>
                  <a:pt x="1246686" y="1377886"/>
                  <a:pt x="1246686" y="1378844"/>
                </a:cubicBezTo>
                <a:cubicBezTo>
                  <a:pt x="1241676" y="1379009"/>
                  <a:pt x="1236665" y="1379109"/>
                  <a:pt x="1231651" y="1379196"/>
                </a:cubicBezTo>
                <a:cubicBezTo>
                  <a:pt x="1230240" y="1379244"/>
                  <a:pt x="1228828" y="1379291"/>
                  <a:pt x="1227373" y="1379340"/>
                </a:cubicBezTo>
                <a:cubicBezTo>
                  <a:pt x="1218287" y="1379460"/>
                  <a:pt x="1213363" y="1378568"/>
                  <a:pt x="1206071" y="1373207"/>
                </a:cubicBezTo>
                <a:cubicBezTo>
                  <a:pt x="1204751" y="1372742"/>
                  <a:pt x="1203430" y="1372277"/>
                  <a:pt x="1202069" y="1371798"/>
                </a:cubicBezTo>
                <a:cubicBezTo>
                  <a:pt x="1193777" y="1368730"/>
                  <a:pt x="1188124" y="1363294"/>
                  <a:pt x="1184104" y="1356176"/>
                </a:cubicBezTo>
                <a:cubicBezTo>
                  <a:pt x="1180965" y="1349259"/>
                  <a:pt x="1178852" y="1342590"/>
                  <a:pt x="1177270" y="1335247"/>
                </a:cubicBezTo>
                <a:cubicBezTo>
                  <a:pt x="1175525" y="1327352"/>
                  <a:pt x="1172911" y="1320677"/>
                  <a:pt x="1169002" y="1313464"/>
                </a:cubicBezTo>
                <a:cubicBezTo>
                  <a:pt x="1166989" y="1309737"/>
                  <a:pt x="1165215" y="1305976"/>
                  <a:pt x="1163504" y="1302130"/>
                </a:cubicBezTo>
                <a:cubicBezTo>
                  <a:pt x="1163013" y="1301027"/>
                  <a:pt x="1162521" y="1299924"/>
                  <a:pt x="1162015" y="1298788"/>
                </a:cubicBezTo>
                <a:cubicBezTo>
                  <a:pt x="1160770" y="1295700"/>
                  <a:pt x="1160770" y="1295700"/>
                  <a:pt x="1160111" y="1292656"/>
                </a:cubicBezTo>
                <a:cubicBezTo>
                  <a:pt x="1159345" y="1289507"/>
                  <a:pt x="1159345" y="1289507"/>
                  <a:pt x="1154522" y="1287245"/>
                </a:cubicBezTo>
                <a:cubicBezTo>
                  <a:pt x="1153465" y="1284902"/>
                  <a:pt x="1152426" y="1282552"/>
                  <a:pt x="1151398" y="1280199"/>
                </a:cubicBezTo>
                <a:cubicBezTo>
                  <a:pt x="1149056" y="1276983"/>
                  <a:pt x="1146686" y="1273874"/>
                  <a:pt x="1144173" y="1270774"/>
                </a:cubicBezTo>
                <a:cubicBezTo>
                  <a:pt x="1143477" y="1269912"/>
                  <a:pt x="1142782" y="1269049"/>
                  <a:pt x="1142065" y="1268160"/>
                </a:cubicBezTo>
                <a:cubicBezTo>
                  <a:pt x="1139981" y="1265589"/>
                  <a:pt x="1137880" y="1263029"/>
                  <a:pt x="1135776" y="1260470"/>
                </a:cubicBezTo>
                <a:cubicBezTo>
                  <a:pt x="1134647" y="1259076"/>
                  <a:pt x="1133517" y="1257683"/>
                  <a:pt x="1132353" y="1256247"/>
                </a:cubicBezTo>
                <a:cubicBezTo>
                  <a:pt x="1126291" y="1249045"/>
                  <a:pt x="1121408" y="1244606"/>
                  <a:pt x="1112344" y="1240741"/>
                </a:cubicBezTo>
                <a:cubicBezTo>
                  <a:pt x="1110285" y="1239698"/>
                  <a:pt x="1108234" y="1238642"/>
                  <a:pt x="1106193" y="1237570"/>
                </a:cubicBezTo>
                <a:cubicBezTo>
                  <a:pt x="1104615" y="1236756"/>
                  <a:pt x="1103036" y="1235942"/>
                  <a:pt x="1101409" y="1235104"/>
                </a:cubicBezTo>
                <a:cubicBezTo>
                  <a:pt x="1101409" y="1233708"/>
                  <a:pt x="1101409" y="1232313"/>
                  <a:pt x="1101409" y="1230876"/>
                </a:cubicBezTo>
                <a:cubicBezTo>
                  <a:pt x="1089553" y="1230876"/>
                  <a:pt x="1077697" y="1230876"/>
                  <a:pt x="1065480" y="1230876"/>
                </a:cubicBezTo>
                <a:cubicBezTo>
                  <a:pt x="1064965" y="1232271"/>
                  <a:pt x="1064450" y="1233666"/>
                  <a:pt x="1063919" y="1235104"/>
                </a:cubicBezTo>
                <a:cubicBezTo>
                  <a:pt x="1062372" y="1235104"/>
                  <a:pt x="1060826" y="1235104"/>
                  <a:pt x="1059232" y="1235104"/>
                </a:cubicBezTo>
                <a:cubicBezTo>
                  <a:pt x="1059232" y="1236033"/>
                  <a:pt x="1059232" y="1236964"/>
                  <a:pt x="1059232" y="1237922"/>
                </a:cubicBezTo>
                <a:cubicBezTo>
                  <a:pt x="1052964" y="1240850"/>
                  <a:pt x="1046842" y="1243613"/>
                  <a:pt x="1040194" y="1245761"/>
                </a:cubicBezTo>
                <a:cubicBezTo>
                  <a:pt x="1036552" y="1246941"/>
                  <a:pt x="1033682" y="1248088"/>
                  <a:pt x="1030333" y="1249901"/>
                </a:cubicBezTo>
                <a:cubicBezTo>
                  <a:pt x="1025129" y="1252717"/>
                  <a:pt x="1019615" y="1254371"/>
                  <a:pt x="1013931" y="1256242"/>
                </a:cubicBezTo>
                <a:cubicBezTo>
                  <a:pt x="1009870" y="1257688"/>
                  <a:pt x="1008221" y="1258277"/>
                  <a:pt x="1005925" y="1261615"/>
                </a:cubicBezTo>
                <a:cubicBezTo>
                  <a:pt x="1005474" y="1262632"/>
                  <a:pt x="1005023" y="1263649"/>
                  <a:pt x="1004558" y="1264697"/>
                </a:cubicBezTo>
                <a:cubicBezTo>
                  <a:pt x="1004030" y="1265774"/>
                  <a:pt x="1003503" y="1266852"/>
                  <a:pt x="1002959" y="1267961"/>
                </a:cubicBezTo>
                <a:cubicBezTo>
                  <a:pt x="1001408" y="1271808"/>
                  <a:pt x="1000922" y="1274896"/>
                  <a:pt x="1000653" y="1278965"/>
                </a:cubicBezTo>
                <a:cubicBezTo>
                  <a:pt x="1000303" y="1284158"/>
                  <a:pt x="999467" y="1289055"/>
                  <a:pt x="998297" y="1294137"/>
                </a:cubicBezTo>
                <a:cubicBezTo>
                  <a:pt x="996204" y="1304306"/>
                  <a:pt x="996129" y="1314460"/>
                  <a:pt x="996162" y="1324765"/>
                </a:cubicBezTo>
                <a:cubicBezTo>
                  <a:pt x="996163" y="1325782"/>
                  <a:pt x="996163" y="1326799"/>
                  <a:pt x="996164" y="1327846"/>
                </a:cubicBezTo>
                <a:cubicBezTo>
                  <a:pt x="996263" y="1353742"/>
                  <a:pt x="1001081" y="1378188"/>
                  <a:pt x="1007780" y="1403329"/>
                </a:cubicBezTo>
                <a:cubicBezTo>
                  <a:pt x="1008163" y="1404772"/>
                  <a:pt x="1008546" y="1406215"/>
                  <a:pt x="1008940" y="1407701"/>
                </a:cubicBezTo>
                <a:cubicBezTo>
                  <a:pt x="1009316" y="1409030"/>
                  <a:pt x="1009693" y="1410360"/>
                  <a:pt x="1010080" y="1411730"/>
                </a:cubicBezTo>
                <a:cubicBezTo>
                  <a:pt x="1010409" y="1412900"/>
                  <a:pt x="1010737" y="1414071"/>
                  <a:pt x="1011075" y="1415277"/>
                </a:cubicBezTo>
                <a:cubicBezTo>
                  <a:pt x="1012501" y="1418612"/>
                  <a:pt x="1014136" y="1420168"/>
                  <a:pt x="1017055" y="1422530"/>
                </a:cubicBezTo>
                <a:cubicBezTo>
                  <a:pt x="1018770" y="1425162"/>
                  <a:pt x="1018770" y="1425162"/>
                  <a:pt x="1020277" y="1427991"/>
                </a:cubicBezTo>
                <a:cubicBezTo>
                  <a:pt x="1020778" y="1428917"/>
                  <a:pt x="1021280" y="1429844"/>
                  <a:pt x="1021796" y="1430798"/>
                </a:cubicBezTo>
                <a:cubicBezTo>
                  <a:pt x="1023303" y="1433804"/>
                  <a:pt x="1023303" y="1433804"/>
                  <a:pt x="1024579" y="1437239"/>
                </a:cubicBezTo>
                <a:cubicBezTo>
                  <a:pt x="1026915" y="1441803"/>
                  <a:pt x="1030098" y="1444534"/>
                  <a:pt x="1034043" y="1448072"/>
                </a:cubicBezTo>
                <a:lnTo>
                  <a:pt x="1043782" y="1464320"/>
                </a:lnTo>
                <a:lnTo>
                  <a:pt x="1050458" y="1472189"/>
                </a:lnTo>
                <a:cubicBezTo>
                  <a:pt x="1051737" y="1475181"/>
                  <a:pt x="1052277" y="1478513"/>
                  <a:pt x="1052926" y="1482370"/>
                </a:cubicBezTo>
                <a:cubicBezTo>
                  <a:pt x="1053325" y="1487224"/>
                  <a:pt x="1053364" y="1492038"/>
                  <a:pt x="1053316" y="1496903"/>
                </a:cubicBezTo>
                <a:cubicBezTo>
                  <a:pt x="1053328" y="1498142"/>
                  <a:pt x="1053340" y="1499382"/>
                  <a:pt x="1053352" y="1500660"/>
                </a:cubicBezTo>
                <a:cubicBezTo>
                  <a:pt x="1053348" y="1501856"/>
                  <a:pt x="1053344" y="1503052"/>
                  <a:pt x="1053341" y="1504285"/>
                </a:cubicBezTo>
                <a:cubicBezTo>
                  <a:pt x="1053336" y="1505355"/>
                  <a:pt x="1053333" y="1506426"/>
                  <a:pt x="1053329" y="1507529"/>
                </a:cubicBezTo>
                <a:cubicBezTo>
                  <a:pt x="1052876" y="1510927"/>
                  <a:pt x="1051672" y="1513237"/>
                  <a:pt x="1049801" y="1516192"/>
                </a:cubicBezTo>
                <a:lnTo>
                  <a:pt x="1047312" y="1516192"/>
                </a:lnTo>
                <a:lnTo>
                  <a:pt x="1043611" y="1522585"/>
                </a:lnTo>
                <a:cubicBezTo>
                  <a:pt x="1035301" y="1529631"/>
                  <a:pt x="1035301" y="1529631"/>
                  <a:pt x="1029552" y="1529631"/>
                </a:cubicBezTo>
                <a:cubicBezTo>
                  <a:pt x="1029294" y="1530503"/>
                  <a:pt x="1029036" y="1531375"/>
                  <a:pt x="1028771" y="1532273"/>
                </a:cubicBezTo>
                <a:cubicBezTo>
                  <a:pt x="1025795" y="1536076"/>
                  <a:pt x="1022970" y="1536733"/>
                  <a:pt x="1018013" y="1537640"/>
                </a:cubicBezTo>
                <a:cubicBezTo>
                  <a:pt x="1005216" y="1539038"/>
                  <a:pt x="992573" y="1539816"/>
                  <a:pt x="981126" y="1533859"/>
                </a:cubicBezTo>
                <a:cubicBezTo>
                  <a:pt x="979840" y="1533226"/>
                  <a:pt x="978553" y="1532594"/>
                  <a:pt x="977227" y="1531943"/>
                </a:cubicBezTo>
                <a:cubicBezTo>
                  <a:pt x="965286" y="1525877"/>
                  <a:pt x="959626" y="1520520"/>
                  <a:pt x="955376" y="1508751"/>
                </a:cubicBezTo>
                <a:cubicBezTo>
                  <a:pt x="954571" y="1505674"/>
                  <a:pt x="954571" y="1505674"/>
                  <a:pt x="954571" y="1500037"/>
                </a:cubicBezTo>
                <a:cubicBezTo>
                  <a:pt x="953539" y="1500037"/>
                  <a:pt x="952508" y="1500037"/>
                  <a:pt x="951446" y="1500037"/>
                </a:cubicBezTo>
                <a:cubicBezTo>
                  <a:pt x="951361" y="1495986"/>
                  <a:pt x="951299" y="1491935"/>
                  <a:pt x="951251" y="1487883"/>
                </a:cubicBezTo>
                <a:cubicBezTo>
                  <a:pt x="951224" y="1486744"/>
                  <a:pt x="951198" y="1485605"/>
                  <a:pt x="951171" y="1484431"/>
                </a:cubicBezTo>
                <a:cubicBezTo>
                  <a:pt x="951110" y="1477657"/>
                  <a:pt x="952093" y="1472660"/>
                  <a:pt x="954571" y="1466216"/>
                </a:cubicBezTo>
                <a:cubicBezTo>
                  <a:pt x="954867" y="1462451"/>
                  <a:pt x="955016" y="1458876"/>
                  <a:pt x="954961" y="1455118"/>
                </a:cubicBezTo>
                <a:cubicBezTo>
                  <a:pt x="954951" y="1454080"/>
                  <a:pt x="954942" y="1453042"/>
                  <a:pt x="954932" y="1451972"/>
                </a:cubicBezTo>
                <a:cubicBezTo>
                  <a:pt x="954606" y="1435235"/>
                  <a:pt x="952568" y="1419050"/>
                  <a:pt x="945099" y="1403594"/>
                </a:cubicBezTo>
                <a:cubicBezTo>
                  <a:pt x="943714" y="1400177"/>
                  <a:pt x="943046" y="1397128"/>
                  <a:pt x="942366" y="1393553"/>
                </a:cubicBezTo>
                <a:cubicBezTo>
                  <a:pt x="940837" y="1386134"/>
                  <a:pt x="937840" y="1379609"/>
                  <a:pt x="934451" y="1372734"/>
                </a:cubicBezTo>
                <a:cubicBezTo>
                  <a:pt x="932701" y="1368980"/>
                  <a:pt x="932701" y="1368980"/>
                  <a:pt x="931974" y="1365754"/>
                </a:cubicBezTo>
                <a:cubicBezTo>
                  <a:pt x="931699" y="1364958"/>
                  <a:pt x="931422" y="1364162"/>
                  <a:pt x="931138" y="1363343"/>
                </a:cubicBezTo>
                <a:cubicBezTo>
                  <a:pt x="929592" y="1362878"/>
                  <a:pt x="928045" y="1362413"/>
                  <a:pt x="926452" y="1361933"/>
                </a:cubicBezTo>
                <a:cubicBezTo>
                  <a:pt x="921830" y="1355261"/>
                  <a:pt x="920323" y="1348382"/>
                  <a:pt x="918641" y="1340795"/>
                </a:cubicBezTo>
                <a:cubicBezTo>
                  <a:pt x="918133" y="1338914"/>
                  <a:pt x="917616" y="1337034"/>
                  <a:pt x="917079" y="1335158"/>
                </a:cubicBezTo>
                <a:cubicBezTo>
                  <a:pt x="916048" y="1335158"/>
                  <a:pt x="915018" y="1335158"/>
                  <a:pt x="913955" y="1335158"/>
                </a:cubicBezTo>
                <a:cubicBezTo>
                  <a:pt x="913329" y="1333718"/>
                  <a:pt x="912703" y="1332277"/>
                  <a:pt x="912057" y="1330793"/>
                </a:cubicBezTo>
                <a:cubicBezTo>
                  <a:pt x="909497" y="1325424"/>
                  <a:pt x="906114" y="1320822"/>
                  <a:pt x="902142" y="1316222"/>
                </a:cubicBezTo>
                <a:cubicBezTo>
                  <a:pt x="901465" y="1315432"/>
                  <a:pt x="900788" y="1314642"/>
                  <a:pt x="900091" y="1313828"/>
                </a:cubicBezTo>
                <a:cubicBezTo>
                  <a:pt x="893705" y="1306618"/>
                  <a:pt x="886350" y="1301049"/>
                  <a:pt x="878026" y="1295700"/>
                </a:cubicBezTo>
                <a:cubicBezTo>
                  <a:pt x="876595" y="1294594"/>
                  <a:pt x="876595" y="1294594"/>
                  <a:pt x="875134" y="1293465"/>
                </a:cubicBezTo>
                <a:lnTo>
                  <a:pt x="869869" y="1291826"/>
                </a:lnTo>
                <a:lnTo>
                  <a:pt x="862384" y="1291327"/>
                </a:lnTo>
                <a:cubicBezTo>
                  <a:pt x="856441" y="1290067"/>
                  <a:pt x="850461" y="1290346"/>
                  <a:pt x="844390" y="1290461"/>
                </a:cubicBezTo>
                <a:cubicBezTo>
                  <a:pt x="842453" y="1290480"/>
                  <a:pt x="842453" y="1290480"/>
                  <a:pt x="840476" y="1290500"/>
                </a:cubicBezTo>
                <a:cubicBezTo>
                  <a:pt x="837322" y="1290532"/>
                  <a:pt x="834169" y="1290583"/>
                  <a:pt x="831015" y="1290637"/>
                </a:cubicBezTo>
                <a:cubicBezTo>
                  <a:pt x="831015" y="1291568"/>
                  <a:pt x="831015" y="1292498"/>
                  <a:pt x="831015" y="1293456"/>
                </a:cubicBezTo>
                <a:cubicBezTo>
                  <a:pt x="826519" y="1294808"/>
                  <a:pt x="822922" y="1295235"/>
                  <a:pt x="818225" y="1295570"/>
                </a:cubicBezTo>
                <a:lnTo>
                  <a:pt x="796774" y="1297671"/>
                </a:lnTo>
                <a:lnTo>
                  <a:pt x="783646" y="1305736"/>
                </a:lnTo>
                <a:cubicBezTo>
                  <a:pt x="776915" y="1312506"/>
                  <a:pt x="772692" y="1318638"/>
                  <a:pt x="769263" y="1327143"/>
                </a:cubicBezTo>
                <a:cubicBezTo>
                  <a:pt x="767116" y="1332340"/>
                  <a:pt x="767116" y="1332340"/>
                  <a:pt x="764797" y="1334360"/>
                </a:cubicBezTo>
                <a:lnTo>
                  <a:pt x="757875" y="1353503"/>
                </a:lnTo>
                <a:lnTo>
                  <a:pt x="755676" y="1367455"/>
                </a:lnTo>
                <a:lnTo>
                  <a:pt x="750558" y="1399690"/>
                </a:lnTo>
                <a:lnTo>
                  <a:pt x="753057" y="1411256"/>
                </a:lnTo>
                <a:cubicBezTo>
                  <a:pt x="753057" y="1413117"/>
                  <a:pt x="753057" y="1414976"/>
                  <a:pt x="753057" y="1416893"/>
                </a:cubicBezTo>
                <a:cubicBezTo>
                  <a:pt x="754087" y="1416893"/>
                  <a:pt x="755119" y="1416893"/>
                  <a:pt x="756181" y="1416893"/>
                </a:cubicBezTo>
                <a:cubicBezTo>
                  <a:pt x="759348" y="1422607"/>
                  <a:pt x="758101" y="1429902"/>
                  <a:pt x="758133" y="1436182"/>
                </a:cubicBezTo>
                <a:cubicBezTo>
                  <a:pt x="758182" y="1438458"/>
                  <a:pt x="758182" y="1438458"/>
                  <a:pt x="758231" y="1440781"/>
                </a:cubicBezTo>
                <a:cubicBezTo>
                  <a:pt x="758283" y="1450271"/>
                  <a:pt x="758174" y="1458360"/>
                  <a:pt x="750713" y="1465704"/>
                </a:cubicBezTo>
                <a:cubicBezTo>
                  <a:pt x="749940" y="1466193"/>
                  <a:pt x="749167" y="1466681"/>
                  <a:pt x="748370" y="1467185"/>
                </a:cubicBezTo>
                <a:cubicBezTo>
                  <a:pt x="743665" y="1470047"/>
                  <a:pt x="743665" y="1470047"/>
                  <a:pt x="741633" y="1473526"/>
                </a:cubicBezTo>
                <a:cubicBezTo>
                  <a:pt x="737793" y="1477248"/>
                  <a:pt x="733582" y="1477483"/>
                  <a:pt x="728154" y="1478343"/>
                </a:cubicBezTo>
                <a:cubicBezTo>
                  <a:pt x="724855" y="1478778"/>
                  <a:pt x="724855" y="1478778"/>
                  <a:pt x="721814" y="1480308"/>
                </a:cubicBezTo>
                <a:cubicBezTo>
                  <a:pt x="717303" y="1480523"/>
                  <a:pt x="712854" y="1480634"/>
                  <a:pt x="708341" y="1480661"/>
                </a:cubicBezTo>
                <a:cubicBezTo>
                  <a:pt x="707118" y="1480690"/>
                  <a:pt x="705896" y="1480719"/>
                  <a:pt x="704637" y="1480748"/>
                </a:cubicBezTo>
                <a:cubicBezTo>
                  <a:pt x="690446" y="1480834"/>
                  <a:pt x="679632" y="1476246"/>
                  <a:pt x="668507" y="1468418"/>
                </a:cubicBezTo>
                <a:cubicBezTo>
                  <a:pt x="662823" y="1463224"/>
                  <a:pt x="661745" y="1456995"/>
                  <a:pt x="660178" y="1450027"/>
                </a:cubicBezTo>
                <a:cubicBezTo>
                  <a:pt x="659725" y="1446589"/>
                  <a:pt x="659725" y="1446589"/>
                  <a:pt x="657767" y="1445078"/>
                </a:cubicBezTo>
                <a:cubicBezTo>
                  <a:pt x="656859" y="1433686"/>
                  <a:pt x="655965" y="1419178"/>
                  <a:pt x="663369" y="1409390"/>
                </a:cubicBezTo>
                <a:cubicBezTo>
                  <a:pt x="666078" y="1406601"/>
                  <a:pt x="668921" y="1404013"/>
                  <a:pt x="671826" y="1401392"/>
                </a:cubicBezTo>
                <a:cubicBezTo>
                  <a:pt x="675197" y="1397623"/>
                  <a:pt x="677125" y="1394916"/>
                  <a:pt x="678075" y="1390118"/>
                </a:cubicBezTo>
                <a:cubicBezTo>
                  <a:pt x="680137" y="1389653"/>
                  <a:pt x="682199" y="1389188"/>
                  <a:pt x="684323" y="1388709"/>
                </a:cubicBezTo>
                <a:cubicBezTo>
                  <a:pt x="684643" y="1387232"/>
                  <a:pt x="684964" y="1385755"/>
                  <a:pt x="685293" y="1384233"/>
                </a:cubicBezTo>
                <a:cubicBezTo>
                  <a:pt x="685718" y="1382290"/>
                  <a:pt x="686144" y="1380347"/>
                  <a:pt x="686569" y="1378404"/>
                </a:cubicBezTo>
                <a:cubicBezTo>
                  <a:pt x="686885" y="1376945"/>
                  <a:pt x="686885" y="1376945"/>
                  <a:pt x="687207" y="1375456"/>
                </a:cubicBezTo>
                <a:cubicBezTo>
                  <a:pt x="688115" y="1371315"/>
                  <a:pt x="689090" y="1367353"/>
                  <a:pt x="690572" y="1363343"/>
                </a:cubicBezTo>
                <a:cubicBezTo>
                  <a:pt x="692411" y="1350128"/>
                  <a:pt x="692374" y="1336672"/>
                  <a:pt x="692495" y="1323376"/>
                </a:cubicBezTo>
                <a:cubicBezTo>
                  <a:pt x="692524" y="1320586"/>
                  <a:pt x="692574" y="1317796"/>
                  <a:pt x="692625" y="1315006"/>
                </a:cubicBezTo>
                <a:cubicBezTo>
                  <a:pt x="692853" y="1300589"/>
                  <a:pt x="692853" y="1300589"/>
                  <a:pt x="687447" y="1287245"/>
                </a:cubicBezTo>
                <a:cubicBezTo>
                  <a:pt x="685901" y="1286780"/>
                  <a:pt x="684354" y="1286315"/>
                  <a:pt x="682761" y="1285835"/>
                </a:cubicBezTo>
                <a:cubicBezTo>
                  <a:pt x="680876" y="1283743"/>
                  <a:pt x="680876" y="1283743"/>
                  <a:pt x="678954" y="1281608"/>
                </a:cubicBezTo>
                <a:cubicBezTo>
                  <a:pt x="674854" y="1277278"/>
                  <a:pt x="674356" y="1276958"/>
                  <a:pt x="668702" y="1275971"/>
                </a:cubicBezTo>
                <a:cubicBezTo>
                  <a:pt x="666619" y="1274092"/>
                  <a:pt x="664536" y="1272213"/>
                  <a:pt x="662454" y="1270334"/>
                </a:cubicBezTo>
                <a:cubicBezTo>
                  <a:pt x="658341" y="1268566"/>
                  <a:pt x="658341" y="1268566"/>
                  <a:pt x="654643" y="1267516"/>
                </a:cubicBezTo>
                <a:cubicBezTo>
                  <a:pt x="654643" y="1266585"/>
                  <a:pt x="654643" y="1265656"/>
                  <a:pt x="654643" y="1264697"/>
                </a:cubicBezTo>
                <a:cubicBezTo>
                  <a:pt x="653161" y="1264581"/>
                  <a:pt x="651679" y="1264465"/>
                  <a:pt x="650152" y="1264345"/>
                </a:cubicBezTo>
                <a:cubicBezTo>
                  <a:pt x="642318" y="1263373"/>
                  <a:pt x="635297" y="1260465"/>
                  <a:pt x="628087" y="1257651"/>
                </a:cubicBezTo>
                <a:cubicBezTo>
                  <a:pt x="628087" y="1256721"/>
                  <a:pt x="628087" y="1255791"/>
                  <a:pt x="628087" y="1254833"/>
                </a:cubicBezTo>
                <a:cubicBezTo>
                  <a:pt x="627108" y="1254662"/>
                  <a:pt x="626129" y="1254491"/>
                  <a:pt x="625121" y="1254315"/>
                </a:cubicBezTo>
                <a:cubicBezTo>
                  <a:pt x="623845" y="1254079"/>
                  <a:pt x="622568" y="1253843"/>
                  <a:pt x="621252" y="1253600"/>
                </a:cubicBezTo>
                <a:cubicBezTo>
                  <a:pt x="619984" y="1253371"/>
                  <a:pt x="618716" y="1253142"/>
                  <a:pt x="617409" y="1252906"/>
                </a:cubicBezTo>
                <a:cubicBezTo>
                  <a:pt x="614027" y="1252014"/>
                  <a:pt x="614027" y="1252014"/>
                  <a:pt x="610904" y="1249196"/>
                </a:cubicBezTo>
                <a:cubicBezTo>
                  <a:pt x="592259" y="1248653"/>
                  <a:pt x="578635" y="1260869"/>
                  <a:pt x="565739" y="1271742"/>
                </a:cubicBezTo>
                <a:cubicBezTo>
                  <a:pt x="558808" y="1277725"/>
                  <a:pt x="552763" y="1283983"/>
                  <a:pt x="546924" y="1290829"/>
                </a:cubicBezTo>
                <a:cubicBezTo>
                  <a:pt x="545838" y="1292087"/>
                  <a:pt x="544753" y="1293346"/>
                  <a:pt x="543635" y="1294643"/>
                </a:cubicBezTo>
                <a:cubicBezTo>
                  <a:pt x="542650" y="1295813"/>
                  <a:pt x="541666" y="1296983"/>
                  <a:pt x="540651" y="1298188"/>
                </a:cubicBezTo>
                <a:cubicBezTo>
                  <a:pt x="537294" y="1301526"/>
                  <a:pt x="533978" y="1303337"/>
                  <a:pt x="529673" y="1305565"/>
                </a:cubicBezTo>
                <a:cubicBezTo>
                  <a:pt x="527599" y="1308478"/>
                  <a:pt x="527599" y="1308478"/>
                  <a:pt x="526549" y="1311202"/>
                </a:cubicBezTo>
                <a:cubicBezTo>
                  <a:pt x="525518" y="1311202"/>
                  <a:pt x="524487" y="1311202"/>
                  <a:pt x="523425" y="1311202"/>
                </a:cubicBezTo>
                <a:cubicBezTo>
                  <a:pt x="523360" y="1311986"/>
                  <a:pt x="523296" y="1312771"/>
                  <a:pt x="523230" y="1313580"/>
                </a:cubicBezTo>
                <a:cubicBezTo>
                  <a:pt x="521863" y="1316839"/>
                  <a:pt x="521863" y="1316839"/>
                  <a:pt x="517732" y="1319739"/>
                </a:cubicBezTo>
                <a:cubicBezTo>
                  <a:pt x="511111" y="1324565"/>
                  <a:pt x="506875" y="1330731"/>
                  <a:pt x="502239" y="1337096"/>
                </a:cubicBezTo>
                <a:cubicBezTo>
                  <a:pt x="500512" y="1339427"/>
                  <a:pt x="498785" y="1341757"/>
                  <a:pt x="497058" y="1344087"/>
                </a:cubicBezTo>
                <a:cubicBezTo>
                  <a:pt x="495827" y="1345760"/>
                  <a:pt x="495827" y="1345760"/>
                  <a:pt x="494572" y="1347465"/>
                </a:cubicBezTo>
                <a:cubicBezTo>
                  <a:pt x="492366" y="1350414"/>
                  <a:pt x="490094" y="1353304"/>
                  <a:pt x="487776" y="1356181"/>
                </a:cubicBezTo>
                <a:cubicBezTo>
                  <a:pt x="484805" y="1359972"/>
                  <a:pt x="482865" y="1363193"/>
                  <a:pt x="481248" y="1367571"/>
                </a:cubicBezTo>
                <a:cubicBezTo>
                  <a:pt x="480216" y="1367571"/>
                  <a:pt x="479186" y="1367571"/>
                  <a:pt x="478123" y="1367571"/>
                </a:cubicBezTo>
                <a:cubicBezTo>
                  <a:pt x="477963" y="1368558"/>
                  <a:pt x="477801" y="1369547"/>
                  <a:pt x="477635" y="1370565"/>
                </a:cubicBezTo>
                <a:cubicBezTo>
                  <a:pt x="475602" y="1378236"/>
                  <a:pt x="471952" y="1383371"/>
                  <a:pt x="465626" y="1388709"/>
                </a:cubicBezTo>
                <a:cubicBezTo>
                  <a:pt x="462272" y="1392748"/>
                  <a:pt x="462272" y="1392748"/>
                  <a:pt x="461233" y="1397340"/>
                </a:cubicBezTo>
                <a:cubicBezTo>
                  <a:pt x="460030" y="1401461"/>
                  <a:pt x="458298" y="1404501"/>
                  <a:pt x="455765" y="1408086"/>
                </a:cubicBezTo>
                <a:cubicBezTo>
                  <a:pt x="442829" y="1428603"/>
                  <a:pt x="441572" y="1454548"/>
                  <a:pt x="439070" y="1477490"/>
                </a:cubicBezTo>
                <a:cubicBezTo>
                  <a:pt x="437524" y="1477955"/>
                  <a:pt x="435977" y="1478420"/>
                  <a:pt x="434384" y="1478899"/>
                </a:cubicBezTo>
                <a:cubicBezTo>
                  <a:pt x="433739" y="1479916"/>
                  <a:pt x="433095" y="1480933"/>
                  <a:pt x="432431" y="1481982"/>
                </a:cubicBezTo>
                <a:cubicBezTo>
                  <a:pt x="428860" y="1487159"/>
                  <a:pt x="424291" y="1490903"/>
                  <a:pt x="418763" y="1494401"/>
                </a:cubicBezTo>
                <a:cubicBezTo>
                  <a:pt x="417731" y="1494401"/>
                  <a:pt x="416701" y="1494401"/>
                  <a:pt x="415639" y="1494401"/>
                </a:cubicBezTo>
                <a:cubicBezTo>
                  <a:pt x="415639" y="1495330"/>
                  <a:pt x="415639" y="1496260"/>
                  <a:pt x="415639" y="1497219"/>
                </a:cubicBezTo>
                <a:cubicBezTo>
                  <a:pt x="412546" y="1497684"/>
                  <a:pt x="409453" y="1498149"/>
                  <a:pt x="406265" y="1498628"/>
                </a:cubicBezTo>
                <a:cubicBezTo>
                  <a:pt x="406265" y="1499559"/>
                  <a:pt x="406265" y="1500488"/>
                  <a:pt x="406265" y="1501447"/>
                </a:cubicBezTo>
                <a:cubicBezTo>
                  <a:pt x="395955" y="1501447"/>
                  <a:pt x="385645" y="1501447"/>
                  <a:pt x="375023" y="1501447"/>
                </a:cubicBezTo>
                <a:lnTo>
                  <a:pt x="375023" y="1499438"/>
                </a:lnTo>
                <a:lnTo>
                  <a:pt x="374964" y="1499436"/>
                </a:lnTo>
                <a:lnTo>
                  <a:pt x="373179" y="1498628"/>
                </a:lnTo>
                <a:lnTo>
                  <a:pt x="365650" y="1498628"/>
                </a:lnTo>
                <a:lnTo>
                  <a:pt x="363134" y="1494087"/>
                </a:lnTo>
                <a:lnTo>
                  <a:pt x="362171" y="1493651"/>
                </a:lnTo>
                <a:cubicBezTo>
                  <a:pt x="361656" y="1492722"/>
                  <a:pt x="361140" y="1491791"/>
                  <a:pt x="360609" y="1490833"/>
                </a:cubicBezTo>
                <a:cubicBezTo>
                  <a:pt x="361640" y="1490833"/>
                  <a:pt x="362671" y="1490833"/>
                  <a:pt x="363733" y="1490833"/>
                </a:cubicBezTo>
                <a:lnTo>
                  <a:pt x="363733" y="1489980"/>
                </a:lnTo>
                <a:lnTo>
                  <a:pt x="348467" y="1481717"/>
                </a:lnTo>
                <a:lnTo>
                  <a:pt x="343872" y="1461078"/>
                </a:lnTo>
                <a:lnTo>
                  <a:pt x="343656" y="1463649"/>
                </a:lnTo>
                <a:cubicBezTo>
                  <a:pt x="343541" y="1465230"/>
                  <a:pt x="343541" y="1465230"/>
                  <a:pt x="343424" y="1466842"/>
                </a:cubicBezTo>
                <a:cubicBezTo>
                  <a:pt x="342908" y="1466842"/>
                  <a:pt x="342393" y="1466842"/>
                  <a:pt x="341861" y="1466842"/>
                </a:cubicBezTo>
                <a:cubicBezTo>
                  <a:pt x="340987" y="1449564"/>
                  <a:pt x="340999" y="1434331"/>
                  <a:pt x="354143" y="1420549"/>
                </a:cubicBezTo>
                <a:cubicBezTo>
                  <a:pt x="360765" y="1414011"/>
                  <a:pt x="367631" y="1407790"/>
                  <a:pt x="376229" y="1403427"/>
                </a:cubicBezTo>
                <a:lnTo>
                  <a:pt x="379491" y="1404408"/>
                </a:lnTo>
                <a:lnTo>
                  <a:pt x="379710" y="1404210"/>
                </a:lnTo>
                <a:cubicBezTo>
                  <a:pt x="380290" y="1402902"/>
                  <a:pt x="380290" y="1402902"/>
                  <a:pt x="380882" y="1401568"/>
                </a:cubicBezTo>
                <a:cubicBezTo>
                  <a:pt x="383675" y="1397284"/>
                  <a:pt x="387587" y="1395610"/>
                  <a:pt x="392207" y="1392936"/>
                </a:cubicBezTo>
                <a:lnTo>
                  <a:pt x="399542" y="1386774"/>
                </a:lnTo>
                <a:lnTo>
                  <a:pt x="405485" y="1378917"/>
                </a:lnTo>
                <a:cubicBezTo>
                  <a:pt x="408065" y="1375974"/>
                  <a:pt x="410029" y="1372774"/>
                  <a:pt x="412008" y="1369481"/>
                </a:cubicBezTo>
                <a:cubicBezTo>
                  <a:pt x="414759" y="1365166"/>
                  <a:pt x="417963" y="1361131"/>
                  <a:pt x="421130" y="1357057"/>
                </a:cubicBezTo>
                <a:cubicBezTo>
                  <a:pt x="423073" y="1354140"/>
                  <a:pt x="423985" y="1351767"/>
                  <a:pt x="424676" y="1348443"/>
                </a:cubicBezTo>
                <a:lnTo>
                  <a:pt x="427275" y="1348443"/>
                </a:lnTo>
                <a:lnTo>
                  <a:pt x="428135" y="1345727"/>
                </a:lnTo>
                <a:cubicBezTo>
                  <a:pt x="429370" y="1341828"/>
                  <a:pt x="430645" y="1338666"/>
                  <a:pt x="432822" y="1335158"/>
                </a:cubicBezTo>
                <a:cubicBezTo>
                  <a:pt x="433853" y="1335158"/>
                  <a:pt x="434884" y="1335158"/>
                  <a:pt x="435946" y="1335158"/>
                </a:cubicBezTo>
                <a:cubicBezTo>
                  <a:pt x="436526" y="1333385"/>
                  <a:pt x="437106" y="1331613"/>
                  <a:pt x="437704" y="1329786"/>
                </a:cubicBezTo>
                <a:cubicBezTo>
                  <a:pt x="440162" y="1323132"/>
                  <a:pt x="443602" y="1317301"/>
                  <a:pt x="447394" y="1311196"/>
                </a:cubicBezTo>
                <a:cubicBezTo>
                  <a:pt x="456493" y="1296485"/>
                  <a:pt x="463325" y="1281864"/>
                  <a:pt x="469287" y="1265964"/>
                </a:cubicBezTo>
                <a:cubicBezTo>
                  <a:pt x="474589" y="1252134"/>
                  <a:pt x="474589" y="1252134"/>
                  <a:pt x="478178" y="1246787"/>
                </a:cubicBezTo>
                <a:cubicBezTo>
                  <a:pt x="481232" y="1240246"/>
                  <a:pt x="480204" y="1232766"/>
                  <a:pt x="480179" y="1225768"/>
                </a:cubicBezTo>
                <a:cubicBezTo>
                  <a:pt x="480174" y="1222894"/>
                  <a:pt x="480210" y="1220023"/>
                  <a:pt x="480250" y="1217149"/>
                </a:cubicBezTo>
                <a:cubicBezTo>
                  <a:pt x="480260" y="1199291"/>
                  <a:pt x="476718" y="1187768"/>
                  <a:pt x="462972" y="1174827"/>
                </a:cubicBezTo>
                <a:cubicBezTo>
                  <a:pt x="461148" y="1173192"/>
                  <a:pt x="459312" y="1171566"/>
                  <a:pt x="457468" y="1169949"/>
                </a:cubicBezTo>
                <a:cubicBezTo>
                  <a:pt x="451412" y="1164522"/>
                  <a:pt x="445876" y="1158660"/>
                  <a:pt x="440657" y="1152570"/>
                </a:cubicBezTo>
                <a:cubicBezTo>
                  <a:pt x="430474" y="1140786"/>
                  <a:pt x="418230" y="1128998"/>
                  <a:pt x="403142" y="1122366"/>
                </a:cubicBezTo>
                <a:cubicBezTo>
                  <a:pt x="402626" y="1121436"/>
                  <a:pt x="402110" y="1120506"/>
                  <a:pt x="401579" y="1119547"/>
                </a:cubicBezTo>
                <a:cubicBezTo>
                  <a:pt x="390472" y="1115326"/>
                  <a:pt x="375918" y="1114217"/>
                  <a:pt x="364564" y="1118209"/>
                </a:cubicBezTo>
                <a:cubicBezTo>
                  <a:pt x="362278" y="1119428"/>
                  <a:pt x="360026" y="1120704"/>
                  <a:pt x="357822" y="1122041"/>
                </a:cubicBezTo>
                <a:cubicBezTo>
                  <a:pt x="354521" y="1123884"/>
                  <a:pt x="351862" y="1124582"/>
                  <a:pt x="348077" y="1125273"/>
                </a:cubicBezTo>
                <a:cubicBezTo>
                  <a:pt x="341765" y="1126696"/>
                  <a:pt x="339382" y="1128619"/>
                  <a:pt x="334408" y="1132230"/>
                </a:cubicBezTo>
                <a:cubicBezTo>
                  <a:pt x="332284" y="1132909"/>
                  <a:pt x="330131" y="1133519"/>
                  <a:pt x="327964" y="1134080"/>
                </a:cubicBezTo>
                <a:cubicBezTo>
                  <a:pt x="309975" y="1139067"/>
                  <a:pt x="290592" y="1152117"/>
                  <a:pt x="279734" y="1166051"/>
                </a:cubicBezTo>
                <a:cubicBezTo>
                  <a:pt x="277929" y="1169534"/>
                  <a:pt x="277929" y="1169534"/>
                  <a:pt x="276609" y="1173098"/>
                </a:cubicBezTo>
                <a:cubicBezTo>
                  <a:pt x="272413" y="1180804"/>
                  <a:pt x="269322" y="1184144"/>
                  <a:pt x="260988" y="1188599"/>
                </a:cubicBezTo>
                <a:cubicBezTo>
                  <a:pt x="259988" y="1189435"/>
                  <a:pt x="258987" y="1190271"/>
                  <a:pt x="257956" y="1191132"/>
                </a:cubicBezTo>
                <a:lnTo>
                  <a:pt x="243805" y="1196629"/>
                </a:lnTo>
                <a:lnTo>
                  <a:pt x="243805" y="1194236"/>
                </a:lnTo>
                <a:lnTo>
                  <a:pt x="240288" y="1194765"/>
                </a:lnTo>
                <a:lnTo>
                  <a:pt x="243374" y="1194765"/>
                </a:lnTo>
                <a:lnTo>
                  <a:pt x="243374" y="1196797"/>
                </a:lnTo>
                <a:lnTo>
                  <a:pt x="243805" y="1196629"/>
                </a:lnTo>
                <a:lnTo>
                  <a:pt x="243805" y="1197055"/>
                </a:lnTo>
                <a:lnTo>
                  <a:pt x="243374" y="1197055"/>
                </a:lnTo>
                <a:lnTo>
                  <a:pt x="243374" y="1197584"/>
                </a:lnTo>
                <a:lnTo>
                  <a:pt x="241319" y="1197595"/>
                </a:lnTo>
                <a:lnTo>
                  <a:pt x="238009" y="1198881"/>
                </a:lnTo>
                <a:cubicBezTo>
                  <a:pt x="231012" y="1199584"/>
                  <a:pt x="223620" y="1198927"/>
                  <a:pt x="215687" y="1198464"/>
                </a:cubicBezTo>
                <a:lnTo>
                  <a:pt x="215687" y="1197734"/>
                </a:lnTo>
                <a:lnTo>
                  <a:pt x="213936" y="1197744"/>
                </a:lnTo>
                <a:cubicBezTo>
                  <a:pt x="210570" y="1197584"/>
                  <a:pt x="210570" y="1197584"/>
                  <a:pt x="207446" y="1196175"/>
                </a:cubicBezTo>
                <a:lnTo>
                  <a:pt x="207822" y="1195610"/>
                </a:lnTo>
                <a:lnTo>
                  <a:pt x="184737" y="1180936"/>
                </a:lnTo>
                <a:cubicBezTo>
                  <a:pt x="180258" y="1172216"/>
                  <a:pt x="179226" y="1164355"/>
                  <a:pt x="179270" y="1154866"/>
                </a:cubicBezTo>
                <a:cubicBezTo>
                  <a:pt x="179233" y="1153260"/>
                  <a:pt x="179233" y="1153260"/>
                  <a:pt x="179194" y="1151621"/>
                </a:cubicBezTo>
                <a:cubicBezTo>
                  <a:pt x="179182" y="1139523"/>
                  <a:pt x="183658" y="1128837"/>
                  <a:pt x="193195" y="1120065"/>
                </a:cubicBezTo>
                <a:cubicBezTo>
                  <a:pt x="204265" y="1110959"/>
                  <a:pt x="215062" y="1110626"/>
                  <a:pt x="229551" y="1110299"/>
                </a:cubicBezTo>
                <a:cubicBezTo>
                  <a:pt x="240132" y="1110024"/>
                  <a:pt x="250506" y="1109652"/>
                  <a:pt x="260988" y="1108274"/>
                </a:cubicBezTo>
                <a:cubicBezTo>
                  <a:pt x="260988" y="1107344"/>
                  <a:pt x="260988" y="1106413"/>
                  <a:pt x="260988" y="1105455"/>
                </a:cubicBezTo>
                <a:cubicBezTo>
                  <a:pt x="261953" y="1105078"/>
                  <a:pt x="262918" y="1104699"/>
                  <a:pt x="263911" y="1104310"/>
                </a:cubicBezTo>
                <a:cubicBezTo>
                  <a:pt x="272903" y="1100557"/>
                  <a:pt x="279802" y="1096307"/>
                  <a:pt x="286995" y="1090185"/>
                </a:cubicBezTo>
                <a:cubicBezTo>
                  <a:pt x="290956" y="1086897"/>
                  <a:pt x="295114" y="1083955"/>
                  <a:pt x="299358" y="1080970"/>
                </a:cubicBezTo>
                <a:cubicBezTo>
                  <a:pt x="306613" y="1075692"/>
                  <a:pt x="312234" y="1070023"/>
                  <a:pt x="317762" y="1063272"/>
                </a:cubicBezTo>
                <a:cubicBezTo>
                  <a:pt x="320349" y="1060360"/>
                  <a:pt x="320349" y="1060360"/>
                  <a:pt x="325035" y="1057542"/>
                </a:cubicBezTo>
                <a:cubicBezTo>
                  <a:pt x="329912" y="1045734"/>
                  <a:pt x="327928" y="1035103"/>
                  <a:pt x="325328" y="1023104"/>
                </a:cubicBezTo>
                <a:cubicBezTo>
                  <a:pt x="325069" y="1021831"/>
                  <a:pt x="324811" y="1020559"/>
                  <a:pt x="324544" y="1019247"/>
                </a:cubicBezTo>
                <a:cubicBezTo>
                  <a:pt x="322876" y="1011407"/>
                  <a:pt x="320562" y="1004340"/>
                  <a:pt x="317225" y="996945"/>
                </a:cubicBezTo>
                <a:cubicBezTo>
                  <a:pt x="316619" y="995541"/>
                  <a:pt x="316013" y="994137"/>
                  <a:pt x="315388" y="992690"/>
                </a:cubicBezTo>
                <a:cubicBezTo>
                  <a:pt x="306307" y="972561"/>
                  <a:pt x="298931" y="959343"/>
                  <a:pt x="276232" y="950666"/>
                </a:cubicBezTo>
                <a:cubicBezTo>
                  <a:pt x="274810" y="950127"/>
                  <a:pt x="273388" y="949587"/>
                  <a:pt x="271923" y="949031"/>
                </a:cubicBezTo>
                <a:cubicBezTo>
                  <a:pt x="270129" y="948244"/>
                  <a:pt x="270129" y="948244"/>
                  <a:pt x="268299" y="947441"/>
                </a:cubicBezTo>
                <a:cubicBezTo>
                  <a:pt x="247071" y="938140"/>
                  <a:pt x="222259" y="939051"/>
                  <a:pt x="199187" y="938991"/>
                </a:cubicBezTo>
                <a:cubicBezTo>
                  <a:pt x="197383" y="938984"/>
                  <a:pt x="195579" y="938978"/>
                  <a:pt x="193719" y="938971"/>
                </a:cubicBezTo>
                <a:cubicBezTo>
                  <a:pt x="192010" y="938974"/>
                  <a:pt x="190300" y="938977"/>
                  <a:pt x="188539" y="938980"/>
                </a:cubicBezTo>
                <a:cubicBezTo>
                  <a:pt x="187000" y="938981"/>
                  <a:pt x="185460" y="938983"/>
                  <a:pt x="183874" y="938985"/>
                </a:cubicBezTo>
                <a:cubicBezTo>
                  <a:pt x="180148" y="939150"/>
                  <a:pt x="177092" y="939720"/>
                  <a:pt x="173509" y="940576"/>
                </a:cubicBezTo>
                <a:cubicBezTo>
                  <a:pt x="169458" y="940674"/>
                  <a:pt x="165452" y="940710"/>
                  <a:pt x="161403" y="940664"/>
                </a:cubicBezTo>
                <a:cubicBezTo>
                  <a:pt x="160314" y="940658"/>
                  <a:pt x="159224" y="940651"/>
                  <a:pt x="158102" y="940645"/>
                </a:cubicBezTo>
                <a:lnTo>
                  <a:pt x="150875" y="940583"/>
                </a:lnTo>
                <a:lnTo>
                  <a:pt x="148425" y="940717"/>
                </a:lnTo>
                <a:lnTo>
                  <a:pt x="149617" y="940995"/>
                </a:lnTo>
                <a:cubicBezTo>
                  <a:pt x="149617" y="941459"/>
                  <a:pt x="149617" y="941924"/>
                  <a:pt x="149617" y="942404"/>
                </a:cubicBezTo>
                <a:cubicBezTo>
                  <a:pt x="148630" y="942558"/>
                  <a:pt x="147643" y="942712"/>
                  <a:pt x="146627" y="942871"/>
                </a:cubicBezTo>
                <a:cubicBezTo>
                  <a:pt x="134541" y="944804"/>
                  <a:pt x="122553" y="947081"/>
                  <a:pt x="110564" y="949449"/>
                </a:cubicBezTo>
                <a:lnTo>
                  <a:pt x="111283" y="946205"/>
                </a:lnTo>
                <a:lnTo>
                  <a:pt x="101652" y="956078"/>
                </a:lnTo>
                <a:cubicBezTo>
                  <a:pt x="99870" y="957260"/>
                  <a:pt x="99870" y="957260"/>
                  <a:pt x="98052" y="958467"/>
                </a:cubicBezTo>
                <a:cubicBezTo>
                  <a:pt x="75683" y="972989"/>
                  <a:pt x="75683" y="972989"/>
                  <a:pt x="67286" y="972989"/>
                </a:cubicBezTo>
                <a:cubicBezTo>
                  <a:pt x="67286" y="973918"/>
                  <a:pt x="67286" y="974848"/>
                  <a:pt x="67286" y="975807"/>
                </a:cubicBezTo>
                <a:cubicBezTo>
                  <a:pt x="55713" y="979519"/>
                  <a:pt x="43549" y="980689"/>
                  <a:pt x="31942" y="976423"/>
                </a:cubicBezTo>
                <a:cubicBezTo>
                  <a:pt x="19953" y="970870"/>
                  <a:pt x="10774" y="964932"/>
                  <a:pt x="5673" y="953419"/>
                </a:cubicBezTo>
                <a:cubicBezTo>
                  <a:pt x="4801" y="950441"/>
                  <a:pt x="4801" y="950441"/>
                  <a:pt x="4801" y="944804"/>
                </a:cubicBezTo>
                <a:cubicBezTo>
                  <a:pt x="3770" y="944804"/>
                  <a:pt x="2739" y="944804"/>
                  <a:pt x="1676" y="944804"/>
                </a:cubicBezTo>
                <a:cubicBezTo>
                  <a:pt x="-34" y="940174"/>
                  <a:pt x="-41" y="936720"/>
                  <a:pt x="17" y="931857"/>
                </a:cubicBezTo>
                <a:cubicBezTo>
                  <a:pt x="31" y="930325"/>
                  <a:pt x="45" y="928794"/>
                  <a:pt x="59" y="927216"/>
                </a:cubicBezTo>
                <a:cubicBezTo>
                  <a:pt x="78" y="926044"/>
                  <a:pt x="96" y="924873"/>
                  <a:pt x="115" y="923666"/>
                </a:cubicBezTo>
                <a:cubicBezTo>
                  <a:pt x="1145" y="923666"/>
                  <a:pt x="2176" y="923666"/>
                  <a:pt x="3238" y="923666"/>
                </a:cubicBezTo>
                <a:cubicBezTo>
                  <a:pt x="3238" y="921805"/>
                  <a:pt x="3238" y="919945"/>
                  <a:pt x="3238" y="918029"/>
                </a:cubicBezTo>
                <a:cubicBezTo>
                  <a:pt x="4270" y="918029"/>
                  <a:pt x="5300" y="918029"/>
                  <a:pt x="6363" y="918029"/>
                </a:cubicBezTo>
                <a:cubicBezTo>
                  <a:pt x="6459" y="916314"/>
                  <a:pt x="6556" y="914599"/>
                  <a:pt x="6656" y="912832"/>
                </a:cubicBezTo>
                <a:cubicBezTo>
                  <a:pt x="7542" y="906455"/>
                  <a:pt x="10104" y="903750"/>
                  <a:pt x="15736" y="899709"/>
                </a:cubicBezTo>
                <a:lnTo>
                  <a:pt x="17243" y="898894"/>
                </a:lnTo>
                <a:lnTo>
                  <a:pt x="16800" y="898694"/>
                </a:lnTo>
                <a:lnTo>
                  <a:pt x="24988" y="894101"/>
                </a:lnTo>
                <a:lnTo>
                  <a:pt x="26768" y="892399"/>
                </a:lnTo>
                <a:cubicBezTo>
                  <a:pt x="28282" y="891122"/>
                  <a:pt x="29038" y="890483"/>
                  <a:pt x="30198" y="890164"/>
                </a:cubicBezTo>
                <a:lnTo>
                  <a:pt x="32204" y="890054"/>
                </a:lnTo>
                <a:lnTo>
                  <a:pt x="38914" y="886291"/>
                </a:lnTo>
                <a:cubicBezTo>
                  <a:pt x="47169" y="885770"/>
                  <a:pt x="55396" y="885800"/>
                  <a:pt x="63664" y="886011"/>
                </a:cubicBezTo>
                <a:lnTo>
                  <a:pt x="63664" y="886531"/>
                </a:lnTo>
                <a:lnTo>
                  <a:pt x="70784" y="886647"/>
                </a:lnTo>
                <a:cubicBezTo>
                  <a:pt x="74787" y="887000"/>
                  <a:pt x="77233" y="887948"/>
                  <a:pt x="82126" y="889845"/>
                </a:cubicBezTo>
                <a:cubicBezTo>
                  <a:pt x="92427" y="893791"/>
                  <a:pt x="103139" y="893710"/>
                  <a:pt x="114149" y="892663"/>
                </a:cubicBezTo>
                <a:cubicBezTo>
                  <a:pt x="115696" y="891733"/>
                  <a:pt x="117242" y="890803"/>
                  <a:pt x="118836" y="889845"/>
                </a:cubicBezTo>
                <a:cubicBezTo>
                  <a:pt x="123097" y="888850"/>
                  <a:pt x="127325" y="887944"/>
                  <a:pt x="131626" y="887114"/>
                </a:cubicBezTo>
                <a:cubicBezTo>
                  <a:pt x="139750" y="885542"/>
                  <a:pt x="147376" y="883653"/>
                  <a:pt x="155116" y="880913"/>
                </a:cubicBezTo>
                <a:cubicBezTo>
                  <a:pt x="158498" y="879775"/>
                  <a:pt x="161861" y="879076"/>
                  <a:pt x="165406" y="878483"/>
                </a:cubicBezTo>
                <a:cubicBezTo>
                  <a:pt x="170342" y="877655"/>
                  <a:pt x="172265" y="876971"/>
                  <a:pt x="176634" y="874343"/>
                </a:cubicBezTo>
                <a:cubicBezTo>
                  <a:pt x="179863" y="873335"/>
                  <a:pt x="183123" y="872404"/>
                  <a:pt x="186397" y="871524"/>
                </a:cubicBezTo>
                <a:cubicBezTo>
                  <a:pt x="189107" y="870786"/>
                  <a:pt x="189107" y="870786"/>
                  <a:pt x="191871" y="870033"/>
                </a:cubicBezTo>
                <a:cubicBezTo>
                  <a:pt x="195731" y="869023"/>
                  <a:pt x="199587" y="868093"/>
                  <a:pt x="203483" y="867208"/>
                </a:cubicBezTo>
                <a:cubicBezTo>
                  <a:pt x="208339" y="866199"/>
                  <a:pt x="208339" y="866199"/>
                  <a:pt x="211001" y="861660"/>
                </a:cubicBezTo>
                <a:cubicBezTo>
                  <a:pt x="214174" y="860102"/>
                  <a:pt x="214174" y="860102"/>
                  <a:pt x="218031" y="858577"/>
                </a:cubicBezTo>
                <a:cubicBezTo>
                  <a:pt x="236068" y="850629"/>
                  <a:pt x="245199" y="840442"/>
                  <a:pt x="254740" y="825020"/>
                </a:cubicBezTo>
                <a:cubicBezTo>
                  <a:pt x="255771" y="823625"/>
                  <a:pt x="256802" y="822230"/>
                  <a:pt x="257864" y="820792"/>
                </a:cubicBezTo>
                <a:cubicBezTo>
                  <a:pt x="258359" y="817506"/>
                  <a:pt x="258359" y="817506"/>
                  <a:pt x="258318" y="813810"/>
                </a:cubicBezTo>
                <a:cubicBezTo>
                  <a:pt x="258338" y="812388"/>
                  <a:pt x="258358" y="810967"/>
                  <a:pt x="258378" y="809502"/>
                </a:cubicBezTo>
                <a:cubicBezTo>
                  <a:pt x="258382" y="807965"/>
                  <a:pt x="258385" y="806429"/>
                  <a:pt x="258389" y="804845"/>
                </a:cubicBezTo>
                <a:cubicBezTo>
                  <a:pt x="258399" y="803258"/>
                  <a:pt x="258410" y="801671"/>
                  <a:pt x="258420" y="800036"/>
                </a:cubicBezTo>
                <a:cubicBezTo>
                  <a:pt x="258436" y="796670"/>
                  <a:pt x="258443" y="793305"/>
                  <a:pt x="258443" y="789939"/>
                </a:cubicBezTo>
                <a:cubicBezTo>
                  <a:pt x="258450" y="784823"/>
                  <a:pt x="258506" y="779709"/>
                  <a:pt x="258566" y="774594"/>
                </a:cubicBezTo>
                <a:cubicBezTo>
                  <a:pt x="258575" y="771319"/>
                  <a:pt x="258581" y="768045"/>
                  <a:pt x="258584" y="764771"/>
                </a:cubicBezTo>
                <a:cubicBezTo>
                  <a:pt x="258618" y="762495"/>
                  <a:pt x="258618" y="762495"/>
                  <a:pt x="258652" y="760174"/>
                </a:cubicBezTo>
                <a:cubicBezTo>
                  <a:pt x="258586" y="750030"/>
                  <a:pt x="256266" y="742584"/>
                  <a:pt x="251616" y="733421"/>
                </a:cubicBezTo>
                <a:cubicBezTo>
                  <a:pt x="250163" y="729605"/>
                  <a:pt x="248880" y="725752"/>
                  <a:pt x="247613" y="721883"/>
                </a:cubicBezTo>
                <a:cubicBezTo>
                  <a:pt x="245789" y="716328"/>
                  <a:pt x="243913" y="710939"/>
                  <a:pt x="241291" y="705644"/>
                </a:cubicBezTo>
                <a:cubicBezTo>
                  <a:pt x="238691" y="700096"/>
                  <a:pt x="238136" y="695685"/>
                  <a:pt x="237557" y="689735"/>
                </a:cubicBezTo>
                <a:cubicBezTo>
                  <a:pt x="244977" y="685507"/>
                  <a:pt x="244977" y="685507"/>
                  <a:pt x="248492" y="685507"/>
                </a:cubicBezTo>
                <a:cubicBezTo>
                  <a:pt x="248492" y="684112"/>
                  <a:pt x="248492" y="682717"/>
                  <a:pt x="248492" y="681279"/>
                </a:cubicBezTo>
                <a:cubicBezTo>
                  <a:pt x="245914" y="680815"/>
                  <a:pt x="243337" y="680350"/>
                  <a:pt x="240681" y="679870"/>
                </a:cubicBezTo>
                <a:cubicBezTo>
                  <a:pt x="240681" y="678940"/>
                  <a:pt x="240681" y="678010"/>
                  <a:pt x="240681" y="677052"/>
                </a:cubicBezTo>
                <a:cubicBezTo>
                  <a:pt x="239827" y="676917"/>
                  <a:pt x="238973" y="676783"/>
                  <a:pt x="238094" y="676645"/>
                </a:cubicBezTo>
                <a:cubicBezTo>
                  <a:pt x="233442" y="675371"/>
                  <a:pt x="229939" y="673242"/>
                  <a:pt x="225841" y="670886"/>
                </a:cubicBezTo>
                <a:cubicBezTo>
                  <a:pt x="217808" y="666564"/>
                  <a:pt x="210635" y="664241"/>
                  <a:pt x="201531" y="662508"/>
                </a:cubicBezTo>
                <a:cubicBezTo>
                  <a:pt x="196896" y="661541"/>
                  <a:pt x="192682" y="660199"/>
                  <a:pt x="188252" y="658644"/>
                </a:cubicBezTo>
                <a:lnTo>
                  <a:pt x="182431" y="657327"/>
                </a:lnTo>
                <a:lnTo>
                  <a:pt x="182431" y="657613"/>
                </a:lnTo>
                <a:cubicBezTo>
                  <a:pt x="170575" y="657148"/>
                  <a:pt x="158718" y="656683"/>
                  <a:pt x="146503" y="656204"/>
                </a:cubicBezTo>
                <a:cubicBezTo>
                  <a:pt x="146503" y="657133"/>
                  <a:pt x="146503" y="658064"/>
                  <a:pt x="146503" y="659022"/>
                </a:cubicBezTo>
                <a:cubicBezTo>
                  <a:pt x="134359" y="662326"/>
                  <a:pt x="123013" y="663700"/>
                  <a:pt x="110378" y="663778"/>
                </a:cubicBezTo>
                <a:cubicBezTo>
                  <a:pt x="108435" y="663806"/>
                  <a:pt x="108435" y="663806"/>
                  <a:pt x="106453" y="663836"/>
                </a:cubicBezTo>
                <a:cubicBezTo>
                  <a:pt x="105231" y="663828"/>
                  <a:pt x="104009" y="663820"/>
                  <a:pt x="102751" y="663811"/>
                </a:cubicBezTo>
                <a:cubicBezTo>
                  <a:pt x="101117" y="663804"/>
                  <a:pt x="101117" y="663804"/>
                  <a:pt x="99449" y="663797"/>
                </a:cubicBezTo>
                <a:cubicBezTo>
                  <a:pt x="95696" y="663097"/>
                  <a:pt x="94265" y="661615"/>
                  <a:pt x="91828" y="659022"/>
                </a:cubicBezTo>
                <a:cubicBezTo>
                  <a:pt x="93890" y="659022"/>
                  <a:pt x="95953" y="659022"/>
                  <a:pt x="98077" y="659022"/>
                </a:cubicBezTo>
                <a:cubicBezTo>
                  <a:pt x="98077" y="659952"/>
                  <a:pt x="98077" y="660882"/>
                  <a:pt x="98077" y="661841"/>
                </a:cubicBezTo>
                <a:cubicBezTo>
                  <a:pt x="108735" y="662045"/>
                  <a:pt x="114063" y="662148"/>
                  <a:pt x="119023" y="661357"/>
                </a:cubicBezTo>
                <a:lnTo>
                  <a:pt x="119536" y="661197"/>
                </a:lnTo>
                <a:lnTo>
                  <a:pt x="109853" y="661639"/>
                </a:lnTo>
                <a:cubicBezTo>
                  <a:pt x="108764" y="661632"/>
                  <a:pt x="107675" y="661626"/>
                  <a:pt x="106552" y="661619"/>
                </a:cubicBezTo>
                <a:cubicBezTo>
                  <a:pt x="103877" y="661603"/>
                  <a:pt x="101203" y="661577"/>
                  <a:pt x="98528" y="661550"/>
                </a:cubicBezTo>
                <a:cubicBezTo>
                  <a:pt x="98528" y="660620"/>
                  <a:pt x="98528" y="659691"/>
                  <a:pt x="98528" y="658732"/>
                </a:cubicBezTo>
                <a:cubicBezTo>
                  <a:pt x="95435" y="658267"/>
                  <a:pt x="92342" y="657802"/>
                  <a:pt x="89155" y="657323"/>
                </a:cubicBezTo>
                <a:cubicBezTo>
                  <a:pt x="89155" y="656393"/>
                  <a:pt x="89155" y="655462"/>
                  <a:pt x="89155" y="654504"/>
                </a:cubicBezTo>
                <a:cubicBezTo>
                  <a:pt x="87790" y="653978"/>
                  <a:pt x="87790" y="653978"/>
                  <a:pt x="86397" y="653442"/>
                </a:cubicBezTo>
                <a:cubicBezTo>
                  <a:pt x="82415" y="651438"/>
                  <a:pt x="80039" y="649232"/>
                  <a:pt x="77049" y="646137"/>
                </a:cubicBezTo>
                <a:cubicBezTo>
                  <a:pt x="75611" y="644679"/>
                  <a:pt x="75611" y="644679"/>
                  <a:pt x="74145" y="643192"/>
                </a:cubicBezTo>
                <a:cubicBezTo>
                  <a:pt x="71972" y="640412"/>
                  <a:pt x="71972" y="640412"/>
                  <a:pt x="71972" y="636185"/>
                </a:cubicBezTo>
                <a:cubicBezTo>
                  <a:pt x="70941" y="636185"/>
                  <a:pt x="69910" y="636185"/>
                  <a:pt x="68848" y="636185"/>
                </a:cubicBezTo>
                <a:cubicBezTo>
                  <a:pt x="64250" y="621928"/>
                  <a:pt x="64695" y="609404"/>
                  <a:pt x="70410" y="595317"/>
                </a:cubicBezTo>
                <a:cubicBezTo>
                  <a:pt x="73096" y="591142"/>
                  <a:pt x="76144" y="587574"/>
                  <a:pt x="79782" y="584043"/>
                </a:cubicBezTo>
                <a:cubicBezTo>
                  <a:pt x="81205" y="582594"/>
                  <a:pt x="81205" y="582594"/>
                  <a:pt x="82656" y="581115"/>
                </a:cubicBezTo>
                <a:cubicBezTo>
                  <a:pt x="91488" y="574027"/>
                  <a:pt x="105133" y="571806"/>
                  <a:pt x="116694" y="572323"/>
                </a:cubicBezTo>
                <a:cubicBezTo>
                  <a:pt x="131556" y="574113"/>
                  <a:pt x="142046" y="580551"/>
                  <a:pt x="152031" y="590385"/>
                </a:cubicBezTo>
                <a:cubicBezTo>
                  <a:pt x="162272" y="600009"/>
                  <a:pt x="176992" y="605062"/>
                  <a:pt x="191474" y="605886"/>
                </a:cubicBezTo>
                <a:cubicBezTo>
                  <a:pt x="196845" y="606192"/>
                  <a:pt x="201203" y="606463"/>
                  <a:pt x="206314" y="608000"/>
                </a:cubicBezTo>
                <a:cubicBezTo>
                  <a:pt x="206314" y="608930"/>
                  <a:pt x="206314" y="609860"/>
                  <a:pt x="206314" y="610818"/>
                </a:cubicBezTo>
                <a:cubicBezTo>
                  <a:pt x="215689" y="610902"/>
                  <a:pt x="225058" y="610898"/>
                  <a:pt x="234433" y="610818"/>
                </a:cubicBezTo>
                <a:cubicBezTo>
                  <a:pt x="236112" y="610813"/>
                  <a:pt x="237791" y="610808"/>
                  <a:pt x="239522" y="610802"/>
                </a:cubicBezTo>
                <a:cubicBezTo>
                  <a:pt x="251005" y="610364"/>
                  <a:pt x="259257" y="606564"/>
                  <a:pt x="268799" y="600954"/>
                </a:cubicBezTo>
                <a:cubicBezTo>
                  <a:pt x="269770" y="600416"/>
                  <a:pt x="270740" y="599879"/>
                  <a:pt x="271740" y="599325"/>
                </a:cubicBezTo>
                <a:cubicBezTo>
                  <a:pt x="279452" y="594430"/>
                  <a:pt x="281420" y="587464"/>
                  <a:pt x="284420" y="579816"/>
                </a:cubicBezTo>
                <a:cubicBezTo>
                  <a:pt x="286047" y="576075"/>
                  <a:pt x="287725" y="572353"/>
                  <a:pt x="289399" y="568630"/>
                </a:cubicBezTo>
                <a:cubicBezTo>
                  <a:pt x="294095" y="558121"/>
                  <a:pt x="299004" y="547070"/>
                  <a:pt x="293958" y="535838"/>
                </a:cubicBezTo>
                <a:cubicBezTo>
                  <a:pt x="292436" y="533533"/>
                  <a:pt x="290781" y="531301"/>
                  <a:pt x="289107" y="529084"/>
                </a:cubicBezTo>
                <a:cubicBezTo>
                  <a:pt x="289107" y="528153"/>
                  <a:pt x="289107" y="527223"/>
                  <a:pt x="289107" y="526265"/>
                </a:cubicBezTo>
                <a:cubicBezTo>
                  <a:pt x="287560" y="525800"/>
                  <a:pt x="286014" y="525335"/>
                  <a:pt x="284420" y="524856"/>
                </a:cubicBezTo>
                <a:cubicBezTo>
                  <a:pt x="283905" y="523461"/>
                  <a:pt x="283389" y="522066"/>
                  <a:pt x="282858" y="520628"/>
                </a:cubicBezTo>
                <a:cubicBezTo>
                  <a:pt x="280750" y="518590"/>
                  <a:pt x="280750" y="518590"/>
                  <a:pt x="277977" y="516577"/>
                </a:cubicBezTo>
                <a:cubicBezTo>
                  <a:pt x="273591" y="513232"/>
                  <a:pt x="269227" y="509874"/>
                  <a:pt x="264925" y="506443"/>
                </a:cubicBezTo>
                <a:cubicBezTo>
                  <a:pt x="253596" y="497433"/>
                  <a:pt x="242132" y="488987"/>
                  <a:pt x="229746" y="481170"/>
                </a:cubicBezTo>
                <a:cubicBezTo>
                  <a:pt x="226846" y="479266"/>
                  <a:pt x="223950" y="477358"/>
                  <a:pt x="221057" y="475445"/>
                </a:cubicBezTo>
                <a:cubicBezTo>
                  <a:pt x="218227" y="473594"/>
                  <a:pt x="215396" y="471744"/>
                  <a:pt x="212563" y="469896"/>
                </a:cubicBezTo>
                <a:cubicBezTo>
                  <a:pt x="211351" y="469102"/>
                  <a:pt x="210138" y="468309"/>
                  <a:pt x="208889" y="467491"/>
                </a:cubicBezTo>
                <a:cubicBezTo>
                  <a:pt x="202848" y="463599"/>
                  <a:pt x="196732" y="459888"/>
                  <a:pt x="190406" y="456382"/>
                </a:cubicBezTo>
                <a:cubicBezTo>
                  <a:pt x="189263" y="455748"/>
                  <a:pt x="188119" y="455114"/>
                  <a:pt x="186942" y="454460"/>
                </a:cubicBezTo>
                <a:cubicBezTo>
                  <a:pt x="184648" y="453196"/>
                  <a:pt x="182348" y="451941"/>
                  <a:pt x="180041" y="450696"/>
                </a:cubicBezTo>
                <a:cubicBezTo>
                  <a:pt x="177292" y="449185"/>
                  <a:pt x="174612" y="447571"/>
                  <a:pt x="171948" y="445940"/>
                </a:cubicBezTo>
                <a:cubicBezTo>
                  <a:pt x="171948" y="445009"/>
                  <a:pt x="171948" y="444079"/>
                  <a:pt x="171948" y="443121"/>
                </a:cubicBezTo>
                <a:cubicBezTo>
                  <a:pt x="170804" y="442985"/>
                  <a:pt x="169660" y="442848"/>
                  <a:pt x="168482" y="442708"/>
                </a:cubicBezTo>
                <a:cubicBezTo>
                  <a:pt x="163547" y="441576"/>
                  <a:pt x="161063" y="439897"/>
                  <a:pt x="157107" y="437044"/>
                </a:cubicBezTo>
                <a:cubicBezTo>
                  <a:pt x="149345" y="431895"/>
                  <a:pt x="141843" y="429626"/>
                  <a:pt x="132559" y="427510"/>
                </a:cubicBezTo>
                <a:cubicBezTo>
                  <a:pt x="128067" y="426168"/>
                  <a:pt x="126607" y="425060"/>
                  <a:pt x="123522" y="421983"/>
                </a:cubicBezTo>
                <a:cubicBezTo>
                  <a:pt x="118310" y="419033"/>
                  <a:pt x="114076" y="418794"/>
                  <a:pt x="107986" y="418730"/>
                </a:cubicBezTo>
                <a:cubicBezTo>
                  <a:pt x="106174" y="418694"/>
                  <a:pt x="104362" y="418659"/>
                  <a:pt x="102494" y="418622"/>
                </a:cubicBezTo>
                <a:cubicBezTo>
                  <a:pt x="98715" y="418573"/>
                  <a:pt x="94936" y="418529"/>
                  <a:pt x="91157" y="418490"/>
                </a:cubicBezTo>
                <a:cubicBezTo>
                  <a:pt x="78470" y="418231"/>
                  <a:pt x="65485" y="417940"/>
                  <a:pt x="55277" y="410445"/>
                </a:cubicBezTo>
                <a:cubicBezTo>
                  <a:pt x="54084" y="409137"/>
                  <a:pt x="52893" y="407829"/>
                  <a:pt x="51665" y="406481"/>
                </a:cubicBezTo>
                <a:cubicBezTo>
                  <a:pt x="49752" y="404480"/>
                  <a:pt x="47831" y="402483"/>
                  <a:pt x="45904" y="400492"/>
                </a:cubicBezTo>
                <a:cubicBezTo>
                  <a:pt x="44996" y="399526"/>
                  <a:pt x="44088" y="398559"/>
                  <a:pt x="43152" y="397564"/>
                </a:cubicBezTo>
                <a:cubicBezTo>
                  <a:pt x="40865" y="395062"/>
                  <a:pt x="40865" y="395062"/>
                  <a:pt x="37605" y="393798"/>
                </a:cubicBezTo>
                <a:lnTo>
                  <a:pt x="38995" y="368712"/>
                </a:lnTo>
                <a:lnTo>
                  <a:pt x="38666" y="369724"/>
                </a:lnTo>
                <a:cubicBezTo>
                  <a:pt x="37003" y="374506"/>
                  <a:pt x="36202" y="379113"/>
                  <a:pt x="35542" y="384081"/>
                </a:cubicBezTo>
                <a:cubicBezTo>
                  <a:pt x="30313" y="376119"/>
                  <a:pt x="31188" y="366593"/>
                  <a:pt x="33326" y="357791"/>
                </a:cubicBezTo>
                <a:cubicBezTo>
                  <a:pt x="37176" y="347767"/>
                  <a:pt x="44536" y="340769"/>
                  <a:pt x="52725" y="333349"/>
                </a:cubicBezTo>
                <a:lnTo>
                  <a:pt x="55222" y="334475"/>
                </a:lnTo>
                <a:lnTo>
                  <a:pt x="56222" y="333347"/>
                </a:lnTo>
                <a:lnTo>
                  <a:pt x="55871" y="333347"/>
                </a:lnTo>
                <a:lnTo>
                  <a:pt x="56346" y="333207"/>
                </a:lnTo>
                <a:lnTo>
                  <a:pt x="56351" y="333202"/>
                </a:lnTo>
                <a:lnTo>
                  <a:pt x="56365" y="333202"/>
                </a:lnTo>
                <a:lnTo>
                  <a:pt x="79571" y="326360"/>
                </a:lnTo>
                <a:cubicBezTo>
                  <a:pt x="87782" y="326037"/>
                  <a:pt x="96164" y="327572"/>
                  <a:pt x="104297" y="330529"/>
                </a:cubicBezTo>
                <a:lnTo>
                  <a:pt x="107170" y="334417"/>
                </a:lnTo>
                <a:lnTo>
                  <a:pt x="109366" y="336046"/>
                </a:lnTo>
                <a:lnTo>
                  <a:pt x="109463" y="336020"/>
                </a:lnTo>
                <a:lnTo>
                  <a:pt x="109463" y="336118"/>
                </a:lnTo>
                <a:lnTo>
                  <a:pt x="115226" y="340394"/>
                </a:lnTo>
                <a:lnTo>
                  <a:pt x="114010" y="340120"/>
                </a:lnTo>
                <a:lnTo>
                  <a:pt x="133285" y="357423"/>
                </a:lnTo>
                <a:cubicBezTo>
                  <a:pt x="142471" y="373187"/>
                  <a:pt x="155564" y="382744"/>
                  <a:pt x="173509" y="389571"/>
                </a:cubicBezTo>
                <a:cubicBezTo>
                  <a:pt x="176254" y="390785"/>
                  <a:pt x="178988" y="392017"/>
                  <a:pt x="181711" y="393270"/>
                </a:cubicBezTo>
                <a:cubicBezTo>
                  <a:pt x="182964" y="393833"/>
                  <a:pt x="184216" y="394396"/>
                  <a:pt x="185507" y="394976"/>
                </a:cubicBezTo>
                <a:cubicBezTo>
                  <a:pt x="187897" y="396058"/>
                  <a:pt x="190281" y="397151"/>
                  <a:pt x="192658" y="398257"/>
                </a:cubicBezTo>
                <a:cubicBezTo>
                  <a:pt x="193749" y="398762"/>
                  <a:pt x="194841" y="399267"/>
                  <a:pt x="195966" y="399788"/>
                </a:cubicBezTo>
                <a:cubicBezTo>
                  <a:pt x="196912" y="400231"/>
                  <a:pt x="197858" y="400674"/>
                  <a:pt x="198833" y="401131"/>
                </a:cubicBezTo>
                <a:cubicBezTo>
                  <a:pt x="201808" y="402326"/>
                  <a:pt x="204701" y="403032"/>
                  <a:pt x="207877" y="403663"/>
                </a:cubicBezTo>
                <a:cubicBezTo>
                  <a:pt x="207877" y="404593"/>
                  <a:pt x="207877" y="405523"/>
                  <a:pt x="207877" y="406481"/>
                </a:cubicBezTo>
                <a:cubicBezTo>
                  <a:pt x="221233" y="411377"/>
                  <a:pt x="234752" y="415503"/>
                  <a:pt x="248492" y="419428"/>
                </a:cubicBezTo>
                <a:cubicBezTo>
                  <a:pt x="250298" y="419947"/>
                  <a:pt x="252104" y="420466"/>
                  <a:pt x="253965" y="421000"/>
                </a:cubicBezTo>
                <a:cubicBezTo>
                  <a:pt x="258388" y="422270"/>
                  <a:pt x="262812" y="423537"/>
                  <a:pt x="267237" y="424801"/>
                </a:cubicBezTo>
                <a:lnTo>
                  <a:pt x="267237" y="426451"/>
                </a:lnTo>
                <a:lnTo>
                  <a:pt x="288701" y="429217"/>
                </a:lnTo>
                <a:cubicBezTo>
                  <a:pt x="288701" y="430147"/>
                  <a:pt x="288701" y="431078"/>
                  <a:pt x="288701" y="432036"/>
                </a:cubicBezTo>
                <a:cubicBezTo>
                  <a:pt x="301487" y="433472"/>
                  <a:pt x="314148" y="433662"/>
                  <a:pt x="327010" y="433628"/>
                </a:cubicBezTo>
                <a:cubicBezTo>
                  <a:pt x="330502" y="433621"/>
                  <a:pt x="333994" y="433628"/>
                  <a:pt x="337486" y="433637"/>
                </a:cubicBezTo>
                <a:cubicBezTo>
                  <a:pt x="339734" y="433637"/>
                  <a:pt x="341982" y="433635"/>
                  <a:pt x="344229" y="433632"/>
                </a:cubicBezTo>
                <a:cubicBezTo>
                  <a:pt x="347246" y="433630"/>
                  <a:pt x="347246" y="433630"/>
                  <a:pt x="350323" y="433627"/>
                </a:cubicBezTo>
                <a:cubicBezTo>
                  <a:pt x="355445" y="433459"/>
                  <a:pt x="360220" y="432915"/>
                  <a:pt x="365245" y="432036"/>
                </a:cubicBezTo>
                <a:lnTo>
                  <a:pt x="360797" y="433759"/>
                </a:lnTo>
                <a:lnTo>
                  <a:pt x="365650" y="433257"/>
                </a:lnTo>
                <a:cubicBezTo>
                  <a:pt x="366166" y="431861"/>
                  <a:pt x="366682" y="430466"/>
                  <a:pt x="367213" y="429029"/>
                </a:cubicBezTo>
                <a:cubicBezTo>
                  <a:pt x="369854" y="427628"/>
                  <a:pt x="372501" y="426234"/>
                  <a:pt x="375188" y="424906"/>
                </a:cubicBezTo>
                <a:cubicBezTo>
                  <a:pt x="390245" y="417204"/>
                  <a:pt x="397438" y="403183"/>
                  <a:pt x="404704" y="389571"/>
                </a:cubicBezTo>
                <a:cubicBezTo>
                  <a:pt x="405219" y="389105"/>
                  <a:pt x="405734" y="388641"/>
                  <a:pt x="406265" y="388161"/>
                </a:cubicBezTo>
                <a:cubicBezTo>
                  <a:pt x="406663" y="382152"/>
                  <a:pt x="406555" y="376125"/>
                  <a:pt x="406559" y="370106"/>
                </a:cubicBezTo>
                <a:cubicBezTo>
                  <a:pt x="406578" y="368412"/>
                  <a:pt x="406597" y="366718"/>
                  <a:pt x="406617" y="364973"/>
                </a:cubicBezTo>
                <a:cubicBezTo>
                  <a:pt x="406620" y="363344"/>
                  <a:pt x="406622" y="361715"/>
                  <a:pt x="406626" y="360038"/>
                </a:cubicBezTo>
                <a:cubicBezTo>
                  <a:pt x="406632" y="358541"/>
                  <a:pt x="406638" y="357045"/>
                  <a:pt x="406645" y="355503"/>
                </a:cubicBezTo>
                <a:cubicBezTo>
                  <a:pt x="406264" y="351503"/>
                  <a:pt x="405326" y="349318"/>
                  <a:pt x="403142" y="345885"/>
                </a:cubicBezTo>
                <a:cubicBezTo>
                  <a:pt x="402583" y="343484"/>
                  <a:pt x="402067" y="341075"/>
                  <a:pt x="401579" y="338663"/>
                </a:cubicBezTo>
                <a:cubicBezTo>
                  <a:pt x="399365" y="330323"/>
                  <a:pt x="395538" y="323370"/>
                  <a:pt x="390938" y="315939"/>
                </a:cubicBezTo>
                <a:cubicBezTo>
                  <a:pt x="390290" y="314890"/>
                  <a:pt x="389642" y="313842"/>
                  <a:pt x="388976" y="312762"/>
                </a:cubicBezTo>
                <a:cubicBezTo>
                  <a:pt x="385623" y="307500"/>
                  <a:pt x="382070" y="302607"/>
                  <a:pt x="377934" y="297817"/>
                </a:cubicBezTo>
                <a:cubicBezTo>
                  <a:pt x="373788" y="292978"/>
                  <a:pt x="371423" y="288111"/>
                  <a:pt x="368775" y="282470"/>
                </a:cubicBezTo>
                <a:cubicBezTo>
                  <a:pt x="366035" y="278585"/>
                  <a:pt x="362994" y="274937"/>
                  <a:pt x="359890" y="271284"/>
                </a:cubicBezTo>
                <a:cubicBezTo>
                  <a:pt x="359059" y="270296"/>
                  <a:pt x="358230" y="269307"/>
                  <a:pt x="357374" y="268288"/>
                </a:cubicBezTo>
                <a:cubicBezTo>
                  <a:pt x="351312" y="261177"/>
                  <a:pt x="344882" y="254704"/>
                  <a:pt x="337533" y="248649"/>
                </a:cubicBezTo>
                <a:cubicBezTo>
                  <a:pt x="336767" y="247896"/>
                  <a:pt x="336002" y="247144"/>
                  <a:pt x="335214" y="246369"/>
                </a:cubicBezTo>
                <a:cubicBezTo>
                  <a:pt x="332597" y="243963"/>
                  <a:pt x="332597" y="243963"/>
                  <a:pt x="327085" y="242571"/>
                </a:cubicBezTo>
                <a:cubicBezTo>
                  <a:pt x="309670" y="236923"/>
                  <a:pt x="296614" y="222751"/>
                  <a:pt x="288785" y="207968"/>
                </a:cubicBezTo>
                <a:cubicBezTo>
                  <a:pt x="286673" y="202851"/>
                  <a:pt x="286348" y="197968"/>
                  <a:pt x="286373" y="192544"/>
                </a:cubicBezTo>
                <a:cubicBezTo>
                  <a:pt x="286377" y="191437"/>
                  <a:pt x="286381" y="190330"/>
                  <a:pt x="286385" y="189190"/>
                </a:cubicBezTo>
                <a:cubicBezTo>
                  <a:pt x="286881" y="178340"/>
                  <a:pt x="291581" y="171728"/>
                  <a:pt x="300042" y="164095"/>
                </a:cubicBezTo>
                <a:cubicBezTo>
                  <a:pt x="301386" y="162752"/>
                  <a:pt x="301386" y="162752"/>
                  <a:pt x="302757" y="161381"/>
                </a:cubicBezTo>
                <a:cubicBezTo>
                  <a:pt x="312597" y="152504"/>
                  <a:pt x="325185" y="152675"/>
                  <a:pt x="338411" y="152293"/>
                </a:cubicBezTo>
                <a:cubicBezTo>
                  <a:pt x="350839" y="152463"/>
                  <a:pt x="359094" y="154554"/>
                  <a:pt x="368482" y="161893"/>
                </a:cubicBezTo>
                <a:cubicBezTo>
                  <a:pt x="369609" y="163085"/>
                  <a:pt x="370737" y="164277"/>
                  <a:pt x="371899" y="165505"/>
                </a:cubicBezTo>
                <a:cubicBezTo>
                  <a:pt x="372962" y="166522"/>
                  <a:pt x="374026" y="167539"/>
                  <a:pt x="375121" y="168587"/>
                </a:cubicBezTo>
                <a:cubicBezTo>
                  <a:pt x="381050" y="176351"/>
                  <a:pt x="384520" y="184328"/>
                  <a:pt x="384982" y="193777"/>
                </a:cubicBezTo>
                <a:cubicBezTo>
                  <a:pt x="385464" y="201192"/>
                  <a:pt x="387638" y="207607"/>
                  <a:pt x="390352" y="214563"/>
                </a:cubicBezTo>
                <a:cubicBezTo>
                  <a:pt x="390934" y="216079"/>
                  <a:pt x="390934" y="216079"/>
                  <a:pt x="391529" y="217626"/>
                </a:cubicBezTo>
                <a:cubicBezTo>
                  <a:pt x="394082" y="223926"/>
                  <a:pt x="397412" y="228969"/>
                  <a:pt x="401579" y="234556"/>
                </a:cubicBezTo>
                <a:cubicBezTo>
                  <a:pt x="401579" y="235952"/>
                  <a:pt x="401579" y="237347"/>
                  <a:pt x="401579" y="238784"/>
                </a:cubicBezTo>
                <a:cubicBezTo>
                  <a:pt x="402884" y="239263"/>
                  <a:pt x="402884" y="239263"/>
                  <a:pt x="404215" y="239753"/>
                </a:cubicBezTo>
                <a:cubicBezTo>
                  <a:pt x="410099" y="242765"/>
                  <a:pt x="414395" y="246733"/>
                  <a:pt x="417811" y="251996"/>
                </a:cubicBezTo>
                <a:cubicBezTo>
                  <a:pt x="420462" y="255897"/>
                  <a:pt x="423407" y="258959"/>
                  <a:pt x="426866" y="262300"/>
                </a:cubicBezTo>
                <a:cubicBezTo>
                  <a:pt x="435101" y="270407"/>
                  <a:pt x="442641" y="278936"/>
                  <a:pt x="450097" y="287628"/>
                </a:cubicBezTo>
                <a:cubicBezTo>
                  <a:pt x="453081" y="291117"/>
                  <a:pt x="453081" y="291117"/>
                  <a:pt x="457425" y="293920"/>
                </a:cubicBezTo>
                <a:cubicBezTo>
                  <a:pt x="458585" y="294792"/>
                  <a:pt x="459745" y="295664"/>
                  <a:pt x="460940" y="296562"/>
                </a:cubicBezTo>
                <a:cubicBezTo>
                  <a:pt x="460940" y="297957"/>
                  <a:pt x="460940" y="299352"/>
                  <a:pt x="460940" y="300790"/>
                </a:cubicBezTo>
                <a:cubicBezTo>
                  <a:pt x="465063" y="302782"/>
                  <a:pt x="468862" y="304133"/>
                  <a:pt x="473437" y="305018"/>
                </a:cubicBezTo>
                <a:cubicBezTo>
                  <a:pt x="473437" y="305947"/>
                  <a:pt x="473437" y="306877"/>
                  <a:pt x="473437" y="307836"/>
                </a:cubicBezTo>
                <a:cubicBezTo>
                  <a:pt x="475581" y="308519"/>
                  <a:pt x="477730" y="309193"/>
                  <a:pt x="479881" y="309862"/>
                </a:cubicBezTo>
                <a:cubicBezTo>
                  <a:pt x="481077" y="310237"/>
                  <a:pt x="482273" y="310614"/>
                  <a:pt x="483505" y="311001"/>
                </a:cubicBezTo>
                <a:cubicBezTo>
                  <a:pt x="505448" y="316843"/>
                  <a:pt x="527690" y="314359"/>
                  <a:pt x="548419" y="306427"/>
                </a:cubicBezTo>
                <a:cubicBezTo>
                  <a:pt x="549548" y="305998"/>
                  <a:pt x="550678" y="305569"/>
                  <a:pt x="551842" y="305127"/>
                </a:cubicBezTo>
                <a:cubicBezTo>
                  <a:pt x="555376" y="303227"/>
                  <a:pt x="557584" y="300980"/>
                  <a:pt x="560232" y="298148"/>
                </a:cubicBezTo>
                <a:cubicBezTo>
                  <a:pt x="561137" y="297192"/>
                  <a:pt x="562041" y="296236"/>
                  <a:pt x="562972" y="295252"/>
                </a:cubicBezTo>
                <a:cubicBezTo>
                  <a:pt x="564755" y="293274"/>
                  <a:pt x="566459" y="291237"/>
                  <a:pt x="568086" y="289152"/>
                </a:cubicBezTo>
                <a:cubicBezTo>
                  <a:pt x="568813" y="288342"/>
                  <a:pt x="569539" y="287532"/>
                  <a:pt x="570289" y="286697"/>
                </a:cubicBezTo>
                <a:cubicBezTo>
                  <a:pt x="571319" y="286697"/>
                  <a:pt x="572350" y="286697"/>
                  <a:pt x="573413" y="286697"/>
                </a:cubicBezTo>
                <a:cubicBezTo>
                  <a:pt x="577408" y="276984"/>
                  <a:pt x="577197" y="267284"/>
                  <a:pt x="577220" y="257016"/>
                </a:cubicBezTo>
                <a:cubicBezTo>
                  <a:pt x="577227" y="255625"/>
                  <a:pt x="577227" y="255625"/>
                  <a:pt x="577235" y="254206"/>
                </a:cubicBezTo>
                <a:cubicBezTo>
                  <a:pt x="577257" y="237553"/>
                  <a:pt x="574604" y="222055"/>
                  <a:pt x="569443" y="206049"/>
                </a:cubicBezTo>
                <a:cubicBezTo>
                  <a:pt x="568726" y="203553"/>
                  <a:pt x="568726" y="203553"/>
                  <a:pt x="568726" y="200735"/>
                </a:cubicBezTo>
                <a:cubicBezTo>
                  <a:pt x="567695" y="200735"/>
                  <a:pt x="566664" y="200735"/>
                  <a:pt x="565602" y="200735"/>
                </a:cubicBezTo>
                <a:cubicBezTo>
                  <a:pt x="563274" y="195295"/>
                  <a:pt x="561092" y="190108"/>
                  <a:pt x="559549" y="184441"/>
                </a:cubicBezTo>
                <a:cubicBezTo>
                  <a:pt x="555572" y="173477"/>
                  <a:pt x="547043" y="167105"/>
                  <a:pt x="537484" y="159867"/>
                </a:cubicBezTo>
                <a:cubicBezTo>
                  <a:pt x="533579" y="156609"/>
                  <a:pt x="533579" y="156609"/>
                  <a:pt x="531235" y="154230"/>
                </a:cubicBezTo>
                <a:cubicBezTo>
                  <a:pt x="531235" y="153301"/>
                  <a:pt x="531235" y="152371"/>
                  <a:pt x="531235" y="151412"/>
                </a:cubicBezTo>
                <a:cubicBezTo>
                  <a:pt x="529689" y="150947"/>
                  <a:pt x="528143" y="150482"/>
                  <a:pt x="526549" y="150003"/>
                </a:cubicBezTo>
                <a:cubicBezTo>
                  <a:pt x="519904" y="137298"/>
                  <a:pt x="519105" y="120357"/>
                  <a:pt x="524304" y="107198"/>
                </a:cubicBezTo>
                <a:cubicBezTo>
                  <a:pt x="529443" y="97376"/>
                  <a:pt x="535781" y="90193"/>
                  <a:pt x="547052" y="85972"/>
                </a:cubicBezTo>
                <a:cubicBezTo>
                  <a:pt x="559924" y="81835"/>
                  <a:pt x="575221" y="79746"/>
                  <a:pt x="588460" y="83538"/>
                </a:cubicBezTo>
                <a:cubicBezTo>
                  <a:pt x="601643" y="89713"/>
                  <a:pt x="611835" y="99450"/>
                  <a:pt x="617152" y="111954"/>
                </a:cubicBezTo>
                <a:cubicBezTo>
                  <a:pt x="617935" y="116052"/>
                  <a:pt x="617954" y="120024"/>
                  <a:pt x="617884" y="124175"/>
                </a:cubicBezTo>
                <a:cubicBezTo>
                  <a:pt x="617896" y="125307"/>
                  <a:pt x="617906" y="126440"/>
                  <a:pt x="617917" y="127607"/>
                </a:cubicBezTo>
                <a:cubicBezTo>
                  <a:pt x="617963" y="132394"/>
                  <a:pt x="617938" y="137181"/>
                  <a:pt x="617919" y="141969"/>
                </a:cubicBezTo>
                <a:cubicBezTo>
                  <a:pt x="617899" y="160184"/>
                  <a:pt x="619422" y="175572"/>
                  <a:pt x="630625" y="191311"/>
                </a:cubicBezTo>
                <a:cubicBezTo>
                  <a:pt x="633753" y="195891"/>
                  <a:pt x="636431" y="199900"/>
                  <a:pt x="637850" y="205139"/>
                </a:cubicBezTo>
                <a:cubicBezTo>
                  <a:pt x="638615" y="209623"/>
                  <a:pt x="638615" y="209623"/>
                  <a:pt x="643708" y="212009"/>
                </a:cubicBezTo>
                <a:cubicBezTo>
                  <a:pt x="645380" y="214563"/>
                  <a:pt x="645380" y="214563"/>
                  <a:pt x="647027" y="217645"/>
                </a:cubicBezTo>
                <a:cubicBezTo>
                  <a:pt x="652549" y="227016"/>
                  <a:pt x="660443" y="235696"/>
                  <a:pt x="670264" y="241603"/>
                </a:cubicBezTo>
                <a:cubicBezTo>
                  <a:pt x="670264" y="242532"/>
                  <a:pt x="670264" y="243462"/>
                  <a:pt x="670264" y="244421"/>
                </a:cubicBezTo>
                <a:cubicBezTo>
                  <a:pt x="672036" y="244857"/>
                  <a:pt x="673808" y="245293"/>
                  <a:pt x="675634" y="245742"/>
                </a:cubicBezTo>
                <a:cubicBezTo>
                  <a:pt x="681199" y="247239"/>
                  <a:pt x="681199" y="247239"/>
                  <a:pt x="682761" y="248649"/>
                </a:cubicBezTo>
                <a:cubicBezTo>
                  <a:pt x="704487" y="252065"/>
                  <a:pt x="732606" y="256402"/>
                  <a:pt x="752092" y="245076"/>
                </a:cubicBezTo>
                <a:cubicBezTo>
                  <a:pt x="754252" y="243599"/>
                  <a:pt x="756372" y="242073"/>
                  <a:pt x="758433" y="240485"/>
                </a:cubicBezTo>
                <a:cubicBezTo>
                  <a:pt x="760867" y="238784"/>
                  <a:pt x="760867" y="238784"/>
                  <a:pt x="763991" y="238784"/>
                </a:cubicBezTo>
                <a:cubicBezTo>
                  <a:pt x="764647" y="237296"/>
                  <a:pt x="764647" y="237296"/>
                  <a:pt x="765315" y="235778"/>
                </a:cubicBezTo>
                <a:cubicBezTo>
                  <a:pt x="767151" y="231659"/>
                  <a:pt x="769030" y="227557"/>
                  <a:pt x="770923" y="223459"/>
                </a:cubicBezTo>
                <a:cubicBezTo>
                  <a:pt x="771608" y="221966"/>
                  <a:pt x="772292" y="220472"/>
                  <a:pt x="772998" y="218934"/>
                </a:cubicBezTo>
                <a:cubicBezTo>
                  <a:pt x="774429" y="215885"/>
                  <a:pt x="775968" y="212878"/>
                  <a:pt x="777562" y="209895"/>
                </a:cubicBezTo>
                <a:cubicBezTo>
                  <a:pt x="787607" y="185732"/>
                  <a:pt x="788559" y="149501"/>
                  <a:pt x="781175" y="124637"/>
                </a:cubicBezTo>
                <a:cubicBezTo>
                  <a:pt x="780144" y="124637"/>
                  <a:pt x="779113" y="124637"/>
                  <a:pt x="778051" y="124637"/>
                </a:cubicBezTo>
                <a:cubicBezTo>
                  <a:pt x="768501" y="110080"/>
                  <a:pt x="762898" y="96653"/>
                  <a:pt x="767116" y="79542"/>
                </a:cubicBezTo>
                <a:cubicBezTo>
                  <a:pt x="772286" y="69057"/>
                  <a:pt x="781456" y="58252"/>
                  <a:pt x="793379" y="54000"/>
                </a:cubicBezTo>
                <a:cubicBezTo>
                  <a:pt x="808369" y="49250"/>
                  <a:pt x="826058" y="49579"/>
                  <a:pt x="840688" y="55503"/>
                </a:cubicBezTo>
                <a:cubicBezTo>
                  <a:pt x="845183" y="57759"/>
                  <a:pt x="848037" y="60575"/>
                  <a:pt x="851470" y="64040"/>
                </a:cubicBezTo>
                <a:cubicBezTo>
                  <a:pt x="852721" y="65272"/>
                  <a:pt x="852721" y="65272"/>
                  <a:pt x="853997" y="66529"/>
                </a:cubicBezTo>
                <a:cubicBezTo>
                  <a:pt x="858396" y="71505"/>
                  <a:pt x="860490" y="76640"/>
                  <a:pt x="861488" y="82057"/>
                </a:cubicBezTo>
                <a:lnTo>
                  <a:pt x="861937" y="90492"/>
                </a:lnTo>
                <a:lnTo>
                  <a:pt x="863826" y="100715"/>
                </a:lnTo>
                <a:cubicBezTo>
                  <a:pt x="862141" y="107853"/>
                  <a:pt x="859866" y="114857"/>
                  <a:pt x="857577" y="121853"/>
                </a:cubicBezTo>
                <a:cubicBezTo>
                  <a:pt x="857062" y="121853"/>
                  <a:pt x="856547" y="121853"/>
                  <a:pt x="856015" y="121853"/>
                </a:cubicBezTo>
                <a:cubicBezTo>
                  <a:pt x="855731" y="120401"/>
                  <a:pt x="855731" y="120401"/>
                  <a:pt x="855442" y="118919"/>
                </a:cubicBezTo>
                <a:lnTo>
                  <a:pt x="855417" y="118798"/>
                </a:lnTo>
                <a:lnTo>
                  <a:pt x="856157" y="124637"/>
                </a:lnTo>
                <a:lnTo>
                  <a:pt x="850623" y="134701"/>
                </a:lnTo>
                <a:lnTo>
                  <a:pt x="851325" y="135968"/>
                </a:lnTo>
                <a:cubicBezTo>
                  <a:pt x="850851" y="137246"/>
                  <a:pt x="850376" y="138525"/>
                  <a:pt x="849886" y="139843"/>
                </a:cubicBezTo>
                <a:cubicBezTo>
                  <a:pt x="848171" y="144505"/>
                  <a:pt x="847798" y="148002"/>
                  <a:pt x="847786" y="152889"/>
                </a:cubicBezTo>
                <a:cubicBezTo>
                  <a:pt x="847779" y="154500"/>
                  <a:pt x="847773" y="156109"/>
                  <a:pt x="847767" y="157768"/>
                </a:cubicBezTo>
                <a:cubicBezTo>
                  <a:pt x="847782" y="159468"/>
                  <a:pt x="847796" y="161167"/>
                  <a:pt x="847810" y="162919"/>
                </a:cubicBezTo>
                <a:cubicBezTo>
                  <a:pt x="847821" y="165546"/>
                  <a:pt x="847821" y="165546"/>
                  <a:pt x="847832" y="168227"/>
                </a:cubicBezTo>
                <a:cubicBezTo>
                  <a:pt x="847980" y="181934"/>
                  <a:pt x="849003" y="195419"/>
                  <a:pt x="850903" y="209013"/>
                </a:cubicBezTo>
                <a:lnTo>
                  <a:pt x="852880" y="224692"/>
                </a:lnTo>
                <a:lnTo>
                  <a:pt x="854595" y="224692"/>
                </a:lnTo>
                <a:cubicBezTo>
                  <a:pt x="855086" y="225542"/>
                  <a:pt x="855577" y="226392"/>
                  <a:pt x="856083" y="227268"/>
                </a:cubicBezTo>
                <a:cubicBezTo>
                  <a:pt x="862358" y="237839"/>
                  <a:pt x="866924" y="242785"/>
                  <a:pt x="879588" y="247239"/>
                </a:cubicBezTo>
                <a:cubicBezTo>
                  <a:pt x="881642" y="248025"/>
                  <a:pt x="883692" y="248817"/>
                  <a:pt x="885739" y="249618"/>
                </a:cubicBezTo>
                <a:cubicBezTo>
                  <a:pt x="887318" y="250227"/>
                  <a:pt x="888897" y="250838"/>
                  <a:pt x="890523" y="251467"/>
                </a:cubicBezTo>
                <a:cubicBezTo>
                  <a:pt x="890523" y="252397"/>
                  <a:pt x="890523" y="253327"/>
                  <a:pt x="890523" y="254285"/>
                </a:cubicBezTo>
                <a:cubicBezTo>
                  <a:pt x="900347" y="257061"/>
                  <a:pt x="910127" y="259425"/>
                  <a:pt x="920203" y="261332"/>
                </a:cubicBezTo>
                <a:cubicBezTo>
                  <a:pt x="920203" y="261796"/>
                  <a:pt x="920203" y="262262"/>
                  <a:pt x="920203" y="262741"/>
                </a:cubicBezTo>
                <a:cubicBezTo>
                  <a:pt x="917111" y="262741"/>
                  <a:pt x="914018" y="262741"/>
                  <a:pt x="910831" y="262741"/>
                </a:cubicBezTo>
                <a:lnTo>
                  <a:pt x="910831" y="262864"/>
                </a:lnTo>
                <a:lnTo>
                  <a:pt x="927993" y="264177"/>
                </a:lnTo>
                <a:lnTo>
                  <a:pt x="939273" y="265285"/>
                </a:lnTo>
                <a:lnTo>
                  <a:pt x="940456" y="265191"/>
                </a:lnTo>
                <a:cubicBezTo>
                  <a:pt x="962552" y="263054"/>
                  <a:pt x="974979" y="255295"/>
                  <a:pt x="991622" y="242329"/>
                </a:cubicBezTo>
                <a:lnTo>
                  <a:pt x="1000803" y="236505"/>
                </a:lnTo>
                <a:lnTo>
                  <a:pt x="999806" y="236055"/>
                </a:lnTo>
                <a:cubicBezTo>
                  <a:pt x="1000902" y="234997"/>
                  <a:pt x="1001997" y="233941"/>
                  <a:pt x="1003126" y="232851"/>
                </a:cubicBezTo>
                <a:cubicBezTo>
                  <a:pt x="1012364" y="223880"/>
                  <a:pt x="1021184" y="214752"/>
                  <a:pt x="1029487" y="205052"/>
                </a:cubicBezTo>
                <a:lnTo>
                  <a:pt x="1029872" y="206442"/>
                </a:lnTo>
                <a:lnTo>
                  <a:pt x="1031614" y="203719"/>
                </a:lnTo>
                <a:cubicBezTo>
                  <a:pt x="1033221" y="199204"/>
                  <a:pt x="1035713" y="196017"/>
                  <a:pt x="1038924" y="192280"/>
                </a:cubicBezTo>
                <a:cubicBezTo>
                  <a:pt x="1039956" y="191815"/>
                  <a:pt x="1040987" y="191349"/>
                  <a:pt x="1042049" y="190870"/>
                </a:cubicBezTo>
                <a:cubicBezTo>
                  <a:pt x="1043161" y="188473"/>
                  <a:pt x="1043161" y="188473"/>
                  <a:pt x="1044294" y="186026"/>
                </a:cubicBezTo>
                <a:cubicBezTo>
                  <a:pt x="1046735" y="181006"/>
                  <a:pt x="1046735" y="181006"/>
                  <a:pt x="1051422" y="178188"/>
                </a:cubicBezTo>
                <a:cubicBezTo>
                  <a:pt x="1052553" y="175286"/>
                  <a:pt x="1052553" y="175286"/>
                  <a:pt x="1052984" y="172551"/>
                </a:cubicBezTo>
                <a:cubicBezTo>
                  <a:pt x="1054014" y="172551"/>
                  <a:pt x="1055046" y="172551"/>
                  <a:pt x="1056108" y="172551"/>
                </a:cubicBezTo>
                <a:cubicBezTo>
                  <a:pt x="1057139" y="169295"/>
                  <a:pt x="1058170" y="166040"/>
                  <a:pt x="1059232" y="162686"/>
                </a:cubicBezTo>
                <a:cubicBezTo>
                  <a:pt x="1060263" y="162686"/>
                  <a:pt x="1061295" y="162686"/>
                  <a:pt x="1062357" y="162686"/>
                </a:cubicBezTo>
                <a:cubicBezTo>
                  <a:pt x="1062755" y="161484"/>
                  <a:pt x="1062755" y="161484"/>
                  <a:pt x="1063162" y="160258"/>
                </a:cubicBezTo>
                <a:cubicBezTo>
                  <a:pt x="1065716" y="152917"/>
                  <a:pt x="1068813" y="146686"/>
                  <a:pt x="1073292" y="140138"/>
                </a:cubicBezTo>
                <a:cubicBezTo>
                  <a:pt x="1074322" y="140138"/>
                  <a:pt x="1075353" y="140138"/>
                  <a:pt x="1076415" y="140138"/>
                </a:cubicBezTo>
                <a:cubicBezTo>
                  <a:pt x="1079808" y="132748"/>
                  <a:pt x="1082509" y="125160"/>
                  <a:pt x="1085294" y="117569"/>
                </a:cubicBezTo>
                <a:cubicBezTo>
                  <a:pt x="1085972" y="116181"/>
                  <a:pt x="1086651" y="114793"/>
                  <a:pt x="1087350" y="113363"/>
                </a:cubicBezTo>
                <a:cubicBezTo>
                  <a:pt x="1089671" y="112666"/>
                  <a:pt x="1089671" y="112666"/>
                  <a:pt x="1092037" y="111954"/>
                </a:cubicBezTo>
                <a:cubicBezTo>
                  <a:pt x="1092230" y="110879"/>
                  <a:pt x="1092423" y="109803"/>
                  <a:pt x="1092623" y="108695"/>
                </a:cubicBezTo>
                <a:cubicBezTo>
                  <a:pt x="1093599" y="104908"/>
                  <a:pt x="1093599" y="104908"/>
                  <a:pt x="1096723" y="100680"/>
                </a:cubicBezTo>
                <a:cubicBezTo>
                  <a:pt x="1097207" y="99140"/>
                  <a:pt x="1097689" y="97599"/>
                  <a:pt x="1098188" y="96013"/>
                </a:cubicBezTo>
                <a:cubicBezTo>
                  <a:pt x="1099847" y="90815"/>
                  <a:pt x="1099847" y="90815"/>
                  <a:pt x="1102288" y="87029"/>
                </a:cubicBezTo>
                <a:cubicBezTo>
                  <a:pt x="1106061" y="79186"/>
                  <a:pt x="1107564" y="69424"/>
                  <a:pt x="1104534" y="61222"/>
                </a:cubicBezTo>
                <a:cubicBezTo>
                  <a:pt x="1104409" y="59341"/>
                  <a:pt x="1104366" y="57454"/>
                  <a:pt x="1104381" y="55569"/>
                </a:cubicBezTo>
                <a:cubicBezTo>
                  <a:pt x="1104386" y="54501"/>
                  <a:pt x="1104391" y="53434"/>
                  <a:pt x="1104397" y="52335"/>
                </a:cubicBezTo>
                <a:cubicBezTo>
                  <a:pt x="1104410" y="51228"/>
                  <a:pt x="1104423" y="50120"/>
                  <a:pt x="1104436" y="48979"/>
                </a:cubicBezTo>
                <a:cubicBezTo>
                  <a:pt x="1104443" y="47856"/>
                  <a:pt x="1104451" y="46733"/>
                  <a:pt x="1104457" y="45575"/>
                </a:cubicBezTo>
                <a:cubicBezTo>
                  <a:pt x="1104476" y="42805"/>
                  <a:pt x="1104504" y="40035"/>
                  <a:pt x="1104534" y="37265"/>
                </a:cubicBezTo>
                <a:cubicBezTo>
                  <a:pt x="1105565" y="37265"/>
                  <a:pt x="1106596" y="37265"/>
                  <a:pt x="1107658" y="37265"/>
                </a:cubicBezTo>
                <a:cubicBezTo>
                  <a:pt x="1107561" y="34562"/>
                  <a:pt x="1107561" y="34562"/>
                  <a:pt x="1107463" y="31805"/>
                </a:cubicBezTo>
                <a:cubicBezTo>
                  <a:pt x="1107353" y="28733"/>
                  <a:pt x="1107353" y="28733"/>
                  <a:pt x="1107658" y="25991"/>
                </a:cubicBezTo>
                <a:cubicBezTo>
                  <a:pt x="1108689" y="25062"/>
                  <a:pt x="1109720" y="24131"/>
                  <a:pt x="1110782" y="23173"/>
                </a:cubicBezTo>
                <a:cubicBezTo>
                  <a:pt x="1111104" y="22156"/>
                  <a:pt x="1111427" y="21138"/>
                  <a:pt x="1111759" y="20091"/>
                </a:cubicBezTo>
                <a:cubicBezTo>
                  <a:pt x="1116393" y="11539"/>
                  <a:pt x="1124927" y="6390"/>
                  <a:pt x="1134507" y="2828"/>
                </a:cubicBezTo>
                <a:cubicBezTo>
                  <a:pt x="1141389" y="825"/>
                  <a:pt x="1148262" y="-204"/>
                  <a:pt x="1155019" y="35"/>
                </a:cubicBezTo>
                <a:close/>
              </a:path>
            </a:pathLst>
          </a:custGeom>
          <a:solidFill>
            <a:schemeClr val="accent3"/>
          </a:solidFill>
          <a:ln w="2232" cap="flat">
            <a:noFill/>
            <a:prstDash val="solid"/>
            <a:miter/>
          </a:ln>
          <a:effectLst>
            <a:innerShdw blurRad="63500" dist="190500" dir="8100000">
              <a:schemeClr val="accent3">
                <a:lumMod val="75000"/>
                <a:alpha val="50000"/>
              </a:schemeClr>
            </a:innerShdw>
          </a:effectLst>
        </p:spPr>
        <p:txBody>
          <a:bodyPr wrap="squar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42" name="Oval 441">
            <a:extLst>
              <a:ext uri="{FF2B5EF4-FFF2-40B4-BE49-F238E27FC236}">
                <a16:creationId xmlns:a16="http://schemas.microsoft.com/office/drawing/2014/main" id="{5BF47207-799D-90D2-E374-EF34C1A25F8D}"/>
              </a:ext>
            </a:extLst>
          </p:cNvPr>
          <p:cNvSpPr/>
          <p:nvPr/>
        </p:nvSpPr>
        <p:spPr>
          <a:xfrm>
            <a:off x="8230898" y="3399769"/>
            <a:ext cx="106472" cy="106472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43" name="Oval 442">
            <a:extLst>
              <a:ext uri="{FF2B5EF4-FFF2-40B4-BE49-F238E27FC236}">
                <a16:creationId xmlns:a16="http://schemas.microsoft.com/office/drawing/2014/main" id="{DCE6D615-9F16-9092-7EEC-03838F5A88A4}"/>
              </a:ext>
            </a:extLst>
          </p:cNvPr>
          <p:cNvSpPr/>
          <p:nvPr/>
        </p:nvSpPr>
        <p:spPr>
          <a:xfrm>
            <a:off x="8373031" y="3492996"/>
            <a:ext cx="106472" cy="106472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44" name="Oval 443">
            <a:extLst>
              <a:ext uri="{FF2B5EF4-FFF2-40B4-BE49-F238E27FC236}">
                <a16:creationId xmlns:a16="http://schemas.microsoft.com/office/drawing/2014/main" id="{15DA25F7-C8E1-6775-927E-7365DA554018}"/>
              </a:ext>
            </a:extLst>
          </p:cNvPr>
          <p:cNvSpPr/>
          <p:nvPr/>
        </p:nvSpPr>
        <p:spPr>
          <a:xfrm>
            <a:off x="8269870" y="3666457"/>
            <a:ext cx="83346" cy="83346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45" name="Oval 444">
            <a:extLst>
              <a:ext uri="{FF2B5EF4-FFF2-40B4-BE49-F238E27FC236}">
                <a16:creationId xmlns:a16="http://schemas.microsoft.com/office/drawing/2014/main" id="{81AF31EB-15C5-E514-A860-1CD145A942EE}"/>
              </a:ext>
            </a:extLst>
          </p:cNvPr>
          <p:cNvSpPr/>
          <p:nvPr/>
        </p:nvSpPr>
        <p:spPr>
          <a:xfrm>
            <a:off x="8492238" y="3647354"/>
            <a:ext cx="106472" cy="106472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46" name="Oval 445">
            <a:extLst>
              <a:ext uri="{FF2B5EF4-FFF2-40B4-BE49-F238E27FC236}">
                <a16:creationId xmlns:a16="http://schemas.microsoft.com/office/drawing/2014/main" id="{B547FE0C-6448-150A-B918-B81DC23D93D1}"/>
              </a:ext>
            </a:extLst>
          </p:cNvPr>
          <p:cNvSpPr/>
          <p:nvPr/>
        </p:nvSpPr>
        <p:spPr>
          <a:xfrm>
            <a:off x="8526624" y="3425750"/>
            <a:ext cx="72085" cy="72085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48" name="Oval 447">
            <a:extLst>
              <a:ext uri="{FF2B5EF4-FFF2-40B4-BE49-F238E27FC236}">
                <a16:creationId xmlns:a16="http://schemas.microsoft.com/office/drawing/2014/main" id="{3A30B5AD-9C97-21AD-F19D-33A75CE5C356}"/>
              </a:ext>
            </a:extLst>
          </p:cNvPr>
          <p:cNvSpPr/>
          <p:nvPr/>
        </p:nvSpPr>
        <p:spPr>
          <a:xfrm>
            <a:off x="5795388" y="4157122"/>
            <a:ext cx="794347" cy="178620"/>
          </a:xfrm>
          <a:prstGeom prst="ellipse">
            <a:avLst/>
          </a:prstGeom>
          <a:solidFill>
            <a:schemeClr val="tx1">
              <a:alpha val="5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49" name="Free-form: Shape 448">
            <a:extLst>
              <a:ext uri="{FF2B5EF4-FFF2-40B4-BE49-F238E27FC236}">
                <a16:creationId xmlns:a16="http://schemas.microsoft.com/office/drawing/2014/main" id="{7D712D57-8388-3E7E-B507-06BA580AC0DA}"/>
              </a:ext>
            </a:extLst>
          </p:cNvPr>
          <p:cNvSpPr/>
          <p:nvPr/>
        </p:nvSpPr>
        <p:spPr>
          <a:xfrm>
            <a:off x="5691353" y="3252913"/>
            <a:ext cx="1065280" cy="1018363"/>
          </a:xfrm>
          <a:custGeom>
            <a:avLst/>
            <a:gdLst>
              <a:gd name="csX0" fmla="*/ 401579 w 1609516"/>
              <a:gd name="csY0" fmla="*/ 1495809 h 1538630"/>
              <a:gd name="csX1" fmla="*/ 400190 w 1609516"/>
              <a:gd name="csY1" fmla="*/ 1496004 h 1538630"/>
              <a:gd name="csX2" fmla="*/ 401224 w 1609516"/>
              <a:gd name="csY2" fmla="*/ 1496470 h 1538630"/>
              <a:gd name="csX3" fmla="*/ 401224 w 1609516"/>
              <a:gd name="csY3" fmla="*/ 1498590 h 1538630"/>
              <a:gd name="csX4" fmla="*/ 401579 w 1609516"/>
              <a:gd name="csY4" fmla="*/ 1498628 h 1538630"/>
              <a:gd name="csX5" fmla="*/ 401579 w 1609516"/>
              <a:gd name="csY5" fmla="*/ 1495809 h 1538630"/>
              <a:gd name="csX6" fmla="*/ 368755 w 1609516"/>
              <a:gd name="csY6" fmla="*/ 1486512 h 1538630"/>
              <a:gd name="csX7" fmla="*/ 364089 w 1609516"/>
              <a:gd name="csY7" fmla="*/ 1487354 h 1538630"/>
              <a:gd name="csX8" fmla="*/ 364089 w 1609516"/>
              <a:gd name="csY8" fmla="*/ 1487908 h 1538630"/>
              <a:gd name="csX9" fmla="*/ 1049801 w 1609516"/>
              <a:gd name="csY9" fmla="*/ 1484562 h 1538630"/>
              <a:gd name="csX10" fmla="*/ 1046735 w 1609516"/>
              <a:gd name="csY10" fmla="*/ 1485945 h 1538630"/>
              <a:gd name="csX11" fmla="*/ 1046955 w 1609516"/>
              <a:gd name="csY11" fmla="*/ 1486045 h 1538630"/>
              <a:gd name="csX12" fmla="*/ 1049801 w 1609516"/>
              <a:gd name="csY12" fmla="*/ 1485188 h 1538630"/>
              <a:gd name="csX13" fmla="*/ 351234 w 1609516"/>
              <a:gd name="csY13" fmla="*/ 1444508 h 1538630"/>
              <a:gd name="csX14" fmla="*/ 351234 w 1609516"/>
              <a:gd name="csY14" fmla="*/ 1444997 h 1538630"/>
              <a:gd name="csX15" fmla="*/ 351592 w 1609516"/>
              <a:gd name="csY15" fmla="*/ 1445078 h 1538630"/>
              <a:gd name="csX16" fmla="*/ 351908 w 1609516"/>
              <a:gd name="csY16" fmla="*/ 1431206 h 1538630"/>
              <a:gd name="csX17" fmla="*/ 351234 w 1609516"/>
              <a:gd name="csY17" fmla="*/ 1431611 h 1538630"/>
              <a:gd name="csX18" fmla="*/ 351234 w 1609516"/>
              <a:gd name="csY18" fmla="*/ 1432274 h 1538630"/>
              <a:gd name="csX19" fmla="*/ 358162 w 1609516"/>
              <a:gd name="csY19" fmla="*/ 1421494 h 1538630"/>
              <a:gd name="csX20" fmla="*/ 355921 w 1609516"/>
              <a:gd name="csY20" fmla="*/ 1423156 h 1538630"/>
              <a:gd name="csX21" fmla="*/ 355921 w 1609516"/>
              <a:gd name="csY21" fmla="*/ 1423548 h 1538630"/>
              <a:gd name="csX22" fmla="*/ 376098 w 1609516"/>
              <a:gd name="csY22" fmla="*/ 1408347 h 1538630"/>
              <a:gd name="csX23" fmla="*/ 370750 w 1609516"/>
              <a:gd name="csY23" fmla="*/ 1412245 h 1538630"/>
              <a:gd name="csX24" fmla="*/ 375023 w 1609516"/>
              <a:gd name="csY24" fmla="*/ 1411256 h 1538630"/>
              <a:gd name="csX25" fmla="*/ 421956 w 1609516"/>
              <a:gd name="csY25" fmla="*/ 1365623 h 1538630"/>
              <a:gd name="csX26" fmla="*/ 421765 w 1609516"/>
              <a:gd name="csY26" fmla="*/ 1366161 h 1538630"/>
              <a:gd name="csX27" fmla="*/ 421887 w 1609516"/>
              <a:gd name="csY27" fmla="*/ 1366161 h 1538630"/>
              <a:gd name="csX28" fmla="*/ 754553 w 1609516"/>
              <a:gd name="csY28" fmla="*/ 1360575 h 1538630"/>
              <a:gd name="csX29" fmla="*/ 754089 w 1609516"/>
              <a:gd name="csY29" fmla="*/ 1361433 h 1538630"/>
              <a:gd name="csX30" fmla="*/ 754431 w 1609516"/>
              <a:gd name="csY30" fmla="*/ 1361125 h 1538630"/>
              <a:gd name="csX31" fmla="*/ 1277973 w 1609516"/>
              <a:gd name="csY31" fmla="*/ 1332923 h 1538630"/>
              <a:gd name="csX32" fmla="*/ 1277944 w 1609516"/>
              <a:gd name="csY32" fmla="*/ 1332936 h 1538630"/>
              <a:gd name="csX33" fmla="*/ 1277949 w 1609516"/>
              <a:gd name="csY33" fmla="*/ 1333139 h 1538630"/>
              <a:gd name="csX34" fmla="*/ 1268556 w 1609516"/>
              <a:gd name="csY34" fmla="*/ 1321066 h 1538630"/>
              <a:gd name="csX35" fmla="*/ 1268556 w 1609516"/>
              <a:gd name="csY35" fmla="*/ 1325294 h 1538630"/>
              <a:gd name="csX36" fmla="*/ 1265432 w 1609516"/>
              <a:gd name="csY36" fmla="*/ 1325294 h 1538630"/>
              <a:gd name="csX37" fmla="*/ 1265432 w 1609516"/>
              <a:gd name="csY37" fmla="*/ 1340795 h 1538630"/>
              <a:gd name="csX38" fmla="*/ 1265476 w 1609516"/>
              <a:gd name="csY38" fmla="*/ 1340714 h 1538630"/>
              <a:gd name="csX39" fmla="*/ 1265476 w 1609516"/>
              <a:gd name="csY39" fmla="*/ 1325877 h 1538630"/>
              <a:gd name="csX40" fmla="*/ 1268600 w 1609516"/>
              <a:gd name="csY40" fmla="*/ 1325877 h 1538630"/>
              <a:gd name="csX41" fmla="*/ 1268600 w 1609516"/>
              <a:gd name="csY41" fmla="*/ 1321649 h 1538630"/>
              <a:gd name="csX42" fmla="*/ 1273286 w 1609516"/>
              <a:gd name="csY42" fmla="*/ 1321649 h 1538630"/>
              <a:gd name="csX43" fmla="*/ 1273227 w 1609516"/>
              <a:gd name="csY43" fmla="*/ 1321066 h 1538630"/>
              <a:gd name="csX44" fmla="*/ 827891 w 1609516"/>
              <a:gd name="csY44" fmla="*/ 1291474 h 1538630"/>
              <a:gd name="csX45" fmla="*/ 822601 w 1609516"/>
              <a:gd name="csY45" fmla="*/ 1291544 h 1538630"/>
              <a:gd name="csX46" fmla="*/ 818272 w 1609516"/>
              <a:gd name="csY46" fmla="*/ 1292220 h 1538630"/>
              <a:gd name="csX47" fmla="*/ 827891 w 1609516"/>
              <a:gd name="csY47" fmla="*/ 1292047 h 1538630"/>
              <a:gd name="csX48" fmla="*/ 856397 w 1609516"/>
              <a:gd name="csY48" fmla="*/ 1288691 h 1538630"/>
              <a:gd name="csX49" fmla="*/ 865903 w 1609516"/>
              <a:gd name="csY49" fmla="*/ 1290590 h 1538630"/>
              <a:gd name="csX50" fmla="*/ 859999 w 1609516"/>
              <a:gd name="csY50" fmla="*/ 1288752 h 1538630"/>
              <a:gd name="csX51" fmla="*/ 834694 w 1609516"/>
              <a:gd name="csY51" fmla="*/ 1288572 h 1538630"/>
              <a:gd name="csX52" fmla="*/ 828038 w 1609516"/>
              <a:gd name="csY52" fmla="*/ 1288654 h 1538630"/>
              <a:gd name="csX53" fmla="*/ 828038 w 1609516"/>
              <a:gd name="csY53" fmla="*/ 1289214 h 1538630"/>
              <a:gd name="csX54" fmla="*/ 229746 w 1609516"/>
              <a:gd name="csY54" fmla="*/ 1191418 h 1538630"/>
              <a:gd name="csX55" fmla="*/ 227402 w 1609516"/>
              <a:gd name="csY55" fmla="*/ 1191947 h 1538630"/>
              <a:gd name="csX56" fmla="*/ 229315 w 1609516"/>
              <a:gd name="csY56" fmla="*/ 1191947 h 1538630"/>
              <a:gd name="csX57" fmla="*/ 229315 w 1609516"/>
              <a:gd name="csY57" fmla="*/ 1194765 h 1538630"/>
              <a:gd name="csX58" fmla="*/ 231321 w 1609516"/>
              <a:gd name="csY58" fmla="*/ 1194765 h 1538630"/>
              <a:gd name="csX59" fmla="*/ 229746 w 1609516"/>
              <a:gd name="csY59" fmla="*/ 1194236 h 1538630"/>
              <a:gd name="csX60" fmla="*/ 229746 w 1609516"/>
              <a:gd name="csY60" fmla="*/ 1191418 h 1538630"/>
              <a:gd name="csX61" fmla="*/ 215687 w 1609516"/>
              <a:gd name="csY61" fmla="*/ 1187190 h 1538630"/>
              <a:gd name="csX62" fmla="*/ 215198 w 1609516"/>
              <a:gd name="csY62" fmla="*/ 1187720 h 1538630"/>
              <a:gd name="csX63" fmla="*/ 215256 w 1609516"/>
              <a:gd name="csY63" fmla="*/ 1187720 h 1538630"/>
              <a:gd name="csX64" fmla="*/ 215256 w 1609516"/>
              <a:gd name="csY64" fmla="*/ 1191947 h 1538630"/>
              <a:gd name="csX65" fmla="*/ 222721 w 1609516"/>
              <a:gd name="csY65" fmla="*/ 1191947 h 1538630"/>
              <a:gd name="csX66" fmla="*/ 215687 w 1609516"/>
              <a:gd name="csY66" fmla="*/ 1191418 h 1538630"/>
              <a:gd name="csX67" fmla="*/ 215687 w 1609516"/>
              <a:gd name="csY67" fmla="*/ 1187190 h 1538630"/>
              <a:gd name="csX68" fmla="*/ 1279678 w 1609516"/>
              <a:gd name="csY68" fmla="*/ 1082356 h 1538630"/>
              <a:gd name="csX69" fmla="*/ 1271680 w 1609516"/>
              <a:gd name="csY69" fmla="*/ 1084589 h 1538630"/>
              <a:gd name="csX70" fmla="*/ 1282181 w 1609516"/>
              <a:gd name="csY70" fmla="*/ 1082544 h 1538630"/>
              <a:gd name="csX71" fmla="*/ 117703 w 1609516"/>
              <a:gd name="csY71" fmla="*/ 941507 h 1538630"/>
              <a:gd name="csX72" fmla="*/ 112587 w 1609516"/>
              <a:gd name="csY72" fmla="*/ 941985 h 1538630"/>
              <a:gd name="csX73" fmla="*/ 112565 w 1609516"/>
              <a:gd name="csY73" fmla="*/ 942333 h 1538630"/>
              <a:gd name="csX74" fmla="*/ 115665 w 1609516"/>
              <a:gd name="csY74" fmla="*/ 941837 h 1538630"/>
              <a:gd name="csX75" fmla="*/ 144268 w 1609516"/>
              <a:gd name="csY75" fmla="*/ 939395 h 1538630"/>
              <a:gd name="csX76" fmla="*/ 143354 w 1609516"/>
              <a:gd name="csY76" fmla="*/ 939580 h 1538630"/>
              <a:gd name="csX77" fmla="*/ 144077 w 1609516"/>
              <a:gd name="csY77" fmla="*/ 939739 h 1538630"/>
              <a:gd name="csX78" fmla="*/ 162575 w 1609516"/>
              <a:gd name="csY78" fmla="*/ 933530 h 1538630"/>
              <a:gd name="csX79" fmla="*/ 161704 w 1609516"/>
              <a:gd name="csY79" fmla="*/ 935101 h 1538630"/>
              <a:gd name="csX80" fmla="*/ 170045 w 1609516"/>
              <a:gd name="csY80" fmla="*/ 933585 h 1538630"/>
              <a:gd name="csX81" fmla="*/ 1321645 w 1609516"/>
              <a:gd name="csY81" fmla="*/ 918415 h 1538630"/>
              <a:gd name="csX82" fmla="*/ 1321534 w 1609516"/>
              <a:gd name="csY82" fmla="*/ 920177 h 1538630"/>
              <a:gd name="csX83" fmla="*/ 1321740 w 1609516"/>
              <a:gd name="csY83" fmla="*/ 918415 h 1538630"/>
              <a:gd name="csX84" fmla="*/ 1319333 w 1609516"/>
              <a:gd name="csY84" fmla="*/ 915183 h 1538630"/>
              <a:gd name="csX85" fmla="*/ 1318544 w 1609516"/>
              <a:gd name="csY85" fmla="*/ 918029 h 1538630"/>
              <a:gd name="csX86" fmla="*/ 1318702 w 1609516"/>
              <a:gd name="csY86" fmla="*/ 918029 h 1538630"/>
              <a:gd name="csX87" fmla="*/ 1326355 w 1609516"/>
              <a:gd name="csY87" fmla="*/ 907109 h 1538630"/>
              <a:gd name="csX88" fmla="*/ 1326355 w 1609516"/>
              <a:gd name="csY88" fmla="*/ 910983 h 1538630"/>
              <a:gd name="csX89" fmla="*/ 1325831 w 1609516"/>
              <a:gd name="csY89" fmla="*/ 911101 h 1538630"/>
              <a:gd name="csX90" fmla="*/ 1326426 w 1609516"/>
              <a:gd name="csY90" fmla="*/ 911369 h 1538630"/>
              <a:gd name="csX91" fmla="*/ 1326426 w 1609516"/>
              <a:gd name="csY91" fmla="*/ 907141 h 1538630"/>
              <a:gd name="csX92" fmla="*/ 1328144 w 1609516"/>
              <a:gd name="csY92" fmla="*/ 892192 h 1538630"/>
              <a:gd name="csX93" fmla="*/ 1327667 w 1609516"/>
              <a:gd name="csY93" fmla="*/ 893446 h 1538630"/>
              <a:gd name="csX94" fmla="*/ 1327989 w 1609516"/>
              <a:gd name="csY94" fmla="*/ 893049 h 1538630"/>
              <a:gd name="csX95" fmla="*/ 49605 w 1609516"/>
              <a:gd name="csY95" fmla="*/ 887420 h 1538630"/>
              <a:gd name="csX96" fmla="*/ 48549 w 1609516"/>
              <a:gd name="csY96" fmla="*/ 891229 h 1538630"/>
              <a:gd name="csX97" fmla="*/ 49956 w 1609516"/>
              <a:gd name="csY97" fmla="*/ 887420 h 1538630"/>
              <a:gd name="csX98" fmla="*/ 1332266 w 1609516"/>
              <a:gd name="csY98" fmla="*/ 883369 h 1538630"/>
              <a:gd name="csX99" fmla="*/ 1329479 w 1609516"/>
              <a:gd name="csY99" fmla="*/ 884207 h 1538630"/>
              <a:gd name="csX100" fmla="*/ 1329509 w 1609516"/>
              <a:gd name="csY100" fmla="*/ 884816 h 1538630"/>
              <a:gd name="csX101" fmla="*/ 1329551 w 1609516"/>
              <a:gd name="csY101" fmla="*/ 884594 h 1538630"/>
              <a:gd name="csX102" fmla="*/ 1555987 w 1609516"/>
              <a:gd name="csY102" fmla="*/ 821766 h 1538630"/>
              <a:gd name="csX103" fmla="*/ 1555987 w 1609516"/>
              <a:gd name="csY103" fmla="*/ 822201 h 1538630"/>
              <a:gd name="csX104" fmla="*/ 1556081 w 1609516"/>
              <a:gd name="csY104" fmla="*/ 822189 h 1538630"/>
              <a:gd name="csX105" fmla="*/ 1565360 w 1609516"/>
              <a:gd name="csY105" fmla="*/ 810928 h 1538630"/>
              <a:gd name="csX106" fmla="*/ 1564871 w 1609516"/>
              <a:gd name="csY106" fmla="*/ 811809 h 1538630"/>
              <a:gd name="csX107" fmla="*/ 1567314 w 1609516"/>
              <a:gd name="csY107" fmla="*/ 810928 h 1538630"/>
              <a:gd name="csX108" fmla="*/ 1563797 w 1609516"/>
              <a:gd name="csY108" fmla="*/ 810928 h 1538630"/>
              <a:gd name="csX109" fmla="*/ 1556762 w 1609516"/>
              <a:gd name="csY109" fmla="*/ 814736 h 1538630"/>
              <a:gd name="csX110" fmla="*/ 1563797 w 1609516"/>
              <a:gd name="csY110" fmla="*/ 812197 h 1538630"/>
              <a:gd name="csX111" fmla="*/ 265833 w 1609516"/>
              <a:gd name="csY111" fmla="*/ 806020 h 1538630"/>
              <a:gd name="csX112" fmla="*/ 263704 w 1609516"/>
              <a:gd name="csY112" fmla="*/ 809861 h 1538630"/>
              <a:gd name="csX113" fmla="*/ 263704 w 1609516"/>
              <a:gd name="csY113" fmla="*/ 816750 h 1538630"/>
              <a:gd name="csX114" fmla="*/ 264113 w 1609516"/>
              <a:gd name="csY114" fmla="*/ 816565 h 1538630"/>
              <a:gd name="csX115" fmla="*/ 263918 w 1609516"/>
              <a:gd name="csY115" fmla="*/ 812777 h 1538630"/>
              <a:gd name="csX116" fmla="*/ 263774 w 1609516"/>
              <a:gd name="csY116" fmla="*/ 779374 h 1538630"/>
              <a:gd name="csX117" fmla="*/ 263704 w 1609516"/>
              <a:gd name="csY117" fmla="*/ 783086 h 1538630"/>
              <a:gd name="csX118" fmla="*/ 264484 w 1609516"/>
              <a:gd name="csY118" fmla="*/ 785816 h 1538630"/>
              <a:gd name="csX119" fmla="*/ 265265 w 1609516"/>
              <a:gd name="csY119" fmla="*/ 794448 h 1538630"/>
              <a:gd name="csX120" fmla="*/ 265217 w 1609516"/>
              <a:gd name="csY120" fmla="*/ 799730 h 1538630"/>
              <a:gd name="csX121" fmla="*/ 266556 w 1609516"/>
              <a:gd name="csY121" fmla="*/ 803466 h 1538630"/>
              <a:gd name="csX122" fmla="*/ 267237 w 1609516"/>
              <a:gd name="csY122" fmla="*/ 801063 h 1538630"/>
              <a:gd name="csX123" fmla="*/ 265675 w 1609516"/>
              <a:gd name="csY123" fmla="*/ 799654 h 1538630"/>
              <a:gd name="csX124" fmla="*/ 265675 w 1609516"/>
              <a:gd name="csY124" fmla="*/ 793841 h 1538630"/>
              <a:gd name="csX125" fmla="*/ 260988 w 1609516"/>
              <a:gd name="csY125" fmla="*/ 770061 h 1538630"/>
              <a:gd name="csX126" fmla="*/ 260988 w 1609516"/>
              <a:gd name="csY126" fmla="*/ 771364 h 1538630"/>
              <a:gd name="csX127" fmla="*/ 263497 w 1609516"/>
              <a:gd name="csY127" fmla="*/ 777263 h 1538630"/>
              <a:gd name="csX128" fmla="*/ 262551 w 1609516"/>
              <a:gd name="csY128" fmla="*/ 770061 h 1538630"/>
              <a:gd name="csX129" fmla="*/ 260988 w 1609516"/>
              <a:gd name="csY129" fmla="*/ 770061 h 1538630"/>
              <a:gd name="csX130" fmla="*/ 157888 w 1609516"/>
              <a:gd name="csY130" fmla="*/ 651686 h 1538630"/>
              <a:gd name="csX131" fmla="*/ 157415 w 1609516"/>
              <a:gd name="csY131" fmla="*/ 651764 h 1538630"/>
              <a:gd name="csX132" fmla="*/ 160373 w 1609516"/>
              <a:gd name="csY132" fmla="*/ 652274 h 1538630"/>
              <a:gd name="csX133" fmla="*/ 267237 w 1609516"/>
              <a:gd name="csY133" fmla="*/ 426537 h 1538630"/>
              <a:gd name="csX134" fmla="*/ 267237 w 1609516"/>
              <a:gd name="csY134" fmla="*/ 427619 h 1538630"/>
              <a:gd name="csX135" fmla="*/ 270380 w 1609516"/>
              <a:gd name="csY135" fmla="*/ 428137 h 1538630"/>
              <a:gd name="csX136" fmla="*/ 273548 w 1609516"/>
              <a:gd name="csY136" fmla="*/ 428680 h 1538630"/>
              <a:gd name="csX137" fmla="*/ 37605 w 1609516"/>
              <a:gd name="csY137" fmla="*/ 359270 h 1538630"/>
              <a:gd name="csX138" fmla="*/ 37103 w 1609516"/>
              <a:gd name="csY138" fmla="*/ 361533 h 1538630"/>
              <a:gd name="csX139" fmla="*/ 37605 w 1609516"/>
              <a:gd name="csY139" fmla="*/ 361382 h 1538630"/>
              <a:gd name="csX140" fmla="*/ 52477 w 1609516"/>
              <a:gd name="csY140" fmla="*/ 337570 h 1538630"/>
              <a:gd name="csX141" fmla="*/ 47288 w 1609516"/>
              <a:gd name="csY141" fmla="*/ 342340 h 1538630"/>
              <a:gd name="csX142" fmla="*/ 45805 w 1609516"/>
              <a:gd name="csY142" fmla="*/ 345093 h 1538630"/>
              <a:gd name="csX143" fmla="*/ 104291 w 1609516"/>
              <a:gd name="csY143" fmla="*/ 336166 h 1538630"/>
              <a:gd name="csX144" fmla="*/ 103776 w 1609516"/>
              <a:gd name="csY144" fmla="*/ 337559 h 1538630"/>
              <a:gd name="csX145" fmla="*/ 108925 w 1609516"/>
              <a:gd name="csY145" fmla="*/ 336166 h 1538630"/>
              <a:gd name="csX146" fmla="*/ 1309237 w 1609516"/>
              <a:gd name="csY146" fmla="*/ 322954 h 1538630"/>
              <a:gd name="csX147" fmla="*/ 1309180 w 1609516"/>
              <a:gd name="csY147" fmla="*/ 330559 h 1538630"/>
              <a:gd name="csX148" fmla="*/ 1309237 w 1609516"/>
              <a:gd name="csY148" fmla="*/ 330520 h 1538630"/>
              <a:gd name="csX149" fmla="*/ 1308964 w 1609516"/>
              <a:gd name="csY149" fmla="*/ 317715 h 1538630"/>
              <a:gd name="csX150" fmla="*/ 1309237 w 1609516"/>
              <a:gd name="csY150" fmla="*/ 318569 h 1538630"/>
              <a:gd name="csX151" fmla="*/ 1309237 w 1609516"/>
              <a:gd name="csY151" fmla="*/ 317838 h 1538630"/>
              <a:gd name="csX152" fmla="*/ 1310087 w 1609516"/>
              <a:gd name="csY152" fmla="*/ 313153 h 1538630"/>
              <a:gd name="csX153" fmla="*/ 1307609 w 1609516"/>
              <a:gd name="csY153" fmla="*/ 313473 h 1538630"/>
              <a:gd name="csX154" fmla="*/ 1308045 w 1609516"/>
              <a:gd name="csY154" fmla="*/ 314836 h 1538630"/>
              <a:gd name="csX155" fmla="*/ 1318544 w 1609516"/>
              <a:gd name="csY155" fmla="*/ 312064 h 1538630"/>
              <a:gd name="csX156" fmla="*/ 1316298 w 1609516"/>
              <a:gd name="csY156" fmla="*/ 312353 h 1538630"/>
              <a:gd name="csX157" fmla="*/ 1318544 w 1609516"/>
              <a:gd name="csY157" fmla="*/ 312205 h 1538630"/>
              <a:gd name="csX158" fmla="*/ 1084622 w 1609516"/>
              <a:gd name="csY158" fmla="*/ 267674 h 1538630"/>
              <a:gd name="csX159" fmla="*/ 1084227 w 1609516"/>
              <a:gd name="csY159" fmla="*/ 268378 h 1538630"/>
              <a:gd name="csX160" fmla="*/ 1079540 w 1609516"/>
              <a:gd name="csY160" fmla="*/ 268378 h 1538630"/>
              <a:gd name="csX161" fmla="*/ 1079603 w 1609516"/>
              <a:gd name="csY161" fmla="*/ 268477 h 1538630"/>
              <a:gd name="csX162" fmla="*/ 1084192 w 1609516"/>
              <a:gd name="csY162" fmla="*/ 268477 h 1538630"/>
              <a:gd name="csX163" fmla="*/ 956410 w 1609516"/>
              <a:gd name="csY163" fmla="*/ 266968 h 1538630"/>
              <a:gd name="csX164" fmla="*/ 957576 w 1609516"/>
              <a:gd name="csY164" fmla="*/ 267083 h 1538630"/>
              <a:gd name="csX165" fmla="*/ 957576 w 1609516"/>
              <a:gd name="csY165" fmla="*/ 269776 h 1538630"/>
              <a:gd name="csX166" fmla="*/ 957694 w 1609516"/>
              <a:gd name="csY166" fmla="*/ 269787 h 1538630"/>
              <a:gd name="csX167" fmla="*/ 957694 w 1609516"/>
              <a:gd name="csY167" fmla="*/ 266968 h 1538630"/>
              <a:gd name="csX168" fmla="*/ 1089372 w 1609516"/>
              <a:gd name="csY168" fmla="*/ 259220 h 1538630"/>
              <a:gd name="csX169" fmla="*/ 1085856 w 1609516"/>
              <a:gd name="csY169" fmla="*/ 265479 h 1538630"/>
              <a:gd name="csX170" fmla="*/ 1088878 w 1609516"/>
              <a:gd name="csY170" fmla="*/ 261431 h 1538630"/>
              <a:gd name="csX171" fmla="*/ 1018517 w 1609516"/>
              <a:gd name="csY171" fmla="*/ 223356 h 1538630"/>
              <a:gd name="csX172" fmla="*/ 1013866 w 1609516"/>
              <a:gd name="csY172" fmla="*/ 226190 h 1538630"/>
              <a:gd name="csX173" fmla="*/ 1013024 w 1609516"/>
              <a:gd name="csY173" fmla="*/ 227709 h 1538630"/>
              <a:gd name="csX174" fmla="*/ 1017055 w 1609516"/>
              <a:gd name="csY174" fmla="*/ 224692 h 1538630"/>
              <a:gd name="csX175" fmla="*/ 850645 w 1609516"/>
              <a:gd name="csY175" fmla="*/ 220099 h 1538630"/>
              <a:gd name="csX176" fmla="*/ 850897 w 1609516"/>
              <a:gd name="csY176" fmla="*/ 221488 h 1538630"/>
              <a:gd name="csX177" fmla="*/ 851470 w 1609516"/>
              <a:gd name="csY177" fmla="*/ 224692 h 1538630"/>
              <a:gd name="csX178" fmla="*/ 852860 w 1609516"/>
              <a:gd name="csY178" fmla="*/ 224692 h 1538630"/>
              <a:gd name="csX179" fmla="*/ 1155019 w 1609516"/>
              <a:gd name="csY179" fmla="*/ 35 h 1538630"/>
              <a:gd name="csX180" fmla="*/ 1174829 w 1609516"/>
              <a:gd name="csY180" fmla="*/ 4853 h 1538630"/>
              <a:gd name="csX181" fmla="*/ 1179418 w 1609516"/>
              <a:gd name="csY181" fmla="*/ 5998 h 1538630"/>
              <a:gd name="csX182" fmla="*/ 1201385 w 1609516"/>
              <a:gd name="csY182" fmla="*/ 22997 h 1538630"/>
              <a:gd name="csX183" fmla="*/ 1201678 w 1609516"/>
              <a:gd name="csY183" fmla="*/ 62191 h 1538630"/>
              <a:gd name="csX184" fmla="*/ 1198261 w 1609516"/>
              <a:gd name="csY184" fmla="*/ 68268 h 1538630"/>
              <a:gd name="csX185" fmla="*/ 1195723 w 1609516"/>
              <a:gd name="csY185" fmla="*/ 72672 h 1538630"/>
              <a:gd name="csX186" fmla="*/ 1193575 w 1609516"/>
              <a:gd name="csY186" fmla="*/ 75314 h 1538630"/>
              <a:gd name="csX187" fmla="*/ 1190450 w 1609516"/>
              <a:gd name="csY187" fmla="*/ 75314 h 1538630"/>
              <a:gd name="csX188" fmla="*/ 1189474 w 1609516"/>
              <a:gd name="csY188" fmla="*/ 79366 h 1538630"/>
              <a:gd name="csX189" fmla="*/ 1182445 w 1609516"/>
              <a:gd name="csY189" fmla="*/ 85707 h 1538630"/>
              <a:gd name="csX190" fmla="*/ 1177953 w 1609516"/>
              <a:gd name="csY190" fmla="*/ 86588 h 1538630"/>
              <a:gd name="csX191" fmla="*/ 1177953 w 1609516"/>
              <a:gd name="csY191" fmla="*/ 89406 h 1538630"/>
              <a:gd name="csX192" fmla="*/ 1170045 w 1609516"/>
              <a:gd name="csY192" fmla="*/ 94251 h 1538630"/>
              <a:gd name="csX193" fmla="*/ 1143806 w 1609516"/>
              <a:gd name="csY193" fmla="*/ 132828 h 1538630"/>
              <a:gd name="csX194" fmla="*/ 1137338 w 1609516"/>
              <a:gd name="csY194" fmla="*/ 141548 h 1538630"/>
              <a:gd name="csX195" fmla="*/ 1133970 w 1609516"/>
              <a:gd name="csY195" fmla="*/ 149403 h 1538630"/>
              <a:gd name="csX196" fmla="*/ 1127965 w 1609516"/>
              <a:gd name="csY196" fmla="*/ 164095 h 1538630"/>
              <a:gd name="csX197" fmla="*/ 1124762 w 1609516"/>
              <a:gd name="csY197" fmla="*/ 171802 h 1538630"/>
              <a:gd name="csX198" fmla="*/ 1119359 w 1609516"/>
              <a:gd name="csY198" fmla="*/ 184798 h 1538630"/>
              <a:gd name="csX199" fmla="*/ 1111014 w 1609516"/>
              <a:gd name="csY199" fmla="*/ 204941 h 1538630"/>
              <a:gd name="csX200" fmla="*/ 1109729 w 1609516"/>
              <a:gd name="csY200" fmla="*/ 208059 h 1538630"/>
              <a:gd name="csX201" fmla="*/ 1106395 w 1609516"/>
              <a:gd name="csY201" fmla="*/ 216170 h 1538630"/>
              <a:gd name="csX202" fmla="*/ 1102147 w 1609516"/>
              <a:gd name="csY202" fmla="*/ 224810 h 1538630"/>
              <a:gd name="csX203" fmla="*/ 1098261 w 1609516"/>
              <a:gd name="csY203" fmla="*/ 227262 h 1538630"/>
              <a:gd name="csX204" fmla="*/ 1098367 w 1609516"/>
              <a:gd name="csY204" fmla="*/ 238475 h 1538630"/>
              <a:gd name="csX205" fmla="*/ 1097331 w 1609516"/>
              <a:gd name="csY205" fmla="*/ 242358 h 1538630"/>
              <a:gd name="csX206" fmla="*/ 1096201 w 1609516"/>
              <a:gd name="csY206" fmla="*/ 246458 h 1538630"/>
              <a:gd name="csX207" fmla="*/ 1089440 w 1609516"/>
              <a:gd name="csY207" fmla="*/ 279206 h 1538630"/>
              <a:gd name="csX208" fmla="*/ 1087316 w 1609516"/>
              <a:gd name="csY208" fmla="*/ 283978 h 1538630"/>
              <a:gd name="csX209" fmla="*/ 1086822 w 1609516"/>
              <a:gd name="csY209" fmla="*/ 291822 h 1538630"/>
              <a:gd name="csX210" fmla="*/ 1086623 w 1609516"/>
              <a:gd name="csY210" fmla="*/ 296625 h 1538630"/>
              <a:gd name="csX211" fmla="*/ 1086437 w 1609516"/>
              <a:gd name="csY211" fmla="*/ 301681 h 1538630"/>
              <a:gd name="csX212" fmla="*/ 1086233 w 1609516"/>
              <a:gd name="csY212" fmla="*/ 306754 h 1538630"/>
              <a:gd name="csX213" fmla="*/ 1086007 w 1609516"/>
              <a:gd name="csY213" fmla="*/ 312619 h 1538630"/>
              <a:gd name="csX214" fmla="*/ 1087470 w 1609516"/>
              <a:gd name="csY214" fmla="*/ 320554 h 1538630"/>
              <a:gd name="csX215" fmla="*/ 1098285 w 1609516"/>
              <a:gd name="csY215" fmla="*/ 334611 h 1538630"/>
              <a:gd name="csX216" fmla="*/ 1102607 w 1609516"/>
              <a:gd name="csY216" fmla="*/ 337679 h 1538630"/>
              <a:gd name="csX217" fmla="*/ 1106095 w 1609516"/>
              <a:gd name="csY217" fmla="*/ 340248 h 1538630"/>
              <a:gd name="csX218" fmla="*/ 1106095 w 1609516"/>
              <a:gd name="csY218" fmla="*/ 343066 h 1538630"/>
              <a:gd name="csX219" fmla="*/ 1109220 w 1609516"/>
              <a:gd name="csY219" fmla="*/ 343419 h 1538630"/>
              <a:gd name="csX220" fmla="*/ 1126403 w 1609516"/>
              <a:gd name="csY220" fmla="*/ 350112 h 1538630"/>
              <a:gd name="csX221" fmla="*/ 1131871 w 1609516"/>
              <a:gd name="csY221" fmla="*/ 352579 h 1538630"/>
              <a:gd name="csX222" fmla="*/ 1135776 w 1609516"/>
              <a:gd name="csY222" fmla="*/ 354340 h 1538630"/>
              <a:gd name="csX223" fmla="*/ 1135776 w 1609516"/>
              <a:gd name="csY223" fmla="*/ 357158 h 1538630"/>
              <a:gd name="csX224" fmla="*/ 1170143 w 1609516"/>
              <a:gd name="csY224" fmla="*/ 354340 h 1538630"/>
              <a:gd name="csX225" fmla="*/ 1174634 w 1609516"/>
              <a:gd name="csY225" fmla="*/ 352579 h 1538630"/>
              <a:gd name="csX226" fmla="*/ 1190890 w 1609516"/>
              <a:gd name="csY226" fmla="*/ 342907 h 1538630"/>
              <a:gd name="csX227" fmla="*/ 1204021 w 1609516"/>
              <a:gd name="csY227" fmla="*/ 335404 h 1538630"/>
              <a:gd name="csX228" fmla="*/ 1223255 w 1609516"/>
              <a:gd name="csY228" fmla="*/ 319110 h 1538630"/>
              <a:gd name="csX229" fmla="*/ 1226868 w 1609516"/>
              <a:gd name="csY229" fmla="*/ 315587 h 1538630"/>
              <a:gd name="csX230" fmla="*/ 1231859 w 1609516"/>
              <a:gd name="csY230" fmla="*/ 303559 h 1538630"/>
              <a:gd name="csX231" fmla="*/ 1234178 w 1609516"/>
              <a:gd name="csY231" fmla="*/ 298059 h 1538630"/>
              <a:gd name="csX232" fmla="*/ 1237314 w 1609516"/>
              <a:gd name="csY232" fmla="*/ 288195 h 1538630"/>
              <a:gd name="csX233" fmla="*/ 1249811 w 1609516"/>
              <a:gd name="csY233" fmla="*/ 265559 h 1538630"/>
              <a:gd name="csX234" fmla="*/ 1252935 w 1609516"/>
              <a:gd name="csY234" fmla="*/ 265559 h 1538630"/>
              <a:gd name="csX235" fmla="*/ 1252935 w 1609516"/>
              <a:gd name="csY235" fmla="*/ 262741 h 1538630"/>
              <a:gd name="csX236" fmla="*/ 1296675 w 1609516"/>
              <a:gd name="csY236" fmla="*/ 252876 h 1538630"/>
              <a:gd name="csX237" fmla="*/ 1307609 w 1609516"/>
              <a:gd name="csY237" fmla="*/ 255695 h 1538630"/>
              <a:gd name="csX238" fmla="*/ 1307609 w 1609516"/>
              <a:gd name="csY238" fmla="*/ 258513 h 1538630"/>
              <a:gd name="csX239" fmla="*/ 1311887 w 1609516"/>
              <a:gd name="csY239" fmla="*/ 258832 h 1538630"/>
              <a:gd name="csX240" fmla="*/ 1326715 w 1609516"/>
              <a:gd name="csY240" fmla="*/ 269969 h 1538630"/>
              <a:gd name="csX241" fmla="*/ 1334165 w 1609516"/>
              <a:gd name="csY241" fmla="*/ 307836 h 1538630"/>
              <a:gd name="csX242" fmla="*/ 1329479 w 1609516"/>
              <a:gd name="csY242" fmla="*/ 314882 h 1538630"/>
              <a:gd name="csX243" fmla="*/ 1323231 w 1609516"/>
              <a:gd name="csY243" fmla="*/ 314882 h 1538630"/>
              <a:gd name="csX244" fmla="*/ 1323231 w 1609516"/>
              <a:gd name="csY244" fmla="*/ 317700 h 1538630"/>
              <a:gd name="csX245" fmla="*/ 1322774 w 1609516"/>
              <a:gd name="csY245" fmla="*/ 317838 h 1538630"/>
              <a:gd name="csX246" fmla="*/ 1323295 w 1609516"/>
              <a:gd name="csY246" fmla="*/ 317838 h 1538630"/>
              <a:gd name="csX247" fmla="*/ 1323295 w 1609516"/>
              <a:gd name="csY247" fmla="*/ 315019 h 1538630"/>
              <a:gd name="csX248" fmla="*/ 1327982 w 1609516"/>
              <a:gd name="csY248" fmla="*/ 315019 h 1538630"/>
              <a:gd name="csX249" fmla="*/ 1317047 w 1609516"/>
              <a:gd name="csY249" fmla="*/ 327702 h 1538630"/>
              <a:gd name="csX250" fmla="*/ 1315484 w 1609516"/>
              <a:gd name="csY250" fmla="*/ 331930 h 1538630"/>
              <a:gd name="csX251" fmla="*/ 1309139 w 1609516"/>
              <a:gd name="csY251" fmla="*/ 333603 h 1538630"/>
              <a:gd name="csX252" fmla="*/ 1305666 w 1609516"/>
              <a:gd name="csY252" fmla="*/ 334280 h 1538630"/>
              <a:gd name="csX253" fmla="*/ 1302988 w 1609516"/>
              <a:gd name="csY253" fmla="*/ 334748 h 1538630"/>
              <a:gd name="csX254" fmla="*/ 1305905 w 1609516"/>
              <a:gd name="csY254" fmla="*/ 332775 h 1538630"/>
              <a:gd name="csX255" fmla="*/ 1304485 w 1609516"/>
              <a:gd name="csY255" fmla="*/ 333202 h 1538630"/>
              <a:gd name="csX256" fmla="*/ 1301459 w 1609516"/>
              <a:gd name="csY256" fmla="*/ 336108 h 1538630"/>
              <a:gd name="csX257" fmla="*/ 1291989 w 1609516"/>
              <a:gd name="csY257" fmla="*/ 338839 h 1538630"/>
              <a:gd name="csX258" fmla="*/ 1290426 w 1609516"/>
              <a:gd name="csY258" fmla="*/ 343066 h 1538630"/>
              <a:gd name="csX259" fmla="*/ 1285740 w 1609516"/>
              <a:gd name="csY259" fmla="*/ 344123 h 1538630"/>
              <a:gd name="csX260" fmla="*/ 1237314 w 1609516"/>
              <a:gd name="csY260" fmla="*/ 382525 h 1538630"/>
              <a:gd name="csX261" fmla="*/ 1232628 w 1609516"/>
              <a:gd name="csY261" fmla="*/ 392389 h 1538630"/>
              <a:gd name="csX262" fmla="*/ 1228625 w 1609516"/>
              <a:gd name="csY262" fmla="*/ 398731 h 1538630"/>
              <a:gd name="csX263" fmla="*/ 1222822 w 1609516"/>
              <a:gd name="csY263" fmla="*/ 434798 h 1538630"/>
              <a:gd name="csX264" fmla="*/ 1260746 w 1609516"/>
              <a:gd name="csY264" fmla="*/ 485398 h 1538630"/>
              <a:gd name="csX265" fmla="*/ 1268556 w 1609516"/>
              <a:gd name="csY265" fmla="*/ 488216 h 1538630"/>
              <a:gd name="csX266" fmla="*/ 1268556 w 1609516"/>
              <a:gd name="csY266" fmla="*/ 491034 h 1538630"/>
              <a:gd name="csX267" fmla="*/ 1338852 w 1609516"/>
              <a:gd name="csY267" fmla="*/ 489625 h 1538630"/>
              <a:gd name="csX268" fmla="*/ 1347444 w 1609516"/>
              <a:gd name="csY268" fmla="*/ 488480 h 1538630"/>
              <a:gd name="csX269" fmla="*/ 1369362 w 1609516"/>
              <a:gd name="csY269" fmla="*/ 482513 h 1538630"/>
              <a:gd name="csX270" fmla="*/ 1388840 w 1609516"/>
              <a:gd name="csY270" fmla="*/ 478351 h 1538630"/>
              <a:gd name="csX271" fmla="*/ 1388840 w 1609516"/>
              <a:gd name="csY271" fmla="*/ 475533 h 1538630"/>
              <a:gd name="csX272" fmla="*/ 1395576 w 1609516"/>
              <a:gd name="csY272" fmla="*/ 473419 h 1538630"/>
              <a:gd name="csX273" fmla="*/ 1399365 w 1609516"/>
              <a:gd name="csY273" fmla="*/ 472230 h 1538630"/>
              <a:gd name="csX274" fmla="*/ 1407585 w 1609516"/>
              <a:gd name="csY274" fmla="*/ 471305 h 1538630"/>
              <a:gd name="csX275" fmla="*/ 1409147 w 1609516"/>
              <a:gd name="csY275" fmla="*/ 467078 h 1538630"/>
              <a:gd name="csX276" fmla="*/ 1416470 w 1609516"/>
              <a:gd name="csY276" fmla="*/ 464259 h 1538630"/>
              <a:gd name="csX277" fmla="*/ 1437949 w 1609516"/>
              <a:gd name="csY277" fmla="*/ 455011 h 1538630"/>
              <a:gd name="csX278" fmla="*/ 1452887 w 1609516"/>
              <a:gd name="csY278" fmla="*/ 450167 h 1538630"/>
              <a:gd name="csX279" fmla="*/ 1452887 w 1609516"/>
              <a:gd name="csY279" fmla="*/ 447349 h 1538630"/>
              <a:gd name="csX280" fmla="*/ 1455394 w 1609516"/>
              <a:gd name="csY280" fmla="*/ 446122 h 1538630"/>
              <a:gd name="csX281" fmla="*/ 1466653 w 1609516"/>
              <a:gd name="csY281" fmla="*/ 440567 h 1538630"/>
              <a:gd name="csX282" fmla="*/ 1470598 w 1609516"/>
              <a:gd name="csY282" fmla="*/ 438637 h 1538630"/>
              <a:gd name="csX283" fmla="*/ 1474397 w 1609516"/>
              <a:gd name="csY283" fmla="*/ 436752 h 1538630"/>
              <a:gd name="csX284" fmla="*/ 1477892 w 1609516"/>
              <a:gd name="csY284" fmla="*/ 435030 h 1538630"/>
              <a:gd name="csX285" fmla="*/ 1485691 w 1609516"/>
              <a:gd name="csY285" fmla="*/ 429029 h 1538630"/>
              <a:gd name="csX286" fmla="*/ 1488858 w 1609516"/>
              <a:gd name="csY286" fmla="*/ 427653 h 1538630"/>
              <a:gd name="csX287" fmla="*/ 1495943 w 1609516"/>
              <a:gd name="csY287" fmla="*/ 421454 h 1538630"/>
              <a:gd name="csX288" fmla="*/ 1538608 w 1609516"/>
              <a:gd name="csY288" fmla="*/ 388338 h 1538630"/>
              <a:gd name="csX289" fmla="*/ 1543490 w 1609516"/>
              <a:gd name="csY289" fmla="*/ 388161 h 1538630"/>
              <a:gd name="csX290" fmla="*/ 1547621 w 1609516"/>
              <a:gd name="csY290" fmla="*/ 387804 h 1538630"/>
              <a:gd name="csX291" fmla="*/ 1579418 w 1609516"/>
              <a:gd name="csY291" fmla="*/ 396617 h 1538630"/>
              <a:gd name="csX292" fmla="*/ 1583342 w 1609516"/>
              <a:gd name="csY292" fmla="*/ 398780 h 1538630"/>
              <a:gd name="csX293" fmla="*/ 1601288 w 1609516"/>
              <a:gd name="csY293" fmla="*/ 423392 h 1538630"/>
              <a:gd name="csX294" fmla="*/ 1594484 w 1609516"/>
              <a:gd name="csY294" fmla="*/ 460159 h 1538630"/>
              <a:gd name="csX295" fmla="*/ 1574732 w 1609516"/>
              <a:gd name="csY295" fmla="*/ 475533 h 1538630"/>
              <a:gd name="csX296" fmla="*/ 1572097 w 1609516"/>
              <a:gd name="csY296" fmla="*/ 477078 h 1538630"/>
              <a:gd name="csX297" fmla="*/ 1556066 w 1609516"/>
              <a:gd name="csY297" fmla="*/ 478737 h 1538630"/>
              <a:gd name="csX298" fmla="*/ 1548631 w 1609516"/>
              <a:gd name="csY298" fmla="*/ 478825 h 1538630"/>
              <a:gd name="csX299" fmla="*/ 1536991 w 1609516"/>
              <a:gd name="csY299" fmla="*/ 478889 h 1538630"/>
              <a:gd name="csX300" fmla="*/ 1498188 w 1609516"/>
              <a:gd name="csY300" fmla="*/ 485398 h 1538630"/>
              <a:gd name="csX301" fmla="*/ 1493892 w 1609516"/>
              <a:gd name="csY301" fmla="*/ 487600 h 1538630"/>
              <a:gd name="csX302" fmla="*/ 1490377 w 1609516"/>
              <a:gd name="csY302" fmla="*/ 489625 h 1538630"/>
              <a:gd name="csX303" fmla="*/ 1471650 w 1609516"/>
              <a:gd name="csY303" fmla="*/ 498185 h 1538630"/>
              <a:gd name="csX304" fmla="*/ 1459135 w 1609516"/>
              <a:gd name="csY304" fmla="*/ 505127 h 1538630"/>
              <a:gd name="csX305" fmla="*/ 1452594 w 1609516"/>
              <a:gd name="csY305" fmla="*/ 508033 h 1538630"/>
              <a:gd name="csX306" fmla="*/ 1427795 w 1609516"/>
              <a:gd name="csY306" fmla="*/ 520100 h 1538630"/>
              <a:gd name="csX307" fmla="*/ 1423733 w 1609516"/>
              <a:gd name="csY307" fmla="*/ 522148 h 1538630"/>
              <a:gd name="csX308" fmla="*/ 1419929 w 1609516"/>
              <a:gd name="csY308" fmla="*/ 524118 h 1538630"/>
              <a:gd name="csX309" fmla="*/ 1416487 w 1609516"/>
              <a:gd name="csY309" fmla="*/ 525883 h 1538630"/>
              <a:gd name="csX310" fmla="*/ 1412271 w 1609516"/>
              <a:gd name="csY310" fmla="*/ 531902 h 1538630"/>
              <a:gd name="csX311" fmla="*/ 1396650 w 1609516"/>
              <a:gd name="csY311" fmla="*/ 537539 h 1538630"/>
              <a:gd name="csX312" fmla="*/ 1396650 w 1609516"/>
              <a:gd name="csY312" fmla="*/ 540357 h 1538630"/>
              <a:gd name="csX313" fmla="*/ 1393495 w 1609516"/>
              <a:gd name="csY313" fmla="*/ 541502 h 1538630"/>
              <a:gd name="csX314" fmla="*/ 1362284 w 1609516"/>
              <a:gd name="csY314" fmla="*/ 558678 h 1538630"/>
              <a:gd name="csX315" fmla="*/ 1355937 w 1609516"/>
              <a:gd name="csY315" fmla="*/ 562905 h 1538630"/>
              <a:gd name="csX316" fmla="*/ 1334165 w 1609516"/>
              <a:gd name="csY316" fmla="*/ 578406 h 1538630"/>
              <a:gd name="csX317" fmla="*/ 1331200 w 1609516"/>
              <a:gd name="csY317" fmla="*/ 580559 h 1538630"/>
              <a:gd name="csX318" fmla="*/ 1322175 w 1609516"/>
              <a:gd name="csY318" fmla="*/ 596793 h 1538630"/>
              <a:gd name="csX319" fmla="*/ 1320106 w 1609516"/>
              <a:gd name="csY319" fmla="*/ 602363 h 1538630"/>
              <a:gd name="csX320" fmla="*/ 1328015 w 1609516"/>
              <a:gd name="csY320" fmla="*/ 647640 h 1538630"/>
              <a:gd name="csX321" fmla="*/ 1332604 w 1609516"/>
              <a:gd name="csY321" fmla="*/ 675643 h 1538630"/>
              <a:gd name="csX322" fmla="*/ 1335727 w 1609516"/>
              <a:gd name="csY322" fmla="*/ 675643 h 1538630"/>
              <a:gd name="csX323" fmla="*/ 1337741 w 1609516"/>
              <a:gd name="csY323" fmla="*/ 690059 h 1538630"/>
              <a:gd name="csX324" fmla="*/ 1338003 w 1609516"/>
              <a:gd name="csY324" fmla="*/ 696222 h 1538630"/>
              <a:gd name="csX325" fmla="*/ 1338340 w 1609516"/>
              <a:gd name="csY325" fmla="*/ 705887 h 1538630"/>
              <a:gd name="csX326" fmla="*/ 1345277 w 1609516"/>
              <a:gd name="csY326" fmla="*/ 733245 h 1538630"/>
              <a:gd name="csX327" fmla="*/ 1363162 w 1609516"/>
              <a:gd name="csY327" fmla="*/ 741612 h 1538630"/>
              <a:gd name="csX328" fmla="*/ 1384154 w 1609516"/>
              <a:gd name="csY328" fmla="*/ 748922 h 1538630"/>
              <a:gd name="csX329" fmla="*/ 1391476 w 1609516"/>
              <a:gd name="csY329" fmla="*/ 750419 h 1538630"/>
              <a:gd name="csX330" fmla="*/ 1395564 w 1609516"/>
              <a:gd name="csY330" fmla="*/ 751080 h 1538630"/>
              <a:gd name="csX331" fmla="*/ 1399775 w 1609516"/>
              <a:gd name="csY331" fmla="*/ 751740 h 1538630"/>
              <a:gd name="csX332" fmla="*/ 1403887 w 1609516"/>
              <a:gd name="csY332" fmla="*/ 752489 h 1538630"/>
              <a:gd name="csX333" fmla="*/ 1465383 w 1609516"/>
              <a:gd name="csY333" fmla="*/ 755969 h 1538630"/>
              <a:gd name="csX334" fmla="*/ 1470339 w 1609516"/>
              <a:gd name="csY334" fmla="*/ 755897 h 1538630"/>
              <a:gd name="csX335" fmla="*/ 1496809 w 1609516"/>
              <a:gd name="csY335" fmla="*/ 749313 h 1538630"/>
              <a:gd name="csX336" fmla="*/ 1515371 w 1609516"/>
              <a:gd name="csY336" fmla="*/ 743285 h 1538630"/>
              <a:gd name="csX337" fmla="*/ 1515371 w 1609516"/>
              <a:gd name="csY337" fmla="*/ 740467 h 1538630"/>
              <a:gd name="csX338" fmla="*/ 1537632 w 1609516"/>
              <a:gd name="csY338" fmla="*/ 737120 h 1538630"/>
              <a:gd name="csX339" fmla="*/ 1541657 w 1609516"/>
              <a:gd name="csY339" fmla="*/ 737127 h 1538630"/>
              <a:gd name="csX340" fmla="*/ 1574732 w 1609516"/>
              <a:gd name="csY340" fmla="*/ 748922 h 1538630"/>
              <a:gd name="csX341" fmla="*/ 1588791 w 1609516"/>
              <a:gd name="csY341" fmla="*/ 792608 h 1538630"/>
              <a:gd name="csX342" fmla="*/ 1584105 w 1609516"/>
              <a:gd name="csY342" fmla="*/ 805291 h 1538630"/>
              <a:gd name="csX343" fmla="*/ 1580981 w 1609516"/>
              <a:gd name="csY343" fmla="*/ 806700 h 1538630"/>
              <a:gd name="csX344" fmla="*/ 1578735 w 1609516"/>
              <a:gd name="csY344" fmla="*/ 810311 h 1538630"/>
              <a:gd name="csX345" fmla="*/ 1576295 w 1609516"/>
              <a:gd name="csY345" fmla="*/ 813746 h 1538630"/>
              <a:gd name="csX346" fmla="*/ 1571652 w 1609516"/>
              <a:gd name="csY346" fmla="*/ 813746 h 1538630"/>
              <a:gd name="csX347" fmla="*/ 1571785 w 1609516"/>
              <a:gd name="csY347" fmla="*/ 814106 h 1538630"/>
              <a:gd name="csX348" fmla="*/ 1574909 w 1609516"/>
              <a:gd name="csY348" fmla="*/ 815515 h 1538630"/>
              <a:gd name="csX349" fmla="*/ 1565463 w 1609516"/>
              <a:gd name="csY349" fmla="*/ 821839 h 1538630"/>
              <a:gd name="csX350" fmla="*/ 1562085 w 1609516"/>
              <a:gd name="csY350" fmla="*/ 822101 h 1538630"/>
              <a:gd name="csX351" fmla="*/ 1551301 w 1609516"/>
              <a:gd name="csY351" fmla="*/ 825020 h 1538630"/>
              <a:gd name="csX352" fmla="*/ 1551301 w 1609516"/>
              <a:gd name="csY352" fmla="*/ 827838 h 1538630"/>
              <a:gd name="csX353" fmla="*/ 1485380 w 1609516"/>
              <a:gd name="csY353" fmla="*/ 815007 h 1538630"/>
              <a:gd name="csX354" fmla="*/ 1431603 w 1609516"/>
              <a:gd name="csY354" fmla="*/ 808726 h 1538630"/>
              <a:gd name="csX355" fmla="*/ 1424140 w 1609516"/>
              <a:gd name="csY355" fmla="*/ 808542 h 1538630"/>
              <a:gd name="csX356" fmla="*/ 1406023 w 1609516"/>
              <a:gd name="csY356" fmla="*/ 808109 h 1538630"/>
              <a:gd name="csX357" fmla="*/ 1406023 w 1609516"/>
              <a:gd name="csY357" fmla="*/ 810928 h 1538630"/>
              <a:gd name="csX358" fmla="*/ 1403383 w 1609516"/>
              <a:gd name="csY358" fmla="*/ 811311 h 1538630"/>
              <a:gd name="csX359" fmla="*/ 1345442 w 1609516"/>
              <a:gd name="csY359" fmla="*/ 828907 h 1538630"/>
              <a:gd name="csX360" fmla="*/ 1337875 w 1609516"/>
              <a:gd name="csY360" fmla="*/ 856639 h 1538630"/>
              <a:gd name="csX361" fmla="*/ 1337692 w 1609516"/>
              <a:gd name="csY361" fmla="*/ 860171 h 1538630"/>
              <a:gd name="csX362" fmla="*/ 1337290 w 1609516"/>
              <a:gd name="csY362" fmla="*/ 868706 h 1538630"/>
              <a:gd name="csX363" fmla="*/ 1334165 w 1609516"/>
              <a:gd name="csY363" fmla="*/ 868706 h 1538630"/>
              <a:gd name="csX364" fmla="*/ 1334165 w 1609516"/>
              <a:gd name="csY364" fmla="*/ 870034 h 1538630"/>
              <a:gd name="csX365" fmla="*/ 1334237 w 1609516"/>
              <a:gd name="csY365" fmla="*/ 869093 h 1538630"/>
              <a:gd name="csX366" fmla="*/ 1335800 w 1609516"/>
              <a:gd name="csY366" fmla="*/ 869093 h 1538630"/>
              <a:gd name="csX367" fmla="*/ 1335995 w 1609516"/>
              <a:gd name="csY367" fmla="*/ 876491 h 1538630"/>
              <a:gd name="csX368" fmla="*/ 1336105 w 1609516"/>
              <a:gd name="csY368" fmla="*/ 880653 h 1538630"/>
              <a:gd name="csX369" fmla="*/ 1334294 w 1609516"/>
              <a:gd name="csY369" fmla="*/ 887271 h 1538630"/>
              <a:gd name="csX370" fmla="*/ 1331455 w 1609516"/>
              <a:gd name="csY370" fmla="*/ 896440 h 1538630"/>
              <a:gd name="csX371" fmla="*/ 1330887 w 1609516"/>
              <a:gd name="csY371" fmla="*/ 899969 h 1538630"/>
              <a:gd name="csX372" fmla="*/ 1330332 w 1609516"/>
              <a:gd name="csY372" fmla="*/ 903618 h 1538630"/>
              <a:gd name="csX373" fmla="*/ 1329209 w 1609516"/>
              <a:gd name="csY373" fmla="*/ 910797 h 1538630"/>
              <a:gd name="csX374" fmla="*/ 1328724 w 1609516"/>
              <a:gd name="csY374" fmla="*/ 913998 h 1538630"/>
              <a:gd name="csX375" fmla="*/ 1324865 w 1609516"/>
              <a:gd name="csY375" fmla="*/ 922643 h 1538630"/>
              <a:gd name="csX376" fmla="*/ 1322619 w 1609516"/>
              <a:gd name="csY376" fmla="*/ 937979 h 1538630"/>
              <a:gd name="csX377" fmla="*/ 1318744 w 1609516"/>
              <a:gd name="csY377" fmla="*/ 944961 h 1538630"/>
              <a:gd name="csX378" fmla="*/ 1318544 w 1609516"/>
              <a:gd name="csY378" fmla="*/ 946213 h 1538630"/>
              <a:gd name="csX379" fmla="*/ 1318251 w 1609516"/>
              <a:gd name="csY379" fmla="*/ 955285 h 1538630"/>
              <a:gd name="csX380" fmla="*/ 1318184 w 1609516"/>
              <a:gd name="csY380" fmla="*/ 960036 h 1538630"/>
              <a:gd name="csX381" fmla="*/ 1324024 w 1609516"/>
              <a:gd name="csY381" fmla="*/ 973660 h 1538630"/>
              <a:gd name="csX382" fmla="*/ 1329284 w 1609516"/>
              <a:gd name="csY382" fmla="*/ 983382 h 1538630"/>
              <a:gd name="csX383" fmla="*/ 1340414 w 1609516"/>
              <a:gd name="csY383" fmla="*/ 998354 h 1538630"/>
              <a:gd name="csX384" fmla="*/ 1346272 w 1609516"/>
              <a:gd name="csY384" fmla="*/ 1005048 h 1538630"/>
              <a:gd name="csX385" fmla="*/ 1394716 w 1609516"/>
              <a:gd name="csY385" fmla="*/ 1042740 h 1538630"/>
              <a:gd name="csX386" fmla="*/ 1401953 w 1609516"/>
              <a:gd name="csY386" fmla="*/ 1047374 h 1538630"/>
              <a:gd name="csX387" fmla="*/ 1427197 w 1609516"/>
              <a:gd name="csY387" fmla="*/ 1059061 h 1538630"/>
              <a:gd name="csX388" fmla="*/ 1437265 w 1609516"/>
              <a:gd name="csY388" fmla="*/ 1064588 h 1538630"/>
              <a:gd name="csX389" fmla="*/ 1437265 w 1609516"/>
              <a:gd name="csY389" fmla="*/ 1067406 h 1538630"/>
              <a:gd name="csX390" fmla="*/ 1440878 w 1609516"/>
              <a:gd name="csY390" fmla="*/ 1067847 h 1538630"/>
              <a:gd name="csX391" fmla="*/ 1447175 w 1609516"/>
              <a:gd name="csY391" fmla="*/ 1070753 h 1538630"/>
              <a:gd name="csX392" fmla="*/ 1457866 w 1609516"/>
              <a:gd name="csY392" fmla="*/ 1076830 h 1538630"/>
              <a:gd name="csX393" fmla="*/ 1462132 w 1609516"/>
              <a:gd name="csY393" fmla="*/ 1078696 h 1538630"/>
              <a:gd name="csX394" fmla="*/ 1465383 w 1609516"/>
              <a:gd name="csY394" fmla="*/ 1080089 h 1538630"/>
              <a:gd name="csX395" fmla="*/ 1465383 w 1609516"/>
              <a:gd name="csY395" fmla="*/ 1082908 h 1538630"/>
              <a:gd name="csX396" fmla="*/ 1468758 w 1609516"/>
              <a:gd name="csY396" fmla="*/ 1083975 h 1538630"/>
              <a:gd name="csX397" fmla="*/ 1481688 w 1609516"/>
              <a:gd name="csY397" fmla="*/ 1091187 h 1538630"/>
              <a:gd name="csX398" fmla="*/ 1486283 w 1609516"/>
              <a:gd name="csY398" fmla="*/ 1094236 h 1538630"/>
              <a:gd name="csX399" fmla="*/ 1494869 w 1609516"/>
              <a:gd name="csY399" fmla="*/ 1100171 h 1538630"/>
              <a:gd name="csX400" fmla="*/ 1544335 w 1609516"/>
              <a:gd name="csY400" fmla="*/ 1109518 h 1538630"/>
              <a:gd name="csX401" fmla="*/ 1593477 w 1609516"/>
              <a:gd name="csY401" fmla="*/ 1119900 h 1538630"/>
              <a:gd name="csX402" fmla="*/ 1605975 w 1609516"/>
              <a:gd name="csY402" fmla="*/ 1144913 h 1538630"/>
              <a:gd name="csX403" fmla="*/ 1609099 w 1609516"/>
              <a:gd name="csY403" fmla="*/ 1144913 h 1538630"/>
              <a:gd name="csX404" fmla="*/ 1609392 w 1609516"/>
              <a:gd name="csY404" fmla="*/ 1156892 h 1538630"/>
              <a:gd name="csX405" fmla="*/ 1609511 w 1609516"/>
              <a:gd name="csY405" fmla="*/ 1160272 h 1538630"/>
              <a:gd name="csX406" fmla="*/ 1604412 w 1609516"/>
              <a:gd name="csY406" fmla="*/ 1181553 h 1538630"/>
              <a:gd name="csX407" fmla="*/ 1601288 w 1609516"/>
              <a:gd name="csY407" fmla="*/ 1190009 h 1538630"/>
              <a:gd name="csX408" fmla="*/ 1598164 w 1609516"/>
              <a:gd name="csY408" fmla="*/ 1190009 h 1538630"/>
              <a:gd name="csX409" fmla="*/ 1597187 w 1609516"/>
              <a:gd name="csY409" fmla="*/ 1192739 h 1538630"/>
              <a:gd name="csX410" fmla="*/ 1595040 w 1609516"/>
              <a:gd name="csY410" fmla="*/ 1195645 h 1538630"/>
              <a:gd name="csX411" fmla="*/ 1585667 w 1609516"/>
              <a:gd name="csY411" fmla="*/ 1197055 h 1538630"/>
              <a:gd name="csX412" fmla="*/ 1582543 w 1609516"/>
              <a:gd name="csY412" fmla="*/ 1202691 h 1538630"/>
              <a:gd name="csX413" fmla="*/ 1562431 w 1609516"/>
              <a:gd name="csY413" fmla="*/ 1204365 h 1538630"/>
              <a:gd name="csX414" fmla="*/ 1558690 w 1609516"/>
              <a:gd name="csY414" fmla="*/ 1204417 h 1538630"/>
              <a:gd name="csX415" fmla="*/ 1521102 w 1609516"/>
              <a:gd name="csY415" fmla="*/ 1189585 h 1538630"/>
              <a:gd name="csX416" fmla="*/ 1505022 w 1609516"/>
              <a:gd name="csY416" fmla="*/ 1172041 h 1538630"/>
              <a:gd name="csX417" fmla="*/ 1457573 w 1609516"/>
              <a:gd name="csY417" fmla="*/ 1140686 h 1538630"/>
              <a:gd name="csX418" fmla="*/ 1457573 w 1609516"/>
              <a:gd name="csY418" fmla="*/ 1137867 h 1538630"/>
              <a:gd name="csX419" fmla="*/ 1452985 w 1609516"/>
              <a:gd name="csY419" fmla="*/ 1137339 h 1538630"/>
              <a:gd name="csX420" fmla="*/ 1448200 w 1609516"/>
              <a:gd name="csY420" fmla="*/ 1136458 h 1538630"/>
              <a:gd name="csX421" fmla="*/ 1446638 w 1609516"/>
              <a:gd name="csY421" fmla="*/ 1133640 h 1538630"/>
              <a:gd name="csX422" fmla="*/ 1438937 w 1609516"/>
              <a:gd name="csY422" fmla="*/ 1130601 h 1538630"/>
              <a:gd name="csX423" fmla="*/ 1429260 w 1609516"/>
              <a:gd name="csY423" fmla="*/ 1126770 h 1538630"/>
              <a:gd name="csX424" fmla="*/ 1411393 w 1609516"/>
              <a:gd name="csY424" fmla="*/ 1120340 h 1538630"/>
              <a:gd name="csX425" fmla="*/ 1391427 w 1609516"/>
              <a:gd name="csY425" fmla="*/ 1111191 h 1538630"/>
              <a:gd name="csX426" fmla="*/ 1381029 w 1609516"/>
              <a:gd name="csY426" fmla="*/ 1106865 h 1538630"/>
              <a:gd name="csX427" fmla="*/ 1381029 w 1609516"/>
              <a:gd name="csY427" fmla="*/ 1104046 h 1538630"/>
              <a:gd name="csX428" fmla="*/ 1377221 w 1609516"/>
              <a:gd name="csY428" fmla="*/ 1103605 h 1538630"/>
              <a:gd name="csX429" fmla="*/ 1357597 w 1609516"/>
              <a:gd name="csY429" fmla="*/ 1098409 h 1538630"/>
              <a:gd name="csX430" fmla="*/ 1352032 w 1609516"/>
              <a:gd name="csY430" fmla="*/ 1096736 h 1538630"/>
              <a:gd name="csX431" fmla="*/ 1348225 w 1609516"/>
              <a:gd name="csY431" fmla="*/ 1095590 h 1538630"/>
              <a:gd name="csX432" fmla="*/ 1348225 w 1609516"/>
              <a:gd name="csY432" fmla="*/ 1092772 h 1538630"/>
              <a:gd name="csX433" fmla="*/ 1337290 w 1609516"/>
              <a:gd name="csY433" fmla="*/ 1091363 h 1538630"/>
              <a:gd name="csX434" fmla="*/ 1337290 w 1609516"/>
              <a:gd name="csY434" fmla="*/ 1088544 h 1538630"/>
              <a:gd name="csX435" fmla="*/ 1331529 w 1609516"/>
              <a:gd name="csY435" fmla="*/ 1088104 h 1538630"/>
              <a:gd name="csX436" fmla="*/ 1323297 w 1609516"/>
              <a:gd name="csY436" fmla="*/ 1086611 h 1538630"/>
              <a:gd name="csX437" fmla="*/ 1323297 w 1609516"/>
              <a:gd name="csY437" fmla="*/ 1087618 h 1538630"/>
              <a:gd name="csX438" fmla="*/ 1319789 w 1609516"/>
              <a:gd name="csY438" fmla="*/ 1087310 h 1538630"/>
              <a:gd name="csX439" fmla="*/ 1262375 w 1609516"/>
              <a:gd name="csY439" fmla="*/ 1089028 h 1538630"/>
              <a:gd name="csX440" fmla="*/ 1258728 w 1609516"/>
              <a:gd name="csY440" fmla="*/ 1088205 h 1538630"/>
              <a:gd name="csX441" fmla="*/ 1246964 w 1609516"/>
              <a:gd name="csY441" fmla="*/ 1091489 h 1538630"/>
              <a:gd name="csX442" fmla="*/ 1223224 w 1609516"/>
              <a:gd name="csY442" fmla="*/ 1112865 h 1538630"/>
              <a:gd name="csX443" fmla="*/ 1213883 w 1609516"/>
              <a:gd name="csY443" fmla="*/ 1122366 h 1538630"/>
              <a:gd name="csX444" fmla="*/ 1212505 w 1609516"/>
              <a:gd name="csY444" fmla="*/ 1125708 h 1538630"/>
              <a:gd name="csX445" fmla="*/ 1204180 w 1609516"/>
              <a:gd name="csY445" fmla="*/ 1135561 h 1538630"/>
              <a:gd name="csX446" fmla="*/ 1200238 w 1609516"/>
              <a:gd name="csY446" fmla="*/ 1138999 h 1538630"/>
              <a:gd name="csX447" fmla="*/ 1192025 w 1609516"/>
              <a:gd name="csY447" fmla="*/ 1146022 h 1538630"/>
              <a:gd name="csX448" fmla="*/ 1173945 w 1609516"/>
              <a:gd name="csY448" fmla="*/ 1174749 h 1538630"/>
              <a:gd name="csX449" fmla="*/ 1173950 w 1609516"/>
              <a:gd name="csY449" fmla="*/ 1182610 h 1538630"/>
              <a:gd name="csX450" fmla="*/ 1173989 w 1609516"/>
              <a:gd name="csY450" fmla="*/ 1186765 h 1538630"/>
              <a:gd name="csX451" fmla="*/ 1182640 w 1609516"/>
              <a:gd name="csY451" fmla="*/ 1215374 h 1538630"/>
              <a:gd name="csX452" fmla="*/ 1185764 w 1609516"/>
              <a:gd name="csY452" fmla="*/ 1221804 h 1538630"/>
              <a:gd name="csX453" fmla="*/ 1187301 w 1609516"/>
              <a:gd name="csY453" fmla="*/ 1224859 h 1538630"/>
              <a:gd name="csX454" fmla="*/ 1190573 w 1609516"/>
              <a:gd name="csY454" fmla="*/ 1231740 h 1538630"/>
              <a:gd name="csX455" fmla="*/ 1205925 w 1609516"/>
              <a:gd name="csY455" fmla="*/ 1255163 h 1538630"/>
              <a:gd name="csX456" fmla="*/ 1212174 w 1609516"/>
              <a:gd name="csY456" fmla="*/ 1263134 h 1538630"/>
              <a:gd name="csX457" fmla="*/ 1235556 w 1609516"/>
              <a:gd name="csY457" fmla="*/ 1282538 h 1538630"/>
              <a:gd name="csX458" fmla="*/ 1238876 w 1609516"/>
              <a:gd name="csY458" fmla="*/ 1284426 h 1538630"/>
              <a:gd name="csX459" fmla="*/ 1238876 w 1609516"/>
              <a:gd name="csY459" fmla="*/ 1287245 h 1538630"/>
              <a:gd name="csX460" fmla="*/ 1242245 w 1609516"/>
              <a:gd name="csY460" fmla="*/ 1287663 h 1538630"/>
              <a:gd name="csX461" fmla="*/ 1271681 w 1609516"/>
              <a:gd name="csY461" fmla="*/ 1305565 h 1538630"/>
              <a:gd name="csX462" fmla="*/ 1271742 w 1609516"/>
              <a:gd name="csY462" fmla="*/ 1306172 h 1538630"/>
              <a:gd name="csX463" fmla="*/ 1278525 w 1609516"/>
              <a:gd name="csY463" fmla="*/ 1315767 h 1538630"/>
              <a:gd name="csX464" fmla="*/ 1281097 w 1609516"/>
              <a:gd name="csY464" fmla="*/ 1327286 h 1538630"/>
              <a:gd name="csX465" fmla="*/ 1277973 w 1609516"/>
              <a:gd name="csY465" fmla="*/ 1355470 h 1538630"/>
              <a:gd name="csX466" fmla="*/ 1277460 w 1609516"/>
              <a:gd name="csY466" fmla="*/ 1347025 h 1538630"/>
              <a:gd name="csX467" fmla="*/ 1273531 w 1609516"/>
              <a:gd name="csY467" fmla="*/ 1357991 h 1538630"/>
              <a:gd name="csX468" fmla="*/ 1263870 w 1609516"/>
              <a:gd name="csY468" fmla="*/ 1368980 h 1538630"/>
              <a:gd name="csX469" fmla="*/ 1246686 w 1609516"/>
              <a:gd name="csY469" fmla="*/ 1376026 h 1538630"/>
              <a:gd name="csX470" fmla="*/ 1246686 w 1609516"/>
              <a:gd name="csY470" fmla="*/ 1378844 h 1538630"/>
              <a:gd name="csX471" fmla="*/ 1231651 w 1609516"/>
              <a:gd name="csY471" fmla="*/ 1379196 h 1538630"/>
              <a:gd name="csX472" fmla="*/ 1227373 w 1609516"/>
              <a:gd name="csY472" fmla="*/ 1379340 h 1538630"/>
              <a:gd name="csX473" fmla="*/ 1206071 w 1609516"/>
              <a:gd name="csY473" fmla="*/ 1373207 h 1538630"/>
              <a:gd name="csX474" fmla="*/ 1202069 w 1609516"/>
              <a:gd name="csY474" fmla="*/ 1371798 h 1538630"/>
              <a:gd name="csX475" fmla="*/ 1184104 w 1609516"/>
              <a:gd name="csY475" fmla="*/ 1356176 h 1538630"/>
              <a:gd name="csX476" fmla="*/ 1177270 w 1609516"/>
              <a:gd name="csY476" fmla="*/ 1335247 h 1538630"/>
              <a:gd name="csX477" fmla="*/ 1169002 w 1609516"/>
              <a:gd name="csY477" fmla="*/ 1313464 h 1538630"/>
              <a:gd name="csX478" fmla="*/ 1163504 w 1609516"/>
              <a:gd name="csY478" fmla="*/ 1302130 h 1538630"/>
              <a:gd name="csX479" fmla="*/ 1162015 w 1609516"/>
              <a:gd name="csY479" fmla="*/ 1298788 h 1538630"/>
              <a:gd name="csX480" fmla="*/ 1160111 w 1609516"/>
              <a:gd name="csY480" fmla="*/ 1292656 h 1538630"/>
              <a:gd name="csX481" fmla="*/ 1154522 w 1609516"/>
              <a:gd name="csY481" fmla="*/ 1287245 h 1538630"/>
              <a:gd name="csX482" fmla="*/ 1151398 w 1609516"/>
              <a:gd name="csY482" fmla="*/ 1280199 h 1538630"/>
              <a:gd name="csX483" fmla="*/ 1144173 w 1609516"/>
              <a:gd name="csY483" fmla="*/ 1270774 h 1538630"/>
              <a:gd name="csX484" fmla="*/ 1142065 w 1609516"/>
              <a:gd name="csY484" fmla="*/ 1268160 h 1538630"/>
              <a:gd name="csX485" fmla="*/ 1135776 w 1609516"/>
              <a:gd name="csY485" fmla="*/ 1260470 h 1538630"/>
              <a:gd name="csX486" fmla="*/ 1132353 w 1609516"/>
              <a:gd name="csY486" fmla="*/ 1256247 h 1538630"/>
              <a:gd name="csX487" fmla="*/ 1112344 w 1609516"/>
              <a:gd name="csY487" fmla="*/ 1240741 h 1538630"/>
              <a:gd name="csX488" fmla="*/ 1106193 w 1609516"/>
              <a:gd name="csY488" fmla="*/ 1237570 h 1538630"/>
              <a:gd name="csX489" fmla="*/ 1101409 w 1609516"/>
              <a:gd name="csY489" fmla="*/ 1235104 h 1538630"/>
              <a:gd name="csX490" fmla="*/ 1101409 w 1609516"/>
              <a:gd name="csY490" fmla="*/ 1230876 h 1538630"/>
              <a:gd name="csX491" fmla="*/ 1065480 w 1609516"/>
              <a:gd name="csY491" fmla="*/ 1230876 h 1538630"/>
              <a:gd name="csX492" fmla="*/ 1063919 w 1609516"/>
              <a:gd name="csY492" fmla="*/ 1235104 h 1538630"/>
              <a:gd name="csX493" fmla="*/ 1059232 w 1609516"/>
              <a:gd name="csY493" fmla="*/ 1235104 h 1538630"/>
              <a:gd name="csX494" fmla="*/ 1059232 w 1609516"/>
              <a:gd name="csY494" fmla="*/ 1237922 h 1538630"/>
              <a:gd name="csX495" fmla="*/ 1040194 w 1609516"/>
              <a:gd name="csY495" fmla="*/ 1245761 h 1538630"/>
              <a:gd name="csX496" fmla="*/ 1030333 w 1609516"/>
              <a:gd name="csY496" fmla="*/ 1249901 h 1538630"/>
              <a:gd name="csX497" fmla="*/ 1013931 w 1609516"/>
              <a:gd name="csY497" fmla="*/ 1256242 h 1538630"/>
              <a:gd name="csX498" fmla="*/ 1005925 w 1609516"/>
              <a:gd name="csY498" fmla="*/ 1261615 h 1538630"/>
              <a:gd name="csX499" fmla="*/ 1004558 w 1609516"/>
              <a:gd name="csY499" fmla="*/ 1264697 h 1538630"/>
              <a:gd name="csX500" fmla="*/ 1002959 w 1609516"/>
              <a:gd name="csY500" fmla="*/ 1267961 h 1538630"/>
              <a:gd name="csX501" fmla="*/ 1000653 w 1609516"/>
              <a:gd name="csY501" fmla="*/ 1278965 h 1538630"/>
              <a:gd name="csX502" fmla="*/ 998297 w 1609516"/>
              <a:gd name="csY502" fmla="*/ 1294137 h 1538630"/>
              <a:gd name="csX503" fmla="*/ 996162 w 1609516"/>
              <a:gd name="csY503" fmla="*/ 1324765 h 1538630"/>
              <a:gd name="csX504" fmla="*/ 996164 w 1609516"/>
              <a:gd name="csY504" fmla="*/ 1327846 h 1538630"/>
              <a:gd name="csX505" fmla="*/ 1007780 w 1609516"/>
              <a:gd name="csY505" fmla="*/ 1403329 h 1538630"/>
              <a:gd name="csX506" fmla="*/ 1008940 w 1609516"/>
              <a:gd name="csY506" fmla="*/ 1407701 h 1538630"/>
              <a:gd name="csX507" fmla="*/ 1010080 w 1609516"/>
              <a:gd name="csY507" fmla="*/ 1411730 h 1538630"/>
              <a:gd name="csX508" fmla="*/ 1011075 w 1609516"/>
              <a:gd name="csY508" fmla="*/ 1415277 h 1538630"/>
              <a:gd name="csX509" fmla="*/ 1017055 w 1609516"/>
              <a:gd name="csY509" fmla="*/ 1422530 h 1538630"/>
              <a:gd name="csX510" fmla="*/ 1020277 w 1609516"/>
              <a:gd name="csY510" fmla="*/ 1427991 h 1538630"/>
              <a:gd name="csX511" fmla="*/ 1021796 w 1609516"/>
              <a:gd name="csY511" fmla="*/ 1430798 h 1538630"/>
              <a:gd name="csX512" fmla="*/ 1024579 w 1609516"/>
              <a:gd name="csY512" fmla="*/ 1437239 h 1538630"/>
              <a:gd name="csX513" fmla="*/ 1034043 w 1609516"/>
              <a:gd name="csY513" fmla="*/ 1448072 h 1538630"/>
              <a:gd name="csX514" fmla="*/ 1043782 w 1609516"/>
              <a:gd name="csY514" fmla="*/ 1464320 h 1538630"/>
              <a:gd name="csX515" fmla="*/ 1050458 w 1609516"/>
              <a:gd name="csY515" fmla="*/ 1472189 h 1538630"/>
              <a:gd name="csX516" fmla="*/ 1052926 w 1609516"/>
              <a:gd name="csY516" fmla="*/ 1482370 h 1538630"/>
              <a:gd name="csX517" fmla="*/ 1053316 w 1609516"/>
              <a:gd name="csY517" fmla="*/ 1496903 h 1538630"/>
              <a:gd name="csX518" fmla="*/ 1053352 w 1609516"/>
              <a:gd name="csY518" fmla="*/ 1500660 h 1538630"/>
              <a:gd name="csX519" fmla="*/ 1053341 w 1609516"/>
              <a:gd name="csY519" fmla="*/ 1504285 h 1538630"/>
              <a:gd name="csX520" fmla="*/ 1053329 w 1609516"/>
              <a:gd name="csY520" fmla="*/ 1507529 h 1538630"/>
              <a:gd name="csX521" fmla="*/ 1049801 w 1609516"/>
              <a:gd name="csY521" fmla="*/ 1516192 h 1538630"/>
              <a:gd name="csX522" fmla="*/ 1047312 w 1609516"/>
              <a:gd name="csY522" fmla="*/ 1516192 h 1538630"/>
              <a:gd name="csX523" fmla="*/ 1043611 w 1609516"/>
              <a:gd name="csY523" fmla="*/ 1522585 h 1538630"/>
              <a:gd name="csX524" fmla="*/ 1029552 w 1609516"/>
              <a:gd name="csY524" fmla="*/ 1529631 h 1538630"/>
              <a:gd name="csX525" fmla="*/ 1028771 w 1609516"/>
              <a:gd name="csY525" fmla="*/ 1532273 h 1538630"/>
              <a:gd name="csX526" fmla="*/ 1018013 w 1609516"/>
              <a:gd name="csY526" fmla="*/ 1537640 h 1538630"/>
              <a:gd name="csX527" fmla="*/ 981126 w 1609516"/>
              <a:gd name="csY527" fmla="*/ 1533859 h 1538630"/>
              <a:gd name="csX528" fmla="*/ 977227 w 1609516"/>
              <a:gd name="csY528" fmla="*/ 1531943 h 1538630"/>
              <a:gd name="csX529" fmla="*/ 955376 w 1609516"/>
              <a:gd name="csY529" fmla="*/ 1508751 h 1538630"/>
              <a:gd name="csX530" fmla="*/ 954571 w 1609516"/>
              <a:gd name="csY530" fmla="*/ 1500037 h 1538630"/>
              <a:gd name="csX531" fmla="*/ 951446 w 1609516"/>
              <a:gd name="csY531" fmla="*/ 1500037 h 1538630"/>
              <a:gd name="csX532" fmla="*/ 951251 w 1609516"/>
              <a:gd name="csY532" fmla="*/ 1487883 h 1538630"/>
              <a:gd name="csX533" fmla="*/ 951171 w 1609516"/>
              <a:gd name="csY533" fmla="*/ 1484431 h 1538630"/>
              <a:gd name="csX534" fmla="*/ 954571 w 1609516"/>
              <a:gd name="csY534" fmla="*/ 1466216 h 1538630"/>
              <a:gd name="csX535" fmla="*/ 954961 w 1609516"/>
              <a:gd name="csY535" fmla="*/ 1455118 h 1538630"/>
              <a:gd name="csX536" fmla="*/ 954932 w 1609516"/>
              <a:gd name="csY536" fmla="*/ 1451972 h 1538630"/>
              <a:gd name="csX537" fmla="*/ 945099 w 1609516"/>
              <a:gd name="csY537" fmla="*/ 1403594 h 1538630"/>
              <a:gd name="csX538" fmla="*/ 942366 w 1609516"/>
              <a:gd name="csY538" fmla="*/ 1393553 h 1538630"/>
              <a:gd name="csX539" fmla="*/ 934451 w 1609516"/>
              <a:gd name="csY539" fmla="*/ 1372734 h 1538630"/>
              <a:gd name="csX540" fmla="*/ 931974 w 1609516"/>
              <a:gd name="csY540" fmla="*/ 1365754 h 1538630"/>
              <a:gd name="csX541" fmla="*/ 931138 w 1609516"/>
              <a:gd name="csY541" fmla="*/ 1363343 h 1538630"/>
              <a:gd name="csX542" fmla="*/ 926452 w 1609516"/>
              <a:gd name="csY542" fmla="*/ 1361933 h 1538630"/>
              <a:gd name="csX543" fmla="*/ 918641 w 1609516"/>
              <a:gd name="csY543" fmla="*/ 1340795 h 1538630"/>
              <a:gd name="csX544" fmla="*/ 917079 w 1609516"/>
              <a:gd name="csY544" fmla="*/ 1335158 h 1538630"/>
              <a:gd name="csX545" fmla="*/ 913955 w 1609516"/>
              <a:gd name="csY545" fmla="*/ 1335158 h 1538630"/>
              <a:gd name="csX546" fmla="*/ 912057 w 1609516"/>
              <a:gd name="csY546" fmla="*/ 1330793 h 1538630"/>
              <a:gd name="csX547" fmla="*/ 902142 w 1609516"/>
              <a:gd name="csY547" fmla="*/ 1316222 h 1538630"/>
              <a:gd name="csX548" fmla="*/ 900091 w 1609516"/>
              <a:gd name="csY548" fmla="*/ 1313828 h 1538630"/>
              <a:gd name="csX549" fmla="*/ 878026 w 1609516"/>
              <a:gd name="csY549" fmla="*/ 1295700 h 1538630"/>
              <a:gd name="csX550" fmla="*/ 875134 w 1609516"/>
              <a:gd name="csY550" fmla="*/ 1293465 h 1538630"/>
              <a:gd name="csX551" fmla="*/ 869869 w 1609516"/>
              <a:gd name="csY551" fmla="*/ 1291826 h 1538630"/>
              <a:gd name="csX552" fmla="*/ 862384 w 1609516"/>
              <a:gd name="csY552" fmla="*/ 1291327 h 1538630"/>
              <a:gd name="csX553" fmla="*/ 844390 w 1609516"/>
              <a:gd name="csY553" fmla="*/ 1290461 h 1538630"/>
              <a:gd name="csX554" fmla="*/ 840476 w 1609516"/>
              <a:gd name="csY554" fmla="*/ 1290500 h 1538630"/>
              <a:gd name="csX555" fmla="*/ 831015 w 1609516"/>
              <a:gd name="csY555" fmla="*/ 1290637 h 1538630"/>
              <a:gd name="csX556" fmla="*/ 831015 w 1609516"/>
              <a:gd name="csY556" fmla="*/ 1293456 h 1538630"/>
              <a:gd name="csX557" fmla="*/ 818225 w 1609516"/>
              <a:gd name="csY557" fmla="*/ 1295570 h 1538630"/>
              <a:gd name="csX558" fmla="*/ 796774 w 1609516"/>
              <a:gd name="csY558" fmla="*/ 1297671 h 1538630"/>
              <a:gd name="csX559" fmla="*/ 783646 w 1609516"/>
              <a:gd name="csY559" fmla="*/ 1305736 h 1538630"/>
              <a:gd name="csX560" fmla="*/ 769263 w 1609516"/>
              <a:gd name="csY560" fmla="*/ 1327143 h 1538630"/>
              <a:gd name="csX561" fmla="*/ 764797 w 1609516"/>
              <a:gd name="csY561" fmla="*/ 1334360 h 1538630"/>
              <a:gd name="csX562" fmla="*/ 757875 w 1609516"/>
              <a:gd name="csY562" fmla="*/ 1353503 h 1538630"/>
              <a:gd name="csX563" fmla="*/ 755676 w 1609516"/>
              <a:gd name="csY563" fmla="*/ 1367455 h 1538630"/>
              <a:gd name="csX564" fmla="*/ 750558 w 1609516"/>
              <a:gd name="csY564" fmla="*/ 1399690 h 1538630"/>
              <a:gd name="csX565" fmla="*/ 753057 w 1609516"/>
              <a:gd name="csY565" fmla="*/ 1411256 h 1538630"/>
              <a:gd name="csX566" fmla="*/ 753057 w 1609516"/>
              <a:gd name="csY566" fmla="*/ 1416893 h 1538630"/>
              <a:gd name="csX567" fmla="*/ 756181 w 1609516"/>
              <a:gd name="csY567" fmla="*/ 1416893 h 1538630"/>
              <a:gd name="csX568" fmla="*/ 758133 w 1609516"/>
              <a:gd name="csY568" fmla="*/ 1436182 h 1538630"/>
              <a:gd name="csX569" fmla="*/ 758231 w 1609516"/>
              <a:gd name="csY569" fmla="*/ 1440781 h 1538630"/>
              <a:gd name="csX570" fmla="*/ 750713 w 1609516"/>
              <a:gd name="csY570" fmla="*/ 1465704 h 1538630"/>
              <a:gd name="csX571" fmla="*/ 748370 w 1609516"/>
              <a:gd name="csY571" fmla="*/ 1467185 h 1538630"/>
              <a:gd name="csX572" fmla="*/ 741633 w 1609516"/>
              <a:gd name="csY572" fmla="*/ 1473526 h 1538630"/>
              <a:gd name="csX573" fmla="*/ 728154 w 1609516"/>
              <a:gd name="csY573" fmla="*/ 1478343 h 1538630"/>
              <a:gd name="csX574" fmla="*/ 721814 w 1609516"/>
              <a:gd name="csY574" fmla="*/ 1480308 h 1538630"/>
              <a:gd name="csX575" fmla="*/ 708341 w 1609516"/>
              <a:gd name="csY575" fmla="*/ 1480661 h 1538630"/>
              <a:gd name="csX576" fmla="*/ 704637 w 1609516"/>
              <a:gd name="csY576" fmla="*/ 1480748 h 1538630"/>
              <a:gd name="csX577" fmla="*/ 668507 w 1609516"/>
              <a:gd name="csY577" fmla="*/ 1468418 h 1538630"/>
              <a:gd name="csX578" fmla="*/ 660178 w 1609516"/>
              <a:gd name="csY578" fmla="*/ 1450027 h 1538630"/>
              <a:gd name="csX579" fmla="*/ 657767 w 1609516"/>
              <a:gd name="csY579" fmla="*/ 1445078 h 1538630"/>
              <a:gd name="csX580" fmla="*/ 663369 w 1609516"/>
              <a:gd name="csY580" fmla="*/ 1409390 h 1538630"/>
              <a:gd name="csX581" fmla="*/ 671826 w 1609516"/>
              <a:gd name="csY581" fmla="*/ 1401392 h 1538630"/>
              <a:gd name="csX582" fmla="*/ 678075 w 1609516"/>
              <a:gd name="csY582" fmla="*/ 1390118 h 1538630"/>
              <a:gd name="csX583" fmla="*/ 684323 w 1609516"/>
              <a:gd name="csY583" fmla="*/ 1388709 h 1538630"/>
              <a:gd name="csX584" fmla="*/ 685293 w 1609516"/>
              <a:gd name="csY584" fmla="*/ 1384233 h 1538630"/>
              <a:gd name="csX585" fmla="*/ 686569 w 1609516"/>
              <a:gd name="csY585" fmla="*/ 1378404 h 1538630"/>
              <a:gd name="csX586" fmla="*/ 687207 w 1609516"/>
              <a:gd name="csY586" fmla="*/ 1375456 h 1538630"/>
              <a:gd name="csX587" fmla="*/ 690572 w 1609516"/>
              <a:gd name="csY587" fmla="*/ 1363343 h 1538630"/>
              <a:gd name="csX588" fmla="*/ 692495 w 1609516"/>
              <a:gd name="csY588" fmla="*/ 1323376 h 1538630"/>
              <a:gd name="csX589" fmla="*/ 692625 w 1609516"/>
              <a:gd name="csY589" fmla="*/ 1315006 h 1538630"/>
              <a:gd name="csX590" fmla="*/ 687447 w 1609516"/>
              <a:gd name="csY590" fmla="*/ 1287245 h 1538630"/>
              <a:gd name="csX591" fmla="*/ 682761 w 1609516"/>
              <a:gd name="csY591" fmla="*/ 1285835 h 1538630"/>
              <a:gd name="csX592" fmla="*/ 678954 w 1609516"/>
              <a:gd name="csY592" fmla="*/ 1281608 h 1538630"/>
              <a:gd name="csX593" fmla="*/ 668702 w 1609516"/>
              <a:gd name="csY593" fmla="*/ 1275971 h 1538630"/>
              <a:gd name="csX594" fmla="*/ 662454 w 1609516"/>
              <a:gd name="csY594" fmla="*/ 1270334 h 1538630"/>
              <a:gd name="csX595" fmla="*/ 654643 w 1609516"/>
              <a:gd name="csY595" fmla="*/ 1267516 h 1538630"/>
              <a:gd name="csX596" fmla="*/ 654643 w 1609516"/>
              <a:gd name="csY596" fmla="*/ 1264697 h 1538630"/>
              <a:gd name="csX597" fmla="*/ 650152 w 1609516"/>
              <a:gd name="csY597" fmla="*/ 1264345 h 1538630"/>
              <a:gd name="csX598" fmla="*/ 628087 w 1609516"/>
              <a:gd name="csY598" fmla="*/ 1257651 h 1538630"/>
              <a:gd name="csX599" fmla="*/ 628087 w 1609516"/>
              <a:gd name="csY599" fmla="*/ 1254833 h 1538630"/>
              <a:gd name="csX600" fmla="*/ 625121 w 1609516"/>
              <a:gd name="csY600" fmla="*/ 1254315 h 1538630"/>
              <a:gd name="csX601" fmla="*/ 621252 w 1609516"/>
              <a:gd name="csY601" fmla="*/ 1253600 h 1538630"/>
              <a:gd name="csX602" fmla="*/ 617409 w 1609516"/>
              <a:gd name="csY602" fmla="*/ 1252906 h 1538630"/>
              <a:gd name="csX603" fmla="*/ 610904 w 1609516"/>
              <a:gd name="csY603" fmla="*/ 1249196 h 1538630"/>
              <a:gd name="csX604" fmla="*/ 565739 w 1609516"/>
              <a:gd name="csY604" fmla="*/ 1271742 h 1538630"/>
              <a:gd name="csX605" fmla="*/ 546924 w 1609516"/>
              <a:gd name="csY605" fmla="*/ 1290829 h 1538630"/>
              <a:gd name="csX606" fmla="*/ 543635 w 1609516"/>
              <a:gd name="csY606" fmla="*/ 1294643 h 1538630"/>
              <a:gd name="csX607" fmla="*/ 540651 w 1609516"/>
              <a:gd name="csY607" fmla="*/ 1298188 h 1538630"/>
              <a:gd name="csX608" fmla="*/ 529673 w 1609516"/>
              <a:gd name="csY608" fmla="*/ 1305565 h 1538630"/>
              <a:gd name="csX609" fmla="*/ 526549 w 1609516"/>
              <a:gd name="csY609" fmla="*/ 1311202 h 1538630"/>
              <a:gd name="csX610" fmla="*/ 523425 w 1609516"/>
              <a:gd name="csY610" fmla="*/ 1311202 h 1538630"/>
              <a:gd name="csX611" fmla="*/ 523230 w 1609516"/>
              <a:gd name="csY611" fmla="*/ 1313580 h 1538630"/>
              <a:gd name="csX612" fmla="*/ 517732 w 1609516"/>
              <a:gd name="csY612" fmla="*/ 1319739 h 1538630"/>
              <a:gd name="csX613" fmla="*/ 502239 w 1609516"/>
              <a:gd name="csY613" fmla="*/ 1337096 h 1538630"/>
              <a:gd name="csX614" fmla="*/ 497058 w 1609516"/>
              <a:gd name="csY614" fmla="*/ 1344087 h 1538630"/>
              <a:gd name="csX615" fmla="*/ 494572 w 1609516"/>
              <a:gd name="csY615" fmla="*/ 1347465 h 1538630"/>
              <a:gd name="csX616" fmla="*/ 487776 w 1609516"/>
              <a:gd name="csY616" fmla="*/ 1356181 h 1538630"/>
              <a:gd name="csX617" fmla="*/ 481248 w 1609516"/>
              <a:gd name="csY617" fmla="*/ 1367571 h 1538630"/>
              <a:gd name="csX618" fmla="*/ 478123 w 1609516"/>
              <a:gd name="csY618" fmla="*/ 1367571 h 1538630"/>
              <a:gd name="csX619" fmla="*/ 477635 w 1609516"/>
              <a:gd name="csY619" fmla="*/ 1370565 h 1538630"/>
              <a:gd name="csX620" fmla="*/ 465626 w 1609516"/>
              <a:gd name="csY620" fmla="*/ 1388709 h 1538630"/>
              <a:gd name="csX621" fmla="*/ 461233 w 1609516"/>
              <a:gd name="csY621" fmla="*/ 1397340 h 1538630"/>
              <a:gd name="csX622" fmla="*/ 455765 w 1609516"/>
              <a:gd name="csY622" fmla="*/ 1408086 h 1538630"/>
              <a:gd name="csX623" fmla="*/ 439070 w 1609516"/>
              <a:gd name="csY623" fmla="*/ 1477490 h 1538630"/>
              <a:gd name="csX624" fmla="*/ 434384 w 1609516"/>
              <a:gd name="csY624" fmla="*/ 1478899 h 1538630"/>
              <a:gd name="csX625" fmla="*/ 432431 w 1609516"/>
              <a:gd name="csY625" fmla="*/ 1481982 h 1538630"/>
              <a:gd name="csX626" fmla="*/ 418763 w 1609516"/>
              <a:gd name="csY626" fmla="*/ 1494401 h 1538630"/>
              <a:gd name="csX627" fmla="*/ 415639 w 1609516"/>
              <a:gd name="csY627" fmla="*/ 1494401 h 1538630"/>
              <a:gd name="csX628" fmla="*/ 415639 w 1609516"/>
              <a:gd name="csY628" fmla="*/ 1497219 h 1538630"/>
              <a:gd name="csX629" fmla="*/ 406265 w 1609516"/>
              <a:gd name="csY629" fmla="*/ 1498628 h 1538630"/>
              <a:gd name="csX630" fmla="*/ 406265 w 1609516"/>
              <a:gd name="csY630" fmla="*/ 1501447 h 1538630"/>
              <a:gd name="csX631" fmla="*/ 375023 w 1609516"/>
              <a:gd name="csY631" fmla="*/ 1501447 h 1538630"/>
              <a:gd name="csX632" fmla="*/ 375023 w 1609516"/>
              <a:gd name="csY632" fmla="*/ 1499438 h 1538630"/>
              <a:gd name="csX633" fmla="*/ 374964 w 1609516"/>
              <a:gd name="csY633" fmla="*/ 1499436 h 1538630"/>
              <a:gd name="csX634" fmla="*/ 373179 w 1609516"/>
              <a:gd name="csY634" fmla="*/ 1498628 h 1538630"/>
              <a:gd name="csX635" fmla="*/ 365650 w 1609516"/>
              <a:gd name="csY635" fmla="*/ 1498628 h 1538630"/>
              <a:gd name="csX636" fmla="*/ 363134 w 1609516"/>
              <a:gd name="csY636" fmla="*/ 1494087 h 1538630"/>
              <a:gd name="csX637" fmla="*/ 362171 w 1609516"/>
              <a:gd name="csY637" fmla="*/ 1493651 h 1538630"/>
              <a:gd name="csX638" fmla="*/ 360609 w 1609516"/>
              <a:gd name="csY638" fmla="*/ 1490833 h 1538630"/>
              <a:gd name="csX639" fmla="*/ 363733 w 1609516"/>
              <a:gd name="csY639" fmla="*/ 1490833 h 1538630"/>
              <a:gd name="csX640" fmla="*/ 363733 w 1609516"/>
              <a:gd name="csY640" fmla="*/ 1489980 h 1538630"/>
              <a:gd name="csX641" fmla="*/ 348467 w 1609516"/>
              <a:gd name="csY641" fmla="*/ 1481717 h 1538630"/>
              <a:gd name="csX642" fmla="*/ 343872 w 1609516"/>
              <a:gd name="csY642" fmla="*/ 1461078 h 1538630"/>
              <a:gd name="csX643" fmla="*/ 343656 w 1609516"/>
              <a:gd name="csY643" fmla="*/ 1463649 h 1538630"/>
              <a:gd name="csX644" fmla="*/ 343424 w 1609516"/>
              <a:gd name="csY644" fmla="*/ 1466842 h 1538630"/>
              <a:gd name="csX645" fmla="*/ 341861 w 1609516"/>
              <a:gd name="csY645" fmla="*/ 1466842 h 1538630"/>
              <a:gd name="csX646" fmla="*/ 354143 w 1609516"/>
              <a:gd name="csY646" fmla="*/ 1420549 h 1538630"/>
              <a:gd name="csX647" fmla="*/ 376229 w 1609516"/>
              <a:gd name="csY647" fmla="*/ 1403427 h 1538630"/>
              <a:gd name="csX648" fmla="*/ 379491 w 1609516"/>
              <a:gd name="csY648" fmla="*/ 1404408 h 1538630"/>
              <a:gd name="csX649" fmla="*/ 379710 w 1609516"/>
              <a:gd name="csY649" fmla="*/ 1404210 h 1538630"/>
              <a:gd name="csX650" fmla="*/ 380882 w 1609516"/>
              <a:gd name="csY650" fmla="*/ 1401568 h 1538630"/>
              <a:gd name="csX651" fmla="*/ 392207 w 1609516"/>
              <a:gd name="csY651" fmla="*/ 1392936 h 1538630"/>
              <a:gd name="csX652" fmla="*/ 399542 w 1609516"/>
              <a:gd name="csY652" fmla="*/ 1386774 h 1538630"/>
              <a:gd name="csX653" fmla="*/ 405485 w 1609516"/>
              <a:gd name="csY653" fmla="*/ 1378917 h 1538630"/>
              <a:gd name="csX654" fmla="*/ 412008 w 1609516"/>
              <a:gd name="csY654" fmla="*/ 1369481 h 1538630"/>
              <a:gd name="csX655" fmla="*/ 421130 w 1609516"/>
              <a:gd name="csY655" fmla="*/ 1357057 h 1538630"/>
              <a:gd name="csX656" fmla="*/ 424676 w 1609516"/>
              <a:gd name="csY656" fmla="*/ 1348443 h 1538630"/>
              <a:gd name="csX657" fmla="*/ 427275 w 1609516"/>
              <a:gd name="csY657" fmla="*/ 1348443 h 1538630"/>
              <a:gd name="csX658" fmla="*/ 428135 w 1609516"/>
              <a:gd name="csY658" fmla="*/ 1345727 h 1538630"/>
              <a:gd name="csX659" fmla="*/ 432822 w 1609516"/>
              <a:gd name="csY659" fmla="*/ 1335158 h 1538630"/>
              <a:gd name="csX660" fmla="*/ 435946 w 1609516"/>
              <a:gd name="csY660" fmla="*/ 1335158 h 1538630"/>
              <a:gd name="csX661" fmla="*/ 437704 w 1609516"/>
              <a:gd name="csY661" fmla="*/ 1329786 h 1538630"/>
              <a:gd name="csX662" fmla="*/ 447394 w 1609516"/>
              <a:gd name="csY662" fmla="*/ 1311196 h 1538630"/>
              <a:gd name="csX663" fmla="*/ 469287 w 1609516"/>
              <a:gd name="csY663" fmla="*/ 1265964 h 1538630"/>
              <a:gd name="csX664" fmla="*/ 478178 w 1609516"/>
              <a:gd name="csY664" fmla="*/ 1246787 h 1538630"/>
              <a:gd name="csX665" fmla="*/ 480179 w 1609516"/>
              <a:gd name="csY665" fmla="*/ 1225768 h 1538630"/>
              <a:gd name="csX666" fmla="*/ 480250 w 1609516"/>
              <a:gd name="csY666" fmla="*/ 1217149 h 1538630"/>
              <a:gd name="csX667" fmla="*/ 462972 w 1609516"/>
              <a:gd name="csY667" fmla="*/ 1174827 h 1538630"/>
              <a:gd name="csX668" fmla="*/ 457468 w 1609516"/>
              <a:gd name="csY668" fmla="*/ 1169949 h 1538630"/>
              <a:gd name="csX669" fmla="*/ 440657 w 1609516"/>
              <a:gd name="csY669" fmla="*/ 1152570 h 1538630"/>
              <a:gd name="csX670" fmla="*/ 403142 w 1609516"/>
              <a:gd name="csY670" fmla="*/ 1122366 h 1538630"/>
              <a:gd name="csX671" fmla="*/ 401579 w 1609516"/>
              <a:gd name="csY671" fmla="*/ 1119547 h 1538630"/>
              <a:gd name="csX672" fmla="*/ 364564 w 1609516"/>
              <a:gd name="csY672" fmla="*/ 1118209 h 1538630"/>
              <a:gd name="csX673" fmla="*/ 357822 w 1609516"/>
              <a:gd name="csY673" fmla="*/ 1122041 h 1538630"/>
              <a:gd name="csX674" fmla="*/ 348077 w 1609516"/>
              <a:gd name="csY674" fmla="*/ 1125273 h 1538630"/>
              <a:gd name="csX675" fmla="*/ 334408 w 1609516"/>
              <a:gd name="csY675" fmla="*/ 1132230 h 1538630"/>
              <a:gd name="csX676" fmla="*/ 327964 w 1609516"/>
              <a:gd name="csY676" fmla="*/ 1134080 h 1538630"/>
              <a:gd name="csX677" fmla="*/ 279734 w 1609516"/>
              <a:gd name="csY677" fmla="*/ 1166051 h 1538630"/>
              <a:gd name="csX678" fmla="*/ 276609 w 1609516"/>
              <a:gd name="csY678" fmla="*/ 1173098 h 1538630"/>
              <a:gd name="csX679" fmla="*/ 260988 w 1609516"/>
              <a:gd name="csY679" fmla="*/ 1188599 h 1538630"/>
              <a:gd name="csX680" fmla="*/ 257956 w 1609516"/>
              <a:gd name="csY680" fmla="*/ 1191132 h 1538630"/>
              <a:gd name="csX681" fmla="*/ 243805 w 1609516"/>
              <a:gd name="csY681" fmla="*/ 1196629 h 1538630"/>
              <a:gd name="csX682" fmla="*/ 243805 w 1609516"/>
              <a:gd name="csY682" fmla="*/ 1194236 h 1538630"/>
              <a:gd name="csX683" fmla="*/ 240288 w 1609516"/>
              <a:gd name="csY683" fmla="*/ 1194765 h 1538630"/>
              <a:gd name="csX684" fmla="*/ 243374 w 1609516"/>
              <a:gd name="csY684" fmla="*/ 1194765 h 1538630"/>
              <a:gd name="csX685" fmla="*/ 243374 w 1609516"/>
              <a:gd name="csY685" fmla="*/ 1196797 h 1538630"/>
              <a:gd name="csX686" fmla="*/ 243805 w 1609516"/>
              <a:gd name="csY686" fmla="*/ 1196629 h 1538630"/>
              <a:gd name="csX687" fmla="*/ 243805 w 1609516"/>
              <a:gd name="csY687" fmla="*/ 1197055 h 1538630"/>
              <a:gd name="csX688" fmla="*/ 243374 w 1609516"/>
              <a:gd name="csY688" fmla="*/ 1197055 h 1538630"/>
              <a:gd name="csX689" fmla="*/ 243374 w 1609516"/>
              <a:gd name="csY689" fmla="*/ 1197584 h 1538630"/>
              <a:gd name="csX690" fmla="*/ 241319 w 1609516"/>
              <a:gd name="csY690" fmla="*/ 1197595 h 1538630"/>
              <a:gd name="csX691" fmla="*/ 238009 w 1609516"/>
              <a:gd name="csY691" fmla="*/ 1198881 h 1538630"/>
              <a:gd name="csX692" fmla="*/ 215687 w 1609516"/>
              <a:gd name="csY692" fmla="*/ 1198464 h 1538630"/>
              <a:gd name="csX693" fmla="*/ 215687 w 1609516"/>
              <a:gd name="csY693" fmla="*/ 1197734 h 1538630"/>
              <a:gd name="csX694" fmla="*/ 213936 w 1609516"/>
              <a:gd name="csY694" fmla="*/ 1197744 h 1538630"/>
              <a:gd name="csX695" fmla="*/ 207446 w 1609516"/>
              <a:gd name="csY695" fmla="*/ 1196175 h 1538630"/>
              <a:gd name="csX696" fmla="*/ 207822 w 1609516"/>
              <a:gd name="csY696" fmla="*/ 1195610 h 1538630"/>
              <a:gd name="csX697" fmla="*/ 184737 w 1609516"/>
              <a:gd name="csY697" fmla="*/ 1180936 h 1538630"/>
              <a:gd name="csX698" fmla="*/ 179270 w 1609516"/>
              <a:gd name="csY698" fmla="*/ 1154866 h 1538630"/>
              <a:gd name="csX699" fmla="*/ 179194 w 1609516"/>
              <a:gd name="csY699" fmla="*/ 1151621 h 1538630"/>
              <a:gd name="csX700" fmla="*/ 193195 w 1609516"/>
              <a:gd name="csY700" fmla="*/ 1120065 h 1538630"/>
              <a:gd name="csX701" fmla="*/ 229551 w 1609516"/>
              <a:gd name="csY701" fmla="*/ 1110299 h 1538630"/>
              <a:gd name="csX702" fmla="*/ 260988 w 1609516"/>
              <a:gd name="csY702" fmla="*/ 1108274 h 1538630"/>
              <a:gd name="csX703" fmla="*/ 260988 w 1609516"/>
              <a:gd name="csY703" fmla="*/ 1105455 h 1538630"/>
              <a:gd name="csX704" fmla="*/ 263911 w 1609516"/>
              <a:gd name="csY704" fmla="*/ 1104310 h 1538630"/>
              <a:gd name="csX705" fmla="*/ 286995 w 1609516"/>
              <a:gd name="csY705" fmla="*/ 1090185 h 1538630"/>
              <a:gd name="csX706" fmla="*/ 299358 w 1609516"/>
              <a:gd name="csY706" fmla="*/ 1080970 h 1538630"/>
              <a:gd name="csX707" fmla="*/ 317762 w 1609516"/>
              <a:gd name="csY707" fmla="*/ 1063272 h 1538630"/>
              <a:gd name="csX708" fmla="*/ 325035 w 1609516"/>
              <a:gd name="csY708" fmla="*/ 1057542 h 1538630"/>
              <a:gd name="csX709" fmla="*/ 325328 w 1609516"/>
              <a:gd name="csY709" fmla="*/ 1023104 h 1538630"/>
              <a:gd name="csX710" fmla="*/ 324544 w 1609516"/>
              <a:gd name="csY710" fmla="*/ 1019247 h 1538630"/>
              <a:gd name="csX711" fmla="*/ 317225 w 1609516"/>
              <a:gd name="csY711" fmla="*/ 996945 h 1538630"/>
              <a:gd name="csX712" fmla="*/ 315388 w 1609516"/>
              <a:gd name="csY712" fmla="*/ 992690 h 1538630"/>
              <a:gd name="csX713" fmla="*/ 276232 w 1609516"/>
              <a:gd name="csY713" fmla="*/ 950666 h 1538630"/>
              <a:gd name="csX714" fmla="*/ 271923 w 1609516"/>
              <a:gd name="csY714" fmla="*/ 949031 h 1538630"/>
              <a:gd name="csX715" fmla="*/ 268299 w 1609516"/>
              <a:gd name="csY715" fmla="*/ 947441 h 1538630"/>
              <a:gd name="csX716" fmla="*/ 199187 w 1609516"/>
              <a:gd name="csY716" fmla="*/ 938991 h 1538630"/>
              <a:gd name="csX717" fmla="*/ 193719 w 1609516"/>
              <a:gd name="csY717" fmla="*/ 938971 h 1538630"/>
              <a:gd name="csX718" fmla="*/ 188539 w 1609516"/>
              <a:gd name="csY718" fmla="*/ 938980 h 1538630"/>
              <a:gd name="csX719" fmla="*/ 183874 w 1609516"/>
              <a:gd name="csY719" fmla="*/ 938985 h 1538630"/>
              <a:gd name="csX720" fmla="*/ 173509 w 1609516"/>
              <a:gd name="csY720" fmla="*/ 940576 h 1538630"/>
              <a:gd name="csX721" fmla="*/ 161403 w 1609516"/>
              <a:gd name="csY721" fmla="*/ 940664 h 1538630"/>
              <a:gd name="csX722" fmla="*/ 158102 w 1609516"/>
              <a:gd name="csY722" fmla="*/ 940645 h 1538630"/>
              <a:gd name="csX723" fmla="*/ 150875 w 1609516"/>
              <a:gd name="csY723" fmla="*/ 940583 h 1538630"/>
              <a:gd name="csX724" fmla="*/ 148425 w 1609516"/>
              <a:gd name="csY724" fmla="*/ 940717 h 1538630"/>
              <a:gd name="csX725" fmla="*/ 149617 w 1609516"/>
              <a:gd name="csY725" fmla="*/ 940995 h 1538630"/>
              <a:gd name="csX726" fmla="*/ 149617 w 1609516"/>
              <a:gd name="csY726" fmla="*/ 942404 h 1538630"/>
              <a:gd name="csX727" fmla="*/ 146627 w 1609516"/>
              <a:gd name="csY727" fmla="*/ 942871 h 1538630"/>
              <a:gd name="csX728" fmla="*/ 110564 w 1609516"/>
              <a:gd name="csY728" fmla="*/ 949449 h 1538630"/>
              <a:gd name="csX729" fmla="*/ 111283 w 1609516"/>
              <a:gd name="csY729" fmla="*/ 946205 h 1538630"/>
              <a:gd name="csX730" fmla="*/ 101652 w 1609516"/>
              <a:gd name="csY730" fmla="*/ 956078 h 1538630"/>
              <a:gd name="csX731" fmla="*/ 98052 w 1609516"/>
              <a:gd name="csY731" fmla="*/ 958467 h 1538630"/>
              <a:gd name="csX732" fmla="*/ 67286 w 1609516"/>
              <a:gd name="csY732" fmla="*/ 972989 h 1538630"/>
              <a:gd name="csX733" fmla="*/ 67286 w 1609516"/>
              <a:gd name="csY733" fmla="*/ 975807 h 1538630"/>
              <a:gd name="csX734" fmla="*/ 31942 w 1609516"/>
              <a:gd name="csY734" fmla="*/ 976423 h 1538630"/>
              <a:gd name="csX735" fmla="*/ 5673 w 1609516"/>
              <a:gd name="csY735" fmla="*/ 953419 h 1538630"/>
              <a:gd name="csX736" fmla="*/ 4801 w 1609516"/>
              <a:gd name="csY736" fmla="*/ 944804 h 1538630"/>
              <a:gd name="csX737" fmla="*/ 1676 w 1609516"/>
              <a:gd name="csY737" fmla="*/ 944804 h 1538630"/>
              <a:gd name="csX738" fmla="*/ 17 w 1609516"/>
              <a:gd name="csY738" fmla="*/ 931857 h 1538630"/>
              <a:gd name="csX739" fmla="*/ 59 w 1609516"/>
              <a:gd name="csY739" fmla="*/ 927216 h 1538630"/>
              <a:gd name="csX740" fmla="*/ 115 w 1609516"/>
              <a:gd name="csY740" fmla="*/ 923666 h 1538630"/>
              <a:gd name="csX741" fmla="*/ 3238 w 1609516"/>
              <a:gd name="csY741" fmla="*/ 923666 h 1538630"/>
              <a:gd name="csX742" fmla="*/ 3238 w 1609516"/>
              <a:gd name="csY742" fmla="*/ 918029 h 1538630"/>
              <a:gd name="csX743" fmla="*/ 6363 w 1609516"/>
              <a:gd name="csY743" fmla="*/ 918029 h 1538630"/>
              <a:gd name="csX744" fmla="*/ 6656 w 1609516"/>
              <a:gd name="csY744" fmla="*/ 912832 h 1538630"/>
              <a:gd name="csX745" fmla="*/ 15736 w 1609516"/>
              <a:gd name="csY745" fmla="*/ 899709 h 1538630"/>
              <a:gd name="csX746" fmla="*/ 17243 w 1609516"/>
              <a:gd name="csY746" fmla="*/ 898894 h 1538630"/>
              <a:gd name="csX747" fmla="*/ 16800 w 1609516"/>
              <a:gd name="csY747" fmla="*/ 898694 h 1538630"/>
              <a:gd name="csX748" fmla="*/ 24988 w 1609516"/>
              <a:gd name="csY748" fmla="*/ 894101 h 1538630"/>
              <a:gd name="csX749" fmla="*/ 26768 w 1609516"/>
              <a:gd name="csY749" fmla="*/ 892399 h 1538630"/>
              <a:gd name="csX750" fmla="*/ 30198 w 1609516"/>
              <a:gd name="csY750" fmla="*/ 890164 h 1538630"/>
              <a:gd name="csX751" fmla="*/ 32204 w 1609516"/>
              <a:gd name="csY751" fmla="*/ 890054 h 1538630"/>
              <a:gd name="csX752" fmla="*/ 38914 w 1609516"/>
              <a:gd name="csY752" fmla="*/ 886291 h 1538630"/>
              <a:gd name="csX753" fmla="*/ 63664 w 1609516"/>
              <a:gd name="csY753" fmla="*/ 886011 h 1538630"/>
              <a:gd name="csX754" fmla="*/ 63664 w 1609516"/>
              <a:gd name="csY754" fmla="*/ 886531 h 1538630"/>
              <a:gd name="csX755" fmla="*/ 70784 w 1609516"/>
              <a:gd name="csY755" fmla="*/ 886647 h 1538630"/>
              <a:gd name="csX756" fmla="*/ 82126 w 1609516"/>
              <a:gd name="csY756" fmla="*/ 889845 h 1538630"/>
              <a:gd name="csX757" fmla="*/ 114149 w 1609516"/>
              <a:gd name="csY757" fmla="*/ 892663 h 1538630"/>
              <a:gd name="csX758" fmla="*/ 118836 w 1609516"/>
              <a:gd name="csY758" fmla="*/ 889845 h 1538630"/>
              <a:gd name="csX759" fmla="*/ 131626 w 1609516"/>
              <a:gd name="csY759" fmla="*/ 887114 h 1538630"/>
              <a:gd name="csX760" fmla="*/ 155116 w 1609516"/>
              <a:gd name="csY760" fmla="*/ 880913 h 1538630"/>
              <a:gd name="csX761" fmla="*/ 165406 w 1609516"/>
              <a:gd name="csY761" fmla="*/ 878483 h 1538630"/>
              <a:gd name="csX762" fmla="*/ 176634 w 1609516"/>
              <a:gd name="csY762" fmla="*/ 874343 h 1538630"/>
              <a:gd name="csX763" fmla="*/ 186397 w 1609516"/>
              <a:gd name="csY763" fmla="*/ 871524 h 1538630"/>
              <a:gd name="csX764" fmla="*/ 191871 w 1609516"/>
              <a:gd name="csY764" fmla="*/ 870033 h 1538630"/>
              <a:gd name="csX765" fmla="*/ 203483 w 1609516"/>
              <a:gd name="csY765" fmla="*/ 867208 h 1538630"/>
              <a:gd name="csX766" fmla="*/ 211001 w 1609516"/>
              <a:gd name="csY766" fmla="*/ 861660 h 1538630"/>
              <a:gd name="csX767" fmla="*/ 218031 w 1609516"/>
              <a:gd name="csY767" fmla="*/ 858577 h 1538630"/>
              <a:gd name="csX768" fmla="*/ 254740 w 1609516"/>
              <a:gd name="csY768" fmla="*/ 825020 h 1538630"/>
              <a:gd name="csX769" fmla="*/ 257864 w 1609516"/>
              <a:gd name="csY769" fmla="*/ 820792 h 1538630"/>
              <a:gd name="csX770" fmla="*/ 258318 w 1609516"/>
              <a:gd name="csY770" fmla="*/ 813810 h 1538630"/>
              <a:gd name="csX771" fmla="*/ 258378 w 1609516"/>
              <a:gd name="csY771" fmla="*/ 809502 h 1538630"/>
              <a:gd name="csX772" fmla="*/ 258389 w 1609516"/>
              <a:gd name="csY772" fmla="*/ 804845 h 1538630"/>
              <a:gd name="csX773" fmla="*/ 258420 w 1609516"/>
              <a:gd name="csY773" fmla="*/ 800036 h 1538630"/>
              <a:gd name="csX774" fmla="*/ 258443 w 1609516"/>
              <a:gd name="csY774" fmla="*/ 789939 h 1538630"/>
              <a:gd name="csX775" fmla="*/ 258566 w 1609516"/>
              <a:gd name="csY775" fmla="*/ 774594 h 1538630"/>
              <a:gd name="csX776" fmla="*/ 258584 w 1609516"/>
              <a:gd name="csY776" fmla="*/ 764771 h 1538630"/>
              <a:gd name="csX777" fmla="*/ 258652 w 1609516"/>
              <a:gd name="csY777" fmla="*/ 760174 h 1538630"/>
              <a:gd name="csX778" fmla="*/ 251616 w 1609516"/>
              <a:gd name="csY778" fmla="*/ 733421 h 1538630"/>
              <a:gd name="csX779" fmla="*/ 247613 w 1609516"/>
              <a:gd name="csY779" fmla="*/ 721883 h 1538630"/>
              <a:gd name="csX780" fmla="*/ 241291 w 1609516"/>
              <a:gd name="csY780" fmla="*/ 705644 h 1538630"/>
              <a:gd name="csX781" fmla="*/ 237557 w 1609516"/>
              <a:gd name="csY781" fmla="*/ 689735 h 1538630"/>
              <a:gd name="csX782" fmla="*/ 248492 w 1609516"/>
              <a:gd name="csY782" fmla="*/ 685507 h 1538630"/>
              <a:gd name="csX783" fmla="*/ 248492 w 1609516"/>
              <a:gd name="csY783" fmla="*/ 681279 h 1538630"/>
              <a:gd name="csX784" fmla="*/ 240681 w 1609516"/>
              <a:gd name="csY784" fmla="*/ 679870 h 1538630"/>
              <a:gd name="csX785" fmla="*/ 240681 w 1609516"/>
              <a:gd name="csY785" fmla="*/ 677052 h 1538630"/>
              <a:gd name="csX786" fmla="*/ 238094 w 1609516"/>
              <a:gd name="csY786" fmla="*/ 676645 h 1538630"/>
              <a:gd name="csX787" fmla="*/ 225841 w 1609516"/>
              <a:gd name="csY787" fmla="*/ 670886 h 1538630"/>
              <a:gd name="csX788" fmla="*/ 201531 w 1609516"/>
              <a:gd name="csY788" fmla="*/ 662508 h 1538630"/>
              <a:gd name="csX789" fmla="*/ 188252 w 1609516"/>
              <a:gd name="csY789" fmla="*/ 658644 h 1538630"/>
              <a:gd name="csX790" fmla="*/ 182431 w 1609516"/>
              <a:gd name="csY790" fmla="*/ 657327 h 1538630"/>
              <a:gd name="csX791" fmla="*/ 182431 w 1609516"/>
              <a:gd name="csY791" fmla="*/ 657613 h 1538630"/>
              <a:gd name="csX792" fmla="*/ 146503 w 1609516"/>
              <a:gd name="csY792" fmla="*/ 656204 h 1538630"/>
              <a:gd name="csX793" fmla="*/ 146503 w 1609516"/>
              <a:gd name="csY793" fmla="*/ 659022 h 1538630"/>
              <a:gd name="csX794" fmla="*/ 110378 w 1609516"/>
              <a:gd name="csY794" fmla="*/ 663778 h 1538630"/>
              <a:gd name="csX795" fmla="*/ 106453 w 1609516"/>
              <a:gd name="csY795" fmla="*/ 663836 h 1538630"/>
              <a:gd name="csX796" fmla="*/ 102751 w 1609516"/>
              <a:gd name="csY796" fmla="*/ 663811 h 1538630"/>
              <a:gd name="csX797" fmla="*/ 99449 w 1609516"/>
              <a:gd name="csY797" fmla="*/ 663797 h 1538630"/>
              <a:gd name="csX798" fmla="*/ 91828 w 1609516"/>
              <a:gd name="csY798" fmla="*/ 659022 h 1538630"/>
              <a:gd name="csX799" fmla="*/ 98077 w 1609516"/>
              <a:gd name="csY799" fmla="*/ 659022 h 1538630"/>
              <a:gd name="csX800" fmla="*/ 98077 w 1609516"/>
              <a:gd name="csY800" fmla="*/ 661841 h 1538630"/>
              <a:gd name="csX801" fmla="*/ 119023 w 1609516"/>
              <a:gd name="csY801" fmla="*/ 661357 h 1538630"/>
              <a:gd name="csX802" fmla="*/ 119536 w 1609516"/>
              <a:gd name="csY802" fmla="*/ 661197 h 1538630"/>
              <a:gd name="csX803" fmla="*/ 109853 w 1609516"/>
              <a:gd name="csY803" fmla="*/ 661639 h 1538630"/>
              <a:gd name="csX804" fmla="*/ 106552 w 1609516"/>
              <a:gd name="csY804" fmla="*/ 661619 h 1538630"/>
              <a:gd name="csX805" fmla="*/ 98528 w 1609516"/>
              <a:gd name="csY805" fmla="*/ 661550 h 1538630"/>
              <a:gd name="csX806" fmla="*/ 98528 w 1609516"/>
              <a:gd name="csY806" fmla="*/ 658732 h 1538630"/>
              <a:gd name="csX807" fmla="*/ 89155 w 1609516"/>
              <a:gd name="csY807" fmla="*/ 657323 h 1538630"/>
              <a:gd name="csX808" fmla="*/ 89155 w 1609516"/>
              <a:gd name="csY808" fmla="*/ 654504 h 1538630"/>
              <a:gd name="csX809" fmla="*/ 86397 w 1609516"/>
              <a:gd name="csY809" fmla="*/ 653442 h 1538630"/>
              <a:gd name="csX810" fmla="*/ 77049 w 1609516"/>
              <a:gd name="csY810" fmla="*/ 646137 h 1538630"/>
              <a:gd name="csX811" fmla="*/ 74145 w 1609516"/>
              <a:gd name="csY811" fmla="*/ 643192 h 1538630"/>
              <a:gd name="csX812" fmla="*/ 71972 w 1609516"/>
              <a:gd name="csY812" fmla="*/ 636185 h 1538630"/>
              <a:gd name="csX813" fmla="*/ 68848 w 1609516"/>
              <a:gd name="csY813" fmla="*/ 636185 h 1538630"/>
              <a:gd name="csX814" fmla="*/ 70410 w 1609516"/>
              <a:gd name="csY814" fmla="*/ 595317 h 1538630"/>
              <a:gd name="csX815" fmla="*/ 79782 w 1609516"/>
              <a:gd name="csY815" fmla="*/ 584043 h 1538630"/>
              <a:gd name="csX816" fmla="*/ 82656 w 1609516"/>
              <a:gd name="csY816" fmla="*/ 581115 h 1538630"/>
              <a:gd name="csX817" fmla="*/ 116694 w 1609516"/>
              <a:gd name="csY817" fmla="*/ 572323 h 1538630"/>
              <a:gd name="csX818" fmla="*/ 152031 w 1609516"/>
              <a:gd name="csY818" fmla="*/ 590385 h 1538630"/>
              <a:gd name="csX819" fmla="*/ 191474 w 1609516"/>
              <a:gd name="csY819" fmla="*/ 605886 h 1538630"/>
              <a:gd name="csX820" fmla="*/ 206314 w 1609516"/>
              <a:gd name="csY820" fmla="*/ 608000 h 1538630"/>
              <a:gd name="csX821" fmla="*/ 206314 w 1609516"/>
              <a:gd name="csY821" fmla="*/ 610818 h 1538630"/>
              <a:gd name="csX822" fmla="*/ 234433 w 1609516"/>
              <a:gd name="csY822" fmla="*/ 610818 h 1538630"/>
              <a:gd name="csX823" fmla="*/ 239522 w 1609516"/>
              <a:gd name="csY823" fmla="*/ 610802 h 1538630"/>
              <a:gd name="csX824" fmla="*/ 268799 w 1609516"/>
              <a:gd name="csY824" fmla="*/ 600954 h 1538630"/>
              <a:gd name="csX825" fmla="*/ 271740 w 1609516"/>
              <a:gd name="csY825" fmla="*/ 599325 h 1538630"/>
              <a:gd name="csX826" fmla="*/ 284420 w 1609516"/>
              <a:gd name="csY826" fmla="*/ 579816 h 1538630"/>
              <a:gd name="csX827" fmla="*/ 289399 w 1609516"/>
              <a:gd name="csY827" fmla="*/ 568630 h 1538630"/>
              <a:gd name="csX828" fmla="*/ 293958 w 1609516"/>
              <a:gd name="csY828" fmla="*/ 535838 h 1538630"/>
              <a:gd name="csX829" fmla="*/ 289107 w 1609516"/>
              <a:gd name="csY829" fmla="*/ 529084 h 1538630"/>
              <a:gd name="csX830" fmla="*/ 289107 w 1609516"/>
              <a:gd name="csY830" fmla="*/ 526265 h 1538630"/>
              <a:gd name="csX831" fmla="*/ 284420 w 1609516"/>
              <a:gd name="csY831" fmla="*/ 524856 h 1538630"/>
              <a:gd name="csX832" fmla="*/ 282858 w 1609516"/>
              <a:gd name="csY832" fmla="*/ 520628 h 1538630"/>
              <a:gd name="csX833" fmla="*/ 277977 w 1609516"/>
              <a:gd name="csY833" fmla="*/ 516577 h 1538630"/>
              <a:gd name="csX834" fmla="*/ 264925 w 1609516"/>
              <a:gd name="csY834" fmla="*/ 506443 h 1538630"/>
              <a:gd name="csX835" fmla="*/ 229746 w 1609516"/>
              <a:gd name="csY835" fmla="*/ 481170 h 1538630"/>
              <a:gd name="csX836" fmla="*/ 221057 w 1609516"/>
              <a:gd name="csY836" fmla="*/ 475445 h 1538630"/>
              <a:gd name="csX837" fmla="*/ 212563 w 1609516"/>
              <a:gd name="csY837" fmla="*/ 469896 h 1538630"/>
              <a:gd name="csX838" fmla="*/ 208889 w 1609516"/>
              <a:gd name="csY838" fmla="*/ 467491 h 1538630"/>
              <a:gd name="csX839" fmla="*/ 190406 w 1609516"/>
              <a:gd name="csY839" fmla="*/ 456382 h 1538630"/>
              <a:gd name="csX840" fmla="*/ 186942 w 1609516"/>
              <a:gd name="csY840" fmla="*/ 454460 h 1538630"/>
              <a:gd name="csX841" fmla="*/ 180041 w 1609516"/>
              <a:gd name="csY841" fmla="*/ 450696 h 1538630"/>
              <a:gd name="csX842" fmla="*/ 171948 w 1609516"/>
              <a:gd name="csY842" fmla="*/ 445940 h 1538630"/>
              <a:gd name="csX843" fmla="*/ 171948 w 1609516"/>
              <a:gd name="csY843" fmla="*/ 443121 h 1538630"/>
              <a:gd name="csX844" fmla="*/ 168482 w 1609516"/>
              <a:gd name="csY844" fmla="*/ 442708 h 1538630"/>
              <a:gd name="csX845" fmla="*/ 157107 w 1609516"/>
              <a:gd name="csY845" fmla="*/ 437044 h 1538630"/>
              <a:gd name="csX846" fmla="*/ 132559 w 1609516"/>
              <a:gd name="csY846" fmla="*/ 427510 h 1538630"/>
              <a:gd name="csX847" fmla="*/ 123522 w 1609516"/>
              <a:gd name="csY847" fmla="*/ 421983 h 1538630"/>
              <a:gd name="csX848" fmla="*/ 107986 w 1609516"/>
              <a:gd name="csY848" fmla="*/ 418730 h 1538630"/>
              <a:gd name="csX849" fmla="*/ 102494 w 1609516"/>
              <a:gd name="csY849" fmla="*/ 418622 h 1538630"/>
              <a:gd name="csX850" fmla="*/ 91157 w 1609516"/>
              <a:gd name="csY850" fmla="*/ 418490 h 1538630"/>
              <a:gd name="csX851" fmla="*/ 55277 w 1609516"/>
              <a:gd name="csY851" fmla="*/ 410445 h 1538630"/>
              <a:gd name="csX852" fmla="*/ 51665 w 1609516"/>
              <a:gd name="csY852" fmla="*/ 406481 h 1538630"/>
              <a:gd name="csX853" fmla="*/ 45904 w 1609516"/>
              <a:gd name="csY853" fmla="*/ 400492 h 1538630"/>
              <a:gd name="csX854" fmla="*/ 43152 w 1609516"/>
              <a:gd name="csY854" fmla="*/ 397564 h 1538630"/>
              <a:gd name="csX855" fmla="*/ 37605 w 1609516"/>
              <a:gd name="csY855" fmla="*/ 393798 h 1538630"/>
              <a:gd name="csX856" fmla="*/ 38995 w 1609516"/>
              <a:gd name="csY856" fmla="*/ 368712 h 1538630"/>
              <a:gd name="csX857" fmla="*/ 38666 w 1609516"/>
              <a:gd name="csY857" fmla="*/ 369724 h 1538630"/>
              <a:gd name="csX858" fmla="*/ 35542 w 1609516"/>
              <a:gd name="csY858" fmla="*/ 384081 h 1538630"/>
              <a:gd name="csX859" fmla="*/ 33326 w 1609516"/>
              <a:gd name="csY859" fmla="*/ 357791 h 1538630"/>
              <a:gd name="csX860" fmla="*/ 52725 w 1609516"/>
              <a:gd name="csY860" fmla="*/ 333349 h 1538630"/>
              <a:gd name="csX861" fmla="*/ 55222 w 1609516"/>
              <a:gd name="csY861" fmla="*/ 334475 h 1538630"/>
              <a:gd name="csX862" fmla="*/ 56222 w 1609516"/>
              <a:gd name="csY862" fmla="*/ 333347 h 1538630"/>
              <a:gd name="csX863" fmla="*/ 55871 w 1609516"/>
              <a:gd name="csY863" fmla="*/ 333347 h 1538630"/>
              <a:gd name="csX864" fmla="*/ 56346 w 1609516"/>
              <a:gd name="csY864" fmla="*/ 333207 h 1538630"/>
              <a:gd name="csX865" fmla="*/ 56351 w 1609516"/>
              <a:gd name="csY865" fmla="*/ 333202 h 1538630"/>
              <a:gd name="csX866" fmla="*/ 56365 w 1609516"/>
              <a:gd name="csY866" fmla="*/ 333202 h 1538630"/>
              <a:gd name="csX867" fmla="*/ 79571 w 1609516"/>
              <a:gd name="csY867" fmla="*/ 326360 h 1538630"/>
              <a:gd name="csX868" fmla="*/ 104297 w 1609516"/>
              <a:gd name="csY868" fmla="*/ 330529 h 1538630"/>
              <a:gd name="csX869" fmla="*/ 107170 w 1609516"/>
              <a:gd name="csY869" fmla="*/ 334417 h 1538630"/>
              <a:gd name="csX870" fmla="*/ 109366 w 1609516"/>
              <a:gd name="csY870" fmla="*/ 336046 h 1538630"/>
              <a:gd name="csX871" fmla="*/ 109463 w 1609516"/>
              <a:gd name="csY871" fmla="*/ 336020 h 1538630"/>
              <a:gd name="csX872" fmla="*/ 109463 w 1609516"/>
              <a:gd name="csY872" fmla="*/ 336118 h 1538630"/>
              <a:gd name="csX873" fmla="*/ 115226 w 1609516"/>
              <a:gd name="csY873" fmla="*/ 340394 h 1538630"/>
              <a:gd name="csX874" fmla="*/ 114010 w 1609516"/>
              <a:gd name="csY874" fmla="*/ 340120 h 1538630"/>
              <a:gd name="csX875" fmla="*/ 133285 w 1609516"/>
              <a:gd name="csY875" fmla="*/ 357423 h 1538630"/>
              <a:gd name="csX876" fmla="*/ 173509 w 1609516"/>
              <a:gd name="csY876" fmla="*/ 389571 h 1538630"/>
              <a:gd name="csX877" fmla="*/ 181711 w 1609516"/>
              <a:gd name="csY877" fmla="*/ 393270 h 1538630"/>
              <a:gd name="csX878" fmla="*/ 185507 w 1609516"/>
              <a:gd name="csY878" fmla="*/ 394976 h 1538630"/>
              <a:gd name="csX879" fmla="*/ 192658 w 1609516"/>
              <a:gd name="csY879" fmla="*/ 398257 h 1538630"/>
              <a:gd name="csX880" fmla="*/ 195966 w 1609516"/>
              <a:gd name="csY880" fmla="*/ 399788 h 1538630"/>
              <a:gd name="csX881" fmla="*/ 198833 w 1609516"/>
              <a:gd name="csY881" fmla="*/ 401131 h 1538630"/>
              <a:gd name="csX882" fmla="*/ 207877 w 1609516"/>
              <a:gd name="csY882" fmla="*/ 403663 h 1538630"/>
              <a:gd name="csX883" fmla="*/ 207877 w 1609516"/>
              <a:gd name="csY883" fmla="*/ 406481 h 1538630"/>
              <a:gd name="csX884" fmla="*/ 248492 w 1609516"/>
              <a:gd name="csY884" fmla="*/ 419428 h 1538630"/>
              <a:gd name="csX885" fmla="*/ 253965 w 1609516"/>
              <a:gd name="csY885" fmla="*/ 421000 h 1538630"/>
              <a:gd name="csX886" fmla="*/ 267237 w 1609516"/>
              <a:gd name="csY886" fmla="*/ 424801 h 1538630"/>
              <a:gd name="csX887" fmla="*/ 267237 w 1609516"/>
              <a:gd name="csY887" fmla="*/ 426451 h 1538630"/>
              <a:gd name="csX888" fmla="*/ 288701 w 1609516"/>
              <a:gd name="csY888" fmla="*/ 429217 h 1538630"/>
              <a:gd name="csX889" fmla="*/ 288701 w 1609516"/>
              <a:gd name="csY889" fmla="*/ 432036 h 1538630"/>
              <a:gd name="csX890" fmla="*/ 327010 w 1609516"/>
              <a:gd name="csY890" fmla="*/ 433628 h 1538630"/>
              <a:gd name="csX891" fmla="*/ 337486 w 1609516"/>
              <a:gd name="csY891" fmla="*/ 433637 h 1538630"/>
              <a:gd name="csX892" fmla="*/ 344229 w 1609516"/>
              <a:gd name="csY892" fmla="*/ 433632 h 1538630"/>
              <a:gd name="csX893" fmla="*/ 350323 w 1609516"/>
              <a:gd name="csY893" fmla="*/ 433627 h 1538630"/>
              <a:gd name="csX894" fmla="*/ 365245 w 1609516"/>
              <a:gd name="csY894" fmla="*/ 432036 h 1538630"/>
              <a:gd name="csX895" fmla="*/ 360797 w 1609516"/>
              <a:gd name="csY895" fmla="*/ 433759 h 1538630"/>
              <a:gd name="csX896" fmla="*/ 365650 w 1609516"/>
              <a:gd name="csY896" fmla="*/ 433257 h 1538630"/>
              <a:gd name="csX897" fmla="*/ 367213 w 1609516"/>
              <a:gd name="csY897" fmla="*/ 429029 h 1538630"/>
              <a:gd name="csX898" fmla="*/ 375188 w 1609516"/>
              <a:gd name="csY898" fmla="*/ 424906 h 1538630"/>
              <a:gd name="csX899" fmla="*/ 404704 w 1609516"/>
              <a:gd name="csY899" fmla="*/ 389571 h 1538630"/>
              <a:gd name="csX900" fmla="*/ 406265 w 1609516"/>
              <a:gd name="csY900" fmla="*/ 388161 h 1538630"/>
              <a:gd name="csX901" fmla="*/ 406559 w 1609516"/>
              <a:gd name="csY901" fmla="*/ 370106 h 1538630"/>
              <a:gd name="csX902" fmla="*/ 406617 w 1609516"/>
              <a:gd name="csY902" fmla="*/ 364973 h 1538630"/>
              <a:gd name="csX903" fmla="*/ 406626 w 1609516"/>
              <a:gd name="csY903" fmla="*/ 360038 h 1538630"/>
              <a:gd name="csX904" fmla="*/ 406645 w 1609516"/>
              <a:gd name="csY904" fmla="*/ 355503 h 1538630"/>
              <a:gd name="csX905" fmla="*/ 403142 w 1609516"/>
              <a:gd name="csY905" fmla="*/ 345885 h 1538630"/>
              <a:gd name="csX906" fmla="*/ 401579 w 1609516"/>
              <a:gd name="csY906" fmla="*/ 338663 h 1538630"/>
              <a:gd name="csX907" fmla="*/ 390938 w 1609516"/>
              <a:gd name="csY907" fmla="*/ 315939 h 1538630"/>
              <a:gd name="csX908" fmla="*/ 388976 w 1609516"/>
              <a:gd name="csY908" fmla="*/ 312762 h 1538630"/>
              <a:gd name="csX909" fmla="*/ 377934 w 1609516"/>
              <a:gd name="csY909" fmla="*/ 297817 h 1538630"/>
              <a:gd name="csX910" fmla="*/ 368775 w 1609516"/>
              <a:gd name="csY910" fmla="*/ 282470 h 1538630"/>
              <a:gd name="csX911" fmla="*/ 359890 w 1609516"/>
              <a:gd name="csY911" fmla="*/ 271284 h 1538630"/>
              <a:gd name="csX912" fmla="*/ 357374 w 1609516"/>
              <a:gd name="csY912" fmla="*/ 268288 h 1538630"/>
              <a:gd name="csX913" fmla="*/ 337533 w 1609516"/>
              <a:gd name="csY913" fmla="*/ 248649 h 1538630"/>
              <a:gd name="csX914" fmla="*/ 335214 w 1609516"/>
              <a:gd name="csY914" fmla="*/ 246369 h 1538630"/>
              <a:gd name="csX915" fmla="*/ 327085 w 1609516"/>
              <a:gd name="csY915" fmla="*/ 242571 h 1538630"/>
              <a:gd name="csX916" fmla="*/ 288785 w 1609516"/>
              <a:gd name="csY916" fmla="*/ 207968 h 1538630"/>
              <a:gd name="csX917" fmla="*/ 286373 w 1609516"/>
              <a:gd name="csY917" fmla="*/ 192544 h 1538630"/>
              <a:gd name="csX918" fmla="*/ 286385 w 1609516"/>
              <a:gd name="csY918" fmla="*/ 189190 h 1538630"/>
              <a:gd name="csX919" fmla="*/ 300042 w 1609516"/>
              <a:gd name="csY919" fmla="*/ 164095 h 1538630"/>
              <a:gd name="csX920" fmla="*/ 302757 w 1609516"/>
              <a:gd name="csY920" fmla="*/ 161381 h 1538630"/>
              <a:gd name="csX921" fmla="*/ 338411 w 1609516"/>
              <a:gd name="csY921" fmla="*/ 152293 h 1538630"/>
              <a:gd name="csX922" fmla="*/ 368482 w 1609516"/>
              <a:gd name="csY922" fmla="*/ 161893 h 1538630"/>
              <a:gd name="csX923" fmla="*/ 371899 w 1609516"/>
              <a:gd name="csY923" fmla="*/ 165505 h 1538630"/>
              <a:gd name="csX924" fmla="*/ 375121 w 1609516"/>
              <a:gd name="csY924" fmla="*/ 168587 h 1538630"/>
              <a:gd name="csX925" fmla="*/ 384982 w 1609516"/>
              <a:gd name="csY925" fmla="*/ 193777 h 1538630"/>
              <a:gd name="csX926" fmla="*/ 390352 w 1609516"/>
              <a:gd name="csY926" fmla="*/ 214563 h 1538630"/>
              <a:gd name="csX927" fmla="*/ 391529 w 1609516"/>
              <a:gd name="csY927" fmla="*/ 217626 h 1538630"/>
              <a:gd name="csX928" fmla="*/ 401579 w 1609516"/>
              <a:gd name="csY928" fmla="*/ 234556 h 1538630"/>
              <a:gd name="csX929" fmla="*/ 401579 w 1609516"/>
              <a:gd name="csY929" fmla="*/ 238784 h 1538630"/>
              <a:gd name="csX930" fmla="*/ 404215 w 1609516"/>
              <a:gd name="csY930" fmla="*/ 239753 h 1538630"/>
              <a:gd name="csX931" fmla="*/ 417811 w 1609516"/>
              <a:gd name="csY931" fmla="*/ 251996 h 1538630"/>
              <a:gd name="csX932" fmla="*/ 426866 w 1609516"/>
              <a:gd name="csY932" fmla="*/ 262300 h 1538630"/>
              <a:gd name="csX933" fmla="*/ 450097 w 1609516"/>
              <a:gd name="csY933" fmla="*/ 287628 h 1538630"/>
              <a:gd name="csX934" fmla="*/ 457425 w 1609516"/>
              <a:gd name="csY934" fmla="*/ 293920 h 1538630"/>
              <a:gd name="csX935" fmla="*/ 460940 w 1609516"/>
              <a:gd name="csY935" fmla="*/ 296562 h 1538630"/>
              <a:gd name="csX936" fmla="*/ 460940 w 1609516"/>
              <a:gd name="csY936" fmla="*/ 300790 h 1538630"/>
              <a:gd name="csX937" fmla="*/ 473437 w 1609516"/>
              <a:gd name="csY937" fmla="*/ 305018 h 1538630"/>
              <a:gd name="csX938" fmla="*/ 473437 w 1609516"/>
              <a:gd name="csY938" fmla="*/ 307836 h 1538630"/>
              <a:gd name="csX939" fmla="*/ 479881 w 1609516"/>
              <a:gd name="csY939" fmla="*/ 309862 h 1538630"/>
              <a:gd name="csX940" fmla="*/ 483505 w 1609516"/>
              <a:gd name="csY940" fmla="*/ 311001 h 1538630"/>
              <a:gd name="csX941" fmla="*/ 548419 w 1609516"/>
              <a:gd name="csY941" fmla="*/ 306427 h 1538630"/>
              <a:gd name="csX942" fmla="*/ 551842 w 1609516"/>
              <a:gd name="csY942" fmla="*/ 305127 h 1538630"/>
              <a:gd name="csX943" fmla="*/ 560232 w 1609516"/>
              <a:gd name="csY943" fmla="*/ 298148 h 1538630"/>
              <a:gd name="csX944" fmla="*/ 562972 w 1609516"/>
              <a:gd name="csY944" fmla="*/ 295252 h 1538630"/>
              <a:gd name="csX945" fmla="*/ 568086 w 1609516"/>
              <a:gd name="csY945" fmla="*/ 289152 h 1538630"/>
              <a:gd name="csX946" fmla="*/ 570289 w 1609516"/>
              <a:gd name="csY946" fmla="*/ 286697 h 1538630"/>
              <a:gd name="csX947" fmla="*/ 573413 w 1609516"/>
              <a:gd name="csY947" fmla="*/ 286697 h 1538630"/>
              <a:gd name="csX948" fmla="*/ 577220 w 1609516"/>
              <a:gd name="csY948" fmla="*/ 257016 h 1538630"/>
              <a:gd name="csX949" fmla="*/ 577235 w 1609516"/>
              <a:gd name="csY949" fmla="*/ 254206 h 1538630"/>
              <a:gd name="csX950" fmla="*/ 569443 w 1609516"/>
              <a:gd name="csY950" fmla="*/ 206049 h 1538630"/>
              <a:gd name="csX951" fmla="*/ 568726 w 1609516"/>
              <a:gd name="csY951" fmla="*/ 200735 h 1538630"/>
              <a:gd name="csX952" fmla="*/ 565602 w 1609516"/>
              <a:gd name="csY952" fmla="*/ 200735 h 1538630"/>
              <a:gd name="csX953" fmla="*/ 559549 w 1609516"/>
              <a:gd name="csY953" fmla="*/ 184441 h 1538630"/>
              <a:gd name="csX954" fmla="*/ 537484 w 1609516"/>
              <a:gd name="csY954" fmla="*/ 159867 h 1538630"/>
              <a:gd name="csX955" fmla="*/ 531235 w 1609516"/>
              <a:gd name="csY955" fmla="*/ 154230 h 1538630"/>
              <a:gd name="csX956" fmla="*/ 531235 w 1609516"/>
              <a:gd name="csY956" fmla="*/ 151412 h 1538630"/>
              <a:gd name="csX957" fmla="*/ 526549 w 1609516"/>
              <a:gd name="csY957" fmla="*/ 150003 h 1538630"/>
              <a:gd name="csX958" fmla="*/ 524304 w 1609516"/>
              <a:gd name="csY958" fmla="*/ 107198 h 1538630"/>
              <a:gd name="csX959" fmla="*/ 547052 w 1609516"/>
              <a:gd name="csY959" fmla="*/ 85972 h 1538630"/>
              <a:gd name="csX960" fmla="*/ 588460 w 1609516"/>
              <a:gd name="csY960" fmla="*/ 83538 h 1538630"/>
              <a:gd name="csX961" fmla="*/ 617152 w 1609516"/>
              <a:gd name="csY961" fmla="*/ 111954 h 1538630"/>
              <a:gd name="csX962" fmla="*/ 617884 w 1609516"/>
              <a:gd name="csY962" fmla="*/ 124175 h 1538630"/>
              <a:gd name="csX963" fmla="*/ 617917 w 1609516"/>
              <a:gd name="csY963" fmla="*/ 127607 h 1538630"/>
              <a:gd name="csX964" fmla="*/ 617919 w 1609516"/>
              <a:gd name="csY964" fmla="*/ 141969 h 1538630"/>
              <a:gd name="csX965" fmla="*/ 630625 w 1609516"/>
              <a:gd name="csY965" fmla="*/ 191311 h 1538630"/>
              <a:gd name="csX966" fmla="*/ 637850 w 1609516"/>
              <a:gd name="csY966" fmla="*/ 205139 h 1538630"/>
              <a:gd name="csX967" fmla="*/ 643708 w 1609516"/>
              <a:gd name="csY967" fmla="*/ 212009 h 1538630"/>
              <a:gd name="csX968" fmla="*/ 647027 w 1609516"/>
              <a:gd name="csY968" fmla="*/ 217645 h 1538630"/>
              <a:gd name="csX969" fmla="*/ 670264 w 1609516"/>
              <a:gd name="csY969" fmla="*/ 241603 h 1538630"/>
              <a:gd name="csX970" fmla="*/ 670264 w 1609516"/>
              <a:gd name="csY970" fmla="*/ 244421 h 1538630"/>
              <a:gd name="csX971" fmla="*/ 675634 w 1609516"/>
              <a:gd name="csY971" fmla="*/ 245742 h 1538630"/>
              <a:gd name="csX972" fmla="*/ 682761 w 1609516"/>
              <a:gd name="csY972" fmla="*/ 248649 h 1538630"/>
              <a:gd name="csX973" fmla="*/ 752092 w 1609516"/>
              <a:gd name="csY973" fmla="*/ 245076 h 1538630"/>
              <a:gd name="csX974" fmla="*/ 758433 w 1609516"/>
              <a:gd name="csY974" fmla="*/ 240485 h 1538630"/>
              <a:gd name="csX975" fmla="*/ 763991 w 1609516"/>
              <a:gd name="csY975" fmla="*/ 238784 h 1538630"/>
              <a:gd name="csX976" fmla="*/ 765315 w 1609516"/>
              <a:gd name="csY976" fmla="*/ 235778 h 1538630"/>
              <a:gd name="csX977" fmla="*/ 770923 w 1609516"/>
              <a:gd name="csY977" fmla="*/ 223459 h 1538630"/>
              <a:gd name="csX978" fmla="*/ 772998 w 1609516"/>
              <a:gd name="csY978" fmla="*/ 218934 h 1538630"/>
              <a:gd name="csX979" fmla="*/ 777562 w 1609516"/>
              <a:gd name="csY979" fmla="*/ 209895 h 1538630"/>
              <a:gd name="csX980" fmla="*/ 781175 w 1609516"/>
              <a:gd name="csY980" fmla="*/ 124637 h 1538630"/>
              <a:gd name="csX981" fmla="*/ 778051 w 1609516"/>
              <a:gd name="csY981" fmla="*/ 124637 h 1538630"/>
              <a:gd name="csX982" fmla="*/ 767116 w 1609516"/>
              <a:gd name="csY982" fmla="*/ 79542 h 1538630"/>
              <a:gd name="csX983" fmla="*/ 793379 w 1609516"/>
              <a:gd name="csY983" fmla="*/ 54000 h 1538630"/>
              <a:gd name="csX984" fmla="*/ 840688 w 1609516"/>
              <a:gd name="csY984" fmla="*/ 55503 h 1538630"/>
              <a:gd name="csX985" fmla="*/ 851470 w 1609516"/>
              <a:gd name="csY985" fmla="*/ 64040 h 1538630"/>
              <a:gd name="csX986" fmla="*/ 853997 w 1609516"/>
              <a:gd name="csY986" fmla="*/ 66529 h 1538630"/>
              <a:gd name="csX987" fmla="*/ 861488 w 1609516"/>
              <a:gd name="csY987" fmla="*/ 82057 h 1538630"/>
              <a:gd name="csX988" fmla="*/ 861937 w 1609516"/>
              <a:gd name="csY988" fmla="*/ 90492 h 1538630"/>
              <a:gd name="csX989" fmla="*/ 863826 w 1609516"/>
              <a:gd name="csY989" fmla="*/ 100715 h 1538630"/>
              <a:gd name="csX990" fmla="*/ 857577 w 1609516"/>
              <a:gd name="csY990" fmla="*/ 121853 h 1538630"/>
              <a:gd name="csX991" fmla="*/ 856015 w 1609516"/>
              <a:gd name="csY991" fmla="*/ 121853 h 1538630"/>
              <a:gd name="csX992" fmla="*/ 855442 w 1609516"/>
              <a:gd name="csY992" fmla="*/ 118919 h 1538630"/>
              <a:gd name="csX993" fmla="*/ 855417 w 1609516"/>
              <a:gd name="csY993" fmla="*/ 118798 h 1538630"/>
              <a:gd name="csX994" fmla="*/ 856157 w 1609516"/>
              <a:gd name="csY994" fmla="*/ 124637 h 1538630"/>
              <a:gd name="csX995" fmla="*/ 850623 w 1609516"/>
              <a:gd name="csY995" fmla="*/ 134701 h 1538630"/>
              <a:gd name="csX996" fmla="*/ 851325 w 1609516"/>
              <a:gd name="csY996" fmla="*/ 135968 h 1538630"/>
              <a:gd name="csX997" fmla="*/ 849886 w 1609516"/>
              <a:gd name="csY997" fmla="*/ 139843 h 1538630"/>
              <a:gd name="csX998" fmla="*/ 847786 w 1609516"/>
              <a:gd name="csY998" fmla="*/ 152889 h 1538630"/>
              <a:gd name="csX999" fmla="*/ 847767 w 1609516"/>
              <a:gd name="csY999" fmla="*/ 157768 h 1538630"/>
              <a:gd name="csX1000" fmla="*/ 847810 w 1609516"/>
              <a:gd name="csY1000" fmla="*/ 162919 h 1538630"/>
              <a:gd name="csX1001" fmla="*/ 847832 w 1609516"/>
              <a:gd name="csY1001" fmla="*/ 168227 h 1538630"/>
              <a:gd name="csX1002" fmla="*/ 850903 w 1609516"/>
              <a:gd name="csY1002" fmla="*/ 209013 h 1538630"/>
              <a:gd name="csX1003" fmla="*/ 852880 w 1609516"/>
              <a:gd name="csY1003" fmla="*/ 224692 h 1538630"/>
              <a:gd name="csX1004" fmla="*/ 854595 w 1609516"/>
              <a:gd name="csY1004" fmla="*/ 224692 h 1538630"/>
              <a:gd name="csX1005" fmla="*/ 856083 w 1609516"/>
              <a:gd name="csY1005" fmla="*/ 227268 h 1538630"/>
              <a:gd name="csX1006" fmla="*/ 879588 w 1609516"/>
              <a:gd name="csY1006" fmla="*/ 247239 h 1538630"/>
              <a:gd name="csX1007" fmla="*/ 885739 w 1609516"/>
              <a:gd name="csY1007" fmla="*/ 249618 h 1538630"/>
              <a:gd name="csX1008" fmla="*/ 890523 w 1609516"/>
              <a:gd name="csY1008" fmla="*/ 251467 h 1538630"/>
              <a:gd name="csX1009" fmla="*/ 890523 w 1609516"/>
              <a:gd name="csY1009" fmla="*/ 254285 h 1538630"/>
              <a:gd name="csX1010" fmla="*/ 920203 w 1609516"/>
              <a:gd name="csY1010" fmla="*/ 261332 h 1538630"/>
              <a:gd name="csX1011" fmla="*/ 920203 w 1609516"/>
              <a:gd name="csY1011" fmla="*/ 262741 h 1538630"/>
              <a:gd name="csX1012" fmla="*/ 910831 w 1609516"/>
              <a:gd name="csY1012" fmla="*/ 262741 h 1538630"/>
              <a:gd name="csX1013" fmla="*/ 910831 w 1609516"/>
              <a:gd name="csY1013" fmla="*/ 262864 h 1538630"/>
              <a:gd name="csX1014" fmla="*/ 927993 w 1609516"/>
              <a:gd name="csY1014" fmla="*/ 264177 h 1538630"/>
              <a:gd name="csX1015" fmla="*/ 939273 w 1609516"/>
              <a:gd name="csY1015" fmla="*/ 265285 h 1538630"/>
              <a:gd name="csX1016" fmla="*/ 940456 w 1609516"/>
              <a:gd name="csY1016" fmla="*/ 265191 h 1538630"/>
              <a:gd name="csX1017" fmla="*/ 991622 w 1609516"/>
              <a:gd name="csY1017" fmla="*/ 242329 h 1538630"/>
              <a:gd name="csX1018" fmla="*/ 1000803 w 1609516"/>
              <a:gd name="csY1018" fmla="*/ 236505 h 1538630"/>
              <a:gd name="csX1019" fmla="*/ 999806 w 1609516"/>
              <a:gd name="csY1019" fmla="*/ 236055 h 1538630"/>
              <a:gd name="csX1020" fmla="*/ 1003126 w 1609516"/>
              <a:gd name="csY1020" fmla="*/ 232851 h 1538630"/>
              <a:gd name="csX1021" fmla="*/ 1029487 w 1609516"/>
              <a:gd name="csY1021" fmla="*/ 205052 h 1538630"/>
              <a:gd name="csX1022" fmla="*/ 1029872 w 1609516"/>
              <a:gd name="csY1022" fmla="*/ 206442 h 1538630"/>
              <a:gd name="csX1023" fmla="*/ 1031614 w 1609516"/>
              <a:gd name="csY1023" fmla="*/ 203719 h 1538630"/>
              <a:gd name="csX1024" fmla="*/ 1038924 w 1609516"/>
              <a:gd name="csY1024" fmla="*/ 192280 h 1538630"/>
              <a:gd name="csX1025" fmla="*/ 1042049 w 1609516"/>
              <a:gd name="csY1025" fmla="*/ 190870 h 1538630"/>
              <a:gd name="csX1026" fmla="*/ 1044294 w 1609516"/>
              <a:gd name="csY1026" fmla="*/ 186026 h 1538630"/>
              <a:gd name="csX1027" fmla="*/ 1051422 w 1609516"/>
              <a:gd name="csY1027" fmla="*/ 178188 h 1538630"/>
              <a:gd name="csX1028" fmla="*/ 1052984 w 1609516"/>
              <a:gd name="csY1028" fmla="*/ 172551 h 1538630"/>
              <a:gd name="csX1029" fmla="*/ 1056108 w 1609516"/>
              <a:gd name="csY1029" fmla="*/ 172551 h 1538630"/>
              <a:gd name="csX1030" fmla="*/ 1059232 w 1609516"/>
              <a:gd name="csY1030" fmla="*/ 162686 h 1538630"/>
              <a:gd name="csX1031" fmla="*/ 1062357 w 1609516"/>
              <a:gd name="csY1031" fmla="*/ 162686 h 1538630"/>
              <a:gd name="csX1032" fmla="*/ 1063162 w 1609516"/>
              <a:gd name="csY1032" fmla="*/ 160258 h 1538630"/>
              <a:gd name="csX1033" fmla="*/ 1073292 w 1609516"/>
              <a:gd name="csY1033" fmla="*/ 140138 h 1538630"/>
              <a:gd name="csX1034" fmla="*/ 1076415 w 1609516"/>
              <a:gd name="csY1034" fmla="*/ 140138 h 1538630"/>
              <a:gd name="csX1035" fmla="*/ 1085294 w 1609516"/>
              <a:gd name="csY1035" fmla="*/ 117569 h 1538630"/>
              <a:gd name="csX1036" fmla="*/ 1087350 w 1609516"/>
              <a:gd name="csY1036" fmla="*/ 113363 h 1538630"/>
              <a:gd name="csX1037" fmla="*/ 1092037 w 1609516"/>
              <a:gd name="csY1037" fmla="*/ 111954 h 1538630"/>
              <a:gd name="csX1038" fmla="*/ 1092623 w 1609516"/>
              <a:gd name="csY1038" fmla="*/ 108695 h 1538630"/>
              <a:gd name="csX1039" fmla="*/ 1096723 w 1609516"/>
              <a:gd name="csY1039" fmla="*/ 100680 h 1538630"/>
              <a:gd name="csX1040" fmla="*/ 1098188 w 1609516"/>
              <a:gd name="csY1040" fmla="*/ 96013 h 1538630"/>
              <a:gd name="csX1041" fmla="*/ 1102288 w 1609516"/>
              <a:gd name="csY1041" fmla="*/ 87029 h 1538630"/>
              <a:gd name="csX1042" fmla="*/ 1104534 w 1609516"/>
              <a:gd name="csY1042" fmla="*/ 61222 h 1538630"/>
              <a:gd name="csX1043" fmla="*/ 1104381 w 1609516"/>
              <a:gd name="csY1043" fmla="*/ 55569 h 1538630"/>
              <a:gd name="csX1044" fmla="*/ 1104397 w 1609516"/>
              <a:gd name="csY1044" fmla="*/ 52335 h 1538630"/>
              <a:gd name="csX1045" fmla="*/ 1104436 w 1609516"/>
              <a:gd name="csY1045" fmla="*/ 48979 h 1538630"/>
              <a:gd name="csX1046" fmla="*/ 1104457 w 1609516"/>
              <a:gd name="csY1046" fmla="*/ 45575 h 1538630"/>
              <a:gd name="csX1047" fmla="*/ 1104534 w 1609516"/>
              <a:gd name="csY1047" fmla="*/ 37265 h 1538630"/>
              <a:gd name="csX1048" fmla="*/ 1107658 w 1609516"/>
              <a:gd name="csY1048" fmla="*/ 37265 h 1538630"/>
              <a:gd name="csX1049" fmla="*/ 1107463 w 1609516"/>
              <a:gd name="csY1049" fmla="*/ 31805 h 1538630"/>
              <a:gd name="csX1050" fmla="*/ 1107658 w 1609516"/>
              <a:gd name="csY1050" fmla="*/ 25991 h 1538630"/>
              <a:gd name="csX1051" fmla="*/ 1110782 w 1609516"/>
              <a:gd name="csY1051" fmla="*/ 23173 h 1538630"/>
              <a:gd name="csX1052" fmla="*/ 1111759 w 1609516"/>
              <a:gd name="csY1052" fmla="*/ 20091 h 1538630"/>
              <a:gd name="csX1053" fmla="*/ 1134507 w 1609516"/>
              <a:gd name="csY1053" fmla="*/ 2828 h 1538630"/>
              <a:gd name="csX1054" fmla="*/ 1155019 w 1609516"/>
              <a:gd name="csY1054" fmla="*/ 35 h 153863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  <a:cxn ang="0">
                <a:pos x="csX170" y="csY170"/>
              </a:cxn>
              <a:cxn ang="0">
                <a:pos x="csX171" y="csY171"/>
              </a:cxn>
              <a:cxn ang="0">
                <a:pos x="csX172" y="csY172"/>
              </a:cxn>
              <a:cxn ang="0">
                <a:pos x="csX173" y="csY173"/>
              </a:cxn>
              <a:cxn ang="0">
                <a:pos x="csX174" y="csY174"/>
              </a:cxn>
              <a:cxn ang="0">
                <a:pos x="csX175" y="csY175"/>
              </a:cxn>
              <a:cxn ang="0">
                <a:pos x="csX176" y="csY176"/>
              </a:cxn>
              <a:cxn ang="0">
                <a:pos x="csX177" y="csY177"/>
              </a:cxn>
              <a:cxn ang="0">
                <a:pos x="csX178" y="csY178"/>
              </a:cxn>
              <a:cxn ang="0">
                <a:pos x="csX179" y="csY179"/>
              </a:cxn>
              <a:cxn ang="0">
                <a:pos x="csX180" y="csY180"/>
              </a:cxn>
              <a:cxn ang="0">
                <a:pos x="csX181" y="csY181"/>
              </a:cxn>
              <a:cxn ang="0">
                <a:pos x="csX182" y="csY182"/>
              </a:cxn>
              <a:cxn ang="0">
                <a:pos x="csX183" y="csY183"/>
              </a:cxn>
              <a:cxn ang="0">
                <a:pos x="csX184" y="csY184"/>
              </a:cxn>
              <a:cxn ang="0">
                <a:pos x="csX185" y="csY185"/>
              </a:cxn>
              <a:cxn ang="0">
                <a:pos x="csX186" y="csY186"/>
              </a:cxn>
              <a:cxn ang="0">
                <a:pos x="csX187" y="csY187"/>
              </a:cxn>
              <a:cxn ang="0">
                <a:pos x="csX188" y="csY188"/>
              </a:cxn>
              <a:cxn ang="0">
                <a:pos x="csX189" y="csY189"/>
              </a:cxn>
              <a:cxn ang="0">
                <a:pos x="csX190" y="csY190"/>
              </a:cxn>
              <a:cxn ang="0">
                <a:pos x="csX191" y="csY191"/>
              </a:cxn>
              <a:cxn ang="0">
                <a:pos x="csX192" y="csY192"/>
              </a:cxn>
              <a:cxn ang="0">
                <a:pos x="csX193" y="csY193"/>
              </a:cxn>
              <a:cxn ang="0">
                <a:pos x="csX194" y="csY194"/>
              </a:cxn>
              <a:cxn ang="0">
                <a:pos x="csX195" y="csY195"/>
              </a:cxn>
              <a:cxn ang="0">
                <a:pos x="csX196" y="csY196"/>
              </a:cxn>
              <a:cxn ang="0">
                <a:pos x="csX197" y="csY197"/>
              </a:cxn>
              <a:cxn ang="0">
                <a:pos x="csX198" y="csY198"/>
              </a:cxn>
              <a:cxn ang="0">
                <a:pos x="csX199" y="csY199"/>
              </a:cxn>
              <a:cxn ang="0">
                <a:pos x="csX200" y="csY200"/>
              </a:cxn>
              <a:cxn ang="0">
                <a:pos x="csX201" y="csY201"/>
              </a:cxn>
              <a:cxn ang="0">
                <a:pos x="csX202" y="csY202"/>
              </a:cxn>
              <a:cxn ang="0">
                <a:pos x="csX203" y="csY203"/>
              </a:cxn>
              <a:cxn ang="0">
                <a:pos x="csX204" y="csY204"/>
              </a:cxn>
              <a:cxn ang="0">
                <a:pos x="csX205" y="csY205"/>
              </a:cxn>
              <a:cxn ang="0">
                <a:pos x="csX206" y="csY206"/>
              </a:cxn>
              <a:cxn ang="0">
                <a:pos x="csX207" y="csY207"/>
              </a:cxn>
              <a:cxn ang="0">
                <a:pos x="csX208" y="csY208"/>
              </a:cxn>
              <a:cxn ang="0">
                <a:pos x="csX209" y="csY209"/>
              </a:cxn>
              <a:cxn ang="0">
                <a:pos x="csX210" y="csY210"/>
              </a:cxn>
              <a:cxn ang="0">
                <a:pos x="csX211" y="csY211"/>
              </a:cxn>
              <a:cxn ang="0">
                <a:pos x="csX212" y="csY212"/>
              </a:cxn>
              <a:cxn ang="0">
                <a:pos x="csX213" y="csY213"/>
              </a:cxn>
              <a:cxn ang="0">
                <a:pos x="csX214" y="csY214"/>
              </a:cxn>
              <a:cxn ang="0">
                <a:pos x="csX215" y="csY215"/>
              </a:cxn>
              <a:cxn ang="0">
                <a:pos x="csX216" y="csY216"/>
              </a:cxn>
              <a:cxn ang="0">
                <a:pos x="csX217" y="csY217"/>
              </a:cxn>
              <a:cxn ang="0">
                <a:pos x="csX218" y="csY218"/>
              </a:cxn>
              <a:cxn ang="0">
                <a:pos x="csX219" y="csY219"/>
              </a:cxn>
              <a:cxn ang="0">
                <a:pos x="csX220" y="csY220"/>
              </a:cxn>
              <a:cxn ang="0">
                <a:pos x="csX221" y="csY221"/>
              </a:cxn>
              <a:cxn ang="0">
                <a:pos x="csX222" y="csY222"/>
              </a:cxn>
              <a:cxn ang="0">
                <a:pos x="csX223" y="csY223"/>
              </a:cxn>
              <a:cxn ang="0">
                <a:pos x="csX224" y="csY224"/>
              </a:cxn>
              <a:cxn ang="0">
                <a:pos x="csX225" y="csY225"/>
              </a:cxn>
              <a:cxn ang="0">
                <a:pos x="csX226" y="csY226"/>
              </a:cxn>
              <a:cxn ang="0">
                <a:pos x="csX227" y="csY227"/>
              </a:cxn>
              <a:cxn ang="0">
                <a:pos x="csX228" y="csY228"/>
              </a:cxn>
              <a:cxn ang="0">
                <a:pos x="csX229" y="csY229"/>
              </a:cxn>
              <a:cxn ang="0">
                <a:pos x="csX230" y="csY230"/>
              </a:cxn>
              <a:cxn ang="0">
                <a:pos x="csX231" y="csY231"/>
              </a:cxn>
              <a:cxn ang="0">
                <a:pos x="csX232" y="csY232"/>
              </a:cxn>
              <a:cxn ang="0">
                <a:pos x="csX233" y="csY233"/>
              </a:cxn>
              <a:cxn ang="0">
                <a:pos x="csX234" y="csY234"/>
              </a:cxn>
              <a:cxn ang="0">
                <a:pos x="csX235" y="csY235"/>
              </a:cxn>
              <a:cxn ang="0">
                <a:pos x="csX236" y="csY236"/>
              </a:cxn>
              <a:cxn ang="0">
                <a:pos x="csX237" y="csY237"/>
              </a:cxn>
              <a:cxn ang="0">
                <a:pos x="csX238" y="csY238"/>
              </a:cxn>
              <a:cxn ang="0">
                <a:pos x="csX239" y="csY239"/>
              </a:cxn>
              <a:cxn ang="0">
                <a:pos x="csX240" y="csY240"/>
              </a:cxn>
              <a:cxn ang="0">
                <a:pos x="csX241" y="csY241"/>
              </a:cxn>
              <a:cxn ang="0">
                <a:pos x="csX242" y="csY242"/>
              </a:cxn>
              <a:cxn ang="0">
                <a:pos x="csX243" y="csY243"/>
              </a:cxn>
              <a:cxn ang="0">
                <a:pos x="csX244" y="csY244"/>
              </a:cxn>
              <a:cxn ang="0">
                <a:pos x="csX245" y="csY245"/>
              </a:cxn>
              <a:cxn ang="0">
                <a:pos x="csX246" y="csY246"/>
              </a:cxn>
              <a:cxn ang="0">
                <a:pos x="csX247" y="csY247"/>
              </a:cxn>
              <a:cxn ang="0">
                <a:pos x="csX248" y="csY248"/>
              </a:cxn>
              <a:cxn ang="0">
                <a:pos x="csX249" y="csY249"/>
              </a:cxn>
              <a:cxn ang="0">
                <a:pos x="csX250" y="csY250"/>
              </a:cxn>
              <a:cxn ang="0">
                <a:pos x="csX251" y="csY251"/>
              </a:cxn>
              <a:cxn ang="0">
                <a:pos x="csX252" y="csY252"/>
              </a:cxn>
              <a:cxn ang="0">
                <a:pos x="csX253" y="csY253"/>
              </a:cxn>
              <a:cxn ang="0">
                <a:pos x="csX254" y="csY254"/>
              </a:cxn>
              <a:cxn ang="0">
                <a:pos x="csX255" y="csY255"/>
              </a:cxn>
              <a:cxn ang="0">
                <a:pos x="csX256" y="csY256"/>
              </a:cxn>
              <a:cxn ang="0">
                <a:pos x="csX257" y="csY257"/>
              </a:cxn>
              <a:cxn ang="0">
                <a:pos x="csX258" y="csY258"/>
              </a:cxn>
              <a:cxn ang="0">
                <a:pos x="csX259" y="csY259"/>
              </a:cxn>
              <a:cxn ang="0">
                <a:pos x="csX260" y="csY260"/>
              </a:cxn>
              <a:cxn ang="0">
                <a:pos x="csX261" y="csY261"/>
              </a:cxn>
              <a:cxn ang="0">
                <a:pos x="csX262" y="csY262"/>
              </a:cxn>
              <a:cxn ang="0">
                <a:pos x="csX263" y="csY263"/>
              </a:cxn>
              <a:cxn ang="0">
                <a:pos x="csX264" y="csY264"/>
              </a:cxn>
              <a:cxn ang="0">
                <a:pos x="csX265" y="csY265"/>
              </a:cxn>
              <a:cxn ang="0">
                <a:pos x="csX266" y="csY266"/>
              </a:cxn>
              <a:cxn ang="0">
                <a:pos x="csX267" y="csY267"/>
              </a:cxn>
              <a:cxn ang="0">
                <a:pos x="csX268" y="csY268"/>
              </a:cxn>
              <a:cxn ang="0">
                <a:pos x="csX269" y="csY269"/>
              </a:cxn>
              <a:cxn ang="0">
                <a:pos x="csX270" y="csY270"/>
              </a:cxn>
              <a:cxn ang="0">
                <a:pos x="csX271" y="csY271"/>
              </a:cxn>
              <a:cxn ang="0">
                <a:pos x="csX272" y="csY272"/>
              </a:cxn>
              <a:cxn ang="0">
                <a:pos x="csX273" y="csY273"/>
              </a:cxn>
              <a:cxn ang="0">
                <a:pos x="csX274" y="csY274"/>
              </a:cxn>
              <a:cxn ang="0">
                <a:pos x="csX275" y="csY275"/>
              </a:cxn>
              <a:cxn ang="0">
                <a:pos x="csX276" y="csY276"/>
              </a:cxn>
              <a:cxn ang="0">
                <a:pos x="csX277" y="csY277"/>
              </a:cxn>
              <a:cxn ang="0">
                <a:pos x="csX278" y="csY278"/>
              </a:cxn>
              <a:cxn ang="0">
                <a:pos x="csX279" y="csY279"/>
              </a:cxn>
              <a:cxn ang="0">
                <a:pos x="csX280" y="csY280"/>
              </a:cxn>
              <a:cxn ang="0">
                <a:pos x="csX281" y="csY281"/>
              </a:cxn>
              <a:cxn ang="0">
                <a:pos x="csX282" y="csY282"/>
              </a:cxn>
              <a:cxn ang="0">
                <a:pos x="csX283" y="csY283"/>
              </a:cxn>
              <a:cxn ang="0">
                <a:pos x="csX284" y="csY284"/>
              </a:cxn>
              <a:cxn ang="0">
                <a:pos x="csX285" y="csY285"/>
              </a:cxn>
              <a:cxn ang="0">
                <a:pos x="csX286" y="csY286"/>
              </a:cxn>
              <a:cxn ang="0">
                <a:pos x="csX287" y="csY287"/>
              </a:cxn>
              <a:cxn ang="0">
                <a:pos x="csX288" y="csY288"/>
              </a:cxn>
              <a:cxn ang="0">
                <a:pos x="csX289" y="csY289"/>
              </a:cxn>
              <a:cxn ang="0">
                <a:pos x="csX290" y="csY290"/>
              </a:cxn>
              <a:cxn ang="0">
                <a:pos x="csX291" y="csY291"/>
              </a:cxn>
              <a:cxn ang="0">
                <a:pos x="csX292" y="csY292"/>
              </a:cxn>
              <a:cxn ang="0">
                <a:pos x="csX293" y="csY293"/>
              </a:cxn>
              <a:cxn ang="0">
                <a:pos x="csX294" y="csY294"/>
              </a:cxn>
              <a:cxn ang="0">
                <a:pos x="csX295" y="csY295"/>
              </a:cxn>
              <a:cxn ang="0">
                <a:pos x="csX296" y="csY296"/>
              </a:cxn>
              <a:cxn ang="0">
                <a:pos x="csX297" y="csY297"/>
              </a:cxn>
              <a:cxn ang="0">
                <a:pos x="csX298" y="csY298"/>
              </a:cxn>
              <a:cxn ang="0">
                <a:pos x="csX299" y="csY299"/>
              </a:cxn>
              <a:cxn ang="0">
                <a:pos x="csX300" y="csY300"/>
              </a:cxn>
              <a:cxn ang="0">
                <a:pos x="csX301" y="csY301"/>
              </a:cxn>
              <a:cxn ang="0">
                <a:pos x="csX302" y="csY302"/>
              </a:cxn>
              <a:cxn ang="0">
                <a:pos x="csX303" y="csY303"/>
              </a:cxn>
              <a:cxn ang="0">
                <a:pos x="csX304" y="csY304"/>
              </a:cxn>
              <a:cxn ang="0">
                <a:pos x="csX305" y="csY305"/>
              </a:cxn>
              <a:cxn ang="0">
                <a:pos x="csX306" y="csY306"/>
              </a:cxn>
              <a:cxn ang="0">
                <a:pos x="csX307" y="csY307"/>
              </a:cxn>
              <a:cxn ang="0">
                <a:pos x="csX308" y="csY308"/>
              </a:cxn>
              <a:cxn ang="0">
                <a:pos x="csX309" y="csY309"/>
              </a:cxn>
              <a:cxn ang="0">
                <a:pos x="csX310" y="csY310"/>
              </a:cxn>
              <a:cxn ang="0">
                <a:pos x="csX311" y="csY311"/>
              </a:cxn>
              <a:cxn ang="0">
                <a:pos x="csX312" y="csY312"/>
              </a:cxn>
              <a:cxn ang="0">
                <a:pos x="csX313" y="csY313"/>
              </a:cxn>
              <a:cxn ang="0">
                <a:pos x="csX314" y="csY314"/>
              </a:cxn>
              <a:cxn ang="0">
                <a:pos x="csX315" y="csY315"/>
              </a:cxn>
              <a:cxn ang="0">
                <a:pos x="csX316" y="csY316"/>
              </a:cxn>
              <a:cxn ang="0">
                <a:pos x="csX317" y="csY317"/>
              </a:cxn>
              <a:cxn ang="0">
                <a:pos x="csX318" y="csY318"/>
              </a:cxn>
              <a:cxn ang="0">
                <a:pos x="csX319" y="csY319"/>
              </a:cxn>
              <a:cxn ang="0">
                <a:pos x="csX320" y="csY320"/>
              </a:cxn>
              <a:cxn ang="0">
                <a:pos x="csX321" y="csY321"/>
              </a:cxn>
              <a:cxn ang="0">
                <a:pos x="csX322" y="csY322"/>
              </a:cxn>
              <a:cxn ang="0">
                <a:pos x="csX323" y="csY323"/>
              </a:cxn>
              <a:cxn ang="0">
                <a:pos x="csX324" y="csY324"/>
              </a:cxn>
              <a:cxn ang="0">
                <a:pos x="csX325" y="csY325"/>
              </a:cxn>
              <a:cxn ang="0">
                <a:pos x="csX326" y="csY326"/>
              </a:cxn>
              <a:cxn ang="0">
                <a:pos x="csX327" y="csY327"/>
              </a:cxn>
              <a:cxn ang="0">
                <a:pos x="csX328" y="csY328"/>
              </a:cxn>
              <a:cxn ang="0">
                <a:pos x="csX329" y="csY329"/>
              </a:cxn>
              <a:cxn ang="0">
                <a:pos x="csX330" y="csY330"/>
              </a:cxn>
              <a:cxn ang="0">
                <a:pos x="csX331" y="csY331"/>
              </a:cxn>
              <a:cxn ang="0">
                <a:pos x="csX332" y="csY332"/>
              </a:cxn>
              <a:cxn ang="0">
                <a:pos x="csX333" y="csY333"/>
              </a:cxn>
              <a:cxn ang="0">
                <a:pos x="csX334" y="csY334"/>
              </a:cxn>
              <a:cxn ang="0">
                <a:pos x="csX335" y="csY335"/>
              </a:cxn>
              <a:cxn ang="0">
                <a:pos x="csX336" y="csY336"/>
              </a:cxn>
              <a:cxn ang="0">
                <a:pos x="csX337" y="csY337"/>
              </a:cxn>
              <a:cxn ang="0">
                <a:pos x="csX338" y="csY338"/>
              </a:cxn>
              <a:cxn ang="0">
                <a:pos x="csX339" y="csY339"/>
              </a:cxn>
              <a:cxn ang="0">
                <a:pos x="csX340" y="csY340"/>
              </a:cxn>
              <a:cxn ang="0">
                <a:pos x="csX341" y="csY341"/>
              </a:cxn>
              <a:cxn ang="0">
                <a:pos x="csX342" y="csY342"/>
              </a:cxn>
              <a:cxn ang="0">
                <a:pos x="csX343" y="csY343"/>
              </a:cxn>
              <a:cxn ang="0">
                <a:pos x="csX344" y="csY344"/>
              </a:cxn>
              <a:cxn ang="0">
                <a:pos x="csX345" y="csY345"/>
              </a:cxn>
              <a:cxn ang="0">
                <a:pos x="csX346" y="csY346"/>
              </a:cxn>
              <a:cxn ang="0">
                <a:pos x="csX347" y="csY347"/>
              </a:cxn>
              <a:cxn ang="0">
                <a:pos x="csX348" y="csY348"/>
              </a:cxn>
              <a:cxn ang="0">
                <a:pos x="csX349" y="csY349"/>
              </a:cxn>
              <a:cxn ang="0">
                <a:pos x="csX350" y="csY350"/>
              </a:cxn>
              <a:cxn ang="0">
                <a:pos x="csX351" y="csY351"/>
              </a:cxn>
              <a:cxn ang="0">
                <a:pos x="csX352" y="csY352"/>
              </a:cxn>
              <a:cxn ang="0">
                <a:pos x="csX353" y="csY353"/>
              </a:cxn>
              <a:cxn ang="0">
                <a:pos x="csX354" y="csY354"/>
              </a:cxn>
              <a:cxn ang="0">
                <a:pos x="csX355" y="csY355"/>
              </a:cxn>
              <a:cxn ang="0">
                <a:pos x="csX356" y="csY356"/>
              </a:cxn>
              <a:cxn ang="0">
                <a:pos x="csX357" y="csY357"/>
              </a:cxn>
              <a:cxn ang="0">
                <a:pos x="csX358" y="csY358"/>
              </a:cxn>
              <a:cxn ang="0">
                <a:pos x="csX359" y="csY359"/>
              </a:cxn>
              <a:cxn ang="0">
                <a:pos x="csX360" y="csY360"/>
              </a:cxn>
              <a:cxn ang="0">
                <a:pos x="csX361" y="csY361"/>
              </a:cxn>
              <a:cxn ang="0">
                <a:pos x="csX362" y="csY362"/>
              </a:cxn>
              <a:cxn ang="0">
                <a:pos x="csX363" y="csY363"/>
              </a:cxn>
              <a:cxn ang="0">
                <a:pos x="csX364" y="csY364"/>
              </a:cxn>
              <a:cxn ang="0">
                <a:pos x="csX365" y="csY365"/>
              </a:cxn>
              <a:cxn ang="0">
                <a:pos x="csX366" y="csY366"/>
              </a:cxn>
              <a:cxn ang="0">
                <a:pos x="csX367" y="csY367"/>
              </a:cxn>
              <a:cxn ang="0">
                <a:pos x="csX368" y="csY368"/>
              </a:cxn>
              <a:cxn ang="0">
                <a:pos x="csX369" y="csY369"/>
              </a:cxn>
              <a:cxn ang="0">
                <a:pos x="csX370" y="csY370"/>
              </a:cxn>
              <a:cxn ang="0">
                <a:pos x="csX371" y="csY371"/>
              </a:cxn>
              <a:cxn ang="0">
                <a:pos x="csX372" y="csY372"/>
              </a:cxn>
              <a:cxn ang="0">
                <a:pos x="csX373" y="csY373"/>
              </a:cxn>
              <a:cxn ang="0">
                <a:pos x="csX374" y="csY374"/>
              </a:cxn>
              <a:cxn ang="0">
                <a:pos x="csX375" y="csY375"/>
              </a:cxn>
              <a:cxn ang="0">
                <a:pos x="csX376" y="csY376"/>
              </a:cxn>
              <a:cxn ang="0">
                <a:pos x="csX377" y="csY377"/>
              </a:cxn>
              <a:cxn ang="0">
                <a:pos x="csX378" y="csY378"/>
              </a:cxn>
              <a:cxn ang="0">
                <a:pos x="csX379" y="csY379"/>
              </a:cxn>
              <a:cxn ang="0">
                <a:pos x="csX380" y="csY380"/>
              </a:cxn>
              <a:cxn ang="0">
                <a:pos x="csX381" y="csY381"/>
              </a:cxn>
              <a:cxn ang="0">
                <a:pos x="csX382" y="csY382"/>
              </a:cxn>
              <a:cxn ang="0">
                <a:pos x="csX383" y="csY383"/>
              </a:cxn>
              <a:cxn ang="0">
                <a:pos x="csX384" y="csY384"/>
              </a:cxn>
              <a:cxn ang="0">
                <a:pos x="csX385" y="csY385"/>
              </a:cxn>
              <a:cxn ang="0">
                <a:pos x="csX386" y="csY386"/>
              </a:cxn>
              <a:cxn ang="0">
                <a:pos x="csX387" y="csY387"/>
              </a:cxn>
              <a:cxn ang="0">
                <a:pos x="csX388" y="csY388"/>
              </a:cxn>
              <a:cxn ang="0">
                <a:pos x="csX389" y="csY389"/>
              </a:cxn>
              <a:cxn ang="0">
                <a:pos x="csX390" y="csY390"/>
              </a:cxn>
              <a:cxn ang="0">
                <a:pos x="csX391" y="csY391"/>
              </a:cxn>
              <a:cxn ang="0">
                <a:pos x="csX392" y="csY392"/>
              </a:cxn>
              <a:cxn ang="0">
                <a:pos x="csX393" y="csY393"/>
              </a:cxn>
              <a:cxn ang="0">
                <a:pos x="csX394" y="csY394"/>
              </a:cxn>
              <a:cxn ang="0">
                <a:pos x="csX395" y="csY395"/>
              </a:cxn>
              <a:cxn ang="0">
                <a:pos x="csX396" y="csY396"/>
              </a:cxn>
              <a:cxn ang="0">
                <a:pos x="csX397" y="csY397"/>
              </a:cxn>
              <a:cxn ang="0">
                <a:pos x="csX398" y="csY398"/>
              </a:cxn>
              <a:cxn ang="0">
                <a:pos x="csX399" y="csY399"/>
              </a:cxn>
              <a:cxn ang="0">
                <a:pos x="csX400" y="csY400"/>
              </a:cxn>
              <a:cxn ang="0">
                <a:pos x="csX401" y="csY401"/>
              </a:cxn>
              <a:cxn ang="0">
                <a:pos x="csX402" y="csY402"/>
              </a:cxn>
              <a:cxn ang="0">
                <a:pos x="csX403" y="csY403"/>
              </a:cxn>
              <a:cxn ang="0">
                <a:pos x="csX404" y="csY404"/>
              </a:cxn>
              <a:cxn ang="0">
                <a:pos x="csX405" y="csY405"/>
              </a:cxn>
              <a:cxn ang="0">
                <a:pos x="csX406" y="csY406"/>
              </a:cxn>
              <a:cxn ang="0">
                <a:pos x="csX407" y="csY407"/>
              </a:cxn>
              <a:cxn ang="0">
                <a:pos x="csX408" y="csY408"/>
              </a:cxn>
              <a:cxn ang="0">
                <a:pos x="csX409" y="csY409"/>
              </a:cxn>
              <a:cxn ang="0">
                <a:pos x="csX410" y="csY410"/>
              </a:cxn>
              <a:cxn ang="0">
                <a:pos x="csX411" y="csY411"/>
              </a:cxn>
              <a:cxn ang="0">
                <a:pos x="csX412" y="csY412"/>
              </a:cxn>
              <a:cxn ang="0">
                <a:pos x="csX413" y="csY413"/>
              </a:cxn>
              <a:cxn ang="0">
                <a:pos x="csX414" y="csY414"/>
              </a:cxn>
              <a:cxn ang="0">
                <a:pos x="csX415" y="csY415"/>
              </a:cxn>
              <a:cxn ang="0">
                <a:pos x="csX416" y="csY416"/>
              </a:cxn>
              <a:cxn ang="0">
                <a:pos x="csX417" y="csY417"/>
              </a:cxn>
              <a:cxn ang="0">
                <a:pos x="csX418" y="csY418"/>
              </a:cxn>
              <a:cxn ang="0">
                <a:pos x="csX419" y="csY419"/>
              </a:cxn>
              <a:cxn ang="0">
                <a:pos x="csX420" y="csY420"/>
              </a:cxn>
              <a:cxn ang="0">
                <a:pos x="csX421" y="csY421"/>
              </a:cxn>
              <a:cxn ang="0">
                <a:pos x="csX422" y="csY422"/>
              </a:cxn>
              <a:cxn ang="0">
                <a:pos x="csX423" y="csY423"/>
              </a:cxn>
              <a:cxn ang="0">
                <a:pos x="csX424" y="csY424"/>
              </a:cxn>
              <a:cxn ang="0">
                <a:pos x="csX425" y="csY425"/>
              </a:cxn>
              <a:cxn ang="0">
                <a:pos x="csX426" y="csY426"/>
              </a:cxn>
              <a:cxn ang="0">
                <a:pos x="csX427" y="csY427"/>
              </a:cxn>
              <a:cxn ang="0">
                <a:pos x="csX428" y="csY428"/>
              </a:cxn>
              <a:cxn ang="0">
                <a:pos x="csX429" y="csY429"/>
              </a:cxn>
              <a:cxn ang="0">
                <a:pos x="csX430" y="csY430"/>
              </a:cxn>
              <a:cxn ang="0">
                <a:pos x="csX431" y="csY431"/>
              </a:cxn>
              <a:cxn ang="0">
                <a:pos x="csX432" y="csY432"/>
              </a:cxn>
              <a:cxn ang="0">
                <a:pos x="csX433" y="csY433"/>
              </a:cxn>
              <a:cxn ang="0">
                <a:pos x="csX434" y="csY434"/>
              </a:cxn>
              <a:cxn ang="0">
                <a:pos x="csX435" y="csY435"/>
              </a:cxn>
              <a:cxn ang="0">
                <a:pos x="csX436" y="csY436"/>
              </a:cxn>
              <a:cxn ang="0">
                <a:pos x="csX437" y="csY437"/>
              </a:cxn>
              <a:cxn ang="0">
                <a:pos x="csX438" y="csY438"/>
              </a:cxn>
              <a:cxn ang="0">
                <a:pos x="csX439" y="csY439"/>
              </a:cxn>
              <a:cxn ang="0">
                <a:pos x="csX440" y="csY440"/>
              </a:cxn>
              <a:cxn ang="0">
                <a:pos x="csX441" y="csY441"/>
              </a:cxn>
              <a:cxn ang="0">
                <a:pos x="csX442" y="csY442"/>
              </a:cxn>
              <a:cxn ang="0">
                <a:pos x="csX443" y="csY443"/>
              </a:cxn>
              <a:cxn ang="0">
                <a:pos x="csX444" y="csY444"/>
              </a:cxn>
              <a:cxn ang="0">
                <a:pos x="csX445" y="csY445"/>
              </a:cxn>
              <a:cxn ang="0">
                <a:pos x="csX446" y="csY446"/>
              </a:cxn>
              <a:cxn ang="0">
                <a:pos x="csX447" y="csY447"/>
              </a:cxn>
              <a:cxn ang="0">
                <a:pos x="csX448" y="csY448"/>
              </a:cxn>
              <a:cxn ang="0">
                <a:pos x="csX449" y="csY449"/>
              </a:cxn>
              <a:cxn ang="0">
                <a:pos x="csX450" y="csY450"/>
              </a:cxn>
              <a:cxn ang="0">
                <a:pos x="csX451" y="csY451"/>
              </a:cxn>
              <a:cxn ang="0">
                <a:pos x="csX452" y="csY452"/>
              </a:cxn>
              <a:cxn ang="0">
                <a:pos x="csX453" y="csY453"/>
              </a:cxn>
              <a:cxn ang="0">
                <a:pos x="csX454" y="csY454"/>
              </a:cxn>
              <a:cxn ang="0">
                <a:pos x="csX455" y="csY455"/>
              </a:cxn>
              <a:cxn ang="0">
                <a:pos x="csX456" y="csY456"/>
              </a:cxn>
              <a:cxn ang="0">
                <a:pos x="csX457" y="csY457"/>
              </a:cxn>
              <a:cxn ang="0">
                <a:pos x="csX458" y="csY458"/>
              </a:cxn>
              <a:cxn ang="0">
                <a:pos x="csX459" y="csY459"/>
              </a:cxn>
              <a:cxn ang="0">
                <a:pos x="csX460" y="csY460"/>
              </a:cxn>
              <a:cxn ang="0">
                <a:pos x="csX461" y="csY461"/>
              </a:cxn>
              <a:cxn ang="0">
                <a:pos x="csX462" y="csY462"/>
              </a:cxn>
              <a:cxn ang="0">
                <a:pos x="csX463" y="csY463"/>
              </a:cxn>
              <a:cxn ang="0">
                <a:pos x="csX464" y="csY464"/>
              </a:cxn>
              <a:cxn ang="0">
                <a:pos x="csX465" y="csY465"/>
              </a:cxn>
              <a:cxn ang="0">
                <a:pos x="csX466" y="csY466"/>
              </a:cxn>
              <a:cxn ang="0">
                <a:pos x="csX467" y="csY467"/>
              </a:cxn>
              <a:cxn ang="0">
                <a:pos x="csX468" y="csY468"/>
              </a:cxn>
              <a:cxn ang="0">
                <a:pos x="csX469" y="csY469"/>
              </a:cxn>
              <a:cxn ang="0">
                <a:pos x="csX470" y="csY470"/>
              </a:cxn>
              <a:cxn ang="0">
                <a:pos x="csX471" y="csY471"/>
              </a:cxn>
              <a:cxn ang="0">
                <a:pos x="csX472" y="csY472"/>
              </a:cxn>
              <a:cxn ang="0">
                <a:pos x="csX473" y="csY473"/>
              </a:cxn>
              <a:cxn ang="0">
                <a:pos x="csX474" y="csY474"/>
              </a:cxn>
              <a:cxn ang="0">
                <a:pos x="csX475" y="csY475"/>
              </a:cxn>
              <a:cxn ang="0">
                <a:pos x="csX476" y="csY476"/>
              </a:cxn>
              <a:cxn ang="0">
                <a:pos x="csX477" y="csY477"/>
              </a:cxn>
              <a:cxn ang="0">
                <a:pos x="csX478" y="csY478"/>
              </a:cxn>
              <a:cxn ang="0">
                <a:pos x="csX479" y="csY479"/>
              </a:cxn>
              <a:cxn ang="0">
                <a:pos x="csX480" y="csY480"/>
              </a:cxn>
              <a:cxn ang="0">
                <a:pos x="csX481" y="csY481"/>
              </a:cxn>
              <a:cxn ang="0">
                <a:pos x="csX482" y="csY482"/>
              </a:cxn>
              <a:cxn ang="0">
                <a:pos x="csX483" y="csY483"/>
              </a:cxn>
              <a:cxn ang="0">
                <a:pos x="csX484" y="csY484"/>
              </a:cxn>
              <a:cxn ang="0">
                <a:pos x="csX485" y="csY485"/>
              </a:cxn>
              <a:cxn ang="0">
                <a:pos x="csX486" y="csY486"/>
              </a:cxn>
              <a:cxn ang="0">
                <a:pos x="csX487" y="csY487"/>
              </a:cxn>
              <a:cxn ang="0">
                <a:pos x="csX488" y="csY488"/>
              </a:cxn>
              <a:cxn ang="0">
                <a:pos x="csX489" y="csY489"/>
              </a:cxn>
              <a:cxn ang="0">
                <a:pos x="csX490" y="csY490"/>
              </a:cxn>
              <a:cxn ang="0">
                <a:pos x="csX491" y="csY491"/>
              </a:cxn>
              <a:cxn ang="0">
                <a:pos x="csX492" y="csY492"/>
              </a:cxn>
              <a:cxn ang="0">
                <a:pos x="csX493" y="csY493"/>
              </a:cxn>
              <a:cxn ang="0">
                <a:pos x="csX494" y="csY494"/>
              </a:cxn>
              <a:cxn ang="0">
                <a:pos x="csX495" y="csY495"/>
              </a:cxn>
              <a:cxn ang="0">
                <a:pos x="csX496" y="csY496"/>
              </a:cxn>
              <a:cxn ang="0">
                <a:pos x="csX497" y="csY497"/>
              </a:cxn>
              <a:cxn ang="0">
                <a:pos x="csX498" y="csY498"/>
              </a:cxn>
              <a:cxn ang="0">
                <a:pos x="csX499" y="csY499"/>
              </a:cxn>
              <a:cxn ang="0">
                <a:pos x="csX500" y="csY500"/>
              </a:cxn>
              <a:cxn ang="0">
                <a:pos x="csX501" y="csY501"/>
              </a:cxn>
              <a:cxn ang="0">
                <a:pos x="csX502" y="csY502"/>
              </a:cxn>
              <a:cxn ang="0">
                <a:pos x="csX503" y="csY503"/>
              </a:cxn>
              <a:cxn ang="0">
                <a:pos x="csX504" y="csY504"/>
              </a:cxn>
              <a:cxn ang="0">
                <a:pos x="csX505" y="csY505"/>
              </a:cxn>
              <a:cxn ang="0">
                <a:pos x="csX506" y="csY506"/>
              </a:cxn>
              <a:cxn ang="0">
                <a:pos x="csX507" y="csY507"/>
              </a:cxn>
              <a:cxn ang="0">
                <a:pos x="csX508" y="csY508"/>
              </a:cxn>
              <a:cxn ang="0">
                <a:pos x="csX509" y="csY509"/>
              </a:cxn>
              <a:cxn ang="0">
                <a:pos x="csX510" y="csY510"/>
              </a:cxn>
              <a:cxn ang="0">
                <a:pos x="csX511" y="csY511"/>
              </a:cxn>
              <a:cxn ang="0">
                <a:pos x="csX512" y="csY512"/>
              </a:cxn>
              <a:cxn ang="0">
                <a:pos x="csX513" y="csY513"/>
              </a:cxn>
              <a:cxn ang="0">
                <a:pos x="csX514" y="csY514"/>
              </a:cxn>
              <a:cxn ang="0">
                <a:pos x="csX515" y="csY515"/>
              </a:cxn>
              <a:cxn ang="0">
                <a:pos x="csX516" y="csY516"/>
              </a:cxn>
              <a:cxn ang="0">
                <a:pos x="csX517" y="csY517"/>
              </a:cxn>
              <a:cxn ang="0">
                <a:pos x="csX518" y="csY518"/>
              </a:cxn>
              <a:cxn ang="0">
                <a:pos x="csX519" y="csY519"/>
              </a:cxn>
              <a:cxn ang="0">
                <a:pos x="csX520" y="csY520"/>
              </a:cxn>
              <a:cxn ang="0">
                <a:pos x="csX521" y="csY521"/>
              </a:cxn>
              <a:cxn ang="0">
                <a:pos x="csX522" y="csY522"/>
              </a:cxn>
              <a:cxn ang="0">
                <a:pos x="csX523" y="csY523"/>
              </a:cxn>
              <a:cxn ang="0">
                <a:pos x="csX524" y="csY524"/>
              </a:cxn>
              <a:cxn ang="0">
                <a:pos x="csX525" y="csY525"/>
              </a:cxn>
              <a:cxn ang="0">
                <a:pos x="csX526" y="csY526"/>
              </a:cxn>
              <a:cxn ang="0">
                <a:pos x="csX527" y="csY527"/>
              </a:cxn>
              <a:cxn ang="0">
                <a:pos x="csX528" y="csY528"/>
              </a:cxn>
              <a:cxn ang="0">
                <a:pos x="csX529" y="csY529"/>
              </a:cxn>
              <a:cxn ang="0">
                <a:pos x="csX530" y="csY530"/>
              </a:cxn>
              <a:cxn ang="0">
                <a:pos x="csX531" y="csY531"/>
              </a:cxn>
              <a:cxn ang="0">
                <a:pos x="csX532" y="csY532"/>
              </a:cxn>
              <a:cxn ang="0">
                <a:pos x="csX533" y="csY533"/>
              </a:cxn>
              <a:cxn ang="0">
                <a:pos x="csX534" y="csY534"/>
              </a:cxn>
              <a:cxn ang="0">
                <a:pos x="csX535" y="csY535"/>
              </a:cxn>
              <a:cxn ang="0">
                <a:pos x="csX536" y="csY536"/>
              </a:cxn>
              <a:cxn ang="0">
                <a:pos x="csX537" y="csY537"/>
              </a:cxn>
              <a:cxn ang="0">
                <a:pos x="csX538" y="csY538"/>
              </a:cxn>
              <a:cxn ang="0">
                <a:pos x="csX539" y="csY539"/>
              </a:cxn>
              <a:cxn ang="0">
                <a:pos x="csX540" y="csY540"/>
              </a:cxn>
              <a:cxn ang="0">
                <a:pos x="csX541" y="csY541"/>
              </a:cxn>
              <a:cxn ang="0">
                <a:pos x="csX542" y="csY542"/>
              </a:cxn>
              <a:cxn ang="0">
                <a:pos x="csX543" y="csY543"/>
              </a:cxn>
              <a:cxn ang="0">
                <a:pos x="csX544" y="csY544"/>
              </a:cxn>
              <a:cxn ang="0">
                <a:pos x="csX545" y="csY545"/>
              </a:cxn>
              <a:cxn ang="0">
                <a:pos x="csX546" y="csY546"/>
              </a:cxn>
              <a:cxn ang="0">
                <a:pos x="csX547" y="csY547"/>
              </a:cxn>
              <a:cxn ang="0">
                <a:pos x="csX548" y="csY548"/>
              </a:cxn>
              <a:cxn ang="0">
                <a:pos x="csX549" y="csY549"/>
              </a:cxn>
              <a:cxn ang="0">
                <a:pos x="csX550" y="csY550"/>
              </a:cxn>
              <a:cxn ang="0">
                <a:pos x="csX551" y="csY551"/>
              </a:cxn>
              <a:cxn ang="0">
                <a:pos x="csX552" y="csY552"/>
              </a:cxn>
              <a:cxn ang="0">
                <a:pos x="csX553" y="csY553"/>
              </a:cxn>
              <a:cxn ang="0">
                <a:pos x="csX554" y="csY554"/>
              </a:cxn>
              <a:cxn ang="0">
                <a:pos x="csX555" y="csY555"/>
              </a:cxn>
              <a:cxn ang="0">
                <a:pos x="csX556" y="csY556"/>
              </a:cxn>
              <a:cxn ang="0">
                <a:pos x="csX557" y="csY557"/>
              </a:cxn>
              <a:cxn ang="0">
                <a:pos x="csX558" y="csY558"/>
              </a:cxn>
              <a:cxn ang="0">
                <a:pos x="csX559" y="csY559"/>
              </a:cxn>
              <a:cxn ang="0">
                <a:pos x="csX560" y="csY560"/>
              </a:cxn>
              <a:cxn ang="0">
                <a:pos x="csX561" y="csY561"/>
              </a:cxn>
              <a:cxn ang="0">
                <a:pos x="csX562" y="csY562"/>
              </a:cxn>
              <a:cxn ang="0">
                <a:pos x="csX563" y="csY563"/>
              </a:cxn>
              <a:cxn ang="0">
                <a:pos x="csX564" y="csY564"/>
              </a:cxn>
              <a:cxn ang="0">
                <a:pos x="csX565" y="csY565"/>
              </a:cxn>
              <a:cxn ang="0">
                <a:pos x="csX566" y="csY566"/>
              </a:cxn>
              <a:cxn ang="0">
                <a:pos x="csX567" y="csY567"/>
              </a:cxn>
              <a:cxn ang="0">
                <a:pos x="csX568" y="csY568"/>
              </a:cxn>
              <a:cxn ang="0">
                <a:pos x="csX569" y="csY569"/>
              </a:cxn>
              <a:cxn ang="0">
                <a:pos x="csX570" y="csY570"/>
              </a:cxn>
              <a:cxn ang="0">
                <a:pos x="csX571" y="csY571"/>
              </a:cxn>
              <a:cxn ang="0">
                <a:pos x="csX572" y="csY572"/>
              </a:cxn>
              <a:cxn ang="0">
                <a:pos x="csX573" y="csY573"/>
              </a:cxn>
              <a:cxn ang="0">
                <a:pos x="csX574" y="csY574"/>
              </a:cxn>
              <a:cxn ang="0">
                <a:pos x="csX575" y="csY575"/>
              </a:cxn>
              <a:cxn ang="0">
                <a:pos x="csX576" y="csY576"/>
              </a:cxn>
              <a:cxn ang="0">
                <a:pos x="csX577" y="csY577"/>
              </a:cxn>
              <a:cxn ang="0">
                <a:pos x="csX578" y="csY578"/>
              </a:cxn>
              <a:cxn ang="0">
                <a:pos x="csX579" y="csY579"/>
              </a:cxn>
              <a:cxn ang="0">
                <a:pos x="csX580" y="csY580"/>
              </a:cxn>
              <a:cxn ang="0">
                <a:pos x="csX581" y="csY581"/>
              </a:cxn>
              <a:cxn ang="0">
                <a:pos x="csX582" y="csY582"/>
              </a:cxn>
              <a:cxn ang="0">
                <a:pos x="csX583" y="csY583"/>
              </a:cxn>
              <a:cxn ang="0">
                <a:pos x="csX584" y="csY584"/>
              </a:cxn>
              <a:cxn ang="0">
                <a:pos x="csX585" y="csY585"/>
              </a:cxn>
              <a:cxn ang="0">
                <a:pos x="csX586" y="csY586"/>
              </a:cxn>
              <a:cxn ang="0">
                <a:pos x="csX587" y="csY587"/>
              </a:cxn>
              <a:cxn ang="0">
                <a:pos x="csX588" y="csY588"/>
              </a:cxn>
              <a:cxn ang="0">
                <a:pos x="csX589" y="csY589"/>
              </a:cxn>
              <a:cxn ang="0">
                <a:pos x="csX590" y="csY590"/>
              </a:cxn>
              <a:cxn ang="0">
                <a:pos x="csX591" y="csY591"/>
              </a:cxn>
              <a:cxn ang="0">
                <a:pos x="csX592" y="csY592"/>
              </a:cxn>
              <a:cxn ang="0">
                <a:pos x="csX593" y="csY593"/>
              </a:cxn>
              <a:cxn ang="0">
                <a:pos x="csX594" y="csY594"/>
              </a:cxn>
              <a:cxn ang="0">
                <a:pos x="csX595" y="csY595"/>
              </a:cxn>
              <a:cxn ang="0">
                <a:pos x="csX596" y="csY596"/>
              </a:cxn>
              <a:cxn ang="0">
                <a:pos x="csX597" y="csY597"/>
              </a:cxn>
              <a:cxn ang="0">
                <a:pos x="csX598" y="csY598"/>
              </a:cxn>
              <a:cxn ang="0">
                <a:pos x="csX599" y="csY599"/>
              </a:cxn>
              <a:cxn ang="0">
                <a:pos x="csX600" y="csY600"/>
              </a:cxn>
              <a:cxn ang="0">
                <a:pos x="csX601" y="csY601"/>
              </a:cxn>
              <a:cxn ang="0">
                <a:pos x="csX602" y="csY602"/>
              </a:cxn>
              <a:cxn ang="0">
                <a:pos x="csX603" y="csY603"/>
              </a:cxn>
              <a:cxn ang="0">
                <a:pos x="csX604" y="csY604"/>
              </a:cxn>
              <a:cxn ang="0">
                <a:pos x="csX605" y="csY605"/>
              </a:cxn>
              <a:cxn ang="0">
                <a:pos x="csX606" y="csY606"/>
              </a:cxn>
              <a:cxn ang="0">
                <a:pos x="csX607" y="csY607"/>
              </a:cxn>
              <a:cxn ang="0">
                <a:pos x="csX608" y="csY608"/>
              </a:cxn>
              <a:cxn ang="0">
                <a:pos x="csX609" y="csY609"/>
              </a:cxn>
              <a:cxn ang="0">
                <a:pos x="csX610" y="csY610"/>
              </a:cxn>
              <a:cxn ang="0">
                <a:pos x="csX611" y="csY611"/>
              </a:cxn>
              <a:cxn ang="0">
                <a:pos x="csX612" y="csY612"/>
              </a:cxn>
              <a:cxn ang="0">
                <a:pos x="csX613" y="csY613"/>
              </a:cxn>
              <a:cxn ang="0">
                <a:pos x="csX614" y="csY614"/>
              </a:cxn>
              <a:cxn ang="0">
                <a:pos x="csX615" y="csY615"/>
              </a:cxn>
              <a:cxn ang="0">
                <a:pos x="csX616" y="csY616"/>
              </a:cxn>
              <a:cxn ang="0">
                <a:pos x="csX617" y="csY617"/>
              </a:cxn>
              <a:cxn ang="0">
                <a:pos x="csX618" y="csY618"/>
              </a:cxn>
              <a:cxn ang="0">
                <a:pos x="csX619" y="csY619"/>
              </a:cxn>
              <a:cxn ang="0">
                <a:pos x="csX620" y="csY620"/>
              </a:cxn>
              <a:cxn ang="0">
                <a:pos x="csX621" y="csY621"/>
              </a:cxn>
              <a:cxn ang="0">
                <a:pos x="csX622" y="csY622"/>
              </a:cxn>
              <a:cxn ang="0">
                <a:pos x="csX623" y="csY623"/>
              </a:cxn>
              <a:cxn ang="0">
                <a:pos x="csX624" y="csY624"/>
              </a:cxn>
              <a:cxn ang="0">
                <a:pos x="csX625" y="csY625"/>
              </a:cxn>
              <a:cxn ang="0">
                <a:pos x="csX626" y="csY626"/>
              </a:cxn>
              <a:cxn ang="0">
                <a:pos x="csX627" y="csY627"/>
              </a:cxn>
              <a:cxn ang="0">
                <a:pos x="csX628" y="csY628"/>
              </a:cxn>
              <a:cxn ang="0">
                <a:pos x="csX629" y="csY629"/>
              </a:cxn>
              <a:cxn ang="0">
                <a:pos x="csX630" y="csY630"/>
              </a:cxn>
              <a:cxn ang="0">
                <a:pos x="csX631" y="csY631"/>
              </a:cxn>
              <a:cxn ang="0">
                <a:pos x="csX632" y="csY632"/>
              </a:cxn>
              <a:cxn ang="0">
                <a:pos x="csX633" y="csY633"/>
              </a:cxn>
              <a:cxn ang="0">
                <a:pos x="csX634" y="csY634"/>
              </a:cxn>
              <a:cxn ang="0">
                <a:pos x="csX635" y="csY635"/>
              </a:cxn>
              <a:cxn ang="0">
                <a:pos x="csX636" y="csY636"/>
              </a:cxn>
              <a:cxn ang="0">
                <a:pos x="csX637" y="csY637"/>
              </a:cxn>
              <a:cxn ang="0">
                <a:pos x="csX638" y="csY638"/>
              </a:cxn>
              <a:cxn ang="0">
                <a:pos x="csX639" y="csY639"/>
              </a:cxn>
              <a:cxn ang="0">
                <a:pos x="csX640" y="csY640"/>
              </a:cxn>
              <a:cxn ang="0">
                <a:pos x="csX641" y="csY641"/>
              </a:cxn>
              <a:cxn ang="0">
                <a:pos x="csX642" y="csY642"/>
              </a:cxn>
              <a:cxn ang="0">
                <a:pos x="csX643" y="csY643"/>
              </a:cxn>
              <a:cxn ang="0">
                <a:pos x="csX644" y="csY644"/>
              </a:cxn>
              <a:cxn ang="0">
                <a:pos x="csX645" y="csY645"/>
              </a:cxn>
              <a:cxn ang="0">
                <a:pos x="csX646" y="csY646"/>
              </a:cxn>
              <a:cxn ang="0">
                <a:pos x="csX647" y="csY647"/>
              </a:cxn>
              <a:cxn ang="0">
                <a:pos x="csX648" y="csY648"/>
              </a:cxn>
              <a:cxn ang="0">
                <a:pos x="csX649" y="csY649"/>
              </a:cxn>
              <a:cxn ang="0">
                <a:pos x="csX650" y="csY650"/>
              </a:cxn>
              <a:cxn ang="0">
                <a:pos x="csX651" y="csY651"/>
              </a:cxn>
              <a:cxn ang="0">
                <a:pos x="csX652" y="csY652"/>
              </a:cxn>
              <a:cxn ang="0">
                <a:pos x="csX653" y="csY653"/>
              </a:cxn>
              <a:cxn ang="0">
                <a:pos x="csX654" y="csY654"/>
              </a:cxn>
              <a:cxn ang="0">
                <a:pos x="csX655" y="csY655"/>
              </a:cxn>
              <a:cxn ang="0">
                <a:pos x="csX656" y="csY656"/>
              </a:cxn>
              <a:cxn ang="0">
                <a:pos x="csX657" y="csY657"/>
              </a:cxn>
              <a:cxn ang="0">
                <a:pos x="csX658" y="csY658"/>
              </a:cxn>
              <a:cxn ang="0">
                <a:pos x="csX659" y="csY659"/>
              </a:cxn>
              <a:cxn ang="0">
                <a:pos x="csX660" y="csY660"/>
              </a:cxn>
              <a:cxn ang="0">
                <a:pos x="csX661" y="csY661"/>
              </a:cxn>
              <a:cxn ang="0">
                <a:pos x="csX662" y="csY662"/>
              </a:cxn>
              <a:cxn ang="0">
                <a:pos x="csX663" y="csY663"/>
              </a:cxn>
              <a:cxn ang="0">
                <a:pos x="csX664" y="csY664"/>
              </a:cxn>
              <a:cxn ang="0">
                <a:pos x="csX665" y="csY665"/>
              </a:cxn>
              <a:cxn ang="0">
                <a:pos x="csX666" y="csY666"/>
              </a:cxn>
              <a:cxn ang="0">
                <a:pos x="csX667" y="csY667"/>
              </a:cxn>
              <a:cxn ang="0">
                <a:pos x="csX668" y="csY668"/>
              </a:cxn>
              <a:cxn ang="0">
                <a:pos x="csX669" y="csY669"/>
              </a:cxn>
              <a:cxn ang="0">
                <a:pos x="csX670" y="csY670"/>
              </a:cxn>
              <a:cxn ang="0">
                <a:pos x="csX671" y="csY671"/>
              </a:cxn>
              <a:cxn ang="0">
                <a:pos x="csX672" y="csY672"/>
              </a:cxn>
              <a:cxn ang="0">
                <a:pos x="csX673" y="csY673"/>
              </a:cxn>
              <a:cxn ang="0">
                <a:pos x="csX674" y="csY674"/>
              </a:cxn>
              <a:cxn ang="0">
                <a:pos x="csX675" y="csY675"/>
              </a:cxn>
              <a:cxn ang="0">
                <a:pos x="csX676" y="csY676"/>
              </a:cxn>
              <a:cxn ang="0">
                <a:pos x="csX677" y="csY677"/>
              </a:cxn>
              <a:cxn ang="0">
                <a:pos x="csX678" y="csY678"/>
              </a:cxn>
              <a:cxn ang="0">
                <a:pos x="csX679" y="csY679"/>
              </a:cxn>
              <a:cxn ang="0">
                <a:pos x="csX680" y="csY680"/>
              </a:cxn>
              <a:cxn ang="0">
                <a:pos x="csX681" y="csY681"/>
              </a:cxn>
              <a:cxn ang="0">
                <a:pos x="csX682" y="csY682"/>
              </a:cxn>
              <a:cxn ang="0">
                <a:pos x="csX683" y="csY683"/>
              </a:cxn>
              <a:cxn ang="0">
                <a:pos x="csX684" y="csY684"/>
              </a:cxn>
              <a:cxn ang="0">
                <a:pos x="csX685" y="csY685"/>
              </a:cxn>
              <a:cxn ang="0">
                <a:pos x="csX686" y="csY686"/>
              </a:cxn>
              <a:cxn ang="0">
                <a:pos x="csX687" y="csY687"/>
              </a:cxn>
              <a:cxn ang="0">
                <a:pos x="csX688" y="csY688"/>
              </a:cxn>
              <a:cxn ang="0">
                <a:pos x="csX689" y="csY689"/>
              </a:cxn>
              <a:cxn ang="0">
                <a:pos x="csX690" y="csY690"/>
              </a:cxn>
              <a:cxn ang="0">
                <a:pos x="csX691" y="csY691"/>
              </a:cxn>
              <a:cxn ang="0">
                <a:pos x="csX692" y="csY692"/>
              </a:cxn>
              <a:cxn ang="0">
                <a:pos x="csX693" y="csY693"/>
              </a:cxn>
              <a:cxn ang="0">
                <a:pos x="csX694" y="csY694"/>
              </a:cxn>
              <a:cxn ang="0">
                <a:pos x="csX695" y="csY695"/>
              </a:cxn>
              <a:cxn ang="0">
                <a:pos x="csX696" y="csY696"/>
              </a:cxn>
              <a:cxn ang="0">
                <a:pos x="csX697" y="csY697"/>
              </a:cxn>
              <a:cxn ang="0">
                <a:pos x="csX698" y="csY698"/>
              </a:cxn>
              <a:cxn ang="0">
                <a:pos x="csX699" y="csY699"/>
              </a:cxn>
              <a:cxn ang="0">
                <a:pos x="csX700" y="csY700"/>
              </a:cxn>
              <a:cxn ang="0">
                <a:pos x="csX701" y="csY701"/>
              </a:cxn>
              <a:cxn ang="0">
                <a:pos x="csX702" y="csY702"/>
              </a:cxn>
              <a:cxn ang="0">
                <a:pos x="csX703" y="csY703"/>
              </a:cxn>
              <a:cxn ang="0">
                <a:pos x="csX704" y="csY704"/>
              </a:cxn>
              <a:cxn ang="0">
                <a:pos x="csX705" y="csY705"/>
              </a:cxn>
              <a:cxn ang="0">
                <a:pos x="csX706" y="csY706"/>
              </a:cxn>
              <a:cxn ang="0">
                <a:pos x="csX707" y="csY707"/>
              </a:cxn>
              <a:cxn ang="0">
                <a:pos x="csX708" y="csY708"/>
              </a:cxn>
              <a:cxn ang="0">
                <a:pos x="csX709" y="csY709"/>
              </a:cxn>
              <a:cxn ang="0">
                <a:pos x="csX710" y="csY710"/>
              </a:cxn>
              <a:cxn ang="0">
                <a:pos x="csX711" y="csY711"/>
              </a:cxn>
              <a:cxn ang="0">
                <a:pos x="csX712" y="csY712"/>
              </a:cxn>
              <a:cxn ang="0">
                <a:pos x="csX713" y="csY713"/>
              </a:cxn>
              <a:cxn ang="0">
                <a:pos x="csX714" y="csY714"/>
              </a:cxn>
              <a:cxn ang="0">
                <a:pos x="csX715" y="csY715"/>
              </a:cxn>
              <a:cxn ang="0">
                <a:pos x="csX716" y="csY716"/>
              </a:cxn>
              <a:cxn ang="0">
                <a:pos x="csX717" y="csY717"/>
              </a:cxn>
              <a:cxn ang="0">
                <a:pos x="csX718" y="csY718"/>
              </a:cxn>
              <a:cxn ang="0">
                <a:pos x="csX719" y="csY719"/>
              </a:cxn>
              <a:cxn ang="0">
                <a:pos x="csX720" y="csY720"/>
              </a:cxn>
              <a:cxn ang="0">
                <a:pos x="csX721" y="csY721"/>
              </a:cxn>
              <a:cxn ang="0">
                <a:pos x="csX722" y="csY722"/>
              </a:cxn>
              <a:cxn ang="0">
                <a:pos x="csX723" y="csY723"/>
              </a:cxn>
              <a:cxn ang="0">
                <a:pos x="csX724" y="csY724"/>
              </a:cxn>
              <a:cxn ang="0">
                <a:pos x="csX725" y="csY725"/>
              </a:cxn>
              <a:cxn ang="0">
                <a:pos x="csX726" y="csY726"/>
              </a:cxn>
              <a:cxn ang="0">
                <a:pos x="csX727" y="csY727"/>
              </a:cxn>
              <a:cxn ang="0">
                <a:pos x="csX728" y="csY728"/>
              </a:cxn>
              <a:cxn ang="0">
                <a:pos x="csX729" y="csY729"/>
              </a:cxn>
              <a:cxn ang="0">
                <a:pos x="csX730" y="csY730"/>
              </a:cxn>
              <a:cxn ang="0">
                <a:pos x="csX731" y="csY731"/>
              </a:cxn>
              <a:cxn ang="0">
                <a:pos x="csX732" y="csY732"/>
              </a:cxn>
              <a:cxn ang="0">
                <a:pos x="csX733" y="csY733"/>
              </a:cxn>
              <a:cxn ang="0">
                <a:pos x="csX734" y="csY734"/>
              </a:cxn>
              <a:cxn ang="0">
                <a:pos x="csX735" y="csY735"/>
              </a:cxn>
              <a:cxn ang="0">
                <a:pos x="csX736" y="csY736"/>
              </a:cxn>
              <a:cxn ang="0">
                <a:pos x="csX737" y="csY737"/>
              </a:cxn>
              <a:cxn ang="0">
                <a:pos x="csX738" y="csY738"/>
              </a:cxn>
              <a:cxn ang="0">
                <a:pos x="csX739" y="csY739"/>
              </a:cxn>
              <a:cxn ang="0">
                <a:pos x="csX740" y="csY740"/>
              </a:cxn>
              <a:cxn ang="0">
                <a:pos x="csX741" y="csY741"/>
              </a:cxn>
              <a:cxn ang="0">
                <a:pos x="csX742" y="csY742"/>
              </a:cxn>
              <a:cxn ang="0">
                <a:pos x="csX743" y="csY743"/>
              </a:cxn>
              <a:cxn ang="0">
                <a:pos x="csX744" y="csY744"/>
              </a:cxn>
              <a:cxn ang="0">
                <a:pos x="csX745" y="csY745"/>
              </a:cxn>
              <a:cxn ang="0">
                <a:pos x="csX746" y="csY746"/>
              </a:cxn>
              <a:cxn ang="0">
                <a:pos x="csX747" y="csY747"/>
              </a:cxn>
              <a:cxn ang="0">
                <a:pos x="csX748" y="csY748"/>
              </a:cxn>
              <a:cxn ang="0">
                <a:pos x="csX749" y="csY749"/>
              </a:cxn>
              <a:cxn ang="0">
                <a:pos x="csX750" y="csY750"/>
              </a:cxn>
              <a:cxn ang="0">
                <a:pos x="csX751" y="csY751"/>
              </a:cxn>
              <a:cxn ang="0">
                <a:pos x="csX752" y="csY752"/>
              </a:cxn>
              <a:cxn ang="0">
                <a:pos x="csX753" y="csY753"/>
              </a:cxn>
              <a:cxn ang="0">
                <a:pos x="csX754" y="csY754"/>
              </a:cxn>
              <a:cxn ang="0">
                <a:pos x="csX755" y="csY755"/>
              </a:cxn>
              <a:cxn ang="0">
                <a:pos x="csX756" y="csY756"/>
              </a:cxn>
              <a:cxn ang="0">
                <a:pos x="csX757" y="csY757"/>
              </a:cxn>
              <a:cxn ang="0">
                <a:pos x="csX758" y="csY758"/>
              </a:cxn>
              <a:cxn ang="0">
                <a:pos x="csX759" y="csY759"/>
              </a:cxn>
              <a:cxn ang="0">
                <a:pos x="csX760" y="csY760"/>
              </a:cxn>
              <a:cxn ang="0">
                <a:pos x="csX761" y="csY761"/>
              </a:cxn>
              <a:cxn ang="0">
                <a:pos x="csX762" y="csY762"/>
              </a:cxn>
              <a:cxn ang="0">
                <a:pos x="csX763" y="csY763"/>
              </a:cxn>
              <a:cxn ang="0">
                <a:pos x="csX764" y="csY764"/>
              </a:cxn>
              <a:cxn ang="0">
                <a:pos x="csX765" y="csY765"/>
              </a:cxn>
              <a:cxn ang="0">
                <a:pos x="csX766" y="csY766"/>
              </a:cxn>
              <a:cxn ang="0">
                <a:pos x="csX767" y="csY767"/>
              </a:cxn>
              <a:cxn ang="0">
                <a:pos x="csX768" y="csY768"/>
              </a:cxn>
              <a:cxn ang="0">
                <a:pos x="csX769" y="csY769"/>
              </a:cxn>
              <a:cxn ang="0">
                <a:pos x="csX770" y="csY770"/>
              </a:cxn>
              <a:cxn ang="0">
                <a:pos x="csX771" y="csY771"/>
              </a:cxn>
              <a:cxn ang="0">
                <a:pos x="csX772" y="csY772"/>
              </a:cxn>
              <a:cxn ang="0">
                <a:pos x="csX773" y="csY773"/>
              </a:cxn>
              <a:cxn ang="0">
                <a:pos x="csX774" y="csY774"/>
              </a:cxn>
              <a:cxn ang="0">
                <a:pos x="csX775" y="csY775"/>
              </a:cxn>
              <a:cxn ang="0">
                <a:pos x="csX776" y="csY776"/>
              </a:cxn>
              <a:cxn ang="0">
                <a:pos x="csX777" y="csY777"/>
              </a:cxn>
              <a:cxn ang="0">
                <a:pos x="csX778" y="csY778"/>
              </a:cxn>
              <a:cxn ang="0">
                <a:pos x="csX779" y="csY779"/>
              </a:cxn>
              <a:cxn ang="0">
                <a:pos x="csX780" y="csY780"/>
              </a:cxn>
              <a:cxn ang="0">
                <a:pos x="csX781" y="csY781"/>
              </a:cxn>
              <a:cxn ang="0">
                <a:pos x="csX782" y="csY782"/>
              </a:cxn>
              <a:cxn ang="0">
                <a:pos x="csX783" y="csY783"/>
              </a:cxn>
              <a:cxn ang="0">
                <a:pos x="csX784" y="csY784"/>
              </a:cxn>
              <a:cxn ang="0">
                <a:pos x="csX785" y="csY785"/>
              </a:cxn>
              <a:cxn ang="0">
                <a:pos x="csX786" y="csY786"/>
              </a:cxn>
              <a:cxn ang="0">
                <a:pos x="csX787" y="csY787"/>
              </a:cxn>
              <a:cxn ang="0">
                <a:pos x="csX788" y="csY788"/>
              </a:cxn>
              <a:cxn ang="0">
                <a:pos x="csX789" y="csY789"/>
              </a:cxn>
              <a:cxn ang="0">
                <a:pos x="csX790" y="csY790"/>
              </a:cxn>
              <a:cxn ang="0">
                <a:pos x="csX791" y="csY791"/>
              </a:cxn>
              <a:cxn ang="0">
                <a:pos x="csX792" y="csY792"/>
              </a:cxn>
              <a:cxn ang="0">
                <a:pos x="csX793" y="csY793"/>
              </a:cxn>
              <a:cxn ang="0">
                <a:pos x="csX794" y="csY794"/>
              </a:cxn>
              <a:cxn ang="0">
                <a:pos x="csX795" y="csY795"/>
              </a:cxn>
              <a:cxn ang="0">
                <a:pos x="csX796" y="csY796"/>
              </a:cxn>
              <a:cxn ang="0">
                <a:pos x="csX797" y="csY797"/>
              </a:cxn>
              <a:cxn ang="0">
                <a:pos x="csX798" y="csY798"/>
              </a:cxn>
              <a:cxn ang="0">
                <a:pos x="csX799" y="csY799"/>
              </a:cxn>
              <a:cxn ang="0">
                <a:pos x="csX800" y="csY800"/>
              </a:cxn>
              <a:cxn ang="0">
                <a:pos x="csX801" y="csY801"/>
              </a:cxn>
              <a:cxn ang="0">
                <a:pos x="csX802" y="csY802"/>
              </a:cxn>
              <a:cxn ang="0">
                <a:pos x="csX803" y="csY803"/>
              </a:cxn>
              <a:cxn ang="0">
                <a:pos x="csX804" y="csY804"/>
              </a:cxn>
              <a:cxn ang="0">
                <a:pos x="csX805" y="csY805"/>
              </a:cxn>
              <a:cxn ang="0">
                <a:pos x="csX806" y="csY806"/>
              </a:cxn>
              <a:cxn ang="0">
                <a:pos x="csX807" y="csY807"/>
              </a:cxn>
              <a:cxn ang="0">
                <a:pos x="csX808" y="csY808"/>
              </a:cxn>
              <a:cxn ang="0">
                <a:pos x="csX809" y="csY809"/>
              </a:cxn>
              <a:cxn ang="0">
                <a:pos x="csX810" y="csY810"/>
              </a:cxn>
              <a:cxn ang="0">
                <a:pos x="csX811" y="csY811"/>
              </a:cxn>
              <a:cxn ang="0">
                <a:pos x="csX812" y="csY812"/>
              </a:cxn>
              <a:cxn ang="0">
                <a:pos x="csX813" y="csY813"/>
              </a:cxn>
              <a:cxn ang="0">
                <a:pos x="csX814" y="csY814"/>
              </a:cxn>
              <a:cxn ang="0">
                <a:pos x="csX815" y="csY815"/>
              </a:cxn>
              <a:cxn ang="0">
                <a:pos x="csX816" y="csY816"/>
              </a:cxn>
              <a:cxn ang="0">
                <a:pos x="csX817" y="csY817"/>
              </a:cxn>
              <a:cxn ang="0">
                <a:pos x="csX818" y="csY818"/>
              </a:cxn>
              <a:cxn ang="0">
                <a:pos x="csX819" y="csY819"/>
              </a:cxn>
              <a:cxn ang="0">
                <a:pos x="csX820" y="csY820"/>
              </a:cxn>
              <a:cxn ang="0">
                <a:pos x="csX821" y="csY821"/>
              </a:cxn>
              <a:cxn ang="0">
                <a:pos x="csX822" y="csY822"/>
              </a:cxn>
              <a:cxn ang="0">
                <a:pos x="csX823" y="csY823"/>
              </a:cxn>
              <a:cxn ang="0">
                <a:pos x="csX824" y="csY824"/>
              </a:cxn>
              <a:cxn ang="0">
                <a:pos x="csX825" y="csY825"/>
              </a:cxn>
              <a:cxn ang="0">
                <a:pos x="csX826" y="csY826"/>
              </a:cxn>
              <a:cxn ang="0">
                <a:pos x="csX827" y="csY827"/>
              </a:cxn>
              <a:cxn ang="0">
                <a:pos x="csX828" y="csY828"/>
              </a:cxn>
              <a:cxn ang="0">
                <a:pos x="csX829" y="csY829"/>
              </a:cxn>
              <a:cxn ang="0">
                <a:pos x="csX830" y="csY830"/>
              </a:cxn>
              <a:cxn ang="0">
                <a:pos x="csX831" y="csY831"/>
              </a:cxn>
              <a:cxn ang="0">
                <a:pos x="csX832" y="csY832"/>
              </a:cxn>
              <a:cxn ang="0">
                <a:pos x="csX833" y="csY833"/>
              </a:cxn>
              <a:cxn ang="0">
                <a:pos x="csX834" y="csY834"/>
              </a:cxn>
              <a:cxn ang="0">
                <a:pos x="csX835" y="csY835"/>
              </a:cxn>
              <a:cxn ang="0">
                <a:pos x="csX836" y="csY836"/>
              </a:cxn>
              <a:cxn ang="0">
                <a:pos x="csX837" y="csY837"/>
              </a:cxn>
              <a:cxn ang="0">
                <a:pos x="csX838" y="csY838"/>
              </a:cxn>
              <a:cxn ang="0">
                <a:pos x="csX839" y="csY839"/>
              </a:cxn>
              <a:cxn ang="0">
                <a:pos x="csX840" y="csY840"/>
              </a:cxn>
              <a:cxn ang="0">
                <a:pos x="csX841" y="csY841"/>
              </a:cxn>
              <a:cxn ang="0">
                <a:pos x="csX842" y="csY842"/>
              </a:cxn>
              <a:cxn ang="0">
                <a:pos x="csX843" y="csY843"/>
              </a:cxn>
              <a:cxn ang="0">
                <a:pos x="csX844" y="csY844"/>
              </a:cxn>
              <a:cxn ang="0">
                <a:pos x="csX845" y="csY845"/>
              </a:cxn>
              <a:cxn ang="0">
                <a:pos x="csX846" y="csY846"/>
              </a:cxn>
              <a:cxn ang="0">
                <a:pos x="csX847" y="csY847"/>
              </a:cxn>
              <a:cxn ang="0">
                <a:pos x="csX848" y="csY848"/>
              </a:cxn>
              <a:cxn ang="0">
                <a:pos x="csX849" y="csY849"/>
              </a:cxn>
              <a:cxn ang="0">
                <a:pos x="csX850" y="csY850"/>
              </a:cxn>
              <a:cxn ang="0">
                <a:pos x="csX851" y="csY851"/>
              </a:cxn>
              <a:cxn ang="0">
                <a:pos x="csX852" y="csY852"/>
              </a:cxn>
              <a:cxn ang="0">
                <a:pos x="csX853" y="csY853"/>
              </a:cxn>
              <a:cxn ang="0">
                <a:pos x="csX854" y="csY854"/>
              </a:cxn>
              <a:cxn ang="0">
                <a:pos x="csX855" y="csY855"/>
              </a:cxn>
              <a:cxn ang="0">
                <a:pos x="csX856" y="csY856"/>
              </a:cxn>
              <a:cxn ang="0">
                <a:pos x="csX857" y="csY857"/>
              </a:cxn>
              <a:cxn ang="0">
                <a:pos x="csX858" y="csY858"/>
              </a:cxn>
              <a:cxn ang="0">
                <a:pos x="csX859" y="csY859"/>
              </a:cxn>
              <a:cxn ang="0">
                <a:pos x="csX860" y="csY860"/>
              </a:cxn>
              <a:cxn ang="0">
                <a:pos x="csX861" y="csY861"/>
              </a:cxn>
              <a:cxn ang="0">
                <a:pos x="csX862" y="csY862"/>
              </a:cxn>
              <a:cxn ang="0">
                <a:pos x="csX863" y="csY863"/>
              </a:cxn>
              <a:cxn ang="0">
                <a:pos x="csX864" y="csY864"/>
              </a:cxn>
              <a:cxn ang="0">
                <a:pos x="csX865" y="csY865"/>
              </a:cxn>
              <a:cxn ang="0">
                <a:pos x="csX866" y="csY866"/>
              </a:cxn>
              <a:cxn ang="0">
                <a:pos x="csX867" y="csY867"/>
              </a:cxn>
              <a:cxn ang="0">
                <a:pos x="csX868" y="csY868"/>
              </a:cxn>
              <a:cxn ang="0">
                <a:pos x="csX869" y="csY869"/>
              </a:cxn>
              <a:cxn ang="0">
                <a:pos x="csX870" y="csY870"/>
              </a:cxn>
              <a:cxn ang="0">
                <a:pos x="csX871" y="csY871"/>
              </a:cxn>
              <a:cxn ang="0">
                <a:pos x="csX872" y="csY872"/>
              </a:cxn>
              <a:cxn ang="0">
                <a:pos x="csX873" y="csY873"/>
              </a:cxn>
              <a:cxn ang="0">
                <a:pos x="csX874" y="csY874"/>
              </a:cxn>
              <a:cxn ang="0">
                <a:pos x="csX875" y="csY875"/>
              </a:cxn>
              <a:cxn ang="0">
                <a:pos x="csX876" y="csY876"/>
              </a:cxn>
              <a:cxn ang="0">
                <a:pos x="csX877" y="csY877"/>
              </a:cxn>
              <a:cxn ang="0">
                <a:pos x="csX878" y="csY878"/>
              </a:cxn>
              <a:cxn ang="0">
                <a:pos x="csX879" y="csY879"/>
              </a:cxn>
              <a:cxn ang="0">
                <a:pos x="csX880" y="csY880"/>
              </a:cxn>
              <a:cxn ang="0">
                <a:pos x="csX881" y="csY881"/>
              </a:cxn>
              <a:cxn ang="0">
                <a:pos x="csX882" y="csY882"/>
              </a:cxn>
              <a:cxn ang="0">
                <a:pos x="csX883" y="csY883"/>
              </a:cxn>
              <a:cxn ang="0">
                <a:pos x="csX884" y="csY884"/>
              </a:cxn>
              <a:cxn ang="0">
                <a:pos x="csX885" y="csY885"/>
              </a:cxn>
              <a:cxn ang="0">
                <a:pos x="csX886" y="csY886"/>
              </a:cxn>
              <a:cxn ang="0">
                <a:pos x="csX887" y="csY887"/>
              </a:cxn>
              <a:cxn ang="0">
                <a:pos x="csX888" y="csY888"/>
              </a:cxn>
              <a:cxn ang="0">
                <a:pos x="csX889" y="csY889"/>
              </a:cxn>
              <a:cxn ang="0">
                <a:pos x="csX890" y="csY890"/>
              </a:cxn>
              <a:cxn ang="0">
                <a:pos x="csX891" y="csY891"/>
              </a:cxn>
              <a:cxn ang="0">
                <a:pos x="csX892" y="csY892"/>
              </a:cxn>
              <a:cxn ang="0">
                <a:pos x="csX893" y="csY893"/>
              </a:cxn>
              <a:cxn ang="0">
                <a:pos x="csX894" y="csY894"/>
              </a:cxn>
              <a:cxn ang="0">
                <a:pos x="csX895" y="csY895"/>
              </a:cxn>
              <a:cxn ang="0">
                <a:pos x="csX896" y="csY896"/>
              </a:cxn>
              <a:cxn ang="0">
                <a:pos x="csX897" y="csY897"/>
              </a:cxn>
              <a:cxn ang="0">
                <a:pos x="csX898" y="csY898"/>
              </a:cxn>
              <a:cxn ang="0">
                <a:pos x="csX899" y="csY899"/>
              </a:cxn>
              <a:cxn ang="0">
                <a:pos x="csX900" y="csY900"/>
              </a:cxn>
              <a:cxn ang="0">
                <a:pos x="csX901" y="csY901"/>
              </a:cxn>
              <a:cxn ang="0">
                <a:pos x="csX902" y="csY902"/>
              </a:cxn>
              <a:cxn ang="0">
                <a:pos x="csX903" y="csY903"/>
              </a:cxn>
              <a:cxn ang="0">
                <a:pos x="csX904" y="csY904"/>
              </a:cxn>
              <a:cxn ang="0">
                <a:pos x="csX905" y="csY905"/>
              </a:cxn>
              <a:cxn ang="0">
                <a:pos x="csX906" y="csY906"/>
              </a:cxn>
              <a:cxn ang="0">
                <a:pos x="csX907" y="csY907"/>
              </a:cxn>
              <a:cxn ang="0">
                <a:pos x="csX908" y="csY908"/>
              </a:cxn>
              <a:cxn ang="0">
                <a:pos x="csX909" y="csY909"/>
              </a:cxn>
              <a:cxn ang="0">
                <a:pos x="csX910" y="csY910"/>
              </a:cxn>
              <a:cxn ang="0">
                <a:pos x="csX911" y="csY911"/>
              </a:cxn>
              <a:cxn ang="0">
                <a:pos x="csX912" y="csY912"/>
              </a:cxn>
              <a:cxn ang="0">
                <a:pos x="csX913" y="csY913"/>
              </a:cxn>
              <a:cxn ang="0">
                <a:pos x="csX914" y="csY914"/>
              </a:cxn>
              <a:cxn ang="0">
                <a:pos x="csX915" y="csY915"/>
              </a:cxn>
              <a:cxn ang="0">
                <a:pos x="csX916" y="csY916"/>
              </a:cxn>
              <a:cxn ang="0">
                <a:pos x="csX917" y="csY917"/>
              </a:cxn>
              <a:cxn ang="0">
                <a:pos x="csX918" y="csY918"/>
              </a:cxn>
              <a:cxn ang="0">
                <a:pos x="csX919" y="csY919"/>
              </a:cxn>
              <a:cxn ang="0">
                <a:pos x="csX920" y="csY920"/>
              </a:cxn>
              <a:cxn ang="0">
                <a:pos x="csX921" y="csY921"/>
              </a:cxn>
              <a:cxn ang="0">
                <a:pos x="csX922" y="csY922"/>
              </a:cxn>
              <a:cxn ang="0">
                <a:pos x="csX923" y="csY923"/>
              </a:cxn>
              <a:cxn ang="0">
                <a:pos x="csX924" y="csY924"/>
              </a:cxn>
              <a:cxn ang="0">
                <a:pos x="csX925" y="csY925"/>
              </a:cxn>
              <a:cxn ang="0">
                <a:pos x="csX926" y="csY926"/>
              </a:cxn>
              <a:cxn ang="0">
                <a:pos x="csX927" y="csY927"/>
              </a:cxn>
              <a:cxn ang="0">
                <a:pos x="csX928" y="csY928"/>
              </a:cxn>
              <a:cxn ang="0">
                <a:pos x="csX929" y="csY929"/>
              </a:cxn>
              <a:cxn ang="0">
                <a:pos x="csX930" y="csY930"/>
              </a:cxn>
              <a:cxn ang="0">
                <a:pos x="csX931" y="csY931"/>
              </a:cxn>
              <a:cxn ang="0">
                <a:pos x="csX932" y="csY932"/>
              </a:cxn>
              <a:cxn ang="0">
                <a:pos x="csX933" y="csY933"/>
              </a:cxn>
              <a:cxn ang="0">
                <a:pos x="csX934" y="csY934"/>
              </a:cxn>
              <a:cxn ang="0">
                <a:pos x="csX935" y="csY935"/>
              </a:cxn>
              <a:cxn ang="0">
                <a:pos x="csX936" y="csY936"/>
              </a:cxn>
              <a:cxn ang="0">
                <a:pos x="csX937" y="csY937"/>
              </a:cxn>
              <a:cxn ang="0">
                <a:pos x="csX938" y="csY938"/>
              </a:cxn>
              <a:cxn ang="0">
                <a:pos x="csX939" y="csY939"/>
              </a:cxn>
              <a:cxn ang="0">
                <a:pos x="csX940" y="csY940"/>
              </a:cxn>
              <a:cxn ang="0">
                <a:pos x="csX941" y="csY941"/>
              </a:cxn>
              <a:cxn ang="0">
                <a:pos x="csX942" y="csY942"/>
              </a:cxn>
              <a:cxn ang="0">
                <a:pos x="csX943" y="csY943"/>
              </a:cxn>
              <a:cxn ang="0">
                <a:pos x="csX944" y="csY944"/>
              </a:cxn>
              <a:cxn ang="0">
                <a:pos x="csX945" y="csY945"/>
              </a:cxn>
              <a:cxn ang="0">
                <a:pos x="csX946" y="csY946"/>
              </a:cxn>
              <a:cxn ang="0">
                <a:pos x="csX947" y="csY947"/>
              </a:cxn>
              <a:cxn ang="0">
                <a:pos x="csX948" y="csY948"/>
              </a:cxn>
              <a:cxn ang="0">
                <a:pos x="csX949" y="csY949"/>
              </a:cxn>
              <a:cxn ang="0">
                <a:pos x="csX950" y="csY950"/>
              </a:cxn>
              <a:cxn ang="0">
                <a:pos x="csX951" y="csY951"/>
              </a:cxn>
              <a:cxn ang="0">
                <a:pos x="csX952" y="csY952"/>
              </a:cxn>
              <a:cxn ang="0">
                <a:pos x="csX953" y="csY953"/>
              </a:cxn>
              <a:cxn ang="0">
                <a:pos x="csX954" y="csY954"/>
              </a:cxn>
              <a:cxn ang="0">
                <a:pos x="csX955" y="csY955"/>
              </a:cxn>
              <a:cxn ang="0">
                <a:pos x="csX956" y="csY956"/>
              </a:cxn>
              <a:cxn ang="0">
                <a:pos x="csX957" y="csY957"/>
              </a:cxn>
              <a:cxn ang="0">
                <a:pos x="csX958" y="csY958"/>
              </a:cxn>
              <a:cxn ang="0">
                <a:pos x="csX959" y="csY959"/>
              </a:cxn>
              <a:cxn ang="0">
                <a:pos x="csX960" y="csY960"/>
              </a:cxn>
              <a:cxn ang="0">
                <a:pos x="csX961" y="csY961"/>
              </a:cxn>
              <a:cxn ang="0">
                <a:pos x="csX962" y="csY962"/>
              </a:cxn>
              <a:cxn ang="0">
                <a:pos x="csX963" y="csY963"/>
              </a:cxn>
              <a:cxn ang="0">
                <a:pos x="csX964" y="csY964"/>
              </a:cxn>
              <a:cxn ang="0">
                <a:pos x="csX965" y="csY965"/>
              </a:cxn>
              <a:cxn ang="0">
                <a:pos x="csX966" y="csY966"/>
              </a:cxn>
              <a:cxn ang="0">
                <a:pos x="csX967" y="csY967"/>
              </a:cxn>
              <a:cxn ang="0">
                <a:pos x="csX968" y="csY968"/>
              </a:cxn>
              <a:cxn ang="0">
                <a:pos x="csX969" y="csY969"/>
              </a:cxn>
              <a:cxn ang="0">
                <a:pos x="csX970" y="csY970"/>
              </a:cxn>
              <a:cxn ang="0">
                <a:pos x="csX971" y="csY971"/>
              </a:cxn>
              <a:cxn ang="0">
                <a:pos x="csX972" y="csY972"/>
              </a:cxn>
              <a:cxn ang="0">
                <a:pos x="csX973" y="csY973"/>
              </a:cxn>
              <a:cxn ang="0">
                <a:pos x="csX974" y="csY974"/>
              </a:cxn>
              <a:cxn ang="0">
                <a:pos x="csX975" y="csY975"/>
              </a:cxn>
              <a:cxn ang="0">
                <a:pos x="csX976" y="csY976"/>
              </a:cxn>
              <a:cxn ang="0">
                <a:pos x="csX977" y="csY977"/>
              </a:cxn>
              <a:cxn ang="0">
                <a:pos x="csX978" y="csY978"/>
              </a:cxn>
              <a:cxn ang="0">
                <a:pos x="csX979" y="csY979"/>
              </a:cxn>
              <a:cxn ang="0">
                <a:pos x="csX980" y="csY980"/>
              </a:cxn>
              <a:cxn ang="0">
                <a:pos x="csX981" y="csY981"/>
              </a:cxn>
              <a:cxn ang="0">
                <a:pos x="csX982" y="csY982"/>
              </a:cxn>
              <a:cxn ang="0">
                <a:pos x="csX983" y="csY983"/>
              </a:cxn>
              <a:cxn ang="0">
                <a:pos x="csX984" y="csY984"/>
              </a:cxn>
              <a:cxn ang="0">
                <a:pos x="csX985" y="csY985"/>
              </a:cxn>
              <a:cxn ang="0">
                <a:pos x="csX986" y="csY986"/>
              </a:cxn>
              <a:cxn ang="0">
                <a:pos x="csX987" y="csY987"/>
              </a:cxn>
              <a:cxn ang="0">
                <a:pos x="csX988" y="csY988"/>
              </a:cxn>
              <a:cxn ang="0">
                <a:pos x="csX989" y="csY989"/>
              </a:cxn>
              <a:cxn ang="0">
                <a:pos x="csX990" y="csY990"/>
              </a:cxn>
              <a:cxn ang="0">
                <a:pos x="csX991" y="csY991"/>
              </a:cxn>
              <a:cxn ang="0">
                <a:pos x="csX992" y="csY992"/>
              </a:cxn>
              <a:cxn ang="0">
                <a:pos x="csX993" y="csY993"/>
              </a:cxn>
              <a:cxn ang="0">
                <a:pos x="csX994" y="csY994"/>
              </a:cxn>
              <a:cxn ang="0">
                <a:pos x="csX995" y="csY995"/>
              </a:cxn>
              <a:cxn ang="0">
                <a:pos x="csX996" y="csY996"/>
              </a:cxn>
              <a:cxn ang="0">
                <a:pos x="csX997" y="csY997"/>
              </a:cxn>
              <a:cxn ang="0">
                <a:pos x="csX998" y="csY998"/>
              </a:cxn>
              <a:cxn ang="0">
                <a:pos x="csX999" y="csY999"/>
              </a:cxn>
              <a:cxn ang="0">
                <a:pos x="csX1000" y="csY1000"/>
              </a:cxn>
              <a:cxn ang="0">
                <a:pos x="csX1001" y="csY1001"/>
              </a:cxn>
              <a:cxn ang="0">
                <a:pos x="csX1002" y="csY1002"/>
              </a:cxn>
              <a:cxn ang="0">
                <a:pos x="csX1003" y="csY1003"/>
              </a:cxn>
              <a:cxn ang="0">
                <a:pos x="csX1004" y="csY1004"/>
              </a:cxn>
              <a:cxn ang="0">
                <a:pos x="csX1005" y="csY1005"/>
              </a:cxn>
              <a:cxn ang="0">
                <a:pos x="csX1006" y="csY1006"/>
              </a:cxn>
              <a:cxn ang="0">
                <a:pos x="csX1007" y="csY1007"/>
              </a:cxn>
              <a:cxn ang="0">
                <a:pos x="csX1008" y="csY1008"/>
              </a:cxn>
              <a:cxn ang="0">
                <a:pos x="csX1009" y="csY1009"/>
              </a:cxn>
              <a:cxn ang="0">
                <a:pos x="csX1010" y="csY1010"/>
              </a:cxn>
              <a:cxn ang="0">
                <a:pos x="csX1011" y="csY1011"/>
              </a:cxn>
              <a:cxn ang="0">
                <a:pos x="csX1012" y="csY1012"/>
              </a:cxn>
              <a:cxn ang="0">
                <a:pos x="csX1013" y="csY1013"/>
              </a:cxn>
              <a:cxn ang="0">
                <a:pos x="csX1014" y="csY1014"/>
              </a:cxn>
              <a:cxn ang="0">
                <a:pos x="csX1015" y="csY1015"/>
              </a:cxn>
              <a:cxn ang="0">
                <a:pos x="csX1016" y="csY1016"/>
              </a:cxn>
              <a:cxn ang="0">
                <a:pos x="csX1017" y="csY1017"/>
              </a:cxn>
              <a:cxn ang="0">
                <a:pos x="csX1018" y="csY1018"/>
              </a:cxn>
              <a:cxn ang="0">
                <a:pos x="csX1019" y="csY1019"/>
              </a:cxn>
              <a:cxn ang="0">
                <a:pos x="csX1020" y="csY1020"/>
              </a:cxn>
              <a:cxn ang="0">
                <a:pos x="csX1021" y="csY1021"/>
              </a:cxn>
              <a:cxn ang="0">
                <a:pos x="csX1022" y="csY1022"/>
              </a:cxn>
              <a:cxn ang="0">
                <a:pos x="csX1023" y="csY1023"/>
              </a:cxn>
              <a:cxn ang="0">
                <a:pos x="csX1024" y="csY1024"/>
              </a:cxn>
              <a:cxn ang="0">
                <a:pos x="csX1025" y="csY1025"/>
              </a:cxn>
              <a:cxn ang="0">
                <a:pos x="csX1026" y="csY1026"/>
              </a:cxn>
              <a:cxn ang="0">
                <a:pos x="csX1027" y="csY1027"/>
              </a:cxn>
              <a:cxn ang="0">
                <a:pos x="csX1028" y="csY1028"/>
              </a:cxn>
              <a:cxn ang="0">
                <a:pos x="csX1029" y="csY1029"/>
              </a:cxn>
              <a:cxn ang="0">
                <a:pos x="csX1030" y="csY1030"/>
              </a:cxn>
              <a:cxn ang="0">
                <a:pos x="csX1031" y="csY1031"/>
              </a:cxn>
              <a:cxn ang="0">
                <a:pos x="csX1032" y="csY1032"/>
              </a:cxn>
              <a:cxn ang="0">
                <a:pos x="csX1033" y="csY1033"/>
              </a:cxn>
              <a:cxn ang="0">
                <a:pos x="csX1034" y="csY1034"/>
              </a:cxn>
              <a:cxn ang="0">
                <a:pos x="csX1035" y="csY1035"/>
              </a:cxn>
              <a:cxn ang="0">
                <a:pos x="csX1036" y="csY1036"/>
              </a:cxn>
              <a:cxn ang="0">
                <a:pos x="csX1037" y="csY1037"/>
              </a:cxn>
              <a:cxn ang="0">
                <a:pos x="csX1038" y="csY1038"/>
              </a:cxn>
              <a:cxn ang="0">
                <a:pos x="csX1039" y="csY1039"/>
              </a:cxn>
              <a:cxn ang="0">
                <a:pos x="csX1040" y="csY1040"/>
              </a:cxn>
              <a:cxn ang="0">
                <a:pos x="csX1041" y="csY1041"/>
              </a:cxn>
              <a:cxn ang="0">
                <a:pos x="csX1042" y="csY1042"/>
              </a:cxn>
              <a:cxn ang="0">
                <a:pos x="csX1043" y="csY1043"/>
              </a:cxn>
              <a:cxn ang="0">
                <a:pos x="csX1044" y="csY1044"/>
              </a:cxn>
              <a:cxn ang="0">
                <a:pos x="csX1045" y="csY1045"/>
              </a:cxn>
              <a:cxn ang="0">
                <a:pos x="csX1046" y="csY1046"/>
              </a:cxn>
              <a:cxn ang="0">
                <a:pos x="csX1047" y="csY1047"/>
              </a:cxn>
              <a:cxn ang="0">
                <a:pos x="csX1048" y="csY1048"/>
              </a:cxn>
              <a:cxn ang="0">
                <a:pos x="csX1049" y="csY1049"/>
              </a:cxn>
              <a:cxn ang="0">
                <a:pos x="csX1050" y="csY1050"/>
              </a:cxn>
              <a:cxn ang="0">
                <a:pos x="csX1051" y="csY1051"/>
              </a:cxn>
              <a:cxn ang="0">
                <a:pos x="csX1052" y="csY1052"/>
              </a:cxn>
              <a:cxn ang="0">
                <a:pos x="csX1053" y="csY1053"/>
              </a:cxn>
              <a:cxn ang="0">
                <a:pos x="csX1054" y="csY1054"/>
              </a:cxn>
            </a:cxnLst>
            <a:rect l="l" t="t" r="r" b="b"/>
            <a:pathLst>
              <a:path w="1609516" h="1538630">
                <a:moveTo>
                  <a:pt x="401579" y="1495809"/>
                </a:moveTo>
                <a:lnTo>
                  <a:pt x="400190" y="1496004"/>
                </a:lnTo>
                <a:lnTo>
                  <a:pt x="401224" y="1496470"/>
                </a:lnTo>
                <a:lnTo>
                  <a:pt x="401224" y="1498590"/>
                </a:lnTo>
                <a:lnTo>
                  <a:pt x="401579" y="1498628"/>
                </a:lnTo>
                <a:cubicBezTo>
                  <a:pt x="401579" y="1497698"/>
                  <a:pt x="401579" y="1496768"/>
                  <a:pt x="401579" y="1495809"/>
                </a:cubicBezTo>
                <a:close/>
                <a:moveTo>
                  <a:pt x="368755" y="1486512"/>
                </a:moveTo>
                <a:lnTo>
                  <a:pt x="364089" y="1487354"/>
                </a:lnTo>
                <a:lnTo>
                  <a:pt x="364089" y="1487908"/>
                </a:lnTo>
                <a:close/>
                <a:moveTo>
                  <a:pt x="1049801" y="1484562"/>
                </a:moveTo>
                <a:lnTo>
                  <a:pt x="1046735" y="1485945"/>
                </a:lnTo>
                <a:lnTo>
                  <a:pt x="1046955" y="1486045"/>
                </a:lnTo>
                <a:lnTo>
                  <a:pt x="1049801" y="1485188"/>
                </a:lnTo>
                <a:close/>
                <a:moveTo>
                  <a:pt x="351234" y="1444508"/>
                </a:moveTo>
                <a:lnTo>
                  <a:pt x="351234" y="1444997"/>
                </a:lnTo>
                <a:lnTo>
                  <a:pt x="351592" y="1445078"/>
                </a:lnTo>
                <a:close/>
                <a:moveTo>
                  <a:pt x="351908" y="1431206"/>
                </a:moveTo>
                <a:lnTo>
                  <a:pt x="351234" y="1431611"/>
                </a:lnTo>
                <a:lnTo>
                  <a:pt x="351234" y="1432274"/>
                </a:lnTo>
                <a:close/>
                <a:moveTo>
                  <a:pt x="358162" y="1421494"/>
                </a:moveTo>
                <a:lnTo>
                  <a:pt x="355921" y="1423156"/>
                </a:lnTo>
                <a:lnTo>
                  <a:pt x="355921" y="1423548"/>
                </a:lnTo>
                <a:close/>
                <a:moveTo>
                  <a:pt x="376098" y="1408347"/>
                </a:moveTo>
                <a:lnTo>
                  <a:pt x="370750" y="1412245"/>
                </a:lnTo>
                <a:lnTo>
                  <a:pt x="375023" y="1411256"/>
                </a:lnTo>
                <a:close/>
                <a:moveTo>
                  <a:pt x="421956" y="1365623"/>
                </a:moveTo>
                <a:lnTo>
                  <a:pt x="421765" y="1366161"/>
                </a:lnTo>
                <a:lnTo>
                  <a:pt x="421887" y="1366161"/>
                </a:lnTo>
                <a:close/>
                <a:moveTo>
                  <a:pt x="754553" y="1360575"/>
                </a:moveTo>
                <a:lnTo>
                  <a:pt x="754089" y="1361433"/>
                </a:lnTo>
                <a:lnTo>
                  <a:pt x="754431" y="1361125"/>
                </a:lnTo>
                <a:close/>
                <a:moveTo>
                  <a:pt x="1277973" y="1332923"/>
                </a:moveTo>
                <a:lnTo>
                  <a:pt x="1277944" y="1332936"/>
                </a:lnTo>
                <a:lnTo>
                  <a:pt x="1277949" y="1333139"/>
                </a:lnTo>
                <a:close/>
                <a:moveTo>
                  <a:pt x="1268556" y="1321066"/>
                </a:moveTo>
                <a:cubicBezTo>
                  <a:pt x="1268556" y="1322461"/>
                  <a:pt x="1268556" y="1323856"/>
                  <a:pt x="1268556" y="1325294"/>
                </a:cubicBezTo>
                <a:cubicBezTo>
                  <a:pt x="1267525" y="1325294"/>
                  <a:pt x="1266495" y="1325294"/>
                  <a:pt x="1265432" y="1325294"/>
                </a:cubicBezTo>
                <a:cubicBezTo>
                  <a:pt x="1265432" y="1330409"/>
                  <a:pt x="1265432" y="1335525"/>
                  <a:pt x="1265432" y="1340795"/>
                </a:cubicBezTo>
                <a:lnTo>
                  <a:pt x="1265476" y="1340714"/>
                </a:lnTo>
                <a:lnTo>
                  <a:pt x="1265476" y="1325877"/>
                </a:lnTo>
                <a:cubicBezTo>
                  <a:pt x="1266507" y="1325877"/>
                  <a:pt x="1267538" y="1325877"/>
                  <a:pt x="1268600" y="1325877"/>
                </a:cubicBezTo>
                <a:cubicBezTo>
                  <a:pt x="1268600" y="1324482"/>
                  <a:pt x="1268600" y="1323086"/>
                  <a:pt x="1268600" y="1321649"/>
                </a:cubicBezTo>
                <a:cubicBezTo>
                  <a:pt x="1270147" y="1321649"/>
                  <a:pt x="1271693" y="1321649"/>
                  <a:pt x="1273286" y="1321649"/>
                </a:cubicBezTo>
                <a:lnTo>
                  <a:pt x="1273227" y="1321066"/>
                </a:lnTo>
                <a:close/>
                <a:moveTo>
                  <a:pt x="827891" y="1291474"/>
                </a:moveTo>
                <a:lnTo>
                  <a:pt x="822601" y="1291544"/>
                </a:lnTo>
                <a:lnTo>
                  <a:pt x="818272" y="1292220"/>
                </a:lnTo>
                <a:lnTo>
                  <a:pt x="827891" y="1292047"/>
                </a:lnTo>
                <a:close/>
                <a:moveTo>
                  <a:pt x="856397" y="1288691"/>
                </a:moveTo>
                <a:lnTo>
                  <a:pt x="865903" y="1290590"/>
                </a:lnTo>
                <a:lnTo>
                  <a:pt x="859999" y="1288752"/>
                </a:lnTo>
                <a:close/>
                <a:moveTo>
                  <a:pt x="834694" y="1288572"/>
                </a:moveTo>
                <a:lnTo>
                  <a:pt x="828038" y="1288654"/>
                </a:lnTo>
                <a:lnTo>
                  <a:pt x="828038" y="1289214"/>
                </a:lnTo>
                <a:close/>
                <a:moveTo>
                  <a:pt x="229746" y="1191418"/>
                </a:moveTo>
                <a:lnTo>
                  <a:pt x="227402" y="1191947"/>
                </a:lnTo>
                <a:lnTo>
                  <a:pt x="229315" y="1191947"/>
                </a:lnTo>
                <a:cubicBezTo>
                  <a:pt x="229315" y="1192877"/>
                  <a:pt x="229315" y="1193807"/>
                  <a:pt x="229315" y="1194765"/>
                </a:cubicBezTo>
                <a:lnTo>
                  <a:pt x="231321" y="1194765"/>
                </a:lnTo>
                <a:lnTo>
                  <a:pt x="229746" y="1194236"/>
                </a:lnTo>
                <a:cubicBezTo>
                  <a:pt x="229746" y="1193306"/>
                  <a:pt x="229746" y="1192376"/>
                  <a:pt x="229746" y="1191418"/>
                </a:cubicBezTo>
                <a:close/>
                <a:moveTo>
                  <a:pt x="215687" y="1187190"/>
                </a:moveTo>
                <a:lnTo>
                  <a:pt x="215198" y="1187720"/>
                </a:lnTo>
                <a:lnTo>
                  <a:pt x="215256" y="1187720"/>
                </a:lnTo>
                <a:cubicBezTo>
                  <a:pt x="215256" y="1189115"/>
                  <a:pt x="215256" y="1190510"/>
                  <a:pt x="215256" y="1191947"/>
                </a:cubicBezTo>
                <a:lnTo>
                  <a:pt x="222721" y="1191947"/>
                </a:lnTo>
                <a:lnTo>
                  <a:pt x="215687" y="1191418"/>
                </a:lnTo>
                <a:cubicBezTo>
                  <a:pt x="215687" y="1190023"/>
                  <a:pt x="215687" y="1188628"/>
                  <a:pt x="215687" y="1187190"/>
                </a:cubicBezTo>
                <a:close/>
                <a:moveTo>
                  <a:pt x="1279678" y="1082356"/>
                </a:moveTo>
                <a:lnTo>
                  <a:pt x="1271680" y="1084589"/>
                </a:lnTo>
                <a:lnTo>
                  <a:pt x="1282181" y="1082544"/>
                </a:lnTo>
                <a:close/>
                <a:moveTo>
                  <a:pt x="117703" y="941507"/>
                </a:moveTo>
                <a:lnTo>
                  <a:pt x="112587" y="941985"/>
                </a:lnTo>
                <a:lnTo>
                  <a:pt x="112565" y="942333"/>
                </a:lnTo>
                <a:lnTo>
                  <a:pt x="115665" y="941837"/>
                </a:lnTo>
                <a:close/>
                <a:moveTo>
                  <a:pt x="144268" y="939395"/>
                </a:moveTo>
                <a:lnTo>
                  <a:pt x="143354" y="939580"/>
                </a:lnTo>
                <a:lnTo>
                  <a:pt x="144077" y="939739"/>
                </a:lnTo>
                <a:close/>
                <a:moveTo>
                  <a:pt x="162575" y="933530"/>
                </a:moveTo>
                <a:lnTo>
                  <a:pt x="161704" y="935101"/>
                </a:lnTo>
                <a:lnTo>
                  <a:pt x="170045" y="933585"/>
                </a:lnTo>
                <a:close/>
                <a:moveTo>
                  <a:pt x="1321645" y="918415"/>
                </a:moveTo>
                <a:lnTo>
                  <a:pt x="1321534" y="920177"/>
                </a:lnTo>
                <a:lnTo>
                  <a:pt x="1321740" y="918415"/>
                </a:lnTo>
                <a:close/>
                <a:moveTo>
                  <a:pt x="1319333" y="915183"/>
                </a:moveTo>
                <a:lnTo>
                  <a:pt x="1318544" y="918029"/>
                </a:lnTo>
                <a:lnTo>
                  <a:pt x="1318702" y="918029"/>
                </a:lnTo>
                <a:close/>
                <a:moveTo>
                  <a:pt x="1326355" y="907109"/>
                </a:moveTo>
                <a:lnTo>
                  <a:pt x="1326355" y="910983"/>
                </a:lnTo>
                <a:lnTo>
                  <a:pt x="1325831" y="911101"/>
                </a:lnTo>
                <a:lnTo>
                  <a:pt x="1326426" y="911369"/>
                </a:lnTo>
                <a:cubicBezTo>
                  <a:pt x="1326426" y="909974"/>
                  <a:pt x="1326426" y="908579"/>
                  <a:pt x="1326426" y="907141"/>
                </a:cubicBezTo>
                <a:close/>
                <a:moveTo>
                  <a:pt x="1328144" y="892192"/>
                </a:moveTo>
                <a:lnTo>
                  <a:pt x="1327667" y="893446"/>
                </a:lnTo>
                <a:lnTo>
                  <a:pt x="1327989" y="893049"/>
                </a:lnTo>
                <a:close/>
                <a:moveTo>
                  <a:pt x="49605" y="887420"/>
                </a:moveTo>
                <a:lnTo>
                  <a:pt x="48549" y="891229"/>
                </a:lnTo>
                <a:lnTo>
                  <a:pt x="49956" y="887420"/>
                </a:lnTo>
                <a:close/>
                <a:moveTo>
                  <a:pt x="1332266" y="883369"/>
                </a:moveTo>
                <a:lnTo>
                  <a:pt x="1329479" y="884207"/>
                </a:lnTo>
                <a:lnTo>
                  <a:pt x="1329509" y="884816"/>
                </a:lnTo>
                <a:lnTo>
                  <a:pt x="1329551" y="884594"/>
                </a:lnTo>
                <a:close/>
                <a:moveTo>
                  <a:pt x="1555987" y="821766"/>
                </a:moveTo>
                <a:lnTo>
                  <a:pt x="1555987" y="822201"/>
                </a:lnTo>
                <a:lnTo>
                  <a:pt x="1556081" y="822189"/>
                </a:lnTo>
                <a:close/>
                <a:moveTo>
                  <a:pt x="1565360" y="810928"/>
                </a:moveTo>
                <a:lnTo>
                  <a:pt x="1564871" y="811809"/>
                </a:lnTo>
                <a:lnTo>
                  <a:pt x="1567314" y="810928"/>
                </a:lnTo>
                <a:close/>
                <a:moveTo>
                  <a:pt x="1563797" y="810928"/>
                </a:moveTo>
                <a:lnTo>
                  <a:pt x="1556762" y="814736"/>
                </a:lnTo>
                <a:lnTo>
                  <a:pt x="1563797" y="812197"/>
                </a:lnTo>
                <a:close/>
                <a:moveTo>
                  <a:pt x="265833" y="806020"/>
                </a:moveTo>
                <a:lnTo>
                  <a:pt x="263704" y="809861"/>
                </a:lnTo>
                <a:lnTo>
                  <a:pt x="263704" y="816750"/>
                </a:lnTo>
                <a:lnTo>
                  <a:pt x="264113" y="816565"/>
                </a:lnTo>
                <a:cubicBezTo>
                  <a:pt x="264048" y="815315"/>
                  <a:pt x="263984" y="814065"/>
                  <a:pt x="263918" y="812777"/>
                </a:cubicBezTo>
                <a:close/>
                <a:moveTo>
                  <a:pt x="263774" y="779374"/>
                </a:moveTo>
                <a:lnTo>
                  <a:pt x="263704" y="783086"/>
                </a:lnTo>
                <a:cubicBezTo>
                  <a:pt x="263961" y="783987"/>
                  <a:pt x="264219" y="784888"/>
                  <a:pt x="264484" y="785816"/>
                </a:cubicBezTo>
                <a:cubicBezTo>
                  <a:pt x="265299" y="788846"/>
                  <a:pt x="265316" y="791337"/>
                  <a:pt x="265265" y="794448"/>
                </a:cubicBezTo>
                <a:cubicBezTo>
                  <a:pt x="265103" y="797155"/>
                  <a:pt x="265022" y="798508"/>
                  <a:pt x="265217" y="799730"/>
                </a:cubicBezTo>
                <a:lnTo>
                  <a:pt x="266556" y="803466"/>
                </a:lnTo>
                <a:lnTo>
                  <a:pt x="267237" y="801063"/>
                </a:lnTo>
                <a:cubicBezTo>
                  <a:pt x="266721" y="800598"/>
                  <a:pt x="266206" y="800133"/>
                  <a:pt x="265675" y="799654"/>
                </a:cubicBezTo>
                <a:cubicBezTo>
                  <a:pt x="265601" y="797718"/>
                  <a:pt x="265617" y="795778"/>
                  <a:pt x="265675" y="793841"/>
                </a:cubicBezTo>
                <a:close/>
                <a:moveTo>
                  <a:pt x="260988" y="770061"/>
                </a:moveTo>
                <a:lnTo>
                  <a:pt x="260988" y="771364"/>
                </a:lnTo>
                <a:lnTo>
                  <a:pt x="263497" y="777263"/>
                </a:lnTo>
                <a:lnTo>
                  <a:pt x="262551" y="770061"/>
                </a:lnTo>
                <a:cubicBezTo>
                  <a:pt x="262035" y="770061"/>
                  <a:pt x="261520" y="770061"/>
                  <a:pt x="260988" y="770061"/>
                </a:cubicBezTo>
                <a:close/>
                <a:moveTo>
                  <a:pt x="157888" y="651686"/>
                </a:moveTo>
                <a:lnTo>
                  <a:pt x="157415" y="651764"/>
                </a:lnTo>
                <a:lnTo>
                  <a:pt x="160373" y="652274"/>
                </a:lnTo>
                <a:close/>
                <a:moveTo>
                  <a:pt x="267237" y="426537"/>
                </a:moveTo>
                <a:lnTo>
                  <a:pt x="267237" y="427619"/>
                </a:lnTo>
                <a:cubicBezTo>
                  <a:pt x="268274" y="427791"/>
                  <a:pt x="269311" y="427961"/>
                  <a:pt x="270380" y="428137"/>
                </a:cubicBezTo>
                <a:lnTo>
                  <a:pt x="273548" y="428680"/>
                </a:lnTo>
                <a:close/>
                <a:moveTo>
                  <a:pt x="37605" y="359270"/>
                </a:moveTo>
                <a:lnTo>
                  <a:pt x="37103" y="361533"/>
                </a:lnTo>
                <a:lnTo>
                  <a:pt x="37605" y="361382"/>
                </a:lnTo>
                <a:close/>
                <a:moveTo>
                  <a:pt x="52477" y="337570"/>
                </a:moveTo>
                <a:lnTo>
                  <a:pt x="47288" y="342340"/>
                </a:lnTo>
                <a:lnTo>
                  <a:pt x="45805" y="345093"/>
                </a:lnTo>
                <a:close/>
                <a:moveTo>
                  <a:pt x="104291" y="336166"/>
                </a:moveTo>
                <a:lnTo>
                  <a:pt x="103776" y="337559"/>
                </a:lnTo>
                <a:lnTo>
                  <a:pt x="108925" y="336166"/>
                </a:lnTo>
                <a:close/>
                <a:moveTo>
                  <a:pt x="1309237" y="322954"/>
                </a:moveTo>
                <a:lnTo>
                  <a:pt x="1309180" y="330559"/>
                </a:lnTo>
                <a:lnTo>
                  <a:pt x="1309237" y="330520"/>
                </a:lnTo>
                <a:close/>
                <a:moveTo>
                  <a:pt x="1308964" y="317715"/>
                </a:moveTo>
                <a:lnTo>
                  <a:pt x="1309237" y="318569"/>
                </a:lnTo>
                <a:lnTo>
                  <a:pt x="1309237" y="317838"/>
                </a:lnTo>
                <a:close/>
                <a:moveTo>
                  <a:pt x="1310087" y="313153"/>
                </a:moveTo>
                <a:lnTo>
                  <a:pt x="1307609" y="313473"/>
                </a:lnTo>
                <a:lnTo>
                  <a:pt x="1308045" y="314836"/>
                </a:lnTo>
                <a:close/>
                <a:moveTo>
                  <a:pt x="1318544" y="312064"/>
                </a:moveTo>
                <a:lnTo>
                  <a:pt x="1316298" y="312353"/>
                </a:lnTo>
                <a:lnTo>
                  <a:pt x="1318544" y="312205"/>
                </a:lnTo>
                <a:close/>
                <a:moveTo>
                  <a:pt x="1084622" y="267674"/>
                </a:moveTo>
                <a:lnTo>
                  <a:pt x="1084227" y="268378"/>
                </a:lnTo>
                <a:cubicBezTo>
                  <a:pt x="1082679" y="268378"/>
                  <a:pt x="1081133" y="268378"/>
                  <a:pt x="1079540" y="268378"/>
                </a:cubicBezTo>
                <a:lnTo>
                  <a:pt x="1079603" y="268477"/>
                </a:lnTo>
                <a:lnTo>
                  <a:pt x="1084192" y="268477"/>
                </a:lnTo>
                <a:close/>
                <a:moveTo>
                  <a:pt x="956410" y="266968"/>
                </a:moveTo>
                <a:lnTo>
                  <a:pt x="957576" y="267083"/>
                </a:lnTo>
                <a:lnTo>
                  <a:pt x="957576" y="269776"/>
                </a:lnTo>
                <a:lnTo>
                  <a:pt x="957694" y="269787"/>
                </a:lnTo>
                <a:cubicBezTo>
                  <a:pt x="957694" y="268857"/>
                  <a:pt x="957694" y="267927"/>
                  <a:pt x="957694" y="266968"/>
                </a:cubicBezTo>
                <a:close/>
                <a:moveTo>
                  <a:pt x="1089372" y="259220"/>
                </a:moveTo>
                <a:lnTo>
                  <a:pt x="1085856" y="265479"/>
                </a:lnTo>
                <a:lnTo>
                  <a:pt x="1088878" y="261431"/>
                </a:lnTo>
                <a:close/>
                <a:moveTo>
                  <a:pt x="1018517" y="223356"/>
                </a:moveTo>
                <a:lnTo>
                  <a:pt x="1013866" y="226190"/>
                </a:lnTo>
                <a:lnTo>
                  <a:pt x="1013024" y="227709"/>
                </a:lnTo>
                <a:lnTo>
                  <a:pt x="1017055" y="224692"/>
                </a:lnTo>
                <a:close/>
                <a:moveTo>
                  <a:pt x="850645" y="220099"/>
                </a:moveTo>
                <a:lnTo>
                  <a:pt x="850897" y="221488"/>
                </a:lnTo>
                <a:cubicBezTo>
                  <a:pt x="851086" y="222545"/>
                  <a:pt x="851275" y="223602"/>
                  <a:pt x="851470" y="224692"/>
                </a:cubicBezTo>
                <a:lnTo>
                  <a:pt x="852860" y="224692"/>
                </a:lnTo>
                <a:close/>
                <a:moveTo>
                  <a:pt x="1155019" y="35"/>
                </a:moveTo>
                <a:cubicBezTo>
                  <a:pt x="1161775" y="275"/>
                  <a:pt x="1168415" y="1783"/>
                  <a:pt x="1174829" y="4853"/>
                </a:cubicBezTo>
                <a:cubicBezTo>
                  <a:pt x="1176343" y="5231"/>
                  <a:pt x="1177858" y="5609"/>
                  <a:pt x="1179418" y="5998"/>
                </a:cubicBezTo>
                <a:cubicBezTo>
                  <a:pt x="1189392" y="9487"/>
                  <a:pt x="1196322" y="14392"/>
                  <a:pt x="1201385" y="22997"/>
                </a:cubicBezTo>
                <a:cubicBezTo>
                  <a:pt x="1206849" y="35244"/>
                  <a:pt x="1206940" y="49865"/>
                  <a:pt x="1201678" y="62191"/>
                </a:cubicBezTo>
                <a:cubicBezTo>
                  <a:pt x="1200594" y="64241"/>
                  <a:pt x="1199461" y="66271"/>
                  <a:pt x="1198261" y="68268"/>
                </a:cubicBezTo>
                <a:cubicBezTo>
                  <a:pt x="1197423" y="69721"/>
                  <a:pt x="1196586" y="71175"/>
                  <a:pt x="1195723" y="72672"/>
                </a:cubicBezTo>
                <a:cubicBezTo>
                  <a:pt x="1194659" y="73980"/>
                  <a:pt x="1194659" y="73980"/>
                  <a:pt x="1193575" y="75314"/>
                </a:cubicBezTo>
                <a:cubicBezTo>
                  <a:pt x="1192544" y="75314"/>
                  <a:pt x="1191512" y="75314"/>
                  <a:pt x="1190450" y="75314"/>
                </a:cubicBezTo>
                <a:cubicBezTo>
                  <a:pt x="1190128" y="76651"/>
                  <a:pt x="1189806" y="77988"/>
                  <a:pt x="1189474" y="79366"/>
                </a:cubicBezTo>
                <a:cubicBezTo>
                  <a:pt x="1187326" y="83769"/>
                  <a:pt x="1187326" y="83769"/>
                  <a:pt x="1182445" y="85707"/>
                </a:cubicBezTo>
                <a:cubicBezTo>
                  <a:pt x="1180962" y="85998"/>
                  <a:pt x="1179480" y="86289"/>
                  <a:pt x="1177953" y="86588"/>
                </a:cubicBezTo>
                <a:cubicBezTo>
                  <a:pt x="1177953" y="87518"/>
                  <a:pt x="1177953" y="88448"/>
                  <a:pt x="1177953" y="89406"/>
                </a:cubicBezTo>
                <a:cubicBezTo>
                  <a:pt x="1175369" y="91088"/>
                  <a:pt x="1172720" y="92688"/>
                  <a:pt x="1170045" y="94251"/>
                </a:cubicBezTo>
                <a:cubicBezTo>
                  <a:pt x="1154651" y="104199"/>
                  <a:pt x="1148918" y="116979"/>
                  <a:pt x="1143806" y="132828"/>
                </a:cubicBezTo>
                <a:cubicBezTo>
                  <a:pt x="1142095" y="137144"/>
                  <a:pt x="1140989" y="138617"/>
                  <a:pt x="1137338" y="141548"/>
                </a:cubicBezTo>
                <a:cubicBezTo>
                  <a:pt x="1136166" y="144148"/>
                  <a:pt x="1134992" y="146751"/>
                  <a:pt x="1133970" y="149403"/>
                </a:cubicBezTo>
                <a:cubicBezTo>
                  <a:pt x="1132069" y="154334"/>
                  <a:pt x="1130006" y="159210"/>
                  <a:pt x="1127965" y="164095"/>
                </a:cubicBezTo>
                <a:cubicBezTo>
                  <a:pt x="1126897" y="166664"/>
                  <a:pt x="1125830" y="169233"/>
                  <a:pt x="1124762" y="171802"/>
                </a:cubicBezTo>
                <a:cubicBezTo>
                  <a:pt x="1122961" y="176134"/>
                  <a:pt x="1121160" y="180466"/>
                  <a:pt x="1119359" y="184798"/>
                </a:cubicBezTo>
                <a:cubicBezTo>
                  <a:pt x="1116567" y="191508"/>
                  <a:pt x="1113778" y="198220"/>
                  <a:pt x="1111014" y="204941"/>
                </a:cubicBezTo>
                <a:cubicBezTo>
                  <a:pt x="1110590" y="205970"/>
                  <a:pt x="1110165" y="206999"/>
                  <a:pt x="1109729" y="208059"/>
                </a:cubicBezTo>
                <a:cubicBezTo>
                  <a:pt x="1108615" y="210762"/>
                  <a:pt x="1107505" y="213466"/>
                  <a:pt x="1106395" y="216170"/>
                </a:cubicBezTo>
                <a:cubicBezTo>
                  <a:pt x="1104320" y="220956"/>
                  <a:pt x="1103283" y="223349"/>
                  <a:pt x="1102147" y="224810"/>
                </a:cubicBezTo>
                <a:lnTo>
                  <a:pt x="1098261" y="227262"/>
                </a:lnTo>
                <a:lnTo>
                  <a:pt x="1098367" y="238475"/>
                </a:lnTo>
                <a:cubicBezTo>
                  <a:pt x="1098025" y="239757"/>
                  <a:pt x="1097684" y="241038"/>
                  <a:pt x="1097331" y="242358"/>
                </a:cubicBezTo>
                <a:cubicBezTo>
                  <a:pt x="1096958" y="243711"/>
                  <a:pt x="1096585" y="245064"/>
                  <a:pt x="1096201" y="246458"/>
                </a:cubicBezTo>
                <a:cubicBezTo>
                  <a:pt x="1093302" y="257363"/>
                  <a:pt x="1090901" y="268062"/>
                  <a:pt x="1089440" y="279206"/>
                </a:cubicBezTo>
                <a:cubicBezTo>
                  <a:pt x="1088878" y="282569"/>
                  <a:pt x="1088878" y="282569"/>
                  <a:pt x="1087316" y="283978"/>
                </a:cubicBezTo>
                <a:cubicBezTo>
                  <a:pt x="1087070" y="286587"/>
                  <a:pt x="1086924" y="289205"/>
                  <a:pt x="1086822" y="291822"/>
                </a:cubicBezTo>
                <a:cubicBezTo>
                  <a:pt x="1086756" y="293408"/>
                  <a:pt x="1086691" y="294993"/>
                  <a:pt x="1086623" y="296625"/>
                </a:cubicBezTo>
                <a:cubicBezTo>
                  <a:pt x="1086562" y="298294"/>
                  <a:pt x="1086501" y="299962"/>
                  <a:pt x="1086437" y="301681"/>
                </a:cubicBezTo>
                <a:cubicBezTo>
                  <a:pt x="1086336" y="304192"/>
                  <a:pt x="1086336" y="304192"/>
                  <a:pt x="1086233" y="306754"/>
                </a:cubicBezTo>
                <a:lnTo>
                  <a:pt x="1086007" y="312619"/>
                </a:lnTo>
                <a:lnTo>
                  <a:pt x="1087470" y="320554"/>
                </a:lnTo>
                <a:cubicBezTo>
                  <a:pt x="1089648" y="325409"/>
                  <a:pt x="1093111" y="329799"/>
                  <a:pt x="1098285" y="334611"/>
                </a:cubicBezTo>
                <a:cubicBezTo>
                  <a:pt x="1100424" y="336130"/>
                  <a:pt x="1100424" y="336130"/>
                  <a:pt x="1102607" y="337679"/>
                </a:cubicBezTo>
                <a:cubicBezTo>
                  <a:pt x="1104334" y="338951"/>
                  <a:pt x="1104334" y="338951"/>
                  <a:pt x="1106095" y="340248"/>
                </a:cubicBezTo>
                <a:cubicBezTo>
                  <a:pt x="1106095" y="341178"/>
                  <a:pt x="1106095" y="342108"/>
                  <a:pt x="1106095" y="343066"/>
                </a:cubicBezTo>
                <a:cubicBezTo>
                  <a:pt x="1107127" y="343183"/>
                  <a:pt x="1108158" y="343299"/>
                  <a:pt x="1109220" y="343419"/>
                </a:cubicBezTo>
                <a:cubicBezTo>
                  <a:pt x="1115473" y="344829"/>
                  <a:pt x="1120724" y="347416"/>
                  <a:pt x="1126403" y="350112"/>
                </a:cubicBezTo>
                <a:cubicBezTo>
                  <a:pt x="1128207" y="350926"/>
                  <a:pt x="1130012" y="351740"/>
                  <a:pt x="1131871" y="352579"/>
                </a:cubicBezTo>
                <a:cubicBezTo>
                  <a:pt x="1133159" y="353160"/>
                  <a:pt x="1134448" y="353741"/>
                  <a:pt x="1135776" y="354340"/>
                </a:cubicBezTo>
                <a:cubicBezTo>
                  <a:pt x="1135776" y="355270"/>
                  <a:pt x="1135776" y="356200"/>
                  <a:pt x="1135776" y="357158"/>
                </a:cubicBezTo>
                <a:cubicBezTo>
                  <a:pt x="1148107" y="360029"/>
                  <a:pt x="1158679" y="359101"/>
                  <a:pt x="1170143" y="354340"/>
                </a:cubicBezTo>
                <a:cubicBezTo>
                  <a:pt x="1172366" y="353468"/>
                  <a:pt x="1172366" y="353468"/>
                  <a:pt x="1174634" y="352579"/>
                </a:cubicBezTo>
                <a:cubicBezTo>
                  <a:pt x="1180354" y="349689"/>
                  <a:pt x="1185568" y="346355"/>
                  <a:pt x="1190890" y="342907"/>
                </a:cubicBezTo>
                <a:cubicBezTo>
                  <a:pt x="1195169" y="340228"/>
                  <a:pt x="1199557" y="337821"/>
                  <a:pt x="1204021" y="335404"/>
                </a:cubicBezTo>
                <a:cubicBezTo>
                  <a:pt x="1211989" y="330886"/>
                  <a:pt x="1217509" y="325766"/>
                  <a:pt x="1223255" y="319110"/>
                </a:cubicBezTo>
                <a:cubicBezTo>
                  <a:pt x="1224447" y="317947"/>
                  <a:pt x="1225639" y="316784"/>
                  <a:pt x="1226868" y="315587"/>
                </a:cubicBezTo>
                <a:cubicBezTo>
                  <a:pt x="1229855" y="311593"/>
                  <a:pt x="1230852" y="308240"/>
                  <a:pt x="1231859" y="303559"/>
                </a:cubicBezTo>
                <a:cubicBezTo>
                  <a:pt x="1232628" y="300790"/>
                  <a:pt x="1232628" y="300790"/>
                  <a:pt x="1234178" y="298059"/>
                </a:cubicBezTo>
                <a:cubicBezTo>
                  <a:pt x="1235964" y="294761"/>
                  <a:pt x="1236623" y="291807"/>
                  <a:pt x="1237314" y="288195"/>
                </a:cubicBezTo>
                <a:cubicBezTo>
                  <a:pt x="1239360" y="278571"/>
                  <a:pt x="1242414" y="272733"/>
                  <a:pt x="1249811" y="265559"/>
                </a:cubicBezTo>
                <a:cubicBezTo>
                  <a:pt x="1250842" y="265559"/>
                  <a:pt x="1251873" y="265559"/>
                  <a:pt x="1252935" y="265559"/>
                </a:cubicBezTo>
                <a:cubicBezTo>
                  <a:pt x="1252935" y="264629"/>
                  <a:pt x="1252935" y="263699"/>
                  <a:pt x="1252935" y="262741"/>
                </a:cubicBezTo>
                <a:cubicBezTo>
                  <a:pt x="1265591" y="253427"/>
                  <a:pt x="1280762" y="251648"/>
                  <a:pt x="1296675" y="252876"/>
                </a:cubicBezTo>
                <a:cubicBezTo>
                  <a:pt x="1300535" y="253563"/>
                  <a:pt x="1303901" y="254478"/>
                  <a:pt x="1307609" y="255695"/>
                </a:cubicBezTo>
                <a:cubicBezTo>
                  <a:pt x="1307609" y="256625"/>
                  <a:pt x="1307609" y="257555"/>
                  <a:pt x="1307609" y="258513"/>
                </a:cubicBezTo>
                <a:cubicBezTo>
                  <a:pt x="1309021" y="258619"/>
                  <a:pt x="1310432" y="258723"/>
                  <a:pt x="1311887" y="258832"/>
                </a:cubicBezTo>
                <a:cubicBezTo>
                  <a:pt x="1319573" y="260476"/>
                  <a:pt x="1322149" y="264416"/>
                  <a:pt x="1326715" y="269969"/>
                </a:cubicBezTo>
                <a:cubicBezTo>
                  <a:pt x="1334402" y="281220"/>
                  <a:pt x="1336114" y="294839"/>
                  <a:pt x="1334165" y="307836"/>
                </a:cubicBezTo>
                <a:cubicBezTo>
                  <a:pt x="1332176" y="311898"/>
                  <a:pt x="1332176" y="311898"/>
                  <a:pt x="1329479" y="314882"/>
                </a:cubicBezTo>
                <a:cubicBezTo>
                  <a:pt x="1327417" y="314882"/>
                  <a:pt x="1325355" y="314882"/>
                  <a:pt x="1323231" y="314882"/>
                </a:cubicBezTo>
                <a:cubicBezTo>
                  <a:pt x="1323231" y="315812"/>
                  <a:pt x="1323231" y="316742"/>
                  <a:pt x="1323231" y="317700"/>
                </a:cubicBezTo>
                <a:lnTo>
                  <a:pt x="1322774" y="317838"/>
                </a:lnTo>
                <a:lnTo>
                  <a:pt x="1323295" y="317838"/>
                </a:lnTo>
                <a:cubicBezTo>
                  <a:pt x="1323295" y="316907"/>
                  <a:pt x="1323295" y="315977"/>
                  <a:pt x="1323295" y="315019"/>
                </a:cubicBezTo>
                <a:cubicBezTo>
                  <a:pt x="1324842" y="315019"/>
                  <a:pt x="1326388" y="315019"/>
                  <a:pt x="1327982" y="315019"/>
                </a:cubicBezTo>
                <a:cubicBezTo>
                  <a:pt x="1325845" y="321328"/>
                  <a:pt x="1322753" y="323742"/>
                  <a:pt x="1317047" y="327702"/>
                </a:cubicBezTo>
                <a:cubicBezTo>
                  <a:pt x="1316531" y="329097"/>
                  <a:pt x="1316016" y="330492"/>
                  <a:pt x="1315484" y="331930"/>
                </a:cubicBezTo>
                <a:cubicBezTo>
                  <a:pt x="1312599" y="332959"/>
                  <a:pt x="1312599" y="332959"/>
                  <a:pt x="1309139" y="333603"/>
                </a:cubicBezTo>
                <a:cubicBezTo>
                  <a:pt x="1307993" y="333827"/>
                  <a:pt x="1306847" y="334050"/>
                  <a:pt x="1305666" y="334280"/>
                </a:cubicBezTo>
                <a:cubicBezTo>
                  <a:pt x="1304783" y="334434"/>
                  <a:pt x="1303899" y="334589"/>
                  <a:pt x="1302988" y="334748"/>
                </a:cubicBezTo>
                <a:lnTo>
                  <a:pt x="1305905" y="332775"/>
                </a:lnTo>
                <a:lnTo>
                  <a:pt x="1304485" y="333202"/>
                </a:lnTo>
                <a:cubicBezTo>
                  <a:pt x="1302987" y="334640"/>
                  <a:pt x="1302987" y="334640"/>
                  <a:pt x="1301459" y="336108"/>
                </a:cubicBezTo>
                <a:cubicBezTo>
                  <a:pt x="1298237" y="338839"/>
                  <a:pt x="1298237" y="338839"/>
                  <a:pt x="1291989" y="338839"/>
                </a:cubicBezTo>
                <a:cubicBezTo>
                  <a:pt x="1291473" y="340234"/>
                  <a:pt x="1290957" y="341629"/>
                  <a:pt x="1290426" y="343066"/>
                </a:cubicBezTo>
                <a:cubicBezTo>
                  <a:pt x="1288879" y="343415"/>
                  <a:pt x="1287333" y="343764"/>
                  <a:pt x="1285740" y="344123"/>
                </a:cubicBezTo>
                <a:cubicBezTo>
                  <a:pt x="1266905" y="348491"/>
                  <a:pt x="1249005" y="369098"/>
                  <a:pt x="1237314" y="382525"/>
                </a:cubicBezTo>
                <a:cubicBezTo>
                  <a:pt x="1235678" y="385783"/>
                  <a:pt x="1234122" y="389075"/>
                  <a:pt x="1232628" y="392389"/>
                </a:cubicBezTo>
                <a:cubicBezTo>
                  <a:pt x="1231317" y="394515"/>
                  <a:pt x="1229981" y="396629"/>
                  <a:pt x="1228625" y="398731"/>
                </a:cubicBezTo>
                <a:cubicBezTo>
                  <a:pt x="1221457" y="410300"/>
                  <a:pt x="1219465" y="421836"/>
                  <a:pt x="1222822" y="434798"/>
                </a:cubicBezTo>
                <a:cubicBezTo>
                  <a:pt x="1229360" y="453710"/>
                  <a:pt x="1244088" y="472467"/>
                  <a:pt x="1260746" y="485398"/>
                </a:cubicBezTo>
                <a:cubicBezTo>
                  <a:pt x="1264961" y="487349"/>
                  <a:pt x="1264961" y="487349"/>
                  <a:pt x="1268556" y="488216"/>
                </a:cubicBezTo>
                <a:cubicBezTo>
                  <a:pt x="1268556" y="489146"/>
                  <a:pt x="1268556" y="490076"/>
                  <a:pt x="1268556" y="491034"/>
                </a:cubicBezTo>
                <a:cubicBezTo>
                  <a:pt x="1288790" y="497071"/>
                  <a:pt x="1319055" y="498555"/>
                  <a:pt x="1338852" y="489625"/>
                </a:cubicBezTo>
                <a:cubicBezTo>
                  <a:pt x="1341711" y="489213"/>
                  <a:pt x="1344575" y="488837"/>
                  <a:pt x="1347444" y="488480"/>
                </a:cubicBezTo>
                <a:cubicBezTo>
                  <a:pt x="1355372" y="487345"/>
                  <a:pt x="1362033" y="485390"/>
                  <a:pt x="1369362" y="482513"/>
                </a:cubicBezTo>
                <a:cubicBezTo>
                  <a:pt x="1375665" y="480318"/>
                  <a:pt x="1382189" y="479322"/>
                  <a:pt x="1388840" y="478351"/>
                </a:cubicBezTo>
                <a:cubicBezTo>
                  <a:pt x="1388840" y="477421"/>
                  <a:pt x="1388840" y="476492"/>
                  <a:pt x="1388840" y="475533"/>
                </a:cubicBezTo>
                <a:cubicBezTo>
                  <a:pt x="1391083" y="474821"/>
                  <a:pt x="1393329" y="474118"/>
                  <a:pt x="1395576" y="473419"/>
                </a:cubicBezTo>
                <a:cubicBezTo>
                  <a:pt x="1396827" y="473027"/>
                  <a:pt x="1398077" y="472635"/>
                  <a:pt x="1399365" y="472230"/>
                </a:cubicBezTo>
                <a:cubicBezTo>
                  <a:pt x="1402899" y="471305"/>
                  <a:pt x="1402899" y="471305"/>
                  <a:pt x="1407585" y="471305"/>
                </a:cubicBezTo>
                <a:cubicBezTo>
                  <a:pt x="1408101" y="469910"/>
                  <a:pt x="1408616" y="468515"/>
                  <a:pt x="1409147" y="467078"/>
                </a:cubicBezTo>
                <a:cubicBezTo>
                  <a:pt x="1412388" y="465580"/>
                  <a:pt x="1412388" y="465580"/>
                  <a:pt x="1416470" y="464259"/>
                </a:cubicBezTo>
                <a:cubicBezTo>
                  <a:pt x="1424029" y="461705"/>
                  <a:pt x="1431130" y="458955"/>
                  <a:pt x="1437949" y="455011"/>
                </a:cubicBezTo>
                <a:cubicBezTo>
                  <a:pt x="1442765" y="452574"/>
                  <a:pt x="1447553" y="451394"/>
                  <a:pt x="1452887" y="450167"/>
                </a:cubicBezTo>
                <a:cubicBezTo>
                  <a:pt x="1452887" y="449237"/>
                  <a:pt x="1452887" y="448307"/>
                  <a:pt x="1452887" y="447349"/>
                </a:cubicBezTo>
                <a:cubicBezTo>
                  <a:pt x="1453714" y="446944"/>
                  <a:pt x="1454541" y="446539"/>
                  <a:pt x="1455394" y="446122"/>
                </a:cubicBezTo>
                <a:cubicBezTo>
                  <a:pt x="1459151" y="444278"/>
                  <a:pt x="1462902" y="442422"/>
                  <a:pt x="1466653" y="440567"/>
                </a:cubicBezTo>
                <a:cubicBezTo>
                  <a:pt x="1467955" y="439930"/>
                  <a:pt x="1469256" y="439293"/>
                  <a:pt x="1470598" y="438637"/>
                </a:cubicBezTo>
                <a:cubicBezTo>
                  <a:pt x="1471852" y="438016"/>
                  <a:pt x="1473105" y="437393"/>
                  <a:pt x="1474397" y="436752"/>
                </a:cubicBezTo>
                <a:cubicBezTo>
                  <a:pt x="1475550" y="436184"/>
                  <a:pt x="1476703" y="435616"/>
                  <a:pt x="1477892" y="435030"/>
                </a:cubicBezTo>
                <a:cubicBezTo>
                  <a:pt x="1480966" y="433279"/>
                  <a:pt x="1483173" y="431373"/>
                  <a:pt x="1485691" y="429029"/>
                </a:cubicBezTo>
                <a:cubicBezTo>
                  <a:pt x="1486737" y="428575"/>
                  <a:pt x="1487781" y="428121"/>
                  <a:pt x="1488858" y="427653"/>
                </a:cubicBezTo>
                <a:cubicBezTo>
                  <a:pt x="1492438" y="425977"/>
                  <a:pt x="1493705" y="424453"/>
                  <a:pt x="1495943" y="421454"/>
                </a:cubicBezTo>
                <a:cubicBezTo>
                  <a:pt x="1507114" y="407544"/>
                  <a:pt x="1519758" y="393513"/>
                  <a:pt x="1538608" y="388338"/>
                </a:cubicBezTo>
                <a:cubicBezTo>
                  <a:pt x="1541025" y="388250"/>
                  <a:pt x="1541025" y="388250"/>
                  <a:pt x="1543490" y="388161"/>
                </a:cubicBezTo>
                <a:cubicBezTo>
                  <a:pt x="1545535" y="387984"/>
                  <a:pt x="1545535" y="387984"/>
                  <a:pt x="1547621" y="387804"/>
                </a:cubicBezTo>
                <a:cubicBezTo>
                  <a:pt x="1560659" y="387094"/>
                  <a:pt x="1568716" y="390117"/>
                  <a:pt x="1579418" y="396617"/>
                </a:cubicBezTo>
                <a:cubicBezTo>
                  <a:pt x="1581361" y="397687"/>
                  <a:pt x="1581361" y="397687"/>
                  <a:pt x="1583342" y="398780"/>
                </a:cubicBezTo>
                <a:cubicBezTo>
                  <a:pt x="1593703" y="405068"/>
                  <a:pt x="1598513" y="412459"/>
                  <a:pt x="1601288" y="423392"/>
                </a:cubicBezTo>
                <a:cubicBezTo>
                  <a:pt x="1603295" y="436596"/>
                  <a:pt x="1603517" y="449033"/>
                  <a:pt x="1594484" y="460159"/>
                </a:cubicBezTo>
                <a:cubicBezTo>
                  <a:pt x="1588468" y="466462"/>
                  <a:pt x="1582607" y="471150"/>
                  <a:pt x="1574732" y="475533"/>
                </a:cubicBezTo>
                <a:cubicBezTo>
                  <a:pt x="1573862" y="476043"/>
                  <a:pt x="1572993" y="476553"/>
                  <a:pt x="1572097" y="477078"/>
                </a:cubicBezTo>
                <a:cubicBezTo>
                  <a:pt x="1566828" y="478935"/>
                  <a:pt x="1561641" y="478744"/>
                  <a:pt x="1556066" y="478737"/>
                </a:cubicBezTo>
                <a:cubicBezTo>
                  <a:pt x="1553587" y="478765"/>
                  <a:pt x="1551109" y="478795"/>
                  <a:pt x="1548631" y="478825"/>
                </a:cubicBezTo>
                <a:cubicBezTo>
                  <a:pt x="1544751" y="478857"/>
                  <a:pt x="1540871" y="478880"/>
                  <a:pt x="1536991" y="478889"/>
                </a:cubicBezTo>
                <a:cubicBezTo>
                  <a:pt x="1516714" y="478693"/>
                  <a:pt x="1516714" y="478693"/>
                  <a:pt x="1498188" y="485398"/>
                </a:cubicBezTo>
                <a:cubicBezTo>
                  <a:pt x="1496062" y="486488"/>
                  <a:pt x="1496062" y="486488"/>
                  <a:pt x="1493892" y="487600"/>
                </a:cubicBezTo>
                <a:cubicBezTo>
                  <a:pt x="1492733" y="488268"/>
                  <a:pt x="1491573" y="488937"/>
                  <a:pt x="1490377" y="489625"/>
                </a:cubicBezTo>
                <a:cubicBezTo>
                  <a:pt x="1484304" y="493012"/>
                  <a:pt x="1478212" y="495675"/>
                  <a:pt x="1471650" y="498185"/>
                </a:cubicBezTo>
                <a:cubicBezTo>
                  <a:pt x="1467148" y="500054"/>
                  <a:pt x="1463242" y="502632"/>
                  <a:pt x="1459135" y="505127"/>
                </a:cubicBezTo>
                <a:cubicBezTo>
                  <a:pt x="1456968" y="506120"/>
                  <a:pt x="1454786" y="507086"/>
                  <a:pt x="1452594" y="508033"/>
                </a:cubicBezTo>
                <a:cubicBezTo>
                  <a:pt x="1444148" y="511772"/>
                  <a:pt x="1435969" y="515903"/>
                  <a:pt x="1427795" y="520100"/>
                </a:cubicBezTo>
                <a:cubicBezTo>
                  <a:pt x="1425784" y="521114"/>
                  <a:pt x="1425784" y="521114"/>
                  <a:pt x="1423733" y="522148"/>
                </a:cubicBezTo>
                <a:cubicBezTo>
                  <a:pt x="1422478" y="522798"/>
                  <a:pt x="1421223" y="523449"/>
                  <a:pt x="1419929" y="524118"/>
                </a:cubicBezTo>
                <a:cubicBezTo>
                  <a:pt x="1418794" y="524701"/>
                  <a:pt x="1417658" y="525283"/>
                  <a:pt x="1416487" y="525883"/>
                </a:cubicBezTo>
                <a:cubicBezTo>
                  <a:pt x="1413349" y="527646"/>
                  <a:pt x="1413349" y="527646"/>
                  <a:pt x="1412271" y="531902"/>
                </a:cubicBezTo>
                <a:cubicBezTo>
                  <a:pt x="1407205" y="535203"/>
                  <a:pt x="1402819" y="536744"/>
                  <a:pt x="1396650" y="537539"/>
                </a:cubicBezTo>
                <a:cubicBezTo>
                  <a:pt x="1396650" y="538469"/>
                  <a:pt x="1396650" y="539399"/>
                  <a:pt x="1396650" y="540357"/>
                </a:cubicBezTo>
                <a:cubicBezTo>
                  <a:pt x="1395609" y="540735"/>
                  <a:pt x="1394568" y="541113"/>
                  <a:pt x="1393495" y="541502"/>
                </a:cubicBezTo>
                <a:cubicBezTo>
                  <a:pt x="1381840" y="545973"/>
                  <a:pt x="1372279" y="551715"/>
                  <a:pt x="1362284" y="558678"/>
                </a:cubicBezTo>
                <a:cubicBezTo>
                  <a:pt x="1360170" y="560088"/>
                  <a:pt x="1358055" y="561497"/>
                  <a:pt x="1355937" y="562905"/>
                </a:cubicBezTo>
                <a:cubicBezTo>
                  <a:pt x="1348556" y="567937"/>
                  <a:pt x="1341292" y="573085"/>
                  <a:pt x="1334165" y="578406"/>
                </a:cubicBezTo>
                <a:cubicBezTo>
                  <a:pt x="1332697" y="579472"/>
                  <a:pt x="1332697" y="579472"/>
                  <a:pt x="1331200" y="580559"/>
                </a:cubicBezTo>
                <a:cubicBezTo>
                  <a:pt x="1325067" y="585430"/>
                  <a:pt x="1323406" y="589771"/>
                  <a:pt x="1322175" y="596793"/>
                </a:cubicBezTo>
                <a:cubicBezTo>
                  <a:pt x="1321669" y="599545"/>
                  <a:pt x="1321669" y="599545"/>
                  <a:pt x="1320106" y="602363"/>
                </a:cubicBezTo>
                <a:cubicBezTo>
                  <a:pt x="1318419" y="618189"/>
                  <a:pt x="1322416" y="632767"/>
                  <a:pt x="1328015" y="647640"/>
                </a:cubicBezTo>
                <a:cubicBezTo>
                  <a:pt x="1331267" y="656625"/>
                  <a:pt x="1333170" y="666179"/>
                  <a:pt x="1332604" y="675643"/>
                </a:cubicBezTo>
                <a:cubicBezTo>
                  <a:pt x="1333634" y="675643"/>
                  <a:pt x="1334665" y="675643"/>
                  <a:pt x="1335727" y="675643"/>
                </a:cubicBezTo>
                <a:cubicBezTo>
                  <a:pt x="1337571" y="680632"/>
                  <a:pt x="1337591" y="684795"/>
                  <a:pt x="1337741" y="690059"/>
                </a:cubicBezTo>
                <a:cubicBezTo>
                  <a:pt x="1337826" y="692114"/>
                  <a:pt x="1337913" y="694168"/>
                  <a:pt x="1338003" y="696222"/>
                </a:cubicBezTo>
                <a:cubicBezTo>
                  <a:pt x="1338142" y="699444"/>
                  <a:pt x="1338266" y="702664"/>
                  <a:pt x="1338340" y="705887"/>
                </a:cubicBezTo>
                <a:cubicBezTo>
                  <a:pt x="1338372" y="720474"/>
                  <a:pt x="1338372" y="720474"/>
                  <a:pt x="1345277" y="733245"/>
                </a:cubicBezTo>
                <a:cubicBezTo>
                  <a:pt x="1350822" y="737861"/>
                  <a:pt x="1355921" y="739823"/>
                  <a:pt x="1363162" y="741612"/>
                </a:cubicBezTo>
                <a:cubicBezTo>
                  <a:pt x="1370672" y="743533"/>
                  <a:pt x="1377197" y="745750"/>
                  <a:pt x="1384154" y="748922"/>
                </a:cubicBezTo>
                <a:cubicBezTo>
                  <a:pt x="1387833" y="749898"/>
                  <a:pt x="1387833" y="749898"/>
                  <a:pt x="1391476" y="750419"/>
                </a:cubicBezTo>
                <a:cubicBezTo>
                  <a:pt x="1393499" y="750747"/>
                  <a:pt x="1393499" y="750747"/>
                  <a:pt x="1395564" y="751080"/>
                </a:cubicBezTo>
                <a:cubicBezTo>
                  <a:pt x="1397648" y="751407"/>
                  <a:pt x="1397648" y="751407"/>
                  <a:pt x="1399775" y="751740"/>
                </a:cubicBezTo>
                <a:cubicBezTo>
                  <a:pt x="1401810" y="752111"/>
                  <a:pt x="1401810" y="752111"/>
                  <a:pt x="1403887" y="752489"/>
                </a:cubicBezTo>
                <a:cubicBezTo>
                  <a:pt x="1424247" y="756131"/>
                  <a:pt x="1444708" y="756350"/>
                  <a:pt x="1465383" y="755969"/>
                </a:cubicBezTo>
                <a:cubicBezTo>
                  <a:pt x="1467019" y="755945"/>
                  <a:pt x="1468654" y="755921"/>
                  <a:pt x="1470339" y="755897"/>
                </a:cubicBezTo>
                <a:cubicBezTo>
                  <a:pt x="1480128" y="755450"/>
                  <a:pt x="1487899" y="752933"/>
                  <a:pt x="1496809" y="749313"/>
                </a:cubicBezTo>
                <a:cubicBezTo>
                  <a:pt x="1502876" y="746888"/>
                  <a:pt x="1509049" y="745091"/>
                  <a:pt x="1515371" y="743285"/>
                </a:cubicBezTo>
                <a:cubicBezTo>
                  <a:pt x="1515371" y="742356"/>
                  <a:pt x="1515371" y="741425"/>
                  <a:pt x="1515371" y="740467"/>
                </a:cubicBezTo>
                <a:cubicBezTo>
                  <a:pt x="1522710" y="737103"/>
                  <a:pt x="1529583" y="737106"/>
                  <a:pt x="1537632" y="737120"/>
                </a:cubicBezTo>
                <a:cubicBezTo>
                  <a:pt x="1538960" y="737122"/>
                  <a:pt x="1540289" y="737124"/>
                  <a:pt x="1541657" y="737127"/>
                </a:cubicBezTo>
                <a:cubicBezTo>
                  <a:pt x="1555502" y="737372"/>
                  <a:pt x="1564314" y="740697"/>
                  <a:pt x="1574732" y="748922"/>
                </a:cubicBezTo>
                <a:cubicBezTo>
                  <a:pt x="1586507" y="762822"/>
                  <a:pt x="1590347" y="775219"/>
                  <a:pt x="1588791" y="792608"/>
                </a:cubicBezTo>
                <a:cubicBezTo>
                  <a:pt x="1587728" y="797050"/>
                  <a:pt x="1586468" y="801261"/>
                  <a:pt x="1584105" y="805291"/>
                </a:cubicBezTo>
                <a:cubicBezTo>
                  <a:pt x="1583074" y="805756"/>
                  <a:pt x="1582043" y="806221"/>
                  <a:pt x="1580981" y="806700"/>
                </a:cubicBezTo>
                <a:cubicBezTo>
                  <a:pt x="1580240" y="807892"/>
                  <a:pt x="1579499" y="809083"/>
                  <a:pt x="1578735" y="810311"/>
                </a:cubicBezTo>
                <a:cubicBezTo>
                  <a:pt x="1577930" y="811445"/>
                  <a:pt x="1577124" y="812579"/>
                  <a:pt x="1576295" y="813746"/>
                </a:cubicBezTo>
                <a:lnTo>
                  <a:pt x="1571652" y="813746"/>
                </a:lnTo>
                <a:lnTo>
                  <a:pt x="1571785" y="814106"/>
                </a:lnTo>
                <a:cubicBezTo>
                  <a:pt x="1572816" y="814571"/>
                  <a:pt x="1573846" y="815036"/>
                  <a:pt x="1574909" y="815515"/>
                </a:cubicBezTo>
                <a:cubicBezTo>
                  <a:pt x="1572126" y="818758"/>
                  <a:pt x="1569968" y="820871"/>
                  <a:pt x="1565463" y="821839"/>
                </a:cubicBezTo>
                <a:lnTo>
                  <a:pt x="1562085" y="822101"/>
                </a:lnTo>
                <a:lnTo>
                  <a:pt x="1551301" y="825020"/>
                </a:lnTo>
                <a:cubicBezTo>
                  <a:pt x="1551301" y="825950"/>
                  <a:pt x="1551301" y="826880"/>
                  <a:pt x="1551301" y="827838"/>
                </a:cubicBezTo>
                <a:cubicBezTo>
                  <a:pt x="1526697" y="828735"/>
                  <a:pt x="1507496" y="825036"/>
                  <a:pt x="1485380" y="815007"/>
                </a:cubicBezTo>
                <a:cubicBezTo>
                  <a:pt x="1468723" y="807743"/>
                  <a:pt x="1449749" y="809144"/>
                  <a:pt x="1431603" y="808726"/>
                </a:cubicBezTo>
                <a:cubicBezTo>
                  <a:pt x="1429115" y="808665"/>
                  <a:pt x="1426627" y="808604"/>
                  <a:pt x="1424140" y="808542"/>
                </a:cubicBezTo>
                <a:cubicBezTo>
                  <a:pt x="1418101" y="808392"/>
                  <a:pt x="1412062" y="808249"/>
                  <a:pt x="1406023" y="808109"/>
                </a:cubicBezTo>
                <a:cubicBezTo>
                  <a:pt x="1406023" y="809040"/>
                  <a:pt x="1406023" y="809970"/>
                  <a:pt x="1406023" y="810928"/>
                </a:cubicBezTo>
                <a:cubicBezTo>
                  <a:pt x="1404716" y="811118"/>
                  <a:pt x="1404716" y="811118"/>
                  <a:pt x="1403383" y="811311"/>
                </a:cubicBezTo>
                <a:cubicBezTo>
                  <a:pt x="1372054" y="815110"/>
                  <a:pt x="1372054" y="815110"/>
                  <a:pt x="1345442" y="828907"/>
                </a:cubicBezTo>
                <a:cubicBezTo>
                  <a:pt x="1338843" y="837605"/>
                  <a:pt x="1338313" y="846434"/>
                  <a:pt x="1337875" y="856639"/>
                </a:cubicBezTo>
                <a:cubicBezTo>
                  <a:pt x="1337815" y="857805"/>
                  <a:pt x="1337754" y="858970"/>
                  <a:pt x="1337692" y="860171"/>
                </a:cubicBezTo>
                <a:cubicBezTo>
                  <a:pt x="1337547" y="863016"/>
                  <a:pt x="1337417" y="865861"/>
                  <a:pt x="1337290" y="868706"/>
                </a:cubicBezTo>
                <a:cubicBezTo>
                  <a:pt x="1336258" y="868706"/>
                  <a:pt x="1335228" y="868706"/>
                  <a:pt x="1334165" y="868706"/>
                </a:cubicBezTo>
                <a:lnTo>
                  <a:pt x="1334165" y="870034"/>
                </a:lnTo>
                <a:lnTo>
                  <a:pt x="1334237" y="869093"/>
                </a:lnTo>
                <a:cubicBezTo>
                  <a:pt x="1334753" y="869093"/>
                  <a:pt x="1335268" y="869093"/>
                  <a:pt x="1335800" y="869093"/>
                </a:cubicBezTo>
                <a:cubicBezTo>
                  <a:pt x="1335884" y="871559"/>
                  <a:pt x="1335944" y="874025"/>
                  <a:pt x="1335995" y="876491"/>
                </a:cubicBezTo>
                <a:cubicBezTo>
                  <a:pt x="1336030" y="877865"/>
                  <a:pt x="1336067" y="879238"/>
                  <a:pt x="1336105" y="880653"/>
                </a:cubicBezTo>
                <a:cubicBezTo>
                  <a:pt x="1335800" y="884594"/>
                  <a:pt x="1335800" y="884594"/>
                  <a:pt x="1334294" y="887271"/>
                </a:cubicBezTo>
                <a:cubicBezTo>
                  <a:pt x="1332567" y="890428"/>
                  <a:pt x="1331982" y="892964"/>
                  <a:pt x="1331455" y="896440"/>
                </a:cubicBezTo>
                <a:cubicBezTo>
                  <a:pt x="1331267" y="897605"/>
                  <a:pt x="1331080" y="898769"/>
                  <a:pt x="1330887" y="899969"/>
                </a:cubicBezTo>
                <a:cubicBezTo>
                  <a:pt x="1330704" y="901174"/>
                  <a:pt x="1330521" y="902378"/>
                  <a:pt x="1330332" y="903618"/>
                </a:cubicBezTo>
                <a:cubicBezTo>
                  <a:pt x="1329968" y="906013"/>
                  <a:pt x="1329594" y="908405"/>
                  <a:pt x="1329209" y="910797"/>
                </a:cubicBezTo>
                <a:cubicBezTo>
                  <a:pt x="1329049" y="911853"/>
                  <a:pt x="1328889" y="912910"/>
                  <a:pt x="1328724" y="913998"/>
                </a:cubicBezTo>
                <a:cubicBezTo>
                  <a:pt x="1327933" y="917233"/>
                  <a:pt x="1326525" y="919703"/>
                  <a:pt x="1324865" y="922643"/>
                </a:cubicBezTo>
                <a:cubicBezTo>
                  <a:pt x="1323924" y="927743"/>
                  <a:pt x="1323282" y="932845"/>
                  <a:pt x="1322619" y="937979"/>
                </a:cubicBezTo>
                <a:lnTo>
                  <a:pt x="1318744" y="944961"/>
                </a:lnTo>
                <a:lnTo>
                  <a:pt x="1318544" y="946213"/>
                </a:lnTo>
                <a:cubicBezTo>
                  <a:pt x="1318360" y="949234"/>
                  <a:pt x="1318271" y="952260"/>
                  <a:pt x="1318251" y="955285"/>
                </a:cubicBezTo>
                <a:cubicBezTo>
                  <a:pt x="1318218" y="957637"/>
                  <a:pt x="1318218" y="957637"/>
                  <a:pt x="1318184" y="960036"/>
                </a:cubicBezTo>
                <a:cubicBezTo>
                  <a:pt x="1318624" y="965530"/>
                  <a:pt x="1319569" y="969724"/>
                  <a:pt x="1324024" y="973660"/>
                </a:cubicBezTo>
                <a:cubicBezTo>
                  <a:pt x="1327197" y="976583"/>
                  <a:pt x="1327950" y="979494"/>
                  <a:pt x="1329284" y="983382"/>
                </a:cubicBezTo>
                <a:cubicBezTo>
                  <a:pt x="1331875" y="990106"/>
                  <a:pt x="1334445" y="993582"/>
                  <a:pt x="1340414" y="998354"/>
                </a:cubicBezTo>
                <a:cubicBezTo>
                  <a:pt x="1342397" y="1000564"/>
                  <a:pt x="1344347" y="1002798"/>
                  <a:pt x="1346272" y="1005048"/>
                </a:cubicBezTo>
                <a:cubicBezTo>
                  <a:pt x="1360055" y="1020713"/>
                  <a:pt x="1376247" y="1031879"/>
                  <a:pt x="1394716" y="1042740"/>
                </a:cubicBezTo>
                <a:cubicBezTo>
                  <a:pt x="1397172" y="1044228"/>
                  <a:pt x="1399581" y="1045779"/>
                  <a:pt x="1401953" y="1047374"/>
                </a:cubicBezTo>
                <a:cubicBezTo>
                  <a:pt x="1410065" y="1052802"/>
                  <a:pt x="1417529" y="1056366"/>
                  <a:pt x="1427197" y="1059061"/>
                </a:cubicBezTo>
                <a:cubicBezTo>
                  <a:pt x="1431243" y="1060437"/>
                  <a:pt x="1434061" y="1061979"/>
                  <a:pt x="1437265" y="1064588"/>
                </a:cubicBezTo>
                <a:cubicBezTo>
                  <a:pt x="1437265" y="1065518"/>
                  <a:pt x="1437265" y="1066448"/>
                  <a:pt x="1437265" y="1067406"/>
                </a:cubicBezTo>
                <a:cubicBezTo>
                  <a:pt x="1439053" y="1067624"/>
                  <a:pt x="1439053" y="1067624"/>
                  <a:pt x="1440878" y="1067847"/>
                </a:cubicBezTo>
                <a:cubicBezTo>
                  <a:pt x="1445076" y="1068815"/>
                  <a:pt x="1445076" y="1068815"/>
                  <a:pt x="1447175" y="1070753"/>
                </a:cubicBezTo>
                <a:cubicBezTo>
                  <a:pt x="1450417" y="1073622"/>
                  <a:pt x="1453781" y="1075060"/>
                  <a:pt x="1457866" y="1076830"/>
                </a:cubicBezTo>
                <a:cubicBezTo>
                  <a:pt x="1459274" y="1077446"/>
                  <a:pt x="1460681" y="1078062"/>
                  <a:pt x="1462132" y="1078696"/>
                </a:cubicBezTo>
                <a:cubicBezTo>
                  <a:pt x="1463204" y="1079156"/>
                  <a:pt x="1464278" y="1079616"/>
                  <a:pt x="1465383" y="1080089"/>
                </a:cubicBezTo>
                <a:cubicBezTo>
                  <a:pt x="1465383" y="1081019"/>
                  <a:pt x="1465383" y="1081949"/>
                  <a:pt x="1465383" y="1082908"/>
                </a:cubicBezTo>
                <a:cubicBezTo>
                  <a:pt x="1466497" y="1083260"/>
                  <a:pt x="1467611" y="1083612"/>
                  <a:pt x="1468758" y="1083975"/>
                </a:cubicBezTo>
                <a:cubicBezTo>
                  <a:pt x="1473648" y="1085905"/>
                  <a:pt x="1477426" y="1088296"/>
                  <a:pt x="1481688" y="1091187"/>
                </a:cubicBezTo>
                <a:cubicBezTo>
                  <a:pt x="1483204" y="1092193"/>
                  <a:pt x="1484721" y="1093200"/>
                  <a:pt x="1486283" y="1094236"/>
                </a:cubicBezTo>
                <a:cubicBezTo>
                  <a:pt x="1489170" y="1096185"/>
                  <a:pt x="1492029" y="1098166"/>
                  <a:pt x="1494869" y="1100171"/>
                </a:cubicBezTo>
                <a:cubicBezTo>
                  <a:pt x="1510181" y="1107906"/>
                  <a:pt x="1527080" y="1109898"/>
                  <a:pt x="1544335" y="1109518"/>
                </a:cubicBezTo>
                <a:cubicBezTo>
                  <a:pt x="1579932" y="1108798"/>
                  <a:pt x="1579932" y="1108798"/>
                  <a:pt x="1593477" y="1119900"/>
                </a:cubicBezTo>
                <a:cubicBezTo>
                  <a:pt x="1600636" y="1127255"/>
                  <a:pt x="1604889" y="1135120"/>
                  <a:pt x="1605975" y="1144913"/>
                </a:cubicBezTo>
                <a:cubicBezTo>
                  <a:pt x="1607006" y="1144913"/>
                  <a:pt x="1608036" y="1144913"/>
                  <a:pt x="1609099" y="1144913"/>
                </a:cubicBezTo>
                <a:cubicBezTo>
                  <a:pt x="1609227" y="1148907"/>
                  <a:pt x="1609319" y="1152897"/>
                  <a:pt x="1609392" y="1156892"/>
                </a:cubicBezTo>
                <a:cubicBezTo>
                  <a:pt x="1609451" y="1158565"/>
                  <a:pt x="1609451" y="1158565"/>
                  <a:pt x="1609511" y="1160272"/>
                </a:cubicBezTo>
                <a:cubicBezTo>
                  <a:pt x="1609621" y="1168378"/>
                  <a:pt x="1607970" y="1174108"/>
                  <a:pt x="1604412" y="1181553"/>
                </a:cubicBezTo>
                <a:cubicBezTo>
                  <a:pt x="1603354" y="1184367"/>
                  <a:pt x="1602306" y="1187183"/>
                  <a:pt x="1601288" y="1190009"/>
                </a:cubicBezTo>
                <a:cubicBezTo>
                  <a:pt x="1600257" y="1190009"/>
                  <a:pt x="1599226" y="1190009"/>
                  <a:pt x="1598164" y="1190009"/>
                </a:cubicBezTo>
                <a:cubicBezTo>
                  <a:pt x="1597842" y="1190910"/>
                  <a:pt x="1597520" y="1191810"/>
                  <a:pt x="1597187" y="1192739"/>
                </a:cubicBezTo>
                <a:cubicBezTo>
                  <a:pt x="1596479" y="1193698"/>
                  <a:pt x="1595770" y="1194657"/>
                  <a:pt x="1595040" y="1195645"/>
                </a:cubicBezTo>
                <a:cubicBezTo>
                  <a:pt x="1591916" y="1196115"/>
                  <a:pt x="1588791" y="1196585"/>
                  <a:pt x="1585667" y="1197055"/>
                </a:cubicBezTo>
                <a:cubicBezTo>
                  <a:pt x="1583871" y="1199826"/>
                  <a:pt x="1583871" y="1199826"/>
                  <a:pt x="1582543" y="1202691"/>
                </a:cubicBezTo>
                <a:cubicBezTo>
                  <a:pt x="1575997" y="1204710"/>
                  <a:pt x="1569266" y="1204360"/>
                  <a:pt x="1562431" y="1204365"/>
                </a:cubicBezTo>
                <a:cubicBezTo>
                  <a:pt x="1561196" y="1204382"/>
                  <a:pt x="1559962" y="1204399"/>
                  <a:pt x="1558690" y="1204417"/>
                </a:cubicBezTo>
                <a:cubicBezTo>
                  <a:pt x="1543339" y="1204452"/>
                  <a:pt x="1531981" y="1199267"/>
                  <a:pt x="1521102" y="1189585"/>
                </a:cubicBezTo>
                <a:cubicBezTo>
                  <a:pt x="1515403" y="1183953"/>
                  <a:pt x="1510116" y="1178123"/>
                  <a:pt x="1505022" y="1172041"/>
                </a:cubicBezTo>
                <a:cubicBezTo>
                  <a:pt x="1493200" y="1158177"/>
                  <a:pt x="1475492" y="1147115"/>
                  <a:pt x="1457573" y="1140686"/>
                </a:cubicBezTo>
                <a:cubicBezTo>
                  <a:pt x="1457573" y="1139755"/>
                  <a:pt x="1457573" y="1138826"/>
                  <a:pt x="1457573" y="1137867"/>
                </a:cubicBezTo>
                <a:cubicBezTo>
                  <a:pt x="1456059" y="1137693"/>
                  <a:pt x="1454544" y="1137518"/>
                  <a:pt x="1452985" y="1137339"/>
                </a:cubicBezTo>
                <a:cubicBezTo>
                  <a:pt x="1451406" y="1137048"/>
                  <a:pt x="1449827" y="1136758"/>
                  <a:pt x="1448200" y="1136458"/>
                </a:cubicBezTo>
                <a:cubicBezTo>
                  <a:pt x="1447685" y="1135528"/>
                  <a:pt x="1447169" y="1134598"/>
                  <a:pt x="1446638" y="1133640"/>
                </a:cubicBezTo>
                <a:cubicBezTo>
                  <a:pt x="1444091" y="1132586"/>
                  <a:pt x="1441535" y="1131550"/>
                  <a:pt x="1438937" y="1130601"/>
                </a:cubicBezTo>
                <a:cubicBezTo>
                  <a:pt x="1435668" y="1129399"/>
                  <a:pt x="1432469" y="1128095"/>
                  <a:pt x="1429260" y="1126770"/>
                </a:cubicBezTo>
                <a:cubicBezTo>
                  <a:pt x="1423389" y="1124389"/>
                  <a:pt x="1417431" y="1122349"/>
                  <a:pt x="1411393" y="1120340"/>
                </a:cubicBezTo>
                <a:cubicBezTo>
                  <a:pt x="1404143" y="1117867"/>
                  <a:pt x="1397842" y="1115090"/>
                  <a:pt x="1391427" y="1111191"/>
                </a:cubicBezTo>
                <a:cubicBezTo>
                  <a:pt x="1388139" y="1109274"/>
                  <a:pt x="1384723" y="1108010"/>
                  <a:pt x="1381029" y="1106865"/>
                </a:cubicBezTo>
                <a:cubicBezTo>
                  <a:pt x="1381029" y="1105934"/>
                  <a:pt x="1381029" y="1105004"/>
                  <a:pt x="1381029" y="1104046"/>
                </a:cubicBezTo>
                <a:cubicBezTo>
                  <a:pt x="1379773" y="1103901"/>
                  <a:pt x="1378516" y="1103755"/>
                  <a:pt x="1377221" y="1103605"/>
                </a:cubicBezTo>
                <a:cubicBezTo>
                  <a:pt x="1370425" y="1102422"/>
                  <a:pt x="1364120" y="1100465"/>
                  <a:pt x="1357597" y="1098409"/>
                </a:cubicBezTo>
                <a:cubicBezTo>
                  <a:pt x="1355761" y="1097857"/>
                  <a:pt x="1353924" y="1097304"/>
                  <a:pt x="1352032" y="1096736"/>
                </a:cubicBezTo>
                <a:cubicBezTo>
                  <a:pt x="1350776" y="1096358"/>
                  <a:pt x="1349519" y="1095980"/>
                  <a:pt x="1348225" y="1095590"/>
                </a:cubicBezTo>
                <a:cubicBezTo>
                  <a:pt x="1348225" y="1094661"/>
                  <a:pt x="1348225" y="1093730"/>
                  <a:pt x="1348225" y="1092772"/>
                </a:cubicBezTo>
                <a:cubicBezTo>
                  <a:pt x="1344616" y="1092307"/>
                  <a:pt x="1341007" y="1091842"/>
                  <a:pt x="1337290" y="1091363"/>
                </a:cubicBezTo>
                <a:cubicBezTo>
                  <a:pt x="1337290" y="1090433"/>
                  <a:pt x="1337290" y="1089503"/>
                  <a:pt x="1337290" y="1088544"/>
                </a:cubicBezTo>
                <a:cubicBezTo>
                  <a:pt x="1334438" y="1088327"/>
                  <a:pt x="1334438" y="1088327"/>
                  <a:pt x="1331529" y="1088104"/>
                </a:cubicBezTo>
                <a:lnTo>
                  <a:pt x="1323297" y="1086611"/>
                </a:lnTo>
                <a:lnTo>
                  <a:pt x="1323297" y="1087618"/>
                </a:lnTo>
                <a:cubicBezTo>
                  <a:pt x="1322139" y="1087517"/>
                  <a:pt x="1320982" y="1087415"/>
                  <a:pt x="1319789" y="1087310"/>
                </a:cubicBezTo>
                <a:cubicBezTo>
                  <a:pt x="1300429" y="1085771"/>
                  <a:pt x="1281330" y="1084680"/>
                  <a:pt x="1262375" y="1089028"/>
                </a:cubicBezTo>
                <a:lnTo>
                  <a:pt x="1258728" y="1088205"/>
                </a:lnTo>
                <a:lnTo>
                  <a:pt x="1246964" y="1091489"/>
                </a:lnTo>
                <a:cubicBezTo>
                  <a:pt x="1237239" y="1097222"/>
                  <a:pt x="1228703" y="1103434"/>
                  <a:pt x="1223224" y="1112865"/>
                </a:cubicBezTo>
                <a:cubicBezTo>
                  <a:pt x="1220867" y="1116643"/>
                  <a:pt x="1217262" y="1119317"/>
                  <a:pt x="1213883" y="1122366"/>
                </a:cubicBezTo>
                <a:cubicBezTo>
                  <a:pt x="1213428" y="1123469"/>
                  <a:pt x="1212973" y="1124572"/>
                  <a:pt x="1212505" y="1125708"/>
                </a:cubicBezTo>
                <a:cubicBezTo>
                  <a:pt x="1210449" y="1130067"/>
                  <a:pt x="1207984" y="1132315"/>
                  <a:pt x="1204180" y="1135561"/>
                </a:cubicBezTo>
                <a:cubicBezTo>
                  <a:pt x="1202879" y="1136695"/>
                  <a:pt x="1201578" y="1137829"/>
                  <a:pt x="1200238" y="1138999"/>
                </a:cubicBezTo>
                <a:cubicBezTo>
                  <a:pt x="1197504" y="1141343"/>
                  <a:pt x="1194765" y="1143684"/>
                  <a:pt x="1192025" y="1146022"/>
                </a:cubicBezTo>
                <a:cubicBezTo>
                  <a:pt x="1181899" y="1154869"/>
                  <a:pt x="1174983" y="1161763"/>
                  <a:pt x="1173945" y="1174749"/>
                </a:cubicBezTo>
                <a:cubicBezTo>
                  <a:pt x="1173902" y="1177369"/>
                  <a:pt x="1173905" y="1179990"/>
                  <a:pt x="1173950" y="1182610"/>
                </a:cubicBezTo>
                <a:cubicBezTo>
                  <a:pt x="1173963" y="1183981"/>
                  <a:pt x="1173975" y="1185352"/>
                  <a:pt x="1173989" y="1186765"/>
                </a:cubicBezTo>
                <a:cubicBezTo>
                  <a:pt x="1174321" y="1197573"/>
                  <a:pt x="1176809" y="1205883"/>
                  <a:pt x="1182640" y="1215374"/>
                </a:cubicBezTo>
                <a:cubicBezTo>
                  <a:pt x="1183703" y="1217509"/>
                  <a:pt x="1184746" y="1219652"/>
                  <a:pt x="1185764" y="1221804"/>
                </a:cubicBezTo>
                <a:cubicBezTo>
                  <a:pt x="1186271" y="1222812"/>
                  <a:pt x="1186779" y="1223821"/>
                  <a:pt x="1187301" y="1224859"/>
                </a:cubicBezTo>
                <a:cubicBezTo>
                  <a:pt x="1188431" y="1227137"/>
                  <a:pt x="1189517" y="1229433"/>
                  <a:pt x="1190573" y="1231740"/>
                </a:cubicBezTo>
                <a:cubicBezTo>
                  <a:pt x="1194650" y="1240409"/>
                  <a:pt x="1199581" y="1247688"/>
                  <a:pt x="1205925" y="1255163"/>
                </a:cubicBezTo>
                <a:cubicBezTo>
                  <a:pt x="1208103" y="1257757"/>
                  <a:pt x="1210188" y="1260417"/>
                  <a:pt x="1212174" y="1263134"/>
                </a:cubicBezTo>
                <a:cubicBezTo>
                  <a:pt x="1218757" y="1272043"/>
                  <a:pt x="1225157" y="1277324"/>
                  <a:pt x="1235556" y="1282538"/>
                </a:cubicBezTo>
                <a:cubicBezTo>
                  <a:pt x="1236652" y="1283161"/>
                  <a:pt x="1237747" y="1283784"/>
                  <a:pt x="1238876" y="1284426"/>
                </a:cubicBezTo>
                <a:cubicBezTo>
                  <a:pt x="1238876" y="1285356"/>
                  <a:pt x="1238876" y="1286287"/>
                  <a:pt x="1238876" y="1287245"/>
                </a:cubicBezTo>
                <a:cubicBezTo>
                  <a:pt x="1239988" y="1287383"/>
                  <a:pt x="1241099" y="1287521"/>
                  <a:pt x="1242245" y="1287663"/>
                </a:cubicBezTo>
                <a:cubicBezTo>
                  <a:pt x="1253043" y="1290072"/>
                  <a:pt x="1264916" y="1297690"/>
                  <a:pt x="1271681" y="1305565"/>
                </a:cubicBezTo>
                <a:lnTo>
                  <a:pt x="1271742" y="1306172"/>
                </a:lnTo>
                <a:lnTo>
                  <a:pt x="1278525" y="1315767"/>
                </a:lnTo>
                <a:cubicBezTo>
                  <a:pt x="1279797" y="1319398"/>
                  <a:pt x="1280365" y="1323346"/>
                  <a:pt x="1281097" y="1327286"/>
                </a:cubicBezTo>
                <a:cubicBezTo>
                  <a:pt x="1281916" y="1337121"/>
                  <a:pt x="1281807" y="1346176"/>
                  <a:pt x="1277973" y="1355470"/>
                </a:cubicBezTo>
                <a:lnTo>
                  <a:pt x="1277460" y="1347025"/>
                </a:lnTo>
                <a:lnTo>
                  <a:pt x="1273531" y="1357991"/>
                </a:lnTo>
                <a:cubicBezTo>
                  <a:pt x="1270940" y="1361892"/>
                  <a:pt x="1267521" y="1365435"/>
                  <a:pt x="1263870" y="1368980"/>
                </a:cubicBezTo>
                <a:cubicBezTo>
                  <a:pt x="1258351" y="1372929"/>
                  <a:pt x="1253850" y="1376026"/>
                  <a:pt x="1246686" y="1376026"/>
                </a:cubicBezTo>
                <a:cubicBezTo>
                  <a:pt x="1246686" y="1376956"/>
                  <a:pt x="1246686" y="1377886"/>
                  <a:pt x="1246686" y="1378844"/>
                </a:cubicBezTo>
                <a:cubicBezTo>
                  <a:pt x="1241676" y="1379009"/>
                  <a:pt x="1236665" y="1379109"/>
                  <a:pt x="1231651" y="1379196"/>
                </a:cubicBezTo>
                <a:cubicBezTo>
                  <a:pt x="1230240" y="1379244"/>
                  <a:pt x="1228828" y="1379291"/>
                  <a:pt x="1227373" y="1379340"/>
                </a:cubicBezTo>
                <a:cubicBezTo>
                  <a:pt x="1218287" y="1379460"/>
                  <a:pt x="1213363" y="1378568"/>
                  <a:pt x="1206071" y="1373207"/>
                </a:cubicBezTo>
                <a:cubicBezTo>
                  <a:pt x="1204751" y="1372742"/>
                  <a:pt x="1203430" y="1372277"/>
                  <a:pt x="1202069" y="1371798"/>
                </a:cubicBezTo>
                <a:cubicBezTo>
                  <a:pt x="1193777" y="1368730"/>
                  <a:pt x="1188124" y="1363294"/>
                  <a:pt x="1184104" y="1356176"/>
                </a:cubicBezTo>
                <a:cubicBezTo>
                  <a:pt x="1180965" y="1349259"/>
                  <a:pt x="1178852" y="1342590"/>
                  <a:pt x="1177270" y="1335247"/>
                </a:cubicBezTo>
                <a:cubicBezTo>
                  <a:pt x="1175525" y="1327352"/>
                  <a:pt x="1172911" y="1320677"/>
                  <a:pt x="1169002" y="1313464"/>
                </a:cubicBezTo>
                <a:cubicBezTo>
                  <a:pt x="1166989" y="1309737"/>
                  <a:pt x="1165215" y="1305976"/>
                  <a:pt x="1163504" y="1302130"/>
                </a:cubicBezTo>
                <a:cubicBezTo>
                  <a:pt x="1163013" y="1301027"/>
                  <a:pt x="1162521" y="1299924"/>
                  <a:pt x="1162015" y="1298788"/>
                </a:cubicBezTo>
                <a:cubicBezTo>
                  <a:pt x="1160770" y="1295700"/>
                  <a:pt x="1160770" y="1295700"/>
                  <a:pt x="1160111" y="1292656"/>
                </a:cubicBezTo>
                <a:cubicBezTo>
                  <a:pt x="1159345" y="1289507"/>
                  <a:pt x="1159345" y="1289507"/>
                  <a:pt x="1154522" y="1287245"/>
                </a:cubicBezTo>
                <a:cubicBezTo>
                  <a:pt x="1153465" y="1284902"/>
                  <a:pt x="1152426" y="1282552"/>
                  <a:pt x="1151398" y="1280199"/>
                </a:cubicBezTo>
                <a:cubicBezTo>
                  <a:pt x="1149056" y="1276983"/>
                  <a:pt x="1146686" y="1273874"/>
                  <a:pt x="1144173" y="1270774"/>
                </a:cubicBezTo>
                <a:cubicBezTo>
                  <a:pt x="1143477" y="1269912"/>
                  <a:pt x="1142782" y="1269049"/>
                  <a:pt x="1142065" y="1268160"/>
                </a:cubicBezTo>
                <a:cubicBezTo>
                  <a:pt x="1139981" y="1265589"/>
                  <a:pt x="1137880" y="1263029"/>
                  <a:pt x="1135776" y="1260470"/>
                </a:cubicBezTo>
                <a:cubicBezTo>
                  <a:pt x="1134647" y="1259076"/>
                  <a:pt x="1133517" y="1257683"/>
                  <a:pt x="1132353" y="1256247"/>
                </a:cubicBezTo>
                <a:cubicBezTo>
                  <a:pt x="1126291" y="1249045"/>
                  <a:pt x="1121408" y="1244606"/>
                  <a:pt x="1112344" y="1240741"/>
                </a:cubicBezTo>
                <a:cubicBezTo>
                  <a:pt x="1110285" y="1239698"/>
                  <a:pt x="1108234" y="1238642"/>
                  <a:pt x="1106193" y="1237570"/>
                </a:cubicBezTo>
                <a:cubicBezTo>
                  <a:pt x="1104615" y="1236756"/>
                  <a:pt x="1103036" y="1235942"/>
                  <a:pt x="1101409" y="1235104"/>
                </a:cubicBezTo>
                <a:cubicBezTo>
                  <a:pt x="1101409" y="1233708"/>
                  <a:pt x="1101409" y="1232313"/>
                  <a:pt x="1101409" y="1230876"/>
                </a:cubicBezTo>
                <a:cubicBezTo>
                  <a:pt x="1089553" y="1230876"/>
                  <a:pt x="1077697" y="1230876"/>
                  <a:pt x="1065480" y="1230876"/>
                </a:cubicBezTo>
                <a:cubicBezTo>
                  <a:pt x="1064965" y="1232271"/>
                  <a:pt x="1064450" y="1233666"/>
                  <a:pt x="1063919" y="1235104"/>
                </a:cubicBezTo>
                <a:cubicBezTo>
                  <a:pt x="1062372" y="1235104"/>
                  <a:pt x="1060826" y="1235104"/>
                  <a:pt x="1059232" y="1235104"/>
                </a:cubicBezTo>
                <a:cubicBezTo>
                  <a:pt x="1059232" y="1236033"/>
                  <a:pt x="1059232" y="1236964"/>
                  <a:pt x="1059232" y="1237922"/>
                </a:cubicBezTo>
                <a:cubicBezTo>
                  <a:pt x="1052964" y="1240850"/>
                  <a:pt x="1046842" y="1243613"/>
                  <a:pt x="1040194" y="1245761"/>
                </a:cubicBezTo>
                <a:cubicBezTo>
                  <a:pt x="1036552" y="1246941"/>
                  <a:pt x="1033682" y="1248088"/>
                  <a:pt x="1030333" y="1249901"/>
                </a:cubicBezTo>
                <a:cubicBezTo>
                  <a:pt x="1025129" y="1252717"/>
                  <a:pt x="1019615" y="1254371"/>
                  <a:pt x="1013931" y="1256242"/>
                </a:cubicBezTo>
                <a:cubicBezTo>
                  <a:pt x="1009870" y="1257688"/>
                  <a:pt x="1008221" y="1258277"/>
                  <a:pt x="1005925" y="1261615"/>
                </a:cubicBezTo>
                <a:cubicBezTo>
                  <a:pt x="1005474" y="1262632"/>
                  <a:pt x="1005023" y="1263649"/>
                  <a:pt x="1004558" y="1264697"/>
                </a:cubicBezTo>
                <a:cubicBezTo>
                  <a:pt x="1004030" y="1265774"/>
                  <a:pt x="1003503" y="1266852"/>
                  <a:pt x="1002959" y="1267961"/>
                </a:cubicBezTo>
                <a:cubicBezTo>
                  <a:pt x="1001408" y="1271808"/>
                  <a:pt x="1000922" y="1274896"/>
                  <a:pt x="1000653" y="1278965"/>
                </a:cubicBezTo>
                <a:cubicBezTo>
                  <a:pt x="1000303" y="1284158"/>
                  <a:pt x="999467" y="1289055"/>
                  <a:pt x="998297" y="1294137"/>
                </a:cubicBezTo>
                <a:cubicBezTo>
                  <a:pt x="996204" y="1304306"/>
                  <a:pt x="996129" y="1314460"/>
                  <a:pt x="996162" y="1324765"/>
                </a:cubicBezTo>
                <a:cubicBezTo>
                  <a:pt x="996163" y="1325782"/>
                  <a:pt x="996163" y="1326799"/>
                  <a:pt x="996164" y="1327846"/>
                </a:cubicBezTo>
                <a:cubicBezTo>
                  <a:pt x="996263" y="1353742"/>
                  <a:pt x="1001081" y="1378188"/>
                  <a:pt x="1007780" y="1403329"/>
                </a:cubicBezTo>
                <a:cubicBezTo>
                  <a:pt x="1008163" y="1404772"/>
                  <a:pt x="1008546" y="1406215"/>
                  <a:pt x="1008940" y="1407701"/>
                </a:cubicBezTo>
                <a:cubicBezTo>
                  <a:pt x="1009316" y="1409030"/>
                  <a:pt x="1009693" y="1410360"/>
                  <a:pt x="1010080" y="1411730"/>
                </a:cubicBezTo>
                <a:cubicBezTo>
                  <a:pt x="1010409" y="1412900"/>
                  <a:pt x="1010737" y="1414071"/>
                  <a:pt x="1011075" y="1415277"/>
                </a:cubicBezTo>
                <a:cubicBezTo>
                  <a:pt x="1012501" y="1418612"/>
                  <a:pt x="1014136" y="1420168"/>
                  <a:pt x="1017055" y="1422530"/>
                </a:cubicBezTo>
                <a:cubicBezTo>
                  <a:pt x="1018770" y="1425162"/>
                  <a:pt x="1018770" y="1425162"/>
                  <a:pt x="1020277" y="1427991"/>
                </a:cubicBezTo>
                <a:cubicBezTo>
                  <a:pt x="1020778" y="1428917"/>
                  <a:pt x="1021280" y="1429844"/>
                  <a:pt x="1021796" y="1430798"/>
                </a:cubicBezTo>
                <a:cubicBezTo>
                  <a:pt x="1023303" y="1433804"/>
                  <a:pt x="1023303" y="1433804"/>
                  <a:pt x="1024579" y="1437239"/>
                </a:cubicBezTo>
                <a:cubicBezTo>
                  <a:pt x="1026915" y="1441803"/>
                  <a:pt x="1030098" y="1444534"/>
                  <a:pt x="1034043" y="1448072"/>
                </a:cubicBezTo>
                <a:lnTo>
                  <a:pt x="1043782" y="1464320"/>
                </a:lnTo>
                <a:lnTo>
                  <a:pt x="1050458" y="1472189"/>
                </a:lnTo>
                <a:cubicBezTo>
                  <a:pt x="1051737" y="1475181"/>
                  <a:pt x="1052277" y="1478513"/>
                  <a:pt x="1052926" y="1482370"/>
                </a:cubicBezTo>
                <a:cubicBezTo>
                  <a:pt x="1053325" y="1487224"/>
                  <a:pt x="1053364" y="1492038"/>
                  <a:pt x="1053316" y="1496903"/>
                </a:cubicBezTo>
                <a:cubicBezTo>
                  <a:pt x="1053328" y="1498142"/>
                  <a:pt x="1053340" y="1499382"/>
                  <a:pt x="1053352" y="1500660"/>
                </a:cubicBezTo>
                <a:cubicBezTo>
                  <a:pt x="1053348" y="1501856"/>
                  <a:pt x="1053344" y="1503052"/>
                  <a:pt x="1053341" y="1504285"/>
                </a:cubicBezTo>
                <a:cubicBezTo>
                  <a:pt x="1053336" y="1505355"/>
                  <a:pt x="1053333" y="1506426"/>
                  <a:pt x="1053329" y="1507529"/>
                </a:cubicBezTo>
                <a:cubicBezTo>
                  <a:pt x="1052876" y="1510927"/>
                  <a:pt x="1051672" y="1513237"/>
                  <a:pt x="1049801" y="1516192"/>
                </a:cubicBezTo>
                <a:lnTo>
                  <a:pt x="1047312" y="1516192"/>
                </a:lnTo>
                <a:lnTo>
                  <a:pt x="1043611" y="1522585"/>
                </a:lnTo>
                <a:cubicBezTo>
                  <a:pt x="1035301" y="1529631"/>
                  <a:pt x="1035301" y="1529631"/>
                  <a:pt x="1029552" y="1529631"/>
                </a:cubicBezTo>
                <a:cubicBezTo>
                  <a:pt x="1029294" y="1530503"/>
                  <a:pt x="1029036" y="1531375"/>
                  <a:pt x="1028771" y="1532273"/>
                </a:cubicBezTo>
                <a:cubicBezTo>
                  <a:pt x="1025795" y="1536076"/>
                  <a:pt x="1022970" y="1536733"/>
                  <a:pt x="1018013" y="1537640"/>
                </a:cubicBezTo>
                <a:cubicBezTo>
                  <a:pt x="1005216" y="1539038"/>
                  <a:pt x="992573" y="1539816"/>
                  <a:pt x="981126" y="1533859"/>
                </a:cubicBezTo>
                <a:cubicBezTo>
                  <a:pt x="979840" y="1533226"/>
                  <a:pt x="978553" y="1532594"/>
                  <a:pt x="977227" y="1531943"/>
                </a:cubicBezTo>
                <a:cubicBezTo>
                  <a:pt x="965286" y="1525877"/>
                  <a:pt x="959626" y="1520520"/>
                  <a:pt x="955376" y="1508751"/>
                </a:cubicBezTo>
                <a:cubicBezTo>
                  <a:pt x="954571" y="1505674"/>
                  <a:pt x="954571" y="1505674"/>
                  <a:pt x="954571" y="1500037"/>
                </a:cubicBezTo>
                <a:cubicBezTo>
                  <a:pt x="953539" y="1500037"/>
                  <a:pt x="952508" y="1500037"/>
                  <a:pt x="951446" y="1500037"/>
                </a:cubicBezTo>
                <a:cubicBezTo>
                  <a:pt x="951361" y="1495986"/>
                  <a:pt x="951299" y="1491935"/>
                  <a:pt x="951251" y="1487883"/>
                </a:cubicBezTo>
                <a:cubicBezTo>
                  <a:pt x="951224" y="1486744"/>
                  <a:pt x="951198" y="1485605"/>
                  <a:pt x="951171" y="1484431"/>
                </a:cubicBezTo>
                <a:cubicBezTo>
                  <a:pt x="951110" y="1477657"/>
                  <a:pt x="952093" y="1472660"/>
                  <a:pt x="954571" y="1466216"/>
                </a:cubicBezTo>
                <a:cubicBezTo>
                  <a:pt x="954867" y="1462451"/>
                  <a:pt x="955016" y="1458876"/>
                  <a:pt x="954961" y="1455118"/>
                </a:cubicBezTo>
                <a:cubicBezTo>
                  <a:pt x="954951" y="1454080"/>
                  <a:pt x="954942" y="1453042"/>
                  <a:pt x="954932" y="1451972"/>
                </a:cubicBezTo>
                <a:cubicBezTo>
                  <a:pt x="954606" y="1435235"/>
                  <a:pt x="952568" y="1419050"/>
                  <a:pt x="945099" y="1403594"/>
                </a:cubicBezTo>
                <a:cubicBezTo>
                  <a:pt x="943714" y="1400177"/>
                  <a:pt x="943046" y="1397128"/>
                  <a:pt x="942366" y="1393553"/>
                </a:cubicBezTo>
                <a:cubicBezTo>
                  <a:pt x="940837" y="1386134"/>
                  <a:pt x="937840" y="1379609"/>
                  <a:pt x="934451" y="1372734"/>
                </a:cubicBezTo>
                <a:cubicBezTo>
                  <a:pt x="932701" y="1368980"/>
                  <a:pt x="932701" y="1368980"/>
                  <a:pt x="931974" y="1365754"/>
                </a:cubicBezTo>
                <a:cubicBezTo>
                  <a:pt x="931699" y="1364958"/>
                  <a:pt x="931422" y="1364162"/>
                  <a:pt x="931138" y="1363343"/>
                </a:cubicBezTo>
                <a:cubicBezTo>
                  <a:pt x="929592" y="1362878"/>
                  <a:pt x="928045" y="1362413"/>
                  <a:pt x="926452" y="1361933"/>
                </a:cubicBezTo>
                <a:cubicBezTo>
                  <a:pt x="921830" y="1355261"/>
                  <a:pt x="920323" y="1348382"/>
                  <a:pt x="918641" y="1340795"/>
                </a:cubicBezTo>
                <a:cubicBezTo>
                  <a:pt x="918133" y="1338914"/>
                  <a:pt x="917616" y="1337034"/>
                  <a:pt x="917079" y="1335158"/>
                </a:cubicBezTo>
                <a:cubicBezTo>
                  <a:pt x="916048" y="1335158"/>
                  <a:pt x="915018" y="1335158"/>
                  <a:pt x="913955" y="1335158"/>
                </a:cubicBezTo>
                <a:cubicBezTo>
                  <a:pt x="913329" y="1333718"/>
                  <a:pt x="912703" y="1332277"/>
                  <a:pt x="912057" y="1330793"/>
                </a:cubicBezTo>
                <a:cubicBezTo>
                  <a:pt x="909497" y="1325424"/>
                  <a:pt x="906114" y="1320822"/>
                  <a:pt x="902142" y="1316222"/>
                </a:cubicBezTo>
                <a:cubicBezTo>
                  <a:pt x="901465" y="1315432"/>
                  <a:pt x="900788" y="1314642"/>
                  <a:pt x="900091" y="1313828"/>
                </a:cubicBezTo>
                <a:cubicBezTo>
                  <a:pt x="893705" y="1306618"/>
                  <a:pt x="886350" y="1301049"/>
                  <a:pt x="878026" y="1295700"/>
                </a:cubicBezTo>
                <a:cubicBezTo>
                  <a:pt x="876595" y="1294594"/>
                  <a:pt x="876595" y="1294594"/>
                  <a:pt x="875134" y="1293465"/>
                </a:cubicBezTo>
                <a:lnTo>
                  <a:pt x="869869" y="1291826"/>
                </a:lnTo>
                <a:lnTo>
                  <a:pt x="862384" y="1291327"/>
                </a:lnTo>
                <a:cubicBezTo>
                  <a:pt x="856441" y="1290067"/>
                  <a:pt x="850461" y="1290346"/>
                  <a:pt x="844390" y="1290461"/>
                </a:cubicBezTo>
                <a:cubicBezTo>
                  <a:pt x="842453" y="1290480"/>
                  <a:pt x="842453" y="1290480"/>
                  <a:pt x="840476" y="1290500"/>
                </a:cubicBezTo>
                <a:cubicBezTo>
                  <a:pt x="837322" y="1290532"/>
                  <a:pt x="834169" y="1290583"/>
                  <a:pt x="831015" y="1290637"/>
                </a:cubicBezTo>
                <a:cubicBezTo>
                  <a:pt x="831015" y="1291568"/>
                  <a:pt x="831015" y="1292498"/>
                  <a:pt x="831015" y="1293456"/>
                </a:cubicBezTo>
                <a:cubicBezTo>
                  <a:pt x="826519" y="1294808"/>
                  <a:pt x="822922" y="1295235"/>
                  <a:pt x="818225" y="1295570"/>
                </a:cubicBezTo>
                <a:lnTo>
                  <a:pt x="796774" y="1297671"/>
                </a:lnTo>
                <a:lnTo>
                  <a:pt x="783646" y="1305736"/>
                </a:lnTo>
                <a:cubicBezTo>
                  <a:pt x="776915" y="1312506"/>
                  <a:pt x="772692" y="1318638"/>
                  <a:pt x="769263" y="1327143"/>
                </a:cubicBezTo>
                <a:cubicBezTo>
                  <a:pt x="767116" y="1332340"/>
                  <a:pt x="767116" y="1332340"/>
                  <a:pt x="764797" y="1334360"/>
                </a:cubicBezTo>
                <a:lnTo>
                  <a:pt x="757875" y="1353503"/>
                </a:lnTo>
                <a:lnTo>
                  <a:pt x="755676" y="1367455"/>
                </a:lnTo>
                <a:lnTo>
                  <a:pt x="750558" y="1399690"/>
                </a:lnTo>
                <a:lnTo>
                  <a:pt x="753057" y="1411256"/>
                </a:lnTo>
                <a:cubicBezTo>
                  <a:pt x="753057" y="1413117"/>
                  <a:pt x="753057" y="1414976"/>
                  <a:pt x="753057" y="1416893"/>
                </a:cubicBezTo>
                <a:cubicBezTo>
                  <a:pt x="754087" y="1416893"/>
                  <a:pt x="755119" y="1416893"/>
                  <a:pt x="756181" y="1416893"/>
                </a:cubicBezTo>
                <a:cubicBezTo>
                  <a:pt x="759348" y="1422607"/>
                  <a:pt x="758101" y="1429902"/>
                  <a:pt x="758133" y="1436182"/>
                </a:cubicBezTo>
                <a:cubicBezTo>
                  <a:pt x="758182" y="1438458"/>
                  <a:pt x="758182" y="1438458"/>
                  <a:pt x="758231" y="1440781"/>
                </a:cubicBezTo>
                <a:cubicBezTo>
                  <a:pt x="758283" y="1450271"/>
                  <a:pt x="758174" y="1458360"/>
                  <a:pt x="750713" y="1465704"/>
                </a:cubicBezTo>
                <a:cubicBezTo>
                  <a:pt x="749940" y="1466193"/>
                  <a:pt x="749167" y="1466681"/>
                  <a:pt x="748370" y="1467185"/>
                </a:cubicBezTo>
                <a:cubicBezTo>
                  <a:pt x="743665" y="1470047"/>
                  <a:pt x="743665" y="1470047"/>
                  <a:pt x="741633" y="1473526"/>
                </a:cubicBezTo>
                <a:cubicBezTo>
                  <a:pt x="737793" y="1477248"/>
                  <a:pt x="733582" y="1477483"/>
                  <a:pt x="728154" y="1478343"/>
                </a:cubicBezTo>
                <a:cubicBezTo>
                  <a:pt x="724855" y="1478778"/>
                  <a:pt x="724855" y="1478778"/>
                  <a:pt x="721814" y="1480308"/>
                </a:cubicBezTo>
                <a:cubicBezTo>
                  <a:pt x="717303" y="1480523"/>
                  <a:pt x="712854" y="1480634"/>
                  <a:pt x="708341" y="1480661"/>
                </a:cubicBezTo>
                <a:cubicBezTo>
                  <a:pt x="707118" y="1480690"/>
                  <a:pt x="705896" y="1480719"/>
                  <a:pt x="704637" y="1480748"/>
                </a:cubicBezTo>
                <a:cubicBezTo>
                  <a:pt x="690446" y="1480834"/>
                  <a:pt x="679632" y="1476246"/>
                  <a:pt x="668507" y="1468418"/>
                </a:cubicBezTo>
                <a:cubicBezTo>
                  <a:pt x="662823" y="1463224"/>
                  <a:pt x="661745" y="1456995"/>
                  <a:pt x="660178" y="1450027"/>
                </a:cubicBezTo>
                <a:cubicBezTo>
                  <a:pt x="659725" y="1446589"/>
                  <a:pt x="659725" y="1446589"/>
                  <a:pt x="657767" y="1445078"/>
                </a:cubicBezTo>
                <a:cubicBezTo>
                  <a:pt x="656859" y="1433686"/>
                  <a:pt x="655965" y="1419178"/>
                  <a:pt x="663369" y="1409390"/>
                </a:cubicBezTo>
                <a:cubicBezTo>
                  <a:pt x="666078" y="1406601"/>
                  <a:pt x="668921" y="1404013"/>
                  <a:pt x="671826" y="1401392"/>
                </a:cubicBezTo>
                <a:cubicBezTo>
                  <a:pt x="675197" y="1397623"/>
                  <a:pt x="677125" y="1394916"/>
                  <a:pt x="678075" y="1390118"/>
                </a:cubicBezTo>
                <a:cubicBezTo>
                  <a:pt x="680137" y="1389653"/>
                  <a:pt x="682199" y="1389188"/>
                  <a:pt x="684323" y="1388709"/>
                </a:cubicBezTo>
                <a:cubicBezTo>
                  <a:pt x="684643" y="1387232"/>
                  <a:pt x="684964" y="1385755"/>
                  <a:pt x="685293" y="1384233"/>
                </a:cubicBezTo>
                <a:cubicBezTo>
                  <a:pt x="685718" y="1382290"/>
                  <a:pt x="686144" y="1380347"/>
                  <a:pt x="686569" y="1378404"/>
                </a:cubicBezTo>
                <a:cubicBezTo>
                  <a:pt x="686885" y="1376945"/>
                  <a:pt x="686885" y="1376945"/>
                  <a:pt x="687207" y="1375456"/>
                </a:cubicBezTo>
                <a:cubicBezTo>
                  <a:pt x="688115" y="1371315"/>
                  <a:pt x="689090" y="1367353"/>
                  <a:pt x="690572" y="1363343"/>
                </a:cubicBezTo>
                <a:cubicBezTo>
                  <a:pt x="692411" y="1350128"/>
                  <a:pt x="692374" y="1336672"/>
                  <a:pt x="692495" y="1323376"/>
                </a:cubicBezTo>
                <a:cubicBezTo>
                  <a:pt x="692524" y="1320586"/>
                  <a:pt x="692574" y="1317796"/>
                  <a:pt x="692625" y="1315006"/>
                </a:cubicBezTo>
                <a:cubicBezTo>
                  <a:pt x="692853" y="1300589"/>
                  <a:pt x="692853" y="1300589"/>
                  <a:pt x="687447" y="1287245"/>
                </a:cubicBezTo>
                <a:cubicBezTo>
                  <a:pt x="685901" y="1286780"/>
                  <a:pt x="684354" y="1286315"/>
                  <a:pt x="682761" y="1285835"/>
                </a:cubicBezTo>
                <a:cubicBezTo>
                  <a:pt x="680876" y="1283743"/>
                  <a:pt x="680876" y="1283743"/>
                  <a:pt x="678954" y="1281608"/>
                </a:cubicBezTo>
                <a:cubicBezTo>
                  <a:pt x="674854" y="1277278"/>
                  <a:pt x="674356" y="1276958"/>
                  <a:pt x="668702" y="1275971"/>
                </a:cubicBezTo>
                <a:cubicBezTo>
                  <a:pt x="666619" y="1274092"/>
                  <a:pt x="664536" y="1272213"/>
                  <a:pt x="662454" y="1270334"/>
                </a:cubicBezTo>
                <a:cubicBezTo>
                  <a:pt x="658341" y="1268566"/>
                  <a:pt x="658341" y="1268566"/>
                  <a:pt x="654643" y="1267516"/>
                </a:cubicBezTo>
                <a:cubicBezTo>
                  <a:pt x="654643" y="1266585"/>
                  <a:pt x="654643" y="1265656"/>
                  <a:pt x="654643" y="1264697"/>
                </a:cubicBezTo>
                <a:cubicBezTo>
                  <a:pt x="653161" y="1264581"/>
                  <a:pt x="651679" y="1264465"/>
                  <a:pt x="650152" y="1264345"/>
                </a:cubicBezTo>
                <a:cubicBezTo>
                  <a:pt x="642318" y="1263373"/>
                  <a:pt x="635297" y="1260465"/>
                  <a:pt x="628087" y="1257651"/>
                </a:cubicBezTo>
                <a:cubicBezTo>
                  <a:pt x="628087" y="1256721"/>
                  <a:pt x="628087" y="1255791"/>
                  <a:pt x="628087" y="1254833"/>
                </a:cubicBezTo>
                <a:cubicBezTo>
                  <a:pt x="627108" y="1254662"/>
                  <a:pt x="626129" y="1254491"/>
                  <a:pt x="625121" y="1254315"/>
                </a:cubicBezTo>
                <a:cubicBezTo>
                  <a:pt x="623845" y="1254079"/>
                  <a:pt x="622568" y="1253843"/>
                  <a:pt x="621252" y="1253600"/>
                </a:cubicBezTo>
                <a:cubicBezTo>
                  <a:pt x="619984" y="1253371"/>
                  <a:pt x="618716" y="1253142"/>
                  <a:pt x="617409" y="1252906"/>
                </a:cubicBezTo>
                <a:cubicBezTo>
                  <a:pt x="614027" y="1252014"/>
                  <a:pt x="614027" y="1252014"/>
                  <a:pt x="610904" y="1249196"/>
                </a:cubicBezTo>
                <a:cubicBezTo>
                  <a:pt x="592259" y="1248653"/>
                  <a:pt x="578635" y="1260869"/>
                  <a:pt x="565739" y="1271742"/>
                </a:cubicBezTo>
                <a:cubicBezTo>
                  <a:pt x="558808" y="1277725"/>
                  <a:pt x="552763" y="1283983"/>
                  <a:pt x="546924" y="1290829"/>
                </a:cubicBezTo>
                <a:cubicBezTo>
                  <a:pt x="545838" y="1292087"/>
                  <a:pt x="544753" y="1293346"/>
                  <a:pt x="543635" y="1294643"/>
                </a:cubicBezTo>
                <a:cubicBezTo>
                  <a:pt x="542650" y="1295813"/>
                  <a:pt x="541666" y="1296983"/>
                  <a:pt x="540651" y="1298188"/>
                </a:cubicBezTo>
                <a:cubicBezTo>
                  <a:pt x="537294" y="1301526"/>
                  <a:pt x="533978" y="1303337"/>
                  <a:pt x="529673" y="1305565"/>
                </a:cubicBezTo>
                <a:cubicBezTo>
                  <a:pt x="527599" y="1308478"/>
                  <a:pt x="527599" y="1308478"/>
                  <a:pt x="526549" y="1311202"/>
                </a:cubicBezTo>
                <a:cubicBezTo>
                  <a:pt x="525518" y="1311202"/>
                  <a:pt x="524487" y="1311202"/>
                  <a:pt x="523425" y="1311202"/>
                </a:cubicBezTo>
                <a:cubicBezTo>
                  <a:pt x="523360" y="1311986"/>
                  <a:pt x="523296" y="1312771"/>
                  <a:pt x="523230" y="1313580"/>
                </a:cubicBezTo>
                <a:cubicBezTo>
                  <a:pt x="521863" y="1316839"/>
                  <a:pt x="521863" y="1316839"/>
                  <a:pt x="517732" y="1319739"/>
                </a:cubicBezTo>
                <a:cubicBezTo>
                  <a:pt x="511111" y="1324565"/>
                  <a:pt x="506875" y="1330731"/>
                  <a:pt x="502239" y="1337096"/>
                </a:cubicBezTo>
                <a:cubicBezTo>
                  <a:pt x="500512" y="1339427"/>
                  <a:pt x="498785" y="1341757"/>
                  <a:pt x="497058" y="1344087"/>
                </a:cubicBezTo>
                <a:cubicBezTo>
                  <a:pt x="495827" y="1345760"/>
                  <a:pt x="495827" y="1345760"/>
                  <a:pt x="494572" y="1347465"/>
                </a:cubicBezTo>
                <a:cubicBezTo>
                  <a:pt x="492366" y="1350414"/>
                  <a:pt x="490094" y="1353304"/>
                  <a:pt x="487776" y="1356181"/>
                </a:cubicBezTo>
                <a:cubicBezTo>
                  <a:pt x="484805" y="1359972"/>
                  <a:pt x="482865" y="1363193"/>
                  <a:pt x="481248" y="1367571"/>
                </a:cubicBezTo>
                <a:cubicBezTo>
                  <a:pt x="480216" y="1367571"/>
                  <a:pt x="479186" y="1367571"/>
                  <a:pt x="478123" y="1367571"/>
                </a:cubicBezTo>
                <a:cubicBezTo>
                  <a:pt x="477963" y="1368558"/>
                  <a:pt x="477801" y="1369547"/>
                  <a:pt x="477635" y="1370565"/>
                </a:cubicBezTo>
                <a:cubicBezTo>
                  <a:pt x="475602" y="1378236"/>
                  <a:pt x="471952" y="1383371"/>
                  <a:pt x="465626" y="1388709"/>
                </a:cubicBezTo>
                <a:cubicBezTo>
                  <a:pt x="462272" y="1392748"/>
                  <a:pt x="462272" y="1392748"/>
                  <a:pt x="461233" y="1397340"/>
                </a:cubicBezTo>
                <a:cubicBezTo>
                  <a:pt x="460030" y="1401461"/>
                  <a:pt x="458298" y="1404501"/>
                  <a:pt x="455765" y="1408086"/>
                </a:cubicBezTo>
                <a:cubicBezTo>
                  <a:pt x="442829" y="1428603"/>
                  <a:pt x="441572" y="1454548"/>
                  <a:pt x="439070" y="1477490"/>
                </a:cubicBezTo>
                <a:cubicBezTo>
                  <a:pt x="437524" y="1477955"/>
                  <a:pt x="435977" y="1478420"/>
                  <a:pt x="434384" y="1478899"/>
                </a:cubicBezTo>
                <a:cubicBezTo>
                  <a:pt x="433739" y="1479916"/>
                  <a:pt x="433095" y="1480933"/>
                  <a:pt x="432431" y="1481982"/>
                </a:cubicBezTo>
                <a:cubicBezTo>
                  <a:pt x="428860" y="1487159"/>
                  <a:pt x="424291" y="1490903"/>
                  <a:pt x="418763" y="1494401"/>
                </a:cubicBezTo>
                <a:cubicBezTo>
                  <a:pt x="417731" y="1494401"/>
                  <a:pt x="416701" y="1494401"/>
                  <a:pt x="415639" y="1494401"/>
                </a:cubicBezTo>
                <a:cubicBezTo>
                  <a:pt x="415639" y="1495330"/>
                  <a:pt x="415639" y="1496260"/>
                  <a:pt x="415639" y="1497219"/>
                </a:cubicBezTo>
                <a:cubicBezTo>
                  <a:pt x="412546" y="1497684"/>
                  <a:pt x="409453" y="1498149"/>
                  <a:pt x="406265" y="1498628"/>
                </a:cubicBezTo>
                <a:cubicBezTo>
                  <a:pt x="406265" y="1499559"/>
                  <a:pt x="406265" y="1500488"/>
                  <a:pt x="406265" y="1501447"/>
                </a:cubicBezTo>
                <a:cubicBezTo>
                  <a:pt x="395955" y="1501447"/>
                  <a:pt x="385645" y="1501447"/>
                  <a:pt x="375023" y="1501447"/>
                </a:cubicBezTo>
                <a:lnTo>
                  <a:pt x="375023" y="1499438"/>
                </a:lnTo>
                <a:lnTo>
                  <a:pt x="374964" y="1499436"/>
                </a:lnTo>
                <a:lnTo>
                  <a:pt x="373179" y="1498628"/>
                </a:lnTo>
                <a:lnTo>
                  <a:pt x="365650" y="1498628"/>
                </a:lnTo>
                <a:lnTo>
                  <a:pt x="363134" y="1494087"/>
                </a:lnTo>
                <a:lnTo>
                  <a:pt x="362171" y="1493651"/>
                </a:lnTo>
                <a:cubicBezTo>
                  <a:pt x="361656" y="1492722"/>
                  <a:pt x="361140" y="1491791"/>
                  <a:pt x="360609" y="1490833"/>
                </a:cubicBezTo>
                <a:cubicBezTo>
                  <a:pt x="361640" y="1490833"/>
                  <a:pt x="362671" y="1490833"/>
                  <a:pt x="363733" y="1490833"/>
                </a:cubicBezTo>
                <a:lnTo>
                  <a:pt x="363733" y="1489980"/>
                </a:lnTo>
                <a:lnTo>
                  <a:pt x="348467" y="1481717"/>
                </a:lnTo>
                <a:lnTo>
                  <a:pt x="343872" y="1461078"/>
                </a:lnTo>
                <a:lnTo>
                  <a:pt x="343656" y="1463649"/>
                </a:lnTo>
                <a:cubicBezTo>
                  <a:pt x="343541" y="1465230"/>
                  <a:pt x="343541" y="1465230"/>
                  <a:pt x="343424" y="1466842"/>
                </a:cubicBezTo>
                <a:cubicBezTo>
                  <a:pt x="342908" y="1466842"/>
                  <a:pt x="342393" y="1466842"/>
                  <a:pt x="341861" y="1466842"/>
                </a:cubicBezTo>
                <a:cubicBezTo>
                  <a:pt x="340987" y="1449564"/>
                  <a:pt x="340999" y="1434331"/>
                  <a:pt x="354143" y="1420549"/>
                </a:cubicBezTo>
                <a:cubicBezTo>
                  <a:pt x="360765" y="1414011"/>
                  <a:pt x="367631" y="1407790"/>
                  <a:pt x="376229" y="1403427"/>
                </a:cubicBezTo>
                <a:lnTo>
                  <a:pt x="379491" y="1404408"/>
                </a:lnTo>
                <a:lnTo>
                  <a:pt x="379710" y="1404210"/>
                </a:lnTo>
                <a:cubicBezTo>
                  <a:pt x="380290" y="1402902"/>
                  <a:pt x="380290" y="1402902"/>
                  <a:pt x="380882" y="1401568"/>
                </a:cubicBezTo>
                <a:cubicBezTo>
                  <a:pt x="383675" y="1397284"/>
                  <a:pt x="387587" y="1395610"/>
                  <a:pt x="392207" y="1392936"/>
                </a:cubicBezTo>
                <a:lnTo>
                  <a:pt x="399542" y="1386774"/>
                </a:lnTo>
                <a:lnTo>
                  <a:pt x="405485" y="1378917"/>
                </a:lnTo>
                <a:cubicBezTo>
                  <a:pt x="408065" y="1375974"/>
                  <a:pt x="410029" y="1372774"/>
                  <a:pt x="412008" y="1369481"/>
                </a:cubicBezTo>
                <a:cubicBezTo>
                  <a:pt x="414759" y="1365166"/>
                  <a:pt x="417963" y="1361131"/>
                  <a:pt x="421130" y="1357057"/>
                </a:cubicBezTo>
                <a:cubicBezTo>
                  <a:pt x="423073" y="1354140"/>
                  <a:pt x="423985" y="1351767"/>
                  <a:pt x="424676" y="1348443"/>
                </a:cubicBezTo>
                <a:lnTo>
                  <a:pt x="427275" y="1348443"/>
                </a:lnTo>
                <a:lnTo>
                  <a:pt x="428135" y="1345727"/>
                </a:lnTo>
                <a:cubicBezTo>
                  <a:pt x="429370" y="1341828"/>
                  <a:pt x="430645" y="1338666"/>
                  <a:pt x="432822" y="1335158"/>
                </a:cubicBezTo>
                <a:cubicBezTo>
                  <a:pt x="433853" y="1335158"/>
                  <a:pt x="434884" y="1335158"/>
                  <a:pt x="435946" y="1335158"/>
                </a:cubicBezTo>
                <a:cubicBezTo>
                  <a:pt x="436526" y="1333385"/>
                  <a:pt x="437106" y="1331613"/>
                  <a:pt x="437704" y="1329786"/>
                </a:cubicBezTo>
                <a:cubicBezTo>
                  <a:pt x="440162" y="1323132"/>
                  <a:pt x="443602" y="1317301"/>
                  <a:pt x="447394" y="1311196"/>
                </a:cubicBezTo>
                <a:cubicBezTo>
                  <a:pt x="456493" y="1296485"/>
                  <a:pt x="463325" y="1281864"/>
                  <a:pt x="469287" y="1265964"/>
                </a:cubicBezTo>
                <a:cubicBezTo>
                  <a:pt x="474589" y="1252134"/>
                  <a:pt x="474589" y="1252134"/>
                  <a:pt x="478178" y="1246787"/>
                </a:cubicBezTo>
                <a:cubicBezTo>
                  <a:pt x="481232" y="1240246"/>
                  <a:pt x="480204" y="1232766"/>
                  <a:pt x="480179" y="1225768"/>
                </a:cubicBezTo>
                <a:cubicBezTo>
                  <a:pt x="480174" y="1222894"/>
                  <a:pt x="480210" y="1220023"/>
                  <a:pt x="480250" y="1217149"/>
                </a:cubicBezTo>
                <a:cubicBezTo>
                  <a:pt x="480260" y="1199291"/>
                  <a:pt x="476718" y="1187768"/>
                  <a:pt x="462972" y="1174827"/>
                </a:cubicBezTo>
                <a:cubicBezTo>
                  <a:pt x="461148" y="1173192"/>
                  <a:pt x="459312" y="1171566"/>
                  <a:pt x="457468" y="1169949"/>
                </a:cubicBezTo>
                <a:cubicBezTo>
                  <a:pt x="451412" y="1164522"/>
                  <a:pt x="445876" y="1158660"/>
                  <a:pt x="440657" y="1152570"/>
                </a:cubicBezTo>
                <a:cubicBezTo>
                  <a:pt x="430474" y="1140786"/>
                  <a:pt x="418230" y="1128998"/>
                  <a:pt x="403142" y="1122366"/>
                </a:cubicBezTo>
                <a:cubicBezTo>
                  <a:pt x="402626" y="1121436"/>
                  <a:pt x="402110" y="1120506"/>
                  <a:pt x="401579" y="1119547"/>
                </a:cubicBezTo>
                <a:cubicBezTo>
                  <a:pt x="390472" y="1115326"/>
                  <a:pt x="375918" y="1114217"/>
                  <a:pt x="364564" y="1118209"/>
                </a:cubicBezTo>
                <a:cubicBezTo>
                  <a:pt x="362278" y="1119428"/>
                  <a:pt x="360026" y="1120704"/>
                  <a:pt x="357822" y="1122041"/>
                </a:cubicBezTo>
                <a:cubicBezTo>
                  <a:pt x="354521" y="1123884"/>
                  <a:pt x="351862" y="1124582"/>
                  <a:pt x="348077" y="1125273"/>
                </a:cubicBezTo>
                <a:cubicBezTo>
                  <a:pt x="341765" y="1126696"/>
                  <a:pt x="339382" y="1128619"/>
                  <a:pt x="334408" y="1132230"/>
                </a:cubicBezTo>
                <a:cubicBezTo>
                  <a:pt x="332284" y="1132909"/>
                  <a:pt x="330131" y="1133519"/>
                  <a:pt x="327964" y="1134080"/>
                </a:cubicBezTo>
                <a:cubicBezTo>
                  <a:pt x="309975" y="1139067"/>
                  <a:pt x="290592" y="1152117"/>
                  <a:pt x="279734" y="1166051"/>
                </a:cubicBezTo>
                <a:cubicBezTo>
                  <a:pt x="277929" y="1169534"/>
                  <a:pt x="277929" y="1169534"/>
                  <a:pt x="276609" y="1173098"/>
                </a:cubicBezTo>
                <a:cubicBezTo>
                  <a:pt x="272413" y="1180804"/>
                  <a:pt x="269322" y="1184144"/>
                  <a:pt x="260988" y="1188599"/>
                </a:cubicBezTo>
                <a:cubicBezTo>
                  <a:pt x="259988" y="1189435"/>
                  <a:pt x="258987" y="1190271"/>
                  <a:pt x="257956" y="1191132"/>
                </a:cubicBezTo>
                <a:lnTo>
                  <a:pt x="243805" y="1196629"/>
                </a:lnTo>
                <a:lnTo>
                  <a:pt x="243805" y="1194236"/>
                </a:lnTo>
                <a:lnTo>
                  <a:pt x="240288" y="1194765"/>
                </a:lnTo>
                <a:lnTo>
                  <a:pt x="243374" y="1194765"/>
                </a:lnTo>
                <a:lnTo>
                  <a:pt x="243374" y="1196797"/>
                </a:lnTo>
                <a:lnTo>
                  <a:pt x="243805" y="1196629"/>
                </a:lnTo>
                <a:lnTo>
                  <a:pt x="243805" y="1197055"/>
                </a:lnTo>
                <a:lnTo>
                  <a:pt x="243374" y="1197055"/>
                </a:lnTo>
                <a:lnTo>
                  <a:pt x="243374" y="1197584"/>
                </a:lnTo>
                <a:lnTo>
                  <a:pt x="241319" y="1197595"/>
                </a:lnTo>
                <a:lnTo>
                  <a:pt x="238009" y="1198881"/>
                </a:lnTo>
                <a:cubicBezTo>
                  <a:pt x="231012" y="1199584"/>
                  <a:pt x="223620" y="1198927"/>
                  <a:pt x="215687" y="1198464"/>
                </a:cubicBezTo>
                <a:lnTo>
                  <a:pt x="215687" y="1197734"/>
                </a:lnTo>
                <a:lnTo>
                  <a:pt x="213936" y="1197744"/>
                </a:lnTo>
                <a:cubicBezTo>
                  <a:pt x="210570" y="1197584"/>
                  <a:pt x="210570" y="1197584"/>
                  <a:pt x="207446" y="1196175"/>
                </a:cubicBezTo>
                <a:lnTo>
                  <a:pt x="207822" y="1195610"/>
                </a:lnTo>
                <a:lnTo>
                  <a:pt x="184737" y="1180936"/>
                </a:lnTo>
                <a:cubicBezTo>
                  <a:pt x="180258" y="1172216"/>
                  <a:pt x="179226" y="1164355"/>
                  <a:pt x="179270" y="1154866"/>
                </a:cubicBezTo>
                <a:cubicBezTo>
                  <a:pt x="179233" y="1153260"/>
                  <a:pt x="179233" y="1153260"/>
                  <a:pt x="179194" y="1151621"/>
                </a:cubicBezTo>
                <a:cubicBezTo>
                  <a:pt x="179182" y="1139523"/>
                  <a:pt x="183658" y="1128837"/>
                  <a:pt x="193195" y="1120065"/>
                </a:cubicBezTo>
                <a:cubicBezTo>
                  <a:pt x="204265" y="1110959"/>
                  <a:pt x="215062" y="1110626"/>
                  <a:pt x="229551" y="1110299"/>
                </a:cubicBezTo>
                <a:cubicBezTo>
                  <a:pt x="240132" y="1110024"/>
                  <a:pt x="250506" y="1109652"/>
                  <a:pt x="260988" y="1108274"/>
                </a:cubicBezTo>
                <a:cubicBezTo>
                  <a:pt x="260988" y="1107344"/>
                  <a:pt x="260988" y="1106413"/>
                  <a:pt x="260988" y="1105455"/>
                </a:cubicBezTo>
                <a:cubicBezTo>
                  <a:pt x="261953" y="1105078"/>
                  <a:pt x="262918" y="1104699"/>
                  <a:pt x="263911" y="1104310"/>
                </a:cubicBezTo>
                <a:cubicBezTo>
                  <a:pt x="272903" y="1100557"/>
                  <a:pt x="279802" y="1096307"/>
                  <a:pt x="286995" y="1090185"/>
                </a:cubicBezTo>
                <a:cubicBezTo>
                  <a:pt x="290956" y="1086897"/>
                  <a:pt x="295114" y="1083955"/>
                  <a:pt x="299358" y="1080970"/>
                </a:cubicBezTo>
                <a:cubicBezTo>
                  <a:pt x="306613" y="1075692"/>
                  <a:pt x="312234" y="1070023"/>
                  <a:pt x="317762" y="1063272"/>
                </a:cubicBezTo>
                <a:cubicBezTo>
                  <a:pt x="320349" y="1060360"/>
                  <a:pt x="320349" y="1060360"/>
                  <a:pt x="325035" y="1057542"/>
                </a:cubicBezTo>
                <a:cubicBezTo>
                  <a:pt x="329912" y="1045734"/>
                  <a:pt x="327928" y="1035103"/>
                  <a:pt x="325328" y="1023104"/>
                </a:cubicBezTo>
                <a:cubicBezTo>
                  <a:pt x="325069" y="1021831"/>
                  <a:pt x="324811" y="1020559"/>
                  <a:pt x="324544" y="1019247"/>
                </a:cubicBezTo>
                <a:cubicBezTo>
                  <a:pt x="322876" y="1011407"/>
                  <a:pt x="320562" y="1004340"/>
                  <a:pt x="317225" y="996945"/>
                </a:cubicBezTo>
                <a:cubicBezTo>
                  <a:pt x="316619" y="995541"/>
                  <a:pt x="316013" y="994137"/>
                  <a:pt x="315388" y="992690"/>
                </a:cubicBezTo>
                <a:cubicBezTo>
                  <a:pt x="306307" y="972561"/>
                  <a:pt x="298931" y="959343"/>
                  <a:pt x="276232" y="950666"/>
                </a:cubicBezTo>
                <a:cubicBezTo>
                  <a:pt x="274810" y="950127"/>
                  <a:pt x="273388" y="949587"/>
                  <a:pt x="271923" y="949031"/>
                </a:cubicBezTo>
                <a:cubicBezTo>
                  <a:pt x="270129" y="948244"/>
                  <a:pt x="270129" y="948244"/>
                  <a:pt x="268299" y="947441"/>
                </a:cubicBezTo>
                <a:cubicBezTo>
                  <a:pt x="247071" y="938140"/>
                  <a:pt x="222259" y="939051"/>
                  <a:pt x="199187" y="938991"/>
                </a:cubicBezTo>
                <a:cubicBezTo>
                  <a:pt x="197383" y="938984"/>
                  <a:pt x="195579" y="938978"/>
                  <a:pt x="193719" y="938971"/>
                </a:cubicBezTo>
                <a:cubicBezTo>
                  <a:pt x="192010" y="938974"/>
                  <a:pt x="190300" y="938977"/>
                  <a:pt x="188539" y="938980"/>
                </a:cubicBezTo>
                <a:cubicBezTo>
                  <a:pt x="187000" y="938981"/>
                  <a:pt x="185460" y="938983"/>
                  <a:pt x="183874" y="938985"/>
                </a:cubicBezTo>
                <a:cubicBezTo>
                  <a:pt x="180148" y="939150"/>
                  <a:pt x="177092" y="939720"/>
                  <a:pt x="173509" y="940576"/>
                </a:cubicBezTo>
                <a:cubicBezTo>
                  <a:pt x="169458" y="940674"/>
                  <a:pt x="165452" y="940710"/>
                  <a:pt x="161403" y="940664"/>
                </a:cubicBezTo>
                <a:cubicBezTo>
                  <a:pt x="160314" y="940658"/>
                  <a:pt x="159224" y="940651"/>
                  <a:pt x="158102" y="940645"/>
                </a:cubicBezTo>
                <a:lnTo>
                  <a:pt x="150875" y="940583"/>
                </a:lnTo>
                <a:lnTo>
                  <a:pt x="148425" y="940717"/>
                </a:lnTo>
                <a:lnTo>
                  <a:pt x="149617" y="940995"/>
                </a:lnTo>
                <a:cubicBezTo>
                  <a:pt x="149617" y="941459"/>
                  <a:pt x="149617" y="941924"/>
                  <a:pt x="149617" y="942404"/>
                </a:cubicBezTo>
                <a:cubicBezTo>
                  <a:pt x="148630" y="942558"/>
                  <a:pt x="147643" y="942712"/>
                  <a:pt x="146627" y="942871"/>
                </a:cubicBezTo>
                <a:cubicBezTo>
                  <a:pt x="134541" y="944804"/>
                  <a:pt x="122553" y="947081"/>
                  <a:pt x="110564" y="949449"/>
                </a:cubicBezTo>
                <a:lnTo>
                  <a:pt x="111283" y="946205"/>
                </a:lnTo>
                <a:lnTo>
                  <a:pt x="101652" y="956078"/>
                </a:lnTo>
                <a:cubicBezTo>
                  <a:pt x="99870" y="957260"/>
                  <a:pt x="99870" y="957260"/>
                  <a:pt x="98052" y="958467"/>
                </a:cubicBezTo>
                <a:cubicBezTo>
                  <a:pt x="75683" y="972989"/>
                  <a:pt x="75683" y="972989"/>
                  <a:pt x="67286" y="972989"/>
                </a:cubicBezTo>
                <a:cubicBezTo>
                  <a:pt x="67286" y="973918"/>
                  <a:pt x="67286" y="974848"/>
                  <a:pt x="67286" y="975807"/>
                </a:cubicBezTo>
                <a:cubicBezTo>
                  <a:pt x="55713" y="979519"/>
                  <a:pt x="43549" y="980689"/>
                  <a:pt x="31942" y="976423"/>
                </a:cubicBezTo>
                <a:cubicBezTo>
                  <a:pt x="19953" y="970870"/>
                  <a:pt x="10774" y="964932"/>
                  <a:pt x="5673" y="953419"/>
                </a:cubicBezTo>
                <a:cubicBezTo>
                  <a:pt x="4801" y="950441"/>
                  <a:pt x="4801" y="950441"/>
                  <a:pt x="4801" y="944804"/>
                </a:cubicBezTo>
                <a:cubicBezTo>
                  <a:pt x="3770" y="944804"/>
                  <a:pt x="2739" y="944804"/>
                  <a:pt x="1676" y="944804"/>
                </a:cubicBezTo>
                <a:cubicBezTo>
                  <a:pt x="-34" y="940174"/>
                  <a:pt x="-41" y="936720"/>
                  <a:pt x="17" y="931857"/>
                </a:cubicBezTo>
                <a:cubicBezTo>
                  <a:pt x="31" y="930325"/>
                  <a:pt x="45" y="928794"/>
                  <a:pt x="59" y="927216"/>
                </a:cubicBezTo>
                <a:cubicBezTo>
                  <a:pt x="78" y="926044"/>
                  <a:pt x="96" y="924873"/>
                  <a:pt x="115" y="923666"/>
                </a:cubicBezTo>
                <a:cubicBezTo>
                  <a:pt x="1145" y="923666"/>
                  <a:pt x="2176" y="923666"/>
                  <a:pt x="3238" y="923666"/>
                </a:cubicBezTo>
                <a:cubicBezTo>
                  <a:pt x="3238" y="921805"/>
                  <a:pt x="3238" y="919945"/>
                  <a:pt x="3238" y="918029"/>
                </a:cubicBezTo>
                <a:cubicBezTo>
                  <a:pt x="4270" y="918029"/>
                  <a:pt x="5300" y="918029"/>
                  <a:pt x="6363" y="918029"/>
                </a:cubicBezTo>
                <a:cubicBezTo>
                  <a:pt x="6459" y="916314"/>
                  <a:pt x="6556" y="914599"/>
                  <a:pt x="6656" y="912832"/>
                </a:cubicBezTo>
                <a:cubicBezTo>
                  <a:pt x="7542" y="906455"/>
                  <a:pt x="10104" y="903750"/>
                  <a:pt x="15736" y="899709"/>
                </a:cubicBezTo>
                <a:lnTo>
                  <a:pt x="17243" y="898894"/>
                </a:lnTo>
                <a:lnTo>
                  <a:pt x="16800" y="898694"/>
                </a:lnTo>
                <a:lnTo>
                  <a:pt x="24988" y="894101"/>
                </a:lnTo>
                <a:lnTo>
                  <a:pt x="26768" y="892399"/>
                </a:lnTo>
                <a:cubicBezTo>
                  <a:pt x="28282" y="891122"/>
                  <a:pt x="29038" y="890483"/>
                  <a:pt x="30198" y="890164"/>
                </a:cubicBezTo>
                <a:lnTo>
                  <a:pt x="32204" y="890054"/>
                </a:lnTo>
                <a:lnTo>
                  <a:pt x="38914" y="886291"/>
                </a:lnTo>
                <a:cubicBezTo>
                  <a:pt x="47169" y="885770"/>
                  <a:pt x="55396" y="885800"/>
                  <a:pt x="63664" y="886011"/>
                </a:cubicBezTo>
                <a:lnTo>
                  <a:pt x="63664" y="886531"/>
                </a:lnTo>
                <a:lnTo>
                  <a:pt x="70784" y="886647"/>
                </a:lnTo>
                <a:cubicBezTo>
                  <a:pt x="74787" y="887000"/>
                  <a:pt x="77233" y="887948"/>
                  <a:pt x="82126" y="889845"/>
                </a:cubicBezTo>
                <a:cubicBezTo>
                  <a:pt x="92427" y="893791"/>
                  <a:pt x="103139" y="893710"/>
                  <a:pt x="114149" y="892663"/>
                </a:cubicBezTo>
                <a:cubicBezTo>
                  <a:pt x="115696" y="891733"/>
                  <a:pt x="117242" y="890803"/>
                  <a:pt x="118836" y="889845"/>
                </a:cubicBezTo>
                <a:cubicBezTo>
                  <a:pt x="123097" y="888850"/>
                  <a:pt x="127325" y="887944"/>
                  <a:pt x="131626" y="887114"/>
                </a:cubicBezTo>
                <a:cubicBezTo>
                  <a:pt x="139750" y="885542"/>
                  <a:pt x="147376" y="883653"/>
                  <a:pt x="155116" y="880913"/>
                </a:cubicBezTo>
                <a:cubicBezTo>
                  <a:pt x="158498" y="879775"/>
                  <a:pt x="161861" y="879076"/>
                  <a:pt x="165406" y="878483"/>
                </a:cubicBezTo>
                <a:cubicBezTo>
                  <a:pt x="170342" y="877655"/>
                  <a:pt x="172265" y="876971"/>
                  <a:pt x="176634" y="874343"/>
                </a:cubicBezTo>
                <a:cubicBezTo>
                  <a:pt x="179863" y="873335"/>
                  <a:pt x="183123" y="872404"/>
                  <a:pt x="186397" y="871524"/>
                </a:cubicBezTo>
                <a:cubicBezTo>
                  <a:pt x="189107" y="870786"/>
                  <a:pt x="189107" y="870786"/>
                  <a:pt x="191871" y="870033"/>
                </a:cubicBezTo>
                <a:cubicBezTo>
                  <a:pt x="195731" y="869023"/>
                  <a:pt x="199587" y="868093"/>
                  <a:pt x="203483" y="867208"/>
                </a:cubicBezTo>
                <a:cubicBezTo>
                  <a:pt x="208339" y="866199"/>
                  <a:pt x="208339" y="866199"/>
                  <a:pt x="211001" y="861660"/>
                </a:cubicBezTo>
                <a:cubicBezTo>
                  <a:pt x="214174" y="860102"/>
                  <a:pt x="214174" y="860102"/>
                  <a:pt x="218031" y="858577"/>
                </a:cubicBezTo>
                <a:cubicBezTo>
                  <a:pt x="236068" y="850629"/>
                  <a:pt x="245199" y="840442"/>
                  <a:pt x="254740" y="825020"/>
                </a:cubicBezTo>
                <a:cubicBezTo>
                  <a:pt x="255771" y="823625"/>
                  <a:pt x="256802" y="822230"/>
                  <a:pt x="257864" y="820792"/>
                </a:cubicBezTo>
                <a:cubicBezTo>
                  <a:pt x="258359" y="817506"/>
                  <a:pt x="258359" y="817506"/>
                  <a:pt x="258318" y="813810"/>
                </a:cubicBezTo>
                <a:cubicBezTo>
                  <a:pt x="258338" y="812388"/>
                  <a:pt x="258358" y="810967"/>
                  <a:pt x="258378" y="809502"/>
                </a:cubicBezTo>
                <a:cubicBezTo>
                  <a:pt x="258382" y="807965"/>
                  <a:pt x="258385" y="806429"/>
                  <a:pt x="258389" y="804845"/>
                </a:cubicBezTo>
                <a:cubicBezTo>
                  <a:pt x="258399" y="803258"/>
                  <a:pt x="258410" y="801671"/>
                  <a:pt x="258420" y="800036"/>
                </a:cubicBezTo>
                <a:cubicBezTo>
                  <a:pt x="258436" y="796670"/>
                  <a:pt x="258443" y="793305"/>
                  <a:pt x="258443" y="789939"/>
                </a:cubicBezTo>
                <a:cubicBezTo>
                  <a:pt x="258450" y="784823"/>
                  <a:pt x="258506" y="779709"/>
                  <a:pt x="258566" y="774594"/>
                </a:cubicBezTo>
                <a:cubicBezTo>
                  <a:pt x="258575" y="771319"/>
                  <a:pt x="258581" y="768045"/>
                  <a:pt x="258584" y="764771"/>
                </a:cubicBezTo>
                <a:cubicBezTo>
                  <a:pt x="258618" y="762495"/>
                  <a:pt x="258618" y="762495"/>
                  <a:pt x="258652" y="760174"/>
                </a:cubicBezTo>
                <a:cubicBezTo>
                  <a:pt x="258586" y="750030"/>
                  <a:pt x="256266" y="742584"/>
                  <a:pt x="251616" y="733421"/>
                </a:cubicBezTo>
                <a:cubicBezTo>
                  <a:pt x="250163" y="729605"/>
                  <a:pt x="248880" y="725752"/>
                  <a:pt x="247613" y="721883"/>
                </a:cubicBezTo>
                <a:cubicBezTo>
                  <a:pt x="245789" y="716328"/>
                  <a:pt x="243913" y="710939"/>
                  <a:pt x="241291" y="705644"/>
                </a:cubicBezTo>
                <a:cubicBezTo>
                  <a:pt x="238691" y="700096"/>
                  <a:pt x="238136" y="695685"/>
                  <a:pt x="237557" y="689735"/>
                </a:cubicBezTo>
                <a:cubicBezTo>
                  <a:pt x="244977" y="685507"/>
                  <a:pt x="244977" y="685507"/>
                  <a:pt x="248492" y="685507"/>
                </a:cubicBezTo>
                <a:cubicBezTo>
                  <a:pt x="248492" y="684112"/>
                  <a:pt x="248492" y="682717"/>
                  <a:pt x="248492" y="681279"/>
                </a:cubicBezTo>
                <a:cubicBezTo>
                  <a:pt x="245914" y="680815"/>
                  <a:pt x="243337" y="680350"/>
                  <a:pt x="240681" y="679870"/>
                </a:cubicBezTo>
                <a:cubicBezTo>
                  <a:pt x="240681" y="678940"/>
                  <a:pt x="240681" y="678010"/>
                  <a:pt x="240681" y="677052"/>
                </a:cubicBezTo>
                <a:cubicBezTo>
                  <a:pt x="239827" y="676917"/>
                  <a:pt x="238973" y="676783"/>
                  <a:pt x="238094" y="676645"/>
                </a:cubicBezTo>
                <a:cubicBezTo>
                  <a:pt x="233442" y="675371"/>
                  <a:pt x="229939" y="673242"/>
                  <a:pt x="225841" y="670886"/>
                </a:cubicBezTo>
                <a:cubicBezTo>
                  <a:pt x="217808" y="666564"/>
                  <a:pt x="210635" y="664241"/>
                  <a:pt x="201531" y="662508"/>
                </a:cubicBezTo>
                <a:cubicBezTo>
                  <a:pt x="196896" y="661541"/>
                  <a:pt x="192682" y="660199"/>
                  <a:pt x="188252" y="658644"/>
                </a:cubicBezTo>
                <a:lnTo>
                  <a:pt x="182431" y="657327"/>
                </a:lnTo>
                <a:lnTo>
                  <a:pt x="182431" y="657613"/>
                </a:lnTo>
                <a:cubicBezTo>
                  <a:pt x="170575" y="657148"/>
                  <a:pt x="158718" y="656683"/>
                  <a:pt x="146503" y="656204"/>
                </a:cubicBezTo>
                <a:cubicBezTo>
                  <a:pt x="146503" y="657133"/>
                  <a:pt x="146503" y="658064"/>
                  <a:pt x="146503" y="659022"/>
                </a:cubicBezTo>
                <a:cubicBezTo>
                  <a:pt x="134359" y="662326"/>
                  <a:pt x="123013" y="663700"/>
                  <a:pt x="110378" y="663778"/>
                </a:cubicBezTo>
                <a:cubicBezTo>
                  <a:pt x="108435" y="663806"/>
                  <a:pt x="108435" y="663806"/>
                  <a:pt x="106453" y="663836"/>
                </a:cubicBezTo>
                <a:cubicBezTo>
                  <a:pt x="105231" y="663828"/>
                  <a:pt x="104009" y="663820"/>
                  <a:pt x="102751" y="663811"/>
                </a:cubicBezTo>
                <a:cubicBezTo>
                  <a:pt x="101117" y="663804"/>
                  <a:pt x="101117" y="663804"/>
                  <a:pt x="99449" y="663797"/>
                </a:cubicBezTo>
                <a:cubicBezTo>
                  <a:pt x="95696" y="663097"/>
                  <a:pt x="94265" y="661615"/>
                  <a:pt x="91828" y="659022"/>
                </a:cubicBezTo>
                <a:cubicBezTo>
                  <a:pt x="93890" y="659022"/>
                  <a:pt x="95953" y="659022"/>
                  <a:pt x="98077" y="659022"/>
                </a:cubicBezTo>
                <a:cubicBezTo>
                  <a:pt x="98077" y="659952"/>
                  <a:pt x="98077" y="660882"/>
                  <a:pt x="98077" y="661841"/>
                </a:cubicBezTo>
                <a:cubicBezTo>
                  <a:pt x="108735" y="662045"/>
                  <a:pt x="114063" y="662148"/>
                  <a:pt x="119023" y="661357"/>
                </a:cubicBezTo>
                <a:lnTo>
                  <a:pt x="119536" y="661197"/>
                </a:lnTo>
                <a:lnTo>
                  <a:pt x="109853" y="661639"/>
                </a:lnTo>
                <a:cubicBezTo>
                  <a:pt x="108764" y="661632"/>
                  <a:pt x="107675" y="661626"/>
                  <a:pt x="106552" y="661619"/>
                </a:cubicBezTo>
                <a:cubicBezTo>
                  <a:pt x="103877" y="661603"/>
                  <a:pt x="101203" y="661577"/>
                  <a:pt x="98528" y="661550"/>
                </a:cubicBezTo>
                <a:cubicBezTo>
                  <a:pt x="98528" y="660620"/>
                  <a:pt x="98528" y="659691"/>
                  <a:pt x="98528" y="658732"/>
                </a:cubicBezTo>
                <a:cubicBezTo>
                  <a:pt x="95435" y="658267"/>
                  <a:pt x="92342" y="657802"/>
                  <a:pt x="89155" y="657323"/>
                </a:cubicBezTo>
                <a:cubicBezTo>
                  <a:pt x="89155" y="656393"/>
                  <a:pt x="89155" y="655462"/>
                  <a:pt x="89155" y="654504"/>
                </a:cubicBezTo>
                <a:cubicBezTo>
                  <a:pt x="87790" y="653978"/>
                  <a:pt x="87790" y="653978"/>
                  <a:pt x="86397" y="653442"/>
                </a:cubicBezTo>
                <a:cubicBezTo>
                  <a:pt x="82415" y="651438"/>
                  <a:pt x="80039" y="649232"/>
                  <a:pt x="77049" y="646137"/>
                </a:cubicBezTo>
                <a:cubicBezTo>
                  <a:pt x="75611" y="644679"/>
                  <a:pt x="75611" y="644679"/>
                  <a:pt x="74145" y="643192"/>
                </a:cubicBezTo>
                <a:cubicBezTo>
                  <a:pt x="71972" y="640412"/>
                  <a:pt x="71972" y="640412"/>
                  <a:pt x="71972" y="636185"/>
                </a:cubicBezTo>
                <a:cubicBezTo>
                  <a:pt x="70941" y="636185"/>
                  <a:pt x="69910" y="636185"/>
                  <a:pt x="68848" y="636185"/>
                </a:cubicBezTo>
                <a:cubicBezTo>
                  <a:pt x="64250" y="621928"/>
                  <a:pt x="64695" y="609404"/>
                  <a:pt x="70410" y="595317"/>
                </a:cubicBezTo>
                <a:cubicBezTo>
                  <a:pt x="73096" y="591142"/>
                  <a:pt x="76144" y="587574"/>
                  <a:pt x="79782" y="584043"/>
                </a:cubicBezTo>
                <a:cubicBezTo>
                  <a:pt x="81205" y="582594"/>
                  <a:pt x="81205" y="582594"/>
                  <a:pt x="82656" y="581115"/>
                </a:cubicBezTo>
                <a:cubicBezTo>
                  <a:pt x="91488" y="574027"/>
                  <a:pt x="105133" y="571806"/>
                  <a:pt x="116694" y="572323"/>
                </a:cubicBezTo>
                <a:cubicBezTo>
                  <a:pt x="131556" y="574113"/>
                  <a:pt x="142046" y="580551"/>
                  <a:pt x="152031" y="590385"/>
                </a:cubicBezTo>
                <a:cubicBezTo>
                  <a:pt x="162272" y="600009"/>
                  <a:pt x="176992" y="605062"/>
                  <a:pt x="191474" y="605886"/>
                </a:cubicBezTo>
                <a:cubicBezTo>
                  <a:pt x="196845" y="606192"/>
                  <a:pt x="201203" y="606463"/>
                  <a:pt x="206314" y="608000"/>
                </a:cubicBezTo>
                <a:cubicBezTo>
                  <a:pt x="206314" y="608930"/>
                  <a:pt x="206314" y="609860"/>
                  <a:pt x="206314" y="610818"/>
                </a:cubicBezTo>
                <a:cubicBezTo>
                  <a:pt x="215689" y="610902"/>
                  <a:pt x="225058" y="610898"/>
                  <a:pt x="234433" y="610818"/>
                </a:cubicBezTo>
                <a:cubicBezTo>
                  <a:pt x="236112" y="610813"/>
                  <a:pt x="237791" y="610808"/>
                  <a:pt x="239522" y="610802"/>
                </a:cubicBezTo>
                <a:cubicBezTo>
                  <a:pt x="251005" y="610364"/>
                  <a:pt x="259257" y="606564"/>
                  <a:pt x="268799" y="600954"/>
                </a:cubicBezTo>
                <a:cubicBezTo>
                  <a:pt x="269770" y="600416"/>
                  <a:pt x="270740" y="599879"/>
                  <a:pt x="271740" y="599325"/>
                </a:cubicBezTo>
                <a:cubicBezTo>
                  <a:pt x="279452" y="594430"/>
                  <a:pt x="281420" y="587464"/>
                  <a:pt x="284420" y="579816"/>
                </a:cubicBezTo>
                <a:cubicBezTo>
                  <a:pt x="286047" y="576075"/>
                  <a:pt x="287725" y="572353"/>
                  <a:pt x="289399" y="568630"/>
                </a:cubicBezTo>
                <a:cubicBezTo>
                  <a:pt x="294095" y="558121"/>
                  <a:pt x="299004" y="547070"/>
                  <a:pt x="293958" y="535838"/>
                </a:cubicBezTo>
                <a:cubicBezTo>
                  <a:pt x="292436" y="533533"/>
                  <a:pt x="290781" y="531301"/>
                  <a:pt x="289107" y="529084"/>
                </a:cubicBezTo>
                <a:cubicBezTo>
                  <a:pt x="289107" y="528153"/>
                  <a:pt x="289107" y="527223"/>
                  <a:pt x="289107" y="526265"/>
                </a:cubicBezTo>
                <a:cubicBezTo>
                  <a:pt x="287560" y="525800"/>
                  <a:pt x="286014" y="525335"/>
                  <a:pt x="284420" y="524856"/>
                </a:cubicBezTo>
                <a:cubicBezTo>
                  <a:pt x="283905" y="523461"/>
                  <a:pt x="283389" y="522066"/>
                  <a:pt x="282858" y="520628"/>
                </a:cubicBezTo>
                <a:cubicBezTo>
                  <a:pt x="280750" y="518590"/>
                  <a:pt x="280750" y="518590"/>
                  <a:pt x="277977" y="516577"/>
                </a:cubicBezTo>
                <a:cubicBezTo>
                  <a:pt x="273591" y="513232"/>
                  <a:pt x="269227" y="509874"/>
                  <a:pt x="264925" y="506443"/>
                </a:cubicBezTo>
                <a:cubicBezTo>
                  <a:pt x="253596" y="497433"/>
                  <a:pt x="242132" y="488987"/>
                  <a:pt x="229746" y="481170"/>
                </a:cubicBezTo>
                <a:cubicBezTo>
                  <a:pt x="226846" y="479266"/>
                  <a:pt x="223950" y="477358"/>
                  <a:pt x="221057" y="475445"/>
                </a:cubicBezTo>
                <a:cubicBezTo>
                  <a:pt x="218227" y="473594"/>
                  <a:pt x="215396" y="471744"/>
                  <a:pt x="212563" y="469896"/>
                </a:cubicBezTo>
                <a:cubicBezTo>
                  <a:pt x="211351" y="469102"/>
                  <a:pt x="210138" y="468309"/>
                  <a:pt x="208889" y="467491"/>
                </a:cubicBezTo>
                <a:cubicBezTo>
                  <a:pt x="202848" y="463599"/>
                  <a:pt x="196732" y="459888"/>
                  <a:pt x="190406" y="456382"/>
                </a:cubicBezTo>
                <a:cubicBezTo>
                  <a:pt x="189263" y="455748"/>
                  <a:pt x="188119" y="455114"/>
                  <a:pt x="186942" y="454460"/>
                </a:cubicBezTo>
                <a:cubicBezTo>
                  <a:pt x="184648" y="453196"/>
                  <a:pt x="182348" y="451941"/>
                  <a:pt x="180041" y="450696"/>
                </a:cubicBezTo>
                <a:cubicBezTo>
                  <a:pt x="177292" y="449185"/>
                  <a:pt x="174612" y="447571"/>
                  <a:pt x="171948" y="445940"/>
                </a:cubicBezTo>
                <a:cubicBezTo>
                  <a:pt x="171948" y="445009"/>
                  <a:pt x="171948" y="444079"/>
                  <a:pt x="171948" y="443121"/>
                </a:cubicBezTo>
                <a:cubicBezTo>
                  <a:pt x="170804" y="442985"/>
                  <a:pt x="169660" y="442848"/>
                  <a:pt x="168482" y="442708"/>
                </a:cubicBezTo>
                <a:cubicBezTo>
                  <a:pt x="163547" y="441576"/>
                  <a:pt x="161063" y="439897"/>
                  <a:pt x="157107" y="437044"/>
                </a:cubicBezTo>
                <a:cubicBezTo>
                  <a:pt x="149345" y="431895"/>
                  <a:pt x="141843" y="429626"/>
                  <a:pt x="132559" y="427510"/>
                </a:cubicBezTo>
                <a:cubicBezTo>
                  <a:pt x="128067" y="426168"/>
                  <a:pt x="126607" y="425060"/>
                  <a:pt x="123522" y="421983"/>
                </a:cubicBezTo>
                <a:cubicBezTo>
                  <a:pt x="118310" y="419033"/>
                  <a:pt x="114076" y="418794"/>
                  <a:pt x="107986" y="418730"/>
                </a:cubicBezTo>
                <a:cubicBezTo>
                  <a:pt x="106174" y="418694"/>
                  <a:pt x="104362" y="418659"/>
                  <a:pt x="102494" y="418622"/>
                </a:cubicBezTo>
                <a:cubicBezTo>
                  <a:pt x="98715" y="418573"/>
                  <a:pt x="94936" y="418529"/>
                  <a:pt x="91157" y="418490"/>
                </a:cubicBezTo>
                <a:cubicBezTo>
                  <a:pt x="78470" y="418231"/>
                  <a:pt x="65485" y="417940"/>
                  <a:pt x="55277" y="410445"/>
                </a:cubicBezTo>
                <a:cubicBezTo>
                  <a:pt x="54084" y="409137"/>
                  <a:pt x="52893" y="407829"/>
                  <a:pt x="51665" y="406481"/>
                </a:cubicBezTo>
                <a:cubicBezTo>
                  <a:pt x="49752" y="404480"/>
                  <a:pt x="47831" y="402483"/>
                  <a:pt x="45904" y="400492"/>
                </a:cubicBezTo>
                <a:cubicBezTo>
                  <a:pt x="44996" y="399526"/>
                  <a:pt x="44088" y="398559"/>
                  <a:pt x="43152" y="397564"/>
                </a:cubicBezTo>
                <a:cubicBezTo>
                  <a:pt x="40865" y="395062"/>
                  <a:pt x="40865" y="395062"/>
                  <a:pt x="37605" y="393798"/>
                </a:cubicBezTo>
                <a:lnTo>
                  <a:pt x="38995" y="368712"/>
                </a:lnTo>
                <a:lnTo>
                  <a:pt x="38666" y="369724"/>
                </a:lnTo>
                <a:cubicBezTo>
                  <a:pt x="37003" y="374506"/>
                  <a:pt x="36202" y="379113"/>
                  <a:pt x="35542" y="384081"/>
                </a:cubicBezTo>
                <a:cubicBezTo>
                  <a:pt x="30313" y="376119"/>
                  <a:pt x="31188" y="366593"/>
                  <a:pt x="33326" y="357791"/>
                </a:cubicBezTo>
                <a:cubicBezTo>
                  <a:pt x="37176" y="347767"/>
                  <a:pt x="44536" y="340769"/>
                  <a:pt x="52725" y="333349"/>
                </a:cubicBezTo>
                <a:lnTo>
                  <a:pt x="55222" y="334475"/>
                </a:lnTo>
                <a:lnTo>
                  <a:pt x="56222" y="333347"/>
                </a:lnTo>
                <a:lnTo>
                  <a:pt x="55871" y="333347"/>
                </a:lnTo>
                <a:lnTo>
                  <a:pt x="56346" y="333207"/>
                </a:lnTo>
                <a:lnTo>
                  <a:pt x="56351" y="333202"/>
                </a:lnTo>
                <a:lnTo>
                  <a:pt x="56365" y="333202"/>
                </a:lnTo>
                <a:lnTo>
                  <a:pt x="79571" y="326360"/>
                </a:lnTo>
                <a:cubicBezTo>
                  <a:pt x="87782" y="326037"/>
                  <a:pt x="96164" y="327572"/>
                  <a:pt x="104297" y="330529"/>
                </a:cubicBezTo>
                <a:lnTo>
                  <a:pt x="107170" y="334417"/>
                </a:lnTo>
                <a:lnTo>
                  <a:pt x="109366" y="336046"/>
                </a:lnTo>
                <a:lnTo>
                  <a:pt x="109463" y="336020"/>
                </a:lnTo>
                <a:lnTo>
                  <a:pt x="109463" y="336118"/>
                </a:lnTo>
                <a:lnTo>
                  <a:pt x="115226" y="340394"/>
                </a:lnTo>
                <a:lnTo>
                  <a:pt x="114010" y="340120"/>
                </a:lnTo>
                <a:lnTo>
                  <a:pt x="133285" y="357423"/>
                </a:lnTo>
                <a:cubicBezTo>
                  <a:pt x="142471" y="373187"/>
                  <a:pt x="155564" y="382744"/>
                  <a:pt x="173509" y="389571"/>
                </a:cubicBezTo>
                <a:cubicBezTo>
                  <a:pt x="176254" y="390785"/>
                  <a:pt x="178988" y="392017"/>
                  <a:pt x="181711" y="393270"/>
                </a:cubicBezTo>
                <a:cubicBezTo>
                  <a:pt x="182964" y="393833"/>
                  <a:pt x="184216" y="394396"/>
                  <a:pt x="185507" y="394976"/>
                </a:cubicBezTo>
                <a:cubicBezTo>
                  <a:pt x="187897" y="396058"/>
                  <a:pt x="190281" y="397151"/>
                  <a:pt x="192658" y="398257"/>
                </a:cubicBezTo>
                <a:cubicBezTo>
                  <a:pt x="193749" y="398762"/>
                  <a:pt x="194841" y="399267"/>
                  <a:pt x="195966" y="399788"/>
                </a:cubicBezTo>
                <a:cubicBezTo>
                  <a:pt x="196912" y="400231"/>
                  <a:pt x="197858" y="400674"/>
                  <a:pt x="198833" y="401131"/>
                </a:cubicBezTo>
                <a:cubicBezTo>
                  <a:pt x="201808" y="402326"/>
                  <a:pt x="204701" y="403032"/>
                  <a:pt x="207877" y="403663"/>
                </a:cubicBezTo>
                <a:cubicBezTo>
                  <a:pt x="207877" y="404593"/>
                  <a:pt x="207877" y="405523"/>
                  <a:pt x="207877" y="406481"/>
                </a:cubicBezTo>
                <a:cubicBezTo>
                  <a:pt x="221233" y="411377"/>
                  <a:pt x="234752" y="415503"/>
                  <a:pt x="248492" y="419428"/>
                </a:cubicBezTo>
                <a:cubicBezTo>
                  <a:pt x="250298" y="419947"/>
                  <a:pt x="252104" y="420466"/>
                  <a:pt x="253965" y="421000"/>
                </a:cubicBezTo>
                <a:cubicBezTo>
                  <a:pt x="258388" y="422270"/>
                  <a:pt x="262812" y="423537"/>
                  <a:pt x="267237" y="424801"/>
                </a:cubicBezTo>
                <a:lnTo>
                  <a:pt x="267237" y="426451"/>
                </a:lnTo>
                <a:lnTo>
                  <a:pt x="288701" y="429217"/>
                </a:lnTo>
                <a:cubicBezTo>
                  <a:pt x="288701" y="430147"/>
                  <a:pt x="288701" y="431078"/>
                  <a:pt x="288701" y="432036"/>
                </a:cubicBezTo>
                <a:cubicBezTo>
                  <a:pt x="301487" y="433472"/>
                  <a:pt x="314148" y="433662"/>
                  <a:pt x="327010" y="433628"/>
                </a:cubicBezTo>
                <a:cubicBezTo>
                  <a:pt x="330502" y="433621"/>
                  <a:pt x="333994" y="433628"/>
                  <a:pt x="337486" y="433637"/>
                </a:cubicBezTo>
                <a:cubicBezTo>
                  <a:pt x="339734" y="433637"/>
                  <a:pt x="341982" y="433635"/>
                  <a:pt x="344229" y="433632"/>
                </a:cubicBezTo>
                <a:cubicBezTo>
                  <a:pt x="347246" y="433630"/>
                  <a:pt x="347246" y="433630"/>
                  <a:pt x="350323" y="433627"/>
                </a:cubicBezTo>
                <a:cubicBezTo>
                  <a:pt x="355445" y="433459"/>
                  <a:pt x="360220" y="432915"/>
                  <a:pt x="365245" y="432036"/>
                </a:cubicBezTo>
                <a:lnTo>
                  <a:pt x="360797" y="433759"/>
                </a:lnTo>
                <a:lnTo>
                  <a:pt x="365650" y="433257"/>
                </a:lnTo>
                <a:cubicBezTo>
                  <a:pt x="366166" y="431861"/>
                  <a:pt x="366682" y="430466"/>
                  <a:pt x="367213" y="429029"/>
                </a:cubicBezTo>
                <a:cubicBezTo>
                  <a:pt x="369854" y="427628"/>
                  <a:pt x="372501" y="426234"/>
                  <a:pt x="375188" y="424906"/>
                </a:cubicBezTo>
                <a:cubicBezTo>
                  <a:pt x="390245" y="417204"/>
                  <a:pt x="397438" y="403183"/>
                  <a:pt x="404704" y="389571"/>
                </a:cubicBezTo>
                <a:cubicBezTo>
                  <a:pt x="405219" y="389105"/>
                  <a:pt x="405734" y="388641"/>
                  <a:pt x="406265" y="388161"/>
                </a:cubicBezTo>
                <a:cubicBezTo>
                  <a:pt x="406663" y="382152"/>
                  <a:pt x="406555" y="376125"/>
                  <a:pt x="406559" y="370106"/>
                </a:cubicBezTo>
                <a:cubicBezTo>
                  <a:pt x="406578" y="368412"/>
                  <a:pt x="406597" y="366718"/>
                  <a:pt x="406617" y="364973"/>
                </a:cubicBezTo>
                <a:cubicBezTo>
                  <a:pt x="406620" y="363344"/>
                  <a:pt x="406622" y="361715"/>
                  <a:pt x="406626" y="360038"/>
                </a:cubicBezTo>
                <a:cubicBezTo>
                  <a:pt x="406632" y="358541"/>
                  <a:pt x="406638" y="357045"/>
                  <a:pt x="406645" y="355503"/>
                </a:cubicBezTo>
                <a:cubicBezTo>
                  <a:pt x="406264" y="351503"/>
                  <a:pt x="405326" y="349318"/>
                  <a:pt x="403142" y="345885"/>
                </a:cubicBezTo>
                <a:cubicBezTo>
                  <a:pt x="402583" y="343484"/>
                  <a:pt x="402067" y="341075"/>
                  <a:pt x="401579" y="338663"/>
                </a:cubicBezTo>
                <a:cubicBezTo>
                  <a:pt x="399365" y="330323"/>
                  <a:pt x="395538" y="323370"/>
                  <a:pt x="390938" y="315939"/>
                </a:cubicBezTo>
                <a:cubicBezTo>
                  <a:pt x="390290" y="314890"/>
                  <a:pt x="389642" y="313842"/>
                  <a:pt x="388976" y="312762"/>
                </a:cubicBezTo>
                <a:cubicBezTo>
                  <a:pt x="385623" y="307500"/>
                  <a:pt x="382070" y="302607"/>
                  <a:pt x="377934" y="297817"/>
                </a:cubicBezTo>
                <a:cubicBezTo>
                  <a:pt x="373788" y="292978"/>
                  <a:pt x="371423" y="288111"/>
                  <a:pt x="368775" y="282470"/>
                </a:cubicBezTo>
                <a:cubicBezTo>
                  <a:pt x="366035" y="278585"/>
                  <a:pt x="362994" y="274937"/>
                  <a:pt x="359890" y="271284"/>
                </a:cubicBezTo>
                <a:cubicBezTo>
                  <a:pt x="359059" y="270296"/>
                  <a:pt x="358230" y="269307"/>
                  <a:pt x="357374" y="268288"/>
                </a:cubicBezTo>
                <a:cubicBezTo>
                  <a:pt x="351312" y="261177"/>
                  <a:pt x="344882" y="254704"/>
                  <a:pt x="337533" y="248649"/>
                </a:cubicBezTo>
                <a:cubicBezTo>
                  <a:pt x="336767" y="247896"/>
                  <a:pt x="336002" y="247144"/>
                  <a:pt x="335214" y="246369"/>
                </a:cubicBezTo>
                <a:cubicBezTo>
                  <a:pt x="332597" y="243963"/>
                  <a:pt x="332597" y="243963"/>
                  <a:pt x="327085" y="242571"/>
                </a:cubicBezTo>
                <a:cubicBezTo>
                  <a:pt x="309670" y="236923"/>
                  <a:pt x="296614" y="222751"/>
                  <a:pt x="288785" y="207968"/>
                </a:cubicBezTo>
                <a:cubicBezTo>
                  <a:pt x="286673" y="202851"/>
                  <a:pt x="286348" y="197968"/>
                  <a:pt x="286373" y="192544"/>
                </a:cubicBezTo>
                <a:cubicBezTo>
                  <a:pt x="286377" y="191437"/>
                  <a:pt x="286381" y="190330"/>
                  <a:pt x="286385" y="189190"/>
                </a:cubicBezTo>
                <a:cubicBezTo>
                  <a:pt x="286881" y="178340"/>
                  <a:pt x="291581" y="171728"/>
                  <a:pt x="300042" y="164095"/>
                </a:cubicBezTo>
                <a:cubicBezTo>
                  <a:pt x="301386" y="162752"/>
                  <a:pt x="301386" y="162752"/>
                  <a:pt x="302757" y="161381"/>
                </a:cubicBezTo>
                <a:cubicBezTo>
                  <a:pt x="312597" y="152504"/>
                  <a:pt x="325185" y="152675"/>
                  <a:pt x="338411" y="152293"/>
                </a:cubicBezTo>
                <a:cubicBezTo>
                  <a:pt x="350839" y="152463"/>
                  <a:pt x="359094" y="154554"/>
                  <a:pt x="368482" y="161893"/>
                </a:cubicBezTo>
                <a:cubicBezTo>
                  <a:pt x="369609" y="163085"/>
                  <a:pt x="370737" y="164277"/>
                  <a:pt x="371899" y="165505"/>
                </a:cubicBezTo>
                <a:cubicBezTo>
                  <a:pt x="372962" y="166522"/>
                  <a:pt x="374026" y="167539"/>
                  <a:pt x="375121" y="168587"/>
                </a:cubicBezTo>
                <a:cubicBezTo>
                  <a:pt x="381050" y="176351"/>
                  <a:pt x="384520" y="184328"/>
                  <a:pt x="384982" y="193777"/>
                </a:cubicBezTo>
                <a:cubicBezTo>
                  <a:pt x="385464" y="201192"/>
                  <a:pt x="387638" y="207607"/>
                  <a:pt x="390352" y="214563"/>
                </a:cubicBezTo>
                <a:cubicBezTo>
                  <a:pt x="390934" y="216079"/>
                  <a:pt x="390934" y="216079"/>
                  <a:pt x="391529" y="217626"/>
                </a:cubicBezTo>
                <a:cubicBezTo>
                  <a:pt x="394082" y="223926"/>
                  <a:pt x="397412" y="228969"/>
                  <a:pt x="401579" y="234556"/>
                </a:cubicBezTo>
                <a:cubicBezTo>
                  <a:pt x="401579" y="235952"/>
                  <a:pt x="401579" y="237347"/>
                  <a:pt x="401579" y="238784"/>
                </a:cubicBezTo>
                <a:cubicBezTo>
                  <a:pt x="402884" y="239263"/>
                  <a:pt x="402884" y="239263"/>
                  <a:pt x="404215" y="239753"/>
                </a:cubicBezTo>
                <a:cubicBezTo>
                  <a:pt x="410099" y="242765"/>
                  <a:pt x="414395" y="246733"/>
                  <a:pt x="417811" y="251996"/>
                </a:cubicBezTo>
                <a:cubicBezTo>
                  <a:pt x="420462" y="255897"/>
                  <a:pt x="423407" y="258959"/>
                  <a:pt x="426866" y="262300"/>
                </a:cubicBezTo>
                <a:cubicBezTo>
                  <a:pt x="435101" y="270407"/>
                  <a:pt x="442641" y="278936"/>
                  <a:pt x="450097" y="287628"/>
                </a:cubicBezTo>
                <a:cubicBezTo>
                  <a:pt x="453081" y="291117"/>
                  <a:pt x="453081" y="291117"/>
                  <a:pt x="457425" y="293920"/>
                </a:cubicBezTo>
                <a:cubicBezTo>
                  <a:pt x="458585" y="294792"/>
                  <a:pt x="459745" y="295664"/>
                  <a:pt x="460940" y="296562"/>
                </a:cubicBezTo>
                <a:cubicBezTo>
                  <a:pt x="460940" y="297957"/>
                  <a:pt x="460940" y="299352"/>
                  <a:pt x="460940" y="300790"/>
                </a:cubicBezTo>
                <a:cubicBezTo>
                  <a:pt x="465063" y="302782"/>
                  <a:pt x="468862" y="304133"/>
                  <a:pt x="473437" y="305018"/>
                </a:cubicBezTo>
                <a:cubicBezTo>
                  <a:pt x="473437" y="305947"/>
                  <a:pt x="473437" y="306877"/>
                  <a:pt x="473437" y="307836"/>
                </a:cubicBezTo>
                <a:cubicBezTo>
                  <a:pt x="475581" y="308519"/>
                  <a:pt x="477730" y="309193"/>
                  <a:pt x="479881" y="309862"/>
                </a:cubicBezTo>
                <a:cubicBezTo>
                  <a:pt x="481077" y="310237"/>
                  <a:pt x="482273" y="310614"/>
                  <a:pt x="483505" y="311001"/>
                </a:cubicBezTo>
                <a:cubicBezTo>
                  <a:pt x="505448" y="316843"/>
                  <a:pt x="527690" y="314359"/>
                  <a:pt x="548419" y="306427"/>
                </a:cubicBezTo>
                <a:cubicBezTo>
                  <a:pt x="549548" y="305998"/>
                  <a:pt x="550678" y="305569"/>
                  <a:pt x="551842" y="305127"/>
                </a:cubicBezTo>
                <a:cubicBezTo>
                  <a:pt x="555376" y="303227"/>
                  <a:pt x="557584" y="300980"/>
                  <a:pt x="560232" y="298148"/>
                </a:cubicBezTo>
                <a:cubicBezTo>
                  <a:pt x="561137" y="297192"/>
                  <a:pt x="562041" y="296236"/>
                  <a:pt x="562972" y="295252"/>
                </a:cubicBezTo>
                <a:cubicBezTo>
                  <a:pt x="564755" y="293274"/>
                  <a:pt x="566459" y="291237"/>
                  <a:pt x="568086" y="289152"/>
                </a:cubicBezTo>
                <a:cubicBezTo>
                  <a:pt x="568813" y="288342"/>
                  <a:pt x="569539" y="287532"/>
                  <a:pt x="570289" y="286697"/>
                </a:cubicBezTo>
                <a:cubicBezTo>
                  <a:pt x="571319" y="286697"/>
                  <a:pt x="572350" y="286697"/>
                  <a:pt x="573413" y="286697"/>
                </a:cubicBezTo>
                <a:cubicBezTo>
                  <a:pt x="577408" y="276984"/>
                  <a:pt x="577197" y="267284"/>
                  <a:pt x="577220" y="257016"/>
                </a:cubicBezTo>
                <a:cubicBezTo>
                  <a:pt x="577227" y="255625"/>
                  <a:pt x="577227" y="255625"/>
                  <a:pt x="577235" y="254206"/>
                </a:cubicBezTo>
                <a:cubicBezTo>
                  <a:pt x="577257" y="237553"/>
                  <a:pt x="574604" y="222055"/>
                  <a:pt x="569443" y="206049"/>
                </a:cubicBezTo>
                <a:cubicBezTo>
                  <a:pt x="568726" y="203553"/>
                  <a:pt x="568726" y="203553"/>
                  <a:pt x="568726" y="200735"/>
                </a:cubicBezTo>
                <a:cubicBezTo>
                  <a:pt x="567695" y="200735"/>
                  <a:pt x="566664" y="200735"/>
                  <a:pt x="565602" y="200735"/>
                </a:cubicBezTo>
                <a:cubicBezTo>
                  <a:pt x="563274" y="195295"/>
                  <a:pt x="561092" y="190108"/>
                  <a:pt x="559549" y="184441"/>
                </a:cubicBezTo>
                <a:cubicBezTo>
                  <a:pt x="555572" y="173477"/>
                  <a:pt x="547043" y="167105"/>
                  <a:pt x="537484" y="159867"/>
                </a:cubicBezTo>
                <a:cubicBezTo>
                  <a:pt x="533579" y="156609"/>
                  <a:pt x="533579" y="156609"/>
                  <a:pt x="531235" y="154230"/>
                </a:cubicBezTo>
                <a:cubicBezTo>
                  <a:pt x="531235" y="153301"/>
                  <a:pt x="531235" y="152371"/>
                  <a:pt x="531235" y="151412"/>
                </a:cubicBezTo>
                <a:cubicBezTo>
                  <a:pt x="529689" y="150947"/>
                  <a:pt x="528143" y="150482"/>
                  <a:pt x="526549" y="150003"/>
                </a:cubicBezTo>
                <a:cubicBezTo>
                  <a:pt x="519904" y="137298"/>
                  <a:pt x="519105" y="120357"/>
                  <a:pt x="524304" y="107198"/>
                </a:cubicBezTo>
                <a:cubicBezTo>
                  <a:pt x="529443" y="97376"/>
                  <a:pt x="535781" y="90193"/>
                  <a:pt x="547052" y="85972"/>
                </a:cubicBezTo>
                <a:cubicBezTo>
                  <a:pt x="559924" y="81835"/>
                  <a:pt x="575221" y="79746"/>
                  <a:pt x="588460" y="83538"/>
                </a:cubicBezTo>
                <a:cubicBezTo>
                  <a:pt x="601643" y="89713"/>
                  <a:pt x="611835" y="99450"/>
                  <a:pt x="617152" y="111954"/>
                </a:cubicBezTo>
                <a:cubicBezTo>
                  <a:pt x="617935" y="116052"/>
                  <a:pt x="617954" y="120024"/>
                  <a:pt x="617884" y="124175"/>
                </a:cubicBezTo>
                <a:cubicBezTo>
                  <a:pt x="617896" y="125307"/>
                  <a:pt x="617906" y="126440"/>
                  <a:pt x="617917" y="127607"/>
                </a:cubicBezTo>
                <a:cubicBezTo>
                  <a:pt x="617963" y="132394"/>
                  <a:pt x="617938" y="137181"/>
                  <a:pt x="617919" y="141969"/>
                </a:cubicBezTo>
                <a:cubicBezTo>
                  <a:pt x="617899" y="160184"/>
                  <a:pt x="619422" y="175572"/>
                  <a:pt x="630625" y="191311"/>
                </a:cubicBezTo>
                <a:cubicBezTo>
                  <a:pt x="633753" y="195891"/>
                  <a:pt x="636431" y="199900"/>
                  <a:pt x="637850" y="205139"/>
                </a:cubicBezTo>
                <a:cubicBezTo>
                  <a:pt x="638615" y="209623"/>
                  <a:pt x="638615" y="209623"/>
                  <a:pt x="643708" y="212009"/>
                </a:cubicBezTo>
                <a:cubicBezTo>
                  <a:pt x="645380" y="214563"/>
                  <a:pt x="645380" y="214563"/>
                  <a:pt x="647027" y="217645"/>
                </a:cubicBezTo>
                <a:cubicBezTo>
                  <a:pt x="652549" y="227016"/>
                  <a:pt x="660443" y="235696"/>
                  <a:pt x="670264" y="241603"/>
                </a:cubicBezTo>
                <a:cubicBezTo>
                  <a:pt x="670264" y="242532"/>
                  <a:pt x="670264" y="243462"/>
                  <a:pt x="670264" y="244421"/>
                </a:cubicBezTo>
                <a:cubicBezTo>
                  <a:pt x="672036" y="244857"/>
                  <a:pt x="673808" y="245293"/>
                  <a:pt x="675634" y="245742"/>
                </a:cubicBezTo>
                <a:cubicBezTo>
                  <a:pt x="681199" y="247239"/>
                  <a:pt x="681199" y="247239"/>
                  <a:pt x="682761" y="248649"/>
                </a:cubicBezTo>
                <a:cubicBezTo>
                  <a:pt x="704487" y="252065"/>
                  <a:pt x="732606" y="256402"/>
                  <a:pt x="752092" y="245076"/>
                </a:cubicBezTo>
                <a:cubicBezTo>
                  <a:pt x="754252" y="243599"/>
                  <a:pt x="756372" y="242073"/>
                  <a:pt x="758433" y="240485"/>
                </a:cubicBezTo>
                <a:cubicBezTo>
                  <a:pt x="760867" y="238784"/>
                  <a:pt x="760867" y="238784"/>
                  <a:pt x="763991" y="238784"/>
                </a:cubicBezTo>
                <a:cubicBezTo>
                  <a:pt x="764647" y="237296"/>
                  <a:pt x="764647" y="237296"/>
                  <a:pt x="765315" y="235778"/>
                </a:cubicBezTo>
                <a:cubicBezTo>
                  <a:pt x="767151" y="231659"/>
                  <a:pt x="769030" y="227557"/>
                  <a:pt x="770923" y="223459"/>
                </a:cubicBezTo>
                <a:cubicBezTo>
                  <a:pt x="771608" y="221966"/>
                  <a:pt x="772292" y="220472"/>
                  <a:pt x="772998" y="218934"/>
                </a:cubicBezTo>
                <a:cubicBezTo>
                  <a:pt x="774429" y="215885"/>
                  <a:pt x="775968" y="212878"/>
                  <a:pt x="777562" y="209895"/>
                </a:cubicBezTo>
                <a:cubicBezTo>
                  <a:pt x="787607" y="185732"/>
                  <a:pt x="788559" y="149501"/>
                  <a:pt x="781175" y="124637"/>
                </a:cubicBezTo>
                <a:cubicBezTo>
                  <a:pt x="780144" y="124637"/>
                  <a:pt x="779113" y="124637"/>
                  <a:pt x="778051" y="124637"/>
                </a:cubicBezTo>
                <a:cubicBezTo>
                  <a:pt x="768501" y="110080"/>
                  <a:pt x="762898" y="96653"/>
                  <a:pt x="767116" y="79542"/>
                </a:cubicBezTo>
                <a:cubicBezTo>
                  <a:pt x="772286" y="69057"/>
                  <a:pt x="781456" y="58252"/>
                  <a:pt x="793379" y="54000"/>
                </a:cubicBezTo>
                <a:cubicBezTo>
                  <a:pt x="808369" y="49250"/>
                  <a:pt x="826058" y="49579"/>
                  <a:pt x="840688" y="55503"/>
                </a:cubicBezTo>
                <a:cubicBezTo>
                  <a:pt x="845183" y="57759"/>
                  <a:pt x="848037" y="60575"/>
                  <a:pt x="851470" y="64040"/>
                </a:cubicBezTo>
                <a:cubicBezTo>
                  <a:pt x="852721" y="65272"/>
                  <a:pt x="852721" y="65272"/>
                  <a:pt x="853997" y="66529"/>
                </a:cubicBezTo>
                <a:cubicBezTo>
                  <a:pt x="858396" y="71505"/>
                  <a:pt x="860490" y="76640"/>
                  <a:pt x="861488" y="82057"/>
                </a:cubicBezTo>
                <a:lnTo>
                  <a:pt x="861937" y="90492"/>
                </a:lnTo>
                <a:lnTo>
                  <a:pt x="863826" y="100715"/>
                </a:lnTo>
                <a:cubicBezTo>
                  <a:pt x="862141" y="107853"/>
                  <a:pt x="859866" y="114857"/>
                  <a:pt x="857577" y="121853"/>
                </a:cubicBezTo>
                <a:cubicBezTo>
                  <a:pt x="857062" y="121853"/>
                  <a:pt x="856547" y="121853"/>
                  <a:pt x="856015" y="121853"/>
                </a:cubicBezTo>
                <a:cubicBezTo>
                  <a:pt x="855731" y="120401"/>
                  <a:pt x="855731" y="120401"/>
                  <a:pt x="855442" y="118919"/>
                </a:cubicBezTo>
                <a:lnTo>
                  <a:pt x="855417" y="118798"/>
                </a:lnTo>
                <a:lnTo>
                  <a:pt x="856157" y="124637"/>
                </a:lnTo>
                <a:lnTo>
                  <a:pt x="850623" y="134701"/>
                </a:lnTo>
                <a:lnTo>
                  <a:pt x="851325" y="135968"/>
                </a:lnTo>
                <a:cubicBezTo>
                  <a:pt x="850851" y="137246"/>
                  <a:pt x="850376" y="138525"/>
                  <a:pt x="849886" y="139843"/>
                </a:cubicBezTo>
                <a:cubicBezTo>
                  <a:pt x="848171" y="144505"/>
                  <a:pt x="847798" y="148002"/>
                  <a:pt x="847786" y="152889"/>
                </a:cubicBezTo>
                <a:cubicBezTo>
                  <a:pt x="847779" y="154500"/>
                  <a:pt x="847773" y="156109"/>
                  <a:pt x="847767" y="157768"/>
                </a:cubicBezTo>
                <a:cubicBezTo>
                  <a:pt x="847782" y="159468"/>
                  <a:pt x="847796" y="161167"/>
                  <a:pt x="847810" y="162919"/>
                </a:cubicBezTo>
                <a:cubicBezTo>
                  <a:pt x="847821" y="165546"/>
                  <a:pt x="847821" y="165546"/>
                  <a:pt x="847832" y="168227"/>
                </a:cubicBezTo>
                <a:cubicBezTo>
                  <a:pt x="847980" y="181934"/>
                  <a:pt x="849003" y="195419"/>
                  <a:pt x="850903" y="209013"/>
                </a:cubicBezTo>
                <a:lnTo>
                  <a:pt x="852880" y="224692"/>
                </a:lnTo>
                <a:lnTo>
                  <a:pt x="854595" y="224692"/>
                </a:lnTo>
                <a:cubicBezTo>
                  <a:pt x="855086" y="225542"/>
                  <a:pt x="855577" y="226392"/>
                  <a:pt x="856083" y="227268"/>
                </a:cubicBezTo>
                <a:cubicBezTo>
                  <a:pt x="862358" y="237839"/>
                  <a:pt x="866924" y="242785"/>
                  <a:pt x="879588" y="247239"/>
                </a:cubicBezTo>
                <a:cubicBezTo>
                  <a:pt x="881642" y="248025"/>
                  <a:pt x="883692" y="248817"/>
                  <a:pt x="885739" y="249618"/>
                </a:cubicBezTo>
                <a:cubicBezTo>
                  <a:pt x="887318" y="250227"/>
                  <a:pt x="888897" y="250838"/>
                  <a:pt x="890523" y="251467"/>
                </a:cubicBezTo>
                <a:cubicBezTo>
                  <a:pt x="890523" y="252397"/>
                  <a:pt x="890523" y="253327"/>
                  <a:pt x="890523" y="254285"/>
                </a:cubicBezTo>
                <a:cubicBezTo>
                  <a:pt x="900347" y="257061"/>
                  <a:pt x="910127" y="259425"/>
                  <a:pt x="920203" y="261332"/>
                </a:cubicBezTo>
                <a:cubicBezTo>
                  <a:pt x="920203" y="261796"/>
                  <a:pt x="920203" y="262262"/>
                  <a:pt x="920203" y="262741"/>
                </a:cubicBezTo>
                <a:cubicBezTo>
                  <a:pt x="917111" y="262741"/>
                  <a:pt x="914018" y="262741"/>
                  <a:pt x="910831" y="262741"/>
                </a:cubicBezTo>
                <a:lnTo>
                  <a:pt x="910831" y="262864"/>
                </a:lnTo>
                <a:lnTo>
                  <a:pt x="927993" y="264177"/>
                </a:lnTo>
                <a:lnTo>
                  <a:pt x="939273" y="265285"/>
                </a:lnTo>
                <a:lnTo>
                  <a:pt x="940456" y="265191"/>
                </a:lnTo>
                <a:cubicBezTo>
                  <a:pt x="962552" y="263054"/>
                  <a:pt x="974979" y="255295"/>
                  <a:pt x="991622" y="242329"/>
                </a:cubicBezTo>
                <a:lnTo>
                  <a:pt x="1000803" y="236505"/>
                </a:lnTo>
                <a:lnTo>
                  <a:pt x="999806" y="236055"/>
                </a:lnTo>
                <a:cubicBezTo>
                  <a:pt x="1000902" y="234997"/>
                  <a:pt x="1001997" y="233941"/>
                  <a:pt x="1003126" y="232851"/>
                </a:cubicBezTo>
                <a:cubicBezTo>
                  <a:pt x="1012364" y="223880"/>
                  <a:pt x="1021184" y="214752"/>
                  <a:pt x="1029487" y="205052"/>
                </a:cubicBezTo>
                <a:lnTo>
                  <a:pt x="1029872" y="206442"/>
                </a:lnTo>
                <a:lnTo>
                  <a:pt x="1031614" y="203719"/>
                </a:lnTo>
                <a:cubicBezTo>
                  <a:pt x="1033221" y="199204"/>
                  <a:pt x="1035713" y="196017"/>
                  <a:pt x="1038924" y="192280"/>
                </a:cubicBezTo>
                <a:cubicBezTo>
                  <a:pt x="1039956" y="191815"/>
                  <a:pt x="1040987" y="191349"/>
                  <a:pt x="1042049" y="190870"/>
                </a:cubicBezTo>
                <a:cubicBezTo>
                  <a:pt x="1043161" y="188473"/>
                  <a:pt x="1043161" y="188473"/>
                  <a:pt x="1044294" y="186026"/>
                </a:cubicBezTo>
                <a:cubicBezTo>
                  <a:pt x="1046735" y="181006"/>
                  <a:pt x="1046735" y="181006"/>
                  <a:pt x="1051422" y="178188"/>
                </a:cubicBezTo>
                <a:cubicBezTo>
                  <a:pt x="1052553" y="175286"/>
                  <a:pt x="1052553" y="175286"/>
                  <a:pt x="1052984" y="172551"/>
                </a:cubicBezTo>
                <a:cubicBezTo>
                  <a:pt x="1054014" y="172551"/>
                  <a:pt x="1055046" y="172551"/>
                  <a:pt x="1056108" y="172551"/>
                </a:cubicBezTo>
                <a:cubicBezTo>
                  <a:pt x="1057139" y="169295"/>
                  <a:pt x="1058170" y="166040"/>
                  <a:pt x="1059232" y="162686"/>
                </a:cubicBezTo>
                <a:cubicBezTo>
                  <a:pt x="1060263" y="162686"/>
                  <a:pt x="1061295" y="162686"/>
                  <a:pt x="1062357" y="162686"/>
                </a:cubicBezTo>
                <a:cubicBezTo>
                  <a:pt x="1062755" y="161484"/>
                  <a:pt x="1062755" y="161484"/>
                  <a:pt x="1063162" y="160258"/>
                </a:cubicBezTo>
                <a:cubicBezTo>
                  <a:pt x="1065716" y="152917"/>
                  <a:pt x="1068813" y="146686"/>
                  <a:pt x="1073292" y="140138"/>
                </a:cubicBezTo>
                <a:cubicBezTo>
                  <a:pt x="1074322" y="140138"/>
                  <a:pt x="1075353" y="140138"/>
                  <a:pt x="1076415" y="140138"/>
                </a:cubicBezTo>
                <a:cubicBezTo>
                  <a:pt x="1079808" y="132748"/>
                  <a:pt x="1082509" y="125160"/>
                  <a:pt x="1085294" y="117569"/>
                </a:cubicBezTo>
                <a:cubicBezTo>
                  <a:pt x="1085972" y="116181"/>
                  <a:pt x="1086651" y="114793"/>
                  <a:pt x="1087350" y="113363"/>
                </a:cubicBezTo>
                <a:cubicBezTo>
                  <a:pt x="1089671" y="112666"/>
                  <a:pt x="1089671" y="112666"/>
                  <a:pt x="1092037" y="111954"/>
                </a:cubicBezTo>
                <a:cubicBezTo>
                  <a:pt x="1092230" y="110879"/>
                  <a:pt x="1092423" y="109803"/>
                  <a:pt x="1092623" y="108695"/>
                </a:cubicBezTo>
                <a:cubicBezTo>
                  <a:pt x="1093599" y="104908"/>
                  <a:pt x="1093599" y="104908"/>
                  <a:pt x="1096723" y="100680"/>
                </a:cubicBezTo>
                <a:cubicBezTo>
                  <a:pt x="1097207" y="99140"/>
                  <a:pt x="1097689" y="97599"/>
                  <a:pt x="1098188" y="96013"/>
                </a:cubicBezTo>
                <a:cubicBezTo>
                  <a:pt x="1099847" y="90815"/>
                  <a:pt x="1099847" y="90815"/>
                  <a:pt x="1102288" y="87029"/>
                </a:cubicBezTo>
                <a:cubicBezTo>
                  <a:pt x="1106061" y="79186"/>
                  <a:pt x="1107564" y="69424"/>
                  <a:pt x="1104534" y="61222"/>
                </a:cubicBezTo>
                <a:cubicBezTo>
                  <a:pt x="1104409" y="59341"/>
                  <a:pt x="1104366" y="57454"/>
                  <a:pt x="1104381" y="55569"/>
                </a:cubicBezTo>
                <a:cubicBezTo>
                  <a:pt x="1104386" y="54501"/>
                  <a:pt x="1104391" y="53434"/>
                  <a:pt x="1104397" y="52335"/>
                </a:cubicBezTo>
                <a:cubicBezTo>
                  <a:pt x="1104410" y="51228"/>
                  <a:pt x="1104423" y="50120"/>
                  <a:pt x="1104436" y="48979"/>
                </a:cubicBezTo>
                <a:cubicBezTo>
                  <a:pt x="1104443" y="47856"/>
                  <a:pt x="1104451" y="46733"/>
                  <a:pt x="1104457" y="45575"/>
                </a:cubicBezTo>
                <a:cubicBezTo>
                  <a:pt x="1104476" y="42805"/>
                  <a:pt x="1104504" y="40035"/>
                  <a:pt x="1104534" y="37265"/>
                </a:cubicBezTo>
                <a:cubicBezTo>
                  <a:pt x="1105565" y="37265"/>
                  <a:pt x="1106596" y="37265"/>
                  <a:pt x="1107658" y="37265"/>
                </a:cubicBezTo>
                <a:cubicBezTo>
                  <a:pt x="1107561" y="34562"/>
                  <a:pt x="1107561" y="34562"/>
                  <a:pt x="1107463" y="31805"/>
                </a:cubicBezTo>
                <a:cubicBezTo>
                  <a:pt x="1107353" y="28733"/>
                  <a:pt x="1107353" y="28733"/>
                  <a:pt x="1107658" y="25991"/>
                </a:cubicBezTo>
                <a:cubicBezTo>
                  <a:pt x="1108689" y="25062"/>
                  <a:pt x="1109720" y="24131"/>
                  <a:pt x="1110782" y="23173"/>
                </a:cubicBezTo>
                <a:cubicBezTo>
                  <a:pt x="1111104" y="22156"/>
                  <a:pt x="1111427" y="21138"/>
                  <a:pt x="1111759" y="20091"/>
                </a:cubicBezTo>
                <a:cubicBezTo>
                  <a:pt x="1116393" y="11539"/>
                  <a:pt x="1124927" y="6390"/>
                  <a:pt x="1134507" y="2828"/>
                </a:cubicBezTo>
                <a:cubicBezTo>
                  <a:pt x="1141389" y="825"/>
                  <a:pt x="1148262" y="-204"/>
                  <a:pt x="1155019" y="35"/>
                </a:cubicBezTo>
                <a:close/>
              </a:path>
            </a:pathLst>
          </a:custGeom>
          <a:solidFill>
            <a:schemeClr val="accent3"/>
          </a:solidFill>
          <a:ln w="2232" cap="flat">
            <a:noFill/>
            <a:prstDash val="solid"/>
            <a:miter/>
          </a:ln>
          <a:effectLst>
            <a:innerShdw blurRad="63500" dist="190500" dir="8100000">
              <a:schemeClr val="accent3">
                <a:lumMod val="75000"/>
                <a:alpha val="50000"/>
              </a:schemeClr>
            </a:innerShdw>
          </a:effectLst>
        </p:spPr>
        <p:txBody>
          <a:bodyPr wrap="squar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50" name="Oval 449">
            <a:extLst>
              <a:ext uri="{FF2B5EF4-FFF2-40B4-BE49-F238E27FC236}">
                <a16:creationId xmlns:a16="http://schemas.microsoft.com/office/drawing/2014/main" id="{1EC0A648-A701-F395-AC1B-F29DA8966A98}"/>
              </a:ext>
            </a:extLst>
          </p:cNvPr>
          <p:cNvSpPr/>
          <p:nvPr/>
        </p:nvSpPr>
        <p:spPr>
          <a:xfrm>
            <a:off x="6077643" y="3534939"/>
            <a:ext cx="117120" cy="117120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51" name="Oval 450">
            <a:extLst>
              <a:ext uri="{FF2B5EF4-FFF2-40B4-BE49-F238E27FC236}">
                <a16:creationId xmlns:a16="http://schemas.microsoft.com/office/drawing/2014/main" id="{63C45833-148F-5BD0-5B56-A3BF2255A15B}"/>
              </a:ext>
            </a:extLst>
          </p:cNvPr>
          <p:cNvSpPr/>
          <p:nvPr/>
        </p:nvSpPr>
        <p:spPr>
          <a:xfrm>
            <a:off x="6233990" y="3637489"/>
            <a:ext cx="117120" cy="117120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52" name="Oval 451">
            <a:extLst>
              <a:ext uri="{FF2B5EF4-FFF2-40B4-BE49-F238E27FC236}">
                <a16:creationId xmlns:a16="http://schemas.microsoft.com/office/drawing/2014/main" id="{54C13EF3-BD30-6D32-B285-F1C9D51AE986}"/>
              </a:ext>
            </a:extLst>
          </p:cNvPr>
          <p:cNvSpPr/>
          <p:nvPr/>
        </p:nvSpPr>
        <p:spPr>
          <a:xfrm>
            <a:off x="6120513" y="3828296"/>
            <a:ext cx="91681" cy="91680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53" name="Oval 452">
            <a:extLst>
              <a:ext uri="{FF2B5EF4-FFF2-40B4-BE49-F238E27FC236}">
                <a16:creationId xmlns:a16="http://schemas.microsoft.com/office/drawing/2014/main" id="{CED61DEB-DA34-94DC-D257-4337C0AF93AB}"/>
              </a:ext>
            </a:extLst>
          </p:cNvPr>
          <p:cNvSpPr/>
          <p:nvPr/>
        </p:nvSpPr>
        <p:spPr>
          <a:xfrm>
            <a:off x="6365118" y="3807282"/>
            <a:ext cx="117120" cy="117120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54" name="Oval 453">
            <a:extLst>
              <a:ext uri="{FF2B5EF4-FFF2-40B4-BE49-F238E27FC236}">
                <a16:creationId xmlns:a16="http://schemas.microsoft.com/office/drawing/2014/main" id="{4B827D0D-2A6F-0AC4-D005-13C970550A5C}"/>
              </a:ext>
            </a:extLst>
          </p:cNvPr>
          <p:cNvSpPr/>
          <p:nvPr/>
        </p:nvSpPr>
        <p:spPr>
          <a:xfrm>
            <a:off x="6402942" y="3563518"/>
            <a:ext cx="79294" cy="79294"/>
          </a:xfrm>
          <a:prstGeom prst="ellipse">
            <a:avLst/>
          </a:prstGeom>
          <a:solidFill>
            <a:schemeClr val="accent3">
              <a:lumMod val="75000"/>
              <a:alpha val="38000"/>
            </a:schemeClr>
          </a:solidFill>
          <a:ln>
            <a:noFill/>
          </a:ln>
          <a:effectLst>
            <a:outerShdw blurRad="50800" dist="38100" dir="8100000" sx="129000" sy="129000" algn="tr" rotWithShape="0">
              <a:schemeClr val="accent3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455" name="Straight Arrow Connector 454">
            <a:extLst>
              <a:ext uri="{FF2B5EF4-FFF2-40B4-BE49-F238E27FC236}">
                <a16:creationId xmlns:a16="http://schemas.microsoft.com/office/drawing/2014/main" id="{98CDF11D-049B-F854-4287-D8E0FA440EA2}"/>
              </a:ext>
            </a:extLst>
          </p:cNvPr>
          <p:cNvCxnSpPr>
            <a:cxnSpLocks/>
          </p:cNvCxnSpPr>
          <p:nvPr/>
        </p:nvCxnSpPr>
        <p:spPr>
          <a:xfrm flipV="1">
            <a:off x="2467051" y="3091062"/>
            <a:ext cx="14866" cy="1844261"/>
          </a:xfrm>
          <a:prstGeom prst="straightConnector1">
            <a:avLst/>
          </a:prstGeom>
          <a:ln>
            <a:solidFill>
              <a:schemeClr val="tx1">
                <a:lumMod val="85000"/>
                <a:lumOff val="15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56" name="Straight Arrow Connector 455">
            <a:extLst>
              <a:ext uri="{FF2B5EF4-FFF2-40B4-BE49-F238E27FC236}">
                <a16:creationId xmlns:a16="http://schemas.microsoft.com/office/drawing/2014/main" id="{8362ACBA-D1DC-4B77-31C9-A759D738E8C1}"/>
              </a:ext>
            </a:extLst>
          </p:cNvPr>
          <p:cNvCxnSpPr>
            <a:cxnSpLocks/>
          </p:cNvCxnSpPr>
          <p:nvPr/>
        </p:nvCxnSpPr>
        <p:spPr>
          <a:xfrm flipV="1">
            <a:off x="10062323" y="2512813"/>
            <a:ext cx="16023" cy="1987750"/>
          </a:xfrm>
          <a:prstGeom prst="straightConnector1">
            <a:avLst/>
          </a:prstGeom>
          <a:ln>
            <a:solidFill>
              <a:schemeClr val="tx1">
                <a:lumMod val="85000"/>
                <a:lumOff val="15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57" name="Straight Arrow Connector 456">
            <a:extLst>
              <a:ext uri="{FF2B5EF4-FFF2-40B4-BE49-F238E27FC236}">
                <a16:creationId xmlns:a16="http://schemas.microsoft.com/office/drawing/2014/main" id="{2D73F838-8498-AE84-A393-2FE0B706543C}"/>
              </a:ext>
            </a:extLst>
          </p:cNvPr>
          <p:cNvCxnSpPr>
            <a:cxnSpLocks/>
          </p:cNvCxnSpPr>
          <p:nvPr/>
        </p:nvCxnSpPr>
        <p:spPr>
          <a:xfrm flipV="1">
            <a:off x="5520239" y="2809875"/>
            <a:ext cx="0" cy="1421476"/>
          </a:xfrm>
          <a:prstGeom prst="straightConnector1">
            <a:avLst/>
          </a:prstGeom>
          <a:ln>
            <a:solidFill>
              <a:schemeClr val="tx1">
                <a:lumMod val="85000"/>
                <a:lumOff val="15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58" name="Straight Arrow Connector 457">
            <a:extLst>
              <a:ext uri="{FF2B5EF4-FFF2-40B4-BE49-F238E27FC236}">
                <a16:creationId xmlns:a16="http://schemas.microsoft.com/office/drawing/2014/main" id="{71DCFCCA-B751-25DE-2FB8-0A0D8DB7DA07}"/>
              </a:ext>
            </a:extLst>
          </p:cNvPr>
          <p:cNvCxnSpPr>
            <a:cxnSpLocks/>
          </p:cNvCxnSpPr>
          <p:nvPr/>
        </p:nvCxnSpPr>
        <p:spPr>
          <a:xfrm flipH="1" flipV="1">
            <a:off x="7135522" y="1985660"/>
            <a:ext cx="17795" cy="2657083"/>
          </a:xfrm>
          <a:prstGeom prst="straightConnector1">
            <a:avLst/>
          </a:prstGeom>
          <a:ln>
            <a:solidFill>
              <a:schemeClr val="tx1">
                <a:lumMod val="85000"/>
                <a:lumOff val="15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59" name="TextBox 458">
            <a:extLst>
              <a:ext uri="{FF2B5EF4-FFF2-40B4-BE49-F238E27FC236}">
                <a16:creationId xmlns:a16="http://schemas.microsoft.com/office/drawing/2014/main" id="{22D54774-2239-7D46-FAD1-344D694E2C08}"/>
              </a:ext>
            </a:extLst>
          </p:cNvPr>
          <p:cNvSpPr txBox="1"/>
          <p:nvPr/>
        </p:nvSpPr>
        <p:spPr>
          <a:xfrm>
            <a:off x="1611363" y="2376468"/>
            <a:ext cx="1767459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D19 sequencing</a:t>
            </a: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60" name="TextBox 459">
            <a:extLst>
              <a:ext uri="{FF2B5EF4-FFF2-40B4-BE49-F238E27FC236}">
                <a16:creationId xmlns:a16="http://schemas.microsoft.com/office/drawing/2014/main" id="{3718B7A1-47B8-6BB6-4424-09C1B1764237}"/>
              </a:ext>
            </a:extLst>
          </p:cNvPr>
          <p:cNvSpPr txBox="1"/>
          <p:nvPr/>
        </p:nvSpPr>
        <p:spPr>
          <a:xfrm>
            <a:off x="8842126" y="1838154"/>
            <a:ext cx="2476402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How to sequence BsAb and CAR-T?*</a:t>
            </a: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61" name="TextBox 460">
            <a:extLst>
              <a:ext uri="{FF2B5EF4-FFF2-40B4-BE49-F238E27FC236}">
                <a16:creationId xmlns:a16="http://schemas.microsoft.com/office/drawing/2014/main" id="{7B72FDA3-5128-749E-4688-475E6C38FE1C}"/>
              </a:ext>
            </a:extLst>
          </p:cNvPr>
          <p:cNvSpPr txBox="1"/>
          <p:nvPr/>
        </p:nvSpPr>
        <p:spPr>
          <a:xfrm>
            <a:off x="2961882" y="1645194"/>
            <a:ext cx="2347809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Early CAR-T failure </a:t>
            </a: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462" name="Straight Arrow Connector 461">
            <a:extLst>
              <a:ext uri="{FF2B5EF4-FFF2-40B4-BE49-F238E27FC236}">
                <a16:creationId xmlns:a16="http://schemas.microsoft.com/office/drawing/2014/main" id="{F4BCFAA9-A65B-5E52-E44F-2A7B52461341}"/>
              </a:ext>
            </a:extLst>
          </p:cNvPr>
          <p:cNvCxnSpPr>
            <a:cxnSpLocks/>
          </p:cNvCxnSpPr>
          <p:nvPr/>
        </p:nvCxnSpPr>
        <p:spPr>
          <a:xfrm flipV="1">
            <a:off x="4057437" y="2105025"/>
            <a:ext cx="0" cy="2126326"/>
          </a:xfrm>
          <a:prstGeom prst="straightConnector1">
            <a:avLst/>
          </a:prstGeom>
          <a:ln>
            <a:solidFill>
              <a:schemeClr val="tx1">
                <a:lumMod val="85000"/>
                <a:lumOff val="15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63" name="TextBox 462">
            <a:extLst>
              <a:ext uri="{FF2B5EF4-FFF2-40B4-BE49-F238E27FC236}">
                <a16:creationId xmlns:a16="http://schemas.microsoft.com/office/drawing/2014/main" id="{0A059557-5796-14D0-BB98-7336772BAE87}"/>
              </a:ext>
            </a:extLst>
          </p:cNvPr>
          <p:cNvSpPr txBox="1"/>
          <p:nvPr/>
        </p:nvSpPr>
        <p:spPr>
          <a:xfrm>
            <a:off x="6002512" y="1574676"/>
            <a:ext cx="2347809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D20 loss</a:t>
            </a: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64" name="TextBox 463">
            <a:extLst>
              <a:ext uri="{FF2B5EF4-FFF2-40B4-BE49-F238E27FC236}">
                <a16:creationId xmlns:a16="http://schemas.microsoft.com/office/drawing/2014/main" id="{4694FE59-19B3-72E2-249C-7E805EC13133}"/>
              </a:ext>
            </a:extLst>
          </p:cNvPr>
          <p:cNvSpPr txBox="1"/>
          <p:nvPr/>
        </p:nvSpPr>
        <p:spPr>
          <a:xfrm>
            <a:off x="4930222" y="2077711"/>
            <a:ext cx="1212003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-cell fitness?</a:t>
            </a: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465" name="Straight Arrow Connector 464">
            <a:extLst>
              <a:ext uri="{FF2B5EF4-FFF2-40B4-BE49-F238E27FC236}">
                <a16:creationId xmlns:a16="http://schemas.microsoft.com/office/drawing/2014/main" id="{F971D730-EB43-4188-9126-B2CD29129801}"/>
              </a:ext>
            </a:extLst>
          </p:cNvPr>
          <p:cNvCxnSpPr>
            <a:cxnSpLocks/>
          </p:cNvCxnSpPr>
          <p:nvPr/>
        </p:nvCxnSpPr>
        <p:spPr>
          <a:xfrm flipV="1">
            <a:off x="8536315" y="4186238"/>
            <a:ext cx="0" cy="257175"/>
          </a:xfrm>
          <a:prstGeom prst="straightConnector1">
            <a:avLst/>
          </a:prstGeom>
          <a:ln>
            <a:solidFill>
              <a:schemeClr val="tx1">
                <a:lumMod val="85000"/>
                <a:lumOff val="15000"/>
              </a:schemeClr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66" name="Straight Arrow Connector 465">
            <a:extLst>
              <a:ext uri="{FF2B5EF4-FFF2-40B4-BE49-F238E27FC236}">
                <a16:creationId xmlns:a16="http://schemas.microsoft.com/office/drawing/2014/main" id="{E0863B99-264B-3D97-01A3-97CE743AD8A5}"/>
              </a:ext>
            </a:extLst>
          </p:cNvPr>
          <p:cNvCxnSpPr>
            <a:cxnSpLocks/>
          </p:cNvCxnSpPr>
          <p:nvPr/>
        </p:nvCxnSpPr>
        <p:spPr>
          <a:xfrm>
            <a:off x="8536833" y="4190475"/>
            <a:ext cx="1521570" cy="1"/>
          </a:xfrm>
          <a:prstGeom prst="straightConnector1">
            <a:avLst/>
          </a:prstGeom>
          <a:ln>
            <a:solidFill>
              <a:schemeClr val="tx1">
                <a:lumMod val="85000"/>
                <a:lumOff val="15000"/>
              </a:schemeClr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3">
            <a:extLst>
              <a:ext uri="{FF2B5EF4-FFF2-40B4-BE49-F238E27FC236}">
                <a16:creationId xmlns:a16="http://schemas.microsoft.com/office/drawing/2014/main" id="{0B3F32D5-FE82-C82A-54A4-EA638FEEC1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651" y="6356350"/>
            <a:ext cx="383694" cy="365125"/>
          </a:xfrm>
        </p:spPr>
        <p:txBody>
          <a:bodyPr vert="horz" lIns="0" tIns="0" rIns="0" bIns="0"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306B0CF-28DA-4AF7-AD0B-CB9D5901F647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82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2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128977"/>
      </p:ext>
    </p:extLst>
  </p:cSld>
  <p:clrMapOvr>
    <a:masterClrMapping/>
  </p:clrMapOvr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ADAFBB7-5B12-0305-D0F8-8A2A33286BC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25136B53-20C7-D020-9B66-AC0ED1EFD2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0647" y="311858"/>
            <a:ext cx="9789459" cy="632402"/>
          </a:xfrm>
        </p:spPr>
        <p:txBody>
          <a:bodyPr/>
          <a:lstStyle/>
          <a:p>
            <a:r>
              <a:rPr lang="en-GB" sz="3200">
                <a:latin typeface="+mn-lt"/>
              </a:rPr>
              <a:t>Epcoritamab-Lenalidomide (</a:t>
            </a:r>
            <a:r>
              <a:rPr lang="en-GB" sz="3200" b="1">
                <a:latin typeface="+mn-lt"/>
              </a:rPr>
              <a:t>EPCORE NHL-5</a:t>
            </a:r>
            <a:r>
              <a:rPr lang="en-GB" sz="3200">
                <a:latin typeface="+mn-lt"/>
              </a:rPr>
              <a:t>)</a:t>
            </a:r>
            <a:r>
              <a:rPr lang="en-GB" sz="3200" baseline="30000">
                <a:latin typeface="+mn-lt"/>
              </a:rPr>
              <a:t>1,</a:t>
            </a:r>
            <a:r>
              <a:rPr lang="en-GB" sz="3200">
                <a:latin typeface="+mn-lt"/>
              </a:rPr>
              <a:t>*</a:t>
            </a:r>
            <a:endParaRPr lang="en-GB" sz="3200" baseline="30000" dirty="0">
              <a:latin typeface="+mn-lt"/>
            </a:endParaRP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DC0F1E37-CA5D-2F56-6A55-ABABB7251EF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70645" y="5881287"/>
            <a:ext cx="10440000" cy="838663"/>
          </a:xfrm>
        </p:spPr>
        <p:txBody>
          <a:bodyPr/>
          <a:lstStyle/>
          <a:p>
            <a:r>
              <a:rPr lang="en-GB" dirty="0"/>
              <a:t>*For scientific discussion only, subject to regulatory approval.</a:t>
            </a:r>
          </a:p>
          <a:p>
            <a:r>
              <a:rPr lang="en-GB" dirty="0"/>
              <a:t>†Epcoritamab step-up dosing with 0.16 mg priming dose given SC on Day 1, Cycle 1, followed by 0.8 mg dose SC on Day 8, Cycle 1 and 48 mg SC (full dose) on Days 15 and 22, Cycle 1.</a:t>
            </a:r>
          </a:p>
          <a:p>
            <a:r>
              <a:rPr lang="en-GB" dirty="0"/>
              <a:t>‡Lenalidomide given at 25 mg on Days 1–21 of each cycle.</a:t>
            </a:r>
          </a:p>
          <a:p>
            <a:r>
              <a:rPr lang="en-GB" dirty="0" err="1"/>
              <a:t>BsAb</a:t>
            </a:r>
            <a:r>
              <a:rPr lang="en-GB" dirty="0"/>
              <a:t>, bispecific antibody; CR, complete response; DH/TH, double-hit/triple-hit; DLBCL, diffuse large B-cell lymphoma; ECOG PS, Eastern Cooperative Oncology Group performance status; FL3B, follicular lymphoma grade 3B; Len, lenalidomide; </a:t>
            </a:r>
            <a:r>
              <a:rPr lang="en-GB" dirty="0" err="1"/>
              <a:t>mAb</a:t>
            </a:r>
            <a:r>
              <a:rPr lang="en-GB" dirty="0"/>
              <a:t>, monoclonal antibody; NOS, not otherwise specified; ORR, overall response rate; PR, partial response; Q4W, every 4 weeks; QW, every week; R/R, relapsed/refractory; SC, subcutaneous.</a:t>
            </a:r>
            <a:br>
              <a:rPr lang="en-GB" dirty="0"/>
            </a:br>
            <a:r>
              <a:rPr lang="en-GB" b="1" dirty="0"/>
              <a:t>1. </a:t>
            </a:r>
            <a:r>
              <a:rPr lang="en-GB" dirty="0"/>
              <a:t>Avivi et al. ASH 2023; Oral presentation #438 </a:t>
            </a:r>
            <a:r>
              <a:rPr lang="en-GB" b="1" dirty="0"/>
              <a:t>2. </a:t>
            </a:r>
            <a:r>
              <a:rPr lang="en-GB" dirty="0"/>
              <a:t>Clinicaltrials.gov NCT05283720.</a:t>
            </a:r>
          </a:p>
        </p:txBody>
      </p:sp>
      <p:sp>
        <p:nvSpPr>
          <p:cNvPr id="11" name="object 48">
            <a:extLst>
              <a:ext uri="{FF2B5EF4-FFF2-40B4-BE49-F238E27FC236}">
                <a16:creationId xmlns:a16="http://schemas.microsoft.com/office/drawing/2014/main" id="{42B095BC-7211-A2DF-EBD3-3C9272BB9362}"/>
              </a:ext>
            </a:extLst>
          </p:cNvPr>
          <p:cNvSpPr txBox="1"/>
          <p:nvPr/>
        </p:nvSpPr>
        <p:spPr>
          <a:xfrm>
            <a:off x="469900" y="4126006"/>
            <a:ext cx="3543523" cy="1063112"/>
          </a:xfrm>
          <a:prstGeom prst="rect">
            <a:avLst/>
          </a:prstGeom>
          <a:ln w="12700">
            <a:solidFill>
              <a:schemeClr val="accent3"/>
            </a:solidFill>
          </a:ln>
        </p:spPr>
        <p:txBody>
          <a:bodyPr vert="horz" wrap="square" lIns="91440" tIns="45720" rIns="0" bIns="45720" rtlCol="0" anchor="t">
            <a:spAutoFit/>
          </a:bodyPr>
          <a:lstStyle>
            <a:defPPr>
              <a:defRPr lang="en-US"/>
            </a:defPPr>
            <a:lvl1pPr marL="183600" indent="-183600">
              <a:lnSpc>
                <a:spcPct val="90000"/>
              </a:lnSpc>
              <a:spcBef>
                <a:spcPts val="800"/>
              </a:spcBef>
              <a:spcAft>
                <a:spcPts val="800"/>
              </a:spcAft>
              <a:buFont typeface="Arial" panose="020B0604020202020204" pitchFamily="34" charset="0"/>
              <a:buChar char="•"/>
              <a:defRPr sz="1200" b="1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55600" indent="-173038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539750" indent="-18415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722313" indent="-182563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895350" indent="-173038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183600" marR="0" lvl="0" indent="-183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Calibri" panose="020F0502020204030204" pitchFamily="34" charset="0"/>
              </a:rPr>
              <a:t>CD20+ R/R DLBCL with ≥1 prior CD20 </a:t>
            </a:r>
            <a:r>
              <a:rPr kumimoji="0" lang="en-GB" sz="1400" b="0" i="0" u="none" strike="noStrike" kern="0" cap="none" spc="0" normalizeH="0" baseline="0" noProof="0" dirty="0" err="1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Calibri" panose="020F0502020204030204" pitchFamily="34" charset="0"/>
              </a:rPr>
              <a:t>mAb</a:t>
            </a: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Calibri" panose="020F0502020204030204" pitchFamily="34" charset="0"/>
              </a:rPr>
              <a:t>-containing systemic therapy, including DLBCL NOS, DH/TH DLBCL, FL3B</a:t>
            </a:r>
          </a:p>
          <a:p>
            <a:pPr marL="183600" marR="0" lvl="0" indent="-183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Calibri" panose="020F0502020204030204" pitchFamily="34" charset="0"/>
              </a:rPr>
              <a:t>ECOG PS 0–2</a:t>
            </a:r>
          </a:p>
        </p:txBody>
      </p:sp>
      <p:sp>
        <p:nvSpPr>
          <p:cNvPr id="12" name="object 46">
            <a:extLst>
              <a:ext uri="{FF2B5EF4-FFF2-40B4-BE49-F238E27FC236}">
                <a16:creationId xmlns:a16="http://schemas.microsoft.com/office/drawing/2014/main" id="{D7E8F446-689E-016C-975C-E7A181798AE8}"/>
              </a:ext>
            </a:extLst>
          </p:cNvPr>
          <p:cNvSpPr txBox="1"/>
          <p:nvPr/>
        </p:nvSpPr>
        <p:spPr>
          <a:xfrm>
            <a:off x="469900" y="3884472"/>
            <a:ext cx="3543523" cy="246888"/>
          </a:xfrm>
          <a:prstGeom prst="rect">
            <a:avLst/>
          </a:prstGeom>
          <a:solidFill>
            <a:schemeClr val="accent3"/>
          </a:solidFill>
          <a:ln w="12700" cap="flat" cmpd="sng" algn="ctr">
            <a:solidFill>
              <a:schemeClr val="accent3"/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>
            <a:defPPr>
              <a:defRPr lang="en-US"/>
            </a:defPPr>
            <a:lvl1pPr algn="ctr">
              <a:defRPr sz="14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tudy population</a:t>
            </a:r>
          </a:p>
        </p:txBody>
      </p:sp>
      <p:sp>
        <p:nvSpPr>
          <p:cNvPr id="15" name="object 7">
            <a:extLst>
              <a:ext uri="{FF2B5EF4-FFF2-40B4-BE49-F238E27FC236}">
                <a16:creationId xmlns:a16="http://schemas.microsoft.com/office/drawing/2014/main" id="{7D7FE8E2-2927-B350-2146-E62BCF2C0E77}"/>
              </a:ext>
            </a:extLst>
          </p:cNvPr>
          <p:cNvSpPr txBox="1"/>
          <p:nvPr/>
        </p:nvSpPr>
        <p:spPr>
          <a:xfrm>
            <a:off x="851095" y="1991310"/>
            <a:ext cx="3345208" cy="366956"/>
          </a:xfrm>
          <a:prstGeom prst="chevron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sv-SE"/>
            </a:defPPr>
            <a:lvl1pPr algn="ctr">
              <a:defRPr sz="14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reatment period</a:t>
            </a:r>
          </a:p>
        </p:txBody>
      </p:sp>
      <p:sp>
        <p:nvSpPr>
          <p:cNvPr id="18" name="object 44">
            <a:extLst>
              <a:ext uri="{FF2B5EF4-FFF2-40B4-BE49-F238E27FC236}">
                <a16:creationId xmlns:a16="http://schemas.microsoft.com/office/drawing/2014/main" id="{E3A9DD51-DD51-9021-569B-1C208F09703E}"/>
              </a:ext>
            </a:extLst>
          </p:cNvPr>
          <p:cNvSpPr txBox="1"/>
          <p:nvPr/>
        </p:nvSpPr>
        <p:spPr>
          <a:xfrm>
            <a:off x="851095" y="2423504"/>
            <a:ext cx="3162328" cy="106528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2700"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4CA1A6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Epcoritamab</a:t>
            </a: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QW</a:t>
            </a:r>
            <a:r>
              <a:rPr kumimoji="0" lang="en-GB" sz="1400" b="0" i="0" u="none" strike="noStrike" kern="1200" cap="none" spc="0" normalizeH="0" baseline="3000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†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for 3 cycles then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Q4W for 9 cycles</a:t>
            </a: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ABBFC9">
                    <a:lumMod val="7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Len</a:t>
            </a: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for 12 cycles</a:t>
            </a:r>
            <a:r>
              <a:rPr kumimoji="0" lang="en-GB" sz="1400" b="0" i="0" u="none" strike="noStrike" kern="1200" cap="none" spc="0" normalizeH="0" baseline="3000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‡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rm 1, N=35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9" name="object 7">
            <a:extLst>
              <a:ext uri="{FF2B5EF4-FFF2-40B4-BE49-F238E27FC236}">
                <a16:creationId xmlns:a16="http://schemas.microsoft.com/office/drawing/2014/main" id="{AD06494B-44DC-DD20-B91B-82FA3D6D0724}"/>
              </a:ext>
            </a:extLst>
          </p:cNvPr>
          <p:cNvSpPr txBox="1"/>
          <p:nvPr/>
        </p:nvSpPr>
        <p:spPr>
          <a:xfrm>
            <a:off x="4100779" y="1991310"/>
            <a:ext cx="1461879" cy="366956"/>
          </a:xfrm>
          <a:prstGeom prst="chevron">
            <a:avLst/>
          </a:prstGeom>
          <a:solidFill>
            <a:schemeClr val="bg2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rIns="0" rtlCol="0" anchor="ctr"/>
          <a:lstStyle>
            <a:defPPr>
              <a:defRPr lang="sv-SE"/>
            </a:defPPr>
            <a:lvl1pPr algn="ctr">
              <a:defRPr sz="14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Follow-up</a:t>
            </a:r>
          </a:p>
        </p:txBody>
      </p:sp>
      <p:sp>
        <p:nvSpPr>
          <p:cNvPr id="22" name="object 9">
            <a:extLst>
              <a:ext uri="{FF2B5EF4-FFF2-40B4-BE49-F238E27FC236}">
                <a16:creationId xmlns:a16="http://schemas.microsoft.com/office/drawing/2014/main" id="{0B91C338-48A8-79F8-BDC6-05F22B38E2BE}"/>
              </a:ext>
            </a:extLst>
          </p:cNvPr>
          <p:cNvSpPr/>
          <p:nvPr/>
        </p:nvSpPr>
        <p:spPr>
          <a:xfrm>
            <a:off x="9543780" y="2394280"/>
            <a:ext cx="152760" cy="142493"/>
          </a:xfrm>
          <a:custGeom>
            <a:avLst/>
            <a:gdLst/>
            <a:ahLst/>
            <a:cxnLst/>
            <a:rect l="l" t="t" r="r" b="b"/>
            <a:pathLst>
              <a:path w="142239" h="113030">
                <a:moveTo>
                  <a:pt x="141732" y="0"/>
                </a:moveTo>
                <a:lnTo>
                  <a:pt x="0" y="0"/>
                </a:lnTo>
                <a:lnTo>
                  <a:pt x="0" y="112775"/>
                </a:lnTo>
                <a:lnTo>
                  <a:pt x="141732" y="112775"/>
                </a:lnTo>
                <a:lnTo>
                  <a:pt x="141732" y="0"/>
                </a:lnTo>
                <a:close/>
              </a:path>
            </a:pathLst>
          </a:custGeom>
          <a:solidFill>
            <a:schemeClr val="accent3"/>
          </a:solidFill>
          <a:ln>
            <a:solidFill>
              <a:schemeClr val="accent3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C9CC5E39-C79C-C016-5CD0-E2C3639287C4}"/>
              </a:ext>
            </a:extLst>
          </p:cNvPr>
          <p:cNvSpPr txBox="1"/>
          <p:nvPr/>
        </p:nvSpPr>
        <p:spPr>
          <a:xfrm>
            <a:off x="9677842" y="2327027"/>
            <a:ext cx="367505" cy="276999"/>
          </a:xfrm>
          <a:prstGeom prst="rect">
            <a:avLst/>
          </a:prstGeom>
          <a:noFill/>
        </p:spPr>
        <p:txBody>
          <a:bodyPr wrap="square" lIns="72000" rIns="72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R</a:t>
            </a:r>
          </a:p>
        </p:txBody>
      </p:sp>
      <p:sp>
        <p:nvSpPr>
          <p:cNvPr id="33" name="object 9">
            <a:extLst>
              <a:ext uri="{FF2B5EF4-FFF2-40B4-BE49-F238E27FC236}">
                <a16:creationId xmlns:a16="http://schemas.microsoft.com/office/drawing/2014/main" id="{535BD500-8F29-AA69-DA95-B11F4C9AE567}"/>
              </a:ext>
            </a:extLst>
          </p:cNvPr>
          <p:cNvSpPr/>
          <p:nvPr/>
        </p:nvSpPr>
        <p:spPr>
          <a:xfrm>
            <a:off x="9543780" y="2132253"/>
            <a:ext cx="144000" cy="142493"/>
          </a:xfrm>
          <a:custGeom>
            <a:avLst/>
            <a:gdLst/>
            <a:ahLst/>
            <a:cxnLst/>
            <a:rect l="l" t="t" r="r" b="b"/>
            <a:pathLst>
              <a:path w="142239" h="113030">
                <a:moveTo>
                  <a:pt x="141732" y="0"/>
                </a:moveTo>
                <a:lnTo>
                  <a:pt x="0" y="0"/>
                </a:lnTo>
                <a:lnTo>
                  <a:pt x="0" y="112775"/>
                </a:lnTo>
                <a:lnTo>
                  <a:pt x="141732" y="112775"/>
                </a:lnTo>
                <a:lnTo>
                  <a:pt x="141732" y="0"/>
                </a:lnTo>
                <a:close/>
              </a:path>
            </a:pathLst>
          </a:custGeo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7C543C1F-B811-C414-CF1B-0DE6D4F41193}"/>
              </a:ext>
            </a:extLst>
          </p:cNvPr>
          <p:cNvSpPr txBox="1"/>
          <p:nvPr/>
        </p:nvSpPr>
        <p:spPr>
          <a:xfrm>
            <a:off x="9677842" y="2065000"/>
            <a:ext cx="367505" cy="276999"/>
          </a:xfrm>
          <a:prstGeom prst="rect">
            <a:avLst/>
          </a:prstGeom>
          <a:noFill/>
        </p:spPr>
        <p:txBody>
          <a:bodyPr wrap="square" lIns="72000" rIns="72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1A605FD9-0B83-7AF0-00B4-A79DFF31A69E}"/>
              </a:ext>
            </a:extLst>
          </p:cNvPr>
          <p:cNvSpPr txBox="1"/>
          <p:nvPr/>
        </p:nvSpPr>
        <p:spPr>
          <a:xfrm>
            <a:off x="7753613" y="1604866"/>
            <a:ext cx="1790167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esponse rate</a:t>
            </a:r>
          </a:p>
        </p:txBody>
      </p:sp>
      <p:graphicFrame>
        <p:nvGraphicFramePr>
          <p:cNvPr id="36" name="Chart 35">
            <a:extLst>
              <a:ext uri="{FF2B5EF4-FFF2-40B4-BE49-F238E27FC236}">
                <a16:creationId xmlns:a16="http://schemas.microsoft.com/office/drawing/2014/main" id="{EDC11F37-9751-F69E-06A6-59480D858D78}"/>
              </a:ext>
            </a:extLst>
          </p:cNvPr>
          <p:cNvGraphicFramePr/>
          <p:nvPr/>
        </p:nvGraphicFramePr>
        <p:xfrm>
          <a:off x="6729517" y="2326444"/>
          <a:ext cx="3296289" cy="31591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7" name="TextBox 36">
            <a:extLst>
              <a:ext uri="{FF2B5EF4-FFF2-40B4-BE49-F238E27FC236}">
                <a16:creationId xmlns:a16="http://schemas.microsoft.com/office/drawing/2014/main" id="{ECFACB4A-A0EA-0E59-8965-5E1D7F9533F9}"/>
              </a:ext>
            </a:extLst>
          </p:cNvPr>
          <p:cNvSpPr txBox="1"/>
          <p:nvPr/>
        </p:nvSpPr>
        <p:spPr>
          <a:xfrm>
            <a:off x="8467300" y="4006886"/>
            <a:ext cx="555300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53%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EEE64975-1250-0837-E2DF-E657F5011968}"/>
              </a:ext>
            </a:extLst>
          </p:cNvPr>
          <p:cNvSpPr txBox="1"/>
          <p:nvPr/>
        </p:nvSpPr>
        <p:spPr>
          <a:xfrm>
            <a:off x="8416081" y="2696318"/>
            <a:ext cx="65773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ORR</a:t>
            </a:r>
            <a:b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72%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BCF0C88C-10CB-F353-D462-EC5F6D9CE547}"/>
              </a:ext>
            </a:extLst>
          </p:cNvPr>
          <p:cNvSpPr/>
          <p:nvPr/>
        </p:nvSpPr>
        <p:spPr>
          <a:xfrm>
            <a:off x="469900" y="2423504"/>
            <a:ext cx="314632" cy="106528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hase 2</a:t>
            </a:r>
            <a:r>
              <a:rPr kumimoji="0" lang="en-GB" sz="1400" b="0" i="0" u="none" strike="noStrike" kern="1200" cap="none" spc="0" normalizeH="0" baseline="3000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</a:t>
            </a:r>
            <a:endParaRPr kumimoji="0" lang="en-GB" sz="1400" b="0" i="0" u="none" strike="noStrike" kern="1200" cap="none" spc="0" normalizeH="0" baseline="30000" noProof="0" dirty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" name="Slide Number Placeholder 3">
            <a:extLst>
              <a:ext uri="{FF2B5EF4-FFF2-40B4-BE49-F238E27FC236}">
                <a16:creationId xmlns:a16="http://schemas.microsoft.com/office/drawing/2014/main" id="{E5B553E0-1CF8-AD80-9843-6C1EBB0EE5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651" y="6356350"/>
            <a:ext cx="383694" cy="365125"/>
          </a:xfrm>
        </p:spPr>
        <p:txBody>
          <a:bodyPr vert="horz" lIns="0" tIns="0" rIns="0" bIns="0"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306B0CF-28DA-4AF7-AD0B-CB9D5901F647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82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3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66102687"/>
      </p:ext>
    </p:extLst>
  </p:cSld>
  <p:clrMapOvr>
    <a:masterClrMapping/>
  </p:clrMapOvr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3C07B75-F25D-3D8B-99C7-7E6512E9EA2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-form: Shape 4">
            <a:extLst>
              <a:ext uri="{FF2B5EF4-FFF2-40B4-BE49-F238E27FC236}">
                <a16:creationId xmlns:a16="http://schemas.microsoft.com/office/drawing/2014/main" id="{B96CEEBF-AF73-F970-F1B3-4150811350CA}"/>
              </a:ext>
            </a:extLst>
          </p:cNvPr>
          <p:cNvSpPr/>
          <p:nvPr/>
        </p:nvSpPr>
        <p:spPr>
          <a:xfrm>
            <a:off x="6717287" y="2427836"/>
            <a:ext cx="3487864" cy="1760483"/>
          </a:xfrm>
          <a:custGeom>
            <a:avLst/>
            <a:gdLst>
              <a:gd name="csX0" fmla="*/ 0 w 10093234"/>
              <a:gd name="csY0" fmla="*/ 0 h 5094514"/>
              <a:gd name="csX1" fmla="*/ 174171 w 10093234"/>
              <a:gd name="csY1" fmla="*/ 0 h 5094514"/>
              <a:gd name="csX2" fmla="*/ 174171 w 10093234"/>
              <a:gd name="csY2" fmla="*/ 252549 h 5094514"/>
              <a:gd name="csX3" fmla="*/ 235131 w 10093234"/>
              <a:gd name="csY3" fmla="*/ 252549 h 5094514"/>
              <a:gd name="csX4" fmla="*/ 235131 w 10093234"/>
              <a:gd name="csY4" fmla="*/ 383177 h 5094514"/>
              <a:gd name="csX5" fmla="*/ 365760 w 10093234"/>
              <a:gd name="csY5" fmla="*/ 383177 h 5094514"/>
              <a:gd name="csX6" fmla="*/ 365760 w 10093234"/>
              <a:gd name="csY6" fmla="*/ 505097 h 5094514"/>
              <a:gd name="csX7" fmla="*/ 391886 w 10093234"/>
              <a:gd name="csY7" fmla="*/ 505097 h 5094514"/>
              <a:gd name="csX8" fmla="*/ 391886 w 10093234"/>
              <a:gd name="csY8" fmla="*/ 574766 h 5094514"/>
              <a:gd name="csX9" fmla="*/ 470263 w 10093234"/>
              <a:gd name="csY9" fmla="*/ 574766 h 5094514"/>
              <a:gd name="csX10" fmla="*/ 470263 w 10093234"/>
              <a:gd name="csY10" fmla="*/ 731520 h 5094514"/>
              <a:gd name="csX11" fmla="*/ 644434 w 10093234"/>
              <a:gd name="csY11" fmla="*/ 731520 h 5094514"/>
              <a:gd name="csX12" fmla="*/ 644434 w 10093234"/>
              <a:gd name="csY12" fmla="*/ 775063 h 5094514"/>
              <a:gd name="csX13" fmla="*/ 670560 w 10093234"/>
              <a:gd name="csY13" fmla="*/ 775063 h 5094514"/>
              <a:gd name="csX14" fmla="*/ 670560 w 10093234"/>
              <a:gd name="csY14" fmla="*/ 1062446 h 5094514"/>
              <a:gd name="csX15" fmla="*/ 714103 w 10093234"/>
              <a:gd name="csY15" fmla="*/ 1062446 h 5094514"/>
              <a:gd name="csX16" fmla="*/ 714103 w 10093234"/>
              <a:gd name="csY16" fmla="*/ 1158240 h 5094514"/>
              <a:gd name="csX17" fmla="*/ 714103 w 10093234"/>
              <a:gd name="csY17" fmla="*/ 1332411 h 5094514"/>
              <a:gd name="csX18" fmla="*/ 766354 w 10093234"/>
              <a:gd name="csY18" fmla="*/ 1332411 h 5094514"/>
              <a:gd name="csX19" fmla="*/ 766354 w 10093234"/>
              <a:gd name="csY19" fmla="*/ 1506583 h 5094514"/>
              <a:gd name="csX20" fmla="*/ 766354 w 10093234"/>
              <a:gd name="csY20" fmla="*/ 1611086 h 5094514"/>
              <a:gd name="csX21" fmla="*/ 844731 w 10093234"/>
              <a:gd name="csY21" fmla="*/ 1611086 h 5094514"/>
              <a:gd name="csX22" fmla="*/ 844731 w 10093234"/>
              <a:gd name="csY22" fmla="*/ 1793966 h 5094514"/>
              <a:gd name="csX23" fmla="*/ 914400 w 10093234"/>
              <a:gd name="csY23" fmla="*/ 1793966 h 5094514"/>
              <a:gd name="csX24" fmla="*/ 914400 w 10093234"/>
              <a:gd name="csY24" fmla="*/ 1881051 h 5094514"/>
              <a:gd name="csX25" fmla="*/ 1036320 w 10093234"/>
              <a:gd name="csY25" fmla="*/ 1881051 h 5094514"/>
              <a:gd name="csX26" fmla="*/ 1036320 w 10093234"/>
              <a:gd name="csY26" fmla="*/ 1968137 h 5094514"/>
              <a:gd name="csX27" fmla="*/ 1323703 w 10093234"/>
              <a:gd name="csY27" fmla="*/ 1968137 h 5094514"/>
              <a:gd name="csX28" fmla="*/ 1323703 w 10093234"/>
              <a:gd name="csY28" fmla="*/ 2107474 h 5094514"/>
              <a:gd name="csX29" fmla="*/ 1402080 w 10093234"/>
              <a:gd name="csY29" fmla="*/ 2107474 h 5094514"/>
              <a:gd name="csX30" fmla="*/ 1402080 w 10093234"/>
              <a:gd name="csY30" fmla="*/ 2351314 h 5094514"/>
              <a:gd name="csX31" fmla="*/ 1445623 w 10093234"/>
              <a:gd name="csY31" fmla="*/ 2351314 h 5094514"/>
              <a:gd name="csX32" fmla="*/ 1445623 w 10093234"/>
              <a:gd name="csY32" fmla="*/ 2481943 h 5094514"/>
              <a:gd name="csX33" fmla="*/ 1463040 w 10093234"/>
              <a:gd name="csY33" fmla="*/ 2481943 h 5094514"/>
              <a:gd name="csX34" fmla="*/ 1463040 w 10093234"/>
              <a:gd name="csY34" fmla="*/ 2629989 h 5094514"/>
              <a:gd name="csX35" fmla="*/ 1524000 w 10093234"/>
              <a:gd name="csY35" fmla="*/ 2629989 h 5094514"/>
              <a:gd name="csX36" fmla="*/ 1524000 w 10093234"/>
              <a:gd name="csY36" fmla="*/ 2795451 h 5094514"/>
              <a:gd name="csX37" fmla="*/ 1558834 w 10093234"/>
              <a:gd name="csY37" fmla="*/ 2795451 h 5094514"/>
              <a:gd name="csX38" fmla="*/ 1558834 w 10093234"/>
              <a:gd name="csY38" fmla="*/ 3161211 h 5094514"/>
              <a:gd name="csX39" fmla="*/ 1602377 w 10093234"/>
              <a:gd name="csY39" fmla="*/ 3161211 h 5094514"/>
              <a:gd name="csX40" fmla="*/ 1602377 w 10093234"/>
              <a:gd name="csY40" fmla="*/ 3248297 h 5094514"/>
              <a:gd name="csX41" fmla="*/ 2098766 w 10093234"/>
              <a:gd name="csY41" fmla="*/ 3248297 h 5094514"/>
              <a:gd name="csX42" fmla="*/ 2098766 w 10093234"/>
              <a:gd name="csY42" fmla="*/ 3378926 h 5094514"/>
              <a:gd name="csX43" fmla="*/ 2194560 w 10093234"/>
              <a:gd name="csY43" fmla="*/ 3378926 h 5094514"/>
              <a:gd name="csX44" fmla="*/ 2194560 w 10093234"/>
              <a:gd name="csY44" fmla="*/ 3553097 h 5094514"/>
              <a:gd name="csX45" fmla="*/ 2194560 w 10093234"/>
              <a:gd name="csY45" fmla="*/ 3622766 h 5094514"/>
              <a:gd name="csX46" fmla="*/ 2786743 w 10093234"/>
              <a:gd name="csY46" fmla="*/ 3622766 h 5094514"/>
              <a:gd name="csX47" fmla="*/ 2786743 w 10093234"/>
              <a:gd name="csY47" fmla="*/ 3762103 h 5094514"/>
              <a:gd name="csX48" fmla="*/ 2865120 w 10093234"/>
              <a:gd name="csY48" fmla="*/ 3762103 h 5094514"/>
              <a:gd name="csX49" fmla="*/ 2865120 w 10093234"/>
              <a:gd name="csY49" fmla="*/ 3814354 h 5094514"/>
              <a:gd name="csX50" fmla="*/ 3074126 w 10093234"/>
              <a:gd name="csY50" fmla="*/ 3814354 h 5094514"/>
              <a:gd name="csX51" fmla="*/ 3074126 w 10093234"/>
              <a:gd name="csY51" fmla="*/ 3979817 h 5094514"/>
              <a:gd name="csX52" fmla="*/ 3230880 w 10093234"/>
              <a:gd name="csY52" fmla="*/ 3979817 h 5094514"/>
              <a:gd name="csX53" fmla="*/ 3230880 w 10093234"/>
              <a:gd name="csY53" fmla="*/ 4014651 h 5094514"/>
              <a:gd name="csX54" fmla="*/ 4476206 w 10093234"/>
              <a:gd name="csY54" fmla="*/ 4014651 h 5094514"/>
              <a:gd name="csX55" fmla="*/ 4476206 w 10093234"/>
              <a:gd name="csY55" fmla="*/ 4188823 h 5094514"/>
              <a:gd name="csX56" fmla="*/ 5251268 w 10093234"/>
              <a:gd name="csY56" fmla="*/ 4188823 h 5094514"/>
              <a:gd name="csX57" fmla="*/ 5251268 w 10093234"/>
              <a:gd name="csY57" fmla="*/ 4362994 h 5094514"/>
              <a:gd name="csX58" fmla="*/ 8038011 w 10093234"/>
              <a:gd name="csY58" fmla="*/ 4362994 h 5094514"/>
              <a:gd name="csX59" fmla="*/ 8038011 w 10093234"/>
              <a:gd name="csY59" fmla="*/ 4554583 h 5094514"/>
              <a:gd name="csX60" fmla="*/ 10093234 w 10093234"/>
              <a:gd name="csY60" fmla="*/ 4554583 h 5094514"/>
              <a:gd name="csX61" fmla="*/ 10093234 w 10093234"/>
              <a:gd name="csY61" fmla="*/ 5094514 h 509451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</a:cxnLst>
            <a:rect l="l" t="t" r="r" b="b"/>
            <a:pathLst>
              <a:path w="10093234" h="5094514">
                <a:moveTo>
                  <a:pt x="0" y="0"/>
                </a:moveTo>
                <a:lnTo>
                  <a:pt x="174171" y="0"/>
                </a:lnTo>
                <a:lnTo>
                  <a:pt x="174171" y="252549"/>
                </a:lnTo>
                <a:lnTo>
                  <a:pt x="235131" y="252549"/>
                </a:lnTo>
                <a:lnTo>
                  <a:pt x="235131" y="383177"/>
                </a:lnTo>
                <a:lnTo>
                  <a:pt x="365760" y="383177"/>
                </a:lnTo>
                <a:lnTo>
                  <a:pt x="365760" y="505097"/>
                </a:lnTo>
                <a:lnTo>
                  <a:pt x="391886" y="505097"/>
                </a:lnTo>
                <a:lnTo>
                  <a:pt x="391886" y="574766"/>
                </a:lnTo>
                <a:lnTo>
                  <a:pt x="470263" y="574766"/>
                </a:lnTo>
                <a:lnTo>
                  <a:pt x="470263" y="731520"/>
                </a:lnTo>
                <a:lnTo>
                  <a:pt x="644434" y="731520"/>
                </a:lnTo>
                <a:lnTo>
                  <a:pt x="644434" y="775063"/>
                </a:lnTo>
                <a:lnTo>
                  <a:pt x="670560" y="775063"/>
                </a:lnTo>
                <a:lnTo>
                  <a:pt x="670560" y="1062446"/>
                </a:lnTo>
                <a:lnTo>
                  <a:pt x="714103" y="1062446"/>
                </a:lnTo>
                <a:lnTo>
                  <a:pt x="714103" y="1158240"/>
                </a:lnTo>
                <a:lnTo>
                  <a:pt x="714103" y="1332411"/>
                </a:lnTo>
                <a:lnTo>
                  <a:pt x="766354" y="1332411"/>
                </a:lnTo>
                <a:lnTo>
                  <a:pt x="766354" y="1506583"/>
                </a:lnTo>
                <a:lnTo>
                  <a:pt x="766354" y="1611086"/>
                </a:lnTo>
                <a:lnTo>
                  <a:pt x="844731" y="1611086"/>
                </a:lnTo>
                <a:lnTo>
                  <a:pt x="844731" y="1793966"/>
                </a:lnTo>
                <a:lnTo>
                  <a:pt x="914400" y="1793966"/>
                </a:lnTo>
                <a:lnTo>
                  <a:pt x="914400" y="1881051"/>
                </a:lnTo>
                <a:lnTo>
                  <a:pt x="1036320" y="1881051"/>
                </a:lnTo>
                <a:lnTo>
                  <a:pt x="1036320" y="1968137"/>
                </a:lnTo>
                <a:lnTo>
                  <a:pt x="1323703" y="1968137"/>
                </a:lnTo>
                <a:lnTo>
                  <a:pt x="1323703" y="2107474"/>
                </a:lnTo>
                <a:lnTo>
                  <a:pt x="1402080" y="2107474"/>
                </a:lnTo>
                <a:lnTo>
                  <a:pt x="1402080" y="2351314"/>
                </a:lnTo>
                <a:lnTo>
                  <a:pt x="1445623" y="2351314"/>
                </a:lnTo>
                <a:lnTo>
                  <a:pt x="1445623" y="2481943"/>
                </a:lnTo>
                <a:lnTo>
                  <a:pt x="1463040" y="2481943"/>
                </a:lnTo>
                <a:lnTo>
                  <a:pt x="1463040" y="2629989"/>
                </a:lnTo>
                <a:lnTo>
                  <a:pt x="1524000" y="2629989"/>
                </a:lnTo>
                <a:lnTo>
                  <a:pt x="1524000" y="2795451"/>
                </a:lnTo>
                <a:lnTo>
                  <a:pt x="1558834" y="2795451"/>
                </a:lnTo>
                <a:lnTo>
                  <a:pt x="1558834" y="3161211"/>
                </a:lnTo>
                <a:lnTo>
                  <a:pt x="1602377" y="3161211"/>
                </a:lnTo>
                <a:lnTo>
                  <a:pt x="1602377" y="3248297"/>
                </a:lnTo>
                <a:lnTo>
                  <a:pt x="2098766" y="3248297"/>
                </a:lnTo>
                <a:lnTo>
                  <a:pt x="2098766" y="3378926"/>
                </a:lnTo>
                <a:lnTo>
                  <a:pt x="2194560" y="3378926"/>
                </a:lnTo>
                <a:lnTo>
                  <a:pt x="2194560" y="3553097"/>
                </a:lnTo>
                <a:lnTo>
                  <a:pt x="2194560" y="3622766"/>
                </a:lnTo>
                <a:lnTo>
                  <a:pt x="2786743" y="3622766"/>
                </a:lnTo>
                <a:lnTo>
                  <a:pt x="2786743" y="3762103"/>
                </a:lnTo>
                <a:lnTo>
                  <a:pt x="2865120" y="3762103"/>
                </a:lnTo>
                <a:lnTo>
                  <a:pt x="2865120" y="3814354"/>
                </a:lnTo>
                <a:lnTo>
                  <a:pt x="3074126" y="3814354"/>
                </a:lnTo>
                <a:lnTo>
                  <a:pt x="3074126" y="3979817"/>
                </a:lnTo>
                <a:lnTo>
                  <a:pt x="3230880" y="3979817"/>
                </a:lnTo>
                <a:lnTo>
                  <a:pt x="3230880" y="4014651"/>
                </a:lnTo>
                <a:lnTo>
                  <a:pt x="4476206" y="4014651"/>
                </a:lnTo>
                <a:lnTo>
                  <a:pt x="4476206" y="4188823"/>
                </a:lnTo>
                <a:lnTo>
                  <a:pt x="5251268" y="4188823"/>
                </a:lnTo>
                <a:lnTo>
                  <a:pt x="5251268" y="4362994"/>
                </a:lnTo>
                <a:lnTo>
                  <a:pt x="8038011" y="4362994"/>
                </a:lnTo>
                <a:lnTo>
                  <a:pt x="8038011" y="4554583"/>
                </a:lnTo>
                <a:lnTo>
                  <a:pt x="10093234" y="4554583"/>
                </a:lnTo>
                <a:lnTo>
                  <a:pt x="10093234" y="5094514"/>
                </a:lnTo>
              </a:path>
            </a:pathLst>
          </a:custGeom>
          <a:noFill/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FB98AD8D-836E-4AA1-B0F3-C02860C3B4B9}"/>
              </a:ext>
            </a:extLst>
          </p:cNvPr>
          <p:cNvCxnSpPr>
            <a:cxnSpLocks/>
          </p:cNvCxnSpPr>
          <p:nvPr/>
        </p:nvCxnSpPr>
        <p:spPr>
          <a:xfrm>
            <a:off x="6826347" y="2544915"/>
            <a:ext cx="0" cy="45010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217820A5-4157-1C7E-4433-D5A8CC8B2E03}"/>
              </a:ext>
            </a:extLst>
          </p:cNvPr>
          <p:cNvCxnSpPr>
            <a:cxnSpLocks/>
          </p:cNvCxnSpPr>
          <p:nvPr/>
        </p:nvCxnSpPr>
        <p:spPr>
          <a:xfrm rot="5400000" flipV="1">
            <a:off x="6826347" y="2544915"/>
            <a:ext cx="0" cy="45010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FD25A02F-2C7E-7A4B-443F-9CCE1FA69493}"/>
              </a:ext>
            </a:extLst>
          </p:cNvPr>
          <p:cNvCxnSpPr>
            <a:cxnSpLocks/>
          </p:cNvCxnSpPr>
          <p:nvPr/>
        </p:nvCxnSpPr>
        <p:spPr>
          <a:xfrm>
            <a:off x="6865122" y="2602787"/>
            <a:ext cx="0" cy="45010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3829322A-22AF-FFB7-E948-A0912E9488EF}"/>
              </a:ext>
            </a:extLst>
          </p:cNvPr>
          <p:cNvCxnSpPr>
            <a:cxnSpLocks/>
          </p:cNvCxnSpPr>
          <p:nvPr/>
        </p:nvCxnSpPr>
        <p:spPr>
          <a:xfrm rot="5400000" flipV="1">
            <a:off x="6865122" y="2602787"/>
            <a:ext cx="0" cy="45010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B4EDD69A-22D9-5082-9CC6-420B11A925C4}"/>
              </a:ext>
            </a:extLst>
          </p:cNvPr>
          <p:cNvCxnSpPr>
            <a:cxnSpLocks/>
          </p:cNvCxnSpPr>
          <p:nvPr/>
        </p:nvCxnSpPr>
        <p:spPr>
          <a:xfrm>
            <a:off x="6938041" y="2658345"/>
            <a:ext cx="0" cy="45010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539EF19E-5172-2CB1-E717-86494B426993}"/>
              </a:ext>
            </a:extLst>
          </p:cNvPr>
          <p:cNvCxnSpPr>
            <a:cxnSpLocks/>
          </p:cNvCxnSpPr>
          <p:nvPr/>
        </p:nvCxnSpPr>
        <p:spPr>
          <a:xfrm rot="5400000" flipV="1">
            <a:off x="6938041" y="2658345"/>
            <a:ext cx="0" cy="45010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7C583D0B-49B6-D3E6-DAF9-1E23D08C1606}"/>
              </a:ext>
            </a:extLst>
          </p:cNvPr>
          <p:cNvCxnSpPr>
            <a:cxnSpLocks/>
          </p:cNvCxnSpPr>
          <p:nvPr/>
        </p:nvCxnSpPr>
        <p:spPr>
          <a:xfrm>
            <a:off x="6959454" y="2766072"/>
            <a:ext cx="0" cy="45010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9D1F9178-936D-C2AF-5FB6-9289F6FF62B6}"/>
              </a:ext>
            </a:extLst>
          </p:cNvPr>
          <p:cNvCxnSpPr>
            <a:cxnSpLocks/>
          </p:cNvCxnSpPr>
          <p:nvPr/>
        </p:nvCxnSpPr>
        <p:spPr>
          <a:xfrm rot="5400000" flipV="1">
            <a:off x="6959454" y="2766072"/>
            <a:ext cx="0" cy="45010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B1F02E53-C3FB-FE31-1C50-49602F409DC4}"/>
              </a:ext>
            </a:extLst>
          </p:cNvPr>
          <p:cNvCxnSpPr>
            <a:cxnSpLocks/>
          </p:cNvCxnSpPr>
          <p:nvPr/>
        </p:nvCxnSpPr>
        <p:spPr>
          <a:xfrm>
            <a:off x="6964663" y="2801172"/>
            <a:ext cx="0" cy="45010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25901F6-95FC-6009-AA58-C70F3F56643C}"/>
              </a:ext>
            </a:extLst>
          </p:cNvPr>
          <p:cNvCxnSpPr>
            <a:cxnSpLocks/>
          </p:cNvCxnSpPr>
          <p:nvPr/>
        </p:nvCxnSpPr>
        <p:spPr>
          <a:xfrm rot="5400000" flipV="1">
            <a:off x="6964663" y="2801172"/>
            <a:ext cx="0" cy="45010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F839605C-2933-4622-EEE9-98CD02B8062C}"/>
              </a:ext>
            </a:extLst>
          </p:cNvPr>
          <p:cNvCxnSpPr>
            <a:cxnSpLocks/>
          </p:cNvCxnSpPr>
          <p:nvPr/>
        </p:nvCxnSpPr>
        <p:spPr>
          <a:xfrm>
            <a:off x="6973344" y="2864575"/>
            <a:ext cx="0" cy="45010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6A7C935A-57BD-B935-D7E2-33579C028905}"/>
              </a:ext>
            </a:extLst>
          </p:cNvPr>
          <p:cNvCxnSpPr>
            <a:cxnSpLocks/>
          </p:cNvCxnSpPr>
          <p:nvPr/>
        </p:nvCxnSpPr>
        <p:spPr>
          <a:xfrm rot="5400000" flipV="1">
            <a:off x="6973344" y="2864575"/>
            <a:ext cx="0" cy="45010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A9EB763F-A7D5-F94E-A3DA-9B6C99C4930C}"/>
              </a:ext>
            </a:extLst>
          </p:cNvPr>
          <p:cNvCxnSpPr>
            <a:cxnSpLocks/>
          </p:cNvCxnSpPr>
          <p:nvPr/>
        </p:nvCxnSpPr>
        <p:spPr>
          <a:xfrm>
            <a:off x="6997086" y="2960821"/>
            <a:ext cx="0" cy="45010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66434318-3E2D-20F9-6E89-25C76E9FA33E}"/>
              </a:ext>
            </a:extLst>
          </p:cNvPr>
          <p:cNvCxnSpPr>
            <a:cxnSpLocks/>
          </p:cNvCxnSpPr>
          <p:nvPr/>
        </p:nvCxnSpPr>
        <p:spPr>
          <a:xfrm rot="5400000" flipV="1">
            <a:off x="6997086" y="2960821"/>
            <a:ext cx="0" cy="45010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BC2BBD50-6A25-D01B-11DA-F2CEB3693EA7}"/>
              </a:ext>
            </a:extLst>
          </p:cNvPr>
          <p:cNvCxnSpPr>
            <a:cxnSpLocks/>
          </p:cNvCxnSpPr>
          <p:nvPr/>
        </p:nvCxnSpPr>
        <p:spPr>
          <a:xfrm>
            <a:off x="7224242" y="3288153"/>
            <a:ext cx="0" cy="45010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6B4E2DA2-8A73-7F53-243E-1153636341EC}"/>
              </a:ext>
            </a:extLst>
          </p:cNvPr>
          <p:cNvCxnSpPr>
            <a:cxnSpLocks/>
          </p:cNvCxnSpPr>
          <p:nvPr/>
        </p:nvCxnSpPr>
        <p:spPr>
          <a:xfrm rot="5400000" flipV="1">
            <a:off x="7224242" y="3288153"/>
            <a:ext cx="0" cy="45010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E9645532-A5C4-D4A5-F520-762F0FDEF950}"/>
              </a:ext>
            </a:extLst>
          </p:cNvPr>
          <p:cNvCxnSpPr>
            <a:cxnSpLocks/>
          </p:cNvCxnSpPr>
          <p:nvPr/>
        </p:nvCxnSpPr>
        <p:spPr>
          <a:xfrm>
            <a:off x="7255610" y="3383278"/>
            <a:ext cx="0" cy="45010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1E24FEC6-3150-FF1E-AC45-0036E2E8D358}"/>
              </a:ext>
            </a:extLst>
          </p:cNvPr>
          <p:cNvCxnSpPr>
            <a:cxnSpLocks/>
          </p:cNvCxnSpPr>
          <p:nvPr/>
        </p:nvCxnSpPr>
        <p:spPr>
          <a:xfrm rot="5400000" flipV="1">
            <a:off x="7255610" y="3383278"/>
            <a:ext cx="0" cy="45010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3BCA85E2-7265-6C56-F82E-50AFA7577057}"/>
              </a:ext>
            </a:extLst>
          </p:cNvPr>
          <p:cNvCxnSpPr>
            <a:cxnSpLocks/>
          </p:cNvCxnSpPr>
          <p:nvPr/>
        </p:nvCxnSpPr>
        <p:spPr>
          <a:xfrm>
            <a:off x="7255610" y="3423449"/>
            <a:ext cx="0" cy="45010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AF615E27-F672-061F-AD35-FAD72508A221}"/>
              </a:ext>
            </a:extLst>
          </p:cNvPr>
          <p:cNvCxnSpPr>
            <a:cxnSpLocks/>
          </p:cNvCxnSpPr>
          <p:nvPr/>
        </p:nvCxnSpPr>
        <p:spPr>
          <a:xfrm rot="5400000" flipV="1">
            <a:off x="7255610" y="3423449"/>
            <a:ext cx="0" cy="45010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7312F7E6-3CF1-F772-9417-F9475E781A19}"/>
              </a:ext>
            </a:extLst>
          </p:cNvPr>
          <p:cNvCxnSpPr>
            <a:cxnSpLocks/>
          </p:cNvCxnSpPr>
          <p:nvPr/>
        </p:nvCxnSpPr>
        <p:spPr>
          <a:xfrm>
            <a:off x="7283993" y="3527737"/>
            <a:ext cx="0" cy="45010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95609E50-D00A-6EF9-6120-8783C6D1B18A}"/>
              </a:ext>
            </a:extLst>
          </p:cNvPr>
          <p:cNvCxnSpPr>
            <a:cxnSpLocks/>
          </p:cNvCxnSpPr>
          <p:nvPr/>
        </p:nvCxnSpPr>
        <p:spPr>
          <a:xfrm rot="5400000" flipV="1">
            <a:off x="7283993" y="3527737"/>
            <a:ext cx="0" cy="45010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D0DDC9D7-69A0-8EBC-21E7-9F944E22DBB7}"/>
              </a:ext>
            </a:extLst>
          </p:cNvPr>
          <p:cNvCxnSpPr>
            <a:cxnSpLocks/>
          </p:cNvCxnSpPr>
          <p:nvPr/>
        </p:nvCxnSpPr>
        <p:spPr>
          <a:xfrm>
            <a:off x="7301290" y="3527928"/>
            <a:ext cx="0" cy="45010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894F37EF-8530-97D3-B43E-FB5C4BDFB601}"/>
              </a:ext>
            </a:extLst>
          </p:cNvPr>
          <p:cNvCxnSpPr>
            <a:cxnSpLocks/>
          </p:cNvCxnSpPr>
          <p:nvPr/>
        </p:nvCxnSpPr>
        <p:spPr>
          <a:xfrm rot="5400000" flipV="1">
            <a:off x="7301290" y="3527928"/>
            <a:ext cx="0" cy="45010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26484C0D-C5FB-DACD-7B7B-978AFB563DDB}"/>
              </a:ext>
            </a:extLst>
          </p:cNvPr>
          <p:cNvCxnSpPr>
            <a:cxnSpLocks/>
          </p:cNvCxnSpPr>
          <p:nvPr/>
        </p:nvCxnSpPr>
        <p:spPr>
          <a:xfrm>
            <a:off x="7473291" y="3612358"/>
            <a:ext cx="0" cy="45010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2A25F5DC-8824-6704-233E-5AC3CCB5E8BA}"/>
              </a:ext>
            </a:extLst>
          </p:cNvPr>
          <p:cNvCxnSpPr>
            <a:cxnSpLocks/>
          </p:cNvCxnSpPr>
          <p:nvPr/>
        </p:nvCxnSpPr>
        <p:spPr>
          <a:xfrm rot="5400000" flipV="1">
            <a:off x="7473291" y="3612358"/>
            <a:ext cx="0" cy="45010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CD397D47-972B-1319-9ADE-9A62C4BDC8A5}"/>
              </a:ext>
            </a:extLst>
          </p:cNvPr>
          <p:cNvCxnSpPr>
            <a:cxnSpLocks/>
          </p:cNvCxnSpPr>
          <p:nvPr/>
        </p:nvCxnSpPr>
        <p:spPr>
          <a:xfrm>
            <a:off x="7515179" y="3656621"/>
            <a:ext cx="0" cy="45010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9347E491-8FB0-3D30-E47D-9CF41CD0CCCB}"/>
              </a:ext>
            </a:extLst>
          </p:cNvPr>
          <p:cNvCxnSpPr>
            <a:cxnSpLocks/>
          </p:cNvCxnSpPr>
          <p:nvPr/>
        </p:nvCxnSpPr>
        <p:spPr>
          <a:xfrm rot="5400000" flipV="1">
            <a:off x="7515179" y="3656621"/>
            <a:ext cx="0" cy="45010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A9322A4B-BFBE-DA5B-202B-C52F7FBCE9D5}"/>
              </a:ext>
            </a:extLst>
          </p:cNvPr>
          <p:cNvCxnSpPr>
            <a:cxnSpLocks/>
          </p:cNvCxnSpPr>
          <p:nvPr/>
        </p:nvCxnSpPr>
        <p:spPr>
          <a:xfrm>
            <a:off x="7522123" y="3657449"/>
            <a:ext cx="0" cy="45010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D05B65FD-97CC-AEA3-58E0-27D9F2F1948E}"/>
              </a:ext>
            </a:extLst>
          </p:cNvPr>
          <p:cNvCxnSpPr>
            <a:cxnSpLocks/>
          </p:cNvCxnSpPr>
          <p:nvPr/>
        </p:nvCxnSpPr>
        <p:spPr>
          <a:xfrm rot="5400000" flipV="1">
            <a:off x="7522123" y="3657449"/>
            <a:ext cx="0" cy="45010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7EC610F7-09D6-3BF1-E0A4-2BA2C598B0DD}"/>
              </a:ext>
            </a:extLst>
          </p:cNvPr>
          <p:cNvCxnSpPr>
            <a:cxnSpLocks/>
          </p:cNvCxnSpPr>
          <p:nvPr/>
        </p:nvCxnSpPr>
        <p:spPr>
          <a:xfrm>
            <a:off x="7630968" y="3657449"/>
            <a:ext cx="0" cy="45010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93DB3657-B5E5-ABC0-5031-A0F2D0D8938A}"/>
              </a:ext>
            </a:extLst>
          </p:cNvPr>
          <p:cNvCxnSpPr>
            <a:cxnSpLocks/>
          </p:cNvCxnSpPr>
          <p:nvPr/>
        </p:nvCxnSpPr>
        <p:spPr>
          <a:xfrm rot="5400000" flipV="1">
            <a:off x="7630968" y="3657449"/>
            <a:ext cx="0" cy="45010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B3F41DEA-E9A1-F83E-9342-39EDBDE9D609}"/>
              </a:ext>
            </a:extLst>
          </p:cNvPr>
          <p:cNvCxnSpPr>
            <a:cxnSpLocks/>
          </p:cNvCxnSpPr>
          <p:nvPr/>
        </p:nvCxnSpPr>
        <p:spPr>
          <a:xfrm>
            <a:off x="9651255" y="3970776"/>
            <a:ext cx="0" cy="45010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7CC8C3BC-DA63-9473-B038-697AE6E28631}"/>
              </a:ext>
            </a:extLst>
          </p:cNvPr>
          <p:cNvCxnSpPr>
            <a:cxnSpLocks/>
          </p:cNvCxnSpPr>
          <p:nvPr/>
        </p:nvCxnSpPr>
        <p:spPr>
          <a:xfrm rot="5400000" flipV="1">
            <a:off x="9651255" y="3970776"/>
            <a:ext cx="0" cy="45010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97350946-AEAB-7E5F-8CC6-147BC1710056}"/>
              </a:ext>
            </a:extLst>
          </p:cNvPr>
          <p:cNvCxnSpPr>
            <a:cxnSpLocks/>
          </p:cNvCxnSpPr>
          <p:nvPr/>
        </p:nvCxnSpPr>
        <p:spPr>
          <a:xfrm>
            <a:off x="9918627" y="3973183"/>
            <a:ext cx="0" cy="45010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59BD0C68-6077-70EB-79C6-1D74E33DF26E}"/>
              </a:ext>
            </a:extLst>
          </p:cNvPr>
          <p:cNvCxnSpPr>
            <a:cxnSpLocks/>
          </p:cNvCxnSpPr>
          <p:nvPr/>
        </p:nvCxnSpPr>
        <p:spPr>
          <a:xfrm rot="5400000" flipV="1">
            <a:off x="9918627" y="3973183"/>
            <a:ext cx="0" cy="45010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298" name="Free-form: Shape 297">
            <a:extLst>
              <a:ext uri="{FF2B5EF4-FFF2-40B4-BE49-F238E27FC236}">
                <a16:creationId xmlns:a16="http://schemas.microsoft.com/office/drawing/2014/main" id="{EE48C123-6499-1B61-56B7-FBDD126F441E}"/>
              </a:ext>
            </a:extLst>
          </p:cNvPr>
          <p:cNvSpPr/>
          <p:nvPr/>
        </p:nvSpPr>
        <p:spPr>
          <a:xfrm>
            <a:off x="9540220" y="3531820"/>
            <a:ext cx="1219846" cy="56951"/>
          </a:xfrm>
          <a:custGeom>
            <a:avLst/>
            <a:gdLst>
              <a:gd name="csX0" fmla="*/ 0 w 3530009"/>
              <a:gd name="csY0" fmla="*/ 0 h 164805"/>
              <a:gd name="csX1" fmla="*/ 1100470 w 3530009"/>
              <a:gd name="csY1" fmla="*/ 0 h 164805"/>
              <a:gd name="csX2" fmla="*/ 1100470 w 3530009"/>
              <a:gd name="csY2" fmla="*/ 164805 h 164805"/>
              <a:gd name="csX3" fmla="*/ 3530009 w 3530009"/>
              <a:gd name="csY3" fmla="*/ 143540 h 16480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</a:cxnLst>
            <a:rect l="l" t="t" r="r" b="b"/>
            <a:pathLst>
              <a:path w="3530009" h="164805">
                <a:moveTo>
                  <a:pt x="0" y="0"/>
                </a:moveTo>
                <a:lnTo>
                  <a:pt x="1100470" y="0"/>
                </a:lnTo>
                <a:lnTo>
                  <a:pt x="1100470" y="164805"/>
                </a:lnTo>
                <a:lnTo>
                  <a:pt x="3530009" y="143540"/>
                </a:lnTo>
              </a:path>
            </a:pathLst>
          </a:custGeom>
          <a:ln w="19050">
            <a:solidFill>
              <a:schemeClr val="accent5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99" name="Free-form: Shape 298">
            <a:extLst>
              <a:ext uri="{FF2B5EF4-FFF2-40B4-BE49-F238E27FC236}">
                <a16:creationId xmlns:a16="http://schemas.microsoft.com/office/drawing/2014/main" id="{D19D38FA-9135-4DB0-46A4-08A9D8C7768A}"/>
              </a:ext>
            </a:extLst>
          </p:cNvPr>
          <p:cNvSpPr/>
          <p:nvPr/>
        </p:nvSpPr>
        <p:spPr>
          <a:xfrm>
            <a:off x="6712896" y="2431387"/>
            <a:ext cx="2825487" cy="1104108"/>
          </a:xfrm>
          <a:custGeom>
            <a:avLst/>
            <a:gdLst>
              <a:gd name="csX0" fmla="*/ 0 w 8176438"/>
              <a:gd name="csY0" fmla="*/ 0 h 3195084"/>
              <a:gd name="csX1" fmla="*/ 122275 w 8176438"/>
              <a:gd name="csY1" fmla="*/ 0 h 3195084"/>
              <a:gd name="csX2" fmla="*/ 122275 w 8176438"/>
              <a:gd name="csY2" fmla="*/ 37214 h 3195084"/>
              <a:gd name="csX3" fmla="*/ 164805 w 8176438"/>
              <a:gd name="csY3" fmla="*/ 37214 h 3195084"/>
              <a:gd name="csX4" fmla="*/ 164805 w 8176438"/>
              <a:gd name="csY4" fmla="*/ 74428 h 3195084"/>
              <a:gd name="csX5" fmla="*/ 281763 w 8176438"/>
              <a:gd name="csY5" fmla="*/ 74428 h 3195084"/>
              <a:gd name="csX6" fmla="*/ 281763 w 8176438"/>
              <a:gd name="csY6" fmla="*/ 101009 h 3195084"/>
              <a:gd name="csX7" fmla="*/ 446568 w 8176438"/>
              <a:gd name="csY7" fmla="*/ 101009 h 3195084"/>
              <a:gd name="csX8" fmla="*/ 446568 w 8176438"/>
              <a:gd name="csY8" fmla="*/ 154172 h 3195084"/>
              <a:gd name="csX9" fmla="*/ 462517 w 8176438"/>
              <a:gd name="csY9" fmla="*/ 154172 h 3195084"/>
              <a:gd name="csX10" fmla="*/ 462517 w 8176438"/>
              <a:gd name="csY10" fmla="*/ 196702 h 3195084"/>
              <a:gd name="csX11" fmla="*/ 499731 w 8176438"/>
              <a:gd name="csY11" fmla="*/ 196702 h 3195084"/>
              <a:gd name="csX12" fmla="*/ 499731 w 8176438"/>
              <a:gd name="csY12" fmla="*/ 292395 h 3195084"/>
              <a:gd name="csX13" fmla="*/ 568842 w 8176438"/>
              <a:gd name="csY13" fmla="*/ 292395 h 3195084"/>
              <a:gd name="csX14" fmla="*/ 568842 w 8176438"/>
              <a:gd name="csY14" fmla="*/ 340242 h 3195084"/>
              <a:gd name="csX15" fmla="*/ 595424 w 8176438"/>
              <a:gd name="csY15" fmla="*/ 340242 h 3195084"/>
              <a:gd name="csX16" fmla="*/ 595424 w 8176438"/>
              <a:gd name="csY16" fmla="*/ 409354 h 3195084"/>
              <a:gd name="csX17" fmla="*/ 659219 w 8176438"/>
              <a:gd name="csY17" fmla="*/ 409354 h 3195084"/>
              <a:gd name="csX18" fmla="*/ 659219 w 8176438"/>
              <a:gd name="csY18" fmla="*/ 441251 h 3195084"/>
              <a:gd name="csX19" fmla="*/ 685800 w 8176438"/>
              <a:gd name="csY19" fmla="*/ 441251 h 3195084"/>
              <a:gd name="csX20" fmla="*/ 685800 w 8176438"/>
              <a:gd name="csY20" fmla="*/ 483782 h 3195084"/>
              <a:gd name="csX21" fmla="*/ 707066 w 8176438"/>
              <a:gd name="csY21" fmla="*/ 483782 h 3195084"/>
              <a:gd name="csX22" fmla="*/ 707066 w 8176438"/>
              <a:gd name="csY22" fmla="*/ 520995 h 3195084"/>
              <a:gd name="csX23" fmla="*/ 749596 w 8176438"/>
              <a:gd name="csY23" fmla="*/ 520995 h 3195084"/>
              <a:gd name="csX24" fmla="*/ 749596 w 8176438"/>
              <a:gd name="csY24" fmla="*/ 669851 h 3195084"/>
              <a:gd name="csX25" fmla="*/ 797442 w 8176438"/>
              <a:gd name="csY25" fmla="*/ 669851 h 3195084"/>
              <a:gd name="csX26" fmla="*/ 797442 w 8176438"/>
              <a:gd name="csY26" fmla="*/ 712382 h 3195084"/>
              <a:gd name="csX27" fmla="*/ 818707 w 8176438"/>
              <a:gd name="csY27" fmla="*/ 712382 h 3195084"/>
              <a:gd name="csX28" fmla="*/ 818707 w 8176438"/>
              <a:gd name="csY28" fmla="*/ 744279 h 3195084"/>
              <a:gd name="csX29" fmla="*/ 834656 w 8176438"/>
              <a:gd name="csY29" fmla="*/ 744279 h 3195084"/>
              <a:gd name="csX30" fmla="*/ 834656 w 8176438"/>
              <a:gd name="csY30" fmla="*/ 792126 h 3195084"/>
              <a:gd name="csX31" fmla="*/ 834656 w 8176438"/>
              <a:gd name="csY31" fmla="*/ 824023 h 3195084"/>
              <a:gd name="csX32" fmla="*/ 855921 w 8176438"/>
              <a:gd name="csY32" fmla="*/ 824023 h 3195084"/>
              <a:gd name="csX33" fmla="*/ 855921 w 8176438"/>
              <a:gd name="csY33" fmla="*/ 866554 h 3195084"/>
              <a:gd name="csX34" fmla="*/ 940982 w 8176438"/>
              <a:gd name="csY34" fmla="*/ 866554 h 3195084"/>
              <a:gd name="csX35" fmla="*/ 940982 w 8176438"/>
              <a:gd name="csY35" fmla="*/ 909084 h 3195084"/>
              <a:gd name="csX36" fmla="*/ 1313121 w 8176438"/>
              <a:gd name="csY36" fmla="*/ 909084 h 3195084"/>
              <a:gd name="csX37" fmla="*/ 1313121 w 8176438"/>
              <a:gd name="csY37" fmla="*/ 940982 h 3195084"/>
              <a:gd name="csX38" fmla="*/ 1392866 w 8176438"/>
              <a:gd name="csY38" fmla="*/ 940982 h 3195084"/>
              <a:gd name="csX39" fmla="*/ 1392866 w 8176438"/>
              <a:gd name="csY39" fmla="*/ 1047307 h 3195084"/>
              <a:gd name="csX40" fmla="*/ 1419447 w 8176438"/>
              <a:gd name="csY40" fmla="*/ 1047307 h 3195084"/>
              <a:gd name="csX41" fmla="*/ 1419447 w 8176438"/>
              <a:gd name="csY41" fmla="*/ 1180214 h 3195084"/>
              <a:gd name="csX42" fmla="*/ 1440712 w 8176438"/>
              <a:gd name="csY42" fmla="*/ 1180214 h 3195084"/>
              <a:gd name="csX43" fmla="*/ 1440712 w 8176438"/>
              <a:gd name="csY43" fmla="*/ 1254642 h 3195084"/>
              <a:gd name="csX44" fmla="*/ 1472610 w 8176438"/>
              <a:gd name="csY44" fmla="*/ 1254642 h 3195084"/>
              <a:gd name="csX45" fmla="*/ 1472610 w 8176438"/>
              <a:gd name="csY45" fmla="*/ 1339702 h 3195084"/>
              <a:gd name="csX46" fmla="*/ 1488559 w 8176438"/>
              <a:gd name="csY46" fmla="*/ 1339702 h 3195084"/>
              <a:gd name="csX47" fmla="*/ 1488559 w 8176438"/>
              <a:gd name="csY47" fmla="*/ 1414130 h 3195084"/>
              <a:gd name="csX48" fmla="*/ 1504507 w 8176438"/>
              <a:gd name="csY48" fmla="*/ 1414130 h 3195084"/>
              <a:gd name="csX49" fmla="*/ 1504507 w 8176438"/>
              <a:gd name="csY49" fmla="*/ 1446028 h 3195084"/>
              <a:gd name="csX50" fmla="*/ 1520456 w 8176438"/>
              <a:gd name="csY50" fmla="*/ 1446028 h 3195084"/>
              <a:gd name="csX51" fmla="*/ 1520456 w 8176438"/>
              <a:gd name="csY51" fmla="*/ 1483242 h 3195084"/>
              <a:gd name="csX52" fmla="*/ 1562986 w 8176438"/>
              <a:gd name="csY52" fmla="*/ 1483242 h 3195084"/>
              <a:gd name="csX53" fmla="*/ 1562986 w 8176438"/>
              <a:gd name="csY53" fmla="*/ 1536405 h 3195084"/>
              <a:gd name="csX54" fmla="*/ 1584252 w 8176438"/>
              <a:gd name="csY54" fmla="*/ 1536405 h 3195084"/>
              <a:gd name="csX55" fmla="*/ 1584252 w 8176438"/>
              <a:gd name="csY55" fmla="*/ 1648047 h 3195084"/>
              <a:gd name="csX56" fmla="*/ 1637414 w 8176438"/>
              <a:gd name="csY56" fmla="*/ 1648047 h 3195084"/>
              <a:gd name="csX57" fmla="*/ 1637414 w 8176438"/>
              <a:gd name="csY57" fmla="*/ 1685261 h 3195084"/>
              <a:gd name="csX58" fmla="*/ 1663996 w 8176438"/>
              <a:gd name="csY58" fmla="*/ 1685261 h 3195084"/>
              <a:gd name="csX59" fmla="*/ 1663996 w 8176438"/>
              <a:gd name="csY59" fmla="*/ 1765005 h 3195084"/>
              <a:gd name="csX60" fmla="*/ 1770321 w 8176438"/>
              <a:gd name="csY60" fmla="*/ 1765005 h 3195084"/>
              <a:gd name="csX61" fmla="*/ 1770321 w 8176438"/>
              <a:gd name="csY61" fmla="*/ 1802219 h 3195084"/>
              <a:gd name="csX62" fmla="*/ 1924493 w 8176438"/>
              <a:gd name="csY62" fmla="*/ 1802219 h 3195084"/>
              <a:gd name="csX63" fmla="*/ 1924493 w 8176438"/>
              <a:gd name="csY63" fmla="*/ 1839433 h 3195084"/>
              <a:gd name="csX64" fmla="*/ 1961707 w 8176438"/>
              <a:gd name="csY64" fmla="*/ 1839433 h 3195084"/>
              <a:gd name="csX65" fmla="*/ 1961707 w 8176438"/>
              <a:gd name="csY65" fmla="*/ 1876647 h 3195084"/>
              <a:gd name="csX66" fmla="*/ 2174359 w 8176438"/>
              <a:gd name="csY66" fmla="*/ 1876647 h 3195084"/>
              <a:gd name="csX67" fmla="*/ 2174359 w 8176438"/>
              <a:gd name="csY67" fmla="*/ 1908544 h 3195084"/>
              <a:gd name="csX68" fmla="*/ 2200940 w 8176438"/>
              <a:gd name="csY68" fmla="*/ 1908544 h 3195084"/>
              <a:gd name="csX69" fmla="*/ 2200940 w 8176438"/>
              <a:gd name="csY69" fmla="*/ 2083982 h 3195084"/>
              <a:gd name="csX70" fmla="*/ 2227521 w 8176438"/>
              <a:gd name="csY70" fmla="*/ 2083982 h 3195084"/>
              <a:gd name="csX71" fmla="*/ 2227521 w 8176438"/>
              <a:gd name="csY71" fmla="*/ 2131828 h 3195084"/>
              <a:gd name="csX72" fmla="*/ 2376377 w 8176438"/>
              <a:gd name="csY72" fmla="*/ 2131828 h 3195084"/>
              <a:gd name="csX73" fmla="*/ 2376377 w 8176438"/>
              <a:gd name="csY73" fmla="*/ 2163726 h 3195084"/>
              <a:gd name="csX74" fmla="*/ 2578396 w 8176438"/>
              <a:gd name="csY74" fmla="*/ 2163726 h 3195084"/>
              <a:gd name="csX75" fmla="*/ 2578396 w 8176438"/>
              <a:gd name="csY75" fmla="*/ 2211572 h 3195084"/>
              <a:gd name="csX76" fmla="*/ 2822945 w 8176438"/>
              <a:gd name="csY76" fmla="*/ 2211572 h 3195084"/>
              <a:gd name="csX77" fmla="*/ 2822945 w 8176438"/>
              <a:gd name="csY77" fmla="*/ 2248786 h 3195084"/>
              <a:gd name="csX78" fmla="*/ 3397103 w 8176438"/>
              <a:gd name="csY78" fmla="*/ 2248786 h 3195084"/>
              <a:gd name="csX79" fmla="*/ 3397103 w 8176438"/>
              <a:gd name="csY79" fmla="*/ 2360428 h 3195084"/>
              <a:gd name="csX80" fmla="*/ 3742661 w 8176438"/>
              <a:gd name="csY80" fmla="*/ 2360428 h 3195084"/>
              <a:gd name="csX81" fmla="*/ 3742661 w 8176438"/>
              <a:gd name="csY81" fmla="*/ 2397642 h 3195084"/>
              <a:gd name="csX82" fmla="*/ 3843670 w 8176438"/>
              <a:gd name="csY82" fmla="*/ 2397642 h 3195084"/>
              <a:gd name="csX83" fmla="*/ 3843670 w 8176438"/>
              <a:gd name="csY83" fmla="*/ 2456121 h 3195084"/>
              <a:gd name="csX84" fmla="*/ 4146698 w 8176438"/>
              <a:gd name="csY84" fmla="*/ 2456121 h 3195084"/>
              <a:gd name="csX85" fmla="*/ 4146698 w 8176438"/>
              <a:gd name="csY85" fmla="*/ 2509284 h 3195084"/>
              <a:gd name="csX86" fmla="*/ 4545419 w 8176438"/>
              <a:gd name="csY86" fmla="*/ 2509284 h 3195084"/>
              <a:gd name="csX87" fmla="*/ 4545419 w 8176438"/>
              <a:gd name="csY87" fmla="*/ 2551814 h 3195084"/>
              <a:gd name="csX88" fmla="*/ 4587949 w 8176438"/>
              <a:gd name="csY88" fmla="*/ 2551814 h 3195084"/>
              <a:gd name="csX89" fmla="*/ 4587949 w 8176438"/>
              <a:gd name="csY89" fmla="*/ 2610293 h 3195084"/>
              <a:gd name="csX90" fmla="*/ 5172740 w 8176438"/>
              <a:gd name="csY90" fmla="*/ 2610293 h 3195084"/>
              <a:gd name="csX91" fmla="*/ 5172740 w 8176438"/>
              <a:gd name="csY91" fmla="*/ 2652823 h 3195084"/>
              <a:gd name="csX92" fmla="*/ 5220586 w 8176438"/>
              <a:gd name="csY92" fmla="*/ 2652823 h 3195084"/>
              <a:gd name="csX93" fmla="*/ 5220586 w 8176438"/>
              <a:gd name="csY93" fmla="*/ 2705986 h 3195084"/>
              <a:gd name="csX94" fmla="*/ 5305647 w 8176438"/>
              <a:gd name="csY94" fmla="*/ 2705986 h 3195084"/>
              <a:gd name="csX95" fmla="*/ 5305647 w 8176438"/>
              <a:gd name="csY95" fmla="*/ 2764465 h 3195084"/>
              <a:gd name="csX96" fmla="*/ 5512982 w 8176438"/>
              <a:gd name="csY96" fmla="*/ 2764465 h 3195084"/>
              <a:gd name="csX97" fmla="*/ 5512982 w 8176438"/>
              <a:gd name="csY97" fmla="*/ 2817628 h 3195084"/>
              <a:gd name="csX98" fmla="*/ 5725633 w 8176438"/>
              <a:gd name="csY98" fmla="*/ 2817628 h 3195084"/>
              <a:gd name="csX99" fmla="*/ 5725633 w 8176438"/>
              <a:gd name="csY99" fmla="*/ 2881423 h 3195084"/>
              <a:gd name="csX100" fmla="*/ 6395484 w 8176438"/>
              <a:gd name="csY100" fmla="*/ 2881423 h 3195084"/>
              <a:gd name="csX101" fmla="*/ 6395484 w 8176438"/>
              <a:gd name="csY101" fmla="*/ 2929270 h 3195084"/>
              <a:gd name="csX102" fmla="*/ 6980275 w 8176438"/>
              <a:gd name="csY102" fmla="*/ 2929270 h 3195084"/>
              <a:gd name="csX103" fmla="*/ 6980275 w 8176438"/>
              <a:gd name="csY103" fmla="*/ 3046228 h 3195084"/>
              <a:gd name="csX104" fmla="*/ 7038754 w 8176438"/>
              <a:gd name="csY104" fmla="*/ 3046228 h 3195084"/>
              <a:gd name="csX105" fmla="*/ 7038754 w 8176438"/>
              <a:gd name="csY105" fmla="*/ 3094075 h 3195084"/>
              <a:gd name="csX106" fmla="*/ 8176438 w 8176438"/>
              <a:gd name="csY106" fmla="*/ 3094075 h 3195084"/>
              <a:gd name="csX107" fmla="*/ 8176438 w 8176438"/>
              <a:gd name="csY107" fmla="*/ 3195084 h 319508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</a:cxnLst>
            <a:rect l="l" t="t" r="r" b="b"/>
            <a:pathLst>
              <a:path w="8176438" h="3195084">
                <a:moveTo>
                  <a:pt x="0" y="0"/>
                </a:moveTo>
                <a:lnTo>
                  <a:pt x="122275" y="0"/>
                </a:lnTo>
                <a:lnTo>
                  <a:pt x="122275" y="37214"/>
                </a:lnTo>
                <a:lnTo>
                  <a:pt x="164805" y="37214"/>
                </a:lnTo>
                <a:lnTo>
                  <a:pt x="164805" y="74428"/>
                </a:lnTo>
                <a:lnTo>
                  <a:pt x="281763" y="74428"/>
                </a:lnTo>
                <a:lnTo>
                  <a:pt x="281763" y="101009"/>
                </a:lnTo>
                <a:lnTo>
                  <a:pt x="446568" y="101009"/>
                </a:lnTo>
                <a:lnTo>
                  <a:pt x="446568" y="154172"/>
                </a:lnTo>
                <a:lnTo>
                  <a:pt x="462517" y="154172"/>
                </a:lnTo>
                <a:lnTo>
                  <a:pt x="462517" y="196702"/>
                </a:lnTo>
                <a:lnTo>
                  <a:pt x="499731" y="196702"/>
                </a:lnTo>
                <a:lnTo>
                  <a:pt x="499731" y="292395"/>
                </a:lnTo>
                <a:lnTo>
                  <a:pt x="568842" y="292395"/>
                </a:lnTo>
                <a:lnTo>
                  <a:pt x="568842" y="340242"/>
                </a:lnTo>
                <a:lnTo>
                  <a:pt x="595424" y="340242"/>
                </a:lnTo>
                <a:lnTo>
                  <a:pt x="595424" y="409354"/>
                </a:lnTo>
                <a:lnTo>
                  <a:pt x="659219" y="409354"/>
                </a:lnTo>
                <a:lnTo>
                  <a:pt x="659219" y="441251"/>
                </a:lnTo>
                <a:lnTo>
                  <a:pt x="685800" y="441251"/>
                </a:lnTo>
                <a:lnTo>
                  <a:pt x="685800" y="483782"/>
                </a:lnTo>
                <a:lnTo>
                  <a:pt x="707066" y="483782"/>
                </a:lnTo>
                <a:lnTo>
                  <a:pt x="707066" y="520995"/>
                </a:lnTo>
                <a:lnTo>
                  <a:pt x="749596" y="520995"/>
                </a:lnTo>
                <a:lnTo>
                  <a:pt x="749596" y="669851"/>
                </a:lnTo>
                <a:lnTo>
                  <a:pt x="797442" y="669851"/>
                </a:lnTo>
                <a:lnTo>
                  <a:pt x="797442" y="712382"/>
                </a:lnTo>
                <a:lnTo>
                  <a:pt x="818707" y="712382"/>
                </a:lnTo>
                <a:lnTo>
                  <a:pt x="818707" y="744279"/>
                </a:lnTo>
                <a:lnTo>
                  <a:pt x="834656" y="744279"/>
                </a:lnTo>
                <a:lnTo>
                  <a:pt x="834656" y="792126"/>
                </a:lnTo>
                <a:lnTo>
                  <a:pt x="834656" y="824023"/>
                </a:lnTo>
                <a:lnTo>
                  <a:pt x="855921" y="824023"/>
                </a:lnTo>
                <a:lnTo>
                  <a:pt x="855921" y="866554"/>
                </a:lnTo>
                <a:lnTo>
                  <a:pt x="940982" y="866554"/>
                </a:lnTo>
                <a:lnTo>
                  <a:pt x="940982" y="909084"/>
                </a:lnTo>
                <a:lnTo>
                  <a:pt x="1313121" y="909084"/>
                </a:lnTo>
                <a:lnTo>
                  <a:pt x="1313121" y="940982"/>
                </a:lnTo>
                <a:lnTo>
                  <a:pt x="1392866" y="940982"/>
                </a:lnTo>
                <a:lnTo>
                  <a:pt x="1392866" y="1047307"/>
                </a:lnTo>
                <a:lnTo>
                  <a:pt x="1419447" y="1047307"/>
                </a:lnTo>
                <a:lnTo>
                  <a:pt x="1419447" y="1180214"/>
                </a:lnTo>
                <a:lnTo>
                  <a:pt x="1440712" y="1180214"/>
                </a:lnTo>
                <a:lnTo>
                  <a:pt x="1440712" y="1254642"/>
                </a:lnTo>
                <a:lnTo>
                  <a:pt x="1472610" y="1254642"/>
                </a:lnTo>
                <a:lnTo>
                  <a:pt x="1472610" y="1339702"/>
                </a:lnTo>
                <a:lnTo>
                  <a:pt x="1488559" y="1339702"/>
                </a:lnTo>
                <a:lnTo>
                  <a:pt x="1488559" y="1414130"/>
                </a:lnTo>
                <a:lnTo>
                  <a:pt x="1504507" y="1414130"/>
                </a:lnTo>
                <a:lnTo>
                  <a:pt x="1504507" y="1446028"/>
                </a:lnTo>
                <a:lnTo>
                  <a:pt x="1520456" y="1446028"/>
                </a:lnTo>
                <a:lnTo>
                  <a:pt x="1520456" y="1483242"/>
                </a:lnTo>
                <a:lnTo>
                  <a:pt x="1562986" y="1483242"/>
                </a:lnTo>
                <a:lnTo>
                  <a:pt x="1562986" y="1536405"/>
                </a:lnTo>
                <a:lnTo>
                  <a:pt x="1584252" y="1536405"/>
                </a:lnTo>
                <a:lnTo>
                  <a:pt x="1584252" y="1648047"/>
                </a:lnTo>
                <a:lnTo>
                  <a:pt x="1637414" y="1648047"/>
                </a:lnTo>
                <a:lnTo>
                  <a:pt x="1637414" y="1685261"/>
                </a:lnTo>
                <a:lnTo>
                  <a:pt x="1663996" y="1685261"/>
                </a:lnTo>
                <a:lnTo>
                  <a:pt x="1663996" y="1765005"/>
                </a:lnTo>
                <a:lnTo>
                  <a:pt x="1770321" y="1765005"/>
                </a:lnTo>
                <a:lnTo>
                  <a:pt x="1770321" y="1802219"/>
                </a:lnTo>
                <a:lnTo>
                  <a:pt x="1924493" y="1802219"/>
                </a:lnTo>
                <a:lnTo>
                  <a:pt x="1924493" y="1839433"/>
                </a:lnTo>
                <a:lnTo>
                  <a:pt x="1961707" y="1839433"/>
                </a:lnTo>
                <a:lnTo>
                  <a:pt x="1961707" y="1876647"/>
                </a:lnTo>
                <a:lnTo>
                  <a:pt x="2174359" y="1876647"/>
                </a:lnTo>
                <a:lnTo>
                  <a:pt x="2174359" y="1908544"/>
                </a:lnTo>
                <a:lnTo>
                  <a:pt x="2200940" y="1908544"/>
                </a:lnTo>
                <a:lnTo>
                  <a:pt x="2200940" y="2083982"/>
                </a:lnTo>
                <a:lnTo>
                  <a:pt x="2227521" y="2083982"/>
                </a:lnTo>
                <a:lnTo>
                  <a:pt x="2227521" y="2131828"/>
                </a:lnTo>
                <a:lnTo>
                  <a:pt x="2376377" y="2131828"/>
                </a:lnTo>
                <a:lnTo>
                  <a:pt x="2376377" y="2163726"/>
                </a:lnTo>
                <a:lnTo>
                  <a:pt x="2578396" y="2163726"/>
                </a:lnTo>
                <a:lnTo>
                  <a:pt x="2578396" y="2211572"/>
                </a:lnTo>
                <a:lnTo>
                  <a:pt x="2822945" y="2211572"/>
                </a:lnTo>
                <a:lnTo>
                  <a:pt x="2822945" y="2248786"/>
                </a:lnTo>
                <a:lnTo>
                  <a:pt x="3397103" y="2248786"/>
                </a:lnTo>
                <a:lnTo>
                  <a:pt x="3397103" y="2360428"/>
                </a:lnTo>
                <a:lnTo>
                  <a:pt x="3742661" y="2360428"/>
                </a:lnTo>
                <a:lnTo>
                  <a:pt x="3742661" y="2397642"/>
                </a:lnTo>
                <a:lnTo>
                  <a:pt x="3843670" y="2397642"/>
                </a:lnTo>
                <a:lnTo>
                  <a:pt x="3843670" y="2456121"/>
                </a:lnTo>
                <a:lnTo>
                  <a:pt x="4146698" y="2456121"/>
                </a:lnTo>
                <a:lnTo>
                  <a:pt x="4146698" y="2509284"/>
                </a:lnTo>
                <a:lnTo>
                  <a:pt x="4545419" y="2509284"/>
                </a:lnTo>
                <a:lnTo>
                  <a:pt x="4545419" y="2551814"/>
                </a:lnTo>
                <a:lnTo>
                  <a:pt x="4587949" y="2551814"/>
                </a:lnTo>
                <a:lnTo>
                  <a:pt x="4587949" y="2610293"/>
                </a:lnTo>
                <a:lnTo>
                  <a:pt x="5172740" y="2610293"/>
                </a:lnTo>
                <a:lnTo>
                  <a:pt x="5172740" y="2652823"/>
                </a:lnTo>
                <a:lnTo>
                  <a:pt x="5220586" y="2652823"/>
                </a:lnTo>
                <a:lnTo>
                  <a:pt x="5220586" y="2705986"/>
                </a:lnTo>
                <a:lnTo>
                  <a:pt x="5305647" y="2705986"/>
                </a:lnTo>
                <a:lnTo>
                  <a:pt x="5305647" y="2764465"/>
                </a:lnTo>
                <a:lnTo>
                  <a:pt x="5512982" y="2764465"/>
                </a:lnTo>
                <a:lnTo>
                  <a:pt x="5512982" y="2817628"/>
                </a:lnTo>
                <a:lnTo>
                  <a:pt x="5725633" y="2817628"/>
                </a:lnTo>
                <a:lnTo>
                  <a:pt x="5725633" y="2881423"/>
                </a:lnTo>
                <a:lnTo>
                  <a:pt x="6395484" y="2881423"/>
                </a:lnTo>
                <a:lnTo>
                  <a:pt x="6395484" y="2929270"/>
                </a:lnTo>
                <a:lnTo>
                  <a:pt x="6980275" y="2929270"/>
                </a:lnTo>
                <a:lnTo>
                  <a:pt x="6980275" y="3046228"/>
                </a:lnTo>
                <a:lnTo>
                  <a:pt x="7038754" y="3046228"/>
                </a:lnTo>
                <a:lnTo>
                  <a:pt x="7038754" y="3094075"/>
                </a:lnTo>
                <a:lnTo>
                  <a:pt x="8176438" y="3094075"/>
                </a:lnTo>
                <a:lnTo>
                  <a:pt x="8176438" y="3195084"/>
                </a:lnTo>
              </a:path>
            </a:pathLst>
          </a:custGeom>
          <a:ln w="19050">
            <a:solidFill>
              <a:schemeClr val="accent5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E46542A3-F2F7-82EB-0CCD-8EEFD4AEC662}"/>
              </a:ext>
            </a:extLst>
          </p:cNvPr>
          <p:cNvCxnSpPr/>
          <p:nvPr/>
        </p:nvCxnSpPr>
        <p:spPr>
          <a:xfrm>
            <a:off x="8356504" y="3310658"/>
            <a:ext cx="0" cy="4501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E1319154-95AC-C16F-88DB-60C01C0E1E26}"/>
              </a:ext>
            </a:extLst>
          </p:cNvPr>
          <p:cNvCxnSpPr/>
          <p:nvPr/>
        </p:nvCxnSpPr>
        <p:spPr>
          <a:xfrm>
            <a:off x="8378549" y="3310658"/>
            <a:ext cx="0" cy="4501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BEEF5A95-A561-8E1A-1404-BB32FB00078E}"/>
              </a:ext>
            </a:extLst>
          </p:cNvPr>
          <p:cNvCxnSpPr/>
          <p:nvPr/>
        </p:nvCxnSpPr>
        <p:spPr>
          <a:xfrm>
            <a:off x="8624723" y="3384865"/>
            <a:ext cx="0" cy="4501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7258424A-B899-8CB5-3555-9F3C963F5E8E}"/>
              </a:ext>
            </a:extLst>
          </p:cNvPr>
          <p:cNvCxnSpPr/>
          <p:nvPr/>
        </p:nvCxnSpPr>
        <p:spPr>
          <a:xfrm>
            <a:off x="8733113" y="3405783"/>
            <a:ext cx="0" cy="4501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11481F28-9F09-FC0A-958D-FB9E16F5EB89}"/>
              </a:ext>
            </a:extLst>
          </p:cNvPr>
          <p:cNvCxnSpPr/>
          <p:nvPr/>
        </p:nvCxnSpPr>
        <p:spPr>
          <a:xfrm>
            <a:off x="9052771" y="3423449"/>
            <a:ext cx="0" cy="4501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6980FB7F-0C52-8AB2-303D-5EDC600752B0}"/>
              </a:ext>
            </a:extLst>
          </p:cNvPr>
          <p:cNvCxnSpPr/>
          <p:nvPr/>
        </p:nvCxnSpPr>
        <p:spPr>
          <a:xfrm>
            <a:off x="9218112" y="3477872"/>
            <a:ext cx="0" cy="4501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41BC4FEE-7EB9-16E4-9C36-B8C795616C6E}"/>
              </a:ext>
            </a:extLst>
          </p:cNvPr>
          <p:cNvCxnSpPr/>
          <p:nvPr/>
        </p:nvCxnSpPr>
        <p:spPr>
          <a:xfrm>
            <a:off x="9269551" y="3477872"/>
            <a:ext cx="0" cy="4501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750922ED-1AA3-C2F4-36B0-9DA86E9C5B71}"/>
              </a:ext>
            </a:extLst>
          </p:cNvPr>
          <p:cNvCxnSpPr/>
          <p:nvPr/>
        </p:nvCxnSpPr>
        <p:spPr>
          <a:xfrm>
            <a:off x="9418358" y="3480671"/>
            <a:ext cx="0" cy="4501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45DAF53F-D036-0F31-06D2-98E82E44C06E}"/>
              </a:ext>
            </a:extLst>
          </p:cNvPr>
          <p:cNvCxnSpPr/>
          <p:nvPr/>
        </p:nvCxnSpPr>
        <p:spPr>
          <a:xfrm>
            <a:off x="9442240" y="3480671"/>
            <a:ext cx="0" cy="4501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id="{2364C8EC-1215-870F-90D9-FA68E2DB2F47}"/>
              </a:ext>
            </a:extLst>
          </p:cNvPr>
          <p:cNvCxnSpPr/>
          <p:nvPr/>
        </p:nvCxnSpPr>
        <p:spPr>
          <a:xfrm>
            <a:off x="9497354" y="3480671"/>
            <a:ext cx="0" cy="4501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2F58187C-C560-4E27-82FF-685C4A404076}"/>
              </a:ext>
            </a:extLst>
          </p:cNvPr>
          <p:cNvCxnSpPr/>
          <p:nvPr/>
        </p:nvCxnSpPr>
        <p:spPr>
          <a:xfrm>
            <a:off x="9513888" y="3480671"/>
            <a:ext cx="0" cy="4501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93" name="Straight Connector 92">
            <a:extLst>
              <a:ext uri="{FF2B5EF4-FFF2-40B4-BE49-F238E27FC236}">
                <a16:creationId xmlns:a16="http://schemas.microsoft.com/office/drawing/2014/main" id="{2DD80A0F-2A82-3E38-7297-08093CEE03E5}"/>
              </a:ext>
            </a:extLst>
          </p:cNvPr>
          <p:cNvCxnSpPr/>
          <p:nvPr/>
        </p:nvCxnSpPr>
        <p:spPr>
          <a:xfrm>
            <a:off x="9614929" y="3513852"/>
            <a:ext cx="0" cy="4501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1C303230-0B7D-4400-31DE-715F1CEFB534}"/>
              </a:ext>
            </a:extLst>
          </p:cNvPr>
          <p:cNvCxnSpPr/>
          <p:nvPr/>
        </p:nvCxnSpPr>
        <p:spPr>
          <a:xfrm>
            <a:off x="9706785" y="3513852"/>
            <a:ext cx="0" cy="4501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96" name="Straight Connector 95">
            <a:extLst>
              <a:ext uri="{FF2B5EF4-FFF2-40B4-BE49-F238E27FC236}">
                <a16:creationId xmlns:a16="http://schemas.microsoft.com/office/drawing/2014/main" id="{032248AC-0409-43D7-CA3B-DD097AAAEF34}"/>
              </a:ext>
            </a:extLst>
          </p:cNvPr>
          <p:cNvCxnSpPr/>
          <p:nvPr/>
        </p:nvCxnSpPr>
        <p:spPr>
          <a:xfrm>
            <a:off x="9719645" y="3513852"/>
            <a:ext cx="0" cy="4501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97" name="Straight Connector 96">
            <a:extLst>
              <a:ext uri="{FF2B5EF4-FFF2-40B4-BE49-F238E27FC236}">
                <a16:creationId xmlns:a16="http://schemas.microsoft.com/office/drawing/2014/main" id="{79C40251-1EC6-D0D8-BE74-F39202CD1349}"/>
              </a:ext>
            </a:extLst>
          </p:cNvPr>
          <p:cNvCxnSpPr/>
          <p:nvPr/>
        </p:nvCxnSpPr>
        <p:spPr>
          <a:xfrm>
            <a:off x="9818849" y="3513852"/>
            <a:ext cx="0" cy="4501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98" name="Straight Connector 97">
            <a:extLst>
              <a:ext uri="{FF2B5EF4-FFF2-40B4-BE49-F238E27FC236}">
                <a16:creationId xmlns:a16="http://schemas.microsoft.com/office/drawing/2014/main" id="{83CD5BBB-EEE2-0A2B-3FDF-A76C9FDD83D3}"/>
              </a:ext>
            </a:extLst>
          </p:cNvPr>
          <p:cNvCxnSpPr>
            <a:cxnSpLocks/>
          </p:cNvCxnSpPr>
          <p:nvPr/>
        </p:nvCxnSpPr>
        <p:spPr>
          <a:xfrm>
            <a:off x="9883149" y="3513852"/>
            <a:ext cx="0" cy="4501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99" name="Straight Connector 98">
            <a:extLst>
              <a:ext uri="{FF2B5EF4-FFF2-40B4-BE49-F238E27FC236}">
                <a16:creationId xmlns:a16="http://schemas.microsoft.com/office/drawing/2014/main" id="{C5A8E5D4-BCC3-F974-2AE3-2774FD959476}"/>
              </a:ext>
            </a:extLst>
          </p:cNvPr>
          <p:cNvCxnSpPr>
            <a:cxnSpLocks/>
          </p:cNvCxnSpPr>
          <p:nvPr/>
        </p:nvCxnSpPr>
        <p:spPr>
          <a:xfrm>
            <a:off x="9934588" y="3561133"/>
            <a:ext cx="0" cy="4501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106" name="Straight Connector 105">
            <a:extLst>
              <a:ext uri="{FF2B5EF4-FFF2-40B4-BE49-F238E27FC236}">
                <a16:creationId xmlns:a16="http://schemas.microsoft.com/office/drawing/2014/main" id="{60F54229-1D49-9F01-E381-B67F05C8ABB2}"/>
              </a:ext>
            </a:extLst>
          </p:cNvPr>
          <p:cNvCxnSpPr>
            <a:cxnSpLocks/>
          </p:cNvCxnSpPr>
          <p:nvPr/>
        </p:nvCxnSpPr>
        <p:spPr>
          <a:xfrm>
            <a:off x="9945611" y="3561133"/>
            <a:ext cx="0" cy="4501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F29AF0B6-8623-AB9F-F75A-B236526DAB8B}"/>
              </a:ext>
            </a:extLst>
          </p:cNvPr>
          <p:cNvCxnSpPr>
            <a:cxnSpLocks/>
          </p:cNvCxnSpPr>
          <p:nvPr/>
        </p:nvCxnSpPr>
        <p:spPr>
          <a:xfrm>
            <a:off x="9984190" y="3561133"/>
            <a:ext cx="0" cy="4501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108" name="Straight Connector 107">
            <a:extLst>
              <a:ext uri="{FF2B5EF4-FFF2-40B4-BE49-F238E27FC236}">
                <a16:creationId xmlns:a16="http://schemas.microsoft.com/office/drawing/2014/main" id="{1BF713A3-BD2C-DD4E-9B31-D260FB4F854E}"/>
              </a:ext>
            </a:extLst>
          </p:cNvPr>
          <p:cNvCxnSpPr>
            <a:cxnSpLocks/>
          </p:cNvCxnSpPr>
          <p:nvPr/>
        </p:nvCxnSpPr>
        <p:spPr>
          <a:xfrm>
            <a:off x="10002562" y="3561133"/>
            <a:ext cx="0" cy="4501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109" name="Straight Connector 108">
            <a:extLst>
              <a:ext uri="{FF2B5EF4-FFF2-40B4-BE49-F238E27FC236}">
                <a16:creationId xmlns:a16="http://schemas.microsoft.com/office/drawing/2014/main" id="{E7DD86E7-6C62-662E-AB47-CD39F46FD9CF}"/>
              </a:ext>
            </a:extLst>
          </p:cNvPr>
          <p:cNvCxnSpPr>
            <a:cxnSpLocks/>
          </p:cNvCxnSpPr>
          <p:nvPr/>
        </p:nvCxnSpPr>
        <p:spPr>
          <a:xfrm>
            <a:off x="10175251" y="3561133"/>
            <a:ext cx="0" cy="4501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116" name="Straight Connector 115">
            <a:extLst>
              <a:ext uri="{FF2B5EF4-FFF2-40B4-BE49-F238E27FC236}">
                <a16:creationId xmlns:a16="http://schemas.microsoft.com/office/drawing/2014/main" id="{47DDA2A9-7EDB-3D00-D758-8C0805513F29}"/>
              </a:ext>
            </a:extLst>
          </p:cNvPr>
          <p:cNvCxnSpPr>
            <a:cxnSpLocks/>
          </p:cNvCxnSpPr>
          <p:nvPr/>
        </p:nvCxnSpPr>
        <p:spPr>
          <a:xfrm>
            <a:off x="10397542" y="3561133"/>
            <a:ext cx="0" cy="4501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117" name="Straight Connector 116">
            <a:extLst>
              <a:ext uri="{FF2B5EF4-FFF2-40B4-BE49-F238E27FC236}">
                <a16:creationId xmlns:a16="http://schemas.microsoft.com/office/drawing/2014/main" id="{37955A3F-C694-F7C4-6363-A1990DE61E7B}"/>
              </a:ext>
            </a:extLst>
          </p:cNvPr>
          <p:cNvCxnSpPr>
            <a:cxnSpLocks/>
          </p:cNvCxnSpPr>
          <p:nvPr/>
        </p:nvCxnSpPr>
        <p:spPr>
          <a:xfrm>
            <a:off x="10419587" y="3561133"/>
            <a:ext cx="0" cy="4501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202" name="Straight Connector 201">
            <a:extLst>
              <a:ext uri="{FF2B5EF4-FFF2-40B4-BE49-F238E27FC236}">
                <a16:creationId xmlns:a16="http://schemas.microsoft.com/office/drawing/2014/main" id="{34DED4C6-0BE8-B24B-BA34-E7926878D68A}"/>
              </a:ext>
            </a:extLst>
          </p:cNvPr>
          <p:cNvCxnSpPr>
            <a:cxnSpLocks/>
          </p:cNvCxnSpPr>
          <p:nvPr/>
        </p:nvCxnSpPr>
        <p:spPr>
          <a:xfrm>
            <a:off x="10487560" y="3561133"/>
            <a:ext cx="0" cy="4501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230" name="Straight Connector 229">
            <a:extLst>
              <a:ext uri="{FF2B5EF4-FFF2-40B4-BE49-F238E27FC236}">
                <a16:creationId xmlns:a16="http://schemas.microsoft.com/office/drawing/2014/main" id="{65224DF7-8BE9-E61F-3DC5-44F6D64B3BFF}"/>
              </a:ext>
            </a:extLst>
          </p:cNvPr>
          <p:cNvCxnSpPr>
            <a:cxnSpLocks/>
          </p:cNvCxnSpPr>
          <p:nvPr/>
        </p:nvCxnSpPr>
        <p:spPr>
          <a:xfrm>
            <a:off x="10654738" y="3561133"/>
            <a:ext cx="0" cy="4501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231" name="Straight Connector 230">
            <a:extLst>
              <a:ext uri="{FF2B5EF4-FFF2-40B4-BE49-F238E27FC236}">
                <a16:creationId xmlns:a16="http://schemas.microsoft.com/office/drawing/2014/main" id="{89925F97-A884-1A44-052A-492C1F769821}"/>
              </a:ext>
            </a:extLst>
          </p:cNvPr>
          <p:cNvCxnSpPr>
            <a:cxnSpLocks/>
          </p:cNvCxnSpPr>
          <p:nvPr/>
        </p:nvCxnSpPr>
        <p:spPr>
          <a:xfrm>
            <a:off x="10667598" y="3561133"/>
            <a:ext cx="0" cy="4501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296" name="Straight Connector 295">
            <a:extLst>
              <a:ext uri="{FF2B5EF4-FFF2-40B4-BE49-F238E27FC236}">
                <a16:creationId xmlns:a16="http://schemas.microsoft.com/office/drawing/2014/main" id="{AA88165D-567B-091C-4B5B-8AFE009A197C}"/>
              </a:ext>
            </a:extLst>
          </p:cNvPr>
          <p:cNvCxnSpPr>
            <a:cxnSpLocks/>
          </p:cNvCxnSpPr>
          <p:nvPr/>
        </p:nvCxnSpPr>
        <p:spPr>
          <a:xfrm>
            <a:off x="6719862" y="2407178"/>
            <a:ext cx="0" cy="4501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297" name="Straight Connector 296">
            <a:extLst>
              <a:ext uri="{FF2B5EF4-FFF2-40B4-BE49-F238E27FC236}">
                <a16:creationId xmlns:a16="http://schemas.microsoft.com/office/drawing/2014/main" id="{40BF9D67-29F5-B576-B429-DA4E29F2188A}"/>
              </a:ext>
            </a:extLst>
          </p:cNvPr>
          <p:cNvCxnSpPr>
            <a:cxnSpLocks/>
          </p:cNvCxnSpPr>
          <p:nvPr/>
        </p:nvCxnSpPr>
        <p:spPr>
          <a:xfrm rot="5400000" flipV="1">
            <a:off x="6719862" y="2407178"/>
            <a:ext cx="0" cy="4501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294" name="Straight Connector 293">
            <a:extLst>
              <a:ext uri="{FF2B5EF4-FFF2-40B4-BE49-F238E27FC236}">
                <a16:creationId xmlns:a16="http://schemas.microsoft.com/office/drawing/2014/main" id="{257E2C32-C6A1-F6C8-F10F-E2E9F2A473F2}"/>
              </a:ext>
            </a:extLst>
          </p:cNvPr>
          <p:cNvCxnSpPr>
            <a:cxnSpLocks/>
          </p:cNvCxnSpPr>
          <p:nvPr/>
        </p:nvCxnSpPr>
        <p:spPr>
          <a:xfrm>
            <a:off x="6972772" y="2630694"/>
            <a:ext cx="0" cy="4501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295" name="Straight Connector 294">
            <a:extLst>
              <a:ext uri="{FF2B5EF4-FFF2-40B4-BE49-F238E27FC236}">
                <a16:creationId xmlns:a16="http://schemas.microsoft.com/office/drawing/2014/main" id="{BEF15628-D149-42BB-B8E2-FE8771E9E190}"/>
              </a:ext>
            </a:extLst>
          </p:cNvPr>
          <p:cNvCxnSpPr>
            <a:cxnSpLocks/>
          </p:cNvCxnSpPr>
          <p:nvPr/>
        </p:nvCxnSpPr>
        <p:spPr>
          <a:xfrm rot="5400000" flipV="1">
            <a:off x="6972772" y="2630694"/>
            <a:ext cx="0" cy="4501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292" name="Straight Connector 291">
            <a:extLst>
              <a:ext uri="{FF2B5EF4-FFF2-40B4-BE49-F238E27FC236}">
                <a16:creationId xmlns:a16="http://schemas.microsoft.com/office/drawing/2014/main" id="{42C5E034-7097-0846-1326-373E9D66F1C1}"/>
              </a:ext>
            </a:extLst>
          </p:cNvPr>
          <p:cNvCxnSpPr>
            <a:cxnSpLocks/>
          </p:cNvCxnSpPr>
          <p:nvPr/>
        </p:nvCxnSpPr>
        <p:spPr>
          <a:xfrm>
            <a:off x="7092185" y="2724387"/>
            <a:ext cx="0" cy="4501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293" name="Straight Connector 292">
            <a:extLst>
              <a:ext uri="{FF2B5EF4-FFF2-40B4-BE49-F238E27FC236}">
                <a16:creationId xmlns:a16="http://schemas.microsoft.com/office/drawing/2014/main" id="{4B75ECBE-F07F-E878-11E7-6B167E1CAEC6}"/>
              </a:ext>
            </a:extLst>
          </p:cNvPr>
          <p:cNvCxnSpPr>
            <a:cxnSpLocks/>
          </p:cNvCxnSpPr>
          <p:nvPr/>
        </p:nvCxnSpPr>
        <p:spPr>
          <a:xfrm rot="5400000" flipV="1">
            <a:off x="7092185" y="2724387"/>
            <a:ext cx="0" cy="4501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290" name="Straight Connector 289">
            <a:extLst>
              <a:ext uri="{FF2B5EF4-FFF2-40B4-BE49-F238E27FC236}">
                <a16:creationId xmlns:a16="http://schemas.microsoft.com/office/drawing/2014/main" id="{4B3EA8E9-D861-5B8C-D8DE-958C56E4A466}"/>
              </a:ext>
            </a:extLst>
          </p:cNvPr>
          <p:cNvCxnSpPr>
            <a:cxnSpLocks/>
          </p:cNvCxnSpPr>
          <p:nvPr/>
        </p:nvCxnSpPr>
        <p:spPr>
          <a:xfrm>
            <a:off x="7189552" y="2737247"/>
            <a:ext cx="0" cy="4501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291" name="Straight Connector 290">
            <a:extLst>
              <a:ext uri="{FF2B5EF4-FFF2-40B4-BE49-F238E27FC236}">
                <a16:creationId xmlns:a16="http://schemas.microsoft.com/office/drawing/2014/main" id="{1162E10E-7D50-00B5-5A51-B63B403859A9}"/>
              </a:ext>
            </a:extLst>
          </p:cNvPr>
          <p:cNvCxnSpPr>
            <a:cxnSpLocks/>
          </p:cNvCxnSpPr>
          <p:nvPr/>
        </p:nvCxnSpPr>
        <p:spPr>
          <a:xfrm rot="5400000" flipV="1">
            <a:off x="7189552" y="2737247"/>
            <a:ext cx="0" cy="4501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288" name="Straight Connector 287">
            <a:extLst>
              <a:ext uri="{FF2B5EF4-FFF2-40B4-BE49-F238E27FC236}">
                <a16:creationId xmlns:a16="http://schemas.microsoft.com/office/drawing/2014/main" id="{270356BC-9EF9-C8A4-BCAD-9FC770CAEFFA}"/>
              </a:ext>
            </a:extLst>
          </p:cNvPr>
          <p:cNvCxnSpPr>
            <a:cxnSpLocks/>
          </p:cNvCxnSpPr>
          <p:nvPr/>
        </p:nvCxnSpPr>
        <p:spPr>
          <a:xfrm>
            <a:off x="7255610" y="2949319"/>
            <a:ext cx="0" cy="4501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289" name="Straight Connector 288">
            <a:extLst>
              <a:ext uri="{FF2B5EF4-FFF2-40B4-BE49-F238E27FC236}">
                <a16:creationId xmlns:a16="http://schemas.microsoft.com/office/drawing/2014/main" id="{EFEBD348-3D96-E04B-5264-E06C714480A3}"/>
              </a:ext>
            </a:extLst>
          </p:cNvPr>
          <p:cNvCxnSpPr>
            <a:cxnSpLocks/>
          </p:cNvCxnSpPr>
          <p:nvPr/>
        </p:nvCxnSpPr>
        <p:spPr>
          <a:xfrm rot="5400000" flipV="1">
            <a:off x="7255610" y="2949319"/>
            <a:ext cx="0" cy="4501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286" name="Straight Connector 285">
            <a:extLst>
              <a:ext uri="{FF2B5EF4-FFF2-40B4-BE49-F238E27FC236}">
                <a16:creationId xmlns:a16="http://schemas.microsoft.com/office/drawing/2014/main" id="{D0002A83-4C68-1833-8D98-4BD2E4D965FB}"/>
              </a:ext>
            </a:extLst>
          </p:cNvPr>
          <p:cNvCxnSpPr>
            <a:cxnSpLocks/>
          </p:cNvCxnSpPr>
          <p:nvPr/>
        </p:nvCxnSpPr>
        <p:spPr>
          <a:xfrm>
            <a:off x="7418352" y="3056117"/>
            <a:ext cx="0" cy="4501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287" name="Straight Connector 286">
            <a:extLst>
              <a:ext uri="{FF2B5EF4-FFF2-40B4-BE49-F238E27FC236}">
                <a16:creationId xmlns:a16="http://schemas.microsoft.com/office/drawing/2014/main" id="{C2C44A36-F4C8-E1EF-9373-DE6C69AF6602}"/>
              </a:ext>
            </a:extLst>
          </p:cNvPr>
          <p:cNvCxnSpPr>
            <a:cxnSpLocks/>
          </p:cNvCxnSpPr>
          <p:nvPr/>
        </p:nvCxnSpPr>
        <p:spPr>
          <a:xfrm rot="5400000" flipV="1">
            <a:off x="7418352" y="3056117"/>
            <a:ext cx="0" cy="4501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284" name="Straight Connector 283">
            <a:extLst>
              <a:ext uri="{FF2B5EF4-FFF2-40B4-BE49-F238E27FC236}">
                <a16:creationId xmlns:a16="http://schemas.microsoft.com/office/drawing/2014/main" id="{31DDE9A7-0150-FCFE-8FE7-E320158FB634}"/>
              </a:ext>
            </a:extLst>
          </p:cNvPr>
          <p:cNvCxnSpPr>
            <a:cxnSpLocks/>
          </p:cNvCxnSpPr>
          <p:nvPr/>
        </p:nvCxnSpPr>
        <p:spPr>
          <a:xfrm>
            <a:off x="7476343" y="3136804"/>
            <a:ext cx="0" cy="4501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285" name="Straight Connector 284">
            <a:extLst>
              <a:ext uri="{FF2B5EF4-FFF2-40B4-BE49-F238E27FC236}">
                <a16:creationId xmlns:a16="http://schemas.microsoft.com/office/drawing/2014/main" id="{C8722EA5-200E-AB97-47F7-A05E24343F44}"/>
              </a:ext>
            </a:extLst>
          </p:cNvPr>
          <p:cNvCxnSpPr>
            <a:cxnSpLocks/>
          </p:cNvCxnSpPr>
          <p:nvPr/>
        </p:nvCxnSpPr>
        <p:spPr>
          <a:xfrm rot="5400000" flipV="1">
            <a:off x="7476343" y="3136804"/>
            <a:ext cx="0" cy="4501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282" name="Straight Connector 281">
            <a:extLst>
              <a:ext uri="{FF2B5EF4-FFF2-40B4-BE49-F238E27FC236}">
                <a16:creationId xmlns:a16="http://schemas.microsoft.com/office/drawing/2014/main" id="{19F400C9-CBE8-2C6B-067D-09FF753388CD}"/>
              </a:ext>
            </a:extLst>
          </p:cNvPr>
          <p:cNvCxnSpPr>
            <a:cxnSpLocks/>
          </p:cNvCxnSpPr>
          <p:nvPr/>
        </p:nvCxnSpPr>
        <p:spPr>
          <a:xfrm>
            <a:off x="7487526" y="3136804"/>
            <a:ext cx="0" cy="4501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283" name="Straight Connector 282">
            <a:extLst>
              <a:ext uri="{FF2B5EF4-FFF2-40B4-BE49-F238E27FC236}">
                <a16:creationId xmlns:a16="http://schemas.microsoft.com/office/drawing/2014/main" id="{E8608311-0336-23FB-7C9F-B45DC10E612E}"/>
              </a:ext>
            </a:extLst>
          </p:cNvPr>
          <p:cNvCxnSpPr>
            <a:cxnSpLocks/>
          </p:cNvCxnSpPr>
          <p:nvPr/>
        </p:nvCxnSpPr>
        <p:spPr>
          <a:xfrm rot="5400000" flipV="1">
            <a:off x="7487526" y="3136804"/>
            <a:ext cx="0" cy="4501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280" name="Straight Connector 279">
            <a:extLst>
              <a:ext uri="{FF2B5EF4-FFF2-40B4-BE49-F238E27FC236}">
                <a16:creationId xmlns:a16="http://schemas.microsoft.com/office/drawing/2014/main" id="{15FEB4AA-38B5-92D8-E11B-AD8F985ADBF0}"/>
              </a:ext>
            </a:extLst>
          </p:cNvPr>
          <p:cNvCxnSpPr>
            <a:cxnSpLocks/>
          </p:cNvCxnSpPr>
          <p:nvPr/>
        </p:nvCxnSpPr>
        <p:spPr>
          <a:xfrm>
            <a:off x="7498848" y="3136804"/>
            <a:ext cx="0" cy="4501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281" name="Straight Connector 280">
            <a:extLst>
              <a:ext uri="{FF2B5EF4-FFF2-40B4-BE49-F238E27FC236}">
                <a16:creationId xmlns:a16="http://schemas.microsoft.com/office/drawing/2014/main" id="{7845474F-0A14-06BC-2905-ADF1FAB49980}"/>
              </a:ext>
            </a:extLst>
          </p:cNvPr>
          <p:cNvCxnSpPr>
            <a:cxnSpLocks/>
          </p:cNvCxnSpPr>
          <p:nvPr/>
        </p:nvCxnSpPr>
        <p:spPr>
          <a:xfrm rot="5400000" flipV="1">
            <a:off x="7498848" y="3136804"/>
            <a:ext cx="0" cy="4501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278" name="Straight Connector 277">
            <a:extLst>
              <a:ext uri="{FF2B5EF4-FFF2-40B4-BE49-F238E27FC236}">
                <a16:creationId xmlns:a16="http://schemas.microsoft.com/office/drawing/2014/main" id="{AD6F8A03-1802-8D4A-7BCF-2A09A2B3B5F8}"/>
              </a:ext>
            </a:extLst>
          </p:cNvPr>
          <p:cNvCxnSpPr>
            <a:cxnSpLocks/>
          </p:cNvCxnSpPr>
          <p:nvPr/>
        </p:nvCxnSpPr>
        <p:spPr>
          <a:xfrm>
            <a:off x="7518912" y="3140895"/>
            <a:ext cx="0" cy="4501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279" name="Straight Connector 278">
            <a:extLst>
              <a:ext uri="{FF2B5EF4-FFF2-40B4-BE49-F238E27FC236}">
                <a16:creationId xmlns:a16="http://schemas.microsoft.com/office/drawing/2014/main" id="{1A537C55-E034-A45D-B04F-9C1692C523F9}"/>
              </a:ext>
            </a:extLst>
          </p:cNvPr>
          <p:cNvCxnSpPr>
            <a:cxnSpLocks/>
          </p:cNvCxnSpPr>
          <p:nvPr/>
        </p:nvCxnSpPr>
        <p:spPr>
          <a:xfrm rot="5400000" flipV="1">
            <a:off x="7518912" y="3140895"/>
            <a:ext cx="0" cy="4501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276" name="Straight Connector 275">
            <a:extLst>
              <a:ext uri="{FF2B5EF4-FFF2-40B4-BE49-F238E27FC236}">
                <a16:creationId xmlns:a16="http://schemas.microsoft.com/office/drawing/2014/main" id="{C4BA3288-8546-EF5B-11FD-13C0ADBA0F83}"/>
              </a:ext>
            </a:extLst>
          </p:cNvPr>
          <p:cNvCxnSpPr>
            <a:cxnSpLocks/>
          </p:cNvCxnSpPr>
          <p:nvPr/>
        </p:nvCxnSpPr>
        <p:spPr>
          <a:xfrm>
            <a:off x="7534912" y="3154747"/>
            <a:ext cx="0" cy="4501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277" name="Straight Connector 276">
            <a:extLst>
              <a:ext uri="{FF2B5EF4-FFF2-40B4-BE49-F238E27FC236}">
                <a16:creationId xmlns:a16="http://schemas.microsoft.com/office/drawing/2014/main" id="{17E164EF-572A-EEC0-1190-7530B03862C8}"/>
              </a:ext>
            </a:extLst>
          </p:cNvPr>
          <p:cNvCxnSpPr>
            <a:cxnSpLocks/>
          </p:cNvCxnSpPr>
          <p:nvPr/>
        </p:nvCxnSpPr>
        <p:spPr>
          <a:xfrm rot="5400000" flipV="1">
            <a:off x="7534912" y="3154747"/>
            <a:ext cx="0" cy="4501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274" name="Straight Connector 273">
            <a:extLst>
              <a:ext uri="{FF2B5EF4-FFF2-40B4-BE49-F238E27FC236}">
                <a16:creationId xmlns:a16="http://schemas.microsoft.com/office/drawing/2014/main" id="{48A60607-6F41-222F-3CCC-30DC19FA31B9}"/>
              </a:ext>
            </a:extLst>
          </p:cNvPr>
          <p:cNvCxnSpPr>
            <a:cxnSpLocks/>
          </p:cNvCxnSpPr>
          <p:nvPr/>
        </p:nvCxnSpPr>
        <p:spPr>
          <a:xfrm>
            <a:off x="7647840" y="3170799"/>
            <a:ext cx="0" cy="4501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275" name="Straight Connector 274">
            <a:extLst>
              <a:ext uri="{FF2B5EF4-FFF2-40B4-BE49-F238E27FC236}">
                <a16:creationId xmlns:a16="http://schemas.microsoft.com/office/drawing/2014/main" id="{5415BBBB-7A7E-F72A-4407-38A0633F36B8}"/>
              </a:ext>
            </a:extLst>
          </p:cNvPr>
          <p:cNvCxnSpPr>
            <a:cxnSpLocks/>
          </p:cNvCxnSpPr>
          <p:nvPr/>
        </p:nvCxnSpPr>
        <p:spPr>
          <a:xfrm rot="5400000" flipV="1">
            <a:off x="7647840" y="3170799"/>
            <a:ext cx="0" cy="4501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272" name="Straight Connector 271">
            <a:extLst>
              <a:ext uri="{FF2B5EF4-FFF2-40B4-BE49-F238E27FC236}">
                <a16:creationId xmlns:a16="http://schemas.microsoft.com/office/drawing/2014/main" id="{A55DA39D-8479-3E4B-35F5-BB84BE696DD7}"/>
              </a:ext>
            </a:extLst>
          </p:cNvPr>
          <p:cNvCxnSpPr>
            <a:cxnSpLocks/>
          </p:cNvCxnSpPr>
          <p:nvPr/>
        </p:nvCxnSpPr>
        <p:spPr>
          <a:xfrm>
            <a:off x="7780685" y="3189401"/>
            <a:ext cx="0" cy="4501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273" name="Straight Connector 272">
            <a:extLst>
              <a:ext uri="{FF2B5EF4-FFF2-40B4-BE49-F238E27FC236}">
                <a16:creationId xmlns:a16="http://schemas.microsoft.com/office/drawing/2014/main" id="{1E7634D8-DB99-95A1-F812-6A6BC9546B49}"/>
              </a:ext>
            </a:extLst>
          </p:cNvPr>
          <p:cNvCxnSpPr>
            <a:cxnSpLocks/>
          </p:cNvCxnSpPr>
          <p:nvPr/>
        </p:nvCxnSpPr>
        <p:spPr>
          <a:xfrm rot="5400000" flipV="1">
            <a:off x="7780685" y="3189401"/>
            <a:ext cx="0" cy="4501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270" name="Straight Connector 269">
            <a:extLst>
              <a:ext uri="{FF2B5EF4-FFF2-40B4-BE49-F238E27FC236}">
                <a16:creationId xmlns:a16="http://schemas.microsoft.com/office/drawing/2014/main" id="{10D3E3CA-4131-9454-90DF-D596FB486651}"/>
              </a:ext>
            </a:extLst>
          </p:cNvPr>
          <p:cNvCxnSpPr>
            <a:cxnSpLocks/>
          </p:cNvCxnSpPr>
          <p:nvPr/>
        </p:nvCxnSpPr>
        <p:spPr>
          <a:xfrm>
            <a:off x="7884627" y="3207926"/>
            <a:ext cx="0" cy="4501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271" name="Straight Connector 270">
            <a:extLst>
              <a:ext uri="{FF2B5EF4-FFF2-40B4-BE49-F238E27FC236}">
                <a16:creationId xmlns:a16="http://schemas.microsoft.com/office/drawing/2014/main" id="{0D1BF945-F210-B3F8-ADAC-D5BD138C925B}"/>
              </a:ext>
            </a:extLst>
          </p:cNvPr>
          <p:cNvCxnSpPr>
            <a:cxnSpLocks/>
          </p:cNvCxnSpPr>
          <p:nvPr/>
        </p:nvCxnSpPr>
        <p:spPr>
          <a:xfrm rot="5400000" flipV="1">
            <a:off x="7884627" y="3207926"/>
            <a:ext cx="0" cy="4501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268" name="Straight Connector 267">
            <a:extLst>
              <a:ext uri="{FF2B5EF4-FFF2-40B4-BE49-F238E27FC236}">
                <a16:creationId xmlns:a16="http://schemas.microsoft.com/office/drawing/2014/main" id="{7447AC26-DFA5-382F-2AF8-98137B78AA8F}"/>
              </a:ext>
            </a:extLst>
          </p:cNvPr>
          <p:cNvCxnSpPr>
            <a:cxnSpLocks/>
          </p:cNvCxnSpPr>
          <p:nvPr/>
        </p:nvCxnSpPr>
        <p:spPr>
          <a:xfrm>
            <a:off x="7897150" y="3224555"/>
            <a:ext cx="0" cy="4501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269" name="Straight Connector 268">
            <a:extLst>
              <a:ext uri="{FF2B5EF4-FFF2-40B4-BE49-F238E27FC236}">
                <a16:creationId xmlns:a16="http://schemas.microsoft.com/office/drawing/2014/main" id="{27EADD58-42C1-2E3F-6B09-8A35B89642BA}"/>
              </a:ext>
            </a:extLst>
          </p:cNvPr>
          <p:cNvCxnSpPr>
            <a:cxnSpLocks/>
          </p:cNvCxnSpPr>
          <p:nvPr/>
        </p:nvCxnSpPr>
        <p:spPr>
          <a:xfrm rot="5400000" flipV="1">
            <a:off x="7897150" y="3224555"/>
            <a:ext cx="0" cy="4501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266" name="Straight Connector 265">
            <a:extLst>
              <a:ext uri="{FF2B5EF4-FFF2-40B4-BE49-F238E27FC236}">
                <a16:creationId xmlns:a16="http://schemas.microsoft.com/office/drawing/2014/main" id="{553B20D9-1A4A-3092-8788-4892FC1CB0C7}"/>
              </a:ext>
            </a:extLst>
          </p:cNvPr>
          <p:cNvCxnSpPr>
            <a:cxnSpLocks/>
          </p:cNvCxnSpPr>
          <p:nvPr/>
        </p:nvCxnSpPr>
        <p:spPr>
          <a:xfrm>
            <a:off x="7920744" y="3224555"/>
            <a:ext cx="0" cy="4501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267" name="Straight Connector 266">
            <a:extLst>
              <a:ext uri="{FF2B5EF4-FFF2-40B4-BE49-F238E27FC236}">
                <a16:creationId xmlns:a16="http://schemas.microsoft.com/office/drawing/2014/main" id="{5E81BC45-A5B2-DF16-1E15-383262BED33C}"/>
              </a:ext>
            </a:extLst>
          </p:cNvPr>
          <p:cNvCxnSpPr>
            <a:cxnSpLocks/>
          </p:cNvCxnSpPr>
          <p:nvPr/>
        </p:nvCxnSpPr>
        <p:spPr>
          <a:xfrm rot="5400000" flipV="1">
            <a:off x="7920744" y="3224555"/>
            <a:ext cx="0" cy="4501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264" name="Straight Connector 263">
            <a:extLst>
              <a:ext uri="{FF2B5EF4-FFF2-40B4-BE49-F238E27FC236}">
                <a16:creationId xmlns:a16="http://schemas.microsoft.com/office/drawing/2014/main" id="{70A10272-47FA-BC4B-7D99-B915B6AF1937}"/>
              </a:ext>
            </a:extLst>
          </p:cNvPr>
          <p:cNvCxnSpPr>
            <a:cxnSpLocks/>
          </p:cNvCxnSpPr>
          <p:nvPr/>
        </p:nvCxnSpPr>
        <p:spPr>
          <a:xfrm>
            <a:off x="7932267" y="3224555"/>
            <a:ext cx="0" cy="4501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265" name="Straight Connector 264">
            <a:extLst>
              <a:ext uri="{FF2B5EF4-FFF2-40B4-BE49-F238E27FC236}">
                <a16:creationId xmlns:a16="http://schemas.microsoft.com/office/drawing/2014/main" id="{1CFAF9FD-F951-4EA4-B815-4C5E5DE34AB2}"/>
              </a:ext>
            </a:extLst>
          </p:cNvPr>
          <p:cNvCxnSpPr>
            <a:cxnSpLocks/>
          </p:cNvCxnSpPr>
          <p:nvPr/>
        </p:nvCxnSpPr>
        <p:spPr>
          <a:xfrm rot="5400000" flipV="1">
            <a:off x="7932267" y="3224555"/>
            <a:ext cx="0" cy="4501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262" name="Straight Connector 261">
            <a:extLst>
              <a:ext uri="{FF2B5EF4-FFF2-40B4-BE49-F238E27FC236}">
                <a16:creationId xmlns:a16="http://schemas.microsoft.com/office/drawing/2014/main" id="{DD14854D-B681-5B50-89A9-4C1CD128455C}"/>
              </a:ext>
            </a:extLst>
          </p:cNvPr>
          <p:cNvCxnSpPr>
            <a:cxnSpLocks/>
          </p:cNvCxnSpPr>
          <p:nvPr/>
        </p:nvCxnSpPr>
        <p:spPr>
          <a:xfrm>
            <a:off x="9125305" y="3423449"/>
            <a:ext cx="0" cy="4501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263" name="Straight Connector 262">
            <a:extLst>
              <a:ext uri="{FF2B5EF4-FFF2-40B4-BE49-F238E27FC236}">
                <a16:creationId xmlns:a16="http://schemas.microsoft.com/office/drawing/2014/main" id="{E4B2E8B9-1A49-8E11-C768-AE84537003E4}"/>
              </a:ext>
            </a:extLst>
          </p:cNvPr>
          <p:cNvCxnSpPr>
            <a:cxnSpLocks/>
          </p:cNvCxnSpPr>
          <p:nvPr/>
        </p:nvCxnSpPr>
        <p:spPr>
          <a:xfrm rot="5400000" flipV="1">
            <a:off x="9125305" y="3423449"/>
            <a:ext cx="0" cy="4501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260" name="Straight Connector 259">
            <a:extLst>
              <a:ext uri="{FF2B5EF4-FFF2-40B4-BE49-F238E27FC236}">
                <a16:creationId xmlns:a16="http://schemas.microsoft.com/office/drawing/2014/main" id="{1C7FBE17-C84A-83E5-923A-F78C4EBE3BAA}"/>
              </a:ext>
            </a:extLst>
          </p:cNvPr>
          <p:cNvCxnSpPr>
            <a:cxnSpLocks/>
          </p:cNvCxnSpPr>
          <p:nvPr/>
        </p:nvCxnSpPr>
        <p:spPr>
          <a:xfrm>
            <a:off x="9536393" y="3479411"/>
            <a:ext cx="0" cy="4501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261" name="Straight Connector 260">
            <a:extLst>
              <a:ext uri="{FF2B5EF4-FFF2-40B4-BE49-F238E27FC236}">
                <a16:creationId xmlns:a16="http://schemas.microsoft.com/office/drawing/2014/main" id="{83E6C8FA-BCC8-4906-D921-DE9C5F956B1A}"/>
              </a:ext>
            </a:extLst>
          </p:cNvPr>
          <p:cNvCxnSpPr>
            <a:cxnSpLocks/>
          </p:cNvCxnSpPr>
          <p:nvPr/>
        </p:nvCxnSpPr>
        <p:spPr>
          <a:xfrm rot="5400000" flipV="1">
            <a:off x="9536393" y="3479411"/>
            <a:ext cx="0" cy="4501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258" name="Straight Connector 257">
            <a:extLst>
              <a:ext uri="{FF2B5EF4-FFF2-40B4-BE49-F238E27FC236}">
                <a16:creationId xmlns:a16="http://schemas.microsoft.com/office/drawing/2014/main" id="{22849287-CFF6-12B7-1A8F-48471CA2DDA4}"/>
              </a:ext>
            </a:extLst>
          </p:cNvPr>
          <p:cNvCxnSpPr>
            <a:cxnSpLocks/>
          </p:cNvCxnSpPr>
          <p:nvPr/>
        </p:nvCxnSpPr>
        <p:spPr>
          <a:xfrm>
            <a:off x="9917015" y="3511811"/>
            <a:ext cx="0" cy="4501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259" name="Straight Connector 258">
            <a:extLst>
              <a:ext uri="{FF2B5EF4-FFF2-40B4-BE49-F238E27FC236}">
                <a16:creationId xmlns:a16="http://schemas.microsoft.com/office/drawing/2014/main" id="{3CF30485-9CED-EC5D-26C9-60664291DE8F}"/>
              </a:ext>
            </a:extLst>
          </p:cNvPr>
          <p:cNvCxnSpPr>
            <a:cxnSpLocks/>
          </p:cNvCxnSpPr>
          <p:nvPr/>
        </p:nvCxnSpPr>
        <p:spPr>
          <a:xfrm rot="5400000" flipV="1">
            <a:off x="9917015" y="3511811"/>
            <a:ext cx="0" cy="4501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256" name="Straight Connector 255">
            <a:extLst>
              <a:ext uri="{FF2B5EF4-FFF2-40B4-BE49-F238E27FC236}">
                <a16:creationId xmlns:a16="http://schemas.microsoft.com/office/drawing/2014/main" id="{467B5109-540B-E885-87A8-1B1495ACD6F4}"/>
              </a:ext>
            </a:extLst>
          </p:cNvPr>
          <p:cNvCxnSpPr>
            <a:cxnSpLocks/>
          </p:cNvCxnSpPr>
          <p:nvPr/>
        </p:nvCxnSpPr>
        <p:spPr>
          <a:xfrm>
            <a:off x="9919891" y="3559216"/>
            <a:ext cx="0" cy="4501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257" name="Straight Connector 256">
            <a:extLst>
              <a:ext uri="{FF2B5EF4-FFF2-40B4-BE49-F238E27FC236}">
                <a16:creationId xmlns:a16="http://schemas.microsoft.com/office/drawing/2014/main" id="{49863606-D6C0-C1ED-B646-301A6CAC7152}"/>
              </a:ext>
            </a:extLst>
          </p:cNvPr>
          <p:cNvCxnSpPr>
            <a:cxnSpLocks/>
          </p:cNvCxnSpPr>
          <p:nvPr/>
        </p:nvCxnSpPr>
        <p:spPr>
          <a:xfrm rot="5400000" flipV="1">
            <a:off x="9919891" y="3559216"/>
            <a:ext cx="0" cy="4501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254" name="Straight Connector 253">
            <a:extLst>
              <a:ext uri="{FF2B5EF4-FFF2-40B4-BE49-F238E27FC236}">
                <a16:creationId xmlns:a16="http://schemas.microsoft.com/office/drawing/2014/main" id="{C2BA374B-45B6-67B5-8492-AB5526D805EA}"/>
              </a:ext>
            </a:extLst>
          </p:cNvPr>
          <p:cNvCxnSpPr>
            <a:cxnSpLocks/>
          </p:cNvCxnSpPr>
          <p:nvPr/>
        </p:nvCxnSpPr>
        <p:spPr>
          <a:xfrm>
            <a:off x="10760294" y="3558693"/>
            <a:ext cx="0" cy="4501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255" name="Straight Connector 254">
            <a:extLst>
              <a:ext uri="{FF2B5EF4-FFF2-40B4-BE49-F238E27FC236}">
                <a16:creationId xmlns:a16="http://schemas.microsoft.com/office/drawing/2014/main" id="{4767D9EE-C371-A7A7-03EE-EE5176980DC1}"/>
              </a:ext>
            </a:extLst>
          </p:cNvPr>
          <p:cNvCxnSpPr>
            <a:cxnSpLocks/>
          </p:cNvCxnSpPr>
          <p:nvPr/>
        </p:nvCxnSpPr>
        <p:spPr>
          <a:xfrm rot="5400000" flipV="1">
            <a:off x="10760294" y="3558693"/>
            <a:ext cx="0" cy="4501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8" name="Title 2">
            <a:extLst>
              <a:ext uri="{FF2B5EF4-FFF2-40B4-BE49-F238E27FC236}">
                <a16:creationId xmlns:a16="http://schemas.microsoft.com/office/drawing/2014/main" id="{FEBE7280-CEBA-2E13-45E6-224B42AD0B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0" y="311150"/>
            <a:ext cx="9790113" cy="633413"/>
          </a:xfrm>
        </p:spPr>
        <p:txBody>
          <a:bodyPr/>
          <a:lstStyle/>
          <a:p>
            <a:r>
              <a:rPr lang="en-GB" sz="3200" dirty="0" err="1">
                <a:latin typeface="+mn-lt"/>
              </a:rPr>
              <a:t>Mosunetuzumab</a:t>
            </a:r>
            <a:r>
              <a:rPr lang="en-GB" sz="3200" dirty="0">
                <a:latin typeface="+mn-lt"/>
              </a:rPr>
              <a:t>-polatuzumab vedotin (</a:t>
            </a:r>
            <a:r>
              <a:rPr lang="en-GB" sz="3200" b="1" dirty="0">
                <a:latin typeface="+mn-lt"/>
              </a:rPr>
              <a:t>SUNMO</a:t>
            </a:r>
            <a:r>
              <a:rPr lang="en-GB" sz="3200" dirty="0">
                <a:latin typeface="+mn-lt"/>
              </a:rPr>
              <a:t>)</a:t>
            </a:r>
            <a:r>
              <a:rPr lang="en-GB" sz="3200" baseline="30000" dirty="0">
                <a:latin typeface="+mn-lt"/>
              </a:rPr>
              <a:t>1,</a:t>
            </a:r>
            <a:r>
              <a:rPr lang="en-GB" sz="3200" dirty="0">
                <a:latin typeface="+mn-lt"/>
              </a:rPr>
              <a:t>*</a:t>
            </a:r>
            <a:endParaRPr lang="en-GB" sz="3200" baseline="30000" dirty="0">
              <a:latin typeface="+mn-lt"/>
            </a:endParaRPr>
          </a:p>
        </p:txBody>
      </p:sp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86779855-19D2-4200-32F5-68D9503EE1F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70645" y="5746414"/>
            <a:ext cx="10440000" cy="983062"/>
          </a:xfrm>
        </p:spPr>
        <p:txBody>
          <a:bodyPr/>
          <a:lstStyle/>
          <a:p>
            <a:r>
              <a:rPr lang="en-GB" dirty="0"/>
              <a:t>*For scientific discussion only, subject to regulatory approval. †Stratified prior lines of systemic therapy (1 vs ≥2), outcome of last systemic therapy (relapsed vs refractory). </a:t>
            </a:r>
            <a:endParaRPr lang="en-CH" dirty="0"/>
          </a:p>
          <a:p>
            <a:r>
              <a:rPr lang="en-GB" dirty="0"/>
              <a:t>‡</a:t>
            </a:r>
            <a:r>
              <a:rPr lang="en-GB" dirty="0" err="1"/>
              <a:t>Mosunetuzumab</a:t>
            </a:r>
            <a:r>
              <a:rPr lang="en-GB" dirty="0"/>
              <a:t> step-up dosing with 5 mg SC given on Day 1, Cycle 1, followed by 45 mg (full dose) SC given on Days 8 and 15 of Cycle 1. </a:t>
            </a:r>
            <a:endParaRPr lang="en-CH" dirty="0"/>
          </a:p>
          <a:p>
            <a:r>
              <a:rPr lang="en-GB" dirty="0"/>
              <a:t>§14-day cycles unless delayed to 21-day cycles in case of haematologic toxicity. </a:t>
            </a:r>
            <a:endParaRPr lang="en-CH" dirty="0"/>
          </a:p>
          <a:p>
            <a:r>
              <a:rPr lang="en-GB" dirty="0"/>
              <a:t>‖Independent Review Committee-evaluated.</a:t>
            </a:r>
          </a:p>
          <a:p>
            <a:r>
              <a:rPr lang="en-GB" dirty="0"/>
              <a:t>2L, second line; ADC, antibody-drug conjugate; ASCT, autologous stem cell transplantation; </a:t>
            </a:r>
            <a:r>
              <a:rPr lang="en-GB" dirty="0" err="1"/>
              <a:t>BsAb</a:t>
            </a:r>
            <a:r>
              <a:rPr lang="en-GB" dirty="0"/>
              <a:t>, bispecific antibody; DLBCL, diffuse large B-cell lymphoma; FL(3B), follicular lymphoma (Grade 3B); </a:t>
            </a:r>
          </a:p>
          <a:p>
            <a:r>
              <a:rPr lang="en-GB" dirty="0"/>
              <a:t>HGBL, high-grade B-cell lymphoma; LBCL, large B-cell lymphoma; </a:t>
            </a:r>
            <a:r>
              <a:rPr lang="en-GB" dirty="0" err="1"/>
              <a:t>mosun</a:t>
            </a:r>
            <a:r>
              <a:rPr lang="en-GB" dirty="0"/>
              <a:t>, </a:t>
            </a:r>
            <a:r>
              <a:rPr lang="en-GB" dirty="0" err="1"/>
              <a:t>mosunetuzumab</a:t>
            </a:r>
            <a:r>
              <a:rPr lang="en-GB" dirty="0"/>
              <a:t>; NE, not estimable; NOS, not otherwise specified; PFS, progression-free survival; pola, polatuzumab vedotin; </a:t>
            </a:r>
          </a:p>
          <a:p>
            <a:r>
              <a:rPr lang="en-GB" dirty="0"/>
              <a:t>R/R, relapsed/refractory; R-GemOx, rituximab plus gemcitabine and oxaliplatin; SC, subcutaneous; Q2W, every 2 weeks; Q3W, every 3 weeks. </a:t>
            </a:r>
            <a:endParaRPr lang="en-CH" dirty="0"/>
          </a:p>
          <a:p>
            <a:r>
              <a:rPr lang="en-GB" b="1" dirty="0"/>
              <a:t>1. </a:t>
            </a:r>
            <a:r>
              <a:rPr lang="en-GB" dirty="0"/>
              <a:t>Budde et al. </a:t>
            </a:r>
            <a:r>
              <a:rPr lang="en-GB" i="1" dirty="0"/>
              <a:t>J Clin Oncol</a:t>
            </a:r>
            <a:r>
              <a:rPr lang="en-GB" dirty="0"/>
              <a:t> 2025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95AA56C-C1D7-7358-15CB-23F2F70330D5}"/>
              </a:ext>
            </a:extLst>
          </p:cNvPr>
          <p:cNvSpPr txBox="1"/>
          <p:nvPr/>
        </p:nvSpPr>
        <p:spPr>
          <a:xfrm>
            <a:off x="7280107" y="1901523"/>
            <a:ext cx="255710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gression-free survival</a:t>
            </a:r>
            <a:r>
              <a:rPr kumimoji="0" lang="en-GB" sz="1600" b="0" i="0" u="none" strike="noStrike" kern="1200" cap="none" spc="0" normalizeH="0" baseline="3000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‖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58AE88A-0117-6930-D4C3-6A6850764943}"/>
              </a:ext>
            </a:extLst>
          </p:cNvPr>
          <p:cNvSpPr txBox="1"/>
          <p:nvPr/>
        </p:nvSpPr>
        <p:spPr>
          <a:xfrm>
            <a:off x="5474192" y="4763598"/>
            <a:ext cx="864066" cy="115198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No. at risk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F15922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Mosun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F15922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-Pola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ABBFC9">
                    <a:lumMod val="7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R-GemOx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C6B6413-7B1B-B060-9625-70DF10466D20}"/>
              </a:ext>
            </a:extLst>
          </p:cNvPr>
          <p:cNvSpPr txBox="1"/>
          <p:nvPr/>
        </p:nvSpPr>
        <p:spPr>
          <a:xfrm>
            <a:off x="6370633" y="2378093"/>
            <a:ext cx="228337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00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7C4B49A-58AC-1D45-90A8-C8B3AB8D0C35}"/>
              </a:ext>
            </a:extLst>
          </p:cNvPr>
          <p:cNvSpPr txBox="1"/>
          <p:nvPr/>
        </p:nvSpPr>
        <p:spPr>
          <a:xfrm>
            <a:off x="6370633" y="2728797"/>
            <a:ext cx="228337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80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74D6B8BF-1A28-2B5D-4C6A-3F05FDAFD4E1}"/>
              </a:ext>
            </a:extLst>
          </p:cNvPr>
          <p:cNvSpPr txBox="1"/>
          <p:nvPr/>
        </p:nvSpPr>
        <p:spPr>
          <a:xfrm>
            <a:off x="6370633" y="3079501"/>
            <a:ext cx="228337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60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E5161495-07CE-10E9-339E-6EC4ED81AD6D}"/>
              </a:ext>
            </a:extLst>
          </p:cNvPr>
          <p:cNvSpPr txBox="1"/>
          <p:nvPr/>
        </p:nvSpPr>
        <p:spPr>
          <a:xfrm>
            <a:off x="6370633" y="3430205"/>
            <a:ext cx="228337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40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C67E34CB-7A74-B65F-5A7C-B935E4418A83}"/>
              </a:ext>
            </a:extLst>
          </p:cNvPr>
          <p:cNvSpPr txBox="1"/>
          <p:nvPr/>
        </p:nvSpPr>
        <p:spPr>
          <a:xfrm>
            <a:off x="6370633" y="3780909"/>
            <a:ext cx="228337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20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59D892AC-4339-2C27-AF14-EE46F36BAF56}"/>
              </a:ext>
            </a:extLst>
          </p:cNvPr>
          <p:cNvSpPr txBox="1"/>
          <p:nvPr/>
        </p:nvSpPr>
        <p:spPr>
          <a:xfrm>
            <a:off x="6509106" y="4131611"/>
            <a:ext cx="89864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0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5272079-78A4-F723-6729-610E706FE6FD}"/>
              </a:ext>
            </a:extLst>
          </p:cNvPr>
          <p:cNvSpPr txBox="1"/>
          <p:nvPr/>
        </p:nvSpPr>
        <p:spPr>
          <a:xfrm rot="16200000">
            <a:off x="5180197" y="3263157"/>
            <a:ext cx="1924304" cy="169007"/>
          </a:xfrm>
          <a:prstGeom prst="rect">
            <a:avLst/>
          </a:prstGeom>
          <a:noFill/>
        </p:spPr>
        <p:txBody>
          <a:bodyPr wrap="non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PFS, %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F56F2DCF-2E9A-A793-1EF0-70690DE19D08}"/>
              </a:ext>
            </a:extLst>
          </p:cNvPr>
          <p:cNvCxnSpPr>
            <a:cxnSpLocks/>
          </p:cNvCxnSpPr>
          <p:nvPr/>
        </p:nvCxnSpPr>
        <p:spPr>
          <a:xfrm>
            <a:off x="6630409" y="2437526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1B59B214-96D3-3315-9094-EAE25C58262F}"/>
              </a:ext>
            </a:extLst>
          </p:cNvPr>
          <p:cNvCxnSpPr>
            <a:cxnSpLocks/>
          </p:cNvCxnSpPr>
          <p:nvPr/>
        </p:nvCxnSpPr>
        <p:spPr>
          <a:xfrm>
            <a:off x="6630409" y="2787942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67FF7C24-8392-5D41-C1C3-9AE514BA8CF5}"/>
              </a:ext>
            </a:extLst>
          </p:cNvPr>
          <p:cNvCxnSpPr>
            <a:cxnSpLocks/>
          </p:cNvCxnSpPr>
          <p:nvPr/>
        </p:nvCxnSpPr>
        <p:spPr>
          <a:xfrm>
            <a:off x="6630409" y="3138358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F90B187D-CEC3-75BD-AD38-EB0DE459C1CC}"/>
              </a:ext>
            </a:extLst>
          </p:cNvPr>
          <p:cNvCxnSpPr>
            <a:cxnSpLocks/>
          </p:cNvCxnSpPr>
          <p:nvPr/>
        </p:nvCxnSpPr>
        <p:spPr>
          <a:xfrm>
            <a:off x="6630409" y="3839190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20D94FA7-6AAE-8823-091D-4A331240BD1F}"/>
              </a:ext>
            </a:extLst>
          </p:cNvPr>
          <p:cNvCxnSpPr>
            <a:cxnSpLocks/>
          </p:cNvCxnSpPr>
          <p:nvPr/>
        </p:nvCxnSpPr>
        <p:spPr>
          <a:xfrm>
            <a:off x="6630409" y="3488774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>
            <a:extLst>
              <a:ext uri="{FF2B5EF4-FFF2-40B4-BE49-F238E27FC236}">
                <a16:creationId xmlns:a16="http://schemas.microsoft.com/office/drawing/2014/main" id="{9B33BE94-2106-6E8E-016C-D21B527D2DF3}"/>
              </a:ext>
            </a:extLst>
          </p:cNvPr>
          <p:cNvCxnSpPr>
            <a:cxnSpLocks/>
          </p:cNvCxnSpPr>
          <p:nvPr/>
        </p:nvCxnSpPr>
        <p:spPr>
          <a:xfrm>
            <a:off x="6630409" y="4189603"/>
            <a:ext cx="4309565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TextBox 89">
            <a:extLst>
              <a:ext uri="{FF2B5EF4-FFF2-40B4-BE49-F238E27FC236}">
                <a16:creationId xmlns:a16="http://schemas.microsoft.com/office/drawing/2014/main" id="{01DB6340-C1D1-3EC2-B56C-AD01E55D9A5B}"/>
              </a:ext>
            </a:extLst>
          </p:cNvPr>
          <p:cNvSpPr txBox="1"/>
          <p:nvPr/>
        </p:nvSpPr>
        <p:spPr>
          <a:xfrm>
            <a:off x="6658388" y="4763598"/>
            <a:ext cx="89895" cy="115198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F15922"/>
              </a:solidFill>
              <a:effectLst/>
              <a:uLnTx/>
              <a:uFillTx/>
              <a:latin typeface="Aptos" panose="02110004020202020204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F15922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38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ABBFC9">
                    <a:lumMod val="7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70</a:t>
            </a:r>
          </a:p>
        </p:txBody>
      </p: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918771DB-0869-B745-57A0-D7B42C0D8178}"/>
              </a:ext>
            </a:extLst>
          </p:cNvPr>
          <p:cNvCxnSpPr>
            <a:cxnSpLocks/>
          </p:cNvCxnSpPr>
          <p:nvPr/>
        </p:nvCxnSpPr>
        <p:spPr>
          <a:xfrm>
            <a:off x="6703335" y="2432804"/>
            <a:ext cx="0" cy="182880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TextBox 99">
            <a:extLst>
              <a:ext uri="{FF2B5EF4-FFF2-40B4-BE49-F238E27FC236}">
                <a16:creationId xmlns:a16="http://schemas.microsoft.com/office/drawing/2014/main" id="{F112899A-8D0F-AED7-2ED2-DF263E3931FE}"/>
              </a:ext>
            </a:extLst>
          </p:cNvPr>
          <p:cNvSpPr txBox="1"/>
          <p:nvPr/>
        </p:nvSpPr>
        <p:spPr>
          <a:xfrm>
            <a:off x="6658403" y="4348357"/>
            <a:ext cx="89864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0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EAFCE351-ED5C-2E30-A83D-44778A493ADB}"/>
              </a:ext>
            </a:extLst>
          </p:cNvPr>
          <p:cNvSpPr txBox="1"/>
          <p:nvPr/>
        </p:nvSpPr>
        <p:spPr>
          <a:xfrm>
            <a:off x="7064743" y="4763598"/>
            <a:ext cx="89895" cy="115198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F15922"/>
              </a:solidFill>
              <a:effectLst/>
              <a:uLnTx/>
              <a:uFillTx/>
              <a:latin typeface="Aptos" panose="02110004020202020204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F15922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08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ABBFC9">
                    <a:lumMod val="7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33</a:t>
            </a: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F15922"/>
              </a:solidFill>
              <a:effectLst/>
              <a:uLnTx/>
              <a:uFillTx/>
              <a:latin typeface="Aptos" panose="02110004020202020204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03" name="Straight Connector 102">
            <a:extLst>
              <a:ext uri="{FF2B5EF4-FFF2-40B4-BE49-F238E27FC236}">
                <a16:creationId xmlns:a16="http://schemas.microsoft.com/office/drawing/2014/main" id="{6A3A0392-4BDA-7D34-BF1D-16E6163160C5}"/>
              </a:ext>
            </a:extLst>
          </p:cNvPr>
          <p:cNvCxnSpPr>
            <a:cxnSpLocks/>
          </p:cNvCxnSpPr>
          <p:nvPr/>
        </p:nvCxnSpPr>
        <p:spPr>
          <a:xfrm rot="16200000">
            <a:off x="7070882" y="4225604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TextBox 103">
            <a:extLst>
              <a:ext uri="{FF2B5EF4-FFF2-40B4-BE49-F238E27FC236}">
                <a16:creationId xmlns:a16="http://schemas.microsoft.com/office/drawing/2014/main" id="{73E78DC8-F4A9-8D70-B3EE-2DD246E1ABFB}"/>
              </a:ext>
            </a:extLst>
          </p:cNvPr>
          <p:cNvSpPr txBox="1"/>
          <p:nvPr/>
        </p:nvSpPr>
        <p:spPr>
          <a:xfrm>
            <a:off x="7064774" y="4348357"/>
            <a:ext cx="89864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3</a:t>
            </a:r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B8B42315-0E55-D87F-3E43-0169158029B2}"/>
              </a:ext>
            </a:extLst>
          </p:cNvPr>
          <p:cNvSpPr txBox="1"/>
          <p:nvPr/>
        </p:nvSpPr>
        <p:spPr>
          <a:xfrm>
            <a:off x="7471098" y="4763598"/>
            <a:ext cx="89895" cy="115198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F15922"/>
              </a:solidFill>
              <a:effectLst/>
              <a:uLnTx/>
              <a:uFillTx/>
              <a:latin typeface="Aptos" panose="02110004020202020204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F15922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65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ABBFC9">
                    <a:lumMod val="7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9</a:t>
            </a: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F15922"/>
              </a:solidFill>
              <a:effectLst/>
              <a:uLnTx/>
              <a:uFillTx/>
              <a:latin typeface="Aptos" panose="02110004020202020204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527F76B4-2363-4381-8E5F-3BCE77DFD50B}"/>
              </a:ext>
            </a:extLst>
          </p:cNvPr>
          <p:cNvCxnSpPr>
            <a:cxnSpLocks/>
          </p:cNvCxnSpPr>
          <p:nvPr/>
        </p:nvCxnSpPr>
        <p:spPr>
          <a:xfrm rot="16200000">
            <a:off x="7479059" y="4225603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TextBox 111">
            <a:extLst>
              <a:ext uri="{FF2B5EF4-FFF2-40B4-BE49-F238E27FC236}">
                <a16:creationId xmlns:a16="http://schemas.microsoft.com/office/drawing/2014/main" id="{71FC7D1F-F27C-7036-9BFF-7D4DE8855360}"/>
              </a:ext>
            </a:extLst>
          </p:cNvPr>
          <p:cNvSpPr txBox="1"/>
          <p:nvPr/>
        </p:nvSpPr>
        <p:spPr>
          <a:xfrm>
            <a:off x="7471129" y="4348357"/>
            <a:ext cx="89864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6</a:t>
            </a:r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id="{85F4CF54-C4E9-AC41-359F-00D63384969F}"/>
              </a:ext>
            </a:extLst>
          </p:cNvPr>
          <p:cNvSpPr txBox="1"/>
          <p:nvPr/>
        </p:nvSpPr>
        <p:spPr>
          <a:xfrm>
            <a:off x="9096518" y="4763598"/>
            <a:ext cx="89895" cy="115198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F15922"/>
              </a:solidFill>
              <a:effectLst/>
              <a:uLnTx/>
              <a:uFillTx/>
              <a:latin typeface="Aptos" panose="02110004020202020204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F15922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34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ABBFC9">
                    <a:lumMod val="7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4</a:t>
            </a: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F15922"/>
              </a:solidFill>
              <a:effectLst/>
              <a:uLnTx/>
              <a:uFillTx/>
              <a:latin typeface="Aptos" panose="02110004020202020204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B3C7AA30-DD20-3CCD-C3E2-39EC19C0D66A}"/>
              </a:ext>
            </a:extLst>
          </p:cNvPr>
          <p:cNvCxnSpPr>
            <a:cxnSpLocks/>
          </p:cNvCxnSpPr>
          <p:nvPr/>
        </p:nvCxnSpPr>
        <p:spPr>
          <a:xfrm rot="16200000">
            <a:off x="9103978" y="4225603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TextBox 117">
            <a:extLst>
              <a:ext uri="{FF2B5EF4-FFF2-40B4-BE49-F238E27FC236}">
                <a16:creationId xmlns:a16="http://schemas.microsoft.com/office/drawing/2014/main" id="{ACA6395A-8623-9CD1-FAA7-F4B90743E9FD}"/>
              </a:ext>
            </a:extLst>
          </p:cNvPr>
          <p:cNvSpPr txBox="1"/>
          <p:nvPr/>
        </p:nvSpPr>
        <p:spPr>
          <a:xfrm>
            <a:off x="9096549" y="4348357"/>
            <a:ext cx="89864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8</a:t>
            </a:r>
          </a:p>
        </p:txBody>
      </p:sp>
      <p:sp>
        <p:nvSpPr>
          <p:cNvPr id="119" name="TextBox 118">
            <a:extLst>
              <a:ext uri="{FF2B5EF4-FFF2-40B4-BE49-F238E27FC236}">
                <a16:creationId xmlns:a16="http://schemas.microsoft.com/office/drawing/2014/main" id="{B66C022E-A0AB-5640-AF7F-2CABB933746D}"/>
              </a:ext>
            </a:extLst>
          </p:cNvPr>
          <p:cNvSpPr txBox="1"/>
          <p:nvPr/>
        </p:nvSpPr>
        <p:spPr>
          <a:xfrm>
            <a:off x="9909228" y="4763598"/>
            <a:ext cx="89895" cy="115198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F15922"/>
              </a:solidFill>
              <a:effectLst/>
              <a:uLnTx/>
              <a:uFillTx/>
              <a:latin typeface="Aptos" panose="02110004020202020204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F15922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8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ABBFC9">
                    <a:lumMod val="7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</a:t>
            </a: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F15922"/>
              </a:solidFill>
              <a:effectLst/>
              <a:uLnTx/>
              <a:uFillTx/>
              <a:latin typeface="Aptos" panose="02110004020202020204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1" name="Straight Connector 120">
            <a:extLst>
              <a:ext uri="{FF2B5EF4-FFF2-40B4-BE49-F238E27FC236}">
                <a16:creationId xmlns:a16="http://schemas.microsoft.com/office/drawing/2014/main" id="{7AF2F930-07F2-D5A6-6F18-2279CBB716E1}"/>
              </a:ext>
            </a:extLst>
          </p:cNvPr>
          <p:cNvCxnSpPr>
            <a:cxnSpLocks/>
          </p:cNvCxnSpPr>
          <p:nvPr/>
        </p:nvCxnSpPr>
        <p:spPr>
          <a:xfrm rot="16200000">
            <a:off x="9916187" y="4225603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" name="TextBox 121">
            <a:extLst>
              <a:ext uri="{FF2B5EF4-FFF2-40B4-BE49-F238E27FC236}">
                <a16:creationId xmlns:a16="http://schemas.microsoft.com/office/drawing/2014/main" id="{0EF60EE6-55EA-60B2-A62D-2AFAF2AA88BF}"/>
              </a:ext>
            </a:extLst>
          </p:cNvPr>
          <p:cNvSpPr txBox="1"/>
          <p:nvPr/>
        </p:nvSpPr>
        <p:spPr>
          <a:xfrm>
            <a:off x="9909259" y="4348357"/>
            <a:ext cx="89864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24</a:t>
            </a: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4347E6DA-4665-BA6E-6466-21AF88C8A259}"/>
              </a:ext>
            </a:extLst>
          </p:cNvPr>
          <p:cNvSpPr txBox="1"/>
          <p:nvPr/>
        </p:nvSpPr>
        <p:spPr>
          <a:xfrm>
            <a:off x="10721940" y="4763598"/>
            <a:ext cx="177942" cy="115198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F15922"/>
              </a:solidFill>
              <a:effectLst/>
              <a:uLnTx/>
              <a:uFillTx/>
              <a:latin typeface="Aptos" panose="02110004020202020204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F15922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N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ABBFC9">
                    <a:lumMod val="7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NE</a:t>
            </a: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F15922"/>
              </a:solidFill>
              <a:effectLst/>
              <a:uLnTx/>
              <a:uFillTx/>
              <a:latin typeface="Aptos" panose="02110004020202020204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4" name="Straight Connector 123">
            <a:extLst>
              <a:ext uri="{FF2B5EF4-FFF2-40B4-BE49-F238E27FC236}">
                <a16:creationId xmlns:a16="http://schemas.microsoft.com/office/drawing/2014/main" id="{C38D9FE1-ECC9-22E7-3EA5-1D885044AEA5}"/>
              </a:ext>
            </a:extLst>
          </p:cNvPr>
          <p:cNvCxnSpPr>
            <a:cxnSpLocks/>
          </p:cNvCxnSpPr>
          <p:nvPr/>
        </p:nvCxnSpPr>
        <p:spPr>
          <a:xfrm rot="16200000">
            <a:off x="10773392" y="4225603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5" name="TextBox 124">
            <a:extLst>
              <a:ext uri="{FF2B5EF4-FFF2-40B4-BE49-F238E27FC236}">
                <a16:creationId xmlns:a16="http://schemas.microsoft.com/office/drawing/2014/main" id="{21D93C6F-A1DB-E333-2130-3753B2FEDF4A}"/>
              </a:ext>
            </a:extLst>
          </p:cNvPr>
          <p:cNvSpPr txBox="1"/>
          <p:nvPr/>
        </p:nvSpPr>
        <p:spPr>
          <a:xfrm>
            <a:off x="10721971" y="4348357"/>
            <a:ext cx="177880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30</a:t>
            </a:r>
          </a:p>
        </p:txBody>
      </p:sp>
      <p:sp>
        <p:nvSpPr>
          <p:cNvPr id="126" name="TextBox 125">
            <a:extLst>
              <a:ext uri="{FF2B5EF4-FFF2-40B4-BE49-F238E27FC236}">
                <a16:creationId xmlns:a16="http://schemas.microsoft.com/office/drawing/2014/main" id="{672A3353-B8B3-19C2-2C4C-292421A53578}"/>
              </a:ext>
            </a:extLst>
          </p:cNvPr>
          <p:cNvSpPr txBox="1"/>
          <p:nvPr/>
        </p:nvSpPr>
        <p:spPr>
          <a:xfrm>
            <a:off x="8362124" y="4518972"/>
            <a:ext cx="863766" cy="11530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Months</a:t>
            </a:r>
          </a:p>
        </p:txBody>
      </p:sp>
      <p:sp>
        <p:nvSpPr>
          <p:cNvPr id="127" name="Rectangle 126">
            <a:extLst>
              <a:ext uri="{FF2B5EF4-FFF2-40B4-BE49-F238E27FC236}">
                <a16:creationId xmlns:a16="http://schemas.microsoft.com/office/drawing/2014/main" id="{539B503D-70A3-D5AA-263C-5D529C16A72F}"/>
              </a:ext>
            </a:extLst>
          </p:cNvPr>
          <p:cNvSpPr/>
          <p:nvPr/>
        </p:nvSpPr>
        <p:spPr>
          <a:xfrm>
            <a:off x="7871261" y="2301556"/>
            <a:ext cx="3194855" cy="8786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92" name="Content Placeholder 1">
            <a:extLst>
              <a:ext uri="{FF2B5EF4-FFF2-40B4-BE49-F238E27FC236}">
                <a16:creationId xmlns:a16="http://schemas.microsoft.com/office/drawing/2014/main" id="{D01EA4EC-9C55-285E-6C69-F132AA753FEA}"/>
              </a:ext>
            </a:extLst>
          </p:cNvPr>
          <p:cNvSpPr txBox="1">
            <a:spLocks/>
          </p:cNvSpPr>
          <p:nvPr/>
        </p:nvSpPr>
        <p:spPr>
          <a:xfrm>
            <a:off x="9502874" y="2301557"/>
            <a:ext cx="1461878" cy="99892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5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Median PFS</a:t>
            </a:r>
            <a:r>
              <a:rPr kumimoji="0" lang="en-GB" sz="1500" b="0" i="0" u="none" strike="noStrike" kern="1200" cap="none" spc="0" normalizeH="0" baseline="3000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b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85854">
                    <a:lumMod val="75000"/>
                    <a:lumOff val="2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GB" sz="1900" b="1" i="0" u="none" strike="noStrike" kern="1200" cap="none" spc="0" normalizeH="0" baseline="0" noProof="0" dirty="0">
                <a:ln>
                  <a:noFill/>
                </a:ln>
                <a:solidFill>
                  <a:srgbClr val="F15922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1.5 months </a:t>
            </a:r>
            <a:r>
              <a:rPr kumimoji="0" lang="en-GB" sz="19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vs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900" b="1" i="0" u="none" strike="noStrike" kern="1200" cap="none" spc="0" normalizeH="0" baseline="0" noProof="0" dirty="0">
                <a:ln>
                  <a:noFill/>
                </a:ln>
                <a:solidFill>
                  <a:srgbClr val="ABBFC9">
                    <a:lumMod val="7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3.8 months</a:t>
            </a:r>
            <a:endParaRPr kumimoji="0" lang="en-GB" sz="1900" b="0" i="0" u="none" strike="noStrike" kern="1200" cap="none" spc="0" normalizeH="0" baseline="0" noProof="0" dirty="0">
              <a:ln>
                <a:noFill/>
              </a:ln>
              <a:solidFill>
                <a:srgbClr val="ABBFC9">
                  <a:lumMod val="75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93" name="TextBox 192">
            <a:extLst>
              <a:ext uri="{FF2B5EF4-FFF2-40B4-BE49-F238E27FC236}">
                <a16:creationId xmlns:a16="http://schemas.microsoft.com/office/drawing/2014/main" id="{BE0CFF5B-7E63-8299-811B-8B0D7047A03B}"/>
              </a:ext>
            </a:extLst>
          </p:cNvPr>
          <p:cNvSpPr txBox="1"/>
          <p:nvPr/>
        </p:nvSpPr>
        <p:spPr>
          <a:xfrm>
            <a:off x="6827613" y="3975390"/>
            <a:ext cx="1140050" cy="261610"/>
          </a:xfrm>
          <a:prstGeom prst="rect">
            <a:avLst/>
          </a:prstGeom>
          <a:noFill/>
        </p:spPr>
        <p:txBody>
          <a:bodyPr wrap="square" lIns="72000" rIns="72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-GemOx</a:t>
            </a:r>
          </a:p>
        </p:txBody>
      </p:sp>
      <p:sp>
        <p:nvSpPr>
          <p:cNvPr id="194" name="TextBox 193">
            <a:extLst>
              <a:ext uri="{FF2B5EF4-FFF2-40B4-BE49-F238E27FC236}">
                <a16:creationId xmlns:a16="http://schemas.microsoft.com/office/drawing/2014/main" id="{D7B76A2D-DC2B-0B94-3395-91103FAE46E5}"/>
              </a:ext>
            </a:extLst>
          </p:cNvPr>
          <p:cNvSpPr txBox="1"/>
          <p:nvPr/>
        </p:nvSpPr>
        <p:spPr>
          <a:xfrm>
            <a:off x="6827613" y="3803850"/>
            <a:ext cx="1140050" cy="261610"/>
          </a:xfrm>
          <a:prstGeom prst="rect">
            <a:avLst/>
          </a:prstGeom>
          <a:noFill/>
        </p:spPr>
        <p:txBody>
          <a:bodyPr wrap="square" lIns="72000" rIns="72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Mosun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-Pola</a:t>
            </a:r>
          </a:p>
        </p:txBody>
      </p:sp>
      <p:cxnSp>
        <p:nvCxnSpPr>
          <p:cNvPr id="195" name="Straight Connector 194">
            <a:extLst>
              <a:ext uri="{FF2B5EF4-FFF2-40B4-BE49-F238E27FC236}">
                <a16:creationId xmlns:a16="http://schemas.microsoft.com/office/drawing/2014/main" id="{1298DA31-835C-F8DC-51A3-FF7C04E47EFC}"/>
              </a:ext>
            </a:extLst>
          </p:cNvPr>
          <p:cNvCxnSpPr>
            <a:cxnSpLocks/>
          </p:cNvCxnSpPr>
          <p:nvPr/>
        </p:nvCxnSpPr>
        <p:spPr>
          <a:xfrm>
            <a:off x="6757184" y="3929305"/>
            <a:ext cx="108000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6" name="Straight Connector 195">
            <a:extLst>
              <a:ext uri="{FF2B5EF4-FFF2-40B4-BE49-F238E27FC236}">
                <a16:creationId xmlns:a16="http://schemas.microsoft.com/office/drawing/2014/main" id="{9FEE24FC-8142-60FB-C7F8-E29C1B33B590}"/>
              </a:ext>
            </a:extLst>
          </p:cNvPr>
          <p:cNvCxnSpPr>
            <a:cxnSpLocks/>
          </p:cNvCxnSpPr>
          <p:nvPr/>
        </p:nvCxnSpPr>
        <p:spPr>
          <a:xfrm>
            <a:off x="6757184" y="4095352"/>
            <a:ext cx="108000" cy="0"/>
          </a:xfrm>
          <a:prstGeom prst="line">
            <a:avLst/>
          </a:prstGeom>
          <a:ln w="1270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7" name="TextBox 196">
            <a:extLst>
              <a:ext uri="{FF2B5EF4-FFF2-40B4-BE49-F238E27FC236}">
                <a16:creationId xmlns:a16="http://schemas.microsoft.com/office/drawing/2014/main" id="{8C7A8E7A-F523-E469-22DD-A4C15FDD4AFD}"/>
              </a:ext>
            </a:extLst>
          </p:cNvPr>
          <p:cNvSpPr txBox="1"/>
          <p:nvPr/>
        </p:nvSpPr>
        <p:spPr>
          <a:xfrm>
            <a:off x="7877453" y="4763598"/>
            <a:ext cx="89895" cy="115198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F15922"/>
              </a:solidFill>
              <a:effectLst/>
              <a:uLnTx/>
              <a:uFillTx/>
              <a:latin typeface="Aptos" panose="02110004020202020204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F15922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54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ABBFC9">
                    <a:lumMod val="7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6</a:t>
            </a: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F15922"/>
              </a:solidFill>
              <a:effectLst/>
              <a:uLnTx/>
              <a:uFillTx/>
              <a:latin typeface="Aptos" panose="02110004020202020204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99" name="Straight Connector 198">
            <a:extLst>
              <a:ext uri="{FF2B5EF4-FFF2-40B4-BE49-F238E27FC236}">
                <a16:creationId xmlns:a16="http://schemas.microsoft.com/office/drawing/2014/main" id="{8F5F405C-C72D-A5A6-2729-7BEEC7A10AA6}"/>
              </a:ext>
            </a:extLst>
          </p:cNvPr>
          <p:cNvCxnSpPr>
            <a:cxnSpLocks/>
          </p:cNvCxnSpPr>
          <p:nvPr/>
        </p:nvCxnSpPr>
        <p:spPr>
          <a:xfrm rot="16200000">
            <a:off x="7885414" y="4225603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0" name="TextBox 199">
            <a:extLst>
              <a:ext uri="{FF2B5EF4-FFF2-40B4-BE49-F238E27FC236}">
                <a16:creationId xmlns:a16="http://schemas.microsoft.com/office/drawing/2014/main" id="{0ABBBA5A-A7F2-C339-C560-24C67F62C137}"/>
              </a:ext>
            </a:extLst>
          </p:cNvPr>
          <p:cNvSpPr txBox="1"/>
          <p:nvPr/>
        </p:nvSpPr>
        <p:spPr>
          <a:xfrm>
            <a:off x="7877484" y="4348357"/>
            <a:ext cx="89864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9</a:t>
            </a:r>
          </a:p>
        </p:txBody>
      </p:sp>
      <p:sp>
        <p:nvSpPr>
          <p:cNvPr id="201" name="TextBox 200">
            <a:extLst>
              <a:ext uri="{FF2B5EF4-FFF2-40B4-BE49-F238E27FC236}">
                <a16:creationId xmlns:a16="http://schemas.microsoft.com/office/drawing/2014/main" id="{E350B96E-55AA-E958-9B7B-0BC46269E9F7}"/>
              </a:ext>
            </a:extLst>
          </p:cNvPr>
          <p:cNvSpPr txBox="1"/>
          <p:nvPr/>
        </p:nvSpPr>
        <p:spPr>
          <a:xfrm>
            <a:off x="8283808" y="4763598"/>
            <a:ext cx="89895" cy="115198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F15922"/>
              </a:solidFill>
              <a:effectLst/>
              <a:uLnTx/>
              <a:uFillTx/>
              <a:latin typeface="Aptos" panose="02110004020202020204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F15922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49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ABBFC9">
                    <a:lumMod val="7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5</a:t>
            </a: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F15922"/>
              </a:solidFill>
              <a:effectLst/>
              <a:uLnTx/>
              <a:uFillTx/>
              <a:latin typeface="Aptos" panose="02110004020202020204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04" name="Straight Connector 203">
            <a:extLst>
              <a:ext uri="{FF2B5EF4-FFF2-40B4-BE49-F238E27FC236}">
                <a16:creationId xmlns:a16="http://schemas.microsoft.com/office/drawing/2014/main" id="{1F34326B-BDDC-88AB-1159-78674FB1CA41}"/>
              </a:ext>
            </a:extLst>
          </p:cNvPr>
          <p:cNvCxnSpPr>
            <a:cxnSpLocks/>
          </p:cNvCxnSpPr>
          <p:nvPr/>
        </p:nvCxnSpPr>
        <p:spPr>
          <a:xfrm rot="16200000">
            <a:off x="8291769" y="4225603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5" name="TextBox 204">
            <a:extLst>
              <a:ext uri="{FF2B5EF4-FFF2-40B4-BE49-F238E27FC236}">
                <a16:creationId xmlns:a16="http://schemas.microsoft.com/office/drawing/2014/main" id="{196B629C-ADD8-E0A7-8D86-95067A55EBE9}"/>
              </a:ext>
            </a:extLst>
          </p:cNvPr>
          <p:cNvSpPr txBox="1"/>
          <p:nvPr/>
        </p:nvSpPr>
        <p:spPr>
          <a:xfrm>
            <a:off x="8283839" y="4348357"/>
            <a:ext cx="89864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2</a:t>
            </a:r>
          </a:p>
        </p:txBody>
      </p:sp>
      <p:sp>
        <p:nvSpPr>
          <p:cNvPr id="206" name="TextBox 205">
            <a:extLst>
              <a:ext uri="{FF2B5EF4-FFF2-40B4-BE49-F238E27FC236}">
                <a16:creationId xmlns:a16="http://schemas.microsoft.com/office/drawing/2014/main" id="{523BAC25-B7B3-9001-67E6-9436E5B99CC0}"/>
              </a:ext>
            </a:extLst>
          </p:cNvPr>
          <p:cNvSpPr txBox="1"/>
          <p:nvPr/>
        </p:nvSpPr>
        <p:spPr>
          <a:xfrm>
            <a:off x="8690163" y="4763598"/>
            <a:ext cx="89895" cy="115198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F15922"/>
              </a:solidFill>
              <a:effectLst/>
              <a:uLnTx/>
              <a:uFillTx/>
              <a:latin typeface="Aptos" panose="02110004020202020204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F15922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40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ABBFC9">
                    <a:lumMod val="7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4</a:t>
            </a: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F15922"/>
              </a:solidFill>
              <a:effectLst/>
              <a:uLnTx/>
              <a:uFillTx/>
              <a:latin typeface="Aptos" panose="02110004020202020204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08" name="Straight Connector 207">
            <a:extLst>
              <a:ext uri="{FF2B5EF4-FFF2-40B4-BE49-F238E27FC236}">
                <a16:creationId xmlns:a16="http://schemas.microsoft.com/office/drawing/2014/main" id="{3B40BF07-5752-4A56-A7DC-8270766ADFF2}"/>
              </a:ext>
            </a:extLst>
          </p:cNvPr>
          <p:cNvCxnSpPr>
            <a:cxnSpLocks/>
          </p:cNvCxnSpPr>
          <p:nvPr/>
        </p:nvCxnSpPr>
        <p:spPr>
          <a:xfrm rot="16200000">
            <a:off x="8698124" y="4225603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9" name="TextBox 208">
            <a:extLst>
              <a:ext uri="{FF2B5EF4-FFF2-40B4-BE49-F238E27FC236}">
                <a16:creationId xmlns:a16="http://schemas.microsoft.com/office/drawing/2014/main" id="{E0EE7609-8734-C67C-6BF1-EBBF5C59F134}"/>
              </a:ext>
            </a:extLst>
          </p:cNvPr>
          <p:cNvSpPr txBox="1"/>
          <p:nvPr/>
        </p:nvSpPr>
        <p:spPr>
          <a:xfrm>
            <a:off x="8690194" y="4348357"/>
            <a:ext cx="89864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5</a:t>
            </a:r>
          </a:p>
        </p:txBody>
      </p:sp>
      <p:sp>
        <p:nvSpPr>
          <p:cNvPr id="210" name="TextBox 209">
            <a:extLst>
              <a:ext uri="{FF2B5EF4-FFF2-40B4-BE49-F238E27FC236}">
                <a16:creationId xmlns:a16="http://schemas.microsoft.com/office/drawing/2014/main" id="{85A7FCEF-AD80-6D95-2A67-19BEB6D7771D}"/>
              </a:ext>
            </a:extLst>
          </p:cNvPr>
          <p:cNvSpPr txBox="1"/>
          <p:nvPr/>
        </p:nvSpPr>
        <p:spPr>
          <a:xfrm>
            <a:off x="9502873" y="4763598"/>
            <a:ext cx="89895" cy="115198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F15922"/>
              </a:solidFill>
              <a:effectLst/>
              <a:uLnTx/>
              <a:uFillTx/>
              <a:latin typeface="Aptos" panose="02110004020202020204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F15922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20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ABBFC9">
                    <a:lumMod val="7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3</a:t>
            </a: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F15922"/>
              </a:solidFill>
              <a:effectLst/>
              <a:uLnTx/>
              <a:uFillTx/>
              <a:latin typeface="Aptos" panose="02110004020202020204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12" name="Straight Connector 211">
            <a:extLst>
              <a:ext uri="{FF2B5EF4-FFF2-40B4-BE49-F238E27FC236}">
                <a16:creationId xmlns:a16="http://schemas.microsoft.com/office/drawing/2014/main" id="{B8688203-1374-78EF-4338-7928CBABCC62}"/>
              </a:ext>
            </a:extLst>
          </p:cNvPr>
          <p:cNvCxnSpPr>
            <a:cxnSpLocks/>
          </p:cNvCxnSpPr>
          <p:nvPr/>
        </p:nvCxnSpPr>
        <p:spPr>
          <a:xfrm rot="16200000">
            <a:off x="9510834" y="4225603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3" name="TextBox 212">
            <a:extLst>
              <a:ext uri="{FF2B5EF4-FFF2-40B4-BE49-F238E27FC236}">
                <a16:creationId xmlns:a16="http://schemas.microsoft.com/office/drawing/2014/main" id="{478E23C5-9679-A218-3306-086B5768B948}"/>
              </a:ext>
            </a:extLst>
          </p:cNvPr>
          <p:cNvSpPr txBox="1"/>
          <p:nvPr/>
        </p:nvSpPr>
        <p:spPr>
          <a:xfrm>
            <a:off x="9502904" y="4348357"/>
            <a:ext cx="89864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21</a:t>
            </a:r>
          </a:p>
        </p:txBody>
      </p:sp>
      <p:sp>
        <p:nvSpPr>
          <p:cNvPr id="214" name="TextBox 213">
            <a:extLst>
              <a:ext uri="{FF2B5EF4-FFF2-40B4-BE49-F238E27FC236}">
                <a16:creationId xmlns:a16="http://schemas.microsoft.com/office/drawing/2014/main" id="{0D1FD5DF-102C-D1AD-6E3D-261BCF524538}"/>
              </a:ext>
            </a:extLst>
          </p:cNvPr>
          <p:cNvSpPr txBox="1"/>
          <p:nvPr/>
        </p:nvSpPr>
        <p:spPr>
          <a:xfrm>
            <a:off x="10315583" y="4763598"/>
            <a:ext cx="89895" cy="115198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F15922"/>
              </a:solidFill>
              <a:effectLst/>
              <a:uLnTx/>
              <a:uFillTx/>
              <a:latin typeface="Aptos" panose="02110004020202020204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F15922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5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ABBFC9">
                    <a:lumMod val="7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NE</a:t>
            </a: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F15922"/>
              </a:solidFill>
              <a:effectLst/>
              <a:uLnTx/>
              <a:uFillTx/>
              <a:latin typeface="Aptos" panose="02110004020202020204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16" name="Straight Connector 215">
            <a:extLst>
              <a:ext uri="{FF2B5EF4-FFF2-40B4-BE49-F238E27FC236}">
                <a16:creationId xmlns:a16="http://schemas.microsoft.com/office/drawing/2014/main" id="{5F75033F-7C4E-8F4C-EF96-6543EED62CB5}"/>
              </a:ext>
            </a:extLst>
          </p:cNvPr>
          <p:cNvCxnSpPr>
            <a:cxnSpLocks/>
          </p:cNvCxnSpPr>
          <p:nvPr/>
        </p:nvCxnSpPr>
        <p:spPr>
          <a:xfrm rot="16200000">
            <a:off x="10323544" y="4225603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7" name="TextBox 216">
            <a:extLst>
              <a:ext uri="{FF2B5EF4-FFF2-40B4-BE49-F238E27FC236}">
                <a16:creationId xmlns:a16="http://schemas.microsoft.com/office/drawing/2014/main" id="{53BEB869-D26B-F5C9-05A2-60F7719E20F9}"/>
              </a:ext>
            </a:extLst>
          </p:cNvPr>
          <p:cNvSpPr txBox="1"/>
          <p:nvPr/>
        </p:nvSpPr>
        <p:spPr>
          <a:xfrm>
            <a:off x="10315614" y="4348357"/>
            <a:ext cx="89864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27</a:t>
            </a:r>
          </a:p>
        </p:txBody>
      </p:sp>
      <p:sp>
        <p:nvSpPr>
          <p:cNvPr id="218" name="object 48">
            <a:extLst>
              <a:ext uri="{FF2B5EF4-FFF2-40B4-BE49-F238E27FC236}">
                <a16:creationId xmlns:a16="http://schemas.microsoft.com/office/drawing/2014/main" id="{34594CF8-48DF-7068-7432-B5067F7EC258}"/>
              </a:ext>
            </a:extLst>
          </p:cNvPr>
          <p:cNvSpPr txBox="1"/>
          <p:nvPr/>
        </p:nvSpPr>
        <p:spPr>
          <a:xfrm>
            <a:off x="469900" y="4533970"/>
            <a:ext cx="3543523" cy="675313"/>
          </a:xfrm>
          <a:prstGeom prst="rect">
            <a:avLst/>
          </a:prstGeom>
          <a:ln w="12700">
            <a:solidFill>
              <a:schemeClr val="accent3"/>
            </a:solidFill>
          </a:ln>
        </p:spPr>
        <p:txBody>
          <a:bodyPr vert="horz" wrap="square" lIns="91440" tIns="45720" rIns="0" bIns="45720" rtlCol="0" anchor="t">
            <a:spAutoFit/>
          </a:bodyPr>
          <a:lstStyle>
            <a:defPPr>
              <a:defRPr lang="en-US"/>
            </a:defPPr>
            <a:lvl1pPr marL="183600" indent="-183600">
              <a:lnSpc>
                <a:spcPct val="90000"/>
              </a:lnSpc>
              <a:spcBef>
                <a:spcPts val="800"/>
              </a:spcBef>
              <a:spcAft>
                <a:spcPts val="800"/>
              </a:spcAft>
              <a:buFont typeface="Arial" panose="020B0604020202020204" pitchFamily="34" charset="0"/>
              <a:buChar char="•"/>
              <a:defRPr sz="1200" b="1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55600" indent="-173038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539750" indent="-18415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722313" indent="-182563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895350" indent="-173038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183600" marR="0" lvl="0" indent="-183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Calibri" panose="020F0502020204030204" pitchFamily="34" charset="0"/>
              </a:rPr>
              <a:t>R/R LBCL with ≥1 prior therapy and ASCT-ineligible, including DLBCL NOS, transformed FL, HGBL, FL3B</a:t>
            </a:r>
          </a:p>
        </p:txBody>
      </p:sp>
      <p:sp>
        <p:nvSpPr>
          <p:cNvPr id="219" name="object 46">
            <a:extLst>
              <a:ext uri="{FF2B5EF4-FFF2-40B4-BE49-F238E27FC236}">
                <a16:creationId xmlns:a16="http://schemas.microsoft.com/office/drawing/2014/main" id="{F98B6D25-75E6-F7DF-7278-C82C1DDE8A61}"/>
              </a:ext>
            </a:extLst>
          </p:cNvPr>
          <p:cNvSpPr txBox="1"/>
          <p:nvPr/>
        </p:nvSpPr>
        <p:spPr>
          <a:xfrm>
            <a:off x="469900" y="4292436"/>
            <a:ext cx="3543523" cy="246888"/>
          </a:xfrm>
          <a:prstGeom prst="rect">
            <a:avLst/>
          </a:prstGeom>
          <a:solidFill>
            <a:schemeClr val="accent3"/>
          </a:solidFill>
          <a:ln w="12700" cap="flat" cmpd="sng" algn="ctr">
            <a:solidFill>
              <a:schemeClr val="accent3"/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>
            <a:defPPr>
              <a:defRPr lang="en-US"/>
            </a:defPPr>
            <a:lvl1pPr algn="ctr">
              <a:defRPr sz="14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tudy population</a:t>
            </a:r>
          </a:p>
        </p:txBody>
      </p:sp>
      <p:sp>
        <p:nvSpPr>
          <p:cNvPr id="220" name="object 7">
            <a:extLst>
              <a:ext uri="{FF2B5EF4-FFF2-40B4-BE49-F238E27FC236}">
                <a16:creationId xmlns:a16="http://schemas.microsoft.com/office/drawing/2014/main" id="{5D5EBD82-F89D-9F16-C4C0-615154DCDD2F}"/>
              </a:ext>
            </a:extLst>
          </p:cNvPr>
          <p:cNvSpPr txBox="1"/>
          <p:nvPr/>
        </p:nvSpPr>
        <p:spPr>
          <a:xfrm>
            <a:off x="3948853" y="1991310"/>
            <a:ext cx="1613805" cy="366956"/>
          </a:xfrm>
          <a:prstGeom prst="chevron">
            <a:avLst/>
          </a:prstGeom>
          <a:solidFill>
            <a:schemeClr val="bg2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rIns="0" rtlCol="0" anchor="ctr"/>
          <a:lstStyle>
            <a:defPPr>
              <a:defRPr lang="sv-SE"/>
            </a:defPPr>
            <a:lvl1pPr algn="ctr">
              <a:defRPr sz="14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Follow-up</a:t>
            </a:r>
          </a:p>
        </p:txBody>
      </p:sp>
      <p:sp>
        <p:nvSpPr>
          <p:cNvPr id="221" name="object 15">
            <a:extLst>
              <a:ext uri="{FF2B5EF4-FFF2-40B4-BE49-F238E27FC236}">
                <a16:creationId xmlns:a16="http://schemas.microsoft.com/office/drawing/2014/main" id="{ECE6661B-8A8B-5AE8-15DB-8078AD56EDA4}"/>
              </a:ext>
            </a:extLst>
          </p:cNvPr>
          <p:cNvSpPr txBox="1"/>
          <p:nvPr/>
        </p:nvSpPr>
        <p:spPr>
          <a:xfrm>
            <a:off x="4112849" y="2399967"/>
            <a:ext cx="1349636" cy="122410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90000"/>
              </a:lnSpc>
              <a:spcBef>
                <a:spcPts val="80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55600" indent="-173038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539750" indent="-18415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722313" indent="-182563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895350" indent="-173038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Calibri" panose="020F0502020204030204" pitchFamily="34" charset="0"/>
              </a:rPr>
              <a:t>Up to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Calibri" panose="020F0502020204030204" pitchFamily="34" charset="0"/>
              </a:rPr>
              <a:t>30 months</a:t>
            </a:r>
          </a:p>
        </p:txBody>
      </p:sp>
      <p:sp>
        <p:nvSpPr>
          <p:cNvPr id="222" name="object 7">
            <a:extLst>
              <a:ext uri="{FF2B5EF4-FFF2-40B4-BE49-F238E27FC236}">
                <a16:creationId xmlns:a16="http://schemas.microsoft.com/office/drawing/2014/main" id="{48302DBD-8D0B-C0FC-E7A7-0E8F892A537A}"/>
              </a:ext>
            </a:extLst>
          </p:cNvPr>
          <p:cNvSpPr txBox="1"/>
          <p:nvPr/>
        </p:nvSpPr>
        <p:spPr>
          <a:xfrm>
            <a:off x="1110827" y="1991310"/>
            <a:ext cx="2987040" cy="366956"/>
          </a:xfrm>
          <a:prstGeom prst="chevron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sv-SE"/>
            </a:defPPr>
            <a:lvl1pPr algn="ctr">
              <a:defRPr sz="14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reatment period</a:t>
            </a:r>
          </a:p>
        </p:txBody>
      </p:sp>
      <p:sp>
        <p:nvSpPr>
          <p:cNvPr id="223" name="object 15">
            <a:extLst>
              <a:ext uri="{FF2B5EF4-FFF2-40B4-BE49-F238E27FC236}">
                <a16:creationId xmlns:a16="http://schemas.microsoft.com/office/drawing/2014/main" id="{D87123CB-4083-D542-8DE0-51B9E7704856}"/>
              </a:ext>
            </a:extLst>
          </p:cNvPr>
          <p:cNvSpPr txBox="1"/>
          <p:nvPr/>
        </p:nvSpPr>
        <p:spPr>
          <a:xfrm rot="16200000">
            <a:off x="3366240" y="2891713"/>
            <a:ext cx="1204462" cy="260249"/>
          </a:xfrm>
          <a:prstGeom prst="rect">
            <a:avLst/>
          </a:prstGeom>
          <a:solidFill>
            <a:schemeClr val="accent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sv-SE"/>
            </a:defPPr>
            <a:lvl1pPr algn="ctr">
              <a:defRPr sz="14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End of treatment</a:t>
            </a:r>
          </a:p>
        </p:txBody>
      </p:sp>
      <p:sp>
        <p:nvSpPr>
          <p:cNvPr id="224" name="Rectangle 223">
            <a:extLst>
              <a:ext uri="{FF2B5EF4-FFF2-40B4-BE49-F238E27FC236}">
                <a16:creationId xmlns:a16="http://schemas.microsoft.com/office/drawing/2014/main" id="{C906CA88-9B77-1928-1D72-7CE49729E7E5}"/>
              </a:ext>
            </a:extLst>
          </p:cNvPr>
          <p:cNvSpPr/>
          <p:nvPr/>
        </p:nvSpPr>
        <p:spPr>
          <a:xfrm>
            <a:off x="469900" y="2399968"/>
            <a:ext cx="314632" cy="12225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hase 3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25" name="object 44">
            <a:extLst>
              <a:ext uri="{FF2B5EF4-FFF2-40B4-BE49-F238E27FC236}">
                <a16:creationId xmlns:a16="http://schemas.microsoft.com/office/drawing/2014/main" id="{4491234F-81C9-388D-FE65-6C6D6A8C6A01}"/>
              </a:ext>
            </a:extLst>
          </p:cNvPr>
          <p:cNvSpPr txBox="1"/>
          <p:nvPr/>
        </p:nvSpPr>
        <p:spPr>
          <a:xfrm rot="16200000">
            <a:off x="355519" y="2890534"/>
            <a:ext cx="1208837" cy="25823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2700">
            <a:solidFill>
              <a:schemeClr val="bg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andomised 2:1</a:t>
            </a:r>
            <a:r>
              <a:rPr kumimoji="0" lang="en-GB" sz="900" b="0" i="0" u="none" strike="noStrike" kern="1200" cap="none" spc="0" normalizeH="0" baseline="3000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†</a:t>
            </a:r>
            <a:endParaRPr kumimoji="0" lang="en-GB" sz="1100" b="0" i="0" u="none" strike="noStrike" kern="1200" cap="none" spc="0" normalizeH="0" baseline="3000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26" name="object 44">
            <a:extLst>
              <a:ext uri="{FF2B5EF4-FFF2-40B4-BE49-F238E27FC236}">
                <a16:creationId xmlns:a16="http://schemas.microsoft.com/office/drawing/2014/main" id="{B668BE37-7EC9-FBF3-7C95-29FBB4431EE8}"/>
              </a:ext>
            </a:extLst>
          </p:cNvPr>
          <p:cNvSpPr txBox="1"/>
          <p:nvPr/>
        </p:nvSpPr>
        <p:spPr>
          <a:xfrm>
            <a:off x="1288643" y="2423505"/>
            <a:ext cx="2463272" cy="59443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2700"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4CA1A6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Mosun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Q3W for 8 cycles</a:t>
            </a:r>
            <a:r>
              <a:rPr kumimoji="0" lang="en-GB" sz="1400" b="0" i="0" u="none" strike="noStrike" kern="1200" cap="none" spc="0" normalizeH="0" baseline="3000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‡</a:t>
            </a: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15922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ola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Q3W for 6 cycle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=138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27" name="object 44">
            <a:extLst>
              <a:ext uri="{FF2B5EF4-FFF2-40B4-BE49-F238E27FC236}">
                <a16:creationId xmlns:a16="http://schemas.microsoft.com/office/drawing/2014/main" id="{4FC2B77E-0593-EFF3-ACEF-2E11F839F737}"/>
              </a:ext>
            </a:extLst>
          </p:cNvPr>
          <p:cNvSpPr txBox="1"/>
          <p:nvPr/>
        </p:nvSpPr>
        <p:spPr>
          <a:xfrm>
            <a:off x="1288643" y="3103263"/>
            <a:ext cx="2463272" cy="520806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008" rIns="64008"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ABBFC9">
                    <a:lumMod val="7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-GemOx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Q2–3W for 8 cycles</a:t>
            </a:r>
            <a:r>
              <a:rPr kumimoji="0" lang="en-GB" sz="1400" b="0" i="0" u="none" strike="noStrike" kern="1200" cap="none" spc="0" normalizeH="0" baseline="3000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§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=70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28" name="Straight Arrow Connector 74">
            <a:extLst>
              <a:ext uri="{FF2B5EF4-FFF2-40B4-BE49-F238E27FC236}">
                <a16:creationId xmlns:a16="http://schemas.microsoft.com/office/drawing/2014/main" id="{D872A2E7-B9E2-6767-E8C7-8186B7AF0ABB}"/>
              </a:ext>
            </a:extLst>
          </p:cNvPr>
          <p:cNvCxnSpPr/>
          <p:nvPr/>
        </p:nvCxnSpPr>
        <p:spPr>
          <a:xfrm flipV="1">
            <a:off x="1090284" y="2732624"/>
            <a:ext cx="197516" cy="287026"/>
          </a:xfrm>
          <a:prstGeom prst="bentConnector5">
            <a:avLst>
              <a:gd name="adj1" fmla="val 33168"/>
              <a:gd name="adj2" fmla="val -17"/>
              <a:gd name="adj3" fmla="val 38767"/>
            </a:avLst>
          </a:prstGeom>
          <a:ln w="12700">
            <a:solidFill>
              <a:schemeClr val="tx1">
                <a:lumMod val="75000"/>
                <a:lumOff val="2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9" name="Straight Arrow Connector 75">
            <a:extLst>
              <a:ext uri="{FF2B5EF4-FFF2-40B4-BE49-F238E27FC236}">
                <a16:creationId xmlns:a16="http://schemas.microsoft.com/office/drawing/2014/main" id="{9486F077-C3D9-3A12-DE98-057478C0A08B}"/>
              </a:ext>
            </a:extLst>
          </p:cNvPr>
          <p:cNvCxnSpPr>
            <a:cxnSpLocks/>
          </p:cNvCxnSpPr>
          <p:nvPr/>
        </p:nvCxnSpPr>
        <p:spPr>
          <a:xfrm>
            <a:off x="1090284" y="3019650"/>
            <a:ext cx="197517" cy="287026"/>
          </a:xfrm>
          <a:prstGeom prst="bentConnector5">
            <a:avLst>
              <a:gd name="adj1" fmla="val 39546"/>
              <a:gd name="adj2" fmla="val 861"/>
              <a:gd name="adj3" fmla="val 38767"/>
            </a:avLst>
          </a:prstGeom>
          <a:ln w="12700">
            <a:solidFill>
              <a:schemeClr val="tx1">
                <a:lumMod val="75000"/>
                <a:lumOff val="2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FC4A2266-E2A3-15EA-132E-39E0A7EDBB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651" y="6356350"/>
            <a:ext cx="383694" cy="365125"/>
          </a:xfrm>
        </p:spPr>
        <p:txBody>
          <a:bodyPr vert="horz" lIns="0" tIns="0" rIns="0" bIns="0"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306B0CF-28DA-4AF7-AD0B-CB9D5901F647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82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4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58915766"/>
      </p:ext>
    </p:extLst>
  </p:cSld>
  <p:clrMapOvr>
    <a:masterClrMapping/>
  </p:clrMapOvr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-form: Shape 5">
            <a:extLst>
              <a:ext uri="{FF2B5EF4-FFF2-40B4-BE49-F238E27FC236}">
                <a16:creationId xmlns:a16="http://schemas.microsoft.com/office/drawing/2014/main" id="{51710ADE-5D6C-9882-6EBB-7CC8E2F92A94}"/>
              </a:ext>
            </a:extLst>
          </p:cNvPr>
          <p:cNvSpPr/>
          <p:nvPr/>
        </p:nvSpPr>
        <p:spPr>
          <a:xfrm>
            <a:off x="6702410" y="2436546"/>
            <a:ext cx="4063656" cy="1287244"/>
          </a:xfrm>
          <a:custGeom>
            <a:avLst/>
            <a:gdLst>
              <a:gd name="csX0" fmla="*/ 0 w 8151063"/>
              <a:gd name="csY0" fmla="*/ 0 h 2956373"/>
              <a:gd name="csX1" fmla="*/ 50489 w 8151063"/>
              <a:gd name="csY1" fmla="*/ 0 h 2956373"/>
              <a:gd name="csX2" fmla="*/ 50489 w 8151063"/>
              <a:gd name="csY2" fmla="*/ 39269 h 2956373"/>
              <a:gd name="csX3" fmla="*/ 157075 w 8151063"/>
              <a:gd name="csY3" fmla="*/ 39269 h 2956373"/>
              <a:gd name="csX4" fmla="*/ 157075 w 8151063"/>
              <a:gd name="csY4" fmla="*/ 89757 h 2956373"/>
              <a:gd name="csX5" fmla="*/ 179514 w 8151063"/>
              <a:gd name="csY5" fmla="*/ 89757 h 2956373"/>
              <a:gd name="csX6" fmla="*/ 179514 w 8151063"/>
              <a:gd name="csY6" fmla="*/ 140246 h 2956373"/>
              <a:gd name="csX7" fmla="*/ 207563 w 8151063"/>
              <a:gd name="csY7" fmla="*/ 140246 h 2956373"/>
              <a:gd name="csX8" fmla="*/ 207563 w 8151063"/>
              <a:gd name="csY8" fmla="*/ 201953 h 2956373"/>
              <a:gd name="csX9" fmla="*/ 269271 w 8151063"/>
              <a:gd name="csY9" fmla="*/ 201953 h 2956373"/>
              <a:gd name="csX10" fmla="*/ 269271 w 8151063"/>
              <a:gd name="csY10" fmla="*/ 504884 h 2956373"/>
              <a:gd name="csX11" fmla="*/ 291711 w 8151063"/>
              <a:gd name="csY11" fmla="*/ 504884 h 2956373"/>
              <a:gd name="csX12" fmla="*/ 291711 w 8151063"/>
              <a:gd name="csY12" fmla="*/ 690007 h 2956373"/>
              <a:gd name="csX13" fmla="*/ 308540 w 8151063"/>
              <a:gd name="csY13" fmla="*/ 690007 h 2956373"/>
              <a:gd name="csX14" fmla="*/ 308540 w 8151063"/>
              <a:gd name="csY14" fmla="*/ 746106 h 2956373"/>
              <a:gd name="csX15" fmla="*/ 330979 w 8151063"/>
              <a:gd name="csY15" fmla="*/ 746106 h 2956373"/>
              <a:gd name="csX16" fmla="*/ 330979 w 8151063"/>
              <a:gd name="csY16" fmla="*/ 875131 h 2956373"/>
              <a:gd name="csX17" fmla="*/ 353419 w 8151063"/>
              <a:gd name="csY17" fmla="*/ 875131 h 2956373"/>
              <a:gd name="csX18" fmla="*/ 353419 w 8151063"/>
              <a:gd name="csY18" fmla="*/ 925620 h 2956373"/>
              <a:gd name="csX19" fmla="*/ 392687 w 8151063"/>
              <a:gd name="csY19" fmla="*/ 925620 h 2956373"/>
              <a:gd name="csX20" fmla="*/ 392687 w 8151063"/>
              <a:gd name="csY20" fmla="*/ 1037816 h 2956373"/>
              <a:gd name="csX21" fmla="*/ 415127 w 8151063"/>
              <a:gd name="csY21" fmla="*/ 1037816 h 2956373"/>
              <a:gd name="csX22" fmla="*/ 415127 w 8151063"/>
              <a:gd name="csY22" fmla="*/ 1127573 h 2956373"/>
              <a:gd name="csX23" fmla="*/ 538543 w 8151063"/>
              <a:gd name="csY23" fmla="*/ 1127573 h 2956373"/>
              <a:gd name="csX24" fmla="*/ 538543 w 8151063"/>
              <a:gd name="csY24" fmla="*/ 1189281 h 2956373"/>
              <a:gd name="csX25" fmla="*/ 577811 w 8151063"/>
              <a:gd name="csY25" fmla="*/ 1189281 h 2956373"/>
              <a:gd name="csX26" fmla="*/ 577811 w 8151063"/>
              <a:gd name="csY26" fmla="*/ 1217330 h 2956373"/>
              <a:gd name="csX27" fmla="*/ 600251 w 8151063"/>
              <a:gd name="csY27" fmla="*/ 1217330 h 2956373"/>
              <a:gd name="csX28" fmla="*/ 600251 w 8151063"/>
              <a:gd name="csY28" fmla="*/ 1279038 h 2956373"/>
              <a:gd name="csX29" fmla="*/ 633909 w 8151063"/>
              <a:gd name="csY29" fmla="*/ 1279038 h 2956373"/>
              <a:gd name="csX30" fmla="*/ 633909 w 8151063"/>
              <a:gd name="csY30" fmla="*/ 1340746 h 2956373"/>
              <a:gd name="csX31" fmla="*/ 690008 w 8151063"/>
              <a:gd name="csY31" fmla="*/ 1340746 h 2956373"/>
              <a:gd name="csX32" fmla="*/ 690008 w 8151063"/>
              <a:gd name="csY32" fmla="*/ 1385625 h 2956373"/>
              <a:gd name="csX33" fmla="*/ 723667 w 8151063"/>
              <a:gd name="csY33" fmla="*/ 1385625 h 2956373"/>
              <a:gd name="csX34" fmla="*/ 723667 w 8151063"/>
              <a:gd name="csY34" fmla="*/ 1441723 h 2956373"/>
              <a:gd name="csX35" fmla="*/ 835863 w 8151063"/>
              <a:gd name="csY35" fmla="*/ 1441723 h 2956373"/>
              <a:gd name="csX36" fmla="*/ 835863 w 8151063"/>
              <a:gd name="csY36" fmla="*/ 1475382 h 2956373"/>
              <a:gd name="csX37" fmla="*/ 880741 w 8151063"/>
              <a:gd name="csY37" fmla="*/ 1475382 h 2956373"/>
              <a:gd name="csX38" fmla="*/ 880741 w 8151063"/>
              <a:gd name="csY38" fmla="*/ 1531480 h 2956373"/>
              <a:gd name="csX39" fmla="*/ 964889 w 8151063"/>
              <a:gd name="csY39" fmla="*/ 1531480 h 2956373"/>
              <a:gd name="csX40" fmla="*/ 964889 w 8151063"/>
              <a:gd name="csY40" fmla="*/ 1587578 h 2956373"/>
              <a:gd name="csX41" fmla="*/ 1065865 w 8151063"/>
              <a:gd name="csY41" fmla="*/ 1587578 h 2956373"/>
              <a:gd name="csX42" fmla="*/ 1065865 w 8151063"/>
              <a:gd name="csY42" fmla="*/ 1621237 h 2956373"/>
              <a:gd name="csX43" fmla="*/ 1099524 w 8151063"/>
              <a:gd name="csY43" fmla="*/ 1621237 h 2956373"/>
              <a:gd name="csX44" fmla="*/ 1099524 w 8151063"/>
              <a:gd name="csY44" fmla="*/ 1694165 h 2956373"/>
              <a:gd name="csX45" fmla="*/ 1144403 w 8151063"/>
              <a:gd name="csY45" fmla="*/ 1694165 h 2956373"/>
              <a:gd name="csX46" fmla="*/ 1144403 w 8151063"/>
              <a:gd name="csY46" fmla="*/ 1722214 h 2956373"/>
              <a:gd name="csX47" fmla="*/ 1211721 w 8151063"/>
              <a:gd name="csY47" fmla="*/ 1722214 h 2956373"/>
              <a:gd name="csX48" fmla="*/ 1211721 w 8151063"/>
              <a:gd name="csY48" fmla="*/ 1783922 h 2956373"/>
              <a:gd name="csX49" fmla="*/ 1475382 w 8151063"/>
              <a:gd name="csY49" fmla="*/ 1783922 h 2956373"/>
              <a:gd name="csX50" fmla="*/ 1475382 w 8151063"/>
              <a:gd name="csY50" fmla="*/ 1840020 h 2956373"/>
              <a:gd name="csX51" fmla="*/ 1699775 w 8151063"/>
              <a:gd name="csY51" fmla="*/ 1840020 h 2956373"/>
              <a:gd name="csX52" fmla="*/ 1699775 w 8151063"/>
              <a:gd name="csY52" fmla="*/ 1896118 h 2956373"/>
              <a:gd name="csX53" fmla="*/ 1733433 w 8151063"/>
              <a:gd name="csY53" fmla="*/ 1896118 h 2956373"/>
              <a:gd name="csX54" fmla="*/ 1733433 w 8151063"/>
              <a:gd name="csY54" fmla="*/ 1918557 h 2956373"/>
              <a:gd name="csX55" fmla="*/ 1755873 w 8151063"/>
              <a:gd name="csY55" fmla="*/ 1918557 h 2956373"/>
              <a:gd name="csX56" fmla="*/ 1755873 w 8151063"/>
              <a:gd name="csY56" fmla="*/ 1957826 h 2956373"/>
              <a:gd name="csX57" fmla="*/ 1783922 w 8151063"/>
              <a:gd name="csY57" fmla="*/ 1957826 h 2956373"/>
              <a:gd name="csX58" fmla="*/ 1783922 w 8151063"/>
              <a:gd name="csY58" fmla="*/ 2008314 h 2956373"/>
              <a:gd name="csX59" fmla="*/ 1929777 w 8151063"/>
              <a:gd name="csY59" fmla="*/ 2008314 h 2956373"/>
              <a:gd name="csX60" fmla="*/ 1929777 w 8151063"/>
              <a:gd name="csY60" fmla="*/ 2047583 h 2956373"/>
              <a:gd name="csX61" fmla="*/ 1946606 w 8151063"/>
              <a:gd name="csY61" fmla="*/ 2047583 h 2956373"/>
              <a:gd name="csX62" fmla="*/ 1946606 w 8151063"/>
              <a:gd name="csY62" fmla="*/ 2114901 h 2956373"/>
              <a:gd name="csX63" fmla="*/ 2378562 w 8151063"/>
              <a:gd name="csY63" fmla="*/ 2114901 h 2956373"/>
              <a:gd name="csX64" fmla="*/ 2378562 w 8151063"/>
              <a:gd name="csY64" fmla="*/ 2170999 h 2956373"/>
              <a:gd name="csX65" fmla="*/ 3124668 w 8151063"/>
              <a:gd name="csY65" fmla="*/ 2170999 h 2956373"/>
              <a:gd name="csX66" fmla="*/ 3130278 w 8151063"/>
              <a:gd name="csY66" fmla="*/ 2221487 h 2956373"/>
              <a:gd name="csX67" fmla="*/ 3130278 w 8151063"/>
              <a:gd name="csY67" fmla="*/ 2243926 h 2956373"/>
              <a:gd name="csX68" fmla="*/ 3253694 w 8151063"/>
              <a:gd name="csY68" fmla="*/ 2243926 h 2956373"/>
              <a:gd name="csX69" fmla="*/ 3253694 w 8151063"/>
              <a:gd name="csY69" fmla="*/ 2316854 h 2956373"/>
              <a:gd name="csX70" fmla="*/ 3500525 w 8151063"/>
              <a:gd name="csY70" fmla="*/ 2316854 h 2956373"/>
              <a:gd name="csX71" fmla="*/ 3500525 w 8151063"/>
              <a:gd name="csY71" fmla="*/ 2384172 h 2956373"/>
              <a:gd name="csX72" fmla="*/ 4998346 w 8151063"/>
              <a:gd name="csY72" fmla="*/ 2384172 h 2956373"/>
              <a:gd name="csX73" fmla="*/ 4998346 w 8151063"/>
              <a:gd name="csY73" fmla="*/ 2490758 h 2956373"/>
              <a:gd name="csX74" fmla="*/ 5362984 w 8151063"/>
              <a:gd name="csY74" fmla="*/ 2490758 h 2956373"/>
              <a:gd name="csX75" fmla="*/ 5362984 w 8151063"/>
              <a:gd name="csY75" fmla="*/ 2608565 h 2956373"/>
              <a:gd name="csX76" fmla="*/ 6563485 w 8151063"/>
              <a:gd name="csY76" fmla="*/ 2608565 h 2956373"/>
              <a:gd name="csX77" fmla="*/ 6563485 w 8151063"/>
              <a:gd name="csY77" fmla="*/ 2956373 h 2956373"/>
              <a:gd name="csX78" fmla="*/ 8151063 w 8151063"/>
              <a:gd name="csY78" fmla="*/ 2956373 h 295637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</a:cxnLst>
            <a:rect l="l" t="t" r="r" b="b"/>
            <a:pathLst>
              <a:path w="8151063" h="2956373">
                <a:moveTo>
                  <a:pt x="0" y="0"/>
                </a:moveTo>
                <a:lnTo>
                  <a:pt x="50489" y="0"/>
                </a:lnTo>
                <a:lnTo>
                  <a:pt x="50489" y="39269"/>
                </a:lnTo>
                <a:lnTo>
                  <a:pt x="157075" y="39269"/>
                </a:lnTo>
                <a:lnTo>
                  <a:pt x="157075" y="89757"/>
                </a:lnTo>
                <a:lnTo>
                  <a:pt x="179514" y="89757"/>
                </a:lnTo>
                <a:lnTo>
                  <a:pt x="179514" y="140246"/>
                </a:lnTo>
                <a:lnTo>
                  <a:pt x="207563" y="140246"/>
                </a:lnTo>
                <a:lnTo>
                  <a:pt x="207563" y="201953"/>
                </a:lnTo>
                <a:lnTo>
                  <a:pt x="269271" y="201953"/>
                </a:lnTo>
                <a:lnTo>
                  <a:pt x="269271" y="504884"/>
                </a:lnTo>
                <a:lnTo>
                  <a:pt x="291711" y="504884"/>
                </a:lnTo>
                <a:lnTo>
                  <a:pt x="291711" y="690007"/>
                </a:lnTo>
                <a:lnTo>
                  <a:pt x="308540" y="690007"/>
                </a:lnTo>
                <a:lnTo>
                  <a:pt x="308540" y="746106"/>
                </a:lnTo>
                <a:lnTo>
                  <a:pt x="330979" y="746106"/>
                </a:lnTo>
                <a:lnTo>
                  <a:pt x="330979" y="875131"/>
                </a:lnTo>
                <a:lnTo>
                  <a:pt x="353419" y="875131"/>
                </a:lnTo>
                <a:lnTo>
                  <a:pt x="353419" y="925620"/>
                </a:lnTo>
                <a:lnTo>
                  <a:pt x="392687" y="925620"/>
                </a:lnTo>
                <a:lnTo>
                  <a:pt x="392687" y="1037816"/>
                </a:lnTo>
                <a:lnTo>
                  <a:pt x="415127" y="1037816"/>
                </a:lnTo>
                <a:lnTo>
                  <a:pt x="415127" y="1127573"/>
                </a:lnTo>
                <a:lnTo>
                  <a:pt x="538543" y="1127573"/>
                </a:lnTo>
                <a:lnTo>
                  <a:pt x="538543" y="1189281"/>
                </a:lnTo>
                <a:lnTo>
                  <a:pt x="577811" y="1189281"/>
                </a:lnTo>
                <a:lnTo>
                  <a:pt x="577811" y="1217330"/>
                </a:lnTo>
                <a:lnTo>
                  <a:pt x="600251" y="1217330"/>
                </a:lnTo>
                <a:lnTo>
                  <a:pt x="600251" y="1279038"/>
                </a:lnTo>
                <a:lnTo>
                  <a:pt x="633909" y="1279038"/>
                </a:lnTo>
                <a:lnTo>
                  <a:pt x="633909" y="1340746"/>
                </a:lnTo>
                <a:lnTo>
                  <a:pt x="690008" y="1340746"/>
                </a:lnTo>
                <a:lnTo>
                  <a:pt x="690008" y="1385625"/>
                </a:lnTo>
                <a:lnTo>
                  <a:pt x="723667" y="1385625"/>
                </a:lnTo>
                <a:lnTo>
                  <a:pt x="723667" y="1441723"/>
                </a:lnTo>
                <a:lnTo>
                  <a:pt x="835863" y="1441723"/>
                </a:lnTo>
                <a:lnTo>
                  <a:pt x="835863" y="1475382"/>
                </a:lnTo>
                <a:lnTo>
                  <a:pt x="880741" y="1475382"/>
                </a:lnTo>
                <a:lnTo>
                  <a:pt x="880741" y="1531480"/>
                </a:lnTo>
                <a:lnTo>
                  <a:pt x="964889" y="1531480"/>
                </a:lnTo>
                <a:lnTo>
                  <a:pt x="964889" y="1587578"/>
                </a:lnTo>
                <a:lnTo>
                  <a:pt x="1065865" y="1587578"/>
                </a:lnTo>
                <a:lnTo>
                  <a:pt x="1065865" y="1621237"/>
                </a:lnTo>
                <a:lnTo>
                  <a:pt x="1099524" y="1621237"/>
                </a:lnTo>
                <a:lnTo>
                  <a:pt x="1099524" y="1694165"/>
                </a:lnTo>
                <a:lnTo>
                  <a:pt x="1144403" y="1694165"/>
                </a:lnTo>
                <a:lnTo>
                  <a:pt x="1144403" y="1722214"/>
                </a:lnTo>
                <a:lnTo>
                  <a:pt x="1211721" y="1722214"/>
                </a:lnTo>
                <a:lnTo>
                  <a:pt x="1211721" y="1783922"/>
                </a:lnTo>
                <a:lnTo>
                  <a:pt x="1475382" y="1783922"/>
                </a:lnTo>
                <a:lnTo>
                  <a:pt x="1475382" y="1840020"/>
                </a:lnTo>
                <a:lnTo>
                  <a:pt x="1699775" y="1840020"/>
                </a:lnTo>
                <a:lnTo>
                  <a:pt x="1699775" y="1896118"/>
                </a:lnTo>
                <a:lnTo>
                  <a:pt x="1733433" y="1896118"/>
                </a:lnTo>
                <a:lnTo>
                  <a:pt x="1733433" y="1918557"/>
                </a:lnTo>
                <a:lnTo>
                  <a:pt x="1755873" y="1918557"/>
                </a:lnTo>
                <a:lnTo>
                  <a:pt x="1755873" y="1957826"/>
                </a:lnTo>
                <a:lnTo>
                  <a:pt x="1783922" y="1957826"/>
                </a:lnTo>
                <a:lnTo>
                  <a:pt x="1783922" y="2008314"/>
                </a:lnTo>
                <a:lnTo>
                  <a:pt x="1929777" y="2008314"/>
                </a:lnTo>
                <a:lnTo>
                  <a:pt x="1929777" y="2047583"/>
                </a:lnTo>
                <a:lnTo>
                  <a:pt x="1946606" y="2047583"/>
                </a:lnTo>
                <a:lnTo>
                  <a:pt x="1946606" y="2114901"/>
                </a:lnTo>
                <a:lnTo>
                  <a:pt x="2378562" y="2114901"/>
                </a:lnTo>
                <a:lnTo>
                  <a:pt x="2378562" y="2170999"/>
                </a:lnTo>
                <a:lnTo>
                  <a:pt x="3124668" y="2170999"/>
                </a:lnTo>
                <a:lnTo>
                  <a:pt x="3130278" y="2221487"/>
                </a:lnTo>
                <a:lnTo>
                  <a:pt x="3130278" y="2243926"/>
                </a:lnTo>
                <a:lnTo>
                  <a:pt x="3253694" y="2243926"/>
                </a:lnTo>
                <a:lnTo>
                  <a:pt x="3253694" y="2316854"/>
                </a:lnTo>
                <a:lnTo>
                  <a:pt x="3500525" y="2316854"/>
                </a:lnTo>
                <a:lnTo>
                  <a:pt x="3500525" y="2384172"/>
                </a:lnTo>
                <a:lnTo>
                  <a:pt x="4998346" y="2384172"/>
                </a:lnTo>
                <a:lnTo>
                  <a:pt x="4998346" y="2490758"/>
                </a:lnTo>
                <a:lnTo>
                  <a:pt x="5362984" y="2490758"/>
                </a:lnTo>
                <a:lnTo>
                  <a:pt x="5362984" y="2608565"/>
                </a:lnTo>
                <a:lnTo>
                  <a:pt x="6563485" y="2608565"/>
                </a:lnTo>
                <a:lnTo>
                  <a:pt x="6563485" y="2956373"/>
                </a:lnTo>
                <a:lnTo>
                  <a:pt x="8151063" y="2956373"/>
                </a:lnTo>
              </a:path>
            </a:pathLst>
          </a:custGeom>
          <a:ln w="19050"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2CC05CC4-9404-0802-7130-1710086865BC}"/>
              </a:ext>
            </a:extLst>
          </p:cNvPr>
          <p:cNvCxnSpPr>
            <a:cxnSpLocks/>
          </p:cNvCxnSpPr>
          <p:nvPr/>
        </p:nvCxnSpPr>
        <p:spPr>
          <a:xfrm>
            <a:off x="10486392" y="3698188"/>
            <a:ext cx="0" cy="49881"/>
          </a:xfrm>
          <a:prstGeom prst="line">
            <a:avLst/>
          </a:prstGeom>
          <a:ln w="19050"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E04AA233-A943-E0CE-535C-CE93177DEAAB}"/>
              </a:ext>
            </a:extLst>
          </p:cNvPr>
          <p:cNvCxnSpPr/>
          <p:nvPr/>
        </p:nvCxnSpPr>
        <p:spPr>
          <a:xfrm>
            <a:off x="7245443" y="3142231"/>
            <a:ext cx="0" cy="49881"/>
          </a:xfrm>
          <a:prstGeom prst="line">
            <a:avLst/>
          </a:prstGeom>
          <a:ln w="19050"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DE762EE-9727-DCB8-B6D1-369D70142F7A}"/>
              </a:ext>
            </a:extLst>
          </p:cNvPr>
          <p:cNvCxnSpPr/>
          <p:nvPr/>
        </p:nvCxnSpPr>
        <p:spPr>
          <a:xfrm>
            <a:off x="7307437" y="3182165"/>
            <a:ext cx="0" cy="49881"/>
          </a:xfrm>
          <a:prstGeom prst="line">
            <a:avLst/>
          </a:prstGeom>
          <a:ln w="19050"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663717F7-0C3B-C8DB-A8D3-A6D62DF6FED8}"/>
              </a:ext>
            </a:extLst>
          </p:cNvPr>
          <p:cNvCxnSpPr/>
          <p:nvPr/>
        </p:nvCxnSpPr>
        <p:spPr>
          <a:xfrm>
            <a:off x="7433291" y="3207106"/>
            <a:ext cx="0" cy="49881"/>
          </a:xfrm>
          <a:prstGeom prst="line">
            <a:avLst/>
          </a:prstGeom>
          <a:ln w="19050"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9968816F-15F7-D8CF-24DD-B8E20F101D0C}"/>
              </a:ext>
            </a:extLst>
          </p:cNvPr>
          <p:cNvCxnSpPr/>
          <p:nvPr/>
        </p:nvCxnSpPr>
        <p:spPr>
          <a:xfrm>
            <a:off x="7550753" y="3225418"/>
            <a:ext cx="0" cy="49881"/>
          </a:xfrm>
          <a:prstGeom prst="line">
            <a:avLst/>
          </a:prstGeom>
          <a:ln w="19050"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7D3AA40C-4CA7-6236-3259-2444F93406EC}"/>
              </a:ext>
            </a:extLst>
          </p:cNvPr>
          <p:cNvCxnSpPr/>
          <p:nvPr/>
        </p:nvCxnSpPr>
        <p:spPr>
          <a:xfrm>
            <a:off x="7592705" y="3279377"/>
            <a:ext cx="0" cy="49881"/>
          </a:xfrm>
          <a:prstGeom prst="line">
            <a:avLst/>
          </a:prstGeom>
          <a:ln w="19050"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9C1FC26-0BA5-6D4A-2D90-8639E5207439}"/>
              </a:ext>
            </a:extLst>
          </p:cNvPr>
          <p:cNvCxnSpPr/>
          <p:nvPr/>
        </p:nvCxnSpPr>
        <p:spPr>
          <a:xfrm>
            <a:off x="8140864" y="3363258"/>
            <a:ext cx="0" cy="49881"/>
          </a:xfrm>
          <a:prstGeom prst="line">
            <a:avLst/>
          </a:prstGeom>
          <a:ln w="19050"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E3BAEF75-C611-8FFE-3EFF-DF1CF6FE9FCC}"/>
              </a:ext>
            </a:extLst>
          </p:cNvPr>
          <p:cNvCxnSpPr/>
          <p:nvPr/>
        </p:nvCxnSpPr>
        <p:spPr>
          <a:xfrm>
            <a:off x="8194003" y="3361603"/>
            <a:ext cx="0" cy="49881"/>
          </a:xfrm>
          <a:prstGeom prst="line">
            <a:avLst/>
          </a:prstGeom>
          <a:ln w="19050"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EE4E5646-C203-D014-066B-84E36E4B85D6}"/>
              </a:ext>
            </a:extLst>
          </p:cNvPr>
          <p:cNvCxnSpPr/>
          <p:nvPr/>
        </p:nvCxnSpPr>
        <p:spPr>
          <a:xfrm>
            <a:off x="8213580" y="3363258"/>
            <a:ext cx="0" cy="49881"/>
          </a:xfrm>
          <a:prstGeom prst="line">
            <a:avLst/>
          </a:prstGeom>
          <a:ln w="19050"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551F66E1-34F7-D66D-58EE-C4DE9DA0F167}"/>
              </a:ext>
            </a:extLst>
          </p:cNvPr>
          <p:cNvCxnSpPr/>
          <p:nvPr/>
        </p:nvCxnSpPr>
        <p:spPr>
          <a:xfrm>
            <a:off x="8230360" y="3363258"/>
            <a:ext cx="0" cy="49881"/>
          </a:xfrm>
          <a:prstGeom prst="line">
            <a:avLst/>
          </a:prstGeom>
          <a:ln w="19050"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4F1B9C4A-3D89-BF48-FC53-EFCB04FB5978}"/>
              </a:ext>
            </a:extLst>
          </p:cNvPr>
          <p:cNvCxnSpPr/>
          <p:nvPr/>
        </p:nvCxnSpPr>
        <p:spPr>
          <a:xfrm>
            <a:off x="8415411" y="3428935"/>
            <a:ext cx="0" cy="49881"/>
          </a:xfrm>
          <a:prstGeom prst="line">
            <a:avLst/>
          </a:prstGeom>
          <a:ln w="19050"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E25537A0-EA7A-9691-13B5-96FEEA920A21}"/>
              </a:ext>
            </a:extLst>
          </p:cNvPr>
          <p:cNvCxnSpPr/>
          <p:nvPr/>
        </p:nvCxnSpPr>
        <p:spPr>
          <a:xfrm>
            <a:off x="8448971" y="3429098"/>
            <a:ext cx="0" cy="49881"/>
          </a:xfrm>
          <a:prstGeom prst="line">
            <a:avLst/>
          </a:prstGeom>
          <a:ln w="19050"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000AFB50-36ED-0646-A8B1-3F41C8E46C46}"/>
              </a:ext>
            </a:extLst>
          </p:cNvPr>
          <p:cNvCxnSpPr/>
          <p:nvPr/>
        </p:nvCxnSpPr>
        <p:spPr>
          <a:xfrm>
            <a:off x="8661523" y="3453876"/>
            <a:ext cx="0" cy="49881"/>
          </a:xfrm>
          <a:prstGeom prst="line">
            <a:avLst/>
          </a:prstGeom>
          <a:ln w="19050"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4964A975-21D5-8C6E-7F8B-9D2FD4B5EEF0}"/>
              </a:ext>
            </a:extLst>
          </p:cNvPr>
          <p:cNvCxnSpPr/>
          <p:nvPr/>
        </p:nvCxnSpPr>
        <p:spPr>
          <a:xfrm>
            <a:off x="8695084" y="3453876"/>
            <a:ext cx="0" cy="49881"/>
          </a:xfrm>
          <a:prstGeom prst="line">
            <a:avLst/>
          </a:prstGeom>
          <a:ln w="19050"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D789A424-120B-D60D-9F0B-BEAD26ADBF83}"/>
              </a:ext>
            </a:extLst>
          </p:cNvPr>
          <p:cNvCxnSpPr/>
          <p:nvPr/>
        </p:nvCxnSpPr>
        <p:spPr>
          <a:xfrm>
            <a:off x="8772221" y="3453876"/>
            <a:ext cx="0" cy="49881"/>
          </a:xfrm>
          <a:prstGeom prst="line">
            <a:avLst/>
          </a:prstGeom>
          <a:ln w="19050"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6D2B5017-593D-550F-5050-829B476400F0}"/>
              </a:ext>
            </a:extLst>
          </p:cNvPr>
          <p:cNvCxnSpPr/>
          <p:nvPr/>
        </p:nvCxnSpPr>
        <p:spPr>
          <a:xfrm>
            <a:off x="8850529" y="3453876"/>
            <a:ext cx="0" cy="49881"/>
          </a:xfrm>
          <a:prstGeom prst="line">
            <a:avLst/>
          </a:prstGeom>
          <a:ln w="19050"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5101D755-CFA9-633B-40E9-A59C6079A585}"/>
              </a:ext>
            </a:extLst>
          </p:cNvPr>
          <p:cNvCxnSpPr/>
          <p:nvPr/>
        </p:nvCxnSpPr>
        <p:spPr>
          <a:xfrm>
            <a:off x="9091049" y="3453875"/>
            <a:ext cx="0" cy="49881"/>
          </a:xfrm>
          <a:prstGeom prst="line">
            <a:avLst/>
          </a:prstGeom>
          <a:ln w="19050"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C72DF878-B04E-1F2A-AE22-C687D4913A50}"/>
              </a:ext>
            </a:extLst>
          </p:cNvPr>
          <p:cNvCxnSpPr>
            <a:cxnSpLocks/>
          </p:cNvCxnSpPr>
          <p:nvPr/>
        </p:nvCxnSpPr>
        <p:spPr>
          <a:xfrm>
            <a:off x="9289282" y="3494801"/>
            <a:ext cx="0" cy="49881"/>
          </a:xfrm>
          <a:prstGeom prst="line">
            <a:avLst/>
          </a:prstGeom>
          <a:ln w="19050"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1BE2C3D1-1C7A-915C-1723-F527ADD13363}"/>
              </a:ext>
            </a:extLst>
          </p:cNvPr>
          <p:cNvCxnSpPr>
            <a:cxnSpLocks/>
          </p:cNvCxnSpPr>
          <p:nvPr/>
        </p:nvCxnSpPr>
        <p:spPr>
          <a:xfrm>
            <a:off x="9320364" y="3494801"/>
            <a:ext cx="0" cy="49881"/>
          </a:xfrm>
          <a:prstGeom prst="line">
            <a:avLst/>
          </a:prstGeom>
          <a:ln w="19050"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FC416B77-338B-93B2-164B-EA95CEBD658A}"/>
              </a:ext>
            </a:extLst>
          </p:cNvPr>
          <p:cNvCxnSpPr>
            <a:cxnSpLocks/>
          </p:cNvCxnSpPr>
          <p:nvPr/>
        </p:nvCxnSpPr>
        <p:spPr>
          <a:xfrm>
            <a:off x="9349374" y="3494801"/>
            <a:ext cx="0" cy="49881"/>
          </a:xfrm>
          <a:prstGeom prst="line">
            <a:avLst/>
          </a:prstGeom>
          <a:ln w="19050"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182C0BC1-AC0D-700B-CFFF-2ADB22503759}"/>
              </a:ext>
            </a:extLst>
          </p:cNvPr>
          <p:cNvCxnSpPr>
            <a:cxnSpLocks/>
          </p:cNvCxnSpPr>
          <p:nvPr/>
        </p:nvCxnSpPr>
        <p:spPr>
          <a:xfrm>
            <a:off x="9407394" y="3546556"/>
            <a:ext cx="0" cy="49881"/>
          </a:xfrm>
          <a:prstGeom prst="line">
            <a:avLst/>
          </a:prstGeom>
          <a:ln w="19050"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E5A0A466-0929-2892-D3BD-D3B536BB797A}"/>
              </a:ext>
            </a:extLst>
          </p:cNvPr>
          <p:cNvCxnSpPr>
            <a:cxnSpLocks/>
          </p:cNvCxnSpPr>
          <p:nvPr/>
        </p:nvCxnSpPr>
        <p:spPr>
          <a:xfrm>
            <a:off x="9477846" y="3546556"/>
            <a:ext cx="0" cy="49881"/>
          </a:xfrm>
          <a:prstGeom prst="line">
            <a:avLst/>
          </a:prstGeom>
          <a:ln w="19050"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911C8E9A-4FE0-6742-C8E4-187A186A0EE5}"/>
              </a:ext>
            </a:extLst>
          </p:cNvPr>
          <p:cNvCxnSpPr>
            <a:cxnSpLocks/>
          </p:cNvCxnSpPr>
          <p:nvPr/>
        </p:nvCxnSpPr>
        <p:spPr>
          <a:xfrm>
            <a:off x="9581452" y="3546556"/>
            <a:ext cx="0" cy="49881"/>
          </a:xfrm>
          <a:prstGeom prst="line">
            <a:avLst/>
          </a:prstGeom>
          <a:ln w="19050"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FF59508D-615F-DBC4-3A50-86C252833610}"/>
              </a:ext>
            </a:extLst>
          </p:cNvPr>
          <p:cNvCxnSpPr>
            <a:cxnSpLocks/>
          </p:cNvCxnSpPr>
          <p:nvPr/>
        </p:nvCxnSpPr>
        <p:spPr>
          <a:xfrm>
            <a:off x="9627039" y="3546509"/>
            <a:ext cx="0" cy="49881"/>
          </a:xfrm>
          <a:prstGeom prst="line">
            <a:avLst/>
          </a:prstGeom>
          <a:ln w="19050"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448" name="Straight Connector 447">
            <a:extLst>
              <a:ext uri="{FF2B5EF4-FFF2-40B4-BE49-F238E27FC236}">
                <a16:creationId xmlns:a16="http://schemas.microsoft.com/office/drawing/2014/main" id="{6793E69F-19D6-9A9D-BC83-52C12A975E8D}"/>
              </a:ext>
            </a:extLst>
          </p:cNvPr>
          <p:cNvCxnSpPr>
            <a:cxnSpLocks/>
          </p:cNvCxnSpPr>
          <p:nvPr/>
        </p:nvCxnSpPr>
        <p:spPr>
          <a:xfrm>
            <a:off x="9714068" y="3548250"/>
            <a:ext cx="0" cy="49881"/>
          </a:xfrm>
          <a:prstGeom prst="line">
            <a:avLst/>
          </a:prstGeom>
          <a:ln w="19050"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449" name="Straight Connector 448">
            <a:extLst>
              <a:ext uri="{FF2B5EF4-FFF2-40B4-BE49-F238E27FC236}">
                <a16:creationId xmlns:a16="http://schemas.microsoft.com/office/drawing/2014/main" id="{89DBA61E-FEDC-8224-36E4-F5B244CA614C}"/>
              </a:ext>
            </a:extLst>
          </p:cNvPr>
          <p:cNvCxnSpPr>
            <a:cxnSpLocks/>
          </p:cNvCxnSpPr>
          <p:nvPr/>
        </p:nvCxnSpPr>
        <p:spPr>
          <a:xfrm>
            <a:off x="9788665" y="3548250"/>
            <a:ext cx="0" cy="49881"/>
          </a:xfrm>
          <a:prstGeom prst="line">
            <a:avLst/>
          </a:prstGeom>
          <a:ln w="19050"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450" name="Straight Connector 449">
            <a:extLst>
              <a:ext uri="{FF2B5EF4-FFF2-40B4-BE49-F238E27FC236}">
                <a16:creationId xmlns:a16="http://schemas.microsoft.com/office/drawing/2014/main" id="{F13D462C-4122-576A-7272-EB6848E794B0}"/>
              </a:ext>
            </a:extLst>
          </p:cNvPr>
          <p:cNvCxnSpPr>
            <a:cxnSpLocks/>
          </p:cNvCxnSpPr>
          <p:nvPr/>
        </p:nvCxnSpPr>
        <p:spPr>
          <a:xfrm>
            <a:off x="9819746" y="3548250"/>
            <a:ext cx="0" cy="49881"/>
          </a:xfrm>
          <a:prstGeom prst="line">
            <a:avLst/>
          </a:prstGeom>
          <a:ln w="19050"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454" name="Straight Connector 453">
            <a:extLst>
              <a:ext uri="{FF2B5EF4-FFF2-40B4-BE49-F238E27FC236}">
                <a16:creationId xmlns:a16="http://schemas.microsoft.com/office/drawing/2014/main" id="{04B7F6FE-B3A7-1683-7455-2F60259B811D}"/>
              </a:ext>
            </a:extLst>
          </p:cNvPr>
          <p:cNvCxnSpPr>
            <a:cxnSpLocks/>
          </p:cNvCxnSpPr>
          <p:nvPr/>
        </p:nvCxnSpPr>
        <p:spPr>
          <a:xfrm>
            <a:off x="10755706" y="3698188"/>
            <a:ext cx="0" cy="49881"/>
          </a:xfrm>
          <a:prstGeom prst="line">
            <a:avLst/>
          </a:prstGeom>
          <a:ln w="19050"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455" name="Straight Connector 454">
            <a:extLst>
              <a:ext uri="{FF2B5EF4-FFF2-40B4-BE49-F238E27FC236}">
                <a16:creationId xmlns:a16="http://schemas.microsoft.com/office/drawing/2014/main" id="{862EF2CC-A977-BEF2-55CA-C5664F77A2BA}"/>
              </a:ext>
            </a:extLst>
          </p:cNvPr>
          <p:cNvCxnSpPr>
            <a:cxnSpLocks/>
          </p:cNvCxnSpPr>
          <p:nvPr/>
        </p:nvCxnSpPr>
        <p:spPr>
          <a:xfrm>
            <a:off x="10705285" y="3698188"/>
            <a:ext cx="0" cy="49881"/>
          </a:xfrm>
          <a:prstGeom prst="line">
            <a:avLst/>
          </a:prstGeom>
          <a:ln w="19050"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0" name="Title 8">
            <a:extLst>
              <a:ext uri="{FF2B5EF4-FFF2-40B4-BE49-F238E27FC236}">
                <a16:creationId xmlns:a16="http://schemas.microsoft.com/office/drawing/2014/main" id="{7F0CD395-C3C7-0B96-CB0C-507699B654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0647" y="311858"/>
            <a:ext cx="9789459" cy="632402"/>
          </a:xfrm>
        </p:spPr>
        <p:txBody>
          <a:bodyPr/>
          <a:lstStyle/>
          <a:p>
            <a:r>
              <a:rPr lang="en-GB" sz="3200" dirty="0">
                <a:latin typeface="+mn-lt"/>
              </a:rPr>
              <a:t>Glofitamab </a:t>
            </a:r>
            <a:r>
              <a:rPr lang="en-GB" sz="3200">
                <a:latin typeface="+mn-lt"/>
              </a:rPr>
              <a:t>and englumafusp alfa* (</a:t>
            </a:r>
            <a:r>
              <a:rPr lang="en-GB" sz="3200" b="1">
                <a:latin typeface="+mn-lt"/>
              </a:rPr>
              <a:t>BP41072</a:t>
            </a:r>
            <a:r>
              <a:rPr lang="en-GB" sz="3200">
                <a:latin typeface="+mn-lt"/>
              </a:rPr>
              <a:t>)</a:t>
            </a:r>
            <a:r>
              <a:rPr lang="en-GB" sz="3200" baseline="30000">
                <a:latin typeface="+mn-lt"/>
              </a:rPr>
              <a:t>1,†</a:t>
            </a:r>
            <a:endParaRPr lang="en-GB" sz="3200" baseline="30000" dirty="0">
              <a:latin typeface="+mn-lt"/>
            </a:endParaRP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E78F9A79-1D30-A5BE-4348-9D4A1F7E4F5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70645" y="5697596"/>
            <a:ext cx="10440000" cy="1022355"/>
          </a:xfrm>
        </p:spPr>
        <p:txBody>
          <a:bodyPr/>
          <a:lstStyle/>
          <a:p>
            <a:r>
              <a:rPr lang="en-GB" dirty="0"/>
              <a:t>*</a:t>
            </a:r>
            <a:r>
              <a:rPr lang="en-GB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Englumafusp</a:t>
            </a:r>
            <a:r>
              <a:rPr lang="en-GB" dirty="0">
                <a:solidFill>
                  <a:prstClr val="black">
                    <a:lumMod val="75000"/>
                    <a:lumOff val="25000"/>
                  </a:prstClr>
                </a:solidFill>
              </a:rPr>
              <a:t> alfa is a CD19/4-1BBL costimulatory antibody-like fusion protein</a:t>
            </a:r>
            <a:r>
              <a:rPr lang="en-GB" dirty="0"/>
              <a:t>. </a:t>
            </a:r>
          </a:p>
          <a:p>
            <a:r>
              <a:rPr lang="en-GB" dirty="0"/>
              <a:t>†For scientific discussion only, subject to regulatory approval. </a:t>
            </a:r>
          </a:p>
          <a:p>
            <a:r>
              <a:rPr lang="en-GB" dirty="0">
                <a:solidFill>
                  <a:prstClr val="black">
                    <a:lumMod val="75000"/>
                    <a:lumOff val="25000"/>
                  </a:prstClr>
                </a:solidFill>
              </a:rPr>
              <a:t>‡</a:t>
            </a:r>
            <a:r>
              <a:rPr lang="en-GB" dirty="0"/>
              <a:t>Glofitamab step-up dosing with 2.5 mg IV given on Day 1, Cycle 1, followed by 10 mg on Day 8, Cycle 1 (14-day cycle). 30 mg (full dose) given on Day 1 of Cycles 2–12</a:t>
            </a:r>
            <a:r>
              <a:rPr lang="en-GB" dirty="0">
                <a:solidFill>
                  <a:prstClr val="black">
                    <a:lumMod val="75000"/>
                    <a:lumOff val="25000"/>
                  </a:prstClr>
                </a:solidFill>
              </a:rPr>
              <a:t>.</a:t>
            </a:r>
            <a:endParaRPr lang="en-GB" dirty="0"/>
          </a:p>
          <a:p>
            <a:r>
              <a:rPr lang="en-GB" dirty="0">
                <a:solidFill>
                  <a:prstClr val="black">
                    <a:lumMod val="75000"/>
                    <a:lumOff val="25000"/>
                  </a:prstClr>
                </a:solidFill>
              </a:rPr>
              <a:t>§</a:t>
            </a:r>
            <a:r>
              <a:rPr lang="en-GB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Englumafusp</a:t>
            </a:r>
            <a:r>
              <a:rPr lang="en-GB" dirty="0">
                <a:solidFill>
                  <a:prstClr val="black">
                    <a:lumMod val="75000"/>
                    <a:lumOff val="25000"/>
                  </a:prstClr>
                </a:solidFill>
              </a:rPr>
              <a:t> alfa given on Day 8 of Cycle 2, followed by Day 1 of </a:t>
            </a:r>
            <a:r>
              <a:rPr lang="en-GB" dirty="0"/>
              <a:t>Cycles 3–12</a:t>
            </a:r>
            <a:r>
              <a:rPr lang="en-GB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</a:p>
          <a:p>
            <a:r>
              <a:rPr lang="en-GB" dirty="0"/>
              <a:t>‖Median follow-up: 25.8 months.</a:t>
            </a:r>
            <a:endParaRPr lang="en-GB" dirty="0">
              <a:solidFill>
                <a:prstClr val="black">
                  <a:lumMod val="75000"/>
                  <a:lumOff val="25000"/>
                </a:prstClr>
              </a:solidFill>
            </a:endParaRPr>
          </a:p>
          <a:p>
            <a:r>
              <a:rPr lang="en-GB" dirty="0"/>
              <a:t>IV, intravenous; NHL, non-Hodgkin lymphoma; PFS, progression-free survival; Q3W, once every 3 weeks; R/R, relapsed/refractory.</a:t>
            </a:r>
          </a:p>
          <a:p>
            <a:r>
              <a:rPr lang="en-GB" b="1" dirty="0"/>
              <a:t>1. </a:t>
            </a:r>
            <a:r>
              <a:rPr lang="en-GB" dirty="0"/>
              <a:t>Hutchings et al. ASH 2024; Oral presentation #990.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31A05F2-3339-E978-8F51-35F153A85BA2}"/>
              </a:ext>
            </a:extLst>
          </p:cNvPr>
          <p:cNvSpPr txBox="1"/>
          <p:nvPr/>
        </p:nvSpPr>
        <p:spPr>
          <a:xfrm>
            <a:off x="7280106" y="1901523"/>
            <a:ext cx="262217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gression-free survival</a:t>
            </a:r>
            <a:r>
              <a:rPr kumimoji="0" lang="en-GB" sz="1600" b="0" i="0" u="none" strike="noStrike" kern="1200" cap="none" spc="0" normalizeH="0" baseline="3000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‖</a:t>
            </a: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79E660E-7053-37BA-AD46-149213EFDD0B}"/>
              </a:ext>
            </a:extLst>
          </p:cNvPr>
          <p:cNvSpPr txBox="1"/>
          <p:nvPr/>
        </p:nvSpPr>
        <p:spPr>
          <a:xfrm>
            <a:off x="5474192" y="4763598"/>
            <a:ext cx="864066" cy="115198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No. at risk</a:t>
            </a: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ABBFC9">
                  <a:lumMod val="75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87BD6208-2A6A-B3C3-7686-58926F7547BC}"/>
              </a:ext>
            </a:extLst>
          </p:cNvPr>
          <p:cNvSpPr txBox="1"/>
          <p:nvPr/>
        </p:nvSpPr>
        <p:spPr>
          <a:xfrm>
            <a:off x="6370633" y="2378093"/>
            <a:ext cx="228337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00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CCE74EB-BBBD-2914-F6F2-A8AD96D4810A}"/>
              </a:ext>
            </a:extLst>
          </p:cNvPr>
          <p:cNvSpPr txBox="1"/>
          <p:nvPr/>
        </p:nvSpPr>
        <p:spPr>
          <a:xfrm>
            <a:off x="6370633" y="2728797"/>
            <a:ext cx="228337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80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6A154AE-7BE2-829E-C375-0B41DAE30E26}"/>
              </a:ext>
            </a:extLst>
          </p:cNvPr>
          <p:cNvSpPr txBox="1"/>
          <p:nvPr/>
        </p:nvSpPr>
        <p:spPr>
          <a:xfrm>
            <a:off x="6370633" y="3079501"/>
            <a:ext cx="228337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60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5DE34F7-BC52-9084-96C5-A1623459D06E}"/>
              </a:ext>
            </a:extLst>
          </p:cNvPr>
          <p:cNvSpPr txBox="1"/>
          <p:nvPr/>
        </p:nvSpPr>
        <p:spPr>
          <a:xfrm>
            <a:off x="6370633" y="3430205"/>
            <a:ext cx="228337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40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76A8AEB9-F3F2-E33D-A615-406A26263C9A}"/>
              </a:ext>
            </a:extLst>
          </p:cNvPr>
          <p:cNvSpPr txBox="1"/>
          <p:nvPr/>
        </p:nvSpPr>
        <p:spPr>
          <a:xfrm>
            <a:off x="6370633" y="3780909"/>
            <a:ext cx="228337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20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DED269A5-DD51-B19E-AA9C-3E94B143DA8D}"/>
              </a:ext>
            </a:extLst>
          </p:cNvPr>
          <p:cNvSpPr txBox="1"/>
          <p:nvPr/>
        </p:nvSpPr>
        <p:spPr>
          <a:xfrm>
            <a:off x="6509106" y="4131611"/>
            <a:ext cx="89864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0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B91C1495-1DE0-CB47-EFB9-DC43A904F22A}"/>
              </a:ext>
            </a:extLst>
          </p:cNvPr>
          <p:cNvSpPr txBox="1"/>
          <p:nvPr/>
        </p:nvSpPr>
        <p:spPr>
          <a:xfrm rot="16200000">
            <a:off x="5180197" y="3263157"/>
            <a:ext cx="1924304" cy="169007"/>
          </a:xfrm>
          <a:prstGeom prst="rect">
            <a:avLst/>
          </a:prstGeom>
          <a:noFill/>
        </p:spPr>
        <p:txBody>
          <a:bodyPr wrap="non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Progression-free survival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0A07FE2D-0C4B-1D43-6AD0-7F1D62735782}"/>
              </a:ext>
            </a:extLst>
          </p:cNvPr>
          <p:cNvCxnSpPr>
            <a:cxnSpLocks/>
          </p:cNvCxnSpPr>
          <p:nvPr/>
        </p:nvCxnSpPr>
        <p:spPr>
          <a:xfrm>
            <a:off x="6630409" y="2437526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354C157F-93DD-2394-D503-3CB480188A31}"/>
              </a:ext>
            </a:extLst>
          </p:cNvPr>
          <p:cNvCxnSpPr>
            <a:cxnSpLocks/>
          </p:cNvCxnSpPr>
          <p:nvPr/>
        </p:nvCxnSpPr>
        <p:spPr>
          <a:xfrm>
            <a:off x="6630409" y="2787942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4250A8D3-E491-C257-7252-3093644F780F}"/>
              </a:ext>
            </a:extLst>
          </p:cNvPr>
          <p:cNvCxnSpPr>
            <a:cxnSpLocks/>
          </p:cNvCxnSpPr>
          <p:nvPr/>
        </p:nvCxnSpPr>
        <p:spPr>
          <a:xfrm>
            <a:off x="6630409" y="3138358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D4A614FE-C3C1-B156-CBEA-BBB6F4F15FC5}"/>
              </a:ext>
            </a:extLst>
          </p:cNvPr>
          <p:cNvCxnSpPr>
            <a:cxnSpLocks/>
          </p:cNvCxnSpPr>
          <p:nvPr/>
        </p:nvCxnSpPr>
        <p:spPr>
          <a:xfrm>
            <a:off x="6630409" y="3839190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8BA63F61-4CE0-6404-80A8-E8678A370654}"/>
              </a:ext>
            </a:extLst>
          </p:cNvPr>
          <p:cNvCxnSpPr>
            <a:cxnSpLocks/>
          </p:cNvCxnSpPr>
          <p:nvPr/>
        </p:nvCxnSpPr>
        <p:spPr>
          <a:xfrm>
            <a:off x="6630409" y="3488774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3D7171AE-FBA2-C816-059F-1E004D145EB2}"/>
              </a:ext>
            </a:extLst>
          </p:cNvPr>
          <p:cNvCxnSpPr>
            <a:cxnSpLocks/>
          </p:cNvCxnSpPr>
          <p:nvPr/>
        </p:nvCxnSpPr>
        <p:spPr>
          <a:xfrm>
            <a:off x="6630409" y="4189603"/>
            <a:ext cx="4309565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>
            <a:extLst>
              <a:ext uri="{FF2B5EF4-FFF2-40B4-BE49-F238E27FC236}">
                <a16:creationId xmlns:a16="http://schemas.microsoft.com/office/drawing/2014/main" id="{3319D36D-186B-D433-EFFC-F0BA52BC0377}"/>
              </a:ext>
            </a:extLst>
          </p:cNvPr>
          <p:cNvSpPr txBox="1"/>
          <p:nvPr/>
        </p:nvSpPr>
        <p:spPr>
          <a:xfrm>
            <a:off x="6639336" y="4763598"/>
            <a:ext cx="89895" cy="115198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83</a:t>
            </a: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FBE3CCD8-7BEC-59A8-10D8-1C779E979590}"/>
              </a:ext>
            </a:extLst>
          </p:cNvPr>
          <p:cNvCxnSpPr>
            <a:cxnSpLocks/>
          </p:cNvCxnSpPr>
          <p:nvPr/>
        </p:nvCxnSpPr>
        <p:spPr>
          <a:xfrm>
            <a:off x="6703335" y="2432804"/>
            <a:ext cx="0" cy="182880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>
            <a:extLst>
              <a:ext uri="{FF2B5EF4-FFF2-40B4-BE49-F238E27FC236}">
                <a16:creationId xmlns:a16="http://schemas.microsoft.com/office/drawing/2014/main" id="{80C4B85C-A4C1-D2C5-D7D9-65D2BB53781D}"/>
              </a:ext>
            </a:extLst>
          </p:cNvPr>
          <p:cNvSpPr txBox="1"/>
          <p:nvPr/>
        </p:nvSpPr>
        <p:spPr>
          <a:xfrm>
            <a:off x="6658403" y="4348357"/>
            <a:ext cx="89864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0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AB48F82B-0DFD-9E78-3A38-08C714EE8705}"/>
              </a:ext>
            </a:extLst>
          </p:cNvPr>
          <p:cNvSpPr txBox="1"/>
          <p:nvPr/>
        </p:nvSpPr>
        <p:spPr>
          <a:xfrm>
            <a:off x="7248372" y="4763598"/>
            <a:ext cx="89895" cy="115198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45</a:t>
            </a: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6F5695ED-9F42-3BD3-8E52-4B8EBDEFFEAA}"/>
              </a:ext>
            </a:extLst>
          </p:cNvPr>
          <p:cNvCxnSpPr>
            <a:cxnSpLocks/>
          </p:cNvCxnSpPr>
          <p:nvPr/>
        </p:nvCxnSpPr>
        <p:spPr>
          <a:xfrm rot="16200000">
            <a:off x="7252581" y="4225603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44">
            <a:extLst>
              <a:ext uri="{FF2B5EF4-FFF2-40B4-BE49-F238E27FC236}">
                <a16:creationId xmlns:a16="http://schemas.microsoft.com/office/drawing/2014/main" id="{FAC22F9C-66CE-673E-A059-E3F532F445AE}"/>
              </a:ext>
            </a:extLst>
          </p:cNvPr>
          <p:cNvSpPr txBox="1"/>
          <p:nvPr/>
        </p:nvSpPr>
        <p:spPr>
          <a:xfrm>
            <a:off x="7248403" y="4348357"/>
            <a:ext cx="89864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6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4F5108D1-A2DF-1512-4211-FB68A66CE4E7}"/>
              </a:ext>
            </a:extLst>
          </p:cNvPr>
          <p:cNvSpPr txBox="1"/>
          <p:nvPr/>
        </p:nvSpPr>
        <p:spPr>
          <a:xfrm>
            <a:off x="8362124" y="4518972"/>
            <a:ext cx="863766" cy="11530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Months</a:t>
            </a:r>
          </a:p>
        </p:txBody>
      </p:sp>
      <p:sp>
        <p:nvSpPr>
          <p:cNvPr id="56" name="Content Placeholder 1">
            <a:extLst>
              <a:ext uri="{FF2B5EF4-FFF2-40B4-BE49-F238E27FC236}">
                <a16:creationId xmlns:a16="http://schemas.microsoft.com/office/drawing/2014/main" id="{211237F5-2AD7-7031-8C97-8C524CE59666}"/>
              </a:ext>
            </a:extLst>
          </p:cNvPr>
          <p:cNvSpPr txBox="1">
            <a:spLocks/>
          </p:cNvSpPr>
          <p:nvPr/>
        </p:nvSpPr>
        <p:spPr>
          <a:xfrm>
            <a:off x="9576860" y="2666417"/>
            <a:ext cx="1363550" cy="4726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5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Median PFS</a:t>
            </a:r>
            <a:r>
              <a:rPr kumimoji="0" lang="en-GB" sz="1500" b="0" i="0" u="none" strike="noStrike" kern="1200" cap="none" spc="0" normalizeH="0" baseline="3000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b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85854">
                    <a:lumMod val="75000"/>
                    <a:lumOff val="2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GB" sz="1900" b="1" i="0" u="none" strike="noStrike" kern="1200" cap="none" spc="0" normalizeH="0" baseline="0" noProof="0" dirty="0">
                <a:ln>
                  <a:noFill/>
                </a:ln>
                <a:solidFill>
                  <a:srgbClr val="4CA1A6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9.9 months</a:t>
            </a:r>
            <a:endParaRPr kumimoji="0" lang="en-GB" sz="1900" b="0" i="0" u="none" strike="noStrike" kern="1200" cap="none" spc="0" normalizeH="0" baseline="0" noProof="0" dirty="0">
              <a:ln>
                <a:noFill/>
              </a:ln>
              <a:solidFill>
                <a:srgbClr val="4CA1A6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69903822-D421-F8BE-70CE-50DC3ACDCBF1}"/>
              </a:ext>
            </a:extLst>
          </p:cNvPr>
          <p:cNvSpPr txBox="1"/>
          <p:nvPr/>
        </p:nvSpPr>
        <p:spPr>
          <a:xfrm>
            <a:off x="7829736" y="4763598"/>
            <a:ext cx="89895" cy="115198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33</a:t>
            </a:r>
          </a:p>
        </p:txBody>
      </p: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3FA4C511-98F2-13C9-D32F-20EC3C93E68C}"/>
              </a:ext>
            </a:extLst>
          </p:cNvPr>
          <p:cNvCxnSpPr>
            <a:cxnSpLocks/>
          </p:cNvCxnSpPr>
          <p:nvPr/>
        </p:nvCxnSpPr>
        <p:spPr>
          <a:xfrm rot="16200000">
            <a:off x="7837681" y="4225603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Box 58">
            <a:extLst>
              <a:ext uri="{FF2B5EF4-FFF2-40B4-BE49-F238E27FC236}">
                <a16:creationId xmlns:a16="http://schemas.microsoft.com/office/drawing/2014/main" id="{B7A4A473-29D1-615A-E788-444BB084CE31}"/>
              </a:ext>
            </a:extLst>
          </p:cNvPr>
          <p:cNvSpPr txBox="1"/>
          <p:nvPr/>
        </p:nvSpPr>
        <p:spPr>
          <a:xfrm>
            <a:off x="7829767" y="4348357"/>
            <a:ext cx="89864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2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59FDA7BF-4393-3D13-66EC-EA4C5AA3003E}"/>
              </a:ext>
            </a:extLst>
          </p:cNvPr>
          <p:cNvSpPr txBox="1"/>
          <p:nvPr/>
        </p:nvSpPr>
        <p:spPr>
          <a:xfrm>
            <a:off x="8421197" y="4763598"/>
            <a:ext cx="89895" cy="115198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21</a:t>
            </a:r>
          </a:p>
        </p:txBody>
      </p: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C6BDBD1E-CB98-344B-3F2F-B06A1CE075CB}"/>
              </a:ext>
            </a:extLst>
          </p:cNvPr>
          <p:cNvCxnSpPr>
            <a:cxnSpLocks/>
          </p:cNvCxnSpPr>
          <p:nvPr/>
        </p:nvCxnSpPr>
        <p:spPr>
          <a:xfrm rot="16200000">
            <a:off x="8427212" y="4225603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TextBox 61">
            <a:extLst>
              <a:ext uri="{FF2B5EF4-FFF2-40B4-BE49-F238E27FC236}">
                <a16:creationId xmlns:a16="http://schemas.microsoft.com/office/drawing/2014/main" id="{0148DCFC-C0AD-DC34-C3A0-299D34E4A48B}"/>
              </a:ext>
            </a:extLst>
          </p:cNvPr>
          <p:cNvSpPr txBox="1"/>
          <p:nvPr/>
        </p:nvSpPr>
        <p:spPr>
          <a:xfrm>
            <a:off x="8421228" y="4348357"/>
            <a:ext cx="89864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8</a:t>
            </a:r>
          </a:p>
        </p:txBody>
      </p:sp>
      <p:sp>
        <p:nvSpPr>
          <p:cNvPr id="451" name="TextBox 450">
            <a:extLst>
              <a:ext uri="{FF2B5EF4-FFF2-40B4-BE49-F238E27FC236}">
                <a16:creationId xmlns:a16="http://schemas.microsoft.com/office/drawing/2014/main" id="{39ED06B0-D7E5-7246-9E13-B32208A63DE3}"/>
              </a:ext>
            </a:extLst>
          </p:cNvPr>
          <p:cNvSpPr txBox="1"/>
          <p:nvPr/>
        </p:nvSpPr>
        <p:spPr>
          <a:xfrm>
            <a:off x="9008800" y="4763598"/>
            <a:ext cx="89895" cy="115198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7</a:t>
            </a:r>
          </a:p>
        </p:txBody>
      </p:sp>
      <p:cxnSp>
        <p:nvCxnSpPr>
          <p:cNvPr id="452" name="Straight Connector 451">
            <a:extLst>
              <a:ext uri="{FF2B5EF4-FFF2-40B4-BE49-F238E27FC236}">
                <a16:creationId xmlns:a16="http://schemas.microsoft.com/office/drawing/2014/main" id="{47286041-FFFF-FDAD-BBB2-F5DF02C2CE66}"/>
              </a:ext>
            </a:extLst>
          </p:cNvPr>
          <p:cNvCxnSpPr>
            <a:cxnSpLocks/>
          </p:cNvCxnSpPr>
          <p:nvPr/>
        </p:nvCxnSpPr>
        <p:spPr>
          <a:xfrm rot="16200000">
            <a:off x="9015718" y="4225603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3" name="TextBox 452">
            <a:extLst>
              <a:ext uri="{FF2B5EF4-FFF2-40B4-BE49-F238E27FC236}">
                <a16:creationId xmlns:a16="http://schemas.microsoft.com/office/drawing/2014/main" id="{20B95CE8-64FC-DCE6-681A-32564D2347AD}"/>
              </a:ext>
            </a:extLst>
          </p:cNvPr>
          <p:cNvSpPr txBox="1"/>
          <p:nvPr/>
        </p:nvSpPr>
        <p:spPr>
          <a:xfrm>
            <a:off x="9008831" y="4348357"/>
            <a:ext cx="89864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24</a:t>
            </a:r>
          </a:p>
        </p:txBody>
      </p:sp>
      <p:sp>
        <p:nvSpPr>
          <p:cNvPr id="457" name="TextBox 456">
            <a:extLst>
              <a:ext uri="{FF2B5EF4-FFF2-40B4-BE49-F238E27FC236}">
                <a16:creationId xmlns:a16="http://schemas.microsoft.com/office/drawing/2014/main" id="{1CF519AF-4562-F7D7-C593-1FBC9C5797D7}"/>
              </a:ext>
            </a:extLst>
          </p:cNvPr>
          <p:cNvSpPr txBox="1"/>
          <p:nvPr/>
        </p:nvSpPr>
        <p:spPr>
          <a:xfrm>
            <a:off x="9601161" y="4763598"/>
            <a:ext cx="89895" cy="115198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7</a:t>
            </a:r>
          </a:p>
        </p:txBody>
      </p:sp>
      <p:cxnSp>
        <p:nvCxnSpPr>
          <p:cNvPr id="458" name="Straight Connector 457">
            <a:extLst>
              <a:ext uri="{FF2B5EF4-FFF2-40B4-BE49-F238E27FC236}">
                <a16:creationId xmlns:a16="http://schemas.microsoft.com/office/drawing/2014/main" id="{2F1B234F-AA7F-2F36-D8B7-679902E75DE7}"/>
              </a:ext>
            </a:extLst>
          </p:cNvPr>
          <p:cNvCxnSpPr>
            <a:cxnSpLocks/>
          </p:cNvCxnSpPr>
          <p:nvPr/>
        </p:nvCxnSpPr>
        <p:spPr>
          <a:xfrm rot="16200000">
            <a:off x="9608982" y="4225603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9" name="TextBox 458">
            <a:extLst>
              <a:ext uri="{FF2B5EF4-FFF2-40B4-BE49-F238E27FC236}">
                <a16:creationId xmlns:a16="http://schemas.microsoft.com/office/drawing/2014/main" id="{9FA22CA0-A30D-A92D-F892-D991A7BCD84B}"/>
              </a:ext>
            </a:extLst>
          </p:cNvPr>
          <p:cNvSpPr txBox="1"/>
          <p:nvPr/>
        </p:nvSpPr>
        <p:spPr>
          <a:xfrm>
            <a:off x="9601192" y="4348357"/>
            <a:ext cx="89864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30</a:t>
            </a:r>
          </a:p>
        </p:txBody>
      </p:sp>
      <p:sp>
        <p:nvSpPr>
          <p:cNvPr id="463" name="TextBox 462">
            <a:extLst>
              <a:ext uri="{FF2B5EF4-FFF2-40B4-BE49-F238E27FC236}">
                <a16:creationId xmlns:a16="http://schemas.microsoft.com/office/drawing/2014/main" id="{6C9CD075-C05E-88BB-CF65-E56C4D766F26}"/>
              </a:ext>
            </a:extLst>
          </p:cNvPr>
          <p:cNvSpPr txBox="1"/>
          <p:nvPr/>
        </p:nvSpPr>
        <p:spPr>
          <a:xfrm>
            <a:off x="10188761" y="4763598"/>
            <a:ext cx="89895" cy="115198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3</a:t>
            </a:r>
          </a:p>
        </p:txBody>
      </p:sp>
      <p:cxnSp>
        <p:nvCxnSpPr>
          <p:cNvPr id="464" name="Straight Connector 463">
            <a:extLst>
              <a:ext uri="{FF2B5EF4-FFF2-40B4-BE49-F238E27FC236}">
                <a16:creationId xmlns:a16="http://schemas.microsoft.com/office/drawing/2014/main" id="{A827F49C-1658-F2B4-A525-881A7C4CED99}"/>
              </a:ext>
            </a:extLst>
          </p:cNvPr>
          <p:cNvCxnSpPr>
            <a:cxnSpLocks/>
          </p:cNvCxnSpPr>
          <p:nvPr/>
        </p:nvCxnSpPr>
        <p:spPr>
          <a:xfrm rot="16200000">
            <a:off x="10192724" y="4225603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5" name="TextBox 464">
            <a:extLst>
              <a:ext uri="{FF2B5EF4-FFF2-40B4-BE49-F238E27FC236}">
                <a16:creationId xmlns:a16="http://schemas.microsoft.com/office/drawing/2014/main" id="{195CF975-BEAB-B76B-DEF0-481F64EDA3D7}"/>
              </a:ext>
            </a:extLst>
          </p:cNvPr>
          <p:cNvSpPr txBox="1"/>
          <p:nvPr/>
        </p:nvSpPr>
        <p:spPr>
          <a:xfrm>
            <a:off x="10188792" y="4348357"/>
            <a:ext cx="89864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36</a:t>
            </a:r>
          </a:p>
        </p:txBody>
      </p:sp>
      <p:sp>
        <p:nvSpPr>
          <p:cNvPr id="480" name="object 48">
            <a:extLst>
              <a:ext uri="{FF2B5EF4-FFF2-40B4-BE49-F238E27FC236}">
                <a16:creationId xmlns:a16="http://schemas.microsoft.com/office/drawing/2014/main" id="{629DC411-2008-CDDB-29D4-DDCB4A2627D1}"/>
              </a:ext>
            </a:extLst>
          </p:cNvPr>
          <p:cNvSpPr txBox="1"/>
          <p:nvPr/>
        </p:nvSpPr>
        <p:spPr>
          <a:xfrm>
            <a:off x="794507" y="3995997"/>
            <a:ext cx="3543523" cy="869212"/>
          </a:xfrm>
          <a:prstGeom prst="rect">
            <a:avLst/>
          </a:prstGeom>
          <a:ln w="12700">
            <a:solidFill>
              <a:schemeClr val="accent3"/>
            </a:solidFill>
          </a:ln>
        </p:spPr>
        <p:txBody>
          <a:bodyPr vert="horz" wrap="square" lIns="91440" tIns="45720" rIns="0" bIns="45720" rtlCol="0" anchor="t">
            <a:spAutoFit/>
          </a:bodyPr>
          <a:lstStyle>
            <a:defPPr>
              <a:defRPr lang="en-US"/>
            </a:defPPr>
            <a:lvl1pPr marL="183600" indent="-183600">
              <a:lnSpc>
                <a:spcPct val="90000"/>
              </a:lnSpc>
              <a:spcBef>
                <a:spcPts val="800"/>
              </a:spcBef>
              <a:spcAft>
                <a:spcPts val="800"/>
              </a:spcAft>
              <a:buFont typeface="Arial" panose="020B0604020202020204" pitchFamily="34" charset="0"/>
              <a:buChar char="•"/>
              <a:defRPr sz="1200" b="1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55600" indent="-173038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539750" indent="-18415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722313" indent="-182563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895350" indent="-173038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183600" marR="0" lvl="0" indent="-183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Calibri" panose="020F0502020204030204" pitchFamily="34" charset="0"/>
              </a:rPr>
              <a:t>≥18 years old with R/R NHL, including:</a:t>
            </a:r>
          </a:p>
          <a:p>
            <a:pPr marL="540000" marR="0" lvl="1" indent="-183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Calibri" panose="020F0502020204030204" pitchFamily="34" charset="0"/>
              </a:rPr>
              <a:t>83 patients with aggressive NHL</a:t>
            </a:r>
          </a:p>
          <a:p>
            <a:pPr marL="540000" marR="0" lvl="1" indent="-183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Calibri" panose="020F0502020204030204" pitchFamily="34" charset="0"/>
              </a:rPr>
              <a:t>24 patients with indolent NHL</a:t>
            </a:r>
          </a:p>
          <a:p>
            <a:pPr marL="183600" marR="0" lvl="0" indent="-183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Calibri" panose="020F0502020204030204" pitchFamily="34" charset="0"/>
              </a:rPr>
              <a:t>≥1 prior therapy</a:t>
            </a:r>
          </a:p>
        </p:txBody>
      </p:sp>
      <p:sp>
        <p:nvSpPr>
          <p:cNvPr id="481" name="object 46">
            <a:extLst>
              <a:ext uri="{FF2B5EF4-FFF2-40B4-BE49-F238E27FC236}">
                <a16:creationId xmlns:a16="http://schemas.microsoft.com/office/drawing/2014/main" id="{AC90EEA2-DB23-8FD5-D0DC-9D2BDDDD5DFB}"/>
              </a:ext>
            </a:extLst>
          </p:cNvPr>
          <p:cNvSpPr txBox="1"/>
          <p:nvPr/>
        </p:nvSpPr>
        <p:spPr>
          <a:xfrm>
            <a:off x="794507" y="3754463"/>
            <a:ext cx="3543523" cy="246888"/>
          </a:xfrm>
          <a:prstGeom prst="rect">
            <a:avLst/>
          </a:prstGeom>
          <a:solidFill>
            <a:schemeClr val="accent3"/>
          </a:solidFill>
          <a:ln w="12700" cap="flat" cmpd="sng" algn="ctr">
            <a:solidFill>
              <a:schemeClr val="accent3"/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>
            <a:defPPr>
              <a:defRPr lang="en-US"/>
            </a:defPPr>
            <a:lvl1pPr algn="ctr">
              <a:defRPr sz="14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tudy population</a:t>
            </a:r>
          </a:p>
        </p:txBody>
      </p:sp>
      <p:sp>
        <p:nvSpPr>
          <p:cNvPr id="482" name="object 7">
            <a:extLst>
              <a:ext uri="{FF2B5EF4-FFF2-40B4-BE49-F238E27FC236}">
                <a16:creationId xmlns:a16="http://schemas.microsoft.com/office/drawing/2014/main" id="{29C116D7-E840-BE9A-1478-F6F3D47B2671}"/>
              </a:ext>
            </a:extLst>
          </p:cNvPr>
          <p:cNvSpPr txBox="1"/>
          <p:nvPr/>
        </p:nvSpPr>
        <p:spPr>
          <a:xfrm>
            <a:off x="794507" y="1999724"/>
            <a:ext cx="3726403" cy="366956"/>
          </a:xfrm>
          <a:prstGeom prst="chevron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sv-SE"/>
            </a:defPPr>
            <a:lvl1pPr algn="ctr">
              <a:defRPr sz="14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reatment period (up to 12 cycles)</a:t>
            </a:r>
          </a:p>
        </p:txBody>
      </p:sp>
      <p:sp>
        <p:nvSpPr>
          <p:cNvPr id="483" name="object 44">
            <a:extLst>
              <a:ext uri="{FF2B5EF4-FFF2-40B4-BE49-F238E27FC236}">
                <a16:creationId xmlns:a16="http://schemas.microsoft.com/office/drawing/2014/main" id="{8659EBC1-CF39-8CAE-FB78-6AE3F15A9477}"/>
              </a:ext>
            </a:extLst>
          </p:cNvPr>
          <p:cNvSpPr txBox="1"/>
          <p:nvPr/>
        </p:nvSpPr>
        <p:spPr>
          <a:xfrm>
            <a:off x="856532" y="2431919"/>
            <a:ext cx="3441437" cy="107566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2700"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4CA1A6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Glofitamab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Q3W for up to 12 cycles</a:t>
            </a:r>
            <a:r>
              <a:rPr kumimoji="0" lang="en-GB" sz="1400" b="0" i="0" u="none" strike="noStrike" kern="1200" cap="none" spc="0" normalizeH="0" baseline="3000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‡</a:t>
            </a:r>
            <a:endParaRPr kumimoji="0" lang="en-GB" sz="1800" b="0" i="0" u="none" strike="noStrike" kern="1200" cap="none" spc="0" normalizeH="0" baseline="3000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err="1">
                <a:ln>
                  <a:noFill/>
                </a:ln>
                <a:solidFill>
                  <a:srgbClr val="2C5E77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Englumafusp</a:t>
            </a: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2C5E77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alfa</a:t>
            </a: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*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Q3W for up </a:t>
            </a: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o 11 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ycles</a:t>
            </a:r>
            <a:r>
              <a:rPr kumimoji="0" lang="en-GB" sz="1400" b="0" i="0" u="none" strike="noStrike" kern="1200" cap="none" spc="0" normalizeH="0" baseline="3000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§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=134</a:t>
            </a:r>
            <a:endParaRPr kumimoji="0" lang="en-GB" sz="1200" b="0" i="0" u="none" strike="noStrike" kern="1200" cap="none" spc="0" normalizeH="0" baseline="3000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61067F7D-9A68-E778-BA8F-21D52E8F4F59}"/>
              </a:ext>
            </a:extLst>
          </p:cNvPr>
          <p:cNvSpPr/>
          <p:nvPr/>
        </p:nvSpPr>
        <p:spPr>
          <a:xfrm>
            <a:off x="469900" y="2423504"/>
            <a:ext cx="314632" cy="106528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hase 1</a:t>
            </a:r>
            <a:endParaRPr kumimoji="0" lang="en-GB" sz="1400" b="0" i="0" u="none" strike="noStrike" kern="1200" cap="none" spc="0" normalizeH="0" baseline="30000" noProof="0" dirty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C6F9FA8-9640-0F9E-AA21-22D41F5D12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651" y="6356350"/>
            <a:ext cx="383694" cy="365125"/>
          </a:xfrm>
        </p:spPr>
        <p:txBody>
          <a:bodyPr vert="horz" lIns="0" tIns="0" rIns="0" bIns="0"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306B0CF-28DA-4AF7-AD0B-CB9D5901F647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82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5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84323782"/>
      </p:ext>
    </p:extLst>
  </p:cSld>
  <p:clrMapOvr>
    <a:masterClrMapping/>
  </p:clrMapOvr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3F0E5E-9A4F-EA41-811D-1FB46195D8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0647" y="311858"/>
            <a:ext cx="9789459" cy="632402"/>
          </a:xfrm>
        </p:spPr>
        <p:txBody>
          <a:bodyPr>
            <a:noAutofit/>
          </a:bodyPr>
          <a:lstStyle/>
          <a:p>
            <a:r>
              <a:rPr lang="en-GB" sz="3200">
                <a:latin typeface="+mn-lt"/>
              </a:rPr>
              <a:t>Polatuzumab vedotin-glofitamab (</a:t>
            </a:r>
            <a:r>
              <a:rPr lang="en-GB" sz="3200" b="1">
                <a:latin typeface="+mn-lt"/>
              </a:rPr>
              <a:t>NCT03533283</a:t>
            </a:r>
            <a:r>
              <a:rPr lang="en-GB" sz="3200">
                <a:latin typeface="+mn-lt"/>
              </a:rPr>
              <a:t>)</a:t>
            </a:r>
            <a:r>
              <a:rPr lang="en-GB" sz="3200" baseline="30000">
                <a:latin typeface="+mn-lt"/>
              </a:rPr>
              <a:t>1,</a:t>
            </a:r>
            <a:r>
              <a:rPr lang="en-GB" sz="3200">
                <a:latin typeface="+mn-lt"/>
              </a:rPr>
              <a:t>*</a:t>
            </a:r>
            <a:endParaRPr lang="en-GB" sz="3200" baseline="30000" dirty="0">
              <a:latin typeface="+mn-lt"/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022321A-7424-380D-11AD-D0986CBE28B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70645" y="5803079"/>
            <a:ext cx="10440000" cy="916871"/>
          </a:xfrm>
        </p:spPr>
        <p:txBody>
          <a:bodyPr/>
          <a:lstStyle/>
          <a:p>
            <a:r>
              <a:rPr lang="en-GB" dirty="0"/>
              <a:t>*For scientific discussion only, subject to regulatory approval. </a:t>
            </a:r>
          </a:p>
          <a:p>
            <a:r>
              <a:rPr lang="en-GB" dirty="0"/>
              <a:t>†Glofitamab step-up dosing with 2.5 mg IV given on Day 8, Cycle 1, followed by 10 mg on Day 15, Cycle 1, and 30 mg (full dose) given beginning on Day 1 of Cycle 2. </a:t>
            </a:r>
          </a:p>
          <a:p>
            <a:r>
              <a:rPr lang="en-GB" dirty="0"/>
              <a:t>2L, second line; ADC, antibody-drug conjugate; </a:t>
            </a:r>
            <a:r>
              <a:rPr lang="en-GB" dirty="0" err="1"/>
              <a:t>BsAb</a:t>
            </a:r>
            <a:r>
              <a:rPr lang="en-GB" dirty="0"/>
              <a:t>, bispecific antibody; CAR-T, chimeric antigen receptor T-cell therapy; DLBCL, diffuse large B-cell lymphoma; glofit, glofitamab; IRC, Independent Review Committee; NE, not estimable; HGBL, high-grade B-cell lymphoma; IV, intravenous; PFS, progression-free survival; PMBCL, primary mediastinal B-cell lymphoma; pola, polatuzumab vedotin; Q3W, every 3 weeks; </a:t>
            </a:r>
            <a:r>
              <a:rPr lang="en-GB" dirty="0" err="1"/>
              <a:t>trFL</a:t>
            </a:r>
            <a:r>
              <a:rPr lang="en-GB" dirty="0"/>
              <a:t>, transformed follicular lymphoma. </a:t>
            </a:r>
            <a:endParaRPr lang="en-CH" dirty="0"/>
          </a:p>
          <a:p>
            <a:r>
              <a:rPr lang="en-GB" b="1" dirty="0"/>
              <a:t>1. </a:t>
            </a:r>
            <a:r>
              <a:rPr lang="en-GB" dirty="0"/>
              <a:t>Hutchings et al</a:t>
            </a:r>
            <a:r>
              <a:rPr lang="en-GB" i="1" dirty="0"/>
              <a:t>. J Clin Oncol</a:t>
            </a:r>
            <a:r>
              <a:rPr lang="en-GB" dirty="0"/>
              <a:t> 2025 </a:t>
            </a:r>
            <a:r>
              <a:rPr lang="en-GB" b="1" dirty="0"/>
              <a:t>2. </a:t>
            </a:r>
            <a:r>
              <a:rPr lang="en-GB" dirty="0"/>
              <a:t>Clinicaltrials.gov NCT03533283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1FCA9C6-5D08-02A7-CA88-61B886228B74}"/>
              </a:ext>
            </a:extLst>
          </p:cNvPr>
          <p:cNvSpPr txBox="1"/>
          <p:nvPr/>
        </p:nvSpPr>
        <p:spPr>
          <a:xfrm>
            <a:off x="7280107" y="1901523"/>
            <a:ext cx="255710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gression-free surviv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AE95CCE-583E-BFAE-3A54-7E67A0B76BEC}"/>
              </a:ext>
            </a:extLst>
          </p:cNvPr>
          <p:cNvSpPr txBox="1"/>
          <p:nvPr/>
        </p:nvSpPr>
        <p:spPr>
          <a:xfrm>
            <a:off x="5474192" y="4763598"/>
            <a:ext cx="864066" cy="115198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No. at risk</a:t>
            </a: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ABBFC9">
                  <a:lumMod val="75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BB0425C-2143-7B93-16EB-B9A472A56EDC}"/>
              </a:ext>
            </a:extLst>
          </p:cNvPr>
          <p:cNvSpPr txBox="1"/>
          <p:nvPr/>
        </p:nvSpPr>
        <p:spPr>
          <a:xfrm>
            <a:off x="6370633" y="2378093"/>
            <a:ext cx="228337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00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55413E9-9B4B-A75C-73F9-F77B8CEC7D53}"/>
              </a:ext>
            </a:extLst>
          </p:cNvPr>
          <p:cNvSpPr txBox="1"/>
          <p:nvPr/>
        </p:nvSpPr>
        <p:spPr>
          <a:xfrm>
            <a:off x="6370633" y="2728797"/>
            <a:ext cx="228337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80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886993E-BD59-E4A8-D466-DB79850BD29E}"/>
              </a:ext>
            </a:extLst>
          </p:cNvPr>
          <p:cNvSpPr txBox="1"/>
          <p:nvPr/>
        </p:nvSpPr>
        <p:spPr>
          <a:xfrm>
            <a:off x="6370633" y="3079501"/>
            <a:ext cx="228337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60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4EE9AF4-DA55-16CC-10B9-AFAF5BB1D528}"/>
              </a:ext>
            </a:extLst>
          </p:cNvPr>
          <p:cNvSpPr txBox="1"/>
          <p:nvPr/>
        </p:nvSpPr>
        <p:spPr>
          <a:xfrm>
            <a:off x="6370633" y="3430205"/>
            <a:ext cx="228337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40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B5AB13A-7CD2-00E8-4812-50681495F92F}"/>
              </a:ext>
            </a:extLst>
          </p:cNvPr>
          <p:cNvSpPr txBox="1"/>
          <p:nvPr/>
        </p:nvSpPr>
        <p:spPr>
          <a:xfrm>
            <a:off x="6370633" y="3780909"/>
            <a:ext cx="228337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20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11B68DA-5B6E-5232-02EE-F0BE95279D2A}"/>
              </a:ext>
            </a:extLst>
          </p:cNvPr>
          <p:cNvSpPr txBox="1"/>
          <p:nvPr/>
        </p:nvSpPr>
        <p:spPr>
          <a:xfrm>
            <a:off x="6509106" y="4131611"/>
            <a:ext cx="89864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0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12DF4A2B-C713-FFF0-29F2-5F70CE3A6C70}"/>
              </a:ext>
            </a:extLst>
          </p:cNvPr>
          <p:cNvSpPr txBox="1"/>
          <p:nvPr/>
        </p:nvSpPr>
        <p:spPr>
          <a:xfrm rot="16200000">
            <a:off x="5180197" y="3263157"/>
            <a:ext cx="1924304" cy="169007"/>
          </a:xfrm>
          <a:prstGeom prst="rect">
            <a:avLst/>
          </a:prstGeom>
          <a:noFill/>
        </p:spPr>
        <p:txBody>
          <a:bodyPr wrap="non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PFS by IRC, %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116E1011-0399-8398-DA2B-49BCB1295C73}"/>
              </a:ext>
            </a:extLst>
          </p:cNvPr>
          <p:cNvCxnSpPr>
            <a:cxnSpLocks/>
          </p:cNvCxnSpPr>
          <p:nvPr/>
        </p:nvCxnSpPr>
        <p:spPr>
          <a:xfrm>
            <a:off x="6630409" y="2437526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379B694F-AC48-9E0A-5E33-666ECF4BAFF9}"/>
              </a:ext>
            </a:extLst>
          </p:cNvPr>
          <p:cNvCxnSpPr>
            <a:cxnSpLocks/>
          </p:cNvCxnSpPr>
          <p:nvPr/>
        </p:nvCxnSpPr>
        <p:spPr>
          <a:xfrm>
            <a:off x="6630409" y="2787942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A83AB00-DB26-0C14-76EE-2DA3A561D491}"/>
              </a:ext>
            </a:extLst>
          </p:cNvPr>
          <p:cNvCxnSpPr>
            <a:cxnSpLocks/>
          </p:cNvCxnSpPr>
          <p:nvPr/>
        </p:nvCxnSpPr>
        <p:spPr>
          <a:xfrm>
            <a:off x="6630409" y="3138358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2DF5F31D-E0C2-01A2-152B-5132261DEC8C}"/>
              </a:ext>
            </a:extLst>
          </p:cNvPr>
          <p:cNvCxnSpPr>
            <a:cxnSpLocks/>
          </p:cNvCxnSpPr>
          <p:nvPr/>
        </p:nvCxnSpPr>
        <p:spPr>
          <a:xfrm>
            <a:off x="6630409" y="3839190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33251D43-1F45-6F67-A65E-5A434CA094C2}"/>
              </a:ext>
            </a:extLst>
          </p:cNvPr>
          <p:cNvCxnSpPr>
            <a:cxnSpLocks/>
          </p:cNvCxnSpPr>
          <p:nvPr/>
        </p:nvCxnSpPr>
        <p:spPr>
          <a:xfrm>
            <a:off x="6630409" y="3488774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BBC690FF-BF41-D035-17CE-331C0DCA2BFC}"/>
              </a:ext>
            </a:extLst>
          </p:cNvPr>
          <p:cNvCxnSpPr>
            <a:cxnSpLocks/>
          </p:cNvCxnSpPr>
          <p:nvPr/>
        </p:nvCxnSpPr>
        <p:spPr>
          <a:xfrm>
            <a:off x="6630409" y="4189603"/>
            <a:ext cx="4309565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E9FBD197-35D8-2EA8-45DB-7EFEBAC3206C}"/>
              </a:ext>
            </a:extLst>
          </p:cNvPr>
          <p:cNvSpPr txBox="1"/>
          <p:nvPr/>
        </p:nvSpPr>
        <p:spPr>
          <a:xfrm>
            <a:off x="6639336" y="4763598"/>
            <a:ext cx="89895" cy="115198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29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C0701FF0-01FE-2B51-6FF6-817AEB2DECD3}"/>
              </a:ext>
            </a:extLst>
          </p:cNvPr>
          <p:cNvCxnSpPr>
            <a:cxnSpLocks/>
          </p:cNvCxnSpPr>
          <p:nvPr/>
        </p:nvCxnSpPr>
        <p:spPr>
          <a:xfrm>
            <a:off x="6703335" y="2432804"/>
            <a:ext cx="0" cy="182880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FD82CD7F-D881-7184-C5B0-0C1CA0620402}"/>
              </a:ext>
            </a:extLst>
          </p:cNvPr>
          <p:cNvSpPr txBox="1"/>
          <p:nvPr/>
        </p:nvSpPr>
        <p:spPr>
          <a:xfrm>
            <a:off x="6658403" y="4348357"/>
            <a:ext cx="89864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0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240E52FF-8344-38A0-8CC7-BB80BC12BBB8}"/>
              </a:ext>
            </a:extLst>
          </p:cNvPr>
          <p:cNvSpPr txBox="1"/>
          <p:nvPr/>
        </p:nvSpPr>
        <p:spPr>
          <a:xfrm>
            <a:off x="6897420" y="4763598"/>
            <a:ext cx="89895" cy="115198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00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6680C0BE-5241-81E8-CB19-9D7A8482C4BD}"/>
              </a:ext>
            </a:extLst>
          </p:cNvPr>
          <p:cNvCxnSpPr>
            <a:cxnSpLocks/>
          </p:cNvCxnSpPr>
          <p:nvPr/>
        </p:nvCxnSpPr>
        <p:spPr>
          <a:xfrm rot="16200000">
            <a:off x="6903559" y="4225604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BF16249A-B1A4-DB69-77B6-F30B3AFBD2D1}"/>
              </a:ext>
            </a:extLst>
          </p:cNvPr>
          <p:cNvSpPr txBox="1"/>
          <p:nvPr/>
        </p:nvSpPr>
        <p:spPr>
          <a:xfrm>
            <a:off x="6897451" y="4348357"/>
            <a:ext cx="89864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3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9D15300D-F62C-27B5-0FEC-C70A406CA166}"/>
              </a:ext>
            </a:extLst>
          </p:cNvPr>
          <p:cNvSpPr txBox="1"/>
          <p:nvPr/>
        </p:nvSpPr>
        <p:spPr>
          <a:xfrm>
            <a:off x="7141215" y="4763598"/>
            <a:ext cx="89895" cy="115198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73</a:t>
            </a: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A7D365C3-772F-61C1-F245-034D792ED723}"/>
              </a:ext>
            </a:extLst>
          </p:cNvPr>
          <p:cNvCxnSpPr>
            <a:cxnSpLocks/>
          </p:cNvCxnSpPr>
          <p:nvPr/>
        </p:nvCxnSpPr>
        <p:spPr>
          <a:xfrm rot="16200000">
            <a:off x="7145424" y="4225603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>
            <a:extLst>
              <a:ext uri="{FF2B5EF4-FFF2-40B4-BE49-F238E27FC236}">
                <a16:creationId xmlns:a16="http://schemas.microsoft.com/office/drawing/2014/main" id="{D3EFFC7C-95FD-3136-F3F0-FA3FB4633D3F}"/>
              </a:ext>
            </a:extLst>
          </p:cNvPr>
          <p:cNvSpPr txBox="1"/>
          <p:nvPr/>
        </p:nvSpPr>
        <p:spPr>
          <a:xfrm>
            <a:off x="7141246" y="4348357"/>
            <a:ext cx="89864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6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C3904004-5574-A761-1531-494EA29DFA26}"/>
              </a:ext>
            </a:extLst>
          </p:cNvPr>
          <p:cNvSpPr txBox="1"/>
          <p:nvPr/>
        </p:nvSpPr>
        <p:spPr>
          <a:xfrm>
            <a:off x="7380247" y="4763598"/>
            <a:ext cx="89895" cy="115198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60</a:t>
            </a:r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8CA5898F-0565-09FD-4788-7ADC6DB90ECB}"/>
              </a:ext>
            </a:extLst>
          </p:cNvPr>
          <p:cNvCxnSpPr>
            <a:cxnSpLocks/>
          </p:cNvCxnSpPr>
          <p:nvPr/>
        </p:nvCxnSpPr>
        <p:spPr>
          <a:xfrm rot="16200000">
            <a:off x="7387289" y="4225603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37A12484-B594-A37D-5BDF-5D5781A0F576}"/>
              </a:ext>
            </a:extLst>
          </p:cNvPr>
          <p:cNvSpPr txBox="1"/>
          <p:nvPr/>
        </p:nvSpPr>
        <p:spPr>
          <a:xfrm>
            <a:off x="7380278" y="4348357"/>
            <a:ext cx="89864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9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DBCEC64F-5796-FF5F-10E8-C20EE6E0BA5C}"/>
              </a:ext>
            </a:extLst>
          </p:cNvPr>
          <p:cNvSpPr txBox="1"/>
          <p:nvPr/>
        </p:nvSpPr>
        <p:spPr>
          <a:xfrm>
            <a:off x="7619279" y="4763598"/>
            <a:ext cx="89895" cy="115198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47</a:t>
            </a: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219860A5-4AA5-D4E1-B8A1-0DF2E2742B86}"/>
              </a:ext>
            </a:extLst>
          </p:cNvPr>
          <p:cNvCxnSpPr>
            <a:cxnSpLocks/>
          </p:cNvCxnSpPr>
          <p:nvPr/>
        </p:nvCxnSpPr>
        <p:spPr>
          <a:xfrm rot="16200000">
            <a:off x="7629154" y="4225603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44">
            <a:extLst>
              <a:ext uri="{FF2B5EF4-FFF2-40B4-BE49-F238E27FC236}">
                <a16:creationId xmlns:a16="http://schemas.microsoft.com/office/drawing/2014/main" id="{74EFAA97-0D7A-B423-0E9B-48F9D4266CB3}"/>
              </a:ext>
            </a:extLst>
          </p:cNvPr>
          <p:cNvSpPr txBox="1"/>
          <p:nvPr/>
        </p:nvSpPr>
        <p:spPr>
          <a:xfrm>
            <a:off x="7619310" y="4348357"/>
            <a:ext cx="89864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2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8F63B73A-2837-CA11-612D-DE000D202633}"/>
              </a:ext>
            </a:extLst>
          </p:cNvPr>
          <p:cNvSpPr txBox="1"/>
          <p:nvPr/>
        </p:nvSpPr>
        <p:spPr>
          <a:xfrm>
            <a:off x="10721940" y="4763598"/>
            <a:ext cx="177942" cy="115198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NE</a:t>
            </a:r>
          </a:p>
        </p:txBody>
      </p: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48BF76B7-43A7-3E5C-F920-FC49991C41E9}"/>
              </a:ext>
            </a:extLst>
          </p:cNvPr>
          <p:cNvCxnSpPr>
            <a:cxnSpLocks/>
          </p:cNvCxnSpPr>
          <p:nvPr/>
        </p:nvCxnSpPr>
        <p:spPr>
          <a:xfrm rot="16200000">
            <a:off x="10773392" y="4225603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Box 47">
            <a:extLst>
              <a:ext uri="{FF2B5EF4-FFF2-40B4-BE49-F238E27FC236}">
                <a16:creationId xmlns:a16="http://schemas.microsoft.com/office/drawing/2014/main" id="{08F49A42-ACEA-12C1-8730-04C8E0FE0D5A}"/>
              </a:ext>
            </a:extLst>
          </p:cNvPr>
          <p:cNvSpPr txBox="1"/>
          <p:nvPr/>
        </p:nvSpPr>
        <p:spPr>
          <a:xfrm>
            <a:off x="10721971" y="4348357"/>
            <a:ext cx="177880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51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7B6D5A0D-3D15-3C04-6C4E-8E4FD2E21B42}"/>
              </a:ext>
            </a:extLst>
          </p:cNvPr>
          <p:cNvSpPr txBox="1"/>
          <p:nvPr/>
        </p:nvSpPr>
        <p:spPr>
          <a:xfrm>
            <a:off x="8362124" y="4518972"/>
            <a:ext cx="863766" cy="11530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Months</a:t>
            </a:r>
          </a:p>
        </p:txBody>
      </p:sp>
      <p:sp>
        <p:nvSpPr>
          <p:cNvPr id="51" name="Content Placeholder 1">
            <a:extLst>
              <a:ext uri="{FF2B5EF4-FFF2-40B4-BE49-F238E27FC236}">
                <a16:creationId xmlns:a16="http://schemas.microsoft.com/office/drawing/2014/main" id="{049328F6-ED48-C930-C193-B72260F66F30}"/>
              </a:ext>
            </a:extLst>
          </p:cNvPr>
          <p:cNvSpPr txBox="1">
            <a:spLocks/>
          </p:cNvSpPr>
          <p:nvPr/>
        </p:nvSpPr>
        <p:spPr>
          <a:xfrm>
            <a:off x="9601202" y="2623026"/>
            <a:ext cx="1363550" cy="4726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5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Median PFS</a:t>
            </a:r>
            <a:r>
              <a:rPr kumimoji="0" lang="en-GB" sz="1500" b="0" i="0" u="none" strike="noStrike" kern="1200" cap="none" spc="0" normalizeH="0" baseline="3000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b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85854">
                    <a:lumMod val="75000"/>
                    <a:lumOff val="2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GB" sz="1900" b="1" i="0" u="none" strike="noStrike" kern="1200" cap="none" spc="0" normalizeH="0" baseline="0" noProof="0" dirty="0">
                <a:ln>
                  <a:noFill/>
                </a:ln>
                <a:solidFill>
                  <a:srgbClr val="4CA1A6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2.3 months</a:t>
            </a:r>
            <a:endParaRPr kumimoji="0" lang="en-GB" sz="1900" b="0" i="0" u="none" strike="noStrike" kern="1200" cap="none" spc="0" normalizeH="0" baseline="0" noProof="0" dirty="0">
              <a:ln>
                <a:noFill/>
              </a:ln>
              <a:solidFill>
                <a:srgbClr val="4CA1A6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B295D4AF-A0AD-34F3-96CD-B0393B48AE7D}"/>
              </a:ext>
            </a:extLst>
          </p:cNvPr>
          <p:cNvSpPr txBox="1"/>
          <p:nvPr/>
        </p:nvSpPr>
        <p:spPr>
          <a:xfrm>
            <a:off x="7863074" y="4763598"/>
            <a:ext cx="89895" cy="115198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41</a:t>
            </a:r>
          </a:p>
        </p:txBody>
      </p: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52EBC490-A1D9-3EB8-5E46-B503FBC8D10D}"/>
              </a:ext>
            </a:extLst>
          </p:cNvPr>
          <p:cNvCxnSpPr>
            <a:cxnSpLocks/>
          </p:cNvCxnSpPr>
          <p:nvPr/>
        </p:nvCxnSpPr>
        <p:spPr>
          <a:xfrm rot="16200000">
            <a:off x="7871019" y="4225603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TextBox 68">
            <a:extLst>
              <a:ext uri="{FF2B5EF4-FFF2-40B4-BE49-F238E27FC236}">
                <a16:creationId xmlns:a16="http://schemas.microsoft.com/office/drawing/2014/main" id="{12C36AC1-51EC-26FD-397B-2FA99D76839E}"/>
              </a:ext>
            </a:extLst>
          </p:cNvPr>
          <p:cNvSpPr txBox="1"/>
          <p:nvPr/>
        </p:nvSpPr>
        <p:spPr>
          <a:xfrm>
            <a:off x="7863105" y="4348357"/>
            <a:ext cx="89864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5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93535138-237A-A606-857F-6AEFFDCB7AB6}"/>
              </a:ext>
            </a:extLst>
          </p:cNvPr>
          <p:cNvSpPr txBox="1"/>
          <p:nvPr/>
        </p:nvSpPr>
        <p:spPr>
          <a:xfrm>
            <a:off x="8106869" y="4763598"/>
            <a:ext cx="89895" cy="115198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33</a:t>
            </a:r>
          </a:p>
        </p:txBody>
      </p: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5B9498E7-ABF1-4B81-3BCB-46BF4C49386D}"/>
              </a:ext>
            </a:extLst>
          </p:cNvPr>
          <p:cNvCxnSpPr>
            <a:cxnSpLocks/>
          </p:cNvCxnSpPr>
          <p:nvPr/>
        </p:nvCxnSpPr>
        <p:spPr>
          <a:xfrm rot="16200000">
            <a:off x="8112884" y="4225603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TextBox 73">
            <a:extLst>
              <a:ext uri="{FF2B5EF4-FFF2-40B4-BE49-F238E27FC236}">
                <a16:creationId xmlns:a16="http://schemas.microsoft.com/office/drawing/2014/main" id="{67746B9A-4CA9-6143-5D61-5981ACDCE787}"/>
              </a:ext>
            </a:extLst>
          </p:cNvPr>
          <p:cNvSpPr txBox="1"/>
          <p:nvPr/>
        </p:nvSpPr>
        <p:spPr>
          <a:xfrm>
            <a:off x="8106900" y="4348357"/>
            <a:ext cx="89864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8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9947FE77-CEF2-0082-4016-4EE8A4C6B55C}"/>
              </a:ext>
            </a:extLst>
          </p:cNvPr>
          <p:cNvSpPr txBox="1"/>
          <p:nvPr/>
        </p:nvSpPr>
        <p:spPr>
          <a:xfrm>
            <a:off x="8350664" y="4763598"/>
            <a:ext cx="89895" cy="115198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31</a:t>
            </a:r>
          </a:p>
        </p:txBody>
      </p: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F930DBF4-3EFB-87C0-1181-5616CF590FA7}"/>
              </a:ext>
            </a:extLst>
          </p:cNvPr>
          <p:cNvCxnSpPr>
            <a:cxnSpLocks/>
          </p:cNvCxnSpPr>
          <p:nvPr/>
        </p:nvCxnSpPr>
        <p:spPr>
          <a:xfrm rot="16200000">
            <a:off x="8354749" y="4225603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78">
            <a:extLst>
              <a:ext uri="{FF2B5EF4-FFF2-40B4-BE49-F238E27FC236}">
                <a16:creationId xmlns:a16="http://schemas.microsoft.com/office/drawing/2014/main" id="{B2748C78-9AA5-6E57-B429-459E1D271582}"/>
              </a:ext>
            </a:extLst>
          </p:cNvPr>
          <p:cNvSpPr txBox="1"/>
          <p:nvPr/>
        </p:nvSpPr>
        <p:spPr>
          <a:xfrm>
            <a:off x="8350695" y="4348357"/>
            <a:ext cx="89864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21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C0E483D1-683D-C64A-A330-0BFF183BEDF2}"/>
              </a:ext>
            </a:extLst>
          </p:cNvPr>
          <p:cNvSpPr txBox="1"/>
          <p:nvPr/>
        </p:nvSpPr>
        <p:spPr>
          <a:xfrm>
            <a:off x="8589696" y="4763598"/>
            <a:ext cx="89895" cy="115198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30</a:t>
            </a:r>
          </a:p>
        </p:txBody>
      </p: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C12418D0-21B3-CC82-FF20-D0998F4F60C2}"/>
              </a:ext>
            </a:extLst>
          </p:cNvPr>
          <p:cNvCxnSpPr>
            <a:cxnSpLocks/>
          </p:cNvCxnSpPr>
          <p:nvPr/>
        </p:nvCxnSpPr>
        <p:spPr>
          <a:xfrm rot="16200000">
            <a:off x="8596614" y="4225603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TextBox 83">
            <a:extLst>
              <a:ext uri="{FF2B5EF4-FFF2-40B4-BE49-F238E27FC236}">
                <a16:creationId xmlns:a16="http://schemas.microsoft.com/office/drawing/2014/main" id="{64B03F29-2486-3037-0325-0F7DDE1E220B}"/>
              </a:ext>
            </a:extLst>
          </p:cNvPr>
          <p:cNvSpPr txBox="1"/>
          <p:nvPr/>
        </p:nvSpPr>
        <p:spPr>
          <a:xfrm>
            <a:off x="8589727" y="4348357"/>
            <a:ext cx="89864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24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161222E4-73BB-59C8-A59C-326EBB9B98F0}"/>
              </a:ext>
            </a:extLst>
          </p:cNvPr>
          <p:cNvSpPr txBox="1"/>
          <p:nvPr/>
        </p:nvSpPr>
        <p:spPr>
          <a:xfrm>
            <a:off x="8828728" y="4763598"/>
            <a:ext cx="89895" cy="115198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27</a:t>
            </a:r>
          </a:p>
        </p:txBody>
      </p: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05EC780A-86DC-A335-F5BD-0B99E974FB18}"/>
              </a:ext>
            </a:extLst>
          </p:cNvPr>
          <p:cNvCxnSpPr>
            <a:cxnSpLocks/>
          </p:cNvCxnSpPr>
          <p:nvPr/>
        </p:nvCxnSpPr>
        <p:spPr>
          <a:xfrm rot="16200000">
            <a:off x="8838479" y="4225603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TextBox 88">
            <a:extLst>
              <a:ext uri="{FF2B5EF4-FFF2-40B4-BE49-F238E27FC236}">
                <a16:creationId xmlns:a16="http://schemas.microsoft.com/office/drawing/2014/main" id="{F7D0B4FC-3DB4-8D91-BBCB-8443C9045626}"/>
              </a:ext>
            </a:extLst>
          </p:cNvPr>
          <p:cNvSpPr txBox="1"/>
          <p:nvPr/>
        </p:nvSpPr>
        <p:spPr>
          <a:xfrm>
            <a:off x="8828759" y="4348357"/>
            <a:ext cx="89864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27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F14EF6D3-134D-93E8-5DB6-3F0CF0BAB317}"/>
              </a:ext>
            </a:extLst>
          </p:cNvPr>
          <p:cNvSpPr txBox="1"/>
          <p:nvPr/>
        </p:nvSpPr>
        <p:spPr>
          <a:xfrm>
            <a:off x="9072523" y="4763598"/>
            <a:ext cx="89895" cy="115198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20</a:t>
            </a:r>
          </a:p>
        </p:txBody>
      </p:sp>
      <p:cxnSp>
        <p:nvCxnSpPr>
          <p:cNvPr id="93" name="Straight Connector 92">
            <a:extLst>
              <a:ext uri="{FF2B5EF4-FFF2-40B4-BE49-F238E27FC236}">
                <a16:creationId xmlns:a16="http://schemas.microsoft.com/office/drawing/2014/main" id="{78CE2228-16A2-0F26-0795-14E71C2000A3}"/>
              </a:ext>
            </a:extLst>
          </p:cNvPr>
          <p:cNvCxnSpPr>
            <a:cxnSpLocks/>
          </p:cNvCxnSpPr>
          <p:nvPr/>
        </p:nvCxnSpPr>
        <p:spPr>
          <a:xfrm rot="16200000">
            <a:off x="9080344" y="4225603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TextBox 93">
            <a:extLst>
              <a:ext uri="{FF2B5EF4-FFF2-40B4-BE49-F238E27FC236}">
                <a16:creationId xmlns:a16="http://schemas.microsoft.com/office/drawing/2014/main" id="{10EBC860-ED80-66FD-12E9-A20AC182A35D}"/>
              </a:ext>
            </a:extLst>
          </p:cNvPr>
          <p:cNvSpPr txBox="1"/>
          <p:nvPr/>
        </p:nvSpPr>
        <p:spPr>
          <a:xfrm>
            <a:off x="9072554" y="4348357"/>
            <a:ext cx="89864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30</a:t>
            </a: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816B20CE-2326-614F-D573-503E37CE597E}"/>
              </a:ext>
            </a:extLst>
          </p:cNvPr>
          <p:cNvSpPr txBox="1"/>
          <p:nvPr/>
        </p:nvSpPr>
        <p:spPr>
          <a:xfrm>
            <a:off x="9316318" y="4763598"/>
            <a:ext cx="89895" cy="115198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1</a:t>
            </a:r>
          </a:p>
        </p:txBody>
      </p:sp>
      <p:cxnSp>
        <p:nvCxnSpPr>
          <p:cNvPr id="98" name="Straight Connector 97">
            <a:extLst>
              <a:ext uri="{FF2B5EF4-FFF2-40B4-BE49-F238E27FC236}">
                <a16:creationId xmlns:a16="http://schemas.microsoft.com/office/drawing/2014/main" id="{9DAD464C-5FC1-9A96-2D1C-0E6DED7CC0DB}"/>
              </a:ext>
            </a:extLst>
          </p:cNvPr>
          <p:cNvCxnSpPr>
            <a:cxnSpLocks/>
          </p:cNvCxnSpPr>
          <p:nvPr/>
        </p:nvCxnSpPr>
        <p:spPr>
          <a:xfrm rot="16200000">
            <a:off x="9322209" y="4225603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TextBox 98">
            <a:extLst>
              <a:ext uri="{FF2B5EF4-FFF2-40B4-BE49-F238E27FC236}">
                <a16:creationId xmlns:a16="http://schemas.microsoft.com/office/drawing/2014/main" id="{ED43817E-CEA9-D8DB-8B5F-8BE3CC72D2D7}"/>
              </a:ext>
            </a:extLst>
          </p:cNvPr>
          <p:cNvSpPr txBox="1"/>
          <p:nvPr/>
        </p:nvSpPr>
        <p:spPr>
          <a:xfrm>
            <a:off x="9316349" y="4348357"/>
            <a:ext cx="89864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33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BE67CDC7-2013-CF1D-CAAA-09F102284E50}"/>
              </a:ext>
            </a:extLst>
          </p:cNvPr>
          <p:cNvSpPr txBox="1"/>
          <p:nvPr/>
        </p:nvSpPr>
        <p:spPr>
          <a:xfrm>
            <a:off x="9560111" y="4763598"/>
            <a:ext cx="89895" cy="115198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0</a:t>
            </a:r>
          </a:p>
        </p:txBody>
      </p:sp>
      <p:cxnSp>
        <p:nvCxnSpPr>
          <p:cNvPr id="103" name="Straight Connector 102">
            <a:extLst>
              <a:ext uri="{FF2B5EF4-FFF2-40B4-BE49-F238E27FC236}">
                <a16:creationId xmlns:a16="http://schemas.microsoft.com/office/drawing/2014/main" id="{171888B7-E2B3-2DAE-5197-2D61E18CC48C}"/>
              </a:ext>
            </a:extLst>
          </p:cNvPr>
          <p:cNvCxnSpPr>
            <a:cxnSpLocks/>
          </p:cNvCxnSpPr>
          <p:nvPr/>
        </p:nvCxnSpPr>
        <p:spPr>
          <a:xfrm rot="16200000">
            <a:off x="9564074" y="4225603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TextBox 103">
            <a:extLst>
              <a:ext uri="{FF2B5EF4-FFF2-40B4-BE49-F238E27FC236}">
                <a16:creationId xmlns:a16="http://schemas.microsoft.com/office/drawing/2014/main" id="{AAE91391-275F-6A28-1D0D-C95110B1479F}"/>
              </a:ext>
            </a:extLst>
          </p:cNvPr>
          <p:cNvSpPr txBox="1"/>
          <p:nvPr/>
        </p:nvSpPr>
        <p:spPr>
          <a:xfrm>
            <a:off x="9560142" y="4348357"/>
            <a:ext cx="89864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36</a:t>
            </a: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FC815C71-6131-0FF1-D1EF-BCF63F33A533}"/>
              </a:ext>
            </a:extLst>
          </p:cNvPr>
          <p:cNvSpPr txBox="1"/>
          <p:nvPr/>
        </p:nvSpPr>
        <p:spPr>
          <a:xfrm>
            <a:off x="9799144" y="4763598"/>
            <a:ext cx="89895" cy="115198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4</a:t>
            </a:r>
          </a:p>
        </p:txBody>
      </p:sp>
      <p:cxnSp>
        <p:nvCxnSpPr>
          <p:cNvPr id="108" name="Straight Connector 107">
            <a:extLst>
              <a:ext uri="{FF2B5EF4-FFF2-40B4-BE49-F238E27FC236}">
                <a16:creationId xmlns:a16="http://schemas.microsoft.com/office/drawing/2014/main" id="{BEF78A36-48CF-80F1-20E0-1E5A3107AE2D}"/>
              </a:ext>
            </a:extLst>
          </p:cNvPr>
          <p:cNvCxnSpPr>
            <a:cxnSpLocks/>
          </p:cNvCxnSpPr>
          <p:nvPr/>
        </p:nvCxnSpPr>
        <p:spPr>
          <a:xfrm rot="16200000">
            <a:off x="9805939" y="4225603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TextBox 108">
            <a:extLst>
              <a:ext uri="{FF2B5EF4-FFF2-40B4-BE49-F238E27FC236}">
                <a16:creationId xmlns:a16="http://schemas.microsoft.com/office/drawing/2014/main" id="{E579B7B8-476F-F903-52B2-33F80CB0A45A}"/>
              </a:ext>
            </a:extLst>
          </p:cNvPr>
          <p:cNvSpPr txBox="1"/>
          <p:nvPr/>
        </p:nvSpPr>
        <p:spPr>
          <a:xfrm>
            <a:off x="9799175" y="4348357"/>
            <a:ext cx="89864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39</a:t>
            </a:r>
          </a:p>
        </p:txBody>
      </p:sp>
      <p:sp>
        <p:nvSpPr>
          <p:cNvPr id="111" name="TextBox 110">
            <a:extLst>
              <a:ext uri="{FF2B5EF4-FFF2-40B4-BE49-F238E27FC236}">
                <a16:creationId xmlns:a16="http://schemas.microsoft.com/office/drawing/2014/main" id="{0E482AC5-0FE3-22BA-4399-77F14FF4BF82}"/>
              </a:ext>
            </a:extLst>
          </p:cNvPr>
          <p:cNvSpPr txBox="1"/>
          <p:nvPr/>
        </p:nvSpPr>
        <p:spPr>
          <a:xfrm>
            <a:off x="10038177" y="4763598"/>
            <a:ext cx="89895" cy="115198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2</a:t>
            </a:r>
          </a:p>
        </p:txBody>
      </p: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5DD2C078-E33E-08B7-CC84-8C04515BA2E6}"/>
              </a:ext>
            </a:extLst>
          </p:cNvPr>
          <p:cNvCxnSpPr>
            <a:cxnSpLocks/>
          </p:cNvCxnSpPr>
          <p:nvPr/>
        </p:nvCxnSpPr>
        <p:spPr>
          <a:xfrm rot="16200000">
            <a:off x="10047804" y="4225603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TextBox 113">
            <a:extLst>
              <a:ext uri="{FF2B5EF4-FFF2-40B4-BE49-F238E27FC236}">
                <a16:creationId xmlns:a16="http://schemas.microsoft.com/office/drawing/2014/main" id="{B0BB476A-938F-6257-F8A0-8D0EAE0ECDE1}"/>
              </a:ext>
            </a:extLst>
          </p:cNvPr>
          <p:cNvSpPr txBox="1"/>
          <p:nvPr/>
        </p:nvSpPr>
        <p:spPr>
          <a:xfrm>
            <a:off x="10038208" y="4348357"/>
            <a:ext cx="89864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42</a:t>
            </a: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CEEE686C-3790-3DEF-A405-80211F285EEE}"/>
              </a:ext>
            </a:extLst>
          </p:cNvPr>
          <p:cNvSpPr txBox="1"/>
          <p:nvPr/>
        </p:nvSpPr>
        <p:spPr>
          <a:xfrm>
            <a:off x="10281972" y="4763598"/>
            <a:ext cx="89895" cy="115198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2</a:t>
            </a:r>
          </a:p>
        </p:txBody>
      </p:sp>
      <p:cxnSp>
        <p:nvCxnSpPr>
          <p:cNvPr id="118" name="Straight Connector 117">
            <a:extLst>
              <a:ext uri="{FF2B5EF4-FFF2-40B4-BE49-F238E27FC236}">
                <a16:creationId xmlns:a16="http://schemas.microsoft.com/office/drawing/2014/main" id="{8126417A-66AF-8C99-B61E-CD6C0FBE6E85}"/>
              </a:ext>
            </a:extLst>
          </p:cNvPr>
          <p:cNvCxnSpPr>
            <a:cxnSpLocks/>
          </p:cNvCxnSpPr>
          <p:nvPr/>
        </p:nvCxnSpPr>
        <p:spPr>
          <a:xfrm rot="16200000">
            <a:off x="10289669" y="4225603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TextBox 118">
            <a:extLst>
              <a:ext uri="{FF2B5EF4-FFF2-40B4-BE49-F238E27FC236}">
                <a16:creationId xmlns:a16="http://schemas.microsoft.com/office/drawing/2014/main" id="{A616DDFF-84E2-7841-80F6-958394EF5CFD}"/>
              </a:ext>
            </a:extLst>
          </p:cNvPr>
          <p:cNvSpPr txBox="1"/>
          <p:nvPr/>
        </p:nvSpPr>
        <p:spPr>
          <a:xfrm>
            <a:off x="10282003" y="4348357"/>
            <a:ext cx="89864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45</a:t>
            </a:r>
          </a:p>
        </p:txBody>
      </p:sp>
      <p:sp>
        <p:nvSpPr>
          <p:cNvPr id="122" name="TextBox 121">
            <a:extLst>
              <a:ext uri="{FF2B5EF4-FFF2-40B4-BE49-F238E27FC236}">
                <a16:creationId xmlns:a16="http://schemas.microsoft.com/office/drawing/2014/main" id="{378AF8AE-4F06-C680-159A-BE6F35A81F4E}"/>
              </a:ext>
            </a:extLst>
          </p:cNvPr>
          <p:cNvSpPr txBox="1"/>
          <p:nvPr/>
        </p:nvSpPr>
        <p:spPr>
          <a:xfrm>
            <a:off x="10525765" y="4763598"/>
            <a:ext cx="89895" cy="115198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1</a:t>
            </a:r>
          </a:p>
        </p:txBody>
      </p:sp>
      <p:cxnSp>
        <p:nvCxnSpPr>
          <p:cNvPr id="123" name="Straight Connector 122">
            <a:extLst>
              <a:ext uri="{FF2B5EF4-FFF2-40B4-BE49-F238E27FC236}">
                <a16:creationId xmlns:a16="http://schemas.microsoft.com/office/drawing/2014/main" id="{39A10EEE-1C8B-3C81-F6CB-F8832F71980C}"/>
              </a:ext>
            </a:extLst>
          </p:cNvPr>
          <p:cNvCxnSpPr>
            <a:cxnSpLocks/>
          </p:cNvCxnSpPr>
          <p:nvPr/>
        </p:nvCxnSpPr>
        <p:spPr>
          <a:xfrm rot="16200000">
            <a:off x="10531534" y="4225603"/>
            <a:ext cx="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4" name="TextBox 123">
            <a:extLst>
              <a:ext uri="{FF2B5EF4-FFF2-40B4-BE49-F238E27FC236}">
                <a16:creationId xmlns:a16="http://schemas.microsoft.com/office/drawing/2014/main" id="{97BF2B9E-3B4C-5BF6-9A0E-609ECA30961E}"/>
              </a:ext>
            </a:extLst>
          </p:cNvPr>
          <p:cNvSpPr txBox="1"/>
          <p:nvPr/>
        </p:nvSpPr>
        <p:spPr>
          <a:xfrm>
            <a:off x="10525796" y="4348357"/>
            <a:ext cx="89864" cy="11530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48</a:t>
            </a:r>
          </a:p>
        </p:txBody>
      </p:sp>
      <p:sp>
        <p:nvSpPr>
          <p:cNvPr id="142" name="object 48">
            <a:extLst>
              <a:ext uri="{FF2B5EF4-FFF2-40B4-BE49-F238E27FC236}">
                <a16:creationId xmlns:a16="http://schemas.microsoft.com/office/drawing/2014/main" id="{5F24D281-A43B-9CFC-A32F-248105A83104}"/>
              </a:ext>
            </a:extLst>
          </p:cNvPr>
          <p:cNvSpPr txBox="1"/>
          <p:nvPr/>
        </p:nvSpPr>
        <p:spPr>
          <a:xfrm>
            <a:off x="794507" y="3827182"/>
            <a:ext cx="3543523" cy="675313"/>
          </a:xfrm>
          <a:prstGeom prst="rect">
            <a:avLst/>
          </a:prstGeom>
          <a:ln w="12700">
            <a:solidFill>
              <a:schemeClr val="accent3"/>
            </a:solidFill>
          </a:ln>
        </p:spPr>
        <p:txBody>
          <a:bodyPr vert="horz" wrap="square" lIns="91440" tIns="45720" rIns="0" bIns="45720" rtlCol="0" anchor="t">
            <a:spAutoFit/>
          </a:bodyPr>
          <a:lstStyle>
            <a:defPPr>
              <a:defRPr lang="en-US"/>
            </a:defPPr>
            <a:lvl1pPr marL="183600" indent="-183600">
              <a:lnSpc>
                <a:spcPct val="90000"/>
              </a:lnSpc>
              <a:spcBef>
                <a:spcPts val="800"/>
              </a:spcBef>
              <a:spcAft>
                <a:spcPts val="800"/>
              </a:spcAft>
              <a:buFont typeface="Arial" panose="020B0604020202020204" pitchFamily="34" charset="0"/>
              <a:buChar char="•"/>
              <a:defRPr sz="1200" b="1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55600" indent="-173038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539750" indent="-18415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722313" indent="-182563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895350" indent="-173038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183600" marR="0" lvl="0" indent="-183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Calibri" panose="020F0502020204030204" pitchFamily="34" charset="0"/>
              </a:rPr>
              <a:t>DLBCL, HGBL, </a:t>
            </a:r>
            <a:r>
              <a:rPr kumimoji="0" lang="en-GB" sz="1400" b="0" i="0" u="none" strike="noStrike" kern="0" cap="none" spc="0" normalizeH="0" baseline="0" noProof="0" dirty="0" err="1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Calibri" panose="020F0502020204030204" pitchFamily="34" charset="0"/>
              </a:rPr>
              <a:t>trFL</a:t>
            </a: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Calibri" panose="020F0502020204030204" pitchFamily="34" charset="0"/>
              </a:rPr>
              <a:t> or PMBCL</a:t>
            </a:r>
          </a:p>
          <a:p>
            <a:pPr marL="183600" marR="0" lvl="0" indent="-183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Calibri" panose="020F0502020204030204" pitchFamily="34" charset="0"/>
              </a:rPr>
              <a:t>≥1 prior therapy, including: anti-CD20 antibody, CAR-T</a:t>
            </a:r>
          </a:p>
        </p:txBody>
      </p:sp>
      <p:sp>
        <p:nvSpPr>
          <p:cNvPr id="143" name="object 46">
            <a:extLst>
              <a:ext uri="{FF2B5EF4-FFF2-40B4-BE49-F238E27FC236}">
                <a16:creationId xmlns:a16="http://schemas.microsoft.com/office/drawing/2014/main" id="{F1E71519-71AE-C092-94C0-10469FA5AB47}"/>
              </a:ext>
            </a:extLst>
          </p:cNvPr>
          <p:cNvSpPr txBox="1"/>
          <p:nvPr/>
        </p:nvSpPr>
        <p:spPr>
          <a:xfrm>
            <a:off x="794507" y="3585648"/>
            <a:ext cx="3543523" cy="246888"/>
          </a:xfrm>
          <a:prstGeom prst="rect">
            <a:avLst/>
          </a:prstGeom>
          <a:solidFill>
            <a:schemeClr val="accent3"/>
          </a:solidFill>
          <a:ln w="12700" cap="flat" cmpd="sng" algn="ctr">
            <a:solidFill>
              <a:schemeClr val="accent3"/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>
            <a:defPPr>
              <a:defRPr lang="en-US"/>
            </a:defPPr>
            <a:lvl1pPr algn="ctr">
              <a:defRPr sz="14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tudy population</a:t>
            </a:r>
          </a:p>
        </p:txBody>
      </p:sp>
      <p:sp>
        <p:nvSpPr>
          <p:cNvPr id="145" name="object 7">
            <a:extLst>
              <a:ext uri="{FF2B5EF4-FFF2-40B4-BE49-F238E27FC236}">
                <a16:creationId xmlns:a16="http://schemas.microsoft.com/office/drawing/2014/main" id="{723E5C95-282B-48DD-54D5-5A9018246AC0}"/>
              </a:ext>
            </a:extLst>
          </p:cNvPr>
          <p:cNvSpPr txBox="1"/>
          <p:nvPr/>
        </p:nvSpPr>
        <p:spPr>
          <a:xfrm>
            <a:off x="794507" y="1999724"/>
            <a:ext cx="3726403" cy="366956"/>
          </a:xfrm>
          <a:prstGeom prst="chevron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sv-SE"/>
            </a:defPPr>
            <a:lvl1pPr algn="ctr">
              <a:defRPr sz="14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reatment period (up to 12 cycles)</a:t>
            </a:r>
          </a:p>
        </p:txBody>
      </p:sp>
      <p:sp>
        <p:nvSpPr>
          <p:cNvPr id="146" name="object 44">
            <a:extLst>
              <a:ext uri="{FF2B5EF4-FFF2-40B4-BE49-F238E27FC236}">
                <a16:creationId xmlns:a16="http://schemas.microsoft.com/office/drawing/2014/main" id="{428D3682-8933-39D9-EA59-07CC072E6DAE}"/>
              </a:ext>
            </a:extLst>
          </p:cNvPr>
          <p:cNvSpPr txBox="1"/>
          <p:nvPr/>
        </p:nvSpPr>
        <p:spPr>
          <a:xfrm>
            <a:off x="897287" y="2431919"/>
            <a:ext cx="2069659" cy="98119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2700"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4CA1A6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Glofit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Q3W for 6 cycles</a:t>
            </a:r>
            <a:r>
              <a:rPr kumimoji="0" lang="en-GB" sz="1400" b="0" i="0" u="none" strike="noStrike" kern="1200" cap="none" spc="0" normalizeH="0" baseline="3000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†</a:t>
            </a:r>
            <a:endParaRPr kumimoji="0" lang="en-GB" sz="1800" b="0" i="0" u="none" strike="noStrike" kern="1200" cap="none" spc="0" normalizeH="0" baseline="3000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15922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ola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Q3W for </a:t>
            </a: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6 cycle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=211</a:t>
            </a:r>
            <a:r>
              <a:rPr kumimoji="0" lang="en-GB" sz="1200" b="0" i="0" u="none" strike="noStrike" kern="1200" cap="none" spc="0" normalizeH="0" baseline="3000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</a:t>
            </a:r>
            <a:endParaRPr kumimoji="0" lang="en-GB" sz="1200" b="0" i="0" u="none" strike="noStrike" kern="1200" cap="none" spc="0" normalizeH="0" baseline="3000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51" name="object 44">
            <a:extLst>
              <a:ext uri="{FF2B5EF4-FFF2-40B4-BE49-F238E27FC236}">
                <a16:creationId xmlns:a16="http://schemas.microsoft.com/office/drawing/2014/main" id="{5ECAD899-81FE-D65A-1E0C-CB592DC4BFFA}"/>
              </a:ext>
            </a:extLst>
          </p:cNvPr>
          <p:cNvSpPr txBox="1"/>
          <p:nvPr/>
        </p:nvSpPr>
        <p:spPr>
          <a:xfrm>
            <a:off x="3047970" y="2431919"/>
            <a:ext cx="1370159" cy="98119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2700"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4CA1A6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Glofit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Q3W for an additional 6 cycles</a:t>
            </a: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FD3DBAC-0CA9-5B0C-D19F-E59A681E834F}"/>
              </a:ext>
            </a:extLst>
          </p:cNvPr>
          <p:cNvSpPr/>
          <p:nvPr/>
        </p:nvSpPr>
        <p:spPr>
          <a:xfrm>
            <a:off x="469173" y="2431918"/>
            <a:ext cx="314632" cy="97840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hase 1b/2</a:t>
            </a:r>
            <a:endParaRPr kumimoji="0" lang="en-GB" sz="1000" b="0" i="0" u="none" strike="noStrike" kern="1200" cap="none" spc="0" normalizeH="0" baseline="30000" noProof="0" dirty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4BC6E366-A534-171A-E635-DAF8982472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651" y="6356350"/>
            <a:ext cx="383694" cy="365125"/>
          </a:xfrm>
        </p:spPr>
        <p:txBody>
          <a:bodyPr vert="horz" lIns="0" tIns="0" rIns="0" bIns="0"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306B0CF-28DA-4AF7-AD0B-CB9D5901F647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82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6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" name="Free-form: Shape 6">
            <a:extLst>
              <a:ext uri="{FF2B5EF4-FFF2-40B4-BE49-F238E27FC236}">
                <a16:creationId xmlns:a16="http://schemas.microsoft.com/office/drawing/2014/main" id="{156B3671-FFD2-0A9C-7268-8576FFE0DDA4}"/>
              </a:ext>
            </a:extLst>
          </p:cNvPr>
          <p:cNvSpPr/>
          <p:nvPr/>
        </p:nvSpPr>
        <p:spPr>
          <a:xfrm>
            <a:off x="6711954" y="2454323"/>
            <a:ext cx="3932232" cy="1728281"/>
          </a:xfrm>
          <a:custGeom>
            <a:avLst/>
            <a:gdLst>
              <a:gd name="csX0" fmla="*/ 0 w 13649325"/>
              <a:gd name="csY0" fmla="*/ 0 h 6057900"/>
              <a:gd name="csX1" fmla="*/ 57150 w 13649325"/>
              <a:gd name="csY1" fmla="*/ 0 h 6057900"/>
              <a:gd name="csX2" fmla="*/ 57150 w 13649325"/>
              <a:gd name="csY2" fmla="*/ 133350 h 6057900"/>
              <a:gd name="csX3" fmla="*/ 142875 w 13649325"/>
              <a:gd name="csY3" fmla="*/ 133350 h 6057900"/>
              <a:gd name="csX4" fmla="*/ 142875 w 13649325"/>
              <a:gd name="csY4" fmla="*/ 180975 h 6057900"/>
              <a:gd name="csX5" fmla="*/ 190500 w 13649325"/>
              <a:gd name="csY5" fmla="*/ 180975 h 6057900"/>
              <a:gd name="csX6" fmla="*/ 190500 w 13649325"/>
              <a:gd name="csY6" fmla="*/ 238125 h 6057900"/>
              <a:gd name="csX7" fmla="*/ 228600 w 13649325"/>
              <a:gd name="csY7" fmla="*/ 238125 h 6057900"/>
              <a:gd name="csX8" fmla="*/ 228600 w 13649325"/>
              <a:gd name="csY8" fmla="*/ 285750 h 6057900"/>
              <a:gd name="csX9" fmla="*/ 323850 w 13649325"/>
              <a:gd name="csY9" fmla="*/ 285750 h 6057900"/>
              <a:gd name="csX10" fmla="*/ 323850 w 13649325"/>
              <a:gd name="csY10" fmla="*/ 409575 h 6057900"/>
              <a:gd name="csX11" fmla="*/ 361950 w 13649325"/>
              <a:gd name="csY11" fmla="*/ 409575 h 6057900"/>
              <a:gd name="csX12" fmla="*/ 361950 w 13649325"/>
              <a:gd name="csY12" fmla="*/ 590550 h 6057900"/>
              <a:gd name="csX13" fmla="*/ 381000 w 13649325"/>
              <a:gd name="csY13" fmla="*/ 590550 h 6057900"/>
              <a:gd name="csX14" fmla="*/ 381000 w 13649325"/>
              <a:gd name="csY14" fmla="*/ 771525 h 6057900"/>
              <a:gd name="csX15" fmla="*/ 438150 w 13649325"/>
              <a:gd name="csY15" fmla="*/ 771525 h 6057900"/>
              <a:gd name="csX16" fmla="*/ 438150 w 13649325"/>
              <a:gd name="csY16" fmla="*/ 857250 h 6057900"/>
              <a:gd name="csX17" fmla="*/ 466725 w 13649325"/>
              <a:gd name="csY17" fmla="*/ 857250 h 6057900"/>
              <a:gd name="csX18" fmla="*/ 466725 w 13649325"/>
              <a:gd name="csY18" fmla="*/ 904875 h 6057900"/>
              <a:gd name="csX19" fmla="*/ 552450 w 13649325"/>
              <a:gd name="csY19" fmla="*/ 904875 h 6057900"/>
              <a:gd name="csX20" fmla="*/ 552450 w 13649325"/>
              <a:gd name="csY20" fmla="*/ 923925 h 6057900"/>
              <a:gd name="csX21" fmla="*/ 762000 w 13649325"/>
              <a:gd name="csY21" fmla="*/ 923925 h 6057900"/>
              <a:gd name="csX22" fmla="*/ 762000 w 13649325"/>
              <a:gd name="csY22" fmla="*/ 1009650 h 6057900"/>
              <a:gd name="csX23" fmla="*/ 790575 w 13649325"/>
              <a:gd name="csY23" fmla="*/ 1009650 h 6057900"/>
              <a:gd name="csX24" fmla="*/ 790575 w 13649325"/>
              <a:gd name="csY24" fmla="*/ 1095375 h 6057900"/>
              <a:gd name="csX25" fmla="*/ 904875 w 13649325"/>
              <a:gd name="csY25" fmla="*/ 1095375 h 6057900"/>
              <a:gd name="csX26" fmla="*/ 904875 w 13649325"/>
              <a:gd name="csY26" fmla="*/ 1190625 h 6057900"/>
              <a:gd name="csX27" fmla="*/ 942975 w 13649325"/>
              <a:gd name="csY27" fmla="*/ 1190625 h 6057900"/>
              <a:gd name="csX28" fmla="*/ 942975 w 13649325"/>
              <a:gd name="csY28" fmla="*/ 1495425 h 6057900"/>
              <a:gd name="csX29" fmla="*/ 990600 w 13649325"/>
              <a:gd name="csY29" fmla="*/ 1495425 h 6057900"/>
              <a:gd name="csX30" fmla="*/ 990600 w 13649325"/>
              <a:gd name="csY30" fmla="*/ 1543050 h 6057900"/>
              <a:gd name="csX31" fmla="*/ 1028700 w 13649325"/>
              <a:gd name="csY31" fmla="*/ 1543050 h 6057900"/>
              <a:gd name="csX32" fmla="*/ 1028700 w 13649325"/>
              <a:gd name="csY32" fmla="*/ 1714500 h 6057900"/>
              <a:gd name="csX33" fmla="*/ 1162050 w 13649325"/>
              <a:gd name="csY33" fmla="*/ 1714500 h 6057900"/>
              <a:gd name="csX34" fmla="*/ 1162050 w 13649325"/>
              <a:gd name="csY34" fmla="*/ 1752600 h 6057900"/>
              <a:gd name="csX35" fmla="*/ 1209675 w 13649325"/>
              <a:gd name="csY35" fmla="*/ 1752600 h 6057900"/>
              <a:gd name="csX36" fmla="*/ 1209675 w 13649325"/>
              <a:gd name="csY36" fmla="*/ 1809750 h 6057900"/>
              <a:gd name="csX37" fmla="*/ 1457325 w 13649325"/>
              <a:gd name="csY37" fmla="*/ 1809750 h 6057900"/>
              <a:gd name="csX38" fmla="*/ 1457325 w 13649325"/>
              <a:gd name="csY38" fmla="*/ 1866900 h 6057900"/>
              <a:gd name="csX39" fmla="*/ 1495425 w 13649325"/>
              <a:gd name="csY39" fmla="*/ 1866900 h 6057900"/>
              <a:gd name="csX40" fmla="*/ 1495425 w 13649325"/>
              <a:gd name="csY40" fmla="*/ 1990725 h 6057900"/>
              <a:gd name="csX41" fmla="*/ 1562100 w 13649325"/>
              <a:gd name="csY41" fmla="*/ 1990725 h 6057900"/>
              <a:gd name="csX42" fmla="*/ 1562100 w 13649325"/>
              <a:gd name="csY42" fmla="*/ 2085975 h 6057900"/>
              <a:gd name="csX43" fmla="*/ 1581150 w 13649325"/>
              <a:gd name="csY43" fmla="*/ 2085975 h 6057900"/>
              <a:gd name="csX44" fmla="*/ 1581150 w 13649325"/>
              <a:gd name="csY44" fmla="*/ 2209800 h 6057900"/>
              <a:gd name="csX45" fmla="*/ 1638300 w 13649325"/>
              <a:gd name="csY45" fmla="*/ 2209800 h 6057900"/>
              <a:gd name="csX46" fmla="*/ 1638300 w 13649325"/>
              <a:gd name="csY46" fmla="*/ 2247900 h 6057900"/>
              <a:gd name="csX47" fmla="*/ 1695450 w 13649325"/>
              <a:gd name="csY47" fmla="*/ 2247900 h 6057900"/>
              <a:gd name="csX48" fmla="*/ 1695450 w 13649325"/>
              <a:gd name="csY48" fmla="*/ 2276475 h 6057900"/>
              <a:gd name="csX49" fmla="*/ 1971675 w 13649325"/>
              <a:gd name="csY49" fmla="*/ 2276475 h 6057900"/>
              <a:gd name="csX50" fmla="*/ 1971675 w 13649325"/>
              <a:gd name="csY50" fmla="*/ 2333625 h 6057900"/>
              <a:gd name="csX51" fmla="*/ 2143125 w 13649325"/>
              <a:gd name="csY51" fmla="*/ 2333625 h 6057900"/>
              <a:gd name="csX52" fmla="*/ 2143125 w 13649325"/>
              <a:gd name="csY52" fmla="*/ 2371725 h 6057900"/>
              <a:gd name="csX53" fmla="*/ 2428875 w 13649325"/>
              <a:gd name="csY53" fmla="*/ 2371725 h 6057900"/>
              <a:gd name="csX54" fmla="*/ 2428875 w 13649325"/>
              <a:gd name="csY54" fmla="*/ 2476500 h 6057900"/>
              <a:gd name="csX55" fmla="*/ 2476500 w 13649325"/>
              <a:gd name="csY55" fmla="*/ 2476500 h 6057900"/>
              <a:gd name="csX56" fmla="*/ 2476500 w 13649325"/>
              <a:gd name="csY56" fmla="*/ 2571750 h 6057900"/>
              <a:gd name="csX57" fmla="*/ 2514600 w 13649325"/>
              <a:gd name="csY57" fmla="*/ 2571750 h 6057900"/>
              <a:gd name="csX58" fmla="*/ 2514600 w 13649325"/>
              <a:gd name="csY58" fmla="*/ 2609850 h 6057900"/>
              <a:gd name="csX59" fmla="*/ 2619375 w 13649325"/>
              <a:gd name="csY59" fmla="*/ 2609850 h 6057900"/>
              <a:gd name="csX60" fmla="*/ 2619375 w 13649325"/>
              <a:gd name="csY60" fmla="*/ 2828925 h 6057900"/>
              <a:gd name="csX61" fmla="*/ 2800350 w 13649325"/>
              <a:gd name="csY61" fmla="*/ 2828925 h 6057900"/>
              <a:gd name="csX62" fmla="*/ 2800350 w 13649325"/>
              <a:gd name="csY62" fmla="*/ 2905125 h 6057900"/>
              <a:gd name="csX63" fmla="*/ 3209925 w 13649325"/>
              <a:gd name="csY63" fmla="*/ 2905125 h 6057900"/>
              <a:gd name="csX64" fmla="*/ 3209925 w 13649325"/>
              <a:gd name="csY64" fmla="*/ 2981325 h 6057900"/>
              <a:gd name="csX65" fmla="*/ 3362325 w 13649325"/>
              <a:gd name="csY65" fmla="*/ 2981325 h 6057900"/>
              <a:gd name="csX66" fmla="*/ 3362325 w 13649325"/>
              <a:gd name="csY66" fmla="*/ 3067050 h 6057900"/>
              <a:gd name="csX67" fmla="*/ 3438525 w 13649325"/>
              <a:gd name="csY67" fmla="*/ 3067050 h 6057900"/>
              <a:gd name="csX68" fmla="*/ 3438525 w 13649325"/>
              <a:gd name="csY68" fmla="*/ 3171825 h 6057900"/>
              <a:gd name="csX69" fmla="*/ 4324350 w 13649325"/>
              <a:gd name="csY69" fmla="*/ 3171825 h 6057900"/>
              <a:gd name="csX70" fmla="*/ 4324350 w 13649325"/>
              <a:gd name="csY70" fmla="*/ 3324225 h 6057900"/>
              <a:gd name="csX71" fmla="*/ 4943475 w 13649325"/>
              <a:gd name="csY71" fmla="*/ 3324225 h 6057900"/>
              <a:gd name="csX72" fmla="*/ 4943475 w 13649325"/>
              <a:gd name="csY72" fmla="*/ 3409950 h 6057900"/>
              <a:gd name="csX73" fmla="*/ 5848350 w 13649325"/>
              <a:gd name="csY73" fmla="*/ 3409950 h 6057900"/>
              <a:gd name="csX74" fmla="*/ 5848350 w 13649325"/>
              <a:gd name="csY74" fmla="*/ 3486150 h 6057900"/>
              <a:gd name="csX75" fmla="*/ 6591300 w 13649325"/>
              <a:gd name="csY75" fmla="*/ 3486150 h 6057900"/>
              <a:gd name="csX76" fmla="*/ 6591300 w 13649325"/>
              <a:gd name="csY76" fmla="*/ 3552825 h 6057900"/>
              <a:gd name="csX77" fmla="*/ 7210425 w 13649325"/>
              <a:gd name="csY77" fmla="*/ 3552825 h 6057900"/>
              <a:gd name="csX78" fmla="*/ 7210425 w 13649325"/>
              <a:gd name="csY78" fmla="*/ 3638550 h 6057900"/>
              <a:gd name="csX79" fmla="*/ 7791450 w 13649325"/>
              <a:gd name="csY79" fmla="*/ 3638550 h 6057900"/>
              <a:gd name="csX80" fmla="*/ 7791450 w 13649325"/>
              <a:gd name="csY80" fmla="*/ 3771900 h 6057900"/>
              <a:gd name="csX81" fmla="*/ 8286750 w 13649325"/>
              <a:gd name="csY81" fmla="*/ 3771900 h 6057900"/>
              <a:gd name="csX82" fmla="*/ 8286750 w 13649325"/>
              <a:gd name="csY82" fmla="*/ 3876675 h 6057900"/>
              <a:gd name="csX83" fmla="*/ 10972800 w 13649325"/>
              <a:gd name="csY83" fmla="*/ 3876675 h 6057900"/>
              <a:gd name="csX84" fmla="*/ 10972800 w 13649325"/>
              <a:gd name="csY84" fmla="*/ 4448175 h 6057900"/>
              <a:gd name="csX85" fmla="*/ 12763500 w 13649325"/>
              <a:gd name="csY85" fmla="*/ 4448175 h 6057900"/>
              <a:gd name="csX86" fmla="*/ 12763500 w 13649325"/>
              <a:gd name="csY86" fmla="*/ 5286375 h 6057900"/>
              <a:gd name="csX87" fmla="*/ 13649325 w 13649325"/>
              <a:gd name="csY87" fmla="*/ 5286375 h 6057900"/>
              <a:gd name="csX88" fmla="*/ 13649325 w 13649325"/>
              <a:gd name="csY88" fmla="*/ 6057900 h 605790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</a:cxnLst>
            <a:rect l="l" t="t" r="r" b="b"/>
            <a:pathLst>
              <a:path w="13649325" h="6057900">
                <a:moveTo>
                  <a:pt x="0" y="0"/>
                </a:moveTo>
                <a:lnTo>
                  <a:pt x="57150" y="0"/>
                </a:lnTo>
                <a:lnTo>
                  <a:pt x="57150" y="133350"/>
                </a:lnTo>
                <a:lnTo>
                  <a:pt x="142875" y="133350"/>
                </a:lnTo>
                <a:lnTo>
                  <a:pt x="142875" y="180975"/>
                </a:lnTo>
                <a:lnTo>
                  <a:pt x="190500" y="180975"/>
                </a:lnTo>
                <a:lnTo>
                  <a:pt x="190500" y="238125"/>
                </a:lnTo>
                <a:lnTo>
                  <a:pt x="228600" y="238125"/>
                </a:lnTo>
                <a:lnTo>
                  <a:pt x="228600" y="285750"/>
                </a:lnTo>
                <a:lnTo>
                  <a:pt x="323850" y="285750"/>
                </a:lnTo>
                <a:lnTo>
                  <a:pt x="323850" y="409575"/>
                </a:lnTo>
                <a:lnTo>
                  <a:pt x="361950" y="409575"/>
                </a:lnTo>
                <a:lnTo>
                  <a:pt x="361950" y="590550"/>
                </a:lnTo>
                <a:lnTo>
                  <a:pt x="381000" y="590550"/>
                </a:lnTo>
                <a:lnTo>
                  <a:pt x="381000" y="771525"/>
                </a:lnTo>
                <a:lnTo>
                  <a:pt x="438150" y="771525"/>
                </a:lnTo>
                <a:lnTo>
                  <a:pt x="438150" y="857250"/>
                </a:lnTo>
                <a:lnTo>
                  <a:pt x="466725" y="857250"/>
                </a:lnTo>
                <a:lnTo>
                  <a:pt x="466725" y="904875"/>
                </a:lnTo>
                <a:lnTo>
                  <a:pt x="552450" y="904875"/>
                </a:lnTo>
                <a:lnTo>
                  <a:pt x="552450" y="923925"/>
                </a:lnTo>
                <a:lnTo>
                  <a:pt x="762000" y="923925"/>
                </a:lnTo>
                <a:lnTo>
                  <a:pt x="762000" y="1009650"/>
                </a:lnTo>
                <a:lnTo>
                  <a:pt x="790575" y="1009650"/>
                </a:lnTo>
                <a:lnTo>
                  <a:pt x="790575" y="1095375"/>
                </a:lnTo>
                <a:lnTo>
                  <a:pt x="904875" y="1095375"/>
                </a:lnTo>
                <a:lnTo>
                  <a:pt x="904875" y="1190625"/>
                </a:lnTo>
                <a:lnTo>
                  <a:pt x="942975" y="1190625"/>
                </a:lnTo>
                <a:lnTo>
                  <a:pt x="942975" y="1495425"/>
                </a:lnTo>
                <a:lnTo>
                  <a:pt x="990600" y="1495425"/>
                </a:lnTo>
                <a:lnTo>
                  <a:pt x="990600" y="1543050"/>
                </a:lnTo>
                <a:lnTo>
                  <a:pt x="1028700" y="1543050"/>
                </a:lnTo>
                <a:lnTo>
                  <a:pt x="1028700" y="1714500"/>
                </a:lnTo>
                <a:lnTo>
                  <a:pt x="1162050" y="1714500"/>
                </a:lnTo>
                <a:lnTo>
                  <a:pt x="1162050" y="1752600"/>
                </a:lnTo>
                <a:lnTo>
                  <a:pt x="1209675" y="1752600"/>
                </a:lnTo>
                <a:lnTo>
                  <a:pt x="1209675" y="1809750"/>
                </a:lnTo>
                <a:lnTo>
                  <a:pt x="1457325" y="1809750"/>
                </a:lnTo>
                <a:lnTo>
                  <a:pt x="1457325" y="1866900"/>
                </a:lnTo>
                <a:lnTo>
                  <a:pt x="1495425" y="1866900"/>
                </a:lnTo>
                <a:lnTo>
                  <a:pt x="1495425" y="1990725"/>
                </a:lnTo>
                <a:lnTo>
                  <a:pt x="1562100" y="1990725"/>
                </a:lnTo>
                <a:lnTo>
                  <a:pt x="1562100" y="2085975"/>
                </a:lnTo>
                <a:lnTo>
                  <a:pt x="1581150" y="2085975"/>
                </a:lnTo>
                <a:lnTo>
                  <a:pt x="1581150" y="2209800"/>
                </a:lnTo>
                <a:lnTo>
                  <a:pt x="1638300" y="2209800"/>
                </a:lnTo>
                <a:lnTo>
                  <a:pt x="1638300" y="2247900"/>
                </a:lnTo>
                <a:lnTo>
                  <a:pt x="1695450" y="2247900"/>
                </a:lnTo>
                <a:lnTo>
                  <a:pt x="1695450" y="2276475"/>
                </a:lnTo>
                <a:lnTo>
                  <a:pt x="1971675" y="2276475"/>
                </a:lnTo>
                <a:lnTo>
                  <a:pt x="1971675" y="2333625"/>
                </a:lnTo>
                <a:lnTo>
                  <a:pt x="2143125" y="2333625"/>
                </a:lnTo>
                <a:lnTo>
                  <a:pt x="2143125" y="2371725"/>
                </a:lnTo>
                <a:lnTo>
                  <a:pt x="2428875" y="2371725"/>
                </a:lnTo>
                <a:lnTo>
                  <a:pt x="2428875" y="2476500"/>
                </a:lnTo>
                <a:lnTo>
                  <a:pt x="2476500" y="2476500"/>
                </a:lnTo>
                <a:lnTo>
                  <a:pt x="2476500" y="2571750"/>
                </a:lnTo>
                <a:lnTo>
                  <a:pt x="2514600" y="2571750"/>
                </a:lnTo>
                <a:lnTo>
                  <a:pt x="2514600" y="2609850"/>
                </a:lnTo>
                <a:lnTo>
                  <a:pt x="2619375" y="2609850"/>
                </a:lnTo>
                <a:lnTo>
                  <a:pt x="2619375" y="2828925"/>
                </a:lnTo>
                <a:lnTo>
                  <a:pt x="2800350" y="2828925"/>
                </a:lnTo>
                <a:lnTo>
                  <a:pt x="2800350" y="2905125"/>
                </a:lnTo>
                <a:lnTo>
                  <a:pt x="3209925" y="2905125"/>
                </a:lnTo>
                <a:lnTo>
                  <a:pt x="3209925" y="2981325"/>
                </a:lnTo>
                <a:lnTo>
                  <a:pt x="3362325" y="2981325"/>
                </a:lnTo>
                <a:lnTo>
                  <a:pt x="3362325" y="3067050"/>
                </a:lnTo>
                <a:lnTo>
                  <a:pt x="3438525" y="3067050"/>
                </a:lnTo>
                <a:lnTo>
                  <a:pt x="3438525" y="3171825"/>
                </a:lnTo>
                <a:lnTo>
                  <a:pt x="4324350" y="3171825"/>
                </a:lnTo>
                <a:lnTo>
                  <a:pt x="4324350" y="3324225"/>
                </a:lnTo>
                <a:lnTo>
                  <a:pt x="4943475" y="3324225"/>
                </a:lnTo>
                <a:lnTo>
                  <a:pt x="4943475" y="3409950"/>
                </a:lnTo>
                <a:lnTo>
                  <a:pt x="5848350" y="3409950"/>
                </a:lnTo>
                <a:lnTo>
                  <a:pt x="5848350" y="3486150"/>
                </a:lnTo>
                <a:lnTo>
                  <a:pt x="6591300" y="3486150"/>
                </a:lnTo>
                <a:lnTo>
                  <a:pt x="6591300" y="3552825"/>
                </a:lnTo>
                <a:lnTo>
                  <a:pt x="7210425" y="3552825"/>
                </a:lnTo>
                <a:lnTo>
                  <a:pt x="7210425" y="3638550"/>
                </a:lnTo>
                <a:lnTo>
                  <a:pt x="7791450" y="3638550"/>
                </a:lnTo>
                <a:lnTo>
                  <a:pt x="7791450" y="3771900"/>
                </a:lnTo>
                <a:lnTo>
                  <a:pt x="8286750" y="3771900"/>
                </a:lnTo>
                <a:lnTo>
                  <a:pt x="8286750" y="3876675"/>
                </a:lnTo>
                <a:lnTo>
                  <a:pt x="10972800" y="3876675"/>
                </a:lnTo>
                <a:lnTo>
                  <a:pt x="10972800" y="4448175"/>
                </a:lnTo>
                <a:lnTo>
                  <a:pt x="12763500" y="4448175"/>
                </a:lnTo>
                <a:lnTo>
                  <a:pt x="12763500" y="5286375"/>
                </a:lnTo>
                <a:lnTo>
                  <a:pt x="13649325" y="5286375"/>
                </a:lnTo>
                <a:lnTo>
                  <a:pt x="13649325" y="6057900"/>
                </a:lnTo>
              </a:path>
            </a:pathLst>
          </a:custGeom>
          <a:ln w="19050">
            <a:solidFill>
              <a:schemeClr val="accent4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36" name="Straight Connector 235">
            <a:extLst>
              <a:ext uri="{FF2B5EF4-FFF2-40B4-BE49-F238E27FC236}">
                <a16:creationId xmlns:a16="http://schemas.microsoft.com/office/drawing/2014/main" id="{5B4001BB-102A-C037-FC41-7A13CE1E2159}"/>
              </a:ext>
            </a:extLst>
          </p:cNvPr>
          <p:cNvCxnSpPr>
            <a:cxnSpLocks/>
          </p:cNvCxnSpPr>
          <p:nvPr/>
        </p:nvCxnSpPr>
        <p:spPr>
          <a:xfrm>
            <a:off x="6817023" y="2546058"/>
            <a:ext cx="0" cy="4722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237" name="Straight Connector 236">
            <a:extLst>
              <a:ext uri="{FF2B5EF4-FFF2-40B4-BE49-F238E27FC236}">
                <a16:creationId xmlns:a16="http://schemas.microsoft.com/office/drawing/2014/main" id="{3E4C908E-09E8-6950-7B31-F8758E6D13F5}"/>
              </a:ext>
            </a:extLst>
          </p:cNvPr>
          <p:cNvCxnSpPr>
            <a:cxnSpLocks/>
          </p:cNvCxnSpPr>
          <p:nvPr/>
        </p:nvCxnSpPr>
        <p:spPr>
          <a:xfrm rot="5400000">
            <a:off x="6817023" y="2545827"/>
            <a:ext cx="0" cy="47683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234" name="Straight Connector 233">
            <a:extLst>
              <a:ext uri="{FF2B5EF4-FFF2-40B4-BE49-F238E27FC236}">
                <a16:creationId xmlns:a16="http://schemas.microsoft.com/office/drawing/2014/main" id="{D26F816C-D113-7617-18AC-DBB60A1D915A}"/>
              </a:ext>
            </a:extLst>
          </p:cNvPr>
          <p:cNvCxnSpPr>
            <a:cxnSpLocks/>
          </p:cNvCxnSpPr>
          <p:nvPr/>
        </p:nvCxnSpPr>
        <p:spPr>
          <a:xfrm>
            <a:off x="6816624" y="2569668"/>
            <a:ext cx="0" cy="4722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235" name="Straight Connector 234">
            <a:extLst>
              <a:ext uri="{FF2B5EF4-FFF2-40B4-BE49-F238E27FC236}">
                <a16:creationId xmlns:a16="http://schemas.microsoft.com/office/drawing/2014/main" id="{F41C801D-8D1F-FEA0-AE0D-7D94F62C39D5}"/>
              </a:ext>
            </a:extLst>
          </p:cNvPr>
          <p:cNvCxnSpPr>
            <a:cxnSpLocks/>
          </p:cNvCxnSpPr>
          <p:nvPr/>
        </p:nvCxnSpPr>
        <p:spPr>
          <a:xfrm rot="5400000">
            <a:off x="6816624" y="2569437"/>
            <a:ext cx="0" cy="47683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232" name="Straight Connector 231">
            <a:extLst>
              <a:ext uri="{FF2B5EF4-FFF2-40B4-BE49-F238E27FC236}">
                <a16:creationId xmlns:a16="http://schemas.microsoft.com/office/drawing/2014/main" id="{22E30AAF-9AAA-1EA4-B444-AFDBE957C2E1}"/>
              </a:ext>
            </a:extLst>
          </p:cNvPr>
          <p:cNvCxnSpPr>
            <a:cxnSpLocks/>
          </p:cNvCxnSpPr>
          <p:nvPr/>
        </p:nvCxnSpPr>
        <p:spPr>
          <a:xfrm>
            <a:off x="6823809" y="2633700"/>
            <a:ext cx="0" cy="4722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233" name="Straight Connector 232">
            <a:extLst>
              <a:ext uri="{FF2B5EF4-FFF2-40B4-BE49-F238E27FC236}">
                <a16:creationId xmlns:a16="http://schemas.microsoft.com/office/drawing/2014/main" id="{7052201B-0F64-5612-FBA6-01FD2C06A0A7}"/>
              </a:ext>
            </a:extLst>
          </p:cNvPr>
          <p:cNvCxnSpPr>
            <a:cxnSpLocks/>
          </p:cNvCxnSpPr>
          <p:nvPr/>
        </p:nvCxnSpPr>
        <p:spPr>
          <a:xfrm rot="5400000">
            <a:off x="6823809" y="2633469"/>
            <a:ext cx="0" cy="47683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230" name="Straight Connector 229">
            <a:extLst>
              <a:ext uri="{FF2B5EF4-FFF2-40B4-BE49-F238E27FC236}">
                <a16:creationId xmlns:a16="http://schemas.microsoft.com/office/drawing/2014/main" id="{BB595DDD-17EA-B065-090B-0FC3391CDDFA}"/>
              </a:ext>
            </a:extLst>
          </p:cNvPr>
          <p:cNvCxnSpPr>
            <a:cxnSpLocks/>
          </p:cNvCxnSpPr>
          <p:nvPr/>
        </p:nvCxnSpPr>
        <p:spPr>
          <a:xfrm>
            <a:off x="6882482" y="2696547"/>
            <a:ext cx="0" cy="4722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231" name="Straight Connector 230">
            <a:extLst>
              <a:ext uri="{FF2B5EF4-FFF2-40B4-BE49-F238E27FC236}">
                <a16:creationId xmlns:a16="http://schemas.microsoft.com/office/drawing/2014/main" id="{CA436D33-A4F6-7A9A-4917-6D164798BBEB}"/>
              </a:ext>
            </a:extLst>
          </p:cNvPr>
          <p:cNvCxnSpPr>
            <a:cxnSpLocks/>
          </p:cNvCxnSpPr>
          <p:nvPr/>
        </p:nvCxnSpPr>
        <p:spPr>
          <a:xfrm rot="5400000">
            <a:off x="6882482" y="2696316"/>
            <a:ext cx="0" cy="47683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228" name="Straight Connector 227">
            <a:extLst>
              <a:ext uri="{FF2B5EF4-FFF2-40B4-BE49-F238E27FC236}">
                <a16:creationId xmlns:a16="http://schemas.microsoft.com/office/drawing/2014/main" id="{6C74B3EC-61F1-9B4E-C47D-8A2AC0C384A4}"/>
              </a:ext>
            </a:extLst>
          </p:cNvPr>
          <p:cNvCxnSpPr>
            <a:cxnSpLocks/>
          </p:cNvCxnSpPr>
          <p:nvPr/>
        </p:nvCxnSpPr>
        <p:spPr>
          <a:xfrm>
            <a:off x="6908825" y="2696547"/>
            <a:ext cx="0" cy="4722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229" name="Straight Connector 228">
            <a:extLst>
              <a:ext uri="{FF2B5EF4-FFF2-40B4-BE49-F238E27FC236}">
                <a16:creationId xmlns:a16="http://schemas.microsoft.com/office/drawing/2014/main" id="{07B02253-D7D9-84BE-8B77-D1F0D11DDD20}"/>
              </a:ext>
            </a:extLst>
          </p:cNvPr>
          <p:cNvCxnSpPr>
            <a:cxnSpLocks/>
          </p:cNvCxnSpPr>
          <p:nvPr/>
        </p:nvCxnSpPr>
        <p:spPr>
          <a:xfrm rot="5400000">
            <a:off x="6908825" y="2696316"/>
            <a:ext cx="0" cy="47683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226" name="Straight Connector 225">
            <a:extLst>
              <a:ext uri="{FF2B5EF4-FFF2-40B4-BE49-F238E27FC236}">
                <a16:creationId xmlns:a16="http://schemas.microsoft.com/office/drawing/2014/main" id="{339055E1-8EAE-5D05-B669-158BDC80DB51}"/>
              </a:ext>
            </a:extLst>
          </p:cNvPr>
          <p:cNvCxnSpPr>
            <a:cxnSpLocks/>
          </p:cNvCxnSpPr>
          <p:nvPr/>
        </p:nvCxnSpPr>
        <p:spPr>
          <a:xfrm>
            <a:off x="7009407" y="2900502"/>
            <a:ext cx="0" cy="4722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227" name="Straight Connector 226">
            <a:extLst>
              <a:ext uri="{FF2B5EF4-FFF2-40B4-BE49-F238E27FC236}">
                <a16:creationId xmlns:a16="http://schemas.microsoft.com/office/drawing/2014/main" id="{68705214-5CD0-C9A2-6E29-0187607907DB}"/>
              </a:ext>
            </a:extLst>
          </p:cNvPr>
          <p:cNvCxnSpPr>
            <a:cxnSpLocks/>
          </p:cNvCxnSpPr>
          <p:nvPr/>
        </p:nvCxnSpPr>
        <p:spPr>
          <a:xfrm rot="5400000">
            <a:off x="7009407" y="2900271"/>
            <a:ext cx="0" cy="47683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224" name="Straight Connector 223">
            <a:extLst>
              <a:ext uri="{FF2B5EF4-FFF2-40B4-BE49-F238E27FC236}">
                <a16:creationId xmlns:a16="http://schemas.microsoft.com/office/drawing/2014/main" id="{879AE708-AA3F-A488-A479-F6F2A0B387AB}"/>
              </a:ext>
            </a:extLst>
          </p:cNvPr>
          <p:cNvCxnSpPr>
            <a:cxnSpLocks/>
          </p:cNvCxnSpPr>
          <p:nvPr/>
        </p:nvCxnSpPr>
        <p:spPr>
          <a:xfrm>
            <a:off x="7126753" y="2946698"/>
            <a:ext cx="0" cy="4722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225" name="Straight Connector 224">
            <a:extLst>
              <a:ext uri="{FF2B5EF4-FFF2-40B4-BE49-F238E27FC236}">
                <a16:creationId xmlns:a16="http://schemas.microsoft.com/office/drawing/2014/main" id="{2A38732F-BB0D-2AD4-5CA0-C2C982342C30}"/>
              </a:ext>
            </a:extLst>
          </p:cNvPr>
          <p:cNvCxnSpPr>
            <a:cxnSpLocks/>
          </p:cNvCxnSpPr>
          <p:nvPr/>
        </p:nvCxnSpPr>
        <p:spPr>
          <a:xfrm rot="5400000">
            <a:off x="7126753" y="2946467"/>
            <a:ext cx="0" cy="47683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222" name="Straight Connector 221">
            <a:extLst>
              <a:ext uri="{FF2B5EF4-FFF2-40B4-BE49-F238E27FC236}">
                <a16:creationId xmlns:a16="http://schemas.microsoft.com/office/drawing/2014/main" id="{15DE81A2-8031-274E-5147-0CE6BED5D155}"/>
              </a:ext>
            </a:extLst>
          </p:cNvPr>
          <p:cNvCxnSpPr>
            <a:cxnSpLocks/>
          </p:cNvCxnSpPr>
          <p:nvPr/>
        </p:nvCxnSpPr>
        <p:spPr>
          <a:xfrm>
            <a:off x="7142319" y="2970730"/>
            <a:ext cx="0" cy="4722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223" name="Straight Connector 222">
            <a:extLst>
              <a:ext uri="{FF2B5EF4-FFF2-40B4-BE49-F238E27FC236}">
                <a16:creationId xmlns:a16="http://schemas.microsoft.com/office/drawing/2014/main" id="{2E4916DD-F493-049F-2F2B-CAF825B24208}"/>
              </a:ext>
            </a:extLst>
          </p:cNvPr>
          <p:cNvCxnSpPr>
            <a:cxnSpLocks/>
          </p:cNvCxnSpPr>
          <p:nvPr/>
        </p:nvCxnSpPr>
        <p:spPr>
          <a:xfrm rot="5400000">
            <a:off x="7142319" y="2970499"/>
            <a:ext cx="0" cy="47683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220" name="Straight Connector 219">
            <a:extLst>
              <a:ext uri="{FF2B5EF4-FFF2-40B4-BE49-F238E27FC236}">
                <a16:creationId xmlns:a16="http://schemas.microsoft.com/office/drawing/2014/main" id="{509D11AD-CE13-469B-D9A9-190C425E7CFD}"/>
              </a:ext>
            </a:extLst>
          </p:cNvPr>
          <p:cNvCxnSpPr>
            <a:cxnSpLocks/>
          </p:cNvCxnSpPr>
          <p:nvPr/>
        </p:nvCxnSpPr>
        <p:spPr>
          <a:xfrm>
            <a:off x="7174649" y="3059838"/>
            <a:ext cx="0" cy="4722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221" name="Straight Connector 220">
            <a:extLst>
              <a:ext uri="{FF2B5EF4-FFF2-40B4-BE49-F238E27FC236}">
                <a16:creationId xmlns:a16="http://schemas.microsoft.com/office/drawing/2014/main" id="{C5AF2BAE-9F12-178F-1286-57FE08ADAE32}"/>
              </a:ext>
            </a:extLst>
          </p:cNvPr>
          <p:cNvCxnSpPr>
            <a:cxnSpLocks/>
          </p:cNvCxnSpPr>
          <p:nvPr/>
        </p:nvCxnSpPr>
        <p:spPr>
          <a:xfrm rot="5400000">
            <a:off x="7174649" y="3059607"/>
            <a:ext cx="0" cy="47683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218" name="Straight Connector 217">
            <a:extLst>
              <a:ext uri="{FF2B5EF4-FFF2-40B4-BE49-F238E27FC236}">
                <a16:creationId xmlns:a16="http://schemas.microsoft.com/office/drawing/2014/main" id="{103AA15E-DA9B-A6BF-ADDB-A7CB84B11B59}"/>
              </a:ext>
            </a:extLst>
          </p:cNvPr>
          <p:cNvCxnSpPr>
            <a:cxnSpLocks/>
          </p:cNvCxnSpPr>
          <p:nvPr/>
        </p:nvCxnSpPr>
        <p:spPr>
          <a:xfrm>
            <a:off x="7275231" y="3091735"/>
            <a:ext cx="0" cy="4722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219" name="Straight Connector 218">
            <a:extLst>
              <a:ext uri="{FF2B5EF4-FFF2-40B4-BE49-F238E27FC236}">
                <a16:creationId xmlns:a16="http://schemas.microsoft.com/office/drawing/2014/main" id="{C1652B0C-B47C-7178-E0F9-E6DE42BD2D8E}"/>
              </a:ext>
            </a:extLst>
          </p:cNvPr>
          <p:cNvCxnSpPr>
            <a:cxnSpLocks/>
          </p:cNvCxnSpPr>
          <p:nvPr/>
        </p:nvCxnSpPr>
        <p:spPr>
          <a:xfrm rot="5400000">
            <a:off x="7275231" y="3091504"/>
            <a:ext cx="0" cy="47683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216" name="Straight Connector 215">
            <a:extLst>
              <a:ext uri="{FF2B5EF4-FFF2-40B4-BE49-F238E27FC236}">
                <a16:creationId xmlns:a16="http://schemas.microsoft.com/office/drawing/2014/main" id="{91ED5D11-A9E4-C0FF-E1C2-B40CD18D286E}"/>
              </a:ext>
            </a:extLst>
          </p:cNvPr>
          <p:cNvCxnSpPr>
            <a:cxnSpLocks/>
          </p:cNvCxnSpPr>
          <p:nvPr/>
        </p:nvCxnSpPr>
        <p:spPr>
          <a:xfrm>
            <a:off x="7329114" y="3091735"/>
            <a:ext cx="0" cy="4722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217" name="Straight Connector 216">
            <a:extLst>
              <a:ext uri="{FF2B5EF4-FFF2-40B4-BE49-F238E27FC236}">
                <a16:creationId xmlns:a16="http://schemas.microsoft.com/office/drawing/2014/main" id="{D2BB5A6D-E181-6CFE-B5FD-7BEE877ECB0A}"/>
              </a:ext>
            </a:extLst>
          </p:cNvPr>
          <p:cNvCxnSpPr>
            <a:cxnSpLocks/>
          </p:cNvCxnSpPr>
          <p:nvPr/>
        </p:nvCxnSpPr>
        <p:spPr>
          <a:xfrm rot="5400000">
            <a:off x="7329114" y="3091504"/>
            <a:ext cx="0" cy="47683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214" name="Straight Connector 213">
            <a:extLst>
              <a:ext uri="{FF2B5EF4-FFF2-40B4-BE49-F238E27FC236}">
                <a16:creationId xmlns:a16="http://schemas.microsoft.com/office/drawing/2014/main" id="{CFD2BFC5-ACD3-6E53-8817-3F9FFB317695}"/>
              </a:ext>
            </a:extLst>
          </p:cNvPr>
          <p:cNvCxnSpPr>
            <a:cxnSpLocks/>
          </p:cNvCxnSpPr>
          <p:nvPr/>
        </p:nvCxnSpPr>
        <p:spPr>
          <a:xfrm>
            <a:off x="7349470" y="3108220"/>
            <a:ext cx="0" cy="4722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215" name="Straight Connector 214">
            <a:extLst>
              <a:ext uri="{FF2B5EF4-FFF2-40B4-BE49-F238E27FC236}">
                <a16:creationId xmlns:a16="http://schemas.microsoft.com/office/drawing/2014/main" id="{B996A00E-86BB-B2B0-A2C2-6157A75E9744}"/>
              </a:ext>
            </a:extLst>
          </p:cNvPr>
          <p:cNvCxnSpPr>
            <a:cxnSpLocks/>
          </p:cNvCxnSpPr>
          <p:nvPr/>
        </p:nvCxnSpPr>
        <p:spPr>
          <a:xfrm rot="5400000">
            <a:off x="7349470" y="3107989"/>
            <a:ext cx="0" cy="47683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212" name="Straight Connector 211">
            <a:extLst>
              <a:ext uri="{FF2B5EF4-FFF2-40B4-BE49-F238E27FC236}">
                <a16:creationId xmlns:a16="http://schemas.microsoft.com/office/drawing/2014/main" id="{2C5952C3-7D00-B65C-689B-B175E1F467F1}"/>
              </a:ext>
            </a:extLst>
          </p:cNvPr>
          <p:cNvCxnSpPr>
            <a:cxnSpLocks/>
          </p:cNvCxnSpPr>
          <p:nvPr/>
        </p:nvCxnSpPr>
        <p:spPr>
          <a:xfrm>
            <a:off x="7367431" y="3109253"/>
            <a:ext cx="0" cy="4722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213" name="Straight Connector 212">
            <a:extLst>
              <a:ext uri="{FF2B5EF4-FFF2-40B4-BE49-F238E27FC236}">
                <a16:creationId xmlns:a16="http://schemas.microsoft.com/office/drawing/2014/main" id="{F6350A2E-BD41-E652-56A0-2D0E860F6A41}"/>
              </a:ext>
            </a:extLst>
          </p:cNvPr>
          <p:cNvCxnSpPr>
            <a:cxnSpLocks/>
          </p:cNvCxnSpPr>
          <p:nvPr/>
        </p:nvCxnSpPr>
        <p:spPr>
          <a:xfrm rot="5400000">
            <a:off x="7367431" y="3109022"/>
            <a:ext cx="0" cy="47683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210" name="Straight Connector 209">
            <a:extLst>
              <a:ext uri="{FF2B5EF4-FFF2-40B4-BE49-F238E27FC236}">
                <a16:creationId xmlns:a16="http://schemas.microsoft.com/office/drawing/2014/main" id="{104A2BA6-4E2A-CAC1-153E-79D2648585C4}"/>
              </a:ext>
            </a:extLst>
          </p:cNvPr>
          <p:cNvCxnSpPr>
            <a:cxnSpLocks/>
          </p:cNvCxnSpPr>
          <p:nvPr/>
        </p:nvCxnSpPr>
        <p:spPr>
          <a:xfrm>
            <a:off x="7388985" y="3108126"/>
            <a:ext cx="0" cy="4722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211" name="Straight Connector 210">
            <a:extLst>
              <a:ext uri="{FF2B5EF4-FFF2-40B4-BE49-F238E27FC236}">
                <a16:creationId xmlns:a16="http://schemas.microsoft.com/office/drawing/2014/main" id="{7B7A3C99-CBA2-5715-0469-D827EA09271B}"/>
              </a:ext>
            </a:extLst>
          </p:cNvPr>
          <p:cNvCxnSpPr>
            <a:cxnSpLocks/>
          </p:cNvCxnSpPr>
          <p:nvPr/>
        </p:nvCxnSpPr>
        <p:spPr>
          <a:xfrm rot="5400000">
            <a:off x="7388985" y="3107895"/>
            <a:ext cx="0" cy="47683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208" name="Straight Connector 207">
            <a:extLst>
              <a:ext uri="{FF2B5EF4-FFF2-40B4-BE49-F238E27FC236}">
                <a16:creationId xmlns:a16="http://schemas.microsoft.com/office/drawing/2014/main" id="{AE601692-21D5-A992-5A33-3DF246D34F67}"/>
              </a:ext>
            </a:extLst>
          </p:cNvPr>
          <p:cNvCxnSpPr>
            <a:cxnSpLocks/>
          </p:cNvCxnSpPr>
          <p:nvPr/>
        </p:nvCxnSpPr>
        <p:spPr>
          <a:xfrm>
            <a:off x="7414130" y="3118843"/>
            <a:ext cx="0" cy="4722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209" name="Straight Connector 208">
            <a:extLst>
              <a:ext uri="{FF2B5EF4-FFF2-40B4-BE49-F238E27FC236}">
                <a16:creationId xmlns:a16="http://schemas.microsoft.com/office/drawing/2014/main" id="{352B6F55-0409-1BDF-C1D2-CA0044D38931}"/>
              </a:ext>
            </a:extLst>
          </p:cNvPr>
          <p:cNvCxnSpPr>
            <a:cxnSpLocks/>
          </p:cNvCxnSpPr>
          <p:nvPr/>
        </p:nvCxnSpPr>
        <p:spPr>
          <a:xfrm rot="5400000">
            <a:off x="7414130" y="3118612"/>
            <a:ext cx="0" cy="47683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206" name="Straight Connector 205">
            <a:extLst>
              <a:ext uri="{FF2B5EF4-FFF2-40B4-BE49-F238E27FC236}">
                <a16:creationId xmlns:a16="http://schemas.microsoft.com/office/drawing/2014/main" id="{E1AF2A1C-F829-1532-EFB1-E4685321FC2E}"/>
              </a:ext>
            </a:extLst>
          </p:cNvPr>
          <p:cNvCxnSpPr>
            <a:cxnSpLocks/>
          </p:cNvCxnSpPr>
          <p:nvPr/>
        </p:nvCxnSpPr>
        <p:spPr>
          <a:xfrm>
            <a:off x="7425705" y="3159972"/>
            <a:ext cx="0" cy="4722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207" name="Straight Connector 206">
            <a:extLst>
              <a:ext uri="{FF2B5EF4-FFF2-40B4-BE49-F238E27FC236}">
                <a16:creationId xmlns:a16="http://schemas.microsoft.com/office/drawing/2014/main" id="{754619AD-796C-1951-0EA3-7D01CC2C762E}"/>
              </a:ext>
            </a:extLst>
          </p:cNvPr>
          <p:cNvCxnSpPr>
            <a:cxnSpLocks/>
          </p:cNvCxnSpPr>
          <p:nvPr/>
        </p:nvCxnSpPr>
        <p:spPr>
          <a:xfrm rot="5400000">
            <a:off x="7425705" y="3159741"/>
            <a:ext cx="0" cy="47683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204" name="Straight Connector 203">
            <a:extLst>
              <a:ext uri="{FF2B5EF4-FFF2-40B4-BE49-F238E27FC236}">
                <a16:creationId xmlns:a16="http://schemas.microsoft.com/office/drawing/2014/main" id="{B2356379-721B-7019-FA3E-2F00DB6B0B7A}"/>
              </a:ext>
            </a:extLst>
          </p:cNvPr>
          <p:cNvCxnSpPr>
            <a:cxnSpLocks/>
          </p:cNvCxnSpPr>
          <p:nvPr/>
        </p:nvCxnSpPr>
        <p:spPr>
          <a:xfrm>
            <a:off x="7468412" y="3231603"/>
            <a:ext cx="0" cy="4722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205" name="Straight Connector 204">
            <a:extLst>
              <a:ext uri="{FF2B5EF4-FFF2-40B4-BE49-F238E27FC236}">
                <a16:creationId xmlns:a16="http://schemas.microsoft.com/office/drawing/2014/main" id="{6169E1C6-0C3E-9D6E-36AE-E8296940298C}"/>
              </a:ext>
            </a:extLst>
          </p:cNvPr>
          <p:cNvCxnSpPr>
            <a:cxnSpLocks/>
          </p:cNvCxnSpPr>
          <p:nvPr/>
        </p:nvCxnSpPr>
        <p:spPr>
          <a:xfrm rot="5400000">
            <a:off x="7468412" y="3231372"/>
            <a:ext cx="0" cy="47683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202" name="Straight Connector 201">
            <a:extLst>
              <a:ext uri="{FF2B5EF4-FFF2-40B4-BE49-F238E27FC236}">
                <a16:creationId xmlns:a16="http://schemas.microsoft.com/office/drawing/2014/main" id="{9CB4D503-A7C4-2FAA-DA59-0199F0497983}"/>
              </a:ext>
            </a:extLst>
          </p:cNvPr>
          <p:cNvCxnSpPr>
            <a:cxnSpLocks/>
          </p:cNvCxnSpPr>
          <p:nvPr/>
        </p:nvCxnSpPr>
        <p:spPr>
          <a:xfrm>
            <a:off x="7518703" y="3238940"/>
            <a:ext cx="0" cy="4722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203" name="Straight Connector 202">
            <a:extLst>
              <a:ext uri="{FF2B5EF4-FFF2-40B4-BE49-F238E27FC236}">
                <a16:creationId xmlns:a16="http://schemas.microsoft.com/office/drawing/2014/main" id="{AC13AD0A-3276-E27E-4438-24560B74E68D}"/>
              </a:ext>
            </a:extLst>
          </p:cNvPr>
          <p:cNvCxnSpPr>
            <a:cxnSpLocks/>
          </p:cNvCxnSpPr>
          <p:nvPr/>
        </p:nvCxnSpPr>
        <p:spPr>
          <a:xfrm rot="5400000">
            <a:off x="7518703" y="3238709"/>
            <a:ext cx="0" cy="47683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200" name="Straight Connector 199">
            <a:extLst>
              <a:ext uri="{FF2B5EF4-FFF2-40B4-BE49-F238E27FC236}">
                <a16:creationId xmlns:a16="http://schemas.microsoft.com/office/drawing/2014/main" id="{AD5B32BC-97CA-8CF1-7421-25DCF071220F}"/>
              </a:ext>
            </a:extLst>
          </p:cNvPr>
          <p:cNvCxnSpPr>
            <a:cxnSpLocks/>
          </p:cNvCxnSpPr>
          <p:nvPr/>
        </p:nvCxnSpPr>
        <p:spPr>
          <a:xfrm>
            <a:off x="7551033" y="3256443"/>
            <a:ext cx="0" cy="4722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201" name="Straight Connector 200">
            <a:extLst>
              <a:ext uri="{FF2B5EF4-FFF2-40B4-BE49-F238E27FC236}">
                <a16:creationId xmlns:a16="http://schemas.microsoft.com/office/drawing/2014/main" id="{B43D7FE5-2064-B163-2148-C5943328984D}"/>
              </a:ext>
            </a:extLst>
          </p:cNvPr>
          <p:cNvCxnSpPr>
            <a:cxnSpLocks/>
          </p:cNvCxnSpPr>
          <p:nvPr/>
        </p:nvCxnSpPr>
        <p:spPr>
          <a:xfrm rot="5400000">
            <a:off x="7551033" y="3256212"/>
            <a:ext cx="0" cy="47683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98" name="Straight Connector 197">
            <a:extLst>
              <a:ext uri="{FF2B5EF4-FFF2-40B4-BE49-F238E27FC236}">
                <a16:creationId xmlns:a16="http://schemas.microsoft.com/office/drawing/2014/main" id="{CB553F77-2362-588E-A321-F6E6A87142B9}"/>
              </a:ext>
            </a:extLst>
          </p:cNvPr>
          <p:cNvCxnSpPr>
            <a:cxnSpLocks/>
          </p:cNvCxnSpPr>
          <p:nvPr/>
        </p:nvCxnSpPr>
        <p:spPr>
          <a:xfrm>
            <a:off x="7598930" y="3256443"/>
            <a:ext cx="0" cy="4722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99" name="Straight Connector 198">
            <a:extLst>
              <a:ext uri="{FF2B5EF4-FFF2-40B4-BE49-F238E27FC236}">
                <a16:creationId xmlns:a16="http://schemas.microsoft.com/office/drawing/2014/main" id="{195B33C3-B558-7C50-0163-261B000F0895}"/>
              </a:ext>
            </a:extLst>
          </p:cNvPr>
          <p:cNvCxnSpPr>
            <a:cxnSpLocks/>
          </p:cNvCxnSpPr>
          <p:nvPr/>
        </p:nvCxnSpPr>
        <p:spPr>
          <a:xfrm rot="5400000">
            <a:off x="7598930" y="3256212"/>
            <a:ext cx="0" cy="47683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96" name="Straight Connector 195">
            <a:extLst>
              <a:ext uri="{FF2B5EF4-FFF2-40B4-BE49-F238E27FC236}">
                <a16:creationId xmlns:a16="http://schemas.microsoft.com/office/drawing/2014/main" id="{1D10EA46-0C2F-C85D-568C-2A534B22F254}"/>
              </a:ext>
            </a:extLst>
          </p:cNvPr>
          <p:cNvCxnSpPr>
            <a:cxnSpLocks/>
          </p:cNvCxnSpPr>
          <p:nvPr/>
        </p:nvCxnSpPr>
        <p:spPr>
          <a:xfrm>
            <a:off x="7685143" y="3299630"/>
            <a:ext cx="0" cy="4722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97" name="Straight Connector 196">
            <a:extLst>
              <a:ext uri="{FF2B5EF4-FFF2-40B4-BE49-F238E27FC236}">
                <a16:creationId xmlns:a16="http://schemas.microsoft.com/office/drawing/2014/main" id="{2B9D594B-DACA-DC11-434D-9969911703B8}"/>
              </a:ext>
            </a:extLst>
          </p:cNvPr>
          <p:cNvCxnSpPr>
            <a:cxnSpLocks/>
          </p:cNvCxnSpPr>
          <p:nvPr/>
        </p:nvCxnSpPr>
        <p:spPr>
          <a:xfrm rot="5400000">
            <a:off x="7685143" y="3299399"/>
            <a:ext cx="0" cy="47683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94" name="Straight Connector 193">
            <a:extLst>
              <a:ext uri="{FF2B5EF4-FFF2-40B4-BE49-F238E27FC236}">
                <a16:creationId xmlns:a16="http://schemas.microsoft.com/office/drawing/2014/main" id="{665659F5-B05F-2B30-76F2-34441C2B99AE}"/>
              </a:ext>
            </a:extLst>
          </p:cNvPr>
          <p:cNvCxnSpPr>
            <a:cxnSpLocks/>
          </p:cNvCxnSpPr>
          <p:nvPr/>
        </p:nvCxnSpPr>
        <p:spPr>
          <a:xfrm>
            <a:off x="7858767" y="3335399"/>
            <a:ext cx="0" cy="4722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95" name="Straight Connector 194">
            <a:extLst>
              <a:ext uri="{FF2B5EF4-FFF2-40B4-BE49-F238E27FC236}">
                <a16:creationId xmlns:a16="http://schemas.microsoft.com/office/drawing/2014/main" id="{5CBC07AE-B7C9-CB19-1BFE-823C3FC997E0}"/>
              </a:ext>
            </a:extLst>
          </p:cNvPr>
          <p:cNvCxnSpPr>
            <a:cxnSpLocks/>
          </p:cNvCxnSpPr>
          <p:nvPr/>
        </p:nvCxnSpPr>
        <p:spPr>
          <a:xfrm rot="5400000">
            <a:off x="7858767" y="3335168"/>
            <a:ext cx="0" cy="47683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92" name="Straight Connector 191">
            <a:extLst>
              <a:ext uri="{FF2B5EF4-FFF2-40B4-BE49-F238E27FC236}">
                <a16:creationId xmlns:a16="http://schemas.microsoft.com/office/drawing/2014/main" id="{F7B8B524-F2F6-1BA6-2633-0ABDE5BC8F7E}"/>
              </a:ext>
            </a:extLst>
          </p:cNvPr>
          <p:cNvCxnSpPr>
            <a:cxnSpLocks/>
          </p:cNvCxnSpPr>
          <p:nvPr/>
        </p:nvCxnSpPr>
        <p:spPr>
          <a:xfrm>
            <a:off x="7915045" y="3335399"/>
            <a:ext cx="0" cy="4722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93" name="Straight Connector 192">
            <a:extLst>
              <a:ext uri="{FF2B5EF4-FFF2-40B4-BE49-F238E27FC236}">
                <a16:creationId xmlns:a16="http://schemas.microsoft.com/office/drawing/2014/main" id="{C0E81A34-1736-76FA-BD49-999AF860DF38}"/>
              </a:ext>
            </a:extLst>
          </p:cNvPr>
          <p:cNvCxnSpPr>
            <a:cxnSpLocks/>
          </p:cNvCxnSpPr>
          <p:nvPr/>
        </p:nvCxnSpPr>
        <p:spPr>
          <a:xfrm rot="5400000">
            <a:off x="7915045" y="3335168"/>
            <a:ext cx="0" cy="47683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90" name="Straight Connector 189">
            <a:extLst>
              <a:ext uri="{FF2B5EF4-FFF2-40B4-BE49-F238E27FC236}">
                <a16:creationId xmlns:a16="http://schemas.microsoft.com/office/drawing/2014/main" id="{07B2E680-4B6B-E774-160D-CB758B12AED0}"/>
              </a:ext>
            </a:extLst>
          </p:cNvPr>
          <p:cNvCxnSpPr>
            <a:cxnSpLocks/>
          </p:cNvCxnSpPr>
          <p:nvPr/>
        </p:nvCxnSpPr>
        <p:spPr>
          <a:xfrm>
            <a:off x="7956954" y="3355336"/>
            <a:ext cx="0" cy="4722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91" name="Straight Connector 190">
            <a:extLst>
              <a:ext uri="{FF2B5EF4-FFF2-40B4-BE49-F238E27FC236}">
                <a16:creationId xmlns:a16="http://schemas.microsoft.com/office/drawing/2014/main" id="{A4CFDCD5-20EC-B774-A2C3-F515AA692C67}"/>
              </a:ext>
            </a:extLst>
          </p:cNvPr>
          <p:cNvCxnSpPr>
            <a:cxnSpLocks/>
          </p:cNvCxnSpPr>
          <p:nvPr/>
        </p:nvCxnSpPr>
        <p:spPr>
          <a:xfrm rot="5400000">
            <a:off x="7956954" y="3355105"/>
            <a:ext cx="0" cy="47683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88" name="Straight Connector 187">
            <a:extLst>
              <a:ext uri="{FF2B5EF4-FFF2-40B4-BE49-F238E27FC236}">
                <a16:creationId xmlns:a16="http://schemas.microsoft.com/office/drawing/2014/main" id="{FB7EAF85-5118-B02D-1D14-7B5E037E123E}"/>
              </a:ext>
            </a:extLst>
          </p:cNvPr>
          <p:cNvCxnSpPr>
            <a:cxnSpLocks/>
          </p:cNvCxnSpPr>
          <p:nvPr/>
        </p:nvCxnSpPr>
        <p:spPr>
          <a:xfrm>
            <a:off x="8086274" y="3378946"/>
            <a:ext cx="0" cy="4722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89" name="Straight Connector 188">
            <a:extLst>
              <a:ext uri="{FF2B5EF4-FFF2-40B4-BE49-F238E27FC236}">
                <a16:creationId xmlns:a16="http://schemas.microsoft.com/office/drawing/2014/main" id="{7A102BE2-8371-4988-3DAE-577E21C98854}"/>
              </a:ext>
            </a:extLst>
          </p:cNvPr>
          <p:cNvCxnSpPr>
            <a:cxnSpLocks/>
          </p:cNvCxnSpPr>
          <p:nvPr/>
        </p:nvCxnSpPr>
        <p:spPr>
          <a:xfrm rot="5400000">
            <a:off x="8086274" y="3378715"/>
            <a:ext cx="0" cy="47683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86" name="Straight Connector 185">
            <a:extLst>
              <a:ext uri="{FF2B5EF4-FFF2-40B4-BE49-F238E27FC236}">
                <a16:creationId xmlns:a16="http://schemas.microsoft.com/office/drawing/2014/main" id="{99059833-D982-C694-01E9-22CD8EB452E7}"/>
              </a:ext>
            </a:extLst>
          </p:cNvPr>
          <p:cNvCxnSpPr>
            <a:cxnSpLocks/>
          </p:cNvCxnSpPr>
          <p:nvPr/>
        </p:nvCxnSpPr>
        <p:spPr>
          <a:xfrm>
            <a:off x="8132973" y="3378946"/>
            <a:ext cx="0" cy="4722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87" name="Straight Connector 186">
            <a:extLst>
              <a:ext uri="{FF2B5EF4-FFF2-40B4-BE49-F238E27FC236}">
                <a16:creationId xmlns:a16="http://schemas.microsoft.com/office/drawing/2014/main" id="{CCED43AC-63E3-2B04-C52B-DDA45B7D92BA}"/>
              </a:ext>
            </a:extLst>
          </p:cNvPr>
          <p:cNvCxnSpPr>
            <a:cxnSpLocks/>
          </p:cNvCxnSpPr>
          <p:nvPr/>
        </p:nvCxnSpPr>
        <p:spPr>
          <a:xfrm rot="5400000">
            <a:off x="8132973" y="3378715"/>
            <a:ext cx="0" cy="47683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84" name="Straight Connector 183">
            <a:extLst>
              <a:ext uri="{FF2B5EF4-FFF2-40B4-BE49-F238E27FC236}">
                <a16:creationId xmlns:a16="http://schemas.microsoft.com/office/drawing/2014/main" id="{E2958CBD-6C04-22C5-69BA-213D2BC813DE}"/>
              </a:ext>
            </a:extLst>
          </p:cNvPr>
          <p:cNvCxnSpPr>
            <a:cxnSpLocks/>
          </p:cNvCxnSpPr>
          <p:nvPr/>
        </p:nvCxnSpPr>
        <p:spPr>
          <a:xfrm>
            <a:off x="8142552" y="3402556"/>
            <a:ext cx="0" cy="4722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85" name="Straight Connector 184">
            <a:extLst>
              <a:ext uri="{FF2B5EF4-FFF2-40B4-BE49-F238E27FC236}">
                <a16:creationId xmlns:a16="http://schemas.microsoft.com/office/drawing/2014/main" id="{42920FA9-4596-4BCA-9673-B223117C7739}"/>
              </a:ext>
            </a:extLst>
          </p:cNvPr>
          <p:cNvCxnSpPr>
            <a:cxnSpLocks/>
          </p:cNvCxnSpPr>
          <p:nvPr/>
        </p:nvCxnSpPr>
        <p:spPr>
          <a:xfrm rot="5400000">
            <a:off x="8142552" y="3402325"/>
            <a:ext cx="0" cy="47683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82" name="Straight Connector 181">
            <a:extLst>
              <a:ext uri="{FF2B5EF4-FFF2-40B4-BE49-F238E27FC236}">
                <a16:creationId xmlns:a16="http://schemas.microsoft.com/office/drawing/2014/main" id="{80E82075-9E48-6439-34EA-16C36438DBD5}"/>
              </a:ext>
            </a:extLst>
          </p:cNvPr>
          <p:cNvCxnSpPr>
            <a:cxnSpLocks/>
          </p:cNvCxnSpPr>
          <p:nvPr/>
        </p:nvCxnSpPr>
        <p:spPr>
          <a:xfrm>
            <a:off x="8252713" y="3404974"/>
            <a:ext cx="0" cy="4722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83" name="Straight Connector 182">
            <a:extLst>
              <a:ext uri="{FF2B5EF4-FFF2-40B4-BE49-F238E27FC236}">
                <a16:creationId xmlns:a16="http://schemas.microsoft.com/office/drawing/2014/main" id="{7949487D-B03A-7DA7-6B82-15B27D0ADED4}"/>
              </a:ext>
            </a:extLst>
          </p:cNvPr>
          <p:cNvCxnSpPr>
            <a:cxnSpLocks/>
          </p:cNvCxnSpPr>
          <p:nvPr/>
        </p:nvCxnSpPr>
        <p:spPr>
          <a:xfrm rot="5400000">
            <a:off x="8252713" y="3404743"/>
            <a:ext cx="0" cy="47683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80" name="Straight Connector 179">
            <a:extLst>
              <a:ext uri="{FF2B5EF4-FFF2-40B4-BE49-F238E27FC236}">
                <a16:creationId xmlns:a16="http://schemas.microsoft.com/office/drawing/2014/main" id="{F290FA33-57D4-AF14-8DC0-315F1ECF6EC6}"/>
              </a:ext>
            </a:extLst>
          </p:cNvPr>
          <p:cNvCxnSpPr>
            <a:cxnSpLocks/>
          </p:cNvCxnSpPr>
          <p:nvPr/>
        </p:nvCxnSpPr>
        <p:spPr>
          <a:xfrm>
            <a:off x="8734071" y="3446477"/>
            <a:ext cx="0" cy="4722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81" name="Straight Connector 180">
            <a:extLst>
              <a:ext uri="{FF2B5EF4-FFF2-40B4-BE49-F238E27FC236}">
                <a16:creationId xmlns:a16="http://schemas.microsoft.com/office/drawing/2014/main" id="{37523057-4EC8-05E3-F181-BCF645A5EC40}"/>
              </a:ext>
            </a:extLst>
          </p:cNvPr>
          <p:cNvCxnSpPr>
            <a:cxnSpLocks/>
          </p:cNvCxnSpPr>
          <p:nvPr/>
        </p:nvCxnSpPr>
        <p:spPr>
          <a:xfrm rot="5400000">
            <a:off x="8734071" y="3446246"/>
            <a:ext cx="0" cy="47683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78" name="Straight Connector 177">
            <a:extLst>
              <a:ext uri="{FF2B5EF4-FFF2-40B4-BE49-F238E27FC236}">
                <a16:creationId xmlns:a16="http://schemas.microsoft.com/office/drawing/2014/main" id="{79EFA288-7968-F364-5AAB-B366130D3A07}"/>
              </a:ext>
            </a:extLst>
          </p:cNvPr>
          <p:cNvCxnSpPr>
            <a:cxnSpLocks/>
          </p:cNvCxnSpPr>
          <p:nvPr/>
        </p:nvCxnSpPr>
        <p:spPr>
          <a:xfrm>
            <a:off x="8866983" y="3471742"/>
            <a:ext cx="0" cy="4722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79" name="Straight Connector 178">
            <a:extLst>
              <a:ext uri="{FF2B5EF4-FFF2-40B4-BE49-F238E27FC236}">
                <a16:creationId xmlns:a16="http://schemas.microsoft.com/office/drawing/2014/main" id="{B3B261A3-2F1D-9F13-C2B2-4077F93FCA78}"/>
              </a:ext>
            </a:extLst>
          </p:cNvPr>
          <p:cNvCxnSpPr>
            <a:cxnSpLocks/>
          </p:cNvCxnSpPr>
          <p:nvPr/>
        </p:nvCxnSpPr>
        <p:spPr>
          <a:xfrm rot="5400000">
            <a:off x="8866983" y="3471511"/>
            <a:ext cx="0" cy="47683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76" name="Straight Connector 175">
            <a:extLst>
              <a:ext uri="{FF2B5EF4-FFF2-40B4-BE49-F238E27FC236}">
                <a16:creationId xmlns:a16="http://schemas.microsoft.com/office/drawing/2014/main" id="{A6EEF07D-9CDF-C0FE-72EA-5D0687F7FAB4}"/>
              </a:ext>
            </a:extLst>
          </p:cNvPr>
          <p:cNvCxnSpPr>
            <a:cxnSpLocks/>
          </p:cNvCxnSpPr>
          <p:nvPr/>
        </p:nvCxnSpPr>
        <p:spPr>
          <a:xfrm>
            <a:off x="8892128" y="3471837"/>
            <a:ext cx="0" cy="4722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77" name="Straight Connector 176">
            <a:extLst>
              <a:ext uri="{FF2B5EF4-FFF2-40B4-BE49-F238E27FC236}">
                <a16:creationId xmlns:a16="http://schemas.microsoft.com/office/drawing/2014/main" id="{B1134535-262D-F286-A32E-176E3EEE34F9}"/>
              </a:ext>
            </a:extLst>
          </p:cNvPr>
          <p:cNvCxnSpPr>
            <a:cxnSpLocks/>
          </p:cNvCxnSpPr>
          <p:nvPr/>
        </p:nvCxnSpPr>
        <p:spPr>
          <a:xfrm rot="5400000">
            <a:off x="8892128" y="3471606"/>
            <a:ext cx="0" cy="47683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74" name="Straight Connector 173">
            <a:extLst>
              <a:ext uri="{FF2B5EF4-FFF2-40B4-BE49-F238E27FC236}">
                <a16:creationId xmlns:a16="http://schemas.microsoft.com/office/drawing/2014/main" id="{DBE1BC4F-DB07-E2E1-4FA3-64D672EEAB2B}"/>
              </a:ext>
            </a:extLst>
          </p:cNvPr>
          <p:cNvCxnSpPr>
            <a:cxnSpLocks/>
          </p:cNvCxnSpPr>
          <p:nvPr/>
        </p:nvCxnSpPr>
        <p:spPr>
          <a:xfrm>
            <a:off x="8942419" y="3471837"/>
            <a:ext cx="0" cy="4722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75" name="Straight Connector 174">
            <a:extLst>
              <a:ext uri="{FF2B5EF4-FFF2-40B4-BE49-F238E27FC236}">
                <a16:creationId xmlns:a16="http://schemas.microsoft.com/office/drawing/2014/main" id="{52E351E2-C96E-9F94-8685-3A8BF5D5A321}"/>
              </a:ext>
            </a:extLst>
          </p:cNvPr>
          <p:cNvCxnSpPr>
            <a:cxnSpLocks/>
          </p:cNvCxnSpPr>
          <p:nvPr/>
        </p:nvCxnSpPr>
        <p:spPr>
          <a:xfrm rot="5400000">
            <a:off x="8942419" y="3471606"/>
            <a:ext cx="0" cy="47683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72" name="Straight Connector 171">
            <a:extLst>
              <a:ext uri="{FF2B5EF4-FFF2-40B4-BE49-F238E27FC236}">
                <a16:creationId xmlns:a16="http://schemas.microsoft.com/office/drawing/2014/main" id="{6B60BDBE-BB8D-10EE-0940-D0E7602DF2F6}"/>
              </a:ext>
            </a:extLst>
          </p:cNvPr>
          <p:cNvCxnSpPr>
            <a:cxnSpLocks/>
          </p:cNvCxnSpPr>
          <p:nvPr/>
        </p:nvCxnSpPr>
        <p:spPr>
          <a:xfrm>
            <a:off x="8960380" y="3506229"/>
            <a:ext cx="0" cy="4722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73" name="Straight Connector 172">
            <a:extLst>
              <a:ext uri="{FF2B5EF4-FFF2-40B4-BE49-F238E27FC236}">
                <a16:creationId xmlns:a16="http://schemas.microsoft.com/office/drawing/2014/main" id="{BED30F76-C6DA-EF6D-286A-7B9990E9A31C}"/>
              </a:ext>
            </a:extLst>
          </p:cNvPr>
          <p:cNvCxnSpPr>
            <a:cxnSpLocks/>
          </p:cNvCxnSpPr>
          <p:nvPr/>
        </p:nvCxnSpPr>
        <p:spPr>
          <a:xfrm rot="5400000">
            <a:off x="8960380" y="3505998"/>
            <a:ext cx="0" cy="47683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70" name="Straight Connector 169">
            <a:extLst>
              <a:ext uri="{FF2B5EF4-FFF2-40B4-BE49-F238E27FC236}">
                <a16:creationId xmlns:a16="http://schemas.microsoft.com/office/drawing/2014/main" id="{C39DAEFB-C013-BEDA-E1D3-74DE79FE1E3D}"/>
              </a:ext>
            </a:extLst>
          </p:cNvPr>
          <p:cNvCxnSpPr>
            <a:cxnSpLocks/>
          </p:cNvCxnSpPr>
          <p:nvPr/>
        </p:nvCxnSpPr>
        <p:spPr>
          <a:xfrm>
            <a:off x="8984328" y="3506229"/>
            <a:ext cx="0" cy="4722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71" name="Straight Connector 170">
            <a:extLst>
              <a:ext uri="{FF2B5EF4-FFF2-40B4-BE49-F238E27FC236}">
                <a16:creationId xmlns:a16="http://schemas.microsoft.com/office/drawing/2014/main" id="{A9C0CD95-7F40-5C3A-A932-8D089A251E35}"/>
              </a:ext>
            </a:extLst>
          </p:cNvPr>
          <p:cNvCxnSpPr>
            <a:cxnSpLocks/>
          </p:cNvCxnSpPr>
          <p:nvPr/>
        </p:nvCxnSpPr>
        <p:spPr>
          <a:xfrm rot="5400000">
            <a:off x="8984328" y="3505998"/>
            <a:ext cx="0" cy="47683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68" name="Straight Connector 167">
            <a:extLst>
              <a:ext uri="{FF2B5EF4-FFF2-40B4-BE49-F238E27FC236}">
                <a16:creationId xmlns:a16="http://schemas.microsoft.com/office/drawing/2014/main" id="{40729BEE-789B-8067-3624-5C1265FA6CF7}"/>
              </a:ext>
            </a:extLst>
          </p:cNvPr>
          <p:cNvCxnSpPr>
            <a:cxnSpLocks/>
          </p:cNvCxnSpPr>
          <p:nvPr/>
        </p:nvCxnSpPr>
        <p:spPr>
          <a:xfrm>
            <a:off x="9100477" y="3506229"/>
            <a:ext cx="0" cy="4722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69" name="Straight Connector 168">
            <a:extLst>
              <a:ext uri="{FF2B5EF4-FFF2-40B4-BE49-F238E27FC236}">
                <a16:creationId xmlns:a16="http://schemas.microsoft.com/office/drawing/2014/main" id="{F8FF1C1F-F681-5FD7-18FA-D67E1CF5A6C3}"/>
              </a:ext>
            </a:extLst>
          </p:cNvPr>
          <p:cNvCxnSpPr>
            <a:cxnSpLocks/>
          </p:cNvCxnSpPr>
          <p:nvPr/>
        </p:nvCxnSpPr>
        <p:spPr>
          <a:xfrm rot="5400000">
            <a:off x="9100477" y="3505998"/>
            <a:ext cx="0" cy="47683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66" name="Straight Connector 165">
            <a:extLst>
              <a:ext uri="{FF2B5EF4-FFF2-40B4-BE49-F238E27FC236}">
                <a16:creationId xmlns:a16="http://schemas.microsoft.com/office/drawing/2014/main" id="{7AF047AC-5494-2EDB-C23C-7E899FE99615}"/>
              </a:ext>
            </a:extLst>
          </p:cNvPr>
          <p:cNvCxnSpPr>
            <a:cxnSpLocks/>
          </p:cNvCxnSpPr>
          <p:nvPr/>
        </p:nvCxnSpPr>
        <p:spPr>
          <a:xfrm>
            <a:off x="9138794" y="3535506"/>
            <a:ext cx="0" cy="4722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67" name="Straight Connector 166">
            <a:extLst>
              <a:ext uri="{FF2B5EF4-FFF2-40B4-BE49-F238E27FC236}">
                <a16:creationId xmlns:a16="http://schemas.microsoft.com/office/drawing/2014/main" id="{42B8A7D0-D9FE-EF03-D0B8-2C815894AC09}"/>
              </a:ext>
            </a:extLst>
          </p:cNvPr>
          <p:cNvCxnSpPr>
            <a:cxnSpLocks/>
          </p:cNvCxnSpPr>
          <p:nvPr/>
        </p:nvCxnSpPr>
        <p:spPr>
          <a:xfrm rot="5400000">
            <a:off x="9138794" y="3535275"/>
            <a:ext cx="0" cy="47683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64" name="Straight Connector 163">
            <a:extLst>
              <a:ext uri="{FF2B5EF4-FFF2-40B4-BE49-F238E27FC236}">
                <a16:creationId xmlns:a16="http://schemas.microsoft.com/office/drawing/2014/main" id="{C664E90E-2EC0-E98A-E732-774C2D7D9171}"/>
              </a:ext>
            </a:extLst>
          </p:cNvPr>
          <p:cNvCxnSpPr>
            <a:cxnSpLocks/>
          </p:cNvCxnSpPr>
          <p:nvPr/>
        </p:nvCxnSpPr>
        <p:spPr>
          <a:xfrm>
            <a:off x="9187887" y="3535506"/>
            <a:ext cx="0" cy="4722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65" name="Straight Connector 164">
            <a:extLst>
              <a:ext uri="{FF2B5EF4-FFF2-40B4-BE49-F238E27FC236}">
                <a16:creationId xmlns:a16="http://schemas.microsoft.com/office/drawing/2014/main" id="{8DC87AAD-D0C0-F777-11B2-CCD3F3E4B49C}"/>
              </a:ext>
            </a:extLst>
          </p:cNvPr>
          <p:cNvCxnSpPr>
            <a:cxnSpLocks/>
          </p:cNvCxnSpPr>
          <p:nvPr/>
        </p:nvCxnSpPr>
        <p:spPr>
          <a:xfrm rot="5400000">
            <a:off x="9187887" y="3535275"/>
            <a:ext cx="0" cy="47683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62" name="Straight Connector 161">
            <a:extLst>
              <a:ext uri="{FF2B5EF4-FFF2-40B4-BE49-F238E27FC236}">
                <a16:creationId xmlns:a16="http://schemas.microsoft.com/office/drawing/2014/main" id="{FC604CB0-9F0F-A943-A660-B2BFD1F6F04E}"/>
              </a:ext>
            </a:extLst>
          </p:cNvPr>
          <p:cNvCxnSpPr>
            <a:cxnSpLocks/>
          </p:cNvCxnSpPr>
          <p:nvPr/>
        </p:nvCxnSpPr>
        <p:spPr>
          <a:xfrm>
            <a:off x="9266916" y="3536672"/>
            <a:ext cx="0" cy="4722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63" name="Straight Connector 162">
            <a:extLst>
              <a:ext uri="{FF2B5EF4-FFF2-40B4-BE49-F238E27FC236}">
                <a16:creationId xmlns:a16="http://schemas.microsoft.com/office/drawing/2014/main" id="{D991323D-4E9A-AD43-3529-EB57579BE1F0}"/>
              </a:ext>
            </a:extLst>
          </p:cNvPr>
          <p:cNvCxnSpPr>
            <a:cxnSpLocks/>
          </p:cNvCxnSpPr>
          <p:nvPr/>
        </p:nvCxnSpPr>
        <p:spPr>
          <a:xfrm rot="5400000">
            <a:off x="9266916" y="3536441"/>
            <a:ext cx="0" cy="47683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60" name="Straight Connector 159">
            <a:extLst>
              <a:ext uri="{FF2B5EF4-FFF2-40B4-BE49-F238E27FC236}">
                <a16:creationId xmlns:a16="http://schemas.microsoft.com/office/drawing/2014/main" id="{D7141134-5C49-4196-7E94-B0A3D88BD01E}"/>
              </a:ext>
            </a:extLst>
          </p:cNvPr>
          <p:cNvCxnSpPr>
            <a:cxnSpLocks/>
          </p:cNvCxnSpPr>
          <p:nvPr/>
        </p:nvCxnSpPr>
        <p:spPr>
          <a:xfrm>
            <a:off x="9308825" y="3535486"/>
            <a:ext cx="0" cy="4722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61" name="Straight Connector 160">
            <a:extLst>
              <a:ext uri="{FF2B5EF4-FFF2-40B4-BE49-F238E27FC236}">
                <a16:creationId xmlns:a16="http://schemas.microsoft.com/office/drawing/2014/main" id="{6B98220B-7F31-77C8-4C69-8238DB1B89F2}"/>
              </a:ext>
            </a:extLst>
          </p:cNvPr>
          <p:cNvCxnSpPr>
            <a:cxnSpLocks/>
          </p:cNvCxnSpPr>
          <p:nvPr/>
        </p:nvCxnSpPr>
        <p:spPr>
          <a:xfrm rot="5400000">
            <a:off x="9308825" y="3535255"/>
            <a:ext cx="0" cy="47683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58" name="Straight Connector 157">
            <a:extLst>
              <a:ext uri="{FF2B5EF4-FFF2-40B4-BE49-F238E27FC236}">
                <a16:creationId xmlns:a16="http://schemas.microsoft.com/office/drawing/2014/main" id="{AEA3FB2B-405D-C49D-75A1-828E0F6A160A}"/>
              </a:ext>
            </a:extLst>
          </p:cNvPr>
          <p:cNvCxnSpPr>
            <a:cxnSpLocks/>
          </p:cNvCxnSpPr>
          <p:nvPr/>
        </p:nvCxnSpPr>
        <p:spPr>
          <a:xfrm>
            <a:off x="9324392" y="3535506"/>
            <a:ext cx="0" cy="4722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59" name="Straight Connector 158">
            <a:extLst>
              <a:ext uri="{FF2B5EF4-FFF2-40B4-BE49-F238E27FC236}">
                <a16:creationId xmlns:a16="http://schemas.microsoft.com/office/drawing/2014/main" id="{43A54288-E28C-851D-8DC5-BCB68809A9BE}"/>
              </a:ext>
            </a:extLst>
          </p:cNvPr>
          <p:cNvCxnSpPr>
            <a:cxnSpLocks/>
          </p:cNvCxnSpPr>
          <p:nvPr/>
        </p:nvCxnSpPr>
        <p:spPr>
          <a:xfrm rot="5400000">
            <a:off x="9324392" y="3535275"/>
            <a:ext cx="0" cy="47683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56" name="Straight Connector 155">
            <a:extLst>
              <a:ext uri="{FF2B5EF4-FFF2-40B4-BE49-F238E27FC236}">
                <a16:creationId xmlns:a16="http://schemas.microsoft.com/office/drawing/2014/main" id="{4101913C-B177-6A4C-07F5-0E39A5657EF5}"/>
              </a:ext>
            </a:extLst>
          </p:cNvPr>
          <p:cNvCxnSpPr>
            <a:cxnSpLocks/>
          </p:cNvCxnSpPr>
          <p:nvPr/>
        </p:nvCxnSpPr>
        <p:spPr>
          <a:xfrm>
            <a:off x="9349537" y="3535506"/>
            <a:ext cx="0" cy="4722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57" name="Straight Connector 156">
            <a:extLst>
              <a:ext uri="{FF2B5EF4-FFF2-40B4-BE49-F238E27FC236}">
                <a16:creationId xmlns:a16="http://schemas.microsoft.com/office/drawing/2014/main" id="{37D18D5D-86FF-5C0F-07DD-3737BB44FC37}"/>
              </a:ext>
            </a:extLst>
          </p:cNvPr>
          <p:cNvCxnSpPr>
            <a:cxnSpLocks/>
          </p:cNvCxnSpPr>
          <p:nvPr/>
        </p:nvCxnSpPr>
        <p:spPr>
          <a:xfrm rot="5400000">
            <a:off x="9349537" y="3535275"/>
            <a:ext cx="0" cy="47683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54" name="Straight Connector 153">
            <a:extLst>
              <a:ext uri="{FF2B5EF4-FFF2-40B4-BE49-F238E27FC236}">
                <a16:creationId xmlns:a16="http://schemas.microsoft.com/office/drawing/2014/main" id="{E500BE49-CF86-E22A-89FB-2D8C7940B8D5}"/>
              </a:ext>
            </a:extLst>
          </p:cNvPr>
          <p:cNvCxnSpPr>
            <a:cxnSpLocks/>
          </p:cNvCxnSpPr>
          <p:nvPr/>
        </p:nvCxnSpPr>
        <p:spPr>
          <a:xfrm>
            <a:off x="9369893" y="3535506"/>
            <a:ext cx="0" cy="4722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55" name="Straight Connector 154">
            <a:extLst>
              <a:ext uri="{FF2B5EF4-FFF2-40B4-BE49-F238E27FC236}">
                <a16:creationId xmlns:a16="http://schemas.microsoft.com/office/drawing/2014/main" id="{A428D59D-6A48-504F-02E7-AB5A63F0FA31}"/>
              </a:ext>
            </a:extLst>
          </p:cNvPr>
          <p:cNvCxnSpPr>
            <a:cxnSpLocks/>
          </p:cNvCxnSpPr>
          <p:nvPr/>
        </p:nvCxnSpPr>
        <p:spPr>
          <a:xfrm rot="5400000">
            <a:off x="9369893" y="3535275"/>
            <a:ext cx="0" cy="47683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52" name="Straight Connector 151">
            <a:extLst>
              <a:ext uri="{FF2B5EF4-FFF2-40B4-BE49-F238E27FC236}">
                <a16:creationId xmlns:a16="http://schemas.microsoft.com/office/drawing/2014/main" id="{4FF53588-7A0A-1353-4EC5-65F067F93237}"/>
              </a:ext>
            </a:extLst>
          </p:cNvPr>
          <p:cNvCxnSpPr>
            <a:cxnSpLocks/>
          </p:cNvCxnSpPr>
          <p:nvPr/>
        </p:nvCxnSpPr>
        <p:spPr>
          <a:xfrm>
            <a:off x="9553096" y="3534840"/>
            <a:ext cx="0" cy="4722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53" name="Straight Connector 152">
            <a:extLst>
              <a:ext uri="{FF2B5EF4-FFF2-40B4-BE49-F238E27FC236}">
                <a16:creationId xmlns:a16="http://schemas.microsoft.com/office/drawing/2014/main" id="{F3ADA204-54AB-2CEB-B125-DD382BB3090A}"/>
              </a:ext>
            </a:extLst>
          </p:cNvPr>
          <p:cNvCxnSpPr>
            <a:cxnSpLocks/>
          </p:cNvCxnSpPr>
          <p:nvPr/>
        </p:nvCxnSpPr>
        <p:spPr>
          <a:xfrm rot="5400000">
            <a:off x="9553096" y="3534609"/>
            <a:ext cx="0" cy="47683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49" name="Straight Connector 148">
            <a:extLst>
              <a:ext uri="{FF2B5EF4-FFF2-40B4-BE49-F238E27FC236}">
                <a16:creationId xmlns:a16="http://schemas.microsoft.com/office/drawing/2014/main" id="{6DE914C3-A557-7F88-5DAD-A146FAC8C0B9}"/>
              </a:ext>
            </a:extLst>
          </p:cNvPr>
          <p:cNvCxnSpPr>
            <a:cxnSpLocks/>
          </p:cNvCxnSpPr>
          <p:nvPr/>
        </p:nvCxnSpPr>
        <p:spPr>
          <a:xfrm>
            <a:off x="9624941" y="3533674"/>
            <a:ext cx="0" cy="4722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50" name="Straight Connector 149">
            <a:extLst>
              <a:ext uri="{FF2B5EF4-FFF2-40B4-BE49-F238E27FC236}">
                <a16:creationId xmlns:a16="http://schemas.microsoft.com/office/drawing/2014/main" id="{2E1AB3D5-A7C5-016E-8913-6D3FD71C2583}"/>
              </a:ext>
            </a:extLst>
          </p:cNvPr>
          <p:cNvCxnSpPr>
            <a:cxnSpLocks/>
          </p:cNvCxnSpPr>
          <p:nvPr/>
        </p:nvCxnSpPr>
        <p:spPr>
          <a:xfrm rot="5400000">
            <a:off x="9624941" y="3533443"/>
            <a:ext cx="0" cy="47683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47" name="Straight Connector 146">
            <a:extLst>
              <a:ext uri="{FF2B5EF4-FFF2-40B4-BE49-F238E27FC236}">
                <a16:creationId xmlns:a16="http://schemas.microsoft.com/office/drawing/2014/main" id="{4738E4F4-5877-ED7F-436E-523BA0A6C74C}"/>
              </a:ext>
            </a:extLst>
          </p:cNvPr>
          <p:cNvCxnSpPr>
            <a:cxnSpLocks/>
          </p:cNvCxnSpPr>
          <p:nvPr/>
        </p:nvCxnSpPr>
        <p:spPr>
          <a:xfrm>
            <a:off x="9730312" y="3535506"/>
            <a:ext cx="0" cy="4722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48" name="Straight Connector 147">
            <a:extLst>
              <a:ext uri="{FF2B5EF4-FFF2-40B4-BE49-F238E27FC236}">
                <a16:creationId xmlns:a16="http://schemas.microsoft.com/office/drawing/2014/main" id="{A47A972F-9D26-DCA8-2ECF-A1C66C4CA35D}"/>
              </a:ext>
            </a:extLst>
          </p:cNvPr>
          <p:cNvCxnSpPr>
            <a:cxnSpLocks/>
          </p:cNvCxnSpPr>
          <p:nvPr/>
        </p:nvCxnSpPr>
        <p:spPr>
          <a:xfrm rot="5400000">
            <a:off x="9730312" y="3535275"/>
            <a:ext cx="0" cy="47683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40" name="Straight Connector 139">
            <a:extLst>
              <a:ext uri="{FF2B5EF4-FFF2-40B4-BE49-F238E27FC236}">
                <a16:creationId xmlns:a16="http://schemas.microsoft.com/office/drawing/2014/main" id="{29FD52AE-2AB7-2F96-9AF7-324628CB4CC7}"/>
              </a:ext>
            </a:extLst>
          </p:cNvPr>
          <p:cNvCxnSpPr>
            <a:cxnSpLocks/>
          </p:cNvCxnSpPr>
          <p:nvPr/>
        </p:nvCxnSpPr>
        <p:spPr>
          <a:xfrm>
            <a:off x="9769827" y="3535506"/>
            <a:ext cx="0" cy="4722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44" name="Straight Connector 143">
            <a:extLst>
              <a:ext uri="{FF2B5EF4-FFF2-40B4-BE49-F238E27FC236}">
                <a16:creationId xmlns:a16="http://schemas.microsoft.com/office/drawing/2014/main" id="{567089EC-7CAF-E46E-F524-A05585494267}"/>
              </a:ext>
            </a:extLst>
          </p:cNvPr>
          <p:cNvCxnSpPr>
            <a:cxnSpLocks/>
          </p:cNvCxnSpPr>
          <p:nvPr/>
        </p:nvCxnSpPr>
        <p:spPr>
          <a:xfrm rot="5400000">
            <a:off x="9769827" y="3535275"/>
            <a:ext cx="0" cy="47683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38" name="Straight Connector 137">
            <a:extLst>
              <a:ext uri="{FF2B5EF4-FFF2-40B4-BE49-F238E27FC236}">
                <a16:creationId xmlns:a16="http://schemas.microsoft.com/office/drawing/2014/main" id="{437B0F45-DB00-E055-91F6-6795E9C5CE7D}"/>
              </a:ext>
            </a:extLst>
          </p:cNvPr>
          <p:cNvCxnSpPr>
            <a:cxnSpLocks/>
          </p:cNvCxnSpPr>
          <p:nvPr/>
        </p:nvCxnSpPr>
        <p:spPr>
          <a:xfrm>
            <a:off x="9792577" y="3535506"/>
            <a:ext cx="0" cy="4722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39" name="Straight Connector 138">
            <a:extLst>
              <a:ext uri="{FF2B5EF4-FFF2-40B4-BE49-F238E27FC236}">
                <a16:creationId xmlns:a16="http://schemas.microsoft.com/office/drawing/2014/main" id="{D6A6B480-4914-4AB9-A0C7-792D56AB43AE}"/>
              </a:ext>
            </a:extLst>
          </p:cNvPr>
          <p:cNvCxnSpPr>
            <a:cxnSpLocks/>
          </p:cNvCxnSpPr>
          <p:nvPr/>
        </p:nvCxnSpPr>
        <p:spPr>
          <a:xfrm rot="5400000">
            <a:off x="9792577" y="3535275"/>
            <a:ext cx="0" cy="47683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36" name="Straight Connector 135">
            <a:extLst>
              <a:ext uri="{FF2B5EF4-FFF2-40B4-BE49-F238E27FC236}">
                <a16:creationId xmlns:a16="http://schemas.microsoft.com/office/drawing/2014/main" id="{E6CEE6B4-853A-5D5D-1750-59AC42711350}"/>
              </a:ext>
            </a:extLst>
          </p:cNvPr>
          <p:cNvCxnSpPr>
            <a:cxnSpLocks/>
          </p:cNvCxnSpPr>
          <p:nvPr/>
        </p:nvCxnSpPr>
        <p:spPr>
          <a:xfrm>
            <a:off x="9811736" y="3535506"/>
            <a:ext cx="0" cy="4722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37" name="Straight Connector 136">
            <a:extLst>
              <a:ext uri="{FF2B5EF4-FFF2-40B4-BE49-F238E27FC236}">
                <a16:creationId xmlns:a16="http://schemas.microsoft.com/office/drawing/2014/main" id="{B99F4340-17D1-54A1-4980-379ACA9348F4}"/>
              </a:ext>
            </a:extLst>
          </p:cNvPr>
          <p:cNvCxnSpPr>
            <a:cxnSpLocks/>
          </p:cNvCxnSpPr>
          <p:nvPr/>
        </p:nvCxnSpPr>
        <p:spPr>
          <a:xfrm rot="5400000">
            <a:off x="9811736" y="3535275"/>
            <a:ext cx="0" cy="47683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34" name="Straight Connector 133">
            <a:extLst>
              <a:ext uri="{FF2B5EF4-FFF2-40B4-BE49-F238E27FC236}">
                <a16:creationId xmlns:a16="http://schemas.microsoft.com/office/drawing/2014/main" id="{D431CA7F-BEA7-03AA-3C5A-CF5A6BC7ED1B}"/>
              </a:ext>
            </a:extLst>
          </p:cNvPr>
          <p:cNvCxnSpPr>
            <a:cxnSpLocks/>
          </p:cNvCxnSpPr>
          <p:nvPr/>
        </p:nvCxnSpPr>
        <p:spPr>
          <a:xfrm>
            <a:off x="9826105" y="3535506"/>
            <a:ext cx="0" cy="4722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35" name="Straight Connector 134">
            <a:extLst>
              <a:ext uri="{FF2B5EF4-FFF2-40B4-BE49-F238E27FC236}">
                <a16:creationId xmlns:a16="http://schemas.microsoft.com/office/drawing/2014/main" id="{9ACE58A3-948F-D422-9F4D-981325F07F41}"/>
              </a:ext>
            </a:extLst>
          </p:cNvPr>
          <p:cNvCxnSpPr>
            <a:cxnSpLocks/>
          </p:cNvCxnSpPr>
          <p:nvPr/>
        </p:nvCxnSpPr>
        <p:spPr>
          <a:xfrm rot="5400000">
            <a:off x="9826105" y="3535275"/>
            <a:ext cx="0" cy="47683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32" name="Straight Connector 131">
            <a:extLst>
              <a:ext uri="{FF2B5EF4-FFF2-40B4-BE49-F238E27FC236}">
                <a16:creationId xmlns:a16="http://schemas.microsoft.com/office/drawing/2014/main" id="{A985A4DE-D4EF-4D23-CB47-EE9EDA695545}"/>
              </a:ext>
            </a:extLst>
          </p:cNvPr>
          <p:cNvCxnSpPr>
            <a:cxnSpLocks/>
          </p:cNvCxnSpPr>
          <p:nvPr/>
        </p:nvCxnSpPr>
        <p:spPr>
          <a:xfrm>
            <a:off x="10053612" y="3699344"/>
            <a:ext cx="0" cy="4722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33" name="Straight Connector 132">
            <a:extLst>
              <a:ext uri="{FF2B5EF4-FFF2-40B4-BE49-F238E27FC236}">
                <a16:creationId xmlns:a16="http://schemas.microsoft.com/office/drawing/2014/main" id="{A3AD001B-6989-9A66-49FA-B628F1314A11}"/>
              </a:ext>
            </a:extLst>
          </p:cNvPr>
          <p:cNvCxnSpPr>
            <a:cxnSpLocks/>
          </p:cNvCxnSpPr>
          <p:nvPr/>
        </p:nvCxnSpPr>
        <p:spPr>
          <a:xfrm rot="5400000">
            <a:off x="10053612" y="3699113"/>
            <a:ext cx="0" cy="47683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08179013"/>
      </p:ext>
    </p:extLst>
  </p:cSld>
  <p:clrMapOvr>
    <a:masterClrMapping/>
  </p:clrMapOvr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FFE4CC5-0078-A60F-8BB0-5F9D966F63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A154F351-97A8-CB4A-FF68-C960031D1F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0647" y="311858"/>
            <a:ext cx="9789459" cy="632402"/>
          </a:xfrm>
        </p:spPr>
        <p:txBody>
          <a:bodyPr>
            <a:noAutofit/>
          </a:bodyPr>
          <a:lstStyle/>
          <a:p>
            <a:r>
              <a:rPr lang="en-GB" sz="3200" dirty="0"/>
              <a:t>Loncastuximab tesirine-rituximab (</a:t>
            </a:r>
            <a:r>
              <a:rPr lang="en-GB" sz="3200" b="1" dirty="0"/>
              <a:t>LOTIS-5</a:t>
            </a:r>
            <a:r>
              <a:rPr lang="en-GB" sz="3200" dirty="0"/>
              <a:t>)</a:t>
            </a:r>
            <a:r>
              <a:rPr lang="en-GB" sz="3200" baseline="30000" dirty="0"/>
              <a:t>1,2,</a:t>
            </a:r>
            <a:r>
              <a:rPr lang="en-GB" sz="3200" dirty="0"/>
              <a:t>*</a:t>
            </a:r>
            <a:endParaRPr lang="en-GB" sz="3200" baseline="30000" dirty="0"/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4C81236C-E2CC-BBCB-3DA5-D5631A099D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651" y="6356350"/>
            <a:ext cx="383694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306B0CF-28DA-4AF7-AD0B-CB9D5901F647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82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7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98DFA3CB-3E44-EFEE-3776-C1DC2009529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70645" y="6087549"/>
            <a:ext cx="10440000" cy="632401"/>
          </a:xfrm>
        </p:spPr>
        <p:txBody>
          <a:bodyPr anchor="b" anchorCtr="0">
            <a:noAutofit/>
          </a:bodyPr>
          <a:lstStyle/>
          <a:p>
            <a:r>
              <a:rPr lang="en-GB" dirty="0"/>
              <a:t>*For scientific discussion only, subject to regulatory approval. </a:t>
            </a:r>
            <a:br>
              <a:rPr lang="en-GB" dirty="0"/>
            </a:br>
            <a:r>
              <a:rPr lang="en-GB" dirty="0"/>
              <a:t>CNS, central nervous system; DLBCL, diffuse large B-cell lymphoma; DH, double-hit; EOT, end of treatment; HGBL, high-grade B-cell lymphoma; HR, hazard ratio; Lonca, loncastuximab tesirine; </a:t>
            </a:r>
            <a:endParaRPr lang="en-CH" dirty="0"/>
          </a:p>
          <a:p>
            <a:r>
              <a:rPr lang="en-GB" dirty="0"/>
              <a:t>OS, overall survival; Q2W, every 2 weeks; Q3W, every 3 weeks; R, rituximab; R/R, relapsed/refractory; TH, triple-hit.</a:t>
            </a:r>
            <a:br>
              <a:rPr lang="en-GB" dirty="0"/>
            </a:br>
            <a:r>
              <a:rPr lang="en-GB" b="1" dirty="0"/>
              <a:t>1. </a:t>
            </a:r>
            <a:r>
              <a:rPr lang="en-GB" dirty="0"/>
              <a:t>Clinicaltrials.gov NCT04384484. </a:t>
            </a:r>
            <a:r>
              <a:rPr lang="en-GB" b="1" dirty="0"/>
              <a:t>2.</a:t>
            </a:r>
            <a:r>
              <a:rPr lang="en-GB" dirty="0"/>
              <a:t> </a:t>
            </a:r>
            <a:r>
              <a:rPr lang="en-GB" dirty="0">
                <a:ea typeface="+mn-lt"/>
                <a:cs typeface="+mn-lt"/>
              </a:rPr>
              <a:t>ADC therapeutics Press release, 3 June 2026.</a:t>
            </a:r>
          </a:p>
        </p:txBody>
      </p:sp>
      <p:sp>
        <p:nvSpPr>
          <p:cNvPr id="66" name="object 44">
            <a:extLst>
              <a:ext uri="{FF2B5EF4-FFF2-40B4-BE49-F238E27FC236}">
                <a16:creationId xmlns:a16="http://schemas.microsoft.com/office/drawing/2014/main" id="{B780C23F-8B9B-07F1-2CBA-B4DA3BBD0F9E}"/>
              </a:ext>
            </a:extLst>
          </p:cNvPr>
          <p:cNvSpPr txBox="1"/>
          <p:nvPr/>
        </p:nvSpPr>
        <p:spPr>
          <a:xfrm>
            <a:off x="4274381" y="3001569"/>
            <a:ext cx="3774680" cy="914216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2700">
            <a:solidFill>
              <a:schemeClr val="bg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5" name="object 44">
            <a:extLst>
              <a:ext uri="{FF2B5EF4-FFF2-40B4-BE49-F238E27FC236}">
                <a16:creationId xmlns:a16="http://schemas.microsoft.com/office/drawing/2014/main" id="{9B149568-78A4-4758-6C9E-46D346A2F196}"/>
              </a:ext>
            </a:extLst>
          </p:cNvPr>
          <p:cNvSpPr txBox="1"/>
          <p:nvPr/>
        </p:nvSpPr>
        <p:spPr>
          <a:xfrm>
            <a:off x="6295378" y="1915718"/>
            <a:ext cx="1753682" cy="91421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4" name="object 44">
            <a:extLst>
              <a:ext uri="{FF2B5EF4-FFF2-40B4-BE49-F238E27FC236}">
                <a16:creationId xmlns:a16="http://schemas.microsoft.com/office/drawing/2014/main" id="{D7F73C75-1CDB-7654-69BD-2A9B7FDFBE82}"/>
              </a:ext>
            </a:extLst>
          </p:cNvPr>
          <p:cNvSpPr txBox="1"/>
          <p:nvPr/>
        </p:nvSpPr>
        <p:spPr>
          <a:xfrm>
            <a:off x="4274380" y="1915718"/>
            <a:ext cx="1753682" cy="91421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" name="object 15">
            <a:extLst>
              <a:ext uri="{FF2B5EF4-FFF2-40B4-BE49-F238E27FC236}">
                <a16:creationId xmlns:a16="http://schemas.microsoft.com/office/drawing/2014/main" id="{4F5CF357-07D2-5E08-E19E-381D5642270D}"/>
              </a:ext>
            </a:extLst>
          </p:cNvPr>
          <p:cNvSpPr txBox="1"/>
          <p:nvPr/>
        </p:nvSpPr>
        <p:spPr>
          <a:xfrm>
            <a:off x="8929245" y="1915717"/>
            <a:ext cx="2322955" cy="200006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90000"/>
              </a:lnSpc>
              <a:spcBef>
                <a:spcPts val="80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55600" indent="-173038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539750" indent="-18415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722313" indent="-182563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895350" indent="-173038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Calibri" panose="020F0502020204030204" pitchFamily="34" charset="0"/>
              </a:rPr>
              <a:t>For both parts of the study, irrespective of disease status, patients will be followed for up to 4 years after EOT until withdrawal of consent, loss to follow-up, or death – whichever occurs first</a:t>
            </a:r>
          </a:p>
        </p:txBody>
      </p:sp>
      <p:sp>
        <p:nvSpPr>
          <p:cNvPr id="39" name="object 44">
            <a:extLst>
              <a:ext uri="{FF2B5EF4-FFF2-40B4-BE49-F238E27FC236}">
                <a16:creationId xmlns:a16="http://schemas.microsoft.com/office/drawing/2014/main" id="{851AC48D-6A2D-B4B9-44B2-271226FDA3DF}"/>
              </a:ext>
            </a:extLst>
          </p:cNvPr>
          <p:cNvSpPr txBox="1"/>
          <p:nvPr/>
        </p:nvSpPr>
        <p:spPr>
          <a:xfrm rot="16200000">
            <a:off x="2642839" y="2657571"/>
            <a:ext cx="2000067" cy="51636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andomised 1:1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=440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4" name="object 7">
            <a:extLst>
              <a:ext uri="{FF2B5EF4-FFF2-40B4-BE49-F238E27FC236}">
                <a16:creationId xmlns:a16="http://schemas.microsoft.com/office/drawing/2014/main" id="{13C5D074-8759-F2D5-12D7-4B14477B2248}"/>
              </a:ext>
            </a:extLst>
          </p:cNvPr>
          <p:cNvSpPr txBox="1"/>
          <p:nvPr/>
        </p:nvSpPr>
        <p:spPr>
          <a:xfrm>
            <a:off x="3378383" y="1344536"/>
            <a:ext cx="5356669" cy="366956"/>
          </a:xfrm>
          <a:prstGeom prst="chevron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sv-SE"/>
            </a:defPPr>
            <a:lvl1pPr algn="ctr">
              <a:defRPr sz="14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reatment period</a:t>
            </a:r>
          </a:p>
        </p:txBody>
      </p:sp>
      <p:sp>
        <p:nvSpPr>
          <p:cNvPr id="45" name="object 7">
            <a:extLst>
              <a:ext uri="{FF2B5EF4-FFF2-40B4-BE49-F238E27FC236}">
                <a16:creationId xmlns:a16="http://schemas.microsoft.com/office/drawing/2014/main" id="{DFADBC24-3824-72ED-7EF7-194468A4DF7A}"/>
              </a:ext>
            </a:extLst>
          </p:cNvPr>
          <p:cNvSpPr txBox="1"/>
          <p:nvPr/>
        </p:nvSpPr>
        <p:spPr>
          <a:xfrm>
            <a:off x="8643938" y="1344536"/>
            <a:ext cx="2781299" cy="366956"/>
          </a:xfrm>
          <a:prstGeom prst="chevron">
            <a:avLst/>
          </a:prstGeom>
          <a:solidFill>
            <a:schemeClr val="bg2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sv-SE"/>
            </a:defPPr>
            <a:lvl1pPr algn="ctr">
              <a:defRPr sz="14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Follow-up period</a:t>
            </a:r>
          </a:p>
        </p:txBody>
      </p:sp>
      <p:sp>
        <p:nvSpPr>
          <p:cNvPr id="46" name="object 15">
            <a:extLst>
              <a:ext uri="{FF2B5EF4-FFF2-40B4-BE49-F238E27FC236}">
                <a16:creationId xmlns:a16="http://schemas.microsoft.com/office/drawing/2014/main" id="{73A8E615-E0CE-1EED-958B-1915FFDCB9EC}"/>
              </a:ext>
            </a:extLst>
          </p:cNvPr>
          <p:cNvSpPr txBox="1"/>
          <p:nvPr/>
        </p:nvSpPr>
        <p:spPr>
          <a:xfrm rot="5400000" flipH="1">
            <a:off x="7564590" y="2739015"/>
            <a:ext cx="2000067" cy="353472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sv-SE"/>
            </a:defPPr>
            <a:lvl1pPr algn="ctr">
              <a:defRPr sz="14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End of treatment</a:t>
            </a:r>
          </a:p>
        </p:txBody>
      </p:sp>
      <p:sp>
        <p:nvSpPr>
          <p:cNvPr id="24" name="object 7">
            <a:extLst>
              <a:ext uri="{FF2B5EF4-FFF2-40B4-BE49-F238E27FC236}">
                <a16:creationId xmlns:a16="http://schemas.microsoft.com/office/drawing/2014/main" id="{34DB98BF-DDD1-8CC2-79AF-042DC8144499}"/>
              </a:ext>
            </a:extLst>
          </p:cNvPr>
          <p:cNvSpPr txBox="1"/>
          <p:nvPr/>
        </p:nvSpPr>
        <p:spPr>
          <a:xfrm>
            <a:off x="939799" y="1344536"/>
            <a:ext cx="2529698" cy="366956"/>
          </a:xfrm>
          <a:prstGeom prst="chevron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sv-SE"/>
            </a:defPPr>
            <a:lvl1pPr algn="ctr">
              <a:defRPr sz="14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afety run-in period</a:t>
            </a:r>
          </a:p>
        </p:txBody>
      </p:sp>
      <p:sp>
        <p:nvSpPr>
          <p:cNvPr id="25" name="object 44">
            <a:extLst>
              <a:ext uri="{FF2B5EF4-FFF2-40B4-BE49-F238E27FC236}">
                <a16:creationId xmlns:a16="http://schemas.microsoft.com/office/drawing/2014/main" id="{5FF2F07E-81BB-1101-A76F-57C2915F9FDA}"/>
              </a:ext>
            </a:extLst>
          </p:cNvPr>
          <p:cNvSpPr txBox="1"/>
          <p:nvPr/>
        </p:nvSpPr>
        <p:spPr>
          <a:xfrm rot="16200000">
            <a:off x="147702" y="2707816"/>
            <a:ext cx="2000068" cy="41587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2700"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on-randomised N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=20</a:t>
            </a:r>
          </a:p>
        </p:txBody>
      </p:sp>
      <p:sp>
        <p:nvSpPr>
          <p:cNvPr id="43" name="object 13">
            <a:extLst>
              <a:ext uri="{FF2B5EF4-FFF2-40B4-BE49-F238E27FC236}">
                <a16:creationId xmlns:a16="http://schemas.microsoft.com/office/drawing/2014/main" id="{2ACB97F7-7502-EA48-FAD6-BFFE8C95C35C}"/>
              </a:ext>
            </a:extLst>
          </p:cNvPr>
          <p:cNvSpPr txBox="1"/>
          <p:nvPr/>
        </p:nvSpPr>
        <p:spPr>
          <a:xfrm>
            <a:off x="4295475" y="1662051"/>
            <a:ext cx="730251" cy="10205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90000"/>
              </a:lnSpc>
              <a:spcBef>
                <a:spcPts val="80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55600" indent="-173038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539750" indent="-18415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722313" indent="-182563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895350" indent="-173038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Calibri" panose="020F0502020204030204" pitchFamily="34" charset="0"/>
              </a:rPr>
              <a:t>Lonc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Calibri" panose="020F0502020204030204" pitchFamily="34" charset="0"/>
              </a:rPr>
              <a:t>150 µg/kg</a:t>
            </a:r>
          </a:p>
        </p:txBody>
      </p:sp>
      <p:sp>
        <p:nvSpPr>
          <p:cNvPr id="47" name="object 13">
            <a:extLst>
              <a:ext uri="{FF2B5EF4-FFF2-40B4-BE49-F238E27FC236}">
                <a16:creationId xmlns:a16="http://schemas.microsoft.com/office/drawing/2014/main" id="{DBFB027B-C91F-1202-2902-237B4D772B3E}"/>
              </a:ext>
            </a:extLst>
          </p:cNvPr>
          <p:cNvSpPr txBox="1"/>
          <p:nvPr/>
        </p:nvSpPr>
        <p:spPr>
          <a:xfrm>
            <a:off x="5145152" y="1662051"/>
            <a:ext cx="854131" cy="10205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90000"/>
              </a:lnSpc>
              <a:spcBef>
                <a:spcPts val="80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55600" indent="-173038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539750" indent="-18415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722313" indent="-182563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895350" indent="-173038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Calibri" panose="020F0502020204030204" pitchFamily="34" charset="0"/>
              </a:rPr>
              <a:t>Rituximab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Calibri" panose="020F0502020204030204" pitchFamily="34" charset="0"/>
              </a:rPr>
              <a:t>375 mg/m</a:t>
            </a:r>
            <a:r>
              <a:rPr kumimoji="0" lang="en-GB" sz="1200" b="0" i="0" u="none" strike="noStrike" kern="1200" cap="none" spc="0" normalizeH="0" baseline="3000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Calibri" panose="020F0502020204030204" pitchFamily="34" charset="0"/>
              </a:rPr>
              <a:t>2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ptos" panose="02110004020202020204"/>
              <a:ea typeface="+mn-ea"/>
              <a:cs typeface="Calibri" panose="020F0502020204030204" pitchFamily="34" charset="0"/>
            </a:endParaRPr>
          </a:p>
        </p:txBody>
      </p:sp>
      <p:sp>
        <p:nvSpPr>
          <p:cNvPr id="48" name="object 13">
            <a:extLst>
              <a:ext uri="{FF2B5EF4-FFF2-40B4-BE49-F238E27FC236}">
                <a16:creationId xmlns:a16="http://schemas.microsoft.com/office/drawing/2014/main" id="{10EBA890-B724-659E-F202-7BE857DC26BD}"/>
              </a:ext>
            </a:extLst>
          </p:cNvPr>
          <p:cNvSpPr txBox="1"/>
          <p:nvPr/>
        </p:nvSpPr>
        <p:spPr>
          <a:xfrm>
            <a:off x="4274381" y="2273272"/>
            <a:ext cx="1753682" cy="46348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90000"/>
              </a:lnSpc>
              <a:spcBef>
                <a:spcPts val="80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55600" indent="-173038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539750" indent="-18415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722313" indent="-182563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895350" indent="-173038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Calibri" panose="020F0502020204030204" pitchFamily="34" charset="0"/>
              </a:rPr>
              <a:t>Q3W for 2 cycles</a:t>
            </a:r>
          </a:p>
        </p:txBody>
      </p:sp>
      <p:sp>
        <p:nvSpPr>
          <p:cNvPr id="49" name="object 13">
            <a:extLst>
              <a:ext uri="{FF2B5EF4-FFF2-40B4-BE49-F238E27FC236}">
                <a16:creationId xmlns:a16="http://schemas.microsoft.com/office/drawing/2014/main" id="{BA7E6736-93B5-FACC-7363-BF5A61B431AF}"/>
              </a:ext>
            </a:extLst>
          </p:cNvPr>
          <p:cNvSpPr txBox="1"/>
          <p:nvPr/>
        </p:nvSpPr>
        <p:spPr>
          <a:xfrm>
            <a:off x="4913793" y="1662051"/>
            <a:ext cx="259512" cy="10205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90000"/>
              </a:lnSpc>
              <a:spcBef>
                <a:spcPts val="80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55600" indent="-173038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539750" indent="-18415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722313" indent="-182563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895350" indent="-173038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Calibri" panose="020F0502020204030204" pitchFamily="34" charset="0"/>
              </a:rPr>
              <a:t>+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ptos" panose="02110004020202020204"/>
              <a:ea typeface="+mn-ea"/>
              <a:cs typeface="Calibri" panose="020F0502020204030204" pitchFamily="34" charset="0"/>
            </a:endParaRPr>
          </a:p>
        </p:txBody>
      </p:sp>
      <p:sp>
        <p:nvSpPr>
          <p:cNvPr id="56" name="object 13">
            <a:extLst>
              <a:ext uri="{FF2B5EF4-FFF2-40B4-BE49-F238E27FC236}">
                <a16:creationId xmlns:a16="http://schemas.microsoft.com/office/drawing/2014/main" id="{83478049-2C25-716F-1FEE-A1AE68E08F95}"/>
              </a:ext>
            </a:extLst>
          </p:cNvPr>
          <p:cNvSpPr txBox="1"/>
          <p:nvPr/>
        </p:nvSpPr>
        <p:spPr>
          <a:xfrm>
            <a:off x="6304481" y="1662051"/>
            <a:ext cx="730251" cy="10205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90000"/>
              </a:lnSpc>
              <a:spcBef>
                <a:spcPts val="80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55600" indent="-173038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539750" indent="-18415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722313" indent="-182563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895350" indent="-173038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Calibri" panose="020F0502020204030204" pitchFamily="34" charset="0"/>
              </a:rPr>
              <a:t>Lonc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Calibri" panose="020F0502020204030204" pitchFamily="34" charset="0"/>
              </a:rPr>
              <a:t>75 µg/kg</a:t>
            </a:r>
          </a:p>
        </p:txBody>
      </p:sp>
      <p:sp>
        <p:nvSpPr>
          <p:cNvPr id="57" name="object 13">
            <a:extLst>
              <a:ext uri="{FF2B5EF4-FFF2-40B4-BE49-F238E27FC236}">
                <a16:creationId xmlns:a16="http://schemas.microsoft.com/office/drawing/2014/main" id="{FDA5D5D5-B861-3CC4-879B-CA583142D75E}"/>
              </a:ext>
            </a:extLst>
          </p:cNvPr>
          <p:cNvSpPr txBox="1"/>
          <p:nvPr/>
        </p:nvSpPr>
        <p:spPr>
          <a:xfrm>
            <a:off x="7154158" y="1662051"/>
            <a:ext cx="854131" cy="10205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90000"/>
              </a:lnSpc>
              <a:spcBef>
                <a:spcPts val="80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55600" indent="-173038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539750" indent="-18415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722313" indent="-182563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895350" indent="-173038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Calibri" panose="020F0502020204030204" pitchFamily="34" charset="0"/>
              </a:rPr>
              <a:t>Rituximab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Calibri" panose="020F0502020204030204" pitchFamily="34" charset="0"/>
              </a:rPr>
              <a:t>375 mg/m</a:t>
            </a:r>
            <a:r>
              <a:rPr kumimoji="0" lang="en-GB" sz="1200" b="0" i="0" u="none" strike="noStrike" kern="1200" cap="none" spc="0" normalizeH="0" baseline="3000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Calibri" panose="020F0502020204030204" pitchFamily="34" charset="0"/>
              </a:rPr>
              <a:t>2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ptos" panose="02110004020202020204"/>
              <a:ea typeface="+mn-ea"/>
              <a:cs typeface="Calibri" panose="020F0502020204030204" pitchFamily="34" charset="0"/>
            </a:endParaRPr>
          </a:p>
        </p:txBody>
      </p:sp>
      <p:sp>
        <p:nvSpPr>
          <p:cNvPr id="58" name="object 13">
            <a:extLst>
              <a:ext uri="{FF2B5EF4-FFF2-40B4-BE49-F238E27FC236}">
                <a16:creationId xmlns:a16="http://schemas.microsoft.com/office/drawing/2014/main" id="{991C1E2B-EF0D-3D95-D5A6-5D2210A38C34}"/>
              </a:ext>
            </a:extLst>
          </p:cNvPr>
          <p:cNvSpPr txBox="1"/>
          <p:nvPr/>
        </p:nvSpPr>
        <p:spPr>
          <a:xfrm>
            <a:off x="5954551" y="2366445"/>
            <a:ext cx="2399214" cy="46348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90000"/>
              </a:lnSpc>
              <a:spcBef>
                <a:spcPts val="80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55600" indent="-173038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539750" indent="-18415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722313" indent="-182563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895350" indent="-173038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Calibri" panose="020F0502020204030204" pitchFamily="34" charset="0"/>
              </a:rPr>
              <a:t>Q3W for up to </a:t>
            </a:r>
            <a:b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Calibri" panose="020F0502020204030204" pitchFamily="34" charset="0"/>
              </a:rPr>
            </a:b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Calibri" panose="020F0502020204030204" pitchFamily="34" charset="0"/>
              </a:rPr>
              <a:t>6 additional cycles</a:t>
            </a:r>
          </a:p>
        </p:txBody>
      </p:sp>
      <p:sp>
        <p:nvSpPr>
          <p:cNvPr id="59" name="object 13">
            <a:extLst>
              <a:ext uri="{FF2B5EF4-FFF2-40B4-BE49-F238E27FC236}">
                <a16:creationId xmlns:a16="http://schemas.microsoft.com/office/drawing/2014/main" id="{DC8F07E5-B218-688F-C36C-0515B5B514CB}"/>
              </a:ext>
            </a:extLst>
          </p:cNvPr>
          <p:cNvSpPr txBox="1"/>
          <p:nvPr/>
        </p:nvSpPr>
        <p:spPr>
          <a:xfrm>
            <a:off x="6922799" y="1662051"/>
            <a:ext cx="259512" cy="10205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90000"/>
              </a:lnSpc>
              <a:spcBef>
                <a:spcPts val="80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55600" indent="-173038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539750" indent="-18415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722313" indent="-182563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895350" indent="-173038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Calibri" panose="020F0502020204030204" pitchFamily="34" charset="0"/>
              </a:rPr>
              <a:t>+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ptos" panose="02110004020202020204"/>
              <a:ea typeface="+mn-ea"/>
              <a:cs typeface="Calibri" panose="020F0502020204030204" pitchFamily="34" charset="0"/>
            </a:endParaRPr>
          </a:p>
        </p:txBody>
      </p:sp>
      <p:sp>
        <p:nvSpPr>
          <p:cNvPr id="51" name="object 14">
            <a:extLst>
              <a:ext uri="{FF2B5EF4-FFF2-40B4-BE49-F238E27FC236}">
                <a16:creationId xmlns:a16="http://schemas.microsoft.com/office/drawing/2014/main" id="{AB27A9C0-D50C-46E7-39DC-13F84FB8E523}"/>
              </a:ext>
            </a:extLst>
          </p:cNvPr>
          <p:cNvSpPr txBox="1"/>
          <p:nvPr/>
        </p:nvSpPr>
        <p:spPr>
          <a:xfrm>
            <a:off x="4680918" y="2727236"/>
            <a:ext cx="854131" cy="10205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90000"/>
              </a:lnSpc>
              <a:spcBef>
                <a:spcPts val="80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55600" indent="-173038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539750" indent="-18415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722313" indent="-182563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895350" indent="-173038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Calibri" panose="020F0502020204030204" pitchFamily="34" charset="0"/>
              </a:rPr>
              <a:t>Rituximab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Calibri" panose="020F0502020204030204" pitchFamily="34" charset="0"/>
              </a:rPr>
              <a:t>375 mg/m</a:t>
            </a:r>
            <a:r>
              <a:rPr kumimoji="0" lang="en-GB" sz="1200" b="0" i="0" u="none" strike="noStrike" kern="1200" cap="none" spc="0" normalizeH="0" baseline="3000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Calibri" panose="020F0502020204030204" pitchFamily="34" charset="0"/>
              </a:rPr>
              <a:t>2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ptos" panose="02110004020202020204"/>
              <a:ea typeface="+mn-ea"/>
              <a:cs typeface="Calibri" panose="020F0502020204030204" pitchFamily="34" charset="0"/>
            </a:endParaRPr>
          </a:p>
        </p:txBody>
      </p:sp>
      <p:sp>
        <p:nvSpPr>
          <p:cNvPr id="52" name="object 14">
            <a:extLst>
              <a:ext uri="{FF2B5EF4-FFF2-40B4-BE49-F238E27FC236}">
                <a16:creationId xmlns:a16="http://schemas.microsoft.com/office/drawing/2014/main" id="{990BAA7A-CADB-9DB7-EF0F-F1FE4D582F6B}"/>
              </a:ext>
            </a:extLst>
          </p:cNvPr>
          <p:cNvSpPr txBox="1"/>
          <p:nvPr/>
        </p:nvSpPr>
        <p:spPr>
          <a:xfrm>
            <a:off x="5790538" y="2727236"/>
            <a:ext cx="1047387" cy="10205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90000"/>
              </a:lnSpc>
              <a:spcBef>
                <a:spcPts val="80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55600" indent="-173038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539750" indent="-18415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722313" indent="-182563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895350" indent="-173038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Calibri" panose="020F0502020204030204" pitchFamily="34" charset="0"/>
              </a:rPr>
              <a:t>Gemcitabin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Calibri" panose="020F0502020204030204" pitchFamily="34" charset="0"/>
              </a:rPr>
              <a:t>1,000 mg/m</a:t>
            </a:r>
            <a:r>
              <a:rPr kumimoji="0" lang="en-GB" sz="1200" b="0" i="0" u="none" strike="noStrike" kern="1200" cap="none" spc="0" normalizeH="0" baseline="3000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Calibri" panose="020F0502020204030204" pitchFamily="34" charset="0"/>
              </a:rPr>
              <a:t>2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ptos" panose="02110004020202020204"/>
              <a:ea typeface="+mn-ea"/>
              <a:cs typeface="Calibri" panose="020F0502020204030204" pitchFamily="34" charset="0"/>
            </a:endParaRPr>
          </a:p>
        </p:txBody>
      </p:sp>
      <p:sp>
        <p:nvSpPr>
          <p:cNvPr id="53" name="object 14">
            <a:extLst>
              <a:ext uri="{FF2B5EF4-FFF2-40B4-BE49-F238E27FC236}">
                <a16:creationId xmlns:a16="http://schemas.microsoft.com/office/drawing/2014/main" id="{700857E0-DD9C-E196-40CE-4C545B571D67}"/>
              </a:ext>
            </a:extLst>
          </p:cNvPr>
          <p:cNvSpPr txBox="1"/>
          <p:nvPr/>
        </p:nvSpPr>
        <p:spPr>
          <a:xfrm>
            <a:off x="4790407" y="3452296"/>
            <a:ext cx="3133813" cy="46348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90000"/>
              </a:lnSpc>
              <a:spcBef>
                <a:spcPts val="80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55600" indent="-173038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539750" indent="-18415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722313" indent="-182563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895350" indent="-173038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Calibri" panose="020F0502020204030204" pitchFamily="34" charset="0"/>
              </a:rPr>
              <a:t>Q2W for up to 8 cycles</a:t>
            </a:r>
          </a:p>
        </p:txBody>
      </p:sp>
      <p:sp>
        <p:nvSpPr>
          <p:cNvPr id="54" name="object 14">
            <a:extLst>
              <a:ext uri="{FF2B5EF4-FFF2-40B4-BE49-F238E27FC236}">
                <a16:creationId xmlns:a16="http://schemas.microsoft.com/office/drawing/2014/main" id="{FFCCE9CD-20E9-FF35-EBB3-AF50CE20C5F5}"/>
              </a:ext>
            </a:extLst>
          </p:cNvPr>
          <p:cNvSpPr txBox="1"/>
          <p:nvPr/>
        </p:nvSpPr>
        <p:spPr>
          <a:xfrm>
            <a:off x="5535049" y="2727236"/>
            <a:ext cx="259512" cy="10205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90000"/>
              </a:lnSpc>
              <a:spcBef>
                <a:spcPts val="80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55600" indent="-173038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539750" indent="-18415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722313" indent="-182563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895350" indent="-173038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Calibri" panose="020F0502020204030204" pitchFamily="34" charset="0"/>
              </a:rPr>
              <a:t>+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ptos" panose="02110004020202020204"/>
              <a:ea typeface="+mn-ea"/>
              <a:cs typeface="Calibri" panose="020F0502020204030204" pitchFamily="34" charset="0"/>
            </a:endParaRPr>
          </a:p>
        </p:txBody>
      </p:sp>
      <p:sp>
        <p:nvSpPr>
          <p:cNvPr id="60" name="object 14">
            <a:extLst>
              <a:ext uri="{FF2B5EF4-FFF2-40B4-BE49-F238E27FC236}">
                <a16:creationId xmlns:a16="http://schemas.microsoft.com/office/drawing/2014/main" id="{FC521065-A8D9-0997-5815-D82F2B6F1B90}"/>
              </a:ext>
            </a:extLst>
          </p:cNvPr>
          <p:cNvSpPr txBox="1"/>
          <p:nvPr/>
        </p:nvSpPr>
        <p:spPr>
          <a:xfrm>
            <a:off x="7075774" y="2727236"/>
            <a:ext cx="932515" cy="10205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90000"/>
              </a:lnSpc>
              <a:spcBef>
                <a:spcPts val="80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55600" indent="-173038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539750" indent="-18415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722313" indent="-182563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895350" indent="-173038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Calibri" panose="020F0502020204030204" pitchFamily="34" charset="0"/>
              </a:rPr>
              <a:t>Oxaliplatin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Calibri" panose="020F0502020204030204" pitchFamily="34" charset="0"/>
              </a:rPr>
              <a:t>100 mg/m</a:t>
            </a:r>
            <a:r>
              <a:rPr kumimoji="0" lang="en-GB" sz="1200" b="0" i="0" u="none" strike="noStrike" kern="1200" cap="none" spc="0" normalizeH="0" baseline="3000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Calibri" panose="020F0502020204030204" pitchFamily="34" charset="0"/>
              </a:rPr>
              <a:t>2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ptos" panose="02110004020202020204"/>
              <a:ea typeface="+mn-ea"/>
              <a:cs typeface="Calibri" panose="020F0502020204030204" pitchFamily="34" charset="0"/>
            </a:endParaRPr>
          </a:p>
        </p:txBody>
      </p:sp>
      <p:sp>
        <p:nvSpPr>
          <p:cNvPr id="61" name="object 14">
            <a:extLst>
              <a:ext uri="{FF2B5EF4-FFF2-40B4-BE49-F238E27FC236}">
                <a16:creationId xmlns:a16="http://schemas.microsoft.com/office/drawing/2014/main" id="{6A924BEF-DDFD-F473-DCF7-9B4BB42D9760}"/>
              </a:ext>
            </a:extLst>
          </p:cNvPr>
          <p:cNvSpPr txBox="1"/>
          <p:nvPr/>
        </p:nvSpPr>
        <p:spPr>
          <a:xfrm>
            <a:off x="6829735" y="2727236"/>
            <a:ext cx="259512" cy="10205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90000"/>
              </a:lnSpc>
              <a:spcBef>
                <a:spcPts val="80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55600" indent="-173038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539750" indent="-18415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722313" indent="-182563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895350" indent="-173038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Calibri" panose="020F0502020204030204" pitchFamily="34" charset="0"/>
              </a:rPr>
              <a:t>+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ptos" panose="02110004020202020204"/>
              <a:ea typeface="+mn-ea"/>
              <a:cs typeface="Calibri" panose="020F0502020204030204" pitchFamily="34" charset="0"/>
            </a:endParaRPr>
          </a:p>
        </p:txBody>
      </p:sp>
      <p:sp>
        <p:nvSpPr>
          <p:cNvPr id="62" name="object 14">
            <a:extLst>
              <a:ext uri="{FF2B5EF4-FFF2-40B4-BE49-F238E27FC236}">
                <a16:creationId xmlns:a16="http://schemas.microsoft.com/office/drawing/2014/main" id="{A01CD02C-B8AE-77D4-6F1B-95DE443E538F}"/>
              </a:ext>
            </a:extLst>
          </p:cNvPr>
          <p:cNvSpPr txBox="1"/>
          <p:nvPr/>
        </p:nvSpPr>
        <p:spPr>
          <a:xfrm rot="16200000">
            <a:off x="4109641" y="3326036"/>
            <a:ext cx="854131" cy="2595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90000"/>
              </a:lnSpc>
              <a:spcBef>
                <a:spcPts val="80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55600" indent="-173038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539750" indent="-18415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722313" indent="-182563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895350" indent="-173038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00" b="1" i="0" u="sng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Calibri" panose="020F0502020204030204" pitchFamily="34" charset="0"/>
              </a:rPr>
              <a:t>R-GemOx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200" b="1" i="0" u="sng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ptos" panose="02110004020202020204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88" name="Straight Arrow Connector 87">
            <a:extLst>
              <a:ext uri="{FF2B5EF4-FFF2-40B4-BE49-F238E27FC236}">
                <a16:creationId xmlns:a16="http://schemas.microsoft.com/office/drawing/2014/main" id="{45284A2D-75C9-1BE9-38CF-18E21E11B84C}"/>
              </a:ext>
            </a:extLst>
          </p:cNvPr>
          <p:cNvCxnSpPr>
            <a:cxnSpLocks/>
          </p:cNvCxnSpPr>
          <p:nvPr/>
        </p:nvCxnSpPr>
        <p:spPr>
          <a:xfrm>
            <a:off x="8049060" y="2372826"/>
            <a:ext cx="338827" cy="0"/>
          </a:xfrm>
          <a:prstGeom prst="straightConnector1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Straight Arrow Connector 89">
            <a:extLst>
              <a:ext uri="{FF2B5EF4-FFF2-40B4-BE49-F238E27FC236}">
                <a16:creationId xmlns:a16="http://schemas.microsoft.com/office/drawing/2014/main" id="{93E8289F-C561-E17E-29D7-6CE9F4AE779B}"/>
              </a:ext>
            </a:extLst>
          </p:cNvPr>
          <p:cNvCxnSpPr>
            <a:cxnSpLocks/>
          </p:cNvCxnSpPr>
          <p:nvPr/>
        </p:nvCxnSpPr>
        <p:spPr>
          <a:xfrm>
            <a:off x="8049061" y="3458677"/>
            <a:ext cx="338826" cy="0"/>
          </a:xfrm>
          <a:prstGeom prst="straightConnector1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object 44">
            <a:extLst>
              <a:ext uri="{FF2B5EF4-FFF2-40B4-BE49-F238E27FC236}">
                <a16:creationId xmlns:a16="http://schemas.microsoft.com/office/drawing/2014/main" id="{8D87CCAE-E2A8-9CE3-19CD-09218F60186E}"/>
              </a:ext>
            </a:extLst>
          </p:cNvPr>
          <p:cNvSpPr txBox="1"/>
          <p:nvPr/>
        </p:nvSpPr>
        <p:spPr>
          <a:xfrm>
            <a:off x="1475967" y="1915718"/>
            <a:ext cx="1753682" cy="74059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2700"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5" name="object 13">
            <a:extLst>
              <a:ext uri="{FF2B5EF4-FFF2-40B4-BE49-F238E27FC236}">
                <a16:creationId xmlns:a16="http://schemas.microsoft.com/office/drawing/2014/main" id="{EEF9AB15-48A9-DD2D-5013-A94910F3343B}"/>
              </a:ext>
            </a:extLst>
          </p:cNvPr>
          <p:cNvSpPr txBox="1"/>
          <p:nvPr/>
        </p:nvSpPr>
        <p:spPr>
          <a:xfrm>
            <a:off x="1497062" y="1662051"/>
            <a:ext cx="730251" cy="10205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90000"/>
              </a:lnSpc>
              <a:spcBef>
                <a:spcPts val="80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55600" indent="-173038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539750" indent="-18415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722313" indent="-182563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895350" indent="-173038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Calibri" panose="020F0502020204030204" pitchFamily="34" charset="0"/>
              </a:rPr>
              <a:t>Lonc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Calibri" panose="020F0502020204030204" pitchFamily="34" charset="0"/>
              </a:rPr>
              <a:t>150 µg/kg</a:t>
            </a:r>
          </a:p>
        </p:txBody>
      </p:sp>
      <p:sp>
        <p:nvSpPr>
          <p:cNvPr id="96" name="object 13">
            <a:extLst>
              <a:ext uri="{FF2B5EF4-FFF2-40B4-BE49-F238E27FC236}">
                <a16:creationId xmlns:a16="http://schemas.microsoft.com/office/drawing/2014/main" id="{1FB63A42-DD07-32FE-499F-E3F90BB314D2}"/>
              </a:ext>
            </a:extLst>
          </p:cNvPr>
          <p:cNvSpPr txBox="1"/>
          <p:nvPr/>
        </p:nvSpPr>
        <p:spPr>
          <a:xfrm>
            <a:off x="2346739" y="1662051"/>
            <a:ext cx="854131" cy="10205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90000"/>
              </a:lnSpc>
              <a:spcBef>
                <a:spcPts val="80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55600" indent="-173038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539750" indent="-18415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722313" indent="-182563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895350" indent="-173038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Calibri" panose="020F0502020204030204" pitchFamily="34" charset="0"/>
              </a:rPr>
              <a:t>Rituximab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Calibri" panose="020F0502020204030204" pitchFamily="34" charset="0"/>
              </a:rPr>
              <a:t>375 mg/m</a:t>
            </a:r>
            <a:r>
              <a:rPr kumimoji="0" lang="en-GB" sz="1200" b="0" i="0" u="none" strike="noStrike" kern="1200" cap="none" spc="0" normalizeH="0" baseline="3000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Calibri" panose="020F0502020204030204" pitchFamily="34" charset="0"/>
              </a:rPr>
              <a:t>2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ptos" panose="02110004020202020204"/>
              <a:ea typeface="+mn-ea"/>
              <a:cs typeface="Calibri" panose="020F0502020204030204" pitchFamily="34" charset="0"/>
            </a:endParaRPr>
          </a:p>
        </p:txBody>
      </p:sp>
      <p:sp>
        <p:nvSpPr>
          <p:cNvPr id="97" name="object 13">
            <a:extLst>
              <a:ext uri="{FF2B5EF4-FFF2-40B4-BE49-F238E27FC236}">
                <a16:creationId xmlns:a16="http://schemas.microsoft.com/office/drawing/2014/main" id="{B1353759-3514-F614-064D-B5410989400D}"/>
              </a:ext>
            </a:extLst>
          </p:cNvPr>
          <p:cNvSpPr txBox="1"/>
          <p:nvPr/>
        </p:nvSpPr>
        <p:spPr>
          <a:xfrm>
            <a:off x="1147132" y="2273272"/>
            <a:ext cx="2399214" cy="46348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90000"/>
              </a:lnSpc>
              <a:spcBef>
                <a:spcPts val="80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55600" indent="-173038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539750" indent="-18415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722313" indent="-182563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895350" indent="-173038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Calibri" panose="020F0502020204030204" pitchFamily="34" charset="0"/>
              </a:rPr>
              <a:t>Q3W for 2 cycles</a:t>
            </a:r>
          </a:p>
        </p:txBody>
      </p:sp>
      <p:sp>
        <p:nvSpPr>
          <p:cNvPr id="98" name="object 13">
            <a:extLst>
              <a:ext uri="{FF2B5EF4-FFF2-40B4-BE49-F238E27FC236}">
                <a16:creationId xmlns:a16="http://schemas.microsoft.com/office/drawing/2014/main" id="{6FDE803E-7167-B997-62E0-F350B2698EB8}"/>
              </a:ext>
            </a:extLst>
          </p:cNvPr>
          <p:cNvSpPr txBox="1"/>
          <p:nvPr/>
        </p:nvSpPr>
        <p:spPr>
          <a:xfrm>
            <a:off x="2115380" y="1662051"/>
            <a:ext cx="259512" cy="10205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90000"/>
              </a:lnSpc>
              <a:spcBef>
                <a:spcPts val="80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55600" indent="-173038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539750" indent="-18415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722313" indent="-182563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895350" indent="-173038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Calibri" panose="020F0502020204030204" pitchFamily="34" charset="0"/>
              </a:rPr>
              <a:t>+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ptos" panose="02110004020202020204"/>
              <a:ea typeface="+mn-ea"/>
              <a:cs typeface="Calibri" panose="020F0502020204030204" pitchFamily="34" charset="0"/>
            </a:endParaRPr>
          </a:p>
        </p:txBody>
      </p:sp>
      <p:sp>
        <p:nvSpPr>
          <p:cNvPr id="92" name="object 44">
            <a:extLst>
              <a:ext uri="{FF2B5EF4-FFF2-40B4-BE49-F238E27FC236}">
                <a16:creationId xmlns:a16="http://schemas.microsoft.com/office/drawing/2014/main" id="{C16FD258-B581-AB6E-E84F-B56E2D52606E}"/>
              </a:ext>
            </a:extLst>
          </p:cNvPr>
          <p:cNvSpPr txBox="1"/>
          <p:nvPr/>
        </p:nvSpPr>
        <p:spPr>
          <a:xfrm>
            <a:off x="1478434" y="3001020"/>
            <a:ext cx="1753682" cy="91421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2700"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0" name="object 13">
            <a:extLst>
              <a:ext uri="{FF2B5EF4-FFF2-40B4-BE49-F238E27FC236}">
                <a16:creationId xmlns:a16="http://schemas.microsoft.com/office/drawing/2014/main" id="{36442E08-6498-0F27-BCEE-C497A88339ED}"/>
              </a:ext>
            </a:extLst>
          </p:cNvPr>
          <p:cNvSpPr txBox="1"/>
          <p:nvPr/>
        </p:nvSpPr>
        <p:spPr>
          <a:xfrm>
            <a:off x="1487537" y="2747353"/>
            <a:ext cx="730251" cy="10205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90000"/>
              </a:lnSpc>
              <a:spcBef>
                <a:spcPts val="80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55600" indent="-173038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539750" indent="-18415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722313" indent="-182563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895350" indent="-173038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Calibri" panose="020F0502020204030204" pitchFamily="34" charset="0"/>
              </a:rPr>
              <a:t>Lonc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Calibri" panose="020F0502020204030204" pitchFamily="34" charset="0"/>
              </a:rPr>
              <a:t>75 µg/kg</a:t>
            </a:r>
          </a:p>
        </p:txBody>
      </p:sp>
      <p:sp>
        <p:nvSpPr>
          <p:cNvPr id="101" name="object 13">
            <a:extLst>
              <a:ext uri="{FF2B5EF4-FFF2-40B4-BE49-F238E27FC236}">
                <a16:creationId xmlns:a16="http://schemas.microsoft.com/office/drawing/2014/main" id="{311B9BDA-BBA8-864E-F678-9C82F97CF4B0}"/>
              </a:ext>
            </a:extLst>
          </p:cNvPr>
          <p:cNvSpPr txBox="1"/>
          <p:nvPr/>
        </p:nvSpPr>
        <p:spPr>
          <a:xfrm>
            <a:off x="2337214" y="2747353"/>
            <a:ext cx="854131" cy="10205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90000"/>
              </a:lnSpc>
              <a:spcBef>
                <a:spcPts val="80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55600" indent="-173038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539750" indent="-18415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722313" indent="-182563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895350" indent="-173038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Calibri" panose="020F0502020204030204" pitchFamily="34" charset="0"/>
              </a:rPr>
              <a:t>Rituximab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Calibri" panose="020F0502020204030204" pitchFamily="34" charset="0"/>
              </a:rPr>
              <a:t>375 mg/m</a:t>
            </a:r>
            <a:r>
              <a:rPr kumimoji="0" lang="en-GB" sz="1200" b="0" i="0" u="none" strike="noStrike" kern="1200" cap="none" spc="0" normalizeH="0" baseline="3000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Calibri" panose="020F0502020204030204" pitchFamily="34" charset="0"/>
              </a:rPr>
              <a:t>2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ptos" panose="02110004020202020204"/>
              <a:ea typeface="+mn-ea"/>
              <a:cs typeface="Calibri" panose="020F0502020204030204" pitchFamily="34" charset="0"/>
            </a:endParaRPr>
          </a:p>
        </p:txBody>
      </p:sp>
      <p:sp>
        <p:nvSpPr>
          <p:cNvPr id="102" name="object 13">
            <a:extLst>
              <a:ext uri="{FF2B5EF4-FFF2-40B4-BE49-F238E27FC236}">
                <a16:creationId xmlns:a16="http://schemas.microsoft.com/office/drawing/2014/main" id="{1AE4B16D-8FCB-271B-DC1D-2FF217CA3E00}"/>
              </a:ext>
            </a:extLst>
          </p:cNvPr>
          <p:cNvSpPr txBox="1"/>
          <p:nvPr/>
        </p:nvSpPr>
        <p:spPr>
          <a:xfrm>
            <a:off x="1137607" y="3451747"/>
            <a:ext cx="2399214" cy="46348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90000"/>
              </a:lnSpc>
              <a:spcBef>
                <a:spcPts val="80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55600" indent="-173038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539750" indent="-18415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722313" indent="-182563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895350" indent="-173038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Calibri" panose="020F0502020204030204" pitchFamily="34" charset="0"/>
              </a:rPr>
              <a:t>Q3W for up to </a:t>
            </a:r>
            <a:b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Calibri" panose="020F0502020204030204" pitchFamily="34" charset="0"/>
              </a:rPr>
            </a:b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Calibri" panose="020F0502020204030204" pitchFamily="34" charset="0"/>
              </a:rPr>
              <a:t>6 additional cycles</a:t>
            </a:r>
          </a:p>
        </p:txBody>
      </p:sp>
      <p:sp>
        <p:nvSpPr>
          <p:cNvPr id="103" name="object 13">
            <a:extLst>
              <a:ext uri="{FF2B5EF4-FFF2-40B4-BE49-F238E27FC236}">
                <a16:creationId xmlns:a16="http://schemas.microsoft.com/office/drawing/2014/main" id="{0CF71D67-187F-5E48-46E1-611235246C1F}"/>
              </a:ext>
            </a:extLst>
          </p:cNvPr>
          <p:cNvSpPr txBox="1"/>
          <p:nvPr/>
        </p:nvSpPr>
        <p:spPr>
          <a:xfrm>
            <a:off x="2105855" y="2747353"/>
            <a:ext cx="259512" cy="10205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90000"/>
              </a:lnSpc>
              <a:spcBef>
                <a:spcPts val="80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55600" indent="-173038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539750" indent="-18415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722313" indent="-182563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895350" indent="-173038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Calibri" panose="020F0502020204030204" pitchFamily="34" charset="0"/>
              </a:rPr>
              <a:t>+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ptos" panose="02110004020202020204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104" name="Straight Arrow Connector 103">
            <a:extLst>
              <a:ext uri="{FF2B5EF4-FFF2-40B4-BE49-F238E27FC236}">
                <a16:creationId xmlns:a16="http://schemas.microsoft.com/office/drawing/2014/main" id="{8B367A33-EFAF-C73B-4E75-7E96E0F93D9B}"/>
              </a:ext>
            </a:extLst>
          </p:cNvPr>
          <p:cNvCxnSpPr>
            <a:cxnSpLocks/>
          </p:cNvCxnSpPr>
          <p:nvPr/>
        </p:nvCxnSpPr>
        <p:spPr>
          <a:xfrm>
            <a:off x="6028062" y="2372826"/>
            <a:ext cx="267316" cy="0"/>
          </a:xfrm>
          <a:prstGeom prst="straightConnector1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Arrow Connector 109">
            <a:extLst>
              <a:ext uri="{FF2B5EF4-FFF2-40B4-BE49-F238E27FC236}">
                <a16:creationId xmlns:a16="http://schemas.microsoft.com/office/drawing/2014/main" id="{BA3BC4E0-E7FE-202D-95FE-723FBFC8AC82}"/>
              </a:ext>
            </a:extLst>
          </p:cNvPr>
          <p:cNvCxnSpPr>
            <a:cxnSpLocks/>
          </p:cNvCxnSpPr>
          <p:nvPr/>
        </p:nvCxnSpPr>
        <p:spPr>
          <a:xfrm>
            <a:off x="2352808" y="2656315"/>
            <a:ext cx="2467" cy="344705"/>
          </a:xfrm>
          <a:prstGeom prst="straightConnector1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object 48">
            <a:extLst>
              <a:ext uri="{FF2B5EF4-FFF2-40B4-BE49-F238E27FC236}">
                <a16:creationId xmlns:a16="http://schemas.microsoft.com/office/drawing/2014/main" id="{0CDAF11F-C506-E3C9-CEFA-F439CF01F09D}"/>
              </a:ext>
            </a:extLst>
          </p:cNvPr>
          <p:cNvSpPr txBox="1"/>
          <p:nvPr/>
        </p:nvSpPr>
        <p:spPr>
          <a:xfrm>
            <a:off x="766763" y="4360609"/>
            <a:ext cx="8291512" cy="675313"/>
          </a:xfrm>
          <a:prstGeom prst="rect">
            <a:avLst/>
          </a:prstGeom>
          <a:ln w="12700">
            <a:solidFill>
              <a:schemeClr val="accent3"/>
            </a:solidFill>
          </a:ln>
        </p:spPr>
        <p:txBody>
          <a:bodyPr vert="horz" wrap="square" lIns="91440" tIns="45720" rIns="0" bIns="45720" rtlCol="0" anchor="t">
            <a:spAutoFit/>
          </a:bodyPr>
          <a:lstStyle>
            <a:defPPr>
              <a:defRPr lang="en-US"/>
            </a:defPPr>
            <a:lvl1pPr marL="183600" indent="-183600">
              <a:lnSpc>
                <a:spcPct val="90000"/>
              </a:lnSpc>
              <a:spcBef>
                <a:spcPts val="800"/>
              </a:spcBef>
              <a:spcAft>
                <a:spcPts val="800"/>
              </a:spcAft>
              <a:buFont typeface="Arial" panose="020B0604020202020204" pitchFamily="34" charset="0"/>
              <a:buChar char="•"/>
              <a:defRPr sz="1200" b="1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55600" indent="-173038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539750" indent="-18415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722313" indent="-182563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895350" indent="-173038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183600" marR="0" lvl="0" indent="-183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Calibri" panose="020F0502020204030204" pitchFamily="34" charset="0"/>
              </a:rPr>
              <a:t>R/R disease following ≥1 multi-agent systemic treatment</a:t>
            </a:r>
          </a:p>
          <a:p>
            <a:pPr marL="183600" marR="0" lvl="0" indent="-183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Calibri" panose="020F0502020204030204" pitchFamily="34" charset="0"/>
              </a:rPr>
              <a:t>R/R DLBCL and HGBL with DH/TH and transformed DLBCL are eligible</a:t>
            </a:r>
          </a:p>
          <a:p>
            <a:pPr marL="183600" marR="0" lvl="0" indent="-183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Calibri" panose="020F0502020204030204" pitchFamily="34" charset="0"/>
              </a:rPr>
              <a:t>Patients with lymphoma with active CNS involvement and diagnosis of Burkitt lymphoma are excluded</a:t>
            </a:r>
          </a:p>
        </p:txBody>
      </p:sp>
      <p:sp>
        <p:nvSpPr>
          <p:cNvPr id="21" name="object 46">
            <a:extLst>
              <a:ext uri="{FF2B5EF4-FFF2-40B4-BE49-F238E27FC236}">
                <a16:creationId xmlns:a16="http://schemas.microsoft.com/office/drawing/2014/main" id="{14AF7B54-00A3-8F2A-361C-02B34AC4D94C}"/>
              </a:ext>
            </a:extLst>
          </p:cNvPr>
          <p:cNvSpPr txBox="1"/>
          <p:nvPr/>
        </p:nvSpPr>
        <p:spPr>
          <a:xfrm>
            <a:off x="766763" y="4119075"/>
            <a:ext cx="8291512" cy="246888"/>
          </a:xfrm>
          <a:prstGeom prst="rect">
            <a:avLst/>
          </a:prstGeom>
          <a:solidFill>
            <a:schemeClr val="accent3"/>
          </a:solidFill>
          <a:ln w="12700" cap="flat" cmpd="sng" algn="ctr">
            <a:solidFill>
              <a:schemeClr val="accent3"/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>
            <a:defPPr>
              <a:defRPr lang="en-US"/>
            </a:defPPr>
            <a:lvl1pPr algn="ctr">
              <a:defRPr sz="14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tudy population</a:t>
            </a:r>
          </a:p>
        </p:txBody>
      </p:sp>
      <p:sp>
        <p:nvSpPr>
          <p:cNvPr id="30" name="object 48">
            <a:extLst>
              <a:ext uri="{FF2B5EF4-FFF2-40B4-BE49-F238E27FC236}">
                <a16:creationId xmlns:a16="http://schemas.microsoft.com/office/drawing/2014/main" id="{CDD64740-0893-694F-13B8-B37F79AE1592}"/>
              </a:ext>
            </a:extLst>
          </p:cNvPr>
          <p:cNvSpPr txBox="1"/>
          <p:nvPr/>
        </p:nvSpPr>
        <p:spPr>
          <a:xfrm>
            <a:off x="9229724" y="4360609"/>
            <a:ext cx="1816227" cy="675313"/>
          </a:xfrm>
          <a:prstGeom prst="rect">
            <a:avLst/>
          </a:prstGeom>
          <a:ln w="12700">
            <a:solidFill>
              <a:schemeClr val="accent3"/>
            </a:solidFill>
          </a:ln>
        </p:spPr>
        <p:txBody>
          <a:bodyPr vert="horz" wrap="square" lIns="91440" tIns="45720" rIns="0" bIns="45720" rtlCol="0" anchor="t">
            <a:spAutoFit/>
          </a:bodyPr>
          <a:lstStyle>
            <a:defPPr>
              <a:defRPr lang="en-US"/>
            </a:defPPr>
            <a:lvl1pPr marL="183600" indent="-183600">
              <a:lnSpc>
                <a:spcPct val="90000"/>
              </a:lnSpc>
              <a:spcBef>
                <a:spcPts val="800"/>
              </a:spcBef>
              <a:spcAft>
                <a:spcPts val="800"/>
              </a:spcAft>
              <a:buFont typeface="Arial" panose="020B0604020202020204" pitchFamily="34" charset="0"/>
              <a:buChar char="•"/>
              <a:defRPr sz="1200" b="1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55600" indent="-173038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539750" indent="-18415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722313" indent="-182563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895350" indent="-173038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Calibri" panose="020F0502020204030204" pitchFamily="34" charset="0"/>
              </a:rPr>
              <a:t>Progression-free survival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Calibri" panose="020F0502020204030204" pitchFamily="34" charset="0"/>
              </a:rPr>
              <a:t>(up to 4 years)</a:t>
            </a: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Calibri" panose="020F0502020204030204" pitchFamily="34" charset="0"/>
            </a:endParaRPr>
          </a:p>
        </p:txBody>
      </p:sp>
      <p:sp>
        <p:nvSpPr>
          <p:cNvPr id="31" name="object 46">
            <a:extLst>
              <a:ext uri="{FF2B5EF4-FFF2-40B4-BE49-F238E27FC236}">
                <a16:creationId xmlns:a16="http://schemas.microsoft.com/office/drawing/2014/main" id="{411936F7-CAF6-F82A-54F9-BAF43E6FA39B}"/>
              </a:ext>
            </a:extLst>
          </p:cNvPr>
          <p:cNvSpPr txBox="1"/>
          <p:nvPr/>
        </p:nvSpPr>
        <p:spPr>
          <a:xfrm>
            <a:off x="9229724" y="4119075"/>
            <a:ext cx="1816227" cy="246888"/>
          </a:xfrm>
          <a:prstGeom prst="rect">
            <a:avLst/>
          </a:prstGeom>
          <a:solidFill>
            <a:schemeClr val="accent3"/>
          </a:solidFill>
          <a:ln w="12700" cap="flat" cmpd="sng" algn="ctr">
            <a:solidFill>
              <a:schemeClr val="accent3"/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>
            <a:defPPr>
              <a:defRPr lang="en-US"/>
            </a:defPPr>
            <a:lvl1pPr algn="ctr">
              <a:defRPr sz="14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imary endpoint</a:t>
            </a:r>
          </a:p>
        </p:txBody>
      </p:sp>
      <p:cxnSp>
        <p:nvCxnSpPr>
          <p:cNvPr id="9" name="Straight Arrow Connector 74">
            <a:extLst>
              <a:ext uri="{FF2B5EF4-FFF2-40B4-BE49-F238E27FC236}">
                <a16:creationId xmlns:a16="http://schemas.microsoft.com/office/drawing/2014/main" id="{8ECC0C81-A1E4-9680-1266-C7FA83B81616}"/>
              </a:ext>
            </a:extLst>
          </p:cNvPr>
          <p:cNvCxnSpPr/>
          <p:nvPr/>
        </p:nvCxnSpPr>
        <p:spPr>
          <a:xfrm flipV="1">
            <a:off x="3901053" y="2372826"/>
            <a:ext cx="373327" cy="542925"/>
          </a:xfrm>
          <a:prstGeom prst="bentConnector5">
            <a:avLst>
              <a:gd name="adj1" fmla="val 61233"/>
              <a:gd name="adj2" fmla="val 99983"/>
              <a:gd name="adj3" fmla="val 61730"/>
            </a:avLst>
          </a:prstGeom>
          <a:ln w="12700">
            <a:solidFill>
              <a:schemeClr val="tx1">
                <a:lumMod val="75000"/>
                <a:lumOff val="2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75">
            <a:extLst>
              <a:ext uri="{FF2B5EF4-FFF2-40B4-BE49-F238E27FC236}">
                <a16:creationId xmlns:a16="http://schemas.microsoft.com/office/drawing/2014/main" id="{9619F4D4-24F7-1680-4DB7-C63BA549F2D7}"/>
              </a:ext>
            </a:extLst>
          </p:cNvPr>
          <p:cNvCxnSpPr>
            <a:cxnSpLocks/>
          </p:cNvCxnSpPr>
          <p:nvPr/>
        </p:nvCxnSpPr>
        <p:spPr>
          <a:xfrm>
            <a:off x="3901053" y="2915751"/>
            <a:ext cx="373328" cy="542926"/>
          </a:xfrm>
          <a:prstGeom prst="bentConnector5">
            <a:avLst>
              <a:gd name="adj1" fmla="val 61233"/>
              <a:gd name="adj2" fmla="val 99983"/>
              <a:gd name="adj3" fmla="val 63430"/>
            </a:avLst>
          </a:prstGeom>
          <a:ln w="12700">
            <a:solidFill>
              <a:schemeClr val="tx1">
                <a:lumMod val="75000"/>
                <a:lumOff val="2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E647F0E7-2975-321A-49C3-6510B537C921}"/>
              </a:ext>
            </a:extLst>
          </p:cNvPr>
          <p:cNvSpPr/>
          <p:nvPr/>
        </p:nvSpPr>
        <p:spPr>
          <a:xfrm>
            <a:off x="511377" y="1915718"/>
            <a:ext cx="339660" cy="197266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hase 3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" name="Tekstfelt 10">
            <a:extLst>
              <a:ext uri="{FF2B5EF4-FFF2-40B4-BE49-F238E27FC236}">
                <a16:creationId xmlns:a16="http://schemas.microsoft.com/office/drawing/2014/main" id="{E441631F-571E-8671-0059-4F5374FDDB16}"/>
              </a:ext>
            </a:extLst>
          </p:cNvPr>
          <p:cNvSpPr txBox="1"/>
          <p:nvPr/>
        </p:nvSpPr>
        <p:spPr>
          <a:xfrm>
            <a:off x="764189" y="5156881"/>
            <a:ext cx="10910801" cy="738664"/>
          </a:xfrm>
          <a:prstGeom prst="rect">
            <a:avLst/>
          </a:prstGeom>
          <a:solidFill>
            <a:srgbClr val="DBDBDB"/>
          </a:solidFill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Calibri"/>
                <a:cs typeface="Calibri"/>
              </a:rPr>
              <a:t>Press release, 3 June 2026</a:t>
            </a:r>
            <a:r>
              <a:rPr kumimoji="0" lang="en-GB" sz="1400" b="0" i="0" u="none" strike="noStrike" kern="1200" cap="none" spc="0" normalizeH="0" baseline="3000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Calibri"/>
                <a:cs typeface="Calibri"/>
              </a:rPr>
              <a:t>2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Calibri"/>
                <a:cs typeface="Calibri"/>
              </a:rPr>
              <a:t>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Calibri"/>
                <a:cs typeface="Calibri"/>
              </a:rPr>
              <a:t>“</a:t>
            </a:r>
            <a:r>
              <a:rPr kumimoji="0" lang="en-GB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Calibri"/>
                <a:cs typeface="Calibri"/>
              </a:rPr>
              <a:t>Lonca+Rituximab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Calibri"/>
                <a:cs typeface="Calibri"/>
              </a:rPr>
              <a:t> achieved statistical significance on the primary endpoint of progression-free survival (HR = 0.73; p-value = 0.008 two sided) and demonstrated no detrimental effect on the key secondary efficacy endpoint of overall survival (OS)</a:t>
            </a:r>
            <a:r>
              <a:rPr kumimoji="0" lang="en-CH" sz="14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Calibri"/>
                <a:cs typeface="Calibri"/>
              </a:rPr>
              <a:t>”</a:t>
            </a: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38880570"/>
      </p:ext>
    </p:extLst>
  </p:cSld>
  <p:clrMapOvr>
    <a:masterClrMapping/>
  </p:clrMapOvr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9126180-5E4F-A35A-6FB8-FF8E345CF49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829A832-D14A-48A3-A333-EB1AE1067D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173" y="311150"/>
            <a:ext cx="9790113" cy="633413"/>
          </a:xfrm>
        </p:spPr>
        <p:txBody>
          <a:bodyPr/>
          <a:lstStyle/>
          <a:p>
            <a:r>
              <a:rPr lang="en-GB" sz="3200"/>
              <a:t>Loncastuximab tesirine-glofitamab (</a:t>
            </a:r>
            <a:r>
              <a:rPr lang="en-GB" sz="3200" b="1"/>
              <a:t>LOTIS-7</a:t>
            </a:r>
            <a:r>
              <a:rPr lang="en-GB" sz="3200"/>
              <a:t>)</a:t>
            </a:r>
            <a:r>
              <a:rPr lang="en-GB" sz="3200" baseline="30000"/>
              <a:t>1,</a:t>
            </a:r>
            <a:r>
              <a:rPr lang="en-GB" sz="3200"/>
              <a:t>*</a:t>
            </a:r>
            <a:endParaRPr lang="en-GB" sz="3200" baseline="30000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852A15C3-0FC5-0DE9-4C23-85FBDA8696C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9900" y="5651063"/>
            <a:ext cx="10440000" cy="1068888"/>
          </a:xfrm>
        </p:spPr>
        <p:txBody>
          <a:bodyPr/>
          <a:lstStyle/>
          <a:p>
            <a:r>
              <a:rPr lang="en-GB" dirty="0"/>
              <a:t>*For scientific discussion only, subject to regulatory approval. †Dose level 1, 90 µg/kg; dose level 2, 120 µg/kg; dose level 3, 150 µg/kg. ‡If the starting dose of Lonca is 120 µg/kg or 150 µg/kg, the dose will be reduced to 75 µg/kg for Cycles ≥3 per label. §Obinutuzumab 1,000 mg given on Day 1, Cycle 1. Dexamethasone given on Days 1, 2, 3, 8 and 15 in Cycle 1 and on Days 0, 1 and 2 of Cycle 2. ‖Participants may continue glofit up to 12 cycles and may continue Lonca up to 8 cycles (or until disease progression, unacceptable toxicity, or other discontinuation criteria, whichever occurs first). The follow-up period is ≤2 years from the end of treatment. ¶The first dose of glofit on Cycle 1, Day 8 has a 24-hour mandatory hospitalisation; subsequent doses require hospitalisation if Grade ≥2 CRS occurs.</a:t>
            </a:r>
            <a:br>
              <a:rPr lang="en-GB" dirty="0"/>
            </a:br>
            <a:r>
              <a:rPr lang="en-GB" dirty="0"/>
              <a:t>2L, second line; ADC, antibody-drug conjugate; </a:t>
            </a:r>
            <a:r>
              <a:rPr lang="en-GB" dirty="0" err="1"/>
              <a:t>BsAb</a:t>
            </a:r>
            <a:r>
              <a:rPr lang="en-GB" dirty="0"/>
              <a:t>, bispecific antibody; CR, complete response; CRS, cytokine release syndrome; D, day; DLBCL, diffuse large B-cell lymphoma; FL, follicular lymphoma; glofit, glofitamab; HGBL, high-grade B-cell lymphoma; IV, intravenous; Lonca, loncastuximab tesirine; MZL, marginal zone lymphoma; ORR, overall response rate; </a:t>
            </a:r>
            <a:r>
              <a:rPr lang="en-GB" dirty="0" err="1"/>
              <a:t>pLOT</a:t>
            </a:r>
            <a:r>
              <a:rPr lang="en-GB" dirty="0"/>
              <a:t>, prior lines of therapy; </a:t>
            </a:r>
            <a:br>
              <a:rPr lang="en-GB" dirty="0"/>
            </a:br>
            <a:r>
              <a:rPr lang="en-GB" dirty="0"/>
              <a:t>PR, partial response; Q3W, every 3 weeks; R/R, relapsed or refractory; </a:t>
            </a:r>
            <a:r>
              <a:rPr lang="en-GB" dirty="0" err="1"/>
              <a:t>trFL</a:t>
            </a:r>
            <a:r>
              <a:rPr lang="en-GB" dirty="0"/>
              <a:t>, transformed follicular lymphoma.</a:t>
            </a:r>
            <a:br>
              <a:rPr lang="en-GB" dirty="0"/>
            </a:br>
            <a:r>
              <a:rPr lang="en-GB" b="1" dirty="0"/>
              <a:t>1. </a:t>
            </a:r>
            <a:r>
              <a:rPr lang="en-GB" dirty="0" err="1"/>
              <a:t>Alderuccio</a:t>
            </a:r>
            <a:r>
              <a:rPr lang="en-GB" dirty="0"/>
              <a:t> et al. ICML 2025; Oral presentation #078.</a:t>
            </a:r>
          </a:p>
        </p:txBody>
      </p:sp>
      <p:sp>
        <p:nvSpPr>
          <p:cNvPr id="16" name="object 7">
            <a:extLst>
              <a:ext uri="{FF2B5EF4-FFF2-40B4-BE49-F238E27FC236}">
                <a16:creationId xmlns:a16="http://schemas.microsoft.com/office/drawing/2014/main" id="{97625761-F445-BAD3-E339-956C4DD578A7}"/>
              </a:ext>
            </a:extLst>
          </p:cNvPr>
          <p:cNvSpPr txBox="1"/>
          <p:nvPr/>
        </p:nvSpPr>
        <p:spPr>
          <a:xfrm>
            <a:off x="3290535" y="1517306"/>
            <a:ext cx="3370122" cy="496076"/>
          </a:xfrm>
          <a:prstGeom prst="chevron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sv-SE"/>
            </a:defPPr>
            <a:lvl1pPr algn="ctr">
              <a:defRPr sz="14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reatment period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(cycles of 21 days)</a:t>
            </a:r>
          </a:p>
        </p:txBody>
      </p:sp>
      <p:sp>
        <p:nvSpPr>
          <p:cNvPr id="17" name="object 7">
            <a:extLst>
              <a:ext uri="{FF2B5EF4-FFF2-40B4-BE49-F238E27FC236}">
                <a16:creationId xmlns:a16="http://schemas.microsoft.com/office/drawing/2014/main" id="{10E63681-5C72-7604-F288-158E7CAC6B11}"/>
              </a:ext>
            </a:extLst>
          </p:cNvPr>
          <p:cNvSpPr txBox="1"/>
          <p:nvPr/>
        </p:nvSpPr>
        <p:spPr>
          <a:xfrm>
            <a:off x="1381810" y="1517306"/>
            <a:ext cx="2038262" cy="496076"/>
          </a:xfrm>
          <a:prstGeom prst="chevron">
            <a:avLst/>
          </a:prstGeom>
          <a:solidFill>
            <a:schemeClr val="bg2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sv-SE"/>
            </a:defPPr>
            <a:lvl1pPr algn="ctr">
              <a:defRPr sz="14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creening period (≤28 days)</a:t>
            </a:r>
          </a:p>
        </p:txBody>
      </p:sp>
      <p:sp>
        <p:nvSpPr>
          <p:cNvPr id="18" name="object 44">
            <a:extLst>
              <a:ext uri="{FF2B5EF4-FFF2-40B4-BE49-F238E27FC236}">
                <a16:creationId xmlns:a16="http://schemas.microsoft.com/office/drawing/2014/main" id="{7FBB8F11-31A9-395E-7F7C-E77268ACE23F}"/>
              </a:ext>
            </a:extLst>
          </p:cNvPr>
          <p:cNvSpPr txBox="1"/>
          <p:nvPr/>
        </p:nvSpPr>
        <p:spPr>
          <a:xfrm rot="16200000">
            <a:off x="704154" y="2275269"/>
            <a:ext cx="773135" cy="48812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2700"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art 1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  <a:t>3+3 dose </a:t>
            </a:r>
            <a:b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</a:b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  <a:t>escalation</a:t>
            </a:r>
          </a:p>
        </p:txBody>
      </p:sp>
      <p:sp>
        <p:nvSpPr>
          <p:cNvPr id="19" name="object 44">
            <a:extLst>
              <a:ext uri="{FF2B5EF4-FFF2-40B4-BE49-F238E27FC236}">
                <a16:creationId xmlns:a16="http://schemas.microsoft.com/office/drawing/2014/main" id="{3541C0A0-E7C4-57B9-E350-9300935BF9CC}"/>
              </a:ext>
            </a:extLst>
          </p:cNvPr>
          <p:cNvSpPr txBox="1"/>
          <p:nvPr/>
        </p:nvSpPr>
        <p:spPr>
          <a:xfrm>
            <a:off x="1380941" y="2132764"/>
            <a:ext cx="1790167" cy="775738"/>
          </a:xfrm>
          <a:prstGeom prst="rect">
            <a:avLst/>
          </a:prstGeom>
          <a:noFill/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≥2 </a:t>
            </a:r>
            <a:r>
              <a:rPr kumimoji="0" lang="en-GB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LOT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in R/R DLBCL, HGBL, </a:t>
            </a:r>
            <a:r>
              <a:rPr kumimoji="0" lang="en-GB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rFL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, FL (all grades), MZL</a:t>
            </a:r>
          </a:p>
        </p:txBody>
      </p:sp>
      <p:sp>
        <p:nvSpPr>
          <p:cNvPr id="20" name="object 44">
            <a:extLst>
              <a:ext uri="{FF2B5EF4-FFF2-40B4-BE49-F238E27FC236}">
                <a16:creationId xmlns:a16="http://schemas.microsoft.com/office/drawing/2014/main" id="{CB64B2AC-A33E-08C1-2B40-A5F5FBF53D2A}"/>
              </a:ext>
            </a:extLst>
          </p:cNvPr>
          <p:cNvSpPr txBox="1"/>
          <p:nvPr/>
        </p:nvSpPr>
        <p:spPr>
          <a:xfrm rot="16200000">
            <a:off x="704155" y="3144613"/>
            <a:ext cx="773135" cy="48812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2700"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art 2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  <a:t>Dose </a:t>
            </a:r>
            <a:b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</a:b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  <a:t>expansion</a:t>
            </a:r>
          </a:p>
        </p:txBody>
      </p:sp>
      <p:sp>
        <p:nvSpPr>
          <p:cNvPr id="21" name="object 44">
            <a:extLst>
              <a:ext uri="{FF2B5EF4-FFF2-40B4-BE49-F238E27FC236}">
                <a16:creationId xmlns:a16="http://schemas.microsoft.com/office/drawing/2014/main" id="{9C9BD2C1-986B-9F58-D547-A22F0B48350A}"/>
              </a:ext>
            </a:extLst>
          </p:cNvPr>
          <p:cNvSpPr txBox="1"/>
          <p:nvPr/>
        </p:nvSpPr>
        <p:spPr>
          <a:xfrm>
            <a:off x="1380941" y="3000807"/>
            <a:ext cx="1790167" cy="775738"/>
          </a:xfrm>
          <a:prstGeom prst="rect">
            <a:avLst/>
          </a:prstGeom>
          <a:noFill/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≥1 </a:t>
            </a:r>
            <a:r>
              <a:rPr kumimoji="0" lang="en-GB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LOT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in R/R </a:t>
            </a:r>
            <a:r>
              <a:rPr kumimoji="0" lang="en-GB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e novo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DLBCL, HGBL, </a:t>
            </a:r>
            <a:r>
              <a:rPr kumimoji="0" lang="en-GB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rFL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, FL (Grade 3b)</a:t>
            </a:r>
          </a:p>
        </p:txBody>
      </p:sp>
      <p:sp>
        <p:nvSpPr>
          <p:cNvPr id="22" name="object 44">
            <a:extLst>
              <a:ext uri="{FF2B5EF4-FFF2-40B4-BE49-F238E27FC236}">
                <a16:creationId xmlns:a16="http://schemas.microsoft.com/office/drawing/2014/main" id="{6C176858-BA29-1F85-1224-5BF803986304}"/>
              </a:ext>
            </a:extLst>
          </p:cNvPr>
          <p:cNvSpPr txBox="1"/>
          <p:nvPr/>
        </p:nvSpPr>
        <p:spPr>
          <a:xfrm>
            <a:off x="3290533" y="2132764"/>
            <a:ext cx="3163088" cy="77573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12700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Escalating doses of </a:t>
            </a:r>
            <a:b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Lonca IV</a:t>
            </a:r>
            <a:r>
              <a:rPr kumimoji="0" lang="en-GB" sz="1400" b="0" i="0" u="none" strike="noStrike" kern="1200" cap="none" spc="0" normalizeH="0" baseline="3000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†,‡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+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Glofit IV Q3W</a:t>
            </a:r>
          </a:p>
        </p:txBody>
      </p:sp>
      <p:sp>
        <p:nvSpPr>
          <p:cNvPr id="23" name="object 44">
            <a:extLst>
              <a:ext uri="{FF2B5EF4-FFF2-40B4-BE49-F238E27FC236}">
                <a16:creationId xmlns:a16="http://schemas.microsoft.com/office/drawing/2014/main" id="{D33624E9-CB3D-563B-653F-D89A3118DC7F}"/>
              </a:ext>
            </a:extLst>
          </p:cNvPr>
          <p:cNvSpPr txBox="1"/>
          <p:nvPr/>
        </p:nvSpPr>
        <p:spPr>
          <a:xfrm>
            <a:off x="3290533" y="3000807"/>
            <a:ext cx="3163088" cy="77573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12700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Lonca IV (Cycles 1–2: 120 or 150 µg/kg; </a:t>
            </a:r>
            <a:b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ycles ≥3: 75 µg/kg)</a:t>
            </a:r>
            <a:r>
              <a:rPr kumimoji="0" lang="en-GB" sz="1400" b="0" i="0" u="none" strike="noStrike" kern="1200" cap="none" spc="0" normalizeH="0" baseline="3000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‡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+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b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Glofit IV (30 mg step-up dosing) Q3W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342B99A6-D883-0923-95AB-A5FD658C0C64}"/>
              </a:ext>
            </a:extLst>
          </p:cNvPr>
          <p:cNvCxnSpPr>
            <a:cxnSpLocks/>
          </p:cNvCxnSpPr>
          <p:nvPr/>
        </p:nvCxnSpPr>
        <p:spPr>
          <a:xfrm>
            <a:off x="710706" y="3960392"/>
            <a:ext cx="572055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9518BA99-5E47-D119-42F5-04D4D9804C02}"/>
              </a:ext>
            </a:extLst>
          </p:cNvPr>
          <p:cNvSpPr txBox="1"/>
          <p:nvPr/>
        </p:nvSpPr>
        <p:spPr>
          <a:xfrm>
            <a:off x="2220851" y="3861331"/>
            <a:ext cx="2735877" cy="215444"/>
          </a:xfrm>
          <a:prstGeom prst="rect">
            <a:avLst/>
          </a:prstGeom>
          <a:solidFill>
            <a:schemeClr val="bg1"/>
          </a:solidFill>
        </p:spPr>
        <p:txBody>
          <a:bodyPr wrap="none" lIns="45720" tIns="0" rIns="4572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Lonca + glofit treatment sequenc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F2E3B72-5A00-2F5F-EEDC-48654FBE71E7}"/>
              </a:ext>
            </a:extLst>
          </p:cNvPr>
          <p:cNvSpPr/>
          <p:nvPr/>
        </p:nvSpPr>
        <p:spPr>
          <a:xfrm>
            <a:off x="710707" y="4328906"/>
            <a:ext cx="2465979" cy="607741"/>
          </a:xfrm>
          <a:prstGeom prst="rect">
            <a:avLst/>
          </a:prstGeom>
          <a:solidFill>
            <a:schemeClr val="accent1">
              <a:lumMod val="40000"/>
              <a:lumOff val="60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" name="object 7">
            <a:extLst>
              <a:ext uri="{FF2B5EF4-FFF2-40B4-BE49-F238E27FC236}">
                <a16:creationId xmlns:a16="http://schemas.microsoft.com/office/drawing/2014/main" id="{15FA5069-70E8-C738-9520-A79E66F476E5}"/>
              </a:ext>
            </a:extLst>
          </p:cNvPr>
          <p:cNvSpPr txBox="1"/>
          <p:nvPr/>
        </p:nvSpPr>
        <p:spPr>
          <a:xfrm>
            <a:off x="710706" y="4144239"/>
            <a:ext cx="2558260" cy="184666"/>
          </a:xfrm>
          <a:prstGeom prst="chevron">
            <a:avLst/>
          </a:prstGeom>
          <a:solidFill>
            <a:schemeClr val="accent1">
              <a:lumMod val="40000"/>
              <a:lumOff val="6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>
            <a:defPPr>
              <a:defRPr lang="sv-SE"/>
            </a:defPPr>
            <a:lvl1pPr algn="ctr">
              <a:defRPr sz="14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ycle 1</a:t>
            </a:r>
            <a:r>
              <a:rPr kumimoji="0" lang="en-GB" sz="1200" b="0" i="0" u="none" strike="noStrike" kern="1200" cap="none" spc="0" normalizeH="0" baseline="3000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§</a:t>
            </a:r>
          </a:p>
        </p:txBody>
      </p:sp>
      <p:grpSp>
        <p:nvGrpSpPr>
          <p:cNvPr id="75" name="Group 74">
            <a:extLst>
              <a:ext uri="{FF2B5EF4-FFF2-40B4-BE49-F238E27FC236}">
                <a16:creationId xmlns:a16="http://schemas.microsoft.com/office/drawing/2014/main" id="{12B8A357-8048-F3C3-B445-E941DD99BFFF}"/>
              </a:ext>
            </a:extLst>
          </p:cNvPr>
          <p:cNvGrpSpPr/>
          <p:nvPr/>
        </p:nvGrpSpPr>
        <p:grpSpPr>
          <a:xfrm>
            <a:off x="846658" y="4359473"/>
            <a:ext cx="596445" cy="534373"/>
            <a:chOff x="1229944" y="4671705"/>
            <a:chExt cx="604311" cy="534373"/>
          </a:xfrm>
        </p:grpSpPr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9D355D41-7D90-7722-1EB0-47D6B7584AE5}"/>
                </a:ext>
              </a:extLst>
            </p:cNvPr>
            <p:cNvSpPr txBox="1"/>
            <p:nvPr/>
          </p:nvSpPr>
          <p:spPr>
            <a:xfrm>
              <a:off x="1435463" y="4671705"/>
              <a:ext cx="193274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585854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rPr>
                <a:t>D2</a:t>
              </a: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F87672DA-34AC-A4C5-7CFB-13BB959ADF7F}"/>
                </a:ext>
              </a:extLst>
            </p:cNvPr>
            <p:cNvSpPr txBox="1"/>
            <p:nvPr/>
          </p:nvSpPr>
          <p:spPr>
            <a:xfrm>
              <a:off x="1229944" y="4872653"/>
              <a:ext cx="604311" cy="33342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585854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rPr>
                <a:t>Lonca IV,</a:t>
              </a:r>
              <a:b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585854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rPr>
              </a:b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585854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rPr>
                <a:t>Q3W</a:t>
              </a:r>
              <a:r>
                <a:rPr kumimoji="0" lang="en-GB" sz="1400" b="0" i="0" u="none" strike="noStrike" kern="1200" cap="none" spc="0" normalizeH="0" baseline="3000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rPr>
                <a:t>†</a:t>
              </a:r>
              <a:r>
                <a:rPr kumimoji="0" lang="en-GB" sz="1200" b="0" i="0" u="none" strike="noStrike" kern="1200" cap="none" spc="0" normalizeH="0" baseline="30000" noProof="0" dirty="0">
                  <a:ln>
                    <a:noFill/>
                  </a:ln>
                  <a:solidFill>
                    <a:srgbClr val="585854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rPr>
                <a:t>,</a:t>
              </a:r>
              <a:r>
                <a:rPr kumimoji="0" lang="en-GB" sz="1400" b="0" i="0" u="none" strike="noStrike" kern="1200" cap="none" spc="0" normalizeH="0" baseline="3000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rPr>
                <a:t>‡</a:t>
              </a:r>
              <a:endParaRPr kumimoji="0" lang="en-GB" sz="1200" b="0" i="0" u="none" strike="noStrike" kern="1200" cap="none" spc="0" normalizeH="0" baseline="3000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</p:grpSp>
      <p:grpSp>
        <p:nvGrpSpPr>
          <p:cNvPr id="76" name="Group 75">
            <a:extLst>
              <a:ext uri="{FF2B5EF4-FFF2-40B4-BE49-F238E27FC236}">
                <a16:creationId xmlns:a16="http://schemas.microsoft.com/office/drawing/2014/main" id="{4760E424-698D-902F-1629-337EBA6469A2}"/>
              </a:ext>
            </a:extLst>
          </p:cNvPr>
          <p:cNvGrpSpPr/>
          <p:nvPr/>
        </p:nvGrpSpPr>
        <p:grpSpPr>
          <a:xfrm>
            <a:off x="1674182" y="4359473"/>
            <a:ext cx="555280" cy="534373"/>
            <a:chOff x="2353495" y="4671705"/>
            <a:chExt cx="562604" cy="534373"/>
          </a:xfrm>
        </p:grpSpPr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51A29C27-182F-D498-20A2-146AC0DBCB3E}"/>
                </a:ext>
              </a:extLst>
            </p:cNvPr>
            <p:cNvSpPr txBox="1"/>
            <p:nvPr/>
          </p:nvSpPr>
          <p:spPr>
            <a:xfrm>
              <a:off x="2538161" y="4671705"/>
              <a:ext cx="193274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585854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rPr>
                <a:t>D8</a:t>
              </a: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B5493467-0896-EF5D-12DB-0B27ED168293}"/>
                </a:ext>
              </a:extLst>
            </p:cNvPr>
            <p:cNvSpPr txBox="1"/>
            <p:nvPr/>
          </p:nvSpPr>
          <p:spPr>
            <a:xfrm>
              <a:off x="2353495" y="4872653"/>
              <a:ext cx="562604" cy="33342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585854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rPr>
                <a:t>Glofit IV,</a:t>
              </a:r>
              <a:b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585854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rPr>
              </a:b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585854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rPr>
                <a:t>2.5 mg</a:t>
              </a:r>
              <a:r>
                <a:rPr kumimoji="0" lang="en-GB" sz="1200" b="0" i="0" u="none" strike="noStrike" kern="1200" cap="none" spc="0" normalizeH="0" baseline="30000" noProof="0" dirty="0">
                  <a:ln>
                    <a:noFill/>
                  </a:ln>
                  <a:solidFill>
                    <a:srgbClr val="585854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rPr>
                <a:t>¶ </a:t>
              </a:r>
            </a:p>
          </p:txBody>
        </p:sp>
      </p:grpSp>
      <p:grpSp>
        <p:nvGrpSpPr>
          <p:cNvPr id="78" name="Group 77">
            <a:extLst>
              <a:ext uri="{FF2B5EF4-FFF2-40B4-BE49-F238E27FC236}">
                <a16:creationId xmlns:a16="http://schemas.microsoft.com/office/drawing/2014/main" id="{1ECE7FC2-D754-F78B-A23C-8F69973BF147}"/>
              </a:ext>
            </a:extLst>
          </p:cNvPr>
          <p:cNvGrpSpPr/>
          <p:nvPr/>
        </p:nvGrpSpPr>
        <p:grpSpPr>
          <a:xfrm>
            <a:off x="2460822" y="4359473"/>
            <a:ext cx="555281" cy="534373"/>
            <a:chOff x="3049547" y="4671705"/>
            <a:chExt cx="562604" cy="534373"/>
          </a:xfrm>
        </p:grpSpPr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733369B8-E490-5044-DD95-89B0E01A8524}"/>
                </a:ext>
              </a:extLst>
            </p:cNvPr>
            <p:cNvSpPr txBox="1"/>
            <p:nvPr/>
          </p:nvSpPr>
          <p:spPr>
            <a:xfrm>
              <a:off x="3192797" y="4671705"/>
              <a:ext cx="276104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585854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rPr>
                <a:t>D15</a:t>
              </a: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4D053363-857C-453A-558E-F36E6B277AA1}"/>
                </a:ext>
              </a:extLst>
            </p:cNvPr>
            <p:cNvSpPr txBox="1"/>
            <p:nvPr/>
          </p:nvSpPr>
          <p:spPr>
            <a:xfrm>
              <a:off x="3049547" y="4872653"/>
              <a:ext cx="562604" cy="33342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585854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rPr>
                <a:t>Glofit IV,</a:t>
              </a:r>
              <a:b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585854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rPr>
              </a:b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585854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rPr>
                <a:t>10 mg</a:t>
              </a:r>
              <a:r>
                <a:rPr kumimoji="0" lang="en-GB" sz="1200" b="0" i="0" u="none" strike="noStrike" kern="1200" cap="none" spc="0" normalizeH="0" baseline="30000" noProof="0" dirty="0">
                  <a:ln>
                    <a:noFill/>
                  </a:ln>
                  <a:solidFill>
                    <a:srgbClr val="585854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rPr>
                <a:t>¶</a:t>
              </a:r>
            </a:p>
          </p:txBody>
        </p:sp>
      </p:grp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F9ED2F60-401F-6B06-C17A-F65D5184D6A5}"/>
              </a:ext>
            </a:extLst>
          </p:cNvPr>
          <p:cNvCxnSpPr/>
          <p:nvPr/>
        </p:nvCxnSpPr>
        <p:spPr>
          <a:xfrm>
            <a:off x="1558510" y="4398790"/>
            <a:ext cx="0" cy="432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D4DAC4BC-BA34-61AC-D8B3-3496D3D5C74E}"/>
              </a:ext>
            </a:extLst>
          </p:cNvPr>
          <p:cNvCxnSpPr/>
          <p:nvPr/>
        </p:nvCxnSpPr>
        <p:spPr>
          <a:xfrm>
            <a:off x="2345144" y="4398790"/>
            <a:ext cx="0" cy="432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tangle 25">
            <a:extLst>
              <a:ext uri="{FF2B5EF4-FFF2-40B4-BE49-F238E27FC236}">
                <a16:creationId xmlns:a16="http://schemas.microsoft.com/office/drawing/2014/main" id="{8841CA74-D392-5AD6-6476-9C6C7F420E67}"/>
              </a:ext>
            </a:extLst>
          </p:cNvPr>
          <p:cNvSpPr/>
          <p:nvPr/>
        </p:nvSpPr>
        <p:spPr>
          <a:xfrm>
            <a:off x="5162819" y="4328906"/>
            <a:ext cx="1303289" cy="610811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" name="object 7">
            <a:extLst>
              <a:ext uri="{FF2B5EF4-FFF2-40B4-BE49-F238E27FC236}">
                <a16:creationId xmlns:a16="http://schemas.microsoft.com/office/drawing/2014/main" id="{5E0E6AE9-F6AF-CF4F-7EEF-9C27A4A64ED4}"/>
              </a:ext>
            </a:extLst>
          </p:cNvPr>
          <p:cNvSpPr txBox="1"/>
          <p:nvPr/>
        </p:nvSpPr>
        <p:spPr>
          <a:xfrm>
            <a:off x="5162820" y="4144239"/>
            <a:ext cx="1392830" cy="184666"/>
          </a:xfrm>
          <a:prstGeom prst="chevron">
            <a:avLst/>
          </a:prstGeom>
          <a:solidFill>
            <a:schemeClr val="accent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>
            <a:defPPr>
              <a:defRPr lang="sv-SE"/>
            </a:defPPr>
            <a:lvl1pPr algn="ctr">
              <a:defRPr sz="14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ycles 9–12</a:t>
            </a:r>
            <a:r>
              <a:rPr kumimoji="0" lang="en-GB" sz="1200" b="0" i="0" u="none" strike="noStrike" kern="120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‖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4C9DC2E3-6602-F5F4-4C20-0684AF57C3C0}"/>
              </a:ext>
            </a:extLst>
          </p:cNvPr>
          <p:cNvSpPr txBox="1"/>
          <p:nvPr/>
        </p:nvSpPr>
        <p:spPr>
          <a:xfrm>
            <a:off x="5740398" y="4359473"/>
            <a:ext cx="190758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1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E23BA5C3-354E-CCED-A384-829953B6E70B}"/>
              </a:ext>
            </a:extLst>
          </p:cNvPr>
          <p:cNvSpPr txBox="1"/>
          <p:nvPr/>
        </p:nvSpPr>
        <p:spPr>
          <a:xfrm>
            <a:off x="5558136" y="4560421"/>
            <a:ext cx="555280" cy="33342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Glofit IV,</a:t>
            </a:r>
            <a:b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30 mg</a:t>
            </a:r>
            <a:r>
              <a:rPr kumimoji="0" lang="en-GB" sz="1200" b="0" i="0" u="none" strike="noStrike" kern="1200" cap="none" spc="0" normalizeH="0" baseline="3000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¶ 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6CC00655-E980-C42F-BABC-21C586AA8AC5}"/>
              </a:ext>
            </a:extLst>
          </p:cNvPr>
          <p:cNvSpPr/>
          <p:nvPr/>
        </p:nvSpPr>
        <p:spPr>
          <a:xfrm>
            <a:off x="3236588" y="4328906"/>
            <a:ext cx="1868830" cy="610811"/>
          </a:xfrm>
          <a:prstGeom prst="rect">
            <a:avLst/>
          </a:prstGeom>
          <a:solidFill>
            <a:schemeClr val="accent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" name="object 7">
            <a:extLst>
              <a:ext uri="{FF2B5EF4-FFF2-40B4-BE49-F238E27FC236}">
                <a16:creationId xmlns:a16="http://schemas.microsoft.com/office/drawing/2014/main" id="{FC69D8EA-F557-936E-C44D-E2F998E9CB20}"/>
              </a:ext>
            </a:extLst>
          </p:cNvPr>
          <p:cNvSpPr txBox="1"/>
          <p:nvPr/>
        </p:nvSpPr>
        <p:spPr>
          <a:xfrm>
            <a:off x="3236897" y="4144239"/>
            <a:ext cx="1958299" cy="184666"/>
          </a:xfrm>
          <a:prstGeom prst="chevron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>
            <a:defPPr>
              <a:defRPr lang="sv-SE"/>
            </a:defPPr>
            <a:lvl1pPr algn="ctr">
              <a:defRPr sz="14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ycles 2–8</a:t>
            </a:r>
            <a:r>
              <a:rPr kumimoji="0" lang="en-GB" sz="1200" b="0" i="0" u="none" strike="noStrike" kern="120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§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BF8E5F2A-9836-5B29-0178-FF0D9535209E}"/>
              </a:ext>
            </a:extLst>
          </p:cNvPr>
          <p:cNvSpPr txBox="1"/>
          <p:nvPr/>
        </p:nvSpPr>
        <p:spPr>
          <a:xfrm>
            <a:off x="3659764" y="4359473"/>
            <a:ext cx="190758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1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EA42276B-B8D4-6B15-E53B-AAC4085443BD}"/>
              </a:ext>
            </a:extLst>
          </p:cNvPr>
          <p:cNvSpPr txBox="1"/>
          <p:nvPr/>
        </p:nvSpPr>
        <p:spPr>
          <a:xfrm>
            <a:off x="3456923" y="4560421"/>
            <a:ext cx="596445" cy="33342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Lonca IV,</a:t>
            </a:r>
            <a:b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Q3W</a:t>
            </a:r>
            <a:r>
              <a:rPr kumimoji="0" lang="en-GB" sz="1400" b="0" i="0" u="none" strike="noStrike" kern="1200" cap="none" spc="0" normalizeH="0" baseline="3000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†</a:t>
            </a:r>
            <a:r>
              <a:rPr kumimoji="0" lang="en-GB" sz="1200" b="0" i="0" u="none" strike="noStrike" kern="1200" cap="none" spc="0" normalizeH="0" baseline="3000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,</a:t>
            </a:r>
            <a:r>
              <a:rPr kumimoji="0" lang="en-GB" sz="1400" b="0" i="0" u="none" strike="noStrike" kern="1200" cap="none" spc="0" normalizeH="0" baseline="3000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‡</a:t>
            </a:r>
            <a:endParaRPr kumimoji="0" lang="en-GB" sz="1200" b="0" i="0" u="none" strike="noStrike" kern="1200" cap="none" spc="0" normalizeH="0" baseline="30000" noProof="0" dirty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7C6CCCE0-0688-6FF3-732A-82077BCAD56B}"/>
              </a:ext>
            </a:extLst>
          </p:cNvPr>
          <p:cNvSpPr txBox="1"/>
          <p:nvPr/>
        </p:nvSpPr>
        <p:spPr>
          <a:xfrm>
            <a:off x="4543881" y="4359473"/>
            <a:ext cx="190758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1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50D88FE5-662F-A95C-EE9D-14C4D47A6297}"/>
              </a:ext>
            </a:extLst>
          </p:cNvPr>
          <p:cNvSpPr txBox="1"/>
          <p:nvPr/>
        </p:nvSpPr>
        <p:spPr>
          <a:xfrm>
            <a:off x="4361622" y="4560421"/>
            <a:ext cx="555280" cy="33342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Glofit IV,</a:t>
            </a:r>
            <a:b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30 mg</a:t>
            </a:r>
            <a:r>
              <a:rPr kumimoji="0" lang="en-GB" sz="1200" b="0" i="0" u="none" strike="noStrike" kern="1200" cap="none" spc="0" normalizeH="0" baseline="3000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¶ </a:t>
            </a:r>
          </a:p>
        </p:txBody>
      </p:sp>
      <p:cxnSp>
        <p:nvCxnSpPr>
          <p:cNvPr id="72" name="Straight Arrow Connector 71">
            <a:extLst>
              <a:ext uri="{FF2B5EF4-FFF2-40B4-BE49-F238E27FC236}">
                <a16:creationId xmlns:a16="http://schemas.microsoft.com/office/drawing/2014/main" id="{B306BBE1-C23C-DF88-71E6-66AAA539E403}"/>
              </a:ext>
            </a:extLst>
          </p:cNvPr>
          <p:cNvCxnSpPr/>
          <p:nvPr/>
        </p:nvCxnSpPr>
        <p:spPr>
          <a:xfrm>
            <a:off x="3965669" y="4481344"/>
            <a:ext cx="472428" cy="0"/>
          </a:xfrm>
          <a:prstGeom prst="straightConnector1">
            <a:avLst/>
          </a:prstGeom>
          <a:ln>
            <a:solidFill>
              <a:schemeClr val="tx2"/>
            </a:solidFill>
            <a:headEnd type="arrow" w="sm" len="sm"/>
            <a:tailEnd type="arrow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TextBox 72">
            <a:extLst>
              <a:ext uri="{FF2B5EF4-FFF2-40B4-BE49-F238E27FC236}">
                <a16:creationId xmlns:a16="http://schemas.microsoft.com/office/drawing/2014/main" id="{843B820C-B46C-55F8-49DE-03A98C1CAA1A}"/>
              </a:ext>
            </a:extLst>
          </p:cNvPr>
          <p:cNvSpPr txBox="1"/>
          <p:nvPr/>
        </p:nvSpPr>
        <p:spPr>
          <a:xfrm>
            <a:off x="4029189" y="4330016"/>
            <a:ext cx="357469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–1.5 h</a:t>
            </a:r>
          </a:p>
        </p:txBody>
      </p:sp>
      <p:grpSp>
        <p:nvGrpSpPr>
          <p:cNvPr id="84" name="Group 83">
            <a:extLst>
              <a:ext uri="{FF2B5EF4-FFF2-40B4-BE49-F238E27FC236}">
                <a16:creationId xmlns:a16="http://schemas.microsoft.com/office/drawing/2014/main" id="{312AAF5B-DEEB-F297-8D2B-D166E2547122}"/>
              </a:ext>
            </a:extLst>
          </p:cNvPr>
          <p:cNvGrpSpPr/>
          <p:nvPr/>
        </p:nvGrpSpPr>
        <p:grpSpPr>
          <a:xfrm>
            <a:off x="10219877" y="1758754"/>
            <a:ext cx="501567" cy="539026"/>
            <a:chOff x="11094999" y="2010631"/>
            <a:chExt cx="501567" cy="539026"/>
          </a:xfrm>
        </p:grpSpPr>
        <p:sp>
          <p:nvSpPr>
            <p:cNvPr id="85" name="object 9">
              <a:extLst>
                <a:ext uri="{FF2B5EF4-FFF2-40B4-BE49-F238E27FC236}">
                  <a16:creationId xmlns:a16="http://schemas.microsoft.com/office/drawing/2014/main" id="{C6350D4A-D464-D600-C13D-54C62B208A68}"/>
                </a:ext>
              </a:extLst>
            </p:cNvPr>
            <p:cNvSpPr/>
            <p:nvPr/>
          </p:nvSpPr>
          <p:spPr>
            <a:xfrm>
              <a:off x="11094999" y="2339911"/>
              <a:ext cx="152760" cy="142493"/>
            </a:xfrm>
            <a:custGeom>
              <a:avLst/>
              <a:gdLst/>
              <a:ahLst/>
              <a:cxnLst/>
              <a:rect l="l" t="t" r="r" b="b"/>
              <a:pathLst>
                <a:path w="142239" h="113030">
                  <a:moveTo>
                    <a:pt x="141732" y="0"/>
                  </a:moveTo>
                  <a:lnTo>
                    <a:pt x="0" y="0"/>
                  </a:lnTo>
                  <a:lnTo>
                    <a:pt x="0" y="112775"/>
                  </a:lnTo>
                  <a:lnTo>
                    <a:pt x="141732" y="112775"/>
                  </a:lnTo>
                  <a:lnTo>
                    <a:pt x="141732" y="0"/>
                  </a:lnTo>
                  <a:close/>
                </a:path>
              </a:pathLst>
            </a:custGeom>
            <a:solidFill>
              <a:srgbClr val="EB9200"/>
            </a:solidFill>
            <a:ln>
              <a:solidFill>
                <a:srgbClr val="EB92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9C4AC579-EF22-805E-122A-37B4F8121E47}"/>
                </a:ext>
              </a:extLst>
            </p:cNvPr>
            <p:cNvSpPr txBox="1"/>
            <p:nvPr/>
          </p:nvSpPr>
          <p:spPr>
            <a:xfrm>
              <a:off x="11229061" y="2272658"/>
              <a:ext cx="367505" cy="276999"/>
            </a:xfrm>
            <a:prstGeom prst="rect">
              <a:avLst/>
            </a:prstGeom>
            <a:noFill/>
          </p:spPr>
          <p:txBody>
            <a:bodyPr wrap="square" lIns="72000" rIns="7200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585854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rPr>
                <a:t>CR</a:t>
              </a:r>
            </a:p>
          </p:txBody>
        </p:sp>
        <p:sp>
          <p:nvSpPr>
            <p:cNvPr id="87" name="object 9">
              <a:extLst>
                <a:ext uri="{FF2B5EF4-FFF2-40B4-BE49-F238E27FC236}">
                  <a16:creationId xmlns:a16="http://schemas.microsoft.com/office/drawing/2014/main" id="{F25A5C0B-23AF-73E0-1E31-6F180AA21BAA}"/>
                </a:ext>
              </a:extLst>
            </p:cNvPr>
            <p:cNvSpPr/>
            <p:nvPr/>
          </p:nvSpPr>
          <p:spPr>
            <a:xfrm>
              <a:off x="11094999" y="2077884"/>
              <a:ext cx="144000" cy="142493"/>
            </a:xfrm>
            <a:custGeom>
              <a:avLst/>
              <a:gdLst/>
              <a:ahLst/>
              <a:cxnLst/>
              <a:rect l="l" t="t" r="r" b="b"/>
              <a:pathLst>
                <a:path w="142239" h="113030">
                  <a:moveTo>
                    <a:pt x="141732" y="0"/>
                  </a:moveTo>
                  <a:lnTo>
                    <a:pt x="0" y="0"/>
                  </a:lnTo>
                  <a:lnTo>
                    <a:pt x="0" y="112775"/>
                  </a:lnTo>
                  <a:lnTo>
                    <a:pt x="141732" y="112775"/>
                  </a:lnTo>
                  <a:lnTo>
                    <a:pt x="141732" y="0"/>
                  </a:lnTo>
                  <a:close/>
                </a:path>
              </a:pathLst>
            </a:custGeom>
            <a:solidFill>
              <a:srgbClr val="FFD591"/>
            </a:solidFill>
            <a:ln>
              <a:solidFill>
                <a:srgbClr val="FFD591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80568FC1-2772-4D4F-EEDF-B06EA1B54E8F}"/>
                </a:ext>
              </a:extLst>
            </p:cNvPr>
            <p:cNvSpPr txBox="1"/>
            <p:nvPr/>
          </p:nvSpPr>
          <p:spPr>
            <a:xfrm>
              <a:off x="11229061" y="2010631"/>
              <a:ext cx="367505" cy="276999"/>
            </a:xfrm>
            <a:prstGeom prst="rect">
              <a:avLst/>
            </a:prstGeom>
            <a:noFill/>
          </p:spPr>
          <p:txBody>
            <a:bodyPr wrap="square" lIns="72000" rIns="7200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585854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rPr>
                <a:t>PR</a:t>
              </a:r>
            </a:p>
          </p:txBody>
        </p:sp>
      </p:grpSp>
      <p:sp>
        <p:nvSpPr>
          <p:cNvPr id="89" name="TextBox 88">
            <a:extLst>
              <a:ext uri="{FF2B5EF4-FFF2-40B4-BE49-F238E27FC236}">
                <a16:creationId xmlns:a16="http://schemas.microsoft.com/office/drawing/2014/main" id="{DACC84D0-3A42-01FF-000E-E628F32ABA2C}"/>
              </a:ext>
            </a:extLst>
          </p:cNvPr>
          <p:cNvSpPr txBox="1"/>
          <p:nvPr/>
        </p:nvSpPr>
        <p:spPr>
          <a:xfrm>
            <a:off x="8663229" y="1336282"/>
            <a:ext cx="1790167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esponse rate</a:t>
            </a:r>
          </a:p>
        </p:txBody>
      </p:sp>
      <p:graphicFrame>
        <p:nvGraphicFramePr>
          <p:cNvPr id="90" name="Chart 89">
            <a:extLst>
              <a:ext uri="{FF2B5EF4-FFF2-40B4-BE49-F238E27FC236}">
                <a16:creationId xmlns:a16="http://schemas.microsoft.com/office/drawing/2014/main" id="{5E568775-14AD-9E93-3795-E906150F52B3}"/>
              </a:ext>
            </a:extLst>
          </p:cNvPr>
          <p:cNvGraphicFramePr/>
          <p:nvPr/>
        </p:nvGraphicFramePr>
        <p:xfrm>
          <a:off x="7914636" y="1895557"/>
          <a:ext cx="2708031" cy="19075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1" name="TextBox 90">
            <a:extLst>
              <a:ext uri="{FF2B5EF4-FFF2-40B4-BE49-F238E27FC236}">
                <a16:creationId xmlns:a16="http://schemas.microsoft.com/office/drawing/2014/main" id="{D2A4E3D0-DC40-354F-0E8B-975033E36C02}"/>
              </a:ext>
            </a:extLst>
          </p:cNvPr>
          <p:cNvSpPr txBox="1"/>
          <p:nvPr/>
        </p:nvSpPr>
        <p:spPr>
          <a:xfrm>
            <a:off x="9357446" y="2661599"/>
            <a:ext cx="555300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87%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BCED68E8-075C-8437-C811-322BD590FA6E}"/>
              </a:ext>
            </a:extLst>
          </p:cNvPr>
          <p:cNvSpPr txBox="1"/>
          <p:nvPr/>
        </p:nvSpPr>
        <p:spPr>
          <a:xfrm>
            <a:off x="9357446" y="1660467"/>
            <a:ext cx="5553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ORR</a:t>
            </a:r>
            <a:b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93%</a:t>
            </a:r>
          </a:p>
        </p:txBody>
      </p:sp>
      <p:graphicFrame>
        <p:nvGraphicFramePr>
          <p:cNvPr id="93" name="Table 0">
            <a:extLst>
              <a:ext uri="{FF2B5EF4-FFF2-40B4-BE49-F238E27FC236}">
                <a16:creationId xmlns:a16="http://schemas.microsoft.com/office/drawing/2014/main" id="{723C7FE2-34B6-E1A3-CF42-2425F355C10C}"/>
              </a:ext>
            </a:extLst>
          </p:cNvPr>
          <p:cNvGraphicFramePr>
            <a:graphicFrameLocks noGrp="1"/>
          </p:cNvGraphicFramePr>
          <p:nvPr/>
        </p:nvGraphicFramePr>
        <p:xfrm>
          <a:off x="7691825" y="4096780"/>
          <a:ext cx="3623333" cy="1121240"/>
        </p:xfrm>
        <a:graphic>
          <a:graphicData uri="http://schemas.openxmlformats.org/drawingml/2006/table">
            <a:tbl>
              <a:tblPr/>
              <a:tblGrid>
                <a:gridCol w="163027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9305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0901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 dirty="0">
                          <a:solidFill>
                            <a:schemeClr val="tx2"/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LOTIS-7</a:t>
                      </a:r>
                      <a:endParaRPr lang="en-GB" sz="1600" b="1" baseline="30000" dirty="0">
                        <a:solidFill>
                          <a:schemeClr val="tx2"/>
                        </a:solidFill>
                        <a:latin typeface="+mn-lt"/>
                        <a:ea typeface="Arial" charset="0"/>
                        <a:cs typeface="Arial" charset="0"/>
                      </a:endParaRPr>
                    </a:p>
                  </a:txBody>
                  <a:tcPr marL="84667" marR="84667" marT="33867" marB="3386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GB" sz="1600" b="1" dirty="0">
                          <a:solidFill>
                            <a:schemeClr val="bg1"/>
                          </a:solidFill>
                          <a:latin typeface="+mn-lt"/>
                          <a:ea typeface="Arial" pitchFamily="34" charset="-122"/>
                          <a:cs typeface="Arial" pitchFamily="34" charset="-120"/>
                        </a:rPr>
                        <a:t>Lonca-Glofit </a:t>
                      </a:r>
                      <a:r>
                        <a:rPr lang="en-GB" sz="1600" b="1" dirty="0">
                          <a:solidFill>
                            <a:schemeClr val="bg1"/>
                          </a:solidFill>
                          <a:latin typeface="+mn-lt"/>
                          <a:ea typeface="Arial" charset="0"/>
                          <a:cs typeface="Arial" pitchFamily="34" charset="-120"/>
                        </a:rPr>
                        <a:t>(N=41)</a:t>
                      </a:r>
                      <a:endParaRPr lang="en-GB" sz="1600" dirty="0">
                        <a:solidFill>
                          <a:schemeClr val="bg1"/>
                        </a:solidFill>
                        <a:latin typeface="+mn-lt"/>
                        <a:ea typeface="Arial" charset="0"/>
                        <a:cs typeface="Arial" charset="0"/>
                      </a:endParaRPr>
                    </a:p>
                  </a:txBody>
                  <a:tcPr marL="84667" marR="84667" marT="33867" marB="3386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56114">
                <a:tc>
                  <a:txBody>
                    <a:bodyPr/>
                    <a:lstStyle/>
                    <a:p>
                      <a:r>
                        <a:rPr lang="en-GB" sz="1600" kern="1200" dirty="0">
                          <a:solidFill>
                            <a:schemeClr val="tx2"/>
                          </a:solidFill>
                          <a:latin typeface="+mn-lt"/>
                          <a:ea typeface="Arial" charset="0"/>
                          <a:cs typeface="Arial" pitchFamily="34" charset="-120"/>
                        </a:rPr>
                        <a:t>CRS, any Grade</a:t>
                      </a:r>
                    </a:p>
                  </a:txBody>
                  <a:tcPr marL="84667" marR="84667" marT="33867" marB="3386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GB" sz="1600" b="0" dirty="0">
                          <a:solidFill>
                            <a:schemeClr val="tx2"/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39%</a:t>
                      </a:r>
                    </a:p>
                  </a:txBody>
                  <a:tcPr marL="84667" marR="84667" marT="33867" marB="3386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  <a:alpha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56114">
                <a:tc>
                  <a:txBody>
                    <a:bodyPr/>
                    <a:lstStyle/>
                    <a:p>
                      <a:r>
                        <a:rPr lang="en-GB" sz="1600" kern="1200">
                          <a:solidFill>
                            <a:schemeClr val="tx2"/>
                          </a:solidFill>
                          <a:latin typeface="+mn-lt"/>
                          <a:ea typeface="Arial" charset="0"/>
                          <a:cs typeface="Arial" pitchFamily="34" charset="-120"/>
                        </a:rPr>
                        <a:t>     Grade </a:t>
                      </a:r>
                      <a:r>
                        <a:rPr lang="en-GB" sz="1600" kern="1200" dirty="0">
                          <a:solidFill>
                            <a:schemeClr val="tx2"/>
                          </a:solidFill>
                          <a:latin typeface="+mn-lt"/>
                          <a:ea typeface="Arial" charset="0"/>
                          <a:cs typeface="Arial" pitchFamily="34" charset="-120"/>
                        </a:rPr>
                        <a:t>≥3</a:t>
                      </a:r>
                      <a:endParaRPr lang="en-GB" sz="1600" kern="1200" baseline="30000" dirty="0">
                        <a:solidFill>
                          <a:schemeClr val="tx2"/>
                        </a:solidFill>
                        <a:latin typeface="+mn-lt"/>
                        <a:ea typeface="Arial" charset="0"/>
                        <a:cs typeface="Arial" pitchFamily="34" charset="-120"/>
                      </a:endParaRPr>
                    </a:p>
                  </a:txBody>
                  <a:tcPr marL="84667" marR="84667" marT="33867" marB="3386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GB" sz="1600" b="0" dirty="0">
                          <a:solidFill>
                            <a:schemeClr val="tx2"/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2%</a:t>
                      </a:r>
                    </a:p>
                  </a:txBody>
                  <a:tcPr marL="84667" marR="84667" marT="33867" marB="3386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885090"/>
                  </a:ext>
                </a:extLst>
              </a:tr>
            </a:tbl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25E7B402-1954-4B92-3209-02E2F2988917}"/>
              </a:ext>
            </a:extLst>
          </p:cNvPr>
          <p:cNvSpPr/>
          <p:nvPr/>
        </p:nvSpPr>
        <p:spPr>
          <a:xfrm>
            <a:off x="469173" y="2132763"/>
            <a:ext cx="314632" cy="164247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hase 1b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=47</a:t>
            </a: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211891E-B3DD-B8AE-F5E1-8A42143C8F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651" y="6356350"/>
            <a:ext cx="383694" cy="365125"/>
          </a:xfrm>
        </p:spPr>
        <p:txBody>
          <a:bodyPr vert="horz" lIns="0" tIns="0" rIns="0" bIns="0"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306B0CF-28DA-4AF7-AD0B-CB9D5901F647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82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8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83693922"/>
      </p:ext>
    </p:extLst>
  </p:cSld>
  <p:clrMapOvr>
    <a:masterClrMapping/>
  </p:clrMapOvr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F03CEA1-E125-7187-5E41-79E463EBCB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0647" y="311858"/>
            <a:ext cx="9789459" cy="632402"/>
          </a:xfrm>
          <a:noFill/>
        </p:spPr>
        <p:txBody>
          <a:bodyPr/>
          <a:lstStyle/>
          <a:p>
            <a:r>
              <a:rPr lang="en-GB" sz="3200" dirty="0" err="1"/>
              <a:t>Loncastuximab</a:t>
            </a:r>
            <a:r>
              <a:rPr lang="en-GB" sz="3200"/>
              <a:t> </a:t>
            </a:r>
            <a:r>
              <a:rPr lang="en-GB" sz="3200" dirty="0" err="1"/>
              <a:t>tesirine-epcoritamab</a:t>
            </a:r>
            <a:r>
              <a:rPr lang="en-GB" sz="3200"/>
              <a:t> (</a:t>
            </a:r>
            <a:r>
              <a:rPr lang="en-GB" sz="3200" b="1"/>
              <a:t>CLEAR</a:t>
            </a:r>
            <a:r>
              <a:rPr lang="en-GB" sz="3200"/>
              <a:t>)</a:t>
            </a:r>
            <a:r>
              <a:rPr lang="en-GB" sz="3200" baseline="30000"/>
              <a:t>1</a:t>
            </a:r>
            <a:r>
              <a:rPr lang="en-CH" sz="3200" baseline="30000" dirty="0"/>
              <a:t>–3</a:t>
            </a:r>
            <a:r>
              <a:rPr lang="en-GB" sz="3200" baseline="30000"/>
              <a:t>,</a:t>
            </a:r>
            <a:r>
              <a:rPr lang="en-GB" sz="3200"/>
              <a:t>*</a:t>
            </a:r>
            <a:endParaRPr lang="en-GB" sz="320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5D2AFA7-2022-A328-6978-D528D1DCE6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651" y="6356350"/>
            <a:ext cx="383694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948FB62-8746-4D0D-BA71-8EB1BEE683ED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82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9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F8D26B4-43DB-3A06-1C45-BBC2E88AE56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70645" y="5718411"/>
            <a:ext cx="10440000" cy="1001539"/>
          </a:xfrm>
        </p:spPr>
        <p:txBody>
          <a:bodyPr/>
          <a:lstStyle/>
          <a:p>
            <a:r>
              <a:rPr lang="en-GB" dirty="0"/>
              <a:t>*For scientific discussion only, subject to regulatory approval. </a:t>
            </a:r>
            <a:r>
              <a:rPr lang="en-GB" kern="0" dirty="0"/>
              <a:t>†</a:t>
            </a:r>
            <a:r>
              <a:rPr lang="en-GB" dirty="0"/>
              <a:t>Epcoritamab step-up dosing with 0.16 mg priming dose given SC on Day 1, Cycle 1, followed by 0.8 mg dose SC on Day 8, Cycle 1 and 48 mg SC (full dose) on Day 15, Cycle 1. </a:t>
            </a:r>
            <a:r>
              <a:rPr lang="en-GB" kern="0" dirty="0"/>
              <a:t>‡Epcoritamab maintenance given Q4W until disease progression, relapse, unacceptable toxicity, death, major protocol deviation, pregnancy, patient or investigator decision. §</a:t>
            </a:r>
            <a:r>
              <a:rPr lang="en-GB" dirty="0"/>
              <a:t>Patients with relapse &gt;12 months after 1L therapy are eligible only if deemed ineligible for ASCT. ‖</a:t>
            </a:r>
            <a:r>
              <a:rPr lang="en-GB" kern="0" dirty="0"/>
              <a:t>Patients with prior treatment with Lonca or any CD3xCD20 bispecific antibody are excluded.</a:t>
            </a:r>
            <a:endParaRPr lang="en-GB" dirty="0"/>
          </a:p>
          <a:p>
            <a:r>
              <a:rPr lang="en-GB" dirty="0"/>
              <a:t>1L, first line; 2L, second line; ASCT, autologous stem cell transplantation; CAR-T, chimeric antigen receptor T-cell therapy; CIT, chemoimmunotherapy; CNS, central nervous system; DH, double-hit; </a:t>
            </a:r>
          </a:p>
          <a:p>
            <a:r>
              <a:rPr lang="en-GB" dirty="0"/>
              <a:t>DLBCL, diffuse large B-cell lymphoma; </a:t>
            </a:r>
            <a:r>
              <a:rPr lang="en-GB" dirty="0" err="1"/>
              <a:t>epcor</a:t>
            </a:r>
            <a:r>
              <a:rPr lang="en-GB" dirty="0"/>
              <a:t>, epcoritamab; FL3B, follicular lymphoma (Grade 3B); HGBL, high-grade B-cell lymphoma; IV, intravenous; Lonca, loncastuximab tesirine; </a:t>
            </a:r>
          </a:p>
          <a:p>
            <a:r>
              <a:rPr lang="en-GB" dirty="0"/>
              <a:t>NOS, not otherwise specified; SC, subcutaneous; Q2W, every 2 weeks; Q3W, every 3 weeks; Q4W, every 4 weeks; QW, weekly.</a:t>
            </a:r>
          </a:p>
          <a:p>
            <a:r>
              <a:rPr lang="en-GB" b="1" dirty="0"/>
              <a:t>1. </a:t>
            </a:r>
            <a:r>
              <a:rPr lang="en-GB" dirty="0"/>
              <a:t>Clinicaltrials.gov NCT07197307 </a:t>
            </a:r>
            <a:r>
              <a:rPr lang="en-GB" b="1" dirty="0"/>
              <a:t>2. </a:t>
            </a:r>
            <a:r>
              <a:rPr lang="en-GB" dirty="0"/>
              <a:t>clinicaltrialsregister.eu 2023-509861-19-01 </a:t>
            </a:r>
            <a:r>
              <a:rPr lang="en-GB" b="1" dirty="0"/>
              <a:t>3. </a:t>
            </a:r>
            <a:r>
              <a:rPr lang="en-GB" dirty="0"/>
              <a:t>German Lymphoma Alliance, CLEAR synopsis.</a:t>
            </a:r>
          </a:p>
        </p:txBody>
      </p:sp>
      <p:sp>
        <p:nvSpPr>
          <p:cNvPr id="18" name="object 7">
            <a:extLst>
              <a:ext uri="{FF2B5EF4-FFF2-40B4-BE49-F238E27FC236}">
                <a16:creationId xmlns:a16="http://schemas.microsoft.com/office/drawing/2014/main" id="{E3638FEA-23A3-B788-A27C-D31A1F947954}"/>
              </a:ext>
            </a:extLst>
          </p:cNvPr>
          <p:cNvSpPr txBox="1"/>
          <p:nvPr/>
        </p:nvSpPr>
        <p:spPr>
          <a:xfrm>
            <a:off x="3469825" y="1615739"/>
            <a:ext cx="5356669" cy="366956"/>
          </a:xfrm>
          <a:prstGeom prst="chevron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sv-SE"/>
            </a:defPPr>
            <a:lvl1pPr algn="ctr">
              <a:defRPr sz="14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reatment period</a:t>
            </a:r>
          </a:p>
        </p:txBody>
      </p:sp>
      <p:sp>
        <p:nvSpPr>
          <p:cNvPr id="23" name="object 7">
            <a:extLst>
              <a:ext uri="{FF2B5EF4-FFF2-40B4-BE49-F238E27FC236}">
                <a16:creationId xmlns:a16="http://schemas.microsoft.com/office/drawing/2014/main" id="{F532468C-FE84-F265-CF4A-9FD82E9B2B98}"/>
              </a:ext>
            </a:extLst>
          </p:cNvPr>
          <p:cNvSpPr txBox="1"/>
          <p:nvPr/>
        </p:nvSpPr>
        <p:spPr>
          <a:xfrm>
            <a:off x="858205" y="1615739"/>
            <a:ext cx="2702734" cy="366956"/>
          </a:xfrm>
          <a:prstGeom prst="chevron">
            <a:avLst/>
          </a:prstGeom>
          <a:solidFill>
            <a:schemeClr val="bg2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sv-SE"/>
            </a:defPPr>
            <a:lvl1pPr algn="ctr">
              <a:defRPr sz="14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creening</a:t>
            </a:r>
          </a:p>
        </p:txBody>
      </p:sp>
      <p:sp>
        <p:nvSpPr>
          <p:cNvPr id="24" name="object 48">
            <a:extLst>
              <a:ext uri="{FF2B5EF4-FFF2-40B4-BE49-F238E27FC236}">
                <a16:creationId xmlns:a16="http://schemas.microsoft.com/office/drawing/2014/main" id="{53DEDA6C-F4BA-A790-5FBD-64368E068FD4}"/>
              </a:ext>
            </a:extLst>
          </p:cNvPr>
          <p:cNvSpPr txBox="1"/>
          <p:nvPr/>
        </p:nvSpPr>
        <p:spPr>
          <a:xfrm>
            <a:off x="858205" y="4420357"/>
            <a:ext cx="7241526" cy="675313"/>
          </a:xfrm>
          <a:prstGeom prst="rect">
            <a:avLst/>
          </a:prstGeom>
          <a:ln w="12700">
            <a:solidFill>
              <a:schemeClr val="accent3"/>
            </a:solidFill>
          </a:ln>
        </p:spPr>
        <p:txBody>
          <a:bodyPr vert="horz" wrap="square" lIns="91440" tIns="45720" rIns="0" bIns="45720" rtlCol="0" anchor="t">
            <a:spAutoFit/>
          </a:bodyPr>
          <a:lstStyle>
            <a:defPPr>
              <a:defRPr lang="en-US"/>
            </a:defPPr>
            <a:lvl1pPr marL="183600" indent="-183600">
              <a:lnSpc>
                <a:spcPct val="90000"/>
              </a:lnSpc>
              <a:spcBef>
                <a:spcPts val="800"/>
              </a:spcBef>
              <a:spcAft>
                <a:spcPts val="800"/>
              </a:spcAft>
              <a:buFont typeface="Arial" panose="020B0604020202020204" pitchFamily="34" charset="0"/>
              <a:buChar char="•"/>
              <a:defRPr sz="1200" b="1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55600" indent="-173038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539750" indent="-18415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722313" indent="-182563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895350" indent="-173038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183600" marR="0" lvl="0" indent="-183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Calibri" panose="020F0502020204030204" pitchFamily="34" charset="0"/>
              </a:rPr>
              <a:t>R/R DLBCL, HGBL NOS, HGBL with DH, FL3B</a:t>
            </a:r>
            <a:r>
              <a:rPr kumimoji="0" lang="en-GB" sz="1400" b="0" i="0" u="none" strike="noStrike" kern="0" cap="none" spc="0" normalizeH="0" baseline="3000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Calibri" panose="020F0502020204030204" pitchFamily="34" charset="0"/>
              </a:rPr>
              <a:t>§ </a:t>
            </a:r>
          </a:p>
          <a:p>
            <a:pPr marL="183600" marR="0" lvl="0" indent="-183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Calibri" panose="020F0502020204030204" pitchFamily="34" charset="0"/>
              </a:rPr>
              <a:t>Known CNS involvement and prior lymphoma-directed treatments other than 1L anti-CD20-/anthracycline-containing CIT or 2L CAR-T are excluded</a:t>
            </a:r>
            <a:r>
              <a:rPr kumimoji="0" lang="en-GB" sz="1400" b="0" i="0" u="none" strike="noStrike" kern="0" cap="none" spc="0" normalizeH="0" baseline="3000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Calibri" panose="020F0502020204030204" pitchFamily="34" charset="0"/>
              </a:rPr>
              <a:t>‖</a:t>
            </a:r>
          </a:p>
        </p:txBody>
      </p:sp>
      <p:sp>
        <p:nvSpPr>
          <p:cNvPr id="25" name="object 46">
            <a:extLst>
              <a:ext uri="{FF2B5EF4-FFF2-40B4-BE49-F238E27FC236}">
                <a16:creationId xmlns:a16="http://schemas.microsoft.com/office/drawing/2014/main" id="{F35EE47C-4E8C-BB51-26E4-3268A15C2E9A}"/>
              </a:ext>
            </a:extLst>
          </p:cNvPr>
          <p:cNvSpPr txBox="1"/>
          <p:nvPr/>
        </p:nvSpPr>
        <p:spPr>
          <a:xfrm>
            <a:off x="858205" y="4178823"/>
            <a:ext cx="7241526" cy="246888"/>
          </a:xfrm>
          <a:prstGeom prst="rect">
            <a:avLst/>
          </a:prstGeom>
          <a:solidFill>
            <a:schemeClr val="accent3"/>
          </a:solidFill>
          <a:ln w="12700" cap="flat" cmpd="sng" algn="ctr">
            <a:solidFill>
              <a:schemeClr val="accent3"/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>
            <a:defPPr>
              <a:defRPr lang="en-US"/>
            </a:defPPr>
            <a:lvl1pPr algn="ctr">
              <a:defRPr sz="14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tudy population</a:t>
            </a:r>
          </a:p>
        </p:txBody>
      </p:sp>
      <p:sp>
        <p:nvSpPr>
          <p:cNvPr id="30" name="object 48">
            <a:extLst>
              <a:ext uri="{FF2B5EF4-FFF2-40B4-BE49-F238E27FC236}">
                <a16:creationId xmlns:a16="http://schemas.microsoft.com/office/drawing/2014/main" id="{A1416AEA-8E34-5501-B561-5F90348B1C9F}"/>
              </a:ext>
            </a:extLst>
          </p:cNvPr>
          <p:cNvSpPr txBox="1"/>
          <p:nvPr/>
        </p:nvSpPr>
        <p:spPr>
          <a:xfrm>
            <a:off x="8445206" y="4420357"/>
            <a:ext cx="2692188" cy="481414"/>
          </a:xfrm>
          <a:prstGeom prst="rect">
            <a:avLst/>
          </a:prstGeom>
          <a:ln w="12700">
            <a:solidFill>
              <a:schemeClr val="accent3"/>
            </a:solidFill>
          </a:ln>
        </p:spPr>
        <p:txBody>
          <a:bodyPr vert="horz" wrap="square" lIns="91440" tIns="45720" rIns="0" bIns="45720" rtlCol="0" anchor="t">
            <a:spAutoFit/>
          </a:bodyPr>
          <a:lstStyle>
            <a:defPPr>
              <a:defRPr lang="en-US"/>
            </a:defPPr>
            <a:lvl1pPr marL="183600" indent="-183600">
              <a:lnSpc>
                <a:spcPct val="90000"/>
              </a:lnSpc>
              <a:spcBef>
                <a:spcPts val="800"/>
              </a:spcBef>
              <a:spcAft>
                <a:spcPts val="800"/>
              </a:spcAft>
              <a:buFont typeface="Arial" panose="020B0604020202020204" pitchFamily="34" charset="0"/>
              <a:buChar char="•"/>
              <a:defRPr sz="1200" b="1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55600" indent="-173038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539750" indent="-18415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722313" indent="-182563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895350" indent="-173038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­"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Calibri" panose="020F0502020204030204" pitchFamily="34" charset="0"/>
              </a:rPr>
              <a:t>Best overall response rate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Calibri" panose="020F0502020204030204" pitchFamily="34" charset="0"/>
              </a:rPr>
              <a:t>(up to 12 months of treatment)</a:t>
            </a: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Calibri" panose="020F0502020204030204" pitchFamily="34" charset="0"/>
            </a:endParaRPr>
          </a:p>
        </p:txBody>
      </p:sp>
      <p:sp>
        <p:nvSpPr>
          <p:cNvPr id="31" name="object 46">
            <a:extLst>
              <a:ext uri="{FF2B5EF4-FFF2-40B4-BE49-F238E27FC236}">
                <a16:creationId xmlns:a16="http://schemas.microsoft.com/office/drawing/2014/main" id="{A0BF402D-38FC-4C2E-6575-D0BC7AA1997A}"/>
              </a:ext>
            </a:extLst>
          </p:cNvPr>
          <p:cNvSpPr txBox="1"/>
          <p:nvPr/>
        </p:nvSpPr>
        <p:spPr>
          <a:xfrm>
            <a:off x="8445206" y="4178823"/>
            <a:ext cx="2692188" cy="246888"/>
          </a:xfrm>
          <a:prstGeom prst="rect">
            <a:avLst/>
          </a:prstGeom>
          <a:solidFill>
            <a:schemeClr val="accent3"/>
          </a:solidFill>
          <a:ln w="12700" cap="flat" cmpd="sng" algn="ctr">
            <a:solidFill>
              <a:schemeClr val="accent3"/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>
            <a:defPPr>
              <a:defRPr lang="en-US"/>
            </a:defPPr>
            <a:lvl1pPr algn="ctr">
              <a:defRPr sz="14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imary endpoint</a:t>
            </a:r>
          </a:p>
        </p:txBody>
      </p:sp>
      <p:sp>
        <p:nvSpPr>
          <p:cNvPr id="33" name="object 15">
            <a:extLst>
              <a:ext uri="{FF2B5EF4-FFF2-40B4-BE49-F238E27FC236}">
                <a16:creationId xmlns:a16="http://schemas.microsoft.com/office/drawing/2014/main" id="{2651C913-7B20-81B8-AD67-1177F32ED486}"/>
              </a:ext>
            </a:extLst>
          </p:cNvPr>
          <p:cNvSpPr txBox="1"/>
          <p:nvPr/>
        </p:nvSpPr>
        <p:spPr>
          <a:xfrm rot="5400000" flipH="1">
            <a:off x="7837773" y="2828477"/>
            <a:ext cx="1636585" cy="353472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sv-SE"/>
            </a:defPPr>
            <a:lvl1pPr algn="ctr">
              <a:defRPr sz="14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End of treatment</a:t>
            </a:r>
          </a:p>
        </p:txBody>
      </p:sp>
      <p:sp>
        <p:nvSpPr>
          <p:cNvPr id="34" name="Rechteck 18">
            <a:extLst>
              <a:ext uri="{FF2B5EF4-FFF2-40B4-BE49-F238E27FC236}">
                <a16:creationId xmlns:a16="http://schemas.microsoft.com/office/drawing/2014/main" id="{F445321E-9773-7DB0-FE69-151298248E5E}"/>
              </a:ext>
            </a:extLst>
          </p:cNvPr>
          <p:cNvSpPr/>
          <p:nvPr/>
        </p:nvSpPr>
        <p:spPr>
          <a:xfrm>
            <a:off x="3560939" y="2116008"/>
            <a:ext cx="4795275" cy="179065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Loncastuximab tesirine </a:t>
            </a:r>
            <a:r>
              <a:rPr kumimoji="0" lang="en-GB" sz="1200" b="0" i="1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(7 days prior to initiating epcoritamab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50 </a:t>
            </a:r>
            <a:r>
              <a:rPr kumimoji="0" lang="en-GB" sz="1400" b="0" i="0" u="none" strike="noStrike" kern="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μg</a:t>
            </a: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/kg IV Q3W for 2 cycles, then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75 </a:t>
            </a:r>
            <a:r>
              <a:rPr kumimoji="0" lang="en-GB" sz="1400" b="0" i="0" u="none" strike="noStrike" kern="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μg</a:t>
            </a: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/kg IV Q3W for up to 8 cycle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+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Epcoritamab </a:t>
            </a: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tep-up dosing in Cycle 1*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48 mg SC QW in Cycles 2–3, 48 mg SC Q2W in Cycles 4–9,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48 mg SC Q4W in Cycles ≥10</a:t>
            </a:r>
            <a:r>
              <a:rPr kumimoji="0" lang="en-GB" sz="1400" b="0" i="0" u="none" strike="noStrike" kern="0" cap="none" spc="0" normalizeH="0" baseline="30000" noProof="0" dirty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†</a:t>
            </a:r>
            <a:endParaRPr kumimoji="0" lang="en-GB" sz="1400" b="0" i="0" u="none" strike="noStrike" kern="0" cap="none" spc="0" normalizeH="0" baseline="3000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8" name="Rechteck 18">
            <a:extLst>
              <a:ext uri="{FF2B5EF4-FFF2-40B4-BE49-F238E27FC236}">
                <a16:creationId xmlns:a16="http://schemas.microsoft.com/office/drawing/2014/main" id="{89A16871-C841-60E8-F6E7-B5B3FCB9D830}"/>
              </a:ext>
            </a:extLst>
          </p:cNvPr>
          <p:cNvSpPr/>
          <p:nvPr/>
        </p:nvSpPr>
        <p:spPr>
          <a:xfrm>
            <a:off x="830000" y="2116008"/>
            <a:ext cx="2639825" cy="179065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s </a:t>
            </a:r>
            <a:r>
              <a:rPr kumimoji="0" lang="en-GB" sz="1400" b="1" i="0" u="none" strike="noStrike" kern="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L</a:t>
            </a: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therapy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AR-T </a:t>
            </a: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aïve patients </a:t>
            </a: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with R/R DLBCL, HGBL, FL3B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s </a:t>
            </a: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3L</a:t>
            </a: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herapy (up to n</a:t>
            </a: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=60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AR-T-exposed</a:t>
            </a: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patients with R/R DLBCL, HGBL, FL3B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9" name="Rechteck 16">
            <a:extLst>
              <a:ext uri="{FF2B5EF4-FFF2-40B4-BE49-F238E27FC236}">
                <a16:creationId xmlns:a16="http://schemas.microsoft.com/office/drawing/2014/main" id="{75C513FE-CCB6-C3C1-2437-0CF9B85F8967}"/>
              </a:ext>
            </a:extLst>
          </p:cNvPr>
          <p:cNvSpPr/>
          <p:nvPr/>
        </p:nvSpPr>
        <p:spPr>
          <a:xfrm>
            <a:off x="977718" y="3725049"/>
            <a:ext cx="2344388" cy="329949"/>
          </a:xfrm>
          <a:prstGeom prst="rect">
            <a:avLst/>
          </a:prstGeom>
          <a:solidFill>
            <a:schemeClr val="bg1"/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=120 (Safety run-in, n=20)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CFB8D7B-F9AD-8CC7-DF3C-66404FF2A1CC}"/>
              </a:ext>
            </a:extLst>
          </p:cNvPr>
          <p:cNvSpPr/>
          <p:nvPr/>
        </p:nvSpPr>
        <p:spPr>
          <a:xfrm>
            <a:off x="469173" y="2116008"/>
            <a:ext cx="314632" cy="179065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8585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hase 2</a:t>
            </a:r>
            <a:endParaRPr kumimoji="0" lang="en-GB" sz="1000" b="0" i="0" u="none" strike="noStrike" kern="1200" cap="none" spc="0" normalizeH="0" baseline="30000" noProof="0" dirty="0">
              <a:ln>
                <a:noFill/>
              </a:ln>
              <a:solidFill>
                <a:srgbClr val="585854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345233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Office-tema">
  <a:themeElements>
    <a:clrScheme name="Sobi">
      <a:dk1>
        <a:srgbClr val="000000"/>
      </a:dk1>
      <a:lt1>
        <a:srgbClr val="FFFFFF"/>
      </a:lt1>
      <a:dk2>
        <a:srgbClr val="585854"/>
      </a:dk2>
      <a:lt2>
        <a:srgbClr val="9D9C98"/>
      </a:lt2>
      <a:accent1>
        <a:srgbClr val="EB9200"/>
      </a:accent1>
      <a:accent2>
        <a:srgbClr val="FCB832"/>
      </a:accent2>
      <a:accent3>
        <a:srgbClr val="2C5E77"/>
      </a:accent3>
      <a:accent4>
        <a:srgbClr val="4CA1A6"/>
      </a:accent4>
      <a:accent5>
        <a:srgbClr val="F15922"/>
      </a:accent5>
      <a:accent6>
        <a:srgbClr val="ABBFC9"/>
      </a:accent6>
      <a:hlink>
        <a:srgbClr val="0563C1"/>
      </a:hlink>
      <a:folHlink>
        <a:srgbClr val="954F71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Sobi_PPT_Template.pptx" id="{3D69DFA9-1BED-46DE-9B99-2BA27AB6639B}" vid="{52522539-0592-403E-886A-93174EEDD1D6}"/>
    </a:ext>
  </a:extLst>
</a:theme>
</file>

<file path=ppt/theme/theme2.xml><?xml version="1.0" encoding="utf-8"?>
<a:theme xmlns:a="http://schemas.openxmlformats.org/drawingml/2006/main" name="1_Office-tema">
  <a:themeElements>
    <a:clrScheme name="Sobi">
      <a:dk1>
        <a:srgbClr val="000000"/>
      </a:dk1>
      <a:lt1>
        <a:srgbClr val="FFFFFF"/>
      </a:lt1>
      <a:dk2>
        <a:srgbClr val="585854"/>
      </a:dk2>
      <a:lt2>
        <a:srgbClr val="9D9C98"/>
      </a:lt2>
      <a:accent1>
        <a:srgbClr val="EB9200"/>
      </a:accent1>
      <a:accent2>
        <a:srgbClr val="FCB832"/>
      </a:accent2>
      <a:accent3>
        <a:srgbClr val="2C5E77"/>
      </a:accent3>
      <a:accent4>
        <a:srgbClr val="4CA1A6"/>
      </a:accent4>
      <a:accent5>
        <a:srgbClr val="F15922"/>
      </a:accent5>
      <a:accent6>
        <a:srgbClr val="ABBFC9"/>
      </a:accent6>
      <a:hlink>
        <a:srgbClr val="0563C1"/>
      </a:hlink>
      <a:folHlink>
        <a:srgbClr val="954F71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Sobi_PPT_Template.pptx" id="{3D69DFA9-1BED-46DE-9B99-2BA27AB6639B}" vid="{52522539-0592-403E-886A-93174EEDD1D6}"/>
    </a:ext>
  </a:extLst>
</a:theme>
</file>

<file path=ppt/theme/theme3.xml><?xml version="1.0" encoding="utf-8"?>
<a:theme xmlns:a="http://schemas.openxmlformats.org/drawingml/2006/main" name="2_Office-tema">
  <a:themeElements>
    <a:clrScheme name="Sobi">
      <a:dk1>
        <a:srgbClr val="000000"/>
      </a:dk1>
      <a:lt1>
        <a:srgbClr val="FFFFFF"/>
      </a:lt1>
      <a:dk2>
        <a:srgbClr val="585854"/>
      </a:dk2>
      <a:lt2>
        <a:srgbClr val="9D9C98"/>
      </a:lt2>
      <a:accent1>
        <a:srgbClr val="EB9200"/>
      </a:accent1>
      <a:accent2>
        <a:srgbClr val="FCB832"/>
      </a:accent2>
      <a:accent3>
        <a:srgbClr val="2C5E77"/>
      </a:accent3>
      <a:accent4>
        <a:srgbClr val="4CA1A6"/>
      </a:accent4>
      <a:accent5>
        <a:srgbClr val="F15922"/>
      </a:accent5>
      <a:accent6>
        <a:srgbClr val="ABBFC9"/>
      </a:accent6>
      <a:hlink>
        <a:srgbClr val="0563C1"/>
      </a:hlink>
      <a:folHlink>
        <a:srgbClr val="954F71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Sobi_PPT_Template.pptx" id="{3D69DFA9-1BED-46DE-9B99-2BA27AB6639B}" vid="{52522539-0592-403E-886A-93174EEDD1D6}"/>
    </a:ext>
  </a:extLst>
</a:theme>
</file>

<file path=ppt/theme/theme4.xml><?xml version="1.0" encoding="utf-8"?>
<a:theme xmlns:a="http://schemas.openxmlformats.org/drawingml/2006/main" name="3_Office-tema">
  <a:themeElements>
    <a:clrScheme name="Sobi">
      <a:dk1>
        <a:srgbClr val="000000"/>
      </a:dk1>
      <a:lt1>
        <a:srgbClr val="FFFFFF"/>
      </a:lt1>
      <a:dk2>
        <a:srgbClr val="585854"/>
      </a:dk2>
      <a:lt2>
        <a:srgbClr val="9D9C98"/>
      </a:lt2>
      <a:accent1>
        <a:srgbClr val="EB9200"/>
      </a:accent1>
      <a:accent2>
        <a:srgbClr val="FCB832"/>
      </a:accent2>
      <a:accent3>
        <a:srgbClr val="2C5E77"/>
      </a:accent3>
      <a:accent4>
        <a:srgbClr val="4CA1A6"/>
      </a:accent4>
      <a:accent5>
        <a:srgbClr val="F15922"/>
      </a:accent5>
      <a:accent6>
        <a:srgbClr val="ABBFC9"/>
      </a:accent6>
      <a:hlink>
        <a:srgbClr val="0563C1"/>
      </a:hlink>
      <a:folHlink>
        <a:srgbClr val="954F71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Sobi_PPT_Template.pptx" id="{3D69DFA9-1BED-46DE-9B99-2BA27AB6639B}" vid="{52522539-0592-403E-886A-93174EEDD1D6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b4238778-dc0e-4366-9962-c91ac7a1ed0e">
      <Value>3</Value>
      <Value>2</Value>
      <Value>1</Value>
    </TaxCatchAll>
    <lcf76f155ced4ddcb4097134ff3c332f xmlns="738c95a8-6750-45aa-88af-610f913f5103">
      <Terms xmlns="http://schemas.microsoft.com/office/infopath/2007/PartnerControls"/>
    </lcf76f155ced4ddcb4097134ff3c332f>
    <p313a5ce98d74179bc45620b65289838 xmlns="738c95a8-6750-45aa-88af-610f913f5103">
      <Terms xmlns="http://schemas.microsoft.com/office/infopath/2007/PartnerControls">
        <TermInfo xmlns="http://schemas.microsoft.com/office/infopath/2007/PartnerControls">
          <TermName xmlns="http://schemas.microsoft.com/office/infopath/2007/PartnerControls">Haematology</TermName>
          <TermId xmlns="http://schemas.microsoft.com/office/infopath/2007/PartnerControls">5920c2df-8629-43ab-9187-e58e2986e19d</TermId>
        </TermInfo>
      </Terms>
    </p313a5ce98d74179bc45620b65289838>
    <cc1a0134a7dd4104b3518ae07c3fd8ae xmlns="738c95a8-6750-45aa-88af-610f913f5103">
      <Terms xmlns="http://schemas.microsoft.com/office/infopath/2007/PartnerControls">
        <TermInfo xmlns="http://schemas.microsoft.com/office/infopath/2007/PartnerControls">
          <TermName xmlns="http://schemas.microsoft.com/office/infopath/2007/PartnerControls">Medical Affairs</TermName>
          <TermId xmlns="http://schemas.microsoft.com/office/infopath/2007/PartnerControls">348ca8d2-b8d9-4d27-afe1-896d3d6b1be8</TermId>
        </TermInfo>
      </Terms>
    </cc1a0134a7dd4104b3518ae07c3fd8ae>
    <b3b8c5b64f2c494c96cd53faf5c5a719 xmlns="738c95a8-6750-45aa-88af-610f913f5103">
      <Terms xmlns="http://schemas.microsoft.com/office/infopath/2007/PartnerControls">
        <TermInfo xmlns="http://schemas.microsoft.com/office/infopath/2007/PartnerControls">
          <TermName xmlns="http://schemas.microsoft.com/office/infopath/2007/PartnerControls">Project</TermName>
          <TermId xmlns="http://schemas.microsoft.com/office/infopath/2007/PartnerControls">ef332e20-8008-4a6b-bba5-5567d83cea6e</TermId>
        </TermInfo>
      </Terms>
    </b3b8c5b64f2c494c96cd53faf5c5a719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C29B53CBDEB854EBDCFB1A69AC17F61" ma:contentTypeVersion="28" ma:contentTypeDescription="Create a new document." ma:contentTypeScope="" ma:versionID="8553c301907c88acbba1db543fb90772">
  <xsd:schema xmlns:xsd="http://www.w3.org/2001/XMLSchema" xmlns:xs="http://www.w3.org/2001/XMLSchema" xmlns:p="http://schemas.microsoft.com/office/2006/metadata/properties" xmlns:ns2="b4238778-dc0e-4366-9962-c91ac7a1ed0e" xmlns:ns3="738c95a8-6750-45aa-88af-610f913f5103" xmlns:ns4="609a6879-d0c1-42e3-82dc-d8eec7660c58" targetNamespace="http://schemas.microsoft.com/office/2006/metadata/properties" ma:root="true" ma:fieldsID="d74a00f56a5dfda4fbf506eb136c5496" ns2:_="" ns3:_="" ns4:_="">
    <xsd:import namespace="b4238778-dc0e-4366-9962-c91ac7a1ed0e"/>
    <xsd:import namespace="738c95a8-6750-45aa-88af-610f913f5103"/>
    <xsd:import namespace="609a6879-d0c1-42e3-82dc-d8eec7660c58"/>
    <xsd:element name="properties">
      <xsd:complexType>
        <xsd:sequence>
          <xsd:element name="documentManagement">
            <xsd:complexType>
              <xsd:all>
                <xsd:element ref="ns2:TaxCatchAll" minOccurs="0"/>
                <xsd:element ref="ns3:p313a5ce98d74179bc45620b65289838" minOccurs="0"/>
                <xsd:element ref="ns3:cc1a0134a7dd4104b3518ae07c3fd8ae" minOccurs="0"/>
                <xsd:element ref="ns3:b3b8c5b64f2c494c96cd53faf5c5a719" minOccurs="0"/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DateTaken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4:SharedWithUsers" minOccurs="0"/>
                <xsd:element ref="ns4:SharedWithDetails" minOccurs="0"/>
                <xsd:element ref="ns3:MediaLengthInSeconds" minOccurs="0"/>
                <xsd:element ref="ns3:lcf76f155ced4ddcb4097134ff3c332f" minOccurs="0"/>
                <xsd:element ref="ns3:MediaServiceOCR" minOccurs="0"/>
                <xsd:element ref="ns3:MediaServiceObjectDetectorVersions" minOccurs="0"/>
                <xsd:element ref="ns3:MediaServiceSearchProperties" minOccurs="0"/>
                <xsd:element ref="ns3:MediaServiceLocation" minOccurs="0"/>
                <xsd:element ref="ns3:MediaServiceBillingMetadata" minOccurs="0"/>
                <xsd:element ref="ns3:MediaServiceDocTag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4238778-dc0e-4366-9962-c91ac7a1ed0e" elementFormDefault="qualified">
    <xsd:import namespace="http://schemas.microsoft.com/office/2006/documentManagement/types"/>
    <xsd:import namespace="http://schemas.microsoft.com/office/infopath/2007/PartnerControls"/>
    <xsd:element name="TaxCatchAll" ma:index="8" nillable="true" ma:displayName="Taxonomy Catch All Column" ma:hidden="true" ma:list="{db127460-d8b4-427f-9cbe-58f73e0a07a9}" ma:internalName="TaxCatchAll" ma:showField="CatchAllData" ma:web="609a6879-d0c1-42e3-82dc-d8eec7660c5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38c95a8-6750-45aa-88af-610f913f5103" elementFormDefault="qualified">
    <xsd:import namespace="http://schemas.microsoft.com/office/2006/documentManagement/types"/>
    <xsd:import namespace="http://schemas.microsoft.com/office/infopath/2007/PartnerControls"/>
    <xsd:element name="p313a5ce98d74179bc45620b65289838" ma:index="10" nillable="true" ma:taxonomy="true" ma:internalName="p313a5ce98d74179bc45620b65289838" ma:taxonomyFieldName="Franchise" ma:displayName="franchise" ma:fieldId="{9313a5ce-98d7-4179-bc45-620b65289838}" ma:sspId="ab87fba6-b3a6-4e2a-943c-006c67f29307" ma:termSetId="bb3ecf80-5067-47fa-a325-40d4b7a9e9ab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cc1a0134a7dd4104b3518ae07c3fd8ae" ma:index="12" nillable="true" ma:taxonomy="true" ma:internalName="cc1a0134a7dd4104b3518ae07c3fd8ae" ma:taxonomyFieldName="Function" ma:displayName="function" ma:fieldId="{cc1a0134-a7dd-4104-b351-8ae07c3fd8ae}" ma:sspId="ab87fba6-b3a6-4e2a-943c-006c67f29307" ma:termSetId="de854747-5d57-4c24-8067-0549cb70b87d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b3b8c5b64f2c494c96cd53faf5c5a719" ma:index="14" nillable="true" ma:taxonomy="true" ma:internalName="b3b8c5b64f2c494c96cd53faf5c5a719" ma:taxonomyFieldName="Organisationtype" ma:displayName="organisationtype" ma:fieldId="{b3b8c5b6-4f2c-494c-96cd-53faf5c5a719}" ma:sspId="ab87fba6-b3a6-4e2a-943c-006c67f29307" ma:termSetId="14489088-61dd-4e64-827e-238ef81d0ace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MediaServiceMetadata" ma:index="15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6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9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20" nillable="true" ma:displayName="Tags" ma:internalName="MediaServiceAutoTags" ma:readOnly="true">
      <xsd:simpleType>
        <xsd:restriction base="dms:Text"/>
      </xsd:simpleType>
    </xsd:element>
    <xsd:element name="MediaServiceGenerationTime" ma:index="2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25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7" nillable="true" ma:taxonomy="true" ma:internalName="lcf76f155ced4ddcb4097134ff3c332f" ma:taxonomyFieldName="MediaServiceImageTags" ma:displayName="Image Tags" ma:readOnly="false" ma:fieldId="{5cf76f15-5ced-4ddc-b409-7134ff3c332f}" ma:taxonomyMulti="true" ma:sspId="ab87fba6-b3a6-4e2a-943c-006c67f2930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9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3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31" nillable="true" ma:displayName="Location" ma:indexed="true" ma:internalName="MediaServiceLocation" ma:readOnly="true">
      <xsd:simpleType>
        <xsd:restriction base="dms:Text"/>
      </xsd:simpleType>
    </xsd:element>
    <xsd:element name="MediaServiceBillingMetadata" ma:index="32" nillable="true" ma:displayName="MediaServiceBillingMetadata" ma:hidden="true" ma:internalName="MediaServiceBillingMetadata" ma:readOnly="true">
      <xsd:simpleType>
        <xsd:restriction base="dms:Note"/>
      </xsd:simpleType>
    </xsd:element>
    <xsd:element name="MediaServiceDocTags" ma:index="33" nillable="true" ma:displayName="MediaServiceDocTags" ma:hidden="true" ma:internalName="MediaServiceDocTag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09a6879-d0c1-42e3-82dc-d8eec7660c58" elementFormDefault="qualified">
    <xsd:import namespace="http://schemas.microsoft.com/office/2006/documentManagement/types"/>
    <xsd:import namespace="http://schemas.microsoft.com/office/infopath/2007/PartnerControls"/>
    <xsd:element name="SharedWithUsers" ma:index="2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36FA71D-2380-423F-89E3-F3B859918B81}">
  <ds:schemaRefs>
    <ds:schemaRef ds:uri="http://purl.org/dc/terms/"/>
    <ds:schemaRef ds:uri="609a6879-d0c1-42e3-82dc-d8eec7660c58"/>
    <ds:schemaRef ds:uri="http://www.w3.org/XML/1998/namespace"/>
    <ds:schemaRef ds:uri="http://purl.org/dc/elements/1.1/"/>
    <ds:schemaRef ds:uri="http://schemas.microsoft.com/office/2006/documentManagement/types"/>
    <ds:schemaRef ds:uri="http://schemas.openxmlformats.org/package/2006/metadata/core-properties"/>
    <ds:schemaRef ds:uri="http://schemas.microsoft.com/office/2006/metadata/properties"/>
    <ds:schemaRef ds:uri="738c95a8-6750-45aa-88af-610f913f5103"/>
    <ds:schemaRef ds:uri="http://schemas.microsoft.com/office/infopath/2007/PartnerControls"/>
    <ds:schemaRef ds:uri="b4238778-dc0e-4366-9962-c91ac7a1ed0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46E804DF-9B4A-4B57-A5EE-DB82976AA03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4238778-dc0e-4366-9962-c91ac7a1ed0e"/>
    <ds:schemaRef ds:uri="738c95a8-6750-45aa-88af-610f913f5103"/>
    <ds:schemaRef ds:uri="609a6879-d0c1-42e3-82dc-d8eec7660c5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48FDA3BE-46D0-4759-A58A-719A7EDF171D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aed4bbdf-0e25-49d4-bb6d-25da793a49df}" enabled="1" method="Standard" siteId="{2a2b3b7c-2102-4caf-911e-f24595387c50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Sobi_PPT_Template</Template>
  <TotalTime>0</TotalTime>
  <Words>30604</Words>
  <Application>Microsoft Office PowerPoint</Application>
  <PresentationFormat>Widescreen</PresentationFormat>
  <Paragraphs>3785</Paragraphs>
  <Slides>107</Slides>
  <Notes>107</Notes>
  <HiddenSlides>0</HiddenSlides>
  <MMClips>0</MMClips>
  <ScaleCrop>false</ScaleCrop>
  <HeadingPairs>
    <vt:vector size="4" baseType="variant">
      <vt:variant>
        <vt:lpstr>Theme</vt:lpstr>
      </vt:variant>
      <vt:variant>
        <vt:i4>4</vt:i4>
      </vt:variant>
      <vt:variant>
        <vt:lpstr>Slide Titles</vt:lpstr>
      </vt:variant>
      <vt:variant>
        <vt:i4>107</vt:i4>
      </vt:variant>
    </vt:vector>
  </HeadingPairs>
  <TitlesOfParts>
    <vt:vector size="111" baseType="lpstr">
      <vt:lpstr>Office-tema</vt:lpstr>
      <vt:lpstr>1_Office-tema</vt:lpstr>
      <vt:lpstr>2_Office-tema</vt:lpstr>
      <vt:lpstr>3_Office-tema</vt:lpstr>
      <vt:lpstr>Treating relapsed/refractory  diffuse large B-cell lymphoma in 2026:  Existing gaps, daily practice and next moves</vt:lpstr>
      <vt:lpstr>Disclaimer &amp; important information</vt:lpstr>
      <vt:lpstr>Faculty disclosures</vt:lpstr>
      <vt:lpstr>Introductions</vt:lpstr>
      <vt:lpstr>Today’s agenda</vt:lpstr>
      <vt:lpstr>Get ready to interact</vt:lpstr>
      <vt:lpstr>Diffuse large B-cell lymphoma today: Progresses and gaps  Professor Anna Sureda Catalan Institute of Oncology, Duran I Reynals Hospital,  Barcelona, Spain</vt:lpstr>
      <vt:lpstr>DLBCL is a common and aggressive lymphoma, with a high burden of disease</vt:lpstr>
      <vt:lpstr>DLBCL is a common and aggressive lymphoma, with a high burden of disease</vt:lpstr>
      <vt:lpstr>DLBCL is a common and aggressive lymphoma, with a high burden of disease</vt:lpstr>
      <vt:lpstr>DLBCL is a common and aggressive lymphoma, with a high burden of disease</vt:lpstr>
      <vt:lpstr>Use of Pola-R-CHP in 1L improved PFS, though long-term OS was not substantially changed1</vt:lpstr>
      <vt:lpstr>Outcomes are particularly poor as patients with R/R DLBCL progress to later lines of therapy1</vt:lpstr>
      <vt:lpstr>The treatment landscape for DLBCL has evolved and is constantly expanding</vt:lpstr>
      <vt:lpstr>As our treatment choice evolve, so do the challenges we face1</vt:lpstr>
      <vt:lpstr>Access to new LBCL therapies is uneven across Europe limiting the application of the guidelines1</vt:lpstr>
      <vt:lpstr>Guidelines are in place to support high-level decision-making, but decisions are personalised1</vt:lpstr>
      <vt:lpstr>In 2L DLBCL*, CAR-T and ASCT remain the key cornerstones for eligible patients1</vt:lpstr>
      <vt:lpstr>However, despite treatment advances, many unmet needs remain in 2L DLBCL</vt:lpstr>
      <vt:lpstr>DLBCL is an aggressive cancer with poor outcomes, particularly for certain patient subgroups</vt:lpstr>
      <vt:lpstr>Do we have the biomarkers we need to fully tailor our decisions for DLBCL patients?</vt:lpstr>
      <vt:lpstr>Do we have the biomarkers we need to fully tailor our decisions for DLBCL patients?</vt:lpstr>
      <vt:lpstr>PowerPoint Presentation</vt:lpstr>
      <vt:lpstr>Current options under scrutiny: What still limits outcomes?   Professor Andrew Davies University of Southampton,  Southampton, United Kingdom</vt:lpstr>
      <vt:lpstr>Guidelines recommend CAR-T for eligible patients refractory to 1L therapy, or who relapse within 12 months1</vt:lpstr>
      <vt:lpstr>CAR-T has a pivotal role in 2L DLBCL with curative potential</vt:lpstr>
      <vt:lpstr>Real-world access to CAR-T still faces practical considerations and potential challenges</vt:lpstr>
      <vt:lpstr>Real-world access to CAR-T still faces practical considerations and potential challenges</vt:lpstr>
      <vt:lpstr>Guidelines recommend ASCT for eligible patients who relapse after 12 months1</vt:lpstr>
      <vt:lpstr>Not all eligible patients receive ASCT, and those who do can experience treatment failure and toxicities</vt:lpstr>
      <vt:lpstr>Not all eligible patients receive ASCT, and those who do can experience treatment failure and toxicities</vt:lpstr>
      <vt:lpstr>There are various novel therapies available for patients  who do not receive CAR-T or ASCT1</vt:lpstr>
      <vt:lpstr>Glоfitamab‑GemOx in ASCT‑ineligible R/R DLBCL</vt:lpstr>
      <vt:lpstr>Glоfitamab‑GemOx in ASCT‑ineligible R/R DLBCL: Safety aspects</vt:lpstr>
      <vt:lpstr>Polatuzumab vedotin + BR in ASCT-ineligible R/R DLBCL</vt:lpstr>
      <vt:lpstr>Extensive real-world experience on Pola-BR</vt:lpstr>
      <vt:lpstr>Tafasitamab-lenalidomide in ASCT-ineligible R/R DLBCL1</vt:lpstr>
      <vt:lpstr>Tafasitamab-lenalidomide use in the real world</vt:lpstr>
      <vt:lpstr>Clinical decisions are bound to multiple factors1: Not all are elucidated, and each move has implications</vt:lpstr>
      <vt:lpstr>Beyond 2L treatment, these factors are even more important in decision making1</vt:lpstr>
      <vt:lpstr>CAR-T in DLBCL after 2L</vt:lpstr>
      <vt:lpstr>Bispecific antibodies as monotherapies in 3L</vt:lpstr>
      <vt:lpstr>The safety profile of bispecific monotherapy in 3L use in LBCL has been established</vt:lpstr>
      <vt:lpstr>Real-world experience with bispecific antibodies</vt:lpstr>
      <vt:lpstr>Can the immune system be appropriately targeted? Emerging data on T cell-engaging agents1 </vt:lpstr>
      <vt:lpstr>Loncastuximab tesirine monotherapy in heavily pretreated 3L+ R/R DLBCL1</vt:lpstr>
      <vt:lpstr>Real-world experience with loncastuximab tesirine</vt:lpstr>
      <vt:lpstr>Loncastuximab tesirine use in the peri-CAR-T setting</vt:lpstr>
      <vt:lpstr>DLBCL challenges: Many more new questions. More data needed</vt:lpstr>
      <vt:lpstr>PowerPoint Presentation</vt:lpstr>
      <vt:lpstr>Clinical case reflections:  Managing complexity in practice   Prof. Enrico Derenzini Clinical Haemato-Oncology Division, IEO European Institute of Oncology IRCCS, Milan, Italy</vt:lpstr>
      <vt:lpstr>PowerPoint Presentation</vt:lpstr>
      <vt:lpstr>Antigen expression in R/R DLBCL</vt:lpstr>
      <vt:lpstr>Antigen expression in R/R DLBCL</vt:lpstr>
      <vt:lpstr>Antigen expression in R/R DLBCL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What treatment options are available for this patient? </vt:lpstr>
      <vt:lpstr>PowerPoint Presentation</vt:lpstr>
      <vt:lpstr>PowerPoint Presentation</vt:lpstr>
      <vt:lpstr>Treatment of 1L follicular lymphoma</vt:lpstr>
      <vt:lpstr>DLBCL transformation</vt:lpstr>
      <vt:lpstr>How to choose our next move?</vt:lpstr>
      <vt:lpstr>Treatment of transformed follicular lymphoma (DLBCL)</vt:lpstr>
      <vt:lpstr>How to choose our next move?</vt:lpstr>
      <vt:lpstr>PowerPoint Presentation</vt:lpstr>
      <vt:lpstr>Progression after 3L therapy</vt:lpstr>
      <vt:lpstr>Progression after 3L therapy</vt:lpstr>
      <vt:lpstr>PowerPoint Presentation</vt:lpstr>
      <vt:lpstr>PowerPoint Presentation</vt:lpstr>
      <vt:lpstr>PowerPoint Presentation</vt:lpstr>
      <vt:lpstr>How to choose our next move?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Future perspectives:  What’s on the horizon?  Prof. Pier Luigi Zinzani Institute of Hematology «Seràgnoli» University of Bologna</vt:lpstr>
      <vt:lpstr>Combinations are the way of the future, for potentially personalised therapy1,*</vt:lpstr>
      <vt:lpstr>The frontline of the future will define our next moves in DLBCL, with increased complexity1,2,*</vt:lpstr>
      <vt:lpstr>Will tafasitamab be used in 1L?*  frontMIND1,2 (NCT04824092)</vt:lpstr>
      <vt:lpstr>Will CAR-T be used in 1L?* ZUMA-231 (NCT05605899)</vt:lpstr>
      <vt:lpstr>Will bispecific antibodies be used in 1L?* EPCORE NHL-51,2 (NCT05283720)</vt:lpstr>
      <vt:lpstr>Will bispecific antibodies be used in 1L?* EPCORE DLBCL-21 (NCT05578976)</vt:lpstr>
      <vt:lpstr>Will bispecific antibodies be used in 1L?*  SKYGLO1 (NCT06047080)  </vt:lpstr>
      <vt:lpstr>We will still have challenges, but new approaches can improve outcomes in R/R DLBCL</vt:lpstr>
      <vt:lpstr>Epcoritamab-Lenalidomide (EPCORE NHL-5)1,*</vt:lpstr>
      <vt:lpstr>Mosunetuzumab-polatuzumab vedotin (SUNMO)1,*</vt:lpstr>
      <vt:lpstr>Glofitamab and englumafusp alfa* (BP41072)1,†</vt:lpstr>
      <vt:lpstr>Polatuzumab vedotin-glofitamab (NCT03533283)1,*</vt:lpstr>
      <vt:lpstr>Loncastuximab tesirine-rituximab (LOTIS-5)1,2,*</vt:lpstr>
      <vt:lpstr>Loncastuximab tesirine-glofitamab (LOTIS-7)1,*</vt:lpstr>
      <vt:lpstr>Loncastuximab tesirine-epcoritamab (CLEAR)1–3,*</vt:lpstr>
      <vt:lpstr>Polatuzumab vedotin-R-GemOx (POLARGO)1,*</vt:lpstr>
      <vt:lpstr>PowerPoint Presentation</vt:lpstr>
      <vt:lpstr>PowerPoint Presentation</vt:lpstr>
      <vt:lpstr>PowerPoint Presentation</vt:lpstr>
      <vt:lpstr>Panel discussion, questions and closing remarks  All Faculty  Chair: Prof. Pier Luigi Zinzani </vt:lpstr>
      <vt:lpstr>Get ready to interact</vt:lpstr>
      <vt:lpstr>We value your feedback on this symposium Please complete a short evaluation form in the EHA app</vt:lpstr>
      <vt:lpstr>Treating relapsed/refractory  diffuse large B-cell lymphoma in 2026:  Existing gaps, daily practice and next move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Aurélie Ambrosi</dc:creator>
  <cp:lastModifiedBy>Abderrahim Benmoussa</cp:lastModifiedBy>
  <cp:revision>3</cp:revision>
  <dcterms:created xsi:type="dcterms:W3CDTF">2025-12-08T12:21:03Z</dcterms:created>
  <dcterms:modified xsi:type="dcterms:W3CDTF">2026-06-19T16:33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C29B53CBDEB854EBDCFB1A69AC17F61</vt:lpwstr>
  </property>
  <property fmtid="{D5CDD505-2E9C-101B-9397-08002B2CF9AE}" pid="3" name="Franchise">
    <vt:lpwstr>3;#Haematology|5920c2df-8629-43ab-9187-e58e2986e19d</vt:lpwstr>
  </property>
  <property fmtid="{D5CDD505-2E9C-101B-9397-08002B2CF9AE}" pid="4" name="MediaServiceImageTags">
    <vt:lpwstr/>
  </property>
  <property fmtid="{D5CDD505-2E9C-101B-9397-08002B2CF9AE}" pid="5" name="Function">
    <vt:lpwstr>2;#Medical Affairs|348ca8d2-b8d9-4d27-afe1-896d3d6b1be8</vt:lpwstr>
  </property>
  <property fmtid="{D5CDD505-2E9C-101B-9397-08002B2CF9AE}" pid="6" name="Organisationtype">
    <vt:lpwstr>1;#Project|ef332e20-8008-4a6b-bba5-5567d83cea6e</vt:lpwstr>
  </property>
  <property fmtid="{D5CDD505-2E9C-101B-9397-08002B2CF9AE}" pid="7" name="MSIP_Label_defa4170-0d19-0005-0004-bc88714345d2_Enabled">
    <vt:lpwstr>true</vt:lpwstr>
  </property>
  <property fmtid="{D5CDD505-2E9C-101B-9397-08002B2CF9AE}" pid="8" name="MSIP_Label_defa4170-0d19-0005-0004-bc88714345d2_SetDate">
    <vt:lpwstr>2025-12-11T15:35:57Z</vt:lpwstr>
  </property>
  <property fmtid="{D5CDD505-2E9C-101B-9397-08002B2CF9AE}" pid="9" name="MSIP_Label_defa4170-0d19-0005-0004-bc88714345d2_Method">
    <vt:lpwstr>Standard</vt:lpwstr>
  </property>
  <property fmtid="{D5CDD505-2E9C-101B-9397-08002B2CF9AE}" pid="10" name="MSIP_Label_defa4170-0d19-0005-0004-bc88714345d2_Name">
    <vt:lpwstr>defa4170-0d19-0005-0004-bc88714345d2</vt:lpwstr>
  </property>
  <property fmtid="{D5CDD505-2E9C-101B-9397-08002B2CF9AE}" pid="11" name="MSIP_Label_defa4170-0d19-0005-0004-bc88714345d2_SiteId">
    <vt:lpwstr>8633fcf3-c866-4f0f-8102-3a9370fa5d2d</vt:lpwstr>
  </property>
  <property fmtid="{D5CDD505-2E9C-101B-9397-08002B2CF9AE}" pid="12" name="MSIP_Label_defa4170-0d19-0005-0004-bc88714345d2_ActionId">
    <vt:lpwstr>0736bcbf-1b9b-4661-9088-d840bce240db</vt:lpwstr>
  </property>
  <property fmtid="{D5CDD505-2E9C-101B-9397-08002B2CF9AE}" pid="13" name="MSIP_Label_defa4170-0d19-0005-0004-bc88714345d2_ContentBits">
    <vt:lpwstr>0</vt:lpwstr>
  </property>
  <property fmtid="{D5CDD505-2E9C-101B-9397-08002B2CF9AE}" pid="14" name="MSIP_Label_defa4170-0d19-0005-0004-bc88714345d2_Tag">
    <vt:lpwstr>10, 3, 0, 1</vt:lpwstr>
  </property>
  <property fmtid="{D5CDD505-2E9C-101B-9397-08002B2CF9AE}" pid="15" name="Order">
    <vt:r8>102300</vt:r8>
  </property>
  <property fmtid="{D5CDD505-2E9C-101B-9397-08002B2CF9AE}" pid="16" name="xd_Signature">
    <vt:bool>false</vt:bool>
  </property>
  <property fmtid="{D5CDD505-2E9C-101B-9397-08002B2CF9AE}" pid="17" name="xd_ProgID">
    <vt:lpwstr/>
  </property>
  <property fmtid="{D5CDD505-2E9C-101B-9397-08002B2CF9AE}" pid="18" name="ComplianceAssetId">
    <vt:lpwstr/>
  </property>
  <property fmtid="{D5CDD505-2E9C-101B-9397-08002B2CF9AE}" pid="19" name="TemplateUrl">
    <vt:lpwstr/>
  </property>
  <property fmtid="{D5CDD505-2E9C-101B-9397-08002B2CF9AE}" pid="20" name="_ExtendedDescription">
    <vt:lpwstr/>
  </property>
  <property fmtid="{D5CDD505-2E9C-101B-9397-08002B2CF9AE}" pid="21" name="TriggerFlowInfo">
    <vt:lpwstr/>
  </property>
</Properties>
</file>